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2.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3.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4.xml" ContentType="application/vnd.openxmlformats-officedocument.theme+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theme/theme5.xml" ContentType="application/vnd.openxmlformats-officedocument.theme+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theme/theme6.xml" ContentType="application/vnd.openxmlformats-officedocument.theme+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theme/theme7.xml" ContentType="application/vnd.openxmlformats-officedocument.theme+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9.xml" ContentType="application/vnd.openxmlformats-officedocument.theme+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theme/theme10.xml" ContentType="application/vnd.openxmlformats-officedocument.theme+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theme/theme11.xml" ContentType="application/vnd.openxmlformats-officedocument.theme+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comments/modernComment_7FFFD033_A9A0B555.xml" ContentType="application/vnd.ms-powerpoint.comments+xml"/>
  <Override PartName="/ppt/ink/ink1.xml" ContentType="application/inkml+xml"/>
  <Override PartName="/ppt/ink/ink2.xml" ContentType="application/inkml+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5"/>
    <p:sldMasterId id="2147484213" r:id="rId6"/>
    <p:sldMasterId id="2147483750" r:id="rId7"/>
    <p:sldMasterId id="2147483925" r:id="rId8"/>
    <p:sldMasterId id="2147484002" r:id="rId9"/>
    <p:sldMasterId id="2147484040" r:id="rId10"/>
    <p:sldMasterId id="2147483745" r:id="rId11"/>
    <p:sldMasterId id="2147484130" r:id="rId12"/>
    <p:sldMasterId id="2147484143" r:id="rId13"/>
    <p:sldMasterId id="2147484354" r:id="rId14"/>
    <p:sldMasterId id="2147484385" r:id="rId15"/>
    <p:sldMasterId id="2147484431" r:id="rId16"/>
  </p:sldMasterIdLst>
  <p:notesMasterIdLst>
    <p:notesMasterId r:id="rId31"/>
  </p:notesMasterIdLst>
  <p:sldIdLst>
    <p:sldId id="2147474594" r:id="rId17"/>
    <p:sldId id="2147471572" r:id="rId18"/>
    <p:sldId id="2147471411" r:id="rId19"/>
    <p:sldId id="2147474613" r:id="rId20"/>
    <p:sldId id="2147474622" r:id="rId21"/>
    <p:sldId id="2147473835" r:id="rId22"/>
    <p:sldId id="2147471568" r:id="rId23"/>
    <p:sldId id="2147474631" r:id="rId24"/>
    <p:sldId id="2147474620" r:id="rId25"/>
    <p:sldId id="290" r:id="rId26"/>
    <p:sldId id="2147474635" r:id="rId27"/>
    <p:sldId id="2147474636" r:id="rId28"/>
    <p:sldId id="259" r:id="rId29"/>
    <p:sldId id="2147471072" r:id="rId30"/>
  </p:sldIdLst>
  <p:sldSz cx="24382413" cy="13716000"/>
  <p:notesSz cx="6858000" cy="9926638"/>
  <p:defaultTextStyle>
    <a:defPPr>
      <a:defRPr lang="en-US"/>
    </a:defPPr>
    <a:lvl1pPr marL="0" algn="l" defTabSz="1828663" rtl="0" eaLnBrk="1" latinLnBrk="0" hangingPunct="1">
      <a:defRPr sz="3600" kern="1200">
        <a:solidFill>
          <a:schemeClr val="tx1"/>
        </a:solidFill>
        <a:latin typeface="+mn-lt"/>
        <a:ea typeface="+mn-ea"/>
        <a:cs typeface="+mn-cs"/>
      </a:defRPr>
    </a:lvl1pPr>
    <a:lvl2pPr marL="914332" algn="l" defTabSz="1828663" rtl="0" eaLnBrk="1" latinLnBrk="0" hangingPunct="1">
      <a:defRPr sz="3600" kern="1200">
        <a:solidFill>
          <a:schemeClr val="tx1"/>
        </a:solidFill>
        <a:latin typeface="+mn-lt"/>
        <a:ea typeface="+mn-ea"/>
        <a:cs typeface="+mn-cs"/>
      </a:defRPr>
    </a:lvl2pPr>
    <a:lvl3pPr marL="1828663" algn="l" defTabSz="1828663" rtl="0" eaLnBrk="1" latinLnBrk="0" hangingPunct="1">
      <a:defRPr sz="3600" kern="1200">
        <a:solidFill>
          <a:schemeClr val="tx1"/>
        </a:solidFill>
        <a:latin typeface="+mn-lt"/>
        <a:ea typeface="+mn-ea"/>
        <a:cs typeface="+mn-cs"/>
      </a:defRPr>
    </a:lvl3pPr>
    <a:lvl4pPr marL="2742995" algn="l" defTabSz="1828663" rtl="0" eaLnBrk="1" latinLnBrk="0" hangingPunct="1">
      <a:defRPr sz="3600" kern="1200">
        <a:solidFill>
          <a:schemeClr val="tx1"/>
        </a:solidFill>
        <a:latin typeface="+mn-lt"/>
        <a:ea typeface="+mn-ea"/>
        <a:cs typeface="+mn-cs"/>
      </a:defRPr>
    </a:lvl4pPr>
    <a:lvl5pPr marL="3657325" algn="l" defTabSz="1828663" rtl="0" eaLnBrk="1" latinLnBrk="0" hangingPunct="1">
      <a:defRPr sz="3600" kern="1200">
        <a:solidFill>
          <a:schemeClr val="tx1"/>
        </a:solidFill>
        <a:latin typeface="+mn-lt"/>
        <a:ea typeface="+mn-ea"/>
        <a:cs typeface="+mn-cs"/>
      </a:defRPr>
    </a:lvl5pPr>
    <a:lvl6pPr marL="4571657" algn="l" defTabSz="1828663" rtl="0" eaLnBrk="1" latinLnBrk="0" hangingPunct="1">
      <a:defRPr sz="3600" kern="1200">
        <a:solidFill>
          <a:schemeClr val="tx1"/>
        </a:solidFill>
        <a:latin typeface="+mn-lt"/>
        <a:ea typeface="+mn-ea"/>
        <a:cs typeface="+mn-cs"/>
      </a:defRPr>
    </a:lvl6pPr>
    <a:lvl7pPr marL="5485988" algn="l" defTabSz="1828663" rtl="0" eaLnBrk="1" latinLnBrk="0" hangingPunct="1">
      <a:defRPr sz="3600" kern="1200">
        <a:solidFill>
          <a:schemeClr val="tx1"/>
        </a:solidFill>
        <a:latin typeface="+mn-lt"/>
        <a:ea typeface="+mn-ea"/>
        <a:cs typeface="+mn-cs"/>
      </a:defRPr>
    </a:lvl7pPr>
    <a:lvl8pPr marL="6400320" algn="l" defTabSz="1828663" rtl="0" eaLnBrk="1" latinLnBrk="0" hangingPunct="1">
      <a:defRPr sz="3600" kern="1200">
        <a:solidFill>
          <a:schemeClr val="tx1"/>
        </a:solidFill>
        <a:latin typeface="+mn-lt"/>
        <a:ea typeface="+mn-ea"/>
        <a:cs typeface="+mn-cs"/>
      </a:defRPr>
    </a:lvl8pPr>
    <a:lvl9pPr marL="7314652" algn="l" defTabSz="1828663" rtl="0" eaLnBrk="1" latinLnBrk="0" hangingPunct="1">
      <a:defRPr sz="3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20" userDrawn="1">
          <p15:clr>
            <a:srgbClr val="A4A3A4"/>
          </p15:clr>
        </p15:guide>
        <p15:guide id="2" pos="768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872A1E-6520-443D-C13A-A9F614071940}" name="Monika" initials="M" userId="S::monika.gotesdotter@inter.ikea.com::09853699-db9a-4b79-b3ed-0d3776985467" providerId="AD"/>
  <p188:author id="{5CE7172C-41A6-859F-B97B-A7F1EFCF75CF}" name="Burak Bayar" initials="BB" userId="S::burak.bayar@inter.ikea.com::c04c7b01-20bc-4bf4-b3da-d051e918d3e5" providerId="AD"/>
  <p188:author id="{7F08F450-1765-BDE3-B072-DE5A80FFC527}" name="Leticia Biescas Altelarrea" initials="LBA" userId="S::leticia.biescas.altelarrea@inter.ikea.com::498cd142-353f-415a-85ea-35b0b234ed95" providerId="AD"/>
  <p188:author id="{DBFC7C5C-1EB9-8891-AE5D-731CF6A05FB0}" name="Patrick Dedner" initials="PD" userId="S::patrick.dedner3@inter.ikea.com::2e5cd852-59ff-4f92-abb1-6fcb16a9f1b4" providerId="AD"/>
  <p188:author id="{10539AA8-ED72-B29E-870B-BC6BA30D7194}" name="Matthew Ritchie" initials="MR" userId="S::matthew.ritchie2@inter.ikea.com::e3d5be99-d002-4bfe-9417-49feb12240ca" providerId="AD"/>
  <p188:author id="{426475C7-BCFC-4984-2515-985FB52E26B3}" name="Malin Berg" initials="MB" userId="S::malin.berg2@inter.ikea.com::c5dc93b2-a7cb-4d72-bce5-434fa394b8c9" providerId="AD"/>
  <p188:author id="{F3FF9BF5-62E4-C225-B6CD-56FF30D48150}" name="Andreas Reinhoff" initials="AR" userId="S::andreas.reinhoff@inter.ikea.com::9456a22e-e695-4177-9646-f4b173df69bc" providerId="AD"/>
  <p188:author id="{96CE52FE-F5E7-E72D-B0FA-A7A0CB24E232}" name="Bianca Schmitz" initials="BS" userId="S::bianca.schmitz@inter.ikea.com::c8e996b6-de4a-4b72-813f-69acb443e6df"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DC7C24"/>
    <a:srgbClr val="F2CF00"/>
    <a:srgbClr val="68B877"/>
    <a:srgbClr val="DBEEDE"/>
    <a:srgbClr val="FFDA00"/>
    <a:srgbClr val="843820"/>
    <a:srgbClr val="FFDB00"/>
    <a:srgbClr val="CC0007"/>
    <a:srgbClr val="6FBDD1"/>
    <a:srgbClr val="9983B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7" d="100"/>
          <a:sy n="77" d="100"/>
        </p:scale>
        <p:origin x="2802" y="54"/>
      </p:cViewPr>
      <p:guideLst>
        <p:guide orient="horz" pos="4320"/>
        <p:guide pos="768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 Target="slides/slide2.xml"/><Relationship Id="rId26" Type="http://schemas.openxmlformats.org/officeDocument/2006/relationships/slide" Target="slides/slide10.xml"/><Relationship Id="rId3" Type="http://schemas.openxmlformats.org/officeDocument/2006/relationships/customXml" Target="../customXml/item3.xml"/><Relationship Id="rId21" Type="http://schemas.openxmlformats.org/officeDocument/2006/relationships/slide" Target="slides/slide5.xml"/><Relationship Id="rId34" Type="http://schemas.openxmlformats.org/officeDocument/2006/relationships/theme" Target="theme/theme1.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Master" Target="slideMasters/slideMaster12.xml"/><Relationship Id="rId20" Type="http://schemas.openxmlformats.org/officeDocument/2006/relationships/slide" Target="slides/slide4.xml"/><Relationship Id="rId29"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8.xml"/><Relationship Id="rId32"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 Target="slides/slide7.xml"/><Relationship Id="rId28" Type="http://schemas.openxmlformats.org/officeDocument/2006/relationships/slide" Target="slides/slide12.xml"/><Relationship Id="rId36" Type="http://schemas.microsoft.com/office/2018/10/relationships/authors" Target="authors.xml"/><Relationship Id="rId10" Type="http://schemas.openxmlformats.org/officeDocument/2006/relationships/slideMaster" Target="slideMasters/slideMaster6.xml"/><Relationship Id="rId19" Type="http://schemas.openxmlformats.org/officeDocument/2006/relationships/slide" Target="slides/slide3.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tableStyles" Target="tableStyles.xml"/><Relationship Id="rId8" Type="http://schemas.openxmlformats.org/officeDocument/2006/relationships/slideMaster" Target="slideMasters/slideMaster4.xml"/></Relationships>
</file>

<file path=ppt/comments/modernComment_7FFFD033_A9A0B555.xml><?xml version="1.0" encoding="utf-8"?>
<p188:cmLst xmlns:a="http://schemas.openxmlformats.org/drawingml/2006/main" xmlns:r="http://schemas.openxmlformats.org/officeDocument/2006/relationships" xmlns:p188="http://schemas.microsoft.com/office/powerpoint/2018/8/main">
  <p188:cm id="{A9D9B335-E336-4F99-B8ED-68E6B708BE29}" authorId="{7F08F450-1765-BDE3-B072-DE5A80FFC527}" created="2023-08-29T08:46:20.403">
    <ac:deMkLst xmlns:ac="http://schemas.microsoft.com/office/drawing/2013/main/command">
      <pc:docMk xmlns:pc="http://schemas.microsoft.com/office/powerpoint/2013/main/command"/>
      <pc:sldMk xmlns:pc="http://schemas.microsoft.com/office/powerpoint/2013/main/command" cId="2845881685" sldId="2147471411"/>
      <ac:spMk id="2" creationId="{2569C8D7-9CB8-83E4-A268-CDDC92508D4B}"/>
    </ac:deMkLst>
    <p188:txBody>
      <a:bodyPr/>
      <a:lstStyle/>
      <a:p>
        <a:r>
          <a:rPr lang="de-DE"/>
          <a:t>New colleagues are missing</a:t>
        </a:r>
      </a:p>
    </p188:txBody>
  </p188:cm>
</p188:cmLst>
</file>

<file path=ppt/diagrams/colors1.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5F0A018-8250-4BBC-A5AD-5870AC93F885}" type="doc">
      <dgm:prSet loTypeId="urn:microsoft.com/office/officeart/2008/layout/HalfCircleOrganizationChart" loCatId="hierarchy" qsTypeId="urn:microsoft.com/office/officeart/2005/8/quickstyle/simple1" qsCatId="simple" csTypeId="urn:microsoft.com/office/officeart/2005/8/colors/accent3_5" csCatId="accent3" phldr="1"/>
      <dgm:spPr/>
      <dgm:t>
        <a:bodyPr/>
        <a:lstStyle/>
        <a:p>
          <a:endParaRPr lang="de-DE"/>
        </a:p>
      </dgm:t>
    </dgm:pt>
    <dgm:pt modelId="{215E5331-2D2C-4FB3-9F55-1D2EF2DEC1EA}">
      <dgm:prSet phldrT="[Text]" custT="1"/>
      <dgm:spPr/>
      <dgm:t>
        <a:bodyPr/>
        <a:lstStyle/>
        <a:p>
          <a:r>
            <a:rPr lang="de-DE" sz="3200" b="1"/>
            <a:t>Innovation Manager </a:t>
          </a:r>
          <a:br>
            <a:rPr lang="de-DE" sz="3200" b="1"/>
          </a:br>
          <a:endParaRPr lang="de-DE" sz="3200" b="1"/>
        </a:p>
      </dgm:t>
    </dgm:pt>
    <dgm:pt modelId="{6B2E9F48-364C-47E7-9049-C27F66324C94}" type="parTrans" cxnId="{5AC7F268-AED1-439F-B5AF-1E0DB5F0BCD6}">
      <dgm:prSet/>
      <dgm:spPr/>
      <dgm:t>
        <a:bodyPr/>
        <a:lstStyle/>
        <a:p>
          <a:endParaRPr lang="de-DE" sz="3200"/>
        </a:p>
      </dgm:t>
    </dgm:pt>
    <dgm:pt modelId="{71B386DF-A663-4ABB-97F3-9D80056FCA0E}" type="sibTrans" cxnId="{5AC7F268-AED1-439F-B5AF-1E0DB5F0BCD6}">
      <dgm:prSet/>
      <dgm:spPr/>
      <dgm:t>
        <a:bodyPr/>
        <a:lstStyle/>
        <a:p>
          <a:endParaRPr lang="sv-SE" sz="3200"/>
        </a:p>
      </dgm:t>
    </dgm:pt>
    <dgm:pt modelId="{A940C021-77C8-4634-A615-E6705C87CDA1}">
      <dgm:prSet phldrT="[Text]" custT="1"/>
      <dgm:spPr/>
      <dgm:t>
        <a:bodyPr/>
        <a:lstStyle/>
        <a:p>
          <a:r>
            <a:rPr lang="de-DE" sz="3200" b="1"/>
            <a:t>Innovation Leader</a:t>
          </a:r>
        </a:p>
      </dgm:t>
    </dgm:pt>
    <dgm:pt modelId="{B640DD77-0A86-4E38-8D2F-CA83847E59BB}" type="parTrans" cxnId="{10BF7EA0-9599-4943-90DE-4FF90E446EEA}">
      <dgm:prSet/>
      <dgm:spPr>
        <a:ln w="76200">
          <a:solidFill>
            <a:srgbClr val="F06A11"/>
          </a:solidFill>
          <a:extLst>
            <a:ext uri="{C807C97D-BFC1-408E-A445-0C87EB9F89A2}">
              <ask:lineSketchStyleProps xmlns:ask="http://schemas.microsoft.com/office/drawing/2018/sketchyshapes">
                <ask:type>
                  <ask:lineSketchScribble/>
                </ask:type>
              </ask:lineSketchStyleProps>
            </a:ext>
          </a:extLst>
        </a:ln>
      </dgm:spPr>
      <dgm:t>
        <a:bodyPr/>
        <a:lstStyle/>
        <a:p>
          <a:endParaRPr lang="de-DE" sz="3200"/>
        </a:p>
      </dgm:t>
    </dgm:pt>
    <dgm:pt modelId="{D4A9766B-9CF2-44CF-95D7-6A5BD3CC47EA}" type="sibTrans" cxnId="{10BF7EA0-9599-4943-90DE-4FF90E446EEA}">
      <dgm:prSet custT="1"/>
      <dgm:spPr/>
      <dgm:t>
        <a:bodyPr/>
        <a:lstStyle/>
        <a:p>
          <a:endParaRPr lang="sv-SE" sz="3200"/>
        </a:p>
      </dgm:t>
    </dgm:pt>
    <dgm:pt modelId="{F5453A15-2502-493E-B244-448F24BC5A7E}">
      <dgm:prSet phldrT="[Text]" custT="1"/>
      <dgm:spPr/>
      <dgm:t>
        <a:bodyPr/>
        <a:lstStyle/>
        <a:p>
          <a:r>
            <a:rPr lang="de-DE" sz="3200" b="1"/>
            <a:t>Engineering Leader</a:t>
          </a:r>
        </a:p>
      </dgm:t>
    </dgm:pt>
    <dgm:pt modelId="{31B9E372-E47A-4B47-BCFD-207035F6D3F5}" type="parTrans" cxnId="{39DF3E0A-A531-487F-8DD7-7D34CD3CAA7E}">
      <dgm:prSet/>
      <dgm:spPr>
        <a:solidFill>
          <a:srgbClr val="F06A11"/>
        </a:solidFill>
        <a:ln w="76200">
          <a:solidFill>
            <a:srgbClr val="F06A11"/>
          </a:solidFill>
          <a:extLst>
            <a:ext uri="{C807C97D-BFC1-408E-A445-0C87EB9F89A2}">
              <ask:lineSketchStyleProps xmlns:ask="http://schemas.microsoft.com/office/drawing/2018/sketchyshapes">
                <ask:type>
                  <ask:lineSketchScribble/>
                </ask:type>
              </ask:lineSketchStyleProps>
            </a:ext>
          </a:extLst>
        </a:ln>
      </dgm:spPr>
      <dgm:t>
        <a:bodyPr/>
        <a:lstStyle/>
        <a:p>
          <a:endParaRPr lang="de-DE" sz="3200"/>
        </a:p>
      </dgm:t>
    </dgm:pt>
    <dgm:pt modelId="{F3330CEE-3FD9-4B56-BD01-470D875831A3}" type="sibTrans" cxnId="{39DF3E0A-A531-487F-8DD7-7D34CD3CAA7E}">
      <dgm:prSet custT="1"/>
      <dgm:spPr/>
      <dgm:t>
        <a:bodyPr/>
        <a:lstStyle/>
        <a:p>
          <a:endParaRPr lang="sv-SE" sz="3200"/>
        </a:p>
      </dgm:t>
    </dgm:pt>
    <dgm:pt modelId="{24A170A4-0A60-4EB8-8A86-49610F2B6C7C}">
      <dgm:prSet phldrT="[Text]" custT="1"/>
      <dgm:spPr/>
      <dgm:t>
        <a:bodyPr/>
        <a:lstStyle/>
        <a:p>
          <a:r>
            <a:rPr lang="de-DE" sz="3200" b="1"/>
            <a:t>Prototype Engineer</a:t>
          </a:r>
        </a:p>
      </dgm:t>
    </dgm:pt>
    <dgm:pt modelId="{7A7D3140-1518-4FFF-B31A-C199598BD954}" type="parTrans" cxnId="{B4AE263A-AF37-4ACD-91F5-98988F256281}">
      <dgm:prSet/>
      <dgm:spPr>
        <a:ln w="76200">
          <a:solidFill>
            <a:srgbClr val="F06A11"/>
          </a:solidFill>
          <a:extLst>
            <a:ext uri="{C807C97D-BFC1-408E-A445-0C87EB9F89A2}">
              <ask:lineSketchStyleProps xmlns:ask="http://schemas.microsoft.com/office/drawing/2018/sketchyshapes">
                <ask:type>
                  <ask:lineSketchScribble/>
                </ask:type>
              </ask:lineSketchStyleProps>
            </a:ext>
          </a:extLst>
        </a:ln>
      </dgm:spPr>
      <dgm:t>
        <a:bodyPr/>
        <a:lstStyle/>
        <a:p>
          <a:endParaRPr lang="de-DE" sz="3200"/>
        </a:p>
      </dgm:t>
    </dgm:pt>
    <dgm:pt modelId="{FA93B982-704B-4035-83FA-DCB137011DB3}" type="sibTrans" cxnId="{B4AE263A-AF37-4ACD-91F5-98988F256281}">
      <dgm:prSet/>
      <dgm:spPr/>
      <dgm:t>
        <a:bodyPr/>
        <a:lstStyle/>
        <a:p>
          <a:endParaRPr lang="de-DE" sz="3200"/>
        </a:p>
      </dgm:t>
    </dgm:pt>
    <dgm:pt modelId="{05169DDD-C37B-4CD0-B1B3-2AC2FB2B5252}">
      <dgm:prSet phldrT="[Text]" custT="1"/>
      <dgm:spPr/>
      <dgm:t>
        <a:bodyPr/>
        <a:lstStyle/>
        <a:p>
          <a:r>
            <a:rPr lang="de-DE" sz="3200" b="1"/>
            <a:t>Prototype Lab Admin</a:t>
          </a:r>
        </a:p>
      </dgm:t>
    </dgm:pt>
    <dgm:pt modelId="{129B5260-15B4-4FF1-8D80-922812CB682F}" type="parTrans" cxnId="{1C49FAAA-F55D-4779-A307-D1982969E93C}">
      <dgm:prSet/>
      <dgm:spPr>
        <a:ln w="76200">
          <a:solidFill>
            <a:srgbClr val="F06A11"/>
          </a:solidFill>
          <a:extLst>
            <a:ext uri="{C807C97D-BFC1-408E-A445-0C87EB9F89A2}">
              <ask:lineSketchStyleProps xmlns:ask="http://schemas.microsoft.com/office/drawing/2018/sketchyshapes">
                <ask:type>
                  <ask:lineSketchScribble/>
                </ask:type>
              </ask:lineSketchStyleProps>
            </a:ext>
          </a:extLst>
        </a:ln>
      </dgm:spPr>
      <dgm:t>
        <a:bodyPr/>
        <a:lstStyle/>
        <a:p>
          <a:endParaRPr lang="de-DE" sz="3200"/>
        </a:p>
      </dgm:t>
    </dgm:pt>
    <dgm:pt modelId="{015F55EC-1F5E-448E-8BFF-C7252C158AE5}" type="sibTrans" cxnId="{1C49FAAA-F55D-4779-A307-D1982969E93C}">
      <dgm:prSet/>
      <dgm:spPr/>
      <dgm:t>
        <a:bodyPr/>
        <a:lstStyle/>
        <a:p>
          <a:endParaRPr lang="de-DE" sz="3200"/>
        </a:p>
      </dgm:t>
    </dgm:pt>
    <dgm:pt modelId="{243D28EA-9BD8-4E8B-AAA6-B2B492FDDD23}">
      <dgm:prSet phldrT="[Text]" custT="1"/>
      <dgm:spPr/>
      <dgm:t>
        <a:bodyPr/>
        <a:lstStyle/>
        <a:p>
          <a:r>
            <a:rPr lang="de-DE" sz="3200" b="1"/>
            <a:t>Engineering Developer</a:t>
          </a:r>
        </a:p>
      </dgm:t>
    </dgm:pt>
    <dgm:pt modelId="{7045065F-E162-4889-B08B-77223FAEBC62}" type="parTrans" cxnId="{A392ED1B-2C4A-4B1F-A1D3-2477AB201D5F}">
      <dgm:prSet/>
      <dgm:spPr>
        <a:ln w="76200">
          <a:solidFill>
            <a:schemeClr val="accent3"/>
          </a:solidFill>
        </a:ln>
      </dgm:spPr>
      <dgm:t>
        <a:bodyPr/>
        <a:lstStyle/>
        <a:p>
          <a:endParaRPr lang="en-US"/>
        </a:p>
      </dgm:t>
    </dgm:pt>
    <dgm:pt modelId="{78D6438B-2504-4505-A03A-0672CC72BCD2}" type="sibTrans" cxnId="{A392ED1B-2C4A-4B1F-A1D3-2477AB201D5F}">
      <dgm:prSet/>
      <dgm:spPr/>
      <dgm:t>
        <a:bodyPr/>
        <a:lstStyle/>
        <a:p>
          <a:endParaRPr lang="en-US"/>
        </a:p>
      </dgm:t>
    </dgm:pt>
    <dgm:pt modelId="{419419A0-8739-476A-BCA8-987B9FC651EC}" type="pres">
      <dgm:prSet presAssocID="{75F0A018-8250-4BBC-A5AD-5870AC93F885}" presName="Name0" presStyleCnt="0">
        <dgm:presLayoutVars>
          <dgm:orgChart val="1"/>
          <dgm:chPref val="1"/>
          <dgm:dir/>
          <dgm:animOne val="branch"/>
          <dgm:animLvl val="lvl"/>
          <dgm:resizeHandles/>
        </dgm:presLayoutVars>
      </dgm:prSet>
      <dgm:spPr/>
    </dgm:pt>
    <dgm:pt modelId="{2372EB96-83F1-469D-BEF3-ACFCD4F7C162}" type="pres">
      <dgm:prSet presAssocID="{215E5331-2D2C-4FB3-9F55-1D2EF2DEC1EA}" presName="hierRoot1" presStyleCnt="0">
        <dgm:presLayoutVars>
          <dgm:hierBranch val="init"/>
        </dgm:presLayoutVars>
      </dgm:prSet>
      <dgm:spPr/>
    </dgm:pt>
    <dgm:pt modelId="{89C09D5A-C6A2-478B-9DF5-DEC08397F093}" type="pres">
      <dgm:prSet presAssocID="{215E5331-2D2C-4FB3-9F55-1D2EF2DEC1EA}" presName="rootComposite1" presStyleCnt="0"/>
      <dgm:spPr/>
    </dgm:pt>
    <dgm:pt modelId="{E1CC927B-4537-4D76-9346-43F8F0E85A02}" type="pres">
      <dgm:prSet presAssocID="{215E5331-2D2C-4FB3-9F55-1D2EF2DEC1EA}" presName="rootText1" presStyleLbl="alignAcc1" presStyleIdx="0" presStyleCnt="0" custScaleX="109999" custLinFactNeighborX="-3348" custLinFactNeighborY="4322">
        <dgm:presLayoutVars>
          <dgm:chPref val="3"/>
        </dgm:presLayoutVars>
      </dgm:prSet>
      <dgm:spPr/>
    </dgm:pt>
    <dgm:pt modelId="{523E6638-CEE7-4CDD-A6AB-81928F000666}" type="pres">
      <dgm:prSet presAssocID="{215E5331-2D2C-4FB3-9F55-1D2EF2DEC1EA}" presName="topArc1" presStyleLbl="parChTrans1D1" presStyleIdx="0" presStyleCnt="12"/>
      <dgm:spPr>
        <a:ln w="76200">
          <a:solidFill>
            <a:srgbClr val="F06A11"/>
          </a:solidFill>
          <a:extLst>
            <a:ext uri="{C807C97D-BFC1-408E-A445-0C87EB9F89A2}">
              <ask:lineSketchStyleProps xmlns:ask="http://schemas.microsoft.com/office/drawing/2018/sketchyshapes">
                <ask:type>
                  <ask:lineSketchNone/>
                </ask:type>
              </ask:lineSketchStyleProps>
            </a:ext>
          </a:extLst>
        </a:ln>
      </dgm:spPr>
    </dgm:pt>
    <dgm:pt modelId="{D49B60EF-F946-4A95-87A3-7A88330A0162}" type="pres">
      <dgm:prSet presAssocID="{215E5331-2D2C-4FB3-9F55-1D2EF2DEC1EA}" presName="bottomArc1" presStyleLbl="parChTrans1D1" presStyleIdx="1" presStyleCnt="12"/>
      <dgm:spPr>
        <a:ln w="76200">
          <a:solidFill>
            <a:srgbClr val="F06A11"/>
          </a:solidFill>
          <a:extLst>
            <a:ext uri="{C807C97D-BFC1-408E-A445-0C87EB9F89A2}">
              <ask:lineSketchStyleProps xmlns:ask="http://schemas.microsoft.com/office/drawing/2018/sketchyshapes">
                <ask:type>
                  <ask:lineSketchNone/>
                </ask:type>
              </ask:lineSketchStyleProps>
            </a:ext>
          </a:extLst>
        </a:ln>
      </dgm:spPr>
    </dgm:pt>
    <dgm:pt modelId="{489D29C2-9468-4052-8011-BFE214B56676}" type="pres">
      <dgm:prSet presAssocID="{215E5331-2D2C-4FB3-9F55-1D2EF2DEC1EA}" presName="topConnNode1" presStyleLbl="node1" presStyleIdx="0" presStyleCnt="0"/>
      <dgm:spPr/>
    </dgm:pt>
    <dgm:pt modelId="{65CB0E49-7D74-47E1-9DEA-896718F55326}" type="pres">
      <dgm:prSet presAssocID="{215E5331-2D2C-4FB3-9F55-1D2EF2DEC1EA}" presName="hierChild2" presStyleCnt="0"/>
      <dgm:spPr/>
    </dgm:pt>
    <dgm:pt modelId="{7A0E7E19-6A4D-4E7B-8085-B26F31501AF1}" type="pres">
      <dgm:prSet presAssocID="{B640DD77-0A86-4E38-8D2F-CA83847E59BB}" presName="Name28" presStyleLbl="parChTrans1D2" presStyleIdx="0" presStyleCnt="5"/>
      <dgm:spPr/>
    </dgm:pt>
    <dgm:pt modelId="{F16331D3-F4A5-4AB0-B719-9C2BE57A949F}" type="pres">
      <dgm:prSet presAssocID="{A940C021-77C8-4634-A615-E6705C87CDA1}" presName="hierRoot2" presStyleCnt="0">
        <dgm:presLayoutVars>
          <dgm:hierBranch val="init"/>
        </dgm:presLayoutVars>
      </dgm:prSet>
      <dgm:spPr/>
    </dgm:pt>
    <dgm:pt modelId="{25840C15-A57B-4DDB-85FB-6398C277FC55}" type="pres">
      <dgm:prSet presAssocID="{A940C021-77C8-4634-A615-E6705C87CDA1}" presName="rootComposite2" presStyleCnt="0"/>
      <dgm:spPr/>
    </dgm:pt>
    <dgm:pt modelId="{96DB9339-8537-43BC-A26D-733350F6B4F3}" type="pres">
      <dgm:prSet presAssocID="{A940C021-77C8-4634-A615-E6705C87CDA1}" presName="rootText2" presStyleLbl="alignAcc1" presStyleIdx="0" presStyleCnt="0">
        <dgm:presLayoutVars>
          <dgm:chPref val="3"/>
        </dgm:presLayoutVars>
      </dgm:prSet>
      <dgm:spPr/>
    </dgm:pt>
    <dgm:pt modelId="{9C52F8DE-6241-4C9C-B476-4AEBF9B4FD7E}" type="pres">
      <dgm:prSet presAssocID="{A940C021-77C8-4634-A615-E6705C87CDA1}" presName="topArc2" presStyleLbl="parChTrans1D1" presStyleIdx="2" presStyleCnt="12"/>
      <dgm:spPr>
        <a:ln w="76200">
          <a:solidFill>
            <a:srgbClr val="F06A11"/>
          </a:solidFill>
        </a:ln>
      </dgm:spPr>
    </dgm:pt>
    <dgm:pt modelId="{F273E835-432F-4F7D-877D-80E0F2D4460A}" type="pres">
      <dgm:prSet presAssocID="{A940C021-77C8-4634-A615-E6705C87CDA1}" presName="bottomArc2" presStyleLbl="parChTrans1D1" presStyleIdx="3" presStyleCnt="12"/>
      <dgm:spPr>
        <a:ln w="76200">
          <a:solidFill>
            <a:srgbClr val="F06A11"/>
          </a:solidFill>
        </a:ln>
      </dgm:spPr>
    </dgm:pt>
    <dgm:pt modelId="{A6D7BC85-DB96-4212-BA0D-8831E8615D90}" type="pres">
      <dgm:prSet presAssocID="{A940C021-77C8-4634-A615-E6705C87CDA1}" presName="topConnNode2" presStyleLbl="node2" presStyleIdx="0" presStyleCnt="0"/>
      <dgm:spPr/>
    </dgm:pt>
    <dgm:pt modelId="{CCCF828E-B265-4252-AF15-F49136625BA6}" type="pres">
      <dgm:prSet presAssocID="{A940C021-77C8-4634-A615-E6705C87CDA1}" presName="hierChild4" presStyleCnt="0"/>
      <dgm:spPr/>
    </dgm:pt>
    <dgm:pt modelId="{2AB4A030-8A4D-47BB-8FC0-6084CC09B553}" type="pres">
      <dgm:prSet presAssocID="{A940C021-77C8-4634-A615-E6705C87CDA1}" presName="hierChild5" presStyleCnt="0"/>
      <dgm:spPr/>
    </dgm:pt>
    <dgm:pt modelId="{60896175-C6DB-4E1E-A8BE-1AD415FB5EF0}" type="pres">
      <dgm:prSet presAssocID="{31B9E372-E47A-4B47-BCFD-207035F6D3F5}" presName="Name28" presStyleLbl="parChTrans1D2" presStyleIdx="1" presStyleCnt="5"/>
      <dgm:spPr/>
    </dgm:pt>
    <dgm:pt modelId="{4BCC92AC-4595-4BBF-B01E-A124A6B154A0}" type="pres">
      <dgm:prSet presAssocID="{F5453A15-2502-493E-B244-448F24BC5A7E}" presName="hierRoot2" presStyleCnt="0">
        <dgm:presLayoutVars>
          <dgm:hierBranch val="init"/>
        </dgm:presLayoutVars>
      </dgm:prSet>
      <dgm:spPr/>
    </dgm:pt>
    <dgm:pt modelId="{4A3BA27E-5CA0-4594-B155-4663A9F1B015}" type="pres">
      <dgm:prSet presAssocID="{F5453A15-2502-493E-B244-448F24BC5A7E}" presName="rootComposite2" presStyleCnt="0"/>
      <dgm:spPr/>
    </dgm:pt>
    <dgm:pt modelId="{0BB54D7C-1F47-43F0-A916-1A0480ECE2E7}" type="pres">
      <dgm:prSet presAssocID="{F5453A15-2502-493E-B244-448F24BC5A7E}" presName="rootText2" presStyleLbl="alignAcc1" presStyleIdx="0" presStyleCnt="0" custLinFactNeighborX="1582" custLinFactNeighborY="4316">
        <dgm:presLayoutVars>
          <dgm:chPref val="3"/>
        </dgm:presLayoutVars>
      </dgm:prSet>
      <dgm:spPr/>
    </dgm:pt>
    <dgm:pt modelId="{180B94AF-F60F-4386-8036-D11956FF0790}" type="pres">
      <dgm:prSet presAssocID="{F5453A15-2502-493E-B244-448F24BC5A7E}" presName="topArc2" presStyleLbl="parChTrans1D1" presStyleIdx="4" presStyleCnt="12"/>
      <dgm:spPr>
        <a:ln w="76200">
          <a:solidFill>
            <a:srgbClr val="F06A11"/>
          </a:solidFill>
        </a:ln>
      </dgm:spPr>
    </dgm:pt>
    <dgm:pt modelId="{4993B601-465E-4C7E-B658-EBC5E89335EA}" type="pres">
      <dgm:prSet presAssocID="{F5453A15-2502-493E-B244-448F24BC5A7E}" presName="bottomArc2" presStyleLbl="parChTrans1D1" presStyleIdx="5" presStyleCnt="12"/>
      <dgm:spPr>
        <a:ln w="76200">
          <a:solidFill>
            <a:srgbClr val="F06A11"/>
          </a:solidFill>
        </a:ln>
      </dgm:spPr>
    </dgm:pt>
    <dgm:pt modelId="{8DE216AF-BE97-420F-A2A5-57B5B76DF52D}" type="pres">
      <dgm:prSet presAssocID="{F5453A15-2502-493E-B244-448F24BC5A7E}" presName="topConnNode2" presStyleLbl="node2" presStyleIdx="0" presStyleCnt="0"/>
      <dgm:spPr/>
    </dgm:pt>
    <dgm:pt modelId="{1A4894E4-1ADC-4275-B69D-F997BB7F89C5}" type="pres">
      <dgm:prSet presAssocID="{F5453A15-2502-493E-B244-448F24BC5A7E}" presName="hierChild4" presStyleCnt="0"/>
      <dgm:spPr/>
    </dgm:pt>
    <dgm:pt modelId="{333E7F00-3781-47B2-9452-25B602F981C1}" type="pres">
      <dgm:prSet presAssocID="{F5453A15-2502-493E-B244-448F24BC5A7E}" presName="hierChild5" presStyleCnt="0"/>
      <dgm:spPr/>
    </dgm:pt>
    <dgm:pt modelId="{75B74E6A-1FF3-4A5E-879F-C3F14684A0CA}" type="pres">
      <dgm:prSet presAssocID="{7045065F-E162-4889-B08B-77223FAEBC62}" presName="Name28" presStyleLbl="parChTrans1D2" presStyleIdx="2" presStyleCnt="5"/>
      <dgm:spPr/>
    </dgm:pt>
    <dgm:pt modelId="{CA757335-E032-4AA1-BDCF-CDCBF1A02BCD}" type="pres">
      <dgm:prSet presAssocID="{243D28EA-9BD8-4E8B-AAA6-B2B492FDDD23}" presName="hierRoot2" presStyleCnt="0">
        <dgm:presLayoutVars>
          <dgm:hierBranch val="init"/>
        </dgm:presLayoutVars>
      </dgm:prSet>
      <dgm:spPr/>
    </dgm:pt>
    <dgm:pt modelId="{0ED0641C-065B-43FB-9642-A048DA2CDC03}" type="pres">
      <dgm:prSet presAssocID="{243D28EA-9BD8-4E8B-AAA6-B2B492FDDD23}" presName="rootComposite2" presStyleCnt="0"/>
      <dgm:spPr/>
    </dgm:pt>
    <dgm:pt modelId="{702065BE-0087-4903-B81C-435B3EBE4D65}" type="pres">
      <dgm:prSet presAssocID="{243D28EA-9BD8-4E8B-AAA6-B2B492FDDD23}" presName="rootText2" presStyleLbl="alignAcc1" presStyleIdx="0" presStyleCnt="0">
        <dgm:presLayoutVars>
          <dgm:chPref val="3"/>
        </dgm:presLayoutVars>
      </dgm:prSet>
      <dgm:spPr/>
    </dgm:pt>
    <dgm:pt modelId="{1FC4CF00-5BB6-463A-9106-81C5A90659D3}" type="pres">
      <dgm:prSet presAssocID="{243D28EA-9BD8-4E8B-AAA6-B2B492FDDD23}" presName="topArc2" presStyleLbl="parChTrans1D1" presStyleIdx="6" presStyleCnt="12"/>
      <dgm:spPr>
        <a:ln w="76200">
          <a:solidFill>
            <a:srgbClr val="F06A11"/>
          </a:solidFill>
        </a:ln>
      </dgm:spPr>
    </dgm:pt>
    <dgm:pt modelId="{4FB3A5A6-8863-48DD-A549-40257FD53EE8}" type="pres">
      <dgm:prSet presAssocID="{243D28EA-9BD8-4E8B-AAA6-B2B492FDDD23}" presName="bottomArc2" presStyleLbl="parChTrans1D1" presStyleIdx="7" presStyleCnt="12"/>
      <dgm:spPr>
        <a:ln w="76200">
          <a:solidFill>
            <a:srgbClr val="F06A11"/>
          </a:solidFill>
        </a:ln>
      </dgm:spPr>
    </dgm:pt>
    <dgm:pt modelId="{0D93038C-BAF6-4EA0-8295-508DDA5CD839}" type="pres">
      <dgm:prSet presAssocID="{243D28EA-9BD8-4E8B-AAA6-B2B492FDDD23}" presName="topConnNode2" presStyleLbl="node2" presStyleIdx="0" presStyleCnt="0"/>
      <dgm:spPr/>
    </dgm:pt>
    <dgm:pt modelId="{D9F0BE2D-3D29-4067-8E4C-936199A65F34}" type="pres">
      <dgm:prSet presAssocID="{243D28EA-9BD8-4E8B-AAA6-B2B492FDDD23}" presName="hierChild4" presStyleCnt="0"/>
      <dgm:spPr/>
    </dgm:pt>
    <dgm:pt modelId="{8699D467-06F1-4A4F-984E-D5416E5BDE23}" type="pres">
      <dgm:prSet presAssocID="{243D28EA-9BD8-4E8B-AAA6-B2B492FDDD23}" presName="hierChild5" presStyleCnt="0"/>
      <dgm:spPr/>
    </dgm:pt>
    <dgm:pt modelId="{EE217AD0-210F-424E-AED1-76A2E452A6E8}" type="pres">
      <dgm:prSet presAssocID="{7A7D3140-1518-4FFF-B31A-C199598BD954}" presName="Name28" presStyleLbl="parChTrans1D2" presStyleIdx="3" presStyleCnt="5"/>
      <dgm:spPr/>
    </dgm:pt>
    <dgm:pt modelId="{0EF21593-5450-42FD-AAE4-FCDF2F455EFD}" type="pres">
      <dgm:prSet presAssocID="{24A170A4-0A60-4EB8-8A86-49610F2B6C7C}" presName="hierRoot2" presStyleCnt="0">
        <dgm:presLayoutVars>
          <dgm:hierBranch val="init"/>
        </dgm:presLayoutVars>
      </dgm:prSet>
      <dgm:spPr/>
    </dgm:pt>
    <dgm:pt modelId="{321267DB-9591-48BE-A554-46F44E20EF72}" type="pres">
      <dgm:prSet presAssocID="{24A170A4-0A60-4EB8-8A86-49610F2B6C7C}" presName="rootComposite2" presStyleCnt="0"/>
      <dgm:spPr/>
    </dgm:pt>
    <dgm:pt modelId="{694C6A68-0F15-433E-AF35-521936736D0C}" type="pres">
      <dgm:prSet presAssocID="{24A170A4-0A60-4EB8-8A86-49610F2B6C7C}" presName="rootText2" presStyleLbl="alignAcc1" presStyleIdx="0" presStyleCnt="0" custLinFactNeighborX="-14718" custLinFactNeighborY="-242">
        <dgm:presLayoutVars>
          <dgm:chPref val="3"/>
        </dgm:presLayoutVars>
      </dgm:prSet>
      <dgm:spPr/>
    </dgm:pt>
    <dgm:pt modelId="{8A86CEED-DA9B-4AA5-A92B-20347514D52C}" type="pres">
      <dgm:prSet presAssocID="{24A170A4-0A60-4EB8-8A86-49610F2B6C7C}" presName="topArc2" presStyleLbl="parChTrans1D1" presStyleIdx="8" presStyleCnt="12"/>
      <dgm:spPr>
        <a:ln w="76200">
          <a:solidFill>
            <a:srgbClr val="F06A11"/>
          </a:solidFill>
          <a:extLst>
            <a:ext uri="{C807C97D-BFC1-408E-A445-0C87EB9F89A2}">
              <ask:lineSketchStyleProps xmlns:ask="http://schemas.microsoft.com/office/drawing/2018/sketchyshapes">
                <ask:type>
                  <ask:lineSketchNone/>
                </ask:type>
              </ask:lineSketchStyleProps>
            </a:ext>
          </a:extLst>
        </a:ln>
      </dgm:spPr>
    </dgm:pt>
    <dgm:pt modelId="{06966F7A-0683-44AC-8B53-4576CA448A60}" type="pres">
      <dgm:prSet presAssocID="{24A170A4-0A60-4EB8-8A86-49610F2B6C7C}" presName="bottomArc2" presStyleLbl="parChTrans1D1" presStyleIdx="9" presStyleCnt="12"/>
      <dgm:spPr>
        <a:ln w="76200">
          <a:solidFill>
            <a:srgbClr val="F06A11"/>
          </a:solidFill>
          <a:extLst>
            <a:ext uri="{C807C97D-BFC1-408E-A445-0C87EB9F89A2}">
              <ask:lineSketchStyleProps xmlns:ask="http://schemas.microsoft.com/office/drawing/2018/sketchyshapes">
                <ask:type>
                  <ask:lineSketchNone/>
                </ask:type>
              </ask:lineSketchStyleProps>
            </a:ext>
          </a:extLst>
        </a:ln>
      </dgm:spPr>
    </dgm:pt>
    <dgm:pt modelId="{E7D9C807-1ACE-49E8-A034-EFBCF0858ED6}" type="pres">
      <dgm:prSet presAssocID="{24A170A4-0A60-4EB8-8A86-49610F2B6C7C}" presName="topConnNode2" presStyleLbl="node2" presStyleIdx="0" presStyleCnt="0"/>
      <dgm:spPr/>
    </dgm:pt>
    <dgm:pt modelId="{A02D41ED-9660-4C03-AAC4-3FC372B96A6E}" type="pres">
      <dgm:prSet presAssocID="{24A170A4-0A60-4EB8-8A86-49610F2B6C7C}" presName="hierChild4" presStyleCnt="0"/>
      <dgm:spPr/>
    </dgm:pt>
    <dgm:pt modelId="{08335106-DD26-4D04-B867-2F60544FC1DC}" type="pres">
      <dgm:prSet presAssocID="{24A170A4-0A60-4EB8-8A86-49610F2B6C7C}" presName="hierChild5" presStyleCnt="0"/>
      <dgm:spPr/>
    </dgm:pt>
    <dgm:pt modelId="{7D8DB299-AE68-411E-A9DF-B670989F30A3}" type="pres">
      <dgm:prSet presAssocID="{129B5260-15B4-4FF1-8D80-922812CB682F}" presName="Name28" presStyleLbl="parChTrans1D2" presStyleIdx="4" presStyleCnt="5"/>
      <dgm:spPr/>
    </dgm:pt>
    <dgm:pt modelId="{B826C34C-B6EB-46BD-AC88-3A5C9CFB89AB}" type="pres">
      <dgm:prSet presAssocID="{05169DDD-C37B-4CD0-B1B3-2AC2FB2B5252}" presName="hierRoot2" presStyleCnt="0">
        <dgm:presLayoutVars>
          <dgm:hierBranch val="init"/>
        </dgm:presLayoutVars>
      </dgm:prSet>
      <dgm:spPr/>
    </dgm:pt>
    <dgm:pt modelId="{6B950F9E-C5BD-481B-BDDE-07E0BB637400}" type="pres">
      <dgm:prSet presAssocID="{05169DDD-C37B-4CD0-B1B3-2AC2FB2B5252}" presName="rootComposite2" presStyleCnt="0"/>
      <dgm:spPr/>
    </dgm:pt>
    <dgm:pt modelId="{309886F9-B6DA-4E41-8FBF-73B521705ED1}" type="pres">
      <dgm:prSet presAssocID="{05169DDD-C37B-4CD0-B1B3-2AC2FB2B5252}" presName="rootText2" presStyleLbl="alignAcc1" presStyleIdx="0" presStyleCnt="0">
        <dgm:presLayoutVars>
          <dgm:chPref val="3"/>
        </dgm:presLayoutVars>
      </dgm:prSet>
      <dgm:spPr/>
    </dgm:pt>
    <dgm:pt modelId="{6EA35E6E-04EF-4124-A7CD-25F7C51EC990}" type="pres">
      <dgm:prSet presAssocID="{05169DDD-C37B-4CD0-B1B3-2AC2FB2B5252}" presName="topArc2" presStyleLbl="parChTrans1D1" presStyleIdx="10" presStyleCnt="12"/>
      <dgm:spPr>
        <a:ln w="76200">
          <a:solidFill>
            <a:srgbClr val="F06A11"/>
          </a:solidFill>
        </a:ln>
      </dgm:spPr>
    </dgm:pt>
    <dgm:pt modelId="{54A80AB5-2AC5-42C6-BFAD-27E603EDCB86}" type="pres">
      <dgm:prSet presAssocID="{05169DDD-C37B-4CD0-B1B3-2AC2FB2B5252}" presName="bottomArc2" presStyleLbl="parChTrans1D1" presStyleIdx="11" presStyleCnt="12"/>
      <dgm:spPr>
        <a:ln w="76200">
          <a:solidFill>
            <a:srgbClr val="F06A11"/>
          </a:solidFill>
        </a:ln>
      </dgm:spPr>
    </dgm:pt>
    <dgm:pt modelId="{F2151711-5C7E-4864-98A1-5DAF0EF6830E}" type="pres">
      <dgm:prSet presAssocID="{05169DDD-C37B-4CD0-B1B3-2AC2FB2B5252}" presName="topConnNode2" presStyleLbl="node2" presStyleIdx="0" presStyleCnt="0"/>
      <dgm:spPr/>
    </dgm:pt>
    <dgm:pt modelId="{7363ED5A-0DF6-4D02-ABB6-D4078FE44C08}" type="pres">
      <dgm:prSet presAssocID="{05169DDD-C37B-4CD0-B1B3-2AC2FB2B5252}" presName="hierChild4" presStyleCnt="0"/>
      <dgm:spPr/>
    </dgm:pt>
    <dgm:pt modelId="{25D178BE-B0CF-4F84-B1EA-4ED3FD492570}" type="pres">
      <dgm:prSet presAssocID="{05169DDD-C37B-4CD0-B1B3-2AC2FB2B5252}" presName="hierChild5" presStyleCnt="0"/>
      <dgm:spPr/>
    </dgm:pt>
    <dgm:pt modelId="{8C92C4F0-1933-4475-83C2-B2767ABDF6CA}" type="pres">
      <dgm:prSet presAssocID="{215E5331-2D2C-4FB3-9F55-1D2EF2DEC1EA}" presName="hierChild3" presStyleCnt="0"/>
      <dgm:spPr/>
    </dgm:pt>
  </dgm:ptLst>
  <dgm:cxnLst>
    <dgm:cxn modelId="{9863F705-B000-41A6-8004-D98CC432F62A}" type="presOf" srcId="{05169DDD-C37B-4CD0-B1B3-2AC2FB2B5252}" destId="{309886F9-B6DA-4E41-8FBF-73B521705ED1}" srcOrd="0" destOrd="0" presId="urn:microsoft.com/office/officeart/2008/layout/HalfCircleOrganizationChart"/>
    <dgm:cxn modelId="{05CF4906-0594-4EE1-BA0A-8599466FE800}" type="presOf" srcId="{7045065F-E162-4889-B08B-77223FAEBC62}" destId="{75B74E6A-1FF3-4A5E-879F-C3F14684A0CA}" srcOrd="0" destOrd="0" presId="urn:microsoft.com/office/officeart/2008/layout/HalfCircleOrganizationChart"/>
    <dgm:cxn modelId="{39DF3E0A-A531-487F-8DD7-7D34CD3CAA7E}" srcId="{215E5331-2D2C-4FB3-9F55-1D2EF2DEC1EA}" destId="{F5453A15-2502-493E-B244-448F24BC5A7E}" srcOrd="1" destOrd="0" parTransId="{31B9E372-E47A-4B47-BCFD-207035F6D3F5}" sibTransId="{F3330CEE-3FD9-4B56-BD01-470D875831A3}"/>
    <dgm:cxn modelId="{E3CE5A0A-2432-49A7-9966-DEC48DC8C513}" type="presOf" srcId="{31B9E372-E47A-4B47-BCFD-207035F6D3F5}" destId="{60896175-C6DB-4E1E-A8BE-1AD415FB5EF0}" srcOrd="0" destOrd="0" presId="urn:microsoft.com/office/officeart/2008/layout/HalfCircleOrganizationChart"/>
    <dgm:cxn modelId="{17D83210-A942-45BF-BCA1-0324860519B6}" type="presOf" srcId="{75F0A018-8250-4BBC-A5AD-5870AC93F885}" destId="{419419A0-8739-476A-BCA8-987B9FC651EC}" srcOrd="0" destOrd="0" presId="urn:microsoft.com/office/officeart/2008/layout/HalfCircleOrganizationChart"/>
    <dgm:cxn modelId="{A392ED1B-2C4A-4B1F-A1D3-2477AB201D5F}" srcId="{215E5331-2D2C-4FB3-9F55-1D2EF2DEC1EA}" destId="{243D28EA-9BD8-4E8B-AAA6-B2B492FDDD23}" srcOrd="2" destOrd="0" parTransId="{7045065F-E162-4889-B08B-77223FAEBC62}" sibTransId="{78D6438B-2504-4505-A03A-0672CC72BCD2}"/>
    <dgm:cxn modelId="{B4AE263A-AF37-4ACD-91F5-98988F256281}" srcId="{215E5331-2D2C-4FB3-9F55-1D2EF2DEC1EA}" destId="{24A170A4-0A60-4EB8-8A86-49610F2B6C7C}" srcOrd="3" destOrd="0" parTransId="{7A7D3140-1518-4FFF-B31A-C199598BD954}" sibTransId="{FA93B982-704B-4035-83FA-DCB137011DB3}"/>
    <dgm:cxn modelId="{5AC7F268-AED1-439F-B5AF-1E0DB5F0BCD6}" srcId="{75F0A018-8250-4BBC-A5AD-5870AC93F885}" destId="{215E5331-2D2C-4FB3-9F55-1D2EF2DEC1EA}" srcOrd="0" destOrd="0" parTransId="{6B2E9F48-364C-47E7-9049-C27F66324C94}" sibTransId="{71B386DF-A663-4ABB-97F3-9D80056FCA0E}"/>
    <dgm:cxn modelId="{E5174D76-4D7A-4D7C-9FA3-ACF450D0CE9A}" type="presOf" srcId="{A940C021-77C8-4634-A615-E6705C87CDA1}" destId="{96DB9339-8537-43BC-A26D-733350F6B4F3}" srcOrd="0" destOrd="0" presId="urn:microsoft.com/office/officeart/2008/layout/HalfCircleOrganizationChart"/>
    <dgm:cxn modelId="{56FF357F-776F-44ED-AADB-52DAE6D3F813}" type="presOf" srcId="{F5453A15-2502-493E-B244-448F24BC5A7E}" destId="{8DE216AF-BE97-420F-A2A5-57B5B76DF52D}" srcOrd="1" destOrd="0" presId="urn:microsoft.com/office/officeart/2008/layout/HalfCircleOrganizationChart"/>
    <dgm:cxn modelId="{4554F18E-3DE8-456D-82E4-49E50C80DBE6}" type="presOf" srcId="{129B5260-15B4-4FF1-8D80-922812CB682F}" destId="{7D8DB299-AE68-411E-A9DF-B670989F30A3}" srcOrd="0" destOrd="0" presId="urn:microsoft.com/office/officeart/2008/layout/HalfCircleOrganizationChart"/>
    <dgm:cxn modelId="{CA23F691-107B-4BD9-9326-B2546571F3BA}" type="presOf" srcId="{24A170A4-0A60-4EB8-8A86-49610F2B6C7C}" destId="{E7D9C807-1ACE-49E8-A034-EFBCF0858ED6}" srcOrd="1" destOrd="0" presId="urn:microsoft.com/office/officeart/2008/layout/HalfCircleOrganizationChart"/>
    <dgm:cxn modelId="{58622097-EBB4-4F5E-B559-5A3A889BE396}" type="presOf" srcId="{243D28EA-9BD8-4E8B-AAA6-B2B492FDDD23}" destId="{0D93038C-BAF6-4EA0-8295-508DDA5CD839}" srcOrd="1" destOrd="0" presId="urn:microsoft.com/office/officeart/2008/layout/HalfCircleOrganizationChart"/>
    <dgm:cxn modelId="{F9EFEB9C-2760-4325-A65D-788BB201CA3E}" type="presOf" srcId="{B640DD77-0A86-4E38-8D2F-CA83847E59BB}" destId="{7A0E7E19-6A4D-4E7B-8085-B26F31501AF1}" srcOrd="0" destOrd="0" presId="urn:microsoft.com/office/officeart/2008/layout/HalfCircleOrganizationChart"/>
    <dgm:cxn modelId="{7C5E499D-1CA7-4C6A-9E61-04352DEEB6A2}" type="presOf" srcId="{24A170A4-0A60-4EB8-8A86-49610F2B6C7C}" destId="{694C6A68-0F15-433E-AF35-521936736D0C}" srcOrd="0" destOrd="0" presId="urn:microsoft.com/office/officeart/2008/layout/HalfCircleOrganizationChart"/>
    <dgm:cxn modelId="{69BFDA9D-7A43-4F27-98C1-B9CB24CE04C5}" type="presOf" srcId="{05169DDD-C37B-4CD0-B1B3-2AC2FB2B5252}" destId="{F2151711-5C7E-4864-98A1-5DAF0EF6830E}" srcOrd="1" destOrd="0" presId="urn:microsoft.com/office/officeart/2008/layout/HalfCircleOrganizationChart"/>
    <dgm:cxn modelId="{10BF7EA0-9599-4943-90DE-4FF90E446EEA}" srcId="{215E5331-2D2C-4FB3-9F55-1D2EF2DEC1EA}" destId="{A940C021-77C8-4634-A615-E6705C87CDA1}" srcOrd="0" destOrd="0" parTransId="{B640DD77-0A86-4E38-8D2F-CA83847E59BB}" sibTransId="{D4A9766B-9CF2-44CF-95D7-6A5BD3CC47EA}"/>
    <dgm:cxn modelId="{655C43A5-2A3F-4E84-8D1D-3C0707419339}" type="presOf" srcId="{A940C021-77C8-4634-A615-E6705C87CDA1}" destId="{A6D7BC85-DB96-4212-BA0D-8831E8615D90}" srcOrd="1" destOrd="0" presId="urn:microsoft.com/office/officeart/2008/layout/HalfCircleOrganizationChart"/>
    <dgm:cxn modelId="{FA9A7AA7-1C6D-4AEF-A4B5-762B24A0B258}" type="presOf" srcId="{215E5331-2D2C-4FB3-9F55-1D2EF2DEC1EA}" destId="{489D29C2-9468-4052-8011-BFE214B56676}" srcOrd="1" destOrd="0" presId="urn:microsoft.com/office/officeart/2008/layout/HalfCircleOrganizationChart"/>
    <dgm:cxn modelId="{1C49FAAA-F55D-4779-A307-D1982969E93C}" srcId="{215E5331-2D2C-4FB3-9F55-1D2EF2DEC1EA}" destId="{05169DDD-C37B-4CD0-B1B3-2AC2FB2B5252}" srcOrd="4" destOrd="0" parTransId="{129B5260-15B4-4FF1-8D80-922812CB682F}" sibTransId="{015F55EC-1F5E-448E-8BFF-C7252C158AE5}"/>
    <dgm:cxn modelId="{AE4535C8-29BF-4AC6-A961-F78503FC67AC}" type="presOf" srcId="{F5453A15-2502-493E-B244-448F24BC5A7E}" destId="{0BB54D7C-1F47-43F0-A916-1A0480ECE2E7}" srcOrd="0" destOrd="0" presId="urn:microsoft.com/office/officeart/2008/layout/HalfCircleOrganizationChart"/>
    <dgm:cxn modelId="{A6E3A5D7-B708-4F61-9AE4-1365F100996A}" type="presOf" srcId="{243D28EA-9BD8-4E8B-AAA6-B2B492FDDD23}" destId="{702065BE-0087-4903-B81C-435B3EBE4D65}" srcOrd="0" destOrd="0" presId="urn:microsoft.com/office/officeart/2008/layout/HalfCircleOrganizationChart"/>
    <dgm:cxn modelId="{5BF72CDE-F0AD-44F7-B1FD-0987FCD8A5BE}" type="presOf" srcId="{7A7D3140-1518-4FFF-B31A-C199598BD954}" destId="{EE217AD0-210F-424E-AED1-76A2E452A6E8}" srcOrd="0" destOrd="0" presId="urn:microsoft.com/office/officeart/2008/layout/HalfCircleOrganizationChart"/>
    <dgm:cxn modelId="{F0F88BE0-1484-4A31-A97D-AD6DB88EE678}" type="presOf" srcId="{215E5331-2D2C-4FB3-9F55-1D2EF2DEC1EA}" destId="{E1CC927B-4537-4D76-9346-43F8F0E85A02}" srcOrd="0" destOrd="0" presId="urn:microsoft.com/office/officeart/2008/layout/HalfCircleOrganizationChart"/>
    <dgm:cxn modelId="{284476B0-4CA4-49E8-BB4A-3D8C287D8816}" type="presParOf" srcId="{419419A0-8739-476A-BCA8-987B9FC651EC}" destId="{2372EB96-83F1-469D-BEF3-ACFCD4F7C162}" srcOrd="0" destOrd="0" presId="urn:microsoft.com/office/officeart/2008/layout/HalfCircleOrganizationChart"/>
    <dgm:cxn modelId="{784F06AA-4D36-4832-BCA8-1736AD81EDF1}" type="presParOf" srcId="{2372EB96-83F1-469D-BEF3-ACFCD4F7C162}" destId="{89C09D5A-C6A2-478B-9DF5-DEC08397F093}" srcOrd="0" destOrd="0" presId="urn:microsoft.com/office/officeart/2008/layout/HalfCircleOrganizationChart"/>
    <dgm:cxn modelId="{86729E1B-9CA1-4A3A-922C-67FD93D4B4DA}" type="presParOf" srcId="{89C09D5A-C6A2-478B-9DF5-DEC08397F093}" destId="{E1CC927B-4537-4D76-9346-43F8F0E85A02}" srcOrd="0" destOrd="0" presId="urn:microsoft.com/office/officeart/2008/layout/HalfCircleOrganizationChart"/>
    <dgm:cxn modelId="{192F42A0-6504-46AB-92A4-87C0D15B1C45}" type="presParOf" srcId="{89C09D5A-C6A2-478B-9DF5-DEC08397F093}" destId="{523E6638-CEE7-4CDD-A6AB-81928F000666}" srcOrd="1" destOrd="0" presId="urn:microsoft.com/office/officeart/2008/layout/HalfCircleOrganizationChart"/>
    <dgm:cxn modelId="{D02D6262-336A-4C54-B431-36A02C5890D2}" type="presParOf" srcId="{89C09D5A-C6A2-478B-9DF5-DEC08397F093}" destId="{D49B60EF-F946-4A95-87A3-7A88330A0162}" srcOrd="2" destOrd="0" presId="urn:microsoft.com/office/officeart/2008/layout/HalfCircleOrganizationChart"/>
    <dgm:cxn modelId="{62EF13AC-22E7-4797-B03E-6B07155F0F8A}" type="presParOf" srcId="{89C09D5A-C6A2-478B-9DF5-DEC08397F093}" destId="{489D29C2-9468-4052-8011-BFE214B56676}" srcOrd="3" destOrd="0" presId="urn:microsoft.com/office/officeart/2008/layout/HalfCircleOrganizationChart"/>
    <dgm:cxn modelId="{6B4F85FE-43E0-41D3-8F5A-98AA2B630B68}" type="presParOf" srcId="{2372EB96-83F1-469D-BEF3-ACFCD4F7C162}" destId="{65CB0E49-7D74-47E1-9DEA-896718F55326}" srcOrd="1" destOrd="0" presId="urn:microsoft.com/office/officeart/2008/layout/HalfCircleOrganizationChart"/>
    <dgm:cxn modelId="{E1AF5B87-CDCB-4A03-A063-DBB625997A01}" type="presParOf" srcId="{65CB0E49-7D74-47E1-9DEA-896718F55326}" destId="{7A0E7E19-6A4D-4E7B-8085-B26F31501AF1}" srcOrd="0" destOrd="0" presId="urn:microsoft.com/office/officeart/2008/layout/HalfCircleOrganizationChart"/>
    <dgm:cxn modelId="{4501F690-4573-449A-A0A1-67D7E738E5AB}" type="presParOf" srcId="{65CB0E49-7D74-47E1-9DEA-896718F55326}" destId="{F16331D3-F4A5-4AB0-B719-9C2BE57A949F}" srcOrd="1" destOrd="0" presId="urn:microsoft.com/office/officeart/2008/layout/HalfCircleOrganizationChart"/>
    <dgm:cxn modelId="{C0B47A86-368C-4659-BEFE-A73D94DA3F6B}" type="presParOf" srcId="{F16331D3-F4A5-4AB0-B719-9C2BE57A949F}" destId="{25840C15-A57B-4DDB-85FB-6398C277FC55}" srcOrd="0" destOrd="0" presId="urn:microsoft.com/office/officeart/2008/layout/HalfCircleOrganizationChart"/>
    <dgm:cxn modelId="{C59F00B1-D7F2-46C6-978F-D6C7D99317DC}" type="presParOf" srcId="{25840C15-A57B-4DDB-85FB-6398C277FC55}" destId="{96DB9339-8537-43BC-A26D-733350F6B4F3}" srcOrd="0" destOrd="0" presId="urn:microsoft.com/office/officeart/2008/layout/HalfCircleOrganizationChart"/>
    <dgm:cxn modelId="{2F95A4F8-123B-4C2D-95EB-1291EFE1108B}" type="presParOf" srcId="{25840C15-A57B-4DDB-85FB-6398C277FC55}" destId="{9C52F8DE-6241-4C9C-B476-4AEBF9B4FD7E}" srcOrd="1" destOrd="0" presId="urn:microsoft.com/office/officeart/2008/layout/HalfCircleOrganizationChart"/>
    <dgm:cxn modelId="{60F876B3-93B4-4FA1-B866-1E253F650123}" type="presParOf" srcId="{25840C15-A57B-4DDB-85FB-6398C277FC55}" destId="{F273E835-432F-4F7D-877D-80E0F2D4460A}" srcOrd="2" destOrd="0" presId="urn:microsoft.com/office/officeart/2008/layout/HalfCircleOrganizationChart"/>
    <dgm:cxn modelId="{E98B6C2A-3BC1-40D2-A98E-FEEDD45CD497}" type="presParOf" srcId="{25840C15-A57B-4DDB-85FB-6398C277FC55}" destId="{A6D7BC85-DB96-4212-BA0D-8831E8615D90}" srcOrd="3" destOrd="0" presId="urn:microsoft.com/office/officeart/2008/layout/HalfCircleOrganizationChart"/>
    <dgm:cxn modelId="{A2B52606-7C47-42C4-8538-B291C28749F4}" type="presParOf" srcId="{F16331D3-F4A5-4AB0-B719-9C2BE57A949F}" destId="{CCCF828E-B265-4252-AF15-F49136625BA6}" srcOrd="1" destOrd="0" presId="urn:microsoft.com/office/officeart/2008/layout/HalfCircleOrganizationChart"/>
    <dgm:cxn modelId="{91A89255-0E65-411D-BBDB-79B617941591}" type="presParOf" srcId="{F16331D3-F4A5-4AB0-B719-9C2BE57A949F}" destId="{2AB4A030-8A4D-47BB-8FC0-6084CC09B553}" srcOrd="2" destOrd="0" presId="urn:microsoft.com/office/officeart/2008/layout/HalfCircleOrganizationChart"/>
    <dgm:cxn modelId="{46E4DB87-461D-4FEE-8DDC-FA6F232A3A7C}" type="presParOf" srcId="{65CB0E49-7D74-47E1-9DEA-896718F55326}" destId="{60896175-C6DB-4E1E-A8BE-1AD415FB5EF0}" srcOrd="2" destOrd="0" presId="urn:microsoft.com/office/officeart/2008/layout/HalfCircleOrganizationChart"/>
    <dgm:cxn modelId="{B39FE2AF-1BD5-401A-8776-75B851A3FDAA}" type="presParOf" srcId="{65CB0E49-7D74-47E1-9DEA-896718F55326}" destId="{4BCC92AC-4595-4BBF-B01E-A124A6B154A0}" srcOrd="3" destOrd="0" presId="urn:microsoft.com/office/officeart/2008/layout/HalfCircleOrganizationChart"/>
    <dgm:cxn modelId="{900BAC21-3B83-41B5-8287-45A29FD5019D}" type="presParOf" srcId="{4BCC92AC-4595-4BBF-B01E-A124A6B154A0}" destId="{4A3BA27E-5CA0-4594-B155-4663A9F1B015}" srcOrd="0" destOrd="0" presId="urn:microsoft.com/office/officeart/2008/layout/HalfCircleOrganizationChart"/>
    <dgm:cxn modelId="{C94968D3-7BDF-4EFD-B491-CA997F735B96}" type="presParOf" srcId="{4A3BA27E-5CA0-4594-B155-4663A9F1B015}" destId="{0BB54D7C-1F47-43F0-A916-1A0480ECE2E7}" srcOrd="0" destOrd="0" presId="urn:microsoft.com/office/officeart/2008/layout/HalfCircleOrganizationChart"/>
    <dgm:cxn modelId="{CC27C9DC-F34B-4C0A-A3B6-3BB32F2CF1F2}" type="presParOf" srcId="{4A3BA27E-5CA0-4594-B155-4663A9F1B015}" destId="{180B94AF-F60F-4386-8036-D11956FF0790}" srcOrd="1" destOrd="0" presId="urn:microsoft.com/office/officeart/2008/layout/HalfCircleOrganizationChart"/>
    <dgm:cxn modelId="{4CD3C117-CA44-471C-AAE8-B612398ED9CE}" type="presParOf" srcId="{4A3BA27E-5CA0-4594-B155-4663A9F1B015}" destId="{4993B601-465E-4C7E-B658-EBC5E89335EA}" srcOrd="2" destOrd="0" presId="urn:microsoft.com/office/officeart/2008/layout/HalfCircleOrganizationChart"/>
    <dgm:cxn modelId="{62FFEE62-A0F2-46A3-8E51-733ECF0B0FC5}" type="presParOf" srcId="{4A3BA27E-5CA0-4594-B155-4663A9F1B015}" destId="{8DE216AF-BE97-420F-A2A5-57B5B76DF52D}" srcOrd="3" destOrd="0" presId="urn:microsoft.com/office/officeart/2008/layout/HalfCircleOrganizationChart"/>
    <dgm:cxn modelId="{7BABF788-ED4C-4880-96D1-EE481889601B}" type="presParOf" srcId="{4BCC92AC-4595-4BBF-B01E-A124A6B154A0}" destId="{1A4894E4-1ADC-4275-B69D-F997BB7F89C5}" srcOrd="1" destOrd="0" presId="urn:microsoft.com/office/officeart/2008/layout/HalfCircleOrganizationChart"/>
    <dgm:cxn modelId="{77E03280-20CA-4695-926D-05C27AF48A16}" type="presParOf" srcId="{4BCC92AC-4595-4BBF-B01E-A124A6B154A0}" destId="{333E7F00-3781-47B2-9452-25B602F981C1}" srcOrd="2" destOrd="0" presId="urn:microsoft.com/office/officeart/2008/layout/HalfCircleOrganizationChart"/>
    <dgm:cxn modelId="{2E9C6D7C-90A3-40C1-BA5A-6F9D95F84F24}" type="presParOf" srcId="{65CB0E49-7D74-47E1-9DEA-896718F55326}" destId="{75B74E6A-1FF3-4A5E-879F-C3F14684A0CA}" srcOrd="4" destOrd="0" presId="urn:microsoft.com/office/officeart/2008/layout/HalfCircleOrganizationChart"/>
    <dgm:cxn modelId="{1C4A8576-D232-4F0F-B391-80D1B1C74F74}" type="presParOf" srcId="{65CB0E49-7D74-47E1-9DEA-896718F55326}" destId="{CA757335-E032-4AA1-BDCF-CDCBF1A02BCD}" srcOrd="5" destOrd="0" presId="urn:microsoft.com/office/officeart/2008/layout/HalfCircleOrganizationChart"/>
    <dgm:cxn modelId="{A19804F6-8366-4B98-829E-20E629F55E37}" type="presParOf" srcId="{CA757335-E032-4AA1-BDCF-CDCBF1A02BCD}" destId="{0ED0641C-065B-43FB-9642-A048DA2CDC03}" srcOrd="0" destOrd="0" presId="urn:microsoft.com/office/officeart/2008/layout/HalfCircleOrganizationChart"/>
    <dgm:cxn modelId="{547D0279-8E5E-4317-B10D-D01CE736FD5D}" type="presParOf" srcId="{0ED0641C-065B-43FB-9642-A048DA2CDC03}" destId="{702065BE-0087-4903-B81C-435B3EBE4D65}" srcOrd="0" destOrd="0" presId="urn:microsoft.com/office/officeart/2008/layout/HalfCircleOrganizationChart"/>
    <dgm:cxn modelId="{C184091F-84C4-43B3-9BEA-7434388FC017}" type="presParOf" srcId="{0ED0641C-065B-43FB-9642-A048DA2CDC03}" destId="{1FC4CF00-5BB6-463A-9106-81C5A90659D3}" srcOrd="1" destOrd="0" presId="urn:microsoft.com/office/officeart/2008/layout/HalfCircleOrganizationChart"/>
    <dgm:cxn modelId="{99A72836-1285-41CE-BFDC-ECE44DFA0892}" type="presParOf" srcId="{0ED0641C-065B-43FB-9642-A048DA2CDC03}" destId="{4FB3A5A6-8863-48DD-A549-40257FD53EE8}" srcOrd="2" destOrd="0" presId="urn:microsoft.com/office/officeart/2008/layout/HalfCircleOrganizationChart"/>
    <dgm:cxn modelId="{976B930A-6863-43B6-8133-602BEA3CCCD0}" type="presParOf" srcId="{0ED0641C-065B-43FB-9642-A048DA2CDC03}" destId="{0D93038C-BAF6-4EA0-8295-508DDA5CD839}" srcOrd="3" destOrd="0" presId="urn:microsoft.com/office/officeart/2008/layout/HalfCircleOrganizationChart"/>
    <dgm:cxn modelId="{64C29180-8034-4B49-8DD2-5DD0010C0E79}" type="presParOf" srcId="{CA757335-E032-4AA1-BDCF-CDCBF1A02BCD}" destId="{D9F0BE2D-3D29-4067-8E4C-936199A65F34}" srcOrd="1" destOrd="0" presId="urn:microsoft.com/office/officeart/2008/layout/HalfCircleOrganizationChart"/>
    <dgm:cxn modelId="{3CE5B9FA-FE6D-4349-93F6-BAD41F9458D2}" type="presParOf" srcId="{CA757335-E032-4AA1-BDCF-CDCBF1A02BCD}" destId="{8699D467-06F1-4A4F-984E-D5416E5BDE23}" srcOrd="2" destOrd="0" presId="urn:microsoft.com/office/officeart/2008/layout/HalfCircleOrganizationChart"/>
    <dgm:cxn modelId="{C3714385-620B-4297-9D4B-5A00C7407B77}" type="presParOf" srcId="{65CB0E49-7D74-47E1-9DEA-896718F55326}" destId="{EE217AD0-210F-424E-AED1-76A2E452A6E8}" srcOrd="6" destOrd="0" presId="urn:microsoft.com/office/officeart/2008/layout/HalfCircleOrganizationChart"/>
    <dgm:cxn modelId="{DE4EEFD1-BB22-4B54-88A6-B7847F9EB502}" type="presParOf" srcId="{65CB0E49-7D74-47E1-9DEA-896718F55326}" destId="{0EF21593-5450-42FD-AAE4-FCDF2F455EFD}" srcOrd="7" destOrd="0" presId="urn:microsoft.com/office/officeart/2008/layout/HalfCircleOrganizationChart"/>
    <dgm:cxn modelId="{4785B126-3E85-4B46-B4D3-954C5E10E347}" type="presParOf" srcId="{0EF21593-5450-42FD-AAE4-FCDF2F455EFD}" destId="{321267DB-9591-48BE-A554-46F44E20EF72}" srcOrd="0" destOrd="0" presId="urn:microsoft.com/office/officeart/2008/layout/HalfCircleOrganizationChart"/>
    <dgm:cxn modelId="{F3160508-00BA-48DE-B19F-B26BE13DEEC6}" type="presParOf" srcId="{321267DB-9591-48BE-A554-46F44E20EF72}" destId="{694C6A68-0F15-433E-AF35-521936736D0C}" srcOrd="0" destOrd="0" presId="urn:microsoft.com/office/officeart/2008/layout/HalfCircleOrganizationChart"/>
    <dgm:cxn modelId="{DE5DE997-4A05-45D6-A1D9-49408DE0A6AA}" type="presParOf" srcId="{321267DB-9591-48BE-A554-46F44E20EF72}" destId="{8A86CEED-DA9B-4AA5-A92B-20347514D52C}" srcOrd="1" destOrd="0" presId="urn:microsoft.com/office/officeart/2008/layout/HalfCircleOrganizationChart"/>
    <dgm:cxn modelId="{6E752C48-41A1-4451-A123-19E1145151B4}" type="presParOf" srcId="{321267DB-9591-48BE-A554-46F44E20EF72}" destId="{06966F7A-0683-44AC-8B53-4576CA448A60}" srcOrd="2" destOrd="0" presId="urn:microsoft.com/office/officeart/2008/layout/HalfCircleOrganizationChart"/>
    <dgm:cxn modelId="{DE1506F7-A0FA-4921-A83A-B64E417B9F7A}" type="presParOf" srcId="{321267DB-9591-48BE-A554-46F44E20EF72}" destId="{E7D9C807-1ACE-49E8-A034-EFBCF0858ED6}" srcOrd="3" destOrd="0" presId="urn:microsoft.com/office/officeart/2008/layout/HalfCircleOrganizationChart"/>
    <dgm:cxn modelId="{916F53E1-0CDD-4914-9071-AA615C7CB94C}" type="presParOf" srcId="{0EF21593-5450-42FD-AAE4-FCDF2F455EFD}" destId="{A02D41ED-9660-4C03-AAC4-3FC372B96A6E}" srcOrd="1" destOrd="0" presId="urn:microsoft.com/office/officeart/2008/layout/HalfCircleOrganizationChart"/>
    <dgm:cxn modelId="{657CF28C-F1F2-4662-88B8-8C6DF3968D14}" type="presParOf" srcId="{0EF21593-5450-42FD-AAE4-FCDF2F455EFD}" destId="{08335106-DD26-4D04-B867-2F60544FC1DC}" srcOrd="2" destOrd="0" presId="urn:microsoft.com/office/officeart/2008/layout/HalfCircleOrganizationChart"/>
    <dgm:cxn modelId="{D9076301-CC4B-4B97-999F-EEDADD185A26}" type="presParOf" srcId="{65CB0E49-7D74-47E1-9DEA-896718F55326}" destId="{7D8DB299-AE68-411E-A9DF-B670989F30A3}" srcOrd="8" destOrd="0" presId="urn:microsoft.com/office/officeart/2008/layout/HalfCircleOrganizationChart"/>
    <dgm:cxn modelId="{9A17A13B-CFB2-4B10-8312-21D6373A28AE}" type="presParOf" srcId="{65CB0E49-7D74-47E1-9DEA-896718F55326}" destId="{B826C34C-B6EB-46BD-AC88-3A5C9CFB89AB}" srcOrd="9" destOrd="0" presId="urn:microsoft.com/office/officeart/2008/layout/HalfCircleOrganizationChart"/>
    <dgm:cxn modelId="{BFF2519F-4B35-4EA5-8D23-4634AA446948}" type="presParOf" srcId="{B826C34C-B6EB-46BD-AC88-3A5C9CFB89AB}" destId="{6B950F9E-C5BD-481B-BDDE-07E0BB637400}" srcOrd="0" destOrd="0" presId="urn:microsoft.com/office/officeart/2008/layout/HalfCircleOrganizationChart"/>
    <dgm:cxn modelId="{601A85D8-C5EE-4122-9340-7CC612C106A0}" type="presParOf" srcId="{6B950F9E-C5BD-481B-BDDE-07E0BB637400}" destId="{309886F9-B6DA-4E41-8FBF-73B521705ED1}" srcOrd="0" destOrd="0" presId="urn:microsoft.com/office/officeart/2008/layout/HalfCircleOrganizationChart"/>
    <dgm:cxn modelId="{0CE2C3FC-4A49-437D-A2B2-765EFA1829D9}" type="presParOf" srcId="{6B950F9E-C5BD-481B-BDDE-07E0BB637400}" destId="{6EA35E6E-04EF-4124-A7CD-25F7C51EC990}" srcOrd="1" destOrd="0" presId="urn:microsoft.com/office/officeart/2008/layout/HalfCircleOrganizationChart"/>
    <dgm:cxn modelId="{DA800F08-F73F-4888-A1D9-862C438F2834}" type="presParOf" srcId="{6B950F9E-C5BD-481B-BDDE-07E0BB637400}" destId="{54A80AB5-2AC5-42C6-BFAD-27E603EDCB86}" srcOrd="2" destOrd="0" presId="urn:microsoft.com/office/officeart/2008/layout/HalfCircleOrganizationChart"/>
    <dgm:cxn modelId="{C0D228A1-D6D8-4CA1-866F-0BEC0DE4DCF8}" type="presParOf" srcId="{6B950F9E-C5BD-481B-BDDE-07E0BB637400}" destId="{F2151711-5C7E-4864-98A1-5DAF0EF6830E}" srcOrd="3" destOrd="0" presId="urn:microsoft.com/office/officeart/2008/layout/HalfCircleOrganizationChart"/>
    <dgm:cxn modelId="{C80FF708-DC9E-411B-AFF0-0BB3513BCBBB}" type="presParOf" srcId="{B826C34C-B6EB-46BD-AC88-3A5C9CFB89AB}" destId="{7363ED5A-0DF6-4D02-ABB6-D4078FE44C08}" srcOrd="1" destOrd="0" presId="urn:microsoft.com/office/officeart/2008/layout/HalfCircleOrganizationChart"/>
    <dgm:cxn modelId="{B5490786-B56E-451D-8AB5-7074E37B6A7D}" type="presParOf" srcId="{B826C34C-B6EB-46BD-AC88-3A5C9CFB89AB}" destId="{25D178BE-B0CF-4F84-B1EA-4ED3FD492570}" srcOrd="2" destOrd="0" presId="urn:microsoft.com/office/officeart/2008/layout/HalfCircleOrganizationChart"/>
    <dgm:cxn modelId="{C9F564E3-29C2-4B0C-898C-FF60685849C7}" type="presParOf" srcId="{2372EB96-83F1-469D-BEF3-ACFCD4F7C162}" destId="{8C92C4F0-1933-4475-83C2-B2767ABDF6CA}" srcOrd="2" destOrd="0" presId="urn:microsoft.com/office/officeart/2008/layout/HalfCircleOrganizationChart"/>
  </dgm:cxnLst>
  <dgm:bg>
    <a:noFill/>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68E1A1C-D4F1-4012-A1E1-3B68A96420BB}"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sv-SE"/>
        </a:p>
      </dgm:t>
    </dgm:pt>
    <dgm:pt modelId="{241EA819-4260-46C5-9655-CA1611108D8D}">
      <dgm:prSet phldrT="[Text]"/>
      <dgm:spPr/>
      <dgm:t>
        <a:bodyPr/>
        <a:lstStyle/>
        <a:p>
          <a:pPr rtl="0"/>
          <a:r>
            <a:rPr lang="en-GB"/>
            <a:t> </a:t>
          </a:r>
        </a:p>
      </dgm:t>
    </dgm:pt>
    <dgm:pt modelId="{26262CE8-F0FC-40C4-BD45-94B724995E2D}" type="parTrans" cxnId="{E790DC11-AD32-49C6-B768-11709763FA99}">
      <dgm:prSet/>
      <dgm:spPr/>
      <dgm:t>
        <a:bodyPr/>
        <a:lstStyle/>
        <a:p>
          <a:endParaRPr lang="sv-SE"/>
        </a:p>
      </dgm:t>
    </dgm:pt>
    <dgm:pt modelId="{3D7847A1-F4D3-4132-BBB4-B355384C3323}" type="sibTrans" cxnId="{E790DC11-AD32-49C6-B768-11709763FA99}">
      <dgm:prSet/>
      <dgm:spPr/>
      <dgm:t>
        <a:bodyPr/>
        <a:lstStyle/>
        <a:p>
          <a:pPr rtl="0"/>
          <a:endParaRPr lang="en-GB"/>
        </a:p>
      </dgm:t>
    </dgm:pt>
    <dgm:pt modelId="{54F51445-20DF-4A12-B728-A78C68DEB9AD}">
      <dgm:prSet phldrT="[Text]"/>
      <dgm:spPr/>
      <dgm:t>
        <a:bodyPr/>
        <a:lstStyle/>
        <a:p>
          <a:pPr rtl="0"/>
          <a:endParaRPr lang="en-GB"/>
        </a:p>
      </dgm:t>
    </dgm:pt>
    <dgm:pt modelId="{A54271F3-A51D-4E95-93A2-46BED7A60D09}" type="parTrans" cxnId="{ADD5602E-63EC-4D96-A8E3-C58EA352BBDA}">
      <dgm:prSet/>
      <dgm:spPr/>
      <dgm:t>
        <a:bodyPr/>
        <a:lstStyle/>
        <a:p>
          <a:endParaRPr lang="sv-SE"/>
        </a:p>
      </dgm:t>
    </dgm:pt>
    <dgm:pt modelId="{9AC3CD68-6902-4CDE-8CF9-7A0A8679698F}" type="sibTrans" cxnId="{ADD5602E-63EC-4D96-A8E3-C58EA352BBDA}">
      <dgm:prSet/>
      <dgm:spPr/>
      <dgm:t>
        <a:bodyPr/>
        <a:lstStyle/>
        <a:p>
          <a:pPr rtl="0"/>
          <a:endParaRPr lang="en-GB"/>
        </a:p>
      </dgm:t>
    </dgm:pt>
    <dgm:pt modelId="{259A07E1-B83A-45BA-89F3-4925F5ECA86D}">
      <dgm:prSet phldrT="[Text]"/>
      <dgm:spPr/>
      <dgm:t>
        <a:bodyPr/>
        <a:lstStyle/>
        <a:p>
          <a:pPr rtl="0"/>
          <a:endParaRPr lang="en-GB"/>
        </a:p>
      </dgm:t>
    </dgm:pt>
    <dgm:pt modelId="{836290CC-DCAC-4D6C-AEB6-EAAFAAF5547A}" type="parTrans" cxnId="{7929C67E-C0CF-4288-8879-3C718A768A15}">
      <dgm:prSet/>
      <dgm:spPr/>
      <dgm:t>
        <a:bodyPr/>
        <a:lstStyle/>
        <a:p>
          <a:endParaRPr lang="sv-SE"/>
        </a:p>
      </dgm:t>
    </dgm:pt>
    <dgm:pt modelId="{BA1B434B-7FD3-4D8C-B8F1-BAD1EBA28DA6}" type="sibTrans" cxnId="{7929C67E-C0CF-4288-8879-3C718A768A15}">
      <dgm:prSet/>
      <dgm:spPr/>
      <dgm:t>
        <a:bodyPr/>
        <a:lstStyle/>
        <a:p>
          <a:pPr rtl="0"/>
          <a:endParaRPr lang="en-GB"/>
        </a:p>
      </dgm:t>
    </dgm:pt>
    <dgm:pt modelId="{FC9F3E49-2389-4D07-BC91-394D790040E0}">
      <dgm:prSet phldrT="[Text]"/>
      <dgm:spPr/>
      <dgm:t>
        <a:bodyPr/>
        <a:lstStyle/>
        <a:p>
          <a:pPr rtl="0"/>
          <a:endParaRPr lang="en-GB"/>
        </a:p>
      </dgm:t>
    </dgm:pt>
    <dgm:pt modelId="{C67DD9C6-B7A2-455A-BC57-FB22DD239CFE}" type="parTrans" cxnId="{376426B0-E4CD-4B30-8E97-294B169D3151}">
      <dgm:prSet/>
      <dgm:spPr/>
      <dgm:t>
        <a:bodyPr/>
        <a:lstStyle/>
        <a:p>
          <a:endParaRPr lang="sv-SE"/>
        </a:p>
      </dgm:t>
    </dgm:pt>
    <dgm:pt modelId="{03359DA3-A4EC-4264-BF08-9B7A071A478B}" type="sibTrans" cxnId="{376426B0-E4CD-4B30-8E97-294B169D3151}">
      <dgm:prSet/>
      <dgm:spPr/>
      <dgm:t>
        <a:bodyPr/>
        <a:lstStyle/>
        <a:p>
          <a:pPr rtl="0"/>
          <a:endParaRPr lang="en-GB"/>
        </a:p>
      </dgm:t>
    </dgm:pt>
    <dgm:pt modelId="{3E2D0EE6-0EFF-4485-B42D-91C10BE868B8}">
      <dgm:prSet phldrT="[Text]"/>
      <dgm:spPr/>
      <dgm:t>
        <a:bodyPr/>
        <a:lstStyle/>
        <a:p>
          <a:pPr rtl="0"/>
          <a:endParaRPr lang="en-GB"/>
        </a:p>
      </dgm:t>
    </dgm:pt>
    <dgm:pt modelId="{B4D2D03C-2046-414E-ACF9-9EC19ABDD03D}" type="parTrans" cxnId="{85ABE911-C0A1-44D8-8625-A3A498FA8401}">
      <dgm:prSet/>
      <dgm:spPr/>
      <dgm:t>
        <a:bodyPr/>
        <a:lstStyle/>
        <a:p>
          <a:endParaRPr lang="sv-SE"/>
        </a:p>
      </dgm:t>
    </dgm:pt>
    <dgm:pt modelId="{91062FBD-1C46-4F3A-97C3-6E0843EF3708}" type="sibTrans" cxnId="{85ABE911-C0A1-44D8-8625-A3A498FA8401}">
      <dgm:prSet/>
      <dgm:spPr/>
      <dgm:t>
        <a:bodyPr/>
        <a:lstStyle/>
        <a:p>
          <a:pPr rtl="0"/>
          <a:endParaRPr lang="en-GB"/>
        </a:p>
      </dgm:t>
    </dgm:pt>
    <dgm:pt modelId="{E5D15C08-6F26-46BF-970E-8321025C20EC}">
      <dgm:prSet phldrT="[Text]"/>
      <dgm:spPr/>
      <dgm:t>
        <a:bodyPr/>
        <a:lstStyle/>
        <a:p>
          <a:pPr rtl="0"/>
          <a:endParaRPr lang="en-GB"/>
        </a:p>
      </dgm:t>
    </dgm:pt>
    <dgm:pt modelId="{52CA927C-194C-44CF-9590-2779F0B70495}" type="parTrans" cxnId="{54FCAD38-F5E5-4654-B029-ECB91BE322D6}">
      <dgm:prSet/>
      <dgm:spPr/>
      <dgm:t>
        <a:bodyPr/>
        <a:lstStyle/>
        <a:p>
          <a:endParaRPr lang="sv-SE"/>
        </a:p>
      </dgm:t>
    </dgm:pt>
    <dgm:pt modelId="{3A502325-3EB8-4DEB-93FC-F32EF5E39F35}" type="sibTrans" cxnId="{54FCAD38-F5E5-4654-B029-ECB91BE322D6}">
      <dgm:prSet/>
      <dgm:spPr/>
      <dgm:t>
        <a:bodyPr/>
        <a:lstStyle/>
        <a:p>
          <a:pPr rtl="0"/>
          <a:endParaRPr lang="en-GB"/>
        </a:p>
      </dgm:t>
    </dgm:pt>
    <dgm:pt modelId="{B24149A1-C37C-4937-A394-9D699302578F}">
      <dgm:prSet phldrT="[Text]"/>
      <dgm:spPr/>
      <dgm:t>
        <a:bodyPr/>
        <a:lstStyle/>
        <a:p>
          <a:pPr rtl="0"/>
          <a:endParaRPr lang="en-GB"/>
        </a:p>
      </dgm:t>
    </dgm:pt>
    <dgm:pt modelId="{47BABAA8-175D-4935-A6DF-ABB59F0AE603}" type="parTrans" cxnId="{C65E6E2D-C3D5-44A6-9A71-BA49AB0EA476}">
      <dgm:prSet/>
      <dgm:spPr/>
      <dgm:t>
        <a:bodyPr/>
        <a:lstStyle/>
        <a:p>
          <a:endParaRPr lang="sv-SE"/>
        </a:p>
      </dgm:t>
    </dgm:pt>
    <dgm:pt modelId="{EE52FDDC-CE35-4F7F-8870-A05749E851BD}" type="sibTrans" cxnId="{C65E6E2D-C3D5-44A6-9A71-BA49AB0EA476}">
      <dgm:prSet/>
      <dgm:spPr/>
      <dgm:t>
        <a:bodyPr/>
        <a:lstStyle/>
        <a:p>
          <a:pPr rtl="0"/>
          <a:endParaRPr lang="en-GB"/>
        </a:p>
      </dgm:t>
    </dgm:pt>
    <dgm:pt modelId="{A996EDBC-E84A-4FEA-912A-1FB86EA5E614}" type="pres">
      <dgm:prSet presAssocID="{868E1A1C-D4F1-4012-A1E1-3B68A96420BB}" presName="cycle" presStyleCnt="0">
        <dgm:presLayoutVars>
          <dgm:dir/>
          <dgm:resizeHandles val="exact"/>
        </dgm:presLayoutVars>
      </dgm:prSet>
      <dgm:spPr/>
    </dgm:pt>
    <dgm:pt modelId="{2D8089CD-6BBB-485D-BF78-EEEA711048CF}" type="pres">
      <dgm:prSet presAssocID="{241EA819-4260-46C5-9655-CA1611108D8D}" presName="node" presStyleLbl="node1" presStyleIdx="0" presStyleCnt="7" custScaleX="59549" custScaleY="59549">
        <dgm:presLayoutVars>
          <dgm:bulletEnabled val="1"/>
        </dgm:presLayoutVars>
      </dgm:prSet>
      <dgm:spPr/>
    </dgm:pt>
    <dgm:pt modelId="{5801A9AC-9A09-49C7-AB1B-59E7769999F2}" type="pres">
      <dgm:prSet presAssocID="{3D7847A1-F4D3-4132-BBB4-B355384C3323}" presName="sibTrans" presStyleLbl="sibTrans2D1" presStyleIdx="0" presStyleCnt="7"/>
      <dgm:spPr/>
    </dgm:pt>
    <dgm:pt modelId="{FFB5105D-FE5F-4E52-961A-336996393701}" type="pres">
      <dgm:prSet presAssocID="{3D7847A1-F4D3-4132-BBB4-B355384C3323}" presName="connectorText" presStyleLbl="sibTrans2D1" presStyleIdx="0" presStyleCnt="7"/>
      <dgm:spPr/>
    </dgm:pt>
    <dgm:pt modelId="{A49F0E10-5BB9-483A-BBDA-EE98547E2997}" type="pres">
      <dgm:prSet presAssocID="{259A07E1-B83A-45BA-89F3-4925F5ECA86D}" presName="node" presStyleLbl="node1" presStyleIdx="1" presStyleCnt="7" custScaleX="59549" custScaleY="59549">
        <dgm:presLayoutVars>
          <dgm:bulletEnabled val="1"/>
        </dgm:presLayoutVars>
      </dgm:prSet>
      <dgm:spPr/>
    </dgm:pt>
    <dgm:pt modelId="{B4569146-1336-4CBE-9722-DA96410ACBA5}" type="pres">
      <dgm:prSet presAssocID="{BA1B434B-7FD3-4D8C-B8F1-BAD1EBA28DA6}" presName="sibTrans" presStyleLbl="sibTrans2D1" presStyleIdx="1" presStyleCnt="7"/>
      <dgm:spPr/>
    </dgm:pt>
    <dgm:pt modelId="{1B407247-5E93-47D5-B1B4-55FD3DD08206}" type="pres">
      <dgm:prSet presAssocID="{BA1B434B-7FD3-4D8C-B8F1-BAD1EBA28DA6}" presName="connectorText" presStyleLbl="sibTrans2D1" presStyleIdx="1" presStyleCnt="7"/>
      <dgm:spPr/>
    </dgm:pt>
    <dgm:pt modelId="{538C363B-2847-4C6B-897B-FFB6A80D177A}" type="pres">
      <dgm:prSet presAssocID="{FC9F3E49-2389-4D07-BC91-394D790040E0}" presName="node" presStyleLbl="node1" presStyleIdx="2" presStyleCnt="7" custScaleX="59549" custScaleY="59549">
        <dgm:presLayoutVars>
          <dgm:bulletEnabled val="1"/>
        </dgm:presLayoutVars>
      </dgm:prSet>
      <dgm:spPr/>
    </dgm:pt>
    <dgm:pt modelId="{E00AD575-26AE-425C-90E8-5DDF35699AF3}" type="pres">
      <dgm:prSet presAssocID="{03359DA3-A4EC-4264-BF08-9B7A071A478B}" presName="sibTrans" presStyleLbl="sibTrans2D1" presStyleIdx="2" presStyleCnt="7"/>
      <dgm:spPr/>
    </dgm:pt>
    <dgm:pt modelId="{6BA2CCEC-C7D1-4324-9415-EC1301823172}" type="pres">
      <dgm:prSet presAssocID="{03359DA3-A4EC-4264-BF08-9B7A071A478B}" presName="connectorText" presStyleLbl="sibTrans2D1" presStyleIdx="2" presStyleCnt="7"/>
      <dgm:spPr/>
    </dgm:pt>
    <dgm:pt modelId="{CD86D8B9-0F87-41D0-8A61-D2B2B0C6D635}" type="pres">
      <dgm:prSet presAssocID="{3E2D0EE6-0EFF-4485-B42D-91C10BE868B8}" presName="node" presStyleLbl="node1" presStyleIdx="3" presStyleCnt="7" custScaleX="59549" custScaleY="59549">
        <dgm:presLayoutVars>
          <dgm:bulletEnabled val="1"/>
        </dgm:presLayoutVars>
      </dgm:prSet>
      <dgm:spPr/>
    </dgm:pt>
    <dgm:pt modelId="{C253A1A3-A7C2-47AF-B4E0-8FEB58DD13A8}" type="pres">
      <dgm:prSet presAssocID="{91062FBD-1C46-4F3A-97C3-6E0843EF3708}" presName="sibTrans" presStyleLbl="sibTrans2D1" presStyleIdx="3" presStyleCnt="7"/>
      <dgm:spPr/>
    </dgm:pt>
    <dgm:pt modelId="{ACBF1FB4-81D6-41CA-B09D-95A785B6EA5A}" type="pres">
      <dgm:prSet presAssocID="{91062FBD-1C46-4F3A-97C3-6E0843EF3708}" presName="connectorText" presStyleLbl="sibTrans2D1" presStyleIdx="3" presStyleCnt="7"/>
      <dgm:spPr/>
    </dgm:pt>
    <dgm:pt modelId="{5F797D20-2B1F-49F6-A751-E65F113425DC}" type="pres">
      <dgm:prSet presAssocID="{E5D15C08-6F26-46BF-970E-8321025C20EC}" presName="node" presStyleLbl="node1" presStyleIdx="4" presStyleCnt="7" custScaleX="59549" custScaleY="59549">
        <dgm:presLayoutVars>
          <dgm:bulletEnabled val="1"/>
        </dgm:presLayoutVars>
      </dgm:prSet>
      <dgm:spPr/>
    </dgm:pt>
    <dgm:pt modelId="{FA2C676C-3E56-48E3-9D28-1B8E560709A3}" type="pres">
      <dgm:prSet presAssocID="{3A502325-3EB8-4DEB-93FC-F32EF5E39F35}" presName="sibTrans" presStyleLbl="sibTrans2D1" presStyleIdx="4" presStyleCnt="7"/>
      <dgm:spPr/>
    </dgm:pt>
    <dgm:pt modelId="{ECF69636-DC55-4B68-94B5-DB1874B3CE87}" type="pres">
      <dgm:prSet presAssocID="{3A502325-3EB8-4DEB-93FC-F32EF5E39F35}" presName="connectorText" presStyleLbl="sibTrans2D1" presStyleIdx="4" presStyleCnt="7"/>
      <dgm:spPr/>
    </dgm:pt>
    <dgm:pt modelId="{9DACF1F6-5B80-4E25-BCF5-7C27DCB3367C}" type="pres">
      <dgm:prSet presAssocID="{B24149A1-C37C-4937-A394-9D699302578F}" presName="node" presStyleLbl="node1" presStyleIdx="5" presStyleCnt="7" custScaleX="59549" custScaleY="59549">
        <dgm:presLayoutVars>
          <dgm:bulletEnabled val="1"/>
        </dgm:presLayoutVars>
      </dgm:prSet>
      <dgm:spPr/>
    </dgm:pt>
    <dgm:pt modelId="{EE10EB65-E65E-4963-8FA7-BA4ED98E96C7}" type="pres">
      <dgm:prSet presAssocID="{EE52FDDC-CE35-4F7F-8870-A05749E851BD}" presName="sibTrans" presStyleLbl="sibTrans2D1" presStyleIdx="5" presStyleCnt="7"/>
      <dgm:spPr/>
    </dgm:pt>
    <dgm:pt modelId="{DD76575A-5B74-43D1-B864-7E02F78FA135}" type="pres">
      <dgm:prSet presAssocID="{EE52FDDC-CE35-4F7F-8870-A05749E851BD}" presName="connectorText" presStyleLbl="sibTrans2D1" presStyleIdx="5" presStyleCnt="7"/>
      <dgm:spPr/>
    </dgm:pt>
    <dgm:pt modelId="{060CEADA-96A5-467C-A757-8990A33DA554}" type="pres">
      <dgm:prSet presAssocID="{54F51445-20DF-4A12-B728-A78C68DEB9AD}" presName="node" presStyleLbl="node1" presStyleIdx="6" presStyleCnt="7" custScaleX="59549" custScaleY="59549">
        <dgm:presLayoutVars>
          <dgm:bulletEnabled val="1"/>
        </dgm:presLayoutVars>
      </dgm:prSet>
      <dgm:spPr/>
    </dgm:pt>
    <dgm:pt modelId="{284F9367-4090-4960-9FD3-B1F92A08CA55}" type="pres">
      <dgm:prSet presAssocID="{9AC3CD68-6902-4CDE-8CF9-7A0A8679698F}" presName="sibTrans" presStyleLbl="sibTrans2D1" presStyleIdx="6" presStyleCnt="7"/>
      <dgm:spPr/>
    </dgm:pt>
    <dgm:pt modelId="{09041046-C368-44E4-A707-749F9F7D8C3E}" type="pres">
      <dgm:prSet presAssocID="{9AC3CD68-6902-4CDE-8CF9-7A0A8679698F}" presName="connectorText" presStyleLbl="sibTrans2D1" presStyleIdx="6" presStyleCnt="7"/>
      <dgm:spPr/>
    </dgm:pt>
  </dgm:ptLst>
  <dgm:cxnLst>
    <dgm:cxn modelId="{75AC3900-B3DC-49D4-B8B7-4D7463D15808}" type="presOf" srcId="{3A502325-3EB8-4DEB-93FC-F32EF5E39F35}" destId="{ECF69636-DC55-4B68-94B5-DB1874B3CE87}" srcOrd="1" destOrd="0" presId="urn:microsoft.com/office/officeart/2005/8/layout/cycle2"/>
    <dgm:cxn modelId="{E790DC11-AD32-49C6-B768-11709763FA99}" srcId="{868E1A1C-D4F1-4012-A1E1-3B68A96420BB}" destId="{241EA819-4260-46C5-9655-CA1611108D8D}" srcOrd="0" destOrd="0" parTransId="{26262CE8-F0FC-40C4-BD45-94B724995E2D}" sibTransId="{3D7847A1-F4D3-4132-BBB4-B355384C3323}"/>
    <dgm:cxn modelId="{85ABE911-C0A1-44D8-8625-A3A498FA8401}" srcId="{868E1A1C-D4F1-4012-A1E1-3B68A96420BB}" destId="{3E2D0EE6-0EFF-4485-B42D-91C10BE868B8}" srcOrd="3" destOrd="0" parTransId="{B4D2D03C-2046-414E-ACF9-9EC19ABDD03D}" sibTransId="{91062FBD-1C46-4F3A-97C3-6E0843EF3708}"/>
    <dgm:cxn modelId="{7833F823-0603-4E7D-AFAF-EBAFDE41E27A}" type="presOf" srcId="{EE52FDDC-CE35-4F7F-8870-A05749E851BD}" destId="{EE10EB65-E65E-4963-8FA7-BA4ED98E96C7}" srcOrd="0" destOrd="0" presId="urn:microsoft.com/office/officeart/2005/8/layout/cycle2"/>
    <dgm:cxn modelId="{C65E6E2D-C3D5-44A6-9A71-BA49AB0EA476}" srcId="{868E1A1C-D4F1-4012-A1E1-3B68A96420BB}" destId="{B24149A1-C37C-4937-A394-9D699302578F}" srcOrd="5" destOrd="0" parTransId="{47BABAA8-175D-4935-A6DF-ABB59F0AE603}" sibTransId="{EE52FDDC-CE35-4F7F-8870-A05749E851BD}"/>
    <dgm:cxn modelId="{ADD5602E-63EC-4D96-A8E3-C58EA352BBDA}" srcId="{868E1A1C-D4F1-4012-A1E1-3B68A96420BB}" destId="{54F51445-20DF-4A12-B728-A78C68DEB9AD}" srcOrd="6" destOrd="0" parTransId="{A54271F3-A51D-4E95-93A2-46BED7A60D09}" sibTransId="{9AC3CD68-6902-4CDE-8CF9-7A0A8679698F}"/>
    <dgm:cxn modelId="{CB05BC2F-F5E5-4557-9EC8-D347A5709348}" type="presOf" srcId="{EE52FDDC-CE35-4F7F-8870-A05749E851BD}" destId="{DD76575A-5B74-43D1-B864-7E02F78FA135}" srcOrd="1" destOrd="0" presId="urn:microsoft.com/office/officeart/2005/8/layout/cycle2"/>
    <dgm:cxn modelId="{D7ABB135-D8E3-4ADF-8473-FCF4AB064E10}" type="presOf" srcId="{91062FBD-1C46-4F3A-97C3-6E0843EF3708}" destId="{C253A1A3-A7C2-47AF-B4E0-8FEB58DD13A8}" srcOrd="0" destOrd="0" presId="urn:microsoft.com/office/officeart/2005/8/layout/cycle2"/>
    <dgm:cxn modelId="{54FCAD38-F5E5-4654-B029-ECB91BE322D6}" srcId="{868E1A1C-D4F1-4012-A1E1-3B68A96420BB}" destId="{E5D15C08-6F26-46BF-970E-8321025C20EC}" srcOrd="4" destOrd="0" parTransId="{52CA927C-194C-44CF-9590-2779F0B70495}" sibTransId="{3A502325-3EB8-4DEB-93FC-F32EF5E39F35}"/>
    <dgm:cxn modelId="{435AD139-1241-4C95-B801-F0C8DDE72229}" type="presOf" srcId="{3D7847A1-F4D3-4132-BBB4-B355384C3323}" destId="{5801A9AC-9A09-49C7-AB1B-59E7769999F2}" srcOrd="0" destOrd="0" presId="urn:microsoft.com/office/officeart/2005/8/layout/cycle2"/>
    <dgm:cxn modelId="{EC76793B-3595-4EEA-8B3A-F27A5322A139}" type="presOf" srcId="{54F51445-20DF-4A12-B728-A78C68DEB9AD}" destId="{060CEADA-96A5-467C-A757-8990A33DA554}" srcOrd="0" destOrd="0" presId="urn:microsoft.com/office/officeart/2005/8/layout/cycle2"/>
    <dgm:cxn modelId="{8CBC1948-881B-4174-9E19-32407EACA88D}" type="presOf" srcId="{241EA819-4260-46C5-9655-CA1611108D8D}" destId="{2D8089CD-6BBB-485D-BF78-EEEA711048CF}" srcOrd="0" destOrd="0" presId="urn:microsoft.com/office/officeart/2005/8/layout/cycle2"/>
    <dgm:cxn modelId="{136C536D-6637-468D-BB18-1B983560ED53}" type="presOf" srcId="{03359DA3-A4EC-4264-BF08-9B7A071A478B}" destId="{E00AD575-26AE-425C-90E8-5DDF35699AF3}" srcOrd="0" destOrd="0" presId="urn:microsoft.com/office/officeart/2005/8/layout/cycle2"/>
    <dgm:cxn modelId="{7FAEF473-7CBE-4F5A-BF90-B4364E8AAD95}" type="presOf" srcId="{259A07E1-B83A-45BA-89F3-4925F5ECA86D}" destId="{A49F0E10-5BB9-483A-BBDA-EE98547E2997}" srcOrd="0" destOrd="0" presId="urn:microsoft.com/office/officeart/2005/8/layout/cycle2"/>
    <dgm:cxn modelId="{92128354-F34B-46D1-995A-83499F594643}" type="presOf" srcId="{91062FBD-1C46-4F3A-97C3-6E0843EF3708}" destId="{ACBF1FB4-81D6-41CA-B09D-95A785B6EA5A}" srcOrd="1" destOrd="0" presId="urn:microsoft.com/office/officeart/2005/8/layout/cycle2"/>
    <dgm:cxn modelId="{7F5E0B78-08E9-4B8F-A194-DBFE81E5E9E7}" type="presOf" srcId="{FC9F3E49-2389-4D07-BC91-394D790040E0}" destId="{538C363B-2847-4C6B-897B-FFB6A80D177A}" srcOrd="0" destOrd="0" presId="urn:microsoft.com/office/officeart/2005/8/layout/cycle2"/>
    <dgm:cxn modelId="{7929C67E-C0CF-4288-8879-3C718A768A15}" srcId="{868E1A1C-D4F1-4012-A1E1-3B68A96420BB}" destId="{259A07E1-B83A-45BA-89F3-4925F5ECA86D}" srcOrd="1" destOrd="0" parTransId="{836290CC-DCAC-4D6C-AEB6-EAAFAAF5547A}" sibTransId="{BA1B434B-7FD3-4D8C-B8F1-BAD1EBA28DA6}"/>
    <dgm:cxn modelId="{2C69CF84-D8CF-41D6-9F47-4E84EB2D215B}" type="presOf" srcId="{BA1B434B-7FD3-4D8C-B8F1-BAD1EBA28DA6}" destId="{B4569146-1336-4CBE-9722-DA96410ACBA5}" srcOrd="0" destOrd="0" presId="urn:microsoft.com/office/officeart/2005/8/layout/cycle2"/>
    <dgm:cxn modelId="{E8AEAF90-0B21-48C4-AA88-B00C2C1D4482}" type="presOf" srcId="{3D7847A1-F4D3-4132-BBB4-B355384C3323}" destId="{FFB5105D-FE5F-4E52-961A-336996393701}" srcOrd="1" destOrd="0" presId="urn:microsoft.com/office/officeart/2005/8/layout/cycle2"/>
    <dgm:cxn modelId="{3BE94093-687F-4A75-B89D-E3217D1C9DA0}" type="presOf" srcId="{E5D15C08-6F26-46BF-970E-8321025C20EC}" destId="{5F797D20-2B1F-49F6-A751-E65F113425DC}" srcOrd="0" destOrd="0" presId="urn:microsoft.com/office/officeart/2005/8/layout/cycle2"/>
    <dgm:cxn modelId="{5B6F2FA1-0707-479B-99D9-C7367A74CD82}" type="presOf" srcId="{868E1A1C-D4F1-4012-A1E1-3B68A96420BB}" destId="{A996EDBC-E84A-4FEA-912A-1FB86EA5E614}" srcOrd="0" destOrd="0" presId="urn:microsoft.com/office/officeart/2005/8/layout/cycle2"/>
    <dgm:cxn modelId="{376426B0-E4CD-4B30-8E97-294B169D3151}" srcId="{868E1A1C-D4F1-4012-A1E1-3B68A96420BB}" destId="{FC9F3E49-2389-4D07-BC91-394D790040E0}" srcOrd="2" destOrd="0" parTransId="{C67DD9C6-B7A2-455A-BC57-FB22DD239CFE}" sibTransId="{03359DA3-A4EC-4264-BF08-9B7A071A478B}"/>
    <dgm:cxn modelId="{B81ABFB7-3407-4634-B229-893C85B8CA4B}" type="presOf" srcId="{9AC3CD68-6902-4CDE-8CF9-7A0A8679698F}" destId="{09041046-C368-44E4-A707-749F9F7D8C3E}" srcOrd="1" destOrd="0" presId="urn:microsoft.com/office/officeart/2005/8/layout/cycle2"/>
    <dgm:cxn modelId="{D1E86FCD-2C07-4C90-BCE9-9E9B5CADE6A4}" type="presOf" srcId="{B24149A1-C37C-4937-A394-9D699302578F}" destId="{9DACF1F6-5B80-4E25-BCF5-7C27DCB3367C}" srcOrd="0" destOrd="0" presId="urn:microsoft.com/office/officeart/2005/8/layout/cycle2"/>
    <dgm:cxn modelId="{0C2A4DE5-38DB-4FF8-AF45-2D0F4D5AFB85}" type="presOf" srcId="{9AC3CD68-6902-4CDE-8CF9-7A0A8679698F}" destId="{284F9367-4090-4960-9FD3-B1F92A08CA55}" srcOrd="0" destOrd="0" presId="urn:microsoft.com/office/officeart/2005/8/layout/cycle2"/>
    <dgm:cxn modelId="{81301AED-555A-4619-B25A-9012F952E02A}" type="presOf" srcId="{03359DA3-A4EC-4264-BF08-9B7A071A478B}" destId="{6BA2CCEC-C7D1-4324-9415-EC1301823172}" srcOrd="1" destOrd="0" presId="urn:microsoft.com/office/officeart/2005/8/layout/cycle2"/>
    <dgm:cxn modelId="{3BA60DEF-7B5B-445E-9B3C-C11367BE288B}" type="presOf" srcId="{3A502325-3EB8-4DEB-93FC-F32EF5E39F35}" destId="{FA2C676C-3E56-48E3-9D28-1B8E560709A3}" srcOrd="0" destOrd="0" presId="urn:microsoft.com/office/officeart/2005/8/layout/cycle2"/>
    <dgm:cxn modelId="{9A3FE9F0-5F35-40B3-A8E7-320510E02CFF}" type="presOf" srcId="{3E2D0EE6-0EFF-4485-B42D-91C10BE868B8}" destId="{CD86D8B9-0F87-41D0-8A61-D2B2B0C6D635}" srcOrd="0" destOrd="0" presId="urn:microsoft.com/office/officeart/2005/8/layout/cycle2"/>
    <dgm:cxn modelId="{2F10ECFC-C510-4E3C-A98A-46B52D6EAFF2}" type="presOf" srcId="{BA1B434B-7FD3-4D8C-B8F1-BAD1EBA28DA6}" destId="{1B407247-5E93-47D5-B1B4-55FD3DD08206}" srcOrd="1" destOrd="0" presId="urn:microsoft.com/office/officeart/2005/8/layout/cycle2"/>
    <dgm:cxn modelId="{9942B1EE-B639-41A7-B83C-15D5986AF190}" type="presParOf" srcId="{A996EDBC-E84A-4FEA-912A-1FB86EA5E614}" destId="{2D8089CD-6BBB-485D-BF78-EEEA711048CF}" srcOrd="0" destOrd="0" presId="urn:microsoft.com/office/officeart/2005/8/layout/cycle2"/>
    <dgm:cxn modelId="{12682C94-088D-4EDF-9D38-59DFA683508B}" type="presParOf" srcId="{A996EDBC-E84A-4FEA-912A-1FB86EA5E614}" destId="{5801A9AC-9A09-49C7-AB1B-59E7769999F2}" srcOrd="1" destOrd="0" presId="urn:microsoft.com/office/officeart/2005/8/layout/cycle2"/>
    <dgm:cxn modelId="{940F352D-080F-49FD-960E-A3A70273B635}" type="presParOf" srcId="{5801A9AC-9A09-49C7-AB1B-59E7769999F2}" destId="{FFB5105D-FE5F-4E52-961A-336996393701}" srcOrd="0" destOrd="0" presId="urn:microsoft.com/office/officeart/2005/8/layout/cycle2"/>
    <dgm:cxn modelId="{C50A334E-EEC0-45A1-9AA2-B31AA3C3ED0F}" type="presParOf" srcId="{A996EDBC-E84A-4FEA-912A-1FB86EA5E614}" destId="{A49F0E10-5BB9-483A-BBDA-EE98547E2997}" srcOrd="2" destOrd="0" presId="urn:microsoft.com/office/officeart/2005/8/layout/cycle2"/>
    <dgm:cxn modelId="{ED3118E9-94D9-4ACA-AC9A-E5A31E890B3D}" type="presParOf" srcId="{A996EDBC-E84A-4FEA-912A-1FB86EA5E614}" destId="{B4569146-1336-4CBE-9722-DA96410ACBA5}" srcOrd="3" destOrd="0" presId="urn:microsoft.com/office/officeart/2005/8/layout/cycle2"/>
    <dgm:cxn modelId="{9AA36DE9-ED3F-4CED-BF7C-2632DC587E40}" type="presParOf" srcId="{B4569146-1336-4CBE-9722-DA96410ACBA5}" destId="{1B407247-5E93-47D5-B1B4-55FD3DD08206}" srcOrd="0" destOrd="0" presId="urn:microsoft.com/office/officeart/2005/8/layout/cycle2"/>
    <dgm:cxn modelId="{7AD50B9D-34BD-42F0-9E83-83369F4DA640}" type="presParOf" srcId="{A996EDBC-E84A-4FEA-912A-1FB86EA5E614}" destId="{538C363B-2847-4C6B-897B-FFB6A80D177A}" srcOrd="4" destOrd="0" presId="urn:microsoft.com/office/officeart/2005/8/layout/cycle2"/>
    <dgm:cxn modelId="{C52C0932-0F69-43AD-B4BC-9C6F2659579D}" type="presParOf" srcId="{A996EDBC-E84A-4FEA-912A-1FB86EA5E614}" destId="{E00AD575-26AE-425C-90E8-5DDF35699AF3}" srcOrd="5" destOrd="0" presId="urn:microsoft.com/office/officeart/2005/8/layout/cycle2"/>
    <dgm:cxn modelId="{B75A4190-9212-4DD8-9D15-46E374BA0B7F}" type="presParOf" srcId="{E00AD575-26AE-425C-90E8-5DDF35699AF3}" destId="{6BA2CCEC-C7D1-4324-9415-EC1301823172}" srcOrd="0" destOrd="0" presId="urn:microsoft.com/office/officeart/2005/8/layout/cycle2"/>
    <dgm:cxn modelId="{593BE6B8-2A29-463B-A711-711B72CAB92F}" type="presParOf" srcId="{A996EDBC-E84A-4FEA-912A-1FB86EA5E614}" destId="{CD86D8B9-0F87-41D0-8A61-D2B2B0C6D635}" srcOrd="6" destOrd="0" presId="urn:microsoft.com/office/officeart/2005/8/layout/cycle2"/>
    <dgm:cxn modelId="{D6B1069D-7621-4C44-A142-496A70353AAA}" type="presParOf" srcId="{A996EDBC-E84A-4FEA-912A-1FB86EA5E614}" destId="{C253A1A3-A7C2-47AF-B4E0-8FEB58DD13A8}" srcOrd="7" destOrd="0" presId="urn:microsoft.com/office/officeart/2005/8/layout/cycle2"/>
    <dgm:cxn modelId="{8C5937BA-364B-4873-AB6A-7B31186154ED}" type="presParOf" srcId="{C253A1A3-A7C2-47AF-B4E0-8FEB58DD13A8}" destId="{ACBF1FB4-81D6-41CA-B09D-95A785B6EA5A}" srcOrd="0" destOrd="0" presId="urn:microsoft.com/office/officeart/2005/8/layout/cycle2"/>
    <dgm:cxn modelId="{78F95BB4-3C7C-48E6-BE53-4FA5F80D110D}" type="presParOf" srcId="{A996EDBC-E84A-4FEA-912A-1FB86EA5E614}" destId="{5F797D20-2B1F-49F6-A751-E65F113425DC}" srcOrd="8" destOrd="0" presId="urn:microsoft.com/office/officeart/2005/8/layout/cycle2"/>
    <dgm:cxn modelId="{32F00655-5B59-4E1A-ACFD-F9D9A861FEAF}" type="presParOf" srcId="{A996EDBC-E84A-4FEA-912A-1FB86EA5E614}" destId="{FA2C676C-3E56-48E3-9D28-1B8E560709A3}" srcOrd="9" destOrd="0" presId="urn:microsoft.com/office/officeart/2005/8/layout/cycle2"/>
    <dgm:cxn modelId="{C6D1870B-A254-457F-9783-422B0602B978}" type="presParOf" srcId="{FA2C676C-3E56-48E3-9D28-1B8E560709A3}" destId="{ECF69636-DC55-4B68-94B5-DB1874B3CE87}" srcOrd="0" destOrd="0" presId="urn:microsoft.com/office/officeart/2005/8/layout/cycle2"/>
    <dgm:cxn modelId="{3A76725B-E80D-47A5-974D-D463C32DAC65}" type="presParOf" srcId="{A996EDBC-E84A-4FEA-912A-1FB86EA5E614}" destId="{9DACF1F6-5B80-4E25-BCF5-7C27DCB3367C}" srcOrd="10" destOrd="0" presId="urn:microsoft.com/office/officeart/2005/8/layout/cycle2"/>
    <dgm:cxn modelId="{B3D07A84-CAC3-4E97-A9AC-B5EED30A8144}" type="presParOf" srcId="{A996EDBC-E84A-4FEA-912A-1FB86EA5E614}" destId="{EE10EB65-E65E-4963-8FA7-BA4ED98E96C7}" srcOrd="11" destOrd="0" presId="urn:microsoft.com/office/officeart/2005/8/layout/cycle2"/>
    <dgm:cxn modelId="{F6623FB3-8B53-461D-8E76-102D06E5BE05}" type="presParOf" srcId="{EE10EB65-E65E-4963-8FA7-BA4ED98E96C7}" destId="{DD76575A-5B74-43D1-B864-7E02F78FA135}" srcOrd="0" destOrd="0" presId="urn:microsoft.com/office/officeart/2005/8/layout/cycle2"/>
    <dgm:cxn modelId="{20F3FEAD-0E8B-4C0A-B0A0-091F4175DC8F}" type="presParOf" srcId="{A996EDBC-E84A-4FEA-912A-1FB86EA5E614}" destId="{060CEADA-96A5-467C-A757-8990A33DA554}" srcOrd="12" destOrd="0" presId="urn:microsoft.com/office/officeart/2005/8/layout/cycle2"/>
    <dgm:cxn modelId="{3574DC3D-AD14-4F39-95B6-1A530F82E617}" type="presParOf" srcId="{A996EDBC-E84A-4FEA-912A-1FB86EA5E614}" destId="{284F9367-4090-4960-9FD3-B1F92A08CA55}" srcOrd="13" destOrd="0" presId="urn:microsoft.com/office/officeart/2005/8/layout/cycle2"/>
    <dgm:cxn modelId="{0AEC3B59-68FE-4152-B764-1E926881584D}" type="presParOf" srcId="{284F9367-4090-4960-9FD3-B1F92A08CA55}" destId="{09041046-C368-44E4-A707-749F9F7D8C3E}" srcOrd="0" destOrd="0" presId="urn:microsoft.com/office/officeart/2005/8/layout/cycle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8DB299-AE68-411E-A9DF-B670989F30A3}">
      <dsp:nvSpPr>
        <dsp:cNvPr id="0" name=""/>
        <dsp:cNvSpPr/>
      </dsp:nvSpPr>
      <dsp:spPr>
        <a:xfrm>
          <a:off x="10537114" y="5085560"/>
          <a:ext cx="8954772" cy="715984"/>
        </a:xfrm>
        <a:custGeom>
          <a:avLst/>
          <a:gdLst/>
          <a:ahLst/>
          <a:cxnLst/>
          <a:rect l="0" t="0" r="0" b="0"/>
          <a:pathLst>
            <a:path>
              <a:moveTo>
                <a:pt x="0" y="0"/>
              </a:moveTo>
              <a:lnTo>
                <a:pt x="0" y="332753"/>
              </a:lnTo>
              <a:lnTo>
                <a:pt x="8954772" y="332753"/>
              </a:lnTo>
              <a:lnTo>
                <a:pt x="8954772" y="715984"/>
              </a:lnTo>
            </a:path>
          </a:pathLst>
        </a:custGeom>
        <a:noFill/>
        <a:ln w="76200" cap="flat" cmpd="sng" algn="ctr">
          <a:solidFill>
            <a:srgbClr val="F06A11"/>
          </a:solidFill>
          <a:prstDash val="solid"/>
          <a:miter lim="800000"/>
          <a:extLst>
            <a:ext uri="{C807C97D-BFC1-408E-A445-0C87EB9F89A2}">
              <ask:lineSketchStyleProps xmlns:ask="http://schemas.microsoft.com/office/drawing/2018/sketchyshapes">
                <ask:type>
                  <ask:lineSketchScribble/>
                </ask:type>
              </ask:lineSketchStyleProps>
            </a:ext>
          </a:extLst>
        </a:ln>
        <a:effectLst/>
      </dsp:spPr>
      <dsp:style>
        <a:lnRef idx="2">
          <a:scrgbClr r="0" g="0" b="0"/>
        </a:lnRef>
        <a:fillRef idx="0">
          <a:scrgbClr r="0" g="0" b="0"/>
        </a:fillRef>
        <a:effectRef idx="0">
          <a:scrgbClr r="0" g="0" b="0"/>
        </a:effectRef>
        <a:fontRef idx="minor"/>
      </dsp:style>
    </dsp:sp>
    <dsp:sp modelId="{EE217AD0-210F-424E-AED1-76A2E452A6E8}">
      <dsp:nvSpPr>
        <dsp:cNvPr id="0" name=""/>
        <dsp:cNvSpPr/>
      </dsp:nvSpPr>
      <dsp:spPr>
        <a:xfrm>
          <a:off x="10537114" y="5085560"/>
          <a:ext cx="4001303" cy="713158"/>
        </a:xfrm>
        <a:custGeom>
          <a:avLst/>
          <a:gdLst/>
          <a:ahLst/>
          <a:cxnLst/>
          <a:rect l="0" t="0" r="0" b="0"/>
          <a:pathLst>
            <a:path>
              <a:moveTo>
                <a:pt x="0" y="0"/>
              </a:moveTo>
              <a:lnTo>
                <a:pt x="0" y="329926"/>
              </a:lnTo>
              <a:lnTo>
                <a:pt x="4001303" y="329926"/>
              </a:lnTo>
              <a:lnTo>
                <a:pt x="4001303" y="713158"/>
              </a:lnTo>
            </a:path>
          </a:pathLst>
        </a:custGeom>
        <a:noFill/>
        <a:ln w="76200" cap="flat" cmpd="sng" algn="ctr">
          <a:solidFill>
            <a:srgbClr val="F06A11"/>
          </a:solidFill>
          <a:prstDash val="solid"/>
          <a:miter lim="800000"/>
          <a:extLst>
            <a:ext uri="{C807C97D-BFC1-408E-A445-0C87EB9F89A2}">
              <ask:lineSketchStyleProps xmlns:ask="http://schemas.microsoft.com/office/drawing/2018/sketchyshapes">
                <ask:type>
                  <ask:lineSketchScribble/>
                </ask:type>
              </ask:lineSketchStyleProps>
            </a:ext>
          </a:extLst>
        </a:ln>
        <a:effectLst/>
      </dsp:spPr>
      <dsp:style>
        <a:lnRef idx="2">
          <a:scrgbClr r="0" g="0" b="0"/>
        </a:lnRef>
        <a:fillRef idx="0">
          <a:scrgbClr r="0" g="0" b="0"/>
        </a:fillRef>
        <a:effectRef idx="0">
          <a:scrgbClr r="0" g="0" b="0"/>
        </a:effectRef>
        <a:fontRef idx="minor"/>
      </dsp:style>
    </dsp:sp>
    <dsp:sp modelId="{75B74E6A-1FF3-4A5E-879F-C3F14684A0CA}">
      <dsp:nvSpPr>
        <dsp:cNvPr id="0" name=""/>
        <dsp:cNvSpPr/>
      </dsp:nvSpPr>
      <dsp:spPr>
        <a:xfrm>
          <a:off x="10537114" y="5085560"/>
          <a:ext cx="122196" cy="715984"/>
        </a:xfrm>
        <a:custGeom>
          <a:avLst/>
          <a:gdLst/>
          <a:ahLst/>
          <a:cxnLst/>
          <a:rect l="0" t="0" r="0" b="0"/>
          <a:pathLst>
            <a:path>
              <a:moveTo>
                <a:pt x="0" y="0"/>
              </a:moveTo>
              <a:lnTo>
                <a:pt x="0" y="332753"/>
              </a:lnTo>
              <a:lnTo>
                <a:pt x="122196" y="332753"/>
              </a:lnTo>
              <a:lnTo>
                <a:pt x="122196" y="715984"/>
              </a:lnTo>
            </a:path>
          </a:pathLst>
        </a:custGeom>
        <a:noFill/>
        <a:ln w="76200" cap="flat" cmpd="sng" algn="ctr">
          <a:solidFill>
            <a:schemeClr val="accent3"/>
          </a:solidFill>
          <a:prstDash val="solid"/>
          <a:miter lim="800000"/>
        </a:ln>
        <a:effectLst/>
      </dsp:spPr>
      <dsp:style>
        <a:lnRef idx="2">
          <a:scrgbClr r="0" g="0" b="0"/>
        </a:lnRef>
        <a:fillRef idx="0">
          <a:scrgbClr r="0" g="0" b="0"/>
        </a:fillRef>
        <a:effectRef idx="0">
          <a:scrgbClr r="0" g="0" b="0"/>
        </a:effectRef>
        <a:fontRef idx="minor"/>
      </dsp:style>
    </dsp:sp>
    <dsp:sp modelId="{60896175-C6DB-4E1E-A8BE-1AD415FB5EF0}">
      <dsp:nvSpPr>
        <dsp:cNvPr id="0" name=""/>
        <dsp:cNvSpPr/>
      </dsp:nvSpPr>
      <dsp:spPr>
        <a:xfrm>
          <a:off x="6300762" y="5085560"/>
          <a:ext cx="4236351" cy="766393"/>
        </a:xfrm>
        <a:custGeom>
          <a:avLst/>
          <a:gdLst/>
          <a:ahLst/>
          <a:cxnLst/>
          <a:rect l="0" t="0" r="0" b="0"/>
          <a:pathLst>
            <a:path>
              <a:moveTo>
                <a:pt x="4236351" y="0"/>
              </a:moveTo>
              <a:lnTo>
                <a:pt x="4236351" y="383161"/>
              </a:lnTo>
              <a:lnTo>
                <a:pt x="0" y="383161"/>
              </a:lnTo>
              <a:lnTo>
                <a:pt x="0" y="766393"/>
              </a:lnTo>
            </a:path>
          </a:pathLst>
        </a:custGeom>
        <a:noFill/>
        <a:ln w="76200" cap="flat" cmpd="sng" algn="ctr">
          <a:solidFill>
            <a:srgbClr val="F06A11"/>
          </a:solidFill>
          <a:prstDash val="solid"/>
          <a:miter lim="800000"/>
          <a:extLst>
            <a:ext uri="{C807C97D-BFC1-408E-A445-0C87EB9F89A2}">
              <ask:lineSketchStyleProps xmlns:ask="http://schemas.microsoft.com/office/drawing/2018/sketchyshapes">
                <ask:type>
                  <ask:lineSketchScribble/>
                </ask:type>
              </ask:lineSketchStyleProps>
            </a:ext>
          </a:extLst>
        </a:ln>
        <a:effectLst/>
      </dsp:spPr>
      <dsp:style>
        <a:lnRef idx="2">
          <a:scrgbClr r="0" g="0" b="0"/>
        </a:lnRef>
        <a:fillRef idx="0">
          <a:scrgbClr r="0" g="0" b="0"/>
        </a:fillRef>
        <a:effectRef idx="0">
          <a:scrgbClr r="0" g="0" b="0"/>
        </a:effectRef>
        <a:fontRef idx="minor"/>
      </dsp:style>
    </dsp:sp>
    <dsp:sp modelId="{7A0E7E19-6A4D-4E7B-8085-B26F31501AF1}">
      <dsp:nvSpPr>
        <dsp:cNvPr id="0" name=""/>
        <dsp:cNvSpPr/>
      </dsp:nvSpPr>
      <dsp:spPr>
        <a:xfrm>
          <a:off x="1826734" y="5085560"/>
          <a:ext cx="8710380" cy="715984"/>
        </a:xfrm>
        <a:custGeom>
          <a:avLst/>
          <a:gdLst/>
          <a:ahLst/>
          <a:cxnLst/>
          <a:rect l="0" t="0" r="0" b="0"/>
          <a:pathLst>
            <a:path>
              <a:moveTo>
                <a:pt x="8710380" y="0"/>
              </a:moveTo>
              <a:lnTo>
                <a:pt x="8710380" y="332753"/>
              </a:lnTo>
              <a:lnTo>
                <a:pt x="0" y="332753"/>
              </a:lnTo>
              <a:lnTo>
                <a:pt x="0" y="715984"/>
              </a:lnTo>
            </a:path>
          </a:pathLst>
        </a:custGeom>
        <a:noFill/>
        <a:ln w="76200" cap="flat" cmpd="sng" algn="ctr">
          <a:solidFill>
            <a:srgbClr val="F06A11"/>
          </a:solidFill>
          <a:prstDash val="solid"/>
          <a:miter lim="800000"/>
          <a:extLst>
            <a:ext uri="{C807C97D-BFC1-408E-A445-0C87EB9F89A2}">
              <ask:lineSketchStyleProps xmlns:ask="http://schemas.microsoft.com/office/drawing/2018/sketchyshapes">
                <ask:type>
                  <ask:lineSketchScribble/>
                </ask:type>
              </ask:lineSketchStyleProps>
            </a:ext>
          </a:extLst>
        </a:ln>
        <a:effectLst/>
      </dsp:spPr>
      <dsp:style>
        <a:lnRef idx="2">
          <a:scrgbClr r="0" g="0" b="0"/>
        </a:lnRef>
        <a:fillRef idx="0">
          <a:scrgbClr r="0" g="0" b="0"/>
        </a:fillRef>
        <a:effectRef idx="0">
          <a:scrgbClr r="0" g="0" b="0"/>
        </a:effectRef>
        <a:fontRef idx="minor"/>
      </dsp:style>
    </dsp:sp>
    <dsp:sp modelId="{523E6638-CEE7-4CDD-A6AB-81928F000666}">
      <dsp:nvSpPr>
        <dsp:cNvPr id="0" name=""/>
        <dsp:cNvSpPr/>
      </dsp:nvSpPr>
      <dsp:spPr>
        <a:xfrm>
          <a:off x="9533421" y="3260648"/>
          <a:ext cx="2007385" cy="1824912"/>
        </a:xfrm>
        <a:prstGeom prst="arc">
          <a:avLst>
            <a:gd name="adj1" fmla="val 13200000"/>
            <a:gd name="adj2" fmla="val 19200000"/>
          </a:avLst>
        </a:prstGeom>
        <a:noFill/>
        <a:ln w="76200" cap="flat" cmpd="sng" algn="ctr">
          <a:solidFill>
            <a:srgbClr val="F06A11"/>
          </a:solidFill>
          <a:prstDash val="solid"/>
          <a:miter lim="800000"/>
          <a:extLst>
            <a:ext uri="{C807C97D-BFC1-408E-A445-0C87EB9F89A2}">
              <ask:lineSketchStyleProps xmlns:ask="http://schemas.microsoft.com/office/drawing/2018/sketchyshapes">
                <ask:type>
                  <ask:lineSketchNone/>
                </ask:type>
              </ask:lineSketchStyleProps>
            </a:ext>
          </a:extLst>
        </a:ln>
        <a:effectLst/>
      </dsp:spPr>
      <dsp:style>
        <a:lnRef idx="2">
          <a:scrgbClr r="0" g="0" b="0"/>
        </a:lnRef>
        <a:fillRef idx="0">
          <a:scrgbClr r="0" g="0" b="0"/>
        </a:fillRef>
        <a:effectRef idx="0">
          <a:scrgbClr r="0" g="0" b="0"/>
        </a:effectRef>
        <a:fontRef idx="minor"/>
      </dsp:style>
    </dsp:sp>
    <dsp:sp modelId="{D49B60EF-F946-4A95-87A3-7A88330A0162}">
      <dsp:nvSpPr>
        <dsp:cNvPr id="0" name=""/>
        <dsp:cNvSpPr/>
      </dsp:nvSpPr>
      <dsp:spPr>
        <a:xfrm>
          <a:off x="9533421" y="3260648"/>
          <a:ext cx="2007385" cy="1824912"/>
        </a:xfrm>
        <a:prstGeom prst="arc">
          <a:avLst>
            <a:gd name="adj1" fmla="val 2400000"/>
            <a:gd name="adj2" fmla="val 8400000"/>
          </a:avLst>
        </a:prstGeom>
        <a:noFill/>
        <a:ln w="76200" cap="flat" cmpd="sng" algn="ctr">
          <a:solidFill>
            <a:srgbClr val="F06A11"/>
          </a:solidFill>
          <a:prstDash val="solid"/>
          <a:miter lim="800000"/>
          <a:extLst>
            <a:ext uri="{C807C97D-BFC1-408E-A445-0C87EB9F89A2}">
              <ask:lineSketchStyleProps xmlns:ask="http://schemas.microsoft.com/office/drawing/2018/sketchyshapes">
                <ask:type>
                  <ask:lineSketchNone/>
                </ask:type>
              </ask:lineSketchStyleProps>
            </a:ext>
          </a:extLst>
        </a:ln>
        <a:effectLst/>
      </dsp:spPr>
      <dsp:style>
        <a:lnRef idx="2">
          <a:scrgbClr r="0" g="0" b="0"/>
        </a:lnRef>
        <a:fillRef idx="0">
          <a:scrgbClr r="0" g="0" b="0"/>
        </a:fillRef>
        <a:effectRef idx="0">
          <a:scrgbClr r="0" g="0" b="0"/>
        </a:effectRef>
        <a:fontRef idx="minor"/>
      </dsp:style>
    </dsp:sp>
    <dsp:sp modelId="{E1CC927B-4537-4D76-9346-43F8F0E85A02}">
      <dsp:nvSpPr>
        <dsp:cNvPr id="0" name=""/>
        <dsp:cNvSpPr/>
      </dsp:nvSpPr>
      <dsp:spPr>
        <a:xfrm>
          <a:off x="8529728" y="3589132"/>
          <a:ext cx="4014770" cy="1167943"/>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1422400">
            <a:lnSpc>
              <a:spcPct val="90000"/>
            </a:lnSpc>
            <a:spcBef>
              <a:spcPct val="0"/>
            </a:spcBef>
            <a:spcAft>
              <a:spcPct val="35000"/>
            </a:spcAft>
            <a:buNone/>
          </a:pPr>
          <a:r>
            <a:rPr lang="de-DE" sz="3200" b="1" kern="1200"/>
            <a:t>Innovation Manager </a:t>
          </a:r>
          <a:br>
            <a:rPr lang="de-DE" sz="3200" b="1" kern="1200"/>
          </a:br>
          <a:endParaRPr lang="de-DE" sz="3200" b="1" kern="1200"/>
        </a:p>
      </dsp:txBody>
      <dsp:txXfrm>
        <a:off x="8529728" y="3589132"/>
        <a:ext cx="4014770" cy="1167943"/>
      </dsp:txXfrm>
    </dsp:sp>
    <dsp:sp modelId="{9C52F8DE-6241-4C9C-B476-4AEBF9B4FD7E}">
      <dsp:nvSpPr>
        <dsp:cNvPr id="0" name=""/>
        <dsp:cNvSpPr/>
      </dsp:nvSpPr>
      <dsp:spPr>
        <a:xfrm>
          <a:off x="914277" y="5801545"/>
          <a:ext cx="1824912" cy="1824912"/>
        </a:xfrm>
        <a:prstGeom prst="arc">
          <a:avLst>
            <a:gd name="adj1" fmla="val 13200000"/>
            <a:gd name="adj2" fmla="val 19200000"/>
          </a:avLst>
        </a:prstGeom>
        <a:noFill/>
        <a:ln w="76200" cap="flat" cmpd="sng" algn="ctr">
          <a:solidFill>
            <a:srgbClr val="F06A11"/>
          </a:solidFill>
          <a:prstDash val="solid"/>
          <a:miter lim="800000"/>
        </a:ln>
        <a:effectLst/>
      </dsp:spPr>
      <dsp:style>
        <a:lnRef idx="2">
          <a:scrgbClr r="0" g="0" b="0"/>
        </a:lnRef>
        <a:fillRef idx="0">
          <a:scrgbClr r="0" g="0" b="0"/>
        </a:fillRef>
        <a:effectRef idx="0">
          <a:scrgbClr r="0" g="0" b="0"/>
        </a:effectRef>
        <a:fontRef idx="minor"/>
      </dsp:style>
    </dsp:sp>
    <dsp:sp modelId="{F273E835-432F-4F7D-877D-80E0F2D4460A}">
      <dsp:nvSpPr>
        <dsp:cNvPr id="0" name=""/>
        <dsp:cNvSpPr/>
      </dsp:nvSpPr>
      <dsp:spPr>
        <a:xfrm>
          <a:off x="914277" y="5801545"/>
          <a:ext cx="1824912" cy="1824912"/>
        </a:xfrm>
        <a:prstGeom prst="arc">
          <a:avLst>
            <a:gd name="adj1" fmla="val 2400000"/>
            <a:gd name="adj2" fmla="val 8400000"/>
          </a:avLst>
        </a:prstGeom>
        <a:noFill/>
        <a:ln w="76200" cap="flat" cmpd="sng" algn="ctr">
          <a:solidFill>
            <a:srgbClr val="F06A11"/>
          </a:solidFill>
          <a:prstDash val="solid"/>
          <a:miter lim="800000"/>
        </a:ln>
        <a:effectLst/>
      </dsp:spPr>
      <dsp:style>
        <a:lnRef idx="2">
          <a:scrgbClr r="0" g="0" b="0"/>
        </a:lnRef>
        <a:fillRef idx="0">
          <a:scrgbClr r="0" g="0" b="0"/>
        </a:fillRef>
        <a:effectRef idx="0">
          <a:scrgbClr r="0" g="0" b="0"/>
        </a:effectRef>
        <a:fontRef idx="minor"/>
      </dsp:style>
    </dsp:sp>
    <dsp:sp modelId="{96DB9339-8537-43BC-A26D-733350F6B4F3}">
      <dsp:nvSpPr>
        <dsp:cNvPr id="0" name=""/>
        <dsp:cNvSpPr/>
      </dsp:nvSpPr>
      <dsp:spPr>
        <a:xfrm>
          <a:off x="1821" y="6130029"/>
          <a:ext cx="3649824" cy="1167943"/>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1422400">
            <a:lnSpc>
              <a:spcPct val="90000"/>
            </a:lnSpc>
            <a:spcBef>
              <a:spcPct val="0"/>
            </a:spcBef>
            <a:spcAft>
              <a:spcPct val="35000"/>
            </a:spcAft>
            <a:buNone/>
          </a:pPr>
          <a:r>
            <a:rPr lang="de-DE" sz="3200" b="1" kern="1200"/>
            <a:t>Innovation Leader</a:t>
          </a:r>
        </a:p>
      </dsp:txBody>
      <dsp:txXfrm>
        <a:off x="1821" y="6130029"/>
        <a:ext cx="3649824" cy="1167943"/>
      </dsp:txXfrm>
    </dsp:sp>
    <dsp:sp modelId="{180B94AF-F60F-4386-8036-D11956FF0790}">
      <dsp:nvSpPr>
        <dsp:cNvPr id="0" name=""/>
        <dsp:cNvSpPr/>
      </dsp:nvSpPr>
      <dsp:spPr>
        <a:xfrm>
          <a:off x="5388306" y="5851954"/>
          <a:ext cx="1824912" cy="1824912"/>
        </a:xfrm>
        <a:prstGeom prst="arc">
          <a:avLst>
            <a:gd name="adj1" fmla="val 13200000"/>
            <a:gd name="adj2" fmla="val 19200000"/>
          </a:avLst>
        </a:prstGeom>
        <a:noFill/>
        <a:ln w="76200" cap="flat" cmpd="sng" algn="ctr">
          <a:solidFill>
            <a:srgbClr val="F06A11"/>
          </a:solidFill>
          <a:prstDash val="solid"/>
          <a:miter lim="800000"/>
        </a:ln>
        <a:effectLst/>
      </dsp:spPr>
      <dsp:style>
        <a:lnRef idx="2">
          <a:scrgbClr r="0" g="0" b="0"/>
        </a:lnRef>
        <a:fillRef idx="0">
          <a:scrgbClr r="0" g="0" b="0"/>
        </a:fillRef>
        <a:effectRef idx="0">
          <a:scrgbClr r="0" g="0" b="0"/>
        </a:effectRef>
        <a:fontRef idx="minor"/>
      </dsp:style>
    </dsp:sp>
    <dsp:sp modelId="{4993B601-465E-4C7E-B658-EBC5E89335EA}">
      <dsp:nvSpPr>
        <dsp:cNvPr id="0" name=""/>
        <dsp:cNvSpPr/>
      </dsp:nvSpPr>
      <dsp:spPr>
        <a:xfrm>
          <a:off x="5388306" y="5851954"/>
          <a:ext cx="1824912" cy="1824912"/>
        </a:xfrm>
        <a:prstGeom prst="arc">
          <a:avLst>
            <a:gd name="adj1" fmla="val 2400000"/>
            <a:gd name="adj2" fmla="val 8400000"/>
          </a:avLst>
        </a:prstGeom>
        <a:noFill/>
        <a:ln w="76200" cap="flat" cmpd="sng" algn="ctr">
          <a:solidFill>
            <a:srgbClr val="F06A11"/>
          </a:solidFill>
          <a:prstDash val="solid"/>
          <a:miter lim="800000"/>
        </a:ln>
        <a:effectLst/>
      </dsp:spPr>
      <dsp:style>
        <a:lnRef idx="2">
          <a:scrgbClr r="0" g="0" b="0"/>
        </a:lnRef>
        <a:fillRef idx="0">
          <a:scrgbClr r="0" g="0" b="0"/>
        </a:fillRef>
        <a:effectRef idx="0">
          <a:scrgbClr r="0" g="0" b="0"/>
        </a:effectRef>
        <a:fontRef idx="minor"/>
      </dsp:style>
    </dsp:sp>
    <dsp:sp modelId="{0BB54D7C-1F47-43F0-A916-1A0480ECE2E7}">
      <dsp:nvSpPr>
        <dsp:cNvPr id="0" name=""/>
        <dsp:cNvSpPr/>
      </dsp:nvSpPr>
      <dsp:spPr>
        <a:xfrm>
          <a:off x="4475850" y="6180438"/>
          <a:ext cx="3649824" cy="1167943"/>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1422400">
            <a:lnSpc>
              <a:spcPct val="90000"/>
            </a:lnSpc>
            <a:spcBef>
              <a:spcPct val="0"/>
            </a:spcBef>
            <a:spcAft>
              <a:spcPct val="35000"/>
            </a:spcAft>
            <a:buNone/>
          </a:pPr>
          <a:r>
            <a:rPr lang="de-DE" sz="3200" b="1" kern="1200"/>
            <a:t>Engineering Leader</a:t>
          </a:r>
        </a:p>
      </dsp:txBody>
      <dsp:txXfrm>
        <a:off x="4475850" y="6180438"/>
        <a:ext cx="3649824" cy="1167943"/>
      </dsp:txXfrm>
    </dsp:sp>
    <dsp:sp modelId="{1FC4CF00-5BB6-463A-9106-81C5A90659D3}">
      <dsp:nvSpPr>
        <dsp:cNvPr id="0" name=""/>
        <dsp:cNvSpPr/>
      </dsp:nvSpPr>
      <dsp:spPr>
        <a:xfrm>
          <a:off x="9746854" y="5801545"/>
          <a:ext cx="1824912" cy="1824912"/>
        </a:xfrm>
        <a:prstGeom prst="arc">
          <a:avLst>
            <a:gd name="adj1" fmla="val 13200000"/>
            <a:gd name="adj2" fmla="val 19200000"/>
          </a:avLst>
        </a:prstGeom>
        <a:noFill/>
        <a:ln w="76200" cap="flat" cmpd="sng" algn="ctr">
          <a:solidFill>
            <a:srgbClr val="F06A11"/>
          </a:solidFill>
          <a:prstDash val="solid"/>
          <a:miter lim="800000"/>
        </a:ln>
        <a:effectLst/>
      </dsp:spPr>
      <dsp:style>
        <a:lnRef idx="2">
          <a:scrgbClr r="0" g="0" b="0"/>
        </a:lnRef>
        <a:fillRef idx="0">
          <a:scrgbClr r="0" g="0" b="0"/>
        </a:fillRef>
        <a:effectRef idx="0">
          <a:scrgbClr r="0" g="0" b="0"/>
        </a:effectRef>
        <a:fontRef idx="minor"/>
      </dsp:style>
    </dsp:sp>
    <dsp:sp modelId="{4FB3A5A6-8863-48DD-A549-40257FD53EE8}">
      <dsp:nvSpPr>
        <dsp:cNvPr id="0" name=""/>
        <dsp:cNvSpPr/>
      </dsp:nvSpPr>
      <dsp:spPr>
        <a:xfrm>
          <a:off x="9746854" y="5801545"/>
          <a:ext cx="1824912" cy="1824912"/>
        </a:xfrm>
        <a:prstGeom prst="arc">
          <a:avLst>
            <a:gd name="adj1" fmla="val 2400000"/>
            <a:gd name="adj2" fmla="val 8400000"/>
          </a:avLst>
        </a:prstGeom>
        <a:noFill/>
        <a:ln w="76200" cap="flat" cmpd="sng" algn="ctr">
          <a:solidFill>
            <a:srgbClr val="F06A11"/>
          </a:solidFill>
          <a:prstDash val="solid"/>
          <a:miter lim="800000"/>
        </a:ln>
        <a:effectLst/>
      </dsp:spPr>
      <dsp:style>
        <a:lnRef idx="2">
          <a:scrgbClr r="0" g="0" b="0"/>
        </a:lnRef>
        <a:fillRef idx="0">
          <a:scrgbClr r="0" g="0" b="0"/>
        </a:fillRef>
        <a:effectRef idx="0">
          <a:scrgbClr r="0" g="0" b="0"/>
        </a:effectRef>
        <a:fontRef idx="minor"/>
      </dsp:style>
    </dsp:sp>
    <dsp:sp modelId="{702065BE-0087-4903-B81C-435B3EBE4D65}">
      <dsp:nvSpPr>
        <dsp:cNvPr id="0" name=""/>
        <dsp:cNvSpPr/>
      </dsp:nvSpPr>
      <dsp:spPr>
        <a:xfrm>
          <a:off x="8834398" y="6130029"/>
          <a:ext cx="3649824" cy="1167943"/>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1422400">
            <a:lnSpc>
              <a:spcPct val="90000"/>
            </a:lnSpc>
            <a:spcBef>
              <a:spcPct val="0"/>
            </a:spcBef>
            <a:spcAft>
              <a:spcPct val="35000"/>
            </a:spcAft>
            <a:buNone/>
          </a:pPr>
          <a:r>
            <a:rPr lang="de-DE" sz="3200" b="1" kern="1200"/>
            <a:t>Engineering Developer</a:t>
          </a:r>
        </a:p>
      </dsp:txBody>
      <dsp:txXfrm>
        <a:off x="8834398" y="6130029"/>
        <a:ext cx="3649824" cy="1167943"/>
      </dsp:txXfrm>
    </dsp:sp>
    <dsp:sp modelId="{8A86CEED-DA9B-4AA5-A92B-20347514D52C}">
      <dsp:nvSpPr>
        <dsp:cNvPr id="0" name=""/>
        <dsp:cNvSpPr/>
      </dsp:nvSpPr>
      <dsp:spPr>
        <a:xfrm>
          <a:off x="13625961" y="5798719"/>
          <a:ext cx="1824912" cy="1824912"/>
        </a:xfrm>
        <a:prstGeom prst="arc">
          <a:avLst>
            <a:gd name="adj1" fmla="val 13200000"/>
            <a:gd name="adj2" fmla="val 19200000"/>
          </a:avLst>
        </a:prstGeom>
        <a:noFill/>
        <a:ln w="76200" cap="flat" cmpd="sng" algn="ctr">
          <a:solidFill>
            <a:srgbClr val="F06A11"/>
          </a:solidFill>
          <a:prstDash val="solid"/>
          <a:miter lim="800000"/>
          <a:extLst>
            <a:ext uri="{C807C97D-BFC1-408E-A445-0C87EB9F89A2}">
              <ask:lineSketchStyleProps xmlns:ask="http://schemas.microsoft.com/office/drawing/2018/sketchyshapes">
                <ask:type>
                  <ask:lineSketchNone/>
                </ask:type>
              </ask:lineSketchStyleProps>
            </a:ext>
          </a:extLst>
        </a:ln>
        <a:effectLst/>
      </dsp:spPr>
      <dsp:style>
        <a:lnRef idx="2">
          <a:scrgbClr r="0" g="0" b="0"/>
        </a:lnRef>
        <a:fillRef idx="0">
          <a:scrgbClr r="0" g="0" b="0"/>
        </a:fillRef>
        <a:effectRef idx="0">
          <a:scrgbClr r="0" g="0" b="0"/>
        </a:effectRef>
        <a:fontRef idx="minor"/>
      </dsp:style>
    </dsp:sp>
    <dsp:sp modelId="{06966F7A-0683-44AC-8B53-4576CA448A60}">
      <dsp:nvSpPr>
        <dsp:cNvPr id="0" name=""/>
        <dsp:cNvSpPr/>
      </dsp:nvSpPr>
      <dsp:spPr>
        <a:xfrm>
          <a:off x="13625961" y="5798719"/>
          <a:ext cx="1824912" cy="1824912"/>
        </a:xfrm>
        <a:prstGeom prst="arc">
          <a:avLst>
            <a:gd name="adj1" fmla="val 2400000"/>
            <a:gd name="adj2" fmla="val 8400000"/>
          </a:avLst>
        </a:prstGeom>
        <a:noFill/>
        <a:ln w="76200" cap="flat" cmpd="sng" algn="ctr">
          <a:solidFill>
            <a:srgbClr val="F06A11"/>
          </a:solidFill>
          <a:prstDash val="solid"/>
          <a:miter lim="800000"/>
          <a:extLst>
            <a:ext uri="{C807C97D-BFC1-408E-A445-0C87EB9F89A2}">
              <ask:lineSketchStyleProps xmlns:ask="http://schemas.microsoft.com/office/drawing/2018/sketchyshapes">
                <ask:type>
                  <ask:lineSketchNone/>
                </ask:type>
              </ask:lineSketchStyleProps>
            </a:ext>
          </a:extLst>
        </a:ln>
        <a:effectLst/>
      </dsp:spPr>
      <dsp:style>
        <a:lnRef idx="2">
          <a:scrgbClr r="0" g="0" b="0"/>
        </a:lnRef>
        <a:fillRef idx="0">
          <a:scrgbClr r="0" g="0" b="0"/>
        </a:fillRef>
        <a:effectRef idx="0">
          <a:scrgbClr r="0" g="0" b="0"/>
        </a:effectRef>
        <a:fontRef idx="minor"/>
      </dsp:style>
    </dsp:sp>
    <dsp:sp modelId="{694C6A68-0F15-433E-AF35-521936736D0C}">
      <dsp:nvSpPr>
        <dsp:cNvPr id="0" name=""/>
        <dsp:cNvSpPr/>
      </dsp:nvSpPr>
      <dsp:spPr>
        <a:xfrm>
          <a:off x="12713504" y="6127203"/>
          <a:ext cx="3649824" cy="1167943"/>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1422400">
            <a:lnSpc>
              <a:spcPct val="90000"/>
            </a:lnSpc>
            <a:spcBef>
              <a:spcPct val="0"/>
            </a:spcBef>
            <a:spcAft>
              <a:spcPct val="35000"/>
            </a:spcAft>
            <a:buNone/>
          </a:pPr>
          <a:r>
            <a:rPr lang="de-DE" sz="3200" b="1" kern="1200"/>
            <a:t>Prototype Engineer</a:t>
          </a:r>
        </a:p>
      </dsp:txBody>
      <dsp:txXfrm>
        <a:off x="12713504" y="6127203"/>
        <a:ext cx="3649824" cy="1167943"/>
      </dsp:txXfrm>
    </dsp:sp>
    <dsp:sp modelId="{6EA35E6E-04EF-4124-A7CD-25F7C51EC990}">
      <dsp:nvSpPr>
        <dsp:cNvPr id="0" name=""/>
        <dsp:cNvSpPr/>
      </dsp:nvSpPr>
      <dsp:spPr>
        <a:xfrm>
          <a:off x="18579430" y="5801545"/>
          <a:ext cx="1824912" cy="1824912"/>
        </a:xfrm>
        <a:prstGeom prst="arc">
          <a:avLst>
            <a:gd name="adj1" fmla="val 13200000"/>
            <a:gd name="adj2" fmla="val 19200000"/>
          </a:avLst>
        </a:prstGeom>
        <a:noFill/>
        <a:ln w="76200" cap="flat" cmpd="sng" algn="ctr">
          <a:solidFill>
            <a:srgbClr val="F06A11"/>
          </a:solidFill>
          <a:prstDash val="solid"/>
          <a:miter lim="800000"/>
        </a:ln>
        <a:effectLst/>
      </dsp:spPr>
      <dsp:style>
        <a:lnRef idx="2">
          <a:scrgbClr r="0" g="0" b="0"/>
        </a:lnRef>
        <a:fillRef idx="0">
          <a:scrgbClr r="0" g="0" b="0"/>
        </a:fillRef>
        <a:effectRef idx="0">
          <a:scrgbClr r="0" g="0" b="0"/>
        </a:effectRef>
        <a:fontRef idx="minor"/>
      </dsp:style>
    </dsp:sp>
    <dsp:sp modelId="{54A80AB5-2AC5-42C6-BFAD-27E603EDCB86}">
      <dsp:nvSpPr>
        <dsp:cNvPr id="0" name=""/>
        <dsp:cNvSpPr/>
      </dsp:nvSpPr>
      <dsp:spPr>
        <a:xfrm>
          <a:off x="18579430" y="5801545"/>
          <a:ext cx="1824912" cy="1824912"/>
        </a:xfrm>
        <a:prstGeom prst="arc">
          <a:avLst>
            <a:gd name="adj1" fmla="val 2400000"/>
            <a:gd name="adj2" fmla="val 8400000"/>
          </a:avLst>
        </a:prstGeom>
        <a:noFill/>
        <a:ln w="76200" cap="flat" cmpd="sng" algn="ctr">
          <a:solidFill>
            <a:srgbClr val="F06A11"/>
          </a:solidFill>
          <a:prstDash val="solid"/>
          <a:miter lim="800000"/>
        </a:ln>
        <a:effectLst/>
      </dsp:spPr>
      <dsp:style>
        <a:lnRef idx="2">
          <a:scrgbClr r="0" g="0" b="0"/>
        </a:lnRef>
        <a:fillRef idx="0">
          <a:scrgbClr r="0" g="0" b="0"/>
        </a:fillRef>
        <a:effectRef idx="0">
          <a:scrgbClr r="0" g="0" b="0"/>
        </a:effectRef>
        <a:fontRef idx="minor"/>
      </dsp:style>
    </dsp:sp>
    <dsp:sp modelId="{309886F9-B6DA-4E41-8FBF-73B521705ED1}">
      <dsp:nvSpPr>
        <dsp:cNvPr id="0" name=""/>
        <dsp:cNvSpPr/>
      </dsp:nvSpPr>
      <dsp:spPr>
        <a:xfrm>
          <a:off x="17666974" y="6130029"/>
          <a:ext cx="3649824" cy="1167943"/>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1422400">
            <a:lnSpc>
              <a:spcPct val="90000"/>
            </a:lnSpc>
            <a:spcBef>
              <a:spcPct val="0"/>
            </a:spcBef>
            <a:spcAft>
              <a:spcPct val="35000"/>
            </a:spcAft>
            <a:buNone/>
          </a:pPr>
          <a:r>
            <a:rPr lang="de-DE" sz="3200" b="1" kern="1200"/>
            <a:t>Prototype Lab Admin</a:t>
          </a:r>
        </a:p>
      </dsp:txBody>
      <dsp:txXfrm>
        <a:off x="17666974" y="6130029"/>
        <a:ext cx="3649824" cy="11679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8089CD-6BBB-485D-BF78-EEEA711048CF}">
      <dsp:nvSpPr>
        <dsp:cNvPr id="0" name=""/>
        <dsp:cNvSpPr/>
      </dsp:nvSpPr>
      <dsp:spPr>
        <a:xfrm>
          <a:off x="4466959" y="476364"/>
          <a:ext cx="928564" cy="9285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600200" rtl="0">
            <a:lnSpc>
              <a:spcPct val="90000"/>
            </a:lnSpc>
            <a:spcBef>
              <a:spcPct val="0"/>
            </a:spcBef>
            <a:spcAft>
              <a:spcPct val="35000"/>
            </a:spcAft>
            <a:buNone/>
          </a:pPr>
          <a:r>
            <a:rPr lang="en-GB" sz="3600" kern="1200"/>
            <a:t> </a:t>
          </a:r>
        </a:p>
      </dsp:txBody>
      <dsp:txXfrm>
        <a:off x="4602944" y="612349"/>
        <a:ext cx="656594" cy="656594"/>
      </dsp:txXfrm>
    </dsp:sp>
    <dsp:sp modelId="{5801A9AC-9A09-49C7-AB1B-59E7769999F2}">
      <dsp:nvSpPr>
        <dsp:cNvPr id="0" name=""/>
        <dsp:cNvSpPr/>
      </dsp:nvSpPr>
      <dsp:spPr>
        <a:xfrm rot="1542857">
          <a:off x="5592195" y="1175877"/>
          <a:ext cx="747830" cy="52627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rtl="0">
            <a:lnSpc>
              <a:spcPct val="90000"/>
            </a:lnSpc>
            <a:spcBef>
              <a:spcPct val="0"/>
            </a:spcBef>
            <a:spcAft>
              <a:spcPct val="35000"/>
            </a:spcAft>
            <a:buNone/>
          </a:pPr>
          <a:endParaRPr lang="en-GB" sz="2000" kern="1200"/>
        </a:p>
      </dsp:txBody>
      <dsp:txXfrm>
        <a:off x="5600013" y="1246881"/>
        <a:ext cx="589948" cy="315763"/>
      </dsp:txXfrm>
    </dsp:sp>
    <dsp:sp modelId="{A49F0E10-5BB9-483A-BBDA-EE98547E2997}">
      <dsp:nvSpPr>
        <dsp:cNvPr id="0" name=""/>
        <dsp:cNvSpPr/>
      </dsp:nvSpPr>
      <dsp:spPr>
        <a:xfrm>
          <a:off x="6574834" y="1491464"/>
          <a:ext cx="928564" cy="9285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600200" rtl="0">
            <a:lnSpc>
              <a:spcPct val="90000"/>
            </a:lnSpc>
            <a:spcBef>
              <a:spcPct val="0"/>
            </a:spcBef>
            <a:spcAft>
              <a:spcPct val="35000"/>
            </a:spcAft>
            <a:buNone/>
          </a:pPr>
          <a:endParaRPr lang="en-GB" sz="3600" kern="1200"/>
        </a:p>
      </dsp:txBody>
      <dsp:txXfrm>
        <a:off x="6710819" y="1627449"/>
        <a:ext cx="656594" cy="656594"/>
      </dsp:txXfrm>
    </dsp:sp>
    <dsp:sp modelId="{B4569146-1336-4CBE-9722-DA96410ACBA5}">
      <dsp:nvSpPr>
        <dsp:cNvPr id="0" name=""/>
        <dsp:cNvSpPr/>
      </dsp:nvSpPr>
      <dsp:spPr>
        <a:xfrm rot="4628571">
          <a:off x="6920793" y="2812429"/>
          <a:ext cx="747830" cy="52627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rtl="0">
            <a:lnSpc>
              <a:spcPct val="90000"/>
            </a:lnSpc>
            <a:spcBef>
              <a:spcPct val="0"/>
            </a:spcBef>
            <a:spcAft>
              <a:spcPct val="35000"/>
            </a:spcAft>
            <a:buNone/>
          </a:pPr>
          <a:endParaRPr lang="en-GB" sz="2000" kern="1200"/>
        </a:p>
      </dsp:txBody>
      <dsp:txXfrm>
        <a:off x="6982168" y="2840722"/>
        <a:ext cx="589948" cy="315763"/>
      </dsp:txXfrm>
    </dsp:sp>
    <dsp:sp modelId="{538C363B-2847-4C6B-897B-FFB6A80D177A}">
      <dsp:nvSpPr>
        <dsp:cNvPr id="0" name=""/>
        <dsp:cNvSpPr/>
      </dsp:nvSpPr>
      <dsp:spPr>
        <a:xfrm>
          <a:off x="7095436" y="3772371"/>
          <a:ext cx="928564" cy="9285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600200" rtl="0">
            <a:lnSpc>
              <a:spcPct val="90000"/>
            </a:lnSpc>
            <a:spcBef>
              <a:spcPct val="0"/>
            </a:spcBef>
            <a:spcAft>
              <a:spcPct val="35000"/>
            </a:spcAft>
            <a:buNone/>
          </a:pPr>
          <a:endParaRPr lang="en-GB" sz="3600" kern="1200"/>
        </a:p>
      </dsp:txBody>
      <dsp:txXfrm>
        <a:off x="7231421" y="3908356"/>
        <a:ext cx="656594" cy="656594"/>
      </dsp:txXfrm>
    </dsp:sp>
    <dsp:sp modelId="{E00AD575-26AE-425C-90E8-5DDF35699AF3}">
      <dsp:nvSpPr>
        <dsp:cNvPr id="0" name=""/>
        <dsp:cNvSpPr/>
      </dsp:nvSpPr>
      <dsp:spPr>
        <a:xfrm rot="7714286">
          <a:off x="6469652" y="4871542"/>
          <a:ext cx="747830" cy="52627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rtl="0">
            <a:lnSpc>
              <a:spcPct val="90000"/>
            </a:lnSpc>
            <a:spcBef>
              <a:spcPct val="0"/>
            </a:spcBef>
            <a:spcAft>
              <a:spcPct val="35000"/>
            </a:spcAft>
            <a:buNone/>
          </a:pPr>
          <a:endParaRPr lang="en-GB" sz="2000" kern="1200"/>
        </a:p>
      </dsp:txBody>
      <dsp:txXfrm rot="10800000">
        <a:off x="6597812" y="4915078"/>
        <a:ext cx="589948" cy="315763"/>
      </dsp:txXfrm>
    </dsp:sp>
    <dsp:sp modelId="{CD86D8B9-0F87-41D0-8A61-D2B2B0C6D635}">
      <dsp:nvSpPr>
        <dsp:cNvPr id="0" name=""/>
        <dsp:cNvSpPr/>
      </dsp:nvSpPr>
      <dsp:spPr>
        <a:xfrm>
          <a:off x="5636741" y="5601517"/>
          <a:ext cx="928564" cy="9285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600200" rtl="0">
            <a:lnSpc>
              <a:spcPct val="90000"/>
            </a:lnSpc>
            <a:spcBef>
              <a:spcPct val="0"/>
            </a:spcBef>
            <a:spcAft>
              <a:spcPct val="35000"/>
            </a:spcAft>
            <a:buNone/>
          </a:pPr>
          <a:endParaRPr lang="en-GB" sz="3600" kern="1200"/>
        </a:p>
      </dsp:txBody>
      <dsp:txXfrm>
        <a:off x="5772726" y="5737502"/>
        <a:ext cx="656594" cy="656594"/>
      </dsp:txXfrm>
    </dsp:sp>
    <dsp:sp modelId="{C253A1A3-A7C2-47AF-B4E0-8FEB58DD13A8}">
      <dsp:nvSpPr>
        <dsp:cNvPr id="0" name=""/>
        <dsp:cNvSpPr/>
      </dsp:nvSpPr>
      <dsp:spPr>
        <a:xfrm rot="10800000">
          <a:off x="4578491" y="5802663"/>
          <a:ext cx="747830" cy="52627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rtl="0">
            <a:lnSpc>
              <a:spcPct val="90000"/>
            </a:lnSpc>
            <a:spcBef>
              <a:spcPct val="0"/>
            </a:spcBef>
            <a:spcAft>
              <a:spcPct val="35000"/>
            </a:spcAft>
            <a:buNone/>
          </a:pPr>
          <a:endParaRPr lang="en-GB" sz="2000" kern="1200"/>
        </a:p>
      </dsp:txBody>
      <dsp:txXfrm rot="10800000">
        <a:off x="4736373" y="5907918"/>
        <a:ext cx="589948" cy="315763"/>
      </dsp:txXfrm>
    </dsp:sp>
    <dsp:sp modelId="{5F797D20-2B1F-49F6-A751-E65F113425DC}">
      <dsp:nvSpPr>
        <dsp:cNvPr id="0" name=""/>
        <dsp:cNvSpPr/>
      </dsp:nvSpPr>
      <dsp:spPr>
        <a:xfrm>
          <a:off x="3297176" y="5601517"/>
          <a:ext cx="928564" cy="9285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600200" rtl="0">
            <a:lnSpc>
              <a:spcPct val="90000"/>
            </a:lnSpc>
            <a:spcBef>
              <a:spcPct val="0"/>
            </a:spcBef>
            <a:spcAft>
              <a:spcPct val="35000"/>
            </a:spcAft>
            <a:buNone/>
          </a:pPr>
          <a:endParaRPr lang="en-GB" sz="3600" kern="1200"/>
        </a:p>
      </dsp:txBody>
      <dsp:txXfrm>
        <a:off x="3433161" y="5737502"/>
        <a:ext cx="656594" cy="656594"/>
      </dsp:txXfrm>
    </dsp:sp>
    <dsp:sp modelId="{FA2C676C-3E56-48E3-9D28-1B8E560709A3}">
      <dsp:nvSpPr>
        <dsp:cNvPr id="0" name=""/>
        <dsp:cNvSpPr/>
      </dsp:nvSpPr>
      <dsp:spPr>
        <a:xfrm rot="13885714">
          <a:off x="2671392" y="4904637"/>
          <a:ext cx="747830" cy="52627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rtl="0">
            <a:lnSpc>
              <a:spcPct val="90000"/>
            </a:lnSpc>
            <a:spcBef>
              <a:spcPct val="0"/>
            </a:spcBef>
            <a:spcAft>
              <a:spcPct val="35000"/>
            </a:spcAft>
            <a:buNone/>
          </a:pPr>
          <a:endParaRPr lang="en-GB" sz="2000" kern="1200"/>
        </a:p>
      </dsp:txBody>
      <dsp:txXfrm rot="10800000">
        <a:off x="2799552" y="5071611"/>
        <a:ext cx="589948" cy="315763"/>
      </dsp:txXfrm>
    </dsp:sp>
    <dsp:sp modelId="{9DACF1F6-5B80-4E25-BCF5-7C27DCB3367C}">
      <dsp:nvSpPr>
        <dsp:cNvPr id="0" name=""/>
        <dsp:cNvSpPr/>
      </dsp:nvSpPr>
      <dsp:spPr>
        <a:xfrm>
          <a:off x="1838481" y="3772371"/>
          <a:ext cx="928564" cy="9285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600200" rtl="0">
            <a:lnSpc>
              <a:spcPct val="90000"/>
            </a:lnSpc>
            <a:spcBef>
              <a:spcPct val="0"/>
            </a:spcBef>
            <a:spcAft>
              <a:spcPct val="35000"/>
            </a:spcAft>
            <a:buNone/>
          </a:pPr>
          <a:endParaRPr lang="en-GB" sz="3600" kern="1200"/>
        </a:p>
      </dsp:txBody>
      <dsp:txXfrm>
        <a:off x="1974466" y="3908356"/>
        <a:ext cx="656594" cy="656594"/>
      </dsp:txXfrm>
    </dsp:sp>
    <dsp:sp modelId="{EE10EB65-E65E-4963-8FA7-BA4ED98E96C7}">
      <dsp:nvSpPr>
        <dsp:cNvPr id="0" name=""/>
        <dsp:cNvSpPr/>
      </dsp:nvSpPr>
      <dsp:spPr>
        <a:xfrm rot="16971429">
          <a:off x="2184440" y="2853697"/>
          <a:ext cx="747830" cy="52627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rtl="0">
            <a:lnSpc>
              <a:spcPct val="90000"/>
            </a:lnSpc>
            <a:spcBef>
              <a:spcPct val="0"/>
            </a:spcBef>
            <a:spcAft>
              <a:spcPct val="35000"/>
            </a:spcAft>
            <a:buNone/>
          </a:pPr>
          <a:endParaRPr lang="en-GB" sz="2000" kern="1200"/>
        </a:p>
      </dsp:txBody>
      <dsp:txXfrm>
        <a:off x="2245815" y="3035914"/>
        <a:ext cx="589948" cy="315763"/>
      </dsp:txXfrm>
    </dsp:sp>
    <dsp:sp modelId="{060CEADA-96A5-467C-A757-8990A33DA554}">
      <dsp:nvSpPr>
        <dsp:cNvPr id="0" name=""/>
        <dsp:cNvSpPr/>
      </dsp:nvSpPr>
      <dsp:spPr>
        <a:xfrm>
          <a:off x="2359083" y="1491464"/>
          <a:ext cx="928564" cy="9285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600200" rtl="0">
            <a:lnSpc>
              <a:spcPct val="90000"/>
            </a:lnSpc>
            <a:spcBef>
              <a:spcPct val="0"/>
            </a:spcBef>
            <a:spcAft>
              <a:spcPct val="35000"/>
            </a:spcAft>
            <a:buNone/>
          </a:pPr>
          <a:endParaRPr lang="en-GB" sz="3600" kern="1200"/>
        </a:p>
      </dsp:txBody>
      <dsp:txXfrm>
        <a:off x="2495068" y="1627449"/>
        <a:ext cx="656594" cy="656594"/>
      </dsp:txXfrm>
    </dsp:sp>
    <dsp:sp modelId="{284F9367-4090-4960-9FD3-B1F92A08CA55}">
      <dsp:nvSpPr>
        <dsp:cNvPr id="0" name=""/>
        <dsp:cNvSpPr/>
      </dsp:nvSpPr>
      <dsp:spPr>
        <a:xfrm rot="20057143">
          <a:off x="3484319" y="1194243"/>
          <a:ext cx="747830" cy="52627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rtl="0">
            <a:lnSpc>
              <a:spcPct val="90000"/>
            </a:lnSpc>
            <a:spcBef>
              <a:spcPct val="0"/>
            </a:spcBef>
            <a:spcAft>
              <a:spcPct val="35000"/>
            </a:spcAft>
            <a:buNone/>
          </a:pPr>
          <a:endParaRPr lang="en-GB" sz="2000" kern="1200"/>
        </a:p>
      </dsp:txBody>
      <dsp:txXfrm>
        <a:off x="3492137" y="1333749"/>
        <a:ext cx="589948" cy="315763"/>
      </dsp:txXfrm>
    </dsp:sp>
  </dsp:spTree>
</dsp:drawing>
</file>

<file path=ppt/diagrams/layout1.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6T07:02:30.536"/>
    </inkml:context>
    <inkml:brush xml:id="br0">
      <inkml:brushProperty name="width" value="0.05" units="cm"/>
      <inkml:brushProperty name="height" value="0.05" units="cm"/>
    </inkml:brush>
  </inkml:definitions>
  <inkml:trace contextRef="#ctx0" brushRef="#br0">1 0 24575,'0'0'-819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6T07:02:36.400"/>
    </inkml:context>
    <inkml:brush xml:id="br0">
      <inkml:brushProperty name="width" value="0.05" units="cm"/>
      <inkml:brushProperty name="height" value="0.05" units="cm"/>
    </inkml:brush>
  </inkml:definitions>
  <inkml:trace contextRef="#ctx0" brushRef="#br0">0 1 24575,'0'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98055"/>
          </a:xfrm>
          <a:prstGeom prst="rect">
            <a:avLst/>
          </a:prstGeom>
        </p:spPr>
        <p:txBody>
          <a:bodyPr vert="horz" lIns="96661" tIns="48331" rIns="96661" bIns="48331" rtlCol="0"/>
          <a:lstStyle>
            <a:lvl1pPr algn="l">
              <a:defRPr sz="1300" b="0" i="0">
                <a:latin typeface="Noto IKEA Latin Regular" panose="020B0502040504020204" pitchFamily="34" charset="0"/>
              </a:defRPr>
            </a:lvl1pPr>
          </a:lstStyle>
          <a:p>
            <a:endParaRPr lang="en-US"/>
          </a:p>
        </p:txBody>
      </p:sp>
      <p:sp>
        <p:nvSpPr>
          <p:cNvPr id="3" name="Date Placeholder 2"/>
          <p:cNvSpPr>
            <a:spLocks noGrp="1"/>
          </p:cNvSpPr>
          <p:nvPr>
            <p:ph type="dt" idx="1"/>
          </p:nvPr>
        </p:nvSpPr>
        <p:spPr>
          <a:xfrm>
            <a:off x="3884613" y="1"/>
            <a:ext cx="2971800" cy="498055"/>
          </a:xfrm>
          <a:prstGeom prst="rect">
            <a:avLst/>
          </a:prstGeom>
        </p:spPr>
        <p:txBody>
          <a:bodyPr vert="horz" lIns="96661" tIns="48331" rIns="96661" bIns="48331" rtlCol="0"/>
          <a:lstStyle>
            <a:lvl1pPr algn="r">
              <a:defRPr sz="1300" b="0" i="0">
                <a:latin typeface="Noto IKEA Latin Regular" panose="020B0502040504020204" pitchFamily="34" charset="0"/>
              </a:defRPr>
            </a:lvl1pPr>
          </a:lstStyle>
          <a:p>
            <a:fld id="{CFDDF2E6-2633-1940-BF50-5FCAE8706BAD}" type="datetimeFigureOut">
              <a:rPr lang="en-US" smtClean="0"/>
              <a:pPr/>
              <a:t>3/12/2025</a:t>
            </a:fld>
            <a:endParaRPr lang="en-US"/>
          </a:p>
        </p:txBody>
      </p:sp>
      <p:sp>
        <p:nvSpPr>
          <p:cNvPr id="4" name="Slide Image Placeholder 3"/>
          <p:cNvSpPr>
            <a:spLocks noGrp="1" noRot="1" noChangeAspect="1"/>
          </p:cNvSpPr>
          <p:nvPr>
            <p:ph type="sldImg" idx="2"/>
          </p:nvPr>
        </p:nvSpPr>
        <p:spPr>
          <a:xfrm>
            <a:off x="452438" y="1241425"/>
            <a:ext cx="5953125" cy="3349625"/>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685800" y="4777195"/>
            <a:ext cx="5486400" cy="3908614"/>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71800" cy="498054"/>
          </a:xfrm>
          <a:prstGeom prst="rect">
            <a:avLst/>
          </a:prstGeom>
        </p:spPr>
        <p:txBody>
          <a:bodyPr vert="horz" lIns="96661" tIns="48331" rIns="96661" bIns="48331" rtlCol="0" anchor="b"/>
          <a:lstStyle>
            <a:lvl1pPr algn="l">
              <a:defRPr sz="1300" b="0" i="0">
                <a:latin typeface="Noto IKEA Latin Regular" panose="020B0502040504020204" pitchFamily="34" charset="0"/>
              </a:defRPr>
            </a:lvl1pPr>
          </a:lstStyle>
          <a:p>
            <a:endParaRPr lang="en-US"/>
          </a:p>
        </p:txBody>
      </p:sp>
      <p:sp>
        <p:nvSpPr>
          <p:cNvPr id="7" name="Slide Number Placeholder 6"/>
          <p:cNvSpPr>
            <a:spLocks noGrp="1"/>
          </p:cNvSpPr>
          <p:nvPr>
            <p:ph type="sldNum" sz="quarter" idx="5"/>
          </p:nvPr>
        </p:nvSpPr>
        <p:spPr>
          <a:xfrm>
            <a:off x="3884613" y="9428584"/>
            <a:ext cx="2971800" cy="498054"/>
          </a:xfrm>
          <a:prstGeom prst="rect">
            <a:avLst/>
          </a:prstGeom>
        </p:spPr>
        <p:txBody>
          <a:bodyPr vert="horz" lIns="96661" tIns="48331" rIns="96661" bIns="48331" rtlCol="0" anchor="b"/>
          <a:lstStyle>
            <a:lvl1pPr algn="r">
              <a:defRPr sz="1300" b="0" i="0">
                <a:latin typeface="Noto IKEA Latin Regular" panose="020B0502040504020204" pitchFamily="34" charset="0"/>
              </a:defRPr>
            </a:lvl1pPr>
          </a:lstStyle>
          <a:p>
            <a:fld id="{B7FC4F5B-6136-F348-BEAF-A8E0CC8F44AA}" type="slidenum">
              <a:rPr lang="en-US" smtClean="0"/>
              <a:pPr/>
              <a:t>‹#›</a:t>
            </a:fld>
            <a:endParaRPr lang="en-US"/>
          </a:p>
        </p:txBody>
      </p:sp>
    </p:spTree>
    <p:extLst>
      <p:ext uri="{BB962C8B-B14F-4D97-AF65-F5344CB8AC3E}">
        <p14:creationId xmlns:p14="http://schemas.microsoft.com/office/powerpoint/2010/main" val="3348680886"/>
      </p:ext>
    </p:extLst>
  </p:cSld>
  <p:clrMap bg1="lt1" tx1="dk1" bg2="lt2" tx2="dk2" accent1="accent1" accent2="accent2" accent3="accent3" accent4="accent4" accent5="accent5" accent6="accent6" hlink="hlink" folHlink="folHlink"/>
  <p:notesStyle>
    <a:lvl1pPr marL="0" algn="l" defTabSz="1828663" rtl="0" eaLnBrk="1" latinLnBrk="0" hangingPunct="1">
      <a:defRPr sz="2400" b="0" i="0" kern="1200">
        <a:solidFill>
          <a:schemeClr val="tx1"/>
        </a:solidFill>
        <a:latin typeface="Noto IKEA Latin Regular" panose="020B0502040504020204" pitchFamily="34" charset="0"/>
        <a:ea typeface="+mn-ea"/>
        <a:cs typeface="+mn-cs"/>
      </a:defRPr>
    </a:lvl1pPr>
    <a:lvl2pPr marL="914332" algn="l" defTabSz="1828663" rtl="0" eaLnBrk="1" latinLnBrk="0" hangingPunct="1">
      <a:defRPr sz="2400" b="0" i="0" kern="1200">
        <a:solidFill>
          <a:schemeClr val="tx1"/>
        </a:solidFill>
        <a:latin typeface="Noto IKEA Latin Regular" panose="020B0502040504020204" pitchFamily="34" charset="0"/>
        <a:ea typeface="+mn-ea"/>
        <a:cs typeface="+mn-cs"/>
      </a:defRPr>
    </a:lvl2pPr>
    <a:lvl3pPr marL="1828663" algn="l" defTabSz="1828663" rtl="0" eaLnBrk="1" latinLnBrk="0" hangingPunct="1">
      <a:defRPr sz="2400" b="0" i="0" kern="1200">
        <a:solidFill>
          <a:schemeClr val="tx1"/>
        </a:solidFill>
        <a:latin typeface="Noto IKEA Latin Regular" panose="020B0502040504020204" pitchFamily="34" charset="0"/>
        <a:ea typeface="+mn-ea"/>
        <a:cs typeface="+mn-cs"/>
      </a:defRPr>
    </a:lvl3pPr>
    <a:lvl4pPr marL="2742995" algn="l" defTabSz="1828663" rtl="0" eaLnBrk="1" latinLnBrk="0" hangingPunct="1">
      <a:defRPr sz="2400" b="0" i="0" kern="1200">
        <a:solidFill>
          <a:schemeClr val="tx1"/>
        </a:solidFill>
        <a:latin typeface="Noto IKEA Latin Regular" panose="020B0502040504020204" pitchFamily="34" charset="0"/>
        <a:ea typeface="+mn-ea"/>
        <a:cs typeface="+mn-cs"/>
      </a:defRPr>
    </a:lvl4pPr>
    <a:lvl5pPr marL="3657325" algn="l" defTabSz="1828663" rtl="0" eaLnBrk="1" latinLnBrk="0" hangingPunct="1">
      <a:defRPr sz="2400" b="0" i="0" kern="1200">
        <a:solidFill>
          <a:schemeClr val="tx1"/>
        </a:solidFill>
        <a:latin typeface="Noto IKEA Latin Regular" panose="020B0502040504020204" pitchFamily="34" charset="0"/>
        <a:ea typeface="+mn-ea"/>
        <a:cs typeface="+mn-cs"/>
      </a:defRPr>
    </a:lvl5pPr>
    <a:lvl6pPr marL="4571657" algn="l" defTabSz="1828663" rtl="0" eaLnBrk="1" latinLnBrk="0" hangingPunct="1">
      <a:defRPr sz="2400" kern="1200">
        <a:solidFill>
          <a:schemeClr val="tx1"/>
        </a:solidFill>
        <a:latin typeface="+mn-lt"/>
        <a:ea typeface="+mn-ea"/>
        <a:cs typeface="+mn-cs"/>
      </a:defRPr>
    </a:lvl6pPr>
    <a:lvl7pPr marL="5485988" algn="l" defTabSz="1828663" rtl="0" eaLnBrk="1" latinLnBrk="0" hangingPunct="1">
      <a:defRPr sz="2400" kern="1200">
        <a:solidFill>
          <a:schemeClr val="tx1"/>
        </a:solidFill>
        <a:latin typeface="+mn-lt"/>
        <a:ea typeface="+mn-ea"/>
        <a:cs typeface="+mn-cs"/>
      </a:defRPr>
    </a:lvl7pPr>
    <a:lvl8pPr marL="6400320" algn="l" defTabSz="1828663" rtl="0" eaLnBrk="1" latinLnBrk="0" hangingPunct="1">
      <a:defRPr sz="2400" kern="1200">
        <a:solidFill>
          <a:schemeClr val="tx1"/>
        </a:solidFill>
        <a:latin typeface="+mn-lt"/>
        <a:ea typeface="+mn-ea"/>
        <a:cs typeface="+mn-cs"/>
      </a:defRPr>
    </a:lvl8pPr>
    <a:lvl9pPr marL="7314652" algn="l" defTabSz="1828663" rtl="0" eaLnBrk="1" latinLnBrk="0" hangingPunct="1">
      <a:defRPr sz="2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sz="2500" b="1">
                <a:latin typeface="Noto IKEA Latin" panose="020B0502040504020204" pitchFamily="34" charset="0"/>
              </a:rPr>
              <a:t>Keep both</a:t>
            </a:r>
            <a:endParaRPr lang="en-US" sz="1200">
              <a:latin typeface="Noto IKEA Latin" panose="020B0502040504020204" pitchFamily="34" charset="0"/>
            </a:endParaRPr>
          </a:p>
          <a:p>
            <a:endParaRPr lang="sv-SE"/>
          </a:p>
        </p:txBody>
      </p:sp>
      <p:sp>
        <p:nvSpPr>
          <p:cNvPr id="4" name="Slide Number Placeholder 3"/>
          <p:cNvSpPr>
            <a:spLocks noGrp="1"/>
          </p:cNvSpPr>
          <p:nvPr>
            <p:ph type="sldNum" sz="quarter" idx="5"/>
          </p:nvPr>
        </p:nvSpPr>
        <p:spPr/>
        <p:txBody>
          <a:bodyPr/>
          <a:lstStyle/>
          <a:p>
            <a:pPr defTabSz="966612">
              <a:defRPr/>
            </a:pPr>
            <a:fld id="{42AC56C4-AA7C-4945-B366-C2C5E3D37241}" type="slidenum">
              <a:rPr lang="sv-SE">
                <a:solidFill>
                  <a:prstClr val="black"/>
                </a:solidFill>
                <a:latin typeface="Calibri" panose="020F0502020204030204"/>
              </a:rPr>
              <a:pPr defTabSz="966612">
                <a:defRPr/>
              </a:pPr>
              <a:t>1</a:t>
            </a:fld>
            <a:endParaRPr lang="sv-SE">
              <a:solidFill>
                <a:prstClr val="black"/>
              </a:solidFill>
              <a:latin typeface="Calibri" panose="020F0502020204030204"/>
            </a:endParaRPr>
          </a:p>
        </p:txBody>
      </p:sp>
    </p:spTree>
    <p:extLst>
      <p:ext uri="{BB962C8B-B14F-4D97-AF65-F5344CB8AC3E}">
        <p14:creationId xmlns:p14="http://schemas.microsoft.com/office/powerpoint/2010/main" val="20312776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888F2B-141D-46B5-9CBA-2F146EC3A88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56178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Long</a:t>
            </a:r>
          </a:p>
        </p:txBody>
      </p:sp>
      <p:sp>
        <p:nvSpPr>
          <p:cNvPr id="4" name="Foliennummernplatzhalter 3"/>
          <p:cNvSpPr>
            <a:spLocks noGrp="1"/>
          </p:cNvSpPr>
          <p:nvPr>
            <p:ph type="sldNum" sz="quarter" idx="5"/>
          </p:nvPr>
        </p:nvSpPr>
        <p:spPr/>
        <p:txBody>
          <a:bodyPr/>
          <a:lstStyle/>
          <a:p>
            <a:fld id="{B7FC4F5B-6136-F348-BEAF-A8E0CC8F44AA}" type="slidenum">
              <a:rPr lang="en-US" smtClean="0"/>
              <a:pPr/>
              <a:t>2</a:t>
            </a:fld>
            <a:endParaRPr lang="en-US"/>
          </a:p>
        </p:txBody>
      </p:sp>
    </p:spTree>
    <p:extLst>
      <p:ext uri="{BB962C8B-B14F-4D97-AF65-F5344CB8AC3E}">
        <p14:creationId xmlns:p14="http://schemas.microsoft.com/office/powerpoint/2010/main" val="40469697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933080"/>
            <a:r>
              <a:rPr lang="sv-SE" sz="1200"/>
              <a:t>Matt Only</a:t>
            </a:r>
          </a:p>
        </p:txBody>
      </p:sp>
      <p:sp>
        <p:nvSpPr>
          <p:cNvPr id="4" name="Slide Number Placeholder 3"/>
          <p:cNvSpPr>
            <a:spLocks noGrp="1"/>
          </p:cNvSpPr>
          <p:nvPr>
            <p:ph type="sldNum" sz="quarter" idx="5"/>
          </p:nvPr>
        </p:nvSpPr>
        <p:spPr/>
        <p:txBody>
          <a:bodyPr/>
          <a:lstStyle/>
          <a:p>
            <a:fld id="{B7FC4F5B-6136-F348-BEAF-A8E0CC8F44AA}" type="slidenum">
              <a:rPr lang="en-US" smtClean="0"/>
              <a:pPr/>
              <a:t>3</a:t>
            </a:fld>
            <a:endParaRPr lang="en-US"/>
          </a:p>
        </p:txBody>
      </p:sp>
    </p:spTree>
    <p:extLst>
      <p:ext uri="{BB962C8B-B14F-4D97-AF65-F5344CB8AC3E}">
        <p14:creationId xmlns:p14="http://schemas.microsoft.com/office/powerpoint/2010/main" val="16279544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Keep both</a:t>
            </a:r>
          </a:p>
        </p:txBody>
      </p:sp>
      <p:sp>
        <p:nvSpPr>
          <p:cNvPr id="4" name="Slide Number Placeholder 3"/>
          <p:cNvSpPr>
            <a:spLocks noGrp="1"/>
          </p:cNvSpPr>
          <p:nvPr>
            <p:ph type="sldNum" sz="quarter" idx="5"/>
          </p:nvPr>
        </p:nvSpPr>
        <p:spPr/>
        <p:txBody>
          <a:bodyPr/>
          <a:lstStyle/>
          <a:p>
            <a:fld id="{B7FC4F5B-6136-F348-BEAF-A8E0CC8F44AA}" type="slidenum">
              <a:rPr lang="en-US" smtClean="0"/>
              <a:pPr/>
              <a:t>4</a:t>
            </a:fld>
            <a:endParaRPr lang="en-US"/>
          </a:p>
        </p:txBody>
      </p:sp>
    </p:spTree>
    <p:extLst>
      <p:ext uri="{BB962C8B-B14F-4D97-AF65-F5344CB8AC3E}">
        <p14:creationId xmlns:p14="http://schemas.microsoft.com/office/powerpoint/2010/main" val="838005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Keep both</a:t>
            </a:r>
          </a:p>
        </p:txBody>
      </p:sp>
      <p:sp>
        <p:nvSpPr>
          <p:cNvPr id="4" name="Slide Number Placeholder 3"/>
          <p:cNvSpPr>
            <a:spLocks noGrp="1"/>
          </p:cNvSpPr>
          <p:nvPr>
            <p:ph type="sldNum" sz="quarter" idx="5"/>
          </p:nvPr>
        </p:nvSpPr>
        <p:spPr/>
        <p:txBody>
          <a:bodyPr/>
          <a:lstStyle/>
          <a:p>
            <a:fld id="{B7FC4F5B-6136-F348-BEAF-A8E0CC8F44AA}" type="slidenum">
              <a:rPr lang="en-US" smtClean="0"/>
              <a:pPr/>
              <a:t>5</a:t>
            </a:fld>
            <a:endParaRPr lang="en-US"/>
          </a:p>
        </p:txBody>
      </p:sp>
    </p:spTree>
    <p:extLst>
      <p:ext uri="{BB962C8B-B14F-4D97-AF65-F5344CB8AC3E}">
        <p14:creationId xmlns:p14="http://schemas.microsoft.com/office/powerpoint/2010/main" val="1387472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1828663" rtl="0" eaLnBrk="1" fontAlgn="auto" latinLnBrk="0" hangingPunct="1">
              <a:lnSpc>
                <a:spcPct val="100000"/>
              </a:lnSpc>
              <a:spcBef>
                <a:spcPts val="0"/>
              </a:spcBef>
              <a:spcAft>
                <a:spcPts val="0"/>
              </a:spcAft>
              <a:buClrTx/>
              <a:buSzTx/>
              <a:buFontTx/>
              <a:buNone/>
              <a:tabLst/>
              <a:defRPr/>
            </a:pPr>
            <a:fld id="{B7FC4F5B-6136-F348-BEAF-A8E0CC8F44AA}" type="slidenum">
              <a:rPr kumimoji="0" lang="en-US" sz="1200" b="0" i="0" u="none" strike="noStrike" kern="1200" cap="none" spc="0" normalizeH="0" baseline="0" noProof="0" smtClean="0">
                <a:ln>
                  <a:noFill/>
                </a:ln>
                <a:solidFill>
                  <a:prstClr val="black"/>
                </a:solidFill>
                <a:effectLst/>
                <a:uLnTx/>
                <a:uFillTx/>
                <a:latin typeface="Noto IKEA Latin Regular" panose="020B0502040504020204" pitchFamily="34" charset="0"/>
                <a:ea typeface="+mn-ea"/>
                <a:cs typeface="+mn-cs"/>
              </a:rPr>
              <a:pPr marL="0" marR="0" lvl="0" indent="0" algn="r" defTabSz="182866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Noto IKEA Latin Regular" panose="020B0502040504020204" pitchFamily="34" charset="0"/>
              <a:ea typeface="+mn-ea"/>
              <a:cs typeface="+mn-cs"/>
            </a:endParaRPr>
          </a:p>
        </p:txBody>
      </p:sp>
    </p:spTree>
    <p:extLst>
      <p:ext uri="{BB962C8B-B14F-4D97-AF65-F5344CB8AC3E}">
        <p14:creationId xmlns:p14="http://schemas.microsoft.com/office/powerpoint/2010/main" val="34334549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a:p>
        </p:txBody>
      </p:sp>
      <p:sp>
        <p:nvSpPr>
          <p:cNvPr id="4" name="Slide Number Placeholder 3"/>
          <p:cNvSpPr>
            <a:spLocks noGrp="1"/>
          </p:cNvSpPr>
          <p:nvPr>
            <p:ph type="sldNum" sz="quarter" idx="5"/>
          </p:nvPr>
        </p:nvSpPr>
        <p:spPr/>
        <p:txBody>
          <a:bodyPr/>
          <a:lstStyle/>
          <a:p>
            <a:pPr defTabSz="1933080">
              <a:defRPr/>
            </a:pPr>
            <a:fld id="{B7FC4F5B-6136-F348-BEAF-A8E0CC8F44AA}" type="slidenum">
              <a:rPr lang="en-US">
                <a:solidFill>
                  <a:prstClr val="black"/>
                </a:solidFill>
              </a:rPr>
              <a:pPr defTabSz="1933080">
                <a:defRPr/>
              </a:pPr>
              <a:t>9</a:t>
            </a:fld>
            <a:endParaRPr lang="en-US">
              <a:solidFill>
                <a:prstClr val="black"/>
              </a:solidFill>
            </a:endParaRPr>
          </a:p>
        </p:txBody>
      </p:sp>
    </p:spTree>
    <p:extLst>
      <p:ext uri="{BB962C8B-B14F-4D97-AF65-F5344CB8AC3E}">
        <p14:creationId xmlns:p14="http://schemas.microsoft.com/office/powerpoint/2010/main" val="1802372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1828663" rtl="0" eaLnBrk="1" fontAlgn="auto" latinLnBrk="0" hangingPunct="1">
              <a:lnSpc>
                <a:spcPct val="100000"/>
              </a:lnSpc>
              <a:spcBef>
                <a:spcPts val="0"/>
              </a:spcBef>
              <a:spcAft>
                <a:spcPts val="0"/>
              </a:spcAft>
              <a:buClrTx/>
              <a:buSzTx/>
              <a:buFontTx/>
              <a:buNone/>
              <a:tabLst/>
              <a:defRPr/>
            </a:pPr>
            <a:fld id="{B7FC4F5B-6136-F348-BEAF-A8E0CC8F44AA}" type="slidenum">
              <a:rPr kumimoji="0" lang="en-US" sz="1200" b="0" i="0" u="none" strike="noStrike" kern="1200" cap="none" spc="0" normalizeH="0" baseline="0" noProof="0" smtClean="0">
                <a:ln>
                  <a:noFill/>
                </a:ln>
                <a:solidFill>
                  <a:prstClr val="black"/>
                </a:solidFill>
                <a:effectLst/>
                <a:uLnTx/>
                <a:uFillTx/>
                <a:latin typeface="Noto IKEA Latin Regular" panose="020B0502040504020204" pitchFamily="34" charset="0"/>
                <a:ea typeface="+mn-ea"/>
                <a:cs typeface="+mn-cs"/>
              </a:rPr>
              <a:pPr marL="0" marR="0" lvl="0" indent="0" algn="r" defTabSz="182866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Noto IKEA Latin Regular" panose="020B0502040504020204" pitchFamily="34" charset="0"/>
              <a:ea typeface="+mn-ea"/>
              <a:cs typeface="+mn-cs"/>
            </a:endParaRPr>
          </a:p>
        </p:txBody>
      </p:sp>
    </p:spTree>
    <p:extLst>
      <p:ext uri="{BB962C8B-B14F-4D97-AF65-F5344CB8AC3E}">
        <p14:creationId xmlns:p14="http://schemas.microsoft.com/office/powerpoint/2010/main" val="28959332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B7FC4F5B-6136-F348-BEAF-A8E0CC8F44AA}" type="slidenum">
              <a:rPr lang="en-US" smtClean="0"/>
              <a:pPr/>
              <a:t>13</a:t>
            </a:fld>
            <a:endParaRPr lang="en-US"/>
          </a:p>
        </p:txBody>
      </p:sp>
    </p:spTree>
    <p:extLst>
      <p:ext uri="{BB962C8B-B14F-4D97-AF65-F5344CB8AC3E}">
        <p14:creationId xmlns:p14="http://schemas.microsoft.com/office/powerpoint/2010/main" val="40427817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2.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2.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 simple background">
    <p:bg>
      <p:bgPr>
        <a:solidFill>
          <a:schemeClr val="bg1"/>
        </a:solidFill>
        <a:effectLst/>
      </p:bgPr>
    </p:bg>
    <p:spTree>
      <p:nvGrpSpPr>
        <p:cNvPr id="1" name=""/>
        <p:cNvGrpSpPr/>
        <p:nvPr/>
      </p:nvGrpSpPr>
      <p:grpSpPr>
        <a:xfrm>
          <a:off x="0" y="0"/>
          <a:ext cx="0" cy="0"/>
          <a:chOff x="0" y="0"/>
          <a:chExt cx="0" cy="0"/>
        </a:xfrm>
      </p:grpSpPr>
      <p:sp>
        <p:nvSpPr>
          <p:cNvPr id="3" name="Picture Placeholder 10">
            <a:extLst>
              <a:ext uri="{FF2B5EF4-FFF2-40B4-BE49-F238E27FC236}">
                <a16:creationId xmlns:a16="http://schemas.microsoft.com/office/drawing/2014/main" id="{2F11C4C6-DEAB-AFC3-A6A2-6B3BD0CF1E78}"/>
              </a:ext>
            </a:extLst>
          </p:cNvPr>
          <p:cNvSpPr>
            <a:spLocks noGrp="1"/>
          </p:cNvSpPr>
          <p:nvPr>
            <p:ph type="pic" sz="quarter" idx="14" hasCustomPrompt="1"/>
          </p:nvPr>
        </p:nvSpPr>
        <p:spPr>
          <a:xfrm>
            <a:off x="491206" y="486000"/>
            <a:ext cx="23400000" cy="12747400"/>
          </a:xfrm>
          <a:custGeom>
            <a:avLst/>
            <a:gdLst>
              <a:gd name="connsiteX0" fmla="*/ 0 w 23400000"/>
              <a:gd name="connsiteY0" fmla="*/ 0 h 12744000"/>
              <a:gd name="connsiteX1" fmla="*/ 23400000 w 23400000"/>
              <a:gd name="connsiteY1" fmla="*/ 0 h 12744000"/>
              <a:gd name="connsiteX2" fmla="*/ 23400000 w 23400000"/>
              <a:gd name="connsiteY2" fmla="*/ 12744000 h 12744000"/>
              <a:gd name="connsiteX3" fmla="*/ 0 w 23400000"/>
              <a:gd name="connsiteY3" fmla="*/ 12744000 h 12744000"/>
              <a:gd name="connsiteX4" fmla="*/ 0 w 23400000"/>
              <a:gd name="connsiteY4" fmla="*/ 0 h 12744000"/>
              <a:gd name="connsiteX0" fmla="*/ 0 w 23400000"/>
              <a:gd name="connsiteY0" fmla="*/ 0 h 12744000"/>
              <a:gd name="connsiteX1" fmla="*/ 23400000 w 23400000"/>
              <a:gd name="connsiteY1" fmla="*/ 0 h 12744000"/>
              <a:gd name="connsiteX2" fmla="*/ 23394405 w 23400000"/>
              <a:gd name="connsiteY2" fmla="*/ 9831892 h 12744000"/>
              <a:gd name="connsiteX3" fmla="*/ 23400000 w 23400000"/>
              <a:gd name="connsiteY3" fmla="*/ 12744000 h 12744000"/>
              <a:gd name="connsiteX4" fmla="*/ 0 w 23400000"/>
              <a:gd name="connsiteY4" fmla="*/ 12744000 h 12744000"/>
              <a:gd name="connsiteX5" fmla="*/ 0 w 23400000"/>
              <a:gd name="connsiteY5" fmla="*/ 0 h 12744000"/>
              <a:gd name="connsiteX0" fmla="*/ 0 w 23400000"/>
              <a:gd name="connsiteY0" fmla="*/ 0 h 12747400"/>
              <a:gd name="connsiteX1" fmla="*/ 23400000 w 23400000"/>
              <a:gd name="connsiteY1" fmla="*/ 0 h 12747400"/>
              <a:gd name="connsiteX2" fmla="*/ 23394405 w 23400000"/>
              <a:gd name="connsiteY2" fmla="*/ 9831892 h 12747400"/>
              <a:gd name="connsiteX3" fmla="*/ 23400000 w 23400000"/>
              <a:gd name="connsiteY3" fmla="*/ 12744000 h 12747400"/>
              <a:gd name="connsiteX4" fmla="*/ 17828544 w 23400000"/>
              <a:gd name="connsiteY4" fmla="*/ 12747400 h 12747400"/>
              <a:gd name="connsiteX5" fmla="*/ 0 w 23400000"/>
              <a:gd name="connsiteY5" fmla="*/ 12744000 h 12747400"/>
              <a:gd name="connsiteX6" fmla="*/ 0 w 23400000"/>
              <a:gd name="connsiteY6" fmla="*/ 0 h 12747400"/>
              <a:gd name="connsiteX0" fmla="*/ 0 w 23400000"/>
              <a:gd name="connsiteY0" fmla="*/ 0 h 12747400"/>
              <a:gd name="connsiteX1" fmla="*/ 23400000 w 23400000"/>
              <a:gd name="connsiteY1" fmla="*/ 0 h 12747400"/>
              <a:gd name="connsiteX2" fmla="*/ 23394405 w 23400000"/>
              <a:gd name="connsiteY2" fmla="*/ 9831892 h 12747400"/>
              <a:gd name="connsiteX3" fmla="*/ 17831050 w 23400000"/>
              <a:gd name="connsiteY3" fmla="*/ 9829350 h 12747400"/>
              <a:gd name="connsiteX4" fmla="*/ 17828544 w 23400000"/>
              <a:gd name="connsiteY4" fmla="*/ 12747400 h 12747400"/>
              <a:gd name="connsiteX5" fmla="*/ 0 w 23400000"/>
              <a:gd name="connsiteY5" fmla="*/ 12744000 h 12747400"/>
              <a:gd name="connsiteX6" fmla="*/ 0 w 23400000"/>
              <a:gd name="connsiteY6" fmla="*/ 0 h 12747400"/>
              <a:gd name="connsiteX0" fmla="*/ 0 w 23400000"/>
              <a:gd name="connsiteY0" fmla="*/ 0 h 12747400"/>
              <a:gd name="connsiteX1" fmla="*/ 23400000 w 23400000"/>
              <a:gd name="connsiteY1" fmla="*/ 0 h 12747400"/>
              <a:gd name="connsiteX2" fmla="*/ 23394405 w 23400000"/>
              <a:gd name="connsiteY2" fmla="*/ 9831892 h 12747400"/>
              <a:gd name="connsiteX3" fmla="*/ 17831050 w 23400000"/>
              <a:gd name="connsiteY3" fmla="*/ 9833176 h 12747400"/>
              <a:gd name="connsiteX4" fmla="*/ 17828544 w 23400000"/>
              <a:gd name="connsiteY4" fmla="*/ 12747400 h 12747400"/>
              <a:gd name="connsiteX5" fmla="*/ 0 w 23400000"/>
              <a:gd name="connsiteY5" fmla="*/ 12744000 h 12747400"/>
              <a:gd name="connsiteX6" fmla="*/ 0 w 23400000"/>
              <a:gd name="connsiteY6" fmla="*/ 0 h 1274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400000" h="12747400">
                <a:moveTo>
                  <a:pt x="0" y="0"/>
                </a:moveTo>
                <a:lnTo>
                  <a:pt x="23400000" y="0"/>
                </a:lnTo>
                <a:lnTo>
                  <a:pt x="23394405" y="9831892"/>
                </a:lnTo>
                <a:lnTo>
                  <a:pt x="17831050" y="9833176"/>
                </a:lnTo>
                <a:cubicBezTo>
                  <a:pt x="17830215" y="10805859"/>
                  <a:pt x="17829379" y="11774717"/>
                  <a:pt x="17828544" y="12747400"/>
                </a:cubicBezTo>
                <a:lnTo>
                  <a:pt x="0" y="12744000"/>
                </a:lnTo>
                <a:lnTo>
                  <a:pt x="0" y="0"/>
                </a:lnTo>
                <a:close/>
              </a:path>
            </a:pathLst>
          </a:custGeom>
          <a:solidFill>
            <a:schemeClr val="bg1">
              <a:lumMod val="95000"/>
            </a:schemeClr>
          </a:solidFill>
        </p:spPr>
        <p:txBody>
          <a:bodyPr>
            <a:normAutofit/>
          </a:bodyPr>
          <a:lstStyle>
            <a:lvl1pPr marL="0" marR="0" indent="0" algn="ctr" defTabSz="1828663" rtl="0" eaLnBrk="1" fontAlgn="auto" latinLnBrk="0" hangingPunct="1">
              <a:lnSpc>
                <a:spcPct val="10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sv-SE"/>
              <a:t>Drag </a:t>
            </a:r>
            <a:r>
              <a:rPr lang="en-NL"/>
              <a:t>and drop a background image into this fram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3060000" y="3402013"/>
            <a:ext cx="12156188" cy="6911975"/>
          </a:xfrm>
          <a:prstGeom prst="rect">
            <a:avLst/>
          </a:prstGeom>
          <a:solidFill>
            <a:schemeClr val="bg1"/>
          </a:solidFill>
        </p:spPr>
        <p:txBody>
          <a:bodyPr vert="horz" lIns="720000" tIns="540000" rIns="360000" bIns="360000" rtlCol="0" anchor="t">
            <a:noAutofit/>
          </a:bodyPr>
          <a:lstStyle>
            <a:lvl1pPr>
              <a:defRPr/>
            </a:lvl1pPr>
          </a:lstStyle>
          <a:p>
            <a:r>
              <a:rPr lang="en-GB" noProof="0"/>
              <a:t>Put the title here,</a:t>
            </a:r>
            <a:br>
              <a:rPr lang="en-GB" noProof="0"/>
            </a:br>
            <a:r>
              <a:rPr lang="en-GB" noProof="0"/>
              <a:t>keep it bold 80 </a:t>
            </a:r>
            <a:r>
              <a:rPr lang="en-GB" noProof="0" err="1"/>
              <a:t>pt</a:t>
            </a:r>
            <a:br>
              <a:rPr lang="en-GB" noProof="0"/>
            </a:br>
            <a:endParaRPr lang="en-GB" noProof="0"/>
          </a:p>
        </p:txBody>
      </p:sp>
      <p:pic>
        <p:nvPicPr>
          <p:cNvPr id="16" name="Picture 15">
            <a:extLst>
              <a:ext uri="{FF2B5EF4-FFF2-40B4-BE49-F238E27FC236}">
                <a16:creationId xmlns:a16="http://schemas.microsoft.com/office/drawing/2014/main" id="{B318DE6B-1EB2-D248-BE9E-1B173597E1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32675" y="10313988"/>
            <a:ext cx="5058531" cy="3402012"/>
          </a:xfrm>
          <a:prstGeom prst="rect">
            <a:avLst/>
          </a:prstGeom>
        </p:spPr>
      </p:pic>
    </p:spTree>
    <p:extLst>
      <p:ext uri="{BB962C8B-B14F-4D97-AF65-F5344CB8AC3E}">
        <p14:creationId xmlns:p14="http://schemas.microsoft.com/office/powerpoint/2010/main" val="4855215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and picture on the left">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EED5078-C5D9-0E4F-B9E3-7CF7BBC8C373}"/>
              </a:ext>
            </a:extLst>
          </p:cNvPr>
          <p:cNvSpPr>
            <a:spLocks noGrp="1"/>
          </p:cNvSpPr>
          <p:nvPr>
            <p:ph type="pic" sz="quarter" idx="15" hasCustomPrompt="1"/>
          </p:nvPr>
        </p:nvSpPr>
        <p:spPr>
          <a:xfrm>
            <a:off x="491102" y="486000"/>
            <a:ext cx="10764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pPr marL="0" marR="0" lvl="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a:pPr>
            <a:r>
              <a:rPr lang="en-NL"/>
              <a:t>Drag and drop a topic-related picture into this frame</a:t>
            </a:r>
          </a:p>
        </p:txBody>
      </p:sp>
      <p:sp>
        <p:nvSpPr>
          <p:cNvPr id="12" name="Text Placeholder 3">
            <a:extLst>
              <a:ext uri="{FF2B5EF4-FFF2-40B4-BE49-F238E27FC236}">
                <a16:creationId xmlns:a16="http://schemas.microsoft.com/office/drawing/2014/main" id="{AE87E5A1-8A67-0448-BA9A-DA74F50AE099}"/>
              </a:ext>
            </a:extLst>
          </p:cNvPr>
          <p:cNvSpPr>
            <a:spLocks noGrp="1"/>
          </p:cNvSpPr>
          <p:nvPr>
            <p:ph type="body" sz="quarter" idx="18" hasCustomPrompt="1"/>
          </p:nvPr>
        </p:nvSpPr>
        <p:spPr>
          <a:xfrm>
            <a:off x="12191206" y="5129213"/>
            <a:ext cx="10516084" cy="6904512"/>
          </a:xfrm>
        </p:spPr>
        <p:txBody>
          <a:bodyPr>
            <a:noAutofit/>
          </a:bodyPr>
          <a:lstStyle>
            <a:lvl1pPr>
              <a:spcBef>
                <a:spcPts val="2000"/>
              </a:spcBef>
              <a:defRPr sz="3200"/>
            </a:lvl1pPr>
          </a:lstStyle>
          <a:p>
            <a:pPr lvl="0"/>
            <a:r>
              <a:rPr lang="en-GB" noProof="0"/>
              <a:t>Put the paragraph text here, keep it regular 32 </a:t>
            </a:r>
            <a:r>
              <a:rPr lang="en-GB" noProof="0" err="1"/>
              <a:t>pt</a:t>
            </a:r>
            <a:endParaRPr lang="en-GB" noProof="0"/>
          </a:p>
        </p:txBody>
      </p:sp>
      <p:sp>
        <p:nvSpPr>
          <p:cNvPr id="13" name="Title 1">
            <a:extLst>
              <a:ext uri="{FF2B5EF4-FFF2-40B4-BE49-F238E27FC236}">
                <a16:creationId xmlns:a16="http://schemas.microsoft.com/office/drawing/2014/main" id="{0614539B-EA7E-5F48-845E-1115C11137DF}"/>
              </a:ext>
            </a:extLst>
          </p:cNvPr>
          <p:cNvSpPr>
            <a:spLocks noGrp="1"/>
          </p:cNvSpPr>
          <p:nvPr>
            <p:ph type="title" hasCustomPrompt="1"/>
          </p:nvPr>
        </p:nvSpPr>
        <p:spPr>
          <a:xfrm>
            <a:off x="12193170" y="1677600"/>
            <a:ext cx="10514913" cy="3011659"/>
          </a:xfrm>
        </p:spPr>
        <p:txBody>
          <a:bodyPr/>
          <a:lstStyle/>
          <a:p>
            <a:r>
              <a:rPr lang="en-GB"/>
              <a:t>Put the headline here, keep it 80 </a:t>
            </a:r>
            <a:r>
              <a:rPr lang="en-GB" err="1"/>
              <a:t>pt</a:t>
            </a:r>
            <a:endParaRPr lang="en-NL"/>
          </a:p>
        </p:txBody>
      </p:sp>
      <p:sp>
        <p:nvSpPr>
          <p:cNvPr id="4" name="Footer Placeholder 3">
            <a:extLst>
              <a:ext uri="{FF2B5EF4-FFF2-40B4-BE49-F238E27FC236}">
                <a16:creationId xmlns:a16="http://schemas.microsoft.com/office/drawing/2014/main" id="{CB40AB27-22C2-8049-AEFA-EC9ADA9C74F8}"/>
              </a:ext>
            </a:extLst>
          </p:cNvPr>
          <p:cNvSpPr>
            <a:spLocks noGrp="1"/>
          </p:cNvSpPr>
          <p:nvPr>
            <p:ph type="ftr" sz="quarter" idx="19"/>
          </p:nvPr>
        </p:nvSpPr>
        <p:spPr/>
        <p:txBody>
          <a:bodyPr/>
          <a:lstStyle/>
          <a:p>
            <a:endParaRPr lang="en-NL"/>
          </a:p>
        </p:txBody>
      </p:sp>
      <p:sp>
        <p:nvSpPr>
          <p:cNvPr id="11" name="TextBox 10">
            <a:extLst>
              <a:ext uri="{FF2B5EF4-FFF2-40B4-BE49-F238E27FC236}">
                <a16:creationId xmlns:a16="http://schemas.microsoft.com/office/drawing/2014/main" id="{5D320D55-E281-9946-A96D-D7865543B7DC}"/>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95857382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D337492-65B4-7BCD-AFC4-8C1C5584A27A}"/>
              </a:ext>
            </a:extLst>
          </p:cNvPr>
          <p:cNvSpPr>
            <a:spLocks noGrp="1"/>
          </p:cNvSpPr>
          <p:nvPr>
            <p:ph type="dt" sz="half" idx="10"/>
          </p:nvPr>
        </p:nvSpPr>
        <p:spPr/>
        <p:txBody>
          <a:bodyPr/>
          <a:lstStyle/>
          <a:p>
            <a:fld id="{AE4ACE06-5616-430E-A18B-1355E7E310A7}" type="datetimeFigureOut">
              <a:rPr lang="sv-SE" smtClean="0"/>
              <a:t>2025-03-12</a:t>
            </a:fld>
            <a:endParaRPr lang="sv-SE"/>
          </a:p>
        </p:txBody>
      </p:sp>
      <p:sp>
        <p:nvSpPr>
          <p:cNvPr id="3" name="Footer Placeholder 2">
            <a:extLst>
              <a:ext uri="{FF2B5EF4-FFF2-40B4-BE49-F238E27FC236}">
                <a16:creationId xmlns:a16="http://schemas.microsoft.com/office/drawing/2014/main" id="{3967DE87-0EF2-73D3-7E37-6BA3C12D07AB}"/>
              </a:ext>
            </a:extLst>
          </p:cNvPr>
          <p:cNvSpPr>
            <a:spLocks noGrp="1"/>
          </p:cNvSpPr>
          <p:nvPr>
            <p:ph type="ftr" sz="quarter" idx="11"/>
          </p:nvPr>
        </p:nvSpPr>
        <p:spPr/>
        <p:txBody>
          <a:bodyPr/>
          <a:lstStyle/>
          <a:p>
            <a:endParaRPr lang="sv-SE"/>
          </a:p>
        </p:txBody>
      </p:sp>
      <p:sp>
        <p:nvSpPr>
          <p:cNvPr id="4" name="Slide Number Placeholder 3">
            <a:extLst>
              <a:ext uri="{FF2B5EF4-FFF2-40B4-BE49-F238E27FC236}">
                <a16:creationId xmlns:a16="http://schemas.microsoft.com/office/drawing/2014/main" id="{DB730FDA-8B59-D2ED-CEAC-F698D63F0DC4}"/>
              </a:ext>
            </a:extLst>
          </p:cNvPr>
          <p:cNvSpPr>
            <a:spLocks noGrp="1"/>
          </p:cNvSpPr>
          <p:nvPr>
            <p:ph type="sldNum" sz="quarter" idx="12"/>
          </p:nvPr>
        </p:nvSpPr>
        <p:spPr/>
        <p:txBody>
          <a:bodyPr/>
          <a:lstStyle/>
          <a:p>
            <a:fld id="{FC6CEC44-A5F5-4E58-B7C4-7A584EAFB293}" type="slidenum">
              <a:rPr lang="sv-SE" smtClean="0"/>
              <a:t>‹#›</a:t>
            </a:fld>
            <a:endParaRPr lang="sv-SE"/>
          </a:p>
        </p:txBody>
      </p:sp>
    </p:spTree>
    <p:extLst>
      <p:ext uri="{BB962C8B-B14F-4D97-AF65-F5344CB8AC3E}">
        <p14:creationId xmlns:p14="http://schemas.microsoft.com/office/powerpoint/2010/main" val="128243390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E65707-053C-52F0-5E4C-D441E06C6329}"/>
              </a:ext>
            </a:extLst>
          </p:cNvPr>
          <p:cNvSpPr>
            <a:spLocks noGrp="1"/>
          </p:cNvSpPr>
          <p:nvPr>
            <p:ph type="title"/>
          </p:nvPr>
        </p:nvSpPr>
        <p:spPr>
          <a:xfrm>
            <a:off x="1679575" y="914400"/>
            <a:ext cx="7864475" cy="3200400"/>
          </a:xfrm>
        </p:spPr>
        <p:txBody>
          <a:bodyPr anchor="b"/>
          <a:lstStyle>
            <a:lvl1pPr>
              <a:defRPr sz="3200"/>
            </a:lvl1pPr>
          </a:lstStyle>
          <a:p>
            <a:r>
              <a:rPr lang="en-US"/>
              <a:t>Click to edit Master title style</a:t>
            </a:r>
            <a:endParaRPr lang="sv-SE"/>
          </a:p>
        </p:txBody>
      </p:sp>
      <p:sp>
        <p:nvSpPr>
          <p:cNvPr id="3" name="Content Placeholder 2">
            <a:extLst>
              <a:ext uri="{FF2B5EF4-FFF2-40B4-BE49-F238E27FC236}">
                <a16:creationId xmlns:a16="http://schemas.microsoft.com/office/drawing/2014/main" id="{414B28F3-5D05-05AD-AB3A-729CA5CE59BB}"/>
              </a:ext>
            </a:extLst>
          </p:cNvPr>
          <p:cNvSpPr>
            <a:spLocks noGrp="1"/>
          </p:cNvSpPr>
          <p:nvPr>
            <p:ph idx="1"/>
          </p:nvPr>
        </p:nvSpPr>
        <p:spPr>
          <a:xfrm>
            <a:off x="10366375" y="1974850"/>
            <a:ext cx="12342813" cy="97472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Text Placeholder 3">
            <a:extLst>
              <a:ext uri="{FF2B5EF4-FFF2-40B4-BE49-F238E27FC236}">
                <a16:creationId xmlns:a16="http://schemas.microsoft.com/office/drawing/2014/main" id="{0059DE87-6138-F47C-1D9E-C08EFBE25C86}"/>
              </a:ext>
            </a:extLst>
          </p:cNvPr>
          <p:cNvSpPr>
            <a:spLocks noGrp="1"/>
          </p:cNvSpPr>
          <p:nvPr>
            <p:ph type="body" sz="half" idx="2"/>
          </p:nvPr>
        </p:nvSpPr>
        <p:spPr>
          <a:xfrm>
            <a:off x="1679575" y="4114800"/>
            <a:ext cx="7864475" cy="76231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F27EA35-5323-E219-59E9-301115EDBDF1}"/>
              </a:ext>
            </a:extLst>
          </p:cNvPr>
          <p:cNvSpPr>
            <a:spLocks noGrp="1"/>
          </p:cNvSpPr>
          <p:nvPr>
            <p:ph type="dt" sz="half" idx="10"/>
          </p:nvPr>
        </p:nvSpPr>
        <p:spPr/>
        <p:txBody>
          <a:bodyPr/>
          <a:lstStyle/>
          <a:p>
            <a:fld id="{AE4ACE06-5616-430E-A18B-1355E7E310A7}" type="datetimeFigureOut">
              <a:rPr lang="sv-SE" smtClean="0"/>
              <a:t>2025-03-12</a:t>
            </a:fld>
            <a:endParaRPr lang="sv-SE"/>
          </a:p>
        </p:txBody>
      </p:sp>
      <p:sp>
        <p:nvSpPr>
          <p:cNvPr id="6" name="Footer Placeholder 5">
            <a:extLst>
              <a:ext uri="{FF2B5EF4-FFF2-40B4-BE49-F238E27FC236}">
                <a16:creationId xmlns:a16="http://schemas.microsoft.com/office/drawing/2014/main" id="{8FAC3462-3DED-758C-9CD5-91B15C643525}"/>
              </a:ext>
            </a:extLst>
          </p:cNvPr>
          <p:cNvSpPr>
            <a:spLocks noGrp="1"/>
          </p:cNvSpPr>
          <p:nvPr>
            <p:ph type="ftr" sz="quarter" idx="11"/>
          </p:nvPr>
        </p:nvSpPr>
        <p:spPr/>
        <p:txBody>
          <a:bodyPr/>
          <a:lstStyle/>
          <a:p>
            <a:endParaRPr lang="sv-SE"/>
          </a:p>
        </p:txBody>
      </p:sp>
      <p:sp>
        <p:nvSpPr>
          <p:cNvPr id="7" name="Slide Number Placeholder 6">
            <a:extLst>
              <a:ext uri="{FF2B5EF4-FFF2-40B4-BE49-F238E27FC236}">
                <a16:creationId xmlns:a16="http://schemas.microsoft.com/office/drawing/2014/main" id="{C97B677E-9502-70CE-FEBA-83A1422B484C}"/>
              </a:ext>
            </a:extLst>
          </p:cNvPr>
          <p:cNvSpPr>
            <a:spLocks noGrp="1"/>
          </p:cNvSpPr>
          <p:nvPr>
            <p:ph type="sldNum" sz="quarter" idx="12"/>
          </p:nvPr>
        </p:nvSpPr>
        <p:spPr/>
        <p:txBody>
          <a:bodyPr/>
          <a:lstStyle/>
          <a:p>
            <a:fld id="{FC6CEC44-A5F5-4E58-B7C4-7A584EAFB293}" type="slidenum">
              <a:rPr lang="sv-SE" smtClean="0"/>
              <a:t>‹#›</a:t>
            </a:fld>
            <a:endParaRPr lang="sv-SE"/>
          </a:p>
        </p:txBody>
      </p:sp>
    </p:spTree>
    <p:extLst>
      <p:ext uri="{BB962C8B-B14F-4D97-AF65-F5344CB8AC3E}">
        <p14:creationId xmlns:p14="http://schemas.microsoft.com/office/powerpoint/2010/main" val="38740715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E77CFF-0B4B-4EE1-03B6-C1D7D90D15E2}"/>
              </a:ext>
            </a:extLst>
          </p:cNvPr>
          <p:cNvSpPr>
            <a:spLocks noGrp="1"/>
          </p:cNvSpPr>
          <p:nvPr>
            <p:ph type="title"/>
          </p:nvPr>
        </p:nvSpPr>
        <p:spPr>
          <a:xfrm>
            <a:off x="1679575" y="914400"/>
            <a:ext cx="7864475" cy="3200400"/>
          </a:xfrm>
        </p:spPr>
        <p:txBody>
          <a:bodyPr anchor="b"/>
          <a:lstStyle>
            <a:lvl1pPr>
              <a:defRPr sz="3200"/>
            </a:lvl1pPr>
          </a:lstStyle>
          <a:p>
            <a:r>
              <a:rPr lang="en-US"/>
              <a:t>Click to edit Master title style</a:t>
            </a:r>
            <a:endParaRPr lang="sv-SE"/>
          </a:p>
        </p:txBody>
      </p:sp>
      <p:sp>
        <p:nvSpPr>
          <p:cNvPr id="3" name="Picture Placeholder 2">
            <a:extLst>
              <a:ext uri="{FF2B5EF4-FFF2-40B4-BE49-F238E27FC236}">
                <a16:creationId xmlns:a16="http://schemas.microsoft.com/office/drawing/2014/main" id="{4EE73C22-C297-4F89-D4CE-E1E29CE9BBC9}"/>
              </a:ext>
            </a:extLst>
          </p:cNvPr>
          <p:cNvSpPr>
            <a:spLocks noGrp="1"/>
          </p:cNvSpPr>
          <p:nvPr>
            <p:ph type="pic" idx="1"/>
          </p:nvPr>
        </p:nvSpPr>
        <p:spPr>
          <a:xfrm>
            <a:off x="10366375" y="1974850"/>
            <a:ext cx="12342813" cy="97472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Text Placeholder 3">
            <a:extLst>
              <a:ext uri="{FF2B5EF4-FFF2-40B4-BE49-F238E27FC236}">
                <a16:creationId xmlns:a16="http://schemas.microsoft.com/office/drawing/2014/main" id="{3DAF7C3F-A822-35B3-AD92-BC1B34C6A1E3}"/>
              </a:ext>
            </a:extLst>
          </p:cNvPr>
          <p:cNvSpPr>
            <a:spLocks noGrp="1"/>
          </p:cNvSpPr>
          <p:nvPr>
            <p:ph type="body" sz="half" idx="2"/>
          </p:nvPr>
        </p:nvSpPr>
        <p:spPr>
          <a:xfrm>
            <a:off x="1679575" y="4114800"/>
            <a:ext cx="7864475" cy="76231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E4140F4-7DBA-3464-B191-1E55C8673B7F}"/>
              </a:ext>
            </a:extLst>
          </p:cNvPr>
          <p:cNvSpPr>
            <a:spLocks noGrp="1"/>
          </p:cNvSpPr>
          <p:nvPr>
            <p:ph type="dt" sz="half" idx="10"/>
          </p:nvPr>
        </p:nvSpPr>
        <p:spPr/>
        <p:txBody>
          <a:bodyPr/>
          <a:lstStyle/>
          <a:p>
            <a:fld id="{AE4ACE06-5616-430E-A18B-1355E7E310A7}" type="datetimeFigureOut">
              <a:rPr lang="sv-SE" smtClean="0"/>
              <a:t>2025-03-12</a:t>
            </a:fld>
            <a:endParaRPr lang="sv-SE"/>
          </a:p>
        </p:txBody>
      </p:sp>
      <p:sp>
        <p:nvSpPr>
          <p:cNvPr id="6" name="Footer Placeholder 5">
            <a:extLst>
              <a:ext uri="{FF2B5EF4-FFF2-40B4-BE49-F238E27FC236}">
                <a16:creationId xmlns:a16="http://schemas.microsoft.com/office/drawing/2014/main" id="{AB280FB0-10E2-10ED-C56F-FD96E3F1D361}"/>
              </a:ext>
            </a:extLst>
          </p:cNvPr>
          <p:cNvSpPr>
            <a:spLocks noGrp="1"/>
          </p:cNvSpPr>
          <p:nvPr>
            <p:ph type="ftr" sz="quarter" idx="11"/>
          </p:nvPr>
        </p:nvSpPr>
        <p:spPr/>
        <p:txBody>
          <a:bodyPr/>
          <a:lstStyle/>
          <a:p>
            <a:endParaRPr lang="sv-SE"/>
          </a:p>
        </p:txBody>
      </p:sp>
      <p:sp>
        <p:nvSpPr>
          <p:cNvPr id="7" name="Slide Number Placeholder 6">
            <a:extLst>
              <a:ext uri="{FF2B5EF4-FFF2-40B4-BE49-F238E27FC236}">
                <a16:creationId xmlns:a16="http://schemas.microsoft.com/office/drawing/2014/main" id="{D01E873A-4E03-E0C8-296F-15DC4407A7A5}"/>
              </a:ext>
            </a:extLst>
          </p:cNvPr>
          <p:cNvSpPr>
            <a:spLocks noGrp="1"/>
          </p:cNvSpPr>
          <p:nvPr>
            <p:ph type="sldNum" sz="quarter" idx="12"/>
          </p:nvPr>
        </p:nvSpPr>
        <p:spPr/>
        <p:txBody>
          <a:bodyPr/>
          <a:lstStyle/>
          <a:p>
            <a:fld id="{FC6CEC44-A5F5-4E58-B7C4-7A584EAFB293}" type="slidenum">
              <a:rPr lang="sv-SE" smtClean="0"/>
              <a:t>‹#›</a:t>
            </a:fld>
            <a:endParaRPr lang="sv-SE"/>
          </a:p>
        </p:txBody>
      </p:sp>
    </p:spTree>
    <p:extLst>
      <p:ext uri="{BB962C8B-B14F-4D97-AF65-F5344CB8AC3E}">
        <p14:creationId xmlns:p14="http://schemas.microsoft.com/office/powerpoint/2010/main" val="24223216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81DC24-CE69-416A-777E-CAD07DE64D59}"/>
              </a:ext>
            </a:extLst>
          </p:cNvPr>
          <p:cNvSpPr>
            <a:spLocks noGrp="1"/>
          </p:cNvSpPr>
          <p:nvPr>
            <p:ph type="title"/>
          </p:nvPr>
        </p:nvSpPr>
        <p:spPr/>
        <p:txBody>
          <a:bodyPr/>
          <a:lstStyle/>
          <a:p>
            <a:r>
              <a:rPr lang="en-US"/>
              <a:t>Click to edit Master title style</a:t>
            </a:r>
            <a:endParaRPr lang="sv-SE"/>
          </a:p>
        </p:txBody>
      </p:sp>
      <p:sp>
        <p:nvSpPr>
          <p:cNvPr id="3" name="Vertical Text Placeholder 2">
            <a:extLst>
              <a:ext uri="{FF2B5EF4-FFF2-40B4-BE49-F238E27FC236}">
                <a16:creationId xmlns:a16="http://schemas.microsoft.com/office/drawing/2014/main" id="{C6B0043C-5790-0E2B-F583-28FBDE33D51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ABF2402E-BF0F-30D8-844B-1D09CAC6EE1F}"/>
              </a:ext>
            </a:extLst>
          </p:cNvPr>
          <p:cNvSpPr>
            <a:spLocks noGrp="1"/>
          </p:cNvSpPr>
          <p:nvPr>
            <p:ph type="dt" sz="half" idx="10"/>
          </p:nvPr>
        </p:nvSpPr>
        <p:spPr/>
        <p:txBody>
          <a:bodyPr/>
          <a:lstStyle/>
          <a:p>
            <a:fld id="{AE4ACE06-5616-430E-A18B-1355E7E310A7}" type="datetimeFigureOut">
              <a:rPr lang="sv-SE" smtClean="0"/>
              <a:t>2025-03-12</a:t>
            </a:fld>
            <a:endParaRPr lang="sv-SE"/>
          </a:p>
        </p:txBody>
      </p:sp>
      <p:sp>
        <p:nvSpPr>
          <p:cNvPr id="5" name="Footer Placeholder 4">
            <a:extLst>
              <a:ext uri="{FF2B5EF4-FFF2-40B4-BE49-F238E27FC236}">
                <a16:creationId xmlns:a16="http://schemas.microsoft.com/office/drawing/2014/main" id="{00C845C4-C400-4200-7D0C-DD9B535ACFCB}"/>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7A42E15C-8964-5010-3ECF-4B8DB75E0FED}"/>
              </a:ext>
            </a:extLst>
          </p:cNvPr>
          <p:cNvSpPr>
            <a:spLocks noGrp="1"/>
          </p:cNvSpPr>
          <p:nvPr>
            <p:ph type="sldNum" sz="quarter" idx="12"/>
          </p:nvPr>
        </p:nvSpPr>
        <p:spPr/>
        <p:txBody>
          <a:bodyPr/>
          <a:lstStyle/>
          <a:p>
            <a:fld id="{FC6CEC44-A5F5-4E58-B7C4-7A584EAFB293}" type="slidenum">
              <a:rPr lang="sv-SE" smtClean="0"/>
              <a:t>‹#›</a:t>
            </a:fld>
            <a:endParaRPr lang="sv-SE"/>
          </a:p>
        </p:txBody>
      </p:sp>
    </p:spTree>
    <p:extLst>
      <p:ext uri="{BB962C8B-B14F-4D97-AF65-F5344CB8AC3E}">
        <p14:creationId xmlns:p14="http://schemas.microsoft.com/office/powerpoint/2010/main" val="190508463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A977344-8FF7-F3B5-F09F-3E0353B18546}"/>
              </a:ext>
            </a:extLst>
          </p:cNvPr>
          <p:cNvSpPr>
            <a:spLocks noGrp="1"/>
          </p:cNvSpPr>
          <p:nvPr>
            <p:ph type="title" orient="vert"/>
          </p:nvPr>
        </p:nvSpPr>
        <p:spPr>
          <a:xfrm>
            <a:off x="17449800" y="730250"/>
            <a:ext cx="5256213" cy="11623675"/>
          </a:xfrm>
        </p:spPr>
        <p:txBody>
          <a:bodyPr vert="eaVert"/>
          <a:lstStyle/>
          <a:p>
            <a:r>
              <a:rPr lang="en-US"/>
              <a:t>Click to edit Master title style</a:t>
            </a:r>
            <a:endParaRPr lang="sv-SE"/>
          </a:p>
        </p:txBody>
      </p:sp>
      <p:sp>
        <p:nvSpPr>
          <p:cNvPr id="3" name="Vertical Text Placeholder 2">
            <a:extLst>
              <a:ext uri="{FF2B5EF4-FFF2-40B4-BE49-F238E27FC236}">
                <a16:creationId xmlns:a16="http://schemas.microsoft.com/office/drawing/2014/main" id="{520EEB59-EAC0-9D67-6BD3-332D42FAB519}"/>
              </a:ext>
            </a:extLst>
          </p:cNvPr>
          <p:cNvSpPr>
            <a:spLocks noGrp="1"/>
          </p:cNvSpPr>
          <p:nvPr>
            <p:ph type="body" orient="vert" idx="1"/>
          </p:nvPr>
        </p:nvSpPr>
        <p:spPr>
          <a:xfrm>
            <a:off x="1676400" y="730250"/>
            <a:ext cx="15621000" cy="116236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D7CB9194-7233-A19D-35C7-EDB71044360E}"/>
              </a:ext>
            </a:extLst>
          </p:cNvPr>
          <p:cNvSpPr>
            <a:spLocks noGrp="1"/>
          </p:cNvSpPr>
          <p:nvPr>
            <p:ph type="dt" sz="half" idx="10"/>
          </p:nvPr>
        </p:nvSpPr>
        <p:spPr/>
        <p:txBody>
          <a:bodyPr/>
          <a:lstStyle/>
          <a:p>
            <a:fld id="{AE4ACE06-5616-430E-A18B-1355E7E310A7}" type="datetimeFigureOut">
              <a:rPr lang="sv-SE" smtClean="0"/>
              <a:t>2025-03-12</a:t>
            </a:fld>
            <a:endParaRPr lang="sv-SE"/>
          </a:p>
        </p:txBody>
      </p:sp>
      <p:sp>
        <p:nvSpPr>
          <p:cNvPr id="5" name="Footer Placeholder 4">
            <a:extLst>
              <a:ext uri="{FF2B5EF4-FFF2-40B4-BE49-F238E27FC236}">
                <a16:creationId xmlns:a16="http://schemas.microsoft.com/office/drawing/2014/main" id="{874292AA-EC00-6BBB-A93D-3210AAACC88F}"/>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83F6D4C0-7D5F-8B68-4E1F-2708CF3198EC}"/>
              </a:ext>
            </a:extLst>
          </p:cNvPr>
          <p:cNvSpPr>
            <a:spLocks noGrp="1"/>
          </p:cNvSpPr>
          <p:nvPr>
            <p:ph type="sldNum" sz="quarter" idx="12"/>
          </p:nvPr>
        </p:nvSpPr>
        <p:spPr/>
        <p:txBody>
          <a:bodyPr/>
          <a:lstStyle/>
          <a:p>
            <a:fld id="{FC6CEC44-A5F5-4E58-B7C4-7A584EAFB293}" type="slidenum">
              <a:rPr lang="sv-SE" smtClean="0"/>
              <a:t>‹#›</a:t>
            </a:fld>
            <a:endParaRPr lang="sv-SE"/>
          </a:p>
        </p:txBody>
      </p:sp>
    </p:spTree>
    <p:extLst>
      <p:ext uri="{BB962C8B-B14F-4D97-AF65-F5344CB8AC3E}">
        <p14:creationId xmlns:p14="http://schemas.microsoft.com/office/powerpoint/2010/main" val="58787590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 simple background">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7C1D6C0-9082-6D41-8CF2-4BE2980201A9}"/>
              </a:ext>
            </a:extLst>
          </p:cNvPr>
          <p:cNvSpPr>
            <a:spLocks noGrp="1"/>
          </p:cNvSpPr>
          <p:nvPr>
            <p:ph type="pic" sz="quarter" idx="18" hasCustomPrompt="1"/>
          </p:nvPr>
        </p:nvSpPr>
        <p:spPr>
          <a:xfrm>
            <a:off x="491206" y="486000"/>
            <a:ext cx="23400001" cy="12744000"/>
          </a:xfrm>
          <a:custGeom>
            <a:avLst/>
            <a:gdLst>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4730 w 23399999"/>
              <a:gd name="connsiteY8"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1337594 w 23399999"/>
              <a:gd name="connsiteY8" fmla="*/ 1164380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56794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5 w 23400000"/>
              <a:gd name="connsiteY4" fmla="*/ 9824813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400000" h="12744000">
                <a:moveTo>
                  <a:pt x="2564730" y="0"/>
                </a:moveTo>
                <a:lnTo>
                  <a:pt x="23399999" y="0"/>
                </a:lnTo>
                <a:lnTo>
                  <a:pt x="23399999" y="0"/>
                </a:lnTo>
                <a:cubicBezTo>
                  <a:pt x="23399999" y="3277203"/>
                  <a:pt x="23400000" y="6554405"/>
                  <a:pt x="23400000" y="9831608"/>
                </a:cubicBezTo>
                <a:cubicBezTo>
                  <a:pt x="23399581" y="9831571"/>
                  <a:pt x="17815405" y="9823891"/>
                  <a:pt x="17820604" y="9824813"/>
                </a:cubicBezTo>
                <a:cubicBezTo>
                  <a:pt x="17837181" y="9827753"/>
                  <a:pt x="17814938" y="12744037"/>
                  <a:pt x="17820605" y="12744000"/>
                </a:cubicBezTo>
                <a:lnTo>
                  <a:pt x="0" y="12744000"/>
                </a:lnTo>
                <a:lnTo>
                  <a:pt x="0" y="12744000"/>
                </a:lnTo>
                <a:lnTo>
                  <a:pt x="0" y="851260"/>
                </a:lnTo>
                <a:cubicBezTo>
                  <a:pt x="6513" y="855406"/>
                  <a:pt x="2562637" y="855434"/>
                  <a:pt x="2560913" y="855461"/>
                </a:cubicBezTo>
                <a:cubicBezTo>
                  <a:pt x="2564931" y="864124"/>
                  <a:pt x="2564831" y="283781"/>
                  <a:pt x="2564730" y="0"/>
                </a:cubicBezTo>
                <a:close/>
              </a:path>
            </a:pathLst>
          </a:custGeom>
          <a:solidFill>
            <a:schemeClr val="bg1">
              <a:lumMod val="95000"/>
            </a:schemeClr>
          </a:solidFill>
        </p:spPr>
        <p:txBody>
          <a:bodyPr/>
          <a:lstStyle>
            <a:lvl1pPr algn="ctr">
              <a:defRPr sz="2400">
                <a:solidFill>
                  <a:schemeClr val="tx1">
                    <a:lumMod val="65000"/>
                    <a:lumOff val="35000"/>
                  </a:schemeClr>
                </a:solidFill>
              </a:defRPr>
            </a:lvl1pPr>
          </a:lstStyle>
          <a:p>
            <a:r>
              <a:rPr lang="en-NL"/>
              <a:t>Drag and drop a topic-related picture into this fram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3059999" y="3402014"/>
            <a:ext cx="12156189" cy="6911976"/>
          </a:xfrm>
          <a:prstGeom prst="rect">
            <a:avLst/>
          </a:prstGeom>
          <a:solidFill>
            <a:schemeClr val="bg1"/>
          </a:solidFill>
        </p:spPr>
        <p:txBody>
          <a:bodyPr vert="horz" lIns="720000" tIns="540000" rIns="90000" bIns="90000" rtlCol="0" anchor="t">
            <a:noAutofit/>
          </a:bodyPr>
          <a:lstStyle>
            <a:lvl1pPr>
              <a:defRPr/>
            </a:lvl1pPr>
          </a:lstStyle>
          <a:p>
            <a:r>
              <a:rPr lang="en-GB" noProof="0"/>
              <a:t>Put the title here,</a:t>
            </a:r>
            <a:br>
              <a:rPr lang="en-GB" noProof="0"/>
            </a:br>
            <a:r>
              <a:rPr lang="en-GB" noProof="0"/>
              <a:t>keep it bold 80 </a:t>
            </a:r>
            <a:r>
              <a:rPr lang="en-GB" noProof="0" err="1"/>
              <a:t>pt</a:t>
            </a:r>
            <a:endParaRPr lang="en-GB" noProof="0"/>
          </a:p>
        </p:txBody>
      </p:sp>
      <p:pic>
        <p:nvPicPr>
          <p:cNvPr id="16" name="Picture 15">
            <a:extLst>
              <a:ext uri="{FF2B5EF4-FFF2-40B4-BE49-F238E27FC236}">
                <a16:creationId xmlns:a16="http://schemas.microsoft.com/office/drawing/2014/main" id="{B318DE6B-1EB2-D248-BE9E-1B173597E1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832676" y="10313988"/>
            <a:ext cx="5058531" cy="3402012"/>
          </a:xfrm>
          <a:prstGeom prst="rect">
            <a:avLst/>
          </a:prstGeom>
        </p:spPr>
      </p:pic>
      <p:sp>
        <p:nvSpPr>
          <p:cNvPr id="18" name="TextBox 17">
            <a:extLst>
              <a:ext uri="{FF2B5EF4-FFF2-40B4-BE49-F238E27FC236}">
                <a16:creationId xmlns:a16="http://schemas.microsoft.com/office/drawing/2014/main" id="{328A1B16-9A25-3541-9435-BC1CEEFFC8BA}"/>
              </a:ext>
            </a:extLst>
          </p:cNvPr>
          <p:cNvSpPr txBox="1"/>
          <p:nvPr userDrawn="1"/>
        </p:nvSpPr>
        <p:spPr>
          <a:xfrm>
            <a:off x="400182" y="419673"/>
            <a:ext cx="2659819" cy="893714"/>
          </a:xfrm>
          <a:prstGeom prst="rect">
            <a:avLst/>
          </a:prstGeom>
          <a:noFill/>
        </p:spPr>
        <p:txBody>
          <a:bodyPr wrap="square" rtlCol="0">
            <a:noAutofit/>
          </a:bodyPr>
          <a:lstStyle/>
          <a:p>
            <a:pPr algn="l"/>
            <a:r>
              <a:rPr lang="sv-SE" sz="2400" err="1"/>
              <a:t>Supply</a:t>
            </a:r>
            <a:endParaRPr lang="en-NL" sz="2400"/>
          </a:p>
        </p:txBody>
      </p:sp>
      <p:sp>
        <p:nvSpPr>
          <p:cNvPr id="4" name="Footer Placeholder 3">
            <a:extLst>
              <a:ext uri="{FF2B5EF4-FFF2-40B4-BE49-F238E27FC236}">
                <a16:creationId xmlns:a16="http://schemas.microsoft.com/office/drawing/2014/main" id="{14588178-ED27-7648-B4E2-E9EC58AA4B06}"/>
              </a:ext>
            </a:extLst>
          </p:cNvPr>
          <p:cNvSpPr>
            <a:spLocks noGrp="1"/>
          </p:cNvSpPr>
          <p:nvPr>
            <p:ph type="ftr" sz="quarter" idx="17"/>
          </p:nvPr>
        </p:nvSpPr>
        <p:spPr/>
        <p:txBody>
          <a:bodyPr/>
          <a:lstStyle/>
          <a:p>
            <a:r>
              <a:rPr lang="en-NL"/>
              <a:t>Insert the footer for all slides in t</a:t>
            </a:r>
            <a:r>
              <a:rPr lang="en-GB"/>
              <a:t>he</a:t>
            </a:r>
            <a:r>
              <a:rPr lang="en-NL"/>
              <a:t> top menu Insert &gt; Header &amp; Footer</a:t>
            </a:r>
          </a:p>
        </p:txBody>
      </p:sp>
    </p:spTree>
    <p:extLst>
      <p:ext uri="{BB962C8B-B14F-4D97-AF65-F5344CB8AC3E}">
        <p14:creationId xmlns:p14="http://schemas.microsoft.com/office/powerpoint/2010/main" val="400052045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 double background">
    <p:bg>
      <p:bgPr>
        <a:solidFill>
          <a:schemeClr val="bg1"/>
        </a:solidFill>
        <a:effectLst/>
      </p:bgPr>
    </p:bg>
    <p:spTree>
      <p:nvGrpSpPr>
        <p:cNvPr id="1" name=""/>
        <p:cNvGrpSpPr/>
        <p:nvPr/>
      </p:nvGrpSpPr>
      <p:grpSpPr>
        <a:xfrm>
          <a:off x="0" y="0"/>
          <a:ext cx="0" cy="0"/>
          <a:chOff x="0" y="0"/>
          <a:chExt cx="0" cy="0"/>
        </a:xfrm>
      </p:grpSpPr>
      <p:sp>
        <p:nvSpPr>
          <p:cNvPr id="17" name="Picture Placeholder 6">
            <a:extLst>
              <a:ext uri="{FF2B5EF4-FFF2-40B4-BE49-F238E27FC236}">
                <a16:creationId xmlns:a16="http://schemas.microsoft.com/office/drawing/2014/main" id="{72BA1E79-3FC6-E940-BEC4-AE05A8279CD0}"/>
              </a:ext>
            </a:extLst>
          </p:cNvPr>
          <p:cNvSpPr>
            <a:spLocks noGrp="1"/>
          </p:cNvSpPr>
          <p:nvPr>
            <p:ph type="pic" sz="quarter" idx="20" hasCustomPrompt="1"/>
          </p:nvPr>
        </p:nvSpPr>
        <p:spPr>
          <a:xfrm>
            <a:off x="491207" y="485966"/>
            <a:ext cx="8712451" cy="12744040"/>
          </a:xfrm>
          <a:custGeom>
            <a:avLst/>
            <a:gdLst>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4730 w 23399999"/>
              <a:gd name="connsiteY8"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1337594 w 23399999"/>
              <a:gd name="connsiteY8" fmla="*/ 1164380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56794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5 w 23400000"/>
              <a:gd name="connsiteY4" fmla="*/ 9824813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17820604 w 23399999"/>
              <a:gd name="connsiteY3" fmla="*/ 9824813 h 12744000"/>
              <a:gd name="connsiteX4" fmla="*/ 17820605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17820605 w 23399999"/>
              <a:gd name="connsiteY3" fmla="*/ 12744000 h 12744000"/>
              <a:gd name="connsiteX4" fmla="*/ 0 w 23399999"/>
              <a:gd name="connsiteY4" fmla="*/ 12744000 h 12744000"/>
              <a:gd name="connsiteX5" fmla="*/ 0 w 23399999"/>
              <a:gd name="connsiteY5" fmla="*/ 12744000 h 12744000"/>
              <a:gd name="connsiteX6" fmla="*/ 0 w 23399999"/>
              <a:gd name="connsiteY6" fmla="*/ 851260 h 12744000"/>
              <a:gd name="connsiteX7" fmla="*/ 2560913 w 23399999"/>
              <a:gd name="connsiteY7" fmla="*/ 855461 h 12744000"/>
              <a:gd name="connsiteX8" fmla="*/ 2564730 w 23399999"/>
              <a:gd name="connsiteY8"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17820605 w 23399999"/>
              <a:gd name="connsiteY3" fmla="*/ 12744000 h 12744000"/>
              <a:gd name="connsiteX4" fmla="*/ 0 w 23399999"/>
              <a:gd name="connsiteY4" fmla="*/ 12744000 h 12744000"/>
              <a:gd name="connsiteX5" fmla="*/ 0 w 23399999"/>
              <a:gd name="connsiteY5" fmla="*/ 12744000 h 12744000"/>
              <a:gd name="connsiteX6" fmla="*/ 0 w 23399999"/>
              <a:gd name="connsiteY6" fmla="*/ 851260 h 12744000"/>
              <a:gd name="connsiteX7" fmla="*/ 2560913 w 23399999"/>
              <a:gd name="connsiteY7" fmla="*/ 855461 h 12744000"/>
              <a:gd name="connsiteX8" fmla="*/ 2564730 w 23399999"/>
              <a:gd name="connsiteY8" fmla="*/ 0 h 12744000"/>
              <a:gd name="connsiteX0" fmla="*/ 2564730 w 23399999"/>
              <a:gd name="connsiteY0" fmla="*/ 0 h 12744000"/>
              <a:gd name="connsiteX1" fmla="*/ 23399999 w 23399999"/>
              <a:gd name="connsiteY1" fmla="*/ 0 h 12744000"/>
              <a:gd name="connsiteX2" fmla="*/ 17820605 w 23399999"/>
              <a:gd name="connsiteY2" fmla="*/ 12744000 h 12744000"/>
              <a:gd name="connsiteX3" fmla="*/ 0 w 23399999"/>
              <a:gd name="connsiteY3" fmla="*/ 12744000 h 12744000"/>
              <a:gd name="connsiteX4" fmla="*/ 0 w 23399999"/>
              <a:gd name="connsiteY4" fmla="*/ 12744000 h 12744000"/>
              <a:gd name="connsiteX5" fmla="*/ 0 w 23399999"/>
              <a:gd name="connsiteY5" fmla="*/ 851260 h 12744000"/>
              <a:gd name="connsiteX6" fmla="*/ 2560913 w 23399999"/>
              <a:gd name="connsiteY6" fmla="*/ 855461 h 12744000"/>
              <a:gd name="connsiteX7" fmla="*/ 2564730 w 23399999"/>
              <a:gd name="connsiteY7" fmla="*/ 0 h 12744000"/>
              <a:gd name="connsiteX0" fmla="*/ 2564730 w 17820605"/>
              <a:gd name="connsiteY0" fmla="*/ 0 h 12744000"/>
              <a:gd name="connsiteX1" fmla="*/ 8712450 w 17820605"/>
              <a:gd name="connsiteY1" fmla="*/ 0 h 12744000"/>
              <a:gd name="connsiteX2" fmla="*/ 17820605 w 17820605"/>
              <a:gd name="connsiteY2" fmla="*/ 12744000 h 12744000"/>
              <a:gd name="connsiteX3" fmla="*/ 0 w 17820605"/>
              <a:gd name="connsiteY3" fmla="*/ 12744000 h 12744000"/>
              <a:gd name="connsiteX4" fmla="*/ 0 w 17820605"/>
              <a:gd name="connsiteY4" fmla="*/ 12744000 h 12744000"/>
              <a:gd name="connsiteX5" fmla="*/ 0 w 17820605"/>
              <a:gd name="connsiteY5" fmla="*/ 851260 h 12744000"/>
              <a:gd name="connsiteX6" fmla="*/ 2560913 w 17820605"/>
              <a:gd name="connsiteY6" fmla="*/ 855461 h 12744000"/>
              <a:gd name="connsiteX7" fmla="*/ 2564730 w 17820605"/>
              <a:gd name="connsiteY7" fmla="*/ 0 h 12744000"/>
              <a:gd name="connsiteX0" fmla="*/ 2564730 w 17820605"/>
              <a:gd name="connsiteY0" fmla="*/ 50 h 12744050"/>
              <a:gd name="connsiteX1" fmla="*/ 8712450 w 17820605"/>
              <a:gd name="connsiteY1" fmla="*/ 50 h 12744050"/>
              <a:gd name="connsiteX2" fmla="*/ 17820605 w 17820605"/>
              <a:gd name="connsiteY2" fmla="*/ 12744050 h 12744050"/>
              <a:gd name="connsiteX3" fmla="*/ 0 w 17820605"/>
              <a:gd name="connsiteY3" fmla="*/ 12744050 h 12744050"/>
              <a:gd name="connsiteX4" fmla="*/ 0 w 17820605"/>
              <a:gd name="connsiteY4" fmla="*/ 12744050 h 12744050"/>
              <a:gd name="connsiteX5" fmla="*/ 0 w 17820605"/>
              <a:gd name="connsiteY5" fmla="*/ 851310 h 12744050"/>
              <a:gd name="connsiteX6" fmla="*/ 2560913 w 17820605"/>
              <a:gd name="connsiteY6" fmla="*/ 855511 h 12744050"/>
              <a:gd name="connsiteX7" fmla="*/ 2564730 w 17820605"/>
              <a:gd name="connsiteY7" fmla="*/ 50 h 12744050"/>
              <a:gd name="connsiteX0" fmla="*/ 2564730 w 17820605"/>
              <a:gd name="connsiteY0" fmla="*/ 50 h 12744050"/>
              <a:gd name="connsiteX1" fmla="*/ 8712450 w 17820605"/>
              <a:gd name="connsiteY1" fmla="*/ 50 h 12744050"/>
              <a:gd name="connsiteX2" fmla="*/ 17820605 w 17820605"/>
              <a:gd name="connsiteY2" fmla="*/ 12744050 h 12744050"/>
              <a:gd name="connsiteX3" fmla="*/ 0 w 17820605"/>
              <a:gd name="connsiteY3" fmla="*/ 12744050 h 12744050"/>
              <a:gd name="connsiteX4" fmla="*/ 0 w 17820605"/>
              <a:gd name="connsiteY4" fmla="*/ 12744050 h 12744050"/>
              <a:gd name="connsiteX5" fmla="*/ 0 w 17820605"/>
              <a:gd name="connsiteY5" fmla="*/ 851310 h 12744050"/>
              <a:gd name="connsiteX6" fmla="*/ 2560913 w 17820605"/>
              <a:gd name="connsiteY6" fmla="*/ 855511 h 12744050"/>
              <a:gd name="connsiteX7" fmla="*/ 2564730 w 17820605"/>
              <a:gd name="connsiteY7" fmla="*/ 50 h 12744050"/>
              <a:gd name="connsiteX0" fmla="*/ 2564730 w 8712450"/>
              <a:gd name="connsiteY0" fmla="*/ 50 h 12744050"/>
              <a:gd name="connsiteX1" fmla="*/ 8712450 w 8712450"/>
              <a:gd name="connsiteY1" fmla="*/ 50 h 12744050"/>
              <a:gd name="connsiteX2" fmla="*/ 8662317 w 8712450"/>
              <a:gd name="connsiteY2" fmla="*/ 12744050 h 12744050"/>
              <a:gd name="connsiteX3" fmla="*/ 0 w 8712450"/>
              <a:gd name="connsiteY3" fmla="*/ 12744050 h 12744050"/>
              <a:gd name="connsiteX4" fmla="*/ 0 w 8712450"/>
              <a:gd name="connsiteY4" fmla="*/ 12744050 h 12744050"/>
              <a:gd name="connsiteX5" fmla="*/ 0 w 8712450"/>
              <a:gd name="connsiteY5" fmla="*/ 851310 h 12744050"/>
              <a:gd name="connsiteX6" fmla="*/ 2560913 w 8712450"/>
              <a:gd name="connsiteY6" fmla="*/ 855511 h 12744050"/>
              <a:gd name="connsiteX7" fmla="*/ 2564730 w 8712450"/>
              <a:gd name="connsiteY7" fmla="*/ 50 h 12744050"/>
              <a:gd name="connsiteX0" fmla="*/ 2564730 w 8712450"/>
              <a:gd name="connsiteY0" fmla="*/ 34 h 12744039"/>
              <a:gd name="connsiteX1" fmla="*/ 8712450 w 8712450"/>
              <a:gd name="connsiteY1" fmla="*/ 34 h 12744039"/>
              <a:gd name="connsiteX2" fmla="*/ 8662317 w 8712450"/>
              <a:gd name="connsiteY2" fmla="*/ 12744034 h 12744039"/>
              <a:gd name="connsiteX3" fmla="*/ 0 w 8712450"/>
              <a:gd name="connsiteY3" fmla="*/ 12744034 h 12744039"/>
              <a:gd name="connsiteX4" fmla="*/ 0 w 8712450"/>
              <a:gd name="connsiteY4" fmla="*/ 12744034 h 12744039"/>
              <a:gd name="connsiteX5" fmla="*/ 0 w 8712450"/>
              <a:gd name="connsiteY5" fmla="*/ 851294 h 12744039"/>
              <a:gd name="connsiteX6" fmla="*/ 2560913 w 8712450"/>
              <a:gd name="connsiteY6" fmla="*/ 855495 h 12744039"/>
              <a:gd name="connsiteX7" fmla="*/ 2564730 w 8712450"/>
              <a:gd name="connsiteY7" fmla="*/ 34 h 12744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12450" h="12744039">
                <a:moveTo>
                  <a:pt x="2564730" y="34"/>
                </a:moveTo>
                <a:lnTo>
                  <a:pt x="8712450" y="34"/>
                </a:lnTo>
                <a:cubicBezTo>
                  <a:pt x="8676689" y="-23929"/>
                  <a:pt x="8698078" y="12753709"/>
                  <a:pt x="8662317" y="12744034"/>
                </a:cubicBezTo>
                <a:lnTo>
                  <a:pt x="0" y="12744034"/>
                </a:lnTo>
                <a:lnTo>
                  <a:pt x="0" y="12744034"/>
                </a:lnTo>
                <a:lnTo>
                  <a:pt x="0" y="851294"/>
                </a:lnTo>
                <a:cubicBezTo>
                  <a:pt x="6513" y="855440"/>
                  <a:pt x="2562637" y="855468"/>
                  <a:pt x="2560913" y="855495"/>
                </a:cubicBezTo>
                <a:cubicBezTo>
                  <a:pt x="2564931" y="864158"/>
                  <a:pt x="2564831" y="283815"/>
                  <a:pt x="2564730" y="34"/>
                </a:cubicBezTo>
                <a:close/>
              </a:path>
            </a:pathLst>
          </a:custGeom>
          <a:solidFill>
            <a:schemeClr val="bg1">
              <a:lumMod val="85000"/>
            </a:schemeClr>
          </a:solidFill>
        </p:spPr>
        <p:txBody>
          <a:bodyPr/>
          <a:lstStyle>
            <a:lvl1pPr algn="r">
              <a:defRPr sz="2400">
                <a:solidFill>
                  <a:schemeClr val="tx1">
                    <a:lumMod val="65000"/>
                    <a:lumOff val="35000"/>
                  </a:schemeClr>
                </a:solidFill>
              </a:defRPr>
            </a:lvl1pPr>
          </a:lstStyle>
          <a:p>
            <a:r>
              <a:rPr lang="en-NL"/>
              <a:t>Fill this frame with one of the Theme Colours</a:t>
            </a:r>
          </a:p>
        </p:txBody>
      </p:sp>
      <p:sp>
        <p:nvSpPr>
          <p:cNvPr id="14" name="Picture Placeholder 6">
            <a:extLst>
              <a:ext uri="{FF2B5EF4-FFF2-40B4-BE49-F238E27FC236}">
                <a16:creationId xmlns:a16="http://schemas.microsoft.com/office/drawing/2014/main" id="{692D6ABC-8D9C-1E47-A2A8-2DC39B83F77E}"/>
              </a:ext>
            </a:extLst>
          </p:cNvPr>
          <p:cNvSpPr>
            <a:spLocks noGrp="1"/>
          </p:cNvSpPr>
          <p:nvPr>
            <p:ph type="pic" sz="quarter" idx="19" hasCustomPrompt="1"/>
          </p:nvPr>
        </p:nvSpPr>
        <p:spPr>
          <a:xfrm>
            <a:off x="9165792" y="486000"/>
            <a:ext cx="14725416" cy="12744000"/>
          </a:xfrm>
          <a:custGeom>
            <a:avLst/>
            <a:gdLst>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4730 w 23399999"/>
              <a:gd name="connsiteY8"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1337594 w 23399999"/>
              <a:gd name="connsiteY8" fmla="*/ 1164380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56794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5 w 23400000"/>
              <a:gd name="connsiteY4" fmla="*/ 9824813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603855 w 23439125"/>
              <a:gd name="connsiteY0" fmla="*/ 331220 h 13075220"/>
              <a:gd name="connsiteX1" fmla="*/ 23439124 w 23439125"/>
              <a:gd name="connsiteY1" fmla="*/ 331220 h 13075220"/>
              <a:gd name="connsiteX2" fmla="*/ 23439124 w 23439125"/>
              <a:gd name="connsiteY2" fmla="*/ 331220 h 13075220"/>
              <a:gd name="connsiteX3" fmla="*/ 23439125 w 23439125"/>
              <a:gd name="connsiteY3" fmla="*/ 10162828 h 13075220"/>
              <a:gd name="connsiteX4" fmla="*/ 17859729 w 23439125"/>
              <a:gd name="connsiteY4" fmla="*/ 10156033 h 13075220"/>
              <a:gd name="connsiteX5" fmla="*/ 17859730 w 23439125"/>
              <a:gd name="connsiteY5" fmla="*/ 13075220 h 13075220"/>
              <a:gd name="connsiteX6" fmla="*/ 39125 w 23439125"/>
              <a:gd name="connsiteY6" fmla="*/ 13075220 h 13075220"/>
              <a:gd name="connsiteX7" fmla="*/ 39125 w 23439125"/>
              <a:gd name="connsiteY7" fmla="*/ 13075220 h 13075220"/>
              <a:gd name="connsiteX8" fmla="*/ 39125 w 23439125"/>
              <a:gd name="connsiteY8" fmla="*/ 1182480 h 13075220"/>
              <a:gd name="connsiteX9" fmla="*/ 2603855 w 23439125"/>
              <a:gd name="connsiteY9" fmla="*/ 331220 h 1307522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2564730 w 23400000"/>
              <a:gd name="connsiteY8" fmla="*/ 0 h 12744000"/>
              <a:gd name="connsiteX0" fmla="*/ 869121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8691210 w 23400000"/>
              <a:gd name="connsiteY8" fmla="*/ 0 h 12744000"/>
              <a:gd name="connsiteX0" fmla="*/ 8674584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8674584 w 23400000"/>
              <a:gd name="connsiteY8" fmla="*/ 0 h 12744000"/>
              <a:gd name="connsiteX0" fmla="*/ 8674584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8674584 w 23400000"/>
              <a:gd name="connsiteY7" fmla="*/ 0 h 12744000"/>
              <a:gd name="connsiteX0" fmla="*/ 0 w 14725416"/>
              <a:gd name="connsiteY0" fmla="*/ 0 h 12744000"/>
              <a:gd name="connsiteX1" fmla="*/ 14725415 w 14725416"/>
              <a:gd name="connsiteY1" fmla="*/ 0 h 12744000"/>
              <a:gd name="connsiteX2" fmla="*/ 14725415 w 14725416"/>
              <a:gd name="connsiteY2" fmla="*/ 0 h 12744000"/>
              <a:gd name="connsiteX3" fmla="*/ 14725416 w 14725416"/>
              <a:gd name="connsiteY3" fmla="*/ 9831608 h 12744000"/>
              <a:gd name="connsiteX4" fmla="*/ 9146020 w 14725416"/>
              <a:gd name="connsiteY4" fmla="*/ 9824813 h 12744000"/>
              <a:gd name="connsiteX5" fmla="*/ 9146021 w 14725416"/>
              <a:gd name="connsiteY5" fmla="*/ 12744000 h 12744000"/>
              <a:gd name="connsiteX6" fmla="*/ 3903 w 14725416"/>
              <a:gd name="connsiteY6" fmla="*/ 12744000 h 12744000"/>
              <a:gd name="connsiteX7" fmla="*/ 0 w 14725416"/>
              <a:gd name="connsiteY7" fmla="*/ 0 h 127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25416" h="12744000">
                <a:moveTo>
                  <a:pt x="0" y="0"/>
                </a:moveTo>
                <a:lnTo>
                  <a:pt x="14725415" y="0"/>
                </a:lnTo>
                <a:lnTo>
                  <a:pt x="14725415" y="0"/>
                </a:lnTo>
                <a:cubicBezTo>
                  <a:pt x="14725415" y="3277203"/>
                  <a:pt x="14725416" y="6554405"/>
                  <a:pt x="14725416" y="9831608"/>
                </a:cubicBezTo>
                <a:cubicBezTo>
                  <a:pt x="14724997" y="9831571"/>
                  <a:pt x="9140821" y="9823891"/>
                  <a:pt x="9146020" y="9824813"/>
                </a:cubicBezTo>
                <a:cubicBezTo>
                  <a:pt x="9162597" y="9827753"/>
                  <a:pt x="9140354" y="12744037"/>
                  <a:pt x="9146021" y="12744000"/>
                </a:cubicBezTo>
                <a:lnTo>
                  <a:pt x="3903" y="12744000"/>
                </a:lnTo>
                <a:lnTo>
                  <a:pt x="0" y="0"/>
                </a:lnTo>
                <a:close/>
              </a:path>
            </a:pathLst>
          </a:custGeom>
          <a:solidFill>
            <a:schemeClr val="bg1">
              <a:lumMod val="95000"/>
            </a:schemeClr>
          </a:solidFill>
        </p:spPr>
        <p:txBody>
          <a:bodyPr/>
          <a:lstStyle>
            <a:lvl1pPr algn="ctr">
              <a:defRPr sz="2400">
                <a:solidFill>
                  <a:schemeClr val="tx1">
                    <a:lumMod val="65000"/>
                    <a:lumOff val="35000"/>
                  </a:schemeClr>
                </a:solidFill>
              </a:defRPr>
            </a:lvl1pPr>
          </a:lstStyle>
          <a:p>
            <a:r>
              <a:rPr lang="en-NL"/>
              <a:t>Drag and drop a topic-related picture into this fram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3059999" y="3402014"/>
            <a:ext cx="12156189" cy="6911976"/>
          </a:xfrm>
          <a:prstGeom prst="rect">
            <a:avLst/>
          </a:prstGeom>
          <a:solidFill>
            <a:schemeClr val="bg1"/>
          </a:solidFill>
        </p:spPr>
        <p:txBody>
          <a:bodyPr vert="horz" lIns="720000" tIns="540000" rIns="90000" bIns="90000" rtlCol="0" anchor="t">
            <a:noAutofit/>
          </a:bodyPr>
          <a:lstStyle>
            <a:lvl1pPr>
              <a:defRPr/>
            </a:lvl1pPr>
          </a:lstStyle>
          <a:p>
            <a:r>
              <a:rPr lang="en-GB" noProof="0"/>
              <a:t>Put the title here,</a:t>
            </a:r>
            <a:br>
              <a:rPr lang="en-GB" noProof="0"/>
            </a:br>
            <a:r>
              <a:rPr lang="en-GB" noProof="0"/>
              <a:t>keep it bold 80 </a:t>
            </a:r>
            <a:r>
              <a:rPr lang="en-GB" noProof="0" err="1"/>
              <a:t>pt</a:t>
            </a:r>
            <a:endParaRPr lang="en-GB" noProof="0"/>
          </a:p>
        </p:txBody>
      </p:sp>
      <p:pic>
        <p:nvPicPr>
          <p:cNvPr id="16" name="Picture 15">
            <a:extLst>
              <a:ext uri="{FF2B5EF4-FFF2-40B4-BE49-F238E27FC236}">
                <a16:creationId xmlns:a16="http://schemas.microsoft.com/office/drawing/2014/main" id="{B318DE6B-1EB2-D248-BE9E-1B173597E1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832676" y="10313988"/>
            <a:ext cx="5058531" cy="3402012"/>
          </a:xfrm>
          <a:prstGeom prst="rect">
            <a:avLst/>
          </a:prstGeom>
        </p:spPr>
      </p:pic>
      <p:sp>
        <p:nvSpPr>
          <p:cNvPr id="18" name="TextBox 17">
            <a:extLst>
              <a:ext uri="{FF2B5EF4-FFF2-40B4-BE49-F238E27FC236}">
                <a16:creationId xmlns:a16="http://schemas.microsoft.com/office/drawing/2014/main" id="{328A1B16-9A25-3541-9435-BC1CEEFFC8BA}"/>
              </a:ext>
            </a:extLst>
          </p:cNvPr>
          <p:cNvSpPr txBox="1"/>
          <p:nvPr userDrawn="1"/>
        </p:nvSpPr>
        <p:spPr>
          <a:xfrm>
            <a:off x="400182" y="419673"/>
            <a:ext cx="2574000" cy="461665"/>
          </a:xfrm>
          <a:prstGeom prst="rect">
            <a:avLst/>
          </a:prstGeom>
          <a:noFill/>
        </p:spPr>
        <p:txBody>
          <a:bodyPr wrap="square" rtlCol="0">
            <a:spAutoFit/>
          </a:bodyPr>
          <a:lstStyle/>
          <a:p>
            <a:pPr algn="l"/>
            <a:r>
              <a:rPr lang="sv-SE" sz="2400" err="1"/>
              <a:t>Supply</a:t>
            </a:r>
            <a:endParaRPr lang="en-NL" sz="2400"/>
          </a:p>
        </p:txBody>
      </p:sp>
      <p:sp>
        <p:nvSpPr>
          <p:cNvPr id="5" name="Footer Placeholder 4">
            <a:extLst>
              <a:ext uri="{FF2B5EF4-FFF2-40B4-BE49-F238E27FC236}">
                <a16:creationId xmlns:a16="http://schemas.microsoft.com/office/drawing/2014/main" id="{E75BD6A2-5F2A-D047-AC2A-DB7B531F7814}"/>
              </a:ext>
            </a:extLst>
          </p:cNvPr>
          <p:cNvSpPr>
            <a:spLocks noGrp="1"/>
          </p:cNvSpPr>
          <p:nvPr>
            <p:ph type="ftr" sz="quarter" idx="18"/>
          </p:nvPr>
        </p:nvSpPr>
        <p:spPr/>
        <p:txBody>
          <a:bodyPr/>
          <a:lstStyle/>
          <a:p>
            <a:r>
              <a:rPr lang="en-NL"/>
              <a:t>Insert the footer for all slides in t</a:t>
            </a:r>
            <a:r>
              <a:rPr lang="en-GB"/>
              <a:t>he</a:t>
            </a:r>
            <a:r>
              <a:rPr lang="en-NL"/>
              <a:t> top menu Insert &gt; Header &amp; Footer</a:t>
            </a:r>
          </a:p>
        </p:txBody>
      </p:sp>
    </p:spTree>
    <p:extLst>
      <p:ext uri="{BB962C8B-B14F-4D97-AF65-F5344CB8AC3E}">
        <p14:creationId xmlns:p14="http://schemas.microsoft.com/office/powerpoint/2010/main" val="78069976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or conten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3293FC4-39C9-4047-8405-0EE5AF044904}"/>
              </a:ext>
            </a:extLst>
          </p:cNvPr>
          <p:cNvSpPr>
            <a:spLocks noGrp="1"/>
          </p:cNvSpPr>
          <p:nvPr>
            <p:ph type="pic" sz="quarter" idx="13" hasCustomPrompt="1"/>
          </p:nvPr>
        </p:nvSpPr>
        <p:spPr>
          <a:xfrm>
            <a:off x="486001" y="486000"/>
            <a:ext cx="10440000" cy="12744000"/>
          </a:xfrm>
          <a:solidFill>
            <a:schemeClr val="bg1">
              <a:lumMod val="95000"/>
            </a:schemeClr>
          </a:solidFill>
        </p:spPr>
        <p:txBody>
          <a:bodyPr/>
          <a:lstStyle>
            <a:lvl1pPr algn="ctr">
              <a:defRPr sz="2400">
                <a:solidFill>
                  <a:schemeClr val="tx1">
                    <a:lumMod val="65000"/>
                    <a:lumOff val="35000"/>
                  </a:schemeClr>
                </a:solidFill>
              </a:defRPr>
            </a:lvl1pPr>
          </a:lstStyle>
          <a:p>
            <a:r>
              <a:rPr lang="en-NL"/>
              <a:t>Fill this frame with one of the Theme Colours</a:t>
            </a:r>
          </a:p>
        </p:txBody>
      </p:sp>
      <p:sp>
        <p:nvSpPr>
          <p:cNvPr id="9" name="Text Placeholder 3">
            <a:extLst>
              <a:ext uri="{FF2B5EF4-FFF2-40B4-BE49-F238E27FC236}">
                <a16:creationId xmlns:a16="http://schemas.microsoft.com/office/drawing/2014/main" id="{74EDCDDC-BFAD-0048-95CD-93E49D18174D}"/>
              </a:ext>
            </a:extLst>
          </p:cNvPr>
          <p:cNvSpPr>
            <a:spLocks noGrp="1"/>
          </p:cNvSpPr>
          <p:nvPr>
            <p:ph type="body" sz="half" idx="2" hasCustomPrompt="1"/>
          </p:nvPr>
        </p:nvSpPr>
        <p:spPr>
          <a:xfrm>
            <a:off x="12191208" y="1961458"/>
            <a:ext cx="9144793" cy="10081320"/>
          </a:xfrm>
        </p:spPr>
        <p:txBody>
          <a:bodyPr>
            <a:noAutofit/>
          </a:bodyPr>
          <a:lstStyle>
            <a:lvl1pPr marL="0" marR="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sz="32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marL="0" marR="0" lvl="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a:pPr>
            <a:endParaRPr lang="en-GB" noProof="0"/>
          </a:p>
        </p:txBody>
      </p:sp>
      <p:sp>
        <p:nvSpPr>
          <p:cNvPr id="6" name="Title 5">
            <a:extLst>
              <a:ext uri="{FF2B5EF4-FFF2-40B4-BE49-F238E27FC236}">
                <a16:creationId xmlns:a16="http://schemas.microsoft.com/office/drawing/2014/main" id="{07211B91-AE84-A342-91A4-CA604C6D63E9}"/>
              </a:ext>
            </a:extLst>
          </p:cNvPr>
          <p:cNvSpPr>
            <a:spLocks noGrp="1"/>
          </p:cNvSpPr>
          <p:nvPr>
            <p:ph type="title" hasCustomPrompt="1"/>
          </p:nvPr>
        </p:nvSpPr>
        <p:spPr>
          <a:xfrm>
            <a:off x="1676294" y="1677600"/>
            <a:ext cx="9000000" cy="8633316"/>
          </a:xfrm>
        </p:spPr>
        <p:txBody>
          <a:bodyPr bIns="46800"/>
          <a:lstStyle/>
          <a:p>
            <a:r>
              <a:rPr lang="en-GB"/>
              <a:t>Agenda or contents</a:t>
            </a:r>
            <a:endParaRPr lang="en-NL"/>
          </a:p>
        </p:txBody>
      </p:sp>
      <p:sp>
        <p:nvSpPr>
          <p:cNvPr id="12" name="Text Placeholder 3">
            <a:extLst>
              <a:ext uri="{FF2B5EF4-FFF2-40B4-BE49-F238E27FC236}">
                <a16:creationId xmlns:a16="http://schemas.microsoft.com/office/drawing/2014/main" id="{E42BC64C-1096-A244-9939-276AF14B9BC4}"/>
              </a:ext>
            </a:extLst>
          </p:cNvPr>
          <p:cNvSpPr>
            <a:spLocks noGrp="1"/>
          </p:cNvSpPr>
          <p:nvPr>
            <p:ph type="body" sz="half" idx="15" hasCustomPrompt="1"/>
          </p:nvPr>
        </p:nvSpPr>
        <p:spPr>
          <a:xfrm>
            <a:off x="1676294" y="10313989"/>
            <a:ext cx="9000000" cy="1728790"/>
          </a:xfrm>
        </p:spPr>
        <p:txBody>
          <a:bodyPr anchor="b">
            <a:noAutofit/>
          </a:bodyPr>
          <a:lstStyle>
            <a:lvl1pPr marL="0" marR="0" indent="0" algn="l" defTabSz="1439856" rtl="0" eaLnBrk="1" fontAlgn="auto" latinLnBrk="0" hangingPunct="1">
              <a:lnSpc>
                <a:spcPct val="100000"/>
              </a:lnSpc>
              <a:spcBef>
                <a:spcPts val="2000"/>
              </a:spcBef>
              <a:spcAft>
                <a:spcPts val="0"/>
              </a:spcAft>
              <a:buClrTx/>
              <a:buSzTx/>
              <a:buFont typeface="Arial" panose="020B0604020202020204" pitchFamily="34" charset="0"/>
              <a:buNone/>
              <a:tabLst/>
              <a:defRPr sz="40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marL="0" marR="0" lvl="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roject name, date, version</a:t>
            </a:r>
          </a:p>
        </p:txBody>
      </p:sp>
      <p:sp>
        <p:nvSpPr>
          <p:cNvPr id="7" name="Footer Placeholder 6">
            <a:extLst>
              <a:ext uri="{FF2B5EF4-FFF2-40B4-BE49-F238E27FC236}">
                <a16:creationId xmlns:a16="http://schemas.microsoft.com/office/drawing/2014/main" id="{AA71B48D-AD8E-4041-BC0A-97827EA167E2}"/>
              </a:ext>
            </a:extLst>
          </p:cNvPr>
          <p:cNvSpPr>
            <a:spLocks noGrp="1"/>
          </p:cNvSpPr>
          <p:nvPr>
            <p:ph type="ftr" sz="quarter" idx="16"/>
          </p:nvPr>
        </p:nvSpPr>
        <p:spPr/>
        <p:txBody>
          <a:bodyPr/>
          <a:lstStyle/>
          <a:p>
            <a:endParaRPr lang="en-NL"/>
          </a:p>
        </p:txBody>
      </p:sp>
      <p:sp>
        <p:nvSpPr>
          <p:cNvPr id="13" name="TextBox 12">
            <a:extLst>
              <a:ext uri="{FF2B5EF4-FFF2-40B4-BE49-F238E27FC236}">
                <a16:creationId xmlns:a16="http://schemas.microsoft.com/office/drawing/2014/main" id="{3A2D6FA1-9D20-AF47-912B-1D770AF0FEBC}"/>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03347510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hapter headline on simple background">
    <p:bg>
      <p:bgPr>
        <a:solidFill>
          <a:schemeClr val="bg1"/>
        </a:solidFill>
        <a:effectLst/>
      </p:bgPr>
    </p:bg>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ADB4BA95-E492-D840-88F6-2FE23D26918D}"/>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573" rtl="0" eaLnBrk="1" fontAlgn="auto" latinLnBrk="0" hangingPunct="1">
              <a:lnSpc>
                <a:spcPct val="10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7" name="Title Placeholder 6">
            <a:extLst>
              <a:ext uri="{FF2B5EF4-FFF2-40B4-BE49-F238E27FC236}">
                <a16:creationId xmlns:a16="http://schemas.microsoft.com/office/drawing/2014/main" id="{1B090AE2-5953-9248-BD9A-B5FA2155AD8A}"/>
              </a:ext>
            </a:extLst>
          </p:cNvPr>
          <p:cNvSpPr>
            <a:spLocks noGrp="1"/>
          </p:cNvSpPr>
          <p:nvPr>
            <p:ph type="title" hasCustomPrompt="1"/>
          </p:nvPr>
        </p:nvSpPr>
        <p:spPr>
          <a:xfrm>
            <a:off x="3059999" y="3402014"/>
            <a:ext cx="12156189" cy="6911976"/>
          </a:xfrm>
          <a:prstGeom prst="rect">
            <a:avLst/>
          </a:prstGeom>
          <a:solidFill>
            <a:schemeClr val="bg1"/>
          </a:solidFill>
        </p:spPr>
        <p:txBody>
          <a:bodyPr vert="horz" lIns="720000" tIns="90000" rIns="91440" bIns="9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C4ADDE55-E340-6E4C-86B1-7B03B8C32387}"/>
              </a:ext>
            </a:extLst>
          </p:cNvPr>
          <p:cNvSpPr>
            <a:spLocks noGrp="1"/>
          </p:cNvSpPr>
          <p:nvPr>
            <p:ph type="ftr" sz="quarter" idx="15"/>
          </p:nvPr>
        </p:nvSpPr>
        <p:spPr/>
        <p:txBody>
          <a:bodyPr/>
          <a:lstStyle/>
          <a:p>
            <a:endParaRPr lang="en-NL"/>
          </a:p>
        </p:txBody>
      </p:sp>
      <p:sp>
        <p:nvSpPr>
          <p:cNvPr id="10" name="TextBox 9">
            <a:extLst>
              <a:ext uri="{FF2B5EF4-FFF2-40B4-BE49-F238E27FC236}">
                <a16:creationId xmlns:a16="http://schemas.microsoft.com/office/drawing/2014/main" id="{7FB25574-EA1E-8647-9572-8972274746BB}"/>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92283871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hapter headline on double background">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7D48BD0-6997-F144-A2F5-799BC3C77E9E}"/>
              </a:ext>
            </a:extLst>
          </p:cNvPr>
          <p:cNvSpPr>
            <a:spLocks noGrp="1"/>
          </p:cNvSpPr>
          <p:nvPr>
            <p:ph type="pic" sz="quarter" idx="16" hasCustomPrompt="1"/>
          </p:nvPr>
        </p:nvSpPr>
        <p:spPr>
          <a:xfrm>
            <a:off x="9166226" y="486000"/>
            <a:ext cx="14724980"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background image into this frame</a:t>
            </a:r>
          </a:p>
        </p:txBody>
      </p:sp>
      <p:sp>
        <p:nvSpPr>
          <p:cNvPr id="8" name="Picture Placeholder 10">
            <a:extLst>
              <a:ext uri="{FF2B5EF4-FFF2-40B4-BE49-F238E27FC236}">
                <a16:creationId xmlns:a16="http://schemas.microsoft.com/office/drawing/2014/main" id="{1309BD59-499E-7B48-84B0-F24A66C27380}"/>
              </a:ext>
            </a:extLst>
          </p:cNvPr>
          <p:cNvSpPr>
            <a:spLocks noGrp="1"/>
          </p:cNvSpPr>
          <p:nvPr>
            <p:ph type="pic" sz="quarter" idx="14" hasCustomPrompt="1"/>
          </p:nvPr>
        </p:nvSpPr>
        <p:spPr>
          <a:xfrm>
            <a:off x="491206" y="486000"/>
            <a:ext cx="8675019" cy="12744000"/>
          </a:xfrm>
          <a:solidFill>
            <a:schemeClr val="bg1">
              <a:lumMod val="8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9" name="Title Placeholder 6">
            <a:extLst>
              <a:ext uri="{FF2B5EF4-FFF2-40B4-BE49-F238E27FC236}">
                <a16:creationId xmlns:a16="http://schemas.microsoft.com/office/drawing/2014/main" id="{9DDA9E19-4F77-3D4F-9876-A15B1427723D}"/>
              </a:ext>
            </a:extLst>
          </p:cNvPr>
          <p:cNvSpPr>
            <a:spLocks noGrp="1"/>
          </p:cNvSpPr>
          <p:nvPr>
            <p:ph type="title" hasCustomPrompt="1"/>
          </p:nvPr>
        </p:nvSpPr>
        <p:spPr>
          <a:xfrm>
            <a:off x="3059999" y="3402014"/>
            <a:ext cx="12156189" cy="6911976"/>
          </a:xfrm>
          <a:prstGeom prst="rect">
            <a:avLst/>
          </a:prstGeom>
          <a:solidFill>
            <a:schemeClr val="bg1"/>
          </a:solidFill>
        </p:spPr>
        <p:txBody>
          <a:bodyPr vert="horz" lIns="720000" tIns="90000" rIns="91440" bIns="9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5CA18264-1F8B-3A44-B551-1BBEE87ED5B3}"/>
              </a:ext>
            </a:extLst>
          </p:cNvPr>
          <p:cNvSpPr>
            <a:spLocks noGrp="1"/>
          </p:cNvSpPr>
          <p:nvPr>
            <p:ph type="ftr" sz="quarter" idx="17"/>
          </p:nvPr>
        </p:nvSpPr>
        <p:spPr/>
        <p:txBody>
          <a:bodyPr/>
          <a:lstStyle/>
          <a:p>
            <a:endParaRPr lang="en-NL"/>
          </a:p>
        </p:txBody>
      </p:sp>
      <p:sp>
        <p:nvSpPr>
          <p:cNvPr id="11" name="TextBox 10">
            <a:extLst>
              <a:ext uri="{FF2B5EF4-FFF2-40B4-BE49-F238E27FC236}">
                <a16:creationId xmlns:a16="http://schemas.microsoft.com/office/drawing/2014/main" id="{17ABB78B-16D4-9548-AD33-F584DB55BA7A}"/>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4171998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tement without background">
    <p:spTree>
      <p:nvGrpSpPr>
        <p:cNvPr id="1" name=""/>
        <p:cNvGrpSpPr/>
        <p:nvPr/>
      </p:nvGrpSpPr>
      <p:grpSpPr>
        <a:xfrm>
          <a:off x="0" y="0"/>
          <a:ext cx="0" cy="0"/>
          <a:chOff x="0" y="0"/>
          <a:chExt cx="0" cy="0"/>
        </a:xfrm>
      </p:grpSpPr>
      <p:sp>
        <p:nvSpPr>
          <p:cNvPr id="6" name="Title Placeholder 6">
            <a:extLst>
              <a:ext uri="{FF2B5EF4-FFF2-40B4-BE49-F238E27FC236}">
                <a16:creationId xmlns:a16="http://schemas.microsoft.com/office/drawing/2014/main" id="{42635088-B65D-C841-9E13-05D7E3443BD4}"/>
              </a:ext>
            </a:extLst>
          </p:cNvPr>
          <p:cNvSpPr>
            <a:spLocks noGrp="1"/>
          </p:cNvSpPr>
          <p:nvPr>
            <p:ph type="title" hasCustomPrompt="1"/>
          </p:nvPr>
        </p:nvSpPr>
        <p:spPr>
          <a:xfrm>
            <a:off x="1677491" y="1692001"/>
            <a:ext cx="21029831" cy="10330998"/>
          </a:xfrm>
          <a:prstGeom prst="rect">
            <a:avLst/>
          </a:prstGeom>
        </p:spPr>
        <p:txBody>
          <a:bodyPr vert="horz" lIns="91440" tIns="45720" rIns="91440" bIns="45720" rtlCol="0" anchor="ctr">
            <a:noAutofit/>
          </a:bodyPr>
          <a:lstStyle>
            <a:lvl1pPr>
              <a:defRPr baseline="0"/>
            </a:lvl1pPr>
          </a:lstStyle>
          <a:p>
            <a:r>
              <a:rPr lang="en-GB" noProof="0"/>
              <a:t>Put a statement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DEA92304-9D31-2743-9CAA-4CF1A9292236}"/>
              </a:ext>
            </a:extLst>
          </p:cNvPr>
          <p:cNvSpPr>
            <a:spLocks noGrp="1"/>
          </p:cNvSpPr>
          <p:nvPr>
            <p:ph type="ftr" sz="quarter" idx="10"/>
          </p:nvPr>
        </p:nvSpPr>
        <p:spPr/>
        <p:txBody>
          <a:bodyPr/>
          <a:lstStyle/>
          <a:p>
            <a:endParaRPr lang="en-NL"/>
          </a:p>
        </p:txBody>
      </p:sp>
      <p:sp>
        <p:nvSpPr>
          <p:cNvPr id="7" name="TextBox 6">
            <a:extLst>
              <a:ext uri="{FF2B5EF4-FFF2-40B4-BE49-F238E27FC236}">
                <a16:creationId xmlns:a16="http://schemas.microsoft.com/office/drawing/2014/main" id="{BE9A8351-2D97-AD41-BE02-7B1C9B022881}"/>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19508678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hapter headline and number 1">
    <p:bg>
      <p:bgPr>
        <a:solidFill>
          <a:schemeClr val="bg1"/>
        </a:solidFill>
        <a:effectLst/>
      </p:bgPr>
    </p:bg>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FBC26CA4-EB48-1543-B2BB-C8B879012FEC}"/>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5" name="Text Placeholder 4">
            <a:extLst>
              <a:ext uri="{FF2B5EF4-FFF2-40B4-BE49-F238E27FC236}">
                <a16:creationId xmlns:a16="http://schemas.microsoft.com/office/drawing/2014/main" id="{D692063E-373D-9A4C-B3F2-4CED294F18A0}"/>
              </a:ext>
            </a:extLst>
          </p:cNvPr>
          <p:cNvSpPr>
            <a:spLocks noGrp="1"/>
          </p:cNvSpPr>
          <p:nvPr>
            <p:ph type="body" sz="quarter" idx="11" hasCustomPrompt="1"/>
          </p:nvPr>
        </p:nvSpPr>
        <p:spPr>
          <a:xfrm>
            <a:off x="3066646" y="3402014"/>
            <a:ext cx="6113166" cy="6911976"/>
          </a:xfrm>
          <a:solidFill>
            <a:schemeClr val="bg1"/>
          </a:solidFill>
        </p:spPr>
        <p:txBody>
          <a:bodyPr anchor="ctr" anchorCtr="0">
            <a:noAutofit/>
          </a:bodyPr>
          <a:lstStyle>
            <a:lvl1pPr marL="0" indent="0" algn="ctr">
              <a:buNone/>
              <a:defRPr sz="29999" b="1" spc="-600" baseline="0">
                <a:ln>
                  <a:noFill/>
                </a:ln>
                <a:solidFill>
                  <a:schemeClr val="tx1"/>
                </a:solidFill>
              </a:defRPr>
            </a:lvl1pPr>
          </a:lstStyle>
          <a:p>
            <a:pPr lvl="0"/>
            <a:r>
              <a:rPr lang="en-GB" noProof="0"/>
              <a:t>#</a:t>
            </a:r>
          </a:p>
        </p:txBody>
      </p:sp>
      <p:sp>
        <p:nvSpPr>
          <p:cNvPr id="9" name="Title Placeholder 6">
            <a:extLst>
              <a:ext uri="{FF2B5EF4-FFF2-40B4-BE49-F238E27FC236}">
                <a16:creationId xmlns:a16="http://schemas.microsoft.com/office/drawing/2014/main" id="{8EE4B79D-13C4-D44B-B7EA-5A90670CE600}"/>
              </a:ext>
            </a:extLst>
          </p:cNvPr>
          <p:cNvSpPr>
            <a:spLocks noGrp="1"/>
          </p:cNvSpPr>
          <p:nvPr>
            <p:ph type="title" hasCustomPrompt="1"/>
          </p:nvPr>
        </p:nvSpPr>
        <p:spPr>
          <a:xfrm>
            <a:off x="9166225" y="3402014"/>
            <a:ext cx="12169776" cy="6911976"/>
          </a:xfrm>
          <a:prstGeom prst="rect">
            <a:avLst/>
          </a:prstGeom>
          <a:solidFill>
            <a:schemeClr val="bg1"/>
          </a:solidFill>
        </p:spPr>
        <p:txBody>
          <a:bodyPr vert="horz" lIns="360000" tIns="90000" rIns="91440" bIns="9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1A1CBB60-7354-0F46-A5EC-2B7F347405A8}"/>
              </a:ext>
            </a:extLst>
          </p:cNvPr>
          <p:cNvSpPr>
            <a:spLocks noGrp="1"/>
          </p:cNvSpPr>
          <p:nvPr>
            <p:ph type="ftr" sz="quarter" idx="15"/>
          </p:nvPr>
        </p:nvSpPr>
        <p:spPr/>
        <p:txBody>
          <a:bodyPr/>
          <a:lstStyle/>
          <a:p>
            <a:endParaRPr lang="en-NL"/>
          </a:p>
        </p:txBody>
      </p:sp>
      <p:sp>
        <p:nvSpPr>
          <p:cNvPr id="11" name="TextBox 10">
            <a:extLst>
              <a:ext uri="{FF2B5EF4-FFF2-40B4-BE49-F238E27FC236}">
                <a16:creationId xmlns:a16="http://schemas.microsoft.com/office/drawing/2014/main" id="{40541476-0AFC-234B-BC49-0499CC038C91}"/>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67173254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hapter headline and number 2">
    <p:bg>
      <p:bgPr>
        <a:solidFill>
          <a:schemeClr val="bg1"/>
        </a:solidFill>
        <a:effectLst/>
      </p:bgPr>
    </p:bg>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F6085D9F-3237-7542-9B7D-4ED3CD3607B0}"/>
              </a:ext>
            </a:extLst>
          </p:cNvPr>
          <p:cNvSpPr>
            <a:spLocks noGrp="1"/>
          </p:cNvSpPr>
          <p:nvPr>
            <p:ph type="body" sz="quarter" idx="11" hasCustomPrompt="1"/>
          </p:nvPr>
        </p:nvSpPr>
        <p:spPr>
          <a:xfrm>
            <a:off x="3066646" y="3402014"/>
            <a:ext cx="6113166" cy="6911976"/>
          </a:xfrm>
          <a:noFill/>
        </p:spPr>
        <p:txBody>
          <a:bodyPr anchor="ctr" anchorCtr="0">
            <a:noAutofit/>
          </a:bodyPr>
          <a:lstStyle>
            <a:lvl1pPr marL="0" indent="0" algn="ctr">
              <a:buNone/>
              <a:defRPr sz="29999" b="1" spc="-600" baseline="0">
                <a:ln>
                  <a:noFill/>
                </a:ln>
                <a:solidFill>
                  <a:schemeClr val="tx1"/>
                </a:solidFill>
              </a:defRPr>
            </a:lvl1pPr>
          </a:lstStyle>
          <a:p>
            <a:pPr lvl="0"/>
            <a:r>
              <a:rPr lang="en-GB" noProof="0"/>
              <a:t>#</a:t>
            </a:r>
          </a:p>
        </p:txBody>
      </p:sp>
      <p:sp>
        <p:nvSpPr>
          <p:cNvPr id="7" name="Title Placeholder 6">
            <a:extLst>
              <a:ext uri="{FF2B5EF4-FFF2-40B4-BE49-F238E27FC236}">
                <a16:creationId xmlns:a16="http://schemas.microsoft.com/office/drawing/2014/main" id="{C80CB7B3-E10E-DC43-BC18-2A74C9A160F8}"/>
              </a:ext>
            </a:extLst>
          </p:cNvPr>
          <p:cNvSpPr>
            <a:spLocks noGrp="1"/>
          </p:cNvSpPr>
          <p:nvPr>
            <p:ph type="title" hasCustomPrompt="1"/>
          </p:nvPr>
        </p:nvSpPr>
        <p:spPr>
          <a:xfrm>
            <a:off x="9166225" y="3402014"/>
            <a:ext cx="12169776" cy="6911976"/>
          </a:xfrm>
          <a:prstGeom prst="rect">
            <a:avLst/>
          </a:prstGeom>
          <a:noFill/>
        </p:spPr>
        <p:txBody>
          <a:bodyPr vert="horz" lIns="360000" tIns="90000" rIns="91440" bIns="9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3A7F9CFD-AFFB-3B47-AFEC-CEE18A9D2CE6}"/>
              </a:ext>
            </a:extLst>
          </p:cNvPr>
          <p:cNvSpPr>
            <a:spLocks noGrp="1"/>
          </p:cNvSpPr>
          <p:nvPr>
            <p:ph type="ftr" sz="quarter" idx="12"/>
          </p:nvPr>
        </p:nvSpPr>
        <p:spPr/>
        <p:txBody>
          <a:bodyPr/>
          <a:lstStyle/>
          <a:p>
            <a:endParaRPr lang="en-NL"/>
          </a:p>
        </p:txBody>
      </p:sp>
      <p:sp>
        <p:nvSpPr>
          <p:cNvPr id="10" name="TextBox 9">
            <a:extLst>
              <a:ext uri="{FF2B5EF4-FFF2-40B4-BE49-F238E27FC236}">
                <a16:creationId xmlns:a16="http://schemas.microsoft.com/office/drawing/2014/main" id="{C416BDAF-6CDC-8648-8B2F-B8146F0C0E7E}"/>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73548962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xt and picture on the right">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13127310" y="486000"/>
            <a:ext cx="10763999"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1439906" y="5196948"/>
            <a:ext cx="10516084" cy="6904512"/>
          </a:xfrm>
        </p:spPr>
        <p:txBody>
          <a:bodyPr>
            <a:noAutofit/>
          </a:bodyPr>
          <a:lstStyle>
            <a:lvl1pPr>
              <a:spcBef>
                <a:spcPts val="2000"/>
              </a:spcBef>
              <a:defRPr sz="3200"/>
            </a:lvl1pPr>
          </a:lstStyle>
          <a:p>
            <a:pPr lvl="0"/>
            <a:r>
              <a:rPr lang="en-GB" noProof="0"/>
              <a:t>Put the paragraph text here, keep it regular 32 </a:t>
            </a:r>
            <a:r>
              <a:rPr lang="en-GB" noProof="0" err="1"/>
              <a:t>pt</a:t>
            </a:r>
            <a:endParaRPr lang="en-GB" noProof="0"/>
          </a:p>
        </p:txBody>
      </p:sp>
      <p:sp>
        <p:nvSpPr>
          <p:cNvPr id="2" name="Title 1">
            <a:extLst>
              <a:ext uri="{FF2B5EF4-FFF2-40B4-BE49-F238E27FC236}">
                <a16:creationId xmlns:a16="http://schemas.microsoft.com/office/drawing/2014/main" id="{44A2E15B-0973-F742-A266-E1107E35FE40}"/>
              </a:ext>
            </a:extLst>
          </p:cNvPr>
          <p:cNvSpPr>
            <a:spLocks noGrp="1"/>
          </p:cNvSpPr>
          <p:nvPr>
            <p:ph type="title" hasCustomPrompt="1"/>
          </p:nvPr>
        </p:nvSpPr>
        <p:spPr>
          <a:xfrm>
            <a:off x="1439907" y="1440000"/>
            <a:ext cx="10514914" cy="3011660"/>
          </a:xfrm>
        </p:spPr>
        <p:txBody>
          <a:bodyPr/>
          <a:lstStyle/>
          <a:p>
            <a:r>
              <a:rPr lang="en-GB"/>
              <a:t>Put the headline here, keep it 80 </a:t>
            </a:r>
            <a:r>
              <a:rPr lang="en-GB" err="1"/>
              <a:t>pt</a:t>
            </a:r>
            <a:endParaRPr lang="en-NL"/>
          </a:p>
        </p:txBody>
      </p:sp>
      <p:sp>
        <p:nvSpPr>
          <p:cNvPr id="7" name="Footer Placeholder 6">
            <a:extLst>
              <a:ext uri="{FF2B5EF4-FFF2-40B4-BE49-F238E27FC236}">
                <a16:creationId xmlns:a16="http://schemas.microsoft.com/office/drawing/2014/main" id="{1BBF2C0D-081E-D341-990A-85E80DD0D1B7}"/>
              </a:ext>
            </a:extLst>
          </p:cNvPr>
          <p:cNvSpPr>
            <a:spLocks noGrp="1"/>
          </p:cNvSpPr>
          <p:nvPr>
            <p:ph type="ftr" sz="quarter" idx="19"/>
          </p:nvPr>
        </p:nvSpPr>
        <p:spPr/>
        <p:txBody>
          <a:bodyPr/>
          <a:lstStyle/>
          <a:p>
            <a:endParaRPr lang="en-NL"/>
          </a:p>
        </p:txBody>
      </p:sp>
      <p:sp>
        <p:nvSpPr>
          <p:cNvPr id="10" name="TextBox 9">
            <a:extLst>
              <a:ext uri="{FF2B5EF4-FFF2-40B4-BE49-F238E27FC236}">
                <a16:creationId xmlns:a16="http://schemas.microsoft.com/office/drawing/2014/main" id="{894FC958-E5A8-B74F-A7E7-30B82C0B44E8}"/>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20261106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and picture on the left">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EED5078-C5D9-0E4F-B9E3-7CF7BBC8C373}"/>
              </a:ext>
            </a:extLst>
          </p:cNvPr>
          <p:cNvSpPr>
            <a:spLocks noGrp="1"/>
          </p:cNvSpPr>
          <p:nvPr>
            <p:ph type="pic" sz="quarter" idx="15" hasCustomPrompt="1"/>
          </p:nvPr>
        </p:nvSpPr>
        <p:spPr>
          <a:xfrm>
            <a:off x="491102" y="486000"/>
            <a:ext cx="10763999"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pPr marL="0" marR="0" lvl="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a:pPr>
            <a:r>
              <a:rPr lang="en-NL"/>
              <a:t>Drag and drop a topic-related picture into this frame</a:t>
            </a:r>
          </a:p>
        </p:txBody>
      </p:sp>
      <p:sp>
        <p:nvSpPr>
          <p:cNvPr id="12" name="Text Placeholder 3">
            <a:extLst>
              <a:ext uri="{FF2B5EF4-FFF2-40B4-BE49-F238E27FC236}">
                <a16:creationId xmlns:a16="http://schemas.microsoft.com/office/drawing/2014/main" id="{AE87E5A1-8A67-0448-BA9A-DA74F50AE099}"/>
              </a:ext>
            </a:extLst>
          </p:cNvPr>
          <p:cNvSpPr>
            <a:spLocks noGrp="1"/>
          </p:cNvSpPr>
          <p:nvPr>
            <p:ph type="body" sz="quarter" idx="18" hasCustomPrompt="1"/>
          </p:nvPr>
        </p:nvSpPr>
        <p:spPr>
          <a:xfrm>
            <a:off x="12191206" y="5129214"/>
            <a:ext cx="10516084" cy="6904512"/>
          </a:xfrm>
        </p:spPr>
        <p:txBody>
          <a:bodyPr>
            <a:noAutofit/>
          </a:bodyPr>
          <a:lstStyle>
            <a:lvl1pPr>
              <a:spcBef>
                <a:spcPts val="2000"/>
              </a:spcBef>
              <a:defRPr sz="3200"/>
            </a:lvl1pPr>
          </a:lstStyle>
          <a:p>
            <a:pPr lvl="0"/>
            <a:r>
              <a:rPr lang="en-GB" noProof="0"/>
              <a:t>Put the paragraph text here, keep it regular 32 </a:t>
            </a:r>
            <a:r>
              <a:rPr lang="en-GB" noProof="0" err="1"/>
              <a:t>pt</a:t>
            </a:r>
            <a:endParaRPr lang="en-GB" noProof="0"/>
          </a:p>
        </p:txBody>
      </p:sp>
      <p:sp>
        <p:nvSpPr>
          <p:cNvPr id="13" name="Title 1">
            <a:extLst>
              <a:ext uri="{FF2B5EF4-FFF2-40B4-BE49-F238E27FC236}">
                <a16:creationId xmlns:a16="http://schemas.microsoft.com/office/drawing/2014/main" id="{0614539B-EA7E-5F48-845E-1115C11137DF}"/>
              </a:ext>
            </a:extLst>
          </p:cNvPr>
          <p:cNvSpPr>
            <a:spLocks noGrp="1"/>
          </p:cNvSpPr>
          <p:nvPr>
            <p:ph type="title" hasCustomPrompt="1"/>
          </p:nvPr>
        </p:nvSpPr>
        <p:spPr>
          <a:xfrm>
            <a:off x="12193171" y="1677600"/>
            <a:ext cx="10514914" cy="3011660"/>
          </a:xfrm>
        </p:spPr>
        <p:txBody>
          <a:bodyPr/>
          <a:lstStyle/>
          <a:p>
            <a:r>
              <a:rPr lang="en-GB"/>
              <a:t>Put the headline here, keep it 80 </a:t>
            </a:r>
            <a:r>
              <a:rPr lang="en-GB" err="1"/>
              <a:t>pt</a:t>
            </a:r>
            <a:endParaRPr lang="en-NL"/>
          </a:p>
        </p:txBody>
      </p:sp>
      <p:sp>
        <p:nvSpPr>
          <p:cNvPr id="4" name="Footer Placeholder 3">
            <a:extLst>
              <a:ext uri="{FF2B5EF4-FFF2-40B4-BE49-F238E27FC236}">
                <a16:creationId xmlns:a16="http://schemas.microsoft.com/office/drawing/2014/main" id="{CB40AB27-22C2-8049-AEFA-EC9ADA9C74F8}"/>
              </a:ext>
            </a:extLst>
          </p:cNvPr>
          <p:cNvSpPr>
            <a:spLocks noGrp="1"/>
          </p:cNvSpPr>
          <p:nvPr>
            <p:ph type="ftr" sz="quarter" idx="19"/>
          </p:nvPr>
        </p:nvSpPr>
        <p:spPr/>
        <p:txBody>
          <a:bodyPr/>
          <a:lstStyle/>
          <a:p>
            <a:endParaRPr lang="en-NL"/>
          </a:p>
        </p:txBody>
      </p:sp>
      <p:sp>
        <p:nvSpPr>
          <p:cNvPr id="11" name="TextBox 10">
            <a:extLst>
              <a:ext uri="{FF2B5EF4-FFF2-40B4-BE49-F238E27FC236}">
                <a16:creationId xmlns:a16="http://schemas.microsoft.com/office/drawing/2014/main" id="{5D320D55-E281-9946-A96D-D7865543B7DC}"/>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07299273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tatement without background">
    <p:spTree>
      <p:nvGrpSpPr>
        <p:cNvPr id="1" name=""/>
        <p:cNvGrpSpPr/>
        <p:nvPr/>
      </p:nvGrpSpPr>
      <p:grpSpPr>
        <a:xfrm>
          <a:off x="0" y="0"/>
          <a:ext cx="0" cy="0"/>
          <a:chOff x="0" y="0"/>
          <a:chExt cx="0" cy="0"/>
        </a:xfrm>
      </p:grpSpPr>
      <p:sp>
        <p:nvSpPr>
          <p:cNvPr id="6" name="Title Placeholder 6">
            <a:extLst>
              <a:ext uri="{FF2B5EF4-FFF2-40B4-BE49-F238E27FC236}">
                <a16:creationId xmlns:a16="http://schemas.microsoft.com/office/drawing/2014/main" id="{42635088-B65D-C841-9E13-05D7E3443BD4}"/>
              </a:ext>
            </a:extLst>
          </p:cNvPr>
          <p:cNvSpPr>
            <a:spLocks noGrp="1"/>
          </p:cNvSpPr>
          <p:nvPr>
            <p:ph type="title" hasCustomPrompt="1"/>
          </p:nvPr>
        </p:nvSpPr>
        <p:spPr>
          <a:xfrm>
            <a:off x="1677491" y="1692003"/>
            <a:ext cx="21029831" cy="10330998"/>
          </a:xfrm>
          <a:prstGeom prst="rect">
            <a:avLst/>
          </a:prstGeom>
        </p:spPr>
        <p:txBody>
          <a:bodyPr vert="horz" lIns="91440" tIns="45720" rIns="91440" bIns="45720" rtlCol="0" anchor="ctr">
            <a:noAutofit/>
          </a:bodyPr>
          <a:lstStyle>
            <a:lvl1pPr>
              <a:defRPr baseline="0"/>
            </a:lvl1pPr>
          </a:lstStyle>
          <a:p>
            <a:r>
              <a:rPr lang="en-GB" noProof="0"/>
              <a:t>Put a statement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DEA92304-9D31-2743-9CAA-4CF1A9292236}"/>
              </a:ext>
            </a:extLst>
          </p:cNvPr>
          <p:cNvSpPr>
            <a:spLocks noGrp="1"/>
          </p:cNvSpPr>
          <p:nvPr>
            <p:ph type="ftr" sz="quarter" idx="10"/>
          </p:nvPr>
        </p:nvSpPr>
        <p:spPr/>
        <p:txBody>
          <a:bodyPr/>
          <a:lstStyle/>
          <a:p>
            <a:endParaRPr lang="en-NL"/>
          </a:p>
        </p:txBody>
      </p:sp>
      <p:sp>
        <p:nvSpPr>
          <p:cNvPr id="7" name="TextBox 6">
            <a:extLst>
              <a:ext uri="{FF2B5EF4-FFF2-40B4-BE49-F238E27FC236}">
                <a16:creationId xmlns:a16="http://schemas.microsoft.com/office/drawing/2014/main" id="{BE9A8351-2D97-AD41-BE02-7B1C9B022881}"/>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16236732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tatement 1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6070602" y="3402014"/>
            <a:ext cx="12241213" cy="6911976"/>
          </a:xfrm>
          <a:prstGeom prst="rect">
            <a:avLst/>
          </a:prstGeom>
          <a:solidFill>
            <a:schemeClr val="bg1"/>
          </a:solidFill>
        </p:spPr>
        <p:txBody>
          <a:bodyPr vert="horz" lIns="900000" tIns="90000" rIns="360000" bIns="90000" rtlCol="0" anchor="ctr">
            <a:noAutofit/>
          </a:bodyPr>
          <a:lstStyle>
            <a:lvl1pPr>
              <a:defRPr sz="6000" b="1" spc="0" baseline="0"/>
            </a:lvl1pPr>
          </a:lstStyle>
          <a:p>
            <a:r>
              <a:rPr lang="en-GB" noProof="0"/>
              <a:t>Put a short statement here, keep it regular 60 </a:t>
            </a:r>
            <a:r>
              <a:rPr lang="en-GB" noProof="0" err="1"/>
              <a:t>pt</a:t>
            </a:r>
            <a:endParaRPr lang="en-GB" noProof="0"/>
          </a:p>
        </p:txBody>
      </p:sp>
      <p:sp>
        <p:nvSpPr>
          <p:cNvPr id="4" name="Footer Placeholder 3">
            <a:extLst>
              <a:ext uri="{FF2B5EF4-FFF2-40B4-BE49-F238E27FC236}">
                <a16:creationId xmlns:a16="http://schemas.microsoft.com/office/drawing/2014/main" id="{4D585EBC-728D-F748-BD9C-1622617E10E7}"/>
              </a:ext>
            </a:extLst>
          </p:cNvPr>
          <p:cNvSpPr>
            <a:spLocks noGrp="1"/>
          </p:cNvSpPr>
          <p:nvPr>
            <p:ph type="ftr" sz="quarter" idx="15"/>
          </p:nvPr>
        </p:nvSpPr>
        <p:spPr/>
        <p:txBody>
          <a:bodyPr/>
          <a:lstStyle/>
          <a:p>
            <a:endParaRPr lang="en-NL"/>
          </a:p>
        </p:txBody>
      </p:sp>
      <p:sp>
        <p:nvSpPr>
          <p:cNvPr id="8" name="TextBox 7">
            <a:extLst>
              <a:ext uri="{FF2B5EF4-FFF2-40B4-BE49-F238E27FC236}">
                <a16:creationId xmlns:a16="http://schemas.microsoft.com/office/drawing/2014/main" id="{5F6D9EA7-3CF9-7B43-B287-97692C1A4E03}"/>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46701386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tatement 2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3088132" y="3402014"/>
            <a:ext cx="9102282" cy="6911976"/>
          </a:xfrm>
          <a:prstGeom prst="rect">
            <a:avLst/>
          </a:prstGeom>
          <a:solidFill>
            <a:schemeClr val="bg1"/>
          </a:solidFill>
        </p:spPr>
        <p:txBody>
          <a:bodyPr vert="horz" lIns="720000" tIns="90000" rIns="91440" bIns="90000" rtlCol="0" anchor="ctr">
            <a:noAutofit/>
          </a:bodyPr>
          <a:lstStyle>
            <a:lvl1pPr>
              <a:defRPr sz="6000" b="0" spc="0" baseline="0"/>
            </a:lvl1pPr>
          </a:lstStyle>
          <a:p>
            <a:r>
              <a:rPr lang="en-GB" noProof="0"/>
              <a:t>Put a long statement here, keep it regular 60 </a:t>
            </a:r>
            <a:r>
              <a:rPr lang="en-GB" noProof="0" err="1"/>
              <a:t>pt</a:t>
            </a:r>
            <a:endParaRPr lang="en-GB" noProof="0"/>
          </a:p>
        </p:txBody>
      </p:sp>
      <p:sp>
        <p:nvSpPr>
          <p:cNvPr id="4" name="Footer Placeholder 3">
            <a:extLst>
              <a:ext uri="{FF2B5EF4-FFF2-40B4-BE49-F238E27FC236}">
                <a16:creationId xmlns:a16="http://schemas.microsoft.com/office/drawing/2014/main" id="{F698052A-206B-8B44-B965-9B18AA398EAF}"/>
              </a:ext>
            </a:extLst>
          </p:cNvPr>
          <p:cNvSpPr>
            <a:spLocks noGrp="1"/>
          </p:cNvSpPr>
          <p:nvPr>
            <p:ph type="ftr" sz="quarter" idx="15"/>
          </p:nvPr>
        </p:nvSpPr>
        <p:spPr/>
        <p:txBody>
          <a:bodyPr/>
          <a:lstStyle/>
          <a:p>
            <a:endParaRPr lang="en-NL"/>
          </a:p>
        </p:txBody>
      </p:sp>
      <p:sp>
        <p:nvSpPr>
          <p:cNvPr id="8" name="TextBox 7">
            <a:extLst>
              <a:ext uri="{FF2B5EF4-FFF2-40B4-BE49-F238E27FC236}">
                <a16:creationId xmlns:a16="http://schemas.microsoft.com/office/drawing/2014/main" id="{6717F6DA-71F4-F94F-A4FF-3581F301E2A5}"/>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68247458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tatement 3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12191207" y="3402014"/>
            <a:ext cx="9144795" cy="6911976"/>
          </a:xfrm>
          <a:prstGeom prst="rect">
            <a:avLst/>
          </a:prstGeom>
          <a:solidFill>
            <a:schemeClr val="bg1"/>
          </a:solidFill>
        </p:spPr>
        <p:txBody>
          <a:bodyPr vert="horz" lIns="720000" tIns="90000" rIns="180000" bIns="90000" rtlCol="0" anchor="ctr">
            <a:noAutofit/>
          </a:bodyPr>
          <a:lstStyle>
            <a:lvl1pPr>
              <a:defRPr sz="4000" b="0" spc="0" baseline="0"/>
            </a:lvl1pPr>
          </a:lstStyle>
          <a:p>
            <a:r>
              <a:rPr lang="en-GB" noProof="0"/>
              <a:t>Put a long statement or a quote here, keep it regular 40 </a:t>
            </a:r>
            <a:r>
              <a:rPr lang="en-GB" noProof="0" err="1"/>
              <a:t>pt</a:t>
            </a:r>
            <a:endParaRPr lang="en-GB" noProof="0"/>
          </a:p>
        </p:txBody>
      </p:sp>
      <p:sp>
        <p:nvSpPr>
          <p:cNvPr id="4" name="Footer Placeholder 3">
            <a:extLst>
              <a:ext uri="{FF2B5EF4-FFF2-40B4-BE49-F238E27FC236}">
                <a16:creationId xmlns:a16="http://schemas.microsoft.com/office/drawing/2014/main" id="{F08AE3EC-F985-214A-B20E-84BB4377F356}"/>
              </a:ext>
            </a:extLst>
          </p:cNvPr>
          <p:cNvSpPr>
            <a:spLocks noGrp="1"/>
          </p:cNvSpPr>
          <p:nvPr>
            <p:ph type="ftr" sz="quarter" idx="15"/>
          </p:nvPr>
        </p:nvSpPr>
        <p:spPr/>
        <p:txBody>
          <a:bodyPr/>
          <a:lstStyle/>
          <a:p>
            <a:endParaRPr lang="en-NL"/>
          </a:p>
        </p:txBody>
      </p:sp>
      <p:sp>
        <p:nvSpPr>
          <p:cNvPr id="8" name="TextBox 7">
            <a:extLst>
              <a:ext uri="{FF2B5EF4-FFF2-40B4-BE49-F238E27FC236}">
                <a16:creationId xmlns:a16="http://schemas.microsoft.com/office/drawing/2014/main" id="{0FE629E5-989E-6549-877B-8C45333B32D6}"/>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77017089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tatement 1 on double background">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2E196F3F-0661-674B-B21B-282CCEADCBCE}"/>
              </a:ext>
            </a:extLst>
          </p:cNvPr>
          <p:cNvSpPr>
            <a:spLocks noGrp="1"/>
          </p:cNvSpPr>
          <p:nvPr>
            <p:ph type="pic" sz="quarter" idx="16" hasCustomPrompt="1"/>
          </p:nvPr>
        </p:nvSpPr>
        <p:spPr>
          <a:xfrm>
            <a:off x="12190414" y="486000"/>
            <a:ext cx="11700792"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n inspirational picture into this frame. Or fill with one of the Theme Colours</a:t>
            </a:r>
          </a:p>
        </p:txBody>
      </p:sp>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7" y="486000"/>
            <a:ext cx="11700000" cy="12744000"/>
          </a:xfrm>
          <a:solidFill>
            <a:schemeClr val="bg1">
              <a:lumMod val="8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9179812" y="1673226"/>
            <a:ext cx="9132002" cy="8640764"/>
          </a:xfrm>
          <a:prstGeom prst="rect">
            <a:avLst/>
          </a:prstGeom>
          <a:solidFill>
            <a:schemeClr val="bg1"/>
          </a:solidFill>
        </p:spPr>
        <p:txBody>
          <a:bodyPr vert="horz" lIns="720000" tIns="90000" rIns="180000" bIns="90000" rtlCol="0" anchor="ctr">
            <a:noAutofit/>
          </a:bodyPr>
          <a:lstStyle>
            <a:lvl1pPr>
              <a:defRPr sz="4000" b="0" spc="0" baseline="0"/>
            </a:lvl1pPr>
          </a:lstStyle>
          <a:p>
            <a:r>
              <a:rPr lang="en-GB" noProof="0"/>
              <a:t>Put a long statement or a quote here, keep it regular 40 </a:t>
            </a:r>
            <a:r>
              <a:rPr lang="en-GB" noProof="0" err="1"/>
              <a:t>pt</a:t>
            </a:r>
            <a:endParaRPr lang="en-GB" noProof="0"/>
          </a:p>
        </p:txBody>
      </p:sp>
      <p:sp>
        <p:nvSpPr>
          <p:cNvPr id="3" name="Footer Placeholder 2">
            <a:extLst>
              <a:ext uri="{FF2B5EF4-FFF2-40B4-BE49-F238E27FC236}">
                <a16:creationId xmlns:a16="http://schemas.microsoft.com/office/drawing/2014/main" id="{50DDB570-67BE-EB4D-A534-19942E8D0F02}"/>
              </a:ext>
            </a:extLst>
          </p:cNvPr>
          <p:cNvSpPr>
            <a:spLocks noGrp="1"/>
          </p:cNvSpPr>
          <p:nvPr>
            <p:ph type="ftr" sz="quarter" idx="17"/>
          </p:nvPr>
        </p:nvSpPr>
        <p:spPr/>
        <p:txBody>
          <a:bodyPr/>
          <a:lstStyle/>
          <a:p>
            <a:endParaRPr lang="en-NL"/>
          </a:p>
        </p:txBody>
      </p:sp>
      <p:sp>
        <p:nvSpPr>
          <p:cNvPr id="8" name="TextBox 7">
            <a:extLst>
              <a:ext uri="{FF2B5EF4-FFF2-40B4-BE49-F238E27FC236}">
                <a16:creationId xmlns:a16="http://schemas.microsoft.com/office/drawing/2014/main" id="{EEDCEF97-2600-484D-BCF3-2F9C6FC44F07}"/>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417738995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tatement 2 on double background">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31FA6885-927C-7B4C-8BD0-54E7A0823B52}"/>
              </a:ext>
            </a:extLst>
          </p:cNvPr>
          <p:cNvSpPr>
            <a:spLocks noGrp="1"/>
          </p:cNvSpPr>
          <p:nvPr>
            <p:ph type="pic" sz="quarter" idx="16" hasCustomPrompt="1"/>
          </p:nvPr>
        </p:nvSpPr>
        <p:spPr>
          <a:xfrm>
            <a:off x="6049095" y="486000"/>
            <a:ext cx="17842113"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n inspirational picture into this frame. Or fill with one of the Theme Colours</a:t>
            </a:r>
          </a:p>
        </p:txBody>
      </p:sp>
      <p:sp>
        <p:nvSpPr>
          <p:cNvPr id="9" name="Picture Placeholder 10">
            <a:extLst>
              <a:ext uri="{FF2B5EF4-FFF2-40B4-BE49-F238E27FC236}">
                <a16:creationId xmlns:a16="http://schemas.microsoft.com/office/drawing/2014/main" id="{ADB4BA95-E492-D840-88F6-2FE23D26918D}"/>
              </a:ext>
            </a:extLst>
          </p:cNvPr>
          <p:cNvSpPr>
            <a:spLocks noGrp="1"/>
          </p:cNvSpPr>
          <p:nvPr>
            <p:ph type="pic" sz="quarter" idx="14" hasCustomPrompt="1"/>
          </p:nvPr>
        </p:nvSpPr>
        <p:spPr>
          <a:xfrm>
            <a:off x="491206" y="486000"/>
            <a:ext cx="11699207" cy="12744000"/>
          </a:xfrm>
          <a:prstGeom prst="corner">
            <a:avLst>
              <a:gd name="adj1" fmla="val 25065"/>
              <a:gd name="adj2" fmla="val 47348"/>
            </a:avLst>
          </a:prstGeom>
          <a:solidFill>
            <a:schemeClr val="bg1">
              <a:lumMod val="8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7" name="Title Placeholder 6">
            <a:extLst>
              <a:ext uri="{FF2B5EF4-FFF2-40B4-BE49-F238E27FC236}">
                <a16:creationId xmlns:a16="http://schemas.microsoft.com/office/drawing/2014/main" id="{1B090AE2-5953-9248-BD9A-B5FA2155AD8A}"/>
              </a:ext>
            </a:extLst>
          </p:cNvPr>
          <p:cNvSpPr>
            <a:spLocks noGrp="1"/>
          </p:cNvSpPr>
          <p:nvPr>
            <p:ph type="title" hasCustomPrompt="1"/>
          </p:nvPr>
        </p:nvSpPr>
        <p:spPr>
          <a:xfrm>
            <a:off x="6049095" y="3402014"/>
            <a:ext cx="12284224" cy="6911976"/>
          </a:xfrm>
          <a:prstGeom prst="rect">
            <a:avLst/>
          </a:prstGeom>
          <a:solidFill>
            <a:schemeClr val="bg1"/>
          </a:solidFill>
        </p:spPr>
        <p:txBody>
          <a:bodyPr vert="horz" lIns="720000" tIns="90000" rIns="91440" bIns="90000" rtlCol="0" anchor="ctr">
            <a:noAutofit/>
          </a:bodyPr>
          <a:lstStyle>
            <a:lvl1pPr>
              <a:defRPr/>
            </a:lvl1pPr>
          </a:lstStyle>
          <a:p>
            <a:r>
              <a:rPr lang="en-GB" noProof="0"/>
              <a:t>Put a short statement here, keep it bold 80 </a:t>
            </a:r>
            <a:r>
              <a:rPr lang="en-GB" noProof="0" err="1"/>
              <a:t>pt</a:t>
            </a:r>
            <a:endParaRPr lang="en-GB" noProof="0"/>
          </a:p>
        </p:txBody>
      </p:sp>
      <p:sp>
        <p:nvSpPr>
          <p:cNvPr id="3" name="Footer Placeholder 2">
            <a:extLst>
              <a:ext uri="{FF2B5EF4-FFF2-40B4-BE49-F238E27FC236}">
                <a16:creationId xmlns:a16="http://schemas.microsoft.com/office/drawing/2014/main" id="{23AF250D-036E-9947-B629-124D8B6FF87C}"/>
              </a:ext>
            </a:extLst>
          </p:cNvPr>
          <p:cNvSpPr>
            <a:spLocks noGrp="1"/>
          </p:cNvSpPr>
          <p:nvPr>
            <p:ph type="ftr" sz="quarter" idx="17"/>
          </p:nvPr>
        </p:nvSpPr>
        <p:spPr/>
        <p:txBody>
          <a:bodyPr/>
          <a:lstStyle/>
          <a:p>
            <a:endParaRPr lang="en-NL"/>
          </a:p>
        </p:txBody>
      </p:sp>
      <p:sp>
        <p:nvSpPr>
          <p:cNvPr id="8" name="TextBox 7">
            <a:extLst>
              <a:ext uri="{FF2B5EF4-FFF2-40B4-BE49-F238E27FC236}">
                <a16:creationId xmlns:a16="http://schemas.microsoft.com/office/drawing/2014/main" id="{EA23A869-D63F-9145-B2E7-DAF3BC84C059}"/>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9998967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tement 1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6070600" y="3402013"/>
            <a:ext cx="12241213" cy="6911975"/>
          </a:xfrm>
          <a:prstGeom prst="rect">
            <a:avLst/>
          </a:prstGeom>
          <a:solidFill>
            <a:schemeClr val="bg1"/>
          </a:solidFill>
        </p:spPr>
        <p:txBody>
          <a:bodyPr vert="horz" lIns="900000" tIns="360000" rIns="360000" bIns="360000" rtlCol="0" anchor="ctr">
            <a:noAutofit/>
          </a:bodyPr>
          <a:lstStyle>
            <a:lvl1pPr>
              <a:defRPr sz="6000" b="1" spc="0" baseline="0"/>
            </a:lvl1pPr>
          </a:lstStyle>
          <a:p>
            <a:r>
              <a:rPr lang="en-GB" noProof="0"/>
              <a:t>Put a short statement here, keep it regular 60 </a:t>
            </a:r>
            <a:r>
              <a:rPr lang="en-GB" noProof="0" err="1"/>
              <a:t>pt</a:t>
            </a:r>
            <a:endParaRPr lang="en-GB" noProof="0"/>
          </a:p>
        </p:txBody>
      </p:sp>
      <p:sp>
        <p:nvSpPr>
          <p:cNvPr id="4" name="Footer Placeholder 3">
            <a:extLst>
              <a:ext uri="{FF2B5EF4-FFF2-40B4-BE49-F238E27FC236}">
                <a16:creationId xmlns:a16="http://schemas.microsoft.com/office/drawing/2014/main" id="{4D585EBC-728D-F748-BD9C-1622617E10E7}"/>
              </a:ext>
            </a:extLst>
          </p:cNvPr>
          <p:cNvSpPr>
            <a:spLocks noGrp="1"/>
          </p:cNvSpPr>
          <p:nvPr>
            <p:ph type="ftr" sz="quarter" idx="15"/>
          </p:nvPr>
        </p:nvSpPr>
        <p:spPr/>
        <p:txBody>
          <a:bodyPr/>
          <a:lstStyle/>
          <a:p>
            <a:endParaRPr lang="en-NL"/>
          </a:p>
        </p:txBody>
      </p:sp>
    </p:spTree>
    <p:extLst>
      <p:ext uri="{BB962C8B-B14F-4D97-AF65-F5344CB8AC3E}">
        <p14:creationId xmlns:p14="http://schemas.microsoft.com/office/powerpoint/2010/main" val="75644380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 in one column">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3397E6F6-DFC7-C54D-9E7E-CD51822BE714}"/>
              </a:ext>
            </a:extLst>
          </p:cNvPr>
          <p:cNvSpPr>
            <a:spLocks noGrp="1"/>
          </p:cNvSpPr>
          <p:nvPr>
            <p:ph type="body" sz="quarter" idx="18" hasCustomPrompt="1"/>
          </p:nvPr>
        </p:nvSpPr>
        <p:spPr>
          <a:xfrm>
            <a:off x="1674329" y="5129214"/>
            <a:ext cx="10516084" cy="6904512"/>
          </a:xfrm>
        </p:spPr>
        <p:txBody>
          <a:bodyPr>
            <a:noAutofit/>
          </a:bodyPr>
          <a:lstStyle>
            <a:lvl1pPr>
              <a:spcBef>
                <a:spcPts val="2000"/>
              </a:spcBef>
              <a:defRPr sz="3200"/>
            </a:lvl1pPr>
          </a:lstStyle>
          <a:p>
            <a:pPr lvl="0"/>
            <a:r>
              <a:rPr lang="en-GB" noProof="0"/>
              <a:t>Put the paragraph text here, keep it regular 32 </a:t>
            </a:r>
            <a:r>
              <a:rPr lang="en-GB" noProof="0" err="1"/>
              <a:t>pt</a:t>
            </a:r>
            <a:endParaRPr lang="en-GB" noProof="0"/>
          </a:p>
        </p:txBody>
      </p:sp>
      <p:sp>
        <p:nvSpPr>
          <p:cNvPr id="2" name="Title 1">
            <a:extLst>
              <a:ext uri="{FF2B5EF4-FFF2-40B4-BE49-F238E27FC236}">
                <a16:creationId xmlns:a16="http://schemas.microsoft.com/office/drawing/2014/main" id="{531E4EAE-C7D1-764F-A32B-CAEBD1FFE575}"/>
              </a:ext>
            </a:extLst>
          </p:cNvPr>
          <p:cNvSpPr>
            <a:spLocks noGrp="1"/>
          </p:cNvSpPr>
          <p:nvPr>
            <p:ph type="title" hasCustomPrompt="1"/>
          </p:nvPr>
        </p:nvSpPr>
        <p:spPr/>
        <p:txBody>
          <a:bodyPr/>
          <a:lstStyle/>
          <a:p>
            <a:r>
              <a:rPr lang="en-GB"/>
              <a:t>Put the headline here, </a:t>
            </a:r>
            <a:br>
              <a:rPr lang="en-GB"/>
            </a:br>
            <a:r>
              <a:rPr lang="en-GB"/>
              <a:t>keep it bold 80 </a:t>
            </a:r>
            <a:r>
              <a:rPr lang="en-GB" err="1"/>
              <a:t>pt</a:t>
            </a:r>
            <a:endParaRPr lang="en-NL"/>
          </a:p>
        </p:txBody>
      </p:sp>
      <p:sp>
        <p:nvSpPr>
          <p:cNvPr id="7" name="Footer Placeholder 6">
            <a:extLst>
              <a:ext uri="{FF2B5EF4-FFF2-40B4-BE49-F238E27FC236}">
                <a16:creationId xmlns:a16="http://schemas.microsoft.com/office/drawing/2014/main" id="{3E14A44A-1600-B842-B2DE-66DACFA6C861}"/>
              </a:ext>
            </a:extLst>
          </p:cNvPr>
          <p:cNvSpPr>
            <a:spLocks noGrp="1"/>
          </p:cNvSpPr>
          <p:nvPr>
            <p:ph type="ftr" sz="quarter" idx="19"/>
          </p:nvPr>
        </p:nvSpPr>
        <p:spPr/>
        <p:txBody>
          <a:bodyPr/>
          <a:lstStyle/>
          <a:p>
            <a:endParaRPr lang="en-NL"/>
          </a:p>
        </p:txBody>
      </p:sp>
      <p:sp>
        <p:nvSpPr>
          <p:cNvPr id="8" name="TextBox 7">
            <a:extLst>
              <a:ext uri="{FF2B5EF4-FFF2-40B4-BE49-F238E27FC236}">
                <a16:creationId xmlns:a16="http://schemas.microsoft.com/office/drawing/2014/main" id="{CB57B542-06A9-DE4F-969F-191CC73CC3F4}"/>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69928610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 in two column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2A2A612F-B7D0-EE48-9553-5C46B1883978}"/>
              </a:ext>
            </a:extLst>
          </p:cNvPr>
          <p:cNvSpPr>
            <a:spLocks noGrp="1"/>
          </p:cNvSpPr>
          <p:nvPr>
            <p:ph type="body" sz="quarter" idx="18" hasCustomPrompt="1"/>
          </p:nvPr>
        </p:nvSpPr>
        <p:spPr>
          <a:xfrm>
            <a:off x="1674329" y="5129214"/>
            <a:ext cx="10080000" cy="6904512"/>
          </a:xfrm>
        </p:spPr>
        <p:txBody>
          <a:bodyPr>
            <a:noAutofit/>
          </a:bodyPr>
          <a:lstStyle>
            <a:lvl1pPr>
              <a:spcBef>
                <a:spcPts val="2000"/>
              </a:spcBef>
              <a:defRPr sz="3200"/>
            </a:lvl1pPr>
          </a:lstStyle>
          <a:p>
            <a:pPr lvl="0"/>
            <a:r>
              <a:rPr lang="en-GB" noProof="0"/>
              <a:t>Put the first column text here, keep it regular 32 </a:t>
            </a:r>
            <a:r>
              <a:rPr lang="en-GB" noProof="0" err="1"/>
              <a:t>pt</a:t>
            </a:r>
            <a:endParaRPr lang="en-GB" noProof="0"/>
          </a:p>
        </p:txBody>
      </p:sp>
      <p:sp>
        <p:nvSpPr>
          <p:cNvPr id="12" name="Title 1">
            <a:extLst>
              <a:ext uri="{FF2B5EF4-FFF2-40B4-BE49-F238E27FC236}">
                <a16:creationId xmlns:a16="http://schemas.microsoft.com/office/drawing/2014/main" id="{E0055953-7F4C-2747-BE6A-BA18649898F4}"/>
              </a:ext>
            </a:extLst>
          </p:cNvPr>
          <p:cNvSpPr>
            <a:spLocks noGrp="1"/>
          </p:cNvSpPr>
          <p:nvPr>
            <p:ph type="title" hasCustomPrompt="1"/>
          </p:nvPr>
        </p:nvSpPr>
        <p:spPr>
          <a:xfrm>
            <a:off x="1676293" y="1677600"/>
            <a:ext cx="21033007" cy="3011660"/>
          </a:xfrm>
        </p:spPr>
        <p:txBody>
          <a:bodyPr/>
          <a:lstStyle/>
          <a:p>
            <a:r>
              <a:rPr lang="en-GB"/>
              <a:t>Put the headline here,</a:t>
            </a:r>
            <a:br>
              <a:rPr lang="en-GB"/>
            </a:br>
            <a:r>
              <a:rPr lang="en-GB"/>
              <a:t>keep it bold 80 </a:t>
            </a:r>
            <a:r>
              <a:rPr lang="en-GB" err="1"/>
              <a:t>pt</a:t>
            </a:r>
            <a:endParaRPr lang="en-NL"/>
          </a:p>
        </p:txBody>
      </p:sp>
      <p:sp>
        <p:nvSpPr>
          <p:cNvPr id="14" name="Text Placeholder 3">
            <a:extLst>
              <a:ext uri="{FF2B5EF4-FFF2-40B4-BE49-F238E27FC236}">
                <a16:creationId xmlns:a16="http://schemas.microsoft.com/office/drawing/2014/main" id="{5F720E9C-2098-114A-B6BC-477F05727234}"/>
              </a:ext>
            </a:extLst>
          </p:cNvPr>
          <p:cNvSpPr>
            <a:spLocks noGrp="1"/>
          </p:cNvSpPr>
          <p:nvPr>
            <p:ph type="body" sz="quarter" idx="19" hasCustomPrompt="1"/>
          </p:nvPr>
        </p:nvSpPr>
        <p:spPr>
          <a:xfrm>
            <a:off x="12628084" y="5129214"/>
            <a:ext cx="10080000" cy="6904512"/>
          </a:xfrm>
        </p:spPr>
        <p:txBody>
          <a:bodyPr>
            <a:noAutofit/>
          </a:bodyPr>
          <a:lstStyle>
            <a:lvl1pPr>
              <a:spcBef>
                <a:spcPts val="2000"/>
              </a:spcBef>
              <a:defRPr sz="3200"/>
            </a:lvl1pPr>
          </a:lstStyle>
          <a:p>
            <a:pPr lvl="0"/>
            <a:r>
              <a:rPr lang="en-GB" noProof="0"/>
              <a:t>Put the second column text here, keep it regular 32 </a:t>
            </a:r>
            <a:r>
              <a:rPr lang="en-GB" noProof="0" err="1"/>
              <a:t>pt</a:t>
            </a:r>
            <a:endParaRPr lang="en-GB" noProof="0"/>
          </a:p>
        </p:txBody>
      </p:sp>
      <p:sp>
        <p:nvSpPr>
          <p:cNvPr id="4" name="Footer Placeholder 3">
            <a:extLst>
              <a:ext uri="{FF2B5EF4-FFF2-40B4-BE49-F238E27FC236}">
                <a16:creationId xmlns:a16="http://schemas.microsoft.com/office/drawing/2014/main" id="{30B91129-2FC5-334C-9789-17535DAF1987}"/>
              </a:ext>
            </a:extLst>
          </p:cNvPr>
          <p:cNvSpPr>
            <a:spLocks noGrp="1"/>
          </p:cNvSpPr>
          <p:nvPr>
            <p:ph type="ftr" sz="quarter" idx="20"/>
          </p:nvPr>
        </p:nvSpPr>
        <p:spPr/>
        <p:txBody>
          <a:bodyPr/>
          <a:lstStyle/>
          <a:p>
            <a:endParaRPr lang="en-NL"/>
          </a:p>
        </p:txBody>
      </p:sp>
      <p:sp>
        <p:nvSpPr>
          <p:cNvPr id="9" name="TextBox 8">
            <a:extLst>
              <a:ext uri="{FF2B5EF4-FFF2-40B4-BE49-F238E27FC236}">
                <a16:creationId xmlns:a16="http://schemas.microsoft.com/office/drawing/2014/main" id="{1215165C-F26D-3544-AAD2-A26EE1B743AA}"/>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10506857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ext in three columns">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F48D91E-AB60-4041-B4FC-3E50759777E5}"/>
              </a:ext>
            </a:extLst>
          </p:cNvPr>
          <p:cNvSpPr>
            <a:spLocks noGrp="1"/>
          </p:cNvSpPr>
          <p:nvPr>
            <p:ph type="title" hasCustomPrompt="1"/>
          </p:nvPr>
        </p:nvSpPr>
        <p:spPr>
          <a:xfrm>
            <a:off x="1676293" y="1677600"/>
            <a:ext cx="21033007" cy="3011660"/>
          </a:xfrm>
        </p:spPr>
        <p:txBody>
          <a:bodyPr/>
          <a:lstStyle/>
          <a:p>
            <a:r>
              <a:rPr lang="en-GB"/>
              <a:t>Put the headline here,</a:t>
            </a:r>
            <a:br>
              <a:rPr lang="en-GB"/>
            </a:br>
            <a:r>
              <a:rPr lang="en-GB"/>
              <a:t>keep it bold 80 </a:t>
            </a:r>
            <a:r>
              <a:rPr lang="en-GB" err="1"/>
              <a:t>pt</a:t>
            </a:r>
            <a:endParaRPr lang="en-NL"/>
          </a:p>
        </p:txBody>
      </p:sp>
      <p:sp>
        <p:nvSpPr>
          <p:cNvPr id="19" name="Text Placeholder 3">
            <a:extLst>
              <a:ext uri="{FF2B5EF4-FFF2-40B4-BE49-F238E27FC236}">
                <a16:creationId xmlns:a16="http://schemas.microsoft.com/office/drawing/2014/main" id="{292A3CC4-2948-634E-A9F0-D2126C8DA330}"/>
              </a:ext>
            </a:extLst>
          </p:cNvPr>
          <p:cNvSpPr>
            <a:spLocks noGrp="1"/>
          </p:cNvSpPr>
          <p:nvPr>
            <p:ph type="body" sz="quarter" idx="21" hasCustomPrompt="1"/>
          </p:nvPr>
        </p:nvSpPr>
        <p:spPr>
          <a:xfrm>
            <a:off x="9166226" y="5129214"/>
            <a:ext cx="6049964" cy="6904512"/>
          </a:xfrm>
        </p:spPr>
        <p:txBody>
          <a:bodyPr>
            <a:noAutofit/>
          </a:bodyPr>
          <a:lstStyle>
            <a:lvl1pPr marL="342883" indent="-342883">
              <a:spcBef>
                <a:spcPts val="2000"/>
              </a:spcBef>
              <a:buFont typeface="Arial" panose="020B0604020202020204" pitchFamily="34" charset="0"/>
              <a:buChar char="•"/>
              <a:defRPr sz="2400"/>
            </a:lvl1pPr>
          </a:lstStyle>
          <a:p>
            <a:pPr lvl="0"/>
            <a:r>
              <a:rPr lang="en-GB" noProof="0"/>
              <a:t>Put the second column list here, keep it regular 24 </a:t>
            </a:r>
            <a:r>
              <a:rPr lang="en-GB" noProof="0" err="1"/>
              <a:t>pt</a:t>
            </a:r>
            <a:endParaRPr lang="en-GB" noProof="0"/>
          </a:p>
        </p:txBody>
      </p:sp>
      <p:sp>
        <p:nvSpPr>
          <p:cNvPr id="20" name="Text Placeholder 3">
            <a:extLst>
              <a:ext uri="{FF2B5EF4-FFF2-40B4-BE49-F238E27FC236}">
                <a16:creationId xmlns:a16="http://schemas.microsoft.com/office/drawing/2014/main" id="{B772D797-9E99-7B44-81B1-A91F96DFFAD6}"/>
              </a:ext>
            </a:extLst>
          </p:cNvPr>
          <p:cNvSpPr>
            <a:spLocks noGrp="1"/>
          </p:cNvSpPr>
          <p:nvPr>
            <p:ph type="body" sz="quarter" idx="22" hasCustomPrompt="1"/>
          </p:nvPr>
        </p:nvSpPr>
        <p:spPr>
          <a:xfrm>
            <a:off x="1676292" y="5129214"/>
            <a:ext cx="6049964" cy="6904512"/>
          </a:xfrm>
        </p:spPr>
        <p:txBody>
          <a:bodyPr>
            <a:noAutofit/>
          </a:bodyPr>
          <a:lstStyle>
            <a:lvl1pPr marL="342883" indent="-342883">
              <a:spcBef>
                <a:spcPts val="2000"/>
              </a:spcBef>
              <a:buFont typeface="Arial" panose="020B0604020202020204" pitchFamily="34" charset="0"/>
              <a:buChar char="•"/>
              <a:defRPr sz="2400"/>
            </a:lvl1pPr>
          </a:lstStyle>
          <a:p>
            <a:pPr lvl="0"/>
            <a:r>
              <a:rPr lang="en-GB" noProof="0"/>
              <a:t>Put the first column list here, keep it regular 24 </a:t>
            </a:r>
            <a:r>
              <a:rPr lang="en-GB" noProof="0" err="1"/>
              <a:t>pt</a:t>
            </a:r>
            <a:endParaRPr lang="en-GB" noProof="0"/>
          </a:p>
        </p:txBody>
      </p:sp>
      <p:sp>
        <p:nvSpPr>
          <p:cNvPr id="21" name="Text Placeholder 3">
            <a:extLst>
              <a:ext uri="{FF2B5EF4-FFF2-40B4-BE49-F238E27FC236}">
                <a16:creationId xmlns:a16="http://schemas.microsoft.com/office/drawing/2014/main" id="{EA077ACA-637D-0643-8E1E-31E31C902655}"/>
              </a:ext>
            </a:extLst>
          </p:cNvPr>
          <p:cNvSpPr>
            <a:spLocks noGrp="1"/>
          </p:cNvSpPr>
          <p:nvPr>
            <p:ph type="body" sz="quarter" idx="23" hasCustomPrompt="1"/>
          </p:nvPr>
        </p:nvSpPr>
        <p:spPr>
          <a:xfrm>
            <a:off x="16656159" y="5129214"/>
            <a:ext cx="6049964" cy="6904512"/>
          </a:xfrm>
        </p:spPr>
        <p:txBody>
          <a:bodyPr>
            <a:noAutofit/>
          </a:bodyPr>
          <a:lstStyle>
            <a:lvl1pPr marL="342883" indent="-342883">
              <a:spcBef>
                <a:spcPts val="2000"/>
              </a:spcBef>
              <a:buFont typeface="Arial" panose="020B0604020202020204" pitchFamily="34" charset="0"/>
              <a:buChar char="•"/>
              <a:defRPr sz="2400"/>
            </a:lvl1pPr>
          </a:lstStyle>
          <a:p>
            <a:pPr lvl="0"/>
            <a:r>
              <a:rPr lang="en-GB" noProof="0"/>
              <a:t>Put the third column list here, keep it regular 24 </a:t>
            </a:r>
            <a:r>
              <a:rPr lang="en-GB" noProof="0" err="1"/>
              <a:t>pt</a:t>
            </a:r>
            <a:endParaRPr lang="en-GB" noProof="0"/>
          </a:p>
        </p:txBody>
      </p:sp>
      <p:sp>
        <p:nvSpPr>
          <p:cNvPr id="4" name="Footer Placeholder 3">
            <a:extLst>
              <a:ext uri="{FF2B5EF4-FFF2-40B4-BE49-F238E27FC236}">
                <a16:creationId xmlns:a16="http://schemas.microsoft.com/office/drawing/2014/main" id="{9F259679-D8E8-0F42-BB59-3BCBFC65EB1B}"/>
              </a:ext>
            </a:extLst>
          </p:cNvPr>
          <p:cNvSpPr>
            <a:spLocks noGrp="1"/>
          </p:cNvSpPr>
          <p:nvPr>
            <p:ph type="ftr" sz="quarter" idx="24"/>
          </p:nvPr>
        </p:nvSpPr>
        <p:spPr/>
        <p:txBody>
          <a:bodyPr/>
          <a:lstStyle/>
          <a:p>
            <a:endParaRPr lang="en-NL"/>
          </a:p>
        </p:txBody>
      </p:sp>
      <p:sp>
        <p:nvSpPr>
          <p:cNvPr id="10" name="TextBox 9">
            <a:extLst>
              <a:ext uri="{FF2B5EF4-FFF2-40B4-BE49-F238E27FC236}">
                <a16:creationId xmlns:a16="http://schemas.microsoft.com/office/drawing/2014/main" id="{F6C0470B-F20E-A142-917D-853951DA8234}"/>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6603355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Long text in two columns">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63367C8D-9B77-984C-8B9E-6950D34AC3FE}"/>
              </a:ext>
            </a:extLst>
          </p:cNvPr>
          <p:cNvSpPr>
            <a:spLocks noGrp="1"/>
          </p:cNvSpPr>
          <p:nvPr>
            <p:ph type="title" hasCustomPrompt="1"/>
          </p:nvPr>
        </p:nvSpPr>
        <p:spPr>
          <a:xfrm>
            <a:off x="1676293" y="1677600"/>
            <a:ext cx="21033007" cy="2446608"/>
          </a:xfrm>
        </p:spPr>
        <p:txBody>
          <a:bodyPr/>
          <a:lstStyle>
            <a:lvl1pPr>
              <a:defRPr sz="6000" spc="0" baseline="0"/>
            </a:lvl1pPr>
          </a:lstStyle>
          <a:p>
            <a:r>
              <a:rPr lang="en-GB"/>
              <a:t>Put the headline here, </a:t>
            </a:r>
            <a:br>
              <a:rPr lang="en-GB"/>
            </a:br>
            <a:r>
              <a:rPr lang="en-GB"/>
              <a:t>keep it bold 60 </a:t>
            </a:r>
            <a:r>
              <a:rPr lang="en-GB" err="1"/>
              <a:t>pt</a:t>
            </a:r>
            <a:endParaRPr lang="en-NL"/>
          </a:p>
        </p:txBody>
      </p:sp>
      <p:sp>
        <p:nvSpPr>
          <p:cNvPr id="10" name="Text Placeholder 3">
            <a:extLst>
              <a:ext uri="{FF2B5EF4-FFF2-40B4-BE49-F238E27FC236}">
                <a16:creationId xmlns:a16="http://schemas.microsoft.com/office/drawing/2014/main" id="{939100DF-247B-744C-82E5-5A131B43B255}"/>
              </a:ext>
            </a:extLst>
          </p:cNvPr>
          <p:cNvSpPr>
            <a:spLocks noGrp="1"/>
          </p:cNvSpPr>
          <p:nvPr>
            <p:ph type="body" sz="quarter" idx="18" hasCustomPrompt="1"/>
          </p:nvPr>
        </p:nvSpPr>
        <p:spPr>
          <a:xfrm>
            <a:off x="1674329" y="4124209"/>
            <a:ext cx="10080000" cy="7909518"/>
          </a:xfrm>
        </p:spPr>
        <p:txBody>
          <a:bodyPr>
            <a:noAutofit/>
          </a:bodyPr>
          <a:lstStyle>
            <a:lvl1pPr>
              <a:spcBef>
                <a:spcPts val="2000"/>
              </a:spcBef>
              <a:defRPr sz="2400"/>
            </a:lvl1pPr>
          </a:lstStyle>
          <a:p>
            <a:pPr lvl="0"/>
            <a:r>
              <a:rPr lang="en-GB" noProof="0"/>
              <a:t>Put the first column text here, keep it regular 24 </a:t>
            </a:r>
            <a:r>
              <a:rPr lang="en-GB" noProof="0" err="1"/>
              <a:t>pt</a:t>
            </a:r>
            <a:endParaRPr lang="en-GB" noProof="0"/>
          </a:p>
        </p:txBody>
      </p:sp>
      <p:sp>
        <p:nvSpPr>
          <p:cNvPr id="11" name="Text Placeholder 3">
            <a:extLst>
              <a:ext uri="{FF2B5EF4-FFF2-40B4-BE49-F238E27FC236}">
                <a16:creationId xmlns:a16="http://schemas.microsoft.com/office/drawing/2014/main" id="{9CCF0755-F145-EA44-8033-C854ED47EF7D}"/>
              </a:ext>
            </a:extLst>
          </p:cNvPr>
          <p:cNvSpPr>
            <a:spLocks noGrp="1"/>
          </p:cNvSpPr>
          <p:nvPr>
            <p:ph type="body" sz="quarter" idx="20" hasCustomPrompt="1"/>
          </p:nvPr>
        </p:nvSpPr>
        <p:spPr>
          <a:xfrm>
            <a:off x="12628084" y="4124209"/>
            <a:ext cx="10080000" cy="7909518"/>
          </a:xfrm>
        </p:spPr>
        <p:txBody>
          <a:bodyPr>
            <a:noAutofit/>
          </a:bodyPr>
          <a:lstStyle>
            <a:lvl1pPr>
              <a:spcBef>
                <a:spcPts val="2000"/>
              </a:spcBef>
              <a:defRPr sz="2400"/>
            </a:lvl1pPr>
          </a:lstStyle>
          <a:p>
            <a:pPr lvl="0"/>
            <a:r>
              <a:rPr lang="en-GB" noProof="0"/>
              <a:t>Put the second column text here, keep it regular 24 </a:t>
            </a:r>
            <a:r>
              <a:rPr lang="en-GB" noProof="0" err="1"/>
              <a:t>pt</a:t>
            </a:r>
            <a:endParaRPr lang="en-GB" noProof="0"/>
          </a:p>
        </p:txBody>
      </p:sp>
      <p:sp>
        <p:nvSpPr>
          <p:cNvPr id="4" name="Footer Placeholder 3">
            <a:extLst>
              <a:ext uri="{FF2B5EF4-FFF2-40B4-BE49-F238E27FC236}">
                <a16:creationId xmlns:a16="http://schemas.microsoft.com/office/drawing/2014/main" id="{513A86D6-E57E-5649-8AF5-453D2B2B151A}"/>
              </a:ext>
            </a:extLst>
          </p:cNvPr>
          <p:cNvSpPr>
            <a:spLocks noGrp="1"/>
          </p:cNvSpPr>
          <p:nvPr>
            <p:ph type="ftr" sz="quarter" idx="21"/>
          </p:nvPr>
        </p:nvSpPr>
        <p:spPr/>
        <p:txBody>
          <a:bodyPr/>
          <a:lstStyle/>
          <a:p>
            <a:endParaRPr lang="en-NL"/>
          </a:p>
        </p:txBody>
      </p:sp>
      <p:sp>
        <p:nvSpPr>
          <p:cNvPr id="13" name="TextBox 12">
            <a:extLst>
              <a:ext uri="{FF2B5EF4-FFF2-40B4-BE49-F238E27FC236}">
                <a16:creationId xmlns:a16="http://schemas.microsoft.com/office/drawing/2014/main" id="{F69A19F4-DC87-0B48-B9A2-A753D080F470}"/>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82525689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ong text in two columns and picture">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EED5078-C5D9-0E4F-B9E3-7CF7BBC8C373}"/>
              </a:ext>
            </a:extLst>
          </p:cNvPr>
          <p:cNvSpPr>
            <a:spLocks noGrp="1"/>
          </p:cNvSpPr>
          <p:nvPr>
            <p:ph type="pic" sz="quarter" idx="15" hasCustomPrompt="1"/>
          </p:nvPr>
        </p:nvSpPr>
        <p:spPr>
          <a:xfrm>
            <a:off x="491102" y="486000"/>
            <a:ext cx="10763999"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2" name="Text Placeholder 3">
            <a:extLst>
              <a:ext uri="{FF2B5EF4-FFF2-40B4-BE49-F238E27FC236}">
                <a16:creationId xmlns:a16="http://schemas.microsoft.com/office/drawing/2014/main" id="{AE87E5A1-8A67-0448-BA9A-DA74F50AE099}"/>
              </a:ext>
            </a:extLst>
          </p:cNvPr>
          <p:cNvSpPr>
            <a:spLocks noGrp="1"/>
          </p:cNvSpPr>
          <p:nvPr>
            <p:ph type="body" sz="quarter" idx="18" hasCustomPrompt="1"/>
          </p:nvPr>
        </p:nvSpPr>
        <p:spPr>
          <a:xfrm>
            <a:off x="12191206" y="5129214"/>
            <a:ext cx="5040560" cy="6904512"/>
          </a:xfrm>
        </p:spPr>
        <p:txBody>
          <a:bodyPr>
            <a:noAutofit/>
          </a:bodyPr>
          <a:lstStyle>
            <a:lvl1pPr>
              <a:spcBef>
                <a:spcPts val="2000"/>
              </a:spcBef>
              <a:defRPr sz="2400"/>
            </a:lvl1pPr>
          </a:lstStyle>
          <a:p>
            <a:pPr lvl="0"/>
            <a:r>
              <a:rPr lang="en-GB" noProof="0"/>
              <a:t>Put the first column text here, keep it regular 24 </a:t>
            </a:r>
            <a:r>
              <a:rPr lang="en-GB" noProof="0" err="1"/>
              <a:t>pt</a:t>
            </a:r>
            <a:endParaRPr lang="en-GB" noProof="0"/>
          </a:p>
        </p:txBody>
      </p:sp>
      <p:sp>
        <p:nvSpPr>
          <p:cNvPr id="13" name="Title 1">
            <a:extLst>
              <a:ext uri="{FF2B5EF4-FFF2-40B4-BE49-F238E27FC236}">
                <a16:creationId xmlns:a16="http://schemas.microsoft.com/office/drawing/2014/main" id="{0614539B-EA7E-5F48-845E-1115C11137DF}"/>
              </a:ext>
            </a:extLst>
          </p:cNvPr>
          <p:cNvSpPr>
            <a:spLocks noGrp="1"/>
          </p:cNvSpPr>
          <p:nvPr>
            <p:ph type="title" hasCustomPrompt="1"/>
          </p:nvPr>
        </p:nvSpPr>
        <p:spPr>
          <a:xfrm>
            <a:off x="12193171" y="1677600"/>
            <a:ext cx="10514914" cy="3011660"/>
          </a:xfrm>
        </p:spPr>
        <p:txBody>
          <a:bodyPr/>
          <a:lstStyle>
            <a:lvl1pPr>
              <a:defRPr sz="6000" spc="0" baseline="0"/>
            </a:lvl1pPr>
          </a:lstStyle>
          <a:p>
            <a:r>
              <a:rPr lang="en-GB"/>
              <a:t>Put the headline here, keep it 60 </a:t>
            </a:r>
            <a:r>
              <a:rPr lang="en-GB" err="1"/>
              <a:t>pt</a:t>
            </a:r>
            <a:endParaRPr lang="en-NL"/>
          </a:p>
        </p:txBody>
      </p:sp>
      <p:sp>
        <p:nvSpPr>
          <p:cNvPr id="7" name="Text Placeholder 3">
            <a:extLst>
              <a:ext uri="{FF2B5EF4-FFF2-40B4-BE49-F238E27FC236}">
                <a16:creationId xmlns:a16="http://schemas.microsoft.com/office/drawing/2014/main" id="{B26CACA4-13A0-5940-A8FA-3FC8769DA450}"/>
              </a:ext>
            </a:extLst>
          </p:cNvPr>
          <p:cNvSpPr>
            <a:spLocks noGrp="1"/>
          </p:cNvSpPr>
          <p:nvPr>
            <p:ph type="body" sz="quarter" idx="20" hasCustomPrompt="1"/>
          </p:nvPr>
        </p:nvSpPr>
        <p:spPr>
          <a:xfrm>
            <a:off x="17653543" y="5164142"/>
            <a:ext cx="5040560" cy="6904512"/>
          </a:xfrm>
        </p:spPr>
        <p:txBody>
          <a:bodyPr>
            <a:noAutofit/>
          </a:bodyPr>
          <a:lstStyle>
            <a:lvl1pPr>
              <a:spcBef>
                <a:spcPts val="2000"/>
              </a:spcBef>
              <a:defRPr sz="2400"/>
            </a:lvl1pPr>
          </a:lstStyle>
          <a:p>
            <a:pPr lvl="0"/>
            <a:r>
              <a:rPr lang="en-GB" noProof="0"/>
              <a:t>Put the second column text here, keep it regular 24 </a:t>
            </a:r>
            <a:r>
              <a:rPr lang="en-GB" noProof="0" err="1"/>
              <a:t>pt</a:t>
            </a:r>
            <a:endParaRPr lang="en-GB" noProof="0"/>
          </a:p>
        </p:txBody>
      </p:sp>
      <p:sp>
        <p:nvSpPr>
          <p:cNvPr id="4" name="Footer Placeholder 3">
            <a:extLst>
              <a:ext uri="{FF2B5EF4-FFF2-40B4-BE49-F238E27FC236}">
                <a16:creationId xmlns:a16="http://schemas.microsoft.com/office/drawing/2014/main" id="{236B4C3F-2345-FD42-B780-BD49D67130E9}"/>
              </a:ext>
            </a:extLst>
          </p:cNvPr>
          <p:cNvSpPr>
            <a:spLocks noGrp="1"/>
          </p:cNvSpPr>
          <p:nvPr>
            <p:ph type="ftr" sz="quarter" idx="21"/>
          </p:nvPr>
        </p:nvSpPr>
        <p:spPr/>
        <p:txBody>
          <a:bodyPr/>
          <a:lstStyle/>
          <a:p>
            <a:endParaRPr lang="en-NL"/>
          </a:p>
        </p:txBody>
      </p:sp>
      <p:sp>
        <p:nvSpPr>
          <p:cNvPr id="11" name="TextBox 10">
            <a:extLst>
              <a:ext uri="{FF2B5EF4-FFF2-40B4-BE49-F238E27FC236}">
                <a16:creationId xmlns:a16="http://schemas.microsoft.com/office/drawing/2014/main" id="{2C18B1BF-0727-F84E-B2A7-098862261928}"/>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48163275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Long text in three columns and picture">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EED5078-C5D9-0E4F-B9E3-7CF7BBC8C373}"/>
              </a:ext>
            </a:extLst>
          </p:cNvPr>
          <p:cNvSpPr>
            <a:spLocks noGrp="1"/>
          </p:cNvSpPr>
          <p:nvPr>
            <p:ph type="pic" sz="quarter" idx="15" hasCustomPrompt="1"/>
          </p:nvPr>
        </p:nvSpPr>
        <p:spPr>
          <a:xfrm>
            <a:off x="491103" y="486000"/>
            <a:ext cx="5579499"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2" name="Text Placeholder 3">
            <a:extLst>
              <a:ext uri="{FF2B5EF4-FFF2-40B4-BE49-F238E27FC236}">
                <a16:creationId xmlns:a16="http://schemas.microsoft.com/office/drawing/2014/main" id="{AE87E5A1-8A67-0448-BA9A-DA74F50AE099}"/>
              </a:ext>
            </a:extLst>
          </p:cNvPr>
          <p:cNvSpPr>
            <a:spLocks noGrp="1"/>
          </p:cNvSpPr>
          <p:nvPr>
            <p:ph type="body" sz="quarter" idx="18" hasCustomPrompt="1"/>
          </p:nvPr>
        </p:nvSpPr>
        <p:spPr>
          <a:xfrm>
            <a:off x="12191206" y="5129214"/>
            <a:ext cx="5040560" cy="6904512"/>
          </a:xfrm>
        </p:spPr>
        <p:txBody>
          <a:bodyPr>
            <a:noAutofit/>
          </a:bodyPr>
          <a:lstStyle>
            <a:lvl1pPr>
              <a:spcBef>
                <a:spcPts val="2000"/>
              </a:spcBef>
              <a:defRPr sz="1600"/>
            </a:lvl1pPr>
          </a:lstStyle>
          <a:p>
            <a:pPr lvl="0"/>
            <a:r>
              <a:rPr lang="en-GB" noProof="0"/>
              <a:t>Put the body text here, keep it regular 16 </a:t>
            </a:r>
            <a:r>
              <a:rPr lang="en-GB" noProof="0" err="1"/>
              <a:t>pt</a:t>
            </a:r>
            <a:endParaRPr lang="en-GB" noProof="0"/>
          </a:p>
        </p:txBody>
      </p:sp>
      <p:sp>
        <p:nvSpPr>
          <p:cNvPr id="13" name="Title 1">
            <a:extLst>
              <a:ext uri="{FF2B5EF4-FFF2-40B4-BE49-F238E27FC236}">
                <a16:creationId xmlns:a16="http://schemas.microsoft.com/office/drawing/2014/main" id="{0614539B-EA7E-5F48-845E-1115C11137DF}"/>
              </a:ext>
            </a:extLst>
          </p:cNvPr>
          <p:cNvSpPr>
            <a:spLocks noGrp="1"/>
          </p:cNvSpPr>
          <p:nvPr>
            <p:ph type="title" hasCustomPrompt="1"/>
          </p:nvPr>
        </p:nvSpPr>
        <p:spPr>
          <a:xfrm>
            <a:off x="6728871" y="1677600"/>
            <a:ext cx="15979214" cy="3011660"/>
          </a:xfrm>
        </p:spPr>
        <p:txBody>
          <a:bodyPr/>
          <a:lstStyle>
            <a:lvl1pPr>
              <a:defRPr sz="6000" spc="0" baseline="0"/>
            </a:lvl1pPr>
          </a:lstStyle>
          <a:p>
            <a:r>
              <a:rPr lang="en-GB"/>
              <a:t>Put the headline here, </a:t>
            </a:r>
            <a:br>
              <a:rPr lang="en-GB"/>
            </a:br>
            <a:r>
              <a:rPr lang="en-GB"/>
              <a:t>keep it 60 </a:t>
            </a:r>
            <a:r>
              <a:rPr lang="en-GB" err="1"/>
              <a:t>pt</a:t>
            </a:r>
            <a:endParaRPr lang="en-NL"/>
          </a:p>
        </p:txBody>
      </p:sp>
      <p:sp>
        <p:nvSpPr>
          <p:cNvPr id="7" name="Text Placeholder 3">
            <a:extLst>
              <a:ext uri="{FF2B5EF4-FFF2-40B4-BE49-F238E27FC236}">
                <a16:creationId xmlns:a16="http://schemas.microsoft.com/office/drawing/2014/main" id="{B26CACA4-13A0-5940-A8FA-3FC8769DA450}"/>
              </a:ext>
            </a:extLst>
          </p:cNvPr>
          <p:cNvSpPr>
            <a:spLocks noGrp="1"/>
          </p:cNvSpPr>
          <p:nvPr>
            <p:ph type="body" sz="quarter" idx="20" hasCustomPrompt="1"/>
          </p:nvPr>
        </p:nvSpPr>
        <p:spPr>
          <a:xfrm>
            <a:off x="17653543" y="5164142"/>
            <a:ext cx="5040560" cy="6904512"/>
          </a:xfrm>
        </p:spPr>
        <p:txBody>
          <a:bodyPr>
            <a:noAutofit/>
          </a:bodyPr>
          <a:lstStyle>
            <a:lvl1pPr>
              <a:spcBef>
                <a:spcPts val="2000"/>
              </a:spcBef>
              <a:defRPr sz="1600"/>
            </a:lvl1pPr>
          </a:lstStyle>
          <a:p>
            <a:pPr lvl="0"/>
            <a:r>
              <a:rPr lang="en-GB" noProof="0"/>
              <a:t>Put the body text here, keep it regular 16 </a:t>
            </a:r>
            <a:r>
              <a:rPr lang="en-GB" noProof="0" err="1"/>
              <a:t>pt</a:t>
            </a:r>
            <a:endParaRPr lang="en-GB" noProof="0"/>
          </a:p>
        </p:txBody>
      </p:sp>
      <p:sp>
        <p:nvSpPr>
          <p:cNvPr id="8" name="Text Placeholder 3">
            <a:extLst>
              <a:ext uri="{FF2B5EF4-FFF2-40B4-BE49-F238E27FC236}">
                <a16:creationId xmlns:a16="http://schemas.microsoft.com/office/drawing/2014/main" id="{0C7CE63B-C4F3-714B-8275-BBB3C3035E61}"/>
              </a:ext>
            </a:extLst>
          </p:cNvPr>
          <p:cNvSpPr>
            <a:spLocks noGrp="1"/>
          </p:cNvSpPr>
          <p:nvPr>
            <p:ph type="body" sz="quarter" idx="21" hasCustomPrompt="1"/>
          </p:nvPr>
        </p:nvSpPr>
        <p:spPr>
          <a:xfrm>
            <a:off x="6728870" y="5129214"/>
            <a:ext cx="5040560" cy="6904512"/>
          </a:xfrm>
        </p:spPr>
        <p:txBody>
          <a:bodyPr>
            <a:noAutofit/>
          </a:bodyPr>
          <a:lstStyle>
            <a:lvl1pPr>
              <a:spcBef>
                <a:spcPts val="2000"/>
              </a:spcBef>
              <a:defRPr sz="1600"/>
            </a:lvl1pPr>
          </a:lstStyle>
          <a:p>
            <a:pPr lvl="0"/>
            <a:r>
              <a:rPr lang="en-GB" noProof="0"/>
              <a:t>Put the body text here, keep it regular 16 </a:t>
            </a:r>
            <a:r>
              <a:rPr lang="en-GB" noProof="0" err="1"/>
              <a:t>pt</a:t>
            </a:r>
            <a:endParaRPr lang="en-GB" noProof="0"/>
          </a:p>
        </p:txBody>
      </p:sp>
      <p:sp>
        <p:nvSpPr>
          <p:cNvPr id="4" name="Footer Placeholder 3">
            <a:extLst>
              <a:ext uri="{FF2B5EF4-FFF2-40B4-BE49-F238E27FC236}">
                <a16:creationId xmlns:a16="http://schemas.microsoft.com/office/drawing/2014/main" id="{4194F0DB-380C-DF44-86E3-D79D56DFF85C}"/>
              </a:ext>
            </a:extLst>
          </p:cNvPr>
          <p:cNvSpPr>
            <a:spLocks noGrp="1"/>
          </p:cNvSpPr>
          <p:nvPr>
            <p:ph type="ftr" sz="quarter" idx="22"/>
          </p:nvPr>
        </p:nvSpPr>
        <p:spPr/>
        <p:txBody>
          <a:bodyPr/>
          <a:lstStyle/>
          <a:p>
            <a:endParaRPr lang="en-NL"/>
          </a:p>
        </p:txBody>
      </p:sp>
      <p:sp>
        <p:nvSpPr>
          <p:cNvPr id="11" name="TextBox 10">
            <a:extLst>
              <a:ext uri="{FF2B5EF4-FFF2-40B4-BE49-F238E27FC236}">
                <a16:creationId xmlns:a16="http://schemas.microsoft.com/office/drawing/2014/main" id="{8382B125-311F-9F4E-88E7-2B54BB6A3B94}"/>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64843299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ong text in one column and picture">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6790607" y="486000"/>
            <a:ext cx="17100705"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1674330" y="5129214"/>
            <a:ext cx="4394308" cy="6904512"/>
          </a:xfrm>
        </p:spPr>
        <p:txBody>
          <a:bodyPr>
            <a:noAutofit/>
          </a:bodyPr>
          <a:lstStyle>
            <a:lvl1pPr>
              <a:spcBef>
                <a:spcPts val="2000"/>
              </a:spcBef>
              <a:defRPr sz="2400"/>
            </a:lvl1pPr>
          </a:lstStyle>
          <a:p>
            <a:pPr lvl="0"/>
            <a:r>
              <a:rPr lang="en-GB" noProof="0"/>
              <a:t>Put the paragraph text here, keep it regular 24 </a:t>
            </a:r>
            <a:r>
              <a:rPr lang="en-GB" noProof="0" err="1"/>
              <a:t>pt</a:t>
            </a:r>
            <a:endParaRPr lang="en-GB" noProof="0"/>
          </a:p>
        </p:txBody>
      </p:sp>
      <p:sp>
        <p:nvSpPr>
          <p:cNvPr id="2" name="Title 1">
            <a:extLst>
              <a:ext uri="{FF2B5EF4-FFF2-40B4-BE49-F238E27FC236}">
                <a16:creationId xmlns:a16="http://schemas.microsoft.com/office/drawing/2014/main" id="{44A2E15B-0973-F742-A266-E1107E35FE40}"/>
              </a:ext>
            </a:extLst>
          </p:cNvPr>
          <p:cNvSpPr>
            <a:spLocks noGrp="1"/>
          </p:cNvSpPr>
          <p:nvPr>
            <p:ph type="title" hasCustomPrompt="1"/>
          </p:nvPr>
        </p:nvSpPr>
        <p:spPr>
          <a:xfrm>
            <a:off x="1676294" y="1677600"/>
            <a:ext cx="4394308" cy="3011660"/>
          </a:xfrm>
        </p:spPr>
        <p:txBody>
          <a:bodyPr/>
          <a:lstStyle>
            <a:lvl1pPr>
              <a:defRPr sz="4000" spc="0" baseline="0"/>
            </a:lvl1pPr>
          </a:lstStyle>
          <a:p>
            <a:r>
              <a:rPr lang="en-GB"/>
              <a:t>Put the headline here, keep it bold 40 </a:t>
            </a:r>
            <a:r>
              <a:rPr lang="en-GB" err="1"/>
              <a:t>pt</a:t>
            </a:r>
            <a:endParaRPr lang="en-NL"/>
          </a:p>
        </p:txBody>
      </p:sp>
      <p:sp>
        <p:nvSpPr>
          <p:cNvPr id="7" name="Footer Placeholder 6">
            <a:extLst>
              <a:ext uri="{FF2B5EF4-FFF2-40B4-BE49-F238E27FC236}">
                <a16:creationId xmlns:a16="http://schemas.microsoft.com/office/drawing/2014/main" id="{BDFCBB05-AE3F-8B46-8B28-FBA47A7B8DF9}"/>
              </a:ext>
            </a:extLst>
          </p:cNvPr>
          <p:cNvSpPr>
            <a:spLocks noGrp="1"/>
          </p:cNvSpPr>
          <p:nvPr>
            <p:ph type="ftr" sz="quarter" idx="19"/>
          </p:nvPr>
        </p:nvSpPr>
        <p:spPr/>
        <p:txBody>
          <a:bodyPr/>
          <a:lstStyle/>
          <a:p>
            <a:endParaRPr lang="en-NL"/>
          </a:p>
        </p:txBody>
      </p:sp>
      <p:sp>
        <p:nvSpPr>
          <p:cNvPr id="10" name="TextBox 9">
            <a:extLst>
              <a:ext uri="{FF2B5EF4-FFF2-40B4-BE49-F238E27FC236}">
                <a16:creationId xmlns:a16="http://schemas.microsoft.com/office/drawing/2014/main" id="{1A281C68-F05E-474E-B89A-873F6871F7AE}"/>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91239476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rocess">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0D2B4B01-8F71-1C43-804A-AE91ACAAB690}"/>
              </a:ext>
            </a:extLst>
          </p:cNvPr>
          <p:cNvSpPr>
            <a:spLocks noGrp="1"/>
          </p:cNvSpPr>
          <p:nvPr>
            <p:ph type="body" sz="quarter" idx="12" hasCustomPrompt="1"/>
          </p:nvPr>
        </p:nvSpPr>
        <p:spPr>
          <a:xfrm>
            <a:off x="3046414" y="7723207"/>
            <a:ext cx="3024187" cy="1727166"/>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3" name="Title 2">
            <a:extLst>
              <a:ext uri="{FF2B5EF4-FFF2-40B4-BE49-F238E27FC236}">
                <a16:creationId xmlns:a16="http://schemas.microsoft.com/office/drawing/2014/main" id="{6E79ED74-1833-CD4B-828E-58428E0E2A1D}"/>
              </a:ext>
            </a:extLst>
          </p:cNvPr>
          <p:cNvSpPr>
            <a:spLocks noGrp="1"/>
          </p:cNvSpPr>
          <p:nvPr>
            <p:ph type="title" hasCustomPrompt="1"/>
          </p:nvPr>
        </p:nvSpPr>
        <p:spPr>
          <a:xfrm>
            <a:off x="1676293" y="1677603"/>
            <a:ext cx="21033007" cy="1722906"/>
          </a:xfrm>
        </p:spPr>
        <p:txBody>
          <a:bodyPr/>
          <a:lstStyle/>
          <a:p>
            <a:r>
              <a:rPr lang="en-GB"/>
              <a:t>Process</a:t>
            </a:r>
            <a:endParaRPr lang="en-NL"/>
          </a:p>
        </p:txBody>
      </p:sp>
      <p:cxnSp>
        <p:nvCxnSpPr>
          <p:cNvPr id="5" name="Straight Arrow Connector 4">
            <a:extLst>
              <a:ext uri="{FF2B5EF4-FFF2-40B4-BE49-F238E27FC236}">
                <a16:creationId xmlns:a16="http://schemas.microsoft.com/office/drawing/2014/main" id="{0798A829-D289-394A-914F-EDD8D97B2357}"/>
              </a:ext>
            </a:extLst>
          </p:cNvPr>
          <p:cNvCxnSpPr>
            <a:cxnSpLocks/>
          </p:cNvCxnSpPr>
          <p:nvPr userDrawn="1"/>
        </p:nvCxnSpPr>
        <p:spPr>
          <a:xfrm>
            <a:off x="1674704" y="6858000"/>
            <a:ext cx="21033009" cy="0"/>
          </a:xfrm>
          <a:prstGeom prst="straightConnector1">
            <a:avLst/>
          </a:prstGeom>
          <a:ln w="190500">
            <a:solidFill>
              <a:schemeClr val="bg2"/>
            </a:solidFill>
            <a:tailEnd type="none" w="med" len="sm"/>
          </a:ln>
        </p:spPr>
        <p:style>
          <a:lnRef idx="1">
            <a:schemeClr val="accent1"/>
          </a:lnRef>
          <a:fillRef idx="0">
            <a:schemeClr val="accent1"/>
          </a:fillRef>
          <a:effectRef idx="0">
            <a:schemeClr val="accent1"/>
          </a:effectRef>
          <a:fontRef idx="minor">
            <a:schemeClr val="tx1"/>
          </a:fontRef>
        </p:style>
      </p:cxnSp>
      <p:sp>
        <p:nvSpPr>
          <p:cNvPr id="37" name="L-shape 36">
            <a:extLst>
              <a:ext uri="{FF2B5EF4-FFF2-40B4-BE49-F238E27FC236}">
                <a16:creationId xmlns:a16="http://schemas.microsoft.com/office/drawing/2014/main" id="{A3A516EF-4158-0845-AB22-B4F71119802B}"/>
              </a:ext>
            </a:extLst>
          </p:cNvPr>
          <p:cNvSpPr/>
          <p:nvPr userDrawn="1"/>
        </p:nvSpPr>
        <p:spPr>
          <a:xfrm rot="13500000">
            <a:off x="21934797" y="6498003"/>
            <a:ext cx="720000" cy="719999"/>
          </a:xfrm>
          <a:prstGeom prst="corner">
            <a:avLst>
              <a:gd name="adj1" fmla="val 26540"/>
              <a:gd name="adj2" fmla="val 2661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algn="ctr"/>
            <a:endParaRPr lang="en-NL" sz="1800"/>
          </a:p>
        </p:txBody>
      </p:sp>
      <p:sp>
        <p:nvSpPr>
          <p:cNvPr id="38" name="Text Placeholder 5">
            <a:extLst>
              <a:ext uri="{FF2B5EF4-FFF2-40B4-BE49-F238E27FC236}">
                <a16:creationId xmlns:a16="http://schemas.microsoft.com/office/drawing/2014/main" id="{DDC37633-16B3-3744-A593-529313A8F214}"/>
              </a:ext>
            </a:extLst>
          </p:cNvPr>
          <p:cNvSpPr>
            <a:spLocks noGrp="1"/>
          </p:cNvSpPr>
          <p:nvPr>
            <p:ph type="body" sz="quarter" idx="21" hasCustomPrompt="1"/>
          </p:nvPr>
        </p:nvSpPr>
        <p:spPr>
          <a:xfrm>
            <a:off x="6142038" y="4265713"/>
            <a:ext cx="3024187" cy="1727166"/>
          </a:xfrm>
        </p:spPr>
        <p:txBody>
          <a:bodyPr anchor="b">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39" name="Text Placeholder 5">
            <a:extLst>
              <a:ext uri="{FF2B5EF4-FFF2-40B4-BE49-F238E27FC236}">
                <a16:creationId xmlns:a16="http://schemas.microsoft.com/office/drawing/2014/main" id="{4B3F39C9-E76C-2D44-9D1B-E9B07074F77E}"/>
              </a:ext>
            </a:extLst>
          </p:cNvPr>
          <p:cNvSpPr>
            <a:spLocks noGrp="1"/>
          </p:cNvSpPr>
          <p:nvPr>
            <p:ph type="body" sz="quarter" idx="22" hasCustomPrompt="1"/>
          </p:nvPr>
        </p:nvSpPr>
        <p:spPr>
          <a:xfrm>
            <a:off x="9167019" y="7723207"/>
            <a:ext cx="3024187" cy="1727166"/>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0" name="Text Placeholder 5">
            <a:extLst>
              <a:ext uri="{FF2B5EF4-FFF2-40B4-BE49-F238E27FC236}">
                <a16:creationId xmlns:a16="http://schemas.microsoft.com/office/drawing/2014/main" id="{8814CF3B-C6B0-0648-A9C1-CE26FF4CB2D8}"/>
              </a:ext>
            </a:extLst>
          </p:cNvPr>
          <p:cNvSpPr>
            <a:spLocks noGrp="1"/>
          </p:cNvSpPr>
          <p:nvPr>
            <p:ph type="body" sz="quarter" idx="23" hasCustomPrompt="1"/>
          </p:nvPr>
        </p:nvSpPr>
        <p:spPr>
          <a:xfrm>
            <a:off x="12190413" y="4265713"/>
            <a:ext cx="3024187" cy="1727166"/>
          </a:xfrm>
        </p:spPr>
        <p:txBody>
          <a:bodyPr anchor="b">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1" name="Text Placeholder 5">
            <a:extLst>
              <a:ext uri="{FF2B5EF4-FFF2-40B4-BE49-F238E27FC236}">
                <a16:creationId xmlns:a16="http://schemas.microsoft.com/office/drawing/2014/main" id="{3356431A-93FA-3546-85F8-B31F1C9169B6}"/>
              </a:ext>
            </a:extLst>
          </p:cNvPr>
          <p:cNvSpPr>
            <a:spLocks noGrp="1"/>
          </p:cNvSpPr>
          <p:nvPr>
            <p:ph type="body" sz="quarter" idx="24" hasCustomPrompt="1"/>
          </p:nvPr>
        </p:nvSpPr>
        <p:spPr>
          <a:xfrm>
            <a:off x="15287627" y="7723207"/>
            <a:ext cx="3024187" cy="1727166"/>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2" name="Text Placeholder 5">
            <a:extLst>
              <a:ext uri="{FF2B5EF4-FFF2-40B4-BE49-F238E27FC236}">
                <a16:creationId xmlns:a16="http://schemas.microsoft.com/office/drawing/2014/main" id="{5CD9E15C-1210-D245-AE40-F67BE5C74056}"/>
              </a:ext>
            </a:extLst>
          </p:cNvPr>
          <p:cNvSpPr>
            <a:spLocks noGrp="1"/>
          </p:cNvSpPr>
          <p:nvPr>
            <p:ph type="body" sz="quarter" idx="25" hasCustomPrompt="1"/>
          </p:nvPr>
        </p:nvSpPr>
        <p:spPr>
          <a:xfrm>
            <a:off x="18311814" y="4265713"/>
            <a:ext cx="3024187" cy="1727166"/>
          </a:xfrm>
        </p:spPr>
        <p:txBody>
          <a:bodyPr anchor="b">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4" name="Footer Placeholder 43">
            <a:extLst>
              <a:ext uri="{FF2B5EF4-FFF2-40B4-BE49-F238E27FC236}">
                <a16:creationId xmlns:a16="http://schemas.microsoft.com/office/drawing/2014/main" id="{3DC74232-9167-9144-A25D-B5C31FFA7A3A}"/>
              </a:ext>
            </a:extLst>
          </p:cNvPr>
          <p:cNvSpPr>
            <a:spLocks noGrp="1"/>
          </p:cNvSpPr>
          <p:nvPr>
            <p:ph type="ftr" sz="quarter" idx="26"/>
          </p:nvPr>
        </p:nvSpPr>
        <p:spPr/>
        <p:txBody>
          <a:bodyPr/>
          <a:lstStyle/>
          <a:p>
            <a:endParaRPr lang="en-NL"/>
          </a:p>
        </p:txBody>
      </p:sp>
      <p:sp>
        <p:nvSpPr>
          <p:cNvPr id="45" name="TextBox 44">
            <a:extLst>
              <a:ext uri="{FF2B5EF4-FFF2-40B4-BE49-F238E27FC236}">
                <a16:creationId xmlns:a16="http://schemas.microsoft.com/office/drawing/2014/main" id="{69E14940-6394-8440-928E-5262E6E6434C}"/>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25174113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Levels">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0D2B4B01-8F71-1C43-804A-AE91ACAAB690}"/>
              </a:ext>
            </a:extLst>
          </p:cNvPr>
          <p:cNvSpPr>
            <a:spLocks noGrp="1"/>
          </p:cNvSpPr>
          <p:nvPr>
            <p:ph type="body" sz="quarter" idx="12" hasCustomPrompt="1"/>
          </p:nvPr>
        </p:nvSpPr>
        <p:spPr>
          <a:xfrm>
            <a:off x="13071798" y="5455781"/>
            <a:ext cx="6190847" cy="1397590"/>
          </a:xfrm>
        </p:spPr>
        <p:txBody>
          <a:bodyPr>
            <a:noAutofit/>
          </a:bodyPr>
          <a:lstStyle>
            <a:lvl1pPr>
              <a:spcBef>
                <a:spcPts val="0"/>
              </a:spcBef>
              <a:defRPr sz="2400"/>
            </a:lvl1pPr>
          </a:lstStyle>
          <a:p>
            <a:pPr lvl="0"/>
            <a:r>
              <a:rPr lang="en-GB" noProof="0"/>
              <a:t>Put the body text here, keep it regular 24 </a:t>
            </a:r>
            <a:r>
              <a:rPr lang="en-GB" noProof="0" err="1"/>
              <a:t>pt</a:t>
            </a:r>
            <a:endParaRPr lang="en-GB" noProof="0"/>
          </a:p>
        </p:txBody>
      </p:sp>
      <p:sp>
        <p:nvSpPr>
          <p:cNvPr id="10" name="Text Placeholder 5">
            <a:extLst>
              <a:ext uri="{FF2B5EF4-FFF2-40B4-BE49-F238E27FC236}">
                <a16:creationId xmlns:a16="http://schemas.microsoft.com/office/drawing/2014/main" id="{CCF4949C-0573-654E-8E4A-1524918D8E6F}"/>
              </a:ext>
            </a:extLst>
          </p:cNvPr>
          <p:cNvSpPr>
            <a:spLocks noGrp="1"/>
          </p:cNvSpPr>
          <p:nvPr>
            <p:ph type="body" sz="quarter" idx="15" hasCustomPrompt="1"/>
          </p:nvPr>
        </p:nvSpPr>
        <p:spPr>
          <a:xfrm>
            <a:off x="13071798" y="7832869"/>
            <a:ext cx="6190847" cy="1397590"/>
          </a:xfrm>
        </p:spPr>
        <p:txBody>
          <a:bodyPr>
            <a:noAutofit/>
          </a:bodyPr>
          <a:lstStyle>
            <a:lvl1pPr>
              <a:spcBef>
                <a:spcPts val="0"/>
              </a:spcBef>
              <a:defRPr sz="2400"/>
            </a:lvl1pPr>
          </a:lstStyle>
          <a:p>
            <a:pPr lvl="0"/>
            <a:r>
              <a:rPr lang="en-GB" noProof="0"/>
              <a:t>Put the body text here, keep it regular 24 </a:t>
            </a:r>
            <a:r>
              <a:rPr lang="en-GB" noProof="0" err="1"/>
              <a:t>pt</a:t>
            </a:r>
            <a:endParaRPr lang="en-GB" noProof="0"/>
          </a:p>
        </p:txBody>
      </p:sp>
      <p:sp>
        <p:nvSpPr>
          <p:cNvPr id="12" name="Text Placeholder 5">
            <a:extLst>
              <a:ext uri="{FF2B5EF4-FFF2-40B4-BE49-F238E27FC236}">
                <a16:creationId xmlns:a16="http://schemas.microsoft.com/office/drawing/2014/main" id="{334FE28E-7BB9-5247-A7EF-E68623CEC0DF}"/>
              </a:ext>
            </a:extLst>
          </p:cNvPr>
          <p:cNvSpPr>
            <a:spLocks noGrp="1"/>
          </p:cNvSpPr>
          <p:nvPr>
            <p:ph type="body" sz="quarter" idx="17" hasCustomPrompt="1"/>
          </p:nvPr>
        </p:nvSpPr>
        <p:spPr>
          <a:xfrm>
            <a:off x="13071798" y="10330249"/>
            <a:ext cx="6190847" cy="1397590"/>
          </a:xfrm>
        </p:spPr>
        <p:txBody>
          <a:bodyPr>
            <a:noAutofit/>
          </a:bodyPr>
          <a:lstStyle>
            <a:lvl1pPr>
              <a:spcBef>
                <a:spcPts val="0"/>
              </a:spcBef>
              <a:defRPr sz="2400"/>
            </a:lvl1pPr>
          </a:lstStyle>
          <a:p>
            <a:pPr lvl="0"/>
            <a:r>
              <a:rPr lang="en-GB" noProof="0"/>
              <a:t>Put the body text here, keep it regular 24 </a:t>
            </a:r>
            <a:r>
              <a:rPr lang="en-GB" noProof="0" err="1"/>
              <a:t>pt</a:t>
            </a:r>
            <a:endParaRPr lang="en-GB" noProof="0"/>
          </a:p>
        </p:txBody>
      </p:sp>
      <p:sp>
        <p:nvSpPr>
          <p:cNvPr id="9" name="Text Placeholder 5">
            <a:extLst>
              <a:ext uri="{FF2B5EF4-FFF2-40B4-BE49-F238E27FC236}">
                <a16:creationId xmlns:a16="http://schemas.microsoft.com/office/drawing/2014/main" id="{08916781-0481-B64C-A15B-60E03E7E77EA}"/>
              </a:ext>
            </a:extLst>
          </p:cNvPr>
          <p:cNvSpPr>
            <a:spLocks noGrp="1"/>
          </p:cNvSpPr>
          <p:nvPr>
            <p:ph type="body" sz="quarter" idx="14" hasCustomPrompt="1"/>
          </p:nvPr>
        </p:nvSpPr>
        <p:spPr>
          <a:xfrm>
            <a:off x="4674907" y="5455781"/>
            <a:ext cx="6633094" cy="1397590"/>
          </a:xfrm>
          <a:solidFill>
            <a:schemeClr val="bg1">
              <a:lumMod val="95000"/>
            </a:schemeClr>
          </a:solidFill>
        </p:spPr>
        <p:txBody>
          <a:bodyPr lIns="360000" anchor="ctr">
            <a:noAutofit/>
          </a:bodyPr>
          <a:lstStyle>
            <a:lvl1pPr>
              <a:defRPr sz="4000" b="1"/>
            </a:lvl1pPr>
          </a:lstStyle>
          <a:p>
            <a:pPr lvl="0"/>
            <a:r>
              <a:rPr lang="en-US"/>
              <a:t>Put the header here</a:t>
            </a:r>
          </a:p>
        </p:txBody>
      </p:sp>
      <p:sp>
        <p:nvSpPr>
          <p:cNvPr id="15" name="Text Placeholder 5">
            <a:extLst>
              <a:ext uri="{FF2B5EF4-FFF2-40B4-BE49-F238E27FC236}">
                <a16:creationId xmlns:a16="http://schemas.microsoft.com/office/drawing/2014/main" id="{B0FD171A-0961-AF47-AF11-4B67E2B02EBC}"/>
              </a:ext>
            </a:extLst>
          </p:cNvPr>
          <p:cNvSpPr>
            <a:spLocks noGrp="1"/>
          </p:cNvSpPr>
          <p:nvPr>
            <p:ph type="body" sz="quarter" idx="18" hasCustomPrompt="1"/>
          </p:nvPr>
        </p:nvSpPr>
        <p:spPr>
          <a:xfrm>
            <a:off x="4674907" y="7832869"/>
            <a:ext cx="6633094" cy="1397590"/>
          </a:xfrm>
          <a:solidFill>
            <a:schemeClr val="bg1">
              <a:lumMod val="95000"/>
            </a:schemeClr>
          </a:solidFill>
        </p:spPr>
        <p:txBody>
          <a:bodyPr lIns="360000" anchor="ctr">
            <a:noAutofit/>
          </a:bodyPr>
          <a:lstStyle>
            <a:lvl1pPr>
              <a:defRPr sz="4000" b="1"/>
            </a:lvl1pPr>
          </a:lstStyle>
          <a:p>
            <a:pPr lvl="0"/>
            <a:r>
              <a:rPr lang="en-US"/>
              <a:t>Put the header here</a:t>
            </a:r>
          </a:p>
        </p:txBody>
      </p:sp>
      <p:sp>
        <p:nvSpPr>
          <p:cNvPr id="16" name="Text Placeholder 5">
            <a:extLst>
              <a:ext uri="{FF2B5EF4-FFF2-40B4-BE49-F238E27FC236}">
                <a16:creationId xmlns:a16="http://schemas.microsoft.com/office/drawing/2014/main" id="{08483BCA-AF2F-134B-A357-367A5706C697}"/>
              </a:ext>
            </a:extLst>
          </p:cNvPr>
          <p:cNvSpPr>
            <a:spLocks noGrp="1"/>
          </p:cNvSpPr>
          <p:nvPr>
            <p:ph type="body" sz="quarter" idx="19" hasCustomPrompt="1"/>
          </p:nvPr>
        </p:nvSpPr>
        <p:spPr>
          <a:xfrm>
            <a:off x="4674907" y="10330249"/>
            <a:ext cx="6633094" cy="1397590"/>
          </a:xfrm>
          <a:solidFill>
            <a:schemeClr val="bg1">
              <a:lumMod val="95000"/>
            </a:schemeClr>
          </a:solidFill>
        </p:spPr>
        <p:txBody>
          <a:bodyPr lIns="360000" anchor="ctr">
            <a:noAutofit/>
          </a:bodyPr>
          <a:lstStyle>
            <a:lvl1pPr>
              <a:defRPr sz="4000" b="1"/>
            </a:lvl1pPr>
          </a:lstStyle>
          <a:p>
            <a:pPr lvl="0"/>
            <a:r>
              <a:rPr lang="en-US"/>
              <a:t>Put the header here</a:t>
            </a:r>
          </a:p>
        </p:txBody>
      </p:sp>
      <p:sp>
        <p:nvSpPr>
          <p:cNvPr id="3" name="Title 2">
            <a:extLst>
              <a:ext uri="{FF2B5EF4-FFF2-40B4-BE49-F238E27FC236}">
                <a16:creationId xmlns:a16="http://schemas.microsoft.com/office/drawing/2014/main" id="{6E79ED74-1833-CD4B-828E-58428E0E2A1D}"/>
              </a:ext>
            </a:extLst>
          </p:cNvPr>
          <p:cNvSpPr>
            <a:spLocks noGrp="1"/>
          </p:cNvSpPr>
          <p:nvPr>
            <p:ph type="title" hasCustomPrompt="1"/>
          </p:nvPr>
        </p:nvSpPr>
        <p:spPr/>
        <p:txBody>
          <a:bodyPr/>
          <a:lstStyle/>
          <a:p>
            <a:r>
              <a:rPr lang="en-GB"/>
              <a:t>Levels</a:t>
            </a:r>
            <a:endParaRPr lang="en-NL"/>
          </a:p>
        </p:txBody>
      </p:sp>
      <p:sp>
        <p:nvSpPr>
          <p:cNvPr id="5" name="Footer Placeholder 4">
            <a:extLst>
              <a:ext uri="{FF2B5EF4-FFF2-40B4-BE49-F238E27FC236}">
                <a16:creationId xmlns:a16="http://schemas.microsoft.com/office/drawing/2014/main" id="{D51935D7-8569-4141-96D6-E8BDF582C7E3}"/>
              </a:ext>
            </a:extLst>
          </p:cNvPr>
          <p:cNvSpPr>
            <a:spLocks noGrp="1"/>
          </p:cNvSpPr>
          <p:nvPr>
            <p:ph type="ftr" sz="quarter" idx="20"/>
          </p:nvPr>
        </p:nvSpPr>
        <p:spPr/>
        <p:txBody>
          <a:bodyPr/>
          <a:lstStyle/>
          <a:p>
            <a:endParaRPr lang="en-NL"/>
          </a:p>
        </p:txBody>
      </p:sp>
      <p:sp>
        <p:nvSpPr>
          <p:cNvPr id="14" name="TextBox 13">
            <a:extLst>
              <a:ext uri="{FF2B5EF4-FFF2-40B4-BE49-F238E27FC236}">
                <a16:creationId xmlns:a16="http://schemas.microsoft.com/office/drawing/2014/main" id="{95B220E9-C9CD-2D41-A852-CDC99EB96289}"/>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40199346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Focus areas 1">
    <p:spTree>
      <p:nvGrpSpPr>
        <p:cNvPr id="1" name=""/>
        <p:cNvGrpSpPr/>
        <p:nvPr/>
      </p:nvGrpSpPr>
      <p:grpSpPr>
        <a:xfrm>
          <a:off x="0" y="0"/>
          <a:ext cx="0" cy="0"/>
          <a:chOff x="0" y="0"/>
          <a:chExt cx="0" cy="0"/>
        </a:xfrm>
      </p:grpSpPr>
      <p:sp>
        <p:nvSpPr>
          <p:cNvPr id="9" name="Text Placeholder 5">
            <a:extLst>
              <a:ext uri="{FF2B5EF4-FFF2-40B4-BE49-F238E27FC236}">
                <a16:creationId xmlns:a16="http://schemas.microsoft.com/office/drawing/2014/main" id="{08916781-0481-B64C-A15B-60E03E7E77EA}"/>
              </a:ext>
            </a:extLst>
          </p:cNvPr>
          <p:cNvSpPr>
            <a:spLocks noGrp="1"/>
          </p:cNvSpPr>
          <p:nvPr>
            <p:ph type="body" sz="quarter" idx="14" hasCustomPrompt="1"/>
          </p:nvPr>
        </p:nvSpPr>
        <p:spPr>
          <a:xfrm>
            <a:off x="9166226" y="5742878"/>
            <a:ext cx="6049962" cy="863104"/>
          </a:xfrm>
          <a:solidFill>
            <a:schemeClr val="bg1">
              <a:lumMod val="95000"/>
            </a:schemeClr>
          </a:solidFill>
        </p:spPr>
        <p:txBody>
          <a:bodyPr lIns="180000" anchor="ctr">
            <a:noAutofit/>
          </a:bodyPr>
          <a:lstStyle>
            <a:lvl1pPr>
              <a:lnSpc>
                <a:spcPct val="100000"/>
              </a:lnSpc>
              <a:defRPr b="1"/>
            </a:lvl1pPr>
          </a:lstStyle>
          <a:p>
            <a:pPr lvl="0"/>
            <a:r>
              <a:rPr lang="en-US"/>
              <a:t>Put the header here</a:t>
            </a:r>
          </a:p>
        </p:txBody>
      </p:sp>
      <p:sp>
        <p:nvSpPr>
          <p:cNvPr id="10" name="Text Placeholder 5">
            <a:extLst>
              <a:ext uri="{FF2B5EF4-FFF2-40B4-BE49-F238E27FC236}">
                <a16:creationId xmlns:a16="http://schemas.microsoft.com/office/drawing/2014/main" id="{CCF4949C-0573-654E-8E4A-1524918D8E6F}"/>
              </a:ext>
            </a:extLst>
          </p:cNvPr>
          <p:cNvSpPr>
            <a:spLocks noGrp="1"/>
          </p:cNvSpPr>
          <p:nvPr>
            <p:ph type="body" sz="quarter" idx="15" hasCustomPrompt="1"/>
          </p:nvPr>
        </p:nvSpPr>
        <p:spPr>
          <a:xfrm>
            <a:off x="9190265" y="6858003"/>
            <a:ext cx="6049964" cy="3455986"/>
          </a:xfrm>
        </p:spPr>
        <p:txBody>
          <a:bodyPr lIns="180000">
            <a:noAutofit/>
          </a:bodyPr>
          <a:lstStyle>
            <a:lvl1pPr>
              <a:lnSpc>
                <a:spcPct val="100000"/>
              </a:lnSpc>
              <a:spcBef>
                <a:spcPts val="0"/>
              </a:spcBef>
              <a:defRPr sz="3200"/>
            </a:lvl1pPr>
          </a:lstStyle>
          <a:p>
            <a:pPr lvl="0"/>
            <a:r>
              <a:rPr lang="en-GB" noProof="0"/>
              <a:t>Put the paragraph text here, keep it regular 32 </a:t>
            </a:r>
            <a:r>
              <a:rPr lang="en-GB" noProof="0" err="1"/>
              <a:t>pt</a:t>
            </a:r>
            <a:endParaRPr lang="en-GB" noProof="0"/>
          </a:p>
        </p:txBody>
      </p:sp>
      <p:sp>
        <p:nvSpPr>
          <p:cNvPr id="17" name="Text Placeholder 5">
            <a:extLst>
              <a:ext uri="{FF2B5EF4-FFF2-40B4-BE49-F238E27FC236}">
                <a16:creationId xmlns:a16="http://schemas.microsoft.com/office/drawing/2014/main" id="{3722BC19-3242-894A-A464-ACE95D8645BB}"/>
              </a:ext>
            </a:extLst>
          </p:cNvPr>
          <p:cNvSpPr>
            <a:spLocks noGrp="1"/>
          </p:cNvSpPr>
          <p:nvPr>
            <p:ph type="body" sz="quarter" idx="19" hasCustomPrompt="1"/>
          </p:nvPr>
        </p:nvSpPr>
        <p:spPr>
          <a:xfrm>
            <a:off x="1655888" y="5742878"/>
            <a:ext cx="6049962" cy="863104"/>
          </a:xfrm>
          <a:solidFill>
            <a:schemeClr val="bg1">
              <a:lumMod val="95000"/>
            </a:schemeClr>
          </a:solidFill>
        </p:spPr>
        <p:txBody>
          <a:bodyPr lIns="180000" anchor="ctr">
            <a:noAutofit/>
          </a:bodyPr>
          <a:lstStyle>
            <a:lvl1pPr>
              <a:lnSpc>
                <a:spcPct val="100000"/>
              </a:lnSpc>
              <a:defRPr b="1"/>
            </a:lvl1pPr>
          </a:lstStyle>
          <a:p>
            <a:pPr lvl="0"/>
            <a:r>
              <a:rPr lang="en-US"/>
              <a:t>Put the header here</a:t>
            </a:r>
          </a:p>
        </p:txBody>
      </p:sp>
      <p:sp>
        <p:nvSpPr>
          <p:cNvPr id="18" name="Text Placeholder 5">
            <a:extLst>
              <a:ext uri="{FF2B5EF4-FFF2-40B4-BE49-F238E27FC236}">
                <a16:creationId xmlns:a16="http://schemas.microsoft.com/office/drawing/2014/main" id="{07C8CE66-24CD-E646-98E5-48BB7686BEDA}"/>
              </a:ext>
            </a:extLst>
          </p:cNvPr>
          <p:cNvSpPr>
            <a:spLocks noGrp="1"/>
          </p:cNvSpPr>
          <p:nvPr>
            <p:ph type="body" sz="quarter" idx="20" hasCustomPrompt="1"/>
          </p:nvPr>
        </p:nvSpPr>
        <p:spPr>
          <a:xfrm>
            <a:off x="1679928" y="6858003"/>
            <a:ext cx="6049964" cy="3455986"/>
          </a:xfrm>
        </p:spPr>
        <p:txBody>
          <a:bodyPr lIns="180000">
            <a:noAutofit/>
          </a:bodyPr>
          <a:lstStyle>
            <a:lvl1pPr>
              <a:lnSpc>
                <a:spcPct val="100000"/>
              </a:lnSpc>
              <a:spcBef>
                <a:spcPts val="0"/>
              </a:spcBef>
              <a:defRPr sz="3200"/>
            </a:lvl1pPr>
          </a:lstStyle>
          <a:p>
            <a:pPr lvl="0"/>
            <a:r>
              <a:rPr lang="en-GB" noProof="0"/>
              <a:t>Put the paragraph text here, keep it regular 32 </a:t>
            </a:r>
            <a:r>
              <a:rPr lang="en-GB" noProof="0" err="1"/>
              <a:t>pt</a:t>
            </a:r>
            <a:endParaRPr lang="en-GB" noProof="0"/>
          </a:p>
        </p:txBody>
      </p:sp>
      <p:sp>
        <p:nvSpPr>
          <p:cNvPr id="19" name="Text Placeholder 5">
            <a:extLst>
              <a:ext uri="{FF2B5EF4-FFF2-40B4-BE49-F238E27FC236}">
                <a16:creationId xmlns:a16="http://schemas.microsoft.com/office/drawing/2014/main" id="{7F8EE651-9C67-9A40-AA5C-4FDC892EECCF}"/>
              </a:ext>
            </a:extLst>
          </p:cNvPr>
          <p:cNvSpPr>
            <a:spLocks noGrp="1"/>
          </p:cNvSpPr>
          <p:nvPr>
            <p:ph type="body" sz="quarter" idx="21" hasCustomPrompt="1"/>
          </p:nvPr>
        </p:nvSpPr>
        <p:spPr>
          <a:xfrm>
            <a:off x="16627354" y="5742878"/>
            <a:ext cx="6049962" cy="863104"/>
          </a:xfrm>
          <a:solidFill>
            <a:schemeClr val="bg1">
              <a:lumMod val="95000"/>
            </a:schemeClr>
          </a:solidFill>
        </p:spPr>
        <p:txBody>
          <a:bodyPr lIns="180000" anchor="ctr">
            <a:noAutofit/>
          </a:bodyPr>
          <a:lstStyle>
            <a:lvl1pPr>
              <a:lnSpc>
                <a:spcPct val="100000"/>
              </a:lnSpc>
              <a:defRPr b="1"/>
            </a:lvl1pPr>
          </a:lstStyle>
          <a:p>
            <a:pPr lvl="0"/>
            <a:r>
              <a:rPr lang="en-US"/>
              <a:t>Put the header here</a:t>
            </a:r>
          </a:p>
        </p:txBody>
      </p:sp>
      <p:sp>
        <p:nvSpPr>
          <p:cNvPr id="20" name="Text Placeholder 5">
            <a:extLst>
              <a:ext uri="{FF2B5EF4-FFF2-40B4-BE49-F238E27FC236}">
                <a16:creationId xmlns:a16="http://schemas.microsoft.com/office/drawing/2014/main" id="{308DDE5D-AD61-324F-8D1B-396A22DC466A}"/>
              </a:ext>
            </a:extLst>
          </p:cNvPr>
          <p:cNvSpPr>
            <a:spLocks noGrp="1"/>
          </p:cNvSpPr>
          <p:nvPr>
            <p:ph type="body" sz="quarter" idx="22" hasCustomPrompt="1"/>
          </p:nvPr>
        </p:nvSpPr>
        <p:spPr>
          <a:xfrm>
            <a:off x="16651391" y="6858003"/>
            <a:ext cx="6049964" cy="3455986"/>
          </a:xfrm>
        </p:spPr>
        <p:txBody>
          <a:bodyPr lIns="180000">
            <a:noAutofit/>
          </a:bodyPr>
          <a:lstStyle>
            <a:lvl1pPr>
              <a:lnSpc>
                <a:spcPct val="100000"/>
              </a:lnSpc>
              <a:spcBef>
                <a:spcPts val="0"/>
              </a:spcBef>
              <a:defRPr sz="3200"/>
            </a:lvl1pPr>
          </a:lstStyle>
          <a:p>
            <a:pPr lvl="0"/>
            <a:r>
              <a:rPr lang="en-GB" noProof="0"/>
              <a:t>Put the paragraph text here, keep it regular 32 </a:t>
            </a:r>
            <a:r>
              <a:rPr lang="en-GB" noProof="0" err="1"/>
              <a:t>pt</a:t>
            </a:r>
            <a:endParaRPr lang="en-GB" noProof="0"/>
          </a:p>
        </p:txBody>
      </p:sp>
      <p:sp>
        <p:nvSpPr>
          <p:cNvPr id="5" name="Title 4">
            <a:extLst>
              <a:ext uri="{FF2B5EF4-FFF2-40B4-BE49-F238E27FC236}">
                <a16:creationId xmlns:a16="http://schemas.microsoft.com/office/drawing/2014/main" id="{A8507978-2D74-7F40-9482-B33692774EA2}"/>
              </a:ext>
            </a:extLst>
          </p:cNvPr>
          <p:cNvSpPr>
            <a:spLocks noGrp="1"/>
          </p:cNvSpPr>
          <p:nvPr>
            <p:ph type="title" hasCustomPrompt="1"/>
          </p:nvPr>
        </p:nvSpPr>
        <p:spPr/>
        <p:txBody>
          <a:bodyPr/>
          <a:lstStyle/>
          <a:p>
            <a:r>
              <a:rPr lang="en-GB"/>
              <a:t>Focus areas</a:t>
            </a:r>
            <a:endParaRPr lang="en-NL"/>
          </a:p>
        </p:txBody>
      </p:sp>
      <p:sp>
        <p:nvSpPr>
          <p:cNvPr id="3" name="Footer Placeholder 2">
            <a:extLst>
              <a:ext uri="{FF2B5EF4-FFF2-40B4-BE49-F238E27FC236}">
                <a16:creationId xmlns:a16="http://schemas.microsoft.com/office/drawing/2014/main" id="{94C26B9E-3413-AB4A-98DC-12221AAB0365}"/>
              </a:ext>
            </a:extLst>
          </p:cNvPr>
          <p:cNvSpPr>
            <a:spLocks noGrp="1"/>
          </p:cNvSpPr>
          <p:nvPr>
            <p:ph type="ftr" sz="quarter" idx="23"/>
          </p:nvPr>
        </p:nvSpPr>
        <p:spPr/>
        <p:txBody>
          <a:bodyPr/>
          <a:lstStyle/>
          <a:p>
            <a:endParaRPr lang="en-NL"/>
          </a:p>
        </p:txBody>
      </p:sp>
      <p:sp>
        <p:nvSpPr>
          <p:cNvPr id="13" name="TextBox 12">
            <a:extLst>
              <a:ext uri="{FF2B5EF4-FFF2-40B4-BE49-F238E27FC236}">
                <a16:creationId xmlns:a16="http://schemas.microsoft.com/office/drawing/2014/main" id="{C1C95D9D-541E-F440-9F65-0AB08894819B}"/>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5751200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tement 1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6070600" y="3402013"/>
            <a:ext cx="12241213" cy="6911975"/>
          </a:xfrm>
          <a:prstGeom prst="rect">
            <a:avLst/>
          </a:prstGeom>
          <a:solidFill>
            <a:schemeClr val="bg1"/>
          </a:solidFill>
        </p:spPr>
        <p:txBody>
          <a:bodyPr vert="horz" lIns="900000" tIns="360000" rIns="360000" bIns="360000" rtlCol="0" anchor="ctr">
            <a:noAutofit/>
          </a:bodyPr>
          <a:lstStyle>
            <a:lvl1pPr>
              <a:defRPr sz="6000" b="1" spc="0" baseline="0"/>
            </a:lvl1pPr>
          </a:lstStyle>
          <a:p>
            <a:r>
              <a:rPr lang="en-GB" noProof="0"/>
              <a:t>Put a short statement here, keep it regular 60 </a:t>
            </a:r>
            <a:r>
              <a:rPr lang="en-GB" noProof="0" err="1"/>
              <a:t>pt</a:t>
            </a:r>
            <a:endParaRPr lang="en-GB" noProof="0"/>
          </a:p>
        </p:txBody>
      </p:sp>
      <p:sp>
        <p:nvSpPr>
          <p:cNvPr id="4" name="Footer Placeholder 3">
            <a:extLst>
              <a:ext uri="{FF2B5EF4-FFF2-40B4-BE49-F238E27FC236}">
                <a16:creationId xmlns:a16="http://schemas.microsoft.com/office/drawing/2014/main" id="{4D585EBC-728D-F748-BD9C-1622617E10E7}"/>
              </a:ext>
            </a:extLst>
          </p:cNvPr>
          <p:cNvSpPr>
            <a:spLocks noGrp="1"/>
          </p:cNvSpPr>
          <p:nvPr>
            <p:ph type="ftr" sz="quarter" idx="15"/>
          </p:nvPr>
        </p:nvSpPr>
        <p:spPr/>
        <p:txBody>
          <a:bodyPr/>
          <a:lstStyle/>
          <a:p>
            <a:endParaRPr lang="en-NL"/>
          </a:p>
        </p:txBody>
      </p:sp>
      <p:sp>
        <p:nvSpPr>
          <p:cNvPr id="8" name="TextBox 7">
            <a:extLst>
              <a:ext uri="{FF2B5EF4-FFF2-40B4-BE49-F238E27FC236}">
                <a16:creationId xmlns:a16="http://schemas.microsoft.com/office/drawing/2014/main" id="{5F6D9EA7-3CF9-7B43-B287-97692C1A4E03}"/>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75644380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Focus areas 2">
    <p:spTree>
      <p:nvGrpSpPr>
        <p:cNvPr id="1" name=""/>
        <p:cNvGrpSpPr/>
        <p:nvPr/>
      </p:nvGrpSpPr>
      <p:grpSpPr>
        <a:xfrm>
          <a:off x="0" y="0"/>
          <a:ext cx="0" cy="0"/>
          <a:chOff x="0" y="0"/>
          <a:chExt cx="0" cy="0"/>
        </a:xfrm>
      </p:grpSpPr>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9166226" y="4124209"/>
            <a:ext cx="6049962" cy="4462582"/>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6" name="Text Placeholder 5">
            <a:extLst>
              <a:ext uri="{FF2B5EF4-FFF2-40B4-BE49-F238E27FC236}">
                <a16:creationId xmlns:a16="http://schemas.microsoft.com/office/drawing/2014/main" id="{50C5C652-3240-6341-9095-4EF7D7DC26F2}"/>
              </a:ext>
            </a:extLst>
          </p:cNvPr>
          <p:cNvSpPr>
            <a:spLocks noGrp="1"/>
          </p:cNvSpPr>
          <p:nvPr>
            <p:ph type="body" sz="quarter" idx="30" hasCustomPrompt="1"/>
          </p:nvPr>
        </p:nvSpPr>
        <p:spPr>
          <a:xfrm>
            <a:off x="9166226" y="9162256"/>
            <a:ext cx="6049962" cy="2880520"/>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18" name="Picture Placeholder 2">
            <a:extLst>
              <a:ext uri="{FF2B5EF4-FFF2-40B4-BE49-F238E27FC236}">
                <a16:creationId xmlns:a16="http://schemas.microsoft.com/office/drawing/2014/main" id="{CA5C6F99-363F-0A44-B903-36748B19D967}"/>
              </a:ext>
            </a:extLst>
          </p:cNvPr>
          <p:cNvSpPr>
            <a:spLocks noGrp="1"/>
          </p:cNvSpPr>
          <p:nvPr>
            <p:ph type="pic" sz="quarter" idx="32" hasCustomPrompt="1"/>
          </p:nvPr>
        </p:nvSpPr>
        <p:spPr>
          <a:xfrm>
            <a:off x="1673111" y="4124209"/>
            <a:ext cx="6049962" cy="4462582"/>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0" name="Text Placeholder 5">
            <a:extLst>
              <a:ext uri="{FF2B5EF4-FFF2-40B4-BE49-F238E27FC236}">
                <a16:creationId xmlns:a16="http://schemas.microsoft.com/office/drawing/2014/main" id="{75455B56-07F2-2943-AFDE-22F2A9DF65C4}"/>
              </a:ext>
            </a:extLst>
          </p:cNvPr>
          <p:cNvSpPr>
            <a:spLocks noGrp="1"/>
          </p:cNvSpPr>
          <p:nvPr>
            <p:ph type="body" sz="quarter" idx="33" hasCustomPrompt="1"/>
          </p:nvPr>
        </p:nvSpPr>
        <p:spPr>
          <a:xfrm>
            <a:off x="1673113" y="9162256"/>
            <a:ext cx="6049962" cy="2880520"/>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21" name="Picture Placeholder 2">
            <a:extLst>
              <a:ext uri="{FF2B5EF4-FFF2-40B4-BE49-F238E27FC236}">
                <a16:creationId xmlns:a16="http://schemas.microsoft.com/office/drawing/2014/main" id="{2F983719-8E56-644B-87F9-AA87D0158471}"/>
              </a:ext>
            </a:extLst>
          </p:cNvPr>
          <p:cNvSpPr>
            <a:spLocks noGrp="1"/>
          </p:cNvSpPr>
          <p:nvPr>
            <p:ph type="pic" sz="quarter" idx="34" hasCustomPrompt="1"/>
          </p:nvPr>
        </p:nvSpPr>
        <p:spPr>
          <a:xfrm>
            <a:off x="16656158" y="4124209"/>
            <a:ext cx="6049962" cy="4462582"/>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2" name="Text Placeholder 5">
            <a:extLst>
              <a:ext uri="{FF2B5EF4-FFF2-40B4-BE49-F238E27FC236}">
                <a16:creationId xmlns:a16="http://schemas.microsoft.com/office/drawing/2014/main" id="{CAE497B4-C614-C44B-94BA-C3BDE7D75DEC}"/>
              </a:ext>
            </a:extLst>
          </p:cNvPr>
          <p:cNvSpPr>
            <a:spLocks noGrp="1"/>
          </p:cNvSpPr>
          <p:nvPr>
            <p:ph type="body" sz="quarter" idx="35" hasCustomPrompt="1"/>
          </p:nvPr>
        </p:nvSpPr>
        <p:spPr>
          <a:xfrm>
            <a:off x="16656160" y="9162256"/>
            <a:ext cx="6049962" cy="2880520"/>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2" name="Title 1">
            <a:extLst>
              <a:ext uri="{FF2B5EF4-FFF2-40B4-BE49-F238E27FC236}">
                <a16:creationId xmlns:a16="http://schemas.microsoft.com/office/drawing/2014/main" id="{B714AECF-762E-AF4B-AE68-4E3BB8D405CD}"/>
              </a:ext>
            </a:extLst>
          </p:cNvPr>
          <p:cNvSpPr>
            <a:spLocks noGrp="1"/>
          </p:cNvSpPr>
          <p:nvPr>
            <p:ph type="title" hasCustomPrompt="1"/>
          </p:nvPr>
        </p:nvSpPr>
        <p:spPr>
          <a:xfrm>
            <a:off x="1676293" y="1677601"/>
            <a:ext cx="21033007" cy="1724414"/>
          </a:xfrm>
        </p:spPr>
        <p:txBody>
          <a:bodyPr/>
          <a:lstStyle/>
          <a:p>
            <a:r>
              <a:rPr lang="en-GB"/>
              <a:t>Focus areas</a:t>
            </a:r>
            <a:endParaRPr lang="en-NL"/>
          </a:p>
        </p:txBody>
      </p:sp>
      <p:sp>
        <p:nvSpPr>
          <p:cNvPr id="6" name="Footer Placeholder 5">
            <a:extLst>
              <a:ext uri="{FF2B5EF4-FFF2-40B4-BE49-F238E27FC236}">
                <a16:creationId xmlns:a16="http://schemas.microsoft.com/office/drawing/2014/main" id="{905FD5AF-E14D-EF49-88A1-61AE79880A4D}"/>
              </a:ext>
            </a:extLst>
          </p:cNvPr>
          <p:cNvSpPr>
            <a:spLocks noGrp="1"/>
          </p:cNvSpPr>
          <p:nvPr>
            <p:ph type="ftr" sz="quarter" idx="36"/>
          </p:nvPr>
        </p:nvSpPr>
        <p:spPr/>
        <p:txBody>
          <a:bodyPr/>
          <a:lstStyle/>
          <a:p>
            <a:endParaRPr lang="en-NL"/>
          </a:p>
        </p:txBody>
      </p:sp>
      <p:sp>
        <p:nvSpPr>
          <p:cNvPr id="14" name="TextBox 13">
            <a:extLst>
              <a:ext uri="{FF2B5EF4-FFF2-40B4-BE49-F238E27FC236}">
                <a16:creationId xmlns:a16="http://schemas.microsoft.com/office/drawing/2014/main" id="{7DDFA0A1-FCD3-7344-8E11-BA02D0C38EE6}"/>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63484247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Focus areas 3">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6F4D095-75F9-A649-B638-1297084AD7A4}"/>
              </a:ext>
            </a:extLst>
          </p:cNvPr>
          <p:cNvSpPr>
            <a:spLocks noGrp="1"/>
          </p:cNvSpPr>
          <p:nvPr>
            <p:ph type="pic" sz="quarter" idx="20" hasCustomPrompt="1"/>
          </p:nvPr>
        </p:nvSpPr>
        <p:spPr>
          <a:xfrm>
            <a:off x="3110923" y="5160731"/>
            <a:ext cx="3425835" cy="3426058"/>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3110921" y="8904153"/>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1" name="Picture Placeholder 7">
            <a:extLst>
              <a:ext uri="{FF2B5EF4-FFF2-40B4-BE49-F238E27FC236}">
                <a16:creationId xmlns:a16="http://schemas.microsoft.com/office/drawing/2014/main" id="{541447E4-2AA6-7F48-B55B-B62747E0ABD2}"/>
              </a:ext>
            </a:extLst>
          </p:cNvPr>
          <p:cNvSpPr>
            <a:spLocks noGrp="1"/>
          </p:cNvSpPr>
          <p:nvPr>
            <p:ph type="pic" sz="quarter" idx="22" hasCustomPrompt="1"/>
          </p:nvPr>
        </p:nvSpPr>
        <p:spPr>
          <a:xfrm>
            <a:off x="8045293" y="5160731"/>
            <a:ext cx="3425835" cy="3426058"/>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2" name="Text Placeholder 11">
            <a:extLst>
              <a:ext uri="{FF2B5EF4-FFF2-40B4-BE49-F238E27FC236}">
                <a16:creationId xmlns:a16="http://schemas.microsoft.com/office/drawing/2014/main" id="{2AD28FF4-13F4-2C40-9AF9-E173148BF12A}"/>
              </a:ext>
            </a:extLst>
          </p:cNvPr>
          <p:cNvSpPr>
            <a:spLocks noGrp="1"/>
          </p:cNvSpPr>
          <p:nvPr>
            <p:ph type="body" sz="quarter" idx="23" hasCustomPrompt="1"/>
          </p:nvPr>
        </p:nvSpPr>
        <p:spPr>
          <a:xfrm>
            <a:off x="8045293" y="8904153"/>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3" name="Picture Placeholder 7">
            <a:extLst>
              <a:ext uri="{FF2B5EF4-FFF2-40B4-BE49-F238E27FC236}">
                <a16:creationId xmlns:a16="http://schemas.microsoft.com/office/drawing/2014/main" id="{76549726-CD0C-C144-A1EB-76A281BC952E}"/>
              </a:ext>
            </a:extLst>
          </p:cNvPr>
          <p:cNvSpPr>
            <a:spLocks noGrp="1"/>
          </p:cNvSpPr>
          <p:nvPr>
            <p:ph type="pic" sz="quarter" idx="24" hasCustomPrompt="1"/>
          </p:nvPr>
        </p:nvSpPr>
        <p:spPr>
          <a:xfrm>
            <a:off x="12911287" y="5160731"/>
            <a:ext cx="3425835" cy="3426058"/>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4" name="Text Placeholder 11">
            <a:extLst>
              <a:ext uri="{FF2B5EF4-FFF2-40B4-BE49-F238E27FC236}">
                <a16:creationId xmlns:a16="http://schemas.microsoft.com/office/drawing/2014/main" id="{5B3AA100-6E6E-D34B-943C-1D75F59C39B5}"/>
              </a:ext>
            </a:extLst>
          </p:cNvPr>
          <p:cNvSpPr>
            <a:spLocks noGrp="1"/>
          </p:cNvSpPr>
          <p:nvPr>
            <p:ph type="body" sz="quarter" idx="25" hasCustomPrompt="1"/>
          </p:nvPr>
        </p:nvSpPr>
        <p:spPr>
          <a:xfrm>
            <a:off x="12911287" y="8904153"/>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5" name="Picture Placeholder 7">
            <a:extLst>
              <a:ext uri="{FF2B5EF4-FFF2-40B4-BE49-F238E27FC236}">
                <a16:creationId xmlns:a16="http://schemas.microsoft.com/office/drawing/2014/main" id="{DCB14019-6F34-AB4B-B98E-4393A31FE4D7}"/>
              </a:ext>
            </a:extLst>
          </p:cNvPr>
          <p:cNvSpPr>
            <a:spLocks noGrp="1"/>
          </p:cNvSpPr>
          <p:nvPr>
            <p:ph type="pic" sz="quarter" idx="26" hasCustomPrompt="1"/>
          </p:nvPr>
        </p:nvSpPr>
        <p:spPr>
          <a:xfrm>
            <a:off x="17910167" y="5160731"/>
            <a:ext cx="3425835" cy="3426058"/>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6" name="Text Placeholder 11">
            <a:extLst>
              <a:ext uri="{FF2B5EF4-FFF2-40B4-BE49-F238E27FC236}">
                <a16:creationId xmlns:a16="http://schemas.microsoft.com/office/drawing/2014/main" id="{1C762A72-2425-1F42-B142-A5C927AEEBB1}"/>
              </a:ext>
            </a:extLst>
          </p:cNvPr>
          <p:cNvSpPr>
            <a:spLocks noGrp="1"/>
          </p:cNvSpPr>
          <p:nvPr>
            <p:ph type="body" sz="quarter" idx="27" hasCustomPrompt="1"/>
          </p:nvPr>
        </p:nvSpPr>
        <p:spPr>
          <a:xfrm>
            <a:off x="17910167" y="8904153"/>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 name="Title 1">
            <a:extLst>
              <a:ext uri="{FF2B5EF4-FFF2-40B4-BE49-F238E27FC236}">
                <a16:creationId xmlns:a16="http://schemas.microsoft.com/office/drawing/2014/main" id="{A0F5E023-04B8-2F4C-ACC9-EA2D15A8206D}"/>
              </a:ext>
            </a:extLst>
          </p:cNvPr>
          <p:cNvSpPr>
            <a:spLocks noGrp="1"/>
          </p:cNvSpPr>
          <p:nvPr>
            <p:ph type="title" hasCustomPrompt="1"/>
          </p:nvPr>
        </p:nvSpPr>
        <p:spPr/>
        <p:txBody>
          <a:bodyPr/>
          <a:lstStyle/>
          <a:p>
            <a:r>
              <a:rPr lang="en-GB"/>
              <a:t>Focus areas</a:t>
            </a:r>
            <a:endParaRPr lang="en-NL"/>
          </a:p>
        </p:txBody>
      </p:sp>
      <p:sp>
        <p:nvSpPr>
          <p:cNvPr id="6" name="Footer Placeholder 5">
            <a:extLst>
              <a:ext uri="{FF2B5EF4-FFF2-40B4-BE49-F238E27FC236}">
                <a16:creationId xmlns:a16="http://schemas.microsoft.com/office/drawing/2014/main" id="{7BEF6BFC-32B9-EE4E-B0BD-51735697E79A}"/>
              </a:ext>
            </a:extLst>
          </p:cNvPr>
          <p:cNvSpPr>
            <a:spLocks noGrp="1"/>
          </p:cNvSpPr>
          <p:nvPr>
            <p:ph type="ftr" sz="quarter" idx="28"/>
          </p:nvPr>
        </p:nvSpPr>
        <p:spPr/>
        <p:txBody>
          <a:bodyPr/>
          <a:lstStyle/>
          <a:p>
            <a:endParaRPr lang="en-NL"/>
          </a:p>
        </p:txBody>
      </p:sp>
      <p:sp>
        <p:nvSpPr>
          <p:cNvPr id="17" name="TextBox 16">
            <a:extLst>
              <a:ext uri="{FF2B5EF4-FFF2-40B4-BE49-F238E27FC236}">
                <a16:creationId xmlns:a16="http://schemas.microsoft.com/office/drawing/2014/main" id="{D03693B7-36DD-2044-BD6D-C7E743BAFEC9}"/>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95805896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Organisational chart">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10677924" y="1682204"/>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2" name="Title 1">
            <a:extLst>
              <a:ext uri="{FF2B5EF4-FFF2-40B4-BE49-F238E27FC236}">
                <a16:creationId xmlns:a16="http://schemas.microsoft.com/office/drawing/2014/main" id="{43DA5788-F32B-A54D-BD65-3FF50B9E8946}"/>
              </a:ext>
            </a:extLst>
          </p:cNvPr>
          <p:cNvSpPr>
            <a:spLocks noGrp="1"/>
          </p:cNvSpPr>
          <p:nvPr>
            <p:ph type="title" hasCustomPrompt="1"/>
          </p:nvPr>
        </p:nvSpPr>
        <p:spPr>
          <a:xfrm>
            <a:off x="1676293" y="1677600"/>
            <a:ext cx="7489932" cy="3011660"/>
          </a:xfrm>
        </p:spPr>
        <p:txBody>
          <a:bodyPr/>
          <a:lstStyle>
            <a:lvl1pPr>
              <a:defRPr sz="6000"/>
            </a:lvl1pPr>
          </a:lstStyle>
          <a:p>
            <a:r>
              <a:rPr lang="en-GB"/>
              <a:t>Department name</a:t>
            </a:r>
            <a:endParaRPr lang="en-NL"/>
          </a:p>
        </p:txBody>
      </p:sp>
      <p:sp>
        <p:nvSpPr>
          <p:cNvPr id="37" name="Text Placeholder 11">
            <a:extLst>
              <a:ext uri="{FF2B5EF4-FFF2-40B4-BE49-F238E27FC236}">
                <a16:creationId xmlns:a16="http://schemas.microsoft.com/office/drawing/2014/main" id="{D20C3156-2AD2-124D-9E3C-76D76447737F}"/>
              </a:ext>
            </a:extLst>
          </p:cNvPr>
          <p:cNvSpPr>
            <a:spLocks noGrp="1"/>
          </p:cNvSpPr>
          <p:nvPr>
            <p:ph type="body" sz="quarter" idx="23" hasCustomPrompt="1"/>
          </p:nvPr>
        </p:nvSpPr>
        <p:spPr>
          <a:xfrm>
            <a:off x="15935624" y="8561142"/>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8" name="Text Placeholder 11">
            <a:extLst>
              <a:ext uri="{FF2B5EF4-FFF2-40B4-BE49-F238E27FC236}">
                <a16:creationId xmlns:a16="http://schemas.microsoft.com/office/drawing/2014/main" id="{52FB8893-C886-B348-A8E3-2932C39A6C17}"/>
              </a:ext>
            </a:extLst>
          </p:cNvPr>
          <p:cNvSpPr>
            <a:spLocks noGrp="1"/>
          </p:cNvSpPr>
          <p:nvPr>
            <p:ph type="body" sz="quarter" idx="24" hasCustomPrompt="1"/>
          </p:nvPr>
        </p:nvSpPr>
        <p:spPr>
          <a:xfrm>
            <a:off x="12447961" y="8561142"/>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9" name="Text Placeholder 11">
            <a:extLst>
              <a:ext uri="{FF2B5EF4-FFF2-40B4-BE49-F238E27FC236}">
                <a16:creationId xmlns:a16="http://schemas.microsoft.com/office/drawing/2014/main" id="{4E2FB335-2D5A-A743-81A7-7FAB0B1F748A}"/>
              </a:ext>
            </a:extLst>
          </p:cNvPr>
          <p:cNvSpPr>
            <a:spLocks noGrp="1"/>
          </p:cNvSpPr>
          <p:nvPr>
            <p:ph type="body" sz="quarter" idx="25" hasCustomPrompt="1"/>
          </p:nvPr>
        </p:nvSpPr>
        <p:spPr>
          <a:xfrm>
            <a:off x="19423287" y="8561142"/>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0" name="Text Placeholder 11">
            <a:extLst>
              <a:ext uri="{FF2B5EF4-FFF2-40B4-BE49-F238E27FC236}">
                <a16:creationId xmlns:a16="http://schemas.microsoft.com/office/drawing/2014/main" id="{FDBB4D3B-21DA-AA48-875F-039F1DA49F4D}"/>
              </a:ext>
            </a:extLst>
          </p:cNvPr>
          <p:cNvSpPr>
            <a:spLocks noGrp="1"/>
          </p:cNvSpPr>
          <p:nvPr>
            <p:ph type="body" sz="quarter" idx="26" hasCustomPrompt="1"/>
          </p:nvPr>
        </p:nvSpPr>
        <p:spPr>
          <a:xfrm>
            <a:off x="8950203" y="8561142"/>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1" name="Text Placeholder 11">
            <a:extLst>
              <a:ext uri="{FF2B5EF4-FFF2-40B4-BE49-F238E27FC236}">
                <a16:creationId xmlns:a16="http://schemas.microsoft.com/office/drawing/2014/main" id="{04958B99-BADB-694D-857D-679CEF331FE2}"/>
              </a:ext>
            </a:extLst>
          </p:cNvPr>
          <p:cNvSpPr>
            <a:spLocks noGrp="1"/>
          </p:cNvSpPr>
          <p:nvPr>
            <p:ph type="body" sz="quarter" idx="27" hasCustomPrompt="1"/>
          </p:nvPr>
        </p:nvSpPr>
        <p:spPr>
          <a:xfrm>
            <a:off x="5462540" y="8561142"/>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2" name="Text Placeholder 11">
            <a:extLst>
              <a:ext uri="{FF2B5EF4-FFF2-40B4-BE49-F238E27FC236}">
                <a16:creationId xmlns:a16="http://schemas.microsoft.com/office/drawing/2014/main" id="{867B033E-55B1-E64C-AB2E-DEA20C7A2523}"/>
              </a:ext>
            </a:extLst>
          </p:cNvPr>
          <p:cNvSpPr>
            <a:spLocks noGrp="1"/>
          </p:cNvSpPr>
          <p:nvPr>
            <p:ph type="body" sz="quarter" idx="28" hasCustomPrompt="1"/>
          </p:nvPr>
        </p:nvSpPr>
        <p:spPr>
          <a:xfrm>
            <a:off x="1980136" y="8561142"/>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3" name="Text Placeholder 11">
            <a:extLst>
              <a:ext uri="{FF2B5EF4-FFF2-40B4-BE49-F238E27FC236}">
                <a16:creationId xmlns:a16="http://schemas.microsoft.com/office/drawing/2014/main" id="{1342689F-D009-8044-A2FD-60C69DAC4509}"/>
              </a:ext>
            </a:extLst>
          </p:cNvPr>
          <p:cNvSpPr>
            <a:spLocks noGrp="1"/>
          </p:cNvSpPr>
          <p:nvPr>
            <p:ph type="body" sz="quarter" idx="29" hasCustomPrompt="1"/>
          </p:nvPr>
        </p:nvSpPr>
        <p:spPr>
          <a:xfrm>
            <a:off x="3698344" y="5113634"/>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4" name="Text Placeholder 11">
            <a:extLst>
              <a:ext uri="{FF2B5EF4-FFF2-40B4-BE49-F238E27FC236}">
                <a16:creationId xmlns:a16="http://schemas.microsoft.com/office/drawing/2014/main" id="{67DEF29E-90A5-BC45-8BB6-53DBC7210B2A}"/>
              </a:ext>
            </a:extLst>
          </p:cNvPr>
          <p:cNvSpPr>
            <a:spLocks noGrp="1"/>
          </p:cNvSpPr>
          <p:nvPr>
            <p:ph type="body" sz="quarter" idx="30" hasCustomPrompt="1"/>
          </p:nvPr>
        </p:nvSpPr>
        <p:spPr>
          <a:xfrm>
            <a:off x="10677922" y="5128182"/>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5" name="Text Placeholder 11">
            <a:extLst>
              <a:ext uri="{FF2B5EF4-FFF2-40B4-BE49-F238E27FC236}">
                <a16:creationId xmlns:a16="http://schemas.microsoft.com/office/drawing/2014/main" id="{DD2C9CC6-3595-BA4C-9ADE-B391018F28A0}"/>
              </a:ext>
            </a:extLst>
          </p:cNvPr>
          <p:cNvSpPr>
            <a:spLocks noGrp="1"/>
          </p:cNvSpPr>
          <p:nvPr>
            <p:ph type="body" sz="quarter" idx="31" hasCustomPrompt="1"/>
          </p:nvPr>
        </p:nvSpPr>
        <p:spPr>
          <a:xfrm>
            <a:off x="17659092" y="5128182"/>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6" name="Text Placeholder 11">
            <a:extLst>
              <a:ext uri="{FF2B5EF4-FFF2-40B4-BE49-F238E27FC236}">
                <a16:creationId xmlns:a16="http://schemas.microsoft.com/office/drawing/2014/main" id="{9A38C78E-0083-574C-BBD2-F191805B428A}"/>
              </a:ext>
            </a:extLst>
          </p:cNvPr>
          <p:cNvSpPr>
            <a:spLocks noGrp="1"/>
          </p:cNvSpPr>
          <p:nvPr>
            <p:ph type="body" sz="quarter" idx="32" hasCustomPrompt="1"/>
          </p:nvPr>
        </p:nvSpPr>
        <p:spPr>
          <a:xfrm>
            <a:off x="1980136" y="10742266"/>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8" name="Text Placeholder 11">
            <a:extLst>
              <a:ext uri="{FF2B5EF4-FFF2-40B4-BE49-F238E27FC236}">
                <a16:creationId xmlns:a16="http://schemas.microsoft.com/office/drawing/2014/main" id="{0EC1A24F-21AB-AB45-9A34-7DD472E3106A}"/>
              </a:ext>
            </a:extLst>
          </p:cNvPr>
          <p:cNvSpPr>
            <a:spLocks noGrp="1"/>
          </p:cNvSpPr>
          <p:nvPr>
            <p:ph type="body" sz="quarter" idx="33" hasCustomPrompt="1"/>
          </p:nvPr>
        </p:nvSpPr>
        <p:spPr>
          <a:xfrm>
            <a:off x="8950203" y="10742266"/>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9" name="TextBox 48">
            <a:extLst>
              <a:ext uri="{FF2B5EF4-FFF2-40B4-BE49-F238E27FC236}">
                <a16:creationId xmlns:a16="http://schemas.microsoft.com/office/drawing/2014/main" id="{0D0F6677-E2D7-FF4E-B4A9-F9CEED474E8C}"/>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3691554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Organisational chart with pictur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6F4D095-75F9-A649-B638-1297084AD7A4}"/>
              </a:ext>
            </a:extLst>
          </p:cNvPr>
          <p:cNvSpPr>
            <a:spLocks noGrp="1"/>
          </p:cNvSpPr>
          <p:nvPr>
            <p:ph type="pic" sz="quarter" idx="20" hasCustomPrompt="1"/>
          </p:nvPr>
        </p:nvSpPr>
        <p:spPr>
          <a:xfrm>
            <a:off x="10841207" y="1719944"/>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9670604" y="4512108"/>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2" name="Title 1">
            <a:extLst>
              <a:ext uri="{FF2B5EF4-FFF2-40B4-BE49-F238E27FC236}">
                <a16:creationId xmlns:a16="http://schemas.microsoft.com/office/drawing/2014/main" id="{43DA5788-F32B-A54D-BD65-3FF50B9E8946}"/>
              </a:ext>
            </a:extLst>
          </p:cNvPr>
          <p:cNvSpPr>
            <a:spLocks noGrp="1"/>
          </p:cNvSpPr>
          <p:nvPr>
            <p:ph type="title" hasCustomPrompt="1"/>
          </p:nvPr>
        </p:nvSpPr>
        <p:spPr>
          <a:xfrm>
            <a:off x="1676293" y="1677600"/>
            <a:ext cx="7489932" cy="3011660"/>
          </a:xfrm>
        </p:spPr>
        <p:txBody>
          <a:bodyPr/>
          <a:lstStyle>
            <a:lvl1pPr>
              <a:defRPr sz="6000"/>
            </a:lvl1pPr>
          </a:lstStyle>
          <a:p>
            <a:r>
              <a:rPr lang="en-GB"/>
              <a:t>Department name</a:t>
            </a:r>
            <a:endParaRPr lang="en-NL"/>
          </a:p>
        </p:txBody>
      </p:sp>
      <p:sp>
        <p:nvSpPr>
          <p:cNvPr id="31" name="Text Placeholder 11">
            <a:extLst>
              <a:ext uri="{FF2B5EF4-FFF2-40B4-BE49-F238E27FC236}">
                <a16:creationId xmlns:a16="http://schemas.microsoft.com/office/drawing/2014/main" id="{75F485D7-B4EF-5A4B-879E-86975974580C}"/>
              </a:ext>
            </a:extLst>
          </p:cNvPr>
          <p:cNvSpPr>
            <a:spLocks noGrp="1"/>
          </p:cNvSpPr>
          <p:nvPr>
            <p:ph type="body" sz="quarter" idx="30" hasCustomPrompt="1"/>
          </p:nvPr>
        </p:nvSpPr>
        <p:spPr>
          <a:xfrm>
            <a:off x="7114430" y="8596286"/>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2" name="Text Placeholder 11">
            <a:extLst>
              <a:ext uri="{FF2B5EF4-FFF2-40B4-BE49-F238E27FC236}">
                <a16:creationId xmlns:a16="http://schemas.microsoft.com/office/drawing/2014/main" id="{8EE80A14-44BF-1D48-8C22-8748FD98477A}"/>
              </a:ext>
            </a:extLst>
          </p:cNvPr>
          <p:cNvSpPr>
            <a:spLocks noGrp="1"/>
          </p:cNvSpPr>
          <p:nvPr>
            <p:ph type="body" sz="quarter" idx="31" hasCustomPrompt="1"/>
          </p:nvPr>
        </p:nvSpPr>
        <p:spPr>
          <a:xfrm>
            <a:off x="12197877" y="8596286"/>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3" name="Text Placeholder 11">
            <a:extLst>
              <a:ext uri="{FF2B5EF4-FFF2-40B4-BE49-F238E27FC236}">
                <a16:creationId xmlns:a16="http://schemas.microsoft.com/office/drawing/2014/main" id="{4122F631-7AEE-E940-A99A-F863EBC69A3E}"/>
              </a:ext>
            </a:extLst>
          </p:cNvPr>
          <p:cNvSpPr>
            <a:spLocks noGrp="1"/>
          </p:cNvSpPr>
          <p:nvPr>
            <p:ph type="body" sz="quarter" idx="32" hasCustomPrompt="1"/>
          </p:nvPr>
        </p:nvSpPr>
        <p:spPr>
          <a:xfrm>
            <a:off x="17276564" y="8596286"/>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4" name="Text Placeholder 11">
            <a:extLst>
              <a:ext uri="{FF2B5EF4-FFF2-40B4-BE49-F238E27FC236}">
                <a16:creationId xmlns:a16="http://schemas.microsoft.com/office/drawing/2014/main" id="{DEF7042E-C2C0-904C-A1CD-FA245CD87451}"/>
              </a:ext>
            </a:extLst>
          </p:cNvPr>
          <p:cNvSpPr>
            <a:spLocks noGrp="1"/>
          </p:cNvSpPr>
          <p:nvPr>
            <p:ph type="body" sz="quarter" idx="33" hasCustomPrompt="1"/>
          </p:nvPr>
        </p:nvSpPr>
        <p:spPr>
          <a:xfrm>
            <a:off x="2059335" y="8596286"/>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6" name="Text Placeholder 11">
            <a:extLst>
              <a:ext uri="{FF2B5EF4-FFF2-40B4-BE49-F238E27FC236}">
                <a16:creationId xmlns:a16="http://schemas.microsoft.com/office/drawing/2014/main" id="{BF736EFA-67F1-B044-A2C3-78E7C51705B6}"/>
              </a:ext>
            </a:extLst>
          </p:cNvPr>
          <p:cNvSpPr>
            <a:spLocks noGrp="1"/>
          </p:cNvSpPr>
          <p:nvPr>
            <p:ph type="body" sz="quarter" idx="35" hasCustomPrompt="1"/>
          </p:nvPr>
        </p:nvSpPr>
        <p:spPr>
          <a:xfrm>
            <a:off x="14755169" y="4523154"/>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18" name="Picture Placeholder 7">
            <a:extLst>
              <a:ext uri="{FF2B5EF4-FFF2-40B4-BE49-F238E27FC236}">
                <a16:creationId xmlns:a16="http://schemas.microsoft.com/office/drawing/2014/main" id="{E32092D4-F5E4-9948-BB3B-B209229D6C06}"/>
              </a:ext>
            </a:extLst>
          </p:cNvPr>
          <p:cNvSpPr>
            <a:spLocks noGrp="1"/>
          </p:cNvSpPr>
          <p:nvPr>
            <p:ph type="pic" sz="quarter" idx="36" hasCustomPrompt="1"/>
          </p:nvPr>
        </p:nvSpPr>
        <p:spPr>
          <a:xfrm>
            <a:off x="15943082" y="1719944"/>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0" name="Picture Placeholder 7">
            <a:extLst>
              <a:ext uri="{FF2B5EF4-FFF2-40B4-BE49-F238E27FC236}">
                <a16:creationId xmlns:a16="http://schemas.microsoft.com/office/drawing/2014/main" id="{9642D2C8-E8D9-D24B-8B56-E869E37E5558}"/>
              </a:ext>
            </a:extLst>
          </p:cNvPr>
          <p:cNvSpPr>
            <a:spLocks noGrp="1"/>
          </p:cNvSpPr>
          <p:nvPr>
            <p:ph type="pic" sz="quarter" idx="37" hasCustomPrompt="1"/>
          </p:nvPr>
        </p:nvSpPr>
        <p:spPr>
          <a:xfrm>
            <a:off x="3283936" y="5777880"/>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1" name="Picture Placeholder 7">
            <a:extLst>
              <a:ext uri="{FF2B5EF4-FFF2-40B4-BE49-F238E27FC236}">
                <a16:creationId xmlns:a16="http://schemas.microsoft.com/office/drawing/2014/main" id="{CDF87832-9FDB-3F47-97C5-15DEFCD1488C}"/>
              </a:ext>
            </a:extLst>
          </p:cNvPr>
          <p:cNvSpPr>
            <a:spLocks noGrp="1"/>
          </p:cNvSpPr>
          <p:nvPr>
            <p:ph type="pic" sz="quarter" idx="38" hasCustomPrompt="1"/>
          </p:nvPr>
        </p:nvSpPr>
        <p:spPr>
          <a:xfrm>
            <a:off x="8394042" y="5777880"/>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2" name="Picture Placeholder 7">
            <a:extLst>
              <a:ext uri="{FF2B5EF4-FFF2-40B4-BE49-F238E27FC236}">
                <a16:creationId xmlns:a16="http://schemas.microsoft.com/office/drawing/2014/main" id="{9F605B20-5BFC-D34B-AC34-62C629AE60C8}"/>
              </a:ext>
            </a:extLst>
          </p:cNvPr>
          <p:cNvSpPr>
            <a:spLocks noGrp="1"/>
          </p:cNvSpPr>
          <p:nvPr>
            <p:ph type="pic" sz="quarter" idx="39" hasCustomPrompt="1"/>
          </p:nvPr>
        </p:nvSpPr>
        <p:spPr>
          <a:xfrm>
            <a:off x="13459168" y="5777880"/>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3" name="Picture Placeholder 7">
            <a:extLst>
              <a:ext uri="{FF2B5EF4-FFF2-40B4-BE49-F238E27FC236}">
                <a16:creationId xmlns:a16="http://schemas.microsoft.com/office/drawing/2014/main" id="{CB528120-A57D-C04A-A5CE-A13C8EDF86ED}"/>
              </a:ext>
            </a:extLst>
          </p:cNvPr>
          <p:cNvSpPr>
            <a:spLocks noGrp="1"/>
          </p:cNvSpPr>
          <p:nvPr>
            <p:ph type="pic" sz="quarter" idx="40" hasCustomPrompt="1"/>
          </p:nvPr>
        </p:nvSpPr>
        <p:spPr>
          <a:xfrm>
            <a:off x="18569274" y="5777880"/>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4" name="Text Placeholder 11">
            <a:extLst>
              <a:ext uri="{FF2B5EF4-FFF2-40B4-BE49-F238E27FC236}">
                <a16:creationId xmlns:a16="http://schemas.microsoft.com/office/drawing/2014/main" id="{6BDE82E8-4C03-4846-972E-989D2C69E3BD}"/>
              </a:ext>
            </a:extLst>
          </p:cNvPr>
          <p:cNvSpPr>
            <a:spLocks noGrp="1"/>
          </p:cNvSpPr>
          <p:nvPr>
            <p:ph type="body" sz="quarter" idx="41" hasCustomPrompt="1"/>
          </p:nvPr>
        </p:nvSpPr>
        <p:spPr>
          <a:xfrm>
            <a:off x="2059335" y="12248704"/>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25" name="Picture Placeholder 7">
            <a:extLst>
              <a:ext uri="{FF2B5EF4-FFF2-40B4-BE49-F238E27FC236}">
                <a16:creationId xmlns:a16="http://schemas.microsoft.com/office/drawing/2014/main" id="{83187330-3EBE-934C-B545-3351D604B7B9}"/>
              </a:ext>
            </a:extLst>
          </p:cNvPr>
          <p:cNvSpPr>
            <a:spLocks noGrp="1"/>
          </p:cNvSpPr>
          <p:nvPr>
            <p:ph type="pic" sz="quarter" idx="42" hasCustomPrompt="1"/>
          </p:nvPr>
        </p:nvSpPr>
        <p:spPr>
          <a:xfrm>
            <a:off x="3283936" y="9430298"/>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6" name="TextBox 25">
            <a:extLst>
              <a:ext uri="{FF2B5EF4-FFF2-40B4-BE49-F238E27FC236}">
                <a16:creationId xmlns:a16="http://schemas.microsoft.com/office/drawing/2014/main" id="{550D2F5E-666A-C14D-8B7B-3A62CE2C1C05}"/>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33020525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Full picture">
    <p:bg>
      <p:bgPr>
        <a:solidFill>
          <a:schemeClr val="bg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73BADB48-5F7B-4C4D-BDD5-124AFC5BC91E}"/>
              </a:ext>
            </a:extLst>
          </p:cNvPr>
          <p:cNvSpPr txBox="1"/>
          <p:nvPr userDrawn="1"/>
        </p:nvSpPr>
        <p:spPr>
          <a:xfrm>
            <a:off x="22127664" y="12977376"/>
            <a:ext cx="1872086" cy="400110"/>
          </a:xfrm>
          <a:prstGeom prst="rect">
            <a:avLst/>
          </a:prstGeom>
          <a:noFill/>
        </p:spPr>
        <p:txBody>
          <a:bodyPr wrap="square" rtlCol="0" anchor="b">
            <a:spAutoFit/>
          </a:bodyPr>
          <a:lstStyle/>
          <a:p>
            <a:pPr algn="r"/>
            <a:fld id="{6CE035FB-656D-BE4C-9C54-3AFE6E724348}" type="slidenum">
              <a:rPr lang="en-GB" sz="2000" smtClean="0">
                <a:latin typeface="Noto IKEA Latin" panose="020B0502040504020204" pitchFamily="34" charset="0"/>
              </a:rPr>
              <a:pPr algn="r"/>
              <a:t>‹#›</a:t>
            </a:fld>
            <a:endParaRPr lang="en-GB" sz="2000">
              <a:latin typeface="Noto IKEA Latin" panose="020B0502040504020204" pitchFamily="34" charset="0"/>
            </a:endParaRPr>
          </a:p>
        </p:txBody>
      </p:sp>
      <p:sp>
        <p:nvSpPr>
          <p:cNvPr id="7" name="Picture Placeholder 10">
            <a:extLst>
              <a:ext uri="{FF2B5EF4-FFF2-40B4-BE49-F238E27FC236}">
                <a16:creationId xmlns:a16="http://schemas.microsoft.com/office/drawing/2014/main" id="{83374E3F-FD44-FF48-B59B-E0793285F562}"/>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picture into this frame</a:t>
            </a:r>
          </a:p>
        </p:txBody>
      </p:sp>
      <p:sp>
        <p:nvSpPr>
          <p:cNvPr id="4" name="TextBox 3">
            <a:extLst>
              <a:ext uri="{FF2B5EF4-FFF2-40B4-BE49-F238E27FC236}">
                <a16:creationId xmlns:a16="http://schemas.microsoft.com/office/drawing/2014/main" id="{A28FA5BF-CC16-F74C-B2AD-7675C1B452C4}"/>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13358955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pcitures">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7573FD41-AC43-F04C-8700-DDD5AFA33E14}"/>
              </a:ext>
            </a:extLst>
          </p:cNvPr>
          <p:cNvSpPr>
            <a:spLocks noGrp="1"/>
          </p:cNvSpPr>
          <p:nvPr>
            <p:ph type="pic" sz="quarter" idx="14" hasCustomPrompt="1"/>
          </p:nvPr>
        </p:nvSpPr>
        <p:spPr>
          <a:xfrm>
            <a:off x="491206" y="486000"/>
            <a:ext cx="11483977" cy="9827988"/>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0" name="Picture Placeholder 10">
            <a:extLst>
              <a:ext uri="{FF2B5EF4-FFF2-40B4-BE49-F238E27FC236}">
                <a16:creationId xmlns:a16="http://schemas.microsoft.com/office/drawing/2014/main" id="{250173C0-66DE-2B44-9C5C-228A0DC74671}"/>
              </a:ext>
            </a:extLst>
          </p:cNvPr>
          <p:cNvSpPr>
            <a:spLocks noGrp="1"/>
          </p:cNvSpPr>
          <p:nvPr>
            <p:ph type="pic" sz="quarter" idx="18" hasCustomPrompt="1"/>
          </p:nvPr>
        </p:nvSpPr>
        <p:spPr>
          <a:xfrm>
            <a:off x="12407230" y="486000"/>
            <a:ext cx="11483977" cy="9827988"/>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1" name="Text Placeholder 5">
            <a:extLst>
              <a:ext uri="{FF2B5EF4-FFF2-40B4-BE49-F238E27FC236}">
                <a16:creationId xmlns:a16="http://schemas.microsoft.com/office/drawing/2014/main" id="{32E65FF3-CD8C-8D42-A347-F026094D4707}"/>
              </a:ext>
            </a:extLst>
          </p:cNvPr>
          <p:cNvSpPr>
            <a:spLocks noGrp="1"/>
          </p:cNvSpPr>
          <p:nvPr>
            <p:ph type="body" sz="quarter" idx="33" hasCustomPrompt="1"/>
          </p:nvPr>
        </p:nvSpPr>
        <p:spPr>
          <a:xfrm>
            <a:off x="486322" y="10602416"/>
            <a:ext cx="8679903" cy="1440360"/>
          </a:xfrm>
        </p:spPr>
        <p:txBody>
          <a:bodyPr>
            <a:noAutofit/>
          </a:bodyPr>
          <a:lstStyle>
            <a:lvl1pPr>
              <a:spcBef>
                <a:spcPts val="0"/>
              </a:spcBef>
              <a:defRPr sz="3200"/>
            </a:lvl1pPr>
          </a:lstStyle>
          <a:p>
            <a:pPr lvl="0"/>
            <a:r>
              <a:rPr lang="en-GB" noProof="0"/>
              <a:t>Put the description text here, keep it regular 32 </a:t>
            </a:r>
            <a:r>
              <a:rPr lang="en-GB" noProof="0" err="1"/>
              <a:t>pt</a:t>
            </a:r>
            <a:endParaRPr lang="en-GB" noProof="0"/>
          </a:p>
        </p:txBody>
      </p:sp>
      <p:sp>
        <p:nvSpPr>
          <p:cNvPr id="12" name="Text Placeholder 5">
            <a:extLst>
              <a:ext uri="{FF2B5EF4-FFF2-40B4-BE49-F238E27FC236}">
                <a16:creationId xmlns:a16="http://schemas.microsoft.com/office/drawing/2014/main" id="{7A080EE2-1AD5-5F46-8A70-65AD78446B90}"/>
              </a:ext>
            </a:extLst>
          </p:cNvPr>
          <p:cNvSpPr>
            <a:spLocks noGrp="1"/>
          </p:cNvSpPr>
          <p:nvPr>
            <p:ph type="body" sz="quarter" idx="34" hasCustomPrompt="1"/>
          </p:nvPr>
        </p:nvSpPr>
        <p:spPr>
          <a:xfrm>
            <a:off x="12407233" y="10602416"/>
            <a:ext cx="8928769" cy="1440360"/>
          </a:xfrm>
        </p:spPr>
        <p:txBody>
          <a:bodyPr>
            <a:noAutofit/>
          </a:bodyPr>
          <a:lstStyle>
            <a:lvl1pPr>
              <a:spcBef>
                <a:spcPts val="0"/>
              </a:spcBef>
              <a:defRPr sz="3200"/>
            </a:lvl1pPr>
          </a:lstStyle>
          <a:p>
            <a:pPr lvl="0"/>
            <a:r>
              <a:rPr lang="en-GB" noProof="0"/>
              <a:t>Put the </a:t>
            </a:r>
            <a:r>
              <a:rPr lang="en-GB" noProof="0" err="1"/>
              <a:t>desccription</a:t>
            </a:r>
            <a:r>
              <a:rPr lang="en-GB" noProof="0"/>
              <a:t> text here, keep it regular 32 </a:t>
            </a:r>
            <a:r>
              <a:rPr lang="en-GB" noProof="0" err="1"/>
              <a:t>pt</a:t>
            </a:r>
            <a:endParaRPr lang="en-GB" noProof="0"/>
          </a:p>
        </p:txBody>
      </p:sp>
      <p:sp>
        <p:nvSpPr>
          <p:cNvPr id="13" name="TextBox 12">
            <a:extLst>
              <a:ext uri="{FF2B5EF4-FFF2-40B4-BE49-F238E27FC236}">
                <a16:creationId xmlns:a16="http://schemas.microsoft.com/office/drawing/2014/main" id="{2B01AC93-92D9-A147-BDC6-27DC8FA8CB34}"/>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79189876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Four picture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124A353B-E374-7740-BADE-D936639B642B}"/>
              </a:ext>
            </a:extLst>
          </p:cNvPr>
          <p:cNvSpPr>
            <a:spLocks noGrp="1"/>
          </p:cNvSpPr>
          <p:nvPr>
            <p:ph type="body" sz="half" idx="2" hasCustomPrompt="1"/>
          </p:nvPr>
        </p:nvSpPr>
        <p:spPr>
          <a:xfrm>
            <a:off x="6790607" y="486000"/>
            <a:ext cx="5004056" cy="5939952"/>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3" name="Picture Placeholder 2">
            <a:extLst>
              <a:ext uri="{FF2B5EF4-FFF2-40B4-BE49-F238E27FC236}">
                <a16:creationId xmlns:a16="http://schemas.microsoft.com/office/drawing/2014/main" id="{DEE2AB82-CBD5-1145-9E32-3577A8B871DC}"/>
              </a:ext>
            </a:extLst>
          </p:cNvPr>
          <p:cNvSpPr>
            <a:spLocks noGrp="1"/>
          </p:cNvSpPr>
          <p:nvPr>
            <p:ph type="pic" sz="quarter" idx="19" hasCustomPrompt="1"/>
          </p:nvPr>
        </p:nvSpPr>
        <p:spPr>
          <a:xfrm>
            <a:off x="486000" y="486000"/>
            <a:ext cx="5849999" cy="6372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9" name="Picture Placeholder 2">
            <a:extLst>
              <a:ext uri="{FF2B5EF4-FFF2-40B4-BE49-F238E27FC236}">
                <a16:creationId xmlns:a16="http://schemas.microsoft.com/office/drawing/2014/main" id="{224B314B-F368-C345-A11C-63D267394698}"/>
              </a:ext>
            </a:extLst>
          </p:cNvPr>
          <p:cNvSpPr>
            <a:spLocks noGrp="1"/>
          </p:cNvSpPr>
          <p:nvPr>
            <p:ph type="pic" sz="quarter" idx="20" hasCustomPrompt="1"/>
          </p:nvPr>
        </p:nvSpPr>
        <p:spPr>
          <a:xfrm>
            <a:off x="6336000" y="6858000"/>
            <a:ext cx="5849999" cy="6372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3" name="Picture Placeholder 2">
            <a:extLst>
              <a:ext uri="{FF2B5EF4-FFF2-40B4-BE49-F238E27FC236}">
                <a16:creationId xmlns:a16="http://schemas.microsoft.com/office/drawing/2014/main" id="{0BDAE9D1-09EE-5948-864F-662D2BEFC95D}"/>
              </a:ext>
            </a:extLst>
          </p:cNvPr>
          <p:cNvSpPr>
            <a:spLocks noGrp="1"/>
          </p:cNvSpPr>
          <p:nvPr>
            <p:ph type="pic" sz="quarter" idx="21" hasCustomPrompt="1"/>
          </p:nvPr>
        </p:nvSpPr>
        <p:spPr>
          <a:xfrm>
            <a:off x="12201996" y="486000"/>
            <a:ext cx="5849999" cy="6372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4" name="Picture Placeholder 2">
            <a:extLst>
              <a:ext uri="{FF2B5EF4-FFF2-40B4-BE49-F238E27FC236}">
                <a16:creationId xmlns:a16="http://schemas.microsoft.com/office/drawing/2014/main" id="{5A3CC44A-564E-0843-B5E6-9CA66C87720E}"/>
              </a:ext>
            </a:extLst>
          </p:cNvPr>
          <p:cNvSpPr>
            <a:spLocks noGrp="1"/>
          </p:cNvSpPr>
          <p:nvPr>
            <p:ph type="pic" sz="quarter" idx="22" hasCustomPrompt="1"/>
          </p:nvPr>
        </p:nvSpPr>
        <p:spPr>
          <a:xfrm>
            <a:off x="18051997" y="6858000"/>
            <a:ext cx="5849999" cy="6372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5" name="Text Placeholder 3">
            <a:extLst>
              <a:ext uri="{FF2B5EF4-FFF2-40B4-BE49-F238E27FC236}">
                <a16:creationId xmlns:a16="http://schemas.microsoft.com/office/drawing/2014/main" id="{18BFCA73-5A52-2948-854C-23498017B30C}"/>
              </a:ext>
            </a:extLst>
          </p:cNvPr>
          <p:cNvSpPr>
            <a:spLocks noGrp="1"/>
          </p:cNvSpPr>
          <p:nvPr>
            <p:ph type="body" sz="half" idx="23" hasCustomPrompt="1"/>
          </p:nvPr>
        </p:nvSpPr>
        <p:spPr>
          <a:xfrm>
            <a:off x="858981" y="7290048"/>
            <a:ext cx="5004056" cy="5939952"/>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36" name="Text Placeholder 3">
            <a:extLst>
              <a:ext uri="{FF2B5EF4-FFF2-40B4-BE49-F238E27FC236}">
                <a16:creationId xmlns:a16="http://schemas.microsoft.com/office/drawing/2014/main" id="{26C19E7B-3293-A34C-8019-B66220F68581}"/>
              </a:ext>
            </a:extLst>
          </p:cNvPr>
          <p:cNvSpPr>
            <a:spLocks noGrp="1"/>
          </p:cNvSpPr>
          <p:nvPr>
            <p:ph type="body" sz="half" idx="24" hasCustomPrompt="1"/>
          </p:nvPr>
        </p:nvSpPr>
        <p:spPr>
          <a:xfrm>
            <a:off x="18500007" y="486000"/>
            <a:ext cx="5004056" cy="5939952"/>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37" name="Text Placeholder 3">
            <a:extLst>
              <a:ext uri="{FF2B5EF4-FFF2-40B4-BE49-F238E27FC236}">
                <a16:creationId xmlns:a16="http://schemas.microsoft.com/office/drawing/2014/main" id="{71E04723-43C9-E249-B03C-FDED0C006F77}"/>
              </a:ext>
            </a:extLst>
          </p:cNvPr>
          <p:cNvSpPr>
            <a:spLocks noGrp="1"/>
          </p:cNvSpPr>
          <p:nvPr>
            <p:ph type="body" sz="half" idx="25" hasCustomPrompt="1"/>
          </p:nvPr>
        </p:nvSpPr>
        <p:spPr>
          <a:xfrm>
            <a:off x="12568381" y="7290048"/>
            <a:ext cx="5004056" cy="5939952"/>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11" name="TextBox 10">
            <a:extLst>
              <a:ext uri="{FF2B5EF4-FFF2-40B4-BE49-F238E27FC236}">
                <a16:creationId xmlns:a16="http://schemas.microsoft.com/office/drawing/2014/main" id="{5D4B7E75-FBA5-1D4B-BA9C-11BD2FE3C7B0}"/>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04782595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Eight pictures">
    <p:spTree>
      <p:nvGrpSpPr>
        <p:cNvPr id="1" name=""/>
        <p:cNvGrpSpPr/>
        <p:nvPr/>
      </p:nvGrpSpPr>
      <p:grpSpPr>
        <a:xfrm>
          <a:off x="0" y="0"/>
          <a:ext cx="0" cy="0"/>
          <a:chOff x="0" y="0"/>
          <a:chExt cx="0" cy="0"/>
        </a:xfrm>
      </p:grpSpPr>
      <p:sp>
        <p:nvSpPr>
          <p:cNvPr id="13" name="Picture Placeholder 2">
            <a:extLst>
              <a:ext uri="{FF2B5EF4-FFF2-40B4-BE49-F238E27FC236}">
                <a16:creationId xmlns:a16="http://schemas.microsoft.com/office/drawing/2014/main" id="{D1148F2D-229C-E245-B364-AD926A8E5678}"/>
              </a:ext>
            </a:extLst>
          </p:cNvPr>
          <p:cNvSpPr>
            <a:spLocks noGrp="1"/>
          </p:cNvSpPr>
          <p:nvPr>
            <p:ph type="pic" sz="quarter" idx="19" hasCustomPrompt="1"/>
          </p:nvPr>
        </p:nvSpPr>
        <p:spPr>
          <a:xfrm>
            <a:off x="486000" y="486001"/>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4" name="Text Placeholder 3">
            <a:extLst>
              <a:ext uri="{FF2B5EF4-FFF2-40B4-BE49-F238E27FC236}">
                <a16:creationId xmlns:a16="http://schemas.microsoft.com/office/drawing/2014/main" id="{EF6C2542-122E-CD4A-95A0-0315258EEA53}"/>
              </a:ext>
            </a:extLst>
          </p:cNvPr>
          <p:cNvSpPr>
            <a:spLocks noGrp="1"/>
          </p:cNvSpPr>
          <p:nvPr>
            <p:ph type="body" sz="half" idx="23" hasCustomPrompt="1"/>
          </p:nvPr>
        </p:nvSpPr>
        <p:spPr>
          <a:xfrm>
            <a:off x="513287" y="3888024"/>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15" name="Picture Placeholder 2">
            <a:extLst>
              <a:ext uri="{FF2B5EF4-FFF2-40B4-BE49-F238E27FC236}">
                <a16:creationId xmlns:a16="http://schemas.microsoft.com/office/drawing/2014/main" id="{EBB6C642-10AD-6A47-8744-E825A5EEEA34}"/>
              </a:ext>
            </a:extLst>
          </p:cNvPr>
          <p:cNvSpPr>
            <a:spLocks noGrp="1"/>
          </p:cNvSpPr>
          <p:nvPr>
            <p:ph type="pic" sz="quarter" idx="24" hasCustomPrompt="1"/>
          </p:nvPr>
        </p:nvSpPr>
        <p:spPr>
          <a:xfrm>
            <a:off x="6430565" y="486001"/>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6" name="Picture Placeholder 2">
            <a:extLst>
              <a:ext uri="{FF2B5EF4-FFF2-40B4-BE49-F238E27FC236}">
                <a16:creationId xmlns:a16="http://schemas.microsoft.com/office/drawing/2014/main" id="{B2B7FCEF-39D8-6D47-A0D2-218CCB2588EF}"/>
              </a:ext>
            </a:extLst>
          </p:cNvPr>
          <p:cNvSpPr>
            <a:spLocks noGrp="1"/>
          </p:cNvSpPr>
          <p:nvPr>
            <p:ph type="pic" sz="quarter" idx="25" hasCustomPrompt="1"/>
          </p:nvPr>
        </p:nvSpPr>
        <p:spPr>
          <a:xfrm>
            <a:off x="12367245" y="486001"/>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7" name="Picture Placeholder 2">
            <a:extLst>
              <a:ext uri="{FF2B5EF4-FFF2-40B4-BE49-F238E27FC236}">
                <a16:creationId xmlns:a16="http://schemas.microsoft.com/office/drawing/2014/main" id="{D227A8B8-BE42-0845-B6D6-A1A356E29BFC}"/>
              </a:ext>
            </a:extLst>
          </p:cNvPr>
          <p:cNvSpPr>
            <a:spLocks noGrp="1"/>
          </p:cNvSpPr>
          <p:nvPr>
            <p:ph type="pic" sz="quarter" idx="22" hasCustomPrompt="1"/>
          </p:nvPr>
        </p:nvSpPr>
        <p:spPr>
          <a:xfrm>
            <a:off x="18317394" y="461345"/>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8" name="Text Placeholder 3">
            <a:extLst>
              <a:ext uri="{FF2B5EF4-FFF2-40B4-BE49-F238E27FC236}">
                <a16:creationId xmlns:a16="http://schemas.microsoft.com/office/drawing/2014/main" id="{8BC99C37-5961-7A49-BB6C-EF345DB054E6}"/>
              </a:ext>
            </a:extLst>
          </p:cNvPr>
          <p:cNvSpPr>
            <a:spLocks noGrp="1"/>
          </p:cNvSpPr>
          <p:nvPr>
            <p:ph type="body" sz="half" idx="26" hasCustomPrompt="1"/>
          </p:nvPr>
        </p:nvSpPr>
        <p:spPr>
          <a:xfrm>
            <a:off x="6430566" y="3888024"/>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19" name="Text Placeholder 3">
            <a:extLst>
              <a:ext uri="{FF2B5EF4-FFF2-40B4-BE49-F238E27FC236}">
                <a16:creationId xmlns:a16="http://schemas.microsoft.com/office/drawing/2014/main" id="{EA510DE5-BF9D-6347-AB9C-33A7759FF1D4}"/>
              </a:ext>
            </a:extLst>
          </p:cNvPr>
          <p:cNvSpPr>
            <a:spLocks noGrp="1"/>
          </p:cNvSpPr>
          <p:nvPr>
            <p:ph type="body" sz="half" idx="27" hasCustomPrompt="1"/>
          </p:nvPr>
        </p:nvSpPr>
        <p:spPr>
          <a:xfrm>
            <a:off x="12347846" y="3888024"/>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24" name="Text Placeholder 3">
            <a:extLst>
              <a:ext uri="{FF2B5EF4-FFF2-40B4-BE49-F238E27FC236}">
                <a16:creationId xmlns:a16="http://schemas.microsoft.com/office/drawing/2014/main" id="{A33793B0-DBB7-ED4A-8B92-AE77D9B42399}"/>
              </a:ext>
            </a:extLst>
          </p:cNvPr>
          <p:cNvSpPr>
            <a:spLocks noGrp="1"/>
          </p:cNvSpPr>
          <p:nvPr>
            <p:ph type="body" sz="half" idx="28" hasCustomPrompt="1"/>
          </p:nvPr>
        </p:nvSpPr>
        <p:spPr>
          <a:xfrm>
            <a:off x="18344680" y="3888024"/>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27" name="Picture Placeholder 2">
            <a:extLst>
              <a:ext uri="{FF2B5EF4-FFF2-40B4-BE49-F238E27FC236}">
                <a16:creationId xmlns:a16="http://schemas.microsoft.com/office/drawing/2014/main" id="{37D70117-C030-944C-BBCC-0D4544F2D82B}"/>
              </a:ext>
            </a:extLst>
          </p:cNvPr>
          <p:cNvSpPr>
            <a:spLocks noGrp="1"/>
          </p:cNvSpPr>
          <p:nvPr>
            <p:ph type="pic" sz="quarter" idx="29" hasCustomPrompt="1"/>
          </p:nvPr>
        </p:nvSpPr>
        <p:spPr>
          <a:xfrm>
            <a:off x="486000" y="6885325"/>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8" name="Text Placeholder 3">
            <a:extLst>
              <a:ext uri="{FF2B5EF4-FFF2-40B4-BE49-F238E27FC236}">
                <a16:creationId xmlns:a16="http://schemas.microsoft.com/office/drawing/2014/main" id="{5568282C-2BAE-0F42-AC35-AC2003AF14A7}"/>
              </a:ext>
            </a:extLst>
          </p:cNvPr>
          <p:cNvSpPr>
            <a:spLocks noGrp="1"/>
          </p:cNvSpPr>
          <p:nvPr>
            <p:ph type="body" sz="half" idx="30" hasCustomPrompt="1"/>
          </p:nvPr>
        </p:nvSpPr>
        <p:spPr>
          <a:xfrm>
            <a:off x="513287" y="10287348"/>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29" name="Picture Placeholder 2">
            <a:extLst>
              <a:ext uri="{FF2B5EF4-FFF2-40B4-BE49-F238E27FC236}">
                <a16:creationId xmlns:a16="http://schemas.microsoft.com/office/drawing/2014/main" id="{37CDDD74-2C1A-CC4F-BC4A-348492B730E7}"/>
              </a:ext>
            </a:extLst>
          </p:cNvPr>
          <p:cNvSpPr>
            <a:spLocks noGrp="1"/>
          </p:cNvSpPr>
          <p:nvPr>
            <p:ph type="pic" sz="quarter" idx="31" hasCustomPrompt="1"/>
          </p:nvPr>
        </p:nvSpPr>
        <p:spPr>
          <a:xfrm>
            <a:off x="6430565" y="6885325"/>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0" name="Picture Placeholder 2">
            <a:extLst>
              <a:ext uri="{FF2B5EF4-FFF2-40B4-BE49-F238E27FC236}">
                <a16:creationId xmlns:a16="http://schemas.microsoft.com/office/drawing/2014/main" id="{F877013E-58D2-1048-9A44-45952400B3C6}"/>
              </a:ext>
            </a:extLst>
          </p:cNvPr>
          <p:cNvSpPr>
            <a:spLocks noGrp="1"/>
          </p:cNvSpPr>
          <p:nvPr>
            <p:ph type="pic" sz="quarter" idx="32" hasCustomPrompt="1"/>
          </p:nvPr>
        </p:nvSpPr>
        <p:spPr>
          <a:xfrm>
            <a:off x="12367245" y="6885325"/>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1" name="Picture Placeholder 2">
            <a:extLst>
              <a:ext uri="{FF2B5EF4-FFF2-40B4-BE49-F238E27FC236}">
                <a16:creationId xmlns:a16="http://schemas.microsoft.com/office/drawing/2014/main" id="{E8D329DB-9A89-5049-B680-BC0FE4373220}"/>
              </a:ext>
            </a:extLst>
          </p:cNvPr>
          <p:cNvSpPr>
            <a:spLocks noGrp="1"/>
          </p:cNvSpPr>
          <p:nvPr>
            <p:ph type="pic" sz="quarter" idx="33" hasCustomPrompt="1"/>
          </p:nvPr>
        </p:nvSpPr>
        <p:spPr>
          <a:xfrm>
            <a:off x="18317394" y="6860669"/>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2" name="Text Placeholder 3">
            <a:extLst>
              <a:ext uri="{FF2B5EF4-FFF2-40B4-BE49-F238E27FC236}">
                <a16:creationId xmlns:a16="http://schemas.microsoft.com/office/drawing/2014/main" id="{DCCD54B1-4EFD-D84A-AB50-B7F0F8E84372}"/>
              </a:ext>
            </a:extLst>
          </p:cNvPr>
          <p:cNvSpPr>
            <a:spLocks noGrp="1"/>
          </p:cNvSpPr>
          <p:nvPr>
            <p:ph type="body" sz="half" idx="34" hasCustomPrompt="1"/>
          </p:nvPr>
        </p:nvSpPr>
        <p:spPr>
          <a:xfrm>
            <a:off x="6430566" y="10287348"/>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33" name="Text Placeholder 3">
            <a:extLst>
              <a:ext uri="{FF2B5EF4-FFF2-40B4-BE49-F238E27FC236}">
                <a16:creationId xmlns:a16="http://schemas.microsoft.com/office/drawing/2014/main" id="{EA8F0C11-5CFB-B74A-9620-D6344A6CE488}"/>
              </a:ext>
            </a:extLst>
          </p:cNvPr>
          <p:cNvSpPr>
            <a:spLocks noGrp="1"/>
          </p:cNvSpPr>
          <p:nvPr>
            <p:ph type="body" sz="half" idx="35" hasCustomPrompt="1"/>
          </p:nvPr>
        </p:nvSpPr>
        <p:spPr>
          <a:xfrm>
            <a:off x="12347846" y="10287348"/>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34" name="Text Placeholder 3">
            <a:extLst>
              <a:ext uri="{FF2B5EF4-FFF2-40B4-BE49-F238E27FC236}">
                <a16:creationId xmlns:a16="http://schemas.microsoft.com/office/drawing/2014/main" id="{49DC448D-7351-DA40-9CEB-36EEBA5F7C1B}"/>
              </a:ext>
            </a:extLst>
          </p:cNvPr>
          <p:cNvSpPr>
            <a:spLocks noGrp="1"/>
          </p:cNvSpPr>
          <p:nvPr>
            <p:ph type="body" sz="half" idx="36" hasCustomPrompt="1"/>
          </p:nvPr>
        </p:nvSpPr>
        <p:spPr>
          <a:xfrm>
            <a:off x="18344680" y="10287348"/>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20" name="TextBox 19">
            <a:extLst>
              <a:ext uri="{FF2B5EF4-FFF2-40B4-BE49-F238E27FC236}">
                <a16:creationId xmlns:a16="http://schemas.microsoft.com/office/drawing/2014/main" id="{13CC2D47-81A3-FF42-97E8-18400B5ECD17}"/>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88922495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efore/aft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413F907-AE77-0746-B805-0D2E5F01B01D}"/>
              </a:ext>
            </a:extLst>
          </p:cNvPr>
          <p:cNvSpPr>
            <a:spLocks noGrp="1"/>
          </p:cNvSpPr>
          <p:nvPr>
            <p:ph type="pic" sz="quarter" idx="17" hasCustomPrompt="1"/>
          </p:nvPr>
        </p:nvSpPr>
        <p:spPr>
          <a:xfrm>
            <a:off x="3046415" y="4124209"/>
            <a:ext cx="7417707" cy="4462582"/>
          </a:xfrm>
          <a:solidFill>
            <a:srgbClr val="E4E5E3"/>
          </a:solidFill>
        </p:spPr>
        <p:txBody>
          <a:bodyPr>
            <a:normAutofit/>
          </a:bodyPr>
          <a:lstStyle>
            <a:lvl1pPr marL="0" indent="0" algn="ctr">
              <a:buNone/>
              <a:defRPr sz="2400">
                <a:solidFill>
                  <a:schemeClr val="tx1">
                    <a:lumMod val="65000"/>
                    <a:lumOff val="35000"/>
                  </a:schemeClr>
                </a:solidFill>
              </a:defRPr>
            </a:lvl1pPr>
          </a:lstStyle>
          <a:p>
            <a:r>
              <a:rPr lang="en-NL"/>
              <a:t>Drag and drop a topic-related picture into this frame</a:t>
            </a:r>
          </a:p>
        </p:txBody>
      </p:sp>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13984332" y="4124209"/>
            <a:ext cx="7351669" cy="4462582"/>
          </a:xfrm>
          <a:solidFill>
            <a:srgbClr val="E4E5E3"/>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6" name="Text Placeholder 5">
            <a:extLst>
              <a:ext uri="{FF2B5EF4-FFF2-40B4-BE49-F238E27FC236}">
                <a16:creationId xmlns:a16="http://schemas.microsoft.com/office/drawing/2014/main" id="{8B805C66-9B81-6F4A-8653-8751DC71F3C3}"/>
              </a:ext>
            </a:extLst>
          </p:cNvPr>
          <p:cNvSpPr>
            <a:spLocks noGrp="1"/>
          </p:cNvSpPr>
          <p:nvPr>
            <p:ph type="body" sz="quarter" idx="12" hasCustomPrompt="1"/>
          </p:nvPr>
        </p:nvSpPr>
        <p:spPr>
          <a:xfrm>
            <a:off x="3046415" y="9038944"/>
            <a:ext cx="7417707" cy="3003832"/>
          </a:xfrm>
        </p:spPr>
        <p:txBody>
          <a:bodyPr>
            <a:noAutofit/>
          </a:bodyPr>
          <a:lstStyle>
            <a:lvl1pPr>
              <a:spcBef>
                <a:spcPts val="0"/>
              </a:spcBef>
              <a:defRPr sz="3200"/>
            </a:lvl1pPr>
          </a:lstStyle>
          <a:p>
            <a:pPr lvl="0"/>
            <a:r>
              <a:rPr lang="en-GB" noProof="0"/>
              <a:t>Put the paragraph text here, keep it regular 32 </a:t>
            </a:r>
            <a:r>
              <a:rPr lang="en-GB" noProof="0" err="1"/>
              <a:t>pt</a:t>
            </a:r>
            <a:endParaRPr lang="en-GB" noProof="0"/>
          </a:p>
        </p:txBody>
      </p:sp>
      <p:sp>
        <p:nvSpPr>
          <p:cNvPr id="17" name="Text Placeholder 5">
            <a:extLst>
              <a:ext uri="{FF2B5EF4-FFF2-40B4-BE49-F238E27FC236}">
                <a16:creationId xmlns:a16="http://schemas.microsoft.com/office/drawing/2014/main" id="{FA6FB3B4-ED87-C644-AEAC-F1AF465F1548}"/>
              </a:ext>
            </a:extLst>
          </p:cNvPr>
          <p:cNvSpPr>
            <a:spLocks noGrp="1"/>
          </p:cNvSpPr>
          <p:nvPr>
            <p:ph type="body" sz="quarter" idx="22" hasCustomPrompt="1"/>
          </p:nvPr>
        </p:nvSpPr>
        <p:spPr>
          <a:xfrm>
            <a:off x="13993172" y="9038945"/>
            <a:ext cx="7342828" cy="3003830"/>
          </a:xfrm>
        </p:spPr>
        <p:txBody>
          <a:bodyPr>
            <a:noAutofit/>
          </a:bodyPr>
          <a:lstStyle>
            <a:lvl1pPr>
              <a:spcBef>
                <a:spcPts val="0"/>
              </a:spcBef>
              <a:defRPr sz="3200"/>
            </a:lvl1pPr>
          </a:lstStyle>
          <a:p>
            <a:pPr lvl="0"/>
            <a:r>
              <a:rPr lang="en-GB" noProof="0"/>
              <a:t>Put the paragraph text here, keep it regular 32 </a:t>
            </a:r>
            <a:r>
              <a:rPr lang="en-GB" noProof="0" err="1"/>
              <a:t>pt</a:t>
            </a:r>
            <a:endParaRPr lang="en-GB" noProof="0"/>
          </a:p>
        </p:txBody>
      </p:sp>
      <p:pic>
        <p:nvPicPr>
          <p:cNvPr id="6" name="Graphic 5">
            <a:extLst>
              <a:ext uri="{FF2B5EF4-FFF2-40B4-BE49-F238E27FC236}">
                <a16:creationId xmlns:a16="http://schemas.microsoft.com/office/drawing/2014/main" id="{326B79F7-6D85-D543-AFB0-64FD75BF7EB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931207" y="5056160"/>
            <a:ext cx="2520000" cy="2520000"/>
          </a:xfrm>
          <a:prstGeom prst="rect">
            <a:avLst/>
          </a:prstGeom>
        </p:spPr>
      </p:pic>
      <p:sp>
        <p:nvSpPr>
          <p:cNvPr id="10" name="Title 3">
            <a:extLst>
              <a:ext uri="{FF2B5EF4-FFF2-40B4-BE49-F238E27FC236}">
                <a16:creationId xmlns:a16="http://schemas.microsoft.com/office/drawing/2014/main" id="{F1E86907-9BCD-794E-BD6D-4F29BDCAC4DD}"/>
              </a:ext>
            </a:extLst>
          </p:cNvPr>
          <p:cNvSpPr>
            <a:spLocks noGrp="1"/>
          </p:cNvSpPr>
          <p:nvPr>
            <p:ph type="title" hasCustomPrompt="1"/>
          </p:nvPr>
        </p:nvSpPr>
        <p:spPr>
          <a:xfrm>
            <a:off x="1676293" y="1677600"/>
            <a:ext cx="21033007" cy="2446608"/>
          </a:xfrm>
        </p:spPr>
        <p:txBody>
          <a:bodyPr/>
          <a:lstStyle>
            <a:lvl1pPr>
              <a:defRPr sz="6000" spc="0" baseline="0"/>
            </a:lvl1pPr>
          </a:lstStyle>
          <a:p>
            <a:r>
              <a:rPr lang="en-GB"/>
              <a:t>Put a short headline here, keep it bold 60 </a:t>
            </a:r>
            <a:r>
              <a:rPr lang="en-GB" err="1"/>
              <a:t>pt</a:t>
            </a:r>
            <a:endParaRPr lang="en-NL"/>
          </a:p>
        </p:txBody>
      </p:sp>
      <p:sp>
        <p:nvSpPr>
          <p:cNvPr id="4" name="Footer Placeholder 3">
            <a:extLst>
              <a:ext uri="{FF2B5EF4-FFF2-40B4-BE49-F238E27FC236}">
                <a16:creationId xmlns:a16="http://schemas.microsoft.com/office/drawing/2014/main" id="{98B6467D-F33B-A84D-B882-5C4860E480A0}"/>
              </a:ext>
            </a:extLst>
          </p:cNvPr>
          <p:cNvSpPr>
            <a:spLocks noGrp="1"/>
          </p:cNvSpPr>
          <p:nvPr>
            <p:ph type="ftr" sz="quarter" idx="23"/>
          </p:nvPr>
        </p:nvSpPr>
        <p:spPr/>
        <p:txBody>
          <a:bodyPr/>
          <a:lstStyle/>
          <a:p>
            <a:endParaRPr lang="en-NL"/>
          </a:p>
        </p:txBody>
      </p:sp>
      <p:sp>
        <p:nvSpPr>
          <p:cNvPr id="13" name="TextBox 12">
            <a:extLst>
              <a:ext uri="{FF2B5EF4-FFF2-40B4-BE49-F238E27FC236}">
                <a16:creationId xmlns:a16="http://schemas.microsoft.com/office/drawing/2014/main" id="{698B3729-CC41-244D-B453-5B310C875397}"/>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82382358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From/to">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982E2EA-1137-0846-98DC-3E6332C29A67}"/>
              </a:ext>
            </a:extLst>
          </p:cNvPr>
          <p:cNvSpPr>
            <a:spLocks noGrp="1"/>
          </p:cNvSpPr>
          <p:nvPr>
            <p:ph type="body" sz="quarter" idx="10" hasCustomPrompt="1"/>
          </p:nvPr>
        </p:nvSpPr>
        <p:spPr>
          <a:xfrm>
            <a:off x="2686772" y="51298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5" name="Text Placeholder 5">
            <a:extLst>
              <a:ext uri="{FF2B5EF4-FFF2-40B4-BE49-F238E27FC236}">
                <a16:creationId xmlns:a16="http://schemas.microsoft.com/office/drawing/2014/main" id="{BB2544E0-599A-0E4D-B7C9-0338205DD470}"/>
              </a:ext>
            </a:extLst>
          </p:cNvPr>
          <p:cNvSpPr>
            <a:spLocks noGrp="1"/>
          </p:cNvSpPr>
          <p:nvPr>
            <p:ph type="body" sz="quarter" idx="20" hasCustomPrompt="1"/>
          </p:nvPr>
        </p:nvSpPr>
        <p:spPr>
          <a:xfrm>
            <a:off x="13902138" y="51298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6" name="Text Placeholder 5">
            <a:extLst>
              <a:ext uri="{FF2B5EF4-FFF2-40B4-BE49-F238E27FC236}">
                <a16:creationId xmlns:a16="http://schemas.microsoft.com/office/drawing/2014/main" id="{7CD185CC-288C-914E-B039-9E34B6521AAE}"/>
              </a:ext>
            </a:extLst>
          </p:cNvPr>
          <p:cNvSpPr>
            <a:spLocks noGrp="1"/>
          </p:cNvSpPr>
          <p:nvPr>
            <p:ph type="body" sz="quarter" idx="21" hasCustomPrompt="1"/>
          </p:nvPr>
        </p:nvSpPr>
        <p:spPr>
          <a:xfrm>
            <a:off x="2686772" y="686645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7" name="Text Placeholder 5">
            <a:extLst>
              <a:ext uri="{FF2B5EF4-FFF2-40B4-BE49-F238E27FC236}">
                <a16:creationId xmlns:a16="http://schemas.microsoft.com/office/drawing/2014/main" id="{734DFA83-0489-374D-984E-D148AF15FB19}"/>
              </a:ext>
            </a:extLst>
          </p:cNvPr>
          <p:cNvSpPr>
            <a:spLocks noGrp="1"/>
          </p:cNvSpPr>
          <p:nvPr>
            <p:ph type="body" sz="quarter" idx="22" hasCustomPrompt="1"/>
          </p:nvPr>
        </p:nvSpPr>
        <p:spPr>
          <a:xfrm>
            <a:off x="13902138" y="686645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8" name="Text Placeholder 5">
            <a:extLst>
              <a:ext uri="{FF2B5EF4-FFF2-40B4-BE49-F238E27FC236}">
                <a16:creationId xmlns:a16="http://schemas.microsoft.com/office/drawing/2014/main" id="{40A584AF-EFDF-6C45-8450-E6896AA5447E}"/>
              </a:ext>
            </a:extLst>
          </p:cNvPr>
          <p:cNvSpPr>
            <a:spLocks noGrp="1"/>
          </p:cNvSpPr>
          <p:nvPr>
            <p:ph type="body" sz="quarter" idx="23" hasCustomPrompt="1"/>
          </p:nvPr>
        </p:nvSpPr>
        <p:spPr>
          <a:xfrm>
            <a:off x="2686772" y="86031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9" name="Text Placeholder 5">
            <a:extLst>
              <a:ext uri="{FF2B5EF4-FFF2-40B4-BE49-F238E27FC236}">
                <a16:creationId xmlns:a16="http://schemas.microsoft.com/office/drawing/2014/main" id="{B8ADD201-5C22-9240-930B-C39DCFAEA838}"/>
              </a:ext>
            </a:extLst>
          </p:cNvPr>
          <p:cNvSpPr>
            <a:spLocks noGrp="1"/>
          </p:cNvSpPr>
          <p:nvPr>
            <p:ph type="body" sz="quarter" idx="24" hasCustomPrompt="1"/>
          </p:nvPr>
        </p:nvSpPr>
        <p:spPr>
          <a:xfrm>
            <a:off x="13902138" y="86031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20" name="Text Placeholder 5">
            <a:extLst>
              <a:ext uri="{FF2B5EF4-FFF2-40B4-BE49-F238E27FC236}">
                <a16:creationId xmlns:a16="http://schemas.microsoft.com/office/drawing/2014/main" id="{21AA854F-49C8-0740-875D-2A28B04B66F6}"/>
              </a:ext>
            </a:extLst>
          </p:cNvPr>
          <p:cNvSpPr>
            <a:spLocks noGrp="1"/>
          </p:cNvSpPr>
          <p:nvPr>
            <p:ph type="body" sz="quarter" idx="25" hasCustomPrompt="1"/>
          </p:nvPr>
        </p:nvSpPr>
        <p:spPr>
          <a:xfrm>
            <a:off x="2686772" y="10339760"/>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21" name="Text Placeholder 5">
            <a:extLst>
              <a:ext uri="{FF2B5EF4-FFF2-40B4-BE49-F238E27FC236}">
                <a16:creationId xmlns:a16="http://schemas.microsoft.com/office/drawing/2014/main" id="{8FE94F80-1B2D-0E45-8D2E-B57A96EFF5BA}"/>
              </a:ext>
            </a:extLst>
          </p:cNvPr>
          <p:cNvSpPr>
            <a:spLocks noGrp="1"/>
          </p:cNvSpPr>
          <p:nvPr>
            <p:ph type="body" sz="quarter" idx="26" hasCustomPrompt="1"/>
          </p:nvPr>
        </p:nvSpPr>
        <p:spPr>
          <a:xfrm>
            <a:off x="13902138" y="10339760"/>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pic>
        <p:nvPicPr>
          <p:cNvPr id="24" name="Graphic 23">
            <a:extLst>
              <a:ext uri="{FF2B5EF4-FFF2-40B4-BE49-F238E27FC236}">
                <a16:creationId xmlns:a16="http://schemas.microsoft.com/office/drawing/2014/main" id="{C665CCDB-76D3-9C47-BA6F-98DC8DE39695}"/>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931207" y="7079462"/>
            <a:ext cx="2520000" cy="2520000"/>
          </a:xfrm>
          <a:prstGeom prst="rect">
            <a:avLst/>
          </a:prstGeom>
        </p:spPr>
      </p:pic>
      <p:sp>
        <p:nvSpPr>
          <p:cNvPr id="22" name="Title 3">
            <a:extLst>
              <a:ext uri="{FF2B5EF4-FFF2-40B4-BE49-F238E27FC236}">
                <a16:creationId xmlns:a16="http://schemas.microsoft.com/office/drawing/2014/main" id="{12B27A15-0B5F-6D42-A903-9B52ABFB9D46}"/>
              </a:ext>
            </a:extLst>
          </p:cNvPr>
          <p:cNvSpPr>
            <a:spLocks noGrp="1"/>
          </p:cNvSpPr>
          <p:nvPr>
            <p:ph type="title" hasCustomPrompt="1"/>
          </p:nvPr>
        </p:nvSpPr>
        <p:spPr>
          <a:xfrm>
            <a:off x="1676293" y="1677600"/>
            <a:ext cx="21033007" cy="2446608"/>
          </a:xfrm>
        </p:spPr>
        <p:txBody>
          <a:bodyPr/>
          <a:lstStyle>
            <a:lvl1pPr>
              <a:defRPr sz="6000" spc="0" baseline="0"/>
            </a:lvl1pPr>
          </a:lstStyle>
          <a:p>
            <a:r>
              <a:rPr lang="en-GB"/>
              <a:t>Put a short headline here, keep it bold 60 </a:t>
            </a:r>
            <a:r>
              <a:rPr lang="en-GB" err="1"/>
              <a:t>pt</a:t>
            </a:r>
            <a:endParaRPr lang="en-NL"/>
          </a:p>
        </p:txBody>
      </p:sp>
      <p:sp>
        <p:nvSpPr>
          <p:cNvPr id="5" name="Footer Placeholder 4">
            <a:extLst>
              <a:ext uri="{FF2B5EF4-FFF2-40B4-BE49-F238E27FC236}">
                <a16:creationId xmlns:a16="http://schemas.microsoft.com/office/drawing/2014/main" id="{6C67929C-C3EA-9A47-BD51-95B00CE1AD28}"/>
              </a:ext>
            </a:extLst>
          </p:cNvPr>
          <p:cNvSpPr>
            <a:spLocks noGrp="1"/>
          </p:cNvSpPr>
          <p:nvPr>
            <p:ph type="ftr" sz="quarter" idx="27"/>
          </p:nvPr>
        </p:nvSpPr>
        <p:spPr/>
        <p:txBody>
          <a:bodyPr/>
          <a:lstStyle/>
          <a:p>
            <a:endParaRPr lang="en-NL"/>
          </a:p>
        </p:txBody>
      </p:sp>
      <p:sp>
        <p:nvSpPr>
          <p:cNvPr id="23" name="TextBox 22">
            <a:extLst>
              <a:ext uri="{FF2B5EF4-FFF2-40B4-BE49-F238E27FC236}">
                <a16:creationId xmlns:a16="http://schemas.microsoft.com/office/drawing/2014/main" id="{9FDFBDEE-F22D-2B4B-A965-6CEC71F0E51D}"/>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9375257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tement 2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3088131" y="3402013"/>
            <a:ext cx="9102282" cy="6911975"/>
          </a:xfrm>
          <a:prstGeom prst="rect">
            <a:avLst/>
          </a:prstGeom>
          <a:solidFill>
            <a:schemeClr val="bg1"/>
          </a:solidFill>
        </p:spPr>
        <p:txBody>
          <a:bodyPr vert="horz" lIns="720000" tIns="360000" rIns="360000" bIns="360000" rtlCol="0" anchor="ctr">
            <a:noAutofit/>
          </a:bodyPr>
          <a:lstStyle>
            <a:lvl1pPr>
              <a:defRPr sz="6000" b="0" spc="0" baseline="0"/>
            </a:lvl1pPr>
          </a:lstStyle>
          <a:p>
            <a:r>
              <a:rPr lang="en-GB" noProof="0"/>
              <a:t>Put a long statement here, keep it regular 60 </a:t>
            </a:r>
            <a:r>
              <a:rPr lang="en-GB" noProof="0" err="1"/>
              <a:t>pt</a:t>
            </a:r>
            <a:endParaRPr lang="en-GB" noProof="0"/>
          </a:p>
        </p:txBody>
      </p:sp>
      <p:sp>
        <p:nvSpPr>
          <p:cNvPr id="4" name="Footer Placeholder 3">
            <a:extLst>
              <a:ext uri="{FF2B5EF4-FFF2-40B4-BE49-F238E27FC236}">
                <a16:creationId xmlns:a16="http://schemas.microsoft.com/office/drawing/2014/main" id="{F698052A-206B-8B44-B965-9B18AA398EAF}"/>
              </a:ext>
            </a:extLst>
          </p:cNvPr>
          <p:cNvSpPr>
            <a:spLocks noGrp="1"/>
          </p:cNvSpPr>
          <p:nvPr>
            <p:ph type="ftr" sz="quarter" idx="15"/>
          </p:nvPr>
        </p:nvSpPr>
        <p:spPr/>
        <p:txBody>
          <a:bodyPr/>
          <a:lstStyle/>
          <a:p>
            <a:endParaRPr lang="en-NL"/>
          </a:p>
        </p:txBody>
      </p:sp>
      <p:sp>
        <p:nvSpPr>
          <p:cNvPr id="8" name="TextBox 7">
            <a:extLst>
              <a:ext uri="{FF2B5EF4-FFF2-40B4-BE49-F238E27FC236}">
                <a16:creationId xmlns:a16="http://schemas.microsoft.com/office/drawing/2014/main" id="{6717F6DA-71F4-F94F-A4FF-3581F301E2A5}"/>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59442609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Final slide">
    <p:bg>
      <p:bgPr>
        <a:solidFill>
          <a:schemeClr val="bg1"/>
        </a:solidFill>
        <a:effectLst/>
      </p:bgPr>
    </p:bg>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ECC773ED-664B-824F-91D1-6C08CFB17BDA}"/>
              </a:ext>
            </a:extLst>
          </p:cNvPr>
          <p:cNvSpPr>
            <a:spLocks noGrp="1"/>
          </p:cNvSpPr>
          <p:nvPr>
            <p:ph type="body" sz="quarter" idx="13" hasCustomPrompt="1"/>
          </p:nvPr>
        </p:nvSpPr>
        <p:spPr>
          <a:xfrm>
            <a:off x="1700168" y="7650090"/>
            <a:ext cx="10490247" cy="4384884"/>
          </a:xfrm>
        </p:spPr>
        <p:txBody>
          <a:bodyPr/>
          <a:lstStyle>
            <a:lvl1pPr>
              <a:spcBef>
                <a:spcPts val="0"/>
              </a:spcBef>
              <a:defRPr sz="3200" b="0"/>
            </a:lvl1pPr>
          </a:lstStyle>
          <a:p>
            <a:pPr lvl="0"/>
            <a:r>
              <a:rPr lang="en-GB" noProof="0"/>
              <a:t>Contact details, keep it regular 32 </a:t>
            </a:r>
            <a:r>
              <a:rPr lang="en-GB" noProof="0" err="1"/>
              <a:t>pt</a:t>
            </a:r>
            <a:endParaRPr lang="en-GB" noProof="0"/>
          </a:p>
        </p:txBody>
      </p:sp>
      <p:pic>
        <p:nvPicPr>
          <p:cNvPr id="7" name="Picture 6">
            <a:extLst>
              <a:ext uri="{FF2B5EF4-FFF2-40B4-BE49-F238E27FC236}">
                <a16:creationId xmlns:a16="http://schemas.microsoft.com/office/drawing/2014/main" id="{8B5EDC8C-A7B6-2F44-BFD8-CD803F5DB10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209277" y="11324668"/>
            <a:ext cx="9935257" cy="2158068"/>
          </a:xfrm>
          <a:prstGeom prst="rect">
            <a:avLst/>
          </a:prstGeom>
        </p:spPr>
      </p:pic>
      <p:sp>
        <p:nvSpPr>
          <p:cNvPr id="3" name="Title 2">
            <a:extLst>
              <a:ext uri="{FF2B5EF4-FFF2-40B4-BE49-F238E27FC236}">
                <a16:creationId xmlns:a16="http://schemas.microsoft.com/office/drawing/2014/main" id="{7735138D-D591-9C4B-A824-FB43143DAED7}"/>
              </a:ext>
            </a:extLst>
          </p:cNvPr>
          <p:cNvSpPr>
            <a:spLocks noGrp="1"/>
          </p:cNvSpPr>
          <p:nvPr>
            <p:ph type="title" hasCustomPrompt="1"/>
          </p:nvPr>
        </p:nvSpPr>
        <p:spPr/>
        <p:txBody>
          <a:bodyPr/>
          <a:lstStyle/>
          <a:p>
            <a:r>
              <a:rPr lang="en-GB"/>
              <a:t>Thank you</a:t>
            </a:r>
            <a:endParaRPr lang="en-NL"/>
          </a:p>
        </p:txBody>
      </p:sp>
      <p:sp>
        <p:nvSpPr>
          <p:cNvPr id="8" name="Text Placeholder 6">
            <a:extLst>
              <a:ext uri="{FF2B5EF4-FFF2-40B4-BE49-F238E27FC236}">
                <a16:creationId xmlns:a16="http://schemas.microsoft.com/office/drawing/2014/main" id="{43362774-1C74-3547-A14B-E456BF8AB04B}"/>
              </a:ext>
            </a:extLst>
          </p:cNvPr>
          <p:cNvSpPr>
            <a:spLocks noGrp="1"/>
          </p:cNvSpPr>
          <p:nvPr>
            <p:ph type="body" sz="quarter" idx="16" hasCustomPrompt="1"/>
          </p:nvPr>
        </p:nvSpPr>
        <p:spPr>
          <a:xfrm>
            <a:off x="1700168" y="6858000"/>
            <a:ext cx="10490247" cy="792088"/>
          </a:xfrm>
        </p:spPr>
        <p:txBody>
          <a:bodyPr/>
          <a:lstStyle>
            <a:lvl1pPr>
              <a:spcBef>
                <a:spcPts val="0"/>
              </a:spcBef>
              <a:defRPr sz="3200" b="1"/>
            </a:lvl1pPr>
          </a:lstStyle>
          <a:p>
            <a:pPr lvl="0"/>
            <a:r>
              <a:rPr lang="en-GB" noProof="0"/>
              <a:t>Contact person’s full name, keep it bold 32 </a:t>
            </a:r>
            <a:r>
              <a:rPr lang="en-GB" noProof="0" err="1"/>
              <a:t>pt</a:t>
            </a:r>
            <a:endParaRPr lang="en-GB" noProof="0"/>
          </a:p>
        </p:txBody>
      </p:sp>
      <p:sp>
        <p:nvSpPr>
          <p:cNvPr id="5" name="Footer Placeholder 4">
            <a:extLst>
              <a:ext uri="{FF2B5EF4-FFF2-40B4-BE49-F238E27FC236}">
                <a16:creationId xmlns:a16="http://schemas.microsoft.com/office/drawing/2014/main" id="{5B8ABD2B-5975-3E47-B565-B6138DEA4BF2}"/>
              </a:ext>
            </a:extLst>
          </p:cNvPr>
          <p:cNvSpPr>
            <a:spLocks noGrp="1"/>
          </p:cNvSpPr>
          <p:nvPr>
            <p:ph type="ftr" sz="quarter" idx="17"/>
          </p:nvPr>
        </p:nvSpPr>
        <p:spPr/>
        <p:txBody>
          <a:bodyPr/>
          <a:lstStyle/>
          <a:p>
            <a:endParaRPr lang="en-NL"/>
          </a:p>
        </p:txBody>
      </p:sp>
    </p:spTree>
    <p:extLst>
      <p:ext uri="{BB962C8B-B14F-4D97-AF65-F5344CB8AC3E}">
        <p14:creationId xmlns:p14="http://schemas.microsoft.com/office/powerpoint/2010/main" val="184524689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DBA60CB-9800-E349-B589-A9C8E6B0719E}"/>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14870576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_Chapter name with number on colour background or image">
    <p:bg>
      <p:bgPr>
        <a:solidFill>
          <a:srgbClr val="3185A1"/>
        </a:solidFill>
        <a:effectLst/>
      </p:bgPr>
    </p:bg>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D692063E-373D-9A4C-B3F2-4CED294F18A0}"/>
              </a:ext>
            </a:extLst>
          </p:cNvPr>
          <p:cNvSpPr>
            <a:spLocks noGrp="1"/>
          </p:cNvSpPr>
          <p:nvPr>
            <p:ph type="body" sz="quarter" idx="11" hasCustomPrompt="1"/>
          </p:nvPr>
        </p:nvSpPr>
        <p:spPr>
          <a:xfrm>
            <a:off x="481101" y="3905672"/>
            <a:ext cx="8076674" cy="5904656"/>
          </a:xfrm>
        </p:spPr>
        <p:txBody>
          <a:bodyPr anchor="ctr" anchorCtr="0">
            <a:noAutofit/>
          </a:bodyPr>
          <a:lstStyle>
            <a:lvl1pPr marL="0" indent="0" algn="ctr">
              <a:buNone/>
              <a:defRPr sz="49996" b="1" spc="-600" baseline="0">
                <a:ln>
                  <a:noFill/>
                </a:ln>
                <a:solidFill>
                  <a:schemeClr val="tx1"/>
                </a:solidFill>
              </a:defRPr>
            </a:lvl1pPr>
          </a:lstStyle>
          <a:p>
            <a:pPr lvl="0"/>
            <a:r>
              <a:rPr lang="en-GB" noProof="0"/>
              <a:t>#</a:t>
            </a:r>
          </a:p>
        </p:txBody>
      </p:sp>
      <p:sp>
        <p:nvSpPr>
          <p:cNvPr id="8" name="Subtitle 2">
            <a:extLst>
              <a:ext uri="{FF2B5EF4-FFF2-40B4-BE49-F238E27FC236}">
                <a16:creationId xmlns:a16="http://schemas.microsoft.com/office/drawing/2014/main" id="{03179F04-E3DD-714F-9E83-2F320F41AF4B}"/>
              </a:ext>
            </a:extLst>
          </p:cNvPr>
          <p:cNvSpPr>
            <a:spLocks noGrp="1"/>
          </p:cNvSpPr>
          <p:nvPr>
            <p:ph type="subTitle" idx="1" hasCustomPrompt="1"/>
          </p:nvPr>
        </p:nvSpPr>
        <p:spPr>
          <a:xfrm>
            <a:off x="8784128" y="3905672"/>
            <a:ext cx="14400663" cy="5904656"/>
          </a:xfrm>
        </p:spPr>
        <p:txBody>
          <a:bodyPr anchor="ctr" anchorCtr="0">
            <a:noAutofit/>
          </a:bodyPr>
          <a:lstStyle>
            <a:lvl1pPr marL="0" indent="0" algn="l">
              <a:lnSpc>
                <a:spcPct val="100000"/>
              </a:lnSpc>
              <a:buNone/>
              <a:defRPr sz="11999" b="1" spc="-200" baseline="0">
                <a:latin typeface="Noto IKEA Latin" panose="020B050204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GB" noProof="0"/>
              <a:t>Put the chapter headline here, </a:t>
            </a:r>
            <a:br>
              <a:rPr lang="en-GB" noProof="0"/>
            </a:br>
            <a:r>
              <a:rPr lang="en-GB" noProof="0"/>
              <a:t>keep it bold 60 pt</a:t>
            </a:r>
          </a:p>
        </p:txBody>
      </p:sp>
      <p:sp>
        <p:nvSpPr>
          <p:cNvPr id="14" name="Footer Placeholder 3">
            <a:extLst>
              <a:ext uri="{FF2B5EF4-FFF2-40B4-BE49-F238E27FC236}">
                <a16:creationId xmlns:a16="http://schemas.microsoft.com/office/drawing/2014/main" id="{8C38C65D-B43E-3F4B-8521-D88CA71A16C4}"/>
              </a:ext>
            </a:extLst>
          </p:cNvPr>
          <p:cNvSpPr txBox="1">
            <a:spLocks/>
          </p:cNvSpPr>
          <p:nvPr userDrawn="1"/>
        </p:nvSpPr>
        <p:spPr>
          <a:xfrm rot="5400000">
            <a:off x="22258986" y="3279686"/>
            <a:ext cx="3710608" cy="536245"/>
          </a:xfrm>
          <a:prstGeom prst="rect">
            <a:avLst/>
          </a:prstGeom>
        </p:spPr>
        <p:txBody>
          <a:bodyPr vert="horz" lIns="182868" tIns="91434" rIns="182868" bIns="91434" rtlCol="0" anchor="b" anchorCtr="0"/>
          <a:lstStyle>
            <a:defPPr>
              <a:defRPr lang="en-US"/>
            </a:defPPr>
            <a:lvl1pPr marL="0" algn="l" defTabSz="914377" rtl="0" eaLnBrk="1" latinLnBrk="0" hangingPunct="1">
              <a:defRPr sz="1000" kern="1200">
                <a:solidFill>
                  <a:schemeClr val="tx1">
                    <a:tint val="75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1600">
                <a:solidFill>
                  <a:srgbClr val="000000">
                    <a:tint val="75000"/>
                  </a:srgbClr>
                </a:solidFill>
              </a:rPr>
              <a:t>© Inter IKEA Systems B.V. 2020</a:t>
            </a:r>
          </a:p>
        </p:txBody>
      </p:sp>
    </p:spTree>
    <p:extLst>
      <p:ext uri="{BB962C8B-B14F-4D97-AF65-F5344CB8AC3E}">
        <p14:creationId xmlns:p14="http://schemas.microsoft.com/office/powerpoint/2010/main" val="75730928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Worldmap">
    <p:bg>
      <p:bgPr>
        <a:solidFill>
          <a:schemeClr val="bg1"/>
        </a:solidFill>
        <a:effectLst/>
      </p:bgPr>
    </p:bg>
    <p:spTree>
      <p:nvGrpSpPr>
        <p:cNvPr id="1" name=""/>
        <p:cNvGrpSpPr/>
        <p:nvPr/>
      </p:nvGrpSpPr>
      <p:grpSpPr>
        <a:xfrm>
          <a:off x="0" y="0"/>
          <a:ext cx="0" cy="0"/>
          <a:chOff x="0" y="0"/>
          <a:chExt cx="0" cy="0"/>
        </a:xfrm>
      </p:grpSpPr>
      <p:sp>
        <p:nvSpPr>
          <p:cNvPr id="1607" name="Freeform 5">
            <a:extLst>
              <a:ext uri="{FF2B5EF4-FFF2-40B4-BE49-F238E27FC236}">
                <a16:creationId xmlns:a16="http://schemas.microsoft.com/office/drawing/2014/main" id="{663D4140-A46B-CC56-42A1-B64D6BC07598}"/>
              </a:ext>
            </a:extLst>
          </p:cNvPr>
          <p:cNvSpPr>
            <a:spLocks/>
          </p:cNvSpPr>
          <p:nvPr userDrawn="1"/>
        </p:nvSpPr>
        <p:spPr bwMode="auto">
          <a:xfrm>
            <a:off x="15966032" y="10181506"/>
            <a:ext cx="12701" cy="28576"/>
          </a:xfrm>
          <a:custGeom>
            <a:avLst/>
            <a:gdLst>
              <a:gd name="T0" fmla="*/ 0 w 4"/>
              <a:gd name="T1" fmla="*/ 6 h 9"/>
              <a:gd name="T2" fmla="*/ 0 w 4"/>
              <a:gd name="T3" fmla="*/ 3 h 9"/>
              <a:gd name="T4" fmla="*/ 0 w 4"/>
              <a:gd name="T5" fmla="*/ 0 h 9"/>
              <a:gd name="T6" fmla="*/ 0 w 4"/>
              <a:gd name="T7" fmla="*/ 0 h 9"/>
              <a:gd name="T8" fmla="*/ 4 w 4"/>
              <a:gd name="T9" fmla="*/ 3 h 9"/>
              <a:gd name="T10" fmla="*/ 0 w 4"/>
              <a:gd name="T11" fmla="*/ 9 h 9"/>
              <a:gd name="T12" fmla="*/ 0 w 4"/>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4" h="9">
                <a:moveTo>
                  <a:pt x="0" y="6"/>
                </a:moveTo>
                <a:lnTo>
                  <a:pt x="0" y="3"/>
                </a:lnTo>
                <a:lnTo>
                  <a:pt x="0" y="0"/>
                </a:lnTo>
                <a:lnTo>
                  <a:pt x="0" y="0"/>
                </a:lnTo>
                <a:lnTo>
                  <a:pt x="4" y="3"/>
                </a:lnTo>
                <a:lnTo>
                  <a:pt x="0" y="9"/>
                </a:lnTo>
                <a:lnTo>
                  <a:pt x="0" y="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08" name="Freeform 6">
            <a:extLst>
              <a:ext uri="{FF2B5EF4-FFF2-40B4-BE49-F238E27FC236}">
                <a16:creationId xmlns:a16="http://schemas.microsoft.com/office/drawing/2014/main" id="{CEA24B5F-4D6C-40A4-293A-552B9FC59BD1}"/>
              </a:ext>
            </a:extLst>
          </p:cNvPr>
          <p:cNvSpPr>
            <a:spLocks noEditPoints="1"/>
          </p:cNvSpPr>
          <p:nvPr userDrawn="1"/>
        </p:nvSpPr>
        <p:spPr bwMode="auto">
          <a:xfrm>
            <a:off x="15839042" y="10092609"/>
            <a:ext cx="98420" cy="69850"/>
          </a:xfrm>
          <a:custGeom>
            <a:avLst/>
            <a:gdLst>
              <a:gd name="T0" fmla="*/ 6 w 31"/>
              <a:gd name="T1" fmla="*/ 12 h 22"/>
              <a:gd name="T2" fmla="*/ 9 w 31"/>
              <a:gd name="T3" fmla="*/ 9 h 22"/>
              <a:gd name="T4" fmla="*/ 6 w 31"/>
              <a:gd name="T5" fmla="*/ 6 h 22"/>
              <a:gd name="T6" fmla="*/ 9 w 31"/>
              <a:gd name="T7" fmla="*/ 6 h 22"/>
              <a:gd name="T8" fmla="*/ 6 w 31"/>
              <a:gd name="T9" fmla="*/ 0 h 22"/>
              <a:gd name="T10" fmla="*/ 3 w 31"/>
              <a:gd name="T11" fmla="*/ 0 h 22"/>
              <a:gd name="T12" fmla="*/ 0 w 31"/>
              <a:gd name="T13" fmla="*/ 6 h 22"/>
              <a:gd name="T14" fmla="*/ 3 w 31"/>
              <a:gd name="T15" fmla="*/ 9 h 22"/>
              <a:gd name="T16" fmla="*/ 3 w 31"/>
              <a:gd name="T17" fmla="*/ 12 h 22"/>
              <a:gd name="T18" fmla="*/ 6 w 31"/>
              <a:gd name="T19" fmla="*/ 12 h 22"/>
              <a:gd name="T20" fmla="*/ 6 w 31"/>
              <a:gd name="T21" fmla="*/ 12 h 22"/>
              <a:gd name="T22" fmla="*/ 6 w 31"/>
              <a:gd name="T23" fmla="*/ 12 h 22"/>
              <a:gd name="T24" fmla="*/ 9 w 31"/>
              <a:gd name="T25" fmla="*/ 22 h 22"/>
              <a:gd name="T26" fmla="*/ 9 w 31"/>
              <a:gd name="T27" fmla="*/ 22 h 22"/>
              <a:gd name="T28" fmla="*/ 12 w 31"/>
              <a:gd name="T29" fmla="*/ 22 h 22"/>
              <a:gd name="T30" fmla="*/ 9 w 31"/>
              <a:gd name="T31" fmla="*/ 22 h 22"/>
              <a:gd name="T32" fmla="*/ 6 w 31"/>
              <a:gd name="T33" fmla="*/ 22 h 22"/>
              <a:gd name="T34" fmla="*/ 9 w 31"/>
              <a:gd name="T35" fmla="*/ 22 h 22"/>
              <a:gd name="T36" fmla="*/ 9 w 31"/>
              <a:gd name="T37" fmla="*/ 22 h 22"/>
              <a:gd name="T38" fmla="*/ 28 w 31"/>
              <a:gd name="T39" fmla="*/ 22 h 22"/>
              <a:gd name="T40" fmla="*/ 31 w 31"/>
              <a:gd name="T41" fmla="*/ 22 h 22"/>
              <a:gd name="T42" fmla="*/ 28 w 31"/>
              <a:gd name="T43" fmla="*/ 15 h 22"/>
              <a:gd name="T44" fmla="*/ 28 w 31"/>
              <a:gd name="T45" fmla="*/ 18 h 22"/>
              <a:gd name="T46" fmla="*/ 25 w 31"/>
              <a:gd name="T47" fmla="*/ 18 h 22"/>
              <a:gd name="T48" fmla="*/ 28 w 31"/>
              <a:gd name="T49" fmla="*/ 22 h 22"/>
              <a:gd name="T50" fmla="*/ 28 w 31"/>
              <a:gd name="T5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22">
                <a:moveTo>
                  <a:pt x="6" y="12"/>
                </a:moveTo>
                <a:lnTo>
                  <a:pt x="9" y="9"/>
                </a:lnTo>
                <a:lnTo>
                  <a:pt x="6" y="6"/>
                </a:lnTo>
                <a:lnTo>
                  <a:pt x="9" y="6"/>
                </a:lnTo>
                <a:lnTo>
                  <a:pt x="6" y="0"/>
                </a:lnTo>
                <a:lnTo>
                  <a:pt x="3" y="0"/>
                </a:lnTo>
                <a:lnTo>
                  <a:pt x="0" y="6"/>
                </a:lnTo>
                <a:lnTo>
                  <a:pt x="3" y="9"/>
                </a:lnTo>
                <a:lnTo>
                  <a:pt x="3" y="12"/>
                </a:lnTo>
                <a:lnTo>
                  <a:pt x="6" y="12"/>
                </a:lnTo>
                <a:lnTo>
                  <a:pt x="6" y="12"/>
                </a:lnTo>
                <a:lnTo>
                  <a:pt x="6" y="12"/>
                </a:lnTo>
                <a:close/>
                <a:moveTo>
                  <a:pt x="9" y="22"/>
                </a:moveTo>
                <a:lnTo>
                  <a:pt x="9" y="22"/>
                </a:lnTo>
                <a:lnTo>
                  <a:pt x="12" y="22"/>
                </a:lnTo>
                <a:lnTo>
                  <a:pt x="9" y="22"/>
                </a:lnTo>
                <a:lnTo>
                  <a:pt x="6" y="22"/>
                </a:lnTo>
                <a:lnTo>
                  <a:pt x="9" y="22"/>
                </a:lnTo>
                <a:lnTo>
                  <a:pt x="9" y="22"/>
                </a:lnTo>
                <a:close/>
                <a:moveTo>
                  <a:pt x="28" y="22"/>
                </a:moveTo>
                <a:lnTo>
                  <a:pt x="31" y="22"/>
                </a:lnTo>
                <a:lnTo>
                  <a:pt x="28" y="15"/>
                </a:lnTo>
                <a:lnTo>
                  <a:pt x="28" y="18"/>
                </a:lnTo>
                <a:lnTo>
                  <a:pt x="25" y="18"/>
                </a:lnTo>
                <a:lnTo>
                  <a:pt x="28" y="22"/>
                </a:lnTo>
                <a:lnTo>
                  <a:pt x="28" y="22"/>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09" name="Freeform 7">
            <a:extLst>
              <a:ext uri="{FF2B5EF4-FFF2-40B4-BE49-F238E27FC236}">
                <a16:creationId xmlns:a16="http://schemas.microsoft.com/office/drawing/2014/main" id="{4148015F-CFE2-15F1-3028-6764DE479678}"/>
              </a:ext>
            </a:extLst>
          </p:cNvPr>
          <p:cNvSpPr>
            <a:spLocks noEditPoints="1"/>
          </p:cNvSpPr>
          <p:nvPr userDrawn="1"/>
        </p:nvSpPr>
        <p:spPr bwMode="auto">
          <a:xfrm>
            <a:off x="16045403" y="9673508"/>
            <a:ext cx="596863" cy="330200"/>
          </a:xfrm>
          <a:custGeom>
            <a:avLst/>
            <a:gdLst>
              <a:gd name="T0" fmla="*/ 182 w 188"/>
              <a:gd name="T1" fmla="*/ 7 h 104"/>
              <a:gd name="T2" fmla="*/ 188 w 188"/>
              <a:gd name="T3" fmla="*/ 3 h 104"/>
              <a:gd name="T4" fmla="*/ 185 w 188"/>
              <a:gd name="T5" fmla="*/ 3 h 104"/>
              <a:gd name="T6" fmla="*/ 182 w 188"/>
              <a:gd name="T7" fmla="*/ 0 h 104"/>
              <a:gd name="T8" fmla="*/ 182 w 188"/>
              <a:gd name="T9" fmla="*/ 3 h 104"/>
              <a:gd name="T10" fmla="*/ 182 w 188"/>
              <a:gd name="T11" fmla="*/ 7 h 104"/>
              <a:gd name="T12" fmla="*/ 182 w 188"/>
              <a:gd name="T13" fmla="*/ 7 h 104"/>
              <a:gd name="T14" fmla="*/ 4 w 188"/>
              <a:gd name="T15" fmla="*/ 100 h 104"/>
              <a:gd name="T16" fmla="*/ 7 w 188"/>
              <a:gd name="T17" fmla="*/ 100 h 104"/>
              <a:gd name="T18" fmla="*/ 7 w 188"/>
              <a:gd name="T19" fmla="*/ 104 h 104"/>
              <a:gd name="T20" fmla="*/ 4 w 188"/>
              <a:gd name="T21" fmla="*/ 100 h 104"/>
              <a:gd name="T22" fmla="*/ 4 w 188"/>
              <a:gd name="T23" fmla="*/ 100 h 104"/>
              <a:gd name="T24" fmla="*/ 0 w 188"/>
              <a:gd name="T25" fmla="*/ 94 h 104"/>
              <a:gd name="T26" fmla="*/ 4 w 188"/>
              <a:gd name="T27" fmla="*/ 91 h 104"/>
              <a:gd name="T28" fmla="*/ 7 w 188"/>
              <a:gd name="T29" fmla="*/ 94 h 104"/>
              <a:gd name="T30" fmla="*/ 7 w 188"/>
              <a:gd name="T31" fmla="*/ 94 h 104"/>
              <a:gd name="T32" fmla="*/ 7 w 188"/>
              <a:gd name="T33" fmla="*/ 94 h 104"/>
              <a:gd name="T34" fmla="*/ 4 w 188"/>
              <a:gd name="T35" fmla="*/ 94 h 104"/>
              <a:gd name="T36" fmla="*/ 0 w 188"/>
              <a:gd name="T37" fmla="*/ 9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8" h="104">
                <a:moveTo>
                  <a:pt x="182" y="7"/>
                </a:moveTo>
                <a:lnTo>
                  <a:pt x="188" y="3"/>
                </a:lnTo>
                <a:lnTo>
                  <a:pt x="185" y="3"/>
                </a:lnTo>
                <a:lnTo>
                  <a:pt x="182" y="0"/>
                </a:lnTo>
                <a:lnTo>
                  <a:pt x="182" y="3"/>
                </a:lnTo>
                <a:lnTo>
                  <a:pt x="182" y="7"/>
                </a:lnTo>
                <a:lnTo>
                  <a:pt x="182" y="7"/>
                </a:lnTo>
                <a:close/>
                <a:moveTo>
                  <a:pt x="4" y="100"/>
                </a:moveTo>
                <a:lnTo>
                  <a:pt x="7" y="100"/>
                </a:lnTo>
                <a:lnTo>
                  <a:pt x="7" y="104"/>
                </a:lnTo>
                <a:lnTo>
                  <a:pt x="4" y="100"/>
                </a:lnTo>
                <a:lnTo>
                  <a:pt x="4" y="100"/>
                </a:lnTo>
                <a:close/>
                <a:moveTo>
                  <a:pt x="0" y="94"/>
                </a:moveTo>
                <a:lnTo>
                  <a:pt x="4" y="91"/>
                </a:lnTo>
                <a:lnTo>
                  <a:pt x="7" y="94"/>
                </a:lnTo>
                <a:lnTo>
                  <a:pt x="7" y="94"/>
                </a:lnTo>
                <a:lnTo>
                  <a:pt x="7" y="94"/>
                </a:lnTo>
                <a:lnTo>
                  <a:pt x="4" y="94"/>
                </a:lnTo>
                <a:lnTo>
                  <a:pt x="0" y="9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0" name="Freeform 8">
            <a:extLst>
              <a:ext uri="{FF2B5EF4-FFF2-40B4-BE49-F238E27FC236}">
                <a16:creationId xmlns:a16="http://schemas.microsoft.com/office/drawing/2014/main" id="{317C6F66-A9E3-BF48-47B1-D16EC261A1D1}"/>
              </a:ext>
            </a:extLst>
          </p:cNvPr>
          <p:cNvSpPr>
            <a:spLocks noEditPoints="1"/>
          </p:cNvSpPr>
          <p:nvPr userDrawn="1"/>
        </p:nvSpPr>
        <p:spPr bwMode="auto">
          <a:xfrm>
            <a:off x="18915420" y="8501930"/>
            <a:ext cx="136517" cy="457200"/>
          </a:xfrm>
          <a:custGeom>
            <a:avLst/>
            <a:gdLst>
              <a:gd name="T0" fmla="*/ 6 w 14"/>
              <a:gd name="T1" fmla="*/ 8 h 46"/>
              <a:gd name="T2" fmla="*/ 5 w 14"/>
              <a:gd name="T3" fmla="*/ 5 h 46"/>
              <a:gd name="T4" fmla="*/ 6 w 14"/>
              <a:gd name="T5" fmla="*/ 3 h 46"/>
              <a:gd name="T6" fmla="*/ 6 w 14"/>
              <a:gd name="T7" fmla="*/ 1 h 46"/>
              <a:gd name="T8" fmla="*/ 4 w 14"/>
              <a:gd name="T9" fmla="*/ 2 h 46"/>
              <a:gd name="T10" fmla="*/ 4 w 14"/>
              <a:gd name="T11" fmla="*/ 5 h 46"/>
              <a:gd name="T12" fmla="*/ 4 w 14"/>
              <a:gd name="T13" fmla="*/ 8 h 46"/>
              <a:gd name="T14" fmla="*/ 4 w 14"/>
              <a:gd name="T15" fmla="*/ 16 h 46"/>
              <a:gd name="T16" fmla="*/ 4 w 14"/>
              <a:gd name="T17" fmla="*/ 13 h 46"/>
              <a:gd name="T18" fmla="*/ 4 w 14"/>
              <a:gd name="T19" fmla="*/ 11 h 46"/>
              <a:gd name="T20" fmla="*/ 5 w 14"/>
              <a:gd name="T21" fmla="*/ 9 h 46"/>
              <a:gd name="T22" fmla="*/ 3 w 14"/>
              <a:gd name="T23" fmla="*/ 12 h 46"/>
              <a:gd name="T24" fmla="*/ 4 w 14"/>
              <a:gd name="T25" fmla="*/ 14 h 46"/>
              <a:gd name="T26" fmla="*/ 4 w 14"/>
              <a:gd name="T27" fmla="*/ 16 h 46"/>
              <a:gd name="T28" fmla="*/ 2 w 14"/>
              <a:gd name="T29" fmla="*/ 15 h 46"/>
              <a:gd name="T30" fmla="*/ 0 w 14"/>
              <a:gd name="T31" fmla="*/ 15 h 46"/>
              <a:gd name="T32" fmla="*/ 4 w 14"/>
              <a:gd name="T33" fmla="*/ 22 h 46"/>
              <a:gd name="T34" fmla="*/ 4 w 14"/>
              <a:gd name="T35" fmla="*/ 19 h 46"/>
              <a:gd name="T36" fmla="*/ 2 w 14"/>
              <a:gd name="T37" fmla="*/ 21 h 46"/>
              <a:gd name="T38" fmla="*/ 6 w 14"/>
              <a:gd name="T39" fmla="*/ 29 h 46"/>
              <a:gd name="T40" fmla="*/ 6 w 14"/>
              <a:gd name="T41" fmla="*/ 30 h 46"/>
              <a:gd name="T42" fmla="*/ 8 w 14"/>
              <a:gd name="T43" fmla="*/ 34 h 46"/>
              <a:gd name="T44" fmla="*/ 9 w 14"/>
              <a:gd name="T45" fmla="*/ 36 h 46"/>
              <a:gd name="T46" fmla="*/ 8 w 14"/>
              <a:gd name="T47" fmla="*/ 34 h 46"/>
              <a:gd name="T48" fmla="*/ 10 w 14"/>
              <a:gd name="T49" fmla="*/ 36 h 46"/>
              <a:gd name="T50" fmla="*/ 11 w 14"/>
              <a:gd name="T51" fmla="*/ 37 h 46"/>
              <a:gd name="T52" fmla="*/ 11 w 14"/>
              <a:gd name="T53" fmla="*/ 35 h 46"/>
              <a:gd name="T54" fmla="*/ 10 w 14"/>
              <a:gd name="T55" fmla="*/ 39 h 46"/>
              <a:gd name="T56" fmla="*/ 10 w 14"/>
              <a:gd name="T57" fmla="*/ 37 h 46"/>
              <a:gd name="T58" fmla="*/ 9 w 14"/>
              <a:gd name="T59" fmla="*/ 39 h 46"/>
              <a:gd name="T60" fmla="*/ 13 w 14"/>
              <a:gd name="T61" fmla="*/ 41 h 46"/>
              <a:gd name="T62" fmla="*/ 11 w 14"/>
              <a:gd name="T63" fmla="*/ 41 h 46"/>
              <a:gd name="T64" fmla="*/ 13 w 14"/>
              <a:gd name="T65" fmla="*/ 42 h 46"/>
              <a:gd name="T66" fmla="*/ 12 w 14"/>
              <a:gd name="T67" fmla="*/ 44 h 46"/>
              <a:gd name="T68" fmla="*/ 13 w 14"/>
              <a:gd name="T69" fmla="*/ 46 h 46"/>
              <a:gd name="T70" fmla="*/ 13 w 14"/>
              <a:gd name="T71" fmla="*/ 44 h 46"/>
              <a:gd name="T72" fmla="*/ 13 w 14"/>
              <a:gd name="T73"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46">
                <a:moveTo>
                  <a:pt x="4" y="9"/>
                </a:moveTo>
                <a:cubicBezTo>
                  <a:pt x="6" y="8"/>
                  <a:pt x="6" y="8"/>
                  <a:pt x="6" y="8"/>
                </a:cubicBezTo>
                <a:cubicBezTo>
                  <a:pt x="6" y="6"/>
                  <a:pt x="6" y="6"/>
                  <a:pt x="6" y="6"/>
                </a:cubicBezTo>
                <a:cubicBezTo>
                  <a:pt x="5" y="5"/>
                  <a:pt x="5" y="5"/>
                  <a:pt x="5" y="5"/>
                </a:cubicBezTo>
                <a:cubicBezTo>
                  <a:pt x="6" y="4"/>
                  <a:pt x="6" y="4"/>
                  <a:pt x="6" y="4"/>
                </a:cubicBezTo>
                <a:cubicBezTo>
                  <a:pt x="6" y="3"/>
                  <a:pt x="6" y="3"/>
                  <a:pt x="6" y="3"/>
                </a:cubicBezTo>
                <a:cubicBezTo>
                  <a:pt x="5" y="2"/>
                  <a:pt x="5" y="2"/>
                  <a:pt x="5" y="2"/>
                </a:cubicBezTo>
                <a:cubicBezTo>
                  <a:pt x="6" y="1"/>
                  <a:pt x="6" y="1"/>
                  <a:pt x="6" y="1"/>
                </a:cubicBezTo>
                <a:cubicBezTo>
                  <a:pt x="5" y="0"/>
                  <a:pt x="5" y="0"/>
                  <a:pt x="5" y="0"/>
                </a:cubicBezTo>
                <a:cubicBezTo>
                  <a:pt x="4" y="2"/>
                  <a:pt x="4" y="2"/>
                  <a:pt x="4" y="2"/>
                </a:cubicBezTo>
                <a:cubicBezTo>
                  <a:pt x="4" y="4"/>
                  <a:pt x="4" y="4"/>
                  <a:pt x="4" y="4"/>
                </a:cubicBezTo>
                <a:cubicBezTo>
                  <a:pt x="4" y="5"/>
                  <a:pt x="4" y="5"/>
                  <a:pt x="4" y="5"/>
                </a:cubicBezTo>
                <a:cubicBezTo>
                  <a:pt x="4" y="5"/>
                  <a:pt x="4" y="5"/>
                  <a:pt x="4" y="5"/>
                </a:cubicBezTo>
                <a:cubicBezTo>
                  <a:pt x="4" y="8"/>
                  <a:pt x="4" y="8"/>
                  <a:pt x="4" y="8"/>
                </a:cubicBezTo>
                <a:cubicBezTo>
                  <a:pt x="4" y="9"/>
                  <a:pt x="4" y="9"/>
                  <a:pt x="4" y="9"/>
                </a:cubicBezTo>
                <a:close/>
                <a:moveTo>
                  <a:pt x="4" y="16"/>
                </a:moveTo>
                <a:cubicBezTo>
                  <a:pt x="4" y="14"/>
                  <a:pt x="4" y="14"/>
                  <a:pt x="4" y="14"/>
                </a:cubicBezTo>
                <a:cubicBezTo>
                  <a:pt x="4" y="13"/>
                  <a:pt x="4" y="13"/>
                  <a:pt x="4" y="13"/>
                </a:cubicBezTo>
                <a:cubicBezTo>
                  <a:pt x="4" y="12"/>
                  <a:pt x="4" y="12"/>
                  <a:pt x="4" y="12"/>
                </a:cubicBezTo>
                <a:cubicBezTo>
                  <a:pt x="4" y="11"/>
                  <a:pt x="4" y="11"/>
                  <a:pt x="4" y="11"/>
                </a:cubicBezTo>
                <a:cubicBezTo>
                  <a:pt x="5" y="10"/>
                  <a:pt x="5" y="10"/>
                  <a:pt x="5" y="10"/>
                </a:cubicBezTo>
                <a:cubicBezTo>
                  <a:pt x="5" y="9"/>
                  <a:pt x="5" y="9"/>
                  <a:pt x="5" y="9"/>
                </a:cubicBezTo>
                <a:cubicBezTo>
                  <a:pt x="3" y="10"/>
                  <a:pt x="3" y="10"/>
                  <a:pt x="3" y="10"/>
                </a:cubicBezTo>
                <a:cubicBezTo>
                  <a:pt x="3" y="12"/>
                  <a:pt x="3" y="12"/>
                  <a:pt x="3" y="12"/>
                </a:cubicBezTo>
                <a:cubicBezTo>
                  <a:pt x="3" y="13"/>
                  <a:pt x="3" y="13"/>
                  <a:pt x="3" y="13"/>
                </a:cubicBezTo>
                <a:cubicBezTo>
                  <a:pt x="4" y="14"/>
                  <a:pt x="4" y="14"/>
                  <a:pt x="4" y="14"/>
                </a:cubicBezTo>
                <a:cubicBezTo>
                  <a:pt x="3" y="15"/>
                  <a:pt x="3" y="15"/>
                  <a:pt x="3" y="15"/>
                </a:cubicBezTo>
                <a:cubicBezTo>
                  <a:pt x="4" y="16"/>
                  <a:pt x="4" y="16"/>
                  <a:pt x="4" y="16"/>
                </a:cubicBezTo>
                <a:close/>
                <a:moveTo>
                  <a:pt x="0" y="15"/>
                </a:moveTo>
                <a:cubicBezTo>
                  <a:pt x="2" y="15"/>
                  <a:pt x="2" y="15"/>
                  <a:pt x="2" y="15"/>
                </a:cubicBezTo>
                <a:cubicBezTo>
                  <a:pt x="1" y="14"/>
                  <a:pt x="1" y="14"/>
                  <a:pt x="1" y="14"/>
                </a:cubicBezTo>
                <a:cubicBezTo>
                  <a:pt x="0" y="15"/>
                  <a:pt x="0" y="15"/>
                  <a:pt x="0" y="15"/>
                </a:cubicBezTo>
                <a:close/>
                <a:moveTo>
                  <a:pt x="2" y="22"/>
                </a:moveTo>
                <a:cubicBezTo>
                  <a:pt x="4" y="22"/>
                  <a:pt x="4" y="22"/>
                  <a:pt x="4" y="22"/>
                </a:cubicBezTo>
                <a:cubicBezTo>
                  <a:pt x="4" y="20"/>
                  <a:pt x="4" y="20"/>
                  <a:pt x="4" y="20"/>
                </a:cubicBezTo>
                <a:cubicBezTo>
                  <a:pt x="4" y="19"/>
                  <a:pt x="4" y="19"/>
                  <a:pt x="4" y="19"/>
                </a:cubicBezTo>
                <a:cubicBezTo>
                  <a:pt x="3" y="19"/>
                  <a:pt x="3" y="19"/>
                  <a:pt x="3" y="19"/>
                </a:cubicBezTo>
                <a:cubicBezTo>
                  <a:pt x="2" y="21"/>
                  <a:pt x="2" y="21"/>
                  <a:pt x="2" y="21"/>
                </a:cubicBezTo>
                <a:cubicBezTo>
                  <a:pt x="2" y="21"/>
                  <a:pt x="2" y="22"/>
                  <a:pt x="2" y="22"/>
                </a:cubicBezTo>
                <a:close/>
                <a:moveTo>
                  <a:pt x="6" y="29"/>
                </a:moveTo>
                <a:cubicBezTo>
                  <a:pt x="5" y="30"/>
                  <a:pt x="5" y="30"/>
                  <a:pt x="5" y="30"/>
                </a:cubicBezTo>
                <a:cubicBezTo>
                  <a:pt x="6" y="30"/>
                  <a:pt x="6" y="30"/>
                  <a:pt x="6" y="30"/>
                </a:cubicBezTo>
                <a:cubicBezTo>
                  <a:pt x="6" y="29"/>
                  <a:pt x="6" y="29"/>
                  <a:pt x="6" y="29"/>
                </a:cubicBezTo>
                <a:close/>
                <a:moveTo>
                  <a:pt x="8" y="34"/>
                </a:moveTo>
                <a:cubicBezTo>
                  <a:pt x="8" y="35"/>
                  <a:pt x="8" y="35"/>
                  <a:pt x="8" y="35"/>
                </a:cubicBezTo>
                <a:cubicBezTo>
                  <a:pt x="9" y="36"/>
                  <a:pt x="9" y="36"/>
                  <a:pt x="9" y="36"/>
                </a:cubicBezTo>
                <a:cubicBezTo>
                  <a:pt x="8" y="35"/>
                  <a:pt x="8" y="35"/>
                  <a:pt x="8" y="35"/>
                </a:cubicBezTo>
                <a:cubicBezTo>
                  <a:pt x="8" y="35"/>
                  <a:pt x="8" y="34"/>
                  <a:pt x="8" y="34"/>
                </a:cubicBezTo>
                <a:close/>
                <a:moveTo>
                  <a:pt x="11" y="35"/>
                </a:moveTo>
                <a:cubicBezTo>
                  <a:pt x="10" y="36"/>
                  <a:pt x="10" y="36"/>
                  <a:pt x="10" y="36"/>
                </a:cubicBezTo>
                <a:cubicBezTo>
                  <a:pt x="11" y="37"/>
                  <a:pt x="11" y="37"/>
                  <a:pt x="11" y="37"/>
                </a:cubicBezTo>
                <a:cubicBezTo>
                  <a:pt x="11" y="37"/>
                  <a:pt x="11" y="37"/>
                  <a:pt x="11" y="37"/>
                </a:cubicBezTo>
                <a:cubicBezTo>
                  <a:pt x="11" y="36"/>
                  <a:pt x="11" y="36"/>
                  <a:pt x="11" y="36"/>
                </a:cubicBezTo>
                <a:cubicBezTo>
                  <a:pt x="11" y="35"/>
                  <a:pt x="11" y="35"/>
                  <a:pt x="11" y="35"/>
                </a:cubicBezTo>
                <a:close/>
                <a:moveTo>
                  <a:pt x="9" y="39"/>
                </a:moveTo>
                <a:cubicBezTo>
                  <a:pt x="10" y="39"/>
                  <a:pt x="10" y="39"/>
                  <a:pt x="10" y="39"/>
                </a:cubicBezTo>
                <a:cubicBezTo>
                  <a:pt x="11" y="39"/>
                  <a:pt x="11" y="39"/>
                  <a:pt x="11" y="39"/>
                </a:cubicBezTo>
                <a:cubicBezTo>
                  <a:pt x="10" y="37"/>
                  <a:pt x="10" y="37"/>
                  <a:pt x="10" y="37"/>
                </a:cubicBezTo>
                <a:cubicBezTo>
                  <a:pt x="9" y="38"/>
                  <a:pt x="9" y="38"/>
                  <a:pt x="9" y="38"/>
                </a:cubicBezTo>
                <a:cubicBezTo>
                  <a:pt x="9" y="39"/>
                  <a:pt x="9" y="39"/>
                  <a:pt x="9" y="39"/>
                </a:cubicBezTo>
                <a:close/>
                <a:moveTo>
                  <a:pt x="12" y="42"/>
                </a:moveTo>
                <a:cubicBezTo>
                  <a:pt x="13" y="41"/>
                  <a:pt x="13" y="41"/>
                  <a:pt x="13" y="41"/>
                </a:cubicBezTo>
                <a:cubicBezTo>
                  <a:pt x="12" y="41"/>
                  <a:pt x="12" y="41"/>
                  <a:pt x="12" y="41"/>
                </a:cubicBezTo>
                <a:cubicBezTo>
                  <a:pt x="11" y="41"/>
                  <a:pt x="11" y="41"/>
                  <a:pt x="11" y="41"/>
                </a:cubicBezTo>
                <a:cubicBezTo>
                  <a:pt x="12" y="42"/>
                  <a:pt x="12" y="42"/>
                  <a:pt x="12" y="42"/>
                </a:cubicBezTo>
                <a:close/>
                <a:moveTo>
                  <a:pt x="13" y="42"/>
                </a:moveTo>
                <a:cubicBezTo>
                  <a:pt x="12" y="43"/>
                  <a:pt x="12" y="43"/>
                  <a:pt x="12" y="43"/>
                </a:cubicBezTo>
                <a:cubicBezTo>
                  <a:pt x="12" y="44"/>
                  <a:pt x="12" y="44"/>
                  <a:pt x="12" y="44"/>
                </a:cubicBezTo>
                <a:cubicBezTo>
                  <a:pt x="12" y="44"/>
                  <a:pt x="12" y="44"/>
                  <a:pt x="12" y="45"/>
                </a:cubicBezTo>
                <a:cubicBezTo>
                  <a:pt x="12" y="45"/>
                  <a:pt x="13" y="46"/>
                  <a:pt x="13" y="46"/>
                </a:cubicBezTo>
                <a:cubicBezTo>
                  <a:pt x="14" y="45"/>
                  <a:pt x="14" y="45"/>
                  <a:pt x="14" y="45"/>
                </a:cubicBezTo>
                <a:cubicBezTo>
                  <a:pt x="13" y="44"/>
                  <a:pt x="13" y="44"/>
                  <a:pt x="13" y="44"/>
                </a:cubicBezTo>
                <a:cubicBezTo>
                  <a:pt x="13" y="43"/>
                  <a:pt x="13" y="43"/>
                  <a:pt x="13" y="43"/>
                </a:cubicBezTo>
                <a:lnTo>
                  <a:pt x="13" y="42"/>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1" name="Freeform 9">
            <a:extLst>
              <a:ext uri="{FF2B5EF4-FFF2-40B4-BE49-F238E27FC236}">
                <a16:creationId xmlns:a16="http://schemas.microsoft.com/office/drawing/2014/main" id="{DD89DE80-3D9E-7C8A-1FEC-797731833B3B}"/>
              </a:ext>
            </a:extLst>
          </p:cNvPr>
          <p:cNvSpPr>
            <a:spLocks noEditPoints="1"/>
          </p:cNvSpPr>
          <p:nvPr userDrawn="1"/>
        </p:nvSpPr>
        <p:spPr bwMode="auto">
          <a:xfrm>
            <a:off x="22179102" y="8371759"/>
            <a:ext cx="79371" cy="149226"/>
          </a:xfrm>
          <a:custGeom>
            <a:avLst/>
            <a:gdLst>
              <a:gd name="T0" fmla="*/ 25 w 25"/>
              <a:gd name="T1" fmla="*/ 0 h 47"/>
              <a:gd name="T2" fmla="*/ 19 w 25"/>
              <a:gd name="T3" fmla="*/ 4 h 47"/>
              <a:gd name="T4" fmla="*/ 22 w 25"/>
              <a:gd name="T5" fmla="*/ 10 h 47"/>
              <a:gd name="T6" fmla="*/ 22 w 25"/>
              <a:gd name="T7" fmla="*/ 4 h 47"/>
              <a:gd name="T8" fmla="*/ 25 w 25"/>
              <a:gd name="T9" fmla="*/ 0 h 47"/>
              <a:gd name="T10" fmla="*/ 25 w 25"/>
              <a:gd name="T11" fmla="*/ 0 h 47"/>
              <a:gd name="T12" fmla="*/ 25 w 25"/>
              <a:gd name="T13" fmla="*/ 0 h 47"/>
              <a:gd name="T14" fmla="*/ 13 w 25"/>
              <a:gd name="T15" fmla="*/ 29 h 47"/>
              <a:gd name="T16" fmla="*/ 16 w 25"/>
              <a:gd name="T17" fmla="*/ 26 h 47"/>
              <a:gd name="T18" fmla="*/ 19 w 25"/>
              <a:gd name="T19" fmla="*/ 29 h 47"/>
              <a:gd name="T20" fmla="*/ 16 w 25"/>
              <a:gd name="T21" fmla="*/ 29 h 47"/>
              <a:gd name="T22" fmla="*/ 13 w 25"/>
              <a:gd name="T23" fmla="*/ 29 h 47"/>
              <a:gd name="T24" fmla="*/ 13 w 25"/>
              <a:gd name="T25" fmla="*/ 29 h 47"/>
              <a:gd name="T26" fmla="*/ 3 w 25"/>
              <a:gd name="T27" fmla="*/ 44 h 47"/>
              <a:gd name="T28" fmla="*/ 3 w 25"/>
              <a:gd name="T29" fmla="*/ 41 h 47"/>
              <a:gd name="T30" fmla="*/ 6 w 25"/>
              <a:gd name="T31" fmla="*/ 38 h 47"/>
              <a:gd name="T32" fmla="*/ 9 w 25"/>
              <a:gd name="T33" fmla="*/ 41 h 47"/>
              <a:gd name="T34" fmla="*/ 6 w 25"/>
              <a:gd name="T35" fmla="*/ 47 h 47"/>
              <a:gd name="T36" fmla="*/ 3 w 25"/>
              <a:gd name="T37" fmla="*/ 47 h 47"/>
              <a:gd name="T38" fmla="*/ 0 w 25"/>
              <a:gd name="T39" fmla="*/ 44 h 47"/>
              <a:gd name="T40" fmla="*/ 3 w 25"/>
              <a:gd name="T41"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47">
                <a:moveTo>
                  <a:pt x="25" y="0"/>
                </a:moveTo>
                <a:lnTo>
                  <a:pt x="19" y="4"/>
                </a:lnTo>
                <a:lnTo>
                  <a:pt x="22" y="10"/>
                </a:lnTo>
                <a:lnTo>
                  <a:pt x="22" y="4"/>
                </a:lnTo>
                <a:lnTo>
                  <a:pt x="25" y="0"/>
                </a:lnTo>
                <a:lnTo>
                  <a:pt x="25" y="0"/>
                </a:lnTo>
                <a:lnTo>
                  <a:pt x="25" y="0"/>
                </a:lnTo>
                <a:close/>
                <a:moveTo>
                  <a:pt x="13" y="29"/>
                </a:moveTo>
                <a:lnTo>
                  <a:pt x="16" y="26"/>
                </a:lnTo>
                <a:lnTo>
                  <a:pt x="19" y="29"/>
                </a:lnTo>
                <a:lnTo>
                  <a:pt x="16" y="29"/>
                </a:lnTo>
                <a:lnTo>
                  <a:pt x="13" y="29"/>
                </a:lnTo>
                <a:lnTo>
                  <a:pt x="13" y="29"/>
                </a:lnTo>
                <a:close/>
                <a:moveTo>
                  <a:pt x="3" y="44"/>
                </a:moveTo>
                <a:lnTo>
                  <a:pt x="3" y="41"/>
                </a:lnTo>
                <a:lnTo>
                  <a:pt x="6" y="38"/>
                </a:lnTo>
                <a:lnTo>
                  <a:pt x="9" y="41"/>
                </a:lnTo>
                <a:lnTo>
                  <a:pt x="6" y="47"/>
                </a:lnTo>
                <a:lnTo>
                  <a:pt x="3" y="47"/>
                </a:lnTo>
                <a:lnTo>
                  <a:pt x="0" y="44"/>
                </a:lnTo>
                <a:lnTo>
                  <a:pt x="3" y="4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2" name="Freeform 10">
            <a:extLst>
              <a:ext uri="{FF2B5EF4-FFF2-40B4-BE49-F238E27FC236}">
                <a16:creationId xmlns:a16="http://schemas.microsoft.com/office/drawing/2014/main" id="{91C92606-AF3B-9C58-F521-F92AE6546400}"/>
              </a:ext>
            </a:extLst>
          </p:cNvPr>
          <p:cNvSpPr>
            <a:spLocks noEditPoints="1"/>
          </p:cNvSpPr>
          <p:nvPr userDrawn="1"/>
        </p:nvSpPr>
        <p:spPr bwMode="auto">
          <a:xfrm>
            <a:off x="14537374" y="1669331"/>
            <a:ext cx="8206842" cy="4946650"/>
          </a:xfrm>
          <a:custGeom>
            <a:avLst/>
            <a:gdLst>
              <a:gd name="T0" fmla="*/ 633 w 827"/>
              <a:gd name="T1" fmla="*/ 408 h 498"/>
              <a:gd name="T2" fmla="*/ 578 w 827"/>
              <a:gd name="T3" fmla="*/ 356 h 498"/>
              <a:gd name="T4" fmla="*/ 516 w 827"/>
              <a:gd name="T5" fmla="*/ 401 h 498"/>
              <a:gd name="T6" fmla="*/ 401 w 827"/>
              <a:gd name="T7" fmla="*/ 403 h 498"/>
              <a:gd name="T8" fmla="*/ 283 w 827"/>
              <a:gd name="T9" fmla="*/ 383 h 498"/>
              <a:gd name="T10" fmla="*/ 208 w 827"/>
              <a:gd name="T11" fmla="*/ 393 h 498"/>
              <a:gd name="T12" fmla="*/ 140 w 827"/>
              <a:gd name="T13" fmla="*/ 425 h 498"/>
              <a:gd name="T14" fmla="*/ 120 w 827"/>
              <a:gd name="T15" fmla="*/ 497 h 498"/>
              <a:gd name="T16" fmla="*/ 69 w 827"/>
              <a:gd name="T17" fmla="*/ 425 h 498"/>
              <a:gd name="T18" fmla="*/ 11 w 827"/>
              <a:gd name="T19" fmla="*/ 334 h 498"/>
              <a:gd name="T20" fmla="*/ 22 w 827"/>
              <a:gd name="T21" fmla="*/ 238 h 498"/>
              <a:gd name="T22" fmla="*/ 30 w 827"/>
              <a:gd name="T23" fmla="*/ 270 h 498"/>
              <a:gd name="T24" fmla="*/ 84 w 827"/>
              <a:gd name="T25" fmla="*/ 263 h 498"/>
              <a:gd name="T26" fmla="*/ 128 w 827"/>
              <a:gd name="T27" fmla="*/ 239 h 498"/>
              <a:gd name="T28" fmla="*/ 204 w 827"/>
              <a:gd name="T29" fmla="*/ 224 h 498"/>
              <a:gd name="T30" fmla="*/ 226 w 827"/>
              <a:gd name="T31" fmla="*/ 227 h 498"/>
              <a:gd name="T32" fmla="*/ 247 w 827"/>
              <a:gd name="T33" fmla="*/ 220 h 498"/>
              <a:gd name="T34" fmla="*/ 239 w 827"/>
              <a:gd name="T35" fmla="*/ 171 h 498"/>
              <a:gd name="T36" fmla="*/ 248 w 827"/>
              <a:gd name="T37" fmla="*/ 144 h 498"/>
              <a:gd name="T38" fmla="*/ 273 w 827"/>
              <a:gd name="T39" fmla="*/ 96 h 498"/>
              <a:gd name="T40" fmla="*/ 311 w 827"/>
              <a:gd name="T41" fmla="*/ 65 h 498"/>
              <a:gd name="T42" fmla="*/ 364 w 827"/>
              <a:gd name="T43" fmla="*/ 94 h 498"/>
              <a:gd name="T44" fmla="*/ 386 w 827"/>
              <a:gd name="T45" fmla="*/ 114 h 498"/>
              <a:gd name="T46" fmla="*/ 466 w 827"/>
              <a:gd name="T47" fmla="*/ 109 h 498"/>
              <a:gd name="T48" fmla="*/ 525 w 827"/>
              <a:gd name="T49" fmla="*/ 102 h 498"/>
              <a:gd name="T50" fmla="*/ 581 w 827"/>
              <a:gd name="T51" fmla="*/ 91 h 498"/>
              <a:gd name="T52" fmla="*/ 705 w 827"/>
              <a:gd name="T53" fmla="*/ 93 h 498"/>
              <a:gd name="T54" fmla="*/ 783 w 827"/>
              <a:gd name="T55" fmla="*/ 77 h 498"/>
              <a:gd name="T56" fmla="*/ 819 w 827"/>
              <a:gd name="T57" fmla="*/ 97 h 498"/>
              <a:gd name="T58" fmla="*/ 796 w 827"/>
              <a:gd name="T59" fmla="*/ 131 h 498"/>
              <a:gd name="T60" fmla="*/ 800 w 827"/>
              <a:gd name="T61" fmla="*/ 187 h 498"/>
              <a:gd name="T62" fmla="*/ 758 w 827"/>
              <a:gd name="T63" fmla="*/ 248 h 498"/>
              <a:gd name="T64" fmla="*/ 772 w 827"/>
              <a:gd name="T65" fmla="*/ 339 h 498"/>
              <a:gd name="T66" fmla="*/ 741 w 827"/>
              <a:gd name="T67" fmla="*/ 206 h 498"/>
              <a:gd name="T68" fmla="*/ 706 w 827"/>
              <a:gd name="T69" fmla="*/ 230 h 498"/>
              <a:gd name="T70" fmla="*/ 661 w 827"/>
              <a:gd name="T71" fmla="*/ 264 h 498"/>
              <a:gd name="T72" fmla="*/ 651 w 827"/>
              <a:gd name="T73" fmla="*/ 333 h 498"/>
              <a:gd name="T74" fmla="*/ 656 w 827"/>
              <a:gd name="T75" fmla="*/ 453 h 498"/>
              <a:gd name="T76" fmla="*/ 56 w 827"/>
              <a:gd name="T77" fmla="*/ 51 h 498"/>
              <a:gd name="T78" fmla="*/ 77 w 827"/>
              <a:gd name="T79" fmla="*/ 31 h 498"/>
              <a:gd name="T80" fmla="*/ 70 w 827"/>
              <a:gd name="T81" fmla="*/ 51 h 498"/>
              <a:gd name="T82" fmla="*/ 74 w 827"/>
              <a:gd name="T83" fmla="*/ 52 h 498"/>
              <a:gd name="T84" fmla="*/ 92 w 827"/>
              <a:gd name="T85" fmla="*/ 44 h 498"/>
              <a:gd name="T86" fmla="*/ 119 w 827"/>
              <a:gd name="T87" fmla="*/ 171 h 498"/>
              <a:gd name="T88" fmla="*/ 145 w 827"/>
              <a:gd name="T89" fmla="*/ 112 h 498"/>
              <a:gd name="T90" fmla="*/ 113 w 827"/>
              <a:gd name="T91" fmla="*/ 159 h 498"/>
              <a:gd name="T92" fmla="*/ 107 w 827"/>
              <a:gd name="T93" fmla="*/ 180 h 498"/>
              <a:gd name="T94" fmla="*/ 137 w 827"/>
              <a:gd name="T95" fmla="*/ 211 h 498"/>
              <a:gd name="T96" fmla="*/ 265 w 827"/>
              <a:gd name="T97" fmla="*/ 189 h 498"/>
              <a:gd name="T98" fmla="*/ 208 w 827"/>
              <a:gd name="T99" fmla="*/ 165 h 498"/>
              <a:gd name="T100" fmla="*/ 223 w 827"/>
              <a:gd name="T101" fmla="*/ 109 h 498"/>
              <a:gd name="T102" fmla="*/ 269 w 827"/>
              <a:gd name="T103" fmla="*/ 79 h 498"/>
              <a:gd name="T104" fmla="*/ 205 w 827"/>
              <a:gd name="T105" fmla="*/ 8 h 498"/>
              <a:gd name="T106" fmla="*/ 236 w 827"/>
              <a:gd name="T107" fmla="*/ 38 h 498"/>
              <a:gd name="T108" fmla="*/ 510 w 827"/>
              <a:gd name="T109" fmla="*/ 26 h 498"/>
              <a:gd name="T110" fmla="*/ 462 w 827"/>
              <a:gd name="T111" fmla="*/ 38 h 498"/>
              <a:gd name="T112" fmla="*/ 276 w 827"/>
              <a:gd name="T113" fmla="*/ 29 h 498"/>
              <a:gd name="T114" fmla="*/ 376 w 827"/>
              <a:gd name="T115" fmla="*/ 103 h 498"/>
              <a:gd name="T116" fmla="*/ 653 w 827"/>
              <a:gd name="T117" fmla="*/ 97 h 498"/>
              <a:gd name="T118" fmla="*/ 700 w 827"/>
              <a:gd name="T119" fmla="*/ 379 h 498"/>
              <a:gd name="T120" fmla="*/ 694 w 827"/>
              <a:gd name="T121" fmla="*/ 402 h 498"/>
              <a:gd name="T122" fmla="*/ 764 w 827"/>
              <a:gd name="T123" fmla="*/ 252 h 498"/>
              <a:gd name="T124" fmla="*/ 761 w 827"/>
              <a:gd name="T125" fmla="*/ 38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7" h="498">
                <a:moveTo>
                  <a:pt x="642" y="458"/>
                </a:moveTo>
                <a:cubicBezTo>
                  <a:pt x="641" y="458"/>
                  <a:pt x="641" y="458"/>
                  <a:pt x="641" y="458"/>
                </a:cubicBezTo>
                <a:cubicBezTo>
                  <a:pt x="640" y="457"/>
                  <a:pt x="640" y="457"/>
                  <a:pt x="640" y="457"/>
                </a:cubicBezTo>
                <a:cubicBezTo>
                  <a:pt x="640" y="457"/>
                  <a:pt x="640" y="457"/>
                  <a:pt x="640" y="457"/>
                </a:cubicBezTo>
                <a:cubicBezTo>
                  <a:pt x="641" y="456"/>
                  <a:pt x="641" y="456"/>
                  <a:pt x="641" y="456"/>
                </a:cubicBezTo>
                <a:cubicBezTo>
                  <a:pt x="641" y="455"/>
                  <a:pt x="641" y="455"/>
                  <a:pt x="641" y="455"/>
                </a:cubicBezTo>
                <a:cubicBezTo>
                  <a:pt x="640" y="455"/>
                  <a:pt x="640" y="455"/>
                  <a:pt x="640" y="455"/>
                </a:cubicBezTo>
                <a:cubicBezTo>
                  <a:pt x="640" y="454"/>
                  <a:pt x="640" y="454"/>
                  <a:pt x="640" y="454"/>
                </a:cubicBezTo>
                <a:cubicBezTo>
                  <a:pt x="640" y="453"/>
                  <a:pt x="640" y="453"/>
                  <a:pt x="640" y="453"/>
                </a:cubicBezTo>
                <a:cubicBezTo>
                  <a:pt x="641" y="453"/>
                  <a:pt x="641" y="453"/>
                  <a:pt x="641" y="453"/>
                </a:cubicBezTo>
                <a:cubicBezTo>
                  <a:pt x="642" y="453"/>
                  <a:pt x="642" y="453"/>
                  <a:pt x="642" y="453"/>
                </a:cubicBezTo>
                <a:cubicBezTo>
                  <a:pt x="643" y="453"/>
                  <a:pt x="643" y="453"/>
                  <a:pt x="643" y="453"/>
                </a:cubicBezTo>
                <a:cubicBezTo>
                  <a:pt x="643" y="452"/>
                  <a:pt x="643" y="452"/>
                  <a:pt x="643" y="452"/>
                </a:cubicBezTo>
                <a:cubicBezTo>
                  <a:pt x="642" y="451"/>
                  <a:pt x="642" y="451"/>
                  <a:pt x="642" y="451"/>
                </a:cubicBezTo>
                <a:cubicBezTo>
                  <a:pt x="643" y="450"/>
                  <a:pt x="643" y="450"/>
                  <a:pt x="643" y="450"/>
                </a:cubicBezTo>
                <a:cubicBezTo>
                  <a:pt x="643" y="450"/>
                  <a:pt x="643" y="450"/>
                  <a:pt x="643" y="450"/>
                </a:cubicBezTo>
                <a:cubicBezTo>
                  <a:pt x="643" y="449"/>
                  <a:pt x="643" y="449"/>
                  <a:pt x="643" y="449"/>
                </a:cubicBezTo>
                <a:cubicBezTo>
                  <a:pt x="643" y="447"/>
                  <a:pt x="643" y="447"/>
                  <a:pt x="643" y="447"/>
                </a:cubicBezTo>
                <a:cubicBezTo>
                  <a:pt x="642" y="447"/>
                  <a:pt x="642" y="447"/>
                  <a:pt x="642" y="447"/>
                </a:cubicBezTo>
                <a:cubicBezTo>
                  <a:pt x="642" y="445"/>
                  <a:pt x="642" y="445"/>
                  <a:pt x="642" y="445"/>
                </a:cubicBezTo>
                <a:cubicBezTo>
                  <a:pt x="642" y="444"/>
                  <a:pt x="642" y="444"/>
                  <a:pt x="642" y="444"/>
                </a:cubicBezTo>
                <a:cubicBezTo>
                  <a:pt x="642" y="442"/>
                  <a:pt x="642" y="442"/>
                  <a:pt x="642" y="442"/>
                </a:cubicBezTo>
                <a:cubicBezTo>
                  <a:pt x="642" y="441"/>
                  <a:pt x="642" y="441"/>
                  <a:pt x="642" y="441"/>
                </a:cubicBezTo>
                <a:cubicBezTo>
                  <a:pt x="641" y="440"/>
                  <a:pt x="641" y="440"/>
                  <a:pt x="641" y="440"/>
                </a:cubicBezTo>
                <a:cubicBezTo>
                  <a:pt x="641" y="439"/>
                  <a:pt x="641" y="439"/>
                  <a:pt x="641" y="439"/>
                </a:cubicBezTo>
                <a:cubicBezTo>
                  <a:pt x="640" y="438"/>
                  <a:pt x="640" y="438"/>
                  <a:pt x="640" y="438"/>
                </a:cubicBezTo>
                <a:cubicBezTo>
                  <a:pt x="639" y="436"/>
                  <a:pt x="639" y="436"/>
                  <a:pt x="639" y="436"/>
                </a:cubicBezTo>
                <a:cubicBezTo>
                  <a:pt x="638" y="435"/>
                  <a:pt x="638" y="435"/>
                  <a:pt x="638" y="435"/>
                </a:cubicBezTo>
                <a:cubicBezTo>
                  <a:pt x="639" y="434"/>
                  <a:pt x="639" y="434"/>
                  <a:pt x="639" y="434"/>
                </a:cubicBezTo>
                <a:cubicBezTo>
                  <a:pt x="639" y="434"/>
                  <a:pt x="639" y="434"/>
                  <a:pt x="639" y="434"/>
                </a:cubicBezTo>
                <a:cubicBezTo>
                  <a:pt x="640" y="434"/>
                  <a:pt x="640" y="434"/>
                  <a:pt x="640" y="434"/>
                </a:cubicBezTo>
                <a:cubicBezTo>
                  <a:pt x="641" y="433"/>
                  <a:pt x="641" y="433"/>
                  <a:pt x="641" y="433"/>
                </a:cubicBezTo>
                <a:cubicBezTo>
                  <a:pt x="641" y="432"/>
                  <a:pt x="641" y="432"/>
                  <a:pt x="641" y="432"/>
                </a:cubicBezTo>
                <a:cubicBezTo>
                  <a:pt x="642" y="430"/>
                  <a:pt x="642" y="430"/>
                  <a:pt x="642" y="430"/>
                </a:cubicBezTo>
                <a:cubicBezTo>
                  <a:pt x="643" y="430"/>
                  <a:pt x="643" y="430"/>
                  <a:pt x="643" y="430"/>
                </a:cubicBezTo>
                <a:cubicBezTo>
                  <a:pt x="644" y="431"/>
                  <a:pt x="644" y="431"/>
                  <a:pt x="644" y="431"/>
                </a:cubicBezTo>
                <a:cubicBezTo>
                  <a:pt x="644" y="431"/>
                  <a:pt x="644" y="431"/>
                  <a:pt x="644" y="431"/>
                </a:cubicBezTo>
                <a:cubicBezTo>
                  <a:pt x="648" y="432"/>
                  <a:pt x="648" y="432"/>
                  <a:pt x="648" y="432"/>
                </a:cubicBezTo>
                <a:cubicBezTo>
                  <a:pt x="649" y="432"/>
                  <a:pt x="649" y="432"/>
                  <a:pt x="649" y="432"/>
                </a:cubicBezTo>
                <a:cubicBezTo>
                  <a:pt x="650" y="432"/>
                  <a:pt x="650" y="432"/>
                  <a:pt x="650" y="432"/>
                </a:cubicBezTo>
                <a:cubicBezTo>
                  <a:pt x="650" y="431"/>
                  <a:pt x="650" y="431"/>
                  <a:pt x="650" y="431"/>
                </a:cubicBezTo>
                <a:cubicBezTo>
                  <a:pt x="650" y="430"/>
                  <a:pt x="650" y="430"/>
                  <a:pt x="650" y="430"/>
                </a:cubicBezTo>
                <a:cubicBezTo>
                  <a:pt x="650" y="430"/>
                  <a:pt x="650" y="430"/>
                  <a:pt x="650" y="430"/>
                </a:cubicBezTo>
                <a:cubicBezTo>
                  <a:pt x="650" y="429"/>
                  <a:pt x="650" y="429"/>
                  <a:pt x="650" y="429"/>
                </a:cubicBezTo>
                <a:cubicBezTo>
                  <a:pt x="650" y="428"/>
                  <a:pt x="650" y="428"/>
                  <a:pt x="650" y="428"/>
                </a:cubicBezTo>
                <a:cubicBezTo>
                  <a:pt x="650" y="428"/>
                  <a:pt x="650" y="428"/>
                  <a:pt x="650" y="428"/>
                </a:cubicBezTo>
                <a:cubicBezTo>
                  <a:pt x="649" y="427"/>
                  <a:pt x="649" y="427"/>
                  <a:pt x="649" y="427"/>
                </a:cubicBezTo>
                <a:cubicBezTo>
                  <a:pt x="650" y="426"/>
                  <a:pt x="650" y="426"/>
                  <a:pt x="650" y="426"/>
                </a:cubicBezTo>
                <a:cubicBezTo>
                  <a:pt x="650" y="425"/>
                  <a:pt x="650" y="425"/>
                  <a:pt x="650" y="425"/>
                </a:cubicBezTo>
                <a:cubicBezTo>
                  <a:pt x="650" y="424"/>
                  <a:pt x="650" y="424"/>
                  <a:pt x="650" y="424"/>
                </a:cubicBezTo>
                <a:cubicBezTo>
                  <a:pt x="650" y="424"/>
                  <a:pt x="650" y="424"/>
                  <a:pt x="650" y="424"/>
                </a:cubicBezTo>
                <a:cubicBezTo>
                  <a:pt x="650" y="423"/>
                  <a:pt x="650" y="423"/>
                  <a:pt x="650" y="423"/>
                </a:cubicBezTo>
                <a:cubicBezTo>
                  <a:pt x="651" y="423"/>
                  <a:pt x="651" y="423"/>
                  <a:pt x="651" y="423"/>
                </a:cubicBezTo>
                <a:cubicBezTo>
                  <a:pt x="650" y="422"/>
                  <a:pt x="650" y="422"/>
                  <a:pt x="650" y="422"/>
                </a:cubicBezTo>
                <a:cubicBezTo>
                  <a:pt x="650" y="422"/>
                  <a:pt x="650" y="422"/>
                  <a:pt x="650" y="422"/>
                </a:cubicBezTo>
                <a:cubicBezTo>
                  <a:pt x="650" y="421"/>
                  <a:pt x="650" y="421"/>
                  <a:pt x="650" y="421"/>
                </a:cubicBezTo>
                <a:cubicBezTo>
                  <a:pt x="650" y="420"/>
                  <a:pt x="650" y="420"/>
                  <a:pt x="650" y="420"/>
                </a:cubicBezTo>
                <a:cubicBezTo>
                  <a:pt x="651" y="420"/>
                  <a:pt x="651" y="420"/>
                  <a:pt x="651" y="420"/>
                </a:cubicBezTo>
                <a:cubicBezTo>
                  <a:pt x="651" y="419"/>
                  <a:pt x="651" y="419"/>
                  <a:pt x="651" y="419"/>
                </a:cubicBezTo>
                <a:cubicBezTo>
                  <a:pt x="651" y="419"/>
                  <a:pt x="651" y="419"/>
                  <a:pt x="651" y="419"/>
                </a:cubicBezTo>
                <a:cubicBezTo>
                  <a:pt x="650" y="417"/>
                  <a:pt x="650" y="417"/>
                  <a:pt x="650" y="417"/>
                </a:cubicBezTo>
                <a:cubicBezTo>
                  <a:pt x="650" y="416"/>
                  <a:pt x="650" y="416"/>
                  <a:pt x="650" y="416"/>
                </a:cubicBezTo>
                <a:cubicBezTo>
                  <a:pt x="650" y="416"/>
                  <a:pt x="650" y="416"/>
                  <a:pt x="650" y="416"/>
                </a:cubicBezTo>
                <a:cubicBezTo>
                  <a:pt x="651" y="415"/>
                  <a:pt x="651" y="415"/>
                  <a:pt x="651" y="415"/>
                </a:cubicBezTo>
                <a:cubicBezTo>
                  <a:pt x="651" y="415"/>
                  <a:pt x="651" y="415"/>
                  <a:pt x="651" y="415"/>
                </a:cubicBezTo>
                <a:cubicBezTo>
                  <a:pt x="650" y="414"/>
                  <a:pt x="650" y="414"/>
                  <a:pt x="650" y="414"/>
                </a:cubicBezTo>
                <a:cubicBezTo>
                  <a:pt x="650" y="414"/>
                  <a:pt x="650" y="414"/>
                  <a:pt x="650" y="414"/>
                </a:cubicBezTo>
                <a:cubicBezTo>
                  <a:pt x="650" y="413"/>
                  <a:pt x="650" y="413"/>
                  <a:pt x="650" y="413"/>
                </a:cubicBezTo>
                <a:cubicBezTo>
                  <a:pt x="650" y="413"/>
                  <a:pt x="650" y="413"/>
                  <a:pt x="650" y="413"/>
                </a:cubicBezTo>
                <a:cubicBezTo>
                  <a:pt x="650" y="412"/>
                  <a:pt x="650" y="412"/>
                  <a:pt x="650" y="412"/>
                </a:cubicBezTo>
                <a:cubicBezTo>
                  <a:pt x="650" y="411"/>
                  <a:pt x="650" y="411"/>
                  <a:pt x="650" y="411"/>
                </a:cubicBezTo>
                <a:cubicBezTo>
                  <a:pt x="650" y="410"/>
                  <a:pt x="650" y="410"/>
                  <a:pt x="650" y="410"/>
                </a:cubicBezTo>
                <a:cubicBezTo>
                  <a:pt x="649" y="410"/>
                  <a:pt x="649" y="410"/>
                  <a:pt x="649" y="410"/>
                </a:cubicBezTo>
                <a:cubicBezTo>
                  <a:pt x="649" y="409"/>
                  <a:pt x="649" y="409"/>
                  <a:pt x="649" y="409"/>
                </a:cubicBezTo>
                <a:cubicBezTo>
                  <a:pt x="650" y="408"/>
                  <a:pt x="650" y="408"/>
                  <a:pt x="650" y="408"/>
                </a:cubicBezTo>
                <a:cubicBezTo>
                  <a:pt x="651" y="408"/>
                  <a:pt x="651" y="408"/>
                  <a:pt x="651" y="408"/>
                </a:cubicBezTo>
                <a:cubicBezTo>
                  <a:pt x="651" y="407"/>
                  <a:pt x="651" y="407"/>
                  <a:pt x="651" y="407"/>
                </a:cubicBezTo>
                <a:cubicBezTo>
                  <a:pt x="651" y="406"/>
                  <a:pt x="651" y="406"/>
                  <a:pt x="651" y="406"/>
                </a:cubicBezTo>
                <a:cubicBezTo>
                  <a:pt x="652" y="405"/>
                  <a:pt x="652" y="405"/>
                  <a:pt x="652" y="405"/>
                </a:cubicBezTo>
                <a:cubicBezTo>
                  <a:pt x="651" y="405"/>
                  <a:pt x="651" y="405"/>
                  <a:pt x="651" y="405"/>
                </a:cubicBezTo>
                <a:cubicBezTo>
                  <a:pt x="650" y="404"/>
                  <a:pt x="650" y="404"/>
                  <a:pt x="650" y="404"/>
                </a:cubicBezTo>
                <a:cubicBezTo>
                  <a:pt x="650" y="403"/>
                  <a:pt x="650" y="403"/>
                  <a:pt x="650" y="403"/>
                </a:cubicBezTo>
                <a:cubicBezTo>
                  <a:pt x="649" y="402"/>
                  <a:pt x="649" y="402"/>
                  <a:pt x="649" y="402"/>
                </a:cubicBezTo>
                <a:cubicBezTo>
                  <a:pt x="649" y="401"/>
                  <a:pt x="649" y="401"/>
                  <a:pt x="649" y="401"/>
                </a:cubicBezTo>
                <a:cubicBezTo>
                  <a:pt x="649" y="401"/>
                  <a:pt x="649" y="401"/>
                  <a:pt x="649" y="401"/>
                </a:cubicBezTo>
                <a:cubicBezTo>
                  <a:pt x="649" y="400"/>
                  <a:pt x="649" y="400"/>
                  <a:pt x="649" y="400"/>
                </a:cubicBezTo>
                <a:cubicBezTo>
                  <a:pt x="648" y="399"/>
                  <a:pt x="648" y="399"/>
                  <a:pt x="648" y="399"/>
                </a:cubicBezTo>
                <a:cubicBezTo>
                  <a:pt x="647" y="399"/>
                  <a:pt x="647" y="399"/>
                  <a:pt x="647" y="399"/>
                </a:cubicBezTo>
                <a:cubicBezTo>
                  <a:pt x="647" y="398"/>
                  <a:pt x="647" y="398"/>
                  <a:pt x="647" y="398"/>
                </a:cubicBezTo>
                <a:cubicBezTo>
                  <a:pt x="645" y="398"/>
                  <a:pt x="645" y="398"/>
                  <a:pt x="645" y="398"/>
                </a:cubicBezTo>
                <a:cubicBezTo>
                  <a:pt x="645" y="398"/>
                  <a:pt x="645" y="398"/>
                  <a:pt x="645" y="398"/>
                </a:cubicBezTo>
                <a:cubicBezTo>
                  <a:pt x="644" y="399"/>
                  <a:pt x="644" y="399"/>
                  <a:pt x="644" y="399"/>
                </a:cubicBezTo>
                <a:cubicBezTo>
                  <a:pt x="643" y="399"/>
                  <a:pt x="643" y="399"/>
                  <a:pt x="643" y="399"/>
                </a:cubicBezTo>
                <a:cubicBezTo>
                  <a:pt x="643" y="400"/>
                  <a:pt x="643" y="400"/>
                  <a:pt x="643" y="400"/>
                </a:cubicBezTo>
                <a:cubicBezTo>
                  <a:pt x="642" y="400"/>
                  <a:pt x="642" y="400"/>
                  <a:pt x="642" y="400"/>
                </a:cubicBezTo>
                <a:cubicBezTo>
                  <a:pt x="642" y="401"/>
                  <a:pt x="642" y="401"/>
                  <a:pt x="642" y="401"/>
                </a:cubicBezTo>
                <a:cubicBezTo>
                  <a:pt x="641" y="402"/>
                  <a:pt x="641" y="402"/>
                  <a:pt x="641" y="402"/>
                </a:cubicBezTo>
                <a:cubicBezTo>
                  <a:pt x="640" y="402"/>
                  <a:pt x="640" y="402"/>
                  <a:pt x="640" y="402"/>
                </a:cubicBezTo>
                <a:cubicBezTo>
                  <a:pt x="639" y="402"/>
                  <a:pt x="639" y="402"/>
                  <a:pt x="639" y="402"/>
                </a:cubicBezTo>
                <a:cubicBezTo>
                  <a:pt x="639" y="403"/>
                  <a:pt x="639" y="403"/>
                  <a:pt x="639" y="403"/>
                </a:cubicBezTo>
                <a:cubicBezTo>
                  <a:pt x="639" y="404"/>
                  <a:pt x="639" y="404"/>
                  <a:pt x="639" y="404"/>
                </a:cubicBezTo>
                <a:cubicBezTo>
                  <a:pt x="638" y="404"/>
                  <a:pt x="638" y="404"/>
                  <a:pt x="638" y="404"/>
                </a:cubicBezTo>
                <a:cubicBezTo>
                  <a:pt x="638" y="405"/>
                  <a:pt x="638" y="405"/>
                  <a:pt x="638" y="405"/>
                </a:cubicBezTo>
                <a:cubicBezTo>
                  <a:pt x="638" y="406"/>
                  <a:pt x="638" y="406"/>
                  <a:pt x="638" y="406"/>
                </a:cubicBezTo>
                <a:cubicBezTo>
                  <a:pt x="637" y="406"/>
                  <a:pt x="637" y="406"/>
                  <a:pt x="637" y="406"/>
                </a:cubicBezTo>
                <a:cubicBezTo>
                  <a:pt x="636" y="407"/>
                  <a:pt x="636" y="407"/>
                  <a:pt x="636" y="407"/>
                </a:cubicBezTo>
                <a:cubicBezTo>
                  <a:pt x="635" y="407"/>
                  <a:pt x="635" y="407"/>
                  <a:pt x="635" y="407"/>
                </a:cubicBezTo>
                <a:cubicBezTo>
                  <a:pt x="634" y="408"/>
                  <a:pt x="634" y="408"/>
                  <a:pt x="634" y="408"/>
                </a:cubicBezTo>
                <a:cubicBezTo>
                  <a:pt x="633" y="407"/>
                  <a:pt x="633" y="407"/>
                  <a:pt x="633" y="407"/>
                </a:cubicBezTo>
                <a:cubicBezTo>
                  <a:pt x="633" y="408"/>
                  <a:pt x="633" y="408"/>
                  <a:pt x="633" y="408"/>
                </a:cubicBezTo>
                <a:cubicBezTo>
                  <a:pt x="632" y="408"/>
                  <a:pt x="632" y="408"/>
                  <a:pt x="632" y="408"/>
                </a:cubicBezTo>
                <a:cubicBezTo>
                  <a:pt x="632" y="407"/>
                  <a:pt x="632" y="407"/>
                  <a:pt x="632" y="407"/>
                </a:cubicBezTo>
                <a:cubicBezTo>
                  <a:pt x="631" y="407"/>
                  <a:pt x="631" y="407"/>
                  <a:pt x="631" y="407"/>
                </a:cubicBezTo>
                <a:cubicBezTo>
                  <a:pt x="630" y="407"/>
                  <a:pt x="630" y="407"/>
                  <a:pt x="630" y="407"/>
                </a:cubicBezTo>
                <a:cubicBezTo>
                  <a:pt x="629" y="407"/>
                  <a:pt x="629" y="407"/>
                  <a:pt x="629" y="407"/>
                </a:cubicBezTo>
                <a:cubicBezTo>
                  <a:pt x="628" y="407"/>
                  <a:pt x="628" y="407"/>
                  <a:pt x="628" y="407"/>
                </a:cubicBezTo>
                <a:cubicBezTo>
                  <a:pt x="628" y="407"/>
                  <a:pt x="628" y="407"/>
                  <a:pt x="628" y="407"/>
                </a:cubicBezTo>
                <a:cubicBezTo>
                  <a:pt x="627" y="406"/>
                  <a:pt x="627" y="406"/>
                  <a:pt x="627" y="406"/>
                </a:cubicBezTo>
                <a:cubicBezTo>
                  <a:pt x="626" y="405"/>
                  <a:pt x="626" y="405"/>
                  <a:pt x="626" y="405"/>
                </a:cubicBezTo>
                <a:cubicBezTo>
                  <a:pt x="625" y="404"/>
                  <a:pt x="625" y="404"/>
                  <a:pt x="625" y="404"/>
                </a:cubicBezTo>
                <a:cubicBezTo>
                  <a:pt x="625" y="403"/>
                  <a:pt x="625" y="403"/>
                  <a:pt x="625" y="403"/>
                </a:cubicBezTo>
                <a:cubicBezTo>
                  <a:pt x="626" y="402"/>
                  <a:pt x="626" y="402"/>
                  <a:pt x="626" y="402"/>
                </a:cubicBezTo>
                <a:cubicBezTo>
                  <a:pt x="626" y="401"/>
                  <a:pt x="626" y="401"/>
                  <a:pt x="626" y="401"/>
                </a:cubicBezTo>
                <a:cubicBezTo>
                  <a:pt x="625" y="400"/>
                  <a:pt x="625" y="400"/>
                  <a:pt x="625" y="400"/>
                </a:cubicBezTo>
                <a:cubicBezTo>
                  <a:pt x="625" y="399"/>
                  <a:pt x="625" y="399"/>
                  <a:pt x="625" y="399"/>
                </a:cubicBezTo>
                <a:cubicBezTo>
                  <a:pt x="624" y="399"/>
                  <a:pt x="624" y="399"/>
                  <a:pt x="624" y="399"/>
                </a:cubicBezTo>
                <a:cubicBezTo>
                  <a:pt x="624" y="398"/>
                  <a:pt x="624" y="398"/>
                  <a:pt x="624" y="398"/>
                </a:cubicBezTo>
                <a:cubicBezTo>
                  <a:pt x="624" y="398"/>
                  <a:pt x="624" y="398"/>
                  <a:pt x="624" y="398"/>
                </a:cubicBezTo>
                <a:cubicBezTo>
                  <a:pt x="624" y="397"/>
                  <a:pt x="624" y="397"/>
                  <a:pt x="624" y="397"/>
                </a:cubicBezTo>
                <a:cubicBezTo>
                  <a:pt x="625" y="396"/>
                  <a:pt x="625" y="396"/>
                  <a:pt x="625" y="396"/>
                </a:cubicBezTo>
                <a:cubicBezTo>
                  <a:pt x="624" y="396"/>
                  <a:pt x="624" y="396"/>
                  <a:pt x="624" y="396"/>
                </a:cubicBezTo>
                <a:cubicBezTo>
                  <a:pt x="624" y="396"/>
                  <a:pt x="624" y="396"/>
                  <a:pt x="624" y="396"/>
                </a:cubicBezTo>
                <a:cubicBezTo>
                  <a:pt x="623" y="396"/>
                  <a:pt x="623" y="396"/>
                  <a:pt x="623" y="396"/>
                </a:cubicBezTo>
                <a:cubicBezTo>
                  <a:pt x="622" y="396"/>
                  <a:pt x="622" y="396"/>
                  <a:pt x="622" y="396"/>
                </a:cubicBezTo>
                <a:cubicBezTo>
                  <a:pt x="622" y="397"/>
                  <a:pt x="622" y="397"/>
                  <a:pt x="622" y="397"/>
                </a:cubicBezTo>
                <a:cubicBezTo>
                  <a:pt x="621" y="397"/>
                  <a:pt x="621" y="397"/>
                  <a:pt x="621" y="397"/>
                </a:cubicBezTo>
                <a:cubicBezTo>
                  <a:pt x="620" y="396"/>
                  <a:pt x="620" y="396"/>
                  <a:pt x="620" y="396"/>
                </a:cubicBezTo>
                <a:cubicBezTo>
                  <a:pt x="619" y="396"/>
                  <a:pt x="619" y="396"/>
                  <a:pt x="619" y="396"/>
                </a:cubicBezTo>
                <a:cubicBezTo>
                  <a:pt x="619" y="396"/>
                  <a:pt x="619" y="396"/>
                  <a:pt x="619" y="396"/>
                </a:cubicBezTo>
                <a:cubicBezTo>
                  <a:pt x="618" y="395"/>
                  <a:pt x="618" y="395"/>
                  <a:pt x="618" y="395"/>
                </a:cubicBezTo>
                <a:cubicBezTo>
                  <a:pt x="618" y="394"/>
                  <a:pt x="618" y="394"/>
                  <a:pt x="618" y="394"/>
                </a:cubicBezTo>
                <a:cubicBezTo>
                  <a:pt x="617" y="394"/>
                  <a:pt x="617" y="394"/>
                  <a:pt x="617" y="394"/>
                </a:cubicBezTo>
                <a:cubicBezTo>
                  <a:pt x="617" y="394"/>
                  <a:pt x="617" y="394"/>
                  <a:pt x="617" y="394"/>
                </a:cubicBezTo>
                <a:cubicBezTo>
                  <a:pt x="616" y="393"/>
                  <a:pt x="616" y="393"/>
                  <a:pt x="616" y="393"/>
                </a:cubicBezTo>
                <a:cubicBezTo>
                  <a:pt x="616" y="393"/>
                  <a:pt x="616" y="393"/>
                  <a:pt x="616" y="393"/>
                </a:cubicBezTo>
                <a:cubicBezTo>
                  <a:pt x="615" y="393"/>
                  <a:pt x="615" y="393"/>
                  <a:pt x="615" y="393"/>
                </a:cubicBezTo>
                <a:cubicBezTo>
                  <a:pt x="615" y="392"/>
                  <a:pt x="615" y="392"/>
                  <a:pt x="615" y="392"/>
                </a:cubicBezTo>
                <a:cubicBezTo>
                  <a:pt x="614" y="391"/>
                  <a:pt x="614" y="391"/>
                  <a:pt x="614" y="391"/>
                </a:cubicBezTo>
                <a:cubicBezTo>
                  <a:pt x="614" y="391"/>
                  <a:pt x="614" y="391"/>
                  <a:pt x="614" y="391"/>
                </a:cubicBezTo>
                <a:cubicBezTo>
                  <a:pt x="613" y="391"/>
                  <a:pt x="613" y="391"/>
                  <a:pt x="613" y="391"/>
                </a:cubicBezTo>
                <a:cubicBezTo>
                  <a:pt x="613" y="392"/>
                  <a:pt x="613" y="392"/>
                  <a:pt x="613" y="392"/>
                </a:cubicBezTo>
                <a:cubicBezTo>
                  <a:pt x="612" y="391"/>
                  <a:pt x="612" y="391"/>
                  <a:pt x="612" y="391"/>
                </a:cubicBezTo>
                <a:cubicBezTo>
                  <a:pt x="612" y="392"/>
                  <a:pt x="612" y="392"/>
                  <a:pt x="612" y="392"/>
                </a:cubicBezTo>
                <a:cubicBezTo>
                  <a:pt x="611" y="392"/>
                  <a:pt x="611" y="392"/>
                  <a:pt x="611" y="392"/>
                </a:cubicBezTo>
                <a:cubicBezTo>
                  <a:pt x="611" y="392"/>
                  <a:pt x="611" y="392"/>
                  <a:pt x="611" y="392"/>
                </a:cubicBezTo>
                <a:cubicBezTo>
                  <a:pt x="610" y="391"/>
                  <a:pt x="610" y="391"/>
                  <a:pt x="610" y="391"/>
                </a:cubicBezTo>
                <a:cubicBezTo>
                  <a:pt x="610" y="391"/>
                  <a:pt x="610" y="391"/>
                  <a:pt x="610" y="391"/>
                </a:cubicBezTo>
                <a:cubicBezTo>
                  <a:pt x="608" y="391"/>
                  <a:pt x="608" y="391"/>
                  <a:pt x="608" y="391"/>
                </a:cubicBezTo>
                <a:cubicBezTo>
                  <a:pt x="608" y="390"/>
                  <a:pt x="608" y="390"/>
                  <a:pt x="608" y="390"/>
                </a:cubicBezTo>
                <a:cubicBezTo>
                  <a:pt x="608" y="390"/>
                  <a:pt x="608" y="390"/>
                  <a:pt x="608" y="390"/>
                </a:cubicBezTo>
                <a:cubicBezTo>
                  <a:pt x="608" y="389"/>
                  <a:pt x="608" y="389"/>
                  <a:pt x="608" y="389"/>
                </a:cubicBezTo>
                <a:cubicBezTo>
                  <a:pt x="607" y="389"/>
                  <a:pt x="607" y="389"/>
                  <a:pt x="607" y="389"/>
                </a:cubicBezTo>
                <a:cubicBezTo>
                  <a:pt x="607" y="390"/>
                  <a:pt x="607" y="390"/>
                  <a:pt x="607" y="390"/>
                </a:cubicBezTo>
                <a:cubicBezTo>
                  <a:pt x="605" y="390"/>
                  <a:pt x="605" y="390"/>
                  <a:pt x="605" y="390"/>
                </a:cubicBezTo>
                <a:cubicBezTo>
                  <a:pt x="605" y="390"/>
                  <a:pt x="605" y="390"/>
                  <a:pt x="605" y="390"/>
                </a:cubicBezTo>
                <a:cubicBezTo>
                  <a:pt x="604" y="390"/>
                  <a:pt x="604" y="390"/>
                  <a:pt x="604" y="390"/>
                </a:cubicBezTo>
                <a:cubicBezTo>
                  <a:pt x="604" y="390"/>
                  <a:pt x="604" y="390"/>
                  <a:pt x="604" y="390"/>
                </a:cubicBezTo>
                <a:cubicBezTo>
                  <a:pt x="603" y="390"/>
                  <a:pt x="603" y="390"/>
                  <a:pt x="603" y="390"/>
                </a:cubicBezTo>
                <a:cubicBezTo>
                  <a:pt x="602" y="389"/>
                  <a:pt x="602" y="389"/>
                  <a:pt x="602" y="389"/>
                </a:cubicBezTo>
                <a:cubicBezTo>
                  <a:pt x="601" y="389"/>
                  <a:pt x="601" y="389"/>
                  <a:pt x="601" y="389"/>
                </a:cubicBezTo>
                <a:cubicBezTo>
                  <a:pt x="600" y="387"/>
                  <a:pt x="600" y="387"/>
                  <a:pt x="600" y="387"/>
                </a:cubicBezTo>
                <a:cubicBezTo>
                  <a:pt x="599" y="386"/>
                  <a:pt x="599" y="386"/>
                  <a:pt x="599" y="386"/>
                </a:cubicBezTo>
                <a:cubicBezTo>
                  <a:pt x="599" y="385"/>
                  <a:pt x="599" y="385"/>
                  <a:pt x="599" y="385"/>
                </a:cubicBezTo>
                <a:cubicBezTo>
                  <a:pt x="599" y="384"/>
                  <a:pt x="599" y="384"/>
                  <a:pt x="599" y="384"/>
                </a:cubicBezTo>
                <a:cubicBezTo>
                  <a:pt x="598" y="384"/>
                  <a:pt x="598" y="384"/>
                  <a:pt x="598" y="384"/>
                </a:cubicBezTo>
                <a:cubicBezTo>
                  <a:pt x="598" y="383"/>
                  <a:pt x="598" y="383"/>
                  <a:pt x="598" y="383"/>
                </a:cubicBezTo>
                <a:cubicBezTo>
                  <a:pt x="598" y="382"/>
                  <a:pt x="598" y="382"/>
                  <a:pt x="598" y="382"/>
                </a:cubicBezTo>
                <a:cubicBezTo>
                  <a:pt x="597" y="382"/>
                  <a:pt x="597" y="382"/>
                  <a:pt x="597" y="382"/>
                </a:cubicBezTo>
                <a:cubicBezTo>
                  <a:pt x="597" y="381"/>
                  <a:pt x="597" y="381"/>
                  <a:pt x="597" y="381"/>
                </a:cubicBezTo>
                <a:cubicBezTo>
                  <a:pt x="597" y="379"/>
                  <a:pt x="597" y="379"/>
                  <a:pt x="597" y="379"/>
                </a:cubicBezTo>
                <a:cubicBezTo>
                  <a:pt x="594" y="378"/>
                  <a:pt x="594" y="378"/>
                  <a:pt x="594" y="378"/>
                </a:cubicBezTo>
                <a:cubicBezTo>
                  <a:pt x="593" y="376"/>
                  <a:pt x="593" y="376"/>
                  <a:pt x="593" y="376"/>
                </a:cubicBezTo>
                <a:cubicBezTo>
                  <a:pt x="593" y="376"/>
                  <a:pt x="593" y="376"/>
                  <a:pt x="593" y="376"/>
                </a:cubicBezTo>
                <a:cubicBezTo>
                  <a:pt x="592" y="375"/>
                  <a:pt x="592" y="375"/>
                  <a:pt x="592" y="375"/>
                </a:cubicBezTo>
                <a:cubicBezTo>
                  <a:pt x="592" y="375"/>
                  <a:pt x="592" y="375"/>
                  <a:pt x="592" y="375"/>
                </a:cubicBezTo>
                <a:cubicBezTo>
                  <a:pt x="591" y="375"/>
                  <a:pt x="591" y="375"/>
                  <a:pt x="591" y="375"/>
                </a:cubicBezTo>
                <a:cubicBezTo>
                  <a:pt x="592" y="374"/>
                  <a:pt x="592" y="374"/>
                  <a:pt x="592" y="374"/>
                </a:cubicBezTo>
                <a:cubicBezTo>
                  <a:pt x="592" y="373"/>
                  <a:pt x="592" y="373"/>
                  <a:pt x="592" y="373"/>
                </a:cubicBezTo>
                <a:cubicBezTo>
                  <a:pt x="591" y="373"/>
                  <a:pt x="591" y="373"/>
                  <a:pt x="591" y="373"/>
                </a:cubicBezTo>
                <a:cubicBezTo>
                  <a:pt x="590" y="372"/>
                  <a:pt x="590" y="372"/>
                  <a:pt x="590" y="372"/>
                </a:cubicBezTo>
                <a:cubicBezTo>
                  <a:pt x="590" y="371"/>
                  <a:pt x="590" y="371"/>
                  <a:pt x="590" y="371"/>
                </a:cubicBezTo>
                <a:cubicBezTo>
                  <a:pt x="590" y="371"/>
                  <a:pt x="590" y="371"/>
                  <a:pt x="590" y="371"/>
                </a:cubicBezTo>
                <a:cubicBezTo>
                  <a:pt x="589" y="370"/>
                  <a:pt x="589" y="370"/>
                  <a:pt x="589" y="370"/>
                </a:cubicBezTo>
                <a:cubicBezTo>
                  <a:pt x="588" y="368"/>
                  <a:pt x="588" y="368"/>
                  <a:pt x="588" y="368"/>
                </a:cubicBezTo>
                <a:cubicBezTo>
                  <a:pt x="587" y="368"/>
                  <a:pt x="587" y="368"/>
                  <a:pt x="587" y="368"/>
                </a:cubicBezTo>
                <a:cubicBezTo>
                  <a:pt x="587" y="367"/>
                  <a:pt x="587" y="367"/>
                  <a:pt x="587" y="367"/>
                </a:cubicBezTo>
                <a:cubicBezTo>
                  <a:pt x="587" y="366"/>
                  <a:pt x="587" y="366"/>
                  <a:pt x="587" y="366"/>
                </a:cubicBezTo>
                <a:cubicBezTo>
                  <a:pt x="587" y="365"/>
                  <a:pt x="587" y="365"/>
                  <a:pt x="587" y="365"/>
                </a:cubicBezTo>
                <a:cubicBezTo>
                  <a:pt x="585" y="365"/>
                  <a:pt x="585" y="365"/>
                  <a:pt x="585" y="365"/>
                </a:cubicBezTo>
                <a:cubicBezTo>
                  <a:pt x="585" y="365"/>
                  <a:pt x="585" y="365"/>
                  <a:pt x="585" y="365"/>
                </a:cubicBezTo>
                <a:cubicBezTo>
                  <a:pt x="585" y="364"/>
                  <a:pt x="585" y="364"/>
                  <a:pt x="585" y="364"/>
                </a:cubicBezTo>
                <a:cubicBezTo>
                  <a:pt x="585" y="364"/>
                  <a:pt x="585" y="364"/>
                  <a:pt x="585" y="364"/>
                </a:cubicBezTo>
                <a:cubicBezTo>
                  <a:pt x="585" y="363"/>
                  <a:pt x="585" y="363"/>
                  <a:pt x="585" y="363"/>
                </a:cubicBezTo>
                <a:cubicBezTo>
                  <a:pt x="584" y="362"/>
                  <a:pt x="584" y="362"/>
                  <a:pt x="584" y="362"/>
                </a:cubicBezTo>
                <a:cubicBezTo>
                  <a:pt x="584" y="362"/>
                  <a:pt x="584" y="362"/>
                  <a:pt x="584" y="362"/>
                </a:cubicBezTo>
                <a:cubicBezTo>
                  <a:pt x="584" y="361"/>
                  <a:pt x="584" y="361"/>
                  <a:pt x="584" y="361"/>
                </a:cubicBezTo>
                <a:cubicBezTo>
                  <a:pt x="583" y="361"/>
                  <a:pt x="583" y="361"/>
                  <a:pt x="583" y="361"/>
                </a:cubicBezTo>
                <a:cubicBezTo>
                  <a:pt x="583" y="361"/>
                  <a:pt x="583" y="361"/>
                  <a:pt x="583" y="361"/>
                </a:cubicBezTo>
                <a:cubicBezTo>
                  <a:pt x="581" y="360"/>
                  <a:pt x="581" y="360"/>
                  <a:pt x="581" y="360"/>
                </a:cubicBezTo>
                <a:cubicBezTo>
                  <a:pt x="581" y="360"/>
                  <a:pt x="581" y="360"/>
                  <a:pt x="581" y="360"/>
                </a:cubicBezTo>
                <a:cubicBezTo>
                  <a:pt x="582" y="359"/>
                  <a:pt x="582" y="359"/>
                  <a:pt x="582" y="359"/>
                </a:cubicBezTo>
                <a:cubicBezTo>
                  <a:pt x="581" y="359"/>
                  <a:pt x="581" y="359"/>
                  <a:pt x="581" y="359"/>
                </a:cubicBezTo>
                <a:cubicBezTo>
                  <a:pt x="580" y="359"/>
                  <a:pt x="580" y="359"/>
                  <a:pt x="580" y="359"/>
                </a:cubicBezTo>
                <a:cubicBezTo>
                  <a:pt x="580" y="359"/>
                  <a:pt x="580" y="359"/>
                  <a:pt x="580" y="359"/>
                </a:cubicBezTo>
                <a:cubicBezTo>
                  <a:pt x="580" y="359"/>
                  <a:pt x="580" y="359"/>
                  <a:pt x="580" y="359"/>
                </a:cubicBezTo>
                <a:cubicBezTo>
                  <a:pt x="579" y="359"/>
                  <a:pt x="579" y="359"/>
                  <a:pt x="579" y="359"/>
                </a:cubicBezTo>
                <a:cubicBezTo>
                  <a:pt x="579" y="358"/>
                  <a:pt x="579" y="358"/>
                  <a:pt x="579" y="358"/>
                </a:cubicBezTo>
                <a:cubicBezTo>
                  <a:pt x="579" y="357"/>
                  <a:pt x="579" y="357"/>
                  <a:pt x="579" y="357"/>
                </a:cubicBezTo>
                <a:cubicBezTo>
                  <a:pt x="578" y="357"/>
                  <a:pt x="578" y="357"/>
                  <a:pt x="578" y="357"/>
                </a:cubicBezTo>
                <a:cubicBezTo>
                  <a:pt x="578" y="356"/>
                  <a:pt x="578" y="356"/>
                  <a:pt x="578" y="356"/>
                </a:cubicBezTo>
                <a:cubicBezTo>
                  <a:pt x="577" y="356"/>
                  <a:pt x="577" y="356"/>
                  <a:pt x="577" y="356"/>
                </a:cubicBezTo>
                <a:cubicBezTo>
                  <a:pt x="576" y="356"/>
                  <a:pt x="576" y="356"/>
                  <a:pt x="576" y="356"/>
                </a:cubicBezTo>
                <a:cubicBezTo>
                  <a:pt x="576" y="356"/>
                  <a:pt x="576" y="356"/>
                  <a:pt x="576" y="356"/>
                </a:cubicBezTo>
                <a:cubicBezTo>
                  <a:pt x="575" y="356"/>
                  <a:pt x="575" y="356"/>
                  <a:pt x="575" y="356"/>
                </a:cubicBezTo>
                <a:cubicBezTo>
                  <a:pt x="574" y="356"/>
                  <a:pt x="574" y="356"/>
                  <a:pt x="574" y="356"/>
                </a:cubicBezTo>
                <a:cubicBezTo>
                  <a:pt x="574" y="356"/>
                  <a:pt x="574" y="356"/>
                  <a:pt x="574" y="356"/>
                </a:cubicBezTo>
                <a:cubicBezTo>
                  <a:pt x="574" y="357"/>
                  <a:pt x="574" y="357"/>
                  <a:pt x="574" y="357"/>
                </a:cubicBezTo>
                <a:cubicBezTo>
                  <a:pt x="573" y="357"/>
                  <a:pt x="573" y="357"/>
                  <a:pt x="573" y="357"/>
                </a:cubicBezTo>
                <a:cubicBezTo>
                  <a:pt x="572" y="356"/>
                  <a:pt x="572" y="356"/>
                  <a:pt x="572" y="356"/>
                </a:cubicBezTo>
                <a:cubicBezTo>
                  <a:pt x="572" y="356"/>
                  <a:pt x="572" y="356"/>
                  <a:pt x="572" y="356"/>
                </a:cubicBezTo>
                <a:cubicBezTo>
                  <a:pt x="571" y="356"/>
                  <a:pt x="571" y="356"/>
                  <a:pt x="571" y="356"/>
                </a:cubicBezTo>
                <a:cubicBezTo>
                  <a:pt x="570" y="356"/>
                  <a:pt x="570" y="356"/>
                  <a:pt x="570" y="356"/>
                </a:cubicBezTo>
                <a:cubicBezTo>
                  <a:pt x="569" y="356"/>
                  <a:pt x="569" y="356"/>
                  <a:pt x="569" y="356"/>
                </a:cubicBezTo>
                <a:cubicBezTo>
                  <a:pt x="569" y="355"/>
                  <a:pt x="569" y="355"/>
                  <a:pt x="569" y="355"/>
                </a:cubicBezTo>
                <a:cubicBezTo>
                  <a:pt x="567" y="355"/>
                  <a:pt x="567" y="355"/>
                  <a:pt x="567" y="355"/>
                </a:cubicBezTo>
                <a:cubicBezTo>
                  <a:pt x="566" y="354"/>
                  <a:pt x="566" y="354"/>
                  <a:pt x="566" y="354"/>
                </a:cubicBezTo>
                <a:cubicBezTo>
                  <a:pt x="565" y="354"/>
                  <a:pt x="565" y="354"/>
                  <a:pt x="565" y="354"/>
                </a:cubicBezTo>
                <a:cubicBezTo>
                  <a:pt x="564" y="354"/>
                  <a:pt x="564" y="354"/>
                  <a:pt x="564" y="354"/>
                </a:cubicBezTo>
                <a:cubicBezTo>
                  <a:pt x="564" y="354"/>
                  <a:pt x="564" y="354"/>
                  <a:pt x="564" y="354"/>
                </a:cubicBezTo>
                <a:cubicBezTo>
                  <a:pt x="562" y="354"/>
                  <a:pt x="562" y="354"/>
                  <a:pt x="562" y="354"/>
                </a:cubicBezTo>
                <a:cubicBezTo>
                  <a:pt x="562" y="355"/>
                  <a:pt x="562" y="355"/>
                  <a:pt x="562" y="355"/>
                </a:cubicBezTo>
                <a:cubicBezTo>
                  <a:pt x="561" y="355"/>
                  <a:pt x="561" y="355"/>
                  <a:pt x="561" y="355"/>
                </a:cubicBezTo>
                <a:cubicBezTo>
                  <a:pt x="560" y="356"/>
                  <a:pt x="560" y="356"/>
                  <a:pt x="560" y="356"/>
                </a:cubicBezTo>
                <a:cubicBezTo>
                  <a:pt x="559" y="356"/>
                  <a:pt x="559" y="356"/>
                  <a:pt x="559" y="356"/>
                </a:cubicBezTo>
                <a:cubicBezTo>
                  <a:pt x="558" y="356"/>
                  <a:pt x="558" y="356"/>
                  <a:pt x="558" y="356"/>
                </a:cubicBezTo>
                <a:cubicBezTo>
                  <a:pt x="557" y="356"/>
                  <a:pt x="557" y="356"/>
                  <a:pt x="557" y="356"/>
                </a:cubicBezTo>
                <a:cubicBezTo>
                  <a:pt x="556" y="357"/>
                  <a:pt x="556" y="357"/>
                  <a:pt x="556" y="357"/>
                </a:cubicBezTo>
                <a:cubicBezTo>
                  <a:pt x="555" y="357"/>
                  <a:pt x="555" y="357"/>
                  <a:pt x="555" y="357"/>
                </a:cubicBezTo>
                <a:cubicBezTo>
                  <a:pt x="555" y="358"/>
                  <a:pt x="555" y="358"/>
                  <a:pt x="555" y="358"/>
                </a:cubicBezTo>
                <a:cubicBezTo>
                  <a:pt x="554" y="358"/>
                  <a:pt x="554" y="358"/>
                  <a:pt x="554" y="358"/>
                </a:cubicBezTo>
                <a:cubicBezTo>
                  <a:pt x="553" y="358"/>
                  <a:pt x="553" y="358"/>
                  <a:pt x="553" y="358"/>
                </a:cubicBezTo>
                <a:cubicBezTo>
                  <a:pt x="553" y="358"/>
                  <a:pt x="553" y="358"/>
                  <a:pt x="553" y="358"/>
                </a:cubicBezTo>
                <a:cubicBezTo>
                  <a:pt x="552" y="358"/>
                  <a:pt x="552" y="358"/>
                  <a:pt x="552" y="358"/>
                </a:cubicBezTo>
                <a:cubicBezTo>
                  <a:pt x="551" y="358"/>
                  <a:pt x="551" y="358"/>
                  <a:pt x="551" y="358"/>
                </a:cubicBezTo>
                <a:cubicBezTo>
                  <a:pt x="549" y="359"/>
                  <a:pt x="549" y="359"/>
                  <a:pt x="549" y="359"/>
                </a:cubicBezTo>
                <a:cubicBezTo>
                  <a:pt x="549" y="359"/>
                  <a:pt x="549" y="359"/>
                  <a:pt x="549" y="359"/>
                </a:cubicBezTo>
                <a:cubicBezTo>
                  <a:pt x="549" y="360"/>
                  <a:pt x="549" y="360"/>
                  <a:pt x="549" y="360"/>
                </a:cubicBezTo>
                <a:cubicBezTo>
                  <a:pt x="548" y="361"/>
                  <a:pt x="548" y="361"/>
                  <a:pt x="548" y="361"/>
                </a:cubicBezTo>
                <a:cubicBezTo>
                  <a:pt x="548" y="362"/>
                  <a:pt x="548" y="362"/>
                  <a:pt x="548" y="362"/>
                </a:cubicBezTo>
                <a:cubicBezTo>
                  <a:pt x="547" y="363"/>
                  <a:pt x="547" y="363"/>
                  <a:pt x="547" y="363"/>
                </a:cubicBezTo>
                <a:cubicBezTo>
                  <a:pt x="547" y="363"/>
                  <a:pt x="547" y="363"/>
                  <a:pt x="547" y="363"/>
                </a:cubicBezTo>
                <a:cubicBezTo>
                  <a:pt x="547" y="364"/>
                  <a:pt x="547" y="364"/>
                  <a:pt x="547" y="364"/>
                </a:cubicBezTo>
                <a:cubicBezTo>
                  <a:pt x="547" y="366"/>
                  <a:pt x="547" y="366"/>
                  <a:pt x="547" y="366"/>
                </a:cubicBezTo>
                <a:cubicBezTo>
                  <a:pt x="547" y="366"/>
                  <a:pt x="547" y="366"/>
                  <a:pt x="547" y="366"/>
                </a:cubicBezTo>
                <a:cubicBezTo>
                  <a:pt x="548" y="366"/>
                  <a:pt x="548" y="366"/>
                  <a:pt x="548" y="366"/>
                </a:cubicBezTo>
                <a:cubicBezTo>
                  <a:pt x="549" y="365"/>
                  <a:pt x="549" y="365"/>
                  <a:pt x="549" y="365"/>
                </a:cubicBezTo>
                <a:cubicBezTo>
                  <a:pt x="550" y="365"/>
                  <a:pt x="550" y="365"/>
                  <a:pt x="550" y="365"/>
                </a:cubicBezTo>
                <a:cubicBezTo>
                  <a:pt x="551" y="365"/>
                  <a:pt x="551" y="365"/>
                  <a:pt x="551" y="365"/>
                </a:cubicBezTo>
                <a:cubicBezTo>
                  <a:pt x="552" y="367"/>
                  <a:pt x="552" y="367"/>
                  <a:pt x="552" y="367"/>
                </a:cubicBezTo>
                <a:cubicBezTo>
                  <a:pt x="552" y="368"/>
                  <a:pt x="552" y="368"/>
                  <a:pt x="552" y="368"/>
                </a:cubicBezTo>
                <a:cubicBezTo>
                  <a:pt x="553" y="368"/>
                  <a:pt x="553" y="368"/>
                  <a:pt x="553" y="368"/>
                </a:cubicBezTo>
                <a:cubicBezTo>
                  <a:pt x="553" y="369"/>
                  <a:pt x="553" y="369"/>
                  <a:pt x="553" y="369"/>
                </a:cubicBezTo>
                <a:cubicBezTo>
                  <a:pt x="553" y="370"/>
                  <a:pt x="553" y="370"/>
                  <a:pt x="553" y="370"/>
                </a:cubicBezTo>
                <a:cubicBezTo>
                  <a:pt x="553" y="372"/>
                  <a:pt x="553" y="372"/>
                  <a:pt x="553" y="372"/>
                </a:cubicBezTo>
                <a:cubicBezTo>
                  <a:pt x="552" y="372"/>
                  <a:pt x="552" y="372"/>
                  <a:pt x="552" y="372"/>
                </a:cubicBezTo>
                <a:cubicBezTo>
                  <a:pt x="552" y="373"/>
                  <a:pt x="552" y="373"/>
                  <a:pt x="552" y="373"/>
                </a:cubicBezTo>
                <a:cubicBezTo>
                  <a:pt x="551" y="375"/>
                  <a:pt x="551" y="375"/>
                  <a:pt x="551" y="375"/>
                </a:cubicBezTo>
                <a:cubicBezTo>
                  <a:pt x="551" y="376"/>
                  <a:pt x="551" y="376"/>
                  <a:pt x="551" y="376"/>
                </a:cubicBezTo>
                <a:cubicBezTo>
                  <a:pt x="550" y="377"/>
                  <a:pt x="550" y="377"/>
                  <a:pt x="550" y="377"/>
                </a:cubicBezTo>
                <a:cubicBezTo>
                  <a:pt x="550" y="378"/>
                  <a:pt x="550" y="378"/>
                  <a:pt x="550" y="378"/>
                </a:cubicBezTo>
                <a:cubicBezTo>
                  <a:pt x="550" y="379"/>
                  <a:pt x="550" y="379"/>
                  <a:pt x="550" y="379"/>
                </a:cubicBezTo>
                <a:cubicBezTo>
                  <a:pt x="550" y="380"/>
                  <a:pt x="550" y="380"/>
                  <a:pt x="550" y="380"/>
                </a:cubicBezTo>
                <a:cubicBezTo>
                  <a:pt x="550" y="381"/>
                  <a:pt x="550" y="381"/>
                  <a:pt x="550" y="381"/>
                </a:cubicBezTo>
                <a:cubicBezTo>
                  <a:pt x="551" y="382"/>
                  <a:pt x="551" y="382"/>
                  <a:pt x="551" y="382"/>
                </a:cubicBezTo>
                <a:cubicBezTo>
                  <a:pt x="551" y="383"/>
                  <a:pt x="551" y="383"/>
                  <a:pt x="551" y="383"/>
                </a:cubicBezTo>
                <a:cubicBezTo>
                  <a:pt x="550" y="383"/>
                  <a:pt x="550" y="383"/>
                  <a:pt x="550" y="383"/>
                </a:cubicBezTo>
                <a:cubicBezTo>
                  <a:pt x="550" y="384"/>
                  <a:pt x="550" y="384"/>
                  <a:pt x="550" y="384"/>
                </a:cubicBezTo>
                <a:cubicBezTo>
                  <a:pt x="550" y="385"/>
                  <a:pt x="550" y="385"/>
                  <a:pt x="550" y="385"/>
                </a:cubicBezTo>
                <a:cubicBezTo>
                  <a:pt x="550" y="387"/>
                  <a:pt x="550" y="387"/>
                  <a:pt x="550" y="387"/>
                </a:cubicBezTo>
                <a:cubicBezTo>
                  <a:pt x="550" y="387"/>
                  <a:pt x="550" y="387"/>
                  <a:pt x="550" y="387"/>
                </a:cubicBezTo>
                <a:cubicBezTo>
                  <a:pt x="550" y="389"/>
                  <a:pt x="550" y="389"/>
                  <a:pt x="550" y="389"/>
                </a:cubicBezTo>
                <a:cubicBezTo>
                  <a:pt x="551" y="389"/>
                  <a:pt x="551" y="389"/>
                  <a:pt x="551" y="389"/>
                </a:cubicBezTo>
                <a:cubicBezTo>
                  <a:pt x="551" y="390"/>
                  <a:pt x="551" y="390"/>
                  <a:pt x="551" y="390"/>
                </a:cubicBezTo>
                <a:cubicBezTo>
                  <a:pt x="552" y="389"/>
                  <a:pt x="552" y="389"/>
                  <a:pt x="552" y="389"/>
                </a:cubicBezTo>
                <a:cubicBezTo>
                  <a:pt x="552" y="390"/>
                  <a:pt x="552" y="390"/>
                  <a:pt x="552" y="390"/>
                </a:cubicBezTo>
                <a:cubicBezTo>
                  <a:pt x="553" y="391"/>
                  <a:pt x="553" y="391"/>
                  <a:pt x="553" y="391"/>
                </a:cubicBezTo>
                <a:cubicBezTo>
                  <a:pt x="552" y="392"/>
                  <a:pt x="552" y="392"/>
                  <a:pt x="552" y="392"/>
                </a:cubicBezTo>
                <a:cubicBezTo>
                  <a:pt x="551" y="393"/>
                  <a:pt x="551" y="393"/>
                  <a:pt x="551" y="393"/>
                </a:cubicBezTo>
                <a:cubicBezTo>
                  <a:pt x="549" y="393"/>
                  <a:pt x="549" y="393"/>
                  <a:pt x="549" y="393"/>
                </a:cubicBezTo>
                <a:cubicBezTo>
                  <a:pt x="548" y="394"/>
                  <a:pt x="548" y="394"/>
                  <a:pt x="548" y="394"/>
                </a:cubicBezTo>
                <a:cubicBezTo>
                  <a:pt x="545" y="397"/>
                  <a:pt x="545" y="397"/>
                  <a:pt x="545" y="397"/>
                </a:cubicBezTo>
                <a:cubicBezTo>
                  <a:pt x="544" y="397"/>
                  <a:pt x="544" y="397"/>
                  <a:pt x="544" y="397"/>
                </a:cubicBezTo>
                <a:cubicBezTo>
                  <a:pt x="543" y="397"/>
                  <a:pt x="543" y="397"/>
                  <a:pt x="543" y="397"/>
                </a:cubicBezTo>
                <a:cubicBezTo>
                  <a:pt x="541" y="396"/>
                  <a:pt x="541" y="396"/>
                  <a:pt x="541" y="396"/>
                </a:cubicBezTo>
                <a:cubicBezTo>
                  <a:pt x="540" y="397"/>
                  <a:pt x="540" y="397"/>
                  <a:pt x="540" y="397"/>
                </a:cubicBezTo>
                <a:cubicBezTo>
                  <a:pt x="540" y="396"/>
                  <a:pt x="540" y="396"/>
                  <a:pt x="540" y="396"/>
                </a:cubicBezTo>
                <a:cubicBezTo>
                  <a:pt x="539" y="396"/>
                  <a:pt x="539" y="396"/>
                  <a:pt x="539" y="396"/>
                </a:cubicBezTo>
                <a:cubicBezTo>
                  <a:pt x="538" y="396"/>
                  <a:pt x="538" y="396"/>
                  <a:pt x="538" y="396"/>
                </a:cubicBezTo>
                <a:cubicBezTo>
                  <a:pt x="538" y="396"/>
                  <a:pt x="538" y="396"/>
                  <a:pt x="538" y="396"/>
                </a:cubicBezTo>
                <a:cubicBezTo>
                  <a:pt x="535" y="395"/>
                  <a:pt x="535" y="395"/>
                  <a:pt x="535" y="395"/>
                </a:cubicBezTo>
                <a:cubicBezTo>
                  <a:pt x="533" y="395"/>
                  <a:pt x="533" y="395"/>
                  <a:pt x="533" y="395"/>
                </a:cubicBezTo>
                <a:cubicBezTo>
                  <a:pt x="533" y="396"/>
                  <a:pt x="533" y="396"/>
                  <a:pt x="533" y="396"/>
                </a:cubicBezTo>
                <a:cubicBezTo>
                  <a:pt x="532" y="397"/>
                  <a:pt x="532" y="397"/>
                  <a:pt x="532" y="397"/>
                </a:cubicBezTo>
                <a:cubicBezTo>
                  <a:pt x="531" y="397"/>
                  <a:pt x="531" y="397"/>
                  <a:pt x="531" y="397"/>
                </a:cubicBezTo>
                <a:cubicBezTo>
                  <a:pt x="530" y="396"/>
                  <a:pt x="530" y="396"/>
                  <a:pt x="530" y="396"/>
                </a:cubicBezTo>
                <a:cubicBezTo>
                  <a:pt x="529" y="397"/>
                  <a:pt x="529" y="397"/>
                  <a:pt x="529" y="397"/>
                </a:cubicBezTo>
                <a:cubicBezTo>
                  <a:pt x="528" y="397"/>
                  <a:pt x="528" y="397"/>
                  <a:pt x="528" y="397"/>
                </a:cubicBezTo>
                <a:cubicBezTo>
                  <a:pt x="527" y="395"/>
                  <a:pt x="527" y="395"/>
                  <a:pt x="527" y="395"/>
                </a:cubicBezTo>
                <a:cubicBezTo>
                  <a:pt x="526" y="394"/>
                  <a:pt x="526" y="394"/>
                  <a:pt x="526" y="394"/>
                </a:cubicBezTo>
                <a:cubicBezTo>
                  <a:pt x="524" y="394"/>
                  <a:pt x="524" y="394"/>
                  <a:pt x="524" y="394"/>
                </a:cubicBezTo>
                <a:cubicBezTo>
                  <a:pt x="523" y="395"/>
                  <a:pt x="523" y="395"/>
                  <a:pt x="523" y="395"/>
                </a:cubicBezTo>
                <a:cubicBezTo>
                  <a:pt x="522" y="394"/>
                  <a:pt x="522" y="394"/>
                  <a:pt x="522" y="394"/>
                </a:cubicBezTo>
                <a:cubicBezTo>
                  <a:pt x="521" y="394"/>
                  <a:pt x="521" y="394"/>
                  <a:pt x="521" y="394"/>
                </a:cubicBezTo>
                <a:cubicBezTo>
                  <a:pt x="520" y="395"/>
                  <a:pt x="520" y="395"/>
                  <a:pt x="520" y="395"/>
                </a:cubicBezTo>
                <a:cubicBezTo>
                  <a:pt x="520" y="397"/>
                  <a:pt x="520" y="397"/>
                  <a:pt x="520" y="397"/>
                </a:cubicBezTo>
                <a:cubicBezTo>
                  <a:pt x="519" y="398"/>
                  <a:pt x="519" y="398"/>
                  <a:pt x="519" y="398"/>
                </a:cubicBezTo>
                <a:cubicBezTo>
                  <a:pt x="517" y="398"/>
                  <a:pt x="517" y="398"/>
                  <a:pt x="517" y="398"/>
                </a:cubicBezTo>
                <a:cubicBezTo>
                  <a:pt x="517" y="400"/>
                  <a:pt x="517" y="400"/>
                  <a:pt x="517" y="400"/>
                </a:cubicBezTo>
                <a:cubicBezTo>
                  <a:pt x="517" y="400"/>
                  <a:pt x="517" y="400"/>
                  <a:pt x="517" y="400"/>
                </a:cubicBezTo>
                <a:cubicBezTo>
                  <a:pt x="516" y="401"/>
                  <a:pt x="516" y="401"/>
                  <a:pt x="516" y="401"/>
                </a:cubicBezTo>
                <a:cubicBezTo>
                  <a:pt x="515" y="402"/>
                  <a:pt x="515" y="402"/>
                  <a:pt x="515" y="402"/>
                </a:cubicBezTo>
                <a:cubicBezTo>
                  <a:pt x="512" y="402"/>
                  <a:pt x="512" y="402"/>
                  <a:pt x="512" y="402"/>
                </a:cubicBezTo>
                <a:cubicBezTo>
                  <a:pt x="511" y="403"/>
                  <a:pt x="511" y="403"/>
                  <a:pt x="511" y="403"/>
                </a:cubicBezTo>
                <a:cubicBezTo>
                  <a:pt x="510" y="404"/>
                  <a:pt x="510" y="404"/>
                  <a:pt x="510" y="404"/>
                </a:cubicBezTo>
                <a:cubicBezTo>
                  <a:pt x="509" y="404"/>
                  <a:pt x="509" y="404"/>
                  <a:pt x="509" y="404"/>
                </a:cubicBezTo>
                <a:cubicBezTo>
                  <a:pt x="506" y="405"/>
                  <a:pt x="506" y="405"/>
                  <a:pt x="506" y="405"/>
                </a:cubicBezTo>
                <a:cubicBezTo>
                  <a:pt x="505" y="407"/>
                  <a:pt x="505" y="407"/>
                  <a:pt x="505" y="407"/>
                </a:cubicBezTo>
                <a:cubicBezTo>
                  <a:pt x="505" y="407"/>
                  <a:pt x="505" y="407"/>
                  <a:pt x="505" y="407"/>
                </a:cubicBezTo>
                <a:cubicBezTo>
                  <a:pt x="503" y="406"/>
                  <a:pt x="503" y="406"/>
                  <a:pt x="503" y="406"/>
                </a:cubicBezTo>
                <a:cubicBezTo>
                  <a:pt x="502" y="406"/>
                  <a:pt x="502" y="406"/>
                  <a:pt x="502" y="406"/>
                </a:cubicBezTo>
                <a:cubicBezTo>
                  <a:pt x="501" y="406"/>
                  <a:pt x="501" y="406"/>
                  <a:pt x="501" y="406"/>
                </a:cubicBezTo>
                <a:cubicBezTo>
                  <a:pt x="500" y="407"/>
                  <a:pt x="500" y="407"/>
                  <a:pt x="500" y="407"/>
                </a:cubicBezTo>
                <a:cubicBezTo>
                  <a:pt x="496" y="407"/>
                  <a:pt x="496" y="407"/>
                  <a:pt x="496" y="407"/>
                </a:cubicBezTo>
                <a:cubicBezTo>
                  <a:pt x="493" y="406"/>
                  <a:pt x="493" y="406"/>
                  <a:pt x="493" y="406"/>
                </a:cubicBezTo>
                <a:cubicBezTo>
                  <a:pt x="491" y="406"/>
                  <a:pt x="491" y="406"/>
                  <a:pt x="491" y="406"/>
                </a:cubicBezTo>
                <a:cubicBezTo>
                  <a:pt x="490" y="406"/>
                  <a:pt x="490" y="406"/>
                  <a:pt x="490" y="406"/>
                </a:cubicBezTo>
                <a:cubicBezTo>
                  <a:pt x="489" y="405"/>
                  <a:pt x="489" y="405"/>
                  <a:pt x="489" y="405"/>
                </a:cubicBezTo>
                <a:cubicBezTo>
                  <a:pt x="488" y="405"/>
                  <a:pt x="488" y="405"/>
                  <a:pt x="488" y="405"/>
                </a:cubicBezTo>
                <a:cubicBezTo>
                  <a:pt x="487" y="404"/>
                  <a:pt x="487" y="404"/>
                  <a:pt x="487" y="404"/>
                </a:cubicBezTo>
                <a:cubicBezTo>
                  <a:pt x="486" y="404"/>
                  <a:pt x="486" y="404"/>
                  <a:pt x="486" y="404"/>
                </a:cubicBezTo>
                <a:cubicBezTo>
                  <a:pt x="485" y="402"/>
                  <a:pt x="485" y="402"/>
                  <a:pt x="485" y="402"/>
                </a:cubicBezTo>
                <a:cubicBezTo>
                  <a:pt x="484" y="401"/>
                  <a:pt x="484" y="401"/>
                  <a:pt x="484" y="401"/>
                </a:cubicBezTo>
                <a:cubicBezTo>
                  <a:pt x="483" y="401"/>
                  <a:pt x="483" y="401"/>
                  <a:pt x="483" y="401"/>
                </a:cubicBezTo>
                <a:cubicBezTo>
                  <a:pt x="481" y="401"/>
                  <a:pt x="481" y="401"/>
                  <a:pt x="481" y="401"/>
                </a:cubicBezTo>
                <a:cubicBezTo>
                  <a:pt x="479" y="401"/>
                  <a:pt x="479" y="401"/>
                  <a:pt x="479" y="401"/>
                </a:cubicBezTo>
                <a:cubicBezTo>
                  <a:pt x="478" y="399"/>
                  <a:pt x="478" y="399"/>
                  <a:pt x="478" y="399"/>
                </a:cubicBezTo>
                <a:cubicBezTo>
                  <a:pt x="475" y="399"/>
                  <a:pt x="475" y="399"/>
                  <a:pt x="475" y="399"/>
                </a:cubicBezTo>
                <a:cubicBezTo>
                  <a:pt x="474" y="399"/>
                  <a:pt x="474" y="399"/>
                  <a:pt x="474" y="399"/>
                </a:cubicBezTo>
                <a:cubicBezTo>
                  <a:pt x="472" y="398"/>
                  <a:pt x="472" y="398"/>
                  <a:pt x="472" y="398"/>
                </a:cubicBezTo>
                <a:cubicBezTo>
                  <a:pt x="471" y="398"/>
                  <a:pt x="471" y="398"/>
                  <a:pt x="471" y="398"/>
                </a:cubicBezTo>
                <a:cubicBezTo>
                  <a:pt x="469" y="398"/>
                  <a:pt x="469" y="398"/>
                  <a:pt x="469" y="398"/>
                </a:cubicBezTo>
                <a:cubicBezTo>
                  <a:pt x="468" y="399"/>
                  <a:pt x="468" y="399"/>
                  <a:pt x="468" y="399"/>
                </a:cubicBezTo>
                <a:cubicBezTo>
                  <a:pt x="465" y="399"/>
                  <a:pt x="465" y="399"/>
                  <a:pt x="465" y="399"/>
                </a:cubicBezTo>
                <a:cubicBezTo>
                  <a:pt x="463" y="400"/>
                  <a:pt x="463" y="400"/>
                  <a:pt x="463" y="400"/>
                </a:cubicBezTo>
                <a:cubicBezTo>
                  <a:pt x="462" y="401"/>
                  <a:pt x="462" y="401"/>
                  <a:pt x="462" y="401"/>
                </a:cubicBezTo>
                <a:cubicBezTo>
                  <a:pt x="461" y="401"/>
                  <a:pt x="461" y="401"/>
                  <a:pt x="461" y="401"/>
                </a:cubicBezTo>
                <a:cubicBezTo>
                  <a:pt x="461" y="401"/>
                  <a:pt x="461" y="401"/>
                  <a:pt x="461" y="401"/>
                </a:cubicBezTo>
                <a:cubicBezTo>
                  <a:pt x="460" y="401"/>
                  <a:pt x="460" y="401"/>
                  <a:pt x="460" y="401"/>
                </a:cubicBezTo>
                <a:cubicBezTo>
                  <a:pt x="459" y="402"/>
                  <a:pt x="459" y="402"/>
                  <a:pt x="459" y="402"/>
                </a:cubicBezTo>
                <a:cubicBezTo>
                  <a:pt x="457" y="401"/>
                  <a:pt x="457" y="401"/>
                  <a:pt x="457" y="401"/>
                </a:cubicBezTo>
                <a:cubicBezTo>
                  <a:pt x="457" y="402"/>
                  <a:pt x="457" y="402"/>
                  <a:pt x="457" y="402"/>
                </a:cubicBezTo>
                <a:cubicBezTo>
                  <a:pt x="456" y="402"/>
                  <a:pt x="456" y="402"/>
                  <a:pt x="456" y="402"/>
                </a:cubicBezTo>
                <a:cubicBezTo>
                  <a:pt x="454" y="401"/>
                  <a:pt x="454" y="401"/>
                  <a:pt x="454" y="401"/>
                </a:cubicBezTo>
                <a:cubicBezTo>
                  <a:pt x="452" y="400"/>
                  <a:pt x="452" y="400"/>
                  <a:pt x="452" y="400"/>
                </a:cubicBezTo>
                <a:cubicBezTo>
                  <a:pt x="451" y="400"/>
                  <a:pt x="451" y="400"/>
                  <a:pt x="451" y="400"/>
                </a:cubicBezTo>
                <a:cubicBezTo>
                  <a:pt x="450" y="398"/>
                  <a:pt x="450" y="398"/>
                  <a:pt x="450" y="398"/>
                </a:cubicBezTo>
                <a:cubicBezTo>
                  <a:pt x="449" y="398"/>
                  <a:pt x="449" y="398"/>
                  <a:pt x="449" y="398"/>
                </a:cubicBezTo>
                <a:cubicBezTo>
                  <a:pt x="449" y="398"/>
                  <a:pt x="449" y="398"/>
                  <a:pt x="449" y="398"/>
                </a:cubicBezTo>
                <a:cubicBezTo>
                  <a:pt x="449" y="397"/>
                  <a:pt x="449" y="397"/>
                  <a:pt x="449" y="397"/>
                </a:cubicBezTo>
                <a:cubicBezTo>
                  <a:pt x="448" y="395"/>
                  <a:pt x="448" y="395"/>
                  <a:pt x="448" y="395"/>
                </a:cubicBezTo>
                <a:cubicBezTo>
                  <a:pt x="448" y="395"/>
                  <a:pt x="448" y="395"/>
                  <a:pt x="448" y="395"/>
                </a:cubicBezTo>
                <a:cubicBezTo>
                  <a:pt x="448" y="394"/>
                  <a:pt x="448" y="394"/>
                  <a:pt x="448" y="394"/>
                </a:cubicBezTo>
                <a:cubicBezTo>
                  <a:pt x="447" y="393"/>
                  <a:pt x="447" y="393"/>
                  <a:pt x="447" y="393"/>
                </a:cubicBezTo>
                <a:cubicBezTo>
                  <a:pt x="447" y="392"/>
                  <a:pt x="447" y="392"/>
                  <a:pt x="447" y="392"/>
                </a:cubicBezTo>
                <a:cubicBezTo>
                  <a:pt x="446" y="391"/>
                  <a:pt x="446" y="391"/>
                  <a:pt x="446" y="391"/>
                </a:cubicBezTo>
                <a:cubicBezTo>
                  <a:pt x="445" y="391"/>
                  <a:pt x="445" y="391"/>
                  <a:pt x="445" y="391"/>
                </a:cubicBezTo>
                <a:cubicBezTo>
                  <a:pt x="443" y="391"/>
                  <a:pt x="443" y="391"/>
                  <a:pt x="443" y="391"/>
                </a:cubicBezTo>
                <a:cubicBezTo>
                  <a:pt x="442" y="391"/>
                  <a:pt x="442" y="391"/>
                  <a:pt x="442" y="391"/>
                </a:cubicBezTo>
                <a:cubicBezTo>
                  <a:pt x="441" y="390"/>
                  <a:pt x="441" y="390"/>
                  <a:pt x="441" y="390"/>
                </a:cubicBezTo>
                <a:cubicBezTo>
                  <a:pt x="439" y="390"/>
                  <a:pt x="439" y="390"/>
                  <a:pt x="439" y="390"/>
                </a:cubicBezTo>
                <a:cubicBezTo>
                  <a:pt x="439" y="389"/>
                  <a:pt x="439" y="389"/>
                  <a:pt x="439" y="389"/>
                </a:cubicBezTo>
                <a:cubicBezTo>
                  <a:pt x="438" y="389"/>
                  <a:pt x="438" y="389"/>
                  <a:pt x="438" y="389"/>
                </a:cubicBezTo>
                <a:cubicBezTo>
                  <a:pt x="435" y="389"/>
                  <a:pt x="435" y="389"/>
                  <a:pt x="435" y="389"/>
                </a:cubicBezTo>
                <a:cubicBezTo>
                  <a:pt x="434" y="389"/>
                  <a:pt x="434" y="389"/>
                  <a:pt x="434" y="389"/>
                </a:cubicBezTo>
                <a:cubicBezTo>
                  <a:pt x="432" y="388"/>
                  <a:pt x="432" y="388"/>
                  <a:pt x="432" y="388"/>
                </a:cubicBezTo>
                <a:cubicBezTo>
                  <a:pt x="432" y="388"/>
                  <a:pt x="432" y="388"/>
                  <a:pt x="432" y="388"/>
                </a:cubicBezTo>
                <a:cubicBezTo>
                  <a:pt x="431" y="387"/>
                  <a:pt x="431" y="387"/>
                  <a:pt x="431" y="387"/>
                </a:cubicBezTo>
                <a:cubicBezTo>
                  <a:pt x="429" y="387"/>
                  <a:pt x="429" y="387"/>
                  <a:pt x="429" y="387"/>
                </a:cubicBezTo>
                <a:cubicBezTo>
                  <a:pt x="428" y="386"/>
                  <a:pt x="428" y="386"/>
                  <a:pt x="428" y="386"/>
                </a:cubicBezTo>
                <a:cubicBezTo>
                  <a:pt x="427" y="386"/>
                  <a:pt x="427" y="386"/>
                  <a:pt x="427" y="386"/>
                </a:cubicBezTo>
                <a:cubicBezTo>
                  <a:pt x="426" y="387"/>
                  <a:pt x="426" y="387"/>
                  <a:pt x="426" y="387"/>
                </a:cubicBezTo>
                <a:cubicBezTo>
                  <a:pt x="426" y="388"/>
                  <a:pt x="426" y="388"/>
                  <a:pt x="426" y="388"/>
                </a:cubicBezTo>
                <a:cubicBezTo>
                  <a:pt x="426" y="389"/>
                  <a:pt x="426" y="389"/>
                  <a:pt x="426" y="389"/>
                </a:cubicBezTo>
                <a:cubicBezTo>
                  <a:pt x="426" y="390"/>
                  <a:pt x="426" y="390"/>
                  <a:pt x="426" y="390"/>
                </a:cubicBezTo>
                <a:cubicBezTo>
                  <a:pt x="425" y="389"/>
                  <a:pt x="425" y="389"/>
                  <a:pt x="425" y="389"/>
                </a:cubicBezTo>
                <a:cubicBezTo>
                  <a:pt x="424" y="390"/>
                  <a:pt x="424" y="390"/>
                  <a:pt x="424" y="390"/>
                </a:cubicBezTo>
                <a:cubicBezTo>
                  <a:pt x="423" y="391"/>
                  <a:pt x="423" y="391"/>
                  <a:pt x="423" y="391"/>
                </a:cubicBezTo>
                <a:cubicBezTo>
                  <a:pt x="423" y="392"/>
                  <a:pt x="423" y="392"/>
                  <a:pt x="423" y="392"/>
                </a:cubicBezTo>
                <a:cubicBezTo>
                  <a:pt x="422" y="393"/>
                  <a:pt x="422" y="393"/>
                  <a:pt x="422" y="393"/>
                </a:cubicBezTo>
                <a:cubicBezTo>
                  <a:pt x="422" y="396"/>
                  <a:pt x="422" y="396"/>
                  <a:pt x="422" y="396"/>
                </a:cubicBezTo>
                <a:cubicBezTo>
                  <a:pt x="423" y="398"/>
                  <a:pt x="423" y="398"/>
                  <a:pt x="423" y="398"/>
                </a:cubicBezTo>
                <a:cubicBezTo>
                  <a:pt x="424" y="398"/>
                  <a:pt x="424" y="398"/>
                  <a:pt x="424" y="398"/>
                </a:cubicBezTo>
                <a:cubicBezTo>
                  <a:pt x="425" y="399"/>
                  <a:pt x="425" y="399"/>
                  <a:pt x="425" y="399"/>
                </a:cubicBezTo>
                <a:cubicBezTo>
                  <a:pt x="426" y="400"/>
                  <a:pt x="426" y="400"/>
                  <a:pt x="426" y="400"/>
                </a:cubicBezTo>
                <a:cubicBezTo>
                  <a:pt x="427" y="400"/>
                  <a:pt x="427" y="400"/>
                  <a:pt x="427" y="400"/>
                </a:cubicBezTo>
                <a:cubicBezTo>
                  <a:pt x="426" y="402"/>
                  <a:pt x="426" y="402"/>
                  <a:pt x="426" y="402"/>
                </a:cubicBezTo>
                <a:cubicBezTo>
                  <a:pt x="426" y="404"/>
                  <a:pt x="426" y="404"/>
                  <a:pt x="426" y="404"/>
                </a:cubicBezTo>
                <a:cubicBezTo>
                  <a:pt x="427" y="405"/>
                  <a:pt x="427" y="405"/>
                  <a:pt x="427" y="405"/>
                </a:cubicBezTo>
                <a:cubicBezTo>
                  <a:pt x="428" y="406"/>
                  <a:pt x="428" y="406"/>
                  <a:pt x="428" y="406"/>
                </a:cubicBezTo>
                <a:cubicBezTo>
                  <a:pt x="427" y="408"/>
                  <a:pt x="427" y="408"/>
                  <a:pt x="427" y="408"/>
                </a:cubicBezTo>
                <a:cubicBezTo>
                  <a:pt x="425" y="408"/>
                  <a:pt x="425" y="408"/>
                  <a:pt x="425" y="408"/>
                </a:cubicBezTo>
                <a:cubicBezTo>
                  <a:pt x="424" y="408"/>
                  <a:pt x="424" y="408"/>
                  <a:pt x="424" y="408"/>
                </a:cubicBezTo>
                <a:cubicBezTo>
                  <a:pt x="423" y="408"/>
                  <a:pt x="423" y="408"/>
                  <a:pt x="423" y="408"/>
                </a:cubicBezTo>
                <a:cubicBezTo>
                  <a:pt x="422" y="408"/>
                  <a:pt x="422" y="408"/>
                  <a:pt x="422" y="408"/>
                </a:cubicBezTo>
                <a:cubicBezTo>
                  <a:pt x="421" y="408"/>
                  <a:pt x="421" y="408"/>
                  <a:pt x="421" y="408"/>
                </a:cubicBezTo>
                <a:cubicBezTo>
                  <a:pt x="418" y="408"/>
                  <a:pt x="418" y="408"/>
                  <a:pt x="418" y="408"/>
                </a:cubicBezTo>
                <a:cubicBezTo>
                  <a:pt x="417" y="408"/>
                  <a:pt x="417" y="408"/>
                  <a:pt x="417" y="408"/>
                </a:cubicBezTo>
                <a:cubicBezTo>
                  <a:pt x="416" y="407"/>
                  <a:pt x="416" y="407"/>
                  <a:pt x="416" y="407"/>
                </a:cubicBezTo>
                <a:cubicBezTo>
                  <a:pt x="415" y="407"/>
                  <a:pt x="415" y="407"/>
                  <a:pt x="415" y="407"/>
                </a:cubicBezTo>
                <a:cubicBezTo>
                  <a:pt x="414" y="407"/>
                  <a:pt x="414" y="407"/>
                  <a:pt x="414" y="407"/>
                </a:cubicBezTo>
                <a:cubicBezTo>
                  <a:pt x="413" y="408"/>
                  <a:pt x="413" y="408"/>
                  <a:pt x="413" y="408"/>
                </a:cubicBezTo>
                <a:cubicBezTo>
                  <a:pt x="412" y="409"/>
                  <a:pt x="412" y="409"/>
                  <a:pt x="412" y="409"/>
                </a:cubicBezTo>
                <a:cubicBezTo>
                  <a:pt x="411" y="409"/>
                  <a:pt x="411" y="409"/>
                  <a:pt x="411" y="409"/>
                </a:cubicBezTo>
                <a:cubicBezTo>
                  <a:pt x="408" y="408"/>
                  <a:pt x="408" y="408"/>
                  <a:pt x="408" y="408"/>
                </a:cubicBezTo>
                <a:cubicBezTo>
                  <a:pt x="407" y="407"/>
                  <a:pt x="407" y="407"/>
                  <a:pt x="407" y="407"/>
                </a:cubicBezTo>
                <a:cubicBezTo>
                  <a:pt x="404" y="405"/>
                  <a:pt x="404" y="405"/>
                  <a:pt x="404" y="405"/>
                </a:cubicBezTo>
                <a:cubicBezTo>
                  <a:pt x="404" y="405"/>
                  <a:pt x="404" y="405"/>
                  <a:pt x="404" y="405"/>
                </a:cubicBezTo>
                <a:cubicBezTo>
                  <a:pt x="404" y="404"/>
                  <a:pt x="404" y="404"/>
                  <a:pt x="404" y="404"/>
                </a:cubicBezTo>
                <a:cubicBezTo>
                  <a:pt x="403" y="403"/>
                  <a:pt x="403" y="403"/>
                  <a:pt x="403" y="403"/>
                </a:cubicBezTo>
                <a:cubicBezTo>
                  <a:pt x="401" y="403"/>
                  <a:pt x="401" y="403"/>
                  <a:pt x="401" y="403"/>
                </a:cubicBezTo>
                <a:cubicBezTo>
                  <a:pt x="400" y="403"/>
                  <a:pt x="400" y="403"/>
                  <a:pt x="400" y="403"/>
                </a:cubicBezTo>
                <a:cubicBezTo>
                  <a:pt x="399" y="403"/>
                  <a:pt x="399" y="403"/>
                  <a:pt x="399" y="403"/>
                </a:cubicBezTo>
                <a:cubicBezTo>
                  <a:pt x="398" y="404"/>
                  <a:pt x="398" y="404"/>
                  <a:pt x="398" y="404"/>
                </a:cubicBezTo>
                <a:cubicBezTo>
                  <a:pt x="397" y="404"/>
                  <a:pt x="397" y="404"/>
                  <a:pt x="397" y="404"/>
                </a:cubicBezTo>
                <a:cubicBezTo>
                  <a:pt x="396" y="403"/>
                  <a:pt x="396" y="403"/>
                  <a:pt x="396" y="403"/>
                </a:cubicBezTo>
                <a:cubicBezTo>
                  <a:pt x="396" y="402"/>
                  <a:pt x="396" y="402"/>
                  <a:pt x="396" y="402"/>
                </a:cubicBezTo>
                <a:cubicBezTo>
                  <a:pt x="396" y="401"/>
                  <a:pt x="396" y="401"/>
                  <a:pt x="396" y="401"/>
                </a:cubicBezTo>
                <a:cubicBezTo>
                  <a:pt x="395" y="401"/>
                  <a:pt x="395" y="401"/>
                  <a:pt x="395" y="401"/>
                </a:cubicBezTo>
                <a:cubicBezTo>
                  <a:pt x="394" y="402"/>
                  <a:pt x="394" y="402"/>
                  <a:pt x="394" y="402"/>
                </a:cubicBezTo>
                <a:cubicBezTo>
                  <a:pt x="393" y="402"/>
                  <a:pt x="393" y="402"/>
                  <a:pt x="393" y="402"/>
                </a:cubicBezTo>
                <a:cubicBezTo>
                  <a:pt x="392" y="402"/>
                  <a:pt x="392" y="402"/>
                  <a:pt x="392" y="402"/>
                </a:cubicBezTo>
                <a:cubicBezTo>
                  <a:pt x="391" y="402"/>
                  <a:pt x="391" y="402"/>
                  <a:pt x="391" y="402"/>
                </a:cubicBezTo>
                <a:cubicBezTo>
                  <a:pt x="388" y="402"/>
                  <a:pt x="388" y="402"/>
                  <a:pt x="388" y="402"/>
                </a:cubicBezTo>
                <a:cubicBezTo>
                  <a:pt x="387" y="403"/>
                  <a:pt x="387" y="403"/>
                  <a:pt x="387" y="403"/>
                </a:cubicBezTo>
                <a:cubicBezTo>
                  <a:pt x="387" y="404"/>
                  <a:pt x="387" y="404"/>
                  <a:pt x="387" y="404"/>
                </a:cubicBezTo>
                <a:cubicBezTo>
                  <a:pt x="386" y="405"/>
                  <a:pt x="386" y="405"/>
                  <a:pt x="386" y="405"/>
                </a:cubicBezTo>
                <a:cubicBezTo>
                  <a:pt x="384" y="404"/>
                  <a:pt x="384" y="404"/>
                  <a:pt x="384" y="404"/>
                </a:cubicBezTo>
                <a:cubicBezTo>
                  <a:pt x="383" y="405"/>
                  <a:pt x="383" y="405"/>
                  <a:pt x="383" y="405"/>
                </a:cubicBezTo>
                <a:cubicBezTo>
                  <a:pt x="383" y="405"/>
                  <a:pt x="383" y="405"/>
                  <a:pt x="383" y="405"/>
                </a:cubicBezTo>
                <a:cubicBezTo>
                  <a:pt x="384" y="406"/>
                  <a:pt x="384" y="406"/>
                  <a:pt x="384" y="406"/>
                </a:cubicBezTo>
                <a:cubicBezTo>
                  <a:pt x="384" y="406"/>
                  <a:pt x="384" y="406"/>
                  <a:pt x="384" y="406"/>
                </a:cubicBezTo>
                <a:cubicBezTo>
                  <a:pt x="383" y="408"/>
                  <a:pt x="383" y="408"/>
                  <a:pt x="383" y="408"/>
                </a:cubicBezTo>
                <a:cubicBezTo>
                  <a:pt x="382" y="408"/>
                  <a:pt x="382" y="408"/>
                  <a:pt x="382" y="408"/>
                </a:cubicBezTo>
                <a:cubicBezTo>
                  <a:pt x="381" y="409"/>
                  <a:pt x="381" y="409"/>
                  <a:pt x="381" y="409"/>
                </a:cubicBezTo>
                <a:cubicBezTo>
                  <a:pt x="381" y="410"/>
                  <a:pt x="381" y="410"/>
                  <a:pt x="381" y="410"/>
                </a:cubicBezTo>
                <a:cubicBezTo>
                  <a:pt x="379" y="411"/>
                  <a:pt x="379" y="411"/>
                  <a:pt x="379" y="411"/>
                </a:cubicBezTo>
                <a:cubicBezTo>
                  <a:pt x="378" y="412"/>
                  <a:pt x="378" y="412"/>
                  <a:pt x="378" y="412"/>
                </a:cubicBezTo>
                <a:cubicBezTo>
                  <a:pt x="378" y="413"/>
                  <a:pt x="378" y="413"/>
                  <a:pt x="378" y="413"/>
                </a:cubicBezTo>
                <a:cubicBezTo>
                  <a:pt x="376" y="414"/>
                  <a:pt x="376" y="414"/>
                  <a:pt x="376" y="414"/>
                </a:cubicBezTo>
                <a:cubicBezTo>
                  <a:pt x="375" y="415"/>
                  <a:pt x="375" y="415"/>
                  <a:pt x="375" y="415"/>
                </a:cubicBezTo>
                <a:cubicBezTo>
                  <a:pt x="375" y="416"/>
                  <a:pt x="375" y="416"/>
                  <a:pt x="375" y="416"/>
                </a:cubicBezTo>
                <a:cubicBezTo>
                  <a:pt x="372" y="416"/>
                  <a:pt x="372" y="416"/>
                  <a:pt x="372" y="416"/>
                </a:cubicBezTo>
                <a:cubicBezTo>
                  <a:pt x="371" y="416"/>
                  <a:pt x="371" y="416"/>
                  <a:pt x="371" y="416"/>
                </a:cubicBezTo>
                <a:cubicBezTo>
                  <a:pt x="370" y="418"/>
                  <a:pt x="370" y="418"/>
                  <a:pt x="370" y="418"/>
                </a:cubicBezTo>
                <a:cubicBezTo>
                  <a:pt x="370" y="419"/>
                  <a:pt x="370" y="419"/>
                  <a:pt x="370" y="419"/>
                </a:cubicBezTo>
                <a:cubicBezTo>
                  <a:pt x="369" y="419"/>
                  <a:pt x="369" y="419"/>
                  <a:pt x="369" y="419"/>
                </a:cubicBezTo>
                <a:cubicBezTo>
                  <a:pt x="368" y="418"/>
                  <a:pt x="368" y="418"/>
                  <a:pt x="368" y="418"/>
                </a:cubicBezTo>
                <a:cubicBezTo>
                  <a:pt x="367" y="418"/>
                  <a:pt x="367" y="418"/>
                  <a:pt x="367" y="418"/>
                </a:cubicBezTo>
                <a:cubicBezTo>
                  <a:pt x="367" y="418"/>
                  <a:pt x="367" y="418"/>
                  <a:pt x="367" y="418"/>
                </a:cubicBezTo>
                <a:cubicBezTo>
                  <a:pt x="365" y="417"/>
                  <a:pt x="365" y="417"/>
                  <a:pt x="365" y="417"/>
                </a:cubicBezTo>
                <a:cubicBezTo>
                  <a:pt x="364" y="416"/>
                  <a:pt x="364" y="416"/>
                  <a:pt x="364" y="416"/>
                </a:cubicBezTo>
                <a:cubicBezTo>
                  <a:pt x="363" y="416"/>
                  <a:pt x="363" y="416"/>
                  <a:pt x="363" y="416"/>
                </a:cubicBezTo>
                <a:cubicBezTo>
                  <a:pt x="363" y="415"/>
                  <a:pt x="363" y="415"/>
                  <a:pt x="363" y="415"/>
                </a:cubicBezTo>
                <a:cubicBezTo>
                  <a:pt x="363" y="413"/>
                  <a:pt x="363" y="413"/>
                  <a:pt x="363" y="413"/>
                </a:cubicBezTo>
                <a:cubicBezTo>
                  <a:pt x="362" y="413"/>
                  <a:pt x="362" y="413"/>
                  <a:pt x="362" y="413"/>
                </a:cubicBezTo>
                <a:cubicBezTo>
                  <a:pt x="361" y="413"/>
                  <a:pt x="361" y="413"/>
                  <a:pt x="361" y="413"/>
                </a:cubicBezTo>
                <a:cubicBezTo>
                  <a:pt x="361" y="415"/>
                  <a:pt x="361" y="415"/>
                  <a:pt x="361" y="415"/>
                </a:cubicBezTo>
                <a:cubicBezTo>
                  <a:pt x="359" y="415"/>
                  <a:pt x="359" y="415"/>
                  <a:pt x="359" y="415"/>
                </a:cubicBezTo>
                <a:cubicBezTo>
                  <a:pt x="356" y="415"/>
                  <a:pt x="356" y="415"/>
                  <a:pt x="356" y="415"/>
                </a:cubicBezTo>
                <a:cubicBezTo>
                  <a:pt x="355" y="416"/>
                  <a:pt x="355" y="416"/>
                  <a:pt x="355" y="416"/>
                </a:cubicBezTo>
                <a:cubicBezTo>
                  <a:pt x="355" y="416"/>
                  <a:pt x="355" y="416"/>
                  <a:pt x="355" y="416"/>
                </a:cubicBezTo>
                <a:cubicBezTo>
                  <a:pt x="354" y="416"/>
                  <a:pt x="354" y="416"/>
                  <a:pt x="354" y="416"/>
                </a:cubicBezTo>
                <a:cubicBezTo>
                  <a:pt x="353" y="415"/>
                  <a:pt x="353" y="415"/>
                  <a:pt x="353" y="415"/>
                </a:cubicBezTo>
                <a:cubicBezTo>
                  <a:pt x="352" y="415"/>
                  <a:pt x="352" y="415"/>
                  <a:pt x="352" y="415"/>
                </a:cubicBezTo>
                <a:cubicBezTo>
                  <a:pt x="352" y="415"/>
                  <a:pt x="352" y="415"/>
                  <a:pt x="352" y="415"/>
                </a:cubicBezTo>
                <a:cubicBezTo>
                  <a:pt x="351" y="414"/>
                  <a:pt x="351" y="414"/>
                  <a:pt x="351" y="414"/>
                </a:cubicBezTo>
                <a:cubicBezTo>
                  <a:pt x="351" y="414"/>
                  <a:pt x="351" y="414"/>
                  <a:pt x="351" y="414"/>
                </a:cubicBezTo>
                <a:cubicBezTo>
                  <a:pt x="351" y="413"/>
                  <a:pt x="351" y="413"/>
                  <a:pt x="351" y="413"/>
                </a:cubicBezTo>
                <a:cubicBezTo>
                  <a:pt x="351" y="412"/>
                  <a:pt x="351" y="412"/>
                  <a:pt x="351" y="412"/>
                </a:cubicBezTo>
                <a:cubicBezTo>
                  <a:pt x="351" y="411"/>
                  <a:pt x="351" y="411"/>
                  <a:pt x="351" y="411"/>
                </a:cubicBezTo>
                <a:cubicBezTo>
                  <a:pt x="350" y="411"/>
                  <a:pt x="350" y="411"/>
                  <a:pt x="350" y="411"/>
                </a:cubicBezTo>
                <a:cubicBezTo>
                  <a:pt x="350" y="411"/>
                  <a:pt x="350" y="411"/>
                  <a:pt x="350" y="411"/>
                </a:cubicBezTo>
                <a:cubicBezTo>
                  <a:pt x="348" y="410"/>
                  <a:pt x="348" y="410"/>
                  <a:pt x="348" y="410"/>
                </a:cubicBezTo>
                <a:cubicBezTo>
                  <a:pt x="347" y="409"/>
                  <a:pt x="347" y="409"/>
                  <a:pt x="347" y="409"/>
                </a:cubicBezTo>
                <a:cubicBezTo>
                  <a:pt x="346" y="409"/>
                  <a:pt x="346" y="409"/>
                  <a:pt x="346" y="409"/>
                </a:cubicBezTo>
                <a:cubicBezTo>
                  <a:pt x="346" y="408"/>
                  <a:pt x="346" y="408"/>
                  <a:pt x="346" y="408"/>
                </a:cubicBezTo>
                <a:cubicBezTo>
                  <a:pt x="345" y="406"/>
                  <a:pt x="345" y="406"/>
                  <a:pt x="345" y="406"/>
                </a:cubicBezTo>
                <a:cubicBezTo>
                  <a:pt x="343" y="405"/>
                  <a:pt x="343" y="405"/>
                  <a:pt x="343" y="405"/>
                </a:cubicBezTo>
                <a:cubicBezTo>
                  <a:pt x="341" y="404"/>
                  <a:pt x="341" y="404"/>
                  <a:pt x="341" y="404"/>
                </a:cubicBezTo>
                <a:cubicBezTo>
                  <a:pt x="339" y="404"/>
                  <a:pt x="339" y="404"/>
                  <a:pt x="339" y="404"/>
                </a:cubicBezTo>
                <a:cubicBezTo>
                  <a:pt x="336" y="405"/>
                  <a:pt x="336" y="405"/>
                  <a:pt x="336" y="405"/>
                </a:cubicBezTo>
                <a:cubicBezTo>
                  <a:pt x="336" y="405"/>
                  <a:pt x="336" y="405"/>
                  <a:pt x="336" y="405"/>
                </a:cubicBezTo>
                <a:cubicBezTo>
                  <a:pt x="337" y="406"/>
                  <a:pt x="337" y="406"/>
                  <a:pt x="337" y="406"/>
                </a:cubicBezTo>
                <a:cubicBezTo>
                  <a:pt x="336" y="406"/>
                  <a:pt x="336" y="406"/>
                  <a:pt x="336" y="406"/>
                </a:cubicBezTo>
                <a:cubicBezTo>
                  <a:pt x="335" y="407"/>
                  <a:pt x="335" y="407"/>
                  <a:pt x="335" y="407"/>
                </a:cubicBezTo>
                <a:cubicBezTo>
                  <a:pt x="334" y="407"/>
                  <a:pt x="334" y="407"/>
                  <a:pt x="334" y="407"/>
                </a:cubicBezTo>
                <a:cubicBezTo>
                  <a:pt x="333" y="407"/>
                  <a:pt x="333" y="407"/>
                  <a:pt x="333" y="407"/>
                </a:cubicBezTo>
                <a:cubicBezTo>
                  <a:pt x="331" y="406"/>
                  <a:pt x="331" y="406"/>
                  <a:pt x="331" y="406"/>
                </a:cubicBezTo>
                <a:cubicBezTo>
                  <a:pt x="330" y="407"/>
                  <a:pt x="330" y="407"/>
                  <a:pt x="330" y="407"/>
                </a:cubicBezTo>
                <a:cubicBezTo>
                  <a:pt x="329" y="407"/>
                  <a:pt x="329" y="407"/>
                  <a:pt x="329" y="407"/>
                </a:cubicBezTo>
                <a:cubicBezTo>
                  <a:pt x="328" y="407"/>
                  <a:pt x="328" y="407"/>
                  <a:pt x="328" y="407"/>
                </a:cubicBezTo>
                <a:cubicBezTo>
                  <a:pt x="327" y="406"/>
                  <a:pt x="327" y="406"/>
                  <a:pt x="327" y="406"/>
                </a:cubicBezTo>
                <a:cubicBezTo>
                  <a:pt x="326" y="406"/>
                  <a:pt x="326" y="406"/>
                  <a:pt x="326" y="406"/>
                </a:cubicBezTo>
                <a:cubicBezTo>
                  <a:pt x="326" y="405"/>
                  <a:pt x="326" y="405"/>
                  <a:pt x="326" y="405"/>
                </a:cubicBezTo>
                <a:cubicBezTo>
                  <a:pt x="326" y="404"/>
                  <a:pt x="326" y="404"/>
                  <a:pt x="326" y="404"/>
                </a:cubicBezTo>
                <a:cubicBezTo>
                  <a:pt x="324" y="403"/>
                  <a:pt x="324" y="403"/>
                  <a:pt x="324" y="403"/>
                </a:cubicBezTo>
                <a:cubicBezTo>
                  <a:pt x="323" y="404"/>
                  <a:pt x="323" y="404"/>
                  <a:pt x="323" y="404"/>
                </a:cubicBezTo>
                <a:cubicBezTo>
                  <a:pt x="323" y="405"/>
                  <a:pt x="323" y="405"/>
                  <a:pt x="323" y="405"/>
                </a:cubicBezTo>
                <a:cubicBezTo>
                  <a:pt x="323" y="405"/>
                  <a:pt x="323" y="405"/>
                  <a:pt x="323" y="405"/>
                </a:cubicBezTo>
                <a:cubicBezTo>
                  <a:pt x="323" y="406"/>
                  <a:pt x="323" y="406"/>
                  <a:pt x="323" y="406"/>
                </a:cubicBezTo>
                <a:cubicBezTo>
                  <a:pt x="322" y="407"/>
                  <a:pt x="322" y="407"/>
                  <a:pt x="322" y="407"/>
                </a:cubicBezTo>
                <a:cubicBezTo>
                  <a:pt x="321" y="407"/>
                  <a:pt x="321" y="407"/>
                  <a:pt x="321" y="407"/>
                </a:cubicBezTo>
                <a:cubicBezTo>
                  <a:pt x="305" y="388"/>
                  <a:pt x="305" y="388"/>
                  <a:pt x="305" y="388"/>
                </a:cubicBezTo>
                <a:cubicBezTo>
                  <a:pt x="294" y="379"/>
                  <a:pt x="294" y="379"/>
                  <a:pt x="294" y="379"/>
                </a:cubicBezTo>
                <a:cubicBezTo>
                  <a:pt x="293" y="378"/>
                  <a:pt x="293" y="378"/>
                  <a:pt x="293" y="378"/>
                </a:cubicBezTo>
                <a:cubicBezTo>
                  <a:pt x="294" y="378"/>
                  <a:pt x="294" y="378"/>
                  <a:pt x="294" y="378"/>
                </a:cubicBezTo>
                <a:cubicBezTo>
                  <a:pt x="295" y="377"/>
                  <a:pt x="295" y="377"/>
                  <a:pt x="295" y="377"/>
                </a:cubicBezTo>
                <a:cubicBezTo>
                  <a:pt x="295" y="376"/>
                  <a:pt x="295" y="376"/>
                  <a:pt x="295" y="376"/>
                </a:cubicBezTo>
                <a:cubicBezTo>
                  <a:pt x="295" y="375"/>
                  <a:pt x="295" y="375"/>
                  <a:pt x="295" y="375"/>
                </a:cubicBezTo>
                <a:cubicBezTo>
                  <a:pt x="293" y="376"/>
                  <a:pt x="293" y="376"/>
                  <a:pt x="293" y="376"/>
                </a:cubicBezTo>
                <a:cubicBezTo>
                  <a:pt x="292" y="376"/>
                  <a:pt x="292" y="376"/>
                  <a:pt x="292" y="376"/>
                </a:cubicBezTo>
                <a:cubicBezTo>
                  <a:pt x="291" y="377"/>
                  <a:pt x="291" y="377"/>
                  <a:pt x="291" y="377"/>
                </a:cubicBezTo>
                <a:cubicBezTo>
                  <a:pt x="290" y="378"/>
                  <a:pt x="290" y="378"/>
                  <a:pt x="290" y="378"/>
                </a:cubicBezTo>
                <a:cubicBezTo>
                  <a:pt x="288" y="379"/>
                  <a:pt x="288" y="379"/>
                  <a:pt x="288" y="379"/>
                </a:cubicBezTo>
                <a:cubicBezTo>
                  <a:pt x="288" y="380"/>
                  <a:pt x="288" y="380"/>
                  <a:pt x="288" y="380"/>
                </a:cubicBezTo>
                <a:cubicBezTo>
                  <a:pt x="287" y="381"/>
                  <a:pt x="287" y="381"/>
                  <a:pt x="287" y="381"/>
                </a:cubicBezTo>
                <a:cubicBezTo>
                  <a:pt x="287" y="382"/>
                  <a:pt x="287" y="382"/>
                  <a:pt x="287" y="382"/>
                </a:cubicBezTo>
                <a:cubicBezTo>
                  <a:pt x="286" y="383"/>
                  <a:pt x="286" y="383"/>
                  <a:pt x="286" y="383"/>
                </a:cubicBezTo>
                <a:cubicBezTo>
                  <a:pt x="284" y="383"/>
                  <a:pt x="284" y="383"/>
                  <a:pt x="284" y="383"/>
                </a:cubicBezTo>
                <a:cubicBezTo>
                  <a:pt x="283" y="383"/>
                  <a:pt x="283" y="383"/>
                  <a:pt x="283" y="383"/>
                </a:cubicBezTo>
                <a:cubicBezTo>
                  <a:pt x="283" y="385"/>
                  <a:pt x="283" y="385"/>
                  <a:pt x="283" y="385"/>
                </a:cubicBezTo>
                <a:cubicBezTo>
                  <a:pt x="282" y="385"/>
                  <a:pt x="282" y="385"/>
                  <a:pt x="282" y="385"/>
                </a:cubicBezTo>
                <a:cubicBezTo>
                  <a:pt x="282" y="385"/>
                  <a:pt x="282" y="385"/>
                  <a:pt x="282" y="385"/>
                </a:cubicBezTo>
                <a:cubicBezTo>
                  <a:pt x="279" y="384"/>
                  <a:pt x="279" y="384"/>
                  <a:pt x="279" y="384"/>
                </a:cubicBezTo>
                <a:cubicBezTo>
                  <a:pt x="278" y="385"/>
                  <a:pt x="278" y="385"/>
                  <a:pt x="278" y="385"/>
                </a:cubicBezTo>
                <a:cubicBezTo>
                  <a:pt x="277" y="386"/>
                  <a:pt x="277" y="386"/>
                  <a:pt x="277" y="386"/>
                </a:cubicBezTo>
                <a:cubicBezTo>
                  <a:pt x="276" y="386"/>
                  <a:pt x="276" y="386"/>
                  <a:pt x="276" y="386"/>
                </a:cubicBezTo>
                <a:cubicBezTo>
                  <a:pt x="275" y="384"/>
                  <a:pt x="275" y="384"/>
                  <a:pt x="275" y="384"/>
                </a:cubicBezTo>
                <a:cubicBezTo>
                  <a:pt x="275" y="383"/>
                  <a:pt x="275" y="383"/>
                  <a:pt x="275" y="383"/>
                </a:cubicBezTo>
                <a:cubicBezTo>
                  <a:pt x="276" y="382"/>
                  <a:pt x="276" y="382"/>
                  <a:pt x="276" y="382"/>
                </a:cubicBezTo>
                <a:cubicBezTo>
                  <a:pt x="276" y="381"/>
                  <a:pt x="276" y="381"/>
                  <a:pt x="276" y="381"/>
                </a:cubicBezTo>
                <a:cubicBezTo>
                  <a:pt x="276" y="381"/>
                  <a:pt x="276" y="381"/>
                  <a:pt x="276" y="381"/>
                </a:cubicBezTo>
                <a:cubicBezTo>
                  <a:pt x="275" y="381"/>
                  <a:pt x="275" y="381"/>
                  <a:pt x="275" y="381"/>
                </a:cubicBezTo>
                <a:cubicBezTo>
                  <a:pt x="274" y="381"/>
                  <a:pt x="274" y="381"/>
                  <a:pt x="274" y="381"/>
                </a:cubicBezTo>
                <a:cubicBezTo>
                  <a:pt x="272" y="380"/>
                  <a:pt x="272" y="380"/>
                  <a:pt x="272" y="380"/>
                </a:cubicBezTo>
                <a:cubicBezTo>
                  <a:pt x="270" y="380"/>
                  <a:pt x="270" y="380"/>
                  <a:pt x="270" y="380"/>
                </a:cubicBezTo>
                <a:cubicBezTo>
                  <a:pt x="271" y="381"/>
                  <a:pt x="271" y="381"/>
                  <a:pt x="271" y="381"/>
                </a:cubicBezTo>
                <a:cubicBezTo>
                  <a:pt x="271" y="382"/>
                  <a:pt x="271" y="382"/>
                  <a:pt x="271" y="382"/>
                </a:cubicBezTo>
                <a:cubicBezTo>
                  <a:pt x="270" y="382"/>
                  <a:pt x="270" y="382"/>
                  <a:pt x="270" y="382"/>
                </a:cubicBezTo>
                <a:cubicBezTo>
                  <a:pt x="270" y="383"/>
                  <a:pt x="270" y="383"/>
                  <a:pt x="270" y="383"/>
                </a:cubicBezTo>
                <a:cubicBezTo>
                  <a:pt x="269" y="381"/>
                  <a:pt x="269" y="381"/>
                  <a:pt x="269" y="381"/>
                </a:cubicBezTo>
                <a:cubicBezTo>
                  <a:pt x="269" y="379"/>
                  <a:pt x="269" y="379"/>
                  <a:pt x="269" y="379"/>
                </a:cubicBezTo>
                <a:cubicBezTo>
                  <a:pt x="266" y="377"/>
                  <a:pt x="266" y="377"/>
                  <a:pt x="266" y="377"/>
                </a:cubicBezTo>
                <a:cubicBezTo>
                  <a:pt x="266" y="378"/>
                  <a:pt x="266" y="378"/>
                  <a:pt x="266" y="378"/>
                </a:cubicBezTo>
                <a:cubicBezTo>
                  <a:pt x="266" y="379"/>
                  <a:pt x="266" y="379"/>
                  <a:pt x="266" y="379"/>
                </a:cubicBezTo>
                <a:cubicBezTo>
                  <a:pt x="266" y="380"/>
                  <a:pt x="266" y="380"/>
                  <a:pt x="266" y="380"/>
                </a:cubicBezTo>
                <a:cubicBezTo>
                  <a:pt x="266" y="380"/>
                  <a:pt x="266" y="380"/>
                  <a:pt x="266" y="380"/>
                </a:cubicBezTo>
                <a:cubicBezTo>
                  <a:pt x="265" y="379"/>
                  <a:pt x="265" y="379"/>
                  <a:pt x="265" y="379"/>
                </a:cubicBezTo>
                <a:cubicBezTo>
                  <a:pt x="264" y="379"/>
                  <a:pt x="264" y="379"/>
                  <a:pt x="264" y="379"/>
                </a:cubicBezTo>
                <a:cubicBezTo>
                  <a:pt x="264" y="380"/>
                  <a:pt x="264" y="380"/>
                  <a:pt x="264" y="380"/>
                </a:cubicBezTo>
                <a:cubicBezTo>
                  <a:pt x="263" y="380"/>
                  <a:pt x="263" y="380"/>
                  <a:pt x="263" y="380"/>
                </a:cubicBezTo>
                <a:cubicBezTo>
                  <a:pt x="262" y="380"/>
                  <a:pt x="262" y="380"/>
                  <a:pt x="262" y="380"/>
                </a:cubicBezTo>
                <a:cubicBezTo>
                  <a:pt x="261" y="380"/>
                  <a:pt x="261" y="380"/>
                  <a:pt x="261" y="380"/>
                </a:cubicBezTo>
                <a:cubicBezTo>
                  <a:pt x="260" y="380"/>
                  <a:pt x="260" y="380"/>
                  <a:pt x="260" y="380"/>
                </a:cubicBezTo>
                <a:cubicBezTo>
                  <a:pt x="260" y="379"/>
                  <a:pt x="260" y="379"/>
                  <a:pt x="260" y="379"/>
                </a:cubicBezTo>
                <a:cubicBezTo>
                  <a:pt x="261" y="378"/>
                  <a:pt x="261" y="378"/>
                  <a:pt x="261" y="378"/>
                </a:cubicBezTo>
                <a:cubicBezTo>
                  <a:pt x="261" y="378"/>
                  <a:pt x="261" y="378"/>
                  <a:pt x="261" y="378"/>
                </a:cubicBezTo>
                <a:cubicBezTo>
                  <a:pt x="261" y="377"/>
                  <a:pt x="261" y="377"/>
                  <a:pt x="261" y="377"/>
                </a:cubicBezTo>
                <a:cubicBezTo>
                  <a:pt x="261" y="376"/>
                  <a:pt x="261" y="376"/>
                  <a:pt x="261" y="376"/>
                </a:cubicBezTo>
                <a:cubicBezTo>
                  <a:pt x="261" y="375"/>
                  <a:pt x="261" y="375"/>
                  <a:pt x="261" y="375"/>
                </a:cubicBezTo>
                <a:cubicBezTo>
                  <a:pt x="260" y="375"/>
                  <a:pt x="260" y="375"/>
                  <a:pt x="260" y="375"/>
                </a:cubicBezTo>
                <a:cubicBezTo>
                  <a:pt x="259" y="373"/>
                  <a:pt x="259" y="373"/>
                  <a:pt x="259" y="373"/>
                </a:cubicBezTo>
                <a:cubicBezTo>
                  <a:pt x="259" y="372"/>
                  <a:pt x="259" y="372"/>
                  <a:pt x="259" y="372"/>
                </a:cubicBezTo>
                <a:cubicBezTo>
                  <a:pt x="258" y="372"/>
                  <a:pt x="258" y="372"/>
                  <a:pt x="258" y="372"/>
                </a:cubicBezTo>
                <a:cubicBezTo>
                  <a:pt x="258" y="370"/>
                  <a:pt x="258" y="370"/>
                  <a:pt x="258" y="370"/>
                </a:cubicBezTo>
                <a:cubicBezTo>
                  <a:pt x="256" y="370"/>
                  <a:pt x="256" y="370"/>
                  <a:pt x="256" y="370"/>
                </a:cubicBezTo>
                <a:cubicBezTo>
                  <a:pt x="255" y="371"/>
                  <a:pt x="255" y="371"/>
                  <a:pt x="255" y="371"/>
                </a:cubicBezTo>
                <a:cubicBezTo>
                  <a:pt x="253" y="371"/>
                  <a:pt x="253" y="371"/>
                  <a:pt x="253" y="371"/>
                </a:cubicBezTo>
                <a:cubicBezTo>
                  <a:pt x="252" y="370"/>
                  <a:pt x="252" y="370"/>
                  <a:pt x="252" y="370"/>
                </a:cubicBezTo>
                <a:cubicBezTo>
                  <a:pt x="250" y="370"/>
                  <a:pt x="250" y="370"/>
                  <a:pt x="250" y="370"/>
                </a:cubicBezTo>
                <a:cubicBezTo>
                  <a:pt x="249" y="369"/>
                  <a:pt x="249" y="369"/>
                  <a:pt x="249" y="369"/>
                </a:cubicBezTo>
                <a:cubicBezTo>
                  <a:pt x="248" y="370"/>
                  <a:pt x="248" y="370"/>
                  <a:pt x="248" y="370"/>
                </a:cubicBezTo>
                <a:cubicBezTo>
                  <a:pt x="247" y="369"/>
                  <a:pt x="247" y="369"/>
                  <a:pt x="247" y="369"/>
                </a:cubicBezTo>
                <a:cubicBezTo>
                  <a:pt x="246" y="370"/>
                  <a:pt x="246" y="370"/>
                  <a:pt x="246" y="370"/>
                </a:cubicBezTo>
                <a:cubicBezTo>
                  <a:pt x="245" y="371"/>
                  <a:pt x="245" y="371"/>
                  <a:pt x="245" y="371"/>
                </a:cubicBezTo>
                <a:cubicBezTo>
                  <a:pt x="244" y="371"/>
                  <a:pt x="244" y="371"/>
                  <a:pt x="244" y="371"/>
                </a:cubicBezTo>
                <a:cubicBezTo>
                  <a:pt x="243" y="372"/>
                  <a:pt x="243" y="372"/>
                  <a:pt x="243" y="372"/>
                </a:cubicBezTo>
                <a:cubicBezTo>
                  <a:pt x="244" y="373"/>
                  <a:pt x="244" y="373"/>
                  <a:pt x="244" y="373"/>
                </a:cubicBezTo>
                <a:cubicBezTo>
                  <a:pt x="244" y="374"/>
                  <a:pt x="244" y="374"/>
                  <a:pt x="244" y="374"/>
                </a:cubicBezTo>
                <a:cubicBezTo>
                  <a:pt x="242" y="374"/>
                  <a:pt x="242" y="374"/>
                  <a:pt x="242" y="374"/>
                </a:cubicBezTo>
                <a:cubicBezTo>
                  <a:pt x="241" y="374"/>
                  <a:pt x="241" y="374"/>
                  <a:pt x="241" y="374"/>
                </a:cubicBezTo>
                <a:cubicBezTo>
                  <a:pt x="240" y="375"/>
                  <a:pt x="240" y="375"/>
                  <a:pt x="240" y="375"/>
                </a:cubicBezTo>
                <a:cubicBezTo>
                  <a:pt x="239" y="375"/>
                  <a:pt x="239" y="375"/>
                  <a:pt x="239" y="375"/>
                </a:cubicBezTo>
                <a:cubicBezTo>
                  <a:pt x="238" y="376"/>
                  <a:pt x="238" y="376"/>
                  <a:pt x="238" y="376"/>
                </a:cubicBezTo>
                <a:cubicBezTo>
                  <a:pt x="238" y="376"/>
                  <a:pt x="238" y="376"/>
                  <a:pt x="238" y="376"/>
                </a:cubicBezTo>
                <a:cubicBezTo>
                  <a:pt x="235" y="377"/>
                  <a:pt x="235" y="377"/>
                  <a:pt x="235" y="377"/>
                </a:cubicBezTo>
                <a:cubicBezTo>
                  <a:pt x="234" y="378"/>
                  <a:pt x="234" y="378"/>
                  <a:pt x="234" y="378"/>
                </a:cubicBezTo>
                <a:cubicBezTo>
                  <a:pt x="232" y="379"/>
                  <a:pt x="232" y="379"/>
                  <a:pt x="232" y="379"/>
                </a:cubicBezTo>
                <a:cubicBezTo>
                  <a:pt x="232" y="378"/>
                  <a:pt x="232" y="378"/>
                  <a:pt x="232" y="378"/>
                </a:cubicBezTo>
                <a:cubicBezTo>
                  <a:pt x="231" y="378"/>
                  <a:pt x="231" y="378"/>
                  <a:pt x="231" y="378"/>
                </a:cubicBezTo>
                <a:cubicBezTo>
                  <a:pt x="230" y="378"/>
                  <a:pt x="230" y="378"/>
                  <a:pt x="230" y="378"/>
                </a:cubicBezTo>
                <a:cubicBezTo>
                  <a:pt x="230" y="379"/>
                  <a:pt x="230" y="379"/>
                  <a:pt x="230" y="379"/>
                </a:cubicBezTo>
                <a:cubicBezTo>
                  <a:pt x="228" y="379"/>
                  <a:pt x="228" y="379"/>
                  <a:pt x="228" y="379"/>
                </a:cubicBezTo>
                <a:cubicBezTo>
                  <a:pt x="228" y="380"/>
                  <a:pt x="228" y="380"/>
                  <a:pt x="228" y="380"/>
                </a:cubicBezTo>
                <a:cubicBezTo>
                  <a:pt x="228" y="381"/>
                  <a:pt x="228" y="381"/>
                  <a:pt x="228" y="381"/>
                </a:cubicBezTo>
                <a:cubicBezTo>
                  <a:pt x="227" y="382"/>
                  <a:pt x="227" y="382"/>
                  <a:pt x="227" y="382"/>
                </a:cubicBezTo>
                <a:cubicBezTo>
                  <a:pt x="226" y="381"/>
                  <a:pt x="226" y="381"/>
                  <a:pt x="226" y="381"/>
                </a:cubicBezTo>
                <a:cubicBezTo>
                  <a:pt x="226" y="381"/>
                  <a:pt x="226" y="381"/>
                  <a:pt x="226" y="381"/>
                </a:cubicBezTo>
                <a:cubicBezTo>
                  <a:pt x="225" y="382"/>
                  <a:pt x="225" y="382"/>
                  <a:pt x="225" y="382"/>
                </a:cubicBezTo>
                <a:cubicBezTo>
                  <a:pt x="223" y="382"/>
                  <a:pt x="223" y="382"/>
                  <a:pt x="223" y="382"/>
                </a:cubicBezTo>
                <a:cubicBezTo>
                  <a:pt x="221" y="383"/>
                  <a:pt x="221" y="383"/>
                  <a:pt x="221" y="383"/>
                </a:cubicBezTo>
                <a:cubicBezTo>
                  <a:pt x="221" y="384"/>
                  <a:pt x="221" y="384"/>
                  <a:pt x="221" y="384"/>
                </a:cubicBezTo>
                <a:cubicBezTo>
                  <a:pt x="219" y="384"/>
                  <a:pt x="219" y="384"/>
                  <a:pt x="219" y="384"/>
                </a:cubicBezTo>
                <a:cubicBezTo>
                  <a:pt x="218" y="385"/>
                  <a:pt x="218" y="385"/>
                  <a:pt x="218" y="385"/>
                </a:cubicBezTo>
                <a:cubicBezTo>
                  <a:pt x="216" y="385"/>
                  <a:pt x="216" y="385"/>
                  <a:pt x="216" y="385"/>
                </a:cubicBezTo>
                <a:cubicBezTo>
                  <a:pt x="214" y="385"/>
                  <a:pt x="214" y="385"/>
                  <a:pt x="214" y="385"/>
                </a:cubicBezTo>
                <a:cubicBezTo>
                  <a:pt x="214" y="386"/>
                  <a:pt x="214" y="386"/>
                  <a:pt x="214" y="386"/>
                </a:cubicBezTo>
                <a:cubicBezTo>
                  <a:pt x="213" y="387"/>
                  <a:pt x="213" y="387"/>
                  <a:pt x="213" y="387"/>
                </a:cubicBezTo>
                <a:cubicBezTo>
                  <a:pt x="213" y="386"/>
                  <a:pt x="213" y="386"/>
                  <a:pt x="213" y="386"/>
                </a:cubicBezTo>
                <a:cubicBezTo>
                  <a:pt x="212" y="386"/>
                  <a:pt x="212" y="386"/>
                  <a:pt x="212" y="386"/>
                </a:cubicBezTo>
                <a:cubicBezTo>
                  <a:pt x="210" y="387"/>
                  <a:pt x="210" y="387"/>
                  <a:pt x="210" y="387"/>
                </a:cubicBezTo>
                <a:cubicBezTo>
                  <a:pt x="210" y="387"/>
                  <a:pt x="210" y="387"/>
                  <a:pt x="210" y="387"/>
                </a:cubicBezTo>
                <a:cubicBezTo>
                  <a:pt x="210" y="388"/>
                  <a:pt x="210" y="388"/>
                  <a:pt x="210" y="388"/>
                </a:cubicBezTo>
                <a:cubicBezTo>
                  <a:pt x="209" y="387"/>
                  <a:pt x="209" y="387"/>
                  <a:pt x="209" y="387"/>
                </a:cubicBezTo>
                <a:cubicBezTo>
                  <a:pt x="207" y="387"/>
                  <a:pt x="207" y="387"/>
                  <a:pt x="207" y="387"/>
                </a:cubicBezTo>
                <a:cubicBezTo>
                  <a:pt x="207" y="387"/>
                  <a:pt x="207" y="387"/>
                  <a:pt x="207" y="387"/>
                </a:cubicBezTo>
                <a:cubicBezTo>
                  <a:pt x="206" y="387"/>
                  <a:pt x="206" y="387"/>
                  <a:pt x="206" y="387"/>
                </a:cubicBezTo>
                <a:cubicBezTo>
                  <a:pt x="205" y="387"/>
                  <a:pt x="205" y="387"/>
                  <a:pt x="205" y="387"/>
                </a:cubicBezTo>
                <a:cubicBezTo>
                  <a:pt x="204" y="387"/>
                  <a:pt x="204" y="387"/>
                  <a:pt x="204" y="387"/>
                </a:cubicBezTo>
                <a:cubicBezTo>
                  <a:pt x="204" y="388"/>
                  <a:pt x="204" y="388"/>
                  <a:pt x="204" y="388"/>
                </a:cubicBezTo>
                <a:cubicBezTo>
                  <a:pt x="204" y="389"/>
                  <a:pt x="204" y="389"/>
                  <a:pt x="204" y="389"/>
                </a:cubicBezTo>
                <a:cubicBezTo>
                  <a:pt x="204" y="390"/>
                  <a:pt x="204" y="390"/>
                  <a:pt x="204" y="390"/>
                </a:cubicBezTo>
                <a:cubicBezTo>
                  <a:pt x="205" y="390"/>
                  <a:pt x="205" y="390"/>
                  <a:pt x="205" y="390"/>
                </a:cubicBezTo>
                <a:cubicBezTo>
                  <a:pt x="206" y="390"/>
                  <a:pt x="206" y="390"/>
                  <a:pt x="206" y="390"/>
                </a:cubicBezTo>
                <a:cubicBezTo>
                  <a:pt x="207" y="391"/>
                  <a:pt x="207" y="391"/>
                  <a:pt x="207" y="391"/>
                </a:cubicBezTo>
                <a:cubicBezTo>
                  <a:pt x="205" y="392"/>
                  <a:pt x="205" y="392"/>
                  <a:pt x="205" y="392"/>
                </a:cubicBezTo>
                <a:cubicBezTo>
                  <a:pt x="205" y="392"/>
                  <a:pt x="205" y="392"/>
                  <a:pt x="205" y="392"/>
                </a:cubicBezTo>
                <a:cubicBezTo>
                  <a:pt x="205" y="393"/>
                  <a:pt x="205" y="393"/>
                  <a:pt x="205" y="393"/>
                </a:cubicBezTo>
                <a:cubicBezTo>
                  <a:pt x="206" y="393"/>
                  <a:pt x="206" y="393"/>
                  <a:pt x="206" y="393"/>
                </a:cubicBezTo>
                <a:cubicBezTo>
                  <a:pt x="208" y="393"/>
                  <a:pt x="208" y="393"/>
                  <a:pt x="208" y="393"/>
                </a:cubicBezTo>
                <a:cubicBezTo>
                  <a:pt x="209" y="393"/>
                  <a:pt x="209" y="393"/>
                  <a:pt x="209" y="393"/>
                </a:cubicBezTo>
                <a:cubicBezTo>
                  <a:pt x="209" y="393"/>
                  <a:pt x="209" y="393"/>
                  <a:pt x="209" y="393"/>
                </a:cubicBezTo>
                <a:cubicBezTo>
                  <a:pt x="210" y="394"/>
                  <a:pt x="210" y="394"/>
                  <a:pt x="210" y="394"/>
                </a:cubicBezTo>
                <a:cubicBezTo>
                  <a:pt x="212" y="394"/>
                  <a:pt x="212" y="394"/>
                  <a:pt x="212" y="394"/>
                </a:cubicBezTo>
                <a:cubicBezTo>
                  <a:pt x="212" y="395"/>
                  <a:pt x="212" y="395"/>
                  <a:pt x="212" y="395"/>
                </a:cubicBezTo>
                <a:cubicBezTo>
                  <a:pt x="211" y="396"/>
                  <a:pt x="211" y="396"/>
                  <a:pt x="211" y="396"/>
                </a:cubicBezTo>
                <a:cubicBezTo>
                  <a:pt x="210" y="396"/>
                  <a:pt x="210" y="396"/>
                  <a:pt x="210" y="396"/>
                </a:cubicBezTo>
                <a:cubicBezTo>
                  <a:pt x="207" y="396"/>
                  <a:pt x="207" y="396"/>
                  <a:pt x="207" y="396"/>
                </a:cubicBezTo>
                <a:cubicBezTo>
                  <a:pt x="206" y="397"/>
                  <a:pt x="206" y="397"/>
                  <a:pt x="206" y="397"/>
                </a:cubicBezTo>
                <a:cubicBezTo>
                  <a:pt x="204" y="399"/>
                  <a:pt x="204" y="399"/>
                  <a:pt x="204" y="399"/>
                </a:cubicBezTo>
                <a:cubicBezTo>
                  <a:pt x="205" y="401"/>
                  <a:pt x="205" y="401"/>
                  <a:pt x="205" y="401"/>
                </a:cubicBezTo>
                <a:cubicBezTo>
                  <a:pt x="205" y="401"/>
                  <a:pt x="205" y="401"/>
                  <a:pt x="205" y="401"/>
                </a:cubicBezTo>
                <a:cubicBezTo>
                  <a:pt x="206" y="402"/>
                  <a:pt x="206" y="402"/>
                  <a:pt x="206" y="402"/>
                </a:cubicBezTo>
                <a:cubicBezTo>
                  <a:pt x="205" y="403"/>
                  <a:pt x="205" y="403"/>
                  <a:pt x="205" y="403"/>
                </a:cubicBezTo>
                <a:cubicBezTo>
                  <a:pt x="205" y="405"/>
                  <a:pt x="205" y="405"/>
                  <a:pt x="205" y="405"/>
                </a:cubicBezTo>
                <a:cubicBezTo>
                  <a:pt x="203" y="405"/>
                  <a:pt x="203" y="405"/>
                  <a:pt x="203" y="405"/>
                </a:cubicBezTo>
                <a:cubicBezTo>
                  <a:pt x="203" y="405"/>
                  <a:pt x="203" y="405"/>
                  <a:pt x="203" y="405"/>
                </a:cubicBezTo>
                <a:cubicBezTo>
                  <a:pt x="204" y="406"/>
                  <a:pt x="204" y="406"/>
                  <a:pt x="204" y="406"/>
                </a:cubicBezTo>
                <a:cubicBezTo>
                  <a:pt x="204" y="407"/>
                  <a:pt x="204" y="407"/>
                  <a:pt x="204" y="407"/>
                </a:cubicBezTo>
                <a:cubicBezTo>
                  <a:pt x="205" y="407"/>
                  <a:pt x="205" y="407"/>
                  <a:pt x="205" y="407"/>
                </a:cubicBezTo>
                <a:cubicBezTo>
                  <a:pt x="206" y="408"/>
                  <a:pt x="206" y="408"/>
                  <a:pt x="206" y="408"/>
                </a:cubicBezTo>
                <a:cubicBezTo>
                  <a:pt x="208" y="408"/>
                  <a:pt x="208" y="408"/>
                  <a:pt x="208" y="408"/>
                </a:cubicBezTo>
                <a:cubicBezTo>
                  <a:pt x="208" y="409"/>
                  <a:pt x="208" y="409"/>
                  <a:pt x="208" y="409"/>
                </a:cubicBezTo>
                <a:cubicBezTo>
                  <a:pt x="209" y="410"/>
                  <a:pt x="209" y="410"/>
                  <a:pt x="209" y="410"/>
                </a:cubicBezTo>
                <a:cubicBezTo>
                  <a:pt x="211" y="410"/>
                  <a:pt x="211" y="410"/>
                  <a:pt x="211" y="410"/>
                </a:cubicBezTo>
                <a:cubicBezTo>
                  <a:pt x="211" y="410"/>
                  <a:pt x="211" y="410"/>
                  <a:pt x="211" y="410"/>
                </a:cubicBezTo>
                <a:cubicBezTo>
                  <a:pt x="212" y="415"/>
                  <a:pt x="212" y="415"/>
                  <a:pt x="212" y="415"/>
                </a:cubicBezTo>
                <a:cubicBezTo>
                  <a:pt x="211" y="416"/>
                  <a:pt x="211" y="416"/>
                  <a:pt x="211" y="416"/>
                </a:cubicBezTo>
                <a:cubicBezTo>
                  <a:pt x="209" y="417"/>
                  <a:pt x="209" y="417"/>
                  <a:pt x="209" y="417"/>
                </a:cubicBezTo>
                <a:cubicBezTo>
                  <a:pt x="207" y="417"/>
                  <a:pt x="207" y="417"/>
                  <a:pt x="207" y="417"/>
                </a:cubicBezTo>
                <a:cubicBezTo>
                  <a:pt x="205" y="415"/>
                  <a:pt x="205" y="415"/>
                  <a:pt x="205" y="415"/>
                </a:cubicBezTo>
                <a:cubicBezTo>
                  <a:pt x="205" y="416"/>
                  <a:pt x="205" y="416"/>
                  <a:pt x="205" y="416"/>
                </a:cubicBezTo>
                <a:cubicBezTo>
                  <a:pt x="205" y="417"/>
                  <a:pt x="205" y="417"/>
                  <a:pt x="205" y="417"/>
                </a:cubicBezTo>
                <a:cubicBezTo>
                  <a:pt x="204" y="419"/>
                  <a:pt x="204" y="419"/>
                  <a:pt x="204" y="419"/>
                </a:cubicBezTo>
                <a:cubicBezTo>
                  <a:pt x="203" y="419"/>
                  <a:pt x="203" y="419"/>
                  <a:pt x="203" y="419"/>
                </a:cubicBezTo>
                <a:cubicBezTo>
                  <a:pt x="200" y="418"/>
                  <a:pt x="200" y="418"/>
                  <a:pt x="200" y="418"/>
                </a:cubicBezTo>
                <a:cubicBezTo>
                  <a:pt x="198" y="418"/>
                  <a:pt x="198" y="418"/>
                  <a:pt x="198" y="418"/>
                </a:cubicBezTo>
                <a:cubicBezTo>
                  <a:pt x="198" y="417"/>
                  <a:pt x="198" y="417"/>
                  <a:pt x="198" y="417"/>
                </a:cubicBezTo>
                <a:cubicBezTo>
                  <a:pt x="197" y="418"/>
                  <a:pt x="197" y="418"/>
                  <a:pt x="197" y="418"/>
                </a:cubicBezTo>
                <a:cubicBezTo>
                  <a:pt x="196" y="417"/>
                  <a:pt x="196" y="417"/>
                  <a:pt x="196" y="417"/>
                </a:cubicBezTo>
                <a:cubicBezTo>
                  <a:pt x="195" y="416"/>
                  <a:pt x="195" y="416"/>
                  <a:pt x="195" y="416"/>
                </a:cubicBezTo>
                <a:cubicBezTo>
                  <a:pt x="196" y="415"/>
                  <a:pt x="196" y="415"/>
                  <a:pt x="196" y="415"/>
                </a:cubicBezTo>
                <a:cubicBezTo>
                  <a:pt x="196" y="414"/>
                  <a:pt x="196" y="414"/>
                  <a:pt x="196" y="414"/>
                </a:cubicBezTo>
                <a:cubicBezTo>
                  <a:pt x="195" y="414"/>
                  <a:pt x="195" y="414"/>
                  <a:pt x="195" y="414"/>
                </a:cubicBezTo>
                <a:cubicBezTo>
                  <a:pt x="194" y="413"/>
                  <a:pt x="194" y="413"/>
                  <a:pt x="194" y="413"/>
                </a:cubicBezTo>
                <a:cubicBezTo>
                  <a:pt x="193" y="414"/>
                  <a:pt x="193" y="414"/>
                  <a:pt x="193" y="414"/>
                </a:cubicBezTo>
                <a:cubicBezTo>
                  <a:pt x="192" y="414"/>
                  <a:pt x="192" y="414"/>
                  <a:pt x="192" y="414"/>
                </a:cubicBezTo>
                <a:cubicBezTo>
                  <a:pt x="191" y="414"/>
                  <a:pt x="191" y="414"/>
                  <a:pt x="191" y="414"/>
                </a:cubicBezTo>
                <a:cubicBezTo>
                  <a:pt x="191" y="416"/>
                  <a:pt x="191" y="416"/>
                  <a:pt x="191" y="416"/>
                </a:cubicBezTo>
                <a:cubicBezTo>
                  <a:pt x="189" y="416"/>
                  <a:pt x="189" y="416"/>
                  <a:pt x="189" y="416"/>
                </a:cubicBezTo>
                <a:cubicBezTo>
                  <a:pt x="189" y="415"/>
                  <a:pt x="189" y="415"/>
                  <a:pt x="189" y="415"/>
                </a:cubicBezTo>
                <a:cubicBezTo>
                  <a:pt x="187" y="414"/>
                  <a:pt x="187" y="414"/>
                  <a:pt x="187" y="414"/>
                </a:cubicBezTo>
                <a:cubicBezTo>
                  <a:pt x="185" y="414"/>
                  <a:pt x="185" y="414"/>
                  <a:pt x="185" y="414"/>
                </a:cubicBezTo>
                <a:cubicBezTo>
                  <a:pt x="185" y="415"/>
                  <a:pt x="185" y="415"/>
                  <a:pt x="185" y="415"/>
                </a:cubicBezTo>
                <a:cubicBezTo>
                  <a:pt x="184" y="414"/>
                  <a:pt x="184" y="414"/>
                  <a:pt x="184" y="414"/>
                </a:cubicBezTo>
                <a:cubicBezTo>
                  <a:pt x="183" y="414"/>
                  <a:pt x="183" y="414"/>
                  <a:pt x="183" y="414"/>
                </a:cubicBezTo>
                <a:cubicBezTo>
                  <a:pt x="183" y="415"/>
                  <a:pt x="183" y="415"/>
                  <a:pt x="183" y="415"/>
                </a:cubicBezTo>
                <a:cubicBezTo>
                  <a:pt x="182" y="416"/>
                  <a:pt x="182" y="416"/>
                  <a:pt x="182" y="416"/>
                </a:cubicBezTo>
                <a:cubicBezTo>
                  <a:pt x="182" y="418"/>
                  <a:pt x="182" y="418"/>
                  <a:pt x="182" y="418"/>
                </a:cubicBezTo>
                <a:cubicBezTo>
                  <a:pt x="180" y="419"/>
                  <a:pt x="180" y="419"/>
                  <a:pt x="180" y="419"/>
                </a:cubicBezTo>
                <a:cubicBezTo>
                  <a:pt x="179" y="419"/>
                  <a:pt x="179" y="419"/>
                  <a:pt x="179" y="419"/>
                </a:cubicBezTo>
                <a:cubicBezTo>
                  <a:pt x="178" y="417"/>
                  <a:pt x="178" y="417"/>
                  <a:pt x="178" y="417"/>
                </a:cubicBezTo>
                <a:cubicBezTo>
                  <a:pt x="176" y="417"/>
                  <a:pt x="176" y="417"/>
                  <a:pt x="176" y="417"/>
                </a:cubicBezTo>
                <a:cubicBezTo>
                  <a:pt x="175" y="416"/>
                  <a:pt x="175" y="416"/>
                  <a:pt x="175" y="416"/>
                </a:cubicBezTo>
                <a:cubicBezTo>
                  <a:pt x="174" y="417"/>
                  <a:pt x="174" y="417"/>
                  <a:pt x="174" y="417"/>
                </a:cubicBezTo>
                <a:cubicBezTo>
                  <a:pt x="174" y="418"/>
                  <a:pt x="174" y="418"/>
                  <a:pt x="174" y="418"/>
                </a:cubicBezTo>
                <a:cubicBezTo>
                  <a:pt x="173" y="419"/>
                  <a:pt x="173" y="419"/>
                  <a:pt x="173" y="419"/>
                </a:cubicBezTo>
                <a:cubicBezTo>
                  <a:pt x="172" y="419"/>
                  <a:pt x="172" y="419"/>
                  <a:pt x="172" y="419"/>
                </a:cubicBezTo>
                <a:cubicBezTo>
                  <a:pt x="172" y="418"/>
                  <a:pt x="172" y="418"/>
                  <a:pt x="172" y="418"/>
                </a:cubicBezTo>
                <a:cubicBezTo>
                  <a:pt x="172" y="417"/>
                  <a:pt x="172" y="417"/>
                  <a:pt x="172" y="417"/>
                </a:cubicBezTo>
                <a:cubicBezTo>
                  <a:pt x="171" y="417"/>
                  <a:pt x="171" y="417"/>
                  <a:pt x="171" y="417"/>
                </a:cubicBezTo>
                <a:cubicBezTo>
                  <a:pt x="169" y="415"/>
                  <a:pt x="169" y="415"/>
                  <a:pt x="169" y="415"/>
                </a:cubicBezTo>
                <a:cubicBezTo>
                  <a:pt x="168" y="414"/>
                  <a:pt x="168" y="414"/>
                  <a:pt x="168" y="414"/>
                </a:cubicBezTo>
                <a:cubicBezTo>
                  <a:pt x="167" y="414"/>
                  <a:pt x="167" y="414"/>
                  <a:pt x="167" y="414"/>
                </a:cubicBezTo>
                <a:cubicBezTo>
                  <a:pt x="165" y="413"/>
                  <a:pt x="165" y="413"/>
                  <a:pt x="165" y="413"/>
                </a:cubicBezTo>
                <a:cubicBezTo>
                  <a:pt x="165" y="413"/>
                  <a:pt x="165" y="413"/>
                  <a:pt x="165" y="413"/>
                </a:cubicBezTo>
                <a:cubicBezTo>
                  <a:pt x="164" y="412"/>
                  <a:pt x="164" y="412"/>
                  <a:pt x="164" y="412"/>
                </a:cubicBezTo>
                <a:cubicBezTo>
                  <a:pt x="163" y="412"/>
                  <a:pt x="163" y="412"/>
                  <a:pt x="163" y="412"/>
                </a:cubicBezTo>
                <a:cubicBezTo>
                  <a:pt x="161" y="412"/>
                  <a:pt x="161" y="412"/>
                  <a:pt x="161" y="412"/>
                </a:cubicBezTo>
                <a:cubicBezTo>
                  <a:pt x="159" y="411"/>
                  <a:pt x="159" y="411"/>
                  <a:pt x="159" y="411"/>
                </a:cubicBezTo>
                <a:cubicBezTo>
                  <a:pt x="159" y="410"/>
                  <a:pt x="159" y="410"/>
                  <a:pt x="159" y="410"/>
                </a:cubicBezTo>
                <a:cubicBezTo>
                  <a:pt x="158" y="410"/>
                  <a:pt x="158" y="410"/>
                  <a:pt x="158" y="410"/>
                </a:cubicBezTo>
                <a:cubicBezTo>
                  <a:pt x="156" y="411"/>
                  <a:pt x="156" y="411"/>
                  <a:pt x="156" y="411"/>
                </a:cubicBezTo>
                <a:cubicBezTo>
                  <a:pt x="155" y="411"/>
                  <a:pt x="155" y="411"/>
                  <a:pt x="155" y="411"/>
                </a:cubicBezTo>
                <a:cubicBezTo>
                  <a:pt x="155" y="411"/>
                  <a:pt x="155" y="411"/>
                  <a:pt x="155" y="411"/>
                </a:cubicBezTo>
                <a:cubicBezTo>
                  <a:pt x="154" y="412"/>
                  <a:pt x="154" y="412"/>
                  <a:pt x="154" y="412"/>
                </a:cubicBezTo>
                <a:cubicBezTo>
                  <a:pt x="154" y="411"/>
                  <a:pt x="154" y="411"/>
                  <a:pt x="154" y="411"/>
                </a:cubicBezTo>
                <a:cubicBezTo>
                  <a:pt x="153" y="412"/>
                  <a:pt x="153" y="412"/>
                  <a:pt x="153" y="412"/>
                </a:cubicBezTo>
                <a:cubicBezTo>
                  <a:pt x="153" y="413"/>
                  <a:pt x="153" y="413"/>
                  <a:pt x="153" y="413"/>
                </a:cubicBezTo>
                <a:cubicBezTo>
                  <a:pt x="152" y="413"/>
                  <a:pt x="152" y="413"/>
                  <a:pt x="152" y="413"/>
                </a:cubicBezTo>
                <a:cubicBezTo>
                  <a:pt x="151" y="413"/>
                  <a:pt x="151" y="413"/>
                  <a:pt x="151" y="413"/>
                </a:cubicBezTo>
                <a:cubicBezTo>
                  <a:pt x="152" y="412"/>
                  <a:pt x="152" y="412"/>
                  <a:pt x="152" y="412"/>
                </a:cubicBezTo>
                <a:cubicBezTo>
                  <a:pt x="152" y="411"/>
                  <a:pt x="152" y="411"/>
                  <a:pt x="152" y="411"/>
                </a:cubicBezTo>
                <a:cubicBezTo>
                  <a:pt x="151" y="410"/>
                  <a:pt x="151" y="410"/>
                  <a:pt x="151" y="410"/>
                </a:cubicBezTo>
                <a:cubicBezTo>
                  <a:pt x="149" y="409"/>
                  <a:pt x="149" y="409"/>
                  <a:pt x="149" y="409"/>
                </a:cubicBezTo>
                <a:cubicBezTo>
                  <a:pt x="148" y="410"/>
                  <a:pt x="148" y="410"/>
                  <a:pt x="148" y="410"/>
                </a:cubicBezTo>
                <a:cubicBezTo>
                  <a:pt x="149" y="411"/>
                  <a:pt x="149" y="411"/>
                  <a:pt x="149" y="411"/>
                </a:cubicBezTo>
                <a:cubicBezTo>
                  <a:pt x="149" y="412"/>
                  <a:pt x="149" y="412"/>
                  <a:pt x="149" y="412"/>
                </a:cubicBezTo>
                <a:cubicBezTo>
                  <a:pt x="147" y="412"/>
                  <a:pt x="147" y="412"/>
                  <a:pt x="147" y="412"/>
                </a:cubicBezTo>
                <a:cubicBezTo>
                  <a:pt x="146" y="413"/>
                  <a:pt x="146" y="413"/>
                  <a:pt x="146" y="413"/>
                </a:cubicBezTo>
                <a:cubicBezTo>
                  <a:pt x="146" y="414"/>
                  <a:pt x="146" y="414"/>
                  <a:pt x="146" y="414"/>
                </a:cubicBezTo>
                <a:cubicBezTo>
                  <a:pt x="145" y="414"/>
                  <a:pt x="145" y="414"/>
                  <a:pt x="145" y="414"/>
                </a:cubicBezTo>
                <a:cubicBezTo>
                  <a:pt x="143" y="416"/>
                  <a:pt x="143" y="416"/>
                  <a:pt x="143" y="416"/>
                </a:cubicBezTo>
                <a:cubicBezTo>
                  <a:pt x="143" y="417"/>
                  <a:pt x="143" y="417"/>
                  <a:pt x="143" y="417"/>
                </a:cubicBezTo>
                <a:cubicBezTo>
                  <a:pt x="143" y="418"/>
                  <a:pt x="143" y="418"/>
                  <a:pt x="143" y="418"/>
                </a:cubicBezTo>
                <a:cubicBezTo>
                  <a:pt x="143" y="420"/>
                  <a:pt x="143" y="420"/>
                  <a:pt x="143" y="420"/>
                </a:cubicBezTo>
                <a:cubicBezTo>
                  <a:pt x="141" y="420"/>
                  <a:pt x="141" y="420"/>
                  <a:pt x="141" y="420"/>
                </a:cubicBezTo>
                <a:cubicBezTo>
                  <a:pt x="140" y="420"/>
                  <a:pt x="140" y="420"/>
                  <a:pt x="140" y="420"/>
                </a:cubicBezTo>
                <a:cubicBezTo>
                  <a:pt x="141" y="425"/>
                  <a:pt x="141" y="425"/>
                  <a:pt x="141" y="425"/>
                </a:cubicBezTo>
                <a:cubicBezTo>
                  <a:pt x="140" y="425"/>
                  <a:pt x="140" y="425"/>
                  <a:pt x="140" y="425"/>
                </a:cubicBezTo>
                <a:cubicBezTo>
                  <a:pt x="140" y="427"/>
                  <a:pt x="140" y="427"/>
                  <a:pt x="140" y="427"/>
                </a:cubicBezTo>
                <a:cubicBezTo>
                  <a:pt x="138" y="428"/>
                  <a:pt x="138" y="428"/>
                  <a:pt x="138" y="428"/>
                </a:cubicBezTo>
                <a:cubicBezTo>
                  <a:pt x="137" y="426"/>
                  <a:pt x="137" y="426"/>
                  <a:pt x="137" y="426"/>
                </a:cubicBezTo>
                <a:cubicBezTo>
                  <a:pt x="136" y="425"/>
                  <a:pt x="136" y="425"/>
                  <a:pt x="136" y="425"/>
                </a:cubicBezTo>
                <a:cubicBezTo>
                  <a:pt x="133" y="422"/>
                  <a:pt x="133" y="422"/>
                  <a:pt x="133" y="422"/>
                </a:cubicBezTo>
                <a:cubicBezTo>
                  <a:pt x="132" y="423"/>
                  <a:pt x="132" y="423"/>
                  <a:pt x="132" y="423"/>
                </a:cubicBezTo>
                <a:cubicBezTo>
                  <a:pt x="132" y="425"/>
                  <a:pt x="132" y="425"/>
                  <a:pt x="132" y="425"/>
                </a:cubicBezTo>
                <a:cubicBezTo>
                  <a:pt x="130" y="427"/>
                  <a:pt x="130" y="427"/>
                  <a:pt x="130" y="427"/>
                </a:cubicBezTo>
                <a:cubicBezTo>
                  <a:pt x="129" y="428"/>
                  <a:pt x="129" y="428"/>
                  <a:pt x="129" y="428"/>
                </a:cubicBezTo>
                <a:cubicBezTo>
                  <a:pt x="129" y="431"/>
                  <a:pt x="129" y="431"/>
                  <a:pt x="129" y="431"/>
                </a:cubicBezTo>
                <a:cubicBezTo>
                  <a:pt x="130" y="432"/>
                  <a:pt x="130" y="432"/>
                  <a:pt x="130" y="432"/>
                </a:cubicBezTo>
                <a:cubicBezTo>
                  <a:pt x="130" y="436"/>
                  <a:pt x="130" y="436"/>
                  <a:pt x="130" y="436"/>
                </a:cubicBezTo>
                <a:cubicBezTo>
                  <a:pt x="129" y="438"/>
                  <a:pt x="129" y="438"/>
                  <a:pt x="129" y="438"/>
                </a:cubicBezTo>
                <a:cubicBezTo>
                  <a:pt x="131" y="439"/>
                  <a:pt x="131" y="439"/>
                  <a:pt x="131" y="439"/>
                </a:cubicBezTo>
                <a:cubicBezTo>
                  <a:pt x="132" y="441"/>
                  <a:pt x="132" y="441"/>
                  <a:pt x="132" y="441"/>
                </a:cubicBezTo>
                <a:cubicBezTo>
                  <a:pt x="132" y="441"/>
                  <a:pt x="132" y="441"/>
                  <a:pt x="132" y="441"/>
                </a:cubicBezTo>
                <a:cubicBezTo>
                  <a:pt x="134" y="443"/>
                  <a:pt x="134" y="443"/>
                  <a:pt x="134" y="443"/>
                </a:cubicBezTo>
                <a:cubicBezTo>
                  <a:pt x="135" y="442"/>
                  <a:pt x="135" y="442"/>
                  <a:pt x="135" y="442"/>
                </a:cubicBezTo>
                <a:cubicBezTo>
                  <a:pt x="139" y="443"/>
                  <a:pt x="139" y="443"/>
                  <a:pt x="139" y="443"/>
                </a:cubicBezTo>
                <a:cubicBezTo>
                  <a:pt x="142" y="446"/>
                  <a:pt x="142" y="446"/>
                  <a:pt x="142" y="446"/>
                </a:cubicBezTo>
                <a:cubicBezTo>
                  <a:pt x="144" y="450"/>
                  <a:pt x="144" y="450"/>
                  <a:pt x="144" y="450"/>
                </a:cubicBezTo>
                <a:cubicBezTo>
                  <a:pt x="142" y="450"/>
                  <a:pt x="142" y="450"/>
                  <a:pt x="142" y="450"/>
                </a:cubicBezTo>
                <a:cubicBezTo>
                  <a:pt x="142" y="451"/>
                  <a:pt x="142" y="451"/>
                  <a:pt x="142" y="451"/>
                </a:cubicBezTo>
                <a:cubicBezTo>
                  <a:pt x="144" y="453"/>
                  <a:pt x="144" y="453"/>
                  <a:pt x="144" y="453"/>
                </a:cubicBezTo>
                <a:cubicBezTo>
                  <a:pt x="145" y="452"/>
                  <a:pt x="145" y="452"/>
                  <a:pt x="145" y="452"/>
                </a:cubicBezTo>
                <a:cubicBezTo>
                  <a:pt x="147" y="453"/>
                  <a:pt x="147" y="453"/>
                  <a:pt x="147" y="453"/>
                </a:cubicBezTo>
                <a:cubicBezTo>
                  <a:pt x="147" y="453"/>
                  <a:pt x="147" y="453"/>
                  <a:pt x="147" y="453"/>
                </a:cubicBezTo>
                <a:cubicBezTo>
                  <a:pt x="147" y="453"/>
                  <a:pt x="147" y="453"/>
                  <a:pt x="147" y="453"/>
                </a:cubicBezTo>
                <a:cubicBezTo>
                  <a:pt x="147" y="454"/>
                  <a:pt x="147" y="454"/>
                  <a:pt x="147" y="454"/>
                </a:cubicBezTo>
                <a:cubicBezTo>
                  <a:pt x="147" y="455"/>
                  <a:pt x="147" y="455"/>
                  <a:pt x="147" y="455"/>
                </a:cubicBezTo>
                <a:cubicBezTo>
                  <a:pt x="146" y="455"/>
                  <a:pt x="146" y="455"/>
                  <a:pt x="146" y="455"/>
                </a:cubicBezTo>
                <a:cubicBezTo>
                  <a:pt x="146" y="455"/>
                  <a:pt x="146" y="455"/>
                  <a:pt x="146" y="455"/>
                </a:cubicBezTo>
                <a:cubicBezTo>
                  <a:pt x="146" y="456"/>
                  <a:pt x="146" y="456"/>
                  <a:pt x="146" y="456"/>
                </a:cubicBezTo>
                <a:cubicBezTo>
                  <a:pt x="146" y="456"/>
                  <a:pt x="146" y="456"/>
                  <a:pt x="146" y="456"/>
                </a:cubicBezTo>
                <a:cubicBezTo>
                  <a:pt x="146" y="456"/>
                  <a:pt x="146" y="456"/>
                  <a:pt x="146" y="456"/>
                </a:cubicBezTo>
                <a:cubicBezTo>
                  <a:pt x="146" y="457"/>
                  <a:pt x="146" y="457"/>
                  <a:pt x="146" y="457"/>
                </a:cubicBezTo>
                <a:cubicBezTo>
                  <a:pt x="145" y="457"/>
                  <a:pt x="145" y="457"/>
                  <a:pt x="145" y="457"/>
                </a:cubicBezTo>
                <a:cubicBezTo>
                  <a:pt x="145" y="457"/>
                  <a:pt x="145" y="457"/>
                  <a:pt x="145" y="457"/>
                </a:cubicBezTo>
                <a:cubicBezTo>
                  <a:pt x="144" y="457"/>
                  <a:pt x="144" y="457"/>
                  <a:pt x="144" y="457"/>
                </a:cubicBezTo>
                <a:cubicBezTo>
                  <a:pt x="143" y="457"/>
                  <a:pt x="143" y="457"/>
                  <a:pt x="143" y="457"/>
                </a:cubicBezTo>
                <a:cubicBezTo>
                  <a:pt x="145" y="458"/>
                  <a:pt x="145" y="458"/>
                  <a:pt x="145" y="458"/>
                </a:cubicBezTo>
                <a:cubicBezTo>
                  <a:pt x="145" y="459"/>
                  <a:pt x="145" y="459"/>
                  <a:pt x="145" y="459"/>
                </a:cubicBezTo>
                <a:cubicBezTo>
                  <a:pt x="145" y="459"/>
                  <a:pt x="145" y="459"/>
                  <a:pt x="145" y="459"/>
                </a:cubicBezTo>
                <a:cubicBezTo>
                  <a:pt x="144" y="458"/>
                  <a:pt x="144" y="458"/>
                  <a:pt x="144" y="458"/>
                </a:cubicBezTo>
                <a:cubicBezTo>
                  <a:pt x="144" y="458"/>
                  <a:pt x="143" y="459"/>
                  <a:pt x="143" y="459"/>
                </a:cubicBezTo>
                <a:cubicBezTo>
                  <a:pt x="143" y="459"/>
                  <a:pt x="142" y="458"/>
                  <a:pt x="142" y="458"/>
                </a:cubicBezTo>
                <a:cubicBezTo>
                  <a:pt x="142" y="458"/>
                  <a:pt x="142" y="458"/>
                  <a:pt x="142" y="458"/>
                </a:cubicBezTo>
                <a:cubicBezTo>
                  <a:pt x="143" y="459"/>
                  <a:pt x="143" y="459"/>
                  <a:pt x="143" y="459"/>
                </a:cubicBezTo>
                <a:cubicBezTo>
                  <a:pt x="143" y="459"/>
                  <a:pt x="143" y="459"/>
                  <a:pt x="143" y="459"/>
                </a:cubicBezTo>
                <a:cubicBezTo>
                  <a:pt x="142" y="460"/>
                  <a:pt x="142" y="460"/>
                  <a:pt x="142" y="460"/>
                </a:cubicBezTo>
                <a:cubicBezTo>
                  <a:pt x="141" y="460"/>
                  <a:pt x="141" y="460"/>
                  <a:pt x="141" y="460"/>
                </a:cubicBezTo>
                <a:cubicBezTo>
                  <a:pt x="141" y="460"/>
                  <a:pt x="141" y="460"/>
                  <a:pt x="141" y="460"/>
                </a:cubicBezTo>
                <a:cubicBezTo>
                  <a:pt x="140" y="460"/>
                  <a:pt x="140" y="460"/>
                  <a:pt x="140" y="460"/>
                </a:cubicBezTo>
                <a:cubicBezTo>
                  <a:pt x="140" y="461"/>
                  <a:pt x="140" y="461"/>
                  <a:pt x="140" y="461"/>
                </a:cubicBezTo>
                <a:cubicBezTo>
                  <a:pt x="139" y="461"/>
                  <a:pt x="139" y="461"/>
                  <a:pt x="139" y="461"/>
                </a:cubicBezTo>
                <a:cubicBezTo>
                  <a:pt x="139" y="460"/>
                  <a:pt x="139" y="460"/>
                  <a:pt x="139" y="460"/>
                </a:cubicBezTo>
                <a:cubicBezTo>
                  <a:pt x="138" y="460"/>
                  <a:pt x="138" y="460"/>
                  <a:pt x="138" y="460"/>
                </a:cubicBezTo>
                <a:cubicBezTo>
                  <a:pt x="138" y="461"/>
                  <a:pt x="138" y="461"/>
                  <a:pt x="138" y="461"/>
                </a:cubicBezTo>
                <a:cubicBezTo>
                  <a:pt x="137" y="462"/>
                  <a:pt x="137" y="462"/>
                  <a:pt x="137" y="462"/>
                </a:cubicBezTo>
                <a:cubicBezTo>
                  <a:pt x="137" y="463"/>
                  <a:pt x="137" y="463"/>
                  <a:pt x="137" y="463"/>
                </a:cubicBezTo>
                <a:cubicBezTo>
                  <a:pt x="137" y="464"/>
                  <a:pt x="137" y="464"/>
                  <a:pt x="137" y="464"/>
                </a:cubicBezTo>
                <a:cubicBezTo>
                  <a:pt x="136" y="465"/>
                  <a:pt x="136" y="465"/>
                  <a:pt x="136" y="465"/>
                </a:cubicBezTo>
                <a:cubicBezTo>
                  <a:pt x="136" y="466"/>
                  <a:pt x="136" y="466"/>
                  <a:pt x="136" y="466"/>
                </a:cubicBezTo>
                <a:cubicBezTo>
                  <a:pt x="136" y="468"/>
                  <a:pt x="136" y="468"/>
                  <a:pt x="136" y="468"/>
                </a:cubicBezTo>
                <a:cubicBezTo>
                  <a:pt x="135" y="469"/>
                  <a:pt x="135" y="469"/>
                  <a:pt x="135" y="469"/>
                </a:cubicBezTo>
                <a:cubicBezTo>
                  <a:pt x="135" y="470"/>
                  <a:pt x="135" y="470"/>
                  <a:pt x="135" y="470"/>
                </a:cubicBezTo>
                <a:cubicBezTo>
                  <a:pt x="135" y="472"/>
                  <a:pt x="135" y="472"/>
                  <a:pt x="135" y="472"/>
                </a:cubicBezTo>
                <a:cubicBezTo>
                  <a:pt x="136" y="472"/>
                  <a:pt x="136" y="472"/>
                  <a:pt x="136" y="472"/>
                </a:cubicBezTo>
                <a:cubicBezTo>
                  <a:pt x="137" y="472"/>
                  <a:pt x="137" y="472"/>
                  <a:pt x="137" y="472"/>
                </a:cubicBezTo>
                <a:cubicBezTo>
                  <a:pt x="138" y="473"/>
                  <a:pt x="138" y="473"/>
                  <a:pt x="138" y="473"/>
                </a:cubicBezTo>
                <a:cubicBezTo>
                  <a:pt x="139" y="474"/>
                  <a:pt x="139" y="474"/>
                  <a:pt x="139" y="474"/>
                </a:cubicBezTo>
                <a:cubicBezTo>
                  <a:pt x="139" y="476"/>
                  <a:pt x="139" y="476"/>
                  <a:pt x="139" y="476"/>
                </a:cubicBezTo>
                <a:cubicBezTo>
                  <a:pt x="140" y="476"/>
                  <a:pt x="140" y="476"/>
                  <a:pt x="140" y="476"/>
                </a:cubicBezTo>
                <a:cubicBezTo>
                  <a:pt x="141" y="476"/>
                  <a:pt x="141" y="476"/>
                  <a:pt x="141" y="476"/>
                </a:cubicBezTo>
                <a:cubicBezTo>
                  <a:pt x="142" y="476"/>
                  <a:pt x="142" y="476"/>
                  <a:pt x="142" y="476"/>
                </a:cubicBezTo>
                <a:cubicBezTo>
                  <a:pt x="141" y="477"/>
                  <a:pt x="141" y="477"/>
                  <a:pt x="141" y="477"/>
                </a:cubicBezTo>
                <a:cubicBezTo>
                  <a:pt x="141" y="478"/>
                  <a:pt x="141" y="478"/>
                  <a:pt x="141" y="478"/>
                </a:cubicBezTo>
                <a:cubicBezTo>
                  <a:pt x="140" y="478"/>
                  <a:pt x="140" y="478"/>
                  <a:pt x="140" y="478"/>
                </a:cubicBezTo>
                <a:cubicBezTo>
                  <a:pt x="140" y="479"/>
                  <a:pt x="140" y="479"/>
                  <a:pt x="140" y="479"/>
                </a:cubicBezTo>
                <a:cubicBezTo>
                  <a:pt x="141" y="479"/>
                  <a:pt x="141" y="479"/>
                  <a:pt x="141" y="479"/>
                </a:cubicBezTo>
                <a:cubicBezTo>
                  <a:pt x="141" y="480"/>
                  <a:pt x="141" y="480"/>
                  <a:pt x="141" y="480"/>
                </a:cubicBezTo>
                <a:cubicBezTo>
                  <a:pt x="142" y="480"/>
                  <a:pt x="142" y="480"/>
                  <a:pt x="142" y="480"/>
                </a:cubicBezTo>
                <a:cubicBezTo>
                  <a:pt x="142" y="482"/>
                  <a:pt x="142" y="482"/>
                  <a:pt x="142" y="482"/>
                </a:cubicBezTo>
                <a:cubicBezTo>
                  <a:pt x="143" y="483"/>
                  <a:pt x="143" y="483"/>
                  <a:pt x="143" y="483"/>
                </a:cubicBezTo>
                <a:cubicBezTo>
                  <a:pt x="143" y="485"/>
                  <a:pt x="143" y="485"/>
                  <a:pt x="143" y="485"/>
                </a:cubicBezTo>
                <a:cubicBezTo>
                  <a:pt x="145" y="488"/>
                  <a:pt x="145" y="488"/>
                  <a:pt x="145" y="488"/>
                </a:cubicBezTo>
                <a:cubicBezTo>
                  <a:pt x="149" y="491"/>
                  <a:pt x="149" y="491"/>
                  <a:pt x="149" y="491"/>
                </a:cubicBezTo>
                <a:cubicBezTo>
                  <a:pt x="149" y="491"/>
                  <a:pt x="149" y="491"/>
                  <a:pt x="149" y="491"/>
                </a:cubicBezTo>
                <a:cubicBezTo>
                  <a:pt x="149" y="491"/>
                  <a:pt x="149" y="491"/>
                  <a:pt x="149" y="491"/>
                </a:cubicBezTo>
                <a:cubicBezTo>
                  <a:pt x="147" y="494"/>
                  <a:pt x="147" y="494"/>
                  <a:pt x="147" y="494"/>
                </a:cubicBezTo>
                <a:cubicBezTo>
                  <a:pt x="145" y="495"/>
                  <a:pt x="145" y="495"/>
                  <a:pt x="145" y="495"/>
                </a:cubicBezTo>
                <a:cubicBezTo>
                  <a:pt x="145" y="496"/>
                  <a:pt x="145" y="496"/>
                  <a:pt x="145" y="496"/>
                </a:cubicBezTo>
                <a:cubicBezTo>
                  <a:pt x="142" y="496"/>
                  <a:pt x="142" y="496"/>
                  <a:pt x="142" y="496"/>
                </a:cubicBezTo>
                <a:cubicBezTo>
                  <a:pt x="141" y="494"/>
                  <a:pt x="141" y="494"/>
                  <a:pt x="141" y="494"/>
                </a:cubicBezTo>
                <a:cubicBezTo>
                  <a:pt x="138" y="492"/>
                  <a:pt x="138" y="492"/>
                  <a:pt x="138" y="492"/>
                </a:cubicBezTo>
                <a:cubicBezTo>
                  <a:pt x="136" y="492"/>
                  <a:pt x="136" y="492"/>
                  <a:pt x="136" y="492"/>
                </a:cubicBezTo>
                <a:cubicBezTo>
                  <a:pt x="136" y="494"/>
                  <a:pt x="136" y="494"/>
                  <a:pt x="136" y="494"/>
                </a:cubicBezTo>
                <a:cubicBezTo>
                  <a:pt x="137" y="495"/>
                  <a:pt x="137" y="495"/>
                  <a:pt x="137" y="495"/>
                </a:cubicBezTo>
                <a:cubicBezTo>
                  <a:pt x="138" y="496"/>
                  <a:pt x="138" y="496"/>
                  <a:pt x="138" y="496"/>
                </a:cubicBezTo>
                <a:cubicBezTo>
                  <a:pt x="138" y="498"/>
                  <a:pt x="138" y="498"/>
                  <a:pt x="138" y="498"/>
                </a:cubicBezTo>
                <a:cubicBezTo>
                  <a:pt x="136" y="497"/>
                  <a:pt x="136" y="497"/>
                  <a:pt x="136" y="497"/>
                </a:cubicBezTo>
                <a:cubicBezTo>
                  <a:pt x="133" y="497"/>
                  <a:pt x="133" y="497"/>
                  <a:pt x="133" y="497"/>
                </a:cubicBezTo>
                <a:cubicBezTo>
                  <a:pt x="130" y="495"/>
                  <a:pt x="130" y="495"/>
                  <a:pt x="130" y="495"/>
                </a:cubicBezTo>
                <a:cubicBezTo>
                  <a:pt x="127" y="496"/>
                  <a:pt x="127" y="496"/>
                  <a:pt x="127" y="496"/>
                </a:cubicBezTo>
                <a:cubicBezTo>
                  <a:pt x="127" y="497"/>
                  <a:pt x="127" y="497"/>
                  <a:pt x="127" y="497"/>
                </a:cubicBezTo>
                <a:cubicBezTo>
                  <a:pt x="128" y="498"/>
                  <a:pt x="128" y="498"/>
                  <a:pt x="128" y="498"/>
                </a:cubicBezTo>
                <a:cubicBezTo>
                  <a:pt x="127" y="497"/>
                  <a:pt x="127" y="497"/>
                  <a:pt x="127" y="497"/>
                </a:cubicBezTo>
                <a:cubicBezTo>
                  <a:pt x="123" y="497"/>
                  <a:pt x="123" y="497"/>
                  <a:pt x="123" y="497"/>
                </a:cubicBezTo>
                <a:cubicBezTo>
                  <a:pt x="123" y="497"/>
                  <a:pt x="123" y="497"/>
                  <a:pt x="123" y="497"/>
                </a:cubicBezTo>
                <a:cubicBezTo>
                  <a:pt x="120" y="497"/>
                  <a:pt x="120" y="497"/>
                  <a:pt x="120" y="497"/>
                </a:cubicBezTo>
                <a:cubicBezTo>
                  <a:pt x="118" y="498"/>
                  <a:pt x="118" y="498"/>
                  <a:pt x="118" y="498"/>
                </a:cubicBezTo>
                <a:cubicBezTo>
                  <a:pt x="118" y="498"/>
                  <a:pt x="118" y="498"/>
                  <a:pt x="118" y="498"/>
                </a:cubicBezTo>
                <a:cubicBezTo>
                  <a:pt x="117" y="498"/>
                  <a:pt x="117" y="498"/>
                  <a:pt x="117" y="498"/>
                </a:cubicBezTo>
                <a:cubicBezTo>
                  <a:pt x="114" y="495"/>
                  <a:pt x="114" y="495"/>
                  <a:pt x="114" y="495"/>
                </a:cubicBezTo>
                <a:cubicBezTo>
                  <a:pt x="113" y="495"/>
                  <a:pt x="113" y="495"/>
                  <a:pt x="113" y="495"/>
                </a:cubicBezTo>
                <a:cubicBezTo>
                  <a:pt x="112" y="496"/>
                  <a:pt x="112" y="496"/>
                  <a:pt x="112" y="496"/>
                </a:cubicBezTo>
                <a:cubicBezTo>
                  <a:pt x="111" y="496"/>
                  <a:pt x="111" y="496"/>
                  <a:pt x="111" y="496"/>
                </a:cubicBezTo>
                <a:cubicBezTo>
                  <a:pt x="110" y="495"/>
                  <a:pt x="110" y="495"/>
                  <a:pt x="110" y="495"/>
                </a:cubicBezTo>
                <a:cubicBezTo>
                  <a:pt x="109" y="496"/>
                  <a:pt x="109" y="496"/>
                  <a:pt x="109" y="496"/>
                </a:cubicBezTo>
                <a:cubicBezTo>
                  <a:pt x="108" y="496"/>
                  <a:pt x="108" y="496"/>
                  <a:pt x="108" y="496"/>
                </a:cubicBezTo>
                <a:cubicBezTo>
                  <a:pt x="108" y="495"/>
                  <a:pt x="108" y="495"/>
                  <a:pt x="108" y="495"/>
                </a:cubicBezTo>
                <a:cubicBezTo>
                  <a:pt x="107" y="495"/>
                  <a:pt x="107" y="495"/>
                  <a:pt x="107" y="495"/>
                </a:cubicBezTo>
                <a:cubicBezTo>
                  <a:pt x="107" y="495"/>
                  <a:pt x="107" y="495"/>
                  <a:pt x="107" y="495"/>
                </a:cubicBezTo>
                <a:cubicBezTo>
                  <a:pt x="107" y="494"/>
                  <a:pt x="107" y="494"/>
                  <a:pt x="107" y="494"/>
                </a:cubicBezTo>
                <a:cubicBezTo>
                  <a:pt x="107" y="493"/>
                  <a:pt x="107" y="493"/>
                  <a:pt x="107" y="493"/>
                </a:cubicBezTo>
                <a:cubicBezTo>
                  <a:pt x="108" y="493"/>
                  <a:pt x="108" y="493"/>
                  <a:pt x="108" y="493"/>
                </a:cubicBezTo>
                <a:cubicBezTo>
                  <a:pt x="106" y="491"/>
                  <a:pt x="106" y="491"/>
                  <a:pt x="106" y="491"/>
                </a:cubicBezTo>
                <a:cubicBezTo>
                  <a:pt x="106" y="488"/>
                  <a:pt x="106" y="488"/>
                  <a:pt x="106" y="488"/>
                </a:cubicBezTo>
                <a:cubicBezTo>
                  <a:pt x="105" y="487"/>
                  <a:pt x="105" y="487"/>
                  <a:pt x="105" y="487"/>
                </a:cubicBezTo>
                <a:cubicBezTo>
                  <a:pt x="104" y="485"/>
                  <a:pt x="104" y="485"/>
                  <a:pt x="104" y="485"/>
                </a:cubicBezTo>
                <a:cubicBezTo>
                  <a:pt x="103" y="485"/>
                  <a:pt x="103" y="485"/>
                  <a:pt x="103" y="485"/>
                </a:cubicBezTo>
                <a:cubicBezTo>
                  <a:pt x="102" y="484"/>
                  <a:pt x="102" y="484"/>
                  <a:pt x="102" y="484"/>
                </a:cubicBezTo>
                <a:cubicBezTo>
                  <a:pt x="101" y="483"/>
                  <a:pt x="101" y="483"/>
                  <a:pt x="101" y="483"/>
                </a:cubicBezTo>
                <a:cubicBezTo>
                  <a:pt x="100" y="483"/>
                  <a:pt x="100" y="483"/>
                  <a:pt x="100" y="483"/>
                </a:cubicBezTo>
                <a:cubicBezTo>
                  <a:pt x="100" y="483"/>
                  <a:pt x="100" y="483"/>
                  <a:pt x="100" y="483"/>
                </a:cubicBezTo>
                <a:cubicBezTo>
                  <a:pt x="98" y="482"/>
                  <a:pt x="98" y="482"/>
                  <a:pt x="98" y="482"/>
                </a:cubicBezTo>
                <a:cubicBezTo>
                  <a:pt x="97" y="481"/>
                  <a:pt x="97" y="481"/>
                  <a:pt x="97" y="481"/>
                </a:cubicBezTo>
                <a:cubicBezTo>
                  <a:pt x="97" y="481"/>
                  <a:pt x="97" y="481"/>
                  <a:pt x="97" y="481"/>
                </a:cubicBezTo>
                <a:cubicBezTo>
                  <a:pt x="95" y="481"/>
                  <a:pt x="95" y="481"/>
                  <a:pt x="95" y="481"/>
                </a:cubicBezTo>
                <a:cubicBezTo>
                  <a:pt x="95" y="480"/>
                  <a:pt x="95" y="480"/>
                  <a:pt x="95" y="480"/>
                </a:cubicBezTo>
                <a:cubicBezTo>
                  <a:pt x="94" y="480"/>
                  <a:pt x="94" y="480"/>
                  <a:pt x="94" y="480"/>
                </a:cubicBezTo>
                <a:cubicBezTo>
                  <a:pt x="93" y="479"/>
                  <a:pt x="93" y="479"/>
                  <a:pt x="93" y="479"/>
                </a:cubicBezTo>
                <a:cubicBezTo>
                  <a:pt x="93" y="478"/>
                  <a:pt x="93" y="478"/>
                  <a:pt x="93" y="478"/>
                </a:cubicBezTo>
                <a:cubicBezTo>
                  <a:pt x="92" y="478"/>
                  <a:pt x="92" y="478"/>
                  <a:pt x="92" y="478"/>
                </a:cubicBezTo>
                <a:cubicBezTo>
                  <a:pt x="91" y="476"/>
                  <a:pt x="91" y="476"/>
                  <a:pt x="91" y="476"/>
                </a:cubicBezTo>
                <a:cubicBezTo>
                  <a:pt x="87" y="473"/>
                  <a:pt x="87" y="473"/>
                  <a:pt x="87" y="473"/>
                </a:cubicBezTo>
                <a:cubicBezTo>
                  <a:pt x="85" y="473"/>
                  <a:pt x="85" y="473"/>
                  <a:pt x="85" y="473"/>
                </a:cubicBezTo>
                <a:cubicBezTo>
                  <a:pt x="83" y="471"/>
                  <a:pt x="83" y="471"/>
                  <a:pt x="83" y="471"/>
                </a:cubicBezTo>
                <a:cubicBezTo>
                  <a:pt x="80" y="471"/>
                  <a:pt x="80" y="471"/>
                  <a:pt x="80" y="471"/>
                </a:cubicBezTo>
                <a:cubicBezTo>
                  <a:pt x="79" y="470"/>
                  <a:pt x="79" y="470"/>
                  <a:pt x="79" y="470"/>
                </a:cubicBezTo>
                <a:cubicBezTo>
                  <a:pt x="79" y="469"/>
                  <a:pt x="79" y="469"/>
                  <a:pt x="79" y="469"/>
                </a:cubicBezTo>
                <a:cubicBezTo>
                  <a:pt x="77" y="468"/>
                  <a:pt x="77" y="468"/>
                  <a:pt x="77" y="468"/>
                </a:cubicBezTo>
                <a:cubicBezTo>
                  <a:pt x="76" y="468"/>
                  <a:pt x="76" y="468"/>
                  <a:pt x="76" y="468"/>
                </a:cubicBezTo>
                <a:cubicBezTo>
                  <a:pt x="75" y="468"/>
                  <a:pt x="75" y="468"/>
                  <a:pt x="75" y="468"/>
                </a:cubicBezTo>
                <a:cubicBezTo>
                  <a:pt x="76" y="467"/>
                  <a:pt x="76" y="467"/>
                  <a:pt x="76" y="467"/>
                </a:cubicBezTo>
                <a:cubicBezTo>
                  <a:pt x="77" y="466"/>
                  <a:pt x="77" y="466"/>
                  <a:pt x="77" y="466"/>
                </a:cubicBezTo>
                <a:cubicBezTo>
                  <a:pt x="76" y="465"/>
                  <a:pt x="76" y="465"/>
                  <a:pt x="76" y="465"/>
                </a:cubicBezTo>
                <a:cubicBezTo>
                  <a:pt x="76" y="465"/>
                  <a:pt x="76" y="465"/>
                  <a:pt x="76" y="465"/>
                </a:cubicBezTo>
                <a:cubicBezTo>
                  <a:pt x="78" y="465"/>
                  <a:pt x="78" y="465"/>
                  <a:pt x="78" y="465"/>
                </a:cubicBezTo>
                <a:cubicBezTo>
                  <a:pt x="79" y="466"/>
                  <a:pt x="79" y="466"/>
                  <a:pt x="79" y="466"/>
                </a:cubicBezTo>
                <a:cubicBezTo>
                  <a:pt x="79" y="466"/>
                  <a:pt x="79" y="466"/>
                  <a:pt x="79" y="466"/>
                </a:cubicBezTo>
                <a:cubicBezTo>
                  <a:pt x="80" y="466"/>
                  <a:pt x="80" y="466"/>
                  <a:pt x="80" y="466"/>
                </a:cubicBezTo>
                <a:cubicBezTo>
                  <a:pt x="80" y="464"/>
                  <a:pt x="80" y="464"/>
                  <a:pt x="80" y="464"/>
                </a:cubicBezTo>
                <a:cubicBezTo>
                  <a:pt x="80" y="464"/>
                  <a:pt x="80" y="464"/>
                  <a:pt x="80" y="464"/>
                </a:cubicBezTo>
                <a:cubicBezTo>
                  <a:pt x="80" y="462"/>
                  <a:pt x="80" y="462"/>
                  <a:pt x="80" y="462"/>
                </a:cubicBezTo>
                <a:cubicBezTo>
                  <a:pt x="81" y="461"/>
                  <a:pt x="81" y="461"/>
                  <a:pt x="81" y="461"/>
                </a:cubicBezTo>
                <a:cubicBezTo>
                  <a:pt x="81" y="461"/>
                  <a:pt x="81" y="461"/>
                  <a:pt x="81" y="461"/>
                </a:cubicBezTo>
                <a:cubicBezTo>
                  <a:pt x="82" y="460"/>
                  <a:pt x="82" y="460"/>
                  <a:pt x="82" y="460"/>
                </a:cubicBezTo>
                <a:cubicBezTo>
                  <a:pt x="83" y="460"/>
                  <a:pt x="83" y="460"/>
                  <a:pt x="83" y="460"/>
                </a:cubicBezTo>
                <a:cubicBezTo>
                  <a:pt x="83" y="460"/>
                  <a:pt x="83" y="460"/>
                  <a:pt x="83" y="460"/>
                </a:cubicBezTo>
                <a:cubicBezTo>
                  <a:pt x="84" y="459"/>
                  <a:pt x="84" y="459"/>
                  <a:pt x="84" y="459"/>
                </a:cubicBezTo>
                <a:cubicBezTo>
                  <a:pt x="84" y="459"/>
                  <a:pt x="84" y="459"/>
                  <a:pt x="84" y="459"/>
                </a:cubicBezTo>
                <a:cubicBezTo>
                  <a:pt x="83" y="458"/>
                  <a:pt x="83" y="458"/>
                  <a:pt x="83" y="458"/>
                </a:cubicBezTo>
                <a:cubicBezTo>
                  <a:pt x="82" y="458"/>
                  <a:pt x="82" y="458"/>
                  <a:pt x="82" y="458"/>
                </a:cubicBezTo>
                <a:cubicBezTo>
                  <a:pt x="82" y="458"/>
                  <a:pt x="82" y="458"/>
                  <a:pt x="82" y="458"/>
                </a:cubicBezTo>
                <a:cubicBezTo>
                  <a:pt x="81" y="457"/>
                  <a:pt x="81" y="457"/>
                  <a:pt x="81" y="457"/>
                </a:cubicBezTo>
                <a:cubicBezTo>
                  <a:pt x="80" y="456"/>
                  <a:pt x="80" y="456"/>
                  <a:pt x="80" y="456"/>
                </a:cubicBezTo>
                <a:cubicBezTo>
                  <a:pt x="82" y="455"/>
                  <a:pt x="82" y="455"/>
                  <a:pt x="82" y="455"/>
                </a:cubicBezTo>
                <a:cubicBezTo>
                  <a:pt x="84" y="456"/>
                  <a:pt x="84" y="456"/>
                  <a:pt x="84" y="456"/>
                </a:cubicBezTo>
                <a:cubicBezTo>
                  <a:pt x="84" y="455"/>
                  <a:pt x="84" y="455"/>
                  <a:pt x="84" y="455"/>
                </a:cubicBezTo>
                <a:cubicBezTo>
                  <a:pt x="84" y="455"/>
                  <a:pt x="84" y="455"/>
                  <a:pt x="84" y="455"/>
                </a:cubicBezTo>
                <a:cubicBezTo>
                  <a:pt x="83" y="454"/>
                  <a:pt x="83" y="454"/>
                  <a:pt x="83" y="454"/>
                </a:cubicBezTo>
                <a:cubicBezTo>
                  <a:pt x="84" y="453"/>
                  <a:pt x="84" y="453"/>
                  <a:pt x="84" y="453"/>
                </a:cubicBezTo>
                <a:cubicBezTo>
                  <a:pt x="88" y="451"/>
                  <a:pt x="88" y="451"/>
                  <a:pt x="88" y="451"/>
                </a:cubicBezTo>
                <a:cubicBezTo>
                  <a:pt x="88" y="450"/>
                  <a:pt x="88" y="450"/>
                  <a:pt x="88" y="450"/>
                </a:cubicBezTo>
                <a:cubicBezTo>
                  <a:pt x="88" y="450"/>
                  <a:pt x="88" y="450"/>
                  <a:pt x="88" y="450"/>
                </a:cubicBezTo>
                <a:cubicBezTo>
                  <a:pt x="86" y="450"/>
                  <a:pt x="86" y="450"/>
                  <a:pt x="86" y="450"/>
                </a:cubicBezTo>
                <a:cubicBezTo>
                  <a:pt x="84" y="451"/>
                  <a:pt x="84" y="451"/>
                  <a:pt x="84" y="451"/>
                </a:cubicBezTo>
                <a:cubicBezTo>
                  <a:pt x="83" y="451"/>
                  <a:pt x="83" y="451"/>
                  <a:pt x="83" y="451"/>
                </a:cubicBezTo>
                <a:cubicBezTo>
                  <a:pt x="83" y="451"/>
                  <a:pt x="83" y="451"/>
                  <a:pt x="83" y="451"/>
                </a:cubicBezTo>
                <a:cubicBezTo>
                  <a:pt x="83" y="451"/>
                  <a:pt x="83" y="451"/>
                  <a:pt x="83" y="451"/>
                </a:cubicBezTo>
                <a:cubicBezTo>
                  <a:pt x="83" y="448"/>
                  <a:pt x="83" y="448"/>
                  <a:pt x="83" y="448"/>
                </a:cubicBezTo>
                <a:cubicBezTo>
                  <a:pt x="84" y="448"/>
                  <a:pt x="84" y="448"/>
                  <a:pt x="84" y="448"/>
                </a:cubicBezTo>
                <a:cubicBezTo>
                  <a:pt x="85" y="445"/>
                  <a:pt x="85" y="445"/>
                  <a:pt x="85" y="445"/>
                </a:cubicBezTo>
                <a:cubicBezTo>
                  <a:pt x="88" y="445"/>
                  <a:pt x="88" y="445"/>
                  <a:pt x="88" y="445"/>
                </a:cubicBezTo>
                <a:cubicBezTo>
                  <a:pt x="90" y="444"/>
                  <a:pt x="90" y="444"/>
                  <a:pt x="90" y="444"/>
                </a:cubicBezTo>
                <a:cubicBezTo>
                  <a:pt x="89" y="443"/>
                  <a:pt x="89" y="443"/>
                  <a:pt x="89" y="443"/>
                </a:cubicBezTo>
                <a:cubicBezTo>
                  <a:pt x="90" y="440"/>
                  <a:pt x="90" y="440"/>
                  <a:pt x="90" y="440"/>
                </a:cubicBezTo>
                <a:cubicBezTo>
                  <a:pt x="90" y="439"/>
                  <a:pt x="90" y="439"/>
                  <a:pt x="90" y="439"/>
                </a:cubicBezTo>
                <a:cubicBezTo>
                  <a:pt x="88" y="437"/>
                  <a:pt x="88" y="437"/>
                  <a:pt x="88" y="437"/>
                </a:cubicBezTo>
                <a:cubicBezTo>
                  <a:pt x="88" y="435"/>
                  <a:pt x="88" y="435"/>
                  <a:pt x="88" y="435"/>
                </a:cubicBezTo>
                <a:cubicBezTo>
                  <a:pt x="90" y="434"/>
                  <a:pt x="90" y="434"/>
                  <a:pt x="90" y="434"/>
                </a:cubicBezTo>
                <a:cubicBezTo>
                  <a:pt x="91" y="433"/>
                  <a:pt x="91" y="433"/>
                  <a:pt x="91" y="433"/>
                </a:cubicBezTo>
                <a:cubicBezTo>
                  <a:pt x="91" y="431"/>
                  <a:pt x="91" y="431"/>
                  <a:pt x="91" y="431"/>
                </a:cubicBezTo>
                <a:cubicBezTo>
                  <a:pt x="90" y="431"/>
                  <a:pt x="90" y="431"/>
                  <a:pt x="90" y="431"/>
                </a:cubicBezTo>
                <a:cubicBezTo>
                  <a:pt x="89" y="429"/>
                  <a:pt x="89" y="429"/>
                  <a:pt x="89" y="429"/>
                </a:cubicBezTo>
                <a:cubicBezTo>
                  <a:pt x="88" y="430"/>
                  <a:pt x="88" y="430"/>
                  <a:pt x="88" y="430"/>
                </a:cubicBezTo>
                <a:cubicBezTo>
                  <a:pt x="87" y="430"/>
                  <a:pt x="87" y="430"/>
                  <a:pt x="87" y="430"/>
                </a:cubicBezTo>
                <a:cubicBezTo>
                  <a:pt x="85" y="429"/>
                  <a:pt x="85" y="429"/>
                  <a:pt x="85" y="429"/>
                </a:cubicBezTo>
                <a:cubicBezTo>
                  <a:pt x="84" y="429"/>
                  <a:pt x="84" y="429"/>
                  <a:pt x="84" y="429"/>
                </a:cubicBezTo>
                <a:cubicBezTo>
                  <a:pt x="82" y="428"/>
                  <a:pt x="82" y="428"/>
                  <a:pt x="82" y="428"/>
                </a:cubicBezTo>
                <a:cubicBezTo>
                  <a:pt x="81" y="428"/>
                  <a:pt x="81" y="428"/>
                  <a:pt x="81" y="428"/>
                </a:cubicBezTo>
                <a:cubicBezTo>
                  <a:pt x="78" y="428"/>
                  <a:pt x="78" y="428"/>
                  <a:pt x="78" y="428"/>
                </a:cubicBezTo>
                <a:cubicBezTo>
                  <a:pt x="78" y="429"/>
                  <a:pt x="78" y="429"/>
                  <a:pt x="78" y="429"/>
                </a:cubicBezTo>
                <a:cubicBezTo>
                  <a:pt x="77" y="428"/>
                  <a:pt x="77" y="428"/>
                  <a:pt x="77" y="428"/>
                </a:cubicBezTo>
                <a:cubicBezTo>
                  <a:pt x="75" y="426"/>
                  <a:pt x="75" y="426"/>
                  <a:pt x="75" y="426"/>
                </a:cubicBezTo>
                <a:cubicBezTo>
                  <a:pt x="74" y="423"/>
                  <a:pt x="74" y="423"/>
                  <a:pt x="74" y="423"/>
                </a:cubicBezTo>
                <a:cubicBezTo>
                  <a:pt x="73" y="423"/>
                  <a:pt x="73" y="423"/>
                  <a:pt x="73" y="423"/>
                </a:cubicBezTo>
                <a:cubicBezTo>
                  <a:pt x="71" y="425"/>
                  <a:pt x="71" y="425"/>
                  <a:pt x="71" y="425"/>
                </a:cubicBezTo>
                <a:cubicBezTo>
                  <a:pt x="69" y="425"/>
                  <a:pt x="69" y="425"/>
                  <a:pt x="69" y="425"/>
                </a:cubicBezTo>
                <a:cubicBezTo>
                  <a:pt x="68" y="425"/>
                  <a:pt x="68" y="425"/>
                  <a:pt x="68" y="425"/>
                </a:cubicBezTo>
                <a:cubicBezTo>
                  <a:pt x="66" y="424"/>
                  <a:pt x="66" y="424"/>
                  <a:pt x="66" y="424"/>
                </a:cubicBezTo>
                <a:cubicBezTo>
                  <a:pt x="65" y="425"/>
                  <a:pt x="65" y="425"/>
                  <a:pt x="65" y="425"/>
                </a:cubicBezTo>
                <a:cubicBezTo>
                  <a:pt x="62" y="423"/>
                  <a:pt x="62" y="423"/>
                  <a:pt x="62" y="423"/>
                </a:cubicBezTo>
                <a:cubicBezTo>
                  <a:pt x="61" y="421"/>
                  <a:pt x="61" y="421"/>
                  <a:pt x="61" y="421"/>
                </a:cubicBezTo>
                <a:cubicBezTo>
                  <a:pt x="61" y="419"/>
                  <a:pt x="61" y="419"/>
                  <a:pt x="61" y="419"/>
                </a:cubicBezTo>
                <a:cubicBezTo>
                  <a:pt x="60" y="419"/>
                  <a:pt x="60" y="419"/>
                  <a:pt x="60" y="419"/>
                </a:cubicBezTo>
                <a:cubicBezTo>
                  <a:pt x="60" y="417"/>
                  <a:pt x="60" y="417"/>
                  <a:pt x="60" y="417"/>
                </a:cubicBezTo>
                <a:cubicBezTo>
                  <a:pt x="59" y="416"/>
                  <a:pt x="59" y="416"/>
                  <a:pt x="59" y="416"/>
                </a:cubicBezTo>
                <a:cubicBezTo>
                  <a:pt x="55" y="417"/>
                  <a:pt x="55" y="417"/>
                  <a:pt x="55" y="417"/>
                </a:cubicBezTo>
                <a:cubicBezTo>
                  <a:pt x="53" y="415"/>
                  <a:pt x="53" y="415"/>
                  <a:pt x="53" y="415"/>
                </a:cubicBezTo>
                <a:cubicBezTo>
                  <a:pt x="54" y="413"/>
                  <a:pt x="54" y="413"/>
                  <a:pt x="54" y="413"/>
                </a:cubicBezTo>
                <a:cubicBezTo>
                  <a:pt x="53" y="412"/>
                  <a:pt x="53" y="412"/>
                  <a:pt x="53" y="412"/>
                </a:cubicBezTo>
                <a:cubicBezTo>
                  <a:pt x="52" y="409"/>
                  <a:pt x="52" y="409"/>
                  <a:pt x="52" y="409"/>
                </a:cubicBezTo>
                <a:cubicBezTo>
                  <a:pt x="50" y="409"/>
                  <a:pt x="50" y="409"/>
                  <a:pt x="50" y="409"/>
                </a:cubicBezTo>
                <a:cubicBezTo>
                  <a:pt x="49" y="410"/>
                  <a:pt x="49" y="410"/>
                  <a:pt x="49" y="410"/>
                </a:cubicBezTo>
                <a:cubicBezTo>
                  <a:pt x="46" y="410"/>
                  <a:pt x="46" y="410"/>
                  <a:pt x="46" y="410"/>
                </a:cubicBezTo>
                <a:cubicBezTo>
                  <a:pt x="43" y="409"/>
                  <a:pt x="43" y="409"/>
                  <a:pt x="43" y="409"/>
                </a:cubicBezTo>
                <a:cubicBezTo>
                  <a:pt x="42" y="410"/>
                  <a:pt x="42" y="410"/>
                  <a:pt x="42" y="410"/>
                </a:cubicBezTo>
                <a:cubicBezTo>
                  <a:pt x="42" y="411"/>
                  <a:pt x="42" y="411"/>
                  <a:pt x="42" y="411"/>
                </a:cubicBezTo>
                <a:cubicBezTo>
                  <a:pt x="40" y="411"/>
                  <a:pt x="40" y="411"/>
                  <a:pt x="40" y="411"/>
                </a:cubicBezTo>
                <a:cubicBezTo>
                  <a:pt x="39" y="411"/>
                  <a:pt x="39" y="411"/>
                  <a:pt x="39" y="411"/>
                </a:cubicBezTo>
                <a:cubicBezTo>
                  <a:pt x="39" y="410"/>
                  <a:pt x="39" y="410"/>
                  <a:pt x="39" y="410"/>
                </a:cubicBezTo>
                <a:cubicBezTo>
                  <a:pt x="38" y="408"/>
                  <a:pt x="38" y="408"/>
                  <a:pt x="38" y="408"/>
                </a:cubicBezTo>
                <a:cubicBezTo>
                  <a:pt x="38" y="406"/>
                  <a:pt x="38" y="406"/>
                  <a:pt x="38" y="406"/>
                </a:cubicBezTo>
                <a:cubicBezTo>
                  <a:pt x="37" y="404"/>
                  <a:pt x="37" y="404"/>
                  <a:pt x="37" y="404"/>
                </a:cubicBezTo>
                <a:cubicBezTo>
                  <a:pt x="37" y="403"/>
                  <a:pt x="37" y="403"/>
                  <a:pt x="37" y="403"/>
                </a:cubicBezTo>
                <a:cubicBezTo>
                  <a:pt x="37" y="402"/>
                  <a:pt x="37" y="402"/>
                  <a:pt x="37" y="402"/>
                </a:cubicBezTo>
                <a:cubicBezTo>
                  <a:pt x="39" y="403"/>
                  <a:pt x="39" y="403"/>
                  <a:pt x="39" y="403"/>
                </a:cubicBezTo>
                <a:cubicBezTo>
                  <a:pt x="42" y="403"/>
                  <a:pt x="42" y="403"/>
                  <a:pt x="42" y="403"/>
                </a:cubicBezTo>
                <a:cubicBezTo>
                  <a:pt x="43" y="400"/>
                  <a:pt x="43" y="400"/>
                  <a:pt x="43" y="400"/>
                </a:cubicBezTo>
                <a:cubicBezTo>
                  <a:pt x="44" y="400"/>
                  <a:pt x="44" y="400"/>
                  <a:pt x="44" y="400"/>
                </a:cubicBezTo>
                <a:cubicBezTo>
                  <a:pt x="42" y="399"/>
                  <a:pt x="42" y="399"/>
                  <a:pt x="42" y="399"/>
                </a:cubicBezTo>
                <a:cubicBezTo>
                  <a:pt x="42" y="398"/>
                  <a:pt x="42" y="398"/>
                  <a:pt x="42" y="398"/>
                </a:cubicBezTo>
                <a:cubicBezTo>
                  <a:pt x="40" y="396"/>
                  <a:pt x="40" y="396"/>
                  <a:pt x="40" y="396"/>
                </a:cubicBezTo>
                <a:cubicBezTo>
                  <a:pt x="38" y="395"/>
                  <a:pt x="38" y="395"/>
                  <a:pt x="38" y="395"/>
                </a:cubicBezTo>
                <a:cubicBezTo>
                  <a:pt x="37" y="393"/>
                  <a:pt x="37" y="393"/>
                  <a:pt x="37" y="393"/>
                </a:cubicBezTo>
                <a:cubicBezTo>
                  <a:pt x="36" y="392"/>
                  <a:pt x="36" y="392"/>
                  <a:pt x="36" y="392"/>
                </a:cubicBezTo>
                <a:cubicBezTo>
                  <a:pt x="34" y="390"/>
                  <a:pt x="34" y="390"/>
                  <a:pt x="34" y="390"/>
                </a:cubicBezTo>
                <a:cubicBezTo>
                  <a:pt x="33" y="388"/>
                  <a:pt x="33" y="388"/>
                  <a:pt x="33" y="388"/>
                </a:cubicBezTo>
                <a:cubicBezTo>
                  <a:pt x="32" y="386"/>
                  <a:pt x="32" y="386"/>
                  <a:pt x="32" y="386"/>
                </a:cubicBezTo>
                <a:cubicBezTo>
                  <a:pt x="32" y="385"/>
                  <a:pt x="32" y="385"/>
                  <a:pt x="32" y="385"/>
                </a:cubicBezTo>
                <a:cubicBezTo>
                  <a:pt x="31" y="383"/>
                  <a:pt x="31" y="383"/>
                  <a:pt x="31" y="383"/>
                </a:cubicBezTo>
                <a:cubicBezTo>
                  <a:pt x="31" y="382"/>
                  <a:pt x="31" y="382"/>
                  <a:pt x="31" y="382"/>
                </a:cubicBezTo>
                <a:cubicBezTo>
                  <a:pt x="31" y="380"/>
                  <a:pt x="31" y="380"/>
                  <a:pt x="31" y="380"/>
                </a:cubicBezTo>
                <a:cubicBezTo>
                  <a:pt x="28" y="379"/>
                  <a:pt x="28" y="379"/>
                  <a:pt x="28" y="379"/>
                </a:cubicBezTo>
                <a:cubicBezTo>
                  <a:pt x="27" y="379"/>
                  <a:pt x="27" y="379"/>
                  <a:pt x="27" y="379"/>
                </a:cubicBezTo>
                <a:cubicBezTo>
                  <a:pt x="27" y="378"/>
                  <a:pt x="27" y="378"/>
                  <a:pt x="27" y="378"/>
                </a:cubicBezTo>
                <a:cubicBezTo>
                  <a:pt x="25" y="379"/>
                  <a:pt x="25" y="379"/>
                  <a:pt x="25" y="379"/>
                </a:cubicBezTo>
                <a:cubicBezTo>
                  <a:pt x="23" y="380"/>
                  <a:pt x="23" y="380"/>
                  <a:pt x="23" y="380"/>
                </a:cubicBezTo>
                <a:cubicBezTo>
                  <a:pt x="22" y="378"/>
                  <a:pt x="22" y="378"/>
                  <a:pt x="22" y="378"/>
                </a:cubicBezTo>
                <a:cubicBezTo>
                  <a:pt x="21" y="378"/>
                  <a:pt x="21" y="378"/>
                  <a:pt x="21" y="378"/>
                </a:cubicBezTo>
                <a:cubicBezTo>
                  <a:pt x="19" y="379"/>
                  <a:pt x="19" y="379"/>
                  <a:pt x="19" y="379"/>
                </a:cubicBezTo>
                <a:cubicBezTo>
                  <a:pt x="18" y="377"/>
                  <a:pt x="18" y="377"/>
                  <a:pt x="18" y="377"/>
                </a:cubicBezTo>
                <a:cubicBezTo>
                  <a:pt x="16" y="377"/>
                  <a:pt x="16" y="377"/>
                  <a:pt x="16" y="377"/>
                </a:cubicBezTo>
                <a:cubicBezTo>
                  <a:pt x="15" y="377"/>
                  <a:pt x="15" y="377"/>
                  <a:pt x="15" y="377"/>
                </a:cubicBezTo>
                <a:cubicBezTo>
                  <a:pt x="15" y="377"/>
                  <a:pt x="15" y="377"/>
                  <a:pt x="15" y="377"/>
                </a:cubicBezTo>
                <a:cubicBezTo>
                  <a:pt x="15" y="375"/>
                  <a:pt x="15" y="375"/>
                  <a:pt x="15" y="375"/>
                </a:cubicBezTo>
                <a:cubicBezTo>
                  <a:pt x="14" y="374"/>
                  <a:pt x="14" y="374"/>
                  <a:pt x="14" y="374"/>
                </a:cubicBezTo>
                <a:cubicBezTo>
                  <a:pt x="13" y="372"/>
                  <a:pt x="13" y="372"/>
                  <a:pt x="13" y="372"/>
                </a:cubicBezTo>
                <a:cubicBezTo>
                  <a:pt x="13" y="371"/>
                  <a:pt x="13" y="371"/>
                  <a:pt x="13" y="371"/>
                </a:cubicBezTo>
                <a:cubicBezTo>
                  <a:pt x="12" y="370"/>
                  <a:pt x="12" y="370"/>
                  <a:pt x="12" y="370"/>
                </a:cubicBezTo>
                <a:cubicBezTo>
                  <a:pt x="12" y="369"/>
                  <a:pt x="12" y="369"/>
                  <a:pt x="12" y="369"/>
                </a:cubicBezTo>
                <a:cubicBezTo>
                  <a:pt x="12" y="368"/>
                  <a:pt x="12" y="368"/>
                  <a:pt x="12" y="368"/>
                </a:cubicBezTo>
                <a:cubicBezTo>
                  <a:pt x="11" y="368"/>
                  <a:pt x="11" y="368"/>
                  <a:pt x="11" y="368"/>
                </a:cubicBezTo>
                <a:cubicBezTo>
                  <a:pt x="11" y="367"/>
                  <a:pt x="11" y="367"/>
                  <a:pt x="11" y="367"/>
                </a:cubicBezTo>
                <a:cubicBezTo>
                  <a:pt x="11" y="366"/>
                  <a:pt x="11" y="366"/>
                  <a:pt x="11" y="366"/>
                </a:cubicBezTo>
                <a:cubicBezTo>
                  <a:pt x="10" y="366"/>
                  <a:pt x="10" y="366"/>
                  <a:pt x="10" y="366"/>
                </a:cubicBezTo>
                <a:cubicBezTo>
                  <a:pt x="11" y="364"/>
                  <a:pt x="11" y="364"/>
                  <a:pt x="11" y="364"/>
                </a:cubicBezTo>
                <a:cubicBezTo>
                  <a:pt x="11" y="363"/>
                  <a:pt x="11" y="363"/>
                  <a:pt x="11" y="363"/>
                </a:cubicBezTo>
                <a:cubicBezTo>
                  <a:pt x="12" y="362"/>
                  <a:pt x="12" y="362"/>
                  <a:pt x="12" y="362"/>
                </a:cubicBezTo>
                <a:cubicBezTo>
                  <a:pt x="12" y="361"/>
                  <a:pt x="12" y="361"/>
                  <a:pt x="12" y="361"/>
                </a:cubicBezTo>
                <a:cubicBezTo>
                  <a:pt x="9" y="356"/>
                  <a:pt x="9" y="356"/>
                  <a:pt x="9" y="356"/>
                </a:cubicBezTo>
                <a:cubicBezTo>
                  <a:pt x="9" y="351"/>
                  <a:pt x="9" y="351"/>
                  <a:pt x="9" y="351"/>
                </a:cubicBezTo>
                <a:cubicBezTo>
                  <a:pt x="10" y="351"/>
                  <a:pt x="10" y="351"/>
                  <a:pt x="10" y="351"/>
                </a:cubicBezTo>
                <a:cubicBezTo>
                  <a:pt x="10" y="349"/>
                  <a:pt x="10" y="349"/>
                  <a:pt x="10" y="349"/>
                </a:cubicBezTo>
                <a:cubicBezTo>
                  <a:pt x="11" y="347"/>
                  <a:pt x="11" y="347"/>
                  <a:pt x="11" y="347"/>
                </a:cubicBezTo>
                <a:cubicBezTo>
                  <a:pt x="12" y="347"/>
                  <a:pt x="12" y="347"/>
                  <a:pt x="12" y="347"/>
                </a:cubicBezTo>
                <a:cubicBezTo>
                  <a:pt x="12" y="347"/>
                  <a:pt x="12" y="347"/>
                  <a:pt x="12" y="347"/>
                </a:cubicBezTo>
                <a:cubicBezTo>
                  <a:pt x="11" y="346"/>
                  <a:pt x="11" y="346"/>
                  <a:pt x="11" y="346"/>
                </a:cubicBezTo>
                <a:cubicBezTo>
                  <a:pt x="11" y="346"/>
                  <a:pt x="11" y="346"/>
                  <a:pt x="11" y="346"/>
                </a:cubicBezTo>
                <a:cubicBezTo>
                  <a:pt x="11" y="344"/>
                  <a:pt x="11" y="344"/>
                  <a:pt x="11" y="344"/>
                </a:cubicBezTo>
                <a:cubicBezTo>
                  <a:pt x="11" y="343"/>
                  <a:pt x="11" y="343"/>
                  <a:pt x="11" y="343"/>
                </a:cubicBezTo>
                <a:cubicBezTo>
                  <a:pt x="11" y="343"/>
                  <a:pt x="11" y="343"/>
                  <a:pt x="11" y="343"/>
                </a:cubicBezTo>
                <a:cubicBezTo>
                  <a:pt x="11" y="343"/>
                  <a:pt x="11" y="343"/>
                  <a:pt x="11" y="343"/>
                </a:cubicBezTo>
                <a:cubicBezTo>
                  <a:pt x="12" y="344"/>
                  <a:pt x="12" y="344"/>
                  <a:pt x="12" y="344"/>
                </a:cubicBezTo>
                <a:cubicBezTo>
                  <a:pt x="13" y="343"/>
                  <a:pt x="13" y="343"/>
                  <a:pt x="13" y="343"/>
                </a:cubicBezTo>
                <a:cubicBezTo>
                  <a:pt x="13" y="342"/>
                  <a:pt x="13" y="342"/>
                  <a:pt x="13" y="342"/>
                </a:cubicBezTo>
                <a:cubicBezTo>
                  <a:pt x="14" y="341"/>
                  <a:pt x="14" y="341"/>
                  <a:pt x="14" y="341"/>
                </a:cubicBezTo>
                <a:cubicBezTo>
                  <a:pt x="15" y="342"/>
                  <a:pt x="15" y="342"/>
                  <a:pt x="15" y="342"/>
                </a:cubicBezTo>
                <a:cubicBezTo>
                  <a:pt x="16" y="341"/>
                  <a:pt x="16" y="341"/>
                  <a:pt x="16" y="341"/>
                </a:cubicBezTo>
                <a:cubicBezTo>
                  <a:pt x="17" y="340"/>
                  <a:pt x="17" y="340"/>
                  <a:pt x="17" y="340"/>
                </a:cubicBezTo>
                <a:cubicBezTo>
                  <a:pt x="17" y="340"/>
                  <a:pt x="17" y="340"/>
                  <a:pt x="17" y="340"/>
                </a:cubicBezTo>
                <a:cubicBezTo>
                  <a:pt x="19" y="340"/>
                  <a:pt x="19" y="340"/>
                  <a:pt x="19" y="340"/>
                </a:cubicBezTo>
                <a:cubicBezTo>
                  <a:pt x="20" y="339"/>
                  <a:pt x="20" y="339"/>
                  <a:pt x="20" y="339"/>
                </a:cubicBezTo>
                <a:cubicBezTo>
                  <a:pt x="19" y="338"/>
                  <a:pt x="19" y="338"/>
                  <a:pt x="19" y="338"/>
                </a:cubicBezTo>
                <a:cubicBezTo>
                  <a:pt x="18" y="338"/>
                  <a:pt x="18" y="338"/>
                  <a:pt x="18" y="338"/>
                </a:cubicBezTo>
                <a:cubicBezTo>
                  <a:pt x="17" y="338"/>
                  <a:pt x="17" y="338"/>
                  <a:pt x="17" y="338"/>
                </a:cubicBezTo>
                <a:cubicBezTo>
                  <a:pt x="16" y="338"/>
                  <a:pt x="16" y="338"/>
                  <a:pt x="16" y="338"/>
                </a:cubicBezTo>
                <a:cubicBezTo>
                  <a:pt x="15" y="337"/>
                  <a:pt x="15" y="337"/>
                  <a:pt x="15" y="337"/>
                </a:cubicBezTo>
                <a:cubicBezTo>
                  <a:pt x="14" y="337"/>
                  <a:pt x="14" y="337"/>
                  <a:pt x="14" y="337"/>
                </a:cubicBezTo>
                <a:cubicBezTo>
                  <a:pt x="12" y="335"/>
                  <a:pt x="12" y="335"/>
                  <a:pt x="12" y="335"/>
                </a:cubicBezTo>
                <a:cubicBezTo>
                  <a:pt x="12" y="334"/>
                  <a:pt x="12" y="334"/>
                  <a:pt x="12" y="334"/>
                </a:cubicBezTo>
                <a:cubicBezTo>
                  <a:pt x="14" y="335"/>
                  <a:pt x="14" y="335"/>
                  <a:pt x="14" y="335"/>
                </a:cubicBezTo>
                <a:cubicBezTo>
                  <a:pt x="14" y="334"/>
                  <a:pt x="14" y="334"/>
                  <a:pt x="14" y="334"/>
                </a:cubicBezTo>
                <a:cubicBezTo>
                  <a:pt x="13" y="334"/>
                  <a:pt x="13" y="334"/>
                  <a:pt x="13" y="334"/>
                </a:cubicBezTo>
                <a:cubicBezTo>
                  <a:pt x="14" y="333"/>
                  <a:pt x="14" y="333"/>
                  <a:pt x="14" y="333"/>
                </a:cubicBezTo>
                <a:cubicBezTo>
                  <a:pt x="13" y="333"/>
                  <a:pt x="13" y="333"/>
                  <a:pt x="13" y="333"/>
                </a:cubicBezTo>
                <a:cubicBezTo>
                  <a:pt x="13" y="333"/>
                  <a:pt x="11" y="334"/>
                  <a:pt x="11" y="334"/>
                </a:cubicBezTo>
                <a:cubicBezTo>
                  <a:pt x="11" y="334"/>
                  <a:pt x="11" y="334"/>
                  <a:pt x="11" y="334"/>
                </a:cubicBezTo>
                <a:cubicBezTo>
                  <a:pt x="11" y="334"/>
                  <a:pt x="11" y="334"/>
                  <a:pt x="11" y="334"/>
                </a:cubicBezTo>
                <a:cubicBezTo>
                  <a:pt x="11" y="333"/>
                  <a:pt x="11" y="333"/>
                  <a:pt x="11" y="333"/>
                </a:cubicBezTo>
                <a:cubicBezTo>
                  <a:pt x="14" y="330"/>
                  <a:pt x="14" y="330"/>
                  <a:pt x="14" y="330"/>
                </a:cubicBezTo>
                <a:cubicBezTo>
                  <a:pt x="15" y="329"/>
                  <a:pt x="15" y="329"/>
                  <a:pt x="15" y="329"/>
                </a:cubicBezTo>
                <a:cubicBezTo>
                  <a:pt x="17" y="326"/>
                  <a:pt x="17" y="326"/>
                  <a:pt x="17" y="326"/>
                </a:cubicBezTo>
                <a:cubicBezTo>
                  <a:pt x="18" y="323"/>
                  <a:pt x="18" y="323"/>
                  <a:pt x="18" y="323"/>
                </a:cubicBezTo>
                <a:cubicBezTo>
                  <a:pt x="20" y="320"/>
                  <a:pt x="20" y="320"/>
                  <a:pt x="20" y="320"/>
                </a:cubicBezTo>
                <a:cubicBezTo>
                  <a:pt x="22" y="316"/>
                  <a:pt x="22" y="316"/>
                  <a:pt x="22" y="316"/>
                </a:cubicBezTo>
                <a:cubicBezTo>
                  <a:pt x="24" y="312"/>
                  <a:pt x="24" y="312"/>
                  <a:pt x="24" y="312"/>
                </a:cubicBezTo>
                <a:cubicBezTo>
                  <a:pt x="24" y="310"/>
                  <a:pt x="24" y="310"/>
                  <a:pt x="24" y="310"/>
                </a:cubicBezTo>
                <a:cubicBezTo>
                  <a:pt x="21" y="307"/>
                  <a:pt x="21" y="307"/>
                  <a:pt x="21" y="307"/>
                </a:cubicBezTo>
                <a:cubicBezTo>
                  <a:pt x="19" y="306"/>
                  <a:pt x="19" y="306"/>
                  <a:pt x="19" y="306"/>
                </a:cubicBezTo>
                <a:cubicBezTo>
                  <a:pt x="16" y="302"/>
                  <a:pt x="16" y="302"/>
                  <a:pt x="16" y="302"/>
                </a:cubicBezTo>
                <a:cubicBezTo>
                  <a:pt x="17" y="300"/>
                  <a:pt x="17" y="300"/>
                  <a:pt x="17" y="300"/>
                </a:cubicBezTo>
                <a:cubicBezTo>
                  <a:pt x="18" y="298"/>
                  <a:pt x="18" y="298"/>
                  <a:pt x="18" y="298"/>
                </a:cubicBezTo>
                <a:cubicBezTo>
                  <a:pt x="18" y="297"/>
                  <a:pt x="18" y="297"/>
                  <a:pt x="18" y="297"/>
                </a:cubicBezTo>
                <a:cubicBezTo>
                  <a:pt x="16" y="295"/>
                  <a:pt x="16" y="295"/>
                  <a:pt x="16" y="295"/>
                </a:cubicBezTo>
                <a:cubicBezTo>
                  <a:pt x="15" y="294"/>
                  <a:pt x="15" y="294"/>
                  <a:pt x="15" y="294"/>
                </a:cubicBezTo>
                <a:cubicBezTo>
                  <a:pt x="15" y="292"/>
                  <a:pt x="15" y="292"/>
                  <a:pt x="15" y="292"/>
                </a:cubicBezTo>
                <a:cubicBezTo>
                  <a:pt x="16" y="291"/>
                  <a:pt x="16" y="291"/>
                  <a:pt x="16" y="291"/>
                </a:cubicBezTo>
                <a:cubicBezTo>
                  <a:pt x="15" y="290"/>
                  <a:pt x="15" y="290"/>
                  <a:pt x="15" y="290"/>
                </a:cubicBezTo>
                <a:cubicBezTo>
                  <a:pt x="14" y="289"/>
                  <a:pt x="14" y="289"/>
                  <a:pt x="14" y="289"/>
                </a:cubicBezTo>
                <a:cubicBezTo>
                  <a:pt x="13" y="288"/>
                  <a:pt x="13" y="288"/>
                  <a:pt x="13" y="288"/>
                </a:cubicBezTo>
                <a:cubicBezTo>
                  <a:pt x="13" y="286"/>
                  <a:pt x="13" y="286"/>
                  <a:pt x="13" y="286"/>
                </a:cubicBezTo>
                <a:cubicBezTo>
                  <a:pt x="14" y="285"/>
                  <a:pt x="14" y="285"/>
                  <a:pt x="14" y="285"/>
                </a:cubicBezTo>
                <a:cubicBezTo>
                  <a:pt x="13" y="285"/>
                  <a:pt x="13" y="285"/>
                  <a:pt x="13" y="285"/>
                </a:cubicBezTo>
                <a:cubicBezTo>
                  <a:pt x="13" y="284"/>
                  <a:pt x="13" y="284"/>
                  <a:pt x="13" y="284"/>
                </a:cubicBezTo>
                <a:cubicBezTo>
                  <a:pt x="13" y="280"/>
                  <a:pt x="13" y="280"/>
                  <a:pt x="13" y="280"/>
                </a:cubicBezTo>
                <a:cubicBezTo>
                  <a:pt x="14" y="279"/>
                  <a:pt x="14" y="279"/>
                  <a:pt x="14" y="279"/>
                </a:cubicBezTo>
                <a:cubicBezTo>
                  <a:pt x="11" y="273"/>
                  <a:pt x="11" y="273"/>
                  <a:pt x="11" y="273"/>
                </a:cubicBezTo>
                <a:cubicBezTo>
                  <a:pt x="9" y="268"/>
                  <a:pt x="9" y="268"/>
                  <a:pt x="9" y="268"/>
                </a:cubicBezTo>
                <a:cubicBezTo>
                  <a:pt x="8" y="266"/>
                  <a:pt x="8" y="266"/>
                  <a:pt x="8" y="266"/>
                </a:cubicBezTo>
                <a:cubicBezTo>
                  <a:pt x="7" y="265"/>
                  <a:pt x="7" y="265"/>
                  <a:pt x="7" y="265"/>
                </a:cubicBezTo>
                <a:cubicBezTo>
                  <a:pt x="8" y="262"/>
                  <a:pt x="8" y="262"/>
                  <a:pt x="8" y="262"/>
                </a:cubicBezTo>
                <a:cubicBezTo>
                  <a:pt x="9" y="260"/>
                  <a:pt x="9" y="260"/>
                  <a:pt x="9" y="260"/>
                </a:cubicBezTo>
                <a:cubicBezTo>
                  <a:pt x="9" y="258"/>
                  <a:pt x="9" y="258"/>
                  <a:pt x="9" y="258"/>
                </a:cubicBezTo>
                <a:cubicBezTo>
                  <a:pt x="9" y="257"/>
                  <a:pt x="9" y="257"/>
                  <a:pt x="9" y="257"/>
                </a:cubicBezTo>
                <a:cubicBezTo>
                  <a:pt x="6" y="255"/>
                  <a:pt x="6" y="255"/>
                  <a:pt x="6" y="255"/>
                </a:cubicBezTo>
                <a:cubicBezTo>
                  <a:pt x="5" y="254"/>
                  <a:pt x="5" y="254"/>
                  <a:pt x="5" y="254"/>
                </a:cubicBezTo>
                <a:cubicBezTo>
                  <a:pt x="4" y="253"/>
                  <a:pt x="4" y="253"/>
                  <a:pt x="4" y="253"/>
                </a:cubicBezTo>
                <a:cubicBezTo>
                  <a:pt x="3" y="252"/>
                  <a:pt x="3" y="252"/>
                  <a:pt x="3" y="252"/>
                </a:cubicBezTo>
                <a:cubicBezTo>
                  <a:pt x="2" y="252"/>
                  <a:pt x="2" y="252"/>
                  <a:pt x="2" y="252"/>
                </a:cubicBezTo>
                <a:cubicBezTo>
                  <a:pt x="1" y="249"/>
                  <a:pt x="1" y="249"/>
                  <a:pt x="1" y="249"/>
                </a:cubicBezTo>
                <a:cubicBezTo>
                  <a:pt x="0" y="248"/>
                  <a:pt x="0" y="248"/>
                  <a:pt x="0" y="248"/>
                </a:cubicBezTo>
                <a:cubicBezTo>
                  <a:pt x="0" y="246"/>
                  <a:pt x="0" y="246"/>
                  <a:pt x="0" y="246"/>
                </a:cubicBezTo>
                <a:cubicBezTo>
                  <a:pt x="1" y="244"/>
                  <a:pt x="1" y="244"/>
                  <a:pt x="1" y="244"/>
                </a:cubicBezTo>
                <a:cubicBezTo>
                  <a:pt x="0" y="244"/>
                  <a:pt x="0" y="244"/>
                  <a:pt x="0" y="244"/>
                </a:cubicBezTo>
                <a:cubicBezTo>
                  <a:pt x="1" y="243"/>
                  <a:pt x="1" y="243"/>
                  <a:pt x="1" y="243"/>
                </a:cubicBezTo>
                <a:cubicBezTo>
                  <a:pt x="2" y="242"/>
                  <a:pt x="2" y="242"/>
                  <a:pt x="2" y="242"/>
                </a:cubicBezTo>
                <a:cubicBezTo>
                  <a:pt x="2" y="242"/>
                  <a:pt x="2" y="242"/>
                  <a:pt x="2" y="242"/>
                </a:cubicBezTo>
                <a:cubicBezTo>
                  <a:pt x="3" y="242"/>
                  <a:pt x="3" y="242"/>
                  <a:pt x="3" y="242"/>
                </a:cubicBezTo>
                <a:cubicBezTo>
                  <a:pt x="3" y="240"/>
                  <a:pt x="3" y="240"/>
                  <a:pt x="3" y="240"/>
                </a:cubicBezTo>
                <a:cubicBezTo>
                  <a:pt x="5" y="238"/>
                  <a:pt x="5" y="238"/>
                  <a:pt x="5" y="238"/>
                </a:cubicBezTo>
                <a:cubicBezTo>
                  <a:pt x="6" y="238"/>
                  <a:pt x="6" y="238"/>
                  <a:pt x="6" y="238"/>
                </a:cubicBezTo>
                <a:cubicBezTo>
                  <a:pt x="7" y="237"/>
                  <a:pt x="7" y="237"/>
                  <a:pt x="7" y="237"/>
                </a:cubicBezTo>
                <a:cubicBezTo>
                  <a:pt x="7" y="235"/>
                  <a:pt x="7" y="235"/>
                  <a:pt x="7" y="235"/>
                </a:cubicBezTo>
                <a:cubicBezTo>
                  <a:pt x="8" y="235"/>
                  <a:pt x="8" y="235"/>
                  <a:pt x="8" y="235"/>
                </a:cubicBezTo>
                <a:cubicBezTo>
                  <a:pt x="9" y="235"/>
                  <a:pt x="9" y="235"/>
                  <a:pt x="9" y="235"/>
                </a:cubicBezTo>
                <a:cubicBezTo>
                  <a:pt x="10" y="234"/>
                  <a:pt x="10" y="234"/>
                  <a:pt x="10" y="234"/>
                </a:cubicBezTo>
                <a:cubicBezTo>
                  <a:pt x="10" y="233"/>
                  <a:pt x="10" y="233"/>
                  <a:pt x="10" y="233"/>
                </a:cubicBezTo>
                <a:cubicBezTo>
                  <a:pt x="10" y="233"/>
                  <a:pt x="10" y="233"/>
                  <a:pt x="10" y="233"/>
                </a:cubicBezTo>
                <a:cubicBezTo>
                  <a:pt x="11" y="233"/>
                  <a:pt x="11" y="233"/>
                  <a:pt x="11" y="233"/>
                </a:cubicBezTo>
                <a:cubicBezTo>
                  <a:pt x="12" y="234"/>
                  <a:pt x="12" y="234"/>
                  <a:pt x="12" y="234"/>
                </a:cubicBezTo>
                <a:cubicBezTo>
                  <a:pt x="12" y="235"/>
                  <a:pt x="12" y="235"/>
                  <a:pt x="12" y="235"/>
                </a:cubicBezTo>
                <a:cubicBezTo>
                  <a:pt x="13" y="236"/>
                  <a:pt x="13" y="236"/>
                  <a:pt x="13" y="236"/>
                </a:cubicBezTo>
                <a:cubicBezTo>
                  <a:pt x="13" y="234"/>
                  <a:pt x="13" y="234"/>
                  <a:pt x="13" y="234"/>
                </a:cubicBezTo>
                <a:cubicBezTo>
                  <a:pt x="13" y="233"/>
                  <a:pt x="13" y="233"/>
                  <a:pt x="13" y="233"/>
                </a:cubicBezTo>
                <a:cubicBezTo>
                  <a:pt x="14" y="233"/>
                  <a:pt x="14" y="233"/>
                  <a:pt x="14" y="233"/>
                </a:cubicBezTo>
                <a:cubicBezTo>
                  <a:pt x="15" y="233"/>
                  <a:pt x="15" y="233"/>
                  <a:pt x="15" y="233"/>
                </a:cubicBezTo>
                <a:cubicBezTo>
                  <a:pt x="13" y="232"/>
                  <a:pt x="13" y="232"/>
                  <a:pt x="13" y="232"/>
                </a:cubicBezTo>
                <a:cubicBezTo>
                  <a:pt x="14" y="232"/>
                  <a:pt x="14" y="232"/>
                  <a:pt x="14" y="232"/>
                </a:cubicBezTo>
                <a:cubicBezTo>
                  <a:pt x="14" y="232"/>
                  <a:pt x="14" y="232"/>
                  <a:pt x="14" y="232"/>
                </a:cubicBezTo>
                <a:cubicBezTo>
                  <a:pt x="15" y="232"/>
                  <a:pt x="15" y="232"/>
                  <a:pt x="15" y="232"/>
                </a:cubicBezTo>
                <a:cubicBezTo>
                  <a:pt x="15" y="232"/>
                  <a:pt x="15" y="232"/>
                  <a:pt x="15" y="232"/>
                </a:cubicBezTo>
                <a:cubicBezTo>
                  <a:pt x="15" y="231"/>
                  <a:pt x="15" y="231"/>
                  <a:pt x="15" y="231"/>
                </a:cubicBezTo>
                <a:cubicBezTo>
                  <a:pt x="14" y="231"/>
                  <a:pt x="14" y="231"/>
                  <a:pt x="14" y="231"/>
                </a:cubicBezTo>
                <a:cubicBezTo>
                  <a:pt x="14" y="230"/>
                  <a:pt x="14" y="230"/>
                  <a:pt x="14" y="230"/>
                </a:cubicBezTo>
                <a:cubicBezTo>
                  <a:pt x="16" y="230"/>
                  <a:pt x="16" y="230"/>
                  <a:pt x="16" y="230"/>
                </a:cubicBezTo>
                <a:cubicBezTo>
                  <a:pt x="17" y="231"/>
                  <a:pt x="17" y="231"/>
                  <a:pt x="17" y="231"/>
                </a:cubicBezTo>
                <a:cubicBezTo>
                  <a:pt x="18" y="232"/>
                  <a:pt x="18" y="232"/>
                  <a:pt x="18" y="232"/>
                </a:cubicBezTo>
                <a:cubicBezTo>
                  <a:pt x="18" y="232"/>
                  <a:pt x="18" y="232"/>
                  <a:pt x="18" y="232"/>
                </a:cubicBezTo>
                <a:cubicBezTo>
                  <a:pt x="19" y="232"/>
                  <a:pt x="19" y="232"/>
                  <a:pt x="19" y="232"/>
                </a:cubicBezTo>
                <a:cubicBezTo>
                  <a:pt x="20" y="232"/>
                  <a:pt x="20" y="232"/>
                  <a:pt x="20" y="232"/>
                </a:cubicBezTo>
                <a:cubicBezTo>
                  <a:pt x="20" y="233"/>
                  <a:pt x="20" y="233"/>
                  <a:pt x="20" y="233"/>
                </a:cubicBezTo>
                <a:cubicBezTo>
                  <a:pt x="21" y="233"/>
                  <a:pt x="21" y="233"/>
                  <a:pt x="21" y="233"/>
                </a:cubicBezTo>
                <a:cubicBezTo>
                  <a:pt x="21" y="234"/>
                  <a:pt x="21" y="234"/>
                  <a:pt x="21" y="234"/>
                </a:cubicBezTo>
                <a:cubicBezTo>
                  <a:pt x="20" y="235"/>
                  <a:pt x="20" y="235"/>
                  <a:pt x="20" y="235"/>
                </a:cubicBezTo>
                <a:cubicBezTo>
                  <a:pt x="19" y="234"/>
                  <a:pt x="19" y="234"/>
                  <a:pt x="19" y="234"/>
                </a:cubicBezTo>
                <a:cubicBezTo>
                  <a:pt x="17" y="235"/>
                  <a:pt x="17" y="235"/>
                  <a:pt x="17" y="235"/>
                </a:cubicBezTo>
                <a:cubicBezTo>
                  <a:pt x="16" y="234"/>
                  <a:pt x="16" y="234"/>
                  <a:pt x="16" y="234"/>
                </a:cubicBezTo>
                <a:cubicBezTo>
                  <a:pt x="16" y="233"/>
                  <a:pt x="16" y="233"/>
                  <a:pt x="16" y="233"/>
                </a:cubicBezTo>
                <a:cubicBezTo>
                  <a:pt x="16" y="234"/>
                  <a:pt x="16" y="234"/>
                  <a:pt x="16" y="234"/>
                </a:cubicBezTo>
                <a:cubicBezTo>
                  <a:pt x="16" y="235"/>
                  <a:pt x="16" y="235"/>
                  <a:pt x="16" y="235"/>
                </a:cubicBezTo>
                <a:cubicBezTo>
                  <a:pt x="16" y="236"/>
                  <a:pt x="16" y="236"/>
                  <a:pt x="16" y="236"/>
                </a:cubicBezTo>
                <a:cubicBezTo>
                  <a:pt x="17" y="235"/>
                  <a:pt x="17" y="235"/>
                  <a:pt x="17" y="235"/>
                </a:cubicBezTo>
                <a:cubicBezTo>
                  <a:pt x="17" y="236"/>
                  <a:pt x="17" y="236"/>
                  <a:pt x="17" y="236"/>
                </a:cubicBezTo>
                <a:cubicBezTo>
                  <a:pt x="18" y="237"/>
                  <a:pt x="18" y="237"/>
                  <a:pt x="18" y="237"/>
                </a:cubicBezTo>
                <a:cubicBezTo>
                  <a:pt x="19" y="236"/>
                  <a:pt x="19" y="236"/>
                  <a:pt x="19" y="236"/>
                </a:cubicBezTo>
                <a:cubicBezTo>
                  <a:pt x="20" y="236"/>
                  <a:pt x="20" y="236"/>
                  <a:pt x="20" y="236"/>
                </a:cubicBezTo>
                <a:cubicBezTo>
                  <a:pt x="20" y="237"/>
                  <a:pt x="20" y="237"/>
                  <a:pt x="20" y="237"/>
                </a:cubicBezTo>
                <a:cubicBezTo>
                  <a:pt x="20" y="237"/>
                  <a:pt x="20" y="237"/>
                  <a:pt x="20" y="237"/>
                </a:cubicBezTo>
                <a:cubicBezTo>
                  <a:pt x="21" y="236"/>
                  <a:pt x="21" y="236"/>
                  <a:pt x="21" y="236"/>
                </a:cubicBezTo>
                <a:cubicBezTo>
                  <a:pt x="21" y="237"/>
                  <a:pt x="21" y="237"/>
                  <a:pt x="21" y="237"/>
                </a:cubicBezTo>
                <a:cubicBezTo>
                  <a:pt x="21" y="237"/>
                  <a:pt x="21" y="237"/>
                  <a:pt x="21" y="237"/>
                </a:cubicBezTo>
                <a:cubicBezTo>
                  <a:pt x="21" y="238"/>
                  <a:pt x="21" y="238"/>
                  <a:pt x="21" y="238"/>
                </a:cubicBezTo>
                <a:cubicBezTo>
                  <a:pt x="22" y="237"/>
                  <a:pt x="22" y="237"/>
                  <a:pt x="22" y="237"/>
                </a:cubicBezTo>
                <a:cubicBezTo>
                  <a:pt x="22" y="236"/>
                  <a:pt x="22" y="236"/>
                  <a:pt x="22" y="236"/>
                </a:cubicBezTo>
                <a:cubicBezTo>
                  <a:pt x="23" y="236"/>
                  <a:pt x="23" y="236"/>
                  <a:pt x="23" y="236"/>
                </a:cubicBezTo>
                <a:cubicBezTo>
                  <a:pt x="23" y="237"/>
                  <a:pt x="23" y="237"/>
                  <a:pt x="23" y="237"/>
                </a:cubicBezTo>
                <a:cubicBezTo>
                  <a:pt x="22" y="238"/>
                  <a:pt x="22" y="238"/>
                  <a:pt x="22" y="238"/>
                </a:cubicBezTo>
                <a:cubicBezTo>
                  <a:pt x="23" y="238"/>
                  <a:pt x="23" y="238"/>
                  <a:pt x="23" y="238"/>
                </a:cubicBezTo>
                <a:cubicBezTo>
                  <a:pt x="24" y="238"/>
                  <a:pt x="24" y="238"/>
                  <a:pt x="24" y="238"/>
                </a:cubicBezTo>
                <a:cubicBezTo>
                  <a:pt x="23" y="239"/>
                  <a:pt x="23" y="239"/>
                  <a:pt x="23" y="239"/>
                </a:cubicBezTo>
                <a:cubicBezTo>
                  <a:pt x="22" y="240"/>
                  <a:pt x="22" y="240"/>
                  <a:pt x="22" y="240"/>
                </a:cubicBezTo>
                <a:cubicBezTo>
                  <a:pt x="24" y="240"/>
                  <a:pt x="24" y="240"/>
                  <a:pt x="24" y="240"/>
                </a:cubicBezTo>
                <a:cubicBezTo>
                  <a:pt x="24" y="238"/>
                  <a:pt x="24" y="238"/>
                  <a:pt x="24" y="238"/>
                </a:cubicBezTo>
                <a:cubicBezTo>
                  <a:pt x="24" y="237"/>
                  <a:pt x="24" y="237"/>
                  <a:pt x="24" y="237"/>
                </a:cubicBezTo>
                <a:cubicBezTo>
                  <a:pt x="25" y="237"/>
                  <a:pt x="25" y="237"/>
                  <a:pt x="25" y="237"/>
                </a:cubicBezTo>
                <a:cubicBezTo>
                  <a:pt x="26" y="237"/>
                  <a:pt x="26" y="237"/>
                  <a:pt x="26" y="237"/>
                </a:cubicBezTo>
                <a:cubicBezTo>
                  <a:pt x="27" y="237"/>
                  <a:pt x="27" y="237"/>
                  <a:pt x="27" y="237"/>
                </a:cubicBezTo>
                <a:cubicBezTo>
                  <a:pt x="27" y="237"/>
                  <a:pt x="27" y="237"/>
                  <a:pt x="27" y="237"/>
                </a:cubicBezTo>
                <a:cubicBezTo>
                  <a:pt x="26" y="236"/>
                  <a:pt x="26" y="236"/>
                  <a:pt x="26" y="236"/>
                </a:cubicBezTo>
                <a:cubicBezTo>
                  <a:pt x="26" y="236"/>
                  <a:pt x="26" y="236"/>
                  <a:pt x="26" y="236"/>
                </a:cubicBezTo>
                <a:cubicBezTo>
                  <a:pt x="28" y="236"/>
                  <a:pt x="28" y="236"/>
                  <a:pt x="28" y="236"/>
                </a:cubicBezTo>
                <a:cubicBezTo>
                  <a:pt x="28" y="237"/>
                  <a:pt x="28" y="237"/>
                  <a:pt x="28" y="237"/>
                </a:cubicBezTo>
                <a:cubicBezTo>
                  <a:pt x="30" y="237"/>
                  <a:pt x="30" y="237"/>
                  <a:pt x="30" y="237"/>
                </a:cubicBezTo>
                <a:cubicBezTo>
                  <a:pt x="31" y="238"/>
                  <a:pt x="31" y="238"/>
                  <a:pt x="31" y="238"/>
                </a:cubicBezTo>
                <a:cubicBezTo>
                  <a:pt x="32" y="237"/>
                  <a:pt x="32" y="237"/>
                  <a:pt x="32" y="237"/>
                </a:cubicBezTo>
                <a:cubicBezTo>
                  <a:pt x="32" y="237"/>
                  <a:pt x="32" y="237"/>
                  <a:pt x="32" y="237"/>
                </a:cubicBezTo>
                <a:cubicBezTo>
                  <a:pt x="34" y="237"/>
                  <a:pt x="34" y="237"/>
                  <a:pt x="34" y="237"/>
                </a:cubicBezTo>
                <a:cubicBezTo>
                  <a:pt x="35" y="238"/>
                  <a:pt x="35" y="238"/>
                  <a:pt x="35" y="238"/>
                </a:cubicBezTo>
                <a:cubicBezTo>
                  <a:pt x="35" y="237"/>
                  <a:pt x="35" y="237"/>
                  <a:pt x="35" y="237"/>
                </a:cubicBezTo>
                <a:cubicBezTo>
                  <a:pt x="37" y="238"/>
                  <a:pt x="37" y="238"/>
                  <a:pt x="37" y="238"/>
                </a:cubicBezTo>
                <a:cubicBezTo>
                  <a:pt x="43" y="241"/>
                  <a:pt x="43" y="241"/>
                  <a:pt x="43" y="241"/>
                </a:cubicBezTo>
                <a:cubicBezTo>
                  <a:pt x="47" y="244"/>
                  <a:pt x="47" y="244"/>
                  <a:pt x="47" y="244"/>
                </a:cubicBezTo>
                <a:cubicBezTo>
                  <a:pt x="48" y="245"/>
                  <a:pt x="48" y="245"/>
                  <a:pt x="48" y="245"/>
                </a:cubicBezTo>
                <a:cubicBezTo>
                  <a:pt x="50" y="246"/>
                  <a:pt x="50" y="246"/>
                  <a:pt x="50" y="246"/>
                </a:cubicBezTo>
                <a:cubicBezTo>
                  <a:pt x="51" y="248"/>
                  <a:pt x="51" y="248"/>
                  <a:pt x="51" y="248"/>
                </a:cubicBezTo>
                <a:cubicBezTo>
                  <a:pt x="52" y="248"/>
                  <a:pt x="52" y="248"/>
                  <a:pt x="52" y="248"/>
                </a:cubicBezTo>
                <a:cubicBezTo>
                  <a:pt x="52" y="247"/>
                  <a:pt x="52" y="247"/>
                  <a:pt x="52" y="247"/>
                </a:cubicBezTo>
                <a:cubicBezTo>
                  <a:pt x="52" y="247"/>
                  <a:pt x="52" y="247"/>
                  <a:pt x="52" y="247"/>
                </a:cubicBezTo>
                <a:cubicBezTo>
                  <a:pt x="52" y="247"/>
                  <a:pt x="52" y="247"/>
                  <a:pt x="52" y="247"/>
                </a:cubicBezTo>
                <a:cubicBezTo>
                  <a:pt x="54" y="248"/>
                  <a:pt x="54" y="248"/>
                  <a:pt x="54" y="248"/>
                </a:cubicBezTo>
                <a:cubicBezTo>
                  <a:pt x="55" y="248"/>
                  <a:pt x="55" y="248"/>
                  <a:pt x="55" y="248"/>
                </a:cubicBezTo>
                <a:cubicBezTo>
                  <a:pt x="57" y="250"/>
                  <a:pt x="57" y="250"/>
                  <a:pt x="57" y="250"/>
                </a:cubicBezTo>
                <a:cubicBezTo>
                  <a:pt x="58" y="250"/>
                  <a:pt x="58" y="250"/>
                  <a:pt x="58" y="250"/>
                </a:cubicBezTo>
                <a:cubicBezTo>
                  <a:pt x="57" y="248"/>
                  <a:pt x="57" y="248"/>
                  <a:pt x="57" y="248"/>
                </a:cubicBezTo>
                <a:cubicBezTo>
                  <a:pt x="56" y="247"/>
                  <a:pt x="56" y="247"/>
                  <a:pt x="56" y="247"/>
                </a:cubicBezTo>
                <a:cubicBezTo>
                  <a:pt x="57" y="247"/>
                  <a:pt x="57" y="247"/>
                  <a:pt x="57" y="247"/>
                </a:cubicBezTo>
                <a:cubicBezTo>
                  <a:pt x="58" y="249"/>
                  <a:pt x="58" y="249"/>
                  <a:pt x="58" y="249"/>
                </a:cubicBezTo>
                <a:cubicBezTo>
                  <a:pt x="58" y="250"/>
                  <a:pt x="58" y="250"/>
                  <a:pt x="58" y="250"/>
                </a:cubicBezTo>
                <a:cubicBezTo>
                  <a:pt x="61" y="252"/>
                  <a:pt x="61" y="252"/>
                  <a:pt x="61" y="252"/>
                </a:cubicBezTo>
                <a:cubicBezTo>
                  <a:pt x="61" y="253"/>
                  <a:pt x="61" y="253"/>
                  <a:pt x="61" y="253"/>
                </a:cubicBezTo>
                <a:cubicBezTo>
                  <a:pt x="62" y="253"/>
                  <a:pt x="62" y="253"/>
                  <a:pt x="62" y="253"/>
                </a:cubicBezTo>
                <a:cubicBezTo>
                  <a:pt x="62" y="253"/>
                  <a:pt x="62" y="253"/>
                  <a:pt x="62" y="253"/>
                </a:cubicBezTo>
                <a:cubicBezTo>
                  <a:pt x="63" y="253"/>
                  <a:pt x="63" y="253"/>
                  <a:pt x="63" y="253"/>
                </a:cubicBezTo>
                <a:cubicBezTo>
                  <a:pt x="65" y="254"/>
                  <a:pt x="65" y="254"/>
                  <a:pt x="65" y="254"/>
                </a:cubicBezTo>
                <a:cubicBezTo>
                  <a:pt x="65" y="256"/>
                  <a:pt x="65" y="256"/>
                  <a:pt x="65" y="256"/>
                </a:cubicBezTo>
                <a:cubicBezTo>
                  <a:pt x="66" y="256"/>
                  <a:pt x="66" y="256"/>
                  <a:pt x="66" y="256"/>
                </a:cubicBezTo>
                <a:cubicBezTo>
                  <a:pt x="67" y="258"/>
                  <a:pt x="67" y="258"/>
                  <a:pt x="67" y="258"/>
                </a:cubicBezTo>
                <a:cubicBezTo>
                  <a:pt x="67" y="258"/>
                  <a:pt x="67" y="258"/>
                  <a:pt x="67" y="258"/>
                </a:cubicBezTo>
                <a:cubicBezTo>
                  <a:pt x="68" y="258"/>
                  <a:pt x="68" y="258"/>
                  <a:pt x="68" y="258"/>
                </a:cubicBezTo>
                <a:cubicBezTo>
                  <a:pt x="68" y="260"/>
                  <a:pt x="68" y="260"/>
                  <a:pt x="68" y="260"/>
                </a:cubicBezTo>
                <a:cubicBezTo>
                  <a:pt x="68" y="261"/>
                  <a:pt x="68" y="261"/>
                  <a:pt x="68" y="261"/>
                </a:cubicBezTo>
                <a:cubicBezTo>
                  <a:pt x="68" y="263"/>
                  <a:pt x="68" y="263"/>
                  <a:pt x="68" y="263"/>
                </a:cubicBezTo>
                <a:cubicBezTo>
                  <a:pt x="67" y="264"/>
                  <a:pt x="67" y="264"/>
                  <a:pt x="67" y="264"/>
                </a:cubicBezTo>
                <a:cubicBezTo>
                  <a:pt x="67" y="265"/>
                  <a:pt x="67" y="265"/>
                  <a:pt x="67" y="265"/>
                </a:cubicBezTo>
                <a:cubicBezTo>
                  <a:pt x="66" y="267"/>
                  <a:pt x="66" y="267"/>
                  <a:pt x="66" y="267"/>
                </a:cubicBezTo>
                <a:cubicBezTo>
                  <a:pt x="66" y="267"/>
                  <a:pt x="66" y="267"/>
                  <a:pt x="66" y="267"/>
                </a:cubicBezTo>
                <a:cubicBezTo>
                  <a:pt x="63" y="271"/>
                  <a:pt x="63" y="271"/>
                  <a:pt x="63" y="271"/>
                </a:cubicBezTo>
                <a:cubicBezTo>
                  <a:pt x="62" y="272"/>
                  <a:pt x="62" y="272"/>
                  <a:pt x="62" y="272"/>
                </a:cubicBezTo>
                <a:cubicBezTo>
                  <a:pt x="59" y="272"/>
                  <a:pt x="59" y="272"/>
                  <a:pt x="59" y="272"/>
                </a:cubicBezTo>
                <a:cubicBezTo>
                  <a:pt x="59" y="273"/>
                  <a:pt x="59" y="273"/>
                  <a:pt x="59" y="273"/>
                </a:cubicBezTo>
                <a:cubicBezTo>
                  <a:pt x="57" y="273"/>
                  <a:pt x="57" y="273"/>
                  <a:pt x="57" y="273"/>
                </a:cubicBezTo>
                <a:cubicBezTo>
                  <a:pt x="56" y="273"/>
                  <a:pt x="56" y="273"/>
                  <a:pt x="56" y="273"/>
                </a:cubicBezTo>
                <a:cubicBezTo>
                  <a:pt x="54" y="274"/>
                  <a:pt x="54" y="274"/>
                  <a:pt x="54" y="274"/>
                </a:cubicBezTo>
                <a:cubicBezTo>
                  <a:pt x="50" y="273"/>
                  <a:pt x="50" y="273"/>
                  <a:pt x="50" y="273"/>
                </a:cubicBezTo>
                <a:cubicBezTo>
                  <a:pt x="48" y="273"/>
                  <a:pt x="48" y="273"/>
                  <a:pt x="48" y="273"/>
                </a:cubicBezTo>
                <a:cubicBezTo>
                  <a:pt x="46" y="272"/>
                  <a:pt x="46" y="272"/>
                  <a:pt x="46" y="272"/>
                </a:cubicBezTo>
                <a:cubicBezTo>
                  <a:pt x="45" y="272"/>
                  <a:pt x="45" y="272"/>
                  <a:pt x="45" y="272"/>
                </a:cubicBezTo>
                <a:cubicBezTo>
                  <a:pt x="44" y="272"/>
                  <a:pt x="44" y="272"/>
                  <a:pt x="44" y="272"/>
                </a:cubicBezTo>
                <a:cubicBezTo>
                  <a:pt x="43" y="272"/>
                  <a:pt x="43" y="272"/>
                  <a:pt x="43" y="272"/>
                </a:cubicBezTo>
                <a:cubicBezTo>
                  <a:pt x="42" y="271"/>
                  <a:pt x="42" y="271"/>
                  <a:pt x="42" y="271"/>
                </a:cubicBezTo>
                <a:cubicBezTo>
                  <a:pt x="41" y="271"/>
                  <a:pt x="41" y="271"/>
                  <a:pt x="41" y="271"/>
                </a:cubicBezTo>
                <a:cubicBezTo>
                  <a:pt x="40" y="272"/>
                  <a:pt x="40" y="272"/>
                  <a:pt x="40" y="272"/>
                </a:cubicBezTo>
                <a:cubicBezTo>
                  <a:pt x="39" y="270"/>
                  <a:pt x="39" y="270"/>
                  <a:pt x="39" y="270"/>
                </a:cubicBezTo>
                <a:cubicBezTo>
                  <a:pt x="39" y="269"/>
                  <a:pt x="39" y="269"/>
                  <a:pt x="39" y="269"/>
                </a:cubicBezTo>
                <a:cubicBezTo>
                  <a:pt x="38" y="270"/>
                  <a:pt x="38" y="270"/>
                  <a:pt x="38" y="270"/>
                </a:cubicBezTo>
                <a:cubicBezTo>
                  <a:pt x="37" y="270"/>
                  <a:pt x="37" y="270"/>
                  <a:pt x="37" y="270"/>
                </a:cubicBezTo>
                <a:cubicBezTo>
                  <a:pt x="37" y="269"/>
                  <a:pt x="37" y="269"/>
                  <a:pt x="37" y="269"/>
                </a:cubicBezTo>
                <a:cubicBezTo>
                  <a:pt x="35" y="269"/>
                  <a:pt x="35" y="269"/>
                  <a:pt x="35" y="269"/>
                </a:cubicBezTo>
                <a:cubicBezTo>
                  <a:pt x="35" y="270"/>
                  <a:pt x="35" y="270"/>
                  <a:pt x="35" y="270"/>
                </a:cubicBezTo>
                <a:cubicBezTo>
                  <a:pt x="33" y="270"/>
                  <a:pt x="33" y="270"/>
                  <a:pt x="33" y="270"/>
                </a:cubicBezTo>
                <a:cubicBezTo>
                  <a:pt x="33" y="269"/>
                  <a:pt x="33" y="269"/>
                  <a:pt x="33" y="269"/>
                </a:cubicBezTo>
                <a:cubicBezTo>
                  <a:pt x="33" y="269"/>
                  <a:pt x="33" y="269"/>
                  <a:pt x="33" y="269"/>
                </a:cubicBezTo>
                <a:cubicBezTo>
                  <a:pt x="34" y="268"/>
                  <a:pt x="34" y="268"/>
                  <a:pt x="34" y="268"/>
                </a:cubicBezTo>
                <a:cubicBezTo>
                  <a:pt x="33" y="267"/>
                  <a:pt x="33" y="267"/>
                  <a:pt x="33" y="267"/>
                </a:cubicBezTo>
                <a:cubicBezTo>
                  <a:pt x="33" y="268"/>
                  <a:pt x="33" y="268"/>
                  <a:pt x="33" y="268"/>
                </a:cubicBezTo>
                <a:cubicBezTo>
                  <a:pt x="30" y="268"/>
                  <a:pt x="30" y="268"/>
                  <a:pt x="30" y="268"/>
                </a:cubicBezTo>
                <a:cubicBezTo>
                  <a:pt x="29" y="267"/>
                  <a:pt x="29" y="267"/>
                  <a:pt x="29" y="267"/>
                </a:cubicBezTo>
                <a:cubicBezTo>
                  <a:pt x="29" y="267"/>
                  <a:pt x="29" y="267"/>
                  <a:pt x="29" y="267"/>
                </a:cubicBezTo>
                <a:cubicBezTo>
                  <a:pt x="28" y="267"/>
                  <a:pt x="28" y="267"/>
                  <a:pt x="28" y="267"/>
                </a:cubicBezTo>
                <a:cubicBezTo>
                  <a:pt x="25" y="265"/>
                  <a:pt x="25" y="265"/>
                  <a:pt x="25" y="265"/>
                </a:cubicBezTo>
                <a:cubicBezTo>
                  <a:pt x="25" y="264"/>
                  <a:pt x="25" y="264"/>
                  <a:pt x="25" y="264"/>
                </a:cubicBezTo>
                <a:cubicBezTo>
                  <a:pt x="24" y="264"/>
                  <a:pt x="24" y="264"/>
                  <a:pt x="24" y="264"/>
                </a:cubicBezTo>
                <a:cubicBezTo>
                  <a:pt x="23" y="263"/>
                  <a:pt x="23" y="263"/>
                  <a:pt x="23" y="263"/>
                </a:cubicBezTo>
                <a:cubicBezTo>
                  <a:pt x="22" y="263"/>
                  <a:pt x="22" y="263"/>
                  <a:pt x="22" y="263"/>
                </a:cubicBezTo>
                <a:cubicBezTo>
                  <a:pt x="22" y="264"/>
                  <a:pt x="22" y="264"/>
                  <a:pt x="22" y="264"/>
                </a:cubicBezTo>
                <a:cubicBezTo>
                  <a:pt x="23" y="265"/>
                  <a:pt x="23" y="265"/>
                  <a:pt x="23" y="265"/>
                </a:cubicBezTo>
                <a:cubicBezTo>
                  <a:pt x="23" y="266"/>
                  <a:pt x="23" y="266"/>
                  <a:pt x="23" y="266"/>
                </a:cubicBezTo>
                <a:cubicBezTo>
                  <a:pt x="25" y="267"/>
                  <a:pt x="25" y="267"/>
                  <a:pt x="25" y="267"/>
                </a:cubicBezTo>
                <a:cubicBezTo>
                  <a:pt x="25" y="268"/>
                  <a:pt x="25" y="268"/>
                  <a:pt x="25" y="268"/>
                </a:cubicBezTo>
                <a:cubicBezTo>
                  <a:pt x="27" y="269"/>
                  <a:pt x="27" y="269"/>
                  <a:pt x="27" y="269"/>
                </a:cubicBezTo>
                <a:cubicBezTo>
                  <a:pt x="27" y="269"/>
                  <a:pt x="27" y="269"/>
                  <a:pt x="27" y="269"/>
                </a:cubicBezTo>
                <a:cubicBezTo>
                  <a:pt x="26" y="270"/>
                  <a:pt x="26" y="270"/>
                  <a:pt x="26" y="270"/>
                </a:cubicBezTo>
                <a:cubicBezTo>
                  <a:pt x="26" y="271"/>
                  <a:pt x="26" y="271"/>
                  <a:pt x="26" y="271"/>
                </a:cubicBezTo>
                <a:cubicBezTo>
                  <a:pt x="26" y="271"/>
                  <a:pt x="26" y="271"/>
                  <a:pt x="26" y="271"/>
                </a:cubicBezTo>
                <a:cubicBezTo>
                  <a:pt x="28" y="270"/>
                  <a:pt x="28" y="270"/>
                  <a:pt x="28" y="270"/>
                </a:cubicBezTo>
                <a:cubicBezTo>
                  <a:pt x="29" y="270"/>
                  <a:pt x="29" y="270"/>
                  <a:pt x="29" y="270"/>
                </a:cubicBezTo>
                <a:cubicBezTo>
                  <a:pt x="30" y="270"/>
                  <a:pt x="30" y="270"/>
                  <a:pt x="30" y="270"/>
                </a:cubicBezTo>
                <a:cubicBezTo>
                  <a:pt x="29" y="271"/>
                  <a:pt x="29" y="271"/>
                  <a:pt x="29" y="271"/>
                </a:cubicBezTo>
                <a:cubicBezTo>
                  <a:pt x="29" y="271"/>
                  <a:pt x="29" y="271"/>
                  <a:pt x="29" y="271"/>
                </a:cubicBezTo>
                <a:cubicBezTo>
                  <a:pt x="30" y="271"/>
                  <a:pt x="30" y="271"/>
                  <a:pt x="30" y="271"/>
                </a:cubicBezTo>
                <a:cubicBezTo>
                  <a:pt x="30" y="272"/>
                  <a:pt x="30" y="272"/>
                  <a:pt x="30" y="272"/>
                </a:cubicBezTo>
                <a:cubicBezTo>
                  <a:pt x="29" y="272"/>
                  <a:pt x="29" y="272"/>
                  <a:pt x="29" y="272"/>
                </a:cubicBezTo>
                <a:cubicBezTo>
                  <a:pt x="28" y="273"/>
                  <a:pt x="28" y="273"/>
                  <a:pt x="28" y="273"/>
                </a:cubicBezTo>
                <a:cubicBezTo>
                  <a:pt x="30" y="273"/>
                  <a:pt x="30" y="273"/>
                  <a:pt x="30" y="273"/>
                </a:cubicBezTo>
                <a:cubicBezTo>
                  <a:pt x="30" y="273"/>
                  <a:pt x="30" y="273"/>
                  <a:pt x="30" y="273"/>
                </a:cubicBezTo>
                <a:cubicBezTo>
                  <a:pt x="31" y="273"/>
                  <a:pt x="31" y="273"/>
                  <a:pt x="31" y="273"/>
                </a:cubicBezTo>
                <a:cubicBezTo>
                  <a:pt x="32" y="274"/>
                  <a:pt x="32" y="274"/>
                  <a:pt x="32" y="274"/>
                </a:cubicBezTo>
                <a:cubicBezTo>
                  <a:pt x="32" y="273"/>
                  <a:pt x="32" y="273"/>
                  <a:pt x="32" y="273"/>
                </a:cubicBezTo>
                <a:cubicBezTo>
                  <a:pt x="35" y="274"/>
                  <a:pt x="35" y="274"/>
                  <a:pt x="35" y="274"/>
                </a:cubicBezTo>
                <a:cubicBezTo>
                  <a:pt x="37" y="276"/>
                  <a:pt x="37" y="276"/>
                  <a:pt x="37" y="276"/>
                </a:cubicBezTo>
                <a:cubicBezTo>
                  <a:pt x="37" y="276"/>
                  <a:pt x="37" y="276"/>
                  <a:pt x="37" y="276"/>
                </a:cubicBezTo>
                <a:cubicBezTo>
                  <a:pt x="37" y="277"/>
                  <a:pt x="37" y="277"/>
                  <a:pt x="37" y="277"/>
                </a:cubicBezTo>
                <a:cubicBezTo>
                  <a:pt x="37" y="278"/>
                  <a:pt x="37" y="278"/>
                  <a:pt x="37" y="278"/>
                </a:cubicBezTo>
                <a:cubicBezTo>
                  <a:pt x="37" y="278"/>
                  <a:pt x="37" y="278"/>
                  <a:pt x="37" y="278"/>
                </a:cubicBezTo>
                <a:cubicBezTo>
                  <a:pt x="37" y="279"/>
                  <a:pt x="37" y="279"/>
                  <a:pt x="37" y="279"/>
                </a:cubicBezTo>
                <a:cubicBezTo>
                  <a:pt x="37" y="281"/>
                  <a:pt x="37" y="281"/>
                  <a:pt x="37" y="281"/>
                </a:cubicBezTo>
                <a:cubicBezTo>
                  <a:pt x="36" y="282"/>
                  <a:pt x="36" y="282"/>
                  <a:pt x="36" y="282"/>
                </a:cubicBezTo>
                <a:cubicBezTo>
                  <a:pt x="36" y="283"/>
                  <a:pt x="36" y="283"/>
                  <a:pt x="36" y="283"/>
                </a:cubicBezTo>
                <a:cubicBezTo>
                  <a:pt x="37" y="283"/>
                  <a:pt x="37" y="283"/>
                  <a:pt x="37" y="283"/>
                </a:cubicBezTo>
                <a:cubicBezTo>
                  <a:pt x="37" y="284"/>
                  <a:pt x="37" y="284"/>
                  <a:pt x="37" y="284"/>
                </a:cubicBezTo>
                <a:cubicBezTo>
                  <a:pt x="39" y="286"/>
                  <a:pt x="39" y="286"/>
                  <a:pt x="39" y="286"/>
                </a:cubicBezTo>
                <a:cubicBezTo>
                  <a:pt x="39" y="287"/>
                  <a:pt x="39" y="287"/>
                  <a:pt x="39" y="287"/>
                </a:cubicBezTo>
                <a:cubicBezTo>
                  <a:pt x="40" y="288"/>
                  <a:pt x="40" y="288"/>
                  <a:pt x="40" y="288"/>
                </a:cubicBezTo>
                <a:cubicBezTo>
                  <a:pt x="40" y="289"/>
                  <a:pt x="40" y="289"/>
                  <a:pt x="40" y="289"/>
                </a:cubicBezTo>
                <a:cubicBezTo>
                  <a:pt x="40" y="291"/>
                  <a:pt x="40" y="291"/>
                  <a:pt x="40" y="291"/>
                </a:cubicBezTo>
                <a:cubicBezTo>
                  <a:pt x="40" y="292"/>
                  <a:pt x="40" y="292"/>
                  <a:pt x="40" y="292"/>
                </a:cubicBezTo>
                <a:cubicBezTo>
                  <a:pt x="40" y="292"/>
                  <a:pt x="40" y="292"/>
                  <a:pt x="40" y="292"/>
                </a:cubicBezTo>
                <a:cubicBezTo>
                  <a:pt x="41" y="293"/>
                  <a:pt x="41" y="293"/>
                  <a:pt x="41" y="293"/>
                </a:cubicBezTo>
                <a:cubicBezTo>
                  <a:pt x="43" y="294"/>
                  <a:pt x="43" y="294"/>
                  <a:pt x="43" y="294"/>
                </a:cubicBezTo>
                <a:cubicBezTo>
                  <a:pt x="44" y="293"/>
                  <a:pt x="44" y="293"/>
                  <a:pt x="44" y="293"/>
                </a:cubicBezTo>
                <a:cubicBezTo>
                  <a:pt x="45" y="293"/>
                  <a:pt x="45" y="293"/>
                  <a:pt x="45" y="293"/>
                </a:cubicBezTo>
                <a:cubicBezTo>
                  <a:pt x="46" y="295"/>
                  <a:pt x="46" y="295"/>
                  <a:pt x="46" y="295"/>
                </a:cubicBezTo>
                <a:cubicBezTo>
                  <a:pt x="47" y="295"/>
                  <a:pt x="47" y="295"/>
                  <a:pt x="47" y="295"/>
                </a:cubicBezTo>
                <a:cubicBezTo>
                  <a:pt x="47" y="297"/>
                  <a:pt x="47" y="297"/>
                  <a:pt x="47" y="297"/>
                </a:cubicBezTo>
                <a:cubicBezTo>
                  <a:pt x="48" y="297"/>
                  <a:pt x="48" y="297"/>
                  <a:pt x="48" y="297"/>
                </a:cubicBezTo>
                <a:cubicBezTo>
                  <a:pt x="50" y="297"/>
                  <a:pt x="50" y="297"/>
                  <a:pt x="50" y="297"/>
                </a:cubicBezTo>
                <a:cubicBezTo>
                  <a:pt x="50" y="298"/>
                  <a:pt x="50" y="298"/>
                  <a:pt x="50" y="298"/>
                </a:cubicBezTo>
                <a:cubicBezTo>
                  <a:pt x="52" y="298"/>
                  <a:pt x="52" y="298"/>
                  <a:pt x="52" y="298"/>
                </a:cubicBezTo>
                <a:cubicBezTo>
                  <a:pt x="53" y="299"/>
                  <a:pt x="53" y="299"/>
                  <a:pt x="53" y="299"/>
                </a:cubicBezTo>
                <a:cubicBezTo>
                  <a:pt x="54" y="299"/>
                  <a:pt x="54" y="299"/>
                  <a:pt x="54" y="299"/>
                </a:cubicBezTo>
                <a:cubicBezTo>
                  <a:pt x="55" y="298"/>
                  <a:pt x="55" y="298"/>
                  <a:pt x="55" y="298"/>
                </a:cubicBezTo>
                <a:cubicBezTo>
                  <a:pt x="56" y="297"/>
                  <a:pt x="56" y="297"/>
                  <a:pt x="56" y="297"/>
                </a:cubicBezTo>
                <a:cubicBezTo>
                  <a:pt x="57" y="297"/>
                  <a:pt x="57" y="297"/>
                  <a:pt x="57" y="297"/>
                </a:cubicBezTo>
                <a:cubicBezTo>
                  <a:pt x="57" y="295"/>
                  <a:pt x="57" y="295"/>
                  <a:pt x="57" y="295"/>
                </a:cubicBezTo>
                <a:cubicBezTo>
                  <a:pt x="56" y="294"/>
                  <a:pt x="56" y="294"/>
                  <a:pt x="56" y="294"/>
                </a:cubicBezTo>
                <a:cubicBezTo>
                  <a:pt x="57" y="294"/>
                  <a:pt x="57" y="294"/>
                  <a:pt x="57" y="294"/>
                </a:cubicBezTo>
                <a:cubicBezTo>
                  <a:pt x="57" y="293"/>
                  <a:pt x="57" y="293"/>
                  <a:pt x="57" y="293"/>
                </a:cubicBezTo>
                <a:cubicBezTo>
                  <a:pt x="55" y="293"/>
                  <a:pt x="55" y="293"/>
                  <a:pt x="55" y="293"/>
                </a:cubicBezTo>
                <a:cubicBezTo>
                  <a:pt x="55" y="292"/>
                  <a:pt x="55" y="292"/>
                  <a:pt x="55" y="292"/>
                </a:cubicBezTo>
                <a:cubicBezTo>
                  <a:pt x="54" y="292"/>
                  <a:pt x="54" y="292"/>
                  <a:pt x="54" y="292"/>
                </a:cubicBezTo>
                <a:cubicBezTo>
                  <a:pt x="53" y="292"/>
                  <a:pt x="53" y="292"/>
                  <a:pt x="53" y="292"/>
                </a:cubicBezTo>
                <a:cubicBezTo>
                  <a:pt x="52" y="293"/>
                  <a:pt x="52" y="293"/>
                  <a:pt x="52" y="293"/>
                </a:cubicBezTo>
                <a:cubicBezTo>
                  <a:pt x="51" y="292"/>
                  <a:pt x="51" y="292"/>
                  <a:pt x="51" y="292"/>
                </a:cubicBezTo>
                <a:cubicBezTo>
                  <a:pt x="50" y="291"/>
                  <a:pt x="50" y="291"/>
                  <a:pt x="50" y="291"/>
                </a:cubicBezTo>
                <a:cubicBezTo>
                  <a:pt x="48" y="290"/>
                  <a:pt x="48" y="290"/>
                  <a:pt x="48" y="290"/>
                </a:cubicBezTo>
                <a:cubicBezTo>
                  <a:pt x="48" y="289"/>
                  <a:pt x="48" y="289"/>
                  <a:pt x="48" y="289"/>
                </a:cubicBezTo>
                <a:cubicBezTo>
                  <a:pt x="47" y="287"/>
                  <a:pt x="47" y="287"/>
                  <a:pt x="47" y="287"/>
                </a:cubicBezTo>
                <a:cubicBezTo>
                  <a:pt x="48" y="287"/>
                  <a:pt x="48" y="287"/>
                  <a:pt x="48" y="287"/>
                </a:cubicBezTo>
                <a:cubicBezTo>
                  <a:pt x="49" y="286"/>
                  <a:pt x="49" y="286"/>
                  <a:pt x="49" y="286"/>
                </a:cubicBezTo>
                <a:cubicBezTo>
                  <a:pt x="48" y="285"/>
                  <a:pt x="48" y="285"/>
                  <a:pt x="48" y="285"/>
                </a:cubicBezTo>
                <a:cubicBezTo>
                  <a:pt x="49" y="285"/>
                  <a:pt x="49" y="285"/>
                  <a:pt x="49" y="285"/>
                </a:cubicBezTo>
                <a:cubicBezTo>
                  <a:pt x="48" y="284"/>
                  <a:pt x="48" y="284"/>
                  <a:pt x="48" y="284"/>
                </a:cubicBezTo>
                <a:cubicBezTo>
                  <a:pt x="48" y="283"/>
                  <a:pt x="48" y="283"/>
                  <a:pt x="48" y="283"/>
                </a:cubicBezTo>
                <a:cubicBezTo>
                  <a:pt x="50" y="283"/>
                  <a:pt x="50" y="283"/>
                  <a:pt x="50" y="283"/>
                </a:cubicBezTo>
                <a:cubicBezTo>
                  <a:pt x="51" y="284"/>
                  <a:pt x="51" y="284"/>
                  <a:pt x="51" y="284"/>
                </a:cubicBezTo>
                <a:cubicBezTo>
                  <a:pt x="53" y="284"/>
                  <a:pt x="53" y="284"/>
                  <a:pt x="53" y="284"/>
                </a:cubicBezTo>
                <a:cubicBezTo>
                  <a:pt x="54" y="286"/>
                  <a:pt x="54" y="286"/>
                  <a:pt x="54" y="286"/>
                </a:cubicBezTo>
                <a:cubicBezTo>
                  <a:pt x="55" y="287"/>
                  <a:pt x="55" y="287"/>
                  <a:pt x="55" y="287"/>
                </a:cubicBezTo>
                <a:cubicBezTo>
                  <a:pt x="57" y="287"/>
                  <a:pt x="57" y="287"/>
                  <a:pt x="57" y="287"/>
                </a:cubicBezTo>
                <a:cubicBezTo>
                  <a:pt x="58" y="288"/>
                  <a:pt x="58" y="288"/>
                  <a:pt x="58" y="288"/>
                </a:cubicBezTo>
                <a:cubicBezTo>
                  <a:pt x="59" y="288"/>
                  <a:pt x="59" y="288"/>
                  <a:pt x="59" y="288"/>
                </a:cubicBezTo>
                <a:cubicBezTo>
                  <a:pt x="63" y="290"/>
                  <a:pt x="63" y="290"/>
                  <a:pt x="63" y="290"/>
                </a:cubicBezTo>
                <a:cubicBezTo>
                  <a:pt x="65" y="291"/>
                  <a:pt x="65" y="291"/>
                  <a:pt x="65" y="291"/>
                </a:cubicBezTo>
                <a:cubicBezTo>
                  <a:pt x="65" y="290"/>
                  <a:pt x="65" y="290"/>
                  <a:pt x="65" y="290"/>
                </a:cubicBezTo>
                <a:cubicBezTo>
                  <a:pt x="66" y="289"/>
                  <a:pt x="66" y="289"/>
                  <a:pt x="66" y="289"/>
                </a:cubicBezTo>
                <a:cubicBezTo>
                  <a:pt x="66" y="288"/>
                  <a:pt x="66" y="288"/>
                  <a:pt x="66" y="288"/>
                </a:cubicBezTo>
                <a:cubicBezTo>
                  <a:pt x="67" y="288"/>
                  <a:pt x="67" y="288"/>
                  <a:pt x="67" y="288"/>
                </a:cubicBezTo>
                <a:cubicBezTo>
                  <a:pt x="68" y="287"/>
                  <a:pt x="68" y="287"/>
                  <a:pt x="68" y="287"/>
                </a:cubicBezTo>
                <a:cubicBezTo>
                  <a:pt x="67" y="284"/>
                  <a:pt x="67" y="284"/>
                  <a:pt x="67" y="284"/>
                </a:cubicBezTo>
                <a:cubicBezTo>
                  <a:pt x="64" y="281"/>
                  <a:pt x="64" y="281"/>
                  <a:pt x="64" y="281"/>
                </a:cubicBezTo>
                <a:cubicBezTo>
                  <a:pt x="63" y="280"/>
                  <a:pt x="63" y="280"/>
                  <a:pt x="63" y="280"/>
                </a:cubicBezTo>
                <a:cubicBezTo>
                  <a:pt x="63" y="278"/>
                  <a:pt x="63" y="278"/>
                  <a:pt x="63" y="278"/>
                </a:cubicBezTo>
                <a:cubicBezTo>
                  <a:pt x="65" y="277"/>
                  <a:pt x="65" y="277"/>
                  <a:pt x="65" y="277"/>
                </a:cubicBezTo>
                <a:cubicBezTo>
                  <a:pt x="66" y="275"/>
                  <a:pt x="66" y="275"/>
                  <a:pt x="66" y="275"/>
                </a:cubicBezTo>
                <a:cubicBezTo>
                  <a:pt x="67" y="274"/>
                  <a:pt x="67" y="274"/>
                  <a:pt x="67" y="274"/>
                </a:cubicBezTo>
                <a:cubicBezTo>
                  <a:pt x="68" y="273"/>
                  <a:pt x="68" y="273"/>
                  <a:pt x="68" y="273"/>
                </a:cubicBezTo>
                <a:cubicBezTo>
                  <a:pt x="69" y="272"/>
                  <a:pt x="69" y="272"/>
                  <a:pt x="69" y="272"/>
                </a:cubicBezTo>
                <a:cubicBezTo>
                  <a:pt x="71" y="271"/>
                  <a:pt x="71" y="271"/>
                  <a:pt x="71" y="271"/>
                </a:cubicBezTo>
                <a:cubicBezTo>
                  <a:pt x="73" y="268"/>
                  <a:pt x="73" y="268"/>
                  <a:pt x="73" y="268"/>
                </a:cubicBezTo>
                <a:cubicBezTo>
                  <a:pt x="74" y="267"/>
                  <a:pt x="74" y="267"/>
                  <a:pt x="74" y="267"/>
                </a:cubicBezTo>
                <a:cubicBezTo>
                  <a:pt x="75" y="267"/>
                  <a:pt x="75" y="267"/>
                  <a:pt x="75" y="267"/>
                </a:cubicBezTo>
                <a:cubicBezTo>
                  <a:pt x="76" y="268"/>
                  <a:pt x="76" y="268"/>
                  <a:pt x="76" y="268"/>
                </a:cubicBezTo>
                <a:cubicBezTo>
                  <a:pt x="78" y="268"/>
                  <a:pt x="78" y="268"/>
                  <a:pt x="78" y="268"/>
                </a:cubicBezTo>
                <a:cubicBezTo>
                  <a:pt x="80" y="268"/>
                  <a:pt x="80" y="268"/>
                  <a:pt x="80" y="268"/>
                </a:cubicBezTo>
                <a:cubicBezTo>
                  <a:pt x="81" y="269"/>
                  <a:pt x="81" y="269"/>
                  <a:pt x="81" y="269"/>
                </a:cubicBezTo>
                <a:cubicBezTo>
                  <a:pt x="81" y="270"/>
                  <a:pt x="81" y="270"/>
                  <a:pt x="81" y="270"/>
                </a:cubicBezTo>
                <a:cubicBezTo>
                  <a:pt x="82" y="269"/>
                  <a:pt x="82" y="269"/>
                  <a:pt x="82" y="269"/>
                </a:cubicBezTo>
                <a:cubicBezTo>
                  <a:pt x="84" y="270"/>
                  <a:pt x="84" y="270"/>
                  <a:pt x="84" y="270"/>
                </a:cubicBezTo>
                <a:cubicBezTo>
                  <a:pt x="84" y="272"/>
                  <a:pt x="84" y="272"/>
                  <a:pt x="84" y="272"/>
                </a:cubicBezTo>
                <a:cubicBezTo>
                  <a:pt x="85" y="272"/>
                  <a:pt x="85" y="272"/>
                  <a:pt x="85" y="272"/>
                </a:cubicBezTo>
                <a:cubicBezTo>
                  <a:pt x="85" y="270"/>
                  <a:pt x="85" y="270"/>
                  <a:pt x="85" y="270"/>
                </a:cubicBezTo>
                <a:cubicBezTo>
                  <a:pt x="84" y="269"/>
                  <a:pt x="84" y="269"/>
                  <a:pt x="84" y="269"/>
                </a:cubicBezTo>
                <a:cubicBezTo>
                  <a:pt x="85" y="268"/>
                  <a:pt x="85" y="268"/>
                  <a:pt x="85" y="268"/>
                </a:cubicBezTo>
                <a:cubicBezTo>
                  <a:pt x="85" y="265"/>
                  <a:pt x="85" y="265"/>
                  <a:pt x="85" y="265"/>
                </a:cubicBezTo>
                <a:cubicBezTo>
                  <a:pt x="85" y="264"/>
                  <a:pt x="85" y="264"/>
                  <a:pt x="85" y="264"/>
                </a:cubicBezTo>
                <a:cubicBezTo>
                  <a:pt x="84" y="264"/>
                  <a:pt x="84" y="264"/>
                  <a:pt x="84" y="264"/>
                </a:cubicBezTo>
                <a:cubicBezTo>
                  <a:pt x="84" y="263"/>
                  <a:pt x="84" y="263"/>
                  <a:pt x="84" y="263"/>
                </a:cubicBezTo>
                <a:cubicBezTo>
                  <a:pt x="85" y="262"/>
                  <a:pt x="85" y="262"/>
                  <a:pt x="85" y="262"/>
                </a:cubicBezTo>
                <a:cubicBezTo>
                  <a:pt x="84" y="261"/>
                  <a:pt x="84" y="261"/>
                  <a:pt x="84" y="261"/>
                </a:cubicBezTo>
                <a:cubicBezTo>
                  <a:pt x="85" y="261"/>
                  <a:pt x="85" y="261"/>
                  <a:pt x="85" y="261"/>
                </a:cubicBezTo>
                <a:cubicBezTo>
                  <a:pt x="84" y="260"/>
                  <a:pt x="84" y="260"/>
                  <a:pt x="84" y="260"/>
                </a:cubicBezTo>
                <a:cubicBezTo>
                  <a:pt x="82" y="259"/>
                  <a:pt x="82" y="259"/>
                  <a:pt x="82" y="259"/>
                </a:cubicBezTo>
                <a:cubicBezTo>
                  <a:pt x="80" y="259"/>
                  <a:pt x="80" y="259"/>
                  <a:pt x="80" y="259"/>
                </a:cubicBezTo>
                <a:cubicBezTo>
                  <a:pt x="80" y="257"/>
                  <a:pt x="80" y="257"/>
                  <a:pt x="80" y="257"/>
                </a:cubicBezTo>
                <a:cubicBezTo>
                  <a:pt x="80" y="256"/>
                  <a:pt x="80" y="256"/>
                  <a:pt x="80" y="256"/>
                </a:cubicBezTo>
                <a:cubicBezTo>
                  <a:pt x="80" y="253"/>
                  <a:pt x="80" y="253"/>
                  <a:pt x="80" y="253"/>
                </a:cubicBezTo>
                <a:cubicBezTo>
                  <a:pt x="81" y="253"/>
                  <a:pt x="81" y="253"/>
                  <a:pt x="81" y="253"/>
                </a:cubicBezTo>
                <a:cubicBezTo>
                  <a:pt x="81" y="252"/>
                  <a:pt x="81" y="252"/>
                  <a:pt x="81" y="252"/>
                </a:cubicBezTo>
                <a:cubicBezTo>
                  <a:pt x="81" y="251"/>
                  <a:pt x="81" y="251"/>
                  <a:pt x="81" y="251"/>
                </a:cubicBezTo>
                <a:cubicBezTo>
                  <a:pt x="81" y="250"/>
                  <a:pt x="81" y="250"/>
                  <a:pt x="81" y="250"/>
                </a:cubicBezTo>
                <a:cubicBezTo>
                  <a:pt x="80" y="249"/>
                  <a:pt x="80" y="249"/>
                  <a:pt x="80" y="249"/>
                </a:cubicBezTo>
                <a:cubicBezTo>
                  <a:pt x="80" y="248"/>
                  <a:pt x="80" y="248"/>
                  <a:pt x="80" y="248"/>
                </a:cubicBezTo>
                <a:cubicBezTo>
                  <a:pt x="80" y="245"/>
                  <a:pt x="80" y="245"/>
                  <a:pt x="80" y="245"/>
                </a:cubicBezTo>
                <a:cubicBezTo>
                  <a:pt x="78" y="244"/>
                  <a:pt x="78" y="244"/>
                  <a:pt x="78" y="244"/>
                </a:cubicBezTo>
                <a:cubicBezTo>
                  <a:pt x="75" y="241"/>
                  <a:pt x="75" y="241"/>
                  <a:pt x="75" y="241"/>
                </a:cubicBezTo>
                <a:cubicBezTo>
                  <a:pt x="75" y="241"/>
                  <a:pt x="75" y="241"/>
                  <a:pt x="75" y="241"/>
                </a:cubicBezTo>
                <a:cubicBezTo>
                  <a:pt x="76" y="241"/>
                  <a:pt x="76" y="241"/>
                  <a:pt x="76" y="241"/>
                </a:cubicBezTo>
                <a:cubicBezTo>
                  <a:pt x="79" y="242"/>
                  <a:pt x="79" y="242"/>
                  <a:pt x="79" y="242"/>
                </a:cubicBezTo>
                <a:cubicBezTo>
                  <a:pt x="80" y="242"/>
                  <a:pt x="80" y="242"/>
                  <a:pt x="80" y="242"/>
                </a:cubicBezTo>
                <a:cubicBezTo>
                  <a:pt x="81" y="242"/>
                  <a:pt x="81" y="242"/>
                  <a:pt x="81" y="242"/>
                </a:cubicBezTo>
                <a:cubicBezTo>
                  <a:pt x="83" y="242"/>
                  <a:pt x="83" y="242"/>
                  <a:pt x="83" y="242"/>
                </a:cubicBezTo>
                <a:cubicBezTo>
                  <a:pt x="87" y="242"/>
                  <a:pt x="87" y="242"/>
                  <a:pt x="87" y="242"/>
                </a:cubicBezTo>
                <a:cubicBezTo>
                  <a:pt x="88" y="243"/>
                  <a:pt x="88" y="243"/>
                  <a:pt x="88" y="243"/>
                </a:cubicBezTo>
                <a:cubicBezTo>
                  <a:pt x="88" y="244"/>
                  <a:pt x="88" y="244"/>
                  <a:pt x="88" y="244"/>
                </a:cubicBezTo>
                <a:cubicBezTo>
                  <a:pt x="90" y="246"/>
                  <a:pt x="90" y="246"/>
                  <a:pt x="90" y="246"/>
                </a:cubicBezTo>
                <a:cubicBezTo>
                  <a:pt x="91" y="246"/>
                  <a:pt x="91" y="246"/>
                  <a:pt x="91" y="246"/>
                </a:cubicBezTo>
                <a:cubicBezTo>
                  <a:pt x="91" y="247"/>
                  <a:pt x="91" y="247"/>
                  <a:pt x="91" y="247"/>
                </a:cubicBezTo>
                <a:cubicBezTo>
                  <a:pt x="93" y="249"/>
                  <a:pt x="93" y="249"/>
                  <a:pt x="93" y="249"/>
                </a:cubicBezTo>
                <a:cubicBezTo>
                  <a:pt x="93" y="250"/>
                  <a:pt x="93" y="250"/>
                  <a:pt x="93" y="250"/>
                </a:cubicBezTo>
                <a:cubicBezTo>
                  <a:pt x="91" y="250"/>
                  <a:pt x="91" y="250"/>
                  <a:pt x="91" y="250"/>
                </a:cubicBezTo>
                <a:cubicBezTo>
                  <a:pt x="90" y="251"/>
                  <a:pt x="90" y="251"/>
                  <a:pt x="90" y="251"/>
                </a:cubicBezTo>
                <a:cubicBezTo>
                  <a:pt x="88" y="251"/>
                  <a:pt x="88" y="251"/>
                  <a:pt x="88" y="251"/>
                </a:cubicBezTo>
                <a:cubicBezTo>
                  <a:pt x="87" y="252"/>
                  <a:pt x="87" y="252"/>
                  <a:pt x="87" y="252"/>
                </a:cubicBezTo>
                <a:cubicBezTo>
                  <a:pt x="88" y="252"/>
                  <a:pt x="88" y="252"/>
                  <a:pt x="88" y="252"/>
                </a:cubicBezTo>
                <a:cubicBezTo>
                  <a:pt x="87" y="253"/>
                  <a:pt x="87" y="253"/>
                  <a:pt x="87" y="253"/>
                </a:cubicBezTo>
                <a:cubicBezTo>
                  <a:pt x="86" y="253"/>
                  <a:pt x="86" y="253"/>
                  <a:pt x="86" y="253"/>
                </a:cubicBezTo>
                <a:cubicBezTo>
                  <a:pt x="86" y="254"/>
                  <a:pt x="86" y="254"/>
                  <a:pt x="86" y="254"/>
                </a:cubicBezTo>
                <a:cubicBezTo>
                  <a:pt x="86" y="255"/>
                  <a:pt x="86" y="255"/>
                  <a:pt x="86" y="255"/>
                </a:cubicBezTo>
                <a:cubicBezTo>
                  <a:pt x="87" y="256"/>
                  <a:pt x="87" y="256"/>
                  <a:pt x="87" y="256"/>
                </a:cubicBezTo>
                <a:cubicBezTo>
                  <a:pt x="90" y="258"/>
                  <a:pt x="90" y="258"/>
                  <a:pt x="90" y="258"/>
                </a:cubicBezTo>
                <a:cubicBezTo>
                  <a:pt x="92" y="261"/>
                  <a:pt x="92" y="261"/>
                  <a:pt x="92" y="261"/>
                </a:cubicBezTo>
                <a:cubicBezTo>
                  <a:pt x="93" y="261"/>
                  <a:pt x="93" y="261"/>
                  <a:pt x="93" y="261"/>
                </a:cubicBezTo>
                <a:cubicBezTo>
                  <a:pt x="95" y="260"/>
                  <a:pt x="95" y="260"/>
                  <a:pt x="95" y="260"/>
                </a:cubicBezTo>
                <a:cubicBezTo>
                  <a:pt x="96" y="262"/>
                  <a:pt x="96" y="262"/>
                  <a:pt x="96" y="262"/>
                </a:cubicBezTo>
                <a:cubicBezTo>
                  <a:pt x="96" y="261"/>
                  <a:pt x="96" y="261"/>
                  <a:pt x="96" y="261"/>
                </a:cubicBezTo>
                <a:cubicBezTo>
                  <a:pt x="98" y="261"/>
                  <a:pt x="98" y="261"/>
                  <a:pt x="98" y="261"/>
                </a:cubicBezTo>
                <a:cubicBezTo>
                  <a:pt x="98" y="260"/>
                  <a:pt x="98" y="260"/>
                  <a:pt x="98" y="260"/>
                </a:cubicBezTo>
                <a:cubicBezTo>
                  <a:pt x="100" y="259"/>
                  <a:pt x="100" y="259"/>
                  <a:pt x="100" y="259"/>
                </a:cubicBezTo>
                <a:cubicBezTo>
                  <a:pt x="101" y="258"/>
                  <a:pt x="101" y="258"/>
                  <a:pt x="101" y="258"/>
                </a:cubicBezTo>
                <a:cubicBezTo>
                  <a:pt x="100" y="256"/>
                  <a:pt x="100" y="256"/>
                  <a:pt x="100" y="256"/>
                </a:cubicBezTo>
                <a:cubicBezTo>
                  <a:pt x="101" y="254"/>
                  <a:pt x="101" y="254"/>
                  <a:pt x="101" y="254"/>
                </a:cubicBezTo>
                <a:cubicBezTo>
                  <a:pt x="101" y="253"/>
                  <a:pt x="101" y="253"/>
                  <a:pt x="101" y="253"/>
                </a:cubicBezTo>
                <a:cubicBezTo>
                  <a:pt x="100" y="252"/>
                  <a:pt x="100" y="252"/>
                  <a:pt x="100" y="252"/>
                </a:cubicBezTo>
                <a:cubicBezTo>
                  <a:pt x="100" y="252"/>
                  <a:pt x="100" y="252"/>
                  <a:pt x="100" y="252"/>
                </a:cubicBezTo>
                <a:cubicBezTo>
                  <a:pt x="104" y="251"/>
                  <a:pt x="104" y="251"/>
                  <a:pt x="104" y="251"/>
                </a:cubicBezTo>
                <a:cubicBezTo>
                  <a:pt x="104" y="251"/>
                  <a:pt x="104" y="251"/>
                  <a:pt x="104" y="251"/>
                </a:cubicBezTo>
                <a:cubicBezTo>
                  <a:pt x="106" y="251"/>
                  <a:pt x="106" y="251"/>
                  <a:pt x="106" y="251"/>
                </a:cubicBezTo>
                <a:cubicBezTo>
                  <a:pt x="106" y="250"/>
                  <a:pt x="106" y="250"/>
                  <a:pt x="106" y="250"/>
                </a:cubicBezTo>
                <a:cubicBezTo>
                  <a:pt x="104" y="249"/>
                  <a:pt x="104" y="249"/>
                  <a:pt x="104" y="249"/>
                </a:cubicBezTo>
                <a:cubicBezTo>
                  <a:pt x="104" y="248"/>
                  <a:pt x="104" y="248"/>
                  <a:pt x="104" y="248"/>
                </a:cubicBezTo>
                <a:cubicBezTo>
                  <a:pt x="105" y="248"/>
                  <a:pt x="105" y="248"/>
                  <a:pt x="105" y="248"/>
                </a:cubicBezTo>
                <a:cubicBezTo>
                  <a:pt x="105" y="249"/>
                  <a:pt x="105" y="249"/>
                  <a:pt x="105" y="249"/>
                </a:cubicBezTo>
                <a:cubicBezTo>
                  <a:pt x="107" y="248"/>
                  <a:pt x="107" y="248"/>
                  <a:pt x="107" y="248"/>
                </a:cubicBezTo>
                <a:cubicBezTo>
                  <a:pt x="109" y="245"/>
                  <a:pt x="109" y="245"/>
                  <a:pt x="109" y="245"/>
                </a:cubicBezTo>
                <a:cubicBezTo>
                  <a:pt x="110" y="245"/>
                  <a:pt x="110" y="245"/>
                  <a:pt x="110" y="245"/>
                </a:cubicBezTo>
                <a:cubicBezTo>
                  <a:pt x="112" y="242"/>
                  <a:pt x="112" y="242"/>
                  <a:pt x="112" y="242"/>
                </a:cubicBezTo>
                <a:cubicBezTo>
                  <a:pt x="112" y="241"/>
                  <a:pt x="112" y="241"/>
                  <a:pt x="112" y="241"/>
                </a:cubicBezTo>
                <a:cubicBezTo>
                  <a:pt x="113" y="241"/>
                  <a:pt x="113" y="241"/>
                  <a:pt x="113" y="241"/>
                </a:cubicBezTo>
                <a:cubicBezTo>
                  <a:pt x="114" y="241"/>
                  <a:pt x="114" y="241"/>
                  <a:pt x="114" y="241"/>
                </a:cubicBezTo>
                <a:cubicBezTo>
                  <a:pt x="116" y="240"/>
                  <a:pt x="116" y="240"/>
                  <a:pt x="116" y="240"/>
                </a:cubicBezTo>
                <a:cubicBezTo>
                  <a:pt x="116" y="240"/>
                  <a:pt x="116" y="240"/>
                  <a:pt x="116" y="240"/>
                </a:cubicBezTo>
                <a:cubicBezTo>
                  <a:pt x="119" y="239"/>
                  <a:pt x="119" y="239"/>
                  <a:pt x="119" y="239"/>
                </a:cubicBezTo>
                <a:cubicBezTo>
                  <a:pt x="119" y="240"/>
                  <a:pt x="119" y="240"/>
                  <a:pt x="119" y="240"/>
                </a:cubicBezTo>
                <a:cubicBezTo>
                  <a:pt x="119" y="240"/>
                  <a:pt x="119" y="240"/>
                  <a:pt x="119" y="240"/>
                </a:cubicBezTo>
                <a:cubicBezTo>
                  <a:pt x="120" y="241"/>
                  <a:pt x="120" y="241"/>
                  <a:pt x="120" y="241"/>
                </a:cubicBezTo>
                <a:cubicBezTo>
                  <a:pt x="119" y="241"/>
                  <a:pt x="119" y="241"/>
                  <a:pt x="119" y="241"/>
                </a:cubicBezTo>
                <a:cubicBezTo>
                  <a:pt x="120" y="242"/>
                  <a:pt x="120" y="242"/>
                  <a:pt x="120" y="242"/>
                </a:cubicBezTo>
                <a:cubicBezTo>
                  <a:pt x="121" y="241"/>
                  <a:pt x="121" y="241"/>
                  <a:pt x="121" y="241"/>
                </a:cubicBezTo>
                <a:cubicBezTo>
                  <a:pt x="121" y="240"/>
                  <a:pt x="121" y="240"/>
                  <a:pt x="121" y="240"/>
                </a:cubicBezTo>
                <a:cubicBezTo>
                  <a:pt x="121" y="239"/>
                  <a:pt x="121" y="239"/>
                  <a:pt x="121" y="239"/>
                </a:cubicBezTo>
                <a:cubicBezTo>
                  <a:pt x="120" y="238"/>
                  <a:pt x="120" y="238"/>
                  <a:pt x="120" y="238"/>
                </a:cubicBezTo>
                <a:cubicBezTo>
                  <a:pt x="120" y="238"/>
                  <a:pt x="120" y="238"/>
                  <a:pt x="120" y="238"/>
                </a:cubicBezTo>
                <a:cubicBezTo>
                  <a:pt x="122" y="236"/>
                  <a:pt x="122" y="236"/>
                  <a:pt x="122" y="236"/>
                </a:cubicBezTo>
                <a:cubicBezTo>
                  <a:pt x="122" y="235"/>
                  <a:pt x="122" y="235"/>
                  <a:pt x="122" y="235"/>
                </a:cubicBezTo>
                <a:cubicBezTo>
                  <a:pt x="123" y="236"/>
                  <a:pt x="123" y="236"/>
                  <a:pt x="123" y="236"/>
                </a:cubicBezTo>
                <a:cubicBezTo>
                  <a:pt x="122" y="237"/>
                  <a:pt x="122" y="237"/>
                  <a:pt x="122" y="237"/>
                </a:cubicBezTo>
                <a:cubicBezTo>
                  <a:pt x="122" y="237"/>
                  <a:pt x="122" y="237"/>
                  <a:pt x="122" y="237"/>
                </a:cubicBezTo>
                <a:cubicBezTo>
                  <a:pt x="123" y="238"/>
                  <a:pt x="123" y="238"/>
                  <a:pt x="123" y="238"/>
                </a:cubicBezTo>
                <a:cubicBezTo>
                  <a:pt x="124" y="238"/>
                  <a:pt x="124" y="238"/>
                  <a:pt x="124" y="238"/>
                </a:cubicBezTo>
                <a:cubicBezTo>
                  <a:pt x="124" y="237"/>
                  <a:pt x="124" y="237"/>
                  <a:pt x="124" y="237"/>
                </a:cubicBezTo>
                <a:cubicBezTo>
                  <a:pt x="124" y="237"/>
                  <a:pt x="124" y="237"/>
                  <a:pt x="124" y="237"/>
                </a:cubicBezTo>
                <a:cubicBezTo>
                  <a:pt x="123" y="235"/>
                  <a:pt x="123" y="235"/>
                  <a:pt x="123" y="235"/>
                </a:cubicBezTo>
                <a:cubicBezTo>
                  <a:pt x="123" y="235"/>
                  <a:pt x="123" y="235"/>
                  <a:pt x="123" y="235"/>
                </a:cubicBezTo>
                <a:cubicBezTo>
                  <a:pt x="124" y="234"/>
                  <a:pt x="124" y="234"/>
                  <a:pt x="124" y="234"/>
                </a:cubicBezTo>
                <a:cubicBezTo>
                  <a:pt x="127" y="233"/>
                  <a:pt x="127" y="233"/>
                  <a:pt x="127" y="233"/>
                </a:cubicBezTo>
                <a:cubicBezTo>
                  <a:pt x="130" y="232"/>
                  <a:pt x="130" y="232"/>
                  <a:pt x="130" y="232"/>
                </a:cubicBezTo>
                <a:cubicBezTo>
                  <a:pt x="130" y="233"/>
                  <a:pt x="130" y="233"/>
                  <a:pt x="130" y="233"/>
                </a:cubicBezTo>
                <a:cubicBezTo>
                  <a:pt x="129" y="233"/>
                  <a:pt x="129" y="233"/>
                  <a:pt x="129" y="233"/>
                </a:cubicBezTo>
                <a:cubicBezTo>
                  <a:pt x="128" y="233"/>
                  <a:pt x="128" y="233"/>
                  <a:pt x="128" y="233"/>
                </a:cubicBezTo>
                <a:cubicBezTo>
                  <a:pt x="125" y="235"/>
                  <a:pt x="125" y="235"/>
                  <a:pt x="125" y="235"/>
                </a:cubicBezTo>
                <a:cubicBezTo>
                  <a:pt x="126" y="235"/>
                  <a:pt x="126" y="235"/>
                  <a:pt x="126" y="235"/>
                </a:cubicBezTo>
                <a:cubicBezTo>
                  <a:pt x="127" y="235"/>
                  <a:pt x="127" y="235"/>
                  <a:pt x="127" y="235"/>
                </a:cubicBezTo>
                <a:cubicBezTo>
                  <a:pt x="127" y="235"/>
                  <a:pt x="127" y="235"/>
                  <a:pt x="127" y="235"/>
                </a:cubicBezTo>
                <a:cubicBezTo>
                  <a:pt x="129" y="236"/>
                  <a:pt x="129" y="236"/>
                  <a:pt x="129" y="236"/>
                </a:cubicBezTo>
                <a:cubicBezTo>
                  <a:pt x="128" y="237"/>
                  <a:pt x="128" y="237"/>
                  <a:pt x="128" y="237"/>
                </a:cubicBezTo>
                <a:cubicBezTo>
                  <a:pt x="128" y="237"/>
                  <a:pt x="128" y="237"/>
                  <a:pt x="128" y="237"/>
                </a:cubicBezTo>
                <a:cubicBezTo>
                  <a:pt x="128" y="239"/>
                  <a:pt x="128" y="239"/>
                  <a:pt x="128" y="239"/>
                </a:cubicBezTo>
                <a:cubicBezTo>
                  <a:pt x="128" y="239"/>
                  <a:pt x="128" y="239"/>
                  <a:pt x="128" y="239"/>
                </a:cubicBezTo>
                <a:cubicBezTo>
                  <a:pt x="127" y="239"/>
                  <a:pt x="127" y="239"/>
                  <a:pt x="127" y="239"/>
                </a:cubicBezTo>
                <a:cubicBezTo>
                  <a:pt x="125" y="241"/>
                  <a:pt x="125" y="241"/>
                  <a:pt x="125" y="241"/>
                </a:cubicBezTo>
                <a:cubicBezTo>
                  <a:pt x="126" y="242"/>
                  <a:pt x="126" y="242"/>
                  <a:pt x="126" y="242"/>
                </a:cubicBezTo>
                <a:cubicBezTo>
                  <a:pt x="127" y="242"/>
                  <a:pt x="127" y="242"/>
                  <a:pt x="127" y="242"/>
                </a:cubicBezTo>
                <a:cubicBezTo>
                  <a:pt x="128" y="242"/>
                  <a:pt x="128" y="242"/>
                  <a:pt x="128" y="242"/>
                </a:cubicBezTo>
                <a:cubicBezTo>
                  <a:pt x="128" y="242"/>
                  <a:pt x="128" y="242"/>
                  <a:pt x="128" y="242"/>
                </a:cubicBezTo>
                <a:cubicBezTo>
                  <a:pt x="129" y="241"/>
                  <a:pt x="129" y="241"/>
                  <a:pt x="129" y="241"/>
                </a:cubicBezTo>
                <a:cubicBezTo>
                  <a:pt x="131" y="242"/>
                  <a:pt x="131" y="242"/>
                  <a:pt x="131" y="242"/>
                </a:cubicBezTo>
                <a:cubicBezTo>
                  <a:pt x="131" y="243"/>
                  <a:pt x="131" y="243"/>
                  <a:pt x="131" y="243"/>
                </a:cubicBezTo>
                <a:cubicBezTo>
                  <a:pt x="131" y="242"/>
                  <a:pt x="131" y="242"/>
                  <a:pt x="131" y="242"/>
                </a:cubicBezTo>
                <a:cubicBezTo>
                  <a:pt x="132" y="240"/>
                  <a:pt x="132" y="240"/>
                  <a:pt x="132" y="240"/>
                </a:cubicBezTo>
                <a:cubicBezTo>
                  <a:pt x="133" y="240"/>
                  <a:pt x="133" y="240"/>
                  <a:pt x="133" y="240"/>
                </a:cubicBezTo>
                <a:cubicBezTo>
                  <a:pt x="134" y="241"/>
                  <a:pt x="134" y="241"/>
                  <a:pt x="134" y="241"/>
                </a:cubicBezTo>
                <a:cubicBezTo>
                  <a:pt x="135" y="242"/>
                  <a:pt x="135" y="242"/>
                  <a:pt x="135" y="242"/>
                </a:cubicBezTo>
                <a:cubicBezTo>
                  <a:pt x="135" y="241"/>
                  <a:pt x="135" y="241"/>
                  <a:pt x="135" y="241"/>
                </a:cubicBezTo>
                <a:cubicBezTo>
                  <a:pt x="135" y="240"/>
                  <a:pt x="135" y="240"/>
                  <a:pt x="135" y="240"/>
                </a:cubicBezTo>
                <a:cubicBezTo>
                  <a:pt x="135" y="240"/>
                  <a:pt x="135" y="240"/>
                  <a:pt x="135" y="240"/>
                </a:cubicBezTo>
                <a:cubicBezTo>
                  <a:pt x="134" y="239"/>
                  <a:pt x="134" y="239"/>
                  <a:pt x="134" y="239"/>
                </a:cubicBezTo>
                <a:cubicBezTo>
                  <a:pt x="134" y="238"/>
                  <a:pt x="134" y="238"/>
                  <a:pt x="134" y="238"/>
                </a:cubicBezTo>
                <a:cubicBezTo>
                  <a:pt x="135" y="237"/>
                  <a:pt x="135" y="237"/>
                  <a:pt x="135" y="237"/>
                </a:cubicBezTo>
                <a:cubicBezTo>
                  <a:pt x="136" y="237"/>
                  <a:pt x="136" y="237"/>
                  <a:pt x="136" y="237"/>
                </a:cubicBezTo>
                <a:cubicBezTo>
                  <a:pt x="137" y="236"/>
                  <a:pt x="137" y="236"/>
                  <a:pt x="137" y="236"/>
                </a:cubicBezTo>
                <a:cubicBezTo>
                  <a:pt x="138" y="235"/>
                  <a:pt x="138" y="235"/>
                  <a:pt x="138" y="235"/>
                </a:cubicBezTo>
                <a:cubicBezTo>
                  <a:pt x="139" y="236"/>
                  <a:pt x="139" y="236"/>
                  <a:pt x="139" y="236"/>
                </a:cubicBezTo>
                <a:cubicBezTo>
                  <a:pt x="140" y="236"/>
                  <a:pt x="140" y="236"/>
                  <a:pt x="140" y="236"/>
                </a:cubicBezTo>
                <a:cubicBezTo>
                  <a:pt x="141" y="236"/>
                  <a:pt x="141" y="236"/>
                  <a:pt x="141" y="236"/>
                </a:cubicBezTo>
                <a:cubicBezTo>
                  <a:pt x="142" y="236"/>
                  <a:pt x="142" y="236"/>
                  <a:pt x="142" y="236"/>
                </a:cubicBezTo>
                <a:cubicBezTo>
                  <a:pt x="144" y="236"/>
                  <a:pt x="144" y="236"/>
                  <a:pt x="144" y="236"/>
                </a:cubicBezTo>
                <a:cubicBezTo>
                  <a:pt x="145" y="235"/>
                  <a:pt x="145" y="235"/>
                  <a:pt x="145" y="235"/>
                </a:cubicBezTo>
                <a:cubicBezTo>
                  <a:pt x="145" y="234"/>
                  <a:pt x="145" y="234"/>
                  <a:pt x="145" y="234"/>
                </a:cubicBezTo>
                <a:cubicBezTo>
                  <a:pt x="146" y="234"/>
                  <a:pt x="146" y="234"/>
                  <a:pt x="146" y="234"/>
                </a:cubicBezTo>
                <a:cubicBezTo>
                  <a:pt x="147" y="234"/>
                  <a:pt x="147" y="234"/>
                  <a:pt x="147" y="234"/>
                </a:cubicBezTo>
                <a:cubicBezTo>
                  <a:pt x="148" y="233"/>
                  <a:pt x="148" y="233"/>
                  <a:pt x="148" y="233"/>
                </a:cubicBezTo>
                <a:cubicBezTo>
                  <a:pt x="149" y="232"/>
                  <a:pt x="149" y="232"/>
                  <a:pt x="149" y="232"/>
                </a:cubicBezTo>
                <a:cubicBezTo>
                  <a:pt x="150" y="232"/>
                  <a:pt x="150" y="232"/>
                  <a:pt x="150" y="232"/>
                </a:cubicBezTo>
                <a:cubicBezTo>
                  <a:pt x="151" y="230"/>
                  <a:pt x="151" y="230"/>
                  <a:pt x="151" y="230"/>
                </a:cubicBezTo>
                <a:cubicBezTo>
                  <a:pt x="152" y="230"/>
                  <a:pt x="152" y="230"/>
                  <a:pt x="152" y="230"/>
                </a:cubicBezTo>
                <a:cubicBezTo>
                  <a:pt x="153" y="229"/>
                  <a:pt x="153" y="229"/>
                  <a:pt x="153" y="229"/>
                </a:cubicBezTo>
                <a:cubicBezTo>
                  <a:pt x="153" y="230"/>
                  <a:pt x="153" y="230"/>
                  <a:pt x="153" y="230"/>
                </a:cubicBezTo>
                <a:cubicBezTo>
                  <a:pt x="152" y="231"/>
                  <a:pt x="152" y="231"/>
                  <a:pt x="152" y="231"/>
                </a:cubicBezTo>
                <a:cubicBezTo>
                  <a:pt x="153" y="231"/>
                  <a:pt x="153" y="231"/>
                  <a:pt x="153" y="231"/>
                </a:cubicBezTo>
                <a:cubicBezTo>
                  <a:pt x="154" y="233"/>
                  <a:pt x="154" y="233"/>
                  <a:pt x="154" y="233"/>
                </a:cubicBezTo>
                <a:cubicBezTo>
                  <a:pt x="155" y="233"/>
                  <a:pt x="155" y="233"/>
                  <a:pt x="155" y="233"/>
                </a:cubicBezTo>
                <a:cubicBezTo>
                  <a:pt x="154" y="234"/>
                  <a:pt x="154" y="234"/>
                  <a:pt x="154" y="234"/>
                </a:cubicBezTo>
                <a:cubicBezTo>
                  <a:pt x="154" y="235"/>
                  <a:pt x="154" y="235"/>
                  <a:pt x="154" y="235"/>
                </a:cubicBezTo>
                <a:cubicBezTo>
                  <a:pt x="154" y="236"/>
                  <a:pt x="154" y="236"/>
                  <a:pt x="154" y="236"/>
                </a:cubicBezTo>
                <a:cubicBezTo>
                  <a:pt x="155" y="237"/>
                  <a:pt x="155" y="237"/>
                  <a:pt x="155" y="237"/>
                </a:cubicBezTo>
                <a:cubicBezTo>
                  <a:pt x="158" y="237"/>
                  <a:pt x="158" y="237"/>
                  <a:pt x="158" y="237"/>
                </a:cubicBezTo>
                <a:cubicBezTo>
                  <a:pt x="158" y="237"/>
                  <a:pt x="158" y="237"/>
                  <a:pt x="158" y="237"/>
                </a:cubicBezTo>
                <a:cubicBezTo>
                  <a:pt x="158" y="236"/>
                  <a:pt x="158" y="236"/>
                  <a:pt x="158" y="236"/>
                </a:cubicBezTo>
                <a:cubicBezTo>
                  <a:pt x="158" y="236"/>
                  <a:pt x="158" y="236"/>
                  <a:pt x="158" y="236"/>
                </a:cubicBezTo>
                <a:cubicBezTo>
                  <a:pt x="157" y="234"/>
                  <a:pt x="157" y="234"/>
                  <a:pt x="157" y="234"/>
                </a:cubicBezTo>
                <a:cubicBezTo>
                  <a:pt x="157" y="233"/>
                  <a:pt x="157" y="233"/>
                  <a:pt x="157" y="233"/>
                </a:cubicBezTo>
                <a:cubicBezTo>
                  <a:pt x="158" y="233"/>
                  <a:pt x="158" y="233"/>
                  <a:pt x="158" y="233"/>
                </a:cubicBezTo>
                <a:cubicBezTo>
                  <a:pt x="159" y="233"/>
                  <a:pt x="159" y="233"/>
                  <a:pt x="159" y="233"/>
                </a:cubicBezTo>
                <a:cubicBezTo>
                  <a:pt x="161" y="233"/>
                  <a:pt x="161" y="233"/>
                  <a:pt x="161" y="233"/>
                </a:cubicBezTo>
                <a:cubicBezTo>
                  <a:pt x="161" y="230"/>
                  <a:pt x="161" y="230"/>
                  <a:pt x="161" y="230"/>
                </a:cubicBezTo>
                <a:cubicBezTo>
                  <a:pt x="162" y="230"/>
                  <a:pt x="162" y="230"/>
                  <a:pt x="162" y="230"/>
                </a:cubicBezTo>
                <a:cubicBezTo>
                  <a:pt x="163" y="231"/>
                  <a:pt x="163" y="231"/>
                  <a:pt x="163" y="231"/>
                </a:cubicBezTo>
                <a:cubicBezTo>
                  <a:pt x="164" y="231"/>
                  <a:pt x="164" y="231"/>
                  <a:pt x="164" y="231"/>
                </a:cubicBezTo>
                <a:cubicBezTo>
                  <a:pt x="163" y="229"/>
                  <a:pt x="163" y="229"/>
                  <a:pt x="163" y="229"/>
                </a:cubicBezTo>
                <a:cubicBezTo>
                  <a:pt x="161" y="229"/>
                  <a:pt x="161" y="229"/>
                  <a:pt x="161" y="229"/>
                </a:cubicBezTo>
                <a:cubicBezTo>
                  <a:pt x="161" y="228"/>
                  <a:pt x="161" y="228"/>
                  <a:pt x="161" y="228"/>
                </a:cubicBezTo>
                <a:cubicBezTo>
                  <a:pt x="160" y="226"/>
                  <a:pt x="160" y="226"/>
                  <a:pt x="160" y="226"/>
                </a:cubicBezTo>
                <a:cubicBezTo>
                  <a:pt x="159" y="226"/>
                  <a:pt x="159" y="226"/>
                  <a:pt x="159" y="226"/>
                </a:cubicBezTo>
                <a:cubicBezTo>
                  <a:pt x="159" y="227"/>
                  <a:pt x="159" y="227"/>
                  <a:pt x="159" y="227"/>
                </a:cubicBezTo>
                <a:cubicBezTo>
                  <a:pt x="158" y="226"/>
                  <a:pt x="158" y="226"/>
                  <a:pt x="158" y="226"/>
                </a:cubicBezTo>
                <a:cubicBezTo>
                  <a:pt x="158" y="223"/>
                  <a:pt x="158" y="223"/>
                  <a:pt x="158" y="223"/>
                </a:cubicBezTo>
                <a:cubicBezTo>
                  <a:pt x="157" y="223"/>
                  <a:pt x="157" y="223"/>
                  <a:pt x="157" y="223"/>
                </a:cubicBezTo>
                <a:cubicBezTo>
                  <a:pt x="156" y="221"/>
                  <a:pt x="156" y="221"/>
                  <a:pt x="156" y="221"/>
                </a:cubicBezTo>
                <a:cubicBezTo>
                  <a:pt x="156" y="221"/>
                  <a:pt x="156" y="221"/>
                  <a:pt x="156" y="221"/>
                </a:cubicBezTo>
                <a:cubicBezTo>
                  <a:pt x="157" y="221"/>
                  <a:pt x="157" y="221"/>
                  <a:pt x="157" y="221"/>
                </a:cubicBezTo>
                <a:cubicBezTo>
                  <a:pt x="157" y="219"/>
                  <a:pt x="157" y="219"/>
                  <a:pt x="157" y="219"/>
                </a:cubicBezTo>
                <a:cubicBezTo>
                  <a:pt x="157" y="218"/>
                  <a:pt x="157" y="218"/>
                  <a:pt x="157" y="218"/>
                </a:cubicBezTo>
                <a:cubicBezTo>
                  <a:pt x="157" y="217"/>
                  <a:pt x="157" y="217"/>
                  <a:pt x="157" y="217"/>
                </a:cubicBezTo>
                <a:cubicBezTo>
                  <a:pt x="158" y="218"/>
                  <a:pt x="158" y="218"/>
                  <a:pt x="158" y="218"/>
                </a:cubicBezTo>
                <a:cubicBezTo>
                  <a:pt x="159" y="217"/>
                  <a:pt x="159" y="217"/>
                  <a:pt x="159" y="217"/>
                </a:cubicBezTo>
                <a:cubicBezTo>
                  <a:pt x="160" y="218"/>
                  <a:pt x="160" y="218"/>
                  <a:pt x="160" y="218"/>
                </a:cubicBezTo>
                <a:cubicBezTo>
                  <a:pt x="161" y="218"/>
                  <a:pt x="161" y="218"/>
                  <a:pt x="161" y="218"/>
                </a:cubicBezTo>
                <a:cubicBezTo>
                  <a:pt x="162" y="218"/>
                  <a:pt x="162" y="218"/>
                  <a:pt x="162" y="218"/>
                </a:cubicBezTo>
                <a:cubicBezTo>
                  <a:pt x="167" y="218"/>
                  <a:pt x="167" y="218"/>
                  <a:pt x="167" y="218"/>
                </a:cubicBezTo>
                <a:cubicBezTo>
                  <a:pt x="173" y="218"/>
                  <a:pt x="173" y="218"/>
                  <a:pt x="173" y="218"/>
                </a:cubicBezTo>
                <a:cubicBezTo>
                  <a:pt x="175" y="219"/>
                  <a:pt x="175" y="219"/>
                  <a:pt x="175" y="219"/>
                </a:cubicBezTo>
                <a:cubicBezTo>
                  <a:pt x="179" y="221"/>
                  <a:pt x="179" y="221"/>
                  <a:pt x="179" y="221"/>
                </a:cubicBezTo>
                <a:cubicBezTo>
                  <a:pt x="179" y="221"/>
                  <a:pt x="179" y="221"/>
                  <a:pt x="179" y="221"/>
                </a:cubicBezTo>
                <a:cubicBezTo>
                  <a:pt x="179" y="222"/>
                  <a:pt x="179" y="222"/>
                  <a:pt x="179" y="222"/>
                </a:cubicBezTo>
                <a:cubicBezTo>
                  <a:pt x="179" y="224"/>
                  <a:pt x="179" y="224"/>
                  <a:pt x="179" y="224"/>
                </a:cubicBezTo>
                <a:cubicBezTo>
                  <a:pt x="181" y="222"/>
                  <a:pt x="181" y="222"/>
                  <a:pt x="181" y="222"/>
                </a:cubicBezTo>
                <a:cubicBezTo>
                  <a:pt x="182" y="222"/>
                  <a:pt x="182" y="222"/>
                  <a:pt x="182" y="222"/>
                </a:cubicBezTo>
                <a:cubicBezTo>
                  <a:pt x="183" y="223"/>
                  <a:pt x="183" y="223"/>
                  <a:pt x="183" y="223"/>
                </a:cubicBezTo>
                <a:cubicBezTo>
                  <a:pt x="184" y="223"/>
                  <a:pt x="184" y="223"/>
                  <a:pt x="184" y="223"/>
                </a:cubicBezTo>
                <a:cubicBezTo>
                  <a:pt x="185" y="224"/>
                  <a:pt x="185" y="224"/>
                  <a:pt x="185" y="224"/>
                </a:cubicBezTo>
                <a:cubicBezTo>
                  <a:pt x="187" y="224"/>
                  <a:pt x="187" y="224"/>
                  <a:pt x="187" y="224"/>
                </a:cubicBezTo>
                <a:cubicBezTo>
                  <a:pt x="190" y="226"/>
                  <a:pt x="190" y="226"/>
                  <a:pt x="190" y="226"/>
                </a:cubicBezTo>
                <a:cubicBezTo>
                  <a:pt x="194" y="227"/>
                  <a:pt x="194" y="227"/>
                  <a:pt x="194" y="227"/>
                </a:cubicBezTo>
                <a:cubicBezTo>
                  <a:pt x="195" y="228"/>
                  <a:pt x="195" y="228"/>
                  <a:pt x="195" y="228"/>
                </a:cubicBezTo>
                <a:cubicBezTo>
                  <a:pt x="196" y="229"/>
                  <a:pt x="196" y="229"/>
                  <a:pt x="196" y="229"/>
                </a:cubicBezTo>
                <a:cubicBezTo>
                  <a:pt x="198" y="230"/>
                  <a:pt x="198" y="230"/>
                  <a:pt x="198" y="230"/>
                </a:cubicBezTo>
                <a:cubicBezTo>
                  <a:pt x="199" y="231"/>
                  <a:pt x="199" y="231"/>
                  <a:pt x="199" y="231"/>
                </a:cubicBezTo>
                <a:cubicBezTo>
                  <a:pt x="201" y="234"/>
                  <a:pt x="201" y="234"/>
                  <a:pt x="201" y="234"/>
                </a:cubicBezTo>
                <a:cubicBezTo>
                  <a:pt x="202" y="234"/>
                  <a:pt x="202" y="234"/>
                  <a:pt x="202" y="234"/>
                </a:cubicBezTo>
                <a:cubicBezTo>
                  <a:pt x="202" y="233"/>
                  <a:pt x="202" y="233"/>
                  <a:pt x="202" y="233"/>
                </a:cubicBezTo>
                <a:cubicBezTo>
                  <a:pt x="202" y="232"/>
                  <a:pt x="202" y="232"/>
                  <a:pt x="202" y="232"/>
                </a:cubicBezTo>
                <a:cubicBezTo>
                  <a:pt x="203" y="232"/>
                  <a:pt x="203" y="232"/>
                  <a:pt x="203" y="232"/>
                </a:cubicBezTo>
                <a:cubicBezTo>
                  <a:pt x="203" y="231"/>
                  <a:pt x="203" y="231"/>
                  <a:pt x="203" y="231"/>
                </a:cubicBezTo>
                <a:cubicBezTo>
                  <a:pt x="202" y="230"/>
                  <a:pt x="202" y="230"/>
                  <a:pt x="202" y="230"/>
                </a:cubicBezTo>
                <a:cubicBezTo>
                  <a:pt x="202" y="229"/>
                  <a:pt x="202" y="229"/>
                  <a:pt x="202" y="229"/>
                </a:cubicBezTo>
                <a:cubicBezTo>
                  <a:pt x="202" y="225"/>
                  <a:pt x="202" y="225"/>
                  <a:pt x="202" y="225"/>
                </a:cubicBezTo>
                <a:cubicBezTo>
                  <a:pt x="204" y="224"/>
                  <a:pt x="204" y="224"/>
                  <a:pt x="204" y="224"/>
                </a:cubicBezTo>
                <a:cubicBezTo>
                  <a:pt x="202" y="225"/>
                  <a:pt x="202" y="225"/>
                  <a:pt x="202" y="225"/>
                </a:cubicBezTo>
                <a:cubicBezTo>
                  <a:pt x="202" y="224"/>
                  <a:pt x="202" y="224"/>
                  <a:pt x="202" y="224"/>
                </a:cubicBezTo>
                <a:cubicBezTo>
                  <a:pt x="201" y="224"/>
                  <a:pt x="201" y="224"/>
                  <a:pt x="201" y="224"/>
                </a:cubicBezTo>
                <a:cubicBezTo>
                  <a:pt x="200" y="225"/>
                  <a:pt x="200" y="225"/>
                  <a:pt x="200" y="225"/>
                </a:cubicBezTo>
                <a:cubicBezTo>
                  <a:pt x="199" y="224"/>
                  <a:pt x="199" y="224"/>
                  <a:pt x="199" y="224"/>
                </a:cubicBezTo>
                <a:cubicBezTo>
                  <a:pt x="196" y="221"/>
                  <a:pt x="196" y="221"/>
                  <a:pt x="196" y="221"/>
                </a:cubicBezTo>
                <a:cubicBezTo>
                  <a:pt x="196" y="221"/>
                  <a:pt x="196" y="221"/>
                  <a:pt x="196" y="221"/>
                </a:cubicBezTo>
                <a:cubicBezTo>
                  <a:pt x="195" y="220"/>
                  <a:pt x="195" y="220"/>
                  <a:pt x="195" y="220"/>
                </a:cubicBezTo>
                <a:cubicBezTo>
                  <a:pt x="195" y="218"/>
                  <a:pt x="195" y="218"/>
                  <a:pt x="195" y="218"/>
                </a:cubicBezTo>
                <a:cubicBezTo>
                  <a:pt x="194" y="217"/>
                  <a:pt x="194" y="217"/>
                  <a:pt x="194" y="217"/>
                </a:cubicBezTo>
                <a:cubicBezTo>
                  <a:pt x="193" y="219"/>
                  <a:pt x="193" y="219"/>
                  <a:pt x="193" y="219"/>
                </a:cubicBezTo>
                <a:cubicBezTo>
                  <a:pt x="191" y="218"/>
                  <a:pt x="191" y="218"/>
                  <a:pt x="191" y="218"/>
                </a:cubicBezTo>
                <a:cubicBezTo>
                  <a:pt x="190" y="218"/>
                  <a:pt x="190" y="218"/>
                  <a:pt x="190" y="218"/>
                </a:cubicBezTo>
                <a:cubicBezTo>
                  <a:pt x="189" y="217"/>
                  <a:pt x="189" y="217"/>
                  <a:pt x="189" y="217"/>
                </a:cubicBezTo>
                <a:cubicBezTo>
                  <a:pt x="188" y="218"/>
                  <a:pt x="188" y="218"/>
                  <a:pt x="188" y="218"/>
                </a:cubicBezTo>
                <a:cubicBezTo>
                  <a:pt x="188" y="216"/>
                  <a:pt x="188" y="216"/>
                  <a:pt x="188" y="216"/>
                </a:cubicBezTo>
                <a:cubicBezTo>
                  <a:pt x="187" y="215"/>
                  <a:pt x="187" y="215"/>
                  <a:pt x="187" y="215"/>
                </a:cubicBezTo>
                <a:cubicBezTo>
                  <a:pt x="186" y="212"/>
                  <a:pt x="186" y="212"/>
                  <a:pt x="186" y="212"/>
                </a:cubicBezTo>
                <a:cubicBezTo>
                  <a:pt x="186" y="211"/>
                  <a:pt x="186" y="211"/>
                  <a:pt x="186" y="211"/>
                </a:cubicBezTo>
                <a:cubicBezTo>
                  <a:pt x="187" y="212"/>
                  <a:pt x="187" y="212"/>
                  <a:pt x="187" y="212"/>
                </a:cubicBezTo>
                <a:cubicBezTo>
                  <a:pt x="188" y="211"/>
                  <a:pt x="188" y="211"/>
                  <a:pt x="188" y="211"/>
                </a:cubicBezTo>
                <a:cubicBezTo>
                  <a:pt x="188" y="210"/>
                  <a:pt x="188" y="210"/>
                  <a:pt x="188" y="210"/>
                </a:cubicBezTo>
                <a:cubicBezTo>
                  <a:pt x="186" y="208"/>
                  <a:pt x="186" y="208"/>
                  <a:pt x="186" y="208"/>
                </a:cubicBezTo>
                <a:cubicBezTo>
                  <a:pt x="186" y="207"/>
                  <a:pt x="186" y="207"/>
                  <a:pt x="186" y="207"/>
                </a:cubicBezTo>
                <a:cubicBezTo>
                  <a:pt x="186" y="206"/>
                  <a:pt x="186" y="206"/>
                  <a:pt x="186" y="206"/>
                </a:cubicBezTo>
                <a:cubicBezTo>
                  <a:pt x="187" y="206"/>
                  <a:pt x="187" y="206"/>
                  <a:pt x="187" y="206"/>
                </a:cubicBezTo>
                <a:cubicBezTo>
                  <a:pt x="186" y="205"/>
                  <a:pt x="186" y="205"/>
                  <a:pt x="186" y="205"/>
                </a:cubicBezTo>
                <a:cubicBezTo>
                  <a:pt x="185" y="205"/>
                  <a:pt x="185" y="205"/>
                  <a:pt x="185" y="205"/>
                </a:cubicBezTo>
                <a:cubicBezTo>
                  <a:pt x="184" y="202"/>
                  <a:pt x="184" y="202"/>
                  <a:pt x="184" y="202"/>
                </a:cubicBezTo>
                <a:cubicBezTo>
                  <a:pt x="183" y="202"/>
                  <a:pt x="183" y="202"/>
                  <a:pt x="183" y="202"/>
                </a:cubicBezTo>
                <a:cubicBezTo>
                  <a:pt x="182" y="202"/>
                  <a:pt x="182" y="202"/>
                  <a:pt x="182" y="202"/>
                </a:cubicBezTo>
                <a:cubicBezTo>
                  <a:pt x="181" y="201"/>
                  <a:pt x="181" y="201"/>
                  <a:pt x="181" y="201"/>
                </a:cubicBezTo>
                <a:cubicBezTo>
                  <a:pt x="181" y="199"/>
                  <a:pt x="181" y="199"/>
                  <a:pt x="181" y="199"/>
                </a:cubicBezTo>
                <a:cubicBezTo>
                  <a:pt x="182" y="198"/>
                  <a:pt x="182" y="198"/>
                  <a:pt x="182" y="198"/>
                </a:cubicBezTo>
                <a:cubicBezTo>
                  <a:pt x="181" y="196"/>
                  <a:pt x="181" y="196"/>
                  <a:pt x="181" y="196"/>
                </a:cubicBezTo>
                <a:cubicBezTo>
                  <a:pt x="181" y="195"/>
                  <a:pt x="181" y="195"/>
                  <a:pt x="181" y="195"/>
                </a:cubicBezTo>
                <a:cubicBezTo>
                  <a:pt x="181" y="195"/>
                  <a:pt x="181" y="195"/>
                  <a:pt x="181" y="195"/>
                </a:cubicBezTo>
                <a:cubicBezTo>
                  <a:pt x="184" y="191"/>
                  <a:pt x="184" y="191"/>
                  <a:pt x="184" y="191"/>
                </a:cubicBezTo>
                <a:cubicBezTo>
                  <a:pt x="185" y="190"/>
                  <a:pt x="185" y="190"/>
                  <a:pt x="185" y="190"/>
                </a:cubicBezTo>
                <a:cubicBezTo>
                  <a:pt x="185" y="190"/>
                  <a:pt x="185" y="190"/>
                  <a:pt x="185" y="190"/>
                </a:cubicBezTo>
                <a:cubicBezTo>
                  <a:pt x="185" y="188"/>
                  <a:pt x="185" y="188"/>
                  <a:pt x="185" y="188"/>
                </a:cubicBezTo>
                <a:cubicBezTo>
                  <a:pt x="185" y="187"/>
                  <a:pt x="185" y="187"/>
                  <a:pt x="185" y="187"/>
                </a:cubicBezTo>
                <a:cubicBezTo>
                  <a:pt x="186" y="185"/>
                  <a:pt x="186" y="185"/>
                  <a:pt x="186" y="185"/>
                </a:cubicBezTo>
                <a:cubicBezTo>
                  <a:pt x="185" y="184"/>
                  <a:pt x="185" y="184"/>
                  <a:pt x="185" y="184"/>
                </a:cubicBezTo>
                <a:cubicBezTo>
                  <a:pt x="184" y="182"/>
                  <a:pt x="184" y="182"/>
                  <a:pt x="184" y="182"/>
                </a:cubicBezTo>
                <a:cubicBezTo>
                  <a:pt x="185" y="181"/>
                  <a:pt x="185" y="181"/>
                  <a:pt x="185" y="181"/>
                </a:cubicBezTo>
                <a:cubicBezTo>
                  <a:pt x="184" y="180"/>
                  <a:pt x="184" y="180"/>
                  <a:pt x="184" y="180"/>
                </a:cubicBezTo>
                <a:cubicBezTo>
                  <a:pt x="185" y="178"/>
                  <a:pt x="185" y="178"/>
                  <a:pt x="185" y="178"/>
                </a:cubicBezTo>
                <a:cubicBezTo>
                  <a:pt x="184" y="178"/>
                  <a:pt x="184" y="178"/>
                  <a:pt x="184" y="178"/>
                </a:cubicBezTo>
                <a:cubicBezTo>
                  <a:pt x="184" y="175"/>
                  <a:pt x="184" y="175"/>
                  <a:pt x="184" y="175"/>
                </a:cubicBezTo>
                <a:cubicBezTo>
                  <a:pt x="185" y="175"/>
                  <a:pt x="185" y="175"/>
                  <a:pt x="185" y="175"/>
                </a:cubicBezTo>
                <a:cubicBezTo>
                  <a:pt x="184" y="173"/>
                  <a:pt x="184" y="173"/>
                  <a:pt x="184" y="173"/>
                </a:cubicBezTo>
                <a:cubicBezTo>
                  <a:pt x="184" y="171"/>
                  <a:pt x="184" y="171"/>
                  <a:pt x="184" y="171"/>
                </a:cubicBezTo>
                <a:cubicBezTo>
                  <a:pt x="184" y="169"/>
                  <a:pt x="184" y="169"/>
                  <a:pt x="184" y="169"/>
                </a:cubicBezTo>
                <a:cubicBezTo>
                  <a:pt x="185" y="168"/>
                  <a:pt x="185" y="168"/>
                  <a:pt x="185" y="168"/>
                </a:cubicBezTo>
                <a:cubicBezTo>
                  <a:pt x="186" y="169"/>
                  <a:pt x="186" y="169"/>
                  <a:pt x="186" y="169"/>
                </a:cubicBezTo>
                <a:cubicBezTo>
                  <a:pt x="186" y="169"/>
                  <a:pt x="186" y="169"/>
                  <a:pt x="186" y="169"/>
                </a:cubicBezTo>
                <a:cubicBezTo>
                  <a:pt x="186" y="170"/>
                  <a:pt x="186" y="170"/>
                  <a:pt x="186" y="170"/>
                </a:cubicBezTo>
                <a:cubicBezTo>
                  <a:pt x="187" y="169"/>
                  <a:pt x="187" y="169"/>
                  <a:pt x="187" y="169"/>
                </a:cubicBezTo>
                <a:cubicBezTo>
                  <a:pt x="189" y="169"/>
                  <a:pt x="189" y="169"/>
                  <a:pt x="189" y="169"/>
                </a:cubicBezTo>
                <a:cubicBezTo>
                  <a:pt x="191" y="169"/>
                  <a:pt x="191" y="169"/>
                  <a:pt x="191" y="169"/>
                </a:cubicBezTo>
                <a:cubicBezTo>
                  <a:pt x="192" y="169"/>
                  <a:pt x="192" y="169"/>
                  <a:pt x="192" y="169"/>
                </a:cubicBezTo>
                <a:cubicBezTo>
                  <a:pt x="193" y="169"/>
                  <a:pt x="193" y="169"/>
                  <a:pt x="193" y="169"/>
                </a:cubicBezTo>
                <a:cubicBezTo>
                  <a:pt x="194" y="168"/>
                  <a:pt x="194" y="168"/>
                  <a:pt x="194" y="168"/>
                </a:cubicBezTo>
                <a:cubicBezTo>
                  <a:pt x="195" y="169"/>
                  <a:pt x="195" y="169"/>
                  <a:pt x="195" y="169"/>
                </a:cubicBezTo>
                <a:cubicBezTo>
                  <a:pt x="199" y="170"/>
                  <a:pt x="199" y="170"/>
                  <a:pt x="199" y="170"/>
                </a:cubicBezTo>
                <a:cubicBezTo>
                  <a:pt x="201" y="170"/>
                  <a:pt x="201" y="170"/>
                  <a:pt x="201" y="170"/>
                </a:cubicBezTo>
                <a:cubicBezTo>
                  <a:pt x="202" y="170"/>
                  <a:pt x="202" y="170"/>
                  <a:pt x="202" y="170"/>
                </a:cubicBezTo>
                <a:cubicBezTo>
                  <a:pt x="202" y="172"/>
                  <a:pt x="202" y="172"/>
                  <a:pt x="202" y="172"/>
                </a:cubicBezTo>
                <a:cubicBezTo>
                  <a:pt x="201" y="172"/>
                  <a:pt x="201" y="172"/>
                  <a:pt x="201" y="172"/>
                </a:cubicBezTo>
                <a:cubicBezTo>
                  <a:pt x="202" y="173"/>
                  <a:pt x="202" y="173"/>
                  <a:pt x="202" y="173"/>
                </a:cubicBezTo>
                <a:cubicBezTo>
                  <a:pt x="202" y="175"/>
                  <a:pt x="202" y="175"/>
                  <a:pt x="202" y="175"/>
                </a:cubicBezTo>
                <a:cubicBezTo>
                  <a:pt x="203" y="176"/>
                  <a:pt x="203" y="176"/>
                  <a:pt x="203" y="176"/>
                </a:cubicBezTo>
                <a:cubicBezTo>
                  <a:pt x="203" y="178"/>
                  <a:pt x="203" y="178"/>
                  <a:pt x="203" y="178"/>
                </a:cubicBezTo>
                <a:cubicBezTo>
                  <a:pt x="204" y="180"/>
                  <a:pt x="204" y="180"/>
                  <a:pt x="204" y="180"/>
                </a:cubicBezTo>
                <a:cubicBezTo>
                  <a:pt x="203" y="183"/>
                  <a:pt x="203" y="183"/>
                  <a:pt x="203" y="183"/>
                </a:cubicBezTo>
                <a:cubicBezTo>
                  <a:pt x="204" y="184"/>
                  <a:pt x="204" y="184"/>
                  <a:pt x="204" y="184"/>
                </a:cubicBezTo>
                <a:cubicBezTo>
                  <a:pt x="203" y="185"/>
                  <a:pt x="203" y="185"/>
                  <a:pt x="203" y="185"/>
                </a:cubicBezTo>
                <a:cubicBezTo>
                  <a:pt x="204" y="186"/>
                  <a:pt x="204" y="186"/>
                  <a:pt x="204" y="186"/>
                </a:cubicBezTo>
                <a:cubicBezTo>
                  <a:pt x="204" y="187"/>
                  <a:pt x="204" y="187"/>
                  <a:pt x="204" y="187"/>
                </a:cubicBezTo>
                <a:cubicBezTo>
                  <a:pt x="203" y="188"/>
                  <a:pt x="203" y="188"/>
                  <a:pt x="203" y="188"/>
                </a:cubicBezTo>
                <a:cubicBezTo>
                  <a:pt x="203" y="189"/>
                  <a:pt x="203" y="189"/>
                  <a:pt x="203" y="189"/>
                </a:cubicBezTo>
                <a:cubicBezTo>
                  <a:pt x="205" y="190"/>
                  <a:pt x="205" y="190"/>
                  <a:pt x="205" y="190"/>
                </a:cubicBezTo>
                <a:cubicBezTo>
                  <a:pt x="206" y="192"/>
                  <a:pt x="206" y="192"/>
                  <a:pt x="206" y="192"/>
                </a:cubicBezTo>
                <a:cubicBezTo>
                  <a:pt x="207" y="192"/>
                  <a:pt x="207" y="192"/>
                  <a:pt x="207" y="192"/>
                </a:cubicBezTo>
                <a:cubicBezTo>
                  <a:pt x="207" y="193"/>
                  <a:pt x="207" y="193"/>
                  <a:pt x="207" y="193"/>
                </a:cubicBezTo>
                <a:cubicBezTo>
                  <a:pt x="208" y="192"/>
                  <a:pt x="208" y="192"/>
                  <a:pt x="208" y="192"/>
                </a:cubicBezTo>
                <a:cubicBezTo>
                  <a:pt x="209" y="193"/>
                  <a:pt x="209" y="193"/>
                  <a:pt x="209" y="193"/>
                </a:cubicBezTo>
                <a:cubicBezTo>
                  <a:pt x="209" y="195"/>
                  <a:pt x="209" y="195"/>
                  <a:pt x="209" y="195"/>
                </a:cubicBezTo>
                <a:cubicBezTo>
                  <a:pt x="211" y="196"/>
                  <a:pt x="211" y="196"/>
                  <a:pt x="211" y="196"/>
                </a:cubicBezTo>
                <a:cubicBezTo>
                  <a:pt x="212" y="198"/>
                  <a:pt x="212" y="198"/>
                  <a:pt x="212" y="198"/>
                </a:cubicBezTo>
                <a:cubicBezTo>
                  <a:pt x="212" y="202"/>
                  <a:pt x="212" y="202"/>
                  <a:pt x="212" y="202"/>
                </a:cubicBezTo>
                <a:cubicBezTo>
                  <a:pt x="213" y="203"/>
                  <a:pt x="213" y="203"/>
                  <a:pt x="213" y="203"/>
                </a:cubicBezTo>
                <a:cubicBezTo>
                  <a:pt x="213" y="203"/>
                  <a:pt x="213" y="203"/>
                  <a:pt x="213" y="203"/>
                </a:cubicBezTo>
                <a:cubicBezTo>
                  <a:pt x="213" y="204"/>
                  <a:pt x="213" y="204"/>
                  <a:pt x="213" y="204"/>
                </a:cubicBezTo>
                <a:cubicBezTo>
                  <a:pt x="214" y="206"/>
                  <a:pt x="214" y="206"/>
                  <a:pt x="214" y="206"/>
                </a:cubicBezTo>
                <a:cubicBezTo>
                  <a:pt x="214" y="208"/>
                  <a:pt x="214" y="208"/>
                  <a:pt x="214" y="208"/>
                </a:cubicBezTo>
                <a:cubicBezTo>
                  <a:pt x="216" y="211"/>
                  <a:pt x="216" y="211"/>
                  <a:pt x="216" y="211"/>
                </a:cubicBezTo>
                <a:cubicBezTo>
                  <a:pt x="215" y="212"/>
                  <a:pt x="215" y="212"/>
                  <a:pt x="215" y="212"/>
                </a:cubicBezTo>
                <a:cubicBezTo>
                  <a:pt x="216" y="214"/>
                  <a:pt x="216" y="214"/>
                  <a:pt x="216" y="214"/>
                </a:cubicBezTo>
                <a:cubicBezTo>
                  <a:pt x="218" y="214"/>
                  <a:pt x="218" y="214"/>
                  <a:pt x="218" y="214"/>
                </a:cubicBezTo>
                <a:cubicBezTo>
                  <a:pt x="217" y="216"/>
                  <a:pt x="217" y="216"/>
                  <a:pt x="217" y="216"/>
                </a:cubicBezTo>
                <a:cubicBezTo>
                  <a:pt x="218" y="216"/>
                  <a:pt x="218" y="216"/>
                  <a:pt x="218" y="216"/>
                </a:cubicBezTo>
                <a:cubicBezTo>
                  <a:pt x="218" y="219"/>
                  <a:pt x="218" y="219"/>
                  <a:pt x="218" y="219"/>
                </a:cubicBezTo>
                <a:cubicBezTo>
                  <a:pt x="221" y="222"/>
                  <a:pt x="221" y="222"/>
                  <a:pt x="221" y="222"/>
                </a:cubicBezTo>
                <a:cubicBezTo>
                  <a:pt x="223" y="223"/>
                  <a:pt x="223" y="223"/>
                  <a:pt x="223" y="223"/>
                </a:cubicBezTo>
                <a:cubicBezTo>
                  <a:pt x="223" y="224"/>
                  <a:pt x="223" y="224"/>
                  <a:pt x="223" y="224"/>
                </a:cubicBezTo>
                <a:cubicBezTo>
                  <a:pt x="224" y="224"/>
                  <a:pt x="224" y="224"/>
                  <a:pt x="224" y="224"/>
                </a:cubicBezTo>
                <a:cubicBezTo>
                  <a:pt x="226" y="226"/>
                  <a:pt x="226" y="226"/>
                  <a:pt x="226" y="226"/>
                </a:cubicBezTo>
                <a:cubicBezTo>
                  <a:pt x="226" y="227"/>
                  <a:pt x="226" y="227"/>
                  <a:pt x="226" y="227"/>
                </a:cubicBezTo>
                <a:cubicBezTo>
                  <a:pt x="226" y="227"/>
                  <a:pt x="226" y="227"/>
                  <a:pt x="226" y="227"/>
                </a:cubicBezTo>
                <a:cubicBezTo>
                  <a:pt x="226" y="228"/>
                  <a:pt x="226" y="228"/>
                  <a:pt x="226" y="228"/>
                </a:cubicBezTo>
                <a:cubicBezTo>
                  <a:pt x="225" y="230"/>
                  <a:pt x="225" y="230"/>
                  <a:pt x="225" y="230"/>
                </a:cubicBezTo>
                <a:cubicBezTo>
                  <a:pt x="226" y="232"/>
                  <a:pt x="226" y="232"/>
                  <a:pt x="226" y="232"/>
                </a:cubicBezTo>
                <a:cubicBezTo>
                  <a:pt x="228" y="233"/>
                  <a:pt x="228" y="233"/>
                  <a:pt x="228" y="233"/>
                </a:cubicBezTo>
                <a:cubicBezTo>
                  <a:pt x="228" y="235"/>
                  <a:pt x="228" y="235"/>
                  <a:pt x="228" y="235"/>
                </a:cubicBezTo>
                <a:cubicBezTo>
                  <a:pt x="227" y="236"/>
                  <a:pt x="227" y="236"/>
                  <a:pt x="227" y="236"/>
                </a:cubicBezTo>
                <a:cubicBezTo>
                  <a:pt x="227" y="237"/>
                  <a:pt x="227" y="237"/>
                  <a:pt x="227" y="237"/>
                </a:cubicBezTo>
                <a:cubicBezTo>
                  <a:pt x="226" y="238"/>
                  <a:pt x="226" y="238"/>
                  <a:pt x="226" y="238"/>
                </a:cubicBezTo>
                <a:cubicBezTo>
                  <a:pt x="226" y="239"/>
                  <a:pt x="226" y="239"/>
                  <a:pt x="226" y="239"/>
                </a:cubicBezTo>
                <a:cubicBezTo>
                  <a:pt x="226" y="241"/>
                  <a:pt x="226" y="241"/>
                  <a:pt x="226" y="241"/>
                </a:cubicBezTo>
                <a:cubicBezTo>
                  <a:pt x="225" y="242"/>
                  <a:pt x="225" y="242"/>
                  <a:pt x="225" y="242"/>
                </a:cubicBezTo>
                <a:cubicBezTo>
                  <a:pt x="225" y="243"/>
                  <a:pt x="225" y="243"/>
                  <a:pt x="225" y="243"/>
                </a:cubicBezTo>
                <a:cubicBezTo>
                  <a:pt x="226" y="242"/>
                  <a:pt x="226" y="242"/>
                  <a:pt x="226" y="242"/>
                </a:cubicBezTo>
                <a:cubicBezTo>
                  <a:pt x="226" y="243"/>
                  <a:pt x="226" y="243"/>
                  <a:pt x="226" y="243"/>
                </a:cubicBezTo>
                <a:cubicBezTo>
                  <a:pt x="225" y="244"/>
                  <a:pt x="225" y="244"/>
                  <a:pt x="225" y="244"/>
                </a:cubicBezTo>
                <a:cubicBezTo>
                  <a:pt x="225" y="247"/>
                  <a:pt x="225" y="247"/>
                  <a:pt x="225" y="247"/>
                </a:cubicBezTo>
                <a:cubicBezTo>
                  <a:pt x="224" y="247"/>
                  <a:pt x="224" y="247"/>
                  <a:pt x="224" y="247"/>
                </a:cubicBezTo>
                <a:cubicBezTo>
                  <a:pt x="223" y="247"/>
                  <a:pt x="223" y="247"/>
                  <a:pt x="223" y="247"/>
                </a:cubicBezTo>
                <a:cubicBezTo>
                  <a:pt x="223" y="248"/>
                  <a:pt x="223" y="248"/>
                  <a:pt x="223" y="248"/>
                </a:cubicBezTo>
                <a:cubicBezTo>
                  <a:pt x="224" y="249"/>
                  <a:pt x="224" y="249"/>
                  <a:pt x="224" y="249"/>
                </a:cubicBezTo>
                <a:cubicBezTo>
                  <a:pt x="224" y="250"/>
                  <a:pt x="224" y="250"/>
                  <a:pt x="224" y="250"/>
                </a:cubicBezTo>
                <a:cubicBezTo>
                  <a:pt x="223" y="251"/>
                  <a:pt x="223" y="251"/>
                  <a:pt x="223" y="251"/>
                </a:cubicBezTo>
                <a:cubicBezTo>
                  <a:pt x="222" y="252"/>
                  <a:pt x="222" y="252"/>
                  <a:pt x="222" y="252"/>
                </a:cubicBezTo>
                <a:cubicBezTo>
                  <a:pt x="219" y="252"/>
                  <a:pt x="219" y="252"/>
                  <a:pt x="219" y="252"/>
                </a:cubicBezTo>
                <a:cubicBezTo>
                  <a:pt x="218" y="251"/>
                  <a:pt x="218" y="251"/>
                  <a:pt x="218" y="251"/>
                </a:cubicBezTo>
                <a:cubicBezTo>
                  <a:pt x="220" y="250"/>
                  <a:pt x="220" y="250"/>
                  <a:pt x="220" y="250"/>
                </a:cubicBezTo>
                <a:cubicBezTo>
                  <a:pt x="220" y="249"/>
                  <a:pt x="220" y="249"/>
                  <a:pt x="220" y="249"/>
                </a:cubicBezTo>
                <a:cubicBezTo>
                  <a:pt x="219" y="249"/>
                  <a:pt x="219" y="249"/>
                  <a:pt x="219" y="249"/>
                </a:cubicBezTo>
                <a:cubicBezTo>
                  <a:pt x="219" y="250"/>
                  <a:pt x="219" y="250"/>
                  <a:pt x="219" y="250"/>
                </a:cubicBezTo>
                <a:cubicBezTo>
                  <a:pt x="218" y="250"/>
                  <a:pt x="218" y="250"/>
                  <a:pt x="218" y="250"/>
                </a:cubicBezTo>
                <a:cubicBezTo>
                  <a:pt x="215" y="248"/>
                  <a:pt x="215" y="248"/>
                  <a:pt x="215" y="248"/>
                </a:cubicBezTo>
                <a:cubicBezTo>
                  <a:pt x="214" y="249"/>
                  <a:pt x="214" y="249"/>
                  <a:pt x="214" y="249"/>
                </a:cubicBezTo>
                <a:cubicBezTo>
                  <a:pt x="211" y="250"/>
                  <a:pt x="211" y="250"/>
                  <a:pt x="211" y="250"/>
                </a:cubicBezTo>
                <a:cubicBezTo>
                  <a:pt x="209" y="250"/>
                  <a:pt x="209" y="250"/>
                  <a:pt x="209" y="250"/>
                </a:cubicBezTo>
                <a:cubicBezTo>
                  <a:pt x="208" y="251"/>
                  <a:pt x="208" y="251"/>
                  <a:pt x="208" y="251"/>
                </a:cubicBezTo>
                <a:cubicBezTo>
                  <a:pt x="209" y="251"/>
                  <a:pt x="209" y="251"/>
                  <a:pt x="209" y="251"/>
                </a:cubicBezTo>
                <a:cubicBezTo>
                  <a:pt x="209" y="252"/>
                  <a:pt x="209" y="252"/>
                  <a:pt x="209" y="252"/>
                </a:cubicBezTo>
                <a:cubicBezTo>
                  <a:pt x="210" y="251"/>
                  <a:pt x="210" y="251"/>
                  <a:pt x="210" y="251"/>
                </a:cubicBezTo>
                <a:cubicBezTo>
                  <a:pt x="212" y="250"/>
                  <a:pt x="212" y="250"/>
                  <a:pt x="212" y="250"/>
                </a:cubicBezTo>
                <a:cubicBezTo>
                  <a:pt x="212" y="252"/>
                  <a:pt x="212" y="252"/>
                  <a:pt x="212" y="252"/>
                </a:cubicBezTo>
                <a:cubicBezTo>
                  <a:pt x="214" y="253"/>
                  <a:pt x="214" y="253"/>
                  <a:pt x="214" y="253"/>
                </a:cubicBezTo>
                <a:cubicBezTo>
                  <a:pt x="219" y="254"/>
                  <a:pt x="219" y="254"/>
                  <a:pt x="219" y="254"/>
                </a:cubicBezTo>
                <a:cubicBezTo>
                  <a:pt x="221" y="255"/>
                  <a:pt x="221" y="255"/>
                  <a:pt x="221" y="255"/>
                </a:cubicBezTo>
                <a:cubicBezTo>
                  <a:pt x="223" y="254"/>
                  <a:pt x="223" y="254"/>
                  <a:pt x="223" y="254"/>
                </a:cubicBezTo>
                <a:cubicBezTo>
                  <a:pt x="225" y="254"/>
                  <a:pt x="225" y="254"/>
                  <a:pt x="225" y="254"/>
                </a:cubicBezTo>
                <a:cubicBezTo>
                  <a:pt x="226" y="255"/>
                  <a:pt x="226" y="255"/>
                  <a:pt x="226" y="255"/>
                </a:cubicBezTo>
                <a:cubicBezTo>
                  <a:pt x="228" y="255"/>
                  <a:pt x="228" y="255"/>
                  <a:pt x="228" y="255"/>
                </a:cubicBezTo>
                <a:cubicBezTo>
                  <a:pt x="230" y="254"/>
                  <a:pt x="230" y="254"/>
                  <a:pt x="230" y="254"/>
                </a:cubicBezTo>
                <a:cubicBezTo>
                  <a:pt x="230" y="253"/>
                  <a:pt x="230" y="253"/>
                  <a:pt x="230" y="253"/>
                </a:cubicBezTo>
                <a:cubicBezTo>
                  <a:pt x="229" y="252"/>
                  <a:pt x="229" y="252"/>
                  <a:pt x="229" y="252"/>
                </a:cubicBezTo>
                <a:cubicBezTo>
                  <a:pt x="229" y="250"/>
                  <a:pt x="229" y="250"/>
                  <a:pt x="229" y="250"/>
                </a:cubicBezTo>
                <a:cubicBezTo>
                  <a:pt x="230" y="249"/>
                  <a:pt x="230" y="249"/>
                  <a:pt x="230" y="249"/>
                </a:cubicBezTo>
                <a:cubicBezTo>
                  <a:pt x="231" y="249"/>
                  <a:pt x="231" y="249"/>
                  <a:pt x="231" y="249"/>
                </a:cubicBezTo>
                <a:cubicBezTo>
                  <a:pt x="231" y="248"/>
                  <a:pt x="231" y="248"/>
                  <a:pt x="231" y="248"/>
                </a:cubicBezTo>
                <a:cubicBezTo>
                  <a:pt x="233" y="246"/>
                  <a:pt x="233" y="246"/>
                  <a:pt x="233" y="246"/>
                </a:cubicBezTo>
                <a:cubicBezTo>
                  <a:pt x="233" y="245"/>
                  <a:pt x="233" y="245"/>
                  <a:pt x="233" y="245"/>
                </a:cubicBezTo>
                <a:cubicBezTo>
                  <a:pt x="234" y="242"/>
                  <a:pt x="234" y="242"/>
                  <a:pt x="234" y="242"/>
                </a:cubicBezTo>
                <a:cubicBezTo>
                  <a:pt x="233" y="240"/>
                  <a:pt x="233" y="240"/>
                  <a:pt x="233" y="240"/>
                </a:cubicBezTo>
                <a:cubicBezTo>
                  <a:pt x="233" y="238"/>
                  <a:pt x="233" y="238"/>
                  <a:pt x="233" y="238"/>
                </a:cubicBezTo>
                <a:cubicBezTo>
                  <a:pt x="235" y="235"/>
                  <a:pt x="235" y="235"/>
                  <a:pt x="235" y="235"/>
                </a:cubicBezTo>
                <a:cubicBezTo>
                  <a:pt x="236" y="234"/>
                  <a:pt x="236" y="234"/>
                  <a:pt x="236" y="234"/>
                </a:cubicBezTo>
                <a:cubicBezTo>
                  <a:pt x="234" y="229"/>
                  <a:pt x="234" y="229"/>
                  <a:pt x="234" y="229"/>
                </a:cubicBezTo>
                <a:cubicBezTo>
                  <a:pt x="231" y="227"/>
                  <a:pt x="231" y="227"/>
                  <a:pt x="231" y="227"/>
                </a:cubicBezTo>
                <a:cubicBezTo>
                  <a:pt x="230" y="226"/>
                  <a:pt x="230" y="226"/>
                  <a:pt x="230" y="226"/>
                </a:cubicBezTo>
                <a:cubicBezTo>
                  <a:pt x="230" y="223"/>
                  <a:pt x="230" y="223"/>
                  <a:pt x="230" y="223"/>
                </a:cubicBezTo>
                <a:cubicBezTo>
                  <a:pt x="232" y="221"/>
                  <a:pt x="232" y="221"/>
                  <a:pt x="232" y="221"/>
                </a:cubicBezTo>
                <a:cubicBezTo>
                  <a:pt x="233" y="220"/>
                  <a:pt x="233" y="220"/>
                  <a:pt x="233" y="220"/>
                </a:cubicBezTo>
                <a:cubicBezTo>
                  <a:pt x="235" y="220"/>
                  <a:pt x="235" y="220"/>
                  <a:pt x="235" y="220"/>
                </a:cubicBezTo>
                <a:cubicBezTo>
                  <a:pt x="237" y="217"/>
                  <a:pt x="237" y="217"/>
                  <a:pt x="237" y="217"/>
                </a:cubicBezTo>
                <a:cubicBezTo>
                  <a:pt x="239" y="217"/>
                  <a:pt x="239" y="217"/>
                  <a:pt x="239" y="217"/>
                </a:cubicBezTo>
                <a:cubicBezTo>
                  <a:pt x="241" y="219"/>
                  <a:pt x="241" y="219"/>
                  <a:pt x="241" y="219"/>
                </a:cubicBezTo>
                <a:cubicBezTo>
                  <a:pt x="241" y="221"/>
                  <a:pt x="241" y="221"/>
                  <a:pt x="241" y="221"/>
                </a:cubicBezTo>
                <a:cubicBezTo>
                  <a:pt x="243" y="222"/>
                  <a:pt x="243" y="222"/>
                  <a:pt x="243" y="222"/>
                </a:cubicBezTo>
                <a:cubicBezTo>
                  <a:pt x="244" y="223"/>
                  <a:pt x="244" y="223"/>
                  <a:pt x="244" y="223"/>
                </a:cubicBezTo>
                <a:cubicBezTo>
                  <a:pt x="244" y="223"/>
                  <a:pt x="244" y="223"/>
                  <a:pt x="244" y="223"/>
                </a:cubicBezTo>
                <a:cubicBezTo>
                  <a:pt x="246" y="224"/>
                  <a:pt x="246" y="224"/>
                  <a:pt x="246" y="224"/>
                </a:cubicBezTo>
                <a:cubicBezTo>
                  <a:pt x="245" y="226"/>
                  <a:pt x="245" y="226"/>
                  <a:pt x="245" y="226"/>
                </a:cubicBezTo>
                <a:cubicBezTo>
                  <a:pt x="247" y="227"/>
                  <a:pt x="247" y="227"/>
                  <a:pt x="247" y="227"/>
                </a:cubicBezTo>
                <a:cubicBezTo>
                  <a:pt x="247" y="228"/>
                  <a:pt x="247" y="228"/>
                  <a:pt x="247" y="228"/>
                </a:cubicBezTo>
                <a:cubicBezTo>
                  <a:pt x="248" y="230"/>
                  <a:pt x="248" y="230"/>
                  <a:pt x="248" y="230"/>
                </a:cubicBezTo>
                <a:cubicBezTo>
                  <a:pt x="248" y="231"/>
                  <a:pt x="248" y="231"/>
                  <a:pt x="248" y="231"/>
                </a:cubicBezTo>
                <a:cubicBezTo>
                  <a:pt x="248" y="232"/>
                  <a:pt x="248" y="232"/>
                  <a:pt x="248" y="232"/>
                </a:cubicBezTo>
                <a:cubicBezTo>
                  <a:pt x="249" y="233"/>
                  <a:pt x="249" y="233"/>
                  <a:pt x="249" y="233"/>
                </a:cubicBezTo>
                <a:cubicBezTo>
                  <a:pt x="250" y="233"/>
                  <a:pt x="250" y="233"/>
                  <a:pt x="250" y="233"/>
                </a:cubicBezTo>
                <a:cubicBezTo>
                  <a:pt x="252" y="234"/>
                  <a:pt x="252" y="234"/>
                  <a:pt x="252" y="234"/>
                </a:cubicBezTo>
                <a:cubicBezTo>
                  <a:pt x="254" y="234"/>
                  <a:pt x="254" y="234"/>
                  <a:pt x="254" y="234"/>
                </a:cubicBezTo>
                <a:cubicBezTo>
                  <a:pt x="255" y="234"/>
                  <a:pt x="255" y="234"/>
                  <a:pt x="255" y="234"/>
                </a:cubicBezTo>
                <a:cubicBezTo>
                  <a:pt x="256" y="234"/>
                  <a:pt x="256" y="234"/>
                  <a:pt x="256" y="234"/>
                </a:cubicBezTo>
                <a:cubicBezTo>
                  <a:pt x="257" y="233"/>
                  <a:pt x="257" y="233"/>
                  <a:pt x="257" y="233"/>
                </a:cubicBezTo>
                <a:cubicBezTo>
                  <a:pt x="258" y="232"/>
                  <a:pt x="258" y="232"/>
                  <a:pt x="258" y="232"/>
                </a:cubicBezTo>
                <a:cubicBezTo>
                  <a:pt x="257" y="232"/>
                  <a:pt x="257" y="232"/>
                  <a:pt x="257" y="232"/>
                </a:cubicBezTo>
                <a:cubicBezTo>
                  <a:pt x="256" y="232"/>
                  <a:pt x="256" y="232"/>
                  <a:pt x="256" y="232"/>
                </a:cubicBezTo>
                <a:cubicBezTo>
                  <a:pt x="255" y="231"/>
                  <a:pt x="255" y="231"/>
                  <a:pt x="255" y="231"/>
                </a:cubicBezTo>
                <a:cubicBezTo>
                  <a:pt x="254" y="233"/>
                  <a:pt x="254" y="233"/>
                  <a:pt x="254" y="233"/>
                </a:cubicBezTo>
                <a:cubicBezTo>
                  <a:pt x="252" y="233"/>
                  <a:pt x="252" y="233"/>
                  <a:pt x="252" y="233"/>
                </a:cubicBezTo>
                <a:cubicBezTo>
                  <a:pt x="252" y="232"/>
                  <a:pt x="252" y="232"/>
                  <a:pt x="252" y="232"/>
                </a:cubicBezTo>
                <a:cubicBezTo>
                  <a:pt x="250" y="232"/>
                  <a:pt x="250" y="232"/>
                  <a:pt x="250" y="232"/>
                </a:cubicBezTo>
                <a:cubicBezTo>
                  <a:pt x="249" y="231"/>
                  <a:pt x="249" y="231"/>
                  <a:pt x="249" y="231"/>
                </a:cubicBezTo>
                <a:cubicBezTo>
                  <a:pt x="250" y="230"/>
                  <a:pt x="250" y="230"/>
                  <a:pt x="250" y="230"/>
                </a:cubicBezTo>
                <a:cubicBezTo>
                  <a:pt x="249" y="229"/>
                  <a:pt x="249" y="229"/>
                  <a:pt x="249" y="229"/>
                </a:cubicBezTo>
                <a:cubicBezTo>
                  <a:pt x="248" y="228"/>
                  <a:pt x="248" y="228"/>
                  <a:pt x="248" y="228"/>
                </a:cubicBezTo>
                <a:cubicBezTo>
                  <a:pt x="248" y="225"/>
                  <a:pt x="248" y="225"/>
                  <a:pt x="248" y="225"/>
                </a:cubicBezTo>
                <a:cubicBezTo>
                  <a:pt x="250" y="225"/>
                  <a:pt x="250" y="225"/>
                  <a:pt x="250" y="225"/>
                </a:cubicBezTo>
                <a:cubicBezTo>
                  <a:pt x="251" y="224"/>
                  <a:pt x="251" y="224"/>
                  <a:pt x="251" y="224"/>
                </a:cubicBezTo>
                <a:cubicBezTo>
                  <a:pt x="250" y="224"/>
                  <a:pt x="250" y="224"/>
                  <a:pt x="250" y="224"/>
                </a:cubicBezTo>
                <a:cubicBezTo>
                  <a:pt x="249" y="223"/>
                  <a:pt x="249" y="223"/>
                  <a:pt x="249" y="223"/>
                </a:cubicBezTo>
                <a:cubicBezTo>
                  <a:pt x="249" y="222"/>
                  <a:pt x="249" y="222"/>
                  <a:pt x="249" y="222"/>
                </a:cubicBezTo>
                <a:cubicBezTo>
                  <a:pt x="249" y="221"/>
                  <a:pt x="249" y="221"/>
                  <a:pt x="249" y="221"/>
                </a:cubicBezTo>
                <a:cubicBezTo>
                  <a:pt x="247" y="220"/>
                  <a:pt x="247" y="220"/>
                  <a:pt x="247" y="220"/>
                </a:cubicBezTo>
                <a:cubicBezTo>
                  <a:pt x="247" y="219"/>
                  <a:pt x="247" y="219"/>
                  <a:pt x="247" y="219"/>
                </a:cubicBezTo>
                <a:cubicBezTo>
                  <a:pt x="245" y="217"/>
                  <a:pt x="245" y="217"/>
                  <a:pt x="245" y="217"/>
                </a:cubicBezTo>
                <a:cubicBezTo>
                  <a:pt x="243" y="217"/>
                  <a:pt x="243" y="217"/>
                  <a:pt x="243" y="217"/>
                </a:cubicBezTo>
                <a:cubicBezTo>
                  <a:pt x="240" y="216"/>
                  <a:pt x="240" y="216"/>
                  <a:pt x="240" y="216"/>
                </a:cubicBezTo>
                <a:cubicBezTo>
                  <a:pt x="239" y="215"/>
                  <a:pt x="239" y="215"/>
                  <a:pt x="239" y="215"/>
                </a:cubicBezTo>
                <a:cubicBezTo>
                  <a:pt x="238" y="215"/>
                  <a:pt x="238" y="215"/>
                  <a:pt x="238" y="215"/>
                </a:cubicBezTo>
                <a:cubicBezTo>
                  <a:pt x="236" y="214"/>
                  <a:pt x="236" y="214"/>
                  <a:pt x="236" y="214"/>
                </a:cubicBezTo>
                <a:cubicBezTo>
                  <a:pt x="234" y="214"/>
                  <a:pt x="234" y="214"/>
                  <a:pt x="234" y="214"/>
                </a:cubicBezTo>
                <a:cubicBezTo>
                  <a:pt x="233" y="214"/>
                  <a:pt x="233" y="214"/>
                  <a:pt x="233" y="214"/>
                </a:cubicBezTo>
                <a:cubicBezTo>
                  <a:pt x="231" y="215"/>
                  <a:pt x="231" y="215"/>
                  <a:pt x="231" y="215"/>
                </a:cubicBezTo>
                <a:cubicBezTo>
                  <a:pt x="231" y="217"/>
                  <a:pt x="231" y="217"/>
                  <a:pt x="231" y="217"/>
                </a:cubicBezTo>
                <a:cubicBezTo>
                  <a:pt x="230" y="218"/>
                  <a:pt x="230" y="218"/>
                  <a:pt x="230" y="218"/>
                </a:cubicBezTo>
                <a:cubicBezTo>
                  <a:pt x="228" y="217"/>
                  <a:pt x="228" y="217"/>
                  <a:pt x="228" y="217"/>
                </a:cubicBezTo>
                <a:cubicBezTo>
                  <a:pt x="226" y="218"/>
                  <a:pt x="226" y="218"/>
                  <a:pt x="226" y="218"/>
                </a:cubicBezTo>
                <a:cubicBezTo>
                  <a:pt x="224" y="218"/>
                  <a:pt x="224" y="218"/>
                  <a:pt x="224" y="218"/>
                </a:cubicBezTo>
                <a:cubicBezTo>
                  <a:pt x="224" y="217"/>
                  <a:pt x="224" y="217"/>
                  <a:pt x="224" y="217"/>
                </a:cubicBezTo>
                <a:cubicBezTo>
                  <a:pt x="224" y="215"/>
                  <a:pt x="224" y="215"/>
                  <a:pt x="224" y="215"/>
                </a:cubicBezTo>
                <a:cubicBezTo>
                  <a:pt x="224" y="214"/>
                  <a:pt x="224" y="214"/>
                  <a:pt x="224" y="214"/>
                </a:cubicBezTo>
                <a:cubicBezTo>
                  <a:pt x="221" y="211"/>
                  <a:pt x="221" y="211"/>
                  <a:pt x="221" y="211"/>
                </a:cubicBezTo>
                <a:cubicBezTo>
                  <a:pt x="220" y="210"/>
                  <a:pt x="220" y="210"/>
                  <a:pt x="220" y="210"/>
                </a:cubicBezTo>
                <a:cubicBezTo>
                  <a:pt x="221" y="207"/>
                  <a:pt x="221" y="207"/>
                  <a:pt x="221" y="207"/>
                </a:cubicBezTo>
                <a:cubicBezTo>
                  <a:pt x="219" y="205"/>
                  <a:pt x="219" y="205"/>
                  <a:pt x="219" y="205"/>
                </a:cubicBezTo>
                <a:cubicBezTo>
                  <a:pt x="220" y="203"/>
                  <a:pt x="220" y="203"/>
                  <a:pt x="220" y="203"/>
                </a:cubicBezTo>
                <a:cubicBezTo>
                  <a:pt x="220" y="199"/>
                  <a:pt x="220" y="199"/>
                  <a:pt x="220" y="199"/>
                </a:cubicBezTo>
                <a:cubicBezTo>
                  <a:pt x="219" y="197"/>
                  <a:pt x="219" y="197"/>
                  <a:pt x="219" y="197"/>
                </a:cubicBezTo>
                <a:cubicBezTo>
                  <a:pt x="217" y="195"/>
                  <a:pt x="217" y="195"/>
                  <a:pt x="217" y="195"/>
                </a:cubicBezTo>
                <a:cubicBezTo>
                  <a:pt x="216" y="195"/>
                  <a:pt x="216" y="195"/>
                  <a:pt x="216" y="195"/>
                </a:cubicBezTo>
                <a:cubicBezTo>
                  <a:pt x="215" y="193"/>
                  <a:pt x="215" y="193"/>
                  <a:pt x="215" y="193"/>
                </a:cubicBezTo>
                <a:cubicBezTo>
                  <a:pt x="212" y="191"/>
                  <a:pt x="212" y="191"/>
                  <a:pt x="212" y="191"/>
                </a:cubicBezTo>
                <a:cubicBezTo>
                  <a:pt x="210" y="190"/>
                  <a:pt x="210" y="190"/>
                  <a:pt x="210" y="190"/>
                </a:cubicBezTo>
                <a:cubicBezTo>
                  <a:pt x="210" y="188"/>
                  <a:pt x="210" y="188"/>
                  <a:pt x="210" y="188"/>
                </a:cubicBezTo>
                <a:cubicBezTo>
                  <a:pt x="211" y="186"/>
                  <a:pt x="211" y="186"/>
                  <a:pt x="211" y="186"/>
                </a:cubicBezTo>
                <a:cubicBezTo>
                  <a:pt x="210" y="184"/>
                  <a:pt x="210" y="184"/>
                  <a:pt x="210" y="184"/>
                </a:cubicBezTo>
                <a:cubicBezTo>
                  <a:pt x="209" y="183"/>
                  <a:pt x="209" y="183"/>
                  <a:pt x="209" y="183"/>
                </a:cubicBezTo>
                <a:cubicBezTo>
                  <a:pt x="209" y="182"/>
                  <a:pt x="209" y="182"/>
                  <a:pt x="209" y="182"/>
                </a:cubicBezTo>
                <a:cubicBezTo>
                  <a:pt x="211" y="181"/>
                  <a:pt x="211" y="181"/>
                  <a:pt x="211" y="181"/>
                </a:cubicBezTo>
                <a:cubicBezTo>
                  <a:pt x="213" y="178"/>
                  <a:pt x="213" y="178"/>
                  <a:pt x="213" y="178"/>
                </a:cubicBezTo>
                <a:cubicBezTo>
                  <a:pt x="214" y="176"/>
                  <a:pt x="214" y="176"/>
                  <a:pt x="214" y="176"/>
                </a:cubicBezTo>
                <a:cubicBezTo>
                  <a:pt x="213" y="172"/>
                  <a:pt x="213" y="172"/>
                  <a:pt x="213" y="172"/>
                </a:cubicBezTo>
                <a:cubicBezTo>
                  <a:pt x="210" y="167"/>
                  <a:pt x="210" y="167"/>
                  <a:pt x="210" y="167"/>
                </a:cubicBezTo>
                <a:cubicBezTo>
                  <a:pt x="211" y="167"/>
                  <a:pt x="211" y="167"/>
                  <a:pt x="211" y="167"/>
                </a:cubicBezTo>
                <a:cubicBezTo>
                  <a:pt x="213" y="168"/>
                  <a:pt x="213" y="168"/>
                  <a:pt x="213" y="168"/>
                </a:cubicBezTo>
                <a:cubicBezTo>
                  <a:pt x="213" y="170"/>
                  <a:pt x="213" y="170"/>
                  <a:pt x="213" y="170"/>
                </a:cubicBezTo>
                <a:cubicBezTo>
                  <a:pt x="214" y="170"/>
                  <a:pt x="214" y="170"/>
                  <a:pt x="214" y="170"/>
                </a:cubicBezTo>
                <a:cubicBezTo>
                  <a:pt x="214" y="170"/>
                  <a:pt x="214" y="170"/>
                  <a:pt x="214" y="170"/>
                </a:cubicBezTo>
                <a:cubicBezTo>
                  <a:pt x="215" y="172"/>
                  <a:pt x="215" y="172"/>
                  <a:pt x="215" y="172"/>
                </a:cubicBezTo>
                <a:cubicBezTo>
                  <a:pt x="216" y="174"/>
                  <a:pt x="216" y="174"/>
                  <a:pt x="216" y="174"/>
                </a:cubicBezTo>
                <a:cubicBezTo>
                  <a:pt x="216" y="177"/>
                  <a:pt x="216" y="177"/>
                  <a:pt x="216" y="177"/>
                </a:cubicBezTo>
                <a:cubicBezTo>
                  <a:pt x="217" y="178"/>
                  <a:pt x="217" y="178"/>
                  <a:pt x="217" y="178"/>
                </a:cubicBezTo>
                <a:cubicBezTo>
                  <a:pt x="216" y="180"/>
                  <a:pt x="216" y="180"/>
                  <a:pt x="216" y="180"/>
                </a:cubicBezTo>
                <a:cubicBezTo>
                  <a:pt x="217" y="181"/>
                  <a:pt x="217" y="181"/>
                  <a:pt x="217" y="181"/>
                </a:cubicBezTo>
                <a:cubicBezTo>
                  <a:pt x="219" y="183"/>
                  <a:pt x="219" y="183"/>
                  <a:pt x="219" y="183"/>
                </a:cubicBezTo>
                <a:cubicBezTo>
                  <a:pt x="219" y="184"/>
                  <a:pt x="219" y="184"/>
                  <a:pt x="219" y="184"/>
                </a:cubicBezTo>
                <a:cubicBezTo>
                  <a:pt x="220" y="185"/>
                  <a:pt x="220" y="185"/>
                  <a:pt x="220" y="185"/>
                </a:cubicBezTo>
                <a:cubicBezTo>
                  <a:pt x="220" y="186"/>
                  <a:pt x="220" y="186"/>
                  <a:pt x="220" y="186"/>
                </a:cubicBezTo>
                <a:cubicBezTo>
                  <a:pt x="219" y="186"/>
                  <a:pt x="219" y="186"/>
                  <a:pt x="219" y="186"/>
                </a:cubicBezTo>
                <a:cubicBezTo>
                  <a:pt x="219" y="187"/>
                  <a:pt x="219" y="187"/>
                  <a:pt x="219" y="187"/>
                </a:cubicBezTo>
                <a:cubicBezTo>
                  <a:pt x="221" y="187"/>
                  <a:pt x="221" y="187"/>
                  <a:pt x="221" y="187"/>
                </a:cubicBezTo>
                <a:cubicBezTo>
                  <a:pt x="223" y="188"/>
                  <a:pt x="223" y="188"/>
                  <a:pt x="223" y="188"/>
                </a:cubicBezTo>
                <a:cubicBezTo>
                  <a:pt x="225" y="188"/>
                  <a:pt x="225" y="188"/>
                  <a:pt x="225" y="188"/>
                </a:cubicBezTo>
                <a:cubicBezTo>
                  <a:pt x="226" y="188"/>
                  <a:pt x="226" y="188"/>
                  <a:pt x="226" y="188"/>
                </a:cubicBezTo>
                <a:cubicBezTo>
                  <a:pt x="227" y="189"/>
                  <a:pt x="227" y="189"/>
                  <a:pt x="227" y="189"/>
                </a:cubicBezTo>
                <a:cubicBezTo>
                  <a:pt x="228" y="190"/>
                  <a:pt x="228" y="190"/>
                  <a:pt x="228" y="190"/>
                </a:cubicBezTo>
                <a:cubicBezTo>
                  <a:pt x="229" y="188"/>
                  <a:pt x="229" y="188"/>
                  <a:pt x="229" y="188"/>
                </a:cubicBezTo>
                <a:cubicBezTo>
                  <a:pt x="230" y="188"/>
                  <a:pt x="230" y="188"/>
                  <a:pt x="230" y="188"/>
                </a:cubicBezTo>
                <a:cubicBezTo>
                  <a:pt x="231" y="187"/>
                  <a:pt x="231" y="187"/>
                  <a:pt x="231" y="187"/>
                </a:cubicBezTo>
                <a:cubicBezTo>
                  <a:pt x="233" y="188"/>
                  <a:pt x="233" y="188"/>
                  <a:pt x="233" y="188"/>
                </a:cubicBezTo>
                <a:cubicBezTo>
                  <a:pt x="234" y="190"/>
                  <a:pt x="234" y="190"/>
                  <a:pt x="234" y="190"/>
                </a:cubicBezTo>
                <a:cubicBezTo>
                  <a:pt x="235" y="190"/>
                  <a:pt x="235" y="190"/>
                  <a:pt x="235" y="190"/>
                </a:cubicBezTo>
                <a:cubicBezTo>
                  <a:pt x="237" y="191"/>
                  <a:pt x="237" y="191"/>
                  <a:pt x="237" y="191"/>
                </a:cubicBezTo>
                <a:cubicBezTo>
                  <a:pt x="240" y="190"/>
                  <a:pt x="240" y="190"/>
                  <a:pt x="240" y="190"/>
                </a:cubicBezTo>
                <a:cubicBezTo>
                  <a:pt x="241" y="189"/>
                  <a:pt x="241" y="189"/>
                  <a:pt x="241" y="189"/>
                </a:cubicBezTo>
                <a:cubicBezTo>
                  <a:pt x="239" y="190"/>
                  <a:pt x="239" y="190"/>
                  <a:pt x="239" y="190"/>
                </a:cubicBezTo>
                <a:cubicBezTo>
                  <a:pt x="237" y="190"/>
                  <a:pt x="237" y="190"/>
                  <a:pt x="237" y="190"/>
                </a:cubicBezTo>
                <a:cubicBezTo>
                  <a:pt x="237" y="188"/>
                  <a:pt x="237" y="188"/>
                  <a:pt x="237" y="188"/>
                </a:cubicBezTo>
                <a:cubicBezTo>
                  <a:pt x="236" y="188"/>
                  <a:pt x="236" y="188"/>
                  <a:pt x="236" y="188"/>
                </a:cubicBezTo>
                <a:cubicBezTo>
                  <a:pt x="235" y="186"/>
                  <a:pt x="235" y="186"/>
                  <a:pt x="235" y="186"/>
                </a:cubicBezTo>
                <a:cubicBezTo>
                  <a:pt x="233" y="186"/>
                  <a:pt x="233" y="186"/>
                  <a:pt x="233" y="186"/>
                </a:cubicBezTo>
                <a:cubicBezTo>
                  <a:pt x="233" y="185"/>
                  <a:pt x="233" y="185"/>
                  <a:pt x="233" y="185"/>
                </a:cubicBezTo>
                <a:cubicBezTo>
                  <a:pt x="232" y="185"/>
                  <a:pt x="232" y="185"/>
                  <a:pt x="232" y="185"/>
                </a:cubicBezTo>
                <a:cubicBezTo>
                  <a:pt x="231" y="186"/>
                  <a:pt x="231" y="186"/>
                  <a:pt x="231" y="186"/>
                </a:cubicBezTo>
                <a:cubicBezTo>
                  <a:pt x="228" y="186"/>
                  <a:pt x="228" y="186"/>
                  <a:pt x="228" y="186"/>
                </a:cubicBezTo>
                <a:cubicBezTo>
                  <a:pt x="227" y="185"/>
                  <a:pt x="227" y="185"/>
                  <a:pt x="227" y="185"/>
                </a:cubicBezTo>
                <a:cubicBezTo>
                  <a:pt x="225" y="185"/>
                  <a:pt x="225" y="185"/>
                  <a:pt x="225" y="185"/>
                </a:cubicBezTo>
                <a:cubicBezTo>
                  <a:pt x="223" y="183"/>
                  <a:pt x="223" y="183"/>
                  <a:pt x="223" y="183"/>
                </a:cubicBezTo>
                <a:cubicBezTo>
                  <a:pt x="222" y="181"/>
                  <a:pt x="222" y="181"/>
                  <a:pt x="222" y="181"/>
                </a:cubicBezTo>
                <a:cubicBezTo>
                  <a:pt x="222" y="181"/>
                  <a:pt x="222" y="181"/>
                  <a:pt x="222" y="181"/>
                </a:cubicBezTo>
                <a:cubicBezTo>
                  <a:pt x="220" y="178"/>
                  <a:pt x="220" y="178"/>
                  <a:pt x="220" y="178"/>
                </a:cubicBezTo>
                <a:cubicBezTo>
                  <a:pt x="221" y="178"/>
                  <a:pt x="221" y="178"/>
                  <a:pt x="221" y="178"/>
                </a:cubicBezTo>
                <a:cubicBezTo>
                  <a:pt x="221" y="177"/>
                  <a:pt x="221" y="177"/>
                  <a:pt x="221" y="177"/>
                </a:cubicBezTo>
                <a:cubicBezTo>
                  <a:pt x="223" y="176"/>
                  <a:pt x="223" y="176"/>
                  <a:pt x="223" y="176"/>
                </a:cubicBezTo>
                <a:cubicBezTo>
                  <a:pt x="224" y="176"/>
                  <a:pt x="224" y="176"/>
                  <a:pt x="224" y="176"/>
                </a:cubicBezTo>
                <a:cubicBezTo>
                  <a:pt x="226" y="178"/>
                  <a:pt x="226" y="178"/>
                  <a:pt x="226" y="178"/>
                </a:cubicBezTo>
                <a:cubicBezTo>
                  <a:pt x="228" y="179"/>
                  <a:pt x="228" y="179"/>
                  <a:pt x="228" y="179"/>
                </a:cubicBezTo>
                <a:cubicBezTo>
                  <a:pt x="230" y="179"/>
                  <a:pt x="230" y="179"/>
                  <a:pt x="230" y="179"/>
                </a:cubicBezTo>
                <a:cubicBezTo>
                  <a:pt x="232" y="176"/>
                  <a:pt x="232" y="176"/>
                  <a:pt x="232" y="176"/>
                </a:cubicBezTo>
                <a:cubicBezTo>
                  <a:pt x="230" y="174"/>
                  <a:pt x="230" y="174"/>
                  <a:pt x="230" y="174"/>
                </a:cubicBezTo>
                <a:cubicBezTo>
                  <a:pt x="228" y="173"/>
                  <a:pt x="228" y="173"/>
                  <a:pt x="228" y="173"/>
                </a:cubicBezTo>
                <a:cubicBezTo>
                  <a:pt x="226" y="175"/>
                  <a:pt x="226" y="175"/>
                  <a:pt x="226" y="175"/>
                </a:cubicBezTo>
                <a:cubicBezTo>
                  <a:pt x="225" y="174"/>
                  <a:pt x="225" y="174"/>
                  <a:pt x="225" y="174"/>
                </a:cubicBezTo>
                <a:cubicBezTo>
                  <a:pt x="226" y="173"/>
                  <a:pt x="226" y="173"/>
                  <a:pt x="226" y="173"/>
                </a:cubicBezTo>
                <a:cubicBezTo>
                  <a:pt x="226" y="173"/>
                  <a:pt x="226" y="173"/>
                  <a:pt x="226" y="173"/>
                </a:cubicBezTo>
                <a:cubicBezTo>
                  <a:pt x="227" y="173"/>
                  <a:pt x="227" y="173"/>
                  <a:pt x="227" y="173"/>
                </a:cubicBezTo>
                <a:cubicBezTo>
                  <a:pt x="227" y="172"/>
                  <a:pt x="227" y="172"/>
                  <a:pt x="227" y="172"/>
                </a:cubicBezTo>
                <a:cubicBezTo>
                  <a:pt x="229" y="169"/>
                  <a:pt x="229" y="169"/>
                  <a:pt x="229" y="169"/>
                </a:cubicBezTo>
                <a:cubicBezTo>
                  <a:pt x="230" y="168"/>
                  <a:pt x="230" y="168"/>
                  <a:pt x="230" y="168"/>
                </a:cubicBezTo>
                <a:cubicBezTo>
                  <a:pt x="231" y="169"/>
                  <a:pt x="231" y="169"/>
                  <a:pt x="231" y="169"/>
                </a:cubicBezTo>
                <a:cubicBezTo>
                  <a:pt x="236" y="169"/>
                  <a:pt x="236" y="169"/>
                  <a:pt x="236" y="169"/>
                </a:cubicBezTo>
                <a:cubicBezTo>
                  <a:pt x="237" y="170"/>
                  <a:pt x="237" y="170"/>
                  <a:pt x="237" y="170"/>
                </a:cubicBezTo>
                <a:cubicBezTo>
                  <a:pt x="239" y="171"/>
                  <a:pt x="239" y="171"/>
                  <a:pt x="239" y="171"/>
                </a:cubicBezTo>
                <a:cubicBezTo>
                  <a:pt x="242" y="172"/>
                  <a:pt x="242" y="172"/>
                  <a:pt x="242" y="172"/>
                </a:cubicBezTo>
                <a:cubicBezTo>
                  <a:pt x="243" y="173"/>
                  <a:pt x="243" y="173"/>
                  <a:pt x="243" y="173"/>
                </a:cubicBezTo>
                <a:cubicBezTo>
                  <a:pt x="244" y="174"/>
                  <a:pt x="244" y="174"/>
                  <a:pt x="244" y="174"/>
                </a:cubicBezTo>
                <a:cubicBezTo>
                  <a:pt x="247" y="177"/>
                  <a:pt x="247" y="177"/>
                  <a:pt x="247" y="177"/>
                </a:cubicBezTo>
                <a:cubicBezTo>
                  <a:pt x="248" y="177"/>
                  <a:pt x="248" y="177"/>
                  <a:pt x="248" y="177"/>
                </a:cubicBezTo>
                <a:cubicBezTo>
                  <a:pt x="252" y="176"/>
                  <a:pt x="252" y="176"/>
                  <a:pt x="252" y="176"/>
                </a:cubicBezTo>
                <a:cubicBezTo>
                  <a:pt x="254" y="175"/>
                  <a:pt x="254" y="175"/>
                  <a:pt x="254" y="175"/>
                </a:cubicBezTo>
                <a:cubicBezTo>
                  <a:pt x="255" y="176"/>
                  <a:pt x="255" y="176"/>
                  <a:pt x="255" y="176"/>
                </a:cubicBezTo>
                <a:cubicBezTo>
                  <a:pt x="256" y="175"/>
                  <a:pt x="256" y="175"/>
                  <a:pt x="256" y="175"/>
                </a:cubicBezTo>
                <a:cubicBezTo>
                  <a:pt x="257" y="176"/>
                  <a:pt x="257" y="176"/>
                  <a:pt x="257" y="176"/>
                </a:cubicBezTo>
                <a:cubicBezTo>
                  <a:pt x="257" y="178"/>
                  <a:pt x="257" y="178"/>
                  <a:pt x="257" y="178"/>
                </a:cubicBezTo>
                <a:cubicBezTo>
                  <a:pt x="257" y="179"/>
                  <a:pt x="257" y="179"/>
                  <a:pt x="257" y="179"/>
                </a:cubicBezTo>
                <a:cubicBezTo>
                  <a:pt x="257" y="180"/>
                  <a:pt x="257" y="180"/>
                  <a:pt x="257" y="180"/>
                </a:cubicBezTo>
                <a:cubicBezTo>
                  <a:pt x="255" y="181"/>
                  <a:pt x="255" y="181"/>
                  <a:pt x="255" y="181"/>
                </a:cubicBezTo>
                <a:cubicBezTo>
                  <a:pt x="255" y="183"/>
                  <a:pt x="255" y="183"/>
                  <a:pt x="255" y="183"/>
                </a:cubicBezTo>
                <a:cubicBezTo>
                  <a:pt x="256" y="184"/>
                  <a:pt x="256" y="184"/>
                  <a:pt x="256" y="184"/>
                </a:cubicBezTo>
                <a:cubicBezTo>
                  <a:pt x="256" y="186"/>
                  <a:pt x="256" y="186"/>
                  <a:pt x="256" y="186"/>
                </a:cubicBezTo>
                <a:cubicBezTo>
                  <a:pt x="258" y="188"/>
                  <a:pt x="258" y="188"/>
                  <a:pt x="258" y="188"/>
                </a:cubicBezTo>
                <a:cubicBezTo>
                  <a:pt x="258" y="189"/>
                  <a:pt x="258" y="189"/>
                  <a:pt x="258" y="189"/>
                </a:cubicBezTo>
                <a:cubicBezTo>
                  <a:pt x="257" y="190"/>
                  <a:pt x="257" y="190"/>
                  <a:pt x="257" y="190"/>
                </a:cubicBezTo>
                <a:cubicBezTo>
                  <a:pt x="258" y="194"/>
                  <a:pt x="258" y="194"/>
                  <a:pt x="258" y="194"/>
                </a:cubicBezTo>
                <a:cubicBezTo>
                  <a:pt x="259" y="194"/>
                  <a:pt x="259" y="194"/>
                  <a:pt x="259" y="194"/>
                </a:cubicBezTo>
                <a:cubicBezTo>
                  <a:pt x="259" y="193"/>
                  <a:pt x="259" y="193"/>
                  <a:pt x="259" y="193"/>
                </a:cubicBezTo>
                <a:cubicBezTo>
                  <a:pt x="259" y="192"/>
                  <a:pt x="259" y="192"/>
                  <a:pt x="259" y="192"/>
                </a:cubicBezTo>
                <a:cubicBezTo>
                  <a:pt x="260" y="191"/>
                  <a:pt x="260" y="191"/>
                  <a:pt x="260" y="191"/>
                </a:cubicBezTo>
                <a:cubicBezTo>
                  <a:pt x="259" y="190"/>
                  <a:pt x="259" y="190"/>
                  <a:pt x="259" y="190"/>
                </a:cubicBezTo>
                <a:cubicBezTo>
                  <a:pt x="260" y="189"/>
                  <a:pt x="260" y="189"/>
                  <a:pt x="260" y="189"/>
                </a:cubicBezTo>
                <a:cubicBezTo>
                  <a:pt x="261" y="187"/>
                  <a:pt x="261" y="187"/>
                  <a:pt x="261" y="187"/>
                </a:cubicBezTo>
                <a:cubicBezTo>
                  <a:pt x="262" y="188"/>
                  <a:pt x="262" y="188"/>
                  <a:pt x="262" y="188"/>
                </a:cubicBezTo>
                <a:cubicBezTo>
                  <a:pt x="263" y="190"/>
                  <a:pt x="263" y="190"/>
                  <a:pt x="263" y="190"/>
                </a:cubicBezTo>
                <a:cubicBezTo>
                  <a:pt x="263" y="193"/>
                  <a:pt x="263" y="193"/>
                  <a:pt x="263" y="193"/>
                </a:cubicBezTo>
                <a:cubicBezTo>
                  <a:pt x="263" y="194"/>
                  <a:pt x="263" y="194"/>
                  <a:pt x="263" y="194"/>
                </a:cubicBezTo>
                <a:cubicBezTo>
                  <a:pt x="263" y="195"/>
                  <a:pt x="263" y="195"/>
                  <a:pt x="263" y="195"/>
                </a:cubicBezTo>
                <a:cubicBezTo>
                  <a:pt x="263" y="196"/>
                  <a:pt x="263" y="196"/>
                  <a:pt x="263" y="196"/>
                </a:cubicBezTo>
                <a:cubicBezTo>
                  <a:pt x="262" y="197"/>
                  <a:pt x="262" y="197"/>
                  <a:pt x="262" y="197"/>
                </a:cubicBezTo>
                <a:cubicBezTo>
                  <a:pt x="264" y="198"/>
                  <a:pt x="264" y="198"/>
                  <a:pt x="264" y="198"/>
                </a:cubicBezTo>
                <a:cubicBezTo>
                  <a:pt x="266" y="198"/>
                  <a:pt x="266" y="198"/>
                  <a:pt x="266" y="198"/>
                </a:cubicBezTo>
                <a:cubicBezTo>
                  <a:pt x="268" y="198"/>
                  <a:pt x="268" y="198"/>
                  <a:pt x="268" y="198"/>
                </a:cubicBezTo>
                <a:cubicBezTo>
                  <a:pt x="269" y="200"/>
                  <a:pt x="269" y="200"/>
                  <a:pt x="269" y="200"/>
                </a:cubicBezTo>
                <a:cubicBezTo>
                  <a:pt x="269" y="201"/>
                  <a:pt x="269" y="201"/>
                  <a:pt x="269" y="201"/>
                </a:cubicBezTo>
                <a:cubicBezTo>
                  <a:pt x="271" y="202"/>
                  <a:pt x="271" y="202"/>
                  <a:pt x="271" y="202"/>
                </a:cubicBezTo>
                <a:cubicBezTo>
                  <a:pt x="273" y="202"/>
                  <a:pt x="273" y="202"/>
                  <a:pt x="273" y="202"/>
                </a:cubicBezTo>
                <a:cubicBezTo>
                  <a:pt x="276" y="205"/>
                  <a:pt x="276" y="205"/>
                  <a:pt x="276" y="205"/>
                </a:cubicBezTo>
                <a:cubicBezTo>
                  <a:pt x="275" y="204"/>
                  <a:pt x="275" y="204"/>
                  <a:pt x="275" y="204"/>
                </a:cubicBezTo>
                <a:cubicBezTo>
                  <a:pt x="276" y="202"/>
                  <a:pt x="276" y="202"/>
                  <a:pt x="276" y="202"/>
                </a:cubicBezTo>
                <a:cubicBezTo>
                  <a:pt x="277" y="200"/>
                  <a:pt x="277" y="200"/>
                  <a:pt x="277" y="200"/>
                </a:cubicBezTo>
                <a:cubicBezTo>
                  <a:pt x="279" y="200"/>
                  <a:pt x="279" y="200"/>
                  <a:pt x="279" y="200"/>
                </a:cubicBezTo>
                <a:cubicBezTo>
                  <a:pt x="282" y="202"/>
                  <a:pt x="282" y="202"/>
                  <a:pt x="282" y="202"/>
                </a:cubicBezTo>
                <a:cubicBezTo>
                  <a:pt x="283" y="202"/>
                  <a:pt x="283" y="202"/>
                  <a:pt x="283" y="202"/>
                </a:cubicBezTo>
                <a:cubicBezTo>
                  <a:pt x="284" y="204"/>
                  <a:pt x="284" y="204"/>
                  <a:pt x="284" y="204"/>
                </a:cubicBezTo>
                <a:cubicBezTo>
                  <a:pt x="285" y="206"/>
                  <a:pt x="285" y="206"/>
                  <a:pt x="285" y="206"/>
                </a:cubicBezTo>
                <a:cubicBezTo>
                  <a:pt x="285" y="203"/>
                  <a:pt x="285" y="203"/>
                  <a:pt x="285" y="203"/>
                </a:cubicBezTo>
                <a:cubicBezTo>
                  <a:pt x="284" y="202"/>
                  <a:pt x="284" y="202"/>
                  <a:pt x="284" y="202"/>
                </a:cubicBezTo>
                <a:cubicBezTo>
                  <a:pt x="283" y="202"/>
                  <a:pt x="283" y="202"/>
                  <a:pt x="283" y="202"/>
                </a:cubicBezTo>
                <a:cubicBezTo>
                  <a:pt x="281" y="201"/>
                  <a:pt x="281" y="201"/>
                  <a:pt x="281" y="201"/>
                </a:cubicBezTo>
                <a:cubicBezTo>
                  <a:pt x="279" y="200"/>
                  <a:pt x="279" y="200"/>
                  <a:pt x="279" y="200"/>
                </a:cubicBezTo>
                <a:cubicBezTo>
                  <a:pt x="277" y="200"/>
                  <a:pt x="277" y="200"/>
                  <a:pt x="277" y="200"/>
                </a:cubicBezTo>
                <a:cubicBezTo>
                  <a:pt x="275" y="202"/>
                  <a:pt x="275" y="202"/>
                  <a:pt x="275" y="202"/>
                </a:cubicBezTo>
                <a:cubicBezTo>
                  <a:pt x="274" y="201"/>
                  <a:pt x="274" y="201"/>
                  <a:pt x="274" y="201"/>
                </a:cubicBezTo>
                <a:cubicBezTo>
                  <a:pt x="273" y="202"/>
                  <a:pt x="273" y="202"/>
                  <a:pt x="273" y="202"/>
                </a:cubicBezTo>
                <a:cubicBezTo>
                  <a:pt x="271" y="201"/>
                  <a:pt x="271" y="201"/>
                  <a:pt x="271" y="201"/>
                </a:cubicBezTo>
                <a:cubicBezTo>
                  <a:pt x="269" y="198"/>
                  <a:pt x="269" y="198"/>
                  <a:pt x="269" y="198"/>
                </a:cubicBezTo>
                <a:cubicBezTo>
                  <a:pt x="268" y="197"/>
                  <a:pt x="268" y="197"/>
                  <a:pt x="268" y="197"/>
                </a:cubicBezTo>
                <a:cubicBezTo>
                  <a:pt x="266" y="197"/>
                  <a:pt x="266" y="197"/>
                  <a:pt x="266" y="197"/>
                </a:cubicBezTo>
                <a:cubicBezTo>
                  <a:pt x="264" y="195"/>
                  <a:pt x="264" y="195"/>
                  <a:pt x="264" y="195"/>
                </a:cubicBezTo>
                <a:cubicBezTo>
                  <a:pt x="265" y="196"/>
                  <a:pt x="265" y="196"/>
                  <a:pt x="265" y="196"/>
                </a:cubicBezTo>
                <a:cubicBezTo>
                  <a:pt x="266" y="195"/>
                  <a:pt x="266" y="195"/>
                  <a:pt x="266" y="195"/>
                </a:cubicBezTo>
                <a:cubicBezTo>
                  <a:pt x="268" y="193"/>
                  <a:pt x="268" y="193"/>
                  <a:pt x="268" y="193"/>
                </a:cubicBezTo>
                <a:cubicBezTo>
                  <a:pt x="267" y="191"/>
                  <a:pt x="267" y="191"/>
                  <a:pt x="267" y="191"/>
                </a:cubicBezTo>
                <a:cubicBezTo>
                  <a:pt x="265" y="190"/>
                  <a:pt x="265" y="190"/>
                  <a:pt x="265" y="190"/>
                </a:cubicBezTo>
                <a:cubicBezTo>
                  <a:pt x="265" y="187"/>
                  <a:pt x="265" y="187"/>
                  <a:pt x="265" y="187"/>
                </a:cubicBezTo>
                <a:cubicBezTo>
                  <a:pt x="263" y="184"/>
                  <a:pt x="263" y="184"/>
                  <a:pt x="263" y="184"/>
                </a:cubicBezTo>
                <a:cubicBezTo>
                  <a:pt x="261" y="183"/>
                  <a:pt x="261" y="183"/>
                  <a:pt x="261" y="183"/>
                </a:cubicBezTo>
                <a:cubicBezTo>
                  <a:pt x="260" y="182"/>
                  <a:pt x="260" y="182"/>
                  <a:pt x="260" y="182"/>
                </a:cubicBezTo>
                <a:cubicBezTo>
                  <a:pt x="260" y="180"/>
                  <a:pt x="260" y="180"/>
                  <a:pt x="260" y="180"/>
                </a:cubicBezTo>
                <a:cubicBezTo>
                  <a:pt x="260" y="179"/>
                  <a:pt x="260" y="179"/>
                  <a:pt x="260" y="179"/>
                </a:cubicBezTo>
                <a:cubicBezTo>
                  <a:pt x="260" y="176"/>
                  <a:pt x="260" y="176"/>
                  <a:pt x="260" y="176"/>
                </a:cubicBezTo>
                <a:cubicBezTo>
                  <a:pt x="258" y="174"/>
                  <a:pt x="258" y="174"/>
                  <a:pt x="258" y="174"/>
                </a:cubicBezTo>
                <a:cubicBezTo>
                  <a:pt x="257" y="174"/>
                  <a:pt x="257" y="174"/>
                  <a:pt x="257" y="174"/>
                </a:cubicBezTo>
                <a:cubicBezTo>
                  <a:pt x="255" y="173"/>
                  <a:pt x="255" y="173"/>
                  <a:pt x="255" y="173"/>
                </a:cubicBezTo>
                <a:cubicBezTo>
                  <a:pt x="252" y="173"/>
                  <a:pt x="252" y="173"/>
                  <a:pt x="252" y="173"/>
                </a:cubicBezTo>
                <a:cubicBezTo>
                  <a:pt x="251" y="171"/>
                  <a:pt x="251" y="171"/>
                  <a:pt x="251" y="171"/>
                </a:cubicBezTo>
                <a:cubicBezTo>
                  <a:pt x="249" y="170"/>
                  <a:pt x="249" y="170"/>
                  <a:pt x="249" y="170"/>
                </a:cubicBezTo>
                <a:cubicBezTo>
                  <a:pt x="249" y="168"/>
                  <a:pt x="249" y="168"/>
                  <a:pt x="249" y="168"/>
                </a:cubicBezTo>
                <a:cubicBezTo>
                  <a:pt x="249" y="167"/>
                  <a:pt x="249" y="167"/>
                  <a:pt x="249" y="167"/>
                </a:cubicBezTo>
                <a:cubicBezTo>
                  <a:pt x="249" y="166"/>
                  <a:pt x="249" y="166"/>
                  <a:pt x="249" y="166"/>
                </a:cubicBezTo>
                <a:cubicBezTo>
                  <a:pt x="247" y="167"/>
                  <a:pt x="247" y="167"/>
                  <a:pt x="247" y="167"/>
                </a:cubicBezTo>
                <a:cubicBezTo>
                  <a:pt x="243" y="167"/>
                  <a:pt x="243" y="167"/>
                  <a:pt x="243" y="167"/>
                </a:cubicBezTo>
                <a:cubicBezTo>
                  <a:pt x="241" y="167"/>
                  <a:pt x="241" y="167"/>
                  <a:pt x="241" y="167"/>
                </a:cubicBezTo>
                <a:cubicBezTo>
                  <a:pt x="239" y="166"/>
                  <a:pt x="239" y="166"/>
                  <a:pt x="239" y="166"/>
                </a:cubicBezTo>
                <a:cubicBezTo>
                  <a:pt x="239" y="164"/>
                  <a:pt x="239" y="164"/>
                  <a:pt x="239" y="164"/>
                </a:cubicBezTo>
                <a:cubicBezTo>
                  <a:pt x="239" y="164"/>
                  <a:pt x="239" y="164"/>
                  <a:pt x="239" y="164"/>
                </a:cubicBezTo>
                <a:cubicBezTo>
                  <a:pt x="238" y="163"/>
                  <a:pt x="238" y="163"/>
                  <a:pt x="238" y="163"/>
                </a:cubicBezTo>
                <a:cubicBezTo>
                  <a:pt x="238" y="161"/>
                  <a:pt x="238" y="161"/>
                  <a:pt x="238" y="161"/>
                </a:cubicBezTo>
                <a:cubicBezTo>
                  <a:pt x="237" y="158"/>
                  <a:pt x="237" y="158"/>
                  <a:pt x="237" y="158"/>
                </a:cubicBezTo>
                <a:cubicBezTo>
                  <a:pt x="234" y="157"/>
                  <a:pt x="234" y="157"/>
                  <a:pt x="234" y="157"/>
                </a:cubicBezTo>
                <a:cubicBezTo>
                  <a:pt x="235" y="156"/>
                  <a:pt x="235" y="156"/>
                  <a:pt x="235" y="156"/>
                </a:cubicBezTo>
                <a:cubicBezTo>
                  <a:pt x="235" y="155"/>
                  <a:pt x="235" y="155"/>
                  <a:pt x="235" y="155"/>
                </a:cubicBezTo>
                <a:cubicBezTo>
                  <a:pt x="234" y="155"/>
                  <a:pt x="234" y="155"/>
                  <a:pt x="234" y="155"/>
                </a:cubicBezTo>
                <a:cubicBezTo>
                  <a:pt x="233" y="154"/>
                  <a:pt x="233" y="154"/>
                  <a:pt x="233" y="154"/>
                </a:cubicBezTo>
                <a:cubicBezTo>
                  <a:pt x="233" y="153"/>
                  <a:pt x="233" y="153"/>
                  <a:pt x="233" y="153"/>
                </a:cubicBezTo>
                <a:cubicBezTo>
                  <a:pt x="233" y="151"/>
                  <a:pt x="233" y="151"/>
                  <a:pt x="233" y="151"/>
                </a:cubicBezTo>
                <a:cubicBezTo>
                  <a:pt x="232" y="150"/>
                  <a:pt x="232" y="150"/>
                  <a:pt x="232" y="150"/>
                </a:cubicBezTo>
                <a:cubicBezTo>
                  <a:pt x="233" y="150"/>
                  <a:pt x="233" y="150"/>
                  <a:pt x="233" y="150"/>
                </a:cubicBezTo>
                <a:cubicBezTo>
                  <a:pt x="235" y="150"/>
                  <a:pt x="235" y="150"/>
                  <a:pt x="235" y="150"/>
                </a:cubicBezTo>
                <a:cubicBezTo>
                  <a:pt x="236" y="148"/>
                  <a:pt x="236" y="148"/>
                  <a:pt x="236" y="148"/>
                </a:cubicBezTo>
                <a:cubicBezTo>
                  <a:pt x="238" y="148"/>
                  <a:pt x="238" y="148"/>
                  <a:pt x="238" y="148"/>
                </a:cubicBezTo>
                <a:cubicBezTo>
                  <a:pt x="241" y="147"/>
                  <a:pt x="241" y="147"/>
                  <a:pt x="241" y="147"/>
                </a:cubicBezTo>
                <a:cubicBezTo>
                  <a:pt x="246" y="145"/>
                  <a:pt x="246" y="145"/>
                  <a:pt x="246" y="145"/>
                </a:cubicBezTo>
                <a:cubicBezTo>
                  <a:pt x="248" y="144"/>
                  <a:pt x="248" y="144"/>
                  <a:pt x="248" y="144"/>
                </a:cubicBezTo>
                <a:cubicBezTo>
                  <a:pt x="249" y="144"/>
                  <a:pt x="249" y="144"/>
                  <a:pt x="249" y="144"/>
                </a:cubicBezTo>
                <a:cubicBezTo>
                  <a:pt x="250" y="144"/>
                  <a:pt x="250" y="144"/>
                  <a:pt x="250" y="144"/>
                </a:cubicBezTo>
                <a:cubicBezTo>
                  <a:pt x="252" y="143"/>
                  <a:pt x="252" y="143"/>
                  <a:pt x="252" y="143"/>
                </a:cubicBezTo>
                <a:cubicBezTo>
                  <a:pt x="253" y="142"/>
                  <a:pt x="253" y="142"/>
                  <a:pt x="253" y="142"/>
                </a:cubicBezTo>
                <a:cubicBezTo>
                  <a:pt x="255" y="141"/>
                  <a:pt x="255" y="141"/>
                  <a:pt x="255" y="141"/>
                </a:cubicBezTo>
                <a:cubicBezTo>
                  <a:pt x="259" y="139"/>
                  <a:pt x="259" y="139"/>
                  <a:pt x="259" y="139"/>
                </a:cubicBezTo>
                <a:cubicBezTo>
                  <a:pt x="260" y="140"/>
                  <a:pt x="260" y="140"/>
                  <a:pt x="260" y="140"/>
                </a:cubicBezTo>
                <a:cubicBezTo>
                  <a:pt x="259" y="141"/>
                  <a:pt x="259" y="141"/>
                  <a:pt x="259" y="141"/>
                </a:cubicBezTo>
                <a:cubicBezTo>
                  <a:pt x="259" y="142"/>
                  <a:pt x="259" y="142"/>
                  <a:pt x="259" y="142"/>
                </a:cubicBezTo>
                <a:cubicBezTo>
                  <a:pt x="258" y="143"/>
                  <a:pt x="258" y="143"/>
                  <a:pt x="258" y="143"/>
                </a:cubicBezTo>
                <a:cubicBezTo>
                  <a:pt x="257" y="145"/>
                  <a:pt x="257" y="145"/>
                  <a:pt x="257" y="145"/>
                </a:cubicBezTo>
                <a:cubicBezTo>
                  <a:pt x="257" y="147"/>
                  <a:pt x="257" y="147"/>
                  <a:pt x="257" y="147"/>
                </a:cubicBezTo>
                <a:cubicBezTo>
                  <a:pt x="260" y="149"/>
                  <a:pt x="260" y="149"/>
                  <a:pt x="260" y="149"/>
                </a:cubicBezTo>
                <a:cubicBezTo>
                  <a:pt x="262" y="149"/>
                  <a:pt x="262" y="149"/>
                  <a:pt x="262" y="149"/>
                </a:cubicBezTo>
                <a:cubicBezTo>
                  <a:pt x="261" y="148"/>
                  <a:pt x="261" y="148"/>
                  <a:pt x="261" y="148"/>
                </a:cubicBezTo>
                <a:cubicBezTo>
                  <a:pt x="258" y="146"/>
                  <a:pt x="258" y="146"/>
                  <a:pt x="258" y="146"/>
                </a:cubicBezTo>
                <a:cubicBezTo>
                  <a:pt x="258" y="145"/>
                  <a:pt x="258" y="145"/>
                  <a:pt x="258" y="145"/>
                </a:cubicBezTo>
                <a:cubicBezTo>
                  <a:pt x="259" y="144"/>
                  <a:pt x="259" y="144"/>
                  <a:pt x="259" y="144"/>
                </a:cubicBezTo>
                <a:cubicBezTo>
                  <a:pt x="262" y="142"/>
                  <a:pt x="262" y="142"/>
                  <a:pt x="262" y="142"/>
                </a:cubicBezTo>
                <a:cubicBezTo>
                  <a:pt x="263" y="140"/>
                  <a:pt x="263" y="140"/>
                  <a:pt x="263" y="140"/>
                </a:cubicBezTo>
                <a:cubicBezTo>
                  <a:pt x="262" y="138"/>
                  <a:pt x="262" y="138"/>
                  <a:pt x="262" y="138"/>
                </a:cubicBezTo>
                <a:cubicBezTo>
                  <a:pt x="260" y="138"/>
                  <a:pt x="260" y="138"/>
                  <a:pt x="260" y="138"/>
                </a:cubicBezTo>
                <a:cubicBezTo>
                  <a:pt x="259" y="137"/>
                  <a:pt x="259" y="137"/>
                  <a:pt x="259" y="137"/>
                </a:cubicBezTo>
                <a:cubicBezTo>
                  <a:pt x="259" y="136"/>
                  <a:pt x="259" y="136"/>
                  <a:pt x="259" y="136"/>
                </a:cubicBezTo>
                <a:cubicBezTo>
                  <a:pt x="257" y="136"/>
                  <a:pt x="257" y="136"/>
                  <a:pt x="257" y="136"/>
                </a:cubicBezTo>
                <a:cubicBezTo>
                  <a:pt x="256" y="136"/>
                  <a:pt x="256" y="136"/>
                  <a:pt x="256" y="136"/>
                </a:cubicBezTo>
                <a:cubicBezTo>
                  <a:pt x="256" y="136"/>
                  <a:pt x="256" y="136"/>
                  <a:pt x="256" y="136"/>
                </a:cubicBezTo>
                <a:cubicBezTo>
                  <a:pt x="255" y="134"/>
                  <a:pt x="255" y="134"/>
                  <a:pt x="255" y="134"/>
                </a:cubicBezTo>
                <a:cubicBezTo>
                  <a:pt x="253" y="134"/>
                  <a:pt x="253" y="134"/>
                  <a:pt x="253" y="134"/>
                </a:cubicBezTo>
                <a:cubicBezTo>
                  <a:pt x="252" y="135"/>
                  <a:pt x="252" y="135"/>
                  <a:pt x="252" y="135"/>
                </a:cubicBezTo>
                <a:cubicBezTo>
                  <a:pt x="250" y="133"/>
                  <a:pt x="250" y="133"/>
                  <a:pt x="250" y="133"/>
                </a:cubicBezTo>
                <a:cubicBezTo>
                  <a:pt x="251" y="132"/>
                  <a:pt x="251" y="132"/>
                  <a:pt x="251" y="132"/>
                </a:cubicBezTo>
                <a:cubicBezTo>
                  <a:pt x="251" y="131"/>
                  <a:pt x="251" y="131"/>
                  <a:pt x="251" y="131"/>
                </a:cubicBezTo>
                <a:cubicBezTo>
                  <a:pt x="252" y="131"/>
                  <a:pt x="252" y="131"/>
                  <a:pt x="252" y="131"/>
                </a:cubicBezTo>
                <a:cubicBezTo>
                  <a:pt x="253" y="132"/>
                  <a:pt x="253" y="132"/>
                  <a:pt x="253" y="132"/>
                </a:cubicBezTo>
                <a:cubicBezTo>
                  <a:pt x="255" y="132"/>
                  <a:pt x="255" y="132"/>
                  <a:pt x="255" y="132"/>
                </a:cubicBezTo>
                <a:cubicBezTo>
                  <a:pt x="256" y="131"/>
                  <a:pt x="256" y="131"/>
                  <a:pt x="256" y="131"/>
                </a:cubicBezTo>
                <a:cubicBezTo>
                  <a:pt x="255" y="131"/>
                  <a:pt x="255" y="131"/>
                  <a:pt x="255" y="131"/>
                </a:cubicBezTo>
                <a:cubicBezTo>
                  <a:pt x="255" y="131"/>
                  <a:pt x="255" y="131"/>
                  <a:pt x="255" y="131"/>
                </a:cubicBezTo>
                <a:cubicBezTo>
                  <a:pt x="254" y="131"/>
                  <a:pt x="254" y="131"/>
                  <a:pt x="254" y="131"/>
                </a:cubicBezTo>
                <a:cubicBezTo>
                  <a:pt x="252" y="130"/>
                  <a:pt x="252" y="130"/>
                  <a:pt x="252" y="130"/>
                </a:cubicBezTo>
                <a:cubicBezTo>
                  <a:pt x="252" y="129"/>
                  <a:pt x="252" y="129"/>
                  <a:pt x="252" y="129"/>
                </a:cubicBezTo>
                <a:cubicBezTo>
                  <a:pt x="251" y="129"/>
                  <a:pt x="251" y="129"/>
                  <a:pt x="251" y="129"/>
                </a:cubicBezTo>
                <a:cubicBezTo>
                  <a:pt x="249" y="128"/>
                  <a:pt x="249" y="128"/>
                  <a:pt x="249" y="128"/>
                </a:cubicBezTo>
                <a:cubicBezTo>
                  <a:pt x="247" y="129"/>
                  <a:pt x="247" y="129"/>
                  <a:pt x="247" y="129"/>
                </a:cubicBezTo>
                <a:cubicBezTo>
                  <a:pt x="247" y="128"/>
                  <a:pt x="247" y="128"/>
                  <a:pt x="247" y="128"/>
                </a:cubicBezTo>
                <a:cubicBezTo>
                  <a:pt x="247" y="127"/>
                  <a:pt x="247" y="127"/>
                  <a:pt x="247" y="127"/>
                </a:cubicBezTo>
                <a:cubicBezTo>
                  <a:pt x="247" y="126"/>
                  <a:pt x="247" y="126"/>
                  <a:pt x="247" y="126"/>
                </a:cubicBezTo>
                <a:cubicBezTo>
                  <a:pt x="246" y="125"/>
                  <a:pt x="246" y="125"/>
                  <a:pt x="246" y="125"/>
                </a:cubicBezTo>
                <a:cubicBezTo>
                  <a:pt x="247" y="124"/>
                  <a:pt x="247" y="124"/>
                  <a:pt x="247" y="124"/>
                </a:cubicBezTo>
                <a:cubicBezTo>
                  <a:pt x="248" y="125"/>
                  <a:pt x="248" y="125"/>
                  <a:pt x="248" y="125"/>
                </a:cubicBezTo>
                <a:cubicBezTo>
                  <a:pt x="249" y="126"/>
                  <a:pt x="249" y="126"/>
                  <a:pt x="249" y="126"/>
                </a:cubicBezTo>
                <a:cubicBezTo>
                  <a:pt x="250" y="126"/>
                  <a:pt x="250" y="126"/>
                  <a:pt x="250" y="126"/>
                </a:cubicBezTo>
                <a:cubicBezTo>
                  <a:pt x="252" y="128"/>
                  <a:pt x="252" y="128"/>
                  <a:pt x="252" y="128"/>
                </a:cubicBezTo>
                <a:cubicBezTo>
                  <a:pt x="252" y="127"/>
                  <a:pt x="252" y="127"/>
                  <a:pt x="252" y="127"/>
                </a:cubicBezTo>
                <a:cubicBezTo>
                  <a:pt x="251" y="126"/>
                  <a:pt x="251" y="126"/>
                  <a:pt x="251" y="126"/>
                </a:cubicBezTo>
                <a:cubicBezTo>
                  <a:pt x="253" y="125"/>
                  <a:pt x="253" y="125"/>
                  <a:pt x="253" y="125"/>
                </a:cubicBezTo>
                <a:cubicBezTo>
                  <a:pt x="253" y="123"/>
                  <a:pt x="253" y="123"/>
                  <a:pt x="253" y="123"/>
                </a:cubicBezTo>
                <a:cubicBezTo>
                  <a:pt x="252" y="122"/>
                  <a:pt x="252" y="122"/>
                  <a:pt x="252" y="122"/>
                </a:cubicBezTo>
                <a:cubicBezTo>
                  <a:pt x="252" y="121"/>
                  <a:pt x="252" y="121"/>
                  <a:pt x="252" y="121"/>
                </a:cubicBezTo>
                <a:cubicBezTo>
                  <a:pt x="253" y="122"/>
                  <a:pt x="253" y="122"/>
                  <a:pt x="253" y="122"/>
                </a:cubicBezTo>
                <a:cubicBezTo>
                  <a:pt x="254" y="121"/>
                  <a:pt x="254" y="121"/>
                  <a:pt x="254" y="121"/>
                </a:cubicBezTo>
                <a:cubicBezTo>
                  <a:pt x="251" y="120"/>
                  <a:pt x="251" y="120"/>
                  <a:pt x="251" y="120"/>
                </a:cubicBezTo>
                <a:cubicBezTo>
                  <a:pt x="251" y="121"/>
                  <a:pt x="251" y="121"/>
                  <a:pt x="251" y="121"/>
                </a:cubicBezTo>
                <a:cubicBezTo>
                  <a:pt x="250" y="121"/>
                  <a:pt x="250" y="121"/>
                  <a:pt x="250" y="121"/>
                </a:cubicBezTo>
                <a:cubicBezTo>
                  <a:pt x="250" y="120"/>
                  <a:pt x="250" y="120"/>
                  <a:pt x="250" y="120"/>
                </a:cubicBezTo>
                <a:cubicBezTo>
                  <a:pt x="251" y="119"/>
                  <a:pt x="251" y="119"/>
                  <a:pt x="251" y="119"/>
                </a:cubicBezTo>
                <a:cubicBezTo>
                  <a:pt x="253" y="118"/>
                  <a:pt x="253" y="118"/>
                  <a:pt x="253" y="118"/>
                </a:cubicBezTo>
                <a:cubicBezTo>
                  <a:pt x="255" y="118"/>
                  <a:pt x="255" y="118"/>
                  <a:pt x="255" y="118"/>
                </a:cubicBezTo>
                <a:cubicBezTo>
                  <a:pt x="254" y="117"/>
                  <a:pt x="254" y="117"/>
                  <a:pt x="254" y="117"/>
                </a:cubicBezTo>
                <a:cubicBezTo>
                  <a:pt x="256" y="115"/>
                  <a:pt x="256" y="115"/>
                  <a:pt x="256" y="115"/>
                </a:cubicBezTo>
                <a:cubicBezTo>
                  <a:pt x="256" y="114"/>
                  <a:pt x="256" y="114"/>
                  <a:pt x="256" y="114"/>
                </a:cubicBezTo>
                <a:cubicBezTo>
                  <a:pt x="256" y="114"/>
                  <a:pt x="256" y="114"/>
                  <a:pt x="256" y="114"/>
                </a:cubicBezTo>
                <a:cubicBezTo>
                  <a:pt x="256" y="113"/>
                  <a:pt x="256" y="113"/>
                  <a:pt x="256" y="113"/>
                </a:cubicBezTo>
                <a:cubicBezTo>
                  <a:pt x="257" y="111"/>
                  <a:pt x="257" y="111"/>
                  <a:pt x="257" y="111"/>
                </a:cubicBezTo>
                <a:cubicBezTo>
                  <a:pt x="257" y="111"/>
                  <a:pt x="257" y="111"/>
                  <a:pt x="257" y="111"/>
                </a:cubicBezTo>
                <a:cubicBezTo>
                  <a:pt x="258" y="112"/>
                  <a:pt x="258" y="112"/>
                  <a:pt x="258" y="112"/>
                </a:cubicBezTo>
                <a:cubicBezTo>
                  <a:pt x="259" y="112"/>
                  <a:pt x="259" y="112"/>
                  <a:pt x="259" y="112"/>
                </a:cubicBezTo>
                <a:cubicBezTo>
                  <a:pt x="259" y="111"/>
                  <a:pt x="259" y="111"/>
                  <a:pt x="259" y="111"/>
                </a:cubicBezTo>
                <a:cubicBezTo>
                  <a:pt x="260" y="111"/>
                  <a:pt x="260" y="111"/>
                  <a:pt x="260" y="111"/>
                </a:cubicBezTo>
                <a:cubicBezTo>
                  <a:pt x="259" y="110"/>
                  <a:pt x="259" y="110"/>
                  <a:pt x="259" y="110"/>
                </a:cubicBezTo>
                <a:cubicBezTo>
                  <a:pt x="259" y="109"/>
                  <a:pt x="259" y="109"/>
                  <a:pt x="259" y="109"/>
                </a:cubicBezTo>
                <a:cubicBezTo>
                  <a:pt x="261" y="108"/>
                  <a:pt x="261" y="108"/>
                  <a:pt x="261" y="108"/>
                </a:cubicBezTo>
                <a:cubicBezTo>
                  <a:pt x="262" y="108"/>
                  <a:pt x="262" y="108"/>
                  <a:pt x="262" y="108"/>
                </a:cubicBezTo>
                <a:cubicBezTo>
                  <a:pt x="262" y="107"/>
                  <a:pt x="262" y="107"/>
                  <a:pt x="262" y="107"/>
                </a:cubicBezTo>
                <a:cubicBezTo>
                  <a:pt x="263" y="107"/>
                  <a:pt x="263" y="107"/>
                  <a:pt x="263" y="107"/>
                </a:cubicBezTo>
                <a:cubicBezTo>
                  <a:pt x="264" y="107"/>
                  <a:pt x="264" y="107"/>
                  <a:pt x="264" y="107"/>
                </a:cubicBezTo>
                <a:cubicBezTo>
                  <a:pt x="266" y="107"/>
                  <a:pt x="266" y="107"/>
                  <a:pt x="266" y="107"/>
                </a:cubicBezTo>
                <a:cubicBezTo>
                  <a:pt x="265" y="106"/>
                  <a:pt x="265" y="106"/>
                  <a:pt x="265" y="106"/>
                </a:cubicBezTo>
                <a:cubicBezTo>
                  <a:pt x="266" y="105"/>
                  <a:pt x="266" y="105"/>
                  <a:pt x="266" y="105"/>
                </a:cubicBezTo>
                <a:cubicBezTo>
                  <a:pt x="268" y="105"/>
                  <a:pt x="268" y="105"/>
                  <a:pt x="268" y="105"/>
                </a:cubicBezTo>
                <a:cubicBezTo>
                  <a:pt x="270" y="104"/>
                  <a:pt x="270" y="104"/>
                  <a:pt x="270" y="104"/>
                </a:cubicBezTo>
                <a:cubicBezTo>
                  <a:pt x="271" y="102"/>
                  <a:pt x="271" y="102"/>
                  <a:pt x="271" y="102"/>
                </a:cubicBezTo>
                <a:cubicBezTo>
                  <a:pt x="274" y="101"/>
                  <a:pt x="274" y="101"/>
                  <a:pt x="274" y="101"/>
                </a:cubicBezTo>
                <a:cubicBezTo>
                  <a:pt x="274" y="100"/>
                  <a:pt x="274" y="100"/>
                  <a:pt x="274" y="100"/>
                </a:cubicBezTo>
                <a:cubicBezTo>
                  <a:pt x="274" y="100"/>
                  <a:pt x="274" y="100"/>
                  <a:pt x="274" y="100"/>
                </a:cubicBezTo>
                <a:cubicBezTo>
                  <a:pt x="271" y="101"/>
                  <a:pt x="271" y="101"/>
                  <a:pt x="271" y="101"/>
                </a:cubicBezTo>
                <a:cubicBezTo>
                  <a:pt x="271" y="100"/>
                  <a:pt x="271" y="100"/>
                  <a:pt x="271" y="100"/>
                </a:cubicBezTo>
                <a:cubicBezTo>
                  <a:pt x="269" y="102"/>
                  <a:pt x="269" y="102"/>
                  <a:pt x="269" y="102"/>
                </a:cubicBezTo>
                <a:cubicBezTo>
                  <a:pt x="269" y="101"/>
                  <a:pt x="269" y="101"/>
                  <a:pt x="269" y="101"/>
                </a:cubicBezTo>
                <a:cubicBezTo>
                  <a:pt x="269" y="98"/>
                  <a:pt x="269" y="98"/>
                  <a:pt x="269" y="98"/>
                </a:cubicBezTo>
                <a:cubicBezTo>
                  <a:pt x="269" y="98"/>
                  <a:pt x="269" y="98"/>
                  <a:pt x="269" y="98"/>
                </a:cubicBezTo>
                <a:cubicBezTo>
                  <a:pt x="270" y="96"/>
                  <a:pt x="270" y="96"/>
                  <a:pt x="270" y="96"/>
                </a:cubicBezTo>
                <a:cubicBezTo>
                  <a:pt x="270" y="97"/>
                  <a:pt x="270" y="97"/>
                  <a:pt x="270" y="97"/>
                </a:cubicBezTo>
                <a:cubicBezTo>
                  <a:pt x="270" y="97"/>
                  <a:pt x="270" y="97"/>
                  <a:pt x="270" y="97"/>
                </a:cubicBezTo>
                <a:cubicBezTo>
                  <a:pt x="271" y="97"/>
                  <a:pt x="271" y="97"/>
                  <a:pt x="271" y="97"/>
                </a:cubicBezTo>
                <a:cubicBezTo>
                  <a:pt x="272" y="97"/>
                  <a:pt x="272" y="97"/>
                  <a:pt x="272" y="97"/>
                </a:cubicBezTo>
                <a:cubicBezTo>
                  <a:pt x="270" y="95"/>
                  <a:pt x="270" y="95"/>
                  <a:pt x="270" y="95"/>
                </a:cubicBezTo>
                <a:cubicBezTo>
                  <a:pt x="272" y="95"/>
                  <a:pt x="272" y="95"/>
                  <a:pt x="272" y="95"/>
                </a:cubicBezTo>
                <a:cubicBezTo>
                  <a:pt x="273" y="96"/>
                  <a:pt x="273" y="96"/>
                  <a:pt x="273" y="96"/>
                </a:cubicBezTo>
                <a:cubicBezTo>
                  <a:pt x="274" y="96"/>
                  <a:pt x="274" y="96"/>
                  <a:pt x="274" y="96"/>
                </a:cubicBezTo>
                <a:cubicBezTo>
                  <a:pt x="276" y="95"/>
                  <a:pt x="276" y="95"/>
                  <a:pt x="276" y="95"/>
                </a:cubicBezTo>
                <a:cubicBezTo>
                  <a:pt x="277" y="95"/>
                  <a:pt x="277" y="95"/>
                  <a:pt x="277" y="95"/>
                </a:cubicBezTo>
                <a:cubicBezTo>
                  <a:pt x="281" y="94"/>
                  <a:pt x="281" y="94"/>
                  <a:pt x="281" y="94"/>
                </a:cubicBezTo>
                <a:cubicBezTo>
                  <a:pt x="282" y="94"/>
                  <a:pt x="282" y="94"/>
                  <a:pt x="282" y="94"/>
                </a:cubicBezTo>
                <a:cubicBezTo>
                  <a:pt x="283" y="95"/>
                  <a:pt x="283" y="95"/>
                  <a:pt x="283" y="95"/>
                </a:cubicBezTo>
                <a:cubicBezTo>
                  <a:pt x="281" y="98"/>
                  <a:pt x="281" y="98"/>
                  <a:pt x="281" y="98"/>
                </a:cubicBezTo>
                <a:cubicBezTo>
                  <a:pt x="281" y="99"/>
                  <a:pt x="281" y="99"/>
                  <a:pt x="281" y="99"/>
                </a:cubicBezTo>
                <a:cubicBezTo>
                  <a:pt x="283" y="100"/>
                  <a:pt x="283" y="100"/>
                  <a:pt x="283" y="100"/>
                </a:cubicBezTo>
                <a:cubicBezTo>
                  <a:pt x="283" y="98"/>
                  <a:pt x="283" y="98"/>
                  <a:pt x="283" y="98"/>
                </a:cubicBezTo>
                <a:cubicBezTo>
                  <a:pt x="284" y="96"/>
                  <a:pt x="284" y="96"/>
                  <a:pt x="284" y="96"/>
                </a:cubicBezTo>
                <a:cubicBezTo>
                  <a:pt x="284" y="95"/>
                  <a:pt x="284" y="95"/>
                  <a:pt x="284" y="95"/>
                </a:cubicBezTo>
                <a:cubicBezTo>
                  <a:pt x="284" y="94"/>
                  <a:pt x="284" y="94"/>
                  <a:pt x="284" y="94"/>
                </a:cubicBezTo>
                <a:cubicBezTo>
                  <a:pt x="285" y="96"/>
                  <a:pt x="285" y="96"/>
                  <a:pt x="285" y="96"/>
                </a:cubicBezTo>
                <a:cubicBezTo>
                  <a:pt x="285" y="97"/>
                  <a:pt x="285" y="97"/>
                  <a:pt x="285" y="97"/>
                </a:cubicBezTo>
                <a:cubicBezTo>
                  <a:pt x="286" y="97"/>
                  <a:pt x="286" y="97"/>
                  <a:pt x="286" y="97"/>
                </a:cubicBezTo>
                <a:cubicBezTo>
                  <a:pt x="287" y="96"/>
                  <a:pt x="287" y="96"/>
                  <a:pt x="287" y="96"/>
                </a:cubicBezTo>
                <a:cubicBezTo>
                  <a:pt x="286" y="95"/>
                  <a:pt x="286" y="95"/>
                  <a:pt x="286" y="95"/>
                </a:cubicBezTo>
                <a:cubicBezTo>
                  <a:pt x="287" y="94"/>
                  <a:pt x="287" y="94"/>
                  <a:pt x="287" y="94"/>
                </a:cubicBezTo>
                <a:cubicBezTo>
                  <a:pt x="288" y="94"/>
                  <a:pt x="288" y="94"/>
                  <a:pt x="288" y="94"/>
                </a:cubicBezTo>
                <a:cubicBezTo>
                  <a:pt x="288" y="96"/>
                  <a:pt x="288" y="96"/>
                  <a:pt x="288" y="96"/>
                </a:cubicBezTo>
                <a:cubicBezTo>
                  <a:pt x="290" y="94"/>
                  <a:pt x="290" y="94"/>
                  <a:pt x="290" y="94"/>
                </a:cubicBezTo>
                <a:cubicBezTo>
                  <a:pt x="290" y="93"/>
                  <a:pt x="290" y="93"/>
                  <a:pt x="290" y="93"/>
                </a:cubicBezTo>
                <a:cubicBezTo>
                  <a:pt x="289" y="92"/>
                  <a:pt x="289" y="92"/>
                  <a:pt x="289" y="92"/>
                </a:cubicBezTo>
                <a:cubicBezTo>
                  <a:pt x="291" y="92"/>
                  <a:pt x="291" y="92"/>
                  <a:pt x="291" y="92"/>
                </a:cubicBezTo>
                <a:cubicBezTo>
                  <a:pt x="291" y="92"/>
                  <a:pt x="291" y="92"/>
                  <a:pt x="291" y="92"/>
                </a:cubicBezTo>
                <a:cubicBezTo>
                  <a:pt x="290" y="91"/>
                  <a:pt x="290" y="91"/>
                  <a:pt x="290" y="91"/>
                </a:cubicBezTo>
                <a:cubicBezTo>
                  <a:pt x="292" y="90"/>
                  <a:pt x="292" y="90"/>
                  <a:pt x="292" y="90"/>
                </a:cubicBezTo>
                <a:cubicBezTo>
                  <a:pt x="293" y="90"/>
                  <a:pt x="293" y="90"/>
                  <a:pt x="293" y="90"/>
                </a:cubicBezTo>
                <a:cubicBezTo>
                  <a:pt x="294" y="89"/>
                  <a:pt x="294" y="89"/>
                  <a:pt x="294" y="89"/>
                </a:cubicBezTo>
                <a:cubicBezTo>
                  <a:pt x="295" y="89"/>
                  <a:pt x="295" y="89"/>
                  <a:pt x="295" y="89"/>
                </a:cubicBezTo>
                <a:cubicBezTo>
                  <a:pt x="295" y="90"/>
                  <a:pt x="295" y="90"/>
                  <a:pt x="295" y="90"/>
                </a:cubicBezTo>
                <a:cubicBezTo>
                  <a:pt x="296" y="90"/>
                  <a:pt x="296" y="90"/>
                  <a:pt x="296" y="90"/>
                </a:cubicBezTo>
                <a:cubicBezTo>
                  <a:pt x="298" y="91"/>
                  <a:pt x="298" y="91"/>
                  <a:pt x="298" y="91"/>
                </a:cubicBezTo>
                <a:cubicBezTo>
                  <a:pt x="298" y="92"/>
                  <a:pt x="298" y="92"/>
                  <a:pt x="298" y="92"/>
                </a:cubicBezTo>
                <a:cubicBezTo>
                  <a:pt x="298" y="93"/>
                  <a:pt x="298" y="93"/>
                  <a:pt x="298" y="93"/>
                </a:cubicBezTo>
                <a:cubicBezTo>
                  <a:pt x="297" y="96"/>
                  <a:pt x="297" y="96"/>
                  <a:pt x="297" y="96"/>
                </a:cubicBezTo>
                <a:cubicBezTo>
                  <a:pt x="299" y="95"/>
                  <a:pt x="299" y="95"/>
                  <a:pt x="299" y="95"/>
                </a:cubicBezTo>
                <a:cubicBezTo>
                  <a:pt x="300" y="93"/>
                  <a:pt x="300" y="93"/>
                  <a:pt x="300" y="93"/>
                </a:cubicBezTo>
                <a:cubicBezTo>
                  <a:pt x="299" y="90"/>
                  <a:pt x="299" y="90"/>
                  <a:pt x="299" y="90"/>
                </a:cubicBezTo>
                <a:cubicBezTo>
                  <a:pt x="297" y="89"/>
                  <a:pt x="297" y="89"/>
                  <a:pt x="297" y="89"/>
                </a:cubicBezTo>
                <a:cubicBezTo>
                  <a:pt x="296" y="87"/>
                  <a:pt x="296" y="87"/>
                  <a:pt x="296" y="87"/>
                </a:cubicBezTo>
                <a:cubicBezTo>
                  <a:pt x="295" y="88"/>
                  <a:pt x="295" y="88"/>
                  <a:pt x="295" y="88"/>
                </a:cubicBezTo>
                <a:cubicBezTo>
                  <a:pt x="294" y="88"/>
                  <a:pt x="294" y="88"/>
                  <a:pt x="294" y="88"/>
                </a:cubicBezTo>
                <a:cubicBezTo>
                  <a:pt x="292" y="88"/>
                  <a:pt x="292" y="88"/>
                  <a:pt x="292" y="88"/>
                </a:cubicBezTo>
                <a:cubicBezTo>
                  <a:pt x="292" y="87"/>
                  <a:pt x="292" y="87"/>
                  <a:pt x="292" y="87"/>
                </a:cubicBezTo>
                <a:cubicBezTo>
                  <a:pt x="291" y="86"/>
                  <a:pt x="291" y="86"/>
                  <a:pt x="291" y="86"/>
                </a:cubicBezTo>
                <a:cubicBezTo>
                  <a:pt x="291" y="86"/>
                  <a:pt x="291" y="86"/>
                  <a:pt x="291" y="86"/>
                </a:cubicBezTo>
                <a:cubicBezTo>
                  <a:pt x="291" y="85"/>
                  <a:pt x="291" y="85"/>
                  <a:pt x="291" y="85"/>
                </a:cubicBezTo>
                <a:cubicBezTo>
                  <a:pt x="294" y="85"/>
                  <a:pt x="294" y="85"/>
                  <a:pt x="294" y="85"/>
                </a:cubicBezTo>
                <a:cubicBezTo>
                  <a:pt x="295" y="84"/>
                  <a:pt x="295" y="84"/>
                  <a:pt x="295" y="84"/>
                </a:cubicBezTo>
                <a:cubicBezTo>
                  <a:pt x="296" y="84"/>
                  <a:pt x="296" y="84"/>
                  <a:pt x="296" y="84"/>
                </a:cubicBezTo>
                <a:cubicBezTo>
                  <a:pt x="297" y="84"/>
                  <a:pt x="297" y="84"/>
                  <a:pt x="297" y="84"/>
                </a:cubicBezTo>
                <a:cubicBezTo>
                  <a:pt x="299" y="84"/>
                  <a:pt x="299" y="84"/>
                  <a:pt x="299" y="84"/>
                </a:cubicBezTo>
                <a:cubicBezTo>
                  <a:pt x="299" y="84"/>
                  <a:pt x="299" y="84"/>
                  <a:pt x="299" y="84"/>
                </a:cubicBezTo>
                <a:cubicBezTo>
                  <a:pt x="302" y="83"/>
                  <a:pt x="302" y="83"/>
                  <a:pt x="302" y="83"/>
                </a:cubicBezTo>
                <a:cubicBezTo>
                  <a:pt x="304" y="84"/>
                  <a:pt x="304" y="84"/>
                  <a:pt x="304" y="84"/>
                </a:cubicBezTo>
                <a:cubicBezTo>
                  <a:pt x="305" y="84"/>
                  <a:pt x="305" y="84"/>
                  <a:pt x="305" y="84"/>
                </a:cubicBezTo>
                <a:cubicBezTo>
                  <a:pt x="306" y="84"/>
                  <a:pt x="306" y="84"/>
                  <a:pt x="306" y="84"/>
                </a:cubicBezTo>
                <a:cubicBezTo>
                  <a:pt x="307" y="83"/>
                  <a:pt x="307" y="83"/>
                  <a:pt x="307" y="83"/>
                </a:cubicBezTo>
                <a:cubicBezTo>
                  <a:pt x="306" y="82"/>
                  <a:pt x="306" y="82"/>
                  <a:pt x="306" y="82"/>
                </a:cubicBezTo>
                <a:cubicBezTo>
                  <a:pt x="304" y="82"/>
                  <a:pt x="304" y="82"/>
                  <a:pt x="304" y="82"/>
                </a:cubicBezTo>
                <a:cubicBezTo>
                  <a:pt x="302" y="82"/>
                  <a:pt x="302" y="82"/>
                  <a:pt x="302" y="82"/>
                </a:cubicBezTo>
                <a:cubicBezTo>
                  <a:pt x="301" y="82"/>
                  <a:pt x="301" y="82"/>
                  <a:pt x="301" y="82"/>
                </a:cubicBezTo>
                <a:cubicBezTo>
                  <a:pt x="299" y="82"/>
                  <a:pt x="299" y="82"/>
                  <a:pt x="299" y="82"/>
                </a:cubicBezTo>
                <a:cubicBezTo>
                  <a:pt x="299" y="81"/>
                  <a:pt x="299" y="81"/>
                  <a:pt x="299" y="81"/>
                </a:cubicBezTo>
                <a:cubicBezTo>
                  <a:pt x="298" y="80"/>
                  <a:pt x="298" y="80"/>
                  <a:pt x="298" y="80"/>
                </a:cubicBezTo>
                <a:cubicBezTo>
                  <a:pt x="300" y="78"/>
                  <a:pt x="300" y="78"/>
                  <a:pt x="300" y="78"/>
                </a:cubicBezTo>
                <a:cubicBezTo>
                  <a:pt x="298" y="78"/>
                  <a:pt x="298" y="78"/>
                  <a:pt x="298" y="78"/>
                </a:cubicBezTo>
                <a:cubicBezTo>
                  <a:pt x="297" y="76"/>
                  <a:pt x="297" y="76"/>
                  <a:pt x="297" y="76"/>
                </a:cubicBezTo>
                <a:cubicBezTo>
                  <a:pt x="295" y="76"/>
                  <a:pt x="295" y="76"/>
                  <a:pt x="295" y="76"/>
                </a:cubicBezTo>
                <a:cubicBezTo>
                  <a:pt x="294" y="75"/>
                  <a:pt x="294" y="75"/>
                  <a:pt x="294" y="75"/>
                </a:cubicBezTo>
                <a:cubicBezTo>
                  <a:pt x="294" y="73"/>
                  <a:pt x="294" y="73"/>
                  <a:pt x="294" y="73"/>
                </a:cubicBezTo>
                <a:cubicBezTo>
                  <a:pt x="295" y="73"/>
                  <a:pt x="295" y="73"/>
                  <a:pt x="295" y="73"/>
                </a:cubicBezTo>
                <a:cubicBezTo>
                  <a:pt x="295" y="72"/>
                  <a:pt x="295" y="72"/>
                  <a:pt x="295" y="72"/>
                </a:cubicBezTo>
                <a:cubicBezTo>
                  <a:pt x="294" y="70"/>
                  <a:pt x="294" y="70"/>
                  <a:pt x="294" y="70"/>
                </a:cubicBezTo>
                <a:cubicBezTo>
                  <a:pt x="294" y="64"/>
                  <a:pt x="294" y="64"/>
                  <a:pt x="294" y="64"/>
                </a:cubicBezTo>
                <a:cubicBezTo>
                  <a:pt x="295" y="63"/>
                  <a:pt x="295" y="63"/>
                  <a:pt x="295" y="63"/>
                </a:cubicBezTo>
                <a:cubicBezTo>
                  <a:pt x="295" y="61"/>
                  <a:pt x="295" y="61"/>
                  <a:pt x="295" y="61"/>
                </a:cubicBezTo>
                <a:cubicBezTo>
                  <a:pt x="295" y="59"/>
                  <a:pt x="295" y="59"/>
                  <a:pt x="295" y="59"/>
                </a:cubicBezTo>
                <a:cubicBezTo>
                  <a:pt x="296" y="58"/>
                  <a:pt x="296" y="58"/>
                  <a:pt x="296" y="58"/>
                </a:cubicBezTo>
                <a:cubicBezTo>
                  <a:pt x="295" y="57"/>
                  <a:pt x="295" y="57"/>
                  <a:pt x="295" y="57"/>
                </a:cubicBezTo>
                <a:cubicBezTo>
                  <a:pt x="297" y="57"/>
                  <a:pt x="297" y="57"/>
                  <a:pt x="297" y="57"/>
                </a:cubicBezTo>
                <a:cubicBezTo>
                  <a:pt x="297" y="55"/>
                  <a:pt x="297" y="55"/>
                  <a:pt x="297" y="55"/>
                </a:cubicBezTo>
                <a:cubicBezTo>
                  <a:pt x="299" y="54"/>
                  <a:pt x="299" y="54"/>
                  <a:pt x="299" y="54"/>
                </a:cubicBezTo>
                <a:cubicBezTo>
                  <a:pt x="299" y="54"/>
                  <a:pt x="299" y="54"/>
                  <a:pt x="299" y="54"/>
                </a:cubicBezTo>
                <a:cubicBezTo>
                  <a:pt x="301" y="56"/>
                  <a:pt x="301" y="56"/>
                  <a:pt x="301" y="56"/>
                </a:cubicBezTo>
                <a:cubicBezTo>
                  <a:pt x="302" y="55"/>
                  <a:pt x="302" y="55"/>
                  <a:pt x="302" y="55"/>
                </a:cubicBezTo>
                <a:cubicBezTo>
                  <a:pt x="303" y="55"/>
                  <a:pt x="303" y="55"/>
                  <a:pt x="303" y="55"/>
                </a:cubicBezTo>
                <a:cubicBezTo>
                  <a:pt x="304" y="56"/>
                  <a:pt x="304" y="56"/>
                  <a:pt x="304" y="56"/>
                </a:cubicBezTo>
                <a:cubicBezTo>
                  <a:pt x="306" y="57"/>
                  <a:pt x="306" y="57"/>
                  <a:pt x="306" y="57"/>
                </a:cubicBezTo>
                <a:cubicBezTo>
                  <a:pt x="307" y="55"/>
                  <a:pt x="307" y="55"/>
                  <a:pt x="307" y="55"/>
                </a:cubicBezTo>
                <a:cubicBezTo>
                  <a:pt x="308" y="55"/>
                  <a:pt x="308" y="55"/>
                  <a:pt x="308" y="55"/>
                </a:cubicBezTo>
                <a:cubicBezTo>
                  <a:pt x="308" y="57"/>
                  <a:pt x="308" y="57"/>
                  <a:pt x="308" y="57"/>
                </a:cubicBezTo>
                <a:cubicBezTo>
                  <a:pt x="308" y="58"/>
                  <a:pt x="308" y="58"/>
                  <a:pt x="308" y="58"/>
                </a:cubicBezTo>
                <a:cubicBezTo>
                  <a:pt x="310" y="58"/>
                  <a:pt x="310" y="58"/>
                  <a:pt x="310" y="58"/>
                </a:cubicBezTo>
                <a:cubicBezTo>
                  <a:pt x="310" y="59"/>
                  <a:pt x="310" y="59"/>
                  <a:pt x="310" y="59"/>
                </a:cubicBezTo>
                <a:cubicBezTo>
                  <a:pt x="309" y="60"/>
                  <a:pt x="309" y="60"/>
                  <a:pt x="309" y="60"/>
                </a:cubicBezTo>
                <a:cubicBezTo>
                  <a:pt x="309" y="60"/>
                  <a:pt x="309" y="60"/>
                  <a:pt x="309" y="60"/>
                </a:cubicBezTo>
                <a:cubicBezTo>
                  <a:pt x="309" y="61"/>
                  <a:pt x="309" y="61"/>
                  <a:pt x="309" y="61"/>
                </a:cubicBezTo>
                <a:cubicBezTo>
                  <a:pt x="309" y="62"/>
                  <a:pt x="309" y="62"/>
                  <a:pt x="309" y="62"/>
                </a:cubicBezTo>
                <a:cubicBezTo>
                  <a:pt x="308" y="65"/>
                  <a:pt x="308" y="65"/>
                  <a:pt x="308" y="65"/>
                </a:cubicBezTo>
                <a:cubicBezTo>
                  <a:pt x="306" y="65"/>
                  <a:pt x="306" y="65"/>
                  <a:pt x="306" y="65"/>
                </a:cubicBezTo>
                <a:cubicBezTo>
                  <a:pt x="305" y="66"/>
                  <a:pt x="305" y="66"/>
                  <a:pt x="305" y="66"/>
                </a:cubicBezTo>
                <a:cubicBezTo>
                  <a:pt x="306" y="67"/>
                  <a:pt x="306" y="67"/>
                  <a:pt x="306" y="67"/>
                </a:cubicBezTo>
                <a:cubicBezTo>
                  <a:pt x="309" y="66"/>
                  <a:pt x="309" y="66"/>
                  <a:pt x="309" y="66"/>
                </a:cubicBezTo>
                <a:cubicBezTo>
                  <a:pt x="311" y="63"/>
                  <a:pt x="311" y="63"/>
                  <a:pt x="311" y="63"/>
                </a:cubicBezTo>
                <a:cubicBezTo>
                  <a:pt x="312" y="63"/>
                  <a:pt x="312" y="63"/>
                  <a:pt x="312" y="63"/>
                </a:cubicBezTo>
                <a:cubicBezTo>
                  <a:pt x="312" y="64"/>
                  <a:pt x="312" y="64"/>
                  <a:pt x="312" y="64"/>
                </a:cubicBezTo>
                <a:cubicBezTo>
                  <a:pt x="311" y="65"/>
                  <a:pt x="311" y="65"/>
                  <a:pt x="311" y="65"/>
                </a:cubicBezTo>
                <a:cubicBezTo>
                  <a:pt x="311" y="66"/>
                  <a:pt x="311" y="66"/>
                  <a:pt x="311" y="66"/>
                </a:cubicBezTo>
                <a:cubicBezTo>
                  <a:pt x="313" y="66"/>
                  <a:pt x="313" y="66"/>
                  <a:pt x="313" y="66"/>
                </a:cubicBezTo>
                <a:cubicBezTo>
                  <a:pt x="314" y="64"/>
                  <a:pt x="314" y="64"/>
                  <a:pt x="314" y="64"/>
                </a:cubicBezTo>
                <a:cubicBezTo>
                  <a:pt x="315" y="64"/>
                  <a:pt x="315" y="64"/>
                  <a:pt x="315" y="64"/>
                </a:cubicBezTo>
                <a:cubicBezTo>
                  <a:pt x="315" y="64"/>
                  <a:pt x="315" y="64"/>
                  <a:pt x="315" y="64"/>
                </a:cubicBezTo>
                <a:cubicBezTo>
                  <a:pt x="317" y="64"/>
                  <a:pt x="317" y="64"/>
                  <a:pt x="317" y="64"/>
                </a:cubicBezTo>
                <a:cubicBezTo>
                  <a:pt x="317" y="63"/>
                  <a:pt x="317" y="63"/>
                  <a:pt x="317" y="63"/>
                </a:cubicBezTo>
                <a:cubicBezTo>
                  <a:pt x="318" y="62"/>
                  <a:pt x="318" y="62"/>
                  <a:pt x="318" y="62"/>
                </a:cubicBezTo>
                <a:cubicBezTo>
                  <a:pt x="319" y="63"/>
                  <a:pt x="319" y="63"/>
                  <a:pt x="319" y="63"/>
                </a:cubicBezTo>
                <a:cubicBezTo>
                  <a:pt x="320" y="62"/>
                  <a:pt x="320" y="62"/>
                  <a:pt x="320" y="62"/>
                </a:cubicBezTo>
                <a:cubicBezTo>
                  <a:pt x="322" y="64"/>
                  <a:pt x="322" y="64"/>
                  <a:pt x="322" y="64"/>
                </a:cubicBezTo>
                <a:cubicBezTo>
                  <a:pt x="322" y="65"/>
                  <a:pt x="322" y="65"/>
                  <a:pt x="322" y="65"/>
                </a:cubicBezTo>
                <a:cubicBezTo>
                  <a:pt x="322" y="67"/>
                  <a:pt x="322" y="67"/>
                  <a:pt x="322" y="67"/>
                </a:cubicBezTo>
                <a:cubicBezTo>
                  <a:pt x="322" y="68"/>
                  <a:pt x="322" y="68"/>
                  <a:pt x="322" y="68"/>
                </a:cubicBezTo>
                <a:cubicBezTo>
                  <a:pt x="322" y="69"/>
                  <a:pt x="322" y="69"/>
                  <a:pt x="322" y="69"/>
                </a:cubicBezTo>
                <a:cubicBezTo>
                  <a:pt x="321" y="71"/>
                  <a:pt x="321" y="71"/>
                  <a:pt x="321" y="71"/>
                </a:cubicBezTo>
                <a:cubicBezTo>
                  <a:pt x="322" y="74"/>
                  <a:pt x="322" y="74"/>
                  <a:pt x="322" y="74"/>
                </a:cubicBezTo>
                <a:cubicBezTo>
                  <a:pt x="322" y="75"/>
                  <a:pt x="322" y="75"/>
                  <a:pt x="322" y="75"/>
                </a:cubicBezTo>
                <a:cubicBezTo>
                  <a:pt x="321" y="75"/>
                  <a:pt x="321" y="75"/>
                  <a:pt x="321" y="75"/>
                </a:cubicBezTo>
                <a:cubicBezTo>
                  <a:pt x="320" y="76"/>
                  <a:pt x="320" y="76"/>
                  <a:pt x="320" y="76"/>
                </a:cubicBezTo>
                <a:cubicBezTo>
                  <a:pt x="321" y="76"/>
                  <a:pt x="321" y="76"/>
                  <a:pt x="321" y="76"/>
                </a:cubicBezTo>
                <a:cubicBezTo>
                  <a:pt x="324" y="76"/>
                  <a:pt x="324" y="76"/>
                  <a:pt x="324" y="76"/>
                </a:cubicBezTo>
                <a:cubicBezTo>
                  <a:pt x="325" y="74"/>
                  <a:pt x="325" y="74"/>
                  <a:pt x="325" y="74"/>
                </a:cubicBezTo>
                <a:cubicBezTo>
                  <a:pt x="327" y="74"/>
                  <a:pt x="327" y="74"/>
                  <a:pt x="327" y="74"/>
                </a:cubicBezTo>
                <a:cubicBezTo>
                  <a:pt x="328" y="72"/>
                  <a:pt x="328" y="72"/>
                  <a:pt x="328" y="72"/>
                </a:cubicBezTo>
                <a:cubicBezTo>
                  <a:pt x="328" y="70"/>
                  <a:pt x="328" y="70"/>
                  <a:pt x="328" y="70"/>
                </a:cubicBezTo>
                <a:cubicBezTo>
                  <a:pt x="327" y="69"/>
                  <a:pt x="327" y="69"/>
                  <a:pt x="327" y="69"/>
                </a:cubicBezTo>
                <a:cubicBezTo>
                  <a:pt x="326" y="69"/>
                  <a:pt x="326" y="69"/>
                  <a:pt x="326" y="69"/>
                </a:cubicBezTo>
                <a:cubicBezTo>
                  <a:pt x="325" y="68"/>
                  <a:pt x="325" y="68"/>
                  <a:pt x="325" y="68"/>
                </a:cubicBezTo>
                <a:cubicBezTo>
                  <a:pt x="325" y="67"/>
                  <a:pt x="325" y="67"/>
                  <a:pt x="325" y="67"/>
                </a:cubicBezTo>
                <a:cubicBezTo>
                  <a:pt x="326" y="67"/>
                  <a:pt x="326" y="67"/>
                  <a:pt x="326" y="67"/>
                </a:cubicBezTo>
                <a:cubicBezTo>
                  <a:pt x="327" y="67"/>
                  <a:pt x="327" y="67"/>
                  <a:pt x="327" y="67"/>
                </a:cubicBezTo>
                <a:cubicBezTo>
                  <a:pt x="327" y="67"/>
                  <a:pt x="327" y="67"/>
                  <a:pt x="327" y="67"/>
                </a:cubicBezTo>
                <a:cubicBezTo>
                  <a:pt x="328" y="67"/>
                  <a:pt x="328" y="67"/>
                  <a:pt x="328" y="67"/>
                </a:cubicBezTo>
                <a:cubicBezTo>
                  <a:pt x="330" y="66"/>
                  <a:pt x="330" y="66"/>
                  <a:pt x="330" y="66"/>
                </a:cubicBezTo>
                <a:cubicBezTo>
                  <a:pt x="332" y="64"/>
                  <a:pt x="332" y="64"/>
                  <a:pt x="332" y="64"/>
                </a:cubicBezTo>
                <a:cubicBezTo>
                  <a:pt x="333" y="65"/>
                  <a:pt x="333" y="65"/>
                  <a:pt x="333" y="65"/>
                </a:cubicBezTo>
                <a:cubicBezTo>
                  <a:pt x="334" y="65"/>
                  <a:pt x="334" y="65"/>
                  <a:pt x="334" y="65"/>
                </a:cubicBezTo>
                <a:cubicBezTo>
                  <a:pt x="335" y="63"/>
                  <a:pt x="335" y="63"/>
                  <a:pt x="335" y="63"/>
                </a:cubicBezTo>
                <a:cubicBezTo>
                  <a:pt x="336" y="62"/>
                  <a:pt x="336" y="62"/>
                  <a:pt x="336" y="62"/>
                </a:cubicBezTo>
                <a:cubicBezTo>
                  <a:pt x="336" y="63"/>
                  <a:pt x="336" y="63"/>
                  <a:pt x="336" y="63"/>
                </a:cubicBezTo>
                <a:cubicBezTo>
                  <a:pt x="337" y="62"/>
                  <a:pt x="337" y="62"/>
                  <a:pt x="337" y="62"/>
                </a:cubicBezTo>
                <a:cubicBezTo>
                  <a:pt x="339" y="61"/>
                  <a:pt x="339" y="61"/>
                  <a:pt x="339" y="61"/>
                </a:cubicBezTo>
                <a:cubicBezTo>
                  <a:pt x="339" y="62"/>
                  <a:pt x="339" y="62"/>
                  <a:pt x="339" y="62"/>
                </a:cubicBezTo>
                <a:cubicBezTo>
                  <a:pt x="341" y="62"/>
                  <a:pt x="341" y="62"/>
                  <a:pt x="341" y="62"/>
                </a:cubicBezTo>
                <a:cubicBezTo>
                  <a:pt x="341" y="62"/>
                  <a:pt x="341" y="62"/>
                  <a:pt x="341" y="62"/>
                </a:cubicBezTo>
                <a:cubicBezTo>
                  <a:pt x="340" y="63"/>
                  <a:pt x="340" y="63"/>
                  <a:pt x="340" y="63"/>
                </a:cubicBezTo>
                <a:cubicBezTo>
                  <a:pt x="341" y="64"/>
                  <a:pt x="341" y="64"/>
                  <a:pt x="341" y="64"/>
                </a:cubicBezTo>
                <a:cubicBezTo>
                  <a:pt x="343" y="64"/>
                  <a:pt x="343" y="64"/>
                  <a:pt x="343" y="64"/>
                </a:cubicBezTo>
                <a:cubicBezTo>
                  <a:pt x="344" y="64"/>
                  <a:pt x="344" y="64"/>
                  <a:pt x="344" y="64"/>
                </a:cubicBezTo>
                <a:cubicBezTo>
                  <a:pt x="345" y="65"/>
                  <a:pt x="345" y="65"/>
                  <a:pt x="345" y="65"/>
                </a:cubicBezTo>
                <a:cubicBezTo>
                  <a:pt x="350" y="67"/>
                  <a:pt x="350" y="67"/>
                  <a:pt x="350" y="67"/>
                </a:cubicBezTo>
                <a:cubicBezTo>
                  <a:pt x="351" y="68"/>
                  <a:pt x="351" y="68"/>
                  <a:pt x="351" y="68"/>
                </a:cubicBezTo>
                <a:cubicBezTo>
                  <a:pt x="351" y="69"/>
                  <a:pt x="351" y="69"/>
                  <a:pt x="351" y="69"/>
                </a:cubicBezTo>
                <a:cubicBezTo>
                  <a:pt x="351" y="70"/>
                  <a:pt x="351" y="70"/>
                  <a:pt x="351" y="70"/>
                </a:cubicBezTo>
                <a:cubicBezTo>
                  <a:pt x="354" y="72"/>
                  <a:pt x="354" y="72"/>
                  <a:pt x="354" y="72"/>
                </a:cubicBezTo>
                <a:cubicBezTo>
                  <a:pt x="354" y="72"/>
                  <a:pt x="354" y="72"/>
                  <a:pt x="354" y="72"/>
                </a:cubicBezTo>
                <a:cubicBezTo>
                  <a:pt x="354" y="71"/>
                  <a:pt x="354" y="71"/>
                  <a:pt x="354" y="71"/>
                </a:cubicBezTo>
                <a:cubicBezTo>
                  <a:pt x="355" y="71"/>
                  <a:pt x="355" y="71"/>
                  <a:pt x="355" y="71"/>
                </a:cubicBezTo>
                <a:cubicBezTo>
                  <a:pt x="355" y="70"/>
                  <a:pt x="355" y="70"/>
                  <a:pt x="355" y="70"/>
                </a:cubicBezTo>
                <a:cubicBezTo>
                  <a:pt x="354" y="70"/>
                  <a:pt x="354" y="70"/>
                  <a:pt x="354" y="70"/>
                </a:cubicBezTo>
                <a:cubicBezTo>
                  <a:pt x="353" y="69"/>
                  <a:pt x="353" y="69"/>
                  <a:pt x="353" y="69"/>
                </a:cubicBezTo>
                <a:cubicBezTo>
                  <a:pt x="353" y="68"/>
                  <a:pt x="353" y="68"/>
                  <a:pt x="353" y="68"/>
                </a:cubicBezTo>
                <a:cubicBezTo>
                  <a:pt x="354" y="68"/>
                  <a:pt x="354" y="68"/>
                  <a:pt x="354" y="68"/>
                </a:cubicBezTo>
                <a:cubicBezTo>
                  <a:pt x="355" y="68"/>
                  <a:pt x="355" y="68"/>
                  <a:pt x="355" y="68"/>
                </a:cubicBezTo>
                <a:cubicBezTo>
                  <a:pt x="356" y="69"/>
                  <a:pt x="356" y="69"/>
                  <a:pt x="356" y="69"/>
                </a:cubicBezTo>
                <a:cubicBezTo>
                  <a:pt x="357" y="69"/>
                  <a:pt x="357" y="69"/>
                  <a:pt x="357" y="69"/>
                </a:cubicBezTo>
                <a:cubicBezTo>
                  <a:pt x="357" y="70"/>
                  <a:pt x="357" y="70"/>
                  <a:pt x="357" y="70"/>
                </a:cubicBezTo>
                <a:cubicBezTo>
                  <a:pt x="358" y="72"/>
                  <a:pt x="358" y="72"/>
                  <a:pt x="358" y="72"/>
                </a:cubicBezTo>
                <a:cubicBezTo>
                  <a:pt x="359" y="74"/>
                  <a:pt x="359" y="74"/>
                  <a:pt x="359" y="74"/>
                </a:cubicBezTo>
                <a:cubicBezTo>
                  <a:pt x="359" y="74"/>
                  <a:pt x="359" y="74"/>
                  <a:pt x="359" y="74"/>
                </a:cubicBezTo>
                <a:cubicBezTo>
                  <a:pt x="360" y="73"/>
                  <a:pt x="360" y="73"/>
                  <a:pt x="360" y="73"/>
                </a:cubicBezTo>
                <a:cubicBezTo>
                  <a:pt x="361" y="73"/>
                  <a:pt x="361" y="73"/>
                  <a:pt x="361" y="73"/>
                </a:cubicBezTo>
                <a:cubicBezTo>
                  <a:pt x="361" y="74"/>
                  <a:pt x="361" y="74"/>
                  <a:pt x="361" y="74"/>
                </a:cubicBezTo>
                <a:cubicBezTo>
                  <a:pt x="362" y="75"/>
                  <a:pt x="362" y="75"/>
                  <a:pt x="362" y="75"/>
                </a:cubicBezTo>
                <a:cubicBezTo>
                  <a:pt x="362" y="76"/>
                  <a:pt x="362" y="76"/>
                  <a:pt x="362" y="76"/>
                </a:cubicBezTo>
                <a:cubicBezTo>
                  <a:pt x="363" y="78"/>
                  <a:pt x="363" y="78"/>
                  <a:pt x="363" y="78"/>
                </a:cubicBezTo>
                <a:cubicBezTo>
                  <a:pt x="363" y="79"/>
                  <a:pt x="363" y="79"/>
                  <a:pt x="363" y="79"/>
                </a:cubicBezTo>
                <a:cubicBezTo>
                  <a:pt x="363" y="78"/>
                  <a:pt x="363" y="78"/>
                  <a:pt x="363" y="78"/>
                </a:cubicBezTo>
                <a:cubicBezTo>
                  <a:pt x="363" y="78"/>
                  <a:pt x="363" y="78"/>
                  <a:pt x="363" y="78"/>
                </a:cubicBezTo>
                <a:cubicBezTo>
                  <a:pt x="362" y="77"/>
                  <a:pt x="362" y="77"/>
                  <a:pt x="362" y="77"/>
                </a:cubicBezTo>
                <a:cubicBezTo>
                  <a:pt x="362" y="77"/>
                  <a:pt x="362" y="77"/>
                  <a:pt x="362" y="77"/>
                </a:cubicBezTo>
                <a:cubicBezTo>
                  <a:pt x="361" y="78"/>
                  <a:pt x="361" y="78"/>
                  <a:pt x="361" y="78"/>
                </a:cubicBezTo>
                <a:cubicBezTo>
                  <a:pt x="360" y="77"/>
                  <a:pt x="360" y="77"/>
                  <a:pt x="360" y="77"/>
                </a:cubicBezTo>
                <a:cubicBezTo>
                  <a:pt x="358" y="76"/>
                  <a:pt x="358" y="76"/>
                  <a:pt x="358" y="76"/>
                </a:cubicBezTo>
                <a:cubicBezTo>
                  <a:pt x="356" y="76"/>
                  <a:pt x="356" y="76"/>
                  <a:pt x="356" y="76"/>
                </a:cubicBezTo>
                <a:cubicBezTo>
                  <a:pt x="356" y="76"/>
                  <a:pt x="356" y="76"/>
                  <a:pt x="356" y="76"/>
                </a:cubicBezTo>
                <a:cubicBezTo>
                  <a:pt x="357" y="78"/>
                  <a:pt x="357" y="78"/>
                  <a:pt x="357" y="78"/>
                </a:cubicBezTo>
                <a:cubicBezTo>
                  <a:pt x="358" y="78"/>
                  <a:pt x="358" y="78"/>
                  <a:pt x="358" y="78"/>
                </a:cubicBezTo>
                <a:cubicBezTo>
                  <a:pt x="359" y="78"/>
                  <a:pt x="359" y="78"/>
                  <a:pt x="359" y="78"/>
                </a:cubicBezTo>
                <a:cubicBezTo>
                  <a:pt x="359" y="79"/>
                  <a:pt x="359" y="79"/>
                  <a:pt x="359" y="79"/>
                </a:cubicBezTo>
                <a:cubicBezTo>
                  <a:pt x="360" y="80"/>
                  <a:pt x="360" y="80"/>
                  <a:pt x="360" y="80"/>
                </a:cubicBezTo>
                <a:cubicBezTo>
                  <a:pt x="360" y="81"/>
                  <a:pt x="360" y="81"/>
                  <a:pt x="360" y="81"/>
                </a:cubicBezTo>
                <a:cubicBezTo>
                  <a:pt x="361" y="80"/>
                  <a:pt x="361" y="80"/>
                  <a:pt x="361" y="80"/>
                </a:cubicBezTo>
                <a:cubicBezTo>
                  <a:pt x="361" y="79"/>
                  <a:pt x="361" y="79"/>
                  <a:pt x="361" y="79"/>
                </a:cubicBezTo>
                <a:cubicBezTo>
                  <a:pt x="362" y="79"/>
                  <a:pt x="362" y="79"/>
                  <a:pt x="362" y="79"/>
                </a:cubicBezTo>
                <a:cubicBezTo>
                  <a:pt x="362" y="80"/>
                  <a:pt x="362" y="80"/>
                  <a:pt x="362" y="80"/>
                </a:cubicBezTo>
                <a:cubicBezTo>
                  <a:pt x="363" y="80"/>
                  <a:pt x="363" y="80"/>
                  <a:pt x="363" y="80"/>
                </a:cubicBezTo>
                <a:cubicBezTo>
                  <a:pt x="364" y="80"/>
                  <a:pt x="364" y="80"/>
                  <a:pt x="364" y="80"/>
                </a:cubicBezTo>
                <a:cubicBezTo>
                  <a:pt x="365" y="80"/>
                  <a:pt x="365" y="80"/>
                  <a:pt x="365" y="80"/>
                </a:cubicBezTo>
                <a:cubicBezTo>
                  <a:pt x="365" y="81"/>
                  <a:pt x="365" y="81"/>
                  <a:pt x="365" y="81"/>
                </a:cubicBezTo>
                <a:cubicBezTo>
                  <a:pt x="365" y="82"/>
                  <a:pt x="365" y="82"/>
                  <a:pt x="365" y="82"/>
                </a:cubicBezTo>
                <a:cubicBezTo>
                  <a:pt x="366" y="84"/>
                  <a:pt x="366" y="84"/>
                  <a:pt x="366" y="84"/>
                </a:cubicBezTo>
                <a:cubicBezTo>
                  <a:pt x="366" y="86"/>
                  <a:pt x="366" y="86"/>
                  <a:pt x="366" y="86"/>
                </a:cubicBezTo>
                <a:cubicBezTo>
                  <a:pt x="366" y="88"/>
                  <a:pt x="366" y="88"/>
                  <a:pt x="366" y="88"/>
                </a:cubicBezTo>
                <a:cubicBezTo>
                  <a:pt x="365" y="90"/>
                  <a:pt x="365" y="90"/>
                  <a:pt x="365" y="90"/>
                </a:cubicBezTo>
                <a:cubicBezTo>
                  <a:pt x="365" y="90"/>
                  <a:pt x="365" y="90"/>
                  <a:pt x="365" y="90"/>
                </a:cubicBezTo>
                <a:cubicBezTo>
                  <a:pt x="364" y="91"/>
                  <a:pt x="364" y="91"/>
                  <a:pt x="364" y="91"/>
                </a:cubicBezTo>
                <a:cubicBezTo>
                  <a:pt x="364" y="92"/>
                  <a:pt x="364" y="92"/>
                  <a:pt x="364" y="92"/>
                </a:cubicBezTo>
                <a:cubicBezTo>
                  <a:pt x="364" y="94"/>
                  <a:pt x="364" y="94"/>
                  <a:pt x="364" y="94"/>
                </a:cubicBezTo>
                <a:cubicBezTo>
                  <a:pt x="364" y="95"/>
                  <a:pt x="364" y="95"/>
                  <a:pt x="364" y="95"/>
                </a:cubicBezTo>
                <a:cubicBezTo>
                  <a:pt x="364" y="95"/>
                  <a:pt x="364" y="95"/>
                  <a:pt x="364" y="95"/>
                </a:cubicBezTo>
                <a:cubicBezTo>
                  <a:pt x="364" y="97"/>
                  <a:pt x="364" y="97"/>
                  <a:pt x="364" y="97"/>
                </a:cubicBezTo>
                <a:cubicBezTo>
                  <a:pt x="363" y="97"/>
                  <a:pt x="363" y="97"/>
                  <a:pt x="363" y="97"/>
                </a:cubicBezTo>
                <a:cubicBezTo>
                  <a:pt x="362" y="99"/>
                  <a:pt x="362" y="99"/>
                  <a:pt x="362" y="99"/>
                </a:cubicBezTo>
                <a:cubicBezTo>
                  <a:pt x="363" y="99"/>
                  <a:pt x="363" y="99"/>
                  <a:pt x="363" y="99"/>
                </a:cubicBezTo>
                <a:cubicBezTo>
                  <a:pt x="362" y="101"/>
                  <a:pt x="362" y="101"/>
                  <a:pt x="362" y="101"/>
                </a:cubicBezTo>
                <a:cubicBezTo>
                  <a:pt x="361" y="102"/>
                  <a:pt x="361" y="102"/>
                  <a:pt x="361" y="102"/>
                </a:cubicBezTo>
                <a:cubicBezTo>
                  <a:pt x="361" y="103"/>
                  <a:pt x="361" y="103"/>
                  <a:pt x="361" y="103"/>
                </a:cubicBezTo>
                <a:cubicBezTo>
                  <a:pt x="361" y="104"/>
                  <a:pt x="361" y="104"/>
                  <a:pt x="361" y="104"/>
                </a:cubicBezTo>
                <a:cubicBezTo>
                  <a:pt x="360" y="104"/>
                  <a:pt x="360" y="104"/>
                  <a:pt x="360" y="104"/>
                </a:cubicBezTo>
                <a:cubicBezTo>
                  <a:pt x="358" y="106"/>
                  <a:pt x="358" y="106"/>
                  <a:pt x="358" y="106"/>
                </a:cubicBezTo>
                <a:cubicBezTo>
                  <a:pt x="357" y="106"/>
                  <a:pt x="357" y="106"/>
                  <a:pt x="357" y="106"/>
                </a:cubicBezTo>
                <a:cubicBezTo>
                  <a:pt x="358" y="106"/>
                  <a:pt x="358" y="106"/>
                  <a:pt x="358" y="106"/>
                </a:cubicBezTo>
                <a:cubicBezTo>
                  <a:pt x="359" y="106"/>
                  <a:pt x="359" y="106"/>
                  <a:pt x="359" y="106"/>
                </a:cubicBezTo>
                <a:cubicBezTo>
                  <a:pt x="360" y="105"/>
                  <a:pt x="360" y="105"/>
                  <a:pt x="360" y="105"/>
                </a:cubicBezTo>
                <a:cubicBezTo>
                  <a:pt x="360" y="105"/>
                  <a:pt x="360" y="105"/>
                  <a:pt x="360" y="105"/>
                </a:cubicBezTo>
                <a:cubicBezTo>
                  <a:pt x="361" y="107"/>
                  <a:pt x="361" y="107"/>
                  <a:pt x="361" y="107"/>
                </a:cubicBezTo>
                <a:cubicBezTo>
                  <a:pt x="360" y="109"/>
                  <a:pt x="360" y="109"/>
                  <a:pt x="360" y="109"/>
                </a:cubicBezTo>
                <a:cubicBezTo>
                  <a:pt x="359" y="111"/>
                  <a:pt x="359" y="111"/>
                  <a:pt x="359" y="111"/>
                </a:cubicBezTo>
                <a:cubicBezTo>
                  <a:pt x="358" y="114"/>
                  <a:pt x="358" y="114"/>
                  <a:pt x="358" y="114"/>
                </a:cubicBezTo>
                <a:cubicBezTo>
                  <a:pt x="359" y="115"/>
                  <a:pt x="359" y="115"/>
                  <a:pt x="359" y="115"/>
                </a:cubicBezTo>
                <a:cubicBezTo>
                  <a:pt x="359" y="116"/>
                  <a:pt x="359" y="116"/>
                  <a:pt x="359" y="116"/>
                </a:cubicBezTo>
                <a:cubicBezTo>
                  <a:pt x="358" y="119"/>
                  <a:pt x="358" y="119"/>
                  <a:pt x="358" y="119"/>
                </a:cubicBezTo>
                <a:cubicBezTo>
                  <a:pt x="356" y="119"/>
                  <a:pt x="356" y="119"/>
                  <a:pt x="356" y="119"/>
                </a:cubicBezTo>
                <a:cubicBezTo>
                  <a:pt x="356" y="119"/>
                  <a:pt x="356" y="119"/>
                  <a:pt x="356" y="119"/>
                </a:cubicBezTo>
                <a:cubicBezTo>
                  <a:pt x="355" y="119"/>
                  <a:pt x="355" y="119"/>
                  <a:pt x="355" y="119"/>
                </a:cubicBezTo>
                <a:cubicBezTo>
                  <a:pt x="355" y="120"/>
                  <a:pt x="355" y="120"/>
                  <a:pt x="355" y="120"/>
                </a:cubicBezTo>
                <a:cubicBezTo>
                  <a:pt x="355" y="121"/>
                  <a:pt x="355" y="121"/>
                  <a:pt x="355" y="121"/>
                </a:cubicBezTo>
                <a:cubicBezTo>
                  <a:pt x="356" y="123"/>
                  <a:pt x="356" y="123"/>
                  <a:pt x="356" y="123"/>
                </a:cubicBezTo>
                <a:cubicBezTo>
                  <a:pt x="355" y="124"/>
                  <a:pt x="355" y="124"/>
                  <a:pt x="355" y="124"/>
                </a:cubicBezTo>
                <a:cubicBezTo>
                  <a:pt x="354" y="125"/>
                  <a:pt x="354" y="125"/>
                  <a:pt x="354" y="125"/>
                </a:cubicBezTo>
                <a:cubicBezTo>
                  <a:pt x="353" y="127"/>
                  <a:pt x="353" y="127"/>
                  <a:pt x="353" y="127"/>
                </a:cubicBezTo>
                <a:cubicBezTo>
                  <a:pt x="354" y="129"/>
                  <a:pt x="354" y="129"/>
                  <a:pt x="354" y="129"/>
                </a:cubicBezTo>
                <a:cubicBezTo>
                  <a:pt x="354" y="130"/>
                  <a:pt x="354" y="130"/>
                  <a:pt x="354" y="130"/>
                </a:cubicBezTo>
                <a:cubicBezTo>
                  <a:pt x="354" y="131"/>
                  <a:pt x="354" y="131"/>
                  <a:pt x="354" y="131"/>
                </a:cubicBezTo>
                <a:cubicBezTo>
                  <a:pt x="354" y="132"/>
                  <a:pt x="354" y="132"/>
                  <a:pt x="354" y="132"/>
                </a:cubicBezTo>
                <a:cubicBezTo>
                  <a:pt x="355" y="132"/>
                  <a:pt x="355" y="132"/>
                  <a:pt x="355" y="132"/>
                </a:cubicBezTo>
                <a:cubicBezTo>
                  <a:pt x="354" y="136"/>
                  <a:pt x="354" y="136"/>
                  <a:pt x="354" y="136"/>
                </a:cubicBezTo>
                <a:cubicBezTo>
                  <a:pt x="353" y="136"/>
                  <a:pt x="353" y="136"/>
                  <a:pt x="353" y="136"/>
                </a:cubicBezTo>
                <a:cubicBezTo>
                  <a:pt x="352" y="138"/>
                  <a:pt x="352" y="138"/>
                  <a:pt x="352" y="138"/>
                </a:cubicBezTo>
                <a:cubicBezTo>
                  <a:pt x="353" y="137"/>
                  <a:pt x="353" y="137"/>
                  <a:pt x="353" y="137"/>
                </a:cubicBezTo>
                <a:cubicBezTo>
                  <a:pt x="354" y="137"/>
                  <a:pt x="354" y="137"/>
                  <a:pt x="354" y="137"/>
                </a:cubicBezTo>
                <a:cubicBezTo>
                  <a:pt x="355" y="136"/>
                  <a:pt x="355" y="136"/>
                  <a:pt x="355" y="136"/>
                </a:cubicBezTo>
                <a:cubicBezTo>
                  <a:pt x="356" y="134"/>
                  <a:pt x="356" y="134"/>
                  <a:pt x="356" y="134"/>
                </a:cubicBezTo>
                <a:cubicBezTo>
                  <a:pt x="355" y="134"/>
                  <a:pt x="355" y="134"/>
                  <a:pt x="355" y="134"/>
                </a:cubicBezTo>
                <a:cubicBezTo>
                  <a:pt x="356" y="133"/>
                  <a:pt x="356" y="133"/>
                  <a:pt x="356" y="133"/>
                </a:cubicBezTo>
                <a:cubicBezTo>
                  <a:pt x="358" y="133"/>
                  <a:pt x="358" y="133"/>
                  <a:pt x="358" y="133"/>
                </a:cubicBezTo>
                <a:cubicBezTo>
                  <a:pt x="358" y="133"/>
                  <a:pt x="358" y="133"/>
                  <a:pt x="358" y="133"/>
                </a:cubicBezTo>
                <a:cubicBezTo>
                  <a:pt x="358" y="132"/>
                  <a:pt x="358" y="132"/>
                  <a:pt x="358" y="132"/>
                </a:cubicBezTo>
                <a:cubicBezTo>
                  <a:pt x="355" y="130"/>
                  <a:pt x="355" y="130"/>
                  <a:pt x="355" y="130"/>
                </a:cubicBezTo>
                <a:cubicBezTo>
                  <a:pt x="355" y="129"/>
                  <a:pt x="355" y="129"/>
                  <a:pt x="355" y="129"/>
                </a:cubicBezTo>
                <a:cubicBezTo>
                  <a:pt x="356" y="127"/>
                  <a:pt x="356" y="127"/>
                  <a:pt x="356" y="127"/>
                </a:cubicBezTo>
                <a:cubicBezTo>
                  <a:pt x="358" y="127"/>
                  <a:pt x="358" y="127"/>
                  <a:pt x="358" y="127"/>
                </a:cubicBezTo>
                <a:cubicBezTo>
                  <a:pt x="360" y="127"/>
                  <a:pt x="360" y="127"/>
                  <a:pt x="360" y="127"/>
                </a:cubicBezTo>
                <a:cubicBezTo>
                  <a:pt x="362" y="125"/>
                  <a:pt x="362" y="125"/>
                  <a:pt x="362" y="125"/>
                </a:cubicBezTo>
                <a:cubicBezTo>
                  <a:pt x="363" y="125"/>
                  <a:pt x="363" y="125"/>
                  <a:pt x="363" y="125"/>
                </a:cubicBezTo>
                <a:cubicBezTo>
                  <a:pt x="363" y="124"/>
                  <a:pt x="363" y="124"/>
                  <a:pt x="363" y="124"/>
                </a:cubicBezTo>
                <a:cubicBezTo>
                  <a:pt x="363" y="123"/>
                  <a:pt x="363" y="123"/>
                  <a:pt x="363" y="123"/>
                </a:cubicBezTo>
                <a:cubicBezTo>
                  <a:pt x="365" y="122"/>
                  <a:pt x="365" y="122"/>
                  <a:pt x="365" y="122"/>
                </a:cubicBezTo>
                <a:cubicBezTo>
                  <a:pt x="365" y="120"/>
                  <a:pt x="365" y="120"/>
                  <a:pt x="365" y="120"/>
                </a:cubicBezTo>
                <a:cubicBezTo>
                  <a:pt x="365" y="119"/>
                  <a:pt x="365" y="119"/>
                  <a:pt x="365" y="119"/>
                </a:cubicBezTo>
                <a:cubicBezTo>
                  <a:pt x="365" y="119"/>
                  <a:pt x="365" y="119"/>
                  <a:pt x="365" y="119"/>
                </a:cubicBezTo>
                <a:cubicBezTo>
                  <a:pt x="366" y="119"/>
                  <a:pt x="366" y="119"/>
                  <a:pt x="366" y="119"/>
                </a:cubicBezTo>
                <a:cubicBezTo>
                  <a:pt x="368" y="119"/>
                  <a:pt x="368" y="119"/>
                  <a:pt x="368" y="119"/>
                </a:cubicBezTo>
                <a:cubicBezTo>
                  <a:pt x="368" y="117"/>
                  <a:pt x="368" y="117"/>
                  <a:pt x="368" y="117"/>
                </a:cubicBezTo>
                <a:cubicBezTo>
                  <a:pt x="368" y="117"/>
                  <a:pt x="368" y="117"/>
                  <a:pt x="368" y="117"/>
                </a:cubicBezTo>
                <a:cubicBezTo>
                  <a:pt x="370" y="115"/>
                  <a:pt x="370" y="115"/>
                  <a:pt x="370" y="115"/>
                </a:cubicBezTo>
                <a:cubicBezTo>
                  <a:pt x="370" y="113"/>
                  <a:pt x="370" y="113"/>
                  <a:pt x="370" y="113"/>
                </a:cubicBezTo>
                <a:cubicBezTo>
                  <a:pt x="370" y="112"/>
                  <a:pt x="370" y="112"/>
                  <a:pt x="370" y="112"/>
                </a:cubicBezTo>
                <a:cubicBezTo>
                  <a:pt x="367" y="114"/>
                  <a:pt x="367" y="114"/>
                  <a:pt x="367" y="114"/>
                </a:cubicBezTo>
                <a:cubicBezTo>
                  <a:pt x="367" y="115"/>
                  <a:pt x="367" y="115"/>
                  <a:pt x="367" y="115"/>
                </a:cubicBezTo>
                <a:cubicBezTo>
                  <a:pt x="365" y="116"/>
                  <a:pt x="365" y="116"/>
                  <a:pt x="365" y="116"/>
                </a:cubicBezTo>
                <a:cubicBezTo>
                  <a:pt x="364" y="115"/>
                  <a:pt x="364" y="115"/>
                  <a:pt x="364" y="115"/>
                </a:cubicBezTo>
                <a:cubicBezTo>
                  <a:pt x="363" y="114"/>
                  <a:pt x="363" y="114"/>
                  <a:pt x="363" y="114"/>
                </a:cubicBezTo>
                <a:cubicBezTo>
                  <a:pt x="364" y="112"/>
                  <a:pt x="364" y="112"/>
                  <a:pt x="364" y="112"/>
                </a:cubicBezTo>
                <a:cubicBezTo>
                  <a:pt x="364" y="110"/>
                  <a:pt x="364" y="110"/>
                  <a:pt x="364" y="110"/>
                </a:cubicBezTo>
                <a:cubicBezTo>
                  <a:pt x="365" y="109"/>
                  <a:pt x="365" y="109"/>
                  <a:pt x="365" y="109"/>
                </a:cubicBezTo>
                <a:cubicBezTo>
                  <a:pt x="367" y="109"/>
                  <a:pt x="367" y="109"/>
                  <a:pt x="367" y="109"/>
                </a:cubicBezTo>
                <a:cubicBezTo>
                  <a:pt x="369" y="111"/>
                  <a:pt x="369" y="111"/>
                  <a:pt x="369" y="111"/>
                </a:cubicBezTo>
                <a:cubicBezTo>
                  <a:pt x="370" y="110"/>
                  <a:pt x="370" y="110"/>
                  <a:pt x="370" y="110"/>
                </a:cubicBezTo>
                <a:cubicBezTo>
                  <a:pt x="370" y="108"/>
                  <a:pt x="370" y="108"/>
                  <a:pt x="370" y="108"/>
                </a:cubicBezTo>
                <a:cubicBezTo>
                  <a:pt x="371" y="107"/>
                  <a:pt x="371" y="107"/>
                  <a:pt x="371" y="107"/>
                </a:cubicBezTo>
                <a:cubicBezTo>
                  <a:pt x="372" y="108"/>
                  <a:pt x="372" y="108"/>
                  <a:pt x="372" y="108"/>
                </a:cubicBezTo>
                <a:cubicBezTo>
                  <a:pt x="371" y="109"/>
                  <a:pt x="371" y="109"/>
                  <a:pt x="371" y="109"/>
                </a:cubicBezTo>
                <a:cubicBezTo>
                  <a:pt x="371" y="110"/>
                  <a:pt x="371" y="110"/>
                  <a:pt x="371" y="110"/>
                </a:cubicBezTo>
                <a:cubicBezTo>
                  <a:pt x="374" y="113"/>
                  <a:pt x="374" y="113"/>
                  <a:pt x="374" y="113"/>
                </a:cubicBezTo>
                <a:cubicBezTo>
                  <a:pt x="376" y="113"/>
                  <a:pt x="376" y="113"/>
                  <a:pt x="376" y="113"/>
                </a:cubicBezTo>
                <a:cubicBezTo>
                  <a:pt x="377" y="113"/>
                  <a:pt x="377" y="113"/>
                  <a:pt x="377" y="113"/>
                </a:cubicBezTo>
                <a:cubicBezTo>
                  <a:pt x="379" y="112"/>
                  <a:pt x="379" y="112"/>
                  <a:pt x="379" y="112"/>
                </a:cubicBezTo>
                <a:cubicBezTo>
                  <a:pt x="380" y="111"/>
                  <a:pt x="380" y="111"/>
                  <a:pt x="380" y="111"/>
                </a:cubicBezTo>
                <a:cubicBezTo>
                  <a:pt x="380" y="110"/>
                  <a:pt x="380" y="110"/>
                  <a:pt x="380" y="110"/>
                </a:cubicBezTo>
                <a:cubicBezTo>
                  <a:pt x="378" y="108"/>
                  <a:pt x="378" y="108"/>
                  <a:pt x="378" y="108"/>
                </a:cubicBezTo>
                <a:cubicBezTo>
                  <a:pt x="378" y="107"/>
                  <a:pt x="378" y="107"/>
                  <a:pt x="378" y="107"/>
                </a:cubicBezTo>
                <a:cubicBezTo>
                  <a:pt x="379" y="107"/>
                  <a:pt x="379" y="107"/>
                  <a:pt x="379" y="107"/>
                </a:cubicBezTo>
                <a:cubicBezTo>
                  <a:pt x="381" y="109"/>
                  <a:pt x="381" y="109"/>
                  <a:pt x="381" y="109"/>
                </a:cubicBezTo>
                <a:cubicBezTo>
                  <a:pt x="382" y="110"/>
                  <a:pt x="382" y="110"/>
                  <a:pt x="382" y="110"/>
                </a:cubicBezTo>
                <a:cubicBezTo>
                  <a:pt x="383" y="111"/>
                  <a:pt x="383" y="111"/>
                  <a:pt x="383" y="111"/>
                </a:cubicBezTo>
                <a:cubicBezTo>
                  <a:pt x="383" y="112"/>
                  <a:pt x="383" y="112"/>
                  <a:pt x="383" y="112"/>
                </a:cubicBezTo>
                <a:cubicBezTo>
                  <a:pt x="383" y="113"/>
                  <a:pt x="383" y="113"/>
                  <a:pt x="383" y="113"/>
                </a:cubicBezTo>
                <a:cubicBezTo>
                  <a:pt x="385" y="114"/>
                  <a:pt x="385" y="114"/>
                  <a:pt x="385" y="114"/>
                </a:cubicBezTo>
                <a:cubicBezTo>
                  <a:pt x="385" y="116"/>
                  <a:pt x="385" y="116"/>
                  <a:pt x="385" y="116"/>
                </a:cubicBezTo>
                <a:cubicBezTo>
                  <a:pt x="386" y="117"/>
                  <a:pt x="386" y="117"/>
                  <a:pt x="386" y="117"/>
                </a:cubicBezTo>
                <a:cubicBezTo>
                  <a:pt x="386" y="116"/>
                  <a:pt x="386" y="116"/>
                  <a:pt x="386" y="116"/>
                </a:cubicBezTo>
                <a:cubicBezTo>
                  <a:pt x="387" y="115"/>
                  <a:pt x="387" y="115"/>
                  <a:pt x="387" y="115"/>
                </a:cubicBezTo>
                <a:cubicBezTo>
                  <a:pt x="388" y="115"/>
                  <a:pt x="388" y="115"/>
                  <a:pt x="388" y="115"/>
                </a:cubicBezTo>
                <a:cubicBezTo>
                  <a:pt x="388" y="114"/>
                  <a:pt x="388" y="114"/>
                  <a:pt x="388" y="114"/>
                </a:cubicBezTo>
                <a:cubicBezTo>
                  <a:pt x="388" y="113"/>
                  <a:pt x="388" y="113"/>
                  <a:pt x="388" y="113"/>
                </a:cubicBezTo>
                <a:cubicBezTo>
                  <a:pt x="387" y="114"/>
                  <a:pt x="387" y="114"/>
                  <a:pt x="387" y="114"/>
                </a:cubicBezTo>
                <a:cubicBezTo>
                  <a:pt x="386" y="114"/>
                  <a:pt x="386" y="114"/>
                  <a:pt x="386" y="114"/>
                </a:cubicBezTo>
                <a:cubicBezTo>
                  <a:pt x="385" y="112"/>
                  <a:pt x="385" y="112"/>
                  <a:pt x="385" y="112"/>
                </a:cubicBezTo>
                <a:cubicBezTo>
                  <a:pt x="387" y="110"/>
                  <a:pt x="387" y="110"/>
                  <a:pt x="387" y="110"/>
                </a:cubicBezTo>
                <a:cubicBezTo>
                  <a:pt x="388" y="110"/>
                  <a:pt x="388" y="110"/>
                  <a:pt x="388" y="110"/>
                </a:cubicBezTo>
                <a:cubicBezTo>
                  <a:pt x="388" y="109"/>
                  <a:pt x="388" y="109"/>
                  <a:pt x="388" y="109"/>
                </a:cubicBezTo>
                <a:cubicBezTo>
                  <a:pt x="389" y="109"/>
                  <a:pt x="389" y="109"/>
                  <a:pt x="389" y="109"/>
                </a:cubicBezTo>
                <a:cubicBezTo>
                  <a:pt x="390" y="108"/>
                  <a:pt x="390" y="108"/>
                  <a:pt x="390" y="108"/>
                </a:cubicBezTo>
                <a:cubicBezTo>
                  <a:pt x="392" y="107"/>
                  <a:pt x="392" y="107"/>
                  <a:pt x="392" y="107"/>
                </a:cubicBezTo>
                <a:cubicBezTo>
                  <a:pt x="397" y="106"/>
                  <a:pt x="397" y="106"/>
                  <a:pt x="397" y="106"/>
                </a:cubicBezTo>
                <a:cubicBezTo>
                  <a:pt x="402" y="106"/>
                  <a:pt x="402" y="106"/>
                  <a:pt x="402" y="106"/>
                </a:cubicBezTo>
                <a:cubicBezTo>
                  <a:pt x="405" y="104"/>
                  <a:pt x="405" y="104"/>
                  <a:pt x="405" y="104"/>
                </a:cubicBezTo>
                <a:cubicBezTo>
                  <a:pt x="407" y="104"/>
                  <a:pt x="407" y="104"/>
                  <a:pt x="407" y="104"/>
                </a:cubicBezTo>
                <a:cubicBezTo>
                  <a:pt x="409" y="105"/>
                  <a:pt x="409" y="105"/>
                  <a:pt x="409" y="105"/>
                </a:cubicBezTo>
                <a:cubicBezTo>
                  <a:pt x="409" y="106"/>
                  <a:pt x="409" y="106"/>
                  <a:pt x="409" y="106"/>
                </a:cubicBezTo>
                <a:cubicBezTo>
                  <a:pt x="408" y="106"/>
                  <a:pt x="408" y="106"/>
                  <a:pt x="408" y="106"/>
                </a:cubicBezTo>
                <a:cubicBezTo>
                  <a:pt x="408" y="108"/>
                  <a:pt x="408" y="108"/>
                  <a:pt x="408" y="108"/>
                </a:cubicBezTo>
                <a:cubicBezTo>
                  <a:pt x="408" y="110"/>
                  <a:pt x="408" y="110"/>
                  <a:pt x="408" y="110"/>
                </a:cubicBezTo>
                <a:cubicBezTo>
                  <a:pt x="410" y="112"/>
                  <a:pt x="410" y="112"/>
                  <a:pt x="410" y="112"/>
                </a:cubicBezTo>
                <a:cubicBezTo>
                  <a:pt x="416" y="112"/>
                  <a:pt x="416" y="112"/>
                  <a:pt x="416" y="112"/>
                </a:cubicBezTo>
                <a:cubicBezTo>
                  <a:pt x="417" y="112"/>
                  <a:pt x="417" y="112"/>
                  <a:pt x="417" y="112"/>
                </a:cubicBezTo>
                <a:cubicBezTo>
                  <a:pt x="417" y="112"/>
                  <a:pt x="417" y="112"/>
                  <a:pt x="417" y="112"/>
                </a:cubicBezTo>
                <a:cubicBezTo>
                  <a:pt x="419" y="112"/>
                  <a:pt x="419" y="112"/>
                  <a:pt x="419" y="112"/>
                </a:cubicBezTo>
                <a:cubicBezTo>
                  <a:pt x="421" y="112"/>
                  <a:pt x="421" y="112"/>
                  <a:pt x="421" y="112"/>
                </a:cubicBezTo>
                <a:cubicBezTo>
                  <a:pt x="425" y="112"/>
                  <a:pt x="425" y="112"/>
                  <a:pt x="425" y="112"/>
                </a:cubicBezTo>
                <a:cubicBezTo>
                  <a:pt x="427" y="110"/>
                  <a:pt x="427" y="110"/>
                  <a:pt x="427" y="110"/>
                </a:cubicBezTo>
                <a:cubicBezTo>
                  <a:pt x="428" y="111"/>
                  <a:pt x="428" y="111"/>
                  <a:pt x="428" y="111"/>
                </a:cubicBezTo>
                <a:cubicBezTo>
                  <a:pt x="430" y="110"/>
                  <a:pt x="430" y="110"/>
                  <a:pt x="430" y="110"/>
                </a:cubicBezTo>
                <a:cubicBezTo>
                  <a:pt x="430" y="109"/>
                  <a:pt x="430" y="109"/>
                  <a:pt x="430" y="109"/>
                </a:cubicBezTo>
                <a:cubicBezTo>
                  <a:pt x="430" y="108"/>
                  <a:pt x="430" y="108"/>
                  <a:pt x="430" y="108"/>
                </a:cubicBezTo>
                <a:cubicBezTo>
                  <a:pt x="431" y="108"/>
                  <a:pt x="431" y="108"/>
                  <a:pt x="431" y="108"/>
                </a:cubicBezTo>
                <a:cubicBezTo>
                  <a:pt x="432" y="108"/>
                  <a:pt x="432" y="108"/>
                  <a:pt x="432" y="108"/>
                </a:cubicBezTo>
                <a:cubicBezTo>
                  <a:pt x="434" y="108"/>
                  <a:pt x="434" y="108"/>
                  <a:pt x="434" y="108"/>
                </a:cubicBezTo>
                <a:cubicBezTo>
                  <a:pt x="434" y="109"/>
                  <a:pt x="434" y="109"/>
                  <a:pt x="434" y="109"/>
                </a:cubicBezTo>
                <a:cubicBezTo>
                  <a:pt x="435" y="109"/>
                  <a:pt x="435" y="109"/>
                  <a:pt x="435" y="109"/>
                </a:cubicBezTo>
                <a:cubicBezTo>
                  <a:pt x="436" y="108"/>
                  <a:pt x="436" y="108"/>
                  <a:pt x="436" y="108"/>
                </a:cubicBezTo>
                <a:cubicBezTo>
                  <a:pt x="435" y="107"/>
                  <a:pt x="435" y="107"/>
                  <a:pt x="435" y="107"/>
                </a:cubicBezTo>
                <a:cubicBezTo>
                  <a:pt x="434" y="106"/>
                  <a:pt x="434" y="106"/>
                  <a:pt x="434" y="106"/>
                </a:cubicBezTo>
                <a:cubicBezTo>
                  <a:pt x="434" y="105"/>
                  <a:pt x="434" y="105"/>
                  <a:pt x="434" y="105"/>
                </a:cubicBezTo>
                <a:cubicBezTo>
                  <a:pt x="434" y="104"/>
                  <a:pt x="434" y="104"/>
                  <a:pt x="434" y="104"/>
                </a:cubicBezTo>
                <a:cubicBezTo>
                  <a:pt x="432" y="103"/>
                  <a:pt x="432" y="103"/>
                  <a:pt x="432" y="103"/>
                </a:cubicBezTo>
                <a:cubicBezTo>
                  <a:pt x="432" y="102"/>
                  <a:pt x="432" y="102"/>
                  <a:pt x="432" y="102"/>
                </a:cubicBezTo>
                <a:cubicBezTo>
                  <a:pt x="431" y="102"/>
                  <a:pt x="431" y="102"/>
                  <a:pt x="431" y="102"/>
                </a:cubicBezTo>
                <a:cubicBezTo>
                  <a:pt x="431" y="100"/>
                  <a:pt x="431" y="100"/>
                  <a:pt x="431" y="100"/>
                </a:cubicBezTo>
                <a:cubicBezTo>
                  <a:pt x="430" y="99"/>
                  <a:pt x="430" y="99"/>
                  <a:pt x="430" y="99"/>
                </a:cubicBezTo>
                <a:cubicBezTo>
                  <a:pt x="430" y="98"/>
                  <a:pt x="430" y="98"/>
                  <a:pt x="430" y="98"/>
                </a:cubicBezTo>
                <a:cubicBezTo>
                  <a:pt x="431" y="97"/>
                  <a:pt x="431" y="97"/>
                  <a:pt x="431" y="97"/>
                </a:cubicBezTo>
                <a:cubicBezTo>
                  <a:pt x="431" y="97"/>
                  <a:pt x="431" y="97"/>
                  <a:pt x="431" y="97"/>
                </a:cubicBezTo>
                <a:cubicBezTo>
                  <a:pt x="432" y="98"/>
                  <a:pt x="432" y="98"/>
                  <a:pt x="432" y="98"/>
                </a:cubicBezTo>
                <a:cubicBezTo>
                  <a:pt x="433" y="97"/>
                  <a:pt x="433" y="97"/>
                  <a:pt x="433" y="97"/>
                </a:cubicBezTo>
                <a:cubicBezTo>
                  <a:pt x="433" y="96"/>
                  <a:pt x="433" y="96"/>
                  <a:pt x="433" y="96"/>
                </a:cubicBezTo>
                <a:cubicBezTo>
                  <a:pt x="432" y="95"/>
                  <a:pt x="432" y="95"/>
                  <a:pt x="432" y="95"/>
                </a:cubicBezTo>
                <a:cubicBezTo>
                  <a:pt x="433" y="95"/>
                  <a:pt x="433" y="95"/>
                  <a:pt x="433" y="95"/>
                </a:cubicBezTo>
                <a:cubicBezTo>
                  <a:pt x="435" y="96"/>
                  <a:pt x="435" y="96"/>
                  <a:pt x="435" y="96"/>
                </a:cubicBezTo>
                <a:cubicBezTo>
                  <a:pt x="436" y="95"/>
                  <a:pt x="436" y="95"/>
                  <a:pt x="436" y="95"/>
                </a:cubicBezTo>
                <a:cubicBezTo>
                  <a:pt x="436" y="94"/>
                  <a:pt x="436" y="94"/>
                  <a:pt x="436" y="94"/>
                </a:cubicBezTo>
                <a:cubicBezTo>
                  <a:pt x="436" y="95"/>
                  <a:pt x="436" y="95"/>
                  <a:pt x="436" y="95"/>
                </a:cubicBezTo>
                <a:cubicBezTo>
                  <a:pt x="438" y="95"/>
                  <a:pt x="438" y="95"/>
                  <a:pt x="438" y="95"/>
                </a:cubicBezTo>
                <a:cubicBezTo>
                  <a:pt x="439" y="95"/>
                  <a:pt x="439" y="95"/>
                  <a:pt x="439" y="95"/>
                </a:cubicBezTo>
                <a:cubicBezTo>
                  <a:pt x="439" y="94"/>
                  <a:pt x="439" y="94"/>
                  <a:pt x="439" y="94"/>
                </a:cubicBezTo>
                <a:cubicBezTo>
                  <a:pt x="440" y="95"/>
                  <a:pt x="440" y="95"/>
                  <a:pt x="440" y="95"/>
                </a:cubicBezTo>
                <a:cubicBezTo>
                  <a:pt x="441" y="96"/>
                  <a:pt x="441" y="96"/>
                  <a:pt x="441" y="96"/>
                </a:cubicBezTo>
                <a:cubicBezTo>
                  <a:pt x="442" y="97"/>
                  <a:pt x="442" y="97"/>
                  <a:pt x="442" y="97"/>
                </a:cubicBezTo>
                <a:cubicBezTo>
                  <a:pt x="443" y="96"/>
                  <a:pt x="443" y="96"/>
                  <a:pt x="443" y="96"/>
                </a:cubicBezTo>
                <a:cubicBezTo>
                  <a:pt x="443" y="95"/>
                  <a:pt x="443" y="95"/>
                  <a:pt x="443" y="95"/>
                </a:cubicBezTo>
                <a:cubicBezTo>
                  <a:pt x="444" y="95"/>
                  <a:pt x="444" y="95"/>
                  <a:pt x="444" y="95"/>
                </a:cubicBezTo>
                <a:cubicBezTo>
                  <a:pt x="445" y="96"/>
                  <a:pt x="445" y="96"/>
                  <a:pt x="445" y="96"/>
                </a:cubicBezTo>
                <a:cubicBezTo>
                  <a:pt x="444" y="97"/>
                  <a:pt x="444" y="97"/>
                  <a:pt x="444" y="97"/>
                </a:cubicBezTo>
                <a:cubicBezTo>
                  <a:pt x="443" y="98"/>
                  <a:pt x="443" y="98"/>
                  <a:pt x="443" y="98"/>
                </a:cubicBezTo>
                <a:cubicBezTo>
                  <a:pt x="444" y="98"/>
                  <a:pt x="444" y="98"/>
                  <a:pt x="444" y="98"/>
                </a:cubicBezTo>
                <a:cubicBezTo>
                  <a:pt x="445" y="98"/>
                  <a:pt x="445" y="98"/>
                  <a:pt x="445" y="98"/>
                </a:cubicBezTo>
                <a:cubicBezTo>
                  <a:pt x="446" y="98"/>
                  <a:pt x="446" y="98"/>
                  <a:pt x="446" y="98"/>
                </a:cubicBezTo>
                <a:cubicBezTo>
                  <a:pt x="446" y="97"/>
                  <a:pt x="446" y="97"/>
                  <a:pt x="446" y="97"/>
                </a:cubicBezTo>
                <a:cubicBezTo>
                  <a:pt x="446" y="97"/>
                  <a:pt x="446" y="97"/>
                  <a:pt x="446" y="97"/>
                </a:cubicBezTo>
                <a:cubicBezTo>
                  <a:pt x="447" y="97"/>
                  <a:pt x="447" y="97"/>
                  <a:pt x="447" y="97"/>
                </a:cubicBezTo>
                <a:cubicBezTo>
                  <a:pt x="447" y="96"/>
                  <a:pt x="447" y="96"/>
                  <a:pt x="447" y="96"/>
                </a:cubicBezTo>
                <a:cubicBezTo>
                  <a:pt x="446" y="95"/>
                  <a:pt x="446" y="95"/>
                  <a:pt x="446" y="95"/>
                </a:cubicBezTo>
                <a:cubicBezTo>
                  <a:pt x="446" y="95"/>
                  <a:pt x="446" y="95"/>
                  <a:pt x="446" y="95"/>
                </a:cubicBezTo>
                <a:cubicBezTo>
                  <a:pt x="447" y="95"/>
                  <a:pt x="447" y="95"/>
                  <a:pt x="447" y="95"/>
                </a:cubicBezTo>
                <a:cubicBezTo>
                  <a:pt x="449" y="94"/>
                  <a:pt x="449" y="94"/>
                  <a:pt x="449" y="94"/>
                </a:cubicBezTo>
                <a:cubicBezTo>
                  <a:pt x="450" y="95"/>
                  <a:pt x="450" y="95"/>
                  <a:pt x="450" y="95"/>
                </a:cubicBezTo>
                <a:cubicBezTo>
                  <a:pt x="451" y="95"/>
                  <a:pt x="451" y="95"/>
                  <a:pt x="451" y="95"/>
                </a:cubicBezTo>
                <a:cubicBezTo>
                  <a:pt x="452" y="95"/>
                  <a:pt x="452" y="95"/>
                  <a:pt x="452" y="95"/>
                </a:cubicBezTo>
                <a:cubicBezTo>
                  <a:pt x="452" y="95"/>
                  <a:pt x="452" y="95"/>
                  <a:pt x="452" y="95"/>
                </a:cubicBezTo>
                <a:cubicBezTo>
                  <a:pt x="453" y="97"/>
                  <a:pt x="453" y="97"/>
                  <a:pt x="453" y="97"/>
                </a:cubicBezTo>
                <a:cubicBezTo>
                  <a:pt x="453" y="96"/>
                  <a:pt x="453" y="96"/>
                  <a:pt x="453" y="96"/>
                </a:cubicBezTo>
                <a:cubicBezTo>
                  <a:pt x="454" y="96"/>
                  <a:pt x="454" y="96"/>
                  <a:pt x="454" y="96"/>
                </a:cubicBezTo>
                <a:cubicBezTo>
                  <a:pt x="455" y="95"/>
                  <a:pt x="455" y="95"/>
                  <a:pt x="455" y="95"/>
                </a:cubicBezTo>
                <a:cubicBezTo>
                  <a:pt x="455" y="97"/>
                  <a:pt x="455" y="97"/>
                  <a:pt x="455" y="97"/>
                </a:cubicBezTo>
                <a:cubicBezTo>
                  <a:pt x="456" y="97"/>
                  <a:pt x="456" y="97"/>
                  <a:pt x="456" y="97"/>
                </a:cubicBezTo>
                <a:cubicBezTo>
                  <a:pt x="457" y="96"/>
                  <a:pt x="457" y="96"/>
                  <a:pt x="457" y="96"/>
                </a:cubicBezTo>
                <a:cubicBezTo>
                  <a:pt x="458" y="97"/>
                  <a:pt x="458" y="97"/>
                  <a:pt x="458" y="97"/>
                </a:cubicBezTo>
                <a:cubicBezTo>
                  <a:pt x="459" y="99"/>
                  <a:pt x="459" y="99"/>
                  <a:pt x="459" y="99"/>
                </a:cubicBezTo>
                <a:cubicBezTo>
                  <a:pt x="459" y="98"/>
                  <a:pt x="459" y="98"/>
                  <a:pt x="459" y="98"/>
                </a:cubicBezTo>
                <a:cubicBezTo>
                  <a:pt x="460" y="97"/>
                  <a:pt x="460" y="97"/>
                  <a:pt x="460" y="97"/>
                </a:cubicBezTo>
                <a:cubicBezTo>
                  <a:pt x="461" y="98"/>
                  <a:pt x="461" y="98"/>
                  <a:pt x="461" y="98"/>
                </a:cubicBezTo>
                <a:cubicBezTo>
                  <a:pt x="460" y="100"/>
                  <a:pt x="460" y="100"/>
                  <a:pt x="460" y="100"/>
                </a:cubicBezTo>
                <a:cubicBezTo>
                  <a:pt x="461" y="100"/>
                  <a:pt x="461" y="100"/>
                  <a:pt x="461" y="100"/>
                </a:cubicBezTo>
                <a:cubicBezTo>
                  <a:pt x="461" y="101"/>
                  <a:pt x="461" y="101"/>
                  <a:pt x="461" y="101"/>
                </a:cubicBezTo>
                <a:cubicBezTo>
                  <a:pt x="463" y="101"/>
                  <a:pt x="463" y="101"/>
                  <a:pt x="463" y="101"/>
                </a:cubicBezTo>
                <a:cubicBezTo>
                  <a:pt x="463" y="102"/>
                  <a:pt x="463" y="102"/>
                  <a:pt x="463" y="102"/>
                </a:cubicBezTo>
                <a:cubicBezTo>
                  <a:pt x="464" y="102"/>
                  <a:pt x="464" y="102"/>
                  <a:pt x="464" y="102"/>
                </a:cubicBezTo>
                <a:cubicBezTo>
                  <a:pt x="464" y="101"/>
                  <a:pt x="464" y="101"/>
                  <a:pt x="464" y="101"/>
                </a:cubicBezTo>
                <a:cubicBezTo>
                  <a:pt x="464" y="103"/>
                  <a:pt x="464" y="103"/>
                  <a:pt x="464" y="103"/>
                </a:cubicBezTo>
                <a:cubicBezTo>
                  <a:pt x="463" y="104"/>
                  <a:pt x="463" y="104"/>
                  <a:pt x="463" y="104"/>
                </a:cubicBezTo>
                <a:cubicBezTo>
                  <a:pt x="464" y="105"/>
                  <a:pt x="464" y="105"/>
                  <a:pt x="464" y="105"/>
                </a:cubicBezTo>
                <a:cubicBezTo>
                  <a:pt x="465" y="104"/>
                  <a:pt x="465" y="104"/>
                  <a:pt x="465" y="104"/>
                </a:cubicBezTo>
                <a:cubicBezTo>
                  <a:pt x="466" y="104"/>
                  <a:pt x="466" y="104"/>
                  <a:pt x="466" y="104"/>
                </a:cubicBezTo>
                <a:cubicBezTo>
                  <a:pt x="467" y="105"/>
                  <a:pt x="467" y="105"/>
                  <a:pt x="467" y="105"/>
                </a:cubicBezTo>
                <a:cubicBezTo>
                  <a:pt x="464" y="107"/>
                  <a:pt x="464" y="107"/>
                  <a:pt x="464" y="107"/>
                </a:cubicBezTo>
                <a:cubicBezTo>
                  <a:pt x="464" y="108"/>
                  <a:pt x="464" y="108"/>
                  <a:pt x="464" y="108"/>
                </a:cubicBezTo>
                <a:cubicBezTo>
                  <a:pt x="466" y="109"/>
                  <a:pt x="466" y="109"/>
                  <a:pt x="466" y="109"/>
                </a:cubicBezTo>
                <a:cubicBezTo>
                  <a:pt x="467" y="108"/>
                  <a:pt x="467" y="108"/>
                  <a:pt x="467" y="108"/>
                </a:cubicBezTo>
                <a:cubicBezTo>
                  <a:pt x="468" y="107"/>
                  <a:pt x="468" y="107"/>
                  <a:pt x="468" y="107"/>
                </a:cubicBezTo>
                <a:cubicBezTo>
                  <a:pt x="469" y="108"/>
                  <a:pt x="469" y="108"/>
                  <a:pt x="469" y="108"/>
                </a:cubicBezTo>
                <a:cubicBezTo>
                  <a:pt x="469" y="109"/>
                  <a:pt x="469" y="109"/>
                  <a:pt x="469" y="109"/>
                </a:cubicBezTo>
                <a:cubicBezTo>
                  <a:pt x="470" y="108"/>
                  <a:pt x="470" y="108"/>
                  <a:pt x="470" y="108"/>
                </a:cubicBezTo>
                <a:cubicBezTo>
                  <a:pt x="471" y="110"/>
                  <a:pt x="471" y="110"/>
                  <a:pt x="471" y="110"/>
                </a:cubicBezTo>
                <a:cubicBezTo>
                  <a:pt x="471" y="112"/>
                  <a:pt x="471" y="112"/>
                  <a:pt x="471" y="112"/>
                </a:cubicBezTo>
                <a:cubicBezTo>
                  <a:pt x="472" y="112"/>
                  <a:pt x="472" y="112"/>
                  <a:pt x="472" y="112"/>
                </a:cubicBezTo>
                <a:cubicBezTo>
                  <a:pt x="472" y="113"/>
                  <a:pt x="472" y="113"/>
                  <a:pt x="472" y="113"/>
                </a:cubicBezTo>
                <a:cubicBezTo>
                  <a:pt x="473" y="112"/>
                  <a:pt x="473" y="112"/>
                  <a:pt x="473" y="112"/>
                </a:cubicBezTo>
                <a:cubicBezTo>
                  <a:pt x="473" y="113"/>
                  <a:pt x="473" y="113"/>
                  <a:pt x="473" y="113"/>
                </a:cubicBezTo>
                <a:cubicBezTo>
                  <a:pt x="472" y="115"/>
                  <a:pt x="472" y="115"/>
                  <a:pt x="472" y="115"/>
                </a:cubicBezTo>
                <a:cubicBezTo>
                  <a:pt x="471" y="116"/>
                  <a:pt x="471" y="116"/>
                  <a:pt x="471" y="116"/>
                </a:cubicBezTo>
                <a:cubicBezTo>
                  <a:pt x="470" y="115"/>
                  <a:pt x="470" y="115"/>
                  <a:pt x="470" y="115"/>
                </a:cubicBezTo>
                <a:cubicBezTo>
                  <a:pt x="467" y="114"/>
                  <a:pt x="467" y="114"/>
                  <a:pt x="467" y="114"/>
                </a:cubicBezTo>
                <a:cubicBezTo>
                  <a:pt x="464" y="114"/>
                  <a:pt x="464" y="114"/>
                  <a:pt x="464" y="114"/>
                </a:cubicBezTo>
                <a:cubicBezTo>
                  <a:pt x="466" y="115"/>
                  <a:pt x="466" y="115"/>
                  <a:pt x="466" y="115"/>
                </a:cubicBezTo>
                <a:cubicBezTo>
                  <a:pt x="466" y="116"/>
                  <a:pt x="466" y="116"/>
                  <a:pt x="466" y="116"/>
                </a:cubicBezTo>
                <a:cubicBezTo>
                  <a:pt x="468" y="116"/>
                  <a:pt x="468" y="116"/>
                  <a:pt x="468" y="116"/>
                </a:cubicBezTo>
                <a:cubicBezTo>
                  <a:pt x="469" y="117"/>
                  <a:pt x="469" y="117"/>
                  <a:pt x="469" y="117"/>
                </a:cubicBezTo>
                <a:cubicBezTo>
                  <a:pt x="471" y="119"/>
                  <a:pt x="471" y="119"/>
                  <a:pt x="471" y="119"/>
                </a:cubicBezTo>
                <a:cubicBezTo>
                  <a:pt x="474" y="120"/>
                  <a:pt x="474" y="120"/>
                  <a:pt x="474" y="120"/>
                </a:cubicBezTo>
                <a:cubicBezTo>
                  <a:pt x="475" y="119"/>
                  <a:pt x="475" y="119"/>
                  <a:pt x="475" y="119"/>
                </a:cubicBezTo>
                <a:cubicBezTo>
                  <a:pt x="475" y="117"/>
                  <a:pt x="475" y="117"/>
                  <a:pt x="475" y="117"/>
                </a:cubicBezTo>
                <a:cubicBezTo>
                  <a:pt x="474" y="116"/>
                  <a:pt x="474" y="116"/>
                  <a:pt x="474" y="116"/>
                </a:cubicBezTo>
                <a:cubicBezTo>
                  <a:pt x="474" y="116"/>
                  <a:pt x="474" y="116"/>
                  <a:pt x="474" y="116"/>
                </a:cubicBezTo>
                <a:cubicBezTo>
                  <a:pt x="474" y="116"/>
                  <a:pt x="474" y="116"/>
                  <a:pt x="474" y="116"/>
                </a:cubicBezTo>
                <a:cubicBezTo>
                  <a:pt x="475" y="117"/>
                  <a:pt x="475" y="117"/>
                  <a:pt x="475" y="117"/>
                </a:cubicBezTo>
                <a:cubicBezTo>
                  <a:pt x="477" y="118"/>
                  <a:pt x="477" y="118"/>
                  <a:pt x="477" y="118"/>
                </a:cubicBezTo>
                <a:cubicBezTo>
                  <a:pt x="478" y="118"/>
                  <a:pt x="478" y="118"/>
                  <a:pt x="478" y="118"/>
                </a:cubicBezTo>
                <a:cubicBezTo>
                  <a:pt x="477" y="118"/>
                  <a:pt x="477" y="118"/>
                  <a:pt x="477" y="118"/>
                </a:cubicBezTo>
                <a:cubicBezTo>
                  <a:pt x="474" y="120"/>
                  <a:pt x="474" y="120"/>
                  <a:pt x="474" y="120"/>
                </a:cubicBezTo>
                <a:cubicBezTo>
                  <a:pt x="475" y="121"/>
                  <a:pt x="475" y="121"/>
                  <a:pt x="475" y="121"/>
                </a:cubicBezTo>
                <a:cubicBezTo>
                  <a:pt x="476" y="121"/>
                  <a:pt x="476" y="121"/>
                  <a:pt x="476" y="121"/>
                </a:cubicBezTo>
                <a:cubicBezTo>
                  <a:pt x="477" y="121"/>
                  <a:pt x="477" y="121"/>
                  <a:pt x="477" y="121"/>
                </a:cubicBezTo>
                <a:cubicBezTo>
                  <a:pt x="477" y="121"/>
                  <a:pt x="477" y="121"/>
                  <a:pt x="477" y="121"/>
                </a:cubicBezTo>
                <a:cubicBezTo>
                  <a:pt x="482" y="125"/>
                  <a:pt x="482" y="125"/>
                  <a:pt x="482" y="125"/>
                </a:cubicBezTo>
                <a:cubicBezTo>
                  <a:pt x="483" y="125"/>
                  <a:pt x="483" y="125"/>
                  <a:pt x="483" y="125"/>
                </a:cubicBezTo>
                <a:cubicBezTo>
                  <a:pt x="484" y="127"/>
                  <a:pt x="484" y="127"/>
                  <a:pt x="484" y="127"/>
                </a:cubicBezTo>
                <a:cubicBezTo>
                  <a:pt x="487" y="127"/>
                  <a:pt x="487" y="127"/>
                  <a:pt x="487" y="127"/>
                </a:cubicBezTo>
                <a:cubicBezTo>
                  <a:pt x="489" y="129"/>
                  <a:pt x="489" y="129"/>
                  <a:pt x="489" y="129"/>
                </a:cubicBezTo>
                <a:cubicBezTo>
                  <a:pt x="490" y="129"/>
                  <a:pt x="490" y="129"/>
                  <a:pt x="490" y="129"/>
                </a:cubicBezTo>
                <a:cubicBezTo>
                  <a:pt x="491" y="129"/>
                  <a:pt x="491" y="129"/>
                  <a:pt x="491" y="129"/>
                </a:cubicBezTo>
                <a:cubicBezTo>
                  <a:pt x="490" y="128"/>
                  <a:pt x="490" y="128"/>
                  <a:pt x="490" y="128"/>
                </a:cubicBezTo>
                <a:cubicBezTo>
                  <a:pt x="491" y="127"/>
                  <a:pt x="491" y="127"/>
                  <a:pt x="491" y="127"/>
                </a:cubicBezTo>
                <a:cubicBezTo>
                  <a:pt x="492" y="128"/>
                  <a:pt x="492" y="128"/>
                  <a:pt x="492" y="128"/>
                </a:cubicBezTo>
                <a:cubicBezTo>
                  <a:pt x="492" y="129"/>
                  <a:pt x="492" y="129"/>
                  <a:pt x="492" y="129"/>
                </a:cubicBezTo>
                <a:cubicBezTo>
                  <a:pt x="493" y="131"/>
                  <a:pt x="493" y="131"/>
                  <a:pt x="493" y="131"/>
                </a:cubicBezTo>
                <a:cubicBezTo>
                  <a:pt x="494" y="131"/>
                  <a:pt x="494" y="131"/>
                  <a:pt x="494" y="131"/>
                </a:cubicBezTo>
                <a:cubicBezTo>
                  <a:pt x="494" y="129"/>
                  <a:pt x="494" y="129"/>
                  <a:pt x="494" y="129"/>
                </a:cubicBezTo>
                <a:cubicBezTo>
                  <a:pt x="493" y="122"/>
                  <a:pt x="493" y="122"/>
                  <a:pt x="493" y="122"/>
                </a:cubicBezTo>
                <a:cubicBezTo>
                  <a:pt x="492" y="119"/>
                  <a:pt x="492" y="119"/>
                  <a:pt x="492" y="119"/>
                </a:cubicBezTo>
                <a:cubicBezTo>
                  <a:pt x="490" y="116"/>
                  <a:pt x="490" y="116"/>
                  <a:pt x="490" y="116"/>
                </a:cubicBezTo>
                <a:cubicBezTo>
                  <a:pt x="490" y="112"/>
                  <a:pt x="490" y="112"/>
                  <a:pt x="490" y="112"/>
                </a:cubicBezTo>
                <a:cubicBezTo>
                  <a:pt x="489" y="110"/>
                  <a:pt x="489" y="110"/>
                  <a:pt x="489" y="110"/>
                </a:cubicBezTo>
                <a:cubicBezTo>
                  <a:pt x="488" y="109"/>
                  <a:pt x="488" y="109"/>
                  <a:pt x="488" y="109"/>
                </a:cubicBezTo>
                <a:cubicBezTo>
                  <a:pt x="490" y="110"/>
                  <a:pt x="490" y="110"/>
                  <a:pt x="490" y="110"/>
                </a:cubicBezTo>
                <a:cubicBezTo>
                  <a:pt x="490" y="111"/>
                  <a:pt x="490" y="111"/>
                  <a:pt x="490" y="111"/>
                </a:cubicBezTo>
                <a:cubicBezTo>
                  <a:pt x="492" y="113"/>
                  <a:pt x="492" y="113"/>
                  <a:pt x="492" y="113"/>
                </a:cubicBezTo>
                <a:cubicBezTo>
                  <a:pt x="493" y="113"/>
                  <a:pt x="493" y="113"/>
                  <a:pt x="493" y="113"/>
                </a:cubicBezTo>
                <a:cubicBezTo>
                  <a:pt x="495" y="115"/>
                  <a:pt x="495" y="115"/>
                  <a:pt x="495" y="115"/>
                </a:cubicBezTo>
                <a:cubicBezTo>
                  <a:pt x="497" y="115"/>
                  <a:pt x="497" y="115"/>
                  <a:pt x="497" y="115"/>
                </a:cubicBezTo>
                <a:cubicBezTo>
                  <a:pt x="502" y="115"/>
                  <a:pt x="502" y="115"/>
                  <a:pt x="502" y="115"/>
                </a:cubicBezTo>
                <a:cubicBezTo>
                  <a:pt x="503" y="115"/>
                  <a:pt x="503" y="115"/>
                  <a:pt x="503" y="115"/>
                </a:cubicBezTo>
                <a:cubicBezTo>
                  <a:pt x="504" y="114"/>
                  <a:pt x="504" y="114"/>
                  <a:pt x="504" y="114"/>
                </a:cubicBezTo>
                <a:cubicBezTo>
                  <a:pt x="505" y="115"/>
                  <a:pt x="505" y="115"/>
                  <a:pt x="505" y="115"/>
                </a:cubicBezTo>
                <a:cubicBezTo>
                  <a:pt x="505" y="115"/>
                  <a:pt x="505" y="115"/>
                  <a:pt x="505" y="115"/>
                </a:cubicBezTo>
                <a:cubicBezTo>
                  <a:pt x="504" y="114"/>
                  <a:pt x="504" y="114"/>
                  <a:pt x="504" y="114"/>
                </a:cubicBezTo>
                <a:cubicBezTo>
                  <a:pt x="505" y="113"/>
                  <a:pt x="505" y="113"/>
                  <a:pt x="505" y="113"/>
                </a:cubicBezTo>
                <a:cubicBezTo>
                  <a:pt x="504" y="112"/>
                  <a:pt x="504" y="112"/>
                  <a:pt x="504" y="112"/>
                </a:cubicBezTo>
                <a:cubicBezTo>
                  <a:pt x="504" y="111"/>
                  <a:pt x="504" y="111"/>
                  <a:pt x="504" y="111"/>
                </a:cubicBezTo>
                <a:cubicBezTo>
                  <a:pt x="504" y="110"/>
                  <a:pt x="504" y="110"/>
                  <a:pt x="504" y="110"/>
                </a:cubicBezTo>
                <a:cubicBezTo>
                  <a:pt x="509" y="108"/>
                  <a:pt x="509" y="108"/>
                  <a:pt x="509" y="108"/>
                </a:cubicBezTo>
                <a:cubicBezTo>
                  <a:pt x="509" y="109"/>
                  <a:pt x="509" y="109"/>
                  <a:pt x="509" y="109"/>
                </a:cubicBezTo>
                <a:cubicBezTo>
                  <a:pt x="510" y="109"/>
                  <a:pt x="510" y="109"/>
                  <a:pt x="510" y="109"/>
                </a:cubicBezTo>
                <a:cubicBezTo>
                  <a:pt x="512" y="109"/>
                  <a:pt x="512" y="109"/>
                  <a:pt x="512" y="109"/>
                </a:cubicBezTo>
                <a:cubicBezTo>
                  <a:pt x="514" y="109"/>
                  <a:pt x="514" y="109"/>
                  <a:pt x="514" y="109"/>
                </a:cubicBezTo>
                <a:cubicBezTo>
                  <a:pt x="515" y="111"/>
                  <a:pt x="515" y="111"/>
                  <a:pt x="515" y="111"/>
                </a:cubicBezTo>
                <a:cubicBezTo>
                  <a:pt x="517" y="111"/>
                  <a:pt x="517" y="111"/>
                  <a:pt x="517" y="111"/>
                </a:cubicBezTo>
                <a:cubicBezTo>
                  <a:pt x="517" y="113"/>
                  <a:pt x="517" y="113"/>
                  <a:pt x="517" y="113"/>
                </a:cubicBezTo>
                <a:cubicBezTo>
                  <a:pt x="520" y="113"/>
                  <a:pt x="520" y="113"/>
                  <a:pt x="520" y="113"/>
                </a:cubicBezTo>
                <a:cubicBezTo>
                  <a:pt x="520" y="114"/>
                  <a:pt x="520" y="114"/>
                  <a:pt x="520" y="114"/>
                </a:cubicBezTo>
                <a:cubicBezTo>
                  <a:pt x="523" y="114"/>
                  <a:pt x="523" y="114"/>
                  <a:pt x="523" y="114"/>
                </a:cubicBezTo>
                <a:cubicBezTo>
                  <a:pt x="521" y="113"/>
                  <a:pt x="521" y="113"/>
                  <a:pt x="521" y="113"/>
                </a:cubicBezTo>
                <a:cubicBezTo>
                  <a:pt x="521" y="112"/>
                  <a:pt x="521" y="112"/>
                  <a:pt x="521" y="112"/>
                </a:cubicBezTo>
                <a:cubicBezTo>
                  <a:pt x="523" y="113"/>
                  <a:pt x="523" y="113"/>
                  <a:pt x="523" y="113"/>
                </a:cubicBezTo>
                <a:cubicBezTo>
                  <a:pt x="524" y="112"/>
                  <a:pt x="524" y="112"/>
                  <a:pt x="524" y="112"/>
                </a:cubicBezTo>
                <a:cubicBezTo>
                  <a:pt x="523" y="111"/>
                  <a:pt x="523" y="111"/>
                  <a:pt x="523" y="111"/>
                </a:cubicBezTo>
                <a:cubicBezTo>
                  <a:pt x="524" y="110"/>
                  <a:pt x="524" y="110"/>
                  <a:pt x="524" y="110"/>
                </a:cubicBezTo>
                <a:cubicBezTo>
                  <a:pt x="523" y="109"/>
                  <a:pt x="523" y="109"/>
                  <a:pt x="523" y="109"/>
                </a:cubicBezTo>
                <a:cubicBezTo>
                  <a:pt x="521" y="110"/>
                  <a:pt x="521" y="110"/>
                  <a:pt x="521" y="110"/>
                </a:cubicBezTo>
                <a:cubicBezTo>
                  <a:pt x="519" y="110"/>
                  <a:pt x="519" y="110"/>
                  <a:pt x="519" y="110"/>
                </a:cubicBezTo>
                <a:cubicBezTo>
                  <a:pt x="519" y="108"/>
                  <a:pt x="519" y="108"/>
                  <a:pt x="519" y="108"/>
                </a:cubicBezTo>
                <a:cubicBezTo>
                  <a:pt x="519" y="106"/>
                  <a:pt x="519" y="106"/>
                  <a:pt x="519" y="106"/>
                </a:cubicBezTo>
                <a:cubicBezTo>
                  <a:pt x="519" y="106"/>
                  <a:pt x="519" y="106"/>
                  <a:pt x="519" y="106"/>
                </a:cubicBezTo>
                <a:cubicBezTo>
                  <a:pt x="520" y="106"/>
                  <a:pt x="520" y="106"/>
                  <a:pt x="520" y="106"/>
                </a:cubicBezTo>
                <a:cubicBezTo>
                  <a:pt x="521" y="106"/>
                  <a:pt x="521" y="106"/>
                  <a:pt x="521" y="106"/>
                </a:cubicBezTo>
                <a:cubicBezTo>
                  <a:pt x="521" y="105"/>
                  <a:pt x="521" y="105"/>
                  <a:pt x="521" y="105"/>
                </a:cubicBezTo>
                <a:cubicBezTo>
                  <a:pt x="522" y="104"/>
                  <a:pt x="522" y="104"/>
                  <a:pt x="522" y="104"/>
                </a:cubicBezTo>
                <a:cubicBezTo>
                  <a:pt x="524" y="106"/>
                  <a:pt x="524" y="106"/>
                  <a:pt x="524" y="106"/>
                </a:cubicBezTo>
                <a:cubicBezTo>
                  <a:pt x="524" y="107"/>
                  <a:pt x="524" y="107"/>
                  <a:pt x="524" y="107"/>
                </a:cubicBezTo>
                <a:cubicBezTo>
                  <a:pt x="525" y="107"/>
                  <a:pt x="525" y="107"/>
                  <a:pt x="525" y="107"/>
                </a:cubicBezTo>
                <a:cubicBezTo>
                  <a:pt x="526" y="107"/>
                  <a:pt x="526" y="107"/>
                  <a:pt x="526" y="107"/>
                </a:cubicBezTo>
                <a:cubicBezTo>
                  <a:pt x="526" y="107"/>
                  <a:pt x="526" y="107"/>
                  <a:pt x="526" y="107"/>
                </a:cubicBezTo>
                <a:cubicBezTo>
                  <a:pt x="526" y="105"/>
                  <a:pt x="526" y="105"/>
                  <a:pt x="526" y="105"/>
                </a:cubicBezTo>
                <a:cubicBezTo>
                  <a:pt x="527" y="105"/>
                  <a:pt x="527" y="105"/>
                  <a:pt x="527" y="105"/>
                </a:cubicBezTo>
                <a:cubicBezTo>
                  <a:pt x="528" y="106"/>
                  <a:pt x="528" y="106"/>
                  <a:pt x="528" y="106"/>
                </a:cubicBezTo>
                <a:cubicBezTo>
                  <a:pt x="529" y="104"/>
                  <a:pt x="529" y="104"/>
                  <a:pt x="529" y="104"/>
                </a:cubicBezTo>
                <a:cubicBezTo>
                  <a:pt x="527" y="102"/>
                  <a:pt x="527" y="102"/>
                  <a:pt x="527" y="102"/>
                </a:cubicBezTo>
                <a:cubicBezTo>
                  <a:pt x="525" y="102"/>
                  <a:pt x="525" y="102"/>
                  <a:pt x="525" y="102"/>
                </a:cubicBezTo>
                <a:cubicBezTo>
                  <a:pt x="524" y="100"/>
                  <a:pt x="524" y="100"/>
                  <a:pt x="524" y="100"/>
                </a:cubicBezTo>
                <a:cubicBezTo>
                  <a:pt x="524" y="99"/>
                  <a:pt x="524" y="99"/>
                  <a:pt x="524" y="99"/>
                </a:cubicBezTo>
                <a:cubicBezTo>
                  <a:pt x="523" y="98"/>
                  <a:pt x="523" y="98"/>
                  <a:pt x="523" y="98"/>
                </a:cubicBezTo>
                <a:cubicBezTo>
                  <a:pt x="522" y="99"/>
                  <a:pt x="522" y="99"/>
                  <a:pt x="522" y="99"/>
                </a:cubicBezTo>
                <a:cubicBezTo>
                  <a:pt x="521" y="98"/>
                  <a:pt x="521" y="98"/>
                  <a:pt x="521" y="98"/>
                </a:cubicBezTo>
                <a:cubicBezTo>
                  <a:pt x="522" y="97"/>
                  <a:pt x="522" y="97"/>
                  <a:pt x="522" y="97"/>
                </a:cubicBezTo>
                <a:cubicBezTo>
                  <a:pt x="522" y="96"/>
                  <a:pt x="522" y="96"/>
                  <a:pt x="522" y="96"/>
                </a:cubicBezTo>
                <a:cubicBezTo>
                  <a:pt x="522" y="96"/>
                  <a:pt x="522" y="96"/>
                  <a:pt x="522" y="96"/>
                </a:cubicBezTo>
                <a:cubicBezTo>
                  <a:pt x="521" y="94"/>
                  <a:pt x="521" y="94"/>
                  <a:pt x="521" y="94"/>
                </a:cubicBezTo>
                <a:cubicBezTo>
                  <a:pt x="523" y="94"/>
                  <a:pt x="523" y="94"/>
                  <a:pt x="523" y="94"/>
                </a:cubicBezTo>
                <a:cubicBezTo>
                  <a:pt x="523" y="92"/>
                  <a:pt x="523" y="92"/>
                  <a:pt x="523" y="92"/>
                </a:cubicBezTo>
                <a:cubicBezTo>
                  <a:pt x="521" y="93"/>
                  <a:pt x="521" y="93"/>
                  <a:pt x="521" y="93"/>
                </a:cubicBezTo>
                <a:cubicBezTo>
                  <a:pt x="520" y="94"/>
                  <a:pt x="520" y="94"/>
                  <a:pt x="520" y="94"/>
                </a:cubicBezTo>
                <a:cubicBezTo>
                  <a:pt x="520" y="96"/>
                  <a:pt x="520" y="96"/>
                  <a:pt x="520" y="96"/>
                </a:cubicBezTo>
                <a:cubicBezTo>
                  <a:pt x="517" y="95"/>
                  <a:pt x="517" y="95"/>
                  <a:pt x="517" y="95"/>
                </a:cubicBezTo>
                <a:cubicBezTo>
                  <a:pt x="516" y="93"/>
                  <a:pt x="516" y="93"/>
                  <a:pt x="516" y="93"/>
                </a:cubicBezTo>
                <a:cubicBezTo>
                  <a:pt x="517" y="91"/>
                  <a:pt x="517" y="91"/>
                  <a:pt x="517" y="91"/>
                </a:cubicBezTo>
                <a:cubicBezTo>
                  <a:pt x="517" y="90"/>
                  <a:pt x="517" y="90"/>
                  <a:pt x="517" y="90"/>
                </a:cubicBezTo>
                <a:cubicBezTo>
                  <a:pt x="519" y="89"/>
                  <a:pt x="519" y="89"/>
                  <a:pt x="519" y="89"/>
                </a:cubicBezTo>
                <a:cubicBezTo>
                  <a:pt x="520" y="89"/>
                  <a:pt x="520" y="89"/>
                  <a:pt x="520" y="89"/>
                </a:cubicBezTo>
                <a:cubicBezTo>
                  <a:pt x="523" y="87"/>
                  <a:pt x="523" y="87"/>
                  <a:pt x="523" y="87"/>
                </a:cubicBezTo>
                <a:cubicBezTo>
                  <a:pt x="523" y="86"/>
                  <a:pt x="523" y="86"/>
                  <a:pt x="523" y="86"/>
                </a:cubicBezTo>
                <a:cubicBezTo>
                  <a:pt x="521" y="84"/>
                  <a:pt x="521" y="84"/>
                  <a:pt x="521" y="84"/>
                </a:cubicBezTo>
                <a:cubicBezTo>
                  <a:pt x="520" y="85"/>
                  <a:pt x="520" y="85"/>
                  <a:pt x="520" y="85"/>
                </a:cubicBezTo>
                <a:cubicBezTo>
                  <a:pt x="519" y="84"/>
                  <a:pt x="519" y="84"/>
                  <a:pt x="519" y="84"/>
                </a:cubicBezTo>
                <a:cubicBezTo>
                  <a:pt x="517" y="84"/>
                  <a:pt x="517" y="84"/>
                  <a:pt x="517" y="84"/>
                </a:cubicBezTo>
                <a:cubicBezTo>
                  <a:pt x="516" y="83"/>
                  <a:pt x="516" y="83"/>
                  <a:pt x="516" y="83"/>
                </a:cubicBezTo>
                <a:cubicBezTo>
                  <a:pt x="517" y="82"/>
                  <a:pt x="517" y="82"/>
                  <a:pt x="517" y="82"/>
                </a:cubicBezTo>
                <a:cubicBezTo>
                  <a:pt x="520" y="81"/>
                  <a:pt x="520" y="81"/>
                  <a:pt x="520" y="81"/>
                </a:cubicBezTo>
                <a:cubicBezTo>
                  <a:pt x="523" y="83"/>
                  <a:pt x="523" y="83"/>
                  <a:pt x="523" y="83"/>
                </a:cubicBezTo>
                <a:cubicBezTo>
                  <a:pt x="525" y="82"/>
                  <a:pt x="525" y="82"/>
                  <a:pt x="525" y="82"/>
                </a:cubicBezTo>
                <a:cubicBezTo>
                  <a:pt x="529" y="82"/>
                  <a:pt x="529" y="82"/>
                  <a:pt x="529" y="82"/>
                </a:cubicBezTo>
                <a:cubicBezTo>
                  <a:pt x="537" y="82"/>
                  <a:pt x="537" y="82"/>
                  <a:pt x="537" y="82"/>
                </a:cubicBezTo>
                <a:cubicBezTo>
                  <a:pt x="538" y="81"/>
                  <a:pt x="538" y="81"/>
                  <a:pt x="538" y="81"/>
                </a:cubicBezTo>
                <a:cubicBezTo>
                  <a:pt x="543" y="81"/>
                  <a:pt x="543" y="81"/>
                  <a:pt x="543" y="81"/>
                </a:cubicBezTo>
                <a:cubicBezTo>
                  <a:pt x="546" y="81"/>
                  <a:pt x="546" y="81"/>
                  <a:pt x="546" y="81"/>
                </a:cubicBezTo>
                <a:cubicBezTo>
                  <a:pt x="548" y="81"/>
                  <a:pt x="548" y="81"/>
                  <a:pt x="548" y="81"/>
                </a:cubicBezTo>
                <a:cubicBezTo>
                  <a:pt x="551" y="81"/>
                  <a:pt x="551" y="81"/>
                  <a:pt x="551" y="81"/>
                </a:cubicBezTo>
                <a:cubicBezTo>
                  <a:pt x="549" y="81"/>
                  <a:pt x="549" y="81"/>
                  <a:pt x="549" y="81"/>
                </a:cubicBezTo>
                <a:cubicBezTo>
                  <a:pt x="545" y="83"/>
                  <a:pt x="545" y="83"/>
                  <a:pt x="545" y="83"/>
                </a:cubicBezTo>
                <a:cubicBezTo>
                  <a:pt x="543" y="82"/>
                  <a:pt x="543" y="82"/>
                  <a:pt x="543" y="82"/>
                </a:cubicBezTo>
                <a:cubicBezTo>
                  <a:pt x="543" y="83"/>
                  <a:pt x="543" y="83"/>
                  <a:pt x="543" y="83"/>
                </a:cubicBezTo>
                <a:cubicBezTo>
                  <a:pt x="541" y="82"/>
                  <a:pt x="541" y="82"/>
                  <a:pt x="541" y="82"/>
                </a:cubicBezTo>
                <a:cubicBezTo>
                  <a:pt x="541" y="85"/>
                  <a:pt x="541" y="85"/>
                  <a:pt x="541" y="85"/>
                </a:cubicBezTo>
                <a:cubicBezTo>
                  <a:pt x="542" y="86"/>
                  <a:pt x="542" y="86"/>
                  <a:pt x="542" y="86"/>
                </a:cubicBezTo>
                <a:cubicBezTo>
                  <a:pt x="541" y="87"/>
                  <a:pt x="541" y="87"/>
                  <a:pt x="541" y="87"/>
                </a:cubicBezTo>
                <a:cubicBezTo>
                  <a:pt x="541" y="88"/>
                  <a:pt x="541" y="88"/>
                  <a:pt x="541" y="88"/>
                </a:cubicBezTo>
                <a:cubicBezTo>
                  <a:pt x="542" y="88"/>
                  <a:pt x="542" y="88"/>
                  <a:pt x="542" y="88"/>
                </a:cubicBezTo>
                <a:cubicBezTo>
                  <a:pt x="544" y="87"/>
                  <a:pt x="544" y="87"/>
                  <a:pt x="544" y="87"/>
                </a:cubicBezTo>
                <a:cubicBezTo>
                  <a:pt x="544" y="86"/>
                  <a:pt x="544" y="86"/>
                  <a:pt x="544" y="86"/>
                </a:cubicBezTo>
                <a:cubicBezTo>
                  <a:pt x="547" y="83"/>
                  <a:pt x="547" y="83"/>
                  <a:pt x="547" y="83"/>
                </a:cubicBezTo>
                <a:cubicBezTo>
                  <a:pt x="551" y="82"/>
                  <a:pt x="551" y="82"/>
                  <a:pt x="551" y="82"/>
                </a:cubicBezTo>
                <a:cubicBezTo>
                  <a:pt x="552" y="84"/>
                  <a:pt x="552" y="84"/>
                  <a:pt x="552" y="84"/>
                </a:cubicBezTo>
                <a:cubicBezTo>
                  <a:pt x="552" y="87"/>
                  <a:pt x="552" y="87"/>
                  <a:pt x="552" y="87"/>
                </a:cubicBezTo>
                <a:cubicBezTo>
                  <a:pt x="552" y="88"/>
                  <a:pt x="552" y="88"/>
                  <a:pt x="552" y="88"/>
                </a:cubicBezTo>
                <a:cubicBezTo>
                  <a:pt x="551" y="86"/>
                  <a:pt x="551" y="86"/>
                  <a:pt x="551" y="86"/>
                </a:cubicBezTo>
                <a:cubicBezTo>
                  <a:pt x="550" y="85"/>
                  <a:pt x="550" y="85"/>
                  <a:pt x="550" y="85"/>
                </a:cubicBezTo>
                <a:cubicBezTo>
                  <a:pt x="550" y="83"/>
                  <a:pt x="550" y="83"/>
                  <a:pt x="550" y="83"/>
                </a:cubicBezTo>
                <a:cubicBezTo>
                  <a:pt x="548" y="85"/>
                  <a:pt x="548" y="85"/>
                  <a:pt x="548" y="85"/>
                </a:cubicBezTo>
                <a:cubicBezTo>
                  <a:pt x="547" y="84"/>
                  <a:pt x="547" y="84"/>
                  <a:pt x="547" y="84"/>
                </a:cubicBezTo>
                <a:cubicBezTo>
                  <a:pt x="548" y="87"/>
                  <a:pt x="548" y="87"/>
                  <a:pt x="548" y="87"/>
                </a:cubicBezTo>
                <a:cubicBezTo>
                  <a:pt x="550" y="87"/>
                  <a:pt x="550" y="87"/>
                  <a:pt x="550" y="87"/>
                </a:cubicBezTo>
                <a:cubicBezTo>
                  <a:pt x="550" y="90"/>
                  <a:pt x="550" y="90"/>
                  <a:pt x="550" y="90"/>
                </a:cubicBezTo>
                <a:cubicBezTo>
                  <a:pt x="549" y="92"/>
                  <a:pt x="549" y="92"/>
                  <a:pt x="549" y="92"/>
                </a:cubicBezTo>
                <a:cubicBezTo>
                  <a:pt x="548" y="91"/>
                  <a:pt x="548" y="91"/>
                  <a:pt x="548" y="91"/>
                </a:cubicBezTo>
                <a:cubicBezTo>
                  <a:pt x="547" y="92"/>
                  <a:pt x="547" y="92"/>
                  <a:pt x="547" y="92"/>
                </a:cubicBezTo>
                <a:cubicBezTo>
                  <a:pt x="549" y="93"/>
                  <a:pt x="549" y="93"/>
                  <a:pt x="549" y="93"/>
                </a:cubicBezTo>
                <a:cubicBezTo>
                  <a:pt x="549" y="94"/>
                  <a:pt x="549" y="94"/>
                  <a:pt x="549" y="94"/>
                </a:cubicBezTo>
                <a:cubicBezTo>
                  <a:pt x="549" y="94"/>
                  <a:pt x="549" y="94"/>
                  <a:pt x="549" y="94"/>
                </a:cubicBezTo>
                <a:cubicBezTo>
                  <a:pt x="550" y="94"/>
                  <a:pt x="550" y="94"/>
                  <a:pt x="550" y="94"/>
                </a:cubicBezTo>
                <a:cubicBezTo>
                  <a:pt x="552" y="93"/>
                  <a:pt x="552" y="93"/>
                  <a:pt x="552" y="93"/>
                </a:cubicBezTo>
                <a:cubicBezTo>
                  <a:pt x="552" y="91"/>
                  <a:pt x="552" y="91"/>
                  <a:pt x="552" y="91"/>
                </a:cubicBezTo>
                <a:cubicBezTo>
                  <a:pt x="553" y="90"/>
                  <a:pt x="553" y="90"/>
                  <a:pt x="553" y="90"/>
                </a:cubicBezTo>
                <a:cubicBezTo>
                  <a:pt x="553" y="88"/>
                  <a:pt x="553" y="88"/>
                  <a:pt x="553" y="88"/>
                </a:cubicBezTo>
                <a:cubicBezTo>
                  <a:pt x="553" y="87"/>
                  <a:pt x="553" y="87"/>
                  <a:pt x="553" y="87"/>
                </a:cubicBezTo>
                <a:cubicBezTo>
                  <a:pt x="552" y="80"/>
                  <a:pt x="552" y="80"/>
                  <a:pt x="552" y="80"/>
                </a:cubicBezTo>
                <a:cubicBezTo>
                  <a:pt x="555" y="79"/>
                  <a:pt x="555" y="79"/>
                  <a:pt x="555" y="79"/>
                </a:cubicBezTo>
                <a:cubicBezTo>
                  <a:pt x="558" y="78"/>
                  <a:pt x="558" y="78"/>
                  <a:pt x="558" y="78"/>
                </a:cubicBezTo>
                <a:cubicBezTo>
                  <a:pt x="562" y="77"/>
                  <a:pt x="562" y="77"/>
                  <a:pt x="562" y="77"/>
                </a:cubicBezTo>
                <a:cubicBezTo>
                  <a:pt x="565" y="77"/>
                  <a:pt x="565" y="77"/>
                  <a:pt x="565" y="77"/>
                </a:cubicBezTo>
                <a:cubicBezTo>
                  <a:pt x="569" y="79"/>
                  <a:pt x="569" y="79"/>
                  <a:pt x="569" y="79"/>
                </a:cubicBezTo>
                <a:cubicBezTo>
                  <a:pt x="571" y="82"/>
                  <a:pt x="571" y="82"/>
                  <a:pt x="571" y="82"/>
                </a:cubicBezTo>
                <a:cubicBezTo>
                  <a:pt x="571" y="83"/>
                  <a:pt x="571" y="83"/>
                  <a:pt x="571" y="83"/>
                </a:cubicBezTo>
                <a:cubicBezTo>
                  <a:pt x="570" y="84"/>
                  <a:pt x="570" y="84"/>
                  <a:pt x="570" y="84"/>
                </a:cubicBezTo>
                <a:cubicBezTo>
                  <a:pt x="568" y="82"/>
                  <a:pt x="568" y="82"/>
                  <a:pt x="568" y="82"/>
                </a:cubicBezTo>
                <a:cubicBezTo>
                  <a:pt x="567" y="82"/>
                  <a:pt x="567" y="82"/>
                  <a:pt x="567" y="82"/>
                </a:cubicBezTo>
                <a:cubicBezTo>
                  <a:pt x="568" y="84"/>
                  <a:pt x="568" y="84"/>
                  <a:pt x="568" y="84"/>
                </a:cubicBezTo>
                <a:cubicBezTo>
                  <a:pt x="568" y="85"/>
                  <a:pt x="568" y="85"/>
                  <a:pt x="568" y="85"/>
                </a:cubicBezTo>
                <a:cubicBezTo>
                  <a:pt x="568" y="86"/>
                  <a:pt x="568" y="86"/>
                  <a:pt x="568" y="86"/>
                </a:cubicBezTo>
                <a:cubicBezTo>
                  <a:pt x="567" y="87"/>
                  <a:pt x="567" y="87"/>
                  <a:pt x="567" y="87"/>
                </a:cubicBezTo>
                <a:cubicBezTo>
                  <a:pt x="568" y="87"/>
                  <a:pt x="568" y="87"/>
                  <a:pt x="568" y="87"/>
                </a:cubicBezTo>
                <a:cubicBezTo>
                  <a:pt x="569" y="87"/>
                  <a:pt x="569" y="87"/>
                  <a:pt x="569" y="87"/>
                </a:cubicBezTo>
                <a:cubicBezTo>
                  <a:pt x="571" y="86"/>
                  <a:pt x="571" y="86"/>
                  <a:pt x="571" y="86"/>
                </a:cubicBezTo>
                <a:cubicBezTo>
                  <a:pt x="573" y="85"/>
                  <a:pt x="573" y="85"/>
                  <a:pt x="573" y="85"/>
                </a:cubicBezTo>
                <a:cubicBezTo>
                  <a:pt x="573" y="87"/>
                  <a:pt x="573" y="87"/>
                  <a:pt x="573" y="87"/>
                </a:cubicBezTo>
                <a:cubicBezTo>
                  <a:pt x="574" y="88"/>
                  <a:pt x="574" y="88"/>
                  <a:pt x="574" y="88"/>
                </a:cubicBezTo>
                <a:cubicBezTo>
                  <a:pt x="574" y="90"/>
                  <a:pt x="574" y="90"/>
                  <a:pt x="574" y="90"/>
                </a:cubicBezTo>
                <a:cubicBezTo>
                  <a:pt x="575" y="91"/>
                  <a:pt x="575" y="91"/>
                  <a:pt x="575" y="91"/>
                </a:cubicBezTo>
                <a:cubicBezTo>
                  <a:pt x="576" y="89"/>
                  <a:pt x="576" y="89"/>
                  <a:pt x="576" y="89"/>
                </a:cubicBezTo>
                <a:cubicBezTo>
                  <a:pt x="575" y="88"/>
                  <a:pt x="575" y="88"/>
                  <a:pt x="575" y="88"/>
                </a:cubicBezTo>
                <a:cubicBezTo>
                  <a:pt x="577" y="87"/>
                  <a:pt x="577" y="87"/>
                  <a:pt x="577" y="87"/>
                </a:cubicBezTo>
                <a:cubicBezTo>
                  <a:pt x="579" y="88"/>
                  <a:pt x="579" y="88"/>
                  <a:pt x="579" y="88"/>
                </a:cubicBezTo>
                <a:cubicBezTo>
                  <a:pt x="579" y="89"/>
                  <a:pt x="579" y="89"/>
                  <a:pt x="579" y="89"/>
                </a:cubicBezTo>
                <a:cubicBezTo>
                  <a:pt x="579" y="90"/>
                  <a:pt x="579" y="90"/>
                  <a:pt x="579" y="90"/>
                </a:cubicBezTo>
                <a:cubicBezTo>
                  <a:pt x="578" y="92"/>
                  <a:pt x="578" y="92"/>
                  <a:pt x="578" y="92"/>
                </a:cubicBezTo>
                <a:cubicBezTo>
                  <a:pt x="578" y="93"/>
                  <a:pt x="578" y="93"/>
                  <a:pt x="578" y="93"/>
                </a:cubicBezTo>
                <a:cubicBezTo>
                  <a:pt x="579" y="92"/>
                  <a:pt x="579" y="92"/>
                  <a:pt x="579" y="92"/>
                </a:cubicBezTo>
                <a:cubicBezTo>
                  <a:pt x="580" y="91"/>
                  <a:pt x="580" y="91"/>
                  <a:pt x="580" y="91"/>
                </a:cubicBezTo>
                <a:cubicBezTo>
                  <a:pt x="581" y="90"/>
                  <a:pt x="581" y="90"/>
                  <a:pt x="581" y="90"/>
                </a:cubicBezTo>
                <a:cubicBezTo>
                  <a:pt x="581" y="91"/>
                  <a:pt x="581" y="91"/>
                  <a:pt x="581" y="91"/>
                </a:cubicBezTo>
                <a:cubicBezTo>
                  <a:pt x="581" y="90"/>
                  <a:pt x="581" y="90"/>
                  <a:pt x="581" y="90"/>
                </a:cubicBezTo>
                <a:cubicBezTo>
                  <a:pt x="582" y="87"/>
                  <a:pt x="582" y="87"/>
                  <a:pt x="582" y="87"/>
                </a:cubicBezTo>
                <a:cubicBezTo>
                  <a:pt x="583" y="87"/>
                  <a:pt x="583" y="87"/>
                  <a:pt x="583" y="87"/>
                </a:cubicBezTo>
                <a:cubicBezTo>
                  <a:pt x="584" y="87"/>
                  <a:pt x="584" y="87"/>
                  <a:pt x="584" y="87"/>
                </a:cubicBezTo>
                <a:cubicBezTo>
                  <a:pt x="587" y="89"/>
                  <a:pt x="587" y="89"/>
                  <a:pt x="587" y="89"/>
                </a:cubicBezTo>
                <a:cubicBezTo>
                  <a:pt x="590" y="90"/>
                  <a:pt x="590" y="90"/>
                  <a:pt x="590" y="90"/>
                </a:cubicBezTo>
                <a:cubicBezTo>
                  <a:pt x="592" y="92"/>
                  <a:pt x="592" y="92"/>
                  <a:pt x="592" y="92"/>
                </a:cubicBezTo>
                <a:cubicBezTo>
                  <a:pt x="591" y="93"/>
                  <a:pt x="591" y="93"/>
                  <a:pt x="591" y="93"/>
                </a:cubicBezTo>
                <a:cubicBezTo>
                  <a:pt x="589" y="94"/>
                  <a:pt x="589" y="94"/>
                  <a:pt x="589" y="94"/>
                </a:cubicBezTo>
                <a:cubicBezTo>
                  <a:pt x="588" y="96"/>
                  <a:pt x="588" y="96"/>
                  <a:pt x="588" y="96"/>
                </a:cubicBezTo>
                <a:cubicBezTo>
                  <a:pt x="590" y="95"/>
                  <a:pt x="590" y="95"/>
                  <a:pt x="590" y="95"/>
                </a:cubicBezTo>
                <a:cubicBezTo>
                  <a:pt x="592" y="94"/>
                  <a:pt x="592" y="94"/>
                  <a:pt x="592" y="94"/>
                </a:cubicBezTo>
                <a:cubicBezTo>
                  <a:pt x="594" y="95"/>
                  <a:pt x="594" y="95"/>
                  <a:pt x="594" y="95"/>
                </a:cubicBezTo>
                <a:cubicBezTo>
                  <a:pt x="596" y="94"/>
                  <a:pt x="596" y="94"/>
                  <a:pt x="596" y="94"/>
                </a:cubicBezTo>
                <a:cubicBezTo>
                  <a:pt x="598" y="93"/>
                  <a:pt x="598" y="93"/>
                  <a:pt x="598" y="93"/>
                </a:cubicBezTo>
                <a:cubicBezTo>
                  <a:pt x="599" y="92"/>
                  <a:pt x="599" y="92"/>
                  <a:pt x="599" y="92"/>
                </a:cubicBezTo>
                <a:cubicBezTo>
                  <a:pt x="602" y="90"/>
                  <a:pt x="602" y="90"/>
                  <a:pt x="602" y="90"/>
                </a:cubicBezTo>
                <a:cubicBezTo>
                  <a:pt x="603" y="90"/>
                  <a:pt x="603" y="90"/>
                  <a:pt x="603" y="90"/>
                </a:cubicBezTo>
                <a:cubicBezTo>
                  <a:pt x="605" y="88"/>
                  <a:pt x="605" y="88"/>
                  <a:pt x="605" y="88"/>
                </a:cubicBezTo>
                <a:cubicBezTo>
                  <a:pt x="607" y="87"/>
                  <a:pt x="607" y="87"/>
                  <a:pt x="607" y="87"/>
                </a:cubicBezTo>
                <a:cubicBezTo>
                  <a:pt x="612" y="85"/>
                  <a:pt x="612" y="85"/>
                  <a:pt x="612" y="85"/>
                </a:cubicBezTo>
                <a:cubicBezTo>
                  <a:pt x="614" y="84"/>
                  <a:pt x="614" y="84"/>
                  <a:pt x="614" y="84"/>
                </a:cubicBezTo>
                <a:cubicBezTo>
                  <a:pt x="615" y="84"/>
                  <a:pt x="615" y="84"/>
                  <a:pt x="615" y="84"/>
                </a:cubicBezTo>
                <a:cubicBezTo>
                  <a:pt x="615" y="84"/>
                  <a:pt x="615" y="84"/>
                  <a:pt x="615" y="84"/>
                </a:cubicBezTo>
                <a:cubicBezTo>
                  <a:pt x="618" y="82"/>
                  <a:pt x="618" y="82"/>
                  <a:pt x="618" y="82"/>
                </a:cubicBezTo>
                <a:cubicBezTo>
                  <a:pt x="620" y="82"/>
                  <a:pt x="620" y="82"/>
                  <a:pt x="620" y="82"/>
                </a:cubicBezTo>
                <a:cubicBezTo>
                  <a:pt x="623" y="82"/>
                  <a:pt x="623" y="82"/>
                  <a:pt x="623" y="82"/>
                </a:cubicBezTo>
                <a:cubicBezTo>
                  <a:pt x="629" y="84"/>
                  <a:pt x="629" y="84"/>
                  <a:pt x="629" y="84"/>
                </a:cubicBezTo>
                <a:cubicBezTo>
                  <a:pt x="631" y="87"/>
                  <a:pt x="631" y="87"/>
                  <a:pt x="631" y="87"/>
                </a:cubicBezTo>
                <a:cubicBezTo>
                  <a:pt x="634" y="88"/>
                  <a:pt x="634" y="88"/>
                  <a:pt x="634" y="88"/>
                </a:cubicBezTo>
                <a:cubicBezTo>
                  <a:pt x="636" y="91"/>
                  <a:pt x="636" y="91"/>
                  <a:pt x="636" y="91"/>
                </a:cubicBezTo>
                <a:cubicBezTo>
                  <a:pt x="638" y="93"/>
                  <a:pt x="638" y="93"/>
                  <a:pt x="638" y="93"/>
                </a:cubicBezTo>
                <a:cubicBezTo>
                  <a:pt x="638" y="94"/>
                  <a:pt x="638" y="94"/>
                  <a:pt x="638" y="94"/>
                </a:cubicBezTo>
                <a:cubicBezTo>
                  <a:pt x="638" y="95"/>
                  <a:pt x="638" y="95"/>
                  <a:pt x="638" y="95"/>
                </a:cubicBezTo>
                <a:cubicBezTo>
                  <a:pt x="638" y="97"/>
                  <a:pt x="638" y="97"/>
                  <a:pt x="638" y="97"/>
                </a:cubicBezTo>
                <a:cubicBezTo>
                  <a:pt x="639" y="99"/>
                  <a:pt x="639" y="99"/>
                  <a:pt x="639" y="99"/>
                </a:cubicBezTo>
                <a:cubicBezTo>
                  <a:pt x="640" y="100"/>
                  <a:pt x="640" y="100"/>
                  <a:pt x="640" y="100"/>
                </a:cubicBezTo>
                <a:cubicBezTo>
                  <a:pt x="639" y="102"/>
                  <a:pt x="639" y="102"/>
                  <a:pt x="639" y="102"/>
                </a:cubicBezTo>
                <a:cubicBezTo>
                  <a:pt x="640" y="101"/>
                  <a:pt x="640" y="101"/>
                  <a:pt x="640" y="101"/>
                </a:cubicBezTo>
                <a:cubicBezTo>
                  <a:pt x="642" y="100"/>
                  <a:pt x="642" y="100"/>
                  <a:pt x="642" y="100"/>
                </a:cubicBezTo>
                <a:cubicBezTo>
                  <a:pt x="643" y="100"/>
                  <a:pt x="643" y="100"/>
                  <a:pt x="643" y="100"/>
                </a:cubicBezTo>
                <a:cubicBezTo>
                  <a:pt x="644" y="100"/>
                  <a:pt x="644" y="100"/>
                  <a:pt x="644" y="100"/>
                </a:cubicBezTo>
                <a:cubicBezTo>
                  <a:pt x="644" y="99"/>
                  <a:pt x="644" y="99"/>
                  <a:pt x="644" y="99"/>
                </a:cubicBezTo>
                <a:cubicBezTo>
                  <a:pt x="646" y="99"/>
                  <a:pt x="646" y="99"/>
                  <a:pt x="646" y="99"/>
                </a:cubicBezTo>
                <a:cubicBezTo>
                  <a:pt x="647" y="100"/>
                  <a:pt x="647" y="100"/>
                  <a:pt x="647" y="100"/>
                </a:cubicBezTo>
                <a:cubicBezTo>
                  <a:pt x="648" y="102"/>
                  <a:pt x="648" y="102"/>
                  <a:pt x="648" y="102"/>
                </a:cubicBezTo>
                <a:cubicBezTo>
                  <a:pt x="648" y="100"/>
                  <a:pt x="648" y="100"/>
                  <a:pt x="648" y="100"/>
                </a:cubicBezTo>
                <a:cubicBezTo>
                  <a:pt x="648" y="98"/>
                  <a:pt x="648" y="98"/>
                  <a:pt x="648" y="98"/>
                </a:cubicBezTo>
                <a:cubicBezTo>
                  <a:pt x="649" y="98"/>
                  <a:pt x="649" y="98"/>
                  <a:pt x="649" y="98"/>
                </a:cubicBezTo>
                <a:cubicBezTo>
                  <a:pt x="650" y="100"/>
                  <a:pt x="650" y="100"/>
                  <a:pt x="650" y="100"/>
                </a:cubicBezTo>
                <a:cubicBezTo>
                  <a:pt x="652" y="102"/>
                  <a:pt x="652" y="102"/>
                  <a:pt x="652" y="102"/>
                </a:cubicBezTo>
                <a:cubicBezTo>
                  <a:pt x="652" y="104"/>
                  <a:pt x="652" y="104"/>
                  <a:pt x="652" y="104"/>
                </a:cubicBezTo>
                <a:cubicBezTo>
                  <a:pt x="653" y="104"/>
                  <a:pt x="653" y="104"/>
                  <a:pt x="653" y="104"/>
                </a:cubicBezTo>
                <a:cubicBezTo>
                  <a:pt x="655" y="107"/>
                  <a:pt x="655" y="107"/>
                  <a:pt x="655" y="107"/>
                </a:cubicBezTo>
                <a:cubicBezTo>
                  <a:pt x="655" y="106"/>
                  <a:pt x="655" y="106"/>
                  <a:pt x="655" y="106"/>
                </a:cubicBezTo>
                <a:cubicBezTo>
                  <a:pt x="654" y="104"/>
                  <a:pt x="654" y="104"/>
                  <a:pt x="654" y="104"/>
                </a:cubicBezTo>
                <a:cubicBezTo>
                  <a:pt x="653" y="103"/>
                  <a:pt x="653" y="103"/>
                  <a:pt x="653" y="103"/>
                </a:cubicBezTo>
                <a:cubicBezTo>
                  <a:pt x="653" y="102"/>
                  <a:pt x="653" y="102"/>
                  <a:pt x="653" y="102"/>
                </a:cubicBezTo>
                <a:cubicBezTo>
                  <a:pt x="654" y="103"/>
                  <a:pt x="654" y="103"/>
                  <a:pt x="654" y="103"/>
                </a:cubicBezTo>
                <a:cubicBezTo>
                  <a:pt x="655" y="103"/>
                  <a:pt x="655" y="103"/>
                  <a:pt x="655" y="103"/>
                </a:cubicBezTo>
                <a:cubicBezTo>
                  <a:pt x="657" y="104"/>
                  <a:pt x="657" y="104"/>
                  <a:pt x="657" y="104"/>
                </a:cubicBezTo>
                <a:cubicBezTo>
                  <a:pt x="658" y="106"/>
                  <a:pt x="658" y="106"/>
                  <a:pt x="658" y="106"/>
                </a:cubicBezTo>
                <a:cubicBezTo>
                  <a:pt x="658" y="104"/>
                  <a:pt x="658" y="104"/>
                  <a:pt x="658" y="104"/>
                </a:cubicBezTo>
                <a:cubicBezTo>
                  <a:pt x="656" y="101"/>
                  <a:pt x="656" y="101"/>
                  <a:pt x="656" y="101"/>
                </a:cubicBezTo>
                <a:cubicBezTo>
                  <a:pt x="656" y="98"/>
                  <a:pt x="656" y="98"/>
                  <a:pt x="656" y="98"/>
                </a:cubicBezTo>
                <a:cubicBezTo>
                  <a:pt x="656" y="96"/>
                  <a:pt x="656" y="96"/>
                  <a:pt x="656" y="96"/>
                </a:cubicBezTo>
                <a:cubicBezTo>
                  <a:pt x="657" y="94"/>
                  <a:pt x="657" y="94"/>
                  <a:pt x="657" y="94"/>
                </a:cubicBezTo>
                <a:cubicBezTo>
                  <a:pt x="660" y="94"/>
                  <a:pt x="660" y="94"/>
                  <a:pt x="660" y="94"/>
                </a:cubicBezTo>
                <a:cubicBezTo>
                  <a:pt x="661" y="93"/>
                  <a:pt x="661" y="93"/>
                  <a:pt x="661" y="93"/>
                </a:cubicBezTo>
                <a:cubicBezTo>
                  <a:pt x="663" y="92"/>
                  <a:pt x="663" y="92"/>
                  <a:pt x="663" y="92"/>
                </a:cubicBezTo>
                <a:cubicBezTo>
                  <a:pt x="663" y="91"/>
                  <a:pt x="663" y="91"/>
                  <a:pt x="663" y="91"/>
                </a:cubicBezTo>
                <a:cubicBezTo>
                  <a:pt x="663" y="91"/>
                  <a:pt x="663" y="91"/>
                  <a:pt x="663" y="91"/>
                </a:cubicBezTo>
                <a:cubicBezTo>
                  <a:pt x="664" y="91"/>
                  <a:pt x="664" y="91"/>
                  <a:pt x="664" y="91"/>
                </a:cubicBezTo>
                <a:cubicBezTo>
                  <a:pt x="665" y="92"/>
                  <a:pt x="665" y="92"/>
                  <a:pt x="665" y="92"/>
                </a:cubicBezTo>
                <a:cubicBezTo>
                  <a:pt x="667" y="92"/>
                  <a:pt x="667" y="92"/>
                  <a:pt x="667" y="92"/>
                </a:cubicBezTo>
                <a:cubicBezTo>
                  <a:pt x="668" y="92"/>
                  <a:pt x="668" y="92"/>
                  <a:pt x="668" y="92"/>
                </a:cubicBezTo>
                <a:cubicBezTo>
                  <a:pt x="670" y="90"/>
                  <a:pt x="670" y="90"/>
                  <a:pt x="670" y="90"/>
                </a:cubicBezTo>
                <a:cubicBezTo>
                  <a:pt x="671" y="91"/>
                  <a:pt x="671" y="91"/>
                  <a:pt x="671" y="91"/>
                </a:cubicBezTo>
                <a:cubicBezTo>
                  <a:pt x="673" y="90"/>
                  <a:pt x="673" y="90"/>
                  <a:pt x="673" y="90"/>
                </a:cubicBezTo>
                <a:cubicBezTo>
                  <a:pt x="676" y="90"/>
                  <a:pt x="676" y="90"/>
                  <a:pt x="676" y="90"/>
                </a:cubicBezTo>
                <a:cubicBezTo>
                  <a:pt x="677" y="89"/>
                  <a:pt x="677" y="89"/>
                  <a:pt x="677" y="89"/>
                </a:cubicBezTo>
                <a:cubicBezTo>
                  <a:pt x="678" y="89"/>
                  <a:pt x="678" y="89"/>
                  <a:pt x="678" y="89"/>
                </a:cubicBezTo>
                <a:cubicBezTo>
                  <a:pt x="678" y="90"/>
                  <a:pt x="678" y="90"/>
                  <a:pt x="678" y="90"/>
                </a:cubicBezTo>
                <a:cubicBezTo>
                  <a:pt x="679" y="91"/>
                  <a:pt x="679" y="91"/>
                  <a:pt x="679" y="91"/>
                </a:cubicBezTo>
                <a:cubicBezTo>
                  <a:pt x="679" y="90"/>
                  <a:pt x="679" y="90"/>
                  <a:pt x="679" y="90"/>
                </a:cubicBezTo>
                <a:cubicBezTo>
                  <a:pt x="681" y="88"/>
                  <a:pt x="681" y="88"/>
                  <a:pt x="681" y="88"/>
                </a:cubicBezTo>
                <a:cubicBezTo>
                  <a:pt x="680" y="87"/>
                  <a:pt x="680" y="87"/>
                  <a:pt x="680" y="87"/>
                </a:cubicBezTo>
                <a:cubicBezTo>
                  <a:pt x="680" y="85"/>
                  <a:pt x="680" y="85"/>
                  <a:pt x="680" y="85"/>
                </a:cubicBezTo>
                <a:cubicBezTo>
                  <a:pt x="681" y="84"/>
                  <a:pt x="681" y="84"/>
                  <a:pt x="681" y="84"/>
                </a:cubicBezTo>
                <a:cubicBezTo>
                  <a:pt x="681" y="83"/>
                  <a:pt x="681" y="83"/>
                  <a:pt x="681" y="83"/>
                </a:cubicBezTo>
                <a:cubicBezTo>
                  <a:pt x="683" y="83"/>
                  <a:pt x="683" y="83"/>
                  <a:pt x="683" y="83"/>
                </a:cubicBezTo>
                <a:cubicBezTo>
                  <a:pt x="684" y="85"/>
                  <a:pt x="684" y="85"/>
                  <a:pt x="684" y="85"/>
                </a:cubicBezTo>
                <a:cubicBezTo>
                  <a:pt x="684" y="86"/>
                  <a:pt x="684" y="86"/>
                  <a:pt x="684" y="86"/>
                </a:cubicBezTo>
                <a:cubicBezTo>
                  <a:pt x="686" y="86"/>
                  <a:pt x="686" y="86"/>
                  <a:pt x="686" y="86"/>
                </a:cubicBezTo>
                <a:cubicBezTo>
                  <a:pt x="687" y="87"/>
                  <a:pt x="687" y="87"/>
                  <a:pt x="687" y="87"/>
                </a:cubicBezTo>
                <a:cubicBezTo>
                  <a:pt x="687" y="88"/>
                  <a:pt x="687" y="88"/>
                  <a:pt x="687" y="88"/>
                </a:cubicBezTo>
                <a:cubicBezTo>
                  <a:pt x="689" y="90"/>
                  <a:pt x="689" y="90"/>
                  <a:pt x="689" y="90"/>
                </a:cubicBezTo>
                <a:cubicBezTo>
                  <a:pt x="690" y="91"/>
                  <a:pt x="690" y="91"/>
                  <a:pt x="690" y="91"/>
                </a:cubicBezTo>
                <a:cubicBezTo>
                  <a:pt x="691" y="91"/>
                  <a:pt x="691" y="91"/>
                  <a:pt x="691" y="91"/>
                </a:cubicBezTo>
                <a:cubicBezTo>
                  <a:pt x="694" y="91"/>
                  <a:pt x="694" y="91"/>
                  <a:pt x="694" y="91"/>
                </a:cubicBezTo>
                <a:cubicBezTo>
                  <a:pt x="695" y="91"/>
                  <a:pt x="695" y="91"/>
                  <a:pt x="695" y="91"/>
                </a:cubicBezTo>
                <a:cubicBezTo>
                  <a:pt x="696" y="91"/>
                  <a:pt x="696" y="91"/>
                  <a:pt x="696" y="91"/>
                </a:cubicBezTo>
                <a:cubicBezTo>
                  <a:pt x="698" y="94"/>
                  <a:pt x="698" y="94"/>
                  <a:pt x="698" y="94"/>
                </a:cubicBezTo>
                <a:cubicBezTo>
                  <a:pt x="698" y="95"/>
                  <a:pt x="698" y="95"/>
                  <a:pt x="698" y="95"/>
                </a:cubicBezTo>
                <a:cubicBezTo>
                  <a:pt x="699" y="96"/>
                  <a:pt x="699" y="96"/>
                  <a:pt x="699" y="96"/>
                </a:cubicBezTo>
                <a:cubicBezTo>
                  <a:pt x="701" y="96"/>
                  <a:pt x="701" y="96"/>
                  <a:pt x="701" y="96"/>
                </a:cubicBezTo>
                <a:cubicBezTo>
                  <a:pt x="702" y="96"/>
                  <a:pt x="702" y="96"/>
                  <a:pt x="702" y="96"/>
                </a:cubicBezTo>
                <a:cubicBezTo>
                  <a:pt x="703" y="95"/>
                  <a:pt x="703" y="95"/>
                  <a:pt x="703" y="95"/>
                </a:cubicBezTo>
                <a:cubicBezTo>
                  <a:pt x="703" y="94"/>
                  <a:pt x="703" y="94"/>
                  <a:pt x="703" y="94"/>
                </a:cubicBezTo>
                <a:cubicBezTo>
                  <a:pt x="705" y="93"/>
                  <a:pt x="705" y="93"/>
                  <a:pt x="705" y="93"/>
                </a:cubicBezTo>
                <a:cubicBezTo>
                  <a:pt x="705" y="94"/>
                  <a:pt x="705" y="94"/>
                  <a:pt x="705" y="94"/>
                </a:cubicBezTo>
                <a:cubicBezTo>
                  <a:pt x="706" y="93"/>
                  <a:pt x="706" y="93"/>
                  <a:pt x="706" y="93"/>
                </a:cubicBezTo>
                <a:cubicBezTo>
                  <a:pt x="705" y="92"/>
                  <a:pt x="705" y="92"/>
                  <a:pt x="705" y="92"/>
                </a:cubicBezTo>
                <a:cubicBezTo>
                  <a:pt x="706" y="92"/>
                  <a:pt x="706" y="92"/>
                  <a:pt x="706" y="92"/>
                </a:cubicBezTo>
                <a:cubicBezTo>
                  <a:pt x="705" y="91"/>
                  <a:pt x="705" y="91"/>
                  <a:pt x="705" y="91"/>
                </a:cubicBezTo>
                <a:cubicBezTo>
                  <a:pt x="705" y="90"/>
                  <a:pt x="705" y="90"/>
                  <a:pt x="705" y="90"/>
                </a:cubicBezTo>
                <a:cubicBezTo>
                  <a:pt x="704" y="88"/>
                  <a:pt x="704" y="88"/>
                  <a:pt x="704" y="88"/>
                </a:cubicBezTo>
                <a:cubicBezTo>
                  <a:pt x="702" y="88"/>
                  <a:pt x="702" y="88"/>
                  <a:pt x="702" y="88"/>
                </a:cubicBezTo>
                <a:cubicBezTo>
                  <a:pt x="702" y="86"/>
                  <a:pt x="702" y="86"/>
                  <a:pt x="702" y="86"/>
                </a:cubicBezTo>
                <a:cubicBezTo>
                  <a:pt x="700" y="83"/>
                  <a:pt x="700" y="83"/>
                  <a:pt x="700" y="83"/>
                </a:cubicBezTo>
                <a:cubicBezTo>
                  <a:pt x="699" y="83"/>
                  <a:pt x="699" y="83"/>
                  <a:pt x="699" y="83"/>
                </a:cubicBezTo>
                <a:cubicBezTo>
                  <a:pt x="698" y="82"/>
                  <a:pt x="698" y="82"/>
                  <a:pt x="698" y="82"/>
                </a:cubicBezTo>
                <a:cubicBezTo>
                  <a:pt x="696" y="81"/>
                  <a:pt x="696" y="81"/>
                  <a:pt x="696" y="81"/>
                </a:cubicBezTo>
                <a:cubicBezTo>
                  <a:pt x="695" y="82"/>
                  <a:pt x="695" y="82"/>
                  <a:pt x="695" y="82"/>
                </a:cubicBezTo>
                <a:cubicBezTo>
                  <a:pt x="694" y="82"/>
                  <a:pt x="694" y="82"/>
                  <a:pt x="694" y="82"/>
                </a:cubicBezTo>
                <a:cubicBezTo>
                  <a:pt x="694" y="81"/>
                  <a:pt x="694" y="81"/>
                  <a:pt x="694" y="81"/>
                </a:cubicBezTo>
                <a:cubicBezTo>
                  <a:pt x="695" y="80"/>
                  <a:pt x="695" y="80"/>
                  <a:pt x="695" y="80"/>
                </a:cubicBezTo>
                <a:cubicBezTo>
                  <a:pt x="694" y="78"/>
                  <a:pt x="694" y="78"/>
                  <a:pt x="694" y="78"/>
                </a:cubicBezTo>
                <a:cubicBezTo>
                  <a:pt x="693" y="77"/>
                  <a:pt x="693" y="77"/>
                  <a:pt x="693" y="77"/>
                </a:cubicBezTo>
                <a:cubicBezTo>
                  <a:pt x="693" y="76"/>
                  <a:pt x="693" y="76"/>
                  <a:pt x="693" y="76"/>
                </a:cubicBezTo>
                <a:cubicBezTo>
                  <a:pt x="692" y="74"/>
                  <a:pt x="692" y="74"/>
                  <a:pt x="692" y="74"/>
                </a:cubicBezTo>
                <a:cubicBezTo>
                  <a:pt x="690" y="73"/>
                  <a:pt x="690" y="73"/>
                  <a:pt x="690" y="73"/>
                </a:cubicBezTo>
                <a:cubicBezTo>
                  <a:pt x="690" y="72"/>
                  <a:pt x="690" y="72"/>
                  <a:pt x="690" y="72"/>
                </a:cubicBezTo>
                <a:cubicBezTo>
                  <a:pt x="693" y="72"/>
                  <a:pt x="693" y="72"/>
                  <a:pt x="693" y="72"/>
                </a:cubicBezTo>
                <a:cubicBezTo>
                  <a:pt x="694" y="72"/>
                  <a:pt x="694" y="72"/>
                  <a:pt x="694" y="72"/>
                </a:cubicBezTo>
                <a:cubicBezTo>
                  <a:pt x="697" y="72"/>
                  <a:pt x="697" y="72"/>
                  <a:pt x="697" y="72"/>
                </a:cubicBezTo>
                <a:cubicBezTo>
                  <a:pt x="700" y="72"/>
                  <a:pt x="700" y="72"/>
                  <a:pt x="700" y="72"/>
                </a:cubicBezTo>
                <a:cubicBezTo>
                  <a:pt x="700" y="71"/>
                  <a:pt x="700" y="71"/>
                  <a:pt x="700" y="71"/>
                </a:cubicBezTo>
                <a:cubicBezTo>
                  <a:pt x="702" y="71"/>
                  <a:pt x="702" y="71"/>
                  <a:pt x="702" y="71"/>
                </a:cubicBezTo>
                <a:cubicBezTo>
                  <a:pt x="703" y="72"/>
                  <a:pt x="703" y="72"/>
                  <a:pt x="703" y="72"/>
                </a:cubicBezTo>
                <a:cubicBezTo>
                  <a:pt x="704" y="71"/>
                  <a:pt x="704" y="71"/>
                  <a:pt x="704" y="71"/>
                </a:cubicBezTo>
                <a:cubicBezTo>
                  <a:pt x="705" y="71"/>
                  <a:pt x="705" y="71"/>
                  <a:pt x="705" y="71"/>
                </a:cubicBezTo>
                <a:cubicBezTo>
                  <a:pt x="705" y="70"/>
                  <a:pt x="705" y="70"/>
                  <a:pt x="705" y="70"/>
                </a:cubicBezTo>
                <a:cubicBezTo>
                  <a:pt x="707" y="70"/>
                  <a:pt x="707" y="70"/>
                  <a:pt x="707" y="70"/>
                </a:cubicBezTo>
                <a:cubicBezTo>
                  <a:pt x="708" y="71"/>
                  <a:pt x="708" y="71"/>
                  <a:pt x="708" y="71"/>
                </a:cubicBezTo>
                <a:cubicBezTo>
                  <a:pt x="708" y="71"/>
                  <a:pt x="708" y="71"/>
                  <a:pt x="708" y="71"/>
                </a:cubicBezTo>
                <a:cubicBezTo>
                  <a:pt x="709" y="69"/>
                  <a:pt x="709" y="69"/>
                  <a:pt x="709" y="69"/>
                </a:cubicBezTo>
                <a:cubicBezTo>
                  <a:pt x="710" y="70"/>
                  <a:pt x="710" y="70"/>
                  <a:pt x="710" y="70"/>
                </a:cubicBezTo>
                <a:cubicBezTo>
                  <a:pt x="710" y="69"/>
                  <a:pt x="710" y="69"/>
                  <a:pt x="710" y="69"/>
                </a:cubicBezTo>
                <a:cubicBezTo>
                  <a:pt x="715" y="67"/>
                  <a:pt x="715" y="67"/>
                  <a:pt x="715" y="67"/>
                </a:cubicBezTo>
                <a:cubicBezTo>
                  <a:pt x="716" y="69"/>
                  <a:pt x="716" y="69"/>
                  <a:pt x="716" y="69"/>
                </a:cubicBezTo>
                <a:cubicBezTo>
                  <a:pt x="716" y="68"/>
                  <a:pt x="716" y="68"/>
                  <a:pt x="716" y="68"/>
                </a:cubicBezTo>
                <a:cubicBezTo>
                  <a:pt x="717" y="66"/>
                  <a:pt x="717" y="66"/>
                  <a:pt x="717" y="66"/>
                </a:cubicBezTo>
                <a:cubicBezTo>
                  <a:pt x="717" y="67"/>
                  <a:pt x="717" y="67"/>
                  <a:pt x="717" y="67"/>
                </a:cubicBezTo>
                <a:cubicBezTo>
                  <a:pt x="719" y="67"/>
                  <a:pt x="719" y="67"/>
                  <a:pt x="719" y="67"/>
                </a:cubicBezTo>
                <a:cubicBezTo>
                  <a:pt x="720" y="66"/>
                  <a:pt x="720" y="66"/>
                  <a:pt x="720" y="66"/>
                </a:cubicBezTo>
                <a:cubicBezTo>
                  <a:pt x="721" y="67"/>
                  <a:pt x="721" y="67"/>
                  <a:pt x="721" y="67"/>
                </a:cubicBezTo>
                <a:cubicBezTo>
                  <a:pt x="723" y="67"/>
                  <a:pt x="723" y="67"/>
                  <a:pt x="723" y="67"/>
                </a:cubicBezTo>
                <a:cubicBezTo>
                  <a:pt x="724" y="67"/>
                  <a:pt x="724" y="67"/>
                  <a:pt x="724" y="67"/>
                </a:cubicBezTo>
                <a:cubicBezTo>
                  <a:pt x="725" y="68"/>
                  <a:pt x="725" y="68"/>
                  <a:pt x="725" y="68"/>
                </a:cubicBezTo>
                <a:cubicBezTo>
                  <a:pt x="726" y="68"/>
                  <a:pt x="726" y="68"/>
                  <a:pt x="726" y="68"/>
                </a:cubicBezTo>
                <a:cubicBezTo>
                  <a:pt x="727" y="67"/>
                  <a:pt x="727" y="67"/>
                  <a:pt x="727" y="67"/>
                </a:cubicBezTo>
                <a:cubicBezTo>
                  <a:pt x="729" y="67"/>
                  <a:pt x="729" y="67"/>
                  <a:pt x="729" y="67"/>
                </a:cubicBezTo>
                <a:cubicBezTo>
                  <a:pt x="733" y="68"/>
                  <a:pt x="733" y="68"/>
                  <a:pt x="733" y="68"/>
                </a:cubicBezTo>
                <a:cubicBezTo>
                  <a:pt x="734" y="69"/>
                  <a:pt x="734" y="69"/>
                  <a:pt x="734" y="69"/>
                </a:cubicBezTo>
                <a:cubicBezTo>
                  <a:pt x="735" y="69"/>
                  <a:pt x="735" y="69"/>
                  <a:pt x="735" y="69"/>
                </a:cubicBezTo>
                <a:cubicBezTo>
                  <a:pt x="734" y="68"/>
                  <a:pt x="734" y="68"/>
                  <a:pt x="734" y="68"/>
                </a:cubicBezTo>
                <a:cubicBezTo>
                  <a:pt x="736" y="68"/>
                  <a:pt x="736" y="68"/>
                  <a:pt x="736" y="68"/>
                </a:cubicBezTo>
                <a:cubicBezTo>
                  <a:pt x="737" y="69"/>
                  <a:pt x="737" y="69"/>
                  <a:pt x="737" y="69"/>
                </a:cubicBezTo>
                <a:cubicBezTo>
                  <a:pt x="736" y="69"/>
                  <a:pt x="736" y="69"/>
                  <a:pt x="736" y="69"/>
                </a:cubicBezTo>
                <a:cubicBezTo>
                  <a:pt x="737" y="70"/>
                  <a:pt x="737" y="70"/>
                  <a:pt x="737" y="70"/>
                </a:cubicBezTo>
                <a:cubicBezTo>
                  <a:pt x="739" y="69"/>
                  <a:pt x="739" y="69"/>
                  <a:pt x="739" y="69"/>
                </a:cubicBezTo>
                <a:cubicBezTo>
                  <a:pt x="743" y="70"/>
                  <a:pt x="743" y="70"/>
                  <a:pt x="743" y="70"/>
                </a:cubicBezTo>
                <a:cubicBezTo>
                  <a:pt x="746" y="72"/>
                  <a:pt x="746" y="72"/>
                  <a:pt x="746" y="72"/>
                </a:cubicBezTo>
                <a:cubicBezTo>
                  <a:pt x="746" y="73"/>
                  <a:pt x="746" y="73"/>
                  <a:pt x="746" y="73"/>
                </a:cubicBezTo>
                <a:cubicBezTo>
                  <a:pt x="745" y="72"/>
                  <a:pt x="745" y="72"/>
                  <a:pt x="745" y="72"/>
                </a:cubicBezTo>
                <a:cubicBezTo>
                  <a:pt x="743" y="71"/>
                  <a:pt x="743" y="71"/>
                  <a:pt x="743" y="71"/>
                </a:cubicBezTo>
                <a:cubicBezTo>
                  <a:pt x="743" y="72"/>
                  <a:pt x="743" y="72"/>
                  <a:pt x="743" y="72"/>
                </a:cubicBezTo>
                <a:cubicBezTo>
                  <a:pt x="747" y="73"/>
                  <a:pt x="747" y="73"/>
                  <a:pt x="747" y="73"/>
                </a:cubicBezTo>
                <a:cubicBezTo>
                  <a:pt x="748" y="73"/>
                  <a:pt x="748" y="73"/>
                  <a:pt x="748" y="73"/>
                </a:cubicBezTo>
                <a:cubicBezTo>
                  <a:pt x="749" y="72"/>
                  <a:pt x="749" y="72"/>
                  <a:pt x="749" y="72"/>
                </a:cubicBezTo>
                <a:cubicBezTo>
                  <a:pt x="751" y="72"/>
                  <a:pt x="751" y="72"/>
                  <a:pt x="751" y="72"/>
                </a:cubicBezTo>
                <a:cubicBezTo>
                  <a:pt x="752" y="72"/>
                  <a:pt x="752" y="72"/>
                  <a:pt x="752" y="72"/>
                </a:cubicBezTo>
                <a:cubicBezTo>
                  <a:pt x="752" y="71"/>
                  <a:pt x="752" y="71"/>
                  <a:pt x="752" y="71"/>
                </a:cubicBezTo>
                <a:cubicBezTo>
                  <a:pt x="753" y="71"/>
                  <a:pt x="753" y="71"/>
                  <a:pt x="753" y="71"/>
                </a:cubicBezTo>
                <a:cubicBezTo>
                  <a:pt x="754" y="72"/>
                  <a:pt x="754" y="72"/>
                  <a:pt x="754" y="72"/>
                </a:cubicBezTo>
                <a:cubicBezTo>
                  <a:pt x="755" y="72"/>
                  <a:pt x="755" y="72"/>
                  <a:pt x="755" y="72"/>
                </a:cubicBezTo>
                <a:cubicBezTo>
                  <a:pt x="756" y="72"/>
                  <a:pt x="756" y="72"/>
                  <a:pt x="756" y="72"/>
                </a:cubicBezTo>
                <a:cubicBezTo>
                  <a:pt x="756" y="72"/>
                  <a:pt x="756" y="72"/>
                  <a:pt x="756" y="72"/>
                </a:cubicBezTo>
                <a:cubicBezTo>
                  <a:pt x="756" y="71"/>
                  <a:pt x="756" y="71"/>
                  <a:pt x="756" y="71"/>
                </a:cubicBezTo>
                <a:cubicBezTo>
                  <a:pt x="758" y="72"/>
                  <a:pt x="758" y="72"/>
                  <a:pt x="758" y="72"/>
                </a:cubicBezTo>
                <a:cubicBezTo>
                  <a:pt x="758" y="73"/>
                  <a:pt x="758" y="73"/>
                  <a:pt x="758" y="73"/>
                </a:cubicBezTo>
                <a:cubicBezTo>
                  <a:pt x="760" y="73"/>
                  <a:pt x="760" y="73"/>
                  <a:pt x="760" y="73"/>
                </a:cubicBezTo>
                <a:cubicBezTo>
                  <a:pt x="761" y="73"/>
                  <a:pt x="761" y="73"/>
                  <a:pt x="761" y="73"/>
                </a:cubicBezTo>
                <a:cubicBezTo>
                  <a:pt x="767" y="74"/>
                  <a:pt x="767" y="74"/>
                  <a:pt x="767" y="74"/>
                </a:cubicBezTo>
                <a:cubicBezTo>
                  <a:pt x="766" y="73"/>
                  <a:pt x="766" y="73"/>
                  <a:pt x="766" y="73"/>
                </a:cubicBezTo>
                <a:cubicBezTo>
                  <a:pt x="768" y="73"/>
                  <a:pt x="768" y="73"/>
                  <a:pt x="768" y="73"/>
                </a:cubicBezTo>
                <a:cubicBezTo>
                  <a:pt x="769" y="74"/>
                  <a:pt x="769" y="74"/>
                  <a:pt x="769" y="74"/>
                </a:cubicBezTo>
                <a:cubicBezTo>
                  <a:pt x="770" y="74"/>
                  <a:pt x="770" y="74"/>
                  <a:pt x="770" y="74"/>
                </a:cubicBezTo>
                <a:cubicBezTo>
                  <a:pt x="769" y="73"/>
                  <a:pt x="769" y="73"/>
                  <a:pt x="769" y="73"/>
                </a:cubicBezTo>
                <a:cubicBezTo>
                  <a:pt x="770" y="73"/>
                  <a:pt x="770" y="73"/>
                  <a:pt x="770" y="73"/>
                </a:cubicBezTo>
                <a:cubicBezTo>
                  <a:pt x="772" y="73"/>
                  <a:pt x="772" y="73"/>
                  <a:pt x="772" y="73"/>
                </a:cubicBezTo>
                <a:cubicBezTo>
                  <a:pt x="771" y="74"/>
                  <a:pt x="771" y="74"/>
                  <a:pt x="771" y="74"/>
                </a:cubicBezTo>
                <a:cubicBezTo>
                  <a:pt x="772" y="75"/>
                  <a:pt x="772" y="75"/>
                  <a:pt x="772" y="75"/>
                </a:cubicBezTo>
                <a:cubicBezTo>
                  <a:pt x="774" y="75"/>
                  <a:pt x="774" y="75"/>
                  <a:pt x="774" y="75"/>
                </a:cubicBezTo>
                <a:cubicBezTo>
                  <a:pt x="774" y="74"/>
                  <a:pt x="774" y="74"/>
                  <a:pt x="774" y="74"/>
                </a:cubicBezTo>
                <a:cubicBezTo>
                  <a:pt x="774" y="74"/>
                  <a:pt x="774" y="74"/>
                  <a:pt x="774" y="74"/>
                </a:cubicBezTo>
                <a:cubicBezTo>
                  <a:pt x="776" y="74"/>
                  <a:pt x="776" y="74"/>
                  <a:pt x="776" y="74"/>
                </a:cubicBezTo>
                <a:cubicBezTo>
                  <a:pt x="776" y="74"/>
                  <a:pt x="776" y="74"/>
                  <a:pt x="776" y="74"/>
                </a:cubicBezTo>
                <a:cubicBezTo>
                  <a:pt x="776" y="75"/>
                  <a:pt x="776" y="75"/>
                  <a:pt x="776" y="75"/>
                </a:cubicBezTo>
                <a:cubicBezTo>
                  <a:pt x="777" y="76"/>
                  <a:pt x="777" y="76"/>
                  <a:pt x="777" y="76"/>
                </a:cubicBezTo>
                <a:cubicBezTo>
                  <a:pt x="779" y="77"/>
                  <a:pt x="779" y="77"/>
                  <a:pt x="779" y="77"/>
                </a:cubicBezTo>
                <a:cubicBezTo>
                  <a:pt x="781" y="76"/>
                  <a:pt x="781" y="76"/>
                  <a:pt x="781" y="76"/>
                </a:cubicBezTo>
                <a:cubicBezTo>
                  <a:pt x="779" y="76"/>
                  <a:pt x="779" y="76"/>
                  <a:pt x="779" y="76"/>
                </a:cubicBezTo>
                <a:cubicBezTo>
                  <a:pt x="777" y="75"/>
                  <a:pt x="777" y="75"/>
                  <a:pt x="777" y="75"/>
                </a:cubicBezTo>
                <a:cubicBezTo>
                  <a:pt x="777" y="74"/>
                  <a:pt x="777" y="74"/>
                  <a:pt x="777" y="74"/>
                </a:cubicBezTo>
                <a:cubicBezTo>
                  <a:pt x="778" y="74"/>
                  <a:pt x="778" y="74"/>
                  <a:pt x="778" y="74"/>
                </a:cubicBezTo>
                <a:cubicBezTo>
                  <a:pt x="780" y="74"/>
                  <a:pt x="780" y="74"/>
                  <a:pt x="780" y="74"/>
                </a:cubicBezTo>
                <a:cubicBezTo>
                  <a:pt x="782" y="75"/>
                  <a:pt x="782" y="75"/>
                  <a:pt x="782" y="75"/>
                </a:cubicBezTo>
                <a:cubicBezTo>
                  <a:pt x="783" y="77"/>
                  <a:pt x="783" y="77"/>
                  <a:pt x="783" y="77"/>
                </a:cubicBezTo>
                <a:cubicBezTo>
                  <a:pt x="784" y="77"/>
                  <a:pt x="784" y="77"/>
                  <a:pt x="784" y="77"/>
                </a:cubicBezTo>
                <a:cubicBezTo>
                  <a:pt x="784" y="76"/>
                  <a:pt x="784" y="76"/>
                  <a:pt x="784" y="76"/>
                </a:cubicBezTo>
                <a:cubicBezTo>
                  <a:pt x="784" y="76"/>
                  <a:pt x="784" y="76"/>
                  <a:pt x="784" y="76"/>
                </a:cubicBezTo>
                <a:cubicBezTo>
                  <a:pt x="785" y="76"/>
                  <a:pt x="785" y="76"/>
                  <a:pt x="785" y="76"/>
                </a:cubicBezTo>
                <a:cubicBezTo>
                  <a:pt x="785" y="77"/>
                  <a:pt x="785" y="77"/>
                  <a:pt x="785" y="77"/>
                </a:cubicBezTo>
                <a:cubicBezTo>
                  <a:pt x="785" y="77"/>
                  <a:pt x="785" y="77"/>
                  <a:pt x="785" y="77"/>
                </a:cubicBezTo>
                <a:cubicBezTo>
                  <a:pt x="786" y="79"/>
                  <a:pt x="786" y="79"/>
                  <a:pt x="786" y="79"/>
                </a:cubicBezTo>
                <a:cubicBezTo>
                  <a:pt x="788" y="82"/>
                  <a:pt x="788" y="82"/>
                  <a:pt x="788" y="82"/>
                </a:cubicBezTo>
                <a:cubicBezTo>
                  <a:pt x="791" y="83"/>
                  <a:pt x="791" y="83"/>
                  <a:pt x="791" y="83"/>
                </a:cubicBezTo>
                <a:cubicBezTo>
                  <a:pt x="791" y="84"/>
                  <a:pt x="791" y="84"/>
                  <a:pt x="791" y="84"/>
                </a:cubicBezTo>
                <a:cubicBezTo>
                  <a:pt x="792" y="85"/>
                  <a:pt x="792" y="85"/>
                  <a:pt x="792" y="85"/>
                </a:cubicBezTo>
                <a:cubicBezTo>
                  <a:pt x="793" y="87"/>
                  <a:pt x="793" y="87"/>
                  <a:pt x="793" y="87"/>
                </a:cubicBezTo>
                <a:cubicBezTo>
                  <a:pt x="792" y="87"/>
                  <a:pt x="792" y="87"/>
                  <a:pt x="792" y="87"/>
                </a:cubicBezTo>
                <a:cubicBezTo>
                  <a:pt x="793" y="89"/>
                  <a:pt x="793" y="89"/>
                  <a:pt x="793" y="89"/>
                </a:cubicBezTo>
                <a:cubicBezTo>
                  <a:pt x="794" y="89"/>
                  <a:pt x="794" y="89"/>
                  <a:pt x="794" y="89"/>
                </a:cubicBezTo>
                <a:cubicBezTo>
                  <a:pt x="795" y="88"/>
                  <a:pt x="795" y="88"/>
                  <a:pt x="795" y="88"/>
                </a:cubicBezTo>
                <a:cubicBezTo>
                  <a:pt x="797" y="88"/>
                  <a:pt x="797" y="88"/>
                  <a:pt x="797" y="88"/>
                </a:cubicBezTo>
                <a:cubicBezTo>
                  <a:pt x="798" y="90"/>
                  <a:pt x="798" y="90"/>
                  <a:pt x="798" y="90"/>
                </a:cubicBezTo>
                <a:cubicBezTo>
                  <a:pt x="799" y="90"/>
                  <a:pt x="799" y="90"/>
                  <a:pt x="799" y="90"/>
                </a:cubicBezTo>
                <a:cubicBezTo>
                  <a:pt x="799" y="90"/>
                  <a:pt x="799" y="90"/>
                  <a:pt x="799" y="90"/>
                </a:cubicBezTo>
                <a:cubicBezTo>
                  <a:pt x="798" y="89"/>
                  <a:pt x="798" y="89"/>
                  <a:pt x="798" y="89"/>
                </a:cubicBezTo>
                <a:cubicBezTo>
                  <a:pt x="798" y="88"/>
                  <a:pt x="798" y="88"/>
                  <a:pt x="798" y="88"/>
                </a:cubicBezTo>
                <a:cubicBezTo>
                  <a:pt x="799" y="87"/>
                  <a:pt x="799" y="87"/>
                  <a:pt x="799" y="87"/>
                </a:cubicBezTo>
                <a:cubicBezTo>
                  <a:pt x="799" y="87"/>
                  <a:pt x="799" y="87"/>
                  <a:pt x="799" y="87"/>
                </a:cubicBezTo>
                <a:cubicBezTo>
                  <a:pt x="800" y="89"/>
                  <a:pt x="800" y="89"/>
                  <a:pt x="800" y="89"/>
                </a:cubicBezTo>
                <a:cubicBezTo>
                  <a:pt x="801" y="90"/>
                  <a:pt x="801" y="90"/>
                  <a:pt x="801" y="90"/>
                </a:cubicBezTo>
                <a:cubicBezTo>
                  <a:pt x="801" y="90"/>
                  <a:pt x="801" y="90"/>
                  <a:pt x="801" y="90"/>
                </a:cubicBezTo>
                <a:cubicBezTo>
                  <a:pt x="800" y="88"/>
                  <a:pt x="800" y="88"/>
                  <a:pt x="800" y="88"/>
                </a:cubicBezTo>
                <a:cubicBezTo>
                  <a:pt x="800" y="86"/>
                  <a:pt x="800" y="86"/>
                  <a:pt x="800" y="86"/>
                </a:cubicBezTo>
                <a:cubicBezTo>
                  <a:pt x="799" y="85"/>
                  <a:pt x="799" y="85"/>
                  <a:pt x="799" y="85"/>
                </a:cubicBezTo>
                <a:cubicBezTo>
                  <a:pt x="798" y="86"/>
                  <a:pt x="798" y="86"/>
                  <a:pt x="798" y="86"/>
                </a:cubicBezTo>
                <a:cubicBezTo>
                  <a:pt x="796" y="87"/>
                  <a:pt x="796" y="87"/>
                  <a:pt x="796" y="87"/>
                </a:cubicBezTo>
                <a:cubicBezTo>
                  <a:pt x="796" y="86"/>
                  <a:pt x="796" y="86"/>
                  <a:pt x="796" y="86"/>
                </a:cubicBezTo>
                <a:cubicBezTo>
                  <a:pt x="797" y="85"/>
                  <a:pt x="797" y="85"/>
                  <a:pt x="797" y="85"/>
                </a:cubicBezTo>
                <a:cubicBezTo>
                  <a:pt x="796" y="83"/>
                  <a:pt x="796" y="83"/>
                  <a:pt x="796" y="83"/>
                </a:cubicBezTo>
                <a:cubicBezTo>
                  <a:pt x="794" y="82"/>
                  <a:pt x="794" y="82"/>
                  <a:pt x="794" y="82"/>
                </a:cubicBezTo>
                <a:cubicBezTo>
                  <a:pt x="793" y="80"/>
                  <a:pt x="793" y="80"/>
                  <a:pt x="793" y="80"/>
                </a:cubicBezTo>
                <a:cubicBezTo>
                  <a:pt x="792" y="79"/>
                  <a:pt x="792" y="79"/>
                  <a:pt x="792" y="79"/>
                </a:cubicBezTo>
                <a:cubicBezTo>
                  <a:pt x="792" y="79"/>
                  <a:pt x="792" y="79"/>
                  <a:pt x="792" y="79"/>
                </a:cubicBezTo>
                <a:cubicBezTo>
                  <a:pt x="790" y="80"/>
                  <a:pt x="790" y="80"/>
                  <a:pt x="790" y="80"/>
                </a:cubicBezTo>
                <a:cubicBezTo>
                  <a:pt x="790" y="80"/>
                  <a:pt x="790" y="80"/>
                  <a:pt x="790" y="80"/>
                </a:cubicBezTo>
                <a:cubicBezTo>
                  <a:pt x="791" y="79"/>
                  <a:pt x="791" y="79"/>
                  <a:pt x="791" y="79"/>
                </a:cubicBezTo>
                <a:cubicBezTo>
                  <a:pt x="792" y="77"/>
                  <a:pt x="792" y="77"/>
                  <a:pt x="792" y="77"/>
                </a:cubicBezTo>
                <a:cubicBezTo>
                  <a:pt x="794" y="75"/>
                  <a:pt x="794" y="75"/>
                  <a:pt x="794" y="75"/>
                </a:cubicBezTo>
                <a:cubicBezTo>
                  <a:pt x="794" y="74"/>
                  <a:pt x="794" y="74"/>
                  <a:pt x="794" y="74"/>
                </a:cubicBezTo>
                <a:cubicBezTo>
                  <a:pt x="794" y="75"/>
                  <a:pt x="794" y="75"/>
                  <a:pt x="794" y="75"/>
                </a:cubicBezTo>
                <a:cubicBezTo>
                  <a:pt x="795" y="77"/>
                  <a:pt x="795" y="77"/>
                  <a:pt x="795" y="77"/>
                </a:cubicBezTo>
                <a:cubicBezTo>
                  <a:pt x="796" y="78"/>
                  <a:pt x="796" y="78"/>
                  <a:pt x="796" y="78"/>
                </a:cubicBezTo>
                <a:cubicBezTo>
                  <a:pt x="797" y="77"/>
                  <a:pt x="797" y="77"/>
                  <a:pt x="797" y="77"/>
                </a:cubicBezTo>
                <a:cubicBezTo>
                  <a:pt x="796" y="76"/>
                  <a:pt x="796" y="76"/>
                  <a:pt x="796" y="76"/>
                </a:cubicBezTo>
                <a:cubicBezTo>
                  <a:pt x="795" y="75"/>
                  <a:pt x="795" y="75"/>
                  <a:pt x="795" y="75"/>
                </a:cubicBezTo>
                <a:cubicBezTo>
                  <a:pt x="796" y="75"/>
                  <a:pt x="796" y="75"/>
                  <a:pt x="796" y="75"/>
                </a:cubicBezTo>
                <a:cubicBezTo>
                  <a:pt x="797" y="74"/>
                  <a:pt x="797" y="74"/>
                  <a:pt x="797" y="74"/>
                </a:cubicBezTo>
                <a:cubicBezTo>
                  <a:pt x="798" y="73"/>
                  <a:pt x="798" y="73"/>
                  <a:pt x="798" y="73"/>
                </a:cubicBezTo>
                <a:cubicBezTo>
                  <a:pt x="796" y="73"/>
                  <a:pt x="796" y="73"/>
                  <a:pt x="796" y="73"/>
                </a:cubicBezTo>
                <a:cubicBezTo>
                  <a:pt x="797" y="73"/>
                  <a:pt x="797" y="73"/>
                  <a:pt x="797" y="73"/>
                </a:cubicBezTo>
                <a:cubicBezTo>
                  <a:pt x="797" y="72"/>
                  <a:pt x="797" y="72"/>
                  <a:pt x="797" y="72"/>
                </a:cubicBezTo>
                <a:cubicBezTo>
                  <a:pt x="799" y="72"/>
                  <a:pt x="799" y="72"/>
                  <a:pt x="799" y="72"/>
                </a:cubicBezTo>
                <a:cubicBezTo>
                  <a:pt x="800" y="70"/>
                  <a:pt x="800" y="70"/>
                  <a:pt x="800" y="70"/>
                </a:cubicBezTo>
                <a:cubicBezTo>
                  <a:pt x="801" y="70"/>
                  <a:pt x="801" y="70"/>
                  <a:pt x="801" y="70"/>
                </a:cubicBezTo>
                <a:cubicBezTo>
                  <a:pt x="801" y="71"/>
                  <a:pt x="801" y="71"/>
                  <a:pt x="801" y="71"/>
                </a:cubicBezTo>
                <a:cubicBezTo>
                  <a:pt x="802" y="71"/>
                  <a:pt x="802" y="71"/>
                  <a:pt x="802" y="71"/>
                </a:cubicBezTo>
                <a:cubicBezTo>
                  <a:pt x="803" y="71"/>
                  <a:pt x="803" y="71"/>
                  <a:pt x="803" y="71"/>
                </a:cubicBezTo>
                <a:cubicBezTo>
                  <a:pt x="803" y="72"/>
                  <a:pt x="803" y="72"/>
                  <a:pt x="803" y="72"/>
                </a:cubicBezTo>
                <a:cubicBezTo>
                  <a:pt x="804" y="73"/>
                  <a:pt x="804" y="73"/>
                  <a:pt x="804" y="73"/>
                </a:cubicBezTo>
                <a:cubicBezTo>
                  <a:pt x="806" y="73"/>
                  <a:pt x="806" y="73"/>
                  <a:pt x="806" y="73"/>
                </a:cubicBezTo>
                <a:cubicBezTo>
                  <a:pt x="807" y="73"/>
                  <a:pt x="807" y="73"/>
                  <a:pt x="807" y="73"/>
                </a:cubicBezTo>
                <a:cubicBezTo>
                  <a:pt x="811" y="73"/>
                  <a:pt x="811" y="73"/>
                  <a:pt x="811" y="73"/>
                </a:cubicBezTo>
                <a:cubicBezTo>
                  <a:pt x="811" y="75"/>
                  <a:pt x="811" y="75"/>
                  <a:pt x="811" y="75"/>
                </a:cubicBezTo>
                <a:cubicBezTo>
                  <a:pt x="811" y="75"/>
                  <a:pt x="811" y="75"/>
                  <a:pt x="811" y="75"/>
                </a:cubicBezTo>
                <a:cubicBezTo>
                  <a:pt x="812" y="75"/>
                  <a:pt x="812" y="75"/>
                  <a:pt x="812" y="75"/>
                </a:cubicBezTo>
                <a:cubicBezTo>
                  <a:pt x="812" y="74"/>
                  <a:pt x="812" y="74"/>
                  <a:pt x="812" y="74"/>
                </a:cubicBezTo>
                <a:cubicBezTo>
                  <a:pt x="813" y="74"/>
                  <a:pt x="813" y="74"/>
                  <a:pt x="813" y="74"/>
                </a:cubicBezTo>
                <a:cubicBezTo>
                  <a:pt x="813" y="76"/>
                  <a:pt x="813" y="76"/>
                  <a:pt x="813" y="76"/>
                </a:cubicBezTo>
                <a:cubicBezTo>
                  <a:pt x="814" y="75"/>
                  <a:pt x="814" y="75"/>
                  <a:pt x="814" y="75"/>
                </a:cubicBezTo>
                <a:cubicBezTo>
                  <a:pt x="815" y="74"/>
                  <a:pt x="815" y="74"/>
                  <a:pt x="815" y="74"/>
                </a:cubicBezTo>
                <a:cubicBezTo>
                  <a:pt x="816" y="74"/>
                  <a:pt x="816" y="74"/>
                  <a:pt x="816" y="74"/>
                </a:cubicBezTo>
                <a:cubicBezTo>
                  <a:pt x="816" y="75"/>
                  <a:pt x="816" y="75"/>
                  <a:pt x="816" y="75"/>
                </a:cubicBezTo>
                <a:cubicBezTo>
                  <a:pt x="816" y="76"/>
                  <a:pt x="816" y="76"/>
                  <a:pt x="816" y="76"/>
                </a:cubicBezTo>
                <a:cubicBezTo>
                  <a:pt x="815" y="77"/>
                  <a:pt x="815" y="77"/>
                  <a:pt x="815" y="77"/>
                </a:cubicBezTo>
                <a:cubicBezTo>
                  <a:pt x="816" y="80"/>
                  <a:pt x="816" y="80"/>
                  <a:pt x="816" y="80"/>
                </a:cubicBezTo>
                <a:cubicBezTo>
                  <a:pt x="816" y="82"/>
                  <a:pt x="816" y="82"/>
                  <a:pt x="816" y="82"/>
                </a:cubicBezTo>
                <a:cubicBezTo>
                  <a:pt x="816" y="83"/>
                  <a:pt x="816" y="83"/>
                  <a:pt x="816" y="83"/>
                </a:cubicBezTo>
                <a:cubicBezTo>
                  <a:pt x="817" y="82"/>
                  <a:pt x="817" y="82"/>
                  <a:pt x="817" y="82"/>
                </a:cubicBezTo>
                <a:cubicBezTo>
                  <a:pt x="818" y="84"/>
                  <a:pt x="818" y="84"/>
                  <a:pt x="818" y="84"/>
                </a:cubicBezTo>
                <a:cubicBezTo>
                  <a:pt x="820" y="84"/>
                  <a:pt x="820" y="84"/>
                  <a:pt x="820" y="84"/>
                </a:cubicBezTo>
                <a:cubicBezTo>
                  <a:pt x="820" y="85"/>
                  <a:pt x="820" y="85"/>
                  <a:pt x="820" y="85"/>
                </a:cubicBezTo>
                <a:cubicBezTo>
                  <a:pt x="819" y="86"/>
                  <a:pt x="819" y="86"/>
                  <a:pt x="819" y="86"/>
                </a:cubicBezTo>
                <a:cubicBezTo>
                  <a:pt x="817" y="86"/>
                  <a:pt x="817" y="86"/>
                  <a:pt x="817" y="86"/>
                </a:cubicBezTo>
                <a:cubicBezTo>
                  <a:pt x="815" y="87"/>
                  <a:pt x="815" y="87"/>
                  <a:pt x="815" y="87"/>
                </a:cubicBezTo>
                <a:cubicBezTo>
                  <a:pt x="818" y="87"/>
                  <a:pt x="818" y="87"/>
                  <a:pt x="818" y="87"/>
                </a:cubicBezTo>
                <a:cubicBezTo>
                  <a:pt x="819" y="88"/>
                  <a:pt x="819" y="88"/>
                  <a:pt x="819" y="88"/>
                </a:cubicBezTo>
                <a:cubicBezTo>
                  <a:pt x="819" y="89"/>
                  <a:pt x="819" y="89"/>
                  <a:pt x="819" y="89"/>
                </a:cubicBezTo>
                <a:cubicBezTo>
                  <a:pt x="817" y="90"/>
                  <a:pt x="817" y="90"/>
                  <a:pt x="817" y="90"/>
                </a:cubicBezTo>
                <a:cubicBezTo>
                  <a:pt x="816" y="92"/>
                  <a:pt x="816" y="92"/>
                  <a:pt x="816" y="92"/>
                </a:cubicBezTo>
                <a:cubicBezTo>
                  <a:pt x="815" y="91"/>
                  <a:pt x="815" y="91"/>
                  <a:pt x="815" y="91"/>
                </a:cubicBezTo>
                <a:cubicBezTo>
                  <a:pt x="814" y="92"/>
                  <a:pt x="814" y="92"/>
                  <a:pt x="814" y="92"/>
                </a:cubicBezTo>
                <a:cubicBezTo>
                  <a:pt x="812" y="92"/>
                  <a:pt x="812" y="92"/>
                  <a:pt x="812" y="92"/>
                </a:cubicBezTo>
                <a:cubicBezTo>
                  <a:pt x="811" y="94"/>
                  <a:pt x="811" y="94"/>
                  <a:pt x="811" y="94"/>
                </a:cubicBezTo>
                <a:cubicBezTo>
                  <a:pt x="813" y="93"/>
                  <a:pt x="813" y="93"/>
                  <a:pt x="813" y="93"/>
                </a:cubicBezTo>
                <a:cubicBezTo>
                  <a:pt x="814" y="94"/>
                  <a:pt x="814" y="94"/>
                  <a:pt x="814" y="94"/>
                </a:cubicBezTo>
                <a:cubicBezTo>
                  <a:pt x="814" y="95"/>
                  <a:pt x="814" y="95"/>
                  <a:pt x="814" y="95"/>
                </a:cubicBezTo>
                <a:cubicBezTo>
                  <a:pt x="815" y="94"/>
                  <a:pt x="815" y="94"/>
                  <a:pt x="815" y="94"/>
                </a:cubicBezTo>
                <a:cubicBezTo>
                  <a:pt x="816" y="94"/>
                  <a:pt x="816" y="94"/>
                  <a:pt x="816" y="94"/>
                </a:cubicBezTo>
                <a:cubicBezTo>
                  <a:pt x="816" y="95"/>
                  <a:pt x="816" y="95"/>
                  <a:pt x="816" y="95"/>
                </a:cubicBezTo>
                <a:cubicBezTo>
                  <a:pt x="817" y="96"/>
                  <a:pt x="817" y="96"/>
                  <a:pt x="817" y="96"/>
                </a:cubicBezTo>
                <a:cubicBezTo>
                  <a:pt x="816" y="97"/>
                  <a:pt x="816" y="97"/>
                  <a:pt x="816" y="97"/>
                </a:cubicBezTo>
                <a:cubicBezTo>
                  <a:pt x="816" y="99"/>
                  <a:pt x="816" y="99"/>
                  <a:pt x="816" y="99"/>
                </a:cubicBezTo>
                <a:cubicBezTo>
                  <a:pt x="817" y="97"/>
                  <a:pt x="817" y="97"/>
                  <a:pt x="817" y="97"/>
                </a:cubicBezTo>
                <a:cubicBezTo>
                  <a:pt x="819" y="97"/>
                  <a:pt x="819" y="97"/>
                  <a:pt x="819" y="97"/>
                </a:cubicBezTo>
                <a:cubicBezTo>
                  <a:pt x="821" y="99"/>
                  <a:pt x="821" y="99"/>
                  <a:pt x="821" y="99"/>
                </a:cubicBezTo>
                <a:cubicBezTo>
                  <a:pt x="820" y="100"/>
                  <a:pt x="820" y="100"/>
                  <a:pt x="820" y="100"/>
                </a:cubicBezTo>
                <a:cubicBezTo>
                  <a:pt x="821" y="101"/>
                  <a:pt x="821" y="101"/>
                  <a:pt x="821" y="101"/>
                </a:cubicBezTo>
                <a:cubicBezTo>
                  <a:pt x="820" y="102"/>
                  <a:pt x="820" y="102"/>
                  <a:pt x="820" y="102"/>
                </a:cubicBezTo>
                <a:cubicBezTo>
                  <a:pt x="821" y="103"/>
                  <a:pt x="821" y="103"/>
                  <a:pt x="821" y="103"/>
                </a:cubicBezTo>
                <a:cubicBezTo>
                  <a:pt x="821" y="105"/>
                  <a:pt x="821" y="105"/>
                  <a:pt x="821" y="105"/>
                </a:cubicBezTo>
                <a:cubicBezTo>
                  <a:pt x="820" y="105"/>
                  <a:pt x="820" y="105"/>
                  <a:pt x="820" y="105"/>
                </a:cubicBezTo>
                <a:cubicBezTo>
                  <a:pt x="819" y="106"/>
                  <a:pt x="819" y="106"/>
                  <a:pt x="819" y="106"/>
                </a:cubicBezTo>
                <a:cubicBezTo>
                  <a:pt x="820" y="107"/>
                  <a:pt x="820" y="107"/>
                  <a:pt x="820" y="107"/>
                </a:cubicBezTo>
                <a:cubicBezTo>
                  <a:pt x="820" y="106"/>
                  <a:pt x="820" y="106"/>
                  <a:pt x="820" y="106"/>
                </a:cubicBezTo>
                <a:cubicBezTo>
                  <a:pt x="821" y="106"/>
                  <a:pt x="821" y="106"/>
                  <a:pt x="821" y="106"/>
                </a:cubicBezTo>
                <a:cubicBezTo>
                  <a:pt x="822" y="106"/>
                  <a:pt x="822" y="106"/>
                  <a:pt x="822" y="106"/>
                </a:cubicBezTo>
                <a:cubicBezTo>
                  <a:pt x="822" y="108"/>
                  <a:pt x="822" y="108"/>
                  <a:pt x="822" y="108"/>
                </a:cubicBezTo>
                <a:cubicBezTo>
                  <a:pt x="823" y="108"/>
                  <a:pt x="823" y="108"/>
                  <a:pt x="823" y="108"/>
                </a:cubicBezTo>
                <a:cubicBezTo>
                  <a:pt x="824" y="109"/>
                  <a:pt x="824" y="109"/>
                  <a:pt x="824" y="109"/>
                </a:cubicBezTo>
                <a:cubicBezTo>
                  <a:pt x="824" y="108"/>
                  <a:pt x="824" y="108"/>
                  <a:pt x="824" y="108"/>
                </a:cubicBezTo>
                <a:cubicBezTo>
                  <a:pt x="824" y="107"/>
                  <a:pt x="824" y="107"/>
                  <a:pt x="824" y="107"/>
                </a:cubicBezTo>
                <a:cubicBezTo>
                  <a:pt x="825" y="107"/>
                  <a:pt x="825" y="107"/>
                  <a:pt x="825" y="107"/>
                </a:cubicBezTo>
                <a:cubicBezTo>
                  <a:pt x="827" y="108"/>
                  <a:pt x="827" y="108"/>
                  <a:pt x="827" y="108"/>
                </a:cubicBezTo>
                <a:cubicBezTo>
                  <a:pt x="827" y="109"/>
                  <a:pt x="827" y="109"/>
                  <a:pt x="827" y="109"/>
                </a:cubicBezTo>
                <a:cubicBezTo>
                  <a:pt x="826" y="110"/>
                  <a:pt x="826" y="110"/>
                  <a:pt x="826" y="110"/>
                </a:cubicBezTo>
                <a:cubicBezTo>
                  <a:pt x="825" y="109"/>
                  <a:pt x="825" y="109"/>
                  <a:pt x="825" y="109"/>
                </a:cubicBezTo>
                <a:cubicBezTo>
                  <a:pt x="824" y="110"/>
                  <a:pt x="824" y="110"/>
                  <a:pt x="824" y="110"/>
                </a:cubicBezTo>
                <a:cubicBezTo>
                  <a:pt x="825" y="111"/>
                  <a:pt x="825" y="111"/>
                  <a:pt x="825" y="111"/>
                </a:cubicBezTo>
                <a:cubicBezTo>
                  <a:pt x="826" y="111"/>
                  <a:pt x="826" y="111"/>
                  <a:pt x="826" y="111"/>
                </a:cubicBezTo>
                <a:cubicBezTo>
                  <a:pt x="827" y="112"/>
                  <a:pt x="827" y="112"/>
                  <a:pt x="827" y="112"/>
                </a:cubicBezTo>
                <a:cubicBezTo>
                  <a:pt x="827" y="113"/>
                  <a:pt x="827" y="113"/>
                  <a:pt x="827" y="113"/>
                </a:cubicBezTo>
                <a:cubicBezTo>
                  <a:pt x="825" y="114"/>
                  <a:pt x="825" y="114"/>
                  <a:pt x="825" y="114"/>
                </a:cubicBezTo>
                <a:cubicBezTo>
                  <a:pt x="824" y="112"/>
                  <a:pt x="824" y="112"/>
                  <a:pt x="824" y="112"/>
                </a:cubicBezTo>
                <a:cubicBezTo>
                  <a:pt x="823" y="112"/>
                  <a:pt x="823" y="112"/>
                  <a:pt x="823" y="112"/>
                </a:cubicBezTo>
                <a:cubicBezTo>
                  <a:pt x="824" y="114"/>
                  <a:pt x="824" y="114"/>
                  <a:pt x="824" y="114"/>
                </a:cubicBezTo>
                <a:cubicBezTo>
                  <a:pt x="823" y="115"/>
                  <a:pt x="823" y="115"/>
                  <a:pt x="823" y="115"/>
                </a:cubicBezTo>
                <a:cubicBezTo>
                  <a:pt x="823" y="115"/>
                  <a:pt x="823" y="115"/>
                  <a:pt x="823" y="115"/>
                </a:cubicBezTo>
                <a:cubicBezTo>
                  <a:pt x="822" y="114"/>
                  <a:pt x="822" y="114"/>
                  <a:pt x="822" y="114"/>
                </a:cubicBezTo>
                <a:cubicBezTo>
                  <a:pt x="821" y="114"/>
                  <a:pt x="821" y="114"/>
                  <a:pt x="821" y="114"/>
                </a:cubicBezTo>
                <a:cubicBezTo>
                  <a:pt x="820" y="114"/>
                  <a:pt x="820" y="114"/>
                  <a:pt x="820" y="114"/>
                </a:cubicBezTo>
                <a:cubicBezTo>
                  <a:pt x="818" y="114"/>
                  <a:pt x="818" y="114"/>
                  <a:pt x="818" y="114"/>
                </a:cubicBezTo>
                <a:cubicBezTo>
                  <a:pt x="816" y="114"/>
                  <a:pt x="816" y="114"/>
                  <a:pt x="816" y="114"/>
                </a:cubicBezTo>
                <a:cubicBezTo>
                  <a:pt x="815" y="114"/>
                  <a:pt x="815" y="114"/>
                  <a:pt x="815" y="114"/>
                </a:cubicBezTo>
                <a:cubicBezTo>
                  <a:pt x="816" y="113"/>
                  <a:pt x="816" y="113"/>
                  <a:pt x="816" y="113"/>
                </a:cubicBezTo>
                <a:cubicBezTo>
                  <a:pt x="815" y="113"/>
                  <a:pt x="815" y="113"/>
                  <a:pt x="815" y="113"/>
                </a:cubicBezTo>
                <a:cubicBezTo>
                  <a:pt x="814" y="112"/>
                  <a:pt x="814" y="112"/>
                  <a:pt x="814" y="112"/>
                </a:cubicBezTo>
                <a:cubicBezTo>
                  <a:pt x="814" y="114"/>
                  <a:pt x="814" y="114"/>
                  <a:pt x="814" y="114"/>
                </a:cubicBezTo>
                <a:cubicBezTo>
                  <a:pt x="814" y="114"/>
                  <a:pt x="814" y="114"/>
                  <a:pt x="814" y="114"/>
                </a:cubicBezTo>
                <a:cubicBezTo>
                  <a:pt x="813" y="114"/>
                  <a:pt x="813" y="114"/>
                  <a:pt x="813" y="114"/>
                </a:cubicBezTo>
                <a:cubicBezTo>
                  <a:pt x="814" y="115"/>
                  <a:pt x="814" y="115"/>
                  <a:pt x="814" y="115"/>
                </a:cubicBezTo>
                <a:cubicBezTo>
                  <a:pt x="813" y="117"/>
                  <a:pt x="813" y="117"/>
                  <a:pt x="813" y="117"/>
                </a:cubicBezTo>
                <a:cubicBezTo>
                  <a:pt x="813" y="117"/>
                  <a:pt x="813" y="117"/>
                  <a:pt x="813" y="117"/>
                </a:cubicBezTo>
                <a:cubicBezTo>
                  <a:pt x="813" y="116"/>
                  <a:pt x="813" y="116"/>
                  <a:pt x="813" y="116"/>
                </a:cubicBezTo>
                <a:cubicBezTo>
                  <a:pt x="812" y="116"/>
                  <a:pt x="812" y="116"/>
                  <a:pt x="812" y="116"/>
                </a:cubicBezTo>
                <a:cubicBezTo>
                  <a:pt x="810" y="116"/>
                  <a:pt x="810" y="116"/>
                  <a:pt x="810" y="116"/>
                </a:cubicBezTo>
                <a:cubicBezTo>
                  <a:pt x="809" y="116"/>
                  <a:pt x="809" y="116"/>
                  <a:pt x="809" y="116"/>
                </a:cubicBezTo>
                <a:cubicBezTo>
                  <a:pt x="809" y="115"/>
                  <a:pt x="809" y="115"/>
                  <a:pt x="809" y="115"/>
                </a:cubicBezTo>
                <a:cubicBezTo>
                  <a:pt x="808" y="114"/>
                  <a:pt x="808" y="114"/>
                  <a:pt x="808" y="114"/>
                </a:cubicBezTo>
                <a:cubicBezTo>
                  <a:pt x="808" y="113"/>
                  <a:pt x="808" y="113"/>
                  <a:pt x="808" y="113"/>
                </a:cubicBezTo>
                <a:cubicBezTo>
                  <a:pt x="805" y="111"/>
                  <a:pt x="805" y="111"/>
                  <a:pt x="805" y="111"/>
                </a:cubicBezTo>
                <a:cubicBezTo>
                  <a:pt x="805" y="111"/>
                  <a:pt x="805" y="111"/>
                  <a:pt x="805" y="111"/>
                </a:cubicBezTo>
                <a:cubicBezTo>
                  <a:pt x="805" y="110"/>
                  <a:pt x="805" y="110"/>
                  <a:pt x="805" y="110"/>
                </a:cubicBezTo>
                <a:cubicBezTo>
                  <a:pt x="803" y="109"/>
                  <a:pt x="803" y="109"/>
                  <a:pt x="803" y="109"/>
                </a:cubicBezTo>
                <a:cubicBezTo>
                  <a:pt x="802" y="111"/>
                  <a:pt x="802" y="111"/>
                  <a:pt x="802" y="111"/>
                </a:cubicBezTo>
                <a:cubicBezTo>
                  <a:pt x="800" y="111"/>
                  <a:pt x="800" y="111"/>
                  <a:pt x="800" y="111"/>
                </a:cubicBezTo>
                <a:cubicBezTo>
                  <a:pt x="799" y="112"/>
                  <a:pt x="799" y="112"/>
                  <a:pt x="799" y="112"/>
                </a:cubicBezTo>
                <a:cubicBezTo>
                  <a:pt x="799" y="113"/>
                  <a:pt x="799" y="113"/>
                  <a:pt x="799" y="113"/>
                </a:cubicBezTo>
                <a:cubicBezTo>
                  <a:pt x="798" y="111"/>
                  <a:pt x="798" y="111"/>
                  <a:pt x="798" y="111"/>
                </a:cubicBezTo>
                <a:cubicBezTo>
                  <a:pt x="798" y="110"/>
                  <a:pt x="798" y="110"/>
                  <a:pt x="798" y="110"/>
                </a:cubicBezTo>
                <a:cubicBezTo>
                  <a:pt x="798" y="111"/>
                  <a:pt x="798" y="111"/>
                  <a:pt x="798" y="111"/>
                </a:cubicBezTo>
                <a:cubicBezTo>
                  <a:pt x="798" y="113"/>
                  <a:pt x="798" y="113"/>
                  <a:pt x="798" y="113"/>
                </a:cubicBezTo>
                <a:cubicBezTo>
                  <a:pt x="798" y="115"/>
                  <a:pt x="798" y="115"/>
                  <a:pt x="798" y="115"/>
                </a:cubicBezTo>
                <a:cubicBezTo>
                  <a:pt x="798" y="116"/>
                  <a:pt x="798" y="116"/>
                  <a:pt x="798" y="116"/>
                </a:cubicBezTo>
                <a:cubicBezTo>
                  <a:pt x="796" y="120"/>
                  <a:pt x="796" y="120"/>
                  <a:pt x="796" y="120"/>
                </a:cubicBezTo>
                <a:cubicBezTo>
                  <a:pt x="794" y="119"/>
                  <a:pt x="794" y="119"/>
                  <a:pt x="794" y="119"/>
                </a:cubicBezTo>
                <a:cubicBezTo>
                  <a:pt x="794" y="117"/>
                  <a:pt x="794" y="117"/>
                  <a:pt x="794" y="117"/>
                </a:cubicBezTo>
                <a:cubicBezTo>
                  <a:pt x="793" y="117"/>
                  <a:pt x="793" y="117"/>
                  <a:pt x="793" y="117"/>
                </a:cubicBezTo>
                <a:cubicBezTo>
                  <a:pt x="792" y="117"/>
                  <a:pt x="792" y="117"/>
                  <a:pt x="792" y="117"/>
                </a:cubicBezTo>
                <a:cubicBezTo>
                  <a:pt x="789" y="115"/>
                  <a:pt x="789" y="115"/>
                  <a:pt x="789" y="115"/>
                </a:cubicBezTo>
                <a:cubicBezTo>
                  <a:pt x="789" y="114"/>
                  <a:pt x="789" y="114"/>
                  <a:pt x="789" y="114"/>
                </a:cubicBezTo>
                <a:cubicBezTo>
                  <a:pt x="789" y="111"/>
                  <a:pt x="789" y="111"/>
                  <a:pt x="789" y="111"/>
                </a:cubicBezTo>
                <a:cubicBezTo>
                  <a:pt x="787" y="111"/>
                  <a:pt x="787" y="111"/>
                  <a:pt x="787" y="111"/>
                </a:cubicBezTo>
                <a:cubicBezTo>
                  <a:pt x="787" y="110"/>
                  <a:pt x="787" y="110"/>
                  <a:pt x="787" y="110"/>
                </a:cubicBezTo>
                <a:cubicBezTo>
                  <a:pt x="786" y="109"/>
                  <a:pt x="786" y="109"/>
                  <a:pt x="786" y="109"/>
                </a:cubicBezTo>
                <a:cubicBezTo>
                  <a:pt x="786" y="110"/>
                  <a:pt x="786" y="110"/>
                  <a:pt x="786" y="110"/>
                </a:cubicBezTo>
                <a:cubicBezTo>
                  <a:pt x="786" y="111"/>
                  <a:pt x="786" y="111"/>
                  <a:pt x="786" y="111"/>
                </a:cubicBezTo>
                <a:cubicBezTo>
                  <a:pt x="786" y="112"/>
                  <a:pt x="786" y="112"/>
                  <a:pt x="786" y="112"/>
                </a:cubicBezTo>
                <a:cubicBezTo>
                  <a:pt x="787" y="112"/>
                  <a:pt x="787" y="112"/>
                  <a:pt x="787" y="112"/>
                </a:cubicBezTo>
                <a:cubicBezTo>
                  <a:pt x="786" y="113"/>
                  <a:pt x="786" y="113"/>
                  <a:pt x="786" y="113"/>
                </a:cubicBezTo>
                <a:cubicBezTo>
                  <a:pt x="784" y="112"/>
                  <a:pt x="784" y="112"/>
                  <a:pt x="784" y="112"/>
                </a:cubicBezTo>
                <a:cubicBezTo>
                  <a:pt x="783" y="111"/>
                  <a:pt x="783" y="111"/>
                  <a:pt x="783" y="111"/>
                </a:cubicBezTo>
                <a:cubicBezTo>
                  <a:pt x="783" y="111"/>
                  <a:pt x="783" y="111"/>
                  <a:pt x="783" y="111"/>
                </a:cubicBezTo>
                <a:cubicBezTo>
                  <a:pt x="783" y="112"/>
                  <a:pt x="783" y="112"/>
                  <a:pt x="783" y="112"/>
                </a:cubicBezTo>
                <a:cubicBezTo>
                  <a:pt x="783" y="113"/>
                  <a:pt x="783" y="113"/>
                  <a:pt x="783" y="113"/>
                </a:cubicBezTo>
                <a:cubicBezTo>
                  <a:pt x="783" y="113"/>
                  <a:pt x="783" y="113"/>
                  <a:pt x="783" y="113"/>
                </a:cubicBezTo>
                <a:cubicBezTo>
                  <a:pt x="785" y="113"/>
                  <a:pt x="785" y="113"/>
                  <a:pt x="785" y="113"/>
                </a:cubicBezTo>
                <a:cubicBezTo>
                  <a:pt x="786" y="114"/>
                  <a:pt x="786" y="114"/>
                  <a:pt x="786" y="114"/>
                </a:cubicBezTo>
                <a:cubicBezTo>
                  <a:pt x="785" y="116"/>
                  <a:pt x="785" y="116"/>
                  <a:pt x="785" y="116"/>
                </a:cubicBezTo>
                <a:cubicBezTo>
                  <a:pt x="783" y="116"/>
                  <a:pt x="783" y="116"/>
                  <a:pt x="783" y="116"/>
                </a:cubicBezTo>
                <a:cubicBezTo>
                  <a:pt x="783" y="117"/>
                  <a:pt x="783" y="117"/>
                  <a:pt x="783" y="117"/>
                </a:cubicBezTo>
                <a:cubicBezTo>
                  <a:pt x="784" y="117"/>
                  <a:pt x="784" y="117"/>
                  <a:pt x="784" y="117"/>
                </a:cubicBezTo>
                <a:cubicBezTo>
                  <a:pt x="787" y="121"/>
                  <a:pt x="787" y="121"/>
                  <a:pt x="787" y="121"/>
                </a:cubicBezTo>
                <a:cubicBezTo>
                  <a:pt x="790" y="122"/>
                  <a:pt x="790" y="122"/>
                  <a:pt x="790" y="122"/>
                </a:cubicBezTo>
                <a:cubicBezTo>
                  <a:pt x="791" y="121"/>
                  <a:pt x="791" y="121"/>
                  <a:pt x="791" y="121"/>
                </a:cubicBezTo>
                <a:cubicBezTo>
                  <a:pt x="793" y="122"/>
                  <a:pt x="793" y="122"/>
                  <a:pt x="793" y="122"/>
                </a:cubicBezTo>
                <a:cubicBezTo>
                  <a:pt x="793" y="124"/>
                  <a:pt x="793" y="124"/>
                  <a:pt x="793" y="124"/>
                </a:cubicBezTo>
                <a:cubicBezTo>
                  <a:pt x="793" y="124"/>
                  <a:pt x="793" y="124"/>
                  <a:pt x="793" y="124"/>
                </a:cubicBezTo>
                <a:cubicBezTo>
                  <a:pt x="792" y="122"/>
                  <a:pt x="792" y="122"/>
                  <a:pt x="792" y="122"/>
                </a:cubicBezTo>
                <a:cubicBezTo>
                  <a:pt x="791" y="122"/>
                  <a:pt x="791" y="122"/>
                  <a:pt x="791" y="122"/>
                </a:cubicBezTo>
                <a:cubicBezTo>
                  <a:pt x="792" y="124"/>
                  <a:pt x="792" y="124"/>
                  <a:pt x="792" y="124"/>
                </a:cubicBezTo>
                <a:cubicBezTo>
                  <a:pt x="794" y="126"/>
                  <a:pt x="794" y="126"/>
                  <a:pt x="794" y="126"/>
                </a:cubicBezTo>
                <a:cubicBezTo>
                  <a:pt x="794" y="127"/>
                  <a:pt x="794" y="127"/>
                  <a:pt x="794" y="127"/>
                </a:cubicBezTo>
                <a:cubicBezTo>
                  <a:pt x="796" y="129"/>
                  <a:pt x="796" y="129"/>
                  <a:pt x="796" y="129"/>
                </a:cubicBezTo>
                <a:cubicBezTo>
                  <a:pt x="796" y="131"/>
                  <a:pt x="796" y="131"/>
                  <a:pt x="796" y="131"/>
                </a:cubicBezTo>
                <a:cubicBezTo>
                  <a:pt x="795" y="135"/>
                  <a:pt x="795" y="135"/>
                  <a:pt x="795" y="135"/>
                </a:cubicBezTo>
                <a:cubicBezTo>
                  <a:pt x="795" y="138"/>
                  <a:pt x="795" y="138"/>
                  <a:pt x="795" y="138"/>
                </a:cubicBezTo>
                <a:cubicBezTo>
                  <a:pt x="795" y="140"/>
                  <a:pt x="795" y="140"/>
                  <a:pt x="795" y="140"/>
                </a:cubicBezTo>
                <a:cubicBezTo>
                  <a:pt x="796" y="140"/>
                  <a:pt x="796" y="140"/>
                  <a:pt x="796" y="140"/>
                </a:cubicBezTo>
                <a:cubicBezTo>
                  <a:pt x="794" y="143"/>
                  <a:pt x="794" y="143"/>
                  <a:pt x="794" y="143"/>
                </a:cubicBezTo>
                <a:cubicBezTo>
                  <a:pt x="794" y="144"/>
                  <a:pt x="794" y="144"/>
                  <a:pt x="794" y="144"/>
                </a:cubicBezTo>
                <a:cubicBezTo>
                  <a:pt x="793" y="145"/>
                  <a:pt x="793" y="145"/>
                  <a:pt x="793" y="145"/>
                </a:cubicBezTo>
                <a:cubicBezTo>
                  <a:pt x="793" y="144"/>
                  <a:pt x="793" y="144"/>
                  <a:pt x="793" y="144"/>
                </a:cubicBezTo>
                <a:cubicBezTo>
                  <a:pt x="793" y="143"/>
                  <a:pt x="793" y="143"/>
                  <a:pt x="793" y="143"/>
                </a:cubicBezTo>
                <a:cubicBezTo>
                  <a:pt x="790" y="146"/>
                  <a:pt x="790" y="146"/>
                  <a:pt x="790" y="146"/>
                </a:cubicBezTo>
                <a:cubicBezTo>
                  <a:pt x="789" y="145"/>
                  <a:pt x="789" y="145"/>
                  <a:pt x="789" y="145"/>
                </a:cubicBezTo>
                <a:cubicBezTo>
                  <a:pt x="788" y="146"/>
                  <a:pt x="788" y="146"/>
                  <a:pt x="788" y="146"/>
                </a:cubicBezTo>
                <a:cubicBezTo>
                  <a:pt x="787" y="145"/>
                  <a:pt x="787" y="145"/>
                  <a:pt x="787" y="145"/>
                </a:cubicBezTo>
                <a:cubicBezTo>
                  <a:pt x="786" y="144"/>
                  <a:pt x="786" y="144"/>
                  <a:pt x="786" y="144"/>
                </a:cubicBezTo>
                <a:cubicBezTo>
                  <a:pt x="785" y="144"/>
                  <a:pt x="785" y="144"/>
                  <a:pt x="785" y="144"/>
                </a:cubicBezTo>
                <a:cubicBezTo>
                  <a:pt x="783" y="142"/>
                  <a:pt x="783" y="142"/>
                  <a:pt x="783" y="142"/>
                </a:cubicBezTo>
                <a:cubicBezTo>
                  <a:pt x="782" y="141"/>
                  <a:pt x="782" y="141"/>
                  <a:pt x="782" y="141"/>
                </a:cubicBezTo>
                <a:cubicBezTo>
                  <a:pt x="780" y="141"/>
                  <a:pt x="780" y="141"/>
                  <a:pt x="780" y="141"/>
                </a:cubicBezTo>
                <a:cubicBezTo>
                  <a:pt x="779" y="140"/>
                  <a:pt x="779" y="140"/>
                  <a:pt x="779" y="140"/>
                </a:cubicBezTo>
                <a:cubicBezTo>
                  <a:pt x="778" y="141"/>
                  <a:pt x="778" y="141"/>
                  <a:pt x="778" y="141"/>
                </a:cubicBezTo>
                <a:cubicBezTo>
                  <a:pt x="777" y="142"/>
                  <a:pt x="777" y="142"/>
                  <a:pt x="777" y="142"/>
                </a:cubicBezTo>
                <a:cubicBezTo>
                  <a:pt x="776" y="142"/>
                  <a:pt x="776" y="142"/>
                  <a:pt x="776" y="142"/>
                </a:cubicBezTo>
                <a:cubicBezTo>
                  <a:pt x="777" y="143"/>
                  <a:pt x="777" y="143"/>
                  <a:pt x="777" y="143"/>
                </a:cubicBezTo>
                <a:cubicBezTo>
                  <a:pt x="779" y="143"/>
                  <a:pt x="779" y="143"/>
                  <a:pt x="779" y="143"/>
                </a:cubicBezTo>
                <a:cubicBezTo>
                  <a:pt x="779" y="141"/>
                  <a:pt x="779" y="141"/>
                  <a:pt x="779" y="141"/>
                </a:cubicBezTo>
                <a:cubicBezTo>
                  <a:pt x="783" y="143"/>
                  <a:pt x="783" y="143"/>
                  <a:pt x="783" y="143"/>
                </a:cubicBezTo>
                <a:cubicBezTo>
                  <a:pt x="783" y="144"/>
                  <a:pt x="783" y="144"/>
                  <a:pt x="783" y="144"/>
                </a:cubicBezTo>
                <a:cubicBezTo>
                  <a:pt x="782" y="145"/>
                  <a:pt x="782" y="145"/>
                  <a:pt x="782" y="145"/>
                </a:cubicBezTo>
                <a:cubicBezTo>
                  <a:pt x="781" y="144"/>
                  <a:pt x="781" y="144"/>
                  <a:pt x="781" y="144"/>
                </a:cubicBezTo>
                <a:cubicBezTo>
                  <a:pt x="779" y="144"/>
                  <a:pt x="779" y="144"/>
                  <a:pt x="779" y="144"/>
                </a:cubicBezTo>
                <a:cubicBezTo>
                  <a:pt x="779" y="146"/>
                  <a:pt x="779" y="146"/>
                  <a:pt x="779" y="146"/>
                </a:cubicBezTo>
                <a:cubicBezTo>
                  <a:pt x="778" y="144"/>
                  <a:pt x="778" y="144"/>
                  <a:pt x="778" y="144"/>
                </a:cubicBezTo>
                <a:cubicBezTo>
                  <a:pt x="777" y="145"/>
                  <a:pt x="777" y="145"/>
                  <a:pt x="777" y="145"/>
                </a:cubicBezTo>
                <a:cubicBezTo>
                  <a:pt x="777" y="145"/>
                  <a:pt x="777" y="145"/>
                  <a:pt x="777" y="145"/>
                </a:cubicBezTo>
                <a:cubicBezTo>
                  <a:pt x="778" y="146"/>
                  <a:pt x="778" y="146"/>
                  <a:pt x="778" y="146"/>
                </a:cubicBezTo>
                <a:cubicBezTo>
                  <a:pt x="780" y="147"/>
                  <a:pt x="780" y="147"/>
                  <a:pt x="780" y="147"/>
                </a:cubicBezTo>
                <a:cubicBezTo>
                  <a:pt x="779" y="149"/>
                  <a:pt x="779" y="149"/>
                  <a:pt x="779" y="149"/>
                </a:cubicBezTo>
                <a:cubicBezTo>
                  <a:pt x="780" y="151"/>
                  <a:pt x="780" y="151"/>
                  <a:pt x="780" y="151"/>
                </a:cubicBezTo>
                <a:cubicBezTo>
                  <a:pt x="781" y="152"/>
                  <a:pt x="781" y="152"/>
                  <a:pt x="781" y="152"/>
                </a:cubicBezTo>
                <a:cubicBezTo>
                  <a:pt x="781" y="151"/>
                  <a:pt x="781" y="151"/>
                  <a:pt x="781" y="151"/>
                </a:cubicBezTo>
                <a:cubicBezTo>
                  <a:pt x="781" y="149"/>
                  <a:pt x="781" y="149"/>
                  <a:pt x="781" y="149"/>
                </a:cubicBezTo>
                <a:cubicBezTo>
                  <a:pt x="782" y="148"/>
                  <a:pt x="782" y="148"/>
                  <a:pt x="782" y="148"/>
                </a:cubicBezTo>
                <a:cubicBezTo>
                  <a:pt x="783" y="148"/>
                  <a:pt x="783" y="148"/>
                  <a:pt x="783" y="148"/>
                </a:cubicBezTo>
                <a:cubicBezTo>
                  <a:pt x="783" y="148"/>
                  <a:pt x="783" y="148"/>
                  <a:pt x="783" y="148"/>
                </a:cubicBezTo>
                <a:cubicBezTo>
                  <a:pt x="785" y="146"/>
                  <a:pt x="785" y="146"/>
                  <a:pt x="785" y="146"/>
                </a:cubicBezTo>
                <a:cubicBezTo>
                  <a:pt x="786" y="146"/>
                  <a:pt x="786" y="146"/>
                  <a:pt x="786" y="146"/>
                </a:cubicBezTo>
                <a:cubicBezTo>
                  <a:pt x="787" y="146"/>
                  <a:pt x="787" y="146"/>
                  <a:pt x="787" y="146"/>
                </a:cubicBezTo>
                <a:cubicBezTo>
                  <a:pt x="787" y="147"/>
                  <a:pt x="787" y="147"/>
                  <a:pt x="787" y="147"/>
                </a:cubicBezTo>
                <a:cubicBezTo>
                  <a:pt x="788" y="149"/>
                  <a:pt x="788" y="149"/>
                  <a:pt x="788" y="149"/>
                </a:cubicBezTo>
                <a:cubicBezTo>
                  <a:pt x="790" y="150"/>
                  <a:pt x="790" y="150"/>
                  <a:pt x="790" y="150"/>
                </a:cubicBezTo>
                <a:cubicBezTo>
                  <a:pt x="791" y="151"/>
                  <a:pt x="791" y="151"/>
                  <a:pt x="791" y="151"/>
                </a:cubicBezTo>
                <a:cubicBezTo>
                  <a:pt x="793" y="151"/>
                  <a:pt x="793" y="151"/>
                  <a:pt x="793" y="151"/>
                </a:cubicBezTo>
                <a:cubicBezTo>
                  <a:pt x="794" y="150"/>
                  <a:pt x="794" y="150"/>
                  <a:pt x="794" y="150"/>
                </a:cubicBezTo>
                <a:cubicBezTo>
                  <a:pt x="793" y="149"/>
                  <a:pt x="793" y="149"/>
                  <a:pt x="793" y="149"/>
                </a:cubicBezTo>
                <a:cubicBezTo>
                  <a:pt x="794" y="149"/>
                  <a:pt x="794" y="149"/>
                  <a:pt x="794" y="149"/>
                </a:cubicBezTo>
                <a:cubicBezTo>
                  <a:pt x="797" y="152"/>
                  <a:pt x="797" y="152"/>
                  <a:pt x="797" y="152"/>
                </a:cubicBezTo>
                <a:cubicBezTo>
                  <a:pt x="798" y="153"/>
                  <a:pt x="798" y="153"/>
                  <a:pt x="798" y="153"/>
                </a:cubicBezTo>
                <a:cubicBezTo>
                  <a:pt x="796" y="153"/>
                  <a:pt x="796" y="153"/>
                  <a:pt x="796" y="153"/>
                </a:cubicBezTo>
                <a:cubicBezTo>
                  <a:pt x="796" y="154"/>
                  <a:pt x="796" y="154"/>
                  <a:pt x="796" y="154"/>
                </a:cubicBezTo>
                <a:cubicBezTo>
                  <a:pt x="799" y="156"/>
                  <a:pt x="799" y="156"/>
                  <a:pt x="799" y="156"/>
                </a:cubicBezTo>
                <a:cubicBezTo>
                  <a:pt x="799" y="156"/>
                  <a:pt x="799" y="156"/>
                  <a:pt x="799" y="156"/>
                </a:cubicBezTo>
                <a:cubicBezTo>
                  <a:pt x="799" y="156"/>
                  <a:pt x="799" y="156"/>
                  <a:pt x="799" y="156"/>
                </a:cubicBezTo>
                <a:cubicBezTo>
                  <a:pt x="799" y="154"/>
                  <a:pt x="799" y="154"/>
                  <a:pt x="799" y="154"/>
                </a:cubicBezTo>
                <a:cubicBezTo>
                  <a:pt x="801" y="155"/>
                  <a:pt x="801" y="155"/>
                  <a:pt x="801" y="155"/>
                </a:cubicBezTo>
                <a:cubicBezTo>
                  <a:pt x="804" y="159"/>
                  <a:pt x="804" y="159"/>
                  <a:pt x="804" y="159"/>
                </a:cubicBezTo>
                <a:cubicBezTo>
                  <a:pt x="803" y="158"/>
                  <a:pt x="803" y="158"/>
                  <a:pt x="803" y="158"/>
                </a:cubicBezTo>
                <a:cubicBezTo>
                  <a:pt x="802" y="158"/>
                  <a:pt x="802" y="158"/>
                  <a:pt x="802" y="158"/>
                </a:cubicBezTo>
                <a:cubicBezTo>
                  <a:pt x="802" y="159"/>
                  <a:pt x="802" y="159"/>
                  <a:pt x="802" y="159"/>
                </a:cubicBezTo>
                <a:cubicBezTo>
                  <a:pt x="803" y="160"/>
                  <a:pt x="803" y="160"/>
                  <a:pt x="803" y="160"/>
                </a:cubicBezTo>
                <a:cubicBezTo>
                  <a:pt x="801" y="161"/>
                  <a:pt x="801" y="161"/>
                  <a:pt x="801" y="161"/>
                </a:cubicBezTo>
                <a:cubicBezTo>
                  <a:pt x="801" y="162"/>
                  <a:pt x="801" y="162"/>
                  <a:pt x="801" y="162"/>
                </a:cubicBezTo>
                <a:cubicBezTo>
                  <a:pt x="802" y="163"/>
                  <a:pt x="802" y="163"/>
                  <a:pt x="802" y="163"/>
                </a:cubicBezTo>
                <a:cubicBezTo>
                  <a:pt x="803" y="163"/>
                  <a:pt x="803" y="163"/>
                  <a:pt x="803" y="163"/>
                </a:cubicBezTo>
                <a:cubicBezTo>
                  <a:pt x="803" y="161"/>
                  <a:pt x="803" y="161"/>
                  <a:pt x="803" y="161"/>
                </a:cubicBezTo>
                <a:cubicBezTo>
                  <a:pt x="804" y="161"/>
                  <a:pt x="804" y="161"/>
                  <a:pt x="804" y="161"/>
                </a:cubicBezTo>
                <a:cubicBezTo>
                  <a:pt x="805" y="161"/>
                  <a:pt x="805" y="161"/>
                  <a:pt x="805" y="161"/>
                </a:cubicBezTo>
                <a:cubicBezTo>
                  <a:pt x="805" y="160"/>
                  <a:pt x="805" y="160"/>
                  <a:pt x="805" y="160"/>
                </a:cubicBezTo>
                <a:cubicBezTo>
                  <a:pt x="806" y="162"/>
                  <a:pt x="806" y="162"/>
                  <a:pt x="806" y="162"/>
                </a:cubicBezTo>
                <a:cubicBezTo>
                  <a:pt x="809" y="164"/>
                  <a:pt x="809" y="164"/>
                  <a:pt x="809" y="164"/>
                </a:cubicBezTo>
                <a:cubicBezTo>
                  <a:pt x="812" y="164"/>
                  <a:pt x="812" y="164"/>
                  <a:pt x="812" y="164"/>
                </a:cubicBezTo>
                <a:cubicBezTo>
                  <a:pt x="813" y="166"/>
                  <a:pt x="813" y="166"/>
                  <a:pt x="813" y="166"/>
                </a:cubicBezTo>
                <a:cubicBezTo>
                  <a:pt x="812" y="167"/>
                  <a:pt x="812" y="167"/>
                  <a:pt x="812" y="167"/>
                </a:cubicBezTo>
                <a:cubicBezTo>
                  <a:pt x="814" y="169"/>
                  <a:pt x="814" y="169"/>
                  <a:pt x="814" y="169"/>
                </a:cubicBezTo>
                <a:cubicBezTo>
                  <a:pt x="815" y="169"/>
                  <a:pt x="815" y="169"/>
                  <a:pt x="815" y="169"/>
                </a:cubicBezTo>
                <a:cubicBezTo>
                  <a:pt x="817" y="172"/>
                  <a:pt x="817" y="172"/>
                  <a:pt x="817" y="172"/>
                </a:cubicBezTo>
                <a:cubicBezTo>
                  <a:pt x="817" y="176"/>
                  <a:pt x="817" y="176"/>
                  <a:pt x="817" y="176"/>
                </a:cubicBezTo>
                <a:cubicBezTo>
                  <a:pt x="816" y="176"/>
                  <a:pt x="816" y="176"/>
                  <a:pt x="816" y="176"/>
                </a:cubicBezTo>
                <a:cubicBezTo>
                  <a:pt x="816" y="177"/>
                  <a:pt x="816" y="177"/>
                  <a:pt x="816" y="177"/>
                </a:cubicBezTo>
                <a:cubicBezTo>
                  <a:pt x="818" y="177"/>
                  <a:pt x="818" y="177"/>
                  <a:pt x="818" y="177"/>
                </a:cubicBezTo>
                <a:cubicBezTo>
                  <a:pt x="818" y="179"/>
                  <a:pt x="818" y="179"/>
                  <a:pt x="818" y="179"/>
                </a:cubicBezTo>
                <a:cubicBezTo>
                  <a:pt x="818" y="179"/>
                  <a:pt x="818" y="179"/>
                  <a:pt x="818" y="179"/>
                </a:cubicBezTo>
                <a:cubicBezTo>
                  <a:pt x="817" y="179"/>
                  <a:pt x="817" y="179"/>
                  <a:pt x="817" y="179"/>
                </a:cubicBezTo>
                <a:cubicBezTo>
                  <a:pt x="812" y="179"/>
                  <a:pt x="812" y="179"/>
                  <a:pt x="812" y="179"/>
                </a:cubicBezTo>
                <a:cubicBezTo>
                  <a:pt x="811" y="178"/>
                  <a:pt x="811" y="178"/>
                  <a:pt x="811" y="178"/>
                </a:cubicBezTo>
                <a:cubicBezTo>
                  <a:pt x="810" y="178"/>
                  <a:pt x="810" y="178"/>
                  <a:pt x="810" y="178"/>
                </a:cubicBezTo>
                <a:cubicBezTo>
                  <a:pt x="809" y="178"/>
                  <a:pt x="809" y="178"/>
                  <a:pt x="809" y="178"/>
                </a:cubicBezTo>
                <a:cubicBezTo>
                  <a:pt x="809" y="177"/>
                  <a:pt x="809" y="177"/>
                  <a:pt x="809" y="177"/>
                </a:cubicBezTo>
                <a:cubicBezTo>
                  <a:pt x="808" y="176"/>
                  <a:pt x="808" y="176"/>
                  <a:pt x="808" y="176"/>
                </a:cubicBezTo>
                <a:cubicBezTo>
                  <a:pt x="808" y="177"/>
                  <a:pt x="808" y="177"/>
                  <a:pt x="808" y="177"/>
                </a:cubicBezTo>
                <a:cubicBezTo>
                  <a:pt x="808" y="178"/>
                  <a:pt x="808" y="178"/>
                  <a:pt x="808" y="178"/>
                </a:cubicBezTo>
                <a:cubicBezTo>
                  <a:pt x="806" y="179"/>
                  <a:pt x="806" y="179"/>
                  <a:pt x="806" y="179"/>
                </a:cubicBezTo>
                <a:cubicBezTo>
                  <a:pt x="805" y="179"/>
                  <a:pt x="805" y="179"/>
                  <a:pt x="805" y="179"/>
                </a:cubicBezTo>
                <a:cubicBezTo>
                  <a:pt x="804" y="180"/>
                  <a:pt x="804" y="180"/>
                  <a:pt x="804" y="180"/>
                </a:cubicBezTo>
                <a:cubicBezTo>
                  <a:pt x="805" y="180"/>
                  <a:pt x="805" y="180"/>
                  <a:pt x="805" y="180"/>
                </a:cubicBezTo>
                <a:cubicBezTo>
                  <a:pt x="803" y="182"/>
                  <a:pt x="803" y="182"/>
                  <a:pt x="803" y="182"/>
                </a:cubicBezTo>
                <a:cubicBezTo>
                  <a:pt x="802" y="182"/>
                  <a:pt x="802" y="182"/>
                  <a:pt x="802" y="182"/>
                </a:cubicBezTo>
                <a:cubicBezTo>
                  <a:pt x="802" y="183"/>
                  <a:pt x="802" y="183"/>
                  <a:pt x="802" y="183"/>
                </a:cubicBezTo>
                <a:cubicBezTo>
                  <a:pt x="802" y="184"/>
                  <a:pt x="802" y="184"/>
                  <a:pt x="802" y="184"/>
                </a:cubicBezTo>
                <a:cubicBezTo>
                  <a:pt x="801" y="186"/>
                  <a:pt x="801" y="186"/>
                  <a:pt x="801" y="186"/>
                </a:cubicBezTo>
                <a:cubicBezTo>
                  <a:pt x="800" y="187"/>
                  <a:pt x="800" y="187"/>
                  <a:pt x="800" y="187"/>
                </a:cubicBezTo>
                <a:cubicBezTo>
                  <a:pt x="800" y="186"/>
                  <a:pt x="800" y="186"/>
                  <a:pt x="800" y="186"/>
                </a:cubicBezTo>
                <a:cubicBezTo>
                  <a:pt x="799" y="186"/>
                  <a:pt x="799" y="186"/>
                  <a:pt x="799" y="186"/>
                </a:cubicBezTo>
                <a:cubicBezTo>
                  <a:pt x="799" y="188"/>
                  <a:pt x="799" y="188"/>
                  <a:pt x="799" y="188"/>
                </a:cubicBezTo>
                <a:cubicBezTo>
                  <a:pt x="799" y="190"/>
                  <a:pt x="799" y="190"/>
                  <a:pt x="799" y="190"/>
                </a:cubicBezTo>
                <a:cubicBezTo>
                  <a:pt x="798" y="191"/>
                  <a:pt x="798" y="191"/>
                  <a:pt x="798" y="191"/>
                </a:cubicBezTo>
                <a:cubicBezTo>
                  <a:pt x="797" y="190"/>
                  <a:pt x="797" y="190"/>
                  <a:pt x="797" y="190"/>
                </a:cubicBezTo>
                <a:cubicBezTo>
                  <a:pt x="797" y="192"/>
                  <a:pt x="797" y="192"/>
                  <a:pt x="797" y="192"/>
                </a:cubicBezTo>
                <a:cubicBezTo>
                  <a:pt x="798" y="193"/>
                  <a:pt x="798" y="193"/>
                  <a:pt x="798" y="193"/>
                </a:cubicBezTo>
                <a:cubicBezTo>
                  <a:pt x="796" y="194"/>
                  <a:pt x="796" y="194"/>
                  <a:pt x="796" y="194"/>
                </a:cubicBezTo>
                <a:cubicBezTo>
                  <a:pt x="795" y="194"/>
                  <a:pt x="795" y="194"/>
                  <a:pt x="795" y="194"/>
                </a:cubicBezTo>
                <a:cubicBezTo>
                  <a:pt x="796" y="195"/>
                  <a:pt x="796" y="195"/>
                  <a:pt x="796" y="195"/>
                </a:cubicBezTo>
                <a:cubicBezTo>
                  <a:pt x="796" y="196"/>
                  <a:pt x="796" y="196"/>
                  <a:pt x="796" y="196"/>
                </a:cubicBezTo>
                <a:cubicBezTo>
                  <a:pt x="795" y="197"/>
                  <a:pt x="795" y="197"/>
                  <a:pt x="795" y="197"/>
                </a:cubicBezTo>
                <a:cubicBezTo>
                  <a:pt x="794" y="196"/>
                  <a:pt x="794" y="196"/>
                  <a:pt x="794" y="196"/>
                </a:cubicBezTo>
                <a:cubicBezTo>
                  <a:pt x="793" y="197"/>
                  <a:pt x="793" y="197"/>
                  <a:pt x="793" y="197"/>
                </a:cubicBezTo>
                <a:cubicBezTo>
                  <a:pt x="794" y="198"/>
                  <a:pt x="794" y="198"/>
                  <a:pt x="794" y="198"/>
                </a:cubicBezTo>
                <a:cubicBezTo>
                  <a:pt x="794" y="199"/>
                  <a:pt x="794" y="199"/>
                  <a:pt x="794" y="199"/>
                </a:cubicBezTo>
                <a:cubicBezTo>
                  <a:pt x="793" y="200"/>
                  <a:pt x="793" y="200"/>
                  <a:pt x="793" y="200"/>
                </a:cubicBezTo>
                <a:cubicBezTo>
                  <a:pt x="794" y="201"/>
                  <a:pt x="794" y="201"/>
                  <a:pt x="794" y="201"/>
                </a:cubicBezTo>
                <a:cubicBezTo>
                  <a:pt x="793" y="202"/>
                  <a:pt x="793" y="202"/>
                  <a:pt x="793" y="202"/>
                </a:cubicBezTo>
                <a:cubicBezTo>
                  <a:pt x="792" y="202"/>
                  <a:pt x="792" y="202"/>
                  <a:pt x="792" y="202"/>
                </a:cubicBezTo>
                <a:cubicBezTo>
                  <a:pt x="792" y="201"/>
                  <a:pt x="792" y="201"/>
                  <a:pt x="792" y="201"/>
                </a:cubicBezTo>
                <a:cubicBezTo>
                  <a:pt x="791" y="201"/>
                  <a:pt x="791" y="201"/>
                  <a:pt x="791" y="201"/>
                </a:cubicBezTo>
                <a:cubicBezTo>
                  <a:pt x="792" y="202"/>
                  <a:pt x="792" y="202"/>
                  <a:pt x="792" y="202"/>
                </a:cubicBezTo>
                <a:cubicBezTo>
                  <a:pt x="794" y="203"/>
                  <a:pt x="794" y="203"/>
                  <a:pt x="794" y="203"/>
                </a:cubicBezTo>
                <a:cubicBezTo>
                  <a:pt x="793" y="205"/>
                  <a:pt x="793" y="205"/>
                  <a:pt x="793" y="205"/>
                </a:cubicBezTo>
                <a:cubicBezTo>
                  <a:pt x="791" y="205"/>
                  <a:pt x="791" y="205"/>
                  <a:pt x="791" y="205"/>
                </a:cubicBezTo>
                <a:cubicBezTo>
                  <a:pt x="791" y="205"/>
                  <a:pt x="791" y="205"/>
                  <a:pt x="791" y="205"/>
                </a:cubicBezTo>
                <a:cubicBezTo>
                  <a:pt x="792" y="206"/>
                  <a:pt x="792" y="206"/>
                  <a:pt x="792" y="206"/>
                </a:cubicBezTo>
                <a:cubicBezTo>
                  <a:pt x="793" y="208"/>
                  <a:pt x="793" y="208"/>
                  <a:pt x="793" y="208"/>
                </a:cubicBezTo>
                <a:cubicBezTo>
                  <a:pt x="792" y="209"/>
                  <a:pt x="792" y="209"/>
                  <a:pt x="792" y="209"/>
                </a:cubicBezTo>
                <a:cubicBezTo>
                  <a:pt x="793" y="209"/>
                  <a:pt x="793" y="209"/>
                  <a:pt x="793" y="209"/>
                </a:cubicBezTo>
                <a:cubicBezTo>
                  <a:pt x="791" y="211"/>
                  <a:pt x="791" y="211"/>
                  <a:pt x="791" y="211"/>
                </a:cubicBezTo>
                <a:cubicBezTo>
                  <a:pt x="792" y="212"/>
                  <a:pt x="792" y="212"/>
                  <a:pt x="792" y="212"/>
                </a:cubicBezTo>
                <a:cubicBezTo>
                  <a:pt x="791" y="215"/>
                  <a:pt x="791" y="215"/>
                  <a:pt x="791" y="215"/>
                </a:cubicBezTo>
                <a:cubicBezTo>
                  <a:pt x="790" y="217"/>
                  <a:pt x="790" y="217"/>
                  <a:pt x="790" y="217"/>
                </a:cubicBezTo>
                <a:cubicBezTo>
                  <a:pt x="790" y="219"/>
                  <a:pt x="790" y="219"/>
                  <a:pt x="790" y="219"/>
                </a:cubicBezTo>
                <a:cubicBezTo>
                  <a:pt x="789" y="220"/>
                  <a:pt x="789" y="220"/>
                  <a:pt x="789" y="220"/>
                </a:cubicBezTo>
                <a:cubicBezTo>
                  <a:pt x="790" y="220"/>
                  <a:pt x="790" y="220"/>
                  <a:pt x="790" y="220"/>
                </a:cubicBezTo>
                <a:cubicBezTo>
                  <a:pt x="791" y="221"/>
                  <a:pt x="791" y="221"/>
                  <a:pt x="791" y="221"/>
                </a:cubicBezTo>
                <a:cubicBezTo>
                  <a:pt x="790" y="221"/>
                  <a:pt x="790" y="221"/>
                  <a:pt x="790" y="221"/>
                </a:cubicBezTo>
                <a:cubicBezTo>
                  <a:pt x="792" y="224"/>
                  <a:pt x="792" y="224"/>
                  <a:pt x="792" y="224"/>
                </a:cubicBezTo>
                <a:cubicBezTo>
                  <a:pt x="792" y="225"/>
                  <a:pt x="792" y="225"/>
                  <a:pt x="792" y="225"/>
                </a:cubicBezTo>
                <a:cubicBezTo>
                  <a:pt x="791" y="225"/>
                  <a:pt x="791" y="225"/>
                  <a:pt x="791" y="225"/>
                </a:cubicBezTo>
                <a:cubicBezTo>
                  <a:pt x="790" y="225"/>
                  <a:pt x="790" y="225"/>
                  <a:pt x="790" y="225"/>
                </a:cubicBezTo>
                <a:cubicBezTo>
                  <a:pt x="788" y="224"/>
                  <a:pt x="788" y="224"/>
                  <a:pt x="788" y="224"/>
                </a:cubicBezTo>
                <a:cubicBezTo>
                  <a:pt x="788" y="224"/>
                  <a:pt x="788" y="224"/>
                  <a:pt x="788" y="224"/>
                </a:cubicBezTo>
                <a:cubicBezTo>
                  <a:pt x="786" y="222"/>
                  <a:pt x="786" y="222"/>
                  <a:pt x="786" y="222"/>
                </a:cubicBezTo>
                <a:cubicBezTo>
                  <a:pt x="787" y="222"/>
                  <a:pt x="787" y="222"/>
                  <a:pt x="787" y="222"/>
                </a:cubicBezTo>
                <a:cubicBezTo>
                  <a:pt x="786" y="222"/>
                  <a:pt x="786" y="222"/>
                  <a:pt x="786" y="222"/>
                </a:cubicBezTo>
                <a:cubicBezTo>
                  <a:pt x="785" y="222"/>
                  <a:pt x="785" y="222"/>
                  <a:pt x="785" y="222"/>
                </a:cubicBezTo>
                <a:cubicBezTo>
                  <a:pt x="784" y="222"/>
                  <a:pt x="784" y="222"/>
                  <a:pt x="784" y="222"/>
                </a:cubicBezTo>
                <a:cubicBezTo>
                  <a:pt x="784" y="221"/>
                  <a:pt x="784" y="221"/>
                  <a:pt x="784" y="221"/>
                </a:cubicBezTo>
                <a:cubicBezTo>
                  <a:pt x="780" y="219"/>
                  <a:pt x="780" y="219"/>
                  <a:pt x="780" y="219"/>
                </a:cubicBezTo>
                <a:cubicBezTo>
                  <a:pt x="779" y="218"/>
                  <a:pt x="779" y="218"/>
                  <a:pt x="779" y="218"/>
                </a:cubicBezTo>
                <a:cubicBezTo>
                  <a:pt x="777" y="220"/>
                  <a:pt x="777" y="220"/>
                  <a:pt x="777" y="220"/>
                </a:cubicBezTo>
                <a:cubicBezTo>
                  <a:pt x="776" y="219"/>
                  <a:pt x="776" y="219"/>
                  <a:pt x="776" y="219"/>
                </a:cubicBezTo>
                <a:cubicBezTo>
                  <a:pt x="775" y="219"/>
                  <a:pt x="775" y="219"/>
                  <a:pt x="775" y="219"/>
                </a:cubicBezTo>
                <a:cubicBezTo>
                  <a:pt x="773" y="221"/>
                  <a:pt x="773" y="221"/>
                  <a:pt x="773" y="221"/>
                </a:cubicBezTo>
                <a:cubicBezTo>
                  <a:pt x="772" y="221"/>
                  <a:pt x="772" y="221"/>
                  <a:pt x="772" y="221"/>
                </a:cubicBezTo>
                <a:cubicBezTo>
                  <a:pt x="771" y="224"/>
                  <a:pt x="771" y="224"/>
                  <a:pt x="771" y="224"/>
                </a:cubicBezTo>
                <a:cubicBezTo>
                  <a:pt x="770" y="224"/>
                  <a:pt x="770" y="224"/>
                  <a:pt x="770" y="224"/>
                </a:cubicBezTo>
                <a:cubicBezTo>
                  <a:pt x="769" y="224"/>
                  <a:pt x="769" y="224"/>
                  <a:pt x="769" y="224"/>
                </a:cubicBezTo>
                <a:cubicBezTo>
                  <a:pt x="770" y="225"/>
                  <a:pt x="770" y="225"/>
                  <a:pt x="770" y="225"/>
                </a:cubicBezTo>
                <a:cubicBezTo>
                  <a:pt x="769" y="226"/>
                  <a:pt x="769" y="226"/>
                  <a:pt x="769" y="226"/>
                </a:cubicBezTo>
                <a:cubicBezTo>
                  <a:pt x="770" y="228"/>
                  <a:pt x="770" y="228"/>
                  <a:pt x="770" y="228"/>
                </a:cubicBezTo>
                <a:cubicBezTo>
                  <a:pt x="769" y="229"/>
                  <a:pt x="769" y="229"/>
                  <a:pt x="769" y="229"/>
                </a:cubicBezTo>
                <a:cubicBezTo>
                  <a:pt x="769" y="232"/>
                  <a:pt x="769" y="232"/>
                  <a:pt x="769" y="232"/>
                </a:cubicBezTo>
                <a:cubicBezTo>
                  <a:pt x="768" y="233"/>
                  <a:pt x="768" y="233"/>
                  <a:pt x="768" y="233"/>
                </a:cubicBezTo>
                <a:cubicBezTo>
                  <a:pt x="767" y="232"/>
                  <a:pt x="767" y="232"/>
                  <a:pt x="767" y="232"/>
                </a:cubicBezTo>
                <a:cubicBezTo>
                  <a:pt x="766" y="228"/>
                  <a:pt x="766" y="228"/>
                  <a:pt x="766" y="228"/>
                </a:cubicBezTo>
                <a:cubicBezTo>
                  <a:pt x="766" y="226"/>
                  <a:pt x="766" y="226"/>
                  <a:pt x="766" y="226"/>
                </a:cubicBezTo>
                <a:cubicBezTo>
                  <a:pt x="765" y="226"/>
                  <a:pt x="765" y="226"/>
                  <a:pt x="765" y="226"/>
                </a:cubicBezTo>
                <a:cubicBezTo>
                  <a:pt x="764" y="225"/>
                  <a:pt x="764" y="225"/>
                  <a:pt x="764" y="225"/>
                </a:cubicBezTo>
                <a:cubicBezTo>
                  <a:pt x="764" y="226"/>
                  <a:pt x="764" y="226"/>
                  <a:pt x="764" y="226"/>
                </a:cubicBezTo>
                <a:cubicBezTo>
                  <a:pt x="762" y="229"/>
                  <a:pt x="762" y="229"/>
                  <a:pt x="762" y="229"/>
                </a:cubicBezTo>
                <a:cubicBezTo>
                  <a:pt x="761" y="229"/>
                  <a:pt x="761" y="229"/>
                  <a:pt x="761" y="229"/>
                </a:cubicBezTo>
                <a:cubicBezTo>
                  <a:pt x="761" y="231"/>
                  <a:pt x="761" y="231"/>
                  <a:pt x="761" y="231"/>
                </a:cubicBezTo>
                <a:cubicBezTo>
                  <a:pt x="762" y="231"/>
                  <a:pt x="762" y="231"/>
                  <a:pt x="762" y="231"/>
                </a:cubicBezTo>
                <a:cubicBezTo>
                  <a:pt x="761" y="234"/>
                  <a:pt x="761" y="234"/>
                  <a:pt x="761" y="234"/>
                </a:cubicBezTo>
                <a:cubicBezTo>
                  <a:pt x="760" y="232"/>
                  <a:pt x="760" y="232"/>
                  <a:pt x="760" y="232"/>
                </a:cubicBezTo>
                <a:cubicBezTo>
                  <a:pt x="759" y="232"/>
                  <a:pt x="759" y="232"/>
                  <a:pt x="759" y="232"/>
                </a:cubicBezTo>
                <a:cubicBezTo>
                  <a:pt x="759" y="232"/>
                  <a:pt x="759" y="232"/>
                  <a:pt x="759" y="232"/>
                </a:cubicBezTo>
                <a:cubicBezTo>
                  <a:pt x="758" y="232"/>
                  <a:pt x="758" y="232"/>
                  <a:pt x="758" y="232"/>
                </a:cubicBezTo>
                <a:cubicBezTo>
                  <a:pt x="757" y="233"/>
                  <a:pt x="757" y="233"/>
                  <a:pt x="757" y="233"/>
                </a:cubicBezTo>
                <a:cubicBezTo>
                  <a:pt x="757" y="234"/>
                  <a:pt x="757" y="234"/>
                  <a:pt x="757" y="234"/>
                </a:cubicBezTo>
                <a:cubicBezTo>
                  <a:pt x="755" y="233"/>
                  <a:pt x="755" y="233"/>
                  <a:pt x="755" y="233"/>
                </a:cubicBezTo>
                <a:cubicBezTo>
                  <a:pt x="754" y="233"/>
                  <a:pt x="754" y="233"/>
                  <a:pt x="754" y="233"/>
                </a:cubicBezTo>
                <a:cubicBezTo>
                  <a:pt x="754" y="234"/>
                  <a:pt x="754" y="234"/>
                  <a:pt x="754" y="234"/>
                </a:cubicBezTo>
                <a:cubicBezTo>
                  <a:pt x="755" y="235"/>
                  <a:pt x="755" y="235"/>
                  <a:pt x="755" y="235"/>
                </a:cubicBezTo>
                <a:cubicBezTo>
                  <a:pt x="754" y="235"/>
                  <a:pt x="754" y="235"/>
                  <a:pt x="754" y="235"/>
                </a:cubicBezTo>
                <a:cubicBezTo>
                  <a:pt x="754" y="237"/>
                  <a:pt x="754" y="237"/>
                  <a:pt x="754" y="237"/>
                </a:cubicBezTo>
                <a:cubicBezTo>
                  <a:pt x="754" y="238"/>
                  <a:pt x="754" y="238"/>
                  <a:pt x="754" y="238"/>
                </a:cubicBezTo>
                <a:cubicBezTo>
                  <a:pt x="755" y="239"/>
                  <a:pt x="755" y="239"/>
                  <a:pt x="755" y="239"/>
                </a:cubicBezTo>
                <a:cubicBezTo>
                  <a:pt x="755" y="240"/>
                  <a:pt x="755" y="240"/>
                  <a:pt x="755" y="240"/>
                </a:cubicBezTo>
                <a:cubicBezTo>
                  <a:pt x="755" y="241"/>
                  <a:pt x="755" y="241"/>
                  <a:pt x="755" y="241"/>
                </a:cubicBezTo>
                <a:cubicBezTo>
                  <a:pt x="755" y="242"/>
                  <a:pt x="755" y="242"/>
                  <a:pt x="755" y="242"/>
                </a:cubicBezTo>
                <a:cubicBezTo>
                  <a:pt x="756" y="242"/>
                  <a:pt x="756" y="242"/>
                  <a:pt x="756" y="242"/>
                </a:cubicBezTo>
                <a:cubicBezTo>
                  <a:pt x="757" y="243"/>
                  <a:pt x="757" y="243"/>
                  <a:pt x="757" y="243"/>
                </a:cubicBezTo>
                <a:cubicBezTo>
                  <a:pt x="757" y="244"/>
                  <a:pt x="757" y="244"/>
                  <a:pt x="757" y="244"/>
                </a:cubicBezTo>
                <a:cubicBezTo>
                  <a:pt x="757" y="244"/>
                  <a:pt x="757" y="244"/>
                  <a:pt x="757" y="244"/>
                </a:cubicBezTo>
                <a:cubicBezTo>
                  <a:pt x="757" y="245"/>
                  <a:pt x="757" y="245"/>
                  <a:pt x="757" y="245"/>
                </a:cubicBezTo>
                <a:cubicBezTo>
                  <a:pt x="758" y="245"/>
                  <a:pt x="758" y="245"/>
                  <a:pt x="758" y="245"/>
                </a:cubicBezTo>
                <a:cubicBezTo>
                  <a:pt x="758" y="246"/>
                  <a:pt x="758" y="246"/>
                  <a:pt x="758" y="246"/>
                </a:cubicBezTo>
                <a:cubicBezTo>
                  <a:pt x="758" y="247"/>
                  <a:pt x="758" y="247"/>
                  <a:pt x="758" y="247"/>
                </a:cubicBezTo>
                <a:cubicBezTo>
                  <a:pt x="757" y="246"/>
                  <a:pt x="757" y="246"/>
                  <a:pt x="757" y="246"/>
                </a:cubicBezTo>
                <a:cubicBezTo>
                  <a:pt x="756" y="246"/>
                  <a:pt x="756" y="246"/>
                  <a:pt x="756" y="246"/>
                </a:cubicBezTo>
                <a:cubicBezTo>
                  <a:pt x="756" y="247"/>
                  <a:pt x="756" y="247"/>
                  <a:pt x="756" y="247"/>
                </a:cubicBezTo>
                <a:cubicBezTo>
                  <a:pt x="757" y="248"/>
                  <a:pt x="757" y="248"/>
                  <a:pt x="757" y="248"/>
                </a:cubicBezTo>
                <a:cubicBezTo>
                  <a:pt x="758" y="248"/>
                  <a:pt x="758" y="248"/>
                  <a:pt x="758" y="248"/>
                </a:cubicBezTo>
                <a:cubicBezTo>
                  <a:pt x="758" y="249"/>
                  <a:pt x="758" y="249"/>
                  <a:pt x="758" y="249"/>
                </a:cubicBezTo>
                <a:cubicBezTo>
                  <a:pt x="758" y="250"/>
                  <a:pt x="758" y="250"/>
                  <a:pt x="758" y="250"/>
                </a:cubicBezTo>
                <a:cubicBezTo>
                  <a:pt x="758" y="252"/>
                  <a:pt x="758" y="252"/>
                  <a:pt x="758" y="252"/>
                </a:cubicBezTo>
                <a:cubicBezTo>
                  <a:pt x="757" y="253"/>
                  <a:pt x="757" y="253"/>
                  <a:pt x="757" y="253"/>
                </a:cubicBezTo>
                <a:cubicBezTo>
                  <a:pt x="758" y="255"/>
                  <a:pt x="758" y="255"/>
                  <a:pt x="758" y="255"/>
                </a:cubicBezTo>
                <a:cubicBezTo>
                  <a:pt x="757" y="255"/>
                  <a:pt x="757" y="255"/>
                  <a:pt x="757" y="255"/>
                </a:cubicBezTo>
                <a:cubicBezTo>
                  <a:pt x="758" y="257"/>
                  <a:pt x="758" y="257"/>
                  <a:pt x="758" y="257"/>
                </a:cubicBezTo>
                <a:cubicBezTo>
                  <a:pt x="758" y="257"/>
                  <a:pt x="758" y="257"/>
                  <a:pt x="758" y="257"/>
                </a:cubicBezTo>
                <a:cubicBezTo>
                  <a:pt x="758" y="259"/>
                  <a:pt x="758" y="259"/>
                  <a:pt x="758" y="259"/>
                </a:cubicBezTo>
                <a:cubicBezTo>
                  <a:pt x="759" y="261"/>
                  <a:pt x="759" y="261"/>
                  <a:pt x="759" y="261"/>
                </a:cubicBezTo>
                <a:cubicBezTo>
                  <a:pt x="758" y="262"/>
                  <a:pt x="758" y="262"/>
                  <a:pt x="758" y="262"/>
                </a:cubicBezTo>
                <a:cubicBezTo>
                  <a:pt x="759" y="262"/>
                  <a:pt x="759" y="262"/>
                  <a:pt x="759" y="262"/>
                </a:cubicBezTo>
                <a:cubicBezTo>
                  <a:pt x="761" y="263"/>
                  <a:pt x="761" y="263"/>
                  <a:pt x="761" y="263"/>
                </a:cubicBezTo>
                <a:cubicBezTo>
                  <a:pt x="762" y="266"/>
                  <a:pt x="762" y="266"/>
                  <a:pt x="762" y="266"/>
                </a:cubicBezTo>
                <a:cubicBezTo>
                  <a:pt x="764" y="266"/>
                  <a:pt x="764" y="266"/>
                  <a:pt x="764" y="266"/>
                </a:cubicBezTo>
                <a:cubicBezTo>
                  <a:pt x="764" y="266"/>
                  <a:pt x="764" y="266"/>
                  <a:pt x="764" y="266"/>
                </a:cubicBezTo>
                <a:cubicBezTo>
                  <a:pt x="764" y="265"/>
                  <a:pt x="764" y="265"/>
                  <a:pt x="764" y="265"/>
                </a:cubicBezTo>
                <a:cubicBezTo>
                  <a:pt x="763" y="263"/>
                  <a:pt x="763" y="263"/>
                  <a:pt x="763" y="263"/>
                </a:cubicBezTo>
                <a:cubicBezTo>
                  <a:pt x="763" y="262"/>
                  <a:pt x="763" y="262"/>
                  <a:pt x="763" y="262"/>
                </a:cubicBezTo>
                <a:cubicBezTo>
                  <a:pt x="764" y="261"/>
                  <a:pt x="764" y="261"/>
                  <a:pt x="764" y="261"/>
                </a:cubicBezTo>
                <a:cubicBezTo>
                  <a:pt x="765" y="262"/>
                  <a:pt x="765" y="262"/>
                  <a:pt x="765" y="262"/>
                </a:cubicBezTo>
                <a:cubicBezTo>
                  <a:pt x="767" y="263"/>
                  <a:pt x="767" y="263"/>
                  <a:pt x="767" y="263"/>
                </a:cubicBezTo>
                <a:cubicBezTo>
                  <a:pt x="768" y="263"/>
                  <a:pt x="768" y="263"/>
                  <a:pt x="768" y="263"/>
                </a:cubicBezTo>
                <a:cubicBezTo>
                  <a:pt x="769" y="263"/>
                  <a:pt x="769" y="263"/>
                  <a:pt x="769" y="263"/>
                </a:cubicBezTo>
                <a:cubicBezTo>
                  <a:pt x="769" y="264"/>
                  <a:pt x="769" y="264"/>
                  <a:pt x="769" y="264"/>
                </a:cubicBezTo>
                <a:cubicBezTo>
                  <a:pt x="769" y="265"/>
                  <a:pt x="769" y="265"/>
                  <a:pt x="769" y="265"/>
                </a:cubicBezTo>
                <a:cubicBezTo>
                  <a:pt x="770" y="266"/>
                  <a:pt x="770" y="266"/>
                  <a:pt x="770" y="266"/>
                </a:cubicBezTo>
                <a:cubicBezTo>
                  <a:pt x="769" y="267"/>
                  <a:pt x="769" y="267"/>
                  <a:pt x="769" y="267"/>
                </a:cubicBezTo>
                <a:cubicBezTo>
                  <a:pt x="769" y="268"/>
                  <a:pt x="769" y="268"/>
                  <a:pt x="769" y="268"/>
                </a:cubicBezTo>
                <a:cubicBezTo>
                  <a:pt x="769" y="269"/>
                  <a:pt x="769" y="269"/>
                  <a:pt x="769" y="269"/>
                </a:cubicBezTo>
                <a:cubicBezTo>
                  <a:pt x="768" y="270"/>
                  <a:pt x="768" y="270"/>
                  <a:pt x="768" y="270"/>
                </a:cubicBezTo>
                <a:cubicBezTo>
                  <a:pt x="769" y="272"/>
                  <a:pt x="769" y="272"/>
                  <a:pt x="769" y="272"/>
                </a:cubicBezTo>
                <a:cubicBezTo>
                  <a:pt x="770" y="274"/>
                  <a:pt x="770" y="274"/>
                  <a:pt x="770" y="274"/>
                </a:cubicBezTo>
                <a:cubicBezTo>
                  <a:pt x="770" y="276"/>
                  <a:pt x="770" y="276"/>
                  <a:pt x="770" y="276"/>
                </a:cubicBezTo>
                <a:cubicBezTo>
                  <a:pt x="771" y="277"/>
                  <a:pt x="771" y="277"/>
                  <a:pt x="771" y="277"/>
                </a:cubicBezTo>
                <a:cubicBezTo>
                  <a:pt x="772" y="276"/>
                  <a:pt x="772" y="276"/>
                  <a:pt x="772" y="276"/>
                </a:cubicBezTo>
                <a:cubicBezTo>
                  <a:pt x="772" y="276"/>
                  <a:pt x="772" y="276"/>
                  <a:pt x="772" y="276"/>
                </a:cubicBezTo>
                <a:cubicBezTo>
                  <a:pt x="773" y="275"/>
                  <a:pt x="773" y="275"/>
                  <a:pt x="773" y="275"/>
                </a:cubicBezTo>
                <a:cubicBezTo>
                  <a:pt x="773" y="274"/>
                  <a:pt x="773" y="274"/>
                  <a:pt x="773" y="274"/>
                </a:cubicBezTo>
                <a:cubicBezTo>
                  <a:pt x="773" y="275"/>
                  <a:pt x="773" y="275"/>
                  <a:pt x="773" y="275"/>
                </a:cubicBezTo>
                <a:cubicBezTo>
                  <a:pt x="775" y="275"/>
                  <a:pt x="775" y="275"/>
                  <a:pt x="775" y="275"/>
                </a:cubicBezTo>
                <a:cubicBezTo>
                  <a:pt x="775" y="278"/>
                  <a:pt x="775" y="278"/>
                  <a:pt x="775" y="278"/>
                </a:cubicBezTo>
                <a:cubicBezTo>
                  <a:pt x="778" y="281"/>
                  <a:pt x="778" y="281"/>
                  <a:pt x="778" y="281"/>
                </a:cubicBezTo>
                <a:cubicBezTo>
                  <a:pt x="779" y="283"/>
                  <a:pt x="779" y="283"/>
                  <a:pt x="779" y="283"/>
                </a:cubicBezTo>
                <a:cubicBezTo>
                  <a:pt x="778" y="283"/>
                  <a:pt x="778" y="283"/>
                  <a:pt x="778" y="283"/>
                </a:cubicBezTo>
                <a:cubicBezTo>
                  <a:pt x="778" y="285"/>
                  <a:pt x="778" y="285"/>
                  <a:pt x="778" y="285"/>
                </a:cubicBezTo>
                <a:cubicBezTo>
                  <a:pt x="777" y="286"/>
                  <a:pt x="777" y="286"/>
                  <a:pt x="777" y="286"/>
                </a:cubicBezTo>
                <a:cubicBezTo>
                  <a:pt x="775" y="284"/>
                  <a:pt x="775" y="284"/>
                  <a:pt x="775" y="284"/>
                </a:cubicBezTo>
                <a:cubicBezTo>
                  <a:pt x="774" y="284"/>
                  <a:pt x="774" y="284"/>
                  <a:pt x="774" y="284"/>
                </a:cubicBezTo>
                <a:cubicBezTo>
                  <a:pt x="773" y="282"/>
                  <a:pt x="773" y="282"/>
                  <a:pt x="773" y="282"/>
                </a:cubicBezTo>
                <a:cubicBezTo>
                  <a:pt x="774" y="281"/>
                  <a:pt x="774" y="281"/>
                  <a:pt x="774" y="281"/>
                </a:cubicBezTo>
                <a:cubicBezTo>
                  <a:pt x="774" y="279"/>
                  <a:pt x="774" y="279"/>
                  <a:pt x="774" y="279"/>
                </a:cubicBezTo>
                <a:cubicBezTo>
                  <a:pt x="774" y="278"/>
                  <a:pt x="774" y="278"/>
                  <a:pt x="774" y="278"/>
                </a:cubicBezTo>
                <a:cubicBezTo>
                  <a:pt x="773" y="279"/>
                  <a:pt x="773" y="279"/>
                  <a:pt x="773" y="279"/>
                </a:cubicBezTo>
                <a:cubicBezTo>
                  <a:pt x="773" y="279"/>
                  <a:pt x="773" y="279"/>
                  <a:pt x="773" y="279"/>
                </a:cubicBezTo>
                <a:cubicBezTo>
                  <a:pt x="773" y="280"/>
                  <a:pt x="773" y="280"/>
                  <a:pt x="773" y="280"/>
                </a:cubicBezTo>
                <a:cubicBezTo>
                  <a:pt x="772" y="280"/>
                  <a:pt x="772" y="280"/>
                  <a:pt x="772" y="280"/>
                </a:cubicBezTo>
                <a:cubicBezTo>
                  <a:pt x="771" y="282"/>
                  <a:pt x="771" y="282"/>
                  <a:pt x="771" y="282"/>
                </a:cubicBezTo>
                <a:cubicBezTo>
                  <a:pt x="771" y="283"/>
                  <a:pt x="771" y="283"/>
                  <a:pt x="771" y="283"/>
                </a:cubicBezTo>
                <a:cubicBezTo>
                  <a:pt x="773" y="282"/>
                  <a:pt x="773" y="282"/>
                  <a:pt x="773" y="282"/>
                </a:cubicBezTo>
                <a:cubicBezTo>
                  <a:pt x="773" y="284"/>
                  <a:pt x="773" y="284"/>
                  <a:pt x="773" y="284"/>
                </a:cubicBezTo>
                <a:cubicBezTo>
                  <a:pt x="772" y="285"/>
                  <a:pt x="772" y="285"/>
                  <a:pt x="772" y="285"/>
                </a:cubicBezTo>
                <a:cubicBezTo>
                  <a:pt x="772" y="287"/>
                  <a:pt x="772" y="287"/>
                  <a:pt x="772" y="287"/>
                </a:cubicBezTo>
                <a:cubicBezTo>
                  <a:pt x="772" y="288"/>
                  <a:pt x="772" y="288"/>
                  <a:pt x="772" y="288"/>
                </a:cubicBezTo>
                <a:cubicBezTo>
                  <a:pt x="772" y="292"/>
                  <a:pt x="772" y="292"/>
                  <a:pt x="772" y="292"/>
                </a:cubicBezTo>
                <a:cubicBezTo>
                  <a:pt x="773" y="293"/>
                  <a:pt x="773" y="293"/>
                  <a:pt x="773" y="293"/>
                </a:cubicBezTo>
                <a:cubicBezTo>
                  <a:pt x="773" y="294"/>
                  <a:pt x="773" y="294"/>
                  <a:pt x="773" y="294"/>
                </a:cubicBezTo>
                <a:cubicBezTo>
                  <a:pt x="776" y="299"/>
                  <a:pt x="776" y="299"/>
                  <a:pt x="776" y="299"/>
                </a:cubicBezTo>
                <a:cubicBezTo>
                  <a:pt x="777" y="299"/>
                  <a:pt x="777" y="299"/>
                  <a:pt x="777" y="299"/>
                </a:cubicBezTo>
                <a:cubicBezTo>
                  <a:pt x="779" y="302"/>
                  <a:pt x="779" y="302"/>
                  <a:pt x="779" y="302"/>
                </a:cubicBezTo>
                <a:cubicBezTo>
                  <a:pt x="781" y="303"/>
                  <a:pt x="781" y="303"/>
                  <a:pt x="781" y="303"/>
                </a:cubicBezTo>
                <a:cubicBezTo>
                  <a:pt x="780" y="304"/>
                  <a:pt x="780" y="304"/>
                  <a:pt x="780" y="304"/>
                </a:cubicBezTo>
                <a:cubicBezTo>
                  <a:pt x="780" y="305"/>
                  <a:pt x="780" y="305"/>
                  <a:pt x="780" y="305"/>
                </a:cubicBezTo>
                <a:cubicBezTo>
                  <a:pt x="776" y="307"/>
                  <a:pt x="776" y="307"/>
                  <a:pt x="776" y="307"/>
                </a:cubicBezTo>
                <a:cubicBezTo>
                  <a:pt x="776" y="306"/>
                  <a:pt x="776" y="306"/>
                  <a:pt x="776" y="306"/>
                </a:cubicBezTo>
                <a:cubicBezTo>
                  <a:pt x="774" y="307"/>
                  <a:pt x="774" y="307"/>
                  <a:pt x="774" y="307"/>
                </a:cubicBezTo>
                <a:cubicBezTo>
                  <a:pt x="773" y="307"/>
                  <a:pt x="773" y="307"/>
                  <a:pt x="773" y="307"/>
                </a:cubicBezTo>
                <a:cubicBezTo>
                  <a:pt x="774" y="308"/>
                  <a:pt x="774" y="308"/>
                  <a:pt x="774" y="308"/>
                </a:cubicBezTo>
                <a:cubicBezTo>
                  <a:pt x="772" y="310"/>
                  <a:pt x="772" y="310"/>
                  <a:pt x="772" y="310"/>
                </a:cubicBezTo>
                <a:cubicBezTo>
                  <a:pt x="772" y="312"/>
                  <a:pt x="772" y="312"/>
                  <a:pt x="772" y="312"/>
                </a:cubicBezTo>
                <a:cubicBezTo>
                  <a:pt x="771" y="312"/>
                  <a:pt x="771" y="312"/>
                  <a:pt x="771" y="312"/>
                </a:cubicBezTo>
                <a:cubicBezTo>
                  <a:pt x="772" y="314"/>
                  <a:pt x="772" y="314"/>
                  <a:pt x="772" y="314"/>
                </a:cubicBezTo>
                <a:cubicBezTo>
                  <a:pt x="772" y="317"/>
                  <a:pt x="772" y="317"/>
                  <a:pt x="772" y="317"/>
                </a:cubicBezTo>
                <a:cubicBezTo>
                  <a:pt x="773" y="320"/>
                  <a:pt x="773" y="320"/>
                  <a:pt x="773" y="320"/>
                </a:cubicBezTo>
                <a:cubicBezTo>
                  <a:pt x="775" y="321"/>
                  <a:pt x="775" y="321"/>
                  <a:pt x="775" y="321"/>
                </a:cubicBezTo>
                <a:cubicBezTo>
                  <a:pt x="775" y="323"/>
                  <a:pt x="775" y="323"/>
                  <a:pt x="775" y="323"/>
                </a:cubicBezTo>
                <a:cubicBezTo>
                  <a:pt x="776" y="324"/>
                  <a:pt x="776" y="324"/>
                  <a:pt x="776" y="324"/>
                </a:cubicBezTo>
                <a:cubicBezTo>
                  <a:pt x="777" y="325"/>
                  <a:pt x="777" y="325"/>
                  <a:pt x="777" y="325"/>
                </a:cubicBezTo>
                <a:cubicBezTo>
                  <a:pt x="776" y="325"/>
                  <a:pt x="776" y="325"/>
                  <a:pt x="776" y="325"/>
                </a:cubicBezTo>
                <a:cubicBezTo>
                  <a:pt x="775" y="324"/>
                  <a:pt x="775" y="324"/>
                  <a:pt x="775" y="324"/>
                </a:cubicBezTo>
                <a:cubicBezTo>
                  <a:pt x="774" y="325"/>
                  <a:pt x="774" y="325"/>
                  <a:pt x="774" y="325"/>
                </a:cubicBezTo>
                <a:cubicBezTo>
                  <a:pt x="773" y="326"/>
                  <a:pt x="773" y="326"/>
                  <a:pt x="773" y="326"/>
                </a:cubicBezTo>
                <a:cubicBezTo>
                  <a:pt x="772" y="326"/>
                  <a:pt x="772" y="326"/>
                  <a:pt x="772" y="326"/>
                </a:cubicBezTo>
                <a:cubicBezTo>
                  <a:pt x="770" y="328"/>
                  <a:pt x="770" y="328"/>
                  <a:pt x="770" y="328"/>
                </a:cubicBezTo>
                <a:cubicBezTo>
                  <a:pt x="769" y="327"/>
                  <a:pt x="769" y="327"/>
                  <a:pt x="769" y="327"/>
                </a:cubicBezTo>
                <a:cubicBezTo>
                  <a:pt x="768" y="328"/>
                  <a:pt x="768" y="328"/>
                  <a:pt x="768" y="328"/>
                </a:cubicBezTo>
                <a:cubicBezTo>
                  <a:pt x="769" y="329"/>
                  <a:pt x="769" y="329"/>
                  <a:pt x="769" y="329"/>
                </a:cubicBezTo>
                <a:cubicBezTo>
                  <a:pt x="771" y="329"/>
                  <a:pt x="771" y="329"/>
                  <a:pt x="771" y="329"/>
                </a:cubicBezTo>
                <a:cubicBezTo>
                  <a:pt x="770" y="330"/>
                  <a:pt x="770" y="330"/>
                  <a:pt x="770" y="330"/>
                </a:cubicBezTo>
                <a:cubicBezTo>
                  <a:pt x="770" y="331"/>
                  <a:pt x="770" y="331"/>
                  <a:pt x="770" y="331"/>
                </a:cubicBezTo>
                <a:cubicBezTo>
                  <a:pt x="771" y="332"/>
                  <a:pt x="771" y="332"/>
                  <a:pt x="771" y="332"/>
                </a:cubicBezTo>
                <a:cubicBezTo>
                  <a:pt x="771" y="333"/>
                  <a:pt x="771" y="333"/>
                  <a:pt x="771" y="333"/>
                </a:cubicBezTo>
                <a:cubicBezTo>
                  <a:pt x="770" y="332"/>
                  <a:pt x="770" y="332"/>
                  <a:pt x="770" y="332"/>
                </a:cubicBezTo>
                <a:cubicBezTo>
                  <a:pt x="771" y="334"/>
                  <a:pt x="771" y="334"/>
                  <a:pt x="771" y="334"/>
                </a:cubicBezTo>
                <a:cubicBezTo>
                  <a:pt x="770" y="335"/>
                  <a:pt x="770" y="335"/>
                  <a:pt x="770" y="335"/>
                </a:cubicBezTo>
                <a:cubicBezTo>
                  <a:pt x="771" y="335"/>
                  <a:pt x="771" y="335"/>
                  <a:pt x="771" y="335"/>
                </a:cubicBezTo>
                <a:cubicBezTo>
                  <a:pt x="772" y="335"/>
                  <a:pt x="772" y="335"/>
                  <a:pt x="772" y="335"/>
                </a:cubicBezTo>
                <a:cubicBezTo>
                  <a:pt x="773" y="336"/>
                  <a:pt x="773" y="336"/>
                  <a:pt x="773" y="336"/>
                </a:cubicBezTo>
                <a:cubicBezTo>
                  <a:pt x="772" y="337"/>
                  <a:pt x="772" y="337"/>
                  <a:pt x="772" y="337"/>
                </a:cubicBezTo>
                <a:cubicBezTo>
                  <a:pt x="772" y="339"/>
                  <a:pt x="772" y="339"/>
                  <a:pt x="772" y="339"/>
                </a:cubicBezTo>
                <a:cubicBezTo>
                  <a:pt x="773" y="340"/>
                  <a:pt x="773" y="340"/>
                  <a:pt x="773" y="340"/>
                </a:cubicBezTo>
                <a:cubicBezTo>
                  <a:pt x="772" y="343"/>
                  <a:pt x="772" y="343"/>
                  <a:pt x="772" y="343"/>
                </a:cubicBezTo>
                <a:cubicBezTo>
                  <a:pt x="772" y="344"/>
                  <a:pt x="772" y="344"/>
                  <a:pt x="772" y="344"/>
                </a:cubicBezTo>
                <a:cubicBezTo>
                  <a:pt x="772" y="344"/>
                  <a:pt x="772" y="344"/>
                  <a:pt x="772" y="344"/>
                </a:cubicBezTo>
                <a:cubicBezTo>
                  <a:pt x="772" y="345"/>
                  <a:pt x="772" y="345"/>
                  <a:pt x="772" y="345"/>
                </a:cubicBezTo>
                <a:cubicBezTo>
                  <a:pt x="770" y="347"/>
                  <a:pt x="770" y="347"/>
                  <a:pt x="770" y="347"/>
                </a:cubicBezTo>
                <a:cubicBezTo>
                  <a:pt x="770" y="348"/>
                  <a:pt x="770" y="348"/>
                  <a:pt x="770" y="348"/>
                </a:cubicBezTo>
                <a:cubicBezTo>
                  <a:pt x="770" y="348"/>
                  <a:pt x="770" y="348"/>
                  <a:pt x="770" y="348"/>
                </a:cubicBezTo>
                <a:cubicBezTo>
                  <a:pt x="769" y="351"/>
                  <a:pt x="769" y="351"/>
                  <a:pt x="769" y="351"/>
                </a:cubicBezTo>
                <a:cubicBezTo>
                  <a:pt x="768" y="354"/>
                  <a:pt x="768" y="354"/>
                  <a:pt x="768" y="354"/>
                </a:cubicBezTo>
                <a:cubicBezTo>
                  <a:pt x="768" y="353"/>
                  <a:pt x="768" y="353"/>
                  <a:pt x="768" y="353"/>
                </a:cubicBezTo>
                <a:cubicBezTo>
                  <a:pt x="767" y="352"/>
                  <a:pt x="767" y="352"/>
                  <a:pt x="767" y="352"/>
                </a:cubicBezTo>
                <a:cubicBezTo>
                  <a:pt x="768" y="350"/>
                  <a:pt x="768" y="350"/>
                  <a:pt x="768" y="350"/>
                </a:cubicBezTo>
                <a:cubicBezTo>
                  <a:pt x="767" y="350"/>
                  <a:pt x="767" y="350"/>
                  <a:pt x="767" y="350"/>
                </a:cubicBezTo>
                <a:cubicBezTo>
                  <a:pt x="765" y="349"/>
                  <a:pt x="765" y="349"/>
                  <a:pt x="765" y="349"/>
                </a:cubicBezTo>
                <a:cubicBezTo>
                  <a:pt x="763" y="347"/>
                  <a:pt x="763" y="347"/>
                  <a:pt x="763" y="347"/>
                </a:cubicBezTo>
                <a:cubicBezTo>
                  <a:pt x="763" y="345"/>
                  <a:pt x="763" y="345"/>
                  <a:pt x="763" y="345"/>
                </a:cubicBezTo>
                <a:cubicBezTo>
                  <a:pt x="761" y="340"/>
                  <a:pt x="761" y="340"/>
                  <a:pt x="761" y="340"/>
                </a:cubicBezTo>
                <a:cubicBezTo>
                  <a:pt x="759" y="337"/>
                  <a:pt x="759" y="337"/>
                  <a:pt x="759" y="337"/>
                </a:cubicBezTo>
                <a:cubicBezTo>
                  <a:pt x="760" y="337"/>
                  <a:pt x="760" y="337"/>
                  <a:pt x="760" y="337"/>
                </a:cubicBezTo>
                <a:cubicBezTo>
                  <a:pt x="761" y="337"/>
                  <a:pt x="761" y="337"/>
                  <a:pt x="761" y="337"/>
                </a:cubicBezTo>
                <a:cubicBezTo>
                  <a:pt x="761" y="336"/>
                  <a:pt x="761" y="336"/>
                  <a:pt x="761" y="336"/>
                </a:cubicBezTo>
                <a:cubicBezTo>
                  <a:pt x="760" y="336"/>
                  <a:pt x="760" y="336"/>
                  <a:pt x="760" y="336"/>
                </a:cubicBezTo>
                <a:cubicBezTo>
                  <a:pt x="759" y="336"/>
                  <a:pt x="759" y="336"/>
                  <a:pt x="759" y="336"/>
                </a:cubicBezTo>
                <a:cubicBezTo>
                  <a:pt x="757" y="335"/>
                  <a:pt x="757" y="335"/>
                  <a:pt x="757" y="335"/>
                </a:cubicBezTo>
                <a:cubicBezTo>
                  <a:pt x="752" y="326"/>
                  <a:pt x="752" y="326"/>
                  <a:pt x="752" y="326"/>
                </a:cubicBezTo>
                <a:cubicBezTo>
                  <a:pt x="747" y="321"/>
                  <a:pt x="747" y="321"/>
                  <a:pt x="747" y="321"/>
                </a:cubicBezTo>
                <a:cubicBezTo>
                  <a:pt x="747" y="319"/>
                  <a:pt x="747" y="319"/>
                  <a:pt x="747" y="319"/>
                </a:cubicBezTo>
                <a:cubicBezTo>
                  <a:pt x="746" y="317"/>
                  <a:pt x="746" y="317"/>
                  <a:pt x="746" y="317"/>
                </a:cubicBezTo>
                <a:cubicBezTo>
                  <a:pt x="742" y="312"/>
                  <a:pt x="742" y="312"/>
                  <a:pt x="742" y="312"/>
                </a:cubicBezTo>
                <a:cubicBezTo>
                  <a:pt x="739" y="305"/>
                  <a:pt x="739" y="305"/>
                  <a:pt x="739" y="305"/>
                </a:cubicBezTo>
                <a:cubicBezTo>
                  <a:pt x="736" y="299"/>
                  <a:pt x="736" y="299"/>
                  <a:pt x="736" y="299"/>
                </a:cubicBezTo>
                <a:cubicBezTo>
                  <a:pt x="736" y="297"/>
                  <a:pt x="736" y="297"/>
                  <a:pt x="736" y="297"/>
                </a:cubicBezTo>
                <a:cubicBezTo>
                  <a:pt x="734" y="294"/>
                  <a:pt x="734" y="294"/>
                  <a:pt x="734" y="294"/>
                </a:cubicBezTo>
                <a:cubicBezTo>
                  <a:pt x="734" y="290"/>
                  <a:pt x="734" y="290"/>
                  <a:pt x="734" y="290"/>
                </a:cubicBezTo>
                <a:cubicBezTo>
                  <a:pt x="733" y="287"/>
                  <a:pt x="733" y="287"/>
                  <a:pt x="733" y="287"/>
                </a:cubicBezTo>
                <a:cubicBezTo>
                  <a:pt x="733" y="285"/>
                  <a:pt x="733" y="285"/>
                  <a:pt x="733" y="285"/>
                </a:cubicBezTo>
                <a:cubicBezTo>
                  <a:pt x="734" y="283"/>
                  <a:pt x="734" y="283"/>
                  <a:pt x="734" y="283"/>
                </a:cubicBezTo>
                <a:cubicBezTo>
                  <a:pt x="735" y="281"/>
                  <a:pt x="735" y="281"/>
                  <a:pt x="735" y="281"/>
                </a:cubicBezTo>
                <a:cubicBezTo>
                  <a:pt x="736" y="281"/>
                  <a:pt x="736" y="281"/>
                  <a:pt x="736" y="281"/>
                </a:cubicBezTo>
                <a:cubicBezTo>
                  <a:pt x="735" y="280"/>
                  <a:pt x="735" y="280"/>
                  <a:pt x="735" y="280"/>
                </a:cubicBezTo>
                <a:cubicBezTo>
                  <a:pt x="736" y="279"/>
                  <a:pt x="736" y="279"/>
                  <a:pt x="736" y="279"/>
                </a:cubicBezTo>
                <a:cubicBezTo>
                  <a:pt x="736" y="276"/>
                  <a:pt x="736" y="276"/>
                  <a:pt x="736" y="276"/>
                </a:cubicBezTo>
                <a:cubicBezTo>
                  <a:pt x="733" y="273"/>
                  <a:pt x="733" y="273"/>
                  <a:pt x="733" y="273"/>
                </a:cubicBezTo>
                <a:cubicBezTo>
                  <a:pt x="732" y="273"/>
                  <a:pt x="732" y="273"/>
                  <a:pt x="732" y="273"/>
                </a:cubicBezTo>
                <a:cubicBezTo>
                  <a:pt x="732" y="272"/>
                  <a:pt x="732" y="272"/>
                  <a:pt x="732" y="272"/>
                </a:cubicBezTo>
                <a:cubicBezTo>
                  <a:pt x="733" y="271"/>
                  <a:pt x="733" y="271"/>
                  <a:pt x="733" y="271"/>
                </a:cubicBezTo>
                <a:cubicBezTo>
                  <a:pt x="735" y="272"/>
                  <a:pt x="735" y="272"/>
                  <a:pt x="735" y="272"/>
                </a:cubicBezTo>
                <a:cubicBezTo>
                  <a:pt x="737" y="270"/>
                  <a:pt x="737" y="270"/>
                  <a:pt x="737" y="270"/>
                </a:cubicBezTo>
                <a:cubicBezTo>
                  <a:pt x="736" y="269"/>
                  <a:pt x="736" y="269"/>
                  <a:pt x="736" y="269"/>
                </a:cubicBezTo>
                <a:cubicBezTo>
                  <a:pt x="736" y="267"/>
                  <a:pt x="736" y="267"/>
                  <a:pt x="736" y="267"/>
                </a:cubicBezTo>
                <a:cubicBezTo>
                  <a:pt x="738" y="267"/>
                  <a:pt x="738" y="267"/>
                  <a:pt x="738" y="267"/>
                </a:cubicBezTo>
                <a:cubicBezTo>
                  <a:pt x="740" y="267"/>
                  <a:pt x="740" y="267"/>
                  <a:pt x="740" y="267"/>
                </a:cubicBezTo>
                <a:cubicBezTo>
                  <a:pt x="739" y="265"/>
                  <a:pt x="739" y="265"/>
                  <a:pt x="739" y="265"/>
                </a:cubicBezTo>
                <a:cubicBezTo>
                  <a:pt x="741" y="262"/>
                  <a:pt x="741" y="262"/>
                  <a:pt x="741" y="262"/>
                </a:cubicBezTo>
                <a:cubicBezTo>
                  <a:pt x="740" y="259"/>
                  <a:pt x="740" y="259"/>
                  <a:pt x="740" y="259"/>
                </a:cubicBezTo>
                <a:cubicBezTo>
                  <a:pt x="740" y="257"/>
                  <a:pt x="740" y="257"/>
                  <a:pt x="740" y="257"/>
                </a:cubicBezTo>
                <a:cubicBezTo>
                  <a:pt x="739" y="255"/>
                  <a:pt x="739" y="255"/>
                  <a:pt x="739" y="255"/>
                </a:cubicBezTo>
                <a:cubicBezTo>
                  <a:pt x="740" y="254"/>
                  <a:pt x="740" y="254"/>
                  <a:pt x="740" y="254"/>
                </a:cubicBezTo>
                <a:cubicBezTo>
                  <a:pt x="740" y="253"/>
                  <a:pt x="740" y="253"/>
                  <a:pt x="740" y="253"/>
                </a:cubicBezTo>
                <a:cubicBezTo>
                  <a:pt x="740" y="252"/>
                  <a:pt x="740" y="252"/>
                  <a:pt x="740" y="252"/>
                </a:cubicBezTo>
                <a:cubicBezTo>
                  <a:pt x="740" y="250"/>
                  <a:pt x="740" y="250"/>
                  <a:pt x="740" y="250"/>
                </a:cubicBezTo>
                <a:cubicBezTo>
                  <a:pt x="741" y="250"/>
                  <a:pt x="741" y="250"/>
                  <a:pt x="741" y="250"/>
                </a:cubicBezTo>
                <a:cubicBezTo>
                  <a:pt x="740" y="249"/>
                  <a:pt x="740" y="249"/>
                  <a:pt x="740" y="249"/>
                </a:cubicBezTo>
                <a:cubicBezTo>
                  <a:pt x="740" y="248"/>
                  <a:pt x="740" y="248"/>
                  <a:pt x="740" y="248"/>
                </a:cubicBezTo>
                <a:cubicBezTo>
                  <a:pt x="740" y="247"/>
                  <a:pt x="740" y="247"/>
                  <a:pt x="740" y="247"/>
                </a:cubicBezTo>
                <a:cubicBezTo>
                  <a:pt x="740" y="245"/>
                  <a:pt x="740" y="245"/>
                  <a:pt x="740" y="245"/>
                </a:cubicBezTo>
                <a:cubicBezTo>
                  <a:pt x="740" y="244"/>
                  <a:pt x="740" y="244"/>
                  <a:pt x="740" y="244"/>
                </a:cubicBezTo>
                <a:cubicBezTo>
                  <a:pt x="740" y="243"/>
                  <a:pt x="740" y="243"/>
                  <a:pt x="740" y="243"/>
                </a:cubicBezTo>
                <a:cubicBezTo>
                  <a:pt x="741" y="243"/>
                  <a:pt x="741" y="243"/>
                  <a:pt x="741" y="243"/>
                </a:cubicBezTo>
                <a:cubicBezTo>
                  <a:pt x="742" y="242"/>
                  <a:pt x="742" y="242"/>
                  <a:pt x="742" y="242"/>
                </a:cubicBezTo>
                <a:cubicBezTo>
                  <a:pt x="742" y="240"/>
                  <a:pt x="742" y="240"/>
                  <a:pt x="742" y="240"/>
                </a:cubicBezTo>
                <a:cubicBezTo>
                  <a:pt x="742" y="237"/>
                  <a:pt x="742" y="237"/>
                  <a:pt x="742" y="237"/>
                </a:cubicBezTo>
                <a:cubicBezTo>
                  <a:pt x="741" y="237"/>
                  <a:pt x="741" y="237"/>
                  <a:pt x="741" y="237"/>
                </a:cubicBezTo>
                <a:cubicBezTo>
                  <a:pt x="741" y="236"/>
                  <a:pt x="741" y="236"/>
                  <a:pt x="741" y="236"/>
                </a:cubicBezTo>
                <a:cubicBezTo>
                  <a:pt x="742" y="234"/>
                  <a:pt x="742" y="234"/>
                  <a:pt x="742" y="234"/>
                </a:cubicBezTo>
                <a:cubicBezTo>
                  <a:pt x="742" y="232"/>
                  <a:pt x="742" y="232"/>
                  <a:pt x="742" y="232"/>
                </a:cubicBezTo>
                <a:cubicBezTo>
                  <a:pt x="741" y="232"/>
                  <a:pt x="741" y="232"/>
                  <a:pt x="741" y="232"/>
                </a:cubicBezTo>
                <a:cubicBezTo>
                  <a:pt x="741" y="231"/>
                  <a:pt x="741" y="231"/>
                  <a:pt x="741" y="231"/>
                </a:cubicBezTo>
                <a:cubicBezTo>
                  <a:pt x="742" y="230"/>
                  <a:pt x="742" y="230"/>
                  <a:pt x="742" y="230"/>
                </a:cubicBezTo>
                <a:cubicBezTo>
                  <a:pt x="742" y="229"/>
                  <a:pt x="742" y="229"/>
                  <a:pt x="742" y="229"/>
                </a:cubicBezTo>
                <a:cubicBezTo>
                  <a:pt x="743" y="228"/>
                  <a:pt x="743" y="228"/>
                  <a:pt x="743" y="228"/>
                </a:cubicBezTo>
                <a:cubicBezTo>
                  <a:pt x="743" y="228"/>
                  <a:pt x="743" y="228"/>
                  <a:pt x="743" y="228"/>
                </a:cubicBezTo>
                <a:cubicBezTo>
                  <a:pt x="744" y="227"/>
                  <a:pt x="744" y="227"/>
                  <a:pt x="744" y="227"/>
                </a:cubicBezTo>
                <a:cubicBezTo>
                  <a:pt x="745" y="226"/>
                  <a:pt x="745" y="226"/>
                  <a:pt x="745" y="226"/>
                </a:cubicBezTo>
                <a:cubicBezTo>
                  <a:pt x="746" y="224"/>
                  <a:pt x="746" y="224"/>
                  <a:pt x="746" y="224"/>
                </a:cubicBezTo>
                <a:cubicBezTo>
                  <a:pt x="746" y="224"/>
                  <a:pt x="746" y="224"/>
                  <a:pt x="746" y="224"/>
                </a:cubicBezTo>
                <a:cubicBezTo>
                  <a:pt x="748" y="223"/>
                  <a:pt x="748" y="223"/>
                  <a:pt x="748" y="223"/>
                </a:cubicBezTo>
                <a:cubicBezTo>
                  <a:pt x="748" y="223"/>
                  <a:pt x="748" y="223"/>
                  <a:pt x="748" y="223"/>
                </a:cubicBezTo>
                <a:cubicBezTo>
                  <a:pt x="749" y="222"/>
                  <a:pt x="749" y="222"/>
                  <a:pt x="749" y="222"/>
                </a:cubicBezTo>
                <a:cubicBezTo>
                  <a:pt x="748" y="222"/>
                  <a:pt x="748" y="222"/>
                  <a:pt x="748" y="222"/>
                </a:cubicBezTo>
                <a:cubicBezTo>
                  <a:pt x="747" y="222"/>
                  <a:pt x="747" y="222"/>
                  <a:pt x="747" y="222"/>
                </a:cubicBezTo>
                <a:cubicBezTo>
                  <a:pt x="746" y="222"/>
                  <a:pt x="746" y="222"/>
                  <a:pt x="746" y="222"/>
                </a:cubicBezTo>
                <a:cubicBezTo>
                  <a:pt x="745" y="222"/>
                  <a:pt x="745" y="222"/>
                  <a:pt x="745" y="222"/>
                </a:cubicBezTo>
                <a:cubicBezTo>
                  <a:pt x="745" y="219"/>
                  <a:pt x="745" y="219"/>
                  <a:pt x="745" y="219"/>
                </a:cubicBezTo>
                <a:cubicBezTo>
                  <a:pt x="746" y="217"/>
                  <a:pt x="746" y="217"/>
                  <a:pt x="746" y="217"/>
                </a:cubicBezTo>
                <a:cubicBezTo>
                  <a:pt x="746" y="216"/>
                  <a:pt x="746" y="216"/>
                  <a:pt x="746" y="216"/>
                </a:cubicBezTo>
                <a:cubicBezTo>
                  <a:pt x="745" y="215"/>
                  <a:pt x="745" y="215"/>
                  <a:pt x="745" y="215"/>
                </a:cubicBezTo>
                <a:cubicBezTo>
                  <a:pt x="745" y="215"/>
                  <a:pt x="745" y="215"/>
                  <a:pt x="745" y="215"/>
                </a:cubicBezTo>
                <a:cubicBezTo>
                  <a:pt x="744" y="216"/>
                  <a:pt x="744" y="216"/>
                  <a:pt x="744" y="216"/>
                </a:cubicBezTo>
                <a:cubicBezTo>
                  <a:pt x="744" y="216"/>
                  <a:pt x="744" y="216"/>
                  <a:pt x="744" y="216"/>
                </a:cubicBezTo>
                <a:cubicBezTo>
                  <a:pt x="743" y="213"/>
                  <a:pt x="743" y="213"/>
                  <a:pt x="743" y="213"/>
                </a:cubicBezTo>
                <a:cubicBezTo>
                  <a:pt x="744" y="212"/>
                  <a:pt x="744" y="212"/>
                  <a:pt x="744" y="212"/>
                </a:cubicBezTo>
                <a:cubicBezTo>
                  <a:pt x="744" y="211"/>
                  <a:pt x="744" y="211"/>
                  <a:pt x="744" y="211"/>
                </a:cubicBezTo>
                <a:cubicBezTo>
                  <a:pt x="744" y="210"/>
                  <a:pt x="744" y="210"/>
                  <a:pt x="744" y="210"/>
                </a:cubicBezTo>
                <a:cubicBezTo>
                  <a:pt x="742" y="209"/>
                  <a:pt x="742" y="209"/>
                  <a:pt x="742" y="209"/>
                </a:cubicBezTo>
                <a:cubicBezTo>
                  <a:pt x="743" y="209"/>
                  <a:pt x="743" y="209"/>
                  <a:pt x="743" y="209"/>
                </a:cubicBezTo>
                <a:cubicBezTo>
                  <a:pt x="742" y="209"/>
                  <a:pt x="742" y="209"/>
                  <a:pt x="742" y="209"/>
                </a:cubicBezTo>
                <a:cubicBezTo>
                  <a:pt x="742" y="208"/>
                  <a:pt x="742" y="208"/>
                  <a:pt x="742" y="208"/>
                </a:cubicBezTo>
                <a:cubicBezTo>
                  <a:pt x="741" y="206"/>
                  <a:pt x="741" y="206"/>
                  <a:pt x="741" y="206"/>
                </a:cubicBezTo>
                <a:cubicBezTo>
                  <a:pt x="741" y="206"/>
                  <a:pt x="741" y="206"/>
                  <a:pt x="741" y="206"/>
                </a:cubicBezTo>
                <a:cubicBezTo>
                  <a:pt x="740" y="205"/>
                  <a:pt x="740" y="205"/>
                  <a:pt x="740" y="205"/>
                </a:cubicBezTo>
                <a:cubicBezTo>
                  <a:pt x="740" y="204"/>
                  <a:pt x="740" y="204"/>
                  <a:pt x="740" y="204"/>
                </a:cubicBezTo>
                <a:cubicBezTo>
                  <a:pt x="739" y="202"/>
                  <a:pt x="739" y="202"/>
                  <a:pt x="739" y="202"/>
                </a:cubicBezTo>
                <a:cubicBezTo>
                  <a:pt x="739" y="201"/>
                  <a:pt x="739" y="201"/>
                  <a:pt x="739" y="201"/>
                </a:cubicBezTo>
                <a:cubicBezTo>
                  <a:pt x="741" y="199"/>
                  <a:pt x="741" y="199"/>
                  <a:pt x="741" y="199"/>
                </a:cubicBezTo>
                <a:cubicBezTo>
                  <a:pt x="742" y="200"/>
                  <a:pt x="742" y="200"/>
                  <a:pt x="742" y="200"/>
                </a:cubicBezTo>
                <a:cubicBezTo>
                  <a:pt x="744" y="199"/>
                  <a:pt x="744" y="199"/>
                  <a:pt x="744" y="199"/>
                </a:cubicBezTo>
                <a:cubicBezTo>
                  <a:pt x="743" y="199"/>
                  <a:pt x="743" y="199"/>
                  <a:pt x="743" y="199"/>
                </a:cubicBezTo>
                <a:cubicBezTo>
                  <a:pt x="745" y="198"/>
                  <a:pt x="745" y="198"/>
                  <a:pt x="745" y="198"/>
                </a:cubicBezTo>
                <a:cubicBezTo>
                  <a:pt x="744" y="198"/>
                  <a:pt x="744" y="198"/>
                  <a:pt x="744" y="198"/>
                </a:cubicBezTo>
                <a:cubicBezTo>
                  <a:pt x="743" y="198"/>
                  <a:pt x="743" y="198"/>
                  <a:pt x="743" y="198"/>
                </a:cubicBezTo>
                <a:cubicBezTo>
                  <a:pt x="742" y="197"/>
                  <a:pt x="742" y="197"/>
                  <a:pt x="742" y="197"/>
                </a:cubicBezTo>
                <a:cubicBezTo>
                  <a:pt x="740" y="197"/>
                  <a:pt x="740" y="197"/>
                  <a:pt x="740" y="197"/>
                </a:cubicBezTo>
                <a:cubicBezTo>
                  <a:pt x="738" y="196"/>
                  <a:pt x="738" y="196"/>
                  <a:pt x="738" y="196"/>
                </a:cubicBezTo>
                <a:cubicBezTo>
                  <a:pt x="738" y="196"/>
                  <a:pt x="738" y="196"/>
                  <a:pt x="738" y="196"/>
                </a:cubicBezTo>
                <a:cubicBezTo>
                  <a:pt x="736" y="196"/>
                  <a:pt x="736" y="196"/>
                  <a:pt x="736" y="196"/>
                </a:cubicBezTo>
                <a:cubicBezTo>
                  <a:pt x="735" y="198"/>
                  <a:pt x="735" y="198"/>
                  <a:pt x="735" y="198"/>
                </a:cubicBezTo>
                <a:cubicBezTo>
                  <a:pt x="734" y="198"/>
                  <a:pt x="734" y="198"/>
                  <a:pt x="734" y="198"/>
                </a:cubicBezTo>
                <a:cubicBezTo>
                  <a:pt x="732" y="199"/>
                  <a:pt x="732" y="199"/>
                  <a:pt x="732" y="199"/>
                </a:cubicBezTo>
                <a:cubicBezTo>
                  <a:pt x="733" y="200"/>
                  <a:pt x="733" y="200"/>
                  <a:pt x="733" y="200"/>
                </a:cubicBezTo>
                <a:cubicBezTo>
                  <a:pt x="732" y="201"/>
                  <a:pt x="732" y="201"/>
                  <a:pt x="732" y="201"/>
                </a:cubicBezTo>
                <a:cubicBezTo>
                  <a:pt x="734" y="202"/>
                  <a:pt x="734" y="202"/>
                  <a:pt x="734" y="202"/>
                </a:cubicBezTo>
                <a:cubicBezTo>
                  <a:pt x="734" y="203"/>
                  <a:pt x="734" y="203"/>
                  <a:pt x="734" y="203"/>
                </a:cubicBezTo>
                <a:cubicBezTo>
                  <a:pt x="734" y="204"/>
                  <a:pt x="734" y="204"/>
                  <a:pt x="734" y="204"/>
                </a:cubicBezTo>
                <a:cubicBezTo>
                  <a:pt x="734" y="206"/>
                  <a:pt x="734" y="206"/>
                  <a:pt x="734" y="206"/>
                </a:cubicBezTo>
                <a:cubicBezTo>
                  <a:pt x="735" y="207"/>
                  <a:pt x="735" y="207"/>
                  <a:pt x="735" y="207"/>
                </a:cubicBezTo>
                <a:cubicBezTo>
                  <a:pt x="735" y="207"/>
                  <a:pt x="735" y="207"/>
                  <a:pt x="735" y="207"/>
                </a:cubicBezTo>
                <a:cubicBezTo>
                  <a:pt x="736" y="208"/>
                  <a:pt x="736" y="208"/>
                  <a:pt x="736" y="208"/>
                </a:cubicBezTo>
                <a:cubicBezTo>
                  <a:pt x="737" y="210"/>
                  <a:pt x="737" y="210"/>
                  <a:pt x="737" y="210"/>
                </a:cubicBezTo>
                <a:cubicBezTo>
                  <a:pt x="739" y="211"/>
                  <a:pt x="739" y="211"/>
                  <a:pt x="739" y="211"/>
                </a:cubicBezTo>
                <a:cubicBezTo>
                  <a:pt x="738" y="213"/>
                  <a:pt x="738" y="213"/>
                  <a:pt x="738" y="213"/>
                </a:cubicBezTo>
                <a:cubicBezTo>
                  <a:pt x="739" y="213"/>
                  <a:pt x="739" y="213"/>
                  <a:pt x="739" y="213"/>
                </a:cubicBezTo>
                <a:cubicBezTo>
                  <a:pt x="739" y="214"/>
                  <a:pt x="739" y="214"/>
                  <a:pt x="739" y="214"/>
                </a:cubicBezTo>
                <a:cubicBezTo>
                  <a:pt x="738" y="213"/>
                  <a:pt x="738" y="213"/>
                  <a:pt x="738" y="213"/>
                </a:cubicBezTo>
                <a:cubicBezTo>
                  <a:pt x="737" y="212"/>
                  <a:pt x="737" y="212"/>
                  <a:pt x="737" y="212"/>
                </a:cubicBezTo>
                <a:cubicBezTo>
                  <a:pt x="736" y="213"/>
                  <a:pt x="736" y="213"/>
                  <a:pt x="736" y="213"/>
                </a:cubicBezTo>
                <a:cubicBezTo>
                  <a:pt x="735" y="214"/>
                  <a:pt x="735" y="214"/>
                  <a:pt x="735" y="214"/>
                </a:cubicBezTo>
                <a:cubicBezTo>
                  <a:pt x="734" y="215"/>
                  <a:pt x="734" y="215"/>
                  <a:pt x="734" y="215"/>
                </a:cubicBezTo>
                <a:cubicBezTo>
                  <a:pt x="735" y="216"/>
                  <a:pt x="735" y="216"/>
                  <a:pt x="735" y="216"/>
                </a:cubicBezTo>
                <a:cubicBezTo>
                  <a:pt x="734" y="218"/>
                  <a:pt x="734" y="218"/>
                  <a:pt x="734" y="218"/>
                </a:cubicBezTo>
                <a:cubicBezTo>
                  <a:pt x="734" y="218"/>
                  <a:pt x="734" y="218"/>
                  <a:pt x="734" y="218"/>
                </a:cubicBezTo>
                <a:cubicBezTo>
                  <a:pt x="734" y="219"/>
                  <a:pt x="734" y="219"/>
                  <a:pt x="734" y="219"/>
                </a:cubicBezTo>
                <a:cubicBezTo>
                  <a:pt x="734" y="219"/>
                  <a:pt x="734" y="219"/>
                  <a:pt x="734" y="219"/>
                </a:cubicBezTo>
                <a:cubicBezTo>
                  <a:pt x="734" y="220"/>
                  <a:pt x="734" y="220"/>
                  <a:pt x="734" y="220"/>
                </a:cubicBezTo>
                <a:cubicBezTo>
                  <a:pt x="733" y="221"/>
                  <a:pt x="733" y="221"/>
                  <a:pt x="733" y="221"/>
                </a:cubicBezTo>
                <a:cubicBezTo>
                  <a:pt x="734" y="222"/>
                  <a:pt x="734" y="222"/>
                  <a:pt x="734" y="222"/>
                </a:cubicBezTo>
                <a:cubicBezTo>
                  <a:pt x="733" y="223"/>
                  <a:pt x="733" y="223"/>
                  <a:pt x="733" y="223"/>
                </a:cubicBezTo>
                <a:cubicBezTo>
                  <a:pt x="733" y="226"/>
                  <a:pt x="733" y="226"/>
                  <a:pt x="733" y="226"/>
                </a:cubicBezTo>
                <a:cubicBezTo>
                  <a:pt x="733" y="227"/>
                  <a:pt x="733" y="227"/>
                  <a:pt x="733" y="227"/>
                </a:cubicBezTo>
                <a:cubicBezTo>
                  <a:pt x="733" y="228"/>
                  <a:pt x="733" y="228"/>
                  <a:pt x="733" y="228"/>
                </a:cubicBezTo>
                <a:cubicBezTo>
                  <a:pt x="732" y="228"/>
                  <a:pt x="732" y="228"/>
                  <a:pt x="732" y="228"/>
                </a:cubicBezTo>
                <a:cubicBezTo>
                  <a:pt x="731" y="230"/>
                  <a:pt x="731" y="230"/>
                  <a:pt x="731" y="230"/>
                </a:cubicBezTo>
                <a:cubicBezTo>
                  <a:pt x="731" y="229"/>
                  <a:pt x="731" y="229"/>
                  <a:pt x="731" y="229"/>
                </a:cubicBezTo>
                <a:cubicBezTo>
                  <a:pt x="730" y="228"/>
                  <a:pt x="730" y="228"/>
                  <a:pt x="730" y="228"/>
                </a:cubicBezTo>
                <a:cubicBezTo>
                  <a:pt x="731" y="226"/>
                  <a:pt x="731" y="226"/>
                  <a:pt x="731" y="226"/>
                </a:cubicBezTo>
                <a:cubicBezTo>
                  <a:pt x="730" y="225"/>
                  <a:pt x="730" y="225"/>
                  <a:pt x="730" y="225"/>
                </a:cubicBezTo>
                <a:cubicBezTo>
                  <a:pt x="729" y="225"/>
                  <a:pt x="729" y="225"/>
                  <a:pt x="729" y="225"/>
                </a:cubicBezTo>
                <a:cubicBezTo>
                  <a:pt x="728" y="226"/>
                  <a:pt x="728" y="226"/>
                  <a:pt x="728" y="226"/>
                </a:cubicBezTo>
                <a:cubicBezTo>
                  <a:pt x="728" y="227"/>
                  <a:pt x="728" y="227"/>
                  <a:pt x="728" y="227"/>
                </a:cubicBezTo>
                <a:cubicBezTo>
                  <a:pt x="727" y="227"/>
                  <a:pt x="727" y="227"/>
                  <a:pt x="727" y="227"/>
                </a:cubicBezTo>
                <a:cubicBezTo>
                  <a:pt x="727" y="225"/>
                  <a:pt x="727" y="225"/>
                  <a:pt x="727" y="225"/>
                </a:cubicBezTo>
                <a:cubicBezTo>
                  <a:pt x="726" y="225"/>
                  <a:pt x="726" y="225"/>
                  <a:pt x="726" y="225"/>
                </a:cubicBezTo>
                <a:cubicBezTo>
                  <a:pt x="726" y="224"/>
                  <a:pt x="726" y="224"/>
                  <a:pt x="726" y="224"/>
                </a:cubicBezTo>
                <a:cubicBezTo>
                  <a:pt x="724" y="225"/>
                  <a:pt x="724" y="225"/>
                  <a:pt x="724" y="225"/>
                </a:cubicBezTo>
                <a:cubicBezTo>
                  <a:pt x="724" y="224"/>
                  <a:pt x="724" y="224"/>
                  <a:pt x="724" y="224"/>
                </a:cubicBezTo>
                <a:cubicBezTo>
                  <a:pt x="724" y="224"/>
                  <a:pt x="724" y="224"/>
                  <a:pt x="724" y="224"/>
                </a:cubicBezTo>
                <a:cubicBezTo>
                  <a:pt x="725" y="223"/>
                  <a:pt x="725" y="223"/>
                  <a:pt x="725" y="223"/>
                </a:cubicBezTo>
                <a:cubicBezTo>
                  <a:pt x="725" y="223"/>
                  <a:pt x="725" y="223"/>
                  <a:pt x="725" y="223"/>
                </a:cubicBezTo>
                <a:cubicBezTo>
                  <a:pt x="725" y="222"/>
                  <a:pt x="725" y="222"/>
                  <a:pt x="725" y="222"/>
                </a:cubicBezTo>
                <a:cubicBezTo>
                  <a:pt x="725" y="222"/>
                  <a:pt x="725" y="222"/>
                  <a:pt x="725" y="222"/>
                </a:cubicBezTo>
                <a:cubicBezTo>
                  <a:pt x="725" y="220"/>
                  <a:pt x="725" y="220"/>
                  <a:pt x="725" y="220"/>
                </a:cubicBezTo>
                <a:cubicBezTo>
                  <a:pt x="724" y="220"/>
                  <a:pt x="724" y="220"/>
                  <a:pt x="724" y="220"/>
                </a:cubicBezTo>
                <a:cubicBezTo>
                  <a:pt x="725" y="219"/>
                  <a:pt x="725" y="219"/>
                  <a:pt x="725" y="219"/>
                </a:cubicBezTo>
                <a:cubicBezTo>
                  <a:pt x="724" y="218"/>
                  <a:pt x="724" y="218"/>
                  <a:pt x="724" y="218"/>
                </a:cubicBezTo>
                <a:cubicBezTo>
                  <a:pt x="724" y="217"/>
                  <a:pt x="724" y="217"/>
                  <a:pt x="724" y="217"/>
                </a:cubicBezTo>
                <a:cubicBezTo>
                  <a:pt x="724" y="217"/>
                  <a:pt x="724" y="217"/>
                  <a:pt x="724" y="217"/>
                </a:cubicBezTo>
                <a:cubicBezTo>
                  <a:pt x="724" y="215"/>
                  <a:pt x="724" y="215"/>
                  <a:pt x="724" y="215"/>
                </a:cubicBezTo>
                <a:cubicBezTo>
                  <a:pt x="723" y="214"/>
                  <a:pt x="723" y="214"/>
                  <a:pt x="723" y="214"/>
                </a:cubicBezTo>
                <a:cubicBezTo>
                  <a:pt x="722" y="213"/>
                  <a:pt x="722" y="213"/>
                  <a:pt x="722" y="213"/>
                </a:cubicBezTo>
                <a:cubicBezTo>
                  <a:pt x="722" y="213"/>
                  <a:pt x="722" y="213"/>
                  <a:pt x="722" y="213"/>
                </a:cubicBezTo>
                <a:cubicBezTo>
                  <a:pt x="722" y="215"/>
                  <a:pt x="722" y="215"/>
                  <a:pt x="722" y="215"/>
                </a:cubicBezTo>
                <a:cubicBezTo>
                  <a:pt x="721" y="215"/>
                  <a:pt x="721" y="215"/>
                  <a:pt x="721" y="215"/>
                </a:cubicBezTo>
                <a:cubicBezTo>
                  <a:pt x="721" y="217"/>
                  <a:pt x="721" y="217"/>
                  <a:pt x="721" y="217"/>
                </a:cubicBezTo>
                <a:cubicBezTo>
                  <a:pt x="720" y="218"/>
                  <a:pt x="720" y="218"/>
                  <a:pt x="720" y="218"/>
                </a:cubicBezTo>
                <a:cubicBezTo>
                  <a:pt x="719" y="218"/>
                  <a:pt x="719" y="218"/>
                  <a:pt x="719" y="218"/>
                </a:cubicBezTo>
                <a:cubicBezTo>
                  <a:pt x="719" y="216"/>
                  <a:pt x="719" y="216"/>
                  <a:pt x="719" y="216"/>
                </a:cubicBezTo>
                <a:cubicBezTo>
                  <a:pt x="718" y="216"/>
                  <a:pt x="718" y="216"/>
                  <a:pt x="718" y="216"/>
                </a:cubicBezTo>
                <a:cubicBezTo>
                  <a:pt x="718" y="217"/>
                  <a:pt x="718" y="217"/>
                  <a:pt x="718" y="217"/>
                </a:cubicBezTo>
                <a:cubicBezTo>
                  <a:pt x="717" y="215"/>
                  <a:pt x="717" y="215"/>
                  <a:pt x="717" y="215"/>
                </a:cubicBezTo>
                <a:cubicBezTo>
                  <a:pt x="716" y="215"/>
                  <a:pt x="716" y="215"/>
                  <a:pt x="716" y="215"/>
                </a:cubicBezTo>
                <a:cubicBezTo>
                  <a:pt x="716" y="216"/>
                  <a:pt x="716" y="216"/>
                  <a:pt x="716" y="216"/>
                </a:cubicBezTo>
                <a:cubicBezTo>
                  <a:pt x="715" y="216"/>
                  <a:pt x="715" y="216"/>
                  <a:pt x="715" y="216"/>
                </a:cubicBezTo>
                <a:cubicBezTo>
                  <a:pt x="715" y="217"/>
                  <a:pt x="715" y="217"/>
                  <a:pt x="715" y="217"/>
                </a:cubicBezTo>
                <a:cubicBezTo>
                  <a:pt x="714" y="217"/>
                  <a:pt x="714" y="217"/>
                  <a:pt x="714" y="217"/>
                </a:cubicBezTo>
                <a:cubicBezTo>
                  <a:pt x="714" y="218"/>
                  <a:pt x="714" y="218"/>
                  <a:pt x="714" y="218"/>
                </a:cubicBezTo>
                <a:cubicBezTo>
                  <a:pt x="711" y="218"/>
                  <a:pt x="711" y="218"/>
                  <a:pt x="711" y="218"/>
                </a:cubicBezTo>
                <a:cubicBezTo>
                  <a:pt x="711" y="219"/>
                  <a:pt x="711" y="219"/>
                  <a:pt x="711" y="219"/>
                </a:cubicBezTo>
                <a:cubicBezTo>
                  <a:pt x="710" y="219"/>
                  <a:pt x="710" y="219"/>
                  <a:pt x="710" y="219"/>
                </a:cubicBezTo>
                <a:cubicBezTo>
                  <a:pt x="709" y="219"/>
                  <a:pt x="709" y="219"/>
                  <a:pt x="709" y="219"/>
                </a:cubicBezTo>
                <a:cubicBezTo>
                  <a:pt x="708" y="219"/>
                  <a:pt x="708" y="219"/>
                  <a:pt x="708" y="219"/>
                </a:cubicBezTo>
                <a:cubicBezTo>
                  <a:pt x="706" y="221"/>
                  <a:pt x="706" y="221"/>
                  <a:pt x="706" y="221"/>
                </a:cubicBezTo>
                <a:cubicBezTo>
                  <a:pt x="705" y="222"/>
                  <a:pt x="705" y="222"/>
                  <a:pt x="705" y="222"/>
                </a:cubicBezTo>
                <a:cubicBezTo>
                  <a:pt x="706" y="223"/>
                  <a:pt x="706" y="223"/>
                  <a:pt x="706" y="223"/>
                </a:cubicBezTo>
                <a:cubicBezTo>
                  <a:pt x="704" y="224"/>
                  <a:pt x="704" y="224"/>
                  <a:pt x="704" y="224"/>
                </a:cubicBezTo>
                <a:cubicBezTo>
                  <a:pt x="704" y="225"/>
                  <a:pt x="704" y="225"/>
                  <a:pt x="704" y="225"/>
                </a:cubicBezTo>
                <a:cubicBezTo>
                  <a:pt x="705" y="225"/>
                  <a:pt x="705" y="225"/>
                  <a:pt x="705" y="225"/>
                </a:cubicBezTo>
                <a:cubicBezTo>
                  <a:pt x="705" y="227"/>
                  <a:pt x="705" y="227"/>
                  <a:pt x="705" y="227"/>
                </a:cubicBezTo>
                <a:cubicBezTo>
                  <a:pt x="707" y="229"/>
                  <a:pt x="707" y="229"/>
                  <a:pt x="707" y="229"/>
                </a:cubicBezTo>
                <a:cubicBezTo>
                  <a:pt x="706" y="230"/>
                  <a:pt x="706" y="230"/>
                  <a:pt x="706" y="230"/>
                </a:cubicBezTo>
                <a:cubicBezTo>
                  <a:pt x="705" y="234"/>
                  <a:pt x="705" y="234"/>
                  <a:pt x="705" y="234"/>
                </a:cubicBezTo>
                <a:cubicBezTo>
                  <a:pt x="707" y="236"/>
                  <a:pt x="707" y="236"/>
                  <a:pt x="707" y="236"/>
                </a:cubicBezTo>
                <a:cubicBezTo>
                  <a:pt x="705" y="236"/>
                  <a:pt x="705" y="236"/>
                  <a:pt x="705" y="236"/>
                </a:cubicBezTo>
                <a:cubicBezTo>
                  <a:pt x="706" y="237"/>
                  <a:pt x="706" y="237"/>
                  <a:pt x="706" y="237"/>
                </a:cubicBezTo>
                <a:cubicBezTo>
                  <a:pt x="706" y="238"/>
                  <a:pt x="706" y="238"/>
                  <a:pt x="706" y="238"/>
                </a:cubicBezTo>
                <a:cubicBezTo>
                  <a:pt x="705" y="239"/>
                  <a:pt x="705" y="239"/>
                  <a:pt x="705" y="239"/>
                </a:cubicBezTo>
                <a:cubicBezTo>
                  <a:pt x="704" y="241"/>
                  <a:pt x="704" y="241"/>
                  <a:pt x="704" y="241"/>
                </a:cubicBezTo>
                <a:cubicBezTo>
                  <a:pt x="703" y="242"/>
                  <a:pt x="703" y="242"/>
                  <a:pt x="703" y="242"/>
                </a:cubicBezTo>
                <a:cubicBezTo>
                  <a:pt x="703" y="244"/>
                  <a:pt x="703" y="244"/>
                  <a:pt x="703" y="244"/>
                </a:cubicBezTo>
                <a:cubicBezTo>
                  <a:pt x="703" y="246"/>
                  <a:pt x="703" y="246"/>
                  <a:pt x="703" y="246"/>
                </a:cubicBezTo>
                <a:cubicBezTo>
                  <a:pt x="704" y="248"/>
                  <a:pt x="704" y="248"/>
                  <a:pt x="704" y="248"/>
                </a:cubicBezTo>
                <a:cubicBezTo>
                  <a:pt x="703" y="248"/>
                  <a:pt x="703" y="248"/>
                  <a:pt x="703" y="248"/>
                </a:cubicBezTo>
                <a:cubicBezTo>
                  <a:pt x="705" y="251"/>
                  <a:pt x="705" y="251"/>
                  <a:pt x="705" y="251"/>
                </a:cubicBezTo>
                <a:cubicBezTo>
                  <a:pt x="704" y="251"/>
                  <a:pt x="704" y="251"/>
                  <a:pt x="704" y="251"/>
                </a:cubicBezTo>
                <a:cubicBezTo>
                  <a:pt x="704" y="252"/>
                  <a:pt x="704" y="252"/>
                  <a:pt x="704" y="252"/>
                </a:cubicBezTo>
                <a:cubicBezTo>
                  <a:pt x="705" y="253"/>
                  <a:pt x="705" y="253"/>
                  <a:pt x="705" y="253"/>
                </a:cubicBezTo>
                <a:cubicBezTo>
                  <a:pt x="705" y="252"/>
                  <a:pt x="705" y="252"/>
                  <a:pt x="705" y="252"/>
                </a:cubicBezTo>
                <a:cubicBezTo>
                  <a:pt x="706" y="252"/>
                  <a:pt x="706" y="252"/>
                  <a:pt x="706" y="252"/>
                </a:cubicBezTo>
                <a:cubicBezTo>
                  <a:pt x="706" y="252"/>
                  <a:pt x="706" y="252"/>
                  <a:pt x="706" y="252"/>
                </a:cubicBezTo>
                <a:cubicBezTo>
                  <a:pt x="707" y="251"/>
                  <a:pt x="707" y="251"/>
                  <a:pt x="707" y="251"/>
                </a:cubicBezTo>
                <a:cubicBezTo>
                  <a:pt x="708" y="252"/>
                  <a:pt x="708" y="252"/>
                  <a:pt x="708" y="252"/>
                </a:cubicBezTo>
                <a:cubicBezTo>
                  <a:pt x="708" y="252"/>
                  <a:pt x="708" y="252"/>
                  <a:pt x="708" y="252"/>
                </a:cubicBezTo>
                <a:cubicBezTo>
                  <a:pt x="708" y="251"/>
                  <a:pt x="708" y="251"/>
                  <a:pt x="708" y="251"/>
                </a:cubicBezTo>
                <a:cubicBezTo>
                  <a:pt x="709" y="251"/>
                  <a:pt x="709" y="251"/>
                  <a:pt x="709" y="251"/>
                </a:cubicBezTo>
                <a:cubicBezTo>
                  <a:pt x="709" y="252"/>
                  <a:pt x="709" y="252"/>
                  <a:pt x="709" y="252"/>
                </a:cubicBezTo>
                <a:cubicBezTo>
                  <a:pt x="710" y="252"/>
                  <a:pt x="710" y="252"/>
                  <a:pt x="710" y="252"/>
                </a:cubicBezTo>
                <a:cubicBezTo>
                  <a:pt x="711" y="253"/>
                  <a:pt x="711" y="253"/>
                  <a:pt x="711" y="253"/>
                </a:cubicBezTo>
                <a:cubicBezTo>
                  <a:pt x="710" y="253"/>
                  <a:pt x="710" y="253"/>
                  <a:pt x="710" y="253"/>
                </a:cubicBezTo>
                <a:cubicBezTo>
                  <a:pt x="711" y="254"/>
                  <a:pt x="711" y="254"/>
                  <a:pt x="711" y="254"/>
                </a:cubicBezTo>
                <a:cubicBezTo>
                  <a:pt x="711" y="255"/>
                  <a:pt x="711" y="255"/>
                  <a:pt x="711" y="255"/>
                </a:cubicBezTo>
                <a:cubicBezTo>
                  <a:pt x="710" y="255"/>
                  <a:pt x="710" y="255"/>
                  <a:pt x="710" y="255"/>
                </a:cubicBezTo>
                <a:cubicBezTo>
                  <a:pt x="710" y="255"/>
                  <a:pt x="710" y="255"/>
                  <a:pt x="710" y="255"/>
                </a:cubicBezTo>
                <a:cubicBezTo>
                  <a:pt x="709" y="255"/>
                  <a:pt x="709" y="255"/>
                  <a:pt x="709" y="255"/>
                </a:cubicBezTo>
                <a:cubicBezTo>
                  <a:pt x="708" y="256"/>
                  <a:pt x="708" y="256"/>
                  <a:pt x="708" y="256"/>
                </a:cubicBezTo>
                <a:cubicBezTo>
                  <a:pt x="708" y="256"/>
                  <a:pt x="708" y="256"/>
                  <a:pt x="708" y="256"/>
                </a:cubicBezTo>
                <a:cubicBezTo>
                  <a:pt x="708" y="257"/>
                  <a:pt x="708" y="257"/>
                  <a:pt x="708" y="257"/>
                </a:cubicBezTo>
                <a:cubicBezTo>
                  <a:pt x="707" y="258"/>
                  <a:pt x="707" y="258"/>
                  <a:pt x="707" y="258"/>
                </a:cubicBezTo>
                <a:cubicBezTo>
                  <a:pt x="706" y="258"/>
                  <a:pt x="706" y="258"/>
                  <a:pt x="706" y="258"/>
                </a:cubicBezTo>
                <a:cubicBezTo>
                  <a:pt x="706" y="257"/>
                  <a:pt x="706" y="257"/>
                  <a:pt x="706" y="257"/>
                </a:cubicBezTo>
                <a:cubicBezTo>
                  <a:pt x="705" y="256"/>
                  <a:pt x="705" y="256"/>
                  <a:pt x="705" y="256"/>
                </a:cubicBezTo>
                <a:cubicBezTo>
                  <a:pt x="704" y="257"/>
                  <a:pt x="704" y="257"/>
                  <a:pt x="704" y="257"/>
                </a:cubicBezTo>
                <a:cubicBezTo>
                  <a:pt x="703" y="256"/>
                  <a:pt x="703" y="256"/>
                  <a:pt x="703" y="256"/>
                </a:cubicBezTo>
                <a:cubicBezTo>
                  <a:pt x="703" y="257"/>
                  <a:pt x="703" y="257"/>
                  <a:pt x="703" y="257"/>
                </a:cubicBezTo>
                <a:cubicBezTo>
                  <a:pt x="703" y="258"/>
                  <a:pt x="703" y="258"/>
                  <a:pt x="703" y="258"/>
                </a:cubicBezTo>
                <a:cubicBezTo>
                  <a:pt x="703" y="259"/>
                  <a:pt x="703" y="259"/>
                  <a:pt x="703" y="259"/>
                </a:cubicBezTo>
                <a:cubicBezTo>
                  <a:pt x="702" y="259"/>
                  <a:pt x="702" y="259"/>
                  <a:pt x="702" y="259"/>
                </a:cubicBezTo>
                <a:cubicBezTo>
                  <a:pt x="702" y="259"/>
                  <a:pt x="702" y="259"/>
                  <a:pt x="702" y="259"/>
                </a:cubicBezTo>
                <a:cubicBezTo>
                  <a:pt x="701" y="260"/>
                  <a:pt x="701" y="260"/>
                  <a:pt x="701" y="260"/>
                </a:cubicBezTo>
                <a:cubicBezTo>
                  <a:pt x="701" y="261"/>
                  <a:pt x="701" y="261"/>
                  <a:pt x="701" y="261"/>
                </a:cubicBezTo>
                <a:cubicBezTo>
                  <a:pt x="701" y="261"/>
                  <a:pt x="701" y="261"/>
                  <a:pt x="701" y="261"/>
                </a:cubicBezTo>
                <a:cubicBezTo>
                  <a:pt x="700" y="261"/>
                  <a:pt x="700" y="261"/>
                  <a:pt x="700" y="261"/>
                </a:cubicBezTo>
                <a:cubicBezTo>
                  <a:pt x="698" y="260"/>
                  <a:pt x="698" y="260"/>
                  <a:pt x="698" y="260"/>
                </a:cubicBezTo>
                <a:cubicBezTo>
                  <a:pt x="698" y="260"/>
                  <a:pt x="698" y="260"/>
                  <a:pt x="698" y="260"/>
                </a:cubicBezTo>
                <a:cubicBezTo>
                  <a:pt x="699" y="261"/>
                  <a:pt x="699" y="261"/>
                  <a:pt x="699" y="261"/>
                </a:cubicBezTo>
                <a:cubicBezTo>
                  <a:pt x="697" y="262"/>
                  <a:pt x="697" y="262"/>
                  <a:pt x="697" y="262"/>
                </a:cubicBezTo>
                <a:cubicBezTo>
                  <a:pt x="698" y="262"/>
                  <a:pt x="698" y="262"/>
                  <a:pt x="698" y="262"/>
                </a:cubicBezTo>
                <a:cubicBezTo>
                  <a:pt x="697" y="263"/>
                  <a:pt x="697" y="263"/>
                  <a:pt x="697" y="263"/>
                </a:cubicBezTo>
                <a:cubicBezTo>
                  <a:pt x="695" y="264"/>
                  <a:pt x="695" y="264"/>
                  <a:pt x="695" y="264"/>
                </a:cubicBezTo>
                <a:cubicBezTo>
                  <a:pt x="694" y="264"/>
                  <a:pt x="694" y="264"/>
                  <a:pt x="694" y="264"/>
                </a:cubicBezTo>
                <a:cubicBezTo>
                  <a:pt x="693" y="262"/>
                  <a:pt x="693" y="262"/>
                  <a:pt x="693" y="262"/>
                </a:cubicBezTo>
                <a:cubicBezTo>
                  <a:pt x="692" y="262"/>
                  <a:pt x="692" y="262"/>
                  <a:pt x="692" y="262"/>
                </a:cubicBezTo>
                <a:cubicBezTo>
                  <a:pt x="691" y="262"/>
                  <a:pt x="691" y="262"/>
                  <a:pt x="691" y="262"/>
                </a:cubicBezTo>
                <a:cubicBezTo>
                  <a:pt x="692" y="261"/>
                  <a:pt x="692" y="261"/>
                  <a:pt x="692" y="261"/>
                </a:cubicBezTo>
                <a:cubicBezTo>
                  <a:pt x="693" y="261"/>
                  <a:pt x="693" y="261"/>
                  <a:pt x="693" y="261"/>
                </a:cubicBezTo>
                <a:cubicBezTo>
                  <a:pt x="692" y="260"/>
                  <a:pt x="692" y="260"/>
                  <a:pt x="692" y="260"/>
                </a:cubicBezTo>
                <a:cubicBezTo>
                  <a:pt x="693" y="259"/>
                  <a:pt x="693" y="259"/>
                  <a:pt x="693" y="259"/>
                </a:cubicBezTo>
                <a:cubicBezTo>
                  <a:pt x="695" y="259"/>
                  <a:pt x="695" y="259"/>
                  <a:pt x="695" y="259"/>
                </a:cubicBezTo>
                <a:cubicBezTo>
                  <a:pt x="697" y="258"/>
                  <a:pt x="697" y="258"/>
                  <a:pt x="697" y="258"/>
                </a:cubicBezTo>
                <a:cubicBezTo>
                  <a:pt x="697" y="257"/>
                  <a:pt x="697" y="257"/>
                  <a:pt x="697" y="257"/>
                </a:cubicBezTo>
                <a:cubicBezTo>
                  <a:pt x="696" y="257"/>
                  <a:pt x="696" y="257"/>
                  <a:pt x="696" y="257"/>
                </a:cubicBezTo>
                <a:cubicBezTo>
                  <a:pt x="695" y="258"/>
                  <a:pt x="695" y="258"/>
                  <a:pt x="695" y="258"/>
                </a:cubicBezTo>
                <a:cubicBezTo>
                  <a:pt x="693" y="257"/>
                  <a:pt x="693" y="257"/>
                  <a:pt x="693" y="257"/>
                </a:cubicBezTo>
                <a:cubicBezTo>
                  <a:pt x="693" y="257"/>
                  <a:pt x="693" y="257"/>
                  <a:pt x="693" y="257"/>
                </a:cubicBezTo>
                <a:cubicBezTo>
                  <a:pt x="692" y="256"/>
                  <a:pt x="692" y="256"/>
                  <a:pt x="692" y="256"/>
                </a:cubicBezTo>
                <a:cubicBezTo>
                  <a:pt x="691" y="256"/>
                  <a:pt x="691" y="256"/>
                  <a:pt x="691" y="256"/>
                </a:cubicBezTo>
                <a:cubicBezTo>
                  <a:pt x="689" y="255"/>
                  <a:pt x="689" y="255"/>
                  <a:pt x="689" y="255"/>
                </a:cubicBezTo>
                <a:cubicBezTo>
                  <a:pt x="687" y="255"/>
                  <a:pt x="687" y="255"/>
                  <a:pt x="687" y="255"/>
                </a:cubicBezTo>
                <a:cubicBezTo>
                  <a:pt x="688" y="256"/>
                  <a:pt x="688" y="256"/>
                  <a:pt x="688" y="256"/>
                </a:cubicBezTo>
                <a:cubicBezTo>
                  <a:pt x="687" y="257"/>
                  <a:pt x="687" y="257"/>
                  <a:pt x="687" y="257"/>
                </a:cubicBezTo>
                <a:cubicBezTo>
                  <a:pt x="686" y="256"/>
                  <a:pt x="686" y="256"/>
                  <a:pt x="686" y="256"/>
                </a:cubicBezTo>
                <a:cubicBezTo>
                  <a:pt x="686" y="255"/>
                  <a:pt x="686" y="255"/>
                  <a:pt x="686" y="255"/>
                </a:cubicBezTo>
                <a:cubicBezTo>
                  <a:pt x="684" y="256"/>
                  <a:pt x="684" y="256"/>
                  <a:pt x="684" y="256"/>
                </a:cubicBezTo>
                <a:cubicBezTo>
                  <a:pt x="682" y="255"/>
                  <a:pt x="682" y="255"/>
                  <a:pt x="682" y="255"/>
                </a:cubicBezTo>
                <a:cubicBezTo>
                  <a:pt x="681" y="256"/>
                  <a:pt x="681" y="256"/>
                  <a:pt x="681" y="256"/>
                </a:cubicBezTo>
                <a:cubicBezTo>
                  <a:pt x="680" y="255"/>
                  <a:pt x="680" y="255"/>
                  <a:pt x="680" y="255"/>
                </a:cubicBezTo>
                <a:cubicBezTo>
                  <a:pt x="678" y="255"/>
                  <a:pt x="678" y="255"/>
                  <a:pt x="678" y="255"/>
                </a:cubicBezTo>
                <a:cubicBezTo>
                  <a:pt x="677" y="257"/>
                  <a:pt x="677" y="257"/>
                  <a:pt x="677" y="257"/>
                </a:cubicBezTo>
                <a:cubicBezTo>
                  <a:pt x="676" y="257"/>
                  <a:pt x="676" y="257"/>
                  <a:pt x="676" y="257"/>
                </a:cubicBezTo>
                <a:cubicBezTo>
                  <a:pt x="676" y="258"/>
                  <a:pt x="676" y="258"/>
                  <a:pt x="676" y="258"/>
                </a:cubicBezTo>
                <a:cubicBezTo>
                  <a:pt x="678" y="259"/>
                  <a:pt x="678" y="259"/>
                  <a:pt x="678" y="259"/>
                </a:cubicBezTo>
                <a:cubicBezTo>
                  <a:pt x="676" y="259"/>
                  <a:pt x="676" y="259"/>
                  <a:pt x="676" y="259"/>
                </a:cubicBezTo>
                <a:cubicBezTo>
                  <a:pt x="675" y="258"/>
                  <a:pt x="675" y="258"/>
                  <a:pt x="675" y="258"/>
                </a:cubicBezTo>
                <a:cubicBezTo>
                  <a:pt x="674" y="260"/>
                  <a:pt x="674" y="260"/>
                  <a:pt x="674" y="260"/>
                </a:cubicBezTo>
                <a:cubicBezTo>
                  <a:pt x="676" y="261"/>
                  <a:pt x="676" y="261"/>
                  <a:pt x="676" y="261"/>
                </a:cubicBezTo>
                <a:cubicBezTo>
                  <a:pt x="677" y="260"/>
                  <a:pt x="677" y="260"/>
                  <a:pt x="677" y="260"/>
                </a:cubicBezTo>
                <a:cubicBezTo>
                  <a:pt x="677" y="261"/>
                  <a:pt x="677" y="261"/>
                  <a:pt x="677" y="261"/>
                </a:cubicBezTo>
                <a:cubicBezTo>
                  <a:pt x="677" y="262"/>
                  <a:pt x="677" y="262"/>
                  <a:pt x="677" y="262"/>
                </a:cubicBezTo>
                <a:cubicBezTo>
                  <a:pt x="675" y="263"/>
                  <a:pt x="675" y="263"/>
                  <a:pt x="675" y="263"/>
                </a:cubicBezTo>
                <a:cubicBezTo>
                  <a:pt x="674" y="262"/>
                  <a:pt x="674" y="262"/>
                  <a:pt x="674" y="262"/>
                </a:cubicBezTo>
                <a:cubicBezTo>
                  <a:pt x="672" y="261"/>
                  <a:pt x="672" y="261"/>
                  <a:pt x="672" y="261"/>
                </a:cubicBezTo>
                <a:cubicBezTo>
                  <a:pt x="671" y="262"/>
                  <a:pt x="671" y="262"/>
                  <a:pt x="671" y="262"/>
                </a:cubicBezTo>
                <a:cubicBezTo>
                  <a:pt x="672" y="263"/>
                  <a:pt x="672" y="263"/>
                  <a:pt x="672" y="263"/>
                </a:cubicBezTo>
                <a:cubicBezTo>
                  <a:pt x="671" y="263"/>
                  <a:pt x="671" y="263"/>
                  <a:pt x="671" y="263"/>
                </a:cubicBezTo>
                <a:cubicBezTo>
                  <a:pt x="670" y="264"/>
                  <a:pt x="670" y="264"/>
                  <a:pt x="670" y="264"/>
                </a:cubicBezTo>
                <a:cubicBezTo>
                  <a:pt x="669" y="264"/>
                  <a:pt x="669" y="264"/>
                  <a:pt x="669" y="264"/>
                </a:cubicBezTo>
                <a:cubicBezTo>
                  <a:pt x="669" y="263"/>
                  <a:pt x="669" y="263"/>
                  <a:pt x="669" y="263"/>
                </a:cubicBezTo>
                <a:cubicBezTo>
                  <a:pt x="666" y="263"/>
                  <a:pt x="666" y="263"/>
                  <a:pt x="666" y="263"/>
                </a:cubicBezTo>
                <a:cubicBezTo>
                  <a:pt x="665" y="263"/>
                  <a:pt x="665" y="263"/>
                  <a:pt x="665" y="263"/>
                </a:cubicBezTo>
                <a:cubicBezTo>
                  <a:pt x="663" y="263"/>
                  <a:pt x="663" y="263"/>
                  <a:pt x="663" y="263"/>
                </a:cubicBezTo>
                <a:cubicBezTo>
                  <a:pt x="661" y="264"/>
                  <a:pt x="661" y="264"/>
                  <a:pt x="661" y="264"/>
                </a:cubicBezTo>
                <a:cubicBezTo>
                  <a:pt x="661" y="264"/>
                  <a:pt x="661" y="264"/>
                  <a:pt x="661" y="264"/>
                </a:cubicBezTo>
                <a:cubicBezTo>
                  <a:pt x="663" y="266"/>
                  <a:pt x="663" y="266"/>
                  <a:pt x="663" y="266"/>
                </a:cubicBezTo>
                <a:cubicBezTo>
                  <a:pt x="662" y="267"/>
                  <a:pt x="662" y="267"/>
                  <a:pt x="662" y="267"/>
                </a:cubicBezTo>
                <a:cubicBezTo>
                  <a:pt x="662" y="268"/>
                  <a:pt x="662" y="268"/>
                  <a:pt x="662" y="268"/>
                </a:cubicBezTo>
                <a:cubicBezTo>
                  <a:pt x="660" y="267"/>
                  <a:pt x="660" y="267"/>
                  <a:pt x="660" y="267"/>
                </a:cubicBezTo>
                <a:cubicBezTo>
                  <a:pt x="660" y="266"/>
                  <a:pt x="660" y="266"/>
                  <a:pt x="660" y="266"/>
                </a:cubicBezTo>
                <a:cubicBezTo>
                  <a:pt x="660" y="265"/>
                  <a:pt x="660" y="265"/>
                  <a:pt x="660" y="265"/>
                </a:cubicBezTo>
                <a:cubicBezTo>
                  <a:pt x="659" y="264"/>
                  <a:pt x="659" y="264"/>
                  <a:pt x="659" y="264"/>
                </a:cubicBezTo>
                <a:cubicBezTo>
                  <a:pt x="658" y="265"/>
                  <a:pt x="658" y="265"/>
                  <a:pt x="658" y="265"/>
                </a:cubicBezTo>
                <a:cubicBezTo>
                  <a:pt x="657" y="265"/>
                  <a:pt x="657" y="265"/>
                  <a:pt x="657" y="265"/>
                </a:cubicBezTo>
                <a:cubicBezTo>
                  <a:pt x="656" y="265"/>
                  <a:pt x="656" y="265"/>
                  <a:pt x="656" y="265"/>
                </a:cubicBezTo>
                <a:cubicBezTo>
                  <a:pt x="655" y="266"/>
                  <a:pt x="655" y="266"/>
                  <a:pt x="655" y="266"/>
                </a:cubicBezTo>
                <a:cubicBezTo>
                  <a:pt x="654" y="266"/>
                  <a:pt x="654" y="266"/>
                  <a:pt x="654" y="266"/>
                </a:cubicBezTo>
                <a:cubicBezTo>
                  <a:pt x="652" y="267"/>
                  <a:pt x="652" y="267"/>
                  <a:pt x="652" y="267"/>
                </a:cubicBezTo>
                <a:cubicBezTo>
                  <a:pt x="650" y="267"/>
                  <a:pt x="650" y="267"/>
                  <a:pt x="650" y="267"/>
                </a:cubicBezTo>
                <a:cubicBezTo>
                  <a:pt x="648" y="269"/>
                  <a:pt x="648" y="269"/>
                  <a:pt x="648" y="269"/>
                </a:cubicBezTo>
                <a:cubicBezTo>
                  <a:pt x="646" y="269"/>
                  <a:pt x="646" y="269"/>
                  <a:pt x="646" y="269"/>
                </a:cubicBezTo>
                <a:cubicBezTo>
                  <a:pt x="646" y="268"/>
                  <a:pt x="646" y="268"/>
                  <a:pt x="646" y="268"/>
                </a:cubicBezTo>
                <a:cubicBezTo>
                  <a:pt x="645" y="269"/>
                  <a:pt x="645" y="269"/>
                  <a:pt x="645" y="269"/>
                </a:cubicBezTo>
                <a:cubicBezTo>
                  <a:pt x="644" y="270"/>
                  <a:pt x="644" y="270"/>
                  <a:pt x="644" y="270"/>
                </a:cubicBezTo>
                <a:cubicBezTo>
                  <a:pt x="642" y="271"/>
                  <a:pt x="642" y="271"/>
                  <a:pt x="642" y="271"/>
                </a:cubicBezTo>
                <a:cubicBezTo>
                  <a:pt x="642" y="273"/>
                  <a:pt x="642" y="273"/>
                  <a:pt x="642" y="273"/>
                </a:cubicBezTo>
                <a:cubicBezTo>
                  <a:pt x="641" y="274"/>
                  <a:pt x="641" y="274"/>
                  <a:pt x="641" y="274"/>
                </a:cubicBezTo>
                <a:cubicBezTo>
                  <a:pt x="640" y="275"/>
                  <a:pt x="640" y="275"/>
                  <a:pt x="640" y="275"/>
                </a:cubicBezTo>
                <a:cubicBezTo>
                  <a:pt x="642" y="278"/>
                  <a:pt x="642" y="278"/>
                  <a:pt x="642" y="278"/>
                </a:cubicBezTo>
                <a:cubicBezTo>
                  <a:pt x="642" y="280"/>
                  <a:pt x="642" y="280"/>
                  <a:pt x="642" y="280"/>
                </a:cubicBezTo>
                <a:cubicBezTo>
                  <a:pt x="640" y="282"/>
                  <a:pt x="640" y="282"/>
                  <a:pt x="640" y="282"/>
                </a:cubicBezTo>
                <a:cubicBezTo>
                  <a:pt x="639" y="284"/>
                  <a:pt x="639" y="284"/>
                  <a:pt x="639" y="284"/>
                </a:cubicBezTo>
                <a:cubicBezTo>
                  <a:pt x="639" y="286"/>
                  <a:pt x="639" y="286"/>
                  <a:pt x="639" y="286"/>
                </a:cubicBezTo>
                <a:cubicBezTo>
                  <a:pt x="639" y="288"/>
                  <a:pt x="639" y="288"/>
                  <a:pt x="639" y="288"/>
                </a:cubicBezTo>
                <a:cubicBezTo>
                  <a:pt x="640" y="289"/>
                  <a:pt x="640" y="289"/>
                  <a:pt x="640" y="289"/>
                </a:cubicBezTo>
                <a:cubicBezTo>
                  <a:pt x="640" y="291"/>
                  <a:pt x="640" y="291"/>
                  <a:pt x="640" y="291"/>
                </a:cubicBezTo>
                <a:cubicBezTo>
                  <a:pt x="639" y="291"/>
                  <a:pt x="639" y="291"/>
                  <a:pt x="639" y="291"/>
                </a:cubicBezTo>
                <a:cubicBezTo>
                  <a:pt x="638" y="291"/>
                  <a:pt x="638" y="291"/>
                  <a:pt x="638" y="291"/>
                </a:cubicBezTo>
                <a:cubicBezTo>
                  <a:pt x="638" y="293"/>
                  <a:pt x="638" y="293"/>
                  <a:pt x="638" y="293"/>
                </a:cubicBezTo>
                <a:cubicBezTo>
                  <a:pt x="638" y="293"/>
                  <a:pt x="638" y="293"/>
                  <a:pt x="638" y="293"/>
                </a:cubicBezTo>
                <a:cubicBezTo>
                  <a:pt x="638" y="295"/>
                  <a:pt x="638" y="295"/>
                  <a:pt x="638" y="295"/>
                </a:cubicBezTo>
                <a:cubicBezTo>
                  <a:pt x="637" y="296"/>
                  <a:pt x="637" y="296"/>
                  <a:pt x="637" y="296"/>
                </a:cubicBezTo>
                <a:cubicBezTo>
                  <a:pt x="637" y="298"/>
                  <a:pt x="637" y="298"/>
                  <a:pt x="637" y="298"/>
                </a:cubicBezTo>
                <a:cubicBezTo>
                  <a:pt x="635" y="300"/>
                  <a:pt x="635" y="300"/>
                  <a:pt x="635" y="300"/>
                </a:cubicBezTo>
                <a:cubicBezTo>
                  <a:pt x="636" y="301"/>
                  <a:pt x="636" y="301"/>
                  <a:pt x="636" y="301"/>
                </a:cubicBezTo>
                <a:cubicBezTo>
                  <a:pt x="635" y="302"/>
                  <a:pt x="635" y="302"/>
                  <a:pt x="635" y="302"/>
                </a:cubicBezTo>
                <a:cubicBezTo>
                  <a:pt x="634" y="304"/>
                  <a:pt x="634" y="304"/>
                  <a:pt x="634" y="304"/>
                </a:cubicBezTo>
                <a:cubicBezTo>
                  <a:pt x="634" y="304"/>
                  <a:pt x="634" y="304"/>
                  <a:pt x="634" y="304"/>
                </a:cubicBezTo>
                <a:cubicBezTo>
                  <a:pt x="633" y="307"/>
                  <a:pt x="633" y="307"/>
                  <a:pt x="633" y="307"/>
                </a:cubicBezTo>
                <a:cubicBezTo>
                  <a:pt x="633" y="309"/>
                  <a:pt x="633" y="309"/>
                  <a:pt x="633" y="309"/>
                </a:cubicBezTo>
                <a:cubicBezTo>
                  <a:pt x="633" y="310"/>
                  <a:pt x="633" y="310"/>
                  <a:pt x="633" y="310"/>
                </a:cubicBezTo>
                <a:cubicBezTo>
                  <a:pt x="633" y="312"/>
                  <a:pt x="633" y="312"/>
                  <a:pt x="633" y="312"/>
                </a:cubicBezTo>
                <a:cubicBezTo>
                  <a:pt x="632" y="313"/>
                  <a:pt x="632" y="313"/>
                  <a:pt x="632" y="313"/>
                </a:cubicBezTo>
                <a:cubicBezTo>
                  <a:pt x="632" y="314"/>
                  <a:pt x="632" y="314"/>
                  <a:pt x="632" y="314"/>
                </a:cubicBezTo>
                <a:cubicBezTo>
                  <a:pt x="631" y="316"/>
                  <a:pt x="631" y="316"/>
                  <a:pt x="631" y="316"/>
                </a:cubicBezTo>
                <a:cubicBezTo>
                  <a:pt x="631" y="317"/>
                  <a:pt x="631" y="317"/>
                  <a:pt x="631" y="317"/>
                </a:cubicBezTo>
                <a:cubicBezTo>
                  <a:pt x="630" y="317"/>
                  <a:pt x="630" y="317"/>
                  <a:pt x="630" y="317"/>
                </a:cubicBezTo>
                <a:cubicBezTo>
                  <a:pt x="630" y="319"/>
                  <a:pt x="630" y="319"/>
                  <a:pt x="630" y="319"/>
                </a:cubicBezTo>
                <a:cubicBezTo>
                  <a:pt x="628" y="320"/>
                  <a:pt x="628" y="320"/>
                  <a:pt x="628" y="320"/>
                </a:cubicBezTo>
                <a:cubicBezTo>
                  <a:pt x="628" y="322"/>
                  <a:pt x="628" y="322"/>
                  <a:pt x="628" y="322"/>
                </a:cubicBezTo>
                <a:cubicBezTo>
                  <a:pt x="627" y="324"/>
                  <a:pt x="627" y="324"/>
                  <a:pt x="627" y="324"/>
                </a:cubicBezTo>
                <a:cubicBezTo>
                  <a:pt x="627" y="325"/>
                  <a:pt x="627" y="325"/>
                  <a:pt x="627" y="325"/>
                </a:cubicBezTo>
                <a:cubicBezTo>
                  <a:pt x="625" y="327"/>
                  <a:pt x="625" y="327"/>
                  <a:pt x="625" y="327"/>
                </a:cubicBezTo>
                <a:cubicBezTo>
                  <a:pt x="625" y="328"/>
                  <a:pt x="625" y="328"/>
                  <a:pt x="625" y="328"/>
                </a:cubicBezTo>
                <a:cubicBezTo>
                  <a:pt x="624" y="329"/>
                  <a:pt x="624" y="329"/>
                  <a:pt x="624" y="329"/>
                </a:cubicBezTo>
                <a:cubicBezTo>
                  <a:pt x="625" y="330"/>
                  <a:pt x="625" y="330"/>
                  <a:pt x="625" y="330"/>
                </a:cubicBezTo>
                <a:cubicBezTo>
                  <a:pt x="626" y="331"/>
                  <a:pt x="626" y="331"/>
                  <a:pt x="626" y="331"/>
                </a:cubicBezTo>
                <a:cubicBezTo>
                  <a:pt x="627" y="331"/>
                  <a:pt x="627" y="331"/>
                  <a:pt x="627" y="331"/>
                </a:cubicBezTo>
                <a:cubicBezTo>
                  <a:pt x="628" y="332"/>
                  <a:pt x="628" y="332"/>
                  <a:pt x="628" y="332"/>
                </a:cubicBezTo>
                <a:cubicBezTo>
                  <a:pt x="630" y="332"/>
                  <a:pt x="630" y="332"/>
                  <a:pt x="630" y="332"/>
                </a:cubicBezTo>
                <a:cubicBezTo>
                  <a:pt x="631" y="331"/>
                  <a:pt x="631" y="331"/>
                  <a:pt x="631" y="331"/>
                </a:cubicBezTo>
                <a:cubicBezTo>
                  <a:pt x="632" y="330"/>
                  <a:pt x="632" y="330"/>
                  <a:pt x="632" y="330"/>
                </a:cubicBezTo>
                <a:cubicBezTo>
                  <a:pt x="633" y="330"/>
                  <a:pt x="633" y="330"/>
                  <a:pt x="633" y="330"/>
                </a:cubicBezTo>
                <a:cubicBezTo>
                  <a:pt x="634" y="330"/>
                  <a:pt x="634" y="330"/>
                  <a:pt x="634" y="330"/>
                </a:cubicBezTo>
                <a:cubicBezTo>
                  <a:pt x="635" y="329"/>
                  <a:pt x="635" y="329"/>
                  <a:pt x="635" y="329"/>
                </a:cubicBezTo>
                <a:cubicBezTo>
                  <a:pt x="635" y="333"/>
                  <a:pt x="635" y="333"/>
                  <a:pt x="635" y="333"/>
                </a:cubicBezTo>
                <a:cubicBezTo>
                  <a:pt x="637" y="335"/>
                  <a:pt x="637" y="335"/>
                  <a:pt x="637" y="335"/>
                </a:cubicBezTo>
                <a:cubicBezTo>
                  <a:pt x="637" y="337"/>
                  <a:pt x="637" y="337"/>
                  <a:pt x="637" y="337"/>
                </a:cubicBezTo>
                <a:cubicBezTo>
                  <a:pt x="637" y="338"/>
                  <a:pt x="637" y="338"/>
                  <a:pt x="637" y="338"/>
                </a:cubicBezTo>
                <a:cubicBezTo>
                  <a:pt x="639" y="339"/>
                  <a:pt x="639" y="339"/>
                  <a:pt x="639" y="339"/>
                </a:cubicBezTo>
                <a:cubicBezTo>
                  <a:pt x="639" y="338"/>
                  <a:pt x="639" y="338"/>
                  <a:pt x="639" y="338"/>
                </a:cubicBezTo>
                <a:cubicBezTo>
                  <a:pt x="640" y="339"/>
                  <a:pt x="640" y="339"/>
                  <a:pt x="640" y="339"/>
                </a:cubicBezTo>
                <a:cubicBezTo>
                  <a:pt x="640" y="338"/>
                  <a:pt x="640" y="338"/>
                  <a:pt x="640" y="338"/>
                </a:cubicBezTo>
                <a:cubicBezTo>
                  <a:pt x="641" y="337"/>
                  <a:pt x="641" y="337"/>
                  <a:pt x="641" y="337"/>
                </a:cubicBezTo>
                <a:cubicBezTo>
                  <a:pt x="642" y="336"/>
                  <a:pt x="642" y="336"/>
                  <a:pt x="642" y="336"/>
                </a:cubicBezTo>
                <a:cubicBezTo>
                  <a:pt x="642" y="337"/>
                  <a:pt x="642" y="337"/>
                  <a:pt x="642" y="337"/>
                </a:cubicBezTo>
                <a:cubicBezTo>
                  <a:pt x="643" y="337"/>
                  <a:pt x="643" y="337"/>
                  <a:pt x="643" y="337"/>
                </a:cubicBezTo>
                <a:cubicBezTo>
                  <a:pt x="644" y="337"/>
                  <a:pt x="644" y="337"/>
                  <a:pt x="644" y="337"/>
                </a:cubicBezTo>
                <a:cubicBezTo>
                  <a:pt x="644" y="337"/>
                  <a:pt x="644" y="337"/>
                  <a:pt x="644" y="337"/>
                </a:cubicBezTo>
                <a:cubicBezTo>
                  <a:pt x="643" y="338"/>
                  <a:pt x="643" y="338"/>
                  <a:pt x="643" y="338"/>
                </a:cubicBezTo>
                <a:cubicBezTo>
                  <a:pt x="644" y="340"/>
                  <a:pt x="644" y="340"/>
                  <a:pt x="644" y="340"/>
                </a:cubicBezTo>
                <a:cubicBezTo>
                  <a:pt x="643" y="340"/>
                  <a:pt x="643" y="340"/>
                  <a:pt x="643" y="340"/>
                </a:cubicBezTo>
                <a:cubicBezTo>
                  <a:pt x="642" y="341"/>
                  <a:pt x="642" y="341"/>
                  <a:pt x="642" y="341"/>
                </a:cubicBezTo>
                <a:cubicBezTo>
                  <a:pt x="642" y="341"/>
                  <a:pt x="642" y="341"/>
                  <a:pt x="642" y="341"/>
                </a:cubicBezTo>
                <a:cubicBezTo>
                  <a:pt x="645" y="341"/>
                  <a:pt x="645" y="341"/>
                  <a:pt x="645" y="341"/>
                </a:cubicBezTo>
                <a:cubicBezTo>
                  <a:pt x="646" y="340"/>
                  <a:pt x="646" y="340"/>
                  <a:pt x="646" y="340"/>
                </a:cubicBezTo>
                <a:cubicBezTo>
                  <a:pt x="647" y="338"/>
                  <a:pt x="647" y="338"/>
                  <a:pt x="647" y="338"/>
                </a:cubicBezTo>
                <a:cubicBezTo>
                  <a:pt x="647" y="337"/>
                  <a:pt x="647" y="337"/>
                  <a:pt x="647" y="337"/>
                </a:cubicBezTo>
                <a:cubicBezTo>
                  <a:pt x="647" y="336"/>
                  <a:pt x="647" y="336"/>
                  <a:pt x="647" y="336"/>
                </a:cubicBezTo>
                <a:cubicBezTo>
                  <a:pt x="648" y="338"/>
                  <a:pt x="648" y="338"/>
                  <a:pt x="648" y="338"/>
                </a:cubicBezTo>
                <a:cubicBezTo>
                  <a:pt x="648" y="339"/>
                  <a:pt x="648" y="339"/>
                  <a:pt x="648" y="339"/>
                </a:cubicBezTo>
                <a:cubicBezTo>
                  <a:pt x="648" y="341"/>
                  <a:pt x="648" y="341"/>
                  <a:pt x="648" y="341"/>
                </a:cubicBezTo>
                <a:cubicBezTo>
                  <a:pt x="649" y="340"/>
                  <a:pt x="649" y="340"/>
                  <a:pt x="649" y="340"/>
                </a:cubicBezTo>
                <a:cubicBezTo>
                  <a:pt x="649" y="339"/>
                  <a:pt x="649" y="339"/>
                  <a:pt x="649" y="339"/>
                </a:cubicBezTo>
                <a:cubicBezTo>
                  <a:pt x="648" y="337"/>
                  <a:pt x="648" y="337"/>
                  <a:pt x="648" y="337"/>
                </a:cubicBezTo>
                <a:cubicBezTo>
                  <a:pt x="649" y="335"/>
                  <a:pt x="649" y="335"/>
                  <a:pt x="649" y="335"/>
                </a:cubicBezTo>
                <a:cubicBezTo>
                  <a:pt x="648" y="334"/>
                  <a:pt x="648" y="334"/>
                  <a:pt x="648" y="334"/>
                </a:cubicBezTo>
                <a:cubicBezTo>
                  <a:pt x="647" y="332"/>
                  <a:pt x="647" y="332"/>
                  <a:pt x="647" y="332"/>
                </a:cubicBezTo>
                <a:cubicBezTo>
                  <a:pt x="649" y="332"/>
                  <a:pt x="649" y="332"/>
                  <a:pt x="649" y="332"/>
                </a:cubicBezTo>
                <a:cubicBezTo>
                  <a:pt x="650" y="333"/>
                  <a:pt x="650" y="333"/>
                  <a:pt x="650" y="333"/>
                </a:cubicBezTo>
                <a:cubicBezTo>
                  <a:pt x="650" y="333"/>
                  <a:pt x="650" y="333"/>
                  <a:pt x="650" y="333"/>
                </a:cubicBezTo>
                <a:cubicBezTo>
                  <a:pt x="650" y="334"/>
                  <a:pt x="650" y="334"/>
                  <a:pt x="650" y="334"/>
                </a:cubicBezTo>
                <a:cubicBezTo>
                  <a:pt x="651" y="334"/>
                  <a:pt x="651" y="334"/>
                  <a:pt x="651" y="334"/>
                </a:cubicBezTo>
                <a:cubicBezTo>
                  <a:pt x="651" y="333"/>
                  <a:pt x="651" y="333"/>
                  <a:pt x="651" y="333"/>
                </a:cubicBezTo>
                <a:cubicBezTo>
                  <a:pt x="653" y="333"/>
                  <a:pt x="653" y="333"/>
                  <a:pt x="653" y="333"/>
                </a:cubicBezTo>
                <a:cubicBezTo>
                  <a:pt x="654" y="332"/>
                  <a:pt x="654" y="332"/>
                  <a:pt x="654" y="332"/>
                </a:cubicBezTo>
                <a:cubicBezTo>
                  <a:pt x="655" y="333"/>
                  <a:pt x="655" y="333"/>
                  <a:pt x="655" y="333"/>
                </a:cubicBezTo>
                <a:cubicBezTo>
                  <a:pt x="657" y="333"/>
                  <a:pt x="657" y="333"/>
                  <a:pt x="657" y="333"/>
                </a:cubicBezTo>
                <a:cubicBezTo>
                  <a:pt x="658" y="334"/>
                  <a:pt x="658" y="334"/>
                  <a:pt x="658" y="334"/>
                </a:cubicBezTo>
                <a:cubicBezTo>
                  <a:pt x="658" y="336"/>
                  <a:pt x="658" y="336"/>
                  <a:pt x="658" y="336"/>
                </a:cubicBezTo>
                <a:cubicBezTo>
                  <a:pt x="659" y="336"/>
                  <a:pt x="659" y="336"/>
                  <a:pt x="659" y="336"/>
                </a:cubicBezTo>
                <a:cubicBezTo>
                  <a:pt x="661" y="336"/>
                  <a:pt x="661" y="336"/>
                  <a:pt x="661" y="336"/>
                </a:cubicBezTo>
                <a:cubicBezTo>
                  <a:pt x="662" y="337"/>
                  <a:pt x="662" y="337"/>
                  <a:pt x="662" y="337"/>
                </a:cubicBezTo>
                <a:cubicBezTo>
                  <a:pt x="664" y="338"/>
                  <a:pt x="664" y="338"/>
                  <a:pt x="664" y="338"/>
                </a:cubicBezTo>
                <a:cubicBezTo>
                  <a:pt x="665" y="339"/>
                  <a:pt x="665" y="339"/>
                  <a:pt x="665" y="339"/>
                </a:cubicBezTo>
                <a:cubicBezTo>
                  <a:pt x="666" y="339"/>
                  <a:pt x="666" y="339"/>
                  <a:pt x="666" y="339"/>
                </a:cubicBezTo>
                <a:cubicBezTo>
                  <a:pt x="666" y="340"/>
                  <a:pt x="666" y="340"/>
                  <a:pt x="666" y="340"/>
                </a:cubicBezTo>
                <a:cubicBezTo>
                  <a:pt x="667" y="340"/>
                  <a:pt x="667" y="340"/>
                  <a:pt x="667" y="340"/>
                </a:cubicBezTo>
                <a:cubicBezTo>
                  <a:pt x="668" y="342"/>
                  <a:pt x="668" y="342"/>
                  <a:pt x="668" y="342"/>
                </a:cubicBezTo>
                <a:cubicBezTo>
                  <a:pt x="668" y="343"/>
                  <a:pt x="668" y="343"/>
                  <a:pt x="668" y="343"/>
                </a:cubicBezTo>
                <a:cubicBezTo>
                  <a:pt x="668" y="344"/>
                  <a:pt x="668" y="344"/>
                  <a:pt x="668" y="344"/>
                </a:cubicBezTo>
                <a:cubicBezTo>
                  <a:pt x="667" y="345"/>
                  <a:pt x="667" y="345"/>
                  <a:pt x="667" y="345"/>
                </a:cubicBezTo>
                <a:cubicBezTo>
                  <a:pt x="668" y="346"/>
                  <a:pt x="668" y="346"/>
                  <a:pt x="668" y="346"/>
                </a:cubicBezTo>
                <a:cubicBezTo>
                  <a:pt x="669" y="346"/>
                  <a:pt x="669" y="346"/>
                  <a:pt x="669" y="346"/>
                </a:cubicBezTo>
                <a:cubicBezTo>
                  <a:pt x="670" y="348"/>
                  <a:pt x="670" y="348"/>
                  <a:pt x="670" y="348"/>
                </a:cubicBezTo>
                <a:cubicBezTo>
                  <a:pt x="671" y="349"/>
                  <a:pt x="671" y="349"/>
                  <a:pt x="671" y="349"/>
                </a:cubicBezTo>
                <a:cubicBezTo>
                  <a:pt x="670" y="350"/>
                  <a:pt x="670" y="350"/>
                  <a:pt x="670" y="350"/>
                </a:cubicBezTo>
                <a:cubicBezTo>
                  <a:pt x="670" y="352"/>
                  <a:pt x="670" y="352"/>
                  <a:pt x="670" y="352"/>
                </a:cubicBezTo>
                <a:cubicBezTo>
                  <a:pt x="671" y="353"/>
                  <a:pt x="671" y="353"/>
                  <a:pt x="671" y="353"/>
                </a:cubicBezTo>
                <a:cubicBezTo>
                  <a:pt x="672" y="353"/>
                  <a:pt x="672" y="353"/>
                  <a:pt x="672" y="353"/>
                </a:cubicBezTo>
                <a:cubicBezTo>
                  <a:pt x="673" y="352"/>
                  <a:pt x="673" y="352"/>
                  <a:pt x="673" y="352"/>
                </a:cubicBezTo>
                <a:cubicBezTo>
                  <a:pt x="673" y="353"/>
                  <a:pt x="673" y="353"/>
                  <a:pt x="673" y="353"/>
                </a:cubicBezTo>
                <a:cubicBezTo>
                  <a:pt x="673" y="354"/>
                  <a:pt x="673" y="354"/>
                  <a:pt x="673" y="354"/>
                </a:cubicBezTo>
                <a:cubicBezTo>
                  <a:pt x="673" y="356"/>
                  <a:pt x="673" y="356"/>
                  <a:pt x="673" y="356"/>
                </a:cubicBezTo>
                <a:cubicBezTo>
                  <a:pt x="674" y="356"/>
                  <a:pt x="674" y="356"/>
                  <a:pt x="674" y="356"/>
                </a:cubicBezTo>
                <a:cubicBezTo>
                  <a:pt x="673" y="357"/>
                  <a:pt x="673" y="357"/>
                  <a:pt x="673" y="357"/>
                </a:cubicBezTo>
                <a:cubicBezTo>
                  <a:pt x="673" y="358"/>
                  <a:pt x="673" y="358"/>
                  <a:pt x="673" y="358"/>
                </a:cubicBezTo>
                <a:cubicBezTo>
                  <a:pt x="673" y="359"/>
                  <a:pt x="673" y="359"/>
                  <a:pt x="673" y="359"/>
                </a:cubicBezTo>
                <a:cubicBezTo>
                  <a:pt x="673" y="360"/>
                  <a:pt x="673" y="360"/>
                  <a:pt x="673" y="360"/>
                </a:cubicBezTo>
                <a:cubicBezTo>
                  <a:pt x="673" y="361"/>
                  <a:pt x="673" y="361"/>
                  <a:pt x="673" y="361"/>
                </a:cubicBezTo>
                <a:cubicBezTo>
                  <a:pt x="673" y="362"/>
                  <a:pt x="673" y="362"/>
                  <a:pt x="673" y="362"/>
                </a:cubicBezTo>
                <a:cubicBezTo>
                  <a:pt x="673" y="362"/>
                  <a:pt x="673" y="362"/>
                  <a:pt x="673" y="362"/>
                </a:cubicBezTo>
                <a:cubicBezTo>
                  <a:pt x="674" y="363"/>
                  <a:pt x="674" y="363"/>
                  <a:pt x="674" y="363"/>
                </a:cubicBezTo>
                <a:cubicBezTo>
                  <a:pt x="673" y="364"/>
                  <a:pt x="673" y="364"/>
                  <a:pt x="673" y="364"/>
                </a:cubicBezTo>
                <a:cubicBezTo>
                  <a:pt x="674" y="367"/>
                  <a:pt x="674" y="367"/>
                  <a:pt x="674" y="367"/>
                </a:cubicBezTo>
                <a:cubicBezTo>
                  <a:pt x="673" y="367"/>
                  <a:pt x="673" y="367"/>
                  <a:pt x="673" y="367"/>
                </a:cubicBezTo>
                <a:cubicBezTo>
                  <a:pt x="674" y="370"/>
                  <a:pt x="674" y="370"/>
                  <a:pt x="674" y="370"/>
                </a:cubicBezTo>
                <a:cubicBezTo>
                  <a:pt x="674" y="371"/>
                  <a:pt x="674" y="371"/>
                  <a:pt x="674" y="371"/>
                </a:cubicBezTo>
                <a:cubicBezTo>
                  <a:pt x="674" y="372"/>
                  <a:pt x="674" y="372"/>
                  <a:pt x="674" y="372"/>
                </a:cubicBezTo>
                <a:cubicBezTo>
                  <a:pt x="675" y="376"/>
                  <a:pt x="675" y="376"/>
                  <a:pt x="675" y="376"/>
                </a:cubicBezTo>
                <a:cubicBezTo>
                  <a:pt x="676" y="376"/>
                  <a:pt x="676" y="376"/>
                  <a:pt x="676" y="376"/>
                </a:cubicBezTo>
                <a:cubicBezTo>
                  <a:pt x="677" y="375"/>
                  <a:pt x="677" y="375"/>
                  <a:pt x="677" y="375"/>
                </a:cubicBezTo>
                <a:cubicBezTo>
                  <a:pt x="677" y="376"/>
                  <a:pt x="677" y="376"/>
                  <a:pt x="677" y="376"/>
                </a:cubicBezTo>
                <a:cubicBezTo>
                  <a:pt x="676" y="377"/>
                  <a:pt x="676" y="377"/>
                  <a:pt x="676" y="377"/>
                </a:cubicBezTo>
                <a:cubicBezTo>
                  <a:pt x="676" y="378"/>
                  <a:pt x="676" y="378"/>
                  <a:pt x="676" y="378"/>
                </a:cubicBezTo>
                <a:cubicBezTo>
                  <a:pt x="676" y="379"/>
                  <a:pt x="676" y="379"/>
                  <a:pt x="676" y="379"/>
                </a:cubicBezTo>
                <a:cubicBezTo>
                  <a:pt x="677" y="379"/>
                  <a:pt x="677" y="379"/>
                  <a:pt x="677" y="379"/>
                </a:cubicBezTo>
                <a:cubicBezTo>
                  <a:pt x="679" y="381"/>
                  <a:pt x="679" y="381"/>
                  <a:pt x="679" y="381"/>
                </a:cubicBezTo>
                <a:cubicBezTo>
                  <a:pt x="679" y="383"/>
                  <a:pt x="679" y="383"/>
                  <a:pt x="679" y="383"/>
                </a:cubicBezTo>
                <a:cubicBezTo>
                  <a:pt x="679" y="384"/>
                  <a:pt x="679" y="384"/>
                  <a:pt x="679" y="384"/>
                </a:cubicBezTo>
                <a:cubicBezTo>
                  <a:pt x="679" y="385"/>
                  <a:pt x="679" y="385"/>
                  <a:pt x="679" y="385"/>
                </a:cubicBezTo>
                <a:cubicBezTo>
                  <a:pt x="679" y="388"/>
                  <a:pt x="679" y="388"/>
                  <a:pt x="679" y="388"/>
                </a:cubicBezTo>
                <a:cubicBezTo>
                  <a:pt x="680" y="388"/>
                  <a:pt x="680" y="388"/>
                  <a:pt x="680" y="388"/>
                </a:cubicBezTo>
                <a:cubicBezTo>
                  <a:pt x="680" y="390"/>
                  <a:pt x="680" y="390"/>
                  <a:pt x="680" y="390"/>
                </a:cubicBezTo>
                <a:cubicBezTo>
                  <a:pt x="680" y="390"/>
                  <a:pt x="680" y="390"/>
                  <a:pt x="680" y="390"/>
                </a:cubicBezTo>
                <a:cubicBezTo>
                  <a:pt x="680" y="392"/>
                  <a:pt x="680" y="392"/>
                  <a:pt x="680" y="392"/>
                </a:cubicBezTo>
                <a:cubicBezTo>
                  <a:pt x="681" y="393"/>
                  <a:pt x="681" y="393"/>
                  <a:pt x="681" y="393"/>
                </a:cubicBezTo>
                <a:cubicBezTo>
                  <a:pt x="681" y="395"/>
                  <a:pt x="681" y="395"/>
                  <a:pt x="681" y="395"/>
                </a:cubicBezTo>
                <a:cubicBezTo>
                  <a:pt x="679" y="397"/>
                  <a:pt x="679" y="397"/>
                  <a:pt x="679" y="397"/>
                </a:cubicBezTo>
                <a:cubicBezTo>
                  <a:pt x="679" y="398"/>
                  <a:pt x="679" y="398"/>
                  <a:pt x="679" y="398"/>
                </a:cubicBezTo>
                <a:cubicBezTo>
                  <a:pt x="678" y="400"/>
                  <a:pt x="678" y="400"/>
                  <a:pt x="678" y="400"/>
                </a:cubicBezTo>
                <a:cubicBezTo>
                  <a:pt x="678" y="403"/>
                  <a:pt x="678" y="403"/>
                  <a:pt x="678" y="403"/>
                </a:cubicBezTo>
                <a:cubicBezTo>
                  <a:pt x="678" y="403"/>
                  <a:pt x="678" y="403"/>
                  <a:pt x="678" y="403"/>
                </a:cubicBezTo>
                <a:cubicBezTo>
                  <a:pt x="678" y="405"/>
                  <a:pt x="678" y="405"/>
                  <a:pt x="678" y="405"/>
                </a:cubicBezTo>
                <a:cubicBezTo>
                  <a:pt x="677" y="406"/>
                  <a:pt x="677" y="406"/>
                  <a:pt x="677" y="406"/>
                </a:cubicBezTo>
                <a:cubicBezTo>
                  <a:pt x="677" y="407"/>
                  <a:pt x="677" y="407"/>
                  <a:pt x="677" y="407"/>
                </a:cubicBezTo>
                <a:cubicBezTo>
                  <a:pt x="676" y="409"/>
                  <a:pt x="676" y="409"/>
                  <a:pt x="676" y="409"/>
                </a:cubicBezTo>
                <a:cubicBezTo>
                  <a:pt x="677" y="409"/>
                  <a:pt x="677" y="409"/>
                  <a:pt x="677" y="409"/>
                </a:cubicBezTo>
                <a:cubicBezTo>
                  <a:pt x="677" y="410"/>
                  <a:pt x="677" y="410"/>
                  <a:pt x="677" y="410"/>
                </a:cubicBezTo>
                <a:cubicBezTo>
                  <a:pt x="676" y="412"/>
                  <a:pt x="676" y="412"/>
                  <a:pt x="676" y="412"/>
                </a:cubicBezTo>
                <a:cubicBezTo>
                  <a:pt x="676" y="415"/>
                  <a:pt x="676" y="415"/>
                  <a:pt x="676" y="415"/>
                </a:cubicBezTo>
                <a:cubicBezTo>
                  <a:pt x="675" y="416"/>
                  <a:pt x="675" y="416"/>
                  <a:pt x="675" y="416"/>
                </a:cubicBezTo>
                <a:cubicBezTo>
                  <a:pt x="676" y="418"/>
                  <a:pt x="676" y="418"/>
                  <a:pt x="676" y="418"/>
                </a:cubicBezTo>
                <a:cubicBezTo>
                  <a:pt x="676" y="418"/>
                  <a:pt x="676" y="418"/>
                  <a:pt x="676" y="418"/>
                </a:cubicBezTo>
                <a:cubicBezTo>
                  <a:pt x="676" y="419"/>
                  <a:pt x="676" y="419"/>
                  <a:pt x="676" y="419"/>
                </a:cubicBezTo>
                <a:cubicBezTo>
                  <a:pt x="675" y="421"/>
                  <a:pt x="675" y="421"/>
                  <a:pt x="675" y="421"/>
                </a:cubicBezTo>
                <a:cubicBezTo>
                  <a:pt x="674" y="422"/>
                  <a:pt x="674" y="422"/>
                  <a:pt x="674" y="422"/>
                </a:cubicBezTo>
                <a:cubicBezTo>
                  <a:pt x="673" y="423"/>
                  <a:pt x="673" y="423"/>
                  <a:pt x="673" y="423"/>
                </a:cubicBezTo>
                <a:cubicBezTo>
                  <a:pt x="673" y="425"/>
                  <a:pt x="673" y="425"/>
                  <a:pt x="673" y="425"/>
                </a:cubicBezTo>
                <a:cubicBezTo>
                  <a:pt x="672" y="426"/>
                  <a:pt x="672" y="426"/>
                  <a:pt x="672" y="426"/>
                </a:cubicBezTo>
                <a:cubicBezTo>
                  <a:pt x="670" y="432"/>
                  <a:pt x="670" y="432"/>
                  <a:pt x="670" y="432"/>
                </a:cubicBezTo>
                <a:cubicBezTo>
                  <a:pt x="670" y="432"/>
                  <a:pt x="670" y="432"/>
                  <a:pt x="670" y="432"/>
                </a:cubicBezTo>
                <a:cubicBezTo>
                  <a:pt x="670" y="434"/>
                  <a:pt x="670" y="434"/>
                  <a:pt x="670" y="434"/>
                </a:cubicBezTo>
                <a:cubicBezTo>
                  <a:pt x="670" y="434"/>
                  <a:pt x="670" y="434"/>
                  <a:pt x="670" y="434"/>
                </a:cubicBezTo>
                <a:cubicBezTo>
                  <a:pt x="670" y="435"/>
                  <a:pt x="670" y="435"/>
                  <a:pt x="670" y="435"/>
                </a:cubicBezTo>
                <a:cubicBezTo>
                  <a:pt x="668" y="436"/>
                  <a:pt x="668" y="436"/>
                  <a:pt x="668" y="436"/>
                </a:cubicBezTo>
                <a:cubicBezTo>
                  <a:pt x="668" y="437"/>
                  <a:pt x="668" y="437"/>
                  <a:pt x="668" y="437"/>
                </a:cubicBezTo>
                <a:cubicBezTo>
                  <a:pt x="667" y="438"/>
                  <a:pt x="667" y="438"/>
                  <a:pt x="667" y="438"/>
                </a:cubicBezTo>
                <a:cubicBezTo>
                  <a:pt x="667" y="440"/>
                  <a:pt x="667" y="440"/>
                  <a:pt x="667" y="440"/>
                </a:cubicBezTo>
                <a:cubicBezTo>
                  <a:pt x="666" y="440"/>
                  <a:pt x="666" y="440"/>
                  <a:pt x="666" y="440"/>
                </a:cubicBezTo>
                <a:cubicBezTo>
                  <a:pt x="667" y="441"/>
                  <a:pt x="667" y="441"/>
                  <a:pt x="667" y="441"/>
                </a:cubicBezTo>
                <a:cubicBezTo>
                  <a:pt x="666" y="443"/>
                  <a:pt x="666" y="443"/>
                  <a:pt x="666" y="443"/>
                </a:cubicBezTo>
                <a:cubicBezTo>
                  <a:pt x="665" y="443"/>
                  <a:pt x="665" y="443"/>
                  <a:pt x="665" y="443"/>
                </a:cubicBezTo>
                <a:cubicBezTo>
                  <a:pt x="664" y="442"/>
                  <a:pt x="664" y="442"/>
                  <a:pt x="664" y="442"/>
                </a:cubicBezTo>
                <a:cubicBezTo>
                  <a:pt x="665" y="444"/>
                  <a:pt x="665" y="444"/>
                  <a:pt x="665" y="444"/>
                </a:cubicBezTo>
                <a:cubicBezTo>
                  <a:pt x="665" y="445"/>
                  <a:pt x="665" y="445"/>
                  <a:pt x="665" y="445"/>
                </a:cubicBezTo>
                <a:cubicBezTo>
                  <a:pt x="663" y="446"/>
                  <a:pt x="663" y="446"/>
                  <a:pt x="663" y="446"/>
                </a:cubicBezTo>
                <a:cubicBezTo>
                  <a:pt x="664" y="447"/>
                  <a:pt x="664" y="447"/>
                  <a:pt x="664" y="447"/>
                </a:cubicBezTo>
                <a:cubicBezTo>
                  <a:pt x="662" y="449"/>
                  <a:pt x="662" y="449"/>
                  <a:pt x="662" y="449"/>
                </a:cubicBezTo>
                <a:cubicBezTo>
                  <a:pt x="661" y="451"/>
                  <a:pt x="661" y="451"/>
                  <a:pt x="661" y="451"/>
                </a:cubicBezTo>
                <a:cubicBezTo>
                  <a:pt x="660" y="451"/>
                  <a:pt x="660" y="451"/>
                  <a:pt x="660" y="451"/>
                </a:cubicBezTo>
                <a:cubicBezTo>
                  <a:pt x="660" y="452"/>
                  <a:pt x="660" y="452"/>
                  <a:pt x="660" y="452"/>
                </a:cubicBezTo>
                <a:cubicBezTo>
                  <a:pt x="658" y="452"/>
                  <a:pt x="658" y="452"/>
                  <a:pt x="658" y="452"/>
                </a:cubicBezTo>
                <a:cubicBezTo>
                  <a:pt x="656" y="453"/>
                  <a:pt x="656" y="453"/>
                  <a:pt x="656" y="453"/>
                </a:cubicBezTo>
                <a:cubicBezTo>
                  <a:pt x="656" y="453"/>
                  <a:pt x="656" y="453"/>
                  <a:pt x="656" y="453"/>
                </a:cubicBezTo>
                <a:cubicBezTo>
                  <a:pt x="655" y="453"/>
                  <a:pt x="655" y="453"/>
                  <a:pt x="655" y="453"/>
                </a:cubicBezTo>
                <a:cubicBezTo>
                  <a:pt x="653" y="452"/>
                  <a:pt x="653" y="452"/>
                  <a:pt x="653" y="452"/>
                </a:cubicBezTo>
                <a:cubicBezTo>
                  <a:pt x="651" y="452"/>
                  <a:pt x="651" y="452"/>
                  <a:pt x="651" y="452"/>
                </a:cubicBezTo>
                <a:cubicBezTo>
                  <a:pt x="651" y="449"/>
                  <a:pt x="651" y="449"/>
                  <a:pt x="651" y="449"/>
                </a:cubicBezTo>
                <a:cubicBezTo>
                  <a:pt x="650" y="449"/>
                  <a:pt x="650" y="449"/>
                  <a:pt x="650" y="449"/>
                </a:cubicBezTo>
                <a:cubicBezTo>
                  <a:pt x="649" y="449"/>
                  <a:pt x="649" y="449"/>
                  <a:pt x="649" y="449"/>
                </a:cubicBezTo>
                <a:cubicBezTo>
                  <a:pt x="647" y="449"/>
                  <a:pt x="647" y="449"/>
                  <a:pt x="647" y="449"/>
                </a:cubicBezTo>
                <a:cubicBezTo>
                  <a:pt x="647" y="449"/>
                  <a:pt x="647" y="449"/>
                  <a:pt x="647" y="449"/>
                </a:cubicBezTo>
                <a:cubicBezTo>
                  <a:pt x="647" y="450"/>
                  <a:pt x="647" y="450"/>
                  <a:pt x="647" y="450"/>
                </a:cubicBezTo>
                <a:cubicBezTo>
                  <a:pt x="646" y="451"/>
                  <a:pt x="646" y="451"/>
                  <a:pt x="646" y="451"/>
                </a:cubicBezTo>
                <a:cubicBezTo>
                  <a:pt x="646" y="454"/>
                  <a:pt x="646" y="454"/>
                  <a:pt x="646" y="454"/>
                </a:cubicBezTo>
                <a:cubicBezTo>
                  <a:pt x="645" y="454"/>
                  <a:pt x="645" y="454"/>
                  <a:pt x="645" y="454"/>
                </a:cubicBezTo>
                <a:cubicBezTo>
                  <a:pt x="644" y="456"/>
                  <a:pt x="644" y="456"/>
                  <a:pt x="644" y="456"/>
                </a:cubicBezTo>
                <a:cubicBezTo>
                  <a:pt x="644" y="456"/>
                  <a:pt x="644" y="456"/>
                  <a:pt x="644" y="456"/>
                </a:cubicBezTo>
                <a:cubicBezTo>
                  <a:pt x="642" y="456"/>
                  <a:pt x="642" y="456"/>
                  <a:pt x="642" y="456"/>
                </a:cubicBezTo>
                <a:cubicBezTo>
                  <a:pt x="642" y="458"/>
                  <a:pt x="642" y="458"/>
                  <a:pt x="642" y="458"/>
                </a:cubicBezTo>
                <a:cubicBezTo>
                  <a:pt x="642" y="458"/>
                  <a:pt x="642" y="458"/>
                  <a:pt x="642" y="458"/>
                </a:cubicBezTo>
                <a:close/>
                <a:moveTo>
                  <a:pt x="208" y="462"/>
                </a:moveTo>
                <a:cubicBezTo>
                  <a:pt x="206" y="461"/>
                  <a:pt x="206" y="461"/>
                  <a:pt x="206" y="461"/>
                </a:cubicBezTo>
                <a:cubicBezTo>
                  <a:pt x="199" y="462"/>
                  <a:pt x="199" y="462"/>
                  <a:pt x="199" y="462"/>
                </a:cubicBezTo>
                <a:cubicBezTo>
                  <a:pt x="208" y="462"/>
                  <a:pt x="208" y="462"/>
                  <a:pt x="208" y="462"/>
                </a:cubicBezTo>
                <a:close/>
                <a:moveTo>
                  <a:pt x="734" y="436"/>
                </a:moveTo>
                <a:cubicBezTo>
                  <a:pt x="735" y="436"/>
                  <a:pt x="735" y="436"/>
                  <a:pt x="735" y="436"/>
                </a:cubicBezTo>
                <a:cubicBezTo>
                  <a:pt x="736" y="435"/>
                  <a:pt x="736" y="435"/>
                  <a:pt x="736" y="435"/>
                </a:cubicBezTo>
                <a:cubicBezTo>
                  <a:pt x="736" y="434"/>
                  <a:pt x="736" y="434"/>
                  <a:pt x="736" y="434"/>
                </a:cubicBezTo>
                <a:cubicBezTo>
                  <a:pt x="735" y="434"/>
                  <a:pt x="735" y="434"/>
                  <a:pt x="735" y="434"/>
                </a:cubicBezTo>
                <a:cubicBezTo>
                  <a:pt x="734" y="436"/>
                  <a:pt x="734" y="436"/>
                  <a:pt x="734" y="436"/>
                </a:cubicBezTo>
                <a:close/>
                <a:moveTo>
                  <a:pt x="41" y="64"/>
                </a:moveTo>
                <a:cubicBezTo>
                  <a:pt x="40" y="62"/>
                  <a:pt x="40" y="62"/>
                  <a:pt x="40" y="62"/>
                </a:cubicBezTo>
                <a:cubicBezTo>
                  <a:pt x="40" y="60"/>
                  <a:pt x="40" y="60"/>
                  <a:pt x="40" y="60"/>
                </a:cubicBezTo>
                <a:cubicBezTo>
                  <a:pt x="39" y="60"/>
                  <a:pt x="39" y="60"/>
                  <a:pt x="39" y="60"/>
                </a:cubicBezTo>
                <a:cubicBezTo>
                  <a:pt x="39" y="59"/>
                  <a:pt x="39" y="59"/>
                  <a:pt x="39" y="59"/>
                </a:cubicBezTo>
                <a:cubicBezTo>
                  <a:pt x="38" y="58"/>
                  <a:pt x="38" y="58"/>
                  <a:pt x="38" y="58"/>
                </a:cubicBezTo>
                <a:cubicBezTo>
                  <a:pt x="39" y="57"/>
                  <a:pt x="39" y="57"/>
                  <a:pt x="39" y="57"/>
                </a:cubicBezTo>
                <a:cubicBezTo>
                  <a:pt x="40" y="56"/>
                  <a:pt x="40" y="56"/>
                  <a:pt x="40" y="56"/>
                </a:cubicBezTo>
                <a:cubicBezTo>
                  <a:pt x="42" y="55"/>
                  <a:pt x="42" y="55"/>
                  <a:pt x="42" y="55"/>
                </a:cubicBezTo>
                <a:cubicBezTo>
                  <a:pt x="43" y="55"/>
                  <a:pt x="43" y="55"/>
                  <a:pt x="43" y="55"/>
                </a:cubicBezTo>
                <a:cubicBezTo>
                  <a:pt x="44" y="55"/>
                  <a:pt x="44" y="55"/>
                  <a:pt x="44" y="55"/>
                </a:cubicBezTo>
                <a:cubicBezTo>
                  <a:pt x="44" y="56"/>
                  <a:pt x="44" y="56"/>
                  <a:pt x="44" y="56"/>
                </a:cubicBezTo>
                <a:cubicBezTo>
                  <a:pt x="46" y="57"/>
                  <a:pt x="46" y="57"/>
                  <a:pt x="46" y="57"/>
                </a:cubicBezTo>
                <a:cubicBezTo>
                  <a:pt x="47" y="57"/>
                  <a:pt x="47" y="57"/>
                  <a:pt x="47" y="57"/>
                </a:cubicBezTo>
                <a:cubicBezTo>
                  <a:pt x="47" y="56"/>
                  <a:pt x="47" y="56"/>
                  <a:pt x="47" y="56"/>
                </a:cubicBezTo>
                <a:cubicBezTo>
                  <a:pt x="48" y="56"/>
                  <a:pt x="48" y="56"/>
                  <a:pt x="48" y="56"/>
                </a:cubicBezTo>
                <a:cubicBezTo>
                  <a:pt x="47" y="55"/>
                  <a:pt x="47" y="55"/>
                  <a:pt x="47" y="55"/>
                </a:cubicBezTo>
                <a:cubicBezTo>
                  <a:pt x="46" y="55"/>
                  <a:pt x="46" y="55"/>
                  <a:pt x="46" y="55"/>
                </a:cubicBezTo>
                <a:cubicBezTo>
                  <a:pt x="43" y="53"/>
                  <a:pt x="43" y="53"/>
                  <a:pt x="43" y="53"/>
                </a:cubicBezTo>
                <a:cubicBezTo>
                  <a:pt x="40" y="52"/>
                  <a:pt x="40" y="52"/>
                  <a:pt x="40" y="52"/>
                </a:cubicBezTo>
                <a:cubicBezTo>
                  <a:pt x="38" y="53"/>
                  <a:pt x="38" y="53"/>
                  <a:pt x="38" y="53"/>
                </a:cubicBezTo>
                <a:cubicBezTo>
                  <a:pt x="36" y="55"/>
                  <a:pt x="36" y="55"/>
                  <a:pt x="36" y="55"/>
                </a:cubicBezTo>
                <a:cubicBezTo>
                  <a:pt x="35" y="56"/>
                  <a:pt x="35" y="56"/>
                  <a:pt x="35" y="56"/>
                </a:cubicBezTo>
                <a:cubicBezTo>
                  <a:pt x="33" y="57"/>
                  <a:pt x="33" y="57"/>
                  <a:pt x="33" y="57"/>
                </a:cubicBezTo>
                <a:cubicBezTo>
                  <a:pt x="32" y="58"/>
                  <a:pt x="32" y="58"/>
                  <a:pt x="32" y="58"/>
                </a:cubicBezTo>
                <a:cubicBezTo>
                  <a:pt x="32" y="61"/>
                  <a:pt x="32" y="61"/>
                  <a:pt x="32" y="61"/>
                </a:cubicBezTo>
                <a:cubicBezTo>
                  <a:pt x="33" y="62"/>
                  <a:pt x="33" y="62"/>
                  <a:pt x="33" y="62"/>
                </a:cubicBezTo>
                <a:cubicBezTo>
                  <a:pt x="34" y="61"/>
                  <a:pt x="34" y="61"/>
                  <a:pt x="34" y="61"/>
                </a:cubicBezTo>
                <a:cubicBezTo>
                  <a:pt x="36" y="62"/>
                  <a:pt x="36" y="62"/>
                  <a:pt x="36" y="62"/>
                </a:cubicBezTo>
                <a:cubicBezTo>
                  <a:pt x="36" y="63"/>
                  <a:pt x="36" y="63"/>
                  <a:pt x="36" y="63"/>
                </a:cubicBezTo>
                <a:cubicBezTo>
                  <a:pt x="37" y="63"/>
                  <a:pt x="37" y="63"/>
                  <a:pt x="37" y="63"/>
                </a:cubicBezTo>
                <a:cubicBezTo>
                  <a:pt x="37" y="62"/>
                  <a:pt x="37" y="62"/>
                  <a:pt x="37" y="62"/>
                </a:cubicBezTo>
                <a:cubicBezTo>
                  <a:pt x="37" y="62"/>
                  <a:pt x="37" y="62"/>
                  <a:pt x="37" y="62"/>
                </a:cubicBezTo>
                <a:cubicBezTo>
                  <a:pt x="38" y="61"/>
                  <a:pt x="38" y="61"/>
                  <a:pt x="38" y="61"/>
                </a:cubicBezTo>
                <a:cubicBezTo>
                  <a:pt x="39" y="62"/>
                  <a:pt x="39" y="62"/>
                  <a:pt x="39" y="62"/>
                </a:cubicBezTo>
                <a:cubicBezTo>
                  <a:pt x="40" y="64"/>
                  <a:pt x="40" y="64"/>
                  <a:pt x="40" y="64"/>
                </a:cubicBezTo>
                <a:cubicBezTo>
                  <a:pt x="41" y="64"/>
                  <a:pt x="41" y="64"/>
                  <a:pt x="41" y="64"/>
                </a:cubicBezTo>
                <a:cubicBezTo>
                  <a:pt x="41" y="64"/>
                  <a:pt x="41" y="64"/>
                  <a:pt x="41" y="64"/>
                </a:cubicBezTo>
                <a:close/>
                <a:moveTo>
                  <a:pt x="51" y="45"/>
                </a:moveTo>
                <a:cubicBezTo>
                  <a:pt x="51" y="44"/>
                  <a:pt x="51" y="44"/>
                  <a:pt x="51" y="44"/>
                </a:cubicBezTo>
                <a:cubicBezTo>
                  <a:pt x="52" y="43"/>
                  <a:pt x="52" y="43"/>
                  <a:pt x="52" y="43"/>
                </a:cubicBezTo>
                <a:cubicBezTo>
                  <a:pt x="52" y="43"/>
                  <a:pt x="52" y="43"/>
                  <a:pt x="52" y="43"/>
                </a:cubicBezTo>
                <a:cubicBezTo>
                  <a:pt x="53" y="44"/>
                  <a:pt x="53" y="44"/>
                  <a:pt x="53" y="44"/>
                </a:cubicBezTo>
                <a:cubicBezTo>
                  <a:pt x="53" y="45"/>
                  <a:pt x="53" y="45"/>
                  <a:pt x="53" y="45"/>
                </a:cubicBezTo>
                <a:cubicBezTo>
                  <a:pt x="53" y="45"/>
                  <a:pt x="53" y="45"/>
                  <a:pt x="53" y="45"/>
                </a:cubicBezTo>
                <a:cubicBezTo>
                  <a:pt x="51" y="45"/>
                  <a:pt x="51" y="45"/>
                  <a:pt x="51" y="45"/>
                </a:cubicBezTo>
                <a:cubicBezTo>
                  <a:pt x="51" y="45"/>
                  <a:pt x="51" y="45"/>
                  <a:pt x="51" y="45"/>
                </a:cubicBezTo>
                <a:close/>
                <a:moveTo>
                  <a:pt x="48" y="70"/>
                </a:moveTo>
                <a:cubicBezTo>
                  <a:pt x="49" y="70"/>
                  <a:pt x="49" y="70"/>
                  <a:pt x="49" y="70"/>
                </a:cubicBezTo>
                <a:cubicBezTo>
                  <a:pt x="49" y="70"/>
                  <a:pt x="49" y="70"/>
                  <a:pt x="49" y="70"/>
                </a:cubicBezTo>
                <a:cubicBezTo>
                  <a:pt x="50" y="69"/>
                  <a:pt x="50" y="69"/>
                  <a:pt x="50" y="69"/>
                </a:cubicBezTo>
                <a:cubicBezTo>
                  <a:pt x="50" y="68"/>
                  <a:pt x="50" y="68"/>
                  <a:pt x="50" y="68"/>
                </a:cubicBezTo>
                <a:cubicBezTo>
                  <a:pt x="50" y="67"/>
                  <a:pt x="50" y="67"/>
                  <a:pt x="50" y="67"/>
                </a:cubicBezTo>
                <a:cubicBezTo>
                  <a:pt x="51" y="68"/>
                  <a:pt x="51" y="68"/>
                  <a:pt x="51" y="68"/>
                </a:cubicBezTo>
                <a:cubicBezTo>
                  <a:pt x="52" y="67"/>
                  <a:pt x="52" y="67"/>
                  <a:pt x="52" y="67"/>
                </a:cubicBezTo>
                <a:cubicBezTo>
                  <a:pt x="52" y="65"/>
                  <a:pt x="52" y="65"/>
                  <a:pt x="52" y="65"/>
                </a:cubicBezTo>
                <a:cubicBezTo>
                  <a:pt x="52" y="64"/>
                  <a:pt x="52" y="64"/>
                  <a:pt x="52" y="64"/>
                </a:cubicBezTo>
                <a:cubicBezTo>
                  <a:pt x="51" y="63"/>
                  <a:pt x="51" y="63"/>
                  <a:pt x="51" y="63"/>
                </a:cubicBezTo>
                <a:cubicBezTo>
                  <a:pt x="50" y="62"/>
                  <a:pt x="50" y="62"/>
                  <a:pt x="50" y="62"/>
                </a:cubicBezTo>
                <a:cubicBezTo>
                  <a:pt x="52" y="62"/>
                  <a:pt x="52" y="62"/>
                  <a:pt x="52" y="62"/>
                </a:cubicBezTo>
                <a:cubicBezTo>
                  <a:pt x="53" y="62"/>
                  <a:pt x="53" y="62"/>
                  <a:pt x="53" y="62"/>
                </a:cubicBezTo>
                <a:cubicBezTo>
                  <a:pt x="55" y="61"/>
                  <a:pt x="55" y="61"/>
                  <a:pt x="55" y="61"/>
                </a:cubicBezTo>
                <a:cubicBezTo>
                  <a:pt x="55" y="61"/>
                  <a:pt x="55" y="61"/>
                  <a:pt x="55" y="61"/>
                </a:cubicBezTo>
                <a:cubicBezTo>
                  <a:pt x="55" y="61"/>
                  <a:pt x="55" y="61"/>
                  <a:pt x="55" y="61"/>
                </a:cubicBezTo>
                <a:cubicBezTo>
                  <a:pt x="55" y="60"/>
                  <a:pt x="55" y="60"/>
                  <a:pt x="55" y="60"/>
                </a:cubicBezTo>
                <a:cubicBezTo>
                  <a:pt x="54" y="59"/>
                  <a:pt x="54" y="59"/>
                  <a:pt x="54" y="59"/>
                </a:cubicBezTo>
                <a:cubicBezTo>
                  <a:pt x="54" y="59"/>
                  <a:pt x="54" y="59"/>
                  <a:pt x="54" y="59"/>
                </a:cubicBezTo>
                <a:cubicBezTo>
                  <a:pt x="53" y="59"/>
                  <a:pt x="53" y="59"/>
                  <a:pt x="53" y="59"/>
                </a:cubicBezTo>
                <a:cubicBezTo>
                  <a:pt x="53" y="58"/>
                  <a:pt x="53" y="58"/>
                  <a:pt x="53" y="58"/>
                </a:cubicBezTo>
                <a:cubicBezTo>
                  <a:pt x="54" y="57"/>
                  <a:pt x="54" y="57"/>
                  <a:pt x="54" y="57"/>
                </a:cubicBezTo>
                <a:cubicBezTo>
                  <a:pt x="55" y="57"/>
                  <a:pt x="55" y="57"/>
                  <a:pt x="55" y="57"/>
                </a:cubicBezTo>
                <a:cubicBezTo>
                  <a:pt x="55" y="58"/>
                  <a:pt x="55" y="58"/>
                  <a:pt x="55" y="58"/>
                </a:cubicBezTo>
                <a:cubicBezTo>
                  <a:pt x="56" y="58"/>
                  <a:pt x="56" y="58"/>
                  <a:pt x="56" y="58"/>
                </a:cubicBezTo>
                <a:cubicBezTo>
                  <a:pt x="56" y="58"/>
                  <a:pt x="56" y="58"/>
                  <a:pt x="56" y="58"/>
                </a:cubicBezTo>
                <a:cubicBezTo>
                  <a:pt x="57" y="56"/>
                  <a:pt x="57" y="56"/>
                  <a:pt x="57" y="56"/>
                </a:cubicBezTo>
                <a:cubicBezTo>
                  <a:pt x="58" y="56"/>
                  <a:pt x="58" y="56"/>
                  <a:pt x="58" y="56"/>
                </a:cubicBezTo>
                <a:cubicBezTo>
                  <a:pt x="58" y="55"/>
                  <a:pt x="58" y="55"/>
                  <a:pt x="58" y="55"/>
                </a:cubicBezTo>
                <a:cubicBezTo>
                  <a:pt x="58" y="54"/>
                  <a:pt x="58" y="54"/>
                  <a:pt x="58" y="54"/>
                </a:cubicBezTo>
                <a:cubicBezTo>
                  <a:pt x="58" y="54"/>
                  <a:pt x="58" y="54"/>
                  <a:pt x="58" y="54"/>
                </a:cubicBezTo>
                <a:cubicBezTo>
                  <a:pt x="56" y="53"/>
                  <a:pt x="56" y="53"/>
                  <a:pt x="56" y="53"/>
                </a:cubicBezTo>
                <a:cubicBezTo>
                  <a:pt x="56" y="52"/>
                  <a:pt x="56" y="52"/>
                  <a:pt x="56" y="52"/>
                </a:cubicBezTo>
                <a:cubicBezTo>
                  <a:pt x="56" y="51"/>
                  <a:pt x="56" y="51"/>
                  <a:pt x="56" y="51"/>
                </a:cubicBezTo>
                <a:cubicBezTo>
                  <a:pt x="54" y="52"/>
                  <a:pt x="54" y="52"/>
                  <a:pt x="54" y="52"/>
                </a:cubicBezTo>
                <a:cubicBezTo>
                  <a:pt x="53" y="53"/>
                  <a:pt x="53" y="53"/>
                  <a:pt x="53" y="53"/>
                </a:cubicBezTo>
                <a:cubicBezTo>
                  <a:pt x="53" y="54"/>
                  <a:pt x="53" y="54"/>
                  <a:pt x="53" y="54"/>
                </a:cubicBezTo>
                <a:cubicBezTo>
                  <a:pt x="53" y="53"/>
                  <a:pt x="53" y="53"/>
                  <a:pt x="53" y="53"/>
                </a:cubicBezTo>
                <a:cubicBezTo>
                  <a:pt x="53" y="52"/>
                  <a:pt x="53" y="52"/>
                  <a:pt x="53" y="52"/>
                </a:cubicBezTo>
                <a:cubicBezTo>
                  <a:pt x="54" y="51"/>
                  <a:pt x="54" y="51"/>
                  <a:pt x="54" y="51"/>
                </a:cubicBezTo>
                <a:cubicBezTo>
                  <a:pt x="54" y="50"/>
                  <a:pt x="54" y="50"/>
                  <a:pt x="54" y="50"/>
                </a:cubicBezTo>
                <a:cubicBezTo>
                  <a:pt x="55" y="48"/>
                  <a:pt x="55" y="48"/>
                  <a:pt x="55" y="48"/>
                </a:cubicBezTo>
                <a:cubicBezTo>
                  <a:pt x="54" y="48"/>
                  <a:pt x="54" y="48"/>
                  <a:pt x="54" y="48"/>
                </a:cubicBezTo>
                <a:cubicBezTo>
                  <a:pt x="53" y="49"/>
                  <a:pt x="53" y="49"/>
                  <a:pt x="53" y="49"/>
                </a:cubicBezTo>
                <a:cubicBezTo>
                  <a:pt x="52" y="51"/>
                  <a:pt x="52" y="51"/>
                  <a:pt x="52" y="51"/>
                </a:cubicBezTo>
                <a:cubicBezTo>
                  <a:pt x="52" y="51"/>
                  <a:pt x="52" y="51"/>
                  <a:pt x="52" y="51"/>
                </a:cubicBezTo>
                <a:cubicBezTo>
                  <a:pt x="52" y="51"/>
                  <a:pt x="52" y="51"/>
                  <a:pt x="52" y="51"/>
                </a:cubicBezTo>
                <a:cubicBezTo>
                  <a:pt x="52" y="49"/>
                  <a:pt x="52" y="49"/>
                  <a:pt x="52" y="49"/>
                </a:cubicBezTo>
                <a:cubicBezTo>
                  <a:pt x="52" y="49"/>
                  <a:pt x="52" y="49"/>
                  <a:pt x="52" y="49"/>
                </a:cubicBezTo>
                <a:cubicBezTo>
                  <a:pt x="51" y="49"/>
                  <a:pt x="51" y="49"/>
                  <a:pt x="51" y="49"/>
                </a:cubicBezTo>
                <a:cubicBezTo>
                  <a:pt x="51" y="51"/>
                  <a:pt x="51" y="51"/>
                  <a:pt x="51" y="51"/>
                </a:cubicBezTo>
                <a:cubicBezTo>
                  <a:pt x="50" y="51"/>
                  <a:pt x="50" y="51"/>
                  <a:pt x="50" y="51"/>
                </a:cubicBezTo>
                <a:cubicBezTo>
                  <a:pt x="50" y="52"/>
                  <a:pt x="50" y="52"/>
                  <a:pt x="50" y="52"/>
                </a:cubicBezTo>
                <a:cubicBezTo>
                  <a:pt x="50" y="53"/>
                  <a:pt x="50" y="53"/>
                  <a:pt x="50" y="53"/>
                </a:cubicBezTo>
                <a:cubicBezTo>
                  <a:pt x="51" y="52"/>
                  <a:pt x="51" y="52"/>
                  <a:pt x="51" y="52"/>
                </a:cubicBezTo>
                <a:cubicBezTo>
                  <a:pt x="52" y="53"/>
                  <a:pt x="52" y="53"/>
                  <a:pt x="52" y="53"/>
                </a:cubicBezTo>
                <a:cubicBezTo>
                  <a:pt x="52" y="53"/>
                  <a:pt x="52" y="53"/>
                  <a:pt x="52" y="53"/>
                </a:cubicBezTo>
                <a:cubicBezTo>
                  <a:pt x="51" y="54"/>
                  <a:pt x="51" y="54"/>
                  <a:pt x="51" y="54"/>
                </a:cubicBezTo>
                <a:cubicBezTo>
                  <a:pt x="50" y="55"/>
                  <a:pt x="50" y="55"/>
                  <a:pt x="50" y="55"/>
                </a:cubicBezTo>
                <a:cubicBezTo>
                  <a:pt x="50" y="56"/>
                  <a:pt x="50" y="56"/>
                  <a:pt x="50" y="56"/>
                </a:cubicBezTo>
                <a:cubicBezTo>
                  <a:pt x="49" y="57"/>
                  <a:pt x="49" y="57"/>
                  <a:pt x="49" y="57"/>
                </a:cubicBezTo>
                <a:cubicBezTo>
                  <a:pt x="49" y="57"/>
                  <a:pt x="49" y="57"/>
                  <a:pt x="49" y="57"/>
                </a:cubicBezTo>
                <a:cubicBezTo>
                  <a:pt x="48" y="58"/>
                  <a:pt x="48" y="58"/>
                  <a:pt x="48" y="58"/>
                </a:cubicBezTo>
                <a:cubicBezTo>
                  <a:pt x="47" y="59"/>
                  <a:pt x="47" y="59"/>
                  <a:pt x="47" y="59"/>
                </a:cubicBezTo>
                <a:cubicBezTo>
                  <a:pt x="45" y="58"/>
                  <a:pt x="45" y="58"/>
                  <a:pt x="45" y="58"/>
                </a:cubicBezTo>
                <a:cubicBezTo>
                  <a:pt x="44" y="59"/>
                  <a:pt x="44" y="59"/>
                  <a:pt x="44" y="59"/>
                </a:cubicBezTo>
                <a:cubicBezTo>
                  <a:pt x="43" y="58"/>
                  <a:pt x="43" y="58"/>
                  <a:pt x="43" y="58"/>
                </a:cubicBezTo>
                <a:cubicBezTo>
                  <a:pt x="42" y="57"/>
                  <a:pt x="42" y="57"/>
                  <a:pt x="42" y="57"/>
                </a:cubicBezTo>
                <a:cubicBezTo>
                  <a:pt x="42" y="58"/>
                  <a:pt x="42" y="58"/>
                  <a:pt x="42" y="58"/>
                </a:cubicBezTo>
                <a:cubicBezTo>
                  <a:pt x="42" y="59"/>
                  <a:pt x="42" y="59"/>
                  <a:pt x="42" y="59"/>
                </a:cubicBezTo>
                <a:cubicBezTo>
                  <a:pt x="42" y="59"/>
                  <a:pt x="42" y="59"/>
                  <a:pt x="42" y="59"/>
                </a:cubicBezTo>
                <a:cubicBezTo>
                  <a:pt x="41" y="60"/>
                  <a:pt x="41" y="60"/>
                  <a:pt x="41" y="60"/>
                </a:cubicBezTo>
                <a:cubicBezTo>
                  <a:pt x="42" y="61"/>
                  <a:pt x="42" y="61"/>
                  <a:pt x="42" y="61"/>
                </a:cubicBezTo>
                <a:cubicBezTo>
                  <a:pt x="43" y="60"/>
                  <a:pt x="43" y="60"/>
                  <a:pt x="43" y="60"/>
                </a:cubicBezTo>
                <a:cubicBezTo>
                  <a:pt x="44" y="60"/>
                  <a:pt x="44" y="60"/>
                  <a:pt x="44" y="60"/>
                </a:cubicBezTo>
                <a:cubicBezTo>
                  <a:pt x="45" y="62"/>
                  <a:pt x="45" y="62"/>
                  <a:pt x="45" y="62"/>
                </a:cubicBezTo>
                <a:cubicBezTo>
                  <a:pt x="46" y="62"/>
                  <a:pt x="46" y="62"/>
                  <a:pt x="46" y="62"/>
                </a:cubicBezTo>
                <a:cubicBezTo>
                  <a:pt x="46" y="63"/>
                  <a:pt x="46" y="63"/>
                  <a:pt x="46" y="63"/>
                </a:cubicBezTo>
                <a:cubicBezTo>
                  <a:pt x="45" y="63"/>
                  <a:pt x="45" y="63"/>
                  <a:pt x="45" y="63"/>
                </a:cubicBezTo>
                <a:cubicBezTo>
                  <a:pt x="44" y="63"/>
                  <a:pt x="44" y="63"/>
                  <a:pt x="44" y="63"/>
                </a:cubicBezTo>
                <a:cubicBezTo>
                  <a:pt x="43" y="64"/>
                  <a:pt x="43" y="64"/>
                  <a:pt x="43" y="64"/>
                </a:cubicBezTo>
                <a:cubicBezTo>
                  <a:pt x="43" y="67"/>
                  <a:pt x="43" y="67"/>
                  <a:pt x="43" y="67"/>
                </a:cubicBezTo>
                <a:cubicBezTo>
                  <a:pt x="44" y="68"/>
                  <a:pt x="44" y="68"/>
                  <a:pt x="44" y="68"/>
                </a:cubicBezTo>
                <a:cubicBezTo>
                  <a:pt x="44" y="69"/>
                  <a:pt x="44" y="69"/>
                  <a:pt x="44" y="69"/>
                </a:cubicBezTo>
                <a:cubicBezTo>
                  <a:pt x="44" y="69"/>
                  <a:pt x="44" y="69"/>
                  <a:pt x="44" y="69"/>
                </a:cubicBezTo>
                <a:cubicBezTo>
                  <a:pt x="45" y="69"/>
                  <a:pt x="45" y="69"/>
                  <a:pt x="45" y="69"/>
                </a:cubicBezTo>
                <a:cubicBezTo>
                  <a:pt x="46" y="69"/>
                  <a:pt x="46" y="69"/>
                  <a:pt x="46" y="69"/>
                </a:cubicBezTo>
                <a:cubicBezTo>
                  <a:pt x="46" y="68"/>
                  <a:pt x="46" y="68"/>
                  <a:pt x="46" y="68"/>
                </a:cubicBezTo>
                <a:cubicBezTo>
                  <a:pt x="46" y="67"/>
                  <a:pt x="46" y="67"/>
                  <a:pt x="46" y="67"/>
                </a:cubicBezTo>
                <a:cubicBezTo>
                  <a:pt x="47" y="67"/>
                  <a:pt x="47" y="67"/>
                  <a:pt x="47" y="67"/>
                </a:cubicBezTo>
                <a:cubicBezTo>
                  <a:pt x="48" y="68"/>
                  <a:pt x="48" y="68"/>
                  <a:pt x="48" y="68"/>
                </a:cubicBezTo>
                <a:cubicBezTo>
                  <a:pt x="48" y="70"/>
                  <a:pt x="48" y="70"/>
                  <a:pt x="48" y="70"/>
                </a:cubicBezTo>
                <a:close/>
                <a:moveTo>
                  <a:pt x="56" y="68"/>
                </a:moveTo>
                <a:cubicBezTo>
                  <a:pt x="57" y="67"/>
                  <a:pt x="57" y="67"/>
                  <a:pt x="57" y="67"/>
                </a:cubicBezTo>
                <a:cubicBezTo>
                  <a:pt x="57" y="66"/>
                  <a:pt x="57" y="66"/>
                  <a:pt x="57" y="66"/>
                </a:cubicBezTo>
                <a:cubicBezTo>
                  <a:pt x="57" y="65"/>
                  <a:pt x="57" y="65"/>
                  <a:pt x="57" y="65"/>
                </a:cubicBezTo>
                <a:cubicBezTo>
                  <a:pt x="56" y="64"/>
                  <a:pt x="56" y="64"/>
                  <a:pt x="56" y="64"/>
                </a:cubicBezTo>
                <a:cubicBezTo>
                  <a:pt x="55" y="64"/>
                  <a:pt x="55" y="64"/>
                  <a:pt x="55" y="64"/>
                </a:cubicBezTo>
                <a:cubicBezTo>
                  <a:pt x="54" y="65"/>
                  <a:pt x="54" y="65"/>
                  <a:pt x="54" y="65"/>
                </a:cubicBezTo>
                <a:cubicBezTo>
                  <a:pt x="54" y="66"/>
                  <a:pt x="54" y="66"/>
                  <a:pt x="54" y="66"/>
                </a:cubicBezTo>
                <a:cubicBezTo>
                  <a:pt x="55" y="67"/>
                  <a:pt x="55" y="67"/>
                  <a:pt x="55" y="67"/>
                </a:cubicBezTo>
                <a:cubicBezTo>
                  <a:pt x="56" y="68"/>
                  <a:pt x="56" y="68"/>
                  <a:pt x="56" y="68"/>
                </a:cubicBezTo>
                <a:close/>
                <a:moveTo>
                  <a:pt x="58" y="71"/>
                </a:moveTo>
                <a:cubicBezTo>
                  <a:pt x="58" y="71"/>
                  <a:pt x="59" y="71"/>
                  <a:pt x="59" y="71"/>
                </a:cubicBezTo>
                <a:cubicBezTo>
                  <a:pt x="60" y="70"/>
                  <a:pt x="60" y="70"/>
                  <a:pt x="60" y="70"/>
                </a:cubicBezTo>
                <a:cubicBezTo>
                  <a:pt x="62" y="71"/>
                  <a:pt x="62" y="71"/>
                  <a:pt x="62" y="71"/>
                </a:cubicBezTo>
                <a:cubicBezTo>
                  <a:pt x="63" y="70"/>
                  <a:pt x="63" y="70"/>
                  <a:pt x="63" y="70"/>
                </a:cubicBezTo>
                <a:cubicBezTo>
                  <a:pt x="62" y="69"/>
                  <a:pt x="62" y="69"/>
                  <a:pt x="62" y="69"/>
                </a:cubicBezTo>
                <a:cubicBezTo>
                  <a:pt x="61" y="69"/>
                  <a:pt x="61" y="69"/>
                  <a:pt x="61" y="69"/>
                </a:cubicBezTo>
                <a:cubicBezTo>
                  <a:pt x="61" y="67"/>
                  <a:pt x="61" y="67"/>
                  <a:pt x="61" y="67"/>
                </a:cubicBezTo>
                <a:cubicBezTo>
                  <a:pt x="59" y="65"/>
                  <a:pt x="59" y="65"/>
                  <a:pt x="59" y="65"/>
                </a:cubicBezTo>
                <a:cubicBezTo>
                  <a:pt x="59" y="66"/>
                  <a:pt x="59" y="66"/>
                  <a:pt x="59" y="66"/>
                </a:cubicBezTo>
                <a:cubicBezTo>
                  <a:pt x="59" y="68"/>
                  <a:pt x="59" y="68"/>
                  <a:pt x="59" y="68"/>
                </a:cubicBezTo>
                <a:cubicBezTo>
                  <a:pt x="59" y="69"/>
                  <a:pt x="59" y="69"/>
                  <a:pt x="59" y="69"/>
                </a:cubicBezTo>
                <a:cubicBezTo>
                  <a:pt x="57" y="69"/>
                  <a:pt x="57" y="69"/>
                  <a:pt x="57" y="69"/>
                </a:cubicBezTo>
                <a:cubicBezTo>
                  <a:pt x="57" y="69"/>
                  <a:pt x="57" y="69"/>
                  <a:pt x="57" y="69"/>
                </a:cubicBezTo>
                <a:cubicBezTo>
                  <a:pt x="58" y="70"/>
                  <a:pt x="58" y="70"/>
                  <a:pt x="58" y="70"/>
                </a:cubicBezTo>
                <a:cubicBezTo>
                  <a:pt x="58" y="71"/>
                  <a:pt x="58" y="71"/>
                  <a:pt x="58" y="71"/>
                </a:cubicBezTo>
                <a:close/>
                <a:moveTo>
                  <a:pt x="74" y="27"/>
                </a:moveTo>
                <a:cubicBezTo>
                  <a:pt x="76" y="26"/>
                  <a:pt x="76" y="26"/>
                  <a:pt x="76" y="26"/>
                </a:cubicBezTo>
                <a:cubicBezTo>
                  <a:pt x="77" y="26"/>
                  <a:pt x="77" y="26"/>
                  <a:pt x="77" y="26"/>
                </a:cubicBezTo>
                <a:cubicBezTo>
                  <a:pt x="77" y="25"/>
                  <a:pt x="77" y="25"/>
                  <a:pt x="77" y="25"/>
                </a:cubicBezTo>
                <a:cubicBezTo>
                  <a:pt x="78" y="25"/>
                  <a:pt x="78" y="25"/>
                  <a:pt x="78" y="25"/>
                </a:cubicBezTo>
                <a:cubicBezTo>
                  <a:pt x="77" y="24"/>
                  <a:pt x="77" y="24"/>
                  <a:pt x="77" y="24"/>
                </a:cubicBezTo>
                <a:cubicBezTo>
                  <a:pt x="77" y="23"/>
                  <a:pt x="77" y="23"/>
                  <a:pt x="77" y="23"/>
                </a:cubicBezTo>
                <a:cubicBezTo>
                  <a:pt x="76" y="22"/>
                  <a:pt x="76" y="22"/>
                  <a:pt x="76" y="22"/>
                </a:cubicBezTo>
                <a:cubicBezTo>
                  <a:pt x="75" y="23"/>
                  <a:pt x="75" y="23"/>
                  <a:pt x="75" y="23"/>
                </a:cubicBezTo>
                <a:cubicBezTo>
                  <a:pt x="74" y="23"/>
                  <a:pt x="74" y="23"/>
                  <a:pt x="74" y="23"/>
                </a:cubicBezTo>
                <a:cubicBezTo>
                  <a:pt x="73" y="24"/>
                  <a:pt x="73" y="24"/>
                  <a:pt x="73" y="24"/>
                </a:cubicBezTo>
                <a:cubicBezTo>
                  <a:pt x="73" y="24"/>
                  <a:pt x="73" y="24"/>
                  <a:pt x="73" y="24"/>
                </a:cubicBezTo>
                <a:cubicBezTo>
                  <a:pt x="73" y="25"/>
                  <a:pt x="73" y="25"/>
                  <a:pt x="73" y="25"/>
                </a:cubicBezTo>
                <a:cubicBezTo>
                  <a:pt x="74" y="26"/>
                  <a:pt x="74" y="26"/>
                  <a:pt x="74" y="26"/>
                </a:cubicBezTo>
                <a:cubicBezTo>
                  <a:pt x="74" y="26"/>
                  <a:pt x="74" y="27"/>
                  <a:pt x="74" y="27"/>
                </a:cubicBezTo>
                <a:close/>
                <a:moveTo>
                  <a:pt x="76" y="29"/>
                </a:moveTo>
                <a:cubicBezTo>
                  <a:pt x="76" y="28"/>
                  <a:pt x="76" y="28"/>
                  <a:pt x="76" y="28"/>
                </a:cubicBezTo>
                <a:cubicBezTo>
                  <a:pt x="76" y="28"/>
                  <a:pt x="76" y="28"/>
                  <a:pt x="76" y="28"/>
                </a:cubicBezTo>
                <a:cubicBezTo>
                  <a:pt x="76" y="28"/>
                  <a:pt x="76" y="28"/>
                  <a:pt x="76" y="28"/>
                </a:cubicBezTo>
                <a:cubicBezTo>
                  <a:pt x="76" y="29"/>
                  <a:pt x="76" y="29"/>
                  <a:pt x="76" y="29"/>
                </a:cubicBezTo>
                <a:close/>
                <a:moveTo>
                  <a:pt x="76" y="33"/>
                </a:moveTo>
                <a:cubicBezTo>
                  <a:pt x="77" y="32"/>
                  <a:pt x="77" y="32"/>
                  <a:pt x="77" y="32"/>
                </a:cubicBezTo>
                <a:cubicBezTo>
                  <a:pt x="77" y="31"/>
                  <a:pt x="77" y="31"/>
                  <a:pt x="77" y="31"/>
                </a:cubicBezTo>
                <a:cubicBezTo>
                  <a:pt x="78" y="31"/>
                  <a:pt x="78" y="31"/>
                  <a:pt x="78" y="31"/>
                </a:cubicBezTo>
                <a:cubicBezTo>
                  <a:pt x="77" y="30"/>
                  <a:pt x="77" y="30"/>
                  <a:pt x="77" y="30"/>
                </a:cubicBezTo>
                <a:cubicBezTo>
                  <a:pt x="77" y="31"/>
                  <a:pt x="77" y="31"/>
                  <a:pt x="77" y="31"/>
                </a:cubicBezTo>
                <a:cubicBezTo>
                  <a:pt x="75" y="31"/>
                  <a:pt x="75" y="31"/>
                  <a:pt x="75" y="31"/>
                </a:cubicBezTo>
                <a:cubicBezTo>
                  <a:pt x="75" y="30"/>
                  <a:pt x="75" y="30"/>
                  <a:pt x="75" y="30"/>
                </a:cubicBezTo>
                <a:cubicBezTo>
                  <a:pt x="74" y="30"/>
                  <a:pt x="74" y="30"/>
                  <a:pt x="74" y="30"/>
                </a:cubicBezTo>
                <a:cubicBezTo>
                  <a:pt x="73" y="30"/>
                  <a:pt x="73" y="30"/>
                  <a:pt x="73" y="30"/>
                </a:cubicBezTo>
                <a:cubicBezTo>
                  <a:pt x="71" y="31"/>
                  <a:pt x="71" y="31"/>
                  <a:pt x="71" y="31"/>
                </a:cubicBezTo>
                <a:cubicBezTo>
                  <a:pt x="71" y="32"/>
                  <a:pt x="71" y="32"/>
                  <a:pt x="71" y="32"/>
                </a:cubicBezTo>
                <a:cubicBezTo>
                  <a:pt x="72" y="33"/>
                  <a:pt x="72" y="33"/>
                  <a:pt x="72" y="33"/>
                </a:cubicBezTo>
                <a:cubicBezTo>
                  <a:pt x="73" y="33"/>
                  <a:pt x="73" y="33"/>
                  <a:pt x="73" y="33"/>
                </a:cubicBezTo>
                <a:cubicBezTo>
                  <a:pt x="74" y="33"/>
                  <a:pt x="74" y="33"/>
                  <a:pt x="74" y="33"/>
                </a:cubicBezTo>
                <a:cubicBezTo>
                  <a:pt x="75" y="33"/>
                  <a:pt x="75" y="33"/>
                  <a:pt x="75" y="33"/>
                </a:cubicBezTo>
                <a:cubicBezTo>
                  <a:pt x="75" y="34"/>
                  <a:pt x="75" y="34"/>
                  <a:pt x="75" y="34"/>
                </a:cubicBezTo>
                <a:cubicBezTo>
                  <a:pt x="76" y="33"/>
                  <a:pt x="76" y="33"/>
                  <a:pt x="76" y="33"/>
                </a:cubicBezTo>
                <a:close/>
                <a:moveTo>
                  <a:pt x="79" y="33"/>
                </a:moveTo>
                <a:cubicBezTo>
                  <a:pt x="79" y="32"/>
                  <a:pt x="79" y="32"/>
                  <a:pt x="79" y="32"/>
                </a:cubicBezTo>
                <a:cubicBezTo>
                  <a:pt x="79" y="31"/>
                  <a:pt x="79" y="31"/>
                  <a:pt x="79" y="31"/>
                </a:cubicBezTo>
                <a:cubicBezTo>
                  <a:pt x="80" y="31"/>
                  <a:pt x="80" y="31"/>
                  <a:pt x="80" y="31"/>
                </a:cubicBezTo>
                <a:cubicBezTo>
                  <a:pt x="81" y="31"/>
                  <a:pt x="81" y="31"/>
                  <a:pt x="81" y="31"/>
                </a:cubicBezTo>
                <a:cubicBezTo>
                  <a:pt x="81" y="32"/>
                  <a:pt x="81" y="32"/>
                  <a:pt x="81" y="32"/>
                </a:cubicBezTo>
                <a:cubicBezTo>
                  <a:pt x="81" y="33"/>
                  <a:pt x="81" y="33"/>
                  <a:pt x="81" y="33"/>
                </a:cubicBezTo>
                <a:cubicBezTo>
                  <a:pt x="80" y="33"/>
                  <a:pt x="80" y="33"/>
                  <a:pt x="80" y="33"/>
                </a:cubicBezTo>
                <a:cubicBezTo>
                  <a:pt x="79" y="33"/>
                  <a:pt x="79" y="33"/>
                  <a:pt x="79" y="33"/>
                </a:cubicBezTo>
                <a:close/>
                <a:moveTo>
                  <a:pt x="74" y="40"/>
                </a:moveTo>
                <a:cubicBezTo>
                  <a:pt x="75" y="38"/>
                  <a:pt x="75" y="38"/>
                  <a:pt x="75" y="38"/>
                </a:cubicBezTo>
                <a:cubicBezTo>
                  <a:pt x="76" y="36"/>
                  <a:pt x="76" y="36"/>
                  <a:pt x="76" y="36"/>
                </a:cubicBezTo>
                <a:cubicBezTo>
                  <a:pt x="77" y="35"/>
                  <a:pt x="77" y="35"/>
                  <a:pt x="77" y="35"/>
                </a:cubicBezTo>
                <a:cubicBezTo>
                  <a:pt x="77" y="35"/>
                  <a:pt x="77" y="35"/>
                  <a:pt x="77" y="35"/>
                </a:cubicBezTo>
                <a:cubicBezTo>
                  <a:pt x="76" y="34"/>
                  <a:pt x="76" y="34"/>
                  <a:pt x="76" y="34"/>
                </a:cubicBezTo>
                <a:cubicBezTo>
                  <a:pt x="75" y="35"/>
                  <a:pt x="75" y="35"/>
                  <a:pt x="75" y="35"/>
                </a:cubicBezTo>
                <a:cubicBezTo>
                  <a:pt x="73" y="35"/>
                  <a:pt x="73" y="35"/>
                  <a:pt x="73" y="35"/>
                </a:cubicBezTo>
                <a:cubicBezTo>
                  <a:pt x="72" y="34"/>
                  <a:pt x="72" y="34"/>
                  <a:pt x="72" y="34"/>
                </a:cubicBezTo>
                <a:cubicBezTo>
                  <a:pt x="71" y="35"/>
                  <a:pt x="71" y="35"/>
                  <a:pt x="71" y="35"/>
                </a:cubicBezTo>
                <a:cubicBezTo>
                  <a:pt x="71" y="36"/>
                  <a:pt x="71" y="36"/>
                  <a:pt x="71" y="36"/>
                </a:cubicBezTo>
                <a:cubicBezTo>
                  <a:pt x="71" y="37"/>
                  <a:pt x="71" y="37"/>
                  <a:pt x="71" y="37"/>
                </a:cubicBezTo>
                <a:cubicBezTo>
                  <a:pt x="72" y="37"/>
                  <a:pt x="72" y="37"/>
                  <a:pt x="72" y="37"/>
                </a:cubicBezTo>
                <a:cubicBezTo>
                  <a:pt x="73" y="38"/>
                  <a:pt x="73" y="38"/>
                  <a:pt x="73" y="38"/>
                </a:cubicBezTo>
                <a:cubicBezTo>
                  <a:pt x="73" y="39"/>
                  <a:pt x="73" y="39"/>
                  <a:pt x="73" y="39"/>
                </a:cubicBezTo>
                <a:cubicBezTo>
                  <a:pt x="72" y="39"/>
                  <a:pt x="72" y="39"/>
                  <a:pt x="72" y="39"/>
                </a:cubicBezTo>
                <a:cubicBezTo>
                  <a:pt x="69" y="40"/>
                  <a:pt x="69" y="40"/>
                  <a:pt x="69" y="40"/>
                </a:cubicBezTo>
                <a:cubicBezTo>
                  <a:pt x="69" y="40"/>
                  <a:pt x="69" y="40"/>
                  <a:pt x="69" y="40"/>
                </a:cubicBezTo>
                <a:cubicBezTo>
                  <a:pt x="70" y="41"/>
                  <a:pt x="70" y="41"/>
                  <a:pt x="70" y="41"/>
                </a:cubicBezTo>
                <a:cubicBezTo>
                  <a:pt x="71" y="41"/>
                  <a:pt x="71" y="41"/>
                  <a:pt x="71" y="41"/>
                </a:cubicBezTo>
                <a:cubicBezTo>
                  <a:pt x="72" y="40"/>
                  <a:pt x="72" y="40"/>
                  <a:pt x="72" y="40"/>
                </a:cubicBezTo>
                <a:cubicBezTo>
                  <a:pt x="72" y="40"/>
                  <a:pt x="74" y="40"/>
                  <a:pt x="74" y="40"/>
                </a:cubicBezTo>
                <a:close/>
                <a:moveTo>
                  <a:pt x="77" y="40"/>
                </a:moveTo>
                <a:cubicBezTo>
                  <a:pt x="76" y="40"/>
                  <a:pt x="76" y="40"/>
                  <a:pt x="76" y="40"/>
                </a:cubicBezTo>
                <a:cubicBezTo>
                  <a:pt x="76" y="40"/>
                  <a:pt x="76" y="40"/>
                  <a:pt x="76" y="40"/>
                </a:cubicBezTo>
                <a:cubicBezTo>
                  <a:pt x="75" y="40"/>
                  <a:pt x="75" y="40"/>
                  <a:pt x="75" y="40"/>
                </a:cubicBezTo>
                <a:cubicBezTo>
                  <a:pt x="75" y="39"/>
                  <a:pt x="75" y="39"/>
                  <a:pt x="75" y="39"/>
                </a:cubicBezTo>
                <a:cubicBezTo>
                  <a:pt x="77" y="38"/>
                  <a:pt x="77" y="38"/>
                  <a:pt x="77" y="38"/>
                </a:cubicBezTo>
                <a:cubicBezTo>
                  <a:pt x="77" y="37"/>
                  <a:pt x="77" y="37"/>
                  <a:pt x="77" y="37"/>
                </a:cubicBezTo>
                <a:cubicBezTo>
                  <a:pt x="78" y="38"/>
                  <a:pt x="78" y="38"/>
                  <a:pt x="78" y="38"/>
                </a:cubicBezTo>
                <a:cubicBezTo>
                  <a:pt x="78" y="39"/>
                  <a:pt x="78" y="39"/>
                  <a:pt x="78" y="39"/>
                </a:cubicBezTo>
                <a:cubicBezTo>
                  <a:pt x="77" y="40"/>
                  <a:pt x="77" y="40"/>
                  <a:pt x="77" y="40"/>
                </a:cubicBezTo>
                <a:close/>
                <a:moveTo>
                  <a:pt x="81" y="42"/>
                </a:moveTo>
                <a:cubicBezTo>
                  <a:pt x="79" y="41"/>
                  <a:pt x="79" y="41"/>
                  <a:pt x="79" y="41"/>
                </a:cubicBezTo>
                <a:cubicBezTo>
                  <a:pt x="79" y="40"/>
                  <a:pt x="79" y="40"/>
                  <a:pt x="79" y="40"/>
                </a:cubicBezTo>
                <a:cubicBezTo>
                  <a:pt x="79" y="39"/>
                  <a:pt x="79" y="39"/>
                  <a:pt x="79" y="39"/>
                </a:cubicBezTo>
                <a:cubicBezTo>
                  <a:pt x="80" y="39"/>
                  <a:pt x="80" y="39"/>
                  <a:pt x="80" y="39"/>
                </a:cubicBezTo>
                <a:cubicBezTo>
                  <a:pt x="80" y="40"/>
                  <a:pt x="80" y="40"/>
                  <a:pt x="80" y="40"/>
                </a:cubicBezTo>
                <a:cubicBezTo>
                  <a:pt x="82" y="40"/>
                  <a:pt x="82" y="40"/>
                  <a:pt x="82" y="40"/>
                </a:cubicBezTo>
                <a:cubicBezTo>
                  <a:pt x="82" y="41"/>
                  <a:pt x="82" y="41"/>
                  <a:pt x="82" y="41"/>
                </a:cubicBezTo>
                <a:cubicBezTo>
                  <a:pt x="82" y="42"/>
                  <a:pt x="82" y="42"/>
                  <a:pt x="82" y="42"/>
                </a:cubicBezTo>
                <a:cubicBezTo>
                  <a:pt x="81" y="42"/>
                  <a:pt x="81" y="42"/>
                  <a:pt x="81" y="42"/>
                </a:cubicBezTo>
                <a:close/>
                <a:moveTo>
                  <a:pt x="79" y="46"/>
                </a:moveTo>
                <a:cubicBezTo>
                  <a:pt x="78" y="45"/>
                  <a:pt x="78" y="45"/>
                  <a:pt x="78" y="45"/>
                </a:cubicBezTo>
                <a:cubicBezTo>
                  <a:pt x="76" y="43"/>
                  <a:pt x="76" y="43"/>
                  <a:pt x="76" y="43"/>
                </a:cubicBezTo>
                <a:cubicBezTo>
                  <a:pt x="74" y="42"/>
                  <a:pt x="74" y="42"/>
                  <a:pt x="74" y="42"/>
                </a:cubicBezTo>
                <a:cubicBezTo>
                  <a:pt x="73" y="42"/>
                  <a:pt x="73" y="42"/>
                  <a:pt x="73" y="42"/>
                </a:cubicBezTo>
                <a:cubicBezTo>
                  <a:pt x="72" y="42"/>
                  <a:pt x="72" y="42"/>
                  <a:pt x="72" y="42"/>
                </a:cubicBezTo>
                <a:cubicBezTo>
                  <a:pt x="72" y="41"/>
                  <a:pt x="72" y="41"/>
                  <a:pt x="72" y="41"/>
                </a:cubicBezTo>
                <a:cubicBezTo>
                  <a:pt x="74" y="41"/>
                  <a:pt x="74" y="41"/>
                  <a:pt x="74" y="41"/>
                </a:cubicBezTo>
                <a:cubicBezTo>
                  <a:pt x="75" y="41"/>
                  <a:pt x="75" y="41"/>
                  <a:pt x="75" y="41"/>
                </a:cubicBezTo>
                <a:cubicBezTo>
                  <a:pt x="77" y="42"/>
                  <a:pt x="77" y="42"/>
                  <a:pt x="77" y="42"/>
                </a:cubicBezTo>
                <a:cubicBezTo>
                  <a:pt x="79" y="43"/>
                  <a:pt x="79" y="43"/>
                  <a:pt x="79" y="43"/>
                </a:cubicBezTo>
                <a:cubicBezTo>
                  <a:pt x="80" y="43"/>
                  <a:pt x="80" y="43"/>
                  <a:pt x="80" y="43"/>
                </a:cubicBezTo>
                <a:cubicBezTo>
                  <a:pt x="81" y="43"/>
                  <a:pt x="81" y="43"/>
                  <a:pt x="81" y="43"/>
                </a:cubicBezTo>
                <a:cubicBezTo>
                  <a:pt x="81" y="43"/>
                  <a:pt x="81" y="43"/>
                  <a:pt x="81" y="43"/>
                </a:cubicBezTo>
                <a:cubicBezTo>
                  <a:pt x="81" y="44"/>
                  <a:pt x="81" y="44"/>
                  <a:pt x="81" y="44"/>
                </a:cubicBezTo>
                <a:cubicBezTo>
                  <a:pt x="80" y="46"/>
                  <a:pt x="80" y="46"/>
                  <a:pt x="80" y="46"/>
                </a:cubicBezTo>
                <a:cubicBezTo>
                  <a:pt x="79" y="46"/>
                  <a:pt x="79" y="46"/>
                  <a:pt x="79" y="46"/>
                </a:cubicBezTo>
                <a:close/>
                <a:moveTo>
                  <a:pt x="80" y="49"/>
                </a:moveTo>
                <a:cubicBezTo>
                  <a:pt x="81" y="48"/>
                  <a:pt x="81" y="48"/>
                  <a:pt x="81" y="48"/>
                </a:cubicBezTo>
                <a:cubicBezTo>
                  <a:pt x="80" y="46"/>
                  <a:pt x="80" y="46"/>
                  <a:pt x="80" y="46"/>
                </a:cubicBezTo>
                <a:cubicBezTo>
                  <a:pt x="79" y="46"/>
                  <a:pt x="79" y="46"/>
                  <a:pt x="79" y="46"/>
                </a:cubicBezTo>
                <a:cubicBezTo>
                  <a:pt x="77" y="46"/>
                  <a:pt x="77" y="46"/>
                  <a:pt x="77" y="46"/>
                </a:cubicBezTo>
                <a:cubicBezTo>
                  <a:pt x="75" y="44"/>
                  <a:pt x="75" y="44"/>
                  <a:pt x="75" y="44"/>
                </a:cubicBezTo>
                <a:cubicBezTo>
                  <a:pt x="74" y="44"/>
                  <a:pt x="74" y="44"/>
                  <a:pt x="74" y="44"/>
                </a:cubicBezTo>
                <a:cubicBezTo>
                  <a:pt x="73" y="44"/>
                  <a:pt x="73" y="44"/>
                  <a:pt x="73" y="44"/>
                </a:cubicBezTo>
                <a:cubicBezTo>
                  <a:pt x="72" y="44"/>
                  <a:pt x="72" y="44"/>
                  <a:pt x="72" y="44"/>
                </a:cubicBezTo>
                <a:cubicBezTo>
                  <a:pt x="71" y="43"/>
                  <a:pt x="71" y="43"/>
                  <a:pt x="71" y="43"/>
                </a:cubicBezTo>
                <a:cubicBezTo>
                  <a:pt x="68" y="43"/>
                  <a:pt x="68" y="43"/>
                  <a:pt x="68" y="43"/>
                </a:cubicBezTo>
                <a:cubicBezTo>
                  <a:pt x="66" y="43"/>
                  <a:pt x="66" y="43"/>
                  <a:pt x="66" y="43"/>
                </a:cubicBezTo>
                <a:cubicBezTo>
                  <a:pt x="67" y="45"/>
                  <a:pt x="67" y="45"/>
                  <a:pt x="67" y="45"/>
                </a:cubicBezTo>
                <a:cubicBezTo>
                  <a:pt x="67" y="45"/>
                  <a:pt x="67" y="45"/>
                  <a:pt x="67" y="45"/>
                </a:cubicBezTo>
                <a:cubicBezTo>
                  <a:pt x="67" y="46"/>
                  <a:pt x="67" y="46"/>
                  <a:pt x="67" y="46"/>
                </a:cubicBezTo>
                <a:cubicBezTo>
                  <a:pt x="69" y="46"/>
                  <a:pt x="69" y="46"/>
                  <a:pt x="69" y="46"/>
                </a:cubicBezTo>
                <a:cubicBezTo>
                  <a:pt x="70" y="45"/>
                  <a:pt x="70" y="45"/>
                  <a:pt x="70" y="45"/>
                </a:cubicBezTo>
                <a:cubicBezTo>
                  <a:pt x="70" y="45"/>
                  <a:pt x="70" y="45"/>
                  <a:pt x="70" y="45"/>
                </a:cubicBezTo>
                <a:cubicBezTo>
                  <a:pt x="71" y="46"/>
                  <a:pt x="71" y="46"/>
                  <a:pt x="71" y="46"/>
                </a:cubicBezTo>
                <a:cubicBezTo>
                  <a:pt x="72" y="47"/>
                  <a:pt x="72" y="47"/>
                  <a:pt x="72" y="47"/>
                </a:cubicBezTo>
                <a:cubicBezTo>
                  <a:pt x="73" y="47"/>
                  <a:pt x="73" y="47"/>
                  <a:pt x="73" y="47"/>
                </a:cubicBezTo>
                <a:cubicBezTo>
                  <a:pt x="73" y="47"/>
                  <a:pt x="73" y="47"/>
                  <a:pt x="73" y="47"/>
                </a:cubicBezTo>
                <a:cubicBezTo>
                  <a:pt x="74" y="48"/>
                  <a:pt x="74" y="48"/>
                  <a:pt x="74" y="48"/>
                </a:cubicBezTo>
                <a:cubicBezTo>
                  <a:pt x="75" y="49"/>
                  <a:pt x="75" y="49"/>
                  <a:pt x="75" y="49"/>
                </a:cubicBezTo>
                <a:cubicBezTo>
                  <a:pt x="77" y="48"/>
                  <a:pt x="77" y="48"/>
                  <a:pt x="77" y="48"/>
                </a:cubicBezTo>
                <a:cubicBezTo>
                  <a:pt x="78" y="49"/>
                  <a:pt x="78" y="49"/>
                  <a:pt x="78" y="49"/>
                </a:cubicBezTo>
                <a:cubicBezTo>
                  <a:pt x="80" y="50"/>
                  <a:pt x="80" y="50"/>
                  <a:pt x="80" y="50"/>
                </a:cubicBezTo>
                <a:cubicBezTo>
                  <a:pt x="80" y="49"/>
                  <a:pt x="80" y="49"/>
                  <a:pt x="80" y="49"/>
                </a:cubicBezTo>
                <a:close/>
                <a:moveTo>
                  <a:pt x="71" y="51"/>
                </a:moveTo>
                <a:cubicBezTo>
                  <a:pt x="71" y="51"/>
                  <a:pt x="70" y="51"/>
                  <a:pt x="70" y="51"/>
                </a:cubicBezTo>
                <a:cubicBezTo>
                  <a:pt x="70" y="51"/>
                  <a:pt x="70" y="51"/>
                  <a:pt x="70" y="51"/>
                </a:cubicBezTo>
                <a:cubicBezTo>
                  <a:pt x="68" y="51"/>
                  <a:pt x="68" y="51"/>
                  <a:pt x="68" y="51"/>
                </a:cubicBezTo>
                <a:cubicBezTo>
                  <a:pt x="67" y="50"/>
                  <a:pt x="67" y="50"/>
                  <a:pt x="67" y="50"/>
                </a:cubicBezTo>
                <a:cubicBezTo>
                  <a:pt x="67" y="49"/>
                  <a:pt x="67" y="49"/>
                  <a:pt x="67" y="49"/>
                </a:cubicBezTo>
                <a:cubicBezTo>
                  <a:pt x="68" y="49"/>
                  <a:pt x="68" y="49"/>
                  <a:pt x="68" y="49"/>
                </a:cubicBezTo>
                <a:cubicBezTo>
                  <a:pt x="69" y="48"/>
                  <a:pt x="69" y="48"/>
                  <a:pt x="69" y="48"/>
                </a:cubicBezTo>
                <a:cubicBezTo>
                  <a:pt x="71" y="48"/>
                  <a:pt x="71" y="48"/>
                  <a:pt x="71" y="48"/>
                </a:cubicBezTo>
                <a:cubicBezTo>
                  <a:pt x="71" y="48"/>
                  <a:pt x="71" y="48"/>
                  <a:pt x="71" y="48"/>
                </a:cubicBezTo>
                <a:cubicBezTo>
                  <a:pt x="72" y="49"/>
                  <a:pt x="72" y="49"/>
                  <a:pt x="72" y="49"/>
                </a:cubicBezTo>
                <a:cubicBezTo>
                  <a:pt x="73" y="49"/>
                  <a:pt x="73" y="49"/>
                  <a:pt x="73" y="49"/>
                </a:cubicBezTo>
                <a:cubicBezTo>
                  <a:pt x="73" y="49"/>
                  <a:pt x="73" y="49"/>
                  <a:pt x="73" y="49"/>
                </a:cubicBezTo>
                <a:cubicBezTo>
                  <a:pt x="74" y="49"/>
                  <a:pt x="74" y="49"/>
                  <a:pt x="74" y="49"/>
                </a:cubicBezTo>
                <a:cubicBezTo>
                  <a:pt x="74" y="50"/>
                  <a:pt x="74" y="50"/>
                  <a:pt x="74" y="50"/>
                </a:cubicBezTo>
                <a:cubicBezTo>
                  <a:pt x="74" y="50"/>
                  <a:pt x="74" y="50"/>
                  <a:pt x="74" y="50"/>
                </a:cubicBezTo>
                <a:cubicBezTo>
                  <a:pt x="71" y="51"/>
                  <a:pt x="71" y="51"/>
                  <a:pt x="71" y="51"/>
                </a:cubicBezTo>
                <a:close/>
                <a:moveTo>
                  <a:pt x="68" y="58"/>
                </a:moveTo>
                <a:cubicBezTo>
                  <a:pt x="68" y="57"/>
                  <a:pt x="68" y="57"/>
                  <a:pt x="68" y="57"/>
                </a:cubicBezTo>
                <a:cubicBezTo>
                  <a:pt x="68" y="55"/>
                  <a:pt x="68" y="55"/>
                  <a:pt x="68" y="55"/>
                </a:cubicBezTo>
                <a:cubicBezTo>
                  <a:pt x="67" y="55"/>
                  <a:pt x="67" y="55"/>
                  <a:pt x="67" y="55"/>
                </a:cubicBezTo>
                <a:cubicBezTo>
                  <a:pt x="67" y="57"/>
                  <a:pt x="67" y="57"/>
                  <a:pt x="67" y="57"/>
                </a:cubicBezTo>
                <a:cubicBezTo>
                  <a:pt x="66" y="57"/>
                  <a:pt x="66" y="57"/>
                  <a:pt x="66" y="57"/>
                </a:cubicBezTo>
                <a:cubicBezTo>
                  <a:pt x="67" y="58"/>
                  <a:pt x="67" y="58"/>
                  <a:pt x="67" y="58"/>
                </a:cubicBezTo>
                <a:cubicBezTo>
                  <a:pt x="68" y="59"/>
                  <a:pt x="68" y="59"/>
                  <a:pt x="68" y="59"/>
                </a:cubicBezTo>
                <a:cubicBezTo>
                  <a:pt x="68" y="58"/>
                  <a:pt x="68" y="58"/>
                  <a:pt x="68" y="58"/>
                </a:cubicBezTo>
                <a:close/>
                <a:moveTo>
                  <a:pt x="70" y="58"/>
                </a:moveTo>
                <a:cubicBezTo>
                  <a:pt x="70" y="58"/>
                  <a:pt x="70" y="58"/>
                  <a:pt x="70" y="58"/>
                </a:cubicBezTo>
                <a:cubicBezTo>
                  <a:pt x="71" y="57"/>
                  <a:pt x="71" y="57"/>
                  <a:pt x="71" y="57"/>
                </a:cubicBezTo>
                <a:cubicBezTo>
                  <a:pt x="70" y="56"/>
                  <a:pt x="70" y="56"/>
                  <a:pt x="70" y="56"/>
                </a:cubicBezTo>
                <a:cubicBezTo>
                  <a:pt x="69" y="55"/>
                  <a:pt x="69" y="55"/>
                  <a:pt x="69" y="55"/>
                </a:cubicBezTo>
                <a:cubicBezTo>
                  <a:pt x="68" y="55"/>
                  <a:pt x="68" y="55"/>
                  <a:pt x="68" y="55"/>
                </a:cubicBezTo>
                <a:cubicBezTo>
                  <a:pt x="68" y="56"/>
                  <a:pt x="68" y="56"/>
                  <a:pt x="68" y="56"/>
                </a:cubicBezTo>
                <a:cubicBezTo>
                  <a:pt x="70" y="58"/>
                  <a:pt x="70" y="58"/>
                  <a:pt x="70" y="58"/>
                </a:cubicBezTo>
                <a:close/>
                <a:moveTo>
                  <a:pt x="72" y="56"/>
                </a:moveTo>
                <a:cubicBezTo>
                  <a:pt x="72" y="56"/>
                  <a:pt x="73" y="57"/>
                  <a:pt x="73" y="57"/>
                </a:cubicBezTo>
                <a:cubicBezTo>
                  <a:pt x="73" y="56"/>
                  <a:pt x="73" y="56"/>
                  <a:pt x="73" y="56"/>
                </a:cubicBezTo>
                <a:cubicBezTo>
                  <a:pt x="73" y="55"/>
                  <a:pt x="73" y="55"/>
                  <a:pt x="73" y="55"/>
                </a:cubicBezTo>
                <a:cubicBezTo>
                  <a:pt x="72" y="55"/>
                  <a:pt x="72" y="55"/>
                  <a:pt x="72" y="55"/>
                </a:cubicBezTo>
                <a:cubicBezTo>
                  <a:pt x="71" y="55"/>
                  <a:pt x="71" y="55"/>
                  <a:pt x="71" y="55"/>
                </a:cubicBezTo>
                <a:cubicBezTo>
                  <a:pt x="72" y="56"/>
                  <a:pt x="72" y="56"/>
                  <a:pt x="72" y="56"/>
                </a:cubicBezTo>
                <a:close/>
                <a:moveTo>
                  <a:pt x="72" y="60"/>
                </a:moveTo>
                <a:cubicBezTo>
                  <a:pt x="72" y="59"/>
                  <a:pt x="72" y="59"/>
                  <a:pt x="72" y="59"/>
                </a:cubicBezTo>
                <a:cubicBezTo>
                  <a:pt x="73" y="58"/>
                  <a:pt x="73" y="58"/>
                  <a:pt x="73" y="58"/>
                </a:cubicBezTo>
                <a:cubicBezTo>
                  <a:pt x="72" y="57"/>
                  <a:pt x="72" y="57"/>
                  <a:pt x="72" y="57"/>
                </a:cubicBezTo>
                <a:cubicBezTo>
                  <a:pt x="71" y="57"/>
                  <a:pt x="71" y="57"/>
                  <a:pt x="71" y="57"/>
                </a:cubicBezTo>
                <a:cubicBezTo>
                  <a:pt x="71" y="57"/>
                  <a:pt x="71" y="57"/>
                  <a:pt x="71" y="57"/>
                </a:cubicBezTo>
                <a:cubicBezTo>
                  <a:pt x="71" y="58"/>
                  <a:pt x="71" y="58"/>
                  <a:pt x="71" y="58"/>
                </a:cubicBezTo>
                <a:cubicBezTo>
                  <a:pt x="71" y="59"/>
                  <a:pt x="71" y="59"/>
                  <a:pt x="71" y="59"/>
                </a:cubicBezTo>
                <a:cubicBezTo>
                  <a:pt x="72" y="60"/>
                  <a:pt x="72" y="60"/>
                  <a:pt x="72" y="60"/>
                </a:cubicBezTo>
                <a:close/>
                <a:moveTo>
                  <a:pt x="70" y="63"/>
                </a:moveTo>
                <a:cubicBezTo>
                  <a:pt x="70" y="62"/>
                  <a:pt x="70" y="62"/>
                  <a:pt x="70" y="62"/>
                </a:cubicBezTo>
                <a:cubicBezTo>
                  <a:pt x="69" y="62"/>
                  <a:pt x="69" y="62"/>
                  <a:pt x="69" y="62"/>
                </a:cubicBezTo>
                <a:cubicBezTo>
                  <a:pt x="68" y="61"/>
                  <a:pt x="68" y="61"/>
                  <a:pt x="68" y="61"/>
                </a:cubicBezTo>
                <a:cubicBezTo>
                  <a:pt x="67" y="61"/>
                  <a:pt x="67" y="61"/>
                  <a:pt x="67" y="61"/>
                </a:cubicBezTo>
                <a:cubicBezTo>
                  <a:pt x="66" y="61"/>
                  <a:pt x="66" y="61"/>
                  <a:pt x="66" y="61"/>
                </a:cubicBezTo>
                <a:cubicBezTo>
                  <a:pt x="67" y="62"/>
                  <a:pt x="67" y="62"/>
                  <a:pt x="67" y="62"/>
                </a:cubicBezTo>
                <a:cubicBezTo>
                  <a:pt x="67" y="63"/>
                  <a:pt x="67" y="63"/>
                  <a:pt x="67" y="63"/>
                </a:cubicBezTo>
                <a:cubicBezTo>
                  <a:pt x="66" y="64"/>
                  <a:pt x="66" y="64"/>
                  <a:pt x="66" y="64"/>
                </a:cubicBezTo>
                <a:cubicBezTo>
                  <a:pt x="66" y="65"/>
                  <a:pt x="66" y="65"/>
                  <a:pt x="66" y="65"/>
                </a:cubicBezTo>
                <a:cubicBezTo>
                  <a:pt x="68" y="65"/>
                  <a:pt x="68" y="65"/>
                  <a:pt x="68" y="65"/>
                </a:cubicBezTo>
                <a:cubicBezTo>
                  <a:pt x="70" y="64"/>
                  <a:pt x="70" y="64"/>
                  <a:pt x="70" y="64"/>
                </a:cubicBezTo>
                <a:cubicBezTo>
                  <a:pt x="70" y="63"/>
                  <a:pt x="70" y="63"/>
                  <a:pt x="70" y="63"/>
                </a:cubicBezTo>
                <a:close/>
                <a:moveTo>
                  <a:pt x="71" y="61"/>
                </a:moveTo>
                <a:cubicBezTo>
                  <a:pt x="71" y="62"/>
                  <a:pt x="71" y="62"/>
                  <a:pt x="71" y="62"/>
                </a:cubicBezTo>
                <a:cubicBezTo>
                  <a:pt x="72" y="63"/>
                  <a:pt x="72" y="63"/>
                  <a:pt x="72" y="63"/>
                </a:cubicBezTo>
                <a:cubicBezTo>
                  <a:pt x="72" y="63"/>
                  <a:pt x="72" y="63"/>
                  <a:pt x="72" y="63"/>
                </a:cubicBezTo>
                <a:cubicBezTo>
                  <a:pt x="72" y="62"/>
                  <a:pt x="72" y="62"/>
                  <a:pt x="72" y="62"/>
                </a:cubicBezTo>
                <a:cubicBezTo>
                  <a:pt x="72" y="61"/>
                  <a:pt x="72" y="61"/>
                  <a:pt x="72" y="61"/>
                </a:cubicBezTo>
                <a:cubicBezTo>
                  <a:pt x="71" y="61"/>
                  <a:pt x="71" y="61"/>
                  <a:pt x="71" y="61"/>
                </a:cubicBezTo>
                <a:close/>
                <a:moveTo>
                  <a:pt x="81" y="47"/>
                </a:moveTo>
                <a:cubicBezTo>
                  <a:pt x="81" y="46"/>
                  <a:pt x="81" y="46"/>
                  <a:pt x="81" y="46"/>
                </a:cubicBezTo>
                <a:cubicBezTo>
                  <a:pt x="82" y="45"/>
                  <a:pt x="82" y="45"/>
                  <a:pt x="82" y="45"/>
                </a:cubicBezTo>
                <a:cubicBezTo>
                  <a:pt x="82" y="44"/>
                  <a:pt x="82" y="44"/>
                  <a:pt x="82" y="44"/>
                </a:cubicBezTo>
                <a:cubicBezTo>
                  <a:pt x="83" y="43"/>
                  <a:pt x="83" y="43"/>
                  <a:pt x="83" y="43"/>
                </a:cubicBezTo>
                <a:cubicBezTo>
                  <a:pt x="83" y="43"/>
                  <a:pt x="83" y="43"/>
                  <a:pt x="83" y="43"/>
                </a:cubicBezTo>
                <a:cubicBezTo>
                  <a:pt x="84" y="45"/>
                  <a:pt x="84" y="45"/>
                  <a:pt x="84" y="45"/>
                </a:cubicBezTo>
                <a:cubicBezTo>
                  <a:pt x="84" y="45"/>
                  <a:pt x="84" y="45"/>
                  <a:pt x="84" y="45"/>
                </a:cubicBezTo>
                <a:cubicBezTo>
                  <a:pt x="84" y="46"/>
                  <a:pt x="84" y="46"/>
                  <a:pt x="84" y="46"/>
                </a:cubicBezTo>
                <a:cubicBezTo>
                  <a:pt x="83" y="47"/>
                  <a:pt x="83" y="47"/>
                  <a:pt x="83" y="47"/>
                </a:cubicBezTo>
                <a:cubicBezTo>
                  <a:pt x="83" y="47"/>
                  <a:pt x="83" y="47"/>
                  <a:pt x="83" y="47"/>
                </a:cubicBezTo>
                <a:cubicBezTo>
                  <a:pt x="82" y="47"/>
                  <a:pt x="82" y="47"/>
                  <a:pt x="82" y="47"/>
                </a:cubicBezTo>
                <a:cubicBezTo>
                  <a:pt x="81" y="47"/>
                  <a:pt x="81" y="47"/>
                  <a:pt x="81" y="47"/>
                </a:cubicBezTo>
                <a:close/>
                <a:moveTo>
                  <a:pt x="74" y="60"/>
                </a:moveTo>
                <a:cubicBezTo>
                  <a:pt x="74" y="61"/>
                  <a:pt x="74" y="61"/>
                  <a:pt x="74" y="61"/>
                </a:cubicBezTo>
                <a:cubicBezTo>
                  <a:pt x="75" y="61"/>
                  <a:pt x="75" y="61"/>
                  <a:pt x="75" y="61"/>
                </a:cubicBezTo>
                <a:cubicBezTo>
                  <a:pt x="76" y="61"/>
                  <a:pt x="76" y="61"/>
                  <a:pt x="76" y="61"/>
                </a:cubicBezTo>
                <a:cubicBezTo>
                  <a:pt x="77" y="61"/>
                  <a:pt x="77" y="61"/>
                  <a:pt x="77" y="61"/>
                </a:cubicBezTo>
                <a:cubicBezTo>
                  <a:pt x="76" y="60"/>
                  <a:pt x="76" y="60"/>
                  <a:pt x="76" y="60"/>
                </a:cubicBezTo>
                <a:cubicBezTo>
                  <a:pt x="76" y="59"/>
                  <a:pt x="76" y="59"/>
                  <a:pt x="76" y="59"/>
                </a:cubicBezTo>
                <a:cubicBezTo>
                  <a:pt x="75" y="59"/>
                  <a:pt x="75" y="59"/>
                  <a:pt x="75" y="59"/>
                </a:cubicBezTo>
                <a:cubicBezTo>
                  <a:pt x="74" y="60"/>
                  <a:pt x="74" y="60"/>
                  <a:pt x="74" y="60"/>
                </a:cubicBezTo>
                <a:cubicBezTo>
                  <a:pt x="74" y="60"/>
                  <a:pt x="74" y="60"/>
                  <a:pt x="74" y="60"/>
                </a:cubicBezTo>
                <a:close/>
                <a:moveTo>
                  <a:pt x="74" y="58"/>
                </a:moveTo>
                <a:cubicBezTo>
                  <a:pt x="75" y="58"/>
                  <a:pt x="75" y="58"/>
                  <a:pt x="75" y="58"/>
                </a:cubicBezTo>
                <a:cubicBezTo>
                  <a:pt x="75" y="57"/>
                  <a:pt x="75" y="57"/>
                  <a:pt x="75" y="57"/>
                </a:cubicBezTo>
                <a:cubicBezTo>
                  <a:pt x="75" y="56"/>
                  <a:pt x="75" y="56"/>
                  <a:pt x="75" y="56"/>
                </a:cubicBezTo>
                <a:cubicBezTo>
                  <a:pt x="75" y="57"/>
                  <a:pt x="75" y="57"/>
                  <a:pt x="75" y="57"/>
                </a:cubicBezTo>
                <a:cubicBezTo>
                  <a:pt x="74" y="58"/>
                  <a:pt x="74" y="58"/>
                  <a:pt x="74" y="58"/>
                </a:cubicBezTo>
                <a:close/>
                <a:moveTo>
                  <a:pt x="76" y="57"/>
                </a:moveTo>
                <a:cubicBezTo>
                  <a:pt x="76" y="57"/>
                  <a:pt x="76" y="57"/>
                  <a:pt x="76" y="57"/>
                </a:cubicBezTo>
                <a:cubicBezTo>
                  <a:pt x="77" y="58"/>
                  <a:pt x="77" y="58"/>
                  <a:pt x="77" y="58"/>
                </a:cubicBezTo>
                <a:cubicBezTo>
                  <a:pt x="78" y="57"/>
                  <a:pt x="78" y="57"/>
                  <a:pt x="78" y="57"/>
                </a:cubicBezTo>
                <a:cubicBezTo>
                  <a:pt x="78" y="57"/>
                  <a:pt x="78" y="57"/>
                  <a:pt x="78" y="57"/>
                </a:cubicBezTo>
                <a:cubicBezTo>
                  <a:pt x="78" y="56"/>
                  <a:pt x="78" y="56"/>
                  <a:pt x="78" y="56"/>
                </a:cubicBezTo>
                <a:cubicBezTo>
                  <a:pt x="77" y="56"/>
                  <a:pt x="77" y="56"/>
                  <a:pt x="77" y="56"/>
                </a:cubicBezTo>
                <a:cubicBezTo>
                  <a:pt x="77" y="57"/>
                  <a:pt x="77" y="57"/>
                  <a:pt x="77" y="57"/>
                </a:cubicBezTo>
                <a:cubicBezTo>
                  <a:pt x="76" y="57"/>
                  <a:pt x="76" y="57"/>
                  <a:pt x="76" y="57"/>
                </a:cubicBezTo>
                <a:close/>
                <a:moveTo>
                  <a:pt x="76" y="52"/>
                </a:moveTo>
                <a:cubicBezTo>
                  <a:pt x="76" y="53"/>
                  <a:pt x="76" y="53"/>
                  <a:pt x="76" y="53"/>
                </a:cubicBezTo>
                <a:cubicBezTo>
                  <a:pt x="75" y="53"/>
                  <a:pt x="75" y="53"/>
                  <a:pt x="75" y="53"/>
                </a:cubicBezTo>
                <a:cubicBezTo>
                  <a:pt x="74" y="52"/>
                  <a:pt x="74" y="52"/>
                  <a:pt x="74" y="52"/>
                </a:cubicBezTo>
                <a:cubicBezTo>
                  <a:pt x="74" y="51"/>
                  <a:pt x="74" y="51"/>
                  <a:pt x="74" y="51"/>
                </a:cubicBezTo>
                <a:cubicBezTo>
                  <a:pt x="75" y="50"/>
                  <a:pt x="75" y="50"/>
                  <a:pt x="75" y="50"/>
                </a:cubicBezTo>
                <a:cubicBezTo>
                  <a:pt x="76" y="49"/>
                  <a:pt x="76" y="49"/>
                  <a:pt x="76" y="49"/>
                </a:cubicBezTo>
                <a:cubicBezTo>
                  <a:pt x="77" y="50"/>
                  <a:pt x="77" y="50"/>
                  <a:pt x="77" y="50"/>
                </a:cubicBezTo>
                <a:cubicBezTo>
                  <a:pt x="78" y="50"/>
                  <a:pt x="78" y="50"/>
                  <a:pt x="78" y="50"/>
                </a:cubicBezTo>
                <a:cubicBezTo>
                  <a:pt x="79" y="51"/>
                  <a:pt x="79" y="51"/>
                  <a:pt x="79" y="51"/>
                </a:cubicBezTo>
                <a:cubicBezTo>
                  <a:pt x="79" y="52"/>
                  <a:pt x="79" y="52"/>
                  <a:pt x="79" y="52"/>
                </a:cubicBezTo>
                <a:cubicBezTo>
                  <a:pt x="78" y="52"/>
                  <a:pt x="78" y="52"/>
                  <a:pt x="78" y="52"/>
                </a:cubicBezTo>
                <a:cubicBezTo>
                  <a:pt x="77" y="52"/>
                  <a:pt x="77" y="52"/>
                  <a:pt x="77" y="52"/>
                </a:cubicBezTo>
                <a:cubicBezTo>
                  <a:pt x="76" y="52"/>
                  <a:pt x="76" y="52"/>
                  <a:pt x="76" y="52"/>
                </a:cubicBezTo>
                <a:close/>
                <a:moveTo>
                  <a:pt x="81" y="51"/>
                </a:moveTo>
                <a:cubicBezTo>
                  <a:pt x="82" y="52"/>
                  <a:pt x="82" y="52"/>
                  <a:pt x="82" y="52"/>
                </a:cubicBezTo>
                <a:cubicBezTo>
                  <a:pt x="83" y="52"/>
                  <a:pt x="83" y="52"/>
                  <a:pt x="83" y="52"/>
                </a:cubicBezTo>
                <a:cubicBezTo>
                  <a:pt x="84" y="52"/>
                  <a:pt x="84" y="52"/>
                  <a:pt x="84" y="52"/>
                </a:cubicBezTo>
                <a:cubicBezTo>
                  <a:pt x="84" y="51"/>
                  <a:pt x="84" y="51"/>
                  <a:pt x="84" y="51"/>
                </a:cubicBezTo>
                <a:cubicBezTo>
                  <a:pt x="83" y="50"/>
                  <a:pt x="83" y="50"/>
                  <a:pt x="83" y="50"/>
                </a:cubicBezTo>
                <a:cubicBezTo>
                  <a:pt x="83" y="51"/>
                  <a:pt x="83" y="51"/>
                  <a:pt x="83" y="51"/>
                </a:cubicBezTo>
                <a:cubicBezTo>
                  <a:pt x="82" y="51"/>
                  <a:pt x="82" y="51"/>
                  <a:pt x="82" y="51"/>
                </a:cubicBezTo>
                <a:cubicBezTo>
                  <a:pt x="81" y="51"/>
                  <a:pt x="81" y="51"/>
                  <a:pt x="81" y="51"/>
                </a:cubicBezTo>
                <a:close/>
                <a:moveTo>
                  <a:pt x="84" y="63"/>
                </a:moveTo>
                <a:cubicBezTo>
                  <a:pt x="84" y="62"/>
                  <a:pt x="84" y="62"/>
                  <a:pt x="84" y="62"/>
                </a:cubicBezTo>
                <a:cubicBezTo>
                  <a:pt x="83" y="61"/>
                  <a:pt x="83" y="61"/>
                  <a:pt x="83" y="61"/>
                </a:cubicBezTo>
                <a:cubicBezTo>
                  <a:pt x="83" y="60"/>
                  <a:pt x="83" y="60"/>
                  <a:pt x="83" y="60"/>
                </a:cubicBezTo>
                <a:cubicBezTo>
                  <a:pt x="83" y="59"/>
                  <a:pt x="83" y="59"/>
                  <a:pt x="83" y="59"/>
                </a:cubicBezTo>
                <a:cubicBezTo>
                  <a:pt x="82" y="57"/>
                  <a:pt x="82" y="57"/>
                  <a:pt x="82" y="57"/>
                </a:cubicBezTo>
                <a:cubicBezTo>
                  <a:pt x="81" y="57"/>
                  <a:pt x="81" y="57"/>
                  <a:pt x="81" y="57"/>
                </a:cubicBezTo>
                <a:cubicBezTo>
                  <a:pt x="81" y="57"/>
                  <a:pt x="81" y="57"/>
                  <a:pt x="81" y="57"/>
                </a:cubicBezTo>
                <a:cubicBezTo>
                  <a:pt x="79" y="57"/>
                  <a:pt x="79" y="57"/>
                  <a:pt x="79" y="57"/>
                </a:cubicBezTo>
                <a:cubicBezTo>
                  <a:pt x="78" y="58"/>
                  <a:pt x="78" y="58"/>
                  <a:pt x="78" y="58"/>
                </a:cubicBezTo>
                <a:cubicBezTo>
                  <a:pt x="78" y="59"/>
                  <a:pt x="78" y="59"/>
                  <a:pt x="78" y="59"/>
                </a:cubicBezTo>
                <a:cubicBezTo>
                  <a:pt x="79" y="61"/>
                  <a:pt x="79" y="61"/>
                  <a:pt x="79" y="61"/>
                </a:cubicBezTo>
                <a:cubicBezTo>
                  <a:pt x="79" y="63"/>
                  <a:pt x="79" y="63"/>
                  <a:pt x="79" y="63"/>
                </a:cubicBezTo>
                <a:cubicBezTo>
                  <a:pt x="80" y="64"/>
                  <a:pt x="80" y="64"/>
                  <a:pt x="80" y="64"/>
                </a:cubicBezTo>
                <a:cubicBezTo>
                  <a:pt x="81" y="64"/>
                  <a:pt x="81" y="64"/>
                  <a:pt x="81" y="64"/>
                </a:cubicBezTo>
                <a:cubicBezTo>
                  <a:pt x="82" y="63"/>
                  <a:pt x="82" y="63"/>
                  <a:pt x="82" y="63"/>
                </a:cubicBezTo>
                <a:cubicBezTo>
                  <a:pt x="84" y="63"/>
                  <a:pt x="84" y="63"/>
                  <a:pt x="84" y="63"/>
                </a:cubicBezTo>
                <a:close/>
                <a:moveTo>
                  <a:pt x="87" y="62"/>
                </a:moveTo>
                <a:cubicBezTo>
                  <a:pt x="87" y="62"/>
                  <a:pt x="87" y="62"/>
                  <a:pt x="87" y="62"/>
                </a:cubicBezTo>
                <a:cubicBezTo>
                  <a:pt x="86" y="61"/>
                  <a:pt x="86" y="61"/>
                  <a:pt x="86" y="61"/>
                </a:cubicBezTo>
                <a:cubicBezTo>
                  <a:pt x="86" y="60"/>
                  <a:pt x="86" y="60"/>
                  <a:pt x="86" y="60"/>
                </a:cubicBezTo>
                <a:cubicBezTo>
                  <a:pt x="87" y="60"/>
                  <a:pt x="87" y="60"/>
                  <a:pt x="87" y="60"/>
                </a:cubicBezTo>
                <a:cubicBezTo>
                  <a:pt x="88" y="58"/>
                  <a:pt x="88" y="58"/>
                  <a:pt x="88" y="58"/>
                </a:cubicBezTo>
                <a:cubicBezTo>
                  <a:pt x="88" y="58"/>
                  <a:pt x="88" y="58"/>
                  <a:pt x="88" y="58"/>
                </a:cubicBezTo>
                <a:cubicBezTo>
                  <a:pt x="90" y="57"/>
                  <a:pt x="90" y="57"/>
                  <a:pt x="90" y="57"/>
                </a:cubicBezTo>
                <a:cubicBezTo>
                  <a:pt x="90" y="57"/>
                  <a:pt x="90" y="57"/>
                  <a:pt x="90" y="57"/>
                </a:cubicBezTo>
                <a:cubicBezTo>
                  <a:pt x="91" y="56"/>
                  <a:pt x="91" y="56"/>
                  <a:pt x="91" y="56"/>
                </a:cubicBezTo>
                <a:cubicBezTo>
                  <a:pt x="90" y="56"/>
                  <a:pt x="90" y="56"/>
                  <a:pt x="90" y="56"/>
                </a:cubicBezTo>
                <a:cubicBezTo>
                  <a:pt x="89" y="56"/>
                  <a:pt x="89" y="56"/>
                  <a:pt x="89" y="56"/>
                </a:cubicBezTo>
                <a:cubicBezTo>
                  <a:pt x="86" y="55"/>
                  <a:pt x="86" y="55"/>
                  <a:pt x="86" y="55"/>
                </a:cubicBezTo>
                <a:cubicBezTo>
                  <a:pt x="85" y="53"/>
                  <a:pt x="85" y="53"/>
                  <a:pt x="85" y="53"/>
                </a:cubicBezTo>
                <a:cubicBezTo>
                  <a:pt x="84" y="54"/>
                  <a:pt x="84" y="54"/>
                  <a:pt x="84" y="54"/>
                </a:cubicBezTo>
                <a:cubicBezTo>
                  <a:pt x="83" y="54"/>
                  <a:pt x="83" y="54"/>
                  <a:pt x="83" y="54"/>
                </a:cubicBezTo>
                <a:cubicBezTo>
                  <a:pt x="83" y="54"/>
                  <a:pt x="83" y="54"/>
                  <a:pt x="83" y="54"/>
                </a:cubicBezTo>
                <a:cubicBezTo>
                  <a:pt x="83" y="55"/>
                  <a:pt x="83" y="55"/>
                  <a:pt x="83" y="55"/>
                </a:cubicBezTo>
                <a:cubicBezTo>
                  <a:pt x="84" y="58"/>
                  <a:pt x="84" y="58"/>
                  <a:pt x="84" y="58"/>
                </a:cubicBezTo>
                <a:cubicBezTo>
                  <a:pt x="84" y="60"/>
                  <a:pt x="84" y="60"/>
                  <a:pt x="84" y="60"/>
                </a:cubicBezTo>
                <a:cubicBezTo>
                  <a:pt x="85" y="62"/>
                  <a:pt x="85" y="62"/>
                  <a:pt x="85" y="62"/>
                </a:cubicBezTo>
                <a:cubicBezTo>
                  <a:pt x="86" y="62"/>
                  <a:pt x="86" y="62"/>
                  <a:pt x="86" y="62"/>
                </a:cubicBezTo>
                <a:cubicBezTo>
                  <a:pt x="87" y="62"/>
                  <a:pt x="87" y="62"/>
                  <a:pt x="87" y="62"/>
                </a:cubicBezTo>
                <a:close/>
                <a:moveTo>
                  <a:pt x="91" y="62"/>
                </a:moveTo>
                <a:cubicBezTo>
                  <a:pt x="91" y="63"/>
                  <a:pt x="91" y="63"/>
                  <a:pt x="91" y="63"/>
                </a:cubicBezTo>
                <a:cubicBezTo>
                  <a:pt x="92" y="64"/>
                  <a:pt x="92" y="64"/>
                  <a:pt x="92" y="64"/>
                </a:cubicBezTo>
                <a:cubicBezTo>
                  <a:pt x="93" y="65"/>
                  <a:pt x="93" y="65"/>
                  <a:pt x="93" y="65"/>
                </a:cubicBezTo>
                <a:cubicBezTo>
                  <a:pt x="95" y="65"/>
                  <a:pt x="95" y="65"/>
                  <a:pt x="95" y="65"/>
                </a:cubicBezTo>
                <a:cubicBezTo>
                  <a:pt x="96" y="63"/>
                  <a:pt x="96" y="63"/>
                  <a:pt x="96" y="63"/>
                </a:cubicBezTo>
                <a:cubicBezTo>
                  <a:pt x="96" y="61"/>
                  <a:pt x="96" y="61"/>
                  <a:pt x="96" y="61"/>
                </a:cubicBezTo>
                <a:cubicBezTo>
                  <a:pt x="94" y="61"/>
                  <a:pt x="94" y="61"/>
                  <a:pt x="94" y="61"/>
                </a:cubicBezTo>
                <a:cubicBezTo>
                  <a:pt x="93" y="61"/>
                  <a:pt x="93" y="61"/>
                  <a:pt x="93" y="61"/>
                </a:cubicBezTo>
                <a:cubicBezTo>
                  <a:pt x="91" y="62"/>
                  <a:pt x="91" y="62"/>
                  <a:pt x="91" y="62"/>
                </a:cubicBezTo>
                <a:close/>
                <a:moveTo>
                  <a:pt x="91" y="65"/>
                </a:moveTo>
                <a:cubicBezTo>
                  <a:pt x="91" y="66"/>
                  <a:pt x="91" y="66"/>
                  <a:pt x="91" y="66"/>
                </a:cubicBezTo>
                <a:cubicBezTo>
                  <a:pt x="92" y="66"/>
                  <a:pt x="92" y="66"/>
                  <a:pt x="92" y="66"/>
                </a:cubicBezTo>
                <a:cubicBezTo>
                  <a:pt x="92" y="67"/>
                  <a:pt x="92" y="67"/>
                  <a:pt x="92" y="67"/>
                </a:cubicBezTo>
                <a:cubicBezTo>
                  <a:pt x="93" y="66"/>
                  <a:pt x="93" y="66"/>
                  <a:pt x="93" y="66"/>
                </a:cubicBezTo>
                <a:cubicBezTo>
                  <a:pt x="92" y="65"/>
                  <a:pt x="92" y="65"/>
                  <a:pt x="92" y="65"/>
                </a:cubicBezTo>
                <a:cubicBezTo>
                  <a:pt x="91" y="65"/>
                  <a:pt x="91" y="65"/>
                  <a:pt x="91" y="65"/>
                </a:cubicBezTo>
                <a:close/>
                <a:moveTo>
                  <a:pt x="91" y="25"/>
                </a:moveTo>
                <a:cubicBezTo>
                  <a:pt x="92" y="24"/>
                  <a:pt x="92" y="24"/>
                  <a:pt x="92" y="24"/>
                </a:cubicBezTo>
                <a:cubicBezTo>
                  <a:pt x="92" y="24"/>
                  <a:pt x="92" y="24"/>
                  <a:pt x="92" y="24"/>
                </a:cubicBezTo>
                <a:cubicBezTo>
                  <a:pt x="93" y="23"/>
                  <a:pt x="93" y="23"/>
                  <a:pt x="93" y="23"/>
                </a:cubicBezTo>
                <a:cubicBezTo>
                  <a:pt x="94" y="23"/>
                  <a:pt x="94" y="23"/>
                  <a:pt x="94" y="23"/>
                </a:cubicBezTo>
                <a:cubicBezTo>
                  <a:pt x="95" y="24"/>
                  <a:pt x="95" y="24"/>
                  <a:pt x="95" y="24"/>
                </a:cubicBezTo>
                <a:cubicBezTo>
                  <a:pt x="96" y="24"/>
                  <a:pt x="96" y="24"/>
                  <a:pt x="96" y="24"/>
                </a:cubicBezTo>
                <a:cubicBezTo>
                  <a:pt x="96" y="25"/>
                  <a:pt x="96" y="25"/>
                  <a:pt x="96" y="25"/>
                </a:cubicBezTo>
                <a:cubicBezTo>
                  <a:pt x="95" y="26"/>
                  <a:pt x="95" y="26"/>
                  <a:pt x="95" y="26"/>
                </a:cubicBezTo>
                <a:cubicBezTo>
                  <a:pt x="94" y="26"/>
                  <a:pt x="94" y="26"/>
                  <a:pt x="94" y="26"/>
                </a:cubicBezTo>
                <a:cubicBezTo>
                  <a:pt x="93" y="25"/>
                  <a:pt x="93" y="25"/>
                  <a:pt x="93" y="25"/>
                </a:cubicBezTo>
                <a:cubicBezTo>
                  <a:pt x="91" y="25"/>
                  <a:pt x="91" y="25"/>
                  <a:pt x="91" y="25"/>
                </a:cubicBezTo>
                <a:cubicBezTo>
                  <a:pt x="91" y="25"/>
                  <a:pt x="91" y="25"/>
                  <a:pt x="91" y="25"/>
                </a:cubicBezTo>
                <a:close/>
                <a:moveTo>
                  <a:pt x="93" y="42"/>
                </a:moveTo>
                <a:cubicBezTo>
                  <a:pt x="94" y="41"/>
                  <a:pt x="94" y="41"/>
                  <a:pt x="94" y="41"/>
                </a:cubicBezTo>
                <a:cubicBezTo>
                  <a:pt x="95" y="40"/>
                  <a:pt x="95" y="40"/>
                  <a:pt x="95" y="40"/>
                </a:cubicBezTo>
                <a:cubicBezTo>
                  <a:pt x="95" y="40"/>
                  <a:pt x="95" y="40"/>
                  <a:pt x="95" y="40"/>
                </a:cubicBezTo>
                <a:cubicBezTo>
                  <a:pt x="94" y="39"/>
                  <a:pt x="94" y="39"/>
                  <a:pt x="94" y="39"/>
                </a:cubicBezTo>
                <a:cubicBezTo>
                  <a:pt x="93" y="38"/>
                  <a:pt x="93" y="38"/>
                  <a:pt x="93" y="38"/>
                </a:cubicBezTo>
                <a:cubicBezTo>
                  <a:pt x="92" y="38"/>
                  <a:pt x="92" y="38"/>
                  <a:pt x="92" y="38"/>
                </a:cubicBezTo>
                <a:cubicBezTo>
                  <a:pt x="90" y="38"/>
                  <a:pt x="90" y="38"/>
                  <a:pt x="90" y="38"/>
                </a:cubicBezTo>
                <a:cubicBezTo>
                  <a:pt x="89" y="39"/>
                  <a:pt x="89" y="39"/>
                  <a:pt x="89" y="39"/>
                </a:cubicBezTo>
                <a:cubicBezTo>
                  <a:pt x="88" y="40"/>
                  <a:pt x="88" y="40"/>
                  <a:pt x="88" y="40"/>
                </a:cubicBezTo>
                <a:cubicBezTo>
                  <a:pt x="89" y="41"/>
                  <a:pt x="89" y="41"/>
                  <a:pt x="89" y="41"/>
                </a:cubicBezTo>
                <a:cubicBezTo>
                  <a:pt x="91" y="42"/>
                  <a:pt x="91" y="42"/>
                  <a:pt x="91" y="42"/>
                </a:cubicBezTo>
                <a:cubicBezTo>
                  <a:pt x="92" y="43"/>
                  <a:pt x="92" y="43"/>
                  <a:pt x="92" y="43"/>
                </a:cubicBezTo>
                <a:cubicBezTo>
                  <a:pt x="93" y="42"/>
                  <a:pt x="93" y="42"/>
                  <a:pt x="93" y="42"/>
                </a:cubicBezTo>
                <a:close/>
                <a:moveTo>
                  <a:pt x="96" y="40"/>
                </a:moveTo>
                <a:cubicBezTo>
                  <a:pt x="96" y="41"/>
                  <a:pt x="96" y="41"/>
                  <a:pt x="96" y="41"/>
                </a:cubicBezTo>
                <a:cubicBezTo>
                  <a:pt x="96" y="42"/>
                  <a:pt x="96" y="42"/>
                  <a:pt x="96" y="42"/>
                </a:cubicBezTo>
                <a:cubicBezTo>
                  <a:pt x="95" y="43"/>
                  <a:pt x="95" y="43"/>
                  <a:pt x="95" y="43"/>
                </a:cubicBezTo>
                <a:cubicBezTo>
                  <a:pt x="95" y="43"/>
                  <a:pt x="95" y="43"/>
                  <a:pt x="95" y="43"/>
                </a:cubicBezTo>
                <a:cubicBezTo>
                  <a:pt x="94" y="43"/>
                  <a:pt x="94" y="43"/>
                  <a:pt x="94" y="43"/>
                </a:cubicBezTo>
                <a:cubicBezTo>
                  <a:pt x="92" y="44"/>
                  <a:pt x="92" y="44"/>
                  <a:pt x="92" y="44"/>
                </a:cubicBezTo>
                <a:cubicBezTo>
                  <a:pt x="91" y="45"/>
                  <a:pt x="91" y="45"/>
                  <a:pt x="91" y="45"/>
                </a:cubicBezTo>
                <a:cubicBezTo>
                  <a:pt x="90" y="44"/>
                  <a:pt x="90" y="44"/>
                  <a:pt x="90" y="44"/>
                </a:cubicBezTo>
                <a:cubicBezTo>
                  <a:pt x="89" y="44"/>
                  <a:pt x="89" y="44"/>
                  <a:pt x="89" y="44"/>
                </a:cubicBezTo>
                <a:cubicBezTo>
                  <a:pt x="89" y="45"/>
                  <a:pt x="89" y="45"/>
                  <a:pt x="89" y="45"/>
                </a:cubicBezTo>
                <a:cubicBezTo>
                  <a:pt x="90" y="47"/>
                  <a:pt x="90" y="47"/>
                  <a:pt x="90" y="47"/>
                </a:cubicBezTo>
                <a:cubicBezTo>
                  <a:pt x="90" y="50"/>
                  <a:pt x="90" y="50"/>
                  <a:pt x="90" y="50"/>
                </a:cubicBezTo>
                <a:cubicBezTo>
                  <a:pt x="90" y="52"/>
                  <a:pt x="90" y="52"/>
                  <a:pt x="90" y="52"/>
                </a:cubicBezTo>
                <a:cubicBezTo>
                  <a:pt x="92" y="54"/>
                  <a:pt x="92" y="54"/>
                  <a:pt x="92" y="54"/>
                </a:cubicBezTo>
                <a:cubicBezTo>
                  <a:pt x="93" y="54"/>
                  <a:pt x="93" y="54"/>
                  <a:pt x="93" y="54"/>
                </a:cubicBezTo>
                <a:cubicBezTo>
                  <a:pt x="95" y="53"/>
                  <a:pt x="95" y="53"/>
                  <a:pt x="95" y="53"/>
                </a:cubicBezTo>
                <a:cubicBezTo>
                  <a:pt x="97" y="53"/>
                  <a:pt x="97" y="53"/>
                  <a:pt x="97" y="53"/>
                </a:cubicBezTo>
                <a:cubicBezTo>
                  <a:pt x="98" y="52"/>
                  <a:pt x="98" y="52"/>
                  <a:pt x="98" y="52"/>
                </a:cubicBezTo>
                <a:cubicBezTo>
                  <a:pt x="100" y="52"/>
                  <a:pt x="100" y="52"/>
                  <a:pt x="100" y="52"/>
                </a:cubicBezTo>
                <a:cubicBezTo>
                  <a:pt x="100" y="51"/>
                  <a:pt x="100" y="51"/>
                  <a:pt x="100" y="51"/>
                </a:cubicBezTo>
                <a:cubicBezTo>
                  <a:pt x="99" y="50"/>
                  <a:pt x="99" y="50"/>
                  <a:pt x="99" y="50"/>
                </a:cubicBezTo>
                <a:cubicBezTo>
                  <a:pt x="98" y="49"/>
                  <a:pt x="98" y="49"/>
                  <a:pt x="98" y="49"/>
                </a:cubicBezTo>
                <a:cubicBezTo>
                  <a:pt x="96" y="48"/>
                  <a:pt x="96" y="48"/>
                  <a:pt x="96" y="48"/>
                </a:cubicBezTo>
                <a:cubicBezTo>
                  <a:pt x="96" y="47"/>
                  <a:pt x="96" y="47"/>
                  <a:pt x="96" y="47"/>
                </a:cubicBezTo>
                <a:cubicBezTo>
                  <a:pt x="96" y="46"/>
                  <a:pt x="96" y="46"/>
                  <a:pt x="96" y="46"/>
                </a:cubicBezTo>
                <a:cubicBezTo>
                  <a:pt x="97" y="45"/>
                  <a:pt x="97" y="45"/>
                  <a:pt x="97" y="45"/>
                </a:cubicBezTo>
                <a:cubicBezTo>
                  <a:pt x="98" y="45"/>
                  <a:pt x="98" y="45"/>
                  <a:pt x="98" y="45"/>
                </a:cubicBezTo>
                <a:cubicBezTo>
                  <a:pt x="99" y="45"/>
                  <a:pt x="99" y="45"/>
                  <a:pt x="99" y="45"/>
                </a:cubicBezTo>
                <a:cubicBezTo>
                  <a:pt x="99" y="44"/>
                  <a:pt x="99" y="44"/>
                  <a:pt x="99" y="44"/>
                </a:cubicBezTo>
                <a:cubicBezTo>
                  <a:pt x="98" y="42"/>
                  <a:pt x="98" y="42"/>
                  <a:pt x="98" y="42"/>
                </a:cubicBezTo>
                <a:cubicBezTo>
                  <a:pt x="97" y="42"/>
                  <a:pt x="97" y="42"/>
                  <a:pt x="97" y="42"/>
                </a:cubicBezTo>
                <a:cubicBezTo>
                  <a:pt x="96" y="40"/>
                  <a:pt x="96" y="40"/>
                  <a:pt x="96" y="40"/>
                </a:cubicBezTo>
                <a:close/>
                <a:moveTo>
                  <a:pt x="102" y="43"/>
                </a:moveTo>
                <a:cubicBezTo>
                  <a:pt x="101" y="42"/>
                  <a:pt x="101" y="42"/>
                  <a:pt x="101" y="42"/>
                </a:cubicBezTo>
                <a:cubicBezTo>
                  <a:pt x="101" y="41"/>
                  <a:pt x="101" y="41"/>
                  <a:pt x="101" y="41"/>
                </a:cubicBezTo>
                <a:cubicBezTo>
                  <a:pt x="100" y="40"/>
                  <a:pt x="100" y="40"/>
                  <a:pt x="100" y="40"/>
                </a:cubicBezTo>
                <a:cubicBezTo>
                  <a:pt x="99" y="40"/>
                  <a:pt x="99" y="40"/>
                  <a:pt x="99" y="40"/>
                </a:cubicBezTo>
                <a:cubicBezTo>
                  <a:pt x="98" y="39"/>
                  <a:pt x="98" y="39"/>
                  <a:pt x="98" y="39"/>
                </a:cubicBezTo>
                <a:cubicBezTo>
                  <a:pt x="98" y="38"/>
                  <a:pt x="98" y="38"/>
                  <a:pt x="98" y="38"/>
                </a:cubicBezTo>
                <a:cubicBezTo>
                  <a:pt x="98" y="37"/>
                  <a:pt x="98" y="37"/>
                  <a:pt x="98" y="37"/>
                </a:cubicBezTo>
                <a:cubicBezTo>
                  <a:pt x="98" y="36"/>
                  <a:pt x="98" y="36"/>
                  <a:pt x="98" y="36"/>
                </a:cubicBezTo>
                <a:cubicBezTo>
                  <a:pt x="97" y="34"/>
                  <a:pt x="97" y="34"/>
                  <a:pt x="97" y="34"/>
                </a:cubicBezTo>
                <a:cubicBezTo>
                  <a:pt x="98" y="33"/>
                  <a:pt x="98" y="33"/>
                  <a:pt x="98" y="33"/>
                </a:cubicBezTo>
                <a:cubicBezTo>
                  <a:pt x="99" y="32"/>
                  <a:pt x="99" y="32"/>
                  <a:pt x="99" y="32"/>
                </a:cubicBezTo>
                <a:cubicBezTo>
                  <a:pt x="100" y="30"/>
                  <a:pt x="100" y="30"/>
                  <a:pt x="100" y="30"/>
                </a:cubicBezTo>
                <a:cubicBezTo>
                  <a:pt x="100" y="30"/>
                  <a:pt x="100" y="30"/>
                  <a:pt x="100" y="30"/>
                </a:cubicBezTo>
                <a:cubicBezTo>
                  <a:pt x="100" y="29"/>
                  <a:pt x="100" y="29"/>
                  <a:pt x="100" y="29"/>
                </a:cubicBezTo>
                <a:cubicBezTo>
                  <a:pt x="101" y="29"/>
                  <a:pt x="101" y="29"/>
                  <a:pt x="101" y="29"/>
                </a:cubicBezTo>
                <a:cubicBezTo>
                  <a:pt x="102" y="29"/>
                  <a:pt x="102" y="29"/>
                  <a:pt x="102" y="29"/>
                </a:cubicBezTo>
                <a:cubicBezTo>
                  <a:pt x="103" y="29"/>
                  <a:pt x="103" y="29"/>
                  <a:pt x="103" y="29"/>
                </a:cubicBezTo>
                <a:cubicBezTo>
                  <a:pt x="104" y="31"/>
                  <a:pt x="104" y="31"/>
                  <a:pt x="104" y="31"/>
                </a:cubicBezTo>
                <a:cubicBezTo>
                  <a:pt x="104" y="33"/>
                  <a:pt x="104" y="33"/>
                  <a:pt x="104" y="33"/>
                </a:cubicBezTo>
                <a:cubicBezTo>
                  <a:pt x="104" y="33"/>
                  <a:pt x="104" y="33"/>
                  <a:pt x="104" y="33"/>
                </a:cubicBezTo>
                <a:cubicBezTo>
                  <a:pt x="105" y="34"/>
                  <a:pt x="105" y="34"/>
                  <a:pt x="105" y="34"/>
                </a:cubicBezTo>
                <a:cubicBezTo>
                  <a:pt x="107" y="35"/>
                  <a:pt x="107" y="35"/>
                  <a:pt x="107" y="35"/>
                </a:cubicBezTo>
                <a:cubicBezTo>
                  <a:pt x="107" y="35"/>
                  <a:pt x="107" y="35"/>
                  <a:pt x="107" y="35"/>
                </a:cubicBezTo>
                <a:cubicBezTo>
                  <a:pt x="107" y="36"/>
                  <a:pt x="107" y="36"/>
                  <a:pt x="107" y="36"/>
                </a:cubicBezTo>
                <a:cubicBezTo>
                  <a:pt x="105" y="37"/>
                  <a:pt x="105" y="37"/>
                  <a:pt x="105" y="37"/>
                </a:cubicBezTo>
                <a:cubicBezTo>
                  <a:pt x="103" y="38"/>
                  <a:pt x="103" y="38"/>
                  <a:pt x="103" y="38"/>
                </a:cubicBezTo>
                <a:cubicBezTo>
                  <a:pt x="103" y="39"/>
                  <a:pt x="103" y="39"/>
                  <a:pt x="103" y="39"/>
                </a:cubicBezTo>
                <a:cubicBezTo>
                  <a:pt x="103" y="40"/>
                  <a:pt x="103" y="40"/>
                  <a:pt x="103" y="40"/>
                </a:cubicBezTo>
                <a:cubicBezTo>
                  <a:pt x="103" y="41"/>
                  <a:pt x="103" y="41"/>
                  <a:pt x="103" y="41"/>
                </a:cubicBezTo>
                <a:cubicBezTo>
                  <a:pt x="102" y="43"/>
                  <a:pt x="102" y="43"/>
                  <a:pt x="102" y="43"/>
                </a:cubicBezTo>
                <a:close/>
                <a:moveTo>
                  <a:pt x="641" y="78"/>
                </a:moveTo>
                <a:cubicBezTo>
                  <a:pt x="642" y="78"/>
                  <a:pt x="642" y="78"/>
                  <a:pt x="642" y="78"/>
                </a:cubicBezTo>
                <a:cubicBezTo>
                  <a:pt x="642" y="77"/>
                  <a:pt x="642" y="77"/>
                  <a:pt x="642" y="77"/>
                </a:cubicBezTo>
                <a:cubicBezTo>
                  <a:pt x="641" y="77"/>
                  <a:pt x="641" y="77"/>
                  <a:pt x="641" y="77"/>
                </a:cubicBezTo>
                <a:cubicBezTo>
                  <a:pt x="641" y="77"/>
                  <a:pt x="641" y="77"/>
                  <a:pt x="641" y="77"/>
                </a:cubicBezTo>
                <a:cubicBezTo>
                  <a:pt x="641" y="78"/>
                  <a:pt x="641" y="78"/>
                  <a:pt x="641" y="78"/>
                </a:cubicBezTo>
                <a:close/>
                <a:moveTo>
                  <a:pt x="636" y="77"/>
                </a:moveTo>
                <a:cubicBezTo>
                  <a:pt x="637" y="77"/>
                  <a:pt x="637" y="77"/>
                  <a:pt x="637" y="77"/>
                </a:cubicBezTo>
                <a:cubicBezTo>
                  <a:pt x="637" y="76"/>
                  <a:pt x="637" y="76"/>
                  <a:pt x="637" y="76"/>
                </a:cubicBezTo>
                <a:cubicBezTo>
                  <a:pt x="636" y="76"/>
                  <a:pt x="636" y="76"/>
                  <a:pt x="636" y="76"/>
                </a:cubicBezTo>
                <a:cubicBezTo>
                  <a:pt x="636" y="76"/>
                  <a:pt x="636" y="76"/>
                  <a:pt x="636" y="76"/>
                </a:cubicBezTo>
                <a:cubicBezTo>
                  <a:pt x="636" y="77"/>
                  <a:pt x="636" y="77"/>
                  <a:pt x="636" y="77"/>
                </a:cubicBezTo>
                <a:close/>
                <a:moveTo>
                  <a:pt x="632" y="79"/>
                </a:moveTo>
                <a:cubicBezTo>
                  <a:pt x="632" y="79"/>
                  <a:pt x="632" y="79"/>
                  <a:pt x="632" y="79"/>
                </a:cubicBezTo>
                <a:cubicBezTo>
                  <a:pt x="633" y="78"/>
                  <a:pt x="633" y="78"/>
                  <a:pt x="633" y="78"/>
                </a:cubicBezTo>
                <a:cubicBezTo>
                  <a:pt x="632" y="77"/>
                  <a:pt x="632" y="77"/>
                  <a:pt x="632" y="77"/>
                </a:cubicBezTo>
                <a:cubicBezTo>
                  <a:pt x="631" y="77"/>
                  <a:pt x="631" y="77"/>
                  <a:pt x="631" y="77"/>
                </a:cubicBezTo>
                <a:cubicBezTo>
                  <a:pt x="631" y="78"/>
                  <a:pt x="631" y="78"/>
                  <a:pt x="631" y="78"/>
                </a:cubicBezTo>
                <a:cubicBezTo>
                  <a:pt x="632" y="79"/>
                  <a:pt x="632" y="79"/>
                  <a:pt x="632" y="79"/>
                </a:cubicBezTo>
                <a:close/>
                <a:moveTo>
                  <a:pt x="741" y="212"/>
                </a:moveTo>
                <a:cubicBezTo>
                  <a:pt x="740" y="212"/>
                  <a:pt x="740" y="212"/>
                  <a:pt x="740" y="212"/>
                </a:cubicBezTo>
                <a:cubicBezTo>
                  <a:pt x="741" y="214"/>
                  <a:pt x="741" y="214"/>
                  <a:pt x="741" y="214"/>
                </a:cubicBezTo>
                <a:cubicBezTo>
                  <a:pt x="741" y="213"/>
                  <a:pt x="741" y="213"/>
                  <a:pt x="741" y="213"/>
                </a:cubicBezTo>
                <a:cubicBezTo>
                  <a:pt x="741" y="212"/>
                  <a:pt x="741" y="212"/>
                  <a:pt x="741" y="212"/>
                </a:cubicBezTo>
                <a:cubicBezTo>
                  <a:pt x="741" y="212"/>
                  <a:pt x="741" y="212"/>
                  <a:pt x="741" y="212"/>
                </a:cubicBezTo>
                <a:cubicBezTo>
                  <a:pt x="741" y="212"/>
                  <a:pt x="741" y="212"/>
                  <a:pt x="741" y="212"/>
                </a:cubicBezTo>
                <a:close/>
                <a:moveTo>
                  <a:pt x="739" y="210"/>
                </a:moveTo>
                <a:cubicBezTo>
                  <a:pt x="740" y="211"/>
                  <a:pt x="740" y="211"/>
                  <a:pt x="740" y="211"/>
                </a:cubicBezTo>
                <a:cubicBezTo>
                  <a:pt x="741" y="211"/>
                  <a:pt x="741" y="211"/>
                  <a:pt x="741" y="211"/>
                </a:cubicBezTo>
                <a:cubicBezTo>
                  <a:pt x="741" y="210"/>
                  <a:pt x="741" y="210"/>
                  <a:pt x="741" y="210"/>
                </a:cubicBezTo>
                <a:cubicBezTo>
                  <a:pt x="740" y="209"/>
                  <a:pt x="740" y="209"/>
                  <a:pt x="740" y="209"/>
                </a:cubicBezTo>
                <a:cubicBezTo>
                  <a:pt x="739" y="209"/>
                  <a:pt x="739" y="209"/>
                  <a:pt x="739" y="209"/>
                </a:cubicBezTo>
                <a:cubicBezTo>
                  <a:pt x="739" y="210"/>
                  <a:pt x="739" y="210"/>
                  <a:pt x="739" y="210"/>
                </a:cubicBezTo>
                <a:close/>
                <a:moveTo>
                  <a:pt x="117" y="133"/>
                </a:moveTo>
                <a:cubicBezTo>
                  <a:pt x="118" y="133"/>
                  <a:pt x="118" y="133"/>
                  <a:pt x="118" y="133"/>
                </a:cubicBezTo>
                <a:cubicBezTo>
                  <a:pt x="118" y="133"/>
                  <a:pt x="118" y="133"/>
                  <a:pt x="118" y="133"/>
                </a:cubicBezTo>
                <a:cubicBezTo>
                  <a:pt x="120" y="131"/>
                  <a:pt x="120" y="131"/>
                  <a:pt x="120" y="131"/>
                </a:cubicBezTo>
                <a:cubicBezTo>
                  <a:pt x="120" y="131"/>
                  <a:pt x="120" y="131"/>
                  <a:pt x="120" y="131"/>
                </a:cubicBezTo>
                <a:cubicBezTo>
                  <a:pt x="120" y="131"/>
                  <a:pt x="120" y="131"/>
                  <a:pt x="120" y="131"/>
                </a:cubicBezTo>
                <a:cubicBezTo>
                  <a:pt x="118" y="132"/>
                  <a:pt x="118" y="132"/>
                  <a:pt x="118" y="132"/>
                </a:cubicBezTo>
                <a:cubicBezTo>
                  <a:pt x="118" y="132"/>
                  <a:pt x="118" y="132"/>
                  <a:pt x="118" y="132"/>
                </a:cubicBezTo>
                <a:cubicBezTo>
                  <a:pt x="117" y="133"/>
                  <a:pt x="117" y="133"/>
                  <a:pt x="117" y="133"/>
                </a:cubicBezTo>
                <a:cubicBezTo>
                  <a:pt x="117" y="133"/>
                  <a:pt x="117" y="133"/>
                  <a:pt x="117" y="133"/>
                </a:cubicBezTo>
                <a:close/>
                <a:moveTo>
                  <a:pt x="110" y="174"/>
                </a:moveTo>
                <a:cubicBezTo>
                  <a:pt x="112" y="174"/>
                  <a:pt x="112" y="174"/>
                  <a:pt x="112" y="174"/>
                </a:cubicBezTo>
                <a:cubicBezTo>
                  <a:pt x="113" y="173"/>
                  <a:pt x="113" y="173"/>
                  <a:pt x="113" y="173"/>
                </a:cubicBezTo>
                <a:cubicBezTo>
                  <a:pt x="115" y="172"/>
                  <a:pt x="115" y="172"/>
                  <a:pt x="115" y="172"/>
                </a:cubicBezTo>
                <a:cubicBezTo>
                  <a:pt x="116" y="172"/>
                  <a:pt x="116" y="172"/>
                  <a:pt x="116" y="172"/>
                </a:cubicBezTo>
                <a:cubicBezTo>
                  <a:pt x="117" y="173"/>
                  <a:pt x="117" y="173"/>
                  <a:pt x="117" y="173"/>
                </a:cubicBezTo>
                <a:cubicBezTo>
                  <a:pt x="118" y="173"/>
                  <a:pt x="118" y="173"/>
                  <a:pt x="118" y="173"/>
                </a:cubicBezTo>
                <a:cubicBezTo>
                  <a:pt x="119" y="173"/>
                  <a:pt x="119" y="173"/>
                  <a:pt x="119" y="173"/>
                </a:cubicBezTo>
                <a:cubicBezTo>
                  <a:pt x="118" y="172"/>
                  <a:pt x="118" y="172"/>
                  <a:pt x="118" y="172"/>
                </a:cubicBezTo>
                <a:cubicBezTo>
                  <a:pt x="119" y="171"/>
                  <a:pt x="119" y="171"/>
                  <a:pt x="119" y="171"/>
                </a:cubicBezTo>
                <a:cubicBezTo>
                  <a:pt x="119" y="172"/>
                  <a:pt x="119" y="172"/>
                  <a:pt x="119" y="172"/>
                </a:cubicBezTo>
                <a:cubicBezTo>
                  <a:pt x="120" y="173"/>
                  <a:pt x="120" y="173"/>
                  <a:pt x="120" y="173"/>
                </a:cubicBezTo>
                <a:cubicBezTo>
                  <a:pt x="121" y="173"/>
                  <a:pt x="121" y="173"/>
                  <a:pt x="121" y="173"/>
                </a:cubicBezTo>
                <a:cubicBezTo>
                  <a:pt x="123" y="173"/>
                  <a:pt x="123" y="173"/>
                  <a:pt x="123" y="173"/>
                </a:cubicBezTo>
                <a:cubicBezTo>
                  <a:pt x="123" y="173"/>
                  <a:pt x="123" y="173"/>
                  <a:pt x="123" y="173"/>
                </a:cubicBezTo>
                <a:cubicBezTo>
                  <a:pt x="124" y="172"/>
                  <a:pt x="124" y="172"/>
                  <a:pt x="124" y="172"/>
                </a:cubicBezTo>
                <a:cubicBezTo>
                  <a:pt x="124" y="171"/>
                  <a:pt x="124" y="171"/>
                  <a:pt x="124" y="171"/>
                </a:cubicBezTo>
                <a:cubicBezTo>
                  <a:pt x="124" y="169"/>
                  <a:pt x="124" y="169"/>
                  <a:pt x="124" y="169"/>
                </a:cubicBezTo>
                <a:cubicBezTo>
                  <a:pt x="125" y="168"/>
                  <a:pt x="125" y="168"/>
                  <a:pt x="125" y="168"/>
                </a:cubicBezTo>
                <a:cubicBezTo>
                  <a:pt x="125" y="167"/>
                  <a:pt x="125" y="167"/>
                  <a:pt x="125" y="167"/>
                </a:cubicBezTo>
                <a:cubicBezTo>
                  <a:pt x="124" y="166"/>
                  <a:pt x="124" y="166"/>
                  <a:pt x="124" y="166"/>
                </a:cubicBezTo>
                <a:cubicBezTo>
                  <a:pt x="124" y="165"/>
                  <a:pt x="124" y="165"/>
                  <a:pt x="124" y="165"/>
                </a:cubicBezTo>
                <a:cubicBezTo>
                  <a:pt x="123" y="164"/>
                  <a:pt x="123" y="164"/>
                  <a:pt x="123" y="164"/>
                </a:cubicBezTo>
                <a:cubicBezTo>
                  <a:pt x="122" y="164"/>
                  <a:pt x="122" y="164"/>
                  <a:pt x="122" y="164"/>
                </a:cubicBezTo>
                <a:cubicBezTo>
                  <a:pt x="121" y="164"/>
                  <a:pt x="121" y="164"/>
                  <a:pt x="121" y="164"/>
                </a:cubicBezTo>
                <a:cubicBezTo>
                  <a:pt x="122" y="163"/>
                  <a:pt x="122" y="163"/>
                  <a:pt x="122" y="163"/>
                </a:cubicBezTo>
                <a:cubicBezTo>
                  <a:pt x="123" y="164"/>
                  <a:pt x="123" y="164"/>
                  <a:pt x="123" y="164"/>
                </a:cubicBezTo>
                <a:cubicBezTo>
                  <a:pt x="124" y="163"/>
                  <a:pt x="124" y="163"/>
                  <a:pt x="124" y="163"/>
                </a:cubicBezTo>
                <a:cubicBezTo>
                  <a:pt x="125" y="164"/>
                  <a:pt x="125" y="164"/>
                  <a:pt x="125" y="164"/>
                </a:cubicBezTo>
                <a:cubicBezTo>
                  <a:pt x="125" y="165"/>
                  <a:pt x="125" y="165"/>
                  <a:pt x="125" y="165"/>
                </a:cubicBezTo>
                <a:cubicBezTo>
                  <a:pt x="125" y="166"/>
                  <a:pt x="125" y="166"/>
                  <a:pt x="125" y="166"/>
                </a:cubicBezTo>
                <a:cubicBezTo>
                  <a:pt x="126" y="165"/>
                  <a:pt x="126" y="165"/>
                  <a:pt x="126" y="165"/>
                </a:cubicBezTo>
                <a:cubicBezTo>
                  <a:pt x="125" y="163"/>
                  <a:pt x="125" y="163"/>
                  <a:pt x="125" y="163"/>
                </a:cubicBezTo>
                <a:cubicBezTo>
                  <a:pt x="124" y="161"/>
                  <a:pt x="124" y="161"/>
                  <a:pt x="124" y="161"/>
                </a:cubicBezTo>
                <a:cubicBezTo>
                  <a:pt x="123" y="159"/>
                  <a:pt x="123" y="159"/>
                  <a:pt x="123" y="159"/>
                </a:cubicBezTo>
                <a:cubicBezTo>
                  <a:pt x="123" y="159"/>
                  <a:pt x="123" y="159"/>
                  <a:pt x="123" y="159"/>
                </a:cubicBezTo>
                <a:cubicBezTo>
                  <a:pt x="124" y="160"/>
                  <a:pt x="124" y="160"/>
                  <a:pt x="124" y="160"/>
                </a:cubicBezTo>
                <a:cubicBezTo>
                  <a:pt x="124" y="161"/>
                  <a:pt x="124" y="161"/>
                  <a:pt x="124" y="161"/>
                </a:cubicBezTo>
                <a:cubicBezTo>
                  <a:pt x="125" y="161"/>
                  <a:pt x="125" y="161"/>
                  <a:pt x="125" y="161"/>
                </a:cubicBezTo>
                <a:cubicBezTo>
                  <a:pt x="126" y="162"/>
                  <a:pt x="126" y="162"/>
                  <a:pt x="126" y="162"/>
                </a:cubicBezTo>
                <a:cubicBezTo>
                  <a:pt x="127" y="161"/>
                  <a:pt x="127" y="161"/>
                  <a:pt x="127" y="161"/>
                </a:cubicBezTo>
                <a:cubicBezTo>
                  <a:pt x="127" y="160"/>
                  <a:pt x="127" y="160"/>
                  <a:pt x="127" y="160"/>
                </a:cubicBezTo>
                <a:cubicBezTo>
                  <a:pt x="126" y="159"/>
                  <a:pt x="126" y="159"/>
                  <a:pt x="126" y="159"/>
                </a:cubicBezTo>
                <a:cubicBezTo>
                  <a:pt x="126" y="159"/>
                  <a:pt x="126" y="159"/>
                  <a:pt x="126" y="159"/>
                </a:cubicBezTo>
                <a:cubicBezTo>
                  <a:pt x="127" y="157"/>
                  <a:pt x="127" y="157"/>
                  <a:pt x="127" y="157"/>
                </a:cubicBezTo>
                <a:cubicBezTo>
                  <a:pt x="127" y="156"/>
                  <a:pt x="127" y="156"/>
                  <a:pt x="127" y="156"/>
                </a:cubicBezTo>
                <a:cubicBezTo>
                  <a:pt x="126" y="155"/>
                  <a:pt x="126" y="155"/>
                  <a:pt x="126" y="155"/>
                </a:cubicBezTo>
                <a:cubicBezTo>
                  <a:pt x="124" y="153"/>
                  <a:pt x="124" y="153"/>
                  <a:pt x="124" y="153"/>
                </a:cubicBezTo>
                <a:cubicBezTo>
                  <a:pt x="125" y="153"/>
                  <a:pt x="125" y="153"/>
                  <a:pt x="125" y="153"/>
                </a:cubicBezTo>
                <a:cubicBezTo>
                  <a:pt x="126" y="154"/>
                  <a:pt x="126" y="154"/>
                  <a:pt x="126" y="154"/>
                </a:cubicBezTo>
                <a:cubicBezTo>
                  <a:pt x="127" y="154"/>
                  <a:pt x="127" y="154"/>
                  <a:pt x="127" y="154"/>
                </a:cubicBezTo>
                <a:cubicBezTo>
                  <a:pt x="128" y="153"/>
                  <a:pt x="128" y="153"/>
                  <a:pt x="128" y="153"/>
                </a:cubicBezTo>
                <a:cubicBezTo>
                  <a:pt x="127" y="152"/>
                  <a:pt x="127" y="152"/>
                  <a:pt x="127" y="152"/>
                </a:cubicBezTo>
                <a:cubicBezTo>
                  <a:pt x="127" y="152"/>
                  <a:pt x="127" y="152"/>
                  <a:pt x="127" y="152"/>
                </a:cubicBezTo>
                <a:cubicBezTo>
                  <a:pt x="127" y="151"/>
                  <a:pt x="127" y="151"/>
                  <a:pt x="127" y="151"/>
                </a:cubicBezTo>
                <a:cubicBezTo>
                  <a:pt x="127" y="150"/>
                  <a:pt x="127" y="150"/>
                  <a:pt x="127" y="150"/>
                </a:cubicBezTo>
                <a:cubicBezTo>
                  <a:pt x="129" y="151"/>
                  <a:pt x="129" y="151"/>
                  <a:pt x="129" y="151"/>
                </a:cubicBezTo>
                <a:cubicBezTo>
                  <a:pt x="130" y="152"/>
                  <a:pt x="130" y="152"/>
                  <a:pt x="130" y="152"/>
                </a:cubicBezTo>
                <a:cubicBezTo>
                  <a:pt x="131" y="151"/>
                  <a:pt x="131" y="151"/>
                  <a:pt x="131" y="151"/>
                </a:cubicBezTo>
                <a:cubicBezTo>
                  <a:pt x="130" y="151"/>
                  <a:pt x="130" y="151"/>
                  <a:pt x="130" y="151"/>
                </a:cubicBezTo>
                <a:cubicBezTo>
                  <a:pt x="130" y="150"/>
                  <a:pt x="130" y="150"/>
                  <a:pt x="130" y="150"/>
                </a:cubicBezTo>
                <a:cubicBezTo>
                  <a:pt x="131" y="150"/>
                  <a:pt x="131" y="150"/>
                  <a:pt x="131" y="150"/>
                </a:cubicBezTo>
                <a:cubicBezTo>
                  <a:pt x="131" y="150"/>
                  <a:pt x="131" y="150"/>
                  <a:pt x="131" y="150"/>
                </a:cubicBezTo>
                <a:cubicBezTo>
                  <a:pt x="132" y="149"/>
                  <a:pt x="132" y="149"/>
                  <a:pt x="132" y="149"/>
                </a:cubicBezTo>
                <a:cubicBezTo>
                  <a:pt x="132" y="148"/>
                  <a:pt x="132" y="148"/>
                  <a:pt x="132" y="148"/>
                </a:cubicBezTo>
                <a:cubicBezTo>
                  <a:pt x="132" y="148"/>
                  <a:pt x="132" y="148"/>
                  <a:pt x="132" y="148"/>
                </a:cubicBezTo>
                <a:cubicBezTo>
                  <a:pt x="132" y="147"/>
                  <a:pt x="132" y="147"/>
                  <a:pt x="132" y="147"/>
                </a:cubicBezTo>
                <a:cubicBezTo>
                  <a:pt x="134" y="146"/>
                  <a:pt x="134" y="146"/>
                  <a:pt x="134" y="146"/>
                </a:cubicBezTo>
                <a:cubicBezTo>
                  <a:pt x="134" y="146"/>
                  <a:pt x="134" y="146"/>
                  <a:pt x="134" y="146"/>
                </a:cubicBezTo>
                <a:cubicBezTo>
                  <a:pt x="133" y="145"/>
                  <a:pt x="133" y="145"/>
                  <a:pt x="133" y="145"/>
                </a:cubicBezTo>
                <a:cubicBezTo>
                  <a:pt x="133" y="144"/>
                  <a:pt x="133" y="144"/>
                  <a:pt x="133" y="144"/>
                </a:cubicBezTo>
                <a:cubicBezTo>
                  <a:pt x="133" y="143"/>
                  <a:pt x="133" y="143"/>
                  <a:pt x="133" y="143"/>
                </a:cubicBezTo>
                <a:cubicBezTo>
                  <a:pt x="134" y="144"/>
                  <a:pt x="134" y="144"/>
                  <a:pt x="134" y="144"/>
                </a:cubicBezTo>
                <a:cubicBezTo>
                  <a:pt x="135" y="143"/>
                  <a:pt x="135" y="143"/>
                  <a:pt x="135" y="143"/>
                </a:cubicBezTo>
                <a:cubicBezTo>
                  <a:pt x="136" y="141"/>
                  <a:pt x="136" y="141"/>
                  <a:pt x="136" y="141"/>
                </a:cubicBezTo>
                <a:cubicBezTo>
                  <a:pt x="137" y="140"/>
                  <a:pt x="137" y="140"/>
                  <a:pt x="137" y="140"/>
                </a:cubicBezTo>
                <a:cubicBezTo>
                  <a:pt x="138" y="139"/>
                  <a:pt x="138" y="139"/>
                  <a:pt x="138" y="139"/>
                </a:cubicBezTo>
                <a:cubicBezTo>
                  <a:pt x="138" y="137"/>
                  <a:pt x="138" y="137"/>
                  <a:pt x="138" y="137"/>
                </a:cubicBezTo>
                <a:cubicBezTo>
                  <a:pt x="139" y="136"/>
                  <a:pt x="139" y="136"/>
                  <a:pt x="139" y="136"/>
                </a:cubicBezTo>
                <a:cubicBezTo>
                  <a:pt x="140" y="135"/>
                  <a:pt x="140" y="135"/>
                  <a:pt x="140" y="135"/>
                </a:cubicBezTo>
                <a:cubicBezTo>
                  <a:pt x="141" y="132"/>
                  <a:pt x="141" y="132"/>
                  <a:pt x="141" y="132"/>
                </a:cubicBezTo>
                <a:cubicBezTo>
                  <a:pt x="142" y="132"/>
                  <a:pt x="142" y="132"/>
                  <a:pt x="142" y="132"/>
                </a:cubicBezTo>
                <a:cubicBezTo>
                  <a:pt x="145" y="130"/>
                  <a:pt x="145" y="130"/>
                  <a:pt x="145" y="130"/>
                </a:cubicBezTo>
                <a:cubicBezTo>
                  <a:pt x="147" y="128"/>
                  <a:pt x="147" y="128"/>
                  <a:pt x="147" y="128"/>
                </a:cubicBezTo>
                <a:cubicBezTo>
                  <a:pt x="149" y="126"/>
                  <a:pt x="149" y="126"/>
                  <a:pt x="149" y="126"/>
                </a:cubicBezTo>
                <a:cubicBezTo>
                  <a:pt x="150" y="126"/>
                  <a:pt x="150" y="126"/>
                  <a:pt x="150" y="126"/>
                </a:cubicBezTo>
                <a:cubicBezTo>
                  <a:pt x="151" y="124"/>
                  <a:pt x="151" y="124"/>
                  <a:pt x="151" y="124"/>
                </a:cubicBezTo>
                <a:cubicBezTo>
                  <a:pt x="153" y="124"/>
                  <a:pt x="153" y="124"/>
                  <a:pt x="153" y="124"/>
                </a:cubicBezTo>
                <a:cubicBezTo>
                  <a:pt x="155" y="123"/>
                  <a:pt x="155" y="123"/>
                  <a:pt x="155" y="123"/>
                </a:cubicBezTo>
                <a:cubicBezTo>
                  <a:pt x="156" y="121"/>
                  <a:pt x="156" y="121"/>
                  <a:pt x="156" y="121"/>
                </a:cubicBezTo>
                <a:cubicBezTo>
                  <a:pt x="157" y="120"/>
                  <a:pt x="157" y="120"/>
                  <a:pt x="157" y="120"/>
                </a:cubicBezTo>
                <a:cubicBezTo>
                  <a:pt x="158" y="120"/>
                  <a:pt x="158" y="120"/>
                  <a:pt x="158" y="120"/>
                </a:cubicBezTo>
                <a:cubicBezTo>
                  <a:pt x="159" y="120"/>
                  <a:pt x="159" y="120"/>
                  <a:pt x="159" y="120"/>
                </a:cubicBezTo>
                <a:cubicBezTo>
                  <a:pt x="159" y="119"/>
                  <a:pt x="159" y="119"/>
                  <a:pt x="159" y="119"/>
                </a:cubicBezTo>
                <a:cubicBezTo>
                  <a:pt x="159" y="118"/>
                  <a:pt x="159" y="118"/>
                  <a:pt x="159" y="118"/>
                </a:cubicBezTo>
                <a:cubicBezTo>
                  <a:pt x="159" y="117"/>
                  <a:pt x="159" y="117"/>
                  <a:pt x="159" y="117"/>
                </a:cubicBezTo>
                <a:cubicBezTo>
                  <a:pt x="159" y="116"/>
                  <a:pt x="159" y="116"/>
                  <a:pt x="159" y="116"/>
                </a:cubicBezTo>
                <a:cubicBezTo>
                  <a:pt x="159" y="114"/>
                  <a:pt x="159" y="114"/>
                  <a:pt x="159" y="114"/>
                </a:cubicBezTo>
                <a:cubicBezTo>
                  <a:pt x="159" y="114"/>
                  <a:pt x="159" y="114"/>
                  <a:pt x="159" y="114"/>
                </a:cubicBezTo>
                <a:cubicBezTo>
                  <a:pt x="158" y="114"/>
                  <a:pt x="158" y="114"/>
                  <a:pt x="158" y="114"/>
                </a:cubicBezTo>
                <a:cubicBezTo>
                  <a:pt x="158" y="112"/>
                  <a:pt x="158" y="112"/>
                  <a:pt x="158" y="112"/>
                </a:cubicBezTo>
                <a:cubicBezTo>
                  <a:pt x="158" y="111"/>
                  <a:pt x="158" y="111"/>
                  <a:pt x="158" y="111"/>
                </a:cubicBezTo>
                <a:cubicBezTo>
                  <a:pt x="158" y="110"/>
                  <a:pt x="158" y="110"/>
                  <a:pt x="158" y="110"/>
                </a:cubicBezTo>
                <a:cubicBezTo>
                  <a:pt x="157" y="110"/>
                  <a:pt x="157" y="110"/>
                  <a:pt x="157" y="110"/>
                </a:cubicBezTo>
                <a:cubicBezTo>
                  <a:pt x="156" y="109"/>
                  <a:pt x="156" y="109"/>
                  <a:pt x="156" y="109"/>
                </a:cubicBezTo>
                <a:cubicBezTo>
                  <a:pt x="155" y="109"/>
                  <a:pt x="155" y="109"/>
                  <a:pt x="155" y="109"/>
                </a:cubicBezTo>
                <a:cubicBezTo>
                  <a:pt x="154" y="108"/>
                  <a:pt x="154" y="108"/>
                  <a:pt x="154" y="108"/>
                </a:cubicBezTo>
                <a:cubicBezTo>
                  <a:pt x="154" y="107"/>
                  <a:pt x="154" y="107"/>
                  <a:pt x="154" y="107"/>
                </a:cubicBezTo>
                <a:cubicBezTo>
                  <a:pt x="154" y="107"/>
                  <a:pt x="154" y="107"/>
                  <a:pt x="154" y="107"/>
                </a:cubicBezTo>
                <a:cubicBezTo>
                  <a:pt x="152" y="108"/>
                  <a:pt x="152" y="108"/>
                  <a:pt x="152" y="108"/>
                </a:cubicBezTo>
                <a:cubicBezTo>
                  <a:pt x="152" y="108"/>
                  <a:pt x="152" y="108"/>
                  <a:pt x="152" y="108"/>
                </a:cubicBezTo>
                <a:cubicBezTo>
                  <a:pt x="151" y="108"/>
                  <a:pt x="151" y="108"/>
                  <a:pt x="151" y="108"/>
                </a:cubicBezTo>
                <a:cubicBezTo>
                  <a:pt x="150" y="107"/>
                  <a:pt x="150" y="107"/>
                  <a:pt x="150" y="107"/>
                </a:cubicBezTo>
                <a:cubicBezTo>
                  <a:pt x="149" y="108"/>
                  <a:pt x="149" y="108"/>
                  <a:pt x="149" y="108"/>
                </a:cubicBezTo>
                <a:cubicBezTo>
                  <a:pt x="148" y="109"/>
                  <a:pt x="148" y="109"/>
                  <a:pt x="148" y="109"/>
                </a:cubicBezTo>
                <a:cubicBezTo>
                  <a:pt x="147" y="110"/>
                  <a:pt x="147" y="110"/>
                  <a:pt x="147" y="110"/>
                </a:cubicBezTo>
                <a:cubicBezTo>
                  <a:pt x="147" y="110"/>
                  <a:pt x="147" y="110"/>
                  <a:pt x="147" y="110"/>
                </a:cubicBezTo>
                <a:cubicBezTo>
                  <a:pt x="146" y="111"/>
                  <a:pt x="146" y="111"/>
                  <a:pt x="146" y="111"/>
                </a:cubicBezTo>
                <a:cubicBezTo>
                  <a:pt x="145" y="111"/>
                  <a:pt x="145" y="111"/>
                  <a:pt x="145" y="111"/>
                </a:cubicBezTo>
                <a:cubicBezTo>
                  <a:pt x="145" y="112"/>
                  <a:pt x="145" y="112"/>
                  <a:pt x="145" y="112"/>
                </a:cubicBezTo>
                <a:cubicBezTo>
                  <a:pt x="144" y="113"/>
                  <a:pt x="144" y="113"/>
                  <a:pt x="144" y="113"/>
                </a:cubicBezTo>
                <a:cubicBezTo>
                  <a:pt x="144" y="114"/>
                  <a:pt x="144" y="114"/>
                  <a:pt x="144" y="114"/>
                </a:cubicBezTo>
                <a:cubicBezTo>
                  <a:pt x="145" y="115"/>
                  <a:pt x="145" y="115"/>
                  <a:pt x="145" y="115"/>
                </a:cubicBezTo>
                <a:cubicBezTo>
                  <a:pt x="145" y="116"/>
                  <a:pt x="145" y="116"/>
                  <a:pt x="145" y="116"/>
                </a:cubicBezTo>
                <a:cubicBezTo>
                  <a:pt x="144" y="116"/>
                  <a:pt x="144" y="116"/>
                  <a:pt x="144" y="116"/>
                </a:cubicBezTo>
                <a:cubicBezTo>
                  <a:pt x="143" y="117"/>
                  <a:pt x="143" y="117"/>
                  <a:pt x="143" y="117"/>
                </a:cubicBezTo>
                <a:cubicBezTo>
                  <a:pt x="143" y="118"/>
                  <a:pt x="143" y="118"/>
                  <a:pt x="143" y="118"/>
                </a:cubicBezTo>
                <a:cubicBezTo>
                  <a:pt x="142" y="118"/>
                  <a:pt x="142" y="118"/>
                  <a:pt x="142" y="118"/>
                </a:cubicBezTo>
                <a:cubicBezTo>
                  <a:pt x="142" y="119"/>
                  <a:pt x="142" y="119"/>
                  <a:pt x="142" y="119"/>
                </a:cubicBezTo>
                <a:cubicBezTo>
                  <a:pt x="140" y="120"/>
                  <a:pt x="140" y="120"/>
                  <a:pt x="140" y="120"/>
                </a:cubicBezTo>
                <a:cubicBezTo>
                  <a:pt x="139" y="121"/>
                  <a:pt x="139" y="121"/>
                  <a:pt x="139" y="121"/>
                </a:cubicBezTo>
                <a:cubicBezTo>
                  <a:pt x="138" y="121"/>
                  <a:pt x="138" y="121"/>
                  <a:pt x="138" y="121"/>
                </a:cubicBezTo>
                <a:cubicBezTo>
                  <a:pt x="137" y="121"/>
                  <a:pt x="137" y="121"/>
                  <a:pt x="137" y="121"/>
                </a:cubicBezTo>
                <a:cubicBezTo>
                  <a:pt x="136" y="121"/>
                  <a:pt x="136" y="121"/>
                  <a:pt x="136" y="121"/>
                </a:cubicBezTo>
                <a:cubicBezTo>
                  <a:pt x="135" y="123"/>
                  <a:pt x="135" y="123"/>
                  <a:pt x="135" y="123"/>
                </a:cubicBezTo>
                <a:cubicBezTo>
                  <a:pt x="134" y="124"/>
                  <a:pt x="134" y="124"/>
                  <a:pt x="134" y="124"/>
                </a:cubicBezTo>
                <a:cubicBezTo>
                  <a:pt x="134" y="123"/>
                  <a:pt x="134" y="123"/>
                  <a:pt x="134" y="123"/>
                </a:cubicBezTo>
                <a:cubicBezTo>
                  <a:pt x="133" y="122"/>
                  <a:pt x="133" y="122"/>
                  <a:pt x="133" y="122"/>
                </a:cubicBezTo>
                <a:cubicBezTo>
                  <a:pt x="133" y="122"/>
                  <a:pt x="133" y="122"/>
                  <a:pt x="133" y="122"/>
                </a:cubicBezTo>
                <a:cubicBezTo>
                  <a:pt x="133" y="123"/>
                  <a:pt x="133" y="123"/>
                  <a:pt x="133" y="123"/>
                </a:cubicBezTo>
                <a:cubicBezTo>
                  <a:pt x="133" y="125"/>
                  <a:pt x="133" y="125"/>
                  <a:pt x="133" y="125"/>
                </a:cubicBezTo>
                <a:cubicBezTo>
                  <a:pt x="133" y="125"/>
                  <a:pt x="133" y="125"/>
                  <a:pt x="133" y="125"/>
                </a:cubicBezTo>
                <a:cubicBezTo>
                  <a:pt x="132" y="124"/>
                  <a:pt x="132" y="124"/>
                  <a:pt x="132" y="124"/>
                </a:cubicBezTo>
                <a:cubicBezTo>
                  <a:pt x="132" y="123"/>
                  <a:pt x="132" y="123"/>
                  <a:pt x="132" y="123"/>
                </a:cubicBezTo>
                <a:cubicBezTo>
                  <a:pt x="130" y="123"/>
                  <a:pt x="130" y="123"/>
                  <a:pt x="130" y="123"/>
                </a:cubicBezTo>
                <a:cubicBezTo>
                  <a:pt x="127" y="124"/>
                  <a:pt x="127" y="124"/>
                  <a:pt x="127" y="124"/>
                </a:cubicBezTo>
                <a:cubicBezTo>
                  <a:pt x="127" y="124"/>
                  <a:pt x="127" y="124"/>
                  <a:pt x="127" y="124"/>
                </a:cubicBezTo>
                <a:cubicBezTo>
                  <a:pt x="126" y="124"/>
                  <a:pt x="126" y="124"/>
                  <a:pt x="126" y="124"/>
                </a:cubicBezTo>
                <a:cubicBezTo>
                  <a:pt x="126" y="125"/>
                  <a:pt x="126" y="125"/>
                  <a:pt x="126" y="125"/>
                </a:cubicBezTo>
                <a:cubicBezTo>
                  <a:pt x="126" y="127"/>
                  <a:pt x="126" y="127"/>
                  <a:pt x="126" y="127"/>
                </a:cubicBezTo>
                <a:cubicBezTo>
                  <a:pt x="127" y="127"/>
                  <a:pt x="127" y="127"/>
                  <a:pt x="127" y="127"/>
                </a:cubicBezTo>
                <a:cubicBezTo>
                  <a:pt x="127" y="128"/>
                  <a:pt x="127" y="128"/>
                  <a:pt x="127" y="128"/>
                </a:cubicBezTo>
                <a:cubicBezTo>
                  <a:pt x="126" y="128"/>
                  <a:pt x="126" y="128"/>
                  <a:pt x="126" y="128"/>
                </a:cubicBezTo>
                <a:cubicBezTo>
                  <a:pt x="125" y="129"/>
                  <a:pt x="125" y="129"/>
                  <a:pt x="125" y="129"/>
                </a:cubicBezTo>
                <a:cubicBezTo>
                  <a:pt x="125" y="129"/>
                  <a:pt x="125" y="129"/>
                  <a:pt x="125" y="129"/>
                </a:cubicBezTo>
                <a:cubicBezTo>
                  <a:pt x="125" y="128"/>
                  <a:pt x="125" y="128"/>
                  <a:pt x="125" y="128"/>
                </a:cubicBezTo>
                <a:cubicBezTo>
                  <a:pt x="125" y="128"/>
                  <a:pt x="125" y="128"/>
                  <a:pt x="125" y="128"/>
                </a:cubicBezTo>
                <a:cubicBezTo>
                  <a:pt x="125" y="127"/>
                  <a:pt x="125" y="127"/>
                  <a:pt x="125" y="127"/>
                </a:cubicBezTo>
                <a:cubicBezTo>
                  <a:pt x="125" y="127"/>
                  <a:pt x="125" y="127"/>
                  <a:pt x="125" y="127"/>
                </a:cubicBezTo>
                <a:cubicBezTo>
                  <a:pt x="124" y="128"/>
                  <a:pt x="124" y="128"/>
                  <a:pt x="124" y="128"/>
                </a:cubicBezTo>
                <a:cubicBezTo>
                  <a:pt x="123" y="129"/>
                  <a:pt x="123" y="129"/>
                  <a:pt x="123" y="129"/>
                </a:cubicBezTo>
                <a:cubicBezTo>
                  <a:pt x="123" y="130"/>
                  <a:pt x="123" y="130"/>
                  <a:pt x="123" y="130"/>
                </a:cubicBezTo>
                <a:cubicBezTo>
                  <a:pt x="123" y="130"/>
                  <a:pt x="123" y="130"/>
                  <a:pt x="123" y="130"/>
                </a:cubicBezTo>
                <a:cubicBezTo>
                  <a:pt x="123" y="131"/>
                  <a:pt x="123" y="131"/>
                  <a:pt x="123" y="131"/>
                </a:cubicBezTo>
                <a:cubicBezTo>
                  <a:pt x="122" y="132"/>
                  <a:pt x="122" y="132"/>
                  <a:pt x="122" y="132"/>
                </a:cubicBezTo>
                <a:cubicBezTo>
                  <a:pt x="121" y="132"/>
                  <a:pt x="121" y="132"/>
                  <a:pt x="121" y="132"/>
                </a:cubicBezTo>
                <a:cubicBezTo>
                  <a:pt x="120" y="132"/>
                  <a:pt x="120" y="132"/>
                  <a:pt x="120" y="132"/>
                </a:cubicBezTo>
                <a:cubicBezTo>
                  <a:pt x="120" y="133"/>
                  <a:pt x="120" y="133"/>
                  <a:pt x="120" y="133"/>
                </a:cubicBezTo>
                <a:cubicBezTo>
                  <a:pt x="119" y="133"/>
                  <a:pt x="119" y="133"/>
                  <a:pt x="119" y="133"/>
                </a:cubicBezTo>
                <a:cubicBezTo>
                  <a:pt x="118" y="134"/>
                  <a:pt x="118" y="134"/>
                  <a:pt x="118" y="134"/>
                </a:cubicBezTo>
                <a:cubicBezTo>
                  <a:pt x="118" y="136"/>
                  <a:pt x="118" y="136"/>
                  <a:pt x="118" y="136"/>
                </a:cubicBezTo>
                <a:cubicBezTo>
                  <a:pt x="118" y="136"/>
                  <a:pt x="118" y="136"/>
                  <a:pt x="118" y="136"/>
                </a:cubicBezTo>
                <a:cubicBezTo>
                  <a:pt x="119" y="136"/>
                  <a:pt x="119" y="136"/>
                  <a:pt x="119" y="136"/>
                </a:cubicBezTo>
                <a:cubicBezTo>
                  <a:pt x="118" y="137"/>
                  <a:pt x="118" y="137"/>
                  <a:pt x="118" y="137"/>
                </a:cubicBezTo>
                <a:cubicBezTo>
                  <a:pt x="116" y="137"/>
                  <a:pt x="116" y="137"/>
                  <a:pt x="116" y="137"/>
                </a:cubicBezTo>
                <a:cubicBezTo>
                  <a:pt x="116" y="138"/>
                  <a:pt x="116" y="138"/>
                  <a:pt x="116" y="138"/>
                </a:cubicBezTo>
                <a:cubicBezTo>
                  <a:pt x="115" y="139"/>
                  <a:pt x="115" y="139"/>
                  <a:pt x="115" y="139"/>
                </a:cubicBezTo>
                <a:cubicBezTo>
                  <a:pt x="115" y="140"/>
                  <a:pt x="115" y="140"/>
                  <a:pt x="115" y="140"/>
                </a:cubicBezTo>
                <a:cubicBezTo>
                  <a:pt x="116" y="140"/>
                  <a:pt x="116" y="140"/>
                  <a:pt x="116" y="140"/>
                </a:cubicBezTo>
                <a:cubicBezTo>
                  <a:pt x="117" y="140"/>
                  <a:pt x="117" y="140"/>
                  <a:pt x="117" y="140"/>
                </a:cubicBezTo>
                <a:cubicBezTo>
                  <a:pt x="117" y="141"/>
                  <a:pt x="117" y="141"/>
                  <a:pt x="117" y="141"/>
                </a:cubicBezTo>
                <a:cubicBezTo>
                  <a:pt x="117" y="141"/>
                  <a:pt x="117" y="141"/>
                  <a:pt x="117" y="141"/>
                </a:cubicBezTo>
                <a:cubicBezTo>
                  <a:pt x="117" y="142"/>
                  <a:pt x="117" y="142"/>
                  <a:pt x="117" y="142"/>
                </a:cubicBezTo>
                <a:cubicBezTo>
                  <a:pt x="116" y="143"/>
                  <a:pt x="116" y="143"/>
                  <a:pt x="116" y="143"/>
                </a:cubicBezTo>
                <a:cubicBezTo>
                  <a:pt x="116" y="143"/>
                  <a:pt x="116" y="143"/>
                  <a:pt x="116" y="143"/>
                </a:cubicBezTo>
                <a:cubicBezTo>
                  <a:pt x="114" y="143"/>
                  <a:pt x="114" y="143"/>
                  <a:pt x="114" y="143"/>
                </a:cubicBezTo>
                <a:cubicBezTo>
                  <a:pt x="113" y="143"/>
                  <a:pt x="113" y="143"/>
                  <a:pt x="113" y="143"/>
                </a:cubicBezTo>
                <a:cubicBezTo>
                  <a:pt x="112" y="144"/>
                  <a:pt x="112" y="144"/>
                  <a:pt x="112" y="144"/>
                </a:cubicBezTo>
                <a:cubicBezTo>
                  <a:pt x="113" y="145"/>
                  <a:pt x="113" y="145"/>
                  <a:pt x="113" y="145"/>
                </a:cubicBezTo>
                <a:cubicBezTo>
                  <a:pt x="112" y="146"/>
                  <a:pt x="112" y="146"/>
                  <a:pt x="112" y="146"/>
                </a:cubicBezTo>
                <a:cubicBezTo>
                  <a:pt x="111" y="147"/>
                  <a:pt x="111" y="147"/>
                  <a:pt x="111" y="147"/>
                </a:cubicBezTo>
                <a:cubicBezTo>
                  <a:pt x="110" y="147"/>
                  <a:pt x="110" y="147"/>
                  <a:pt x="110" y="147"/>
                </a:cubicBezTo>
                <a:cubicBezTo>
                  <a:pt x="109" y="146"/>
                  <a:pt x="109" y="146"/>
                  <a:pt x="109" y="146"/>
                </a:cubicBezTo>
                <a:cubicBezTo>
                  <a:pt x="109" y="145"/>
                  <a:pt x="109" y="145"/>
                  <a:pt x="109" y="145"/>
                </a:cubicBezTo>
                <a:cubicBezTo>
                  <a:pt x="109" y="145"/>
                  <a:pt x="109" y="145"/>
                  <a:pt x="109" y="145"/>
                </a:cubicBezTo>
                <a:cubicBezTo>
                  <a:pt x="108" y="147"/>
                  <a:pt x="108" y="147"/>
                  <a:pt x="108" y="147"/>
                </a:cubicBezTo>
                <a:cubicBezTo>
                  <a:pt x="108" y="148"/>
                  <a:pt x="108" y="148"/>
                  <a:pt x="108" y="148"/>
                </a:cubicBezTo>
                <a:cubicBezTo>
                  <a:pt x="110" y="149"/>
                  <a:pt x="110" y="149"/>
                  <a:pt x="110" y="149"/>
                </a:cubicBezTo>
                <a:cubicBezTo>
                  <a:pt x="110" y="149"/>
                  <a:pt x="110" y="149"/>
                  <a:pt x="110" y="149"/>
                </a:cubicBezTo>
                <a:cubicBezTo>
                  <a:pt x="111" y="149"/>
                  <a:pt x="111" y="149"/>
                  <a:pt x="111" y="149"/>
                </a:cubicBezTo>
                <a:cubicBezTo>
                  <a:pt x="111" y="150"/>
                  <a:pt x="111" y="150"/>
                  <a:pt x="111" y="150"/>
                </a:cubicBezTo>
                <a:cubicBezTo>
                  <a:pt x="110" y="151"/>
                  <a:pt x="110" y="151"/>
                  <a:pt x="110" y="151"/>
                </a:cubicBezTo>
                <a:cubicBezTo>
                  <a:pt x="110" y="152"/>
                  <a:pt x="110" y="152"/>
                  <a:pt x="110" y="152"/>
                </a:cubicBezTo>
                <a:cubicBezTo>
                  <a:pt x="111" y="152"/>
                  <a:pt x="111" y="152"/>
                  <a:pt x="111" y="152"/>
                </a:cubicBezTo>
                <a:cubicBezTo>
                  <a:pt x="112" y="151"/>
                  <a:pt x="112" y="151"/>
                  <a:pt x="112" y="151"/>
                </a:cubicBezTo>
                <a:cubicBezTo>
                  <a:pt x="112" y="151"/>
                  <a:pt x="112" y="151"/>
                  <a:pt x="112" y="151"/>
                </a:cubicBezTo>
                <a:cubicBezTo>
                  <a:pt x="113" y="152"/>
                  <a:pt x="113" y="152"/>
                  <a:pt x="113" y="152"/>
                </a:cubicBezTo>
                <a:cubicBezTo>
                  <a:pt x="114" y="152"/>
                  <a:pt x="114" y="152"/>
                  <a:pt x="114" y="152"/>
                </a:cubicBezTo>
                <a:cubicBezTo>
                  <a:pt x="115" y="151"/>
                  <a:pt x="115" y="151"/>
                  <a:pt x="115" y="151"/>
                </a:cubicBezTo>
                <a:cubicBezTo>
                  <a:pt x="115" y="151"/>
                  <a:pt x="115" y="151"/>
                  <a:pt x="115" y="151"/>
                </a:cubicBezTo>
                <a:cubicBezTo>
                  <a:pt x="115" y="152"/>
                  <a:pt x="115" y="152"/>
                  <a:pt x="115" y="152"/>
                </a:cubicBezTo>
                <a:cubicBezTo>
                  <a:pt x="114" y="153"/>
                  <a:pt x="114" y="153"/>
                  <a:pt x="114" y="153"/>
                </a:cubicBezTo>
                <a:cubicBezTo>
                  <a:pt x="112" y="152"/>
                  <a:pt x="112" y="152"/>
                  <a:pt x="112" y="152"/>
                </a:cubicBezTo>
                <a:cubicBezTo>
                  <a:pt x="112" y="153"/>
                  <a:pt x="112" y="153"/>
                  <a:pt x="112" y="153"/>
                </a:cubicBezTo>
                <a:cubicBezTo>
                  <a:pt x="111" y="153"/>
                  <a:pt x="111" y="153"/>
                  <a:pt x="111" y="153"/>
                </a:cubicBezTo>
                <a:cubicBezTo>
                  <a:pt x="111" y="154"/>
                  <a:pt x="111" y="154"/>
                  <a:pt x="111" y="154"/>
                </a:cubicBezTo>
                <a:cubicBezTo>
                  <a:pt x="111" y="155"/>
                  <a:pt x="111" y="155"/>
                  <a:pt x="111" y="155"/>
                </a:cubicBezTo>
                <a:cubicBezTo>
                  <a:pt x="112" y="156"/>
                  <a:pt x="112" y="156"/>
                  <a:pt x="112" y="156"/>
                </a:cubicBezTo>
                <a:cubicBezTo>
                  <a:pt x="113" y="156"/>
                  <a:pt x="113" y="156"/>
                  <a:pt x="113" y="156"/>
                </a:cubicBezTo>
                <a:cubicBezTo>
                  <a:pt x="114" y="155"/>
                  <a:pt x="114" y="155"/>
                  <a:pt x="114" y="155"/>
                </a:cubicBezTo>
                <a:cubicBezTo>
                  <a:pt x="114" y="156"/>
                  <a:pt x="114" y="156"/>
                  <a:pt x="114" y="156"/>
                </a:cubicBezTo>
                <a:cubicBezTo>
                  <a:pt x="114" y="156"/>
                  <a:pt x="114" y="156"/>
                  <a:pt x="114" y="156"/>
                </a:cubicBezTo>
                <a:cubicBezTo>
                  <a:pt x="112" y="157"/>
                  <a:pt x="112" y="157"/>
                  <a:pt x="112" y="157"/>
                </a:cubicBezTo>
                <a:cubicBezTo>
                  <a:pt x="111" y="157"/>
                  <a:pt x="111" y="157"/>
                  <a:pt x="111" y="157"/>
                </a:cubicBezTo>
                <a:cubicBezTo>
                  <a:pt x="110" y="157"/>
                  <a:pt x="110" y="157"/>
                  <a:pt x="110" y="157"/>
                </a:cubicBezTo>
                <a:cubicBezTo>
                  <a:pt x="110" y="158"/>
                  <a:pt x="110" y="158"/>
                  <a:pt x="110" y="158"/>
                </a:cubicBezTo>
                <a:cubicBezTo>
                  <a:pt x="111" y="158"/>
                  <a:pt x="111" y="158"/>
                  <a:pt x="111" y="158"/>
                </a:cubicBezTo>
                <a:cubicBezTo>
                  <a:pt x="112" y="158"/>
                  <a:pt x="112" y="158"/>
                  <a:pt x="112" y="158"/>
                </a:cubicBezTo>
                <a:cubicBezTo>
                  <a:pt x="113" y="158"/>
                  <a:pt x="113" y="158"/>
                  <a:pt x="113" y="158"/>
                </a:cubicBezTo>
                <a:cubicBezTo>
                  <a:pt x="113" y="159"/>
                  <a:pt x="113" y="159"/>
                  <a:pt x="113" y="159"/>
                </a:cubicBezTo>
                <a:cubicBezTo>
                  <a:pt x="112" y="159"/>
                  <a:pt x="112" y="159"/>
                  <a:pt x="112" y="159"/>
                </a:cubicBezTo>
                <a:cubicBezTo>
                  <a:pt x="111" y="159"/>
                  <a:pt x="111" y="159"/>
                  <a:pt x="111" y="159"/>
                </a:cubicBezTo>
                <a:cubicBezTo>
                  <a:pt x="111" y="160"/>
                  <a:pt x="111" y="160"/>
                  <a:pt x="111" y="160"/>
                </a:cubicBezTo>
                <a:cubicBezTo>
                  <a:pt x="111" y="160"/>
                  <a:pt x="111" y="160"/>
                  <a:pt x="111" y="160"/>
                </a:cubicBezTo>
                <a:cubicBezTo>
                  <a:pt x="113" y="160"/>
                  <a:pt x="113" y="160"/>
                  <a:pt x="113" y="160"/>
                </a:cubicBezTo>
                <a:cubicBezTo>
                  <a:pt x="115" y="162"/>
                  <a:pt x="115" y="162"/>
                  <a:pt x="115" y="162"/>
                </a:cubicBezTo>
                <a:cubicBezTo>
                  <a:pt x="116" y="162"/>
                  <a:pt x="116" y="162"/>
                  <a:pt x="116" y="162"/>
                </a:cubicBezTo>
                <a:cubicBezTo>
                  <a:pt x="116" y="162"/>
                  <a:pt x="116" y="162"/>
                  <a:pt x="116" y="162"/>
                </a:cubicBezTo>
                <a:cubicBezTo>
                  <a:pt x="116" y="163"/>
                  <a:pt x="116" y="163"/>
                  <a:pt x="116" y="163"/>
                </a:cubicBezTo>
                <a:cubicBezTo>
                  <a:pt x="115" y="162"/>
                  <a:pt x="115" y="162"/>
                  <a:pt x="115" y="162"/>
                </a:cubicBezTo>
                <a:cubicBezTo>
                  <a:pt x="114" y="162"/>
                  <a:pt x="114" y="162"/>
                  <a:pt x="114" y="162"/>
                </a:cubicBezTo>
                <a:cubicBezTo>
                  <a:pt x="113" y="162"/>
                  <a:pt x="113" y="162"/>
                  <a:pt x="113" y="162"/>
                </a:cubicBezTo>
                <a:cubicBezTo>
                  <a:pt x="112" y="161"/>
                  <a:pt x="112" y="161"/>
                  <a:pt x="112" y="161"/>
                </a:cubicBezTo>
                <a:cubicBezTo>
                  <a:pt x="111" y="161"/>
                  <a:pt x="111" y="161"/>
                  <a:pt x="111" y="161"/>
                </a:cubicBezTo>
                <a:cubicBezTo>
                  <a:pt x="110" y="162"/>
                  <a:pt x="110" y="162"/>
                  <a:pt x="110" y="162"/>
                </a:cubicBezTo>
                <a:cubicBezTo>
                  <a:pt x="110" y="162"/>
                  <a:pt x="110" y="162"/>
                  <a:pt x="110" y="162"/>
                </a:cubicBezTo>
                <a:cubicBezTo>
                  <a:pt x="109" y="163"/>
                  <a:pt x="109" y="163"/>
                  <a:pt x="109" y="163"/>
                </a:cubicBezTo>
                <a:cubicBezTo>
                  <a:pt x="109" y="164"/>
                  <a:pt x="109" y="164"/>
                  <a:pt x="109" y="164"/>
                </a:cubicBezTo>
                <a:cubicBezTo>
                  <a:pt x="110" y="164"/>
                  <a:pt x="110" y="164"/>
                  <a:pt x="110" y="164"/>
                </a:cubicBezTo>
                <a:cubicBezTo>
                  <a:pt x="109" y="165"/>
                  <a:pt x="109" y="165"/>
                  <a:pt x="109" y="165"/>
                </a:cubicBezTo>
                <a:cubicBezTo>
                  <a:pt x="109" y="165"/>
                  <a:pt x="109" y="165"/>
                  <a:pt x="109" y="165"/>
                </a:cubicBezTo>
                <a:cubicBezTo>
                  <a:pt x="108" y="165"/>
                  <a:pt x="108" y="165"/>
                  <a:pt x="108" y="165"/>
                </a:cubicBezTo>
                <a:cubicBezTo>
                  <a:pt x="108" y="166"/>
                  <a:pt x="108" y="166"/>
                  <a:pt x="108" y="166"/>
                </a:cubicBezTo>
                <a:cubicBezTo>
                  <a:pt x="107" y="167"/>
                  <a:pt x="107" y="167"/>
                  <a:pt x="107" y="167"/>
                </a:cubicBezTo>
                <a:cubicBezTo>
                  <a:pt x="107" y="167"/>
                  <a:pt x="107" y="167"/>
                  <a:pt x="107" y="167"/>
                </a:cubicBezTo>
                <a:cubicBezTo>
                  <a:pt x="107" y="168"/>
                  <a:pt x="107" y="168"/>
                  <a:pt x="107" y="168"/>
                </a:cubicBezTo>
                <a:cubicBezTo>
                  <a:pt x="106" y="168"/>
                  <a:pt x="106" y="168"/>
                  <a:pt x="106" y="168"/>
                </a:cubicBezTo>
                <a:cubicBezTo>
                  <a:pt x="106" y="168"/>
                  <a:pt x="106" y="168"/>
                  <a:pt x="106" y="168"/>
                </a:cubicBezTo>
                <a:cubicBezTo>
                  <a:pt x="107" y="170"/>
                  <a:pt x="107" y="170"/>
                  <a:pt x="107" y="170"/>
                </a:cubicBezTo>
                <a:cubicBezTo>
                  <a:pt x="108" y="170"/>
                  <a:pt x="108" y="170"/>
                  <a:pt x="108" y="170"/>
                </a:cubicBezTo>
                <a:cubicBezTo>
                  <a:pt x="109" y="170"/>
                  <a:pt x="109" y="170"/>
                  <a:pt x="109" y="170"/>
                </a:cubicBezTo>
                <a:cubicBezTo>
                  <a:pt x="109" y="169"/>
                  <a:pt x="109" y="169"/>
                  <a:pt x="109" y="169"/>
                </a:cubicBezTo>
                <a:cubicBezTo>
                  <a:pt x="110" y="169"/>
                  <a:pt x="110" y="169"/>
                  <a:pt x="110" y="169"/>
                </a:cubicBezTo>
                <a:cubicBezTo>
                  <a:pt x="112" y="167"/>
                  <a:pt x="112" y="167"/>
                  <a:pt x="112" y="167"/>
                </a:cubicBezTo>
                <a:cubicBezTo>
                  <a:pt x="113" y="167"/>
                  <a:pt x="113" y="167"/>
                  <a:pt x="113" y="167"/>
                </a:cubicBezTo>
                <a:cubicBezTo>
                  <a:pt x="114" y="167"/>
                  <a:pt x="114" y="167"/>
                  <a:pt x="114" y="167"/>
                </a:cubicBezTo>
                <a:cubicBezTo>
                  <a:pt x="115" y="168"/>
                  <a:pt x="115" y="168"/>
                  <a:pt x="115" y="168"/>
                </a:cubicBezTo>
                <a:cubicBezTo>
                  <a:pt x="115" y="168"/>
                  <a:pt x="115" y="168"/>
                  <a:pt x="115" y="168"/>
                </a:cubicBezTo>
                <a:cubicBezTo>
                  <a:pt x="114" y="168"/>
                  <a:pt x="114" y="168"/>
                  <a:pt x="114" y="168"/>
                </a:cubicBezTo>
                <a:cubicBezTo>
                  <a:pt x="113" y="168"/>
                  <a:pt x="113" y="168"/>
                  <a:pt x="113" y="168"/>
                </a:cubicBezTo>
                <a:cubicBezTo>
                  <a:pt x="113" y="168"/>
                  <a:pt x="113" y="168"/>
                  <a:pt x="113" y="168"/>
                </a:cubicBezTo>
                <a:cubicBezTo>
                  <a:pt x="112" y="168"/>
                  <a:pt x="112" y="168"/>
                  <a:pt x="112" y="168"/>
                </a:cubicBezTo>
                <a:cubicBezTo>
                  <a:pt x="111" y="169"/>
                  <a:pt x="111" y="169"/>
                  <a:pt x="111" y="169"/>
                </a:cubicBezTo>
                <a:cubicBezTo>
                  <a:pt x="110" y="170"/>
                  <a:pt x="110" y="170"/>
                  <a:pt x="110" y="170"/>
                </a:cubicBezTo>
                <a:cubicBezTo>
                  <a:pt x="110" y="172"/>
                  <a:pt x="110" y="172"/>
                  <a:pt x="110" y="172"/>
                </a:cubicBezTo>
                <a:cubicBezTo>
                  <a:pt x="110" y="173"/>
                  <a:pt x="110" y="173"/>
                  <a:pt x="110" y="173"/>
                </a:cubicBezTo>
                <a:cubicBezTo>
                  <a:pt x="110" y="173"/>
                  <a:pt x="110" y="173"/>
                  <a:pt x="110" y="173"/>
                </a:cubicBezTo>
                <a:cubicBezTo>
                  <a:pt x="110" y="173"/>
                  <a:pt x="110" y="174"/>
                  <a:pt x="110" y="174"/>
                </a:cubicBezTo>
                <a:close/>
                <a:moveTo>
                  <a:pt x="115" y="208"/>
                </a:moveTo>
                <a:cubicBezTo>
                  <a:pt x="116" y="208"/>
                  <a:pt x="116" y="208"/>
                  <a:pt x="116" y="208"/>
                </a:cubicBezTo>
                <a:cubicBezTo>
                  <a:pt x="116" y="207"/>
                  <a:pt x="116" y="207"/>
                  <a:pt x="116" y="207"/>
                </a:cubicBezTo>
                <a:cubicBezTo>
                  <a:pt x="115" y="206"/>
                  <a:pt x="115" y="206"/>
                  <a:pt x="115" y="206"/>
                </a:cubicBezTo>
                <a:cubicBezTo>
                  <a:pt x="116" y="205"/>
                  <a:pt x="116" y="205"/>
                  <a:pt x="116" y="205"/>
                </a:cubicBezTo>
                <a:cubicBezTo>
                  <a:pt x="116" y="204"/>
                  <a:pt x="116" y="204"/>
                  <a:pt x="116" y="204"/>
                </a:cubicBezTo>
                <a:cubicBezTo>
                  <a:pt x="114" y="204"/>
                  <a:pt x="114" y="204"/>
                  <a:pt x="114" y="204"/>
                </a:cubicBezTo>
                <a:cubicBezTo>
                  <a:pt x="114" y="203"/>
                  <a:pt x="114" y="203"/>
                  <a:pt x="114" y="203"/>
                </a:cubicBezTo>
                <a:cubicBezTo>
                  <a:pt x="113" y="203"/>
                  <a:pt x="113" y="203"/>
                  <a:pt x="113" y="203"/>
                </a:cubicBezTo>
                <a:cubicBezTo>
                  <a:pt x="112" y="203"/>
                  <a:pt x="112" y="203"/>
                  <a:pt x="112" y="203"/>
                </a:cubicBezTo>
                <a:cubicBezTo>
                  <a:pt x="111" y="204"/>
                  <a:pt x="111" y="204"/>
                  <a:pt x="111" y="204"/>
                </a:cubicBezTo>
                <a:cubicBezTo>
                  <a:pt x="111" y="204"/>
                  <a:pt x="111" y="204"/>
                  <a:pt x="111" y="204"/>
                </a:cubicBezTo>
                <a:cubicBezTo>
                  <a:pt x="112" y="205"/>
                  <a:pt x="112" y="205"/>
                  <a:pt x="112" y="205"/>
                </a:cubicBezTo>
                <a:cubicBezTo>
                  <a:pt x="112" y="205"/>
                  <a:pt x="112" y="205"/>
                  <a:pt x="112" y="205"/>
                </a:cubicBezTo>
                <a:cubicBezTo>
                  <a:pt x="113" y="205"/>
                  <a:pt x="113" y="205"/>
                  <a:pt x="113" y="205"/>
                </a:cubicBezTo>
                <a:cubicBezTo>
                  <a:pt x="113" y="206"/>
                  <a:pt x="113" y="206"/>
                  <a:pt x="113" y="206"/>
                </a:cubicBezTo>
                <a:cubicBezTo>
                  <a:pt x="114" y="206"/>
                  <a:pt x="114" y="206"/>
                  <a:pt x="114" y="206"/>
                </a:cubicBezTo>
                <a:cubicBezTo>
                  <a:pt x="115" y="208"/>
                  <a:pt x="115" y="208"/>
                  <a:pt x="115" y="208"/>
                </a:cubicBezTo>
                <a:close/>
                <a:moveTo>
                  <a:pt x="138" y="208"/>
                </a:moveTo>
                <a:cubicBezTo>
                  <a:pt x="137" y="207"/>
                  <a:pt x="137" y="207"/>
                  <a:pt x="137" y="207"/>
                </a:cubicBezTo>
                <a:cubicBezTo>
                  <a:pt x="136" y="207"/>
                  <a:pt x="136" y="207"/>
                  <a:pt x="136" y="207"/>
                </a:cubicBezTo>
                <a:cubicBezTo>
                  <a:pt x="135" y="207"/>
                  <a:pt x="135" y="207"/>
                  <a:pt x="135" y="207"/>
                </a:cubicBezTo>
                <a:cubicBezTo>
                  <a:pt x="134" y="205"/>
                  <a:pt x="134" y="205"/>
                  <a:pt x="134" y="205"/>
                </a:cubicBezTo>
                <a:cubicBezTo>
                  <a:pt x="133" y="205"/>
                  <a:pt x="133" y="205"/>
                  <a:pt x="133" y="205"/>
                </a:cubicBezTo>
                <a:cubicBezTo>
                  <a:pt x="131" y="203"/>
                  <a:pt x="131" y="203"/>
                  <a:pt x="131" y="203"/>
                </a:cubicBezTo>
                <a:cubicBezTo>
                  <a:pt x="130" y="202"/>
                  <a:pt x="130" y="202"/>
                  <a:pt x="130" y="202"/>
                </a:cubicBezTo>
                <a:cubicBezTo>
                  <a:pt x="128" y="202"/>
                  <a:pt x="128" y="202"/>
                  <a:pt x="128" y="202"/>
                </a:cubicBezTo>
                <a:cubicBezTo>
                  <a:pt x="127" y="199"/>
                  <a:pt x="127" y="199"/>
                  <a:pt x="127" y="199"/>
                </a:cubicBezTo>
                <a:cubicBezTo>
                  <a:pt x="125" y="197"/>
                  <a:pt x="125" y="197"/>
                  <a:pt x="125" y="197"/>
                </a:cubicBezTo>
                <a:cubicBezTo>
                  <a:pt x="124" y="194"/>
                  <a:pt x="124" y="194"/>
                  <a:pt x="124" y="194"/>
                </a:cubicBezTo>
                <a:cubicBezTo>
                  <a:pt x="123" y="192"/>
                  <a:pt x="123" y="192"/>
                  <a:pt x="123" y="192"/>
                </a:cubicBezTo>
                <a:cubicBezTo>
                  <a:pt x="123" y="189"/>
                  <a:pt x="123" y="189"/>
                  <a:pt x="123" y="189"/>
                </a:cubicBezTo>
                <a:cubicBezTo>
                  <a:pt x="122" y="187"/>
                  <a:pt x="122" y="187"/>
                  <a:pt x="122" y="187"/>
                </a:cubicBezTo>
                <a:cubicBezTo>
                  <a:pt x="121" y="184"/>
                  <a:pt x="121" y="184"/>
                  <a:pt x="121" y="184"/>
                </a:cubicBezTo>
                <a:cubicBezTo>
                  <a:pt x="121" y="183"/>
                  <a:pt x="121" y="183"/>
                  <a:pt x="121" y="183"/>
                </a:cubicBezTo>
                <a:cubicBezTo>
                  <a:pt x="122" y="182"/>
                  <a:pt x="122" y="182"/>
                  <a:pt x="122" y="182"/>
                </a:cubicBezTo>
                <a:cubicBezTo>
                  <a:pt x="121" y="181"/>
                  <a:pt x="121" y="181"/>
                  <a:pt x="121" y="181"/>
                </a:cubicBezTo>
                <a:cubicBezTo>
                  <a:pt x="120" y="181"/>
                  <a:pt x="120" y="181"/>
                  <a:pt x="120" y="181"/>
                </a:cubicBezTo>
                <a:cubicBezTo>
                  <a:pt x="119" y="181"/>
                  <a:pt x="119" y="181"/>
                  <a:pt x="119" y="181"/>
                </a:cubicBezTo>
                <a:cubicBezTo>
                  <a:pt x="119" y="181"/>
                  <a:pt x="119" y="181"/>
                  <a:pt x="119" y="181"/>
                </a:cubicBezTo>
                <a:cubicBezTo>
                  <a:pt x="119" y="180"/>
                  <a:pt x="119" y="180"/>
                  <a:pt x="119" y="180"/>
                </a:cubicBezTo>
                <a:cubicBezTo>
                  <a:pt x="121" y="180"/>
                  <a:pt x="121" y="180"/>
                  <a:pt x="121" y="180"/>
                </a:cubicBezTo>
                <a:cubicBezTo>
                  <a:pt x="122" y="180"/>
                  <a:pt x="122" y="180"/>
                  <a:pt x="122" y="180"/>
                </a:cubicBezTo>
                <a:cubicBezTo>
                  <a:pt x="122" y="177"/>
                  <a:pt x="122" y="177"/>
                  <a:pt x="122" y="177"/>
                </a:cubicBezTo>
                <a:cubicBezTo>
                  <a:pt x="122" y="176"/>
                  <a:pt x="122" y="176"/>
                  <a:pt x="122" y="176"/>
                </a:cubicBezTo>
                <a:cubicBezTo>
                  <a:pt x="121" y="176"/>
                  <a:pt x="121" y="176"/>
                  <a:pt x="121" y="176"/>
                </a:cubicBezTo>
                <a:cubicBezTo>
                  <a:pt x="120" y="177"/>
                  <a:pt x="120" y="177"/>
                  <a:pt x="120" y="177"/>
                </a:cubicBezTo>
                <a:cubicBezTo>
                  <a:pt x="120" y="176"/>
                  <a:pt x="120" y="176"/>
                  <a:pt x="120" y="176"/>
                </a:cubicBezTo>
                <a:cubicBezTo>
                  <a:pt x="122" y="175"/>
                  <a:pt x="122" y="175"/>
                  <a:pt x="122" y="175"/>
                </a:cubicBezTo>
                <a:cubicBezTo>
                  <a:pt x="122" y="175"/>
                  <a:pt x="122" y="175"/>
                  <a:pt x="122" y="175"/>
                </a:cubicBezTo>
                <a:cubicBezTo>
                  <a:pt x="122" y="174"/>
                  <a:pt x="122" y="174"/>
                  <a:pt x="122" y="174"/>
                </a:cubicBezTo>
                <a:cubicBezTo>
                  <a:pt x="119" y="174"/>
                  <a:pt x="119" y="174"/>
                  <a:pt x="119" y="174"/>
                </a:cubicBezTo>
                <a:cubicBezTo>
                  <a:pt x="116" y="174"/>
                  <a:pt x="116" y="174"/>
                  <a:pt x="116" y="174"/>
                </a:cubicBezTo>
                <a:cubicBezTo>
                  <a:pt x="115" y="173"/>
                  <a:pt x="115" y="173"/>
                  <a:pt x="115" y="173"/>
                </a:cubicBezTo>
                <a:cubicBezTo>
                  <a:pt x="114" y="173"/>
                  <a:pt x="114" y="173"/>
                  <a:pt x="114" y="173"/>
                </a:cubicBezTo>
                <a:cubicBezTo>
                  <a:pt x="112" y="174"/>
                  <a:pt x="112" y="174"/>
                  <a:pt x="112" y="174"/>
                </a:cubicBezTo>
                <a:cubicBezTo>
                  <a:pt x="110" y="174"/>
                  <a:pt x="110" y="174"/>
                  <a:pt x="110" y="174"/>
                </a:cubicBezTo>
                <a:cubicBezTo>
                  <a:pt x="109" y="175"/>
                  <a:pt x="109" y="175"/>
                  <a:pt x="109" y="175"/>
                </a:cubicBezTo>
                <a:cubicBezTo>
                  <a:pt x="107" y="176"/>
                  <a:pt x="107" y="176"/>
                  <a:pt x="107" y="176"/>
                </a:cubicBezTo>
                <a:cubicBezTo>
                  <a:pt x="107" y="178"/>
                  <a:pt x="107" y="178"/>
                  <a:pt x="107" y="178"/>
                </a:cubicBezTo>
                <a:cubicBezTo>
                  <a:pt x="107" y="178"/>
                  <a:pt x="107" y="178"/>
                  <a:pt x="107" y="178"/>
                </a:cubicBezTo>
                <a:cubicBezTo>
                  <a:pt x="107" y="180"/>
                  <a:pt x="107" y="180"/>
                  <a:pt x="107" y="180"/>
                </a:cubicBezTo>
                <a:cubicBezTo>
                  <a:pt x="108" y="180"/>
                  <a:pt x="108" y="180"/>
                  <a:pt x="108" y="180"/>
                </a:cubicBezTo>
                <a:cubicBezTo>
                  <a:pt x="109" y="180"/>
                  <a:pt x="109" y="180"/>
                  <a:pt x="109" y="180"/>
                </a:cubicBezTo>
                <a:cubicBezTo>
                  <a:pt x="108" y="181"/>
                  <a:pt x="108" y="181"/>
                  <a:pt x="108" y="181"/>
                </a:cubicBezTo>
                <a:cubicBezTo>
                  <a:pt x="107" y="181"/>
                  <a:pt x="107" y="181"/>
                  <a:pt x="107" y="181"/>
                </a:cubicBezTo>
                <a:cubicBezTo>
                  <a:pt x="106" y="181"/>
                  <a:pt x="106" y="181"/>
                  <a:pt x="106" y="181"/>
                </a:cubicBezTo>
                <a:cubicBezTo>
                  <a:pt x="105" y="183"/>
                  <a:pt x="105" y="183"/>
                  <a:pt x="105" y="183"/>
                </a:cubicBezTo>
                <a:cubicBezTo>
                  <a:pt x="105" y="184"/>
                  <a:pt x="105" y="184"/>
                  <a:pt x="105" y="184"/>
                </a:cubicBezTo>
                <a:cubicBezTo>
                  <a:pt x="105" y="185"/>
                  <a:pt x="105" y="185"/>
                  <a:pt x="105" y="185"/>
                </a:cubicBezTo>
                <a:cubicBezTo>
                  <a:pt x="106" y="185"/>
                  <a:pt x="106" y="185"/>
                  <a:pt x="106" y="185"/>
                </a:cubicBezTo>
                <a:cubicBezTo>
                  <a:pt x="108" y="184"/>
                  <a:pt x="108" y="184"/>
                  <a:pt x="108" y="184"/>
                </a:cubicBezTo>
                <a:cubicBezTo>
                  <a:pt x="108" y="184"/>
                  <a:pt x="108" y="184"/>
                  <a:pt x="108" y="184"/>
                </a:cubicBezTo>
                <a:cubicBezTo>
                  <a:pt x="107" y="185"/>
                  <a:pt x="107" y="185"/>
                  <a:pt x="107" y="185"/>
                </a:cubicBezTo>
                <a:cubicBezTo>
                  <a:pt x="107" y="187"/>
                  <a:pt x="107" y="187"/>
                  <a:pt x="107" y="187"/>
                </a:cubicBezTo>
                <a:cubicBezTo>
                  <a:pt x="108" y="187"/>
                  <a:pt x="108" y="187"/>
                  <a:pt x="108" y="187"/>
                </a:cubicBezTo>
                <a:cubicBezTo>
                  <a:pt x="108" y="186"/>
                  <a:pt x="108" y="186"/>
                  <a:pt x="108" y="186"/>
                </a:cubicBezTo>
                <a:cubicBezTo>
                  <a:pt x="109" y="185"/>
                  <a:pt x="109" y="185"/>
                  <a:pt x="109" y="185"/>
                </a:cubicBezTo>
                <a:cubicBezTo>
                  <a:pt x="110" y="186"/>
                  <a:pt x="110" y="186"/>
                  <a:pt x="110" y="186"/>
                </a:cubicBezTo>
                <a:cubicBezTo>
                  <a:pt x="109" y="187"/>
                  <a:pt x="109" y="187"/>
                  <a:pt x="109" y="187"/>
                </a:cubicBezTo>
                <a:cubicBezTo>
                  <a:pt x="108" y="188"/>
                  <a:pt x="108" y="188"/>
                  <a:pt x="108" y="188"/>
                </a:cubicBezTo>
                <a:cubicBezTo>
                  <a:pt x="109" y="189"/>
                  <a:pt x="109" y="189"/>
                  <a:pt x="109" y="189"/>
                </a:cubicBezTo>
                <a:cubicBezTo>
                  <a:pt x="110" y="189"/>
                  <a:pt x="110" y="189"/>
                  <a:pt x="110" y="189"/>
                </a:cubicBezTo>
                <a:cubicBezTo>
                  <a:pt x="110" y="189"/>
                  <a:pt x="110" y="189"/>
                  <a:pt x="110" y="189"/>
                </a:cubicBezTo>
                <a:cubicBezTo>
                  <a:pt x="109" y="189"/>
                  <a:pt x="109" y="189"/>
                  <a:pt x="109" y="189"/>
                </a:cubicBezTo>
                <a:cubicBezTo>
                  <a:pt x="108" y="190"/>
                  <a:pt x="108" y="190"/>
                  <a:pt x="108" y="190"/>
                </a:cubicBezTo>
                <a:cubicBezTo>
                  <a:pt x="108" y="191"/>
                  <a:pt x="108" y="191"/>
                  <a:pt x="108" y="191"/>
                </a:cubicBezTo>
                <a:cubicBezTo>
                  <a:pt x="109" y="192"/>
                  <a:pt x="109" y="192"/>
                  <a:pt x="109" y="192"/>
                </a:cubicBezTo>
                <a:cubicBezTo>
                  <a:pt x="108" y="192"/>
                  <a:pt x="108" y="192"/>
                  <a:pt x="108" y="192"/>
                </a:cubicBezTo>
                <a:cubicBezTo>
                  <a:pt x="108" y="192"/>
                  <a:pt x="108" y="192"/>
                  <a:pt x="108" y="192"/>
                </a:cubicBezTo>
                <a:cubicBezTo>
                  <a:pt x="107" y="192"/>
                  <a:pt x="107" y="192"/>
                  <a:pt x="107" y="192"/>
                </a:cubicBezTo>
                <a:cubicBezTo>
                  <a:pt x="106" y="192"/>
                  <a:pt x="106" y="192"/>
                  <a:pt x="106" y="192"/>
                </a:cubicBezTo>
                <a:cubicBezTo>
                  <a:pt x="105" y="192"/>
                  <a:pt x="105" y="192"/>
                  <a:pt x="105" y="192"/>
                </a:cubicBezTo>
                <a:cubicBezTo>
                  <a:pt x="104" y="193"/>
                  <a:pt x="104" y="193"/>
                  <a:pt x="104" y="193"/>
                </a:cubicBezTo>
                <a:cubicBezTo>
                  <a:pt x="104" y="195"/>
                  <a:pt x="104" y="195"/>
                  <a:pt x="104" y="195"/>
                </a:cubicBezTo>
                <a:cubicBezTo>
                  <a:pt x="104" y="196"/>
                  <a:pt x="104" y="196"/>
                  <a:pt x="104" y="196"/>
                </a:cubicBezTo>
                <a:cubicBezTo>
                  <a:pt x="104" y="198"/>
                  <a:pt x="104" y="198"/>
                  <a:pt x="104" y="198"/>
                </a:cubicBezTo>
                <a:cubicBezTo>
                  <a:pt x="104" y="199"/>
                  <a:pt x="104" y="199"/>
                  <a:pt x="104" y="199"/>
                </a:cubicBezTo>
                <a:cubicBezTo>
                  <a:pt x="106" y="200"/>
                  <a:pt x="106" y="200"/>
                  <a:pt x="106" y="200"/>
                </a:cubicBezTo>
                <a:cubicBezTo>
                  <a:pt x="106" y="201"/>
                  <a:pt x="106" y="201"/>
                  <a:pt x="106" y="201"/>
                </a:cubicBezTo>
                <a:cubicBezTo>
                  <a:pt x="108" y="202"/>
                  <a:pt x="108" y="202"/>
                  <a:pt x="108" y="202"/>
                </a:cubicBezTo>
                <a:cubicBezTo>
                  <a:pt x="109" y="203"/>
                  <a:pt x="109" y="203"/>
                  <a:pt x="109" y="203"/>
                </a:cubicBezTo>
                <a:cubicBezTo>
                  <a:pt x="109" y="202"/>
                  <a:pt x="109" y="202"/>
                  <a:pt x="109" y="202"/>
                </a:cubicBezTo>
                <a:cubicBezTo>
                  <a:pt x="110" y="202"/>
                  <a:pt x="110" y="202"/>
                  <a:pt x="110" y="202"/>
                </a:cubicBezTo>
                <a:cubicBezTo>
                  <a:pt x="111" y="201"/>
                  <a:pt x="111" y="201"/>
                  <a:pt x="111" y="201"/>
                </a:cubicBezTo>
                <a:cubicBezTo>
                  <a:pt x="111" y="199"/>
                  <a:pt x="111" y="199"/>
                  <a:pt x="111" y="199"/>
                </a:cubicBezTo>
                <a:cubicBezTo>
                  <a:pt x="111" y="198"/>
                  <a:pt x="111" y="198"/>
                  <a:pt x="111" y="198"/>
                </a:cubicBezTo>
                <a:cubicBezTo>
                  <a:pt x="112" y="196"/>
                  <a:pt x="112" y="196"/>
                  <a:pt x="112" y="196"/>
                </a:cubicBezTo>
                <a:cubicBezTo>
                  <a:pt x="111" y="198"/>
                  <a:pt x="111" y="198"/>
                  <a:pt x="111" y="198"/>
                </a:cubicBezTo>
                <a:cubicBezTo>
                  <a:pt x="111" y="199"/>
                  <a:pt x="111" y="199"/>
                  <a:pt x="111" y="199"/>
                </a:cubicBezTo>
                <a:cubicBezTo>
                  <a:pt x="112" y="200"/>
                  <a:pt x="112" y="200"/>
                  <a:pt x="112" y="200"/>
                </a:cubicBezTo>
                <a:cubicBezTo>
                  <a:pt x="112" y="201"/>
                  <a:pt x="112" y="201"/>
                  <a:pt x="112" y="201"/>
                </a:cubicBezTo>
                <a:cubicBezTo>
                  <a:pt x="113" y="202"/>
                  <a:pt x="113" y="202"/>
                  <a:pt x="113" y="202"/>
                </a:cubicBezTo>
                <a:cubicBezTo>
                  <a:pt x="114" y="201"/>
                  <a:pt x="114" y="201"/>
                  <a:pt x="114" y="201"/>
                </a:cubicBezTo>
                <a:cubicBezTo>
                  <a:pt x="114" y="200"/>
                  <a:pt x="114" y="200"/>
                  <a:pt x="114" y="200"/>
                </a:cubicBezTo>
                <a:cubicBezTo>
                  <a:pt x="115" y="199"/>
                  <a:pt x="115" y="199"/>
                  <a:pt x="115" y="199"/>
                </a:cubicBezTo>
                <a:cubicBezTo>
                  <a:pt x="115" y="199"/>
                  <a:pt x="115" y="199"/>
                  <a:pt x="115" y="199"/>
                </a:cubicBezTo>
                <a:cubicBezTo>
                  <a:pt x="115" y="200"/>
                  <a:pt x="115" y="200"/>
                  <a:pt x="115" y="200"/>
                </a:cubicBezTo>
                <a:cubicBezTo>
                  <a:pt x="115" y="201"/>
                  <a:pt x="115" y="201"/>
                  <a:pt x="115" y="201"/>
                </a:cubicBezTo>
                <a:cubicBezTo>
                  <a:pt x="116" y="203"/>
                  <a:pt x="116" y="203"/>
                  <a:pt x="116" y="203"/>
                </a:cubicBezTo>
                <a:cubicBezTo>
                  <a:pt x="117" y="204"/>
                  <a:pt x="117" y="204"/>
                  <a:pt x="117" y="204"/>
                </a:cubicBezTo>
                <a:cubicBezTo>
                  <a:pt x="118" y="204"/>
                  <a:pt x="118" y="204"/>
                  <a:pt x="118" y="204"/>
                </a:cubicBezTo>
                <a:cubicBezTo>
                  <a:pt x="119" y="203"/>
                  <a:pt x="119" y="203"/>
                  <a:pt x="119" y="203"/>
                </a:cubicBezTo>
                <a:cubicBezTo>
                  <a:pt x="120" y="204"/>
                  <a:pt x="120" y="204"/>
                  <a:pt x="120" y="204"/>
                </a:cubicBezTo>
                <a:cubicBezTo>
                  <a:pt x="120" y="204"/>
                  <a:pt x="120" y="204"/>
                  <a:pt x="120" y="204"/>
                </a:cubicBezTo>
                <a:cubicBezTo>
                  <a:pt x="119" y="204"/>
                  <a:pt x="119" y="204"/>
                  <a:pt x="119" y="204"/>
                </a:cubicBezTo>
                <a:cubicBezTo>
                  <a:pt x="119" y="205"/>
                  <a:pt x="119" y="205"/>
                  <a:pt x="119" y="205"/>
                </a:cubicBezTo>
                <a:cubicBezTo>
                  <a:pt x="118" y="205"/>
                  <a:pt x="118" y="205"/>
                  <a:pt x="118" y="205"/>
                </a:cubicBezTo>
                <a:cubicBezTo>
                  <a:pt x="117" y="206"/>
                  <a:pt x="117" y="206"/>
                  <a:pt x="117" y="206"/>
                </a:cubicBezTo>
                <a:cubicBezTo>
                  <a:pt x="119" y="207"/>
                  <a:pt x="119" y="207"/>
                  <a:pt x="119" y="207"/>
                </a:cubicBezTo>
                <a:cubicBezTo>
                  <a:pt x="119" y="208"/>
                  <a:pt x="119" y="208"/>
                  <a:pt x="119" y="208"/>
                </a:cubicBezTo>
                <a:cubicBezTo>
                  <a:pt x="118" y="208"/>
                  <a:pt x="118" y="208"/>
                  <a:pt x="118" y="208"/>
                </a:cubicBezTo>
                <a:cubicBezTo>
                  <a:pt x="117" y="208"/>
                  <a:pt x="117" y="208"/>
                  <a:pt x="117" y="208"/>
                </a:cubicBezTo>
                <a:cubicBezTo>
                  <a:pt x="117" y="209"/>
                  <a:pt x="117" y="209"/>
                  <a:pt x="117" y="209"/>
                </a:cubicBezTo>
                <a:cubicBezTo>
                  <a:pt x="118" y="209"/>
                  <a:pt x="118" y="209"/>
                  <a:pt x="118" y="209"/>
                </a:cubicBezTo>
                <a:cubicBezTo>
                  <a:pt x="120" y="209"/>
                  <a:pt x="120" y="209"/>
                  <a:pt x="120" y="209"/>
                </a:cubicBezTo>
                <a:cubicBezTo>
                  <a:pt x="121" y="210"/>
                  <a:pt x="121" y="210"/>
                  <a:pt x="121" y="210"/>
                </a:cubicBezTo>
                <a:cubicBezTo>
                  <a:pt x="122" y="210"/>
                  <a:pt x="122" y="210"/>
                  <a:pt x="122" y="210"/>
                </a:cubicBezTo>
                <a:cubicBezTo>
                  <a:pt x="124" y="210"/>
                  <a:pt x="124" y="210"/>
                  <a:pt x="124" y="210"/>
                </a:cubicBezTo>
                <a:cubicBezTo>
                  <a:pt x="124" y="209"/>
                  <a:pt x="124" y="209"/>
                  <a:pt x="124" y="209"/>
                </a:cubicBezTo>
                <a:cubicBezTo>
                  <a:pt x="125" y="209"/>
                  <a:pt x="125" y="209"/>
                  <a:pt x="125" y="209"/>
                </a:cubicBezTo>
                <a:cubicBezTo>
                  <a:pt x="125" y="210"/>
                  <a:pt x="125" y="210"/>
                  <a:pt x="125" y="210"/>
                </a:cubicBezTo>
                <a:cubicBezTo>
                  <a:pt x="125" y="212"/>
                  <a:pt x="125" y="212"/>
                  <a:pt x="125" y="212"/>
                </a:cubicBezTo>
                <a:cubicBezTo>
                  <a:pt x="126" y="213"/>
                  <a:pt x="126" y="213"/>
                  <a:pt x="126" y="213"/>
                </a:cubicBezTo>
                <a:cubicBezTo>
                  <a:pt x="127" y="213"/>
                  <a:pt x="127" y="213"/>
                  <a:pt x="127" y="213"/>
                </a:cubicBezTo>
                <a:cubicBezTo>
                  <a:pt x="128" y="212"/>
                  <a:pt x="128" y="212"/>
                  <a:pt x="128" y="212"/>
                </a:cubicBezTo>
                <a:cubicBezTo>
                  <a:pt x="128" y="210"/>
                  <a:pt x="128" y="210"/>
                  <a:pt x="128" y="210"/>
                </a:cubicBezTo>
                <a:cubicBezTo>
                  <a:pt x="126" y="210"/>
                  <a:pt x="126" y="210"/>
                  <a:pt x="126" y="210"/>
                </a:cubicBezTo>
                <a:cubicBezTo>
                  <a:pt x="126" y="209"/>
                  <a:pt x="126" y="209"/>
                  <a:pt x="126" y="209"/>
                </a:cubicBezTo>
                <a:cubicBezTo>
                  <a:pt x="126" y="209"/>
                  <a:pt x="126" y="209"/>
                  <a:pt x="126" y="209"/>
                </a:cubicBezTo>
                <a:cubicBezTo>
                  <a:pt x="127" y="209"/>
                  <a:pt x="127" y="209"/>
                  <a:pt x="127" y="209"/>
                </a:cubicBezTo>
                <a:cubicBezTo>
                  <a:pt x="128" y="210"/>
                  <a:pt x="128" y="210"/>
                  <a:pt x="128" y="210"/>
                </a:cubicBezTo>
                <a:cubicBezTo>
                  <a:pt x="129" y="211"/>
                  <a:pt x="129" y="211"/>
                  <a:pt x="129" y="211"/>
                </a:cubicBezTo>
                <a:cubicBezTo>
                  <a:pt x="129" y="212"/>
                  <a:pt x="129" y="212"/>
                  <a:pt x="129" y="212"/>
                </a:cubicBezTo>
                <a:cubicBezTo>
                  <a:pt x="130" y="212"/>
                  <a:pt x="130" y="212"/>
                  <a:pt x="130" y="212"/>
                </a:cubicBezTo>
                <a:cubicBezTo>
                  <a:pt x="130" y="211"/>
                  <a:pt x="130" y="211"/>
                  <a:pt x="130" y="211"/>
                </a:cubicBezTo>
                <a:cubicBezTo>
                  <a:pt x="131" y="211"/>
                  <a:pt x="131" y="211"/>
                  <a:pt x="131" y="211"/>
                </a:cubicBezTo>
                <a:cubicBezTo>
                  <a:pt x="131" y="212"/>
                  <a:pt x="131" y="212"/>
                  <a:pt x="131" y="212"/>
                </a:cubicBezTo>
                <a:cubicBezTo>
                  <a:pt x="133" y="212"/>
                  <a:pt x="133" y="212"/>
                  <a:pt x="133" y="212"/>
                </a:cubicBezTo>
                <a:cubicBezTo>
                  <a:pt x="134" y="212"/>
                  <a:pt x="134" y="212"/>
                  <a:pt x="134" y="212"/>
                </a:cubicBezTo>
                <a:cubicBezTo>
                  <a:pt x="134" y="212"/>
                  <a:pt x="134" y="212"/>
                  <a:pt x="134" y="212"/>
                </a:cubicBezTo>
                <a:cubicBezTo>
                  <a:pt x="133" y="211"/>
                  <a:pt x="133" y="211"/>
                  <a:pt x="133" y="211"/>
                </a:cubicBezTo>
                <a:cubicBezTo>
                  <a:pt x="133" y="210"/>
                  <a:pt x="133" y="210"/>
                  <a:pt x="133" y="210"/>
                </a:cubicBezTo>
                <a:cubicBezTo>
                  <a:pt x="133" y="210"/>
                  <a:pt x="133" y="210"/>
                  <a:pt x="133" y="210"/>
                </a:cubicBezTo>
                <a:cubicBezTo>
                  <a:pt x="134" y="211"/>
                  <a:pt x="134" y="211"/>
                  <a:pt x="134" y="211"/>
                </a:cubicBezTo>
                <a:cubicBezTo>
                  <a:pt x="135" y="211"/>
                  <a:pt x="135" y="211"/>
                  <a:pt x="135" y="211"/>
                </a:cubicBezTo>
                <a:cubicBezTo>
                  <a:pt x="135" y="211"/>
                  <a:pt x="135" y="211"/>
                  <a:pt x="135" y="211"/>
                </a:cubicBezTo>
                <a:cubicBezTo>
                  <a:pt x="136" y="212"/>
                  <a:pt x="136" y="212"/>
                  <a:pt x="136" y="212"/>
                </a:cubicBezTo>
                <a:cubicBezTo>
                  <a:pt x="136" y="213"/>
                  <a:pt x="136" y="213"/>
                  <a:pt x="136" y="213"/>
                </a:cubicBezTo>
                <a:cubicBezTo>
                  <a:pt x="137" y="213"/>
                  <a:pt x="137" y="213"/>
                  <a:pt x="137" y="213"/>
                </a:cubicBezTo>
                <a:cubicBezTo>
                  <a:pt x="137" y="212"/>
                  <a:pt x="137" y="212"/>
                  <a:pt x="137" y="212"/>
                </a:cubicBezTo>
                <a:cubicBezTo>
                  <a:pt x="137" y="211"/>
                  <a:pt x="137" y="211"/>
                  <a:pt x="137" y="211"/>
                </a:cubicBezTo>
                <a:cubicBezTo>
                  <a:pt x="136" y="211"/>
                  <a:pt x="136" y="211"/>
                  <a:pt x="136" y="211"/>
                </a:cubicBezTo>
                <a:cubicBezTo>
                  <a:pt x="135" y="210"/>
                  <a:pt x="135" y="210"/>
                  <a:pt x="135" y="210"/>
                </a:cubicBezTo>
                <a:cubicBezTo>
                  <a:pt x="136" y="210"/>
                  <a:pt x="136" y="210"/>
                  <a:pt x="136" y="210"/>
                </a:cubicBezTo>
                <a:cubicBezTo>
                  <a:pt x="136" y="210"/>
                  <a:pt x="136" y="210"/>
                  <a:pt x="136" y="210"/>
                </a:cubicBezTo>
                <a:cubicBezTo>
                  <a:pt x="137" y="210"/>
                  <a:pt x="137" y="210"/>
                  <a:pt x="137" y="210"/>
                </a:cubicBezTo>
                <a:cubicBezTo>
                  <a:pt x="138" y="209"/>
                  <a:pt x="138" y="209"/>
                  <a:pt x="138" y="209"/>
                </a:cubicBezTo>
                <a:cubicBezTo>
                  <a:pt x="138" y="208"/>
                  <a:pt x="138" y="208"/>
                  <a:pt x="138" y="208"/>
                </a:cubicBezTo>
                <a:cubicBezTo>
                  <a:pt x="138" y="208"/>
                  <a:pt x="138" y="208"/>
                  <a:pt x="138" y="208"/>
                </a:cubicBezTo>
                <a:close/>
                <a:moveTo>
                  <a:pt x="44" y="286"/>
                </a:moveTo>
                <a:cubicBezTo>
                  <a:pt x="43" y="285"/>
                  <a:pt x="43" y="285"/>
                  <a:pt x="43" y="285"/>
                </a:cubicBezTo>
                <a:cubicBezTo>
                  <a:pt x="43" y="284"/>
                  <a:pt x="43" y="284"/>
                  <a:pt x="43" y="284"/>
                </a:cubicBezTo>
                <a:cubicBezTo>
                  <a:pt x="43" y="284"/>
                  <a:pt x="43" y="284"/>
                  <a:pt x="43" y="284"/>
                </a:cubicBezTo>
                <a:cubicBezTo>
                  <a:pt x="42" y="284"/>
                  <a:pt x="42" y="284"/>
                  <a:pt x="42" y="284"/>
                </a:cubicBezTo>
                <a:cubicBezTo>
                  <a:pt x="42" y="284"/>
                  <a:pt x="42" y="284"/>
                  <a:pt x="42" y="284"/>
                </a:cubicBezTo>
                <a:cubicBezTo>
                  <a:pt x="42" y="285"/>
                  <a:pt x="42" y="285"/>
                  <a:pt x="42" y="285"/>
                </a:cubicBezTo>
                <a:cubicBezTo>
                  <a:pt x="43" y="286"/>
                  <a:pt x="43" y="286"/>
                  <a:pt x="43" y="286"/>
                </a:cubicBezTo>
                <a:cubicBezTo>
                  <a:pt x="43" y="287"/>
                  <a:pt x="43" y="287"/>
                  <a:pt x="43" y="287"/>
                </a:cubicBezTo>
                <a:cubicBezTo>
                  <a:pt x="43" y="287"/>
                  <a:pt x="43" y="287"/>
                  <a:pt x="43" y="287"/>
                </a:cubicBezTo>
                <a:cubicBezTo>
                  <a:pt x="44" y="286"/>
                  <a:pt x="44" y="286"/>
                  <a:pt x="44" y="286"/>
                </a:cubicBezTo>
                <a:close/>
                <a:moveTo>
                  <a:pt x="76" y="265"/>
                </a:moveTo>
                <a:cubicBezTo>
                  <a:pt x="77" y="265"/>
                  <a:pt x="77" y="265"/>
                  <a:pt x="77" y="265"/>
                </a:cubicBezTo>
                <a:cubicBezTo>
                  <a:pt x="77" y="265"/>
                  <a:pt x="77" y="265"/>
                  <a:pt x="77" y="265"/>
                </a:cubicBezTo>
                <a:cubicBezTo>
                  <a:pt x="76" y="264"/>
                  <a:pt x="76" y="264"/>
                  <a:pt x="76" y="264"/>
                </a:cubicBezTo>
                <a:cubicBezTo>
                  <a:pt x="75" y="264"/>
                  <a:pt x="75" y="264"/>
                  <a:pt x="75" y="264"/>
                </a:cubicBezTo>
                <a:cubicBezTo>
                  <a:pt x="75" y="265"/>
                  <a:pt x="75" y="265"/>
                  <a:pt x="75" y="265"/>
                </a:cubicBezTo>
                <a:cubicBezTo>
                  <a:pt x="76" y="265"/>
                  <a:pt x="76" y="265"/>
                  <a:pt x="76" y="265"/>
                </a:cubicBezTo>
                <a:close/>
                <a:moveTo>
                  <a:pt x="101" y="238"/>
                </a:moveTo>
                <a:cubicBezTo>
                  <a:pt x="103" y="238"/>
                  <a:pt x="103" y="238"/>
                  <a:pt x="103" y="238"/>
                </a:cubicBezTo>
                <a:cubicBezTo>
                  <a:pt x="104" y="237"/>
                  <a:pt x="104" y="237"/>
                  <a:pt x="104" y="237"/>
                </a:cubicBezTo>
                <a:cubicBezTo>
                  <a:pt x="105" y="235"/>
                  <a:pt x="105" y="235"/>
                  <a:pt x="105" y="235"/>
                </a:cubicBezTo>
                <a:cubicBezTo>
                  <a:pt x="105" y="233"/>
                  <a:pt x="105" y="233"/>
                  <a:pt x="105" y="233"/>
                </a:cubicBezTo>
                <a:cubicBezTo>
                  <a:pt x="106" y="232"/>
                  <a:pt x="106" y="232"/>
                  <a:pt x="106" y="232"/>
                </a:cubicBezTo>
                <a:cubicBezTo>
                  <a:pt x="107" y="233"/>
                  <a:pt x="107" y="233"/>
                  <a:pt x="107" y="233"/>
                </a:cubicBezTo>
                <a:cubicBezTo>
                  <a:pt x="106" y="235"/>
                  <a:pt x="106" y="235"/>
                  <a:pt x="106" y="235"/>
                </a:cubicBezTo>
                <a:cubicBezTo>
                  <a:pt x="107" y="233"/>
                  <a:pt x="107" y="233"/>
                  <a:pt x="107" y="233"/>
                </a:cubicBezTo>
                <a:cubicBezTo>
                  <a:pt x="107" y="232"/>
                  <a:pt x="107" y="232"/>
                  <a:pt x="107" y="232"/>
                </a:cubicBezTo>
                <a:cubicBezTo>
                  <a:pt x="106" y="231"/>
                  <a:pt x="106" y="231"/>
                  <a:pt x="106" y="231"/>
                </a:cubicBezTo>
                <a:cubicBezTo>
                  <a:pt x="101" y="229"/>
                  <a:pt x="101" y="229"/>
                  <a:pt x="101" y="229"/>
                </a:cubicBezTo>
                <a:cubicBezTo>
                  <a:pt x="99" y="228"/>
                  <a:pt x="99" y="228"/>
                  <a:pt x="99" y="228"/>
                </a:cubicBezTo>
                <a:cubicBezTo>
                  <a:pt x="98" y="229"/>
                  <a:pt x="98" y="229"/>
                  <a:pt x="98" y="229"/>
                </a:cubicBezTo>
                <a:cubicBezTo>
                  <a:pt x="97" y="232"/>
                  <a:pt x="97" y="232"/>
                  <a:pt x="97" y="232"/>
                </a:cubicBezTo>
                <a:cubicBezTo>
                  <a:pt x="97" y="235"/>
                  <a:pt x="97" y="235"/>
                  <a:pt x="97" y="235"/>
                </a:cubicBezTo>
                <a:cubicBezTo>
                  <a:pt x="98" y="236"/>
                  <a:pt x="98" y="236"/>
                  <a:pt x="98" y="236"/>
                </a:cubicBezTo>
                <a:cubicBezTo>
                  <a:pt x="98" y="238"/>
                  <a:pt x="98" y="238"/>
                  <a:pt x="98" y="238"/>
                </a:cubicBezTo>
                <a:cubicBezTo>
                  <a:pt x="99" y="238"/>
                  <a:pt x="99" y="238"/>
                  <a:pt x="99" y="238"/>
                </a:cubicBezTo>
                <a:cubicBezTo>
                  <a:pt x="100" y="238"/>
                  <a:pt x="100" y="238"/>
                  <a:pt x="100" y="238"/>
                </a:cubicBezTo>
                <a:cubicBezTo>
                  <a:pt x="99" y="239"/>
                  <a:pt x="99" y="239"/>
                  <a:pt x="99" y="239"/>
                </a:cubicBezTo>
                <a:cubicBezTo>
                  <a:pt x="100" y="239"/>
                  <a:pt x="100" y="239"/>
                  <a:pt x="100" y="239"/>
                </a:cubicBezTo>
                <a:cubicBezTo>
                  <a:pt x="101" y="238"/>
                  <a:pt x="101" y="238"/>
                  <a:pt x="101" y="238"/>
                </a:cubicBezTo>
                <a:close/>
                <a:moveTo>
                  <a:pt x="113" y="240"/>
                </a:moveTo>
                <a:cubicBezTo>
                  <a:pt x="113" y="240"/>
                  <a:pt x="113" y="240"/>
                  <a:pt x="113" y="240"/>
                </a:cubicBezTo>
                <a:cubicBezTo>
                  <a:pt x="113" y="240"/>
                  <a:pt x="113" y="240"/>
                  <a:pt x="113" y="240"/>
                </a:cubicBezTo>
                <a:cubicBezTo>
                  <a:pt x="115" y="240"/>
                  <a:pt x="115" y="240"/>
                  <a:pt x="115" y="240"/>
                </a:cubicBezTo>
                <a:cubicBezTo>
                  <a:pt x="115" y="239"/>
                  <a:pt x="115" y="239"/>
                  <a:pt x="115" y="239"/>
                </a:cubicBezTo>
                <a:cubicBezTo>
                  <a:pt x="114" y="239"/>
                  <a:pt x="114" y="239"/>
                  <a:pt x="114" y="239"/>
                </a:cubicBezTo>
                <a:cubicBezTo>
                  <a:pt x="113" y="240"/>
                  <a:pt x="113" y="240"/>
                  <a:pt x="113" y="240"/>
                </a:cubicBezTo>
                <a:cubicBezTo>
                  <a:pt x="113" y="240"/>
                  <a:pt x="113" y="240"/>
                  <a:pt x="113" y="240"/>
                </a:cubicBezTo>
                <a:close/>
                <a:moveTo>
                  <a:pt x="131" y="240"/>
                </a:moveTo>
                <a:cubicBezTo>
                  <a:pt x="131" y="241"/>
                  <a:pt x="131" y="241"/>
                  <a:pt x="131" y="241"/>
                </a:cubicBezTo>
                <a:cubicBezTo>
                  <a:pt x="132" y="239"/>
                  <a:pt x="132" y="239"/>
                  <a:pt x="132" y="239"/>
                </a:cubicBezTo>
                <a:cubicBezTo>
                  <a:pt x="132" y="239"/>
                  <a:pt x="132" y="239"/>
                  <a:pt x="132" y="239"/>
                </a:cubicBezTo>
                <a:cubicBezTo>
                  <a:pt x="131" y="239"/>
                  <a:pt x="131" y="239"/>
                  <a:pt x="131" y="239"/>
                </a:cubicBezTo>
                <a:cubicBezTo>
                  <a:pt x="131" y="240"/>
                  <a:pt x="131" y="240"/>
                  <a:pt x="131" y="240"/>
                </a:cubicBezTo>
                <a:cubicBezTo>
                  <a:pt x="131" y="240"/>
                  <a:pt x="131" y="240"/>
                  <a:pt x="131" y="240"/>
                </a:cubicBezTo>
                <a:close/>
                <a:moveTo>
                  <a:pt x="128" y="240"/>
                </a:moveTo>
                <a:cubicBezTo>
                  <a:pt x="129" y="240"/>
                  <a:pt x="129" y="240"/>
                  <a:pt x="129" y="240"/>
                </a:cubicBezTo>
                <a:cubicBezTo>
                  <a:pt x="130" y="240"/>
                  <a:pt x="130" y="240"/>
                  <a:pt x="130" y="240"/>
                </a:cubicBezTo>
                <a:cubicBezTo>
                  <a:pt x="129" y="239"/>
                  <a:pt x="129" y="239"/>
                  <a:pt x="129" y="239"/>
                </a:cubicBezTo>
                <a:cubicBezTo>
                  <a:pt x="129" y="239"/>
                  <a:pt x="129" y="239"/>
                  <a:pt x="129" y="239"/>
                </a:cubicBezTo>
                <a:cubicBezTo>
                  <a:pt x="128" y="240"/>
                  <a:pt x="128" y="240"/>
                  <a:pt x="128" y="240"/>
                </a:cubicBezTo>
                <a:close/>
                <a:moveTo>
                  <a:pt x="143" y="234"/>
                </a:moveTo>
                <a:cubicBezTo>
                  <a:pt x="144" y="234"/>
                  <a:pt x="144" y="234"/>
                  <a:pt x="144" y="234"/>
                </a:cubicBezTo>
                <a:cubicBezTo>
                  <a:pt x="144" y="234"/>
                  <a:pt x="144" y="234"/>
                  <a:pt x="144" y="234"/>
                </a:cubicBezTo>
                <a:cubicBezTo>
                  <a:pt x="146" y="233"/>
                  <a:pt x="146" y="233"/>
                  <a:pt x="146" y="233"/>
                </a:cubicBezTo>
                <a:cubicBezTo>
                  <a:pt x="147" y="233"/>
                  <a:pt x="147" y="233"/>
                  <a:pt x="147" y="233"/>
                </a:cubicBezTo>
                <a:cubicBezTo>
                  <a:pt x="146" y="232"/>
                  <a:pt x="146" y="232"/>
                  <a:pt x="146" y="232"/>
                </a:cubicBezTo>
                <a:cubicBezTo>
                  <a:pt x="144" y="233"/>
                  <a:pt x="144" y="233"/>
                  <a:pt x="144" y="233"/>
                </a:cubicBezTo>
                <a:cubicBezTo>
                  <a:pt x="143" y="234"/>
                  <a:pt x="143" y="234"/>
                  <a:pt x="143" y="234"/>
                </a:cubicBezTo>
                <a:close/>
                <a:moveTo>
                  <a:pt x="137" y="233"/>
                </a:moveTo>
                <a:cubicBezTo>
                  <a:pt x="138" y="233"/>
                  <a:pt x="138" y="233"/>
                  <a:pt x="138" y="233"/>
                </a:cubicBezTo>
                <a:cubicBezTo>
                  <a:pt x="139" y="233"/>
                  <a:pt x="139" y="233"/>
                  <a:pt x="139" y="233"/>
                </a:cubicBezTo>
                <a:cubicBezTo>
                  <a:pt x="139" y="233"/>
                  <a:pt x="139" y="233"/>
                  <a:pt x="139" y="233"/>
                </a:cubicBezTo>
                <a:cubicBezTo>
                  <a:pt x="138" y="232"/>
                  <a:pt x="138" y="232"/>
                  <a:pt x="138" y="232"/>
                </a:cubicBezTo>
                <a:cubicBezTo>
                  <a:pt x="137" y="233"/>
                  <a:pt x="137" y="233"/>
                  <a:pt x="137" y="233"/>
                </a:cubicBezTo>
                <a:close/>
                <a:moveTo>
                  <a:pt x="133" y="232"/>
                </a:moveTo>
                <a:cubicBezTo>
                  <a:pt x="134" y="233"/>
                  <a:pt x="134" y="233"/>
                  <a:pt x="134" y="233"/>
                </a:cubicBezTo>
                <a:cubicBezTo>
                  <a:pt x="135" y="233"/>
                  <a:pt x="135" y="233"/>
                  <a:pt x="135" y="233"/>
                </a:cubicBezTo>
                <a:cubicBezTo>
                  <a:pt x="136" y="234"/>
                  <a:pt x="136" y="234"/>
                  <a:pt x="136" y="234"/>
                </a:cubicBezTo>
                <a:cubicBezTo>
                  <a:pt x="135" y="232"/>
                  <a:pt x="135" y="232"/>
                  <a:pt x="135" y="232"/>
                </a:cubicBezTo>
                <a:cubicBezTo>
                  <a:pt x="134" y="232"/>
                  <a:pt x="134" y="232"/>
                  <a:pt x="134" y="232"/>
                </a:cubicBezTo>
                <a:cubicBezTo>
                  <a:pt x="133" y="232"/>
                  <a:pt x="133" y="232"/>
                  <a:pt x="133" y="232"/>
                </a:cubicBezTo>
                <a:close/>
                <a:moveTo>
                  <a:pt x="131" y="233"/>
                </a:moveTo>
                <a:cubicBezTo>
                  <a:pt x="132" y="233"/>
                  <a:pt x="132" y="233"/>
                  <a:pt x="132" y="233"/>
                </a:cubicBezTo>
                <a:cubicBezTo>
                  <a:pt x="132" y="233"/>
                  <a:pt x="132" y="233"/>
                  <a:pt x="132" y="233"/>
                </a:cubicBezTo>
                <a:cubicBezTo>
                  <a:pt x="133" y="232"/>
                  <a:pt x="133" y="232"/>
                  <a:pt x="133" y="232"/>
                </a:cubicBezTo>
                <a:cubicBezTo>
                  <a:pt x="132" y="232"/>
                  <a:pt x="132" y="232"/>
                  <a:pt x="132" y="232"/>
                </a:cubicBezTo>
                <a:cubicBezTo>
                  <a:pt x="131" y="233"/>
                  <a:pt x="131" y="233"/>
                  <a:pt x="131" y="233"/>
                </a:cubicBezTo>
                <a:close/>
                <a:moveTo>
                  <a:pt x="266" y="192"/>
                </a:moveTo>
                <a:cubicBezTo>
                  <a:pt x="266" y="193"/>
                  <a:pt x="266" y="193"/>
                  <a:pt x="266" y="193"/>
                </a:cubicBezTo>
                <a:cubicBezTo>
                  <a:pt x="266" y="194"/>
                  <a:pt x="266" y="194"/>
                  <a:pt x="266" y="194"/>
                </a:cubicBezTo>
                <a:cubicBezTo>
                  <a:pt x="267" y="193"/>
                  <a:pt x="267" y="193"/>
                  <a:pt x="267" y="193"/>
                </a:cubicBezTo>
                <a:cubicBezTo>
                  <a:pt x="266" y="192"/>
                  <a:pt x="266" y="192"/>
                  <a:pt x="266" y="192"/>
                </a:cubicBezTo>
                <a:cubicBezTo>
                  <a:pt x="266" y="192"/>
                  <a:pt x="266" y="192"/>
                  <a:pt x="266" y="192"/>
                </a:cubicBezTo>
                <a:close/>
                <a:moveTo>
                  <a:pt x="263" y="188"/>
                </a:moveTo>
                <a:cubicBezTo>
                  <a:pt x="263" y="190"/>
                  <a:pt x="263" y="190"/>
                  <a:pt x="263" y="190"/>
                </a:cubicBezTo>
                <a:cubicBezTo>
                  <a:pt x="264" y="192"/>
                  <a:pt x="264" y="192"/>
                  <a:pt x="264" y="192"/>
                </a:cubicBezTo>
                <a:cubicBezTo>
                  <a:pt x="264" y="194"/>
                  <a:pt x="264" y="194"/>
                  <a:pt x="264" y="194"/>
                </a:cubicBezTo>
                <a:cubicBezTo>
                  <a:pt x="264" y="194"/>
                  <a:pt x="264" y="194"/>
                  <a:pt x="264" y="194"/>
                </a:cubicBezTo>
                <a:cubicBezTo>
                  <a:pt x="265" y="193"/>
                  <a:pt x="265" y="193"/>
                  <a:pt x="265" y="193"/>
                </a:cubicBezTo>
                <a:cubicBezTo>
                  <a:pt x="265" y="189"/>
                  <a:pt x="265" y="189"/>
                  <a:pt x="265" y="189"/>
                </a:cubicBezTo>
                <a:cubicBezTo>
                  <a:pt x="264" y="188"/>
                  <a:pt x="264" y="188"/>
                  <a:pt x="264" y="188"/>
                </a:cubicBezTo>
                <a:cubicBezTo>
                  <a:pt x="263" y="188"/>
                  <a:pt x="263" y="188"/>
                  <a:pt x="263" y="188"/>
                </a:cubicBezTo>
                <a:close/>
                <a:moveTo>
                  <a:pt x="262" y="186"/>
                </a:moveTo>
                <a:cubicBezTo>
                  <a:pt x="262" y="187"/>
                  <a:pt x="262" y="187"/>
                  <a:pt x="262" y="187"/>
                </a:cubicBezTo>
                <a:cubicBezTo>
                  <a:pt x="263" y="187"/>
                  <a:pt x="263" y="187"/>
                  <a:pt x="263" y="187"/>
                </a:cubicBezTo>
                <a:cubicBezTo>
                  <a:pt x="263" y="186"/>
                  <a:pt x="263" y="186"/>
                  <a:pt x="263" y="186"/>
                </a:cubicBezTo>
                <a:cubicBezTo>
                  <a:pt x="262" y="185"/>
                  <a:pt x="262" y="185"/>
                  <a:pt x="262" y="185"/>
                </a:cubicBezTo>
                <a:cubicBezTo>
                  <a:pt x="262" y="186"/>
                  <a:pt x="262" y="186"/>
                  <a:pt x="262" y="186"/>
                </a:cubicBezTo>
                <a:close/>
                <a:moveTo>
                  <a:pt x="147" y="223"/>
                </a:moveTo>
                <a:cubicBezTo>
                  <a:pt x="148" y="223"/>
                  <a:pt x="148" y="223"/>
                  <a:pt x="148" y="223"/>
                </a:cubicBezTo>
                <a:cubicBezTo>
                  <a:pt x="148" y="222"/>
                  <a:pt x="148" y="222"/>
                  <a:pt x="148" y="222"/>
                </a:cubicBezTo>
                <a:cubicBezTo>
                  <a:pt x="147" y="222"/>
                  <a:pt x="147" y="222"/>
                  <a:pt x="147" y="222"/>
                </a:cubicBezTo>
                <a:cubicBezTo>
                  <a:pt x="147" y="223"/>
                  <a:pt x="147" y="223"/>
                  <a:pt x="147" y="223"/>
                </a:cubicBezTo>
                <a:close/>
                <a:moveTo>
                  <a:pt x="153" y="228"/>
                </a:moveTo>
                <a:cubicBezTo>
                  <a:pt x="153" y="228"/>
                  <a:pt x="154" y="228"/>
                  <a:pt x="154" y="228"/>
                </a:cubicBezTo>
                <a:cubicBezTo>
                  <a:pt x="153" y="228"/>
                  <a:pt x="153" y="228"/>
                  <a:pt x="153" y="228"/>
                </a:cubicBezTo>
                <a:cubicBezTo>
                  <a:pt x="153" y="228"/>
                  <a:pt x="153" y="228"/>
                  <a:pt x="153" y="228"/>
                </a:cubicBezTo>
                <a:close/>
                <a:moveTo>
                  <a:pt x="152" y="227"/>
                </a:moveTo>
                <a:cubicBezTo>
                  <a:pt x="152" y="225"/>
                  <a:pt x="152" y="225"/>
                  <a:pt x="152" y="225"/>
                </a:cubicBezTo>
                <a:cubicBezTo>
                  <a:pt x="150" y="224"/>
                  <a:pt x="150" y="224"/>
                  <a:pt x="150" y="224"/>
                </a:cubicBezTo>
                <a:cubicBezTo>
                  <a:pt x="149" y="223"/>
                  <a:pt x="149" y="223"/>
                  <a:pt x="149" y="223"/>
                </a:cubicBezTo>
                <a:cubicBezTo>
                  <a:pt x="149" y="224"/>
                  <a:pt x="149" y="224"/>
                  <a:pt x="149" y="224"/>
                </a:cubicBezTo>
                <a:cubicBezTo>
                  <a:pt x="150" y="225"/>
                  <a:pt x="150" y="225"/>
                  <a:pt x="150" y="225"/>
                </a:cubicBezTo>
                <a:cubicBezTo>
                  <a:pt x="152" y="227"/>
                  <a:pt x="152" y="227"/>
                  <a:pt x="152" y="227"/>
                </a:cubicBezTo>
                <a:close/>
                <a:moveTo>
                  <a:pt x="156" y="221"/>
                </a:moveTo>
                <a:cubicBezTo>
                  <a:pt x="156" y="219"/>
                  <a:pt x="156" y="219"/>
                  <a:pt x="156" y="219"/>
                </a:cubicBezTo>
                <a:cubicBezTo>
                  <a:pt x="156" y="217"/>
                  <a:pt x="156" y="217"/>
                  <a:pt x="156" y="217"/>
                </a:cubicBezTo>
                <a:cubicBezTo>
                  <a:pt x="154" y="216"/>
                  <a:pt x="154" y="216"/>
                  <a:pt x="154" y="216"/>
                </a:cubicBezTo>
                <a:cubicBezTo>
                  <a:pt x="152" y="214"/>
                  <a:pt x="152" y="214"/>
                  <a:pt x="152" y="214"/>
                </a:cubicBezTo>
                <a:cubicBezTo>
                  <a:pt x="151" y="214"/>
                  <a:pt x="151" y="214"/>
                  <a:pt x="151" y="214"/>
                </a:cubicBezTo>
                <a:cubicBezTo>
                  <a:pt x="149" y="213"/>
                  <a:pt x="149" y="213"/>
                  <a:pt x="149" y="213"/>
                </a:cubicBezTo>
                <a:cubicBezTo>
                  <a:pt x="148" y="212"/>
                  <a:pt x="148" y="212"/>
                  <a:pt x="148" y="212"/>
                </a:cubicBezTo>
                <a:cubicBezTo>
                  <a:pt x="148" y="211"/>
                  <a:pt x="148" y="211"/>
                  <a:pt x="148" y="211"/>
                </a:cubicBezTo>
                <a:cubicBezTo>
                  <a:pt x="146" y="210"/>
                  <a:pt x="146" y="210"/>
                  <a:pt x="146" y="210"/>
                </a:cubicBezTo>
                <a:cubicBezTo>
                  <a:pt x="145" y="210"/>
                  <a:pt x="145" y="210"/>
                  <a:pt x="145" y="210"/>
                </a:cubicBezTo>
                <a:cubicBezTo>
                  <a:pt x="145" y="210"/>
                  <a:pt x="145" y="210"/>
                  <a:pt x="145" y="210"/>
                </a:cubicBezTo>
                <a:cubicBezTo>
                  <a:pt x="145" y="211"/>
                  <a:pt x="145" y="211"/>
                  <a:pt x="145" y="211"/>
                </a:cubicBezTo>
                <a:cubicBezTo>
                  <a:pt x="144" y="212"/>
                  <a:pt x="144" y="212"/>
                  <a:pt x="144" y="212"/>
                </a:cubicBezTo>
                <a:cubicBezTo>
                  <a:pt x="145" y="213"/>
                  <a:pt x="145" y="213"/>
                  <a:pt x="145" y="213"/>
                </a:cubicBezTo>
                <a:cubicBezTo>
                  <a:pt x="146" y="213"/>
                  <a:pt x="146" y="213"/>
                  <a:pt x="146" y="213"/>
                </a:cubicBezTo>
                <a:cubicBezTo>
                  <a:pt x="145" y="214"/>
                  <a:pt x="145" y="214"/>
                  <a:pt x="145" y="214"/>
                </a:cubicBezTo>
                <a:cubicBezTo>
                  <a:pt x="145" y="214"/>
                  <a:pt x="145" y="214"/>
                  <a:pt x="145" y="214"/>
                </a:cubicBezTo>
                <a:cubicBezTo>
                  <a:pt x="144" y="213"/>
                  <a:pt x="144" y="213"/>
                  <a:pt x="144" y="213"/>
                </a:cubicBezTo>
                <a:cubicBezTo>
                  <a:pt x="143" y="213"/>
                  <a:pt x="143" y="213"/>
                  <a:pt x="143" y="213"/>
                </a:cubicBezTo>
                <a:cubicBezTo>
                  <a:pt x="144" y="214"/>
                  <a:pt x="144" y="214"/>
                  <a:pt x="144" y="214"/>
                </a:cubicBezTo>
                <a:cubicBezTo>
                  <a:pt x="146" y="217"/>
                  <a:pt x="146" y="217"/>
                  <a:pt x="146" y="217"/>
                </a:cubicBezTo>
                <a:cubicBezTo>
                  <a:pt x="147" y="217"/>
                  <a:pt x="147" y="217"/>
                  <a:pt x="147" y="217"/>
                </a:cubicBezTo>
                <a:cubicBezTo>
                  <a:pt x="148" y="219"/>
                  <a:pt x="148" y="219"/>
                  <a:pt x="148" y="219"/>
                </a:cubicBezTo>
                <a:cubicBezTo>
                  <a:pt x="149" y="219"/>
                  <a:pt x="149" y="219"/>
                  <a:pt x="149" y="219"/>
                </a:cubicBezTo>
                <a:cubicBezTo>
                  <a:pt x="149" y="217"/>
                  <a:pt x="149" y="217"/>
                  <a:pt x="149" y="217"/>
                </a:cubicBezTo>
                <a:cubicBezTo>
                  <a:pt x="150" y="218"/>
                  <a:pt x="150" y="218"/>
                  <a:pt x="150" y="218"/>
                </a:cubicBezTo>
                <a:cubicBezTo>
                  <a:pt x="151" y="217"/>
                  <a:pt x="151" y="217"/>
                  <a:pt x="151" y="217"/>
                </a:cubicBezTo>
                <a:cubicBezTo>
                  <a:pt x="151" y="218"/>
                  <a:pt x="151" y="218"/>
                  <a:pt x="151" y="218"/>
                </a:cubicBezTo>
                <a:cubicBezTo>
                  <a:pt x="151" y="220"/>
                  <a:pt x="151" y="220"/>
                  <a:pt x="151" y="220"/>
                </a:cubicBezTo>
                <a:cubicBezTo>
                  <a:pt x="151" y="220"/>
                  <a:pt x="151" y="220"/>
                  <a:pt x="151" y="220"/>
                </a:cubicBezTo>
                <a:cubicBezTo>
                  <a:pt x="152" y="221"/>
                  <a:pt x="152" y="221"/>
                  <a:pt x="152" y="221"/>
                </a:cubicBezTo>
                <a:cubicBezTo>
                  <a:pt x="154" y="221"/>
                  <a:pt x="154" y="221"/>
                  <a:pt x="154" y="221"/>
                </a:cubicBezTo>
                <a:cubicBezTo>
                  <a:pt x="154" y="220"/>
                  <a:pt x="154" y="220"/>
                  <a:pt x="154" y="220"/>
                </a:cubicBezTo>
                <a:cubicBezTo>
                  <a:pt x="156" y="221"/>
                  <a:pt x="156" y="221"/>
                  <a:pt x="156" y="221"/>
                </a:cubicBezTo>
                <a:close/>
                <a:moveTo>
                  <a:pt x="185" y="167"/>
                </a:moveTo>
                <a:cubicBezTo>
                  <a:pt x="186" y="167"/>
                  <a:pt x="186" y="167"/>
                  <a:pt x="186" y="167"/>
                </a:cubicBezTo>
                <a:cubicBezTo>
                  <a:pt x="186" y="167"/>
                  <a:pt x="186" y="167"/>
                  <a:pt x="186" y="167"/>
                </a:cubicBezTo>
                <a:cubicBezTo>
                  <a:pt x="186" y="166"/>
                  <a:pt x="186" y="166"/>
                  <a:pt x="186" y="166"/>
                </a:cubicBezTo>
                <a:cubicBezTo>
                  <a:pt x="186" y="166"/>
                  <a:pt x="186" y="166"/>
                  <a:pt x="186" y="166"/>
                </a:cubicBezTo>
                <a:cubicBezTo>
                  <a:pt x="187" y="167"/>
                  <a:pt x="187" y="167"/>
                  <a:pt x="187" y="167"/>
                </a:cubicBezTo>
                <a:cubicBezTo>
                  <a:pt x="188" y="167"/>
                  <a:pt x="188" y="167"/>
                  <a:pt x="188" y="167"/>
                </a:cubicBezTo>
                <a:cubicBezTo>
                  <a:pt x="188" y="167"/>
                  <a:pt x="188" y="167"/>
                  <a:pt x="188" y="167"/>
                </a:cubicBezTo>
                <a:cubicBezTo>
                  <a:pt x="189" y="167"/>
                  <a:pt x="189" y="167"/>
                  <a:pt x="189" y="167"/>
                </a:cubicBezTo>
                <a:cubicBezTo>
                  <a:pt x="189" y="166"/>
                  <a:pt x="189" y="166"/>
                  <a:pt x="189" y="166"/>
                </a:cubicBezTo>
                <a:cubicBezTo>
                  <a:pt x="191" y="165"/>
                  <a:pt x="191" y="165"/>
                  <a:pt x="191" y="165"/>
                </a:cubicBezTo>
                <a:cubicBezTo>
                  <a:pt x="192" y="164"/>
                  <a:pt x="192" y="164"/>
                  <a:pt x="192" y="164"/>
                </a:cubicBezTo>
                <a:cubicBezTo>
                  <a:pt x="192" y="164"/>
                  <a:pt x="192" y="164"/>
                  <a:pt x="192" y="164"/>
                </a:cubicBezTo>
                <a:cubicBezTo>
                  <a:pt x="191" y="162"/>
                  <a:pt x="191" y="162"/>
                  <a:pt x="191" y="162"/>
                </a:cubicBezTo>
                <a:cubicBezTo>
                  <a:pt x="190" y="161"/>
                  <a:pt x="190" y="161"/>
                  <a:pt x="190" y="161"/>
                </a:cubicBezTo>
                <a:cubicBezTo>
                  <a:pt x="190" y="160"/>
                  <a:pt x="190" y="160"/>
                  <a:pt x="190" y="160"/>
                </a:cubicBezTo>
                <a:cubicBezTo>
                  <a:pt x="188" y="159"/>
                  <a:pt x="188" y="159"/>
                  <a:pt x="188" y="159"/>
                </a:cubicBezTo>
                <a:cubicBezTo>
                  <a:pt x="188" y="159"/>
                  <a:pt x="188" y="159"/>
                  <a:pt x="188" y="159"/>
                </a:cubicBezTo>
                <a:cubicBezTo>
                  <a:pt x="187" y="159"/>
                  <a:pt x="187" y="159"/>
                  <a:pt x="187" y="159"/>
                </a:cubicBezTo>
                <a:cubicBezTo>
                  <a:pt x="186" y="160"/>
                  <a:pt x="186" y="160"/>
                  <a:pt x="186" y="160"/>
                </a:cubicBezTo>
                <a:cubicBezTo>
                  <a:pt x="185" y="160"/>
                  <a:pt x="185" y="160"/>
                  <a:pt x="185" y="160"/>
                </a:cubicBezTo>
                <a:cubicBezTo>
                  <a:pt x="183" y="161"/>
                  <a:pt x="183" y="161"/>
                  <a:pt x="183" y="161"/>
                </a:cubicBezTo>
                <a:cubicBezTo>
                  <a:pt x="183" y="162"/>
                  <a:pt x="183" y="162"/>
                  <a:pt x="183" y="162"/>
                </a:cubicBezTo>
                <a:cubicBezTo>
                  <a:pt x="184" y="163"/>
                  <a:pt x="184" y="163"/>
                  <a:pt x="184" y="163"/>
                </a:cubicBezTo>
                <a:cubicBezTo>
                  <a:pt x="184" y="165"/>
                  <a:pt x="184" y="165"/>
                  <a:pt x="184" y="165"/>
                </a:cubicBezTo>
                <a:cubicBezTo>
                  <a:pt x="184" y="166"/>
                  <a:pt x="184" y="166"/>
                  <a:pt x="184" y="166"/>
                </a:cubicBezTo>
                <a:cubicBezTo>
                  <a:pt x="185" y="167"/>
                  <a:pt x="185" y="167"/>
                  <a:pt x="185" y="167"/>
                </a:cubicBezTo>
                <a:close/>
                <a:moveTo>
                  <a:pt x="189" y="220"/>
                </a:moveTo>
                <a:cubicBezTo>
                  <a:pt x="189" y="220"/>
                  <a:pt x="189" y="221"/>
                  <a:pt x="189" y="221"/>
                </a:cubicBezTo>
                <a:cubicBezTo>
                  <a:pt x="190" y="221"/>
                  <a:pt x="190" y="221"/>
                  <a:pt x="190" y="221"/>
                </a:cubicBezTo>
                <a:cubicBezTo>
                  <a:pt x="191" y="220"/>
                  <a:pt x="191" y="220"/>
                  <a:pt x="191" y="220"/>
                </a:cubicBezTo>
                <a:cubicBezTo>
                  <a:pt x="191" y="219"/>
                  <a:pt x="191" y="219"/>
                  <a:pt x="191" y="219"/>
                </a:cubicBezTo>
                <a:cubicBezTo>
                  <a:pt x="190" y="218"/>
                  <a:pt x="190" y="218"/>
                  <a:pt x="190" y="218"/>
                </a:cubicBezTo>
                <a:cubicBezTo>
                  <a:pt x="189" y="219"/>
                  <a:pt x="189" y="219"/>
                  <a:pt x="189" y="219"/>
                </a:cubicBezTo>
                <a:cubicBezTo>
                  <a:pt x="189" y="219"/>
                  <a:pt x="189" y="219"/>
                  <a:pt x="189" y="219"/>
                </a:cubicBezTo>
                <a:cubicBezTo>
                  <a:pt x="189" y="220"/>
                  <a:pt x="189" y="220"/>
                  <a:pt x="189" y="220"/>
                </a:cubicBezTo>
                <a:close/>
                <a:moveTo>
                  <a:pt x="213" y="250"/>
                </a:moveTo>
                <a:cubicBezTo>
                  <a:pt x="213" y="250"/>
                  <a:pt x="213" y="250"/>
                  <a:pt x="213" y="250"/>
                </a:cubicBezTo>
                <a:cubicBezTo>
                  <a:pt x="214" y="251"/>
                  <a:pt x="214" y="251"/>
                  <a:pt x="214" y="251"/>
                </a:cubicBezTo>
                <a:cubicBezTo>
                  <a:pt x="214" y="251"/>
                  <a:pt x="214" y="251"/>
                  <a:pt x="214" y="251"/>
                </a:cubicBezTo>
                <a:cubicBezTo>
                  <a:pt x="215" y="252"/>
                  <a:pt x="215" y="252"/>
                  <a:pt x="215" y="252"/>
                </a:cubicBezTo>
                <a:cubicBezTo>
                  <a:pt x="216" y="252"/>
                  <a:pt x="216" y="252"/>
                  <a:pt x="216" y="252"/>
                </a:cubicBezTo>
                <a:cubicBezTo>
                  <a:pt x="217" y="251"/>
                  <a:pt x="217" y="251"/>
                  <a:pt x="217" y="251"/>
                </a:cubicBezTo>
                <a:cubicBezTo>
                  <a:pt x="216" y="250"/>
                  <a:pt x="216" y="250"/>
                  <a:pt x="216" y="250"/>
                </a:cubicBezTo>
                <a:cubicBezTo>
                  <a:pt x="215" y="250"/>
                  <a:pt x="215" y="250"/>
                  <a:pt x="215" y="250"/>
                </a:cubicBezTo>
                <a:cubicBezTo>
                  <a:pt x="214" y="250"/>
                  <a:pt x="214" y="250"/>
                  <a:pt x="214" y="250"/>
                </a:cubicBezTo>
                <a:cubicBezTo>
                  <a:pt x="214" y="250"/>
                  <a:pt x="214" y="250"/>
                  <a:pt x="214" y="250"/>
                </a:cubicBezTo>
                <a:cubicBezTo>
                  <a:pt x="213" y="250"/>
                  <a:pt x="213" y="250"/>
                  <a:pt x="213" y="250"/>
                </a:cubicBezTo>
                <a:close/>
                <a:moveTo>
                  <a:pt x="208" y="166"/>
                </a:moveTo>
                <a:cubicBezTo>
                  <a:pt x="208" y="165"/>
                  <a:pt x="208" y="165"/>
                  <a:pt x="208" y="165"/>
                </a:cubicBezTo>
                <a:cubicBezTo>
                  <a:pt x="208" y="165"/>
                  <a:pt x="208" y="165"/>
                  <a:pt x="208" y="165"/>
                </a:cubicBezTo>
                <a:cubicBezTo>
                  <a:pt x="208" y="164"/>
                  <a:pt x="208" y="164"/>
                  <a:pt x="208" y="164"/>
                </a:cubicBezTo>
                <a:cubicBezTo>
                  <a:pt x="208" y="163"/>
                  <a:pt x="208" y="163"/>
                  <a:pt x="208" y="163"/>
                </a:cubicBezTo>
                <a:cubicBezTo>
                  <a:pt x="208" y="162"/>
                  <a:pt x="208" y="162"/>
                  <a:pt x="208" y="162"/>
                </a:cubicBezTo>
                <a:cubicBezTo>
                  <a:pt x="207" y="162"/>
                  <a:pt x="207" y="162"/>
                  <a:pt x="207" y="162"/>
                </a:cubicBezTo>
                <a:cubicBezTo>
                  <a:pt x="206" y="162"/>
                  <a:pt x="206" y="162"/>
                  <a:pt x="206" y="162"/>
                </a:cubicBezTo>
                <a:cubicBezTo>
                  <a:pt x="205" y="165"/>
                  <a:pt x="205" y="165"/>
                  <a:pt x="205" y="165"/>
                </a:cubicBezTo>
                <a:cubicBezTo>
                  <a:pt x="206" y="166"/>
                  <a:pt x="206" y="166"/>
                  <a:pt x="206" y="166"/>
                </a:cubicBezTo>
                <a:cubicBezTo>
                  <a:pt x="207" y="166"/>
                  <a:pt x="207" y="166"/>
                  <a:pt x="207" y="166"/>
                </a:cubicBezTo>
                <a:cubicBezTo>
                  <a:pt x="208" y="166"/>
                  <a:pt x="208" y="166"/>
                  <a:pt x="208" y="166"/>
                </a:cubicBezTo>
                <a:cubicBezTo>
                  <a:pt x="208" y="166"/>
                  <a:pt x="208" y="166"/>
                  <a:pt x="208" y="166"/>
                </a:cubicBezTo>
                <a:close/>
                <a:moveTo>
                  <a:pt x="206" y="157"/>
                </a:moveTo>
                <a:cubicBezTo>
                  <a:pt x="207" y="156"/>
                  <a:pt x="207" y="156"/>
                  <a:pt x="207" y="156"/>
                </a:cubicBezTo>
                <a:cubicBezTo>
                  <a:pt x="208" y="157"/>
                  <a:pt x="208" y="157"/>
                  <a:pt x="208" y="157"/>
                </a:cubicBezTo>
                <a:cubicBezTo>
                  <a:pt x="209" y="156"/>
                  <a:pt x="209" y="156"/>
                  <a:pt x="209" y="156"/>
                </a:cubicBezTo>
                <a:cubicBezTo>
                  <a:pt x="209" y="155"/>
                  <a:pt x="209" y="155"/>
                  <a:pt x="209" y="155"/>
                </a:cubicBezTo>
                <a:cubicBezTo>
                  <a:pt x="209" y="154"/>
                  <a:pt x="209" y="154"/>
                  <a:pt x="209" y="154"/>
                </a:cubicBezTo>
                <a:cubicBezTo>
                  <a:pt x="210" y="154"/>
                  <a:pt x="210" y="154"/>
                  <a:pt x="210" y="154"/>
                </a:cubicBezTo>
                <a:cubicBezTo>
                  <a:pt x="210" y="154"/>
                  <a:pt x="210" y="154"/>
                  <a:pt x="210" y="154"/>
                </a:cubicBezTo>
                <a:cubicBezTo>
                  <a:pt x="209" y="154"/>
                  <a:pt x="209" y="154"/>
                  <a:pt x="209" y="154"/>
                </a:cubicBezTo>
                <a:cubicBezTo>
                  <a:pt x="207" y="155"/>
                  <a:pt x="207" y="155"/>
                  <a:pt x="207" y="155"/>
                </a:cubicBezTo>
                <a:cubicBezTo>
                  <a:pt x="206" y="156"/>
                  <a:pt x="206" y="156"/>
                  <a:pt x="206" y="156"/>
                </a:cubicBezTo>
                <a:cubicBezTo>
                  <a:pt x="206" y="157"/>
                  <a:pt x="206" y="157"/>
                  <a:pt x="206" y="157"/>
                </a:cubicBezTo>
                <a:close/>
                <a:moveTo>
                  <a:pt x="212" y="159"/>
                </a:moveTo>
                <a:cubicBezTo>
                  <a:pt x="213" y="160"/>
                  <a:pt x="213" y="160"/>
                  <a:pt x="213" y="160"/>
                </a:cubicBezTo>
                <a:cubicBezTo>
                  <a:pt x="215" y="160"/>
                  <a:pt x="215" y="160"/>
                  <a:pt x="215" y="160"/>
                </a:cubicBezTo>
                <a:cubicBezTo>
                  <a:pt x="216" y="160"/>
                  <a:pt x="216" y="160"/>
                  <a:pt x="216" y="160"/>
                </a:cubicBezTo>
                <a:cubicBezTo>
                  <a:pt x="215" y="159"/>
                  <a:pt x="215" y="159"/>
                  <a:pt x="215" y="159"/>
                </a:cubicBezTo>
                <a:cubicBezTo>
                  <a:pt x="214" y="159"/>
                  <a:pt x="214" y="159"/>
                  <a:pt x="214" y="159"/>
                </a:cubicBezTo>
                <a:cubicBezTo>
                  <a:pt x="212" y="159"/>
                  <a:pt x="212" y="159"/>
                  <a:pt x="212" y="159"/>
                </a:cubicBezTo>
                <a:cubicBezTo>
                  <a:pt x="212" y="159"/>
                  <a:pt x="212" y="159"/>
                  <a:pt x="212" y="159"/>
                </a:cubicBezTo>
                <a:close/>
                <a:moveTo>
                  <a:pt x="224" y="168"/>
                </a:moveTo>
                <a:cubicBezTo>
                  <a:pt x="224" y="169"/>
                  <a:pt x="224" y="169"/>
                  <a:pt x="224" y="169"/>
                </a:cubicBezTo>
                <a:cubicBezTo>
                  <a:pt x="223" y="170"/>
                  <a:pt x="223" y="170"/>
                  <a:pt x="223" y="170"/>
                </a:cubicBezTo>
                <a:cubicBezTo>
                  <a:pt x="222" y="171"/>
                  <a:pt x="222" y="171"/>
                  <a:pt x="222" y="171"/>
                </a:cubicBezTo>
                <a:cubicBezTo>
                  <a:pt x="222" y="172"/>
                  <a:pt x="222" y="172"/>
                  <a:pt x="222" y="172"/>
                </a:cubicBezTo>
                <a:cubicBezTo>
                  <a:pt x="223" y="173"/>
                  <a:pt x="223" y="173"/>
                  <a:pt x="223" y="173"/>
                </a:cubicBezTo>
                <a:cubicBezTo>
                  <a:pt x="224" y="173"/>
                  <a:pt x="224" y="173"/>
                  <a:pt x="224" y="173"/>
                </a:cubicBezTo>
                <a:cubicBezTo>
                  <a:pt x="225" y="171"/>
                  <a:pt x="225" y="171"/>
                  <a:pt x="225" y="171"/>
                </a:cubicBezTo>
                <a:cubicBezTo>
                  <a:pt x="226" y="171"/>
                  <a:pt x="226" y="171"/>
                  <a:pt x="226" y="171"/>
                </a:cubicBezTo>
                <a:cubicBezTo>
                  <a:pt x="226" y="170"/>
                  <a:pt x="226" y="170"/>
                  <a:pt x="226" y="170"/>
                </a:cubicBezTo>
                <a:cubicBezTo>
                  <a:pt x="227" y="169"/>
                  <a:pt x="227" y="169"/>
                  <a:pt x="227" y="169"/>
                </a:cubicBezTo>
                <a:cubicBezTo>
                  <a:pt x="229" y="168"/>
                  <a:pt x="229" y="168"/>
                  <a:pt x="229" y="168"/>
                </a:cubicBezTo>
                <a:cubicBezTo>
                  <a:pt x="228" y="167"/>
                  <a:pt x="228" y="167"/>
                  <a:pt x="228" y="167"/>
                </a:cubicBezTo>
                <a:cubicBezTo>
                  <a:pt x="228" y="166"/>
                  <a:pt x="228" y="166"/>
                  <a:pt x="228" y="166"/>
                </a:cubicBezTo>
                <a:cubicBezTo>
                  <a:pt x="227" y="166"/>
                  <a:pt x="227" y="166"/>
                  <a:pt x="227" y="166"/>
                </a:cubicBezTo>
                <a:cubicBezTo>
                  <a:pt x="225" y="167"/>
                  <a:pt x="225" y="167"/>
                  <a:pt x="225" y="167"/>
                </a:cubicBezTo>
                <a:cubicBezTo>
                  <a:pt x="224" y="168"/>
                  <a:pt x="224" y="168"/>
                  <a:pt x="224" y="168"/>
                </a:cubicBezTo>
                <a:close/>
                <a:moveTo>
                  <a:pt x="228" y="156"/>
                </a:moveTo>
                <a:cubicBezTo>
                  <a:pt x="227" y="158"/>
                  <a:pt x="227" y="158"/>
                  <a:pt x="227" y="158"/>
                </a:cubicBezTo>
                <a:cubicBezTo>
                  <a:pt x="227" y="160"/>
                  <a:pt x="227" y="160"/>
                  <a:pt x="227" y="160"/>
                </a:cubicBezTo>
                <a:cubicBezTo>
                  <a:pt x="226" y="161"/>
                  <a:pt x="226" y="161"/>
                  <a:pt x="226" y="161"/>
                </a:cubicBezTo>
                <a:cubicBezTo>
                  <a:pt x="226" y="162"/>
                  <a:pt x="226" y="162"/>
                  <a:pt x="226" y="162"/>
                </a:cubicBezTo>
                <a:cubicBezTo>
                  <a:pt x="228" y="162"/>
                  <a:pt x="228" y="162"/>
                  <a:pt x="228" y="162"/>
                </a:cubicBezTo>
                <a:cubicBezTo>
                  <a:pt x="228" y="163"/>
                  <a:pt x="228" y="163"/>
                  <a:pt x="228" y="163"/>
                </a:cubicBezTo>
                <a:cubicBezTo>
                  <a:pt x="230" y="163"/>
                  <a:pt x="230" y="163"/>
                  <a:pt x="230" y="163"/>
                </a:cubicBezTo>
                <a:cubicBezTo>
                  <a:pt x="231" y="164"/>
                  <a:pt x="231" y="164"/>
                  <a:pt x="231" y="164"/>
                </a:cubicBezTo>
                <a:cubicBezTo>
                  <a:pt x="232" y="163"/>
                  <a:pt x="232" y="163"/>
                  <a:pt x="232" y="163"/>
                </a:cubicBezTo>
                <a:cubicBezTo>
                  <a:pt x="232" y="163"/>
                  <a:pt x="232" y="163"/>
                  <a:pt x="232" y="163"/>
                </a:cubicBezTo>
                <a:cubicBezTo>
                  <a:pt x="231" y="161"/>
                  <a:pt x="231" y="161"/>
                  <a:pt x="231" y="161"/>
                </a:cubicBezTo>
                <a:cubicBezTo>
                  <a:pt x="230" y="159"/>
                  <a:pt x="230" y="159"/>
                  <a:pt x="230" y="159"/>
                </a:cubicBezTo>
                <a:cubicBezTo>
                  <a:pt x="229" y="158"/>
                  <a:pt x="229" y="158"/>
                  <a:pt x="229" y="158"/>
                </a:cubicBezTo>
                <a:cubicBezTo>
                  <a:pt x="228" y="156"/>
                  <a:pt x="228" y="156"/>
                  <a:pt x="228" y="156"/>
                </a:cubicBezTo>
                <a:close/>
                <a:moveTo>
                  <a:pt x="220" y="135"/>
                </a:moveTo>
                <a:cubicBezTo>
                  <a:pt x="219" y="134"/>
                  <a:pt x="219" y="134"/>
                  <a:pt x="219" y="134"/>
                </a:cubicBezTo>
                <a:cubicBezTo>
                  <a:pt x="220" y="134"/>
                  <a:pt x="220" y="134"/>
                  <a:pt x="220" y="134"/>
                </a:cubicBezTo>
                <a:cubicBezTo>
                  <a:pt x="219" y="133"/>
                  <a:pt x="219" y="133"/>
                  <a:pt x="219" y="133"/>
                </a:cubicBezTo>
                <a:cubicBezTo>
                  <a:pt x="217" y="133"/>
                  <a:pt x="217" y="133"/>
                  <a:pt x="217" y="133"/>
                </a:cubicBezTo>
                <a:cubicBezTo>
                  <a:pt x="217" y="134"/>
                  <a:pt x="217" y="134"/>
                  <a:pt x="217" y="134"/>
                </a:cubicBezTo>
                <a:cubicBezTo>
                  <a:pt x="218" y="134"/>
                  <a:pt x="218" y="134"/>
                  <a:pt x="218" y="134"/>
                </a:cubicBezTo>
                <a:cubicBezTo>
                  <a:pt x="218" y="135"/>
                  <a:pt x="218" y="135"/>
                  <a:pt x="218" y="135"/>
                </a:cubicBezTo>
                <a:cubicBezTo>
                  <a:pt x="219" y="136"/>
                  <a:pt x="219" y="136"/>
                  <a:pt x="219" y="136"/>
                </a:cubicBezTo>
                <a:cubicBezTo>
                  <a:pt x="220" y="135"/>
                  <a:pt x="220" y="135"/>
                  <a:pt x="220" y="135"/>
                </a:cubicBezTo>
                <a:close/>
                <a:moveTo>
                  <a:pt x="224" y="120"/>
                </a:moveTo>
                <a:cubicBezTo>
                  <a:pt x="223" y="119"/>
                  <a:pt x="223" y="119"/>
                  <a:pt x="223" y="119"/>
                </a:cubicBezTo>
                <a:cubicBezTo>
                  <a:pt x="222" y="119"/>
                  <a:pt x="222" y="119"/>
                  <a:pt x="222" y="119"/>
                </a:cubicBezTo>
                <a:cubicBezTo>
                  <a:pt x="223" y="121"/>
                  <a:pt x="223" y="121"/>
                  <a:pt x="223" y="121"/>
                </a:cubicBezTo>
                <a:cubicBezTo>
                  <a:pt x="223" y="121"/>
                  <a:pt x="223" y="121"/>
                  <a:pt x="223" y="121"/>
                </a:cubicBezTo>
                <a:cubicBezTo>
                  <a:pt x="224" y="121"/>
                  <a:pt x="224" y="121"/>
                  <a:pt x="224" y="121"/>
                </a:cubicBezTo>
                <a:cubicBezTo>
                  <a:pt x="225" y="121"/>
                  <a:pt x="225" y="121"/>
                  <a:pt x="225" y="121"/>
                </a:cubicBezTo>
                <a:cubicBezTo>
                  <a:pt x="225" y="123"/>
                  <a:pt x="225" y="123"/>
                  <a:pt x="225" y="123"/>
                </a:cubicBezTo>
                <a:cubicBezTo>
                  <a:pt x="225" y="123"/>
                  <a:pt x="225" y="123"/>
                  <a:pt x="225" y="123"/>
                </a:cubicBezTo>
                <a:cubicBezTo>
                  <a:pt x="225" y="122"/>
                  <a:pt x="225" y="122"/>
                  <a:pt x="225" y="122"/>
                </a:cubicBezTo>
                <a:cubicBezTo>
                  <a:pt x="225" y="121"/>
                  <a:pt x="225" y="121"/>
                  <a:pt x="225" y="121"/>
                </a:cubicBezTo>
                <a:cubicBezTo>
                  <a:pt x="226" y="120"/>
                  <a:pt x="226" y="120"/>
                  <a:pt x="226" y="120"/>
                </a:cubicBezTo>
                <a:cubicBezTo>
                  <a:pt x="226" y="119"/>
                  <a:pt x="226" y="119"/>
                  <a:pt x="226" y="119"/>
                </a:cubicBezTo>
                <a:cubicBezTo>
                  <a:pt x="225" y="119"/>
                  <a:pt x="225" y="119"/>
                  <a:pt x="225" y="119"/>
                </a:cubicBezTo>
                <a:cubicBezTo>
                  <a:pt x="225" y="118"/>
                  <a:pt x="225" y="118"/>
                  <a:pt x="225" y="118"/>
                </a:cubicBezTo>
                <a:cubicBezTo>
                  <a:pt x="225" y="117"/>
                  <a:pt x="225" y="117"/>
                  <a:pt x="225" y="117"/>
                </a:cubicBezTo>
                <a:cubicBezTo>
                  <a:pt x="224" y="117"/>
                  <a:pt x="224" y="117"/>
                  <a:pt x="224" y="117"/>
                </a:cubicBezTo>
                <a:cubicBezTo>
                  <a:pt x="223" y="117"/>
                  <a:pt x="223" y="117"/>
                  <a:pt x="223" y="117"/>
                </a:cubicBezTo>
                <a:cubicBezTo>
                  <a:pt x="223" y="118"/>
                  <a:pt x="223" y="118"/>
                  <a:pt x="223" y="118"/>
                </a:cubicBezTo>
                <a:cubicBezTo>
                  <a:pt x="224" y="119"/>
                  <a:pt x="224" y="119"/>
                  <a:pt x="224" y="119"/>
                </a:cubicBezTo>
                <a:cubicBezTo>
                  <a:pt x="224" y="120"/>
                  <a:pt x="224" y="120"/>
                  <a:pt x="224" y="120"/>
                </a:cubicBezTo>
                <a:close/>
                <a:moveTo>
                  <a:pt x="222" y="112"/>
                </a:moveTo>
                <a:cubicBezTo>
                  <a:pt x="220" y="112"/>
                  <a:pt x="220" y="112"/>
                  <a:pt x="220" y="112"/>
                </a:cubicBezTo>
                <a:cubicBezTo>
                  <a:pt x="220" y="111"/>
                  <a:pt x="220" y="111"/>
                  <a:pt x="220" y="111"/>
                </a:cubicBezTo>
                <a:cubicBezTo>
                  <a:pt x="219" y="111"/>
                  <a:pt x="219" y="111"/>
                  <a:pt x="219" y="111"/>
                </a:cubicBezTo>
                <a:cubicBezTo>
                  <a:pt x="218" y="111"/>
                  <a:pt x="218" y="111"/>
                  <a:pt x="218" y="111"/>
                </a:cubicBezTo>
                <a:cubicBezTo>
                  <a:pt x="218" y="112"/>
                  <a:pt x="218" y="112"/>
                  <a:pt x="218" y="112"/>
                </a:cubicBezTo>
                <a:cubicBezTo>
                  <a:pt x="220" y="113"/>
                  <a:pt x="220" y="113"/>
                  <a:pt x="220" y="113"/>
                </a:cubicBezTo>
                <a:cubicBezTo>
                  <a:pt x="221" y="113"/>
                  <a:pt x="221" y="113"/>
                  <a:pt x="221" y="113"/>
                </a:cubicBezTo>
                <a:cubicBezTo>
                  <a:pt x="222" y="112"/>
                  <a:pt x="222" y="112"/>
                  <a:pt x="222" y="112"/>
                </a:cubicBezTo>
                <a:close/>
                <a:moveTo>
                  <a:pt x="222" y="111"/>
                </a:moveTo>
                <a:cubicBezTo>
                  <a:pt x="222" y="111"/>
                  <a:pt x="222" y="111"/>
                  <a:pt x="222" y="111"/>
                </a:cubicBezTo>
                <a:cubicBezTo>
                  <a:pt x="224" y="111"/>
                  <a:pt x="224" y="111"/>
                  <a:pt x="224" y="111"/>
                </a:cubicBezTo>
                <a:cubicBezTo>
                  <a:pt x="225" y="111"/>
                  <a:pt x="225" y="111"/>
                  <a:pt x="225" y="111"/>
                </a:cubicBezTo>
                <a:cubicBezTo>
                  <a:pt x="226" y="111"/>
                  <a:pt x="226" y="111"/>
                  <a:pt x="226" y="111"/>
                </a:cubicBezTo>
                <a:cubicBezTo>
                  <a:pt x="226" y="110"/>
                  <a:pt x="226" y="110"/>
                  <a:pt x="226" y="110"/>
                </a:cubicBezTo>
                <a:cubicBezTo>
                  <a:pt x="224" y="110"/>
                  <a:pt x="224" y="110"/>
                  <a:pt x="224" y="110"/>
                </a:cubicBezTo>
                <a:cubicBezTo>
                  <a:pt x="223" y="109"/>
                  <a:pt x="223" y="109"/>
                  <a:pt x="223" y="109"/>
                </a:cubicBezTo>
                <a:cubicBezTo>
                  <a:pt x="222" y="110"/>
                  <a:pt x="222" y="110"/>
                  <a:pt x="222" y="110"/>
                </a:cubicBezTo>
                <a:cubicBezTo>
                  <a:pt x="222" y="111"/>
                  <a:pt x="222" y="111"/>
                  <a:pt x="222" y="111"/>
                </a:cubicBezTo>
                <a:close/>
                <a:moveTo>
                  <a:pt x="236" y="141"/>
                </a:moveTo>
                <a:cubicBezTo>
                  <a:pt x="237" y="140"/>
                  <a:pt x="237" y="140"/>
                  <a:pt x="237" y="140"/>
                </a:cubicBezTo>
                <a:cubicBezTo>
                  <a:pt x="236" y="139"/>
                  <a:pt x="236" y="139"/>
                  <a:pt x="236" y="139"/>
                </a:cubicBezTo>
                <a:cubicBezTo>
                  <a:pt x="235" y="139"/>
                  <a:pt x="235" y="139"/>
                  <a:pt x="235" y="139"/>
                </a:cubicBezTo>
                <a:cubicBezTo>
                  <a:pt x="235" y="140"/>
                  <a:pt x="235" y="140"/>
                  <a:pt x="235" y="140"/>
                </a:cubicBezTo>
                <a:cubicBezTo>
                  <a:pt x="235" y="141"/>
                  <a:pt x="235" y="141"/>
                  <a:pt x="235" y="141"/>
                </a:cubicBezTo>
                <a:cubicBezTo>
                  <a:pt x="236" y="141"/>
                  <a:pt x="236" y="141"/>
                  <a:pt x="236" y="141"/>
                </a:cubicBezTo>
                <a:close/>
                <a:moveTo>
                  <a:pt x="240" y="140"/>
                </a:moveTo>
                <a:cubicBezTo>
                  <a:pt x="241" y="139"/>
                  <a:pt x="241" y="139"/>
                  <a:pt x="241" y="139"/>
                </a:cubicBezTo>
                <a:cubicBezTo>
                  <a:pt x="241" y="139"/>
                  <a:pt x="241" y="139"/>
                  <a:pt x="241" y="139"/>
                </a:cubicBezTo>
                <a:cubicBezTo>
                  <a:pt x="239" y="138"/>
                  <a:pt x="239" y="138"/>
                  <a:pt x="239" y="138"/>
                </a:cubicBezTo>
                <a:cubicBezTo>
                  <a:pt x="239" y="139"/>
                  <a:pt x="239" y="139"/>
                  <a:pt x="239" y="139"/>
                </a:cubicBezTo>
                <a:cubicBezTo>
                  <a:pt x="238" y="139"/>
                  <a:pt x="238" y="139"/>
                  <a:pt x="238" y="139"/>
                </a:cubicBezTo>
                <a:cubicBezTo>
                  <a:pt x="238" y="140"/>
                  <a:pt x="238" y="140"/>
                  <a:pt x="238" y="140"/>
                </a:cubicBezTo>
                <a:cubicBezTo>
                  <a:pt x="240" y="140"/>
                  <a:pt x="240" y="140"/>
                  <a:pt x="240" y="140"/>
                </a:cubicBezTo>
                <a:close/>
                <a:moveTo>
                  <a:pt x="245" y="141"/>
                </a:moveTo>
                <a:cubicBezTo>
                  <a:pt x="246" y="141"/>
                  <a:pt x="246" y="141"/>
                  <a:pt x="246" y="141"/>
                </a:cubicBezTo>
                <a:cubicBezTo>
                  <a:pt x="245" y="140"/>
                  <a:pt x="245" y="140"/>
                  <a:pt x="245" y="140"/>
                </a:cubicBezTo>
                <a:cubicBezTo>
                  <a:pt x="243" y="141"/>
                  <a:pt x="243" y="141"/>
                  <a:pt x="243" y="141"/>
                </a:cubicBezTo>
                <a:cubicBezTo>
                  <a:pt x="244" y="141"/>
                  <a:pt x="244" y="141"/>
                  <a:pt x="244" y="141"/>
                </a:cubicBezTo>
                <a:cubicBezTo>
                  <a:pt x="245" y="141"/>
                  <a:pt x="245" y="141"/>
                  <a:pt x="245" y="141"/>
                </a:cubicBezTo>
                <a:close/>
                <a:moveTo>
                  <a:pt x="254" y="138"/>
                </a:moveTo>
                <a:cubicBezTo>
                  <a:pt x="255" y="140"/>
                  <a:pt x="255" y="140"/>
                  <a:pt x="255" y="140"/>
                </a:cubicBezTo>
                <a:cubicBezTo>
                  <a:pt x="255" y="140"/>
                  <a:pt x="255" y="140"/>
                  <a:pt x="255" y="140"/>
                </a:cubicBezTo>
                <a:cubicBezTo>
                  <a:pt x="256" y="139"/>
                  <a:pt x="256" y="139"/>
                  <a:pt x="256" y="139"/>
                </a:cubicBezTo>
                <a:cubicBezTo>
                  <a:pt x="255" y="139"/>
                  <a:pt x="255" y="139"/>
                  <a:pt x="255" y="139"/>
                </a:cubicBezTo>
                <a:cubicBezTo>
                  <a:pt x="254" y="138"/>
                  <a:pt x="254" y="138"/>
                  <a:pt x="254" y="138"/>
                </a:cubicBezTo>
                <a:close/>
                <a:moveTo>
                  <a:pt x="249" y="137"/>
                </a:moveTo>
                <a:cubicBezTo>
                  <a:pt x="250" y="137"/>
                  <a:pt x="250" y="137"/>
                  <a:pt x="250" y="137"/>
                </a:cubicBezTo>
                <a:cubicBezTo>
                  <a:pt x="251" y="136"/>
                  <a:pt x="251" y="136"/>
                  <a:pt x="251" y="136"/>
                </a:cubicBezTo>
                <a:cubicBezTo>
                  <a:pt x="250" y="136"/>
                  <a:pt x="250" y="136"/>
                  <a:pt x="250" y="136"/>
                </a:cubicBezTo>
                <a:cubicBezTo>
                  <a:pt x="249" y="136"/>
                  <a:pt x="249" y="136"/>
                  <a:pt x="249" y="136"/>
                </a:cubicBezTo>
                <a:cubicBezTo>
                  <a:pt x="249" y="137"/>
                  <a:pt x="249" y="137"/>
                  <a:pt x="249" y="137"/>
                </a:cubicBezTo>
                <a:cubicBezTo>
                  <a:pt x="249" y="137"/>
                  <a:pt x="249" y="137"/>
                  <a:pt x="249" y="137"/>
                </a:cubicBezTo>
                <a:close/>
                <a:moveTo>
                  <a:pt x="245" y="132"/>
                </a:moveTo>
                <a:cubicBezTo>
                  <a:pt x="245" y="131"/>
                  <a:pt x="245" y="131"/>
                  <a:pt x="245" y="131"/>
                </a:cubicBezTo>
                <a:cubicBezTo>
                  <a:pt x="244" y="131"/>
                  <a:pt x="244" y="131"/>
                  <a:pt x="244" y="131"/>
                </a:cubicBezTo>
                <a:cubicBezTo>
                  <a:pt x="243" y="132"/>
                  <a:pt x="243" y="132"/>
                  <a:pt x="243" y="132"/>
                </a:cubicBezTo>
                <a:cubicBezTo>
                  <a:pt x="243" y="133"/>
                  <a:pt x="243" y="133"/>
                  <a:pt x="243" y="133"/>
                </a:cubicBezTo>
                <a:cubicBezTo>
                  <a:pt x="244" y="134"/>
                  <a:pt x="244" y="134"/>
                  <a:pt x="244" y="134"/>
                </a:cubicBezTo>
                <a:cubicBezTo>
                  <a:pt x="244" y="133"/>
                  <a:pt x="244" y="133"/>
                  <a:pt x="244" y="133"/>
                </a:cubicBezTo>
                <a:cubicBezTo>
                  <a:pt x="244" y="133"/>
                  <a:pt x="244" y="133"/>
                  <a:pt x="244" y="133"/>
                </a:cubicBezTo>
                <a:cubicBezTo>
                  <a:pt x="244" y="132"/>
                  <a:pt x="244" y="132"/>
                  <a:pt x="244" y="132"/>
                </a:cubicBezTo>
                <a:cubicBezTo>
                  <a:pt x="245" y="132"/>
                  <a:pt x="245" y="132"/>
                  <a:pt x="245" y="132"/>
                </a:cubicBezTo>
                <a:close/>
                <a:moveTo>
                  <a:pt x="248" y="131"/>
                </a:moveTo>
                <a:cubicBezTo>
                  <a:pt x="248" y="130"/>
                  <a:pt x="248" y="130"/>
                  <a:pt x="248" y="130"/>
                </a:cubicBezTo>
                <a:cubicBezTo>
                  <a:pt x="247" y="130"/>
                  <a:pt x="247" y="130"/>
                  <a:pt x="247" y="130"/>
                </a:cubicBezTo>
                <a:cubicBezTo>
                  <a:pt x="246" y="131"/>
                  <a:pt x="246" y="131"/>
                  <a:pt x="246" y="131"/>
                </a:cubicBezTo>
                <a:cubicBezTo>
                  <a:pt x="247" y="132"/>
                  <a:pt x="247" y="132"/>
                  <a:pt x="247" y="132"/>
                </a:cubicBezTo>
                <a:cubicBezTo>
                  <a:pt x="248" y="132"/>
                  <a:pt x="248" y="132"/>
                  <a:pt x="248" y="132"/>
                </a:cubicBezTo>
                <a:cubicBezTo>
                  <a:pt x="248" y="131"/>
                  <a:pt x="248" y="131"/>
                  <a:pt x="248" y="131"/>
                </a:cubicBezTo>
                <a:cubicBezTo>
                  <a:pt x="248" y="131"/>
                  <a:pt x="248" y="131"/>
                  <a:pt x="248" y="131"/>
                </a:cubicBezTo>
                <a:close/>
                <a:moveTo>
                  <a:pt x="249" y="132"/>
                </a:moveTo>
                <a:cubicBezTo>
                  <a:pt x="249" y="132"/>
                  <a:pt x="249" y="132"/>
                  <a:pt x="249" y="132"/>
                </a:cubicBezTo>
                <a:cubicBezTo>
                  <a:pt x="250" y="132"/>
                  <a:pt x="250" y="132"/>
                  <a:pt x="250" y="132"/>
                </a:cubicBezTo>
                <a:cubicBezTo>
                  <a:pt x="251" y="131"/>
                  <a:pt x="251" y="131"/>
                  <a:pt x="251" y="131"/>
                </a:cubicBezTo>
                <a:cubicBezTo>
                  <a:pt x="251" y="130"/>
                  <a:pt x="251" y="130"/>
                  <a:pt x="251" y="130"/>
                </a:cubicBezTo>
                <a:cubicBezTo>
                  <a:pt x="250" y="129"/>
                  <a:pt x="250" y="129"/>
                  <a:pt x="250" y="129"/>
                </a:cubicBezTo>
                <a:cubicBezTo>
                  <a:pt x="249" y="129"/>
                  <a:pt x="249" y="129"/>
                  <a:pt x="249" y="129"/>
                </a:cubicBezTo>
                <a:cubicBezTo>
                  <a:pt x="249" y="130"/>
                  <a:pt x="249" y="130"/>
                  <a:pt x="249" y="130"/>
                </a:cubicBezTo>
                <a:cubicBezTo>
                  <a:pt x="249" y="131"/>
                  <a:pt x="249" y="131"/>
                  <a:pt x="249" y="131"/>
                </a:cubicBezTo>
                <a:cubicBezTo>
                  <a:pt x="249" y="132"/>
                  <a:pt x="249" y="132"/>
                  <a:pt x="249" y="132"/>
                </a:cubicBezTo>
                <a:close/>
                <a:moveTo>
                  <a:pt x="245" y="128"/>
                </a:moveTo>
                <a:cubicBezTo>
                  <a:pt x="246" y="127"/>
                  <a:pt x="246" y="127"/>
                  <a:pt x="246" y="127"/>
                </a:cubicBezTo>
                <a:cubicBezTo>
                  <a:pt x="246" y="126"/>
                  <a:pt x="246" y="126"/>
                  <a:pt x="246" y="126"/>
                </a:cubicBezTo>
                <a:cubicBezTo>
                  <a:pt x="245" y="126"/>
                  <a:pt x="245" y="126"/>
                  <a:pt x="245" y="126"/>
                </a:cubicBezTo>
                <a:cubicBezTo>
                  <a:pt x="244" y="126"/>
                  <a:pt x="244" y="126"/>
                  <a:pt x="244" y="126"/>
                </a:cubicBezTo>
                <a:cubicBezTo>
                  <a:pt x="243" y="127"/>
                  <a:pt x="243" y="127"/>
                  <a:pt x="243" y="127"/>
                </a:cubicBezTo>
                <a:cubicBezTo>
                  <a:pt x="243" y="127"/>
                  <a:pt x="243" y="127"/>
                  <a:pt x="243" y="127"/>
                </a:cubicBezTo>
                <a:cubicBezTo>
                  <a:pt x="245" y="127"/>
                  <a:pt x="245" y="127"/>
                  <a:pt x="245" y="127"/>
                </a:cubicBezTo>
                <a:cubicBezTo>
                  <a:pt x="245" y="128"/>
                  <a:pt x="245" y="128"/>
                  <a:pt x="245" y="128"/>
                </a:cubicBezTo>
                <a:close/>
                <a:moveTo>
                  <a:pt x="251" y="125"/>
                </a:moveTo>
                <a:cubicBezTo>
                  <a:pt x="252" y="125"/>
                  <a:pt x="252" y="125"/>
                  <a:pt x="252" y="125"/>
                </a:cubicBezTo>
                <a:cubicBezTo>
                  <a:pt x="251" y="124"/>
                  <a:pt x="251" y="124"/>
                  <a:pt x="251" y="124"/>
                </a:cubicBezTo>
                <a:cubicBezTo>
                  <a:pt x="251" y="124"/>
                  <a:pt x="251" y="124"/>
                  <a:pt x="251" y="124"/>
                </a:cubicBezTo>
                <a:cubicBezTo>
                  <a:pt x="252" y="123"/>
                  <a:pt x="252" y="123"/>
                  <a:pt x="252" y="123"/>
                </a:cubicBezTo>
                <a:cubicBezTo>
                  <a:pt x="252" y="123"/>
                  <a:pt x="252" y="123"/>
                  <a:pt x="252" y="123"/>
                </a:cubicBezTo>
                <a:cubicBezTo>
                  <a:pt x="251" y="122"/>
                  <a:pt x="251" y="122"/>
                  <a:pt x="251" y="122"/>
                </a:cubicBezTo>
                <a:cubicBezTo>
                  <a:pt x="250" y="122"/>
                  <a:pt x="250" y="122"/>
                  <a:pt x="250" y="122"/>
                </a:cubicBezTo>
                <a:cubicBezTo>
                  <a:pt x="249" y="122"/>
                  <a:pt x="249" y="122"/>
                  <a:pt x="249" y="122"/>
                </a:cubicBezTo>
                <a:cubicBezTo>
                  <a:pt x="249" y="123"/>
                  <a:pt x="249" y="123"/>
                  <a:pt x="249" y="123"/>
                </a:cubicBezTo>
                <a:cubicBezTo>
                  <a:pt x="249" y="123"/>
                  <a:pt x="249" y="123"/>
                  <a:pt x="249" y="123"/>
                </a:cubicBezTo>
                <a:cubicBezTo>
                  <a:pt x="248" y="122"/>
                  <a:pt x="248" y="122"/>
                  <a:pt x="248" y="122"/>
                </a:cubicBezTo>
                <a:cubicBezTo>
                  <a:pt x="248" y="123"/>
                  <a:pt x="248" y="123"/>
                  <a:pt x="248" y="123"/>
                </a:cubicBezTo>
                <a:cubicBezTo>
                  <a:pt x="248" y="124"/>
                  <a:pt x="248" y="124"/>
                  <a:pt x="248" y="124"/>
                </a:cubicBezTo>
                <a:cubicBezTo>
                  <a:pt x="249" y="124"/>
                  <a:pt x="249" y="124"/>
                  <a:pt x="249" y="124"/>
                </a:cubicBezTo>
                <a:cubicBezTo>
                  <a:pt x="250" y="124"/>
                  <a:pt x="250" y="124"/>
                  <a:pt x="250" y="124"/>
                </a:cubicBezTo>
                <a:cubicBezTo>
                  <a:pt x="251" y="125"/>
                  <a:pt x="251" y="125"/>
                  <a:pt x="251" y="125"/>
                </a:cubicBezTo>
                <a:close/>
                <a:moveTo>
                  <a:pt x="246" y="71"/>
                </a:moveTo>
                <a:cubicBezTo>
                  <a:pt x="247" y="71"/>
                  <a:pt x="247" y="71"/>
                  <a:pt x="247" y="71"/>
                </a:cubicBezTo>
                <a:cubicBezTo>
                  <a:pt x="247" y="70"/>
                  <a:pt x="247" y="70"/>
                  <a:pt x="247" y="70"/>
                </a:cubicBezTo>
                <a:cubicBezTo>
                  <a:pt x="246" y="70"/>
                  <a:pt x="246" y="70"/>
                  <a:pt x="246" y="70"/>
                </a:cubicBezTo>
                <a:cubicBezTo>
                  <a:pt x="246" y="70"/>
                  <a:pt x="246" y="70"/>
                  <a:pt x="246" y="70"/>
                </a:cubicBezTo>
                <a:cubicBezTo>
                  <a:pt x="246" y="71"/>
                  <a:pt x="246" y="71"/>
                  <a:pt x="246" y="71"/>
                </a:cubicBezTo>
                <a:close/>
                <a:moveTo>
                  <a:pt x="239" y="82"/>
                </a:moveTo>
                <a:cubicBezTo>
                  <a:pt x="240" y="83"/>
                  <a:pt x="240" y="83"/>
                  <a:pt x="240" y="83"/>
                </a:cubicBezTo>
                <a:cubicBezTo>
                  <a:pt x="240" y="83"/>
                  <a:pt x="240" y="83"/>
                  <a:pt x="240" y="83"/>
                </a:cubicBezTo>
                <a:cubicBezTo>
                  <a:pt x="241" y="82"/>
                  <a:pt x="241" y="82"/>
                  <a:pt x="241" y="82"/>
                </a:cubicBezTo>
                <a:cubicBezTo>
                  <a:pt x="242" y="81"/>
                  <a:pt x="242" y="81"/>
                  <a:pt x="242" y="81"/>
                </a:cubicBezTo>
                <a:cubicBezTo>
                  <a:pt x="242" y="80"/>
                  <a:pt x="242" y="80"/>
                  <a:pt x="242" y="80"/>
                </a:cubicBezTo>
                <a:cubicBezTo>
                  <a:pt x="241" y="79"/>
                  <a:pt x="241" y="79"/>
                  <a:pt x="241" y="79"/>
                </a:cubicBezTo>
                <a:cubicBezTo>
                  <a:pt x="240" y="79"/>
                  <a:pt x="240" y="79"/>
                  <a:pt x="240" y="79"/>
                </a:cubicBezTo>
                <a:cubicBezTo>
                  <a:pt x="239" y="80"/>
                  <a:pt x="239" y="80"/>
                  <a:pt x="239" y="80"/>
                </a:cubicBezTo>
                <a:cubicBezTo>
                  <a:pt x="240" y="81"/>
                  <a:pt x="240" y="81"/>
                  <a:pt x="240" y="81"/>
                </a:cubicBezTo>
                <a:cubicBezTo>
                  <a:pt x="239" y="82"/>
                  <a:pt x="239" y="82"/>
                  <a:pt x="239" y="82"/>
                </a:cubicBezTo>
                <a:close/>
                <a:moveTo>
                  <a:pt x="267" y="80"/>
                </a:moveTo>
                <a:cubicBezTo>
                  <a:pt x="268" y="80"/>
                  <a:pt x="268" y="80"/>
                  <a:pt x="268" y="80"/>
                </a:cubicBezTo>
                <a:cubicBezTo>
                  <a:pt x="269" y="79"/>
                  <a:pt x="269" y="79"/>
                  <a:pt x="269" y="79"/>
                </a:cubicBezTo>
                <a:cubicBezTo>
                  <a:pt x="270" y="78"/>
                  <a:pt x="270" y="78"/>
                  <a:pt x="270" y="78"/>
                </a:cubicBezTo>
                <a:cubicBezTo>
                  <a:pt x="270" y="78"/>
                  <a:pt x="270" y="78"/>
                  <a:pt x="270" y="78"/>
                </a:cubicBezTo>
                <a:cubicBezTo>
                  <a:pt x="271" y="79"/>
                  <a:pt x="271" y="79"/>
                  <a:pt x="271" y="79"/>
                </a:cubicBezTo>
                <a:cubicBezTo>
                  <a:pt x="270" y="79"/>
                  <a:pt x="270" y="79"/>
                  <a:pt x="270" y="79"/>
                </a:cubicBezTo>
                <a:cubicBezTo>
                  <a:pt x="271" y="79"/>
                  <a:pt x="271" y="79"/>
                  <a:pt x="271" y="79"/>
                </a:cubicBezTo>
                <a:cubicBezTo>
                  <a:pt x="273" y="77"/>
                  <a:pt x="273" y="77"/>
                  <a:pt x="273" y="77"/>
                </a:cubicBezTo>
                <a:cubicBezTo>
                  <a:pt x="273" y="76"/>
                  <a:pt x="273" y="76"/>
                  <a:pt x="273" y="76"/>
                </a:cubicBezTo>
                <a:cubicBezTo>
                  <a:pt x="273" y="76"/>
                  <a:pt x="273" y="76"/>
                  <a:pt x="273" y="76"/>
                </a:cubicBezTo>
                <a:cubicBezTo>
                  <a:pt x="273" y="74"/>
                  <a:pt x="273" y="74"/>
                  <a:pt x="273" y="74"/>
                </a:cubicBezTo>
                <a:cubicBezTo>
                  <a:pt x="273" y="74"/>
                  <a:pt x="273" y="74"/>
                  <a:pt x="273" y="74"/>
                </a:cubicBezTo>
                <a:cubicBezTo>
                  <a:pt x="272" y="74"/>
                  <a:pt x="272" y="74"/>
                  <a:pt x="272" y="74"/>
                </a:cubicBezTo>
                <a:cubicBezTo>
                  <a:pt x="272" y="75"/>
                  <a:pt x="272" y="75"/>
                  <a:pt x="272" y="75"/>
                </a:cubicBezTo>
                <a:cubicBezTo>
                  <a:pt x="271" y="76"/>
                  <a:pt x="271" y="76"/>
                  <a:pt x="271" y="76"/>
                </a:cubicBezTo>
                <a:cubicBezTo>
                  <a:pt x="269" y="77"/>
                  <a:pt x="269" y="77"/>
                  <a:pt x="269" y="77"/>
                </a:cubicBezTo>
                <a:cubicBezTo>
                  <a:pt x="268" y="78"/>
                  <a:pt x="268" y="78"/>
                  <a:pt x="268" y="78"/>
                </a:cubicBezTo>
                <a:cubicBezTo>
                  <a:pt x="267" y="80"/>
                  <a:pt x="267" y="80"/>
                  <a:pt x="267" y="80"/>
                </a:cubicBezTo>
                <a:close/>
                <a:moveTo>
                  <a:pt x="280" y="81"/>
                </a:moveTo>
                <a:cubicBezTo>
                  <a:pt x="281" y="80"/>
                  <a:pt x="281" y="80"/>
                  <a:pt x="281" y="80"/>
                </a:cubicBezTo>
                <a:cubicBezTo>
                  <a:pt x="282" y="79"/>
                  <a:pt x="282" y="79"/>
                  <a:pt x="282" y="79"/>
                </a:cubicBezTo>
                <a:cubicBezTo>
                  <a:pt x="281" y="79"/>
                  <a:pt x="281" y="79"/>
                  <a:pt x="281" y="79"/>
                </a:cubicBezTo>
                <a:cubicBezTo>
                  <a:pt x="280" y="80"/>
                  <a:pt x="280" y="80"/>
                  <a:pt x="280" y="80"/>
                </a:cubicBezTo>
                <a:cubicBezTo>
                  <a:pt x="279" y="80"/>
                  <a:pt x="279" y="80"/>
                  <a:pt x="279" y="80"/>
                </a:cubicBezTo>
                <a:cubicBezTo>
                  <a:pt x="280" y="81"/>
                  <a:pt x="280" y="81"/>
                  <a:pt x="280" y="81"/>
                </a:cubicBezTo>
                <a:close/>
                <a:moveTo>
                  <a:pt x="282" y="83"/>
                </a:moveTo>
                <a:cubicBezTo>
                  <a:pt x="282" y="83"/>
                  <a:pt x="282" y="83"/>
                  <a:pt x="282" y="83"/>
                </a:cubicBezTo>
                <a:cubicBezTo>
                  <a:pt x="283" y="83"/>
                  <a:pt x="283" y="83"/>
                  <a:pt x="283" y="83"/>
                </a:cubicBezTo>
                <a:cubicBezTo>
                  <a:pt x="283" y="82"/>
                  <a:pt x="283" y="82"/>
                  <a:pt x="283" y="82"/>
                </a:cubicBezTo>
                <a:cubicBezTo>
                  <a:pt x="282" y="82"/>
                  <a:pt x="282" y="82"/>
                  <a:pt x="282" y="82"/>
                </a:cubicBezTo>
                <a:cubicBezTo>
                  <a:pt x="281" y="81"/>
                  <a:pt x="281" y="81"/>
                  <a:pt x="281" y="81"/>
                </a:cubicBezTo>
                <a:cubicBezTo>
                  <a:pt x="281" y="81"/>
                  <a:pt x="281" y="81"/>
                  <a:pt x="281" y="81"/>
                </a:cubicBezTo>
                <a:cubicBezTo>
                  <a:pt x="281" y="82"/>
                  <a:pt x="281" y="82"/>
                  <a:pt x="281" y="82"/>
                </a:cubicBezTo>
                <a:cubicBezTo>
                  <a:pt x="281" y="82"/>
                  <a:pt x="281" y="82"/>
                  <a:pt x="281" y="82"/>
                </a:cubicBezTo>
                <a:cubicBezTo>
                  <a:pt x="282" y="83"/>
                  <a:pt x="282" y="83"/>
                  <a:pt x="282" y="83"/>
                </a:cubicBezTo>
                <a:close/>
                <a:moveTo>
                  <a:pt x="271" y="86"/>
                </a:moveTo>
                <a:cubicBezTo>
                  <a:pt x="272" y="86"/>
                  <a:pt x="272" y="86"/>
                  <a:pt x="272" y="86"/>
                </a:cubicBezTo>
                <a:cubicBezTo>
                  <a:pt x="272" y="85"/>
                  <a:pt x="272" y="85"/>
                  <a:pt x="272" y="85"/>
                </a:cubicBezTo>
                <a:cubicBezTo>
                  <a:pt x="271" y="85"/>
                  <a:pt x="271" y="85"/>
                  <a:pt x="271" y="85"/>
                </a:cubicBezTo>
                <a:cubicBezTo>
                  <a:pt x="271" y="85"/>
                  <a:pt x="271" y="85"/>
                  <a:pt x="271" y="85"/>
                </a:cubicBezTo>
                <a:cubicBezTo>
                  <a:pt x="269" y="86"/>
                  <a:pt x="269" y="86"/>
                  <a:pt x="269" y="86"/>
                </a:cubicBezTo>
                <a:cubicBezTo>
                  <a:pt x="270" y="86"/>
                  <a:pt x="270" y="86"/>
                  <a:pt x="270" y="86"/>
                </a:cubicBezTo>
                <a:cubicBezTo>
                  <a:pt x="271" y="86"/>
                  <a:pt x="271" y="86"/>
                  <a:pt x="271" y="86"/>
                </a:cubicBezTo>
                <a:close/>
                <a:moveTo>
                  <a:pt x="277" y="87"/>
                </a:moveTo>
                <a:cubicBezTo>
                  <a:pt x="277" y="86"/>
                  <a:pt x="277" y="86"/>
                  <a:pt x="277" y="86"/>
                </a:cubicBezTo>
                <a:cubicBezTo>
                  <a:pt x="278" y="85"/>
                  <a:pt x="278" y="85"/>
                  <a:pt x="278" y="85"/>
                </a:cubicBezTo>
                <a:cubicBezTo>
                  <a:pt x="277" y="85"/>
                  <a:pt x="277" y="85"/>
                  <a:pt x="277" y="85"/>
                </a:cubicBezTo>
                <a:cubicBezTo>
                  <a:pt x="277" y="83"/>
                  <a:pt x="277" y="83"/>
                  <a:pt x="277" y="83"/>
                </a:cubicBezTo>
                <a:cubicBezTo>
                  <a:pt x="276" y="83"/>
                  <a:pt x="276" y="83"/>
                  <a:pt x="276" y="83"/>
                </a:cubicBezTo>
                <a:cubicBezTo>
                  <a:pt x="276" y="84"/>
                  <a:pt x="276" y="84"/>
                  <a:pt x="276" y="84"/>
                </a:cubicBezTo>
                <a:cubicBezTo>
                  <a:pt x="276" y="85"/>
                  <a:pt x="276" y="85"/>
                  <a:pt x="276" y="85"/>
                </a:cubicBezTo>
                <a:cubicBezTo>
                  <a:pt x="274" y="85"/>
                  <a:pt x="274" y="85"/>
                  <a:pt x="274" y="85"/>
                </a:cubicBezTo>
                <a:cubicBezTo>
                  <a:pt x="275" y="86"/>
                  <a:pt x="275" y="86"/>
                  <a:pt x="275" y="86"/>
                </a:cubicBezTo>
                <a:cubicBezTo>
                  <a:pt x="275" y="86"/>
                  <a:pt x="275" y="86"/>
                  <a:pt x="275" y="86"/>
                </a:cubicBezTo>
                <a:cubicBezTo>
                  <a:pt x="276" y="85"/>
                  <a:pt x="276" y="85"/>
                  <a:pt x="276" y="85"/>
                </a:cubicBezTo>
                <a:cubicBezTo>
                  <a:pt x="277" y="85"/>
                  <a:pt x="277" y="85"/>
                  <a:pt x="277" y="85"/>
                </a:cubicBezTo>
                <a:cubicBezTo>
                  <a:pt x="277" y="87"/>
                  <a:pt x="277" y="87"/>
                  <a:pt x="277" y="87"/>
                </a:cubicBezTo>
                <a:close/>
                <a:moveTo>
                  <a:pt x="277" y="93"/>
                </a:moveTo>
                <a:cubicBezTo>
                  <a:pt x="278" y="93"/>
                  <a:pt x="278" y="93"/>
                  <a:pt x="278" y="93"/>
                </a:cubicBezTo>
                <a:cubicBezTo>
                  <a:pt x="279" y="93"/>
                  <a:pt x="279" y="93"/>
                  <a:pt x="279" y="93"/>
                </a:cubicBezTo>
                <a:cubicBezTo>
                  <a:pt x="280" y="93"/>
                  <a:pt x="280" y="93"/>
                  <a:pt x="280" y="93"/>
                </a:cubicBezTo>
                <a:cubicBezTo>
                  <a:pt x="281" y="93"/>
                  <a:pt x="281" y="93"/>
                  <a:pt x="281" y="93"/>
                </a:cubicBezTo>
                <a:cubicBezTo>
                  <a:pt x="282" y="93"/>
                  <a:pt x="282" y="93"/>
                  <a:pt x="282" y="93"/>
                </a:cubicBezTo>
                <a:cubicBezTo>
                  <a:pt x="283" y="93"/>
                  <a:pt x="283" y="93"/>
                  <a:pt x="283" y="93"/>
                </a:cubicBezTo>
                <a:cubicBezTo>
                  <a:pt x="284" y="92"/>
                  <a:pt x="284" y="92"/>
                  <a:pt x="284" y="92"/>
                </a:cubicBezTo>
                <a:cubicBezTo>
                  <a:pt x="284" y="92"/>
                  <a:pt x="284" y="92"/>
                  <a:pt x="284" y="92"/>
                </a:cubicBezTo>
                <a:cubicBezTo>
                  <a:pt x="283" y="91"/>
                  <a:pt x="283" y="91"/>
                  <a:pt x="283" y="91"/>
                </a:cubicBezTo>
                <a:cubicBezTo>
                  <a:pt x="284" y="91"/>
                  <a:pt x="284" y="91"/>
                  <a:pt x="284" y="91"/>
                </a:cubicBezTo>
                <a:cubicBezTo>
                  <a:pt x="283" y="90"/>
                  <a:pt x="283" y="90"/>
                  <a:pt x="283" y="90"/>
                </a:cubicBezTo>
                <a:cubicBezTo>
                  <a:pt x="282" y="90"/>
                  <a:pt x="282" y="90"/>
                  <a:pt x="282" y="90"/>
                </a:cubicBezTo>
                <a:cubicBezTo>
                  <a:pt x="282" y="90"/>
                  <a:pt x="282" y="90"/>
                  <a:pt x="282" y="90"/>
                </a:cubicBezTo>
                <a:cubicBezTo>
                  <a:pt x="282" y="91"/>
                  <a:pt x="282" y="91"/>
                  <a:pt x="282" y="91"/>
                </a:cubicBezTo>
                <a:cubicBezTo>
                  <a:pt x="281" y="91"/>
                  <a:pt x="281" y="91"/>
                  <a:pt x="281" y="91"/>
                </a:cubicBezTo>
                <a:cubicBezTo>
                  <a:pt x="281" y="91"/>
                  <a:pt x="281" y="91"/>
                  <a:pt x="281" y="91"/>
                </a:cubicBezTo>
                <a:cubicBezTo>
                  <a:pt x="280" y="91"/>
                  <a:pt x="280" y="91"/>
                  <a:pt x="280" y="91"/>
                </a:cubicBezTo>
                <a:cubicBezTo>
                  <a:pt x="280" y="91"/>
                  <a:pt x="280" y="91"/>
                  <a:pt x="280" y="91"/>
                </a:cubicBezTo>
                <a:cubicBezTo>
                  <a:pt x="279" y="91"/>
                  <a:pt x="279" y="91"/>
                  <a:pt x="279" y="91"/>
                </a:cubicBezTo>
                <a:cubicBezTo>
                  <a:pt x="279" y="92"/>
                  <a:pt x="279" y="92"/>
                  <a:pt x="279" y="92"/>
                </a:cubicBezTo>
                <a:cubicBezTo>
                  <a:pt x="278" y="91"/>
                  <a:pt x="278" y="91"/>
                  <a:pt x="278" y="91"/>
                </a:cubicBezTo>
                <a:cubicBezTo>
                  <a:pt x="277" y="92"/>
                  <a:pt x="277" y="92"/>
                  <a:pt x="277" y="92"/>
                </a:cubicBezTo>
                <a:cubicBezTo>
                  <a:pt x="277" y="93"/>
                  <a:pt x="277" y="93"/>
                  <a:pt x="277" y="93"/>
                </a:cubicBezTo>
                <a:close/>
                <a:moveTo>
                  <a:pt x="165" y="56"/>
                </a:moveTo>
                <a:cubicBezTo>
                  <a:pt x="166" y="56"/>
                  <a:pt x="166" y="56"/>
                  <a:pt x="166" y="56"/>
                </a:cubicBezTo>
                <a:cubicBezTo>
                  <a:pt x="167" y="57"/>
                  <a:pt x="167" y="57"/>
                  <a:pt x="167" y="57"/>
                </a:cubicBezTo>
                <a:cubicBezTo>
                  <a:pt x="168" y="57"/>
                  <a:pt x="168" y="57"/>
                  <a:pt x="168" y="57"/>
                </a:cubicBezTo>
                <a:cubicBezTo>
                  <a:pt x="169" y="56"/>
                  <a:pt x="169" y="56"/>
                  <a:pt x="169" y="56"/>
                </a:cubicBezTo>
                <a:cubicBezTo>
                  <a:pt x="169" y="55"/>
                  <a:pt x="169" y="55"/>
                  <a:pt x="169" y="55"/>
                </a:cubicBezTo>
                <a:cubicBezTo>
                  <a:pt x="169" y="55"/>
                  <a:pt x="169" y="55"/>
                  <a:pt x="169" y="55"/>
                </a:cubicBezTo>
                <a:cubicBezTo>
                  <a:pt x="167" y="55"/>
                  <a:pt x="167" y="55"/>
                  <a:pt x="167" y="55"/>
                </a:cubicBezTo>
                <a:cubicBezTo>
                  <a:pt x="166" y="55"/>
                  <a:pt x="166" y="55"/>
                  <a:pt x="166" y="55"/>
                </a:cubicBezTo>
                <a:cubicBezTo>
                  <a:pt x="165" y="54"/>
                  <a:pt x="165" y="54"/>
                  <a:pt x="165" y="54"/>
                </a:cubicBezTo>
                <a:cubicBezTo>
                  <a:pt x="165" y="55"/>
                  <a:pt x="165" y="55"/>
                  <a:pt x="165" y="55"/>
                </a:cubicBezTo>
                <a:cubicBezTo>
                  <a:pt x="164" y="55"/>
                  <a:pt x="164" y="55"/>
                  <a:pt x="164" y="55"/>
                </a:cubicBezTo>
                <a:cubicBezTo>
                  <a:pt x="165" y="56"/>
                  <a:pt x="165" y="56"/>
                  <a:pt x="165" y="56"/>
                </a:cubicBezTo>
                <a:close/>
                <a:moveTo>
                  <a:pt x="162" y="29"/>
                </a:moveTo>
                <a:cubicBezTo>
                  <a:pt x="161" y="28"/>
                  <a:pt x="161" y="28"/>
                  <a:pt x="161" y="28"/>
                </a:cubicBezTo>
                <a:cubicBezTo>
                  <a:pt x="161" y="27"/>
                  <a:pt x="161" y="27"/>
                  <a:pt x="161" y="27"/>
                </a:cubicBezTo>
                <a:cubicBezTo>
                  <a:pt x="163" y="26"/>
                  <a:pt x="163" y="26"/>
                  <a:pt x="163" y="26"/>
                </a:cubicBezTo>
                <a:cubicBezTo>
                  <a:pt x="165" y="26"/>
                  <a:pt x="165" y="26"/>
                  <a:pt x="165" y="26"/>
                </a:cubicBezTo>
                <a:cubicBezTo>
                  <a:pt x="167" y="26"/>
                  <a:pt x="167" y="26"/>
                  <a:pt x="167" y="26"/>
                </a:cubicBezTo>
                <a:cubicBezTo>
                  <a:pt x="167" y="28"/>
                  <a:pt x="167" y="28"/>
                  <a:pt x="167" y="28"/>
                </a:cubicBezTo>
                <a:cubicBezTo>
                  <a:pt x="167" y="29"/>
                  <a:pt x="167" y="29"/>
                  <a:pt x="167" y="29"/>
                </a:cubicBezTo>
                <a:cubicBezTo>
                  <a:pt x="165" y="29"/>
                  <a:pt x="165" y="29"/>
                  <a:pt x="165" y="29"/>
                </a:cubicBezTo>
                <a:cubicBezTo>
                  <a:pt x="163" y="29"/>
                  <a:pt x="163" y="29"/>
                  <a:pt x="163" y="29"/>
                </a:cubicBezTo>
                <a:cubicBezTo>
                  <a:pt x="163" y="29"/>
                  <a:pt x="162" y="29"/>
                  <a:pt x="162" y="29"/>
                </a:cubicBezTo>
                <a:close/>
                <a:moveTo>
                  <a:pt x="201" y="9"/>
                </a:moveTo>
                <a:cubicBezTo>
                  <a:pt x="202" y="8"/>
                  <a:pt x="202" y="8"/>
                  <a:pt x="202" y="8"/>
                </a:cubicBezTo>
                <a:cubicBezTo>
                  <a:pt x="203" y="6"/>
                  <a:pt x="203" y="6"/>
                  <a:pt x="203" y="6"/>
                </a:cubicBezTo>
                <a:cubicBezTo>
                  <a:pt x="204" y="6"/>
                  <a:pt x="204" y="6"/>
                  <a:pt x="204" y="6"/>
                </a:cubicBezTo>
                <a:cubicBezTo>
                  <a:pt x="206" y="7"/>
                  <a:pt x="206" y="7"/>
                  <a:pt x="206" y="7"/>
                </a:cubicBezTo>
                <a:cubicBezTo>
                  <a:pt x="205" y="8"/>
                  <a:pt x="205" y="8"/>
                  <a:pt x="205" y="8"/>
                </a:cubicBezTo>
                <a:cubicBezTo>
                  <a:pt x="205" y="8"/>
                  <a:pt x="205" y="8"/>
                  <a:pt x="205" y="8"/>
                </a:cubicBezTo>
                <a:cubicBezTo>
                  <a:pt x="204" y="9"/>
                  <a:pt x="204" y="9"/>
                  <a:pt x="204" y="9"/>
                </a:cubicBezTo>
                <a:cubicBezTo>
                  <a:pt x="203" y="10"/>
                  <a:pt x="203" y="10"/>
                  <a:pt x="203" y="10"/>
                </a:cubicBezTo>
                <a:cubicBezTo>
                  <a:pt x="201" y="9"/>
                  <a:pt x="201" y="9"/>
                  <a:pt x="201" y="9"/>
                </a:cubicBezTo>
                <a:cubicBezTo>
                  <a:pt x="201" y="9"/>
                  <a:pt x="201" y="9"/>
                  <a:pt x="201" y="9"/>
                </a:cubicBezTo>
                <a:close/>
                <a:moveTo>
                  <a:pt x="229" y="27"/>
                </a:moveTo>
                <a:cubicBezTo>
                  <a:pt x="231" y="25"/>
                  <a:pt x="231" y="25"/>
                  <a:pt x="231" y="25"/>
                </a:cubicBezTo>
                <a:cubicBezTo>
                  <a:pt x="232" y="24"/>
                  <a:pt x="232" y="24"/>
                  <a:pt x="232" y="24"/>
                </a:cubicBezTo>
                <a:cubicBezTo>
                  <a:pt x="232" y="23"/>
                  <a:pt x="232" y="23"/>
                  <a:pt x="232" y="23"/>
                </a:cubicBezTo>
                <a:cubicBezTo>
                  <a:pt x="234" y="21"/>
                  <a:pt x="234" y="21"/>
                  <a:pt x="234" y="21"/>
                </a:cubicBezTo>
                <a:cubicBezTo>
                  <a:pt x="236" y="20"/>
                  <a:pt x="236" y="20"/>
                  <a:pt x="236" y="20"/>
                </a:cubicBezTo>
                <a:cubicBezTo>
                  <a:pt x="238" y="19"/>
                  <a:pt x="238" y="19"/>
                  <a:pt x="238" y="19"/>
                </a:cubicBezTo>
                <a:cubicBezTo>
                  <a:pt x="238" y="18"/>
                  <a:pt x="238" y="18"/>
                  <a:pt x="238" y="18"/>
                </a:cubicBezTo>
                <a:cubicBezTo>
                  <a:pt x="238" y="16"/>
                  <a:pt x="238" y="16"/>
                  <a:pt x="238" y="16"/>
                </a:cubicBezTo>
                <a:cubicBezTo>
                  <a:pt x="236" y="15"/>
                  <a:pt x="236" y="15"/>
                  <a:pt x="236" y="15"/>
                </a:cubicBezTo>
                <a:cubicBezTo>
                  <a:pt x="234" y="13"/>
                  <a:pt x="234" y="13"/>
                  <a:pt x="234" y="13"/>
                </a:cubicBezTo>
                <a:cubicBezTo>
                  <a:pt x="233" y="11"/>
                  <a:pt x="233" y="11"/>
                  <a:pt x="233" y="11"/>
                </a:cubicBezTo>
                <a:cubicBezTo>
                  <a:pt x="233" y="10"/>
                  <a:pt x="233" y="10"/>
                  <a:pt x="233" y="10"/>
                </a:cubicBezTo>
                <a:cubicBezTo>
                  <a:pt x="234" y="9"/>
                  <a:pt x="234" y="9"/>
                  <a:pt x="234" y="9"/>
                </a:cubicBezTo>
                <a:cubicBezTo>
                  <a:pt x="234" y="7"/>
                  <a:pt x="234" y="7"/>
                  <a:pt x="234" y="7"/>
                </a:cubicBezTo>
                <a:cubicBezTo>
                  <a:pt x="233" y="7"/>
                  <a:pt x="233" y="7"/>
                  <a:pt x="233" y="7"/>
                </a:cubicBezTo>
                <a:cubicBezTo>
                  <a:pt x="230" y="7"/>
                  <a:pt x="230" y="7"/>
                  <a:pt x="230" y="7"/>
                </a:cubicBezTo>
                <a:cubicBezTo>
                  <a:pt x="228" y="6"/>
                  <a:pt x="228" y="6"/>
                  <a:pt x="228" y="6"/>
                </a:cubicBezTo>
                <a:cubicBezTo>
                  <a:pt x="226" y="5"/>
                  <a:pt x="226" y="5"/>
                  <a:pt x="226" y="5"/>
                </a:cubicBezTo>
                <a:cubicBezTo>
                  <a:pt x="224" y="2"/>
                  <a:pt x="224" y="2"/>
                  <a:pt x="224" y="2"/>
                </a:cubicBezTo>
                <a:cubicBezTo>
                  <a:pt x="222" y="1"/>
                  <a:pt x="222" y="1"/>
                  <a:pt x="222" y="1"/>
                </a:cubicBezTo>
                <a:cubicBezTo>
                  <a:pt x="220" y="0"/>
                  <a:pt x="220" y="0"/>
                  <a:pt x="220" y="0"/>
                </a:cubicBezTo>
                <a:cubicBezTo>
                  <a:pt x="219" y="0"/>
                  <a:pt x="219" y="0"/>
                  <a:pt x="219" y="0"/>
                </a:cubicBezTo>
                <a:cubicBezTo>
                  <a:pt x="218" y="0"/>
                  <a:pt x="218" y="0"/>
                  <a:pt x="218" y="0"/>
                </a:cubicBezTo>
                <a:cubicBezTo>
                  <a:pt x="218" y="1"/>
                  <a:pt x="218" y="1"/>
                  <a:pt x="218" y="1"/>
                </a:cubicBezTo>
                <a:cubicBezTo>
                  <a:pt x="218" y="2"/>
                  <a:pt x="218" y="2"/>
                  <a:pt x="218" y="2"/>
                </a:cubicBezTo>
                <a:cubicBezTo>
                  <a:pt x="218" y="4"/>
                  <a:pt x="218" y="4"/>
                  <a:pt x="218" y="4"/>
                </a:cubicBezTo>
                <a:cubicBezTo>
                  <a:pt x="217" y="5"/>
                  <a:pt x="217" y="5"/>
                  <a:pt x="217" y="5"/>
                </a:cubicBezTo>
                <a:cubicBezTo>
                  <a:pt x="216" y="7"/>
                  <a:pt x="216" y="7"/>
                  <a:pt x="216" y="7"/>
                </a:cubicBezTo>
                <a:cubicBezTo>
                  <a:pt x="215" y="9"/>
                  <a:pt x="215" y="9"/>
                  <a:pt x="215" y="9"/>
                </a:cubicBezTo>
                <a:cubicBezTo>
                  <a:pt x="215" y="10"/>
                  <a:pt x="215" y="10"/>
                  <a:pt x="215" y="10"/>
                </a:cubicBezTo>
                <a:cubicBezTo>
                  <a:pt x="215" y="15"/>
                  <a:pt x="215" y="15"/>
                  <a:pt x="215" y="15"/>
                </a:cubicBezTo>
                <a:cubicBezTo>
                  <a:pt x="216" y="16"/>
                  <a:pt x="216" y="16"/>
                  <a:pt x="216" y="16"/>
                </a:cubicBezTo>
                <a:cubicBezTo>
                  <a:pt x="217" y="17"/>
                  <a:pt x="217" y="17"/>
                  <a:pt x="217" y="17"/>
                </a:cubicBezTo>
                <a:cubicBezTo>
                  <a:pt x="217" y="18"/>
                  <a:pt x="217" y="18"/>
                  <a:pt x="217" y="18"/>
                </a:cubicBezTo>
                <a:cubicBezTo>
                  <a:pt x="216" y="22"/>
                  <a:pt x="216" y="22"/>
                  <a:pt x="216" y="22"/>
                </a:cubicBezTo>
                <a:cubicBezTo>
                  <a:pt x="216" y="23"/>
                  <a:pt x="216" y="23"/>
                  <a:pt x="216" y="23"/>
                </a:cubicBezTo>
                <a:cubicBezTo>
                  <a:pt x="215" y="24"/>
                  <a:pt x="215" y="24"/>
                  <a:pt x="215" y="24"/>
                </a:cubicBezTo>
                <a:cubicBezTo>
                  <a:pt x="216" y="25"/>
                  <a:pt x="216" y="25"/>
                  <a:pt x="216" y="25"/>
                </a:cubicBezTo>
                <a:cubicBezTo>
                  <a:pt x="216" y="25"/>
                  <a:pt x="216" y="25"/>
                  <a:pt x="216" y="25"/>
                </a:cubicBezTo>
                <a:cubicBezTo>
                  <a:pt x="217" y="24"/>
                  <a:pt x="217" y="24"/>
                  <a:pt x="217" y="24"/>
                </a:cubicBezTo>
                <a:cubicBezTo>
                  <a:pt x="219" y="23"/>
                  <a:pt x="219" y="23"/>
                  <a:pt x="219" y="23"/>
                </a:cubicBezTo>
                <a:cubicBezTo>
                  <a:pt x="219" y="23"/>
                  <a:pt x="219" y="23"/>
                  <a:pt x="219" y="23"/>
                </a:cubicBezTo>
                <a:cubicBezTo>
                  <a:pt x="220" y="25"/>
                  <a:pt x="220" y="25"/>
                  <a:pt x="220" y="25"/>
                </a:cubicBezTo>
                <a:cubicBezTo>
                  <a:pt x="222" y="26"/>
                  <a:pt x="222" y="26"/>
                  <a:pt x="222" y="26"/>
                </a:cubicBezTo>
                <a:cubicBezTo>
                  <a:pt x="223" y="26"/>
                  <a:pt x="223" y="26"/>
                  <a:pt x="223" y="26"/>
                </a:cubicBezTo>
                <a:cubicBezTo>
                  <a:pt x="223" y="25"/>
                  <a:pt x="223" y="25"/>
                  <a:pt x="223" y="25"/>
                </a:cubicBezTo>
                <a:cubicBezTo>
                  <a:pt x="224" y="25"/>
                  <a:pt x="224" y="25"/>
                  <a:pt x="224" y="25"/>
                </a:cubicBezTo>
                <a:cubicBezTo>
                  <a:pt x="226" y="26"/>
                  <a:pt x="226" y="26"/>
                  <a:pt x="226" y="26"/>
                </a:cubicBezTo>
                <a:cubicBezTo>
                  <a:pt x="227" y="27"/>
                  <a:pt x="227" y="27"/>
                  <a:pt x="227" y="27"/>
                </a:cubicBezTo>
                <a:cubicBezTo>
                  <a:pt x="229" y="27"/>
                  <a:pt x="229" y="27"/>
                  <a:pt x="229" y="27"/>
                </a:cubicBezTo>
                <a:close/>
                <a:moveTo>
                  <a:pt x="223" y="35"/>
                </a:moveTo>
                <a:cubicBezTo>
                  <a:pt x="223" y="36"/>
                  <a:pt x="223" y="36"/>
                  <a:pt x="223" y="36"/>
                </a:cubicBezTo>
                <a:cubicBezTo>
                  <a:pt x="224" y="36"/>
                  <a:pt x="224" y="36"/>
                  <a:pt x="224" y="36"/>
                </a:cubicBezTo>
                <a:cubicBezTo>
                  <a:pt x="226" y="37"/>
                  <a:pt x="226" y="37"/>
                  <a:pt x="226" y="37"/>
                </a:cubicBezTo>
                <a:cubicBezTo>
                  <a:pt x="227" y="36"/>
                  <a:pt x="227" y="36"/>
                  <a:pt x="227" y="36"/>
                </a:cubicBezTo>
                <a:cubicBezTo>
                  <a:pt x="228" y="34"/>
                  <a:pt x="228" y="34"/>
                  <a:pt x="228" y="34"/>
                </a:cubicBezTo>
                <a:cubicBezTo>
                  <a:pt x="229" y="34"/>
                  <a:pt x="229" y="34"/>
                  <a:pt x="229" y="34"/>
                </a:cubicBezTo>
                <a:cubicBezTo>
                  <a:pt x="230" y="32"/>
                  <a:pt x="230" y="32"/>
                  <a:pt x="230" y="32"/>
                </a:cubicBezTo>
                <a:cubicBezTo>
                  <a:pt x="230" y="30"/>
                  <a:pt x="230" y="30"/>
                  <a:pt x="230" y="30"/>
                </a:cubicBezTo>
                <a:cubicBezTo>
                  <a:pt x="230" y="29"/>
                  <a:pt x="230" y="29"/>
                  <a:pt x="230" y="29"/>
                </a:cubicBezTo>
                <a:cubicBezTo>
                  <a:pt x="227" y="28"/>
                  <a:pt x="227" y="28"/>
                  <a:pt x="227" y="28"/>
                </a:cubicBezTo>
                <a:cubicBezTo>
                  <a:pt x="225" y="28"/>
                  <a:pt x="225" y="28"/>
                  <a:pt x="225" y="28"/>
                </a:cubicBezTo>
                <a:cubicBezTo>
                  <a:pt x="223" y="28"/>
                  <a:pt x="223" y="28"/>
                  <a:pt x="223" y="28"/>
                </a:cubicBezTo>
                <a:cubicBezTo>
                  <a:pt x="222" y="29"/>
                  <a:pt x="222" y="29"/>
                  <a:pt x="222" y="29"/>
                </a:cubicBezTo>
                <a:cubicBezTo>
                  <a:pt x="221" y="28"/>
                  <a:pt x="221" y="28"/>
                  <a:pt x="221" y="28"/>
                </a:cubicBezTo>
                <a:cubicBezTo>
                  <a:pt x="220" y="28"/>
                  <a:pt x="220" y="28"/>
                  <a:pt x="220" y="28"/>
                </a:cubicBezTo>
                <a:cubicBezTo>
                  <a:pt x="219" y="29"/>
                  <a:pt x="219" y="29"/>
                  <a:pt x="219" y="29"/>
                </a:cubicBezTo>
                <a:cubicBezTo>
                  <a:pt x="218" y="29"/>
                  <a:pt x="218" y="29"/>
                  <a:pt x="218" y="29"/>
                </a:cubicBezTo>
                <a:cubicBezTo>
                  <a:pt x="217" y="29"/>
                  <a:pt x="217" y="29"/>
                  <a:pt x="217" y="29"/>
                </a:cubicBezTo>
                <a:cubicBezTo>
                  <a:pt x="218" y="30"/>
                  <a:pt x="218" y="30"/>
                  <a:pt x="218" y="30"/>
                </a:cubicBezTo>
                <a:cubicBezTo>
                  <a:pt x="219" y="31"/>
                  <a:pt x="219" y="31"/>
                  <a:pt x="219" y="31"/>
                </a:cubicBezTo>
                <a:cubicBezTo>
                  <a:pt x="220" y="32"/>
                  <a:pt x="220" y="32"/>
                  <a:pt x="220" y="32"/>
                </a:cubicBezTo>
                <a:cubicBezTo>
                  <a:pt x="221" y="32"/>
                  <a:pt x="221" y="32"/>
                  <a:pt x="221" y="32"/>
                </a:cubicBezTo>
                <a:cubicBezTo>
                  <a:pt x="222" y="34"/>
                  <a:pt x="222" y="34"/>
                  <a:pt x="222" y="34"/>
                </a:cubicBezTo>
                <a:cubicBezTo>
                  <a:pt x="224" y="34"/>
                  <a:pt x="224" y="34"/>
                  <a:pt x="224" y="34"/>
                </a:cubicBezTo>
                <a:cubicBezTo>
                  <a:pt x="226" y="34"/>
                  <a:pt x="226" y="34"/>
                  <a:pt x="226" y="34"/>
                </a:cubicBezTo>
                <a:cubicBezTo>
                  <a:pt x="227" y="34"/>
                  <a:pt x="227" y="34"/>
                  <a:pt x="227" y="34"/>
                </a:cubicBezTo>
                <a:cubicBezTo>
                  <a:pt x="226" y="35"/>
                  <a:pt x="226" y="35"/>
                  <a:pt x="226" y="35"/>
                </a:cubicBezTo>
                <a:cubicBezTo>
                  <a:pt x="225" y="35"/>
                  <a:pt x="225" y="35"/>
                  <a:pt x="225" y="35"/>
                </a:cubicBezTo>
                <a:cubicBezTo>
                  <a:pt x="223" y="35"/>
                  <a:pt x="223" y="35"/>
                  <a:pt x="223" y="35"/>
                </a:cubicBezTo>
                <a:close/>
                <a:moveTo>
                  <a:pt x="266" y="39"/>
                </a:moveTo>
                <a:cubicBezTo>
                  <a:pt x="266" y="40"/>
                  <a:pt x="266" y="40"/>
                  <a:pt x="266" y="40"/>
                </a:cubicBezTo>
                <a:cubicBezTo>
                  <a:pt x="264" y="42"/>
                  <a:pt x="264" y="42"/>
                  <a:pt x="264" y="42"/>
                </a:cubicBezTo>
                <a:cubicBezTo>
                  <a:pt x="262" y="43"/>
                  <a:pt x="262" y="43"/>
                  <a:pt x="262" y="43"/>
                </a:cubicBezTo>
                <a:cubicBezTo>
                  <a:pt x="261" y="44"/>
                  <a:pt x="261" y="44"/>
                  <a:pt x="261" y="44"/>
                </a:cubicBezTo>
                <a:cubicBezTo>
                  <a:pt x="260" y="45"/>
                  <a:pt x="260" y="45"/>
                  <a:pt x="260" y="45"/>
                </a:cubicBezTo>
                <a:cubicBezTo>
                  <a:pt x="258" y="45"/>
                  <a:pt x="258" y="45"/>
                  <a:pt x="258" y="45"/>
                </a:cubicBezTo>
                <a:cubicBezTo>
                  <a:pt x="257" y="44"/>
                  <a:pt x="257" y="44"/>
                  <a:pt x="257" y="44"/>
                </a:cubicBezTo>
                <a:cubicBezTo>
                  <a:pt x="256" y="43"/>
                  <a:pt x="256" y="43"/>
                  <a:pt x="256" y="43"/>
                </a:cubicBezTo>
                <a:cubicBezTo>
                  <a:pt x="255" y="43"/>
                  <a:pt x="255" y="43"/>
                  <a:pt x="255" y="43"/>
                </a:cubicBezTo>
                <a:cubicBezTo>
                  <a:pt x="254" y="43"/>
                  <a:pt x="254" y="43"/>
                  <a:pt x="254" y="43"/>
                </a:cubicBezTo>
                <a:cubicBezTo>
                  <a:pt x="253" y="43"/>
                  <a:pt x="253" y="43"/>
                  <a:pt x="253" y="43"/>
                </a:cubicBezTo>
                <a:cubicBezTo>
                  <a:pt x="250" y="43"/>
                  <a:pt x="250" y="43"/>
                  <a:pt x="250" y="43"/>
                </a:cubicBezTo>
                <a:cubicBezTo>
                  <a:pt x="248" y="42"/>
                  <a:pt x="248" y="42"/>
                  <a:pt x="248" y="42"/>
                </a:cubicBezTo>
                <a:cubicBezTo>
                  <a:pt x="248" y="42"/>
                  <a:pt x="248" y="42"/>
                  <a:pt x="248" y="42"/>
                </a:cubicBezTo>
                <a:cubicBezTo>
                  <a:pt x="246" y="42"/>
                  <a:pt x="246" y="42"/>
                  <a:pt x="246" y="42"/>
                </a:cubicBezTo>
                <a:cubicBezTo>
                  <a:pt x="244" y="43"/>
                  <a:pt x="244" y="43"/>
                  <a:pt x="244" y="43"/>
                </a:cubicBezTo>
                <a:cubicBezTo>
                  <a:pt x="243" y="43"/>
                  <a:pt x="243" y="43"/>
                  <a:pt x="243" y="43"/>
                </a:cubicBezTo>
                <a:cubicBezTo>
                  <a:pt x="242" y="42"/>
                  <a:pt x="242" y="42"/>
                  <a:pt x="242" y="42"/>
                </a:cubicBezTo>
                <a:cubicBezTo>
                  <a:pt x="240" y="42"/>
                  <a:pt x="240" y="42"/>
                  <a:pt x="240" y="42"/>
                </a:cubicBezTo>
                <a:cubicBezTo>
                  <a:pt x="240" y="41"/>
                  <a:pt x="240" y="41"/>
                  <a:pt x="240" y="41"/>
                </a:cubicBezTo>
                <a:cubicBezTo>
                  <a:pt x="239" y="38"/>
                  <a:pt x="239" y="38"/>
                  <a:pt x="239" y="38"/>
                </a:cubicBezTo>
                <a:cubicBezTo>
                  <a:pt x="238" y="37"/>
                  <a:pt x="238" y="37"/>
                  <a:pt x="238" y="37"/>
                </a:cubicBezTo>
                <a:cubicBezTo>
                  <a:pt x="237" y="37"/>
                  <a:pt x="237" y="37"/>
                  <a:pt x="237" y="37"/>
                </a:cubicBezTo>
                <a:cubicBezTo>
                  <a:pt x="236" y="38"/>
                  <a:pt x="236" y="38"/>
                  <a:pt x="236" y="38"/>
                </a:cubicBezTo>
                <a:cubicBezTo>
                  <a:pt x="235" y="37"/>
                  <a:pt x="235" y="37"/>
                  <a:pt x="235" y="37"/>
                </a:cubicBezTo>
                <a:cubicBezTo>
                  <a:pt x="234" y="36"/>
                  <a:pt x="234" y="36"/>
                  <a:pt x="234" y="36"/>
                </a:cubicBezTo>
                <a:cubicBezTo>
                  <a:pt x="233" y="37"/>
                  <a:pt x="233" y="37"/>
                  <a:pt x="233" y="37"/>
                </a:cubicBezTo>
                <a:cubicBezTo>
                  <a:pt x="234" y="38"/>
                  <a:pt x="234" y="38"/>
                  <a:pt x="234" y="38"/>
                </a:cubicBezTo>
                <a:cubicBezTo>
                  <a:pt x="233" y="38"/>
                  <a:pt x="233" y="38"/>
                  <a:pt x="233" y="38"/>
                </a:cubicBezTo>
                <a:cubicBezTo>
                  <a:pt x="233" y="38"/>
                  <a:pt x="233" y="38"/>
                  <a:pt x="233" y="38"/>
                </a:cubicBezTo>
                <a:cubicBezTo>
                  <a:pt x="231" y="37"/>
                  <a:pt x="231" y="37"/>
                  <a:pt x="231" y="37"/>
                </a:cubicBezTo>
                <a:cubicBezTo>
                  <a:pt x="232" y="36"/>
                  <a:pt x="232" y="36"/>
                  <a:pt x="232" y="36"/>
                </a:cubicBezTo>
                <a:cubicBezTo>
                  <a:pt x="233" y="35"/>
                  <a:pt x="233" y="35"/>
                  <a:pt x="233" y="35"/>
                </a:cubicBezTo>
                <a:cubicBezTo>
                  <a:pt x="233" y="34"/>
                  <a:pt x="233" y="34"/>
                  <a:pt x="233" y="34"/>
                </a:cubicBezTo>
                <a:cubicBezTo>
                  <a:pt x="233" y="32"/>
                  <a:pt x="233" y="32"/>
                  <a:pt x="233" y="32"/>
                </a:cubicBezTo>
                <a:cubicBezTo>
                  <a:pt x="233" y="31"/>
                  <a:pt x="233" y="31"/>
                  <a:pt x="233" y="31"/>
                </a:cubicBezTo>
                <a:cubicBezTo>
                  <a:pt x="235" y="30"/>
                  <a:pt x="235" y="30"/>
                  <a:pt x="235" y="30"/>
                </a:cubicBezTo>
                <a:cubicBezTo>
                  <a:pt x="234" y="29"/>
                  <a:pt x="234" y="29"/>
                  <a:pt x="234" y="29"/>
                </a:cubicBezTo>
                <a:cubicBezTo>
                  <a:pt x="233" y="29"/>
                  <a:pt x="233" y="29"/>
                  <a:pt x="233" y="29"/>
                </a:cubicBezTo>
                <a:cubicBezTo>
                  <a:pt x="232" y="28"/>
                  <a:pt x="232" y="28"/>
                  <a:pt x="232" y="28"/>
                </a:cubicBezTo>
                <a:cubicBezTo>
                  <a:pt x="232" y="27"/>
                  <a:pt x="232" y="27"/>
                  <a:pt x="232" y="27"/>
                </a:cubicBezTo>
                <a:cubicBezTo>
                  <a:pt x="232" y="25"/>
                  <a:pt x="232" y="25"/>
                  <a:pt x="232" y="25"/>
                </a:cubicBezTo>
                <a:cubicBezTo>
                  <a:pt x="234" y="24"/>
                  <a:pt x="234" y="24"/>
                  <a:pt x="234" y="24"/>
                </a:cubicBezTo>
                <a:cubicBezTo>
                  <a:pt x="235" y="24"/>
                  <a:pt x="235" y="24"/>
                  <a:pt x="235" y="24"/>
                </a:cubicBezTo>
                <a:cubicBezTo>
                  <a:pt x="235" y="23"/>
                  <a:pt x="235" y="23"/>
                  <a:pt x="235" y="23"/>
                </a:cubicBezTo>
                <a:cubicBezTo>
                  <a:pt x="236" y="22"/>
                  <a:pt x="236" y="22"/>
                  <a:pt x="236" y="22"/>
                </a:cubicBezTo>
                <a:cubicBezTo>
                  <a:pt x="237" y="22"/>
                  <a:pt x="237" y="22"/>
                  <a:pt x="237" y="22"/>
                </a:cubicBezTo>
                <a:cubicBezTo>
                  <a:pt x="240" y="20"/>
                  <a:pt x="240" y="20"/>
                  <a:pt x="240" y="20"/>
                </a:cubicBezTo>
                <a:cubicBezTo>
                  <a:pt x="240" y="19"/>
                  <a:pt x="240" y="19"/>
                  <a:pt x="240" y="19"/>
                </a:cubicBezTo>
                <a:cubicBezTo>
                  <a:pt x="241" y="18"/>
                  <a:pt x="241" y="18"/>
                  <a:pt x="241" y="18"/>
                </a:cubicBezTo>
                <a:cubicBezTo>
                  <a:pt x="243" y="19"/>
                  <a:pt x="243" y="19"/>
                  <a:pt x="243" y="19"/>
                </a:cubicBezTo>
                <a:cubicBezTo>
                  <a:pt x="245" y="20"/>
                  <a:pt x="245" y="20"/>
                  <a:pt x="245" y="20"/>
                </a:cubicBezTo>
                <a:cubicBezTo>
                  <a:pt x="247" y="23"/>
                  <a:pt x="247" y="23"/>
                  <a:pt x="247" y="23"/>
                </a:cubicBezTo>
                <a:cubicBezTo>
                  <a:pt x="247" y="24"/>
                  <a:pt x="247" y="24"/>
                  <a:pt x="247" y="24"/>
                </a:cubicBezTo>
                <a:cubicBezTo>
                  <a:pt x="247" y="26"/>
                  <a:pt x="247" y="26"/>
                  <a:pt x="247" y="26"/>
                </a:cubicBezTo>
                <a:cubicBezTo>
                  <a:pt x="247" y="26"/>
                  <a:pt x="247" y="26"/>
                  <a:pt x="247" y="26"/>
                </a:cubicBezTo>
                <a:cubicBezTo>
                  <a:pt x="247" y="28"/>
                  <a:pt x="247" y="28"/>
                  <a:pt x="247" y="28"/>
                </a:cubicBezTo>
                <a:cubicBezTo>
                  <a:pt x="246" y="29"/>
                  <a:pt x="246" y="29"/>
                  <a:pt x="246" y="29"/>
                </a:cubicBezTo>
                <a:cubicBezTo>
                  <a:pt x="246" y="29"/>
                  <a:pt x="246" y="29"/>
                  <a:pt x="246" y="29"/>
                </a:cubicBezTo>
                <a:cubicBezTo>
                  <a:pt x="247" y="29"/>
                  <a:pt x="247" y="29"/>
                  <a:pt x="247" y="29"/>
                </a:cubicBezTo>
                <a:cubicBezTo>
                  <a:pt x="248" y="27"/>
                  <a:pt x="248" y="27"/>
                  <a:pt x="248" y="27"/>
                </a:cubicBezTo>
                <a:cubicBezTo>
                  <a:pt x="248" y="26"/>
                  <a:pt x="248" y="26"/>
                  <a:pt x="248" y="26"/>
                </a:cubicBezTo>
                <a:cubicBezTo>
                  <a:pt x="248" y="25"/>
                  <a:pt x="248" y="25"/>
                  <a:pt x="248" y="25"/>
                </a:cubicBezTo>
                <a:cubicBezTo>
                  <a:pt x="249" y="24"/>
                  <a:pt x="249" y="24"/>
                  <a:pt x="249" y="24"/>
                </a:cubicBezTo>
                <a:cubicBezTo>
                  <a:pt x="248" y="23"/>
                  <a:pt x="248" y="23"/>
                  <a:pt x="248" y="23"/>
                </a:cubicBezTo>
                <a:cubicBezTo>
                  <a:pt x="247" y="21"/>
                  <a:pt x="247" y="21"/>
                  <a:pt x="247" y="21"/>
                </a:cubicBezTo>
                <a:cubicBezTo>
                  <a:pt x="247" y="20"/>
                  <a:pt x="247" y="20"/>
                  <a:pt x="247" y="20"/>
                </a:cubicBezTo>
                <a:cubicBezTo>
                  <a:pt x="247" y="19"/>
                  <a:pt x="247" y="19"/>
                  <a:pt x="247" y="19"/>
                </a:cubicBezTo>
                <a:cubicBezTo>
                  <a:pt x="249" y="19"/>
                  <a:pt x="249" y="19"/>
                  <a:pt x="249" y="19"/>
                </a:cubicBezTo>
                <a:cubicBezTo>
                  <a:pt x="251" y="19"/>
                  <a:pt x="251" y="19"/>
                  <a:pt x="251" y="19"/>
                </a:cubicBezTo>
                <a:cubicBezTo>
                  <a:pt x="255" y="23"/>
                  <a:pt x="255" y="23"/>
                  <a:pt x="255" y="23"/>
                </a:cubicBezTo>
                <a:cubicBezTo>
                  <a:pt x="256" y="23"/>
                  <a:pt x="256" y="23"/>
                  <a:pt x="256" y="23"/>
                </a:cubicBezTo>
                <a:cubicBezTo>
                  <a:pt x="257" y="23"/>
                  <a:pt x="257" y="23"/>
                  <a:pt x="257" y="23"/>
                </a:cubicBezTo>
                <a:cubicBezTo>
                  <a:pt x="257" y="25"/>
                  <a:pt x="257" y="25"/>
                  <a:pt x="257" y="25"/>
                </a:cubicBezTo>
                <a:cubicBezTo>
                  <a:pt x="258" y="25"/>
                  <a:pt x="258" y="25"/>
                  <a:pt x="258" y="25"/>
                </a:cubicBezTo>
                <a:cubicBezTo>
                  <a:pt x="258" y="27"/>
                  <a:pt x="258" y="27"/>
                  <a:pt x="258" y="27"/>
                </a:cubicBezTo>
                <a:cubicBezTo>
                  <a:pt x="258" y="29"/>
                  <a:pt x="258" y="29"/>
                  <a:pt x="258" y="29"/>
                </a:cubicBezTo>
                <a:cubicBezTo>
                  <a:pt x="260" y="31"/>
                  <a:pt x="260" y="31"/>
                  <a:pt x="260" y="31"/>
                </a:cubicBezTo>
                <a:cubicBezTo>
                  <a:pt x="261" y="32"/>
                  <a:pt x="261" y="32"/>
                  <a:pt x="261" y="32"/>
                </a:cubicBezTo>
                <a:cubicBezTo>
                  <a:pt x="261" y="33"/>
                  <a:pt x="261" y="33"/>
                  <a:pt x="261" y="33"/>
                </a:cubicBezTo>
                <a:cubicBezTo>
                  <a:pt x="260" y="33"/>
                  <a:pt x="260" y="33"/>
                  <a:pt x="260" y="33"/>
                </a:cubicBezTo>
                <a:cubicBezTo>
                  <a:pt x="259" y="33"/>
                  <a:pt x="259" y="33"/>
                  <a:pt x="259" y="33"/>
                </a:cubicBezTo>
                <a:cubicBezTo>
                  <a:pt x="258" y="33"/>
                  <a:pt x="258" y="33"/>
                  <a:pt x="258" y="33"/>
                </a:cubicBezTo>
                <a:cubicBezTo>
                  <a:pt x="259" y="34"/>
                  <a:pt x="259" y="34"/>
                  <a:pt x="259" y="34"/>
                </a:cubicBezTo>
                <a:cubicBezTo>
                  <a:pt x="260" y="35"/>
                  <a:pt x="260" y="35"/>
                  <a:pt x="260" y="35"/>
                </a:cubicBezTo>
                <a:cubicBezTo>
                  <a:pt x="262" y="35"/>
                  <a:pt x="262" y="35"/>
                  <a:pt x="262" y="35"/>
                </a:cubicBezTo>
                <a:cubicBezTo>
                  <a:pt x="263" y="37"/>
                  <a:pt x="263" y="37"/>
                  <a:pt x="263" y="37"/>
                </a:cubicBezTo>
                <a:cubicBezTo>
                  <a:pt x="264" y="37"/>
                  <a:pt x="264" y="37"/>
                  <a:pt x="264" y="37"/>
                </a:cubicBezTo>
                <a:cubicBezTo>
                  <a:pt x="266" y="39"/>
                  <a:pt x="266" y="39"/>
                  <a:pt x="266" y="39"/>
                </a:cubicBezTo>
                <a:close/>
                <a:moveTo>
                  <a:pt x="495" y="4"/>
                </a:moveTo>
                <a:cubicBezTo>
                  <a:pt x="496" y="2"/>
                  <a:pt x="496" y="2"/>
                  <a:pt x="496" y="2"/>
                </a:cubicBezTo>
                <a:cubicBezTo>
                  <a:pt x="498" y="0"/>
                  <a:pt x="498" y="0"/>
                  <a:pt x="498" y="0"/>
                </a:cubicBezTo>
                <a:cubicBezTo>
                  <a:pt x="498" y="0"/>
                  <a:pt x="498" y="0"/>
                  <a:pt x="498" y="0"/>
                </a:cubicBezTo>
                <a:cubicBezTo>
                  <a:pt x="498" y="1"/>
                  <a:pt x="498" y="1"/>
                  <a:pt x="498" y="1"/>
                </a:cubicBezTo>
                <a:cubicBezTo>
                  <a:pt x="498" y="2"/>
                  <a:pt x="498" y="2"/>
                  <a:pt x="498" y="2"/>
                </a:cubicBezTo>
                <a:cubicBezTo>
                  <a:pt x="497" y="2"/>
                  <a:pt x="497" y="2"/>
                  <a:pt x="497" y="2"/>
                </a:cubicBezTo>
                <a:cubicBezTo>
                  <a:pt x="497" y="3"/>
                  <a:pt x="497" y="3"/>
                  <a:pt x="497" y="3"/>
                </a:cubicBezTo>
                <a:cubicBezTo>
                  <a:pt x="495" y="4"/>
                  <a:pt x="495" y="4"/>
                  <a:pt x="495" y="4"/>
                </a:cubicBezTo>
                <a:close/>
                <a:moveTo>
                  <a:pt x="509" y="25"/>
                </a:moveTo>
                <a:cubicBezTo>
                  <a:pt x="509" y="28"/>
                  <a:pt x="509" y="28"/>
                  <a:pt x="509" y="28"/>
                </a:cubicBezTo>
                <a:cubicBezTo>
                  <a:pt x="511" y="31"/>
                  <a:pt x="511" y="31"/>
                  <a:pt x="511" y="31"/>
                </a:cubicBezTo>
                <a:cubicBezTo>
                  <a:pt x="512" y="32"/>
                  <a:pt x="512" y="32"/>
                  <a:pt x="512" y="32"/>
                </a:cubicBezTo>
                <a:cubicBezTo>
                  <a:pt x="516" y="33"/>
                  <a:pt x="516" y="33"/>
                  <a:pt x="516" y="33"/>
                </a:cubicBezTo>
                <a:cubicBezTo>
                  <a:pt x="520" y="34"/>
                  <a:pt x="520" y="34"/>
                  <a:pt x="520" y="34"/>
                </a:cubicBezTo>
                <a:cubicBezTo>
                  <a:pt x="522" y="35"/>
                  <a:pt x="522" y="35"/>
                  <a:pt x="522" y="35"/>
                </a:cubicBezTo>
                <a:cubicBezTo>
                  <a:pt x="524" y="35"/>
                  <a:pt x="524" y="35"/>
                  <a:pt x="524" y="35"/>
                </a:cubicBezTo>
                <a:cubicBezTo>
                  <a:pt x="526" y="34"/>
                  <a:pt x="526" y="34"/>
                  <a:pt x="526" y="34"/>
                </a:cubicBezTo>
                <a:cubicBezTo>
                  <a:pt x="527" y="35"/>
                  <a:pt x="527" y="35"/>
                  <a:pt x="527" y="35"/>
                </a:cubicBezTo>
                <a:cubicBezTo>
                  <a:pt x="529" y="34"/>
                  <a:pt x="529" y="34"/>
                  <a:pt x="529" y="34"/>
                </a:cubicBezTo>
                <a:cubicBezTo>
                  <a:pt x="531" y="33"/>
                  <a:pt x="531" y="33"/>
                  <a:pt x="531" y="33"/>
                </a:cubicBezTo>
                <a:cubicBezTo>
                  <a:pt x="532" y="31"/>
                  <a:pt x="532" y="31"/>
                  <a:pt x="532" y="31"/>
                </a:cubicBezTo>
                <a:cubicBezTo>
                  <a:pt x="532" y="30"/>
                  <a:pt x="532" y="30"/>
                  <a:pt x="532" y="30"/>
                </a:cubicBezTo>
                <a:cubicBezTo>
                  <a:pt x="532" y="28"/>
                  <a:pt x="532" y="28"/>
                  <a:pt x="532" y="28"/>
                </a:cubicBezTo>
                <a:cubicBezTo>
                  <a:pt x="531" y="28"/>
                  <a:pt x="531" y="28"/>
                  <a:pt x="531" y="28"/>
                </a:cubicBezTo>
                <a:cubicBezTo>
                  <a:pt x="530" y="28"/>
                  <a:pt x="530" y="28"/>
                  <a:pt x="530" y="28"/>
                </a:cubicBezTo>
                <a:cubicBezTo>
                  <a:pt x="530" y="27"/>
                  <a:pt x="530" y="27"/>
                  <a:pt x="530" y="27"/>
                </a:cubicBezTo>
                <a:cubicBezTo>
                  <a:pt x="530" y="26"/>
                  <a:pt x="530" y="26"/>
                  <a:pt x="530" y="26"/>
                </a:cubicBezTo>
                <a:cubicBezTo>
                  <a:pt x="529" y="25"/>
                  <a:pt x="529" y="25"/>
                  <a:pt x="529" y="25"/>
                </a:cubicBezTo>
                <a:cubicBezTo>
                  <a:pt x="528" y="26"/>
                  <a:pt x="528" y="26"/>
                  <a:pt x="528" y="26"/>
                </a:cubicBezTo>
                <a:cubicBezTo>
                  <a:pt x="526" y="25"/>
                  <a:pt x="526" y="25"/>
                  <a:pt x="526" y="25"/>
                </a:cubicBezTo>
                <a:cubicBezTo>
                  <a:pt x="523" y="26"/>
                  <a:pt x="523" y="26"/>
                  <a:pt x="523" y="26"/>
                </a:cubicBezTo>
                <a:cubicBezTo>
                  <a:pt x="521" y="27"/>
                  <a:pt x="521" y="27"/>
                  <a:pt x="521" y="27"/>
                </a:cubicBezTo>
                <a:cubicBezTo>
                  <a:pt x="520" y="28"/>
                  <a:pt x="520" y="28"/>
                  <a:pt x="520" y="28"/>
                </a:cubicBezTo>
                <a:cubicBezTo>
                  <a:pt x="520" y="27"/>
                  <a:pt x="520" y="27"/>
                  <a:pt x="520" y="27"/>
                </a:cubicBezTo>
                <a:cubicBezTo>
                  <a:pt x="519" y="26"/>
                  <a:pt x="519" y="26"/>
                  <a:pt x="519" y="26"/>
                </a:cubicBezTo>
                <a:cubicBezTo>
                  <a:pt x="518" y="26"/>
                  <a:pt x="518" y="26"/>
                  <a:pt x="518" y="26"/>
                </a:cubicBezTo>
                <a:cubicBezTo>
                  <a:pt x="517" y="26"/>
                  <a:pt x="517" y="26"/>
                  <a:pt x="517" y="26"/>
                </a:cubicBezTo>
                <a:cubicBezTo>
                  <a:pt x="515" y="26"/>
                  <a:pt x="515" y="26"/>
                  <a:pt x="515" y="26"/>
                </a:cubicBezTo>
                <a:cubicBezTo>
                  <a:pt x="514" y="26"/>
                  <a:pt x="514" y="26"/>
                  <a:pt x="514" y="26"/>
                </a:cubicBezTo>
                <a:cubicBezTo>
                  <a:pt x="514" y="27"/>
                  <a:pt x="514" y="27"/>
                  <a:pt x="514" y="27"/>
                </a:cubicBezTo>
                <a:cubicBezTo>
                  <a:pt x="513" y="28"/>
                  <a:pt x="513" y="28"/>
                  <a:pt x="513" y="28"/>
                </a:cubicBezTo>
                <a:cubicBezTo>
                  <a:pt x="511" y="27"/>
                  <a:pt x="511" y="27"/>
                  <a:pt x="511" y="27"/>
                </a:cubicBezTo>
                <a:cubicBezTo>
                  <a:pt x="510" y="27"/>
                  <a:pt x="510" y="27"/>
                  <a:pt x="510" y="27"/>
                </a:cubicBezTo>
                <a:cubicBezTo>
                  <a:pt x="510" y="26"/>
                  <a:pt x="510" y="26"/>
                  <a:pt x="510" y="26"/>
                </a:cubicBezTo>
                <a:cubicBezTo>
                  <a:pt x="509" y="25"/>
                  <a:pt x="509" y="25"/>
                  <a:pt x="509" y="25"/>
                </a:cubicBezTo>
                <a:close/>
                <a:moveTo>
                  <a:pt x="460" y="47"/>
                </a:moveTo>
                <a:cubicBezTo>
                  <a:pt x="459" y="44"/>
                  <a:pt x="459" y="44"/>
                  <a:pt x="459" y="44"/>
                </a:cubicBezTo>
                <a:cubicBezTo>
                  <a:pt x="459" y="42"/>
                  <a:pt x="459" y="42"/>
                  <a:pt x="459" y="42"/>
                </a:cubicBezTo>
                <a:cubicBezTo>
                  <a:pt x="458" y="42"/>
                  <a:pt x="458" y="42"/>
                  <a:pt x="458" y="42"/>
                </a:cubicBezTo>
                <a:cubicBezTo>
                  <a:pt x="455" y="41"/>
                  <a:pt x="455" y="41"/>
                  <a:pt x="455" y="41"/>
                </a:cubicBezTo>
                <a:cubicBezTo>
                  <a:pt x="454" y="40"/>
                  <a:pt x="454" y="40"/>
                  <a:pt x="454" y="40"/>
                </a:cubicBezTo>
                <a:cubicBezTo>
                  <a:pt x="453" y="39"/>
                  <a:pt x="453" y="39"/>
                  <a:pt x="453" y="39"/>
                </a:cubicBezTo>
                <a:cubicBezTo>
                  <a:pt x="453" y="39"/>
                  <a:pt x="453" y="39"/>
                  <a:pt x="453" y="39"/>
                </a:cubicBezTo>
                <a:cubicBezTo>
                  <a:pt x="453" y="40"/>
                  <a:pt x="453" y="40"/>
                  <a:pt x="453" y="40"/>
                </a:cubicBezTo>
                <a:cubicBezTo>
                  <a:pt x="454" y="42"/>
                  <a:pt x="454" y="42"/>
                  <a:pt x="454" y="42"/>
                </a:cubicBezTo>
                <a:cubicBezTo>
                  <a:pt x="456" y="43"/>
                  <a:pt x="456" y="43"/>
                  <a:pt x="456" y="43"/>
                </a:cubicBezTo>
                <a:cubicBezTo>
                  <a:pt x="458" y="46"/>
                  <a:pt x="458" y="46"/>
                  <a:pt x="458" y="46"/>
                </a:cubicBezTo>
                <a:cubicBezTo>
                  <a:pt x="458" y="48"/>
                  <a:pt x="458" y="48"/>
                  <a:pt x="458" y="48"/>
                </a:cubicBezTo>
                <a:cubicBezTo>
                  <a:pt x="460" y="49"/>
                  <a:pt x="460" y="49"/>
                  <a:pt x="460" y="49"/>
                </a:cubicBezTo>
                <a:cubicBezTo>
                  <a:pt x="460" y="48"/>
                  <a:pt x="460" y="48"/>
                  <a:pt x="460" y="48"/>
                </a:cubicBezTo>
                <a:cubicBezTo>
                  <a:pt x="460" y="47"/>
                  <a:pt x="460" y="47"/>
                  <a:pt x="460" y="47"/>
                </a:cubicBezTo>
                <a:close/>
                <a:moveTo>
                  <a:pt x="485" y="50"/>
                </a:moveTo>
                <a:cubicBezTo>
                  <a:pt x="484" y="50"/>
                  <a:pt x="484" y="50"/>
                  <a:pt x="484" y="50"/>
                </a:cubicBezTo>
                <a:cubicBezTo>
                  <a:pt x="483" y="49"/>
                  <a:pt x="483" y="49"/>
                  <a:pt x="483" y="49"/>
                </a:cubicBezTo>
                <a:cubicBezTo>
                  <a:pt x="483" y="48"/>
                  <a:pt x="483" y="48"/>
                  <a:pt x="483" y="48"/>
                </a:cubicBezTo>
                <a:cubicBezTo>
                  <a:pt x="483" y="48"/>
                  <a:pt x="483" y="48"/>
                  <a:pt x="483" y="48"/>
                </a:cubicBezTo>
                <a:cubicBezTo>
                  <a:pt x="484" y="48"/>
                  <a:pt x="484" y="48"/>
                  <a:pt x="484" y="48"/>
                </a:cubicBezTo>
                <a:cubicBezTo>
                  <a:pt x="485" y="49"/>
                  <a:pt x="485" y="49"/>
                  <a:pt x="485" y="49"/>
                </a:cubicBezTo>
                <a:cubicBezTo>
                  <a:pt x="486" y="49"/>
                  <a:pt x="486" y="49"/>
                  <a:pt x="486" y="49"/>
                </a:cubicBezTo>
                <a:cubicBezTo>
                  <a:pt x="486" y="50"/>
                  <a:pt x="486" y="50"/>
                  <a:pt x="486" y="50"/>
                </a:cubicBezTo>
                <a:cubicBezTo>
                  <a:pt x="486" y="51"/>
                  <a:pt x="486" y="51"/>
                  <a:pt x="486" y="51"/>
                </a:cubicBezTo>
                <a:cubicBezTo>
                  <a:pt x="487" y="51"/>
                  <a:pt x="487" y="51"/>
                  <a:pt x="487" y="51"/>
                </a:cubicBezTo>
                <a:cubicBezTo>
                  <a:pt x="488" y="49"/>
                  <a:pt x="488" y="49"/>
                  <a:pt x="488" y="49"/>
                </a:cubicBezTo>
                <a:cubicBezTo>
                  <a:pt x="490" y="47"/>
                  <a:pt x="490" y="47"/>
                  <a:pt x="490" y="47"/>
                </a:cubicBezTo>
                <a:cubicBezTo>
                  <a:pt x="492" y="45"/>
                  <a:pt x="492" y="45"/>
                  <a:pt x="492" y="45"/>
                </a:cubicBezTo>
                <a:cubicBezTo>
                  <a:pt x="493" y="44"/>
                  <a:pt x="493" y="44"/>
                  <a:pt x="493" y="44"/>
                </a:cubicBezTo>
                <a:cubicBezTo>
                  <a:pt x="494" y="43"/>
                  <a:pt x="494" y="43"/>
                  <a:pt x="494" y="43"/>
                </a:cubicBezTo>
                <a:cubicBezTo>
                  <a:pt x="495" y="44"/>
                  <a:pt x="495" y="44"/>
                  <a:pt x="495" y="44"/>
                </a:cubicBezTo>
                <a:cubicBezTo>
                  <a:pt x="494" y="45"/>
                  <a:pt x="494" y="45"/>
                  <a:pt x="494" y="45"/>
                </a:cubicBezTo>
                <a:cubicBezTo>
                  <a:pt x="496" y="45"/>
                  <a:pt x="496" y="45"/>
                  <a:pt x="496" y="45"/>
                </a:cubicBezTo>
                <a:cubicBezTo>
                  <a:pt x="497" y="45"/>
                  <a:pt x="497" y="45"/>
                  <a:pt x="497" y="45"/>
                </a:cubicBezTo>
                <a:cubicBezTo>
                  <a:pt x="498" y="45"/>
                  <a:pt x="498" y="45"/>
                  <a:pt x="498" y="45"/>
                </a:cubicBezTo>
                <a:cubicBezTo>
                  <a:pt x="498" y="44"/>
                  <a:pt x="498" y="44"/>
                  <a:pt x="498" y="44"/>
                </a:cubicBezTo>
                <a:cubicBezTo>
                  <a:pt x="499" y="43"/>
                  <a:pt x="499" y="43"/>
                  <a:pt x="499" y="43"/>
                </a:cubicBezTo>
                <a:cubicBezTo>
                  <a:pt x="500" y="42"/>
                  <a:pt x="500" y="42"/>
                  <a:pt x="500" y="42"/>
                </a:cubicBezTo>
                <a:cubicBezTo>
                  <a:pt x="500" y="41"/>
                  <a:pt x="500" y="41"/>
                  <a:pt x="500" y="41"/>
                </a:cubicBezTo>
                <a:cubicBezTo>
                  <a:pt x="498" y="41"/>
                  <a:pt x="498" y="41"/>
                  <a:pt x="498" y="41"/>
                </a:cubicBezTo>
                <a:cubicBezTo>
                  <a:pt x="496" y="42"/>
                  <a:pt x="496" y="42"/>
                  <a:pt x="496" y="42"/>
                </a:cubicBezTo>
                <a:cubicBezTo>
                  <a:pt x="495" y="41"/>
                  <a:pt x="495" y="41"/>
                  <a:pt x="495" y="41"/>
                </a:cubicBezTo>
                <a:cubicBezTo>
                  <a:pt x="493" y="41"/>
                  <a:pt x="493" y="41"/>
                  <a:pt x="493" y="41"/>
                </a:cubicBezTo>
                <a:cubicBezTo>
                  <a:pt x="492" y="40"/>
                  <a:pt x="492" y="40"/>
                  <a:pt x="492" y="40"/>
                </a:cubicBezTo>
                <a:cubicBezTo>
                  <a:pt x="490" y="40"/>
                  <a:pt x="490" y="40"/>
                  <a:pt x="490" y="40"/>
                </a:cubicBezTo>
                <a:cubicBezTo>
                  <a:pt x="490" y="39"/>
                  <a:pt x="490" y="39"/>
                  <a:pt x="490" y="39"/>
                </a:cubicBezTo>
                <a:cubicBezTo>
                  <a:pt x="488" y="37"/>
                  <a:pt x="488" y="37"/>
                  <a:pt x="488" y="37"/>
                </a:cubicBezTo>
                <a:cubicBezTo>
                  <a:pt x="487" y="36"/>
                  <a:pt x="487" y="36"/>
                  <a:pt x="487" y="36"/>
                </a:cubicBezTo>
                <a:cubicBezTo>
                  <a:pt x="487" y="34"/>
                  <a:pt x="487" y="34"/>
                  <a:pt x="487" y="34"/>
                </a:cubicBezTo>
                <a:cubicBezTo>
                  <a:pt x="486" y="33"/>
                  <a:pt x="486" y="33"/>
                  <a:pt x="486" y="33"/>
                </a:cubicBezTo>
                <a:cubicBezTo>
                  <a:pt x="485" y="32"/>
                  <a:pt x="485" y="32"/>
                  <a:pt x="485" y="32"/>
                </a:cubicBezTo>
                <a:cubicBezTo>
                  <a:pt x="485" y="31"/>
                  <a:pt x="485" y="31"/>
                  <a:pt x="485" y="31"/>
                </a:cubicBezTo>
                <a:cubicBezTo>
                  <a:pt x="484" y="30"/>
                  <a:pt x="484" y="30"/>
                  <a:pt x="484" y="30"/>
                </a:cubicBezTo>
                <a:cubicBezTo>
                  <a:pt x="484" y="30"/>
                  <a:pt x="484" y="30"/>
                  <a:pt x="484" y="30"/>
                </a:cubicBezTo>
                <a:cubicBezTo>
                  <a:pt x="485" y="29"/>
                  <a:pt x="485" y="29"/>
                  <a:pt x="485" y="29"/>
                </a:cubicBezTo>
                <a:cubicBezTo>
                  <a:pt x="484" y="28"/>
                  <a:pt x="484" y="28"/>
                  <a:pt x="484" y="28"/>
                </a:cubicBezTo>
                <a:cubicBezTo>
                  <a:pt x="485" y="28"/>
                  <a:pt x="485" y="28"/>
                  <a:pt x="485" y="28"/>
                </a:cubicBezTo>
                <a:cubicBezTo>
                  <a:pt x="485" y="28"/>
                  <a:pt x="485" y="28"/>
                  <a:pt x="485" y="28"/>
                </a:cubicBezTo>
                <a:cubicBezTo>
                  <a:pt x="485" y="27"/>
                  <a:pt x="485" y="27"/>
                  <a:pt x="485" y="27"/>
                </a:cubicBezTo>
                <a:cubicBezTo>
                  <a:pt x="484" y="26"/>
                  <a:pt x="484" y="26"/>
                  <a:pt x="484" y="26"/>
                </a:cubicBezTo>
                <a:cubicBezTo>
                  <a:pt x="483" y="26"/>
                  <a:pt x="483" y="26"/>
                  <a:pt x="483" y="26"/>
                </a:cubicBezTo>
                <a:cubicBezTo>
                  <a:pt x="481" y="26"/>
                  <a:pt x="481" y="26"/>
                  <a:pt x="481" y="26"/>
                </a:cubicBezTo>
                <a:cubicBezTo>
                  <a:pt x="479" y="25"/>
                  <a:pt x="479" y="25"/>
                  <a:pt x="479" y="25"/>
                </a:cubicBezTo>
                <a:cubicBezTo>
                  <a:pt x="478" y="24"/>
                  <a:pt x="478" y="24"/>
                  <a:pt x="478" y="24"/>
                </a:cubicBezTo>
                <a:cubicBezTo>
                  <a:pt x="477" y="24"/>
                  <a:pt x="477" y="24"/>
                  <a:pt x="477" y="24"/>
                </a:cubicBezTo>
                <a:cubicBezTo>
                  <a:pt x="476" y="24"/>
                  <a:pt x="476" y="24"/>
                  <a:pt x="476" y="24"/>
                </a:cubicBezTo>
                <a:cubicBezTo>
                  <a:pt x="475" y="24"/>
                  <a:pt x="475" y="24"/>
                  <a:pt x="475" y="24"/>
                </a:cubicBezTo>
                <a:cubicBezTo>
                  <a:pt x="477" y="26"/>
                  <a:pt x="477" y="26"/>
                  <a:pt x="477" y="26"/>
                </a:cubicBezTo>
                <a:cubicBezTo>
                  <a:pt x="478" y="26"/>
                  <a:pt x="478" y="26"/>
                  <a:pt x="478" y="26"/>
                </a:cubicBezTo>
                <a:cubicBezTo>
                  <a:pt x="479" y="27"/>
                  <a:pt x="479" y="27"/>
                  <a:pt x="479" y="27"/>
                </a:cubicBezTo>
                <a:cubicBezTo>
                  <a:pt x="477" y="27"/>
                  <a:pt x="477" y="27"/>
                  <a:pt x="477" y="27"/>
                </a:cubicBezTo>
                <a:cubicBezTo>
                  <a:pt x="477" y="27"/>
                  <a:pt x="477" y="27"/>
                  <a:pt x="477" y="27"/>
                </a:cubicBezTo>
                <a:cubicBezTo>
                  <a:pt x="476" y="27"/>
                  <a:pt x="476" y="27"/>
                  <a:pt x="476" y="27"/>
                </a:cubicBezTo>
                <a:cubicBezTo>
                  <a:pt x="475" y="27"/>
                  <a:pt x="475" y="27"/>
                  <a:pt x="475" y="27"/>
                </a:cubicBezTo>
                <a:cubicBezTo>
                  <a:pt x="475" y="29"/>
                  <a:pt x="475" y="29"/>
                  <a:pt x="475" y="29"/>
                </a:cubicBezTo>
                <a:cubicBezTo>
                  <a:pt x="476" y="30"/>
                  <a:pt x="476" y="30"/>
                  <a:pt x="476" y="30"/>
                </a:cubicBezTo>
                <a:cubicBezTo>
                  <a:pt x="477" y="32"/>
                  <a:pt x="477" y="32"/>
                  <a:pt x="477" y="32"/>
                </a:cubicBezTo>
                <a:cubicBezTo>
                  <a:pt x="478" y="34"/>
                  <a:pt x="478" y="34"/>
                  <a:pt x="478" y="34"/>
                </a:cubicBezTo>
                <a:cubicBezTo>
                  <a:pt x="479" y="35"/>
                  <a:pt x="479" y="35"/>
                  <a:pt x="479" y="35"/>
                </a:cubicBezTo>
                <a:cubicBezTo>
                  <a:pt x="478" y="35"/>
                  <a:pt x="478" y="35"/>
                  <a:pt x="478" y="35"/>
                </a:cubicBezTo>
                <a:cubicBezTo>
                  <a:pt x="477" y="35"/>
                  <a:pt x="477" y="35"/>
                  <a:pt x="477" y="35"/>
                </a:cubicBezTo>
                <a:cubicBezTo>
                  <a:pt x="475" y="34"/>
                  <a:pt x="475" y="34"/>
                  <a:pt x="475" y="34"/>
                </a:cubicBezTo>
                <a:cubicBezTo>
                  <a:pt x="475" y="32"/>
                  <a:pt x="475" y="32"/>
                  <a:pt x="475" y="32"/>
                </a:cubicBezTo>
                <a:cubicBezTo>
                  <a:pt x="474" y="32"/>
                  <a:pt x="474" y="32"/>
                  <a:pt x="474" y="32"/>
                </a:cubicBezTo>
                <a:cubicBezTo>
                  <a:pt x="473" y="32"/>
                  <a:pt x="473" y="32"/>
                  <a:pt x="473" y="32"/>
                </a:cubicBezTo>
                <a:cubicBezTo>
                  <a:pt x="472" y="32"/>
                  <a:pt x="472" y="32"/>
                  <a:pt x="472" y="32"/>
                </a:cubicBezTo>
                <a:cubicBezTo>
                  <a:pt x="471" y="32"/>
                  <a:pt x="471" y="32"/>
                  <a:pt x="471" y="32"/>
                </a:cubicBezTo>
                <a:cubicBezTo>
                  <a:pt x="470" y="32"/>
                  <a:pt x="470" y="32"/>
                  <a:pt x="470" y="32"/>
                </a:cubicBezTo>
                <a:cubicBezTo>
                  <a:pt x="470" y="30"/>
                  <a:pt x="470" y="30"/>
                  <a:pt x="470" y="30"/>
                </a:cubicBezTo>
                <a:cubicBezTo>
                  <a:pt x="470" y="29"/>
                  <a:pt x="470" y="29"/>
                  <a:pt x="470" y="29"/>
                </a:cubicBezTo>
                <a:cubicBezTo>
                  <a:pt x="469" y="29"/>
                  <a:pt x="469" y="29"/>
                  <a:pt x="469" y="29"/>
                </a:cubicBezTo>
                <a:cubicBezTo>
                  <a:pt x="467" y="28"/>
                  <a:pt x="467" y="28"/>
                  <a:pt x="467" y="28"/>
                </a:cubicBezTo>
                <a:cubicBezTo>
                  <a:pt x="465" y="28"/>
                  <a:pt x="465" y="28"/>
                  <a:pt x="465" y="28"/>
                </a:cubicBezTo>
                <a:cubicBezTo>
                  <a:pt x="465" y="27"/>
                  <a:pt x="465" y="27"/>
                  <a:pt x="465" y="27"/>
                </a:cubicBezTo>
                <a:cubicBezTo>
                  <a:pt x="464" y="26"/>
                  <a:pt x="464" y="26"/>
                  <a:pt x="464" y="26"/>
                </a:cubicBezTo>
                <a:cubicBezTo>
                  <a:pt x="463" y="27"/>
                  <a:pt x="463" y="27"/>
                  <a:pt x="463" y="27"/>
                </a:cubicBezTo>
                <a:cubicBezTo>
                  <a:pt x="462" y="28"/>
                  <a:pt x="462" y="28"/>
                  <a:pt x="462" y="28"/>
                </a:cubicBezTo>
                <a:cubicBezTo>
                  <a:pt x="462" y="29"/>
                  <a:pt x="462" y="29"/>
                  <a:pt x="462" y="29"/>
                </a:cubicBezTo>
                <a:cubicBezTo>
                  <a:pt x="461" y="30"/>
                  <a:pt x="461" y="30"/>
                  <a:pt x="461" y="30"/>
                </a:cubicBezTo>
                <a:cubicBezTo>
                  <a:pt x="462" y="31"/>
                  <a:pt x="462" y="31"/>
                  <a:pt x="462" y="31"/>
                </a:cubicBezTo>
                <a:cubicBezTo>
                  <a:pt x="461" y="33"/>
                  <a:pt x="461" y="33"/>
                  <a:pt x="461" y="33"/>
                </a:cubicBezTo>
                <a:cubicBezTo>
                  <a:pt x="460" y="34"/>
                  <a:pt x="460" y="34"/>
                  <a:pt x="460" y="34"/>
                </a:cubicBezTo>
                <a:cubicBezTo>
                  <a:pt x="460" y="35"/>
                  <a:pt x="460" y="35"/>
                  <a:pt x="460" y="35"/>
                </a:cubicBezTo>
                <a:cubicBezTo>
                  <a:pt x="461" y="37"/>
                  <a:pt x="461" y="37"/>
                  <a:pt x="461" y="37"/>
                </a:cubicBezTo>
                <a:cubicBezTo>
                  <a:pt x="462" y="37"/>
                  <a:pt x="462" y="37"/>
                  <a:pt x="462" y="37"/>
                </a:cubicBezTo>
                <a:cubicBezTo>
                  <a:pt x="463" y="38"/>
                  <a:pt x="463" y="38"/>
                  <a:pt x="463" y="38"/>
                </a:cubicBezTo>
                <a:cubicBezTo>
                  <a:pt x="462" y="38"/>
                  <a:pt x="462" y="38"/>
                  <a:pt x="462" y="38"/>
                </a:cubicBezTo>
                <a:cubicBezTo>
                  <a:pt x="461" y="38"/>
                  <a:pt x="461" y="38"/>
                  <a:pt x="461" y="38"/>
                </a:cubicBezTo>
                <a:cubicBezTo>
                  <a:pt x="462" y="40"/>
                  <a:pt x="462" y="40"/>
                  <a:pt x="462" y="40"/>
                </a:cubicBezTo>
                <a:cubicBezTo>
                  <a:pt x="463" y="40"/>
                  <a:pt x="463" y="40"/>
                  <a:pt x="463" y="40"/>
                </a:cubicBezTo>
                <a:cubicBezTo>
                  <a:pt x="463" y="41"/>
                  <a:pt x="463" y="41"/>
                  <a:pt x="463" y="41"/>
                </a:cubicBezTo>
                <a:cubicBezTo>
                  <a:pt x="463" y="42"/>
                  <a:pt x="463" y="42"/>
                  <a:pt x="463" y="42"/>
                </a:cubicBezTo>
                <a:cubicBezTo>
                  <a:pt x="464" y="43"/>
                  <a:pt x="464" y="43"/>
                  <a:pt x="464" y="43"/>
                </a:cubicBezTo>
                <a:cubicBezTo>
                  <a:pt x="465" y="43"/>
                  <a:pt x="465" y="43"/>
                  <a:pt x="465" y="43"/>
                </a:cubicBezTo>
                <a:cubicBezTo>
                  <a:pt x="466" y="44"/>
                  <a:pt x="466" y="44"/>
                  <a:pt x="466" y="44"/>
                </a:cubicBezTo>
                <a:cubicBezTo>
                  <a:pt x="466" y="44"/>
                  <a:pt x="466" y="44"/>
                  <a:pt x="466" y="44"/>
                </a:cubicBezTo>
                <a:cubicBezTo>
                  <a:pt x="466" y="45"/>
                  <a:pt x="466" y="45"/>
                  <a:pt x="466" y="45"/>
                </a:cubicBezTo>
                <a:cubicBezTo>
                  <a:pt x="467" y="45"/>
                  <a:pt x="467" y="45"/>
                  <a:pt x="467" y="45"/>
                </a:cubicBezTo>
                <a:cubicBezTo>
                  <a:pt x="468" y="45"/>
                  <a:pt x="468" y="45"/>
                  <a:pt x="468" y="45"/>
                </a:cubicBezTo>
                <a:cubicBezTo>
                  <a:pt x="468" y="45"/>
                  <a:pt x="468" y="45"/>
                  <a:pt x="468" y="45"/>
                </a:cubicBezTo>
                <a:cubicBezTo>
                  <a:pt x="467" y="46"/>
                  <a:pt x="467" y="46"/>
                  <a:pt x="467" y="46"/>
                </a:cubicBezTo>
                <a:cubicBezTo>
                  <a:pt x="467" y="46"/>
                  <a:pt x="467" y="46"/>
                  <a:pt x="467" y="46"/>
                </a:cubicBezTo>
                <a:cubicBezTo>
                  <a:pt x="466" y="46"/>
                  <a:pt x="466" y="46"/>
                  <a:pt x="466" y="46"/>
                </a:cubicBezTo>
                <a:cubicBezTo>
                  <a:pt x="466" y="46"/>
                  <a:pt x="466" y="46"/>
                  <a:pt x="466" y="46"/>
                </a:cubicBezTo>
                <a:cubicBezTo>
                  <a:pt x="466" y="48"/>
                  <a:pt x="466" y="48"/>
                  <a:pt x="466" y="48"/>
                </a:cubicBezTo>
                <a:cubicBezTo>
                  <a:pt x="470" y="50"/>
                  <a:pt x="470" y="50"/>
                  <a:pt x="470" y="50"/>
                </a:cubicBezTo>
                <a:cubicBezTo>
                  <a:pt x="472" y="51"/>
                  <a:pt x="472" y="51"/>
                  <a:pt x="472" y="51"/>
                </a:cubicBezTo>
                <a:cubicBezTo>
                  <a:pt x="474" y="51"/>
                  <a:pt x="474" y="51"/>
                  <a:pt x="474" y="51"/>
                </a:cubicBezTo>
                <a:cubicBezTo>
                  <a:pt x="475" y="52"/>
                  <a:pt x="475" y="52"/>
                  <a:pt x="475" y="52"/>
                </a:cubicBezTo>
                <a:cubicBezTo>
                  <a:pt x="476" y="52"/>
                  <a:pt x="476" y="52"/>
                  <a:pt x="476" y="52"/>
                </a:cubicBezTo>
                <a:cubicBezTo>
                  <a:pt x="476" y="54"/>
                  <a:pt x="476" y="54"/>
                  <a:pt x="476" y="54"/>
                </a:cubicBezTo>
                <a:cubicBezTo>
                  <a:pt x="477" y="55"/>
                  <a:pt x="477" y="55"/>
                  <a:pt x="477" y="55"/>
                </a:cubicBezTo>
                <a:cubicBezTo>
                  <a:pt x="479" y="55"/>
                  <a:pt x="479" y="55"/>
                  <a:pt x="479" y="55"/>
                </a:cubicBezTo>
                <a:cubicBezTo>
                  <a:pt x="481" y="54"/>
                  <a:pt x="481" y="54"/>
                  <a:pt x="481" y="54"/>
                </a:cubicBezTo>
                <a:cubicBezTo>
                  <a:pt x="483" y="54"/>
                  <a:pt x="483" y="54"/>
                  <a:pt x="483" y="54"/>
                </a:cubicBezTo>
                <a:cubicBezTo>
                  <a:pt x="484" y="55"/>
                  <a:pt x="484" y="55"/>
                  <a:pt x="484" y="55"/>
                </a:cubicBezTo>
                <a:cubicBezTo>
                  <a:pt x="485" y="55"/>
                  <a:pt x="485" y="55"/>
                  <a:pt x="485" y="55"/>
                </a:cubicBezTo>
                <a:cubicBezTo>
                  <a:pt x="486" y="53"/>
                  <a:pt x="486" y="53"/>
                  <a:pt x="486" y="53"/>
                </a:cubicBezTo>
                <a:cubicBezTo>
                  <a:pt x="486" y="52"/>
                  <a:pt x="486" y="52"/>
                  <a:pt x="486" y="52"/>
                </a:cubicBezTo>
                <a:cubicBezTo>
                  <a:pt x="485" y="51"/>
                  <a:pt x="485" y="51"/>
                  <a:pt x="485" y="51"/>
                </a:cubicBezTo>
                <a:cubicBezTo>
                  <a:pt x="485" y="50"/>
                  <a:pt x="485" y="50"/>
                  <a:pt x="485" y="50"/>
                </a:cubicBezTo>
                <a:close/>
                <a:moveTo>
                  <a:pt x="485" y="25"/>
                </a:moveTo>
                <a:cubicBezTo>
                  <a:pt x="487" y="25"/>
                  <a:pt x="487" y="25"/>
                  <a:pt x="487" y="25"/>
                </a:cubicBezTo>
                <a:cubicBezTo>
                  <a:pt x="489" y="25"/>
                  <a:pt x="489" y="25"/>
                  <a:pt x="489" y="25"/>
                </a:cubicBezTo>
                <a:cubicBezTo>
                  <a:pt x="491" y="25"/>
                  <a:pt x="491" y="25"/>
                  <a:pt x="491" y="25"/>
                </a:cubicBezTo>
                <a:cubicBezTo>
                  <a:pt x="494" y="27"/>
                  <a:pt x="494" y="27"/>
                  <a:pt x="494" y="27"/>
                </a:cubicBezTo>
                <a:cubicBezTo>
                  <a:pt x="495" y="27"/>
                  <a:pt x="495" y="27"/>
                  <a:pt x="495" y="27"/>
                </a:cubicBezTo>
                <a:cubicBezTo>
                  <a:pt x="496" y="27"/>
                  <a:pt x="496" y="27"/>
                  <a:pt x="496" y="27"/>
                </a:cubicBezTo>
                <a:cubicBezTo>
                  <a:pt x="499" y="27"/>
                  <a:pt x="499" y="27"/>
                  <a:pt x="499" y="27"/>
                </a:cubicBezTo>
                <a:cubicBezTo>
                  <a:pt x="502" y="28"/>
                  <a:pt x="502" y="28"/>
                  <a:pt x="502" y="28"/>
                </a:cubicBezTo>
                <a:cubicBezTo>
                  <a:pt x="502" y="29"/>
                  <a:pt x="502" y="29"/>
                  <a:pt x="502" y="29"/>
                </a:cubicBezTo>
                <a:cubicBezTo>
                  <a:pt x="501" y="29"/>
                  <a:pt x="501" y="29"/>
                  <a:pt x="501" y="29"/>
                </a:cubicBezTo>
                <a:cubicBezTo>
                  <a:pt x="500" y="30"/>
                  <a:pt x="500" y="30"/>
                  <a:pt x="500" y="30"/>
                </a:cubicBezTo>
                <a:cubicBezTo>
                  <a:pt x="500" y="31"/>
                  <a:pt x="500" y="31"/>
                  <a:pt x="500" y="31"/>
                </a:cubicBezTo>
                <a:cubicBezTo>
                  <a:pt x="501" y="33"/>
                  <a:pt x="501" y="33"/>
                  <a:pt x="501" y="33"/>
                </a:cubicBezTo>
                <a:cubicBezTo>
                  <a:pt x="503" y="33"/>
                  <a:pt x="503" y="33"/>
                  <a:pt x="503" y="33"/>
                </a:cubicBezTo>
                <a:cubicBezTo>
                  <a:pt x="503" y="35"/>
                  <a:pt x="503" y="35"/>
                  <a:pt x="503" y="35"/>
                </a:cubicBezTo>
                <a:cubicBezTo>
                  <a:pt x="503" y="36"/>
                  <a:pt x="503" y="36"/>
                  <a:pt x="503" y="36"/>
                </a:cubicBezTo>
                <a:cubicBezTo>
                  <a:pt x="503" y="37"/>
                  <a:pt x="503" y="37"/>
                  <a:pt x="503" y="37"/>
                </a:cubicBezTo>
                <a:cubicBezTo>
                  <a:pt x="502" y="39"/>
                  <a:pt x="502" y="39"/>
                  <a:pt x="502" y="39"/>
                </a:cubicBezTo>
                <a:cubicBezTo>
                  <a:pt x="501" y="40"/>
                  <a:pt x="501" y="40"/>
                  <a:pt x="501" y="40"/>
                </a:cubicBezTo>
                <a:cubicBezTo>
                  <a:pt x="501" y="40"/>
                  <a:pt x="501" y="40"/>
                  <a:pt x="501" y="40"/>
                </a:cubicBezTo>
                <a:cubicBezTo>
                  <a:pt x="500" y="39"/>
                  <a:pt x="500" y="39"/>
                  <a:pt x="500" y="39"/>
                </a:cubicBezTo>
                <a:cubicBezTo>
                  <a:pt x="499" y="40"/>
                  <a:pt x="499" y="40"/>
                  <a:pt x="499" y="40"/>
                </a:cubicBezTo>
                <a:cubicBezTo>
                  <a:pt x="498" y="41"/>
                  <a:pt x="498" y="41"/>
                  <a:pt x="498" y="41"/>
                </a:cubicBezTo>
                <a:cubicBezTo>
                  <a:pt x="496" y="41"/>
                  <a:pt x="496" y="41"/>
                  <a:pt x="496" y="41"/>
                </a:cubicBezTo>
                <a:cubicBezTo>
                  <a:pt x="493" y="39"/>
                  <a:pt x="493" y="39"/>
                  <a:pt x="493" y="39"/>
                </a:cubicBezTo>
                <a:cubicBezTo>
                  <a:pt x="492" y="38"/>
                  <a:pt x="492" y="38"/>
                  <a:pt x="492" y="38"/>
                </a:cubicBezTo>
                <a:cubicBezTo>
                  <a:pt x="489" y="36"/>
                  <a:pt x="489" y="36"/>
                  <a:pt x="489" y="36"/>
                </a:cubicBezTo>
                <a:cubicBezTo>
                  <a:pt x="489" y="34"/>
                  <a:pt x="489" y="34"/>
                  <a:pt x="489" y="34"/>
                </a:cubicBezTo>
                <a:cubicBezTo>
                  <a:pt x="489" y="33"/>
                  <a:pt x="489" y="33"/>
                  <a:pt x="489" y="33"/>
                </a:cubicBezTo>
                <a:cubicBezTo>
                  <a:pt x="489" y="32"/>
                  <a:pt x="489" y="32"/>
                  <a:pt x="489" y="32"/>
                </a:cubicBezTo>
                <a:cubicBezTo>
                  <a:pt x="490" y="31"/>
                  <a:pt x="490" y="31"/>
                  <a:pt x="490" y="31"/>
                </a:cubicBezTo>
                <a:cubicBezTo>
                  <a:pt x="489" y="30"/>
                  <a:pt x="489" y="30"/>
                  <a:pt x="489" y="30"/>
                </a:cubicBezTo>
                <a:cubicBezTo>
                  <a:pt x="488" y="29"/>
                  <a:pt x="488" y="29"/>
                  <a:pt x="488" y="29"/>
                </a:cubicBezTo>
                <a:cubicBezTo>
                  <a:pt x="488" y="28"/>
                  <a:pt x="488" y="28"/>
                  <a:pt x="488" y="28"/>
                </a:cubicBezTo>
                <a:cubicBezTo>
                  <a:pt x="487" y="28"/>
                  <a:pt x="487" y="28"/>
                  <a:pt x="487" y="28"/>
                </a:cubicBezTo>
                <a:cubicBezTo>
                  <a:pt x="486" y="27"/>
                  <a:pt x="486" y="27"/>
                  <a:pt x="486" y="27"/>
                </a:cubicBezTo>
                <a:cubicBezTo>
                  <a:pt x="485" y="25"/>
                  <a:pt x="485" y="25"/>
                  <a:pt x="485" y="25"/>
                </a:cubicBezTo>
                <a:close/>
                <a:moveTo>
                  <a:pt x="277" y="58"/>
                </a:moveTo>
                <a:cubicBezTo>
                  <a:pt x="276" y="58"/>
                  <a:pt x="278" y="57"/>
                  <a:pt x="278" y="57"/>
                </a:cubicBezTo>
                <a:cubicBezTo>
                  <a:pt x="279" y="56"/>
                  <a:pt x="279" y="56"/>
                  <a:pt x="279" y="56"/>
                </a:cubicBezTo>
                <a:cubicBezTo>
                  <a:pt x="280" y="54"/>
                  <a:pt x="280" y="54"/>
                  <a:pt x="280" y="54"/>
                </a:cubicBezTo>
                <a:cubicBezTo>
                  <a:pt x="281" y="53"/>
                  <a:pt x="281" y="53"/>
                  <a:pt x="281" y="53"/>
                </a:cubicBezTo>
                <a:cubicBezTo>
                  <a:pt x="281" y="52"/>
                  <a:pt x="281" y="52"/>
                  <a:pt x="281" y="52"/>
                </a:cubicBezTo>
                <a:cubicBezTo>
                  <a:pt x="281" y="51"/>
                  <a:pt x="281" y="51"/>
                  <a:pt x="281" y="51"/>
                </a:cubicBezTo>
                <a:cubicBezTo>
                  <a:pt x="284" y="50"/>
                  <a:pt x="284" y="50"/>
                  <a:pt x="284" y="50"/>
                </a:cubicBezTo>
                <a:cubicBezTo>
                  <a:pt x="285" y="49"/>
                  <a:pt x="285" y="49"/>
                  <a:pt x="285" y="49"/>
                </a:cubicBezTo>
                <a:cubicBezTo>
                  <a:pt x="286" y="50"/>
                  <a:pt x="286" y="50"/>
                  <a:pt x="286" y="50"/>
                </a:cubicBezTo>
                <a:cubicBezTo>
                  <a:pt x="287" y="50"/>
                  <a:pt x="287" y="50"/>
                  <a:pt x="287" y="50"/>
                </a:cubicBezTo>
                <a:cubicBezTo>
                  <a:pt x="287" y="49"/>
                  <a:pt x="287" y="49"/>
                  <a:pt x="287" y="49"/>
                </a:cubicBezTo>
                <a:cubicBezTo>
                  <a:pt x="288" y="48"/>
                  <a:pt x="288" y="48"/>
                  <a:pt x="288" y="48"/>
                </a:cubicBezTo>
                <a:cubicBezTo>
                  <a:pt x="289" y="47"/>
                  <a:pt x="289" y="47"/>
                  <a:pt x="289" y="47"/>
                </a:cubicBezTo>
                <a:cubicBezTo>
                  <a:pt x="291" y="46"/>
                  <a:pt x="291" y="46"/>
                  <a:pt x="291" y="46"/>
                </a:cubicBezTo>
                <a:cubicBezTo>
                  <a:pt x="292" y="45"/>
                  <a:pt x="292" y="45"/>
                  <a:pt x="292" y="45"/>
                </a:cubicBezTo>
                <a:cubicBezTo>
                  <a:pt x="293" y="44"/>
                  <a:pt x="293" y="44"/>
                  <a:pt x="293" y="44"/>
                </a:cubicBezTo>
                <a:cubicBezTo>
                  <a:pt x="294" y="42"/>
                  <a:pt x="294" y="42"/>
                  <a:pt x="294" y="42"/>
                </a:cubicBezTo>
                <a:cubicBezTo>
                  <a:pt x="293" y="40"/>
                  <a:pt x="293" y="40"/>
                  <a:pt x="293" y="40"/>
                </a:cubicBezTo>
                <a:cubicBezTo>
                  <a:pt x="292" y="38"/>
                  <a:pt x="292" y="38"/>
                  <a:pt x="292" y="38"/>
                </a:cubicBezTo>
                <a:cubicBezTo>
                  <a:pt x="291" y="37"/>
                  <a:pt x="291" y="37"/>
                  <a:pt x="291" y="37"/>
                </a:cubicBezTo>
                <a:cubicBezTo>
                  <a:pt x="291" y="36"/>
                  <a:pt x="291" y="36"/>
                  <a:pt x="291" y="36"/>
                </a:cubicBezTo>
                <a:cubicBezTo>
                  <a:pt x="289" y="34"/>
                  <a:pt x="289" y="34"/>
                  <a:pt x="289" y="34"/>
                </a:cubicBezTo>
                <a:cubicBezTo>
                  <a:pt x="288" y="34"/>
                  <a:pt x="288" y="34"/>
                  <a:pt x="288" y="34"/>
                </a:cubicBezTo>
                <a:cubicBezTo>
                  <a:pt x="287" y="35"/>
                  <a:pt x="287" y="35"/>
                  <a:pt x="287" y="35"/>
                </a:cubicBezTo>
                <a:cubicBezTo>
                  <a:pt x="286" y="34"/>
                  <a:pt x="286" y="34"/>
                  <a:pt x="286" y="34"/>
                </a:cubicBezTo>
                <a:cubicBezTo>
                  <a:pt x="285" y="33"/>
                  <a:pt x="285" y="33"/>
                  <a:pt x="285" y="33"/>
                </a:cubicBezTo>
                <a:cubicBezTo>
                  <a:pt x="283" y="32"/>
                  <a:pt x="283" y="32"/>
                  <a:pt x="283" y="32"/>
                </a:cubicBezTo>
                <a:cubicBezTo>
                  <a:pt x="282" y="32"/>
                  <a:pt x="282" y="32"/>
                  <a:pt x="282" y="32"/>
                </a:cubicBezTo>
                <a:cubicBezTo>
                  <a:pt x="282" y="32"/>
                  <a:pt x="282" y="32"/>
                  <a:pt x="282" y="32"/>
                </a:cubicBezTo>
                <a:cubicBezTo>
                  <a:pt x="281" y="32"/>
                  <a:pt x="281" y="32"/>
                  <a:pt x="281" y="32"/>
                </a:cubicBezTo>
                <a:cubicBezTo>
                  <a:pt x="281" y="31"/>
                  <a:pt x="281" y="31"/>
                  <a:pt x="281" y="31"/>
                </a:cubicBezTo>
                <a:cubicBezTo>
                  <a:pt x="280" y="30"/>
                  <a:pt x="280" y="30"/>
                  <a:pt x="280" y="30"/>
                </a:cubicBezTo>
                <a:cubicBezTo>
                  <a:pt x="279" y="30"/>
                  <a:pt x="279" y="30"/>
                  <a:pt x="279" y="30"/>
                </a:cubicBezTo>
                <a:cubicBezTo>
                  <a:pt x="279" y="31"/>
                  <a:pt x="279" y="31"/>
                  <a:pt x="279" y="31"/>
                </a:cubicBezTo>
                <a:cubicBezTo>
                  <a:pt x="278" y="31"/>
                  <a:pt x="278" y="31"/>
                  <a:pt x="278" y="31"/>
                </a:cubicBezTo>
                <a:cubicBezTo>
                  <a:pt x="277" y="29"/>
                  <a:pt x="277" y="29"/>
                  <a:pt x="277" y="29"/>
                </a:cubicBezTo>
                <a:cubicBezTo>
                  <a:pt x="276" y="29"/>
                  <a:pt x="276" y="29"/>
                  <a:pt x="276" y="29"/>
                </a:cubicBezTo>
                <a:cubicBezTo>
                  <a:pt x="276" y="30"/>
                  <a:pt x="276" y="30"/>
                  <a:pt x="276" y="30"/>
                </a:cubicBezTo>
                <a:cubicBezTo>
                  <a:pt x="277" y="31"/>
                  <a:pt x="277" y="31"/>
                  <a:pt x="277" y="31"/>
                </a:cubicBezTo>
                <a:cubicBezTo>
                  <a:pt x="277" y="31"/>
                  <a:pt x="277" y="31"/>
                  <a:pt x="277" y="31"/>
                </a:cubicBezTo>
                <a:cubicBezTo>
                  <a:pt x="276" y="32"/>
                  <a:pt x="276" y="32"/>
                  <a:pt x="276" y="32"/>
                </a:cubicBezTo>
                <a:cubicBezTo>
                  <a:pt x="276" y="33"/>
                  <a:pt x="276" y="33"/>
                  <a:pt x="276" y="33"/>
                </a:cubicBezTo>
                <a:cubicBezTo>
                  <a:pt x="276" y="33"/>
                  <a:pt x="276" y="33"/>
                  <a:pt x="276" y="33"/>
                </a:cubicBezTo>
                <a:cubicBezTo>
                  <a:pt x="275" y="32"/>
                  <a:pt x="275" y="32"/>
                  <a:pt x="275" y="32"/>
                </a:cubicBezTo>
                <a:cubicBezTo>
                  <a:pt x="275" y="28"/>
                  <a:pt x="275" y="28"/>
                  <a:pt x="275" y="28"/>
                </a:cubicBezTo>
                <a:cubicBezTo>
                  <a:pt x="274" y="28"/>
                  <a:pt x="274" y="28"/>
                  <a:pt x="274" y="28"/>
                </a:cubicBezTo>
                <a:cubicBezTo>
                  <a:pt x="273" y="27"/>
                  <a:pt x="273" y="27"/>
                  <a:pt x="273" y="27"/>
                </a:cubicBezTo>
                <a:cubicBezTo>
                  <a:pt x="271" y="27"/>
                  <a:pt x="271" y="27"/>
                  <a:pt x="271" y="27"/>
                </a:cubicBezTo>
                <a:cubicBezTo>
                  <a:pt x="270" y="27"/>
                  <a:pt x="270" y="27"/>
                  <a:pt x="270" y="27"/>
                </a:cubicBezTo>
                <a:cubicBezTo>
                  <a:pt x="269" y="28"/>
                  <a:pt x="269" y="28"/>
                  <a:pt x="269" y="28"/>
                </a:cubicBezTo>
                <a:cubicBezTo>
                  <a:pt x="270" y="29"/>
                  <a:pt x="270" y="29"/>
                  <a:pt x="270" y="29"/>
                </a:cubicBezTo>
                <a:cubicBezTo>
                  <a:pt x="271" y="30"/>
                  <a:pt x="271" y="30"/>
                  <a:pt x="271" y="30"/>
                </a:cubicBezTo>
                <a:cubicBezTo>
                  <a:pt x="272" y="31"/>
                  <a:pt x="272" y="31"/>
                  <a:pt x="272" y="31"/>
                </a:cubicBezTo>
                <a:cubicBezTo>
                  <a:pt x="271" y="31"/>
                  <a:pt x="271" y="31"/>
                  <a:pt x="271" y="31"/>
                </a:cubicBezTo>
                <a:cubicBezTo>
                  <a:pt x="270" y="31"/>
                  <a:pt x="270" y="31"/>
                  <a:pt x="270" y="31"/>
                </a:cubicBezTo>
                <a:cubicBezTo>
                  <a:pt x="270" y="30"/>
                  <a:pt x="270" y="30"/>
                  <a:pt x="270" y="30"/>
                </a:cubicBezTo>
                <a:cubicBezTo>
                  <a:pt x="269" y="30"/>
                  <a:pt x="269" y="30"/>
                  <a:pt x="269" y="30"/>
                </a:cubicBezTo>
                <a:cubicBezTo>
                  <a:pt x="268" y="30"/>
                  <a:pt x="268" y="30"/>
                  <a:pt x="268" y="30"/>
                </a:cubicBezTo>
                <a:cubicBezTo>
                  <a:pt x="269" y="31"/>
                  <a:pt x="269" y="31"/>
                  <a:pt x="269" y="31"/>
                </a:cubicBezTo>
                <a:cubicBezTo>
                  <a:pt x="269" y="32"/>
                  <a:pt x="269" y="32"/>
                  <a:pt x="269" y="32"/>
                </a:cubicBezTo>
                <a:cubicBezTo>
                  <a:pt x="269" y="32"/>
                  <a:pt x="269" y="32"/>
                  <a:pt x="269" y="32"/>
                </a:cubicBezTo>
                <a:cubicBezTo>
                  <a:pt x="269" y="34"/>
                  <a:pt x="269" y="34"/>
                  <a:pt x="269" y="34"/>
                </a:cubicBezTo>
                <a:cubicBezTo>
                  <a:pt x="269" y="34"/>
                  <a:pt x="269" y="34"/>
                  <a:pt x="269" y="34"/>
                </a:cubicBezTo>
                <a:cubicBezTo>
                  <a:pt x="270" y="34"/>
                  <a:pt x="270" y="34"/>
                  <a:pt x="270" y="34"/>
                </a:cubicBezTo>
                <a:cubicBezTo>
                  <a:pt x="271" y="35"/>
                  <a:pt x="271" y="35"/>
                  <a:pt x="271" y="35"/>
                </a:cubicBezTo>
                <a:cubicBezTo>
                  <a:pt x="271" y="36"/>
                  <a:pt x="271" y="36"/>
                  <a:pt x="271" y="36"/>
                </a:cubicBezTo>
                <a:cubicBezTo>
                  <a:pt x="272" y="39"/>
                  <a:pt x="272" y="39"/>
                  <a:pt x="272" y="39"/>
                </a:cubicBezTo>
                <a:cubicBezTo>
                  <a:pt x="273" y="40"/>
                  <a:pt x="273" y="40"/>
                  <a:pt x="273" y="40"/>
                </a:cubicBezTo>
                <a:cubicBezTo>
                  <a:pt x="274" y="40"/>
                  <a:pt x="274" y="40"/>
                  <a:pt x="274" y="40"/>
                </a:cubicBezTo>
                <a:cubicBezTo>
                  <a:pt x="273" y="41"/>
                  <a:pt x="273" y="41"/>
                  <a:pt x="273" y="41"/>
                </a:cubicBezTo>
                <a:cubicBezTo>
                  <a:pt x="272" y="41"/>
                  <a:pt x="272" y="41"/>
                  <a:pt x="272" y="41"/>
                </a:cubicBezTo>
                <a:cubicBezTo>
                  <a:pt x="271" y="43"/>
                  <a:pt x="271" y="43"/>
                  <a:pt x="271" y="43"/>
                </a:cubicBezTo>
                <a:cubicBezTo>
                  <a:pt x="273" y="46"/>
                  <a:pt x="273" y="46"/>
                  <a:pt x="273" y="46"/>
                </a:cubicBezTo>
                <a:cubicBezTo>
                  <a:pt x="273" y="47"/>
                  <a:pt x="273" y="47"/>
                  <a:pt x="273" y="47"/>
                </a:cubicBezTo>
                <a:cubicBezTo>
                  <a:pt x="273" y="49"/>
                  <a:pt x="273" y="49"/>
                  <a:pt x="273" y="49"/>
                </a:cubicBezTo>
                <a:cubicBezTo>
                  <a:pt x="274" y="49"/>
                  <a:pt x="274" y="49"/>
                  <a:pt x="274" y="49"/>
                </a:cubicBezTo>
                <a:cubicBezTo>
                  <a:pt x="274" y="50"/>
                  <a:pt x="274" y="50"/>
                  <a:pt x="274" y="50"/>
                </a:cubicBezTo>
                <a:cubicBezTo>
                  <a:pt x="273" y="51"/>
                  <a:pt x="273" y="51"/>
                  <a:pt x="273" y="51"/>
                </a:cubicBezTo>
                <a:cubicBezTo>
                  <a:pt x="274" y="53"/>
                  <a:pt x="274" y="53"/>
                  <a:pt x="274" y="53"/>
                </a:cubicBezTo>
                <a:cubicBezTo>
                  <a:pt x="275" y="55"/>
                  <a:pt x="275" y="55"/>
                  <a:pt x="275" y="55"/>
                </a:cubicBezTo>
                <a:cubicBezTo>
                  <a:pt x="276" y="56"/>
                  <a:pt x="276" y="56"/>
                  <a:pt x="276" y="56"/>
                </a:cubicBezTo>
                <a:cubicBezTo>
                  <a:pt x="276" y="57"/>
                  <a:pt x="276" y="57"/>
                  <a:pt x="276" y="57"/>
                </a:cubicBezTo>
                <a:cubicBezTo>
                  <a:pt x="277" y="58"/>
                  <a:pt x="277" y="58"/>
                  <a:pt x="277" y="58"/>
                </a:cubicBezTo>
                <a:close/>
                <a:moveTo>
                  <a:pt x="301" y="44"/>
                </a:moveTo>
                <a:cubicBezTo>
                  <a:pt x="302" y="43"/>
                  <a:pt x="302" y="43"/>
                  <a:pt x="302" y="43"/>
                </a:cubicBezTo>
                <a:cubicBezTo>
                  <a:pt x="302" y="42"/>
                  <a:pt x="302" y="42"/>
                  <a:pt x="302" y="42"/>
                </a:cubicBezTo>
                <a:cubicBezTo>
                  <a:pt x="301" y="42"/>
                  <a:pt x="301" y="42"/>
                  <a:pt x="301" y="42"/>
                </a:cubicBezTo>
                <a:cubicBezTo>
                  <a:pt x="302" y="41"/>
                  <a:pt x="302" y="41"/>
                  <a:pt x="302" y="41"/>
                </a:cubicBezTo>
                <a:cubicBezTo>
                  <a:pt x="303" y="41"/>
                  <a:pt x="303" y="41"/>
                  <a:pt x="303" y="41"/>
                </a:cubicBezTo>
                <a:cubicBezTo>
                  <a:pt x="302" y="41"/>
                  <a:pt x="302" y="41"/>
                  <a:pt x="302" y="41"/>
                </a:cubicBezTo>
                <a:cubicBezTo>
                  <a:pt x="301" y="41"/>
                  <a:pt x="301" y="41"/>
                  <a:pt x="301" y="41"/>
                </a:cubicBezTo>
                <a:cubicBezTo>
                  <a:pt x="300" y="42"/>
                  <a:pt x="300" y="42"/>
                  <a:pt x="300" y="42"/>
                </a:cubicBezTo>
                <a:cubicBezTo>
                  <a:pt x="301" y="43"/>
                  <a:pt x="301" y="43"/>
                  <a:pt x="301" y="43"/>
                </a:cubicBezTo>
                <a:cubicBezTo>
                  <a:pt x="300" y="43"/>
                  <a:pt x="300" y="43"/>
                  <a:pt x="300" y="43"/>
                </a:cubicBezTo>
                <a:cubicBezTo>
                  <a:pt x="300" y="44"/>
                  <a:pt x="300" y="44"/>
                  <a:pt x="300" y="44"/>
                </a:cubicBezTo>
                <a:cubicBezTo>
                  <a:pt x="300" y="44"/>
                  <a:pt x="300" y="44"/>
                  <a:pt x="300" y="44"/>
                </a:cubicBezTo>
                <a:cubicBezTo>
                  <a:pt x="301" y="44"/>
                  <a:pt x="301" y="44"/>
                  <a:pt x="301" y="44"/>
                </a:cubicBezTo>
                <a:close/>
                <a:moveTo>
                  <a:pt x="302" y="44"/>
                </a:moveTo>
                <a:cubicBezTo>
                  <a:pt x="303" y="43"/>
                  <a:pt x="303" y="43"/>
                  <a:pt x="303" y="43"/>
                </a:cubicBezTo>
                <a:cubicBezTo>
                  <a:pt x="305" y="43"/>
                  <a:pt x="305" y="43"/>
                  <a:pt x="305" y="43"/>
                </a:cubicBezTo>
                <a:cubicBezTo>
                  <a:pt x="305" y="42"/>
                  <a:pt x="305" y="42"/>
                  <a:pt x="305" y="42"/>
                </a:cubicBezTo>
                <a:cubicBezTo>
                  <a:pt x="306" y="42"/>
                  <a:pt x="306" y="42"/>
                  <a:pt x="306" y="42"/>
                </a:cubicBezTo>
                <a:cubicBezTo>
                  <a:pt x="307" y="42"/>
                  <a:pt x="307" y="42"/>
                  <a:pt x="307" y="42"/>
                </a:cubicBezTo>
                <a:cubicBezTo>
                  <a:pt x="308" y="42"/>
                  <a:pt x="308" y="42"/>
                  <a:pt x="308" y="42"/>
                </a:cubicBezTo>
                <a:cubicBezTo>
                  <a:pt x="308" y="44"/>
                  <a:pt x="308" y="44"/>
                  <a:pt x="308" y="44"/>
                </a:cubicBezTo>
                <a:cubicBezTo>
                  <a:pt x="308" y="45"/>
                  <a:pt x="308" y="45"/>
                  <a:pt x="308" y="45"/>
                </a:cubicBezTo>
                <a:cubicBezTo>
                  <a:pt x="307" y="44"/>
                  <a:pt x="307" y="44"/>
                  <a:pt x="307" y="44"/>
                </a:cubicBezTo>
                <a:cubicBezTo>
                  <a:pt x="306" y="45"/>
                  <a:pt x="306" y="45"/>
                  <a:pt x="306" y="45"/>
                </a:cubicBezTo>
                <a:cubicBezTo>
                  <a:pt x="304" y="45"/>
                  <a:pt x="304" y="45"/>
                  <a:pt x="304" y="45"/>
                </a:cubicBezTo>
                <a:cubicBezTo>
                  <a:pt x="303" y="45"/>
                  <a:pt x="303" y="45"/>
                  <a:pt x="303" y="45"/>
                </a:cubicBezTo>
                <a:cubicBezTo>
                  <a:pt x="302" y="44"/>
                  <a:pt x="302" y="44"/>
                  <a:pt x="302" y="44"/>
                </a:cubicBezTo>
                <a:close/>
                <a:moveTo>
                  <a:pt x="315" y="56"/>
                </a:moveTo>
                <a:cubicBezTo>
                  <a:pt x="315" y="57"/>
                  <a:pt x="315" y="57"/>
                  <a:pt x="315" y="57"/>
                </a:cubicBezTo>
                <a:cubicBezTo>
                  <a:pt x="316" y="58"/>
                  <a:pt x="316" y="58"/>
                  <a:pt x="316" y="58"/>
                </a:cubicBezTo>
                <a:cubicBezTo>
                  <a:pt x="316" y="59"/>
                  <a:pt x="316" y="59"/>
                  <a:pt x="316" y="59"/>
                </a:cubicBezTo>
                <a:cubicBezTo>
                  <a:pt x="316" y="60"/>
                  <a:pt x="316" y="60"/>
                  <a:pt x="316" y="60"/>
                </a:cubicBezTo>
                <a:cubicBezTo>
                  <a:pt x="317" y="59"/>
                  <a:pt x="317" y="59"/>
                  <a:pt x="317" y="59"/>
                </a:cubicBezTo>
                <a:cubicBezTo>
                  <a:pt x="318" y="58"/>
                  <a:pt x="318" y="58"/>
                  <a:pt x="318" y="58"/>
                </a:cubicBezTo>
                <a:cubicBezTo>
                  <a:pt x="317" y="56"/>
                  <a:pt x="317" y="56"/>
                  <a:pt x="317" y="56"/>
                </a:cubicBezTo>
                <a:cubicBezTo>
                  <a:pt x="316" y="56"/>
                  <a:pt x="316" y="56"/>
                  <a:pt x="316" y="56"/>
                </a:cubicBezTo>
                <a:cubicBezTo>
                  <a:pt x="315" y="56"/>
                  <a:pt x="315" y="56"/>
                  <a:pt x="315" y="56"/>
                </a:cubicBezTo>
                <a:close/>
                <a:moveTo>
                  <a:pt x="432" y="94"/>
                </a:moveTo>
                <a:cubicBezTo>
                  <a:pt x="433" y="94"/>
                  <a:pt x="433" y="94"/>
                  <a:pt x="433" y="94"/>
                </a:cubicBezTo>
                <a:cubicBezTo>
                  <a:pt x="433" y="92"/>
                  <a:pt x="433" y="92"/>
                  <a:pt x="433" y="92"/>
                </a:cubicBezTo>
                <a:cubicBezTo>
                  <a:pt x="433" y="91"/>
                  <a:pt x="433" y="91"/>
                  <a:pt x="433" y="91"/>
                </a:cubicBezTo>
                <a:cubicBezTo>
                  <a:pt x="431" y="92"/>
                  <a:pt x="431" y="92"/>
                  <a:pt x="431" y="92"/>
                </a:cubicBezTo>
                <a:cubicBezTo>
                  <a:pt x="431" y="92"/>
                  <a:pt x="431" y="92"/>
                  <a:pt x="431" y="92"/>
                </a:cubicBezTo>
                <a:cubicBezTo>
                  <a:pt x="431" y="93"/>
                  <a:pt x="431" y="93"/>
                  <a:pt x="431" y="93"/>
                </a:cubicBezTo>
                <a:cubicBezTo>
                  <a:pt x="432" y="93"/>
                  <a:pt x="432" y="93"/>
                  <a:pt x="432" y="93"/>
                </a:cubicBezTo>
                <a:cubicBezTo>
                  <a:pt x="432" y="94"/>
                  <a:pt x="432" y="94"/>
                  <a:pt x="432" y="94"/>
                </a:cubicBezTo>
                <a:close/>
                <a:moveTo>
                  <a:pt x="417" y="111"/>
                </a:moveTo>
                <a:cubicBezTo>
                  <a:pt x="418" y="111"/>
                  <a:pt x="418" y="111"/>
                  <a:pt x="418" y="111"/>
                </a:cubicBezTo>
                <a:cubicBezTo>
                  <a:pt x="419" y="111"/>
                  <a:pt x="419" y="111"/>
                  <a:pt x="419" y="111"/>
                </a:cubicBezTo>
                <a:cubicBezTo>
                  <a:pt x="419" y="111"/>
                  <a:pt x="419" y="111"/>
                  <a:pt x="419" y="111"/>
                </a:cubicBezTo>
                <a:cubicBezTo>
                  <a:pt x="419" y="111"/>
                  <a:pt x="419" y="111"/>
                  <a:pt x="419" y="111"/>
                </a:cubicBezTo>
                <a:cubicBezTo>
                  <a:pt x="418" y="110"/>
                  <a:pt x="418" y="110"/>
                  <a:pt x="418" y="110"/>
                </a:cubicBezTo>
                <a:cubicBezTo>
                  <a:pt x="417" y="109"/>
                  <a:pt x="417" y="109"/>
                  <a:pt x="417" y="109"/>
                </a:cubicBezTo>
                <a:cubicBezTo>
                  <a:pt x="416" y="109"/>
                  <a:pt x="416" y="109"/>
                  <a:pt x="416" y="109"/>
                </a:cubicBezTo>
                <a:cubicBezTo>
                  <a:pt x="416" y="109"/>
                  <a:pt x="416" y="109"/>
                  <a:pt x="416" y="109"/>
                </a:cubicBezTo>
                <a:cubicBezTo>
                  <a:pt x="416" y="110"/>
                  <a:pt x="416" y="110"/>
                  <a:pt x="416" y="110"/>
                </a:cubicBezTo>
                <a:cubicBezTo>
                  <a:pt x="417" y="110"/>
                  <a:pt x="417" y="110"/>
                  <a:pt x="417" y="110"/>
                </a:cubicBezTo>
                <a:cubicBezTo>
                  <a:pt x="417" y="110"/>
                  <a:pt x="417" y="111"/>
                  <a:pt x="417" y="111"/>
                </a:cubicBezTo>
                <a:close/>
                <a:moveTo>
                  <a:pt x="373" y="104"/>
                </a:moveTo>
                <a:cubicBezTo>
                  <a:pt x="374" y="104"/>
                  <a:pt x="374" y="104"/>
                  <a:pt x="374" y="104"/>
                </a:cubicBezTo>
                <a:cubicBezTo>
                  <a:pt x="375" y="104"/>
                  <a:pt x="375" y="104"/>
                  <a:pt x="375" y="104"/>
                </a:cubicBezTo>
                <a:cubicBezTo>
                  <a:pt x="376" y="104"/>
                  <a:pt x="376" y="104"/>
                  <a:pt x="376" y="104"/>
                </a:cubicBezTo>
                <a:cubicBezTo>
                  <a:pt x="376" y="103"/>
                  <a:pt x="376" y="103"/>
                  <a:pt x="376" y="103"/>
                </a:cubicBezTo>
                <a:cubicBezTo>
                  <a:pt x="377" y="102"/>
                  <a:pt x="377" y="102"/>
                  <a:pt x="377" y="102"/>
                </a:cubicBezTo>
                <a:cubicBezTo>
                  <a:pt x="377" y="102"/>
                  <a:pt x="377" y="102"/>
                  <a:pt x="377" y="102"/>
                </a:cubicBezTo>
                <a:cubicBezTo>
                  <a:pt x="376" y="101"/>
                  <a:pt x="376" y="101"/>
                  <a:pt x="376" y="101"/>
                </a:cubicBezTo>
                <a:cubicBezTo>
                  <a:pt x="376" y="99"/>
                  <a:pt x="376" y="99"/>
                  <a:pt x="376" y="99"/>
                </a:cubicBezTo>
                <a:cubicBezTo>
                  <a:pt x="375" y="98"/>
                  <a:pt x="375" y="98"/>
                  <a:pt x="375" y="98"/>
                </a:cubicBezTo>
                <a:cubicBezTo>
                  <a:pt x="375" y="97"/>
                  <a:pt x="375" y="97"/>
                  <a:pt x="375" y="97"/>
                </a:cubicBezTo>
                <a:cubicBezTo>
                  <a:pt x="375" y="96"/>
                  <a:pt x="375" y="96"/>
                  <a:pt x="375" y="96"/>
                </a:cubicBezTo>
                <a:cubicBezTo>
                  <a:pt x="374" y="96"/>
                  <a:pt x="374" y="96"/>
                  <a:pt x="374" y="96"/>
                </a:cubicBezTo>
                <a:cubicBezTo>
                  <a:pt x="371" y="96"/>
                  <a:pt x="371" y="96"/>
                  <a:pt x="371" y="96"/>
                </a:cubicBezTo>
                <a:cubicBezTo>
                  <a:pt x="369" y="98"/>
                  <a:pt x="369" y="98"/>
                  <a:pt x="369" y="98"/>
                </a:cubicBezTo>
                <a:cubicBezTo>
                  <a:pt x="368" y="98"/>
                  <a:pt x="368" y="98"/>
                  <a:pt x="368" y="98"/>
                </a:cubicBezTo>
                <a:cubicBezTo>
                  <a:pt x="368" y="98"/>
                  <a:pt x="368" y="98"/>
                  <a:pt x="368" y="98"/>
                </a:cubicBezTo>
                <a:cubicBezTo>
                  <a:pt x="368" y="100"/>
                  <a:pt x="368" y="100"/>
                  <a:pt x="368" y="100"/>
                </a:cubicBezTo>
                <a:cubicBezTo>
                  <a:pt x="369" y="100"/>
                  <a:pt x="369" y="100"/>
                  <a:pt x="369" y="100"/>
                </a:cubicBezTo>
                <a:cubicBezTo>
                  <a:pt x="369" y="101"/>
                  <a:pt x="369" y="101"/>
                  <a:pt x="369" y="101"/>
                </a:cubicBezTo>
                <a:cubicBezTo>
                  <a:pt x="369" y="102"/>
                  <a:pt x="369" y="102"/>
                  <a:pt x="369" y="102"/>
                </a:cubicBezTo>
                <a:cubicBezTo>
                  <a:pt x="368" y="102"/>
                  <a:pt x="368" y="102"/>
                  <a:pt x="368" y="102"/>
                </a:cubicBezTo>
                <a:cubicBezTo>
                  <a:pt x="367" y="102"/>
                  <a:pt x="367" y="102"/>
                  <a:pt x="367" y="102"/>
                </a:cubicBezTo>
                <a:cubicBezTo>
                  <a:pt x="368" y="103"/>
                  <a:pt x="368" y="103"/>
                  <a:pt x="368" y="103"/>
                </a:cubicBezTo>
                <a:cubicBezTo>
                  <a:pt x="370" y="103"/>
                  <a:pt x="370" y="103"/>
                  <a:pt x="370" y="103"/>
                </a:cubicBezTo>
                <a:cubicBezTo>
                  <a:pt x="373" y="104"/>
                  <a:pt x="373" y="104"/>
                  <a:pt x="373" y="104"/>
                </a:cubicBezTo>
                <a:close/>
                <a:moveTo>
                  <a:pt x="501" y="66"/>
                </a:moveTo>
                <a:cubicBezTo>
                  <a:pt x="501" y="65"/>
                  <a:pt x="501" y="65"/>
                  <a:pt x="501" y="65"/>
                </a:cubicBezTo>
                <a:cubicBezTo>
                  <a:pt x="501" y="65"/>
                  <a:pt x="501" y="65"/>
                  <a:pt x="501" y="65"/>
                </a:cubicBezTo>
                <a:cubicBezTo>
                  <a:pt x="502" y="63"/>
                  <a:pt x="502" y="63"/>
                  <a:pt x="502" y="63"/>
                </a:cubicBezTo>
                <a:cubicBezTo>
                  <a:pt x="502" y="62"/>
                  <a:pt x="502" y="62"/>
                  <a:pt x="502" y="62"/>
                </a:cubicBezTo>
                <a:cubicBezTo>
                  <a:pt x="502" y="61"/>
                  <a:pt x="502" y="61"/>
                  <a:pt x="502" y="61"/>
                </a:cubicBezTo>
                <a:cubicBezTo>
                  <a:pt x="500" y="59"/>
                  <a:pt x="500" y="59"/>
                  <a:pt x="500" y="59"/>
                </a:cubicBezTo>
                <a:cubicBezTo>
                  <a:pt x="500" y="58"/>
                  <a:pt x="500" y="58"/>
                  <a:pt x="500" y="58"/>
                </a:cubicBezTo>
                <a:cubicBezTo>
                  <a:pt x="499" y="58"/>
                  <a:pt x="499" y="58"/>
                  <a:pt x="499" y="58"/>
                </a:cubicBezTo>
                <a:cubicBezTo>
                  <a:pt x="497" y="58"/>
                  <a:pt x="497" y="58"/>
                  <a:pt x="497" y="58"/>
                </a:cubicBezTo>
                <a:cubicBezTo>
                  <a:pt x="496" y="59"/>
                  <a:pt x="496" y="59"/>
                  <a:pt x="496" y="59"/>
                </a:cubicBezTo>
                <a:cubicBezTo>
                  <a:pt x="496" y="60"/>
                  <a:pt x="496" y="60"/>
                  <a:pt x="496" y="60"/>
                </a:cubicBezTo>
                <a:cubicBezTo>
                  <a:pt x="497" y="62"/>
                  <a:pt x="497" y="62"/>
                  <a:pt x="497" y="62"/>
                </a:cubicBezTo>
                <a:cubicBezTo>
                  <a:pt x="497" y="62"/>
                  <a:pt x="497" y="62"/>
                  <a:pt x="497" y="62"/>
                </a:cubicBezTo>
                <a:cubicBezTo>
                  <a:pt x="497" y="63"/>
                  <a:pt x="497" y="63"/>
                  <a:pt x="497" y="63"/>
                </a:cubicBezTo>
                <a:cubicBezTo>
                  <a:pt x="498" y="63"/>
                  <a:pt x="498" y="63"/>
                  <a:pt x="498" y="63"/>
                </a:cubicBezTo>
                <a:cubicBezTo>
                  <a:pt x="500" y="65"/>
                  <a:pt x="500" y="65"/>
                  <a:pt x="500" y="65"/>
                </a:cubicBezTo>
                <a:cubicBezTo>
                  <a:pt x="501" y="66"/>
                  <a:pt x="501" y="66"/>
                  <a:pt x="501" y="66"/>
                </a:cubicBezTo>
                <a:close/>
                <a:moveTo>
                  <a:pt x="504" y="75"/>
                </a:moveTo>
                <a:cubicBezTo>
                  <a:pt x="505" y="74"/>
                  <a:pt x="505" y="74"/>
                  <a:pt x="505" y="74"/>
                </a:cubicBezTo>
                <a:cubicBezTo>
                  <a:pt x="506" y="73"/>
                  <a:pt x="506" y="73"/>
                  <a:pt x="506" y="73"/>
                </a:cubicBezTo>
                <a:cubicBezTo>
                  <a:pt x="508" y="72"/>
                  <a:pt x="508" y="72"/>
                  <a:pt x="508" y="72"/>
                </a:cubicBezTo>
                <a:cubicBezTo>
                  <a:pt x="510" y="72"/>
                  <a:pt x="510" y="72"/>
                  <a:pt x="510" y="72"/>
                </a:cubicBezTo>
                <a:cubicBezTo>
                  <a:pt x="513" y="72"/>
                  <a:pt x="513" y="72"/>
                  <a:pt x="513" y="72"/>
                </a:cubicBezTo>
                <a:cubicBezTo>
                  <a:pt x="514" y="72"/>
                  <a:pt x="514" y="72"/>
                  <a:pt x="514" y="72"/>
                </a:cubicBezTo>
                <a:cubicBezTo>
                  <a:pt x="517" y="72"/>
                  <a:pt x="517" y="72"/>
                  <a:pt x="517" y="72"/>
                </a:cubicBezTo>
                <a:cubicBezTo>
                  <a:pt x="518" y="71"/>
                  <a:pt x="518" y="71"/>
                  <a:pt x="518" y="71"/>
                </a:cubicBezTo>
                <a:cubicBezTo>
                  <a:pt x="520" y="71"/>
                  <a:pt x="520" y="71"/>
                  <a:pt x="520" y="71"/>
                </a:cubicBezTo>
                <a:cubicBezTo>
                  <a:pt x="522" y="71"/>
                  <a:pt x="522" y="71"/>
                  <a:pt x="522" y="71"/>
                </a:cubicBezTo>
                <a:cubicBezTo>
                  <a:pt x="523" y="70"/>
                  <a:pt x="523" y="70"/>
                  <a:pt x="523" y="70"/>
                </a:cubicBezTo>
                <a:cubicBezTo>
                  <a:pt x="522" y="69"/>
                  <a:pt x="522" y="69"/>
                  <a:pt x="522" y="69"/>
                </a:cubicBezTo>
                <a:cubicBezTo>
                  <a:pt x="521" y="68"/>
                  <a:pt x="521" y="68"/>
                  <a:pt x="521" y="68"/>
                </a:cubicBezTo>
                <a:cubicBezTo>
                  <a:pt x="520" y="66"/>
                  <a:pt x="520" y="66"/>
                  <a:pt x="520" y="66"/>
                </a:cubicBezTo>
                <a:cubicBezTo>
                  <a:pt x="517" y="64"/>
                  <a:pt x="517" y="64"/>
                  <a:pt x="517" y="64"/>
                </a:cubicBezTo>
                <a:cubicBezTo>
                  <a:pt x="515" y="64"/>
                  <a:pt x="515" y="64"/>
                  <a:pt x="515" y="64"/>
                </a:cubicBezTo>
                <a:cubicBezTo>
                  <a:pt x="514" y="64"/>
                  <a:pt x="514" y="64"/>
                  <a:pt x="514" y="64"/>
                </a:cubicBezTo>
                <a:cubicBezTo>
                  <a:pt x="512" y="62"/>
                  <a:pt x="512" y="62"/>
                  <a:pt x="512" y="62"/>
                </a:cubicBezTo>
                <a:cubicBezTo>
                  <a:pt x="511" y="62"/>
                  <a:pt x="511" y="62"/>
                  <a:pt x="511" y="62"/>
                </a:cubicBezTo>
                <a:cubicBezTo>
                  <a:pt x="510" y="63"/>
                  <a:pt x="510" y="63"/>
                  <a:pt x="510" y="63"/>
                </a:cubicBezTo>
                <a:cubicBezTo>
                  <a:pt x="509" y="62"/>
                  <a:pt x="509" y="62"/>
                  <a:pt x="509" y="62"/>
                </a:cubicBezTo>
                <a:cubicBezTo>
                  <a:pt x="508" y="62"/>
                  <a:pt x="508" y="62"/>
                  <a:pt x="508" y="62"/>
                </a:cubicBezTo>
                <a:cubicBezTo>
                  <a:pt x="507" y="64"/>
                  <a:pt x="507" y="64"/>
                  <a:pt x="507" y="64"/>
                </a:cubicBezTo>
                <a:cubicBezTo>
                  <a:pt x="505" y="66"/>
                  <a:pt x="505" y="66"/>
                  <a:pt x="505" y="66"/>
                </a:cubicBezTo>
                <a:cubicBezTo>
                  <a:pt x="506" y="67"/>
                  <a:pt x="506" y="67"/>
                  <a:pt x="506" y="67"/>
                </a:cubicBezTo>
                <a:cubicBezTo>
                  <a:pt x="506" y="70"/>
                  <a:pt x="506" y="70"/>
                  <a:pt x="506" y="70"/>
                </a:cubicBezTo>
                <a:cubicBezTo>
                  <a:pt x="505" y="73"/>
                  <a:pt x="505" y="73"/>
                  <a:pt x="505" y="73"/>
                </a:cubicBezTo>
                <a:cubicBezTo>
                  <a:pt x="504" y="74"/>
                  <a:pt x="504" y="74"/>
                  <a:pt x="504" y="74"/>
                </a:cubicBezTo>
                <a:cubicBezTo>
                  <a:pt x="504" y="75"/>
                  <a:pt x="504" y="75"/>
                  <a:pt x="504" y="75"/>
                </a:cubicBezTo>
                <a:cubicBezTo>
                  <a:pt x="504" y="75"/>
                  <a:pt x="504" y="75"/>
                  <a:pt x="504" y="75"/>
                </a:cubicBezTo>
                <a:close/>
                <a:moveTo>
                  <a:pt x="474" y="69"/>
                </a:moveTo>
                <a:cubicBezTo>
                  <a:pt x="475" y="70"/>
                  <a:pt x="475" y="70"/>
                  <a:pt x="475" y="70"/>
                </a:cubicBezTo>
                <a:cubicBezTo>
                  <a:pt x="476" y="71"/>
                  <a:pt x="476" y="71"/>
                  <a:pt x="476" y="71"/>
                </a:cubicBezTo>
                <a:cubicBezTo>
                  <a:pt x="477" y="71"/>
                  <a:pt x="477" y="71"/>
                  <a:pt x="477" y="71"/>
                </a:cubicBezTo>
                <a:cubicBezTo>
                  <a:pt x="478" y="72"/>
                  <a:pt x="478" y="72"/>
                  <a:pt x="478" y="72"/>
                </a:cubicBezTo>
                <a:cubicBezTo>
                  <a:pt x="480" y="72"/>
                  <a:pt x="480" y="72"/>
                  <a:pt x="480" y="72"/>
                </a:cubicBezTo>
                <a:cubicBezTo>
                  <a:pt x="481" y="73"/>
                  <a:pt x="481" y="73"/>
                  <a:pt x="481" y="73"/>
                </a:cubicBezTo>
                <a:cubicBezTo>
                  <a:pt x="482" y="73"/>
                  <a:pt x="482" y="73"/>
                  <a:pt x="482" y="73"/>
                </a:cubicBezTo>
                <a:cubicBezTo>
                  <a:pt x="482" y="72"/>
                  <a:pt x="482" y="72"/>
                  <a:pt x="482" y="72"/>
                </a:cubicBezTo>
                <a:cubicBezTo>
                  <a:pt x="480" y="70"/>
                  <a:pt x="480" y="70"/>
                  <a:pt x="480" y="70"/>
                </a:cubicBezTo>
                <a:cubicBezTo>
                  <a:pt x="479" y="70"/>
                  <a:pt x="479" y="70"/>
                  <a:pt x="479" y="70"/>
                </a:cubicBezTo>
                <a:cubicBezTo>
                  <a:pt x="477" y="70"/>
                  <a:pt x="477" y="70"/>
                  <a:pt x="477" y="70"/>
                </a:cubicBezTo>
                <a:cubicBezTo>
                  <a:pt x="476" y="69"/>
                  <a:pt x="476" y="69"/>
                  <a:pt x="476" y="69"/>
                </a:cubicBezTo>
                <a:cubicBezTo>
                  <a:pt x="475" y="68"/>
                  <a:pt x="475" y="68"/>
                  <a:pt x="475" y="68"/>
                </a:cubicBezTo>
                <a:cubicBezTo>
                  <a:pt x="474" y="69"/>
                  <a:pt x="474" y="69"/>
                  <a:pt x="474" y="69"/>
                </a:cubicBezTo>
                <a:close/>
                <a:moveTo>
                  <a:pt x="514" y="108"/>
                </a:moveTo>
                <a:cubicBezTo>
                  <a:pt x="516" y="110"/>
                  <a:pt x="516" y="110"/>
                  <a:pt x="516" y="110"/>
                </a:cubicBezTo>
                <a:cubicBezTo>
                  <a:pt x="517" y="110"/>
                  <a:pt x="517" y="110"/>
                  <a:pt x="517" y="110"/>
                </a:cubicBezTo>
                <a:cubicBezTo>
                  <a:pt x="517" y="110"/>
                  <a:pt x="517" y="110"/>
                  <a:pt x="517" y="110"/>
                </a:cubicBezTo>
                <a:cubicBezTo>
                  <a:pt x="518" y="109"/>
                  <a:pt x="518" y="109"/>
                  <a:pt x="518" y="109"/>
                </a:cubicBezTo>
                <a:cubicBezTo>
                  <a:pt x="519" y="109"/>
                  <a:pt x="519" y="109"/>
                  <a:pt x="519" y="109"/>
                </a:cubicBezTo>
                <a:cubicBezTo>
                  <a:pt x="518" y="108"/>
                  <a:pt x="518" y="108"/>
                  <a:pt x="518" y="108"/>
                </a:cubicBezTo>
                <a:cubicBezTo>
                  <a:pt x="518" y="106"/>
                  <a:pt x="518" y="106"/>
                  <a:pt x="518" y="106"/>
                </a:cubicBezTo>
                <a:cubicBezTo>
                  <a:pt x="517" y="107"/>
                  <a:pt x="517" y="107"/>
                  <a:pt x="517" y="107"/>
                </a:cubicBezTo>
                <a:cubicBezTo>
                  <a:pt x="517" y="108"/>
                  <a:pt x="517" y="108"/>
                  <a:pt x="517" y="108"/>
                </a:cubicBezTo>
                <a:cubicBezTo>
                  <a:pt x="516" y="108"/>
                  <a:pt x="516" y="108"/>
                  <a:pt x="516" y="108"/>
                </a:cubicBezTo>
                <a:cubicBezTo>
                  <a:pt x="516" y="108"/>
                  <a:pt x="515" y="109"/>
                  <a:pt x="514" y="108"/>
                </a:cubicBezTo>
                <a:close/>
                <a:moveTo>
                  <a:pt x="655" y="98"/>
                </a:moveTo>
                <a:cubicBezTo>
                  <a:pt x="655" y="98"/>
                  <a:pt x="655" y="98"/>
                  <a:pt x="655" y="98"/>
                </a:cubicBezTo>
                <a:cubicBezTo>
                  <a:pt x="655" y="97"/>
                  <a:pt x="655" y="97"/>
                  <a:pt x="655" y="97"/>
                </a:cubicBezTo>
                <a:cubicBezTo>
                  <a:pt x="655" y="96"/>
                  <a:pt x="655" y="96"/>
                  <a:pt x="655" y="96"/>
                </a:cubicBezTo>
                <a:cubicBezTo>
                  <a:pt x="654" y="95"/>
                  <a:pt x="654" y="95"/>
                  <a:pt x="654" y="95"/>
                </a:cubicBezTo>
                <a:cubicBezTo>
                  <a:pt x="654" y="96"/>
                  <a:pt x="654" y="96"/>
                  <a:pt x="654" y="96"/>
                </a:cubicBezTo>
                <a:cubicBezTo>
                  <a:pt x="655" y="98"/>
                  <a:pt x="655" y="98"/>
                  <a:pt x="655" y="98"/>
                </a:cubicBezTo>
                <a:close/>
                <a:moveTo>
                  <a:pt x="654" y="99"/>
                </a:moveTo>
                <a:cubicBezTo>
                  <a:pt x="654" y="99"/>
                  <a:pt x="654" y="99"/>
                  <a:pt x="654" y="99"/>
                </a:cubicBezTo>
                <a:cubicBezTo>
                  <a:pt x="654" y="98"/>
                  <a:pt x="654" y="98"/>
                  <a:pt x="654" y="98"/>
                </a:cubicBezTo>
                <a:cubicBezTo>
                  <a:pt x="654" y="97"/>
                  <a:pt x="654" y="97"/>
                  <a:pt x="654" y="97"/>
                </a:cubicBezTo>
                <a:cubicBezTo>
                  <a:pt x="653" y="97"/>
                  <a:pt x="653" y="97"/>
                  <a:pt x="653" y="97"/>
                </a:cubicBezTo>
                <a:cubicBezTo>
                  <a:pt x="653" y="97"/>
                  <a:pt x="653" y="97"/>
                  <a:pt x="653" y="97"/>
                </a:cubicBezTo>
                <a:cubicBezTo>
                  <a:pt x="654" y="99"/>
                  <a:pt x="654" y="99"/>
                  <a:pt x="654" y="99"/>
                </a:cubicBezTo>
                <a:close/>
                <a:moveTo>
                  <a:pt x="653" y="99"/>
                </a:moveTo>
                <a:cubicBezTo>
                  <a:pt x="654" y="101"/>
                  <a:pt x="654" y="101"/>
                  <a:pt x="654" y="101"/>
                </a:cubicBezTo>
                <a:cubicBezTo>
                  <a:pt x="654" y="102"/>
                  <a:pt x="654" y="102"/>
                  <a:pt x="654" y="102"/>
                </a:cubicBezTo>
                <a:cubicBezTo>
                  <a:pt x="655" y="101"/>
                  <a:pt x="655" y="101"/>
                  <a:pt x="655" y="101"/>
                </a:cubicBezTo>
                <a:cubicBezTo>
                  <a:pt x="654" y="100"/>
                  <a:pt x="654" y="100"/>
                  <a:pt x="654" y="100"/>
                </a:cubicBezTo>
                <a:cubicBezTo>
                  <a:pt x="653" y="99"/>
                  <a:pt x="653" y="99"/>
                  <a:pt x="653" y="99"/>
                </a:cubicBezTo>
                <a:cubicBezTo>
                  <a:pt x="653" y="99"/>
                  <a:pt x="653" y="99"/>
                  <a:pt x="653" y="99"/>
                </a:cubicBezTo>
                <a:cubicBezTo>
                  <a:pt x="653" y="99"/>
                  <a:pt x="653" y="99"/>
                  <a:pt x="653" y="99"/>
                </a:cubicBezTo>
                <a:close/>
                <a:moveTo>
                  <a:pt x="650" y="98"/>
                </a:moveTo>
                <a:cubicBezTo>
                  <a:pt x="650" y="100"/>
                  <a:pt x="650" y="100"/>
                  <a:pt x="650" y="100"/>
                </a:cubicBezTo>
                <a:cubicBezTo>
                  <a:pt x="651" y="100"/>
                  <a:pt x="651" y="100"/>
                  <a:pt x="651" y="100"/>
                </a:cubicBezTo>
                <a:cubicBezTo>
                  <a:pt x="651" y="100"/>
                  <a:pt x="651" y="100"/>
                  <a:pt x="651" y="100"/>
                </a:cubicBezTo>
                <a:cubicBezTo>
                  <a:pt x="652" y="99"/>
                  <a:pt x="652" y="99"/>
                  <a:pt x="652" y="99"/>
                </a:cubicBezTo>
                <a:cubicBezTo>
                  <a:pt x="651" y="98"/>
                  <a:pt x="651" y="98"/>
                  <a:pt x="651" y="98"/>
                </a:cubicBezTo>
                <a:cubicBezTo>
                  <a:pt x="651" y="98"/>
                  <a:pt x="651" y="98"/>
                  <a:pt x="651" y="98"/>
                </a:cubicBezTo>
                <a:cubicBezTo>
                  <a:pt x="650" y="98"/>
                  <a:pt x="650" y="98"/>
                  <a:pt x="650" y="98"/>
                </a:cubicBezTo>
                <a:cubicBezTo>
                  <a:pt x="650" y="98"/>
                  <a:pt x="650" y="98"/>
                  <a:pt x="650" y="98"/>
                </a:cubicBezTo>
                <a:close/>
                <a:moveTo>
                  <a:pt x="684" y="84"/>
                </a:moveTo>
                <a:cubicBezTo>
                  <a:pt x="686" y="85"/>
                  <a:pt x="686" y="85"/>
                  <a:pt x="686" y="85"/>
                </a:cubicBezTo>
                <a:cubicBezTo>
                  <a:pt x="687" y="84"/>
                  <a:pt x="687" y="84"/>
                  <a:pt x="687" y="84"/>
                </a:cubicBezTo>
                <a:cubicBezTo>
                  <a:pt x="688" y="83"/>
                  <a:pt x="688" y="83"/>
                  <a:pt x="688" y="83"/>
                </a:cubicBezTo>
                <a:cubicBezTo>
                  <a:pt x="688" y="82"/>
                  <a:pt x="688" y="82"/>
                  <a:pt x="688" y="82"/>
                </a:cubicBezTo>
                <a:cubicBezTo>
                  <a:pt x="687" y="81"/>
                  <a:pt x="687" y="81"/>
                  <a:pt x="687" y="81"/>
                </a:cubicBezTo>
                <a:cubicBezTo>
                  <a:pt x="687" y="80"/>
                  <a:pt x="687" y="80"/>
                  <a:pt x="687" y="80"/>
                </a:cubicBezTo>
                <a:cubicBezTo>
                  <a:pt x="687" y="79"/>
                  <a:pt x="687" y="79"/>
                  <a:pt x="687" y="79"/>
                </a:cubicBezTo>
                <a:cubicBezTo>
                  <a:pt x="685" y="78"/>
                  <a:pt x="685" y="78"/>
                  <a:pt x="685" y="78"/>
                </a:cubicBezTo>
                <a:cubicBezTo>
                  <a:pt x="685" y="79"/>
                  <a:pt x="685" y="79"/>
                  <a:pt x="685" y="79"/>
                </a:cubicBezTo>
                <a:cubicBezTo>
                  <a:pt x="684" y="79"/>
                  <a:pt x="684" y="79"/>
                  <a:pt x="684" y="79"/>
                </a:cubicBezTo>
                <a:cubicBezTo>
                  <a:pt x="683" y="78"/>
                  <a:pt x="683" y="78"/>
                  <a:pt x="683" y="78"/>
                </a:cubicBezTo>
                <a:cubicBezTo>
                  <a:pt x="682" y="78"/>
                  <a:pt x="682" y="78"/>
                  <a:pt x="682" y="78"/>
                </a:cubicBezTo>
                <a:cubicBezTo>
                  <a:pt x="681" y="78"/>
                  <a:pt x="681" y="78"/>
                  <a:pt x="681" y="78"/>
                </a:cubicBezTo>
                <a:cubicBezTo>
                  <a:pt x="681" y="79"/>
                  <a:pt x="681" y="79"/>
                  <a:pt x="681" y="79"/>
                </a:cubicBezTo>
                <a:cubicBezTo>
                  <a:pt x="681" y="79"/>
                  <a:pt x="681" y="79"/>
                  <a:pt x="681" y="79"/>
                </a:cubicBezTo>
                <a:cubicBezTo>
                  <a:pt x="680" y="79"/>
                  <a:pt x="680" y="79"/>
                  <a:pt x="680" y="79"/>
                </a:cubicBezTo>
                <a:cubicBezTo>
                  <a:pt x="680" y="80"/>
                  <a:pt x="680" y="80"/>
                  <a:pt x="680" y="80"/>
                </a:cubicBezTo>
                <a:cubicBezTo>
                  <a:pt x="680" y="82"/>
                  <a:pt x="680" y="82"/>
                  <a:pt x="680" y="82"/>
                </a:cubicBezTo>
                <a:cubicBezTo>
                  <a:pt x="680" y="83"/>
                  <a:pt x="680" y="83"/>
                  <a:pt x="680" y="83"/>
                </a:cubicBezTo>
                <a:cubicBezTo>
                  <a:pt x="681" y="83"/>
                  <a:pt x="681" y="83"/>
                  <a:pt x="681" y="83"/>
                </a:cubicBezTo>
                <a:cubicBezTo>
                  <a:pt x="683" y="83"/>
                  <a:pt x="683" y="83"/>
                  <a:pt x="683" y="83"/>
                </a:cubicBezTo>
                <a:cubicBezTo>
                  <a:pt x="684" y="84"/>
                  <a:pt x="684" y="84"/>
                  <a:pt x="684" y="84"/>
                </a:cubicBezTo>
                <a:close/>
                <a:moveTo>
                  <a:pt x="692" y="81"/>
                </a:moveTo>
                <a:cubicBezTo>
                  <a:pt x="693" y="80"/>
                  <a:pt x="693" y="80"/>
                  <a:pt x="693" y="80"/>
                </a:cubicBezTo>
                <a:cubicBezTo>
                  <a:pt x="693" y="80"/>
                  <a:pt x="693" y="80"/>
                  <a:pt x="693" y="80"/>
                </a:cubicBezTo>
                <a:cubicBezTo>
                  <a:pt x="692" y="80"/>
                  <a:pt x="692" y="80"/>
                  <a:pt x="692" y="80"/>
                </a:cubicBezTo>
                <a:cubicBezTo>
                  <a:pt x="692" y="80"/>
                  <a:pt x="692" y="80"/>
                  <a:pt x="692" y="80"/>
                </a:cubicBezTo>
                <a:cubicBezTo>
                  <a:pt x="692" y="81"/>
                  <a:pt x="692" y="81"/>
                  <a:pt x="692" y="81"/>
                </a:cubicBezTo>
                <a:close/>
                <a:moveTo>
                  <a:pt x="701" y="418"/>
                </a:moveTo>
                <a:cubicBezTo>
                  <a:pt x="701" y="417"/>
                  <a:pt x="701" y="417"/>
                  <a:pt x="701" y="417"/>
                </a:cubicBezTo>
                <a:cubicBezTo>
                  <a:pt x="701" y="415"/>
                  <a:pt x="701" y="415"/>
                  <a:pt x="701" y="415"/>
                </a:cubicBezTo>
                <a:cubicBezTo>
                  <a:pt x="700" y="414"/>
                  <a:pt x="700" y="414"/>
                  <a:pt x="700" y="414"/>
                </a:cubicBezTo>
                <a:cubicBezTo>
                  <a:pt x="700" y="413"/>
                  <a:pt x="700" y="413"/>
                  <a:pt x="700" y="413"/>
                </a:cubicBezTo>
                <a:cubicBezTo>
                  <a:pt x="700" y="411"/>
                  <a:pt x="700" y="411"/>
                  <a:pt x="700" y="411"/>
                </a:cubicBezTo>
                <a:cubicBezTo>
                  <a:pt x="701" y="410"/>
                  <a:pt x="701" y="410"/>
                  <a:pt x="701" y="410"/>
                </a:cubicBezTo>
                <a:cubicBezTo>
                  <a:pt x="702" y="410"/>
                  <a:pt x="702" y="410"/>
                  <a:pt x="702" y="410"/>
                </a:cubicBezTo>
                <a:cubicBezTo>
                  <a:pt x="702" y="411"/>
                  <a:pt x="702" y="411"/>
                  <a:pt x="702" y="411"/>
                </a:cubicBezTo>
                <a:cubicBezTo>
                  <a:pt x="703" y="411"/>
                  <a:pt x="703" y="411"/>
                  <a:pt x="703" y="411"/>
                </a:cubicBezTo>
                <a:cubicBezTo>
                  <a:pt x="705" y="411"/>
                  <a:pt x="705" y="411"/>
                  <a:pt x="705" y="411"/>
                </a:cubicBezTo>
                <a:cubicBezTo>
                  <a:pt x="705" y="410"/>
                  <a:pt x="705" y="410"/>
                  <a:pt x="705" y="410"/>
                </a:cubicBezTo>
                <a:cubicBezTo>
                  <a:pt x="706" y="410"/>
                  <a:pt x="706" y="410"/>
                  <a:pt x="706" y="410"/>
                </a:cubicBezTo>
                <a:cubicBezTo>
                  <a:pt x="706" y="411"/>
                  <a:pt x="706" y="411"/>
                  <a:pt x="706" y="411"/>
                </a:cubicBezTo>
                <a:cubicBezTo>
                  <a:pt x="706" y="411"/>
                  <a:pt x="706" y="411"/>
                  <a:pt x="706" y="411"/>
                </a:cubicBezTo>
                <a:cubicBezTo>
                  <a:pt x="706" y="412"/>
                  <a:pt x="706" y="412"/>
                  <a:pt x="706" y="412"/>
                </a:cubicBezTo>
                <a:cubicBezTo>
                  <a:pt x="707" y="414"/>
                  <a:pt x="707" y="414"/>
                  <a:pt x="707" y="414"/>
                </a:cubicBezTo>
                <a:cubicBezTo>
                  <a:pt x="708" y="415"/>
                  <a:pt x="708" y="415"/>
                  <a:pt x="708" y="415"/>
                </a:cubicBezTo>
                <a:cubicBezTo>
                  <a:pt x="708" y="416"/>
                  <a:pt x="708" y="416"/>
                  <a:pt x="708" y="416"/>
                </a:cubicBezTo>
                <a:cubicBezTo>
                  <a:pt x="708" y="415"/>
                  <a:pt x="708" y="415"/>
                  <a:pt x="708" y="415"/>
                </a:cubicBezTo>
                <a:cubicBezTo>
                  <a:pt x="708" y="414"/>
                  <a:pt x="708" y="414"/>
                  <a:pt x="708" y="414"/>
                </a:cubicBezTo>
                <a:cubicBezTo>
                  <a:pt x="708" y="413"/>
                  <a:pt x="708" y="413"/>
                  <a:pt x="708" y="413"/>
                </a:cubicBezTo>
                <a:cubicBezTo>
                  <a:pt x="708" y="411"/>
                  <a:pt x="708" y="411"/>
                  <a:pt x="708" y="411"/>
                </a:cubicBezTo>
                <a:cubicBezTo>
                  <a:pt x="707" y="410"/>
                  <a:pt x="707" y="410"/>
                  <a:pt x="707" y="410"/>
                </a:cubicBezTo>
                <a:cubicBezTo>
                  <a:pt x="707" y="409"/>
                  <a:pt x="707" y="409"/>
                  <a:pt x="707" y="409"/>
                </a:cubicBezTo>
                <a:cubicBezTo>
                  <a:pt x="706" y="408"/>
                  <a:pt x="706" y="408"/>
                  <a:pt x="706" y="408"/>
                </a:cubicBezTo>
                <a:cubicBezTo>
                  <a:pt x="705" y="408"/>
                  <a:pt x="705" y="408"/>
                  <a:pt x="705" y="408"/>
                </a:cubicBezTo>
                <a:cubicBezTo>
                  <a:pt x="705" y="408"/>
                  <a:pt x="705" y="408"/>
                  <a:pt x="705" y="408"/>
                </a:cubicBezTo>
                <a:cubicBezTo>
                  <a:pt x="703" y="407"/>
                  <a:pt x="703" y="407"/>
                  <a:pt x="703" y="407"/>
                </a:cubicBezTo>
                <a:cubicBezTo>
                  <a:pt x="703" y="405"/>
                  <a:pt x="703" y="405"/>
                  <a:pt x="703" y="405"/>
                </a:cubicBezTo>
                <a:cubicBezTo>
                  <a:pt x="702" y="404"/>
                  <a:pt x="702" y="404"/>
                  <a:pt x="702" y="404"/>
                </a:cubicBezTo>
                <a:cubicBezTo>
                  <a:pt x="700" y="402"/>
                  <a:pt x="700" y="402"/>
                  <a:pt x="700" y="402"/>
                </a:cubicBezTo>
                <a:cubicBezTo>
                  <a:pt x="699" y="402"/>
                  <a:pt x="699" y="402"/>
                  <a:pt x="699" y="402"/>
                </a:cubicBezTo>
                <a:cubicBezTo>
                  <a:pt x="698" y="401"/>
                  <a:pt x="698" y="401"/>
                  <a:pt x="698" y="401"/>
                </a:cubicBezTo>
                <a:cubicBezTo>
                  <a:pt x="698" y="399"/>
                  <a:pt x="698" y="399"/>
                  <a:pt x="698" y="399"/>
                </a:cubicBezTo>
                <a:cubicBezTo>
                  <a:pt x="697" y="397"/>
                  <a:pt x="697" y="397"/>
                  <a:pt x="697" y="397"/>
                </a:cubicBezTo>
                <a:cubicBezTo>
                  <a:pt x="696" y="396"/>
                  <a:pt x="696" y="396"/>
                  <a:pt x="696" y="396"/>
                </a:cubicBezTo>
                <a:cubicBezTo>
                  <a:pt x="696" y="393"/>
                  <a:pt x="696" y="393"/>
                  <a:pt x="696" y="393"/>
                </a:cubicBezTo>
                <a:cubicBezTo>
                  <a:pt x="696" y="391"/>
                  <a:pt x="696" y="391"/>
                  <a:pt x="696" y="391"/>
                </a:cubicBezTo>
                <a:cubicBezTo>
                  <a:pt x="695" y="390"/>
                  <a:pt x="695" y="390"/>
                  <a:pt x="695" y="390"/>
                </a:cubicBezTo>
                <a:cubicBezTo>
                  <a:pt x="696" y="388"/>
                  <a:pt x="696" y="388"/>
                  <a:pt x="696" y="388"/>
                </a:cubicBezTo>
                <a:cubicBezTo>
                  <a:pt x="696" y="386"/>
                  <a:pt x="696" y="386"/>
                  <a:pt x="696" y="386"/>
                </a:cubicBezTo>
                <a:cubicBezTo>
                  <a:pt x="695" y="385"/>
                  <a:pt x="695" y="385"/>
                  <a:pt x="695" y="385"/>
                </a:cubicBezTo>
                <a:cubicBezTo>
                  <a:pt x="695" y="384"/>
                  <a:pt x="695" y="384"/>
                  <a:pt x="695" y="384"/>
                </a:cubicBezTo>
                <a:cubicBezTo>
                  <a:pt x="695" y="383"/>
                  <a:pt x="695" y="383"/>
                  <a:pt x="695" y="383"/>
                </a:cubicBezTo>
                <a:cubicBezTo>
                  <a:pt x="695" y="382"/>
                  <a:pt x="695" y="382"/>
                  <a:pt x="695" y="382"/>
                </a:cubicBezTo>
                <a:cubicBezTo>
                  <a:pt x="696" y="382"/>
                  <a:pt x="696" y="382"/>
                  <a:pt x="696" y="382"/>
                </a:cubicBezTo>
                <a:cubicBezTo>
                  <a:pt x="697" y="382"/>
                  <a:pt x="697" y="382"/>
                  <a:pt x="697" y="382"/>
                </a:cubicBezTo>
                <a:cubicBezTo>
                  <a:pt x="698" y="382"/>
                  <a:pt x="698" y="382"/>
                  <a:pt x="698" y="382"/>
                </a:cubicBezTo>
                <a:cubicBezTo>
                  <a:pt x="700" y="382"/>
                  <a:pt x="700" y="382"/>
                  <a:pt x="700" y="382"/>
                </a:cubicBezTo>
                <a:cubicBezTo>
                  <a:pt x="701" y="383"/>
                  <a:pt x="701" y="383"/>
                  <a:pt x="701" y="383"/>
                </a:cubicBezTo>
                <a:cubicBezTo>
                  <a:pt x="702" y="385"/>
                  <a:pt x="702" y="385"/>
                  <a:pt x="702" y="385"/>
                </a:cubicBezTo>
                <a:cubicBezTo>
                  <a:pt x="703" y="385"/>
                  <a:pt x="703" y="385"/>
                  <a:pt x="703" y="385"/>
                </a:cubicBezTo>
                <a:cubicBezTo>
                  <a:pt x="704" y="386"/>
                  <a:pt x="704" y="386"/>
                  <a:pt x="704" y="386"/>
                </a:cubicBezTo>
                <a:cubicBezTo>
                  <a:pt x="706" y="388"/>
                  <a:pt x="706" y="388"/>
                  <a:pt x="706" y="388"/>
                </a:cubicBezTo>
                <a:cubicBezTo>
                  <a:pt x="706" y="388"/>
                  <a:pt x="706" y="388"/>
                  <a:pt x="706" y="388"/>
                </a:cubicBezTo>
                <a:cubicBezTo>
                  <a:pt x="706" y="387"/>
                  <a:pt x="706" y="387"/>
                  <a:pt x="706" y="387"/>
                </a:cubicBezTo>
                <a:cubicBezTo>
                  <a:pt x="704" y="385"/>
                  <a:pt x="704" y="385"/>
                  <a:pt x="704" y="385"/>
                </a:cubicBezTo>
                <a:cubicBezTo>
                  <a:pt x="703" y="384"/>
                  <a:pt x="703" y="384"/>
                  <a:pt x="703" y="384"/>
                </a:cubicBezTo>
                <a:cubicBezTo>
                  <a:pt x="702" y="382"/>
                  <a:pt x="702" y="382"/>
                  <a:pt x="702" y="382"/>
                </a:cubicBezTo>
                <a:cubicBezTo>
                  <a:pt x="700" y="380"/>
                  <a:pt x="700" y="380"/>
                  <a:pt x="700" y="380"/>
                </a:cubicBezTo>
                <a:cubicBezTo>
                  <a:pt x="700" y="380"/>
                  <a:pt x="700" y="380"/>
                  <a:pt x="700" y="380"/>
                </a:cubicBezTo>
                <a:cubicBezTo>
                  <a:pt x="700" y="379"/>
                  <a:pt x="700" y="379"/>
                  <a:pt x="700" y="379"/>
                </a:cubicBezTo>
                <a:cubicBezTo>
                  <a:pt x="699" y="377"/>
                  <a:pt x="699" y="377"/>
                  <a:pt x="699" y="377"/>
                </a:cubicBezTo>
                <a:cubicBezTo>
                  <a:pt x="698" y="375"/>
                  <a:pt x="698" y="375"/>
                  <a:pt x="698" y="375"/>
                </a:cubicBezTo>
                <a:cubicBezTo>
                  <a:pt x="697" y="375"/>
                  <a:pt x="697" y="375"/>
                  <a:pt x="697" y="375"/>
                </a:cubicBezTo>
                <a:cubicBezTo>
                  <a:pt x="697" y="374"/>
                  <a:pt x="697" y="374"/>
                  <a:pt x="697" y="374"/>
                </a:cubicBezTo>
                <a:cubicBezTo>
                  <a:pt x="695" y="371"/>
                  <a:pt x="695" y="371"/>
                  <a:pt x="695" y="371"/>
                </a:cubicBezTo>
                <a:cubicBezTo>
                  <a:pt x="693" y="368"/>
                  <a:pt x="693" y="368"/>
                  <a:pt x="693" y="368"/>
                </a:cubicBezTo>
                <a:cubicBezTo>
                  <a:pt x="693" y="367"/>
                  <a:pt x="693" y="367"/>
                  <a:pt x="693" y="367"/>
                </a:cubicBezTo>
                <a:cubicBezTo>
                  <a:pt x="691" y="364"/>
                  <a:pt x="691" y="364"/>
                  <a:pt x="691" y="364"/>
                </a:cubicBezTo>
                <a:cubicBezTo>
                  <a:pt x="690" y="362"/>
                  <a:pt x="690" y="362"/>
                  <a:pt x="690" y="362"/>
                </a:cubicBezTo>
                <a:cubicBezTo>
                  <a:pt x="689" y="361"/>
                  <a:pt x="689" y="361"/>
                  <a:pt x="689" y="361"/>
                </a:cubicBezTo>
                <a:cubicBezTo>
                  <a:pt x="689" y="360"/>
                  <a:pt x="689" y="360"/>
                  <a:pt x="689" y="360"/>
                </a:cubicBezTo>
                <a:cubicBezTo>
                  <a:pt x="688" y="359"/>
                  <a:pt x="688" y="359"/>
                  <a:pt x="688" y="359"/>
                </a:cubicBezTo>
                <a:cubicBezTo>
                  <a:pt x="687" y="358"/>
                  <a:pt x="687" y="358"/>
                  <a:pt x="687" y="358"/>
                </a:cubicBezTo>
                <a:cubicBezTo>
                  <a:pt x="687" y="359"/>
                  <a:pt x="687" y="359"/>
                  <a:pt x="687" y="359"/>
                </a:cubicBezTo>
                <a:cubicBezTo>
                  <a:pt x="686" y="359"/>
                  <a:pt x="686" y="359"/>
                  <a:pt x="686" y="359"/>
                </a:cubicBezTo>
                <a:cubicBezTo>
                  <a:pt x="686" y="358"/>
                  <a:pt x="686" y="358"/>
                  <a:pt x="686" y="358"/>
                </a:cubicBezTo>
                <a:cubicBezTo>
                  <a:pt x="686" y="357"/>
                  <a:pt x="686" y="357"/>
                  <a:pt x="686" y="357"/>
                </a:cubicBezTo>
                <a:cubicBezTo>
                  <a:pt x="686" y="356"/>
                  <a:pt x="686" y="356"/>
                  <a:pt x="686" y="356"/>
                </a:cubicBezTo>
                <a:cubicBezTo>
                  <a:pt x="685" y="356"/>
                  <a:pt x="685" y="356"/>
                  <a:pt x="685" y="356"/>
                </a:cubicBezTo>
                <a:cubicBezTo>
                  <a:pt x="684" y="354"/>
                  <a:pt x="684" y="354"/>
                  <a:pt x="684" y="354"/>
                </a:cubicBezTo>
                <a:cubicBezTo>
                  <a:pt x="683" y="353"/>
                  <a:pt x="683" y="353"/>
                  <a:pt x="683" y="353"/>
                </a:cubicBezTo>
                <a:cubicBezTo>
                  <a:pt x="682" y="352"/>
                  <a:pt x="682" y="352"/>
                  <a:pt x="682" y="352"/>
                </a:cubicBezTo>
                <a:cubicBezTo>
                  <a:pt x="682" y="350"/>
                  <a:pt x="682" y="350"/>
                  <a:pt x="682" y="350"/>
                </a:cubicBezTo>
                <a:cubicBezTo>
                  <a:pt x="683" y="349"/>
                  <a:pt x="683" y="349"/>
                  <a:pt x="683" y="349"/>
                </a:cubicBezTo>
                <a:cubicBezTo>
                  <a:pt x="683" y="349"/>
                  <a:pt x="683" y="349"/>
                  <a:pt x="683" y="349"/>
                </a:cubicBezTo>
                <a:cubicBezTo>
                  <a:pt x="683" y="348"/>
                  <a:pt x="683" y="348"/>
                  <a:pt x="683" y="348"/>
                </a:cubicBezTo>
                <a:cubicBezTo>
                  <a:pt x="682" y="346"/>
                  <a:pt x="682" y="346"/>
                  <a:pt x="682" y="346"/>
                </a:cubicBezTo>
                <a:cubicBezTo>
                  <a:pt x="682" y="344"/>
                  <a:pt x="682" y="344"/>
                  <a:pt x="682" y="344"/>
                </a:cubicBezTo>
                <a:cubicBezTo>
                  <a:pt x="681" y="344"/>
                  <a:pt x="681" y="344"/>
                  <a:pt x="681" y="344"/>
                </a:cubicBezTo>
                <a:cubicBezTo>
                  <a:pt x="679" y="342"/>
                  <a:pt x="679" y="342"/>
                  <a:pt x="679" y="342"/>
                </a:cubicBezTo>
                <a:cubicBezTo>
                  <a:pt x="679" y="341"/>
                  <a:pt x="679" y="341"/>
                  <a:pt x="679" y="341"/>
                </a:cubicBezTo>
                <a:cubicBezTo>
                  <a:pt x="679" y="341"/>
                  <a:pt x="679" y="341"/>
                  <a:pt x="679" y="341"/>
                </a:cubicBezTo>
                <a:cubicBezTo>
                  <a:pt x="679" y="340"/>
                  <a:pt x="679" y="340"/>
                  <a:pt x="679" y="340"/>
                </a:cubicBezTo>
                <a:cubicBezTo>
                  <a:pt x="679" y="340"/>
                  <a:pt x="679" y="340"/>
                  <a:pt x="679" y="340"/>
                </a:cubicBezTo>
                <a:cubicBezTo>
                  <a:pt x="680" y="341"/>
                  <a:pt x="680" y="341"/>
                  <a:pt x="680" y="341"/>
                </a:cubicBezTo>
                <a:cubicBezTo>
                  <a:pt x="681" y="343"/>
                  <a:pt x="681" y="343"/>
                  <a:pt x="681" y="343"/>
                </a:cubicBezTo>
                <a:cubicBezTo>
                  <a:pt x="681" y="341"/>
                  <a:pt x="681" y="341"/>
                  <a:pt x="681" y="341"/>
                </a:cubicBezTo>
                <a:cubicBezTo>
                  <a:pt x="679" y="339"/>
                  <a:pt x="679" y="339"/>
                  <a:pt x="679" y="339"/>
                </a:cubicBezTo>
                <a:cubicBezTo>
                  <a:pt x="678" y="338"/>
                  <a:pt x="678" y="338"/>
                  <a:pt x="678" y="338"/>
                </a:cubicBezTo>
                <a:cubicBezTo>
                  <a:pt x="677" y="338"/>
                  <a:pt x="677" y="338"/>
                  <a:pt x="677" y="338"/>
                </a:cubicBezTo>
                <a:cubicBezTo>
                  <a:pt x="677" y="336"/>
                  <a:pt x="677" y="336"/>
                  <a:pt x="677" y="336"/>
                </a:cubicBezTo>
                <a:cubicBezTo>
                  <a:pt x="675" y="334"/>
                  <a:pt x="675" y="334"/>
                  <a:pt x="675" y="334"/>
                </a:cubicBezTo>
                <a:cubicBezTo>
                  <a:pt x="674" y="333"/>
                  <a:pt x="674" y="333"/>
                  <a:pt x="674" y="333"/>
                </a:cubicBezTo>
                <a:cubicBezTo>
                  <a:pt x="674" y="331"/>
                  <a:pt x="674" y="331"/>
                  <a:pt x="674" y="331"/>
                </a:cubicBezTo>
                <a:cubicBezTo>
                  <a:pt x="673" y="330"/>
                  <a:pt x="673" y="330"/>
                  <a:pt x="673" y="330"/>
                </a:cubicBezTo>
                <a:cubicBezTo>
                  <a:pt x="671" y="329"/>
                  <a:pt x="671" y="329"/>
                  <a:pt x="671" y="329"/>
                </a:cubicBezTo>
                <a:cubicBezTo>
                  <a:pt x="670" y="328"/>
                  <a:pt x="670" y="328"/>
                  <a:pt x="670" y="328"/>
                </a:cubicBezTo>
                <a:cubicBezTo>
                  <a:pt x="670" y="327"/>
                  <a:pt x="670" y="327"/>
                  <a:pt x="670" y="327"/>
                </a:cubicBezTo>
                <a:cubicBezTo>
                  <a:pt x="669" y="328"/>
                  <a:pt x="669" y="328"/>
                  <a:pt x="669" y="328"/>
                </a:cubicBezTo>
                <a:cubicBezTo>
                  <a:pt x="670" y="328"/>
                  <a:pt x="670" y="328"/>
                  <a:pt x="670" y="328"/>
                </a:cubicBezTo>
                <a:cubicBezTo>
                  <a:pt x="670" y="329"/>
                  <a:pt x="670" y="329"/>
                  <a:pt x="670" y="329"/>
                </a:cubicBezTo>
                <a:cubicBezTo>
                  <a:pt x="669" y="329"/>
                  <a:pt x="669" y="329"/>
                  <a:pt x="669" y="329"/>
                </a:cubicBezTo>
                <a:cubicBezTo>
                  <a:pt x="668" y="329"/>
                  <a:pt x="668" y="329"/>
                  <a:pt x="668" y="329"/>
                </a:cubicBezTo>
                <a:cubicBezTo>
                  <a:pt x="667" y="329"/>
                  <a:pt x="667" y="329"/>
                  <a:pt x="667" y="329"/>
                </a:cubicBezTo>
                <a:cubicBezTo>
                  <a:pt x="669" y="331"/>
                  <a:pt x="669" y="331"/>
                  <a:pt x="669" y="331"/>
                </a:cubicBezTo>
                <a:cubicBezTo>
                  <a:pt x="671" y="332"/>
                  <a:pt x="671" y="332"/>
                  <a:pt x="671" y="332"/>
                </a:cubicBezTo>
                <a:cubicBezTo>
                  <a:pt x="672" y="333"/>
                  <a:pt x="672" y="333"/>
                  <a:pt x="672" y="333"/>
                </a:cubicBezTo>
                <a:cubicBezTo>
                  <a:pt x="671" y="334"/>
                  <a:pt x="671" y="334"/>
                  <a:pt x="671" y="334"/>
                </a:cubicBezTo>
                <a:cubicBezTo>
                  <a:pt x="672" y="334"/>
                  <a:pt x="672" y="334"/>
                  <a:pt x="672" y="334"/>
                </a:cubicBezTo>
                <a:cubicBezTo>
                  <a:pt x="673" y="334"/>
                  <a:pt x="673" y="334"/>
                  <a:pt x="673" y="334"/>
                </a:cubicBezTo>
                <a:cubicBezTo>
                  <a:pt x="673" y="335"/>
                  <a:pt x="673" y="335"/>
                  <a:pt x="673" y="335"/>
                </a:cubicBezTo>
                <a:cubicBezTo>
                  <a:pt x="673" y="335"/>
                  <a:pt x="673" y="335"/>
                  <a:pt x="673" y="335"/>
                </a:cubicBezTo>
                <a:cubicBezTo>
                  <a:pt x="672" y="335"/>
                  <a:pt x="672" y="335"/>
                  <a:pt x="672" y="335"/>
                </a:cubicBezTo>
                <a:cubicBezTo>
                  <a:pt x="672" y="336"/>
                  <a:pt x="672" y="336"/>
                  <a:pt x="672" y="336"/>
                </a:cubicBezTo>
                <a:cubicBezTo>
                  <a:pt x="673" y="336"/>
                  <a:pt x="673" y="336"/>
                  <a:pt x="673" y="336"/>
                </a:cubicBezTo>
                <a:cubicBezTo>
                  <a:pt x="673" y="338"/>
                  <a:pt x="673" y="338"/>
                  <a:pt x="673" y="338"/>
                </a:cubicBezTo>
                <a:cubicBezTo>
                  <a:pt x="672" y="338"/>
                  <a:pt x="672" y="338"/>
                  <a:pt x="672" y="338"/>
                </a:cubicBezTo>
                <a:cubicBezTo>
                  <a:pt x="671" y="338"/>
                  <a:pt x="671" y="338"/>
                  <a:pt x="671" y="338"/>
                </a:cubicBezTo>
                <a:cubicBezTo>
                  <a:pt x="671" y="337"/>
                  <a:pt x="671" y="337"/>
                  <a:pt x="671" y="337"/>
                </a:cubicBezTo>
                <a:cubicBezTo>
                  <a:pt x="670" y="338"/>
                  <a:pt x="670" y="338"/>
                  <a:pt x="670" y="338"/>
                </a:cubicBezTo>
                <a:cubicBezTo>
                  <a:pt x="669" y="339"/>
                  <a:pt x="669" y="339"/>
                  <a:pt x="669" y="339"/>
                </a:cubicBezTo>
                <a:cubicBezTo>
                  <a:pt x="670" y="341"/>
                  <a:pt x="670" y="341"/>
                  <a:pt x="670" y="341"/>
                </a:cubicBezTo>
                <a:cubicBezTo>
                  <a:pt x="671" y="342"/>
                  <a:pt x="671" y="342"/>
                  <a:pt x="671" y="342"/>
                </a:cubicBezTo>
                <a:cubicBezTo>
                  <a:pt x="672" y="344"/>
                  <a:pt x="672" y="344"/>
                  <a:pt x="672" y="344"/>
                </a:cubicBezTo>
                <a:cubicBezTo>
                  <a:pt x="673" y="346"/>
                  <a:pt x="673" y="346"/>
                  <a:pt x="673" y="346"/>
                </a:cubicBezTo>
                <a:cubicBezTo>
                  <a:pt x="673" y="348"/>
                  <a:pt x="673" y="348"/>
                  <a:pt x="673" y="348"/>
                </a:cubicBezTo>
                <a:cubicBezTo>
                  <a:pt x="673" y="349"/>
                  <a:pt x="673" y="349"/>
                  <a:pt x="673" y="349"/>
                </a:cubicBezTo>
                <a:cubicBezTo>
                  <a:pt x="674" y="351"/>
                  <a:pt x="674" y="351"/>
                  <a:pt x="674" y="351"/>
                </a:cubicBezTo>
                <a:cubicBezTo>
                  <a:pt x="675" y="354"/>
                  <a:pt x="675" y="354"/>
                  <a:pt x="675" y="354"/>
                </a:cubicBezTo>
                <a:cubicBezTo>
                  <a:pt x="676" y="356"/>
                  <a:pt x="676" y="356"/>
                  <a:pt x="676" y="356"/>
                </a:cubicBezTo>
                <a:cubicBezTo>
                  <a:pt x="677" y="357"/>
                  <a:pt x="677" y="357"/>
                  <a:pt x="677" y="357"/>
                </a:cubicBezTo>
                <a:cubicBezTo>
                  <a:pt x="677" y="357"/>
                  <a:pt x="677" y="357"/>
                  <a:pt x="677" y="357"/>
                </a:cubicBezTo>
                <a:cubicBezTo>
                  <a:pt x="676" y="358"/>
                  <a:pt x="676" y="358"/>
                  <a:pt x="676" y="358"/>
                </a:cubicBezTo>
                <a:cubicBezTo>
                  <a:pt x="680" y="361"/>
                  <a:pt x="680" y="361"/>
                  <a:pt x="680" y="361"/>
                </a:cubicBezTo>
                <a:cubicBezTo>
                  <a:pt x="681" y="361"/>
                  <a:pt x="681" y="361"/>
                  <a:pt x="681" y="361"/>
                </a:cubicBezTo>
                <a:cubicBezTo>
                  <a:pt x="682" y="363"/>
                  <a:pt x="682" y="363"/>
                  <a:pt x="682" y="363"/>
                </a:cubicBezTo>
                <a:cubicBezTo>
                  <a:pt x="682" y="365"/>
                  <a:pt x="682" y="365"/>
                  <a:pt x="682" y="365"/>
                </a:cubicBezTo>
                <a:cubicBezTo>
                  <a:pt x="682" y="367"/>
                  <a:pt x="682" y="367"/>
                  <a:pt x="682" y="367"/>
                </a:cubicBezTo>
                <a:cubicBezTo>
                  <a:pt x="683" y="369"/>
                  <a:pt x="683" y="369"/>
                  <a:pt x="683" y="369"/>
                </a:cubicBezTo>
                <a:cubicBezTo>
                  <a:pt x="683" y="370"/>
                  <a:pt x="683" y="370"/>
                  <a:pt x="683" y="370"/>
                </a:cubicBezTo>
                <a:cubicBezTo>
                  <a:pt x="684" y="371"/>
                  <a:pt x="684" y="371"/>
                  <a:pt x="684" y="371"/>
                </a:cubicBezTo>
                <a:cubicBezTo>
                  <a:pt x="686" y="372"/>
                  <a:pt x="686" y="372"/>
                  <a:pt x="686" y="372"/>
                </a:cubicBezTo>
                <a:cubicBezTo>
                  <a:pt x="685" y="372"/>
                  <a:pt x="685" y="372"/>
                  <a:pt x="685" y="372"/>
                </a:cubicBezTo>
                <a:cubicBezTo>
                  <a:pt x="685" y="373"/>
                  <a:pt x="685" y="373"/>
                  <a:pt x="685" y="373"/>
                </a:cubicBezTo>
                <a:cubicBezTo>
                  <a:pt x="687" y="375"/>
                  <a:pt x="687" y="375"/>
                  <a:pt x="687" y="375"/>
                </a:cubicBezTo>
                <a:cubicBezTo>
                  <a:pt x="687" y="377"/>
                  <a:pt x="687" y="377"/>
                  <a:pt x="687" y="377"/>
                </a:cubicBezTo>
                <a:cubicBezTo>
                  <a:pt x="688" y="378"/>
                  <a:pt x="688" y="378"/>
                  <a:pt x="688" y="378"/>
                </a:cubicBezTo>
                <a:cubicBezTo>
                  <a:pt x="688" y="381"/>
                  <a:pt x="688" y="381"/>
                  <a:pt x="688" y="381"/>
                </a:cubicBezTo>
                <a:cubicBezTo>
                  <a:pt x="688" y="382"/>
                  <a:pt x="688" y="382"/>
                  <a:pt x="688" y="382"/>
                </a:cubicBezTo>
                <a:cubicBezTo>
                  <a:pt x="688" y="383"/>
                  <a:pt x="688" y="383"/>
                  <a:pt x="688" y="383"/>
                </a:cubicBezTo>
                <a:cubicBezTo>
                  <a:pt x="688" y="385"/>
                  <a:pt x="688" y="385"/>
                  <a:pt x="688" y="385"/>
                </a:cubicBezTo>
                <a:cubicBezTo>
                  <a:pt x="689" y="387"/>
                  <a:pt x="689" y="387"/>
                  <a:pt x="689" y="387"/>
                </a:cubicBezTo>
                <a:cubicBezTo>
                  <a:pt x="689" y="388"/>
                  <a:pt x="689" y="388"/>
                  <a:pt x="689" y="388"/>
                </a:cubicBezTo>
                <a:cubicBezTo>
                  <a:pt x="689" y="390"/>
                  <a:pt x="689" y="390"/>
                  <a:pt x="689" y="390"/>
                </a:cubicBezTo>
                <a:cubicBezTo>
                  <a:pt x="690" y="391"/>
                  <a:pt x="690" y="391"/>
                  <a:pt x="690" y="391"/>
                </a:cubicBezTo>
                <a:cubicBezTo>
                  <a:pt x="693" y="394"/>
                  <a:pt x="693" y="394"/>
                  <a:pt x="693" y="394"/>
                </a:cubicBezTo>
                <a:cubicBezTo>
                  <a:pt x="693" y="395"/>
                  <a:pt x="693" y="395"/>
                  <a:pt x="693" y="395"/>
                </a:cubicBezTo>
                <a:cubicBezTo>
                  <a:pt x="694" y="397"/>
                  <a:pt x="694" y="397"/>
                  <a:pt x="694" y="397"/>
                </a:cubicBezTo>
                <a:cubicBezTo>
                  <a:pt x="694" y="399"/>
                  <a:pt x="694" y="399"/>
                  <a:pt x="694" y="399"/>
                </a:cubicBezTo>
                <a:cubicBezTo>
                  <a:pt x="694" y="402"/>
                  <a:pt x="694" y="402"/>
                  <a:pt x="694" y="402"/>
                </a:cubicBezTo>
                <a:cubicBezTo>
                  <a:pt x="695" y="404"/>
                  <a:pt x="695" y="404"/>
                  <a:pt x="695" y="404"/>
                </a:cubicBezTo>
                <a:cubicBezTo>
                  <a:pt x="695" y="405"/>
                  <a:pt x="695" y="405"/>
                  <a:pt x="695" y="405"/>
                </a:cubicBezTo>
                <a:cubicBezTo>
                  <a:pt x="697" y="407"/>
                  <a:pt x="697" y="407"/>
                  <a:pt x="697" y="407"/>
                </a:cubicBezTo>
                <a:cubicBezTo>
                  <a:pt x="697" y="408"/>
                  <a:pt x="697" y="408"/>
                  <a:pt x="697" y="408"/>
                </a:cubicBezTo>
                <a:cubicBezTo>
                  <a:pt x="697" y="410"/>
                  <a:pt x="697" y="410"/>
                  <a:pt x="697" y="410"/>
                </a:cubicBezTo>
                <a:cubicBezTo>
                  <a:pt x="697" y="413"/>
                  <a:pt x="697" y="413"/>
                  <a:pt x="697" y="413"/>
                </a:cubicBezTo>
                <a:cubicBezTo>
                  <a:pt x="697" y="414"/>
                  <a:pt x="697" y="414"/>
                  <a:pt x="697" y="414"/>
                </a:cubicBezTo>
                <a:cubicBezTo>
                  <a:pt x="698" y="415"/>
                  <a:pt x="698" y="415"/>
                  <a:pt x="698" y="415"/>
                </a:cubicBezTo>
                <a:cubicBezTo>
                  <a:pt x="699" y="417"/>
                  <a:pt x="699" y="417"/>
                  <a:pt x="699" y="417"/>
                </a:cubicBezTo>
                <a:cubicBezTo>
                  <a:pt x="701" y="418"/>
                  <a:pt x="701" y="418"/>
                  <a:pt x="701" y="418"/>
                </a:cubicBezTo>
                <a:close/>
                <a:moveTo>
                  <a:pt x="637" y="329"/>
                </a:moveTo>
                <a:cubicBezTo>
                  <a:pt x="637" y="329"/>
                  <a:pt x="637" y="329"/>
                  <a:pt x="637" y="329"/>
                </a:cubicBezTo>
                <a:cubicBezTo>
                  <a:pt x="637" y="328"/>
                  <a:pt x="637" y="328"/>
                  <a:pt x="637" y="328"/>
                </a:cubicBezTo>
                <a:cubicBezTo>
                  <a:pt x="638" y="328"/>
                  <a:pt x="638" y="328"/>
                  <a:pt x="638" y="328"/>
                </a:cubicBezTo>
                <a:cubicBezTo>
                  <a:pt x="638" y="328"/>
                  <a:pt x="638" y="328"/>
                  <a:pt x="638" y="328"/>
                </a:cubicBezTo>
                <a:cubicBezTo>
                  <a:pt x="639" y="329"/>
                  <a:pt x="639" y="329"/>
                  <a:pt x="639" y="329"/>
                </a:cubicBezTo>
                <a:cubicBezTo>
                  <a:pt x="640" y="329"/>
                  <a:pt x="640" y="329"/>
                  <a:pt x="640" y="329"/>
                </a:cubicBezTo>
                <a:cubicBezTo>
                  <a:pt x="641" y="329"/>
                  <a:pt x="641" y="329"/>
                  <a:pt x="641" y="329"/>
                </a:cubicBezTo>
                <a:cubicBezTo>
                  <a:pt x="641" y="328"/>
                  <a:pt x="641" y="328"/>
                  <a:pt x="641" y="328"/>
                </a:cubicBezTo>
                <a:cubicBezTo>
                  <a:pt x="641" y="327"/>
                  <a:pt x="641" y="327"/>
                  <a:pt x="641" y="327"/>
                </a:cubicBezTo>
                <a:cubicBezTo>
                  <a:pt x="641" y="326"/>
                  <a:pt x="641" y="326"/>
                  <a:pt x="641" y="326"/>
                </a:cubicBezTo>
                <a:cubicBezTo>
                  <a:pt x="642" y="326"/>
                  <a:pt x="642" y="326"/>
                  <a:pt x="642" y="326"/>
                </a:cubicBezTo>
                <a:cubicBezTo>
                  <a:pt x="642" y="325"/>
                  <a:pt x="642" y="325"/>
                  <a:pt x="642" y="325"/>
                </a:cubicBezTo>
                <a:cubicBezTo>
                  <a:pt x="641" y="325"/>
                  <a:pt x="641" y="325"/>
                  <a:pt x="641" y="325"/>
                </a:cubicBezTo>
                <a:cubicBezTo>
                  <a:pt x="640" y="326"/>
                  <a:pt x="640" y="326"/>
                  <a:pt x="640" y="326"/>
                </a:cubicBezTo>
                <a:cubicBezTo>
                  <a:pt x="640" y="326"/>
                  <a:pt x="640" y="326"/>
                  <a:pt x="640" y="326"/>
                </a:cubicBezTo>
                <a:cubicBezTo>
                  <a:pt x="640" y="326"/>
                  <a:pt x="640" y="326"/>
                  <a:pt x="640" y="326"/>
                </a:cubicBezTo>
                <a:cubicBezTo>
                  <a:pt x="640" y="325"/>
                  <a:pt x="640" y="325"/>
                  <a:pt x="640" y="325"/>
                </a:cubicBezTo>
                <a:cubicBezTo>
                  <a:pt x="640" y="324"/>
                  <a:pt x="640" y="324"/>
                  <a:pt x="640" y="324"/>
                </a:cubicBezTo>
                <a:cubicBezTo>
                  <a:pt x="640" y="324"/>
                  <a:pt x="640" y="324"/>
                  <a:pt x="640" y="324"/>
                </a:cubicBezTo>
                <a:cubicBezTo>
                  <a:pt x="638" y="324"/>
                  <a:pt x="638" y="324"/>
                  <a:pt x="638" y="324"/>
                </a:cubicBezTo>
                <a:cubicBezTo>
                  <a:pt x="638" y="324"/>
                  <a:pt x="638" y="324"/>
                  <a:pt x="638" y="324"/>
                </a:cubicBezTo>
                <a:cubicBezTo>
                  <a:pt x="637" y="325"/>
                  <a:pt x="637" y="325"/>
                  <a:pt x="637" y="325"/>
                </a:cubicBezTo>
                <a:cubicBezTo>
                  <a:pt x="637" y="326"/>
                  <a:pt x="637" y="326"/>
                  <a:pt x="637" y="326"/>
                </a:cubicBezTo>
                <a:cubicBezTo>
                  <a:pt x="636" y="326"/>
                  <a:pt x="636" y="326"/>
                  <a:pt x="636" y="326"/>
                </a:cubicBezTo>
                <a:cubicBezTo>
                  <a:pt x="636" y="327"/>
                  <a:pt x="636" y="327"/>
                  <a:pt x="636" y="327"/>
                </a:cubicBezTo>
                <a:cubicBezTo>
                  <a:pt x="637" y="329"/>
                  <a:pt x="637" y="329"/>
                  <a:pt x="637" y="329"/>
                </a:cubicBezTo>
                <a:close/>
                <a:moveTo>
                  <a:pt x="633" y="328"/>
                </a:moveTo>
                <a:cubicBezTo>
                  <a:pt x="633" y="328"/>
                  <a:pt x="633" y="328"/>
                  <a:pt x="633" y="328"/>
                </a:cubicBezTo>
                <a:cubicBezTo>
                  <a:pt x="633" y="328"/>
                  <a:pt x="633" y="328"/>
                  <a:pt x="633" y="328"/>
                </a:cubicBezTo>
                <a:cubicBezTo>
                  <a:pt x="634" y="327"/>
                  <a:pt x="634" y="327"/>
                  <a:pt x="634" y="327"/>
                </a:cubicBezTo>
                <a:cubicBezTo>
                  <a:pt x="634" y="328"/>
                  <a:pt x="634" y="328"/>
                  <a:pt x="634" y="328"/>
                </a:cubicBezTo>
                <a:cubicBezTo>
                  <a:pt x="635" y="327"/>
                  <a:pt x="635" y="327"/>
                  <a:pt x="635" y="327"/>
                </a:cubicBezTo>
                <a:cubicBezTo>
                  <a:pt x="634" y="326"/>
                  <a:pt x="634" y="326"/>
                  <a:pt x="634" y="326"/>
                </a:cubicBezTo>
                <a:cubicBezTo>
                  <a:pt x="635" y="326"/>
                  <a:pt x="635" y="326"/>
                  <a:pt x="635" y="326"/>
                </a:cubicBezTo>
                <a:cubicBezTo>
                  <a:pt x="635" y="325"/>
                  <a:pt x="635" y="325"/>
                  <a:pt x="635" y="325"/>
                </a:cubicBezTo>
                <a:cubicBezTo>
                  <a:pt x="634" y="325"/>
                  <a:pt x="634" y="325"/>
                  <a:pt x="634" y="325"/>
                </a:cubicBezTo>
                <a:cubicBezTo>
                  <a:pt x="633" y="326"/>
                  <a:pt x="633" y="326"/>
                  <a:pt x="633" y="326"/>
                </a:cubicBezTo>
                <a:cubicBezTo>
                  <a:pt x="632" y="326"/>
                  <a:pt x="632" y="326"/>
                  <a:pt x="632" y="326"/>
                </a:cubicBezTo>
                <a:cubicBezTo>
                  <a:pt x="632" y="327"/>
                  <a:pt x="632" y="327"/>
                  <a:pt x="632" y="327"/>
                </a:cubicBezTo>
                <a:cubicBezTo>
                  <a:pt x="633" y="328"/>
                  <a:pt x="633" y="328"/>
                  <a:pt x="633" y="328"/>
                </a:cubicBezTo>
                <a:close/>
                <a:moveTo>
                  <a:pt x="641" y="332"/>
                </a:moveTo>
                <a:cubicBezTo>
                  <a:pt x="641" y="333"/>
                  <a:pt x="641" y="333"/>
                  <a:pt x="641" y="333"/>
                </a:cubicBezTo>
                <a:cubicBezTo>
                  <a:pt x="642" y="332"/>
                  <a:pt x="642" y="332"/>
                  <a:pt x="642" y="332"/>
                </a:cubicBezTo>
                <a:cubicBezTo>
                  <a:pt x="642" y="331"/>
                  <a:pt x="642" y="331"/>
                  <a:pt x="642" y="331"/>
                </a:cubicBezTo>
                <a:cubicBezTo>
                  <a:pt x="642" y="331"/>
                  <a:pt x="642" y="331"/>
                  <a:pt x="642" y="331"/>
                </a:cubicBezTo>
                <a:cubicBezTo>
                  <a:pt x="642" y="331"/>
                  <a:pt x="642" y="331"/>
                  <a:pt x="642" y="331"/>
                </a:cubicBezTo>
                <a:cubicBezTo>
                  <a:pt x="642" y="331"/>
                  <a:pt x="642" y="331"/>
                  <a:pt x="642" y="331"/>
                </a:cubicBezTo>
                <a:cubicBezTo>
                  <a:pt x="641" y="332"/>
                  <a:pt x="641" y="332"/>
                  <a:pt x="641" y="332"/>
                </a:cubicBezTo>
                <a:close/>
                <a:moveTo>
                  <a:pt x="640" y="331"/>
                </a:moveTo>
                <a:cubicBezTo>
                  <a:pt x="640" y="332"/>
                  <a:pt x="640" y="332"/>
                  <a:pt x="640" y="332"/>
                </a:cubicBezTo>
                <a:cubicBezTo>
                  <a:pt x="640" y="332"/>
                  <a:pt x="640" y="332"/>
                  <a:pt x="640" y="332"/>
                </a:cubicBezTo>
                <a:cubicBezTo>
                  <a:pt x="641" y="332"/>
                  <a:pt x="641" y="332"/>
                  <a:pt x="641" y="332"/>
                </a:cubicBezTo>
                <a:cubicBezTo>
                  <a:pt x="641" y="331"/>
                  <a:pt x="641" y="331"/>
                  <a:pt x="641" y="331"/>
                </a:cubicBezTo>
                <a:cubicBezTo>
                  <a:pt x="640" y="330"/>
                  <a:pt x="640" y="330"/>
                  <a:pt x="640" y="330"/>
                </a:cubicBezTo>
                <a:cubicBezTo>
                  <a:pt x="640" y="331"/>
                  <a:pt x="640" y="331"/>
                  <a:pt x="640" y="331"/>
                </a:cubicBezTo>
                <a:close/>
                <a:moveTo>
                  <a:pt x="640" y="337"/>
                </a:moveTo>
                <a:cubicBezTo>
                  <a:pt x="641" y="335"/>
                  <a:pt x="641" y="335"/>
                  <a:pt x="641" y="335"/>
                </a:cubicBezTo>
                <a:cubicBezTo>
                  <a:pt x="642" y="335"/>
                  <a:pt x="642" y="335"/>
                  <a:pt x="642" y="335"/>
                </a:cubicBezTo>
                <a:cubicBezTo>
                  <a:pt x="642" y="334"/>
                  <a:pt x="642" y="334"/>
                  <a:pt x="642" y="334"/>
                </a:cubicBezTo>
                <a:cubicBezTo>
                  <a:pt x="642" y="334"/>
                  <a:pt x="642" y="334"/>
                  <a:pt x="642" y="334"/>
                </a:cubicBezTo>
                <a:cubicBezTo>
                  <a:pt x="642" y="333"/>
                  <a:pt x="642" y="333"/>
                  <a:pt x="642" y="333"/>
                </a:cubicBezTo>
                <a:cubicBezTo>
                  <a:pt x="640" y="334"/>
                  <a:pt x="640" y="334"/>
                  <a:pt x="640" y="334"/>
                </a:cubicBezTo>
                <a:cubicBezTo>
                  <a:pt x="639" y="335"/>
                  <a:pt x="639" y="335"/>
                  <a:pt x="639" y="335"/>
                </a:cubicBezTo>
                <a:cubicBezTo>
                  <a:pt x="639" y="336"/>
                  <a:pt x="639" y="336"/>
                  <a:pt x="639" y="336"/>
                </a:cubicBezTo>
                <a:cubicBezTo>
                  <a:pt x="640" y="337"/>
                  <a:pt x="640" y="337"/>
                  <a:pt x="640" y="337"/>
                </a:cubicBezTo>
                <a:close/>
                <a:moveTo>
                  <a:pt x="688" y="263"/>
                </a:moveTo>
                <a:cubicBezTo>
                  <a:pt x="689" y="263"/>
                  <a:pt x="689" y="263"/>
                  <a:pt x="689" y="263"/>
                </a:cubicBezTo>
                <a:cubicBezTo>
                  <a:pt x="690" y="262"/>
                  <a:pt x="690" y="262"/>
                  <a:pt x="690" y="262"/>
                </a:cubicBezTo>
                <a:cubicBezTo>
                  <a:pt x="690" y="261"/>
                  <a:pt x="690" y="261"/>
                  <a:pt x="690" y="261"/>
                </a:cubicBezTo>
                <a:cubicBezTo>
                  <a:pt x="689" y="261"/>
                  <a:pt x="689" y="261"/>
                  <a:pt x="689" y="261"/>
                </a:cubicBezTo>
                <a:cubicBezTo>
                  <a:pt x="688" y="262"/>
                  <a:pt x="688" y="262"/>
                  <a:pt x="688" y="262"/>
                </a:cubicBezTo>
                <a:cubicBezTo>
                  <a:pt x="688" y="263"/>
                  <a:pt x="688" y="263"/>
                  <a:pt x="688" y="263"/>
                </a:cubicBezTo>
                <a:close/>
                <a:moveTo>
                  <a:pt x="765" y="255"/>
                </a:moveTo>
                <a:cubicBezTo>
                  <a:pt x="766" y="255"/>
                  <a:pt x="766" y="255"/>
                  <a:pt x="766" y="255"/>
                </a:cubicBezTo>
                <a:cubicBezTo>
                  <a:pt x="765" y="254"/>
                  <a:pt x="765" y="254"/>
                  <a:pt x="765" y="254"/>
                </a:cubicBezTo>
                <a:cubicBezTo>
                  <a:pt x="765" y="253"/>
                  <a:pt x="765" y="253"/>
                  <a:pt x="765" y="253"/>
                </a:cubicBezTo>
                <a:cubicBezTo>
                  <a:pt x="765" y="252"/>
                  <a:pt x="765" y="252"/>
                  <a:pt x="765" y="252"/>
                </a:cubicBezTo>
                <a:cubicBezTo>
                  <a:pt x="765" y="251"/>
                  <a:pt x="765" y="251"/>
                  <a:pt x="765" y="251"/>
                </a:cubicBezTo>
                <a:cubicBezTo>
                  <a:pt x="766" y="250"/>
                  <a:pt x="766" y="250"/>
                  <a:pt x="766" y="250"/>
                </a:cubicBezTo>
                <a:cubicBezTo>
                  <a:pt x="767" y="249"/>
                  <a:pt x="767" y="249"/>
                  <a:pt x="767" y="249"/>
                </a:cubicBezTo>
                <a:cubicBezTo>
                  <a:pt x="768" y="248"/>
                  <a:pt x="768" y="248"/>
                  <a:pt x="768" y="248"/>
                </a:cubicBezTo>
                <a:cubicBezTo>
                  <a:pt x="769" y="247"/>
                  <a:pt x="769" y="247"/>
                  <a:pt x="769" y="247"/>
                </a:cubicBezTo>
                <a:cubicBezTo>
                  <a:pt x="769" y="246"/>
                  <a:pt x="769" y="246"/>
                  <a:pt x="769" y="246"/>
                </a:cubicBezTo>
                <a:cubicBezTo>
                  <a:pt x="768" y="244"/>
                  <a:pt x="768" y="244"/>
                  <a:pt x="768" y="244"/>
                </a:cubicBezTo>
                <a:cubicBezTo>
                  <a:pt x="766" y="243"/>
                  <a:pt x="766" y="243"/>
                  <a:pt x="766" y="243"/>
                </a:cubicBezTo>
                <a:cubicBezTo>
                  <a:pt x="766" y="242"/>
                  <a:pt x="766" y="242"/>
                  <a:pt x="766" y="242"/>
                </a:cubicBezTo>
                <a:cubicBezTo>
                  <a:pt x="765" y="243"/>
                  <a:pt x="765" y="243"/>
                  <a:pt x="765" y="243"/>
                </a:cubicBezTo>
                <a:cubicBezTo>
                  <a:pt x="765" y="244"/>
                  <a:pt x="765" y="244"/>
                  <a:pt x="765" y="244"/>
                </a:cubicBezTo>
                <a:cubicBezTo>
                  <a:pt x="764" y="244"/>
                  <a:pt x="764" y="244"/>
                  <a:pt x="764" y="244"/>
                </a:cubicBezTo>
                <a:cubicBezTo>
                  <a:pt x="763" y="246"/>
                  <a:pt x="763" y="246"/>
                  <a:pt x="763" y="246"/>
                </a:cubicBezTo>
                <a:cubicBezTo>
                  <a:pt x="762" y="246"/>
                  <a:pt x="762" y="246"/>
                  <a:pt x="762" y="246"/>
                </a:cubicBezTo>
                <a:cubicBezTo>
                  <a:pt x="762" y="247"/>
                  <a:pt x="762" y="247"/>
                  <a:pt x="762" y="247"/>
                </a:cubicBezTo>
                <a:cubicBezTo>
                  <a:pt x="762" y="247"/>
                  <a:pt x="762" y="247"/>
                  <a:pt x="762" y="247"/>
                </a:cubicBezTo>
                <a:cubicBezTo>
                  <a:pt x="763" y="247"/>
                  <a:pt x="763" y="247"/>
                  <a:pt x="763" y="247"/>
                </a:cubicBezTo>
                <a:cubicBezTo>
                  <a:pt x="764" y="247"/>
                  <a:pt x="764" y="247"/>
                  <a:pt x="764" y="247"/>
                </a:cubicBezTo>
                <a:cubicBezTo>
                  <a:pt x="763" y="248"/>
                  <a:pt x="763" y="248"/>
                  <a:pt x="763" y="248"/>
                </a:cubicBezTo>
                <a:cubicBezTo>
                  <a:pt x="764" y="250"/>
                  <a:pt x="764" y="250"/>
                  <a:pt x="764" y="250"/>
                </a:cubicBezTo>
                <a:cubicBezTo>
                  <a:pt x="764" y="251"/>
                  <a:pt x="764" y="251"/>
                  <a:pt x="764" y="251"/>
                </a:cubicBezTo>
                <a:cubicBezTo>
                  <a:pt x="764" y="252"/>
                  <a:pt x="764" y="252"/>
                  <a:pt x="764" y="252"/>
                </a:cubicBezTo>
                <a:cubicBezTo>
                  <a:pt x="764" y="253"/>
                  <a:pt x="764" y="253"/>
                  <a:pt x="764" y="253"/>
                </a:cubicBezTo>
                <a:cubicBezTo>
                  <a:pt x="764" y="254"/>
                  <a:pt x="764" y="254"/>
                  <a:pt x="764" y="254"/>
                </a:cubicBezTo>
                <a:cubicBezTo>
                  <a:pt x="765" y="255"/>
                  <a:pt x="765" y="255"/>
                  <a:pt x="765" y="255"/>
                </a:cubicBezTo>
                <a:close/>
                <a:moveTo>
                  <a:pt x="810" y="295"/>
                </a:moveTo>
                <a:cubicBezTo>
                  <a:pt x="811" y="296"/>
                  <a:pt x="811" y="296"/>
                  <a:pt x="811" y="296"/>
                </a:cubicBezTo>
                <a:cubicBezTo>
                  <a:pt x="812" y="296"/>
                  <a:pt x="812" y="296"/>
                  <a:pt x="812" y="296"/>
                </a:cubicBezTo>
                <a:cubicBezTo>
                  <a:pt x="814" y="297"/>
                  <a:pt x="814" y="297"/>
                  <a:pt x="814" y="297"/>
                </a:cubicBezTo>
                <a:cubicBezTo>
                  <a:pt x="815" y="298"/>
                  <a:pt x="815" y="298"/>
                  <a:pt x="815" y="298"/>
                </a:cubicBezTo>
                <a:cubicBezTo>
                  <a:pt x="816" y="298"/>
                  <a:pt x="816" y="298"/>
                  <a:pt x="816" y="298"/>
                </a:cubicBezTo>
                <a:cubicBezTo>
                  <a:pt x="818" y="298"/>
                  <a:pt x="818" y="298"/>
                  <a:pt x="818" y="298"/>
                </a:cubicBezTo>
                <a:cubicBezTo>
                  <a:pt x="817" y="297"/>
                  <a:pt x="817" y="297"/>
                  <a:pt x="817" y="297"/>
                </a:cubicBezTo>
                <a:cubicBezTo>
                  <a:pt x="815" y="297"/>
                  <a:pt x="815" y="297"/>
                  <a:pt x="815" y="297"/>
                </a:cubicBezTo>
                <a:cubicBezTo>
                  <a:pt x="815" y="296"/>
                  <a:pt x="815" y="296"/>
                  <a:pt x="815" y="296"/>
                </a:cubicBezTo>
                <a:cubicBezTo>
                  <a:pt x="813" y="296"/>
                  <a:pt x="813" y="296"/>
                  <a:pt x="813" y="296"/>
                </a:cubicBezTo>
                <a:cubicBezTo>
                  <a:pt x="812" y="295"/>
                  <a:pt x="812" y="295"/>
                  <a:pt x="812" y="295"/>
                </a:cubicBezTo>
                <a:cubicBezTo>
                  <a:pt x="811" y="294"/>
                  <a:pt x="811" y="294"/>
                  <a:pt x="811" y="294"/>
                </a:cubicBezTo>
                <a:cubicBezTo>
                  <a:pt x="810" y="295"/>
                  <a:pt x="810" y="295"/>
                  <a:pt x="810" y="295"/>
                </a:cubicBezTo>
                <a:close/>
                <a:moveTo>
                  <a:pt x="797" y="292"/>
                </a:moveTo>
                <a:cubicBezTo>
                  <a:pt x="798" y="292"/>
                  <a:pt x="798" y="292"/>
                  <a:pt x="798" y="292"/>
                </a:cubicBezTo>
                <a:cubicBezTo>
                  <a:pt x="799" y="292"/>
                  <a:pt x="799" y="292"/>
                  <a:pt x="799" y="292"/>
                </a:cubicBezTo>
                <a:cubicBezTo>
                  <a:pt x="800" y="293"/>
                  <a:pt x="800" y="293"/>
                  <a:pt x="800" y="293"/>
                </a:cubicBezTo>
                <a:cubicBezTo>
                  <a:pt x="800" y="293"/>
                  <a:pt x="800" y="293"/>
                  <a:pt x="800" y="293"/>
                </a:cubicBezTo>
                <a:cubicBezTo>
                  <a:pt x="801" y="295"/>
                  <a:pt x="801" y="295"/>
                  <a:pt x="801" y="295"/>
                </a:cubicBezTo>
                <a:cubicBezTo>
                  <a:pt x="802" y="295"/>
                  <a:pt x="802" y="295"/>
                  <a:pt x="802" y="295"/>
                </a:cubicBezTo>
                <a:cubicBezTo>
                  <a:pt x="803" y="296"/>
                  <a:pt x="803" y="296"/>
                  <a:pt x="803" y="296"/>
                </a:cubicBezTo>
                <a:cubicBezTo>
                  <a:pt x="804" y="296"/>
                  <a:pt x="804" y="296"/>
                  <a:pt x="804" y="296"/>
                </a:cubicBezTo>
                <a:cubicBezTo>
                  <a:pt x="804" y="296"/>
                  <a:pt x="804" y="296"/>
                  <a:pt x="804" y="296"/>
                </a:cubicBezTo>
                <a:cubicBezTo>
                  <a:pt x="805" y="297"/>
                  <a:pt x="805" y="297"/>
                  <a:pt x="805" y="297"/>
                </a:cubicBezTo>
                <a:cubicBezTo>
                  <a:pt x="807" y="297"/>
                  <a:pt x="807" y="297"/>
                  <a:pt x="807" y="297"/>
                </a:cubicBezTo>
                <a:cubicBezTo>
                  <a:pt x="807" y="297"/>
                  <a:pt x="807" y="297"/>
                  <a:pt x="807" y="297"/>
                </a:cubicBezTo>
                <a:cubicBezTo>
                  <a:pt x="806" y="295"/>
                  <a:pt x="806" y="295"/>
                  <a:pt x="806" y="295"/>
                </a:cubicBezTo>
                <a:cubicBezTo>
                  <a:pt x="805" y="295"/>
                  <a:pt x="805" y="295"/>
                  <a:pt x="805" y="295"/>
                </a:cubicBezTo>
                <a:cubicBezTo>
                  <a:pt x="803" y="294"/>
                  <a:pt x="803" y="294"/>
                  <a:pt x="803" y="294"/>
                </a:cubicBezTo>
                <a:cubicBezTo>
                  <a:pt x="803" y="293"/>
                  <a:pt x="803" y="293"/>
                  <a:pt x="803" y="293"/>
                </a:cubicBezTo>
                <a:cubicBezTo>
                  <a:pt x="802" y="292"/>
                  <a:pt x="802" y="292"/>
                  <a:pt x="802" y="292"/>
                </a:cubicBezTo>
                <a:cubicBezTo>
                  <a:pt x="801" y="291"/>
                  <a:pt x="801" y="291"/>
                  <a:pt x="801" y="291"/>
                </a:cubicBezTo>
                <a:cubicBezTo>
                  <a:pt x="801" y="290"/>
                  <a:pt x="801" y="290"/>
                  <a:pt x="801" y="290"/>
                </a:cubicBezTo>
                <a:cubicBezTo>
                  <a:pt x="801" y="290"/>
                  <a:pt x="801" y="290"/>
                  <a:pt x="801" y="290"/>
                </a:cubicBezTo>
                <a:cubicBezTo>
                  <a:pt x="800" y="290"/>
                  <a:pt x="800" y="290"/>
                  <a:pt x="800" y="290"/>
                </a:cubicBezTo>
                <a:cubicBezTo>
                  <a:pt x="799" y="290"/>
                  <a:pt x="799" y="290"/>
                  <a:pt x="799" y="290"/>
                </a:cubicBezTo>
                <a:cubicBezTo>
                  <a:pt x="798" y="290"/>
                  <a:pt x="798" y="290"/>
                  <a:pt x="798" y="290"/>
                </a:cubicBezTo>
                <a:cubicBezTo>
                  <a:pt x="797" y="291"/>
                  <a:pt x="797" y="291"/>
                  <a:pt x="797" y="291"/>
                </a:cubicBezTo>
                <a:cubicBezTo>
                  <a:pt x="797" y="292"/>
                  <a:pt x="797" y="292"/>
                  <a:pt x="797" y="292"/>
                </a:cubicBezTo>
                <a:close/>
                <a:moveTo>
                  <a:pt x="766" y="357"/>
                </a:moveTo>
                <a:cubicBezTo>
                  <a:pt x="767" y="357"/>
                  <a:pt x="767" y="357"/>
                  <a:pt x="767" y="357"/>
                </a:cubicBezTo>
                <a:cubicBezTo>
                  <a:pt x="767" y="356"/>
                  <a:pt x="767" y="356"/>
                  <a:pt x="767" y="356"/>
                </a:cubicBezTo>
                <a:cubicBezTo>
                  <a:pt x="767" y="355"/>
                  <a:pt x="767" y="355"/>
                  <a:pt x="767" y="355"/>
                </a:cubicBezTo>
                <a:cubicBezTo>
                  <a:pt x="766" y="354"/>
                  <a:pt x="766" y="354"/>
                  <a:pt x="766" y="354"/>
                </a:cubicBezTo>
                <a:cubicBezTo>
                  <a:pt x="766" y="355"/>
                  <a:pt x="766" y="355"/>
                  <a:pt x="766" y="355"/>
                </a:cubicBezTo>
                <a:cubicBezTo>
                  <a:pt x="766" y="356"/>
                  <a:pt x="766" y="356"/>
                  <a:pt x="766" y="356"/>
                </a:cubicBezTo>
                <a:cubicBezTo>
                  <a:pt x="766" y="357"/>
                  <a:pt x="766" y="357"/>
                  <a:pt x="766" y="357"/>
                </a:cubicBezTo>
                <a:close/>
                <a:moveTo>
                  <a:pt x="760" y="355"/>
                </a:moveTo>
                <a:cubicBezTo>
                  <a:pt x="760" y="356"/>
                  <a:pt x="760" y="356"/>
                  <a:pt x="760" y="356"/>
                </a:cubicBezTo>
                <a:cubicBezTo>
                  <a:pt x="760" y="356"/>
                  <a:pt x="760" y="356"/>
                  <a:pt x="760" y="356"/>
                </a:cubicBezTo>
                <a:cubicBezTo>
                  <a:pt x="762" y="356"/>
                  <a:pt x="762" y="356"/>
                  <a:pt x="762" y="356"/>
                </a:cubicBezTo>
                <a:cubicBezTo>
                  <a:pt x="762" y="355"/>
                  <a:pt x="762" y="355"/>
                  <a:pt x="762" y="355"/>
                </a:cubicBezTo>
                <a:cubicBezTo>
                  <a:pt x="761" y="354"/>
                  <a:pt x="761" y="354"/>
                  <a:pt x="761" y="354"/>
                </a:cubicBezTo>
                <a:cubicBezTo>
                  <a:pt x="760" y="355"/>
                  <a:pt x="760" y="355"/>
                  <a:pt x="760" y="355"/>
                </a:cubicBezTo>
                <a:close/>
                <a:moveTo>
                  <a:pt x="763" y="365"/>
                </a:moveTo>
                <a:cubicBezTo>
                  <a:pt x="764" y="365"/>
                  <a:pt x="764" y="365"/>
                  <a:pt x="764" y="365"/>
                </a:cubicBezTo>
                <a:cubicBezTo>
                  <a:pt x="764" y="364"/>
                  <a:pt x="764" y="364"/>
                  <a:pt x="764" y="364"/>
                </a:cubicBezTo>
                <a:cubicBezTo>
                  <a:pt x="764" y="363"/>
                  <a:pt x="764" y="363"/>
                  <a:pt x="764" y="363"/>
                </a:cubicBezTo>
                <a:cubicBezTo>
                  <a:pt x="765" y="363"/>
                  <a:pt x="765" y="363"/>
                  <a:pt x="765" y="363"/>
                </a:cubicBezTo>
                <a:cubicBezTo>
                  <a:pt x="766" y="361"/>
                  <a:pt x="766" y="361"/>
                  <a:pt x="766" y="361"/>
                </a:cubicBezTo>
                <a:cubicBezTo>
                  <a:pt x="766" y="360"/>
                  <a:pt x="766" y="360"/>
                  <a:pt x="766" y="360"/>
                </a:cubicBezTo>
                <a:cubicBezTo>
                  <a:pt x="766" y="359"/>
                  <a:pt x="766" y="359"/>
                  <a:pt x="766" y="359"/>
                </a:cubicBezTo>
                <a:cubicBezTo>
                  <a:pt x="767" y="358"/>
                  <a:pt x="767" y="358"/>
                  <a:pt x="767" y="358"/>
                </a:cubicBezTo>
                <a:cubicBezTo>
                  <a:pt x="766" y="357"/>
                  <a:pt x="766" y="357"/>
                  <a:pt x="766" y="357"/>
                </a:cubicBezTo>
                <a:cubicBezTo>
                  <a:pt x="764" y="356"/>
                  <a:pt x="764" y="356"/>
                  <a:pt x="764" y="356"/>
                </a:cubicBezTo>
                <a:cubicBezTo>
                  <a:pt x="764" y="357"/>
                  <a:pt x="764" y="357"/>
                  <a:pt x="764" y="357"/>
                </a:cubicBezTo>
                <a:cubicBezTo>
                  <a:pt x="764" y="359"/>
                  <a:pt x="764" y="359"/>
                  <a:pt x="764" y="359"/>
                </a:cubicBezTo>
                <a:cubicBezTo>
                  <a:pt x="764" y="360"/>
                  <a:pt x="764" y="360"/>
                  <a:pt x="764" y="360"/>
                </a:cubicBezTo>
                <a:cubicBezTo>
                  <a:pt x="763" y="360"/>
                  <a:pt x="763" y="360"/>
                  <a:pt x="763" y="360"/>
                </a:cubicBezTo>
                <a:cubicBezTo>
                  <a:pt x="762" y="362"/>
                  <a:pt x="762" y="362"/>
                  <a:pt x="762" y="362"/>
                </a:cubicBezTo>
                <a:cubicBezTo>
                  <a:pt x="761" y="362"/>
                  <a:pt x="761" y="362"/>
                  <a:pt x="761" y="362"/>
                </a:cubicBezTo>
                <a:cubicBezTo>
                  <a:pt x="761" y="362"/>
                  <a:pt x="761" y="362"/>
                  <a:pt x="761" y="362"/>
                </a:cubicBezTo>
                <a:cubicBezTo>
                  <a:pt x="762" y="363"/>
                  <a:pt x="762" y="363"/>
                  <a:pt x="762" y="363"/>
                </a:cubicBezTo>
                <a:cubicBezTo>
                  <a:pt x="762" y="364"/>
                  <a:pt x="762" y="364"/>
                  <a:pt x="762" y="364"/>
                </a:cubicBezTo>
                <a:cubicBezTo>
                  <a:pt x="761" y="364"/>
                  <a:pt x="761" y="364"/>
                  <a:pt x="761" y="364"/>
                </a:cubicBezTo>
                <a:cubicBezTo>
                  <a:pt x="762" y="365"/>
                  <a:pt x="762" y="365"/>
                  <a:pt x="762" y="365"/>
                </a:cubicBezTo>
                <a:cubicBezTo>
                  <a:pt x="763" y="365"/>
                  <a:pt x="763" y="365"/>
                  <a:pt x="763" y="365"/>
                </a:cubicBezTo>
                <a:cubicBezTo>
                  <a:pt x="763" y="365"/>
                  <a:pt x="763" y="365"/>
                  <a:pt x="763" y="365"/>
                </a:cubicBezTo>
                <a:close/>
                <a:moveTo>
                  <a:pt x="762" y="373"/>
                </a:moveTo>
                <a:cubicBezTo>
                  <a:pt x="762" y="373"/>
                  <a:pt x="763" y="372"/>
                  <a:pt x="763" y="372"/>
                </a:cubicBezTo>
                <a:cubicBezTo>
                  <a:pt x="762" y="371"/>
                  <a:pt x="762" y="371"/>
                  <a:pt x="762" y="371"/>
                </a:cubicBezTo>
                <a:cubicBezTo>
                  <a:pt x="762" y="370"/>
                  <a:pt x="762" y="370"/>
                  <a:pt x="762" y="370"/>
                </a:cubicBezTo>
                <a:cubicBezTo>
                  <a:pt x="762" y="370"/>
                  <a:pt x="762" y="370"/>
                  <a:pt x="762" y="370"/>
                </a:cubicBezTo>
                <a:cubicBezTo>
                  <a:pt x="762" y="371"/>
                  <a:pt x="762" y="371"/>
                  <a:pt x="762" y="371"/>
                </a:cubicBezTo>
                <a:cubicBezTo>
                  <a:pt x="761" y="372"/>
                  <a:pt x="761" y="372"/>
                  <a:pt x="761" y="372"/>
                </a:cubicBezTo>
                <a:cubicBezTo>
                  <a:pt x="762" y="373"/>
                  <a:pt x="762" y="373"/>
                  <a:pt x="762" y="373"/>
                </a:cubicBezTo>
                <a:close/>
                <a:moveTo>
                  <a:pt x="762" y="376"/>
                </a:moveTo>
                <a:cubicBezTo>
                  <a:pt x="763" y="375"/>
                  <a:pt x="763" y="375"/>
                  <a:pt x="763" y="375"/>
                </a:cubicBezTo>
                <a:cubicBezTo>
                  <a:pt x="763" y="375"/>
                  <a:pt x="763" y="375"/>
                  <a:pt x="763" y="375"/>
                </a:cubicBezTo>
                <a:cubicBezTo>
                  <a:pt x="762" y="374"/>
                  <a:pt x="762" y="374"/>
                  <a:pt x="762" y="374"/>
                </a:cubicBezTo>
                <a:cubicBezTo>
                  <a:pt x="762" y="374"/>
                  <a:pt x="762" y="374"/>
                  <a:pt x="762" y="374"/>
                </a:cubicBezTo>
                <a:cubicBezTo>
                  <a:pt x="762" y="375"/>
                  <a:pt x="762" y="375"/>
                  <a:pt x="762" y="375"/>
                </a:cubicBezTo>
                <a:cubicBezTo>
                  <a:pt x="762" y="376"/>
                  <a:pt x="762" y="376"/>
                  <a:pt x="762" y="376"/>
                </a:cubicBezTo>
                <a:close/>
                <a:moveTo>
                  <a:pt x="760" y="377"/>
                </a:moveTo>
                <a:cubicBezTo>
                  <a:pt x="761" y="377"/>
                  <a:pt x="761" y="377"/>
                  <a:pt x="761" y="377"/>
                </a:cubicBezTo>
                <a:cubicBezTo>
                  <a:pt x="760" y="377"/>
                  <a:pt x="760" y="377"/>
                  <a:pt x="760" y="377"/>
                </a:cubicBezTo>
                <a:cubicBezTo>
                  <a:pt x="760" y="377"/>
                  <a:pt x="760" y="377"/>
                  <a:pt x="760" y="377"/>
                </a:cubicBezTo>
                <a:cubicBezTo>
                  <a:pt x="760" y="377"/>
                  <a:pt x="760" y="377"/>
                  <a:pt x="760" y="377"/>
                </a:cubicBezTo>
                <a:cubicBezTo>
                  <a:pt x="760" y="377"/>
                  <a:pt x="760" y="377"/>
                  <a:pt x="760" y="377"/>
                </a:cubicBezTo>
                <a:close/>
                <a:moveTo>
                  <a:pt x="761" y="380"/>
                </a:moveTo>
                <a:cubicBezTo>
                  <a:pt x="761" y="380"/>
                  <a:pt x="761" y="380"/>
                  <a:pt x="761" y="380"/>
                </a:cubicBezTo>
                <a:cubicBezTo>
                  <a:pt x="762" y="379"/>
                  <a:pt x="762" y="379"/>
                  <a:pt x="762" y="379"/>
                </a:cubicBezTo>
                <a:cubicBezTo>
                  <a:pt x="762" y="378"/>
                  <a:pt x="762" y="378"/>
                  <a:pt x="762" y="378"/>
                </a:cubicBezTo>
                <a:cubicBezTo>
                  <a:pt x="762" y="378"/>
                  <a:pt x="762" y="378"/>
                  <a:pt x="762" y="378"/>
                </a:cubicBezTo>
                <a:cubicBezTo>
                  <a:pt x="761" y="379"/>
                  <a:pt x="761" y="379"/>
                  <a:pt x="761" y="379"/>
                </a:cubicBezTo>
                <a:cubicBezTo>
                  <a:pt x="761" y="380"/>
                  <a:pt x="761" y="380"/>
                  <a:pt x="761" y="380"/>
                </a:cubicBezTo>
                <a:close/>
                <a:moveTo>
                  <a:pt x="759" y="388"/>
                </a:moveTo>
                <a:cubicBezTo>
                  <a:pt x="760" y="388"/>
                  <a:pt x="760" y="388"/>
                  <a:pt x="760" y="388"/>
                </a:cubicBezTo>
                <a:cubicBezTo>
                  <a:pt x="759" y="387"/>
                  <a:pt x="759" y="387"/>
                  <a:pt x="759" y="387"/>
                </a:cubicBezTo>
                <a:cubicBezTo>
                  <a:pt x="759" y="387"/>
                  <a:pt x="759" y="387"/>
                  <a:pt x="759" y="387"/>
                </a:cubicBezTo>
                <a:cubicBezTo>
                  <a:pt x="759" y="388"/>
                  <a:pt x="759" y="388"/>
                  <a:pt x="759" y="388"/>
                </a:cubicBezTo>
                <a:close/>
                <a:moveTo>
                  <a:pt x="759" y="392"/>
                </a:moveTo>
                <a:cubicBezTo>
                  <a:pt x="759" y="391"/>
                  <a:pt x="759" y="391"/>
                  <a:pt x="759" y="391"/>
                </a:cubicBezTo>
                <a:cubicBezTo>
                  <a:pt x="759" y="391"/>
                  <a:pt x="759" y="391"/>
                  <a:pt x="759" y="391"/>
                </a:cubicBezTo>
                <a:cubicBezTo>
                  <a:pt x="759" y="391"/>
                  <a:pt x="759" y="391"/>
                  <a:pt x="759" y="391"/>
                </a:cubicBezTo>
                <a:cubicBezTo>
                  <a:pt x="759" y="392"/>
                  <a:pt x="759" y="392"/>
                  <a:pt x="759" y="392"/>
                </a:cubicBezTo>
                <a:close/>
                <a:moveTo>
                  <a:pt x="759" y="393"/>
                </a:moveTo>
                <a:cubicBezTo>
                  <a:pt x="759" y="394"/>
                  <a:pt x="759" y="394"/>
                  <a:pt x="759" y="394"/>
                </a:cubicBezTo>
                <a:cubicBezTo>
                  <a:pt x="759" y="393"/>
                  <a:pt x="759" y="393"/>
                  <a:pt x="759" y="393"/>
                </a:cubicBezTo>
                <a:cubicBezTo>
                  <a:pt x="759" y="393"/>
                  <a:pt x="759" y="393"/>
                  <a:pt x="759" y="393"/>
                </a:cubicBezTo>
                <a:close/>
                <a:moveTo>
                  <a:pt x="758" y="396"/>
                </a:moveTo>
                <a:cubicBezTo>
                  <a:pt x="758" y="396"/>
                  <a:pt x="758" y="396"/>
                  <a:pt x="758" y="396"/>
                </a:cubicBezTo>
                <a:cubicBezTo>
                  <a:pt x="758" y="396"/>
                  <a:pt x="758" y="396"/>
                  <a:pt x="758" y="396"/>
                </a:cubicBezTo>
                <a:cubicBezTo>
                  <a:pt x="758" y="395"/>
                  <a:pt x="758" y="395"/>
                  <a:pt x="758" y="395"/>
                </a:cubicBezTo>
                <a:cubicBezTo>
                  <a:pt x="758" y="395"/>
                  <a:pt x="758" y="395"/>
                  <a:pt x="758" y="395"/>
                </a:cubicBezTo>
                <a:cubicBezTo>
                  <a:pt x="758" y="396"/>
                  <a:pt x="758" y="396"/>
                  <a:pt x="758" y="396"/>
                </a:cubicBezTo>
                <a:close/>
                <a:moveTo>
                  <a:pt x="757" y="401"/>
                </a:moveTo>
                <a:cubicBezTo>
                  <a:pt x="757" y="400"/>
                  <a:pt x="757" y="400"/>
                  <a:pt x="757" y="400"/>
                </a:cubicBezTo>
                <a:cubicBezTo>
                  <a:pt x="757" y="398"/>
                  <a:pt x="757" y="398"/>
                  <a:pt x="757" y="398"/>
                </a:cubicBezTo>
                <a:cubicBezTo>
                  <a:pt x="757" y="398"/>
                  <a:pt x="757" y="398"/>
                  <a:pt x="757" y="398"/>
                </a:cubicBezTo>
                <a:cubicBezTo>
                  <a:pt x="757" y="399"/>
                  <a:pt x="757" y="399"/>
                  <a:pt x="757" y="399"/>
                </a:cubicBezTo>
                <a:cubicBezTo>
                  <a:pt x="756" y="401"/>
                  <a:pt x="756" y="401"/>
                  <a:pt x="756" y="401"/>
                </a:cubicBezTo>
                <a:cubicBezTo>
                  <a:pt x="757" y="401"/>
                  <a:pt x="757" y="401"/>
                  <a:pt x="757" y="401"/>
                </a:cubicBezTo>
                <a:close/>
                <a:moveTo>
                  <a:pt x="746" y="415"/>
                </a:moveTo>
                <a:cubicBezTo>
                  <a:pt x="746" y="415"/>
                  <a:pt x="746" y="415"/>
                  <a:pt x="746" y="415"/>
                </a:cubicBezTo>
                <a:cubicBezTo>
                  <a:pt x="748" y="414"/>
                  <a:pt x="748" y="414"/>
                  <a:pt x="748" y="414"/>
                </a:cubicBezTo>
                <a:cubicBezTo>
                  <a:pt x="749" y="412"/>
                  <a:pt x="749" y="412"/>
                  <a:pt x="749" y="412"/>
                </a:cubicBezTo>
                <a:cubicBezTo>
                  <a:pt x="749" y="412"/>
                  <a:pt x="749" y="412"/>
                  <a:pt x="749" y="412"/>
                </a:cubicBezTo>
                <a:cubicBezTo>
                  <a:pt x="749" y="411"/>
                  <a:pt x="749" y="411"/>
                  <a:pt x="749" y="411"/>
                </a:cubicBezTo>
                <a:cubicBezTo>
                  <a:pt x="750" y="409"/>
                  <a:pt x="750" y="409"/>
                  <a:pt x="750" y="409"/>
                </a:cubicBezTo>
                <a:cubicBezTo>
                  <a:pt x="751" y="408"/>
                  <a:pt x="751" y="408"/>
                  <a:pt x="751" y="408"/>
                </a:cubicBezTo>
                <a:cubicBezTo>
                  <a:pt x="750" y="408"/>
                  <a:pt x="750" y="408"/>
                  <a:pt x="750" y="408"/>
                </a:cubicBezTo>
                <a:cubicBezTo>
                  <a:pt x="749" y="408"/>
                  <a:pt x="749" y="408"/>
                  <a:pt x="749" y="408"/>
                </a:cubicBezTo>
                <a:cubicBezTo>
                  <a:pt x="749" y="409"/>
                  <a:pt x="749" y="409"/>
                  <a:pt x="749" y="409"/>
                </a:cubicBezTo>
                <a:cubicBezTo>
                  <a:pt x="748" y="410"/>
                  <a:pt x="748" y="410"/>
                  <a:pt x="748" y="410"/>
                </a:cubicBezTo>
                <a:cubicBezTo>
                  <a:pt x="748" y="411"/>
                  <a:pt x="748" y="411"/>
                  <a:pt x="748" y="411"/>
                </a:cubicBezTo>
                <a:cubicBezTo>
                  <a:pt x="747" y="411"/>
                  <a:pt x="747" y="411"/>
                  <a:pt x="747" y="411"/>
                </a:cubicBezTo>
                <a:cubicBezTo>
                  <a:pt x="747" y="412"/>
                  <a:pt x="747" y="412"/>
                  <a:pt x="747" y="412"/>
                </a:cubicBezTo>
                <a:cubicBezTo>
                  <a:pt x="746" y="413"/>
                  <a:pt x="746" y="413"/>
                  <a:pt x="746" y="413"/>
                </a:cubicBezTo>
                <a:cubicBezTo>
                  <a:pt x="746" y="415"/>
                  <a:pt x="746" y="415"/>
                  <a:pt x="746" y="415"/>
                </a:cubicBezTo>
                <a:close/>
                <a:moveTo>
                  <a:pt x="734" y="429"/>
                </a:moveTo>
                <a:cubicBezTo>
                  <a:pt x="735" y="429"/>
                  <a:pt x="735" y="429"/>
                  <a:pt x="735" y="429"/>
                </a:cubicBezTo>
                <a:cubicBezTo>
                  <a:pt x="735" y="427"/>
                  <a:pt x="735" y="427"/>
                  <a:pt x="735" y="427"/>
                </a:cubicBezTo>
                <a:cubicBezTo>
                  <a:pt x="736" y="427"/>
                  <a:pt x="736" y="427"/>
                  <a:pt x="736" y="427"/>
                </a:cubicBezTo>
                <a:cubicBezTo>
                  <a:pt x="736" y="425"/>
                  <a:pt x="736" y="425"/>
                  <a:pt x="736" y="425"/>
                </a:cubicBezTo>
                <a:cubicBezTo>
                  <a:pt x="736" y="424"/>
                  <a:pt x="736" y="424"/>
                  <a:pt x="736" y="424"/>
                </a:cubicBezTo>
                <a:cubicBezTo>
                  <a:pt x="736" y="424"/>
                  <a:pt x="736" y="424"/>
                  <a:pt x="736" y="424"/>
                </a:cubicBezTo>
                <a:cubicBezTo>
                  <a:pt x="737" y="423"/>
                  <a:pt x="737" y="423"/>
                  <a:pt x="737" y="423"/>
                </a:cubicBezTo>
                <a:cubicBezTo>
                  <a:pt x="737" y="424"/>
                  <a:pt x="737" y="424"/>
                  <a:pt x="737" y="424"/>
                </a:cubicBezTo>
                <a:cubicBezTo>
                  <a:pt x="738" y="423"/>
                  <a:pt x="738" y="423"/>
                  <a:pt x="738" y="423"/>
                </a:cubicBezTo>
                <a:cubicBezTo>
                  <a:pt x="739" y="421"/>
                  <a:pt x="739" y="421"/>
                  <a:pt x="739" y="421"/>
                </a:cubicBezTo>
                <a:cubicBezTo>
                  <a:pt x="740" y="419"/>
                  <a:pt x="740" y="419"/>
                  <a:pt x="740" y="419"/>
                </a:cubicBezTo>
                <a:cubicBezTo>
                  <a:pt x="742" y="419"/>
                  <a:pt x="742" y="419"/>
                  <a:pt x="742" y="419"/>
                </a:cubicBezTo>
                <a:cubicBezTo>
                  <a:pt x="743" y="419"/>
                  <a:pt x="743" y="419"/>
                  <a:pt x="743" y="419"/>
                </a:cubicBezTo>
                <a:cubicBezTo>
                  <a:pt x="743" y="417"/>
                  <a:pt x="743" y="417"/>
                  <a:pt x="743" y="417"/>
                </a:cubicBezTo>
                <a:cubicBezTo>
                  <a:pt x="742" y="416"/>
                  <a:pt x="742" y="416"/>
                  <a:pt x="742" y="416"/>
                </a:cubicBezTo>
                <a:cubicBezTo>
                  <a:pt x="742" y="416"/>
                  <a:pt x="742" y="416"/>
                  <a:pt x="742" y="416"/>
                </a:cubicBezTo>
                <a:cubicBezTo>
                  <a:pt x="740" y="418"/>
                  <a:pt x="740" y="418"/>
                  <a:pt x="740" y="418"/>
                </a:cubicBezTo>
                <a:cubicBezTo>
                  <a:pt x="740" y="419"/>
                  <a:pt x="740" y="419"/>
                  <a:pt x="740" y="419"/>
                </a:cubicBezTo>
                <a:cubicBezTo>
                  <a:pt x="739" y="419"/>
                  <a:pt x="739" y="419"/>
                  <a:pt x="739" y="419"/>
                </a:cubicBezTo>
                <a:cubicBezTo>
                  <a:pt x="738" y="419"/>
                  <a:pt x="738" y="419"/>
                  <a:pt x="738" y="419"/>
                </a:cubicBezTo>
                <a:cubicBezTo>
                  <a:pt x="738" y="419"/>
                  <a:pt x="738" y="419"/>
                  <a:pt x="738" y="419"/>
                </a:cubicBezTo>
                <a:cubicBezTo>
                  <a:pt x="737" y="418"/>
                  <a:pt x="737" y="418"/>
                  <a:pt x="737" y="418"/>
                </a:cubicBezTo>
                <a:cubicBezTo>
                  <a:pt x="737" y="418"/>
                  <a:pt x="737" y="418"/>
                  <a:pt x="737" y="418"/>
                </a:cubicBezTo>
                <a:cubicBezTo>
                  <a:pt x="736" y="419"/>
                  <a:pt x="736" y="419"/>
                  <a:pt x="736" y="419"/>
                </a:cubicBezTo>
                <a:cubicBezTo>
                  <a:pt x="737" y="420"/>
                  <a:pt x="737" y="420"/>
                  <a:pt x="737" y="420"/>
                </a:cubicBezTo>
                <a:cubicBezTo>
                  <a:pt x="736" y="421"/>
                  <a:pt x="736" y="421"/>
                  <a:pt x="736" y="421"/>
                </a:cubicBezTo>
                <a:cubicBezTo>
                  <a:pt x="736" y="422"/>
                  <a:pt x="736" y="422"/>
                  <a:pt x="736" y="422"/>
                </a:cubicBezTo>
                <a:cubicBezTo>
                  <a:pt x="735" y="422"/>
                  <a:pt x="735" y="422"/>
                  <a:pt x="735" y="422"/>
                </a:cubicBezTo>
                <a:cubicBezTo>
                  <a:pt x="735" y="423"/>
                  <a:pt x="735" y="423"/>
                  <a:pt x="735" y="423"/>
                </a:cubicBezTo>
                <a:cubicBezTo>
                  <a:pt x="735" y="424"/>
                  <a:pt x="735" y="424"/>
                  <a:pt x="735" y="424"/>
                </a:cubicBezTo>
                <a:cubicBezTo>
                  <a:pt x="734" y="425"/>
                  <a:pt x="734" y="425"/>
                  <a:pt x="734" y="425"/>
                </a:cubicBezTo>
                <a:cubicBezTo>
                  <a:pt x="734" y="425"/>
                  <a:pt x="734" y="425"/>
                  <a:pt x="734" y="425"/>
                </a:cubicBezTo>
                <a:cubicBezTo>
                  <a:pt x="734" y="426"/>
                  <a:pt x="734" y="426"/>
                  <a:pt x="734" y="426"/>
                </a:cubicBezTo>
                <a:cubicBezTo>
                  <a:pt x="734" y="427"/>
                  <a:pt x="734" y="427"/>
                  <a:pt x="734" y="427"/>
                </a:cubicBezTo>
                <a:cubicBezTo>
                  <a:pt x="734" y="428"/>
                  <a:pt x="734" y="428"/>
                  <a:pt x="734" y="428"/>
                </a:cubicBezTo>
                <a:cubicBezTo>
                  <a:pt x="734" y="429"/>
                  <a:pt x="734" y="429"/>
                  <a:pt x="734" y="429"/>
                </a:cubicBezTo>
                <a:close/>
                <a:moveTo>
                  <a:pt x="729" y="437"/>
                </a:moveTo>
                <a:cubicBezTo>
                  <a:pt x="729" y="437"/>
                  <a:pt x="729" y="435"/>
                  <a:pt x="729" y="435"/>
                </a:cubicBezTo>
                <a:cubicBezTo>
                  <a:pt x="729" y="432"/>
                  <a:pt x="729" y="432"/>
                  <a:pt x="729" y="432"/>
                </a:cubicBezTo>
                <a:cubicBezTo>
                  <a:pt x="730" y="432"/>
                  <a:pt x="730" y="432"/>
                  <a:pt x="730" y="432"/>
                </a:cubicBezTo>
                <a:cubicBezTo>
                  <a:pt x="731" y="431"/>
                  <a:pt x="731" y="431"/>
                  <a:pt x="731" y="431"/>
                </a:cubicBezTo>
                <a:cubicBezTo>
                  <a:pt x="732" y="429"/>
                  <a:pt x="732" y="429"/>
                  <a:pt x="732" y="429"/>
                </a:cubicBezTo>
                <a:cubicBezTo>
                  <a:pt x="731" y="429"/>
                  <a:pt x="731" y="429"/>
                  <a:pt x="731" y="429"/>
                </a:cubicBezTo>
                <a:cubicBezTo>
                  <a:pt x="730" y="430"/>
                  <a:pt x="730" y="430"/>
                  <a:pt x="730" y="430"/>
                </a:cubicBezTo>
                <a:cubicBezTo>
                  <a:pt x="730" y="429"/>
                  <a:pt x="730" y="429"/>
                  <a:pt x="730" y="429"/>
                </a:cubicBezTo>
                <a:cubicBezTo>
                  <a:pt x="729" y="429"/>
                  <a:pt x="729" y="429"/>
                  <a:pt x="729" y="429"/>
                </a:cubicBezTo>
                <a:cubicBezTo>
                  <a:pt x="729" y="429"/>
                  <a:pt x="729" y="429"/>
                  <a:pt x="729" y="429"/>
                </a:cubicBezTo>
                <a:cubicBezTo>
                  <a:pt x="729" y="431"/>
                  <a:pt x="729" y="431"/>
                  <a:pt x="729" y="431"/>
                </a:cubicBezTo>
                <a:cubicBezTo>
                  <a:pt x="728" y="432"/>
                  <a:pt x="728" y="432"/>
                  <a:pt x="728" y="432"/>
                </a:cubicBezTo>
                <a:cubicBezTo>
                  <a:pt x="728" y="434"/>
                  <a:pt x="728" y="434"/>
                  <a:pt x="728" y="434"/>
                </a:cubicBezTo>
                <a:cubicBezTo>
                  <a:pt x="727" y="435"/>
                  <a:pt x="727" y="435"/>
                  <a:pt x="727" y="435"/>
                </a:cubicBezTo>
                <a:cubicBezTo>
                  <a:pt x="728" y="436"/>
                  <a:pt x="728" y="436"/>
                  <a:pt x="728" y="436"/>
                </a:cubicBezTo>
                <a:cubicBezTo>
                  <a:pt x="729" y="437"/>
                  <a:pt x="729" y="437"/>
                  <a:pt x="729" y="437"/>
                </a:cubicBezTo>
                <a:close/>
                <a:moveTo>
                  <a:pt x="12" y="336"/>
                </a:moveTo>
                <a:cubicBezTo>
                  <a:pt x="12" y="336"/>
                  <a:pt x="12" y="338"/>
                  <a:pt x="12" y="338"/>
                </a:cubicBezTo>
                <a:cubicBezTo>
                  <a:pt x="13" y="338"/>
                  <a:pt x="13" y="338"/>
                  <a:pt x="13" y="338"/>
                </a:cubicBezTo>
                <a:cubicBezTo>
                  <a:pt x="14" y="338"/>
                  <a:pt x="14" y="338"/>
                  <a:pt x="14" y="338"/>
                </a:cubicBezTo>
                <a:lnTo>
                  <a:pt x="12" y="33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3" name="Freeform 11">
            <a:extLst>
              <a:ext uri="{FF2B5EF4-FFF2-40B4-BE49-F238E27FC236}">
                <a16:creationId xmlns:a16="http://schemas.microsoft.com/office/drawing/2014/main" id="{A68A33BC-805A-43A2-D736-D3A89A662200}"/>
              </a:ext>
            </a:extLst>
          </p:cNvPr>
          <p:cNvSpPr>
            <a:spLocks noEditPoints="1"/>
          </p:cNvSpPr>
          <p:nvPr userDrawn="1"/>
        </p:nvSpPr>
        <p:spPr bwMode="auto">
          <a:xfrm>
            <a:off x="16940696" y="5184056"/>
            <a:ext cx="4066911" cy="3000376"/>
          </a:xfrm>
          <a:custGeom>
            <a:avLst/>
            <a:gdLst>
              <a:gd name="T0" fmla="*/ 306 w 410"/>
              <a:gd name="T1" fmla="*/ 40 h 302"/>
              <a:gd name="T2" fmla="*/ 309 w 410"/>
              <a:gd name="T3" fmla="*/ 29 h 302"/>
              <a:gd name="T4" fmla="*/ 310 w 410"/>
              <a:gd name="T5" fmla="*/ 14 h 302"/>
              <a:gd name="T6" fmla="*/ 307 w 410"/>
              <a:gd name="T7" fmla="*/ 5 h 302"/>
              <a:gd name="T8" fmla="*/ 320 w 410"/>
              <a:gd name="T9" fmla="*/ 0 h 302"/>
              <a:gd name="T10" fmla="*/ 332 w 410"/>
              <a:gd name="T11" fmla="*/ 2 h 302"/>
              <a:gd name="T12" fmla="*/ 339 w 410"/>
              <a:gd name="T13" fmla="*/ 6 h 302"/>
              <a:gd name="T14" fmla="*/ 345 w 410"/>
              <a:gd name="T15" fmla="*/ 14 h 302"/>
              <a:gd name="T16" fmla="*/ 355 w 410"/>
              <a:gd name="T17" fmla="*/ 25 h 302"/>
              <a:gd name="T18" fmla="*/ 363 w 410"/>
              <a:gd name="T19" fmla="*/ 36 h 302"/>
              <a:gd name="T20" fmla="*/ 371 w 410"/>
              <a:gd name="T21" fmla="*/ 37 h 302"/>
              <a:gd name="T22" fmla="*/ 380 w 410"/>
              <a:gd name="T23" fmla="*/ 43 h 302"/>
              <a:gd name="T24" fmla="*/ 383 w 410"/>
              <a:gd name="T25" fmla="*/ 50 h 302"/>
              <a:gd name="T26" fmla="*/ 395 w 410"/>
              <a:gd name="T27" fmla="*/ 52 h 302"/>
              <a:gd name="T28" fmla="*/ 403 w 410"/>
              <a:gd name="T29" fmla="*/ 44 h 302"/>
              <a:gd name="T30" fmla="*/ 408 w 410"/>
              <a:gd name="T31" fmla="*/ 54 h 302"/>
              <a:gd name="T32" fmla="*/ 409 w 410"/>
              <a:gd name="T33" fmla="*/ 65 h 302"/>
              <a:gd name="T34" fmla="*/ 408 w 410"/>
              <a:gd name="T35" fmla="*/ 74 h 302"/>
              <a:gd name="T36" fmla="*/ 397 w 410"/>
              <a:gd name="T37" fmla="*/ 80 h 302"/>
              <a:gd name="T38" fmla="*/ 401 w 410"/>
              <a:gd name="T39" fmla="*/ 96 h 302"/>
              <a:gd name="T40" fmla="*/ 370 w 410"/>
              <a:gd name="T41" fmla="*/ 131 h 302"/>
              <a:gd name="T42" fmla="*/ 355 w 410"/>
              <a:gd name="T43" fmla="*/ 140 h 302"/>
              <a:gd name="T44" fmla="*/ 355 w 410"/>
              <a:gd name="T45" fmla="*/ 136 h 302"/>
              <a:gd name="T46" fmla="*/ 355 w 410"/>
              <a:gd name="T47" fmla="*/ 126 h 302"/>
              <a:gd name="T48" fmla="*/ 341 w 410"/>
              <a:gd name="T49" fmla="*/ 131 h 302"/>
              <a:gd name="T50" fmla="*/ 330 w 410"/>
              <a:gd name="T51" fmla="*/ 142 h 302"/>
              <a:gd name="T52" fmla="*/ 339 w 410"/>
              <a:gd name="T53" fmla="*/ 150 h 302"/>
              <a:gd name="T54" fmla="*/ 349 w 410"/>
              <a:gd name="T55" fmla="*/ 151 h 302"/>
              <a:gd name="T56" fmla="*/ 363 w 410"/>
              <a:gd name="T57" fmla="*/ 153 h 302"/>
              <a:gd name="T58" fmla="*/ 355 w 410"/>
              <a:gd name="T59" fmla="*/ 159 h 302"/>
              <a:gd name="T60" fmla="*/ 348 w 410"/>
              <a:gd name="T61" fmla="*/ 169 h 302"/>
              <a:gd name="T62" fmla="*/ 358 w 410"/>
              <a:gd name="T63" fmla="*/ 188 h 302"/>
              <a:gd name="T64" fmla="*/ 361 w 410"/>
              <a:gd name="T65" fmla="*/ 199 h 302"/>
              <a:gd name="T66" fmla="*/ 350 w 410"/>
              <a:gd name="T67" fmla="*/ 197 h 302"/>
              <a:gd name="T68" fmla="*/ 366 w 410"/>
              <a:gd name="T69" fmla="*/ 209 h 302"/>
              <a:gd name="T70" fmla="*/ 366 w 410"/>
              <a:gd name="T71" fmla="*/ 212 h 302"/>
              <a:gd name="T72" fmla="*/ 371 w 410"/>
              <a:gd name="T73" fmla="*/ 217 h 302"/>
              <a:gd name="T74" fmla="*/ 370 w 410"/>
              <a:gd name="T75" fmla="*/ 223 h 302"/>
              <a:gd name="T76" fmla="*/ 367 w 410"/>
              <a:gd name="T77" fmla="*/ 230 h 302"/>
              <a:gd name="T78" fmla="*/ 365 w 410"/>
              <a:gd name="T79" fmla="*/ 238 h 302"/>
              <a:gd name="T80" fmla="*/ 361 w 410"/>
              <a:gd name="T81" fmla="*/ 243 h 302"/>
              <a:gd name="T82" fmla="*/ 361 w 410"/>
              <a:gd name="T83" fmla="*/ 250 h 302"/>
              <a:gd name="T84" fmla="*/ 357 w 410"/>
              <a:gd name="T85" fmla="*/ 252 h 302"/>
              <a:gd name="T86" fmla="*/ 353 w 410"/>
              <a:gd name="T87" fmla="*/ 259 h 302"/>
              <a:gd name="T88" fmla="*/ 348 w 410"/>
              <a:gd name="T89" fmla="*/ 263 h 302"/>
              <a:gd name="T90" fmla="*/ 341 w 410"/>
              <a:gd name="T91" fmla="*/ 270 h 302"/>
              <a:gd name="T92" fmla="*/ 331 w 410"/>
              <a:gd name="T93" fmla="*/ 273 h 302"/>
              <a:gd name="T94" fmla="*/ 325 w 410"/>
              <a:gd name="T95" fmla="*/ 275 h 302"/>
              <a:gd name="T96" fmla="*/ 313 w 410"/>
              <a:gd name="T97" fmla="*/ 280 h 302"/>
              <a:gd name="T98" fmla="*/ 309 w 410"/>
              <a:gd name="T99" fmla="*/ 282 h 302"/>
              <a:gd name="T100" fmla="*/ 306 w 410"/>
              <a:gd name="T101" fmla="*/ 287 h 302"/>
              <a:gd name="T102" fmla="*/ 299 w 410"/>
              <a:gd name="T103" fmla="*/ 279 h 302"/>
              <a:gd name="T104" fmla="*/ 252 w 410"/>
              <a:gd name="T105" fmla="*/ 285 h 302"/>
              <a:gd name="T106" fmla="*/ 348 w 410"/>
              <a:gd name="T107" fmla="*/ 265 h 302"/>
              <a:gd name="T108" fmla="*/ 365 w 410"/>
              <a:gd name="T109" fmla="*/ 200 h 302"/>
              <a:gd name="T110" fmla="*/ 375 w 410"/>
              <a:gd name="T111" fmla="*/ 270 h 302"/>
              <a:gd name="T112" fmla="*/ 376 w 410"/>
              <a:gd name="T113" fmla="*/ 250 h 302"/>
              <a:gd name="T114" fmla="*/ 368 w 410"/>
              <a:gd name="T115" fmla="*/ 267 h 302"/>
              <a:gd name="T116" fmla="*/ 312 w 410"/>
              <a:gd name="T117" fmla="*/ 284 h 302"/>
              <a:gd name="T118" fmla="*/ 300 w 410"/>
              <a:gd name="T119" fmla="*/ 298 h 302"/>
              <a:gd name="T120" fmla="*/ 312 w 410"/>
              <a:gd name="T121" fmla="*/ 29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0" h="302">
                <a:moveTo>
                  <a:pt x="124" y="64"/>
                </a:moveTo>
                <a:cubicBezTo>
                  <a:pt x="126" y="64"/>
                  <a:pt x="126" y="64"/>
                  <a:pt x="126" y="64"/>
                </a:cubicBezTo>
                <a:cubicBezTo>
                  <a:pt x="127" y="65"/>
                  <a:pt x="127" y="65"/>
                  <a:pt x="127" y="65"/>
                </a:cubicBezTo>
                <a:cubicBezTo>
                  <a:pt x="128" y="65"/>
                  <a:pt x="128" y="65"/>
                  <a:pt x="128" y="65"/>
                </a:cubicBezTo>
                <a:cubicBezTo>
                  <a:pt x="184" y="66"/>
                  <a:pt x="184" y="66"/>
                  <a:pt x="184" y="66"/>
                </a:cubicBezTo>
                <a:cubicBezTo>
                  <a:pt x="282" y="56"/>
                  <a:pt x="282" y="56"/>
                  <a:pt x="282" y="56"/>
                </a:cubicBezTo>
                <a:cubicBezTo>
                  <a:pt x="294" y="43"/>
                  <a:pt x="294" y="43"/>
                  <a:pt x="294" y="43"/>
                </a:cubicBezTo>
                <a:cubicBezTo>
                  <a:pt x="297" y="42"/>
                  <a:pt x="297" y="42"/>
                  <a:pt x="297" y="42"/>
                </a:cubicBezTo>
                <a:cubicBezTo>
                  <a:pt x="298" y="42"/>
                  <a:pt x="298" y="42"/>
                  <a:pt x="298" y="42"/>
                </a:cubicBezTo>
                <a:cubicBezTo>
                  <a:pt x="298" y="43"/>
                  <a:pt x="298" y="43"/>
                  <a:pt x="298" y="43"/>
                </a:cubicBezTo>
                <a:cubicBezTo>
                  <a:pt x="299" y="42"/>
                  <a:pt x="299" y="42"/>
                  <a:pt x="299" y="42"/>
                </a:cubicBezTo>
                <a:cubicBezTo>
                  <a:pt x="301" y="43"/>
                  <a:pt x="301" y="43"/>
                  <a:pt x="301" y="43"/>
                </a:cubicBezTo>
                <a:cubicBezTo>
                  <a:pt x="302" y="43"/>
                  <a:pt x="302" y="43"/>
                  <a:pt x="302" y="43"/>
                </a:cubicBezTo>
                <a:cubicBezTo>
                  <a:pt x="303" y="43"/>
                  <a:pt x="303" y="43"/>
                  <a:pt x="303" y="43"/>
                </a:cubicBezTo>
                <a:cubicBezTo>
                  <a:pt x="306" y="40"/>
                  <a:pt x="306" y="40"/>
                  <a:pt x="306" y="40"/>
                </a:cubicBezTo>
                <a:cubicBezTo>
                  <a:pt x="307" y="39"/>
                  <a:pt x="307" y="39"/>
                  <a:pt x="307" y="39"/>
                </a:cubicBezTo>
                <a:cubicBezTo>
                  <a:pt x="309" y="39"/>
                  <a:pt x="309" y="39"/>
                  <a:pt x="309" y="39"/>
                </a:cubicBezTo>
                <a:cubicBezTo>
                  <a:pt x="310" y="38"/>
                  <a:pt x="310" y="38"/>
                  <a:pt x="310" y="38"/>
                </a:cubicBezTo>
                <a:cubicBezTo>
                  <a:pt x="311" y="37"/>
                  <a:pt x="311" y="37"/>
                  <a:pt x="311" y="37"/>
                </a:cubicBezTo>
                <a:cubicBezTo>
                  <a:pt x="310" y="36"/>
                  <a:pt x="310" y="36"/>
                  <a:pt x="310" y="36"/>
                </a:cubicBezTo>
                <a:cubicBezTo>
                  <a:pt x="310" y="35"/>
                  <a:pt x="310" y="35"/>
                  <a:pt x="310" y="35"/>
                </a:cubicBezTo>
                <a:cubicBezTo>
                  <a:pt x="309" y="36"/>
                  <a:pt x="309" y="36"/>
                  <a:pt x="309" y="36"/>
                </a:cubicBezTo>
                <a:cubicBezTo>
                  <a:pt x="309" y="35"/>
                  <a:pt x="309" y="35"/>
                  <a:pt x="309" y="35"/>
                </a:cubicBezTo>
                <a:cubicBezTo>
                  <a:pt x="308" y="35"/>
                  <a:pt x="308" y="35"/>
                  <a:pt x="308" y="35"/>
                </a:cubicBezTo>
                <a:cubicBezTo>
                  <a:pt x="308" y="33"/>
                  <a:pt x="308" y="33"/>
                  <a:pt x="308" y="33"/>
                </a:cubicBezTo>
                <a:cubicBezTo>
                  <a:pt x="308" y="33"/>
                  <a:pt x="308" y="33"/>
                  <a:pt x="308" y="33"/>
                </a:cubicBezTo>
                <a:cubicBezTo>
                  <a:pt x="308" y="31"/>
                  <a:pt x="308" y="31"/>
                  <a:pt x="308" y="31"/>
                </a:cubicBezTo>
                <a:cubicBezTo>
                  <a:pt x="308" y="30"/>
                  <a:pt x="308" y="30"/>
                  <a:pt x="308" y="30"/>
                </a:cubicBezTo>
                <a:cubicBezTo>
                  <a:pt x="308" y="29"/>
                  <a:pt x="308" y="29"/>
                  <a:pt x="308" y="29"/>
                </a:cubicBezTo>
                <a:cubicBezTo>
                  <a:pt x="309" y="29"/>
                  <a:pt x="309" y="29"/>
                  <a:pt x="309" y="29"/>
                </a:cubicBezTo>
                <a:cubicBezTo>
                  <a:pt x="309" y="28"/>
                  <a:pt x="309" y="28"/>
                  <a:pt x="309" y="28"/>
                </a:cubicBezTo>
                <a:cubicBezTo>
                  <a:pt x="308" y="27"/>
                  <a:pt x="308" y="27"/>
                  <a:pt x="308" y="27"/>
                </a:cubicBezTo>
                <a:cubicBezTo>
                  <a:pt x="308" y="26"/>
                  <a:pt x="308" y="26"/>
                  <a:pt x="308" y="26"/>
                </a:cubicBezTo>
                <a:cubicBezTo>
                  <a:pt x="308" y="25"/>
                  <a:pt x="308" y="25"/>
                  <a:pt x="308" y="25"/>
                </a:cubicBezTo>
                <a:cubicBezTo>
                  <a:pt x="308" y="24"/>
                  <a:pt x="308" y="24"/>
                  <a:pt x="308" y="24"/>
                </a:cubicBezTo>
                <a:cubicBezTo>
                  <a:pt x="308" y="23"/>
                  <a:pt x="308" y="23"/>
                  <a:pt x="308" y="23"/>
                </a:cubicBezTo>
                <a:cubicBezTo>
                  <a:pt x="309" y="22"/>
                  <a:pt x="309" y="22"/>
                  <a:pt x="309" y="22"/>
                </a:cubicBezTo>
                <a:cubicBezTo>
                  <a:pt x="309" y="21"/>
                  <a:pt x="309" y="21"/>
                  <a:pt x="309" y="21"/>
                </a:cubicBezTo>
                <a:cubicBezTo>
                  <a:pt x="310" y="19"/>
                  <a:pt x="310" y="19"/>
                  <a:pt x="310" y="19"/>
                </a:cubicBezTo>
                <a:cubicBezTo>
                  <a:pt x="310" y="18"/>
                  <a:pt x="310" y="18"/>
                  <a:pt x="310" y="18"/>
                </a:cubicBezTo>
                <a:cubicBezTo>
                  <a:pt x="311" y="18"/>
                  <a:pt x="311" y="18"/>
                  <a:pt x="311" y="18"/>
                </a:cubicBezTo>
                <a:cubicBezTo>
                  <a:pt x="311" y="16"/>
                  <a:pt x="311" y="16"/>
                  <a:pt x="311" y="16"/>
                </a:cubicBezTo>
                <a:cubicBezTo>
                  <a:pt x="311" y="15"/>
                  <a:pt x="311" y="15"/>
                  <a:pt x="311" y="15"/>
                </a:cubicBezTo>
                <a:cubicBezTo>
                  <a:pt x="311" y="14"/>
                  <a:pt x="311" y="14"/>
                  <a:pt x="311" y="14"/>
                </a:cubicBezTo>
                <a:cubicBezTo>
                  <a:pt x="310" y="14"/>
                  <a:pt x="310" y="14"/>
                  <a:pt x="310" y="14"/>
                </a:cubicBezTo>
                <a:cubicBezTo>
                  <a:pt x="310" y="13"/>
                  <a:pt x="310" y="13"/>
                  <a:pt x="310" y="13"/>
                </a:cubicBezTo>
                <a:cubicBezTo>
                  <a:pt x="309" y="11"/>
                  <a:pt x="309" y="11"/>
                  <a:pt x="309" y="11"/>
                </a:cubicBezTo>
                <a:cubicBezTo>
                  <a:pt x="308" y="11"/>
                  <a:pt x="308" y="11"/>
                  <a:pt x="308" y="11"/>
                </a:cubicBezTo>
                <a:cubicBezTo>
                  <a:pt x="307" y="11"/>
                  <a:pt x="307" y="11"/>
                  <a:pt x="307" y="11"/>
                </a:cubicBezTo>
                <a:cubicBezTo>
                  <a:pt x="306" y="12"/>
                  <a:pt x="306" y="12"/>
                  <a:pt x="306" y="12"/>
                </a:cubicBezTo>
                <a:cubicBezTo>
                  <a:pt x="305" y="12"/>
                  <a:pt x="305" y="12"/>
                  <a:pt x="305" y="12"/>
                </a:cubicBezTo>
                <a:cubicBezTo>
                  <a:pt x="305" y="12"/>
                  <a:pt x="305" y="12"/>
                  <a:pt x="305" y="12"/>
                </a:cubicBezTo>
                <a:cubicBezTo>
                  <a:pt x="305" y="10"/>
                  <a:pt x="305" y="10"/>
                  <a:pt x="305" y="10"/>
                </a:cubicBezTo>
                <a:cubicBezTo>
                  <a:pt x="305" y="9"/>
                  <a:pt x="305" y="9"/>
                  <a:pt x="305" y="9"/>
                </a:cubicBezTo>
                <a:cubicBezTo>
                  <a:pt x="305" y="9"/>
                  <a:pt x="305" y="9"/>
                  <a:pt x="305" y="9"/>
                </a:cubicBezTo>
                <a:cubicBezTo>
                  <a:pt x="306" y="8"/>
                  <a:pt x="306" y="8"/>
                  <a:pt x="306" y="8"/>
                </a:cubicBezTo>
                <a:cubicBezTo>
                  <a:pt x="306" y="7"/>
                  <a:pt x="306" y="7"/>
                  <a:pt x="306" y="7"/>
                </a:cubicBezTo>
                <a:cubicBezTo>
                  <a:pt x="307" y="6"/>
                  <a:pt x="307" y="6"/>
                  <a:pt x="307" y="6"/>
                </a:cubicBezTo>
                <a:cubicBezTo>
                  <a:pt x="307" y="5"/>
                  <a:pt x="307" y="5"/>
                  <a:pt x="307" y="5"/>
                </a:cubicBezTo>
                <a:cubicBezTo>
                  <a:pt x="307" y="5"/>
                  <a:pt x="307" y="5"/>
                  <a:pt x="307" y="5"/>
                </a:cubicBezTo>
                <a:cubicBezTo>
                  <a:pt x="309" y="4"/>
                  <a:pt x="309" y="4"/>
                  <a:pt x="309" y="4"/>
                </a:cubicBezTo>
                <a:cubicBezTo>
                  <a:pt x="310" y="4"/>
                  <a:pt x="310" y="4"/>
                  <a:pt x="310" y="4"/>
                </a:cubicBezTo>
                <a:cubicBezTo>
                  <a:pt x="311" y="4"/>
                  <a:pt x="311" y="4"/>
                  <a:pt x="311" y="4"/>
                </a:cubicBezTo>
                <a:cubicBezTo>
                  <a:pt x="311" y="4"/>
                  <a:pt x="311" y="4"/>
                  <a:pt x="311" y="4"/>
                </a:cubicBezTo>
                <a:cubicBezTo>
                  <a:pt x="312" y="4"/>
                  <a:pt x="312" y="4"/>
                  <a:pt x="312" y="4"/>
                </a:cubicBezTo>
                <a:cubicBezTo>
                  <a:pt x="313" y="4"/>
                  <a:pt x="313" y="4"/>
                  <a:pt x="313" y="4"/>
                </a:cubicBezTo>
                <a:cubicBezTo>
                  <a:pt x="313" y="3"/>
                  <a:pt x="313" y="3"/>
                  <a:pt x="313" y="3"/>
                </a:cubicBezTo>
                <a:cubicBezTo>
                  <a:pt x="314" y="3"/>
                  <a:pt x="314" y="3"/>
                  <a:pt x="314" y="3"/>
                </a:cubicBezTo>
                <a:cubicBezTo>
                  <a:pt x="315" y="2"/>
                  <a:pt x="315" y="2"/>
                  <a:pt x="315" y="2"/>
                </a:cubicBezTo>
                <a:cubicBezTo>
                  <a:pt x="316" y="2"/>
                  <a:pt x="316" y="2"/>
                  <a:pt x="316" y="2"/>
                </a:cubicBezTo>
                <a:cubicBezTo>
                  <a:pt x="317" y="2"/>
                  <a:pt x="317" y="2"/>
                  <a:pt x="317" y="2"/>
                </a:cubicBezTo>
                <a:cubicBezTo>
                  <a:pt x="318" y="2"/>
                  <a:pt x="318" y="2"/>
                  <a:pt x="318" y="2"/>
                </a:cubicBezTo>
                <a:cubicBezTo>
                  <a:pt x="319" y="1"/>
                  <a:pt x="319" y="1"/>
                  <a:pt x="319" y="1"/>
                </a:cubicBezTo>
                <a:cubicBezTo>
                  <a:pt x="320" y="1"/>
                  <a:pt x="320" y="1"/>
                  <a:pt x="320" y="1"/>
                </a:cubicBezTo>
                <a:cubicBezTo>
                  <a:pt x="320" y="0"/>
                  <a:pt x="320" y="0"/>
                  <a:pt x="320" y="0"/>
                </a:cubicBezTo>
                <a:cubicBezTo>
                  <a:pt x="322" y="0"/>
                  <a:pt x="322" y="0"/>
                  <a:pt x="322" y="0"/>
                </a:cubicBezTo>
                <a:cubicBezTo>
                  <a:pt x="322" y="0"/>
                  <a:pt x="322" y="0"/>
                  <a:pt x="322" y="0"/>
                </a:cubicBezTo>
                <a:cubicBezTo>
                  <a:pt x="323" y="0"/>
                  <a:pt x="323" y="0"/>
                  <a:pt x="323" y="0"/>
                </a:cubicBezTo>
                <a:cubicBezTo>
                  <a:pt x="324" y="0"/>
                  <a:pt x="324" y="0"/>
                  <a:pt x="324" y="0"/>
                </a:cubicBezTo>
                <a:cubicBezTo>
                  <a:pt x="325" y="1"/>
                  <a:pt x="325" y="1"/>
                  <a:pt x="325" y="1"/>
                </a:cubicBezTo>
                <a:cubicBezTo>
                  <a:pt x="327" y="1"/>
                  <a:pt x="327" y="1"/>
                  <a:pt x="327" y="1"/>
                </a:cubicBezTo>
                <a:cubicBezTo>
                  <a:pt x="327" y="2"/>
                  <a:pt x="327" y="2"/>
                  <a:pt x="327" y="2"/>
                </a:cubicBezTo>
                <a:cubicBezTo>
                  <a:pt x="328" y="2"/>
                  <a:pt x="328" y="2"/>
                  <a:pt x="328" y="2"/>
                </a:cubicBezTo>
                <a:cubicBezTo>
                  <a:pt x="329" y="2"/>
                  <a:pt x="329" y="2"/>
                  <a:pt x="329" y="2"/>
                </a:cubicBezTo>
                <a:cubicBezTo>
                  <a:pt x="330" y="2"/>
                  <a:pt x="330" y="2"/>
                  <a:pt x="330" y="2"/>
                </a:cubicBezTo>
                <a:cubicBezTo>
                  <a:pt x="330" y="2"/>
                  <a:pt x="330" y="2"/>
                  <a:pt x="330" y="2"/>
                </a:cubicBezTo>
                <a:cubicBezTo>
                  <a:pt x="331" y="3"/>
                  <a:pt x="331" y="3"/>
                  <a:pt x="331" y="3"/>
                </a:cubicBezTo>
                <a:cubicBezTo>
                  <a:pt x="332" y="3"/>
                  <a:pt x="332" y="3"/>
                  <a:pt x="332" y="3"/>
                </a:cubicBezTo>
                <a:cubicBezTo>
                  <a:pt x="332" y="2"/>
                  <a:pt x="332" y="2"/>
                  <a:pt x="332" y="2"/>
                </a:cubicBezTo>
                <a:cubicBezTo>
                  <a:pt x="332" y="2"/>
                  <a:pt x="332" y="2"/>
                  <a:pt x="332" y="2"/>
                </a:cubicBezTo>
                <a:cubicBezTo>
                  <a:pt x="333" y="2"/>
                  <a:pt x="333" y="2"/>
                  <a:pt x="333" y="2"/>
                </a:cubicBezTo>
                <a:cubicBezTo>
                  <a:pt x="334" y="2"/>
                  <a:pt x="334" y="2"/>
                  <a:pt x="334" y="2"/>
                </a:cubicBezTo>
                <a:cubicBezTo>
                  <a:pt x="334" y="2"/>
                  <a:pt x="334" y="2"/>
                  <a:pt x="334" y="2"/>
                </a:cubicBezTo>
                <a:cubicBezTo>
                  <a:pt x="335" y="2"/>
                  <a:pt x="335" y="2"/>
                  <a:pt x="335" y="2"/>
                </a:cubicBezTo>
                <a:cubicBezTo>
                  <a:pt x="336" y="2"/>
                  <a:pt x="336" y="2"/>
                  <a:pt x="336" y="2"/>
                </a:cubicBezTo>
                <a:cubicBezTo>
                  <a:pt x="336" y="3"/>
                  <a:pt x="336" y="3"/>
                  <a:pt x="336" y="3"/>
                </a:cubicBezTo>
                <a:cubicBezTo>
                  <a:pt x="337" y="3"/>
                  <a:pt x="337" y="3"/>
                  <a:pt x="337" y="3"/>
                </a:cubicBezTo>
                <a:cubicBezTo>
                  <a:pt x="337" y="4"/>
                  <a:pt x="337" y="4"/>
                  <a:pt x="337" y="4"/>
                </a:cubicBezTo>
                <a:cubicBezTo>
                  <a:pt x="337" y="5"/>
                  <a:pt x="337" y="5"/>
                  <a:pt x="337" y="5"/>
                </a:cubicBezTo>
                <a:cubicBezTo>
                  <a:pt x="338" y="5"/>
                  <a:pt x="338" y="5"/>
                  <a:pt x="338" y="5"/>
                </a:cubicBezTo>
                <a:cubicBezTo>
                  <a:pt x="338" y="5"/>
                  <a:pt x="338" y="5"/>
                  <a:pt x="338" y="5"/>
                </a:cubicBezTo>
                <a:cubicBezTo>
                  <a:pt x="338" y="5"/>
                  <a:pt x="338" y="5"/>
                  <a:pt x="338" y="5"/>
                </a:cubicBezTo>
                <a:cubicBezTo>
                  <a:pt x="339" y="5"/>
                  <a:pt x="339" y="5"/>
                  <a:pt x="339" y="5"/>
                </a:cubicBezTo>
                <a:cubicBezTo>
                  <a:pt x="340" y="5"/>
                  <a:pt x="340" y="5"/>
                  <a:pt x="340" y="5"/>
                </a:cubicBezTo>
                <a:cubicBezTo>
                  <a:pt x="339" y="6"/>
                  <a:pt x="339" y="6"/>
                  <a:pt x="339" y="6"/>
                </a:cubicBezTo>
                <a:cubicBezTo>
                  <a:pt x="339" y="6"/>
                  <a:pt x="339" y="6"/>
                  <a:pt x="339" y="6"/>
                </a:cubicBezTo>
                <a:cubicBezTo>
                  <a:pt x="341" y="7"/>
                  <a:pt x="341" y="7"/>
                  <a:pt x="341" y="7"/>
                </a:cubicBezTo>
                <a:cubicBezTo>
                  <a:pt x="341" y="7"/>
                  <a:pt x="341" y="7"/>
                  <a:pt x="341" y="7"/>
                </a:cubicBezTo>
                <a:cubicBezTo>
                  <a:pt x="342" y="7"/>
                  <a:pt x="342" y="7"/>
                  <a:pt x="342" y="7"/>
                </a:cubicBezTo>
                <a:cubicBezTo>
                  <a:pt x="342" y="8"/>
                  <a:pt x="342" y="8"/>
                  <a:pt x="342" y="8"/>
                </a:cubicBezTo>
                <a:cubicBezTo>
                  <a:pt x="342" y="8"/>
                  <a:pt x="342" y="8"/>
                  <a:pt x="342" y="8"/>
                </a:cubicBezTo>
                <a:cubicBezTo>
                  <a:pt x="343" y="9"/>
                  <a:pt x="343" y="9"/>
                  <a:pt x="343" y="9"/>
                </a:cubicBezTo>
                <a:cubicBezTo>
                  <a:pt x="343" y="10"/>
                  <a:pt x="343" y="10"/>
                  <a:pt x="343" y="10"/>
                </a:cubicBezTo>
                <a:cubicBezTo>
                  <a:pt x="343" y="10"/>
                  <a:pt x="343" y="10"/>
                  <a:pt x="343" y="10"/>
                </a:cubicBezTo>
                <a:cubicBezTo>
                  <a:pt x="343" y="11"/>
                  <a:pt x="343" y="11"/>
                  <a:pt x="343" y="11"/>
                </a:cubicBezTo>
                <a:cubicBezTo>
                  <a:pt x="343" y="11"/>
                  <a:pt x="343" y="11"/>
                  <a:pt x="343" y="11"/>
                </a:cubicBezTo>
                <a:cubicBezTo>
                  <a:pt x="345" y="11"/>
                  <a:pt x="345" y="11"/>
                  <a:pt x="345" y="11"/>
                </a:cubicBezTo>
                <a:cubicBezTo>
                  <a:pt x="345" y="12"/>
                  <a:pt x="345" y="12"/>
                  <a:pt x="345" y="12"/>
                </a:cubicBezTo>
                <a:cubicBezTo>
                  <a:pt x="345" y="13"/>
                  <a:pt x="345" y="13"/>
                  <a:pt x="345" y="13"/>
                </a:cubicBezTo>
                <a:cubicBezTo>
                  <a:pt x="345" y="14"/>
                  <a:pt x="345" y="14"/>
                  <a:pt x="345" y="14"/>
                </a:cubicBezTo>
                <a:cubicBezTo>
                  <a:pt x="346" y="14"/>
                  <a:pt x="346" y="14"/>
                  <a:pt x="346" y="14"/>
                </a:cubicBezTo>
                <a:cubicBezTo>
                  <a:pt x="347" y="16"/>
                  <a:pt x="347" y="16"/>
                  <a:pt x="347" y="16"/>
                </a:cubicBezTo>
                <a:cubicBezTo>
                  <a:pt x="348" y="17"/>
                  <a:pt x="348" y="17"/>
                  <a:pt x="348" y="17"/>
                </a:cubicBezTo>
                <a:cubicBezTo>
                  <a:pt x="348" y="17"/>
                  <a:pt x="348" y="17"/>
                  <a:pt x="348" y="17"/>
                </a:cubicBezTo>
                <a:cubicBezTo>
                  <a:pt x="348" y="18"/>
                  <a:pt x="348" y="18"/>
                  <a:pt x="348" y="18"/>
                </a:cubicBezTo>
                <a:cubicBezTo>
                  <a:pt x="349" y="19"/>
                  <a:pt x="349" y="19"/>
                  <a:pt x="349" y="19"/>
                </a:cubicBezTo>
                <a:cubicBezTo>
                  <a:pt x="350" y="19"/>
                  <a:pt x="350" y="19"/>
                  <a:pt x="350" y="19"/>
                </a:cubicBezTo>
                <a:cubicBezTo>
                  <a:pt x="350" y="20"/>
                  <a:pt x="350" y="20"/>
                  <a:pt x="350" y="20"/>
                </a:cubicBezTo>
                <a:cubicBezTo>
                  <a:pt x="349" y="21"/>
                  <a:pt x="349" y="21"/>
                  <a:pt x="349" y="21"/>
                </a:cubicBezTo>
                <a:cubicBezTo>
                  <a:pt x="350" y="21"/>
                  <a:pt x="350" y="21"/>
                  <a:pt x="350" y="21"/>
                </a:cubicBezTo>
                <a:cubicBezTo>
                  <a:pt x="350" y="21"/>
                  <a:pt x="350" y="21"/>
                  <a:pt x="350" y="21"/>
                </a:cubicBezTo>
                <a:cubicBezTo>
                  <a:pt x="351" y="22"/>
                  <a:pt x="351" y="22"/>
                  <a:pt x="351" y="22"/>
                </a:cubicBezTo>
                <a:cubicBezTo>
                  <a:pt x="351" y="22"/>
                  <a:pt x="351" y="22"/>
                  <a:pt x="351" y="22"/>
                </a:cubicBezTo>
                <a:cubicBezTo>
                  <a:pt x="352" y="24"/>
                  <a:pt x="352" y="24"/>
                  <a:pt x="352" y="24"/>
                </a:cubicBezTo>
                <a:cubicBezTo>
                  <a:pt x="355" y="25"/>
                  <a:pt x="355" y="25"/>
                  <a:pt x="355" y="25"/>
                </a:cubicBezTo>
                <a:cubicBezTo>
                  <a:pt x="355" y="27"/>
                  <a:pt x="355" y="27"/>
                  <a:pt x="355" y="27"/>
                </a:cubicBezTo>
                <a:cubicBezTo>
                  <a:pt x="355" y="28"/>
                  <a:pt x="355" y="28"/>
                  <a:pt x="355" y="28"/>
                </a:cubicBezTo>
                <a:cubicBezTo>
                  <a:pt x="356" y="28"/>
                  <a:pt x="356" y="28"/>
                  <a:pt x="356" y="28"/>
                </a:cubicBezTo>
                <a:cubicBezTo>
                  <a:pt x="356" y="29"/>
                  <a:pt x="356" y="29"/>
                  <a:pt x="356" y="29"/>
                </a:cubicBezTo>
                <a:cubicBezTo>
                  <a:pt x="356" y="30"/>
                  <a:pt x="356" y="30"/>
                  <a:pt x="356" y="30"/>
                </a:cubicBezTo>
                <a:cubicBezTo>
                  <a:pt x="357" y="30"/>
                  <a:pt x="357" y="30"/>
                  <a:pt x="357" y="30"/>
                </a:cubicBezTo>
                <a:cubicBezTo>
                  <a:pt x="357" y="31"/>
                  <a:pt x="357" y="31"/>
                  <a:pt x="357" y="31"/>
                </a:cubicBezTo>
                <a:cubicBezTo>
                  <a:pt x="357" y="32"/>
                  <a:pt x="357" y="32"/>
                  <a:pt x="357" y="32"/>
                </a:cubicBezTo>
                <a:cubicBezTo>
                  <a:pt x="358" y="33"/>
                  <a:pt x="358" y="33"/>
                  <a:pt x="358" y="33"/>
                </a:cubicBezTo>
                <a:cubicBezTo>
                  <a:pt x="359" y="35"/>
                  <a:pt x="359" y="35"/>
                  <a:pt x="359" y="35"/>
                </a:cubicBezTo>
                <a:cubicBezTo>
                  <a:pt x="360" y="35"/>
                  <a:pt x="360" y="35"/>
                  <a:pt x="360" y="35"/>
                </a:cubicBezTo>
                <a:cubicBezTo>
                  <a:pt x="361" y="36"/>
                  <a:pt x="361" y="36"/>
                  <a:pt x="361" y="36"/>
                </a:cubicBezTo>
                <a:cubicBezTo>
                  <a:pt x="362" y="36"/>
                  <a:pt x="362" y="36"/>
                  <a:pt x="362" y="36"/>
                </a:cubicBezTo>
                <a:cubicBezTo>
                  <a:pt x="362" y="36"/>
                  <a:pt x="362" y="36"/>
                  <a:pt x="362" y="36"/>
                </a:cubicBezTo>
                <a:cubicBezTo>
                  <a:pt x="363" y="36"/>
                  <a:pt x="363" y="36"/>
                  <a:pt x="363" y="36"/>
                </a:cubicBezTo>
                <a:cubicBezTo>
                  <a:pt x="363" y="36"/>
                  <a:pt x="363" y="36"/>
                  <a:pt x="363" y="36"/>
                </a:cubicBezTo>
                <a:cubicBezTo>
                  <a:pt x="365" y="36"/>
                  <a:pt x="365" y="36"/>
                  <a:pt x="365" y="36"/>
                </a:cubicBezTo>
                <a:cubicBezTo>
                  <a:pt x="365" y="35"/>
                  <a:pt x="365" y="35"/>
                  <a:pt x="365" y="35"/>
                </a:cubicBezTo>
                <a:cubicBezTo>
                  <a:pt x="366" y="35"/>
                  <a:pt x="366" y="35"/>
                  <a:pt x="366" y="35"/>
                </a:cubicBezTo>
                <a:cubicBezTo>
                  <a:pt x="366" y="36"/>
                  <a:pt x="366" y="36"/>
                  <a:pt x="366" y="36"/>
                </a:cubicBezTo>
                <a:cubicBezTo>
                  <a:pt x="366" y="36"/>
                  <a:pt x="366" y="36"/>
                  <a:pt x="366" y="36"/>
                </a:cubicBezTo>
                <a:cubicBezTo>
                  <a:pt x="366" y="37"/>
                  <a:pt x="366" y="37"/>
                  <a:pt x="366" y="37"/>
                </a:cubicBezTo>
                <a:cubicBezTo>
                  <a:pt x="368" y="37"/>
                  <a:pt x="368" y="37"/>
                  <a:pt x="368" y="37"/>
                </a:cubicBezTo>
                <a:cubicBezTo>
                  <a:pt x="368" y="37"/>
                  <a:pt x="368" y="37"/>
                  <a:pt x="368" y="37"/>
                </a:cubicBezTo>
                <a:cubicBezTo>
                  <a:pt x="369" y="38"/>
                  <a:pt x="369" y="38"/>
                  <a:pt x="369" y="38"/>
                </a:cubicBezTo>
                <a:cubicBezTo>
                  <a:pt x="369" y="38"/>
                  <a:pt x="369" y="38"/>
                  <a:pt x="369" y="38"/>
                </a:cubicBezTo>
                <a:cubicBezTo>
                  <a:pt x="370" y="38"/>
                  <a:pt x="370" y="38"/>
                  <a:pt x="370" y="38"/>
                </a:cubicBezTo>
                <a:cubicBezTo>
                  <a:pt x="370" y="37"/>
                  <a:pt x="370" y="37"/>
                  <a:pt x="370" y="37"/>
                </a:cubicBezTo>
                <a:cubicBezTo>
                  <a:pt x="371" y="38"/>
                  <a:pt x="371" y="38"/>
                  <a:pt x="371" y="38"/>
                </a:cubicBezTo>
                <a:cubicBezTo>
                  <a:pt x="371" y="37"/>
                  <a:pt x="371" y="37"/>
                  <a:pt x="371" y="37"/>
                </a:cubicBezTo>
                <a:cubicBezTo>
                  <a:pt x="372" y="37"/>
                  <a:pt x="372" y="37"/>
                  <a:pt x="372" y="37"/>
                </a:cubicBezTo>
                <a:cubicBezTo>
                  <a:pt x="372" y="37"/>
                  <a:pt x="372" y="37"/>
                  <a:pt x="372" y="37"/>
                </a:cubicBezTo>
                <a:cubicBezTo>
                  <a:pt x="373" y="38"/>
                  <a:pt x="373" y="38"/>
                  <a:pt x="373" y="38"/>
                </a:cubicBezTo>
                <a:cubicBezTo>
                  <a:pt x="373" y="39"/>
                  <a:pt x="373" y="39"/>
                  <a:pt x="373" y="39"/>
                </a:cubicBezTo>
                <a:cubicBezTo>
                  <a:pt x="374" y="39"/>
                  <a:pt x="374" y="39"/>
                  <a:pt x="374" y="39"/>
                </a:cubicBezTo>
                <a:cubicBezTo>
                  <a:pt x="374" y="39"/>
                  <a:pt x="374" y="39"/>
                  <a:pt x="374" y="39"/>
                </a:cubicBezTo>
                <a:cubicBezTo>
                  <a:pt x="375" y="40"/>
                  <a:pt x="375" y="40"/>
                  <a:pt x="375" y="40"/>
                </a:cubicBezTo>
                <a:cubicBezTo>
                  <a:pt x="375" y="40"/>
                  <a:pt x="375" y="40"/>
                  <a:pt x="375" y="40"/>
                </a:cubicBezTo>
                <a:cubicBezTo>
                  <a:pt x="376" y="40"/>
                  <a:pt x="376" y="40"/>
                  <a:pt x="376" y="40"/>
                </a:cubicBezTo>
                <a:cubicBezTo>
                  <a:pt x="376" y="41"/>
                  <a:pt x="376" y="41"/>
                  <a:pt x="376" y="41"/>
                </a:cubicBezTo>
                <a:cubicBezTo>
                  <a:pt x="377" y="42"/>
                  <a:pt x="377" y="42"/>
                  <a:pt x="377" y="42"/>
                </a:cubicBezTo>
                <a:cubicBezTo>
                  <a:pt x="377" y="42"/>
                  <a:pt x="377" y="42"/>
                  <a:pt x="377" y="42"/>
                </a:cubicBezTo>
                <a:cubicBezTo>
                  <a:pt x="378" y="42"/>
                  <a:pt x="378" y="42"/>
                  <a:pt x="378" y="42"/>
                </a:cubicBezTo>
                <a:cubicBezTo>
                  <a:pt x="379" y="43"/>
                  <a:pt x="379" y="43"/>
                  <a:pt x="379" y="43"/>
                </a:cubicBezTo>
                <a:cubicBezTo>
                  <a:pt x="380" y="43"/>
                  <a:pt x="380" y="43"/>
                  <a:pt x="380" y="43"/>
                </a:cubicBezTo>
                <a:cubicBezTo>
                  <a:pt x="380" y="42"/>
                  <a:pt x="380" y="42"/>
                  <a:pt x="380" y="42"/>
                </a:cubicBezTo>
                <a:cubicBezTo>
                  <a:pt x="381" y="42"/>
                  <a:pt x="381" y="42"/>
                  <a:pt x="381" y="42"/>
                </a:cubicBezTo>
                <a:cubicBezTo>
                  <a:pt x="382" y="42"/>
                  <a:pt x="382" y="42"/>
                  <a:pt x="382" y="42"/>
                </a:cubicBezTo>
                <a:cubicBezTo>
                  <a:pt x="382" y="42"/>
                  <a:pt x="382" y="42"/>
                  <a:pt x="382" y="42"/>
                </a:cubicBezTo>
                <a:cubicBezTo>
                  <a:pt x="383" y="42"/>
                  <a:pt x="383" y="42"/>
                  <a:pt x="383" y="42"/>
                </a:cubicBezTo>
                <a:cubicBezTo>
                  <a:pt x="382" y="43"/>
                  <a:pt x="382" y="43"/>
                  <a:pt x="382" y="43"/>
                </a:cubicBezTo>
                <a:cubicBezTo>
                  <a:pt x="382" y="44"/>
                  <a:pt x="382" y="44"/>
                  <a:pt x="382" y="44"/>
                </a:cubicBezTo>
                <a:cubicBezTo>
                  <a:pt x="382" y="44"/>
                  <a:pt x="382" y="44"/>
                  <a:pt x="382" y="44"/>
                </a:cubicBezTo>
                <a:cubicBezTo>
                  <a:pt x="382" y="45"/>
                  <a:pt x="382" y="45"/>
                  <a:pt x="382" y="45"/>
                </a:cubicBezTo>
                <a:cubicBezTo>
                  <a:pt x="383" y="45"/>
                  <a:pt x="383" y="45"/>
                  <a:pt x="383" y="45"/>
                </a:cubicBezTo>
                <a:cubicBezTo>
                  <a:pt x="383" y="46"/>
                  <a:pt x="383" y="46"/>
                  <a:pt x="383" y="46"/>
                </a:cubicBezTo>
                <a:cubicBezTo>
                  <a:pt x="384" y="47"/>
                  <a:pt x="384" y="47"/>
                  <a:pt x="384" y="47"/>
                </a:cubicBezTo>
                <a:cubicBezTo>
                  <a:pt x="384" y="48"/>
                  <a:pt x="384" y="48"/>
                  <a:pt x="384" y="48"/>
                </a:cubicBezTo>
                <a:cubicBezTo>
                  <a:pt x="383" y="49"/>
                  <a:pt x="383" y="49"/>
                  <a:pt x="383" y="49"/>
                </a:cubicBezTo>
                <a:cubicBezTo>
                  <a:pt x="383" y="50"/>
                  <a:pt x="383" y="50"/>
                  <a:pt x="383" y="50"/>
                </a:cubicBezTo>
                <a:cubicBezTo>
                  <a:pt x="384" y="51"/>
                  <a:pt x="384" y="51"/>
                  <a:pt x="384" y="51"/>
                </a:cubicBezTo>
                <a:cubicBezTo>
                  <a:pt x="385" y="52"/>
                  <a:pt x="385" y="52"/>
                  <a:pt x="385" y="52"/>
                </a:cubicBezTo>
                <a:cubicBezTo>
                  <a:pt x="386" y="53"/>
                  <a:pt x="386" y="53"/>
                  <a:pt x="386" y="53"/>
                </a:cubicBezTo>
                <a:cubicBezTo>
                  <a:pt x="386" y="53"/>
                  <a:pt x="386" y="53"/>
                  <a:pt x="386" y="53"/>
                </a:cubicBezTo>
                <a:cubicBezTo>
                  <a:pt x="387" y="53"/>
                  <a:pt x="387" y="53"/>
                  <a:pt x="387" y="53"/>
                </a:cubicBezTo>
                <a:cubicBezTo>
                  <a:pt x="388" y="53"/>
                  <a:pt x="388" y="53"/>
                  <a:pt x="388" y="53"/>
                </a:cubicBezTo>
                <a:cubicBezTo>
                  <a:pt x="389" y="53"/>
                  <a:pt x="389" y="53"/>
                  <a:pt x="389" y="53"/>
                </a:cubicBezTo>
                <a:cubicBezTo>
                  <a:pt x="390" y="53"/>
                  <a:pt x="390" y="53"/>
                  <a:pt x="390" y="53"/>
                </a:cubicBezTo>
                <a:cubicBezTo>
                  <a:pt x="390" y="54"/>
                  <a:pt x="390" y="54"/>
                  <a:pt x="390" y="54"/>
                </a:cubicBezTo>
                <a:cubicBezTo>
                  <a:pt x="391" y="54"/>
                  <a:pt x="391" y="54"/>
                  <a:pt x="391" y="54"/>
                </a:cubicBezTo>
                <a:cubicBezTo>
                  <a:pt x="391" y="53"/>
                  <a:pt x="391" y="53"/>
                  <a:pt x="391" y="53"/>
                </a:cubicBezTo>
                <a:cubicBezTo>
                  <a:pt x="392" y="54"/>
                  <a:pt x="392" y="54"/>
                  <a:pt x="392" y="54"/>
                </a:cubicBezTo>
                <a:cubicBezTo>
                  <a:pt x="393" y="53"/>
                  <a:pt x="393" y="53"/>
                  <a:pt x="393" y="53"/>
                </a:cubicBezTo>
                <a:cubicBezTo>
                  <a:pt x="394" y="53"/>
                  <a:pt x="394" y="53"/>
                  <a:pt x="394" y="53"/>
                </a:cubicBezTo>
                <a:cubicBezTo>
                  <a:pt x="395" y="52"/>
                  <a:pt x="395" y="52"/>
                  <a:pt x="395" y="52"/>
                </a:cubicBezTo>
                <a:cubicBezTo>
                  <a:pt x="396" y="52"/>
                  <a:pt x="396" y="52"/>
                  <a:pt x="396" y="52"/>
                </a:cubicBezTo>
                <a:cubicBezTo>
                  <a:pt x="396" y="51"/>
                  <a:pt x="396" y="51"/>
                  <a:pt x="396" y="51"/>
                </a:cubicBezTo>
                <a:cubicBezTo>
                  <a:pt x="396" y="50"/>
                  <a:pt x="396" y="50"/>
                  <a:pt x="396" y="50"/>
                </a:cubicBezTo>
                <a:cubicBezTo>
                  <a:pt x="397" y="50"/>
                  <a:pt x="397" y="50"/>
                  <a:pt x="397" y="50"/>
                </a:cubicBezTo>
                <a:cubicBezTo>
                  <a:pt x="397" y="49"/>
                  <a:pt x="397" y="49"/>
                  <a:pt x="397" y="49"/>
                </a:cubicBezTo>
                <a:cubicBezTo>
                  <a:pt x="397" y="48"/>
                  <a:pt x="397" y="48"/>
                  <a:pt x="397" y="48"/>
                </a:cubicBezTo>
                <a:cubicBezTo>
                  <a:pt x="398" y="48"/>
                  <a:pt x="398" y="48"/>
                  <a:pt x="398" y="48"/>
                </a:cubicBezTo>
                <a:cubicBezTo>
                  <a:pt x="399" y="48"/>
                  <a:pt x="399" y="48"/>
                  <a:pt x="399" y="48"/>
                </a:cubicBezTo>
                <a:cubicBezTo>
                  <a:pt x="400" y="47"/>
                  <a:pt x="400" y="47"/>
                  <a:pt x="400" y="47"/>
                </a:cubicBezTo>
                <a:cubicBezTo>
                  <a:pt x="400" y="46"/>
                  <a:pt x="400" y="46"/>
                  <a:pt x="400" y="46"/>
                </a:cubicBezTo>
                <a:cubicBezTo>
                  <a:pt x="401" y="46"/>
                  <a:pt x="401" y="46"/>
                  <a:pt x="401" y="46"/>
                </a:cubicBezTo>
                <a:cubicBezTo>
                  <a:pt x="401" y="45"/>
                  <a:pt x="401" y="45"/>
                  <a:pt x="401" y="45"/>
                </a:cubicBezTo>
                <a:cubicBezTo>
                  <a:pt x="402" y="45"/>
                  <a:pt x="402" y="45"/>
                  <a:pt x="402" y="45"/>
                </a:cubicBezTo>
                <a:cubicBezTo>
                  <a:pt x="403" y="44"/>
                  <a:pt x="403" y="44"/>
                  <a:pt x="403" y="44"/>
                </a:cubicBezTo>
                <a:cubicBezTo>
                  <a:pt x="403" y="44"/>
                  <a:pt x="403" y="44"/>
                  <a:pt x="403" y="44"/>
                </a:cubicBezTo>
                <a:cubicBezTo>
                  <a:pt x="405" y="44"/>
                  <a:pt x="405" y="44"/>
                  <a:pt x="405" y="44"/>
                </a:cubicBezTo>
                <a:cubicBezTo>
                  <a:pt x="405" y="45"/>
                  <a:pt x="405" y="45"/>
                  <a:pt x="405" y="45"/>
                </a:cubicBezTo>
                <a:cubicBezTo>
                  <a:pt x="406" y="45"/>
                  <a:pt x="406" y="45"/>
                  <a:pt x="406" y="45"/>
                </a:cubicBezTo>
                <a:cubicBezTo>
                  <a:pt x="407" y="46"/>
                  <a:pt x="407" y="46"/>
                  <a:pt x="407" y="46"/>
                </a:cubicBezTo>
                <a:cubicBezTo>
                  <a:pt x="407" y="47"/>
                  <a:pt x="407" y="47"/>
                  <a:pt x="407" y="47"/>
                </a:cubicBezTo>
                <a:cubicBezTo>
                  <a:pt x="407" y="47"/>
                  <a:pt x="407" y="47"/>
                  <a:pt x="407" y="47"/>
                </a:cubicBezTo>
                <a:cubicBezTo>
                  <a:pt x="407" y="48"/>
                  <a:pt x="407" y="48"/>
                  <a:pt x="407" y="48"/>
                </a:cubicBezTo>
                <a:cubicBezTo>
                  <a:pt x="408" y="49"/>
                  <a:pt x="408" y="49"/>
                  <a:pt x="408" y="49"/>
                </a:cubicBezTo>
                <a:cubicBezTo>
                  <a:pt x="408" y="50"/>
                  <a:pt x="408" y="50"/>
                  <a:pt x="408" y="50"/>
                </a:cubicBezTo>
                <a:cubicBezTo>
                  <a:pt x="409" y="51"/>
                  <a:pt x="409" y="51"/>
                  <a:pt x="409" y="51"/>
                </a:cubicBezTo>
                <a:cubicBezTo>
                  <a:pt x="410" y="51"/>
                  <a:pt x="410" y="51"/>
                  <a:pt x="410" y="51"/>
                </a:cubicBezTo>
                <a:cubicBezTo>
                  <a:pt x="409" y="52"/>
                  <a:pt x="409" y="52"/>
                  <a:pt x="409" y="52"/>
                </a:cubicBezTo>
                <a:cubicBezTo>
                  <a:pt x="409" y="53"/>
                  <a:pt x="409" y="53"/>
                  <a:pt x="409" y="53"/>
                </a:cubicBezTo>
                <a:cubicBezTo>
                  <a:pt x="409" y="54"/>
                  <a:pt x="409" y="54"/>
                  <a:pt x="409" y="54"/>
                </a:cubicBezTo>
                <a:cubicBezTo>
                  <a:pt x="408" y="54"/>
                  <a:pt x="408" y="54"/>
                  <a:pt x="408" y="54"/>
                </a:cubicBezTo>
                <a:cubicBezTo>
                  <a:pt x="407" y="55"/>
                  <a:pt x="407" y="55"/>
                  <a:pt x="407" y="55"/>
                </a:cubicBezTo>
                <a:cubicBezTo>
                  <a:pt x="407" y="56"/>
                  <a:pt x="407" y="56"/>
                  <a:pt x="407" y="56"/>
                </a:cubicBezTo>
                <a:cubicBezTo>
                  <a:pt x="408" y="56"/>
                  <a:pt x="408" y="56"/>
                  <a:pt x="408" y="56"/>
                </a:cubicBezTo>
                <a:cubicBezTo>
                  <a:pt x="408" y="57"/>
                  <a:pt x="408" y="57"/>
                  <a:pt x="408" y="57"/>
                </a:cubicBezTo>
                <a:cubicBezTo>
                  <a:pt x="408" y="58"/>
                  <a:pt x="408" y="58"/>
                  <a:pt x="408" y="58"/>
                </a:cubicBezTo>
                <a:cubicBezTo>
                  <a:pt x="408" y="59"/>
                  <a:pt x="408" y="59"/>
                  <a:pt x="408" y="59"/>
                </a:cubicBezTo>
                <a:cubicBezTo>
                  <a:pt x="408" y="59"/>
                  <a:pt x="408" y="59"/>
                  <a:pt x="408" y="59"/>
                </a:cubicBezTo>
                <a:cubicBezTo>
                  <a:pt x="408" y="60"/>
                  <a:pt x="408" y="60"/>
                  <a:pt x="408" y="60"/>
                </a:cubicBezTo>
                <a:cubicBezTo>
                  <a:pt x="408" y="60"/>
                  <a:pt x="408" y="60"/>
                  <a:pt x="408" y="60"/>
                </a:cubicBezTo>
                <a:cubicBezTo>
                  <a:pt x="409" y="61"/>
                  <a:pt x="409" y="61"/>
                  <a:pt x="409" y="61"/>
                </a:cubicBezTo>
                <a:cubicBezTo>
                  <a:pt x="409" y="61"/>
                  <a:pt x="409" y="61"/>
                  <a:pt x="409" y="61"/>
                </a:cubicBezTo>
                <a:cubicBezTo>
                  <a:pt x="408" y="62"/>
                  <a:pt x="408" y="62"/>
                  <a:pt x="408" y="62"/>
                </a:cubicBezTo>
                <a:cubicBezTo>
                  <a:pt x="408" y="62"/>
                  <a:pt x="408" y="62"/>
                  <a:pt x="408" y="62"/>
                </a:cubicBezTo>
                <a:cubicBezTo>
                  <a:pt x="408" y="63"/>
                  <a:pt x="408" y="63"/>
                  <a:pt x="408" y="63"/>
                </a:cubicBezTo>
                <a:cubicBezTo>
                  <a:pt x="409" y="65"/>
                  <a:pt x="409" y="65"/>
                  <a:pt x="409" y="65"/>
                </a:cubicBezTo>
                <a:cubicBezTo>
                  <a:pt x="409" y="65"/>
                  <a:pt x="409" y="65"/>
                  <a:pt x="409" y="65"/>
                </a:cubicBezTo>
                <a:cubicBezTo>
                  <a:pt x="409" y="66"/>
                  <a:pt x="409" y="66"/>
                  <a:pt x="409" y="66"/>
                </a:cubicBezTo>
                <a:cubicBezTo>
                  <a:pt x="408" y="66"/>
                  <a:pt x="408" y="66"/>
                  <a:pt x="408" y="66"/>
                </a:cubicBezTo>
                <a:cubicBezTo>
                  <a:pt x="408" y="67"/>
                  <a:pt x="408" y="67"/>
                  <a:pt x="408" y="67"/>
                </a:cubicBezTo>
                <a:cubicBezTo>
                  <a:pt x="408" y="68"/>
                  <a:pt x="408" y="68"/>
                  <a:pt x="408" y="68"/>
                </a:cubicBezTo>
                <a:cubicBezTo>
                  <a:pt x="408" y="68"/>
                  <a:pt x="408" y="68"/>
                  <a:pt x="408" y="68"/>
                </a:cubicBezTo>
                <a:cubicBezTo>
                  <a:pt x="409" y="69"/>
                  <a:pt x="409" y="69"/>
                  <a:pt x="409" y="69"/>
                </a:cubicBezTo>
                <a:cubicBezTo>
                  <a:pt x="408" y="69"/>
                  <a:pt x="408" y="69"/>
                  <a:pt x="408" y="69"/>
                </a:cubicBezTo>
                <a:cubicBezTo>
                  <a:pt x="408" y="70"/>
                  <a:pt x="408" y="70"/>
                  <a:pt x="408" y="70"/>
                </a:cubicBezTo>
                <a:cubicBezTo>
                  <a:pt x="408" y="70"/>
                  <a:pt x="408" y="70"/>
                  <a:pt x="408" y="70"/>
                </a:cubicBezTo>
                <a:cubicBezTo>
                  <a:pt x="408" y="71"/>
                  <a:pt x="408" y="71"/>
                  <a:pt x="408" y="71"/>
                </a:cubicBezTo>
                <a:cubicBezTo>
                  <a:pt x="408" y="72"/>
                  <a:pt x="408" y="72"/>
                  <a:pt x="408" y="72"/>
                </a:cubicBezTo>
                <a:cubicBezTo>
                  <a:pt x="407" y="73"/>
                  <a:pt x="407" y="73"/>
                  <a:pt x="407" y="73"/>
                </a:cubicBezTo>
                <a:cubicBezTo>
                  <a:pt x="408" y="74"/>
                  <a:pt x="408" y="74"/>
                  <a:pt x="408" y="74"/>
                </a:cubicBezTo>
                <a:cubicBezTo>
                  <a:pt x="408" y="74"/>
                  <a:pt x="408" y="74"/>
                  <a:pt x="408" y="74"/>
                </a:cubicBezTo>
                <a:cubicBezTo>
                  <a:pt x="408" y="75"/>
                  <a:pt x="408" y="75"/>
                  <a:pt x="408" y="75"/>
                </a:cubicBezTo>
                <a:cubicBezTo>
                  <a:pt x="408" y="76"/>
                  <a:pt x="408" y="76"/>
                  <a:pt x="408" y="76"/>
                </a:cubicBezTo>
                <a:cubicBezTo>
                  <a:pt x="408" y="76"/>
                  <a:pt x="408" y="76"/>
                  <a:pt x="408" y="76"/>
                </a:cubicBezTo>
                <a:cubicBezTo>
                  <a:pt x="408" y="77"/>
                  <a:pt x="408" y="77"/>
                  <a:pt x="408" y="77"/>
                </a:cubicBezTo>
                <a:cubicBezTo>
                  <a:pt x="408" y="78"/>
                  <a:pt x="408" y="78"/>
                  <a:pt x="408" y="78"/>
                </a:cubicBezTo>
                <a:cubicBezTo>
                  <a:pt x="407" y="78"/>
                  <a:pt x="407" y="78"/>
                  <a:pt x="407" y="78"/>
                </a:cubicBezTo>
                <a:cubicBezTo>
                  <a:pt x="406" y="78"/>
                  <a:pt x="406" y="78"/>
                  <a:pt x="406" y="78"/>
                </a:cubicBezTo>
                <a:cubicBezTo>
                  <a:pt x="402" y="77"/>
                  <a:pt x="402" y="77"/>
                  <a:pt x="402" y="77"/>
                </a:cubicBezTo>
                <a:cubicBezTo>
                  <a:pt x="402" y="77"/>
                  <a:pt x="402" y="77"/>
                  <a:pt x="402" y="77"/>
                </a:cubicBezTo>
                <a:cubicBezTo>
                  <a:pt x="401" y="76"/>
                  <a:pt x="401" y="76"/>
                  <a:pt x="401" y="76"/>
                </a:cubicBezTo>
                <a:cubicBezTo>
                  <a:pt x="400" y="76"/>
                  <a:pt x="400" y="76"/>
                  <a:pt x="400" y="76"/>
                </a:cubicBezTo>
                <a:cubicBezTo>
                  <a:pt x="399" y="78"/>
                  <a:pt x="399" y="78"/>
                  <a:pt x="399" y="78"/>
                </a:cubicBezTo>
                <a:cubicBezTo>
                  <a:pt x="399" y="79"/>
                  <a:pt x="399" y="79"/>
                  <a:pt x="399" y="79"/>
                </a:cubicBezTo>
                <a:cubicBezTo>
                  <a:pt x="398" y="80"/>
                  <a:pt x="398" y="80"/>
                  <a:pt x="398" y="80"/>
                </a:cubicBezTo>
                <a:cubicBezTo>
                  <a:pt x="397" y="80"/>
                  <a:pt x="397" y="80"/>
                  <a:pt x="397" y="80"/>
                </a:cubicBezTo>
                <a:cubicBezTo>
                  <a:pt x="397" y="80"/>
                  <a:pt x="397" y="80"/>
                  <a:pt x="397" y="80"/>
                </a:cubicBezTo>
                <a:cubicBezTo>
                  <a:pt x="396" y="81"/>
                  <a:pt x="396" y="81"/>
                  <a:pt x="396" y="81"/>
                </a:cubicBezTo>
                <a:cubicBezTo>
                  <a:pt x="397" y="82"/>
                  <a:pt x="397" y="82"/>
                  <a:pt x="397" y="82"/>
                </a:cubicBezTo>
                <a:cubicBezTo>
                  <a:pt x="398" y="84"/>
                  <a:pt x="398" y="84"/>
                  <a:pt x="398" y="84"/>
                </a:cubicBezTo>
                <a:cubicBezTo>
                  <a:pt x="399" y="85"/>
                  <a:pt x="399" y="85"/>
                  <a:pt x="399" y="85"/>
                </a:cubicBezTo>
                <a:cubicBezTo>
                  <a:pt x="399" y="86"/>
                  <a:pt x="399" y="86"/>
                  <a:pt x="399" y="86"/>
                </a:cubicBezTo>
                <a:cubicBezTo>
                  <a:pt x="400" y="87"/>
                  <a:pt x="400" y="87"/>
                  <a:pt x="400" y="87"/>
                </a:cubicBezTo>
                <a:cubicBezTo>
                  <a:pt x="400" y="88"/>
                  <a:pt x="400" y="88"/>
                  <a:pt x="400" y="88"/>
                </a:cubicBezTo>
                <a:cubicBezTo>
                  <a:pt x="400" y="90"/>
                  <a:pt x="400" y="90"/>
                  <a:pt x="400" y="90"/>
                </a:cubicBezTo>
                <a:cubicBezTo>
                  <a:pt x="400" y="91"/>
                  <a:pt x="400" y="91"/>
                  <a:pt x="400" y="91"/>
                </a:cubicBezTo>
                <a:cubicBezTo>
                  <a:pt x="400" y="93"/>
                  <a:pt x="400" y="93"/>
                  <a:pt x="400" y="93"/>
                </a:cubicBezTo>
                <a:cubicBezTo>
                  <a:pt x="401" y="93"/>
                  <a:pt x="401" y="93"/>
                  <a:pt x="401" y="93"/>
                </a:cubicBezTo>
                <a:cubicBezTo>
                  <a:pt x="401" y="95"/>
                  <a:pt x="401" y="95"/>
                  <a:pt x="401" y="95"/>
                </a:cubicBezTo>
                <a:cubicBezTo>
                  <a:pt x="401" y="96"/>
                  <a:pt x="401" y="96"/>
                  <a:pt x="401" y="96"/>
                </a:cubicBezTo>
                <a:cubicBezTo>
                  <a:pt x="401" y="96"/>
                  <a:pt x="401" y="96"/>
                  <a:pt x="401" y="96"/>
                </a:cubicBezTo>
                <a:cubicBezTo>
                  <a:pt x="400" y="97"/>
                  <a:pt x="400" y="97"/>
                  <a:pt x="400" y="97"/>
                </a:cubicBezTo>
                <a:cubicBezTo>
                  <a:pt x="401" y="98"/>
                  <a:pt x="401" y="98"/>
                  <a:pt x="401" y="98"/>
                </a:cubicBezTo>
                <a:cubicBezTo>
                  <a:pt x="401" y="99"/>
                  <a:pt x="401" y="99"/>
                  <a:pt x="401" y="99"/>
                </a:cubicBezTo>
                <a:cubicBezTo>
                  <a:pt x="400" y="99"/>
                  <a:pt x="400" y="99"/>
                  <a:pt x="400" y="99"/>
                </a:cubicBezTo>
                <a:cubicBezTo>
                  <a:pt x="399" y="99"/>
                  <a:pt x="399" y="99"/>
                  <a:pt x="399" y="99"/>
                </a:cubicBezTo>
                <a:cubicBezTo>
                  <a:pt x="398" y="99"/>
                  <a:pt x="398" y="99"/>
                  <a:pt x="398" y="99"/>
                </a:cubicBezTo>
                <a:cubicBezTo>
                  <a:pt x="398" y="100"/>
                  <a:pt x="398" y="100"/>
                  <a:pt x="398" y="100"/>
                </a:cubicBezTo>
                <a:cubicBezTo>
                  <a:pt x="398" y="101"/>
                  <a:pt x="398" y="101"/>
                  <a:pt x="398" y="101"/>
                </a:cubicBezTo>
                <a:cubicBezTo>
                  <a:pt x="399" y="101"/>
                  <a:pt x="399" y="101"/>
                  <a:pt x="399" y="101"/>
                </a:cubicBezTo>
                <a:cubicBezTo>
                  <a:pt x="399" y="102"/>
                  <a:pt x="399" y="102"/>
                  <a:pt x="399" y="102"/>
                </a:cubicBezTo>
                <a:cubicBezTo>
                  <a:pt x="398" y="103"/>
                  <a:pt x="398" y="103"/>
                  <a:pt x="398" y="103"/>
                </a:cubicBezTo>
                <a:cubicBezTo>
                  <a:pt x="393" y="107"/>
                  <a:pt x="393" y="107"/>
                  <a:pt x="393" y="107"/>
                </a:cubicBezTo>
                <a:cubicBezTo>
                  <a:pt x="391" y="116"/>
                  <a:pt x="391" y="116"/>
                  <a:pt x="391" y="116"/>
                </a:cubicBezTo>
                <a:cubicBezTo>
                  <a:pt x="373" y="129"/>
                  <a:pt x="373" y="129"/>
                  <a:pt x="373" y="129"/>
                </a:cubicBezTo>
                <a:cubicBezTo>
                  <a:pt x="370" y="131"/>
                  <a:pt x="370" y="131"/>
                  <a:pt x="370" y="131"/>
                </a:cubicBezTo>
                <a:cubicBezTo>
                  <a:pt x="370" y="131"/>
                  <a:pt x="370" y="131"/>
                  <a:pt x="370" y="131"/>
                </a:cubicBezTo>
                <a:cubicBezTo>
                  <a:pt x="369" y="130"/>
                  <a:pt x="369" y="130"/>
                  <a:pt x="369" y="130"/>
                </a:cubicBezTo>
                <a:cubicBezTo>
                  <a:pt x="367" y="132"/>
                  <a:pt x="367" y="132"/>
                  <a:pt x="367" y="132"/>
                </a:cubicBezTo>
                <a:cubicBezTo>
                  <a:pt x="366" y="132"/>
                  <a:pt x="366" y="132"/>
                  <a:pt x="366" y="132"/>
                </a:cubicBezTo>
                <a:cubicBezTo>
                  <a:pt x="365" y="132"/>
                  <a:pt x="365" y="132"/>
                  <a:pt x="365" y="132"/>
                </a:cubicBezTo>
                <a:cubicBezTo>
                  <a:pt x="365" y="131"/>
                  <a:pt x="365" y="131"/>
                  <a:pt x="365" y="131"/>
                </a:cubicBezTo>
                <a:cubicBezTo>
                  <a:pt x="363" y="133"/>
                  <a:pt x="363" y="133"/>
                  <a:pt x="363" y="133"/>
                </a:cubicBezTo>
                <a:cubicBezTo>
                  <a:pt x="362" y="133"/>
                  <a:pt x="362" y="133"/>
                  <a:pt x="362" y="133"/>
                </a:cubicBezTo>
                <a:cubicBezTo>
                  <a:pt x="361" y="134"/>
                  <a:pt x="361" y="134"/>
                  <a:pt x="361" y="134"/>
                </a:cubicBezTo>
                <a:cubicBezTo>
                  <a:pt x="361" y="134"/>
                  <a:pt x="361" y="134"/>
                  <a:pt x="361" y="134"/>
                </a:cubicBezTo>
                <a:cubicBezTo>
                  <a:pt x="358" y="136"/>
                  <a:pt x="358" y="136"/>
                  <a:pt x="358" y="136"/>
                </a:cubicBezTo>
                <a:cubicBezTo>
                  <a:pt x="356" y="137"/>
                  <a:pt x="356" y="137"/>
                  <a:pt x="356" y="137"/>
                </a:cubicBezTo>
                <a:cubicBezTo>
                  <a:pt x="357" y="138"/>
                  <a:pt x="357" y="138"/>
                  <a:pt x="357" y="138"/>
                </a:cubicBezTo>
                <a:cubicBezTo>
                  <a:pt x="357" y="139"/>
                  <a:pt x="357" y="139"/>
                  <a:pt x="357" y="139"/>
                </a:cubicBezTo>
                <a:cubicBezTo>
                  <a:pt x="355" y="140"/>
                  <a:pt x="355" y="140"/>
                  <a:pt x="355" y="140"/>
                </a:cubicBezTo>
                <a:cubicBezTo>
                  <a:pt x="354" y="141"/>
                  <a:pt x="354" y="141"/>
                  <a:pt x="354" y="141"/>
                </a:cubicBezTo>
                <a:cubicBezTo>
                  <a:pt x="353" y="141"/>
                  <a:pt x="353" y="141"/>
                  <a:pt x="353" y="141"/>
                </a:cubicBezTo>
                <a:cubicBezTo>
                  <a:pt x="352" y="142"/>
                  <a:pt x="352" y="142"/>
                  <a:pt x="352" y="142"/>
                </a:cubicBezTo>
                <a:cubicBezTo>
                  <a:pt x="352" y="142"/>
                  <a:pt x="352" y="142"/>
                  <a:pt x="352" y="142"/>
                </a:cubicBezTo>
                <a:cubicBezTo>
                  <a:pt x="351" y="141"/>
                  <a:pt x="351" y="141"/>
                  <a:pt x="351" y="141"/>
                </a:cubicBezTo>
                <a:cubicBezTo>
                  <a:pt x="350" y="141"/>
                  <a:pt x="350" y="141"/>
                  <a:pt x="350" y="141"/>
                </a:cubicBezTo>
                <a:cubicBezTo>
                  <a:pt x="351" y="140"/>
                  <a:pt x="351" y="140"/>
                  <a:pt x="351" y="140"/>
                </a:cubicBezTo>
                <a:cubicBezTo>
                  <a:pt x="352" y="140"/>
                  <a:pt x="352" y="140"/>
                  <a:pt x="352" y="140"/>
                </a:cubicBezTo>
                <a:cubicBezTo>
                  <a:pt x="353" y="139"/>
                  <a:pt x="353" y="139"/>
                  <a:pt x="353" y="139"/>
                </a:cubicBezTo>
                <a:cubicBezTo>
                  <a:pt x="354" y="139"/>
                  <a:pt x="354" y="139"/>
                  <a:pt x="354" y="139"/>
                </a:cubicBezTo>
                <a:cubicBezTo>
                  <a:pt x="355" y="138"/>
                  <a:pt x="355" y="138"/>
                  <a:pt x="355" y="138"/>
                </a:cubicBezTo>
                <a:cubicBezTo>
                  <a:pt x="355" y="138"/>
                  <a:pt x="355" y="138"/>
                  <a:pt x="355" y="138"/>
                </a:cubicBezTo>
                <a:cubicBezTo>
                  <a:pt x="354" y="138"/>
                  <a:pt x="354" y="138"/>
                  <a:pt x="354" y="138"/>
                </a:cubicBezTo>
                <a:cubicBezTo>
                  <a:pt x="354" y="137"/>
                  <a:pt x="354" y="137"/>
                  <a:pt x="354" y="137"/>
                </a:cubicBezTo>
                <a:cubicBezTo>
                  <a:pt x="355" y="136"/>
                  <a:pt x="355" y="136"/>
                  <a:pt x="355" y="136"/>
                </a:cubicBezTo>
                <a:cubicBezTo>
                  <a:pt x="356" y="135"/>
                  <a:pt x="356" y="135"/>
                  <a:pt x="356" y="135"/>
                </a:cubicBezTo>
                <a:cubicBezTo>
                  <a:pt x="354" y="136"/>
                  <a:pt x="354" y="136"/>
                  <a:pt x="354" y="136"/>
                </a:cubicBezTo>
                <a:cubicBezTo>
                  <a:pt x="353" y="137"/>
                  <a:pt x="353" y="137"/>
                  <a:pt x="353" y="137"/>
                </a:cubicBezTo>
                <a:cubicBezTo>
                  <a:pt x="352" y="136"/>
                  <a:pt x="352" y="136"/>
                  <a:pt x="352" y="136"/>
                </a:cubicBezTo>
                <a:cubicBezTo>
                  <a:pt x="352" y="135"/>
                  <a:pt x="352" y="135"/>
                  <a:pt x="352" y="135"/>
                </a:cubicBezTo>
                <a:cubicBezTo>
                  <a:pt x="353" y="135"/>
                  <a:pt x="353" y="135"/>
                  <a:pt x="353" y="135"/>
                </a:cubicBezTo>
                <a:cubicBezTo>
                  <a:pt x="353" y="134"/>
                  <a:pt x="353" y="134"/>
                  <a:pt x="353" y="134"/>
                </a:cubicBezTo>
                <a:cubicBezTo>
                  <a:pt x="351" y="133"/>
                  <a:pt x="351" y="133"/>
                  <a:pt x="351" y="133"/>
                </a:cubicBezTo>
                <a:cubicBezTo>
                  <a:pt x="352" y="131"/>
                  <a:pt x="352" y="131"/>
                  <a:pt x="352" y="131"/>
                </a:cubicBezTo>
                <a:cubicBezTo>
                  <a:pt x="352" y="131"/>
                  <a:pt x="352" y="131"/>
                  <a:pt x="352" y="131"/>
                </a:cubicBezTo>
                <a:cubicBezTo>
                  <a:pt x="353" y="131"/>
                  <a:pt x="353" y="131"/>
                  <a:pt x="353" y="131"/>
                </a:cubicBezTo>
                <a:cubicBezTo>
                  <a:pt x="353" y="129"/>
                  <a:pt x="353" y="129"/>
                  <a:pt x="353" y="129"/>
                </a:cubicBezTo>
                <a:cubicBezTo>
                  <a:pt x="354" y="127"/>
                  <a:pt x="354" y="127"/>
                  <a:pt x="354" y="127"/>
                </a:cubicBezTo>
                <a:cubicBezTo>
                  <a:pt x="354" y="126"/>
                  <a:pt x="354" y="126"/>
                  <a:pt x="354" y="126"/>
                </a:cubicBezTo>
                <a:cubicBezTo>
                  <a:pt x="355" y="126"/>
                  <a:pt x="355" y="126"/>
                  <a:pt x="355" y="126"/>
                </a:cubicBezTo>
                <a:cubicBezTo>
                  <a:pt x="355" y="125"/>
                  <a:pt x="355" y="125"/>
                  <a:pt x="355" y="125"/>
                </a:cubicBezTo>
                <a:cubicBezTo>
                  <a:pt x="352" y="123"/>
                  <a:pt x="352" y="123"/>
                  <a:pt x="352" y="123"/>
                </a:cubicBezTo>
                <a:cubicBezTo>
                  <a:pt x="350" y="121"/>
                  <a:pt x="350" y="121"/>
                  <a:pt x="350" y="121"/>
                </a:cubicBezTo>
                <a:cubicBezTo>
                  <a:pt x="350" y="122"/>
                  <a:pt x="350" y="122"/>
                  <a:pt x="350" y="122"/>
                </a:cubicBezTo>
                <a:cubicBezTo>
                  <a:pt x="349" y="122"/>
                  <a:pt x="349" y="122"/>
                  <a:pt x="349" y="122"/>
                </a:cubicBezTo>
                <a:cubicBezTo>
                  <a:pt x="348" y="122"/>
                  <a:pt x="348" y="122"/>
                  <a:pt x="348" y="122"/>
                </a:cubicBezTo>
                <a:cubicBezTo>
                  <a:pt x="347" y="122"/>
                  <a:pt x="347" y="122"/>
                  <a:pt x="347" y="122"/>
                </a:cubicBezTo>
                <a:cubicBezTo>
                  <a:pt x="346" y="123"/>
                  <a:pt x="346" y="123"/>
                  <a:pt x="346" y="123"/>
                </a:cubicBezTo>
                <a:cubicBezTo>
                  <a:pt x="345" y="124"/>
                  <a:pt x="345" y="124"/>
                  <a:pt x="345" y="124"/>
                </a:cubicBezTo>
                <a:cubicBezTo>
                  <a:pt x="345" y="125"/>
                  <a:pt x="345" y="125"/>
                  <a:pt x="345" y="125"/>
                </a:cubicBezTo>
                <a:cubicBezTo>
                  <a:pt x="344" y="126"/>
                  <a:pt x="344" y="126"/>
                  <a:pt x="344" y="126"/>
                </a:cubicBezTo>
                <a:cubicBezTo>
                  <a:pt x="344" y="129"/>
                  <a:pt x="344" y="129"/>
                  <a:pt x="344" y="129"/>
                </a:cubicBezTo>
                <a:cubicBezTo>
                  <a:pt x="343" y="129"/>
                  <a:pt x="343" y="129"/>
                  <a:pt x="343" y="129"/>
                </a:cubicBezTo>
                <a:cubicBezTo>
                  <a:pt x="342" y="131"/>
                  <a:pt x="342" y="131"/>
                  <a:pt x="342" y="131"/>
                </a:cubicBezTo>
                <a:cubicBezTo>
                  <a:pt x="341" y="131"/>
                  <a:pt x="341" y="131"/>
                  <a:pt x="341" y="131"/>
                </a:cubicBezTo>
                <a:cubicBezTo>
                  <a:pt x="339" y="132"/>
                  <a:pt x="339" y="132"/>
                  <a:pt x="339" y="132"/>
                </a:cubicBezTo>
                <a:cubicBezTo>
                  <a:pt x="338" y="135"/>
                  <a:pt x="338" y="135"/>
                  <a:pt x="338" y="135"/>
                </a:cubicBezTo>
                <a:cubicBezTo>
                  <a:pt x="337" y="136"/>
                  <a:pt x="337" y="136"/>
                  <a:pt x="337" y="136"/>
                </a:cubicBezTo>
                <a:cubicBezTo>
                  <a:pt x="338" y="136"/>
                  <a:pt x="338" y="136"/>
                  <a:pt x="338" y="136"/>
                </a:cubicBezTo>
                <a:cubicBezTo>
                  <a:pt x="338" y="138"/>
                  <a:pt x="338" y="138"/>
                  <a:pt x="338" y="138"/>
                </a:cubicBezTo>
                <a:cubicBezTo>
                  <a:pt x="337" y="138"/>
                  <a:pt x="337" y="138"/>
                  <a:pt x="337" y="138"/>
                </a:cubicBezTo>
                <a:cubicBezTo>
                  <a:pt x="338" y="138"/>
                  <a:pt x="338" y="138"/>
                  <a:pt x="338" y="138"/>
                </a:cubicBezTo>
                <a:cubicBezTo>
                  <a:pt x="337" y="140"/>
                  <a:pt x="337" y="140"/>
                  <a:pt x="337" y="140"/>
                </a:cubicBezTo>
                <a:cubicBezTo>
                  <a:pt x="335" y="140"/>
                  <a:pt x="335" y="140"/>
                  <a:pt x="335" y="140"/>
                </a:cubicBezTo>
                <a:cubicBezTo>
                  <a:pt x="333" y="140"/>
                  <a:pt x="333" y="140"/>
                  <a:pt x="333" y="140"/>
                </a:cubicBezTo>
                <a:cubicBezTo>
                  <a:pt x="331" y="139"/>
                  <a:pt x="331" y="139"/>
                  <a:pt x="331" y="139"/>
                </a:cubicBezTo>
                <a:cubicBezTo>
                  <a:pt x="331" y="140"/>
                  <a:pt x="331" y="140"/>
                  <a:pt x="331" y="140"/>
                </a:cubicBezTo>
                <a:cubicBezTo>
                  <a:pt x="330" y="140"/>
                  <a:pt x="330" y="140"/>
                  <a:pt x="330" y="140"/>
                </a:cubicBezTo>
                <a:cubicBezTo>
                  <a:pt x="330" y="142"/>
                  <a:pt x="330" y="142"/>
                  <a:pt x="330" y="142"/>
                </a:cubicBezTo>
                <a:cubicBezTo>
                  <a:pt x="330" y="142"/>
                  <a:pt x="330" y="142"/>
                  <a:pt x="330" y="142"/>
                </a:cubicBezTo>
                <a:cubicBezTo>
                  <a:pt x="330" y="143"/>
                  <a:pt x="330" y="143"/>
                  <a:pt x="330" y="143"/>
                </a:cubicBezTo>
                <a:cubicBezTo>
                  <a:pt x="329" y="143"/>
                  <a:pt x="329" y="143"/>
                  <a:pt x="329" y="143"/>
                </a:cubicBezTo>
                <a:cubicBezTo>
                  <a:pt x="330" y="145"/>
                  <a:pt x="330" y="145"/>
                  <a:pt x="330" y="145"/>
                </a:cubicBezTo>
                <a:cubicBezTo>
                  <a:pt x="330" y="146"/>
                  <a:pt x="330" y="146"/>
                  <a:pt x="330" y="146"/>
                </a:cubicBezTo>
                <a:cubicBezTo>
                  <a:pt x="331" y="147"/>
                  <a:pt x="331" y="147"/>
                  <a:pt x="331" y="147"/>
                </a:cubicBezTo>
                <a:cubicBezTo>
                  <a:pt x="333" y="148"/>
                  <a:pt x="333" y="148"/>
                  <a:pt x="333" y="148"/>
                </a:cubicBezTo>
                <a:cubicBezTo>
                  <a:pt x="334" y="149"/>
                  <a:pt x="334" y="149"/>
                  <a:pt x="334" y="149"/>
                </a:cubicBezTo>
                <a:cubicBezTo>
                  <a:pt x="335" y="151"/>
                  <a:pt x="335" y="151"/>
                  <a:pt x="335" y="151"/>
                </a:cubicBezTo>
                <a:cubicBezTo>
                  <a:pt x="335" y="150"/>
                  <a:pt x="335" y="150"/>
                  <a:pt x="335" y="150"/>
                </a:cubicBezTo>
                <a:cubicBezTo>
                  <a:pt x="335" y="151"/>
                  <a:pt x="335" y="151"/>
                  <a:pt x="335" y="151"/>
                </a:cubicBezTo>
                <a:cubicBezTo>
                  <a:pt x="336" y="150"/>
                  <a:pt x="336" y="150"/>
                  <a:pt x="336" y="150"/>
                </a:cubicBezTo>
                <a:cubicBezTo>
                  <a:pt x="336" y="150"/>
                  <a:pt x="336" y="150"/>
                  <a:pt x="336" y="150"/>
                </a:cubicBezTo>
                <a:cubicBezTo>
                  <a:pt x="336" y="151"/>
                  <a:pt x="336" y="151"/>
                  <a:pt x="336" y="151"/>
                </a:cubicBezTo>
                <a:cubicBezTo>
                  <a:pt x="337" y="150"/>
                  <a:pt x="337" y="150"/>
                  <a:pt x="337" y="150"/>
                </a:cubicBezTo>
                <a:cubicBezTo>
                  <a:pt x="339" y="150"/>
                  <a:pt x="339" y="150"/>
                  <a:pt x="339" y="150"/>
                </a:cubicBezTo>
                <a:cubicBezTo>
                  <a:pt x="339" y="151"/>
                  <a:pt x="339" y="151"/>
                  <a:pt x="339" y="151"/>
                </a:cubicBezTo>
                <a:cubicBezTo>
                  <a:pt x="339" y="153"/>
                  <a:pt x="339" y="153"/>
                  <a:pt x="339" y="153"/>
                </a:cubicBezTo>
                <a:cubicBezTo>
                  <a:pt x="341" y="157"/>
                  <a:pt x="341" y="157"/>
                  <a:pt x="341" y="157"/>
                </a:cubicBezTo>
                <a:cubicBezTo>
                  <a:pt x="342" y="157"/>
                  <a:pt x="342" y="157"/>
                  <a:pt x="342" y="157"/>
                </a:cubicBezTo>
                <a:cubicBezTo>
                  <a:pt x="344" y="156"/>
                  <a:pt x="344" y="156"/>
                  <a:pt x="344" y="156"/>
                </a:cubicBezTo>
                <a:cubicBezTo>
                  <a:pt x="345" y="156"/>
                  <a:pt x="345" y="156"/>
                  <a:pt x="345" y="156"/>
                </a:cubicBezTo>
                <a:cubicBezTo>
                  <a:pt x="345" y="156"/>
                  <a:pt x="345" y="156"/>
                  <a:pt x="345" y="156"/>
                </a:cubicBezTo>
                <a:cubicBezTo>
                  <a:pt x="346" y="155"/>
                  <a:pt x="346" y="155"/>
                  <a:pt x="346" y="155"/>
                </a:cubicBezTo>
                <a:cubicBezTo>
                  <a:pt x="345" y="154"/>
                  <a:pt x="345" y="154"/>
                  <a:pt x="345" y="154"/>
                </a:cubicBezTo>
                <a:cubicBezTo>
                  <a:pt x="345" y="154"/>
                  <a:pt x="345" y="154"/>
                  <a:pt x="345" y="154"/>
                </a:cubicBezTo>
                <a:cubicBezTo>
                  <a:pt x="347" y="153"/>
                  <a:pt x="347" y="153"/>
                  <a:pt x="347" y="153"/>
                </a:cubicBezTo>
                <a:cubicBezTo>
                  <a:pt x="348" y="152"/>
                  <a:pt x="348" y="152"/>
                  <a:pt x="348" y="152"/>
                </a:cubicBezTo>
                <a:cubicBezTo>
                  <a:pt x="348" y="151"/>
                  <a:pt x="348" y="151"/>
                  <a:pt x="348" y="151"/>
                </a:cubicBezTo>
                <a:cubicBezTo>
                  <a:pt x="347" y="151"/>
                  <a:pt x="347" y="151"/>
                  <a:pt x="347" y="151"/>
                </a:cubicBezTo>
                <a:cubicBezTo>
                  <a:pt x="349" y="151"/>
                  <a:pt x="349" y="151"/>
                  <a:pt x="349" y="151"/>
                </a:cubicBezTo>
                <a:cubicBezTo>
                  <a:pt x="352" y="149"/>
                  <a:pt x="352" y="149"/>
                  <a:pt x="352" y="149"/>
                </a:cubicBezTo>
                <a:cubicBezTo>
                  <a:pt x="352" y="150"/>
                  <a:pt x="352" y="150"/>
                  <a:pt x="352" y="150"/>
                </a:cubicBezTo>
                <a:cubicBezTo>
                  <a:pt x="353" y="150"/>
                  <a:pt x="353" y="150"/>
                  <a:pt x="353" y="150"/>
                </a:cubicBezTo>
                <a:cubicBezTo>
                  <a:pt x="353" y="151"/>
                  <a:pt x="353" y="151"/>
                  <a:pt x="353" y="151"/>
                </a:cubicBezTo>
                <a:cubicBezTo>
                  <a:pt x="354" y="152"/>
                  <a:pt x="354" y="152"/>
                  <a:pt x="354" y="152"/>
                </a:cubicBezTo>
                <a:cubicBezTo>
                  <a:pt x="355" y="152"/>
                  <a:pt x="355" y="152"/>
                  <a:pt x="355" y="152"/>
                </a:cubicBezTo>
                <a:cubicBezTo>
                  <a:pt x="359" y="152"/>
                  <a:pt x="359" y="152"/>
                  <a:pt x="359" y="152"/>
                </a:cubicBezTo>
                <a:cubicBezTo>
                  <a:pt x="359" y="152"/>
                  <a:pt x="359" y="152"/>
                  <a:pt x="359" y="152"/>
                </a:cubicBezTo>
                <a:cubicBezTo>
                  <a:pt x="361" y="152"/>
                  <a:pt x="361" y="152"/>
                  <a:pt x="361" y="152"/>
                </a:cubicBezTo>
                <a:cubicBezTo>
                  <a:pt x="361" y="152"/>
                  <a:pt x="361" y="152"/>
                  <a:pt x="361" y="152"/>
                </a:cubicBezTo>
                <a:cubicBezTo>
                  <a:pt x="362" y="152"/>
                  <a:pt x="362" y="152"/>
                  <a:pt x="362" y="152"/>
                </a:cubicBezTo>
                <a:cubicBezTo>
                  <a:pt x="364" y="152"/>
                  <a:pt x="364" y="152"/>
                  <a:pt x="364" y="152"/>
                </a:cubicBezTo>
                <a:cubicBezTo>
                  <a:pt x="365" y="152"/>
                  <a:pt x="365" y="152"/>
                  <a:pt x="365" y="152"/>
                </a:cubicBezTo>
                <a:cubicBezTo>
                  <a:pt x="363" y="153"/>
                  <a:pt x="363" y="153"/>
                  <a:pt x="363" y="153"/>
                </a:cubicBezTo>
                <a:cubicBezTo>
                  <a:pt x="363" y="153"/>
                  <a:pt x="363" y="153"/>
                  <a:pt x="363" y="153"/>
                </a:cubicBezTo>
                <a:cubicBezTo>
                  <a:pt x="364" y="155"/>
                  <a:pt x="364" y="155"/>
                  <a:pt x="364" y="155"/>
                </a:cubicBezTo>
                <a:cubicBezTo>
                  <a:pt x="364" y="155"/>
                  <a:pt x="364" y="155"/>
                  <a:pt x="364" y="155"/>
                </a:cubicBezTo>
                <a:cubicBezTo>
                  <a:pt x="363" y="155"/>
                  <a:pt x="363" y="155"/>
                  <a:pt x="363" y="155"/>
                </a:cubicBezTo>
                <a:cubicBezTo>
                  <a:pt x="363" y="156"/>
                  <a:pt x="363" y="156"/>
                  <a:pt x="363" y="156"/>
                </a:cubicBezTo>
                <a:cubicBezTo>
                  <a:pt x="364" y="157"/>
                  <a:pt x="364" y="157"/>
                  <a:pt x="364" y="157"/>
                </a:cubicBezTo>
                <a:cubicBezTo>
                  <a:pt x="364" y="157"/>
                  <a:pt x="364" y="157"/>
                  <a:pt x="364" y="157"/>
                </a:cubicBezTo>
                <a:cubicBezTo>
                  <a:pt x="362" y="159"/>
                  <a:pt x="362" y="159"/>
                  <a:pt x="362" y="159"/>
                </a:cubicBezTo>
                <a:cubicBezTo>
                  <a:pt x="361" y="158"/>
                  <a:pt x="361" y="158"/>
                  <a:pt x="361" y="158"/>
                </a:cubicBezTo>
                <a:cubicBezTo>
                  <a:pt x="361" y="157"/>
                  <a:pt x="361" y="157"/>
                  <a:pt x="361" y="157"/>
                </a:cubicBezTo>
                <a:cubicBezTo>
                  <a:pt x="360" y="158"/>
                  <a:pt x="360" y="158"/>
                  <a:pt x="360" y="158"/>
                </a:cubicBezTo>
                <a:cubicBezTo>
                  <a:pt x="360" y="157"/>
                  <a:pt x="360" y="157"/>
                  <a:pt x="360" y="157"/>
                </a:cubicBezTo>
                <a:cubicBezTo>
                  <a:pt x="358" y="159"/>
                  <a:pt x="358" y="159"/>
                  <a:pt x="358" y="159"/>
                </a:cubicBezTo>
                <a:cubicBezTo>
                  <a:pt x="358" y="159"/>
                  <a:pt x="358" y="159"/>
                  <a:pt x="358" y="159"/>
                </a:cubicBezTo>
                <a:cubicBezTo>
                  <a:pt x="356" y="160"/>
                  <a:pt x="356" y="160"/>
                  <a:pt x="356" y="160"/>
                </a:cubicBezTo>
                <a:cubicBezTo>
                  <a:pt x="355" y="159"/>
                  <a:pt x="355" y="159"/>
                  <a:pt x="355" y="159"/>
                </a:cubicBezTo>
                <a:cubicBezTo>
                  <a:pt x="355" y="160"/>
                  <a:pt x="355" y="160"/>
                  <a:pt x="355" y="160"/>
                </a:cubicBezTo>
                <a:cubicBezTo>
                  <a:pt x="354" y="159"/>
                  <a:pt x="354" y="159"/>
                  <a:pt x="354" y="159"/>
                </a:cubicBezTo>
                <a:cubicBezTo>
                  <a:pt x="353" y="160"/>
                  <a:pt x="353" y="160"/>
                  <a:pt x="353" y="160"/>
                </a:cubicBezTo>
                <a:cubicBezTo>
                  <a:pt x="354" y="161"/>
                  <a:pt x="354" y="161"/>
                  <a:pt x="354" y="161"/>
                </a:cubicBezTo>
                <a:cubicBezTo>
                  <a:pt x="354" y="161"/>
                  <a:pt x="354" y="161"/>
                  <a:pt x="354" y="161"/>
                </a:cubicBezTo>
                <a:cubicBezTo>
                  <a:pt x="353" y="162"/>
                  <a:pt x="353" y="162"/>
                  <a:pt x="353" y="162"/>
                </a:cubicBezTo>
                <a:cubicBezTo>
                  <a:pt x="353" y="163"/>
                  <a:pt x="353" y="163"/>
                  <a:pt x="353" y="163"/>
                </a:cubicBezTo>
                <a:cubicBezTo>
                  <a:pt x="351" y="163"/>
                  <a:pt x="351" y="163"/>
                  <a:pt x="351" y="163"/>
                </a:cubicBezTo>
                <a:cubicBezTo>
                  <a:pt x="350" y="164"/>
                  <a:pt x="350" y="164"/>
                  <a:pt x="350" y="164"/>
                </a:cubicBezTo>
                <a:cubicBezTo>
                  <a:pt x="350" y="165"/>
                  <a:pt x="350" y="165"/>
                  <a:pt x="350" y="165"/>
                </a:cubicBezTo>
                <a:cubicBezTo>
                  <a:pt x="351" y="166"/>
                  <a:pt x="351" y="166"/>
                  <a:pt x="351" y="166"/>
                </a:cubicBezTo>
                <a:cubicBezTo>
                  <a:pt x="350" y="167"/>
                  <a:pt x="350" y="167"/>
                  <a:pt x="350" y="167"/>
                </a:cubicBezTo>
                <a:cubicBezTo>
                  <a:pt x="350" y="167"/>
                  <a:pt x="350" y="167"/>
                  <a:pt x="350" y="167"/>
                </a:cubicBezTo>
                <a:cubicBezTo>
                  <a:pt x="348" y="168"/>
                  <a:pt x="348" y="168"/>
                  <a:pt x="348" y="168"/>
                </a:cubicBezTo>
                <a:cubicBezTo>
                  <a:pt x="348" y="169"/>
                  <a:pt x="348" y="169"/>
                  <a:pt x="348" y="169"/>
                </a:cubicBezTo>
                <a:cubicBezTo>
                  <a:pt x="347" y="168"/>
                  <a:pt x="347" y="168"/>
                  <a:pt x="347" y="168"/>
                </a:cubicBezTo>
                <a:cubicBezTo>
                  <a:pt x="347" y="170"/>
                  <a:pt x="347" y="170"/>
                  <a:pt x="347" y="170"/>
                </a:cubicBezTo>
                <a:cubicBezTo>
                  <a:pt x="347" y="172"/>
                  <a:pt x="347" y="172"/>
                  <a:pt x="347" y="172"/>
                </a:cubicBezTo>
                <a:cubicBezTo>
                  <a:pt x="347" y="174"/>
                  <a:pt x="347" y="174"/>
                  <a:pt x="347" y="174"/>
                </a:cubicBezTo>
                <a:cubicBezTo>
                  <a:pt x="347" y="177"/>
                  <a:pt x="347" y="177"/>
                  <a:pt x="347" y="177"/>
                </a:cubicBezTo>
                <a:cubicBezTo>
                  <a:pt x="347" y="177"/>
                  <a:pt x="347" y="177"/>
                  <a:pt x="347" y="177"/>
                </a:cubicBezTo>
                <a:cubicBezTo>
                  <a:pt x="351" y="178"/>
                  <a:pt x="351" y="178"/>
                  <a:pt x="351" y="178"/>
                </a:cubicBezTo>
                <a:cubicBezTo>
                  <a:pt x="351" y="179"/>
                  <a:pt x="351" y="179"/>
                  <a:pt x="351" y="179"/>
                </a:cubicBezTo>
                <a:cubicBezTo>
                  <a:pt x="351" y="179"/>
                  <a:pt x="351" y="179"/>
                  <a:pt x="351" y="179"/>
                </a:cubicBezTo>
                <a:cubicBezTo>
                  <a:pt x="355" y="180"/>
                  <a:pt x="355" y="180"/>
                  <a:pt x="355" y="180"/>
                </a:cubicBezTo>
                <a:cubicBezTo>
                  <a:pt x="357" y="184"/>
                  <a:pt x="357" y="184"/>
                  <a:pt x="357" y="184"/>
                </a:cubicBezTo>
                <a:cubicBezTo>
                  <a:pt x="357" y="185"/>
                  <a:pt x="357" y="185"/>
                  <a:pt x="357" y="185"/>
                </a:cubicBezTo>
                <a:cubicBezTo>
                  <a:pt x="357" y="186"/>
                  <a:pt x="357" y="186"/>
                  <a:pt x="357" y="186"/>
                </a:cubicBezTo>
                <a:cubicBezTo>
                  <a:pt x="358" y="186"/>
                  <a:pt x="358" y="186"/>
                  <a:pt x="358" y="186"/>
                </a:cubicBezTo>
                <a:cubicBezTo>
                  <a:pt x="358" y="188"/>
                  <a:pt x="358" y="188"/>
                  <a:pt x="358" y="188"/>
                </a:cubicBezTo>
                <a:cubicBezTo>
                  <a:pt x="360" y="190"/>
                  <a:pt x="360" y="190"/>
                  <a:pt x="360" y="190"/>
                </a:cubicBezTo>
                <a:cubicBezTo>
                  <a:pt x="360" y="192"/>
                  <a:pt x="360" y="192"/>
                  <a:pt x="360" y="192"/>
                </a:cubicBezTo>
                <a:cubicBezTo>
                  <a:pt x="362" y="194"/>
                  <a:pt x="362" y="194"/>
                  <a:pt x="362" y="194"/>
                </a:cubicBezTo>
                <a:cubicBezTo>
                  <a:pt x="363" y="195"/>
                  <a:pt x="363" y="195"/>
                  <a:pt x="363" y="195"/>
                </a:cubicBezTo>
                <a:cubicBezTo>
                  <a:pt x="365" y="195"/>
                  <a:pt x="365" y="195"/>
                  <a:pt x="365" y="195"/>
                </a:cubicBezTo>
                <a:cubicBezTo>
                  <a:pt x="365" y="195"/>
                  <a:pt x="365" y="195"/>
                  <a:pt x="365" y="195"/>
                </a:cubicBezTo>
                <a:cubicBezTo>
                  <a:pt x="365" y="196"/>
                  <a:pt x="365" y="196"/>
                  <a:pt x="365" y="196"/>
                </a:cubicBezTo>
                <a:cubicBezTo>
                  <a:pt x="367" y="197"/>
                  <a:pt x="367" y="197"/>
                  <a:pt x="367" y="197"/>
                </a:cubicBezTo>
                <a:cubicBezTo>
                  <a:pt x="368" y="198"/>
                  <a:pt x="368" y="198"/>
                  <a:pt x="368" y="198"/>
                </a:cubicBezTo>
                <a:cubicBezTo>
                  <a:pt x="368" y="200"/>
                  <a:pt x="368" y="200"/>
                  <a:pt x="368" y="200"/>
                </a:cubicBezTo>
                <a:cubicBezTo>
                  <a:pt x="368" y="200"/>
                  <a:pt x="368" y="200"/>
                  <a:pt x="368" y="200"/>
                </a:cubicBezTo>
                <a:cubicBezTo>
                  <a:pt x="365" y="199"/>
                  <a:pt x="365" y="199"/>
                  <a:pt x="365" y="199"/>
                </a:cubicBezTo>
                <a:cubicBezTo>
                  <a:pt x="363" y="200"/>
                  <a:pt x="363" y="200"/>
                  <a:pt x="363" y="200"/>
                </a:cubicBezTo>
                <a:cubicBezTo>
                  <a:pt x="362" y="199"/>
                  <a:pt x="362" y="199"/>
                  <a:pt x="362" y="199"/>
                </a:cubicBezTo>
                <a:cubicBezTo>
                  <a:pt x="361" y="199"/>
                  <a:pt x="361" y="199"/>
                  <a:pt x="361" y="199"/>
                </a:cubicBezTo>
                <a:cubicBezTo>
                  <a:pt x="360" y="198"/>
                  <a:pt x="360" y="198"/>
                  <a:pt x="360" y="198"/>
                </a:cubicBezTo>
                <a:cubicBezTo>
                  <a:pt x="358" y="198"/>
                  <a:pt x="358" y="198"/>
                  <a:pt x="358" y="198"/>
                </a:cubicBezTo>
                <a:cubicBezTo>
                  <a:pt x="357" y="199"/>
                  <a:pt x="357" y="199"/>
                  <a:pt x="357" y="199"/>
                </a:cubicBezTo>
                <a:cubicBezTo>
                  <a:pt x="356" y="199"/>
                  <a:pt x="356" y="199"/>
                  <a:pt x="356" y="199"/>
                </a:cubicBezTo>
                <a:cubicBezTo>
                  <a:pt x="355" y="198"/>
                  <a:pt x="355" y="198"/>
                  <a:pt x="355" y="198"/>
                </a:cubicBezTo>
                <a:cubicBezTo>
                  <a:pt x="354" y="196"/>
                  <a:pt x="354" y="196"/>
                  <a:pt x="354" y="196"/>
                </a:cubicBezTo>
                <a:cubicBezTo>
                  <a:pt x="353" y="197"/>
                  <a:pt x="353" y="197"/>
                  <a:pt x="353" y="197"/>
                </a:cubicBezTo>
                <a:cubicBezTo>
                  <a:pt x="352" y="196"/>
                  <a:pt x="352" y="196"/>
                  <a:pt x="352" y="196"/>
                </a:cubicBezTo>
                <a:cubicBezTo>
                  <a:pt x="351" y="197"/>
                  <a:pt x="351" y="197"/>
                  <a:pt x="351" y="197"/>
                </a:cubicBezTo>
                <a:cubicBezTo>
                  <a:pt x="350" y="197"/>
                  <a:pt x="350" y="197"/>
                  <a:pt x="350" y="197"/>
                </a:cubicBezTo>
                <a:cubicBezTo>
                  <a:pt x="350" y="196"/>
                  <a:pt x="350" y="196"/>
                  <a:pt x="350" y="196"/>
                </a:cubicBezTo>
                <a:cubicBezTo>
                  <a:pt x="349" y="197"/>
                  <a:pt x="349" y="197"/>
                  <a:pt x="349" y="197"/>
                </a:cubicBezTo>
                <a:cubicBezTo>
                  <a:pt x="347" y="200"/>
                  <a:pt x="347" y="200"/>
                  <a:pt x="347" y="200"/>
                </a:cubicBezTo>
                <a:cubicBezTo>
                  <a:pt x="349" y="198"/>
                  <a:pt x="349" y="198"/>
                  <a:pt x="349" y="198"/>
                </a:cubicBezTo>
                <a:cubicBezTo>
                  <a:pt x="350" y="197"/>
                  <a:pt x="350" y="197"/>
                  <a:pt x="350" y="197"/>
                </a:cubicBezTo>
                <a:cubicBezTo>
                  <a:pt x="352" y="197"/>
                  <a:pt x="352" y="197"/>
                  <a:pt x="352" y="197"/>
                </a:cubicBezTo>
                <a:cubicBezTo>
                  <a:pt x="353" y="197"/>
                  <a:pt x="353" y="197"/>
                  <a:pt x="353" y="197"/>
                </a:cubicBezTo>
                <a:cubicBezTo>
                  <a:pt x="354" y="197"/>
                  <a:pt x="354" y="197"/>
                  <a:pt x="354" y="197"/>
                </a:cubicBezTo>
                <a:cubicBezTo>
                  <a:pt x="354" y="198"/>
                  <a:pt x="354" y="198"/>
                  <a:pt x="354" y="198"/>
                </a:cubicBezTo>
                <a:cubicBezTo>
                  <a:pt x="356" y="199"/>
                  <a:pt x="356" y="199"/>
                  <a:pt x="356" y="199"/>
                </a:cubicBezTo>
                <a:cubicBezTo>
                  <a:pt x="357" y="200"/>
                  <a:pt x="357" y="200"/>
                  <a:pt x="357" y="200"/>
                </a:cubicBezTo>
                <a:cubicBezTo>
                  <a:pt x="359" y="198"/>
                  <a:pt x="359" y="198"/>
                  <a:pt x="359" y="198"/>
                </a:cubicBezTo>
                <a:cubicBezTo>
                  <a:pt x="360" y="198"/>
                  <a:pt x="360" y="198"/>
                  <a:pt x="360" y="198"/>
                </a:cubicBezTo>
                <a:cubicBezTo>
                  <a:pt x="362" y="201"/>
                  <a:pt x="362" y="201"/>
                  <a:pt x="362" y="201"/>
                </a:cubicBezTo>
                <a:cubicBezTo>
                  <a:pt x="364" y="202"/>
                  <a:pt x="364" y="202"/>
                  <a:pt x="364" y="202"/>
                </a:cubicBezTo>
                <a:cubicBezTo>
                  <a:pt x="368" y="204"/>
                  <a:pt x="368" y="204"/>
                  <a:pt x="368" y="204"/>
                </a:cubicBezTo>
                <a:cubicBezTo>
                  <a:pt x="369" y="206"/>
                  <a:pt x="369" y="206"/>
                  <a:pt x="369" y="206"/>
                </a:cubicBezTo>
                <a:cubicBezTo>
                  <a:pt x="369" y="207"/>
                  <a:pt x="369" y="207"/>
                  <a:pt x="369" y="207"/>
                </a:cubicBezTo>
                <a:cubicBezTo>
                  <a:pt x="367" y="207"/>
                  <a:pt x="367" y="207"/>
                  <a:pt x="367" y="207"/>
                </a:cubicBezTo>
                <a:cubicBezTo>
                  <a:pt x="366" y="209"/>
                  <a:pt x="366" y="209"/>
                  <a:pt x="366" y="209"/>
                </a:cubicBezTo>
                <a:cubicBezTo>
                  <a:pt x="365" y="209"/>
                  <a:pt x="365" y="209"/>
                  <a:pt x="365" y="209"/>
                </a:cubicBezTo>
                <a:cubicBezTo>
                  <a:pt x="365" y="210"/>
                  <a:pt x="365" y="210"/>
                  <a:pt x="365" y="210"/>
                </a:cubicBezTo>
                <a:cubicBezTo>
                  <a:pt x="364" y="211"/>
                  <a:pt x="364" y="211"/>
                  <a:pt x="364" y="211"/>
                </a:cubicBezTo>
                <a:cubicBezTo>
                  <a:pt x="363" y="211"/>
                  <a:pt x="363" y="211"/>
                  <a:pt x="363" y="211"/>
                </a:cubicBezTo>
                <a:cubicBezTo>
                  <a:pt x="362" y="210"/>
                  <a:pt x="362" y="210"/>
                  <a:pt x="362" y="210"/>
                </a:cubicBezTo>
                <a:cubicBezTo>
                  <a:pt x="361" y="211"/>
                  <a:pt x="361" y="211"/>
                  <a:pt x="361" y="211"/>
                </a:cubicBezTo>
                <a:cubicBezTo>
                  <a:pt x="360" y="211"/>
                  <a:pt x="360" y="211"/>
                  <a:pt x="360" y="211"/>
                </a:cubicBezTo>
                <a:cubicBezTo>
                  <a:pt x="359" y="212"/>
                  <a:pt x="359" y="212"/>
                  <a:pt x="359" y="212"/>
                </a:cubicBezTo>
                <a:cubicBezTo>
                  <a:pt x="359" y="214"/>
                  <a:pt x="359" y="214"/>
                  <a:pt x="359" y="214"/>
                </a:cubicBezTo>
                <a:cubicBezTo>
                  <a:pt x="359" y="213"/>
                  <a:pt x="359" y="213"/>
                  <a:pt x="359" y="213"/>
                </a:cubicBezTo>
                <a:cubicBezTo>
                  <a:pt x="360" y="212"/>
                  <a:pt x="360" y="212"/>
                  <a:pt x="360" y="212"/>
                </a:cubicBezTo>
                <a:cubicBezTo>
                  <a:pt x="362" y="211"/>
                  <a:pt x="362" y="211"/>
                  <a:pt x="362" y="211"/>
                </a:cubicBezTo>
                <a:cubicBezTo>
                  <a:pt x="363" y="213"/>
                  <a:pt x="363" y="213"/>
                  <a:pt x="363" y="213"/>
                </a:cubicBezTo>
                <a:cubicBezTo>
                  <a:pt x="364" y="213"/>
                  <a:pt x="364" y="213"/>
                  <a:pt x="364" y="213"/>
                </a:cubicBezTo>
                <a:cubicBezTo>
                  <a:pt x="366" y="212"/>
                  <a:pt x="366" y="212"/>
                  <a:pt x="366" y="212"/>
                </a:cubicBezTo>
                <a:cubicBezTo>
                  <a:pt x="367" y="212"/>
                  <a:pt x="367" y="212"/>
                  <a:pt x="367" y="212"/>
                </a:cubicBezTo>
                <a:cubicBezTo>
                  <a:pt x="369" y="215"/>
                  <a:pt x="369" y="215"/>
                  <a:pt x="369" y="215"/>
                </a:cubicBezTo>
                <a:cubicBezTo>
                  <a:pt x="370" y="214"/>
                  <a:pt x="370" y="214"/>
                  <a:pt x="370" y="214"/>
                </a:cubicBezTo>
                <a:cubicBezTo>
                  <a:pt x="370" y="215"/>
                  <a:pt x="370" y="215"/>
                  <a:pt x="370" y="215"/>
                </a:cubicBezTo>
                <a:cubicBezTo>
                  <a:pt x="371" y="215"/>
                  <a:pt x="371" y="215"/>
                  <a:pt x="371" y="215"/>
                </a:cubicBezTo>
                <a:cubicBezTo>
                  <a:pt x="372" y="215"/>
                  <a:pt x="372" y="215"/>
                  <a:pt x="372" y="215"/>
                </a:cubicBezTo>
                <a:cubicBezTo>
                  <a:pt x="369" y="218"/>
                  <a:pt x="369" y="218"/>
                  <a:pt x="369" y="218"/>
                </a:cubicBezTo>
                <a:cubicBezTo>
                  <a:pt x="367" y="218"/>
                  <a:pt x="367" y="218"/>
                  <a:pt x="367" y="218"/>
                </a:cubicBezTo>
                <a:cubicBezTo>
                  <a:pt x="367" y="219"/>
                  <a:pt x="367" y="219"/>
                  <a:pt x="367" y="219"/>
                </a:cubicBezTo>
                <a:cubicBezTo>
                  <a:pt x="368" y="219"/>
                  <a:pt x="368" y="219"/>
                  <a:pt x="368" y="219"/>
                </a:cubicBezTo>
                <a:cubicBezTo>
                  <a:pt x="370" y="218"/>
                  <a:pt x="370" y="218"/>
                  <a:pt x="370" y="218"/>
                </a:cubicBezTo>
                <a:cubicBezTo>
                  <a:pt x="371" y="218"/>
                  <a:pt x="371" y="218"/>
                  <a:pt x="371" y="218"/>
                </a:cubicBezTo>
                <a:cubicBezTo>
                  <a:pt x="371" y="218"/>
                  <a:pt x="371" y="218"/>
                  <a:pt x="371" y="218"/>
                </a:cubicBezTo>
                <a:cubicBezTo>
                  <a:pt x="371" y="217"/>
                  <a:pt x="371" y="217"/>
                  <a:pt x="371" y="217"/>
                </a:cubicBezTo>
                <a:cubicBezTo>
                  <a:pt x="371" y="217"/>
                  <a:pt x="371" y="217"/>
                  <a:pt x="371" y="217"/>
                </a:cubicBezTo>
                <a:cubicBezTo>
                  <a:pt x="372" y="217"/>
                  <a:pt x="372" y="217"/>
                  <a:pt x="372" y="217"/>
                </a:cubicBezTo>
                <a:cubicBezTo>
                  <a:pt x="372" y="219"/>
                  <a:pt x="372" y="219"/>
                  <a:pt x="372" y="219"/>
                </a:cubicBezTo>
                <a:cubicBezTo>
                  <a:pt x="373" y="220"/>
                  <a:pt x="373" y="220"/>
                  <a:pt x="373" y="220"/>
                </a:cubicBezTo>
                <a:cubicBezTo>
                  <a:pt x="372" y="220"/>
                  <a:pt x="372" y="220"/>
                  <a:pt x="372" y="220"/>
                </a:cubicBezTo>
                <a:cubicBezTo>
                  <a:pt x="372" y="220"/>
                  <a:pt x="372" y="220"/>
                  <a:pt x="372" y="220"/>
                </a:cubicBezTo>
                <a:cubicBezTo>
                  <a:pt x="371" y="219"/>
                  <a:pt x="371" y="219"/>
                  <a:pt x="371" y="219"/>
                </a:cubicBezTo>
                <a:cubicBezTo>
                  <a:pt x="371" y="220"/>
                  <a:pt x="371" y="220"/>
                  <a:pt x="371" y="220"/>
                </a:cubicBezTo>
                <a:cubicBezTo>
                  <a:pt x="370" y="220"/>
                  <a:pt x="370" y="220"/>
                  <a:pt x="370" y="220"/>
                </a:cubicBezTo>
                <a:cubicBezTo>
                  <a:pt x="369" y="220"/>
                  <a:pt x="369" y="220"/>
                  <a:pt x="369" y="220"/>
                </a:cubicBezTo>
                <a:cubicBezTo>
                  <a:pt x="368" y="221"/>
                  <a:pt x="368" y="221"/>
                  <a:pt x="368" y="221"/>
                </a:cubicBezTo>
                <a:cubicBezTo>
                  <a:pt x="368" y="222"/>
                  <a:pt x="368" y="222"/>
                  <a:pt x="368" y="222"/>
                </a:cubicBezTo>
                <a:cubicBezTo>
                  <a:pt x="370" y="222"/>
                  <a:pt x="370" y="222"/>
                  <a:pt x="370" y="222"/>
                </a:cubicBezTo>
                <a:cubicBezTo>
                  <a:pt x="371" y="222"/>
                  <a:pt x="371" y="222"/>
                  <a:pt x="371" y="222"/>
                </a:cubicBezTo>
                <a:cubicBezTo>
                  <a:pt x="370" y="223"/>
                  <a:pt x="370" y="223"/>
                  <a:pt x="370" y="223"/>
                </a:cubicBezTo>
                <a:cubicBezTo>
                  <a:pt x="370" y="223"/>
                  <a:pt x="370" y="223"/>
                  <a:pt x="370" y="223"/>
                </a:cubicBezTo>
                <a:cubicBezTo>
                  <a:pt x="369" y="223"/>
                  <a:pt x="369" y="223"/>
                  <a:pt x="369" y="223"/>
                </a:cubicBezTo>
                <a:cubicBezTo>
                  <a:pt x="370" y="224"/>
                  <a:pt x="370" y="224"/>
                  <a:pt x="370" y="224"/>
                </a:cubicBezTo>
                <a:cubicBezTo>
                  <a:pt x="370" y="225"/>
                  <a:pt x="370" y="225"/>
                  <a:pt x="370" y="225"/>
                </a:cubicBezTo>
                <a:cubicBezTo>
                  <a:pt x="370" y="225"/>
                  <a:pt x="370" y="225"/>
                  <a:pt x="370" y="225"/>
                </a:cubicBezTo>
                <a:cubicBezTo>
                  <a:pt x="369" y="225"/>
                  <a:pt x="369" y="225"/>
                  <a:pt x="369" y="225"/>
                </a:cubicBezTo>
                <a:cubicBezTo>
                  <a:pt x="368" y="225"/>
                  <a:pt x="368" y="225"/>
                  <a:pt x="368" y="225"/>
                </a:cubicBezTo>
                <a:cubicBezTo>
                  <a:pt x="369" y="226"/>
                  <a:pt x="369" y="226"/>
                  <a:pt x="369" y="226"/>
                </a:cubicBezTo>
                <a:cubicBezTo>
                  <a:pt x="370" y="226"/>
                  <a:pt x="370" y="226"/>
                  <a:pt x="370" y="226"/>
                </a:cubicBezTo>
                <a:cubicBezTo>
                  <a:pt x="371" y="227"/>
                  <a:pt x="371" y="227"/>
                  <a:pt x="371" y="227"/>
                </a:cubicBezTo>
                <a:cubicBezTo>
                  <a:pt x="370" y="228"/>
                  <a:pt x="370" y="228"/>
                  <a:pt x="370" y="228"/>
                </a:cubicBezTo>
                <a:cubicBezTo>
                  <a:pt x="370" y="229"/>
                  <a:pt x="370" y="229"/>
                  <a:pt x="370" y="229"/>
                </a:cubicBezTo>
                <a:cubicBezTo>
                  <a:pt x="369" y="229"/>
                  <a:pt x="369" y="229"/>
                  <a:pt x="369" y="229"/>
                </a:cubicBezTo>
                <a:cubicBezTo>
                  <a:pt x="369" y="228"/>
                  <a:pt x="369" y="228"/>
                  <a:pt x="369" y="228"/>
                </a:cubicBezTo>
                <a:cubicBezTo>
                  <a:pt x="368" y="228"/>
                  <a:pt x="368" y="228"/>
                  <a:pt x="368" y="228"/>
                </a:cubicBezTo>
                <a:cubicBezTo>
                  <a:pt x="367" y="230"/>
                  <a:pt x="367" y="230"/>
                  <a:pt x="367" y="230"/>
                </a:cubicBezTo>
                <a:cubicBezTo>
                  <a:pt x="366" y="231"/>
                  <a:pt x="366" y="231"/>
                  <a:pt x="366" y="231"/>
                </a:cubicBezTo>
                <a:cubicBezTo>
                  <a:pt x="365" y="230"/>
                  <a:pt x="365" y="230"/>
                  <a:pt x="365" y="230"/>
                </a:cubicBezTo>
                <a:cubicBezTo>
                  <a:pt x="366" y="231"/>
                  <a:pt x="366" y="231"/>
                  <a:pt x="366" y="231"/>
                </a:cubicBezTo>
                <a:cubicBezTo>
                  <a:pt x="366" y="231"/>
                  <a:pt x="366" y="231"/>
                  <a:pt x="366" y="231"/>
                </a:cubicBezTo>
                <a:cubicBezTo>
                  <a:pt x="366" y="232"/>
                  <a:pt x="366" y="232"/>
                  <a:pt x="366" y="232"/>
                </a:cubicBezTo>
                <a:cubicBezTo>
                  <a:pt x="366" y="233"/>
                  <a:pt x="366" y="233"/>
                  <a:pt x="366" y="233"/>
                </a:cubicBezTo>
                <a:cubicBezTo>
                  <a:pt x="366" y="233"/>
                  <a:pt x="366" y="233"/>
                  <a:pt x="366" y="233"/>
                </a:cubicBezTo>
                <a:cubicBezTo>
                  <a:pt x="366" y="234"/>
                  <a:pt x="366" y="234"/>
                  <a:pt x="366" y="234"/>
                </a:cubicBezTo>
                <a:cubicBezTo>
                  <a:pt x="366" y="235"/>
                  <a:pt x="366" y="235"/>
                  <a:pt x="366" y="235"/>
                </a:cubicBezTo>
                <a:cubicBezTo>
                  <a:pt x="366" y="236"/>
                  <a:pt x="366" y="236"/>
                  <a:pt x="366" y="236"/>
                </a:cubicBezTo>
                <a:cubicBezTo>
                  <a:pt x="365" y="236"/>
                  <a:pt x="365" y="236"/>
                  <a:pt x="365" y="236"/>
                </a:cubicBezTo>
                <a:cubicBezTo>
                  <a:pt x="364" y="235"/>
                  <a:pt x="364" y="235"/>
                  <a:pt x="364" y="235"/>
                </a:cubicBezTo>
                <a:cubicBezTo>
                  <a:pt x="364" y="236"/>
                  <a:pt x="364" y="236"/>
                  <a:pt x="364" y="236"/>
                </a:cubicBezTo>
                <a:cubicBezTo>
                  <a:pt x="365" y="236"/>
                  <a:pt x="365" y="236"/>
                  <a:pt x="365" y="236"/>
                </a:cubicBezTo>
                <a:cubicBezTo>
                  <a:pt x="365" y="238"/>
                  <a:pt x="365" y="238"/>
                  <a:pt x="365" y="238"/>
                </a:cubicBezTo>
                <a:cubicBezTo>
                  <a:pt x="364" y="237"/>
                  <a:pt x="364" y="237"/>
                  <a:pt x="364" y="237"/>
                </a:cubicBezTo>
                <a:cubicBezTo>
                  <a:pt x="364" y="238"/>
                  <a:pt x="364" y="238"/>
                  <a:pt x="364" y="238"/>
                </a:cubicBezTo>
                <a:cubicBezTo>
                  <a:pt x="362" y="240"/>
                  <a:pt x="362" y="240"/>
                  <a:pt x="362" y="240"/>
                </a:cubicBezTo>
                <a:cubicBezTo>
                  <a:pt x="361" y="240"/>
                  <a:pt x="361" y="240"/>
                  <a:pt x="361" y="240"/>
                </a:cubicBezTo>
                <a:cubicBezTo>
                  <a:pt x="362" y="239"/>
                  <a:pt x="362" y="239"/>
                  <a:pt x="362" y="239"/>
                </a:cubicBezTo>
                <a:cubicBezTo>
                  <a:pt x="361" y="239"/>
                  <a:pt x="361" y="239"/>
                  <a:pt x="361" y="239"/>
                </a:cubicBezTo>
                <a:cubicBezTo>
                  <a:pt x="361" y="239"/>
                  <a:pt x="361" y="239"/>
                  <a:pt x="361" y="239"/>
                </a:cubicBezTo>
                <a:cubicBezTo>
                  <a:pt x="360" y="240"/>
                  <a:pt x="360" y="240"/>
                  <a:pt x="360" y="240"/>
                </a:cubicBezTo>
                <a:cubicBezTo>
                  <a:pt x="360" y="239"/>
                  <a:pt x="360" y="239"/>
                  <a:pt x="360" y="239"/>
                </a:cubicBezTo>
                <a:cubicBezTo>
                  <a:pt x="360" y="240"/>
                  <a:pt x="360" y="240"/>
                  <a:pt x="360" y="240"/>
                </a:cubicBezTo>
                <a:cubicBezTo>
                  <a:pt x="359" y="241"/>
                  <a:pt x="359" y="241"/>
                  <a:pt x="359" y="241"/>
                </a:cubicBezTo>
                <a:cubicBezTo>
                  <a:pt x="360" y="241"/>
                  <a:pt x="360" y="241"/>
                  <a:pt x="360" y="241"/>
                </a:cubicBezTo>
                <a:cubicBezTo>
                  <a:pt x="361" y="242"/>
                  <a:pt x="361" y="242"/>
                  <a:pt x="361" y="242"/>
                </a:cubicBezTo>
                <a:cubicBezTo>
                  <a:pt x="360" y="242"/>
                  <a:pt x="360" y="242"/>
                  <a:pt x="360" y="242"/>
                </a:cubicBezTo>
                <a:cubicBezTo>
                  <a:pt x="361" y="243"/>
                  <a:pt x="361" y="243"/>
                  <a:pt x="361" y="243"/>
                </a:cubicBezTo>
                <a:cubicBezTo>
                  <a:pt x="362" y="243"/>
                  <a:pt x="362" y="243"/>
                  <a:pt x="362" y="243"/>
                </a:cubicBezTo>
                <a:cubicBezTo>
                  <a:pt x="363" y="243"/>
                  <a:pt x="363" y="243"/>
                  <a:pt x="363" y="243"/>
                </a:cubicBezTo>
                <a:cubicBezTo>
                  <a:pt x="361" y="244"/>
                  <a:pt x="361" y="244"/>
                  <a:pt x="361" y="244"/>
                </a:cubicBezTo>
                <a:cubicBezTo>
                  <a:pt x="359" y="245"/>
                  <a:pt x="359" y="245"/>
                  <a:pt x="359" y="245"/>
                </a:cubicBezTo>
                <a:cubicBezTo>
                  <a:pt x="359" y="246"/>
                  <a:pt x="359" y="246"/>
                  <a:pt x="359" y="246"/>
                </a:cubicBezTo>
                <a:cubicBezTo>
                  <a:pt x="360" y="246"/>
                  <a:pt x="360" y="246"/>
                  <a:pt x="360" y="246"/>
                </a:cubicBezTo>
                <a:cubicBezTo>
                  <a:pt x="361" y="246"/>
                  <a:pt x="361" y="246"/>
                  <a:pt x="361" y="246"/>
                </a:cubicBezTo>
                <a:cubicBezTo>
                  <a:pt x="361" y="246"/>
                  <a:pt x="361" y="246"/>
                  <a:pt x="361" y="246"/>
                </a:cubicBezTo>
                <a:cubicBezTo>
                  <a:pt x="360" y="247"/>
                  <a:pt x="360" y="247"/>
                  <a:pt x="360" y="247"/>
                </a:cubicBezTo>
                <a:cubicBezTo>
                  <a:pt x="361" y="248"/>
                  <a:pt x="361" y="248"/>
                  <a:pt x="361" y="248"/>
                </a:cubicBezTo>
                <a:cubicBezTo>
                  <a:pt x="361" y="249"/>
                  <a:pt x="361" y="249"/>
                  <a:pt x="361" y="249"/>
                </a:cubicBezTo>
                <a:cubicBezTo>
                  <a:pt x="360" y="249"/>
                  <a:pt x="360" y="249"/>
                  <a:pt x="360" y="249"/>
                </a:cubicBezTo>
                <a:cubicBezTo>
                  <a:pt x="360" y="250"/>
                  <a:pt x="360" y="250"/>
                  <a:pt x="360" y="250"/>
                </a:cubicBezTo>
                <a:cubicBezTo>
                  <a:pt x="361" y="250"/>
                  <a:pt x="361" y="250"/>
                  <a:pt x="361" y="250"/>
                </a:cubicBezTo>
                <a:cubicBezTo>
                  <a:pt x="361" y="250"/>
                  <a:pt x="361" y="250"/>
                  <a:pt x="361" y="250"/>
                </a:cubicBezTo>
                <a:cubicBezTo>
                  <a:pt x="361" y="252"/>
                  <a:pt x="361" y="252"/>
                  <a:pt x="361" y="252"/>
                </a:cubicBezTo>
                <a:cubicBezTo>
                  <a:pt x="361" y="251"/>
                  <a:pt x="361" y="251"/>
                  <a:pt x="361" y="251"/>
                </a:cubicBezTo>
                <a:cubicBezTo>
                  <a:pt x="360" y="251"/>
                  <a:pt x="360" y="251"/>
                  <a:pt x="360" y="251"/>
                </a:cubicBezTo>
                <a:cubicBezTo>
                  <a:pt x="360" y="250"/>
                  <a:pt x="360" y="250"/>
                  <a:pt x="360" y="250"/>
                </a:cubicBezTo>
                <a:cubicBezTo>
                  <a:pt x="359" y="249"/>
                  <a:pt x="359" y="249"/>
                  <a:pt x="359" y="249"/>
                </a:cubicBezTo>
                <a:cubicBezTo>
                  <a:pt x="359" y="250"/>
                  <a:pt x="359" y="250"/>
                  <a:pt x="359" y="250"/>
                </a:cubicBezTo>
                <a:cubicBezTo>
                  <a:pt x="358" y="250"/>
                  <a:pt x="358" y="250"/>
                  <a:pt x="358" y="250"/>
                </a:cubicBezTo>
                <a:cubicBezTo>
                  <a:pt x="358" y="251"/>
                  <a:pt x="358" y="251"/>
                  <a:pt x="358" y="251"/>
                </a:cubicBezTo>
                <a:cubicBezTo>
                  <a:pt x="359" y="252"/>
                  <a:pt x="359" y="252"/>
                  <a:pt x="359" y="252"/>
                </a:cubicBezTo>
                <a:cubicBezTo>
                  <a:pt x="359" y="253"/>
                  <a:pt x="359" y="253"/>
                  <a:pt x="359" y="253"/>
                </a:cubicBezTo>
                <a:cubicBezTo>
                  <a:pt x="358" y="252"/>
                  <a:pt x="358" y="252"/>
                  <a:pt x="358" y="252"/>
                </a:cubicBezTo>
                <a:cubicBezTo>
                  <a:pt x="358" y="252"/>
                  <a:pt x="358" y="252"/>
                  <a:pt x="358" y="252"/>
                </a:cubicBezTo>
                <a:cubicBezTo>
                  <a:pt x="357" y="252"/>
                  <a:pt x="357" y="252"/>
                  <a:pt x="357" y="252"/>
                </a:cubicBezTo>
                <a:cubicBezTo>
                  <a:pt x="356" y="252"/>
                  <a:pt x="356" y="252"/>
                  <a:pt x="356" y="252"/>
                </a:cubicBezTo>
                <a:cubicBezTo>
                  <a:pt x="357" y="252"/>
                  <a:pt x="357" y="252"/>
                  <a:pt x="357" y="252"/>
                </a:cubicBezTo>
                <a:cubicBezTo>
                  <a:pt x="357" y="253"/>
                  <a:pt x="357" y="253"/>
                  <a:pt x="357" y="253"/>
                </a:cubicBezTo>
                <a:cubicBezTo>
                  <a:pt x="358" y="253"/>
                  <a:pt x="358" y="253"/>
                  <a:pt x="358" y="253"/>
                </a:cubicBezTo>
                <a:cubicBezTo>
                  <a:pt x="358" y="254"/>
                  <a:pt x="358" y="254"/>
                  <a:pt x="358" y="254"/>
                </a:cubicBezTo>
                <a:cubicBezTo>
                  <a:pt x="358" y="255"/>
                  <a:pt x="358" y="255"/>
                  <a:pt x="358" y="255"/>
                </a:cubicBezTo>
                <a:cubicBezTo>
                  <a:pt x="356" y="254"/>
                  <a:pt x="356" y="254"/>
                  <a:pt x="356" y="254"/>
                </a:cubicBezTo>
                <a:cubicBezTo>
                  <a:pt x="356" y="255"/>
                  <a:pt x="356" y="255"/>
                  <a:pt x="356" y="255"/>
                </a:cubicBezTo>
                <a:cubicBezTo>
                  <a:pt x="356" y="255"/>
                  <a:pt x="356" y="255"/>
                  <a:pt x="356" y="255"/>
                </a:cubicBezTo>
                <a:cubicBezTo>
                  <a:pt x="358" y="256"/>
                  <a:pt x="358" y="256"/>
                  <a:pt x="358" y="256"/>
                </a:cubicBezTo>
                <a:cubicBezTo>
                  <a:pt x="357" y="257"/>
                  <a:pt x="357" y="257"/>
                  <a:pt x="357" y="257"/>
                </a:cubicBezTo>
                <a:cubicBezTo>
                  <a:pt x="355" y="256"/>
                  <a:pt x="355" y="256"/>
                  <a:pt x="355" y="256"/>
                </a:cubicBezTo>
                <a:cubicBezTo>
                  <a:pt x="355" y="256"/>
                  <a:pt x="355" y="256"/>
                  <a:pt x="355" y="256"/>
                </a:cubicBezTo>
                <a:cubicBezTo>
                  <a:pt x="354" y="256"/>
                  <a:pt x="354" y="256"/>
                  <a:pt x="354" y="256"/>
                </a:cubicBezTo>
                <a:cubicBezTo>
                  <a:pt x="353" y="257"/>
                  <a:pt x="353" y="257"/>
                  <a:pt x="353" y="257"/>
                </a:cubicBezTo>
                <a:cubicBezTo>
                  <a:pt x="351" y="257"/>
                  <a:pt x="351" y="257"/>
                  <a:pt x="351" y="257"/>
                </a:cubicBezTo>
                <a:cubicBezTo>
                  <a:pt x="353" y="259"/>
                  <a:pt x="353" y="259"/>
                  <a:pt x="353" y="259"/>
                </a:cubicBezTo>
                <a:cubicBezTo>
                  <a:pt x="354" y="258"/>
                  <a:pt x="354" y="258"/>
                  <a:pt x="354" y="258"/>
                </a:cubicBezTo>
                <a:cubicBezTo>
                  <a:pt x="355" y="258"/>
                  <a:pt x="355" y="258"/>
                  <a:pt x="355" y="258"/>
                </a:cubicBezTo>
                <a:cubicBezTo>
                  <a:pt x="354" y="259"/>
                  <a:pt x="354" y="259"/>
                  <a:pt x="354" y="259"/>
                </a:cubicBezTo>
                <a:cubicBezTo>
                  <a:pt x="354" y="260"/>
                  <a:pt x="354" y="260"/>
                  <a:pt x="354" y="260"/>
                </a:cubicBezTo>
                <a:cubicBezTo>
                  <a:pt x="353" y="261"/>
                  <a:pt x="353" y="261"/>
                  <a:pt x="353" y="261"/>
                </a:cubicBezTo>
                <a:cubicBezTo>
                  <a:pt x="353" y="260"/>
                  <a:pt x="353" y="260"/>
                  <a:pt x="353" y="260"/>
                </a:cubicBezTo>
                <a:cubicBezTo>
                  <a:pt x="352" y="261"/>
                  <a:pt x="352" y="261"/>
                  <a:pt x="352" y="261"/>
                </a:cubicBezTo>
                <a:cubicBezTo>
                  <a:pt x="351" y="261"/>
                  <a:pt x="351" y="261"/>
                  <a:pt x="351" y="261"/>
                </a:cubicBezTo>
                <a:cubicBezTo>
                  <a:pt x="351" y="261"/>
                  <a:pt x="351" y="261"/>
                  <a:pt x="351" y="261"/>
                </a:cubicBezTo>
                <a:cubicBezTo>
                  <a:pt x="351" y="261"/>
                  <a:pt x="351" y="261"/>
                  <a:pt x="351" y="261"/>
                </a:cubicBezTo>
                <a:cubicBezTo>
                  <a:pt x="351" y="262"/>
                  <a:pt x="351" y="262"/>
                  <a:pt x="351" y="262"/>
                </a:cubicBezTo>
                <a:cubicBezTo>
                  <a:pt x="350" y="262"/>
                  <a:pt x="350" y="262"/>
                  <a:pt x="350" y="262"/>
                </a:cubicBezTo>
                <a:cubicBezTo>
                  <a:pt x="350" y="263"/>
                  <a:pt x="350" y="263"/>
                  <a:pt x="350" y="263"/>
                </a:cubicBezTo>
                <a:cubicBezTo>
                  <a:pt x="349" y="263"/>
                  <a:pt x="349" y="263"/>
                  <a:pt x="349" y="263"/>
                </a:cubicBezTo>
                <a:cubicBezTo>
                  <a:pt x="348" y="263"/>
                  <a:pt x="348" y="263"/>
                  <a:pt x="348" y="263"/>
                </a:cubicBezTo>
                <a:cubicBezTo>
                  <a:pt x="347" y="263"/>
                  <a:pt x="347" y="263"/>
                  <a:pt x="347" y="263"/>
                </a:cubicBezTo>
                <a:cubicBezTo>
                  <a:pt x="346" y="264"/>
                  <a:pt x="346" y="264"/>
                  <a:pt x="346" y="264"/>
                </a:cubicBezTo>
                <a:cubicBezTo>
                  <a:pt x="346" y="264"/>
                  <a:pt x="346" y="264"/>
                  <a:pt x="346" y="264"/>
                </a:cubicBezTo>
                <a:cubicBezTo>
                  <a:pt x="346" y="265"/>
                  <a:pt x="346" y="265"/>
                  <a:pt x="346" y="265"/>
                </a:cubicBezTo>
                <a:cubicBezTo>
                  <a:pt x="346" y="266"/>
                  <a:pt x="346" y="266"/>
                  <a:pt x="346" y="266"/>
                </a:cubicBezTo>
                <a:cubicBezTo>
                  <a:pt x="345" y="267"/>
                  <a:pt x="345" y="267"/>
                  <a:pt x="345" y="267"/>
                </a:cubicBezTo>
                <a:cubicBezTo>
                  <a:pt x="346" y="268"/>
                  <a:pt x="346" y="268"/>
                  <a:pt x="346" y="268"/>
                </a:cubicBezTo>
                <a:cubicBezTo>
                  <a:pt x="345" y="268"/>
                  <a:pt x="345" y="268"/>
                  <a:pt x="345" y="268"/>
                </a:cubicBezTo>
                <a:cubicBezTo>
                  <a:pt x="344" y="268"/>
                  <a:pt x="344" y="268"/>
                  <a:pt x="344" y="268"/>
                </a:cubicBezTo>
                <a:cubicBezTo>
                  <a:pt x="344" y="269"/>
                  <a:pt x="344" y="269"/>
                  <a:pt x="344" y="269"/>
                </a:cubicBezTo>
                <a:cubicBezTo>
                  <a:pt x="344" y="268"/>
                  <a:pt x="344" y="268"/>
                  <a:pt x="344" y="268"/>
                </a:cubicBezTo>
                <a:cubicBezTo>
                  <a:pt x="343" y="268"/>
                  <a:pt x="343" y="268"/>
                  <a:pt x="343" y="268"/>
                </a:cubicBezTo>
                <a:cubicBezTo>
                  <a:pt x="342" y="269"/>
                  <a:pt x="342" y="269"/>
                  <a:pt x="342" y="269"/>
                </a:cubicBezTo>
                <a:cubicBezTo>
                  <a:pt x="341" y="269"/>
                  <a:pt x="341" y="269"/>
                  <a:pt x="341" y="269"/>
                </a:cubicBezTo>
                <a:cubicBezTo>
                  <a:pt x="341" y="270"/>
                  <a:pt x="341" y="270"/>
                  <a:pt x="341" y="270"/>
                </a:cubicBezTo>
                <a:cubicBezTo>
                  <a:pt x="340" y="270"/>
                  <a:pt x="340" y="270"/>
                  <a:pt x="340" y="270"/>
                </a:cubicBezTo>
                <a:cubicBezTo>
                  <a:pt x="340" y="270"/>
                  <a:pt x="340" y="270"/>
                  <a:pt x="340" y="270"/>
                </a:cubicBezTo>
                <a:cubicBezTo>
                  <a:pt x="339" y="270"/>
                  <a:pt x="339" y="270"/>
                  <a:pt x="339" y="270"/>
                </a:cubicBezTo>
                <a:cubicBezTo>
                  <a:pt x="339" y="271"/>
                  <a:pt x="339" y="271"/>
                  <a:pt x="339" y="271"/>
                </a:cubicBezTo>
                <a:cubicBezTo>
                  <a:pt x="338" y="271"/>
                  <a:pt x="338" y="271"/>
                  <a:pt x="338" y="271"/>
                </a:cubicBezTo>
                <a:cubicBezTo>
                  <a:pt x="337" y="270"/>
                  <a:pt x="337" y="270"/>
                  <a:pt x="337" y="270"/>
                </a:cubicBezTo>
                <a:cubicBezTo>
                  <a:pt x="337" y="269"/>
                  <a:pt x="337" y="269"/>
                  <a:pt x="337" y="269"/>
                </a:cubicBezTo>
                <a:cubicBezTo>
                  <a:pt x="336" y="270"/>
                  <a:pt x="336" y="270"/>
                  <a:pt x="336" y="270"/>
                </a:cubicBezTo>
                <a:cubicBezTo>
                  <a:pt x="335" y="270"/>
                  <a:pt x="335" y="270"/>
                  <a:pt x="335" y="270"/>
                </a:cubicBezTo>
                <a:cubicBezTo>
                  <a:pt x="335" y="271"/>
                  <a:pt x="335" y="271"/>
                  <a:pt x="335" y="271"/>
                </a:cubicBezTo>
                <a:cubicBezTo>
                  <a:pt x="334" y="271"/>
                  <a:pt x="334" y="271"/>
                  <a:pt x="334" y="271"/>
                </a:cubicBezTo>
                <a:cubicBezTo>
                  <a:pt x="333" y="271"/>
                  <a:pt x="333" y="271"/>
                  <a:pt x="333" y="271"/>
                </a:cubicBezTo>
                <a:cubicBezTo>
                  <a:pt x="333" y="271"/>
                  <a:pt x="333" y="271"/>
                  <a:pt x="333" y="271"/>
                </a:cubicBezTo>
                <a:cubicBezTo>
                  <a:pt x="332" y="272"/>
                  <a:pt x="332" y="272"/>
                  <a:pt x="332" y="272"/>
                </a:cubicBezTo>
                <a:cubicBezTo>
                  <a:pt x="331" y="273"/>
                  <a:pt x="331" y="273"/>
                  <a:pt x="331" y="273"/>
                </a:cubicBezTo>
                <a:cubicBezTo>
                  <a:pt x="329" y="274"/>
                  <a:pt x="329" y="274"/>
                  <a:pt x="329" y="274"/>
                </a:cubicBezTo>
                <a:cubicBezTo>
                  <a:pt x="329" y="273"/>
                  <a:pt x="329" y="273"/>
                  <a:pt x="329" y="273"/>
                </a:cubicBezTo>
                <a:cubicBezTo>
                  <a:pt x="330" y="273"/>
                  <a:pt x="330" y="273"/>
                  <a:pt x="330" y="273"/>
                </a:cubicBezTo>
                <a:cubicBezTo>
                  <a:pt x="330" y="272"/>
                  <a:pt x="330" y="272"/>
                  <a:pt x="330" y="272"/>
                </a:cubicBezTo>
                <a:cubicBezTo>
                  <a:pt x="330" y="272"/>
                  <a:pt x="330" y="272"/>
                  <a:pt x="330" y="272"/>
                </a:cubicBezTo>
                <a:cubicBezTo>
                  <a:pt x="328" y="271"/>
                  <a:pt x="328" y="271"/>
                  <a:pt x="328" y="271"/>
                </a:cubicBezTo>
                <a:cubicBezTo>
                  <a:pt x="328" y="270"/>
                  <a:pt x="328" y="270"/>
                  <a:pt x="328" y="270"/>
                </a:cubicBezTo>
                <a:cubicBezTo>
                  <a:pt x="327" y="270"/>
                  <a:pt x="327" y="270"/>
                  <a:pt x="327" y="270"/>
                </a:cubicBezTo>
                <a:cubicBezTo>
                  <a:pt x="326" y="269"/>
                  <a:pt x="326" y="269"/>
                  <a:pt x="326" y="269"/>
                </a:cubicBezTo>
                <a:cubicBezTo>
                  <a:pt x="326" y="270"/>
                  <a:pt x="326" y="270"/>
                  <a:pt x="326" y="270"/>
                </a:cubicBezTo>
                <a:cubicBezTo>
                  <a:pt x="326" y="271"/>
                  <a:pt x="326" y="271"/>
                  <a:pt x="326" y="271"/>
                </a:cubicBezTo>
                <a:cubicBezTo>
                  <a:pt x="326" y="272"/>
                  <a:pt x="326" y="272"/>
                  <a:pt x="326" y="272"/>
                </a:cubicBezTo>
                <a:cubicBezTo>
                  <a:pt x="327" y="273"/>
                  <a:pt x="327" y="273"/>
                  <a:pt x="327" y="273"/>
                </a:cubicBezTo>
                <a:cubicBezTo>
                  <a:pt x="326" y="274"/>
                  <a:pt x="326" y="274"/>
                  <a:pt x="326" y="274"/>
                </a:cubicBezTo>
                <a:cubicBezTo>
                  <a:pt x="325" y="275"/>
                  <a:pt x="325" y="275"/>
                  <a:pt x="325" y="275"/>
                </a:cubicBezTo>
                <a:cubicBezTo>
                  <a:pt x="325" y="275"/>
                  <a:pt x="325" y="275"/>
                  <a:pt x="325" y="275"/>
                </a:cubicBezTo>
                <a:cubicBezTo>
                  <a:pt x="324" y="275"/>
                  <a:pt x="324" y="275"/>
                  <a:pt x="324" y="275"/>
                </a:cubicBezTo>
                <a:cubicBezTo>
                  <a:pt x="324" y="274"/>
                  <a:pt x="324" y="274"/>
                  <a:pt x="324" y="274"/>
                </a:cubicBezTo>
                <a:cubicBezTo>
                  <a:pt x="324" y="275"/>
                  <a:pt x="324" y="275"/>
                  <a:pt x="324" y="275"/>
                </a:cubicBezTo>
                <a:cubicBezTo>
                  <a:pt x="323" y="276"/>
                  <a:pt x="323" y="276"/>
                  <a:pt x="323" y="276"/>
                </a:cubicBezTo>
                <a:cubicBezTo>
                  <a:pt x="322" y="277"/>
                  <a:pt x="322" y="277"/>
                  <a:pt x="322" y="277"/>
                </a:cubicBezTo>
                <a:cubicBezTo>
                  <a:pt x="320" y="278"/>
                  <a:pt x="320" y="278"/>
                  <a:pt x="320" y="278"/>
                </a:cubicBezTo>
                <a:cubicBezTo>
                  <a:pt x="319" y="278"/>
                  <a:pt x="319" y="278"/>
                  <a:pt x="319" y="278"/>
                </a:cubicBezTo>
                <a:cubicBezTo>
                  <a:pt x="318" y="278"/>
                  <a:pt x="318" y="278"/>
                  <a:pt x="318" y="278"/>
                </a:cubicBezTo>
                <a:cubicBezTo>
                  <a:pt x="317" y="278"/>
                  <a:pt x="317" y="278"/>
                  <a:pt x="317" y="278"/>
                </a:cubicBezTo>
                <a:cubicBezTo>
                  <a:pt x="316" y="278"/>
                  <a:pt x="316" y="278"/>
                  <a:pt x="316" y="278"/>
                </a:cubicBezTo>
                <a:cubicBezTo>
                  <a:pt x="316" y="279"/>
                  <a:pt x="316" y="279"/>
                  <a:pt x="316" y="279"/>
                </a:cubicBezTo>
                <a:cubicBezTo>
                  <a:pt x="315" y="280"/>
                  <a:pt x="315" y="280"/>
                  <a:pt x="315" y="280"/>
                </a:cubicBezTo>
                <a:cubicBezTo>
                  <a:pt x="314" y="280"/>
                  <a:pt x="314" y="280"/>
                  <a:pt x="314" y="280"/>
                </a:cubicBezTo>
                <a:cubicBezTo>
                  <a:pt x="313" y="280"/>
                  <a:pt x="313" y="280"/>
                  <a:pt x="313" y="280"/>
                </a:cubicBezTo>
                <a:cubicBezTo>
                  <a:pt x="312" y="280"/>
                  <a:pt x="312" y="280"/>
                  <a:pt x="312" y="280"/>
                </a:cubicBezTo>
                <a:cubicBezTo>
                  <a:pt x="311" y="281"/>
                  <a:pt x="311" y="281"/>
                  <a:pt x="311" y="281"/>
                </a:cubicBezTo>
                <a:cubicBezTo>
                  <a:pt x="311" y="281"/>
                  <a:pt x="311" y="281"/>
                  <a:pt x="311" y="281"/>
                </a:cubicBezTo>
                <a:cubicBezTo>
                  <a:pt x="310" y="281"/>
                  <a:pt x="310" y="281"/>
                  <a:pt x="310" y="281"/>
                </a:cubicBezTo>
                <a:cubicBezTo>
                  <a:pt x="311" y="281"/>
                  <a:pt x="311" y="281"/>
                  <a:pt x="311" y="281"/>
                </a:cubicBezTo>
                <a:cubicBezTo>
                  <a:pt x="310" y="281"/>
                  <a:pt x="310" y="281"/>
                  <a:pt x="310" y="281"/>
                </a:cubicBezTo>
                <a:cubicBezTo>
                  <a:pt x="310" y="281"/>
                  <a:pt x="310" y="281"/>
                  <a:pt x="310" y="281"/>
                </a:cubicBezTo>
                <a:cubicBezTo>
                  <a:pt x="310" y="280"/>
                  <a:pt x="310" y="280"/>
                  <a:pt x="310" y="280"/>
                </a:cubicBezTo>
                <a:cubicBezTo>
                  <a:pt x="310" y="280"/>
                  <a:pt x="310" y="280"/>
                  <a:pt x="310" y="280"/>
                </a:cubicBezTo>
                <a:cubicBezTo>
                  <a:pt x="309" y="280"/>
                  <a:pt x="309" y="280"/>
                  <a:pt x="309" y="280"/>
                </a:cubicBezTo>
                <a:cubicBezTo>
                  <a:pt x="309" y="280"/>
                  <a:pt x="309" y="280"/>
                  <a:pt x="309" y="280"/>
                </a:cubicBezTo>
                <a:cubicBezTo>
                  <a:pt x="309" y="280"/>
                  <a:pt x="309" y="280"/>
                  <a:pt x="309" y="280"/>
                </a:cubicBezTo>
                <a:cubicBezTo>
                  <a:pt x="309" y="280"/>
                  <a:pt x="309" y="280"/>
                  <a:pt x="309" y="280"/>
                </a:cubicBezTo>
                <a:cubicBezTo>
                  <a:pt x="309" y="281"/>
                  <a:pt x="309" y="281"/>
                  <a:pt x="309" y="281"/>
                </a:cubicBezTo>
                <a:cubicBezTo>
                  <a:pt x="309" y="282"/>
                  <a:pt x="309" y="282"/>
                  <a:pt x="309" y="282"/>
                </a:cubicBezTo>
                <a:cubicBezTo>
                  <a:pt x="308" y="282"/>
                  <a:pt x="308" y="282"/>
                  <a:pt x="308" y="282"/>
                </a:cubicBezTo>
                <a:cubicBezTo>
                  <a:pt x="307" y="283"/>
                  <a:pt x="307" y="283"/>
                  <a:pt x="307" y="283"/>
                </a:cubicBezTo>
                <a:cubicBezTo>
                  <a:pt x="308" y="284"/>
                  <a:pt x="308" y="284"/>
                  <a:pt x="308" y="284"/>
                </a:cubicBezTo>
                <a:cubicBezTo>
                  <a:pt x="309" y="284"/>
                  <a:pt x="309" y="284"/>
                  <a:pt x="309" y="284"/>
                </a:cubicBezTo>
                <a:cubicBezTo>
                  <a:pt x="309" y="285"/>
                  <a:pt x="309" y="285"/>
                  <a:pt x="309" y="285"/>
                </a:cubicBezTo>
                <a:cubicBezTo>
                  <a:pt x="309" y="286"/>
                  <a:pt x="309" y="286"/>
                  <a:pt x="309" y="286"/>
                </a:cubicBezTo>
                <a:cubicBezTo>
                  <a:pt x="310" y="286"/>
                  <a:pt x="310" y="286"/>
                  <a:pt x="310" y="286"/>
                </a:cubicBezTo>
                <a:cubicBezTo>
                  <a:pt x="310" y="286"/>
                  <a:pt x="310" y="286"/>
                  <a:pt x="310" y="286"/>
                </a:cubicBezTo>
                <a:cubicBezTo>
                  <a:pt x="309" y="288"/>
                  <a:pt x="309" y="288"/>
                  <a:pt x="309" y="288"/>
                </a:cubicBezTo>
                <a:cubicBezTo>
                  <a:pt x="308" y="288"/>
                  <a:pt x="308" y="288"/>
                  <a:pt x="308" y="288"/>
                </a:cubicBezTo>
                <a:cubicBezTo>
                  <a:pt x="308" y="287"/>
                  <a:pt x="308" y="287"/>
                  <a:pt x="308" y="287"/>
                </a:cubicBezTo>
                <a:cubicBezTo>
                  <a:pt x="307" y="287"/>
                  <a:pt x="307" y="287"/>
                  <a:pt x="307" y="287"/>
                </a:cubicBezTo>
                <a:cubicBezTo>
                  <a:pt x="306" y="288"/>
                  <a:pt x="306" y="288"/>
                  <a:pt x="306" y="288"/>
                </a:cubicBezTo>
                <a:cubicBezTo>
                  <a:pt x="306" y="288"/>
                  <a:pt x="306" y="288"/>
                  <a:pt x="306" y="288"/>
                </a:cubicBezTo>
                <a:cubicBezTo>
                  <a:pt x="306" y="287"/>
                  <a:pt x="306" y="287"/>
                  <a:pt x="306" y="287"/>
                </a:cubicBezTo>
                <a:cubicBezTo>
                  <a:pt x="306" y="286"/>
                  <a:pt x="306" y="286"/>
                  <a:pt x="306" y="286"/>
                </a:cubicBezTo>
                <a:cubicBezTo>
                  <a:pt x="305" y="286"/>
                  <a:pt x="305" y="286"/>
                  <a:pt x="305" y="286"/>
                </a:cubicBezTo>
                <a:cubicBezTo>
                  <a:pt x="304" y="284"/>
                  <a:pt x="304" y="284"/>
                  <a:pt x="304" y="284"/>
                </a:cubicBezTo>
                <a:cubicBezTo>
                  <a:pt x="304" y="283"/>
                  <a:pt x="304" y="283"/>
                  <a:pt x="304" y="283"/>
                </a:cubicBezTo>
                <a:cubicBezTo>
                  <a:pt x="304" y="282"/>
                  <a:pt x="304" y="282"/>
                  <a:pt x="304" y="282"/>
                </a:cubicBezTo>
                <a:cubicBezTo>
                  <a:pt x="305" y="281"/>
                  <a:pt x="305" y="281"/>
                  <a:pt x="305" y="281"/>
                </a:cubicBezTo>
                <a:cubicBezTo>
                  <a:pt x="306" y="280"/>
                  <a:pt x="306" y="280"/>
                  <a:pt x="306" y="280"/>
                </a:cubicBezTo>
                <a:cubicBezTo>
                  <a:pt x="306" y="280"/>
                  <a:pt x="306" y="280"/>
                  <a:pt x="306" y="280"/>
                </a:cubicBezTo>
                <a:cubicBezTo>
                  <a:pt x="305" y="280"/>
                  <a:pt x="305" y="280"/>
                  <a:pt x="305" y="280"/>
                </a:cubicBezTo>
                <a:cubicBezTo>
                  <a:pt x="304" y="280"/>
                  <a:pt x="304" y="280"/>
                  <a:pt x="304" y="280"/>
                </a:cubicBezTo>
                <a:cubicBezTo>
                  <a:pt x="303" y="279"/>
                  <a:pt x="303" y="279"/>
                  <a:pt x="303" y="279"/>
                </a:cubicBezTo>
                <a:cubicBezTo>
                  <a:pt x="302" y="280"/>
                  <a:pt x="302" y="280"/>
                  <a:pt x="302" y="280"/>
                </a:cubicBezTo>
                <a:cubicBezTo>
                  <a:pt x="302" y="280"/>
                  <a:pt x="302" y="280"/>
                  <a:pt x="302" y="280"/>
                </a:cubicBezTo>
                <a:cubicBezTo>
                  <a:pt x="301" y="280"/>
                  <a:pt x="301" y="280"/>
                  <a:pt x="301" y="280"/>
                </a:cubicBezTo>
                <a:cubicBezTo>
                  <a:pt x="299" y="279"/>
                  <a:pt x="299" y="279"/>
                  <a:pt x="299" y="279"/>
                </a:cubicBezTo>
                <a:cubicBezTo>
                  <a:pt x="299" y="279"/>
                  <a:pt x="299" y="279"/>
                  <a:pt x="299" y="279"/>
                </a:cubicBezTo>
                <a:cubicBezTo>
                  <a:pt x="298" y="278"/>
                  <a:pt x="298" y="278"/>
                  <a:pt x="298" y="278"/>
                </a:cubicBezTo>
                <a:cubicBezTo>
                  <a:pt x="297" y="277"/>
                  <a:pt x="297" y="277"/>
                  <a:pt x="297" y="277"/>
                </a:cubicBezTo>
                <a:cubicBezTo>
                  <a:pt x="297" y="278"/>
                  <a:pt x="297" y="278"/>
                  <a:pt x="297" y="278"/>
                </a:cubicBezTo>
                <a:cubicBezTo>
                  <a:pt x="297" y="279"/>
                  <a:pt x="297" y="279"/>
                  <a:pt x="297" y="279"/>
                </a:cubicBezTo>
                <a:cubicBezTo>
                  <a:pt x="296" y="279"/>
                  <a:pt x="296" y="279"/>
                  <a:pt x="296" y="279"/>
                </a:cubicBezTo>
                <a:cubicBezTo>
                  <a:pt x="295" y="279"/>
                  <a:pt x="295" y="279"/>
                  <a:pt x="295" y="279"/>
                </a:cubicBezTo>
                <a:cubicBezTo>
                  <a:pt x="295" y="279"/>
                  <a:pt x="295" y="279"/>
                  <a:pt x="295" y="279"/>
                </a:cubicBezTo>
                <a:cubicBezTo>
                  <a:pt x="294" y="279"/>
                  <a:pt x="294" y="279"/>
                  <a:pt x="294" y="279"/>
                </a:cubicBezTo>
                <a:cubicBezTo>
                  <a:pt x="294" y="279"/>
                  <a:pt x="294" y="279"/>
                  <a:pt x="294" y="279"/>
                </a:cubicBezTo>
                <a:cubicBezTo>
                  <a:pt x="294" y="279"/>
                  <a:pt x="294" y="279"/>
                  <a:pt x="294" y="279"/>
                </a:cubicBezTo>
                <a:cubicBezTo>
                  <a:pt x="293" y="279"/>
                  <a:pt x="293" y="279"/>
                  <a:pt x="293" y="279"/>
                </a:cubicBezTo>
                <a:cubicBezTo>
                  <a:pt x="287" y="280"/>
                  <a:pt x="287" y="280"/>
                  <a:pt x="287" y="280"/>
                </a:cubicBezTo>
                <a:cubicBezTo>
                  <a:pt x="274" y="274"/>
                  <a:pt x="274" y="274"/>
                  <a:pt x="274" y="274"/>
                </a:cubicBezTo>
                <a:cubicBezTo>
                  <a:pt x="252" y="285"/>
                  <a:pt x="252" y="285"/>
                  <a:pt x="252" y="285"/>
                </a:cubicBezTo>
                <a:cubicBezTo>
                  <a:pt x="236" y="280"/>
                  <a:pt x="236" y="280"/>
                  <a:pt x="236" y="280"/>
                </a:cubicBezTo>
                <a:cubicBezTo>
                  <a:pt x="199" y="253"/>
                  <a:pt x="199" y="253"/>
                  <a:pt x="199" y="253"/>
                </a:cubicBezTo>
                <a:cubicBezTo>
                  <a:pt x="121" y="246"/>
                  <a:pt x="121" y="246"/>
                  <a:pt x="121" y="246"/>
                </a:cubicBezTo>
                <a:cubicBezTo>
                  <a:pt x="80" y="207"/>
                  <a:pt x="80" y="207"/>
                  <a:pt x="80" y="207"/>
                </a:cubicBezTo>
                <a:cubicBezTo>
                  <a:pt x="0" y="173"/>
                  <a:pt x="0" y="173"/>
                  <a:pt x="0" y="173"/>
                </a:cubicBezTo>
                <a:cubicBezTo>
                  <a:pt x="7" y="106"/>
                  <a:pt x="7" y="106"/>
                  <a:pt x="7" y="106"/>
                </a:cubicBezTo>
                <a:cubicBezTo>
                  <a:pt x="59" y="78"/>
                  <a:pt x="59" y="78"/>
                  <a:pt x="59" y="78"/>
                </a:cubicBezTo>
                <a:cubicBezTo>
                  <a:pt x="119" y="65"/>
                  <a:pt x="119" y="65"/>
                  <a:pt x="119" y="65"/>
                </a:cubicBezTo>
                <a:cubicBezTo>
                  <a:pt x="124" y="64"/>
                  <a:pt x="124" y="64"/>
                  <a:pt x="124" y="64"/>
                </a:cubicBezTo>
                <a:close/>
                <a:moveTo>
                  <a:pt x="348" y="265"/>
                </a:moveTo>
                <a:cubicBezTo>
                  <a:pt x="349" y="265"/>
                  <a:pt x="349" y="265"/>
                  <a:pt x="349" y="265"/>
                </a:cubicBezTo>
                <a:cubicBezTo>
                  <a:pt x="350" y="265"/>
                  <a:pt x="350" y="265"/>
                  <a:pt x="350" y="265"/>
                </a:cubicBezTo>
                <a:cubicBezTo>
                  <a:pt x="350" y="265"/>
                  <a:pt x="350" y="265"/>
                  <a:pt x="350" y="265"/>
                </a:cubicBezTo>
                <a:cubicBezTo>
                  <a:pt x="349" y="264"/>
                  <a:pt x="349" y="264"/>
                  <a:pt x="349" y="264"/>
                </a:cubicBezTo>
                <a:cubicBezTo>
                  <a:pt x="348" y="265"/>
                  <a:pt x="348" y="265"/>
                  <a:pt x="348" y="265"/>
                </a:cubicBezTo>
                <a:close/>
                <a:moveTo>
                  <a:pt x="362" y="249"/>
                </a:moveTo>
                <a:cubicBezTo>
                  <a:pt x="362" y="250"/>
                  <a:pt x="362" y="250"/>
                  <a:pt x="362" y="250"/>
                </a:cubicBezTo>
                <a:cubicBezTo>
                  <a:pt x="363" y="250"/>
                  <a:pt x="363" y="250"/>
                  <a:pt x="363" y="250"/>
                </a:cubicBezTo>
                <a:cubicBezTo>
                  <a:pt x="363" y="249"/>
                  <a:pt x="363" y="249"/>
                  <a:pt x="363" y="249"/>
                </a:cubicBezTo>
                <a:cubicBezTo>
                  <a:pt x="362" y="248"/>
                  <a:pt x="362" y="248"/>
                  <a:pt x="362" y="248"/>
                </a:cubicBezTo>
                <a:cubicBezTo>
                  <a:pt x="362" y="249"/>
                  <a:pt x="362" y="249"/>
                  <a:pt x="362" y="249"/>
                </a:cubicBezTo>
                <a:close/>
                <a:moveTo>
                  <a:pt x="371" y="212"/>
                </a:moveTo>
                <a:cubicBezTo>
                  <a:pt x="372" y="213"/>
                  <a:pt x="372" y="213"/>
                  <a:pt x="372" y="213"/>
                </a:cubicBezTo>
                <a:cubicBezTo>
                  <a:pt x="373" y="214"/>
                  <a:pt x="373" y="214"/>
                  <a:pt x="373" y="214"/>
                </a:cubicBezTo>
                <a:cubicBezTo>
                  <a:pt x="374" y="214"/>
                  <a:pt x="374" y="214"/>
                  <a:pt x="374" y="214"/>
                </a:cubicBezTo>
                <a:cubicBezTo>
                  <a:pt x="374" y="213"/>
                  <a:pt x="374" y="213"/>
                  <a:pt x="374" y="213"/>
                </a:cubicBezTo>
                <a:cubicBezTo>
                  <a:pt x="373" y="212"/>
                  <a:pt x="373" y="212"/>
                  <a:pt x="373" y="212"/>
                </a:cubicBezTo>
                <a:cubicBezTo>
                  <a:pt x="372" y="213"/>
                  <a:pt x="372" y="213"/>
                  <a:pt x="372" y="213"/>
                </a:cubicBezTo>
                <a:cubicBezTo>
                  <a:pt x="371" y="212"/>
                  <a:pt x="371" y="212"/>
                  <a:pt x="371" y="212"/>
                </a:cubicBezTo>
                <a:close/>
                <a:moveTo>
                  <a:pt x="365" y="200"/>
                </a:moveTo>
                <a:cubicBezTo>
                  <a:pt x="365" y="201"/>
                  <a:pt x="365" y="201"/>
                  <a:pt x="365" y="201"/>
                </a:cubicBezTo>
                <a:cubicBezTo>
                  <a:pt x="365" y="201"/>
                  <a:pt x="365" y="201"/>
                  <a:pt x="365" y="201"/>
                </a:cubicBezTo>
                <a:cubicBezTo>
                  <a:pt x="367" y="201"/>
                  <a:pt x="367" y="201"/>
                  <a:pt x="367" y="201"/>
                </a:cubicBezTo>
                <a:cubicBezTo>
                  <a:pt x="368" y="202"/>
                  <a:pt x="368" y="202"/>
                  <a:pt x="368" y="202"/>
                </a:cubicBezTo>
                <a:cubicBezTo>
                  <a:pt x="368" y="201"/>
                  <a:pt x="368" y="201"/>
                  <a:pt x="368" y="201"/>
                </a:cubicBezTo>
                <a:cubicBezTo>
                  <a:pt x="367" y="201"/>
                  <a:pt x="367" y="201"/>
                  <a:pt x="367" y="201"/>
                </a:cubicBezTo>
                <a:cubicBezTo>
                  <a:pt x="366" y="200"/>
                  <a:pt x="366" y="200"/>
                  <a:pt x="366" y="200"/>
                </a:cubicBezTo>
                <a:cubicBezTo>
                  <a:pt x="365" y="200"/>
                  <a:pt x="365" y="200"/>
                  <a:pt x="365" y="200"/>
                </a:cubicBezTo>
                <a:close/>
                <a:moveTo>
                  <a:pt x="372" y="276"/>
                </a:moveTo>
                <a:cubicBezTo>
                  <a:pt x="373" y="276"/>
                  <a:pt x="373" y="276"/>
                  <a:pt x="373" y="276"/>
                </a:cubicBezTo>
                <a:cubicBezTo>
                  <a:pt x="374" y="276"/>
                  <a:pt x="374" y="276"/>
                  <a:pt x="374" y="276"/>
                </a:cubicBezTo>
                <a:cubicBezTo>
                  <a:pt x="374" y="275"/>
                  <a:pt x="374" y="275"/>
                  <a:pt x="374" y="275"/>
                </a:cubicBezTo>
                <a:cubicBezTo>
                  <a:pt x="374" y="273"/>
                  <a:pt x="374" y="273"/>
                  <a:pt x="374" y="273"/>
                </a:cubicBezTo>
                <a:cubicBezTo>
                  <a:pt x="374" y="271"/>
                  <a:pt x="374" y="271"/>
                  <a:pt x="374" y="271"/>
                </a:cubicBezTo>
                <a:cubicBezTo>
                  <a:pt x="375" y="270"/>
                  <a:pt x="375" y="270"/>
                  <a:pt x="375" y="270"/>
                </a:cubicBezTo>
                <a:cubicBezTo>
                  <a:pt x="376" y="268"/>
                  <a:pt x="376" y="268"/>
                  <a:pt x="376" y="268"/>
                </a:cubicBezTo>
                <a:cubicBezTo>
                  <a:pt x="376" y="266"/>
                  <a:pt x="376" y="266"/>
                  <a:pt x="376" y="266"/>
                </a:cubicBezTo>
                <a:cubicBezTo>
                  <a:pt x="377" y="266"/>
                  <a:pt x="377" y="266"/>
                  <a:pt x="377" y="266"/>
                </a:cubicBezTo>
                <a:cubicBezTo>
                  <a:pt x="376" y="265"/>
                  <a:pt x="376" y="265"/>
                  <a:pt x="376" y="265"/>
                </a:cubicBezTo>
                <a:cubicBezTo>
                  <a:pt x="376" y="263"/>
                  <a:pt x="376" y="263"/>
                  <a:pt x="376" y="263"/>
                </a:cubicBezTo>
                <a:cubicBezTo>
                  <a:pt x="377" y="261"/>
                  <a:pt x="377" y="261"/>
                  <a:pt x="377" y="261"/>
                </a:cubicBezTo>
                <a:cubicBezTo>
                  <a:pt x="376" y="259"/>
                  <a:pt x="376" y="259"/>
                  <a:pt x="376" y="259"/>
                </a:cubicBezTo>
                <a:cubicBezTo>
                  <a:pt x="377" y="258"/>
                  <a:pt x="377" y="258"/>
                  <a:pt x="377" y="258"/>
                </a:cubicBezTo>
                <a:cubicBezTo>
                  <a:pt x="377" y="255"/>
                  <a:pt x="377" y="255"/>
                  <a:pt x="377" y="255"/>
                </a:cubicBezTo>
                <a:cubicBezTo>
                  <a:pt x="378" y="253"/>
                  <a:pt x="378" y="253"/>
                  <a:pt x="378" y="253"/>
                </a:cubicBezTo>
                <a:cubicBezTo>
                  <a:pt x="378" y="253"/>
                  <a:pt x="378" y="253"/>
                  <a:pt x="378" y="253"/>
                </a:cubicBezTo>
                <a:cubicBezTo>
                  <a:pt x="378" y="252"/>
                  <a:pt x="378" y="252"/>
                  <a:pt x="378" y="252"/>
                </a:cubicBezTo>
                <a:cubicBezTo>
                  <a:pt x="377" y="251"/>
                  <a:pt x="377" y="251"/>
                  <a:pt x="377" y="251"/>
                </a:cubicBezTo>
                <a:cubicBezTo>
                  <a:pt x="376" y="251"/>
                  <a:pt x="376" y="251"/>
                  <a:pt x="376" y="251"/>
                </a:cubicBezTo>
                <a:cubicBezTo>
                  <a:pt x="376" y="250"/>
                  <a:pt x="376" y="250"/>
                  <a:pt x="376" y="250"/>
                </a:cubicBezTo>
                <a:cubicBezTo>
                  <a:pt x="374" y="249"/>
                  <a:pt x="374" y="249"/>
                  <a:pt x="374" y="249"/>
                </a:cubicBezTo>
                <a:cubicBezTo>
                  <a:pt x="374" y="250"/>
                  <a:pt x="374" y="250"/>
                  <a:pt x="374" y="250"/>
                </a:cubicBezTo>
                <a:cubicBezTo>
                  <a:pt x="374" y="251"/>
                  <a:pt x="374" y="251"/>
                  <a:pt x="374" y="251"/>
                </a:cubicBezTo>
                <a:cubicBezTo>
                  <a:pt x="373" y="251"/>
                  <a:pt x="373" y="251"/>
                  <a:pt x="373" y="251"/>
                </a:cubicBezTo>
                <a:cubicBezTo>
                  <a:pt x="371" y="253"/>
                  <a:pt x="371" y="253"/>
                  <a:pt x="371" y="253"/>
                </a:cubicBezTo>
                <a:cubicBezTo>
                  <a:pt x="370" y="255"/>
                  <a:pt x="370" y="255"/>
                  <a:pt x="370" y="255"/>
                </a:cubicBezTo>
                <a:cubicBezTo>
                  <a:pt x="370" y="255"/>
                  <a:pt x="370" y="255"/>
                  <a:pt x="370" y="255"/>
                </a:cubicBezTo>
                <a:cubicBezTo>
                  <a:pt x="370" y="256"/>
                  <a:pt x="370" y="256"/>
                  <a:pt x="370" y="256"/>
                </a:cubicBezTo>
                <a:cubicBezTo>
                  <a:pt x="369" y="257"/>
                  <a:pt x="369" y="257"/>
                  <a:pt x="369" y="257"/>
                </a:cubicBezTo>
                <a:cubicBezTo>
                  <a:pt x="368" y="259"/>
                  <a:pt x="368" y="259"/>
                  <a:pt x="368" y="259"/>
                </a:cubicBezTo>
                <a:cubicBezTo>
                  <a:pt x="367" y="262"/>
                  <a:pt x="367" y="262"/>
                  <a:pt x="367" y="262"/>
                </a:cubicBezTo>
                <a:cubicBezTo>
                  <a:pt x="367" y="262"/>
                  <a:pt x="367" y="262"/>
                  <a:pt x="367" y="262"/>
                </a:cubicBezTo>
                <a:cubicBezTo>
                  <a:pt x="367" y="263"/>
                  <a:pt x="367" y="263"/>
                  <a:pt x="367" y="263"/>
                </a:cubicBezTo>
                <a:cubicBezTo>
                  <a:pt x="367" y="265"/>
                  <a:pt x="367" y="265"/>
                  <a:pt x="367" y="265"/>
                </a:cubicBezTo>
                <a:cubicBezTo>
                  <a:pt x="368" y="267"/>
                  <a:pt x="368" y="267"/>
                  <a:pt x="368" y="267"/>
                </a:cubicBezTo>
                <a:cubicBezTo>
                  <a:pt x="368" y="268"/>
                  <a:pt x="368" y="268"/>
                  <a:pt x="368" y="268"/>
                </a:cubicBezTo>
                <a:cubicBezTo>
                  <a:pt x="368" y="269"/>
                  <a:pt x="368" y="269"/>
                  <a:pt x="368" y="269"/>
                </a:cubicBezTo>
                <a:cubicBezTo>
                  <a:pt x="368" y="269"/>
                  <a:pt x="368" y="269"/>
                  <a:pt x="368" y="269"/>
                </a:cubicBezTo>
                <a:cubicBezTo>
                  <a:pt x="368" y="269"/>
                  <a:pt x="368" y="269"/>
                  <a:pt x="368" y="269"/>
                </a:cubicBezTo>
                <a:cubicBezTo>
                  <a:pt x="369" y="271"/>
                  <a:pt x="369" y="271"/>
                  <a:pt x="369" y="271"/>
                </a:cubicBezTo>
                <a:cubicBezTo>
                  <a:pt x="369" y="271"/>
                  <a:pt x="369" y="271"/>
                  <a:pt x="369" y="271"/>
                </a:cubicBezTo>
                <a:cubicBezTo>
                  <a:pt x="370" y="272"/>
                  <a:pt x="370" y="272"/>
                  <a:pt x="370" y="272"/>
                </a:cubicBezTo>
                <a:cubicBezTo>
                  <a:pt x="371" y="272"/>
                  <a:pt x="371" y="272"/>
                  <a:pt x="371" y="272"/>
                </a:cubicBezTo>
                <a:cubicBezTo>
                  <a:pt x="372" y="273"/>
                  <a:pt x="372" y="273"/>
                  <a:pt x="372" y="273"/>
                </a:cubicBezTo>
                <a:cubicBezTo>
                  <a:pt x="372" y="275"/>
                  <a:pt x="372" y="275"/>
                  <a:pt x="372" y="275"/>
                </a:cubicBezTo>
                <a:cubicBezTo>
                  <a:pt x="372" y="276"/>
                  <a:pt x="372" y="276"/>
                  <a:pt x="372" y="276"/>
                </a:cubicBezTo>
                <a:close/>
                <a:moveTo>
                  <a:pt x="309" y="283"/>
                </a:moveTo>
                <a:cubicBezTo>
                  <a:pt x="310" y="283"/>
                  <a:pt x="310" y="283"/>
                  <a:pt x="310" y="283"/>
                </a:cubicBezTo>
                <a:cubicBezTo>
                  <a:pt x="310" y="283"/>
                  <a:pt x="310" y="283"/>
                  <a:pt x="310" y="283"/>
                </a:cubicBezTo>
                <a:cubicBezTo>
                  <a:pt x="312" y="284"/>
                  <a:pt x="312" y="284"/>
                  <a:pt x="312" y="284"/>
                </a:cubicBezTo>
                <a:cubicBezTo>
                  <a:pt x="312" y="283"/>
                  <a:pt x="312" y="283"/>
                  <a:pt x="312" y="283"/>
                </a:cubicBezTo>
                <a:cubicBezTo>
                  <a:pt x="311" y="283"/>
                  <a:pt x="311" y="283"/>
                  <a:pt x="311" y="283"/>
                </a:cubicBezTo>
                <a:cubicBezTo>
                  <a:pt x="309" y="283"/>
                  <a:pt x="309" y="283"/>
                  <a:pt x="309" y="283"/>
                </a:cubicBezTo>
                <a:close/>
                <a:moveTo>
                  <a:pt x="309" y="289"/>
                </a:moveTo>
                <a:cubicBezTo>
                  <a:pt x="308" y="289"/>
                  <a:pt x="308" y="289"/>
                  <a:pt x="308" y="289"/>
                </a:cubicBezTo>
                <a:cubicBezTo>
                  <a:pt x="307" y="289"/>
                  <a:pt x="307" y="289"/>
                  <a:pt x="307" y="289"/>
                </a:cubicBezTo>
                <a:cubicBezTo>
                  <a:pt x="306" y="290"/>
                  <a:pt x="306" y="290"/>
                  <a:pt x="306" y="290"/>
                </a:cubicBezTo>
                <a:cubicBezTo>
                  <a:pt x="305" y="290"/>
                  <a:pt x="305" y="290"/>
                  <a:pt x="305" y="290"/>
                </a:cubicBezTo>
                <a:cubicBezTo>
                  <a:pt x="304" y="290"/>
                  <a:pt x="304" y="290"/>
                  <a:pt x="304" y="290"/>
                </a:cubicBezTo>
                <a:cubicBezTo>
                  <a:pt x="303" y="291"/>
                  <a:pt x="303" y="291"/>
                  <a:pt x="303" y="291"/>
                </a:cubicBezTo>
                <a:cubicBezTo>
                  <a:pt x="303" y="292"/>
                  <a:pt x="303" y="292"/>
                  <a:pt x="303" y="292"/>
                </a:cubicBezTo>
                <a:cubicBezTo>
                  <a:pt x="301" y="293"/>
                  <a:pt x="301" y="293"/>
                  <a:pt x="301" y="293"/>
                </a:cubicBezTo>
                <a:cubicBezTo>
                  <a:pt x="299" y="295"/>
                  <a:pt x="299" y="295"/>
                  <a:pt x="299" y="295"/>
                </a:cubicBezTo>
                <a:cubicBezTo>
                  <a:pt x="300" y="296"/>
                  <a:pt x="300" y="296"/>
                  <a:pt x="300" y="296"/>
                </a:cubicBezTo>
                <a:cubicBezTo>
                  <a:pt x="300" y="298"/>
                  <a:pt x="300" y="298"/>
                  <a:pt x="300" y="298"/>
                </a:cubicBezTo>
                <a:cubicBezTo>
                  <a:pt x="300" y="299"/>
                  <a:pt x="300" y="299"/>
                  <a:pt x="300" y="299"/>
                </a:cubicBezTo>
                <a:cubicBezTo>
                  <a:pt x="300" y="300"/>
                  <a:pt x="300" y="300"/>
                  <a:pt x="300" y="300"/>
                </a:cubicBezTo>
                <a:cubicBezTo>
                  <a:pt x="301" y="301"/>
                  <a:pt x="301" y="301"/>
                  <a:pt x="301" y="301"/>
                </a:cubicBezTo>
                <a:cubicBezTo>
                  <a:pt x="303" y="301"/>
                  <a:pt x="303" y="301"/>
                  <a:pt x="303" y="301"/>
                </a:cubicBezTo>
                <a:cubicBezTo>
                  <a:pt x="304" y="302"/>
                  <a:pt x="304" y="302"/>
                  <a:pt x="304" y="302"/>
                </a:cubicBezTo>
                <a:cubicBezTo>
                  <a:pt x="305" y="302"/>
                  <a:pt x="305" y="302"/>
                  <a:pt x="305" y="302"/>
                </a:cubicBezTo>
                <a:cubicBezTo>
                  <a:pt x="306" y="302"/>
                  <a:pt x="306" y="302"/>
                  <a:pt x="306" y="302"/>
                </a:cubicBezTo>
                <a:cubicBezTo>
                  <a:pt x="306" y="302"/>
                  <a:pt x="306" y="302"/>
                  <a:pt x="306" y="302"/>
                </a:cubicBezTo>
                <a:cubicBezTo>
                  <a:pt x="307" y="301"/>
                  <a:pt x="307" y="301"/>
                  <a:pt x="307" y="301"/>
                </a:cubicBezTo>
                <a:cubicBezTo>
                  <a:pt x="308" y="301"/>
                  <a:pt x="308" y="301"/>
                  <a:pt x="308" y="301"/>
                </a:cubicBezTo>
                <a:cubicBezTo>
                  <a:pt x="309" y="301"/>
                  <a:pt x="309" y="301"/>
                  <a:pt x="309" y="301"/>
                </a:cubicBezTo>
                <a:cubicBezTo>
                  <a:pt x="310" y="300"/>
                  <a:pt x="310" y="300"/>
                  <a:pt x="310" y="300"/>
                </a:cubicBezTo>
                <a:cubicBezTo>
                  <a:pt x="310" y="299"/>
                  <a:pt x="310" y="299"/>
                  <a:pt x="310" y="299"/>
                </a:cubicBezTo>
                <a:cubicBezTo>
                  <a:pt x="311" y="299"/>
                  <a:pt x="311" y="299"/>
                  <a:pt x="311" y="299"/>
                </a:cubicBezTo>
                <a:cubicBezTo>
                  <a:pt x="312" y="298"/>
                  <a:pt x="312" y="298"/>
                  <a:pt x="312" y="298"/>
                </a:cubicBezTo>
                <a:cubicBezTo>
                  <a:pt x="312" y="297"/>
                  <a:pt x="312" y="297"/>
                  <a:pt x="312" y="297"/>
                </a:cubicBezTo>
                <a:cubicBezTo>
                  <a:pt x="312" y="295"/>
                  <a:pt x="312" y="295"/>
                  <a:pt x="312" y="295"/>
                </a:cubicBezTo>
                <a:cubicBezTo>
                  <a:pt x="313" y="295"/>
                  <a:pt x="313" y="295"/>
                  <a:pt x="313" y="295"/>
                </a:cubicBezTo>
                <a:cubicBezTo>
                  <a:pt x="313" y="294"/>
                  <a:pt x="313" y="294"/>
                  <a:pt x="313" y="294"/>
                </a:cubicBezTo>
                <a:cubicBezTo>
                  <a:pt x="314" y="292"/>
                  <a:pt x="314" y="292"/>
                  <a:pt x="314" y="292"/>
                </a:cubicBezTo>
                <a:cubicBezTo>
                  <a:pt x="313" y="290"/>
                  <a:pt x="313" y="290"/>
                  <a:pt x="313" y="290"/>
                </a:cubicBezTo>
                <a:cubicBezTo>
                  <a:pt x="312" y="290"/>
                  <a:pt x="312" y="290"/>
                  <a:pt x="312" y="290"/>
                </a:cubicBezTo>
                <a:cubicBezTo>
                  <a:pt x="311" y="289"/>
                  <a:pt x="311" y="289"/>
                  <a:pt x="311" y="289"/>
                </a:cubicBezTo>
                <a:cubicBezTo>
                  <a:pt x="310" y="290"/>
                  <a:pt x="310" y="290"/>
                  <a:pt x="310" y="290"/>
                </a:cubicBezTo>
                <a:cubicBezTo>
                  <a:pt x="310" y="290"/>
                  <a:pt x="309" y="289"/>
                  <a:pt x="309" y="289"/>
                </a:cubicBez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4" name="Freeform 12">
            <a:extLst>
              <a:ext uri="{FF2B5EF4-FFF2-40B4-BE49-F238E27FC236}">
                <a16:creationId xmlns:a16="http://schemas.microsoft.com/office/drawing/2014/main" id="{F4CA8390-4870-1B9C-5632-A9A799D47CDA}"/>
              </a:ext>
            </a:extLst>
          </p:cNvPr>
          <p:cNvSpPr>
            <a:spLocks noEditPoints="1"/>
          </p:cNvSpPr>
          <p:nvPr userDrawn="1"/>
        </p:nvSpPr>
        <p:spPr bwMode="auto">
          <a:xfrm>
            <a:off x="13565888" y="2323381"/>
            <a:ext cx="873069" cy="1082678"/>
          </a:xfrm>
          <a:custGeom>
            <a:avLst/>
            <a:gdLst>
              <a:gd name="T0" fmla="*/ 84 w 88"/>
              <a:gd name="T1" fmla="*/ 10 h 109"/>
              <a:gd name="T2" fmla="*/ 36 w 88"/>
              <a:gd name="T3" fmla="*/ 1 h 109"/>
              <a:gd name="T4" fmla="*/ 29 w 88"/>
              <a:gd name="T5" fmla="*/ 11 h 109"/>
              <a:gd name="T6" fmla="*/ 38 w 88"/>
              <a:gd name="T7" fmla="*/ 20 h 109"/>
              <a:gd name="T8" fmla="*/ 39 w 88"/>
              <a:gd name="T9" fmla="*/ 21 h 109"/>
              <a:gd name="T10" fmla="*/ 35 w 88"/>
              <a:gd name="T11" fmla="*/ 23 h 109"/>
              <a:gd name="T12" fmla="*/ 46 w 88"/>
              <a:gd name="T13" fmla="*/ 27 h 109"/>
              <a:gd name="T14" fmla="*/ 55 w 88"/>
              <a:gd name="T15" fmla="*/ 28 h 109"/>
              <a:gd name="T16" fmla="*/ 63 w 88"/>
              <a:gd name="T17" fmla="*/ 20 h 109"/>
              <a:gd name="T18" fmla="*/ 62 w 88"/>
              <a:gd name="T19" fmla="*/ 11 h 109"/>
              <a:gd name="T20" fmla="*/ 53 w 88"/>
              <a:gd name="T21" fmla="*/ 8 h 109"/>
              <a:gd name="T22" fmla="*/ 49 w 88"/>
              <a:gd name="T23" fmla="*/ 11 h 109"/>
              <a:gd name="T24" fmla="*/ 45 w 88"/>
              <a:gd name="T25" fmla="*/ 6 h 109"/>
              <a:gd name="T26" fmla="*/ 46 w 88"/>
              <a:gd name="T27" fmla="*/ 16 h 109"/>
              <a:gd name="T28" fmla="*/ 39 w 88"/>
              <a:gd name="T29" fmla="*/ 12 h 109"/>
              <a:gd name="T30" fmla="*/ 34 w 88"/>
              <a:gd name="T31" fmla="*/ 5 h 109"/>
              <a:gd name="T32" fmla="*/ 33 w 88"/>
              <a:gd name="T33" fmla="*/ 13 h 109"/>
              <a:gd name="T34" fmla="*/ 29 w 88"/>
              <a:gd name="T35" fmla="*/ 15 h 109"/>
              <a:gd name="T36" fmla="*/ 71 w 88"/>
              <a:gd name="T37" fmla="*/ 35 h 109"/>
              <a:gd name="T38" fmla="*/ 73 w 88"/>
              <a:gd name="T39" fmla="*/ 34 h 109"/>
              <a:gd name="T40" fmla="*/ 68 w 88"/>
              <a:gd name="T41" fmla="*/ 38 h 109"/>
              <a:gd name="T42" fmla="*/ 54 w 88"/>
              <a:gd name="T43" fmla="*/ 48 h 109"/>
              <a:gd name="T44" fmla="*/ 61 w 88"/>
              <a:gd name="T45" fmla="*/ 54 h 109"/>
              <a:gd name="T46" fmla="*/ 53 w 88"/>
              <a:gd name="T47" fmla="*/ 61 h 109"/>
              <a:gd name="T48" fmla="*/ 45 w 88"/>
              <a:gd name="T49" fmla="*/ 61 h 109"/>
              <a:gd name="T50" fmla="*/ 45 w 88"/>
              <a:gd name="T51" fmla="*/ 51 h 109"/>
              <a:gd name="T52" fmla="*/ 41 w 88"/>
              <a:gd name="T53" fmla="*/ 43 h 109"/>
              <a:gd name="T54" fmla="*/ 48 w 88"/>
              <a:gd name="T55" fmla="*/ 46 h 109"/>
              <a:gd name="T56" fmla="*/ 45 w 88"/>
              <a:gd name="T57" fmla="*/ 40 h 109"/>
              <a:gd name="T58" fmla="*/ 3 w 88"/>
              <a:gd name="T59" fmla="*/ 45 h 109"/>
              <a:gd name="T60" fmla="*/ 3 w 88"/>
              <a:gd name="T61" fmla="*/ 43 h 109"/>
              <a:gd name="T62" fmla="*/ 29 w 88"/>
              <a:gd name="T63" fmla="*/ 76 h 109"/>
              <a:gd name="T64" fmla="*/ 26 w 88"/>
              <a:gd name="T65" fmla="*/ 70 h 109"/>
              <a:gd name="T66" fmla="*/ 19 w 88"/>
              <a:gd name="T67" fmla="*/ 66 h 109"/>
              <a:gd name="T68" fmla="*/ 16 w 88"/>
              <a:gd name="T69" fmla="*/ 61 h 109"/>
              <a:gd name="T70" fmla="*/ 22 w 88"/>
              <a:gd name="T71" fmla="*/ 60 h 109"/>
              <a:gd name="T72" fmla="*/ 26 w 88"/>
              <a:gd name="T73" fmla="*/ 55 h 109"/>
              <a:gd name="T74" fmla="*/ 23 w 88"/>
              <a:gd name="T75" fmla="*/ 54 h 109"/>
              <a:gd name="T76" fmla="*/ 14 w 88"/>
              <a:gd name="T77" fmla="*/ 54 h 109"/>
              <a:gd name="T78" fmla="*/ 19 w 88"/>
              <a:gd name="T79" fmla="*/ 49 h 109"/>
              <a:gd name="T80" fmla="*/ 26 w 88"/>
              <a:gd name="T81" fmla="*/ 44 h 109"/>
              <a:gd name="T82" fmla="*/ 21 w 88"/>
              <a:gd name="T83" fmla="*/ 45 h 109"/>
              <a:gd name="T84" fmla="*/ 19 w 88"/>
              <a:gd name="T85" fmla="*/ 41 h 109"/>
              <a:gd name="T86" fmla="*/ 18 w 88"/>
              <a:gd name="T87" fmla="*/ 46 h 109"/>
              <a:gd name="T88" fmla="*/ 9 w 88"/>
              <a:gd name="T89" fmla="*/ 45 h 109"/>
              <a:gd name="T90" fmla="*/ 5 w 88"/>
              <a:gd name="T91" fmla="*/ 40 h 109"/>
              <a:gd name="T92" fmla="*/ 6 w 88"/>
              <a:gd name="T93" fmla="*/ 37 h 109"/>
              <a:gd name="T94" fmla="*/ 5 w 88"/>
              <a:gd name="T95" fmla="*/ 30 h 109"/>
              <a:gd name="T96" fmla="*/ 0 w 88"/>
              <a:gd name="T97" fmla="*/ 26 h 109"/>
              <a:gd name="T98" fmla="*/ 6 w 88"/>
              <a:gd name="T99" fmla="*/ 23 h 109"/>
              <a:gd name="T100" fmla="*/ 12 w 88"/>
              <a:gd name="T101" fmla="*/ 22 h 109"/>
              <a:gd name="T102" fmla="*/ 11 w 88"/>
              <a:gd name="T103" fmla="*/ 25 h 109"/>
              <a:gd name="T104" fmla="*/ 14 w 88"/>
              <a:gd name="T105" fmla="*/ 31 h 109"/>
              <a:gd name="T106" fmla="*/ 18 w 88"/>
              <a:gd name="T107" fmla="*/ 27 h 109"/>
              <a:gd name="T108" fmla="*/ 23 w 88"/>
              <a:gd name="T109" fmla="*/ 36 h 109"/>
              <a:gd name="T110" fmla="*/ 20 w 88"/>
              <a:gd name="T111" fmla="*/ 19 h 109"/>
              <a:gd name="T112" fmla="*/ 28 w 88"/>
              <a:gd name="T113" fmla="*/ 21 h 109"/>
              <a:gd name="T114" fmla="*/ 31 w 88"/>
              <a:gd name="T115" fmla="*/ 24 h 109"/>
              <a:gd name="T116" fmla="*/ 44 w 88"/>
              <a:gd name="T117" fmla="*/ 37 h 109"/>
              <a:gd name="T118" fmla="*/ 38 w 88"/>
              <a:gd name="T119" fmla="*/ 42 h 109"/>
              <a:gd name="T120" fmla="*/ 35 w 88"/>
              <a:gd name="T121" fmla="*/ 54 h 109"/>
              <a:gd name="T122" fmla="*/ 32 w 88"/>
              <a:gd name="T123" fmla="*/ 65 h 109"/>
              <a:gd name="T124" fmla="*/ 44 w 88"/>
              <a:gd name="T12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 h="109">
                <a:moveTo>
                  <a:pt x="82" y="10"/>
                </a:moveTo>
                <a:cubicBezTo>
                  <a:pt x="82" y="9"/>
                  <a:pt x="83" y="9"/>
                  <a:pt x="83" y="9"/>
                </a:cubicBezTo>
                <a:cubicBezTo>
                  <a:pt x="84" y="8"/>
                  <a:pt x="84" y="8"/>
                  <a:pt x="84" y="8"/>
                </a:cubicBezTo>
                <a:cubicBezTo>
                  <a:pt x="85" y="8"/>
                  <a:pt x="85" y="8"/>
                  <a:pt x="85" y="8"/>
                </a:cubicBezTo>
                <a:cubicBezTo>
                  <a:pt x="86" y="6"/>
                  <a:pt x="86" y="6"/>
                  <a:pt x="86" y="6"/>
                </a:cubicBezTo>
                <a:cubicBezTo>
                  <a:pt x="87" y="6"/>
                  <a:pt x="87" y="6"/>
                  <a:pt x="87" y="6"/>
                </a:cubicBezTo>
                <a:cubicBezTo>
                  <a:pt x="88" y="6"/>
                  <a:pt x="88" y="6"/>
                  <a:pt x="88" y="6"/>
                </a:cubicBezTo>
                <a:cubicBezTo>
                  <a:pt x="88" y="6"/>
                  <a:pt x="88" y="6"/>
                  <a:pt x="88" y="6"/>
                </a:cubicBezTo>
                <a:cubicBezTo>
                  <a:pt x="88" y="7"/>
                  <a:pt x="88" y="7"/>
                  <a:pt x="88" y="7"/>
                </a:cubicBezTo>
                <a:cubicBezTo>
                  <a:pt x="87" y="8"/>
                  <a:pt x="87" y="8"/>
                  <a:pt x="87" y="8"/>
                </a:cubicBezTo>
                <a:cubicBezTo>
                  <a:pt x="86" y="8"/>
                  <a:pt x="86" y="8"/>
                  <a:pt x="86" y="8"/>
                </a:cubicBezTo>
                <a:cubicBezTo>
                  <a:pt x="84" y="10"/>
                  <a:pt x="84" y="10"/>
                  <a:pt x="84" y="10"/>
                </a:cubicBezTo>
                <a:cubicBezTo>
                  <a:pt x="83" y="10"/>
                  <a:pt x="83" y="10"/>
                  <a:pt x="83" y="10"/>
                </a:cubicBezTo>
                <a:cubicBezTo>
                  <a:pt x="82" y="10"/>
                  <a:pt x="82" y="10"/>
                  <a:pt x="82" y="10"/>
                </a:cubicBezTo>
                <a:cubicBezTo>
                  <a:pt x="82" y="10"/>
                  <a:pt x="82" y="10"/>
                  <a:pt x="82" y="10"/>
                </a:cubicBezTo>
                <a:close/>
                <a:moveTo>
                  <a:pt x="66" y="11"/>
                </a:moveTo>
                <a:cubicBezTo>
                  <a:pt x="67" y="12"/>
                  <a:pt x="67" y="12"/>
                  <a:pt x="67" y="12"/>
                </a:cubicBezTo>
                <a:cubicBezTo>
                  <a:pt x="67" y="12"/>
                  <a:pt x="67" y="12"/>
                  <a:pt x="67" y="12"/>
                </a:cubicBezTo>
                <a:cubicBezTo>
                  <a:pt x="68" y="11"/>
                  <a:pt x="68" y="11"/>
                  <a:pt x="68" y="11"/>
                </a:cubicBezTo>
                <a:cubicBezTo>
                  <a:pt x="67" y="10"/>
                  <a:pt x="67" y="10"/>
                  <a:pt x="67" y="10"/>
                </a:cubicBezTo>
                <a:cubicBezTo>
                  <a:pt x="67" y="10"/>
                  <a:pt x="67" y="10"/>
                  <a:pt x="67" y="10"/>
                </a:cubicBezTo>
                <a:cubicBezTo>
                  <a:pt x="66" y="10"/>
                  <a:pt x="66" y="10"/>
                  <a:pt x="66" y="10"/>
                </a:cubicBezTo>
                <a:cubicBezTo>
                  <a:pt x="66" y="11"/>
                  <a:pt x="66" y="11"/>
                  <a:pt x="66" y="11"/>
                </a:cubicBezTo>
                <a:close/>
                <a:moveTo>
                  <a:pt x="36" y="1"/>
                </a:moveTo>
                <a:cubicBezTo>
                  <a:pt x="38" y="3"/>
                  <a:pt x="38" y="3"/>
                  <a:pt x="38" y="3"/>
                </a:cubicBezTo>
                <a:cubicBezTo>
                  <a:pt x="39" y="3"/>
                  <a:pt x="39" y="3"/>
                  <a:pt x="39" y="3"/>
                </a:cubicBezTo>
                <a:cubicBezTo>
                  <a:pt x="39" y="2"/>
                  <a:pt x="39" y="2"/>
                  <a:pt x="39" y="2"/>
                </a:cubicBezTo>
                <a:cubicBezTo>
                  <a:pt x="40" y="2"/>
                  <a:pt x="40" y="2"/>
                  <a:pt x="40" y="2"/>
                </a:cubicBezTo>
                <a:cubicBezTo>
                  <a:pt x="39" y="1"/>
                  <a:pt x="39" y="1"/>
                  <a:pt x="39" y="1"/>
                </a:cubicBezTo>
                <a:cubicBezTo>
                  <a:pt x="38" y="1"/>
                  <a:pt x="38" y="1"/>
                  <a:pt x="38" y="1"/>
                </a:cubicBezTo>
                <a:cubicBezTo>
                  <a:pt x="37" y="1"/>
                  <a:pt x="37" y="1"/>
                  <a:pt x="37" y="1"/>
                </a:cubicBezTo>
                <a:cubicBezTo>
                  <a:pt x="36" y="0"/>
                  <a:pt x="36" y="0"/>
                  <a:pt x="36" y="0"/>
                </a:cubicBezTo>
                <a:cubicBezTo>
                  <a:pt x="35" y="1"/>
                  <a:pt x="35" y="1"/>
                  <a:pt x="35" y="1"/>
                </a:cubicBezTo>
                <a:cubicBezTo>
                  <a:pt x="36" y="1"/>
                  <a:pt x="36" y="1"/>
                  <a:pt x="36" y="1"/>
                </a:cubicBezTo>
                <a:close/>
                <a:moveTo>
                  <a:pt x="30" y="12"/>
                </a:moveTo>
                <a:cubicBezTo>
                  <a:pt x="29" y="11"/>
                  <a:pt x="29" y="11"/>
                  <a:pt x="29" y="11"/>
                </a:cubicBezTo>
                <a:cubicBezTo>
                  <a:pt x="29" y="11"/>
                  <a:pt x="29" y="11"/>
                  <a:pt x="29" y="11"/>
                </a:cubicBezTo>
                <a:cubicBezTo>
                  <a:pt x="29" y="10"/>
                  <a:pt x="29" y="10"/>
                  <a:pt x="29" y="10"/>
                </a:cubicBezTo>
                <a:cubicBezTo>
                  <a:pt x="30" y="9"/>
                  <a:pt x="30" y="9"/>
                  <a:pt x="30" y="9"/>
                </a:cubicBezTo>
                <a:cubicBezTo>
                  <a:pt x="30" y="9"/>
                  <a:pt x="30" y="9"/>
                  <a:pt x="30" y="9"/>
                </a:cubicBezTo>
                <a:cubicBezTo>
                  <a:pt x="31" y="10"/>
                  <a:pt x="31" y="10"/>
                  <a:pt x="31" y="10"/>
                </a:cubicBezTo>
                <a:cubicBezTo>
                  <a:pt x="31" y="11"/>
                  <a:pt x="31" y="11"/>
                  <a:pt x="31" y="11"/>
                </a:cubicBezTo>
                <a:cubicBezTo>
                  <a:pt x="30" y="12"/>
                  <a:pt x="30" y="12"/>
                  <a:pt x="30" y="12"/>
                </a:cubicBezTo>
                <a:cubicBezTo>
                  <a:pt x="30" y="12"/>
                  <a:pt x="30" y="12"/>
                  <a:pt x="30" y="12"/>
                </a:cubicBezTo>
                <a:close/>
                <a:moveTo>
                  <a:pt x="36" y="21"/>
                </a:moveTo>
                <a:cubicBezTo>
                  <a:pt x="36" y="21"/>
                  <a:pt x="36" y="21"/>
                  <a:pt x="36" y="21"/>
                </a:cubicBezTo>
                <a:cubicBezTo>
                  <a:pt x="38" y="20"/>
                  <a:pt x="38" y="20"/>
                  <a:pt x="38" y="20"/>
                </a:cubicBezTo>
                <a:cubicBezTo>
                  <a:pt x="38" y="20"/>
                  <a:pt x="38" y="20"/>
                  <a:pt x="38" y="20"/>
                </a:cubicBezTo>
                <a:cubicBezTo>
                  <a:pt x="41" y="20"/>
                  <a:pt x="41" y="20"/>
                  <a:pt x="41" y="20"/>
                </a:cubicBezTo>
                <a:cubicBezTo>
                  <a:pt x="42" y="20"/>
                  <a:pt x="42" y="20"/>
                  <a:pt x="42" y="20"/>
                </a:cubicBezTo>
                <a:cubicBezTo>
                  <a:pt x="43" y="19"/>
                  <a:pt x="43" y="19"/>
                  <a:pt x="43" y="19"/>
                </a:cubicBezTo>
                <a:cubicBezTo>
                  <a:pt x="44" y="19"/>
                  <a:pt x="44" y="19"/>
                  <a:pt x="44" y="19"/>
                </a:cubicBezTo>
                <a:cubicBezTo>
                  <a:pt x="44" y="20"/>
                  <a:pt x="44" y="20"/>
                  <a:pt x="44" y="20"/>
                </a:cubicBezTo>
                <a:cubicBezTo>
                  <a:pt x="44" y="20"/>
                  <a:pt x="44" y="20"/>
                  <a:pt x="44" y="20"/>
                </a:cubicBezTo>
                <a:cubicBezTo>
                  <a:pt x="44" y="21"/>
                  <a:pt x="44" y="21"/>
                  <a:pt x="44" y="21"/>
                </a:cubicBezTo>
                <a:cubicBezTo>
                  <a:pt x="44" y="21"/>
                  <a:pt x="44" y="21"/>
                  <a:pt x="44" y="21"/>
                </a:cubicBezTo>
                <a:cubicBezTo>
                  <a:pt x="43" y="22"/>
                  <a:pt x="43" y="22"/>
                  <a:pt x="43" y="22"/>
                </a:cubicBezTo>
                <a:cubicBezTo>
                  <a:pt x="42" y="21"/>
                  <a:pt x="42" y="21"/>
                  <a:pt x="42" y="21"/>
                </a:cubicBezTo>
                <a:cubicBezTo>
                  <a:pt x="40" y="21"/>
                  <a:pt x="40" y="21"/>
                  <a:pt x="40" y="21"/>
                </a:cubicBezTo>
                <a:cubicBezTo>
                  <a:pt x="39" y="21"/>
                  <a:pt x="39" y="21"/>
                  <a:pt x="39" y="21"/>
                </a:cubicBezTo>
                <a:cubicBezTo>
                  <a:pt x="39" y="22"/>
                  <a:pt x="39" y="22"/>
                  <a:pt x="39" y="22"/>
                </a:cubicBezTo>
                <a:cubicBezTo>
                  <a:pt x="39" y="22"/>
                  <a:pt x="39" y="22"/>
                  <a:pt x="39" y="22"/>
                </a:cubicBezTo>
                <a:cubicBezTo>
                  <a:pt x="41" y="22"/>
                  <a:pt x="41" y="22"/>
                  <a:pt x="41" y="22"/>
                </a:cubicBezTo>
                <a:cubicBezTo>
                  <a:pt x="42" y="23"/>
                  <a:pt x="42" y="23"/>
                  <a:pt x="42" y="23"/>
                </a:cubicBezTo>
                <a:cubicBezTo>
                  <a:pt x="42" y="23"/>
                  <a:pt x="42" y="23"/>
                  <a:pt x="42" y="23"/>
                </a:cubicBezTo>
                <a:cubicBezTo>
                  <a:pt x="41" y="24"/>
                  <a:pt x="41" y="24"/>
                  <a:pt x="41" y="24"/>
                </a:cubicBezTo>
                <a:cubicBezTo>
                  <a:pt x="40" y="23"/>
                  <a:pt x="40" y="23"/>
                  <a:pt x="40" y="23"/>
                </a:cubicBezTo>
                <a:cubicBezTo>
                  <a:pt x="40" y="23"/>
                  <a:pt x="40" y="23"/>
                  <a:pt x="40" y="23"/>
                </a:cubicBezTo>
                <a:cubicBezTo>
                  <a:pt x="39" y="24"/>
                  <a:pt x="39" y="24"/>
                  <a:pt x="39" y="24"/>
                </a:cubicBezTo>
                <a:cubicBezTo>
                  <a:pt x="38" y="23"/>
                  <a:pt x="38" y="23"/>
                  <a:pt x="38" y="23"/>
                </a:cubicBezTo>
                <a:cubicBezTo>
                  <a:pt x="36" y="22"/>
                  <a:pt x="36" y="22"/>
                  <a:pt x="36" y="22"/>
                </a:cubicBezTo>
                <a:cubicBezTo>
                  <a:pt x="35" y="23"/>
                  <a:pt x="35" y="23"/>
                  <a:pt x="35" y="23"/>
                </a:cubicBezTo>
                <a:cubicBezTo>
                  <a:pt x="35" y="23"/>
                  <a:pt x="35" y="23"/>
                  <a:pt x="35" y="23"/>
                </a:cubicBezTo>
                <a:cubicBezTo>
                  <a:pt x="36" y="24"/>
                  <a:pt x="36" y="24"/>
                  <a:pt x="36" y="24"/>
                </a:cubicBezTo>
                <a:cubicBezTo>
                  <a:pt x="38" y="26"/>
                  <a:pt x="38" y="26"/>
                  <a:pt x="38" y="26"/>
                </a:cubicBezTo>
                <a:cubicBezTo>
                  <a:pt x="39" y="26"/>
                  <a:pt x="39" y="26"/>
                  <a:pt x="39" y="26"/>
                </a:cubicBezTo>
                <a:cubicBezTo>
                  <a:pt x="40" y="26"/>
                  <a:pt x="40" y="26"/>
                  <a:pt x="40" y="26"/>
                </a:cubicBezTo>
                <a:cubicBezTo>
                  <a:pt x="40" y="26"/>
                  <a:pt x="40" y="26"/>
                  <a:pt x="40" y="26"/>
                </a:cubicBezTo>
                <a:cubicBezTo>
                  <a:pt x="41" y="27"/>
                  <a:pt x="41" y="27"/>
                  <a:pt x="41" y="27"/>
                </a:cubicBezTo>
                <a:cubicBezTo>
                  <a:pt x="41" y="28"/>
                  <a:pt x="41" y="28"/>
                  <a:pt x="41" y="28"/>
                </a:cubicBezTo>
                <a:cubicBezTo>
                  <a:pt x="42" y="28"/>
                  <a:pt x="42" y="28"/>
                  <a:pt x="42" y="28"/>
                </a:cubicBezTo>
                <a:cubicBezTo>
                  <a:pt x="43" y="28"/>
                  <a:pt x="43" y="28"/>
                  <a:pt x="43" y="28"/>
                </a:cubicBezTo>
                <a:cubicBezTo>
                  <a:pt x="45" y="28"/>
                  <a:pt x="45" y="28"/>
                  <a:pt x="45" y="28"/>
                </a:cubicBezTo>
                <a:cubicBezTo>
                  <a:pt x="46" y="27"/>
                  <a:pt x="46" y="27"/>
                  <a:pt x="46" y="27"/>
                </a:cubicBezTo>
                <a:cubicBezTo>
                  <a:pt x="48" y="27"/>
                  <a:pt x="48" y="27"/>
                  <a:pt x="48" y="27"/>
                </a:cubicBezTo>
                <a:cubicBezTo>
                  <a:pt x="49" y="27"/>
                  <a:pt x="49" y="27"/>
                  <a:pt x="49" y="27"/>
                </a:cubicBezTo>
                <a:cubicBezTo>
                  <a:pt x="49" y="27"/>
                  <a:pt x="49" y="27"/>
                  <a:pt x="49" y="27"/>
                </a:cubicBezTo>
                <a:cubicBezTo>
                  <a:pt x="49" y="28"/>
                  <a:pt x="49" y="28"/>
                  <a:pt x="49" y="28"/>
                </a:cubicBezTo>
                <a:cubicBezTo>
                  <a:pt x="49" y="30"/>
                  <a:pt x="49" y="30"/>
                  <a:pt x="49" y="30"/>
                </a:cubicBezTo>
                <a:cubicBezTo>
                  <a:pt x="51" y="31"/>
                  <a:pt x="51" y="31"/>
                  <a:pt x="51" y="31"/>
                </a:cubicBezTo>
                <a:cubicBezTo>
                  <a:pt x="52" y="31"/>
                  <a:pt x="52" y="31"/>
                  <a:pt x="52" y="31"/>
                </a:cubicBezTo>
                <a:cubicBezTo>
                  <a:pt x="54" y="30"/>
                  <a:pt x="54" y="30"/>
                  <a:pt x="54" y="30"/>
                </a:cubicBezTo>
                <a:cubicBezTo>
                  <a:pt x="54" y="30"/>
                  <a:pt x="54" y="30"/>
                  <a:pt x="54" y="30"/>
                </a:cubicBezTo>
                <a:cubicBezTo>
                  <a:pt x="54" y="29"/>
                  <a:pt x="54" y="29"/>
                  <a:pt x="54" y="29"/>
                </a:cubicBezTo>
                <a:cubicBezTo>
                  <a:pt x="54" y="28"/>
                  <a:pt x="54" y="28"/>
                  <a:pt x="54" y="28"/>
                </a:cubicBezTo>
                <a:cubicBezTo>
                  <a:pt x="55" y="28"/>
                  <a:pt x="55" y="28"/>
                  <a:pt x="55" y="28"/>
                </a:cubicBezTo>
                <a:cubicBezTo>
                  <a:pt x="56" y="26"/>
                  <a:pt x="56" y="26"/>
                  <a:pt x="56" y="26"/>
                </a:cubicBezTo>
                <a:cubicBezTo>
                  <a:pt x="57" y="26"/>
                  <a:pt x="57" y="26"/>
                  <a:pt x="57" y="26"/>
                </a:cubicBezTo>
                <a:cubicBezTo>
                  <a:pt x="57" y="27"/>
                  <a:pt x="57" y="27"/>
                  <a:pt x="57" y="27"/>
                </a:cubicBezTo>
                <a:cubicBezTo>
                  <a:pt x="58" y="28"/>
                  <a:pt x="58" y="28"/>
                  <a:pt x="58" y="28"/>
                </a:cubicBezTo>
                <a:cubicBezTo>
                  <a:pt x="59" y="28"/>
                  <a:pt x="59" y="28"/>
                  <a:pt x="59" y="28"/>
                </a:cubicBezTo>
                <a:cubicBezTo>
                  <a:pt x="61" y="27"/>
                  <a:pt x="61" y="27"/>
                  <a:pt x="61" y="27"/>
                </a:cubicBezTo>
                <a:cubicBezTo>
                  <a:pt x="61" y="26"/>
                  <a:pt x="61" y="26"/>
                  <a:pt x="61" y="26"/>
                </a:cubicBezTo>
                <a:cubicBezTo>
                  <a:pt x="61" y="24"/>
                  <a:pt x="61" y="24"/>
                  <a:pt x="61" y="24"/>
                </a:cubicBezTo>
                <a:cubicBezTo>
                  <a:pt x="61" y="23"/>
                  <a:pt x="61" y="23"/>
                  <a:pt x="61" y="23"/>
                </a:cubicBezTo>
                <a:cubicBezTo>
                  <a:pt x="61" y="23"/>
                  <a:pt x="61" y="23"/>
                  <a:pt x="61" y="23"/>
                </a:cubicBezTo>
                <a:cubicBezTo>
                  <a:pt x="62" y="22"/>
                  <a:pt x="62" y="22"/>
                  <a:pt x="62" y="22"/>
                </a:cubicBezTo>
                <a:cubicBezTo>
                  <a:pt x="63" y="20"/>
                  <a:pt x="63" y="20"/>
                  <a:pt x="63" y="20"/>
                </a:cubicBezTo>
                <a:cubicBezTo>
                  <a:pt x="64" y="19"/>
                  <a:pt x="64" y="19"/>
                  <a:pt x="64" y="19"/>
                </a:cubicBezTo>
                <a:cubicBezTo>
                  <a:pt x="65" y="17"/>
                  <a:pt x="65" y="17"/>
                  <a:pt x="65" y="17"/>
                </a:cubicBezTo>
                <a:cubicBezTo>
                  <a:pt x="66" y="16"/>
                  <a:pt x="66" y="16"/>
                  <a:pt x="66" y="16"/>
                </a:cubicBezTo>
                <a:cubicBezTo>
                  <a:pt x="66" y="15"/>
                  <a:pt x="66" y="15"/>
                  <a:pt x="66" y="15"/>
                </a:cubicBezTo>
                <a:cubicBezTo>
                  <a:pt x="65" y="14"/>
                  <a:pt x="65" y="14"/>
                  <a:pt x="65" y="14"/>
                </a:cubicBezTo>
                <a:cubicBezTo>
                  <a:pt x="65" y="13"/>
                  <a:pt x="65" y="13"/>
                  <a:pt x="65" y="13"/>
                </a:cubicBezTo>
                <a:cubicBezTo>
                  <a:pt x="65" y="13"/>
                  <a:pt x="65" y="13"/>
                  <a:pt x="65" y="13"/>
                </a:cubicBezTo>
                <a:cubicBezTo>
                  <a:pt x="65" y="12"/>
                  <a:pt x="65" y="12"/>
                  <a:pt x="65" y="12"/>
                </a:cubicBezTo>
                <a:cubicBezTo>
                  <a:pt x="65" y="12"/>
                  <a:pt x="65" y="12"/>
                  <a:pt x="65" y="12"/>
                </a:cubicBezTo>
                <a:cubicBezTo>
                  <a:pt x="63" y="12"/>
                  <a:pt x="63" y="12"/>
                  <a:pt x="63" y="12"/>
                </a:cubicBezTo>
                <a:cubicBezTo>
                  <a:pt x="62" y="11"/>
                  <a:pt x="62" y="11"/>
                  <a:pt x="62" y="11"/>
                </a:cubicBezTo>
                <a:cubicBezTo>
                  <a:pt x="62" y="11"/>
                  <a:pt x="62" y="11"/>
                  <a:pt x="62" y="11"/>
                </a:cubicBezTo>
                <a:cubicBezTo>
                  <a:pt x="59" y="11"/>
                  <a:pt x="59" y="11"/>
                  <a:pt x="59" y="11"/>
                </a:cubicBezTo>
                <a:cubicBezTo>
                  <a:pt x="58" y="11"/>
                  <a:pt x="58" y="11"/>
                  <a:pt x="58" y="11"/>
                </a:cubicBezTo>
                <a:cubicBezTo>
                  <a:pt x="57" y="10"/>
                  <a:pt x="57" y="10"/>
                  <a:pt x="57" y="10"/>
                </a:cubicBezTo>
                <a:cubicBezTo>
                  <a:pt x="56" y="10"/>
                  <a:pt x="56" y="10"/>
                  <a:pt x="56" y="10"/>
                </a:cubicBezTo>
                <a:cubicBezTo>
                  <a:pt x="55" y="10"/>
                  <a:pt x="55" y="10"/>
                  <a:pt x="55" y="10"/>
                </a:cubicBezTo>
                <a:cubicBezTo>
                  <a:pt x="55" y="9"/>
                  <a:pt x="55" y="9"/>
                  <a:pt x="55" y="9"/>
                </a:cubicBezTo>
                <a:cubicBezTo>
                  <a:pt x="55" y="9"/>
                  <a:pt x="55" y="9"/>
                  <a:pt x="55" y="9"/>
                </a:cubicBezTo>
                <a:cubicBezTo>
                  <a:pt x="54" y="9"/>
                  <a:pt x="54" y="9"/>
                  <a:pt x="54" y="9"/>
                </a:cubicBezTo>
                <a:cubicBezTo>
                  <a:pt x="54" y="9"/>
                  <a:pt x="54" y="9"/>
                  <a:pt x="54" y="9"/>
                </a:cubicBezTo>
                <a:cubicBezTo>
                  <a:pt x="54" y="8"/>
                  <a:pt x="54" y="8"/>
                  <a:pt x="54" y="8"/>
                </a:cubicBezTo>
                <a:cubicBezTo>
                  <a:pt x="54" y="7"/>
                  <a:pt x="54" y="7"/>
                  <a:pt x="54" y="7"/>
                </a:cubicBezTo>
                <a:cubicBezTo>
                  <a:pt x="53" y="8"/>
                  <a:pt x="53" y="8"/>
                  <a:pt x="53" y="8"/>
                </a:cubicBezTo>
                <a:cubicBezTo>
                  <a:pt x="53" y="9"/>
                  <a:pt x="53" y="9"/>
                  <a:pt x="53" y="9"/>
                </a:cubicBezTo>
                <a:cubicBezTo>
                  <a:pt x="52" y="9"/>
                  <a:pt x="52" y="9"/>
                  <a:pt x="52" y="9"/>
                </a:cubicBezTo>
                <a:cubicBezTo>
                  <a:pt x="52" y="8"/>
                  <a:pt x="52" y="8"/>
                  <a:pt x="52" y="8"/>
                </a:cubicBezTo>
                <a:cubicBezTo>
                  <a:pt x="52" y="8"/>
                  <a:pt x="52" y="8"/>
                  <a:pt x="52" y="8"/>
                </a:cubicBezTo>
                <a:cubicBezTo>
                  <a:pt x="51" y="8"/>
                  <a:pt x="51" y="8"/>
                  <a:pt x="51" y="8"/>
                </a:cubicBezTo>
                <a:cubicBezTo>
                  <a:pt x="51" y="9"/>
                  <a:pt x="51" y="9"/>
                  <a:pt x="51" y="9"/>
                </a:cubicBezTo>
                <a:cubicBezTo>
                  <a:pt x="51" y="9"/>
                  <a:pt x="51" y="9"/>
                  <a:pt x="51" y="9"/>
                </a:cubicBezTo>
                <a:cubicBezTo>
                  <a:pt x="50" y="10"/>
                  <a:pt x="50" y="10"/>
                  <a:pt x="50" y="10"/>
                </a:cubicBezTo>
                <a:cubicBezTo>
                  <a:pt x="50" y="11"/>
                  <a:pt x="50" y="11"/>
                  <a:pt x="50" y="11"/>
                </a:cubicBezTo>
                <a:cubicBezTo>
                  <a:pt x="50" y="12"/>
                  <a:pt x="50" y="12"/>
                  <a:pt x="50" y="12"/>
                </a:cubicBezTo>
                <a:cubicBezTo>
                  <a:pt x="49" y="12"/>
                  <a:pt x="49" y="12"/>
                  <a:pt x="49" y="12"/>
                </a:cubicBezTo>
                <a:cubicBezTo>
                  <a:pt x="49" y="11"/>
                  <a:pt x="49" y="11"/>
                  <a:pt x="49" y="11"/>
                </a:cubicBezTo>
                <a:cubicBezTo>
                  <a:pt x="49" y="11"/>
                  <a:pt x="49" y="11"/>
                  <a:pt x="49" y="11"/>
                </a:cubicBezTo>
                <a:cubicBezTo>
                  <a:pt x="49" y="11"/>
                  <a:pt x="49" y="11"/>
                  <a:pt x="49" y="11"/>
                </a:cubicBezTo>
                <a:cubicBezTo>
                  <a:pt x="48" y="12"/>
                  <a:pt x="48" y="12"/>
                  <a:pt x="48" y="12"/>
                </a:cubicBezTo>
                <a:cubicBezTo>
                  <a:pt x="48" y="12"/>
                  <a:pt x="48" y="12"/>
                  <a:pt x="48" y="12"/>
                </a:cubicBezTo>
                <a:cubicBezTo>
                  <a:pt x="48" y="11"/>
                  <a:pt x="48" y="11"/>
                  <a:pt x="48" y="11"/>
                </a:cubicBezTo>
                <a:cubicBezTo>
                  <a:pt x="48" y="9"/>
                  <a:pt x="48" y="9"/>
                  <a:pt x="48" y="9"/>
                </a:cubicBezTo>
                <a:cubicBezTo>
                  <a:pt x="48" y="7"/>
                  <a:pt x="48" y="7"/>
                  <a:pt x="48" y="7"/>
                </a:cubicBezTo>
                <a:cubicBezTo>
                  <a:pt x="48" y="6"/>
                  <a:pt x="48" y="6"/>
                  <a:pt x="48" y="6"/>
                </a:cubicBezTo>
                <a:cubicBezTo>
                  <a:pt x="47" y="6"/>
                  <a:pt x="47" y="6"/>
                  <a:pt x="47" y="6"/>
                </a:cubicBezTo>
                <a:cubicBezTo>
                  <a:pt x="46" y="5"/>
                  <a:pt x="46" y="5"/>
                  <a:pt x="46" y="5"/>
                </a:cubicBezTo>
                <a:cubicBezTo>
                  <a:pt x="46" y="5"/>
                  <a:pt x="46" y="5"/>
                  <a:pt x="46" y="5"/>
                </a:cubicBezTo>
                <a:cubicBezTo>
                  <a:pt x="45" y="6"/>
                  <a:pt x="45" y="6"/>
                  <a:pt x="45" y="6"/>
                </a:cubicBezTo>
                <a:cubicBezTo>
                  <a:pt x="46" y="7"/>
                  <a:pt x="46" y="7"/>
                  <a:pt x="46" y="7"/>
                </a:cubicBezTo>
                <a:cubicBezTo>
                  <a:pt x="46" y="7"/>
                  <a:pt x="46" y="7"/>
                  <a:pt x="46" y="7"/>
                </a:cubicBezTo>
                <a:cubicBezTo>
                  <a:pt x="46" y="7"/>
                  <a:pt x="46" y="7"/>
                  <a:pt x="46" y="7"/>
                </a:cubicBezTo>
                <a:cubicBezTo>
                  <a:pt x="45" y="6"/>
                  <a:pt x="45" y="6"/>
                  <a:pt x="45" y="6"/>
                </a:cubicBezTo>
                <a:cubicBezTo>
                  <a:pt x="45" y="7"/>
                  <a:pt x="45" y="7"/>
                  <a:pt x="45" y="7"/>
                </a:cubicBezTo>
                <a:cubicBezTo>
                  <a:pt x="45" y="8"/>
                  <a:pt x="45" y="8"/>
                  <a:pt x="45" y="8"/>
                </a:cubicBezTo>
                <a:cubicBezTo>
                  <a:pt x="46" y="9"/>
                  <a:pt x="46" y="9"/>
                  <a:pt x="46" y="9"/>
                </a:cubicBezTo>
                <a:cubicBezTo>
                  <a:pt x="46" y="10"/>
                  <a:pt x="46" y="10"/>
                  <a:pt x="46" y="10"/>
                </a:cubicBezTo>
                <a:cubicBezTo>
                  <a:pt x="45" y="11"/>
                  <a:pt x="45" y="11"/>
                  <a:pt x="45" y="11"/>
                </a:cubicBezTo>
                <a:cubicBezTo>
                  <a:pt x="45" y="13"/>
                  <a:pt x="45" y="13"/>
                  <a:pt x="45" y="13"/>
                </a:cubicBezTo>
                <a:cubicBezTo>
                  <a:pt x="46" y="14"/>
                  <a:pt x="46" y="14"/>
                  <a:pt x="46" y="14"/>
                </a:cubicBezTo>
                <a:cubicBezTo>
                  <a:pt x="46" y="16"/>
                  <a:pt x="46" y="16"/>
                  <a:pt x="46" y="16"/>
                </a:cubicBezTo>
                <a:cubicBezTo>
                  <a:pt x="45" y="16"/>
                  <a:pt x="45" y="16"/>
                  <a:pt x="45" y="16"/>
                </a:cubicBezTo>
                <a:cubicBezTo>
                  <a:pt x="45" y="14"/>
                  <a:pt x="45" y="14"/>
                  <a:pt x="45" y="14"/>
                </a:cubicBezTo>
                <a:cubicBezTo>
                  <a:pt x="44" y="13"/>
                  <a:pt x="44" y="13"/>
                  <a:pt x="44" y="13"/>
                </a:cubicBezTo>
                <a:cubicBezTo>
                  <a:pt x="43" y="13"/>
                  <a:pt x="43" y="13"/>
                  <a:pt x="43" y="13"/>
                </a:cubicBezTo>
                <a:cubicBezTo>
                  <a:pt x="42" y="12"/>
                  <a:pt x="42" y="12"/>
                  <a:pt x="42" y="12"/>
                </a:cubicBezTo>
                <a:cubicBezTo>
                  <a:pt x="43" y="11"/>
                  <a:pt x="43" y="11"/>
                  <a:pt x="43" y="11"/>
                </a:cubicBezTo>
                <a:cubicBezTo>
                  <a:pt x="43" y="10"/>
                  <a:pt x="43" y="10"/>
                  <a:pt x="43" y="10"/>
                </a:cubicBezTo>
                <a:cubicBezTo>
                  <a:pt x="42" y="10"/>
                  <a:pt x="42" y="10"/>
                  <a:pt x="42" y="10"/>
                </a:cubicBezTo>
                <a:cubicBezTo>
                  <a:pt x="41" y="11"/>
                  <a:pt x="41" y="11"/>
                  <a:pt x="41" y="11"/>
                </a:cubicBezTo>
                <a:cubicBezTo>
                  <a:pt x="41" y="11"/>
                  <a:pt x="41" y="11"/>
                  <a:pt x="41" y="11"/>
                </a:cubicBezTo>
                <a:cubicBezTo>
                  <a:pt x="40" y="11"/>
                  <a:pt x="40" y="11"/>
                  <a:pt x="40" y="11"/>
                </a:cubicBezTo>
                <a:cubicBezTo>
                  <a:pt x="39" y="12"/>
                  <a:pt x="39" y="12"/>
                  <a:pt x="39" y="12"/>
                </a:cubicBezTo>
                <a:cubicBezTo>
                  <a:pt x="38" y="11"/>
                  <a:pt x="38" y="11"/>
                  <a:pt x="38" y="11"/>
                </a:cubicBezTo>
                <a:cubicBezTo>
                  <a:pt x="38" y="11"/>
                  <a:pt x="38" y="11"/>
                  <a:pt x="38" y="11"/>
                </a:cubicBezTo>
                <a:cubicBezTo>
                  <a:pt x="38" y="10"/>
                  <a:pt x="38" y="10"/>
                  <a:pt x="38" y="10"/>
                </a:cubicBezTo>
                <a:cubicBezTo>
                  <a:pt x="38" y="10"/>
                  <a:pt x="38" y="10"/>
                  <a:pt x="38" y="10"/>
                </a:cubicBezTo>
                <a:cubicBezTo>
                  <a:pt x="37" y="9"/>
                  <a:pt x="37" y="9"/>
                  <a:pt x="37" y="9"/>
                </a:cubicBezTo>
                <a:cubicBezTo>
                  <a:pt x="37" y="8"/>
                  <a:pt x="37" y="8"/>
                  <a:pt x="37" y="8"/>
                </a:cubicBezTo>
                <a:cubicBezTo>
                  <a:pt x="36" y="8"/>
                  <a:pt x="36" y="8"/>
                  <a:pt x="36" y="8"/>
                </a:cubicBezTo>
                <a:cubicBezTo>
                  <a:pt x="35" y="8"/>
                  <a:pt x="35" y="8"/>
                  <a:pt x="35" y="8"/>
                </a:cubicBezTo>
                <a:cubicBezTo>
                  <a:pt x="34" y="7"/>
                  <a:pt x="34" y="7"/>
                  <a:pt x="34" y="7"/>
                </a:cubicBezTo>
                <a:cubicBezTo>
                  <a:pt x="35" y="6"/>
                  <a:pt x="35" y="6"/>
                  <a:pt x="35" y="6"/>
                </a:cubicBezTo>
                <a:cubicBezTo>
                  <a:pt x="34" y="5"/>
                  <a:pt x="34" y="5"/>
                  <a:pt x="34" y="5"/>
                </a:cubicBezTo>
                <a:cubicBezTo>
                  <a:pt x="34" y="5"/>
                  <a:pt x="34" y="5"/>
                  <a:pt x="34" y="5"/>
                </a:cubicBezTo>
                <a:cubicBezTo>
                  <a:pt x="33" y="6"/>
                  <a:pt x="33" y="6"/>
                  <a:pt x="33" y="6"/>
                </a:cubicBezTo>
                <a:cubicBezTo>
                  <a:pt x="33" y="8"/>
                  <a:pt x="33" y="8"/>
                  <a:pt x="33" y="8"/>
                </a:cubicBezTo>
                <a:cubicBezTo>
                  <a:pt x="33" y="9"/>
                  <a:pt x="33" y="9"/>
                  <a:pt x="33" y="9"/>
                </a:cubicBezTo>
                <a:cubicBezTo>
                  <a:pt x="34" y="10"/>
                  <a:pt x="34" y="10"/>
                  <a:pt x="34" y="10"/>
                </a:cubicBezTo>
                <a:cubicBezTo>
                  <a:pt x="34" y="12"/>
                  <a:pt x="34" y="12"/>
                  <a:pt x="34" y="12"/>
                </a:cubicBezTo>
                <a:cubicBezTo>
                  <a:pt x="34" y="12"/>
                  <a:pt x="34" y="12"/>
                  <a:pt x="34" y="12"/>
                </a:cubicBezTo>
                <a:cubicBezTo>
                  <a:pt x="33" y="11"/>
                  <a:pt x="33" y="11"/>
                  <a:pt x="33" y="11"/>
                </a:cubicBezTo>
                <a:cubicBezTo>
                  <a:pt x="33" y="10"/>
                  <a:pt x="33" y="10"/>
                  <a:pt x="33" y="10"/>
                </a:cubicBezTo>
                <a:cubicBezTo>
                  <a:pt x="32" y="10"/>
                  <a:pt x="32" y="10"/>
                  <a:pt x="32" y="10"/>
                </a:cubicBezTo>
                <a:cubicBezTo>
                  <a:pt x="32" y="11"/>
                  <a:pt x="32" y="11"/>
                  <a:pt x="32" y="11"/>
                </a:cubicBezTo>
                <a:cubicBezTo>
                  <a:pt x="32" y="12"/>
                  <a:pt x="32" y="12"/>
                  <a:pt x="32" y="12"/>
                </a:cubicBezTo>
                <a:cubicBezTo>
                  <a:pt x="33" y="13"/>
                  <a:pt x="33" y="13"/>
                  <a:pt x="33" y="13"/>
                </a:cubicBezTo>
                <a:cubicBezTo>
                  <a:pt x="33" y="14"/>
                  <a:pt x="33" y="14"/>
                  <a:pt x="33" y="14"/>
                </a:cubicBezTo>
                <a:cubicBezTo>
                  <a:pt x="33" y="15"/>
                  <a:pt x="33" y="15"/>
                  <a:pt x="33" y="15"/>
                </a:cubicBezTo>
                <a:cubicBezTo>
                  <a:pt x="32" y="15"/>
                  <a:pt x="32" y="15"/>
                  <a:pt x="32" y="15"/>
                </a:cubicBezTo>
                <a:cubicBezTo>
                  <a:pt x="32" y="13"/>
                  <a:pt x="32" y="13"/>
                  <a:pt x="32" y="13"/>
                </a:cubicBezTo>
                <a:cubicBezTo>
                  <a:pt x="31" y="13"/>
                  <a:pt x="31" y="13"/>
                  <a:pt x="31" y="13"/>
                </a:cubicBezTo>
                <a:cubicBezTo>
                  <a:pt x="29" y="13"/>
                  <a:pt x="29" y="13"/>
                  <a:pt x="29" y="13"/>
                </a:cubicBezTo>
                <a:cubicBezTo>
                  <a:pt x="28" y="12"/>
                  <a:pt x="28" y="12"/>
                  <a:pt x="28" y="12"/>
                </a:cubicBezTo>
                <a:cubicBezTo>
                  <a:pt x="28" y="13"/>
                  <a:pt x="28" y="13"/>
                  <a:pt x="28" y="13"/>
                </a:cubicBezTo>
                <a:cubicBezTo>
                  <a:pt x="28" y="14"/>
                  <a:pt x="28" y="14"/>
                  <a:pt x="28" y="14"/>
                </a:cubicBezTo>
                <a:cubicBezTo>
                  <a:pt x="29" y="14"/>
                  <a:pt x="29" y="14"/>
                  <a:pt x="29" y="14"/>
                </a:cubicBezTo>
                <a:cubicBezTo>
                  <a:pt x="30" y="15"/>
                  <a:pt x="30" y="15"/>
                  <a:pt x="30" y="15"/>
                </a:cubicBezTo>
                <a:cubicBezTo>
                  <a:pt x="29" y="15"/>
                  <a:pt x="29" y="15"/>
                  <a:pt x="29" y="15"/>
                </a:cubicBezTo>
                <a:cubicBezTo>
                  <a:pt x="29" y="16"/>
                  <a:pt x="29" y="16"/>
                  <a:pt x="29" y="16"/>
                </a:cubicBezTo>
                <a:cubicBezTo>
                  <a:pt x="31" y="16"/>
                  <a:pt x="31" y="16"/>
                  <a:pt x="31" y="16"/>
                </a:cubicBezTo>
                <a:cubicBezTo>
                  <a:pt x="31" y="16"/>
                  <a:pt x="31" y="16"/>
                  <a:pt x="31" y="16"/>
                </a:cubicBezTo>
                <a:cubicBezTo>
                  <a:pt x="29" y="17"/>
                  <a:pt x="29" y="17"/>
                  <a:pt x="29" y="17"/>
                </a:cubicBezTo>
                <a:cubicBezTo>
                  <a:pt x="29" y="18"/>
                  <a:pt x="29" y="18"/>
                  <a:pt x="29" y="18"/>
                </a:cubicBezTo>
                <a:cubicBezTo>
                  <a:pt x="30" y="20"/>
                  <a:pt x="30" y="20"/>
                  <a:pt x="30" y="20"/>
                </a:cubicBezTo>
                <a:cubicBezTo>
                  <a:pt x="31" y="21"/>
                  <a:pt x="31" y="21"/>
                  <a:pt x="31" y="21"/>
                </a:cubicBezTo>
                <a:cubicBezTo>
                  <a:pt x="32" y="21"/>
                  <a:pt x="32" y="21"/>
                  <a:pt x="32" y="21"/>
                </a:cubicBezTo>
                <a:cubicBezTo>
                  <a:pt x="34" y="21"/>
                  <a:pt x="34" y="21"/>
                  <a:pt x="34" y="21"/>
                </a:cubicBezTo>
                <a:cubicBezTo>
                  <a:pt x="35" y="21"/>
                  <a:pt x="35" y="21"/>
                  <a:pt x="35" y="21"/>
                </a:cubicBezTo>
                <a:cubicBezTo>
                  <a:pt x="36" y="21"/>
                  <a:pt x="36" y="21"/>
                  <a:pt x="36" y="21"/>
                </a:cubicBezTo>
                <a:close/>
                <a:moveTo>
                  <a:pt x="71" y="35"/>
                </a:moveTo>
                <a:cubicBezTo>
                  <a:pt x="72" y="34"/>
                  <a:pt x="72" y="34"/>
                  <a:pt x="72" y="34"/>
                </a:cubicBezTo>
                <a:cubicBezTo>
                  <a:pt x="73" y="33"/>
                  <a:pt x="73" y="33"/>
                  <a:pt x="73" y="33"/>
                </a:cubicBezTo>
                <a:cubicBezTo>
                  <a:pt x="74" y="33"/>
                  <a:pt x="74" y="33"/>
                  <a:pt x="74" y="33"/>
                </a:cubicBezTo>
                <a:cubicBezTo>
                  <a:pt x="75" y="32"/>
                  <a:pt x="75" y="32"/>
                  <a:pt x="75" y="32"/>
                </a:cubicBezTo>
                <a:cubicBezTo>
                  <a:pt x="75" y="33"/>
                  <a:pt x="75" y="33"/>
                  <a:pt x="75" y="33"/>
                </a:cubicBezTo>
                <a:cubicBezTo>
                  <a:pt x="77" y="33"/>
                  <a:pt x="77" y="33"/>
                  <a:pt x="77" y="33"/>
                </a:cubicBezTo>
                <a:cubicBezTo>
                  <a:pt x="78" y="33"/>
                  <a:pt x="78" y="33"/>
                  <a:pt x="78" y="33"/>
                </a:cubicBezTo>
                <a:cubicBezTo>
                  <a:pt x="77" y="34"/>
                  <a:pt x="77" y="34"/>
                  <a:pt x="77" y="34"/>
                </a:cubicBezTo>
                <a:cubicBezTo>
                  <a:pt x="76" y="35"/>
                  <a:pt x="76" y="35"/>
                  <a:pt x="76" y="35"/>
                </a:cubicBezTo>
                <a:cubicBezTo>
                  <a:pt x="75" y="34"/>
                  <a:pt x="75" y="34"/>
                  <a:pt x="75" y="34"/>
                </a:cubicBezTo>
                <a:cubicBezTo>
                  <a:pt x="74" y="34"/>
                  <a:pt x="74" y="34"/>
                  <a:pt x="74" y="34"/>
                </a:cubicBezTo>
                <a:cubicBezTo>
                  <a:pt x="73" y="34"/>
                  <a:pt x="73" y="34"/>
                  <a:pt x="73" y="34"/>
                </a:cubicBezTo>
                <a:cubicBezTo>
                  <a:pt x="73" y="34"/>
                  <a:pt x="73" y="34"/>
                  <a:pt x="73" y="34"/>
                </a:cubicBezTo>
                <a:cubicBezTo>
                  <a:pt x="72" y="36"/>
                  <a:pt x="72" y="36"/>
                  <a:pt x="72" y="36"/>
                </a:cubicBezTo>
                <a:cubicBezTo>
                  <a:pt x="71" y="35"/>
                  <a:pt x="71" y="35"/>
                  <a:pt x="71" y="35"/>
                </a:cubicBezTo>
                <a:close/>
                <a:moveTo>
                  <a:pt x="66" y="40"/>
                </a:moveTo>
                <a:cubicBezTo>
                  <a:pt x="66" y="39"/>
                  <a:pt x="66" y="39"/>
                  <a:pt x="66" y="39"/>
                </a:cubicBezTo>
                <a:cubicBezTo>
                  <a:pt x="66" y="38"/>
                  <a:pt x="66" y="38"/>
                  <a:pt x="66" y="38"/>
                </a:cubicBezTo>
                <a:cubicBezTo>
                  <a:pt x="66" y="36"/>
                  <a:pt x="66" y="36"/>
                  <a:pt x="66" y="36"/>
                </a:cubicBezTo>
                <a:cubicBezTo>
                  <a:pt x="66" y="36"/>
                  <a:pt x="66" y="36"/>
                  <a:pt x="66" y="36"/>
                </a:cubicBezTo>
                <a:cubicBezTo>
                  <a:pt x="66" y="36"/>
                  <a:pt x="66" y="36"/>
                  <a:pt x="66" y="36"/>
                </a:cubicBezTo>
                <a:cubicBezTo>
                  <a:pt x="67" y="36"/>
                  <a:pt x="67" y="36"/>
                  <a:pt x="67" y="36"/>
                </a:cubicBezTo>
                <a:cubicBezTo>
                  <a:pt x="67" y="37"/>
                  <a:pt x="67" y="37"/>
                  <a:pt x="67" y="37"/>
                </a:cubicBezTo>
                <a:cubicBezTo>
                  <a:pt x="68" y="38"/>
                  <a:pt x="68" y="38"/>
                  <a:pt x="68" y="38"/>
                </a:cubicBezTo>
                <a:cubicBezTo>
                  <a:pt x="68" y="39"/>
                  <a:pt x="68" y="39"/>
                  <a:pt x="68" y="39"/>
                </a:cubicBezTo>
                <a:cubicBezTo>
                  <a:pt x="67" y="40"/>
                  <a:pt x="67" y="40"/>
                  <a:pt x="67" y="40"/>
                </a:cubicBezTo>
                <a:cubicBezTo>
                  <a:pt x="66" y="40"/>
                  <a:pt x="66" y="40"/>
                  <a:pt x="66" y="40"/>
                </a:cubicBezTo>
                <a:close/>
                <a:moveTo>
                  <a:pt x="44" y="50"/>
                </a:moveTo>
                <a:cubicBezTo>
                  <a:pt x="45" y="49"/>
                  <a:pt x="45" y="49"/>
                  <a:pt x="45" y="49"/>
                </a:cubicBezTo>
                <a:cubicBezTo>
                  <a:pt x="46" y="48"/>
                  <a:pt x="46" y="48"/>
                  <a:pt x="46" y="48"/>
                </a:cubicBezTo>
                <a:cubicBezTo>
                  <a:pt x="48" y="47"/>
                  <a:pt x="48" y="47"/>
                  <a:pt x="48" y="47"/>
                </a:cubicBezTo>
                <a:cubicBezTo>
                  <a:pt x="50" y="47"/>
                  <a:pt x="50" y="47"/>
                  <a:pt x="50" y="47"/>
                </a:cubicBezTo>
                <a:cubicBezTo>
                  <a:pt x="51" y="46"/>
                  <a:pt x="51" y="46"/>
                  <a:pt x="51" y="46"/>
                </a:cubicBezTo>
                <a:cubicBezTo>
                  <a:pt x="53" y="45"/>
                  <a:pt x="53" y="45"/>
                  <a:pt x="53" y="45"/>
                </a:cubicBezTo>
                <a:cubicBezTo>
                  <a:pt x="53" y="46"/>
                  <a:pt x="53" y="46"/>
                  <a:pt x="53" y="46"/>
                </a:cubicBezTo>
                <a:cubicBezTo>
                  <a:pt x="54" y="48"/>
                  <a:pt x="54" y="48"/>
                  <a:pt x="54" y="48"/>
                </a:cubicBezTo>
                <a:cubicBezTo>
                  <a:pt x="54" y="48"/>
                  <a:pt x="54" y="48"/>
                  <a:pt x="54" y="48"/>
                </a:cubicBezTo>
                <a:cubicBezTo>
                  <a:pt x="53" y="48"/>
                  <a:pt x="53" y="48"/>
                  <a:pt x="53" y="48"/>
                </a:cubicBezTo>
                <a:cubicBezTo>
                  <a:pt x="53" y="49"/>
                  <a:pt x="53" y="49"/>
                  <a:pt x="53" y="49"/>
                </a:cubicBezTo>
                <a:cubicBezTo>
                  <a:pt x="53" y="51"/>
                  <a:pt x="53" y="51"/>
                  <a:pt x="53" y="51"/>
                </a:cubicBezTo>
                <a:cubicBezTo>
                  <a:pt x="55" y="52"/>
                  <a:pt x="55" y="52"/>
                  <a:pt x="55" y="52"/>
                </a:cubicBezTo>
                <a:cubicBezTo>
                  <a:pt x="56" y="53"/>
                  <a:pt x="56" y="53"/>
                  <a:pt x="56" y="53"/>
                </a:cubicBezTo>
                <a:cubicBezTo>
                  <a:pt x="57" y="52"/>
                  <a:pt x="57" y="52"/>
                  <a:pt x="57" y="52"/>
                </a:cubicBezTo>
                <a:cubicBezTo>
                  <a:pt x="58" y="51"/>
                  <a:pt x="58" y="51"/>
                  <a:pt x="58" y="51"/>
                </a:cubicBezTo>
                <a:cubicBezTo>
                  <a:pt x="59" y="52"/>
                  <a:pt x="59" y="52"/>
                  <a:pt x="59" y="52"/>
                </a:cubicBezTo>
                <a:cubicBezTo>
                  <a:pt x="60" y="53"/>
                  <a:pt x="60" y="53"/>
                  <a:pt x="60" y="53"/>
                </a:cubicBezTo>
                <a:cubicBezTo>
                  <a:pt x="61" y="53"/>
                  <a:pt x="61" y="53"/>
                  <a:pt x="61" y="53"/>
                </a:cubicBezTo>
                <a:cubicBezTo>
                  <a:pt x="61" y="54"/>
                  <a:pt x="61" y="54"/>
                  <a:pt x="61" y="54"/>
                </a:cubicBezTo>
                <a:cubicBezTo>
                  <a:pt x="59" y="54"/>
                  <a:pt x="59" y="54"/>
                  <a:pt x="59" y="54"/>
                </a:cubicBezTo>
                <a:cubicBezTo>
                  <a:pt x="58" y="56"/>
                  <a:pt x="58" y="56"/>
                  <a:pt x="58" y="56"/>
                </a:cubicBezTo>
                <a:cubicBezTo>
                  <a:pt x="58" y="57"/>
                  <a:pt x="58" y="57"/>
                  <a:pt x="58" y="57"/>
                </a:cubicBezTo>
                <a:cubicBezTo>
                  <a:pt x="57" y="60"/>
                  <a:pt x="57" y="60"/>
                  <a:pt x="57" y="60"/>
                </a:cubicBezTo>
                <a:cubicBezTo>
                  <a:pt x="56" y="60"/>
                  <a:pt x="56" y="60"/>
                  <a:pt x="56" y="60"/>
                </a:cubicBezTo>
                <a:cubicBezTo>
                  <a:pt x="55" y="61"/>
                  <a:pt x="55" y="61"/>
                  <a:pt x="55" y="61"/>
                </a:cubicBezTo>
                <a:cubicBezTo>
                  <a:pt x="54" y="62"/>
                  <a:pt x="54" y="62"/>
                  <a:pt x="54" y="62"/>
                </a:cubicBezTo>
                <a:cubicBezTo>
                  <a:pt x="54" y="63"/>
                  <a:pt x="54" y="63"/>
                  <a:pt x="54" y="63"/>
                </a:cubicBezTo>
                <a:cubicBezTo>
                  <a:pt x="53" y="63"/>
                  <a:pt x="53" y="63"/>
                  <a:pt x="53" y="63"/>
                </a:cubicBezTo>
                <a:cubicBezTo>
                  <a:pt x="53" y="63"/>
                  <a:pt x="53" y="63"/>
                  <a:pt x="53" y="63"/>
                </a:cubicBezTo>
                <a:cubicBezTo>
                  <a:pt x="52" y="62"/>
                  <a:pt x="52" y="62"/>
                  <a:pt x="52" y="62"/>
                </a:cubicBezTo>
                <a:cubicBezTo>
                  <a:pt x="53" y="61"/>
                  <a:pt x="53" y="61"/>
                  <a:pt x="53" y="61"/>
                </a:cubicBezTo>
                <a:cubicBezTo>
                  <a:pt x="53" y="60"/>
                  <a:pt x="53" y="60"/>
                  <a:pt x="53" y="60"/>
                </a:cubicBezTo>
                <a:cubicBezTo>
                  <a:pt x="53" y="58"/>
                  <a:pt x="53" y="58"/>
                  <a:pt x="53" y="58"/>
                </a:cubicBezTo>
                <a:cubicBezTo>
                  <a:pt x="53" y="57"/>
                  <a:pt x="53" y="57"/>
                  <a:pt x="53" y="57"/>
                </a:cubicBezTo>
                <a:cubicBezTo>
                  <a:pt x="53" y="57"/>
                  <a:pt x="53" y="57"/>
                  <a:pt x="53" y="57"/>
                </a:cubicBezTo>
                <a:cubicBezTo>
                  <a:pt x="52" y="57"/>
                  <a:pt x="52" y="57"/>
                  <a:pt x="52" y="57"/>
                </a:cubicBezTo>
                <a:cubicBezTo>
                  <a:pt x="51" y="58"/>
                  <a:pt x="51" y="58"/>
                  <a:pt x="51" y="58"/>
                </a:cubicBezTo>
                <a:cubicBezTo>
                  <a:pt x="51" y="59"/>
                  <a:pt x="51" y="59"/>
                  <a:pt x="51" y="59"/>
                </a:cubicBezTo>
                <a:cubicBezTo>
                  <a:pt x="50" y="60"/>
                  <a:pt x="50" y="60"/>
                  <a:pt x="50" y="60"/>
                </a:cubicBezTo>
                <a:cubicBezTo>
                  <a:pt x="49" y="60"/>
                  <a:pt x="49" y="60"/>
                  <a:pt x="49" y="60"/>
                </a:cubicBezTo>
                <a:cubicBezTo>
                  <a:pt x="48" y="61"/>
                  <a:pt x="48" y="61"/>
                  <a:pt x="48" y="61"/>
                </a:cubicBezTo>
                <a:cubicBezTo>
                  <a:pt x="46" y="61"/>
                  <a:pt x="46" y="61"/>
                  <a:pt x="46" y="61"/>
                </a:cubicBezTo>
                <a:cubicBezTo>
                  <a:pt x="45" y="61"/>
                  <a:pt x="45" y="61"/>
                  <a:pt x="45" y="61"/>
                </a:cubicBezTo>
                <a:cubicBezTo>
                  <a:pt x="45" y="61"/>
                  <a:pt x="45" y="61"/>
                  <a:pt x="45" y="61"/>
                </a:cubicBezTo>
                <a:cubicBezTo>
                  <a:pt x="45" y="60"/>
                  <a:pt x="45" y="60"/>
                  <a:pt x="45" y="60"/>
                </a:cubicBezTo>
                <a:cubicBezTo>
                  <a:pt x="45" y="60"/>
                  <a:pt x="45" y="60"/>
                  <a:pt x="45" y="60"/>
                </a:cubicBezTo>
                <a:cubicBezTo>
                  <a:pt x="45" y="59"/>
                  <a:pt x="45" y="59"/>
                  <a:pt x="45" y="59"/>
                </a:cubicBezTo>
                <a:cubicBezTo>
                  <a:pt x="46" y="58"/>
                  <a:pt x="46" y="58"/>
                  <a:pt x="46" y="58"/>
                </a:cubicBezTo>
                <a:cubicBezTo>
                  <a:pt x="46" y="56"/>
                  <a:pt x="46" y="56"/>
                  <a:pt x="46" y="56"/>
                </a:cubicBezTo>
                <a:cubicBezTo>
                  <a:pt x="47" y="54"/>
                  <a:pt x="47" y="54"/>
                  <a:pt x="47" y="54"/>
                </a:cubicBezTo>
                <a:cubicBezTo>
                  <a:pt x="47" y="53"/>
                  <a:pt x="47" y="53"/>
                  <a:pt x="47" y="53"/>
                </a:cubicBezTo>
                <a:cubicBezTo>
                  <a:pt x="47" y="52"/>
                  <a:pt x="47" y="52"/>
                  <a:pt x="47" y="52"/>
                </a:cubicBezTo>
                <a:cubicBezTo>
                  <a:pt x="47" y="52"/>
                  <a:pt x="47" y="52"/>
                  <a:pt x="47" y="52"/>
                </a:cubicBezTo>
                <a:cubicBezTo>
                  <a:pt x="46" y="52"/>
                  <a:pt x="46" y="52"/>
                  <a:pt x="46" y="52"/>
                </a:cubicBezTo>
                <a:cubicBezTo>
                  <a:pt x="45" y="51"/>
                  <a:pt x="45" y="51"/>
                  <a:pt x="45" y="51"/>
                </a:cubicBezTo>
                <a:cubicBezTo>
                  <a:pt x="44" y="50"/>
                  <a:pt x="44" y="50"/>
                  <a:pt x="44" y="50"/>
                </a:cubicBezTo>
                <a:close/>
                <a:moveTo>
                  <a:pt x="38" y="32"/>
                </a:moveTo>
                <a:cubicBezTo>
                  <a:pt x="39" y="33"/>
                  <a:pt x="39" y="33"/>
                  <a:pt x="39" y="33"/>
                </a:cubicBezTo>
                <a:cubicBezTo>
                  <a:pt x="39" y="34"/>
                  <a:pt x="39" y="34"/>
                  <a:pt x="39" y="34"/>
                </a:cubicBezTo>
                <a:cubicBezTo>
                  <a:pt x="40" y="34"/>
                  <a:pt x="40" y="34"/>
                  <a:pt x="40" y="34"/>
                </a:cubicBezTo>
                <a:cubicBezTo>
                  <a:pt x="42" y="34"/>
                  <a:pt x="42" y="34"/>
                  <a:pt x="42" y="34"/>
                </a:cubicBezTo>
                <a:cubicBezTo>
                  <a:pt x="42" y="33"/>
                  <a:pt x="42" y="33"/>
                  <a:pt x="42" y="33"/>
                </a:cubicBezTo>
                <a:cubicBezTo>
                  <a:pt x="41" y="32"/>
                  <a:pt x="41" y="32"/>
                  <a:pt x="41" y="32"/>
                </a:cubicBezTo>
                <a:cubicBezTo>
                  <a:pt x="39" y="31"/>
                  <a:pt x="39" y="31"/>
                  <a:pt x="39" y="31"/>
                </a:cubicBezTo>
                <a:cubicBezTo>
                  <a:pt x="38" y="31"/>
                  <a:pt x="38" y="31"/>
                  <a:pt x="38" y="31"/>
                </a:cubicBezTo>
                <a:cubicBezTo>
                  <a:pt x="38" y="32"/>
                  <a:pt x="38" y="32"/>
                  <a:pt x="38" y="32"/>
                </a:cubicBezTo>
                <a:close/>
                <a:moveTo>
                  <a:pt x="41" y="43"/>
                </a:moveTo>
                <a:cubicBezTo>
                  <a:pt x="42" y="43"/>
                  <a:pt x="42" y="43"/>
                  <a:pt x="42" y="43"/>
                </a:cubicBezTo>
                <a:cubicBezTo>
                  <a:pt x="43" y="44"/>
                  <a:pt x="43" y="44"/>
                  <a:pt x="43" y="44"/>
                </a:cubicBezTo>
                <a:cubicBezTo>
                  <a:pt x="43" y="45"/>
                  <a:pt x="43" y="45"/>
                  <a:pt x="43" y="45"/>
                </a:cubicBezTo>
                <a:cubicBezTo>
                  <a:pt x="44" y="45"/>
                  <a:pt x="44" y="45"/>
                  <a:pt x="44" y="45"/>
                </a:cubicBezTo>
                <a:cubicBezTo>
                  <a:pt x="44" y="46"/>
                  <a:pt x="44" y="46"/>
                  <a:pt x="44" y="46"/>
                </a:cubicBezTo>
                <a:cubicBezTo>
                  <a:pt x="44" y="46"/>
                  <a:pt x="44" y="46"/>
                  <a:pt x="44" y="46"/>
                </a:cubicBezTo>
                <a:cubicBezTo>
                  <a:pt x="44" y="47"/>
                  <a:pt x="44" y="47"/>
                  <a:pt x="44" y="47"/>
                </a:cubicBezTo>
                <a:cubicBezTo>
                  <a:pt x="45" y="47"/>
                  <a:pt x="45" y="47"/>
                  <a:pt x="45" y="47"/>
                </a:cubicBezTo>
                <a:cubicBezTo>
                  <a:pt x="45" y="47"/>
                  <a:pt x="45" y="47"/>
                  <a:pt x="45" y="47"/>
                </a:cubicBezTo>
                <a:cubicBezTo>
                  <a:pt x="46" y="47"/>
                  <a:pt x="46" y="47"/>
                  <a:pt x="46" y="47"/>
                </a:cubicBezTo>
                <a:cubicBezTo>
                  <a:pt x="47" y="46"/>
                  <a:pt x="47" y="46"/>
                  <a:pt x="47" y="46"/>
                </a:cubicBezTo>
                <a:cubicBezTo>
                  <a:pt x="48" y="46"/>
                  <a:pt x="48" y="46"/>
                  <a:pt x="48" y="46"/>
                </a:cubicBezTo>
                <a:cubicBezTo>
                  <a:pt x="49" y="45"/>
                  <a:pt x="49" y="45"/>
                  <a:pt x="49" y="45"/>
                </a:cubicBezTo>
                <a:cubicBezTo>
                  <a:pt x="49" y="45"/>
                  <a:pt x="49" y="45"/>
                  <a:pt x="49" y="45"/>
                </a:cubicBezTo>
                <a:cubicBezTo>
                  <a:pt x="49" y="43"/>
                  <a:pt x="49" y="43"/>
                  <a:pt x="49" y="43"/>
                </a:cubicBezTo>
                <a:cubicBezTo>
                  <a:pt x="50" y="42"/>
                  <a:pt x="50" y="42"/>
                  <a:pt x="50" y="42"/>
                </a:cubicBezTo>
                <a:cubicBezTo>
                  <a:pt x="50" y="41"/>
                  <a:pt x="50" y="41"/>
                  <a:pt x="50" y="41"/>
                </a:cubicBezTo>
                <a:cubicBezTo>
                  <a:pt x="50" y="40"/>
                  <a:pt x="50" y="40"/>
                  <a:pt x="50" y="40"/>
                </a:cubicBezTo>
                <a:cubicBezTo>
                  <a:pt x="49" y="40"/>
                  <a:pt x="49" y="40"/>
                  <a:pt x="49" y="40"/>
                </a:cubicBezTo>
                <a:cubicBezTo>
                  <a:pt x="48" y="40"/>
                  <a:pt x="48" y="40"/>
                  <a:pt x="48" y="40"/>
                </a:cubicBezTo>
                <a:cubicBezTo>
                  <a:pt x="48" y="39"/>
                  <a:pt x="48" y="39"/>
                  <a:pt x="48" y="39"/>
                </a:cubicBezTo>
                <a:cubicBezTo>
                  <a:pt x="47" y="40"/>
                  <a:pt x="47" y="40"/>
                  <a:pt x="47" y="40"/>
                </a:cubicBezTo>
                <a:cubicBezTo>
                  <a:pt x="45" y="41"/>
                  <a:pt x="45" y="41"/>
                  <a:pt x="45" y="41"/>
                </a:cubicBezTo>
                <a:cubicBezTo>
                  <a:pt x="45" y="40"/>
                  <a:pt x="45" y="40"/>
                  <a:pt x="45" y="40"/>
                </a:cubicBezTo>
                <a:cubicBezTo>
                  <a:pt x="45" y="40"/>
                  <a:pt x="45" y="40"/>
                  <a:pt x="45" y="40"/>
                </a:cubicBezTo>
                <a:cubicBezTo>
                  <a:pt x="44" y="41"/>
                  <a:pt x="44" y="41"/>
                  <a:pt x="44" y="41"/>
                </a:cubicBezTo>
                <a:cubicBezTo>
                  <a:pt x="44" y="41"/>
                  <a:pt x="44" y="41"/>
                  <a:pt x="44" y="41"/>
                </a:cubicBezTo>
                <a:cubicBezTo>
                  <a:pt x="43" y="42"/>
                  <a:pt x="43" y="42"/>
                  <a:pt x="43" y="42"/>
                </a:cubicBezTo>
                <a:cubicBezTo>
                  <a:pt x="42" y="41"/>
                  <a:pt x="42" y="41"/>
                  <a:pt x="42" y="41"/>
                </a:cubicBezTo>
                <a:cubicBezTo>
                  <a:pt x="41" y="42"/>
                  <a:pt x="41" y="42"/>
                  <a:pt x="41" y="42"/>
                </a:cubicBezTo>
                <a:cubicBezTo>
                  <a:pt x="41" y="43"/>
                  <a:pt x="41" y="43"/>
                  <a:pt x="41" y="43"/>
                </a:cubicBezTo>
                <a:close/>
                <a:moveTo>
                  <a:pt x="6" y="49"/>
                </a:moveTo>
                <a:cubicBezTo>
                  <a:pt x="5" y="47"/>
                  <a:pt x="5" y="47"/>
                  <a:pt x="5" y="47"/>
                </a:cubicBezTo>
                <a:cubicBezTo>
                  <a:pt x="5" y="47"/>
                  <a:pt x="5" y="47"/>
                  <a:pt x="5" y="47"/>
                </a:cubicBezTo>
                <a:cubicBezTo>
                  <a:pt x="4" y="46"/>
                  <a:pt x="4" y="46"/>
                  <a:pt x="4" y="46"/>
                </a:cubicBezTo>
                <a:cubicBezTo>
                  <a:pt x="3" y="45"/>
                  <a:pt x="3" y="45"/>
                  <a:pt x="3" y="45"/>
                </a:cubicBezTo>
                <a:cubicBezTo>
                  <a:pt x="2" y="45"/>
                  <a:pt x="2" y="45"/>
                  <a:pt x="2" y="45"/>
                </a:cubicBezTo>
                <a:cubicBezTo>
                  <a:pt x="2" y="44"/>
                  <a:pt x="2" y="44"/>
                  <a:pt x="2" y="44"/>
                </a:cubicBezTo>
                <a:cubicBezTo>
                  <a:pt x="2" y="42"/>
                  <a:pt x="2" y="42"/>
                  <a:pt x="2" y="42"/>
                </a:cubicBezTo>
                <a:cubicBezTo>
                  <a:pt x="1" y="40"/>
                  <a:pt x="1" y="40"/>
                  <a:pt x="1" y="40"/>
                </a:cubicBezTo>
                <a:cubicBezTo>
                  <a:pt x="0" y="40"/>
                  <a:pt x="0" y="40"/>
                  <a:pt x="0" y="40"/>
                </a:cubicBezTo>
                <a:cubicBezTo>
                  <a:pt x="0" y="38"/>
                  <a:pt x="0" y="38"/>
                  <a:pt x="0" y="38"/>
                </a:cubicBezTo>
                <a:cubicBezTo>
                  <a:pt x="1" y="37"/>
                  <a:pt x="1" y="37"/>
                  <a:pt x="1" y="37"/>
                </a:cubicBezTo>
                <a:cubicBezTo>
                  <a:pt x="1" y="38"/>
                  <a:pt x="1" y="38"/>
                  <a:pt x="1" y="38"/>
                </a:cubicBezTo>
                <a:cubicBezTo>
                  <a:pt x="2" y="39"/>
                  <a:pt x="2" y="39"/>
                  <a:pt x="2" y="39"/>
                </a:cubicBezTo>
                <a:cubicBezTo>
                  <a:pt x="3" y="40"/>
                  <a:pt x="3" y="40"/>
                  <a:pt x="3" y="40"/>
                </a:cubicBezTo>
                <a:cubicBezTo>
                  <a:pt x="2" y="41"/>
                  <a:pt x="2" y="41"/>
                  <a:pt x="2" y="41"/>
                </a:cubicBezTo>
                <a:cubicBezTo>
                  <a:pt x="3" y="43"/>
                  <a:pt x="3" y="43"/>
                  <a:pt x="3" y="43"/>
                </a:cubicBezTo>
                <a:cubicBezTo>
                  <a:pt x="4" y="44"/>
                  <a:pt x="4" y="44"/>
                  <a:pt x="4" y="44"/>
                </a:cubicBezTo>
                <a:cubicBezTo>
                  <a:pt x="4" y="44"/>
                  <a:pt x="4" y="44"/>
                  <a:pt x="4" y="44"/>
                </a:cubicBezTo>
                <a:cubicBezTo>
                  <a:pt x="5" y="44"/>
                  <a:pt x="5" y="44"/>
                  <a:pt x="5" y="44"/>
                </a:cubicBezTo>
                <a:cubicBezTo>
                  <a:pt x="5" y="44"/>
                  <a:pt x="5" y="44"/>
                  <a:pt x="5" y="44"/>
                </a:cubicBezTo>
                <a:cubicBezTo>
                  <a:pt x="6" y="45"/>
                  <a:pt x="6" y="45"/>
                  <a:pt x="6" y="45"/>
                </a:cubicBezTo>
                <a:cubicBezTo>
                  <a:pt x="7" y="47"/>
                  <a:pt x="7" y="47"/>
                  <a:pt x="7" y="47"/>
                </a:cubicBezTo>
                <a:cubicBezTo>
                  <a:pt x="7" y="48"/>
                  <a:pt x="7" y="48"/>
                  <a:pt x="7" y="48"/>
                </a:cubicBezTo>
                <a:cubicBezTo>
                  <a:pt x="7" y="49"/>
                  <a:pt x="7" y="49"/>
                  <a:pt x="7" y="49"/>
                </a:cubicBezTo>
                <a:cubicBezTo>
                  <a:pt x="6" y="49"/>
                  <a:pt x="6" y="49"/>
                  <a:pt x="6" y="49"/>
                </a:cubicBezTo>
                <a:cubicBezTo>
                  <a:pt x="6" y="49"/>
                  <a:pt x="6" y="49"/>
                  <a:pt x="6" y="49"/>
                </a:cubicBezTo>
                <a:close/>
                <a:moveTo>
                  <a:pt x="29" y="77"/>
                </a:moveTo>
                <a:cubicBezTo>
                  <a:pt x="29" y="76"/>
                  <a:pt x="29" y="76"/>
                  <a:pt x="29" y="76"/>
                </a:cubicBezTo>
                <a:cubicBezTo>
                  <a:pt x="28" y="76"/>
                  <a:pt x="28" y="76"/>
                  <a:pt x="28" y="76"/>
                </a:cubicBezTo>
                <a:cubicBezTo>
                  <a:pt x="28" y="77"/>
                  <a:pt x="28" y="77"/>
                  <a:pt x="28" y="77"/>
                </a:cubicBezTo>
                <a:cubicBezTo>
                  <a:pt x="27" y="77"/>
                  <a:pt x="27" y="77"/>
                  <a:pt x="27" y="77"/>
                </a:cubicBezTo>
                <a:cubicBezTo>
                  <a:pt x="27" y="76"/>
                  <a:pt x="27" y="76"/>
                  <a:pt x="27" y="76"/>
                </a:cubicBezTo>
                <a:cubicBezTo>
                  <a:pt x="27" y="75"/>
                  <a:pt x="27" y="75"/>
                  <a:pt x="27" y="75"/>
                </a:cubicBezTo>
                <a:cubicBezTo>
                  <a:pt x="27" y="74"/>
                  <a:pt x="27" y="74"/>
                  <a:pt x="27" y="74"/>
                </a:cubicBezTo>
                <a:cubicBezTo>
                  <a:pt x="26" y="74"/>
                  <a:pt x="26" y="74"/>
                  <a:pt x="26" y="74"/>
                </a:cubicBezTo>
                <a:cubicBezTo>
                  <a:pt x="24" y="72"/>
                  <a:pt x="24" y="72"/>
                  <a:pt x="24" y="72"/>
                </a:cubicBezTo>
                <a:cubicBezTo>
                  <a:pt x="24" y="71"/>
                  <a:pt x="24" y="71"/>
                  <a:pt x="24" y="71"/>
                </a:cubicBezTo>
                <a:cubicBezTo>
                  <a:pt x="25" y="70"/>
                  <a:pt x="25" y="70"/>
                  <a:pt x="25" y="70"/>
                </a:cubicBezTo>
                <a:cubicBezTo>
                  <a:pt x="26" y="70"/>
                  <a:pt x="26" y="70"/>
                  <a:pt x="26" y="70"/>
                </a:cubicBezTo>
                <a:cubicBezTo>
                  <a:pt x="26" y="70"/>
                  <a:pt x="26" y="70"/>
                  <a:pt x="26" y="70"/>
                </a:cubicBezTo>
                <a:cubicBezTo>
                  <a:pt x="26" y="69"/>
                  <a:pt x="26" y="69"/>
                  <a:pt x="26" y="69"/>
                </a:cubicBezTo>
                <a:cubicBezTo>
                  <a:pt x="26" y="69"/>
                  <a:pt x="26" y="69"/>
                  <a:pt x="26" y="69"/>
                </a:cubicBezTo>
                <a:cubicBezTo>
                  <a:pt x="25" y="69"/>
                  <a:pt x="25" y="69"/>
                  <a:pt x="25" y="69"/>
                </a:cubicBezTo>
                <a:cubicBezTo>
                  <a:pt x="25" y="68"/>
                  <a:pt x="25" y="68"/>
                  <a:pt x="25" y="68"/>
                </a:cubicBezTo>
                <a:cubicBezTo>
                  <a:pt x="24" y="68"/>
                  <a:pt x="24" y="68"/>
                  <a:pt x="24" y="68"/>
                </a:cubicBezTo>
                <a:cubicBezTo>
                  <a:pt x="24" y="69"/>
                  <a:pt x="24" y="69"/>
                  <a:pt x="24" y="69"/>
                </a:cubicBezTo>
                <a:cubicBezTo>
                  <a:pt x="23" y="70"/>
                  <a:pt x="23" y="70"/>
                  <a:pt x="23" y="70"/>
                </a:cubicBezTo>
                <a:cubicBezTo>
                  <a:pt x="21" y="69"/>
                  <a:pt x="21" y="69"/>
                  <a:pt x="21" y="69"/>
                </a:cubicBezTo>
                <a:cubicBezTo>
                  <a:pt x="21" y="68"/>
                  <a:pt x="21" y="68"/>
                  <a:pt x="21" y="68"/>
                </a:cubicBezTo>
                <a:cubicBezTo>
                  <a:pt x="21" y="67"/>
                  <a:pt x="21" y="67"/>
                  <a:pt x="21" y="67"/>
                </a:cubicBezTo>
                <a:cubicBezTo>
                  <a:pt x="20" y="67"/>
                  <a:pt x="20" y="67"/>
                  <a:pt x="20" y="67"/>
                </a:cubicBezTo>
                <a:cubicBezTo>
                  <a:pt x="19" y="66"/>
                  <a:pt x="19" y="66"/>
                  <a:pt x="19" y="66"/>
                </a:cubicBezTo>
                <a:cubicBezTo>
                  <a:pt x="19" y="66"/>
                  <a:pt x="19" y="66"/>
                  <a:pt x="19" y="66"/>
                </a:cubicBezTo>
                <a:cubicBezTo>
                  <a:pt x="18" y="66"/>
                  <a:pt x="18" y="66"/>
                  <a:pt x="18" y="66"/>
                </a:cubicBezTo>
                <a:cubicBezTo>
                  <a:pt x="18" y="65"/>
                  <a:pt x="18" y="65"/>
                  <a:pt x="18" y="65"/>
                </a:cubicBezTo>
                <a:cubicBezTo>
                  <a:pt x="18" y="64"/>
                  <a:pt x="18" y="64"/>
                  <a:pt x="18" y="64"/>
                </a:cubicBezTo>
                <a:cubicBezTo>
                  <a:pt x="17" y="64"/>
                  <a:pt x="17" y="64"/>
                  <a:pt x="17" y="64"/>
                </a:cubicBezTo>
                <a:cubicBezTo>
                  <a:pt x="17" y="64"/>
                  <a:pt x="17" y="64"/>
                  <a:pt x="17" y="64"/>
                </a:cubicBezTo>
                <a:cubicBezTo>
                  <a:pt x="17" y="63"/>
                  <a:pt x="17" y="63"/>
                  <a:pt x="17" y="63"/>
                </a:cubicBezTo>
                <a:cubicBezTo>
                  <a:pt x="16" y="63"/>
                  <a:pt x="16" y="63"/>
                  <a:pt x="16" y="63"/>
                </a:cubicBezTo>
                <a:cubicBezTo>
                  <a:pt x="16" y="62"/>
                  <a:pt x="16" y="62"/>
                  <a:pt x="16" y="62"/>
                </a:cubicBezTo>
                <a:cubicBezTo>
                  <a:pt x="16" y="62"/>
                  <a:pt x="16" y="62"/>
                  <a:pt x="16" y="62"/>
                </a:cubicBezTo>
                <a:cubicBezTo>
                  <a:pt x="16" y="62"/>
                  <a:pt x="16" y="62"/>
                  <a:pt x="16" y="62"/>
                </a:cubicBezTo>
                <a:cubicBezTo>
                  <a:pt x="16" y="61"/>
                  <a:pt x="16" y="61"/>
                  <a:pt x="16" y="61"/>
                </a:cubicBezTo>
                <a:cubicBezTo>
                  <a:pt x="16" y="60"/>
                  <a:pt x="16" y="60"/>
                  <a:pt x="16" y="60"/>
                </a:cubicBezTo>
                <a:cubicBezTo>
                  <a:pt x="15" y="60"/>
                  <a:pt x="15" y="60"/>
                  <a:pt x="15" y="60"/>
                </a:cubicBezTo>
                <a:cubicBezTo>
                  <a:pt x="15" y="59"/>
                  <a:pt x="15" y="59"/>
                  <a:pt x="15" y="59"/>
                </a:cubicBezTo>
                <a:cubicBezTo>
                  <a:pt x="17" y="58"/>
                  <a:pt x="17" y="58"/>
                  <a:pt x="17" y="58"/>
                </a:cubicBezTo>
                <a:cubicBezTo>
                  <a:pt x="17" y="58"/>
                  <a:pt x="17" y="58"/>
                  <a:pt x="17" y="58"/>
                </a:cubicBezTo>
                <a:cubicBezTo>
                  <a:pt x="18" y="59"/>
                  <a:pt x="18" y="59"/>
                  <a:pt x="18" y="59"/>
                </a:cubicBezTo>
                <a:cubicBezTo>
                  <a:pt x="19" y="60"/>
                  <a:pt x="19" y="60"/>
                  <a:pt x="19" y="60"/>
                </a:cubicBezTo>
                <a:cubicBezTo>
                  <a:pt x="19" y="60"/>
                  <a:pt x="19" y="60"/>
                  <a:pt x="19" y="60"/>
                </a:cubicBezTo>
                <a:cubicBezTo>
                  <a:pt x="19" y="59"/>
                  <a:pt x="19" y="59"/>
                  <a:pt x="19" y="59"/>
                </a:cubicBezTo>
                <a:cubicBezTo>
                  <a:pt x="20" y="59"/>
                  <a:pt x="20" y="59"/>
                  <a:pt x="20" y="59"/>
                </a:cubicBezTo>
                <a:cubicBezTo>
                  <a:pt x="21" y="60"/>
                  <a:pt x="21" y="60"/>
                  <a:pt x="21" y="60"/>
                </a:cubicBezTo>
                <a:cubicBezTo>
                  <a:pt x="22" y="60"/>
                  <a:pt x="22" y="60"/>
                  <a:pt x="22" y="60"/>
                </a:cubicBezTo>
                <a:cubicBezTo>
                  <a:pt x="24" y="59"/>
                  <a:pt x="24" y="59"/>
                  <a:pt x="24" y="59"/>
                </a:cubicBezTo>
                <a:cubicBezTo>
                  <a:pt x="24" y="59"/>
                  <a:pt x="24" y="59"/>
                  <a:pt x="24" y="59"/>
                </a:cubicBezTo>
                <a:cubicBezTo>
                  <a:pt x="23" y="58"/>
                  <a:pt x="23" y="58"/>
                  <a:pt x="23" y="58"/>
                </a:cubicBezTo>
                <a:cubicBezTo>
                  <a:pt x="22" y="58"/>
                  <a:pt x="22" y="58"/>
                  <a:pt x="22" y="58"/>
                </a:cubicBezTo>
                <a:cubicBezTo>
                  <a:pt x="20" y="58"/>
                  <a:pt x="20" y="58"/>
                  <a:pt x="20" y="58"/>
                </a:cubicBezTo>
                <a:cubicBezTo>
                  <a:pt x="19" y="57"/>
                  <a:pt x="19" y="57"/>
                  <a:pt x="19" y="57"/>
                </a:cubicBezTo>
                <a:cubicBezTo>
                  <a:pt x="19" y="57"/>
                  <a:pt x="19" y="57"/>
                  <a:pt x="19" y="57"/>
                </a:cubicBezTo>
                <a:cubicBezTo>
                  <a:pt x="20" y="57"/>
                  <a:pt x="20" y="57"/>
                  <a:pt x="20" y="57"/>
                </a:cubicBezTo>
                <a:cubicBezTo>
                  <a:pt x="21" y="57"/>
                  <a:pt x="21" y="57"/>
                  <a:pt x="21" y="57"/>
                </a:cubicBezTo>
                <a:cubicBezTo>
                  <a:pt x="23" y="56"/>
                  <a:pt x="23" y="56"/>
                  <a:pt x="23" y="56"/>
                </a:cubicBezTo>
                <a:cubicBezTo>
                  <a:pt x="24" y="55"/>
                  <a:pt x="24" y="55"/>
                  <a:pt x="24" y="55"/>
                </a:cubicBezTo>
                <a:cubicBezTo>
                  <a:pt x="26" y="55"/>
                  <a:pt x="26" y="55"/>
                  <a:pt x="26" y="55"/>
                </a:cubicBezTo>
                <a:cubicBezTo>
                  <a:pt x="27" y="55"/>
                  <a:pt x="27" y="55"/>
                  <a:pt x="27" y="55"/>
                </a:cubicBezTo>
                <a:cubicBezTo>
                  <a:pt x="27" y="55"/>
                  <a:pt x="27" y="55"/>
                  <a:pt x="27" y="55"/>
                </a:cubicBezTo>
                <a:cubicBezTo>
                  <a:pt x="27" y="55"/>
                  <a:pt x="27" y="55"/>
                  <a:pt x="27" y="55"/>
                </a:cubicBezTo>
                <a:cubicBezTo>
                  <a:pt x="27" y="54"/>
                  <a:pt x="27" y="54"/>
                  <a:pt x="27" y="54"/>
                </a:cubicBezTo>
                <a:cubicBezTo>
                  <a:pt x="28" y="54"/>
                  <a:pt x="28" y="54"/>
                  <a:pt x="28" y="54"/>
                </a:cubicBezTo>
                <a:cubicBezTo>
                  <a:pt x="28" y="53"/>
                  <a:pt x="28" y="53"/>
                  <a:pt x="28" y="53"/>
                </a:cubicBezTo>
                <a:cubicBezTo>
                  <a:pt x="28" y="53"/>
                  <a:pt x="28" y="53"/>
                  <a:pt x="28" y="53"/>
                </a:cubicBezTo>
                <a:cubicBezTo>
                  <a:pt x="27" y="53"/>
                  <a:pt x="27" y="53"/>
                  <a:pt x="27" y="53"/>
                </a:cubicBezTo>
                <a:cubicBezTo>
                  <a:pt x="26" y="54"/>
                  <a:pt x="26" y="54"/>
                  <a:pt x="26" y="54"/>
                </a:cubicBezTo>
                <a:cubicBezTo>
                  <a:pt x="24" y="54"/>
                  <a:pt x="24" y="54"/>
                  <a:pt x="24" y="54"/>
                </a:cubicBezTo>
                <a:cubicBezTo>
                  <a:pt x="23" y="54"/>
                  <a:pt x="23" y="54"/>
                  <a:pt x="23" y="54"/>
                </a:cubicBezTo>
                <a:cubicBezTo>
                  <a:pt x="23" y="54"/>
                  <a:pt x="23" y="54"/>
                  <a:pt x="23" y="54"/>
                </a:cubicBezTo>
                <a:cubicBezTo>
                  <a:pt x="22" y="54"/>
                  <a:pt x="22" y="54"/>
                  <a:pt x="22" y="54"/>
                </a:cubicBezTo>
                <a:cubicBezTo>
                  <a:pt x="21" y="54"/>
                  <a:pt x="21" y="54"/>
                  <a:pt x="21" y="54"/>
                </a:cubicBezTo>
                <a:cubicBezTo>
                  <a:pt x="21" y="54"/>
                  <a:pt x="21" y="54"/>
                  <a:pt x="21" y="54"/>
                </a:cubicBezTo>
                <a:cubicBezTo>
                  <a:pt x="20" y="55"/>
                  <a:pt x="20" y="55"/>
                  <a:pt x="20" y="55"/>
                </a:cubicBezTo>
                <a:cubicBezTo>
                  <a:pt x="19" y="55"/>
                  <a:pt x="19" y="55"/>
                  <a:pt x="19" y="55"/>
                </a:cubicBezTo>
                <a:cubicBezTo>
                  <a:pt x="18" y="55"/>
                  <a:pt x="18" y="55"/>
                  <a:pt x="18" y="55"/>
                </a:cubicBezTo>
                <a:cubicBezTo>
                  <a:pt x="18" y="56"/>
                  <a:pt x="18" y="56"/>
                  <a:pt x="18" y="56"/>
                </a:cubicBezTo>
                <a:cubicBezTo>
                  <a:pt x="16" y="56"/>
                  <a:pt x="16" y="56"/>
                  <a:pt x="16" y="56"/>
                </a:cubicBezTo>
                <a:cubicBezTo>
                  <a:pt x="15" y="56"/>
                  <a:pt x="15" y="56"/>
                  <a:pt x="15" y="56"/>
                </a:cubicBezTo>
                <a:cubicBezTo>
                  <a:pt x="15" y="56"/>
                  <a:pt x="15" y="56"/>
                  <a:pt x="15" y="56"/>
                </a:cubicBezTo>
                <a:cubicBezTo>
                  <a:pt x="14" y="56"/>
                  <a:pt x="14" y="56"/>
                  <a:pt x="14" y="56"/>
                </a:cubicBezTo>
                <a:cubicBezTo>
                  <a:pt x="14" y="54"/>
                  <a:pt x="14" y="54"/>
                  <a:pt x="14" y="54"/>
                </a:cubicBezTo>
                <a:cubicBezTo>
                  <a:pt x="14" y="53"/>
                  <a:pt x="14" y="53"/>
                  <a:pt x="14" y="53"/>
                </a:cubicBezTo>
                <a:cubicBezTo>
                  <a:pt x="14" y="52"/>
                  <a:pt x="14" y="52"/>
                  <a:pt x="14" y="52"/>
                </a:cubicBezTo>
                <a:cubicBezTo>
                  <a:pt x="14" y="52"/>
                  <a:pt x="14" y="52"/>
                  <a:pt x="14" y="52"/>
                </a:cubicBezTo>
                <a:cubicBezTo>
                  <a:pt x="15" y="51"/>
                  <a:pt x="15" y="51"/>
                  <a:pt x="15" y="51"/>
                </a:cubicBezTo>
                <a:cubicBezTo>
                  <a:pt x="16" y="51"/>
                  <a:pt x="16" y="51"/>
                  <a:pt x="16" y="51"/>
                </a:cubicBezTo>
                <a:cubicBezTo>
                  <a:pt x="16" y="51"/>
                  <a:pt x="16" y="51"/>
                  <a:pt x="16" y="51"/>
                </a:cubicBezTo>
                <a:cubicBezTo>
                  <a:pt x="16" y="52"/>
                  <a:pt x="16" y="52"/>
                  <a:pt x="16" y="52"/>
                </a:cubicBezTo>
                <a:cubicBezTo>
                  <a:pt x="17" y="52"/>
                  <a:pt x="17" y="52"/>
                  <a:pt x="17" y="52"/>
                </a:cubicBezTo>
                <a:cubicBezTo>
                  <a:pt x="17" y="51"/>
                  <a:pt x="17" y="51"/>
                  <a:pt x="17" y="51"/>
                </a:cubicBezTo>
                <a:cubicBezTo>
                  <a:pt x="18" y="50"/>
                  <a:pt x="18" y="50"/>
                  <a:pt x="18" y="50"/>
                </a:cubicBezTo>
                <a:cubicBezTo>
                  <a:pt x="18" y="50"/>
                  <a:pt x="18" y="50"/>
                  <a:pt x="18" y="50"/>
                </a:cubicBezTo>
                <a:cubicBezTo>
                  <a:pt x="19" y="49"/>
                  <a:pt x="19" y="49"/>
                  <a:pt x="19" y="49"/>
                </a:cubicBezTo>
                <a:cubicBezTo>
                  <a:pt x="20" y="48"/>
                  <a:pt x="20" y="48"/>
                  <a:pt x="20" y="48"/>
                </a:cubicBezTo>
                <a:cubicBezTo>
                  <a:pt x="21" y="48"/>
                  <a:pt x="21" y="48"/>
                  <a:pt x="21" y="48"/>
                </a:cubicBezTo>
                <a:cubicBezTo>
                  <a:pt x="21" y="47"/>
                  <a:pt x="21" y="47"/>
                  <a:pt x="21" y="47"/>
                </a:cubicBezTo>
                <a:cubicBezTo>
                  <a:pt x="22" y="46"/>
                  <a:pt x="22" y="46"/>
                  <a:pt x="22" y="46"/>
                </a:cubicBezTo>
                <a:cubicBezTo>
                  <a:pt x="23" y="46"/>
                  <a:pt x="23" y="46"/>
                  <a:pt x="23" y="46"/>
                </a:cubicBezTo>
                <a:cubicBezTo>
                  <a:pt x="25" y="46"/>
                  <a:pt x="25" y="46"/>
                  <a:pt x="25" y="46"/>
                </a:cubicBezTo>
                <a:cubicBezTo>
                  <a:pt x="26" y="45"/>
                  <a:pt x="26" y="45"/>
                  <a:pt x="26" y="45"/>
                </a:cubicBezTo>
                <a:cubicBezTo>
                  <a:pt x="27" y="44"/>
                  <a:pt x="27" y="44"/>
                  <a:pt x="27" y="44"/>
                </a:cubicBezTo>
                <a:cubicBezTo>
                  <a:pt x="28" y="44"/>
                  <a:pt x="28" y="44"/>
                  <a:pt x="28" y="44"/>
                </a:cubicBezTo>
                <a:cubicBezTo>
                  <a:pt x="28" y="43"/>
                  <a:pt x="28" y="43"/>
                  <a:pt x="28" y="43"/>
                </a:cubicBezTo>
                <a:cubicBezTo>
                  <a:pt x="27" y="43"/>
                  <a:pt x="27" y="43"/>
                  <a:pt x="27" y="43"/>
                </a:cubicBezTo>
                <a:cubicBezTo>
                  <a:pt x="26" y="44"/>
                  <a:pt x="26" y="44"/>
                  <a:pt x="26" y="44"/>
                </a:cubicBezTo>
                <a:cubicBezTo>
                  <a:pt x="25" y="44"/>
                  <a:pt x="25" y="44"/>
                  <a:pt x="25" y="44"/>
                </a:cubicBezTo>
                <a:cubicBezTo>
                  <a:pt x="25" y="44"/>
                  <a:pt x="25" y="44"/>
                  <a:pt x="25" y="44"/>
                </a:cubicBezTo>
                <a:cubicBezTo>
                  <a:pt x="25" y="43"/>
                  <a:pt x="25" y="43"/>
                  <a:pt x="25" y="43"/>
                </a:cubicBezTo>
                <a:cubicBezTo>
                  <a:pt x="25" y="42"/>
                  <a:pt x="25" y="42"/>
                  <a:pt x="25" y="42"/>
                </a:cubicBezTo>
                <a:cubicBezTo>
                  <a:pt x="25" y="40"/>
                  <a:pt x="25" y="40"/>
                  <a:pt x="25" y="40"/>
                </a:cubicBezTo>
                <a:cubicBezTo>
                  <a:pt x="25" y="39"/>
                  <a:pt x="25" y="39"/>
                  <a:pt x="25" y="39"/>
                </a:cubicBezTo>
                <a:cubicBezTo>
                  <a:pt x="24" y="39"/>
                  <a:pt x="24" y="39"/>
                  <a:pt x="24" y="39"/>
                </a:cubicBezTo>
                <a:cubicBezTo>
                  <a:pt x="24" y="40"/>
                  <a:pt x="24" y="40"/>
                  <a:pt x="24" y="40"/>
                </a:cubicBezTo>
                <a:cubicBezTo>
                  <a:pt x="24" y="41"/>
                  <a:pt x="24" y="41"/>
                  <a:pt x="24" y="41"/>
                </a:cubicBezTo>
                <a:cubicBezTo>
                  <a:pt x="23" y="43"/>
                  <a:pt x="23" y="43"/>
                  <a:pt x="23" y="43"/>
                </a:cubicBezTo>
                <a:cubicBezTo>
                  <a:pt x="22" y="44"/>
                  <a:pt x="22" y="44"/>
                  <a:pt x="22" y="44"/>
                </a:cubicBezTo>
                <a:cubicBezTo>
                  <a:pt x="21" y="45"/>
                  <a:pt x="21" y="45"/>
                  <a:pt x="21" y="45"/>
                </a:cubicBezTo>
                <a:cubicBezTo>
                  <a:pt x="20" y="44"/>
                  <a:pt x="20" y="44"/>
                  <a:pt x="20" y="44"/>
                </a:cubicBezTo>
                <a:cubicBezTo>
                  <a:pt x="20" y="43"/>
                  <a:pt x="20" y="43"/>
                  <a:pt x="20" y="43"/>
                </a:cubicBezTo>
                <a:cubicBezTo>
                  <a:pt x="20" y="42"/>
                  <a:pt x="20" y="42"/>
                  <a:pt x="20" y="42"/>
                </a:cubicBezTo>
                <a:cubicBezTo>
                  <a:pt x="21" y="41"/>
                  <a:pt x="21" y="41"/>
                  <a:pt x="21" y="41"/>
                </a:cubicBezTo>
                <a:cubicBezTo>
                  <a:pt x="21" y="40"/>
                  <a:pt x="21" y="40"/>
                  <a:pt x="21" y="40"/>
                </a:cubicBezTo>
                <a:cubicBezTo>
                  <a:pt x="20" y="40"/>
                  <a:pt x="20" y="40"/>
                  <a:pt x="20" y="40"/>
                </a:cubicBezTo>
                <a:cubicBezTo>
                  <a:pt x="20" y="38"/>
                  <a:pt x="20" y="38"/>
                  <a:pt x="20" y="38"/>
                </a:cubicBezTo>
                <a:cubicBezTo>
                  <a:pt x="20" y="38"/>
                  <a:pt x="20" y="38"/>
                  <a:pt x="20" y="38"/>
                </a:cubicBezTo>
                <a:cubicBezTo>
                  <a:pt x="19" y="38"/>
                  <a:pt x="19" y="38"/>
                  <a:pt x="19" y="38"/>
                </a:cubicBezTo>
                <a:cubicBezTo>
                  <a:pt x="19" y="38"/>
                  <a:pt x="19" y="38"/>
                  <a:pt x="19" y="38"/>
                </a:cubicBezTo>
                <a:cubicBezTo>
                  <a:pt x="19" y="40"/>
                  <a:pt x="19" y="40"/>
                  <a:pt x="19" y="40"/>
                </a:cubicBezTo>
                <a:cubicBezTo>
                  <a:pt x="19" y="41"/>
                  <a:pt x="19" y="41"/>
                  <a:pt x="19" y="41"/>
                </a:cubicBezTo>
                <a:cubicBezTo>
                  <a:pt x="18" y="42"/>
                  <a:pt x="18" y="42"/>
                  <a:pt x="18" y="42"/>
                </a:cubicBezTo>
                <a:cubicBezTo>
                  <a:pt x="18" y="41"/>
                  <a:pt x="18" y="41"/>
                  <a:pt x="18" y="41"/>
                </a:cubicBezTo>
                <a:cubicBezTo>
                  <a:pt x="18" y="41"/>
                  <a:pt x="18" y="41"/>
                  <a:pt x="18" y="41"/>
                </a:cubicBezTo>
                <a:cubicBezTo>
                  <a:pt x="18" y="40"/>
                  <a:pt x="18" y="40"/>
                  <a:pt x="18" y="40"/>
                </a:cubicBezTo>
                <a:cubicBezTo>
                  <a:pt x="17" y="40"/>
                  <a:pt x="17" y="40"/>
                  <a:pt x="17" y="40"/>
                </a:cubicBezTo>
                <a:cubicBezTo>
                  <a:pt x="16" y="40"/>
                  <a:pt x="16" y="40"/>
                  <a:pt x="16" y="40"/>
                </a:cubicBezTo>
                <a:cubicBezTo>
                  <a:pt x="16" y="41"/>
                  <a:pt x="16" y="41"/>
                  <a:pt x="16" y="41"/>
                </a:cubicBezTo>
                <a:cubicBezTo>
                  <a:pt x="17" y="42"/>
                  <a:pt x="17" y="42"/>
                  <a:pt x="17" y="42"/>
                </a:cubicBezTo>
                <a:cubicBezTo>
                  <a:pt x="17" y="43"/>
                  <a:pt x="17" y="43"/>
                  <a:pt x="17" y="43"/>
                </a:cubicBezTo>
                <a:cubicBezTo>
                  <a:pt x="17" y="44"/>
                  <a:pt x="17" y="44"/>
                  <a:pt x="17" y="44"/>
                </a:cubicBezTo>
                <a:cubicBezTo>
                  <a:pt x="18" y="45"/>
                  <a:pt x="18" y="45"/>
                  <a:pt x="18" y="45"/>
                </a:cubicBezTo>
                <a:cubicBezTo>
                  <a:pt x="18" y="46"/>
                  <a:pt x="18" y="46"/>
                  <a:pt x="18" y="46"/>
                </a:cubicBezTo>
                <a:cubicBezTo>
                  <a:pt x="17" y="46"/>
                  <a:pt x="17" y="46"/>
                  <a:pt x="17" y="46"/>
                </a:cubicBezTo>
                <a:cubicBezTo>
                  <a:pt x="16" y="46"/>
                  <a:pt x="16" y="46"/>
                  <a:pt x="16" y="46"/>
                </a:cubicBezTo>
                <a:cubicBezTo>
                  <a:pt x="16" y="48"/>
                  <a:pt x="16" y="48"/>
                  <a:pt x="16" y="48"/>
                </a:cubicBezTo>
                <a:cubicBezTo>
                  <a:pt x="16" y="48"/>
                  <a:pt x="16" y="48"/>
                  <a:pt x="16" y="48"/>
                </a:cubicBezTo>
                <a:cubicBezTo>
                  <a:pt x="15" y="49"/>
                  <a:pt x="15" y="49"/>
                  <a:pt x="15" y="49"/>
                </a:cubicBezTo>
                <a:cubicBezTo>
                  <a:pt x="13" y="49"/>
                  <a:pt x="13" y="49"/>
                  <a:pt x="13" y="49"/>
                </a:cubicBezTo>
                <a:cubicBezTo>
                  <a:pt x="11" y="49"/>
                  <a:pt x="11" y="49"/>
                  <a:pt x="11" y="49"/>
                </a:cubicBezTo>
                <a:cubicBezTo>
                  <a:pt x="11" y="49"/>
                  <a:pt x="11" y="49"/>
                  <a:pt x="11" y="49"/>
                </a:cubicBezTo>
                <a:cubicBezTo>
                  <a:pt x="12" y="48"/>
                  <a:pt x="12" y="48"/>
                  <a:pt x="12" y="48"/>
                </a:cubicBezTo>
                <a:cubicBezTo>
                  <a:pt x="11" y="47"/>
                  <a:pt x="11" y="47"/>
                  <a:pt x="11" y="47"/>
                </a:cubicBezTo>
                <a:cubicBezTo>
                  <a:pt x="10" y="46"/>
                  <a:pt x="10" y="46"/>
                  <a:pt x="10" y="46"/>
                </a:cubicBezTo>
                <a:cubicBezTo>
                  <a:pt x="9" y="45"/>
                  <a:pt x="9" y="45"/>
                  <a:pt x="9" y="45"/>
                </a:cubicBezTo>
                <a:cubicBezTo>
                  <a:pt x="9" y="45"/>
                  <a:pt x="9" y="45"/>
                  <a:pt x="9" y="45"/>
                </a:cubicBezTo>
                <a:cubicBezTo>
                  <a:pt x="8" y="44"/>
                  <a:pt x="8" y="44"/>
                  <a:pt x="8" y="44"/>
                </a:cubicBezTo>
                <a:cubicBezTo>
                  <a:pt x="8" y="43"/>
                  <a:pt x="8" y="43"/>
                  <a:pt x="8" y="43"/>
                </a:cubicBezTo>
                <a:cubicBezTo>
                  <a:pt x="9" y="43"/>
                  <a:pt x="9" y="43"/>
                  <a:pt x="9" y="43"/>
                </a:cubicBezTo>
                <a:cubicBezTo>
                  <a:pt x="10" y="43"/>
                  <a:pt x="10" y="43"/>
                  <a:pt x="10" y="43"/>
                </a:cubicBezTo>
                <a:cubicBezTo>
                  <a:pt x="10" y="42"/>
                  <a:pt x="10" y="42"/>
                  <a:pt x="10" y="42"/>
                </a:cubicBezTo>
                <a:cubicBezTo>
                  <a:pt x="9" y="42"/>
                  <a:pt x="9" y="42"/>
                  <a:pt x="9" y="42"/>
                </a:cubicBezTo>
                <a:cubicBezTo>
                  <a:pt x="8" y="42"/>
                  <a:pt x="8" y="42"/>
                  <a:pt x="8" y="42"/>
                </a:cubicBezTo>
                <a:cubicBezTo>
                  <a:pt x="7" y="42"/>
                  <a:pt x="7" y="42"/>
                  <a:pt x="7" y="42"/>
                </a:cubicBezTo>
                <a:cubicBezTo>
                  <a:pt x="7" y="41"/>
                  <a:pt x="7" y="41"/>
                  <a:pt x="7" y="41"/>
                </a:cubicBezTo>
                <a:cubicBezTo>
                  <a:pt x="6" y="41"/>
                  <a:pt x="6" y="41"/>
                  <a:pt x="6" y="41"/>
                </a:cubicBezTo>
                <a:cubicBezTo>
                  <a:pt x="5" y="40"/>
                  <a:pt x="5" y="40"/>
                  <a:pt x="5" y="40"/>
                </a:cubicBezTo>
                <a:cubicBezTo>
                  <a:pt x="4" y="39"/>
                  <a:pt x="4" y="39"/>
                  <a:pt x="4" y="39"/>
                </a:cubicBezTo>
                <a:cubicBezTo>
                  <a:pt x="5" y="39"/>
                  <a:pt x="5" y="39"/>
                  <a:pt x="5" y="39"/>
                </a:cubicBezTo>
                <a:cubicBezTo>
                  <a:pt x="5" y="38"/>
                  <a:pt x="5" y="38"/>
                  <a:pt x="5" y="38"/>
                </a:cubicBezTo>
                <a:cubicBezTo>
                  <a:pt x="4" y="38"/>
                  <a:pt x="4" y="38"/>
                  <a:pt x="4" y="38"/>
                </a:cubicBezTo>
                <a:cubicBezTo>
                  <a:pt x="3" y="37"/>
                  <a:pt x="3" y="37"/>
                  <a:pt x="3" y="37"/>
                </a:cubicBezTo>
                <a:cubicBezTo>
                  <a:pt x="3" y="36"/>
                  <a:pt x="3" y="36"/>
                  <a:pt x="3" y="36"/>
                </a:cubicBezTo>
                <a:cubicBezTo>
                  <a:pt x="3" y="35"/>
                  <a:pt x="3" y="35"/>
                  <a:pt x="3" y="35"/>
                </a:cubicBezTo>
                <a:cubicBezTo>
                  <a:pt x="3" y="35"/>
                  <a:pt x="3" y="35"/>
                  <a:pt x="3" y="35"/>
                </a:cubicBezTo>
                <a:cubicBezTo>
                  <a:pt x="5" y="36"/>
                  <a:pt x="5" y="36"/>
                  <a:pt x="5" y="36"/>
                </a:cubicBezTo>
                <a:cubicBezTo>
                  <a:pt x="5" y="37"/>
                  <a:pt x="5" y="37"/>
                  <a:pt x="5" y="37"/>
                </a:cubicBezTo>
                <a:cubicBezTo>
                  <a:pt x="5" y="37"/>
                  <a:pt x="5" y="37"/>
                  <a:pt x="5" y="37"/>
                </a:cubicBezTo>
                <a:cubicBezTo>
                  <a:pt x="6" y="37"/>
                  <a:pt x="6" y="37"/>
                  <a:pt x="6" y="37"/>
                </a:cubicBezTo>
                <a:cubicBezTo>
                  <a:pt x="7" y="37"/>
                  <a:pt x="7" y="37"/>
                  <a:pt x="7" y="37"/>
                </a:cubicBezTo>
                <a:cubicBezTo>
                  <a:pt x="7" y="36"/>
                  <a:pt x="7" y="36"/>
                  <a:pt x="7" y="36"/>
                </a:cubicBezTo>
                <a:cubicBezTo>
                  <a:pt x="6" y="35"/>
                  <a:pt x="6" y="35"/>
                  <a:pt x="6" y="35"/>
                </a:cubicBezTo>
                <a:cubicBezTo>
                  <a:pt x="6" y="36"/>
                  <a:pt x="6" y="36"/>
                  <a:pt x="6" y="36"/>
                </a:cubicBezTo>
                <a:cubicBezTo>
                  <a:pt x="5" y="35"/>
                  <a:pt x="5" y="35"/>
                  <a:pt x="5" y="35"/>
                </a:cubicBezTo>
                <a:cubicBezTo>
                  <a:pt x="5" y="35"/>
                  <a:pt x="5" y="35"/>
                  <a:pt x="5" y="35"/>
                </a:cubicBezTo>
                <a:cubicBezTo>
                  <a:pt x="4" y="34"/>
                  <a:pt x="4" y="34"/>
                  <a:pt x="4" y="34"/>
                </a:cubicBezTo>
                <a:cubicBezTo>
                  <a:pt x="4" y="33"/>
                  <a:pt x="4" y="33"/>
                  <a:pt x="4" y="33"/>
                </a:cubicBezTo>
                <a:cubicBezTo>
                  <a:pt x="4" y="33"/>
                  <a:pt x="4" y="33"/>
                  <a:pt x="4" y="33"/>
                </a:cubicBezTo>
                <a:cubicBezTo>
                  <a:pt x="5" y="31"/>
                  <a:pt x="5" y="31"/>
                  <a:pt x="5" y="31"/>
                </a:cubicBezTo>
                <a:cubicBezTo>
                  <a:pt x="5" y="30"/>
                  <a:pt x="5" y="30"/>
                  <a:pt x="5" y="30"/>
                </a:cubicBezTo>
                <a:cubicBezTo>
                  <a:pt x="5" y="30"/>
                  <a:pt x="5" y="30"/>
                  <a:pt x="5" y="30"/>
                </a:cubicBezTo>
                <a:cubicBezTo>
                  <a:pt x="4" y="30"/>
                  <a:pt x="4" y="30"/>
                  <a:pt x="4" y="30"/>
                </a:cubicBezTo>
                <a:cubicBezTo>
                  <a:pt x="3" y="30"/>
                  <a:pt x="3" y="30"/>
                  <a:pt x="3" y="30"/>
                </a:cubicBezTo>
                <a:cubicBezTo>
                  <a:pt x="3" y="30"/>
                  <a:pt x="3" y="30"/>
                  <a:pt x="3" y="30"/>
                </a:cubicBezTo>
                <a:cubicBezTo>
                  <a:pt x="3" y="31"/>
                  <a:pt x="3" y="31"/>
                  <a:pt x="3" y="31"/>
                </a:cubicBezTo>
                <a:cubicBezTo>
                  <a:pt x="3" y="32"/>
                  <a:pt x="3" y="32"/>
                  <a:pt x="3" y="32"/>
                </a:cubicBezTo>
                <a:cubicBezTo>
                  <a:pt x="2" y="33"/>
                  <a:pt x="2" y="33"/>
                  <a:pt x="2" y="33"/>
                </a:cubicBezTo>
                <a:cubicBezTo>
                  <a:pt x="1" y="33"/>
                  <a:pt x="1" y="33"/>
                  <a:pt x="1" y="33"/>
                </a:cubicBezTo>
                <a:cubicBezTo>
                  <a:pt x="1" y="32"/>
                  <a:pt x="1" y="32"/>
                  <a:pt x="1" y="32"/>
                </a:cubicBezTo>
                <a:cubicBezTo>
                  <a:pt x="0" y="30"/>
                  <a:pt x="0" y="30"/>
                  <a:pt x="0" y="30"/>
                </a:cubicBezTo>
                <a:cubicBezTo>
                  <a:pt x="0" y="29"/>
                  <a:pt x="0" y="29"/>
                  <a:pt x="0" y="29"/>
                </a:cubicBezTo>
                <a:cubicBezTo>
                  <a:pt x="0" y="27"/>
                  <a:pt x="0" y="27"/>
                  <a:pt x="0" y="27"/>
                </a:cubicBezTo>
                <a:cubicBezTo>
                  <a:pt x="0" y="26"/>
                  <a:pt x="0" y="26"/>
                  <a:pt x="0" y="26"/>
                </a:cubicBezTo>
                <a:cubicBezTo>
                  <a:pt x="0" y="26"/>
                  <a:pt x="0" y="26"/>
                  <a:pt x="0" y="26"/>
                </a:cubicBezTo>
                <a:cubicBezTo>
                  <a:pt x="1" y="25"/>
                  <a:pt x="1" y="25"/>
                  <a:pt x="1" y="25"/>
                </a:cubicBezTo>
                <a:cubicBezTo>
                  <a:pt x="2" y="25"/>
                  <a:pt x="2" y="25"/>
                  <a:pt x="2" y="25"/>
                </a:cubicBezTo>
                <a:cubicBezTo>
                  <a:pt x="2" y="24"/>
                  <a:pt x="2" y="24"/>
                  <a:pt x="2" y="24"/>
                </a:cubicBezTo>
                <a:cubicBezTo>
                  <a:pt x="1" y="23"/>
                  <a:pt x="1" y="23"/>
                  <a:pt x="1" y="23"/>
                </a:cubicBezTo>
                <a:cubicBezTo>
                  <a:pt x="1" y="22"/>
                  <a:pt x="1" y="22"/>
                  <a:pt x="1" y="22"/>
                </a:cubicBezTo>
                <a:cubicBezTo>
                  <a:pt x="2" y="21"/>
                  <a:pt x="2" y="21"/>
                  <a:pt x="2" y="21"/>
                </a:cubicBezTo>
                <a:cubicBezTo>
                  <a:pt x="3" y="21"/>
                  <a:pt x="3" y="21"/>
                  <a:pt x="3" y="21"/>
                </a:cubicBezTo>
                <a:cubicBezTo>
                  <a:pt x="4" y="23"/>
                  <a:pt x="4" y="23"/>
                  <a:pt x="4" y="23"/>
                </a:cubicBezTo>
                <a:cubicBezTo>
                  <a:pt x="4" y="24"/>
                  <a:pt x="4" y="24"/>
                  <a:pt x="4" y="24"/>
                </a:cubicBezTo>
                <a:cubicBezTo>
                  <a:pt x="5" y="24"/>
                  <a:pt x="5" y="24"/>
                  <a:pt x="5" y="24"/>
                </a:cubicBezTo>
                <a:cubicBezTo>
                  <a:pt x="6" y="23"/>
                  <a:pt x="6" y="23"/>
                  <a:pt x="6" y="23"/>
                </a:cubicBezTo>
                <a:cubicBezTo>
                  <a:pt x="4" y="22"/>
                  <a:pt x="4" y="22"/>
                  <a:pt x="4" y="22"/>
                </a:cubicBezTo>
                <a:cubicBezTo>
                  <a:pt x="4" y="21"/>
                  <a:pt x="4" y="21"/>
                  <a:pt x="4" y="21"/>
                </a:cubicBezTo>
                <a:cubicBezTo>
                  <a:pt x="5" y="20"/>
                  <a:pt x="5" y="20"/>
                  <a:pt x="5" y="20"/>
                </a:cubicBezTo>
                <a:cubicBezTo>
                  <a:pt x="6" y="21"/>
                  <a:pt x="6" y="21"/>
                  <a:pt x="6" y="21"/>
                </a:cubicBezTo>
                <a:cubicBezTo>
                  <a:pt x="6" y="21"/>
                  <a:pt x="6" y="21"/>
                  <a:pt x="6" y="21"/>
                </a:cubicBezTo>
                <a:cubicBezTo>
                  <a:pt x="6" y="22"/>
                  <a:pt x="6" y="22"/>
                  <a:pt x="6" y="22"/>
                </a:cubicBezTo>
                <a:cubicBezTo>
                  <a:pt x="7" y="21"/>
                  <a:pt x="7" y="21"/>
                  <a:pt x="7" y="21"/>
                </a:cubicBezTo>
                <a:cubicBezTo>
                  <a:pt x="10" y="19"/>
                  <a:pt x="10" y="19"/>
                  <a:pt x="10" y="19"/>
                </a:cubicBezTo>
                <a:cubicBezTo>
                  <a:pt x="11" y="19"/>
                  <a:pt x="11" y="19"/>
                  <a:pt x="11" y="19"/>
                </a:cubicBezTo>
                <a:cubicBezTo>
                  <a:pt x="12" y="20"/>
                  <a:pt x="12" y="20"/>
                  <a:pt x="12" y="20"/>
                </a:cubicBezTo>
                <a:cubicBezTo>
                  <a:pt x="12" y="21"/>
                  <a:pt x="12" y="21"/>
                  <a:pt x="12" y="21"/>
                </a:cubicBezTo>
                <a:cubicBezTo>
                  <a:pt x="12" y="22"/>
                  <a:pt x="12" y="22"/>
                  <a:pt x="12" y="22"/>
                </a:cubicBezTo>
                <a:cubicBezTo>
                  <a:pt x="11" y="23"/>
                  <a:pt x="11" y="23"/>
                  <a:pt x="11" y="23"/>
                </a:cubicBezTo>
                <a:cubicBezTo>
                  <a:pt x="11" y="23"/>
                  <a:pt x="11" y="23"/>
                  <a:pt x="11" y="23"/>
                </a:cubicBezTo>
                <a:cubicBezTo>
                  <a:pt x="10" y="22"/>
                  <a:pt x="10" y="22"/>
                  <a:pt x="10" y="22"/>
                </a:cubicBezTo>
                <a:cubicBezTo>
                  <a:pt x="10" y="23"/>
                  <a:pt x="10" y="23"/>
                  <a:pt x="10" y="23"/>
                </a:cubicBezTo>
                <a:cubicBezTo>
                  <a:pt x="8" y="24"/>
                  <a:pt x="8" y="24"/>
                  <a:pt x="8" y="24"/>
                </a:cubicBezTo>
                <a:cubicBezTo>
                  <a:pt x="8" y="24"/>
                  <a:pt x="8" y="24"/>
                  <a:pt x="8" y="24"/>
                </a:cubicBezTo>
                <a:cubicBezTo>
                  <a:pt x="8" y="24"/>
                  <a:pt x="8" y="24"/>
                  <a:pt x="8" y="24"/>
                </a:cubicBezTo>
                <a:cubicBezTo>
                  <a:pt x="7" y="25"/>
                  <a:pt x="7" y="25"/>
                  <a:pt x="7" y="25"/>
                </a:cubicBezTo>
                <a:cubicBezTo>
                  <a:pt x="8" y="26"/>
                  <a:pt x="8" y="26"/>
                  <a:pt x="8" y="26"/>
                </a:cubicBezTo>
                <a:cubicBezTo>
                  <a:pt x="9" y="25"/>
                  <a:pt x="9" y="25"/>
                  <a:pt x="9" y="25"/>
                </a:cubicBezTo>
                <a:cubicBezTo>
                  <a:pt x="11" y="24"/>
                  <a:pt x="11" y="24"/>
                  <a:pt x="11" y="24"/>
                </a:cubicBezTo>
                <a:cubicBezTo>
                  <a:pt x="11" y="25"/>
                  <a:pt x="11" y="25"/>
                  <a:pt x="11" y="25"/>
                </a:cubicBezTo>
                <a:cubicBezTo>
                  <a:pt x="11" y="25"/>
                  <a:pt x="11" y="25"/>
                  <a:pt x="11" y="25"/>
                </a:cubicBezTo>
                <a:cubicBezTo>
                  <a:pt x="10" y="26"/>
                  <a:pt x="10" y="26"/>
                  <a:pt x="10" y="26"/>
                </a:cubicBezTo>
                <a:cubicBezTo>
                  <a:pt x="10" y="27"/>
                  <a:pt x="10" y="27"/>
                  <a:pt x="10" y="27"/>
                </a:cubicBezTo>
                <a:cubicBezTo>
                  <a:pt x="11" y="27"/>
                  <a:pt x="11" y="27"/>
                  <a:pt x="11" y="27"/>
                </a:cubicBezTo>
                <a:cubicBezTo>
                  <a:pt x="11" y="26"/>
                  <a:pt x="11" y="26"/>
                  <a:pt x="11" y="26"/>
                </a:cubicBezTo>
                <a:cubicBezTo>
                  <a:pt x="11" y="26"/>
                  <a:pt x="11" y="26"/>
                  <a:pt x="11" y="26"/>
                </a:cubicBezTo>
                <a:cubicBezTo>
                  <a:pt x="12" y="27"/>
                  <a:pt x="12" y="27"/>
                  <a:pt x="12" y="27"/>
                </a:cubicBezTo>
                <a:cubicBezTo>
                  <a:pt x="12" y="28"/>
                  <a:pt x="12" y="28"/>
                  <a:pt x="12" y="28"/>
                </a:cubicBezTo>
                <a:cubicBezTo>
                  <a:pt x="12" y="28"/>
                  <a:pt x="12" y="28"/>
                  <a:pt x="12" y="28"/>
                </a:cubicBezTo>
                <a:cubicBezTo>
                  <a:pt x="13" y="30"/>
                  <a:pt x="13" y="30"/>
                  <a:pt x="13" y="30"/>
                </a:cubicBezTo>
                <a:cubicBezTo>
                  <a:pt x="13" y="31"/>
                  <a:pt x="13" y="31"/>
                  <a:pt x="13" y="31"/>
                </a:cubicBezTo>
                <a:cubicBezTo>
                  <a:pt x="14" y="31"/>
                  <a:pt x="14" y="31"/>
                  <a:pt x="14" y="31"/>
                </a:cubicBezTo>
                <a:cubicBezTo>
                  <a:pt x="13" y="29"/>
                  <a:pt x="13" y="29"/>
                  <a:pt x="13" y="29"/>
                </a:cubicBezTo>
                <a:cubicBezTo>
                  <a:pt x="13" y="28"/>
                  <a:pt x="13" y="28"/>
                  <a:pt x="13" y="28"/>
                </a:cubicBezTo>
                <a:cubicBezTo>
                  <a:pt x="12" y="26"/>
                  <a:pt x="12" y="26"/>
                  <a:pt x="12" y="26"/>
                </a:cubicBezTo>
                <a:cubicBezTo>
                  <a:pt x="13" y="25"/>
                  <a:pt x="13" y="25"/>
                  <a:pt x="13" y="25"/>
                </a:cubicBezTo>
                <a:cubicBezTo>
                  <a:pt x="14" y="23"/>
                  <a:pt x="14" y="23"/>
                  <a:pt x="14" y="23"/>
                </a:cubicBezTo>
                <a:cubicBezTo>
                  <a:pt x="14" y="22"/>
                  <a:pt x="14" y="22"/>
                  <a:pt x="14" y="22"/>
                </a:cubicBezTo>
                <a:cubicBezTo>
                  <a:pt x="15" y="21"/>
                  <a:pt x="15" y="21"/>
                  <a:pt x="15" y="21"/>
                </a:cubicBezTo>
                <a:cubicBezTo>
                  <a:pt x="15" y="21"/>
                  <a:pt x="15" y="21"/>
                  <a:pt x="15" y="21"/>
                </a:cubicBezTo>
                <a:cubicBezTo>
                  <a:pt x="17" y="23"/>
                  <a:pt x="17" y="23"/>
                  <a:pt x="17" y="23"/>
                </a:cubicBezTo>
                <a:cubicBezTo>
                  <a:pt x="18" y="24"/>
                  <a:pt x="18" y="24"/>
                  <a:pt x="18" y="24"/>
                </a:cubicBezTo>
                <a:cubicBezTo>
                  <a:pt x="18" y="24"/>
                  <a:pt x="18" y="24"/>
                  <a:pt x="18" y="24"/>
                </a:cubicBezTo>
                <a:cubicBezTo>
                  <a:pt x="18" y="27"/>
                  <a:pt x="18" y="27"/>
                  <a:pt x="18" y="27"/>
                </a:cubicBezTo>
                <a:cubicBezTo>
                  <a:pt x="19" y="29"/>
                  <a:pt x="19" y="29"/>
                  <a:pt x="19" y="29"/>
                </a:cubicBezTo>
                <a:cubicBezTo>
                  <a:pt x="19" y="30"/>
                  <a:pt x="19" y="30"/>
                  <a:pt x="19" y="30"/>
                </a:cubicBezTo>
                <a:cubicBezTo>
                  <a:pt x="19" y="31"/>
                  <a:pt x="19" y="31"/>
                  <a:pt x="19" y="31"/>
                </a:cubicBezTo>
                <a:cubicBezTo>
                  <a:pt x="18" y="32"/>
                  <a:pt x="18" y="32"/>
                  <a:pt x="18" y="32"/>
                </a:cubicBezTo>
                <a:cubicBezTo>
                  <a:pt x="18" y="32"/>
                  <a:pt x="18" y="32"/>
                  <a:pt x="18" y="32"/>
                </a:cubicBezTo>
                <a:cubicBezTo>
                  <a:pt x="18" y="33"/>
                  <a:pt x="18" y="33"/>
                  <a:pt x="18" y="33"/>
                </a:cubicBezTo>
                <a:cubicBezTo>
                  <a:pt x="19" y="32"/>
                  <a:pt x="19" y="32"/>
                  <a:pt x="19" y="32"/>
                </a:cubicBezTo>
                <a:cubicBezTo>
                  <a:pt x="20" y="32"/>
                  <a:pt x="20" y="32"/>
                  <a:pt x="20" y="32"/>
                </a:cubicBezTo>
                <a:cubicBezTo>
                  <a:pt x="21" y="33"/>
                  <a:pt x="21" y="33"/>
                  <a:pt x="21" y="33"/>
                </a:cubicBezTo>
                <a:cubicBezTo>
                  <a:pt x="22" y="35"/>
                  <a:pt x="22" y="35"/>
                  <a:pt x="22" y="35"/>
                </a:cubicBezTo>
                <a:cubicBezTo>
                  <a:pt x="22" y="36"/>
                  <a:pt x="22" y="36"/>
                  <a:pt x="22" y="36"/>
                </a:cubicBezTo>
                <a:cubicBezTo>
                  <a:pt x="23" y="36"/>
                  <a:pt x="23" y="36"/>
                  <a:pt x="23" y="36"/>
                </a:cubicBezTo>
                <a:cubicBezTo>
                  <a:pt x="23" y="35"/>
                  <a:pt x="23" y="35"/>
                  <a:pt x="23" y="35"/>
                </a:cubicBezTo>
                <a:cubicBezTo>
                  <a:pt x="22" y="33"/>
                  <a:pt x="22" y="33"/>
                  <a:pt x="22" y="33"/>
                </a:cubicBezTo>
                <a:cubicBezTo>
                  <a:pt x="22" y="32"/>
                  <a:pt x="22" y="32"/>
                  <a:pt x="22" y="32"/>
                </a:cubicBezTo>
                <a:cubicBezTo>
                  <a:pt x="21" y="30"/>
                  <a:pt x="21" y="30"/>
                  <a:pt x="21" y="30"/>
                </a:cubicBezTo>
                <a:cubicBezTo>
                  <a:pt x="20" y="29"/>
                  <a:pt x="20" y="29"/>
                  <a:pt x="20" y="29"/>
                </a:cubicBezTo>
                <a:cubicBezTo>
                  <a:pt x="20" y="27"/>
                  <a:pt x="20" y="27"/>
                  <a:pt x="20" y="27"/>
                </a:cubicBezTo>
                <a:cubicBezTo>
                  <a:pt x="20" y="24"/>
                  <a:pt x="20" y="24"/>
                  <a:pt x="20" y="24"/>
                </a:cubicBezTo>
                <a:cubicBezTo>
                  <a:pt x="20" y="23"/>
                  <a:pt x="20" y="23"/>
                  <a:pt x="20" y="23"/>
                </a:cubicBezTo>
                <a:cubicBezTo>
                  <a:pt x="19" y="22"/>
                  <a:pt x="19" y="22"/>
                  <a:pt x="19" y="22"/>
                </a:cubicBezTo>
                <a:cubicBezTo>
                  <a:pt x="20" y="21"/>
                  <a:pt x="20" y="21"/>
                  <a:pt x="20" y="21"/>
                </a:cubicBezTo>
                <a:cubicBezTo>
                  <a:pt x="20" y="20"/>
                  <a:pt x="20" y="20"/>
                  <a:pt x="20" y="20"/>
                </a:cubicBezTo>
                <a:cubicBezTo>
                  <a:pt x="20" y="19"/>
                  <a:pt x="20" y="19"/>
                  <a:pt x="20" y="19"/>
                </a:cubicBezTo>
                <a:cubicBezTo>
                  <a:pt x="20" y="17"/>
                  <a:pt x="20" y="17"/>
                  <a:pt x="20" y="17"/>
                </a:cubicBezTo>
                <a:cubicBezTo>
                  <a:pt x="21" y="16"/>
                  <a:pt x="21" y="16"/>
                  <a:pt x="21" y="16"/>
                </a:cubicBezTo>
                <a:cubicBezTo>
                  <a:pt x="21" y="15"/>
                  <a:pt x="21" y="15"/>
                  <a:pt x="21" y="15"/>
                </a:cubicBezTo>
                <a:cubicBezTo>
                  <a:pt x="22" y="16"/>
                  <a:pt x="22" y="16"/>
                  <a:pt x="22" y="16"/>
                </a:cubicBezTo>
                <a:cubicBezTo>
                  <a:pt x="23" y="17"/>
                  <a:pt x="23" y="17"/>
                  <a:pt x="23" y="17"/>
                </a:cubicBezTo>
                <a:cubicBezTo>
                  <a:pt x="23" y="19"/>
                  <a:pt x="23" y="19"/>
                  <a:pt x="23" y="19"/>
                </a:cubicBezTo>
                <a:cubicBezTo>
                  <a:pt x="24" y="19"/>
                  <a:pt x="24" y="19"/>
                  <a:pt x="24" y="19"/>
                </a:cubicBezTo>
                <a:cubicBezTo>
                  <a:pt x="24" y="18"/>
                  <a:pt x="24" y="18"/>
                  <a:pt x="24" y="18"/>
                </a:cubicBezTo>
                <a:cubicBezTo>
                  <a:pt x="25" y="18"/>
                  <a:pt x="25" y="18"/>
                  <a:pt x="25" y="18"/>
                </a:cubicBezTo>
                <a:cubicBezTo>
                  <a:pt x="26" y="18"/>
                  <a:pt x="26" y="18"/>
                  <a:pt x="26" y="18"/>
                </a:cubicBezTo>
                <a:cubicBezTo>
                  <a:pt x="28" y="20"/>
                  <a:pt x="28" y="20"/>
                  <a:pt x="28" y="20"/>
                </a:cubicBezTo>
                <a:cubicBezTo>
                  <a:pt x="28" y="21"/>
                  <a:pt x="28" y="21"/>
                  <a:pt x="28" y="21"/>
                </a:cubicBezTo>
                <a:cubicBezTo>
                  <a:pt x="28" y="23"/>
                  <a:pt x="28" y="23"/>
                  <a:pt x="28" y="23"/>
                </a:cubicBezTo>
                <a:cubicBezTo>
                  <a:pt x="28" y="23"/>
                  <a:pt x="28" y="23"/>
                  <a:pt x="28" y="23"/>
                </a:cubicBezTo>
                <a:cubicBezTo>
                  <a:pt x="28" y="26"/>
                  <a:pt x="28" y="26"/>
                  <a:pt x="28" y="26"/>
                </a:cubicBezTo>
                <a:cubicBezTo>
                  <a:pt x="28" y="28"/>
                  <a:pt x="28" y="28"/>
                  <a:pt x="28" y="28"/>
                </a:cubicBezTo>
                <a:cubicBezTo>
                  <a:pt x="27" y="28"/>
                  <a:pt x="27" y="28"/>
                  <a:pt x="27" y="28"/>
                </a:cubicBezTo>
                <a:cubicBezTo>
                  <a:pt x="28" y="29"/>
                  <a:pt x="28" y="29"/>
                  <a:pt x="28" y="29"/>
                </a:cubicBezTo>
                <a:cubicBezTo>
                  <a:pt x="29" y="28"/>
                  <a:pt x="29" y="28"/>
                  <a:pt x="29" y="28"/>
                </a:cubicBezTo>
                <a:cubicBezTo>
                  <a:pt x="29" y="26"/>
                  <a:pt x="29" y="26"/>
                  <a:pt x="29" y="26"/>
                </a:cubicBezTo>
                <a:cubicBezTo>
                  <a:pt x="28" y="24"/>
                  <a:pt x="28" y="24"/>
                  <a:pt x="28" y="24"/>
                </a:cubicBezTo>
                <a:cubicBezTo>
                  <a:pt x="29" y="23"/>
                  <a:pt x="29" y="23"/>
                  <a:pt x="29" y="23"/>
                </a:cubicBezTo>
                <a:cubicBezTo>
                  <a:pt x="30" y="22"/>
                  <a:pt x="30" y="22"/>
                  <a:pt x="30" y="22"/>
                </a:cubicBezTo>
                <a:cubicBezTo>
                  <a:pt x="31" y="24"/>
                  <a:pt x="31" y="24"/>
                  <a:pt x="31" y="24"/>
                </a:cubicBezTo>
                <a:cubicBezTo>
                  <a:pt x="32" y="26"/>
                  <a:pt x="32" y="26"/>
                  <a:pt x="32" y="26"/>
                </a:cubicBezTo>
                <a:cubicBezTo>
                  <a:pt x="33" y="29"/>
                  <a:pt x="33" y="29"/>
                  <a:pt x="33" y="29"/>
                </a:cubicBezTo>
                <a:cubicBezTo>
                  <a:pt x="33" y="30"/>
                  <a:pt x="33" y="30"/>
                  <a:pt x="33" y="30"/>
                </a:cubicBezTo>
                <a:cubicBezTo>
                  <a:pt x="34" y="30"/>
                  <a:pt x="34" y="30"/>
                  <a:pt x="34" y="30"/>
                </a:cubicBezTo>
                <a:cubicBezTo>
                  <a:pt x="35" y="31"/>
                  <a:pt x="35" y="31"/>
                  <a:pt x="35" y="31"/>
                </a:cubicBezTo>
                <a:cubicBezTo>
                  <a:pt x="36" y="31"/>
                  <a:pt x="36" y="31"/>
                  <a:pt x="36" y="31"/>
                </a:cubicBezTo>
                <a:cubicBezTo>
                  <a:pt x="37" y="33"/>
                  <a:pt x="37" y="33"/>
                  <a:pt x="37" y="33"/>
                </a:cubicBezTo>
                <a:cubicBezTo>
                  <a:pt x="38" y="33"/>
                  <a:pt x="38" y="33"/>
                  <a:pt x="38" y="33"/>
                </a:cubicBezTo>
                <a:cubicBezTo>
                  <a:pt x="39" y="35"/>
                  <a:pt x="39" y="35"/>
                  <a:pt x="39" y="35"/>
                </a:cubicBezTo>
                <a:cubicBezTo>
                  <a:pt x="41" y="36"/>
                  <a:pt x="41" y="36"/>
                  <a:pt x="41" y="36"/>
                </a:cubicBezTo>
                <a:cubicBezTo>
                  <a:pt x="43" y="36"/>
                  <a:pt x="43" y="36"/>
                  <a:pt x="43" y="36"/>
                </a:cubicBezTo>
                <a:cubicBezTo>
                  <a:pt x="44" y="37"/>
                  <a:pt x="44" y="37"/>
                  <a:pt x="44" y="37"/>
                </a:cubicBezTo>
                <a:cubicBezTo>
                  <a:pt x="44" y="38"/>
                  <a:pt x="44" y="38"/>
                  <a:pt x="44" y="38"/>
                </a:cubicBezTo>
                <a:cubicBezTo>
                  <a:pt x="44" y="39"/>
                  <a:pt x="44" y="39"/>
                  <a:pt x="44" y="39"/>
                </a:cubicBezTo>
                <a:cubicBezTo>
                  <a:pt x="44" y="40"/>
                  <a:pt x="44" y="40"/>
                  <a:pt x="44" y="40"/>
                </a:cubicBezTo>
                <a:cubicBezTo>
                  <a:pt x="43" y="40"/>
                  <a:pt x="43" y="40"/>
                  <a:pt x="43" y="40"/>
                </a:cubicBezTo>
                <a:cubicBezTo>
                  <a:pt x="43" y="39"/>
                  <a:pt x="43" y="39"/>
                  <a:pt x="43" y="39"/>
                </a:cubicBezTo>
                <a:cubicBezTo>
                  <a:pt x="41" y="39"/>
                  <a:pt x="41" y="39"/>
                  <a:pt x="41" y="39"/>
                </a:cubicBezTo>
                <a:cubicBezTo>
                  <a:pt x="41" y="39"/>
                  <a:pt x="41" y="39"/>
                  <a:pt x="41" y="39"/>
                </a:cubicBezTo>
                <a:cubicBezTo>
                  <a:pt x="39" y="40"/>
                  <a:pt x="39" y="40"/>
                  <a:pt x="39" y="40"/>
                </a:cubicBezTo>
                <a:cubicBezTo>
                  <a:pt x="38" y="40"/>
                  <a:pt x="38" y="40"/>
                  <a:pt x="38" y="40"/>
                </a:cubicBezTo>
                <a:cubicBezTo>
                  <a:pt x="37" y="41"/>
                  <a:pt x="37" y="41"/>
                  <a:pt x="37" y="41"/>
                </a:cubicBezTo>
                <a:cubicBezTo>
                  <a:pt x="38" y="42"/>
                  <a:pt x="38" y="42"/>
                  <a:pt x="38" y="42"/>
                </a:cubicBezTo>
                <a:cubicBezTo>
                  <a:pt x="38" y="42"/>
                  <a:pt x="38" y="42"/>
                  <a:pt x="38" y="42"/>
                </a:cubicBezTo>
                <a:cubicBezTo>
                  <a:pt x="36" y="43"/>
                  <a:pt x="36" y="43"/>
                  <a:pt x="36" y="43"/>
                </a:cubicBezTo>
                <a:cubicBezTo>
                  <a:pt x="36" y="44"/>
                  <a:pt x="36" y="44"/>
                  <a:pt x="36" y="44"/>
                </a:cubicBezTo>
                <a:cubicBezTo>
                  <a:pt x="36" y="46"/>
                  <a:pt x="36" y="46"/>
                  <a:pt x="36" y="46"/>
                </a:cubicBezTo>
                <a:cubicBezTo>
                  <a:pt x="37" y="48"/>
                  <a:pt x="37" y="48"/>
                  <a:pt x="37" y="48"/>
                </a:cubicBezTo>
                <a:cubicBezTo>
                  <a:pt x="36" y="49"/>
                  <a:pt x="36" y="49"/>
                  <a:pt x="36" y="49"/>
                </a:cubicBezTo>
                <a:cubicBezTo>
                  <a:pt x="36" y="50"/>
                  <a:pt x="36" y="50"/>
                  <a:pt x="36" y="50"/>
                </a:cubicBezTo>
                <a:cubicBezTo>
                  <a:pt x="37" y="51"/>
                  <a:pt x="37" y="51"/>
                  <a:pt x="37" y="51"/>
                </a:cubicBezTo>
                <a:cubicBezTo>
                  <a:pt x="36" y="52"/>
                  <a:pt x="36" y="52"/>
                  <a:pt x="36" y="52"/>
                </a:cubicBezTo>
                <a:cubicBezTo>
                  <a:pt x="35" y="51"/>
                  <a:pt x="35" y="51"/>
                  <a:pt x="35" y="51"/>
                </a:cubicBezTo>
                <a:cubicBezTo>
                  <a:pt x="34" y="52"/>
                  <a:pt x="34" y="52"/>
                  <a:pt x="34" y="52"/>
                </a:cubicBezTo>
                <a:cubicBezTo>
                  <a:pt x="34" y="53"/>
                  <a:pt x="34" y="53"/>
                  <a:pt x="34" y="53"/>
                </a:cubicBezTo>
                <a:cubicBezTo>
                  <a:pt x="35" y="54"/>
                  <a:pt x="35" y="54"/>
                  <a:pt x="35" y="54"/>
                </a:cubicBezTo>
                <a:cubicBezTo>
                  <a:pt x="35" y="56"/>
                  <a:pt x="35" y="56"/>
                  <a:pt x="35" y="56"/>
                </a:cubicBezTo>
                <a:cubicBezTo>
                  <a:pt x="35" y="57"/>
                  <a:pt x="35" y="57"/>
                  <a:pt x="35" y="57"/>
                </a:cubicBezTo>
                <a:cubicBezTo>
                  <a:pt x="35" y="59"/>
                  <a:pt x="35" y="59"/>
                  <a:pt x="35" y="59"/>
                </a:cubicBezTo>
                <a:cubicBezTo>
                  <a:pt x="35" y="60"/>
                  <a:pt x="35" y="60"/>
                  <a:pt x="35" y="60"/>
                </a:cubicBezTo>
                <a:cubicBezTo>
                  <a:pt x="34" y="60"/>
                  <a:pt x="34" y="60"/>
                  <a:pt x="34" y="60"/>
                </a:cubicBezTo>
                <a:cubicBezTo>
                  <a:pt x="33" y="60"/>
                  <a:pt x="33" y="60"/>
                  <a:pt x="33" y="60"/>
                </a:cubicBezTo>
                <a:cubicBezTo>
                  <a:pt x="32" y="61"/>
                  <a:pt x="32" y="61"/>
                  <a:pt x="32" y="61"/>
                </a:cubicBezTo>
                <a:cubicBezTo>
                  <a:pt x="33" y="61"/>
                  <a:pt x="33" y="61"/>
                  <a:pt x="33" y="61"/>
                </a:cubicBezTo>
                <a:cubicBezTo>
                  <a:pt x="33" y="62"/>
                  <a:pt x="33" y="62"/>
                  <a:pt x="33" y="62"/>
                </a:cubicBezTo>
                <a:cubicBezTo>
                  <a:pt x="32" y="63"/>
                  <a:pt x="32" y="63"/>
                  <a:pt x="32" y="63"/>
                </a:cubicBezTo>
                <a:cubicBezTo>
                  <a:pt x="32" y="64"/>
                  <a:pt x="32" y="64"/>
                  <a:pt x="32" y="64"/>
                </a:cubicBezTo>
                <a:cubicBezTo>
                  <a:pt x="32" y="65"/>
                  <a:pt x="32" y="65"/>
                  <a:pt x="32" y="65"/>
                </a:cubicBezTo>
                <a:cubicBezTo>
                  <a:pt x="32" y="68"/>
                  <a:pt x="32" y="68"/>
                  <a:pt x="32" y="68"/>
                </a:cubicBezTo>
                <a:cubicBezTo>
                  <a:pt x="31" y="70"/>
                  <a:pt x="31" y="70"/>
                  <a:pt x="31" y="70"/>
                </a:cubicBezTo>
                <a:cubicBezTo>
                  <a:pt x="31" y="70"/>
                  <a:pt x="31" y="70"/>
                  <a:pt x="31" y="70"/>
                </a:cubicBezTo>
                <a:cubicBezTo>
                  <a:pt x="31" y="72"/>
                  <a:pt x="31" y="72"/>
                  <a:pt x="31" y="72"/>
                </a:cubicBezTo>
                <a:cubicBezTo>
                  <a:pt x="32" y="73"/>
                  <a:pt x="32" y="73"/>
                  <a:pt x="32" y="73"/>
                </a:cubicBezTo>
                <a:cubicBezTo>
                  <a:pt x="31" y="74"/>
                  <a:pt x="31" y="74"/>
                  <a:pt x="31" y="74"/>
                </a:cubicBezTo>
                <a:cubicBezTo>
                  <a:pt x="31" y="74"/>
                  <a:pt x="31" y="74"/>
                  <a:pt x="31" y="74"/>
                </a:cubicBezTo>
                <a:cubicBezTo>
                  <a:pt x="31" y="76"/>
                  <a:pt x="31" y="76"/>
                  <a:pt x="31" y="76"/>
                </a:cubicBezTo>
                <a:cubicBezTo>
                  <a:pt x="30" y="77"/>
                  <a:pt x="30" y="77"/>
                  <a:pt x="30" y="77"/>
                </a:cubicBezTo>
                <a:cubicBezTo>
                  <a:pt x="29" y="77"/>
                  <a:pt x="29" y="77"/>
                  <a:pt x="29" y="77"/>
                </a:cubicBezTo>
                <a:close/>
                <a:moveTo>
                  <a:pt x="43" y="109"/>
                </a:moveTo>
                <a:cubicBezTo>
                  <a:pt x="44" y="108"/>
                  <a:pt x="44" y="108"/>
                  <a:pt x="44" y="108"/>
                </a:cubicBezTo>
                <a:cubicBezTo>
                  <a:pt x="44" y="107"/>
                  <a:pt x="44" y="107"/>
                  <a:pt x="44" y="107"/>
                </a:cubicBezTo>
                <a:cubicBezTo>
                  <a:pt x="43" y="106"/>
                  <a:pt x="43" y="106"/>
                  <a:pt x="43" y="106"/>
                </a:cubicBezTo>
                <a:cubicBezTo>
                  <a:pt x="42" y="106"/>
                  <a:pt x="42" y="106"/>
                  <a:pt x="42" y="106"/>
                </a:cubicBezTo>
                <a:cubicBezTo>
                  <a:pt x="42" y="106"/>
                  <a:pt x="42" y="106"/>
                  <a:pt x="42" y="106"/>
                </a:cubicBezTo>
                <a:cubicBezTo>
                  <a:pt x="42" y="107"/>
                  <a:pt x="42" y="107"/>
                  <a:pt x="42" y="107"/>
                </a:cubicBezTo>
                <a:cubicBezTo>
                  <a:pt x="43" y="108"/>
                  <a:pt x="43" y="108"/>
                  <a:pt x="43" y="108"/>
                </a:cubicBezTo>
                <a:cubicBezTo>
                  <a:pt x="43" y="109"/>
                  <a:pt x="43" y="109"/>
                  <a:pt x="43" y="109"/>
                </a:cubicBez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5" name="Freeform 13">
            <a:extLst>
              <a:ext uri="{FF2B5EF4-FFF2-40B4-BE49-F238E27FC236}">
                <a16:creationId xmlns:a16="http://schemas.microsoft.com/office/drawing/2014/main" id="{0D2C7C60-2ABD-92F1-C615-52E82675E27C}"/>
              </a:ext>
            </a:extLst>
          </p:cNvPr>
          <p:cNvSpPr>
            <a:spLocks noEditPoints="1"/>
          </p:cNvSpPr>
          <p:nvPr userDrawn="1"/>
        </p:nvSpPr>
        <p:spPr bwMode="auto">
          <a:xfrm>
            <a:off x="20810767" y="5860331"/>
            <a:ext cx="981014" cy="1898650"/>
          </a:xfrm>
          <a:custGeom>
            <a:avLst/>
            <a:gdLst>
              <a:gd name="T0" fmla="*/ 128 w 309"/>
              <a:gd name="T1" fmla="*/ 288 h 598"/>
              <a:gd name="T2" fmla="*/ 12 w 309"/>
              <a:gd name="T3" fmla="*/ 591 h 598"/>
              <a:gd name="T4" fmla="*/ 68 w 309"/>
              <a:gd name="T5" fmla="*/ 544 h 598"/>
              <a:gd name="T6" fmla="*/ 68 w 309"/>
              <a:gd name="T7" fmla="*/ 544 h 598"/>
              <a:gd name="T8" fmla="*/ 90 w 309"/>
              <a:gd name="T9" fmla="*/ 497 h 598"/>
              <a:gd name="T10" fmla="*/ 93 w 309"/>
              <a:gd name="T11" fmla="*/ 497 h 598"/>
              <a:gd name="T12" fmla="*/ 215 w 309"/>
              <a:gd name="T13" fmla="*/ 125 h 598"/>
              <a:gd name="T14" fmla="*/ 206 w 309"/>
              <a:gd name="T15" fmla="*/ 84 h 598"/>
              <a:gd name="T16" fmla="*/ 222 w 309"/>
              <a:gd name="T17" fmla="*/ 72 h 598"/>
              <a:gd name="T18" fmla="*/ 222 w 309"/>
              <a:gd name="T19" fmla="*/ 44 h 598"/>
              <a:gd name="T20" fmla="*/ 219 w 309"/>
              <a:gd name="T21" fmla="*/ 0 h 598"/>
              <a:gd name="T22" fmla="*/ 272 w 309"/>
              <a:gd name="T23" fmla="*/ 41 h 598"/>
              <a:gd name="T24" fmla="*/ 294 w 309"/>
              <a:gd name="T25" fmla="*/ 47 h 598"/>
              <a:gd name="T26" fmla="*/ 306 w 309"/>
              <a:gd name="T27" fmla="*/ 63 h 598"/>
              <a:gd name="T28" fmla="*/ 275 w 309"/>
              <a:gd name="T29" fmla="*/ 88 h 598"/>
              <a:gd name="T30" fmla="*/ 240 w 309"/>
              <a:gd name="T31" fmla="*/ 88 h 598"/>
              <a:gd name="T32" fmla="*/ 225 w 309"/>
              <a:gd name="T33" fmla="*/ 100 h 598"/>
              <a:gd name="T34" fmla="*/ 219 w 309"/>
              <a:gd name="T35" fmla="*/ 128 h 598"/>
              <a:gd name="T36" fmla="*/ 215 w 309"/>
              <a:gd name="T37" fmla="*/ 225 h 598"/>
              <a:gd name="T38" fmla="*/ 68 w 309"/>
              <a:gd name="T39" fmla="*/ 369 h 598"/>
              <a:gd name="T40" fmla="*/ 62 w 309"/>
              <a:gd name="T41" fmla="*/ 379 h 598"/>
              <a:gd name="T42" fmla="*/ 59 w 309"/>
              <a:gd name="T43" fmla="*/ 385 h 598"/>
              <a:gd name="T44" fmla="*/ 87 w 309"/>
              <a:gd name="T45" fmla="*/ 394 h 598"/>
              <a:gd name="T46" fmla="*/ 84 w 309"/>
              <a:gd name="T47" fmla="*/ 385 h 598"/>
              <a:gd name="T48" fmla="*/ 156 w 309"/>
              <a:gd name="T49" fmla="*/ 332 h 598"/>
              <a:gd name="T50" fmla="*/ 144 w 309"/>
              <a:gd name="T51" fmla="*/ 372 h 598"/>
              <a:gd name="T52" fmla="*/ 172 w 309"/>
              <a:gd name="T53" fmla="*/ 344 h 598"/>
              <a:gd name="T54" fmla="*/ 137 w 309"/>
              <a:gd name="T55" fmla="*/ 347 h 598"/>
              <a:gd name="T56" fmla="*/ 137 w 309"/>
              <a:gd name="T57" fmla="*/ 372 h 598"/>
              <a:gd name="T58" fmla="*/ 115 w 309"/>
              <a:gd name="T59" fmla="*/ 435 h 598"/>
              <a:gd name="T60" fmla="*/ 112 w 309"/>
              <a:gd name="T61" fmla="*/ 413 h 598"/>
              <a:gd name="T62" fmla="*/ 122 w 309"/>
              <a:gd name="T63" fmla="*/ 372 h 598"/>
              <a:gd name="T64" fmla="*/ 106 w 309"/>
              <a:gd name="T65" fmla="*/ 357 h 598"/>
              <a:gd name="T66" fmla="*/ 122 w 309"/>
              <a:gd name="T67" fmla="*/ 335 h 598"/>
              <a:gd name="T68" fmla="*/ 156 w 309"/>
              <a:gd name="T69" fmla="*/ 325 h 598"/>
              <a:gd name="T70" fmla="*/ 175 w 309"/>
              <a:gd name="T71" fmla="*/ 344 h 598"/>
              <a:gd name="T72" fmla="*/ 203 w 309"/>
              <a:gd name="T73" fmla="*/ 332 h 598"/>
              <a:gd name="T74" fmla="*/ 206 w 309"/>
              <a:gd name="T75" fmla="*/ 319 h 598"/>
              <a:gd name="T76" fmla="*/ 219 w 309"/>
              <a:gd name="T77" fmla="*/ 319 h 598"/>
              <a:gd name="T78" fmla="*/ 247 w 309"/>
              <a:gd name="T79" fmla="*/ 316 h 598"/>
              <a:gd name="T80" fmla="*/ 259 w 309"/>
              <a:gd name="T81" fmla="*/ 300 h 598"/>
              <a:gd name="T82" fmla="*/ 272 w 309"/>
              <a:gd name="T83" fmla="*/ 278 h 598"/>
              <a:gd name="T84" fmla="*/ 275 w 309"/>
              <a:gd name="T85" fmla="*/ 213 h 598"/>
              <a:gd name="T86" fmla="*/ 272 w 309"/>
              <a:gd name="T87" fmla="*/ 181 h 598"/>
              <a:gd name="T88" fmla="*/ 244 w 309"/>
              <a:gd name="T89" fmla="*/ 125 h 598"/>
              <a:gd name="T90" fmla="*/ 244 w 309"/>
              <a:gd name="T91" fmla="*/ 135 h 598"/>
              <a:gd name="T92" fmla="*/ 225 w 309"/>
              <a:gd name="T93" fmla="*/ 131 h 598"/>
              <a:gd name="T94" fmla="*/ 219 w 309"/>
              <a:gd name="T95" fmla="*/ 169 h 598"/>
              <a:gd name="T96" fmla="*/ 222 w 309"/>
              <a:gd name="T97" fmla="*/ 235 h 598"/>
              <a:gd name="T98" fmla="*/ 194 w 309"/>
              <a:gd name="T99" fmla="*/ 247 h 598"/>
              <a:gd name="T100" fmla="*/ 181 w 309"/>
              <a:gd name="T101" fmla="*/ 278 h 598"/>
              <a:gd name="T102" fmla="*/ 172 w 309"/>
              <a:gd name="T103" fmla="*/ 300 h 598"/>
              <a:gd name="T104" fmla="*/ 134 w 309"/>
              <a:gd name="T105" fmla="*/ 303 h 598"/>
              <a:gd name="T106" fmla="*/ 93 w 309"/>
              <a:gd name="T107" fmla="*/ 338 h 598"/>
              <a:gd name="T108" fmla="*/ 75 w 309"/>
              <a:gd name="T109" fmla="*/ 366 h 598"/>
              <a:gd name="T110" fmla="*/ 78 w 309"/>
              <a:gd name="T111" fmla="*/ 382 h 598"/>
              <a:gd name="T112" fmla="*/ 84 w 309"/>
              <a:gd name="T113" fmla="*/ 372 h 598"/>
              <a:gd name="T114" fmla="*/ 93 w 309"/>
              <a:gd name="T115" fmla="*/ 410 h 598"/>
              <a:gd name="T116" fmla="*/ 106 w 309"/>
              <a:gd name="T117" fmla="*/ 407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9" h="598">
                <a:moveTo>
                  <a:pt x="125" y="288"/>
                </a:moveTo>
                <a:lnTo>
                  <a:pt x="125" y="288"/>
                </a:lnTo>
                <a:lnTo>
                  <a:pt x="125" y="291"/>
                </a:lnTo>
                <a:lnTo>
                  <a:pt x="125" y="288"/>
                </a:lnTo>
                <a:lnTo>
                  <a:pt x="125" y="288"/>
                </a:lnTo>
                <a:lnTo>
                  <a:pt x="125" y="288"/>
                </a:lnTo>
                <a:close/>
                <a:moveTo>
                  <a:pt x="128" y="288"/>
                </a:moveTo>
                <a:lnTo>
                  <a:pt x="128" y="285"/>
                </a:lnTo>
                <a:lnTo>
                  <a:pt x="128" y="282"/>
                </a:lnTo>
                <a:lnTo>
                  <a:pt x="131" y="282"/>
                </a:lnTo>
                <a:lnTo>
                  <a:pt x="131" y="285"/>
                </a:lnTo>
                <a:lnTo>
                  <a:pt x="128" y="288"/>
                </a:lnTo>
                <a:lnTo>
                  <a:pt x="128" y="288"/>
                </a:lnTo>
                <a:lnTo>
                  <a:pt x="128" y="288"/>
                </a:lnTo>
                <a:close/>
                <a:moveTo>
                  <a:pt x="6" y="598"/>
                </a:moveTo>
                <a:lnTo>
                  <a:pt x="3" y="594"/>
                </a:lnTo>
                <a:lnTo>
                  <a:pt x="0" y="594"/>
                </a:lnTo>
                <a:lnTo>
                  <a:pt x="0" y="598"/>
                </a:lnTo>
                <a:lnTo>
                  <a:pt x="3" y="598"/>
                </a:lnTo>
                <a:lnTo>
                  <a:pt x="6" y="598"/>
                </a:lnTo>
                <a:lnTo>
                  <a:pt x="6" y="598"/>
                </a:lnTo>
                <a:close/>
                <a:moveTo>
                  <a:pt x="6" y="591"/>
                </a:moveTo>
                <a:lnTo>
                  <a:pt x="9" y="591"/>
                </a:lnTo>
                <a:lnTo>
                  <a:pt x="12" y="591"/>
                </a:lnTo>
                <a:lnTo>
                  <a:pt x="9" y="594"/>
                </a:lnTo>
                <a:lnTo>
                  <a:pt x="9" y="594"/>
                </a:lnTo>
                <a:lnTo>
                  <a:pt x="6" y="591"/>
                </a:lnTo>
                <a:lnTo>
                  <a:pt x="6" y="591"/>
                </a:lnTo>
                <a:close/>
                <a:moveTo>
                  <a:pt x="25" y="579"/>
                </a:moveTo>
                <a:lnTo>
                  <a:pt x="25" y="582"/>
                </a:lnTo>
                <a:lnTo>
                  <a:pt x="28" y="585"/>
                </a:lnTo>
                <a:lnTo>
                  <a:pt x="28" y="585"/>
                </a:lnTo>
                <a:lnTo>
                  <a:pt x="31" y="582"/>
                </a:lnTo>
                <a:lnTo>
                  <a:pt x="25" y="579"/>
                </a:lnTo>
                <a:lnTo>
                  <a:pt x="25" y="579"/>
                </a:lnTo>
                <a:close/>
                <a:moveTo>
                  <a:pt x="68" y="544"/>
                </a:moveTo>
                <a:lnTo>
                  <a:pt x="65" y="538"/>
                </a:lnTo>
                <a:lnTo>
                  <a:pt x="72" y="538"/>
                </a:lnTo>
                <a:lnTo>
                  <a:pt x="72" y="535"/>
                </a:lnTo>
                <a:lnTo>
                  <a:pt x="68" y="535"/>
                </a:lnTo>
                <a:lnTo>
                  <a:pt x="75" y="532"/>
                </a:lnTo>
                <a:lnTo>
                  <a:pt x="75" y="529"/>
                </a:lnTo>
                <a:lnTo>
                  <a:pt x="78" y="532"/>
                </a:lnTo>
                <a:lnTo>
                  <a:pt x="75" y="535"/>
                </a:lnTo>
                <a:lnTo>
                  <a:pt x="75" y="538"/>
                </a:lnTo>
                <a:lnTo>
                  <a:pt x="72" y="541"/>
                </a:lnTo>
                <a:lnTo>
                  <a:pt x="72" y="544"/>
                </a:lnTo>
                <a:lnTo>
                  <a:pt x="68" y="544"/>
                </a:lnTo>
                <a:lnTo>
                  <a:pt x="68" y="544"/>
                </a:lnTo>
                <a:close/>
                <a:moveTo>
                  <a:pt x="87" y="504"/>
                </a:moveTo>
                <a:lnTo>
                  <a:pt x="87" y="507"/>
                </a:lnTo>
                <a:lnTo>
                  <a:pt x="90" y="510"/>
                </a:lnTo>
                <a:lnTo>
                  <a:pt x="87" y="510"/>
                </a:lnTo>
                <a:lnTo>
                  <a:pt x="84" y="510"/>
                </a:lnTo>
                <a:lnTo>
                  <a:pt x="84" y="507"/>
                </a:lnTo>
                <a:lnTo>
                  <a:pt x="87" y="504"/>
                </a:lnTo>
                <a:lnTo>
                  <a:pt x="87" y="504"/>
                </a:lnTo>
                <a:close/>
                <a:moveTo>
                  <a:pt x="93" y="497"/>
                </a:moveTo>
                <a:lnTo>
                  <a:pt x="93" y="497"/>
                </a:lnTo>
                <a:lnTo>
                  <a:pt x="90" y="497"/>
                </a:lnTo>
                <a:lnTo>
                  <a:pt x="87" y="494"/>
                </a:lnTo>
                <a:lnTo>
                  <a:pt x="90" y="494"/>
                </a:lnTo>
                <a:lnTo>
                  <a:pt x="93" y="491"/>
                </a:lnTo>
                <a:lnTo>
                  <a:pt x="93" y="491"/>
                </a:lnTo>
                <a:lnTo>
                  <a:pt x="93" y="491"/>
                </a:lnTo>
                <a:lnTo>
                  <a:pt x="97" y="488"/>
                </a:lnTo>
                <a:lnTo>
                  <a:pt x="97" y="488"/>
                </a:lnTo>
                <a:lnTo>
                  <a:pt x="100" y="488"/>
                </a:lnTo>
                <a:lnTo>
                  <a:pt x="100" y="491"/>
                </a:lnTo>
                <a:lnTo>
                  <a:pt x="97" y="494"/>
                </a:lnTo>
                <a:lnTo>
                  <a:pt x="93" y="497"/>
                </a:lnTo>
                <a:lnTo>
                  <a:pt x="93" y="497"/>
                </a:lnTo>
                <a:lnTo>
                  <a:pt x="93" y="497"/>
                </a:lnTo>
                <a:close/>
                <a:moveTo>
                  <a:pt x="197" y="106"/>
                </a:moveTo>
                <a:lnTo>
                  <a:pt x="194" y="106"/>
                </a:lnTo>
                <a:lnTo>
                  <a:pt x="194" y="103"/>
                </a:lnTo>
                <a:lnTo>
                  <a:pt x="197" y="100"/>
                </a:lnTo>
                <a:lnTo>
                  <a:pt x="200" y="100"/>
                </a:lnTo>
                <a:lnTo>
                  <a:pt x="197" y="103"/>
                </a:lnTo>
                <a:lnTo>
                  <a:pt x="197" y="106"/>
                </a:lnTo>
                <a:lnTo>
                  <a:pt x="197" y="106"/>
                </a:lnTo>
                <a:lnTo>
                  <a:pt x="197" y="106"/>
                </a:lnTo>
                <a:close/>
                <a:moveTo>
                  <a:pt x="219" y="128"/>
                </a:moveTo>
                <a:lnTo>
                  <a:pt x="215" y="125"/>
                </a:lnTo>
                <a:lnTo>
                  <a:pt x="215" y="122"/>
                </a:lnTo>
                <a:lnTo>
                  <a:pt x="215" y="122"/>
                </a:lnTo>
                <a:lnTo>
                  <a:pt x="215" y="113"/>
                </a:lnTo>
                <a:lnTo>
                  <a:pt x="212" y="106"/>
                </a:lnTo>
                <a:lnTo>
                  <a:pt x="209" y="103"/>
                </a:lnTo>
                <a:lnTo>
                  <a:pt x="206" y="103"/>
                </a:lnTo>
                <a:lnTo>
                  <a:pt x="203" y="103"/>
                </a:lnTo>
                <a:lnTo>
                  <a:pt x="203" y="100"/>
                </a:lnTo>
                <a:lnTo>
                  <a:pt x="203" y="94"/>
                </a:lnTo>
                <a:lnTo>
                  <a:pt x="203" y="91"/>
                </a:lnTo>
                <a:lnTo>
                  <a:pt x="203" y="88"/>
                </a:lnTo>
                <a:lnTo>
                  <a:pt x="206" y="84"/>
                </a:lnTo>
                <a:lnTo>
                  <a:pt x="206" y="84"/>
                </a:lnTo>
                <a:lnTo>
                  <a:pt x="209" y="84"/>
                </a:lnTo>
                <a:lnTo>
                  <a:pt x="212" y="78"/>
                </a:lnTo>
                <a:lnTo>
                  <a:pt x="212" y="78"/>
                </a:lnTo>
                <a:lnTo>
                  <a:pt x="212" y="75"/>
                </a:lnTo>
                <a:lnTo>
                  <a:pt x="209" y="72"/>
                </a:lnTo>
                <a:lnTo>
                  <a:pt x="206" y="72"/>
                </a:lnTo>
                <a:lnTo>
                  <a:pt x="206" y="72"/>
                </a:lnTo>
                <a:lnTo>
                  <a:pt x="206" y="69"/>
                </a:lnTo>
                <a:lnTo>
                  <a:pt x="209" y="69"/>
                </a:lnTo>
                <a:lnTo>
                  <a:pt x="215" y="72"/>
                </a:lnTo>
                <a:lnTo>
                  <a:pt x="222" y="72"/>
                </a:lnTo>
                <a:lnTo>
                  <a:pt x="225" y="69"/>
                </a:lnTo>
                <a:lnTo>
                  <a:pt x="225" y="66"/>
                </a:lnTo>
                <a:lnTo>
                  <a:pt x="225" y="66"/>
                </a:lnTo>
                <a:lnTo>
                  <a:pt x="225" y="63"/>
                </a:lnTo>
                <a:lnTo>
                  <a:pt x="225" y="63"/>
                </a:lnTo>
                <a:lnTo>
                  <a:pt x="222" y="59"/>
                </a:lnTo>
                <a:lnTo>
                  <a:pt x="222" y="56"/>
                </a:lnTo>
                <a:lnTo>
                  <a:pt x="219" y="53"/>
                </a:lnTo>
                <a:lnTo>
                  <a:pt x="222" y="50"/>
                </a:lnTo>
                <a:lnTo>
                  <a:pt x="225" y="50"/>
                </a:lnTo>
                <a:lnTo>
                  <a:pt x="225" y="47"/>
                </a:lnTo>
                <a:lnTo>
                  <a:pt x="222" y="44"/>
                </a:lnTo>
                <a:lnTo>
                  <a:pt x="222" y="38"/>
                </a:lnTo>
                <a:lnTo>
                  <a:pt x="222" y="34"/>
                </a:lnTo>
                <a:lnTo>
                  <a:pt x="222" y="28"/>
                </a:lnTo>
                <a:lnTo>
                  <a:pt x="219" y="25"/>
                </a:lnTo>
                <a:lnTo>
                  <a:pt x="212" y="13"/>
                </a:lnTo>
                <a:lnTo>
                  <a:pt x="212" y="9"/>
                </a:lnTo>
                <a:lnTo>
                  <a:pt x="209" y="6"/>
                </a:lnTo>
                <a:lnTo>
                  <a:pt x="212" y="3"/>
                </a:lnTo>
                <a:lnTo>
                  <a:pt x="212" y="3"/>
                </a:lnTo>
                <a:lnTo>
                  <a:pt x="215" y="3"/>
                </a:lnTo>
                <a:lnTo>
                  <a:pt x="215" y="0"/>
                </a:lnTo>
                <a:lnTo>
                  <a:pt x="219" y="0"/>
                </a:lnTo>
                <a:lnTo>
                  <a:pt x="219" y="3"/>
                </a:lnTo>
                <a:lnTo>
                  <a:pt x="228" y="9"/>
                </a:lnTo>
                <a:lnTo>
                  <a:pt x="231" y="9"/>
                </a:lnTo>
                <a:lnTo>
                  <a:pt x="234" y="16"/>
                </a:lnTo>
                <a:lnTo>
                  <a:pt x="244" y="25"/>
                </a:lnTo>
                <a:lnTo>
                  <a:pt x="250" y="28"/>
                </a:lnTo>
                <a:lnTo>
                  <a:pt x="250" y="31"/>
                </a:lnTo>
                <a:lnTo>
                  <a:pt x="253" y="31"/>
                </a:lnTo>
                <a:lnTo>
                  <a:pt x="256" y="34"/>
                </a:lnTo>
                <a:lnTo>
                  <a:pt x="262" y="38"/>
                </a:lnTo>
                <a:lnTo>
                  <a:pt x="269" y="38"/>
                </a:lnTo>
                <a:lnTo>
                  <a:pt x="272" y="41"/>
                </a:lnTo>
                <a:lnTo>
                  <a:pt x="275" y="41"/>
                </a:lnTo>
                <a:lnTo>
                  <a:pt x="275" y="41"/>
                </a:lnTo>
                <a:lnTo>
                  <a:pt x="281" y="41"/>
                </a:lnTo>
                <a:lnTo>
                  <a:pt x="287" y="38"/>
                </a:lnTo>
                <a:lnTo>
                  <a:pt x="290" y="34"/>
                </a:lnTo>
                <a:lnTo>
                  <a:pt x="290" y="28"/>
                </a:lnTo>
                <a:lnTo>
                  <a:pt x="294" y="28"/>
                </a:lnTo>
                <a:lnTo>
                  <a:pt x="294" y="31"/>
                </a:lnTo>
                <a:lnTo>
                  <a:pt x="294" y="34"/>
                </a:lnTo>
                <a:lnTo>
                  <a:pt x="290" y="41"/>
                </a:lnTo>
                <a:lnTo>
                  <a:pt x="290" y="44"/>
                </a:lnTo>
                <a:lnTo>
                  <a:pt x="294" y="47"/>
                </a:lnTo>
                <a:lnTo>
                  <a:pt x="297" y="50"/>
                </a:lnTo>
                <a:lnTo>
                  <a:pt x="300" y="53"/>
                </a:lnTo>
                <a:lnTo>
                  <a:pt x="300" y="56"/>
                </a:lnTo>
                <a:lnTo>
                  <a:pt x="300" y="59"/>
                </a:lnTo>
                <a:lnTo>
                  <a:pt x="303" y="59"/>
                </a:lnTo>
                <a:lnTo>
                  <a:pt x="306" y="56"/>
                </a:lnTo>
                <a:lnTo>
                  <a:pt x="309" y="53"/>
                </a:lnTo>
                <a:lnTo>
                  <a:pt x="309" y="53"/>
                </a:lnTo>
                <a:lnTo>
                  <a:pt x="309" y="56"/>
                </a:lnTo>
                <a:lnTo>
                  <a:pt x="306" y="56"/>
                </a:lnTo>
                <a:lnTo>
                  <a:pt x="306" y="59"/>
                </a:lnTo>
                <a:lnTo>
                  <a:pt x="306" y="63"/>
                </a:lnTo>
                <a:lnTo>
                  <a:pt x="300" y="63"/>
                </a:lnTo>
                <a:lnTo>
                  <a:pt x="300" y="66"/>
                </a:lnTo>
                <a:lnTo>
                  <a:pt x="300" y="69"/>
                </a:lnTo>
                <a:lnTo>
                  <a:pt x="297" y="69"/>
                </a:lnTo>
                <a:lnTo>
                  <a:pt x="294" y="69"/>
                </a:lnTo>
                <a:lnTo>
                  <a:pt x="294" y="69"/>
                </a:lnTo>
                <a:lnTo>
                  <a:pt x="294" y="72"/>
                </a:lnTo>
                <a:lnTo>
                  <a:pt x="287" y="72"/>
                </a:lnTo>
                <a:lnTo>
                  <a:pt x="284" y="72"/>
                </a:lnTo>
                <a:lnTo>
                  <a:pt x="281" y="72"/>
                </a:lnTo>
                <a:lnTo>
                  <a:pt x="275" y="78"/>
                </a:lnTo>
                <a:lnTo>
                  <a:pt x="275" y="88"/>
                </a:lnTo>
                <a:lnTo>
                  <a:pt x="272" y="94"/>
                </a:lnTo>
                <a:lnTo>
                  <a:pt x="275" y="97"/>
                </a:lnTo>
                <a:lnTo>
                  <a:pt x="272" y="100"/>
                </a:lnTo>
                <a:lnTo>
                  <a:pt x="272" y="103"/>
                </a:lnTo>
                <a:lnTo>
                  <a:pt x="269" y="103"/>
                </a:lnTo>
                <a:lnTo>
                  <a:pt x="269" y="100"/>
                </a:lnTo>
                <a:lnTo>
                  <a:pt x="262" y="97"/>
                </a:lnTo>
                <a:lnTo>
                  <a:pt x="256" y="94"/>
                </a:lnTo>
                <a:lnTo>
                  <a:pt x="250" y="91"/>
                </a:lnTo>
                <a:lnTo>
                  <a:pt x="247" y="88"/>
                </a:lnTo>
                <a:lnTo>
                  <a:pt x="244" y="88"/>
                </a:lnTo>
                <a:lnTo>
                  <a:pt x="240" y="88"/>
                </a:lnTo>
                <a:lnTo>
                  <a:pt x="240" y="84"/>
                </a:lnTo>
                <a:lnTo>
                  <a:pt x="234" y="84"/>
                </a:lnTo>
                <a:lnTo>
                  <a:pt x="231" y="88"/>
                </a:lnTo>
                <a:lnTo>
                  <a:pt x="225" y="94"/>
                </a:lnTo>
                <a:lnTo>
                  <a:pt x="225" y="94"/>
                </a:lnTo>
                <a:lnTo>
                  <a:pt x="219" y="91"/>
                </a:lnTo>
                <a:lnTo>
                  <a:pt x="215" y="91"/>
                </a:lnTo>
                <a:lnTo>
                  <a:pt x="215" y="94"/>
                </a:lnTo>
                <a:lnTo>
                  <a:pt x="215" y="97"/>
                </a:lnTo>
                <a:lnTo>
                  <a:pt x="215" y="100"/>
                </a:lnTo>
                <a:lnTo>
                  <a:pt x="219" y="103"/>
                </a:lnTo>
                <a:lnTo>
                  <a:pt x="225" y="100"/>
                </a:lnTo>
                <a:lnTo>
                  <a:pt x="228" y="106"/>
                </a:lnTo>
                <a:lnTo>
                  <a:pt x="234" y="106"/>
                </a:lnTo>
                <a:lnTo>
                  <a:pt x="237" y="106"/>
                </a:lnTo>
                <a:lnTo>
                  <a:pt x="240" y="110"/>
                </a:lnTo>
                <a:lnTo>
                  <a:pt x="237" y="113"/>
                </a:lnTo>
                <a:lnTo>
                  <a:pt x="234" y="116"/>
                </a:lnTo>
                <a:lnTo>
                  <a:pt x="231" y="116"/>
                </a:lnTo>
                <a:lnTo>
                  <a:pt x="228" y="113"/>
                </a:lnTo>
                <a:lnTo>
                  <a:pt x="225" y="116"/>
                </a:lnTo>
                <a:lnTo>
                  <a:pt x="225" y="119"/>
                </a:lnTo>
                <a:lnTo>
                  <a:pt x="225" y="122"/>
                </a:lnTo>
                <a:lnTo>
                  <a:pt x="219" y="128"/>
                </a:lnTo>
                <a:lnTo>
                  <a:pt x="219" y="128"/>
                </a:lnTo>
                <a:close/>
                <a:moveTo>
                  <a:pt x="212" y="235"/>
                </a:moveTo>
                <a:lnTo>
                  <a:pt x="212" y="232"/>
                </a:lnTo>
                <a:lnTo>
                  <a:pt x="215" y="228"/>
                </a:lnTo>
                <a:lnTo>
                  <a:pt x="212" y="228"/>
                </a:lnTo>
                <a:lnTo>
                  <a:pt x="212" y="232"/>
                </a:lnTo>
                <a:lnTo>
                  <a:pt x="212" y="228"/>
                </a:lnTo>
                <a:lnTo>
                  <a:pt x="212" y="222"/>
                </a:lnTo>
                <a:lnTo>
                  <a:pt x="215" y="219"/>
                </a:lnTo>
                <a:lnTo>
                  <a:pt x="215" y="222"/>
                </a:lnTo>
                <a:lnTo>
                  <a:pt x="215" y="225"/>
                </a:lnTo>
                <a:lnTo>
                  <a:pt x="215" y="225"/>
                </a:lnTo>
                <a:lnTo>
                  <a:pt x="219" y="228"/>
                </a:lnTo>
                <a:lnTo>
                  <a:pt x="215" y="232"/>
                </a:lnTo>
                <a:lnTo>
                  <a:pt x="215" y="235"/>
                </a:lnTo>
                <a:lnTo>
                  <a:pt x="212" y="235"/>
                </a:lnTo>
                <a:lnTo>
                  <a:pt x="212" y="235"/>
                </a:lnTo>
                <a:close/>
                <a:moveTo>
                  <a:pt x="68" y="369"/>
                </a:moveTo>
                <a:lnTo>
                  <a:pt x="72" y="369"/>
                </a:lnTo>
                <a:lnTo>
                  <a:pt x="72" y="369"/>
                </a:lnTo>
                <a:lnTo>
                  <a:pt x="68" y="369"/>
                </a:lnTo>
                <a:lnTo>
                  <a:pt x="68" y="369"/>
                </a:lnTo>
                <a:lnTo>
                  <a:pt x="68" y="369"/>
                </a:lnTo>
                <a:lnTo>
                  <a:pt x="68" y="369"/>
                </a:lnTo>
                <a:close/>
                <a:moveTo>
                  <a:pt x="68" y="372"/>
                </a:moveTo>
                <a:lnTo>
                  <a:pt x="68" y="372"/>
                </a:lnTo>
                <a:lnTo>
                  <a:pt x="68" y="372"/>
                </a:lnTo>
                <a:lnTo>
                  <a:pt x="68" y="372"/>
                </a:lnTo>
                <a:lnTo>
                  <a:pt x="68" y="372"/>
                </a:lnTo>
                <a:close/>
                <a:moveTo>
                  <a:pt x="65" y="372"/>
                </a:moveTo>
                <a:lnTo>
                  <a:pt x="65" y="375"/>
                </a:lnTo>
                <a:lnTo>
                  <a:pt x="68" y="372"/>
                </a:lnTo>
                <a:lnTo>
                  <a:pt x="65" y="372"/>
                </a:lnTo>
                <a:lnTo>
                  <a:pt x="65" y="372"/>
                </a:lnTo>
                <a:close/>
                <a:moveTo>
                  <a:pt x="62" y="375"/>
                </a:moveTo>
                <a:lnTo>
                  <a:pt x="62" y="379"/>
                </a:lnTo>
                <a:lnTo>
                  <a:pt x="65" y="375"/>
                </a:lnTo>
                <a:lnTo>
                  <a:pt x="62" y="375"/>
                </a:lnTo>
                <a:lnTo>
                  <a:pt x="62" y="375"/>
                </a:lnTo>
                <a:close/>
                <a:moveTo>
                  <a:pt x="59" y="385"/>
                </a:moveTo>
                <a:lnTo>
                  <a:pt x="59" y="382"/>
                </a:lnTo>
                <a:lnTo>
                  <a:pt x="59" y="379"/>
                </a:lnTo>
                <a:lnTo>
                  <a:pt x="59" y="379"/>
                </a:lnTo>
                <a:lnTo>
                  <a:pt x="62" y="379"/>
                </a:lnTo>
                <a:lnTo>
                  <a:pt x="62" y="382"/>
                </a:lnTo>
                <a:lnTo>
                  <a:pt x="65" y="385"/>
                </a:lnTo>
                <a:lnTo>
                  <a:pt x="62" y="385"/>
                </a:lnTo>
                <a:lnTo>
                  <a:pt x="59" y="385"/>
                </a:lnTo>
                <a:lnTo>
                  <a:pt x="59" y="385"/>
                </a:lnTo>
                <a:close/>
                <a:moveTo>
                  <a:pt x="90" y="388"/>
                </a:moveTo>
                <a:lnTo>
                  <a:pt x="90" y="385"/>
                </a:lnTo>
                <a:lnTo>
                  <a:pt x="90" y="385"/>
                </a:lnTo>
                <a:lnTo>
                  <a:pt x="93" y="385"/>
                </a:lnTo>
                <a:lnTo>
                  <a:pt x="90" y="388"/>
                </a:lnTo>
                <a:lnTo>
                  <a:pt x="90" y="388"/>
                </a:lnTo>
                <a:lnTo>
                  <a:pt x="90" y="388"/>
                </a:lnTo>
                <a:close/>
                <a:moveTo>
                  <a:pt x="87" y="394"/>
                </a:moveTo>
                <a:lnTo>
                  <a:pt x="87" y="391"/>
                </a:lnTo>
                <a:lnTo>
                  <a:pt x="90" y="394"/>
                </a:lnTo>
                <a:lnTo>
                  <a:pt x="87" y="394"/>
                </a:lnTo>
                <a:lnTo>
                  <a:pt x="87" y="394"/>
                </a:lnTo>
                <a:lnTo>
                  <a:pt x="87" y="394"/>
                </a:lnTo>
                <a:close/>
                <a:moveTo>
                  <a:pt x="84" y="385"/>
                </a:moveTo>
                <a:lnTo>
                  <a:pt x="84" y="385"/>
                </a:lnTo>
                <a:lnTo>
                  <a:pt x="84" y="388"/>
                </a:lnTo>
                <a:lnTo>
                  <a:pt x="84" y="391"/>
                </a:lnTo>
                <a:lnTo>
                  <a:pt x="87" y="391"/>
                </a:lnTo>
                <a:lnTo>
                  <a:pt x="87" y="388"/>
                </a:lnTo>
                <a:lnTo>
                  <a:pt x="87" y="385"/>
                </a:lnTo>
                <a:lnTo>
                  <a:pt x="84" y="385"/>
                </a:lnTo>
                <a:lnTo>
                  <a:pt x="84" y="385"/>
                </a:lnTo>
                <a:lnTo>
                  <a:pt x="84" y="385"/>
                </a:lnTo>
                <a:close/>
                <a:moveTo>
                  <a:pt x="169" y="335"/>
                </a:moveTo>
                <a:lnTo>
                  <a:pt x="169" y="332"/>
                </a:lnTo>
                <a:lnTo>
                  <a:pt x="169" y="329"/>
                </a:lnTo>
                <a:lnTo>
                  <a:pt x="169" y="329"/>
                </a:lnTo>
                <a:lnTo>
                  <a:pt x="172" y="325"/>
                </a:lnTo>
                <a:lnTo>
                  <a:pt x="172" y="329"/>
                </a:lnTo>
                <a:lnTo>
                  <a:pt x="172" y="332"/>
                </a:lnTo>
                <a:lnTo>
                  <a:pt x="172" y="335"/>
                </a:lnTo>
                <a:lnTo>
                  <a:pt x="172" y="335"/>
                </a:lnTo>
                <a:lnTo>
                  <a:pt x="169" y="335"/>
                </a:lnTo>
                <a:lnTo>
                  <a:pt x="169" y="335"/>
                </a:lnTo>
                <a:close/>
                <a:moveTo>
                  <a:pt x="156" y="332"/>
                </a:moveTo>
                <a:lnTo>
                  <a:pt x="159" y="329"/>
                </a:lnTo>
                <a:lnTo>
                  <a:pt x="162" y="332"/>
                </a:lnTo>
                <a:lnTo>
                  <a:pt x="162" y="332"/>
                </a:lnTo>
                <a:lnTo>
                  <a:pt x="159" y="335"/>
                </a:lnTo>
                <a:lnTo>
                  <a:pt x="156" y="332"/>
                </a:lnTo>
                <a:lnTo>
                  <a:pt x="156" y="332"/>
                </a:lnTo>
                <a:close/>
                <a:moveTo>
                  <a:pt x="137" y="375"/>
                </a:moveTo>
                <a:lnTo>
                  <a:pt x="140" y="375"/>
                </a:lnTo>
                <a:lnTo>
                  <a:pt x="140" y="372"/>
                </a:lnTo>
                <a:lnTo>
                  <a:pt x="144" y="375"/>
                </a:lnTo>
                <a:lnTo>
                  <a:pt x="144" y="372"/>
                </a:lnTo>
                <a:lnTo>
                  <a:pt x="144" y="372"/>
                </a:lnTo>
                <a:lnTo>
                  <a:pt x="140" y="366"/>
                </a:lnTo>
                <a:lnTo>
                  <a:pt x="144" y="363"/>
                </a:lnTo>
                <a:lnTo>
                  <a:pt x="144" y="360"/>
                </a:lnTo>
                <a:lnTo>
                  <a:pt x="150" y="357"/>
                </a:lnTo>
                <a:lnTo>
                  <a:pt x="150" y="354"/>
                </a:lnTo>
                <a:lnTo>
                  <a:pt x="156" y="354"/>
                </a:lnTo>
                <a:lnTo>
                  <a:pt x="159" y="357"/>
                </a:lnTo>
                <a:lnTo>
                  <a:pt x="162" y="360"/>
                </a:lnTo>
                <a:lnTo>
                  <a:pt x="165" y="360"/>
                </a:lnTo>
                <a:lnTo>
                  <a:pt x="165" y="354"/>
                </a:lnTo>
                <a:lnTo>
                  <a:pt x="172" y="347"/>
                </a:lnTo>
                <a:lnTo>
                  <a:pt x="172" y="344"/>
                </a:lnTo>
                <a:lnTo>
                  <a:pt x="169" y="344"/>
                </a:lnTo>
                <a:lnTo>
                  <a:pt x="169" y="341"/>
                </a:lnTo>
                <a:lnTo>
                  <a:pt x="165" y="338"/>
                </a:lnTo>
                <a:lnTo>
                  <a:pt x="162" y="338"/>
                </a:lnTo>
                <a:lnTo>
                  <a:pt x="159" y="335"/>
                </a:lnTo>
                <a:lnTo>
                  <a:pt x="153" y="335"/>
                </a:lnTo>
                <a:lnTo>
                  <a:pt x="150" y="338"/>
                </a:lnTo>
                <a:lnTo>
                  <a:pt x="150" y="341"/>
                </a:lnTo>
                <a:lnTo>
                  <a:pt x="147" y="344"/>
                </a:lnTo>
                <a:lnTo>
                  <a:pt x="144" y="347"/>
                </a:lnTo>
                <a:lnTo>
                  <a:pt x="140" y="347"/>
                </a:lnTo>
                <a:lnTo>
                  <a:pt x="137" y="347"/>
                </a:lnTo>
                <a:lnTo>
                  <a:pt x="137" y="341"/>
                </a:lnTo>
                <a:lnTo>
                  <a:pt x="134" y="341"/>
                </a:lnTo>
                <a:lnTo>
                  <a:pt x="128" y="347"/>
                </a:lnTo>
                <a:lnTo>
                  <a:pt x="128" y="350"/>
                </a:lnTo>
                <a:lnTo>
                  <a:pt x="125" y="354"/>
                </a:lnTo>
                <a:lnTo>
                  <a:pt x="125" y="357"/>
                </a:lnTo>
                <a:lnTo>
                  <a:pt x="131" y="360"/>
                </a:lnTo>
                <a:lnTo>
                  <a:pt x="131" y="363"/>
                </a:lnTo>
                <a:lnTo>
                  <a:pt x="131" y="363"/>
                </a:lnTo>
                <a:lnTo>
                  <a:pt x="131" y="366"/>
                </a:lnTo>
                <a:lnTo>
                  <a:pt x="134" y="372"/>
                </a:lnTo>
                <a:lnTo>
                  <a:pt x="137" y="372"/>
                </a:lnTo>
                <a:lnTo>
                  <a:pt x="137" y="375"/>
                </a:lnTo>
                <a:lnTo>
                  <a:pt x="137" y="375"/>
                </a:lnTo>
                <a:close/>
                <a:moveTo>
                  <a:pt x="112" y="441"/>
                </a:moveTo>
                <a:lnTo>
                  <a:pt x="109" y="438"/>
                </a:lnTo>
                <a:lnTo>
                  <a:pt x="106" y="438"/>
                </a:lnTo>
                <a:lnTo>
                  <a:pt x="106" y="441"/>
                </a:lnTo>
                <a:lnTo>
                  <a:pt x="109" y="444"/>
                </a:lnTo>
                <a:lnTo>
                  <a:pt x="112" y="444"/>
                </a:lnTo>
                <a:lnTo>
                  <a:pt x="112" y="444"/>
                </a:lnTo>
                <a:lnTo>
                  <a:pt x="112" y="441"/>
                </a:lnTo>
                <a:lnTo>
                  <a:pt x="112" y="441"/>
                </a:lnTo>
                <a:close/>
                <a:moveTo>
                  <a:pt x="115" y="435"/>
                </a:moveTo>
                <a:lnTo>
                  <a:pt x="115" y="429"/>
                </a:lnTo>
                <a:lnTo>
                  <a:pt x="115" y="429"/>
                </a:lnTo>
                <a:lnTo>
                  <a:pt x="115" y="429"/>
                </a:lnTo>
                <a:lnTo>
                  <a:pt x="119" y="432"/>
                </a:lnTo>
                <a:lnTo>
                  <a:pt x="115" y="435"/>
                </a:lnTo>
                <a:lnTo>
                  <a:pt x="115" y="435"/>
                </a:lnTo>
                <a:lnTo>
                  <a:pt x="115" y="435"/>
                </a:lnTo>
                <a:close/>
                <a:moveTo>
                  <a:pt x="109" y="425"/>
                </a:moveTo>
                <a:lnTo>
                  <a:pt x="112" y="422"/>
                </a:lnTo>
                <a:lnTo>
                  <a:pt x="115" y="419"/>
                </a:lnTo>
                <a:lnTo>
                  <a:pt x="112" y="413"/>
                </a:lnTo>
                <a:lnTo>
                  <a:pt x="112" y="413"/>
                </a:lnTo>
                <a:lnTo>
                  <a:pt x="115" y="410"/>
                </a:lnTo>
                <a:lnTo>
                  <a:pt x="115" y="413"/>
                </a:lnTo>
                <a:lnTo>
                  <a:pt x="119" y="413"/>
                </a:lnTo>
                <a:lnTo>
                  <a:pt x="119" y="410"/>
                </a:lnTo>
                <a:lnTo>
                  <a:pt x="119" y="404"/>
                </a:lnTo>
                <a:lnTo>
                  <a:pt x="119" y="400"/>
                </a:lnTo>
                <a:lnTo>
                  <a:pt x="119" y="388"/>
                </a:lnTo>
                <a:lnTo>
                  <a:pt x="119" y="382"/>
                </a:lnTo>
                <a:lnTo>
                  <a:pt x="122" y="379"/>
                </a:lnTo>
                <a:lnTo>
                  <a:pt x="125" y="375"/>
                </a:lnTo>
                <a:lnTo>
                  <a:pt x="122" y="372"/>
                </a:lnTo>
                <a:lnTo>
                  <a:pt x="122" y="372"/>
                </a:lnTo>
                <a:lnTo>
                  <a:pt x="122" y="369"/>
                </a:lnTo>
                <a:lnTo>
                  <a:pt x="119" y="369"/>
                </a:lnTo>
                <a:lnTo>
                  <a:pt x="119" y="366"/>
                </a:lnTo>
                <a:lnTo>
                  <a:pt x="112" y="366"/>
                </a:lnTo>
                <a:lnTo>
                  <a:pt x="112" y="363"/>
                </a:lnTo>
                <a:lnTo>
                  <a:pt x="115" y="363"/>
                </a:lnTo>
                <a:lnTo>
                  <a:pt x="115" y="360"/>
                </a:lnTo>
                <a:lnTo>
                  <a:pt x="115" y="354"/>
                </a:lnTo>
                <a:lnTo>
                  <a:pt x="112" y="354"/>
                </a:lnTo>
                <a:lnTo>
                  <a:pt x="109" y="354"/>
                </a:lnTo>
                <a:lnTo>
                  <a:pt x="109" y="354"/>
                </a:lnTo>
                <a:lnTo>
                  <a:pt x="106" y="357"/>
                </a:lnTo>
                <a:lnTo>
                  <a:pt x="103" y="357"/>
                </a:lnTo>
                <a:lnTo>
                  <a:pt x="100" y="350"/>
                </a:lnTo>
                <a:lnTo>
                  <a:pt x="100" y="350"/>
                </a:lnTo>
                <a:lnTo>
                  <a:pt x="106" y="347"/>
                </a:lnTo>
                <a:lnTo>
                  <a:pt x="112" y="344"/>
                </a:lnTo>
                <a:lnTo>
                  <a:pt x="119" y="347"/>
                </a:lnTo>
                <a:lnTo>
                  <a:pt x="122" y="347"/>
                </a:lnTo>
                <a:lnTo>
                  <a:pt x="122" y="347"/>
                </a:lnTo>
                <a:lnTo>
                  <a:pt x="122" y="344"/>
                </a:lnTo>
                <a:lnTo>
                  <a:pt x="122" y="341"/>
                </a:lnTo>
                <a:lnTo>
                  <a:pt x="122" y="338"/>
                </a:lnTo>
                <a:lnTo>
                  <a:pt x="122" y="335"/>
                </a:lnTo>
                <a:lnTo>
                  <a:pt x="125" y="335"/>
                </a:lnTo>
                <a:lnTo>
                  <a:pt x="125" y="338"/>
                </a:lnTo>
                <a:lnTo>
                  <a:pt x="128" y="338"/>
                </a:lnTo>
                <a:lnTo>
                  <a:pt x="131" y="335"/>
                </a:lnTo>
                <a:lnTo>
                  <a:pt x="137" y="335"/>
                </a:lnTo>
                <a:lnTo>
                  <a:pt x="144" y="332"/>
                </a:lnTo>
                <a:lnTo>
                  <a:pt x="150" y="332"/>
                </a:lnTo>
                <a:lnTo>
                  <a:pt x="150" y="332"/>
                </a:lnTo>
                <a:lnTo>
                  <a:pt x="153" y="332"/>
                </a:lnTo>
                <a:lnTo>
                  <a:pt x="153" y="332"/>
                </a:lnTo>
                <a:lnTo>
                  <a:pt x="156" y="329"/>
                </a:lnTo>
                <a:lnTo>
                  <a:pt x="156" y="325"/>
                </a:lnTo>
                <a:lnTo>
                  <a:pt x="162" y="322"/>
                </a:lnTo>
                <a:lnTo>
                  <a:pt x="165" y="322"/>
                </a:lnTo>
                <a:lnTo>
                  <a:pt x="172" y="322"/>
                </a:lnTo>
                <a:lnTo>
                  <a:pt x="175" y="322"/>
                </a:lnTo>
                <a:lnTo>
                  <a:pt x="178" y="322"/>
                </a:lnTo>
                <a:lnTo>
                  <a:pt x="178" y="325"/>
                </a:lnTo>
                <a:lnTo>
                  <a:pt x="175" y="329"/>
                </a:lnTo>
                <a:lnTo>
                  <a:pt x="175" y="335"/>
                </a:lnTo>
                <a:lnTo>
                  <a:pt x="175" y="335"/>
                </a:lnTo>
                <a:lnTo>
                  <a:pt x="175" y="338"/>
                </a:lnTo>
                <a:lnTo>
                  <a:pt x="175" y="341"/>
                </a:lnTo>
                <a:lnTo>
                  <a:pt x="175" y="344"/>
                </a:lnTo>
                <a:lnTo>
                  <a:pt x="178" y="347"/>
                </a:lnTo>
                <a:lnTo>
                  <a:pt x="181" y="347"/>
                </a:lnTo>
                <a:lnTo>
                  <a:pt x="187" y="354"/>
                </a:lnTo>
                <a:lnTo>
                  <a:pt x="190" y="354"/>
                </a:lnTo>
                <a:lnTo>
                  <a:pt x="194" y="354"/>
                </a:lnTo>
                <a:lnTo>
                  <a:pt x="197" y="347"/>
                </a:lnTo>
                <a:lnTo>
                  <a:pt x="197" y="344"/>
                </a:lnTo>
                <a:lnTo>
                  <a:pt x="200" y="344"/>
                </a:lnTo>
                <a:lnTo>
                  <a:pt x="200" y="341"/>
                </a:lnTo>
                <a:lnTo>
                  <a:pt x="200" y="338"/>
                </a:lnTo>
                <a:lnTo>
                  <a:pt x="200" y="335"/>
                </a:lnTo>
                <a:lnTo>
                  <a:pt x="203" y="332"/>
                </a:lnTo>
                <a:lnTo>
                  <a:pt x="206" y="332"/>
                </a:lnTo>
                <a:lnTo>
                  <a:pt x="209" y="332"/>
                </a:lnTo>
                <a:lnTo>
                  <a:pt x="206" y="329"/>
                </a:lnTo>
                <a:lnTo>
                  <a:pt x="206" y="325"/>
                </a:lnTo>
                <a:lnTo>
                  <a:pt x="200" y="322"/>
                </a:lnTo>
                <a:lnTo>
                  <a:pt x="200" y="319"/>
                </a:lnTo>
                <a:lnTo>
                  <a:pt x="200" y="316"/>
                </a:lnTo>
                <a:lnTo>
                  <a:pt x="203" y="313"/>
                </a:lnTo>
                <a:lnTo>
                  <a:pt x="203" y="313"/>
                </a:lnTo>
                <a:lnTo>
                  <a:pt x="203" y="313"/>
                </a:lnTo>
                <a:lnTo>
                  <a:pt x="203" y="319"/>
                </a:lnTo>
                <a:lnTo>
                  <a:pt x="206" y="319"/>
                </a:lnTo>
                <a:lnTo>
                  <a:pt x="206" y="319"/>
                </a:lnTo>
                <a:lnTo>
                  <a:pt x="206" y="316"/>
                </a:lnTo>
                <a:lnTo>
                  <a:pt x="209" y="319"/>
                </a:lnTo>
                <a:lnTo>
                  <a:pt x="212" y="319"/>
                </a:lnTo>
                <a:lnTo>
                  <a:pt x="215" y="319"/>
                </a:lnTo>
                <a:lnTo>
                  <a:pt x="215" y="319"/>
                </a:lnTo>
                <a:lnTo>
                  <a:pt x="215" y="322"/>
                </a:lnTo>
                <a:lnTo>
                  <a:pt x="212" y="322"/>
                </a:lnTo>
                <a:lnTo>
                  <a:pt x="212" y="322"/>
                </a:lnTo>
                <a:lnTo>
                  <a:pt x="212" y="322"/>
                </a:lnTo>
                <a:lnTo>
                  <a:pt x="215" y="322"/>
                </a:lnTo>
                <a:lnTo>
                  <a:pt x="219" y="319"/>
                </a:lnTo>
                <a:lnTo>
                  <a:pt x="231" y="322"/>
                </a:lnTo>
                <a:lnTo>
                  <a:pt x="234" y="319"/>
                </a:lnTo>
                <a:lnTo>
                  <a:pt x="234" y="319"/>
                </a:lnTo>
                <a:lnTo>
                  <a:pt x="231" y="316"/>
                </a:lnTo>
                <a:lnTo>
                  <a:pt x="234" y="310"/>
                </a:lnTo>
                <a:lnTo>
                  <a:pt x="237" y="310"/>
                </a:lnTo>
                <a:lnTo>
                  <a:pt x="240" y="310"/>
                </a:lnTo>
                <a:lnTo>
                  <a:pt x="240" y="313"/>
                </a:lnTo>
                <a:lnTo>
                  <a:pt x="240" y="316"/>
                </a:lnTo>
                <a:lnTo>
                  <a:pt x="244" y="319"/>
                </a:lnTo>
                <a:lnTo>
                  <a:pt x="247" y="319"/>
                </a:lnTo>
                <a:lnTo>
                  <a:pt x="247" y="316"/>
                </a:lnTo>
                <a:lnTo>
                  <a:pt x="247" y="307"/>
                </a:lnTo>
                <a:lnTo>
                  <a:pt x="247" y="303"/>
                </a:lnTo>
                <a:lnTo>
                  <a:pt x="253" y="300"/>
                </a:lnTo>
                <a:lnTo>
                  <a:pt x="253" y="300"/>
                </a:lnTo>
                <a:lnTo>
                  <a:pt x="256" y="297"/>
                </a:lnTo>
                <a:lnTo>
                  <a:pt x="253" y="297"/>
                </a:lnTo>
                <a:lnTo>
                  <a:pt x="253" y="291"/>
                </a:lnTo>
                <a:lnTo>
                  <a:pt x="256" y="291"/>
                </a:lnTo>
                <a:lnTo>
                  <a:pt x="259" y="291"/>
                </a:lnTo>
                <a:lnTo>
                  <a:pt x="262" y="294"/>
                </a:lnTo>
                <a:lnTo>
                  <a:pt x="259" y="294"/>
                </a:lnTo>
                <a:lnTo>
                  <a:pt x="259" y="300"/>
                </a:lnTo>
                <a:lnTo>
                  <a:pt x="259" y="313"/>
                </a:lnTo>
                <a:lnTo>
                  <a:pt x="262" y="313"/>
                </a:lnTo>
                <a:lnTo>
                  <a:pt x="265" y="310"/>
                </a:lnTo>
                <a:lnTo>
                  <a:pt x="265" y="307"/>
                </a:lnTo>
                <a:lnTo>
                  <a:pt x="269" y="307"/>
                </a:lnTo>
                <a:lnTo>
                  <a:pt x="272" y="303"/>
                </a:lnTo>
                <a:lnTo>
                  <a:pt x="275" y="297"/>
                </a:lnTo>
                <a:lnTo>
                  <a:pt x="275" y="294"/>
                </a:lnTo>
                <a:lnTo>
                  <a:pt x="278" y="291"/>
                </a:lnTo>
                <a:lnTo>
                  <a:pt x="278" y="288"/>
                </a:lnTo>
                <a:lnTo>
                  <a:pt x="275" y="285"/>
                </a:lnTo>
                <a:lnTo>
                  <a:pt x="272" y="278"/>
                </a:lnTo>
                <a:lnTo>
                  <a:pt x="269" y="275"/>
                </a:lnTo>
                <a:lnTo>
                  <a:pt x="269" y="266"/>
                </a:lnTo>
                <a:lnTo>
                  <a:pt x="269" y="253"/>
                </a:lnTo>
                <a:lnTo>
                  <a:pt x="269" y="247"/>
                </a:lnTo>
                <a:lnTo>
                  <a:pt x="265" y="235"/>
                </a:lnTo>
                <a:lnTo>
                  <a:pt x="262" y="228"/>
                </a:lnTo>
                <a:lnTo>
                  <a:pt x="259" y="222"/>
                </a:lnTo>
                <a:lnTo>
                  <a:pt x="262" y="216"/>
                </a:lnTo>
                <a:lnTo>
                  <a:pt x="269" y="213"/>
                </a:lnTo>
                <a:lnTo>
                  <a:pt x="272" y="213"/>
                </a:lnTo>
                <a:lnTo>
                  <a:pt x="272" y="216"/>
                </a:lnTo>
                <a:lnTo>
                  <a:pt x="275" y="213"/>
                </a:lnTo>
                <a:lnTo>
                  <a:pt x="272" y="210"/>
                </a:lnTo>
                <a:lnTo>
                  <a:pt x="272" y="207"/>
                </a:lnTo>
                <a:lnTo>
                  <a:pt x="272" y="207"/>
                </a:lnTo>
                <a:lnTo>
                  <a:pt x="269" y="200"/>
                </a:lnTo>
                <a:lnTo>
                  <a:pt x="269" y="200"/>
                </a:lnTo>
                <a:lnTo>
                  <a:pt x="269" y="197"/>
                </a:lnTo>
                <a:lnTo>
                  <a:pt x="272" y="194"/>
                </a:lnTo>
                <a:lnTo>
                  <a:pt x="272" y="194"/>
                </a:lnTo>
                <a:lnTo>
                  <a:pt x="272" y="191"/>
                </a:lnTo>
                <a:lnTo>
                  <a:pt x="272" y="188"/>
                </a:lnTo>
                <a:lnTo>
                  <a:pt x="269" y="181"/>
                </a:lnTo>
                <a:lnTo>
                  <a:pt x="272" y="181"/>
                </a:lnTo>
                <a:lnTo>
                  <a:pt x="269" y="178"/>
                </a:lnTo>
                <a:lnTo>
                  <a:pt x="269" y="169"/>
                </a:lnTo>
                <a:lnTo>
                  <a:pt x="265" y="163"/>
                </a:lnTo>
                <a:lnTo>
                  <a:pt x="262" y="163"/>
                </a:lnTo>
                <a:lnTo>
                  <a:pt x="259" y="163"/>
                </a:lnTo>
                <a:lnTo>
                  <a:pt x="259" y="153"/>
                </a:lnTo>
                <a:lnTo>
                  <a:pt x="256" y="150"/>
                </a:lnTo>
                <a:lnTo>
                  <a:pt x="250" y="141"/>
                </a:lnTo>
                <a:lnTo>
                  <a:pt x="247" y="138"/>
                </a:lnTo>
                <a:lnTo>
                  <a:pt x="244" y="131"/>
                </a:lnTo>
                <a:lnTo>
                  <a:pt x="244" y="125"/>
                </a:lnTo>
                <a:lnTo>
                  <a:pt x="244" y="125"/>
                </a:lnTo>
                <a:lnTo>
                  <a:pt x="244" y="125"/>
                </a:lnTo>
                <a:lnTo>
                  <a:pt x="240" y="125"/>
                </a:lnTo>
                <a:lnTo>
                  <a:pt x="240" y="125"/>
                </a:lnTo>
                <a:lnTo>
                  <a:pt x="237" y="122"/>
                </a:lnTo>
                <a:lnTo>
                  <a:pt x="234" y="122"/>
                </a:lnTo>
                <a:lnTo>
                  <a:pt x="234" y="125"/>
                </a:lnTo>
                <a:lnTo>
                  <a:pt x="234" y="128"/>
                </a:lnTo>
                <a:lnTo>
                  <a:pt x="234" y="131"/>
                </a:lnTo>
                <a:lnTo>
                  <a:pt x="234" y="135"/>
                </a:lnTo>
                <a:lnTo>
                  <a:pt x="237" y="131"/>
                </a:lnTo>
                <a:lnTo>
                  <a:pt x="240" y="128"/>
                </a:lnTo>
                <a:lnTo>
                  <a:pt x="244" y="135"/>
                </a:lnTo>
                <a:lnTo>
                  <a:pt x="240" y="138"/>
                </a:lnTo>
                <a:lnTo>
                  <a:pt x="237" y="138"/>
                </a:lnTo>
                <a:lnTo>
                  <a:pt x="237" y="138"/>
                </a:lnTo>
                <a:lnTo>
                  <a:pt x="234" y="138"/>
                </a:lnTo>
                <a:lnTo>
                  <a:pt x="237" y="141"/>
                </a:lnTo>
                <a:lnTo>
                  <a:pt x="234" y="144"/>
                </a:lnTo>
                <a:lnTo>
                  <a:pt x="231" y="141"/>
                </a:lnTo>
                <a:lnTo>
                  <a:pt x="231" y="138"/>
                </a:lnTo>
                <a:lnTo>
                  <a:pt x="231" y="135"/>
                </a:lnTo>
                <a:lnTo>
                  <a:pt x="231" y="131"/>
                </a:lnTo>
                <a:lnTo>
                  <a:pt x="228" y="135"/>
                </a:lnTo>
                <a:lnTo>
                  <a:pt x="225" y="131"/>
                </a:lnTo>
                <a:lnTo>
                  <a:pt x="225" y="135"/>
                </a:lnTo>
                <a:lnTo>
                  <a:pt x="225" y="141"/>
                </a:lnTo>
                <a:lnTo>
                  <a:pt x="225" y="144"/>
                </a:lnTo>
                <a:lnTo>
                  <a:pt x="225" y="147"/>
                </a:lnTo>
                <a:lnTo>
                  <a:pt x="222" y="150"/>
                </a:lnTo>
                <a:lnTo>
                  <a:pt x="222" y="153"/>
                </a:lnTo>
                <a:lnTo>
                  <a:pt x="225" y="156"/>
                </a:lnTo>
                <a:lnTo>
                  <a:pt x="228" y="160"/>
                </a:lnTo>
                <a:lnTo>
                  <a:pt x="225" y="166"/>
                </a:lnTo>
                <a:lnTo>
                  <a:pt x="225" y="166"/>
                </a:lnTo>
                <a:lnTo>
                  <a:pt x="222" y="166"/>
                </a:lnTo>
                <a:lnTo>
                  <a:pt x="219" y="169"/>
                </a:lnTo>
                <a:lnTo>
                  <a:pt x="222" y="172"/>
                </a:lnTo>
                <a:lnTo>
                  <a:pt x="225" y="172"/>
                </a:lnTo>
                <a:lnTo>
                  <a:pt x="228" y="169"/>
                </a:lnTo>
                <a:lnTo>
                  <a:pt x="231" y="178"/>
                </a:lnTo>
                <a:lnTo>
                  <a:pt x="234" y="188"/>
                </a:lnTo>
                <a:lnTo>
                  <a:pt x="231" y="191"/>
                </a:lnTo>
                <a:lnTo>
                  <a:pt x="234" y="200"/>
                </a:lnTo>
                <a:lnTo>
                  <a:pt x="228" y="216"/>
                </a:lnTo>
                <a:lnTo>
                  <a:pt x="231" y="219"/>
                </a:lnTo>
                <a:lnTo>
                  <a:pt x="228" y="225"/>
                </a:lnTo>
                <a:lnTo>
                  <a:pt x="225" y="228"/>
                </a:lnTo>
                <a:lnTo>
                  <a:pt x="222" y="235"/>
                </a:lnTo>
                <a:lnTo>
                  <a:pt x="222" y="241"/>
                </a:lnTo>
                <a:lnTo>
                  <a:pt x="219" y="244"/>
                </a:lnTo>
                <a:lnTo>
                  <a:pt x="219" y="247"/>
                </a:lnTo>
                <a:lnTo>
                  <a:pt x="215" y="253"/>
                </a:lnTo>
                <a:lnTo>
                  <a:pt x="206" y="260"/>
                </a:lnTo>
                <a:lnTo>
                  <a:pt x="203" y="260"/>
                </a:lnTo>
                <a:lnTo>
                  <a:pt x="200" y="263"/>
                </a:lnTo>
                <a:lnTo>
                  <a:pt x="194" y="260"/>
                </a:lnTo>
                <a:lnTo>
                  <a:pt x="190" y="257"/>
                </a:lnTo>
                <a:lnTo>
                  <a:pt x="190" y="253"/>
                </a:lnTo>
                <a:lnTo>
                  <a:pt x="194" y="250"/>
                </a:lnTo>
                <a:lnTo>
                  <a:pt x="194" y="247"/>
                </a:lnTo>
                <a:lnTo>
                  <a:pt x="194" y="247"/>
                </a:lnTo>
                <a:lnTo>
                  <a:pt x="197" y="244"/>
                </a:lnTo>
                <a:lnTo>
                  <a:pt x="197" y="244"/>
                </a:lnTo>
                <a:lnTo>
                  <a:pt x="190" y="244"/>
                </a:lnTo>
                <a:lnTo>
                  <a:pt x="187" y="247"/>
                </a:lnTo>
                <a:lnTo>
                  <a:pt x="184" y="247"/>
                </a:lnTo>
                <a:lnTo>
                  <a:pt x="184" y="253"/>
                </a:lnTo>
                <a:lnTo>
                  <a:pt x="187" y="257"/>
                </a:lnTo>
                <a:lnTo>
                  <a:pt x="187" y="266"/>
                </a:lnTo>
                <a:lnTo>
                  <a:pt x="187" y="272"/>
                </a:lnTo>
                <a:lnTo>
                  <a:pt x="181" y="275"/>
                </a:lnTo>
                <a:lnTo>
                  <a:pt x="181" y="278"/>
                </a:lnTo>
                <a:lnTo>
                  <a:pt x="181" y="278"/>
                </a:lnTo>
                <a:lnTo>
                  <a:pt x="178" y="288"/>
                </a:lnTo>
                <a:lnTo>
                  <a:pt x="181" y="288"/>
                </a:lnTo>
                <a:lnTo>
                  <a:pt x="181" y="291"/>
                </a:lnTo>
                <a:lnTo>
                  <a:pt x="181" y="294"/>
                </a:lnTo>
                <a:lnTo>
                  <a:pt x="181" y="294"/>
                </a:lnTo>
                <a:lnTo>
                  <a:pt x="181" y="297"/>
                </a:lnTo>
                <a:lnTo>
                  <a:pt x="178" y="297"/>
                </a:lnTo>
                <a:lnTo>
                  <a:pt x="178" y="297"/>
                </a:lnTo>
                <a:lnTo>
                  <a:pt x="178" y="300"/>
                </a:lnTo>
                <a:lnTo>
                  <a:pt x="175" y="297"/>
                </a:lnTo>
                <a:lnTo>
                  <a:pt x="172" y="300"/>
                </a:lnTo>
                <a:lnTo>
                  <a:pt x="169" y="300"/>
                </a:lnTo>
                <a:lnTo>
                  <a:pt x="169" y="294"/>
                </a:lnTo>
                <a:lnTo>
                  <a:pt x="169" y="294"/>
                </a:lnTo>
                <a:lnTo>
                  <a:pt x="165" y="297"/>
                </a:lnTo>
                <a:lnTo>
                  <a:pt x="162" y="297"/>
                </a:lnTo>
                <a:lnTo>
                  <a:pt x="162" y="297"/>
                </a:lnTo>
                <a:lnTo>
                  <a:pt x="153" y="297"/>
                </a:lnTo>
                <a:lnTo>
                  <a:pt x="150" y="300"/>
                </a:lnTo>
                <a:lnTo>
                  <a:pt x="144" y="303"/>
                </a:lnTo>
                <a:lnTo>
                  <a:pt x="140" y="303"/>
                </a:lnTo>
                <a:lnTo>
                  <a:pt x="134" y="303"/>
                </a:lnTo>
                <a:lnTo>
                  <a:pt x="134" y="303"/>
                </a:lnTo>
                <a:lnTo>
                  <a:pt x="128" y="303"/>
                </a:lnTo>
                <a:lnTo>
                  <a:pt x="122" y="310"/>
                </a:lnTo>
                <a:lnTo>
                  <a:pt x="119" y="313"/>
                </a:lnTo>
                <a:lnTo>
                  <a:pt x="119" y="316"/>
                </a:lnTo>
                <a:lnTo>
                  <a:pt x="115" y="319"/>
                </a:lnTo>
                <a:lnTo>
                  <a:pt x="112" y="322"/>
                </a:lnTo>
                <a:lnTo>
                  <a:pt x="109" y="325"/>
                </a:lnTo>
                <a:lnTo>
                  <a:pt x="106" y="329"/>
                </a:lnTo>
                <a:lnTo>
                  <a:pt x="103" y="332"/>
                </a:lnTo>
                <a:lnTo>
                  <a:pt x="103" y="335"/>
                </a:lnTo>
                <a:lnTo>
                  <a:pt x="97" y="335"/>
                </a:lnTo>
                <a:lnTo>
                  <a:pt x="93" y="338"/>
                </a:lnTo>
                <a:lnTo>
                  <a:pt x="97" y="344"/>
                </a:lnTo>
                <a:lnTo>
                  <a:pt x="97" y="344"/>
                </a:lnTo>
                <a:lnTo>
                  <a:pt x="97" y="347"/>
                </a:lnTo>
                <a:lnTo>
                  <a:pt x="97" y="350"/>
                </a:lnTo>
                <a:lnTo>
                  <a:pt x="93" y="350"/>
                </a:lnTo>
                <a:lnTo>
                  <a:pt x="90" y="354"/>
                </a:lnTo>
                <a:lnTo>
                  <a:pt x="87" y="357"/>
                </a:lnTo>
                <a:lnTo>
                  <a:pt x="87" y="357"/>
                </a:lnTo>
                <a:lnTo>
                  <a:pt x="81" y="363"/>
                </a:lnTo>
                <a:lnTo>
                  <a:pt x="81" y="363"/>
                </a:lnTo>
                <a:lnTo>
                  <a:pt x="78" y="366"/>
                </a:lnTo>
                <a:lnTo>
                  <a:pt x="75" y="366"/>
                </a:lnTo>
                <a:lnTo>
                  <a:pt x="75" y="366"/>
                </a:lnTo>
                <a:lnTo>
                  <a:pt x="78" y="366"/>
                </a:lnTo>
                <a:lnTo>
                  <a:pt x="78" y="369"/>
                </a:lnTo>
                <a:lnTo>
                  <a:pt x="81" y="375"/>
                </a:lnTo>
                <a:lnTo>
                  <a:pt x="81" y="375"/>
                </a:lnTo>
                <a:lnTo>
                  <a:pt x="78" y="372"/>
                </a:lnTo>
                <a:lnTo>
                  <a:pt x="78" y="369"/>
                </a:lnTo>
                <a:lnTo>
                  <a:pt x="75" y="372"/>
                </a:lnTo>
                <a:lnTo>
                  <a:pt x="78" y="379"/>
                </a:lnTo>
                <a:lnTo>
                  <a:pt x="81" y="379"/>
                </a:lnTo>
                <a:lnTo>
                  <a:pt x="81" y="382"/>
                </a:lnTo>
                <a:lnTo>
                  <a:pt x="78" y="382"/>
                </a:lnTo>
                <a:lnTo>
                  <a:pt x="81" y="382"/>
                </a:lnTo>
                <a:lnTo>
                  <a:pt x="81" y="379"/>
                </a:lnTo>
                <a:lnTo>
                  <a:pt x="84" y="379"/>
                </a:lnTo>
                <a:lnTo>
                  <a:pt x="87" y="379"/>
                </a:lnTo>
                <a:lnTo>
                  <a:pt x="84" y="382"/>
                </a:lnTo>
                <a:lnTo>
                  <a:pt x="87" y="382"/>
                </a:lnTo>
                <a:lnTo>
                  <a:pt x="90" y="382"/>
                </a:lnTo>
                <a:lnTo>
                  <a:pt x="90" y="379"/>
                </a:lnTo>
                <a:lnTo>
                  <a:pt x="87" y="375"/>
                </a:lnTo>
                <a:lnTo>
                  <a:pt x="84" y="375"/>
                </a:lnTo>
                <a:lnTo>
                  <a:pt x="84" y="375"/>
                </a:lnTo>
                <a:lnTo>
                  <a:pt x="84" y="372"/>
                </a:lnTo>
                <a:lnTo>
                  <a:pt x="84" y="369"/>
                </a:lnTo>
                <a:lnTo>
                  <a:pt x="87" y="369"/>
                </a:lnTo>
                <a:lnTo>
                  <a:pt x="90" y="369"/>
                </a:lnTo>
                <a:lnTo>
                  <a:pt x="93" y="375"/>
                </a:lnTo>
                <a:lnTo>
                  <a:pt x="93" y="379"/>
                </a:lnTo>
                <a:lnTo>
                  <a:pt x="93" y="382"/>
                </a:lnTo>
                <a:lnTo>
                  <a:pt x="93" y="388"/>
                </a:lnTo>
                <a:lnTo>
                  <a:pt x="93" y="394"/>
                </a:lnTo>
                <a:lnTo>
                  <a:pt x="87" y="394"/>
                </a:lnTo>
                <a:lnTo>
                  <a:pt x="90" y="397"/>
                </a:lnTo>
                <a:lnTo>
                  <a:pt x="93" y="400"/>
                </a:lnTo>
                <a:lnTo>
                  <a:pt x="93" y="410"/>
                </a:lnTo>
                <a:lnTo>
                  <a:pt x="97" y="413"/>
                </a:lnTo>
                <a:lnTo>
                  <a:pt x="97" y="416"/>
                </a:lnTo>
                <a:lnTo>
                  <a:pt x="97" y="419"/>
                </a:lnTo>
                <a:lnTo>
                  <a:pt x="97" y="422"/>
                </a:lnTo>
                <a:lnTo>
                  <a:pt x="100" y="419"/>
                </a:lnTo>
                <a:lnTo>
                  <a:pt x="103" y="422"/>
                </a:lnTo>
                <a:lnTo>
                  <a:pt x="106" y="419"/>
                </a:lnTo>
                <a:lnTo>
                  <a:pt x="106" y="419"/>
                </a:lnTo>
                <a:lnTo>
                  <a:pt x="103" y="413"/>
                </a:lnTo>
                <a:lnTo>
                  <a:pt x="103" y="407"/>
                </a:lnTo>
                <a:lnTo>
                  <a:pt x="103" y="407"/>
                </a:lnTo>
                <a:lnTo>
                  <a:pt x="106" y="407"/>
                </a:lnTo>
                <a:lnTo>
                  <a:pt x="106" y="410"/>
                </a:lnTo>
                <a:lnTo>
                  <a:pt x="106" y="410"/>
                </a:lnTo>
                <a:lnTo>
                  <a:pt x="109" y="413"/>
                </a:lnTo>
                <a:lnTo>
                  <a:pt x="109" y="419"/>
                </a:lnTo>
                <a:lnTo>
                  <a:pt x="109" y="422"/>
                </a:lnTo>
                <a:lnTo>
                  <a:pt x="109" y="425"/>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6" name="Freeform 14">
            <a:extLst>
              <a:ext uri="{FF2B5EF4-FFF2-40B4-BE49-F238E27FC236}">
                <a16:creationId xmlns:a16="http://schemas.microsoft.com/office/drawing/2014/main" id="{1A8A1D07-9C66-0A52-D040-150281481D98}"/>
              </a:ext>
            </a:extLst>
          </p:cNvPr>
          <p:cNvSpPr>
            <a:spLocks noEditPoints="1"/>
          </p:cNvSpPr>
          <p:nvPr userDrawn="1"/>
        </p:nvSpPr>
        <p:spPr bwMode="auto">
          <a:xfrm>
            <a:off x="20731398" y="6574706"/>
            <a:ext cx="285731" cy="457200"/>
          </a:xfrm>
          <a:custGeom>
            <a:avLst/>
            <a:gdLst>
              <a:gd name="T0" fmla="*/ 56 w 90"/>
              <a:gd name="T1" fmla="*/ 104 h 144"/>
              <a:gd name="T2" fmla="*/ 56 w 90"/>
              <a:gd name="T3" fmla="*/ 107 h 144"/>
              <a:gd name="T4" fmla="*/ 56 w 90"/>
              <a:gd name="T5" fmla="*/ 104 h 144"/>
              <a:gd name="T6" fmla="*/ 25 w 90"/>
              <a:gd name="T7" fmla="*/ 116 h 144"/>
              <a:gd name="T8" fmla="*/ 28 w 90"/>
              <a:gd name="T9" fmla="*/ 113 h 144"/>
              <a:gd name="T10" fmla="*/ 31 w 90"/>
              <a:gd name="T11" fmla="*/ 113 h 144"/>
              <a:gd name="T12" fmla="*/ 28 w 90"/>
              <a:gd name="T13" fmla="*/ 116 h 144"/>
              <a:gd name="T14" fmla="*/ 28 w 90"/>
              <a:gd name="T15" fmla="*/ 119 h 144"/>
              <a:gd name="T16" fmla="*/ 68 w 90"/>
              <a:gd name="T17" fmla="*/ 100 h 144"/>
              <a:gd name="T18" fmla="*/ 72 w 90"/>
              <a:gd name="T19" fmla="*/ 104 h 144"/>
              <a:gd name="T20" fmla="*/ 75 w 90"/>
              <a:gd name="T21" fmla="*/ 100 h 144"/>
              <a:gd name="T22" fmla="*/ 72 w 90"/>
              <a:gd name="T23" fmla="*/ 97 h 144"/>
              <a:gd name="T24" fmla="*/ 84 w 90"/>
              <a:gd name="T25" fmla="*/ 122 h 144"/>
              <a:gd name="T26" fmla="*/ 87 w 90"/>
              <a:gd name="T27" fmla="*/ 119 h 144"/>
              <a:gd name="T28" fmla="*/ 87 w 90"/>
              <a:gd name="T29" fmla="*/ 119 h 144"/>
              <a:gd name="T30" fmla="*/ 84 w 90"/>
              <a:gd name="T31" fmla="*/ 122 h 144"/>
              <a:gd name="T32" fmla="*/ 87 w 90"/>
              <a:gd name="T33" fmla="*/ 113 h 144"/>
              <a:gd name="T34" fmla="*/ 87 w 90"/>
              <a:gd name="T35" fmla="*/ 113 h 144"/>
              <a:gd name="T36" fmla="*/ 87 w 90"/>
              <a:gd name="T37" fmla="*/ 107 h 144"/>
              <a:gd name="T38" fmla="*/ 90 w 90"/>
              <a:gd name="T39" fmla="*/ 107 h 144"/>
              <a:gd name="T40" fmla="*/ 87 w 90"/>
              <a:gd name="T41" fmla="*/ 113 h 144"/>
              <a:gd name="T42" fmla="*/ 34 w 90"/>
              <a:gd name="T43" fmla="*/ 144 h 144"/>
              <a:gd name="T44" fmla="*/ 34 w 90"/>
              <a:gd name="T45" fmla="*/ 138 h 144"/>
              <a:gd name="T46" fmla="*/ 47 w 90"/>
              <a:gd name="T47" fmla="*/ 135 h 144"/>
              <a:gd name="T48" fmla="*/ 43 w 90"/>
              <a:gd name="T49" fmla="*/ 144 h 144"/>
              <a:gd name="T50" fmla="*/ 34 w 90"/>
              <a:gd name="T51" fmla="*/ 144 h 144"/>
              <a:gd name="T52" fmla="*/ 0 w 90"/>
              <a:gd name="T53" fmla="*/ 25 h 144"/>
              <a:gd name="T54" fmla="*/ 6 w 90"/>
              <a:gd name="T55" fmla="*/ 25 h 144"/>
              <a:gd name="T56" fmla="*/ 9 w 90"/>
              <a:gd name="T57" fmla="*/ 25 h 144"/>
              <a:gd name="T58" fmla="*/ 22 w 90"/>
              <a:gd name="T59" fmla="*/ 41 h 144"/>
              <a:gd name="T60" fmla="*/ 22 w 90"/>
              <a:gd name="T61" fmla="*/ 41 h 144"/>
              <a:gd name="T62" fmla="*/ 28 w 90"/>
              <a:gd name="T63" fmla="*/ 50 h 144"/>
              <a:gd name="T64" fmla="*/ 18 w 90"/>
              <a:gd name="T65" fmla="*/ 44 h 144"/>
              <a:gd name="T66" fmla="*/ 15 w 90"/>
              <a:gd name="T67" fmla="*/ 47 h 144"/>
              <a:gd name="T68" fmla="*/ 18 w 90"/>
              <a:gd name="T69" fmla="*/ 57 h 144"/>
              <a:gd name="T70" fmla="*/ 25 w 90"/>
              <a:gd name="T71" fmla="*/ 63 h 144"/>
              <a:gd name="T72" fmla="*/ 25 w 90"/>
              <a:gd name="T73" fmla="*/ 72 h 144"/>
              <a:gd name="T74" fmla="*/ 31 w 90"/>
              <a:gd name="T75" fmla="*/ 75 h 144"/>
              <a:gd name="T76" fmla="*/ 25 w 90"/>
              <a:gd name="T77" fmla="*/ 82 h 144"/>
              <a:gd name="T78" fmla="*/ 28 w 90"/>
              <a:gd name="T79" fmla="*/ 88 h 144"/>
              <a:gd name="T80" fmla="*/ 25 w 90"/>
              <a:gd name="T81" fmla="*/ 94 h 144"/>
              <a:gd name="T82" fmla="*/ 25 w 90"/>
              <a:gd name="T83" fmla="*/ 97 h 144"/>
              <a:gd name="T84" fmla="*/ 31 w 90"/>
              <a:gd name="T85" fmla="*/ 107 h 144"/>
              <a:gd name="T86" fmla="*/ 34 w 90"/>
              <a:gd name="T87" fmla="*/ 113 h 144"/>
              <a:gd name="T88" fmla="*/ 37 w 90"/>
              <a:gd name="T89" fmla="*/ 113 h 144"/>
              <a:gd name="T90" fmla="*/ 40 w 90"/>
              <a:gd name="T91" fmla="*/ 110 h 144"/>
              <a:gd name="T92" fmla="*/ 50 w 90"/>
              <a:gd name="T93" fmla="*/ 100 h 144"/>
              <a:gd name="T94" fmla="*/ 56 w 90"/>
              <a:gd name="T95" fmla="*/ 100 h 144"/>
              <a:gd name="T96" fmla="*/ 59 w 90"/>
              <a:gd name="T97" fmla="*/ 97 h 144"/>
              <a:gd name="T98" fmla="*/ 65 w 90"/>
              <a:gd name="T99" fmla="*/ 100 h 144"/>
              <a:gd name="T100" fmla="*/ 68 w 90"/>
              <a:gd name="T101" fmla="*/ 100 h 144"/>
              <a:gd name="T102" fmla="*/ 72 w 90"/>
              <a:gd name="T103" fmla="*/ 94 h 144"/>
              <a:gd name="T104" fmla="*/ 81 w 90"/>
              <a:gd name="T105" fmla="*/ 88 h 144"/>
              <a:gd name="T106" fmla="*/ 84 w 90"/>
              <a:gd name="T107" fmla="*/ 85 h 144"/>
              <a:gd name="T108" fmla="*/ 81 w 90"/>
              <a:gd name="T109" fmla="*/ 69 h 144"/>
              <a:gd name="T110" fmla="*/ 78 w 90"/>
              <a:gd name="T111" fmla="*/ 66 h 144"/>
              <a:gd name="T112" fmla="*/ 75 w 90"/>
              <a:gd name="T113" fmla="*/ 50 h 144"/>
              <a:gd name="T114" fmla="*/ 62 w 90"/>
              <a:gd name="T115" fmla="*/ 25 h 144"/>
              <a:gd name="T116" fmla="*/ 43 w 90"/>
              <a:gd name="T117" fmla="*/ 0 h 144"/>
              <a:gd name="T118" fmla="*/ 22 w 90"/>
              <a:gd name="T119" fmla="*/ 7 h 144"/>
              <a:gd name="T120" fmla="*/ 9 w 90"/>
              <a:gd name="T121" fmla="*/ 16 h 144"/>
              <a:gd name="T122" fmla="*/ 0 w 90"/>
              <a:gd name="T123" fmla="*/ 2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 h="144">
                <a:moveTo>
                  <a:pt x="56" y="104"/>
                </a:moveTo>
                <a:lnTo>
                  <a:pt x="56" y="104"/>
                </a:lnTo>
                <a:lnTo>
                  <a:pt x="59" y="104"/>
                </a:lnTo>
                <a:lnTo>
                  <a:pt x="56" y="107"/>
                </a:lnTo>
                <a:lnTo>
                  <a:pt x="56" y="104"/>
                </a:lnTo>
                <a:lnTo>
                  <a:pt x="56" y="104"/>
                </a:lnTo>
                <a:close/>
                <a:moveTo>
                  <a:pt x="28" y="119"/>
                </a:moveTo>
                <a:lnTo>
                  <a:pt x="25" y="116"/>
                </a:lnTo>
                <a:lnTo>
                  <a:pt x="28" y="113"/>
                </a:lnTo>
                <a:lnTo>
                  <a:pt x="28" y="113"/>
                </a:lnTo>
                <a:lnTo>
                  <a:pt x="28" y="110"/>
                </a:lnTo>
                <a:lnTo>
                  <a:pt x="31" y="113"/>
                </a:lnTo>
                <a:lnTo>
                  <a:pt x="31" y="116"/>
                </a:lnTo>
                <a:lnTo>
                  <a:pt x="28" y="116"/>
                </a:lnTo>
                <a:lnTo>
                  <a:pt x="28" y="119"/>
                </a:lnTo>
                <a:lnTo>
                  <a:pt x="28" y="119"/>
                </a:lnTo>
                <a:close/>
                <a:moveTo>
                  <a:pt x="72" y="97"/>
                </a:moveTo>
                <a:lnTo>
                  <a:pt x="68" y="100"/>
                </a:lnTo>
                <a:lnTo>
                  <a:pt x="68" y="100"/>
                </a:lnTo>
                <a:lnTo>
                  <a:pt x="72" y="104"/>
                </a:lnTo>
                <a:lnTo>
                  <a:pt x="72" y="104"/>
                </a:lnTo>
                <a:lnTo>
                  <a:pt x="75" y="100"/>
                </a:lnTo>
                <a:lnTo>
                  <a:pt x="75" y="97"/>
                </a:lnTo>
                <a:lnTo>
                  <a:pt x="72" y="97"/>
                </a:lnTo>
                <a:lnTo>
                  <a:pt x="72" y="97"/>
                </a:lnTo>
                <a:close/>
                <a:moveTo>
                  <a:pt x="84" y="122"/>
                </a:moveTo>
                <a:lnTo>
                  <a:pt x="84" y="119"/>
                </a:lnTo>
                <a:lnTo>
                  <a:pt x="87" y="119"/>
                </a:lnTo>
                <a:lnTo>
                  <a:pt x="90" y="119"/>
                </a:lnTo>
                <a:lnTo>
                  <a:pt x="87" y="119"/>
                </a:lnTo>
                <a:lnTo>
                  <a:pt x="87" y="122"/>
                </a:lnTo>
                <a:lnTo>
                  <a:pt x="84" y="122"/>
                </a:lnTo>
                <a:lnTo>
                  <a:pt x="84" y="122"/>
                </a:lnTo>
                <a:close/>
                <a:moveTo>
                  <a:pt x="87" y="113"/>
                </a:moveTo>
                <a:lnTo>
                  <a:pt x="87" y="116"/>
                </a:lnTo>
                <a:lnTo>
                  <a:pt x="87" y="113"/>
                </a:lnTo>
                <a:lnTo>
                  <a:pt x="87" y="110"/>
                </a:lnTo>
                <a:lnTo>
                  <a:pt x="87" y="107"/>
                </a:lnTo>
                <a:lnTo>
                  <a:pt x="90" y="107"/>
                </a:lnTo>
                <a:lnTo>
                  <a:pt x="90" y="107"/>
                </a:lnTo>
                <a:lnTo>
                  <a:pt x="90" y="110"/>
                </a:lnTo>
                <a:lnTo>
                  <a:pt x="87" y="113"/>
                </a:lnTo>
                <a:lnTo>
                  <a:pt x="87" y="113"/>
                </a:lnTo>
                <a:close/>
                <a:moveTo>
                  <a:pt x="34" y="144"/>
                </a:moveTo>
                <a:lnTo>
                  <a:pt x="31" y="141"/>
                </a:lnTo>
                <a:lnTo>
                  <a:pt x="34" y="138"/>
                </a:lnTo>
                <a:lnTo>
                  <a:pt x="43" y="135"/>
                </a:lnTo>
                <a:lnTo>
                  <a:pt x="47" y="135"/>
                </a:lnTo>
                <a:lnTo>
                  <a:pt x="47" y="138"/>
                </a:lnTo>
                <a:lnTo>
                  <a:pt x="43" y="144"/>
                </a:lnTo>
                <a:lnTo>
                  <a:pt x="37" y="144"/>
                </a:lnTo>
                <a:lnTo>
                  <a:pt x="34" y="144"/>
                </a:lnTo>
                <a:lnTo>
                  <a:pt x="34" y="144"/>
                </a:lnTo>
                <a:close/>
                <a:moveTo>
                  <a:pt x="0" y="25"/>
                </a:moveTo>
                <a:lnTo>
                  <a:pt x="3" y="25"/>
                </a:lnTo>
                <a:lnTo>
                  <a:pt x="6" y="25"/>
                </a:lnTo>
                <a:lnTo>
                  <a:pt x="12" y="25"/>
                </a:lnTo>
                <a:lnTo>
                  <a:pt x="9" y="25"/>
                </a:lnTo>
                <a:lnTo>
                  <a:pt x="15" y="32"/>
                </a:lnTo>
                <a:lnTo>
                  <a:pt x="22" y="41"/>
                </a:lnTo>
                <a:lnTo>
                  <a:pt x="25" y="41"/>
                </a:lnTo>
                <a:lnTo>
                  <a:pt x="22" y="41"/>
                </a:lnTo>
                <a:lnTo>
                  <a:pt x="25" y="47"/>
                </a:lnTo>
                <a:lnTo>
                  <a:pt x="28" y="50"/>
                </a:lnTo>
                <a:lnTo>
                  <a:pt x="22" y="47"/>
                </a:lnTo>
                <a:lnTo>
                  <a:pt x="18" y="44"/>
                </a:lnTo>
                <a:lnTo>
                  <a:pt x="18" y="50"/>
                </a:lnTo>
                <a:lnTo>
                  <a:pt x="15" y="47"/>
                </a:lnTo>
                <a:lnTo>
                  <a:pt x="12" y="53"/>
                </a:lnTo>
                <a:lnTo>
                  <a:pt x="18" y="57"/>
                </a:lnTo>
                <a:lnTo>
                  <a:pt x="22" y="57"/>
                </a:lnTo>
                <a:lnTo>
                  <a:pt x="25" y="63"/>
                </a:lnTo>
                <a:lnTo>
                  <a:pt x="25" y="69"/>
                </a:lnTo>
                <a:lnTo>
                  <a:pt x="25" y="72"/>
                </a:lnTo>
                <a:lnTo>
                  <a:pt x="28" y="69"/>
                </a:lnTo>
                <a:lnTo>
                  <a:pt x="31" y="75"/>
                </a:lnTo>
                <a:lnTo>
                  <a:pt x="25" y="82"/>
                </a:lnTo>
                <a:lnTo>
                  <a:pt x="25" y="82"/>
                </a:lnTo>
                <a:lnTo>
                  <a:pt x="28" y="85"/>
                </a:lnTo>
                <a:lnTo>
                  <a:pt x="28" y="88"/>
                </a:lnTo>
                <a:lnTo>
                  <a:pt x="25" y="91"/>
                </a:lnTo>
                <a:lnTo>
                  <a:pt x="25" y="94"/>
                </a:lnTo>
                <a:lnTo>
                  <a:pt x="28" y="97"/>
                </a:lnTo>
                <a:lnTo>
                  <a:pt x="25" y="97"/>
                </a:lnTo>
                <a:lnTo>
                  <a:pt x="28" y="107"/>
                </a:lnTo>
                <a:lnTo>
                  <a:pt x="31" y="107"/>
                </a:lnTo>
                <a:lnTo>
                  <a:pt x="34" y="113"/>
                </a:lnTo>
                <a:lnTo>
                  <a:pt x="34" y="113"/>
                </a:lnTo>
                <a:lnTo>
                  <a:pt x="34" y="116"/>
                </a:lnTo>
                <a:lnTo>
                  <a:pt x="37" y="113"/>
                </a:lnTo>
                <a:lnTo>
                  <a:pt x="37" y="110"/>
                </a:lnTo>
                <a:lnTo>
                  <a:pt x="40" y="110"/>
                </a:lnTo>
                <a:lnTo>
                  <a:pt x="40" y="107"/>
                </a:lnTo>
                <a:lnTo>
                  <a:pt x="50" y="100"/>
                </a:lnTo>
                <a:lnTo>
                  <a:pt x="53" y="100"/>
                </a:lnTo>
                <a:lnTo>
                  <a:pt x="56" y="100"/>
                </a:lnTo>
                <a:lnTo>
                  <a:pt x="56" y="97"/>
                </a:lnTo>
                <a:lnTo>
                  <a:pt x="59" y="97"/>
                </a:lnTo>
                <a:lnTo>
                  <a:pt x="62" y="100"/>
                </a:lnTo>
                <a:lnTo>
                  <a:pt x="65" y="100"/>
                </a:lnTo>
                <a:lnTo>
                  <a:pt x="65" y="104"/>
                </a:lnTo>
                <a:lnTo>
                  <a:pt x="68" y="100"/>
                </a:lnTo>
                <a:lnTo>
                  <a:pt x="65" y="97"/>
                </a:lnTo>
                <a:lnTo>
                  <a:pt x="72" y="94"/>
                </a:lnTo>
                <a:lnTo>
                  <a:pt x="75" y="94"/>
                </a:lnTo>
                <a:lnTo>
                  <a:pt x="81" y="88"/>
                </a:lnTo>
                <a:lnTo>
                  <a:pt x="81" y="85"/>
                </a:lnTo>
                <a:lnTo>
                  <a:pt x="84" y="85"/>
                </a:lnTo>
                <a:lnTo>
                  <a:pt x="81" y="69"/>
                </a:lnTo>
                <a:lnTo>
                  <a:pt x="81" y="69"/>
                </a:lnTo>
                <a:lnTo>
                  <a:pt x="78" y="69"/>
                </a:lnTo>
                <a:lnTo>
                  <a:pt x="78" y="66"/>
                </a:lnTo>
                <a:lnTo>
                  <a:pt x="78" y="53"/>
                </a:lnTo>
                <a:lnTo>
                  <a:pt x="75" y="50"/>
                </a:lnTo>
                <a:lnTo>
                  <a:pt x="72" y="41"/>
                </a:lnTo>
                <a:lnTo>
                  <a:pt x="62" y="25"/>
                </a:lnTo>
                <a:lnTo>
                  <a:pt x="50" y="16"/>
                </a:lnTo>
                <a:lnTo>
                  <a:pt x="43" y="0"/>
                </a:lnTo>
                <a:lnTo>
                  <a:pt x="37" y="7"/>
                </a:lnTo>
                <a:lnTo>
                  <a:pt x="22" y="7"/>
                </a:lnTo>
                <a:lnTo>
                  <a:pt x="15" y="13"/>
                </a:lnTo>
                <a:lnTo>
                  <a:pt x="9" y="16"/>
                </a:lnTo>
                <a:lnTo>
                  <a:pt x="3" y="22"/>
                </a:lnTo>
                <a:lnTo>
                  <a:pt x="0" y="25"/>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7" name="Freeform 15">
            <a:extLst>
              <a:ext uri="{FF2B5EF4-FFF2-40B4-BE49-F238E27FC236}">
                <a16:creationId xmlns:a16="http://schemas.microsoft.com/office/drawing/2014/main" id="{C51C7726-1763-F382-FEC0-1058CB1DDA60}"/>
              </a:ext>
            </a:extLst>
          </p:cNvPr>
          <p:cNvSpPr>
            <a:spLocks/>
          </p:cNvSpPr>
          <p:nvPr userDrawn="1"/>
        </p:nvSpPr>
        <p:spPr bwMode="auto">
          <a:xfrm>
            <a:off x="20610757" y="6168306"/>
            <a:ext cx="298431" cy="508000"/>
          </a:xfrm>
          <a:custGeom>
            <a:avLst/>
            <a:gdLst>
              <a:gd name="T0" fmla="*/ 0 w 94"/>
              <a:gd name="T1" fmla="*/ 88 h 160"/>
              <a:gd name="T2" fmla="*/ 6 w 94"/>
              <a:gd name="T3" fmla="*/ 78 h 160"/>
              <a:gd name="T4" fmla="*/ 13 w 94"/>
              <a:gd name="T5" fmla="*/ 72 h 160"/>
              <a:gd name="T6" fmla="*/ 19 w 94"/>
              <a:gd name="T7" fmla="*/ 63 h 160"/>
              <a:gd name="T8" fmla="*/ 22 w 94"/>
              <a:gd name="T9" fmla="*/ 50 h 160"/>
              <a:gd name="T10" fmla="*/ 22 w 94"/>
              <a:gd name="T11" fmla="*/ 41 h 160"/>
              <a:gd name="T12" fmla="*/ 31 w 94"/>
              <a:gd name="T13" fmla="*/ 44 h 160"/>
              <a:gd name="T14" fmla="*/ 38 w 94"/>
              <a:gd name="T15" fmla="*/ 47 h 160"/>
              <a:gd name="T16" fmla="*/ 44 w 94"/>
              <a:gd name="T17" fmla="*/ 47 h 160"/>
              <a:gd name="T18" fmla="*/ 56 w 94"/>
              <a:gd name="T19" fmla="*/ 47 h 160"/>
              <a:gd name="T20" fmla="*/ 60 w 94"/>
              <a:gd name="T21" fmla="*/ 41 h 160"/>
              <a:gd name="T22" fmla="*/ 50 w 94"/>
              <a:gd name="T23" fmla="*/ 31 h 160"/>
              <a:gd name="T24" fmla="*/ 60 w 94"/>
              <a:gd name="T25" fmla="*/ 28 h 160"/>
              <a:gd name="T26" fmla="*/ 66 w 94"/>
              <a:gd name="T27" fmla="*/ 19 h 160"/>
              <a:gd name="T28" fmla="*/ 75 w 94"/>
              <a:gd name="T29" fmla="*/ 16 h 160"/>
              <a:gd name="T30" fmla="*/ 75 w 94"/>
              <a:gd name="T31" fmla="*/ 6 h 160"/>
              <a:gd name="T32" fmla="*/ 75 w 94"/>
              <a:gd name="T33" fmla="*/ 0 h 160"/>
              <a:gd name="T34" fmla="*/ 81 w 94"/>
              <a:gd name="T35" fmla="*/ 0 h 160"/>
              <a:gd name="T36" fmla="*/ 81 w 94"/>
              <a:gd name="T37" fmla="*/ 6 h 160"/>
              <a:gd name="T38" fmla="*/ 94 w 94"/>
              <a:gd name="T39" fmla="*/ 16 h 160"/>
              <a:gd name="T40" fmla="*/ 85 w 94"/>
              <a:gd name="T41" fmla="*/ 22 h 160"/>
              <a:gd name="T42" fmla="*/ 81 w 94"/>
              <a:gd name="T43" fmla="*/ 25 h 160"/>
              <a:gd name="T44" fmla="*/ 81 w 94"/>
              <a:gd name="T45" fmla="*/ 41 h 160"/>
              <a:gd name="T46" fmla="*/ 85 w 94"/>
              <a:gd name="T47" fmla="*/ 56 h 160"/>
              <a:gd name="T48" fmla="*/ 88 w 94"/>
              <a:gd name="T49" fmla="*/ 63 h 160"/>
              <a:gd name="T50" fmla="*/ 81 w 94"/>
              <a:gd name="T51" fmla="*/ 69 h 160"/>
              <a:gd name="T52" fmla="*/ 72 w 94"/>
              <a:gd name="T53" fmla="*/ 81 h 160"/>
              <a:gd name="T54" fmla="*/ 69 w 94"/>
              <a:gd name="T55" fmla="*/ 84 h 160"/>
              <a:gd name="T56" fmla="*/ 63 w 94"/>
              <a:gd name="T57" fmla="*/ 88 h 160"/>
              <a:gd name="T58" fmla="*/ 56 w 94"/>
              <a:gd name="T59" fmla="*/ 97 h 160"/>
              <a:gd name="T60" fmla="*/ 56 w 94"/>
              <a:gd name="T61" fmla="*/ 106 h 160"/>
              <a:gd name="T62" fmla="*/ 56 w 94"/>
              <a:gd name="T63" fmla="*/ 113 h 160"/>
              <a:gd name="T64" fmla="*/ 66 w 94"/>
              <a:gd name="T65" fmla="*/ 116 h 160"/>
              <a:gd name="T66" fmla="*/ 81 w 94"/>
              <a:gd name="T67" fmla="*/ 128 h 160"/>
              <a:gd name="T68" fmla="*/ 60 w 94"/>
              <a:gd name="T69" fmla="*/ 135 h 160"/>
              <a:gd name="T70" fmla="*/ 47 w 94"/>
              <a:gd name="T71" fmla="*/ 144 h 160"/>
              <a:gd name="T72" fmla="*/ 38 w 94"/>
              <a:gd name="T73" fmla="*/ 153 h 160"/>
              <a:gd name="T74" fmla="*/ 31 w 94"/>
              <a:gd name="T75" fmla="*/ 150 h 160"/>
              <a:gd name="T76" fmla="*/ 31 w 94"/>
              <a:gd name="T77" fmla="*/ 156 h 160"/>
              <a:gd name="T78" fmla="*/ 25 w 94"/>
              <a:gd name="T79" fmla="*/ 160 h 160"/>
              <a:gd name="T80" fmla="*/ 25 w 94"/>
              <a:gd name="T81" fmla="*/ 150 h 160"/>
              <a:gd name="T82" fmla="*/ 19 w 94"/>
              <a:gd name="T83" fmla="*/ 150 h 160"/>
              <a:gd name="T84" fmla="*/ 16 w 94"/>
              <a:gd name="T85" fmla="*/ 147 h 160"/>
              <a:gd name="T86" fmla="*/ 19 w 94"/>
              <a:gd name="T87" fmla="*/ 135 h 160"/>
              <a:gd name="T88" fmla="*/ 28 w 94"/>
              <a:gd name="T89" fmla="*/ 128 h 160"/>
              <a:gd name="T90" fmla="*/ 19 w 94"/>
              <a:gd name="T91" fmla="*/ 131 h 160"/>
              <a:gd name="T92" fmla="*/ 16 w 94"/>
              <a:gd name="T93" fmla="*/ 119 h 160"/>
              <a:gd name="T94" fmla="*/ 19 w 94"/>
              <a:gd name="T95" fmla="*/ 110 h 160"/>
              <a:gd name="T96" fmla="*/ 22 w 94"/>
              <a:gd name="T97" fmla="*/ 103 h 160"/>
              <a:gd name="T98" fmla="*/ 19 w 94"/>
              <a:gd name="T99" fmla="*/ 106 h 160"/>
              <a:gd name="T100" fmla="*/ 10 w 94"/>
              <a:gd name="T101" fmla="*/ 103 h 160"/>
              <a:gd name="T102" fmla="*/ 6 w 94"/>
              <a:gd name="T103" fmla="*/ 106 h 160"/>
              <a:gd name="T104" fmla="*/ 0 w 94"/>
              <a:gd name="T105" fmla="*/ 100 h 160"/>
              <a:gd name="T106" fmla="*/ 0 w 94"/>
              <a:gd name="T107" fmla="*/ 10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4" h="160">
                <a:moveTo>
                  <a:pt x="0" y="100"/>
                </a:moveTo>
                <a:lnTo>
                  <a:pt x="0" y="88"/>
                </a:lnTo>
                <a:lnTo>
                  <a:pt x="3" y="84"/>
                </a:lnTo>
                <a:lnTo>
                  <a:pt x="6" y="78"/>
                </a:lnTo>
                <a:lnTo>
                  <a:pt x="6" y="75"/>
                </a:lnTo>
                <a:lnTo>
                  <a:pt x="13" y="72"/>
                </a:lnTo>
                <a:lnTo>
                  <a:pt x="16" y="66"/>
                </a:lnTo>
                <a:lnTo>
                  <a:pt x="19" y="63"/>
                </a:lnTo>
                <a:lnTo>
                  <a:pt x="22" y="53"/>
                </a:lnTo>
                <a:lnTo>
                  <a:pt x="22" y="50"/>
                </a:lnTo>
                <a:lnTo>
                  <a:pt x="22" y="50"/>
                </a:lnTo>
                <a:lnTo>
                  <a:pt x="22" y="41"/>
                </a:lnTo>
                <a:lnTo>
                  <a:pt x="28" y="38"/>
                </a:lnTo>
                <a:lnTo>
                  <a:pt x="31" y="44"/>
                </a:lnTo>
                <a:lnTo>
                  <a:pt x="35" y="44"/>
                </a:lnTo>
                <a:lnTo>
                  <a:pt x="38" y="47"/>
                </a:lnTo>
                <a:lnTo>
                  <a:pt x="41" y="47"/>
                </a:lnTo>
                <a:lnTo>
                  <a:pt x="44" y="47"/>
                </a:lnTo>
                <a:lnTo>
                  <a:pt x="53" y="47"/>
                </a:lnTo>
                <a:lnTo>
                  <a:pt x="56" y="47"/>
                </a:lnTo>
                <a:lnTo>
                  <a:pt x="60" y="44"/>
                </a:lnTo>
                <a:lnTo>
                  <a:pt x="60" y="41"/>
                </a:lnTo>
                <a:lnTo>
                  <a:pt x="56" y="34"/>
                </a:lnTo>
                <a:lnTo>
                  <a:pt x="50" y="31"/>
                </a:lnTo>
                <a:lnTo>
                  <a:pt x="53" y="31"/>
                </a:lnTo>
                <a:lnTo>
                  <a:pt x="60" y="28"/>
                </a:lnTo>
                <a:lnTo>
                  <a:pt x="66" y="22"/>
                </a:lnTo>
                <a:lnTo>
                  <a:pt x="66" y="19"/>
                </a:lnTo>
                <a:lnTo>
                  <a:pt x="69" y="16"/>
                </a:lnTo>
                <a:lnTo>
                  <a:pt x="75" y="16"/>
                </a:lnTo>
                <a:lnTo>
                  <a:pt x="75" y="9"/>
                </a:lnTo>
                <a:lnTo>
                  <a:pt x="75" y="6"/>
                </a:lnTo>
                <a:lnTo>
                  <a:pt x="75" y="3"/>
                </a:lnTo>
                <a:lnTo>
                  <a:pt x="75" y="0"/>
                </a:lnTo>
                <a:lnTo>
                  <a:pt x="78" y="0"/>
                </a:lnTo>
                <a:lnTo>
                  <a:pt x="81" y="0"/>
                </a:lnTo>
                <a:lnTo>
                  <a:pt x="81" y="6"/>
                </a:lnTo>
                <a:lnTo>
                  <a:pt x="81" y="6"/>
                </a:lnTo>
                <a:lnTo>
                  <a:pt x="88" y="9"/>
                </a:lnTo>
                <a:lnTo>
                  <a:pt x="94" y="16"/>
                </a:lnTo>
                <a:lnTo>
                  <a:pt x="91" y="16"/>
                </a:lnTo>
                <a:lnTo>
                  <a:pt x="85" y="22"/>
                </a:lnTo>
                <a:lnTo>
                  <a:pt x="85" y="22"/>
                </a:lnTo>
                <a:lnTo>
                  <a:pt x="81" y="25"/>
                </a:lnTo>
                <a:lnTo>
                  <a:pt x="81" y="38"/>
                </a:lnTo>
                <a:lnTo>
                  <a:pt x="81" y="41"/>
                </a:lnTo>
                <a:lnTo>
                  <a:pt x="85" y="44"/>
                </a:lnTo>
                <a:lnTo>
                  <a:pt x="85" y="56"/>
                </a:lnTo>
                <a:lnTo>
                  <a:pt x="88" y="56"/>
                </a:lnTo>
                <a:lnTo>
                  <a:pt x="88" y="63"/>
                </a:lnTo>
                <a:lnTo>
                  <a:pt x="81" y="66"/>
                </a:lnTo>
                <a:lnTo>
                  <a:pt x="81" y="69"/>
                </a:lnTo>
                <a:lnTo>
                  <a:pt x="72" y="78"/>
                </a:lnTo>
                <a:lnTo>
                  <a:pt x="72" y="81"/>
                </a:lnTo>
                <a:lnTo>
                  <a:pt x="72" y="84"/>
                </a:lnTo>
                <a:lnTo>
                  <a:pt x="69" y="84"/>
                </a:lnTo>
                <a:lnTo>
                  <a:pt x="66" y="84"/>
                </a:lnTo>
                <a:lnTo>
                  <a:pt x="63" y="88"/>
                </a:lnTo>
                <a:lnTo>
                  <a:pt x="60" y="94"/>
                </a:lnTo>
                <a:lnTo>
                  <a:pt x="56" y="97"/>
                </a:lnTo>
                <a:lnTo>
                  <a:pt x="56" y="100"/>
                </a:lnTo>
                <a:lnTo>
                  <a:pt x="56" y="106"/>
                </a:lnTo>
                <a:lnTo>
                  <a:pt x="53" y="106"/>
                </a:lnTo>
                <a:lnTo>
                  <a:pt x="56" y="113"/>
                </a:lnTo>
                <a:lnTo>
                  <a:pt x="63" y="113"/>
                </a:lnTo>
                <a:lnTo>
                  <a:pt x="66" y="116"/>
                </a:lnTo>
                <a:lnTo>
                  <a:pt x="78" y="125"/>
                </a:lnTo>
                <a:lnTo>
                  <a:pt x="81" y="128"/>
                </a:lnTo>
                <a:lnTo>
                  <a:pt x="75" y="135"/>
                </a:lnTo>
                <a:lnTo>
                  <a:pt x="60" y="135"/>
                </a:lnTo>
                <a:lnTo>
                  <a:pt x="53" y="141"/>
                </a:lnTo>
                <a:lnTo>
                  <a:pt x="47" y="144"/>
                </a:lnTo>
                <a:lnTo>
                  <a:pt x="41" y="150"/>
                </a:lnTo>
                <a:lnTo>
                  <a:pt x="38" y="153"/>
                </a:lnTo>
                <a:lnTo>
                  <a:pt x="35" y="150"/>
                </a:lnTo>
                <a:lnTo>
                  <a:pt x="31" y="150"/>
                </a:lnTo>
                <a:lnTo>
                  <a:pt x="35" y="153"/>
                </a:lnTo>
                <a:lnTo>
                  <a:pt x="31" y="156"/>
                </a:lnTo>
                <a:lnTo>
                  <a:pt x="28" y="156"/>
                </a:lnTo>
                <a:lnTo>
                  <a:pt x="25" y="160"/>
                </a:lnTo>
                <a:lnTo>
                  <a:pt x="22" y="156"/>
                </a:lnTo>
                <a:lnTo>
                  <a:pt x="25" y="150"/>
                </a:lnTo>
                <a:lnTo>
                  <a:pt x="22" y="150"/>
                </a:lnTo>
                <a:lnTo>
                  <a:pt x="19" y="150"/>
                </a:lnTo>
                <a:lnTo>
                  <a:pt x="16" y="150"/>
                </a:lnTo>
                <a:lnTo>
                  <a:pt x="16" y="147"/>
                </a:lnTo>
                <a:lnTo>
                  <a:pt x="19" y="138"/>
                </a:lnTo>
                <a:lnTo>
                  <a:pt x="19" y="135"/>
                </a:lnTo>
                <a:lnTo>
                  <a:pt x="25" y="135"/>
                </a:lnTo>
                <a:lnTo>
                  <a:pt x="28" y="128"/>
                </a:lnTo>
                <a:lnTo>
                  <a:pt x="25" y="131"/>
                </a:lnTo>
                <a:lnTo>
                  <a:pt x="19" y="131"/>
                </a:lnTo>
                <a:lnTo>
                  <a:pt x="16" y="128"/>
                </a:lnTo>
                <a:lnTo>
                  <a:pt x="16" y="119"/>
                </a:lnTo>
                <a:lnTo>
                  <a:pt x="22" y="113"/>
                </a:lnTo>
                <a:lnTo>
                  <a:pt x="19" y="110"/>
                </a:lnTo>
                <a:lnTo>
                  <a:pt x="22" y="106"/>
                </a:lnTo>
                <a:lnTo>
                  <a:pt x="22" y="103"/>
                </a:lnTo>
                <a:lnTo>
                  <a:pt x="19" y="103"/>
                </a:lnTo>
                <a:lnTo>
                  <a:pt x="19" y="106"/>
                </a:lnTo>
                <a:lnTo>
                  <a:pt x="13" y="106"/>
                </a:lnTo>
                <a:lnTo>
                  <a:pt x="10" y="103"/>
                </a:lnTo>
                <a:lnTo>
                  <a:pt x="6" y="103"/>
                </a:lnTo>
                <a:lnTo>
                  <a:pt x="6" y="106"/>
                </a:lnTo>
                <a:lnTo>
                  <a:pt x="3" y="106"/>
                </a:lnTo>
                <a:lnTo>
                  <a:pt x="0" y="100"/>
                </a:lnTo>
                <a:lnTo>
                  <a:pt x="0" y="100"/>
                </a:lnTo>
                <a:lnTo>
                  <a:pt x="0" y="10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8" name="Freeform 16">
            <a:extLst>
              <a:ext uri="{FF2B5EF4-FFF2-40B4-BE49-F238E27FC236}">
                <a16:creationId xmlns:a16="http://schemas.microsoft.com/office/drawing/2014/main" id="{55F446EE-7401-7594-6011-35899B8B1C0B}"/>
              </a:ext>
            </a:extLst>
          </p:cNvPr>
          <p:cNvSpPr>
            <a:spLocks/>
          </p:cNvSpPr>
          <p:nvPr userDrawn="1"/>
        </p:nvSpPr>
        <p:spPr bwMode="auto">
          <a:xfrm>
            <a:off x="18210616" y="5501559"/>
            <a:ext cx="1923925" cy="904878"/>
          </a:xfrm>
          <a:custGeom>
            <a:avLst/>
            <a:gdLst>
              <a:gd name="T0" fmla="*/ 19 w 606"/>
              <a:gd name="T1" fmla="*/ 88 h 285"/>
              <a:gd name="T2" fmla="*/ 37 w 606"/>
              <a:gd name="T3" fmla="*/ 69 h 285"/>
              <a:gd name="T4" fmla="*/ 44 w 606"/>
              <a:gd name="T5" fmla="*/ 57 h 285"/>
              <a:gd name="T6" fmla="*/ 69 w 606"/>
              <a:gd name="T7" fmla="*/ 50 h 285"/>
              <a:gd name="T8" fmla="*/ 81 w 606"/>
              <a:gd name="T9" fmla="*/ 54 h 285"/>
              <a:gd name="T10" fmla="*/ 103 w 606"/>
              <a:gd name="T11" fmla="*/ 54 h 285"/>
              <a:gd name="T12" fmla="*/ 128 w 606"/>
              <a:gd name="T13" fmla="*/ 72 h 285"/>
              <a:gd name="T14" fmla="*/ 147 w 606"/>
              <a:gd name="T15" fmla="*/ 69 h 285"/>
              <a:gd name="T16" fmla="*/ 172 w 606"/>
              <a:gd name="T17" fmla="*/ 69 h 285"/>
              <a:gd name="T18" fmla="*/ 178 w 606"/>
              <a:gd name="T19" fmla="*/ 44 h 285"/>
              <a:gd name="T20" fmla="*/ 162 w 606"/>
              <a:gd name="T21" fmla="*/ 22 h 285"/>
              <a:gd name="T22" fmla="*/ 175 w 606"/>
              <a:gd name="T23" fmla="*/ 10 h 285"/>
              <a:gd name="T24" fmla="*/ 190 w 606"/>
              <a:gd name="T25" fmla="*/ 4 h 285"/>
              <a:gd name="T26" fmla="*/ 215 w 606"/>
              <a:gd name="T27" fmla="*/ 10 h 285"/>
              <a:gd name="T28" fmla="*/ 237 w 606"/>
              <a:gd name="T29" fmla="*/ 16 h 285"/>
              <a:gd name="T30" fmla="*/ 247 w 606"/>
              <a:gd name="T31" fmla="*/ 35 h 285"/>
              <a:gd name="T32" fmla="*/ 262 w 606"/>
              <a:gd name="T33" fmla="*/ 47 h 285"/>
              <a:gd name="T34" fmla="*/ 284 w 606"/>
              <a:gd name="T35" fmla="*/ 47 h 285"/>
              <a:gd name="T36" fmla="*/ 309 w 606"/>
              <a:gd name="T37" fmla="*/ 38 h 285"/>
              <a:gd name="T38" fmla="*/ 341 w 606"/>
              <a:gd name="T39" fmla="*/ 47 h 285"/>
              <a:gd name="T40" fmla="*/ 366 w 606"/>
              <a:gd name="T41" fmla="*/ 57 h 285"/>
              <a:gd name="T42" fmla="*/ 394 w 606"/>
              <a:gd name="T43" fmla="*/ 66 h 285"/>
              <a:gd name="T44" fmla="*/ 422 w 606"/>
              <a:gd name="T45" fmla="*/ 66 h 285"/>
              <a:gd name="T46" fmla="*/ 453 w 606"/>
              <a:gd name="T47" fmla="*/ 50 h 285"/>
              <a:gd name="T48" fmla="*/ 469 w 606"/>
              <a:gd name="T49" fmla="*/ 35 h 285"/>
              <a:gd name="T50" fmla="*/ 487 w 606"/>
              <a:gd name="T51" fmla="*/ 25 h 285"/>
              <a:gd name="T52" fmla="*/ 506 w 606"/>
              <a:gd name="T53" fmla="*/ 35 h 285"/>
              <a:gd name="T54" fmla="*/ 522 w 606"/>
              <a:gd name="T55" fmla="*/ 63 h 285"/>
              <a:gd name="T56" fmla="*/ 531 w 606"/>
              <a:gd name="T57" fmla="*/ 97 h 285"/>
              <a:gd name="T58" fmla="*/ 562 w 606"/>
              <a:gd name="T59" fmla="*/ 88 h 285"/>
              <a:gd name="T60" fmla="*/ 591 w 606"/>
              <a:gd name="T61" fmla="*/ 94 h 285"/>
              <a:gd name="T62" fmla="*/ 603 w 606"/>
              <a:gd name="T63" fmla="*/ 119 h 285"/>
              <a:gd name="T64" fmla="*/ 591 w 606"/>
              <a:gd name="T65" fmla="*/ 126 h 285"/>
              <a:gd name="T66" fmla="*/ 566 w 606"/>
              <a:gd name="T67" fmla="*/ 132 h 285"/>
              <a:gd name="T68" fmla="*/ 556 w 606"/>
              <a:gd name="T69" fmla="*/ 141 h 285"/>
              <a:gd name="T70" fmla="*/ 537 w 606"/>
              <a:gd name="T71" fmla="*/ 166 h 285"/>
              <a:gd name="T72" fmla="*/ 516 w 606"/>
              <a:gd name="T73" fmla="*/ 179 h 285"/>
              <a:gd name="T74" fmla="*/ 494 w 606"/>
              <a:gd name="T75" fmla="*/ 182 h 285"/>
              <a:gd name="T76" fmla="*/ 469 w 606"/>
              <a:gd name="T77" fmla="*/ 194 h 285"/>
              <a:gd name="T78" fmla="*/ 484 w 606"/>
              <a:gd name="T79" fmla="*/ 219 h 285"/>
              <a:gd name="T80" fmla="*/ 456 w 606"/>
              <a:gd name="T81" fmla="*/ 248 h 285"/>
              <a:gd name="T82" fmla="*/ 422 w 606"/>
              <a:gd name="T83" fmla="*/ 260 h 285"/>
              <a:gd name="T84" fmla="*/ 372 w 606"/>
              <a:gd name="T85" fmla="*/ 285 h 285"/>
              <a:gd name="T86" fmla="*/ 347 w 606"/>
              <a:gd name="T87" fmla="*/ 282 h 285"/>
              <a:gd name="T88" fmla="*/ 297 w 606"/>
              <a:gd name="T89" fmla="*/ 260 h 285"/>
              <a:gd name="T90" fmla="*/ 256 w 606"/>
              <a:gd name="T91" fmla="*/ 266 h 285"/>
              <a:gd name="T92" fmla="*/ 200 w 606"/>
              <a:gd name="T93" fmla="*/ 266 h 285"/>
              <a:gd name="T94" fmla="*/ 181 w 606"/>
              <a:gd name="T95" fmla="*/ 238 h 285"/>
              <a:gd name="T96" fmla="*/ 172 w 606"/>
              <a:gd name="T97" fmla="*/ 226 h 285"/>
              <a:gd name="T98" fmla="*/ 147 w 606"/>
              <a:gd name="T99" fmla="*/ 216 h 285"/>
              <a:gd name="T100" fmla="*/ 119 w 606"/>
              <a:gd name="T101" fmla="*/ 207 h 285"/>
              <a:gd name="T102" fmla="*/ 78 w 606"/>
              <a:gd name="T103" fmla="*/ 194 h 285"/>
              <a:gd name="T104" fmla="*/ 78 w 606"/>
              <a:gd name="T105" fmla="*/ 179 h 285"/>
              <a:gd name="T106" fmla="*/ 72 w 606"/>
              <a:gd name="T107" fmla="*/ 160 h 285"/>
              <a:gd name="T108" fmla="*/ 62 w 606"/>
              <a:gd name="T109" fmla="*/ 141 h 285"/>
              <a:gd name="T110" fmla="*/ 47 w 606"/>
              <a:gd name="T111" fmla="*/ 135 h 285"/>
              <a:gd name="T112" fmla="*/ 31 w 606"/>
              <a:gd name="T113" fmla="*/ 132 h 285"/>
              <a:gd name="T114" fmla="*/ 22 w 606"/>
              <a:gd name="T115" fmla="*/ 129 h 285"/>
              <a:gd name="T116" fmla="*/ 6 w 606"/>
              <a:gd name="T117" fmla="*/ 116 h 285"/>
              <a:gd name="T118" fmla="*/ 0 w 606"/>
              <a:gd name="T119" fmla="*/ 11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6" h="285">
                <a:moveTo>
                  <a:pt x="0" y="101"/>
                </a:moveTo>
                <a:lnTo>
                  <a:pt x="3" y="94"/>
                </a:lnTo>
                <a:lnTo>
                  <a:pt x="6" y="94"/>
                </a:lnTo>
                <a:lnTo>
                  <a:pt x="15" y="94"/>
                </a:lnTo>
                <a:lnTo>
                  <a:pt x="15" y="91"/>
                </a:lnTo>
                <a:lnTo>
                  <a:pt x="19" y="88"/>
                </a:lnTo>
                <a:lnTo>
                  <a:pt x="25" y="85"/>
                </a:lnTo>
                <a:lnTo>
                  <a:pt x="25" y="82"/>
                </a:lnTo>
                <a:lnTo>
                  <a:pt x="28" y="79"/>
                </a:lnTo>
                <a:lnTo>
                  <a:pt x="34" y="75"/>
                </a:lnTo>
                <a:lnTo>
                  <a:pt x="34" y="72"/>
                </a:lnTo>
                <a:lnTo>
                  <a:pt x="37" y="69"/>
                </a:lnTo>
                <a:lnTo>
                  <a:pt x="40" y="69"/>
                </a:lnTo>
                <a:lnTo>
                  <a:pt x="44" y="63"/>
                </a:lnTo>
                <a:lnTo>
                  <a:pt x="44" y="63"/>
                </a:lnTo>
                <a:lnTo>
                  <a:pt x="40" y="60"/>
                </a:lnTo>
                <a:lnTo>
                  <a:pt x="40" y="60"/>
                </a:lnTo>
                <a:lnTo>
                  <a:pt x="44" y="57"/>
                </a:lnTo>
                <a:lnTo>
                  <a:pt x="50" y="60"/>
                </a:lnTo>
                <a:lnTo>
                  <a:pt x="53" y="57"/>
                </a:lnTo>
                <a:lnTo>
                  <a:pt x="53" y="54"/>
                </a:lnTo>
                <a:lnTo>
                  <a:pt x="56" y="50"/>
                </a:lnTo>
                <a:lnTo>
                  <a:pt x="65" y="50"/>
                </a:lnTo>
                <a:lnTo>
                  <a:pt x="69" y="50"/>
                </a:lnTo>
                <a:lnTo>
                  <a:pt x="72" y="50"/>
                </a:lnTo>
                <a:lnTo>
                  <a:pt x="75" y="50"/>
                </a:lnTo>
                <a:lnTo>
                  <a:pt x="78" y="47"/>
                </a:lnTo>
                <a:lnTo>
                  <a:pt x="81" y="47"/>
                </a:lnTo>
                <a:lnTo>
                  <a:pt x="81" y="50"/>
                </a:lnTo>
                <a:lnTo>
                  <a:pt x="81" y="54"/>
                </a:lnTo>
                <a:lnTo>
                  <a:pt x="84" y="57"/>
                </a:lnTo>
                <a:lnTo>
                  <a:pt x="87" y="57"/>
                </a:lnTo>
                <a:lnTo>
                  <a:pt x="90" y="54"/>
                </a:lnTo>
                <a:lnTo>
                  <a:pt x="94" y="54"/>
                </a:lnTo>
                <a:lnTo>
                  <a:pt x="97" y="54"/>
                </a:lnTo>
                <a:lnTo>
                  <a:pt x="103" y="54"/>
                </a:lnTo>
                <a:lnTo>
                  <a:pt x="106" y="57"/>
                </a:lnTo>
                <a:lnTo>
                  <a:pt x="106" y="60"/>
                </a:lnTo>
                <a:lnTo>
                  <a:pt x="106" y="60"/>
                </a:lnTo>
                <a:lnTo>
                  <a:pt x="115" y="66"/>
                </a:lnTo>
                <a:lnTo>
                  <a:pt x="119" y="69"/>
                </a:lnTo>
                <a:lnTo>
                  <a:pt x="128" y="72"/>
                </a:lnTo>
                <a:lnTo>
                  <a:pt x="131" y="72"/>
                </a:lnTo>
                <a:lnTo>
                  <a:pt x="134" y="69"/>
                </a:lnTo>
                <a:lnTo>
                  <a:pt x="137" y="66"/>
                </a:lnTo>
                <a:lnTo>
                  <a:pt x="140" y="66"/>
                </a:lnTo>
                <a:lnTo>
                  <a:pt x="144" y="66"/>
                </a:lnTo>
                <a:lnTo>
                  <a:pt x="147" y="69"/>
                </a:lnTo>
                <a:lnTo>
                  <a:pt x="150" y="69"/>
                </a:lnTo>
                <a:lnTo>
                  <a:pt x="159" y="69"/>
                </a:lnTo>
                <a:lnTo>
                  <a:pt x="162" y="69"/>
                </a:lnTo>
                <a:lnTo>
                  <a:pt x="165" y="69"/>
                </a:lnTo>
                <a:lnTo>
                  <a:pt x="169" y="69"/>
                </a:lnTo>
                <a:lnTo>
                  <a:pt x="172" y="69"/>
                </a:lnTo>
                <a:lnTo>
                  <a:pt x="178" y="69"/>
                </a:lnTo>
                <a:lnTo>
                  <a:pt x="181" y="63"/>
                </a:lnTo>
                <a:lnTo>
                  <a:pt x="178" y="60"/>
                </a:lnTo>
                <a:lnTo>
                  <a:pt x="175" y="57"/>
                </a:lnTo>
                <a:lnTo>
                  <a:pt x="175" y="50"/>
                </a:lnTo>
                <a:lnTo>
                  <a:pt x="178" y="44"/>
                </a:lnTo>
                <a:lnTo>
                  <a:pt x="175" y="44"/>
                </a:lnTo>
                <a:lnTo>
                  <a:pt x="172" y="41"/>
                </a:lnTo>
                <a:lnTo>
                  <a:pt x="169" y="38"/>
                </a:lnTo>
                <a:lnTo>
                  <a:pt x="165" y="38"/>
                </a:lnTo>
                <a:lnTo>
                  <a:pt x="162" y="32"/>
                </a:lnTo>
                <a:lnTo>
                  <a:pt x="162" y="22"/>
                </a:lnTo>
                <a:lnTo>
                  <a:pt x="165" y="19"/>
                </a:lnTo>
                <a:lnTo>
                  <a:pt x="165" y="16"/>
                </a:lnTo>
                <a:lnTo>
                  <a:pt x="169" y="13"/>
                </a:lnTo>
                <a:lnTo>
                  <a:pt x="172" y="10"/>
                </a:lnTo>
                <a:lnTo>
                  <a:pt x="175" y="13"/>
                </a:lnTo>
                <a:lnTo>
                  <a:pt x="175" y="10"/>
                </a:lnTo>
                <a:lnTo>
                  <a:pt x="175" y="7"/>
                </a:lnTo>
                <a:lnTo>
                  <a:pt x="175" y="4"/>
                </a:lnTo>
                <a:lnTo>
                  <a:pt x="178" y="0"/>
                </a:lnTo>
                <a:lnTo>
                  <a:pt x="181" y="0"/>
                </a:lnTo>
                <a:lnTo>
                  <a:pt x="184" y="4"/>
                </a:lnTo>
                <a:lnTo>
                  <a:pt x="190" y="4"/>
                </a:lnTo>
                <a:lnTo>
                  <a:pt x="194" y="7"/>
                </a:lnTo>
                <a:lnTo>
                  <a:pt x="194" y="7"/>
                </a:lnTo>
                <a:lnTo>
                  <a:pt x="200" y="10"/>
                </a:lnTo>
                <a:lnTo>
                  <a:pt x="203" y="10"/>
                </a:lnTo>
                <a:lnTo>
                  <a:pt x="212" y="10"/>
                </a:lnTo>
                <a:lnTo>
                  <a:pt x="215" y="10"/>
                </a:lnTo>
                <a:lnTo>
                  <a:pt x="215" y="13"/>
                </a:lnTo>
                <a:lnTo>
                  <a:pt x="222" y="13"/>
                </a:lnTo>
                <a:lnTo>
                  <a:pt x="225" y="16"/>
                </a:lnTo>
                <a:lnTo>
                  <a:pt x="228" y="16"/>
                </a:lnTo>
                <a:lnTo>
                  <a:pt x="234" y="16"/>
                </a:lnTo>
                <a:lnTo>
                  <a:pt x="237" y="16"/>
                </a:lnTo>
                <a:lnTo>
                  <a:pt x="240" y="19"/>
                </a:lnTo>
                <a:lnTo>
                  <a:pt x="240" y="22"/>
                </a:lnTo>
                <a:lnTo>
                  <a:pt x="244" y="25"/>
                </a:lnTo>
                <a:lnTo>
                  <a:pt x="244" y="29"/>
                </a:lnTo>
                <a:lnTo>
                  <a:pt x="244" y="29"/>
                </a:lnTo>
                <a:lnTo>
                  <a:pt x="247" y="35"/>
                </a:lnTo>
                <a:lnTo>
                  <a:pt x="247" y="38"/>
                </a:lnTo>
                <a:lnTo>
                  <a:pt x="247" y="38"/>
                </a:lnTo>
                <a:lnTo>
                  <a:pt x="250" y="38"/>
                </a:lnTo>
                <a:lnTo>
                  <a:pt x="253" y="44"/>
                </a:lnTo>
                <a:lnTo>
                  <a:pt x="256" y="44"/>
                </a:lnTo>
                <a:lnTo>
                  <a:pt x="262" y="47"/>
                </a:lnTo>
                <a:lnTo>
                  <a:pt x="269" y="50"/>
                </a:lnTo>
                <a:lnTo>
                  <a:pt x="272" y="50"/>
                </a:lnTo>
                <a:lnTo>
                  <a:pt x="272" y="47"/>
                </a:lnTo>
                <a:lnTo>
                  <a:pt x="278" y="50"/>
                </a:lnTo>
                <a:lnTo>
                  <a:pt x="281" y="47"/>
                </a:lnTo>
                <a:lnTo>
                  <a:pt x="284" y="47"/>
                </a:lnTo>
                <a:lnTo>
                  <a:pt x="284" y="47"/>
                </a:lnTo>
                <a:lnTo>
                  <a:pt x="287" y="47"/>
                </a:lnTo>
                <a:lnTo>
                  <a:pt x="290" y="44"/>
                </a:lnTo>
                <a:lnTo>
                  <a:pt x="297" y="41"/>
                </a:lnTo>
                <a:lnTo>
                  <a:pt x="306" y="41"/>
                </a:lnTo>
                <a:lnTo>
                  <a:pt x="309" y="38"/>
                </a:lnTo>
                <a:lnTo>
                  <a:pt x="315" y="38"/>
                </a:lnTo>
                <a:lnTo>
                  <a:pt x="319" y="38"/>
                </a:lnTo>
                <a:lnTo>
                  <a:pt x="325" y="41"/>
                </a:lnTo>
                <a:lnTo>
                  <a:pt x="328" y="41"/>
                </a:lnTo>
                <a:lnTo>
                  <a:pt x="337" y="41"/>
                </a:lnTo>
                <a:lnTo>
                  <a:pt x="341" y="47"/>
                </a:lnTo>
                <a:lnTo>
                  <a:pt x="347" y="47"/>
                </a:lnTo>
                <a:lnTo>
                  <a:pt x="353" y="47"/>
                </a:lnTo>
                <a:lnTo>
                  <a:pt x="356" y="47"/>
                </a:lnTo>
                <a:lnTo>
                  <a:pt x="359" y="50"/>
                </a:lnTo>
                <a:lnTo>
                  <a:pt x="362" y="57"/>
                </a:lnTo>
                <a:lnTo>
                  <a:pt x="366" y="57"/>
                </a:lnTo>
                <a:lnTo>
                  <a:pt x="369" y="60"/>
                </a:lnTo>
                <a:lnTo>
                  <a:pt x="372" y="60"/>
                </a:lnTo>
                <a:lnTo>
                  <a:pt x="375" y="63"/>
                </a:lnTo>
                <a:lnTo>
                  <a:pt x="378" y="63"/>
                </a:lnTo>
                <a:lnTo>
                  <a:pt x="384" y="63"/>
                </a:lnTo>
                <a:lnTo>
                  <a:pt x="394" y="66"/>
                </a:lnTo>
                <a:lnTo>
                  <a:pt x="406" y="66"/>
                </a:lnTo>
                <a:lnTo>
                  <a:pt x="409" y="63"/>
                </a:lnTo>
                <a:lnTo>
                  <a:pt x="412" y="63"/>
                </a:lnTo>
                <a:lnTo>
                  <a:pt x="416" y="63"/>
                </a:lnTo>
                <a:lnTo>
                  <a:pt x="422" y="66"/>
                </a:lnTo>
                <a:lnTo>
                  <a:pt x="422" y="66"/>
                </a:lnTo>
                <a:lnTo>
                  <a:pt x="425" y="60"/>
                </a:lnTo>
                <a:lnTo>
                  <a:pt x="434" y="57"/>
                </a:lnTo>
                <a:lnTo>
                  <a:pt x="437" y="57"/>
                </a:lnTo>
                <a:lnTo>
                  <a:pt x="441" y="54"/>
                </a:lnTo>
                <a:lnTo>
                  <a:pt x="444" y="50"/>
                </a:lnTo>
                <a:lnTo>
                  <a:pt x="453" y="50"/>
                </a:lnTo>
                <a:lnTo>
                  <a:pt x="456" y="47"/>
                </a:lnTo>
                <a:lnTo>
                  <a:pt x="459" y="44"/>
                </a:lnTo>
                <a:lnTo>
                  <a:pt x="459" y="44"/>
                </a:lnTo>
                <a:lnTo>
                  <a:pt x="459" y="38"/>
                </a:lnTo>
                <a:lnTo>
                  <a:pt x="466" y="38"/>
                </a:lnTo>
                <a:lnTo>
                  <a:pt x="469" y="35"/>
                </a:lnTo>
                <a:lnTo>
                  <a:pt x="469" y="29"/>
                </a:lnTo>
                <a:lnTo>
                  <a:pt x="472" y="25"/>
                </a:lnTo>
                <a:lnTo>
                  <a:pt x="475" y="25"/>
                </a:lnTo>
                <a:lnTo>
                  <a:pt x="478" y="29"/>
                </a:lnTo>
                <a:lnTo>
                  <a:pt x="481" y="25"/>
                </a:lnTo>
                <a:lnTo>
                  <a:pt x="487" y="25"/>
                </a:lnTo>
                <a:lnTo>
                  <a:pt x="491" y="29"/>
                </a:lnTo>
                <a:lnTo>
                  <a:pt x="494" y="35"/>
                </a:lnTo>
                <a:lnTo>
                  <a:pt x="497" y="35"/>
                </a:lnTo>
                <a:lnTo>
                  <a:pt x="500" y="32"/>
                </a:lnTo>
                <a:lnTo>
                  <a:pt x="503" y="35"/>
                </a:lnTo>
                <a:lnTo>
                  <a:pt x="506" y="35"/>
                </a:lnTo>
                <a:lnTo>
                  <a:pt x="509" y="32"/>
                </a:lnTo>
                <a:lnTo>
                  <a:pt x="509" y="29"/>
                </a:lnTo>
                <a:lnTo>
                  <a:pt x="516" y="29"/>
                </a:lnTo>
                <a:lnTo>
                  <a:pt x="525" y="32"/>
                </a:lnTo>
                <a:lnTo>
                  <a:pt x="525" y="32"/>
                </a:lnTo>
                <a:lnTo>
                  <a:pt x="522" y="63"/>
                </a:lnTo>
                <a:lnTo>
                  <a:pt x="522" y="69"/>
                </a:lnTo>
                <a:lnTo>
                  <a:pt x="522" y="75"/>
                </a:lnTo>
                <a:lnTo>
                  <a:pt x="522" y="79"/>
                </a:lnTo>
                <a:lnTo>
                  <a:pt x="519" y="88"/>
                </a:lnTo>
                <a:lnTo>
                  <a:pt x="522" y="94"/>
                </a:lnTo>
                <a:lnTo>
                  <a:pt x="531" y="97"/>
                </a:lnTo>
                <a:lnTo>
                  <a:pt x="537" y="94"/>
                </a:lnTo>
                <a:lnTo>
                  <a:pt x="544" y="94"/>
                </a:lnTo>
                <a:lnTo>
                  <a:pt x="553" y="94"/>
                </a:lnTo>
                <a:lnTo>
                  <a:pt x="556" y="101"/>
                </a:lnTo>
                <a:lnTo>
                  <a:pt x="562" y="91"/>
                </a:lnTo>
                <a:lnTo>
                  <a:pt x="562" y="88"/>
                </a:lnTo>
                <a:lnTo>
                  <a:pt x="562" y="85"/>
                </a:lnTo>
                <a:lnTo>
                  <a:pt x="569" y="82"/>
                </a:lnTo>
                <a:lnTo>
                  <a:pt x="569" y="82"/>
                </a:lnTo>
                <a:lnTo>
                  <a:pt x="578" y="82"/>
                </a:lnTo>
                <a:lnTo>
                  <a:pt x="584" y="88"/>
                </a:lnTo>
                <a:lnTo>
                  <a:pt x="591" y="94"/>
                </a:lnTo>
                <a:lnTo>
                  <a:pt x="597" y="104"/>
                </a:lnTo>
                <a:lnTo>
                  <a:pt x="603" y="107"/>
                </a:lnTo>
                <a:lnTo>
                  <a:pt x="603" y="110"/>
                </a:lnTo>
                <a:lnTo>
                  <a:pt x="606" y="113"/>
                </a:lnTo>
                <a:lnTo>
                  <a:pt x="606" y="116"/>
                </a:lnTo>
                <a:lnTo>
                  <a:pt x="603" y="119"/>
                </a:lnTo>
                <a:lnTo>
                  <a:pt x="603" y="122"/>
                </a:lnTo>
                <a:lnTo>
                  <a:pt x="603" y="126"/>
                </a:lnTo>
                <a:lnTo>
                  <a:pt x="600" y="126"/>
                </a:lnTo>
                <a:lnTo>
                  <a:pt x="597" y="122"/>
                </a:lnTo>
                <a:lnTo>
                  <a:pt x="594" y="122"/>
                </a:lnTo>
                <a:lnTo>
                  <a:pt x="591" y="126"/>
                </a:lnTo>
                <a:lnTo>
                  <a:pt x="584" y="122"/>
                </a:lnTo>
                <a:lnTo>
                  <a:pt x="581" y="122"/>
                </a:lnTo>
                <a:lnTo>
                  <a:pt x="578" y="129"/>
                </a:lnTo>
                <a:lnTo>
                  <a:pt x="572" y="132"/>
                </a:lnTo>
                <a:lnTo>
                  <a:pt x="569" y="135"/>
                </a:lnTo>
                <a:lnTo>
                  <a:pt x="566" y="132"/>
                </a:lnTo>
                <a:lnTo>
                  <a:pt x="566" y="132"/>
                </a:lnTo>
                <a:lnTo>
                  <a:pt x="566" y="135"/>
                </a:lnTo>
                <a:lnTo>
                  <a:pt x="562" y="138"/>
                </a:lnTo>
                <a:lnTo>
                  <a:pt x="559" y="138"/>
                </a:lnTo>
                <a:lnTo>
                  <a:pt x="559" y="138"/>
                </a:lnTo>
                <a:lnTo>
                  <a:pt x="556" y="141"/>
                </a:lnTo>
                <a:lnTo>
                  <a:pt x="553" y="144"/>
                </a:lnTo>
                <a:lnTo>
                  <a:pt x="553" y="151"/>
                </a:lnTo>
                <a:lnTo>
                  <a:pt x="553" y="154"/>
                </a:lnTo>
                <a:lnTo>
                  <a:pt x="550" y="157"/>
                </a:lnTo>
                <a:lnTo>
                  <a:pt x="547" y="160"/>
                </a:lnTo>
                <a:lnTo>
                  <a:pt x="537" y="166"/>
                </a:lnTo>
                <a:lnTo>
                  <a:pt x="534" y="166"/>
                </a:lnTo>
                <a:lnTo>
                  <a:pt x="528" y="163"/>
                </a:lnTo>
                <a:lnTo>
                  <a:pt x="525" y="166"/>
                </a:lnTo>
                <a:lnTo>
                  <a:pt x="522" y="172"/>
                </a:lnTo>
                <a:lnTo>
                  <a:pt x="519" y="176"/>
                </a:lnTo>
                <a:lnTo>
                  <a:pt x="516" y="179"/>
                </a:lnTo>
                <a:lnTo>
                  <a:pt x="512" y="182"/>
                </a:lnTo>
                <a:lnTo>
                  <a:pt x="509" y="185"/>
                </a:lnTo>
                <a:lnTo>
                  <a:pt x="509" y="185"/>
                </a:lnTo>
                <a:lnTo>
                  <a:pt x="503" y="185"/>
                </a:lnTo>
                <a:lnTo>
                  <a:pt x="500" y="182"/>
                </a:lnTo>
                <a:lnTo>
                  <a:pt x="494" y="182"/>
                </a:lnTo>
                <a:lnTo>
                  <a:pt x="487" y="176"/>
                </a:lnTo>
                <a:lnTo>
                  <a:pt x="484" y="176"/>
                </a:lnTo>
                <a:lnTo>
                  <a:pt x="475" y="179"/>
                </a:lnTo>
                <a:lnTo>
                  <a:pt x="472" y="182"/>
                </a:lnTo>
                <a:lnTo>
                  <a:pt x="469" y="185"/>
                </a:lnTo>
                <a:lnTo>
                  <a:pt x="469" y="194"/>
                </a:lnTo>
                <a:lnTo>
                  <a:pt x="469" y="197"/>
                </a:lnTo>
                <a:lnTo>
                  <a:pt x="469" y="201"/>
                </a:lnTo>
                <a:lnTo>
                  <a:pt x="478" y="207"/>
                </a:lnTo>
                <a:lnTo>
                  <a:pt x="484" y="213"/>
                </a:lnTo>
                <a:lnTo>
                  <a:pt x="484" y="213"/>
                </a:lnTo>
                <a:lnTo>
                  <a:pt x="484" y="219"/>
                </a:lnTo>
                <a:lnTo>
                  <a:pt x="481" y="223"/>
                </a:lnTo>
                <a:lnTo>
                  <a:pt x="472" y="232"/>
                </a:lnTo>
                <a:lnTo>
                  <a:pt x="469" y="241"/>
                </a:lnTo>
                <a:lnTo>
                  <a:pt x="466" y="248"/>
                </a:lnTo>
                <a:lnTo>
                  <a:pt x="462" y="248"/>
                </a:lnTo>
                <a:lnTo>
                  <a:pt x="456" y="248"/>
                </a:lnTo>
                <a:lnTo>
                  <a:pt x="450" y="248"/>
                </a:lnTo>
                <a:lnTo>
                  <a:pt x="444" y="254"/>
                </a:lnTo>
                <a:lnTo>
                  <a:pt x="441" y="257"/>
                </a:lnTo>
                <a:lnTo>
                  <a:pt x="434" y="257"/>
                </a:lnTo>
                <a:lnTo>
                  <a:pt x="425" y="257"/>
                </a:lnTo>
                <a:lnTo>
                  <a:pt x="422" y="260"/>
                </a:lnTo>
                <a:lnTo>
                  <a:pt x="416" y="260"/>
                </a:lnTo>
                <a:lnTo>
                  <a:pt x="400" y="266"/>
                </a:lnTo>
                <a:lnTo>
                  <a:pt x="391" y="269"/>
                </a:lnTo>
                <a:lnTo>
                  <a:pt x="384" y="276"/>
                </a:lnTo>
                <a:lnTo>
                  <a:pt x="375" y="282"/>
                </a:lnTo>
                <a:lnTo>
                  <a:pt x="372" y="285"/>
                </a:lnTo>
                <a:lnTo>
                  <a:pt x="369" y="285"/>
                </a:lnTo>
                <a:lnTo>
                  <a:pt x="362" y="285"/>
                </a:lnTo>
                <a:lnTo>
                  <a:pt x="362" y="282"/>
                </a:lnTo>
                <a:lnTo>
                  <a:pt x="359" y="279"/>
                </a:lnTo>
                <a:lnTo>
                  <a:pt x="353" y="282"/>
                </a:lnTo>
                <a:lnTo>
                  <a:pt x="347" y="282"/>
                </a:lnTo>
                <a:lnTo>
                  <a:pt x="337" y="279"/>
                </a:lnTo>
                <a:lnTo>
                  <a:pt x="334" y="279"/>
                </a:lnTo>
                <a:lnTo>
                  <a:pt x="322" y="273"/>
                </a:lnTo>
                <a:lnTo>
                  <a:pt x="309" y="269"/>
                </a:lnTo>
                <a:lnTo>
                  <a:pt x="303" y="263"/>
                </a:lnTo>
                <a:lnTo>
                  <a:pt x="297" y="260"/>
                </a:lnTo>
                <a:lnTo>
                  <a:pt x="281" y="260"/>
                </a:lnTo>
                <a:lnTo>
                  <a:pt x="272" y="260"/>
                </a:lnTo>
                <a:lnTo>
                  <a:pt x="269" y="260"/>
                </a:lnTo>
                <a:lnTo>
                  <a:pt x="265" y="260"/>
                </a:lnTo>
                <a:lnTo>
                  <a:pt x="262" y="263"/>
                </a:lnTo>
                <a:lnTo>
                  <a:pt x="256" y="266"/>
                </a:lnTo>
                <a:lnTo>
                  <a:pt x="247" y="266"/>
                </a:lnTo>
                <a:lnTo>
                  <a:pt x="231" y="266"/>
                </a:lnTo>
                <a:lnTo>
                  <a:pt x="219" y="266"/>
                </a:lnTo>
                <a:lnTo>
                  <a:pt x="212" y="266"/>
                </a:lnTo>
                <a:lnTo>
                  <a:pt x="203" y="266"/>
                </a:lnTo>
                <a:lnTo>
                  <a:pt x="200" y="266"/>
                </a:lnTo>
                <a:lnTo>
                  <a:pt x="197" y="266"/>
                </a:lnTo>
                <a:lnTo>
                  <a:pt x="190" y="257"/>
                </a:lnTo>
                <a:lnTo>
                  <a:pt x="190" y="254"/>
                </a:lnTo>
                <a:lnTo>
                  <a:pt x="184" y="248"/>
                </a:lnTo>
                <a:lnTo>
                  <a:pt x="181" y="241"/>
                </a:lnTo>
                <a:lnTo>
                  <a:pt x="181" y="238"/>
                </a:lnTo>
                <a:lnTo>
                  <a:pt x="181" y="235"/>
                </a:lnTo>
                <a:lnTo>
                  <a:pt x="178" y="232"/>
                </a:lnTo>
                <a:lnTo>
                  <a:pt x="175" y="229"/>
                </a:lnTo>
                <a:lnTo>
                  <a:pt x="172" y="229"/>
                </a:lnTo>
                <a:lnTo>
                  <a:pt x="172" y="229"/>
                </a:lnTo>
                <a:lnTo>
                  <a:pt x="172" y="226"/>
                </a:lnTo>
                <a:lnTo>
                  <a:pt x="169" y="223"/>
                </a:lnTo>
                <a:lnTo>
                  <a:pt x="169" y="226"/>
                </a:lnTo>
                <a:lnTo>
                  <a:pt x="162" y="223"/>
                </a:lnTo>
                <a:lnTo>
                  <a:pt x="156" y="223"/>
                </a:lnTo>
                <a:lnTo>
                  <a:pt x="150" y="216"/>
                </a:lnTo>
                <a:lnTo>
                  <a:pt x="147" y="216"/>
                </a:lnTo>
                <a:lnTo>
                  <a:pt x="147" y="216"/>
                </a:lnTo>
                <a:lnTo>
                  <a:pt x="144" y="216"/>
                </a:lnTo>
                <a:lnTo>
                  <a:pt x="140" y="213"/>
                </a:lnTo>
                <a:lnTo>
                  <a:pt x="134" y="210"/>
                </a:lnTo>
                <a:lnTo>
                  <a:pt x="122" y="207"/>
                </a:lnTo>
                <a:lnTo>
                  <a:pt x="119" y="207"/>
                </a:lnTo>
                <a:lnTo>
                  <a:pt x="119" y="207"/>
                </a:lnTo>
                <a:lnTo>
                  <a:pt x="112" y="207"/>
                </a:lnTo>
                <a:lnTo>
                  <a:pt x="103" y="207"/>
                </a:lnTo>
                <a:lnTo>
                  <a:pt x="84" y="204"/>
                </a:lnTo>
                <a:lnTo>
                  <a:pt x="81" y="201"/>
                </a:lnTo>
                <a:lnTo>
                  <a:pt x="78" y="194"/>
                </a:lnTo>
                <a:lnTo>
                  <a:pt x="75" y="191"/>
                </a:lnTo>
                <a:lnTo>
                  <a:pt x="75" y="188"/>
                </a:lnTo>
                <a:lnTo>
                  <a:pt x="78" y="188"/>
                </a:lnTo>
                <a:lnTo>
                  <a:pt x="81" y="185"/>
                </a:lnTo>
                <a:lnTo>
                  <a:pt x="81" y="182"/>
                </a:lnTo>
                <a:lnTo>
                  <a:pt x="78" y="179"/>
                </a:lnTo>
                <a:lnTo>
                  <a:pt x="78" y="172"/>
                </a:lnTo>
                <a:lnTo>
                  <a:pt x="78" y="172"/>
                </a:lnTo>
                <a:lnTo>
                  <a:pt x="78" y="166"/>
                </a:lnTo>
                <a:lnTo>
                  <a:pt x="78" y="163"/>
                </a:lnTo>
                <a:lnTo>
                  <a:pt x="75" y="160"/>
                </a:lnTo>
                <a:lnTo>
                  <a:pt x="72" y="160"/>
                </a:lnTo>
                <a:lnTo>
                  <a:pt x="69" y="157"/>
                </a:lnTo>
                <a:lnTo>
                  <a:pt x="69" y="154"/>
                </a:lnTo>
                <a:lnTo>
                  <a:pt x="65" y="151"/>
                </a:lnTo>
                <a:lnTo>
                  <a:pt x="62" y="147"/>
                </a:lnTo>
                <a:lnTo>
                  <a:pt x="62" y="144"/>
                </a:lnTo>
                <a:lnTo>
                  <a:pt x="62" y="141"/>
                </a:lnTo>
                <a:lnTo>
                  <a:pt x="59" y="138"/>
                </a:lnTo>
                <a:lnTo>
                  <a:pt x="56" y="138"/>
                </a:lnTo>
                <a:lnTo>
                  <a:pt x="53" y="135"/>
                </a:lnTo>
                <a:lnTo>
                  <a:pt x="50" y="135"/>
                </a:lnTo>
                <a:lnTo>
                  <a:pt x="47" y="135"/>
                </a:lnTo>
                <a:lnTo>
                  <a:pt x="47" y="135"/>
                </a:lnTo>
                <a:lnTo>
                  <a:pt x="44" y="135"/>
                </a:lnTo>
                <a:lnTo>
                  <a:pt x="40" y="135"/>
                </a:lnTo>
                <a:lnTo>
                  <a:pt x="37" y="132"/>
                </a:lnTo>
                <a:lnTo>
                  <a:pt x="37" y="132"/>
                </a:lnTo>
                <a:lnTo>
                  <a:pt x="34" y="132"/>
                </a:lnTo>
                <a:lnTo>
                  <a:pt x="31" y="132"/>
                </a:lnTo>
                <a:lnTo>
                  <a:pt x="28" y="135"/>
                </a:lnTo>
                <a:lnTo>
                  <a:pt x="28" y="135"/>
                </a:lnTo>
                <a:lnTo>
                  <a:pt x="25" y="135"/>
                </a:lnTo>
                <a:lnTo>
                  <a:pt x="22" y="135"/>
                </a:lnTo>
                <a:lnTo>
                  <a:pt x="22" y="132"/>
                </a:lnTo>
                <a:lnTo>
                  <a:pt x="22" y="129"/>
                </a:lnTo>
                <a:lnTo>
                  <a:pt x="19" y="126"/>
                </a:lnTo>
                <a:lnTo>
                  <a:pt x="15" y="122"/>
                </a:lnTo>
                <a:lnTo>
                  <a:pt x="12" y="119"/>
                </a:lnTo>
                <a:lnTo>
                  <a:pt x="9" y="119"/>
                </a:lnTo>
                <a:lnTo>
                  <a:pt x="6" y="116"/>
                </a:lnTo>
                <a:lnTo>
                  <a:pt x="6" y="116"/>
                </a:lnTo>
                <a:lnTo>
                  <a:pt x="6" y="113"/>
                </a:lnTo>
                <a:lnTo>
                  <a:pt x="6" y="110"/>
                </a:lnTo>
                <a:lnTo>
                  <a:pt x="3" y="110"/>
                </a:lnTo>
                <a:lnTo>
                  <a:pt x="3" y="113"/>
                </a:lnTo>
                <a:lnTo>
                  <a:pt x="3" y="113"/>
                </a:lnTo>
                <a:lnTo>
                  <a:pt x="0" y="110"/>
                </a:lnTo>
                <a:lnTo>
                  <a:pt x="0" y="110"/>
                </a:lnTo>
                <a:lnTo>
                  <a:pt x="0" y="104"/>
                </a:lnTo>
                <a:lnTo>
                  <a:pt x="0" y="101"/>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9" name="Freeform 17">
            <a:extLst>
              <a:ext uri="{FF2B5EF4-FFF2-40B4-BE49-F238E27FC236}">
                <a16:creationId xmlns:a16="http://schemas.microsoft.com/office/drawing/2014/main" id="{901CD47E-EA6B-CF8B-C0BA-89229097B9FE}"/>
              </a:ext>
            </a:extLst>
          </p:cNvPr>
          <p:cNvSpPr>
            <a:spLocks/>
          </p:cNvSpPr>
          <p:nvPr userDrawn="1"/>
        </p:nvSpPr>
        <p:spPr bwMode="auto">
          <a:xfrm>
            <a:off x="15819996" y="5333283"/>
            <a:ext cx="2358872" cy="1250950"/>
          </a:xfrm>
          <a:custGeom>
            <a:avLst/>
            <a:gdLst>
              <a:gd name="T0" fmla="*/ 18 w 743"/>
              <a:gd name="T1" fmla="*/ 229 h 394"/>
              <a:gd name="T2" fmla="*/ 0 w 743"/>
              <a:gd name="T3" fmla="*/ 185 h 394"/>
              <a:gd name="T4" fmla="*/ 34 w 743"/>
              <a:gd name="T5" fmla="*/ 175 h 394"/>
              <a:gd name="T6" fmla="*/ 53 w 743"/>
              <a:gd name="T7" fmla="*/ 141 h 394"/>
              <a:gd name="T8" fmla="*/ 71 w 743"/>
              <a:gd name="T9" fmla="*/ 135 h 394"/>
              <a:gd name="T10" fmla="*/ 84 w 743"/>
              <a:gd name="T11" fmla="*/ 132 h 394"/>
              <a:gd name="T12" fmla="*/ 118 w 743"/>
              <a:gd name="T13" fmla="*/ 141 h 394"/>
              <a:gd name="T14" fmla="*/ 140 w 743"/>
              <a:gd name="T15" fmla="*/ 150 h 394"/>
              <a:gd name="T16" fmla="*/ 168 w 743"/>
              <a:gd name="T17" fmla="*/ 141 h 394"/>
              <a:gd name="T18" fmla="*/ 196 w 743"/>
              <a:gd name="T19" fmla="*/ 141 h 394"/>
              <a:gd name="T20" fmla="*/ 215 w 743"/>
              <a:gd name="T21" fmla="*/ 150 h 394"/>
              <a:gd name="T22" fmla="*/ 250 w 743"/>
              <a:gd name="T23" fmla="*/ 150 h 394"/>
              <a:gd name="T24" fmla="*/ 237 w 743"/>
              <a:gd name="T25" fmla="*/ 119 h 394"/>
              <a:gd name="T26" fmla="*/ 237 w 743"/>
              <a:gd name="T27" fmla="*/ 100 h 394"/>
              <a:gd name="T28" fmla="*/ 250 w 743"/>
              <a:gd name="T29" fmla="*/ 75 h 394"/>
              <a:gd name="T30" fmla="*/ 237 w 743"/>
              <a:gd name="T31" fmla="*/ 66 h 394"/>
              <a:gd name="T32" fmla="*/ 250 w 743"/>
              <a:gd name="T33" fmla="*/ 57 h 394"/>
              <a:gd name="T34" fmla="*/ 271 w 743"/>
              <a:gd name="T35" fmla="*/ 50 h 394"/>
              <a:gd name="T36" fmla="*/ 306 w 743"/>
              <a:gd name="T37" fmla="*/ 41 h 394"/>
              <a:gd name="T38" fmla="*/ 328 w 743"/>
              <a:gd name="T39" fmla="*/ 28 h 394"/>
              <a:gd name="T40" fmla="*/ 359 w 743"/>
              <a:gd name="T41" fmla="*/ 13 h 394"/>
              <a:gd name="T42" fmla="*/ 384 w 743"/>
              <a:gd name="T43" fmla="*/ 3 h 394"/>
              <a:gd name="T44" fmla="*/ 412 w 743"/>
              <a:gd name="T45" fmla="*/ 19 h 394"/>
              <a:gd name="T46" fmla="*/ 418 w 743"/>
              <a:gd name="T47" fmla="*/ 35 h 394"/>
              <a:gd name="T48" fmla="*/ 437 w 743"/>
              <a:gd name="T49" fmla="*/ 32 h 394"/>
              <a:gd name="T50" fmla="*/ 456 w 743"/>
              <a:gd name="T51" fmla="*/ 38 h 394"/>
              <a:gd name="T52" fmla="*/ 468 w 743"/>
              <a:gd name="T53" fmla="*/ 47 h 394"/>
              <a:gd name="T54" fmla="*/ 497 w 743"/>
              <a:gd name="T55" fmla="*/ 35 h 394"/>
              <a:gd name="T56" fmla="*/ 515 w 743"/>
              <a:gd name="T57" fmla="*/ 28 h 394"/>
              <a:gd name="T58" fmla="*/ 606 w 743"/>
              <a:gd name="T59" fmla="*/ 110 h 394"/>
              <a:gd name="T60" fmla="*/ 631 w 743"/>
              <a:gd name="T61" fmla="*/ 116 h 394"/>
              <a:gd name="T62" fmla="*/ 662 w 743"/>
              <a:gd name="T63" fmla="*/ 110 h 394"/>
              <a:gd name="T64" fmla="*/ 693 w 743"/>
              <a:gd name="T65" fmla="*/ 132 h 394"/>
              <a:gd name="T66" fmla="*/ 706 w 743"/>
              <a:gd name="T67" fmla="*/ 147 h 394"/>
              <a:gd name="T68" fmla="*/ 731 w 743"/>
              <a:gd name="T69" fmla="*/ 147 h 394"/>
              <a:gd name="T70" fmla="*/ 734 w 743"/>
              <a:gd name="T71" fmla="*/ 169 h 394"/>
              <a:gd name="T72" fmla="*/ 725 w 743"/>
              <a:gd name="T73" fmla="*/ 213 h 394"/>
              <a:gd name="T74" fmla="*/ 687 w 743"/>
              <a:gd name="T75" fmla="*/ 216 h 394"/>
              <a:gd name="T76" fmla="*/ 675 w 743"/>
              <a:gd name="T77" fmla="*/ 260 h 394"/>
              <a:gd name="T78" fmla="*/ 659 w 743"/>
              <a:gd name="T79" fmla="*/ 269 h 394"/>
              <a:gd name="T80" fmla="*/ 643 w 743"/>
              <a:gd name="T81" fmla="*/ 282 h 394"/>
              <a:gd name="T82" fmla="*/ 653 w 743"/>
              <a:gd name="T83" fmla="*/ 313 h 394"/>
              <a:gd name="T84" fmla="*/ 653 w 743"/>
              <a:gd name="T85" fmla="*/ 344 h 394"/>
              <a:gd name="T86" fmla="*/ 584 w 743"/>
              <a:gd name="T87" fmla="*/ 332 h 394"/>
              <a:gd name="T88" fmla="*/ 534 w 743"/>
              <a:gd name="T89" fmla="*/ 332 h 394"/>
              <a:gd name="T90" fmla="*/ 493 w 743"/>
              <a:gd name="T91" fmla="*/ 344 h 394"/>
              <a:gd name="T92" fmla="*/ 468 w 743"/>
              <a:gd name="T93" fmla="*/ 360 h 394"/>
              <a:gd name="T94" fmla="*/ 421 w 743"/>
              <a:gd name="T95" fmla="*/ 385 h 394"/>
              <a:gd name="T96" fmla="*/ 331 w 743"/>
              <a:gd name="T97" fmla="*/ 322 h 394"/>
              <a:gd name="T98" fmla="*/ 181 w 743"/>
              <a:gd name="T99" fmla="*/ 379 h 394"/>
              <a:gd name="T100" fmla="*/ 134 w 743"/>
              <a:gd name="T101" fmla="*/ 360 h 394"/>
              <a:gd name="T102" fmla="*/ 115 w 743"/>
              <a:gd name="T103" fmla="*/ 351 h 394"/>
              <a:gd name="T104" fmla="*/ 100 w 743"/>
              <a:gd name="T105" fmla="*/ 332 h 394"/>
              <a:gd name="T106" fmla="*/ 84 w 743"/>
              <a:gd name="T107" fmla="*/ 313 h 394"/>
              <a:gd name="T108" fmla="*/ 106 w 743"/>
              <a:gd name="T109" fmla="*/ 313 h 394"/>
              <a:gd name="T110" fmla="*/ 100 w 743"/>
              <a:gd name="T111" fmla="*/ 297 h 394"/>
              <a:gd name="T112" fmla="*/ 125 w 743"/>
              <a:gd name="T113" fmla="*/ 291 h 394"/>
              <a:gd name="T114" fmla="*/ 131 w 743"/>
              <a:gd name="T115" fmla="*/ 279 h 394"/>
              <a:gd name="T116" fmla="*/ 128 w 743"/>
              <a:gd name="T117" fmla="*/ 257 h 394"/>
              <a:gd name="T118" fmla="*/ 109 w 743"/>
              <a:gd name="T119" fmla="*/ 254 h 394"/>
              <a:gd name="T120" fmla="*/ 96 w 743"/>
              <a:gd name="T121" fmla="*/ 250 h 394"/>
              <a:gd name="T122" fmla="*/ 78 w 743"/>
              <a:gd name="T123" fmla="*/ 254 h 394"/>
              <a:gd name="T124" fmla="*/ 62 w 743"/>
              <a:gd name="T125" fmla="*/ 263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3" h="394">
                <a:moveTo>
                  <a:pt x="56" y="263"/>
                </a:moveTo>
                <a:lnTo>
                  <a:pt x="50" y="260"/>
                </a:lnTo>
                <a:lnTo>
                  <a:pt x="46" y="263"/>
                </a:lnTo>
                <a:lnTo>
                  <a:pt x="40" y="257"/>
                </a:lnTo>
                <a:lnTo>
                  <a:pt x="40" y="254"/>
                </a:lnTo>
                <a:lnTo>
                  <a:pt x="46" y="254"/>
                </a:lnTo>
                <a:lnTo>
                  <a:pt x="40" y="241"/>
                </a:lnTo>
                <a:lnTo>
                  <a:pt x="31" y="232"/>
                </a:lnTo>
                <a:lnTo>
                  <a:pt x="18" y="229"/>
                </a:lnTo>
                <a:lnTo>
                  <a:pt x="15" y="232"/>
                </a:lnTo>
                <a:lnTo>
                  <a:pt x="9" y="225"/>
                </a:lnTo>
                <a:lnTo>
                  <a:pt x="9" y="225"/>
                </a:lnTo>
                <a:lnTo>
                  <a:pt x="6" y="219"/>
                </a:lnTo>
                <a:lnTo>
                  <a:pt x="0" y="216"/>
                </a:lnTo>
                <a:lnTo>
                  <a:pt x="3" y="210"/>
                </a:lnTo>
                <a:lnTo>
                  <a:pt x="3" y="197"/>
                </a:lnTo>
                <a:lnTo>
                  <a:pt x="0" y="194"/>
                </a:lnTo>
                <a:lnTo>
                  <a:pt x="0" y="185"/>
                </a:lnTo>
                <a:lnTo>
                  <a:pt x="3" y="182"/>
                </a:lnTo>
                <a:lnTo>
                  <a:pt x="9" y="175"/>
                </a:lnTo>
                <a:lnTo>
                  <a:pt x="9" y="169"/>
                </a:lnTo>
                <a:lnTo>
                  <a:pt x="12" y="166"/>
                </a:lnTo>
                <a:lnTo>
                  <a:pt x="21" y="175"/>
                </a:lnTo>
                <a:lnTo>
                  <a:pt x="25" y="179"/>
                </a:lnTo>
                <a:lnTo>
                  <a:pt x="28" y="185"/>
                </a:lnTo>
                <a:lnTo>
                  <a:pt x="34" y="182"/>
                </a:lnTo>
                <a:lnTo>
                  <a:pt x="34" y="175"/>
                </a:lnTo>
                <a:lnTo>
                  <a:pt x="37" y="175"/>
                </a:lnTo>
                <a:lnTo>
                  <a:pt x="34" y="160"/>
                </a:lnTo>
                <a:lnTo>
                  <a:pt x="37" y="160"/>
                </a:lnTo>
                <a:lnTo>
                  <a:pt x="43" y="160"/>
                </a:lnTo>
                <a:lnTo>
                  <a:pt x="43" y="154"/>
                </a:lnTo>
                <a:lnTo>
                  <a:pt x="43" y="150"/>
                </a:lnTo>
                <a:lnTo>
                  <a:pt x="43" y="147"/>
                </a:lnTo>
                <a:lnTo>
                  <a:pt x="50" y="141"/>
                </a:lnTo>
                <a:lnTo>
                  <a:pt x="53" y="141"/>
                </a:lnTo>
                <a:lnTo>
                  <a:pt x="53" y="138"/>
                </a:lnTo>
                <a:lnTo>
                  <a:pt x="56" y="135"/>
                </a:lnTo>
                <a:lnTo>
                  <a:pt x="62" y="135"/>
                </a:lnTo>
                <a:lnTo>
                  <a:pt x="62" y="132"/>
                </a:lnTo>
                <a:lnTo>
                  <a:pt x="59" y="128"/>
                </a:lnTo>
                <a:lnTo>
                  <a:pt x="62" y="125"/>
                </a:lnTo>
                <a:lnTo>
                  <a:pt x="68" y="128"/>
                </a:lnTo>
                <a:lnTo>
                  <a:pt x="71" y="132"/>
                </a:lnTo>
                <a:lnTo>
                  <a:pt x="71" y="135"/>
                </a:lnTo>
                <a:lnTo>
                  <a:pt x="68" y="138"/>
                </a:lnTo>
                <a:lnTo>
                  <a:pt x="71" y="138"/>
                </a:lnTo>
                <a:lnTo>
                  <a:pt x="75" y="138"/>
                </a:lnTo>
                <a:lnTo>
                  <a:pt x="75" y="135"/>
                </a:lnTo>
                <a:lnTo>
                  <a:pt x="78" y="132"/>
                </a:lnTo>
                <a:lnTo>
                  <a:pt x="78" y="135"/>
                </a:lnTo>
                <a:lnTo>
                  <a:pt x="81" y="132"/>
                </a:lnTo>
                <a:lnTo>
                  <a:pt x="81" y="132"/>
                </a:lnTo>
                <a:lnTo>
                  <a:pt x="84" y="132"/>
                </a:lnTo>
                <a:lnTo>
                  <a:pt x="90" y="128"/>
                </a:lnTo>
                <a:lnTo>
                  <a:pt x="93" y="128"/>
                </a:lnTo>
                <a:lnTo>
                  <a:pt x="93" y="132"/>
                </a:lnTo>
                <a:lnTo>
                  <a:pt x="100" y="135"/>
                </a:lnTo>
                <a:lnTo>
                  <a:pt x="106" y="135"/>
                </a:lnTo>
                <a:lnTo>
                  <a:pt x="109" y="135"/>
                </a:lnTo>
                <a:lnTo>
                  <a:pt x="112" y="138"/>
                </a:lnTo>
                <a:lnTo>
                  <a:pt x="112" y="138"/>
                </a:lnTo>
                <a:lnTo>
                  <a:pt x="118" y="141"/>
                </a:lnTo>
                <a:lnTo>
                  <a:pt x="121" y="141"/>
                </a:lnTo>
                <a:lnTo>
                  <a:pt x="125" y="144"/>
                </a:lnTo>
                <a:lnTo>
                  <a:pt x="131" y="150"/>
                </a:lnTo>
                <a:lnTo>
                  <a:pt x="134" y="150"/>
                </a:lnTo>
                <a:lnTo>
                  <a:pt x="134" y="154"/>
                </a:lnTo>
                <a:lnTo>
                  <a:pt x="134" y="157"/>
                </a:lnTo>
                <a:lnTo>
                  <a:pt x="137" y="157"/>
                </a:lnTo>
                <a:lnTo>
                  <a:pt x="140" y="154"/>
                </a:lnTo>
                <a:lnTo>
                  <a:pt x="140" y="150"/>
                </a:lnTo>
                <a:lnTo>
                  <a:pt x="143" y="147"/>
                </a:lnTo>
                <a:lnTo>
                  <a:pt x="146" y="150"/>
                </a:lnTo>
                <a:lnTo>
                  <a:pt x="153" y="150"/>
                </a:lnTo>
                <a:lnTo>
                  <a:pt x="156" y="157"/>
                </a:lnTo>
                <a:lnTo>
                  <a:pt x="159" y="157"/>
                </a:lnTo>
                <a:lnTo>
                  <a:pt x="165" y="154"/>
                </a:lnTo>
                <a:lnTo>
                  <a:pt x="165" y="147"/>
                </a:lnTo>
                <a:lnTo>
                  <a:pt x="168" y="144"/>
                </a:lnTo>
                <a:lnTo>
                  <a:pt x="168" y="141"/>
                </a:lnTo>
                <a:lnTo>
                  <a:pt x="171" y="141"/>
                </a:lnTo>
                <a:lnTo>
                  <a:pt x="175" y="144"/>
                </a:lnTo>
                <a:lnTo>
                  <a:pt x="175" y="141"/>
                </a:lnTo>
                <a:lnTo>
                  <a:pt x="181" y="141"/>
                </a:lnTo>
                <a:lnTo>
                  <a:pt x="187" y="144"/>
                </a:lnTo>
                <a:lnTo>
                  <a:pt x="187" y="147"/>
                </a:lnTo>
                <a:lnTo>
                  <a:pt x="193" y="147"/>
                </a:lnTo>
                <a:lnTo>
                  <a:pt x="193" y="141"/>
                </a:lnTo>
                <a:lnTo>
                  <a:pt x="196" y="141"/>
                </a:lnTo>
                <a:lnTo>
                  <a:pt x="200" y="141"/>
                </a:lnTo>
                <a:lnTo>
                  <a:pt x="203" y="138"/>
                </a:lnTo>
                <a:lnTo>
                  <a:pt x="206" y="141"/>
                </a:lnTo>
                <a:lnTo>
                  <a:pt x="209" y="141"/>
                </a:lnTo>
                <a:lnTo>
                  <a:pt x="209" y="144"/>
                </a:lnTo>
                <a:lnTo>
                  <a:pt x="206" y="147"/>
                </a:lnTo>
                <a:lnTo>
                  <a:pt x="209" y="150"/>
                </a:lnTo>
                <a:lnTo>
                  <a:pt x="212" y="154"/>
                </a:lnTo>
                <a:lnTo>
                  <a:pt x="215" y="150"/>
                </a:lnTo>
                <a:lnTo>
                  <a:pt x="215" y="154"/>
                </a:lnTo>
                <a:lnTo>
                  <a:pt x="221" y="154"/>
                </a:lnTo>
                <a:lnTo>
                  <a:pt x="231" y="157"/>
                </a:lnTo>
                <a:lnTo>
                  <a:pt x="234" y="157"/>
                </a:lnTo>
                <a:lnTo>
                  <a:pt x="237" y="150"/>
                </a:lnTo>
                <a:lnTo>
                  <a:pt x="237" y="147"/>
                </a:lnTo>
                <a:lnTo>
                  <a:pt x="237" y="144"/>
                </a:lnTo>
                <a:lnTo>
                  <a:pt x="243" y="150"/>
                </a:lnTo>
                <a:lnTo>
                  <a:pt x="250" y="150"/>
                </a:lnTo>
                <a:lnTo>
                  <a:pt x="256" y="147"/>
                </a:lnTo>
                <a:lnTo>
                  <a:pt x="259" y="144"/>
                </a:lnTo>
                <a:lnTo>
                  <a:pt x="256" y="128"/>
                </a:lnTo>
                <a:lnTo>
                  <a:pt x="256" y="128"/>
                </a:lnTo>
                <a:lnTo>
                  <a:pt x="250" y="128"/>
                </a:lnTo>
                <a:lnTo>
                  <a:pt x="246" y="125"/>
                </a:lnTo>
                <a:lnTo>
                  <a:pt x="246" y="122"/>
                </a:lnTo>
                <a:lnTo>
                  <a:pt x="240" y="122"/>
                </a:lnTo>
                <a:lnTo>
                  <a:pt x="237" y="119"/>
                </a:lnTo>
                <a:lnTo>
                  <a:pt x="234" y="119"/>
                </a:lnTo>
                <a:lnTo>
                  <a:pt x="234" y="116"/>
                </a:lnTo>
                <a:lnTo>
                  <a:pt x="231" y="113"/>
                </a:lnTo>
                <a:lnTo>
                  <a:pt x="231" y="113"/>
                </a:lnTo>
                <a:lnTo>
                  <a:pt x="237" y="113"/>
                </a:lnTo>
                <a:lnTo>
                  <a:pt x="237" y="107"/>
                </a:lnTo>
                <a:lnTo>
                  <a:pt x="240" y="103"/>
                </a:lnTo>
                <a:lnTo>
                  <a:pt x="237" y="100"/>
                </a:lnTo>
                <a:lnTo>
                  <a:pt x="237" y="100"/>
                </a:lnTo>
                <a:lnTo>
                  <a:pt x="234" y="94"/>
                </a:lnTo>
                <a:lnTo>
                  <a:pt x="240" y="88"/>
                </a:lnTo>
                <a:lnTo>
                  <a:pt x="243" y="85"/>
                </a:lnTo>
                <a:lnTo>
                  <a:pt x="253" y="85"/>
                </a:lnTo>
                <a:lnTo>
                  <a:pt x="256" y="85"/>
                </a:lnTo>
                <a:lnTo>
                  <a:pt x="259" y="82"/>
                </a:lnTo>
                <a:lnTo>
                  <a:pt x="259" y="78"/>
                </a:lnTo>
                <a:lnTo>
                  <a:pt x="253" y="78"/>
                </a:lnTo>
                <a:lnTo>
                  <a:pt x="250" y="75"/>
                </a:lnTo>
                <a:lnTo>
                  <a:pt x="250" y="75"/>
                </a:lnTo>
                <a:lnTo>
                  <a:pt x="246" y="75"/>
                </a:lnTo>
                <a:lnTo>
                  <a:pt x="240" y="75"/>
                </a:lnTo>
                <a:lnTo>
                  <a:pt x="237" y="75"/>
                </a:lnTo>
                <a:lnTo>
                  <a:pt x="237" y="72"/>
                </a:lnTo>
                <a:lnTo>
                  <a:pt x="237" y="72"/>
                </a:lnTo>
                <a:lnTo>
                  <a:pt x="243" y="69"/>
                </a:lnTo>
                <a:lnTo>
                  <a:pt x="240" y="66"/>
                </a:lnTo>
                <a:lnTo>
                  <a:pt x="237" y="66"/>
                </a:lnTo>
                <a:lnTo>
                  <a:pt x="234" y="66"/>
                </a:lnTo>
                <a:lnTo>
                  <a:pt x="234" y="63"/>
                </a:lnTo>
                <a:lnTo>
                  <a:pt x="234" y="60"/>
                </a:lnTo>
                <a:lnTo>
                  <a:pt x="234" y="57"/>
                </a:lnTo>
                <a:lnTo>
                  <a:pt x="237" y="57"/>
                </a:lnTo>
                <a:lnTo>
                  <a:pt x="240" y="57"/>
                </a:lnTo>
                <a:lnTo>
                  <a:pt x="243" y="57"/>
                </a:lnTo>
                <a:lnTo>
                  <a:pt x="243" y="57"/>
                </a:lnTo>
                <a:lnTo>
                  <a:pt x="250" y="57"/>
                </a:lnTo>
                <a:lnTo>
                  <a:pt x="253" y="60"/>
                </a:lnTo>
                <a:lnTo>
                  <a:pt x="253" y="57"/>
                </a:lnTo>
                <a:lnTo>
                  <a:pt x="253" y="57"/>
                </a:lnTo>
                <a:lnTo>
                  <a:pt x="259" y="53"/>
                </a:lnTo>
                <a:lnTo>
                  <a:pt x="262" y="53"/>
                </a:lnTo>
                <a:lnTo>
                  <a:pt x="262" y="57"/>
                </a:lnTo>
                <a:lnTo>
                  <a:pt x="265" y="53"/>
                </a:lnTo>
                <a:lnTo>
                  <a:pt x="265" y="50"/>
                </a:lnTo>
                <a:lnTo>
                  <a:pt x="271" y="50"/>
                </a:lnTo>
                <a:lnTo>
                  <a:pt x="278" y="50"/>
                </a:lnTo>
                <a:lnTo>
                  <a:pt x="281" y="47"/>
                </a:lnTo>
                <a:lnTo>
                  <a:pt x="287" y="47"/>
                </a:lnTo>
                <a:lnTo>
                  <a:pt x="287" y="44"/>
                </a:lnTo>
                <a:lnTo>
                  <a:pt x="293" y="41"/>
                </a:lnTo>
                <a:lnTo>
                  <a:pt x="300" y="41"/>
                </a:lnTo>
                <a:lnTo>
                  <a:pt x="303" y="38"/>
                </a:lnTo>
                <a:lnTo>
                  <a:pt x="303" y="38"/>
                </a:lnTo>
                <a:lnTo>
                  <a:pt x="306" y="41"/>
                </a:lnTo>
                <a:lnTo>
                  <a:pt x="309" y="38"/>
                </a:lnTo>
                <a:lnTo>
                  <a:pt x="309" y="35"/>
                </a:lnTo>
                <a:lnTo>
                  <a:pt x="309" y="32"/>
                </a:lnTo>
                <a:lnTo>
                  <a:pt x="315" y="32"/>
                </a:lnTo>
                <a:lnTo>
                  <a:pt x="315" y="28"/>
                </a:lnTo>
                <a:lnTo>
                  <a:pt x="318" y="28"/>
                </a:lnTo>
                <a:lnTo>
                  <a:pt x="321" y="28"/>
                </a:lnTo>
                <a:lnTo>
                  <a:pt x="321" y="32"/>
                </a:lnTo>
                <a:lnTo>
                  <a:pt x="328" y="28"/>
                </a:lnTo>
                <a:lnTo>
                  <a:pt x="331" y="25"/>
                </a:lnTo>
                <a:lnTo>
                  <a:pt x="340" y="22"/>
                </a:lnTo>
                <a:lnTo>
                  <a:pt x="340" y="22"/>
                </a:lnTo>
                <a:lnTo>
                  <a:pt x="343" y="19"/>
                </a:lnTo>
                <a:lnTo>
                  <a:pt x="346" y="19"/>
                </a:lnTo>
                <a:lnTo>
                  <a:pt x="350" y="16"/>
                </a:lnTo>
                <a:lnTo>
                  <a:pt x="353" y="16"/>
                </a:lnTo>
                <a:lnTo>
                  <a:pt x="359" y="16"/>
                </a:lnTo>
                <a:lnTo>
                  <a:pt x="359" y="13"/>
                </a:lnTo>
                <a:lnTo>
                  <a:pt x="356" y="10"/>
                </a:lnTo>
                <a:lnTo>
                  <a:pt x="359" y="6"/>
                </a:lnTo>
                <a:lnTo>
                  <a:pt x="362" y="6"/>
                </a:lnTo>
                <a:lnTo>
                  <a:pt x="365" y="3"/>
                </a:lnTo>
                <a:lnTo>
                  <a:pt x="368" y="0"/>
                </a:lnTo>
                <a:lnTo>
                  <a:pt x="371" y="3"/>
                </a:lnTo>
                <a:lnTo>
                  <a:pt x="375" y="0"/>
                </a:lnTo>
                <a:lnTo>
                  <a:pt x="378" y="3"/>
                </a:lnTo>
                <a:lnTo>
                  <a:pt x="384" y="3"/>
                </a:lnTo>
                <a:lnTo>
                  <a:pt x="387" y="6"/>
                </a:lnTo>
                <a:lnTo>
                  <a:pt x="393" y="6"/>
                </a:lnTo>
                <a:lnTo>
                  <a:pt x="396" y="3"/>
                </a:lnTo>
                <a:lnTo>
                  <a:pt x="403" y="3"/>
                </a:lnTo>
                <a:lnTo>
                  <a:pt x="403" y="10"/>
                </a:lnTo>
                <a:lnTo>
                  <a:pt x="406" y="10"/>
                </a:lnTo>
                <a:lnTo>
                  <a:pt x="406" y="13"/>
                </a:lnTo>
                <a:lnTo>
                  <a:pt x="409" y="19"/>
                </a:lnTo>
                <a:lnTo>
                  <a:pt x="412" y="19"/>
                </a:lnTo>
                <a:lnTo>
                  <a:pt x="412" y="22"/>
                </a:lnTo>
                <a:lnTo>
                  <a:pt x="412" y="25"/>
                </a:lnTo>
                <a:lnTo>
                  <a:pt x="412" y="28"/>
                </a:lnTo>
                <a:lnTo>
                  <a:pt x="412" y="28"/>
                </a:lnTo>
                <a:lnTo>
                  <a:pt x="409" y="32"/>
                </a:lnTo>
                <a:lnTo>
                  <a:pt x="409" y="35"/>
                </a:lnTo>
                <a:lnTo>
                  <a:pt x="412" y="35"/>
                </a:lnTo>
                <a:lnTo>
                  <a:pt x="415" y="35"/>
                </a:lnTo>
                <a:lnTo>
                  <a:pt x="418" y="35"/>
                </a:lnTo>
                <a:lnTo>
                  <a:pt x="421" y="35"/>
                </a:lnTo>
                <a:lnTo>
                  <a:pt x="421" y="32"/>
                </a:lnTo>
                <a:lnTo>
                  <a:pt x="425" y="32"/>
                </a:lnTo>
                <a:lnTo>
                  <a:pt x="428" y="35"/>
                </a:lnTo>
                <a:lnTo>
                  <a:pt x="428" y="35"/>
                </a:lnTo>
                <a:lnTo>
                  <a:pt x="428" y="32"/>
                </a:lnTo>
                <a:lnTo>
                  <a:pt x="428" y="28"/>
                </a:lnTo>
                <a:lnTo>
                  <a:pt x="428" y="25"/>
                </a:lnTo>
                <a:lnTo>
                  <a:pt x="437" y="32"/>
                </a:lnTo>
                <a:lnTo>
                  <a:pt x="437" y="38"/>
                </a:lnTo>
                <a:lnTo>
                  <a:pt x="440" y="44"/>
                </a:lnTo>
                <a:lnTo>
                  <a:pt x="440" y="41"/>
                </a:lnTo>
                <a:lnTo>
                  <a:pt x="443" y="41"/>
                </a:lnTo>
                <a:lnTo>
                  <a:pt x="443" y="38"/>
                </a:lnTo>
                <a:lnTo>
                  <a:pt x="440" y="35"/>
                </a:lnTo>
                <a:lnTo>
                  <a:pt x="446" y="35"/>
                </a:lnTo>
                <a:lnTo>
                  <a:pt x="453" y="38"/>
                </a:lnTo>
                <a:lnTo>
                  <a:pt x="456" y="38"/>
                </a:lnTo>
                <a:lnTo>
                  <a:pt x="459" y="38"/>
                </a:lnTo>
                <a:lnTo>
                  <a:pt x="459" y="38"/>
                </a:lnTo>
                <a:lnTo>
                  <a:pt x="459" y="41"/>
                </a:lnTo>
                <a:lnTo>
                  <a:pt x="456" y="44"/>
                </a:lnTo>
                <a:lnTo>
                  <a:pt x="456" y="47"/>
                </a:lnTo>
                <a:lnTo>
                  <a:pt x="459" y="53"/>
                </a:lnTo>
                <a:lnTo>
                  <a:pt x="462" y="53"/>
                </a:lnTo>
                <a:lnTo>
                  <a:pt x="465" y="50"/>
                </a:lnTo>
                <a:lnTo>
                  <a:pt x="468" y="47"/>
                </a:lnTo>
                <a:lnTo>
                  <a:pt x="478" y="50"/>
                </a:lnTo>
                <a:lnTo>
                  <a:pt x="478" y="50"/>
                </a:lnTo>
                <a:lnTo>
                  <a:pt x="481" y="50"/>
                </a:lnTo>
                <a:lnTo>
                  <a:pt x="481" y="44"/>
                </a:lnTo>
                <a:lnTo>
                  <a:pt x="484" y="44"/>
                </a:lnTo>
                <a:lnTo>
                  <a:pt x="490" y="44"/>
                </a:lnTo>
                <a:lnTo>
                  <a:pt x="493" y="41"/>
                </a:lnTo>
                <a:lnTo>
                  <a:pt x="493" y="38"/>
                </a:lnTo>
                <a:lnTo>
                  <a:pt x="497" y="35"/>
                </a:lnTo>
                <a:lnTo>
                  <a:pt x="497" y="32"/>
                </a:lnTo>
                <a:lnTo>
                  <a:pt x="503" y="28"/>
                </a:lnTo>
                <a:lnTo>
                  <a:pt x="506" y="25"/>
                </a:lnTo>
                <a:lnTo>
                  <a:pt x="509" y="22"/>
                </a:lnTo>
                <a:lnTo>
                  <a:pt x="512" y="22"/>
                </a:lnTo>
                <a:lnTo>
                  <a:pt x="518" y="19"/>
                </a:lnTo>
                <a:lnTo>
                  <a:pt x="518" y="22"/>
                </a:lnTo>
                <a:lnTo>
                  <a:pt x="518" y="25"/>
                </a:lnTo>
                <a:lnTo>
                  <a:pt x="515" y="28"/>
                </a:lnTo>
                <a:lnTo>
                  <a:pt x="512" y="28"/>
                </a:lnTo>
                <a:lnTo>
                  <a:pt x="515" y="32"/>
                </a:lnTo>
                <a:lnTo>
                  <a:pt x="550" y="60"/>
                </a:lnTo>
                <a:lnTo>
                  <a:pt x="600" y="119"/>
                </a:lnTo>
                <a:lnTo>
                  <a:pt x="603" y="119"/>
                </a:lnTo>
                <a:lnTo>
                  <a:pt x="606" y="116"/>
                </a:lnTo>
                <a:lnTo>
                  <a:pt x="606" y="113"/>
                </a:lnTo>
                <a:lnTo>
                  <a:pt x="606" y="113"/>
                </a:lnTo>
                <a:lnTo>
                  <a:pt x="606" y="110"/>
                </a:lnTo>
                <a:lnTo>
                  <a:pt x="609" y="107"/>
                </a:lnTo>
                <a:lnTo>
                  <a:pt x="615" y="110"/>
                </a:lnTo>
                <a:lnTo>
                  <a:pt x="615" y="113"/>
                </a:lnTo>
                <a:lnTo>
                  <a:pt x="615" y="116"/>
                </a:lnTo>
                <a:lnTo>
                  <a:pt x="618" y="116"/>
                </a:lnTo>
                <a:lnTo>
                  <a:pt x="622" y="119"/>
                </a:lnTo>
                <a:lnTo>
                  <a:pt x="625" y="119"/>
                </a:lnTo>
                <a:lnTo>
                  <a:pt x="628" y="119"/>
                </a:lnTo>
                <a:lnTo>
                  <a:pt x="631" y="116"/>
                </a:lnTo>
                <a:lnTo>
                  <a:pt x="637" y="119"/>
                </a:lnTo>
                <a:lnTo>
                  <a:pt x="640" y="119"/>
                </a:lnTo>
                <a:lnTo>
                  <a:pt x="643" y="119"/>
                </a:lnTo>
                <a:lnTo>
                  <a:pt x="647" y="116"/>
                </a:lnTo>
                <a:lnTo>
                  <a:pt x="650" y="116"/>
                </a:lnTo>
                <a:lnTo>
                  <a:pt x="647" y="113"/>
                </a:lnTo>
                <a:lnTo>
                  <a:pt x="647" y="113"/>
                </a:lnTo>
                <a:lnTo>
                  <a:pt x="656" y="110"/>
                </a:lnTo>
                <a:lnTo>
                  <a:pt x="662" y="110"/>
                </a:lnTo>
                <a:lnTo>
                  <a:pt x="668" y="113"/>
                </a:lnTo>
                <a:lnTo>
                  <a:pt x="675" y="116"/>
                </a:lnTo>
                <a:lnTo>
                  <a:pt x="678" y="122"/>
                </a:lnTo>
                <a:lnTo>
                  <a:pt x="678" y="125"/>
                </a:lnTo>
                <a:lnTo>
                  <a:pt x="681" y="125"/>
                </a:lnTo>
                <a:lnTo>
                  <a:pt x="684" y="128"/>
                </a:lnTo>
                <a:lnTo>
                  <a:pt x="690" y="132"/>
                </a:lnTo>
                <a:lnTo>
                  <a:pt x="690" y="132"/>
                </a:lnTo>
                <a:lnTo>
                  <a:pt x="693" y="132"/>
                </a:lnTo>
                <a:lnTo>
                  <a:pt x="693" y="135"/>
                </a:lnTo>
                <a:lnTo>
                  <a:pt x="693" y="138"/>
                </a:lnTo>
                <a:lnTo>
                  <a:pt x="693" y="141"/>
                </a:lnTo>
                <a:lnTo>
                  <a:pt x="693" y="141"/>
                </a:lnTo>
                <a:lnTo>
                  <a:pt x="697" y="144"/>
                </a:lnTo>
                <a:lnTo>
                  <a:pt x="697" y="144"/>
                </a:lnTo>
                <a:lnTo>
                  <a:pt x="700" y="144"/>
                </a:lnTo>
                <a:lnTo>
                  <a:pt x="703" y="147"/>
                </a:lnTo>
                <a:lnTo>
                  <a:pt x="706" y="147"/>
                </a:lnTo>
                <a:lnTo>
                  <a:pt x="706" y="147"/>
                </a:lnTo>
                <a:lnTo>
                  <a:pt x="709" y="144"/>
                </a:lnTo>
                <a:lnTo>
                  <a:pt x="718" y="144"/>
                </a:lnTo>
                <a:lnTo>
                  <a:pt x="725" y="144"/>
                </a:lnTo>
                <a:lnTo>
                  <a:pt x="725" y="138"/>
                </a:lnTo>
                <a:lnTo>
                  <a:pt x="728" y="138"/>
                </a:lnTo>
                <a:lnTo>
                  <a:pt x="731" y="138"/>
                </a:lnTo>
                <a:lnTo>
                  <a:pt x="731" y="144"/>
                </a:lnTo>
                <a:lnTo>
                  <a:pt x="731" y="147"/>
                </a:lnTo>
                <a:lnTo>
                  <a:pt x="734" y="147"/>
                </a:lnTo>
                <a:lnTo>
                  <a:pt x="737" y="150"/>
                </a:lnTo>
                <a:lnTo>
                  <a:pt x="743" y="154"/>
                </a:lnTo>
                <a:lnTo>
                  <a:pt x="743" y="154"/>
                </a:lnTo>
                <a:lnTo>
                  <a:pt x="740" y="160"/>
                </a:lnTo>
                <a:lnTo>
                  <a:pt x="737" y="160"/>
                </a:lnTo>
                <a:lnTo>
                  <a:pt x="734" y="166"/>
                </a:lnTo>
                <a:lnTo>
                  <a:pt x="734" y="169"/>
                </a:lnTo>
                <a:lnTo>
                  <a:pt x="734" y="169"/>
                </a:lnTo>
                <a:lnTo>
                  <a:pt x="731" y="175"/>
                </a:lnTo>
                <a:lnTo>
                  <a:pt x="725" y="179"/>
                </a:lnTo>
                <a:lnTo>
                  <a:pt x="722" y="179"/>
                </a:lnTo>
                <a:lnTo>
                  <a:pt x="722" y="185"/>
                </a:lnTo>
                <a:lnTo>
                  <a:pt x="722" y="191"/>
                </a:lnTo>
                <a:lnTo>
                  <a:pt x="725" y="200"/>
                </a:lnTo>
                <a:lnTo>
                  <a:pt x="731" y="207"/>
                </a:lnTo>
                <a:lnTo>
                  <a:pt x="728" y="207"/>
                </a:lnTo>
                <a:lnTo>
                  <a:pt x="725" y="213"/>
                </a:lnTo>
                <a:lnTo>
                  <a:pt x="718" y="216"/>
                </a:lnTo>
                <a:lnTo>
                  <a:pt x="715" y="219"/>
                </a:lnTo>
                <a:lnTo>
                  <a:pt x="712" y="219"/>
                </a:lnTo>
                <a:lnTo>
                  <a:pt x="712" y="219"/>
                </a:lnTo>
                <a:lnTo>
                  <a:pt x="709" y="216"/>
                </a:lnTo>
                <a:lnTo>
                  <a:pt x="706" y="216"/>
                </a:lnTo>
                <a:lnTo>
                  <a:pt x="700" y="219"/>
                </a:lnTo>
                <a:lnTo>
                  <a:pt x="693" y="219"/>
                </a:lnTo>
                <a:lnTo>
                  <a:pt x="687" y="216"/>
                </a:lnTo>
                <a:lnTo>
                  <a:pt x="681" y="216"/>
                </a:lnTo>
                <a:lnTo>
                  <a:pt x="681" y="216"/>
                </a:lnTo>
                <a:lnTo>
                  <a:pt x="678" y="225"/>
                </a:lnTo>
                <a:lnTo>
                  <a:pt x="678" y="229"/>
                </a:lnTo>
                <a:lnTo>
                  <a:pt x="675" y="235"/>
                </a:lnTo>
                <a:lnTo>
                  <a:pt x="675" y="244"/>
                </a:lnTo>
                <a:lnTo>
                  <a:pt x="675" y="254"/>
                </a:lnTo>
                <a:lnTo>
                  <a:pt x="675" y="257"/>
                </a:lnTo>
                <a:lnTo>
                  <a:pt x="675" y="260"/>
                </a:lnTo>
                <a:lnTo>
                  <a:pt x="681" y="260"/>
                </a:lnTo>
                <a:lnTo>
                  <a:pt x="678" y="266"/>
                </a:lnTo>
                <a:lnTo>
                  <a:pt x="678" y="269"/>
                </a:lnTo>
                <a:lnTo>
                  <a:pt x="675" y="269"/>
                </a:lnTo>
                <a:lnTo>
                  <a:pt x="675" y="269"/>
                </a:lnTo>
                <a:lnTo>
                  <a:pt x="672" y="269"/>
                </a:lnTo>
                <a:lnTo>
                  <a:pt x="668" y="266"/>
                </a:lnTo>
                <a:lnTo>
                  <a:pt x="665" y="269"/>
                </a:lnTo>
                <a:lnTo>
                  <a:pt x="659" y="269"/>
                </a:lnTo>
                <a:lnTo>
                  <a:pt x="653" y="272"/>
                </a:lnTo>
                <a:lnTo>
                  <a:pt x="647" y="272"/>
                </a:lnTo>
                <a:lnTo>
                  <a:pt x="643" y="272"/>
                </a:lnTo>
                <a:lnTo>
                  <a:pt x="640" y="272"/>
                </a:lnTo>
                <a:lnTo>
                  <a:pt x="637" y="276"/>
                </a:lnTo>
                <a:lnTo>
                  <a:pt x="634" y="279"/>
                </a:lnTo>
                <a:lnTo>
                  <a:pt x="634" y="279"/>
                </a:lnTo>
                <a:lnTo>
                  <a:pt x="637" y="282"/>
                </a:lnTo>
                <a:lnTo>
                  <a:pt x="643" y="282"/>
                </a:lnTo>
                <a:lnTo>
                  <a:pt x="647" y="282"/>
                </a:lnTo>
                <a:lnTo>
                  <a:pt x="647" y="285"/>
                </a:lnTo>
                <a:lnTo>
                  <a:pt x="643" y="288"/>
                </a:lnTo>
                <a:lnTo>
                  <a:pt x="647" y="294"/>
                </a:lnTo>
                <a:lnTo>
                  <a:pt x="647" y="297"/>
                </a:lnTo>
                <a:lnTo>
                  <a:pt x="650" y="297"/>
                </a:lnTo>
                <a:lnTo>
                  <a:pt x="650" y="304"/>
                </a:lnTo>
                <a:lnTo>
                  <a:pt x="653" y="310"/>
                </a:lnTo>
                <a:lnTo>
                  <a:pt x="653" y="313"/>
                </a:lnTo>
                <a:lnTo>
                  <a:pt x="659" y="316"/>
                </a:lnTo>
                <a:lnTo>
                  <a:pt x="659" y="322"/>
                </a:lnTo>
                <a:lnTo>
                  <a:pt x="656" y="326"/>
                </a:lnTo>
                <a:lnTo>
                  <a:pt x="656" y="329"/>
                </a:lnTo>
                <a:lnTo>
                  <a:pt x="659" y="332"/>
                </a:lnTo>
                <a:lnTo>
                  <a:pt x="656" y="335"/>
                </a:lnTo>
                <a:lnTo>
                  <a:pt x="656" y="335"/>
                </a:lnTo>
                <a:lnTo>
                  <a:pt x="653" y="338"/>
                </a:lnTo>
                <a:lnTo>
                  <a:pt x="653" y="344"/>
                </a:lnTo>
                <a:lnTo>
                  <a:pt x="650" y="344"/>
                </a:lnTo>
                <a:lnTo>
                  <a:pt x="640" y="344"/>
                </a:lnTo>
                <a:lnTo>
                  <a:pt x="631" y="335"/>
                </a:lnTo>
                <a:lnTo>
                  <a:pt x="628" y="335"/>
                </a:lnTo>
                <a:lnTo>
                  <a:pt x="622" y="332"/>
                </a:lnTo>
                <a:lnTo>
                  <a:pt x="609" y="332"/>
                </a:lnTo>
                <a:lnTo>
                  <a:pt x="603" y="332"/>
                </a:lnTo>
                <a:lnTo>
                  <a:pt x="593" y="329"/>
                </a:lnTo>
                <a:lnTo>
                  <a:pt x="584" y="332"/>
                </a:lnTo>
                <a:lnTo>
                  <a:pt x="578" y="332"/>
                </a:lnTo>
                <a:lnTo>
                  <a:pt x="575" y="332"/>
                </a:lnTo>
                <a:lnTo>
                  <a:pt x="572" y="335"/>
                </a:lnTo>
                <a:lnTo>
                  <a:pt x="565" y="335"/>
                </a:lnTo>
                <a:lnTo>
                  <a:pt x="556" y="335"/>
                </a:lnTo>
                <a:lnTo>
                  <a:pt x="547" y="332"/>
                </a:lnTo>
                <a:lnTo>
                  <a:pt x="543" y="332"/>
                </a:lnTo>
                <a:lnTo>
                  <a:pt x="537" y="332"/>
                </a:lnTo>
                <a:lnTo>
                  <a:pt x="534" y="332"/>
                </a:lnTo>
                <a:lnTo>
                  <a:pt x="531" y="332"/>
                </a:lnTo>
                <a:lnTo>
                  <a:pt x="528" y="332"/>
                </a:lnTo>
                <a:lnTo>
                  <a:pt x="525" y="332"/>
                </a:lnTo>
                <a:lnTo>
                  <a:pt x="525" y="335"/>
                </a:lnTo>
                <a:lnTo>
                  <a:pt x="528" y="341"/>
                </a:lnTo>
                <a:lnTo>
                  <a:pt x="528" y="344"/>
                </a:lnTo>
                <a:lnTo>
                  <a:pt x="522" y="347"/>
                </a:lnTo>
                <a:lnTo>
                  <a:pt x="509" y="347"/>
                </a:lnTo>
                <a:lnTo>
                  <a:pt x="493" y="344"/>
                </a:lnTo>
                <a:lnTo>
                  <a:pt x="490" y="344"/>
                </a:lnTo>
                <a:lnTo>
                  <a:pt x="484" y="344"/>
                </a:lnTo>
                <a:lnTo>
                  <a:pt x="481" y="347"/>
                </a:lnTo>
                <a:lnTo>
                  <a:pt x="481" y="351"/>
                </a:lnTo>
                <a:lnTo>
                  <a:pt x="478" y="351"/>
                </a:lnTo>
                <a:lnTo>
                  <a:pt x="478" y="354"/>
                </a:lnTo>
                <a:lnTo>
                  <a:pt x="475" y="354"/>
                </a:lnTo>
                <a:lnTo>
                  <a:pt x="471" y="360"/>
                </a:lnTo>
                <a:lnTo>
                  <a:pt x="468" y="360"/>
                </a:lnTo>
                <a:lnTo>
                  <a:pt x="459" y="369"/>
                </a:lnTo>
                <a:lnTo>
                  <a:pt x="459" y="376"/>
                </a:lnTo>
                <a:lnTo>
                  <a:pt x="456" y="379"/>
                </a:lnTo>
                <a:lnTo>
                  <a:pt x="453" y="385"/>
                </a:lnTo>
                <a:lnTo>
                  <a:pt x="443" y="391"/>
                </a:lnTo>
                <a:lnTo>
                  <a:pt x="440" y="391"/>
                </a:lnTo>
                <a:lnTo>
                  <a:pt x="434" y="385"/>
                </a:lnTo>
                <a:lnTo>
                  <a:pt x="425" y="385"/>
                </a:lnTo>
                <a:lnTo>
                  <a:pt x="421" y="385"/>
                </a:lnTo>
                <a:lnTo>
                  <a:pt x="412" y="391"/>
                </a:lnTo>
                <a:lnTo>
                  <a:pt x="406" y="391"/>
                </a:lnTo>
                <a:lnTo>
                  <a:pt x="400" y="369"/>
                </a:lnTo>
                <a:lnTo>
                  <a:pt x="384" y="366"/>
                </a:lnTo>
                <a:lnTo>
                  <a:pt x="384" y="338"/>
                </a:lnTo>
                <a:lnTo>
                  <a:pt x="378" y="341"/>
                </a:lnTo>
                <a:lnTo>
                  <a:pt x="371" y="329"/>
                </a:lnTo>
                <a:lnTo>
                  <a:pt x="362" y="322"/>
                </a:lnTo>
                <a:lnTo>
                  <a:pt x="331" y="322"/>
                </a:lnTo>
                <a:lnTo>
                  <a:pt x="303" y="326"/>
                </a:lnTo>
                <a:lnTo>
                  <a:pt x="284" y="313"/>
                </a:lnTo>
                <a:lnTo>
                  <a:pt x="271" y="310"/>
                </a:lnTo>
                <a:lnTo>
                  <a:pt x="240" y="288"/>
                </a:lnTo>
                <a:lnTo>
                  <a:pt x="190" y="297"/>
                </a:lnTo>
                <a:lnTo>
                  <a:pt x="206" y="391"/>
                </a:lnTo>
                <a:lnTo>
                  <a:pt x="203" y="391"/>
                </a:lnTo>
                <a:lnTo>
                  <a:pt x="196" y="394"/>
                </a:lnTo>
                <a:lnTo>
                  <a:pt x="181" y="379"/>
                </a:lnTo>
                <a:lnTo>
                  <a:pt x="168" y="369"/>
                </a:lnTo>
                <a:lnTo>
                  <a:pt x="156" y="369"/>
                </a:lnTo>
                <a:lnTo>
                  <a:pt x="146" y="373"/>
                </a:lnTo>
                <a:lnTo>
                  <a:pt x="134" y="382"/>
                </a:lnTo>
                <a:lnTo>
                  <a:pt x="134" y="379"/>
                </a:lnTo>
                <a:lnTo>
                  <a:pt x="131" y="373"/>
                </a:lnTo>
                <a:lnTo>
                  <a:pt x="134" y="366"/>
                </a:lnTo>
                <a:lnTo>
                  <a:pt x="134" y="363"/>
                </a:lnTo>
                <a:lnTo>
                  <a:pt x="134" y="360"/>
                </a:lnTo>
                <a:lnTo>
                  <a:pt x="137" y="360"/>
                </a:lnTo>
                <a:lnTo>
                  <a:pt x="134" y="357"/>
                </a:lnTo>
                <a:lnTo>
                  <a:pt x="131" y="357"/>
                </a:lnTo>
                <a:lnTo>
                  <a:pt x="128" y="357"/>
                </a:lnTo>
                <a:lnTo>
                  <a:pt x="125" y="357"/>
                </a:lnTo>
                <a:lnTo>
                  <a:pt x="121" y="357"/>
                </a:lnTo>
                <a:lnTo>
                  <a:pt x="118" y="357"/>
                </a:lnTo>
                <a:lnTo>
                  <a:pt x="118" y="354"/>
                </a:lnTo>
                <a:lnTo>
                  <a:pt x="115" y="351"/>
                </a:lnTo>
                <a:lnTo>
                  <a:pt x="115" y="347"/>
                </a:lnTo>
                <a:lnTo>
                  <a:pt x="112" y="347"/>
                </a:lnTo>
                <a:lnTo>
                  <a:pt x="112" y="347"/>
                </a:lnTo>
                <a:lnTo>
                  <a:pt x="106" y="351"/>
                </a:lnTo>
                <a:lnTo>
                  <a:pt x="106" y="351"/>
                </a:lnTo>
                <a:lnTo>
                  <a:pt x="106" y="344"/>
                </a:lnTo>
                <a:lnTo>
                  <a:pt x="106" y="341"/>
                </a:lnTo>
                <a:lnTo>
                  <a:pt x="100" y="335"/>
                </a:lnTo>
                <a:lnTo>
                  <a:pt x="100" y="332"/>
                </a:lnTo>
                <a:lnTo>
                  <a:pt x="96" y="332"/>
                </a:lnTo>
                <a:lnTo>
                  <a:pt x="96" y="326"/>
                </a:lnTo>
                <a:lnTo>
                  <a:pt x="93" y="326"/>
                </a:lnTo>
                <a:lnTo>
                  <a:pt x="93" y="322"/>
                </a:lnTo>
                <a:lnTo>
                  <a:pt x="90" y="322"/>
                </a:lnTo>
                <a:lnTo>
                  <a:pt x="87" y="322"/>
                </a:lnTo>
                <a:lnTo>
                  <a:pt x="84" y="319"/>
                </a:lnTo>
                <a:lnTo>
                  <a:pt x="84" y="316"/>
                </a:lnTo>
                <a:lnTo>
                  <a:pt x="84" y="313"/>
                </a:lnTo>
                <a:lnTo>
                  <a:pt x="87" y="316"/>
                </a:lnTo>
                <a:lnTo>
                  <a:pt x="93" y="313"/>
                </a:lnTo>
                <a:lnTo>
                  <a:pt x="93" y="316"/>
                </a:lnTo>
                <a:lnTo>
                  <a:pt x="96" y="316"/>
                </a:lnTo>
                <a:lnTo>
                  <a:pt x="100" y="316"/>
                </a:lnTo>
                <a:lnTo>
                  <a:pt x="100" y="313"/>
                </a:lnTo>
                <a:lnTo>
                  <a:pt x="103" y="313"/>
                </a:lnTo>
                <a:lnTo>
                  <a:pt x="106" y="316"/>
                </a:lnTo>
                <a:lnTo>
                  <a:pt x="106" y="313"/>
                </a:lnTo>
                <a:lnTo>
                  <a:pt x="106" y="313"/>
                </a:lnTo>
                <a:lnTo>
                  <a:pt x="103" y="313"/>
                </a:lnTo>
                <a:lnTo>
                  <a:pt x="100" y="310"/>
                </a:lnTo>
                <a:lnTo>
                  <a:pt x="100" y="310"/>
                </a:lnTo>
                <a:lnTo>
                  <a:pt x="96" y="304"/>
                </a:lnTo>
                <a:lnTo>
                  <a:pt x="96" y="301"/>
                </a:lnTo>
                <a:lnTo>
                  <a:pt x="100" y="301"/>
                </a:lnTo>
                <a:lnTo>
                  <a:pt x="100" y="297"/>
                </a:lnTo>
                <a:lnTo>
                  <a:pt x="100" y="297"/>
                </a:lnTo>
                <a:lnTo>
                  <a:pt x="100" y="294"/>
                </a:lnTo>
                <a:lnTo>
                  <a:pt x="106" y="291"/>
                </a:lnTo>
                <a:lnTo>
                  <a:pt x="109" y="291"/>
                </a:lnTo>
                <a:lnTo>
                  <a:pt x="112" y="291"/>
                </a:lnTo>
                <a:lnTo>
                  <a:pt x="115" y="291"/>
                </a:lnTo>
                <a:lnTo>
                  <a:pt x="118" y="291"/>
                </a:lnTo>
                <a:lnTo>
                  <a:pt x="121" y="291"/>
                </a:lnTo>
                <a:lnTo>
                  <a:pt x="121" y="291"/>
                </a:lnTo>
                <a:lnTo>
                  <a:pt x="125" y="291"/>
                </a:lnTo>
                <a:lnTo>
                  <a:pt x="128" y="294"/>
                </a:lnTo>
                <a:lnTo>
                  <a:pt x="131" y="294"/>
                </a:lnTo>
                <a:lnTo>
                  <a:pt x="134" y="294"/>
                </a:lnTo>
                <a:lnTo>
                  <a:pt x="134" y="291"/>
                </a:lnTo>
                <a:lnTo>
                  <a:pt x="134" y="291"/>
                </a:lnTo>
                <a:lnTo>
                  <a:pt x="128" y="288"/>
                </a:lnTo>
                <a:lnTo>
                  <a:pt x="128" y="285"/>
                </a:lnTo>
                <a:lnTo>
                  <a:pt x="128" y="279"/>
                </a:lnTo>
                <a:lnTo>
                  <a:pt x="131" y="279"/>
                </a:lnTo>
                <a:lnTo>
                  <a:pt x="131" y="276"/>
                </a:lnTo>
                <a:lnTo>
                  <a:pt x="131" y="276"/>
                </a:lnTo>
                <a:lnTo>
                  <a:pt x="128" y="272"/>
                </a:lnTo>
                <a:lnTo>
                  <a:pt x="128" y="272"/>
                </a:lnTo>
                <a:lnTo>
                  <a:pt x="131" y="269"/>
                </a:lnTo>
                <a:lnTo>
                  <a:pt x="131" y="266"/>
                </a:lnTo>
                <a:lnTo>
                  <a:pt x="128" y="263"/>
                </a:lnTo>
                <a:lnTo>
                  <a:pt x="128" y="260"/>
                </a:lnTo>
                <a:lnTo>
                  <a:pt x="128" y="257"/>
                </a:lnTo>
                <a:lnTo>
                  <a:pt x="128" y="257"/>
                </a:lnTo>
                <a:lnTo>
                  <a:pt x="125" y="257"/>
                </a:lnTo>
                <a:lnTo>
                  <a:pt x="125" y="254"/>
                </a:lnTo>
                <a:lnTo>
                  <a:pt x="125" y="250"/>
                </a:lnTo>
                <a:lnTo>
                  <a:pt x="115" y="250"/>
                </a:lnTo>
                <a:lnTo>
                  <a:pt x="115" y="250"/>
                </a:lnTo>
                <a:lnTo>
                  <a:pt x="112" y="250"/>
                </a:lnTo>
                <a:lnTo>
                  <a:pt x="112" y="254"/>
                </a:lnTo>
                <a:lnTo>
                  <a:pt x="109" y="254"/>
                </a:lnTo>
                <a:lnTo>
                  <a:pt x="109" y="257"/>
                </a:lnTo>
                <a:lnTo>
                  <a:pt x="106" y="257"/>
                </a:lnTo>
                <a:lnTo>
                  <a:pt x="103" y="257"/>
                </a:lnTo>
                <a:lnTo>
                  <a:pt x="103" y="254"/>
                </a:lnTo>
                <a:lnTo>
                  <a:pt x="103" y="254"/>
                </a:lnTo>
                <a:lnTo>
                  <a:pt x="100" y="257"/>
                </a:lnTo>
                <a:lnTo>
                  <a:pt x="100" y="254"/>
                </a:lnTo>
                <a:lnTo>
                  <a:pt x="100" y="250"/>
                </a:lnTo>
                <a:lnTo>
                  <a:pt x="96" y="250"/>
                </a:lnTo>
                <a:lnTo>
                  <a:pt x="96" y="250"/>
                </a:lnTo>
                <a:lnTo>
                  <a:pt x="93" y="250"/>
                </a:lnTo>
                <a:lnTo>
                  <a:pt x="90" y="250"/>
                </a:lnTo>
                <a:lnTo>
                  <a:pt x="87" y="250"/>
                </a:lnTo>
                <a:lnTo>
                  <a:pt x="84" y="250"/>
                </a:lnTo>
                <a:lnTo>
                  <a:pt x="84" y="254"/>
                </a:lnTo>
                <a:lnTo>
                  <a:pt x="81" y="257"/>
                </a:lnTo>
                <a:lnTo>
                  <a:pt x="81" y="254"/>
                </a:lnTo>
                <a:lnTo>
                  <a:pt x="78" y="254"/>
                </a:lnTo>
                <a:lnTo>
                  <a:pt x="78" y="257"/>
                </a:lnTo>
                <a:lnTo>
                  <a:pt x="75" y="257"/>
                </a:lnTo>
                <a:lnTo>
                  <a:pt x="71" y="260"/>
                </a:lnTo>
                <a:lnTo>
                  <a:pt x="68" y="263"/>
                </a:lnTo>
                <a:lnTo>
                  <a:pt x="68" y="263"/>
                </a:lnTo>
                <a:lnTo>
                  <a:pt x="68" y="263"/>
                </a:lnTo>
                <a:lnTo>
                  <a:pt x="65" y="266"/>
                </a:lnTo>
                <a:lnTo>
                  <a:pt x="65" y="263"/>
                </a:lnTo>
                <a:lnTo>
                  <a:pt x="62" y="263"/>
                </a:lnTo>
                <a:lnTo>
                  <a:pt x="62" y="266"/>
                </a:lnTo>
                <a:lnTo>
                  <a:pt x="59" y="266"/>
                </a:lnTo>
                <a:lnTo>
                  <a:pt x="56" y="263"/>
                </a:lnTo>
                <a:lnTo>
                  <a:pt x="56" y="263"/>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0" name="Freeform 18">
            <a:extLst>
              <a:ext uri="{FF2B5EF4-FFF2-40B4-BE49-F238E27FC236}">
                <a16:creationId xmlns:a16="http://schemas.microsoft.com/office/drawing/2014/main" id="{2E61E2E6-E10E-EED5-54B1-A571CC7AE1E1}"/>
              </a:ext>
            </a:extLst>
          </p:cNvPr>
          <p:cNvSpPr>
            <a:spLocks/>
          </p:cNvSpPr>
          <p:nvPr userDrawn="1"/>
        </p:nvSpPr>
        <p:spPr bwMode="auto">
          <a:xfrm>
            <a:off x="16423202" y="6247681"/>
            <a:ext cx="1003237" cy="625478"/>
          </a:xfrm>
          <a:custGeom>
            <a:avLst/>
            <a:gdLst>
              <a:gd name="T0" fmla="*/ 250 w 316"/>
              <a:gd name="T1" fmla="*/ 185 h 197"/>
              <a:gd name="T2" fmla="*/ 256 w 316"/>
              <a:gd name="T3" fmla="*/ 172 h 197"/>
              <a:gd name="T4" fmla="*/ 253 w 316"/>
              <a:gd name="T5" fmla="*/ 166 h 197"/>
              <a:gd name="T6" fmla="*/ 253 w 316"/>
              <a:gd name="T7" fmla="*/ 156 h 197"/>
              <a:gd name="T8" fmla="*/ 247 w 316"/>
              <a:gd name="T9" fmla="*/ 150 h 197"/>
              <a:gd name="T10" fmla="*/ 238 w 316"/>
              <a:gd name="T11" fmla="*/ 147 h 197"/>
              <a:gd name="T12" fmla="*/ 241 w 316"/>
              <a:gd name="T13" fmla="*/ 138 h 197"/>
              <a:gd name="T14" fmla="*/ 253 w 316"/>
              <a:gd name="T15" fmla="*/ 138 h 197"/>
              <a:gd name="T16" fmla="*/ 263 w 316"/>
              <a:gd name="T17" fmla="*/ 128 h 197"/>
              <a:gd name="T18" fmla="*/ 260 w 316"/>
              <a:gd name="T19" fmla="*/ 125 h 197"/>
              <a:gd name="T20" fmla="*/ 275 w 316"/>
              <a:gd name="T21" fmla="*/ 119 h 197"/>
              <a:gd name="T22" fmla="*/ 269 w 316"/>
              <a:gd name="T23" fmla="*/ 113 h 197"/>
              <a:gd name="T24" fmla="*/ 272 w 316"/>
              <a:gd name="T25" fmla="*/ 106 h 197"/>
              <a:gd name="T26" fmla="*/ 281 w 316"/>
              <a:gd name="T27" fmla="*/ 103 h 197"/>
              <a:gd name="T28" fmla="*/ 294 w 316"/>
              <a:gd name="T29" fmla="*/ 100 h 197"/>
              <a:gd name="T30" fmla="*/ 303 w 316"/>
              <a:gd name="T31" fmla="*/ 103 h 197"/>
              <a:gd name="T32" fmla="*/ 316 w 316"/>
              <a:gd name="T33" fmla="*/ 97 h 197"/>
              <a:gd name="T34" fmla="*/ 307 w 316"/>
              <a:gd name="T35" fmla="*/ 85 h 197"/>
              <a:gd name="T36" fmla="*/ 303 w 316"/>
              <a:gd name="T37" fmla="*/ 91 h 197"/>
              <a:gd name="T38" fmla="*/ 297 w 316"/>
              <a:gd name="T39" fmla="*/ 94 h 197"/>
              <a:gd name="T40" fmla="*/ 285 w 316"/>
              <a:gd name="T41" fmla="*/ 88 h 197"/>
              <a:gd name="T42" fmla="*/ 281 w 316"/>
              <a:gd name="T43" fmla="*/ 78 h 197"/>
              <a:gd name="T44" fmla="*/ 288 w 316"/>
              <a:gd name="T45" fmla="*/ 66 h 197"/>
              <a:gd name="T46" fmla="*/ 281 w 316"/>
              <a:gd name="T47" fmla="*/ 72 h 197"/>
              <a:gd name="T48" fmla="*/ 269 w 316"/>
              <a:gd name="T49" fmla="*/ 81 h 197"/>
              <a:gd name="T50" fmla="*/ 266 w 316"/>
              <a:gd name="T51" fmla="*/ 91 h 197"/>
              <a:gd name="T52" fmla="*/ 253 w 316"/>
              <a:gd name="T53" fmla="*/ 103 h 197"/>
              <a:gd name="T54" fmla="*/ 244 w 316"/>
              <a:gd name="T55" fmla="*/ 97 h 197"/>
              <a:gd name="T56" fmla="*/ 231 w 316"/>
              <a:gd name="T57" fmla="*/ 97 h 197"/>
              <a:gd name="T58" fmla="*/ 216 w 316"/>
              <a:gd name="T59" fmla="*/ 103 h 197"/>
              <a:gd name="T60" fmla="*/ 194 w 316"/>
              <a:gd name="T61" fmla="*/ 78 h 197"/>
              <a:gd name="T62" fmla="*/ 188 w 316"/>
              <a:gd name="T63" fmla="*/ 53 h 197"/>
              <a:gd name="T64" fmla="*/ 172 w 316"/>
              <a:gd name="T65" fmla="*/ 34 h 197"/>
              <a:gd name="T66" fmla="*/ 113 w 316"/>
              <a:gd name="T67" fmla="*/ 38 h 197"/>
              <a:gd name="T68" fmla="*/ 81 w 316"/>
              <a:gd name="T69" fmla="*/ 22 h 197"/>
              <a:gd name="T70" fmla="*/ 0 w 316"/>
              <a:gd name="T71" fmla="*/ 9 h 197"/>
              <a:gd name="T72" fmla="*/ 25 w 316"/>
              <a:gd name="T73" fmla="*/ 103 h 197"/>
              <a:gd name="T74" fmla="*/ 35 w 316"/>
              <a:gd name="T75" fmla="*/ 100 h 197"/>
              <a:gd name="T76" fmla="*/ 31 w 316"/>
              <a:gd name="T77" fmla="*/ 88 h 197"/>
              <a:gd name="T78" fmla="*/ 41 w 316"/>
              <a:gd name="T79" fmla="*/ 78 h 197"/>
              <a:gd name="T80" fmla="*/ 47 w 316"/>
              <a:gd name="T81" fmla="*/ 72 h 197"/>
              <a:gd name="T82" fmla="*/ 56 w 316"/>
              <a:gd name="T83" fmla="*/ 72 h 197"/>
              <a:gd name="T84" fmla="*/ 60 w 316"/>
              <a:gd name="T85" fmla="*/ 69 h 197"/>
              <a:gd name="T86" fmla="*/ 85 w 316"/>
              <a:gd name="T87" fmla="*/ 81 h 197"/>
              <a:gd name="T88" fmla="*/ 100 w 316"/>
              <a:gd name="T89" fmla="*/ 94 h 197"/>
              <a:gd name="T90" fmla="*/ 116 w 316"/>
              <a:gd name="T91" fmla="*/ 100 h 197"/>
              <a:gd name="T92" fmla="*/ 128 w 316"/>
              <a:gd name="T93" fmla="*/ 106 h 197"/>
              <a:gd name="T94" fmla="*/ 135 w 316"/>
              <a:gd name="T95" fmla="*/ 119 h 197"/>
              <a:gd name="T96" fmla="*/ 141 w 316"/>
              <a:gd name="T97" fmla="*/ 135 h 197"/>
              <a:gd name="T98" fmla="*/ 163 w 316"/>
              <a:gd name="T99" fmla="*/ 144 h 197"/>
              <a:gd name="T100" fmla="*/ 191 w 316"/>
              <a:gd name="T101" fmla="*/ 160 h 197"/>
              <a:gd name="T102" fmla="*/ 213 w 316"/>
              <a:gd name="T103" fmla="*/ 172 h 197"/>
              <a:gd name="T104" fmla="*/ 219 w 316"/>
              <a:gd name="T105" fmla="*/ 175 h 197"/>
              <a:gd name="T106" fmla="*/ 225 w 316"/>
              <a:gd name="T107" fmla="*/ 185 h 197"/>
              <a:gd name="T108" fmla="*/ 231 w 316"/>
              <a:gd name="T109" fmla="*/ 191 h 197"/>
              <a:gd name="T110" fmla="*/ 238 w 316"/>
              <a:gd name="T111" fmla="*/ 197 h 197"/>
              <a:gd name="T112" fmla="*/ 244 w 316"/>
              <a:gd name="T113" fmla="*/ 194 h 197"/>
              <a:gd name="T114" fmla="*/ 250 w 316"/>
              <a:gd name="T115"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6" h="197">
                <a:moveTo>
                  <a:pt x="250" y="197"/>
                </a:moveTo>
                <a:lnTo>
                  <a:pt x="250" y="185"/>
                </a:lnTo>
                <a:lnTo>
                  <a:pt x="256" y="175"/>
                </a:lnTo>
                <a:lnTo>
                  <a:pt x="256" y="172"/>
                </a:lnTo>
                <a:lnTo>
                  <a:pt x="256" y="166"/>
                </a:lnTo>
                <a:lnTo>
                  <a:pt x="253" y="166"/>
                </a:lnTo>
                <a:lnTo>
                  <a:pt x="250" y="160"/>
                </a:lnTo>
                <a:lnTo>
                  <a:pt x="253" y="156"/>
                </a:lnTo>
                <a:lnTo>
                  <a:pt x="250" y="150"/>
                </a:lnTo>
                <a:lnTo>
                  <a:pt x="247" y="150"/>
                </a:lnTo>
                <a:lnTo>
                  <a:pt x="244" y="153"/>
                </a:lnTo>
                <a:lnTo>
                  <a:pt x="238" y="147"/>
                </a:lnTo>
                <a:lnTo>
                  <a:pt x="238" y="141"/>
                </a:lnTo>
                <a:lnTo>
                  <a:pt x="241" y="138"/>
                </a:lnTo>
                <a:lnTo>
                  <a:pt x="250" y="138"/>
                </a:lnTo>
                <a:lnTo>
                  <a:pt x="253" y="138"/>
                </a:lnTo>
                <a:lnTo>
                  <a:pt x="253" y="131"/>
                </a:lnTo>
                <a:lnTo>
                  <a:pt x="263" y="128"/>
                </a:lnTo>
                <a:lnTo>
                  <a:pt x="260" y="125"/>
                </a:lnTo>
                <a:lnTo>
                  <a:pt x="260" y="125"/>
                </a:lnTo>
                <a:lnTo>
                  <a:pt x="266" y="122"/>
                </a:lnTo>
                <a:lnTo>
                  <a:pt x="275" y="119"/>
                </a:lnTo>
                <a:lnTo>
                  <a:pt x="275" y="116"/>
                </a:lnTo>
                <a:lnTo>
                  <a:pt x="269" y="113"/>
                </a:lnTo>
                <a:lnTo>
                  <a:pt x="269" y="110"/>
                </a:lnTo>
                <a:lnTo>
                  <a:pt x="272" y="106"/>
                </a:lnTo>
                <a:lnTo>
                  <a:pt x="278" y="103"/>
                </a:lnTo>
                <a:lnTo>
                  <a:pt x="281" y="103"/>
                </a:lnTo>
                <a:lnTo>
                  <a:pt x="288" y="97"/>
                </a:lnTo>
                <a:lnTo>
                  <a:pt x="294" y="100"/>
                </a:lnTo>
                <a:lnTo>
                  <a:pt x="294" y="103"/>
                </a:lnTo>
                <a:lnTo>
                  <a:pt x="303" y="103"/>
                </a:lnTo>
                <a:lnTo>
                  <a:pt x="310" y="103"/>
                </a:lnTo>
                <a:lnTo>
                  <a:pt x="316" y="97"/>
                </a:lnTo>
                <a:lnTo>
                  <a:pt x="316" y="94"/>
                </a:lnTo>
                <a:lnTo>
                  <a:pt x="307" y="85"/>
                </a:lnTo>
                <a:lnTo>
                  <a:pt x="303" y="85"/>
                </a:lnTo>
                <a:lnTo>
                  <a:pt x="303" y="91"/>
                </a:lnTo>
                <a:lnTo>
                  <a:pt x="300" y="94"/>
                </a:lnTo>
                <a:lnTo>
                  <a:pt x="297" y="94"/>
                </a:lnTo>
                <a:lnTo>
                  <a:pt x="291" y="91"/>
                </a:lnTo>
                <a:lnTo>
                  <a:pt x="285" y="88"/>
                </a:lnTo>
                <a:lnTo>
                  <a:pt x="278" y="85"/>
                </a:lnTo>
                <a:lnTo>
                  <a:pt x="281" y="78"/>
                </a:lnTo>
                <a:lnTo>
                  <a:pt x="288" y="69"/>
                </a:lnTo>
                <a:lnTo>
                  <a:pt x="288" y="66"/>
                </a:lnTo>
                <a:lnTo>
                  <a:pt x="285" y="66"/>
                </a:lnTo>
                <a:lnTo>
                  <a:pt x="281" y="72"/>
                </a:lnTo>
                <a:lnTo>
                  <a:pt x="278" y="72"/>
                </a:lnTo>
                <a:lnTo>
                  <a:pt x="269" y="81"/>
                </a:lnTo>
                <a:lnTo>
                  <a:pt x="269" y="88"/>
                </a:lnTo>
                <a:lnTo>
                  <a:pt x="266" y="91"/>
                </a:lnTo>
                <a:lnTo>
                  <a:pt x="263" y="97"/>
                </a:lnTo>
                <a:lnTo>
                  <a:pt x="253" y="103"/>
                </a:lnTo>
                <a:lnTo>
                  <a:pt x="250" y="103"/>
                </a:lnTo>
                <a:lnTo>
                  <a:pt x="244" y="97"/>
                </a:lnTo>
                <a:lnTo>
                  <a:pt x="235" y="97"/>
                </a:lnTo>
                <a:lnTo>
                  <a:pt x="231" y="97"/>
                </a:lnTo>
                <a:lnTo>
                  <a:pt x="222" y="103"/>
                </a:lnTo>
                <a:lnTo>
                  <a:pt x="216" y="103"/>
                </a:lnTo>
                <a:lnTo>
                  <a:pt x="210" y="81"/>
                </a:lnTo>
                <a:lnTo>
                  <a:pt x="194" y="78"/>
                </a:lnTo>
                <a:lnTo>
                  <a:pt x="194" y="50"/>
                </a:lnTo>
                <a:lnTo>
                  <a:pt x="188" y="53"/>
                </a:lnTo>
                <a:lnTo>
                  <a:pt x="181" y="41"/>
                </a:lnTo>
                <a:lnTo>
                  <a:pt x="172" y="34"/>
                </a:lnTo>
                <a:lnTo>
                  <a:pt x="141" y="34"/>
                </a:lnTo>
                <a:lnTo>
                  <a:pt x="113" y="38"/>
                </a:lnTo>
                <a:lnTo>
                  <a:pt x="94" y="25"/>
                </a:lnTo>
                <a:lnTo>
                  <a:pt x="81" y="22"/>
                </a:lnTo>
                <a:lnTo>
                  <a:pt x="50" y="0"/>
                </a:lnTo>
                <a:lnTo>
                  <a:pt x="0" y="9"/>
                </a:lnTo>
                <a:lnTo>
                  <a:pt x="16" y="103"/>
                </a:lnTo>
                <a:lnTo>
                  <a:pt x="25" y="103"/>
                </a:lnTo>
                <a:lnTo>
                  <a:pt x="31" y="103"/>
                </a:lnTo>
                <a:lnTo>
                  <a:pt x="35" y="100"/>
                </a:lnTo>
                <a:lnTo>
                  <a:pt x="31" y="97"/>
                </a:lnTo>
                <a:lnTo>
                  <a:pt x="31" y="88"/>
                </a:lnTo>
                <a:lnTo>
                  <a:pt x="35" y="81"/>
                </a:lnTo>
                <a:lnTo>
                  <a:pt x="41" y="78"/>
                </a:lnTo>
                <a:lnTo>
                  <a:pt x="44" y="75"/>
                </a:lnTo>
                <a:lnTo>
                  <a:pt x="47" y="72"/>
                </a:lnTo>
                <a:lnTo>
                  <a:pt x="53" y="75"/>
                </a:lnTo>
                <a:lnTo>
                  <a:pt x="56" y="72"/>
                </a:lnTo>
                <a:lnTo>
                  <a:pt x="50" y="69"/>
                </a:lnTo>
                <a:lnTo>
                  <a:pt x="60" y="69"/>
                </a:lnTo>
                <a:lnTo>
                  <a:pt x="75" y="75"/>
                </a:lnTo>
                <a:lnTo>
                  <a:pt x="85" y="81"/>
                </a:lnTo>
                <a:lnTo>
                  <a:pt x="88" y="88"/>
                </a:lnTo>
                <a:lnTo>
                  <a:pt x="100" y="94"/>
                </a:lnTo>
                <a:lnTo>
                  <a:pt x="113" y="100"/>
                </a:lnTo>
                <a:lnTo>
                  <a:pt x="116" y="100"/>
                </a:lnTo>
                <a:lnTo>
                  <a:pt x="119" y="100"/>
                </a:lnTo>
                <a:lnTo>
                  <a:pt x="128" y="106"/>
                </a:lnTo>
                <a:lnTo>
                  <a:pt x="131" y="119"/>
                </a:lnTo>
                <a:lnTo>
                  <a:pt x="135" y="119"/>
                </a:lnTo>
                <a:lnTo>
                  <a:pt x="138" y="125"/>
                </a:lnTo>
                <a:lnTo>
                  <a:pt x="141" y="135"/>
                </a:lnTo>
                <a:lnTo>
                  <a:pt x="147" y="138"/>
                </a:lnTo>
                <a:lnTo>
                  <a:pt x="163" y="144"/>
                </a:lnTo>
                <a:lnTo>
                  <a:pt x="175" y="153"/>
                </a:lnTo>
                <a:lnTo>
                  <a:pt x="191" y="160"/>
                </a:lnTo>
                <a:lnTo>
                  <a:pt x="203" y="169"/>
                </a:lnTo>
                <a:lnTo>
                  <a:pt x="213" y="172"/>
                </a:lnTo>
                <a:lnTo>
                  <a:pt x="216" y="175"/>
                </a:lnTo>
                <a:lnTo>
                  <a:pt x="219" y="175"/>
                </a:lnTo>
                <a:lnTo>
                  <a:pt x="225" y="178"/>
                </a:lnTo>
                <a:lnTo>
                  <a:pt x="225" y="185"/>
                </a:lnTo>
                <a:lnTo>
                  <a:pt x="225" y="194"/>
                </a:lnTo>
                <a:lnTo>
                  <a:pt x="231" y="191"/>
                </a:lnTo>
                <a:lnTo>
                  <a:pt x="238" y="194"/>
                </a:lnTo>
                <a:lnTo>
                  <a:pt x="238" y="197"/>
                </a:lnTo>
                <a:lnTo>
                  <a:pt x="241" y="197"/>
                </a:lnTo>
                <a:lnTo>
                  <a:pt x="244" y="194"/>
                </a:lnTo>
                <a:lnTo>
                  <a:pt x="247" y="194"/>
                </a:lnTo>
                <a:lnTo>
                  <a:pt x="250" y="19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1" name="Freeform 19">
            <a:extLst>
              <a:ext uri="{FF2B5EF4-FFF2-40B4-BE49-F238E27FC236}">
                <a16:creationId xmlns:a16="http://schemas.microsoft.com/office/drawing/2014/main" id="{897898AD-1896-9810-75E2-5320AE246138}"/>
              </a:ext>
            </a:extLst>
          </p:cNvPr>
          <p:cNvSpPr>
            <a:spLocks/>
          </p:cNvSpPr>
          <p:nvPr userDrawn="1"/>
        </p:nvSpPr>
        <p:spPr bwMode="auto">
          <a:xfrm>
            <a:off x="16245413" y="6466759"/>
            <a:ext cx="892118" cy="565150"/>
          </a:xfrm>
          <a:custGeom>
            <a:avLst/>
            <a:gdLst>
              <a:gd name="T0" fmla="*/ 281 w 281"/>
              <a:gd name="T1" fmla="*/ 109 h 178"/>
              <a:gd name="T2" fmla="*/ 269 w 281"/>
              <a:gd name="T3" fmla="*/ 103 h 178"/>
              <a:gd name="T4" fmla="*/ 231 w 281"/>
              <a:gd name="T5" fmla="*/ 84 h 178"/>
              <a:gd name="T6" fmla="*/ 197 w 281"/>
              <a:gd name="T7" fmla="*/ 66 h 178"/>
              <a:gd name="T8" fmla="*/ 187 w 281"/>
              <a:gd name="T9" fmla="*/ 50 h 178"/>
              <a:gd name="T10" fmla="*/ 172 w 281"/>
              <a:gd name="T11" fmla="*/ 31 h 178"/>
              <a:gd name="T12" fmla="*/ 144 w 281"/>
              <a:gd name="T13" fmla="*/ 19 h 178"/>
              <a:gd name="T14" fmla="*/ 116 w 281"/>
              <a:gd name="T15" fmla="*/ 0 h 178"/>
              <a:gd name="T16" fmla="*/ 109 w 281"/>
              <a:gd name="T17" fmla="*/ 6 h 178"/>
              <a:gd name="T18" fmla="*/ 97 w 281"/>
              <a:gd name="T19" fmla="*/ 9 h 178"/>
              <a:gd name="T20" fmla="*/ 87 w 281"/>
              <a:gd name="T21" fmla="*/ 28 h 178"/>
              <a:gd name="T22" fmla="*/ 81 w 281"/>
              <a:gd name="T23" fmla="*/ 34 h 178"/>
              <a:gd name="T24" fmla="*/ 47 w 281"/>
              <a:gd name="T25" fmla="*/ 22 h 178"/>
              <a:gd name="T26" fmla="*/ 12 w 281"/>
              <a:gd name="T27" fmla="*/ 16 h 178"/>
              <a:gd name="T28" fmla="*/ 3 w 281"/>
              <a:gd name="T29" fmla="*/ 31 h 178"/>
              <a:gd name="T30" fmla="*/ 9 w 281"/>
              <a:gd name="T31" fmla="*/ 41 h 178"/>
              <a:gd name="T32" fmla="*/ 9 w 281"/>
              <a:gd name="T33" fmla="*/ 56 h 178"/>
              <a:gd name="T34" fmla="*/ 12 w 281"/>
              <a:gd name="T35" fmla="*/ 72 h 178"/>
              <a:gd name="T36" fmla="*/ 19 w 281"/>
              <a:gd name="T37" fmla="*/ 72 h 178"/>
              <a:gd name="T38" fmla="*/ 28 w 281"/>
              <a:gd name="T39" fmla="*/ 72 h 178"/>
              <a:gd name="T40" fmla="*/ 28 w 281"/>
              <a:gd name="T41" fmla="*/ 81 h 178"/>
              <a:gd name="T42" fmla="*/ 34 w 281"/>
              <a:gd name="T43" fmla="*/ 84 h 178"/>
              <a:gd name="T44" fmla="*/ 25 w 281"/>
              <a:gd name="T45" fmla="*/ 81 h 178"/>
              <a:gd name="T46" fmla="*/ 25 w 281"/>
              <a:gd name="T47" fmla="*/ 94 h 178"/>
              <a:gd name="T48" fmla="*/ 28 w 281"/>
              <a:gd name="T49" fmla="*/ 87 h 178"/>
              <a:gd name="T50" fmla="*/ 37 w 281"/>
              <a:gd name="T51" fmla="*/ 94 h 178"/>
              <a:gd name="T52" fmla="*/ 41 w 281"/>
              <a:gd name="T53" fmla="*/ 109 h 178"/>
              <a:gd name="T54" fmla="*/ 47 w 281"/>
              <a:gd name="T55" fmla="*/ 134 h 178"/>
              <a:gd name="T56" fmla="*/ 59 w 281"/>
              <a:gd name="T57" fmla="*/ 125 h 178"/>
              <a:gd name="T58" fmla="*/ 75 w 281"/>
              <a:gd name="T59" fmla="*/ 116 h 178"/>
              <a:gd name="T60" fmla="*/ 91 w 281"/>
              <a:gd name="T61" fmla="*/ 112 h 178"/>
              <a:gd name="T62" fmla="*/ 103 w 281"/>
              <a:gd name="T63" fmla="*/ 112 h 178"/>
              <a:gd name="T64" fmla="*/ 128 w 281"/>
              <a:gd name="T65" fmla="*/ 125 h 178"/>
              <a:gd name="T66" fmla="*/ 144 w 281"/>
              <a:gd name="T67" fmla="*/ 128 h 178"/>
              <a:gd name="T68" fmla="*/ 150 w 281"/>
              <a:gd name="T69" fmla="*/ 134 h 178"/>
              <a:gd name="T70" fmla="*/ 169 w 281"/>
              <a:gd name="T71" fmla="*/ 147 h 178"/>
              <a:gd name="T72" fmla="*/ 184 w 281"/>
              <a:gd name="T73" fmla="*/ 156 h 178"/>
              <a:gd name="T74" fmla="*/ 187 w 281"/>
              <a:gd name="T75" fmla="*/ 166 h 178"/>
              <a:gd name="T76" fmla="*/ 194 w 281"/>
              <a:gd name="T77" fmla="*/ 169 h 178"/>
              <a:gd name="T78" fmla="*/ 203 w 281"/>
              <a:gd name="T79" fmla="*/ 169 h 178"/>
              <a:gd name="T80" fmla="*/ 212 w 281"/>
              <a:gd name="T81" fmla="*/ 175 h 178"/>
              <a:gd name="T82" fmla="*/ 222 w 281"/>
              <a:gd name="T83" fmla="*/ 175 h 178"/>
              <a:gd name="T84" fmla="*/ 228 w 281"/>
              <a:gd name="T85" fmla="*/ 166 h 178"/>
              <a:gd name="T86" fmla="*/ 241 w 281"/>
              <a:gd name="T87" fmla="*/ 159 h 178"/>
              <a:gd name="T88" fmla="*/ 247 w 281"/>
              <a:gd name="T89" fmla="*/ 153 h 178"/>
              <a:gd name="T90" fmla="*/ 253 w 281"/>
              <a:gd name="T91" fmla="*/ 138 h 178"/>
              <a:gd name="T92" fmla="*/ 250 w 281"/>
              <a:gd name="T93" fmla="*/ 131 h 178"/>
              <a:gd name="T94" fmla="*/ 259 w 281"/>
              <a:gd name="T95" fmla="*/ 128 h 178"/>
              <a:gd name="T96" fmla="*/ 272 w 281"/>
              <a:gd name="T97" fmla="*/ 122 h 178"/>
              <a:gd name="T98" fmla="*/ 281 w 281"/>
              <a:gd name="T99" fmla="*/ 12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178">
                <a:moveTo>
                  <a:pt x="281" y="125"/>
                </a:moveTo>
                <a:lnTo>
                  <a:pt x="281" y="116"/>
                </a:lnTo>
                <a:lnTo>
                  <a:pt x="281" y="109"/>
                </a:lnTo>
                <a:lnTo>
                  <a:pt x="275" y="106"/>
                </a:lnTo>
                <a:lnTo>
                  <a:pt x="272" y="106"/>
                </a:lnTo>
                <a:lnTo>
                  <a:pt x="269" y="103"/>
                </a:lnTo>
                <a:lnTo>
                  <a:pt x="259" y="100"/>
                </a:lnTo>
                <a:lnTo>
                  <a:pt x="247" y="91"/>
                </a:lnTo>
                <a:lnTo>
                  <a:pt x="231" y="84"/>
                </a:lnTo>
                <a:lnTo>
                  <a:pt x="219" y="75"/>
                </a:lnTo>
                <a:lnTo>
                  <a:pt x="203" y="69"/>
                </a:lnTo>
                <a:lnTo>
                  <a:pt x="197" y="66"/>
                </a:lnTo>
                <a:lnTo>
                  <a:pt x="194" y="56"/>
                </a:lnTo>
                <a:lnTo>
                  <a:pt x="191" y="50"/>
                </a:lnTo>
                <a:lnTo>
                  <a:pt x="187" y="50"/>
                </a:lnTo>
                <a:lnTo>
                  <a:pt x="184" y="37"/>
                </a:lnTo>
                <a:lnTo>
                  <a:pt x="175" y="31"/>
                </a:lnTo>
                <a:lnTo>
                  <a:pt x="172" y="31"/>
                </a:lnTo>
                <a:lnTo>
                  <a:pt x="169" y="31"/>
                </a:lnTo>
                <a:lnTo>
                  <a:pt x="156" y="25"/>
                </a:lnTo>
                <a:lnTo>
                  <a:pt x="144" y="19"/>
                </a:lnTo>
                <a:lnTo>
                  <a:pt x="141" y="12"/>
                </a:lnTo>
                <a:lnTo>
                  <a:pt x="131" y="6"/>
                </a:lnTo>
                <a:lnTo>
                  <a:pt x="116" y="0"/>
                </a:lnTo>
                <a:lnTo>
                  <a:pt x="106" y="0"/>
                </a:lnTo>
                <a:lnTo>
                  <a:pt x="112" y="3"/>
                </a:lnTo>
                <a:lnTo>
                  <a:pt x="109" y="6"/>
                </a:lnTo>
                <a:lnTo>
                  <a:pt x="103" y="3"/>
                </a:lnTo>
                <a:lnTo>
                  <a:pt x="100" y="6"/>
                </a:lnTo>
                <a:lnTo>
                  <a:pt x="97" y="9"/>
                </a:lnTo>
                <a:lnTo>
                  <a:pt x="91" y="12"/>
                </a:lnTo>
                <a:lnTo>
                  <a:pt x="87" y="19"/>
                </a:lnTo>
                <a:lnTo>
                  <a:pt x="87" y="28"/>
                </a:lnTo>
                <a:lnTo>
                  <a:pt x="91" y="31"/>
                </a:lnTo>
                <a:lnTo>
                  <a:pt x="87" y="34"/>
                </a:lnTo>
                <a:lnTo>
                  <a:pt x="81" y="34"/>
                </a:lnTo>
                <a:lnTo>
                  <a:pt x="69" y="34"/>
                </a:lnTo>
                <a:lnTo>
                  <a:pt x="62" y="37"/>
                </a:lnTo>
                <a:lnTo>
                  <a:pt x="47" y="22"/>
                </a:lnTo>
                <a:lnTo>
                  <a:pt x="34" y="12"/>
                </a:lnTo>
                <a:lnTo>
                  <a:pt x="22" y="12"/>
                </a:lnTo>
                <a:lnTo>
                  <a:pt x="12" y="16"/>
                </a:lnTo>
                <a:lnTo>
                  <a:pt x="0" y="25"/>
                </a:lnTo>
                <a:lnTo>
                  <a:pt x="0" y="28"/>
                </a:lnTo>
                <a:lnTo>
                  <a:pt x="3" y="31"/>
                </a:lnTo>
                <a:lnTo>
                  <a:pt x="3" y="34"/>
                </a:lnTo>
                <a:lnTo>
                  <a:pt x="6" y="37"/>
                </a:lnTo>
                <a:lnTo>
                  <a:pt x="9" y="41"/>
                </a:lnTo>
                <a:lnTo>
                  <a:pt x="12" y="47"/>
                </a:lnTo>
                <a:lnTo>
                  <a:pt x="12" y="53"/>
                </a:lnTo>
                <a:lnTo>
                  <a:pt x="9" y="56"/>
                </a:lnTo>
                <a:lnTo>
                  <a:pt x="9" y="66"/>
                </a:lnTo>
                <a:lnTo>
                  <a:pt x="12" y="69"/>
                </a:lnTo>
                <a:lnTo>
                  <a:pt x="12" y="72"/>
                </a:lnTo>
                <a:lnTo>
                  <a:pt x="22" y="78"/>
                </a:lnTo>
                <a:lnTo>
                  <a:pt x="19" y="75"/>
                </a:lnTo>
                <a:lnTo>
                  <a:pt x="19" y="72"/>
                </a:lnTo>
                <a:lnTo>
                  <a:pt x="19" y="72"/>
                </a:lnTo>
                <a:lnTo>
                  <a:pt x="25" y="72"/>
                </a:lnTo>
                <a:lnTo>
                  <a:pt x="28" y="72"/>
                </a:lnTo>
                <a:lnTo>
                  <a:pt x="28" y="72"/>
                </a:lnTo>
                <a:lnTo>
                  <a:pt x="28" y="75"/>
                </a:lnTo>
                <a:lnTo>
                  <a:pt x="28" y="81"/>
                </a:lnTo>
                <a:lnTo>
                  <a:pt x="31" y="78"/>
                </a:lnTo>
                <a:lnTo>
                  <a:pt x="34" y="84"/>
                </a:lnTo>
                <a:lnTo>
                  <a:pt x="34" y="84"/>
                </a:lnTo>
                <a:lnTo>
                  <a:pt x="31" y="84"/>
                </a:lnTo>
                <a:lnTo>
                  <a:pt x="28" y="84"/>
                </a:lnTo>
                <a:lnTo>
                  <a:pt x="25" y="81"/>
                </a:lnTo>
                <a:lnTo>
                  <a:pt x="22" y="84"/>
                </a:lnTo>
                <a:lnTo>
                  <a:pt x="22" y="87"/>
                </a:lnTo>
                <a:lnTo>
                  <a:pt x="25" y="94"/>
                </a:lnTo>
                <a:lnTo>
                  <a:pt x="25" y="87"/>
                </a:lnTo>
                <a:lnTo>
                  <a:pt x="25" y="87"/>
                </a:lnTo>
                <a:lnTo>
                  <a:pt x="28" y="87"/>
                </a:lnTo>
                <a:lnTo>
                  <a:pt x="31" y="87"/>
                </a:lnTo>
                <a:lnTo>
                  <a:pt x="34" y="94"/>
                </a:lnTo>
                <a:lnTo>
                  <a:pt x="37" y="94"/>
                </a:lnTo>
                <a:lnTo>
                  <a:pt x="41" y="100"/>
                </a:lnTo>
                <a:lnTo>
                  <a:pt x="41" y="106"/>
                </a:lnTo>
                <a:lnTo>
                  <a:pt x="41" y="109"/>
                </a:lnTo>
                <a:lnTo>
                  <a:pt x="41" y="119"/>
                </a:lnTo>
                <a:lnTo>
                  <a:pt x="41" y="125"/>
                </a:lnTo>
                <a:lnTo>
                  <a:pt x="47" y="134"/>
                </a:lnTo>
                <a:lnTo>
                  <a:pt x="50" y="131"/>
                </a:lnTo>
                <a:lnTo>
                  <a:pt x="59" y="131"/>
                </a:lnTo>
                <a:lnTo>
                  <a:pt x="59" y="125"/>
                </a:lnTo>
                <a:lnTo>
                  <a:pt x="62" y="122"/>
                </a:lnTo>
                <a:lnTo>
                  <a:pt x="66" y="122"/>
                </a:lnTo>
                <a:lnTo>
                  <a:pt x="75" y="116"/>
                </a:lnTo>
                <a:lnTo>
                  <a:pt x="84" y="116"/>
                </a:lnTo>
                <a:lnTo>
                  <a:pt x="91" y="116"/>
                </a:lnTo>
                <a:lnTo>
                  <a:pt x="91" y="112"/>
                </a:lnTo>
                <a:lnTo>
                  <a:pt x="97" y="109"/>
                </a:lnTo>
                <a:lnTo>
                  <a:pt x="100" y="112"/>
                </a:lnTo>
                <a:lnTo>
                  <a:pt x="103" y="112"/>
                </a:lnTo>
                <a:lnTo>
                  <a:pt x="112" y="119"/>
                </a:lnTo>
                <a:lnTo>
                  <a:pt x="116" y="119"/>
                </a:lnTo>
                <a:lnTo>
                  <a:pt x="128" y="125"/>
                </a:lnTo>
                <a:lnTo>
                  <a:pt x="131" y="125"/>
                </a:lnTo>
                <a:lnTo>
                  <a:pt x="134" y="125"/>
                </a:lnTo>
                <a:lnTo>
                  <a:pt x="144" y="128"/>
                </a:lnTo>
                <a:lnTo>
                  <a:pt x="147" y="128"/>
                </a:lnTo>
                <a:lnTo>
                  <a:pt x="147" y="134"/>
                </a:lnTo>
                <a:lnTo>
                  <a:pt x="150" y="134"/>
                </a:lnTo>
                <a:lnTo>
                  <a:pt x="153" y="134"/>
                </a:lnTo>
                <a:lnTo>
                  <a:pt x="162" y="138"/>
                </a:lnTo>
                <a:lnTo>
                  <a:pt x="169" y="147"/>
                </a:lnTo>
                <a:lnTo>
                  <a:pt x="178" y="147"/>
                </a:lnTo>
                <a:lnTo>
                  <a:pt x="181" y="150"/>
                </a:lnTo>
                <a:lnTo>
                  <a:pt x="184" y="156"/>
                </a:lnTo>
                <a:lnTo>
                  <a:pt x="184" y="159"/>
                </a:lnTo>
                <a:lnTo>
                  <a:pt x="187" y="163"/>
                </a:lnTo>
                <a:lnTo>
                  <a:pt x="187" y="166"/>
                </a:lnTo>
                <a:lnTo>
                  <a:pt x="187" y="169"/>
                </a:lnTo>
                <a:lnTo>
                  <a:pt x="191" y="169"/>
                </a:lnTo>
                <a:lnTo>
                  <a:pt x="194" y="169"/>
                </a:lnTo>
                <a:lnTo>
                  <a:pt x="197" y="172"/>
                </a:lnTo>
                <a:lnTo>
                  <a:pt x="200" y="172"/>
                </a:lnTo>
                <a:lnTo>
                  <a:pt x="203" y="169"/>
                </a:lnTo>
                <a:lnTo>
                  <a:pt x="206" y="169"/>
                </a:lnTo>
                <a:lnTo>
                  <a:pt x="209" y="172"/>
                </a:lnTo>
                <a:lnTo>
                  <a:pt x="212" y="175"/>
                </a:lnTo>
                <a:lnTo>
                  <a:pt x="212" y="178"/>
                </a:lnTo>
                <a:lnTo>
                  <a:pt x="216" y="175"/>
                </a:lnTo>
                <a:lnTo>
                  <a:pt x="222" y="175"/>
                </a:lnTo>
                <a:lnTo>
                  <a:pt x="225" y="172"/>
                </a:lnTo>
                <a:lnTo>
                  <a:pt x="225" y="169"/>
                </a:lnTo>
                <a:lnTo>
                  <a:pt x="228" y="166"/>
                </a:lnTo>
                <a:lnTo>
                  <a:pt x="225" y="163"/>
                </a:lnTo>
                <a:lnTo>
                  <a:pt x="231" y="159"/>
                </a:lnTo>
                <a:lnTo>
                  <a:pt x="241" y="159"/>
                </a:lnTo>
                <a:lnTo>
                  <a:pt x="241" y="156"/>
                </a:lnTo>
                <a:lnTo>
                  <a:pt x="244" y="153"/>
                </a:lnTo>
                <a:lnTo>
                  <a:pt x="247" y="153"/>
                </a:lnTo>
                <a:lnTo>
                  <a:pt x="247" y="147"/>
                </a:lnTo>
                <a:lnTo>
                  <a:pt x="247" y="144"/>
                </a:lnTo>
                <a:lnTo>
                  <a:pt x="253" y="138"/>
                </a:lnTo>
                <a:lnTo>
                  <a:pt x="253" y="134"/>
                </a:lnTo>
                <a:lnTo>
                  <a:pt x="250" y="134"/>
                </a:lnTo>
                <a:lnTo>
                  <a:pt x="250" y="131"/>
                </a:lnTo>
                <a:lnTo>
                  <a:pt x="253" y="131"/>
                </a:lnTo>
                <a:lnTo>
                  <a:pt x="256" y="128"/>
                </a:lnTo>
                <a:lnTo>
                  <a:pt x="259" y="128"/>
                </a:lnTo>
                <a:lnTo>
                  <a:pt x="262" y="128"/>
                </a:lnTo>
                <a:lnTo>
                  <a:pt x="269" y="122"/>
                </a:lnTo>
                <a:lnTo>
                  <a:pt x="272" y="122"/>
                </a:lnTo>
                <a:lnTo>
                  <a:pt x="275" y="125"/>
                </a:lnTo>
                <a:lnTo>
                  <a:pt x="281" y="122"/>
                </a:lnTo>
                <a:lnTo>
                  <a:pt x="281" y="125"/>
                </a:lnTo>
                <a:lnTo>
                  <a:pt x="281" y="125"/>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2" name="Freeform 20">
            <a:extLst>
              <a:ext uri="{FF2B5EF4-FFF2-40B4-BE49-F238E27FC236}">
                <a16:creationId xmlns:a16="http://schemas.microsoft.com/office/drawing/2014/main" id="{5B555ADE-C660-659F-5182-A6C37775A0EB}"/>
              </a:ext>
            </a:extLst>
          </p:cNvPr>
          <p:cNvSpPr>
            <a:spLocks noEditPoints="1"/>
          </p:cNvSpPr>
          <p:nvPr userDrawn="1"/>
        </p:nvSpPr>
        <p:spPr bwMode="auto">
          <a:xfrm>
            <a:off x="24195100" y="10489485"/>
            <a:ext cx="187314" cy="158750"/>
          </a:xfrm>
          <a:custGeom>
            <a:avLst/>
            <a:gdLst>
              <a:gd name="T0" fmla="*/ 28 w 59"/>
              <a:gd name="T1" fmla="*/ 19 h 50"/>
              <a:gd name="T2" fmla="*/ 31 w 59"/>
              <a:gd name="T3" fmla="*/ 12 h 50"/>
              <a:gd name="T4" fmla="*/ 34 w 59"/>
              <a:gd name="T5" fmla="*/ 12 h 50"/>
              <a:gd name="T6" fmla="*/ 40 w 59"/>
              <a:gd name="T7" fmla="*/ 9 h 50"/>
              <a:gd name="T8" fmla="*/ 43 w 59"/>
              <a:gd name="T9" fmla="*/ 9 h 50"/>
              <a:gd name="T10" fmla="*/ 50 w 59"/>
              <a:gd name="T11" fmla="*/ 6 h 50"/>
              <a:gd name="T12" fmla="*/ 53 w 59"/>
              <a:gd name="T13" fmla="*/ 6 h 50"/>
              <a:gd name="T14" fmla="*/ 59 w 59"/>
              <a:gd name="T15" fmla="*/ 0 h 50"/>
              <a:gd name="T16" fmla="*/ 59 w 59"/>
              <a:gd name="T17" fmla="*/ 3 h 50"/>
              <a:gd name="T18" fmla="*/ 56 w 59"/>
              <a:gd name="T19" fmla="*/ 6 h 50"/>
              <a:gd name="T20" fmla="*/ 56 w 59"/>
              <a:gd name="T21" fmla="*/ 9 h 50"/>
              <a:gd name="T22" fmla="*/ 50 w 59"/>
              <a:gd name="T23" fmla="*/ 15 h 50"/>
              <a:gd name="T24" fmla="*/ 53 w 59"/>
              <a:gd name="T25" fmla="*/ 15 h 50"/>
              <a:gd name="T26" fmla="*/ 56 w 59"/>
              <a:gd name="T27" fmla="*/ 12 h 50"/>
              <a:gd name="T28" fmla="*/ 59 w 59"/>
              <a:gd name="T29" fmla="*/ 15 h 50"/>
              <a:gd name="T30" fmla="*/ 56 w 59"/>
              <a:gd name="T31" fmla="*/ 19 h 50"/>
              <a:gd name="T32" fmla="*/ 46 w 59"/>
              <a:gd name="T33" fmla="*/ 19 h 50"/>
              <a:gd name="T34" fmla="*/ 43 w 59"/>
              <a:gd name="T35" fmla="*/ 15 h 50"/>
              <a:gd name="T36" fmla="*/ 40 w 59"/>
              <a:gd name="T37" fmla="*/ 15 h 50"/>
              <a:gd name="T38" fmla="*/ 40 w 59"/>
              <a:gd name="T39" fmla="*/ 19 h 50"/>
              <a:gd name="T40" fmla="*/ 34 w 59"/>
              <a:gd name="T41" fmla="*/ 19 h 50"/>
              <a:gd name="T42" fmla="*/ 31 w 59"/>
              <a:gd name="T43" fmla="*/ 22 h 50"/>
              <a:gd name="T44" fmla="*/ 28 w 59"/>
              <a:gd name="T45" fmla="*/ 19 h 50"/>
              <a:gd name="T46" fmla="*/ 28 w 59"/>
              <a:gd name="T47" fmla="*/ 19 h 50"/>
              <a:gd name="T48" fmla="*/ 6 w 59"/>
              <a:gd name="T49" fmla="*/ 34 h 50"/>
              <a:gd name="T50" fmla="*/ 12 w 59"/>
              <a:gd name="T51" fmla="*/ 31 h 50"/>
              <a:gd name="T52" fmla="*/ 21 w 59"/>
              <a:gd name="T53" fmla="*/ 28 h 50"/>
              <a:gd name="T54" fmla="*/ 28 w 59"/>
              <a:gd name="T55" fmla="*/ 34 h 50"/>
              <a:gd name="T56" fmla="*/ 31 w 59"/>
              <a:gd name="T57" fmla="*/ 47 h 50"/>
              <a:gd name="T58" fmla="*/ 25 w 59"/>
              <a:gd name="T59" fmla="*/ 50 h 50"/>
              <a:gd name="T60" fmla="*/ 18 w 59"/>
              <a:gd name="T61" fmla="*/ 47 h 50"/>
              <a:gd name="T62" fmla="*/ 15 w 59"/>
              <a:gd name="T63" fmla="*/ 50 h 50"/>
              <a:gd name="T64" fmla="*/ 6 w 59"/>
              <a:gd name="T65" fmla="*/ 50 h 50"/>
              <a:gd name="T66" fmla="*/ 0 w 59"/>
              <a:gd name="T67" fmla="*/ 47 h 50"/>
              <a:gd name="T68" fmla="*/ 0 w 59"/>
              <a:gd name="T69" fmla="*/ 40 h 50"/>
              <a:gd name="T70" fmla="*/ 6 w 59"/>
              <a:gd name="T71" fmla="*/ 40 h 50"/>
              <a:gd name="T72" fmla="*/ 6 w 59"/>
              <a:gd name="T73" fmla="*/ 3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 h="50">
                <a:moveTo>
                  <a:pt x="28" y="19"/>
                </a:moveTo>
                <a:lnTo>
                  <a:pt x="31" y="12"/>
                </a:lnTo>
                <a:lnTo>
                  <a:pt x="34" y="12"/>
                </a:lnTo>
                <a:lnTo>
                  <a:pt x="40" y="9"/>
                </a:lnTo>
                <a:lnTo>
                  <a:pt x="43" y="9"/>
                </a:lnTo>
                <a:lnTo>
                  <a:pt x="50" y="6"/>
                </a:lnTo>
                <a:lnTo>
                  <a:pt x="53" y="6"/>
                </a:lnTo>
                <a:lnTo>
                  <a:pt x="59" y="0"/>
                </a:lnTo>
                <a:lnTo>
                  <a:pt x="59" y="3"/>
                </a:lnTo>
                <a:lnTo>
                  <a:pt x="56" y="6"/>
                </a:lnTo>
                <a:lnTo>
                  <a:pt x="56" y="9"/>
                </a:lnTo>
                <a:lnTo>
                  <a:pt x="50" y="15"/>
                </a:lnTo>
                <a:lnTo>
                  <a:pt x="53" y="15"/>
                </a:lnTo>
                <a:lnTo>
                  <a:pt x="56" y="12"/>
                </a:lnTo>
                <a:lnTo>
                  <a:pt x="59" y="15"/>
                </a:lnTo>
                <a:lnTo>
                  <a:pt x="56" y="19"/>
                </a:lnTo>
                <a:lnTo>
                  <a:pt x="46" y="19"/>
                </a:lnTo>
                <a:lnTo>
                  <a:pt x="43" y="15"/>
                </a:lnTo>
                <a:lnTo>
                  <a:pt x="40" y="15"/>
                </a:lnTo>
                <a:lnTo>
                  <a:pt x="40" y="19"/>
                </a:lnTo>
                <a:lnTo>
                  <a:pt x="34" y="19"/>
                </a:lnTo>
                <a:lnTo>
                  <a:pt x="31" y="22"/>
                </a:lnTo>
                <a:lnTo>
                  <a:pt x="28" y="19"/>
                </a:lnTo>
                <a:lnTo>
                  <a:pt x="28" y="19"/>
                </a:lnTo>
                <a:close/>
                <a:moveTo>
                  <a:pt x="6" y="34"/>
                </a:moveTo>
                <a:lnTo>
                  <a:pt x="12" y="31"/>
                </a:lnTo>
                <a:lnTo>
                  <a:pt x="21" y="28"/>
                </a:lnTo>
                <a:lnTo>
                  <a:pt x="28" y="34"/>
                </a:lnTo>
                <a:lnTo>
                  <a:pt x="31" y="47"/>
                </a:lnTo>
                <a:lnTo>
                  <a:pt x="25" y="50"/>
                </a:lnTo>
                <a:lnTo>
                  <a:pt x="18" y="47"/>
                </a:lnTo>
                <a:lnTo>
                  <a:pt x="15" y="50"/>
                </a:lnTo>
                <a:lnTo>
                  <a:pt x="6" y="50"/>
                </a:lnTo>
                <a:lnTo>
                  <a:pt x="0" y="47"/>
                </a:lnTo>
                <a:lnTo>
                  <a:pt x="0" y="40"/>
                </a:lnTo>
                <a:lnTo>
                  <a:pt x="6" y="40"/>
                </a:lnTo>
                <a:lnTo>
                  <a:pt x="6" y="3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3" name="Freeform 21">
            <a:extLst>
              <a:ext uri="{FF2B5EF4-FFF2-40B4-BE49-F238E27FC236}">
                <a16:creationId xmlns:a16="http://schemas.microsoft.com/office/drawing/2014/main" id="{A050925C-1F77-34D5-5383-F9B71DE8EE28}"/>
              </a:ext>
            </a:extLst>
          </p:cNvPr>
          <p:cNvSpPr>
            <a:spLocks noEditPoints="1"/>
          </p:cNvSpPr>
          <p:nvPr userDrawn="1"/>
        </p:nvSpPr>
        <p:spPr bwMode="auto">
          <a:xfrm>
            <a:off x="23547438" y="10368835"/>
            <a:ext cx="139693" cy="377826"/>
          </a:xfrm>
          <a:custGeom>
            <a:avLst/>
            <a:gdLst>
              <a:gd name="T0" fmla="*/ 14 w 14"/>
              <a:gd name="T1" fmla="*/ 37 h 38"/>
              <a:gd name="T2" fmla="*/ 14 w 14"/>
              <a:gd name="T3" fmla="*/ 37 h 38"/>
              <a:gd name="T4" fmla="*/ 13 w 14"/>
              <a:gd name="T5" fmla="*/ 30 h 38"/>
              <a:gd name="T6" fmla="*/ 14 w 14"/>
              <a:gd name="T7" fmla="*/ 33 h 38"/>
              <a:gd name="T8" fmla="*/ 13 w 14"/>
              <a:gd name="T9" fmla="*/ 30 h 38"/>
              <a:gd name="T10" fmla="*/ 9 w 14"/>
              <a:gd name="T11" fmla="*/ 22 h 38"/>
              <a:gd name="T12" fmla="*/ 11 w 14"/>
              <a:gd name="T13" fmla="*/ 22 h 38"/>
              <a:gd name="T14" fmla="*/ 10 w 14"/>
              <a:gd name="T15" fmla="*/ 24 h 38"/>
              <a:gd name="T16" fmla="*/ 9 w 14"/>
              <a:gd name="T17" fmla="*/ 22 h 38"/>
              <a:gd name="T18" fmla="*/ 11 w 14"/>
              <a:gd name="T19" fmla="*/ 4 h 38"/>
              <a:gd name="T20" fmla="*/ 11 w 14"/>
              <a:gd name="T21" fmla="*/ 4 h 38"/>
              <a:gd name="T22" fmla="*/ 7 w 14"/>
              <a:gd name="T23" fmla="*/ 6 h 38"/>
              <a:gd name="T24" fmla="*/ 9 w 14"/>
              <a:gd name="T25" fmla="*/ 5 h 38"/>
              <a:gd name="T26" fmla="*/ 8 w 14"/>
              <a:gd name="T27" fmla="*/ 5 h 38"/>
              <a:gd name="T28" fmla="*/ 10 w 14"/>
              <a:gd name="T29" fmla="*/ 7 h 38"/>
              <a:gd name="T30" fmla="*/ 11 w 14"/>
              <a:gd name="T31" fmla="*/ 9 h 38"/>
              <a:gd name="T32" fmla="*/ 10 w 14"/>
              <a:gd name="T33" fmla="*/ 10 h 38"/>
              <a:gd name="T34" fmla="*/ 10 w 14"/>
              <a:gd name="T35" fmla="*/ 7 h 38"/>
              <a:gd name="T36" fmla="*/ 10 w 14"/>
              <a:gd name="T37" fmla="*/ 15 h 38"/>
              <a:gd name="T38" fmla="*/ 11 w 14"/>
              <a:gd name="T39" fmla="*/ 17 h 38"/>
              <a:gd name="T40" fmla="*/ 9 w 14"/>
              <a:gd name="T41" fmla="*/ 16 h 38"/>
              <a:gd name="T42" fmla="*/ 10 w 14"/>
              <a:gd name="T43" fmla="*/ 12 h 38"/>
              <a:gd name="T44" fmla="*/ 11 w 14"/>
              <a:gd name="T45" fmla="*/ 13 h 38"/>
              <a:gd name="T46" fmla="*/ 10 w 14"/>
              <a:gd name="T47" fmla="*/ 14 h 38"/>
              <a:gd name="T48" fmla="*/ 9 w 14"/>
              <a:gd name="T49" fmla="*/ 14 h 38"/>
              <a:gd name="T50" fmla="*/ 8 w 14"/>
              <a:gd name="T51" fmla="*/ 13 h 38"/>
              <a:gd name="T52" fmla="*/ 5 w 14"/>
              <a:gd name="T53" fmla="*/ 10 h 38"/>
              <a:gd name="T54" fmla="*/ 6 w 14"/>
              <a:gd name="T55" fmla="*/ 12 h 38"/>
              <a:gd name="T56" fmla="*/ 7 w 14"/>
              <a:gd name="T57" fmla="*/ 14 h 38"/>
              <a:gd name="T58" fmla="*/ 5 w 14"/>
              <a:gd name="T59" fmla="*/ 15 h 38"/>
              <a:gd name="T60" fmla="*/ 5 w 14"/>
              <a:gd name="T61" fmla="*/ 13 h 38"/>
              <a:gd name="T62" fmla="*/ 4 w 14"/>
              <a:gd name="T63" fmla="*/ 11 h 38"/>
              <a:gd name="T64" fmla="*/ 3 w 14"/>
              <a:gd name="T65" fmla="*/ 10 h 38"/>
              <a:gd name="T66" fmla="*/ 1 w 14"/>
              <a:gd name="T67" fmla="*/ 0 h 38"/>
              <a:gd name="T68" fmla="*/ 0 w 14"/>
              <a:gd name="T69" fmla="*/ 5 h 38"/>
              <a:gd name="T70" fmla="*/ 1 w 14"/>
              <a:gd name="T71" fmla="*/ 8 h 38"/>
              <a:gd name="T72" fmla="*/ 3 w 14"/>
              <a:gd name="T73" fmla="*/ 7 h 38"/>
              <a:gd name="T74" fmla="*/ 4 w 14"/>
              <a:gd name="T75" fmla="*/ 7 h 38"/>
              <a:gd name="T76" fmla="*/ 4 w 14"/>
              <a:gd name="T77" fmla="*/ 4 h 38"/>
              <a:gd name="T78" fmla="*/ 3 w 14"/>
              <a:gd name="T79" fmla="*/ 2 h 38"/>
              <a:gd name="T80" fmla="*/ 3 w 14"/>
              <a:gd name="T81" fmla="*/ 4 h 38"/>
              <a:gd name="T82" fmla="*/ 2 w 14"/>
              <a:gd name="T83" fmla="*/ 4 h 38"/>
              <a:gd name="T84" fmla="*/ 1 w 14"/>
              <a:gd name="T8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 h="38">
                <a:moveTo>
                  <a:pt x="14" y="36"/>
                </a:moveTo>
                <a:cubicBezTo>
                  <a:pt x="14" y="37"/>
                  <a:pt x="14" y="37"/>
                  <a:pt x="14" y="37"/>
                </a:cubicBezTo>
                <a:cubicBezTo>
                  <a:pt x="14" y="38"/>
                  <a:pt x="14" y="38"/>
                  <a:pt x="14" y="38"/>
                </a:cubicBezTo>
                <a:cubicBezTo>
                  <a:pt x="14" y="37"/>
                  <a:pt x="14" y="37"/>
                  <a:pt x="14" y="37"/>
                </a:cubicBezTo>
                <a:cubicBezTo>
                  <a:pt x="14" y="36"/>
                  <a:pt x="14" y="36"/>
                  <a:pt x="14" y="36"/>
                </a:cubicBezTo>
                <a:close/>
                <a:moveTo>
                  <a:pt x="13" y="30"/>
                </a:moveTo>
                <a:cubicBezTo>
                  <a:pt x="14" y="31"/>
                  <a:pt x="14" y="31"/>
                  <a:pt x="14" y="31"/>
                </a:cubicBezTo>
                <a:cubicBezTo>
                  <a:pt x="14" y="33"/>
                  <a:pt x="14" y="33"/>
                  <a:pt x="14" y="33"/>
                </a:cubicBezTo>
                <a:cubicBezTo>
                  <a:pt x="13" y="32"/>
                  <a:pt x="13" y="32"/>
                  <a:pt x="13" y="32"/>
                </a:cubicBezTo>
                <a:cubicBezTo>
                  <a:pt x="13" y="30"/>
                  <a:pt x="13" y="30"/>
                  <a:pt x="13" y="30"/>
                </a:cubicBezTo>
                <a:cubicBezTo>
                  <a:pt x="13" y="30"/>
                  <a:pt x="13" y="30"/>
                  <a:pt x="13" y="30"/>
                </a:cubicBezTo>
                <a:close/>
                <a:moveTo>
                  <a:pt x="9" y="22"/>
                </a:moveTo>
                <a:cubicBezTo>
                  <a:pt x="10" y="21"/>
                  <a:pt x="10" y="21"/>
                  <a:pt x="10" y="21"/>
                </a:cubicBezTo>
                <a:cubicBezTo>
                  <a:pt x="11" y="22"/>
                  <a:pt x="11" y="22"/>
                  <a:pt x="11" y="22"/>
                </a:cubicBezTo>
                <a:cubicBezTo>
                  <a:pt x="11" y="24"/>
                  <a:pt x="11" y="24"/>
                  <a:pt x="11" y="24"/>
                </a:cubicBezTo>
                <a:cubicBezTo>
                  <a:pt x="10" y="24"/>
                  <a:pt x="10" y="24"/>
                  <a:pt x="10" y="24"/>
                </a:cubicBezTo>
                <a:cubicBezTo>
                  <a:pt x="9" y="23"/>
                  <a:pt x="9" y="23"/>
                  <a:pt x="9" y="23"/>
                </a:cubicBezTo>
                <a:cubicBezTo>
                  <a:pt x="9" y="22"/>
                  <a:pt x="9" y="22"/>
                  <a:pt x="9" y="22"/>
                </a:cubicBezTo>
                <a:close/>
                <a:moveTo>
                  <a:pt x="10" y="2"/>
                </a:moveTo>
                <a:cubicBezTo>
                  <a:pt x="11" y="4"/>
                  <a:pt x="11" y="4"/>
                  <a:pt x="11" y="4"/>
                </a:cubicBezTo>
                <a:cubicBezTo>
                  <a:pt x="10" y="5"/>
                  <a:pt x="10" y="5"/>
                  <a:pt x="10" y="5"/>
                </a:cubicBezTo>
                <a:cubicBezTo>
                  <a:pt x="11" y="4"/>
                  <a:pt x="11" y="4"/>
                  <a:pt x="11" y="4"/>
                </a:cubicBezTo>
                <a:cubicBezTo>
                  <a:pt x="10" y="2"/>
                  <a:pt x="10" y="2"/>
                  <a:pt x="10" y="2"/>
                </a:cubicBezTo>
                <a:close/>
                <a:moveTo>
                  <a:pt x="7" y="6"/>
                </a:moveTo>
                <a:cubicBezTo>
                  <a:pt x="8" y="6"/>
                  <a:pt x="8" y="6"/>
                  <a:pt x="8" y="6"/>
                </a:cubicBezTo>
                <a:cubicBezTo>
                  <a:pt x="9" y="5"/>
                  <a:pt x="9" y="5"/>
                  <a:pt x="9" y="5"/>
                </a:cubicBezTo>
                <a:cubicBezTo>
                  <a:pt x="9" y="5"/>
                  <a:pt x="9" y="5"/>
                  <a:pt x="9" y="5"/>
                </a:cubicBezTo>
                <a:cubicBezTo>
                  <a:pt x="8" y="5"/>
                  <a:pt x="8" y="5"/>
                  <a:pt x="8" y="5"/>
                </a:cubicBezTo>
                <a:cubicBezTo>
                  <a:pt x="8" y="5"/>
                  <a:pt x="7" y="6"/>
                  <a:pt x="7" y="6"/>
                </a:cubicBezTo>
                <a:close/>
                <a:moveTo>
                  <a:pt x="10" y="7"/>
                </a:moveTo>
                <a:cubicBezTo>
                  <a:pt x="11" y="8"/>
                  <a:pt x="11" y="8"/>
                  <a:pt x="11" y="8"/>
                </a:cubicBezTo>
                <a:cubicBezTo>
                  <a:pt x="11" y="9"/>
                  <a:pt x="11" y="9"/>
                  <a:pt x="11" y="9"/>
                </a:cubicBezTo>
                <a:cubicBezTo>
                  <a:pt x="11" y="10"/>
                  <a:pt x="11" y="10"/>
                  <a:pt x="11" y="10"/>
                </a:cubicBezTo>
                <a:cubicBezTo>
                  <a:pt x="10" y="10"/>
                  <a:pt x="10" y="10"/>
                  <a:pt x="10" y="10"/>
                </a:cubicBezTo>
                <a:cubicBezTo>
                  <a:pt x="10" y="9"/>
                  <a:pt x="10" y="9"/>
                  <a:pt x="10" y="9"/>
                </a:cubicBezTo>
                <a:cubicBezTo>
                  <a:pt x="10" y="9"/>
                  <a:pt x="10" y="7"/>
                  <a:pt x="10" y="7"/>
                </a:cubicBezTo>
                <a:close/>
                <a:moveTo>
                  <a:pt x="9" y="16"/>
                </a:moveTo>
                <a:cubicBezTo>
                  <a:pt x="10" y="15"/>
                  <a:pt x="10" y="15"/>
                  <a:pt x="10" y="15"/>
                </a:cubicBezTo>
                <a:cubicBezTo>
                  <a:pt x="11" y="16"/>
                  <a:pt x="11" y="16"/>
                  <a:pt x="11" y="16"/>
                </a:cubicBezTo>
                <a:cubicBezTo>
                  <a:pt x="11" y="17"/>
                  <a:pt x="11" y="17"/>
                  <a:pt x="11" y="17"/>
                </a:cubicBezTo>
                <a:cubicBezTo>
                  <a:pt x="9" y="17"/>
                  <a:pt x="9" y="17"/>
                  <a:pt x="9" y="17"/>
                </a:cubicBezTo>
                <a:cubicBezTo>
                  <a:pt x="9" y="16"/>
                  <a:pt x="9" y="16"/>
                  <a:pt x="9" y="16"/>
                </a:cubicBezTo>
                <a:close/>
                <a:moveTo>
                  <a:pt x="8" y="13"/>
                </a:moveTo>
                <a:cubicBezTo>
                  <a:pt x="10" y="12"/>
                  <a:pt x="10" y="12"/>
                  <a:pt x="10" y="12"/>
                </a:cubicBezTo>
                <a:cubicBezTo>
                  <a:pt x="10" y="13"/>
                  <a:pt x="10" y="13"/>
                  <a:pt x="10" y="13"/>
                </a:cubicBezTo>
                <a:cubicBezTo>
                  <a:pt x="11" y="13"/>
                  <a:pt x="11" y="13"/>
                  <a:pt x="11" y="13"/>
                </a:cubicBezTo>
                <a:cubicBezTo>
                  <a:pt x="10" y="14"/>
                  <a:pt x="10" y="14"/>
                  <a:pt x="10" y="14"/>
                </a:cubicBezTo>
                <a:cubicBezTo>
                  <a:pt x="10" y="14"/>
                  <a:pt x="10" y="14"/>
                  <a:pt x="10" y="14"/>
                </a:cubicBezTo>
                <a:cubicBezTo>
                  <a:pt x="9" y="14"/>
                  <a:pt x="9" y="14"/>
                  <a:pt x="9" y="14"/>
                </a:cubicBezTo>
                <a:cubicBezTo>
                  <a:pt x="9" y="14"/>
                  <a:pt x="9" y="14"/>
                  <a:pt x="9" y="14"/>
                </a:cubicBezTo>
                <a:cubicBezTo>
                  <a:pt x="8" y="14"/>
                  <a:pt x="8" y="14"/>
                  <a:pt x="8" y="14"/>
                </a:cubicBezTo>
                <a:cubicBezTo>
                  <a:pt x="8" y="13"/>
                  <a:pt x="8" y="13"/>
                  <a:pt x="8" y="13"/>
                </a:cubicBezTo>
                <a:close/>
                <a:moveTo>
                  <a:pt x="4" y="10"/>
                </a:moveTo>
                <a:cubicBezTo>
                  <a:pt x="5" y="10"/>
                  <a:pt x="5" y="10"/>
                  <a:pt x="5" y="10"/>
                </a:cubicBezTo>
                <a:cubicBezTo>
                  <a:pt x="6" y="11"/>
                  <a:pt x="6" y="11"/>
                  <a:pt x="6" y="11"/>
                </a:cubicBezTo>
                <a:cubicBezTo>
                  <a:pt x="6" y="12"/>
                  <a:pt x="6" y="12"/>
                  <a:pt x="6" y="12"/>
                </a:cubicBezTo>
                <a:cubicBezTo>
                  <a:pt x="7" y="13"/>
                  <a:pt x="7" y="13"/>
                  <a:pt x="7" y="13"/>
                </a:cubicBezTo>
                <a:cubicBezTo>
                  <a:pt x="7" y="14"/>
                  <a:pt x="7" y="14"/>
                  <a:pt x="7" y="14"/>
                </a:cubicBezTo>
                <a:cubicBezTo>
                  <a:pt x="6" y="15"/>
                  <a:pt x="6" y="15"/>
                  <a:pt x="6" y="15"/>
                </a:cubicBezTo>
                <a:cubicBezTo>
                  <a:pt x="5" y="15"/>
                  <a:pt x="5" y="15"/>
                  <a:pt x="5" y="15"/>
                </a:cubicBezTo>
                <a:cubicBezTo>
                  <a:pt x="4" y="14"/>
                  <a:pt x="4" y="14"/>
                  <a:pt x="4" y="14"/>
                </a:cubicBezTo>
                <a:cubicBezTo>
                  <a:pt x="5" y="13"/>
                  <a:pt x="5" y="13"/>
                  <a:pt x="5" y="13"/>
                </a:cubicBezTo>
                <a:cubicBezTo>
                  <a:pt x="5" y="12"/>
                  <a:pt x="5" y="12"/>
                  <a:pt x="5" y="12"/>
                </a:cubicBezTo>
                <a:cubicBezTo>
                  <a:pt x="4" y="11"/>
                  <a:pt x="4" y="11"/>
                  <a:pt x="4" y="11"/>
                </a:cubicBezTo>
                <a:cubicBezTo>
                  <a:pt x="4" y="11"/>
                  <a:pt x="4" y="11"/>
                  <a:pt x="4" y="11"/>
                </a:cubicBezTo>
                <a:cubicBezTo>
                  <a:pt x="3" y="10"/>
                  <a:pt x="3" y="10"/>
                  <a:pt x="3" y="10"/>
                </a:cubicBezTo>
                <a:cubicBezTo>
                  <a:pt x="4" y="10"/>
                  <a:pt x="4" y="10"/>
                  <a:pt x="4" y="10"/>
                </a:cubicBezTo>
                <a:close/>
                <a:moveTo>
                  <a:pt x="1" y="0"/>
                </a:moveTo>
                <a:cubicBezTo>
                  <a:pt x="0" y="3"/>
                  <a:pt x="0" y="3"/>
                  <a:pt x="0" y="3"/>
                </a:cubicBezTo>
                <a:cubicBezTo>
                  <a:pt x="0" y="5"/>
                  <a:pt x="0" y="5"/>
                  <a:pt x="0" y="5"/>
                </a:cubicBezTo>
                <a:cubicBezTo>
                  <a:pt x="0" y="6"/>
                  <a:pt x="0" y="6"/>
                  <a:pt x="0" y="6"/>
                </a:cubicBezTo>
                <a:cubicBezTo>
                  <a:pt x="1" y="8"/>
                  <a:pt x="1" y="8"/>
                  <a:pt x="1" y="8"/>
                </a:cubicBezTo>
                <a:cubicBezTo>
                  <a:pt x="2" y="8"/>
                  <a:pt x="2" y="8"/>
                  <a:pt x="2" y="8"/>
                </a:cubicBezTo>
                <a:cubicBezTo>
                  <a:pt x="3" y="7"/>
                  <a:pt x="3" y="7"/>
                  <a:pt x="3" y="7"/>
                </a:cubicBezTo>
                <a:cubicBezTo>
                  <a:pt x="3" y="7"/>
                  <a:pt x="3" y="7"/>
                  <a:pt x="3" y="7"/>
                </a:cubicBezTo>
                <a:cubicBezTo>
                  <a:pt x="4" y="7"/>
                  <a:pt x="4" y="7"/>
                  <a:pt x="4" y="7"/>
                </a:cubicBezTo>
                <a:cubicBezTo>
                  <a:pt x="4" y="5"/>
                  <a:pt x="4" y="5"/>
                  <a:pt x="4" y="5"/>
                </a:cubicBezTo>
                <a:cubicBezTo>
                  <a:pt x="4" y="4"/>
                  <a:pt x="4" y="4"/>
                  <a:pt x="4" y="4"/>
                </a:cubicBezTo>
                <a:cubicBezTo>
                  <a:pt x="4" y="3"/>
                  <a:pt x="4" y="3"/>
                  <a:pt x="4" y="3"/>
                </a:cubicBezTo>
                <a:cubicBezTo>
                  <a:pt x="3" y="2"/>
                  <a:pt x="3" y="2"/>
                  <a:pt x="3" y="2"/>
                </a:cubicBezTo>
                <a:cubicBezTo>
                  <a:pt x="3" y="3"/>
                  <a:pt x="3" y="3"/>
                  <a:pt x="3" y="3"/>
                </a:cubicBezTo>
                <a:cubicBezTo>
                  <a:pt x="3" y="4"/>
                  <a:pt x="3" y="4"/>
                  <a:pt x="3" y="4"/>
                </a:cubicBezTo>
                <a:cubicBezTo>
                  <a:pt x="2" y="4"/>
                  <a:pt x="2" y="4"/>
                  <a:pt x="2" y="4"/>
                </a:cubicBezTo>
                <a:cubicBezTo>
                  <a:pt x="2" y="4"/>
                  <a:pt x="2" y="4"/>
                  <a:pt x="2" y="4"/>
                </a:cubicBezTo>
                <a:cubicBezTo>
                  <a:pt x="1" y="1"/>
                  <a:pt x="1" y="1"/>
                  <a:pt x="1" y="1"/>
                </a:cubicBezTo>
                <a:cubicBezTo>
                  <a:pt x="1" y="1"/>
                  <a:pt x="1" y="0"/>
                  <a:pt x="1" y="0"/>
                </a:cubicBez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4" name="Freeform 22">
            <a:extLst>
              <a:ext uri="{FF2B5EF4-FFF2-40B4-BE49-F238E27FC236}">
                <a16:creationId xmlns:a16="http://schemas.microsoft.com/office/drawing/2014/main" id="{9A3DB824-8FD4-9DC9-8887-63FC23D99567}"/>
              </a:ext>
            </a:extLst>
          </p:cNvPr>
          <p:cNvSpPr>
            <a:spLocks noEditPoints="1"/>
          </p:cNvSpPr>
          <p:nvPr userDrawn="1"/>
        </p:nvSpPr>
        <p:spPr bwMode="auto">
          <a:xfrm>
            <a:off x="22944229" y="9794159"/>
            <a:ext cx="603211" cy="368302"/>
          </a:xfrm>
          <a:custGeom>
            <a:avLst/>
            <a:gdLst>
              <a:gd name="T0" fmla="*/ 60 w 61"/>
              <a:gd name="T1" fmla="*/ 30 h 37"/>
              <a:gd name="T2" fmla="*/ 58 w 61"/>
              <a:gd name="T3" fmla="*/ 32 h 37"/>
              <a:gd name="T4" fmla="*/ 24 w 61"/>
              <a:gd name="T5" fmla="*/ 36 h 37"/>
              <a:gd name="T6" fmla="*/ 25 w 61"/>
              <a:gd name="T7" fmla="*/ 37 h 37"/>
              <a:gd name="T8" fmla="*/ 23 w 61"/>
              <a:gd name="T9" fmla="*/ 36 h 37"/>
              <a:gd name="T10" fmla="*/ 33 w 61"/>
              <a:gd name="T11" fmla="*/ 27 h 37"/>
              <a:gd name="T12" fmla="*/ 37 w 61"/>
              <a:gd name="T13" fmla="*/ 30 h 37"/>
              <a:gd name="T14" fmla="*/ 36 w 61"/>
              <a:gd name="T15" fmla="*/ 32 h 37"/>
              <a:gd name="T16" fmla="*/ 32 w 61"/>
              <a:gd name="T17" fmla="*/ 28 h 37"/>
              <a:gd name="T18" fmla="*/ 23 w 61"/>
              <a:gd name="T19" fmla="*/ 21 h 37"/>
              <a:gd name="T20" fmla="*/ 28 w 61"/>
              <a:gd name="T21" fmla="*/ 23 h 37"/>
              <a:gd name="T22" fmla="*/ 28 w 61"/>
              <a:gd name="T23" fmla="*/ 25 h 37"/>
              <a:gd name="T24" fmla="*/ 24 w 61"/>
              <a:gd name="T25" fmla="*/ 24 h 37"/>
              <a:gd name="T26" fmla="*/ 22 w 61"/>
              <a:gd name="T27" fmla="*/ 20 h 37"/>
              <a:gd name="T28" fmla="*/ 25 w 61"/>
              <a:gd name="T29" fmla="*/ 18 h 37"/>
              <a:gd name="T30" fmla="*/ 26 w 61"/>
              <a:gd name="T31" fmla="*/ 19 h 37"/>
              <a:gd name="T32" fmla="*/ 28 w 61"/>
              <a:gd name="T33" fmla="*/ 15 h 37"/>
              <a:gd name="T34" fmla="*/ 29 w 61"/>
              <a:gd name="T35" fmla="*/ 19 h 37"/>
              <a:gd name="T36" fmla="*/ 33 w 61"/>
              <a:gd name="T37" fmla="*/ 23 h 37"/>
              <a:gd name="T38" fmla="*/ 33 w 61"/>
              <a:gd name="T39" fmla="*/ 20 h 37"/>
              <a:gd name="T40" fmla="*/ 30 w 61"/>
              <a:gd name="T41" fmla="*/ 17 h 37"/>
              <a:gd name="T42" fmla="*/ 27 w 61"/>
              <a:gd name="T43" fmla="*/ 14 h 37"/>
              <a:gd name="T44" fmla="*/ 18 w 61"/>
              <a:gd name="T45" fmla="*/ 10 h 37"/>
              <a:gd name="T46" fmla="*/ 22 w 61"/>
              <a:gd name="T47" fmla="*/ 14 h 37"/>
              <a:gd name="T48" fmla="*/ 21 w 61"/>
              <a:gd name="T49" fmla="*/ 15 h 37"/>
              <a:gd name="T50" fmla="*/ 19 w 61"/>
              <a:gd name="T51" fmla="*/ 13 h 37"/>
              <a:gd name="T52" fmla="*/ 11 w 61"/>
              <a:gd name="T53" fmla="*/ 16 h 37"/>
              <a:gd name="T54" fmla="*/ 11 w 61"/>
              <a:gd name="T55" fmla="*/ 17 h 37"/>
              <a:gd name="T56" fmla="*/ 7 w 61"/>
              <a:gd name="T57" fmla="*/ 15 h 37"/>
              <a:gd name="T58" fmla="*/ 8 w 61"/>
              <a:gd name="T59" fmla="*/ 16 h 37"/>
              <a:gd name="T60" fmla="*/ 8 w 61"/>
              <a:gd name="T61" fmla="*/ 14 h 37"/>
              <a:gd name="T62" fmla="*/ 10 w 61"/>
              <a:gd name="T63" fmla="*/ 15 h 37"/>
              <a:gd name="T64" fmla="*/ 10 w 61"/>
              <a:gd name="T65" fmla="*/ 13 h 37"/>
              <a:gd name="T66" fmla="*/ 8 w 61"/>
              <a:gd name="T67" fmla="*/ 11 h 37"/>
              <a:gd name="T68" fmla="*/ 5 w 61"/>
              <a:gd name="T69" fmla="*/ 11 h 37"/>
              <a:gd name="T70" fmla="*/ 7 w 61"/>
              <a:gd name="T71" fmla="*/ 12 h 37"/>
              <a:gd name="T72" fmla="*/ 5 w 61"/>
              <a:gd name="T73" fmla="*/ 11 h 37"/>
              <a:gd name="T74" fmla="*/ 4 w 61"/>
              <a:gd name="T75" fmla="*/ 11 h 37"/>
              <a:gd name="T76" fmla="*/ 3 w 61"/>
              <a:gd name="T77" fmla="*/ 10 h 37"/>
              <a:gd name="T78" fmla="*/ 1 w 61"/>
              <a:gd name="T79" fmla="*/ 2 h 37"/>
              <a:gd name="T80" fmla="*/ 3 w 61"/>
              <a:gd name="T81" fmla="*/ 2 h 37"/>
              <a:gd name="T82" fmla="*/ 5 w 61"/>
              <a:gd name="T83" fmla="*/ 6 h 37"/>
              <a:gd name="T84" fmla="*/ 9 w 61"/>
              <a:gd name="T85" fmla="*/ 8 h 37"/>
              <a:gd name="T86" fmla="*/ 7 w 61"/>
              <a:gd name="T87" fmla="*/ 5 h 37"/>
              <a:gd name="T88" fmla="*/ 4 w 61"/>
              <a:gd name="T89" fmla="*/ 4 h 37"/>
              <a:gd name="T90" fmla="*/ 0 w 61"/>
              <a:gd name="T91" fmla="*/ 4 h 37"/>
              <a:gd name="T92" fmla="*/ 0 w 61"/>
              <a:gd name="T93" fmla="*/ 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 h="37">
                <a:moveTo>
                  <a:pt x="58" y="31"/>
                </a:moveTo>
                <a:cubicBezTo>
                  <a:pt x="59" y="30"/>
                  <a:pt x="59" y="30"/>
                  <a:pt x="59" y="30"/>
                </a:cubicBezTo>
                <a:cubicBezTo>
                  <a:pt x="60" y="30"/>
                  <a:pt x="60" y="30"/>
                  <a:pt x="60" y="30"/>
                </a:cubicBezTo>
                <a:cubicBezTo>
                  <a:pt x="61" y="31"/>
                  <a:pt x="61" y="31"/>
                  <a:pt x="61" y="31"/>
                </a:cubicBezTo>
                <a:cubicBezTo>
                  <a:pt x="60" y="32"/>
                  <a:pt x="60" y="32"/>
                  <a:pt x="60" y="32"/>
                </a:cubicBezTo>
                <a:cubicBezTo>
                  <a:pt x="58" y="32"/>
                  <a:pt x="58" y="32"/>
                  <a:pt x="58" y="32"/>
                </a:cubicBezTo>
                <a:cubicBezTo>
                  <a:pt x="58" y="31"/>
                  <a:pt x="58" y="31"/>
                  <a:pt x="58" y="31"/>
                </a:cubicBezTo>
                <a:close/>
                <a:moveTo>
                  <a:pt x="23" y="36"/>
                </a:moveTo>
                <a:cubicBezTo>
                  <a:pt x="24" y="36"/>
                  <a:pt x="24" y="36"/>
                  <a:pt x="24" y="36"/>
                </a:cubicBezTo>
                <a:cubicBezTo>
                  <a:pt x="25" y="36"/>
                  <a:pt x="25" y="36"/>
                  <a:pt x="25" y="36"/>
                </a:cubicBezTo>
                <a:cubicBezTo>
                  <a:pt x="26" y="37"/>
                  <a:pt x="26" y="37"/>
                  <a:pt x="26" y="37"/>
                </a:cubicBezTo>
                <a:cubicBezTo>
                  <a:pt x="25" y="37"/>
                  <a:pt x="25" y="37"/>
                  <a:pt x="25" y="37"/>
                </a:cubicBezTo>
                <a:cubicBezTo>
                  <a:pt x="24" y="37"/>
                  <a:pt x="24" y="37"/>
                  <a:pt x="24" y="37"/>
                </a:cubicBezTo>
                <a:cubicBezTo>
                  <a:pt x="23" y="37"/>
                  <a:pt x="23" y="37"/>
                  <a:pt x="23" y="37"/>
                </a:cubicBezTo>
                <a:cubicBezTo>
                  <a:pt x="23" y="36"/>
                  <a:pt x="23" y="36"/>
                  <a:pt x="23" y="36"/>
                </a:cubicBezTo>
                <a:cubicBezTo>
                  <a:pt x="23" y="36"/>
                  <a:pt x="23" y="36"/>
                  <a:pt x="23" y="36"/>
                </a:cubicBezTo>
                <a:close/>
                <a:moveTo>
                  <a:pt x="31" y="27"/>
                </a:moveTo>
                <a:cubicBezTo>
                  <a:pt x="33" y="27"/>
                  <a:pt x="33" y="27"/>
                  <a:pt x="33" y="27"/>
                </a:cubicBezTo>
                <a:cubicBezTo>
                  <a:pt x="34" y="29"/>
                  <a:pt x="34" y="29"/>
                  <a:pt x="34" y="29"/>
                </a:cubicBezTo>
                <a:cubicBezTo>
                  <a:pt x="36" y="29"/>
                  <a:pt x="36" y="29"/>
                  <a:pt x="36" y="29"/>
                </a:cubicBezTo>
                <a:cubicBezTo>
                  <a:pt x="37" y="30"/>
                  <a:pt x="37" y="30"/>
                  <a:pt x="37" y="30"/>
                </a:cubicBezTo>
                <a:cubicBezTo>
                  <a:pt x="37" y="31"/>
                  <a:pt x="37" y="31"/>
                  <a:pt x="37" y="31"/>
                </a:cubicBezTo>
                <a:cubicBezTo>
                  <a:pt x="37" y="32"/>
                  <a:pt x="37" y="32"/>
                  <a:pt x="37" y="32"/>
                </a:cubicBezTo>
                <a:cubicBezTo>
                  <a:pt x="36" y="32"/>
                  <a:pt x="36" y="32"/>
                  <a:pt x="36" y="32"/>
                </a:cubicBezTo>
                <a:cubicBezTo>
                  <a:pt x="34" y="31"/>
                  <a:pt x="34" y="31"/>
                  <a:pt x="34" y="31"/>
                </a:cubicBezTo>
                <a:cubicBezTo>
                  <a:pt x="32" y="29"/>
                  <a:pt x="32" y="29"/>
                  <a:pt x="32" y="29"/>
                </a:cubicBezTo>
                <a:cubicBezTo>
                  <a:pt x="32" y="28"/>
                  <a:pt x="32" y="28"/>
                  <a:pt x="32" y="28"/>
                </a:cubicBezTo>
                <a:cubicBezTo>
                  <a:pt x="31" y="27"/>
                  <a:pt x="31" y="27"/>
                  <a:pt x="31" y="27"/>
                </a:cubicBezTo>
                <a:close/>
                <a:moveTo>
                  <a:pt x="22" y="20"/>
                </a:moveTo>
                <a:cubicBezTo>
                  <a:pt x="23" y="21"/>
                  <a:pt x="23" y="21"/>
                  <a:pt x="23" y="21"/>
                </a:cubicBezTo>
                <a:cubicBezTo>
                  <a:pt x="25" y="21"/>
                  <a:pt x="25" y="21"/>
                  <a:pt x="25" y="21"/>
                </a:cubicBezTo>
                <a:cubicBezTo>
                  <a:pt x="27" y="22"/>
                  <a:pt x="27" y="22"/>
                  <a:pt x="27" y="22"/>
                </a:cubicBezTo>
                <a:cubicBezTo>
                  <a:pt x="28" y="23"/>
                  <a:pt x="28" y="23"/>
                  <a:pt x="28" y="23"/>
                </a:cubicBezTo>
                <a:cubicBezTo>
                  <a:pt x="28" y="23"/>
                  <a:pt x="28" y="23"/>
                  <a:pt x="28" y="23"/>
                </a:cubicBezTo>
                <a:cubicBezTo>
                  <a:pt x="29" y="24"/>
                  <a:pt x="29" y="24"/>
                  <a:pt x="29" y="24"/>
                </a:cubicBezTo>
                <a:cubicBezTo>
                  <a:pt x="28" y="25"/>
                  <a:pt x="28" y="25"/>
                  <a:pt x="28" y="25"/>
                </a:cubicBezTo>
                <a:cubicBezTo>
                  <a:pt x="27" y="25"/>
                  <a:pt x="27" y="25"/>
                  <a:pt x="27" y="25"/>
                </a:cubicBezTo>
                <a:cubicBezTo>
                  <a:pt x="26" y="24"/>
                  <a:pt x="26" y="24"/>
                  <a:pt x="26" y="24"/>
                </a:cubicBezTo>
                <a:cubicBezTo>
                  <a:pt x="24" y="24"/>
                  <a:pt x="24" y="24"/>
                  <a:pt x="24" y="24"/>
                </a:cubicBezTo>
                <a:cubicBezTo>
                  <a:pt x="23" y="24"/>
                  <a:pt x="23" y="24"/>
                  <a:pt x="23" y="24"/>
                </a:cubicBezTo>
                <a:cubicBezTo>
                  <a:pt x="21" y="22"/>
                  <a:pt x="21" y="22"/>
                  <a:pt x="21" y="22"/>
                </a:cubicBezTo>
                <a:cubicBezTo>
                  <a:pt x="22" y="20"/>
                  <a:pt x="22" y="20"/>
                  <a:pt x="22" y="20"/>
                </a:cubicBezTo>
                <a:cubicBezTo>
                  <a:pt x="22" y="20"/>
                  <a:pt x="22" y="20"/>
                  <a:pt x="22" y="20"/>
                </a:cubicBezTo>
                <a:close/>
                <a:moveTo>
                  <a:pt x="26" y="19"/>
                </a:moveTo>
                <a:cubicBezTo>
                  <a:pt x="25" y="18"/>
                  <a:pt x="25" y="18"/>
                  <a:pt x="25" y="18"/>
                </a:cubicBezTo>
                <a:cubicBezTo>
                  <a:pt x="25" y="19"/>
                  <a:pt x="25" y="19"/>
                  <a:pt x="25" y="19"/>
                </a:cubicBezTo>
                <a:cubicBezTo>
                  <a:pt x="27" y="20"/>
                  <a:pt x="27" y="20"/>
                  <a:pt x="27" y="20"/>
                </a:cubicBezTo>
                <a:cubicBezTo>
                  <a:pt x="26" y="19"/>
                  <a:pt x="26" y="19"/>
                  <a:pt x="26" y="19"/>
                </a:cubicBezTo>
                <a:close/>
                <a:moveTo>
                  <a:pt x="27" y="14"/>
                </a:moveTo>
                <a:cubicBezTo>
                  <a:pt x="27" y="15"/>
                  <a:pt x="27" y="15"/>
                  <a:pt x="27" y="15"/>
                </a:cubicBezTo>
                <a:cubicBezTo>
                  <a:pt x="28" y="15"/>
                  <a:pt x="28" y="15"/>
                  <a:pt x="28" y="15"/>
                </a:cubicBezTo>
                <a:cubicBezTo>
                  <a:pt x="28" y="16"/>
                  <a:pt x="28" y="16"/>
                  <a:pt x="28" y="16"/>
                </a:cubicBezTo>
                <a:cubicBezTo>
                  <a:pt x="29" y="17"/>
                  <a:pt x="29" y="17"/>
                  <a:pt x="29" y="17"/>
                </a:cubicBezTo>
                <a:cubicBezTo>
                  <a:pt x="29" y="19"/>
                  <a:pt x="29" y="19"/>
                  <a:pt x="29" y="19"/>
                </a:cubicBezTo>
                <a:cubicBezTo>
                  <a:pt x="31" y="21"/>
                  <a:pt x="31" y="21"/>
                  <a:pt x="31" y="21"/>
                </a:cubicBezTo>
                <a:cubicBezTo>
                  <a:pt x="32" y="22"/>
                  <a:pt x="32" y="22"/>
                  <a:pt x="32" y="22"/>
                </a:cubicBezTo>
                <a:cubicBezTo>
                  <a:pt x="33" y="23"/>
                  <a:pt x="33" y="23"/>
                  <a:pt x="33" y="23"/>
                </a:cubicBezTo>
                <a:cubicBezTo>
                  <a:pt x="34" y="23"/>
                  <a:pt x="34" y="23"/>
                  <a:pt x="34" y="23"/>
                </a:cubicBezTo>
                <a:cubicBezTo>
                  <a:pt x="34" y="22"/>
                  <a:pt x="34" y="22"/>
                  <a:pt x="34" y="22"/>
                </a:cubicBezTo>
                <a:cubicBezTo>
                  <a:pt x="33" y="20"/>
                  <a:pt x="33" y="20"/>
                  <a:pt x="33" y="20"/>
                </a:cubicBezTo>
                <a:cubicBezTo>
                  <a:pt x="32" y="20"/>
                  <a:pt x="32" y="20"/>
                  <a:pt x="32" y="20"/>
                </a:cubicBezTo>
                <a:cubicBezTo>
                  <a:pt x="31" y="19"/>
                  <a:pt x="31" y="19"/>
                  <a:pt x="31" y="19"/>
                </a:cubicBezTo>
                <a:cubicBezTo>
                  <a:pt x="30" y="17"/>
                  <a:pt x="30" y="17"/>
                  <a:pt x="30" y="17"/>
                </a:cubicBezTo>
                <a:cubicBezTo>
                  <a:pt x="30" y="16"/>
                  <a:pt x="30" y="16"/>
                  <a:pt x="30" y="16"/>
                </a:cubicBezTo>
                <a:cubicBezTo>
                  <a:pt x="29" y="14"/>
                  <a:pt x="29" y="14"/>
                  <a:pt x="29" y="14"/>
                </a:cubicBezTo>
                <a:cubicBezTo>
                  <a:pt x="27" y="14"/>
                  <a:pt x="27" y="14"/>
                  <a:pt x="27" y="14"/>
                </a:cubicBezTo>
                <a:close/>
                <a:moveTo>
                  <a:pt x="14" y="9"/>
                </a:moveTo>
                <a:cubicBezTo>
                  <a:pt x="17" y="9"/>
                  <a:pt x="17" y="9"/>
                  <a:pt x="17" y="9"/>
                </a:cubicBezTo>
                <a:cubicBezTo>
                  <a:pt x="18" y="10"/>
                  <a:pt x="18" y="10"/>
                  <a:pt x="18" y="10"/>
                </a:cubicBezTo>
                <a:cubicBezTo>
                  <a:pt x="20" y="11"/>
                  <a:pt x="20" y="11"/>
                  <a:pt x="20" y="11"/>
                </a:cubicBezTo>
                <a:cubicBezTo>
                  <a:pt x="23" y="14"/>
                  <a:pt x="23" y="14"/>
                  <a:pt x="23" y="14"/>
                </a:cubicBezTo>
                <a:cubicBezTo>
                  <a:pt x="22" y="14"/>
                  <a:pt x="22" y="14"/>
                  <a:pt x="22" y="14"/>
                </a:cubicBezTo>
                <a:cubicBezTo>
                  <a:pt x="22" y="15"/>
                  <a:pt x="22" y="15"/>
                  <a:pt x="22" y="15"/>
                </a:cubicBezTo>
                <a:cubicBezTo>
                  <a:pt x="22" y="15"/>
                  <a:pt x="22" y="15"/>
                  <a:pt x="22" y="15"/>
                </a:cubicBezTo>
                <a:cubicBezTo>
                  <a:pt x="21" y="15"/>
                  <a:pt x="21" y="15"/>
                  <a:pt x="21" y="15"/>
                </a:cubicBezTo>
                <a:cubicBezTo>
                  <a:pt x="21" y="14"/>
                  <a:pt x="21" y="14"/>
                  <a:pt x="21" y="14"/>
                </a:cubicBezTo>
                <a:cubicBezTo>
                  <a:pt x="20" y="14"/>
                  <a:pt x="20" y="14"/>
                  <a:pt x="20" y="14"/>
                </a:cubicBezTo>
                <a:cubicBezTo>
                  <a:pt x="19" y="13"/>
                  <a:pt x="19" y="13"/>
                  <a:pt x="19" y="13"/>
                </a:cubicBezTo>
                <a:cubicBezTo>
                  <a:pt x="16" y="10"/>
                  <a:pt x="16" y="10"/>
                  <a:pt x="16" y="10"/>
                </a:cubicBezTo>
                <a:cubicBezTo>
                  <a:pt x="16" y="10"/>
                  <a:pt x="14" y="9"/>
                  <a:pt x="14" y="9"/>
                </a:cubicBezTo>
                <a:close/>
                <a:moveTo>
                  <a:pt x="11" y="16"/>
                </a:moveTo>
                <a:cubicBezTo>
                  <a:pt x="12" y="16"/>
                  <a:pt x="12" y="16"/>
                  <a:pt x="12" y="16"/>
                </a:cubicBezTo>
                <a:cubicBezTo>
                  <a:pt x="12" y="17"/>
                  <a:pt x="12" y="17"/>
                  <a:pt x="12" y="17"/>
                </a:cubicBezTo>
                <a:cubicBezTo>
                  <a:pt x="11" y="17"/>
                  <a:pt x="11" y="17"/>
                  <a:pt x="11" y="17"/>
                </a:cubicBezTo>
                <a:cubicBezTo>
                  <a:pt x="11" y="16"/>
                  <a:pt x="11" y="16"/>
                  <a:pt x="11" y="16"/>
                </a:cubicBezTo>
                <a:cubicBezTo>
                  <a:pt x="11" y="16"/>
                  <a:pt x="11" y="16"/>
                  <a:pt x="11" y="16"/>
                </a:cubicBezTo>
                <a:close/>
                <a:moveTo>
                  <a:pt x="7" y="15"/>
                </a:moveTo>
                <a:cubicBezTo>
                  <a:pt x="7" y="15"/>
                  <a:pt x="7" y="15"/>
                  <a:pt x="7" y="15"/>
                </a:cubicBezTo>
                <a:cubicBezTo>
                  <a:pt x="8" y="15"/>
                  <a:pt x="8" y="15"/>
                  <a:pt x="8" y="15"/>
                </a:cubicBezTo>
                <a:cubicBezTo>
                  <a:pt x="8" y="16"/>
                  <a:pt x="8" y="16"/>
                  <a:pt x="8" y="16"/>
                </a:cubicBezTo>
                <a:cubicBezTo>
                  <a:pt x="7" y="15"/>
                  <a:pt x="7" y="15"/>
                  <a:pt x="7" y="15"/>
                </a:cubicBezTo>
                <a:close/>
                <a:moveTo>
                  <a:pt x="7" y="14"/>
                </a:moveTo>
                <a:cubicBezTo>
                  <a:pt x="8" y="14"/>
                  <a:pt x="8" y="14"/>
                  <a:pt x="8" y="14"/>
                </a:cubicBezTo>
                <a:cubicBezTo>
                  <a:pt x="9" y="14"/>
                  <a:pt x="9" y="14"/>
                  <a:pt x="9" y="14"/>
                </a:cubicBezTo>
                <a:cubicBezTo>
                  <a:pt x="9" y="15"/>
                  <a:pt x="9" y="15"/>
                  <a:pt x="9" y="15"/>
                </a:cubicBezTo>
                <a:cubicBezTo>
                  <a:pt x="10" y="15"/>
                  <a:pt x="10" y="15"/>
                  <a:pt x="10" y="15"/>
                </a:cubicBezTo>
                <a:cubicBezTo>
                  <a:pt x="10" y="15"/>
                  <a:pt x="10" y="15"/>
                  <a:pt x="10" y="15"/>
                </a:cubicBezTo>
                <a:cubicBezTo>
                  <a:pt x="11" y="14"/>
                  <a:pt x="11" y="14"/>
                  <a:pt x="11" y="14"/>
                </a:cubicBezTo>
                <a:cubicBezTo>
                  <a:pt x="10" y="13"/>
                  <a:pt x="10" y="13"/>
                  <a:pt x="10" y="13"/>
                </a:cubicBezTo>
                <a:cubicBezTo>
                  <a:pt x="9" y="13"/>
                  <a:pt x="9" y="13"/>
                  <a:pt x="9" y="13"/>
                </a:cubicBezTo>
                <a:cubicBezTo>
                  <a:pt x="9" y="12"/>
                  <a:pt x="9" y="12"/>
                  <a:pt x="9" y="12"/>
                </a:cubicBezTo>
                <a:cubicBezTo>
                  <a:pt x="8" y="11"/>
                  <a:pt x="8" y="11"/>
                  <a:pt x="8" y="11"/>
                </a:cubicBezTo>
                <a:cubicBezTo>
                  <a:pt x="7" y="12"/>
                  <a:pt x="7" y="12"/>
                  <a:pt x="7" y="12"/>
                </a:cubicBezTo>
                <a:cubicBezTo>
                  <a:pt x="7" y="14"/>
                  <a:pt x="7" y="14"/>
                  <a:pt x="7" y="14"/>
                </a:cubicBezTo>
                <a:close/>
                <a:moveTo>
                  <a:pt x="5" y="11"/>
                </a:moveTo>
                <a:cubicBezTo>
                  <a:pt x="6" y="11"/>
                  <a:pt x="6" y="11"/>
                  <a:pt x="6" y="11"/>
                </a:cubicBezTo>
                <a:cubicBezTo>
                  <a:pt x="7" y="11"/>
                  <a:pt x="7" y="11"/>
                  <a:pt x="7" y="11"/>
                </a:cubicBezTo>
                <a:cubicBezTo>
                  <a:pt x="7" y="12"/>
                  <a:pt x="7" y="12"/>
                  <a:pt x="7" y="12"/>
                </a:cubicBezTo>
                <a:cubicBezTo>
                  <a:pt x="6" y="12"/>
                  <a:pt x="6" y="12"/>
                  <a:pt x="6" y="12"/>
                </a:cubicBezTo>
                <a:cubicBezTo>
                  <a:pt x="5" y="12"/>
                  <a:pt x="5" y="12"/>
                  <a:pt x="5" y="12"/>
                </a:cubicBezTo>
                <a:cubicBezTo>
                  <a:pt x="5" y="12"/>
                  <a:pt x="5" y="11"/>
                  <a:pt x="5" y="11"/>
                </a:cubicBezTo>
                <a:close/>
                <a:moveTo>
                  <a:pt x="3" y="9"/>
                </a:moveTo>
                <a:cubicBezTo>
                  <a:pt x="4" y="10"/>
                  <a:pt x="4" y="10"/>
                  <a:pt x="4" y="10"/>
                </a:cubicBezTo>
                <a:cubicBezTo>
                  <a:pt x="4" y="11"/>
                  <a:pt x="4" y="11"/>
                  <a:pt x="4" y="11"/>
                </a:cubicBezTo>
                <a:cubicBezTo>
                  <a:pt x="3" y="11"/>
                  <a:pt x="3" y="11"/>
                  <a:pt x="3" y="11"/>
                </a:cubicBezTo>
                <a:cubicBezTo>
                  <a:pt x="3" y="11"/>
                  <a:pt x="3" y="11"/>
                  <a:pt x="3" y="11"/>
                </a:cubicBezTo>
                <a:cubicBezTo>
                  <a:pt x="3" y="10"/>
                  <a:pt x="3" y="10"/>
                  <a:pt x="3" y="10"/>
                </a:cubicBezTo>
                <a:cubicBezTo>
                  <a:pt x="3" y="9"/>
                  <a:pt x="3" y="9"/>
                  <a:pt x="3" y="9"/>
                </a:cubicBezTo>
                <a:close/>
                <a:moveTo>
                  <a:pt x="3" y="0"/>
                </a:moveTo>
                <a:cubicBezTo>
                  <a:pt x="1" y="2"/>
                  <a:pt x="1" y="2"/>
                  <a:pt x="1" y="2"/>
                </a:cubicBezTo>
                <a:cubicBezTo>
                  <a:pt x="3" y="1"/>
                  <a:pt x="3" y="1"/>
                  <a:pt x="3" y="1"/>
                </a:cubicBezTo>
                <a:cubicBezTo>
                  <a:pt x="3" y="0"/>
                  <a:pt x="3" y="0"/>
                  <a:pt x="3" y="0"/>
                </a:cubicBezTo>
                <a:close/>
                <a:moveTo>
                  <a:pt x="3" y="2"/>
                </a:moveTo>
                <a:cubicBezTo>
                  <a:pt x="2" y="3"/>
                  <a:pt x="2" y="3"/>
                  <a:pt x="2" y="3"/>
                </a:cubicBezTo>
                <a:cubicBezTo>
                  <a:pt x="3" y="5"/>
                  <a:pt x="3" y="5"/>
                  <a:pt x="3" y="5"/>
                </a:cubicBezTo>
                <a:cubicBezTo>
                  <a:pt x="5" y="6"/>
                  <a:pt x="5" y="6"/>
                  <a:pt x="5" y="6"/>
                </a:cubicBezTo>
                <a:cubicBezTo>
                  <a:pt x="6" y="7"/>
                  <a:pt x="6" y="7"/>
                  <a:pt x="6" y="7"/>
                </a:cubicBezTo>
                <a:cubicBezTo>
                  <a:pt x="8" y="8"/>
                  <a:pt x="8" y="8"/>
                  <a:pt x="8" y="8"/>
                </a:cubicBezTo>
                <a:cubicBezTo>
                  <a:pt x="9" y="8"/>
                  <a:pt x="9" y="8"/>
                  <a:pt x="9" y="8"/>
                </a:cubicBezTo>
                <a:cubicBezTo>
                  <a:pt x="9" y="7"/>
                  <a:pt x="9" y="7"/>
                  <a:pt x="9" y="7"/>
                </a:cubicBezTo>
                <a:cubicBezTo>
                  <a:pt x="8" y="6"/>
                  <a:pt x="8" y="6"/>
                  <a:pt x="8" y="6"/>
                </a:cubicBezTo>
                <a:cubicBezTo>
                  <a:pt x="7" y="5"/>
                  <a:pt x="7" y="5"/>
                  <a:pt x="7" y="5"/>
                </a:cubicBezTo>
                <a:cubicBezTo>
                  <a:pt x="7" y="4"/>
                  <a:pt x="7" y="4"/>
                  <a:pt x="7" y="4"/>
                </a:cubicBezTo>
                <a:cubicBezTo>
                  <a:pt x="6" y="4"/>
                  <a:pt x="6" y="4"/>
                  <a:pt x="6" y="4"/>
                </a:cubicBezTo>
                <a:cubicBezTo>
                  <a:pt x="4" y="4"/>
                  <a:pt x="4" y="4"/>
                  <a:pt x="4" y="4"/>
                </a:cubicBezTo>
                <a:cubicBezTo>
                  <a:pt x="3" y="2"/>
                  <a:pt x="3" y="2"/>
                  <a:pt x="3" y="2"/>
                </a:cubicBezTo>
                <a:cubicBezTo>
                  <a:pt x="3" y="2"/>
                  <a:pt x="3" y="2"/>
                  <a:pt x="3" y="2"/>
                </a:cubicBezTo>
                <a:close/>
                <a:moveTo>
                  <a:pt x="0" y="4"/>
                </a:moveTo>
                <a:cubicBezTo>
                  <a:pt x="0" y="4"/>
                  <a:pt x="0" y="4"/>
                  <a:pt x="0" y="4"/>
                </a:cubicBezTo>
                <a:cubicBezTo>
                  <a:pt x="0" y="5"/>
                  <a:pt x="0" y="5"/>
                  <a:pt x="0" y="5"/>
                </a:cubicBezTo>
                <a:lnTo>
                  <a:pt x="0" y="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5" name="Freeform 23">
            <a:extLst>
              <a:ext uri="{FF2B5EF4-FFF2-40B4-BE49-F238E27FC236}">
                <a16:creationId xmlns:a16="http://schemas.microsoft.com/office/drawing/2014/main" id="{1E796FBD-548D-43BF-1AC7-9B8F89690705}"/>
              </a:ext>
            </a:extLst>
          </p:cNvPr>
          <p:cNvSpPr>
            <a:spLocks noEditPoints="1"/>
          </p:cNvSpPr>
          <p:nvPr userDrawn="1"/>
        </p:nvSpPr>
        <p:spPr bwMode="auto">
          <a:xfrm>
            <a:off x="21991790" y="9467135"/>
            <a:ext cx="942915" cy="695326"/>
          </a:xfrm>
          <a:custGeom>
            <a:avLst/>
            <a:gdLst>
              <a:gd name="T0" fmla="*/ 76 w 95"/>
              <a:gd name="T1" fmla="*/ 68 h 70"/>
              <a:gd name="T2" fmla="*/ 76 w 95"/>
              <a:gd name="T3" fmla="*/ 68 h 70"/>
              <a:gd name="T4" fmla="*/ 40 w 95"/>
              <a:gd name="T5" fmla="*/ 7 h 70"/>
              <a:gd name="T6" fmla="*/ 90 w 95"/>
              <a:gd name="T7" fmla="*/ 31 h 70"/>
              <a:gd name="T8" fmla="*/ 91 w 95"/>
              <a:gd name="T9" fmla="*/ 37 h 70"/>
              <a:gd name="T10" fmla="*/ 88 w 95"/>
              <a:gd name="T11" fmla="*/ 28 h 70"/>
              <a:gd name="T12" fmla="*/ 84 w 95"/>
              <a:gd name="T13" fmla="*/ 22 h 70"/>
              <a:gd name="T14" fmla="*/ 66 w 95"/>
              <a:gd name="T15" fmla="*/ 11 h 70"/>
              <a:gd name="T16" fmla="*/ 77 w 95"/>
              <a:gd name="T17" fmla="*/ 20 h 70"/>
              <a:gd name="T18" fmla="*/ 74 w 95"/>
              <a:gd name="T19" fmla="*/ 17 h 70"/>
              <a:gd name="T20" fmla="*/ 56 w 95"/>
              <a:gd name="T21" fmla="*/ 0 h 70"/>
              <a:gd name="T22" fmla="*/ 61 w 95"/>
              <a:gd name="T23" fmla="*/ 11 h 70"/>
              <a:gd name="T24" fmla="*/ 58 w 95"/>
              <a:gd name="T25" fmla="*/ 24 h 70"/>
              <a:gd name="T26" fmla="*/ 52 w 95"/>
              <a:gd name="T27" fmla="*/ 33 h 70"/>
              <a:gd name="T28" fmla="*/ 63 w 95"/>
              <a:gd name="T29" fmla="*/ 34 h 70"/>
              <a:gd name="T30" fmla="*/ 71 w 95"/>
              <a:gd name="T31" fmla="*/ 29 h 70"/>
              <a:gd name="T32" fmla="*/ 72 w 95"/>
              <a:gd name="T33" fmla="*/ 20 h 70"/>
              <a:gd name="T34" fmla="*/ 68 w 95"/>
              <a:gd name="T35" fmla="*/ 25 h 70"/>
              <a:gd name="T36" fmla="*/ 60 w 95"/>
              <a:gd name="T37" fmla="*/ 28 h 70"/>
              <a:gd name="T38" fmla="*/ 56 w 95"/>
              <a:gd name="T39" fmla="*/ 28 h 70"/>
              <a:gd name="T40" fmla="*/ 43 w 95"/>
              <a:gd name="T41" fmla="*/ 29 h 70"/>
              <a:gd name="T42" fmla="*/ 39 w 95"/>
              <a:gd name="T43" fmla="*/ 28 h 70"/>
              <a:gd name="T44" fmla="*/ 33 w 95"/>
              <a:gd name="T45" fmla="*/ 23 h 70"/>
              <a:gd name="T46" fmla="*/ 73 w 95"/>
              <a:gd name="T47" fmla="*/ 51 h 70"/>
              <a:gd name="T48" fmla="*/ 65 w 95"/>
              <a:gd name="T49" fmla="*/ 49 h 70"/>
              <a:gd name="T50" fmla="*/ 63 w 95"/>
              <a:gd name="T51" fmla="*/ 58 h 70"/>
              <a:gd name="T52" fmla="*/ 62 w 95"/>
              <a:gd name="T53" fmla="*/ 58 h 70"/>
              <a:gd name="T54" fmla="*/ 62 w 95"/>
              <a:gd name="T55" fmla="*/ 56 h 70"/>
              <a:gd name="T56" fmla="*/ 60 w 95"/>
              <a:gd name="T57" fmla="*/ 54 h 70"/>
              <a:gd name="T58" fmla="*/ 59 w 95"/>
              <a:gd name="T59" fmla="*/ 53 h 70"/>
              <a:gd name="T60" fmla="*/ 23 w 95"/>
              <a:gd name="T61" fmla="*/ 43 h 70"/>
              <a:gd name="T62" fmla="*/ 23 w 95"/>
              <a:gd name="T63" fmla="*/ 43 h 70"/>
              <a:gd name="T64" fmla="*/ 19 w 95"/>
              <a:gd name="T65" fmla="*/ 44 h 70"/>
              <a:gd name="T66" fmla="*/ 16 w 95"/>
              <a:gd name="T67" fmla="*/ 49 h 70"/>
              <a:gd name="T68" fmla="*/ 14 w 95"/>
              <a:gd name="T69" fmla="*/ 49 h 70"/>
              <a:gd name="T70" fmla="*/ 16 w 95"/>
              <a:gd name="T71" fmla="*/ 46 h 70"/>
              <a:gd name="T72" fmla="*/ 1 w 95"/>
              <a:gd name="T73" fmla="*/ 10 h 70"/>
              <a:gd name="T74" fmla="*/ 4 w 95"/>
              <a:gd name="T75" fmla="*/ 52 h 70"/>
              <a:gd name="T76" fmla="*/ 14 w 95"/>
              <a:gd name="T77" fmla="*/ 52 h 70"/>
              <a:gd name="T78" fmla="*/ 8 w 95"/>
              <a:gd name="T79" fmla="*/ 47 h 70"/>
              <a:gd name="T80" fmla="*/ 4 w 95"/>
              <a:gd name="T81" fmla="*/ 42 h 70"/>
              <a:gd name="T82" fmla="*/ 10 w 95"/>
              <a:gd name="T83" fmla="*/ 48 h 70"/>
              <a:gd name="T84" fmla="*/ 15 w 95"/>
              <a:gd name="T85" fmla="*/ 45 h 70"/>
              <a:gd name="T86" fmla="*/ 17 w 95"/>
              <a:gd name="T87" fmla="*/ 44 h 70"/>
              <a:gd name="T88" fmla="*/ 19 w 95"/>
              <a:gd name="T89" fmla="*/ 43 h 70"/>
              <a:gd name="T90" fmla="*/ 21 w 95"/>
              <a:gd name="T91" fmla="*/ 42 h 70"/>
              <a:gd name="T92" fmla="*/ 26 w 95"/>
              <a:gd name="T93" fmla="*/ 42 h 70"/>
              <a:gd name="T94" fmla="*/ 34 w 95"/>
              <a:gd name="T95" fmla="*/ 49 h 70"/>
              <a:gd name="T96" fmla="*/ 42 w 95"/>
              <a:gd name="T97" fmla="*/ 59 h 70"/>
              <a:gd name="T98" fmla="*/ 52 w 95"/>
              <a:gd name="T99" fmla="*/ 60 h 70"/>
              <a:gd name="T100" fmla="*/ 58 w 95"/>
              <a:gd name="T101" fmla="*/ 63 h 70"/>
              <a:gd name="T102" fmla="*/ 61 w 95"/>
              <a:gd name="T103" fmla="*/ 60 h 70"/>
              <a:gd name="T104" fmla="*/ 56 w 95"/>
              <a:gd name="T105" fmla="*/ 56 h 70"/>
              <a:gd name="T106" fmla="*/ 51 w 95"/>
              <a:gd name="T107" fmla="*/ 52 h 70"/>
              <a:gd name="T108" fmla="*/ 45 w 95"/>
              <a:gd name="T109" fmla="*/ 45 h 70"/>
              <a:gd name="T110" fmla="*/ 38 w 95"/>
              <a:gd name="T111" fmla="*/ 38 h 70"/>
              <a:gd name="T112" fmla="*/ 40 w 95"/>
              <a:gd name="T113" fmla="*/ 32 h 70"/>
              <a:gd name="T114" fmla="*/ 31 w 95"/>
              <a:gd name="T115" fmla="*/ 25 h 70"/>
              <a:gd name="T116" fmla="*/ 24 w 95"/>
              <a:gd name="T117" fmla="*/ 19 h 70"/>
              <a:gd name="T118" fmla="*/ 12 w 95"/>
              <a:gd name="T119" fmla="*/ 14 h 70"/>
              <a:gd name="T120" fmla="*/ 2 w 95"/>
              <a:gd name="T121" fmla="*/ 1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 h="70">
                <a:moveTo>
                  <a:pt x="81" y="68"/>
                </a:moveTo>
                <a:cubicBezTo>
                  <a:pt x="82" y="67"/>
                  <a:pt x="82" y="67"/>
                  <a:pt x="82" y="67"/>
                </a:cubicBezTo>
                <a:cubicBezTo>
                  <a:pt x="83" y="67"/>
                  <a:pt x="83" y="67"/>
                  <a:pt x="83" y="67"/>
                </a:cubicBezTo>
                <a:cubicBezTo>
                  <a:pt x="83" y="68"/>
                  <a:pt x="83" y="68"/>
                  <a:pt x="83" y="68"/>
                </a:cubicBezTo>
                <a:cubicBezTo>
                  <a:pt x="82" y="68"/>
                  <a:pt x="82" y="68"/>
                  <a:pt x="82" y="68"/>
                </a:cubicBezTo>
                <a:cubicBezTo>
                  <a:pt x="81" y="68"/>
                  <a:pt x="81" y="68"/>
                  <a:pt x="81" y="68"/>
                </a:cubicBezTo>
                <a:cubicBezTo>
                  <a:pt x="81" y="68"/>
                  <a:pt x="81" y="68"/>
                  <a:pt x="81" y="68"/>
                </a:cubicBezTo>
                <a:close/>
                <a:moveTo>
                  <a:pt x="76" y="68"/>
                </a:moveTo>
                <a:cubicBezTo>
                  <a:pt x="78" y="69"/>
                  <a:pt x="78" y="69"/>
                  <a:pt x="78" y="69"/>
                </a:cubicBezTo>
                <a:cubicBezTo>
                  <a:pt x="78" y="69"/>
                  <a:pt x="78" y="69"/>
                  <a:pt x="78" y="69"/>
                </a:cubicBezTo>
                <a:cubicBezTo>
                  <a:pt x="79" y="70"/>
                  <a:pt x="79" y="70"/>
                  <a:pt x="79" y="70"/>
                </a:cubicBezTo>
                <a:cubicBezTo>
                  <a:pt x="80" y="69"/>
                  <a:pt x="80" y="69"/>
                  <a:pt x="80" y="69"/>
                </a:cubicBezTo>
                <a:cubicBezTo>
                  <a:pt x="79" y="69"/>
                  <a:pt x="79" y="69"/>
                  <a:pt x="79" y="69"/>
                </a:cubicBezTo>
                <a:cubicBezTo>
                  <a:pt x="78" y="69"/>
                  <a:pt x="78" y="69"/>
                  <a:pt x="78" y="69"/>
                </a:cubicBezTo>
                <a:cubicBezTo>
                  <a:pt x="77" y="68"/>
                  <a:pt x="77" y="68"/>
                  <a:pt x="77" y="68"/>
                </a:cubicBezTo>
                <a:cubicBezTo>
                  <a:pt x="76" y="68"/>
                  <a:pt x="76" y="68"/>
                  <a:pt x="76" y="68"/>
                </a:cubicBezTo>
                <a:close/>
                <a:moveTo>
                  <a:pt x="37" y="6"/>
                </a:moveTo>
                <a:cubicBezTo>
                  <a:pt x="37" y="5"/>
                  <a:pt x="37" y="5"/>
                  <a:pt x="37" y="5"/>
                </a:cubicBezTo>
                <a:cubicBezTo>
                  <a:pt x="38" y="5"/>
                  <a:pt x="38" y="5"/>
                  <a:pt x="38" y="5"/>
                </a:cubicBezTo>
                <a:cubicBezTo>
                  <a:pt x="39" y="5"/>
                  <a:pt x="39" y="5"/>
                  <a:pt x="39" y="5"/>
                </a:cubicBezTo>
                <a:cubicBezTo>
                  <a:pt x="40" y="6"/>
                  <a:pt x="40" y="6"/>
                  <a:pt x="40" y="6"/>
                </a:cubicBezTo>
                <a:cubicBezTo>
                  <a:pt x="41" y="5"/>
                  <a:pt x="41" y="5"/>
                  <a:pt x="41" y="5"/>
                </a:cubicBezTo>
                <a:cubicBezTo>
                  <a:pt x="41" y="6"/>
                  <a:pt x="41" y="6"/>
                  <a:pt x="41" y="6"/>
                </a:cubicBezTo>
                <a:cubicBezTo>
                  <a:pt x="40" y="7"/>
                  <a:pt x="40" y="7"/>
                  <a:pt x="40" y="7"/>
                </a:cubicBezTo>
                <a:cubicBezTo>
                  <a:pt x="39" y="7"/>
                  <a:pt x="39" y="7"/>
                  <a:pt x="39" y="7"/>
                </a:cubicBezTo>
                <a:cubicBezTo>
                  <a:pt x="38" y="7"/>
                  <a:pt x="38" y="7"/>
                  <a:pt x="38" y="7"/>
                </a:cubicBezTo>
                <a:cubicBezTo>
                  <a:pt x="37" y="7"/>
                  <a:pt x="37" y="7"/>
                  <a:pt x="37" y="7"/>
                </a:cubicBezTo>
                <a:cubicBezTo>
                  <a:pt x="37" y="7"/>
                  <a:pt x="37" y="6"/>
                  <a:pt x="37" y="6"/>
                </a:cubicBezTo>
                <a:close/>
                <a:moveTo>
                  <a:pt x="88" y="28"/>
                </a:moveTo>
                <a:cubicBezTo>
                  <a:pt x="89" y="28"/>
                  <a:pt x="89" y="28"/>
                  <a:pt x="89" y="28"/>
                </a:cubicBezTo>
                <a:cubicBezTo>
                  <a:pt x="90" y="29"/>
                  <a:pt x="90" y="29"/>
                  <a:pt x="90" y="29"/>
                </a:cubicBezTo>
                <a:cubicBezTo>
                  <a:pt x="90" y="31"/>
                  <a:pt x="90" y="31"/>
                  <a:pt x="90" y="31"/>
                </a:cubicBezTo>
                <a:cubicBezTo>
                  <a:pt x="92" y="31"/>
                  <a:pt x="92" y="31"/>
                  <a:pt x="92" y="31"/>
                </a:cubicBezTo>
                <a:cubicBezTo>
                  <a:pt x="94" y="33"/>
                  <a:pt x="94" y="33"/>
                  <a:pt x="94" y="33"/>
                </a:cubicBezTo>
                <a:cubicBezTo>
                  <a:pt x="95" y="34"/>
                  <a:pt x="95" y="34"/>
                  <a:pt x="95" y="34"/>
                </a:cubicBezTo>
                <a:cubicBezTo>
                  <a:pt x="95" y="36"/>
                  <a:pt x="95" y="36"/>
                  <a:pt x="95" y="36"/>
                </a:cubicBezTo>
                <a:cubicBezTo>
                  <a:pt x="94" y="36"/>
                  <a:pt x="94" y="36"/>
                  <a:pt x="94" y="36"/>
                </a:cubicBezTo>
                <a:cubicBezTo>
                  <a:pt x="94" y="37"/>
                  <a:pt x="94" y="37"/>
                  <a:pt x="94" y="37"/>
                </a:cubicBezTo>
                <a:cubicBezTo>
                  <a:pt x="92" y="37"/>
                  <a:pt x="92" y="37"/>
                  <a:pt x="92" y="37"/>
                </a:cubicBezTo>
                <a:cubicBezTo>
                  <a:pt x="91" y="37"/>
                  <a:pt x="91" y="37"/>
                  <a:pt x="91" y="37"/>
                </a:cubicBezTo>
                <a:cubicBezTo>
                  <a:pt x="90" y="37"/>
                  <a:pt x="90" y="37"/>
                  <a:pt x="90" y="37"/>
                </a:cubicBezTo>
                <a:cubicBezTo>
                  <a:pt x="90" y="36"/>
                  <a:pt x="90" y="36"/>
                  <a:pt x="90" y="36"/>
                </a:cubicBezTo>
                <a:cubicBezTo>
                  <a:pt x="90" y="35"/>
                  <a:pt x="90" y="35"/>
                  <a:pt x="90" y="35"/>
                </a:cubicBezTo>
                <a:cubicBezTo>
                  <a:pt x="89" y="33"/>
                  <a:pt x="89" y="33"/>
                  <a:pt x="89" y="33"/>
                </a:cubicBezTo>
                <a:cubicBezTo>
                  <a:pt x="88" y="32"/>
                  <a:pt x="88" y="32"/>
                  <a:pt x="88" y="32"/>
                </a:cubicBezTo>
                <a:cubicBezTo>
                  <a:pt x="88" y="30"/>
                  <a:pt x="88" y="30"/>
                  <a:pt x="88" y="30"/>
                </a:cubicBezTo>
                <a:cubicBezTo>
                  <a:pt x="87" y="29"/>
                  <a:pt x="87" y="29"/>
                  <a:pt x="87" y="29"/>
                </a:cubicBezTo>
                <a:cubicBezTo>
                  <a:pt x="88" y="28"/>
                  <a:pt x="88" y="28"/>
                  <a:pt x="88" y="28"/>
                </a:cubicBezTo>
                <a:close/>
                <a:moveTo>
                  <a:pt x="86" y="25"/>
                </a:moveTo>
                <a:cubicBezTo>
                  <a:pt x="86" y="26"/>
                  <a:pt x="86" y="26"/>
                  <a:pt x="86" y="26"/>
                </a:cubicBezTo>
                <a:cubicBezTo>
                  <a:pt x="87" y="27"/>
                  <a:pt x="87" y="27"/>
                  <a:pt x="87" y="27"/>
                </a:cubicBezTo>
                <a:cubicBezTo>
                  <a:pt x="87" y="28"/>
                  <a:pt x="87" y="28"/>
                  <a:pt x="87" y="28"/>
                </a:cubicBezTo>
                <a:cubicBezTo>
                  <a:pt x="87" y="27"/>
                  <a:pt x="87" y="27"/>
                  <a:pt x="87" y="27"/>
                </a:cubicBezTo>
                <a:cubicBezTo>
                  <a:pt x="87" y="25"/>
                  <a:pt x="87" y="25"/>
                  <a:pt x="87" y="25"/>
                </a:cubicBezTo>
                <a:cubicBezTo>
                  <a:pt x="86" y="25"/>
                  <a:pt x="86" y="25"/>
                  <a:pt x="86" y="25"/>
                </a:cubicBezTo>
                <a:close/>
                <a:moveTo>
                  <a:pt x="84" y="22"/>
                </a:moveTo>
                <a:cubicBezTo>
                  <a:pt x="85" y="22"/>
                  <a:pt x="85" y="22"/>
                  <a:pt x="85" y="22"/>
                </a:cubicBezTo>
                <a:cubicBezTo>
                  <a:pt x="85" y="21"/>
                  <a:pt x="85" y="21"/>
                  <a:pt x="85" y="21"/>
                </a:cubicBezTo>
                <a:cubicBezTo>
                  <a:pt x="86" y="22"/>
                  <a:pt x="86" y="22"/>
                  <a:pt x="86" y="22"/>
                </a:cubicBezTo>
                <a:cubicBezTo>
                  <a:pt x="85" y="23"/>
                  <a:pt x="85" y="23"/>
                  <a:pt x="85" y="23"/>
                </a:cubicBezTo>
                <a:cubicBezTo>
                  <a:pt x="84" y="23"/>
                  <a:pt x="84" y="23"/>
                  <a:pt x="84" y="23"/>
                </a:cubicBezTo>
                <a:cubicBezTo>
                  <a:pt x="84" y="22"/>
                  <a:pt x="84" y="22"/>
                  <a:pt x="84" y="22"/>
                </a:cubicBezTo>
                <a:close/>
                <a:moveTo>
                  <a:pt x="63" y="10"/>
                </a:moveTo>
                <a:cubicBezTo>
                  <a:pt x="66" y="11"/>
                  <a:pt x="66" y="11"/>
                  <a:pt x="66" y="11"/>
                </a:cubicBezTo>
                <a:cubicBezTo>
                  <a:pt x="68" y="12"/>
                  <a:pt x="68" y="12"/>
                  <a:pt x="68" y="12"/>
                </a:cubicBezTo>
                <a:cubicBezTo>
                  <a:pt x="70" y="14"/>
                  <a:pt x="70" y="14"/>
                  <a:pt x="70" y="14"/>
                </a:cubicBezTo>
                <a:cubicBezTo>
                  <a:pt x="72" y="14"/>
                  <a:pt x="72" y="14"/>
                  <a:pt x="72" y="14"/>
                </a:cubicBezTo>
                <a:cubicBezTo>
                  <a:pt x="73" y="15"/>
                  <a:pt x="73" y="15"/>
                  <a:pt x="73" y="15"/>
                </a:cubicBezTo>
                <a:cubicBezTo>
                  <a:pt x="74" y="16"/>
                  <a:pt x="74" y="16"/>
                  <a:pt x="74" y="16"/>
                </a:cubicBezTo>
                <a:cubicBezTo>
                  <a:pt x="75" y="18"/>
                  <a:pt x="75" y="18"/>
                  <a:pt x="75" y="18"/>
                </a:cubicBezTo>
                <a:cubicBezTo>
                  <a:pt x="76" y="18"/>
                  <a:pt x="76" y="18"/>
                  <a:pt x="76" y="18"/>
                </a:cubicBezTo>
                <a:cubicBezTo>
                  <a:pt x="77" y="20"/>
                  <a:pt x="77" y="20"/>
                  <a:pt x="77" y="20"/>
                </a:cubicBezTo>
                <a:cubicBezTo>
                  <a:pt x="78" y="21"/>
                  <a:pt x="78" y="21"/>
                  <a:pt x="78" y="21"/>
                </a:cubicBezTo>
                <a:cubicBezTo>
                  <a:pt x="78" y="22"/>
                  <a:pt x="78" y="22"/>
                  <a:pt x="78" y="22"/>
                </a:cubicBezTo>
                <a:cubicBezTo>
                  <a:pt x="77" y="23"/>
                  <a:pt x="77" y="23"/>
                  <a:pt x="77" y="23"/>
                </a:cubicBezTo>
                <a:cubicBezTo>
                  <a:pt x="77" y="24"/>
                  <a:pt x="77" y="24"/>
                  <a:pt x="77" y="24"/>
                </a:cubicBezTo>
                <a:cubicBezTo>
                  <a:pt x="75" y="23"/>
                  <a:pt x="75" y="23"/>
                  <a:pt x="75" y="23"/>
                </a:cubicBezTo>
                <a:cubicBezTo>
                  <a:pt x="75" y="22"/>
                  <a:pt x="75" y="22"/>
                  <a:pt x="75" y="22"/>
                </a:cubicBezTo>
                <a:cubicBezTo>
                  <a:pt x="75" y="21"/>
                  <a:pt x="75" y="21"/>
                  <a:pt x="75" y="21"/>
                </a:cubicBezTo>
                <a:cubicBezTo>
                  <a:pt x="74" y="17"/>
                  <a:pt x="74" y="17"/>
                  <a:pt x="74" y="17"/>
                </a:cubicBezTo>
                <a:cubicBezTo>
                  <a:pt x="72" y="15"/>
                  <a:pt x="72" y="15"/>
                  <a:pt x="72" y="15"/>
                </a:cubicBezTo>
                <a:cubicBezTo>
                  <a:pt x="71" y="15"/>
                  <a:pt x="71" y="15"/>
                  <a:pt x="71" y="15"/>
                </a:cubicBezTo>
                <a:cubicBezTo>
                  <a:pt x="68" y="14"/>
                  <a:pt x="68" y="14"/>
                  <a:pt x="68" y="14"/>
                </a:cubicBezTo>
                <a:cubicBezTo>
                  <a:pt x="64" y="11"/>
                  <a:pt x="64" y="11"/>
                  <a:pt x="64" y="11"/>
                </a:cubicBezTo>
                <a:cubicBezTo>
                  <a:pt x="63" y="10"/>
                  <a:pt x="63" y="10"/>
                  <a:pt x="63" y="10"/>
                </a:cubicBezTo>
                <a:cubicBezTo>
                  <a:pt x="63" y="10"/>
                  <a:pt x="63" y="10"/>
                  <a:pt x="63" y="10"/>
                </a:cubicBezTo>
                <a:close/>
                <a:moveTo>
                  <a:pt x="55" y="0"/>
                </a:moveTo>
                <a:cubicBezTo>
                  <a:pt x="56" y="0"/>
                  <a:pt x="56" y="0"/>
                  <a:pt x="56" y="0"/>
                </a:cubicBezTo>
                <a:cubicBezTo>
                  <a:pt x="56" y="1"/>
                  <a:pt x="56" y="1"/>
                  <a:pt x="56" y="1"/>
                </a:cubicBezTo>
                <a:cubicBezTo>
                  <a:pt x="56" y="2"/>
                  <a:pt x="56" y="2"/>
                  <a:pt x="56" y="2"/>
                </a:cubicBezTo>
                <a:cubicBezTo>
                  <a:pt x="55" y="1"/>
                  <a:pt x="55" y="1"/>
                  <a:pt x="55" y="1"/>
                </a:cubicBezTo>
                <a:cubicBezTo>
                  <a:pt x="55" y="0"/>
                  <a:pt x="55" y="0"/>
                  <a:pt x="55" y="0"/>
                </a:cubicBezTo>
                <a:close/>
                <a:moveTo>
                  <a:pt x="58" y="9"/>
                </a:moveTo>
                <a:cubicBezTo>
                  <a:pt x="60" y="9"/>
                  <a:pt x="60" y="9"/>
                  <a:pt x="60" y="9"/>
                </a:cubicBezTo>
                <a:cubicBezTo>
                  <a:pt x="61" y="9"/>
                  <a:pt x="61" y="9"/>
                  <a:pt x="61" y="9"/>
                </a:cubicBezTo>
                <a:cubicBezTo>
                  <a:pt x="61" y="11"/>
                  <a:pt x="61" y="11"/>
                  <a:pt x="61" y="11"/>
                </a:cubicBezTo>
                <a:cubicBezTo>
                  <a:pt x="59" y="11"/>
                  <a:pt x="59" y="11"/>
                  <a:pt x="59" y="11"/>
                </a:cubicBezTo>
                <a:cubicBezTo>
                  <a:pt x="58" y="10"/>
                  <a:pt x="58" y="10"/>
                  <a:pt x="58" y="10"/>
                </a:cubicBezTo>
                <a:cubicBezTo>
                  <a:pt x="58" y="9"/>
                  <a:pt x="58" y="9"/>
                  <a:pt x="58" y="9"/>
                </a:cubicBezTo>
                <a:close/>
                <a:moveTo>
                  <a:pt x="58" y="25"/>
                </a:moveTo>
                <a:cubicBezTo>
                  <a:pt x="59" y="26"/>
                  <a:pt x="59" y="26"/>
                  <a:pt x="59" y="26"/>
                </a:cubicBezTo>
                <a:cubicBezTo>
                  <a:pt x="60" y="25"/>
                  <a:pt x="60" y="25"/>
                  <a:pt x="60" y="25"/>
                </a:cubicBezTo>
                <a:cubicBezTo>
                  <a:pt x="59" y="24"/>
                  <a:pt x="59" y="24"/>
                  <a:pt x="59" y="24"/>
                </a:cubicBezTo>
                <a:cubicBezTo>
                  <a:pt x="58" y="24"/>
                  <a:pt x="58" y="24"/>
                  <a:pt x="58" y="24"/>
                </a:cubicBezTo>
                <a:cubicBezTo>
                  <a:pt x="58" y="25"/>
                  <a:pt x="58" y="25"/>
                  <a:pt x="58" y="25"/>
                </a:cubicBezTo>
                <a:close/>
                <a:moveTo>
                  <a:pt x="47" y="28"/>
                </a:moveTo>
                <a:cubicBezTo>
                  <a:pt x="47" y="29"/>
                  <a:pt x="47" y="29"/>
                  <a:pt x="47" y="29"/>
                </a:cubicBezTo>
                <a:cubicBezTo>
                  <a:pt x="48" y="31"/>
                  <a:pt x="48" y="31"/>
                  <a:pt x="48" y="31"/>
                </a:cubicBezTo>
                <a:cubicBezTo>
                  <a:pt x="49" y="31"/>
                  <a:pt x="49" y="31"/>
                  <a:pt x="49" y="31"/>
                </a:cubicBezTo>
                <a:cubicBezTo>
                  <a:pt x="51" y="32"/>
                  <a:pt x="51" y="32"/>
                  <a:pt x="51" y="32"/>
                </a:cubicBezTo>
                <a:cubicBezTo>
                  <a:pt x="51" y="33"/>
                  <a:pt x="51" y="33"/>
                  <a:pt x="51" y="33"/>
                </a:cubicBezTo>
                <a:cubicBezTo>
                  <a:pt x="52" y="33"/>
                  <a:pt x="52" y="33"/>
                  <a:pt x="52" y="33"/>
                </a:cubicBezTo>
                <a:cubicBezTo>
                  <a:pt x="54" y="33"/>
                  <a:pt x="54" y="33"/>
                  <a:pt x="54" y="33"/>
                </a:cubicBezTo>
                <a:cubicBezTo>
                  <a:pt x="55" y="34"/>
                  <a:pt x="55" y="34"/>
                  <a:pt x="55" y="34"/>
                </a:cubicBezTo>
                <a:cubicBezTo>
                  <a:pt x="56" y="34"/>
                  <a:pt x="56" y="34"/>
                  <a:pt x="56" y="34"/>
                </a:cubicBezTo>
                <a:cubicBezTo>
                  <a:pt x="57" y="34"/>
                  <a:pt x="57" y="34"/>
                  <a:pt x="57" y="34"/>
                </a:cubicBezTo>
                <a:cubicBezTo>
                  <a:pt x="60" y="33"/>
                  <a:pt x="60" y="33"/>
                  <a:pt x="60" y="33"/>
                </a:cubicBezTo>
                <a:cubicBezTo>
                  <a:pt x="61" y="34"/>
                  <a:pt x="61" y="34"/>
                  <a:pt x="61" y="34"/>
                </a:cubicBezTo>
                <a:cubicBezTo>
                  <a:pt x="62" y="33"/>
                  <a:pt x="62" y="33"/>
                  <a:pt x="62" y="33"/>
                </a:cubicBezTo>
                <a:cubicBezTo>
                  <a:pt x="63" y="34"/>
                  <a:pt x="63" y="34"/>
                  <a:pt x="63" y="34"/>
                </a:cubicBezTo>
                <a:cubicBezTo>
                  <a:pt x="64" y="33"/>
                  <a:pt x="64" y="33"/>
                  <a:pt x="64" y="33"/>
                </a:cubicBezTo>
                <a:cubicBezTo>
                  <a:pt x="64" y="32"/>
                  <a:pt x="64" y="32"/>
                  <a:pt x="64" y="32"/>
                </a:cubicBezTo>
                <a:cubicBezTo>
                  <a:pt x="66" y="32"/>
                  <a:pt x="66" y="32"/>
                  <a:pt x="66" y="32"/>
                </a:cubicBezTo>
                <a:cubicBezTo>
                  <a:pt x="68" y="30"/>
                  <a:pt x="68" y="30"/>
                  <a:pt x="68" y="30"/>
                </a:cubicBezTo>
                <a:cubicBezTo>
                  <a:pt x="68" y="29"/>
                  <a:pt x="68" y="29"/>
                  <a:pt x="68" y="29"/>
                </a:cubicBezTo>
                <a:cubicBezTo>
                  <a:pt x="69" y="28"/>
                  <a:pt x="69" y="28"/>
                  <a:pt x="69" y="28"/>
                </a:cubicBezTo>
                <a:cubicBezTo>
                  <a:pt x="69" y="29"/>
                  <a:pt x="69" y="29"/>
                  <a:pt x="69" y="29"/>
                </a:cubicBezTo>
                <a:cubicBezTo>
                  <a:pt x="71" y="29"/>
                  <a:pt x="71" y="29"/>
                  <a:pt x="71" y="29"/>
                </a:cubicBezTo>
                <a:cubicBezTo>
                  <a:pt x="72" y="27"/>
                  <a:pt x="72" y="27"/>
                  <a:pt x="72" y="27"/>
                </a:cubicBezTo>
                <a:cubicBezTo>
                  <a:pt x="70" y="26"/>
                  <a:pt x="70" y="26"/>
                  <a:pt x="70" y="26"/>
                </a:cubicBezTo>
                <a:cubicBezTo>
                  <a:pt x="70" y="25"/>
                  <a:pt x="70" y="25"/>
                  <a:pt x="70" y="25"/>
                </a:cubicBezTo>
                <a:cubicBezTo>
                  <a:pt x="71" y="25"/>
                  <a:pt x="71" y="25"/>
                  <a:pt x="71" y="25"/>
                </a:cubicBezTo>
                <a:cubicBezTo>
                  <a:pt x="72" y="25"/>
                  <a:pt x="72" y="25"/>
                  <a:pt x="72" y="25"/>
                </a:cubicBezTo>
                <a:cubicBezTo>
                  <a:pt x="73" y="24"/>
                  <a:pt x="73" y="24"/>
                  <a:pt x="73" y="24"/>
                </a:cubicBezTo>
                <a:cubicBezTo>
                  <a:pt x="73" y="21"/>
                  <a:pt x="73" y="21"/>
                  <a:pt x="73" y="21"/>
                </a:cubicBezTo>
                <a:cubicBezTo>
                  <a:pt x="72" y="20"/>
                  <a:pt x="72" y="20"/>
                  <a:pt x="72" y="20"/>
                </a:cubicBezTo>
                <a:cubicBezTo>
                  <a:pt x="71" y="20"/>
                  <a:pt x="71" y="20"/>
                  <a:pt x="71" y="20"/>
                </a:cubicBezTo>
                <a:cubicBezTo>
                  <a:pt x="71" y="21"/>
                  <a:pt x="71" y="21"/>
                  <a:pt x="71" y="21"/>
                </a:cubicBezTo>
                <a:cubicBezTo>
                  <a:pt x="70" y="20"/>
                  <a:pt x="70" y="20"/>
                  <a:pt x="70" y="20"/>
                </a:cubicBezTo>
                <a:cubicBezTo>
                  <a:pt x="68" y="20"/>
                  <a:pt x="68" y="20"/>
                  <a:pt x="68" y="20"/>
                </a:cubicBezTo>
                <a:cubicBezTo>
                  <a:pt x="68" y="21"/>
                  <a:pt x="68" y="21"/>
                  <a:pt x="68" y="21"/>
                </a:cubicBezTo>
                <a:cubicBezTo>
                  <a:pt x="68" y="24"/>
                  <a:pt x="68" y="24"/>
                  <a:pt x="68" y="24"/>
                </a:cubicBezTo>
                <a:cubicBezTo>
                  <a:pt x="69" y="24"/>
                  <a:pt x="69" y="24"/>
                  <a:pt x="69" y="24"/>
                </a:cubicBezTo>
                <a:cubicBezTo>
                  <a:pt x="68" y="25"/>
                  <a:pt x="68" y="25"/>
                  <a:pt x="68" y="25"/>
                </a:cubicBezTo>
                <a:cubicBezTo>
                  <a:pt x="67" y="25"/>
                  <a:pt x="67" y="25"/>
                  <a:pt x="67" y="25"/>
                </a:cubicBezTo>
                <a:cubicBezTo>
                  <a:pt x="65" y="27"/>
                  <a:pt x="65" y="27"/>
                  <a:pt x="65" y="27"/>
                </a:cubicBezTo>
                <a:cubicBezTo>
                  <a:pt x="64" y="28"/>
                  <a:pt x="64" y="28"/>
                  <a:pt x="64" y="28"/>
                </a:cubicBezTo>
                <a:cubicBezTo>
                  <a:pt x="63" y="29"/>
                  <a:pt x="63" y="29"/>
                  <a:pt x="63" y="29"/>
                </a:cubicBezTo>
                <a:cubicBezTo>
                  <a:pt x="63" y="28"/>
                  <a:pt x="63" y="28"/>
                  <a:pt x="63" y="28"/>
                </a:cubicBezTo>
                <a:cubicBezTo>
                  <a:pt x="62" y="29"/>
                  <a:pt x="62" y="29"/>
                  <a:pt x="62" y="29"/>
                </a:cubicBezTo>
                <a:cubicBezTo>
                  <a:pt x="61" y="28"/>
                  <a:pt x="61" y="28"/>
                  <a:pt x="61" y="28"/>
                </a:cubicBezTo>
                <a:cubicBezTo>
                  <a:pt x="60" y="28"/>
                  <a:pt x="60" y="28"/>
                  <a:pt x="60" y="28"/>
                </a:cubicBezTo>
                <a:cubicBezTo>
                  <a:pt x="59" y="29"/>
                  <a:pt x="59" y="29"/>
                  <a:pt x="59" y="29"/>
                </a:cubicBezTo>
                <a:cubicBezTo>
                  <a:pt x="58" y="29"/>
                  <a:pt x="58" y="29"/>
                  <a:pt x="58" y="29"/>
                </a:cubicBezTo>
                <a:cubicBezTo>
                  <a:pt x="58" y="28"/>
                  <a:pt x="58" y="28"/>
                  <a:pt x="58" y="28"/>
                </a:cubicBezTo>
                <a:cubicBezTo>
                  <a:pt x="58" y="27"/>
                  <a:pt x="58" y="27"/>
                  <a:pt x="58" y="27"/>
                </a:cubicBezTo>
                <a:cubicBezTo>
                  <a:pt x="57" y="26"/>
                  <a:pt x="57" y="26"/>
                  <a:pt x="57" y="26"/>
                </a:cubicBezTo>
                <a:cubicBezTo>
                  <a:pt x="57" y="27"/>
                  <a:pt x="57" y="27"/>
                  <a:pt x="57" y="27"/>
                </a:cubicBezTo>
                <a:cubicBezTo>
                  <a:pt x="57" y="28"/>
                  <a:pt x="57" y="28"/>
                  <a:pt x="57" y="28"/>
                </a:cubicBezTo>
                <a:cubicBezTo>
                  <a:pt x="56" y="28"/>
                  <a:pt x="56" y="28"/>
                  <a:pt x="56" y="28"/>
                </a:cubicBezTo>
                <a:cubicBezTo>
                  <a:pt x="55" y="28"/>
                  <a:pt x="55" y="28"/>
                  <a:pt x="55" y="28"/>
                </a:cubicBezTo>
                <a:cubicBezTo>
                  <a:pt x="53" y="29"/>
                  <a:pt x="53" y="29"/>
                  <a:pt x="53" y="29"/>
                </a:cubicBezTo>
                <a:cubicBezTo>
                  <a:pt x="52" y="29"/>
                  <a:pt x="52" y="29"/>
                  <a:pt x="52" y="29"/>
                </a:cubicBezTo>
                <a:cubicBezTo>
                  <a:pt x="51" y="28"/>
                  <a:pt x="51" y="28"/>
                  <a:pt x="51" y="28"/>
                </a:cubicBezTo>
                <a:cubicBezTo>
                  <a:pt x="50" y="28"/>
                  <a:pt x="50" y="28"/>
                  <a:pt x="50" y="28"/>
                </a:cubicBezTo>
                <a:cubicBezTo>
                  <a:pt x="49" y="28"/>
                  <a:pt x="49" y="28"/>
                  <a:pt x="49" y="28"/>
                </a:cubicBezTo>
                <a:cubicBezTo>
                  <a:pt x="47" y="28"/>
                  <a:pt x="47" y="28"/>
                  <a:pt x="47" y="28"/>
                </a:cubicBezTo>
                <a:close/>
                <a:moveTo>
                  <a:pt x="43" y="29"/>
                </a:moveTo>
                <a:cubicBezTo>
                  <a:pt x="44" y="28"/>
                  <a:pt x="44" y="28"/>
                  <a:pt x="44" y="28"/>
                </a:cubicBezTo>
                <a:cubicBezTo>
                  <a:pt x="45" y="29"/>
                  <a:pt x="45" y="29"/>
                  <a:pt x="45" y="29"/>
                </a:cubicBezTo>
                <a:cubicBezTo>
                  <a:pt x="45" y="30"/>
                  <a:pt x="45" y="30"/>
                  <a:pt x="45" y="30"/>
                </a:cubicBezTo>
                <a:cubicBezTo>
                  <a:pt x="45" y="31"/>
                  <a:pt x="45" y="31"/>
                  <a:pt x="45" y="31"/>
                </a:cubicBezTo>
                <a:cubicBezTo>
                  <a:pt x="44" y="30"/>
                  <a:pt x="44" y="30"/>
                  <a:pt x="44" y="30"/>
                </a:cubicBezTo>
                <a:cubicBezTo>
                  <a:pt x="43" y="29"/>
                  <a:pt x="43" y="29"/>
                  <a:pt x="43" y="29"/>
                </a:cubicBezTo>
                <a:close/>
                <a:moveTo>
                  <a:pt x="39" y="27"/>
                </a:moveTo>
                <a:cubicBezTo>
                  <a:pt x="39" y="28"/>
                  <a:pt x="39" y="28"/>
                  <a:pt x="39" y="28"/>
                </a:cubicBezTo>
                <a:cubicBezTo>
                  <a:pt x="39" y="28"/>
                  <a:pt x="39" y="28"/>
                  <a:pt x="39" y="28"/>
                </a:cubicBezTo>
                <a:cubicBezTo>
                  <a:pt x="40" y="28"/>
                  <a:pt x="40" y="28"/>
                  <a:pt x="40" y="28"/>
                </a:cubicBezTo>
                <a:cubicBezTo>
                  <a:pt x="40" y="27"/>
                  <a:pt x="40" y="27"/>
                  <a:pt x="40" y="27"/>
                </a:cubicBezTo>
                <a:cubicBezTo>
                  <a:pt x="39" y="27"/>
                  <a:pt x="39" y="27"/>
                  <a:pt x="39" y="27"/>
                </a:cubicBezTo>
                <a:close/>
                <a:moveTo>
                  <a:pt x="33" y="22"/>
                </a:moveTo>
                <a:cubicBezTo>
                  <a:pt x="32" y="23"/>
                  <a:pt x="32" y="23"/>
                  <a:pt x="32" y="23"/>
                </a:cubicBezTo>
                <a:cubicBezTo>
                  <a:pt x="32" y="24"/>
                  <a:pt x="32" y="24"/>
                  <a:pt x="32" y="24"/>
                </a:cubicBezTo>
                <a:cubicBezTo>
                  <a:pt x="33" y="23"/>
                  <a:pt x="33" y="23"/>
                  <a:pt x="33" y="23"/>
                </a:cubicBezTo>
                <a:cubicBezTo>
                  <a:pt x="33" y="22"/>
                  <a:pt x="33" y="22"/>
                  <a:pt x="33" y="22"/>
                </a:cubicBezTo>
                <a:close/>
                <a:moveTo>
                  <a:pt x="73" y="51"/>
                </a:moveTo>
                <a:cubicBezTo>
                  <a:pt x="73" y="52"/>
                  <a:pt x="73" y="52"/>
                  <a:pt x="73" y="52"/>
                </a:cubicBezTo>
                <a:cubicBezTo>
                  <a:pt x="73" y="53"/>
                  <a:pt x="73" y="53"/>
                  <a:pt x="73" y="53"/>
                </a:cubicBezTo>
                <a:cubicBezTo>
                  <a:pt x="74" y="53"/>
                  <a:pt x="74" y="53"/>
                  <a:pt x="74" y="53"/>
                </a:cubicBezTo>
                <a:cubicBezTo>
                  <a:pt x="75" y="54"/>
                  <a:pt x="75" y="54"/>
                  <a:pt x="75" y="54"/>
                </a:cubicBezTo>
                <a:cubicBezTo>
                  <a:pt x="75" y="53"/>
                  <a:pt x="75" y="53"/>
                  <a:pt x="75" y="53"/>
                </a:cubicBezTo>
                <a:cubicBezTo>
                  <a:pt x="73" y="51"/>
                  <a:pt x="73" y="51"/>
                  <a:pt x="73" y="51"/>
                </a:cubicBezTo>
                <a:close/>
                <a:moveTo>
                  <a:pt x="64" y="47"/>
                </a:moveTo>
                <a:cubicBezTo>
                  <a:pt x="63" y="48"/>
                  <a:pt x="63" y="48"/>
                  <a:pt x="63" y="48"/>
                </a:cubicBezTo>
                <a:cubicBezTo>
                  <a:pt x="64" y="49"/>
                  <a:pt x="64" y="49"/>
                  <a:pt x="64" y="49"/>
                </a:cubicBezTo>
                <a:cubicBezTo>
                  <a:pt x="64" y="49"/>
                  <a:pt x="64" y="49"/>
                  <a:pt x="64" y="49"/>
                </a:cubicBezTo>
                <a:cubicBezTo>
                  <a:pt x="64" y="50"/>
                  <a:pt x="64" y="50"/>
                  <a:pt x="64" y="50"/>
                </a:cubicBezTo>
                <a:cubicBezTo>
                  <a:pt x="64" y="50"/>
                  <a:pt x="64" y="50"/>
                  <a:pt x="64" y="50"/>
                </a:cubicBezTo>
                <a:cubicBezTo>
                  <a:pt x="64" y="50"/>
                  <a:pt x="64" y="50"/>
                  <a:pt x="64" y="50"/>
                </a:cubicBezTo>
                <a:cubicBezTo>
                  <a:pt x="65" y="49"/>
                  <a:pt x="65" y="49"/>
                  <a:pt x="65" y="49"/>
                </a:cubicBezTo>
                <a:cubicBezTo>
                  <a:pt x="64" y="47"/>
                  <a:pt x="64" y="47"/>
                  <a:pt x="64" y="47"/>
                </a:cubicBezTo>
                <a:cubicBezTo>
                  <a:pt x="64" y="47"/>
                  <a:pt x="64" y="47"/>
                  <a:pt x="64" y="47"/>
                </a:cubicBezTo>
                <a:close/>
                <a:moveTo>
                  <a:pt x="61" y="57"/>
                </a:moveTo>
                <a:cubicBezTo>
                  <a:pt x="62" y="57"/>
                  <a:pt x="62" y="57"/>
                  <a:pt x="62" y="57"/>
                </a:cubicBezTo>
                <a:cubicBezTo>
                  <a:pt x="62" y="57"/>
                  <a:pt x="62" y="57"/>
                  <a:pt x="62" y="57"/>
                </a:cubicBezTo>
                <a:cubicBezTo>
                  <a:pt x="63" y="58"/>
                  <a:pt x="63" y="58"/>
                  <a:pt x="63" y="58"/>
                </a:cubicBezTo>
                <a:cubicBezTo>
                  <a:pt x="63" y="58"/>
                  <a:pt x="63" y="58"/>
                  <a:pt x="63" y="58"/>
                </a:cubicBezTo>
                <a:cubicBezTo>
                  <a:pt x="63" y="58"/>
                  <a:pt x="63" y="58"/>
                  <a:pt x="63" y="58"/>
                </a:cubicBezTo>
                <a:cubicBezTo>
                  <a:pt x="64" y="58"/>
                  <a:pt x="64" y="58"/>
                  <a:pt x="64" y="58"/>
                </a:cubicBezTo>
                <a:cubicBezTo>
                  <a:pt x="65" y="58"/>
                  <a:pt x="65" y="58"/>
                  <a:pt x="65" y="58"/>
                </a:cubicBezTo>
                <a:cubicBezTo>
                  <a:pt x="65" y="58"/>
                  <a:pt x="65" y="58"/>
                  <a:pt x="65" y="58"/>
                </a:cubicBezTo>
                <a:cubicBezTo>
                  <a:pt x="64" y="59"/>
                  <a:pt x="64" y="59"/>
                  <a:pt x="64" y="59"/>
                </a:cubicBezTo>
                <a:cubicBezTo>
                  <a:pt x="64" y="59"/>
                  <a:pt x="64" y="59"/>
                  <a:pt x="64" y="59"/>
                </a:cubicBezTo>
                <a:cubicBezTo>
                  <a:pt x="63" y="59"/>
                  <a:pt x="63" y="59"/>
                  <a:pt x="63" y="59"/>
                </a:cubicBezTo>
                <a:cubicBezTo>
                  <a:pt x="62" y="59"/>
                  <a:pt x="62" y="59"/>
                  <a:pt x="62" y="59"/>
                </a:cubicBezTo>
                <a:cubicBezTo>
                  <a:pt x="62" y="58"/>
                  <a:pt x="62" y="58"/>
                  <a:pt x="62" y="58"/>
                </a:cubicBezTo>
                <a:cubicBezTo>
                  <a:pt x="62" y="58"/>
                  <a:pt x="62" y="58"/>
                  <a:pt x="62" y="58"/>
                </a:cubicBezTo>
                <a:cubicBezTo>
                  <a:pt x="62" y="57"/>
                  <a:pt x="62" y="57"/>
                  <a:pt x="62" y="57"/>
                </a:cubicBezTo>
                <a:cubicBezTo>
                  <a:pt x="61" y="57"/>
                  <a:pt x="61" y="57"/>
                  <a:pt x="61" y="57"/>
                </a:cubicBezTo>
                <a:cubicBezTo>
                  <a:pt x="61" y="57"/>
                  <a:pt x="61" y="57"/>
                  <a:pt x="61" y="57"/>
                </a:cubicBezTo>
                <a:close/>
                <a:moveTo>
                  <a:pt x="60" y="55"/>
                </a:moveTo>
                <a:cubicBezTo>
                  <a:pt x="60" y="56"/>
                  <a:pt x="60" y="56"/>
                  <a:pt x="60" y="56"/>
                </a:cubicBezTo>
                <a:cubicBezTo>
                  <a:pt x="61" y="56"/>
                  <a:pt x="61" y="56"/>
                  <a:pt x="61" y="56"/>
                </a:cubicBezTo>
                <a:cubicBezTo>
                  <a:pt x="62" y="56"/>
                  <a:pt x="62" y="56"/>
                  <a:pt x="62" y="56"/>
                </a:cubicBezTo>
                <a:cubicBezTo>
                  <a:pt x="62" y="56"/>
                  <a:pt x="62" y="56"/>
                  <a:pt x="62" y="56"/>
                </a:cubicBezTo>
                <a:cubicBezTo>
                  <a:pt x="62" y="56"/>
                  <a:pt x="62" y="56"/>
                  <a:pt x="62" y="56"/>
                </a:cubicBezTo>
                <a:cubicBezTo>
                  <a:pt x="62" y="55"/>
                  <a:pt x="62" y="55"/>
                  <a:pt x="62" y="55"/>
                </a:cubicBezTo>
                <a:cubicBezTo>
                  <a:pt x="62" y="55"/>
                  <a:pt x="62" y="55"/>
                  <a:pt x="62" y="55"/>
                </a:cubicBezTo>
                <a:cubicBezTo>
                  <a:pt x="62" y="55"/>
                  <a:pt x="62" y="55"/>
                  <a:pt x="62" y="55"/>
                </a:cubicBezTo>
                <a:cubicBezTo>
                  <a:pt x="61" y="55"/>
                  <a:pt x="61" y="55"/>
                  <a:pt x="61" y="55"/>
                </a:cubicBezTo>
                <a:cubicBezTo>
                  <a:pt x="61" y="55"/>
                  <a:pt x="61" y="55"/>
                  <a:pt x="61" y="55"/>
                </a:cubicBezTo>
                <a:cubicBezTo>
                  <a:pt x="60" y="54"/>
                  <a:pt x="60" y="54"/>
                  <a:pt x="60" y="54"/>
                </a:cubicBezTo>
                <a:cubicBezTo>
                  <a:pt x="60" y="55"/>
                  <a:pt x="60" y="55"/>
                  <a:pt x="60" y="55"/>
                </a:cubicBezTo>
                <a:close/>
                <a:moveTo>
                  <a:pt x="57" y="54"/>
                </a:moveTo>
                <a:cubicBezTo>
                  <a:pt x="58" y="55"/>
                  <a:pt x="58" y="55"/>
                  <a:pt x="58" y="55"/>
                </a:cubicBezTo>
                <a:cubicBezTo>
                  <a:pt x="58" y="55"/>
                  <a:pt x="58" y="55"/>
                  <a:pt x="58" y="55"/>
                </a:cubicBezTo>
                <a:cubicBezTo>
                  <a:pt x="59" y="55"/>
                  <a:pt x="59" y="55"/>
                  <a:pt x="59" y="55"/>
                </a:cubicBezTo>
                <a:cubicBezTo>
                  <a:pt x="59" y="55"/>
                  <a:pt x="59" y="55"/>
                  <a:pt x="59" y="55"/>
                </a:cubicBezTo>
                <a:cubicBezTo>
                  <a:pt x="59" y="55"/>
                  <a:pt x="59" y="55"/>
                  <a:pt x="59" y="55"/>
                </a:cubicBezTo>
                <a:cubicBezTo>
                  <a:pt x="59" y="53"/>
                  <a:pt x="59" y="53"/>
                  <a:pt x="59" y="53"/>
                </a:cubicBezTo>
                <a:cubicBezTo>
                  <a:pt x="58" y="53"/>
                  <a:pt x="58" y="53"/>
                  <a:pt x="58" y="53"/>
                </a:cubicBezTo>
                <a:cubicBezTo>
                  <a:pt x="57" y="54"/>
                  <a:pt x="57" y="54"/>
                  <a:pt x="57" y="54"/>
                </a:cubicBezTo>
                <a:close/>
                <a:moveTo>
                  <a:pt x="26" y="43"/>
                </a:moveTo>
                <a:cubicBezTo>
                  <a:pt x="25" y="43"/>
                  <a:pt x="25" y="43"/>
                  <a:pt x="25" y="43"/>
                </a:cubicBezTo>
                <a:cubicBezTo>
                  <a:pt x="26" y="44"/>
                  <a:pt x="26" y="44"/>
                  <a:pt x="26" y="44"/>
                </a:cubicBezTo>
                <a:cubicBezTo>
                  <a:pt x="26" y="44"/>
                  <a:pt x="26" y="43"/>
                  <a:pt x="26" y="43"/>
                </a:cubicBezTo>
                <a:close/>
                <a:moveTo>
                  <a:pt x="23" y="43"/>
                </a:moveTo>
                <a:cubicBezTo>
                  <a:pt x="23" y="43"/>
                  <a:pt x="23" y="43"/>
                  <a:pt x="23" y="43"/>
                </a:cubicBezTo>
                <a:cubicBezTo>
                  <a:pt x="24" y="43"/>
                  <a:pt x="24" y="43"/>
                  <a:pt x="24" y="43"/>
                </a:cubicBezTo>
                <a:cubicBezTo>
                  <a:pt x="23" y="43"/>
                  <a:pt x="23" y="43"/>
                  <a:pt x="23" y="43"/>
                </a:cubicBezTo>
                <a:close/>
                <a:moveTo>
                  <a:pt x="21" y="43"/>
                </a:moveTo>
                <a:cubicBezTo>
                  <a:pt x="21" y="44"/>
                  <a:pt x="21" y="44"/>
                  <a:pt x="21" y="44"/>
                </a:cubicBezTo>
                <a:cubicBezTo>
                  <a:pt x="22" y="44"/>
                  <a:pt x="22" y="44"/>
                  <a:pt x="22" y="44"/>
                </a:cubicBezTo>
                <a:cubicBezTo>
                  <a:pt x="22" y="43"/>
                  <a:pt x="22" y="43"/>
                  <a:pt x="22" y="43"/>
                </a:cubicBezTo>
                <a:cubicBezTo>
                  <a:pt x="21" y="43"/>
                  <a:pt x="21" y="43"/>
                  <a:pt x="21" y="43"/>
                </a:cubicBezTo>
                <a:close/>
                <a:moveTo>
                  <a:pt x="23" y="43"/>
                </a:moveTo>
                <a:cubicBezTo>
                  <a:pt x="22" y="43"/>
                  <a:pt x="22" y="43"/>
                  <a:pt x="22" y="43"/>
                </a:cubicBezTo>
                <a:cubicBezTo>
                  <a:pt x="22" y="42"/>
                  <a:pt x="22" y="42"/>
                  <a:pt x="22" y="42"/>
                </a:cubicBezTo>
                <a:cubicBezTo>
                  <a:pt x="23" y="42"/>
                  <a:pt x="23" y="42"/>
                  <a:pt x="23" y="42"/>
                </a:cubicBezTo>
                <a:cubicBezTo>
                  <a:pt x="23" y="43"/>
                  <a:pt x="23" y="43"/>
                  <a:pt x="23" y="43"/>
                </a:cubicBezTo>
                <a:cubicBezTo>
                  <a:pt x="23" y="43"/>
                  <a:pt x="23" y="43"/>
                  <a:pt x="23" y="43"/>
                </a:cubicBezTo>
                <a:close/>
                <a:moveTo>
                  <a:pt x="18" y="43"/>
                </a:moveTo>
                <a:cubicBezTo>
                  <a:pt x="19" y="44"/>
                  <a:pt x="19" y="44"/>
                  <a:pt x="19" y="44"/>
                </a:cubicBezTo>
                <a:cubicBezTo>
                  <a:pt x="19" y="44"/>
                  <a:pt x="19" y="44"/>
                  <a:pt x="19" y="44"/>
                </a:cubicBezTo>
                <a:cubicBezTo>
                  <a:pt x="19" y="44"/>
                  <a:pt x="19" y="44"/>
                  <a:pt x="19" y="44"/>
                </a:cubicBezTo>
                <a:cubicBezTo>
                  <a:pt x="18" y="43"/>
                  <a:pt x="18" y="43"/>
                  <a:pt x="18" y="43"/>
                </a:cubicBezTo>
                <a:close/>
                <a:moveTo>
                  <a:pt x="16" y="48"/>
                </a:moveTo>
                <a:cubicBezTo>
                  <a:pt x="17" y="48"/>
                  <a:pt x="17" y="48"/>
                  <a:pt x="17" y="48"/>
                </a:cubicBezTo>
                <a:cubicBezTo>
                  <a:pt x="18" y="48"/>
                  <a:pt x="18" y="48"/>
                  <a:pt x="18" y="48"/>
                </a:cubicBezTo>
                <a:cubicBezTo>
                  <a:pt x="18" y="48"/>
                  <a:pt x="18" y="48"/>
                  <a:pt x="18" y="48"/>
                </a:cubicBezTo>
                <a:cubicBezTo>
                  <a:pt x="18" y="48"/>
                  <a:pt x="16" y="48"/>
                  <a:pt x="16" y="48"/>
                </a:cubicBezTo>
                <a:close/>
                <a:moveTo>
                  <a:pt x="16" y="49"/>
                </a:moveTo>
                <a:cubicBezTo>
                  <a:pt x="17" y="49"/>
                  <a:pt x="17" y="49"/>
                  <a:pt x="17" y="49"/>
                </a:cubicBezTo>
                <a:cubicBezTo>
                  <a:pt x="17" y="49"/>
                  <a:pt x="17" y="49"/>
                  <a:pt x="17" y="49"/>
                </a:cubicBezTo>
                <a:cubicBezTo>
                  <a:pt x="16" y="49"/>
                  <a:pt x="16" y="49"/>
                  <a:pt x="16" y="49"/>
                </a:cubicBezTo>
                <a:close/>
                <a:moveTo>
                  <a:pt x="15" y="48"/>
                </a:moveTo>
                <a:cubicBezTo>
                  <a:pt x="15" y="49"/>
                  <a:pt x="15" y="49"/>
                  <a:pt x="15" y="49"/>
                </a:cubicBezTo>
                <a:cubicBezTo>
                  <a:pt x="16" y="48"/>
                  <a:pt x="16" y="48"/>
                  <a:pt x="16" y="48"/>
                </a:cubicBezTo>
                <a:cubicBezTo>
                  <a:pt x="15" y="48"/>
                  <a:pt x="15" y="48"/>
                  <a:pt x="15" y="48"/>
                </a:cubicBezTo>
                <a:close/>
                <a:moveTo>
                  <a:pt x="14" y="49"/>
                </a:moveTo>
                <a:cubicBezTo>
                  <a:pt x="14" y="49"/>
                  <a:pt x="16" y="50"/>
                  <a:pt x="16" y="50"/>
                </a:cubicBezTo>
                <a:cubicBezTo>
                  <a:pt x="17" y="51"/>
                  <a:pt x="17" y="51"/>
                  <a:pt x="17" y="51"/>
                </a:cubicBezTo>
                <a:cubicBezTo>
                  <a:pt x="14" y="49"/>
                  <a:pt x="14" y="49"/>
                  <a:pt x="14" y="49"/>
                </a:cubicBezTo>
                <a:close/>
                <a:moveTo>
                  <a:pt x="16" y="46"/>
                </a:moveTo>
                <a:cubicBezTo>
                  <a:pt x="17" y="46"/>
                  <a:pt x="17" y="46"/>
                  <a:pt x="17" y="46"/>
                </a:cubicBezTo>
                <a:cubicBezTo>
                  <a:pt x="17" y="46"/>
                  <a:pt x="17" y="46"/>
                  <a:pt x="17" y="46"/>
                </a:cubicBezTo>
                <a:cubicBezTo>
                  <a:pt x="16" y="46"/>
                  <a:pt x="16" y="46"/>
                  <a:pt x="16" y="46"/>
                </a:cubicBezTo>
                <a:cubicBezTo>
                  <a:pt x="16" y="46"/>
                  <a:pt x="16" y="46"/>
                  <a:pt x="16" y="46"/>
                </a:cubicBezTo>
                <a:close/>
                <a:moveTo>
                  <a:pt x="18" y="46"/>
                </a:moveTo>
                <a:cubicBezTo>
                  <a:pt x="17" y="45"/>
                  <a:pt x="17" y="45"/>
                  <a:pt x="17" y="45"/>
                </a:cubicBezTo>
                <a:cubicBezTo>
                  <a:pt x="17" y="44"/>
                  <a:pt x="17" y="44"/>
                  <a:pt x="17" y="44"/>
                </a:cubicBezTo>
                <a:cubicBezTo>
                  <a:pt x="18" y="44"/>
                  <a:pt x="18" y="44"/>
                  <a:pt x="18" y="44"/>
                </a:cubicBezTo>
                <a:cubicBezTo>
                  <a:pt x="18" y="45"/>
                  <a:pt x="18" y="45"/>
                  <a:pt x="18" y="45"/>
                </a:cubicBezTo>
                <a:cubicBezTo>
                  <a:pt x="18" y="46"/>
                  <a:pt x="18" y="46"/>
                  <a:pt x="18" y="46"/>
                </a:cubicBezTo>
                <a:cubicBezTo>
                  <a:pt x="18" y="46"/>
                  <a:pt x="18" y="46"/>
                  <a:pt x="18" y="46"/>
                </a:cubicBezTo>
                <a:close/>
                <a:moveTo>
                  <a:pt x="1" y="10"/>
                </a:moveTo>
                <a:cubicBezTo>
                  <a:pt x="0" y="34"/>
                  <a:pt x="0" y="34"/>
                  <a:pt x="0" y="34"/>
                </a:cubicBezTo>
                <a:cubicBezTo>
                  <a:pt x="0" y="36"/>
                  <a:pt x="0" y="36"/>
                  <a:pt x="0" y="36"/>
                </a:cubicBezTo>
                <a:cubicBezTo>
                  <a:pt x="0" y="37"/>
                  <a:pt x="0" y="37"/>
                  <a:pt x="0" y="37"/>
                </a:cubicBezTo>
                <a:cubicBezTo>
                  <a:pt x="0" y="37"/>
                  <a:pt x="0" y="37"/>
                  <a:pt x="0" y="37"/>
                </a:cubicBezTo>
                <a:cubicBezTo>
                  <a:pt x="0" y="52"/>
                  <a:pt x="0" y="52"/>
                  <a:pt x="0" y="52"/>
                </a:cubicBezTo>
                <a:cubicBezTo>
                  <a:pt x="2" y="52"/>
                  <a:pt x="2" y="52"/>
                  <a:pt x="2" y="52"/>
                </a:cubicBezTo>
                <a:cubicBezTo>
                  <a:pt x="3" y="53"/>
                  <a:pt x="3" y="53"/>
                  <a:pt x="3" y="53"/>
                </a:cubicBezTo>
                <a:cubicBezTo>
                  <a:pt x="4" y="52"/>
                  <a:pt x="4" y="52"/>
                  <a:pt x="4" y="52"/>
                </a:cubicBezTo>
                <a:cubicBezTo>
                  <a:pt x="7" y="53"/>
                  <a:pt x="7" y="53"/>
                  <a:pt x="7" y="53"/>
                </a:cubicBezTo>
                <a:cubicBezTo>
                  <a:pt x="8" y="52"/>
                  <a:pt x="8" y="52"/>
                  <a:pt x="8" y="52"/>
                </a:cubicBezTo>
                <a:cubicBezTo>
                  <a:pt x="8" y="53"/>
                  <a:pt x="8" y="53"/>
                  <a:pt x="8" y="53"/>
                </a:cubicBezTo>
                <a:cubicBezTo>
                  <a:pt x="9" y="54"/>
                  <a:pt x="9" y="54"/>
                  <a:pt x="9" y="54"/>
                </a:cubicBezTo>
                <a:cubicBezTo>
                  <a:pt x="10" y="54"/>
                  <a:pt x="10" y="54"/>
                  <a:pt x="10" y="54"/>
                </a:cubicBezTo>
                <a:cubicBezTo>
                  <a:pt x="11" y="53"/>
                  <a:pt x="11" y="53"/>
                  <a:pt x="11" y="53"/>
                </a:cubicBezTo>
                <a:cubicBezTo>
                  <a:pt x="13" y="53"/>
                  <a:pt x="13" y="53"/>
                  <a:pt x="13" y="53"/>
                </a:cubicBezTo>
                <a:cubicBezTo>
                  <a:pt x="14" y="52"/>
                  <a:pt x="14" y="52"/>
                  <a:pt x="14" y="52"/>
                </a:cubicBezTo>
                <a:cubicBezTo>
                  <a:pt x="14" y="53"/>
                  <a:pt x="14" y="53"/>
                  <a:pt x="14" y="53"/>
                </a:cubicBezTo>
                <a:cubicBezTo>
                  <a:pt x="15" y="52"/>
                  <a:pt x="15" y="52"/>
                  <a:pt x="15" y="52"/>
                </a:cubicBezTo>
                <a:cubicBezTo>
                  <a:pt x="15" y="50"/>
                  <a:pt x="15" y="50"/>
                  <a:pt x="15" y="50"/>
                </a:cubicBezTo>
                <a:cubicBezTo>
                  <a:pt x="13" y="49"/>
                  <a:pt x="13" y="49"/>
                  <a:pt x="13" y="49"/>
                </a:cubicBezTo>
                <a:cubicBezTo>
                  <a:pt x="11" y="48"/>
                  <a:pt x="11" y="48"/>
                  <a:pt x="11" y="48"/>
                </a:cubicBezTo>
                <a:cubicBezTo>
                  <a:pt x="10" y="48"/>
                  <a:pt x="10" y="48"/>
                  <a:pt x="10" y="48"/>
                </a:cubicBezTo>
                <a:cubicBezTo>
                  <a:pt x="9" y="47"/>
                  <a:pt x="9" y="47"/>
                  <a:pt x="9" y="47"/>
                </a:cubicBezTo>
                <a:cubicBezTo>
                  <a:pt x="8" y="47"/>
                  <a:pt x="8" y="47"/>
                  <a:pt x="8" y="47"/>
                </a:cubicBezTo>
                <a:cubicBezTo>
                  <a:pt x="8" y="47"/>
                  <a:pt x="8" y="47"/>
                  <a:pt x="8" y="47"/>
                </a:cubicBezTo>
                <a:cubicBezTo>
                  <a:pt x="7" y="47"/>
                  <a:pt x="7" y="47"/>
                  <a:pt x="7" y="47"/>
                </a:cubicBezTo>
                <a:cubicBezTo>
                  <a:pt x="7" y="45"/>
                  <a:pt x="7" y="45"/>
                  <a:pt x="7" y="45"/>
                </a:cubicBezTo>
                <a:cubicBezTo>
                  <a:pt x="6" y="44"/>
                  <a:pt x="6" y="44"/>
                  <a:pt x="6" y="44"/>
                </a:cubicBezTo>
                <a:cubicBezTo>
                  <a:pt x="5" y="43"/>
                  <a:pt x="5" y="43"/>
                  <a:pt x="5" y="43"/>
                </a:cubicBezTo>
                <a:cubicBezTo>
                  <a:pt x="4" y="42"/>
                  <a:pt x="4" y="42"/>
                  <a:pt x="4" y="42"/>
                </a:cubicBezTo>
                <a:cubicBezTo>
                  <a:pt x="4" y="42"/>
                  <a:pt x="4" y="42"/>
                  <a:pt x="4" y="42"/>
                </a:cubicBezTo>
                <a:cubicBezTo>
                  <a:pt x="4" y="42"/>
                  <a:pt x="4" y="42"/>
                  <a:pt x="4" y="42"/>
                </a:cubicBezTo>
                <a:cubicBezTo>
                  <a:pt x="5" y="43"/>
                  <a:pt x="5" y="43"/>
                  <a:pt x="5" y="43"/>
                </a:cubicBezTo>
                <a:cubicBezTo>
                  <a:pt x="5" y="43"/>
                  <a:pt x="5" y="43"/>
                  <a:pt x="5" y="43"/>
                </a:cubicBezTo>
                <a:cubicBezTo>
                  <a:pt x="7" y="44"/>
                  <a:pt x="7" y="44"/>
                  <a:pt x="7" y="44"/>
                </a:cubicBezTo>
                <a:cubicBezTo>
                  <a:pt x="7" y="45"/>
                  <a:pt x="7" y="45"/>
                  <a:pt x="7" y="45"/>
                </a:cubicBezTo>
                <a:cubicBezTo>
                  <a:pt x="7" y="46"/>
                  <a:pt x="7" y="46"/>
                  <a:pt x="7" y="46"/>
                </a:cubicBezTo>
                <a:cubicBezTo>
                  <a:pt x="8" y="46"/>
                  <a:pt x="8" y="46"/>
                  <a:pt x="8" y="46"/>
                </a:cubicBezTo>
                <a:cubicBezTo>
                  <a:pt x="9" y="47"/>
                  <a:pt x="9" y="47"/>
                  <a:pt x="9" y="47"/>
                </a:cubicBezTo>
                <a:cubicBezTo>
                  <a:pt x="10" y="48"/>
                  <a:pt x="10" y="48"/>
                  <a:pt x="10" y="48"/>
                </a:cubicBezTo>
                <a:cubicBezTo>
                  <a:pt x="11" y="48"/>
                  <a:pt x="11" y="48"/>
                  <a:pt x="11" y="48"/>
                </a:cubicBezTo>
                <a:cubicBezTo>
                  <a:pt x="12" y="48"/>
                  <a:pt x="12" y="48"/>
                  <a:pt x="12" y="48"/>
                </a:cubicBezTo>
                <a:cubicBezTo>
                  <a:pt x="14" y="47"/>
                  <a:pt x="14" y="47"/>
                  <a:pt x="14" y="47"/>
                </a:cubicBezTo>
                <a:cubicBezTo>
                  <a:pt x="15" y="47"/>
                  <a:pt x="15" y="47"/>
                  <a:pt x="15" y="47"/>
                </a:cubicBezTo>
                <a:cubicBezTo>
                  <a:pt x="16" y="47"/>
                  <a:pt x="16" y="47"/>
                  <a:pt x="16" y="47"/>
                </a:cubicBezTo>
                <a:cubicBezTo>
                  <a:pt x="16" y="46"/>
                  <a:pt x="16" y="46"/>
                  <a:pt x="16" y="46"/>
                </a:cubicBezTo>
                <a:cubicBezTo>
                  <a:pt x="15" y="46"/>
                  <a:pt x="15" y="46"/>
                  <a:pt x="15" y="46"/>
                </a:cubicBezTo>
                <a:cubicBezTo>
                  <a:pt x="15" y="45"/>
                  <a:pt x="15" y="45"/>
                  <a:pt x="15" y="45"/>
                </a:cubicBezTo>
                <a:cubicBezTo>
                  <a:pt x="14" y="45"/>
                  <a:pt x="14" y="45"/>
                  <a:pt x="14" y="45"/>
                </a:cubicBezTo>
                <a:cubicBezTo>
                  <a:pt x="13" y="44"/>
                  <a:pt x="13" y="44"/>
                  <a:pt x="13" y="44"/>
                </a:cubicBezTo>
                <a:cubicBezTo>
                  <a:pt x="14" y="45"/>
                  <a:pt x="14" y="45"/>
                  <a:pt x="14" y="45"/>
                </a:cubicBezTo>
                <a:cubicBezTo>
                  <a:pt x="15" y="44"/>
                  <a:pt x="15" y="44"/>
                  <a:pt x="15" y="44"/>
                </a:cubicBezTo>
                <a:cubicBezTo>
                  <a:pt x="16" y="46"/>
                  <a:pt x="16" y="46"/>
                  <a:pt x="16" y="46"/>
                </a:cubicBezTo>
                <a:cubicBezTo>
                  <a:pt x="17" y="46"/>
                  <a:pt x="17" y="46"/>
                  <a:pt x="17" y="46"/>
                </a:cubicBezTo>
                <a:cubicBezTo>
                  <a:pt x="17" y="45"/>
                  <a:pt x="17" y="45"/>
                  <a:pt x="17" y="45"/>
                </a:cubicBezTo>
                <a:cubicBezTo>
                  <a:pt x="17" y="44"/>
                  <a:pt x="17" y="44"/>
                  <a:pt x="17" y="44"/>
                </a:cubicBezTo>
                <a:cubicBezTo>
                  <a:pt x="17" y="44"/>
                  <a:pt x="17" y="44"/>
                  <a:pt x="17" y="44"/>
                </a:cubicBezTo>
                <a:cubicBezTo>
                  <a:pt x="18" y="43"/>
                  <a:pt x="18" y="43"/>
                  <a:pt x="18" y="43"/>
                </a:cubicBezTo>
                <a:cubicBezTo>
                  <a:pt x="17" y="42"/>
                  <a:pt x="17" y="42"/>
                  <a:pt x="17" y="42"/>
                </a:cubicBezTo>
                <a:cubicBezTo>
                  <a:pt x="17" y="41"/>
                  <a:pt x="17" y="41"/>
                  <a:pt x="17" y="41"/>
                </a:cubicBezTo>
                <a:cubicBezTo>
                  <a:pt x="17" y="41"/>
                  <a:pt x="17" y="41"/>
                  <a:pt x="17" y="41"/>
                </a:cubicBezTo>
                <a:cubicBezTo>
                  <a:pt x="18" y="41"/>
                  <a:pt x="18" y="41"/>
                  <a:pt x="18" y="41"/>
                </a:cubicBezTo>
                <a:cubicBezTo>
                  <a:pt x="18" y="42"/>
                  <a:pt x="18" y="42"/>
                  <a:pt x="18" y="42"/>
                </a:cubicBezTo>
                <a:cubicBezTo>
                  <a:pt x="19" y="43"/>
                  <a:pt x="19" y="43"/>
                  <a:pt x="19" y="43"/>
                </a:cubicBezTo>
                <a:cubicBezTo>
                  <a:pt x="20" y="43"/>
                  <a:pt x="20" y="43"/>
                  <a:pt x="20" y="43"/>
                </a:cubicBezTo>
                <a:cubicBezTo>
                  <a:pt x="20" y="43"/>
                  <a:pt x="20" y="43"/>
                  <a:pt x="20" y="43"/>
                </a:cubicBezTo>
                <a:cubicBezTo>
                  <a:pt x="20" y="42"/>
                  <a:pt x="20" y="42"/>
                  <a:pt x="20" y="42"/>
                </a:cubicBezTo>
                <a:cubicBezTo>
                  <a:pt x="20" y="42"/>
                  <a:pt x="20" y="42"/>
                  <a:pt x="20" y="42"/>
                </a:cubicBezTo>
                <a:cubicBezTo>
                  <a:pt x="21" y="43"/>
                  <a:pt x="21" y="43"/>
                  <a:pt x="21" y="43"/>
                </a:cubicBezTo>
                <a:cubicBezTo>
                  <a:pt x="21" y="43"/>
                  <a:pt x="21" y="43"/>
                  <a:pt x="21" y="43"/>
                </a:cubicBezTo>
                <a:cubicBezTo>
                  <a:pt x="21" y="42"/>
                  <a:pt x="21" y="42"/>
                  <a:pt x="21" y="42"/>
                </a:cubicBezTo>
                <a:cubicBezTo>
                  <a:pt x="21" y="42"/>
                  <a:pt x="21" y="42"/>
                  <a:pt x="21" y="42"/>
                </a:cubicBezTo>
                <a:cubicBezTo>
                  <a:pt x="21" y="40"/>
                  <a:pt x="21" y="40"/>
                  <a:pt x="21" y="40"/>
                </a:cubicBezTo>
                <a:cubicBezTo>
                  <a:pt x="22" y="41"/>
                  <a:pt x="22" y="41"/>
                  <a:pt x="22" y="41"/>
                </a:cubicBezTo>
                <a:cubicBezTo>
                  <a:pt x="23" y="42"/>
                  <a:pt x="23" y="42"/>
                  <a:pt x="23" y="42"/>
                </a:cubicBezTo>
                <a:cubicBezTo>
                  <a:pt x="24" y="42"/>
                  <a:pt x="24" y="42"/>
                  <a:pt x="24" y="42"/>
                </a:cubicBezTo>
                <a:cubicBezTo>
                  <a:pt x="24" y="43"/>
                  <a:pt x="24" y="43"/>
                  <a:pt x="24" y="43"/>
                </a:cubicBezTo>
                <a:cubicBezTo>
                  <a:pt x="25" y="43"/>
                  <a:pt x="25" y="43"/>
                  <a:pt x="25" y="43"/>
                </a:cubicBezTo>
                <a:cubicBezTo>
                  <a:pt x="26" y="43"/>
                  <a:pt x="26" y="43"/>
                  <a:pt x="26" y="43"/>
                </a:cubicBezTo>
                <a:cubicBezTo>
                  <a:pt x="26" y="42"/>
                  <a:pt x="26" y="42"/>
                  <a:pt x="26" y="42"/>
                </a:cubicBezTo>
                <a:cubicBezTo>
                  <a:pt x="26" y="43"/>
                  <a:pt x="26" y="43"/>
                  <a:pt x="26" y="43"/>
                </a:cubicBezTo>
                <a:cubicBezTo>
                  <a:pt x="26" y="44"/>
                  <a:pt x="26" y="44"/>
                  <a:pt x="26" y="44"/>
                </a:cubicBezTo>
                <a:cubicBezTo>
                  <a:pt x="27" y="44"/>
                  <a:pt x="27" y="44"/>
                  <a:pt x="27" y="44"/>
                </a:cubicBezTo>
                <a:cubicBezTo>
                  <a:pt x="28" y="45"/>
                  <a:pt x="28" y="45"/>
                  <a:pt x="28" y="45"/>
                </a:cubicBezTo>
                <a:cubicBezTo>
                  <a:pt x="31" y="46"/>
                  <a:pt x="31" y="46"/>
                  <a:pt x="31" y="46"/>
                </a:cubicBezTo>
                <a:cubicBezTo>
                  <a:pt x="32" y="46"/>
                  <a:pt x="32" y="46"/>
                  <a:pt x="32" y="46"/>
                </a:cubicBezTo>
                <a:cubicBezTo>
                  <a:pt x="33" y="47"/>
                  <a:pt x="33" y="47"/>
                  <a:pt x="33" y="47"/>
                </a:cubicBezTo>
                <a:cubicBezTo>
                  <a:pt x="34" y="49"/>
                  <a:pt x="34" y="49"/>
                  <a:pt x="34" y="49"/>
                </a:cubicBezTo>
                <a:cubicBezTo>
                  <a:pt x="35" y="51"/>
                  <a:pt x="35" y="51"/>
                  <a:pt x="35" y="51"/>
                </a:cubicBezTo>
                <a:cubicBezTo>
                  <a:pt x="35" y="52"/>
                  <a:pt x="35" y="52"/>
                  <a:pt x="35" y="52"/>
                </a:cubicBezTo>
                <a:cubicBezTo>
                  <a:pt x="37" y="52"/>
                  <a:pt x="37" y="52"/>
                  <a:pt x="37" y="52"/>
                </a:cubicBezTo>
                <a:cubicBezTo>
                  <a:pt x="37" y="53"/>
                  <a:pt x="37" y="53"/>
                  <a:pt x="37" y="53"/>
                </a:cubicBezTo>
                <a:cubicBezTo>
                  <a:pt x="38" y="54"/>
                  <a:pt x="38" y="54"/>
                  <a:pt x="38" y="54"/>
                </a:cubicBezTo>
                <a:cubicBezTo>
                  <a:pt x="40" y="57"/>
                  <a:pt x="40" y="57"/>
                  <a:pt x="40" y="57"/>
                </a:cubicBezTo>
                <a:cubicBezTo>
                  <a:pt x="41" y="58"/>
                  <a:pt x="41" y="58"/>
                  <a:pt x="41" y="58"/>
                </a:cubicBezTo>
                <a:cubicBezTo>
                  <a:pt x="42" y="59"/>
                  <a:pt x="42" y="59"/>
                  <a:pt x="42" y="59"/>
                </a:cubicBezTo>
                <a:cubicBezTo>
                  <a:pt x="43" y="59"/>
                  <a:pt x="43" y="59"/>
                  <a:pt x="43" y="59"/>
                </a:cubicBezTo>
                <a:cubicBezTo>
                  <a:pt x="44" y="59"/>
                  <a:pt x="44" y="59"/>
                  <a:pt x="44" y="59"/>
                </a:cubicBezTo>
                <a:cubicBezTo>
                  <a:pt x="45" y="59"/>
                  <a:pt x="45" y="59"/>
                  <a:pt x="45" y="59"/>
                </a:cubicBezTo>
                <a:cubicBezTo>
                  <a:pt x="46" y="60"/>
                  <a:pt x="46" y="60"/>
                  <a:pt x="46" y="60"/>
                </a:cubicBezTo>
                <a:cubicBezTo>
                  <a:pt x="48" y="59"/>
                  <a:pt x="48" y="59"/>
                  <a:pt x="48" y="59"/>
                </a:cubicBezTo>
                <a:cubicBezTo>
                  <a:pt x="49" y="60"/>
                  <a:pt x="49" y="60"/>
                  <a:pt x="49" y="60"/>
                </a:cubicBezTo>
                <a:cubicBezTo>
                  <a:pt x="50" y="60"/>
                  <a:pt x="50" y="60"/>
                  <a:pt x="50" y="60"/>
                </a:cubicBezTo>
                <a:cubicBezTo>
                  <a:pt x="52" y="60"/>
                  <a:pt x="52" y="60"/>
                  <a:pt x="52" y="60"/>
                </a:cubicBezTo>
                <a:cubicBezTo>
                  <a:pt x="53" y="61"/>
                  <a:pt x="53" y="61"/>
                  <a:pt x="53" y="61"/>
                </a:cubicBezTo>
                <a:cubicBezTo>
                  <a:pt x="54" y="60"/>
                  <a:pt x="54" y="60"/>
                  <a:pt x="54" y="60"/>
                </a:cubicBezTo>
                <a:cubicBezTo>
                  <a:pt x="55" y="61"/>
                  <a:pt x="55" y="61"/>
                  <a:pt x="55" y="61"/>
                </a:cubicBezTo>
                <a:cubicBezTo>
                  <a:pt x="56" y="61"/>
                  <a:pt x="56" y="61"/>
                  <a:pt x="56" y="61"/>
                </a:cubicBezTo>
                <a:cubicBezTo>
                  <a:pt x="56" y="61"/>
                  <a:pt x="56" y="61"/>
                  <a:pt x="56" y="61"/>
                </a:cubicBezTo>
                <a:cubicBezTo>
                  <a:pt x="56" y="62"/>
                  <a:pt x="56" y="62"/>
                  <a:pt x="56" y="62"/>
                </a:cubicBezTo>
                <a:cubicBezTo>
                  <a:pt x="57" y="62"/>
                  <a:pt x="57" y="62"/>
                  <a:pt x="57" y="62"/>
                </a:cubicBezTo>
                <a:cubicBezTo>
                  <a:pt x="58" y="63"/>
                  <a:pt x="58" y="63"/>
                  <a:pt x="58" y="63"/>
                </a:cubicBezTo>
                <a:cubicBezTo>
                  <a:pt x="60" y="63"/>
                  <a:pt x="60" y="63"/>
                  <a:pt x="60" y="63"/>
                </a:cubicBezTo>
                <a:cubicBezTo>
                  <a:pt x="60" y="62"/>
                  <a:pt x="60" y="62"/>
                  <a:pt x="60" y="62"/>
                </a:cubicBezTo>
                <a:cubicBezTo>
                  <a:pt x="59" y="61"/>
                  <a:pt x="59" y="61"/>
                  <a:pt x="59" y="61"/>
                </a:cubicBezTo>
                <a:cubicBezTo>
                  <a:pt x="58" y="61"/>
                  <a:pt x="58" y="61"/>
                  <a:pt x="58" y="61"/>
                </a:cubicBezTo>
                <a:cubicBezTo>
                  <a:pt x="58" y="60"/>
                  <a:pt x="58" y="60"/>
                  <a:pt x="58" y="60"/>
                </a:cubicBezTo>
                <a:cubicBezTo>
                  <a:pt x="59" y="60"/>
                  <a:pt x="59" y="60"/>
                  <a:pt x="59" y="60"/>
                </a:cubicBezTo>
                <a:cubicBezTo>
                  <a:pt x="60" y="61"/>
                  <a:pt x="60" y="61"/>
                  <a:pt x="60" y="61"/>
                </a:cubicBezTo>
                <a:cubicBezTo>
                  <a:pt x="61" y="60"/>
                  <a:pt x="61" y="60"/>
                  <a:pt x="61" y="60"/>
                </a:cubicBezTo>
                <a:cubicBezTo>
                  <a:pt x="59" y="59"/>
                  <a:pt x="59" y="59"/>
                  <a:pt x="59" y="59"/>
                </a:cubicBezTo>
                <a:cubicBezTo>
                  <a:pt x="56" y="59"/>
                  <a:pt x="56" y="59"/>
                  <a:pt x="56" y="59"/>
                </a:cubicBezTo>
                <a:cubicBezTo>
                  <a:pt x="55" y="58"/>
                  <a:pt x="55" y="58"/>
                  <a:pt x="55" y="58"/>
                </a:cubicBezTo>
                <a:cubicBezTo>
                  <a:pt x="54" y="57"/>
                  <a:pt x="54" y="57"/>
                  <a:pt x="54" y="57"/>
                </a:cubicBezTo>
                <a:cubicBezTo>
                  <a:pt x="56" y="57"/>
                  <a:pt x="56" y="57"/>
                  <a:pt x="56" y="57"/>
                </a:cubicBezTo>
                <a:cubicBezTo>
                  <a:pt x="56" y="57"/>
                  <a:pt x="56" y="57"/>
                  <a:pt x="56" y="57"/>
                </a:cubicBezTo>
                <a:cubicBezTo>
                  <a:pt x="57" y="56"/>
                  <a:pt x="57" y="56"/>
                  <a:pt x="57" y="56"/>
                </a:cubicBezTo>
                <a:cubicBezTo>
                  <a:pt x="56" y="56"/>
                  <a:pt x="56" y="56"/>
                  <a:pt x="56" y="56"/>
                </a:cubicBezTo>
                <a:cubicBezTo>
                  <a:pt x="54" y="56"/>
                  <a:pt x="54" y="56"/>
                  <a:pt x="54" y="56"/>
                </a:cubicBezTo>
                <a:cubicBezTo>
                  <a:pt x="52" y="56"/>
                  <a:pt x="52" y="56"/>
                  <a:pt x="52" y="56"/>
                </a:cubicBezTo>
                <a:cubicBezTo>
                  <a:pt x="51" y="55"/>
                  <a:pt x="51" y="55"/>
                  <a:pt x="51" y="55"/>
                </a:cubicBezTo>
                <a:cubicBezTo>
                  <a:pt x="51" y="54"/>
                  <a:pt x="51" y="54"/>
                  <a:pt x="51" y="54"/>
                </a:cubicBezTo>
                <a:cubicBezTo>
                  <a:pt x="52" y="53"/>
                  <a:pt x="52" y="53"/>
                  <a:pt x="52" y="53"/>
                </a:cubicBezTo>
                <a:cubicBezTo>
                  <a:pt x="52" y="52"/>
                  <a:pt x="52" y="52"/>
                  <a:pt x="52" y="52"/>
                </a:cubicBezTo>
                <a:cubicBezTo>
                  <a:pt x="52" y="52"/>
                  <a:pt x="52" y="52"/>
                  <a:pt x="52" y="52"/>
                </a:cubicBezTo>
                <a:cubicBezTo>
                  <a:pt x="51" y="52"/>
                  <a:pt x="51" y="52"/>
                  <a:pt x="51" y="52"/>
                </a:cubicBezTo>
                <a:cubicBezTo>
                  <a:pt x="50" y="52"/>
                  <a:pt x="50" y="52"/>
                  <a:pt x="50" y="52"/>
                </a:cubicBezTo>
                <a:cubicBezTo>
                  <a:pt x="49" y="52"/>
                  <a:pt x="49" y="52"/>
                  <a:pt x="49" y="52"/>
                </a:cubicBezTo>
                <a:cubicBezTo>
                  <a:pt x="49" y="52"/>
                  <a:pt x="49" y="52"/>
                  <a:pt x="49" y="52"/>
                </a:cubicBezTo>
                <a:cubicBezTo>
                  <a:pt x="47" y="51"/>
                  <a:pt x="47" y="51"/>
                  <a:pt x="47" y="51"/>
                </a:cubicBezTo>
                <a:cubicBezTo>
                  <a:pt x="47" y="49"/>
                  <a:pt x="47" y="49"/>
                  <a:pt x="47" y="49"/>
                </a:cubicBezTo>
                <a:cubicBezTo>
                  <a:pt x="46" y="48"/>
                  <a:pt x="46" y="48"/>
                  <a:pt x="46" y="48"/>
                </a:cubicBezTo>
                <a:cubicBezTo>
                  <a:pt x="45" y="46"/>
                  <a:pt x="45" y="46"/>
                  <a:pt x="45" y="46"/>
                </a:cubicBezTo>
                <a:cubicBezTo>
                  <a:pt x="45" y="45"/>
                  <a:pt x="45" y="45"/>
                  <a:pt x="45" y="45"/>
                </a:cubicBezTo>
                <a:cubicBezTo>
                  <a:pt x="44" y="44"/>
                  <a:pt x="44" y="44"/>
                  <a:pt x="44" y="44"/>
                </a:cubicBezTo>
                <a:cubicBezTo>
                  <a:pt x="43" y="44"/>
                  <a:pt x="43" y="44"/>
                  <a:pt x="43" y="44"/>
                </a:cubicBezTo>
                <a:cubicBezTo>
                  <a:pt x="42" y="44"/>
                  <a:pt x="42" y="44"/>
                  <a:pt x="42" y="44"/>
                </a:cubicBezTo>
                <a:cubicBezTo>
                  <a:pt x="41" y="43"/>
                  <a:pt x="41" y="43"/>
                  <a:pt x="41" y="43"/>
                </a:cubicBezTo>
                <a:cubicBezTo>
                  <a:pt x="40" y="41"/>
                  <a:pt x="40" y="41"/>
                  <a:pt x="40" y="41"/>
                </a:cubicBezTo>
                <a:cubicBezTo>
                  <a:pt x="40" y="40"/>
                  <a:pt x="40" y="40"/>
                  <a:pt x="40" y="40"/>
                </a:cubicBezTo>
                <a:cubicBezTo>
                  <a:pt x="39" y="39"/>
                  <a:pt x="39" y="39"/>
                  <a:pt x="39" y="39"/>
                </a:cubicBezTo>
                <a:cubicBezTo>
                  <a:pt x="38" y="38"/>
                  <a:pt x="38" y="38"/>
                  <a:pt x="38" y="38"/>
                </a:cubicBezTo>
                <a:cubicBezTo>
                  <a:pt x="38" y="37"/>
                  <a:pt x="38" y="37"/>
                  <a:pt x="38" y="37"/>
                </a:cubicBezTo>
                <a:cubicBezTo>
                  <a:pt x="41" y="37"/>
                  <a:pt x="41" y="37"/>
                  <a:pt x="41" y="37"/>
                </a:cubicBezTo>
                <a:cubicBezTo>
                  <a:pt x="43" y="36"/>
                  <a:pt x="43" y="36"/>
                  <a:pt x="43" y="36"/>
                </a:cubicBezTo>
                <a:cubicBezTo>
                  <a:pt x="44" y="35"/>
                  <a:pt x="44" y="35"/>
                  <a:pt x="44" y="35"/>
                </a:cubicBezTo>
                <a:cubicBezTo>
                  <a:pt x="43" y="34"/>
                  <a:pt x="43" y="34"/>
                  <a:pt x="43" y="34"/>
                </a:cubicBezTo>
                <a:cubicBezTo>
                  <a:pt x="42" y="32"/>
                  <a:pt x="42" y="32"/>
                  <a:pt x="42" y="32"/>
                </a:cubicBezTo>
                <a:cubicBezTo>
                  <a:pt x="40" y="32"/>
                  <a:pt x="40" y="32"/>
                  <a:pt x="40" y="32"/>
                </a:cubicBezTo>
                <a:cubicBezTo>
                  <a:pt x="40" y="32"/>
                  <a:pt x="40" y="32"/>
                  <a:pt x="40" y="32"/>
                </a:cubicBezTo>
                <a:cubicBezTo>
                  <a:pt x="38" y="31"/>
                  <a:pt x="38" y="31"/>
                  <a:pt x="38" y="31"/>
                </a:cubicBezTo>
                <a:cubicBezTo>
                  <a:pt x="36" y="30"/>
                  <a:pt x="36" y="30"/>
                  <a:pt x="36" y="30"/>
                </a:cubicBezTo>
                <a:cubicBezTo>
                  <a:pt x="35" y="29"/>
                  <a:pt x="35" y="29"/>
                  <a:pt x="35" y="29"/>
                </a:cubicBezTo>
                <a:cubicBezTo>
                  <a:pt x="34" y="29"/>
                  <a:pt x="34" y="29"/>
                  <a:pt x="34" y="29"/>
                </a:cubicBezTo>
                <a:cubicBezTo>
                  <a:pt x="31" y="28"/>
                  <a:pt x="31" y="28"/>
                  <a:pt x="31" y="28"/>
                </a:cubicBezTo>
                <a:cubicBezTo>
                  <a:pt x="30" y="27"/>
                  <a:pt x="30" y="27"/>
                  <a:pt x="30" y="27"/>
                </a:cubicBezTo>
                <a:cubicBezTo>
                  <a:pt x="31" y="26"/>
                  <a:pt x="31" y="26"/>
                  <a:pt x="31" y="26"/>
                </a:cubicBezTo>
                <a:cubicBezTo>
                  <a:pt x="31" y="25"/>
                  <a:pt x="31" y="25"/>
                  <a:pt x="31" y="25"/>
                </a:cubicBezTo>
                <a:cubicBezTo>
                  <a:pt x="31" y="24"/>
                  <a:pt x="31" y="24"/>
                  <a:pt x="31" y="24"/>
                </a:cubicBezTo>
                <a:cubicBezTo>
                  <a:pt x="28" y="21"/>
                  <a:pt x="28" y="21"/>
                  <a:pt x="28" y="21"/>
                </a:cubicBezTo>
                <a:cubicBezTo>
                  <a:pt x="28" y="22"/>
                  <a:pt x="28" y="22"/>
                  <a:pt x="28" y="22"/>
                </a:cubicBezTo>
                <a:cubicBezTo>
                  <a:pt x="27" y="22"/>
                  <a:pt x="27" y="22"/>
                  <a:pt x="27" y="22"/>
                </a:cubicBezTo>
                <a:cubicBezTo>
                  <a:pt x="27" y="21"/>
                  <a:pt x="27" y="21"/>
                  <a:pt x="27" y="21"/>
                </a:cubicBezTo>
                <a:cubicBezTo>
                  <a:pt x="25" y="20"/>
                  <a:pt x="25" y="20"/>
                  <a:pt x="25" y="20"/>
                </a:cubicBezTo>
                <a:cubicBezTo>
                  <a:pt x="25" y="19"/>
                  <a:pt x="25" y="19"/>
                  <a:pt x="25" y="19"/>
                </a:cubicBezTo>
                <a:cubicBezTo>
                  <a:pt x="24" y="19"/>
                  <a:pt x="24" y="19"/>
                  <a:pt x="24" y="19"/>
                </a:cubicBezTo>
                <a:cubicBezTo>
                  <a:pt x="23" y="18"/>
                  <a:pt x="23" y="18"/>
                  <a:pt x="23" y="18"/>
                </a:cubicBezTo>
                <a:cubicBezTo>
                  <a:pt x="22" y="18"/>
                  <a:pt x="22" y="18"/>
                  <a:pt x="22" y="18"/>
                </a:cubicBezTo>
                <a:cubicBezTo>
                  <a:pt x="21" y="18"/>
                  <a:pt x="21" y="18"/>
                  <a:pt x="21" y="18"/>
                </a:cubicBezTo>
                <a:cubicBezTo>
                  <a:pt x="20" y="17"/>
                  <a:pt x="20" y="17"/>
                  <a:pt x="20" y="17"/>
                </a:cubicBezTo>
                <a:cubicBezTo>
                  <a:pt x="19" y="16"/>
                  <a:pt x="19" y="16"/>
                  <a:pt x="19" y="16"/>
                </a:cubicBezTo>
                <a:cubicBezTo>
                  <a:pt x="17" y="16"/>
                  <a:pt x="17" y="16"/>
                  <a:pt x="17" y="16"/>
                </a:cubicBezTo>
                <a:cubicBezTo>
                  <a:pt x="15" y="15"/>
                  <a:pt x="15" y="15"/>
                  <a:pt x="15" y="15"/>
                </a:cubicBezTo>
                <a:cubicBezTo>
                  <a:pt x="12" y="14"/>
                  <a:pt x="12" y="14"/>
                  <a:pt x="12" y="14"/>
                </a:cubicBezTo>
                <a:cubicBezTo>
                  <a:pt x="10" y="14"/>
                  <a:pt x="10" y="14"/>
                  <a:pt x="10" y="14"/>
                </a:cubicBezTo>
                <a:cubicBezTo>
                  <a:pt x="10" y="13"/>
                  <a:pt x="10" y="13"/>
                  <a:pt x="10" y="13"/>
                </a:cubicBezTo>
                <a:cubicBezTo>
                  <a:pt x="9" y="13"/>
                  <a:pt x="9" y="13"/>
                  <a:pt x="9" y="13"/>
                </a:cubicBezTo>
                <a:cubicBezTo>
                  <a:pt x="8" y="13"/>
                  <a:pt x="8" y="13"/>
                  <a:pt x="8" y="13"/>
                </a:cubicBezTo>
                <a:cubicBezTo>
                  <a:pt x="6" y="12"/>
                  <a:pt x="6" y="12"/>
                  <a:pt x="6" y="12"/>
                </a:cubicBezTo>
                <a:cubicBezTo>
                  <a:pt x="5" y="12"/>
                  <a:pt x="5" y="12"/>
                  <a:pt x="5" y="12"/>
                </a:cubicBezTo>
                <a:cubicBezTo>
                  <a:pt x="4" y="11"/>
                  <a:pt x="4" y="11"/>
                  <a:pt x="4" y="11"/>
                </a:cubicBezTo>
                <a:cubicBezTo>
                  <a:pt x="2" y="10"/>
                  <a:pt x="2" y="10"/>
                  <a:pt x="2" y="10"/>
                </a:cubicBezTo>
                <a:lnTo>
                  <a:pt x="1" y="1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6" name="Freeform 24">
            <a:extLst>
              <a:ext uri="{FF2B5EF4-FFF2-40B4-BE49-F238E27FC236}">
                <a16:creationId xmlns:a16="http://schemas.microsoft.com/office/drawing/2014/main" id="{8EC4C9CB-57F1-766C-15C0-FBD3D101837B}"/>
              </a:ext>
            </a:extLst>
          </p:cNvPr>
          <p:cNvSpPr>
            <a:spLocks noEditPoints="1"/>
          </p:cNvSpPr>
          <p:nvPr userDrawn="1"/>
        </p:nvSpPr>
        <p:spPr bwMode="auto">
          <a:xfrm>
            <a:off x="20471063" y="8095531"/>
            <a:ext cx="625437" cy="933450"/>
          </a:xfrm>
          <a:custGeom>
            <a:avLst/>
            <a:gdLst>
              <a:gd name="T0" fmla="*/ 24 w 63"/>
              <a:gd name="T1" fmla="*/ 1 h 94"/>
              <a:gd name="T2" fmla="*/ 32 w 63"/>
              <a:gd name="T3" fmla="*/ 37 h 94"/>
              <a:gd name="T4" fmla="*/ 40 w 63"/>
              <a:gd name="T5" fmla="*/ 38 h 94"/>
              <a:gd name="T6" fmla="*/ 44 w 63"/>
              <a:gd name="T7" fmla="*/ 44 h 94"/>
              <a:gd name="T8" fmla="*/ 43 w 63"/>
              <a:gd name="T9" fmla="*/ 46 h 94"/>
              <a:gd name="T10" fmla="*/ 34 w 63"/>
              <a:gd name="T11" fmla="*/ 39 h 94"/>
              <a:gd name="T12" fmla="*/ 26 w 63"/>
              <a:gd name="T13" fmla="*/ 41 h 94"/>
              <a:gd name="T14" fmla="*/ 22 w 63"/>
              <a:gd name="T15" fmla="*/ 35 h 94"/>
              <a:gd name="T16" fmla="*/ 18 w 63"/>
              <a:gd name="T17" fmla="*/ 32 h 94"/>
              <a:gd name="T18" fmla="*/ 17 w 63"/>
              <a:gd name="T19" fmla="*/ 23 h 94"/>
              <a:gd name="T20" fmla="*/ 24 w 63"/>
              <a:gd name="T21" fmla="*/ 7 h 94"/>
              <a:gd name="T22" fmla="*/ 29 w 63"/>
              <a:gd name="T23" fmla="*/ 12 h 94"/>
              <a:gd name="T24" fmla="*/ 29 w 63"/>
              <a:gd name="T25" fmla="*/ 23 h 94"/>
              <a:gd name="T26" fmla="*/ 30 w 63"/>
              <a:gd name="T27" fmla="*/ 35 h 94"/>
              <a:gd name="T28" fmla="*/ 31 w 63"/>
              <a:gd name="T29" fmla="*/ 30 h 94"/>
              <a:gd name="T30" fmla="*/ 21 w 63"/>
              <a:gd name="T31" fmla="*/ 42 h 94"/>
              <a:gd name="T32" fmla="*/ 28 w 63"/>
              <a:gd name="T33" fmla="*/ 48 h 94"/>
              <a:gd name="T34" fmla="*/ 44 w 63"/>
              <a:gd name="T35" fmla="*/ 37 h 94"/>
              <a:gd name="T36" fmla="*/ 31 w 63"/>
              <a:gd name="T37" fmla="*/ 42 h 94"/>
              <a:gd name="T38" fmla="*/ 33 w 63"/>
              <a:gd name="T39" fmla="*/ 49 h 94"/>
              <a:gd name="T40" fmla="*/ 38 w 63"/>
              <a:gd name="T41" fmla="*/ 43 h 94"/>
              <a:gd name="T42" fmla="*/ 41 w 63"/>
              <a:gd name="T43" fmla="*/ 47 h 94"/>
              <a:gd name="T44" fmla="*/ 41 w 63"/>
              <a:gd name="T45" fmla="*/ 48 h 94"/>
              <a:gd name="T46" fmla="*/ 32 w 63"/>
              <a:gd name="T47" fmla="*/ 62 h 94"/>
              <a:gd name="T48" fmla="*/ 34 w 63"/>
              <a:gd name="T49" fmla="*/ 53 h 94"/>
              <a:gd name="T50" fmla="*/ 38 w 63"/>
              <a:gd name="T51" fmla="*/ 57 h 94"/>
              <a:gd name="T52" fmla="*/ 37 w 63"/>
              <a:gd name="T53" fmla="*/ 61 h 94"/>
              <a:gd name="T54" fmla="*/ 45 w 63"/>
              <a:gd name="T55" fmla="*/ 61 h 94"/>
              <a:gd name="T56" fmla="*/ 41 w 63"/>
              <a:gd name="T57" fmla="*/ 68 h 94"/>
              <a:gd name="T58" fmla="*/ 38 w 63"/>
              <a:gd name="T59" fmla="*/ 61 h 94"/>
              <a:gd name="T60" fmla="*/ 41 w 63"/>
              <a:gd name="T61" fmla="*/ 70 h 94"/>
              <a:gd name="T62" fmla="*/ 48 w 63"/>
              <a:gd name="T63" fmla="*/ 64 h 94"/>
              <a:gd name="T64" fmla="*/ 53 w 63"/>
              <a:gd name="T65" fmla="*/ 65 h 94"/>
              <a:gd name="T66" fmla="*/ 48 w 63"/>
              <a:gd name="T67" fmla="*/ 55 h 94"/>
              <a:gd name="T68" fmla="*/ 56 w 63"/>
              <a:gd name="T69" fmla="*/ 57 h 94"/>
              <a:gd name="T70" fmla="*/ 51 w 63"/>
              <a:gd name="T71" fmla="*/ 47 h 94"/>
              <a:gd name="T72" fmla="*/ 51 w 63"/>
              <a:gd name="T73" fmla="*/ 54 h 94"/>
              <a:gd name="T74" fmla="*/ 47 w 63"/>
              <a:gd name="T75" fmla="*/ 57 h 94"/>
              <a:gd name="T76" fmla="*/ 53 w 63"/>
              <a:gd name="T77" fmla="*/ 63 h 94"/>
              <a:gd name="T78" fmla="*/ 56 w 63"/>
              <a:gd name="T79" fmla="*/ 59 h 94"/>
              <a:gd name="T80" fmla="*/ 56 w 63"/>
              <a:gd name="T81" fmla="*/ 62 h 94"/>
              <a:gd name="T82" fmla="*/ 58 w 63"/>
              <a:gd name="T83" fmla="*/ 67 h 94"/>
              <a:gd name="T84" fmla="*/ 34 w 63"/>
              <a:gd name="T85" fmla="*/ 81 h 94"/>
              <a:gd name="T86" fmla="*/ 43 w 63"/>
              <a:gd name="T87" fmla="*/ 73 h 94"/>
              <a:gd name="T88" fmla="*/ 51 w 63"/>
              <a:gd name="T89" fmla="*/ 74 h 94"/>
              <a:gd name="T90" fmla="*/ 54 w 63"/>
              <a:gd name="T91" fmla="*/ 66 h 94"/>
              <a:gd name="T92" fmla="*/ 59 w 63"/>
              <a:gd name="T93" fmla="*/ 74 h 94"/>
              <a:gd name="T94" fmla="*/ 62 w 63"/>
              <a:gd name="T95" fmla="*/ 85 h 94"/>
              <a:gd name="T96" fmla="*/ 60 w 63"/>
              <a:gd name="T97" fmla="*/ 86 h 94"/>
              <a:gd name="T98" fmla="*/ 56 w 63"/>
              <a:gd name="T99" fmla="*/ 94 h 94"/>
              <a:gd name="T100" fmla="*/ 49 w 63"/>
              <a:gd name="T101" fmla="*/ 91 h 94"/>
              <a:gd name="T102" fmla="*/ 47 w 63"/>
              <a:gd name="T103" fmla="*/ 83 h 94"/>
              <a:gd name="T104" fmla="*/ 41 w 63"/>
              <a:gd name="T105" fmla="*/ 82 h 94"/>
              <a:gd name="T106" fmla="*/ 37 w 63"/>
              <a:gd name="T107" fmla="*/ 80 h 94"/>
              <a:gd name="T108" fmla="*/ 35 w 63"/>
              <a:gd name="T109" fmla="*/ 87 h 94"/>
              <a:gd name="T110" fmla="*/ 20 w 63"/>
              <a:gd name="T111" fmla="*/ 51 h 94"/>
              <a:gd name="T112" fmla="*/ 17 w 63"/>
              <a:gd name="T113" fmla="*/ 52 h 94"/>
              <a:gd name="T114" fmla="*/ 4 w 63"/>
              <a:gd name="T115" fmla="*/ 74 h 94"/>
              <a:gd name="T116" fmla="*/ 14 w 63"/>
              <a:gd name="T117" fmla="*/ 65 h 94"/>
              <a:gd name="T118" fmla="*/ 15 w 63"/>
              <a:gd name="T119" fmla="*/ 60 h 94"/>
              <a:gd name="T120" fmla="*/ 6 w 63"/>
              <a:gd name="T121" fmla="*/ 70 h 94"/>
              <a:gd name="T122" fmla="*/ 3 w 63"/>
              <a:gd name="T123" fmla="*/ 7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 h="94">
                <a:moveTo>
                  <a:pt x="23" y="4"/>
                </a:moveTo>
                <a:cubicBezTo>
                  <a:pt x="24" y="4"/>
                  <a:pt x="24" y="4"/>
                  <a:pt x="24" y="4"/>
                </a:cubicBezTo>
                <a:cubicBezTo>
                  <a:pt x="23" y="5"/>
                  <a:pt x="23" y="5"/>
                  <a:pt x="23" y="5"/>
                </a:cubicBezTo>
                <a:cubicBezTo>
                  <a:pt x="23" y="4"/>
                  <a:pt x="23" y="4"/>
                  <a:pt x="23" y="4"/>
                </a:cubicBezTo>
                <a:close/>
                <a:moveTo>
                  <a:pt x="22" y="2"/>
                </a:moveTo>
                <a:cubicBezTo>
                  <a:pt x="23" y="2"/>
                  <a:pt x="23" y="2"/>
                  <a:pt x="23" y="2"/>
                </a:cubicBezTo>
                <a:cubicBezTo>
                  <a:pt x="22" y="3"/>
                  <a:pt x="22" y="3"/>
                  <a:pt x="22" y="3"/>
                </a:cubicBezTo>
                <a:cubicBezTo>
                  <a:pt x="22" y="2"/>
                  <a:pt x="22" y="2"/>
                  <a:pt x="22" y="2"/>
                </a:cubicBezTo>
                <a:close/>
                <a:moveTo>
                  <a:pt x="24" y="0"/>
                </a:moveTo>
                <a:cubicBezTo>
                  <a:pt x="24" y="1"/>
                  <a:pt x="24" y="1"/>
                  <a:pt x="24" y="1"/>
                </a:cubicBezTo>
                <a:cubicBezTo>
                  <a:pt x="24" y="1"/>
                  <a:pt x="24" y="1"/>
                  <a:pt x="24" y="1"/>
                </a:cubicBezTo>
                <a:cubicBezTo>
                  <a:pt x="24" y="0"/>
                  <a:pt x="24" y="0"/>
                  <a:pt x="24" y="0"/>
                </a:cubicBezTo>
                <a:close/>
                <a:moveTo>
                  <a:pt x="27" y="3"/>
                </a:moveTo>
                <a:cubicBezTo>
                  <a:pt x="26" y="4"/>
                  <a:pt x="26" y="4"/>
                  <a:pt x="26" y="4"/>
                </a:cubicBezTo>
                <a:cubicBezTo>
                  <a:pt x="27" y="5"/>
                  <a:pt x="27" y="5"/>
                  <a:pt x="27" y="5"/>
                </a:cubicBezTo>
                <a:cubicBezTo>
                  <a:pt x="28" y="4"/>
                  <a:pt x="28" y="4"/>
                  <a:pt x="28" y="4"/>
                </a:cubicBezTo>
                <a:cubicBezTo>
                  <a:pt x="28" y="4"/>
                  <a:pt x="27" y="3"/>
                  <a:pt x="27" y="3"/>
                </a:cubicBezTo>
                <a:close/>
                <a:moveTo>
                  <a:pt x="28" y="35"/>
                </a:moveTo>
                <a:cubicBezTo>
                  <a:pt x="29" y="36"/>
                  <a:pt x="29" y="36"/>
                  <a:pt x="29" y="36"/>
                </a:cubicBezTo>
                <a:cubicBezTo>
                  <a:pt x="29" y="37"/>
                  <a:pt x="29" y="37"/>
                  <a:pt x="29" y="37"/>
                </a:cubicBezTo>
                <a:cubicBezTo>
                  <a:pt x="31" y="37"/>
                  <a:pt x="31" y="37"/>
                  <a:pt x="31" y="37"/>
                </a:cubicBezTo>
                <a:cubicBezTo>
                  <a:pt x="32" y="37"/>
                  <a:pt x="32" y="37"/>
                  <a:pt x="32" y="37"/>
                </a:cubicBezTo>
                <a:cubicBezTo>
                  <a:pt x="32" y="36"/>
                  <a:pt x="32" y="36"/>
                  <a:pt x="32" y="36"/>
                </a:cubicBezTo>
                <a:cubicBezTo>
                  <a:pt x="34" y="35"/>
                  <a:pt x="34" y="35"/>
                  <a:pt x="34" y="35"/>
                </a:cubicBezTo>
                <a:cubicBezTo>
                  <a:pt x="35" y="35"/>
                  <a:pt x="35" y="35"/>
                  <a:pt x="35" y="35"/>
                </a:cubicBezTo>
                <a:cubicBezTo>
                  <a:pt x="37" y="36"/>
                  <a:pt x="37" y="36"/>
                  <a:pt x="37" y="36"/>
                </a:cubicBezTo>
                <a:cubicBezTo>
                  <a:pt x="38" y="37"/>
                  <a:pt x="38" y="37"/>
                  <a:pt x="38" y="37"/>
                </a:cubicBezTo>
                <a:cubicBezTo>
                  <a:pt x="37" y="39"/>
                  <a:pt x="37" y="39"/>
                  <a:pt x="37" y="39"/>
                </a:cubicBezTo>
                <a:cubicBezTo>
                  <a:pt x="38" y="39"/>
                  <a:pt x="38" y="39"/>
                  <a:pt x="38" y="39"/>
                </a:cubicBezTo>
                <a:cubicBezTo>
                  <a:pt x="39" y="39"/>
                  <a:pt x="39" y="39"/>
                  <a:pt x="39" y="39"/>
                </a:cubicBezTo>
                <a:cubicBezTo>
                  <a:pt x="39" y="38"/>
                  <a:pt x="39" y="38"/>
                  <a:pt x="39" y="38"/>
                </a:cubicBezTo>
                <a:cubicBezTo>
                  <a:pt x="39" y="37"/>
                  <a:pt x="39" y="37"/>
                  <a:pt x="39" y="37"/>
                </a:cubicBezTo>
                <a:cubicBezTo>
                  <a:pt x="40" y="38"/>
                  <a:pt x="40" y="38"/>
                  <a:pt x="40" y="38"/>
                </a:cubicBezTo>
                <a:cubicBezTo>
                  <a:pt x="41" y="38"/>
                  <a:pt x="41" y="38"/>
                  <a:pt x="41" y="38"/>
                </a:cubicBezTo>
                <a:cubicBezTo>
                  <a:pt x="43" y="39"/>
                  <a:pt x="43" y="39"/>
                  <a:pt x="43" y="39"/>
                </a:cubicBezTo>
                <a:cubicBezTo>
                  <a:pt x="43" y="40"/>
                  <a:pt x="43" y="40"/>
                  <a:pt x="43" y="40"/>
                </a:cubicBezTo>
                <a:cubicBezTo>
                  <a:pt x="42" y="40"/>
                  <a:pt x="42" y="40"/>
                  <a:pt x="42" y="40"/>
                </a:cubicBezTo>
                <a:cubicBezTo>
                  <a:pt x="41" y="39"/>
                  <a:pt x="41" y="39"/>
                  <a:pt x="41" y="39"/>
                </a:cubicBezTo>
                <a:cubicBezTo>
                  <a:pt x="41" y="40"/>
                  <a:pt x="41" y="40"/>
                  <a:pt x="41" y="40"/>
                </a:cubicBezTo>
                <a:cubicBezTo>
                  <a:pt x="41" y="41"/>
                  <a:pt x="41" y="41"/>
                  <a:pt x="41" y="41"/>
                </a:cubicBezTo>
                <a:cubicBezTo>
                  <a:pt x="42" y="43"/>
                  <a:pt x="42" y="43"/>
                  <a:pt x="42" y="43"/>
                </a:cubicBezTo>
                <a:cubicBezTo>
                  <a:pt x="42" y="44"/>
                  <a:pt x="42" y="44"/>
                  <a:pt x="42" y="44"/>
                </a:cubicBezTo>
                <a:cubicBezTo>
                  <a:pt x="43" y="44"/>
                  <a:pt x="43" y="44"/>
                  <a:pt x="43" y="44"/>
                </a:cubicBezTo>
                <a:cubicBezTo>
                  <a:pt x="44" y="44"/>
                  <a:pt x="44" y="44"/>
                  <a:pt x="44" y="44"/>
                </a:cubicBezTo>
                <a:cubicBezTo>
                  <a:pt x="45" y="44"/>
                  <a:pt x="45" y="44"/>
                  <a:pt x="45" y="44"/>
                </a:cubicBezTo>
                <a:cubicBezTo>
                  <a:pt x="46" y="45"/>
                  <a:pt x="46" y="45"/>
                  <a:pt x="46" y="45"/>
                </a:cubicBezTo>
                <a:cubicBezTo>
                  <a:pt x="45" y="46"/>
                  <a:pt x="45" y="46"/>
                  <a:pt x="45" y="46"/>
                </a:cubicBezTo>
                <a:cubicBezTo>
                  <a:pt x="45" y="46"/>
                  <a:pt x="45" y="46"/>
                  <a:pt x="45" y="46"/>
                </a:cubicBezTo>
                <a:cubicBezTo>
                  <a:pt x="45" y="48"/>
                  <a:pt x="45" y="48"/>
                  <a:pt x="45" y="48"/>
                </a:cubicBezTo>
                <a:cubicBezTo>
                  <a:pt x="44" y="48"/>
                  <a:pt x="44" y="48"/>
                  <a:pt x="44" y="48"/>
                </a:cubicBezTo>
                <a:cubicBezTo>
                  <a:pt x="43" y="47"/>
                  <a:pt x="43" y="47"/>
                  <a:pt x="43" y="47"/>
                </a:cubicBezTo>
                <a:cubicBezTo>
                  <a:pt x="44" y="46"/>
                  <a:pt x="44" y="46"/>
                  <a:pt x="44" y="46"/>
                </a:cubicBezTo>
                <a:cubicBezTo>
                  <a:pt x="44" y="45"/>
                  <a:pt x="44" y="45"/>
                  <a:pt x="44" y="45"/>
                </a:cubicBezTo>
                <a:cubicBezTo>
                  <a:pt x="43" y="45"/>
                  <a:pt x="43" y="45"/>
                  <a:pt x="43" y="45"/>
                </a:cubicBezTo>
                <a:cubicBezTo>
                  <a:pt x="43" y="46"/>
                  <a:pt x="43" y="46"/>
                  <a:pt x="43" y="46"/>
                </a:cubicBezTo>
                <a:cubicBezTo>
                  <a:pt x="42" y="46"/>
                  <a:pt x="42" y="46"/>
                  <a:pt x="42" y="46"/>
                </a:cubicBezTo>
                <a:cubicBezTo>
                  <a:pt x="40" y="44"/>
                  <a:pt x="40" y="44"/>
                  <a:pt x="40" y="44"/>
                </a:cubicBezTo>
                <a:cubicBezTo>
                  <a:pt x="39" y="44"/>
                  <a:pt x="39" y="44"/>
                  <a:pt x="39" y="44"/>
                </a:cubicBezTo>
                <a:cubicBezTo>
                  <a:pt x="39" y="43"/>
                  <a:pt x="39" y="43"/>
                  <a:pt x="39" y="43"/>
                </a:cubicBezTo>
                <a:cubicBezTo>
                  <a:pt x="39" y="41"/>
                  <a:pt x="39" y="41"/>
                  <a:pt x="39" y="41"/>
                </a:cubicBezTo>
                <a:cubicBezTo>
                  <a:pt x="37" y="41"/>
                  <a:pt x="37" y="41"/>
                  <a:pt x="37" y="41"/>
                </a:cubicBezTo>
                <a:cubicBezTo>
                  <a:pt x="36" y="39"/>
                  <a:pt x="36" y="39"/>
                  <a:pt x="36" y="39"/>
                </a:cubicBezTo>
                <a:cubicBezTo>
                  <a:pt x="35" y="39"/>
                  <a:pt x="35" y="39"/>
                  <a:pt x="35" y="39"/>
                </a:cubicBezTo>
                <a:cubicBezTo>
                  <a:pt x="35" y="38"/>
                  <a:pt x="35" y="38"/>
                  <a:pt x="35" y="38"/>
                </a:cubicBezTo>
                <a:cubicBezTo>
                  <a:pt x="34" y="38"/>
                  <a:pt x="34" y="38"/>
                  <a:pt x="34" y="38"/>
                </a:cubicBezTo>
                <a:cubicBezTo>
                  <a:pt x="34" y="39"/>
                  <a:pt x="34" y="39"/>
                  <a:pt x="34" y="39"/>
                </a:cubicBezTo>
                <a:cubicBezTo>
                  <a:pt x="35" y="41"/>
                  <a:pt x="35" y="41"/>
                  <a:pt x="35" y="41"/>
                </a:cubicBezTo>
                <a:cubicBezTo>
                  <a:pt x="35" y="43"/>
                  <a:pt x="35" y="43"/>
                  <a:pt x="35" y="43"/>
                </a:cubicBezTo>
                <a:cubicBezTo>
                  <a:pt x="35" y="43"/>
                  <a:pt x="35" y="43"/>
                  <a:pt x="35" y="43"/>
                </a:cubicBezTo>
                <a:cubicBezTo>
                  <a:pt x="34" y="41"/>
                  <a:pt x="34" y="41"/>
                  <a:pt x="34" y="41"/>
                </a:cubicBezTo>
                <a:cubicBezTo>
                  <a:pt x="32" y="40"/>
                  <a:pt x="32" y="40"/>
                  <a:pt x="32" y="40"/>
                </a:cubicBezTo>
                <a:cubicBezTo>
                  <a:pt x="32" y="39"/>
                  <a:pt x="32" y="39"/>
                  <a:pt x="32" y="39"/>
                </a:cubicBezTo>
                <a:cubicBezTo>
                  <a:pt x="29" y="38"/>
                  <a:pt x="29" y="38"/>
                  <a:pt x="29" y="38"/>
                </a:cubicBezTo>
                <a:cubicBezTo>
                  <a:pt x="28" y="38"/>
                  <a:pt x="28" y="38"/>
                  <a:pt x="28" y="38"/>
                </a:cubicBezTo>
                <a:cubicBezTo>
                  <a:pt x="27" y="39"/>
                  <a:pt x="27" y="39"/>
                  <a:pt x="27" y="39"/>
                </a:cubicBezTo>
                <a:cubicBezTo>
                  <a:pt x="28" y="40"/>
                  <a:pt x="28" y="40"/>
                  <a:pt x="28" y="40"/>
                </a:cubicBezTo>
                <a:cubicBezTo>
                  <a:pt x="26" y="41"/>
                  <a:pt x="26" y="41"/>
                  <a:pt x="26" y="41"/>
                </a:cubicBezTo>
                <a:cubicBezTo>
                  <a:pt x="25" y="39"/>
                  <a:pt x="25" y="39"/>
                  <a:pt x="25" y="39"/>
                </a:cubicBezTo>
                <a:cubicBezTo>
                  <a:pt x="24" y="40"/>
                  <a:pt x="24" y="40"/>
                  <a:pt x="24" y="40"/>
                </a:cubicBezTo>
                <a:cubicBezTo>
                  <a:pt x="23" y="40"/>
                  <a:pt x="23" y="40"/>
                  <a:pt x="23" y="40"/>
                </a:cubicBezTo>
                <a:cubicBezTo>
                  <a:pt x="24" y="39"/>
                  <a:pt x="24" y="39"/>
                  <a:pt x="24" y="39"/>
                </a:cubicBezTo>
                <a:cubicBezTo>
                  <a:pt x="23" y="38"/>
                  <a:pt x="23" y="38"/>
                  <a:pt x="23" y="38"/>
                </a:cubicBezTo>
                <a:cubicBezTo>
                  <a:pt x="22" y="38"/>
                  <a:pt x="22" y="38"/>
                  <a:pt x="22" y="38"/>
                </a:cubicBezTo>
                <a:cubicBezTo>
                  <a:pt x="22" y="40"/>
                  <a:pt x="22" y="40"/>
                  <a:pt x="22" y="40"/>
                </a:cubicBezTo>
                <a:cubicBezTo>
                  <a:pt x="21" y="38"/>
                  <a:pt x="21" y="38"/>
                  <a:pt x="21" y="38"/>
                </a:cubicBezTo>
                <a:cubicBezTo>
                  <a:pt x="21" y="37"/>
                  <a:pt x="21" y="37"/>
                  <a:pt x="21" y="37"/>
                </a:cubicBezTo>
                <a:cubicBezTo>
                  <a:pt x="21" y="36"/>
                  <a:pt x="21" y="36"/>
                  <a:pt x="21" y="36"/>
                </a:cubicBezTo>
                <a:cubicBezTo>
                  <a:pt x="22" y="35"/>
                  <a:pt x="22" y="35"/>
                  <a:pt x="22" y="35"/>
                </a:cubicBezTo>
                <a:cubicBezTo>
                  <a:pt x="23" y="33"/>
                  <a:pt x="23" y="33"/>
                  <a:pt x="23" y="33"/>
                </a:cubicBezTo>
                <a:cubicBezTo>
                  <a:pt x="22" y="33"/>
                  <a:pt x="22" y="33"/>
                  <a:pt x="22" y="33"/>
                </a:cubicBezTo>
                <a:cubicBezTo>
                  <a:pt x="21" y="32"/>
                  <a:pt x="21" y="32"/>
                  <a:pt x="21" y="32"/>
                </a:cubicBezTo>
                <a:cubicBezTo>
                  <a:pt x="21" y="33"/>
                  <a:pt x="21" y="33"/>
                  <a:pt x="21" y="33"/>
                </a:cubicBezTo>
                <a:cubicBezTo>
                  <a:pt x="21" y="34"/>
                  <a:pt x="21" y="34"/>
                  <a:pt x="21" y="34"/>
                </a:cubicBezTo>
                <a:cubicBezTo>
                  <a:pt x="21" y="35"/>
                  <a:pt x="21" y="35"/>
                  <a:pt x="21" y="35"/>
                </a:cubicBezTo>
                <a:cubicBezTo>
                  <a:pt x="20" y="35"/>
                  <a:pt x="20" y="35"/>
                  <a:pt x="20" y="35"/>
                </a:cubicBezTo>
                <a:cubicBezTo>
                  <a:pt x="19" y="33"/>
                  <a:pt x="19" y="33"/>
                  <a:pt x="19" y="33"/>
                </a:cubicBezTo>
                <a:cubicBezTo>
                  <a:pt x="19" y="32"/>
                  <a:pt x="19" y="32"/>
                  <a:pt x="19" y="32"/>
                </a:cubicBezTo>
                <a:cubicBezTo>
                  <a:pt x="18" y="32"/>
                  <a:pt x="18" y="32"/>
                  <a:pt x="18" y="32"/>
                </a:cubicBezTo>
                <a:cubicBezTo>
                  <a:pt x="18" y="32"/>
                  <a:pt x="18" y="32"/>
                  <a:pt x="18" y="32"/>
                </a:cubicBezTo>
                <a:cubicBezTo>
                  <a:pt x="17" y="32"/>
                  <a:pt x="17" y="32"/>
                  <a:pt x="17" y="32"/>
                </a:cubicBezTo>
                <a:cubicBezTo>
                  <a:pt x="17" y="29"/>
                  <a:pt x="17" y="29"/>
                  <a:pt x="17" y="29"/>
                </a:cubicBezTo>
                <a:cubicBezTo>
                  <a:pt x="16" y="28"/>
                  <a:pt x="16" y="28"/>
                  <a:pt x="16" y="28"/>
                </a:cubicBezTo>
                <a:cubicBezTo>
                  <a:pt x="16" y="26"/>
                  <a:pt x="16" y="26"/>
                  <a:pt x="16" y="26"/>
                </a:cubicBezTo>
                <a:cubicBezTo>
                  <a:pt x="16" y="25"/>
                  <a:pt x="16" y="25"/>
                  <a:pt x="16" y="25"/>
                </a:cubicBezTo>
                <a:cubicBezTo>
                  <a:pt x="16" y="25"/>
                  <a:pt x="16" y="25"/>
                  <a:pt x="16" y="25"/>
                </a:cubicBezTo>
                <a:cubicBezTo>
                  <a:pt x="15" y="25"/>
                  <a:pt x="15" y="25"/>
                  <a:pt x="15" y="25"/>
                </a:cubicBezTo>
                <a:cubicBezTo>
                  <a:pt x="15" y="23"/>
                  <a:pt x="15" y="23"/>
                  <a:pt x="15" y="23"/>
                </a:cubicBezTo>
                <a:cubicBezTo>
                  <a:pt x="15" y="22"/>
                  <a:pt x="15" y="22"/>
                  <a:pt x="15" y="22"/>
                </a:cubicBezTo>
                <a:cubicBezTo>
                  <a:pt x="16" y="23"/>
                  <a:pt x="16" y="23"/>
                  <a:pt x="16" y="23"/>
                </a:cubicBezTo>
                <a:cubicBezTo>
                  <a:pt x="17" y="23"/>
                  <a:pt x="17" y="23"/>
                  <a:pt x="17" y="23"/>
                </a:cubicBezTo>
                <a:cubicBezTo>
                  <a:pt x="18" y="22"/>
                  <a:pt x="18" y="22"/>
                  <a:pt x="18" y="22"/>
                </a:cubicBezTo>
                <a:cubicBezTo>
                  <a:pt x="18" y="22"/>
                  <a:pt x="18" y="22"/>
                  <a:pt x="18" y="22"/>
                </a:cubicBezTo>
                <a:cubicBezTo>
                  <a:pt x="17" y="19"/>
                  <a:pt x="17" y="19"/>
                  <a:pt x="17" y="19"/>
                </a:cubicBezTo>
                <a:cubicBezTo>
                  <a:pt x="18" y="18"/>
                  <a:pt x="18" y="18"/>
                  <a:pt x="18" y="18"/>
                </a:cubicBezTo>
                <a:cubicBezTo>
                  <a:pt x="18" y="15"/>
                  <a:pt x="18" y="15"/>
                  <a:pt x="18" y="15"/>
                </a:cubicBezTo>
                <a:cubicBezTo>
                  <a:pt x="18" y="12"/>
                  <a:pt x="18" y="12"/>
                  <a:pt x="18" y="12"/>
                </a:cubicBezTo>
                <a:cubicBezTo>
                  <a:pt x="18" y="11"/>
                  <a:pt x="18" y="11"/>
                  <a:pt x="18" y="11"/>
                </a:cubicBezTo>
                <a:cubicBezTo>
                  <a:pt x="19" y="8"/>
                  <a:pt x="19" y="8"/>
                  <a:pt x="19" y="8"/>
                </a:cubicBezTo>
                <a:cubicBezTo>
                  <a:pt x="19" y="7"/>
                  <a:pt x="19" y="7"/>
                  <a:pt x="19" y="7"/>
                </a:cubicBezTo>
                <a:cubicBezTo>
                  <a:pt x="21" y="6"/>
                  <a:pt x="21" y="6"/>
                  <a:pt x="21" y="6"/>
                </a:cubicBezTo>
                <a:cubicBezTo>
                  <a:pt x="24" y="7"/>
                  <a:pt x="24" y="7"/>
                  <a:pt x="24" y="7"/>
                </a:cubicBezTo>
                <a:cubicBezTo>
                  <a:pt x="25" y="8"/>
                  <a:pt x="25" y="8"/>
                  <a:pt x="25" y="8"/>
                </a:cubicBezTo>
                <a:cubicBezTo>
                  <a:pt x="25" y="8"/>
                  <a:pt x="25" y="8"/>
                  <a:pt x="25" y="8"/>
                </a:cubicBezTo>
                <a:cubicBezTo>
                  <a:pt x="26" y="8"/>
                  <a:pt x="26" y="8"/>
                  <a:pt x="26" y="8"/>
                </a:cubicBezTo>
                <a:cubicBezTo>
                  <a:pt x="28" y="8"/>
                  <a:pt x="28" y="8"/>
                  <a:pt x="28" y="8"/>
                </a:cubicBezTo>
                <a:cubicBezTo>
                  <a:pt x="28" y="7"/>
                  <a:pt x="28" y="7"/>
                  <a:pt x="28" y="7"/>
                </a:cubicBezTo>
                <a:cubicBezTo>
                  <a:pt x="29" y="6"/>
                  <a:pt x="29" y="6"/>
                  <a:pt x="29" y="6"/>
                </a:cubicBezTo>
                <a:cubicBezTo>
                  <a:pt x="29" y="6"/>
                  <a:pt x="29" y="6"/>
                  <a:pt x="29" y="6"/>
                </a:cubicBezTo>
                <a:cubicBezTo>
                  <a:pt x="30" y="7"/>
                  <a:pt x="30" y="7"/>
                  <a:pt x="30" y="7"/>
                </a:cubicBezTo>
                <a:cubicBezTo>
                  <a:pt x="30" y="8"/>
                  <a:pt x="30" y="8"/>
                  <a:pt x="30" y="8"/>
                </a:cubicBezTo>
                <a:cubicBezTo>
                  <a:pt x="29" y="9"/>
                  <a:pt x="29" y="9"/>
                  <a:pt x="29" y="9"/>
                </a:cubicBezTo>
                <a:cubicBezTo>
                  <a:pt x="29" y="12"/>
                  <a:pt x="29" y="12"/>
                  <a:pt x="29" y="12"/>
                </a:cubicBezTo>
                <a:cubicBezTo>
                  <a:pt x="30" y="13"/>
                  <a:pt x="30" y="13"/>
                  <a:pt x="30" y="13"/>
                </a:cubicBezTo>
                <a:cubicBezTo>
                  <a:pt x="31" y="14"/>
                  <a:pt x="31" y="14"/>
                  <a:pt x="31" y="14"/>
                </a:cubicBezTo>
                <a:cubicBezTo>
                  <a:pt x="31" y="15"/>
                  <a:pt x="31" y="15"/>
                  <a:pt x="31" y="15"/>
                </a:cubicBezTo>
                <a:cubicBezTo>
                  <a:pt x="32" y="16"/>
                  <a:pt x="32" y="16"/>
                  <a:pt x="32" y="16"/>
                </a:cubicBezTo>
                <a:cubicBezTo>
                  <a:pt x="31" y="19"/>
                  <a:pt x="31" y="19"/>
                  <a:pt x="31" y="19"/>
                </a:cubicBezTo>
                <a:cubicBezTo>
                  <a:pt x="30" y="21"/>
                  <a:pt x="30" y="21"/>
                  <a:pt x="30" y="21"/>
                </a:cubicBezTo>
                <a:cubicBezTo>
                  <a:pt x="31" y="22"/>
                  <a:pt x="31" y="22"/>
                  <a:pt x="31" y="22"/>
                </a:cubicBezTo>
                <a:cubicBezTo>
                  <a:pt x="30" y="24"/>
                  <a:pt x="30" y="24"/>
                  <a:pt x="30" y="24"/>
                </a:cubicBezTo>
                <a:cubicBezTo>
                  <a:pt x="30" y="23"/>
                  <a:pt x="30" y="23"/>
                  <a:pt x="30" y="23"/>
                </a:cubicBezTo>
                <a:cubicBezTo>
                  <a:pt x="30" y="22"/>
                  <a:pt x="30" y="22"/>
                  <a:pt x="30" y="22"/>
                </a:cubicBezTo>
                <a:cubicBezTo>
                  <a:pt x="29" y="23"/>
                  <a:pt x="29" y="23"/>
                  <a:pt x="29" y="23"/>
                </a:cubicBezTo>
                <a:cubicBezTo>
                  <a:pt x="27" y="25"/>
                  <a:pt x="27" y="25"/>
                  <a:pt x="27" y="25"/>
                </a:cubicBezTo>
                <a:cubicBezTo>
                  <a:pt x="27" y="26"/>
                  <a:pt x="27" y="26"/>
                  <a:pt x="27" y="26"/>
                </a:cubicBezTo>
                <a:cubicBezTo>
                  <a:pt x="27" y="27"/>
                  <a:pt x="27" y="27"/>
                  <a:pt x="27" y="27"/>
                </a:cubicBezTo>
                <a:cubicBezTo>
                  <a:pt x="26" y="28"/>
                  <a:pt x="26" y="28"/>
                  <a:pt x="26" y="28"/>
                </a:cubicBezTo>
                <a:cubicBezTo>
                  <a:pt x="26" y="30"/>
                  <a:pt x="26" y="30"/>
                  <a:pt x="26" y="30"/>
                </a:cubicBezTo>
                <a:cubicBezTo>
                  <a:pt x="27" y="30"/>
                  <a:pt x="27" y="30"/>
                  <a:pt x="27" y="30"/>
                </a:cubicBezTo>
                <a:cubicBezTo>
                  <a:pt x="27" y="32"/>
                  <a:pt x="27" y="32"/>
                  <a:pt x="27" y="32"/>
                </a:cubicBezTo>
                <a:cubicBezTo>
                  <a:pt x="28" y="33"/>
                  <a:pt x="28" y="33"/>
                  <a:pt x="28" y="33"/>
                </a:cubicBezTo>
                <a:cubicBezTo>
                  <a:pt x="28" y="34"/>
                  <a:pt x="28" y="34"/>
                  <a:pt x="28" y="34"/>
                </a:cubicBezTo>
                <a:cubicBezTo>
                  <a:pt x="28" y="35"/>
                  <a:pt x="28" y="35"/>
                  <a:pt x="28" y="35"/>
                </a:cubicBezTo>
                <a:close/>
                <a:moveTo>
                  <a:pt x="30" y="35"/>
                </a:moveTo>
                <a:cubicBezTo>
                  <a:pt x="30" y="36"/>
                  <a:pt x="30" y="36"/>
                  <a:pt x="30" y="36"/>
                </a:cubicBezTo>
                <a:cubicBezTo>
                  <a:pt x="31" y="37"/>
                  <a:pt x="31" y="37"/>
                  <a:pt x="31" y="37"/>
                </a:cubicBezTo>
                <a:cubicBezTo>
                  <a:pt x="31" y="36"/>
                  <a:pt x="31" y="36"/>
                  <a:pt x="31" y="36"/>
                </a:cubicBezTo>
                <a:cubicBezTo>
                  <a:pt x="30" y="35"/>
                  <a:pt x="30" y="35"/>
                  <a:pt x="30" y="35"/>
                </a:cubicBezTo>
                <a:close/>
                <a:moveTo>
                  <a:pt x="29" y="31"/>
                </a:moveTo>
                <a:cubicBezTo>
                  <a:pt x="30" y="32"/>
                  <a:pt x="30" y="32"/>
                  <a:pt x="30" y="32"/>
                </a:cubicBezTo>
                <a:cubicBezTo>
                  <a:pt x="29" y="33"/>
                  <a:pt x="29" y="33"/>
                  <a:pt x="29" y="33"/>
                </a:cubicBezTo>
                <a:cubicBezTo>
                  <a:pt x="30" y="34"/>
                  <a:pt x="30" y="34"/>
                  <a:pt x="30" y="34"/>
                </a:cubicBezTo>
                <a:cubicBezTo>
                  <a:pt x="31" y="33"/>
                  <a:pt x="31" y="33"/>
                  <a:pt x="31" y="33"/>
                </a:cubicBezTo>
                <a:cubicBezTo>
                  <a:pt x="31" y="31"/>
                  <a:pt x="31" y="31"/>
                  <a:pt x="31" y="31"/>
                </a:cubicBezTo>
                <a:cubicBezTo>
                  <a:pt x="31" y="30"/>
                  <a:pt x="31" y="30"/>
                  <a:pt x="31" y="30"/>
                </a:cubicBezTo>
                <a:cubicBezTo>
                  <a:pt x="30" y="30"/>
                  <a:pt x="30" y="30"/>
                  <a:pt x="30" y="30"/>
                </a:cubicBezTo>
                <a:cubicBezTo>
                  <a:pt x="29" y="31"/>
                  <a:pt x="29" y="31"/>
                  <a:pt x="29" y="31"/>
                </a:cubicBezTo>
                <a:close/>
                <a:moveTo>
                  <a:pt x="18" y="39"/>
                </a:moveTo>
                <a:cubicBezTo>
                  <a:pt x="18" y="39"/>
                  <a:pt x="18" y="39"/>
                  <a:pt x="18" y="39"/>
                </a:cubicBezTo>
                <a:cubicBezTo>
                  <a:pt x="20" y="40"/>
                  <a:pt x="20" y="40"/>
                  <a:pt x="20" y="40"/>
                </a:cubicBezTo>
                <a:cubicBezTo>
                  <a:pt x="20" y="40"/>
                  <a:pt x="20" y="40"/>
                  <a:pt x="20" y="40"/>
                </a:cubicBezTo>
                <a:cubicBezTo>
                  <a:pt x="19" y="39"/>
                  <a:pt x="19" y="39"/>
                  <a:pt x="19" y="39"/>
                </a:cubicBezTo>
                <a:cubicBezTo>
                  <a:pt x="18" y="39"/>
                  <a:pt x="18" y="39"/>
                  <a:pt x="18" y="39"/>
                </a:cubicBezTo>
                <a:close/>
                <a:moveTo>
                  <a:pt x="20" y="41"/>
                </a:moveTo>
                <a:cubicBezTo>
                  <a:pt x="20" y="42"/>
                  <a:pt x="20" y="42"/>
                  <a:pt x="20" y="42"/>
                </a:cubicBezTo>
                <a:cubicBezTo>
                  <a:pt x="21" y="42"/>
                  <a:pt x="21" y="42"/>
                  <a:pt x="21" y="42"/>
                </a:cubicBezTo>
                <a:cubicBezTo>
                  <a:pt x="21" y="43"/>
                  <a:pt x="21" y="43"/>
                  <a:pt x="21" y="43"/>
                </a:cubicBezTo>
                <a:cubicBezTo>
                  <a:pt x="22" y="44"/>
                  <a:pt x="22" y="44"/>
                  <a:pt x="22" y="44"/>
                </a:cubicBezTo>
                <a:cubicBezTo>
                  <a:pt x="23" y="45"/>
                  <a:pt x="23" y="45"/>
                  <a:pt x="23" y="45"/>
                </a:cubicBezTo>
                <a:cubicBezTo>
                  <a:pt x="23" y="47"/>
                  <a:pt x="23" y="47"/>
                  <a:pt x="23" y="47"/>
                </a:cubicBezTo>
                <a:cubicBezTo>
                  <a:pt x="24" y="47"/>
                  <a:pt x="24" y="47"/>
                  <a:pt x="24" y="47"/>
                </a:cubicBezTo>
                <a:cubicBezTo>
                  <a:pt x="24" y="48"/>
                  <a:pt x="24" y="48"/>
                  <a:pt x="24" y="48"/>
                </a:cubicBezTo>
                <a:cubicBezTo>
                  <a:pt x="25" y="50"/>
                  <a:pt x="25" y="50"/>
                  <a:pt x="25" y="50"/>
                </a:cubicBezTo>
                <a:cubicBezTo>
                  <a:pt x="26" y="50"/>
                  <a:pt x="26" y="50"/>
                  <a:pt x="26" y="50"/>
                </a:cubicBezTo>
                <a:cubicBezTo>
                  <a:pt x="28" y="49"/>
                  <a:pt x="28" y="49"/>
                  <a:pt x="28" y="49"/>
                </a:cubicBezTo>
                <a:cubicBezTo>
                  <a:pt x="28" y="48"/>
                  <a:pt x="28" y="48"/>
                  <a:pt x="28" y="48"/>
                </a:cubicBezTo>
                <a:cubicBezTo>
                  <a:pt x="28" y="48"/>
                  <a:pt x="28" y="48"/>
                  <a:pt x="28" y="48"/>
                </a:cubicBezTo>
                <a:cubicBezTo>
                  <a:pt x="28" y="47"/>
                  <a:pt x="28" y="47"/>
                  <a:pt x="28" y="47"/>
                </a:cubicBezTo>
                <a:cubicBezTo>
                  <a:pt x="28" y="46"/>
                  <a:pt x="28" y="46"/>
                  <a:pt x="28" y="46"/>
                </a:cubicBezTo>
                <a:cubicBezTo>
                  <a:pt x="28" y="45"/>
                  <a:pt x="28" y="45"/>
                  <a:pt x="28" y="45"/>
                </a:cubicBezTo>
                <a:cubicBezTo>
                  <a:pt x="28" y="44"/>
                  <a:pt x="28" y="44"/>
                  <a:pt x="28" y="44"/>
                </a:cubicBezTo>
                <a:cubicBezTo>
                  <a:pt x="27" y="43"/>
                  <a:pt x="27" y="43"/>
                  <a:pt x="27" y="43"/>
                </a:cubicBezTo>
                <a:cubicBezTo>
                  <a:pt x="24" y="41"/>
                  <a:pt x="24" y="41"/>
                  <a:pt x="24" y="41"/>
                </a:cubicBezTo>
                <a:cubicBezTo>
                  <a:pt x="23" y="41"/>
                  <a:pt x="23" y="41"/>
                  <a:pt x="23" y="41"/>
                </a:cubicBezTo>
                <a:cubicBezTo>
                  <a:pt x="21" y="41"/>
                  <a:pt x="21" y="41"/>
                  <a:pt x="21" y="41"/>
                </a:cubicBezTo>
                <a:cubicBezTo>
                  <a:pt x="20" y="41"/>
                  <a:pt x="20" y="41"/>
                  <a:pt x="20" y="41"/>
                </a:cubicBezTo>
                <a:close/>
                <a:moveTo>
                  <a:pt x="45" y="37"/>
                </a:moveTo>
                <a:cubicBezTo>
                  <a:pt x="44" y="37"/>
                  <a:pt x="44" y="37"/>
                  <a:pt x="44" y="37"/>
                </a:cubicBezTo>
                <a:cubicBezTo>
                  <a:pt x="45" y="39"/>
                  <a:pt x="45" y="39"/>
                  <a:pt x="45" y="39"/>
                </a:cubicBezTo>
                <a:cubicBezTo>
                  <a:pt x="44" y="40"/>
                  <a:pt x="44" y="40"/>
                  <a:pt x="44" y="40"/>
                </a:cubicBezTo>
                <a:cubicBezTo>
                  <a:pt x="44" y="40"/>
                  <a:pt x="44" y="40"/>
                  <a:pt x="44" y="40"/>
                </a:cubicBezTo>
                <a:cubicBezTo>
                  <a:pt x="44" y="41"/>
                  <a:pt x="44" y="41"/>
                  <a:pt x="44" y="41"/>
                </a:cubicBezTo>
                <a:cubicBezTo>
                  <a:pt x="46" y="40"/>
                  <a:pt x="46" y="40"/>
                  <a:pt x="46" y="40"/>
                </a:cubicBezTo>
                <a:cubicBezTo>
                  <a:pt x="46" y="39"/>
                  <a:pt x="46" y="39"/>
                  <a:pt x="46" y="39"/>
                </a:cubicBezTo>
                <a:cubicBezTo>
                  <a:pt x="46" y="38"/>
                  <a:pt x="46" y="38"/>
                  <a:pt x="46" y="38"/>
                </a:cubicBezTo>
                <a:cubicBezTo>
                  <a:pt x="45" y="37"/>
                  <a:pt x="45" y="37"/>
                  <a:pt x="45" y="37"/>
                </a:cubicBezTo>
                <a:close/>
                <a:moveTo>
                  <a:pt x="30" y="42"/>
                </a:moveTo>
                <a:cubicBezTo>
                  <a:pt x="31" y="43"/>
                  <a:pt x="31" y="43"/>
                  <a:pt x="31" y="43"/>
                </a:cubicBezTo>
                <a:cubicBezTo>
                  <a:pt x="31" y="42"/>
                  <a:pt x="31" y="42"/>
                  <a:pt x="31" y="42"/>
                </a:cubicBezTo>
                <a:cubicBezTo>
                  <a:pt x="32" y="42"/>
                  <a:pt x="32" y="42"/>
                  <a:pt x="32" y="42"/>
                </a:cubicBezTo>
                <a:cubicBezTo>
                  <a:pt x="31" y="41"/>
                  <a:pt x="31" y="41"/>
                  <a:pt x="31" y="41"/>
                </a:cubicBezTo>
                <a:cubicBezTo>
                  <a:pt x="30" y="40"/>
                  <a:pt x="30" y="40"/>
                  <a:pt x="30" y="40"/>
                </a:cubicBezTo>
                <a:cubicBezTo>
                  <a:pt x="30" y="41"/>
                  <a:pt x="30" y="41"/>
                  <a:pt x="30" y="41"/>
                </a:cubicBezTo>
                <a:cubicBezTo>
                  <a:pt x="30" y="42"/>
                  <a:pt x="30" y="42"/>
                  <a:pt x="30" y="42"/>
                </a:cubicBezTo>
                <a:close/>
                <a:moveTo>
                  <a:pt x="32" y="47"/>
                </a:moveTo>
                <a:cubicBezTo>
                  <a:pt x="32" y="48"/>
                  <a:pt x="32" y="48"/>
                  <a:pt x="32" y="48"/>
                </a:cubicBezTo>
                <a:cubicBezTo>
                  <a:pt x="31" y="49"/>
                  <a:pt x="31" y="49"/>
                  <a:pt x="31" y="49"/>
                </a:cubicBezTo>
                <a:cubicBezTo>
                  <a:pt x="32" y="51"/>
                  <a:pt x="32" y="51"/>
                  <a:pt x="32" y="51"/>
                </a:cubicBezTo>
                <a:cubicBezTo>
                  <a:pt x="32" y="50"/>
                  <a:pt x="32" y="50"/>
                  <a:pt x="32" y="50"/>
                </a:cubicBezTo>
                <a:cubicBezTo>
                  <a:pt x="33" y="49"/>
                  <a:pt x="33" y="49"/>
                  <a:pt x="33" y="49"/>
                </a:cubicBezTo>
                <a:cubicBezTo>
                  <a:pt x="32" y="48"/>
                  <a:pt x="32" y="48"/>
                  <a:pt x="32" y="48"/>
                </a:cubicBezTo>
                <a:cubicBezTo>
                  <a:pt x="33" y="46"/>
                  <a:pt x="33" y="46"/>
                  <a:pt x="33" y="46"/>
                </a:cubicBezTo>
                <a:cubicBezTo>
                  <a:pt x="32" y="47"/>
                  <a:pt x="32" y="47"/>
                  <a:pt x="32" y="47"/>
                </a:cubicBezTo>
                <a:close/>
                <a:moveTo>
                  <a:pt x="35" y="48"/>
                </a:moveTo>
                <a:cubicBezTo>
                  <a:pt x="35" y="48"/>
                  <a:pt x="35" y="48"/>
                  <a:pt x="35" y="48"/>
                </a:cubicBezTo>
                <a:cubicBezTo>
                  <a:pt x="35" y="49"/>
                  <a:pt x="35" y="49"/>
                  <a:pt x="35" y="49"/>
                </a:cubicBezTo>
                <a:cubicBezTo>
                  <a:pt x="36" y="49"/>
                  <a:pt x="36" y="49"/>
                  <a:pt x="36" y="49"/>
                </a:cubicBezTo>
                <a:cubicBezTo>
                  <a:pt x="36" y="48"/>
                  <a:pt x="36" y="48"/>
                  <a:pt x="36" y="48"/>
                </a:cubicBezTo>
                <a:cubicBezTo>
                  <a:pt x="35" y="48"/>
                  <a:pt x="35" y="48"/>
                  <a:pt x="35" y="48"/>
                </a:cubicBezTo>
                <a:close/>
                <a:moveTo>
                  <a:pt x="39" y="45"/>
                </a:moveTo>
                <a:cubicBezTo>
                  <a:pt x="38" y="43"/>
                  <a:pt x="38" y="43"/>
                  <a:pt x="38" y="43"/>
                </a:cubicBezTo>
                <a:cubicBezTo>
                  <a:pt x="37" y="44"/>
                  <a:pt x="37" y="44"/>
                  <a:pt x="37" y="44"/>
                </a:cubicBezTo>
                <a:cubicBezTo>
                  <a:pt x="37" y="44"/>
                  <a:pt x="37" y="44"/>
                  <a:pt x="37" y="44"/>
                </a:cubicBezTo>
                <a:cubicBezTo>
                  <a:pt x="39" y="46"/>
                  <a:pt x="39" y="46"/>
                  <a:pt x="39" y="46"/>
                </a:cubicBezTo>
                <a:cubicBezTo>
                  <a:pt x="39" y="45"/>
                  <a:pt x="39" y="45"/>
                  <a:pt x="39" y="45"/>
                </a:cubicBezTo>
                <a:cubicBezTo>
                  <a:pt x="39" y="45"/>
                  <a:pt x="39" y="45"/>
                  <a:pt x="39" y="45"/>
                </a:cubicBezTo>
                <a:close/>
                <a:moveTo>
                  <a:pt x="41" y="47"/>
                </a:moveTo>
                <a:cubicBezTo>
                  <a:pt x="42" y="48"/>
                  <a:pt x="42" y="48"/>
                  <a:pt x="42" y="48"/>
                </a:cubicBezTo>
                <a:cubicBezTo>
                  <a:pt x="43" y="49"/>
                  <a:pt x="43" y="49"/>
                  <a:pt x="43" y="49"/>
                </a:cubicBezTo>
                <a:cubicBezTo>
                  <a:pt x="43" y="49"/>
                  <a:pt x="43" y="49"/>
                  <a:pt x="43" y="49"/>
                </a:cubicBezTo>
                <a:cubicBezTo>
                  <a:pt x="42" y="47"/>
                  <a:pt x="42" y="47"/>
                  <a:pt x="42" y="47"/>
                </a:cubicBezTo>
                <a:cubicBezTo>
                  <a:pt x="41" y="47"/>
                  <a:pt x="41" y="47"/>
                  <a:pt x="41" y="47"/>
                </a:cubicBezTo>
                <a:close/>
                <a:moveTo>
                  <a:pt x="39" y="52"/>
                </a:moveTo>
                <a:cubicBezTo>
                  <a:pt x="40" y="50"/>
                  <a:pt x="40" y="50"/>
                  <a:pt x="40" y="50"/>
                </a:cubicBezTo>
                <a:cubicBezTo>
                  <a:pt x="41" y="50"/>
                  <a:pt x="41" y="50"/>
                  <a:pt x="41" y="50"/>
                </a:cubicBezTo>
                <a:cubicBezTo>
                  <a:pt x="43" y="52"/>
                  <a:pt x="43" y="52"/>
                  <a:pt x="43" y="52"/>
                </a:cubicBezTo>
                <a:cubicBezTo>
                  <a:pt x="44" y="52"/>
                  <a:pt x="44" y="52"/>
                  <a:pt x="44" y="52"/>
                </a:cubicBezTo>
                <a:cubicBezTo>
                  <a:pt x="45" y="52"/>
                  <a:pt x="45" y="52"/>
                  <a:pt x="45" y="52"/>
                </a:cubicBezTo>
                <a:cubicBezTo>
                  <a:pt x="45" y="51"/>
                  <a:pt x="45" y="51"/>
                  <a:pt x="45" y="51"/>
                </a:cubicBezTo>
                <a:cubicBezTo>
                  <a:pt x="44" y="50"/>
                  <a:pt x="44" y="50"/>
                  <a:pt x="44" y="50"/>
                </a:cubicBezTo>
                <a:cubicBezTo>
                  <a:pt x="42" y="49"/>
                  <a:pt x="42" y="49"/>
                  <a:pt x="42" y="49"/>
                </a:cubicBezTo>
                <a:cubicBezTo>
                  <a:pt x="42" y="49"/>
                  <a:pt x="42" y="49"/>
                  <a:pt x="42" y="49"/>
                </a:cubicBezTo>
                <a:cubicBezTo>
                  <a:pt x="41" y="48"/>
                  <a:pt x="41" y="48"/>
                  <a:pt x="41" y="48"/>
                </a:cubicBezTo>
                <a:cubicBezTo>
                  <a:pt x="40" y="48"/>
                  <a:pt x="40" y="48"/>
                  <a:pt x="40" y="48"/>
                </a:cubicBezTo>
                <a:cubicBezTo>
                  <a:pt x="40" y="48"/>
                  <a:pt x="40" y="48"/>
                  <a:pt x="40" y="48"/>
                </a:cubicBezTo>
                <a:cubicBezTo>
                  <a:pt x="39" y="47"/>
                  <a:pt x="39" y="47"/>
                  <a:pt x="39" y="47"/>
                </a:cubicBezTo>
                <a:cubicBezTo>
                  <a:pt x="39" y="49"/>
                  <a:pt x="39" y="49"/>
                  <a:pt x="39" y="49"/>
                </a:cubicBezTo>
                <a:cubicBezTo>
                  <a:pt x="40" y="50"/>
                  <a:pt x="40" y="50"/>
                  <a:pt x="40" y="50"/>
                </a:cubicBezTo>
                <a:cubicBezTo>
                  <a:pt x="39" y="50"/>
                  <a:pt x="39" y="50"/>
                  <a:pt x="39" y="50"/>
                </a:cubicBezTo>
                <a:cubicBezTo>
                  <a:pt x="39" y="51"/>
                  <a:pt x="39" y="51"/>
                  <a:pt x="39" y="51"/>
                </a:cubicBezTo>
                <a:cubicBezTo>
                  <a:pt x="39" y="52"/>
                  <a:pt x="39" y="52"/>
                  <a:pt x="39" y="52"/>
                </a:cubicBezTo>
                <a:close/>
                <a:moveTo>
                  <a:pt x="33" y="61"/>
                </a:moveTo>
                <a:cubicBezTo>
                  <a:pt x="33" y="61"/>
                  <a:pt x="33" y="61"/>
                  <a:pt x="33" y="61"/>
                </a:cubicBezTo>
                <a:cubicBezTo>
                  <a:pt x="32" y="62"/>
                  <a:pt x="32" y="62"/>
                  <a:pt x="32" y="62"/>
                </a:cubicBezTo>
                <a:cubicBezTo>
                  <a:pt x="32" y="59"/>
                  <a:pt x="32" y="59"/>
                  <a:pt x="32" y="59"/>
                </a:cubicBezTo>
                <a:cubicBezTo>
                  <a:pt x="32" y="58"/>
                  <a:pt x="32" y="58"/>
                  <a:pt x="32" y="58"/>
                </a:cubicBezTo>
                <a:cubicBezTo>
                  <a:pt x="32" y="56"/>
                  <a:pt x="32" y="56"/>
                  <a:pt x="32" y="56"/>
                </a:cubicBezTo>
                <a:cubicBezTo>
                  <a:pt x="32" y="55"/>
                  <a:pt x="32" y="55"/>
                  <a:pt x="32" y="55"/>
                </a:cubicBezTo>
                <a:cubicBezTo>
                  <a:pt x="32" y="53"/>
                  <a:pt x="32" y="53"/>
                  <a:pt x="32" y="53"/>
                </a:cubicBezTo>
                <a:cubicBezTo>
                  <a:pt x="32" y="53"/>
                  <a:pt x="32" y="53"/>
                  <a:pt x="32" y="53"/>
                </a:cubicBezTo>
                <a:cubicBezTo>
                  <a:pt x="30" y="53"/>
                  <a:pt x="30" y="53"/>
                  <a:pt x="30" y="53"/>
                </a:cubicBezTo>
                <a:cubicBezTo>
                  <a:pt x="31" y="52"/>
                  <a:pt x="31" y="52"/>
                  <a:pt x="31" y="52"/>
                </a:cubicBezTo>
                <a:cubicBezTo>
                  <a:pt x="32" y="52"/>
                  <a:pt x="32" y="52"/>
                  <a:pt x="32" y="52"/>
                </a:cubicBezTo>
                <a:cubicBezTo>
                  <a:pt x="33" y="53"/>
                  <a:pt x="33" y="53"/>
                  <a:pt x="33" y="53"/>
                </a:cubicBezTo>
                <a:cubicBezTo>
                  <a:pt x="34" y="53"/>
                  <a:pt x="34" y="53"/>
                  <a:pt x="34" y="53"/>
                </a:cubicBezTo>
                <a:cubicBezTo>
                  <a:pt x="34" y="54"/>
                  <a:pt x="34" y="54"/>
                  <a:pt x="34" y="54"/>
                </a:cubicBezTo>
                <a:cubicBezTo>
                  <a:pt x="35" y="54"/>
                  <a:pt x="35" y="54"/>
                  <a:pt x="35" y="54"/>
                </a:cubicBezTo>
                <a:cubicBezTo>
                  <a:pt x="36" y="54"/>
                  <a:pt x="36" y="54"/>
                  <a:pt x="36" y="54"/>
                </a:cubicBezTo>
                <a:cubicBezTo>
                  <a:pt x="37" y="54"/>
                  <a:pt x="37" y="54"/>
                  <a:pt x="37" y="54"/>
                </a:cubicBezTo>
                <a:cubicBezTo>
                  <a:pt x="38" y="55"/>
                  <a:pt x="38" y="55"/>
                  <a:pt x="38" y="55"/>
                </a:cubicBezTo>
                <a:cubicBezTo>
                  <a:pt x="38" y="54"/>
                  <a:pt x="38" y="54"/>
                  <a:pt x="38" y="54"/>
                </a:cubicBezTo>
                <a:cubicBezTo>
                  <a:pt x="39" y="54"/>
                  <a:pt x="39" y="54"/>
                  <a:pt x="39" y="54"/>
                </a:cubicBezTo>
                <a:cubicBezTo>
                  <a:pt x="40" y="55"/>
                  <a:pt x="40" y="55"/>
                  <a:pt x="40" y="55"/>
                </a:cubicBezTo>
                <a:cubicBezTo>
                  <a:pt x="39" y="56"/>
                  <a:pt x="39" y="56"/>
                  <a:pt x="39" y="56"/>
                </a:cubicBezTo>
                <a:cubicBezTo>
                  <a:pt x="39" y="56"/>
                  <a:pt x="39" y="56"/>
                  <a:pt x="39" y="56"/>
                </a:cubicBezTo>
                <a:cubicBezTo>
                  <a:pt x="38" y="57"/>
                  <a:pt x="38" y="57"/>
                  <a:pt x="38" y="57"/>
                </a:cubicBezTo>
                <a:cubicBezTo>
                  <a:pt x="37" y="59"/>
                  <a:pt x="37" y="59"/>
                  <a:pt x="37" y="59"/>
                </a:cubicBezTo>
                <a:cubicBezTo>
                  <a:pt x="36" y="60"/>
                  <a:pt x="36" y="60"/>
                  <a:pt x="36" y="60"/>
                </a:cubicBezTo>
                <a:cubicBezTo>
                  <a:pt x="36" y="60"/>
                  <a:pt x="36" y="60"/>
                  <a:pt x="36" y="60"/>
                </a:cubicBezTo>
                <a:cubicBezTo>
                  <a:pt x="35" y="60"/>
                  <a:pt x="35" y="60"/>
                  <a:pt x="35" y="60"/>
                </a:cubicBezTo>
                <a:cubicBezTo>
                  <a:pt x="35" y="60"/>
                  <a:pt x="35" y="60"/>
                  <a:pt x="35" y="60"/>
                </a:cubicBezTo>
                <a:cubicBezTo>
                  <a:pt x="33" y="61"/>
                  <a:pt x="33" y="61"/>
                  <a:pt x="33" y="61"/>
                </a:cubicBezTo>
                <a:close/>
                <a:moveTo>
                  <a:pt x="36" y="60"/>
                </a:moveTo>
                <a:cubicBezTo>
                  <a:pt x="35" y="60"/>
                  <a:pt x="35" y="60"/>
                  <a:pt x="35" y="60"/>
                </a:cubicBezTo>
                <a:cubicBezTo>
                  <a:pt x="35" y="62"/>
                  <a:pt x="35" y="62"/>
                  <a:pt x="35" y="62"/>
                </a:cubicBezTo>
                <a:cubicBezTo>
                  <a:pt x="36" y="62"/>
                  <a:pt x="36" y="62"/>
                  <a:pt x="36" y="62"/>
                </a:cubicBezTo>
                <a:cubicBezTo>
                  <a:pt x="37" y="61"/>
                  <a:pt x="37" y="61"/>
                  <a:pt x="37" y="61"/>
                </a:cubicBezTo>
                <a:cubicBezTo>
                  <a:pt x="37" y="60"/>
                  <a:pt x="37" y="60"/>
                  <a:pt x="37" y="60"/>
                </a:cubicBezTo>
                <a:cubicBezTo>
                  <a:pt x="36" y="60"/>
                  <a:pt x="36" y="60"/>
                  <a:pt x="36" y="60"/>
                </a:cubicBezTo>
                <a:close/>
                <a:moveTo>
                  <a:pt x="47" y="60"/>
                </a:moveTo>
                <a:cubicBezTo>
                  <a:pt x="47" y="61"/>
                  <a:pt x="47" y="61"/>
                  <a:pt x="47" y="61"/>
                </a:cubicBezTo>
                <a:cubicBezTo>
                  <a:pt x="46" y="60"/>
                  <a:pt x="46" y="60"/>
                  <a:pt x="46" y="60"/>
                </a:cubicBezTo>
                <a:cubicBezTo>
                  <a:pt x="47" y="60"/>
                  <a:pt x="47" y="60"/>
                  <a:pt x="47" y="60"/>
                </a:cubicBezTo>
                <a:close/>
                <a:moveTo>
                  <a:pt x="41" y="68"/>
                </a:moveTo>
                <a:cubicBezTo>
                  <a:pt x="42" y="67"/>
                  <a:pt x="42" y="67"/>
                  <a:pt x="42" y="67"/>
                </a:cubicBezTo>
                <a:cubicBezTo>
                  <a:pt x="43" y="64"/>
                  <a:pt x="43" y="64"/>
                  <a:pt x="43" y="64"/>
                </a:cubicBezTo>
                <a:cubicBezTo>
                  <a:pt x="45" y="62"/>
                  <a:pt x="45" y="62"/>
                  <a:pt x="45" y="62"/>
                </a:cubicBezTo>
                <a:cubicBezTo>
                  <a:pt x="45" y="61"/>
                  <a:pt x="45" y="61"/>
                  <a:pt x="45" y="61"/>
                </a:cubicBezTo>
                <a:cubicBezTo>
                  <a:pt x="45" y="60"/>
                  <a:pt x="45" y="60"/>
                  <a:pt x="45" y="60"/>
                </a:cubicBezTo>
                <a:cubicBezTo>
                  <a:pt x="45" y="59"/>
                  <a:pt x="45" y="59"/>
                  <a:pt x="45" y="59"/>
                </a:cubicBezTo>
                <a:cubicBezTo>
                  <a:pt x="45" y="57"/>
                  <a:pt x="45" y="57"/>
                  <a:pt x="45" y="57"/>
                </a:cubicBezTo>
                <a:cubicBezTo>
                  <a:pt x="44" y="57"/>
                  <a:pt x="44" y="57"/>
                  <a:pt x="44" y="57"/>
                </a:cubicBezTo>
                <a:cubicBezTo>
                  <a:pt x="44" y="59"/>
                  <a:pt x="44" y="59"/>
                  <a:pt x="44" y="59"/>
                </a:cubicBezTo>
                <a:cubicBezTo>
                  <a:pt x="43" y="61"/>
                  <a:pt x="43" y="61"/>
                  <a:pt x="43" y="61"/>
                </a:cubicBezTo>
                <a:cubicBezTo>
                  <a:pt x="43" y="63"/>
                  <a:pt x="43" y="63"/>
                  <a:pt x="43" y="63"/>
                </a:cubicBezTo>
                <a:cubicBezTo>
                  <a:pt x="42" y="64"/>
                  <a:pt x="42" y="64"/>
                  <a:pt x="42" y="64"/>
                </a:cubicBezTo>
                <a:cubicBezTo>
                  <a:pt x="41" y="66"/>
                  <a:pt x="41" y="66"/>
                  <a:pt x="41" y="66"/>
                </a:cubicBezTo>
                <a:cubicBezTo>
                  <a:pt x="41" y="67"/>
                  <a:pt x="41" y="67"/>
                  <a:pt x="41" y="67"/>
                </a:cubicBezTo>
                <a:cubicBezTo>
                  <a:pt x="41" y="68"/>
                  <a:pt x="41" y="68"/>
                  <a:pt x="41" y="68"/>
                </a:cubicBezTo>
                <a:close/>
                <a:moveTo>
                  <a:pt x="40" y="67"/>
                </a:moveTo>
                <a:cubicBezTo>
                  <a:pt x="40" y="65"/>
                  <a:pt x="40" y="65"/>
                  <a:pt x="40" y="65"/>
                </a:cubicBezTo>
                <a:cubicBezTo>
                  <a:pt x="41" y="61"/>
                  <a:pt x="41" y="61"/>
                  <a:pt x="41" y="61"/>
                </a:cubicBezTo>
                <a:cubicBezTo>
                  <a:pt x="42" y="60"/>
                  <a:pt x="42" y="60"/>
                  <a:pt x="42" y="60"/>
                </a:cubicBezTo>
                <a:cubicBezTo>
                  <a:pt x="42" y="59"/>
                  <a:pt x="42" y="59"/>
                  <a:pt x="42" y="59"/>
                </a:cubicBezTo>
                <a:cubicBezTo>
                  <a:pt x="41" y="58"/>
                  <a:pt x="41" y="58"/>
                  <a:pt x="41" y="58"/>
                </a:cubicBezTo>
                <a:cubicBezTo>
                  <a:pt x="40" y="59"/>
                  <a:pt x="40" y="59"/>
                  <a:pt x="40" y="59"/>
                </a:cubicBezTo>
                <a:cubicBezTo>
                  <a:pt x="40" y="58"/>
                  <a:pt x="40" y="58"/>
                  <a:pt x="40" y="58"/>
                </a:cubicBezTo>
                <a:cubicBezTo>
                  <a:pt x="39" y="59"/>
                  <a:pt x="39" y="59"/>
                  <a:pt x="39" y="59"/>
                </a:cubicBezTo>
                <a:cubicBezTo>
                  <a:pt x="39" y="60"/>
                  <a:pt x="39" y="60"/>
                  <a:pt x="39" y="60"/>
                </a:cubicBezTo>
                <a:cubicBezTo>
                  <a:pt x="38" y="61"/>
                  <a:pt x="38" y="61"/>
                  <a:pt x="38" y="61"/>
                </a:cubicBezTo>
                <a:cubicBezTo>
                  <a:pt x="38" y="63"/>
                  <a:pt x="38" y="63"/>
                  <a:pt x="38" y="63"/>
                </a:cubicBezTo>
                <a:cubicBezTo>
                  <a:pt x="37" y="65"/>
                  <a:pt x="37" y="65"/>
                  <a:pt x="37" y="65"/>
                </a:cubicBezTo>
                <a:cubicBezTo>
                  <a:pt x="35" y="65"/>
                  <a:pt x="35" y="65"/>
                  <a:pt x="35" y="65"/>
                </a:cubicBezTo>
                <a:cubicBezTo>
                  <a:pt x="35" y="66"/>
                  <a:pt x="35" y="66"/>
                  <a:pt x="35" y="66"/>
                </a:cubicBezTo>
                <a:cubicBezTo>
                  <a:pt x="35" y="68"/>
                  <a:pt x="35" y="68"/>
                  <a:pt x="35" y="68"/>
                </a:cubicBezTo>
                <a:cubicBezTo>
                  <a:pt x="36" y="68"/>
                  <a:pt x="36" y="68"/>
                  <a:pt x="36" y="68"/>
                </a:cubicBezTo>
                <a:cubicBezTo>
                  <a:pt x="37" y="69"/>
                  <a:pt x="37" y="69"/>
                  <a:pt x="37" y="69"/>
                </a:cubicBezTo>
                <a:cubicBezTo>
                  <a:pt x="39" y="69"/>
                  <a:pt x="39" y="69"/>
                  <a:pt x="39" y="69"/>
                </a:cubicBezTo>
                <a:cubicBezTo>
                  <a:pt x="39" y="70"/>
                  <a:pt x="39" y="70"/>
                  <a:pt x="39" y="70"/>
                </a:cubicBezTo>
                <a:cubicBezTo>
                  <a:pt x="40" y="71"/>
                  <a:pt x="40" y="71"/>
                  <a:pt x="40" y="71"/>
                </a:cubicBezTo>
                <a:cubicBezTo>
                  <a:pt x="41" y="70"/>
                  <a:pt x="41" y="70"/>
                  <a:pt x="41" y="70"/>
                </a:cubicBezTo>
                <a:cubicBezTo>
                  <a:pt x="41" y="69"/>
                  <a:pt x="41" y="69"/>
                  <a:pt x="41" y="69"/>
                </a:cubicBezTo>
                <a:cubicBezTo>
                  <a:pt x="40" y="67"/>
                  <a:pt x="40" y="67"/>
                  <a:pt x="40" y="67"/>
                </a:cubicBezTo>
                <a:close/>
                <a:moveTo>
                  <a:pt x="43" y="69"/>
                </a:moveTo>
                <a:cubicBezTo>
                  <a:pt x="44" y="70"/>
                  <a:pt x="44" y="70"/>
                  <a:pt x="44" y="70"/>
                </a:cubicBezTo>
                <a:cubicBezTo>
                  <a:pt x="44" y="71"/>
                  <a:pt x="44" y="71"/>
                  <a:pt x="44" y="71"/>
                </a:cubicBezTo>
                <a:cubicBezTo>
                  <a:pt x="43" y="71"/>
                  <a:pt x="43" y="71"/>
                  <a:pt x="43" y="71"/>
                </a:cubicBezTo>
                <a:cubicBezTo>
                  <a:pt x="42" y="70"/>
                  <a:pt x="42" y="70"/>
                  <a:pt x="42" y="70"/>
                </a:cubicBezTo>
                <a:cubicBezTo>
                  <a:pt x="42" y="70"/>
                  <a:pt x="42" y="70"/>
                  <a:pt x="42" y="70"/>
                </a:cubicBezTo>
                <a:cubicBezTo>
                  <a:pt x="43" y="69"/>
                  <a:pt x="43" y="69"/>
                  <a:pt x="43" y="69"/>
                </a:cubicBezTo>
                <a:close/>
                <a:moveTo>
                  <a:pt x="47" y="64"/>
                </a:moveTo>
                <a:cubicBezTo>
                  <a:pt x="48" y="64"/>
                  <a:pt x="48" y="64"/>
                  <a:pt x="48" y="64"/>
                </a:cubicBezTo>
                <a:cubicBezTo>
                  <a:pt x="49" y="64"/>
                  <a:pt x="49" y="64"/>
                  <a:pt x="49" y="64"/>
                </a:cubicBezTo>
                <a:cubicBezTo>
                  <a:pt x="49" y="66"/>
                  <a:pt x="49" y="66"/>
                  <a:pt x="49" y="66"/>
                </a:cubicBezTo>
                <a:cubicBezTo>
                  <a:pt x="48" y="66"/>
                  <a:pt x="48" y="66"/>
                  <a:pt x="48" y="66"/>
                </a:cubicBezTo>
                <a:cubicBezTo>
                  <a:pt x="46" y="67"/>
                  <a:pt x="46" y="67"/>
                  <a:pt x="46" y="67"/>
                </a:cubicBezTo>
                <a:cubicBezTo>
                  <a:pt x="45" y="67"/>
                  <a:pt x="45" y="67"/>
                  <a:pt x="45" y="67"/>
                </a:cubicBezTo>
                <a:cubicBezTo>
                  <a:pt x="45" y="67"/>
                  <a:pt x="45" y="67"/>
                  <a:pt x="45" y="67"/>
                </a:cubicBezTo>
                <a:cubicBezTo>
                  <a:pt x="44" y="66"/>
                  <a:pt x="44" y="66"/>
                  <a:pt x="44" y="66"/>
                </a:cubicBezTo>
                <a:cubicBezTo>
                  <a:pt x="45" y="65"/>
                  <a:pt x="45" y="65"/>
                  <a:pt x="45" y="65"/>
                </a:cubicBezTo>
                <a:cubicBezTo>
                  <a:pt x="47" y="64"/>
                  <a:pt x="47" y="64"/>
                  <a:pt x="47" y="64"/>
                </a:cubicBezTo>
                <a:close/>
                <a:moveTo>
                  <a:pt x="53" y="64"/>
                </a:moveTo>
                <a:cubicBezTo>
                  <a:pt x="53" y="65"/>
                  <a:pt x="53" y="65"/>
                  <a:pt x="53" y="65"/>
                </a:cubicBezTo>
                <a:cubicBezTo>
                  <a:pt x="53" y="66"/>
                  <a:pt x="53" y="66"/>
                  <a:pt x="53" y="66"/>
                </a:cubicBezTo>
                <a:cubicBezTo>
                  <a:pt x="53" y="65"/>
                  <a:pt x="53" y="65"/>
                  <a:pt x="53" y="65"/>
                </a:cubicBezTo>
                <a:cubicBezTo>
                  <a:pt x="53" y="64"/>
                  <a:pt x="53" y="64"/>
                  <a:pt x="53" y="64"/>
                </a:cubicBezTo>
                <a:close/>
                <a:moveTo>
                  <a:pt x="49" y="69"/>
                </a:moveTo>
                <a:cubicBezTo>
                  <a:pt x="50" y="70"/>
                  <a:pt x="50" y="70"/>
                  <a:pt x="50" y="70"/>
                </a:cubicBezTo>
                <a:cubicBezTo>
                  <a:pt x="50" y="71"/>
                  <a:pt x="50" y="71"/>
                  <a:pt x="50" y="71"/>
                </a:cubicBezTo>
                <a:cubicBezTo>
                  <a:pt x="49" y="70"/>
                  <a:pt x="49" y="70"/>
                  <a:pt x="49" y="70"/>
                </a:cubicBezTo>
                <a:cubicBezTo>
                  <a:pt x="49" y="69"/>
                  <a:pt x="49" y="69"/>
                  <a:pt x="49" y="69"/>
                </a:cubicBezTo>
                <a:cubicBezTo>
                  <a:pt x="49" y="69"/>
                  <a:pt x="49" y="69"/>
                  <a:pt x="49" y="69"/>
                </a:cubicBezTo>
                <a:close/>
                <a:moveTo>
                  <a:pt x="48" y="54"/>
                </a:moveTo>
                <a:cubicBezTo>
                  <a:pt x="48" y="55"/>
                  <a:pt x="48" y="55"/>
                  <a:pt x="48" y="55"/>
                </a:cubicBezTo>
                <a:cubicBezTo>
                  <a:pt x="47" y="55"/>
                  <a:pt x="47" y="55"/>
                  <a:pt x="47" y="55"/>
                </a:cubicBezTo>
                <a:cubicBezTo>
                  <a:pt x="46" y="55"/>
                  <a:pt x="46" y="55"/>
                  <a:pt x="46" y="55"/>
                </a:cubicBezTo>
                <a:cubicBezTo>
                  <a:pt x="47" y="54"/>
                  <a:pt x="47" y="54"/>
                  <a:pt x="47" y="54"/>
                </a:cubicBezTo>
                <a:cubicBezTo>
                  <a:pt x="48" y="54"/>
                  <a:pt x="48" y="54"/>
                  <a:pt x="48" y="54"/>
                </a:cubicBezTo>
                <a:close/>
                <a:moveTo>
                  <a:pt x="51" y="56"/>
                </a:moveTo>
                <a:cubicBezTo>
                  <a:pt x="52" y="56"/>
                  <a:pt x="52" y="56"/>
                  <a:pt x="52" y="56"/>
                </a:cubicBezTo>
                <a:cubicBezTo>
                  <a:pt x="52" y="57"/>
                  <a:pt x="52" y="57"/>
                  <a:pt x="52" y="57"/>
                </a:cubicBezTo>
                <a:cubicBezTo>
                  <a:pt x="54" y="57"/>
                  <a:pt x="54" y="57"/>
                  <a:pt x="54" y="57"/>
                </a:cubicBezTo>
                <a:cubicBezTo>
                  <a:pt x="55" y="57"/>
                  <a:pt x="55" y="57"/>
                  <a:pt x="55" y="57"/>
                </a:cubicBezTo>
                <a:cubicBezTo>
                  <a:pt x="55" y="57"/>
                  <a:pt x="55" y="57"/>
                  <a:pt x="55" y="57"/>
                </a:cubicBezTo>
                <a:cubicBezTo>
                  <a:pt x="56" y="57"/>
                  <a:pt x="56" y="57"/>
                  <a:pt x="56" y="57"/>
                </a:cubicBezTo>
                <a:cubicBezTo>
                  <a:pt x="55" y="57"/>
                  <a:pt x="55" y="57"/>
                  <a:pt x="55" y="57"/>
                </a:cubicBezTo>
                <a:cubicBezTo>
                  <a:pt x="55" y="55"/>
                  <a:pt x="55" y="55"/>
                  <a:pt x="55" y="55"/>
                </a:cubicBezTo>
                <a:cubicBezTo>
                  <a:pt x="54" y="55"/>
                  <a:pt x="54" y="55"/>
                  <a:pt x="54" y="55"/>
                </a:cubicBezTo>
                <a:cubicBezTo>
                  <a:pt x="54" y="53"/>
                  <a:pt x="54" y="53"/>
                  <a:pt x="54" y="53"/>
                </a:cubicBezTo>
                <a:cubicBezTo>
                  <a:pt x="54" y="51"/>
                  <a:pt x="54" y="51"/>
                  <a:pt x="54" y="51"/>
                </a:cubicBezTo>
                <a:cubicBezTo>
                  <a:pt x="54" y="50"/>
                  <a:pt x="54" y="50"/>
                  <a:pt x="54" y="50"/>
                </a:cubicBezTo>
                <a:cubicBezTo>
                  <a:pt x="53" y="50"/>
                  <a:pt x="53" y="50"/>
                  <a:pt x="53" y="50"/>
                </a:cubicBezTo>
                <a:cubicBezTo>
                  <a:pt x="52" y="48"/>
                  <a:pt x="52" y="48"/>
                  <a:pt x="52" y="48"/>
                </a:cubicBezTo>
                <a:cubicBezTo>
                  <a:pt x="52" y="47"/>
                  <a:pt x="52" y="47"/>
                  <a:pt x="52" y="47"/>
                </a:cubicBezTo>
                <a:cubicBezTo>
                  <a:pt x="51" y="47"/>
                  <a:pt x="51" y="47"/>
                  <a:pt x="51" y="47"/>
                </a:cubicBezTo>
                <a:cubicBezTo>
                  <a:pt x="51" y="47"/>
                  <a:pt x="51" y="47"/>
                  <a:pt x="51" y="47"/>
                </a:cubicBezTo>
                <a:cubicBezTo>
                  <a:pt x="50" y="47"/>
                  <a:pt x="50" y="47"/>
                  <a:pt x="50" y="47"/>
                </a:cubicBezTo>
                <a:cubicBezTo>
                  <a:pt x="49" y="47"/>
                  <a:pt x="49" y="47"/>
                  <a:pt x="49" y="47"/>
                </a:cubicBezTo>
                <a:cubicBezTo>
                  <a:pt x="49" y="48"/>
                  <a:pt x="49" y="48"/>
                  <a:pt x="49" y="48"/>
                </a:cubicBezTo>
                <a:cubicBezTo>
                  <a:pt x="48" y="48"/>
                  <a:pt x="48" y="48"/>
                  <a:pt x="48" y="48"/>
                </a:cubicBezTo>
                <a:cubicBezTo>
                  <a:pt x="47" y="48"/>
                  <a:pt x="47" y="48"/>
                  <a:pt x="47" y="48"/>
                </a:cubicBezTo>
                <a:cubicBezTo>
                  <a:pt x="46" y="47"/>
                  <a:pt x="46" y="47"/>
                  <a:pt x="46" y="47"/>
                </a:cubicBezTo>
                <a:cubicBezTo>
                  <a:pt x="46" y="48"/>
                  <a:pt x="46" y="48"/>
                  <a:pt x="46" y="48"/>
                </a:cubicBezTo>
                <a:cubicBezTo>
                  <a:pt x="47" y="50"/>
                  <a:pt x="47" y="50"/>
                  <a:pt x="47" y="50"/>
                </a:cubicBezTo>
                <a:cubicBezTo>
                  <a:pt x="49" y="51"/>
                  <a:pt x="49" y="51"/>
                  <a:pt x="49" y="51"/>
                </a:cubicBezTo>
                <a:cubicBezTo>
                  <a:pt x="50" y="53"/>
                  <a:pt x="50" y="53"/>
                  <a:pt x="50" y="53"/>
                </a:cubicBezTo>
                <a:cubicBezTo>
                  <a:pt x="51" y="54"/>
                  <a:pt x="51" y="54"/>
                  <a:pt x="51" y="54"/>
                </a:cubicBezTo>
                <a:cubicBezTo>
                  <a:pt x="51" y="54"/>
                  <a:pt x="51" y="54"/>
                  <a:pt x="51" y="54"/>
                </a:cubicBezTo>
                <a:cubicBezTo>
                  <a:pt x="50" y="55"/>
                  <a:pt x="50" y="55"/>
                  <a:pt x="50" y="55"/>
                </a:cubicBezTo>
                <a:cubicBezTo>
                  <a:pt x="50" y="55"/>
                  <a:pt x="50" y="55"/>
                  <a:pt x="50" y="55"/>
                </a:cubicBezTo>
                <a:cubicBezTo>
                  <a:pt x="50" y="55"/>
                  <a:pt x="50" y="55"/>
                  <a:pt x="50" y="55"/>
                </a:cubicBezTo>
                <a:cubicBezTo>
                  <a:pt x="51" y="55"/>
                  <a:pt x="51" y="55"/>
                  <a:pt x="51" y="55"/>
                </a:cubicBezTo>
                <a:cubicBezTo>
                  <a:pt x="51" y="56"/>
                  <a:pt x="51" y="56"/>
                  <a:pt x="51" y="56"/>
                </a:cubicBezTo>
                <a:close/>
                <a:moveTo>
                  <a:pt x="50" y="56"/>
                </a:moveTo>
                <a:cubicBezTo>
                  <a:pt x="49" y="56"/>
                  <a:pt x="49" y="56"/>
                  <a:pt x="49" y="56"/>
                </a:cubicBezTo>
                <a:cubicBezTo>
                  <a:pt x="48" y="56"/>
                  <a:pt x="48" y="56"/>
                  <a:pt x="48" y="56"/>
                </a:cubicBezTo>
                <a:cubicBezTo>
                  <a:pt x="47" y="56"/>
                  <a:pt x="47" y="56"/>
                  <a:pt x="47" y="56"/>
                </a:cubicBezTo>
                <a:cubicBezTo>
                  <a:pt x="47" y="57"/>
                  <a:pt x="47" y="57"/>
                  <a:pt x="47" y="57"/>
                </a:cubicBezTo>
                <a:cubicBezTo>
                  <a:pt x="47" y="58"/>
                  <a:pt x="47" y="58"/>
                  <a:pt x="47" y="58"/>
                </a:cubicBezTo>
                <a:cubicBezTo>
                  <a:pt x="48" y="59"/>
                  <a:pt x="48" y="59"/>
                  <a:pt x="48" y="59"/>
                </a:cubicBezTo>
                <a:cubicBezTo>
                  <a:pt x="49" y="58"/>
                  <a:pt x="49" y="58"/>
                  <a:pt x="49" y="58"/>
                </a:cubicBezTo>
                <a:cubicBezTo>
                  <a:pt x="49" y="59"/>
                  <a:pt x="49" y="59"/>
                  <a:pt x="49" y="59"/>
                </a:cubicBezTo>
                <a:cubicBezTo>
                  <a:pt x="49" y="61"/>
                  <a:pt x="49" y="61"/>
                  <a:pt x="49" y="61"/>
                </a:cubicBezTo>
                <a:cubicBezTo>
                  <a:pt x="50" y="62"/>
                  <a:pt x="50" y="62"/>
                  <a:pt x="50" y="62"/>
                </a:cubicBezTo>
                <a:cubicBezTo>
                  <a:pt x="50" y="64"/>
                  <a:pt x="50" y="64"/>
                  <a:pt x="50" y="64"/>
                </a:cubicBezTo>
                <a:cubicBezTo>
                  <a:pt x="51" y="64"/>
                  <a:pt x="51" y="64"/>
                  <a:pt x="51" y="64"/>
                </a:cubicBezTo>
                <a:cubicBezTo>
                  <a:pt x="51" y="63"/>
                  <a:pt x="51" y="63"/>
                  <a:pt x="51" y="63"/>
                </a:cubicBezTo>
                <a:cubicBezTo>
                  <a:pt x="52" y="64"/>
                  <a:pt x="52" y="64"/>
                  <a:pt x="52" y="64"/>
                </a:cubicBezTo>
                <a:cubicBezTo>
                  <a:pt x="53" y="63"/>
                  <a:pt x="53" y="63"/>
                  <a:pt x="53" y="63"/>
                </a:cubicBezTo>
                <a:cubicBezTo>
                  <a:pt x="53" y="62"/>
                  <a:pt x="53" y="62"/>
                  <a:pt x="53" y="62"/>
                </a:cubicBezTo>
                <a:cubicBezTo>
                  <a:pt x="52" y="60"/>
                  <a:pt x="52" y="60"/>
                  <a:pt x="52" y="60"/>
                </a:cubicBezTo>
                <a:cubicBezTo>
                  <a:pt x="51" y="60"/>
                  <a:pt x="51" y="60"/>
                  <a:pt x="51" y="60"/>
                </a:cubicBezTo>
                <a:cubicBezTo>
                  <a:pt x="51" y="58"/>
                  <a:pt x="51" y="58"/>
                  <a:pt x="51" y="58"/>
                </a:cubicBezTo>
                <a:cubicBezTo>
                  <a:pt x="50" y="56"/>
                  <a:pt x="50" y="56"/>
                  <a:pt x="50" y="56"/>
                </a:cubicBezTo>
                <a:cubicBezTo>
                  <a:pt x="50" y="56"/>
                  <a:pt x="50" y="56"/>
                  <a:pt x="50" y="56"/>
                </a:cubicBezTo>
                <a:close/>
                <a:moveTo>
                  <a:pt x="56" y="59"/>
                </a:moveTo>
                <a:cubicBezTo>
                  <a:pt x="57" y="59"/>
                  <a:pt x="57" y="59"/>
                  <a:pt x="57" y="59"/>
                </a:cubicBezTo>
                <a:cubicBezTo>
                  <a:pt x="56" y="58"/>
                  <a:pt x="56" y="58"/>
                  <a:pt x="56" y="58"/>
                </a:cubicBezTo>
                <a:cubicBezTo>
                  <a:pt x="56" y="58"/>
                  <a:pt x="56" y="58"/>
                  <a:pt x="56" y="58"/>
                </a:cubicBezTo>
                <a:cubicBezTo>
                  <a:pt x="56" y="59"/>
                  <a:pt x="56" y="59"/>
                  <a:pt x="56" y="59"/>
                </a:cubicBezTo>
                <a:close/>
                <a:moveTo>
                  <a:pt x="56" y="60"/>
                </a:moveTo>
                <a:cubicBezTo>
                  <a:pt x="56" y="60"/>
                  <a:pt x="56" y="60"/>
                  <a:pt x="56" y="60"/>
                </a:cubicBezTo>
                <a:cubicBezTo>
                  <a:pt x="56" y="60"/>
                  <a:pt x="56" y="60"/>
                  <a:pt x="56" y="60"/>
                </a:cubicBezTo>
                <a:cubicBezTo>
                  <a:pt x="56" y="61"/>
                  <a:pt x="56" y="61"/>
                  <a:pt x="56" y="61"/>
                </a:cubicBezTo>
                <a:cubicBezTo>
                  <a:pt x="56" y="60"/>
                  <a:pt x="56" y="60"/>
                  <a:pt x="56" y="60"/>
                </a:cubicBezTo>
                <a:close/>
                <a:moveTo>
                  <a:pt x="56" y="66"/>
                </a:moveTo>
                <a:cubicBezTo>
                  <a:pt x="56" y="65"/>
                  <a:pt x="56" y="65"/>
                  <a:pt x="56" y="65"/>
                </a:cubicBezTo>
                <a:cubicBezTo>
                  <a:pt x="56" y="64"/>
                  <a:pt x="56" y="64"/>
                  <a:pt x="56" y="64"/>
                </a:cubicBezTo>
                <a:cubicBezTo>
                  <a:pt x="56" y="63"/>
                  <a:pt x="56" y="63"/>
                  <a:pt x="56" y="63"/>
                </a:cubicBezTo>
                <a:cubicBezTo>
                  <a:pt x="56" y="62"/>
                  <a:pt x="56" y="62"/>
                  <a:pt x="56" y="62"/>
                </a:cubicBezTo>
                <a:cubicBezTo>
                  <a:pt x="56" y="62"/>
                  <a:pt x="56" y="62"/>
                  <a:pt x="56" y="62"/>
                </a:cubicBezTo>
                <a:cubicBezTo>
                  <a:pt x="55" y="62"/>
                  <a:pt x="55" y="62"/>
                  <a:pt x="55" y="62"/>
                </a:cubicBezTo>
                <a:cubicBezTo>
                  <a:pt x="55" y="63"/>
                  <a:pt x="55" y="63"/>
                  <a:pt x="55" y="63"/>
                </a:cubicBezTo>
                <a:cubicBezTo>
                  <a:pt x="56" y="65"/>
                  <a:pt x="56" y="65"/>
                  <a:pt x="56" y="65"/>
                </a:cubicBezTo>
                <a:cubicBezTo>
                  <a:pt x="55" y="65"/>
                  <a:pt x="55" y="65"/>
                  <a:pt x="55" y="65"/>
                </a:cubicBezTo>
                <a:cubicBezTo>
                  <a:pt x="56" y="66"/>
                  <a:pt x="56" y="66"/>
                  <a:pt x="56" y="66"/>
                </a:cubicBezTo>
                <a:cubicBezTo>
                  <a:pt x="56" y="66"/>
                  <a:pt x="56" y="66"/>
                  <a:pt x="56" y="66"/>
                </a:cubicBezTo>
                <a:close/>
                <a:moveTo>
                  <a:pt x="58" y="67"/>
                </a:moveTo>
                <a:cubicBezTo>
                  <a:pt x="57" y="67"/>
                  <a:pt x="57" y="67"/>
                  <a:pt x="57" y="67"/>
                </a:cubicBezTo>
                <a:cubicBezTo>
                  <a:pt x="58" y="68"/>
                  <a:pt x="58" y="68"/>
                  <a:pt x="58" y="68"/>
                </a:cubicBezTo>
                <a:cubicBezTo>
                  <a:pt x="58" y="67"/>
                  <a:pt x="58" y="67"/>
                  <a:pt x="58" y="67"/>
                </a:cubicBezTo>
                <a:cubicBezTo>
                  <a:pt x="58" y="67"/>
                  <a:pt x="58" y="67"/>
                  <a:pt x="58" y="67"/>
                </a:cubicBezTo>
                <a:close/>
                <a:moveTo>
                  <a:pt x="58" y="64"/>
                </a:moveTo>
                <a:cubicBezTo>
                  <a:pt x="58" y="65"/>
                  <a:pt x="58" y="65"/>
                  <a:pt x="58" y="65"/>
                </a:cubicBezTo>
                <a:cubicBezTo>
                  <a:pt x="58" y="66"/>
                  <a:pt x="58" y="66"/>
                  <a:pt x="58" y="66"/>
                </a:cubicBezTo>
                <a:cubicBezTo>
                  <a:pt x="59" y="66"/>
                  <a:pt x="59" y="66"/>
                  <a:pt x="59" y="66"/>
                </a:cubicBezTo>
                <a:cubicBezTo>
                  <a:pt x="59" y="66"/>
                  <a:pt x="59" y="66"/>
                  <a:pt x="59" y="66"/>
                </a:cubicBezTo>
                <a:cubicBezTo>
                  <a:pt x="59" y="65"/>
                  <a:pt x="59" y="65"/>
                  <a:pt x="59" y="65"/>
                </a:cubicBezTo>
                <a:cubicBezTo>
                  <a:pt x="58" y="64"/>
                  <a:pt x="58" y="64"/>
                  <a:pt x="58" y="64"/>
                </a:cubicBezTo>
                <a:close/>
                <a:moveTo>
                  <a:pt x="34" y="86"/>
                </a:moveTo>
                <a:cubicBezTo>
                  <a:pt x="33" y="84"/>
                  <a:pt x="33" y="84"/>
                  <a:pt x="33" y="84"/>
                </a:cubicBezTo>
                <a:cubicBezTo>
                  <a:pt x="33" y="83"/>
                  <a:pt x="33" y="83"/>
                  <a:pt x="33" y="83"/>
                </a:cubicBezTo>
                <a:cubicBezTo>
                  <a:pt x="34" y="81"/>
                  <a:pt x="34" y="81"/>
                  <a:pt x="34" y="81"/>
                </a:cubicBezTo>
                <a:cubicBezTo>
                  <a:pt x="33" y="80"/>
                  <a:pt x="33" y="80"/>
                  <a:pt x="33" y="80"/>
                </a:cubicBezTo>
                <a:cubicBezTo>
                  <a:pt x="35" y="79"/>
                  <a:pt x="35" y="79"/>
                  <a:pt x="35" y="79"/>
                </a:cubicBezTo>
                <a:cubicBezTo>
                  <a:pt x="36" y="78"/>
                  <a:pt x="36" y="78"/>
                  <a:pt x="36" y="78"/>
                </a:cubicBezTo>
                <a:cubicBezTo>
                  <a:pt x="37" y="77"/>
                  <a:pt x="37" y="77"/>
                  <a:pt x="37" y="77"/>
                </a:cubicBezTo>
                <a:cubicBezTo>
                  <a:pt x="38" y="78"/>
                  <a:pt x="38" y="78"/>
                  <a:pt x="38" y="78"/>
                </a:cubicBezTo>
                <a:cubicBezTo>
                  <a:pt x="40" y="77"/>
                  <a:pt x="40" y="77"/>
                  <a:pt x="40" y="77"/>
                </a:cubicBezTo>
                <a:cubicBezTo>
                  <a:pt x="39" y="76"/>
                  <a:pt x="39" y="76"/>
                  <a:pt x="39" y="76"/>
                </a:cubicBezTo>
                <a:cubicBezTo>
                  <a:pt x="40" y="75"/>
                  <a:pt x="40" y="75"/>
                  <a:pt x="40" y="75"/>
                </a:cubicBezTo>
                <a:cubicBezTo>
                  <a:pt x="41" y="74"/>
                  <a:pt x="41" y="74"/>
                  <a:pt x="41" y="74"/>
                </a:cubicBezTo>
                <a:cubicBezTo>
                  <a:pt x="42" y="73"/>
                  <a:pt x="42" y="73"/>
                  <a:pt x="42" y="73"/>
                </a:cubicBezTo>
                <a:cubicBezTo>
                  <a:pt x="43" y="73"/>
                  <a:pt x="43" y="73"/>
                  <a:pt x="43" y="73"/>
                </a:cubicBezTo>
                <a:cubicBezTo>
                  <a:pt x="45" y="75"/>
                  <a:pt x="45" y="75"/>
                  <a:pt x="45" y="75"/>
                </a:cubicBezTo>
                <a:cubicBezTo>
                  <a:pt x="45" y="77"/>
                  <a:pt x="45" y="77"/>
                  <a:pt x="45" y="77"/>
                </a:cubicBezTo>
                <a:cubicBezTo>
                  <a:pt x="43" y="79"/>
                  <a:pt x="43" y="79"/>
                  <a:pt x="43" y="79"/>
                </a:cubicBezTo>
                <a:cubicBezTo>
                  <a:pt x="44" y="78"/>
                  <a:pt x="44" y="78"/>
                  <a:pt x="44" y="78"/>
                </a:cubicBezTo>
                <a:cubicBezTo>
                  <a:pt x="46" y="77"/>
                  <a:pt x="46" y="77"/>
                  <a:pt x="46" y="77"/>
                </a:cubicBezTo>
                <a:cubicBezTo>
                  <a:pt x="47" y="77"/>
                  <a:pt x="47" y="77"/>
                  <a:pt x="47" y="77"/>
                </a:cubicBezTo>
                <a:cubicBezTo>
                  <a:pt x="48" y="74"/>
                  <a:pt x="48" y="74"/>
                  <a:pt x="48" y="74"/>
                </a:cubicBezTo>
                <a:cubicBezTo>
                  <a:pt x="49" y="74"/>
                  <a:pt x="49" y="74"/>
                  <a:pt x="49" y="74"/>
                </a:cubicBezTo>
                <a:cubicBezTo>
                  <a:pt x="50" y="75"/>
                  <a:pt x="50" y="75"/>
                  <a:pt x="50" y="75"/>
                </a:cubicBezTo>
                <a:cubicBezTo>
                  <a:pt x="50" y="75"/>
                  <a:pt x="50" y="75"/>
                  <a:pt x="50" y="75"/>
                </a:cubicBezTo>
                <a:cubicBezTo>
                  <a:pt x="51" y="74"/>
                  <a:pt x="51" y="74"/>
                  <a:pt x="51" y="74"/>
                </a:cubicBezTo>
                <a:cubicBezTo>
                  <a:pt x="50" y="74"/>
                  <a:pt x="50" y="74"/>
                  <a:pt x="50" y="74"/>
                </a:cubicBezTo>
                <a:cubicBezTo>
                  <a:pt x="51" y="71"/>
                  <a:pt x="51" y="71"/>
                  <a:pt x="51" y="71"/>
                </a:cubicBezTo>
                <a:cubicBezTo>
                  <a:pt x="52" y="72"/>
                  <a:pt x="52" y="72"/>
                  <a:pt x="52" y="72"/>
                </a:cubicBezTo>
                <a:cubicBezTo>
                  <a:pt x="53" y="72"/>
                  <a:pt x="53" y="72"/>
                  <a:pt x="53" y="72"/>
                </a:cubicBezTo>
                <a:cubicBezTo>
                  <a:pt x="53" y="72"/>
                  <a:pt x="53" y="72"/>
                  <a:pt x="53" y="72"/>
                </a:cubicBezTo>
                <a:cubicBezTo>
                  <a:pt x="53" y="70"/>
                  <a:pt x="53" y="70"/>
                  <a:pt x="53" y="70"/>
                </a:cubicBezTo>
                <a:cubicBezTo>
                  <a:pt x="54" y="70"/>
                  <a:pt x="54" y="70"/>
                  <a:pt x="54" y="70"/>
                </a:cubicBezTo>
                <a:cubicBezTo>
                  <a:pt x="55" y="71"/>
                  <a:pt x="55" y="71"/>
                  <a:pt x="55" y="71"/>
                </a:cubicBezTo>
                <a:cubicBezTo>
                  <a:pt x="55" y="70"/>
                  <a:pt x="55" y="70"/>
                  <a:pt x="55" y="70"/>
                </a:cubicBezTo>
                <a:cubicBezTo>
                  <a:pt x="54" y="68"/>
                  <a:pt x="54" y="68"/>
                  <a:pt x="54" y="68"/>
                </a:cubicBezTo>
                <a:cubicBezTo>
                  <a:pt x="54" y="66"/>
                  <a:pt x="54" y="66"/>
                  <a:pt x="54" y="66"/>
                </a:cubicBezTo>
                <a:cubicBezTo>
                  <a:pt x="55" y="66"/>
                  <a:pt x="55" y="66"/>
                  <a:pt x="55" y="66"/>
                </a:cubicBezTo>
                <a:cubicBezTo>
                  <a:pt x="56" y="66"/>
                  <a:pt x="56" y="66"/>
                  <a:pt x="56" y="66"/>
                </a:cubicBezTo>
                <a:cubicBezTo>
                  <a:pt x="56" y="67"/>
                  <a:pt x="56" y="67"/>
                  <a:pt x="56" y="67"/>
                </a:cubicBezTo>
                <a:cubicBezTo>
                  <a:pt x="58" y="69"/>
                  <a:pt x="58" y="69"/>
                  <a:pt x="58" y="69"/>
                </a:cubicBezTo>
                <a:cubicBezTo>
                  <a:pt x="59" y="70"/>
                  <a:pt x="59" y="70"/>
                  <a:pt x="59" y="70"/>
                </a:cubicBezTo>
                <a:cubicBezTo>
                  <a:pt x="60" y="69"/>
                  <a:pt x="60" y="69"/>
                  <a:pt x="60" y="69"/>
                </a:cubicBezTo>
                <a:cubicBezTo>
                  <a:pt x="60" y="70"/>
                  <a:pt x="60" y="70"/>
                  <a:pt x="60" y="70"/>
                </a:cubicBezTo>
                <a:cubicBezTo>
                  <a:pt x="60" y="72"/>
                  <a:pt x="60" y="72"/>
                  <a:pt x="60" y="72"/>
                </a:cubicBezTo>
                <a:cubicBezTo>
                  <a:pt x="60" y="73"/>
                  <a:pt x="60" y="73"/>
                  <a:pt x="60" y="73"/>
                </a:cubicBezTo>
                <a:cubicBezTo>
                  <a:pt x="60" y="73"/>
                  <a:pt x="60" y="73"/>
                  <a:pt x="60" y="73"/>
                </a:cubicBezTo>
                <a:cubicBezTo>
                  <a:pt x="59" y="74"/>
                  <a:pt x="59" y="74"/>
                  <a:pt x="59" y="74"/>
                </a:cubicBezTo>
                <a:cubicBezTo>
                  <a:pt x="60" y="75"/>
                  <a:pt x="60" y="75"/>
                  <a:pt x="60" y="75"/>
                </a:cubicBezTo>
                <a:cubicBezTo>
                  <a:pt x="61" y="75"/>
                  <a:pt x="61" y="75"/>
                  <a:pt x="61" y="75"/>
                </a:cubicBezTo>
                <a:cubicBezTo>
                  <a:pt x="60" y="75"/>
                  <a:pt x="60" y="75"/>
                  <a:pt x="60" y="75"/>
                </a:cubicBezTo>
                <a:cubicBezTo>
                  <a:pt x="61" y="77"/>
                  <a:pt x="61" y="77"/>
                  <a:pt x="61" y="77"/>
                </a:cubicBezTo>
                <a:cubicBezTo>
                  <a:pt x="61" y="76"/>
                  <a:pt x="61" y="76"/>
                  <a:pt x="61" y="76"/>
                </a:cubicBezTo>
                <a:cubicBezTo>
                  <a:pt x="61" y="78"/>
                  <a:pt x="61" y="78"/>
                  <a:pt x="61" y="78"/>
                </a:cubicBezTo>
                <a:cubicBezTo>
                  <a:pt x="61" y="79"/>
                  <a:pt x="61" y="79"/>
                  <a:pt x="61" y="79"/>
                </a:cubicBezTo>
                <a:cubicBezTo>
                  <a:pt x="62" y="80"/>
                  <a:pt x="62" y="80"/>
                  <a:pt x="62" y="80"/>
                </a:cubicBezTo>
                <a:cubicBezTo>
                  <a:pt x="63" y="81"/>
                  <a:pt x="63" y="81"/>
                  <a:pt x="63" y="81"/>
                </a:cubicBezTo>
                <a:cubicBezTo>
                  <a:pt x="63" y="83"/>
                  <a:pt x="63" y="83"/>
                  <a:pt x="63" y="83"/>
                </a:cubicBezTo>
                <a:cubicBezTo>
                  <a:pt x="62" y="85"/>
                  <a:pt x="62" y="85"/>
                  <a:pt x="62" y="85"/>
                </a:cubicBezTo>
                <a:cubicBezTo>
                  <a:pt x="62" y="85"/>
                  <a:pt x="62" y="85"/>
                  <a:pt x="62" y="85"/>
                </a:cubicBezTo>
                <a:cubicBezTo>
                  <a:pt x="62" y="86"/>
                  <a:pt x="62" y="86"/>
                  <a:pt x="62" y="86"/>
                </a:cubicBezTo>
                <a:cubicBezTo>
                  <a:pt x="61" y="85"/>
                  <a:pt x="61" y="85"/>
                  <a:pt x="61" y="85"/>
                </a:cubicBezTo>
                <a:cubicBezTo>
                  <a:pt x="61" y="85"/>
                  <a:pt x="61" y="85"/>
                  <a:pt x="61" y="85"/>
                </a:cubicBezTo>
                <a:cubicBezTo>
                  <a:pt x="60" y="86"/>
                  <a:pt x="60" y="86"/>
                  <a:pt x="60" y="86"/>
                </a:cubicBezTo>
                <a:cubicBezTo>
                  <a:pt x="61" y="88"/>
                  <a:pt x="61" y="88"/>
                  <a:pt x="61" y="88"/>
                </a:cubicBezTo>
                <a:cubicBezTo>
                  <a:pt x="61" y="89"/>
                  <a:pt x="61" y="89"/>
                  <a:pt x="61" y="89"/>
                </a:cubicBezTo>
                <a:cubicBezTo>
                  <a:pt x="61" y="90"/>
                  <a:pt x="61" y="90"/>
                  <a:pt x="61" y="90"/>
                </a:cubicBezTo>
                <a:cubicBezTo>
                  <a:pt x="60" y="89"/>
                  <a:pt x="60" y="89"/>
                  <a:pt x="60" y="89"/>
                </a:cubicBezTo>
                <a:cubicBezTo>
                  <a:pt x="60" y="87"/>
                  <a:pt x="60" y="87"/>
                  <a:pt x="60" y="87"/>
                </a:cubicBezTo>
                <a:cubicBezTo>
                  <a:pt x="60" y="86"/>
                  <a:pt x="60" y="86"/>
                  <a:pt x="60" y="86"/>
                </a:cubicBezTo>
                <a:cubicBezTo>
                  <a:pt x="59" y="85"/>
                  <a:pt x="59" y="85"/>
                  <a:pt x="59" y="85"/>
                </a:cubicBezTo>
                <a:cubicBezTo>
                  <a:pt x="59" y="84"/>
                  <a:pt x="59" y="84"/>
                  <a:pt x="59" y="84"/>
                </a:cubicBezTo>
                <a:cubicBezTo>
                  <a:pt x="58" y="83"/>
                  <a:pt x="58" y="83"/>
                  <a:pt x="58" y="83"/>
                </a:cubicBezTo>
                <a:cubicBezTo>
                  <a:pt x="57" y="83"/>
                  <a:pt x="57" y="83"/>
                  <a:pt x="57" y="83"/>
                </a:cubicBezTo>
                <a:cubicBezTo>
                  <a:pt x="55" y="86"/>
                  <a:pt x="55" y="86"/>
                  <a:pt x="55" y="86"/>
                </a:cubicBezTo>
                <a:cubicBezTo>
                  <a:pt x="55" y="87"/>
                  <a:pt x="55" y="87"/>
                  <a:pt x="55" y="87"/>
                </a:cubicBezTo>
                <a:cubicBezTo>
                  <a:pt x="56" y="88"/>
                  <a:pt x="56" y="88"/>
                  <a:pt x="56" y="88"/>
                </a:cubicBezTo>
                <a:cubicBezTo>
                  <a:pt x="57" y="89"/>
                  <a:pt x="57" y="89"/>
                  <a:pt x="57" y="89"/>
                </a:cubicBezTo>
                <a:cubicBezTo>
                  <a:pt x="58" y="90"/>
                  <a:pt x="58" y="90"/>
                  <a:pt x="58" y="90"/>
                </a:cubicBezTo>
                <a:cubicBezTo>
                  <a:pt x="58" y="91"/>
                  <a:pt x="58" y="91"/>
                  <a:pt x="58" y="91"/>
                </a:cubicBezTo>
                <a:cubicBezTo>
                  <a:pt x="56" y="94"/>
                  <a:pt x="56" y="94"/>
                  <a:pt x="56" y="94"/>
                </a:cubicBezTo>
                <a:cubicBezTo>
                  <a:pt x="55" y="94"/>
                  <a:pt x="55" y="94"/>
                  <a:pt x="55" y="94"/>
                </a:cubicBezTo>
                <a:cubicBezTo>
                  <a:pt x="55" y="94"/>
                  <a:pt x="55" y="94"/>
                  <a:pt x="55" y="94"/>
                </a:cubicBezTo>
                <a:cubicBezTo>
                  <a:pt x="54" y="93"/>
                  <a:pt x="54" y="93"/>
                  <a:pt x="54" y="93"/>
                </a:cubicBezTo>
                <a:cubicBezTo>
                  <a:pt x="55" y="92"/>
                  <a:pt x="55" y="92"/>
                  <a:pt x="55" y="92"/>
                </a:cubicBezTo>
                <a:cubicBezTo>
                  <a:pt x="54" y="91"/>
                  <a:pt x="54" y="91"/>
                  <a:pt x="54" y="91"/>
                </a:cubicBezTo>
                <a:cubicBezTo>
                  <a:pt x="54" y="92"/>
                  <a:pt x="54" y="92"/>
                  <a:pt x="54" y="92"/>
                </a:cubicBezTo>
                <a:cubicBezTo>
                  <a:pt x="53" y="92"/>
                  <a:pt x="53" y="92"/>
                  <a:pt x="53" y="92"/>
                </a:cubicBezTo>
                <a:cubicBezTo>
                  <a:pt x="52" y="93"/>
                  <a:pt x="52" y="93"/>
                  <a:pt x="52" y="93"/>
                </a:cubicBezTo>
                <a:cubicBezTo>
                  <a:pt x="51" y="92"/>
                  <a:pt x="51" y="92"/>
                  <a:pt x="51" y="92"/>
                </a:cubicBezTo>
                <a:cubicBezTo>
                  <a:pt x="50" y="91"/>
                  <a:pt x="50" y="91"/>
                  <a:pt x="50" y="91"/>
                </a:cubicBezTo>
                <a:cubicBezTo>
                  <a:pt x="49" y="91"/>
                  <a:pt x="49" y="91"/>
                  <a:pt x="49" y="91"/>
                </a:cubicBezTo>
                <a:cubicBezTo>
                  <a:pt x="47" y="90"/>
                  <a:pt x="47" y="90"/>
                  <a:pt x="47" y="90"/>
                </a:cubicBezTo>
                <a:cubicBezTo>
                  <a:pt x="47" y="89"/>
                  <a:pt x="47" y="89"/>
                  <a:pt x="47" y="89"/>
                </a:cubicBezTo>
                <a:cubicBezTo>
                  <a:pt x="46" y="88"/>
                  <a:pt x="46" y="88"/>
                  <a:pt x="46" y="88"/>
                </a:cubicBezTo>
                <a:cubicBezTo>
                  <a:pt x="47" y="87"/>
                  <a:pt x="47" y="87"/>
                  <a:pt x="47" y="87"/>
                </a:cubicBezTo>
                <a:cubicBezTo>
                  <a:pt x="46" y="86"/>
                  <a:pt x="46" y="86"/>
                  <a:pt x="46" y="86"/>
                </a:cubicBezTo>
                <a:cubicBezTo>
                  <a:pt x="46" y="85"/>
                  <a:pt x="46" y="85"/>
                  <a:pt x="46" y="85"/>
                </a:cubicBezTo>
                <a:cubicBezTo>
                  <a:pt x="46" y="85"/>
                  <a:pt x="46" y="85"/>
                  <a:pt x="46" y="85"/>
                </a:cubicBezTo>
                <a:cubicBezTo>
                  <a:pt x="46" y="84"/>
                  <a:pt x="46" y="84"/>
                  <a:pt x="46" y="84"/>
                </a:cubicBezTo>
                <a:cubicBezTo>
                  <a:pt x="47" y="84"/>
                  <a:pt x="47" y="84"/>
                  <a:pt x="47" y="84"/>
                </a:cubicBezTo>
                <a:cubicBezTo>
                  <a:pt x="48" y="84"/>
                  <a:pt x="48" y="84"/>
                  <a:pt x="48" y="84"/>
                </a:cubicBezTo>
                <a:cubicBezTo>
                  <a:pt x="47" y="83"/>
                  <a:pt x="47" y="83"/>
                  <a:pt x="47" y="83"/>
                </a:cubicBezTo>
                <a:cubicBezTo>
                  <a:pt x="47" y="82"/>
                  <a:pt x="47" y="82"/>
                  <a:pt x="47" y="82"/>
                </a:cubicBezTo>
                <a:cubicBezTo>
                  <a:pt x="45" y="81"/>
                  <a:pt x="45" y="81"/>
                  <a:pt x="45" y="81"/>
                </a:cubicBezTo>
                <a:cubicBezTo>
                  <a:pt x="44" y="81"/>
                  <a:pt x="44" y="81"/>
                  <a:pt x="44" y="81"/>
                </a:cubicBezTo>
                <a:cubicBezTo>
                  <a:pt x="43" y="80"/>
                  <a:pt x="43" y="80"/>
                  <a:pt x="43" y="80"/>
                </a:cubicBezTo>
                <a:cubicBezTo>
                  <a:pt x="43" y="80"/>
                  <a:pt x="43" y="80"/>
                  <a:pt x="43" y="80"/>
                </a:cubicBezTo>
                <a:cubicBezTo>
                  <a:pt x="42" y="80"/>
                  <a:pt x="42" y="80"/>
                  <a:pt x="42" y="80"/>
                </a:cubicBezTo>
                <a:cubicBezTo>
                  <a:pt x="42" y="81"/>
                  <a:pt x="42" y="81"/>
                  <a:pt x="42" y="81"/>
                </a:cubicBezTo>
                <a:cubicBezTo>
                  <a:pt x="42" y="82"/>
                  <a:pt x="42" y="82"/>
                  <a:pt x="42" y="82"/>
                </a:cubicBezTo>
                <a:cubicBezTo>
                  <a:pt x="43" y="83"/>
                  <a:pt x="43" y="83"/>
                  <a:pt x="43" y="83"/>
                </a:cubicBezTo>
                <a:cubicBezTo>
                  <a:pt x="42" y="82"/>
                  <a:pt x="42" y="82"/>
                  <a:pt x="42" y="82"/>
                </a:cubicBezTo>
                <a:cubicBezTo>
                  <a:pt x="41" y="82"/>
                  <a:pt x="41" y="82"/>
                  <a:pt x="41" y="82"/>
                </a:cubicBezTo>
                <a:cubicBezTo>
                  <a:pt x="41" y="82"/>
                  <a:pt x="41" y="82"/>
                  <a:pt x="41" y="82"/>
                </a:cubicBezTo>
                <a:cubicBezTo>
                  <a:pt x="41" y="81"/>
                  <a:pt x="41" y="81"/>
                  <a:pt x="41" y="81"/>
                </a:cubicBezTo>
                <a:cubicBezTo>
                  <a:pt x="40" y="81"/>
                  <a:pt x="40" y="81"/>
                  <a:pt x="40" y="81"/>
                </a:cubicBezTo>
                <a:cubicBezTo>
                  <a:pt x="40" y="81"/>
                  <a:pt x="40" y="81"/>
                  <a:pt x="40" y="81"/>
                </a:cubicBezTo>
                <a:cubicBezTo>
                  <a:pt x="40" y="82"/>
                  <a:pt x="40" y="82"/>
                  <a:pt x="40" y="82"/>
                </a:cubicBezTo>
                <a:cubicBezTo>
                  <a:pt x="39" y="82"/>
                  <a:pt x="39" y="82"/>
                  <a:pt x="39" y="82"/>
                </a:cubicBezTo>
                <a:cubicBezTo>
                  <a:pt x="38" y="82"/>
                  <a:pt x="38" y="82"/>
                  <a:pt x="38" y="82"/>
                </a:cubicBezTo>
                <a:cubicBezTo>
                  <a:pt x="38" y="82"/>
                  <a:pt x="38" y="82"/>
                  <a:pt x="38" y="82"/>
                </a:cubicBezTo>
                <a:cubicBezTo>
                  <a:pt x="38" y="81"/>
                  <a:pt x="38" y="81"/>
                  <a:pt x="38" y="81"/>
                </a:cubicBezTo>
                <a:cubicBezTo>
                  <a:pt x="37" y="80"/>
                  <a:pt x="37" y="80"/>
                  <a:pt x="37" y="80"/>
                </a:cubicBezTo>
                <a:cubicBezTo>
                  <a:pt x="37" y="80"/>
                  <a:pt x="37" y="80"/>
                  <a:pt x="37" y="80"/>
                </a:cubicBezTo>
                <a:cubicBezTo>
                  <a:pt x="36" y="82"/>
                  <a:pt x="36" y="82"/>
                  <a:pt x="36" y="82"/>
                </a:cubicBezTo>
                <a:cubicBezTo>
                  <a:pt x="35" y="82"/>
                  <a:pt x="35" y="82"/>
                  <a:pt x="35" y="82"/>
                </a:cubicBezTo>
                <a:cubicBezTo>
                  <a:pt x="34" y="85"/>
                  <a:pt x="34" y="85"/>
                  <a:pt x="34" y="85"/>
                </a:cubicBezTo>
                <a:cubicBezTo>
                  <a:pt x="34" y="86"/>
                  <a:pt x="34" y="86"/>
                  <a:pt x="34" y="86"/>
                </a:cubicBezTo>
                <a:close/>
                <a:moveTo>
                  <a:pt x="32" y="87"/>
                </a:moveTo>
                <a:cubicBezTo>
                  <a:pt x="32" y="88"/>
                  <a:pt x="32" y="88"/>
                  <a:pt x="32" y="88"/>
                </a:cubicBezTo>
                <a:cubicBezTo>
                  <a:pt x="33" y="89"/>
                  <a:pt x="33" y="89"/>
                  <a:pt x="33" y="89"/>
                </a:cubicBezTo>
                <a:cubicBezTo>
                  <a:pt x="34" y="89"/>
                  <a:pt x="34" y="89"/>
                  <a:pt x="34" y="89"/>
                </a:cubicBezTo>
                <a:cubicBezTo>
                  <a:pt x="35" y="88"/>
                  <a:pt x="35" y="88"/>
                  <a:pt x="35" y="88"/>
                </a:cubicBezTo>
                <a:cubicBezTo>
                  <a:pt x="35" y="87"/>
                  <a:pt x="35" y="87"/>
                  <a:pt x="35" y="87"/>
                </a:cubicBezTo>
                <a:cubicBezTo>
                  <a:pt x="35" y="87"/>
                  <a:pt x="35" y="87"/>
                  <a:pt x="35" y="87"/>
                </a:cubicBezTo>
                <a:cubicBezTo>
                  <a:pt x="34" y="87"/>
                  <a:pt x="34" y="87"/>
                  <a:pt x="34" y="87"/>
                </a:cubicBezTo>
                <a:cubicBezTo>
                  <a:pt x="33" y="87"/>
                  <a:pt x="33" y="87"/>
                  <a:pt x="33" y="87"/>
                </a:cubicBezTo>
                <a:cubicBezTo>
                  <a:pt x="32" y="87"/>
                  <a:pt x="32" y="87"/>
                  <a:pt x="32" y="87"/>
                </a:cubicBezTo>
                <a:close/>
                <a:moveTo>
                  <a:pt x="18" y="51"/>
                </a:moveTo>
                <a:cubicBezTo>
                  <a:pt x="17" y="50"/>
                  <a:pt x="17" y="50"/>
                  <a:pt x="17" y="50"/>
                </a:cubicBezTo>
                <a:cubicBezTo>
                  <a:pt x="17" y="50"/>
                  <a:pt x="17" y="50"/>
                  <a:pt x="17" y="50"/>
                </a:cubicBezTo>
                <a:cubicBezTo>
                  <a:pt x="17" y="49"/>
                  <a:pt x="17" y="49"/>
                  <a:pt x="17" y="49"/>
                </a:cubicBezTo>
                <a:cubicBezTo>
                  <a:pt x="18" y="49"/>
                  <a:pt x="18" y="49"/>
                  <a:pt x="18" y="49"/>
                </a:cubicBezTo>
                <a:cubicBezTo>
                  <a:pt x="19" y="50"/>
                  <a:pt x="19" y="50"/>
                  <a:pt x="19" y="50"/>
                </a:cubicBezTo>
                <a:cubicBezTo>
                  <a:pt x="20" y="50"/>
                  <a:pt x="20" y="50"/>
                  <a:pt x="20" y="50"/>
                </a:cubicBezTo>
                <a:cubicBezTo>
                  <a:pt x="20" y="51"/>
                  <a:pt x="20" y="51"/>
                  <a:pt x="20" y="51"/>
                </a:cubicBezTo>
                <a:cubicBezTo>
                  <a:pt x="20" y="52"/>
                  <a:pt x="20" y="52"/>
                  <a:pt x="20" y="52"/>
                </a:cubicBezTo>
                <a:cubicBezTo>
                  <a:pt x="19" y="51"/>
                  <a:pt x="19" y="51"/>
                  <a:pt x="19" y="51"/>
                </a:cubicBezTo>
                <a:cubicBezTo>
                  <a:pt x="18" y="51"/>
                  <a:pt x="18" y="51"/>
                  <a:pt x="18" y="51"/>
                </a:cubicBezTo>
                <a:close/>
                <a:moveTo>
                  <a:pt x="17" y="52"/>
                </a:moveTo>
                <a:cubicBezTo>
                  <a:pt x="18" y="52"/>
                  <a:pt x="18" y="52"/>
                  <a:pt x="18" y="52"/>
                </a:cubicBezTo>
                <a:cubicBezTo>
                  <a:pt x="19" y="53"/>
                  <a:pt x="19" y="53"/>
                  <a:pt x="19" y="53"/>
                </a:cubicBezTo>
                <a:cubicBezTo>
                  <a:pt x="18" y="53"/>
                  <a:pt x="18" y="53"/>
                  <a:pt x="18" y="53"/>
                </a:cubicBezTo>
                <a:cubicBezTo>
                  <a:pt x="18" y="54"/>
                  <a:pt x="18" y="54"/>
                  <a:pt x="18" y="54"/>
                </a:cubicBezTo>
                <a:cubicBezTo>
                  <a:pt x="17" y="54"/>
                  <a:pt x="17" y="54"/>
                  <a:pt x="17" y="54"/>
                </a:cubicBezTo>
                <a:cubicBezTo>
                  <a:pt x="17" y="52"/>
                  <a:pt x="17" y="52"/>
                  <a:pt x="17" y="52"/>
                </a:cubicBezTo>
                <a:cubicBezTo>
                  <a:pt x="17" y="52"/>
                  <a:pt x="17" y="52"/>
                  <a:pt x="17" y="52"/>
                </a:cubicBezTo>
                <a:close/>
                <a:moveTo>
                  <a:pt x="18" y="61"/>
                </a:moveTo>
                <a:cubicBezTo>
                  <a:pt x="18" y="61"/>
                  <a:pt x="18" y="61"/>
                  <a:pt x="18" y="61"/>
                </a:cubicBezTo>
                <a:cubicBezTo>
                  <a:pt x="18" y="60"/>
                  <a:pt x="18" y="60"/>
                  <a:pt x="18" y="60"/>
                </a:cubicBezTo>
                <a:cubicBezTo>
                  <a:pt x="19" y="61"/>
                  <a:pt x="19" y="61"/>
                  <a:pt x="19" y="61"/>
                </a:cubicBezTo>
                <a:cubicBezTo>
                  <a:pt x="19" y="61"/>
                  <a:pt x="19" y="61"/>
                  <a:pt x="19" y="61"/>
                </a:cubicBezTo>
                <a:cubicBezTo>
                  <a:pt x="19" y="62"/>
                  <a:pt x="19" y="62"/>
                  <a:pt x="19" y="62"/>
                </a:cubicBezTo>
                <a:cubicBezTo>
                  <a:pt x="18" y="62"/>
                  <a:pt x="18" y="62"/>
                  <a:pt x="18" y="62"/>
                </a:cubicBezTo>
                <a:cubicBezTo>
                  <a:pt x="17" y="62"/>
                  <a:pt x="17" y="62"/>
                  <a:pt x="17" y="62"/>
                </a:cubicBezTo>
                <a:cubicBezTo>
                  <a:pt x="18" y="61"/>
                  <a:pt x="18" y="61"/>
                  <a:pt x="18" y="61"/>
                </a:cubicBezTo>
                <a:close/>
                <a:moveTo>
                  <a:pt x="2" y="75"/>
                </a:moveTo>
                <a:cubicBezTo>
                  <a:pt x="4" y="74"/>
                  <a:pt x="4" y="74"/>
                  <a:pt x="4" y="74"/>
                </a:cubicBezTo>
                <a:cubicBezTo>
                  <a:pt x="4" y="74"/>
                  <a:pt x="4" y="74"/>
                  <a:pt x="4" y="74"/>
                </a:cubicBezTo>
                <a:cubicBezTo>
                  <a:pt x="5" y="73"/>
                  <a:pt x="5" y="73"/>
                  <a:pt x="5" y="73"/>
                </a:cubicBezTo>
                <a:cubicBezTo>
                  <a:pt x="7" y="73"/>
                  <a:pt x="7" y="73"/>
                  <a:pt x="7" y="73"/>
                </a:cubicBezTo>
                <a:cubicBezTo>
                  <a:pt x="8" y="71"/>
                  <a:pt x="8" y="71"/>
                  <a:pt x="8" y="71"/>
                </a:cubicBezTo>
                <a:cubicBezTo>
                  <a:pt x="9" y="70"/>
                  <a:pt x="9" y="70"/>
                  <a:pt x="9" y="70"/>
                </a:cubicBezTo>
                <a:cubicBezTo>
                  <a:pt x="10" y="69"/>
                  <a:pt x="10" y="69"/>
                  <a:pt x="10" y="69"/>
                </a:cubicBezTo>
                <a:cubicBezTo>
                  <a:pt x="11" y="69"/>
                  <a:pt x="11" y="69"/>
                  <a:pt x="11" y="69"/>
                </a:cubicBezTo>
                <a:cubicBezTo>
                  <a:pt x="11" y="68"/>
                  <a:pt x="11" y="68"/>
                  <a:pt x="11" y="68"/>
                </a:cubicBezTo>
                <a:cubicBezTo>
                  <a:pt x="11" y="66"/>
                  <a:pt x="11" y="66"/>
                  <a:pt x="11" y="66"/>
                </a:cubicBezTo>
                <a:cubicBezTo>
                  <a:pt x="12" y="65"/>
                  <a:pt x="12" y="65"/>
                  <a:pt x="12" y="65"/>
                </a:cubicBezTo>
                <a:cubicBezTo>
                  <a:pt x="14" y="65"/>
                  <a:pt x="14" y="65"/>
                  <a:pt x="14" y="65"/>
                </a:cubicBezTo>
                <a:cubicBezTo>
                  <a:pt x="14" y="63"/>
                  <a:pt x="14" y="63"/>
                  <a:pt x="14" y="63"/>
                </a:cubicBezTo>
                <a:cubicBezTo>
                  <a:pt x="15" y="62"/>
                  <a:pt x="15" y="62"/>
                  <a:pt x="15" y="62"/>
                </a:cubicBezTo>
                <a:cubicBezTo>
                  <a:pt x="16" y="62"/>
                  <a:pt x="16" y="62"/>
                  <a:pt x="16" y="62"/>
                </a:cubicBezTo>
                <a:cubicBezTo>
                  <a:pt x="17" y="61"/>
                  <a:pt x="17" y="61"/>
                  <a:pt x="17" y="61"/>
                </a:cubicBezTo>
                <a:cubicBezTo>
                  <a:pt x="16" y="60"/>
                  <a:pt x="16" y="60"/>
                  <a:pt x="16" y="60"/>
                </a:cubicBezTo>
                <a:cubicBezTo>
                  <a:pt x="15" y="59"/>
                  <a:pt x="15" y="59"/>
                  <a:pt x="15" y="59"/>
                </a:cubicBezTo>
                <a:cubicBezTo>
                  <a:pt x="15" y="57"/>
                  <a:pt x="15" y="57"/>
                  <a:pt x="15" y="57"/>
                </a:cubicBezTo>
                <a:cubicBezTo>
                  <a:pt x="15" y="56"/>
                  <a:pt x="15" y="56"/>
                  <a:pt x="15" y="56"/>
                </a:cubicBezTo>
                <a:cubicBezTo>
                  <a:pt x="15" y="56"/>
                  <a:pt x="15" y="56"/>
                  <a:pt x="15" y="56"/>
                </a:cubicBezTo>
                <a:cubicBezTo>
                  <a:pt x="14" y="58"/>
                  <a:pt x="14" y="58"/>
                  <a:pt x="14" y="58"/>
                </a:cubicBezTo>
                <a:cubicBezTo>
                  <a:pt x="15" y="60"/>
                  <a:pt x="15" y="60"/>
                  <a:pt x="15" y="60"/>
                </a:cubicBezTo>
                <a:cubicBezTo>
                  <a:pt x="14" y="59"/>
                  <a:pt x="14" y="59"/>
                  <a:pt x="14" y="59"/>
                </a:cubicBezTo>
                <a:cubicBezTo>
                  <a:pt x="14" y="60"/>
                  <a:pt x="14" y="60"/>
                  <a:pt x="14" y="60"/>
                </a:cubicBezTo>
                <a:cubicBezTo>
                  <a:pt x="14" y="61"/>
                  <a:pt x="14" y="61"/>
                  <a:pt x="14" y="61"/>
                </a:cubicBezTo>
                <a:cubicBezTo>
                  <a:pt x="13" y="62"/>
                  <a:pt x="13" y="62"/>
                  <a:pt x="13" y="62"/>
                </a:cubicBezTo>
                <a:cubicBezTo>
                  <a:pt x="13" y="62"/>
                  <a:pt x="13" y="62"/>
                  <a:pt x="13" y="62"/>
                </a:cubicBezTo>
                <a:cubicBezTo>
                  <a:pt x="11" y="64"/>
                  <a:pt x="11" y="64"/>
                  <a:pt x="11" y="64"/>
                </a:cubicBezTo>
                <a:cubicBezTo>
                  <a:pt x="11" y="64"/>
                  <a:pt x="11" y="64"/>
                  <a:pt x="11" y="64"/>
                </a:cubicBezTo>
                <a:cubicBezTo>
                  <a:pt x="10" y="65"/>
                  <a:pt x="10" y="65"/>
                  <a:pt x="10" y="65"/>
                </a:cubicBezTo>
                <a:cubicBezTo>
                  <a:pt x="9" y="68"/>
                  <a:pt x="9" y="68"/>
                  <a:pt x="9" y="68"/>
                </a:cubicBezTo>
                <a:cubicBezTo>
                  <a:pt x="7" y="70"/>
                  <a:pt x="7" y="70"/>
                  <a:pt x="7" y="70"/>
                </a:cubicBezTo>
                <a:cubicBezTo>
                  <a:pt x="6" y="70"/>
                  <a:pt x="6" y="70"/>
                  <a:pt x="6" y="70"/>
                </a:cubicBezTo>
                <a:cubicBezTo>
                  <a:pt x="5" y="72"/>
                  <a:pt x="5" y="72"/>
                  <a:pt x="5" y="72"/>
                </a:cubicBezTo>
                <a:cubicBezTo>
                  <a:pt x="4" y="72"/>
                  <a:pt x="4" y="72"/>
                  <a:pt x="4" y="72"/>
                </a:cubicBezTo>
                <a:cubicBezTo>
                  <a:pt x="3" y="74"/>
                  <a:pt x="3" y="74"/>
                  <a:pt x="3" y="74"/>
                </a:cubicBezTo>
                <a:cubicBezTo>
                  <a:pt x="2" y="75"/>
                  <a:pt x="2" y="75"/>
                  <a:pt x="2" y="75"/>
                </a:cubicBezTo>
                <a:cubicBezTo>
                  <a:pt x="2" y="75"/>
                  <a:pt x="2" y="75"/>
                  <a:pt x="2" y="75"/>
                </a:cubicBezTo>
                <a:close/>
                <a:moveTo>
                  <a:pt x="3" y="76"/>
                </a:moveTo>
                <a:cubicBezTo>
                  <a:pt x="2" y="76"/>
                  <a:pt x="2" y="76"/>
                  <a:pt x="2" y="76"/>
                </a:cubicBezTo>
                <a:cubicBezTo>
                  <a:pt x="3" y="76"/>
                  <a:pt x="3" y="76"/>
                  <a:pt x="3" y="76"/>
                </a:cubicBezTo>
                <a:cubicBezTo>
                  <a:pt x="3" y="76"/>
                  <a:pt x="3" y="76"/>
                  <a:pt x="3" y="76"/>
                </a:cubicBezTo>
                <a:close/>
                <a:moveTo>
                  <a:pt x="3" y="76"/>
                </a:moveTo>
                <a:cubicBezTo>
                  <a:pt x="3" y="76"/>
                  <a:pt x="3" y="76"/>
                  <a:pt x="3" y="76"/>
                </a:cubicBezTo>
                <a:cubicBezTo>
                  <a:pt x="3" y="77"/>
                  <a:pt x="3" y="77"/>
                  <a:pt x="3" y="77"/>
                </a:cubicBezTo>
                <a:cubicBezTo>
                  <a:pt x="3" y="76"/>
                  <a:pt x="3" y="76"/>
                  <a:pt x="3" y="76"/>
                </a:cubicBezTo>
                <a:close/>
                <a:moveTo>
                  <a:pt x="1" y="77"/>
                </a:moveTo>
                <a:cubicBezTo>
                  <a:pt x="0" y="78"/>
                  <a:pt x="0" y="78"/>
                  <a:pt x="0" y="78"/>
                </a:cubicBezTo>
                <a:cubicBezTo>
                  <a:pt x="0" y="79"/>
                  <a:pt x="0" y="79"/>
                  <a:pt x="0" y="79"/>
                </a:cubicBezTo>
                <a:cubicBezTo>
                  <a:pt x="1" y="80"/>
                  <a:pt x="1" y="80"/>
                  <a:pt x="1" y="80"/>
                </a:cubicBezTo>
                <a:cubicBezTo>
                  <a:pt x="2" y="80"/>
                  <a:pt x="2" y="80"/>
                  <a:pt x="2" y="80"/>
                </a:cubicBezTo>
                <a:cubicBezTo>
                  <a:pt x="2" y="78"/>
                  <a:pt x="2" y="78"/>
                  <a:pt x="2" y="78"/>
                </a:cubicBezTo>
                <a:cubicBezTo>
                  <a:pt x="2" y="78"/>
                  <a:pt x="2" y="78"/>
                  <a:pt x="2" y="78"/>
                </a:cubicBezTo>
                <a:lnTo>
                  <a:pt x="1" y="7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7" name="Freeform 25">
            <a:extLst>
              <a:ext uri="{FF2B5EF4-FFF2-40B4-BE49-F238E27FC236}">
                <a16:creationId xmlns:a16="http://schemas.microsoft.com/office/drawing/2014/main" id="{8981A820-1401-4BFF-CBAF-D3AD2D0B5D85}"/>
              </a:ext>
            </a:extLst>
          </p:cNvPr>
          <p:cNvSpPr>
            <a:spLocks noEditPoints="1"/>
          </p:cNvSpPr>
          <p:nvPr userDrawn="1"/>
        </p:nvSpPr>
        <p:spPr bwMode="auto">
          <a:xfrm>
            <a:off x="19131303" y="8968656"/>
            <a:ext cx="2870013" cy="1143000"/>
          </a:xfrm>
          <a:custGeom>
            <a:avLst/>
            <a:gdLst>
              <a:gd name="T0" fmla="*/ 276 w 289"/>
              <a:gd name="T1" fmla="*/ 90 h 115"/>
              <a:gd name="T2" fmla="*/ 261 w 289"/>
              <a:gd name="T3" fmla="*/ 74 h 115"/>
              <a:gd name="T4" fmla="*/ 240 w 289"/>
              <a:gd name="T5" fmla="*/ 70 h 115"/>
              <a:gd name="T6" fmla="*/ 238 w 289"/>
              <a:gd name="T7" fmla="*/ 58 h 115"/>
              <a:gd name="T8" fmla="*/ 247 w 289"/>
              <a:gd name="T9" fmla="*/ 51 h 115"/>
              <a:gd name="T10" fmla="*/ 265 w 289"/>
              <a:gd name="T11" fmla="*/ 56 h 115"/>
              <a:gd name="T12" fmla="*/ 224 w 289"/>
              <a:gd name="T13" fmla="*/ 44 h 115"/>
              <a:gd name="T14" fmla="*/ 190 w 289"/>
              <a:gd name="T15" fmla="*/ 21 h 115"/>
              <a:gd name="T16" fmla="*/ 207 w 289"/>
              <a:gd name="T17" fmla="*/ 47 h 115"/>
              <a:gd name="T18" fmla="*/ 212 w 289"/>
              <a:gd name="T19" fmla="*/ 33 h 115"/>
              <a:gd name="T20" fmla="*/ 204 w 289"/>
              <a:gd name="T21" fmla="*/ 49 h 115"/>
              <a:gd name="T22" fmla="*/ 210 w 289"/>
              <a:gd name="T23" fmla="*/ 67 h 115"/>
              <a:gd name="T24" fmla="*/ 221 w 289"/>
              <a:gd name="T25" fmla="*/ 67 h 115"/>
              <a:gd name="T26" fmla="*/ 194 w 289"/>
              <a:gd name="T27" fmla="*/ 67 h 115"/>
              <a:gd name="T28" fmla="*/ 192 w 289"/>
              <a:gd name="T29" fmla="*/ 56 h 115"/>
              <a:gd name="T30" fmla="*/ 175 w 289"/>
              <a:gd name="T31" fmla="*/ 77 h 115"/>
              <a:gd name="T32" fmla="*/ 175 w 289"/>
              <a:gd name="T33" fmla="*/ 56 h 115"/>
              <a:gd name="T34" fmla="*/ 168 w 289"/>
              <a:gd name="T35" fmla="*/ 47 h 115"/>
              <a:gd name="T36" fmla="*/ 185 w 289"/>
              <a:gd name="T37" fmla="*/ 35 h 115"/>
              <a:gd name="T38" fmla="*/ 155 w 289"/>
              <a:gd name="T39" fmla="*/ 48 h 115"/>
              <a:gd name="T40" fmla="*/ 153 w 289"/>
              <a:gd name="T41" fmla="*/ 80 h 115"/>
              <a:gd name="T42" fmla="*/ 165 w 289"/>
              <a:gd name="T43" fmla="*/ 71 h 115"/>
              <a:gd name="T44" fmla="*/ 171 w 289"/>
              <a:gd name="T45" fmla="*/ 65 h 115"/>
              <a:gd name="T46" fmla="*/ 171 w 289"/>
              <a:gd name="T47" fmla="*/ 48 h 115"/>
              <a:gd name="T48" fmla="*/ 151 w 289"/>
              <a:gd name="T49" fmla="*/ 12 h 115"/>
              <a:gd name="T50" fmla="*/ 132 w 289"/>
              <a:gd name="T51" fmla="*/ 68 h 115"/>
              <a:gd name="T52" fmla="*/ 90 w 289"/>
              <a:gd name="T53" fmla="*/ 52 h 115"/>
              <a:gd name="T54" fmla="*/ 130 w 289"/>
              <a:gd name="T55" fmla="*/ 16 h 115"/>
              <a:gd name="T56" fmla="*/ 146 w 289"/>
              <a:gd name="T57" fmla="*/ 35 h 115"/>
              <a:gd name="T58" fmla="*/ 132 w 289"/>
              <a:gd name="T59" fmla="*/ 56 h 115"/>
              <a:gd name="T60" fmla="*/ 117 w 289"/>
              <a:gd name="T61" fmla="*/ 66 h 115"/>
              <a:gd name="T62" fmla="*/ 95 w 289"/>
              <a:gd name="T63" fmla="*/ 61 h 115"/>
              <a:gd name="T64" fmla="*/ 250 w 289"/>
              <a:gd name="T65" fmla="*/ 49 h 115"/>
              <a:gd name="T66" fmla="*/ 256 w 289"/>
              <a:gd name="T67" fmla="*/ 47 h 115"/>
              <a:gd name="T68" fmla="*/ 247 w 289"/>
              <a:gd name="T69" fmla="*/ 87 h 115"/>
              <a:gd name="T70" fmla="*/ 245 w 289"/>
              <a:gd name="T71" fmla="*/ 80 h 115"/>
              <a:gd name="T72" fmla="*/ 224 w 289"/>
              <a:gd name="T73" fmla="*/ 92 h 115"/>
              <a:gd name="T74" fmla="*/ 219 w 289"/>
              <a:gd name="T75" fmla="*/ 84 h 115"/>
              <a:gd name="T76" fmla="*/ 201 w 289"/>
              <a:gd name="T77" fmla="*/ 93 h 115"/>
              <a:gd name="T78" fmla="*/ 183 w 289"/>
              <a:gd name="T79" fmla="*/ 104 h 115"/>
              <a:gd name="T80" fmla="*/ 166 w 289"/>
              <a:gd name="T81" fmla="*/ 111 h 115"/>
              <a:gd name="T82" fmla="*/ 127 w 289"/>
              <a:gd name="T83" fmla="*/ 88 h 115"/>
              <a:gd name="T84" fmla="*/ 186 w 289"/>
              <a:gd name="T85" fmla="*/ 97 h 115"/>
              <a:gd name="T86" fmla="*/ 153 w 289"/>
              <a:gd name="T87" fmla="*/ 98 h 115"/>
              <a:gd name="T88" fmla="*/ 157 w 289"/>
              <a:gd name="T89" fmla="*/ 101 h 115"/>
              <a:gd name="T90" fmla="*/ 148 w 289"/>
              <a:gd name="T91" fmla="*/ 101 h 115"/>
              <a:gd name="T92" fmla="*/ 133 w 289"/>
              <a:gd name="T93" fmla="*/ 101 h 115"/>
              <a:gd name="T94" fmla="*/ 274 w 289"/>
              <a:gd name="T95" fmla="*/ 96 h 115"/>
              <a:gd name="T96" fmla="*/ 115 w 289"/>
              <a:gd name="T97" fmla="*/ 89 h 115"/>
              <a:gd name="T98" fmla="*/ 96 w 289"/>
              <a:gd name="T99" fmla="*/ 88 h 115"/>
              <a:gd name="T100" fmla="*/ 115 w 289"/>
              <a:gd name="T101" fmla="*/ 98 h 115"/>
              <a:gd name="T102" fmla="*/ 70 w 289"/>
              <a:gd name="T103" fmla="*/ 89 h 115"/>
              <a:gd name="T104" fmla="*/ 67 w 289"/>
              <a:gd name="T105" fmla="*/ 23 h 115"/>
              <a:gd name="T106" fmla="*/ 79 w 289"/>
              <a:gd name="T107" fmla="*/ 65 h 115"/>
              <a:gd name="T108" fmla="*/ 69 w 289"/>
              <a:gd name="T109" fmla="*/ 55 h 115"/>
              <a:gd name="T110" fmla="*/ 44 w 289"/>
              <a:gd name="T111" fmla="*/ 34 h 115"/>
              <a:gd name="T112" fmla="*/ 21 w 289"/>
              <a:gd name="T113" fmla="*/ 51 h 115"/>
              <a:gd name="T114" fmla="*/ 12 w 289"/>
              <a:gd name="T115" fmla="*/ 34 h 115"/>
              <a:gd name="T116" fmla="*/ 23 w 289"/>
              <a:gd name="T117" fmla="*/ 32 h 115"/>
              <a:gd name="T118" fmla="*/ 59 w 289"/>
              <a:gd name="T119" fmla="*/ 81 h 115"/>
              <a:gd name="T120" fmla="*/ 60 w 289"/>
              <a:gd name="T121" fmla="*/ 55 h 115"/>
              <a:gd name="T122" fmla="*/ 42 w 289"/>
              <a:gd name="T123" fmla="*/ 33 h 115"/>
              <a:gd name="T124" fmla="*/ 6 w 289"/>
              <a:gd name="T125" fmla="*/ 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9" h="115">
                <a:moveTo>
                  <a:pt x="289" y="60"/>
                </a:moveTo>
                <a:cubicBezTo>
                  <a:pt x="288" y="84"/>
                  <a:pt x="288" y="84"/>
                  <a:pt x="288" y="84"/>
                </a:cubicBezTo>
                <a:cubicBezTo>
                  <a:pt x="288" y="86"/>
                  <a:pt x="288" y="86"/>
                  <a:pt x="288" y="86"/>
                </a:cubicBezTo>
                <a:cubicBezTo>
                  <a:pt x="288" y="87"/>
                  <a:pt x="288" y="87"/>
                  <a:pt x="288" y="87"/>
                </a:cubicBezTo>
                <a:cubicBezTo>
                  <a:pt x="288" y="87"/>
                  <a:pt x="288" y="87"/>
                  <a:pt x="288" y="87"/>
                </a:cubicBezTo>
                <a:cubicBezTo>
                  <a:pt x="288" y="102"/>
                  <a:pt x="288" y="102"/>
                  <a:pt x="288" y="102"/>
                </a:cubicBezTo>
                <a:cubicBezTo>
                  <a:pt x="287" y="102"/>
                  <a:pt x="287" y="102"/>
                  <a:pt x="287" y="102"/>
                </a:cubicBezTo>
                <a:cubicBezTo>
                  <a:pt x="286" y="102"/>
                  <a:pt x="286" y="102"/>
                  <a:pt x="286" y="102"/>
                </a:cubicBezTo>
                <a:cubicBezTo>
                  <a:pt x="284" y="100"/>
                  <a:pt x="284" y="100"/>
                  <a:pt x="284" y="100"/>
                </a:cubicBezTo>
                <a:cubicBezTo>
                  <a:pt x="284" y="99"/>
                  <a:pt x="284" y="99"/>
                  <a:pt x="284" y="99"/>
                </a:cubicBezTo>
                <a:cubicBezTo>
                  <a:pt x="284" y="99"/>
                  <a:pt x="284" y="99"/>
                  <a:pt x="284" y="99"/>
                </a:cubicBezTo>
                <a:cubicBezTo>
                  <a:pt x="282" y="97"/>
                  <a:pt x="282" y="97"/>
                  <a:pt x="282" y="97"/>
                </a:cubicBezTo>
                <a:cubicBezTo>
                  <a:pt x="282" y="97"/>
                  <a:pt x="282" y="97"/>
                  <a:pt x="282" y="97"/>
                </a:cubicBezTo>
                <a:cubicBezTo>
                  <a:pt x="282" y="96"/>
                  <a:pt x="282" y="96"/>
                  <a:pt x="282" y="96"/>
                </a:cubicBezTo>
                <a:cubicBezTo>
                  <a:pt x="282" y="95"/>
                  <a:pt x="282" y="95"/>
                  <a:pt x="282" y="95"/>
                </a:cubicBezTo>
                <a:cubicBezTo>
                  <a:pt x="282" y="94"/>
                  <a:pt x="282" y="94"/>
                  <a:pt x="282" y="94"/>
                </a:cubicBezTo>
                <a:cubicBezTo>
                  <a:pt x="282" y="95"/>
                  <a:pt x="282" y="95"/>
                  <a:pt x="282" y="95"/>
                </a:cubicBezTo>
                <a:cubicBezTo>
                  <a:pt x="281" y="96"/>
                  <a:pt x="281" y="96"/>
                  <a:pt x="281" y="96"/>
                </a:cubicBezTo>
                <a:cubicBezTo>
                  <a:pt x="279" y="96"/>
                  <a:pt x="279" y="96"/>
                  <a:pt x="279" y="96"/>
                </a:cubicBezTo>
                <a:cubicBezTo>
                  <a:pt x="278" y="96"/>
                  <a:pt x="278" y="96"/>
                  <a:pt x="278" y="96"/>
                </a:cubicBezTo>
                <a:cubicBezTo>
                  <a:pt x="277" y="96"/>
                  <a:pt x="277" y="96"/>
                  <a:pt x="277" y="96"/>
                </a:cubicBezTo>
                <a:cubicBezTo>
                  <a:pt x="277" y="96"/>
                  <a:pt x="277" y="96"/>
                  <a:pt x="277" y="96"/>
                </a:cubicBezTo>
                <a:cubicBezTo>
                  <a:pt x="275" y="96"/>
                  <a:pt x="275" y="96"/>
                  <a:pt x="275" y="96"/>
                </a:cubicBezTo>
                <a:cubicBezTo>
                  <a:pt x="274" y="95"/>
                  <a:pt x="274" y="95"/>
                  <a:pt x="274" y="95"/>
                </a:cubicBezTo>
                <a:cubicBezTo>
                  <a:pt x="275" y="95"/>
                  <a:pt x="275" y="95"/>
                  <a:pt x="275" y="95"/>
                </a:cubicBezTo>
                <a:cubicBezTo>
                  <a:pt x="275" y="94"/>
                  <a:pt x="275" y="94"/>
                  <a:pt x="275" y="94"/>
                </a:cubicBezTo>
                <a:cubicBezTo>
                  <a:pt x="275" y="93"/>
                  <a:pt x="275" y="93"/>
                  <a:pt x="275" y="93"/>
                </a:cubicBezTo>
                <a:cubicBezTo>
                  <a:pt x="276" y="93"/>
                  <a:pt x="276" y="93"/>
                  <a:pt x="276" y="93"/>
                </a:cubicBezTo>
                <a:cubicBezTo>
                  <a:pt x="276" y="91"/>
                  <a:pt x="276" y="91"/>
                  <a:pt x="276" y="91"/>
                </a:cubicBezTo>
                <a:cubicBezTo>
                  <a:pt x="275" y="91"/>
                  <a:pt x="275" y="91"/>
                  <a:pt x="275" y="91"/>
                </a:cubicBezTo>
                <a:cubicBezTo>
                  <a:pt x="274" y="90"/>
                  <a:pt x="274" y="90"/>
                  <a:pt x="274" y="90"/>
                </a:cubicBezTo>
                <a:cubicBezTo>
                  <a:pt x="275" y="90"/>
                  <a:pt x="275" y="90"/>
                  <a:pt x="275" y="90"/>
                </a:cubicBezTo>
                <a:cubicBezTo>
                  <a:pt x="276" y="90"/>
                  <a:pt x="276" y="90"/>
                  <a:pt x="276" y="90"/>
                </a:cubicBezTo>
                <a:cubicBezTo>
                  <a:pt x="277" y="90"/>
                  <a:pt x="277" y="90"/>
                  <a:pt x="277" y="90"/>
                </a:cubicBezTo>
                <a:cubicBezTo>
                  <a:pt x="278" y="90"/>
                  <a:pt x="278" y="90"/>
                  <a:pt x="278" y="90"/>
                </a:cubicBezTo>
                <a:cubicBezTo>
                  <a:pt x="277" y="89"/>
                  <a:pt x="277" y="89"/>
                  <a:pt x="277" y="89"/>
                </a:cubicBezTo>
                <a:cubicBezTo>
                  <a:pt x="275" y="90"/>
                  <a:pt x="275" y="90"/>
                  <a:pt x="275" y="90"/>
                </a:cubicBezTo>
                <a:cubicBezTo>
                  <a:pt x="274" y="89"/>
                  <a:pt x="274" y="89"/>
                  <a:pt x="274" y="89"/>
                </a:cubicBezTo>
                <a:cubicBezTo>
                  <a:pt x="273" y="88"/>
                  <a:pt x="273" y="88"/>
                  <a:pt x="273" y="88"/>
                </a:cubicBezTo>
                <a:cubicBezTo>
                  <a:pt x="273" y="87"/>
                  <a:pt x="273" y="87"/>
                  <a:pt x="273" y="87"/>
                </a:cubicBezTo>
                <a:cubicBezTo>
                  <a:pt x="274" y="87"/>
                  <a:pt x="274" y="87"/>
                  <a:pt x="274" y="87"/>
                </a:cubicBezTo>
                <a:cubicBezTo>
                  <a:pt x="275" y="87"/>
                  <a:pt x="275" y="87"/>
                  <a:pt x="275" y="87"/>
                </a:cubicBezTo>
                <a:cubicBezTo>
                  <a:pt x="275" y="87"/>
                  <a:pt x="275" y="87"/>
                  <a:pt x="275" y="87"/>
                </a:cubicBezTo>
                <a:cubicBezTo>
                  <a:pt x="273" y="86"/>
                  <a:pt x="273" y="86"/>
                  <a:pt x="273" y="86"/>
                </a:cubicBezTo>
                <a:cubicBezTo>
                  <a:pt x="272" y="85"/>
                  <a:pt x="272" y="85"/>
                  <a:pt x="272" y="85"/>
                </a:cubicBezTo>
                <a:cubicBezTo>
                  <a:pt x="271" y="84"/>
                  <a:pt x="271" y="84"/>
                  <a:pt x="271" y="84"/>
                </a:cubicBezTo>
                <a:cubicBezTo>
                  <a:pt x="272" y="83"/>
                  <a:pt x="272" y="83"/>
                  <a:pt x="272" y="83"/>
                </a:cubicBezTo>
                <a:cubicBezTo>
                  <a:pt x="270" y="81"/>
                  <a:pt x="270" y="81"/>
                  <a:pt x="270" y="81"/>
                </a:cubicBezTo>
                <a:cubicBezTo>
                  <a:pt x="270" y="81"/>
                  <a:pt x="270" y="81"/>
                  <a:pt x="270" y="81"/>
                </a:cubicBezTo>
                <a:cubicBezTo>
                  <a:pt x="272" y="80"/>
                  <a:pt x="272" y="80"/>
                  <a:pt x="272" y="80"/>
                </a:cubicBezTo>
                <a:cubicBezTo>
                  <a:pt x="270" y="80"/>
                  <a:pt x="270" y="80"/>
                  <a:pt x="270" y="80"/>
                </a:cubicBezTo>
                <a:cubicBezTo>
                  <a:pt x="270" y="79"/>
                  <a:pt x="270" y="79"/>
                  <a:pt x="270" y="79"/>
                </a:cubicBezTo>
                <a:cubicBezTo>
                  <a:pt x="270" y="79"/>
                  <a:pt x="270" y="79"/>
                  <a:pt x="270" y="79"/>
                </a:cubicBezTo>
                <a:cubicBezTo>
                  <a:pt x="270" y="78"/>
                  <a:pt x="270" y="78"/>
                  <a:pt x="270" y="78"/>
                </a:cubicBezTo>
                <a:cubicBezTo>
                  <a:pt x="270" y="78"/>
                  <a:pt x="270" y="78"/>
                  <a:pt x="270" y="78"/>
                </a:cubicBezTo>
                <a:cubicBezTo>
                  <a:pt x="269" y="78"/>
                  <a:pt x="269" y="78"/>
                  <a:pt x="269" y="78"/>
                </a:cubicBezTo>
                <a:cubicBezTo>
                  <a:pt x="269" y="77"/>
                  <a:pt x="269" y="77"/>
                  <a:pt x="269" y="77"/>
                </a:cubicBezTo>
                <a:cubicBezTo>
                  <a:pt x="268" y="78"/>
                  <a:pt x="268" y="78"/>
                  <a:pt x="268" y="78"/>
                </a:cubicBezTo>
                <a:cubicBezTo>
                  <a:pt x="267" y="77"/>
                  <a:pt x="267" y="77"/>
                  <a:pt x="267" y="77"/>
                </a:cubicBezTo>
                <a:cubicBezTo>
                  <a:pt x="268" y="76"/>
                  <a:pt x="268" y="76"/>
                  <a:pt x="268" y="76"/>
                </a:cubicBezTo>
                <a:cubicBezTo>
                  <a:pt x="268" y="77"/>
                  <a:pt x="268" y="77"/>
                  <a:pt x="268" y="77"/>
                </a:cubicBezTo>
                <a:cubicBezTo>
                  <a:pt x="266" y="77"/>
                  <a:pt x="266" y="77"/>
                  <a:pt x="266" y="77"/>
                </a:cubicBezTo>
                <a:cubicBezTo>
                  <a:pt x="265" y="76"/>
                  <a:pt x="265" y="76"/>
                  <a:pt x="265" y="76"/>
                </a:cubicBezTo>
                <a:cubicBezTo>
                  <a:pt x="264" y="75"/>
                  <a:pt x="264" y="75"/>
                  <a:pt x="264" y="75"/>
                </a:cubicBezTo>
                <a:cubicBezTo>
                  <a:pt x="263" y="74"/>
                  <a:pt x="263" y="74"/>
                  <a:pt x="263" y="74"/>
                </a:cubicBezTo>
                <a:cubicBezTo>
                  <a:pt x="261" y="74"/>
                  <a:pt x="261" y="74"/>
                  <a:pt x="261" y="74"/>
                </a:cubicBezTo>
                <a:cubicBezTo>
                  <a:pt x="258" y="73"/>
                  <a:pt x="258" y="73"/>
                  <a:pt x="258" y="73"/>
                </a:cubicBezTo>
                <a:cubicBezTo>
                  <a:pt x="254" y="72"/>
                  <a:pt x="254" y="72"/>
                  <a:pt x="254" y="72"/>
                </a:cubicBezTo>
                <a:cubicBezTo>
                  <a:pt x="252" y="72"/>
                  <a:pt x="252" y="72"/>
                  <a:pt x="252" y="72"/>
                </a:cubicBezTo>
                <a:cubicBezTo>
                  <a:pt x="251" y="71"/>
                  <a:pt x="251" y="71"/>
                  <a:pt x="251" y="71"/>
                </a:cubicBezTo>
                <a:cubicBezTo>
                  <a:pt x="250" y="71"/>
                  <a:pt x="250" y="71"/>
                  <a:pt x="250" y="71"/>
                </a:cubicBezTo>
                <a:cubicBezTo>
                  <a:pt x="250" y="70"/>
                  <a:pt x="250" y="70"/>
                  <a:pt x="250" y="70"/>
                </a:cubicBezTo>
                <a:cubicBezTo>
                  <a:pt x="249" y="70"/>
                  <a:pt x="249" y="70"/>
                  <a:pt x="249" y="70"/>
                </a:cubicBezTo>
                <a:cubicBezTo>
                  <a:pt x="249" y="69"/>
                  <a:pt x="249" y="69"/>
                  <a:pt x="249" y="69"/>
                </a:cubicBezTo>
                <a:cubicBezTo>
                  <a:pt x="250" y="69"/>
                  <a:pt x="250" y="69"/>
                  <a:pt x="250" y="69"/>
                </a:cubicBezTo>
                <a:cubicBezTo>
                  <a:pt x="250" y="69"/>
                  <a:pt x="250" y="69"/>
                  <a:pt x="250" y="69"/>
                </a:cubicBezTo>
                <a:cubicBezTo>
                  <a:pt x="250" y="69"/>
                  <a:pt x="250" y="69"/>
                  <a:pt x="250" y="69"/>
                </a:cubicBezTo>
                <a:cubicBezTo>
                  <a:pt x="249" y="69"/>
                  <a:pt x="249" y="69"/>
                  <a:pt x="249" y="69"/>
                </a:cubicBezTo>
                <a:cubicBezTo>
                  <a:pt x="248" y="69"/>
                  <a:pt x="248" y="69"/>
                  <a:pt x="248" y="69"/>
                </a:cubicBezTo>
                <a:cubicBezTo>
                  <a:pt x="247" y="69"/>
                  <a:pt x="247" y="69"/>
                  <a:pt x="247" y="69"/>
                </a:cubicBezTo>
                <a:cubicBezTo>
                  <a:pt x="247" y="68"/>
                  <a:pt x="247" y="68"/>
                  <a:pt x="247" y="68"/>
                </a:cubicBezTo>
                <a:cubicBezTo>
                  <a:pt x="247" y="68"/>
                  <a:pt x="247" y="68"/>
                  <a:pt x="247" y="68"/>
                </a:cubicBezTo>
                <a:cubicBezTo>
                  <a:pt x="246" y="69"/>
                  <a:pt x="246" y="69"/>
                  <a:pt x="246" y="69"/>
                </a:cubicBezTo>
                <a:cubicBezTo>
                  <a:pt x="246" y="67"/>
                  <a:pt x="246" y="67"/>
                  <a:pt x="246" y="67"/>
                </a:cubicBezTo>
                <a:cubicBezTo>
                  <a:pt x="245" y="67"/>
                  <a:pt x="245" y="67"/>
                  <a:pt x="245" y="67"/>
                </a:cubicBezTo>
                <a:cubicBezTo>
                  <a:pt x="245" y="67"/>
                  <a:pt x="245" y="67"/>
                  <a:pt x="245" y="67"/>
                </a:cubicBezTo>
                <a:cubicBezTo>
                  <a:pt x="244" y="68"/>
                  <a:pt x="244" y="68"/>
                  <a:pt x="244" y="68"/>
                </a:cubicBezTo>
                <a:cubicBezTo>
                  <a:pt x="244" y="67"/>
                  <a:pt x="244" y="67"/>
                  <a:pt x="244" y="67"/>
                </a:cubicBezTo>
                <a:cubicBezTo>
                  <a:pt x="243" y="65"/>
                  <a:pt x="243" y="65"/>
                  <a:pt x="243" y="65"/>
                </a:cubicBezTo>
                <a:cubicBezTo>
                  <a:pt x="243" y="64"/>
                  <a:pt x="243" y="64"/>
                  <a:pt x="243" y="64"/>
                </a:cubicBezTo>
                <a:cubicBezTo>
                  <a:pt x="244" y="63"/>
                  <a:pt x="244" y="63"/>
                  <a:pt x="244" y="63"/>
                </a:cubicBezTo>
                <a:cubicBezTo>
                  <a:pt x="244" y="62"/>
                  <a:pt x="244" y="62"/>
                  <a:pt x="244" y="62"/>
                </a:cubicBezTo>
                <a:cubicBezTo>
                  <a:pt x="243" y="63"/>
                  <a:pt x="243" y="63"/>
                  <a:pt x="243" y="63"/>
                </a:cubicBezTo>
                <a:cubicBezTo>
                  <a:pt x="242" y="64"/>
                  <a:pt x="242" y="64"/>
                  <a:pt x="242" y="64"/>
                </a:cubicBezTo>
                <a:cubicBezTo>
                  <a:pt x="242" y="65"/>
                  <a:pt x="242" y="65"/>
                  <a:pt x="242" y="65"/>
                </a:cubicBezTo>
                <a:cubicBezTo>
                  <a:pt x="242" y="65"/>
                  <a:pt x="242" y="65"/>
                  <a:pt x="242" y="65"/>
                </a:cubicBezTo>
                <a:cubicBezTo>
                  <a:pt x="241" y="67"/>
                  <a:pt x="241" y="67"/>
                  <a:pt x="241" y="67"/>
                </a:cubicBezTo>
                <a:cubicBezTo>
                  <a:pt x="241" y="68"/>
                  <a:pt x="241" y="68"/>
                  <a:pt x="241" y="68"/>
                </a:cubicBezTo>
                <a:cubicBezTo>
                  <a:pt x="240" y="70"/>
                  <a:pt x="240" y="70"/>
                  <a:pt x="240" y="70"/>
                </a:cubicBezTo>
                <a:cubicBezTo>
                  <a:pt x="238" y="70"/>
                  <a:pt x="238" y="70"/>
                  <a:pt x="238" y="70"/>
                </a:cubicBezTo>
                <a:cubicBezTo>
                  <a:pt x="237" y="70"/>
                  <a:pt x="237" y="70"/>
                  <a:pt x="237" y="70"/>
                </a:cubicBezTo>
                <a:cubicBezTo>
                  <a:pt x="236" y="68"/>
                  <a:pt x="236" y="68"/>
                  <a:pt x="236" y="68"/>
                </a:cubicBezTo>
                <a:cubicBezTo>
                  <a:pt x="236" y="67"/>
                  <a:pt x="236" y="67"/>
                  <a:pt x="236" y="67"/>
                </a:cubicBezTo>
                <a:cubicBezTo>
                  <a:pt x="237" y="67"/>
                  <a:pt x="237" y="67"/>
                  <a:pt x="237" y="67"/>
                </a:cubicBezTo>
                <a:cubicBezTo>
                  <a:pt x="237" y="66"/>
                  <a:pt x="237" y="66"/>
                  <a:pt x="237" y="66"/>
                </a:cubicBezTo>
                <a:cubicBezTo>
                  <a:pt x="237" y="65"/>
                  <a:pt x="237" y="65"/>
                  <a:pt x="237" y="65"/>
                </a:cubicBezTo>
                <a:cubicBezTo>
                  <a:pt x="236" y="65"/>
                  <a:pt x="236" y="65"/>
                  <a:pt x="236" y="65"/>
                </a:cubicBezTo>
                <a:cubicBezTo>
                  <a:pt x="236" y="65"/>
                  <a:pt x="236" y="65"/>
                  <a:pt x="236" y="65"/>
                </a:cubicBezTo>
                <a:cubicBezTo>
                  <a:pt x="235" y="63"/>
                  <a:pt x="235" y="63"/>
                  <a:pt x="235" y="63"/>
                </a:cubicBezTo>
                <a:cubicBezTo>
                  <a:pt x="234" y="63"/>
                  <a:pt x="234" y="63"/>
                  <a:pt x="234" y="63"/>
                </a:cubicBezTo>
                <a:cubicBezTo>
                  <a:pt x="232" y="62"/>
                  <a:pt x="232" y="62"/>
                  <a:pt x="232" y="62"/>
                </a:cubicBezTo>
                <a:cubicBezTo>
                  <a:pt x="232" y="62"/>
                  <a:pt x="232" y="62"/>
                  <a:pt x="232" y="62"/>
                </a:cubicBezTo>
                <a:cubicBezTo>
                  <a:pt x="233" y="61"/>
                  <a:pt x="233" y="61"/>
                  <a:pt x="233" y="61"/>
                </a:cubicBezTo>
                <a:cubicBezTo>
                  <a:pt x="234" y="61"/>
                  <a:pt x="234" y="61"/>
                  <a:pt x="234" y="61"/>
                </a:cubicBezTo>
                <a:cubicBezTo>
                  <a:pt x="235" y="61"/>
                  <a:pt x="235" y="61"/>
                  <a:pt x="235" y="61"/>
                </a:cubicBezTo>
                <a:cubicBezTo>
                  <a:pt x="236" y="61"/>
                  <a:pt x="236" y="61"/>
                  <a:pt x="236" y="61"/>
                </a:cubicBezTo>
                <a:cubicBezTo>
                  <a:pt x="237" y="62"/>
                  <a:pt x="237" y="62"/>
                  <a:pt x="237" y="62"/>
                </a:cubicBezTo>
                <a:cubicBezTo>
                  <a:pt x="238" y="61"/>
                  <a:pt x="238" y="61"/>
                  <a:pt x="238" y="61"/>
                </a:cubicBezTo>
                <a:cubicBezTo>
                  <a:pt x="239" y="60"/>
                  <a:pt x="239" y="60"/>
                  <a:pt x="239" y="60"/>
                </a:cubicBezTo>
                <a:cubicBezTo>
                  <a:pt x="240" y="59"/>
                  <a:pt x="240" y="59"/>
                  <a:pt x="240" y="59"/>
                </a:cubicBezTo>
                <a:cubicBezTo>
                  <a:pt x="242" y="60"/>
                  <a:pt x="242" y="60"/>
                  <a:pt x="242" y="60"/>
                </a:cubicBezTo>
                <a:cubicBezTo>
                  <a:pt x="242" y="61"/>
                  <a:pt x="242" y="61"/>
                  <a:pt x="242" y="61"/>
                </a:cubicBezTo>
                <a:cubicBezTo>
                  <a:pt x="243" y="60"/>
                  <a:pt x="243" y="60"/>
                  <a:pt x="243" y="60"/>
                </a:cubicBezTo>
                <a:cubicBezTo>
                  <a:pt x="243" y="59"/>
                  <a:pt x="243" y="59"/>
                  <a:pt x="243" y="59"/>
                </a:cubicBezTo>
                <a:cubicBezTo>
                  <a:pt x="244" y="59"/>
                  <a:pt x="244" y="59"/>
                  <a:pt x="244" y="59"/>
                </a:cubicBezTo>
                <a:cubicBezTo>
                  <a:pt x="244" y="58"/>
                  <a:pt x="244" y="58"/>
                  <a:pt x="244" y="58"/>
                </a:cubicBezTo>
                <a:cubicBezTo>
                  <a:pt x="244" y="57"/>
                  <a:pt x="244" y="57"/>
                  <a:pt x="244" y="57"/>
                </a:cubicBezTo>
                <a:cubicBezTo>
                  <a:pt x="241" y="57"/>
                  <a:pt x="241" y="57"/>
                  <a:pt x="241" y="57"/>
                </a:cubicBezTo>
                <a:cubicBezTo>
                  <a:pt x="241" y="57"/>
                  <a:pt x="241" y="57"/>
                  <a:pt x="241" y="57"/>
                </a:cubicBezTo>
                <a:cubicBezTo>
                  <a:pt x="240" y="58"/>
                  <a:pt x="240" y="58"/>
                  <a:pt x="240" y="58"/>
                </a:cubicBezTo>
                <a:cubicBezTo>
                  <a:pt x="240" y="57"/>
                  <a:pt x="240" y="57"/>
                  <a:pt x="240" y="57"/>
                </a:cubicBezTo>
                <a:cubicBezTo>
                  <a:pt x="238" y="58"/>
                  <a:pt x="238" y="58"/>
                  <a:pt x="238" y="58"/>
                </a:cubicBezTo>
                <a:cubicBezTo>
                  <a:pt x="237" y="58"/>
                  <a:pt x="237" y="58"/>
                  <a:pt x="237" y="58"/>
                </a:cubicBezTo>
                <a:cubicBezTo>
                  <a:pt x="236" y="58"/>
                  <a:pt x="236" y="58"/>
                  <a:pt x="236" y="58"/>
                </a:cubicBezTo>
                <a:cubicBezTo>
                  <a:pt x="236" y="58"/>
                  <a:pt x="236" y="58"/>
                  <a:pt x="236" y="58"/>
                </a:cubicBezTo>
                <a:cubicBezTo>
                  <a:pt x="234" y="58"/>
                  <a:pt x="234" y="58"/>
                  <a:pt x="234" y="58"/>
                </a:cubicBezTo>
                <a:cubicBezTo>
                  <a:pt x="233" y="58"/>
                  <a:pt x="233" y="58"/>
                  <a:pt x="233" y="58"/>
                </a:cubicBezTo>
                <a:cubicBezTo>
                  <a:pt x="232" y="57"/>
                  <a:pt x="232" y="57"/>
                  <a:pt x="232" y="57"/>
                </a:cubicBezTo>
                <a:cubicBezTo>
                  <a:pt x="232" y="55"/>
                  <a:pt x="232" y="55"/>
                  <a:pt x="232" y="55"/>
                </a:cubicBezTo>
                <a:cubicBezTo>
                  <a:pt x="232" y="55"/>
                  <a:pt x="232" y="55"/>
                  <a:pt x="232" y="55"/>
                </a:cubicBezTo>
                <a:cubicBezTo>
                  <a:pt x="231" y="54"/>
                  <a:pt x="231" y="54"/>
                  <a:pt x="231" y="54"/>
                </a:cubicBezTo>
                <a:cubicBezTo>
                  <a:pt x="229" y="53"/>
                  <a:pt x="229" y="53"/>
                  <a:pt x="229" y="53"/>
                </a:cubicBezTo>
                <a:cubicBezTo>
                  <a:pt x="229" y="52"/>
                  <a:pt x="229" y="52"/>
                  <a:pt x="229" y="52"/>
                </a:cubicBezTo>
                <a:cubicBezTo>
                  <a:pt x="228" y="52"/>
                  <a:pt x="228" y="52"/>
                  <a:pt x="228" y="52"/>
                </a:cubicBezTo>
                <a:cubicBezTo>
                  <a:pt x="227" y="53"/>
                  <a:pt x="227" y="53"/>
                  <a:pt x="227" y="53"/>
                </a:cubicBezTo>
                <a:cubicBezTo>
                  <a:pt x="226" y="53"/>
                  <a:pt x="226" y="53"/>
                  <a:pt x="226" y="53"/>
                </a:cubicBezTo>
                <a:cubicBezTo>
                  <a:pt x="226" y="52"/>
                  <a:pt x="226" y="52"/>
                  <a:pt x="226" y="52"/>
                </a:cubicBezTo>
                <a:cubicBezTo>
                  <a:pt x="228" y="51"/>
                  <a:pt x="228" y="51"/>
                  <a:pt x="228" y="51"/>
                </a:cubicBezTo>
                <a:cubicBezTo>
                  <a:pt x="228" y="50"/>
                  <a:pt x="228" y="50"/>
                  <a:pt x="228" y="50"/>
                </a:cubicBezTo>
                <a:cubicBezTo>
                  <a:pt x="227" y="49"/>
                  <a:pt x="227" y="49"/>
                  <a:pt x="227" y="49"/>
                </a:cubicBezTo>
                <a:cubicBezTo>
                  <a:pt x="228" y="48"/>
                  <a:pt x="228" y="48"/>
                  <a:pt x="228" y="48"/>
                </a:cubicBezTo>
                <a:cubicBezTo>
                  <a:pt x="230" y="48"/>
                  <a:pt x="230" y="48"/>
                  <a:pt x="230" y="48"/>
                </a:cubicBezTo>
                <a:cubicBezTo>
                  <a:pt x="231" y="48"/>
                  <a:pt x="231" y="48"/>
                  <a:pt x="231" y="48"/>
                </a:cubicBezTo>
                <a:cubicBezTo>
                  <a:pt x="232" y="47"/>
                  <a:pt x="232" y="47"/>
                  <a:pt x="232" y="47"/>
                </a:cubicBezTo>
                <a:cubicBezTo>
                  <a:pt x="234" y="46"/>
                  <a:pt x="234" y="46"/>
                  <a:pt x="234" y="46"/>
                </a:cubicBezTo>
                <a:cubicBezTo>
                  <a:pt x="234" y="46"/>
                  <a:pt x="234" y="46"/>
                  <a:pt x="234" y="46"/>
                </a:cubicBezTo>
                <a:cubicBezTo>
                  <a:pt x="236" y="45"/>
                  <a:pt x="236" y="45"/>
                  <a:pt x="236" y="45"/>
                </a:cubicBezTo>
                <a:cubicBezTo>
                  <a:pt x="239" y="46"/>
                  <a:pt x="239" y="46"/>
                  <a:pt x="239" y="46"/>
                </a:cubicBezTo>
                <a:cubicBezTo>
                  <a:pt x="241" y="48"/>
                  <a:pt x="241" y="48"/>
                  <a:pt x="241" y="48"/>
                </a:cubicBezTo>
                <a:cubicBezTo>
                  <a:pt x="243" y="48"/>
                  <a:pt x="243" y="48"/>
                  <a:pt x="243" y="48"/>
                </a:cubicBezTo>
                <a:cubicBezTo>
                  <a:pt x="245" y="48"/>
                  <a:pt x="245" y="48"/>
                  <a:pt x="245" y="48"/>
                </a:cubicBezTo>
                <a:cubicBezTo>
                  <a:pt x="246" y="48"/>
                  <a:pt x="246" y="48"/>
                  <a:pt x="246" y="48"/>
                </a:cubicBezTo>
                <a:cubicBezTo>
                  <a:pt x="245" y="49"/>
                  <a:pt x="245" y="49"/>
                  <a:pt x="245" y="49"/>
                </a:cubicBezTo>
                <a:cubicBezTo>
                  <a:pt x="245" y="51"/>
                  <a:pt x="245" y="51"/>
                  <a:pt x="245" y="51"/>
                </a:cubicBezTo>
                <a:cubicBezTo>
                  <a:pt x="247" y="51"/>
                  <a:pt x="247" y="51"/>
                  <a:pt x="247" y="51"/>
                </a:cubicBezTo>
                <a:cubicBezTo>
                  <a:pt x="247" y="53"/>
                  <a:pt x="247" y="53"/>
                  <a:pt x="247" y="53"/>
                </a:cubicBezTo>
                <a:cubicBezTo>
                  <a:pt x="246" y="54"/>
                  <a:pt x="246" y="54"/>
                  <a:pt x="246" y="54"/>
                </a:cubicBezTo>
                <a:cubicBezTo>
                  <a:pt x="245" y="55"/>
                  <a:pt x="245" y="55"/>
                  <a:pt x="245" y="55"/>
                </a:cubicBezTo>
                <a:cubicBezTo>
                  <a:pt x="246" y="57"/>
                  <a:pt x="246" y="57"/>
                  <a:pt x="246" y="57"/>
                </a:cubicBezTo>
                <a:cubicBezTo>
                  <a:pt x="246" y="59"/>
                  <a:pt x="246" y="59"/>
                  <a:pt x="246" y="59"/>
                </a:cubicBezTo>
                <a:cubicBezTo>
                  <a:pt x="247" y="61"/>
                  <a:pt x="247" y="61"/>
                  <a:pt x="247" y="61"/>
                </a:cubicBezTo>
                <a:cubicBezTo>
                  <a:pt x="248" y="62"/>
                  <a:pt x="248" y="62"/>
                  <a:pt x="248" y="62"/>
                </a:cubicBezTo>
                <a:cubicBezTo>
                  <a:pt x="248" y="62"/>
                  <a:pt x="248" y="62"/>
                  <a:pt x="248" y="62"/>
                </a:cubicBezTo>
                <a:cubicBezTo>
                  <a:pt x="248" y="60"/>
                  <a:pt x="248" y="60"/>
                  <a:pt x="248" y="60"/>
                </a:cubicBezTo>
                <a:cubicBezTo>
                  <a:pt x="249" y="60"/>
                  <a:pt x="249" y="60"/>
                  <a:pt x="249" y="60"/>
                </a:cubicBezTo>
                <a:cubicBezTo>
                  <a:pt x="249" y="60"/>
                  <a:pt x="249" y="60"/>
                  <a:pt x="249" y="60"/>
                </a:cubicBezTo>
                <a:cubicBezTo>
                  <a:pt x="249" y="61"/>
                  <a:pt x="249" y="61"/>
                  <a:pt x="249" y="61"/>
                </a:cubicBezTo>
                <a:cubicBezTo>
                  <a:pt x="250" y="63"/>
                  <a:pt x="250" y="63"/>
                  <a:pt x="250" y="63"/>
                </a:cubicBezTo>
                <a:cubicBezTo>
                  <a:pt x="250" y="62"/>
                  <a:pt x="250" y="62"/>
                  <a:pt x="250" y="62"/>
                </a:cubicBezTo>
                <a:cubicBezTo>
                  <a:pt x="250" y="63"/>
                  <a:pt x="250" y="63"/>
                  <a:pt x="250" y="63"/>
                </a:cubicBezTo>
                <a:cubicBezTo>
                  <a:pt x="252" y="65"/>
                  <a:pt x="252" y="65"/>
                  <a:pt x="252" y="65"/>
                </a:cubicBezTo>
                <a:cubicBezTo>
                  <a:pt x="253" y="65"/>
                  <a:pt x="253" y="65"/>
                  <a:pt x="253" y="65"/>
                </a:cubicBezTo>
                <a:cubicBezTo>
                  <a:pt x="254" y="65"/>
                  <a:pt x="254" y="65"/>
                  <a:pt x="254" y="65"/>
                </a:cubicBezTo>
                <a:cubicBezTo>
                  <a:pt x="255" y="65"/>
                  <a:pt x="255" y="65"/>
                  <a:pt x="255" y="65"/>
                </a:cubicBezTo>
                <a:cubicBezTo>
                  <a:pt x="255" y="64"/>
                  <a:pt x="255" y="64"/>
                  <a:pt x="255" y="64"/>
                </a:cubicBezTo>
                <a:cubicBezTo>
                  <a:pt x="256" y="63"/>
                  <a:pt x="256" y="63"/>
                  <a:pt x="256" y="63"/>
                </a:cubicBezTo>
                <a:cubicBezTo>
                  <a:pt x="257" y="63"/>
                  <a:pt x="257" y="63"/>
                  <a:pt x="257" y="63"/>
                </a:cubicBezTo>
                <a:cubicBezTo>
                  <a:pt x="257" y="61"/>
                  <a:pt x="257" y="61"/>
                  <a:pt x="257" y="61"/>
                </a:cubicBezTo>
                <a:cubicBezTo>
                  <a:pt x="257" y="60"/>
                  <a:pt x="257" y="60"/>
                  <a:pt x="257" y="60"/>
                </a:cubicBezTo>
                <a:cubicBezTo>
                  <a:pt x="259" y="60"/>
                  <a:pt x="259" y="60"/>
                  <a:pt x="259" y="60"/>
                </a:cubicBezTo>
                <a:cubicBezTo>
                  <a:pt x="260" y="59"/>
                  <a:pt x="260" y="59"/>
                  <a:pt x="260" y="59"/>
                </a:cubicBezTo>
                <a:cubicBezTo>
                  <a:pt x="260" y="58"/>
                  <a:pt x="260" y="58"/>
                  <a:pt x="260" y="58"/>
                </a:cubicBezTo>
                <a:cubicBezTo>
                  <a:pt x="260" y="57"/>
                  <a:pt x="260" y="57"/>
                  <a:pt x="260" y="57"/>
                </a:cubicBezTo>
                <a:cubicBezTo>
                  <a:pt x="261" y="58"/>
                  <a:pt x="261" y="58"/>
                  <a:pt x="261" y="58"/>
                </a:cubicBezTo>
                <a:cubicBezTo>
                  <a:pt x="262" y="58"/>
                  <a:pt x="262" y="58"/>
                  <a:pt x="262" y="58"/>
                </a:cubicBezTo>
                <a:cubicBezTo>
                  <a:pt x="263" y="57"/>
                  <a:pt x="263" y="57"/>
                  <a:pt x="263" y="57"/>
                </a:cubicBezTo>
                <a:cubicBezTo>
                  <a:pt x="265" y="57"/>
                  <a:pt x="265" y="57"/>
                  <a:pt x="265" y="57"/>
                </a:cubicBezTo>
                <a:cubicBezTo>
                  <a:pt x="265" y="56"/>
                  <a:pt x="265" y="56"/>
                  <a:pt x="265" y="56"/>
                </a:cubicBezTo>
                <a:cubicBezTo>
                  <a:pt x="264" y="55"/>
                  <a:pt x="264" y="55"/>
                  <a:pt x="264" y="55"/>
                </a:cubicBezTo>
                <a:cubicBezTo>
                  <a:pt x="265" y="54"/>
                  <a:pt x="265" y="54"/>
                  <a:pt x="265" y="54"/>
                </a:cubicBezTo>
                <a:cubicBezTo>
                  <a:pt x="268" y="52"/>
                  <a:pt x="268" y="52"/>
                  <a:pt x="268" y="52"/>
                </a:cubicBezTo>
                <a:cubicBezTo>
                  <a:pt x="269" y="53"/>
                  <a:pt x="269" y="53"/>
                  <a:pt x="269" y="53"/>
                </a:cubicBezTo>
                <a:cubicBezTo>
                  <a:pt x="270" y="53"/>
                  <a:pt x="270" y="53"/>
                  <a:pt x="270" y="53"/>
                </a:cubicBezTo>
                <a:cubicBezTo>
                  <a:pt x="272" y="54"/>
                  <a:pt x="272" y="54"/>
                  <a:pt x="272" y="54"/>
                </a:cubicBezTo>
                <a:cubicBezTo>
                  <a:pt x="274" y="55"/>
                  <a:pt x="274" y="55"/>
                  <a:pt x="274" y="55"/>
                </a:cubicBezTo>
                <a:cubicBezTo>
                  <a:pt x="275" y="56"/>
                  <a:pt x="275" y="56"/>
                  <a:pt x="275" y="56"/>
                </a:cubicBezTo>
                <a:cubicBezTo>
                  <a:pt x="277" y="56"/>
                  <a:pt x="277" y="56"/>
                  <a:pt x="277" y="56"/>
                </a:cubicBezTo>
                <a:cubicBezTo>
                  <a:pt x="278" y="56"/>
                  <a:pt x="278" y="56"/>
                  <a:pt x="278" y="56"/>
                </a:cubicBezTo>
                <a:cubicBezTo>
                  <a:pt x="282" y="58"/>
                  <a:pt x="282" y="58"/>
                  <a:pt x="282" y="58"/>
                </a:cubicBezTo>
                <a:cubicBezTo>
                  <a:pt x="283" y="58"/>
                  <a:pt x="283" y="58"/>
                  <a:pt x="283" y="58"/>
                </a:cubicBezTo>
                <a:cubicBezTo>
                  <a:pt x="284" y="58"/>
                  <a:pt x="284" y="58"/>
                  <a:pt x="284" y="58"/>
                </a:cubicBezTo>
                <a:cubicBezTo>
                  <a:pt x="285" y="58"/>
                  <a:pt x="285" y="58"/>
                  <a:pt x="285" y="58"/>
                </a:cubicBezTo>
                <a:cubicBezTo>
                  <a:pt x="286" y="58"/>
                  <a:pt x="286" y="58"/>
                  <a:pt x="286" y="58"/>
                </a:cubicBezTo>
                <a:cubicBezTo>
                  <a:pt x="287" y="59"/>
                  <a:pt x="287" y="59"/>
                  <a:pt x="287" y="59"/>
                </a:cubicBezTo>
                <a:cubicBezTo>
                  <a:pt x="287" y="60"/>
                  <a:pt x="287" y="60"/>
                  <a:pt x="287" y="60"/>
                </a:cubicBezTo>
                <a:cubicBezTo>
                  <a:pt x="287" y="60"/>
                  <a:pt x="287" y="60"/>
                  <a:pt x="287" y="60"/>
                </a:cubicBezTo>
                <a:cubicBezTo>
                  <a:pt x="288" y="61"/>
                  <a:pt x="288" y="61"/>
                  <a:pt x="288" y="61"/>
                </a:cubicBezTo>
                <a:cubicBezTo>
                  <a:pt x="289" y="60"/>
                  <a:pt x="289" y="60"/>
                  <a:pt x="289" y="60"/>
                </a:cubicBezTo>
                <a:cubicBezTo>
                  <a:pt x="289" y="60"/>
                  <a:pt x="289" y="60"/>
                  <a:pt x="289" y="60"/>
                </a:cubicBezTo>
                <a:close/>
                <a:moveTo>
                  <a:pt x="214" y="43"/>
                </a:moveTo>
                <a:cubicBezTo>
                  <a:pt x="217" y="44"/>
                  <a:pt x="217" y="44"/>
                  <a:pt x="217" y="44"/>
                </a:cubicBezTo>
                <a:cubicBezTo>
                  <a:pt x="217" y="45"/>
                  <a:pt x="217" y="45"/>
                  <a:pt x="217" y="45"/>
                </a:cubicBezTo>
                <a:cubicBezTo>
                  <a:pt x="215" y="44"/>
                  <a:pt x="215" y="44"/>
                  <a:pt x="215" y="44"/>
                </a:cubicBezTo>
                <a:cubicBezTo>
                  <a:pt x="214" y="43"/>
                  <a:pt x="214" y="43"/>
                  <a:pt x="214" y="43"/>
                </a:cubicBezTo>
                <a:close/>
                <a:moveTo>
                  <a:pt x="227" y="45"/>
                </a:moveTo>
                <a:cubicBezTo>
                  <a:pt x="228" y="46"/>
                  <a:pt x="228" y="46"/>
                  <a:pt x="228" y="46"/>
                </a:cubicBezTo>
                <a:cubicBezTo>
                  <a:pt x="229" y="45"/>
                  <a:pt x="229" y="45"/>
                  <a:pt x="229" y="45"/>
                </a:cubicBezTo>
                <a:cubicBezTo>
                  <a:pt x="228" y="44"/>
                  <a:pt x="228" y="44"/>
                  <a:pt x="228" y="44"/>
                </a:cubicBezTo>
                <a:cubicBezTo>
                  <a:pt x="227" y="43"/>
                  <a:pt x="227" y="43"/>
                  <a:pt x="227" y="43"/>
                </a:cubicBezTo>
                <a:cubicBezTo>
                  <a:pt x="225" y="43"/>
                  <a:pt x="225" y="43"/>
                  <a:pt x="225" y="43"/>
                </a:cubicBezTo>
                <a:cubicBezTo>
                  <a:pt x="224" y="44"/>
                  <a:pt x="224" y="44"/>
                  <a:pt x="224" y="44"/>
                </a:cubicBezTo>
                <a:cubicBezTo>
                  <a:pt x="223" y="44"/>
                  <a:pt x="223" y="44"/>
                  <a:pt x="223" y="44"/>
                </a:cubicBezTo>
                <a:cubicBezTo>
                  <a:pt x="222" y="44"/>
                  <a:pt x="222" y="44"/>
                  <a:pt x="222" y="44"/>
                </a:cubicBezTo>
                <a:cubicBezTo>
                  <a:pt x="223" y="45"/>
                  <a:pt x="223" y="45"/>
                  <a:pt x="223" y="45"/>
                </a:cubicBezTo>
                <a:cubicBezTo>
                  <a:pt x="222" y="45"/>
                  <a:pt x="222" y="45"/>
                  <a:pt x="222" y="45"/>
                </a:cubicBezTo>
                <a:cubicBezTo>
                  <a:pt x="224" y="45"/>
                  <a:pt x="224" y="45"/>
                  <a:pt x="224" y="45"/>
                </a:cubicBezTo>
                <a:cubicBezTo>
                  <a:pt x="225" y="46"/>
                  <a:pt x="225" y="46"/>
                  <a:pt x="225" y="46"/>
                </a:cubicBezTo>
                <a:cubicBezTo>
                  <a:pt x="226" y="46"/>
                  <a:pt x="226" y="46"/>
                  <a:pt x="226" y="46"/>
                </a:cubicBezTo>
                <a:cubicBezTo>
                  <a:pt x="226" y="45"/>
                  <a:pt x="226" y="45"/>
                  <a:pt x="226" y="45"/>
                </a:cubicBezTo>
                <a:cubicBezTo>
                  <a:pt x="225" y="45"/>
                  <a:pt x="225" y="45"/>
                  <a:pt x="225" y="45"/>
                </a:cubicBezTo>
                <a:cubicBezTo>
                  <a:pt x="225" y="45"/>
                  <a:pt x="225" y="45"/>
                  <a:pt x="225" y="45"/>
                </a:cubicBezTo>
                <a:cubicBezTo>
                  <a:pt x="225" y="44"/>
                  <a:pt x="225" y="44"/>
                  <a:pt x="225" y="44"/>
                </a:cubicBezTo>
                <a:cubicBezTo>
                  <a:pt x="227" y="45"/>
                  <a:pt x="227" y="45"/>
                  <a:pt x="227" y="45"/>
                </a:cubicBezTo>
                <a:close/>
                <a:moveTo>
                  <a:pt x="225" y="49"/>
                </a:moveTo>
                <a:cubicBezTo>
                  <a:pt x="224" y="49"/>
                  <a:pt x="224" y="49"/>
                  <a:pt x="224" y="49"/>
                </a:cubicBezTo>
                <a:cubicBezTo>
                  <a:pt x="222" y="49"/>
                  <a:pt x="222" y="49"/>
                  <a:pt x="222" y="49"/>
                </a:cubicBezTo>
                <a:cubicBezTo>
                  <a:pt x="223" y="49"/>
                  <a:pt x="223" y="49"/>
                  <a:pt x="223" y="49"/>
                </a:cubicBezTo>
                <a:cubicBezTo>
                  <a:pt x="225" y="49"/>
                  <a:pt x="225" y="49"/>
                  <a:pt x="225" y="49"/>
                </a:cubicBezTo>
                <a:close/>
                <a:moveTo>
                  <a:pt x="226" y="48"/>
                </a:moveTo>
                <a:cubicBezTo>
                  <a:pt x="225" y="49"/>
                  <a:pt x="225" y="49"/>
                  <a:pt x="225" y="49"/>
                </a:cubicBezTo>
                <a:cubicBezTo>
                  <a:pt x="225" y="48"/>
                  <a:pt x="225" y="48"/>
                  <a:pt x="225" y="48"/>
                </a:cubicBezTo>
                <a:cubicBezTo>
                  <a:pt x="226" y="48"/>
                  <a:pt x="226" y="48"/>
                  <a:pt x="226" y="48"/>
                </a:cubicBezTo>
                <a:close/>
                <a:moveTo>
                  <a:pt x="226" y="49"/>
                </a:moveTo>
                <a:cubicBezTo>
                  <a:pt x="224" y="50"/>
                  <a:pt x="224" y="50"/>
                  <a:pt x="224" y="50"/>
                </a:cubicBezTo>
                <a:cubicBezTo>
                  <a:pt x="224" y="52"/>
                  <a:pt x="224" y="52"/>
                  <a:pt x="224" y="52"/>
                </a:cubicBezTo>
                <a:cubicBezTo>
                  <a:pt x="226" y="52"/>
                  <a:pt x="226" y="52"/>
                  <a:pt x="226" y="52"/>
                </a:cubicBezTo>
                <a:cubicBezTo>
                  <a:pt x="226" y="52"/>
                  <a:pt x="226" y="52"/>
                  <a:pt x="226" y="52"/>
                </a:cubicBezTo>
                <a:cubicBezTo>
                  <a:pt x="226" y="49"/>
                  <a:pt x="226" y="49"/>
                  <a:pt x="226" y="49"/>
                </a:cubicBezTo>
                <a:cubicBezTo>
                  <a:pt x="226" y="49"/>
                  <a:pt x="226" y="49"/>
                  <a:pt x="226" y="49"/>
                </a:cubicBezTo>
                <a:close/>
                <a:moveTo>
                  <a:pt x="190" y="18"/>
                </a:moveTo>
                <a:cubicBezTo>
                  <a:pt x="192" y="20"/>
                  <a:pt x="192" y="20"/>
                  <a:pt x="192" y="20"/>
                </a:cubicBezTo>
                <a:cubicBezTo>
                  <a:pt x="192" y="21"/>
                  <a:pt x="192" y="21"/>
                  <a:pt x="192" y="21"/>
                </a:cubicBezTo>
                <a:cubicBezTo>
                  <a:pt x="192" y="22"/>
                  <a:pt x="192" y="22"/>
                  <a:pt x="192" y="22"/>
                </a:cubicBezTo>
                <a:cubicBezTo>
                  <a:pt x="190" y="21"/>
                  <a:pt x="190" y="21"/>
                  <a:pt x="190" y="21"/>
                </a:cubicBezTo>
                <a:cubicBezTo>
                  <a:pt x="190" y="19"/>
                  <a:pt x="190" y="19"/>
                  <a:pt x="190" y="19"/>
                </a:cubicBezTo>
                <a:cubicBezTo>
                  <a:pt x="190" y="18"/>
                  <a:pt x="190" y="18"/>
                  <a:pt x="190" y="18"/>
                </a:cubicBezTo>
                <a:close/>
                <a:moveTo>
                  <a:pt x="198" y="14"/>
                </a:moveTo>
                <a:cubicBezTo>
                  <a:pt x="199" y="15"/>
                  <a:pt x="199" y="15"/>
                  <a:pt x="199" y="15"/>
                </a:cubicBezTo>
                <a:cubicBezTo>
                  <a:pt x="199" y="17"/>
                  <a:pt x="199" y="17"/>
                  <a:pt x="199" y="17"/>
                </a:cubicBezTo>
                <a:cubicBezTo>
                  <a:pt x="199" y="16"/>
                  <a:pt x="199" y="16"/>
                  <a:pt x="199" y="16"/>
                </a:cubicBezTo>
                <a:cubicBezTo>
                  <a:pt x="200" y="15"/>
                  <a:pt x="200" y="15"/>
                  <a:pt x="200" y="15"/>
                </a:cubicBezTo>
                <a:cubicBezTo>
                  <a:pt x="200" y="14"/>
                  <a:pt x="200" y="14"/>
                  <a:pt x="200" y="14"/>
                </a:cubicBezTo>
                <a:cubicBezTo>
                  <a:pt x="199" y="13"/>
                  <a:pt x="199" y="13"/>
                  <a:pt x="199" y="13"/>
                </a:cubicBezTo>
                <a:cubicBezTo>
                  <a:pt x="198" y="14"/>
                  <a:pt x="198" y="14"/>
                  <a:pt x="198" y="14"/>
                </a:cubicBezTo>
                <a:close/>
                <a:moveTo>
                  <a:pt x="198" y="17"/>
                </a:moveTo>
                <a:cubicBezTo>
                  <a:pt x="199" y="17"/>
                  <a:pt x="199" y="17"/>
                  <a:pt x="199" y="17"/>
                </a:cubicBezTo>
                <a:cubicBezTo>
                  <a:pt x="199" y="18"/>
                  <a:pt x="199" y="18"/>
                  <a:pt x="199" y="18"/>
                </a:cubicBezTo>
                <a:cubicBezTo>
                  <a:pt x="199" y="18"/>
                  <a:pt x="199" y="18"/>
                  <a:pt x="199" y="18"/>
                </a:cubicBezTo>
                <a:cubicBezTo>
                  <a:pt x="199" y="18"/>
                  <a:pt x="198" y="17"/>
                  <a:pt x="198" y="17"/>
                </a:cubicBezTo>
                <a:close/>
                <a:moveTo>
                  <a:pt x="208" y="29"/>
                </a:moveTo>
                <a:cubicBezTo>
                  <a:pt x="209" y="31"/>
                  <a:pt x="209" y="31"/>
                  <a:pt x="209" y="31"/>
                </a:cubicBezTo>
                <a:cubicBezTo>
                  <a:pt x="209" y="30"/>
                  <a:pt x="209" y="30"/>
                  <a:pt x="209" y="30"/>
                </a:cubicBezTo>
                <a:cubicBezTo>
                  <a:pt x="210" y="30"/>
                  <a:pt x="210" y="30"/>
                  <a:pt x="210" y="30"/>
                </a:cubicBezTo>
                <a:cubicBezTo>
                  <a:pt x="211" y="29"/>
                  <a:pt x="211" y="29"/>
                  <a:pt x="211" y="29"/>
                </a:cubicBezTo>
                <a:cubicBezTo>
                  <a:pt x="211" y="28"/>
                  <a:pt x="211" y="28"/>
                  <a:pt x="211" y="28"/>
                </a:cubicBezTo>
                <a:cubicBezTo>
                  <a:pt x="210" y="28"/>
                  <a:pt x="210" y="28"/>
                  <a:pt x="210" y="28"/>
                </a:cubicBezTo>
                <a:cubicBezTo>
                  <a:pt x="209" y="28"/>
                  <a:pt x="209" y="28"/>
                  <a:pt x="209" y="28"/>
                </a:cubicBezTo>
                <a:cubicBezTo>
                  <a:pt x="208" y="29"/>
                  <a:pt x="208" y="29"/>
                  <a:pt x="208" y="29"/>
                </a:cubicBezTo>
                <a:close/>
                <a:moveTo>
                  <a:pt x="207" y="45"/>
                </a:moveTo>
                <a:cubicBezTo>
                  <a:pt x="208" y="47"/>
                  <a:pt x="208" y="47"/>
                  <a:pt x="208" y="47"/>
                </a:cubicBezTo>
                <a:cubicBezTo>
                  <a:pt x="209" y="49"/>
                  <a:pt x="209" y="49"/>
                  <a:pt x="209" y="49"/>
                </a:cubicBezTo>
                <a:cubicBezTo>
                  <a:pt x="210" y="49"/>
                  <a:pt x="210" y="49"/>
                  <a:pt x="210" y="49"/>
                </a:cubicBezTo>
                <a:cubicBezTo>
                  <a:pt x="209" y="49"/>
                  <a:pt x="209" y="49"/>
                  <a:pt x="209" y="49"/>
                </a:cubicBezTo>
                <a:cubicBezTo>
                  <a:pt x="209" y="50"/>
                  <a:pt x="209" y="50"/>
                  <a:pt x="209" y="50"/>
                </a:cubicBezTo>
                <a:cubicBezTo>
                  <a:pt x="209" y="49"/>
                  <a:pt x="209" y="49"/>
                  <a:pt x="209" y="49"/>
                </a:cubicBezTo>
                <a:cubicBezTo>
                  <a:pt x="208" y="49"/>
                  <a:pt x="208" y="49"/>
                  <a:pt x="208" y="49"/>
                </a:cubicBezTo>
                <a:cubicBezTo>
                  <a:pt x="207" y="47"/>
                  <a:pt x="207" y="47"/>
                  <a:pt x="207" y="47"/>
                </a:cubicBezTo>
                <a:cubicBezTo>
                  <a:pt x="205" y="46"/>
                  <a:pt x="205" y="46"/>
                  <a:pt x="205" y="46"/>
                </a:cubicBezTo>
                <a:cubicBezTo>
                  <a:pt x="204" y="44"/>
                  <a:pt x="204" y="44"/>
                  <a:pt x="204" y="44"/>
                </a:cubicBezTo>
                <a:cubicBezTo>
                  <a:pt x="205" y="43"/>
                  <a:pt x="205" y="43"/>
                  <a:pt x="205" y="43"/>
                </a:cubicBezTo>
                <a:cubicBezTo>
                  <a:pt x="205" y="42"/>
                  <a:pt x="205" y="42"/>
                  <a:pt x="205" y="42"/>
                </a:cubicBezTo>
                <a:cubicBezTo>
                  <a:pt x="205" y="42"/>
                  <a:pt x="205" y="42"/>
                  <a:pt x="205" y="42"/>
                </a:cubicBezTo>
                <a:cubicBezTo>
                  <a:pt x="204" y="41"/>
                  <a:pt x="204" y="41"/>
                  <a:pt x="204" y="41"/>
                </a:cubicBezTo>
                <a:cubicBezTo>
                  <a:pt x="204" y="39"/>
                  <a:pt x="204" y="39"/>
                  <a:pt x="204" y="39"/>
                </a:cubicBezTo>
                <a:cubicBezTo>
                  <a:pt x="204" y="39"/>
                  <a:pt x="204" y="39"/>
                  <a:pt x="204" y="39"/>
                </a:cubicBezTo>
                <a:cubicBezTo>
                  <a:pt x="204" y="37"/>
                  <a:pt x="204" y="37"/>
                  <a:pt x="204" y="37"/>
                </a:cubicBezTo>
                <a:cubicBezTo>
                  <a:pt x="203" y="36"/>
                  <a:pt x="203" y="36"/>
                  <a:pt x="203" y="36"/>
                </a:cubicBezTo>
                <a:cubicBezTo>
                  <a:pt x="203" y="35"/>
                  <a:pt x="203" y="35"/>
                  <a:pt x="203" y="35"/>
                </a:cubicBezTo>
                <a:cubicBezTo>
                  <a:pt x="204" y="34"/>
                  <a:pt x="204" y="34"/>
                  <a:pt x="204" y="34"/>
                </a:cubicBezTo>
                <a:cubicBezTo>
                  <a:pt x="204" y="33"/>
                  <a:pt x="204" y="33"/>
                  <a:pt x="204" y="33"/>
                </a:cubicBezTo>
                <a:cubicBezTo>
                  <a:pt x="205" y="31"/>
                  <a:pt x="205" y="31"/>
                  <a:pt x="205" y="31"/>
                </a:cubicBezTo>
                <a:cubicBezTo>
                  <a:pt x="206" y="29"/>
                  <a:pt x="206" y="29"/>
                  <a:pt x="206" y="29"/>
                </a:cubicBezTo>
                <a:cubicBezTo>
                  <a:pt x="207" y="29"/>
                  <a:pt x="207" y="29"/>
                  <a:pt x="207" y="29"/>
                </a:cubicBezTo>
                <a:cubicBezTo>
                  <a:pt x="207" y="30"/>
                  <a:pt x="207" y="30"/>
                  <a:pt x="207" y="30"/>
                </a:cubicBezTo>
                <a:cubicBezTo>
                  <a:pt x="206" y="31"/>
                  <a:pt x="206" y="31"/>
                  <a:pt x="206" y="31"/>
                </a:cubicBezTo>
                <a:cubicBezTo>
                  <a:pt x="206" y="32"/>
                  <a:pt x="206" y="32"/>
                  <a:pt x="206" y="32"/>
                </a:cubicBezTo>
                <a:cubicBezTo>
                  <a:pt x="207" y="32"/>
                  <a:pt x="207" y="32"/>
                  <a:pt x="207" y="32"/>
                </a:cubicBezTo>
                <a:cubicBezTo>
                  <a:pt x="207" y="34"/>
                  <a:pt x="207" y="34"/>
                  <a:pt x="207" y="34"/>
                </a:cubicBezTo>
                <a:cubicBezTo>
                  <a:pt x="207" y="36"/>
                  <a:pt x="207" y="36"/>
                  <a:pt x="207" y="36"/>
                </a:cubicBezTo>
                <a:cubicBezTo>
                  <a:pt x="206" y="36"/>
                  <a:pt x="206" y="36"/>
                  <a:pt x="206" y="36"/>
                </a:cubicBezTo>
                <a:cubicBezTo>
                  <a:pt x="205" y="36"/>
                  <a:pt x="205" y="36"/>
                  <a:pt x="205" y="36"/>
                </a:cubicBezTo>
                <a:cubicBezTo>
                  <a:pt x="205" y="38"/>
                  <a:pt x="205" y="38"/>
                  <a:pt x="205" y="38"/>
                </a:cubicBezTo>
                <a:cubicBezTo>
                  <a:pt x="206" y="37"/>
                  <a:pt x="206" y="37"/>
                  <a:pt x="206" y="37"/>
                </a:cubicBezTo>
                <a:cubicBezTo>
                  <a:pt x="207" y="36"/>
                  <a:pt x="207" y="36"/>
                  <a:pt x="207" y="36"/>
                </a:cubicBezTo>
                <a:cubicBezTo>
                  <a:pt x="208" y="36"/>
                  <a:pt x="208" y="36"/>
                  <a:pt x="208" y="36"/>
                </a:cubicBezTo>
                <a:cubicBezTo>
                  <a:pt x="208" y="35"/>
                  <a:pt x="208" y="35"/>
                  <a:pt x="208" y="35"/>
                </a:cubicBezTo>
                <a:cubicBezTo>
                  <a:pt x="208" y="35"/>
                  <a:pt x="208" y="35"/>
                  <a:pt x="208" y="35"/>
                </a:cubicBezTo>
                <a:cubicBezTo>
                  <a:pt x="208" y="34"/>
                  <a:pt x="208" y="34"/>
                  <a:pt x="208" y="34"/>
                </a:cubicBezTo>
                <a:cubicBezTo>
                  <a:pt x="210" y="33"/>
                  <a:pt x="210" y="33"/>
                  <a:pt x="210" y="33"/>
                </a:cubicBezTo>
                <a:cubicBezTo>
                  <a:pt x="212" y="33"/>
                  <a:pt x="212" y="33"/>
                  <a:pt x="212" y="33"/>
                </a:cubicBezTo>
                <a:cubicBezTo>
                  <a:pt x="212" y="33"/>
                  <a:pt x="212" y="33"/>
                  <a:pt x="212" y="33"/>
                </a:cubicBezTo>
                <a:cubicBezTo>
                  <a:pt x="212" y="34"/>
                  <a:pt x="212" y="34"/>
                  <a:pt x="212" y="34"/>
                </a:cubicBezTo>
                <a:cubicBezTo>
                  <a:pt x="211" y="37"/>
                  <a:pt x="211" y="37"/>
                  <a:pt x="211" y="37"/>
                </a:cubicBezTo>
                <a:cubicBezTo>
                  <a:pt x="209" y="37"/>
                  <a:pt x="209" y="37"/>
                  <a:pt x="209" y="37"/>
                </a:cubicBezTo>
                <a:cubicBezTo>
                  <a:pt x="208" y="38"/>
                  <a:pt x="208" y="38"/>
                  <a:pt x="208" y="38"/>
                </a:cubicBezTo>
                <a:cubicBezTo>
                  <a:pt x="209" y="39"/>
                  <a:pt x="209" y="39"/>
                  <a:pt x="209" y="39"/>
                </a:cubicBezTo>
                <a:cubicBezTo>
                  <a:pt x="210" y="39"/>
                  <a:pt x="210" y="39"/>
                  <a:pt x="210" y="39"/>
                </a:cubicBezTo>
                <a:cubicBezTo>
                  <a:pt x="211" y="40"/>
                  <a:pt x="211" y="40"/>
                  <a:pt x="211" y="40"/>
                </a:cubicBezTo>
                <a:cubicBezTo>
                  <a:pt x="211" y="41"/>
                  <a:pt x="211" y="41"/>
                  <a:pt x="211" y="41"/>
                </a:cubicBezTo>
                <a:cubicBezTo>
                  <a:pt x="212" y="42"/>
                  <a:pt x="212" y="42"/>
                  <a:pt x="212" y="42"/>
                </a:cubicBezTo>
                <a:cubicBezTo>
                  <a:pt x="211" y="42"/>
                  <a:pt x="211" y="42"/>
                  <a:pt x="211" y="42"/>
                </a:cubicBezTo>
                <a:cubicBezTo>
                  <a:pt x="210" y="41"/>
                  <a:pt x="210" y="41"/>
                  <a:pt x="210" y="41"/>
                </a:cubicBezTo>
                <a:cubicBezTo>
                  <a:pt x="208" y="41"/>
                  <a:pt x="208" y="41"/>
                  <a:pt x="208" y="41"/>
                </a:cubicBezTo>
                <a:cubicBezTo>
                  <a:pt x="207" y="41"/>
                  <a:pt x="207" y="41"/>
                  <a:pt x="207" y="41"/>
                </a:cubicBezTo>
                <a:cubicBezTo>
                  <a:pt x="206" y="41"/>
                  <a:pt x="206" y="41"/>
                  <a:pt x="206" y="41"/>
                </a:cubicBezTo>
                <a:cubicBezTo>
                  <a:pt x="206" y="43"/>
                  <a:pt x="206" y="43"/>
                  <a:pt x="206" y="43"/>
                </a:cubicBezTo>
                <a:cubicBezTo>
                  <a:pt x="207" y="45"/>
                  <a:pt x="207" y="45"/>
                  <a:pt x="207" y="45"/>
                </a:cubicBezTo>
                <a:close/>
                <a:moveTo>
                  <a:pt x="202" y="48"/>
                </a:moveTo>
                <a:cubicBezTo>
                  <a:pt x="202" y="49"/>
                  <a:pt x="202" y="49"/>
                  <a:pt x="202" y="49"/>
                </a:cubicBezTo>
                <a:cubicBezTo>
                  <a:pt x="201" y="49"/>
                  <a:pt x="201" y="49"/>
                  <a:pt x="201" y="49"/>
                </a:cubicBezTo>
                <a:cubicBezTo>
                  <a:pt x="202" y="48"/>
                  <a:pt x="202" y="48"/>
                  <a:pt x="202" y="48"/>
                </a:cubicBezTo>
                <a:cubicBezTo>
                  <a:pt x="202" y="48"/>
                  <a:pt x="202" y="48"/>
                  <a:pt x="202" y="48"/>
                </a:cubicBezTo>
                <a:close/>
                <a:moveTo>
                  <a:pt x="202" y="46"/>
                </a:moveTo>
                <a:cubicBezTo>
                  <a:pt x="201" y="46"/>
                  <a:pt x="201" y="46"/>
                  <a:pt x="201" y="46"/>
                </a:cubicBezTo>
                <a:cubicBezTo>
                  <a:pt x="201" y="47"/>
                  <a:pt x="201" y="47"/>
                  <a:pt x="201" y="47"/>
                </a:cubicBezTo>
                <a:cubicBezTo>
                  <a:pt x="202" y="47"/>
                  <a:pt x="202" y="47"/>
                  <a:pt x="202" y="47"/>
                </a:cubicBezTo>
                <a:cubicBezTo>
                  <a:pt x="202" y="46"/>
                  <a:pt x="202" y="46"/>
                  <a:pt x="202" y="46"/>
                </a:cubicBezTo>
                <a:cubicBezTo>
                  <a:pt x="202" y="46"/>
                  <a:pt x="202" y="46"/>
                  <a:pt x="202" y="46"/>
                </a:cubicBezTo>
                <a:close/>
                <a:moveTo>
                  <a:pt x="203" y="46"/>
                </a:moveTo>
                <a:cubicBezTo>
                  <a:pt x="203" y="47"/>
                  <a:pt x="203" y="47"/>
                  <a:pt x="203" y="47"/>
                </a:cubicBezTo>
                <a:cubicBezTo>
                  <a:pt x="203" y="48"/>
                  <a:pt x="203" y="48"/>
                  <a:pt x="203" y="48"/>
                </a:cubicBezTo>
                <a:cubicBezTo>
                  <a:pt x="203" y="49"/>
                  <a:pt x="203" y="49"/>
                  <a:pt x="203" y="49"/>
                </a:cubicBezTo>
                <a:cubicBezTo>
                  <a:pt x="204" y="49"/>
                  <a:pt x="204" y="49"/>
                  <a:pt x="204" y="49"/>
                </a:cubicBezTo>
                <a:cubicBezTo>
                  <a:pt x="205" y="49"/>
                  <a:pt x="205" y="49"/>
                  <a:pt x="205" y="49"/>
                </a:cubicBezTo>
                <a:cubicBezTo>
                  <a:pt x="206" y="49"/>
                  <a:pt x="206" y="49"/>
                  <a:pt x="206" y="49"/>
                </a:cubicBezTo>
                <a:cubicBezTo>
                  <a:pt x="205" y="48"/>
                  <a:pt x="205" y="48"/>
                  <a:pt x="205" y="48"/>
                </a:cubicBezTo>
                <a:cubicBezTo>
                  <a:pt x="204" y="48"/>
                  <a:pt x="204" y="48"/>
                  <a:pt x="204" y="48"/>
                </a:cubicBezTo>
                <a:cubicBezTo>
                  <a:pt x="205" y="47"/>
                  <a:pt x="205" y="47"/>
                  <a:pt x="205" y="47"/>
                </a:cubicBezTo>
                <a:cubicBezTo>
                  <a:pt x="204" y="46"/>
                  <a:pt x="204" y="46"/>
                  <a:pt x="204" y="46"/>
                </a:cubicBezTo>
                <a:cubicBezTo>
                  <a:pt x="203" y="46"/>
                  <a:pt x="203" y="46"/>
                  <a:pt x="203" y="46"/>
                </a:cubicBezTo>
                <a:close/>
                <a:moveTo>
                  <a:pt x="203" y="54"/>
                </a:moveTo>
                <a:cubicBezTo>
                  <a:pt x="205" y="52"/>
                  <a:pt x="205" y="52"/>
                  <a:pt x="205" y="52"/>
                </a:cubicBezTo>
                <a:cubicBezTo>
                  <a:pt x="206" y="52"/>
                  <a:pt x="206" y="52"/>
                  <a:pt x="206" y="52"/>
                </a:cubicBezTo>
                <a:cubicBezTo>
                  <a:pt x="208" y="54"/>
                  <a:pt x="208" y="54"/>
                  <a:pt x="208" y="54"/>
                </a:cubicBezTo>
                <a:cubicBezTo>
                  <a:pt x="207" y="55"/>
                  <a:pt x="207" y="55"/>
                  <a:pt x="207" y="55"/>
                </a:cubicBezTo>
                <a:cubicBezTo>
                  <a:pt x="206" y="55"/>
                  <a:pt x="206" y="55"/>
                  <a:pt x="206" y="55"/>
                </a:cubicBezTo>
                <a:cubicBezTo>
                  <a:pt x="205" y="55"/>
                  <a:pt x="205" y="55"/>
                  <a:pt x="205" y="55"/>
                </a:cubicBezTo>
                <a:cubicBezTo>
                  <a:pt x="205" y="55"/>
                  <a:pt x="205" y="55"/>
                  <a:pt x="205" y="55"/>
                </a:cubicBezTo>
                <a:cubicBezTo>
                  <a:pt x="203" y="54"/>
                  <a:pt x="203" y="54"/>
                  <a:pt x="203" y="54"/>
                </a:cubicBezTo>
                <a:cubicBezTo>
                  <a:pt x="203" y="54"/>
                  <a:pt x="203" y="54"/>
                  <a:pt x="203" y="54"/>
                </a:cubicBezTo>
                <a:close/>
                <a:moveTo>
                  <a:pt x="221" y="54"/>
                </a:moveTo>
                <a:cubicBezTo>
                  <a:pt x="219" y="55"/>
                  <a:pt x="219" y="55"/>
                  <a:pt x="219" y="55"/>
                </a:cubicBezTo>
                <a:cubicBezTo>
                  <a:pt x="218" y="55"/>
                  <a:pt x="218" y="55"/>
                  <a:pt x="218" y="55"/>
                </a:cubicBezTo>
                <a:cubicBezTo>
                  <a:pt x="218" y="56"/>
                  <a:pt x="218" y="56"/>
                  <a:pt x="218" y="56"/>
                </a:cubicBezTo>
                <a:cubicBezTo>
                  <a:pt x="220" y="57"/>
                  <a:pt x="220" y="57"/>
                  <a:pt x="220" y="57"/>
                </a:cubicBezTo>
                <a:cubicBezTo>
                  <a:pt x="222" y="56"/>
                  <a:pt x="222" y="56"/>
                  <a:pt x="222" y="56"/>
                </a:cubicBezTo>
                <a:cubicBezTo>
                  <a:pt x="222" y="56"/>
                  <a:pt x="222" y="56"/>
                  <a:pt x="222" y="56"/>
                </a:cubicBezTo>
                <a:cubicBezTo>
                  <a:pt x="221" y="55"/>
                  <a:pt x="221" y="55"/>
                  <a:pt x="221" y="55"/>
                </a:cubicBezTo>
                <a:cubicBezTo>
                  <a:pt x="221" y="54"/>
                  <a:pt x="221" y="54"/>
                  <a:pt x="221" y="54"/>
                </a:cubicBezTo>
                <a:close/>
                <a:moveTo>
                  <a:pt x="210" y="67"/>
                </a:moveTo>
                <a:cubicBezTo>
                  <a:pt x="211" y="66"/>
                  <a:pt x="211" y="66"/>
                  <a:pt x="211" y="66"/>
                </a:cubicBezTo>
                <a:cubicBezTo>
                  <a:pt x="211" y="67"/>
                  <a:pt x="211" y="67"/>
                  <a:pt x="211" y="67"/>
                </a:cubicBezTo>
                <a:cubicBezTo>
                  <a:pt x="210" y="67"/>
                  <a:pt x="210" y="67"/>
                  <a:pt x="210" y="67"/>
                </a:cubicBezTo>
                <a:cubicBezTo>
                  <a:pt x="210" y="67"/>
                  <a:pt x="210" y="67"/>
                  <a:pt x="210" y="67"/>
                </a:cubicBezTo>
                <a:close/>
                <a:moveTo>
                  <a:pt x="209" y="67"/>
                </a:moveTo>
                <a:cubicBezTo>
                  <a:pt x="210" y="67"/>
                  <a:pt x="210" y="67"/>
                  <a:pt x="210" y="67"/>
                </a:cubicBezTo>
                <a:cubicBezTo>
                  <a:pt x="210" y="67"/>
                  <a:pt x="210" y="67"/>
                  <a:pt x="210" y="67"/>
                </a:cubicBezTo>
                <a:cubicBezTo>
                  <a:pt x="209" y="67"/>
                  <a:pt x="209" y="67"/>
                  <a:pt x="209" y="67"/>
                </a:cubicBezTo>
                <a:cubicBezTo>
                  <a:pt x="209" y="67"/>
                  <a:pt x="209" y="67"/>
                  <a:pt x="209" y="67"/>
                </a:cubicBezTo>
                <a:close/>
                <a:moveTo>
                  <a:pt x="206" y="67"/>
                </a:moveTo>
                <a:cubicBezTo>
                  <a:pt x="207" y="67"/>
                  <a:pt x="207" y="67"/>
                  <a:pt x="207" y="67"/>
                </a:cubicBezTo>
                <a:cubicBezTo>
                  <a:pt x="208" y="66"/>
                  <a:pt x="208" y="66"/>
                  <a:pt x="208" y="66"/>
                </a:cubicBezTo>
                <a:cubicBezTo>
                  <a:pt x="208" y="67"/>
                  <a:pt x="208" y="67"/>
                  <a:pt x="208" y="67"/>
                </a:cubicBezTo>
                <a:cubicBezTo>
                  <a:pt x="208" y="68"/>
                  <a:pt x="208" y="68"/>
                  <a:pt x="208" y="68"/>
                </a:cubicBezTo>
                <a:cubicBezTo>
                  <a:pt x="207" y="67"/>
                  <a:pt x="207" y="67"/>
                  <a:pt x="207" y="67"/>
                </a:cubicBezTo>
                <a:cubicBezTo>
                  <a:pt x="207" y="68"/>
                  <a:pt x="207" y="68"/>
                  <a:pt x="207" y="68"/>
                </a:cubicBezTo>
                <a:cubicBezTo>
                  <a:pt x="206" y="67"/>
                  <a:pt x="206" y="67"/>
                  <a:pt x="206" y="67"/>
                </a:cubicBezTo>
                <a:close/>
                <a:moveTo>
                  <a:pt x="205" y="63"/>
                </a:moveTo>
                <a:cubicBezTo>
                  <a:pt x="205" y="64"/>
                  <a:pt x="205" y="64"/>
                  <a:pt x="205" y="64"/>
                </a:cubicBezTo>
                <a:cubicBezTo>
                  <a:pt x="205" y="64"/>
                  <a:pt x="205" y="64"/>
                  <a:pt x="205" y="64"/>
                </a:cubicBezTo>
                <a:cubicBezTo>
                  <a:pt x="205" y="63"/>
                  <a:pt x="205" y="63"/>
                  <a:pt x="205" y="63"/>
                </a:cubicBezTo>
                <a:close/>
                <a:moveTo>
                  <a:pt x="207" y="62"/>
                </a:moveTo>
                <a:cubicBezTo>
                  <a:pt x="205" y="62"/>
                  <a:pt x="205" y="62"/>
                  <a:pt x="205" y="62"/>
                </a:cubicBezTo>
                <a:cubicBezTo>
                  <a:pt x="206" y="63"/>
                  <a:pt x="206" y="63"/>
                  <a:pt x="206" y="63"/>
                </a:cubicBezTo>
                <a:cubicBezTo>
                  <a:pt x="206" y="63"/>
                  <a:pt x="206" y="63"/>
                  <a:pt x="206" y="63"/>
                </a:cubicBezTo>
                <a:cubicBezTo>
                  <a:pt x="207" y="62"/>
                  <a:pt x="207" y="62"/>
                  <a:pt x="207" y="62"/>
                </a:cubicBezTo>
                <a:close/>
                <a:moveTo>
                  <a:pt x="207" y="66"/>
                </a:moveTo>
                <a:cubicBezTo>
                  <a:pt x="208" y="64"/>
                  <a:pt x="208" y="64"/>
                  <a:pt x="208" y="64"/>
                </a:cubicBezTo>
                <a:cubicBezTo>
                  <a:pt x="209" y="65"/>
                  <a:pt x="209" y="65"/>
                  <a:pt x="209" y="65"/>
                </a:cubicBezTo>
                <a:cubicBezTo>
                  <a:pt x="210" y="66"/>
                  <a:pt x="210" y="66"/>
                  <a:pt x="210" y="66"/>
                </a:cubicBezTo>
                <a:cubicBezTo>
                  <a:pt x="211" y="66"/>
                  <a:pt x="211" y="66"/>
                  <a:pt x="211" y="66"/>
                </a:cubicBezTo>
                <a:cubicBezTo>
                  <a:pt x="212" y="64"/>
                  <a:pt x="212" y="64"/>
                  <a:pt x="212" y="64"/>
                </a:cubicBezTo>
                <a:cubicBezTo>
                  <a:pt x="213" y="64"/>
                  <a:pt x="213" y="64"/>
                  <a:pt x="213" y="64"/>
                </a:cubicBezTo>
                <a:cubicBezTo>
                  <a:pt x="213" y="66"/>
                  <a:pt x="213" y="66"/>
                  <a:pt x="213" y="66"/>
                </a:cubicBezTo>
                <a:cubicBezTo>
                  <a:pt x="216" y="66"/>
                  <a:pt x="216" y="66"/>
                  <a:pt x="216" y="66"/>
                </a:cubicBezTo>
                <a:cubicBezTo>
                  <a:pt x="217" y="65"/>
                  <a:pt x="217" y="65"/>
                  <a:pt x="217" y="65"/>
                </a:cubicBezTo>
                <a:cubicBezTo>
                  <a:pt x="218" y="65"/>
                  <a:pt x="218" y="65"/>
                  <a:pt x="218" y="65"/>
                </a:cubicBezTo>
                <a:cubicBezTo>
                  <a:pt x="220" y="67"/>
                  <a:pt x="220" y="67"/>
                  <a:pt x="220" y="67"/>
                </a:cubicBezTo>
                <a:cubicBezTo>
                  <a:pt x="221" y="67"/>
                  <a:pt x="221" y="67"/>
                  <a:pt x="221" y="67"/>
                </a:cubicBezTo>
                <a:cubicBezTo>
                  <a:pt x="223" y="68"/>
                  <a:pt x="223" y="68"/>
                  <a:pt x="223" y="68"/>
                </a:cubicBezTo>
                <a:cubicBezTo>
                  <a:pt x="224" y="68"/>
                  <a:pt x="224" y="68"/>
                  <a:pt x="224" y="68"/>
                </a:cubicBezTo>
                <a:cubicBezTo>
                  <a:pt x="225" y="67"/>
                  <a:pt x="225" y="67"/>
                  <a:pt x="225" y="67"/>
                </a:cubicBezTo>
                <a:cubicBezTo>
                  <a:pt x="224" y="65"/>
                  <a:pt x="224" y="65"/>
                  <a:pt x="224" y="65"/>
                </a:cubicBezTo>
                <a:cubicBezTo>
                  <a:pt x="221" y="63"/>
                  <a:pt x="221" y="63"/>
                  <a:pt x="221" y="63"/>
                </a:cubicBezTo>
                <a:cubicBezTo>
                  <a:pt x="218" y="63"/>
                  <a:pt x="218" y="63"/>
                  <a:pt x="218" y="63"/>
                </a:cubicBezTo>
                <a:cubicBezTo>
                  <a:pt x="217" y="61"/>
                  <a:pt x="217" y="61"/>
                  <a:pt x="217" y="61"/>
                </a:cubicBezTo>
                <a:cubicBezTo>
                  <a:pt x="216" y="61"/>
                  <a:pt x="216" y="61"/>
                  <a:pt x="216" y="61"/>
                </a:cubicBezTo>
                <a:cubicBezTo>
                  <a:pt x="215" y="62"/>
                  <a:pt x="215" y="62"/>
                  <a:pt x="215" y="62"/>
                </a:cubicBezTo>
                <a:cubicBezTo>
                  <a:pt x="213" y="62"/>
                  <a:pt x="213" y="62"/>
                  <a:pt x="213" y="62"/>
                </a:cubicBezTo>
                <a:cubicBezTo>
                  <a:pt x="212" y="62"/>
                  <a:pt x="212" y="62"/>
                  <a:pt x="212" y="62"/>
                </a:cubicBezTo>
                <a:cubicBezTo>
                  <a:pt x="211" y="62"/>
                  <a:pt x="211" y="62"/>
                  <a:pt x="211" y="62"/>
                </a:cubicBezTo>
                <a:cubicBezTo>
                  <a:pt x="208" y="62"/>
                  <a:pt x="208" y="62"/>
                  <a:pt x="208" y="62"/>
                </a:cubicBezTo>
                <a:cubicBezTo>
                  <a:pt x="207" y="63"/>
                  <a:pt x="207" y="63"/>
                  <a:pt x="207" y="63"/>
                </a:cubicBezTo>
                <a:cubicBezTo>
                  <a:pt x="207" y="63"/>
                  <a:pt x="207" y="63"/>
                  <a:pt x="207" y="63"/>
                </a:cubicBezTo>
                <a:cubicBezTo>
                  <a:pt x="206" y="64"/>
                  <a:pt x="206" y="64"/>
                  <a:pt x="206" y="64"/>
                </a:cubicBezTo>
                <a:cubicBezTo>
                  <a:pt x="206" y="65"/>
                  <a:pt x="206" y="65"/>
                  <a:pt x="206" y="65"/>
                </a:cubicBezTo>
                <a:cubicBezTo>
                  <a:pt x="206" y="66"/>
                  <a:pt x="206" y="66"/>
                  <a:pt x="206" y="66"/>
                </a:cubicBezTo>
                <a:cubicBezTo>
                  <a:pt x="207" y="66"/>
                  <a:pt x="207" y="66"/>
                  <a:pt x="207" y="66"/>
                </a:cubicBezTo>
                <a:close/>
                <a:moveTo>
                  <a:pt x="195" y="64"/>
                </a:moveTo>
                <a:cubicBezTo>
                  <a:pt x="196" y="64"/>
                  <a:pt x="196" y="64"/>
                  <a:pt x="196" y="64"/>
                </a:cubicBezTo>
                <a:cubicBezTo>
                  <a:pt x="197" y="63"/>
                  <a:pt x="197" y="63"/>
                  <a:pt x="197" y="63"/>
                </a:cubicBezTo>
                <a:cubicBezTo>
                  <a:pt x="199" y="63"/>
                  <a:pt x="199" y="63"/>
                  <a:pt x="199" y="63"/>
                </a:cubicBezTo>
                <a:cubicBezTo>
                  <a:pt x="201" y="64"/>
                  <a:pt x="201" y="64"/>
                  <a:pt x="201" y="64"/>
                </a:cubicBezTo>
                <a:cubicBezTo>
                  <a:pt x="201" y="65"/>
                  <a:pt x="201" y="65"/>
                  <a:pt x="201" y="65"/>
                </a:cubicBezTo>
                <a:cubicBezTo>
                  <a:pt x="202" y="66"/>
                  <a:pt x="202" y="66"/>
                  <a:pt x="202" y="66"/>
                </a:cubicBezTo>
                <a:cubicBezTo>
                  <a:pt x="202" y="67"/>
                  <a:pt x="202" y="67"/>
                  <a:pt x="202" y="67"/>
                </a:cubicBezTo>
                <a:cubicBezTo>
                  <a:pt x="201" y="67"/>
                  <a:pt x="201" y="67"/>
                  <a:pt x="201" y="67"/>
                </a:cubicBezTo>
                <a:cubicBezTo>
                  <a:pt x="200" y="68"/>
                  <a:pt x="200" y="68"/>
                  <a:pt x="200" y="68"/>
                </a:cubicBezTo>
                <a:cubicBezTo>
                  <a:pt x="198" y="68"/>
                  <a:pt x="198" y="68"/>
                  <a:pt x="198" y="68"/>
                </a:cubicBezTo>
                <a:cubicBezTo>
                  <a:pt x="197" y="68"/>
                  <a:pt x="197" y="68"/>
                  <a:pt x="197" y="68"/>
                </a:cubicBezTo>
                <a:cubicBezTo>
                  <a:pt x="196" y="68"/>
                  <a:pt x="196" y="68"/>
                  <a:pt x="196" y="68"/>
                </a:cubicBezTo>
                <a:cubicBezTo>
                  <a:pt x="194" y="67"/>
                  <a:pt x="194" y="67"/>
                  <a:pt x="194" y="67"/>
                </a:cubicBezTo>
                <a:cubicBezTo>
                  <a:pt x="193" y="66"/>
                  <a:pt x="193" y="66"/>
                  <a:pt x="193" y="66"/>
                </a:cubicBezTo>
                <a:cubicBezTo>
                  <a:pt x="193" y="64"/>
                  <a:pt x="193" y="64"/>
                  <a:pt x="193" y="64"/>
                </a:cubicBezTo>
                <a:cubicBezTo>
                  <a:pt x="195" y="64"/>
                  <a:pt x="195" y="64"/>
                  <a:pt x="195" y="64"/>
                </a:cubicBezTo>
                <a:close/>
                <a:moveTo>
                  <a:pt x="160" y="90"/>
                </a:moveTo>
                <a:cubicBezTo>
                  <a:pt x="159" y="89"/>
                  <a:pt x="159" y="89"/>
                  <a:pt x="159" y="89"/>
                </a:cubicBezTo>
                <a:cubicBezTo>
                  <a:pt x="158" y="90"/>
                  <a:pt x="158" y="90"/>
                  <a:pt x="158" y="90"/>
                </a:cubicBezTo>
                <a:cubicBezTo>
                  <a:pt x="159" y="90"/>
                  <a:pt x="159" y="90"/>
                  <a:pt x="159" y="90"/>
                </a:cubicBezTo>
                <a:cubicBezTo>
                  <a:pt x="160" y="90"/>
                  <a:pt x="160" y="90"/>
                  <a:pt x="160" y="90"/>
                </a:cubicBezTo>
                <a:close/>
                <a:moveTo>
                  <a:pt x="158" y="81"/>
                </a:moveTo>
                <a:cubicBezTo>
                  <a:pt x="159" y="83"/>
                  <a:pt x="159" y="83"/>
                  <a:pt x="159" y="83"/>
                </a:cubicBezTo>
                <a:cubicBezTo>
                  <a:pt x="159" y="84"/>
                  <a:pt x="159" y="84"/>
                  <a:pt x="159" y="84"/>
                </a:cubicBezTo>
                <a:cubicBezTo>
                  <a:pt x="159" y="85"/>
                  <a:pt x="159" y="85"/>
                  <a:pt x="159" y="85"/>
                </a:cubicBezTo>
                <a:cubicBezTo>
                  <a:pt x="158" y="84"/>
                  <a:pt x="158" y="84"/>
                  <a:pt x="158" y="84"/>
                </a:cubicBezTo>
                <a:cubicBezTo>
                  <a:pt x="158" y="83"/>
                  <a:pt x="158" y="83"/>
                  <a:pt x="158" y="83"/>
                </a:cubicBezTo>
                <a:cubicBezTo>
                  <a:pt x="158" y="82"/>
                  <a:pt x="158" y="82"/>
                  <a:pt x="158" y="82"/>
                </a:cubicBezTo>
                <a:cubicBezTo>
                  <a:pt x="158" y="81"/>
                  <a:pt x="158" y="81"/>
                  <a:pt x="158" y="81"/>
                </a:cubicBezTo>
                <a:cubicBezTo>
                  <a:pt x="158" y="81"/>
                  <a:pt x="158" y="81"/>
                  <a:pt x="158" y="81"/>
                </a:cubicBezTo>
                <a:close/>
                <a:moveTo>
                  <a:pt x="193" y="57"/>
                </a:moveTo>
                <a:cubicBezTo>
                  <a:pt x="193" y="58"/>
                  <a:pt x="193" y="58"/>
                  <a:pt x="193" y="58"/>
                </a:cubicBezTo>
                <a:cubicBezTo>
                  <a:pt x="194" y="59"/>
                  <a:pt x="194" y="59"/>
                  <a:pt x="194" y="59"/>
                </a:cubicBezTo>
                <a:cubicBezTo>
                  <a:pt x="194" y="60"/>
                  <a:pt x="194" y="60"/>
                  <a:pt x="194" y="60"/>
                </a:cubicBezTo>
                <a:cubicBezTo>
                  <a:pt x="194" y="59"/>
                  <a:pt x="194" y="59"/>
                  <a:pt x="194" y="59"/>
                </a:cubicBezTo>
                <a:cubicBezTo>
                  <a:pt x="193" y="58"/>
                  <a:pt x="193" y="58"/>
                  <a:pt x="193" y="58"/>
                </a:cubicBezTo>
                <a:cubicBezTo>
                  <a:pt x="193" y="57"/>
                  <a:pt x="193" y="57"/>
                  <a:pt x="193" y="57"/>
                </a:cubicBezTo>
                <a:cubicBezTo>
                  <a:pt x="193" y="57"/>
                  <a:pt x="193" y="57"/>
                  <a:pt x="193" y="57"/>
                </a:cubicBezTo>
                <a:close/>
                <a:moveTo>
                  <a:pt x="190" y="55"/>
                </a:moveTo>
                <a:cubicBezTo>
                  <a:pt x="191" y="55"/>
                  <a:pt x="191" y="55"/>
                  <a:pt x="191" y="55"/>
                </a:cubicBezTo>
                <a:cubicBezTo>
                  <a:pt x="192" y="55"/>
                  <a:pt x="192" y="55"/>
                  <a:pt x="192" y="55"/>
                </a:cubicBezTo>
                <a:cubicBezTo>
                  <a:pt x="192" y="55"/>
                  <a:pt x="192" y="55"/>
                  <a:pt x="192" y="55"/>
                </a:cubicBezTo>
                <a:cubicBezTo>
                  <a:pt x="195" y="55"/>
                  <a:pt x="195" y="55"/>
                  <a:pt x="195" y="55"/>
                </a:cubicBezTo>
                <a:cubicBezTo>
                  <a:pt x="196" y="55"/>
                  <a:pt x="196" y="55"/>
                  <a:pt x="196" y="55"/>
                </a:cubicBezTo>
                <a:cubicBezTo>
                  <a:pt x="195" y="56"/>
                  <a:pt x="195" y="56"/>
                  <a:pt x="195" y="56"/>
                </a:cubicBezTo>
                <a:cubicBezTo>
                  <a:pt x="192" y="56"/>
                  <a:pt x="192" y="56"/>
                  <a:pt x="192" y="56"/>
                </a:cubicBezTo>
                <a:cubicBezTo>
                  <a:pt x="190" y="56"/>
                  <a:pt x="190" y="56"/>
                  <a:pt x="190" y="56"/>
                </a:cubicBezTo>
                <a:cubicBezTo>
                  <a:pt x="190" y="55"/>
                  <a:pt x="190" y="55"/>
                  <a:pt x="190" y="55"/>
                </a:cubicBezTo>
                <a:cubicBezTo>
                  <a:pt x="190" y="55"/>
                  <a:pt x="190" y="55"/>
                  <a:pt x="190" y="55"/>
                </a:cubicBezTo>
                <a:close/>
                <a:moveTo>
                  <a:pt x="184" y="55"/>
                </a:moveTo>
                <a:cubicBezTo>
                  <a:pt x="184" y="54"/>
                  <a:pt x="184" y="54"/>
                  <a:pt x="184" y="54"/>
                </a:cubicBezTo>
                <a:cubicBezTo>
                  <a:pt x="185" y="55"/>
                  <a:pt x="185" y="55"/>
                  <a:pt x="185" y="55"/>
                </a:cubicBezTo>
                <a:cubicBezTo>
                  <a:pt x="186" y="54"/>
                  <a:pt x="186" y="54"/>
                  <a:pt x="186" y="54"/>
                </a:cubicBezTo>
                <a:cubicBezTo>
                  <a:pt x="187" y="55"/>
                  <a:pt x="187" y="55"/>
                  <a:pt x="187" y="55"/>
                </a:cubicBezTo>
                <a:cubicBezTo>
                  <a:pt x="188" y="55"/>
                  <a:pt x="188" y="55"/>
                  <a:pt x="188" y="55"/>
                </a:cubicBezTo>
                <a:cubicBezTo>
                  <a:pt x="189" y="54"/>
                  <a:pt x="189" y="54"/>
                  <a:pt x="189" y="54"/>
                </a:cubicBezTo>
                <a:cubicBezTo>
                  <a:pt x="190" y="55"/>
                  <a:pt x="190" y="55"/>
                  <a:pt x="190" y="55"/>
                </a:cubicBezTo>
                <a:cubicBezTo>
                  <a:pt x="190" y="56"/>
                  <a:pt x="190" y="56"/>
                  <a:pt x="190" y="56"/>
                </a:cubicBezTo>
                <a:cubicBezTo>
                  <a:pt x="189" y="56"/>
                  <a:pt x="189" y="56"/>
                  <a:pt x="189" y="56"/>
                </a:cubicBezTo>
                <a:cubicBezTo>
                  <a:pt x="187" y="56"/>
                  <a:pt x="187" y="56"/>
                  <a:pt x="187" y="56"/>
                </a:cubicBezTo>
                <a:cubicBezTo>
                  <a:pt x="187" y="56"/>
                  <a:pt x="187" y="56"/>
                  <a:pt x="187" y="56"/>
                </a:cubicBezTo>
                <a:cubicBezTo>
                  <a:pt x="185" y="57"/>
                  <a:pt x="185" y="57"/>
                  <a:pt x="185" y="57"/>
                </a:cubicBezTo>
                <a:cubicBezTo>
                  <a:pt x="184" y="56"/>
                  <a:pt x="184" y="56"/>
                  <a:pt x="184" y="56"/>
                </a:cubicBezTo>
                <a:cubicBezTo>
                  <a:pt x="184" y="56"/>
                  <a:pt x="184" y="56"/>
                  <a:pt x="184" y="56"/>
                </a:cubicBezTo>
                <a:cubicBezTo>
                  <a:pt x="184" y="55"/>
                  <a:pt x="184" y="55"/>
                  <a:pt x="184" y="55"/>
                </a:cubicBezTo>
                <a:close/>
                <a:moveTo>
                  <a:pt x="173" y="78"/>
                </a:moveTo>
                <a:cubicBezTo>
                  <a:pt x="174" y="77"/>
                  <a:pt x="174" y="77"/>
                  <a:pt x="174" y="77"/>
                </a:cubicBezTo>
                <a:cubicBezTo>
                  <a:pt x="174" y="75"/>
                  <a:pt x="174" y="75"/>
                  <a:pt x="174" y="75"/>
                </a:cubicBezTo>
                <a:cubicBezTo>
                  <a:pt x="174" y="73"/>
                  <a:pt x="174" y="73"/>
                  <a:pt x="174" y="73"/>
                </a:cubicBezTo>
                <a:cubicBezTo>
                  <a:pt x="175" y="72"/>
                  <a:pt x="175" y="72"/>
                  <a:pt x="175" y="72"/>
                </a:cubicBezTo>
                <a:cubicBezTo>
                  <a:pt x="176" y="72"/>
                  <a:pt x="176" y="72"/>
                  <a:pt x="176" y="72"/>
                </a:cubicBezTo>
                <a:cubicBezTo>
                  <a:pt x="176" y="73"/>
                  <a:pt x="176" y="73"/>
                  <a:pt x="176" y="73"/>
                </a:cubicBezTo>
                <a:cubicBezTo>
                  <a:pt x="176" y="74"/>
                  <a:pt x="176" y="74"/>
                  <a:pt x="176" y="74"/>
                </a:cubicBezTo>
                <a:cubicBezTo>
                  <a:pt x="176" y="75"/>
                  <a:pt x="176" y="75"/>
                  <a:pt x="176" y="75"/>
                </a:cubicBezTo>
                <a:cubicBezTo>
                  <a:pt x="176" y="74"/>
                  <a:pt x="176" y="74"/>
                  <a:pt x="176" y="74"/>
                </a:cubicBezTo>
                <a:cubicBezTo>
                  <a:pt x="176" y="75"/>
                  <a:pt x="176" y="75"/>
                  <a:pt x="176" y="75"/>
                </a:cubicBezTo>
                <a:cubicBezTo>
                  <a:pt x="175" y="75"/>
                  <a:pt x="175" y="75"/>
                  <a:pt x="175" y="75"/>
                </a:cubicBezTo>
                <a:cubicBezTo>
                  <a:pt x="174" y="76"/>
                  <a:pt x="174" y="76"/>
                  <a:pt x="174" y="76"/>
                </a:cubicBezTo>
                <a:cubicBezTo>
                  <a:pt x="175" y="77"/>
                  <a:pt x="175" y="77"/>
                  <a:pt x="175" y="77"/>
                </a:cubicBezTo>
                <a:cubicBezTo>
                  <a:pt x="176" y="77"/>
                  <a:pt x="176" y="77"/>
                  <a:pt x="176" y="77"/>
                </a:cubicBezTo>
                <a:cubicBezTo>
                  <a:pt x="176" y="77"/>
                  <a:pt x="176" y="77"/>
                  <a:pt x="176" y="77"/>
                </a:cubicBezTo>
                <a:cubicBezTo>
                  <a:pt x="176" y="78"/>
                  <a:pt x="176" y="78"/>
                  <a:pt x="176" y="78"/>
                </a:cubicBezTo>
                <a:cubicBezTo>
                  <a:pt x="175" y="78"/>
                  <a:pt x="175" y="78"/>
                  <a:pt x="175" y="78"/>
                </a:cubicBezTo>
                <a:cubicBezTo>
                  <a:pt x="174" y="79"/>
                  <a:pt x="174" y="79"/>
                  <a:pt x="174" y="79"/>
                </a:cubicBezTo>
                <a:cubicBezTo>
                  <a:pt x="173" y="80"/>
                  <a:pt x="173" y="80"/>
                  <a:pt x="173" y="80"/>
                </a:cubicBezTo>
                <a:cubicBezTo>
                  <a:pt x="172" y="79"/>
                  <a:pt x="172" y="79"/>
                  <a:pt x="172" y="79"/>
                </a:cubicBezTo>
                <a:cubicBezTo>
                  <a:pt x="173" y="78"/>
                  <a:pt x="173" y="78"/>
                  <a:pt x="173" y="78"/>
                </a:cubicBezTo>
                <a:close/>
                <a:moveTo>
                  <a:pt x="170" y="77"/>
                </a:moveTo>
                <a:cubicBezTo>
                  <a:pt x="170" y="77"/>
                  <a:pt x="170" y="78"/>
                  <a:pt x="170" y="78"/>
                </a:cubicBezTo>
                <a:cubicBezTo>
                  <a:pt x="170" y="78"/>
                  <a:pt x="170" y="78"/>
                  <a:pt x="170" y="78"/>
                </a:cubicBezTo>
                <a:cubicBezTo>
                  <a:pt x="171" y="78"/>
                  <a:pt x="171" y="78"/>
                  <a:pt x="171" y="78"/>
                </a:cubicBezTo>
                <a:cubicBezTo>
                  <a:pt x="172" y="77"/>
                  <a:pt x="172" y="77"/>
                  <a:pt x="172" y="77"/>
                </a:cubicBezTo>
                <a:cubicBezTo>
                  <a:pt x="172" y="77"/>
                  <a:pt x="172" y="77"/>
                  <a:pt x="172" y="77"/>
                </a:cubicBezTo>
                <a:cubicBezTo>
                  <a:pt x="172" y="76"/>
                  <a:pt x="172" y="76"/>
                  <a:pt x="172" y="76"/>
                </a:cubicBezTo>
                <a:cubicBezTo>
                  <a:pt x="173" y="75"/>
                  <a:pt x="173" y="75"/>
                  <a:pt x="173" y="75"/>
                </a:cubicBezTo>
                <a:cubicBezTo>
                  <a:pt x="173" y="75"/>
                  <a:pt x="173" y="75"/>
                  <a:pt x="173" y="75"/>
                </a:cubicBezTo>
                <a:cubicBezTo>
                  <a:pt x="172" y="74"/>
                  <a:pt x="172" y="74"/>
                  <a:pt x="172" y="74"/>
                </a:cubicBezTo>
                <a:cubicBezTo>
                  <a:pt x="171" y="74"/>
                  <a:pt x="171" y="74"/>
                  <a:pt x="171" y="74"/>
                </a:cubicBezTo>
                <a:cubicBezTo>
                  <a:pt x="170" y="75"/>
                  <a:pt x="170" y="75"/>
                  <a:pt x="170" y="75"/>
                </a:cubicBezTo>
                <a:cubicBezTo>
                  <a:pt x="171" y="76"/>
                  <a:pt x="171" y="76"/>
                  <a:pt x="171" y="76"/>
                </a:cubicBezTo>
                <a:cubicBezTo>
                  <a:pt x="170" y="77"/>
                  <a:pt x="170" y="77"/>
                  <a:pt x="170" y="77"/>
                </a:cubicBezTo>
                <a:close/>
                <a:moveTo>
                  <a:pt x="167" y="76"/>
                </a:moveTo>
                <a:cubicBezTo>
                  <a:pt x="167" y="77"/>
                  <a:pt x="167" y="77"/>
                  <a:pt x="167" y="77"/>
                </a:cubicBezTo>
                <a:cubicBezTo>
                  <a:pt x="167" y="77"/>
                  <a:pt x="167" y="77"/>
                  <a:pt x="167" y="77"/>
                </a:cubicBezTo>
                <a:cubicBezTo>
                  <a:pt x="167" y="79"/>
                  <a:pt x="167" y="79"/>
                  <a:pt x="167" y="79"/>
                </a:cubicBezTo>
                <a:cubicBezTo>
                  <a:pt x="168" y="79"/>
                  <a:pt x="168" y="79"/>
                  <a:pt x="168" y="79"/>
                </a:cubicBezTo>
                <a:cubicBezTo>
                  <a:pt x="168" y="78"/>
                  <a:pt x="168" y="78"/>
                  <a:pt x="168" y="78"/>
                </a:cubicBezTo>
                <a:cubicBezTo>
                  <a:pt x="168" y="77"/>
                  <a:pt x="168" y="77"/>
                  <a:pt x="168" y="77"/>
                </a:cubicBezTo>
                <a:cubicBezTo>
                  <a:pt x="167" y="76"/>
                  <a:pt x="167" y="76"/>
                  <a:pt x="167" y="76"/>
                </a:cubicBezTo>
                <a:cubicBezTo>
                  <a:pt x="167" y="76"/>
                  <a:pt x="167" y="76"/>
                  <a:pt x="167" y="76"/>
                </a:cubicBezTo>
                <a:close/>
                <a:moveTo>
                  <a:pt x="176" y="56"/>
                </a:moveTo>
                <a:cubicBezTo>
                  <a:pt x="175" y="56"/>
                  <a:pt x="175" y="56"/>
                  <a:pt x="175" y="56"/>
                </a:cubicBezTo>
                <a:cubicBezTo>
                  <a:pt x="176" y="56"/>
                  <a:pt x="176" y="56"/>
                  <a:pt x="176" y="56"/>
                </a:cubicBezTo>
                <a:cubicBezTo>
                  <a:pt x="176" y="56"/>
                  <a:pt x="176" y="56"/>
                  <a:pt x="176" y="56"/>
                </a:cubicBezTo>
                <a:close/>
                <a:moveTo>
                  <a:pt x="177" y="55"/>
                </a:moveTo>
                <a:cubicBezTo>
                  <a:pt x="177" y="55"/>
                  <a:pt x="177" y="55"/>
                  <a:pt x="177" y="55"/>
                </a:cubicBezTo>
                <a:cubicBezTo>
                  <a:pt x="178" y="55"/>
                  <a:pt x="178" y="55"/>
                  <a:pt x="178" y="55"/>
                </a:cubicBezTo>
                <a:cubicBezTo>
                  <a:pt x="177" y="55"/>
                  <a:pt x="177" y="55"/>
                  <a:pt x="177" y="55"/>
                </a:cubicBezTo>
                <a:close/>
                <a:moveTo>
                  <a:pt x="179" y="54"/>
                </a:moveTo>
                <a:cubicBezTo>
                  <a:pt x="178" y="54"/>
                  <a:pt x="178" y="54"/>
                  <a:pt x="178" y="54"/>
                </a:cubicBezTo>
                <a:cubicBezTo>
                  <a:pt x="179" y="54"/>
                  <a:pt x="179" y="54"/>
                  <a:pt x="179" y="54"/>
                </a:cubicBezTo>
                <a:cubicBezTo>
                  <a:pt x="179" y="54"/>
                  <a:pt x="179" y="54"/>
                  <a:pt x="179" y="54"/>
                </a:cubicBezTo>
                <a:close/>
                <a:moveTo>
                  <a:pt x="174" y="52"/>
                </a:moveTo>
                <a:cubicBezTo>
                  <a:pt x="175" y="51"/>
                  <a:pt x="175" y="51"/>
                  <a:pt x="175" y="51"/>
                </a:cubicBezTo>
                <a:cubicBezTo>
                  <a:pt x="177" y="51"/>
                  <a:pt x="177" y="51"/>
                  <a:pt x="177" y="51"/>
                </a:cubicBezTo>
                <a:cubicBezTo>
                  <a:pt x="177" y="52"/>
                  <a:pt x="177" y="52"/>
                  <a:pt x="177" y="52"/>
                </a:cubicBezTo>
                <a:cubicBezTo>
                  <a:pt x="177" y="53"/>
                  <a:pt x="177" y="53"/>
                  <a:pt x="177" y="53"/>
                </a:cubicBezTo>
                <a:cubicBezTo>
                  <a:pt x="178" y="52"/>
                  <a:pt x="178" y="52"/>
                  <a:pt x="178" y="52"/>
                </a:cubicBezTo>
                <a:cubicBezTo>
                  <a:pt x="178" y="52"/>
                  <a:pt x="178" y="52"/>
                  <a:pt x="178" y="52"/>
                </a:cubicBezTo>
                <a:cubicBezTo>
                  <a:pt x="179" y="52"/>
                  <a:pt x="179" y="52"/>
                  <a:pt x="179" y="52"/>
                </a:cubicBezTo>
                <a:cubicBezTo>
                  <a:pt x="179" y="53"/>
                  <a:pt x="179" y="53"/>
                  <a:pt x="179" y="53"/>
                </a:cubicBezTo>
                <a:cubicBezTo>
                  <a:pt x="178" y="54"/>
                  <a:pt x="178" y="54"/>
                  <a:pt x="178" y="54"/>
                </a:cubicBezTo>
                <a:cubicBezTo>
                  <a:pt x="177" y="53"/>
                  <a:pt x="177" y="53"/>
                  <a:pt x="177" y="53"/>
                </a:cubicBezTo>
                <a:cubicBezTo>
                  <a:pt x="177" y="54"/>
                  <a:pt x="177" y="54"/>
                  <a:pt x="177" y="54"/>
                </a:cubicBezTo>
                <a:cubicBezTo>
                  <a:pt x="176" y="53"/>
                  <a:pt x="176" y="53"/>
                  <a:pt x="176" y="53"/>
                </a:cubicBezTo>
                <a:cubicBezTo>
                  <a:pt x="175" y="54"/>
                  <a:pt x="175" y="54"/>
                  <a:pt x="175" y="54"/>
                </a:cubicBezTo>
                <a:cubicBezTo>
                  <a:pt x="174" y="53"/>
                  <a:pt x="174" y="53"/>
                  <a:pt x="174" y="53"/>
                </a:cubicBezTo>
                <a:cubicBezTo>
                  <a:pt x="174" y="52"/>
                  <a:pt x="174" y="52"/>
                  <a:pt x="174" y="52"/>
                </a:cubicBezTo>
                <a:close/>
                <a:moveTo>
                  <a:pt x="167" y="46"/>
                </a:moveTo>
                <a:cubicBezTo>
                  <a:pt x="168" y="46"/>
                  <a:pt x="168" y="46"/>
                  <a:pt x="168" y="46"/>
                </a:cubicBezTo>
                <a:cubicBezTo>
                  <a:pt x="168" y="46"/>
                  <a:pt x="168" y="46"/>
                  <a:pt x="168" y="46"/>
                </a:cubicBezTo>
                <a:cubicBezTo>
                  <a:pt x="168" y="46"/>
                  <a:pt x="167" y="46"/>
                  <a:pt x="167" y="46"/>
                </a:cubicBezTo>
                <a:close/>
                <a:moveTo>
                  <a:pt x="166" y="46"/>
                </a:moveTo>
                <a:cubicBezTo>
                  <a:pt x="167" y="46"/>
                  <a:pt x="167" y="46"/>
                  <a:pt x="167" y="46"/>
                </a:cubicBezTo>
                <a:cubicBezTo>
                  <a:pt x="168" y="47"/>
                  <a:pt x="168" y="47"/>
                  <a:pt x="168" y="47"/>
                </a:cubicBezTo>
                <a:cubicBezTo>
                  <a:pt x="167" y="47"/>
                  <a:pt x="167" y="47"/>
                  <a:pt x="167" y="47"/>
                </a:cubicBezTo>
                <a:cubicBezTo>
                  <a:pt x="166" y="46"/>
                  <a:pt x="166" y="46"/>
                  <a:pt x="166" y="46"/>
                </a:cubicBezTo>
                <a:close/>
                <a:moveTo>
                  <a:pt x="158" y="41"/>
                </a:moveTo>
                <a:cubicBezTo>
                  <a:pt x="160" y="40"/>
                  <a:pt x="160" y="40"/>
                  <a:pt x="160" y="40"/>
                </a:cubicBezTo>
                <a:cubicBezTo>
                  <a:pt x="162" y="41"/>
                  <a:pt x="162" y="41"/>
                  <a:pt x="162" y="41"/>
                </a:cubicBezTo>
                <a:cubicBezTo>
                  <a:pt x="164" y="41"/>
                  <a:pt x="164" y="41"/>
                  <a:pt x="164" y="41"/>
                </a:cubicBezTo>
                <a:cubicBezTo>
                  <a:pt x="166" y="40"/>
                  <a:pt x="166" y="40"/>
                  <a:pt x="166" y="40"/>
                </a:cubicBezTo>
                <a:cubicBezTo>
                  <a:pt x="167" y="40"/>
                  <a:pt x="167" y="40"/>
                  <a:pt x="167" y="40"/>
                </a:cubicBezTo>
                <a:cubicBezTo>
                  <a:pt x="168" y="41"/>
                  <a:pt x="168" y="41"/>
                  <a:pt x="168" y="41"/>
                </a:cubicBezTo>
                <a:cubicBezTo>
                  <a:pt x="169" y="41"/>
                  <a:pt x="169" y="41"/>
                  <a:pt x="169" y="41"/>
                </a:cubicBezTo>
                <a:cubicBezTo>
                  <a:pt x="170" y="41"/>
                  <a:pt x="170" y="41"/>
                  <a:pt x="170" y="41"/>
                </a:cubicBezTo>
                <a:cubicBezTo>
                  <a:pt x="173" y="41"/>
                  <a:pt x="173" y="41"/>
                  <a:pt x="173" y="41"/>
                </a:cubicBezTo>
                <a:cubicBezTo>
                  <a:pt x="174" y="41"/>
                  <a:pt x="174" y="41"/>
                  <a:pt x="174" y="41"/>
                </a:cubicBezTo>
                <a:cubicBezTo>
                  <a:pt x="174" y="40"/>
                  <a:pt x="174" y="40"/>
                  <a:pt x="174" y="40"/>
                </a:cubicBezTo>
                <a:cubicBezTo>
                  <a:pt x="176" y="40"/>
                  <a:pt x="176" y="40"/>
                  <a:pt x="176" y="40"/>
                </a:cubicBezTo>
                <a:cubicBezTo>
                  <a:pt x="177" y="41"/>
                  <a:pt x="177" y="41"/>
                  <a:pt x="177" y="41"/>
                </a:cubicBezTo>
                <a:cubicBezTo>
                  <a:pt x="177" y="42"/>
                  <a:pt x="177" y="42"/>
                  <a:pt x="177" y="42"/>
                </a:cubicBezTo>
                <a:cubicBezTo>
                  <a:pt x="178" y="42"/>
                  <a:pt x="178" y="42"/>
                  <a:pt x="178" y="42"/>
                </a:cubicBezTo>
                <a:cubicBezTo>
                  <a:pt x="183" y="41"/>
                  <a:pt x="183" y="41"/>
                  <a:pt x="183" y="41"/>
                </a:cubicBezTo>
                <a:cubicBezTo>
                  <a:pt x="185" y="40"/>
                  <a:pt x="185" y="40"/>
                  <a:pt x="185" y="40"/>
                </a:cubicBezTo>
                <a:cubicBezTo>
                  <a:pt x="186" y="38"/>
                  <a:pt x="186" y="38"/>
                  <a:pt x="186" y="38"/>
                </a:cubicBezTo>
                <a:cubicBezTo>
                  <a:pt x="187" y="38"/>
                  <a:pt x="187" y="38"/>
                  <a:pt x="187" y="38"/>
                </a:cubicBezTo>
                <a:cubicBezTo>
                  <a:pt x="187" y="38"/>
                  <a:pt x="187" y="38"/>
                  <a:pt x="187" y="38"/>
                </a:cubicBezTo>
                <a:cubicBezTo>
                  <a:pt x="188" y="37"/>
                  <a:pt x="188" y="37"/>
                  <a:pt x="188" y="37"/>
                </a:cubicBezTo>
                <a:cubicBezTo>
                  <a:pt x="188" y="36"/>
                  <a:pt x="188" y="36"/>
                  <a:pt x="188" y="36"/>
                </a:cubicBezTo>
                <a:cubicBezTo>
                  <a:pt x="189" y="35"/>
                  <a:pt x="189" y="35"/>
                  <a:pt x="189" y="35"/>
                </a:cubicBezTo>
                <a:cubicBezTo>
                  <a:pt x="190" y="35"/>
                  <a:pt x="190" y="35"/>
                  <a:pt x="190" y="35"/>
                </a:cubicBezTo>
                <a:cubicBezTo>
                  <a:pt x="189" y="34"/>
                  <a:pt x="189" y="34"/>
                  <a:pt x="189" y="34"/>
                </a:cubicBezTo>
                <a:cubicBezTo>
                  <a:pt x="189" y="33"/>
                  <a:pt x="189" y="33"/>
                  <a:pt x="189" y="33"/>
                </a:cubicBezTo>
                <a:cubicBezTo>
                  <a:pt x="187" y="33"/>
                  <a:pt x="187" y="33"/>
                  <a:pt x="187" y="33"/>
                </a:cubicBezTo>
                <a:cubicBezTo>
                  <a:pt x="186" y="33"/>
                  <a:pt x="186" y="33"/>
                  <a:pt x="186" y="33"/>
                </a:cubicBezTo>
                <a:cubicBezTo>
                  <a:pt x="186" y="34"/>
                  <a:pt x="186" y="34"/>
                  <a:pt x="186" y="34"/>
                </a:cubicBezTo>
                <a:cubicBezTo>
                  <a:pt x="185" y="35"/>
                  <a:pt x="185" y="35"/>
                  <a:pt x="185" y="35"/>
                </a:cubicBezTo>
                <a:cubicBezTo>
                  <a:pt x="185" y="36"/>
                  <a:pt x="185" y="36"/>
                  <a:pt x="185" y="36"/>
                </a:cubicBezTo>
                <a:cubicBezTo>
                  <a:pt x="183" y="37"/>
                  <a:pt x="183" y="37"/>
                  <a:pt x="183" y="37"/>
                </a:cubicBezTo>
                <a:cubicBezTo>
                  <a:pt x="182" y="37"/>
                  <a:pt x="182" y="37"/>
                  <a:pt x="182" y="37"/>
                </a:cubicBezTo>
                <a:cubicBezTo>
                  <a:pt x="182" y="38"/>
                  <a:pt x="182" y="38"/>
                  <a:pt x="182" y="38"/>
                </a:cubicBezTo>
                <a:cubicBezTo>
                  <a:pt x="180" y="38"/>
                  <a:pt x="180" y="38"/>
                  <a:pt x="180" y="38"/>
                </a:cubicBezTo>
                <a:cubicBezTo>
                  <a:pt x="177" y="38"/>
                  <a:pt x="177" y="38"/>
                  <a:pt x="177" y="38"/>
                </a:cubicBezTo>
                <a:cubicBezTo>
                  <a:pt x="175" y="37"/>
                  <a:pt x="175" y="37"/>
                  <a:pt x="175" y="37"/>
                </a:cubicBezTo>
                <a:cubicBezTo>
                  <a:pt x="174" y="38"/>
                  <a:pt x="174" y="38"/>
                  <a:pt x="174" y="38"/>
                </a:cubicBezTo>
                <a:cubicBezTo>
                  <a:pt x="174" y="38"/>
                  <a:pt x="174" y="38"/>
                  <a:pt x="174" y="38"/>
                </a:cubicBezTo>
                <a:cubicBezTo>
                  <a:pt x="172" y="37"/>
                  <a:pt x="172" y="37"/>
                  <a:pt x="172" y="37"/>
                </a:cubicBezTo>
                <a:cubicBezTo>
                  <a:pt x="171" y="37"/>
                  <a:pt x="171" y="37"/>
                  <a:pt x="171" y="37"/>
                </a:cubicBezTo>
                <a:cubicBezTo>
                  <a:pt x="170" y="37"/>
                  <a:pt x="170" y="37"/>
                  <a:pt x="170" y="37"/>
                </a:cubicBezTo>
                <a:cubicBezTo>
                  <a:pt x="169" y="37"/>
                  <a:pt x="169" y="37"/>
                  <a:pt x="169" y="37"/>
                </a:cubicBezTo>
                <a:cubicBezTo>
                  <a:pt x="168" y="36"/>
                  <a:pt x="168" y="36"/>
                  <a:pt x="168" y="36"/>
                </a:cubicBezTo>
                <a:cubicBezTo>
                  <a:pt x="167" y="37"/>
                  <a:pt x="167" y="37"/>
                  <a:pt x="167" y="37"/>
                </a:cubicBezTo>
                <a:cubicBezTo>
                  <a:pt x="166" y="36"/>
                  <a:pt x="166" y="36"/>
                  <a:pt x="166" y="36"/>
                </a:cubicBezTo>
                <a:cubicBezTo>
                  <a:pt x="165" y="35"/>
                  <a:pt x="165" y="35"/>
                  <a:pt x="165" y="35"/>
                </a:cubicBezTo>
                <a:cubicBezTo>
                  <a:pt x="163" y="35"/>
                  <a:pt x="163" y="35"/>
                  <a:pt x="163" y="35"/>
                </a:cubicBezTo>
                <a:cubicBezTo>
                  <a:pt x="162" y="35"/>
                  <a:pt x="162" y="35"/>
                  <a:pt x="162" y="35"/>
                </a:cubicBezTo>
                <a:cubicBezTo>
                  <a:pt x="162" y="36"/>
                  <a:pt x="162" y="36"/>
                  <a:pt x="162" y="36"/>
                </a:cubicBezTo>
                <a:cubicBezTo>
                  <a:pt x="161" y="37"/>
                  <a:pt x="161" y="37"/>
                  <a:pt x="161" y="37"/>
                </a:cubicBezTo>
                <a:cubicBezTo>
                  <a:pt x="160" y="38"/>
                  <a:pt x="160" y="38"/>
                  <a:pt x="160" y="38"/>
                </a:cubicBezTo>
                <a:cubicBezTo>
                  <a:pt x="159" y="39"/>
                  <a:pt x="159" y="39"/>
                  <a:pt x="159" y="39"/>
                </a:cubicBezTo>
                <a:cubicBezTo>
                  <a:pt x="158" y="38"/>
                  <a:pt x="158" y="38"/>
                  <a:pt x="158" y="38"/>
                </a:cubicBezTo>
                <a:cubicBezTo>
                  <a:pt x="156" y="39"/>
                  <a:pt x="156" y="39"/>
                  <a:pt x="156" y="39"/>
                </a:cubicBezTo>
                <a:cubicBezTo>
                  <a:pt x="156" y="39"/>
                  <a:pt x="156" y="39"/>
                  <a:pt x="156" y="39"/>
                </a:cubicBezTo>
                <a:cubicBezTo>
                  <a:pt x="156" y="40"/>
                  <a:pt x="156" y="40"/>
                  <a:pt x="156" y="40"/>
                </a:cubicBezTo>
                <a:cubicBezTo>
                  <a:pt x="154" y="41"/>
                  <a:pt x="154" y="41"/>
                  <a:pt x="154" y="41"/>
                </a:cubicBezTo>
                <a:cubicBezTo>
                  <a:pt x="154" y="43"/>
                  <a:pt x="154" y="43"/>
                  <a:pt x="154" y="43"/>
                </a:cubicBezTo>
                <a:cubicBezTo>
                  <a:pt x="154" y="44"/>
                  <a:pt x="154" y="44"/>
                  <a:pt x="154" y="44"/>
                </a:cubicBezTo>
                <a:cubicBezTo>
                  <a:pt x="154" y="46"/>
                  <a:pt x="154" y="46"/>
                  <a:pt x="154" y="46"/>
                </a:cubicBezTo>
                <a:cubicBezTo>
                  <a:pt x="154" y="47"/>
                  <a:pt x="154" y="47"/>
                  <a:pt x="154" y="47"/>
                </a:cubicBezTo>
                <a:cubicBezTo>
                  <a:pt x="155" y="48"/>
                  <a:pt x="155" y="48"/>
                  <a:pt x="155" y="48"/>
                </a:cubicBezTo>
                <a:cubicBezTo>
                  <a:pt x="155" y="50"/>
                  <a:pt x="155" y="50"/>
                  <a:pt x="155" y="50"/>
                </a:cubicBezTo>
                <a:cubicBezTo>
                  <a:pt x="154" y="49"/>
                  <a:pt x="154" y="49"/>
                  <a:pt x="154" y="49"/>
                </a:cubicBezTo>
                <a:cubicBezTo>
                  <a:pt x="154" y="48"/>
                  <a:pt x="154" y="48"/>
                  <a:pt x="154" y="48"/>
                </a:cubicBezTo>
                <a:cubicBezTo>
                  <a:pt x="153" y="48"/>
                  <a:pt x="153" y="48"/>
                  <a:pt x="153" y="48"/>
                </a:cubicBezTo>
                <a:cubicBezTo>
                  <a:pt x="152" y="49"/>
                  <a:pt x="152" y="49"/>
                  <a:pt x="152" y="49"/>
                </a:cubicBezTo>
                <a:cubicBezTo>
                  <a:pt x="151" y="50"/>
                  <a:pt x="151" y="50"/>
                  <a:pt x="151" y="50"/>
                </a:cubicBezTo>
                <a:cubicBezTo>
                  <a:pt x="151" y="51"/>
                  <a:pt x="151" y="51"/>
                  <a:pt x="151" y="51"/>
                </a:cubicBezTo>
                <a:cubicBezTo>
                  <a:pt x="151" y="52"/>
                  <a:pt x="151" y="52"/>
                  <a:pt x="151" y="52"/>
                </a:cubicBezTo>
                <a:cubicBezTo>
                  <a:pt x="151" y="53"/>
                  <a:pt x="151" y="53"/>
                  <a:pt x="151" y="53"/>
                </a:cubicBezTo>
                <a:cubicBezTo>
                  <a:pt x="151" y="56"/>
                  <a:pt x="151" y="56"/>
                  <a:pt x="151" y="56"/>
                </a:cubicBezTo>
                <a:cubicBezTo>
                  <a:pt x="151" y="57"/>
                  <a:pt x="151" y="57"/>
                  <a:pt x="151" y="57"/>
                </a:cubicBezTo>
                <a:cubicBezTo>
                  <a:pt x="151" y="58"/>
                  <a:pt x="151" y="58"/>
                  <a:pt x="151" y="58"/>
                </a:cubicBezTo>
                <a:cubicBezTo>
                  <a:pt x="150" y="58"/>
                  <a:pt x="150" y="58"/>
                  <a:pt x="150" y="58"/>
                </a:cubicBezTo>
                <a:cubicBezTo>
                  <a:pt x="150" y="60"/>
                  <a:pt x="150" y="60"/>
                  <a:pt x="150" y="60"/>
                </a:cubicBezTo>
                <a:cubicBezTo>
                  <a:pt x="148" y="61"/>
                  <a:pt x="148" y="61"/>
                  <a:pt x="148" y="61"/>
                </a:cubicBezTo>
                <a:cubicBezTo>
                  <a:pt x="148" y="62"/>
                  <a:pt x="148" y="62"/>
                  <a:pt x="148" y="62"/>
                </a:cubicBezTo>
                <a:cubicBezTo>
                  <a:pt x="148" y="63"/>
                  <a:pt x="148" y="63"/>
                  <a:pt x="148" y="63"/>
                </a:cubicBezTo>
                <a:cubicBezTo>
                  <a:pt x="148" y="64"/>
                  <a:pt x="148" y="64"/>
                  <a:pt x="148" y="64"/>
                </a:cubicBezTo>
                <a:cubicBezTo>
                  <a:pt x="148" y="66"/>
                  <a:pt x="148" y="66"/>
                  <a:pt x="148" y="66"/>
                </a:cubicBezTo>
                <a:cubicBezTo>
                  <a:pt x="149" y="67"/>
                  <a:pt x="149" y="67"/>
                  <a:pt x="149" y="67"/>
                </a:cubicBezTo>
                <a:cubicBezTo>
                  <a:pt x="150" y="66"/>
                  <a:pt x="150" y="66"/>
                  <a:pt x="150" y="66"/>
                </a:cubicBezTo>
                <a:cubicBezTo>
                  <a:pt x="150" y="66"/>
                  <a:pt x="150" y="66"/>
                  <a:pt x="150" y="66"/>
                </a:cubicBezTo>
                <a:cubicBezTo>
                  <a:pt x="151" y="66"/>
                  <a:pt x="151" y="66"/>
                  <a:pt x="151" y="66"/>
                </a:cubicBezTo>
                <a:cubicBezTo>
                  <a:pt x="152" y="66"/>
                  <a:pt x="152" y="66"/>
                  <a:pt x="152" y="66"/>
                </a:cubicBezTo>
                <a:cubicBezTo>
                  <a:pt x="152" y="68"/>
                  <a:pt x="152" y="68"/>
                  <a:pt x="152" y="68"/>
                </a:cubicBezTo>
                <a:cubicBezTo>
                  <a:pt x="153" y="71"/>
                  <a:pt x="153" y="71"/>
                  <a:pt x="153" y="71"/>
                </a:cubicBezTo>
                <a:cubicBezTo>
                  <a:pt x="153" y="71"/>
                  <a:pt x="153" y="71"/>
                  <a:pt x="153" y="71"/>
                </a:cubicBezTo>
                <a:cubicBezTo>
                  <a:pt x="152" y="73"/>
                  <a:pt x="152" y="73"/>
                  <a:pt x="152" y="73"/>
                </a:cubicBezTo>
                <a:cubicBezTo>
                  <a:pt x="152" y="74"/>
                  <a:pt x="152" y="74"/>
                  <a:pt x="152" y="74"/>
                </a:cubicBezTo>
                <a:cubicBezTo>
                  <a:pt x="151" y="77"/>
                  <a:pt x="151" y="77"/>
                  <a:pt x="151" y="77"/>
                </a:cubicBezTo>
                <a:cubicBezTo>
                  <a:pt x="152" y="79"/>
                  <a:pt x="152" y="79"/>
                  <a:pt x="152" y="79"/>
                </a:cubicBezTo>
                <a:cubicBezTo>
                  <a:pt x="152" y="79"/>
                  <a:pt x="152" y="79"/>
                  <a:pt x="152" y="79"/>
                </a:cubicBezTo>
                <a:cubicBezTo>
                  <a:pt x="153" y="80"/>
                  <a:pt x="153" y="80"/>
                  <a:pt x="153" y="80"/>
                </a:cubicBezTo>
                <a:cubicBezTo>
                  <a:pt x="154" y="80"/>
                  <a:pt x="154" y="80"/>
                  <a:pt x="154" y="80"/>
                </a:cubicBezTo>
                <a:cubicBezTo>
                  <a:pt x="155" y="79"/>
                  <a:pt x="155" y="79"/>
                  <a:pt x="155" y="79"/>
                </a:cubicBezTo>
                <a:cubicBezTo>
                  <a:pt x="156" y="79"/>
                  <a:pt x="156" y="79"/>
                  <a:pt x="156" y="79"/>
                </a:cubicBezTo>
                <a:cubicBezTo>
                  <a:pt x="157" y="79"/>
                  <a:pt x="157" y="79"/>
                  <a:pt x="157" y="79"/>
                </a:cubicBezTo>
                <a:cubicBezTo>
                  <a:pt x="158" y="80"/>
                  <a:pt x="158" y="80"/>
                  <a:pt x="158" y="80"/>
                </a:cubicBezTo>
                <a:cubicBezTo>
                  <a:pt x="158" y="79"/>
                  <a:pt x="158" y="79"/>
                  <a:pt x="158" y="79"/>
                </a:cubicBezTo>
                <a:cubicBezTo>
                  <a:pt x="158" y="78"/>
                  <a:pt x="158" y="78"/>
                  <a:pt x="158" y="78"/>
                </a:cubicBezTo>
                <a:cubicBezTo>
                  <a:pt x="157" y="77"/>
                  <a:pt x="157" y="77"/>
                  <a:pt x="157" y="77"/>
                </a:cubicBezTo>
                <a:cubicBezTo>
                  <a:pt x="157" y="75"/>
                  <a:pt x="157" y="75"/>
                  <a:pt x="157" y="75"/>
                </a:cubicBezTo>
                <a:cubicBezTo>
                  <a:pt x="158" y="74"/>
                  <a:pt x="158" y="74"/>
                  <a:pt x="158" y="74"/>
                </a:cubicBezTo>
                <a:cubicBezTo>
                  <a:pt x="158" y="72"/>
                  <a:pt x="158" y="72"/>
                  <a:pt x="158" y="72"/>
                </a:cubicBezTo>
                <a:cubicBezTo>
                  <a:pt x="158" y="70"/>
                  <a:pt x="158" y="70"/>
                  <a:pt x="158" y="70"/>
                </a:cubicBezTo>
                <a:cubicBezTo>
                  <a:pt x="157" y="70"/>
                  <a:pt x="157" y="70"/>
                  <a:pt x="157" y="70"/>
                </a:cubicBezTo>
                <a:cubicBezTo>
                  <a:pt x="159" y="68"/>
                  <a:pt x="159" y="68"/>
                  <a:pt x="159" y="68"/>
                </a:cubicBezTo>
                <a:cubicBezTo>
                  <a:pt x="159" y="66"/>
                  <a:pt x="159" y="66"/>
                  <a:pt x="159" y="66"/>
                </a:cubicBezTo>
                <a:cubicBezTo>
                  <a:pt x="159" y="64"/>
                  <a:pt x="159" y="64"/>
                  <a:pt x="159" y="64"/>
                </a:cubicBezTo>
                <a:cubicBezTo>
                  <a:pt x="158" y="63"/>
                  <a:pt x="158" y="63"/>
                  <a:pt x="158" y="63"/>
                </a:cubicBezTo>
                <a:cubicBezTo>
                  <a:pt x="158" y="63"/>
                  <a:pt x="158" y="63"/>
                  <a:pt x="158" y="63"/>
                </a:cubicBezTo>
                <a:cubicBezTo>
                  <a:pt x="159" y="62"/>
                  <a:pt x="159" y="62"/>
                  <a:pt x="159" y="62"/>
                </a:cubicBezTo>
                <a:cubicBezTo>
                  <a:pt x="160" y="61"/>
                  <a:pt x="160" y="61"/>
                  <a:pt x="160" y="61"/>
                </a:cubicBezTo>
                <a:cubicBezTo>
                  <a:pt x="161" y="61"/>
                  <a:pt x="161" y="61"/>
                  <a:pt x="161" y="61"/>
                </a:cubicBezTo>
                <a:cubicBezTo>
                  <a:pt x="162" y="61"/>
                  <a:pt x="162" y="61"/>
                  <a:pt x="162" y="61"/>
                </a:cubicBezTo>
                <a:cubicBezTo>
                  <a:pt x="162" y="62"/>
                  <a:pt x="162" y="62"/>
                  <a:pt x="162" y="62"/>
                </a:cubicBezTo>
                <a:cubicBezTo>
                  <a:pt x="163" y="63"/>
                  <a:pt x="163" y="63"/>
                  <a:pt x="163" y="63"/>
                </a:cubicBezTo>
                <a:cubicBezTo>
                  <a:pt x="163" y="64"/>
                  <a:pt x="163" y="64"/>
                  <a:pt x="163" y="64"/>
                </a:cubicBezTo>
                <a:cubicBezTo>
                  <a:pt x="162" y="65"/>
                  <a:pt x="162" y="65"/>
                  <a:pt x="162" y="65"/>
                </a:cubicBezTo>
                <a:cubicBezTo>
                  <a:pt x="161" y="67"/>
                  <a:pt x="161" y="67"/>
                  <a:pt x="161" y="67"/>
                </a:cubicBezTo>
                <a:cubicBezTo>
                  <a:pt x="162" y="68"/>
                  <a:pt x="162" y="68"/>
                  <a:pt x="162" y="68"/>
                </a:cubicBezTo>
                <a:cubicBezTo>
                  <a:pt x="163" y="68"/>
                  <a:pt x="163" y="68"/>
                  <a:pt x="163" y="68"/>
                </a:cubicBezTo>
                <a:cubicBezTo>
                  <a:pt x="164" y="69"/>
                  <a:pt x="164" y="69"/>
                  <a:pt x="164" y="69"/>
                </a:cubicBezTo>
                <a:cubicBezTo>
                  <a:pt x="165" y="70"/>
                  <a:pt x="165" y="70"/>
                  <a:pt x="165" y="70"/>
                </a:cubicBezTo>
                <a:cubicBezTo>
                  <a:pt x="165" y="71"/>
                  <a:pt x="165" y="71"/>
                  <a:pt x="165" y="71"/>
                </a:cubicBezTo>
                <a:cubicBezTo>
                  <a:pt x="165" y="71"/>
                  <a:pt x="165" y="71"/>
                  <a:pt x="165" y="71"/>
                </a:cubicBezTo>
                <a:cubicBezTo>
                  <a:pt x="165" y="73"/>
                  <a:pt x="165" y="73"/>
                  <a:pt x="165" y="73"/>
                </a:cubicBezTo>
                <a:cubicBezTo>
                  <a:pt x="165" y="74"/>
                  <a:pt x="165" y="74"/>
                  <a:pt x="165" y="74"/>
                </a:cubicBezTo>
                <a:cubicBezTo>
                  <a:pt x="166" y="75"/>
                  <a:pt x="166" y="75"/>
                  <a:pt x="166" y="75"/>
                </a:cubicBezTo>
                <a:cubicBezTo>
                  <a:pt x="167" y="75"/>
                  <a:pt x="167" y="75"/>
                  <a:pt x="167" y="75"/>
                </a:cubicBezTo>
                <a:cubicBezTo>
                  <a:pt x="168" y="75"/>
                  <a:pt x="168" y="75"/>
                  <a:pt x="168" y="75"/>
                </a:cubicBezTo>
                <a:cubicBezTo>
                  <a:pt x="169" y="75"/>
                  <a:pt x="169" y="75"/>
                  <a:pt x="169" y="75"/>
                </a:cubicBezTo>
                <a:cubicBezTo>
                  <a:pt x="169" y="74"/>
                  <a:pt x="169" y="74"/>
                  <a:pt x="169" y="74"/>
                </a:cubicBezTo>
                <a:cubicBezTo>
                  <a:pt x="169" y="74"/>
                  <a:pt x="169" y="74"/>
                  <a:pt x="169" y="74"/>
                </a:cubicBezTo>
                <a:cubicBezTo>
                  <a:pt x="170" y="73"/>
                  <a:pt x="170" y="73"/>
                  <a:pt x="170" y="73"/>
                </a:cubicBezTo>
                <a:cubicBezTo>
                  <a:pt x="171" y="72"/>
                  <a:pt x="171" y="72"/>
                  <a:pt x="171" y="72"/>
                </a:cubicBezTo>
                <a:cubicBezTo>
                  <a:pt x="172" y="71"/>
                  <a:pt x="172" y="71"/>
                  <a:pt x="172" y="71"/>
                </a:cubicBezTo>
                <a:cubicBezTo>
                  <a:pt x="174" y="72"/>
                  <a:pt x="174" y="72"/>
                  <a:pt x="174" y="72"/>
                </a:cubicBezTo>
                <a:cubicBezTo>
                  <a:pt x="175" y="71"/>
                  <a:pt x="175" y="71"/>
                  <a:pt x="175" y="71"/>
                </a:cubicBezTo>
                <a:cubicBezTo>
                  <a:pt x="175" y="71"/>
                  <a:pt x="175" y="71"/>
                  <a:pt x="175" y="71"/>
                </a:cubicBezTo>
                <a:cubicBezTo>
                  <a:pt x="176" y="71"/>
                  <a:pt x="176" y="71"/>
                  <a:pt x="176" y="71"/>
                </a:cubicBezTo>
                <a:cubicBezTo>
                  <a:pt x="177" y="70"/>
                  <a:pt x="177" y="70"/>
                  <a:pt x="177" y="70"/>
                </a:cubicBezTo>
                <a:cubicBezTo>
                  <a:pt x="177" y="70"/>
                  <a:pt x="177" y="70"/>
                  <a:pt x="177" y="70"/>
                </a:cubicBezTo>
                <a:cubicBezTo>
                  <a:pt x="175" y="70"/>
                  <a:pt x="175" y="70"/>
                  <a:pt x="175" y="70"/>
                </a:cubicBezTo>
                <a:cubicBezTo>
                  <a:pt x="174" y="70"/>
                  <a:pt x="174" y="70"/>
                  <a:pt x="174" y="70"/>
                </a:cubicBezTo>
                <a:cubicBezTo>
                  <a:pt x="174" y="70"/>
                  <a:pt x="174" y="70"/>
                  <a:pt x="174" y="70"/>
                </a:cubicBezTo>
                <a:cubicBezTo>
                  <a:pt x="173" y="70"/>
                  <a:pt x="173" y="70"/>
                  <a:pt x="173" y="70"/>
                </a:cubicBezTo>
                <a:cubicBezTo>
                  <a:pt x="173" y="69"/>
                  <a:pt x="173" y="69"/>
                  <a:pt x="173" y="69"/>
                </a:cubicBezTo>
                <a:cubicBezTo>
                  <a:pt x="172" y="69"/>
                  <a:pt x="172" y="69"/>
                  <a:pt x="172" y="69"/>
                </a:cubicBezTo>
                <a:cubicBezTo>
                  <a:pt x="172" y="68"/>
                  <a:pt x="172" y="68"/>
                  <a:pt x="172" y="68"/>
                </a:cubicBezTo>
                <a:cubicBezTo>
                  <a:pt x="172" y="68"/>
                  <a:pt x="172" y="68"/>
                  <a:pt x="172" y="68"/>
                </a:cubicBezTo>
                <a:cubicBezTo>
                  <a:pt x="171" y="68"/>
                  <a:pt x="171" y="68"/>
                  <a:pt x="171" y="68"/>
                </a:cubicBezTo>
                <a:cubicBezTo>
                  <a:pt x="171" y="68"/>
                  <a:pt x="171" y="68"/>
                  <a:pt x="171" y="68"/>
                </a:cubicBezTo>
                <a:cubicBezTo>
                  <a:pt x="170" y="67"/>
                  <a:pt x="170" y="67"/>
                  <a:pt x="170" y="67"/>
                </a:cubicBezTo>
                <a:cubicBezTo>
                  <a:pt x="169" y="67"/>
                  <a:pt x="169" y="67"/>
                  <a:pt x="169" y="67"/>
                </a:cubicBezTo>
                <a:cubicBezTo>
                  <a:pt x="170" y="66"/>
                  <a:pt x="170" y="66"/>
                  <a:pt x="170" y="66"/>
                </a:cubicBezTo>
                <a:cubicBezTo>
                  <a:pt x="170" y="65"/>
                  <a:pt x="170" y="65"/>
                  <a:pt x="170" y="65"/>
                </a:cubicBezTo>
                <a:cubicBezTo>
                  <a:pt x="171" y="65"/>
                  <a:pt x="171" y="65"/>
                  <a:pt x="171" y="65"/>
                </a:cubicBezTo>
                <a:cubicBezTo>
                  <a:pt x="171" y="65"/>
                  <a:pt x="171" y="65"/>
                  <a:pt x="171" y="65"/>
                </a:cubicBezTo>
                <a:cubicBezTo>
                  <a:pt x="171" y="65"/>
                  <a:pt x="171" y="65"/>
                  <a:pt x="171" y="65"/>
                </a:cubicBezTo>
                <a:cubicBezTo>
                  <a:pt x="171" y="64"/>
                  <a:pt x="171" y="64"/>
                  <a:pt x="171" y="64"/>
                </a:cubicBezTo>
                <a:cubicBezTo>
                  <a:pt x="171" y="63"/>
                  <a:pt x="171" y="63"/>
                  <a:pt x="171" y="63"/>
                </a:cubicBezTo>
                <a:cubicBezTo>
                  <a:pt x="170" y="63"/>
                  <a:pt x="170" y="63"/>
                  <a:pt x="170" y="63"/>
                </a:cubicBezTo>
                <a:cubicBezTo>
                  <a:pt x="170" y="62"/>
                  <a:pt x="170" y="62"/>
                  <a:pt x="170" y="62"/>
                </a:cubicBezTo>
                <a:cubicBezTo>
                  <a:pt x="170" y="62"/>
                  <a:pt x="170" y="62"/>
                  <a:pt x="170" y="62"/>
                </a:cubicBezTo>
                <a:cubicBezTo>
                  <a:pt x="169" y="61"/>
                  <a:pt x="169" y="61"/>
                  <a:pt x="169" y="61"/>
                </a:cubicBezTo>
                <a:cubicBezTo>
                  <a:pt x="168" y="61"/>
                  <a:pt x="168" y="61"/>
                  <a:pt x="168" y="61"/>
                </a:cubicBezTo>
                <a:cubicBezTo>
                  <a:pt x="168" y="60"/>
                  <a:pt x="168" y="60"/>
                  <a:pt x="168" y="60"/>
                </a:cubicBezTo>
                <a:cubicBezTo>
                  <a:pt x="166" y="58"/>
                  <a:pt x="166" y="58"/>
                  <a:pt x="166" y="58"/>
                </a:cubicBezTo>
                <a:cubicBezTo>
                  <a:pt x="165" y="57"/>
                  <a:pt x="165" y="57"/>
                  <a:pt x="165" y="57"/>
                </a:cubicBezTo>
                <a:cubicBezTo>
                  <a:pt x="165" y="56"/>
                  <a:pt x="165" y="56"/>
                  <a:pt x="165" y="56"/>
                </a:cubicBezTo>
                <a:cubicBezTo>
                  <a:pt x="165" y="56"/>
                  <a:pt x="165" y="56"/>
                  <a:pt x="165" y="56"/>
                </a:cubicBezTo>
                <a:cubicBezTo>
                  <a:pt x="165" y="56"/>
                  <a:pt x="165" y="56"/>
                  <a:pt x="165" y="56"/>
                </a:cubicBezTo>
                <a:cubicBezTo>
                  <a:pt x="166" y="56"/>
                  <a:pt x="166" y="56"/>
                  <a:pt x="166" y="56"/>
                </a:cubicBezTo>
                <a:cubicBezTo>
                  <a:pt x="167" y="56"/>
                  <a:pt x="167" y="56"/>
                  <a:pt x="167" y="56"/>
                </a:cubicBezTo>
                <a:cubicBezTo>
                  <a:pt x="168" y="56"/>
                  <a:pt x="168" y="56"/>
                  <a:pt x="168" y="56"/>
                </a:cubicBezTo>
                <a:cubicBezTo>
                  <a:pt x="168" y="55"/>
                  <a:pt x="168" y="55"/>
                  <a:pt x="168" y="55"/>
                </a:cubicBezTo>
                <a:cubicBezTo>
                  <a:pt x="170" y="54"/>
                  <a:pt x="170" y="54"/>
                  <a:pt x="170" y="54"/>
                </a:cubicBezTo>
                <a:cubicBezTo>
                  <a:pt x="172" y="52"/>
                  <a:pt x="172" y="52"/>
                  <a:pt x="172" y="52"/>
                </a:cubicBezTo>
                <a:cubicBezTo>
                  <a:pt x="173" y="51"/>
                  <a:pt x="173" y="51"/>
                  <a:pt x="173" y="51"/>
                </a:cubicBezTo>
                <a:cubicBezTo>
                  <a:pt x="174" y="50"/>
                  <a:pt x="174" y="50"/>
                  <a:pt x="174" y="50"/>
                </a:cubicBezTo>
                <a:cubicBezTo>
                  <a:pt x="174" y="50"/>
                  <a:pt x="174" y="50"/>
                  <a:pt x="174" y="50"/>
                </a:cubicBezTo>
                <a:cubicBezTo>
                  <a:pt x="176" y="49"/>
                  <a:pt x="176" y="49"/>
                  <a:pt x="176" y="49"/>
                </a:cubicBezTo>
                <a:cubicBezTo>
                  <a:pt x="177" y="50"/>
                  <a:pt x="177" y="50"/>
                  <a:pt x="177" y="50"/>
                </a:cubicBezTo>
                <a:cubicBezTo>
                  <a:pt x="178" y="50"/>
                  <a:pt x="178" y="50"/>
                  <a:pt x="178" y="50"/>
                </a:cubicBezTo>
                <a:cubicBezTo>
                  <a:pt x="179" y="48"/>
                  <a:pt x="179" y="48"/>
                  <a:pt x="179" y="48"/>
                </a:cubicBezTo>
                <a:cubicBezTo>
                  <a:pt x="179" y="47"/>
                  <a:pt x="179" y="47"/>
                  <a:pt x="179" y="47"/>
                </a:cubicBezTo>
                <a:cubicBezTo>
                  <a:pt x="177" y="47"/>
                  <a:pt x="177" y="47"/>
                  <a:pt x="177" y="47"/>
                </a:cubicBezTo>
                <a:cubicBezTo>
                  <a:pt x="175" y="47"/>
                  <a:pt x="175" y="47"/>
                  <a:pt x="175" y="47"/>
                </a:cubicBezTo>
                <a:cubicBezTo>
                  <a:pt x="173" y="48"/>
                  <a:pt x="173" y="48"/>
                  <a:pt x="173" y="48"/>
                </a:cubicBezTo>
                <a:cubicBezTo>
                  <a:pt x="172" y="48"/>
                  <a:pt x="172" y="48"/>
                  <a:pt x="172" y="48"/>
                </a:cubicBezTo>
                <a:cubicBezTo>
                  <a:pt x="171" y="48"/>
                  <a:pt x="171" y="48"/>
                  <a:pt x="171" y="48"/>
                </a:cubicBezTo>
                <a:cubicBezTo>
                  <a:pt x="170" y="49"/>
                  <a:pt x="170" y="49"/>
                  <a:pt x="170" y="49"/>
                </a:cubicBezTo>
                <a:cubicBezTo>
                  <a:pt x="168" y="49"/>
                  <a:pt x="168" y="49"/>
                  <a:pt x="168" y="49"/>
                </a:cubicBezTo>
                <a:cubicBezTo>
                  <a:pt x="167" y="50"/>
                  <a:pt x="167" y="50"/>
                  <a:pt x="167" y="50"/>
                </a:cubicBezTo>
                <a:cubicBezTo>
                  <a:pt x="166" y="49"/>
                  <a:pt x="166" y="49"/>
                  <a:pt x="166" y="49"/>
                </a:cubicBezTo>
                <a:cubicBezTo>
                  <a:pt x="165" y="49"/>
                  <a:pt x="165" y="49"/>
                  <a:pt x="165" y="49"/>
                </a:cubicBezTo>
                <a:cubicBezTo>
                  <a:pt x="164" y="50"/>
                  <a:pt x="164" y="50"/>
                  <a:pt x="164" y="50"/>
                </a:cubicBezTo>
                <a:cubicBezTo>
                  <a:pt x="163" y="52"/>
                  <a:pt x="163" y="52"/>
                  <a:pt x="163" y="52"/>
                </a:cubicBezTo>
                <a:cubicBezTo>
                  <a:pt x="162" y="53"/>
                  <a:pt x="162" y="53"/>
                  <a:pt x="162" y="53"/>
                </a:cubicBezTo>
                <a:cubicBezTo>
                  <a:pt x="161" y="53"/>
                  <a:pt x="161" y="53"/>
                  <a:pt x="161" y="53"/>
                </a:cubicBezTo>
                <a:cubicBezTo>
                  <a:pt x="160" y="52"/>
                  <a:pt x="160" y="52"/>
                  <a:pt x="160" y="52"/>
                </a:cubicBezTo>
                <a:cubicBezTo>
                  <a:pt x="159" y="50"/>
                  <a:pt x="159" y="50"/>
                  <a:pt x="159" y="50"/>
                </a:cubicBezTo>
                <a:cubicBezTo>
                  <a:pt x="157" y="49"/>
                  <a:pt x="157" y="49"/>
                  <a:pt x="157" y="49"/>
                </a:cubicBezTo>
                <a:cubicBezTo>
                  <a:pt x="156" y="47"/>
                  <a:pt x="156" y="47"/>
                  <a:pt x="156" y="47"/>
                </a:cubicBezTo>
                <a:cubicBezTo>
                  <a:pt x="156" y="44"/>
                  <a:pt x="156" y="44"/>
                  <a:pt x="156" y="44"/>
                </a:cubicBezTo>
                <a:cubicBezTo>
                  <a:pt x="157" y="42"/>
                  <a:pt x="157" y="42"/>
                  <a:pt x="157" y="42"/>
                </a:cubicBezTo>
                <a:cubicBezTo>
                  <a:pt x="158" y="41"/>
                  <a:pt x="158" y="41"/>
                  <a:pt x="158" y="41"/>
                </a:cubicBezTo>
                <a:close/>
                <a:moveTo>
                  <a:pt x="160" y="0"/>
                </a:moveTo>
                <a:cubicBezTo>
                  <a:pt x="159" y="1"/>
                  <a:pt x="159" y="1"/>
                  <a:pt x="159" y="1"/>
                </a:cubicBezTo>
                <a:cubicBezTo>
                  <a:pt x="160" y="1"/>
                  <a:pt x="160" y="1"/>
                  <a:pt x="160" y="1"/>
                </a:cubicBezTo>
                <a:cubicBezTo>
                  <a:pt x="160" y="1"/>
                  <a:pt x="160" y="1"/>
                  <a:pt x="160" y="1"/>
                </a:cubicBezTo>
                <a:cubicBezTo>
                  <a:pt x="160" y="0"/>
                  <a:pt x="160" y="0"/>
                  <a:pt x="160" y="0"/>
                </a:cubicBezTo>
                <a:close/>
                <a:moveTo>
                  <a:pt x="161" y="4"/>
                </a:moveTo>
                <a:cubicBezTo>
                  <a:pt x="162" y="4"/>
                  <a:pt x="162" y="4"/>
                  <a:pt x="162" y="4"/>
                </a:cubicBezTo>
                <a:cubicBezTo>
                  <a:pt x="163" y="4"/>
                  <a:pt x="163" y="4"/>
                  <a:pt x="163" y="4"/>
                </a:cubicBezTo>
                <a:cubicBezTo>
                  <a:pt x="163" y="4"/>
                  <a:pt x="163" y="4"/>
                  <a:pt x="163" y="4"/>
                </a:cubicBezTo>
                <a:cubicBezTo>
                  <a:pt x="164" y="4"/>
                  <a:pt x="164" y="4"/>
                  <a:pt x="164" y="4"/>
                </a:cubicBezTo>
                <a:cubicBezTo>
                  <a:pt x="164" y="3"/>
                  <a:pt x="164" y="3"/>
                  <a:pt x="164" y="3"/>
                </a:cubicBezTo>
                <a:cubicBezTo>
                  <a:pt x="163" y="3"/>
                  <a:pt x="163" y="3"/>
                  <a:pt x="163" y="3"/>
                </a:cubicBezTo>
                <a:cubicBezTo>
                  <a:pt x="161" y="3"/>
                  <a:pt x="161" y="3"/>
                  <a:pt x="161" y="3"/>
                </a:cubicBezTo>
                <a:cubicBezTo>
                  <a:pt x="161" y="4"/>
                  <a:pt x="161" y="4"/>
                  <a:pt x="161" y="4"/>
                </a:cubicBezTo>
                <a:cubicBezTo>
                  <a:pt x="161" y="4"/>
                  <a:pt x="161" y="4"/>
                  <a:pt x="161" y="4"/>
                </a:cubicBezTo>
                <a:close/>
                <a:moveTo>
                  <a:pt x="152" y="11"/>
                </a:moveTo>
                <a:cubicBezTo>
                  <a:pt x="151" y="12"/>
                  <a:pt x="151" y="12"/>
                  <a:pt x="151" y="12"/>
                </a:cubicBezTo>
                <a:cubicBezTo>
                  <a:pt x="152" y="13"/>
                  <a:pt x="152" y="13"/>
                  <a:pt x="152" y="13"/>
                </a:cubicBezTo>
                <a:cubicBezTo>
                  <a:pt x="152" y="12"/>
                  <a:pt x="152" y="12"/>
                  <a:pt x="152" y="12"/>
                </a:cubicBezTo>
                <a:cubicBezTo>
                  <a:pt x="152" y="11"/>
                  <a:pt x="152" y="11"/>
                  <a:pt x="152" y="11"/>
                </a:cubicBezTo>
                <a:close/>
                <a:moveTo>
                  <a:pt x="154" y="9"/>
                </a:moveTo>
                <a:cubicBezTo>
                  <a:pt x="156" y="8"/>
                  <a:pt x="156" y="8"/>
                  <a:pt x="156" y="8"/>
                </a:cubicBezTo>
                <a:cubicBezTo>
                  <a:pt x="157" y="8"/>
                  <a:pt x="157" y="8"/>
                  <a:pt x="157" y="8"/>
                </a:cubicBezTo>
                <a:cubicBezTo>
                  <a:pt x="157" y="9"/>
                  <a:pt x="157" y="9"/>
                  <a:pt x="157" y="9"/>
                </a:cubicBezTo>
                <a:cubicBezTo>
                  <a:pt x="156" y="10"/>
                  <a:pt x="156" y="10"/>
                  <a:pt x="156" y="10"/>
                </a:cubicBezTo>
                <a:cubicBezTo>
                  <a:pt x="154" y="10"/>
                  <a:pt x="154" y="10"/>
                  <a:pt x="154" y="10"/>
                </a:cubicBezTo>
                <a:cubicBezTo>
                  <a:pt x="154" y="9"/>
                  <a:pt x="154" y="9"/>
                  <a:pt x="154" y="9"/>
                </a:cubicBezTo>
                <a:close/>
                <a:moveTo>
                  <a:pt x="141" y="16"/>
                </a:moveTo>
                <a:cubicBezTo>
                  <a:pt x="141" y="17"/>
                  <a:pt x="141" y="17"/>
                  <a:pt x="141" y="17"/>
                </a:cubicBezTo>
                <a:cubicBezTo>
                  <a:pt x="141" y="17"/>
                  <a:pt x="141" y="17"/>
                  <a:pt x="141" y="17"/>
                </a:cubicBezTo>
                <a:cubicBezTo>
                  <a:pt x="141" y="16"/>
                  <a:pt x="141" y="16"/>
                  <a:pt x="141" y="16"/>
                </a:cubicBezTo>
                <a:close/>
                <a:moveTo>
                  <a:pt x="141" y="16"/>
                </a:moveTo>
                <a:cubicBezTo>
                  <a:pt x="141" y="16"/>
                  <a:pt x="141" y="16"/>
                  <a:pt x="141" y="16"/>
                </a:cubicBezTo>
                <a:cubicBezTo>
                  <a:pt x="141" y="16"/>
                  <a:pt x="141" y="16"/>
                  <a:pt x="141" y="16"/>
                </a:cubicBezTo>
                <a:cubicBezTo>
                  <a:pt x="142" y="17"/>
                  <a:pt x="142" y="17"/>
                  <a:pt x="142" y="17"/>
                </a:cubicBezTo>
                <a:cubicBezTo>
                  <a:pt x="142" y="16"/>
                  <a:pt x="142" y="16"/>
                  <a:pt x="142" y="16"/>
                </a:cubicBezTo>
                <a:cubicBezTo>
                  <a:pt x="141" y="16"/>
                  <a:pt x="141" y="16"/>
                  <a:pt x="141" y="16"/>
                </a:cubicBezTo>
                <a:close/>
                <a:moveTo>
                  <a:pt x="142" y="19"/>
                </a:moveTo>
                <a:cubicBezTo>
                  <a:pt x="140" y="19"/>
                  <a:pt x="140" y="19"/>
                  <a:pt x="140" y="19"/>
                </a:cubicBezTo>
                <a:cubicBezTo>
                  <a:pt x="141" y="20"/>
                  <a:pt x="141" y="20"/>
                  <a:pt x="141" y="20"/>
                </a:cubicBezTo>
                <a:cubicBezTo>
                  <a:pt x="142" y="19"/>
                  <a:pt x="142" y="19"/>
                  <a:pt x="142" y="19"/>
                </a:cubicBezTo>
                <a:close/>
                <a:moveTo>
                  <a:pt x="140" y="20"/>
                </a:moveTo>
                <a:cubicBezTo>
                  <a:pt x="141" y="21"/>
                  <a:pt x="141" y="21"/>
                  <a:pt x="141" y="21"/>
                </a:cubicBezTo>
                <a:cubicBezTo>
                  <a:pt x="141" y="22"/>
                  <a:pt x="141" y="22"/>
                  <a:pt x="141" y="22"/>
                </a:cubicBezTo>
                <a:cubicBezTo>
                  <a:pt x="141" y="22"/>
                  <a:pt x="141" y="22"/>
                  <a:pt x="141" y="22"/>
                </a:cubicBezTo>
                <a:cubicBezTo>
                  <a:pt x="140" y="20"/>
                  <a:pt x="140" y="20"/>
                  <a:pt x="140" y="20"/>
                </a:cubicBezTo>
                <a:close/>
                <a:moveTo>
                  <a:pt x="133" y="66"/>
                </a:moveTo>
                <a:cubicBezTo>
                  <a:pt x="133" y="66"/>
                  <a:pt x="133" y="66"/>
                  <a:pt x="133" y="66"/>
                </a:cubicBezTo>
                <a:cubicBezTo>
                  <a:pt x="133" y="68"/>
                  <a:pt x="133" y="68"/>
                  <a:pt x="133" y="68"/>
                </a:cubicBezTo>
                <a:cubicBezTo>
                  <a:pt x="132" y="68"/>
                  <a:pt x="132" y="68"/>
                  <a:pt x="132" y="68"/>
                </a:cubicBezTo>
                <a:cubicBezTo>
                  <a:pt x="132" y="66"/>
                  <a:pt x="132" y="66"/>
                  <a:pt x="132" y="66"/>
                </a:cubicBezTo>
                <a:cubicBezTo>
                  <a:pt x="133" y="66"/>
                  <a:pt x="133" y="66"/>
                  <a:pt x="133" y="66"/>
                </a:cubicBezTo>
                <a:close/>
                <a:moveTo>
                  <a:pt x="132" y="66"/>
                </a:moveTo>
                <a:cubicBezTo>
                  <a:pt x="132" y="68"/>
                  <a:pt x="132" y="68"/>
                  <a:pt x="132" y="68"/>
                </a:cubicBezTo>
                <a:cubicBezTo>
                  <a:pt x="132" y="69"/>
                  <a:pt x="132" y="69"/>
                  <a:pt x="132" y="69"/>
                </a:cubicBezTo>
                <a:cubicBezTo>
                  <a:pt x="131" y="70"/>
                  <a:pt x="131" y="70"/>
                  <a:pt x="131" y="70"/>
                </a:cubicBezTo>
                <a:cubicBezTo>
                  <a:pt x="130" y="69"/>
                  <a:pt x="130" y="69"/>
                  <a:pt x="130" y="69"/>
                </a:cubicBezTo>
                <a:cubicBezTo>
                  <a:pt x="130" y="67"/>
                  <a:pt x="130" y="67"/>
                  <a:pt x="130" y="67"/>
                </a:cubicBezTo>
                <a:cubicBezTo>
                  <a:pt x="131" y="66"/>
                  <a:pt x="131" y="66"/>
                  <a:pt x="131" y="66"/>
                </a:cubicBezTo>
                <a:cubicBezTo>
                  <a:pt x="132" y="65"/>
                  <a:pt x="132" y="65"/>
                  <a:pt x="132" y="65"/>
                </a:cubicBezTo>
                <a:cubicBezTo>
                  <a:pt x="132" y="66"/>
                  <a:pt x="132" y="66"/>
                  <a:pt x="132" y="66"/>
                </a:cubicBezTo>
                <a:close/>
                <a:moveTo>
                  <a:pt x="89" y="46"/>
                </a:moveTo>
                <a:cubicBezTo>
                  <a:pt x="90" y="46"/>
                  <a:pt x="90" y="46"/>
                  <a:pt x="90" y="46"/>
                </a:cubicBezTo>
                <a:cubicBezTo>
                  <a:pt x="90" y="47"/>
                  <a:pt x="90" y="47"/>
                  <a:pt x="90" y="47"/>
                </a:cubicBezTo>
                <a:cubicBezTo>
                  <a:pt x="90" y="47"/>
                  <a:pt x="90" y="47"/>
                  <a:pt x="90" y="47"/>
                </a:cubicBezTo>
                <a:cubicBezTo>
                  <a:pt x="89" y="47"/>
                  <a:pt x="89" y="47"/>
                  <a:pt x="89" y="47"/>
                </a:cubicBezTo>
                <a:cubicBezTo>
                  <a:pt x="88" y="46"/>
                  <a:pt x="88" y="46"/>
                  <a:pt x="88" y="46"/>
                </a:cubicBezTo>
                <a:cubicBezTo>
                  <a:pt x="89" y="46"/>
                  <a:pt x="89" y="46"/>
                  <a:pt x="89" y="46"/>
                </a:cubicBezTo>
                <a:close/>
                <a:moveTo>
                  <a:pt x="89" y="49"/>
                </a:moveTo>
                <a:cubicBezTo>
                  <a:pt x="91" y="49"/>
                  <a:pt x="91" y="49"/>
                  <a:pt x="91" y="49"/>
                </a:cubicBezTo>
                <a:cubicBezTo>
                  <a:pt x="91" y="50"/>
                  <a:pt x="91" y="50"/>
                  <a:pt x="91" y="50"/>
                </a:cubicBezTo>
                <a:cubicBezTo>
                  <a:pt x="92" y="50"/>
                  <a:pt x="92" y="50"/>
                  <a:pt x="92" y="50"/>
                </a:cubicBezTo>
                <a:cubicBezTo>
                  <a:pt x="92" y="50"/>
                  <a:pt x="92" y="50"/>
                  <a:pt x="92" y="50"/>
                </a:cubicBezTo>
                <a:cubicBezTo>
                  <a:pt x="90" y="50"/>
                  <a:pt x="90" y="50"/>
                  <a:pt x="90" y="50"/>
                </a:cubicBezTo>
                <a:cubicBezTo>
                  <a:pt x="90" y="50"/>
                  <a:pt x="90" y="50"/>
                  <a:pt x="90" y="50"/>
                </a:cubicBezTo>
                <a:cubicBezTo>
                  <a:pt x="89" y="49"/>
                  <a:pt x="89" y="49"/>
                  <a:pt x="89" y="49"/>
                </a:cubicBezTo>
                <a:cubicBezTo>
                  <a:pt x="89" y="49"/>
                  <a:pt x="89" y="49"/>
                  <a:pt x="89" y="49"/>
                </a:cubicBezTo>
                <a:close/>
                <a:moveTo>
                  <a:pt x="90" y="51"/>
                </a:moveTo>
                <a:cubicBezTo>
                  <a:pt x="92" y="51"/>
                  <a:pt x="92" y="51"/>
                  <a:pt x="92" y="51"/>
                </a:cubicBezTo>
                <a:cubicBezTo>
                  <a:pt x="93" y="51"/>
                  <a:pt x="93" y="51"/>
                  <a:pt x="93" y="51"/>
                </a:cubicBezTo>
                <a:cubicBezTo>
                  <a:pt x="92" y="53"/>
                  <a:pt x="92" y="53"/>
                  <a:pt x="92" y="53"/>
                </a:cubicBezTo>
                <a:cubicBezTo>
                  <a:pt x="91" y="53"/>
                  <a:pt x="91" y="53"/>
                  <a:pt x="91" y="53"/>
                </a:cubicBezTo>
                <a:cubicBezTo>
                  <a:pt x="90" y="52"/>
                  <a:pt x="90" y="52"/>
                  <a:pt x="90" y="52"/>
                </a:cubicBezTo>
                <a:cubicBezTo>
                  <a:pt x="91" y="51"/>
                  <a:pt x="91" y="51"/>
                  <a:pt x="91" y="51"/>
                </a:cubicBezTo>
                <a:cubicBezTo>
                  <a:pt x="91" y="51"/>
                  <a:pt x="90" y="51"/>
                  <a:pt x="90" y="51"/>
                </a:cubicBezTo>
                <a:close/>
                <a:moveTo>
                  <a:pt x="87" y="36"/>
                </a:moveTo>
                <a:cubicBezTo>
                  <a:pt x="88" y="34"/>
                  <a:pt x="88" y="34"/>
                  <a:pt x="88" y="34"/>
                </a:cubicBezTo>
                <a:cubicBezTo>
                  <a:pt x="90" y="32"/>
                  <a:pt x="90" y="32"/>
                  <a:pt x="90" y="32"/>
                </a:cubicBezTo>
                <a:cubicBezTo>
                  <a:pt x="91" y="31"/>
                  <a:pt x="91" y="31"/>
                  <a:pt x="91" y="31"/>
                </a:cubicBezTo>
                <a:cubicBezTo>
                  <a:pt x="92" y="31"/>
                  <a:pt x="92" y="31"/>
                  <a:pt x="92" y="31"/>
                </a:cubicBezTo>
                <a:cubicBezTo>
                  <a:pt x="93" y="33"/>
                  <a:pt x="93" y="33"/>
                  <a:pt x="93" y="33"/>
                </a:cubicBezTo>
                <a:cubicBezTo>
                  <a:pt x="95" y="34"/>
                  <a:pt x="95" y="34"/>
                  <a:pt x="95" y="34"/>
                </a:cubicBezTo>
                <a:cubicBezTo>
                  <a:pt x="95" y="35"/>
                  <a:pt x="95" y="35"/>
                  <a:pt x="95" y="35"/>
                </a:cubicBezTo>
                <a:cubicBezTo>
                  <a:pt x="96" y="36"/>
                  <a:pt x="96" y="36"/>
                  <a:pt x="96" y="36"/>
                </a:cubicBezTo>
                <a:cubicBezTo>
                  <a:pt x="97" y="37"/>
                  <a:pt x="97" y="37"/>
                  <a:pt x="97" y="37"/>
                </a:cubicBezTo>
                <a:cubicBezTo>
                  <a:pt x="98" y="37"/>
                  <a:pt x="98" y="37"/>
                  <a:pt x="98" y="37"/>
                </a:cubicBezTo>
                <a:cubicBezTo>
                  <a:pt x="100" y="37"/>
                  <a:pt x="100" y="37"/>
                  <a:pt x="100" y="37"/>
                </a:cubicBezTo>
                <a:cubicBezTo>
                  <a:pt x="100" y="36"/>
                  <a:pt x="100" y="36"/>
                  <a:pt x="100" y="36"/>
                </a:cubicBezTo>
                <a:cubicBezTo>
                  <a:pt x="101" y="36"/>
                  <a:pt x="101" y="36"/>
                  <a:pt x="101" y="36"/>
                </a:cubicBezTo>
                <a:cubicBezTo>
                  <a:pt x="102" y="36"/>
                  <a:pt x="102" y="36"/>
                  <a:pt x="102" y="36"/>
                </a:cubicBezTo>
                <a:cubicBezTo>
                  <a:pt x="106" y="36"/>
                  <a:pt x="106" y="36"/>
                  <a:pt x="106" y="36"/>
                </a:cubicBezTo>
                <a:cubicBezTo>
                  <a:pt x="109" y="35"/>
                  <a:pt x="109" y="35"/>
                  <a:pt x="109" y="35"/>
                </a:cubicBezTo>
                <a:cubicBezTo>
                  <a:pt x="110" y="34"/>
                  <a:pt x="110" y="34"/>
                  <a:pt x="110" y="34"/>
                </a:cubicBezTo>
                <a:cubicBezTo>
                  <a:pt x="113" y="34"/>
                  <a:pt x="113" y="34"/>
                  <a:pt x="113" y="34"/>
                </a:cubicBezTo>
                <a:cubicBezTo>
                  <a:pt x="115" y="34"/>
                  <a:pt x="115" y="34"/>
                  <a:pt x="115" y="34"/>
                </a:cubicBezTo>
                <a:cubicBezTo>
                  <a:pt x="115" y="35"/>
                  <a:pt x="115" y="35"/>
                  <a:pt x="115" y="35"/>
                </a:cubicBezTo>
                <a:cubicBezTo>
                  <a:pt x="117" y="35"/>
                  <a:pt x="117" y="35"/>
                  <a:pt x="117" y="35"/>
                </a:cubicBezTo>
                <a:cubicBezTo>
                  <a:pt x="119" y="34"/>
                  <a:pt x="119" y="34"/>
                  <a:pt x="119" y="34"/>
                </a:cubicBezTo>
                <a:cubicBezTo>
                  <a:pt x="122" y="33"/>
                  <a:pt x="122" y="33"/>
                  <a:pt x="122" y="33"/>
                </a:cubicBezTo>
                <a:cubicBezTo>
                  <a:pt x="122" y="32"/>
                  <a:pt x="122" y="32"/>
                  <a:pt x="122" y="32"/>
                </a:cubicBezTo>
                <a:cubicBezTo>
                  <a:pt x="125" y="29"/>
                  <a:pt x="125" y="29"/>
                  <a:pt x="125" y="29"/>
                </a:cubicBezTo>
                <a:cubicBezTo>
                  <a:pt x="126" y="26"/>
                  <a:pt x="126" y="26"/>
                  <a:pt x="126" y="26"/>
                </a:cubicBezTo>
                <a:cubicBezTo>
                  <a:pt x="128" y="23"/>
                  <a:pt x="128" y="23"/>
                  <a:pt x="128" y="23"/>
                </a:cubicBezTo>
                <a:cubicBezTo>
                  <a:pt x="129" y="18"/>
                  <a:pt x="129" y="18"/>
                  <a:pt x="129" y="18"/>
                </a:cubicBezTo>
                <a:cubicBezTo>
                  <a:pt x="129" y="17"/>
                  <a:pt x="129" y="17"/>
                  <a:pt x="129" y="17"/>
                </a:cubicBezTo>
                <a:cubicBezTo>
                  <a:pt x="130" y="16"/>
                  <a:pt x="130" y="16"/>
                  <a:pt x="130" y="16"/>
                </a:cubicBezTo>
                <a:cubicBezTo>
                  <a:pt x="130" y="15"/>
                  <a:pt x="130" y="15"/>
                  <a:pt x="130" y="15"/>
                </a:cubicBezTo>
                <a:cubicBezTo>
                  <a:pt x="131" y="14"/>
                  <a:pt x="131" y="14"/>
                  <a:pt x="131" y="14"/>
                </a:cubicBezTo>
                <a:cubicBezTo>
                  <a:pt x="132" y="14"/>
                  <a:pt x="132" y="14"/>
                  <a:pt x="132" y="14"/>
                </a:cubicBezTo>
                <a:cubicBezTo>
                  <a:pt x="134" y="14"/>
                  <a:pt x="134" y="14"/>
                  <a:pt x="134" y="14"/>
                </a:cubicBezTo>
                <a:cubicBezTo>
                  <a:pt x="137" y="14"/>
                  <a:pt x="137" y="14"/>
                  <a:pt x="137" y="14"/>
                </a:cubicBezTo>
                <a:cubicBezTo>
                  <a:pt x="137" y="15"/>
                  <a:pt x="137" y="15"/>
                  <a:pt x="137" y="15"/>
                </a:cubicBezTo>
                <a:cubicBezTo>
                  <a:pt x="139" y="15"/>
                  <a:pt x="139" y="15"/>
                  <a:pt x="139" y="15"/>
                </a:cubicBezTo>
                <a:cubicBezTo>
                  <a:pt x="140" y="15"/>
                  <a:pt x="140" y="15"/>
                  <a:pt x="140" y="15"/>
                </a:cubicBezTo>
                <a:cubicBezTo>
                  <a:pt x="140" y="15"/>
                  <a:pt x="140" y="15"/>
                  <a:pt x="140" y="15"/>
                </a:cubicBezTo>
                <a:cubicBezTo>
                  <a:pt x="140" y="15"/>
                  <a:pt x="140" y="15"/>
                  <a:pt x="140" y="15"/>
                </a:cubicBezTo>
                <a:cubicBezTo>
                  <a:pt x="140" y="16"/>
                  <a:pt x="140" y="16"/>
                  <a:pt x="140" y="16"/>
                </a:cubicBezTo>
                <a:cubicBezTo>
                  <a:pt x="139" y="17"/>
                  <a:pt x="139" y="17"/>
                  <a:pt x="139" y="17"/>
                </a:cubicBezTo>
                <a:cubicBezTo>
                  <a:pt x="141" y="17"/>
                  <a:pt x="141" y="17"/>
                  <a:pt x="141" y="17"/>
                </a:cubicBezTo>
                <a:cubicBezTo>
                  <a:pt x="142" y="19"/>
                  <a:pt x="142" y="19"/>
                  <a:pt x="142" y="19"/>
                </a:cubicBezTo>
                <a:cubicBezTo>
                  <a:pt x="141" y="19"/>
                  <a:pt x="141" y="19"/>
                  <a:pt x="141" y="19"/>
                </a:cubicBezTo>
                <a:cubicBezTo>
                  <a:pt x="139" y="19"/>
                  <a:pt x="139" y="19"/>
                  <a:pt x="139" y="19"/>
                </a:cubicBezTo>
                <a:cubicBezTo>
                  <a:pt x="139" y="19"/>
                  <a:pt x="139" y="19"/>
                  <a:pt x="139" y="19"/>
                </a:cubicBezTo>
                <a:cubicBezTo>
                  <a:pt x="140" y="20"/>
                  <a:pt x="140" y="20"/>
                  <a:pt x="140" y="20"/>
                </a:cubicBezTo>
                <a:cubicBezTo>
                  <a:pt x="140" y="21"/>
                  <a:pt x="140" y="21"/>
                  <a:pt x="140" y="21"/>
                </a:cubicBezTo>
                <a:cubicBezTo>
                  <a:pt x="140" y="21"/>
                  <a:pt x="140" y="21"/>
                  <a:pt x="140" y="21"/>
                </a:cubicBezTo>
                <a:cubicBezTo>
                  <a:pt x="140" y="21"/>
                  <a:pt x="140" y="21"/>
                  <a:pt x="140" y="21"/>
                </a:cubicBezTo>
                <a:cubicBezTo>
                  <a:pt x="139" y="22"/>
                  <a:pt x="139" y="22"/>
                  <a:pt x="139" y="22"/>
                </a:cubicBezTo>
                <a:cubicBezTo>
                  <a:pt x="140" y="23"/>
                  <a:pt x="140" y="23"/>
                  <a:pt x="140" y="23"/>
                </a:cubicBezTo>
                <a:cubicBezTo>
                  <a:pt x="141" y="25"/>
                  <a:pt x="141" y="25"/>
                  <a:pt x="141" y="25"/>
                </a:cubicBezTo>
                <a:cubicBezTo>
                  <a:pt x="143" y="27"/>
                  <a:pt x="143" y="27"/>
                  <a:pt x="143" y="27"/>
                </a:cubicBezTo>
                <a:cubicBezTo>
                  <a:pt x="144" y="28"/>
                  <a:pt x="144" y="28"/>
                  <a:pt x="144" y="28"/>
                </a:cubicBezTo>
                <a:cubicBezTo>
                  <a:pt x="143" y="29"/>
                  <a:pt x="143" y="29"/>
                  <a:pt x="143" y="29"/>
                </a:cubicBezTo>
                <a:cubicBezTo>
                  <a:pt x="141" y="29"/>
                  <a:pt x="141" y="29"/>
                  <a:pt x="141" y="29"/>
                </a:cubicBezTo>
                <a:cubicBezTo>
                  <a:pt x="141" y="30"/>
                  <a:pt x="141" y="30"/>
                  <a:pt x="141" y="30"/>
                </a:cubicBezTo>
                <a:cubicBezTo>
                  <a:pt x="142" y="30"/>
                  <a:pt x="142" y="30"/>
                  <a:pt x="142" y="30"/>
                </a:cubicBezTo>
                <a:cubicBezTo>
                  <a:pt x="142" y="32"/>
                  <a:pt x="142" y="32"/>
                  <a:pt x="142" y="32"/>
                </a:cubicBezTo>
                <a:cubicBezTo>
                  <a:pt x="143" y="32"/>
                  <a:pt x="143" y="32"/>
                  <a:pt x="143" y="32"/>
                </a:cubicBezTo>
                <a:cubicBezTo>
                  <a:pt x="146" y="35"/>
                  <a:pt x="146" y="35"/>
                  <a:pt x="146" y="35"/>
                </a:cubicBezTo>
                <a:cubicBezTo>
                  <a:pt x="147" y="35"/>
                  <a:pt x="147" y="35"/>
                  <a:pt x="147" y="35"/>
                </a:cubicBezTo>
                <a:cubicBezTo>
                  <a:pt x="148" y="36"/>
                  <a:pt x="148" y="36"/>
                  <a:pt x="148" y="36"/>
                </a:cubicBezTo>
                <a:cubicBezTo>
                  <a:pt x="148" y="36"/>
                  <a:pt x="148" y="36"/>
                  <a:pt x="148" y="36"/>
                </a:cubicBezTo>
                <a:cubicBezTo>
                  <a:pt x="149" y="37"/>
                  <a:pt x="149" y="37"/>
                  <a:pt x="149" y="37"/>
                </a:cubicBezTo>
                <a:cubicBezTo>
                  <a:pt x="149" y="38"/>
                  <a:pt x="149" y="38"/>
                  <a:pt x="149" y="38"/>
                </a:cubicBezTo>
                <a:cubicBezTo>
                  <a:pt x="148" y="38"/>
                  <a:pt x="148" y="38"/>
                  <a:pt x="148" y="38"/>
                </a:cubicBezTo>
                <a:cubicBezTo>
                  <a:pt x="147" y="38"/>
                  <a:pt x="147" y="38"/>
                  <a:pt x="147" y="38"/>
                </a:cubicBezTo>
                <a:cubicBezTo>
                  <a:pt x="146" y="39"/>
                  <a:pt x="146" y="39"/>
                  <a:pt x="146" y="39"/>
                </a:cubicBezTo>
                <a:cubicBezTo>
                  <a:pt x="145" y="38"/>
                  <a:pt x="145" y="38"/>
                  <a:pt x="145" y="38"/>
                </a:cubicBezTo>
                <a:cubicBezTo>
                  <a:pt x="143" y="36"/>
                  <a:pt x="143" y="36"/>
                  <a:pt x="143" y="36"/>
                </a:cubicBezTo>
                <a:cubicBezTo>
                  <a:pt x="143" y="38"/>
                  <a:pt x="143" y="38"/>
                  <a:pt x="143" y="38"/>
                </a:cubicBezTo>
                <a:cubicBezTo>
                  <a:pt x="143" y="39"/>
                  <a:pt x="143" y="39"/>
                  <a:pt x="143" y="39"/>
                </a:cubicBezTo>
                <a:cubicBezTo>
                  <a:pt x="142" y="38"/>
                  <a:pt x="142" y="38"/>
                  <a:pt x="142" y="38"/>
                </a:cubicBezTo>
                <a:cubicBezTo>
                  <a:pt x="141" y="39"/>
                  <a:pt x="141" y="39"/>
                  <a:pt x="141" y="39"/>
                </a:cubicBezTo>
                <a:cubicBezTo>
                  <a:pt x="141" y="40"/>
                  <a:pt x="141" y="40"/>
                  <a:pt x="141" y="40"/>
                </a:cubicBezTo>
                <a:cubicBezTo>
                  <a:pt x="140" y="41"/>
                  <a:pt x="140" y="41"/>
                  <a:pt x="140" y="41"/>
                </a:cubicBezTo>
                <a:cubicBezTo>
                  <a:pt x="140" y="43"/>
                  <a:pt x="140" y="43"/>
                  <a:pt x="140" y="43"/>
                </a:cubicBezTo>
                <a:cubicBezTo>
                  <a:pt x="139" y="44"/>
                  <a:pt x="139" y="44"/>
                  <a:pt x="139" y="44"/>
                </a:cubicBezTo>
                <a:cubicBezTo>
                  <a:pt x="139" y="46"/>
                  <a:pt x="139" y="46"/>
                  <a:pt x="139" y="46"/>
                </a:cubicBezTo>
                <a:cubicBezTo>
                  <a:pt x="137" y="48"/>
                  <a:pt x="137" y="48"/>
                  <a:pt x="137" y="48"/>
                </a:cubicBezTo>
                <a:cubicBezTo>
                  <a:pt x="138" y="49"/>
                  <a:pt x="138" y="49"/>
                  <a:pt x="138" y="49"/>
                </a:cubicBezTo>
                <a:cubicBezTo>
                  <a:pt x="137" y="50"/>
                  <a:pt x="137" y="50"/>
                  <a:pt x="137" y="50"/>
                </a:cubicBezTo>
                <a:cubicBezTo>
                  <a:pt x="136" y="51"/>
                  <a:pt x="136" y="51"/>
                  <a:pt x="136" y="51"/>
                </a:cubicBezTo>
                <a:cubicBezTo>
                  <a:pt x="136" y="50"/>
                  <a:pt x="136" y="50"/>
                  <a:pt x="136" y="50"/>
                </a:cubicBezTo>
                <a:cubicBezTo>
                  <a:pt x="135" y="50"/>
                  <a:pt x="135" y="50"/>
                  <a:pt x="135" y="50"/>
                </a:cubicBezTo>
                <a:cubicBezTo>
                  <a:pt x="135" y="51"/>
                  <a:pt x="135" y="51"/>
                  <a:pt x="135" y="51"/>
                </a:cubicBezTo>
                <a:cubicBezTo>
                  <a:pt x="135" y="52"/>
                  <a:pt x="135" y="52"/>
                  <a:pt x="135" y="52"/>
                </a:cubicBezTo>
                <a:cubicBezTo>
                  <a:pt x="134" y="53"/>
                  <a:pt x="134" y="53"/>
                  <a:pt x="134" y="53"/>
                </a:cubicBezTo>
                <a:cubicBezTo>
                  <a:pt x="134" y="54"/>
                  <a:pt x="134" y="54"/>
                  <a:pt x="134" y="54"/>
                </a:cubicBezTo>
                <a:cubicBezTo>
                  <a:pt x="133" y="55"/>
                  <a:pt x="133" y="55"/>
                  <a:pt x="133" y="55"/>
                </a:cubicBezTo>
                <a:cubicBezTo>
                  <a:pt x="132" y="55"/>
                  <a:pt x="132" y="55"/>
                  <a:pt x="132" y="55"/>
                </a:cubicBezTo>
                <a:cubicBezTo>
                  <a:pt x="132" y="55"/>
                  <a:pt x="132" y="55"/>
                  <a:pt x="132" y="55"/>
                </a:cubicBezTo>
                <a:cubicBezTo>
                  <a:pt x="132" y="56"/>
                  <a:pt x="132" y="56"/>
                  <a:pt x="132" y="56"/>
                </a:cubicBezTo>
                <a:cubicBezTo>
                  <a:pt x="133" y="56"/>
                  <a:pt x="133" y="56"/>
                  <a:pt x="133" y="56"/>
                </a:cubicBezTo>
                <a:cubicBezTo>
                  <a:pt x="133" y="56"/>
                  <a:pt x="133" y="56"/>
                  <a:pt x="133" y="56"/>
                </a:cubicBezTo>
                <a:cubicBezTo>
                  <a:pt x="133" y="57"/>
                  <a:pt x="133" y="57"/>
                  <a:pt x="133" y="57"/>
                </a:cubicBezTo>
                <a:cubicBezTo>
                  <a:pt x="132" y="58"/>
                  <a:pt x="132" y="58"/>
                  <a:pt x="132" y="58"/>
                </a:cubicBezTo>
                <a:cubicBezTo>
                  <a:pt x="133" y="58"/>
                  <a:pt x="133" y="58"/>
                  <a:pt x="133" y="58"/>
                </a:cubicBezTo>
                <a:cubicBezTo>
                  <a:pt x="134" y="58"/>
                  <a:pt x="134" y="58"/>
                  <a:pt x="134" y="58"/>
                </a:cubicBezTo>
                <a:cubicBezTo>
                  <a:pt x="134" y="59"/>
                  <a:pt x="134" y="59"/>
                  <a:pt x="134" y="59"/>
                </a:cubicBezTo>
                <a:cubicBezTo>
                  <a:pt x="133" y="60"/>
                  <a:pt x="133" y="60"/>
                  <a:pt x="133" y="60"/>
                </a:cubicBezTo>
                <a:cubicBezTo>
                  <a:pt x="132" y="60"/>
                  <a:pt x="132" y="60"/>
                  <a:pt x="132" y="60"/>
                </a:cubicBezTo>
                <a:cubicBezTo>
                  <a:pt x="132" y="59"/>
                  <a:pt x="132" y="59"/>
                  <a:pt x="132" y="59"/>
                </a:cubicBezTo>
                <a:cubicBezTo>
                  <a:pt x="132" y="60"/>
                  <a:pt x="132" y="60"/>
                  <a:pt x="132" y="60"/>
                </a:cubicBezTo>
                <a:cubicBezTo>
                  <a:pt x="133" y="60"/>
                  <a:pt x="133" y="60"/>
                  <a:pt x="133" y="60"/>
                </a:cubicBezTo>
                <a:cubicBezTo>
                  <a:pt x="133" y="61"/>
                  <a:pt x="133" y="61"/>
                  <a:pt x="133" y="61"/>
                </a:cubicBezTo>
                <a:cubicBezTo>
                  <a:pt x="132" y="63"/>
                  <a:pt x="132" y="63"/>
                  <a:pt x="132" y="63"/>
                </a:cubicBezTo>
                <a:cubicBezTo>
                  <a:pt x="131" y="63"/>
                  <a:pt x="131" y="63"/>
                  <a:pt x="131" y="63"/>
                </a:cubicBezTo>
                <a:cubicBezTo>
                  <a:pt x="131" y="62"/>
                  <a:pt x="131" y="62"/>
                  <a:pt x="131" y="62"/>
                </a:cubicBezTo>
                <a:cubicBezTo>
                  <a:pt x="131" y="64"/>
                  <a:pt x="131" y="64"/>
                  <a:pt x="131" y="64"/>
                </a:cubicBezTo>
                <a:cubicBezTo>
                  <a:pt x="131" y="65"/>
                  <a:pt x="131" y="65"/>
                  <a:pt x="131" y="65"/>
                </a:cubicBezTo>
                <a:cubicBezTo>
                  <a:pt x="130" y="67"/>
                  <a:pt x="130" y="67"/>
                  <a:pt x="130" y="67"/>
                </a:cubicBezTo>
                <a:cubicBezTo>
                  <a:pt x="127" y="69"/>
                  <a:pt x="127" y="69"/>
                  <a:pt x="127" y="69"/>
                </a:cubicBezTo>
                <a:cubicBezTo>
                  <a:pt x="126" y="69"/>
                  <a:pt x="126" y="69"/>
                  <a:pt x="126" y="69"/>
                </a:cubicBezTo>
                <a:cubicBezTo>
                  <a:pt x="123" y="70"/>
                  <a:pt x="123" y="70"/>
                  <a:pt x="123" y="70"/>
                </a:cubicBezTo>
                <a:cubicBezTo>
                  <a:pt x="122" y="70"/>
                  <a:pt x="122" y="70"/>
                  <a:pt x="122" y="70"/>
                </a:cubicBezTo>
                <a:cubicBezTo>
                  <a:pt x="121" y="69"/>
                  <a:pt x="121" y="69"/>
                  <a:pt x="121" y="69"/>
                </a:cubicBezTo>
                <a:cubicBezTo>
                  <a:pt x="122" y="68"/>
                  <a:pt x="122" y="68"/>
                  <a:pt x="122" y="68"/>
                </a:cubicBezTo>
                <a:cubicBezTo>
                  <a:pt x="121" y="67"/>
                  <a:pt x="121" y="67"/>
                  <a:pt x="121" y="67"/>
                </a:cubicBezTo>
                <a:cubicBezTo>
                  <a:pt x="121" y="66"/>
                  <a:pt x="121" y="66"/>
                  <a:pt x="121" y="66"/>
                </a:cubicBezTo>
                <a:cubicBezTo>
                  <a:pt x="120" y="66"/>
                  <a:pt x="120" y="66"/>
                  <a:pt x="120" y="66"/>
                </a:cubicBezTo>
                <a:cubicBezTo>
                  <a:pt x="120" y="66"/>
                  <a:pt x="120" y="66"/>
                  <a:pt x="120" y="66"/>
                </a:cubicBezTo>
                <a:cubicBezTo>
                  <a:pt x="119" y="66"/>
                  <a:pt x="119" y="66"/>
                  <a:pt x="119" y="66"/>
                </a:cubicBezTo>
                <a:cubicBezTo>
                  <a:pt x="118" y="66"/>
                  <a:pt x="118" y="66"/>
                  <a:pt x="118" y="66"/>
                </a:cubicBezTo>
                <a:cubicBezTo>
                  <a:pt x="117" y="65"/>
                  <a:pt x="117" y="65"/>
                  <a:pt x="117" y="65"/>
                </a:cubicBezTo>
                <a:cubicBezTo>
                  <a:pt x="117" y="66"/>
                  <a:pt x="117" y="66"/>
                  <a:pt x="117" y="66"/>
                </a:cubicBezTo>
                <a:cubicBezTo>
                  <a:pt x="117" y="66"/>
                  <a:pt x="117" y="66"/>
                  <a:pt x="117" y="66"/>
                </a:cubicBezTo>
                <a:cubicBezTo>
                  <a:pt x="116" y="66"/>
                  <a:pt x="116" y="66"/>
                  <a:pt x="116" y="66"/>
                </a:cubicBezTo>
                <a:cubicBezTo>
                  <a:pt x="116" y="65"/>
                  <a:pt x="116" y="65"/>
                  <a:pt x="116" y="65"/>
                </a:cubicBezTo>
                <a:cubicBezTo>
                  <a:pt x="116" y="64"/>
                  <a:pt x="116" y="64"/>
                  <a:pt x="116" y="64"/>
                </a:cubicBezTo>
                <a:cubicBezTo>
                  <a:pt x="115" y="64"/>
                  <a:pt x="115" y="64"/>
                  <a:pt x="115" y="64"/>
                </a:cubicBezTo>
                <a:cubicBezTo>
                  <a:pt x="114" y="64"/>
                  <a:pt x="114" y="64"/>
                  <a:pt x="114" y="64"/>
                </a:cubicBezTo>
                <a:cubicBezTo>
                  <a:pt x="113" y="64"/>
                  <a:pt x="113" y="64"/>
                  <a:pt x="113" y="64"/>
                </a:cubicBezTo>
                <a:cubicBezTo>
                  <a:pt x="113" y="64"/>
                  <a:pt x="113" y="64"/>
                  <a:pt x="113" y="64"/>
                </a:cubicBezTo>
                <a:cubicBezTo>
                  <a:pt x="112" y="65"/>
                  <a:pt x="112" y="65"/>
                  <a:pt x="112" y="65"/>
                </a:cubicBezTo>
                <a:cubicBezTo>
                  <a:pt x="110" y="65"/>
                  <a:pt x="110" y="65"/>
                  <a:pt x="110" y="65"/>
                </a:cubicBezTo>
                <a:cubicBezTo>
                  <a:pt x="110" y="66"/>
                  <a:pt x="110" y="66"/>
                  <a:pt x="110" y="66"/>
                </a:cubicBezTo>
                <a:cubicBezTo>
                  <a:pt x="109" y="66"/>
                  <a:pt x="109" y="66"/>
                  <a:pt x="109" y="66"/>
                </a:cubicBezTo>
                <a:cubicBezTo>
                  <a:pt x="108" y="65"/>
                  <a:pt x="108" y="65"/>
                  <a:pt x="108" y="65"/>
                </a:cubicBezTo>
                <a:cubicBezTo>
                  <a:pt x="107" y="65"/>
                  <a:pt x="107" y="65"/>
                  <a:pt x="107" y="65"/>
                </a:cubicBezTo>
                <a:cubicBezTo>
                  <a:pt x="106" y="67"/>
                  <a:pt x="106" y="67"/>
                  <a:pt x="106" y="67"/>
                </a:cubicBezTo>
                <a:cubicBezTo>
                  <a:pt x="105" y="67"/>
                  <a:pt x="105" y="67"/>
                  <a:pt x="105" y="67"/>
                </a:cubicBezTo>
                <a:cubicBezTo>
                  <a:pt x="105" y="66"/>
                  <a:pt x="105" y="66"/>
                  <a:pt x="105" y="66"/>
                </a:cubicBezTo>
                <a:cubicBezTo>
                  <a:pt x="105" y="64"/>
                  <a:pt x="105" y="64"/>
                  <a:pt x="105" y="64"/>
                </a:cubicBezTo>
                <a:cubicBezTo>
                  <a:pt x="105" y="62"/>
                  <a:pt x="105" y="62"/>
                  <a:pt x="105" y="62"/>
                </a:cubicBezTo>
                <a:cubicBezTo>
                  <a:pt x="105" y="61"/>
                  <a:pt x="105" y="61"/>
                  <a:pt x="105" y="61"/>
                </a:cubicBezTo>
                <a:cubicBezTo>
                  <a:pt x="104" y="61"/>
                  <a:pt x="104" y="61"/>
                  <a:pt x="104" y="61"/>
                </a:cubicBezTo>
                <a:cubicBezTo>
                  <a:pt x="105" y="61"/>
                  <a:pt x="105" y="61"/>
                  <a:pt x="105" y="61"/>
                </a:cubicBezTo>
                <a:cubicBezTo>
                  <a:pt x="104" y="62"/>
                  <a:pt x="104" y="62"/>
                  <a:pt x="104" y="62"/>
                </a:cubicBezTo>
                <a:cubicBezTo>
                  <a:pt x="103" y="63"/>
                  <a:pt x="103" y="63"/>
                  <a:pt x="103" y="63"/>
                </a:cubicBezTo>
                <a:cubicBezTo>
                  <a:pt x="102" y="62"/>
                  <a:pt x="102" y="62"/>
                  <a:pt x="102" y="62"/>
                </a:cubicBezTo>
                <a:cubicBezTo>
                  <a:pt x="101" y="63"/>
                  <a:pt x="101" y="63"/>
                  <a:pt x="101" y="63"/>
                </a:cubicBezTo>
                <a:cubicBezTo>
                  <a:pt x="100" y="63"/>
                  <a:pt x="100" y="63"/>
                  <a:pt x="100" y="63"/>
                </a:cubicBezTo>
                <a:cubicBezTo>
                  <a:pt x="99" y="63"/>
                  <a:pt x="99" y="63"/>
                  <a:pt x="99" y="63"/>
                </a:cubicBezTo>
                <a:cubicBezTo>
                  <a:pt x="97" y="63"/>
                  <a:pt x="97" y="63"/>
                  <a:pt x="97" y="63"/>
                </a:cubicBezTo>
                <a:cubicBezTo>
                  <a:pt x="97" y="62"/>
                  <a:pt x="97" y="62"/>
                  <a:pt x="97" y="62"/>
                </a:cubicBezTo>
                <a:cubicBezTo>
                  <a:pt x="96" y="63"/>
                  <a:pt x="96" y="63"/>
                  <a:pt x="96" y="63"/>
                </a:cubicBezTo>
                <a:cubicBezTo>
                  <a:pt x="95" y="63"/>
                  <a:pt x="95" y="63"/>
                  <a:pt x="95" y="63"/>
                </a:cubicBezTo>
                <a:cubicBezTo>
                  <a:pt x="95" y="61"/>
                  <a:pt x="95" y="61"/>
                  <a:pt x="95" y="61"/>
                </a:cubicBezTo>
                <a:cubicBezTo>
                  <a:pt x="95" y="60"/>
                  <a:pt x="95" y="60"/>
                  <a:pt x="95" y="60"/>
                </a:cubicBezTo>
                <a:cubicBezTo>
                  <a:pt x="94" y="57"/>
                  <a:pt x="94" y="57"/>
                  <a:pt x="94" y="57"/>
                </a:cubicBezTo>
                <a:cubicBezTo>
                  <a:pt x="93" y="56"/>
                  <a:pt x="93" y="56"/>
                  <a:pt x="93" y="56"/>
                </a:cubicBezTo>
                <a:cubicBezTo>
                  <a:pt x="93" y="55"/>
                  <a:pt x="93" y="55"/>
                  <a:pt x="93" y="55"/>
                </a:cubicBezTo>
                <a:cubicBezTo>
                  <a:pt x="94" y="55"/>
                  <a:pt x="94" y="55"/>
                  <a:pt x="94" y="55"/>
                </a:cubicBezTo>
                <a:cubicBezTo>
                  <a:pt x="94" y="53"/>
                  <a:pt x="94" y="53"/>
                  <a:pt x="94" y="53"/>
                </a:cubicBezTo>
                <a:cubicBezTo>
                  <a:pt x="94" y="52"/>
                  <a:pt x="94" y="52"/>
                  <a:pt x="94" y="52"/>
                </a:cubicBezTo>
                <a:cubicBezTo>
                  <a:pt x="94" y="51"/>
                  <a:pt x="94" y="51"/>
                  <a:pt x="94" y="51"/>
                </a:cubicBezTo>
                <a:cubicBezTo>
                  <a:pt x="92" y="49"/>
                  <a:pt x="92" y="49"/>
                  <a:pt x="92" y="49"/>
                </a:cubicBezTo>
                <a:cubicBezTo>
                  <a:pt x="90" y="48"/>
                  <a:pt x="90" y="48"/>
                  <a:pt x="90" y="48"/>
                </a:cubicBezTo>
                <a:cubicBezTo>
                  <a:pt x="89" y="48"/>
                  <a:pt x="89" y="48"/>
                  <a:pt x="89" y="48"/>
                </a:cubicBezTo>
                <a:cubicBezTo>
                  <a:pt x="89" y="48"/>
                  <a:pt x="89" y="48"/>
                  <a:pt x="89" y="48"/>
                </a:cubicBezTo>
                <a:cubicBezTo>
                  <a:pt x="90" y="47"/>
                  <a:pt x="90" y="47"/>
                  <a:pt x="90" y="47"/>
                </a:cubicBezTo>
                <a:cubicBezTo>
                  <a:pt x="91" y="47"/>
                  <a:pt x="91" y="47"/>
                  <a:pt x="91" y="47"/>
                </a:cubicBezTo>
                <a:cubicBezTo>
                  <a:pt x="93" y="46"/>
                  <a:pt x="93" y="46"/>
                  <a:pt x="93" y="46"/>
                </a:cubicBezTo>
                <a:cubicBezTo>
                  <a:pt x="95" y="45"/>
                  <a:pt x="95" y="45"/>
                  <a:pt x="95" y="45"/>
                </a:cubicBezTo>
                <a:cubicBezTo>
                  <a:pt x="96" y="45"/>
                  <a:pt x="96" y="45"/>
                  <a:pt x="96" y="45"/>
                </a:cubicBezTo>
                <a:cubicBezTo>
                  <a:pt x="95" y="45"/>
                  <a:pt x="95" y="45"/>
                  <a:pt x="95" y="45"/>
                </a:cubicBezTo>
                <a:cubicBezTo>
                  <a:pt x="93" y="46"/>
                  <a:pt x="93" y="46"/>
                  <a:pt x="93" y="46"/>
                </a:cubicBezTo>
                <a:cubicBezTo>
                  <a:pt x="91" y="46"/>
                  <a:pt x="91" y="46"/>
                  <a:pt x="91" y="46"/>
                </a:cubicBezTo>
                <a:cubicBezTo>
                  <a:pt x="90" y="46"/>
                  <a:pt x="90" y="46"/>
                  <a:pt x="90" y="46"/>
                </a:cubicBezTo>
                <a:cubicBezTo>
                  <a:pt x="89" y="46"/>
                  <a:pt x="89" y="46"/>
                  <a:pt x="89" y="46"/>
                </a:cubicBezTo>
                <a:cubicBezTo>
                  <a:pt x="88" y="44"/>
                  <a:pt x="88" y="44"/>
                  <a:pt x="88" y="44"/>
                </a:cubicBezTo>
                <a:cubicBezTo>
                  <a:pt x="89" y="44"/>
                  <a:pt x="89" y="44"/>
                  <a:pt x="89" y="44"/>
                </a:cubicBezTo>
                <a:cubicBezTo>
                  <a:pt x="89" y="44"/>
                  <a:pt x="89" y="44"/>
                  <a:pt x="89" y="44"/>
                </a:cubicBezTo>
                <a:cubicBezTo>
                  <a:pt x="89" y="43"/>
                  <a:pt x="89" y="43"/>
                  <a:pt x="89" y="43"/>
                </a:cubicBezTo>
                <a:cubicBezTo>
                  <a:pt x="87" y="41"/>
                  <a:pt x="87" y="41"/>
                  <a:pt x="87" y="41"/>
                </a:cubicBezTo>
                <a:cubicBezTo>
                  <a:pt x="87" y="39"/>
                  <a:pt x="87" y="39"/>
                  <a:pt x="87" y="39"/>
                </a:cubicBezTo>
                <a:cubicBezTo>
                  <a:pt x="88" y="38"/>
                  <a:pt x="88" y="38"/>
                  <a:pt x="88" y="38"/>
                </a:cubicBezTo>
                <a:cubicBezTo>
                  <a:pt x="88" y="37"/>
                  <a:pt x="88" y="37"/>
                  <a:pt x="88" y="37"/>
                </a:cubicBezTo>
                <a:cubicBezTo>
                  <a:pt x="87" y="36"/>
                  <a:pt x="87" y="36"/>
                  <a:pt x="87" y="36"/>
                </a:cubicBezTo>
                <a:cubicBezTo>
                  <a:pt x="87" y="36"/>
                  <a:pt x="87" y="36"/>
                  <a:pt x="87" y="36"/>
                </a:cubicBezTo>
                <a:close/>
                <a:moveTo>
                  <a:pt x="250" y="49"/>
                </a:moveTo>
                <a:cubicBezTo>
                  <a:pt x="249" y="49"/>
                  <a:pt x="249" y="49"/>
                  <a:pt x="249" y="49"/>
                </a:cubicBezTo>
                <a:cubicBezTo>
                  <a:pt x="250" y="50"/>
                  <a:pt x="250" y="50"/>
                  <a:pt x="250" y="50"/>
                </a:cubicBezTo>
                <a:cubicBezTo>
                  <a:pt x="251" y="50"/>
                  <a:pt x="251" y="50"/>
                  <a:pt x="251" y="50"/>
                </a:cubicBezTo>
                <a:cubicBezTo>
                  <a:pt x="250" y="49"/>
                  <a:pt x="250" y="49"/>
                  <a:pt x="250" y="49"/>
                </a:cubicBezTo>
                <a:close/>
                <a:moveTo>
                  <a:pt x="253" y="53"/>
                </a:moveTo>
                <a:cubicBezTo>
                  <a:pt x="251" y="53"/>
                  <a:pt x="251" y="53"/>
                  <a:pt x="251" y="53"/>
                </a:cubicBezTo>
                <a:cubicBezTo>
                  <a:pt x="252" y="53"/>
                  <a:pt x="252" y="53"/>
                  <a:pt x="252" y="53"/>
                </a:cubicBezTo>
                <a:cubicBezTo>
                  <a:pt x="253" y="53"/>
                  <a:pt x="253" y="53"/>
                  <a:pt x="253" y="53"/>
                </a:cubicBezTo>
                <a:close/>
                <a:moveTo>
                  <a:pt x="254" y="54"/>
                </a:moveTo>
                <a:cubicBezTo>
                  <a:pt x="254" y="53"/>
                  <a:pt x="254" y="54"/>
                  <a:pt x="254" y="54"/>
                </a:cubicBezTo>
                <a:cubicBezTo>
                  <a:pt x="256" y="55"/>
                  <a:pt x="256" y="55"/>
                  <a:pt x="256" y="55"/>
                </a:cubicBezTo>
                <a:cubicBezTo>
                  <a:pt x="259" y="55"/>
                  <a:pt x="259" y="55"/>
                  <a:pt x="259" y="55"/>
                </a:cubicBezTo>
                <a:cubicBezTo>
                  <a:pt x="262" y="55"/>
                  <a:pt x="262" y="55"/>
                  <a:pt x="262" y="55"/>
                </a:cubicBezTo>
                <a:cubicBezTo>
                  <a:pt x="262" y="54"/>
                  <a:pt x="262" y="54"/>
                  <a:pt x="262" y="54"/>
                </a:cubicBezTo>
                <a:cubicBezTo>
                  <a:pt x="260" y="54"/>
                  <a:pt x="260" y="54"/>
                  <a:pt x="260" y="54"/>
                </a:cubicBezTo>
                <a:cubicBezTo>
                  <a:pt x="259" y="54"/>
                  <a:pt x="259" y="54"/>
                  <a:pt x="259" y="54"/>
                </a:cubicBezTo>
                <a:cubicBezTo>
                  <a:pt x="257" y="54"/>
                  <a:pt x="257" y="54"/>
                  <a:pt x="257" y="54"/>
                </a:cubicBezTo>
                <a:cubicBezTo>
                  <a:pt x="256" y="54"/>
                  <a:pt x="256" y="54"/>
                  <a:pt x="256" y="54"/>
                </a:cubicBezTo>
                <a:cubicBezTo>
                  <a:pt x="254" y="54"/>
                  <a:pt x="254" y="54"/>
                  <a:pt x="254" y="54"/>
                </a:cubicBezTo>
                <a:close/>
                <a:moveTo>
                  <a:pt x="254" y="48"/>
                </a:moveTo>
                <a:cubicBezTo>
                  <a:pt x="255" y="49"/>
                  <a:pt x="255" y="49"/>
                  <a:pt x="255" y="49"/>
                </a:cubicBezTo>
                <a:cubicBezTo>
                  <a:pt x="255" y="48"/>
                  <a:pt x="255" y="48"/>
                  <a:pt x="255" y="48"/>
                </a:cubicBezTo>
                <a:cubicBezTo>
                  <a:pt x="255" y="48"/>
                  <a:pt x="255" y="48"/>
                  <a:pt x="255" y="48"/>
                </a:cubicBezTo>
                <a:cubicBezTo>
                  <a:pt x="256" y="49"/>
                  <a:pt x="256" y="49"/>
                  <a:pt x="256" y="49"/>
                </a:cubicBezTo>
                <a:cubicBezTo>
                  <a:pt x="256" y="50"/>
                  <a:pt x="256" y="50"/>
                  <a:pt x="256" y="50"/>
                </a:cubicBezTo>
                <a:cubicBezTo>
                  <a:pt x="257" y="50"/>
                  <a:pt x="257" y="50"/>
                  <a:pt x="257" y="50"/>
                </a:cubicBezTo>
                <a:cubicBezTo>
                  <a:pt x="258" y="50"/>
                  <a:pt x="258" y="50"/>
                  <a:pt x="258" y="50"/>
                </a:cubicBezTo>
                <a:cubicBezTo>
                  <a:pt x="258" y="51"/>
                  <a:pt x="258" y="51"/>
                  <a:pt x="258" y="51"/>
                </a:cubicBezTo>
                <a:cubicBezTo>
                  <a:pt x="260" y="50"/>
                  <a:pt x="260" y="50"/>
                  <a:pt x="260" y="50"/>
                </a:cubicBezTo>
                <a:cubicBezTo>
                  <a:pt x="259" y="50"/>
                  <a:pt x="259" y="50"/>
                  <a:pt x="259" y="50"/>
                </a:cubicBezTo>
                <a:cubicBezTo>
                  <a:pt x="258" y="49"/>
                  <a:pt x="258" y="49"/>
                  <a:pt x="258" y="49"/>
                </a:cubicBezTo>
                <a:cubicBezTo>
                  <a:pt x="257" y="48"/>
                  <a:pt x="257" y="48"/>
                  <a:pt x="257" y="48"/>
                </a:cubicBezTo>
                <a:cubicBezTo>
                  <a:pt x="256" y="47"/>
                  <a:pt x="256" y="47"/>
                  <a:pt x="256" y="47"/>
                </a:cubicBezTo>
                <a:cubicBezTo>
                  <a:pt x="255" y="47"/>
                  <a:pt x="255" y="47"/>
                  <a:pt x="255" y="47"/>
                </a:cubicBezTo>
                <a:cubicBezTo>
                  <a:pt x="254" y="47"/>
                  <a:pt x="254" y="47"/>
                  <a:pt x="254" y="47"/>
                </a:cubicBezTo>
                <a:cubicBezTo>
                  <a:pt x="254" y="48"/>
                  <a:pt x="254" y="48"/>
                  <a:pt x="254" y="48"/>
                </a:cubicBezTo>
                <a:close/>
                <a:moveTo>
                  <a:pt x="236" y="79"/>
                </a:moveTo>
                <a:cubicBezTo>
                  <a:pt x="236" y="80"/>
                  <a:pt x="236" y="80"/>
                  <a:pt x="236" y="80"/>
                </a:cubicBezTo>
                <a:cubicBezTo>
                  <a:pt x="236" y="81"/>
                  <a:pt x="236" y="81"/>
                  <a:pt x="236" y="81"/>
                </a:cubicBezTo>
                <a:cubicBezTo>
                  <a:pt x="236" y="82"/>
                  <a:pt x="236" y="82"/>
                  <a:pt x="236" y="82"/>
                </a:cubicBezTo>
                <a:cubicBezTo>
                  <a:pt x="236" y="80"/>
                  <a:pt x="236" y="80"/>
                  <a:pt x="236" y="80"/>
                </a:cubicBezTo>
                <a:cubicBezTo>
                  <a:pt x="236" y="79"/>
                  <a:pt x="236" y="79"/>
                  <a:pt x="236" y="79"/>
                </a:cubicBezTo>
                <a:close/>
                <a:moveTo>
                  <a:pt x="239" y="78"/>
                </a:moveTo>
                <a:cubicBezTo>
                  <a:pt x="238" y="78"/>
                  <a:pt x="238" y="78"/>
                  <a:pt x="238" y="78"/>
                </a:cubicBezTo>
                <a:cubicBezTo>
                  <a:pt x="237" y="81"/>
                  <a:pt x="237" y="81"/>
                  <a:pt x="237" y="81"/>
                </a:cubicBezTo>
                <a:cubicBezTo>
                  <a:pt x="237" y="82"/>
                  <a:pt x="237" y="82"/>
                  <a:pt x="237" y="82"/>
                </a:cubicBezTo>
                <a:cubicBezTo>
                  <a:pt x="238" y="81"/>
                  <a:pt x="238" y="81"/>
                  <a:pt x="238" y="81"/>
                </a:cubicBezTo>
                <a:cubicBezTo>
                  <a:pt x="238" y="79"/>
                  <a:pt x="238" y="79"/>
                  <a:pt x="238" y="79"/>
                </a:cubicBezTo>
                <a:cubicBezTo>
                  <a:pt x="239" y="78"/>
                  <a:pt x="239" y="78"/>
                  <a:pt x="239" y="78"/>
                </a:cubicBezTo>
                <a:close/>
                <a:moveTo>
                  <a:pt x="249" y="86"/>
                </a:moveTo>
                <a:cubicBezTo>
                  <a:pt x="248" y="87"/>
                  <a:pt x="248" y="87"/>
                  <a:pt x="248" y="87"/>
                </a:cubicBezTo>
                <a:cubicBezTo>
                  <a:pt x="249" y="87"/>
                  <a:pt x="249" y="87"/>
                  <a:pt x="249" y="87"/>
                </a:cubicBezTo>
                <a:cubicBezTo>
                  <a:pt x="249" y="87"/>
                  <a:pt x="249" y="87"/>
                  <a:pt x="249" y="87"/>
                </a:cubicBezTo>
                <a:cubicBezTo>
                  <a:pt x="249" y="86"/>
                  <a:pt x="249" y="86"/>
                  <a:pt x="249" y="86"/>
                </a:cubicBezTo>
                <a:close/>
                <a:moveTo>
                  <a:pt x="245" y="84"/>
                </a:moveTo>
                <a:cubicBezTo>
                  <a:pt x="245" y="84"/>
                  <a:pt x="245" y="84"/>
                  <a:pt x="245" y="84"/>
                </a:cubicBezTo>
                <a:cubicBezTo>
                  <a:pt x="245" y="84"/>
                  <a:pt x="245" y="84"/>
                  <a:pt x="245" y="84"/>
                </a:cubicBezTo>
                <a:cubicBezTo>
                  <a:pt x="245" y="85"/>
                  <a:pt x="245" y="85"/>
                  <a:pt x="245" y="85"/>
                </a:cubicBezTo>
                <a:cubicBezTo>
                  <a:pt x="245" y="86"/>
                  <a:pt x="245" y="86"/>
                  <a:pt x="245" y="86"/>
                </a:cubicBezTo>
                <a:cubicBezTo>
                  <a:pt x="246" y="86"/>
                  <a:pt x="246" y="86"/>
                  <a:pt x="246" y="86"/>
                </a:cubicBezTo>
                <a:cubicBezTo>
                  <a:pt x="245" y="86"/>
                  <a:pt x="245" y="86"/>
                  <a:pt x="245" y="86"/>
                </a:cubicBezTo>
                <a:cubicBezTo>
                  <a:pt x="245" y="86"/>
                  <a:pt x="245" y="86"/>
                  <a:pt x="245" y="86"/>
                </a:cubicBezTo>
                <a:cubicBezTo>
                  <a:pt x="245" y="87"/>
                  <a:pt x="245" y="87"/>
                  <a:pt x="245" y="87"/>
                </a:cubicBezTo>
                <a:cubicBezTo>
                  <a:pt x="245" y="88"/>
                  <a:pt x="245" y="88"/>
                  <a:pt x="245" y="88"/>
                </a:cubicBezTo>
                <a:cubicBezTo>
                  <a:pt x="246" y="88"/>
                  <a:pt x="246" y="88"/>
                  <a:pt x="246" y="88"/>
                </a:cubicBezTo>
                <a:cubicBezTo>
                  <a:pt x="247" y="87"/>
                  <a:pt x="247" y="87"/>
                  <a:pt x="247" y="87"/>
                </a:cubicBezTo>
                <a:cubicBezTo>
                  <a:pt x="247" y="86"/>
                  <a:pt x="247" y="86"/>
                  <a:pt x="247" y="86"/>
                </a:cubicBezTo>
                <a:cubicBezTo>
                  <a:pt x="247" y="86"/>
                  <a:pt x="247" y="86"/>
                  <a:pt x="247" y="86"/>
                </a:cubicBezTo>
                <a:cubicBezTo>
                  <a:pt x="246" y="85"/>
                  <a:pt x="246" y="85"/>
                  <a:pt x="246" y="85"/>
                </a:cubicBezTo>
                <a:cubicBezTo>
                  <a:pt x="245" y="84"/>
                  <a:pt x="245" y="84"/>
                  <a:pt x="245" y="84"/>
                </a:cubicBezTo>
                <a:close/>
                <a:moveTo>
                  <a:pt x="247" y="84"/>
                </a:moveTo>
                <a:cubicBezTo>
                  <a:pt x="247" y="84"/>
                  <a:pt x="247" y="85"/>
                  <a:pt x="247" y="85"/>
                </a:cubicBezTo>
                <a:cubicBezTo>
                  <a:pt x="247" y="85"/>
                  <a:pt x="247" y="85"/>
                  <a:pt x="247" y="85"/>
                </a:cubicBezTo>
                <a:cubicBezTo>
                  <a:pt x="248" y="86"/>
                  <a:pt x="248" y="86"/>
                  <a:pt x="248" y="86"/>
                </a:cubicBezTo>
                <a:cubicBezTo>
                  <a:pt x="248" y="85"/>
                  <a:pt x="248" y="85"/>
                  <a:pt x="248" y="85"/>
                </a:cubicBezTo>
                <a:cubicBezTo>
                  <a:pt x="248" y="85"/>
                  <a:pt x="248" y="85"/>
                  <a:pt x="248" y="85"/>
                </a:cubicBezTo>
                <a:cubicBezTo>
                  <a:pt x="247" y="84"/>
                  <a:pt x="247" y="84"/>
                  <a:pt x="247" y="84"/>
                </a:cubicBezTo>
                <a:close/>
                <a:moveTo>
                  <a:pt x="246" y="82"/>
                </a:moveTo>
                <a:cubicBezTo>
                  <a:pt x="245" y="82"/>
                  <a:pt x="245" y="82"/>
                  <a:pt x="245" y="82"/>
                </a:cubicBezTo>
                <a:cubicBezTo>
                  <a:pt x="245" y="83"/>
                  <a:pt x="245" y="83"/>
                  <a:pt x="245" y="83"/>
                </a:cubicBezTo>
                <a:cubicBezTo>
                  <a:pt x="246" y="84"/>
                  <a:pt x="246" y="84"/>
                  <a:pt x="246" y="84"/>
                </a:cubicBezTo>
                <a:cubicBezTo>
                  <a:pt x="247" y="84"/>
                  <a:pt x="247" y="84"/>
                  <a:pt x="247" y="84"/>
                </a:cubicBezTo>
                <a:cubicBezTo>
                  <a:pt x="247" y="84"/>
                  <a:pt x="247" y="84"/>
                  <a:pt x="247" y="84"/>
                </a:cubicBezTo>
                <a:cubicBezTo>
                  <a:pt x="246" y="83"/>
                  <a:pt x="246" y="83"/>
                  <a:pt x="246" y="83"/>
                </a:cubicBezTo>
                <a:cubicBezTo>
                  <a:pt x="246" y="82"/>
                  <a:pt x="246" y="82"/>
                  <a:pt x="246" y="82"/>
                </a:cubicBezTo>
                <a:close/>
                <a:moveTo>
                  <a:pt x="248" y="82"/>
                </a:moveTo>
                <a:cubicBezTo>
                  <a:pt x="247" y="82"/>
                  <a:pt x="247" y="82"/>
                  <a:pt x="247" y="82"/>
                </a:cubicBezTo>
                <a:cubicBezTo>
                  <a:pt x="246" y="83"/>
                  <a:pt x="246" y="83"/>
                  <a:pt x="246" y="83"/>
                </a:cubicBezTo>
                <a:cubicBezTo>
                  <a:pt x="246" y="83"/>
                  <a:pt x="246" y="83"/>
                  <a:pt x="246" y="83"/>
                </a:cubicBezTo>
                <a:cubicBezTo>
                  <a:pt x="248" y="84"/>
                  <a:pt x="248" y="84"/>
                  <a:pt x="248" y="84"/>
                </a:cubicBezTo>
                <a:cubicBezTo>
                  <a:pt x="248" y="84"/>
                  <a:pt x="248" y="84"/>
                  <a:pt x="248" y="84"/>
                </a:cubicBezTo>
                <a:cubicBezTo>
                  <a:pt x="249" y="83"/>
                  <a:pt x="249" y="83"/>
                  <a:pt x="249" y="83"/>
                </a:cubicBezTo>
                <a:cubicBezTo>
                  <a:pt x="249" y="83"/>
                  <a:pt x="249" y="83"/>
                  <a:pt x="249" y="83"/>
                </a:cubicBezTo>
                <a:cubicBezTo>
                  <a:pt x="249" y="82"/>
                  <a:pt x="249" y="82"/>
                  <a:pt x="249" y="82"/>
                </a:cubicBezTo>
                <a:cubicBezTo>
                  <a:pt x="249" y="82"/>
                  <a:pt x="249" y="82"/>
                  <a:pt x="249" y="82"/>
                </a:cubicBezTo>
                <a:cubicBezTo>
                  <a:pt x="248" y="82"/>
                  <a:pt x="248" y="82"/>
                  <a:pt x="248" y="82"/>
                </a:cubicBezTo>
                <a:cubicBezTo>
                  <a:pt x="248" y="82"/>
                  <a:pt x="248" y="82"/>
                  <a:pt x="248" y="82"/>
                </a:cubicBezTo>
                <a:close/>
                <a:moveTo>
                  <a:pt x="246" y="80"/>
                </a:moveTo>
                <a:cubicBezTo>
                  <a:pt x="245" y="80"/>
                  <a:pt x="245" y="80"/>
                  <a:pt x="245" y="80"/>
                </a:cubicBezTo>
                <a:cubicBezTo>
                  <a:pt x="245" y="81"/>
                  <a:pt x="245" y="81"/>
                  <a:pt x="245" y="81"/>
                </a:cubicBezTo>
                <a:cubicBezTo>
                  <a:pt x="246" y="81"/>
                  <a:pt x="246" y="81"/>
                  <a:pt x="246" y="81"/>
                </a:cubicBezTo>
                <a:cubicBezTo>
                  <a:pt x="246" y="80"/>
                  <a:pt x="246" y="80"/>
                  <a:pt x="246" y="80"/>
                </a:cubicBezTo>
                <a:close/>
                <a:moveTo>
                  <a:pt x="248" y="78"/>
                </a:moveTo>
                <a:cubicBezTo>
                  <a:pt x="248" y="79"/>
                  <a:pt x="248" y="79"/>
                  <a:pt x="248" y="79"/>
                </a:cubicBezTo>
                <a:cubicBezTo>
                  <a:pt x="249" y="79"/>
                  <a:pt x="249" y="79"/>
                  <a:pt x="249" y="79"/>
                </a:cubicBezTo>
                <a:cubicBezTo>
                  <a:pt x="248" y="78"/>
                  <a:pt x="248" y="78"/>
                  <a:pt x="248" y="78"/>
                </a:cubicBezTo>
                <a:cubicBezTo>
                  <a:pt x="248" y="78"/>
                  <a:pt x="248" y="78"/>
                  <a:pt x="248" y="78"/>
                </a:cubicBezTo>
                <a:close/>
                <a:moveTo>
                  <a:pt x="247" y="79"/>
                </a:moveTo>
                <a:cubicBezTo>
                  <a:pt x="247" y="79"/>
                  <a:pt x="247" y="79"/>
                  <a:pt x="247" y="79"/>
                </a:cubicBezTo>
                <a:cubicBezTo>
                  <a:pt x="246" y="80"/>
                  <a:pt x="246" y="80"/>
                  <a:pt x="246" y="80"/>
                </a:cubicBezTo>
                <a:cubicBezTo>
                  <a:pt x="246" y="80"/>
                  <a:pt x="246" y="80"/>
                  <a:pt x="246" y="80"/>
                </a:cubicBezTo>
                <a:cubicBezTo>
                  <a:pt x="246" y="80"/>
                  <a:pt x="246" y="80"/>
                  <a:pt x="246" y="80"/>
                </a:cubicBezTo>
                <a:cubicBezTo>
                  <a:pt x="246" y="80"/>
                  <a:pt x="246" y="80"/>
                  <a:pt x="246" y="80"/>
                </a:cubicBezTo>
                <a:cubicBezTo>
                  <a:pt x="247" y="80"/>
                  <a:pt x="247" y="80"/>
                  <a:pt x="247" y="80"/>
                </a:cubicBezTo>
                <a:cubicBezTo>
                  <a:pt x="246" y="81"/>
                  <a:pt x="246" y="81"/>
                  <a:pt x="246" y="81"/>
                </a:cubicBezTo>
                <a:cubicBezTo>
                  <a:pt x="246" y="82"/>
                  <a:pt x="246" y="82"/>
                  <a:pt x="246" y="82"/>
                </a:cubicBezTo>
                <a:cubicBezTo>
                  <a:pt x="247" y="82"/>
                  <a:pt x="247" y="82"/>
                  <a:pt x="247" y="82"/>
                </a:cubicBezTo>
                <a:cubicBezTo>
                  <a:pt x="248" y="81"/>
                  <a:pt x="248" y="81"/>
                  <a:pt x="248" y="81"/>
                </a:cubicBezTo>
                <a:cubicBezTo>
                  <a:pt x="248" y="81"/>
                  <a:pt x="248" y="81"/>
                  <a:pt x="248" y="81"/>
                </a:cubicBezTo>
                <a:cubicBezTo>
                  <a:pt x="249" y="80"/>
                  <a:pt x="249" y="80"/>
                  <a:pt x="249" y="80"/>
                </a:cubicBezTo>
                <a:cubicBezTo>
                  <a:pt x="249" y="79"/>
                  <a:pt x="249" y="79"/>
                  <a:pt x="249" y="79"/>
                </a:cubicBezTo>
                <a:cubicBezTo>
                  <a:pt x="248" y="79"/>
                  <a:pt x="248" y="79"/>
                  <a:pt x="248" y="79"/>
                </a:cubicBezTo>
                <a:cubicBezTo>
                  <a:pt x="247" y="79"/>
                  <a:pt x="247" y="79"/>
                  <a:pt x="247" y="79"/>
                </a:cubicBezTo>
                <a:close/>
                <a:moveTo>
                  <a:pt x="231" y="89"/>
                </a:moveTo>
                <a:cubicBezTo>
                  <a:pt x="232" y="88"/>
                  <a:pt x="232" y="88"/>
                  <a:pt x="232" y="88"/>
                </a:cubicBezTo>
                <a:cubicBezTo>
                  <a:pt x="231" y="88"/>
                  <a:pt x="231" y="88"/>
                  <a:pt x="231" y="88"/>
                </a:cubicBezTo>
                <a:cubicBezTo>
                  <a:pt x="231" y="89"/>
                  <a:pt x="231" y="89"/>
                  <a:pt x="231" y="89"/>
                </a:cubicBezTo>
                <a:close/>
                <a:moveTo>
                  <a:pt x="230" y="89"/>
                </a:moveTo>
                <a:cubicBezTo>
                  <a:pt x="231" y="90"/>
                  <a:pt x="231" y="90"/>
                  <a:pt x="231" y="90"/>
                </a:cubicBezTo>
                <a:cubicBezTo>
                  <a:pt x="231" y="89"/>
                  <a:pt x="231" y="89"/>
                  <a:pt x="231" y="89"/>
                </a:cubicBezTo>
                <a:cubicBezTo>
                  <a:pt x="230" y="89"/>
                  <a:pt x="230" y="89"/>
                  <a:pt x="230" y="89"/>
                </a:cubicBezTo>
                <a:close/>
                <a:moveTo>
                  <a:pt x="224" y="92"/>
                </a:moveTo>
                <a:cubicBezTo>
                  <a:pt x="224" y="92"/>
                  <a:pt x="224" y="92"/>
                  <a:pt x="224" y="92"/>
                </a:cubicBezTo>
                <a:cubicBezTo>
                  <a:pt x="224" y="92"/>
                  <a:pt x="224" y="92"/>
                  <a:pt x="224" y="92"/>
                </a:cubicBezTo>
                <a:cubicBezTo>
                  <a:pt x="224" y="92"/>
                  <a:pt x="224" y="92"/>
                  <a:pt x="224" y="92"/>
                </a:cubicBezTo>
                <a:close/>
                <a:moveTo>
                  <a:pt x="226" y="91"/>
                </a:moveTo>
                <a:cubicBezTo>
                  <a:pt x="224" y="91"/>
                  <a:pt x="224" y="91"/>
                  <a:pt x="224" y="91"/>
                </a:cubicBezTo>
                <a:cubicBezTo>
                  <a:pt x="225" y="92"/>
                  <a:pt x="225" y="92"/>
                  <a:pt x="225" y="92"/>
                </a:cubicBezTo>
                <a:cubicBezTo>
                  <a:pt x="226" y="91"/>
                  <a:pt x="226" y="91"/>
                  <a:pt x="226" y="91"/>
                </a:cubicBezTo>
                <a:cubicBezTo>
                  <a:pt x="226" y="91"/>
                  <a:pt x="226" y="91"/>
                  <a:pt x="226" y="91"/>
                </a:cubicBezTo>
                <a:close/>
                <a:moveTo>
                  <a:pt x="226" y="96"/>
                </a:moveTo>
                <a:cubicBezTo>
                  <a:pt x="225" y="96"/>
                  <a:pt x="225" y="96"/>
                  <a:pt x="225" y="96"/>
                </a:cubicBezTo>
                <a:cubicBezTo>
                  <a:pt x="224" y="96"/>
                  <a:pt x="224" y="96"/>
                  <a:pt x="224" y="96"/>
                </a:cubicBezTo>
                <a:cubicBezTo>
                  <a:pt x="224" y="97"/>
                  <a:pt x="224" y="97"/>
                  <a:pt x="224" y="97"/>
                </a:cubicBezTo>
                <a:cubicBezTo>
                  <a:pt x="225" y="97"/>
                  <a:pt x="225" y="97"/>
                  <a:pt x="225" y="97"/>
                </a:cubicBezTo>
                <a:cubicBezTo>
                  <a:pt x="226" y="96"/>
                  <a:pt x="226" y="96"/>
                  <a:pt x="226" y="96"/>
                </a:cubicBezTo>
                <a:cubicBezTo>
                  <a:pt x="226" y="96"/>
                  <a:pt x="226" y="96"/>
                  <a:pt x="226" y="96"/>
                </a:cubicBezTo>
                <a:close/>
                <a:moveTo>
                  <a:pt x="228" y="90"/>
                </a:moveTo>
                <a:cubicBezTo>
                  <a:pt x="226" y="92"/>
                  <a:pt x="226" y="92"/>
                  <a:pt x="226" y="92"/>
                </a:cubicBezTo>
                <a:cubicBezTo>
                  <a:pt x="226" y="93"/>
                  <a:pt x="226" y="93"/>
                  <a:pt x="226" y="93"/>
                </a:cubicBezTo>
                <a:cubicBezTo>
                  <a:pt x="226" y="93"/>
                  <a:pt x="226" y="93"/>
                  <a:pt x="226" y="93"/>
                </a:cubicBezTo>
                <a:cubicBezTo>
                  <a:pt x="226" y="94"/>
                  <a:pt x="226" y="94"/>
                  <a:pt x="226" y="94"/>
                </a:cubicBezTo>
                <a:cubicBezTo>
                  <a:pt x="226" y="95"/>
                  <a:pt x="226" y="95"/>
                  <a:pt x="226" y="95"/>
                </a:cubicBezTo>
                <a:cubicBezTo>
                  <a:pt x="227" y="95"/>
                  <a:pt x="227" y="95"/>
                  <a:pt x="227" y="95"/>
                </a:cubicBezTo>
                <a:cubicBezTo>
                  <a:pt x="227" y="95"/>
                  <a:pt x="227" y="95"/>
                  <a:pt x="227" y="95"/>
                </a:cubicBezTo>
                <a:cubicBezTo>
                  <a:pt x="229" y="93"/>
                  <a:pt x="229" y="93"/>
                  <a:pt x="229" y="93"/>
                </a:cubicBezTo>
                <a:cubicBezTo>
                  <a:pt x="229" y="92"/>
                  <a:pt x="229" y="92"/>
                  <a:pt x="229" y="92"/>
                </a:cubicBezTo>
                <a:cubicBezTo>
                  <a:pt x="229" y="91"/>
                  <a:pt x="229" y="91"/>
                  <a:pt x="229" y="91"/>
                </a:cubicBezTo>
                <a:cubicBezTo>
                  <a:pt x="229" y="90"/>
                  <a:pt x="229" y="90"/>
                  <a:pt x="229" y="90"/>
                </a:cubicBezTo>
                <a:cubicBezTo>
                  <a:pt x="229" y="90"/>
                  <a:pt x="229" y="90"/>
                  <a:pt x="229" y="90"/>
                </a:cubicBezTo>
                <a:cubicBezTo>
                  <a:pt x="229" y="90"/>
                  <a:pt x="229" y="90"/>
                  <a:pt x="229" y="90"/>
                </a:cubicBezTo>
                <a:cubicBezTo>
                  <a:pt x="228" y="90"/>
                  <a:pt x="228" y="90"/>
                  <a:pt x="228" y="90"/>
                </a:cubicBezTo>
                <a:cubicBezTo>
                  <a:pt x="228" y="90"/>
                  <a:pt x="228" y="90"/>
                  <a:pt x="228" y="90"/>
                </a:cubicBezTo>
                <a:close/>
                <a:moveTo>
                  <a:pt x="219" y="84"/>
                </a:moveTo>
                <a:cubicBezTo>
                  <a:pt x="219" y="84"/>
                  <a:pt x="219" y="84"/>
                  <a:pt x="219" y="84"/>
                </a:cubicBezTo>
                <a:cubicBezTo>
                  <a:pt x="219" y="83"/>
                  <a:pt x="219" y="83"/>
                  <a:pt x="219" y="83"/>
                </a:cubicBezTo>
                <a:cubicBezTo>
                  <a:pt x="219" y="84"/>
                  <a:pt x="219" y="84"/>
                  <a:pt x="219" y="84"/>
                </a:cubicBezTo>
                <a:close/>
                <a:moveTo>
                  <a:pt x="216" y="86"/>
                </a:moveTo>
                <a:cubicBezTo>
                  <a:pt x="215" y="87"/>
                  <a:pt x="215" y="87"/>
                  <a:pt x="215" y="87"/>
                </a:cubicBezTo>
                <a:cubicBezTo>
                  <a:pt x="216" y="87"/>
                  <a:pt x="216" y="87"/>
                  <a:pt x="216" y="87"/>
                </a:cubicBezTo>
                <a:cubicBezTo>
                  <a:pt x="216" y="86"/>
                  <a:pt x="216" y="86"/>
                  <a:pt x="216" y="86"/>
                </a:cubicBezTo>
                <a:close/>
                <a:moveTo>
                  <a:pt x="218" y="96"/>
                </a:moveTo>
                <a:cubicBezTo>
                  <a:pt x="217" y="96"/>
                  <a:pt x="217" y="96"/>
                  <a:pt x="217" y="96"/>
                </a:cubicBezTo>
                <a:cubicBezTo>
                  <a:pt x="217" y="96"/>
                  <a:pt x="217" y="96"/>
                  <a:pt x="217" y="96"/>
                </a:cubicBezTo>
                <a:cubicBezTo>
                  <a:pt x="218" y="96"/>
                  <a:pt x="218" y="96"/>
                  <a:pt x="218" y="96"/>
                </a:cubicBezTo>
                <a:close/>
                <a:moveTo>
                  <a:pt x="216" y="94"/>
                </a:moveTo>
                <a:cubicBezTo>
                  <a:pt x="217" y="93"/>
                  <a:pt x="217" y="93"/>
                  <a:pt x="217" y="93"/>
                </a:cubicBezTo>
                <a:cubicBezTo>
                  <a:pt x="217" y="94"/>
                  <a:pt x="217" y="94"/>
                  <a:pt x="217" y="94"/>
                </a:cubicBezTo>
                <a:cubicBezTo>
                  <a:pt x="218" y="95"/>
                  <a:pt x="218" y="95"/>
                  <a:pt x="218" y="95"/>
                </a:cubicBezTo>
                <a:cubicBezTo>
                  <a:pt x="217" y="95"/>
                  <a:pt x="217" y="95"/>
                  <a:pt x="217" y="95"/>
                </a:cubicBezTo>
                <a:cubicBezTo>
                  <a:pt x="216" y="95"/>
                  <a:pt x="216" y="95"/>
                  <a:pt x="216" y="95"/>
                </a:cubicBezTo>
                <a:cubicBezTo>
                  <a:pt x="216" y="94"/>
                  <a:pt x="216" y="94"/>
                  <a:pt x="216" y="94"/>
                </a:cubicBezTo>
                <a:close/>
                <a:moveTo>
                  <a:pt x="209" y="90"/>
                </a:moveTo>
                <a:cubicBezTo>
                  <a:pt x="210" y="89"/>
                  <a:pt x="210" y="89"/>
                  <a:pt x="210" y="89"/>
                </a:cubicBezTo>
                <a:cubicBezTo>
                  <a:pt x="210" y="90"/>
                  <a:pt x="210" y="90"/>
                  <a:pt x="210" y="90"/>
                </a:cubicBezTo>
                <a:cubicBezTo>
                  <a:pt x="210" y="90"/>
                  <a:pt x="210" y="90"/>
                  <a:pt x="210" y="90"/>
                </a:cubicBezTo>
                <a:cubicBezTo>
                  <a:pt x="209" y="90"/>
                  <a:pt x="209" y="90"/>
                  <a:pt x="209" y="90"/>
                </a:cubicBezTo>
                <a:cubicBezTo>
                  <a:pt x="209" y="90"/>
                  <a:pt x="209" y="90"/>
                  <a:pt x="209" y="90"/>
                </a:cubicBezTo>
                <a:close/>
                <a:moveTo>
                  <a:pt x="211" y="97"/>
                </a:moveTo>
                <a:cubicBezTo>
                  <a:pt x="212" y="97"/>
                  <a:pt x="212" y="97"/>
                  <a:pt x="212" y="97"/>
                </a:cubicBezTo>
                <a:cubicBezTo>
                  <a:pt x="212" y="97"/>
                  <a:pt x="212" y="97"/>
                  <a:pt x="212" y="97"/>
                </a:cubicBezTo>
                <a:cubicBezTo>
                  <a:pt x="211" y="97"/>
                  <a:pt x="211" y="97"/>
                  <a:pt x="211" y="97"/>
                </a:cubicBezTo>
                <a:cubicBezTo>
                  <a:pt x="211" y="97"/>
                  <a:pt x="211" y="97"/>
                  <a:pt x="211" y="97"/>
                </a:cubicBezTo>
                <a:close/>
                <a:moveTo>
                  <a:pt x="201" y="93"/>
                </a:moveTo>
                <a:cubicBezTo>
                  <a:pt x="202" y="92"/>
                  <a:pt x="202" y="92"/>
                  <a:pt x="202" y="92"/>
                </a:cubicBezTo>
                <a:cubicBezTo>
                  <a:pt x="201" y="91"/>
                  <a:pt x="201" y="91"/>
                  <a:pt x="201" y="91"/>
                </a:cubicBezTo>
                <a:cubicBezTo>
                  <a:pt x="201" y="92"/>
                  <a:pt x="201" y="92"/>
                  <a:pt x="201" y="92"/>
                </a:cubicBezTo>
                <a:cubicBezTo>
                  <a:pt x="201" y="93"/>
                  <a:pt x="201" y="93"/>
                  <a:pt x="201" y="93"/>
                </a:cubicBezTo>
                <a:close/>
                <a:moveTo>
                  <a:pt x="204" y="96"/>
                </a:moveTo>
                <a:cubicBezTo>
                  <a:pt x="206" y="96"/>
                  <a:pt x="206" y="96"/>
                  <a:pt x="206" y="96"/>
                </a:cubicBezTo>
                <a:cubicBezTo>
                  <a:pt x="207" y="96"/>
                  <a:pt x="207" y="96"/>
                  <a:pt x="207" y="96"/>
                </a:cubicBezTo>
                <a:cubicBezTo>
                  <a:pt x="207" y="97"/>
                  <a:pt x="207" y="97"/>
                  <a:pt x="207" y="97"/>
                </a:cubicBezTo>
                <a:cubicBezTo>
                  <a:pt x="206" y="97"/>
                  <a:pt x="206" y="97"/>
                  <a:pt x="206" y="97"/>
                </a:cubicBezTo>
                <a:cubicBezTo>
                  <a:pt x="204" y="97"/>
                  <a:pt x="204" y="97"/>
                  <a:pt x="204" y="97"/>
                </a:cubicBezTo>
                <a:cubicBezTo>
                  <a:pt x="204" y="96"/>
                  <a:pt x="204" y="96"/>
                  <a:pt x="204" y="96"/>
                </a:cubicBezTo>
                <a:close/>
                <a:moveTo>
                  <a:pt x="202" y="97"/>
                </a:moveTo>
                <a:cubicBezTo>
                  <a:pt x="203" y="96"/>
                  <a:pt x="203" y="96"/>
                  <a:pt x="203" y="96"/>
                </a:cubicBezTo>
                <a:cubicBezTo>
                  <a:pt x="203" y="97"/>
                  <a:pt x="203" y="97"/>
                  <a:pt x="203" y="97"/>
                </a:cubicBezTo>
                <a:cubicBezTo>
                  <a:pt x="202" y="97"/>
                  <a:pt x="202" y="97"/>
                  <a:pt x="202" y="97"/>
                </a:cubicBezTo>
                <a:close/>
                <a:moveTo>
                  <a:pt x="200" y="96"/>
                </a:moveTo>
                <a:cubicBezTo>
                  <a:pt x="200" y="96"/>
                  <a:pt x="200" y="96"/>
                  <a:pt x="200" y="96"/>
                </a:cubicBezTo>
                <a:cubicBezTo>
                  <a:pt x="201" y="96"/>
                  <a:pt x="201" y="96"/>
                  <a:pt x="201" y="96"/>
                </a:cubicBezTo>
                <a:cubicBezTo>
                  <a:pt x="200" y="97"/>
                  <a:pt x="200" y="97"/>
                  <a:pt x="200" y="97"/>
                </a:cubicBezTo>
                <a:cubicBezTo>
                  <a:pt x="200" y="96"/>
                  <a:pt x="200" y="96"/>
                  <a:pt x="200" y="96"/>
                </a:cubicBezTo>
                <a:close/>
                <a:moveTo>
                  <a:pt x="176" y="109"/>
                </a:moveTo>
                <a:cubicBezTo>
                  <a:pt x="176" y="111"/>
                  <a:pt x="176" y="111"/>
                  <a:pt x="176" y="111"/>
                </a:cubicBezTo>
                <a:cubicBezTo>
                  <a:pt x="176" y="111"/>
                  <a:pt x="176" y="111"/>
                  <a:pt x="176" y="111"/>
                </a:cubicBezTo>
                <a:cubicBezTo>
                  <a:pt x="178" y="111"/>
                  <a:pt x="178" y="111"/>
                  <a:pt x="178" y="111"/>
                </a:cubicBezTo>
                <a:cubicBezTo>
                  <a:pt x="180" y="110"/>
                  <a:pt x="180" y="110"/>
                  <a:pt x="180" y="110"/>
                </a:cubicBezTo>
                <a:cubicBezTo>
                  <a:pt x="181" y="110"/>
                  <a:pt x="181" y="110"/>
                  <a:pt x="181" y="110"/>
                </a:cubicBezTo>
                <a:cubicBezTo>
                  <a:pt x="182" y="110"/>
                  <a:pt x="182" y="110"/>
                  <a:pt x="182" y="110"/>
                </a:cubicBezTo>
                <a:cubicBezTo>
                  <a:pt x="184" y="109"/>
                  <a:pt x="184" y="109"/>
                  <a:pt x="184" y="109"/>
                </a:cubicBezTo>
                <a:cubicBezTo>
                  <a:pt x="184" y="108"/>
                  <a:pt x="184" y="108"/>
                  <a:pt x="184" y="108"/>
                </a:cubicBezTo>
                <a:cubicBezTo>
                  <a:pt x="187" y="106"/>
                  <a:pt x="187" y="106"/>
                  <a:pt x="187" y="106"/>
                </a:cubicBezTo>
                <a:cubicBezTo>
                  <a:pt x="187" y="105"/>
                  <a:pt x="187" y="105"/>
                  <a:pt x="187" y="105"/>
                </a:cubicBezTo>
                <a:cubicBezTo>
                  <a:pt x="188" y="105"/>
                  <a:pt x="188" y="105"/>
                  <a:pt x="188" y="105"/>
                </a:cubicBezTo>
                <a:cubicBezTo>
                  <a:pt x="186" y="104"/>
                  <a:pt x="186" y="104"/>
                  <a:pt x="186" y="104"/>
                </a:cubicBezTo>
                <a:cubicBezTo>
                  <a:pt x="185" y="102"/>
                  <a:pt x="185" y="102"/>
                  <a:pt x="185" y="102"/>
                </a:cubicBezTo>
                <a:cubicBezTo>
                  <a:pt x="185" y="102"/>
                  <a:pt x="185" y="102"/>
                  <a:pt x="185" y="102"/>
                </a:cubicBezTo>
                <a:cubicBezTo>
                  <a:pt x="183" y="103"/>
                  <a:pt x="183" y="103"/>
                  <a:pt x="183" y="103"/>
                </a:cubicBezTo>
                <a:cubicBezTo>
                  <a:pt x="183" y="104"/>
                  <a:pt x="183" y="104"/>
                  <a:pt x="183" y="104"/>
                </a:cubicBezTo>
                <a:cubicBezTo>
                  <a:pt x="182" y="104"/>
                  <a:pt x="182" y="104"/>
                  <a:pt x="182" y="104"/>
                </a:cubicBezTo>
                <a:cubicBezTo>
                  <a:pt x="181" y="105"/>
                  <a:pt x="181" y="105"/>
                  <a:pt x="181" y="105"/>
                </a:cubicBezTo>
                <a:cubicBezTo>
                  <a:pt x="180" y="104"/>
                  <a:pt x="180" y="104"/>
                  <a:pt x="180" y="104"/>
                </a:cubicBezTo>
                <a:cubicBezTo>
                  <a:pt x="180" y="104"/>
                  <a:pt x="180" y="104"/>
                  <a:pt x="180" y="104"/>
                </a:cubicBezTo>
                <a:cubicBezTo>
                  <a:pt x="178" y="105"/>
                  <a:pt x="178" y="105"/>
                  <a:pt x="178" y="105"/>
                </a:cubicBezTo>
                <a:cubicBezTo>
                  <a:pt x="178" y="106"/>
                  <a:pt x="178" y="106"/>
                  <a:pt x="178" y="106"/>
                </a:cubicBezTo>
                <a:cubicBezTo>
                  <a:pt x="177" y="108"/>
                  <a:pt x="177" y="108"/>
                  <a:pt x="177" y="108"/>
                </a:cubicBezTo>
                <a:cubicBezTo>
                  <a:pt x="177" y="109"/>
                  <a:pt x="177" y="109"/>
                  <a:pt x="177" y="109"/>
                </a:cubicBezTo>
                <a:cubicBezTo>
                  <a:pt x="177" y="109"/>
                  <a:pt x="177" y="109"/>
                  <a:pt x="177" y="109"/>
                </a:cubicBezTo>
                <a:cubicBezTo>
                  <a:pt x="177" y="110"/>
                  <a:pt x="177" y="110"/>
                  <a:pt x="177" y="110"/>
                </a:cubicBezTo>
                <a:cubicBezTo>
                  <a:pt x="177" y="110"/>
                  <a:pt x="177" y="110"/>
                  <a:pt x="177" y="110"/>
                </a:cubicBezTo>
                <a:cubicBezTo>
                  <a:pt x="176" y="109"/>
                  <a:pt x="176" y="109"/>
                  <a:pt x="176" y="109"/>
                </a:cubicBezTo>
                <a:close/>
                <a:moveTo>
                  <a:pt x="175" y="111"/>
                </a:moveTo>
                <a:cubicBezTo>
                  <a:pt x="175" y="110"/>
                  <a:pt x="175" y="110"/>
                  <a:pt x="175" y="110"/>
                </a:cubicBezTo>
                <a:cubicBezTo>
                  <a:pt x="175" y="110"/>
                  <a:pt x="175" y="110"/>
                  <a:pt x="175" y="110"/>
                </a:cubicBezTo>
                <a:cubicBezTo>
                  <a:pt x="174" y="111"/>
                  <a:pt x="174" y="111"/>
                  <a:pt x="174" y="111"/>
                </a:cubicBezTo>
                <a:cubicBezTo>
                  <a:pt x="175" y="111"/>
                  <a:pt x="175" y="111"/>
                  <a:pt x="175" y="111"/>
                </a:cubicBezTo>
                <a:close/>
                <a:moveTo>
                  <a:pt x="175" y="112"/>
                </a:moveTo>
                <a:cubicBezTo>
                  <a:pt x="174" y="112"/>
                  <a:pt x="174" y="112"/>
                  <a:pt x="174" y="112"/>
                </a:cubicBezTo>
                <a:cubicBezTo>
                  <a:pt x="174" y="113"/>
                  <a:pt x="174" y="113"/>
                  <a:pt x="174" y="113"/>
                </a:cubicBezTo>
                <a:cubicBezTo>
                  <a:pt x="172" y="113"/>
                  <a:pt x="172" y="113"/>
                  <a:pt x="172" y="113"/>
                </a:cubicBezTo>
                <a:cubicBezTo>
                  <a:pt x="171" y="114"/>
                  <a:pt x="171" y="114"/>
                  <a:pt x="171" y="114"/>
                </a:cubicBezTo>
                <a:cubicBezTo>
                  <a:pt x="172" y="115"/>
                  <a:pt x="172" y="115"/>
                  <a:pt x="172" y="115"/>
                </a:cubicBezTo>
                <a:cubicBezTo>
                  <a:pt x="175" y="113"/>
                  <a:pt x="175" y="113"/>
                  <a:pt x="175" y="113"/>
                </a:cubicBezTo>
                <a:cubicBezTo>
                  <a:pt x="175" y="112"/>
                  <a:pt x="175" y="112"/>
                  <a:pt x="175" y="112"/>
                </a:cubicBezTo>
                <a:cubicBezTo>
                  <a:pt x="175" y="112"/>
                  <a:pt x="175" y="112"/>
                  <a:pt x="175" y="112"/>
                </a:cubicBezTo>
                <a:close/>
                <a:moveTo>
                  <a:pt x="166" y="111"/>
                </a:moveTo>
                <a:cubicBezTo>
                  <a:pt x="166" y="112"/>
                  <a:pt x="166" y="112"/>
                  <a:pt x="166" y="112"/>
                </a:cubicBezTo>
                <a:cubicBezTo>
                  <a:pt x="167" y="113"/>
                  <a:pt x="167" y="113"/>
                  <a:pt x="167" y="113"/>
                </a:cubicBezTo>
                <a:cubicBezTo>
                  <a:pt x="166" y="113"/>
                  <a:pt x="166" y="113"/>
                  <a:pt x="166" y="113"/>
                </a:cubicBezTo>
                <a:cubicBezTo>
                  <a:pt x="165" y="113"/>
                  <a:pt x="165" y="113"/>
                  <a:pt x="165" y="113"/>
                </a:cubicBezTo>
                <a:cubicBezTo>
                  <a:pt x="165" y="112"/>
                  <a:pt x="165" y="112"/>
                  <a:pt x="165" y="112"/>
                </a:cubicBezTo>
                <a:cubicBezTo>
                  <a:pt x="166" y="111"/>
                  <a:pt x="166" y="111"/>
                  <a:pt x="166" y="111"/>
                </a:cubicBezTo>
                <a:close/>
                <a:moveTo>
                  <a:pt x="148" y="105"/>
                </a:moveTo>
                <a:cubicBezTo>
                  <a:pt x="150" y="103"/>
                  <a:pt x="150" y="103"/>
                  <a:pt x="150" y="103"/>
                </a:cubicBezTo>
                <a:cubicBezTo>
                  <a:pt x="152" y="105"/>
                  <a:pt x="152" y="105"/>
                  <a:pt x="152" y="105"/>
                </a:cubicBezTo>
                <a:cubicBezTo>
                  <a:pt x="153" y="105"/>
                  <a:pt x="153" y="105"/>
                  <a:pt x="153" y="105"/>
                </a:cubicBezTo>
                <a:cubicBezTo>
                  <a:pt x="154" y="104"/>
                  <a:pt x="154" y="104"/>
                  <a:pt x="154" y="104"/>
                </a:cubicBezTo>
                <a:cubicBezTo>
                  <a:pt x="156" y="105"/>
                  <a:pt x="156" y="105"/>
                  <a:pt x="156" y="105"/>
                </a:cubicBezTo>
                <a:cubicBezTo>
                  <a:pt x="156" y="106"/>
                  <a:pt x="156" y="106"/>
                  <a:pt x="156" y="106"/>
                </a:cubicBezTo>
                <a:cubicBezTo>
                  <a:pt x="157" y="106"/>
                  <a:pt x="157" y="106"/>
                  <a:pt x="157" y="106"/>
                </a:cubicBezTo>
                <a:cubicBezTo>
                  <a:pt x="158" y="108"/>
                  <a:pt x="158" y="108"/>
                  <a:pt x="158" y="108"/>
                </a:cubicBezTo>
                <a:cubicBezTo>
                  <a:pt x="159" y="108"/>
                  <a:pt x="159" y="108"/>
                  <a:pt x="159" y="108"/>
                </a:cubicBezTo>
                <a:cubicBezTo>
                  <a:pt x="159" y="109"/>
                  <a:pt x="159" y="109"/>
                  <a:pt x="159" y="109"/>
                </a:cubicBezTo>
                <a:cubicBezTo>
                  <a:pt x="158" y="110"/>
                  <a:pt x="158" y="110"/>
                  <a:pt x="158" y="110"/>
                </a:cubicBezTo>
                <a:cubicBezTo>
                  <a:pt x="156" y="110"/>
                  <a:pt x="156" y="110"/>
                  <a:pt x="156" y="110"/>
                </a:cubicBezTo>
                <a:cubicBezTo>
                  <a:pt x="155" y="110"/>
                  <a:pt x="155" y="110"/>
                  <a:pt x="155" y="110"/>
                </a:cubicBezTo>
                <a:cubicBezTo>
                  <a:pt x="154" y="108"/>
                  <a:pt x="154" y="108"/>
                  <a:pt x="154" y="108"/>
                </a:cubicBezTo>
                <a:cubicBezTo>
                  <a:pt x="153" y="108"/>
                  <a:pt x="153" y="108"/>
                  <a:pt x="153" y="108"/>
                </a:cubicBezTo>
                <a:cubicBezTo>
                  <a:pt x="152" y="107"/>
                  <a:pt x="152" y="107"/>
                  <a:pt x="152" y="107"/>
                </a:cubicBezTo>
                <a:cubicBezTo>
                  <a:pt x="150" y="107"/>
                  <a:pt x="150" y="107"/>
                  <a:pt x="150" y="107"/>
                </a:cubicBezTo>
                <a:cubicBezTo>
                  <a:pt x="148" y="107"/>
                  <a:pt x="148" y="107"/>
                  <a:pt x="148" y="107"/>
                </a:cubicBezTo>
                <a:cubicBezTo>
                  <a:pt x="147" y="106"/>
                  <a:pt x="147" y="106"/>
                  <a:pt x="147" y="106"/>
                </a:cubicBezTo>
                <a:cubicBezTo>
                  <a:pt x="148" y="105"/>
                  <a:pt x="148" y="105"/>
                  <a:pt x="148" y="105"/>
                </a:cubicBezTo>
                <a:close/>
                <a:moveTo>
                  <a:pt x="128" y="90"/>
                </a:moveTo>
                <a:cubicBezTo>
                  <a:pt x="129" y="90"/>
                  <a:pt x="129" y="90"/>
                  <a:pt x="129" y="90"/>
                </a:cubicBezTo>
                <a:cubicBezTo>
                  <a:pt x="129" y="90"/>
                  <a:pt x="129" y="90"/>
                  <a:pt x="129" y="90"/>
                </a:cubicBezTo>
                <a:cubicBezTo>
                  <a:pt x="129" y="91"/>
                  <a:pt x="129" y="91"/>
                  <a:pt x="129" y="91"/>
                </a:cubicBezTo>
                <a:cubicBezTo>
                  <a:pt x="128" y="91"/>
                  <a:pt x="128" y="91"/>
                  <a:pt x="128" y="91"/>
                </a:cubicBezTo>
                <a:cubicBezTo>
                  <a:pt x="128" y="90"/>
                  <a:pt x="128" y="90"/>
                  <a:pt x="128" y="90"/>
                </a:cubicBezTo>
                <a:close/>
                <a:moveTo>
                  <a:pt x="124" y="88"/>
                </a:moveTo>
                <a:cubicBezTo>
                  <a:pt x="125" y="89"/>
                  <a:pt x="125" y="89"/>
                  <a:pt x="125" y="89"/>
                </a:cubicBezTo>
                <a:cubicBezTo>
                  <a:pt x="126" y="88"/>
                  <a:pt x="126" y="88"/>
                  <a:pt x="126" y="88"/>
                </a:cubicBezTo>
                <a:cubicBezTo>
                  <a:pt x="127" y="89"/>
                  <a:pt x="127" y="89"/>
                  <a:pt x="127" y="89"/>
                </a:cubicBezTo>
                <a:cubicBezTo>
                  <a:pt x="127" y="89"/>
                  <a:pt x="127" y="89"/>
                  <a:pt x="127" y="89"/>
                </a:cubicBezTo>
                <a:cubicBezTo>
                  <a:pt x="127" y="88"/>
                  <a:pt x="127" y="88"/>
                  <a:pt x="127" y="88"/>
                </a:cubicBezTo>
                <a:cubicBezTo>
                  <a:pt x="126" y="88"/>
                  <a:pt x="126" y="88"/>
                  <a:pt x="126" y="88"/>
                </a:cubicBezTo>
                <a:cubicBezTo>
                  <a:pt x="125" y="88"/>
                  <a:pt x="125" y="88"/>
                  <a:pt x="125" y="88"/>
                </a:cubicBezTo>
                <a:cubicBezTo>
                  <a:pt x="124" y="88"/>
                  <a:pt x="124" y="88"/>
                  <a:pt x="124" y="88"/>
                </a:cubicBezTo>
                <a:cubicBezTo>
                  <a:pt x="124" y="88"/>
                  <a:pt x="124" y="88"/>
                  <a:pt x="124" y="88"/>
                </a:cubicBezTo>
                <a:close/>
                <a:moveTo>
                  <a:pt x="192" y="95"/>
                </a:moveTo>
                <a:cubicBezTo>
                  <a:pt x="193" y="94"/>
                  <a:pt x="193" y="94"/>
                  <a:pt x="193" y="94"/>
                </a:cubicBezTo>
                <a:cubicBezTo>
                  <a:pt x="195" y="94"/>
                  <a:pt x="195" y="94"/>
                  <a:pt x="195" y="94"/>
                </a:cubicBezTo>
                <a:cubicBezTo>
                  <a:pt x="196" y="95"/>
                  <a:pt x="196" y="95"/>
                  <a:pt x="196" y="95"/>
                </a:cubicBezTo>
                <a:cubicBezTo>
                  <a:pt x="196" y="94"/>
                  <a:pt x="196" y="94"/>
                  <a:pt x="196" y="94"/>
                </a:cubicBezTo>
                <a:cubicBezTo>
                  <a:pt x="197" y="94"/>
                  <a:pt x="197" y="94"/>
                  <a:pt x="197" y="94"/>
                </a:cubicBezTo>
                <a:cubicBezTo>
                  <a:pt x="198" y="93"/>
                  <a:pt x="198" y="93"/>
                  <a:pt x="198" y="93"/>
                </a:cubicBezTo>
                <a:cubicBezTo>
                  <a:pt x="198" y="93"/>
                  <a:pt x="198" y="93"/>
                  <a:pt x="198" y="93"/>
                </a:cubicBezTo>
                <a:cubicBezTo>
                  <a:pt x="197" y="92"/>
                  <a:pt x="197" y="92"/>
                  <a:pt x="197" y="92"/>
                </a:cubicBezTo>
                <a:cubicBezTo>
                  <a:pt x="196" y="93"/>
                  <a:pt x="196" y="93"/>
                  <a:pt x="196" y="93"/>
                </a:cubicBezTo>
                <a:cubicBezTo>
                  <a:pt x="194" y="93"/>
                  <a:pt x="194" y="93"/>
                  <a:pt x="194" y="93"/>
                </a:cubicBezTo>
                <a:cubicBezTo>
                  <a:pt x="193" y="92"/>
                  <a:pt x="193" y="92"/>
                  <a:pt x="193" y="92"/>
                </a:cubicBezTo>
                <a:cubicBezTo>
                  <a:pt x="192" y="93"/>
                  <a:pt x="192" y="93"/>
                  <a:pt x="192" y="93"/>
                </a:cubicBezTo>
                <a:cubicBezTo>
                  <a:pt x="192" y="94"/>
                  <a:pt x="192" y="94"/>
                  <a:pt x="192" y="94"/>
                </a:cubicBezTo>
                <a:cubicBezTo>
                  <a:pt x="192" y="95"/>
                  <a:pt x="192" y="95"/>
                  <a:pt x="192" y="95"/>
                </a:cubicBezTo>
                <a:close/>
                <a:moveTo>
                  <a:pt x="190" y="97"/>
                </a:moveTo>
                <a:cubicBezTo>
                  <a:pt x="190" y="97"/>
                  <a:pt x="190" y="97"/>
                  <a:pt x="190" y="97"/>
                </a:cubicBezTo>
                <a:cubicBezTo>
                  <a:pt x="190" y="97"/>
                  <a:pt x="190" y="97"/>
                  <a:pt x="190" y="97"/>
                </a:cubicBezTo>
                <a:cubicBezTo>
                  <a:pt x="190" y="97"/>
                  <a:pt x="190" y="97"/>
                  <a:pt x="190" y="97"/>
                </a:cubicBezTo>
                <a:cubicBezTo>
                  <a:pt x="190" y="97"/>
                  <a:pt x="190" y="97"/>
                  <a:pt x="190" y="97"/>
                </a:cubicBezTo>
                <a:close/>
                <a:moveTo>
                  <a:pt x="184" y="96"/>
                </a:moveTo>
                <a:cubicBezTo>
                  <a:pt x="183" y="97"/>
                  <a:pt x="183" y="97"/>
                  <a:pt x="183" y="97"/>
                </a:cubicBezTo>
                <a:cubicBezTo>
                  <a:pt x="183" y="97"/>
                  <a:pt x="183" y="97"/>
                  <a:pt x="183" y="97"/>
                </a:cubicBezTo>
                <a:cubicBezTo>
                  <a:pt x="183" y="98"/>
                  <a:pt x="183" y="98"/>
                  <a:pt x="183" y="98"/>
                </a:cubicBezTo>
                <a:cubicBezTo>
                  <a:pt x="183" y="98"/>
                  <a:pt x="183" y="98"/>
                  <a:pt x="183" y="98"/>
                </a:cubicBezTo>
                <a:cubicBezTo>
                  <a:pt x="184" y="99"/>
                  <a:pt x="184" y="99"/>
                  <a:pt x="184" y="99"/>
                </a:cubicBezTo>
                <a:cubicBezTo>
                  <a:pt x="186" y="98"/>
                  <a:pt x="186" y="98"/>
                  <a:pt x="186" y="98"/>
                </a:cubicBezTo>
                <a:cubicBezTo>
                  <a:pt x="187" y="97"/>
                  <a:pt x="187" y="97"/>
                  <a:pt x="187" y="97"/>
                </a:cubicBezTo>
                <a:cubicBezTo>
                  <a:pt x="186" y="97"/>
                  <a:pt x="186" y="97"/>
                  <a:pt x="186" y="97"/>
                </a:cubicBezTo>
                <a:cubicBezTo>
                  <a:pt x="185" y="97"/>
                  <a:pt x="185" y="97"/>
                  <a:pt x="185" y="97"/>
                </a:cubicBezTo>
                <a:cubicBezTo>
                  <a:pt x="184" y="96"/>
                  <a:pt x="184" y="96"/>
                  <a:pt x="184" y="96"/>
                </a:cubicBezTo>
                <a:close/>
                <a:moveTo>
                  <a:pt x="180" y="99"/>
                </a:moveTo>
                <a:cubicBezTo>
                  <a:pt x="180" y="99"/>
                  <a:pt x="180" y="99"/>
                  <a:pt x="180" y="99"/>
                </a:cubicBezTo>
                <a:cubicBezTo>
                  <a:pt x="181" y="99"/>
                  <a:pt x="181" y="99"/>
                  <a:pt x="181" y="99"/>
                </a:cubicBezTo>
                <a:cubicBezTo>
                  <a:pt x="182" y="98"/>
                  <a:pt x="182" y="98"/>
                  <a:pt x="182" y="98"/>
                </a:cubicBezTo>
                <a:cubicBezTo>
                  <a:pt x="182" y="98"/>
                  <a:pt x="182" y="98"/>
                  <a:pt x="182" y="98"/>
                </a:cubicBezTo>
                <a:cubicBezTo>
                  <a:pt x="181" y="98"/>
                  <a:pt x="181" y="98"/>
                  <a:pt x="181" y="98"/>
                </a:cubicBezTo>
                <a:cubicBezTo>
                  <a:pt x="180" y="98"/>
                  <a:pt x="180" y="98"/>
                  <a:pt x="180" y="98"/>
                </a:cubicBezTo>
                <a:cubicBezTo>
                  <a:pt x="180" y="99"/>
                  <a:pt x="180" y="99"/>
                  <a:pt x="180" y="99"/>
                </a:cubicBezTo>
                <a:close/>
                <a:moveTo>
                  <a:pt x="176" y="99"/>
                </a:moveTo>
                <a:cubicBezTo>
                  <a:pt x="177" y="98"/>
                  <a:pt x="177" y="98"/>
                  <a:pt x="177" y="98"/>
                </a:cubicBezTo>
                <a:cubicBezTo>
                  <a:pt x="177" y="98"/>
                  <a:pt x="177" y="98"/>
                  <a:pt x="177" y="98"/>
                </a:cubicBezTo>
                <a:cubicBezTo>
                  <a:pt x="177" y="97"/>
                  <a:pt x="177" y="97"/>
                  <a:pt x="177" y="97"/>
                </a:cubicBezTo>
                <a:cubicBezTo>
                  <a:pt x="178" y="98"/>
                  <a:pt x="178" y="98"/>
                  <a:pt x="178" y="98"/>
                </a:cubicBezTo>
                <a:cubicBezTo>
                  <a:pt x="179" y="97"/>
                  <a:pt x="179" y="97"/>
                  <a:pt x="179" y="97"/>
                </a:cubicBezTo>
                <a:cubicBezTo>
                  <a:pt x="179" y="97"/>
                  <a:pt x="179" y="97"/>
                  <a:pt x="179" y="97"/>
                </a:cubicBezTo>
                <a:cubicBezTo>
                  <a:pt x="178" y="99"/>
                  <a:pt x="178" y="99"/>
                  <a:pt x="178" y="99"/>
                </a:cubicBezTo>
                <a:cubicBezTo>
                  <a:pt x="178" y="99"/>
                  <a:pt x="178" y="99"/>
                  <a:pt x="178" y="99"/>
                </a:cubicBezTo>
                <a:cubicBezTo>
                  <a:pt x="176" y="100"/>
                  <a:pt x="176" y="100"/>
                  <a:pt x="176" y="100"/>
                </a:cubicBezTo>
                <a:cubicBezTo>
                  <a:pt x="176" y="99"/>
                  <a:pt x="176" y="99"/>
                  <a:pt x="176" y="99"/>
                </a:cubicBezTo>
                <a:close/>
                <a:moveTo>
                  <a:pt x="175" y="99"/>
                </a:moveTo>
                <a:cubicBezTo>
                  <a:pt x="173" y="99"/>
                  <a:pt x="173" y="99"/>
                  <a:pt x="173" y="99"/>
                </a:cubicBezTo>
                <a:cubicBezTo>
                  <a:pt x="173" y="100"/>
                  <a:pt x="173" y="100"/>
                  <a:pt x="173" y="100"/>
                </a:cubicBezTo>
                <a:cubicBezTo>
                  <a:pt x="174" y="99"/>
                  <a:pt x="174" y="99"/>
                  <a:pt x="174" y="99"/>
                </a:cubicBezTo>
                <a:cubicBezTo>
                  <a:pt x="175" y="99"/>
                  <a:pt x="175" y="99"/>
                  <a:pt x="175" y="99"/>
                </a:cubicBezTo>
                <a:close/>
                <a:moveTo>
                  <a:pt x="175" y="97"/>
                </a:moveTo>
                <a:cubicBezTo>
                  <a:pt x="175" y="98"/>
                  <a:pt x="175" y="98"/>
                  <a:pt x="175" y="98"/>
                </a:cubicBezTo>
                <a:cubicBezTo>
                  <a:pt x="175" y="98"/>
                  <a:pt x="175" y="98"/>
                  <a:pt x="175" y="98"/>
                </a:cubicBezTo>
                <a:cubicBezTo>
                  <a:pt x="176" y="97"/>
                  <a:pt x="176" y="97"/>
                  <a:pt x="176" y="97"/>
                </a:cubicBezTo>
                <a:cubicBezTo>
                  <a:pt x="175" y="97"/>
                  <a:pt x="175" y="97"/>
                  <a:pt x="175" y="97"/>
                </a:cubicBezTo>
                <a:close/>
                <a:moveTo>
                  <a:pt x="153" y="99"/>
                </a:moveTo>
                <a:cubicBezTo>
                  <a:pt x="153" y="99"/>
                  <a:pt x="153" y="98"/>
                  <a:pt x="153" y="98"/>
                </a:cubicBezTo>
                <a:cubicBezTo>
                  <a:pt x="155" y="97"/>
                  <a:pt x="155" y="97"/>
                  <a:pt x="155" y="97"/>
                </a:cubicBezTo>
                <a:cubicBezTo>
                  <a:pt x="158" y="97"/>
                  <a:pt x="158" y="97"/>
                  <a:pt x="158" y="97"/>
                </a:cubicBezTo>
                <a:cubicBezTo>
                  <a:pt x="160" y="97"/>
                  <a:pt x="160" y="97"/>
                  <a:pt x="160" y="97"/>
                </a:cubicBezTo>
                <a:cubicBezTo>
                  <a:pt x="161" y="97"/>
                  <a:pt x="161" y="97"/>
                  <a:pt x="161" y="97"/>
                </a:cubicBezTo>
                <a:cubicBezTo>
                  <a:pt x="162" y="98"/>
                  <a:pt x="162" y="98"/>
                  <a:pt x="162" y="98"/>
                </a:cubicBezTo>
                <a:cubicBezTo>
                  <a:pt x="164" y="99"/>
                  <a:pt x="164" y="99"/>
                  <a:pt x="164" y="99"/>
                </a:cubicBezTo>
                <a:cubicBezTo>
                  <a:pt x="165" y="98"/>
                  <a:pt x="165" y="98"/>
                  <a:pt x="165" y="98"/>
                </a:cubicBezTo>
                <a:cubicBezTo>
                  <a:pt x="167" y="98"/>
                  <a:pt x="167" y="98"/>
                  <a:pt x="167" y="98"/>
                </a:cubicBezTo>
                <a:cubicBezTo>
                  <a:pt x="168" y="99"/>
                  <a:pt x="168" y="99"/>
                  <a:pt x="168" y="99"/>
                </a:cubicBezTo>
                <a:cubicBezTo>
                  <a:pt x="169" y="99"/>
                  <a:pt x="169" y="99"/>
                  <a:pt x="169" y="99"/>
                </a:cubicBezTo>
                <a:cubicBezTo>
                  <a:pt x="170" y="98"/>
                  <a:pt x="170" y="98"/>
                  <a:pt x="170" y="98"/>
                </a:cubicBezTo>
                <a:cubicBezTo>
                  <a:pt x="171" y="98"/>
                  <a:pt x="171" y="98"/>
                  <a:pt x="171" y="98"/>
                </a:cubicBezTo>
                <a:cubicBezTo>
                  <a:pt x="172" y="96"/>
                  <a:pt x="172" y="96"/>
                  <a:pt x="172" y="96"/>
                </a:cubicBezTo>
                <a:cubicBezTo>
                  <a:pt x="172" y="96"/>
                  <a:pt x="172" y="96"/>
                  <a:pt x="172" y="96"/>
                </a:cubicBezTo>
                <a:cubicBezTo>
                  <a:pt x="173" y="95"/>
                  <a:pt x="173" y="95"/>
                  <a:pt x="173" y="95"/>
                </a:cubicBezTo>
                <a:cubicBezTo>
                  <a:pt x="174" y="96"/>
                  <a:pt x="174" y="96"/>
                  <a:pt x="174" y="96"/>
                </a:cubicBezTo>
                <a:cubicBezTo>
                  <a:pt x="174" y="97"/>
                  <a:pt x="174" y="97"/>
                  <a:pt x="174" y="97"/>
                </a:cubicBezTo>
                <a:cubicBezTo>
                  <a:pt x="173" y="98"/>
                  <a:pt x="173" y="98"/>
                  <a:pt x="173" y="98"/>
                </a:cubicBezTo>
                <a:cubicBezTo>
                  <a:pt x="173" y="99"/>
                  <a:pt x="173" y="99"/>
                  <a:pt x="173" y="99"/>
                </a:cubicBezTo>
                <a:cubicBezTo>
                  <a:pt x="172" y="100"/>
                  <a:pt x="172" y="100"/>
                  <a:pt x="172" y="100"/>
                </a:cubicBezTo>
                <a:cubicBezTo>
                  <a:pt x="170" y="100"/>
                  <a:pt x="170" y="100"/>
                  <a:pt x="170" y="100"/>
                </a:cubicBezTo>
                <a:cubicBezTo>
                  <a:pt x="170" y="100"/>
                  <a:pt x="170" y="100"/>
                  <a:pt x="170" y="100"/>
                </a:cubicBezTo>
                <a:cubicBezTo>
                  <a:pt x="169" y="100"/>
                  <a:pt x="169" y="100"/>
                  <a:pt x="169" y="100"/>
                </a:cubicBezTo>
                <a:cubicBezTo>
                  <a:pt x="167" y="100"/>
                  <a:pt x="167" y="100"/>
                  <a:pt x="167" y="100"/>
                </a:cubicBezTo>
                <a:cubicBezTo>
                  <a:pt x="165" y="101"/>
                  <a:pt x="165" y="101"/>
                  <a:pt x="165" y="101"/>
                </a:cubicBezTo>
                <a:cubicBezTo>
                  <a:pt x="163" y="101"/>
                  <a:pt x="163" y="101"/>
                  <a:pt x="163" y="101"/>
                </a:cubicBezTo>
                <a:cubicBezTo>
                  <a:pt x="162" y="101"/>
                  <a:pt x="162" y="101"/>
                  <a:pt x="162" y="101"/>
                </a:cubicBezTo>
                <a:cubicBezTo>
                  <a:pt x="162" y="101"/>
                  <a:pt x="162" y="101"/>
                  <a:pt x="162" y="101"/>
                </a:cubicBezTo>
                <a:cubicBezTo>
                  <a:pt x="161" y="101"/>
                  <a:pt x="161" y="101"/>
                  <a:pt x="161" y="101"/>
                </a:cubicBezTo>
                <a:cubicBezTo>
                  <a:pt x="160" y="101"/>
                  <a:pt x="160" y="101"/>
                  <a:pt x="160" y="101"/>
                </a:cubicBezTo>
                <a:cubicBezTo>
                  <a:pt x="159" y="102"/>
                  <a:pt x="159" y="102"/>
                  <a:pt x="159" y="102"/>
                </a:cubicBezTo>
                <a:cubicBezTo>
                  <a:pt x="158" y="101"/>
                  <a:pt x="158" y="101"/>
                  <a:pt x="158" y="101"/>
                </a:cubicBezTo>
                <a:cubicBezTo>
                  <a:pt x="157" y="101"/>
                  <a:pt x="157" y="101"/>
                  <a:pt x="157" y="101"/>
                </a:cubicBezTo>
                <a:cubicBezTo>
                  <a:pt x="156" y="101"/>
                  <a:pt x="156" y="101"/>
                  <a:pt x="156" y="101"/>
                </a:cubicBezTo>
                <a:cubicBezTo>
                  <a:pt x="155" y="101"/>
                  <a:pt x="155" y="101"/>
                  <a:pt x="155" y="101"/>
                </a:cubicBezTo>
                <a:cubicBezTo>
                  <a:pt x="154" y="101"/>
                  <a:pt x="154" y="101"/>
                  <a:pt x="154" y="101"/>
                </a:cubicBezTo>
                <a:cubicBezTo>
                  <a:pt x="153" y="101"/>
                  <a:pt x="153" y="101"/>
                  <a:pt x="153" y="101"/>
                </a:cubicBezTo>
                <a:cubicBezTo>
                  <a:pt x="153" y="99"/>
                  <a:pt x="153" y="99"/>
                  <a:pt x="153" y="99"/>
                </a:cubicBezTo>
                <a:close/>
                <a:moveTo>
                  <a:pt x="152" y="99"/>
                </a:moveTo>
                <a:cubicBezTo>
                  <a:pt x="152" y="101"/>
                  <a:pt x="152" y="101"/>
                  <a:pt x="152" y="101"/>
                </a:cubicBezTo>
                <a:cubicBezTo>
                  <a:pt x="153" y="100"/>
                  <a:pt x="153" y="100"/>
                  <a:pt x="153" y="100"/>
                </a:cubicBezTo>
                <a:cubicBezTo>
                  <a:pt x="153" y="100"/>
                  <a:pt x="153" y="100"/>
                  <a:pt x="153" y="100"/>
                </a:cubicBezTo>
                <a:cubicBezTo>
                  <a:pt x="152" y="99"/>
                  <a:pt x="152" y="99"/>
                  <a:pt x="152" y="99"/>
                </a:cubicBezTo>
                <a:close/>
                <a:moveTo>
                  <a:pt x="152" y="99"/>
                </a:moveTo>
                <a:cubicBezTo>
                  <a:pt x="151" y="98"/>
                  <a:pt x="151" y="98"/>
                  <a:pt x="151" y="98"/>
                </a:cubicBezTo>
                <a:cubicBezTo>
                  <a:pt x="150" y="100"/>
                  <a:pt x="150" y="100"/>
                  <a:pt x="150" y="100"/>
                </a:cubicBezTo>
                <a:cubicBezTo>
                  <a:pt x="151" y="101"/>
                  <a:pt x="151" y="101"/>
                  <a:pt x="151" y="101"/>
                </a:cubicBezTo>
                <a:cubicBezTo>
                  <a:pt x="151" y="99"/>
                  <a:pt x="151" y="99"/>
                  <a:pt x="151" y="99"/>
                </a:cubicBezTo>
                <a:cubicBezTo>
                  <a:pt x="152" y="99"/>
                  <a:pt x="152" y="99"/>
                  <a:pt x="152" y="99"/>
                </a:cubicBezTo>
                <a:close/>
                <a:moveTo>
                  <a:pt x="134" y="100"/>
                </a:moveTo>
                <a:cubicBezTo>
                  <a:pt x="134" y="100"/>
                  <a:pt x="134" y="100"/>
                  <a:pt x="134" y="100"/>
                </a:cubicBezTo>
                <a:cubicBezTo>
                  <a:pt x="134" y="101"/>
                  <a:pt x="134" y="101"/>
                  <a:pt x="134" y="101"/>
                </a:cubicBezTo>
                <a:cubicBezTo>
                  <a:pt x="134" y="101"/>
                  <a:pt x="134" y="101"/>
                  <a:pt x="134" y="101"/>
                </a:cubicBezTo>
                <a:cubicBezTo>
                  <a:pt x="134" y="102"/>
                  <a:pt x="134" y="102"/>
                  <a:pt x="134" y="102"/>
                </a:cubicBezTo>
                <a:cubicBezTo>
                  <a:pt x="135" y="103"/>
                  <a:pt x="135" y="103"/>
                  <a:pt x="135" y="103"/>
                </a:cubicBezTo>
                <a:cubicBezTo>
                  <a:pt x="137" y="102"/>
                  <a:pt x="137" y="102"/>
                  <a:pt x="137" y="102"/>
                </a:cubicBezTo>
                <a:cubicBezTo>
                  <a:pt x="138" y="103"/>
                  <a:pt x="138" y="103"/>
                  <a:pt x="138" y="103"/>
                </a:cubicBezTo>
                <a:cubicBezTo>
                  <a:pt x="139" y="102"/>
                  <a:pt x="139" y="102"/>
                  <a:pt x="139" y="102"/>
                </a:cubicBezTo>
                <a:cubicBezTo>
                  <a:pt x="140" y="101"/>
                  <a:pt x="140" y="101"/>
                  <a:pt x="140" y="101"/>
                </a:cubicBezTo>
                <a:cubicBezTo>
                  <a:pt x="141" y="102"/>
                  <a:pt x="141" y="102"/>
                  <a:pt x="141" y="102"/>
                </a:cubicBezTo>
                <a:cubicBezTo>
                  <a:pt x="142" y="101"/>
                  <a:pt x="142" y="101"/>
                  <a:pt x="142" y="101"/>
                </a:cubicBezTo>
                <a:cubicBezTo>
                  <a:pt x="143" y="101"/>
                  <a:pt x="143" y="101"/>
                  <a:pt x="143" y="101"/>
                </a:cubicBezTo>
                <a:cubicBezTo>
                  <a:pt x="145" y="100"/>
                  <a:pt x="145" y="100"/>
                  <a:pt x="145" y="100"/>
                </a:cubicBezTo>
                <a:cubicBezTo>
                  <a:pt x="145" y="101"/>
                  <a:pt x="145" y="101"/>
                  <a:pt x="145" y="101"/>
                </a:cubicBezTo>
                <a:cubicBezTo>
                  <a:pt x="146" y="101"/>
                  <a:pt x="146" y="101"/>
                  <a:pt x="146" y="101"/>
                </a:cubicBezTo>
                <a:cubicBezTo>
                  <a:pt x="148" y="101"/>
                  <a:pt x="148" y="101"/>
                  <a:pt x="148" y="101"/>
                </a:cubicBezTo>
                <a:cubicBezTo>
                  <a:pt x="147" y="100"/>
                  <a:pt x="147" y="100"/>
                  <a:pt x="147" y="100"/>
                </a:cubicBezTo>
                <a:cubicBezTo>
                  <a:pt x="149" y="100"/>
                  <a:pt x="149" y="100"/>
                  <a:pt x="149" y="100"/>
                </a:cubicBezTo>
                <a:cubicBezTo>
                  <a:pt x="149" y="99"/>
                  <a:pt x="149" y="99"/>
                  <a:pt x="149" y="99"/>
                </a:cubicBezTo>
                <a:cubicBezTo>
                  <a:pt x="149" y="100"/>
                  <a:pt x="149" y="100"/>
                  <a:pt x="149" y="100"/>
                </a:cubicBezTo>
                <a:cubicBezTo>
                  <a:pt x="148" y="99"/>
                  <a:pt x="148" y="99"/>
                  <a:pt x="148" y="99"/>
                </a:cubicBezTo>
                <a:cubicBezTo>
                  <a:pt x="148" y="98"/>
                  <a:pt x="148" y="98"/>
                  <a:pt x="148" y="98"/>
                </a:cubicBezTo>
                <a:cubicBezTo>
                  <a:pt x="147" y="97"/>
                  <a:pt x="147" y="97"/>
                  <a:pt x="147" y="97"/>
                </a:cubicBezTo>
                <a:cubicBezTo>
                  <a:pt x="147" y="98"/>
                  <a:pt x="147" y="98"/>
                  <a:pt x="147" y="98"/>
                </a:cubicBezTo>
                <a:cubicBezTo>
                  <a:pt x="147" y="98"/>
                  <a:pt x="147" y="98"/>
                  <a:pt x="147" y="98"/>
                </a:cubicBezTo>
                <a:cubicBezTo>
                  <a:pt x="147" y="97"/>
                  <a:pt x="147" y="97"/>
                  <a:pt x="147" y="97"/>
                </a:cubicBezTo>
                <a:cubicBezTo>
                  <a:pt x="145" y="97"/>
                  <a:pt x="145" y="97"/>
                  <a:pt x="145" y="97"/>
                </a:cubicBezTo>
                <a:cubicBezTo>
                  <a:pt x="144" y="97"/>
                  <a:pt x="144" y="97"/>
                  <a:pt x="144" y="97"/>
                </a:cubicBezTo>
                <a:cubicBezTo>
                  <a:pt x="143" y="96"/>
                  <a:pt x="143" y="96"/>
                  <a:pt x="143" y="96"/>
                </a:cubicBezTo>
                <a:cubicBezTo>
                  <a:pt x="142" y="96"/>
                  <a:pt x="142" y="96"/>
                  <a:pt x="142" y="96"/>
                </a:cubicBezTo>
                <a:cubicBezTo>
                  <a:pt x="140" y="97"/>
                  <a:pt x="140" y="97"/>
                  <a:pt x="140" y="97"/>
                </a:cubicBezTo>
                <a:cubicBezTo>
                  <a:pt x="140" y="98"/>
                  <a:pt x="140" y="98"/>
                  <a:pt x="140" y="98"/>
                </a:cubicBezTo>
                <a:cubicBezTo>
                  <a:pt x="143" y="98"/>
                  <a:pt x="143" y="98"/>
                  <a:pt x="143" y="98"/>
                </a:cubicBezTo>
                <a:cubicBezTo>
                  <a:pt x="144" y="99"/>
                  <a:pt x="144" y="99"/>
                  <a:pt x="144" y="99"/>
                </a:cubicBezTo>
                <a:cubicBezTo>
                  <a:pt x="142" y="100"/>
                  <a:pt x="142" y="100"/>
                  <a:pt x="142" y="100"/>
                </a:cubicBezTo>
                <a:cubicBezTo>
                  <a:pt x="141" y="100"/>
                  <a:pt x="141" y="100"/>
                  <a:pt x="141" y="100"/>
                </a:cubicBezTo>
                <a:cubicBezTo>
                  <a:pt x="140" y="99"/>
                  <a:pt x="140" y="99"/>
                  <a:pt x="140" y="99"/>
                </a:cubicBezTo>
                <a:cubicBezTo>
                  <a:pt x="139" y="98"/>
                  <a:pt x="139" y="98"/>
                  <a:pt x="139" y="98"/>
                </a:cubicBezTo>
                <a:cubicBezTo>
                  <a:pt x="138" y="98"/>
                  <a:pt x="138" y="98"/>
                  <a:pt x="138" y="98"/>
                </a:cubicBezTo>
                <a:cubicBezTo>
                  <a:pt x="137" y="98"/>
                  <a:pt x="137" y="98"/>
                  <a:pt x="137" y="98"/>
                </a:cubicBezTo>
                <a:cubicBezTo>
                  <a:pt x="136" y="98"/>
                  <a:pt x="136" y="98"/>
                  <a:pt x="136" y="98"/>
                </a:cubicBezTo>
                <a:cubicBezTo>
                  <a:pt x="135" y="99"/>
                  <a:pt x="135" y="99"/>
                  <a:pt x="135" y="99"/>
                </a:cubicBezTo>
                <a:cubicBezTo>
                  <a:pt x="135" y="99"/>
                  <a:pt x="134" y="100"/>
                  <a:pt x="134" y="100"/>
                </a:cubicBezTo>
                <a:close/>
                <a:moveTo>
                  <a:pt x="130" y="98"/>
                </a:moveTo>
                <a:cubicBezTo>
                  <a:pt x="131" y="97"/>
                  <a:pt x="131" y="97"/>
                  <a:pt x="131" y="97"/>
                </a:cubicBezTo>
                <a:cubicBezTo>
                  <a:pt x="133" y="98"/>
                  <a:pt x="133" y="98"/>
                  <a:pt x="133" y="98"/>
                </a:cubicBezTo>
                <a:cubicBezTo>
                  <a:pt x="133" y="99"/>
                  <a:pt x="133" y="99"/>
                  <a:pt x="133" y="99"/>
                </a:cubicBezTo>
                <a:cubicBezTo>
                  <a:pt x="132" y="100"/>
                  <a:pt x="132" y="100"/>
                  <a:pt x="132" y="100"/>
                </a:cubicBezTo>
                <a:cubicBezTo>
                  <a:pt x="133" y="101"/>
                  <a:pt x="133" y="101"/>
                  <a:pt x="133" y="101"/>
                </a:cubicBezTo>
                <a:cubicBezTo>
                  <a:pt x="132" y="101"/>
                  <a:pt x="132" y="101"/>
                  <a:pt x="132" y="101"/>
                </a:cubicBezTo>
                <a:cubicBezTo>
                  <a:pt x="131" y="101"/>
                  <a:pt x="131" y="101"/>
                  <a:pt x="131" y="101"/>
                </a:cubicBezTo>
                <a:cubicBezTo>
                  <a:pt x="129" y="101"/>
                  <a:pt x="129" y="101"/>
                  <a:pt x="129" y="101"/>
                </a:cubicBezTo>
                <a:cubicBezTo>
                  <a:pt x="128" y="100"/>
                  <a:pt x="128" y="100"/>
                  <a:pt x="128" y="100"/>
                </a:cubicBezTo>
                <a:cubicBezTo>
                  <a:pt x="129" y="100"/>
                  <a:pt x="129" y="100"/>
                  <a:pt x="129" y="100"/>
                </a:cubicBezTo>
                <a:cubicBezTo>
                  <a:pt x="130" y="100"/>
                  <a:pt x="130" y="100"/>
                  <a:pt x="130" y="100"/>
                </a:cubicBezTo>
                <a:cubicBezTo>
                  <a:pt x="130" y="98"/>
                  <a:pt x="130" y="98"/>
                  <a:pt x="130" y="98"/>
                </a:cubicBezTo>
                <a:close/>
                <a:moveTo>
                  <a:pt x="126" y="100"/>
                </a:moveTo>
                <a:cubicBezTo>
                  <a:pt x="127" y="99"/>
                  <a:pt x="127" y="99"/>
                  <a:pt x="127" y="99"/>
                </a:cubicBezTo>
                <a:cubicBezTo>
                  <a:pt x="127" y="100"/>
                  <a:pt x="127" y="100"/>
                  <a:pt x="127" y="100"/>
                </a:cubicBezTo>
                <a:cubicBezTo>
                  <a:pt x="126" y="100"/>
                  <a:pt x="126" y="100"/>
                  <a:pt x="126" y="100"/>
                </a:cubicBezTo>
                <a:cubicBezTo>
                  <a:pt x="126" y="100"/>
                  <a:pt x="126" y="100"/>
                  <a:pt x="126" y="100"/>
                </a:cubicBezTo>
                <a:close/>
                <a:moveTo>
                  <a:pt x="120" y="96"/>
                </a:moveTo>
                <a:cubicBezTo>
                  <a:pt x="120" y="97"/>
                  <a:pt x="120" y="97"/>
                  <a:pt x="120" y="97"/>
                </a:cubicBezTo>
                <a:cubicBezTo>
                  <a:pt x="121" y="98"/>
                  <a:pt x="121" y="98"/>
                  <a:pt x="121" y="98"/>
                </a:cubicBezTo>
                <a:cubicBezTo>
                  <a:pt x="122" y="98"/>
                  <a:pt x="122" y="98"/>
                  <a:pt x="122" y="98"/>
                </a:cubicBezTo>
                <a:cubicBezTo>
                  <a:pt x="124" y="99"/>
                  <a:pt x="124" y="99"/>
                  <a:pt x="124" y="99"/>
                </a:cubicBezTo>
                <a:cubicBezTo>
                  <a:pt x="124" y="100"/>
                  <a:pt x="124" y="100"/>
                  <a:pt x="124" y="100"/>
                </a:cubicBezTo>
                <a:cubicBezTo>
                  <a:pt x="125" y="99"/>
                  <a:pt x="125" y="99"/>
                  <a:pt x="125" y="99"/>
                </a:cubicBezTo>
                <a:cubicBezTo>
                  <a:pt x="126" y="99"/>
                  <a:pt x="126" y="99"/>
                  <a:pt x="126" y="99"/>
                </a:cubicBezTo>
                <a:cubicBezTo>
                  <a:pt x="126" y="98"/>
                  <a:pt x="126" y="98"/>
                  <a:pt x="126" y="98"/>
                </a:cubicBezTo>
                <a:cubicBezTo>
                  <a:pt x="127" y="98"/>
                  <a:pt x="127" y="98"/>
                  <a:pt x="127" y="98"/>
                </a:cubicBezTo>
                <a:cubicBezTo>
                  <a:pt x="128" y="98"/>
                  <a:pt x="128" y="98"/>
                  <a:pt x="128" y="98"/>
                </a:cubicBezTo>
                <a:cubicBezTo>
                  <a:pt x="126" y="96"/>
                  <a:pt x="126" y="96"/>
                  <a:pt x="126" y="96"/>
                </a:cubicBezTo>
                <a:cubicBezTo>
                  <a:pt x="125" y="96"/>
                  <a:pt x="125" y="96"/>
                  <a:pt x="125" y="96"/>
                </a:cubicBezTo>
                <a:cubicBezTo>
                  <a:pt x="123" y="96"/>
                  <a:pt x="123" y="96"/>
                  <a:pt x="123" y="96"/>
                </a:cubicBezTo>
                <a:cubicBezTo>
                  <a:pt x="121" y="96"/>
                  <a:pt x="121" y="96"/>
                  <a:pt x="121" y="96"/>
                </a:cubicBezTo>
                <a:cubicBezTo>
                  <a:pt x="120" y="96"/>
                  <a:pt x="120" y="96"/>
                  <a:pt x="120" y="96"/>
                </a:cubicBezTo>
                <a:close/>
                <a:moveTo>
                  <a:pt x="273" y="97"/>
                </a:moveTo>
                <a:cubicBezTo>
                  <a:pt x="273" y="97"/>
                  <a:pt x="273" y="97"/>
                  <a:pt x="273" y="97"/>
                </a:cubicBezTo>
                <a:cubicBezTo>
                  <a:pt x="274" y="98"/>
                  <a:pt x="274" y="98"/>
                  <a:pt x="274" y="98"/>
                </a:cubicBezTo>
                <a:cubicBezTo>
                  <a:pt x="275" y="97"/>
                  <a:pt x="275" y="97"/>
                  <a:pt x="275" y="97"/>
                </a:cubicBezTo>
                <a:cubicBezTo>
                  <a:pt x="274" y="96"/>
                  <a:pt x="274" y="96"/>
                  <a:pt x="274" y="96"/>
                </a:cubicBezTo>
                <a:cubicBezTo>
                  <a:pt x="274" y="96"/>
                  <a:pt x="274" y="96"/>
                  <a:pt x="274" y="96"/>
                </a:cubicBezTo>
                <a:cubicBezTo>
                  <a:pt x="273" y="96"/>
                  <a:pt x="273" y="96"/>
                  <a:pt x="273" y="96"/>
                </a:cubicBezTo>
                <a:cubicBezTo>
                  <a:pt x="273" y="97"/>
                  <a:pt x="273" y="97"/>
                  <a:pt x="273" y="97"/>
                </a:cubicBezTo>
                <a:close/>
                <a:moveTo>
                  <a:pt x="266" y="97"/>
                </a:moveTo>
                <a:cubicBezTo>
                  <a:pt x="266" y="97"/>
                  <a:pt x="268" y="97"/>
                  <a:pt x="268" y="97"/>
                </a:cubicBezTo>
                <a:cubicBezTo>
                  <a:pt x="269" y="97"/>
                  <a:pt x="269" y="97"/>
                  <a:pt x="269" y="97"/>
                </a:cubicBezTo>
                <a:cubicBezTo>
                  <a:pt x="271" y="97"/>
                  <a:pt x="271" y="97"/>
                  <a:pt x="271" y="97"/>
                </a:cubicBezTo>
                <a:cubicBezTo>
                  <a:pt x="272" y="97"/>
                  <a:pt x="272" y="97"/>
                  <a:pt x="272" y="97"/>
                </a:cubicBezTo>
                <a:cubicBezTo>
                  <a:pt x="273" y="96"/>
                  <a:pt x="273" y="96"/>
                  <a:pt x="273" y="96"/>
                </a:cubicBezTo>
                <a:cubicBezTo>
                  <a:pt x="274" y="95"/>
                  <a:pt x="274" y="95"/>
                  <a:pt x="274" y="95"/>
                </a:cubicBezTo>
                <a:cubicBezTo>
                  <a:pt x="274" y="95"/>
                  <a:pt x="274" y="95"/>
                  <a:pt x="274" y="95"/>
                </a:cubicBezTo>
                <a:cubicBezTo>
                  <a:pt x="274" y="94"/>
                  <a:pt x="274" y="94"/>
                  <a:pt x="274" y="94"/>
                </a:cubicBezTo>
                <a:cubicBezTo>
                  <a:pt x="275" y="94"/>
                  <a:pt x="275" y="94"/>
                  <a:pt x="275" y="94"/>
                </a:cubicBezTo>
                <a:cubicBezTo>
                  <a:pt x="275" y="93"/>
                  <a:pt x="275" y="93"/>
                  <a:pt x="275" y="93"/>
                </a:cubicBezTo>
                <a:cubicBezTo>
                  <a:pt x="275" y="92"/>
                  <a:pt x="275" y="92"/>
                  <a:pt x="275" y="92"/>
                </a:cubicBezTo>
                <a:cubicBezTo>
                  <a:pt x="274" y="91"/>
                  <a:pt x="274" y="91"/>
                  <a:pt x="274" y="91"/>
                </a:cubicBezTo>
                <a:cubicBezTo>
                  <a:pt x="274" y="91"/>
                  <a:pt x="274" y="91"/>
                  <a:pt x="274" y="91"/>
                </a:cubicBezTo>
                <a:cubicBezTo>
                  <a:pt x="272" y="91"/>
                  <a:pt x="272" y="91"/>
                  <a:pt x="272" y="91"/>
                </a:cubicBezTo>
                <a:cubicBezTo>
                  <a:pt x="270" y="92"/>
                  <a:pt x="270" y="92"/>
                  <a:pt x="270" y="92"/>
                </a:cubicBezTo>
                <a:cubicBezTo>
                  <a:pt x="270" y="93"/>
                  <a:pt x="270" y="93"/>
                  <a:pt x="270" y="93"/>
                </a:cubicBezTo>
                <a:cubicBezTo>
                  <a:pt x="269" y="95"/>
                  <a:pt x="269" y="95"/>
                  <a:pt x="269" y="95"/>
                </a:cubicBezTo>
                <a:cubicBezTo>
                  <a:pt x="266" y="97"/>
                  <a:pt x="266" y="97"/>
                  <a:pt x="266" y="97"/>
                </a:cubicBezTo>
                <a:close/>
                <a:moveTo>
                  <a:pt x="110" y="88"/>
                </a:moveTo>
                <a:cubicBezTo>
                  <a:pt x="110" y="89"/>
                  <a:pt x="110" y="89"/>
                  <a:pt x="110" y="89"/>
                </a:cubicBezTo>
                <a:cubicBezTo>
                  <a:pt x="111" y="90"/>
                  <a:pt x="111" y="90"/>
                  <a:pt x="111" y="90"/>
                </a:cubicBezTo>
                <a:cubicBezTo>
                  <a:pt x="112" y="90"/>
                  <a:pt x="112" y="90"/>
                  <a:pt x="112" y="90"/>
                </a:cubicBezTo>
                <a:cubicBezTo>
                  <a:pt x="113" y="90"/>
                  <a:pt x="113" y="90"/>
                  <a:pt x="113" y="90"/>
                </a:cubicBezTo>
                <a:cubicBezTo>
                  <a:pt x="115" y="90"/>
                  <a:pt x="115" y="90"/>
                  <a:pt x="115" y="90"/>
                </a:cubicBezTo>
                <a:cubicBezTo>
                  <a:pt x="116" y="90"/>
                  <a:pt x="116" y="90"/>
                  <a:pt x="116" y="90"/>
                </a:cubicBezTo>
                <a:cubicBezTo>
                  <a:pt x="117" y="89"/>
                  <a:pt x="117" y="89"/>
                  <a:pt x="117" y="89"/>
                </a:cubicBezTo>
                <a:cubicBezTo>
                  <a:pt x="118" y="89"/>
                  <a:pt x="118" y="89"/>
                  <a:pt x="118" y="89"/>
                </a:cubicBezTo>
                <a:cubicBezTo>
                  <a:pt x="117" y="88"/>
                  <a:pt x="117" y="88"/>
                  <a:pt x="117" y="88"/>
                </a:cubicBezTo>
                <a:cubicBezTo>
                  <a:pt x="115" y="89"/>
                  <a:pt x="115" y="89"/>
                  <a:pt x="115" y="89"/>
                </a:cubicBezTo>
                <a:cubicBezTo>
                  <a:pt x="114" y="88"/>
                  <a:pt x="114" y="88"/>
                  <a:pt x="114" y="88"/>
                </a:cubicBezTo>
                <a:cubicBezTo>
                  <a:pt x="111" y="88"/>
                  <a:pt x="111" y="88"/>
                  <a:pt x="111" y="88"/>
                </a:cubicBezTo>
                <a:cubicBezTo>
                  <a:pt x="110" y="88"/>
                  <a:pt x="110" y="88"/>
                  <a:pt x="110" y="88"/>
                </a:cubicBezTo>
                <a:close/>
                <a:moveTo>
                  <a:pt x="63" y="86"/>
                </a:moveTo>
                <a:cubicBezTo>
                  <a:pt x="63" y="86"/>
                  <a:pt x="63" y="86"/>
                  <a:pt x="63" y="86"/>
                </a:cubicBezTo>
                <a:cubicBezTo>
                  <a:pt x="64" y="86"/>
                  <a:pt x="64" y="86"/>
                  <a:pt x="64" y="86"/>
                </a:cubicBezTo>
                <a:cubicBezTo>
                  <a:pt x="64" y="86"/>
                  <a:pt x="64" y="86"/>
                  <a:pt x="64" y="86"/>
                </a:cubicBezTo>
                <a:cubicBezTo>
                  <a:pt x="63" y="86"/>
                  <a:pt x="63" y="86"/>
                  <a:pt x="63" y="86"/>
                </a:cubicBezTo>
                <a:close/>
                <a:moveTo>
                  <a:pt x="64" y="87"/>
                </a:moveTo>
                <a:cubicBezTo>
                  <a:pt x="65" y="87"/>
                  <a:pt x="65" y="87"/>
                  <a:pt x="65" y="87"/>
                </a:cubicBezTo>
                <a:cubicBezTo>
                  <a:pt x="65" y="87"/>
                  <a:pt x="65" y="87"/>
                  <a:pt x="65" y="87"/>
                </a:cubicBezTo>
                <a:cubicBezTo>
                  <a:pt x="66" y="85"/>
                  <a:pt x="66" y="85"/>
                  <a:pt x="66" y="85"/>
                </a:cubicBezTo>
                <a:cubicBezTo>
                  <a:pt x="67" y="85"/>
                  <a:pt x="67" y="85"/>
                  <a:pt x="67" y="85"/>
                </a:cubicBezTo>
                <a:cubicBezTo>
                  <a:pt x="68" y="84"/>
                  <a:pt x="68" y="84"/>
                  <a:pt x="68" y="84"/>
                </a:cubicBezTo>
                <a:cubicBezTo>
                  <a:pt x="67" y="83"/>
                  <a:pt x="67" y="83"/>
                  <a:pt x="67" y="83"/>
                </a:cubicBezTo>
                <a:cubicBezTo>
                  <a:pt x="69" y="81"/>
                  <a:pt x="69" y="81"/>
                  <a:pt x="69" y="81"/>
                </a:cubicBezTo>
                <a:cubicBezTo>
                  <a:pt x="69" y="82"/>
                  <a:pt x="69" y="82"/>
                  <a:pt x="69" y="82"/>
                </a:cubicBezTo>
                <a:cubicBezTo>
                  <a:pt x="71" y="82"/>
                  <a:pt x="71" y="82"/>
                  <a:pt x="71" y="82"/>
                </a:cubicBezTo>
                <a:cubicBezTo>
                  <a:pt x="73" y="82"/>
                  <a:pt x="73" y="82"/>
                  <a:pt x="73" y="82"/>
                </a:cubicBezTo>
                <a:cubicBezTo>
                  <a:pt x="74" y="83"/>
                  <a:pt x="74" y="83"/>
                  <a:pt x="74" y="83"/>
                </a:cubicBezTo>
                <a:cubicBezTo>
                  <a:pt x="74" y="82"/>
                  <a:pt x="74" y="82"/>
                  <a:pt x="74" y="82"/>
                </a:cubicBezTo>
                <a:cubicBezTo>
                  <a:pt x="75" y="82"/>
                  <a:pt x="75" y="82"/>
                  <a:pt x="75" y="82"/>
                </a:cubicBezTo>
                <a:cubicBezTo>
                  <a:pt x="77" y="82"/>
                  <a:pt x="77" y="82"/>
                  <a:pt x="77" y="82"/>
                </a:cubicBezTo>
                <a:cubicBezTo>
                  <a:pt x="78" y="83"/>
                  <a:pt x="78" y="83"/>
                  <a:pt x="78" y="83"/>
                </a:cubicBezTo>
                <a:cubicBezTo>
                  <a:pt x="80" y="83"/>
                  <a:pt x="80" y="83"/>
                  <a:pt x="80" y="83"/>
                </a:cubicBezTo>
                <a:cubicBezTo>
                  <a:pt x="83" y="84"/>
                  <a:pt x="83" y="84"/>
                  <a:pt x="83" y="84"/>
                </a:cubicBezTo>
                <a:cubicBezTo>
                  <a:pt x="84" y="85"/>
                  <a:pt x="84" y="85"/>
                  <a:pt x="84" y="85"/>
                </a:cubicBezTo>
                <a:cubicBezTo>
                  <a:pt x="83" y="86"/>
                  <a:pt x="83" y="86"/>
                  <a:pt x="83" y="86"/>
                </a:cubicBezTo>
                <a:cubicBezTo>
                  <a:pt x="84" y="87"/>
                  <a:pt x="84" y="87"/>
                  <a:pt x="84" y="87"/>
                </a:cubicBezTo>
                <a:cubicBezTo>
                  <a:pt x="86" y="88"/>
                  <a:pt x="86" y="88"/>
                  <a:pt x="86" y="88"/>
                </a:cubicBezTo>
                <a:cubicBezTo>
                  <a:pt x="90" y="88"/>
                  <a:pt x="90" y="88"/>
                  <a:pt x="90" y="88"/>
                </a:cubicBezTo>
                <a:cubicBezTo>
                  <a:pt x="93" y="88"/>
                  <a:pt x="93" y="88"/>
                  <a:pt x="93" y="88"/>
                </a:cubicBezTo>
                <a:cubicBezTo>
                  <a:pt x="96" y="88"/>
                  <a:pt x="96" y="88"/>
                  <a:pt x="96" y="88"/>
                </a:cubicBezTo>
                <a:cubicBezTo>
                  <a:pt x="97" y="87"/>
                  <a:pt x="97" y="87"/>
                  <a:pt x="97" y="87"/>
                </a:cubicBezTo>
                <a:cubicBezTo>
                  <a:pt x="97" y="84"/>
                  <a:pt x="97" y="84"/>
                  <a:pt x="97" y="84"/>
                </a:cubicBezTo>
                <a:cubicBezTo>
                  <a:pt x="98" y="84"/>
                  <a:pt x="98" y="84"/>
                  <a:pt x="98" y="84"/>
                </a:cubicBezTo>
                <a:cubicBezTo>
                  <a:pt x="100" y="86"/>
                  <a:pt x="100" y="86"/>
                  <a:pt x="100" y="86"/>
                </a:cubicBezTo>
                <a:cubicBezTo>
                  <a:pt x="101" y="86"/>
                  <a:pt x="101" y="86"/>
                  <a:pt x="101" y="86"/>
                </a:cubicBezTo>
                <a:cubicBezTo>
                  <a:pt x="102" y="86"/>
                  <a:pt x="102" y="86"/>
                  <a:pt x="102" y="86"/>
                </a:cubicBezTo>
                <a:cubicBezTo>
                  <a:pt x="103" y="86"/>
                  <a:pt x="103" y="86"/>
                  <a:pt x="103" y="86"/>
                </a:cubicBezTo>
                <a:cubicBezTo>
                  <a:pt x="104" y="87"/>
                  <a:pt x="104" y="87"/>
                  <a:pt x="104" y="87"/>
                </a:cubicBezTo>
                <a:cubicBezTo>
                  <a:pt x="105" y="87"/>
                  <a:pt x="105" y="87"/>
                  <a:pt x="105" y="87"/>
                </a:cubicBezTo>
                <a:cubicBezTo>
                  <a:pt x="106" y="88"/>
                  <a:pt x="106" y="88"/>
                  <a:pt x="106" y="88"/>
                </a:cubicBezTo>
                <a:cubicBezTo>
                  <a:pt x="107" y="88"/>
                  <a:pt x="107" y="88"/>
                  <a:pt x="107" y="88"/>
                </a:cubicBezTo>
                <a:cubicBezTo>
                  <a:pt x="109" y="88"/>
                  <a:pt x="109" y="88"/>
                  <a:pt x="109" y="88"/>
                </a:cubicBezTo>
                <a:cubicBezTo>
                  <a:pt x="109" y="89"/>
                  <a:pt x="109" y="89"/>
                  <a:pt x="109" y="89"/>
                </a:cubicBezTo>
                <a:cubicBezTo>
                  <a:pt x="110" y="91"/>
                  <a:pt x="110" y="91"/>
                  <a:pt x="110" y="91"/>
                </a:cubicBezTo>
                <a:cubicBezTo>
                  <a:pt x="110" y="92"/>
                  <a:pt x="110" y="92"/>
                  <a:pt x="110" y="92"/>
                </a:cubicBezTo>
                <a:cubicBezTo>
                  <a:pt x="111" y="93"/>
                  <a:pt x="111" y="93"/>
                  <a:pt x="111" y="93"/>
                </a:cubicBezTo>
                <a:cubicBezTo>
                  <a:pt x="112" y="94"/>
                  <a:pt x="112" y="94"/>
                  <a:pt x="112" y="94"/>
                </a:cubicBezTo>
                <a:cubicBezTo>
                  <a:pt x="114" y="93"/>
                  <a:pt x="114" y="93"/>
                  <a:pt x="114" y="93"/>
                </a:cubicBezTo>
                <a:cubicBezTo>
                  <a:pt x="115" y="94"/>
                  <a:pt x="115" y="94"/>
                  <a:pt x="115" y="94"/>
                </a:cubicBezTo>
                <a:cubicBezTo>
                  <a:pt x="116" y="94"/>
                  <a:pt x="116" y="94"/>
                  <a:pt x="116" y="94"/>
                </a:cubicBezTo>
                <a:cubicBezTo>
                  <a:pt x="116" y="93"/>
                  <a:pt x="116" y="93"/>
                  <a:pt x="116" y="93"/>
                </a:cubicBezTo>
                <a:cubicBezTo>
                  <a:pt x="118" y="93"/>
                  <a:pt x="118" y="93"/>
                  <a:pt x="118" y="93"/>
                </a:cubicBezTo>
                <a:cubicBezTo>
                  <a:pt x="118" y="94"/>
                  <a:pt x="118" y="94"/>
                  <a:pt x="118" y="94"/>
                </a:cubicBezTo>
                <a:cubicBezTo>
                  <a:pt x="119" y="94"/>
                  <a:pt x="119" y="94"/>
                  <a:pt x="119" y="94"/>
                </a:cubicBezTo>
                <a:cubicBezTo>
                  <a:pt x="120" y="94"/>
                  <a:pt x="120" y="94"/>
                  <a:pt x="120" y="94"/>
                </a:cubicBezTo>
                <a:cubicBezTo>
                  <a:pt x="119" y="97"/>
                  <a:pt x="119" y="97"/>
                  <a:pt x="119" y="97"/>
                </a:cubicBezTo>
                <a:cubicBezTo>
                  <a:pt x="119" y="98"/>
                  <a:pt x="119" y="98"/>
                  <a:pt x="119" y="98"/>
                </a:cubicBezTo>
                <a:cubicBezTo>
                  <a:pt x="119" y="98"/>
                  <a:pt x="119" y="98"/>
                  <a:pt x="119" y="98"/>
                </a:cubicBezTo>
                <a:cubicBezTo>
                  <a:pt x="120" y="100"/>
                  <a:pt x="120" y="100"/>
                  <a:pt x="120" y="100"/>
                </a:cubicBezTo>
                <a:cubicBezTo>
                  <a:pt x="119" y="101"/>
                  <a:pt x="119" y="101"/>
                  <a:pt x="119" y="101"/>
                </a:cubicBezTo>
                <a:cubicBezTo>
                  <a:pt x="118" y="100"/>
                  <a:pt x="118" y="100"/>
                  <a:pt x="118" y="100"/>
                </a:cubicBezTo>
                <a:cubicBezTo>
                  <a:pt x="117" y="100"/>
                  <a:pt x="117" y="100"/>
                  <a:pt x="117" y="100"/>
                </a:cubicBezTo>
                <a:cubicBezTo>
                  <a:pt x="115" y="98"/>
                  <a:pt x="115" y="98"/>
                  <a:pt x="115" y="98"/>
                </a:cubicBezTo>
                <a:cubicBezTo>
                  <a:pt x="114" y="98"/>
                  <a:pt x="114" y="98"/>
                  <a:pt x="114" y="98"/>
                </a:cubicBezTo>
                <a:cubicBezTo>
                  <a:pt x="112" y="97"/>
                  <a:pt x="112" y="97"/>
                  <a:pt x="112" y="97"/>
                </a:cubicBezTo>
                <a:cubicBezTo>
                  <a:pt x="112" y="97"/>
                  <a:pt x="112" y="97"/>
                  <a:pt x="112" y="97"/>
                </a:cubicBezTo>
                <a:cubicBezTo>
                  <a:pt x="110" y="98"/>
                  <a:pt x="110" y="98"/>
                  <a:pt x="110" y="98"/>
                </a:cubicBezTo>
                <a:cubicBezTo>
                  <a:pt x="108" y="98"/>
                  <a:pt x="108" y="98"/>
                  <a:pt x="108" y="98"/>
                </a:cubicBezTo>
                <a:cubicBezTo>
                  <a:pt x="106" y="97"/>
                  <a:pt x="106" y="97"/>
                  <a:pt x="106" y="97"/>
                </a:cubicBezTo>
                <a:cubicBezTo>
                  <a:pt x="104" y="97"/>
                  <a:pt x="104" y="97"/>
                  <a:pt x="104" y="97"/>
                </a:cubicBezTo>
                <a:cubicBezTo>
                  <a:pt x="103" y="98"/>
                  <a:pt x="103" y="98"/>
                  <a:pt x="103" y="98"/>
                </a:cubicBezTo>
                <a:cubicBezTo>
                  <a:pt x="101" y="97"/>
                  <a:pt x="101" y="97"/>
                  <a:pt x="101" y="97"/>
                </a:cubicBezTo>
                <a:cubicBezTo>
                  <a:pt x="99" y="97"/>
                  <a:pt x="99" y="97"/>
                  <a:pt x="99" y="97"/>
                </a:cubicBezTo>
                <a:cubicBezTo>
                  <a:pt x="98" y="97"/>
                  <a:pt x="98" y="97"/>
                  <a:pt x="98" y="97"/>
                </a:cubicBezTo>
                <a:cubicBezTo>
                  <a:pt x="95" y="96"/>
                  <a:pt x="95" y="96"/>
                  <a:pt x="95" y="96"/>
                </a:cubicBezTo>
                <a:cubicBezTo>
                  <a:pt x="92" y="94"/>
                  <a:pt x="92" y="94"/>
                  <a:pt x="92" y="94"/>
                </a:cubicBezTo>
                <a:cubicBezTo>
                  <a:pt x="90" y="94"/>
                  <a:pt x="90" y="94"/>
                  <a:pt x="90" y="94"/>
                </a:cubicBezTo>
                <a:cubicBezTo>
                  <a:pt x="88" y="93"/>
                  <a:pt x="88" y="93"/>
                  <a:pt x="88" y="93"/>
                </a:cubicBezTo>
                <a:cubicBezTo>
                  <a:pt x="87" y="93"/>
                  <a:pt x="87" y="93"/>
                  <a:pt x="87" y="93"/>
                </a:cubicBezTo>
                <a:cubicBezTo>
                  <a:pt x="86" y="94"/>
                  <a:pt x="86" y="94"/>
                  <a:pt x="86" y="94"/>
                </a:cubicBezTo>
                <a:cubicBezTo>
                  <a:pt x="85" y="94"/>
                  <a:pt x="85" y="94"/>
                  <a:pt x="85" y="94"/>
                </a:cubicBezTo>
                <a:cubicBezTo>
                  <a:pt x="84" y="93"/>
                  <a:pt x="84" y="93"/>
                  <a:pt x="84" y="93"/>
                </a:cubicBezTo>
                <a:cubicBezTo>
                  <a:pt x="83" y="93"/>
                  <a:pt x="83" y="93"/>
                  <a:pt x="83" y="93"/>
                </a:cubicBezTo>
                <a:cubicBezTo>
                  <a:pt x="82" y="94"/>
                  <a:pt x="82" y="94"/>
                  <a:pt x="82" y="94"/>
                </a:cubicBezTo>
                <a:cubicBezTo>
                  <a:pt x="80" y="93"/>
                  <a:pt x="80" y="93"/>
                  <a:pt x="80" y="93"/>
                </a:cubicBezTo>
                <a:cubicBezTo>
                  <a:pt x="78" y="92"/>
                  <a:pt x="78" y="92"/>
                  <a:pt x="78" y="92"/>
                </a:cubicBezTo>
                <a:cubicBezTo>
                  <a:pt x="76" y="92"/>
                  <a:pt x="76" y="92"/>
                  <a:pt x="76" y="92"/>
                </a:cubicBezTo>
                <a:cubicBezTo>
                  <a:pt x="75" y="91"/>
                  <a:pt x="75" y="91"/>
                  <a:pt x="75" y="91"/>
                </a:cubicBezTo>
                <a:cubicBezTo>
                  <a:pt x="74" y="92"/>
                  <a:pt x="74" y="92"/>
                  <a:pt x="74" y="92"/>
                </a:cubicBezTo>
                <a:cubicBezTo>
                  <a:pt x="72" y="92"/>
                  <a:pt x="72" y="92"/>
                  <a:pt x="72" y="92"/>
                </a:cubicBezTo>
                <a:cubicBezTo>
                  <a:pt x="71" y="91"/>
                  <a:pt x="71" y="91"/>
                  <a:pt x="71" y="91"/>
                </a:cubicBezTo>
                <a:cubicBezTo>
                  <a:pt x="70" y="91"/>
                  <a:pt x="70" y="91"/>
                  <a:pt x="70" y="91"/>
                </a:cubicBezTo>
                <a:cubicBezTo>
                  <a:pt x="71" y="89"/>
                  <a:pt x="71" y="89"/>
                  <a:pt x="71" y="89"/>
                </a:cubicBezTo>
                <a:cubicBezTo>
                  <a:pt x="71" y="89"/>
                  <a:pt x="71" y="89"/>
                  <a:pt x="71" y="89"/>
                </a:cubicBezTo>
                <a:cubicBezTo>
                  <a:pt x="71" y="89"/>
                  <a:pt x="71" y="89"/>
                  <a:pt x="71" y="89"/>
                </a:cubicBezTo>
                <a:cubicBezTo>
                  <a:pt x="70" y="89"/>
                  <a:pt x="70" y="89"/>
                  <a:pt x="70" y="89"/>
                </a:cubicBezTo>
                <a:cubicBezTo>
                  <a:pt x="69" y="88"/>
                  <a:pt x="69" y="88"/>
                  <a:pt x="69" y="88"/>
                </a:cubicBezTo>
                <a:cubicBezTo>
                  <a:pt x="68" y="87"/>
                  <a:pt x="68" y="87"/>
                  <a:pt x="68" y="87"/>
                </a:cubicBezTo>
                <a:cubicBezTo>
                  <a:pt x="67" y="88"/>
                  <a:pt x="67" y="88"/>
                  <a:pt x="67" y="88"/>
                </a:cubicBezTo>
                <a:cubicBezTo>
                  <a:pt x="64" y="88"/>
                  <a:pt x="64" y="88"/>
                  <a:pt x="64" y="88"/>
                </a:cubicBezTo>
                <a:cubicBezTo>
                  <a:pt x="64" y="87"/>
                  <a:pt x="64" y="87"/>
                  <a:pt x="64" y="87"/>
                </a:cubicBezTo>
                <a:cubicBezTo>
                  <a:pt x="64" y="87"/>
                  <a:pt x="64" y="87"/>
                  <a:pt x="64" y="87"/>
                </a:cubicBezTo>
                <a:cubicBezTo>
                  <a:pt x="64" y="87"/>
                  <a:pt x="64" y="87"/>
                  <a:pt x="64" y="87"/>
                </a:cubicBezTo>
                <a:close/>
                <a:moveTo>
                  <a:pt x="80" y="16"/>
                </a:moveTo>
                <a:cubicBezTo>
                  <a:pt x="82" y="17"/>
                  <a:pt x="82" y="17"/>
                  <a:pt x="82" y="17"/>
                </a:cubicBezTo>
                <a:cubicBezTo>
                  <a:pt x="82" y="17"/>
                  <a:pt x="82" y="17"/>
                  <a:pt x="82" y="17"/>
                </a:cubicBezTo>
                <a:cubicBezTo>
                  <a:pt x="82" y="18"/>
                  <a:pt x="82" y="18"/>
                  <a:pt x="82" y="18"/>
                </a:cubicBezTo>
                <a:cubicBezTo>
                  <a:pt x="83" y="18"/>
                  <a:pt x="83" y="18"/>
                  <a:pt x="83" y="18"/>
                </a:cubicBezTo>
                <a:cubicBezTo>
                  <a:pt x="83" y="16"/>
                  <a:pt x="83" y="16"/>
                  <a:pt x="83" y="16"/>
                </a:cubicBezTo>
                <a:cubicBezTo>
                  <a:pt x="82" y="14"/>
                  <a:pt x="82" y="14"/>
                  <a:pt x="82" y="14"/>
                </a:cubicBezTo>
                <a:cubicBezTo>
                  <a:pt x="81" y="15"/>
                  <a:pt x="81" y="15"/>
                  <a:pt x="81" y="15"/>
                </a:cubicBezTo>
                <a:cubicBezTo>
                  <a:pt x="80" y="16"/>
                  <a:pt x="80" y="16"/>
                  <a:pt x="80" y="16"/>
                </a:cubicBezTo>
                <a:close/>
                <a:moveTo>
                  <a:pt x="70" y="24"/>
                </a:moveTo>
                <a:cubicBezTo>
                  <a:pt x="70" y="25"/>
                  <a:pt x="70" y="25"/>
                  <a:pt x="70" y="25"/>
                </a:cubicBezTo>
                <a:cubicBezTo>
                  <a:pt x="71" y="24"/>
                  <a:pt x="71" y="24"/>
                  <a:pt x="71" y="24"/>
                </a:cubicBezTo>
                <a:cubicBezTo>
                  <a:pt x="70" y="24"/>
                  <a:pt x="70" y="24"/>
                  <a:pt x="70" y="24"/>
                </a:cubicBezTo>
                <a:close/>
                <a:moveTo>
                  <a:pt x="70" y="21"/>
                </a:moveTo>
                <a:cubicBezTo>
                  <a:pt x="71" y="20"/>
                  <a:pt x="71" y="20"/>
                  <a:pt x="71" y="20"/>
                </a:cubicBezTo>
                <a:cubicBezTo>
                  <a:pt x="70" y="20"/>
                  <a:pt x="70" y="20"/>
                  <a:pt x="70" y="20"/>
                </a:cubicBezTo>
                <a:cubicBezTo>
                  <a:pt x="70" y="21"/>
                  <a:pt x="70" y="21"/>
                  <a:pt x="70" y="21"/>
                </a:cubicBezTo>
                <a:close/>
                <a:moveTo>
                  <a:pt x="70" y="22"/>
                </a:moveTo>
                <a:cubicBezTo>
                  <a:pt x="70" y="22"/>
                  <a:pt x="70" y="22"/>
                  <a:pt x="70" y="22"/>
                </a:cubicBezTo>
                <a:cubicBezTo>
                  <a:pt x="70" y="22"/>
                  <a:pt x="70" y="22"/>
                  <a:pt x="70" y="22"/>
                </a:cubicBezTo>
                <a:cubicBezTo>
                  <a:pt x="70" y="22"/>
                  <a:pt x="70" y="22"/>
                  <a:pt x="70" y="22"/>
                </a:cubicBezTo>
                <a:close/>
                <a:moveTo>
                  <a:pt x="66" y="23"/>
                </a:moveTo>
                <a:cubicBezTo>
                  <a:pt x="66" y="24"/>
                  <a:pt x="66" y="24"/>
                  <a:pt x="66" y="24"/>
                </a:cubicBezTo>
                <a:cubicBezTo>
                  <a:pt x="67" y="24"/>
                  <a:pt x="67" y="24"/>
                  <a:pt x="67" y="24"/>
                </a:cubicBezTo>
                <a:cubicBezTo>
                  <a:pt x="68" y="23"/>
                  <a:pt x="68" y="23"/>
                  <a:pt x="68" y="23"/>
                </a:cubicBezTo>
                <a:cubicBezTo>
                  <a:pt x="67" y="23"/>
                  <a:pt x="67" y="23"/>
                  <a:pt x="67" y="23"/>
                </a:cubicBezTo>
                <a:cubicBezTo>
                  <a:pt x="66" y="23"/>
                  <a:pt x="66" y="23"/>
                  <a:pt x="66" y="23"/>
                </a:cubicBezTo>
                <a:close/>
                <a:moveTo>
                  <a:pt x="55" y="37"/>
                </a:moveTo>
                <a:cubicBezTo>
                  <a:pt x="57" y="37"/>
                  <a:pt x="57" y="37"/>
                  <a:pt x="57" y="37"/>
                </a:cubicBezTo>
                <a:cubicBezTo>
                  <a:pt x="57" y="36"/>
                  <a:pt x="57" y="36"/>
                  <a:pt x="57" y="36"/>
                </a:cubicBezTo>
                <a:cubicBezTo>
                  <a:pt x="57" y="35"/>
                  <a:pt x="57" y="35"/>
                  <a:pt x="57" y="35"/>
                </a:cubicBezTo>
                <a:cubicBezTo>
                  <a:pt x="55" y="37"/>
                  <a:pt x="55" y="37"/>
                  <a:pt x="55" y="37"/>
                </a:cubicBezTo>
                <a:close/>
                <a:moveTo>
                  <a:pt x="58" y="35"/>
                </a:moveTo>
                <a:cubicBezTo>
                  <a:pt x="58" y="37"/>
                  <a:pt x="58" y="37"/>
                  <a:pt x="58" y="37"/>
                </a:cubicBezTo>
                <a:cubicBezTo>
                  <a:pt x="59" y="37"/>
                  <a:pt x="59" y="37"/>
                  <a:pt x="59" y="37"/>
                </a:cubicBezTo>
                <a:cubicBezTo>
                  <a:pt x="60" y="39"/>
                  <a:pt x="60" y="39"/>
                  <a:pt x="60" y="39"/>
                </a:cubicBezTo>
                <a:cubicBezTo>
                  <a:pt x="60" y="38"/>
                  <a:pt x="60" y="38"/>
                  <a:pt x="60" y="38"/>
                </a:cubicBezTo>
                <a:cubicBezTo>
                  <a:pt x="61" y="36"/>
                  <a:pt x="61" y="36"/>
                  <a:pt x="61" y="36"/>
                </a:cubicBezTo>
                <a:cubicBezTo>
                  <a:pt x="60" y="36"/>
                  <a:pt x="60" y="36"/>
                  <a:pt x="60" y="36"/>
                </a:cubicBezTo>
                <a:cubicBezTo>
                  <a:pt x="61" y="35"/>
                  <a:pt x="61" y="35"/>
                  <a:pt x="61" y="35"/>
                </a:cubicBezTo>
                <a:cubicBezTo>
                  <a:pt x="60" y="35"/>
                  <a:pt x="60" y="35"/>
                  <a:pt x="60" y="35"/>
                </a:cubicBezTo>
                <a:cubicBezTo>
                  <a:pt x="59" y="35"/>
                  <a:pt x="59" y="35"/>
                  <a:pt x="59" y="35"/>
                </a:cubicBezTo>
                <a:cubicBezTo>
                  <a:pt x="58" y="35"/>
                  <a:pt x="58" y="35"/>
                  <a:pt x="58" y="35"/>
                </a:cubicBezTo>
                <a:close/>
                <a:moveTo>
                  <a:pt x="86" y="54"/>
                </a:moveTo>
                <a:cubicBezTo>
                  <a:pt x="86" y="55"/>
                  <a:pt x="86" y="55"/>
                  <a:pt x="86" y="55"/>
                </a:cubicBezTo>
                <a:cubicBezTo>
                  <a:pt x="87" y="55"/>
                  <a:pt x="87" y="55"/>
                  <a:pt x="87" y="55"/>
                </a:cubicBezTo>
                <a:cubicBezTo>
                  <a:pt x="88" y="55"/>
                  <a:pt x="88" y="55"/>
                  <a:pt x="88" y="55"/>
                </a:cubicBezTo>
                <a:cubicBezTo>
                  <a:pt x="87" y="54"/>
                  <a:pt x="87" y="54"/>
                  <a:pt x="87" y="54"/>
                </a:cubicBezTo>
                <a:cubicBezTo>
                  <a:pt x="86" y="54"/>
                  <a:pt x="86" y="54"/>
                  <a:pt x="86" y="54"/>
                </a:cubicBezTo>
                <a:close/>
                <a:moveTo>
                  <a:pt x="78" y="60"/>
                </a:moveTo>
                <a:cubicBezTo>
                  <a:pt x="78" y="61"/>
                  <a:pt x="78" y="61"/>
                  <a:pt x="78" y="61"/>
                </a:cubicBezTo>
                <a:cubicBezTo>
                  <a:pt x="78" y="62"/>
                  <a:pt x="78" y="62"/>
                  <a:pt x="78" y="62"/>
                </a:cubicBezTo>
                <a:cubicBezTo>
                  <a:pt x="77" y="62"/>
                  <a:pt x="77" y="62"/>
                  <a:pt x="77" y="62"/>
                </a:cubicBezTo>
                <a:cubicBezTo>
                  <a:pt x="77" y="63"/>
                  <a:pt x="77" y="63"/>
                  <a:pt x="77" y="63"/>
                </a:cubicBezTo>
                <a:cubicBezTo>
                  <a:pt x="78" y="63"/>
                  <a:pt x="78" y="63"/>
                  <a:pt x="78" y="63"/>
                </a:cubicBezTo>
                <a:cubicBezTo>
                  <a:pt x="78" y="62"/>
                  <a:pt x="78" y="62"/>
                  <a:pt x="78" y="62"/>
                </a:cubicBezTo>
                <a:cubicBezTo>
                  <a:pt x="78" y="62"/>
                  <a:pt x="78" y="62"/>
                  <a:pt x="78" y="62"/>
                </a:cubicBezTo>
                <a:cubicBezTo>
                  <a:pt x="78" y="64"/>
                  <a:pt x="78" y="64"/>
                  <a:pt x="78" y="64"/>
                </a:cubicBezTo>
                <a:cubicBezTo>
                  <a:pt x="79" y="65"/>
                  <a:pt x="79" y="65"/>
                  <a:pt x="79" y="65"/>
                </a:cubicBezTo>
                <a:cubicBezTo>
                  <a:pt x="80" y="63"/>
                  <a:pt x="80" y="63"/>
                  <a:pt x="80" y="63"/>
                </a:cubicBezTo>
                <a:cubicBezTo>
                  <a:pt x="81" y="64"/>
                  <a:pt x="81" y="64"/>
                  <a:pt x="81" y="64"/>
                </a:cubicBezTo>
                <a:cubicBezTo>
                  <a:pt x="82" y="64"/>
                  <a:pt x="82" y="64"/>
                  <a:pt x="82" y="64"/>
                </a:cubicBezTo>
                <a:cubicBezTo>
                  <a:pt x="82" y="63"/>
                  <a:pt x="82" y="63"/>
                  <a:pt x="82" y="63"/>
                </a:cubicBezTo>
                <a:cubicBezTo>
                  <a:pt x="83" y="63"/>
                  <a:pt x="83" y="63"/>
                  <a:pt x="83" y="63"/>
                </a:cubicBezTo>
                <a:cubicBezTo>
                  <a:pt x="83" y="62"/>
                  <a:pt x="83" y="62"/>
                  <a:pt x="83" y="62"/>
                </a:cubicBezTo>
                <a:cubicBezTo>
                  <a:pt x="81" y="60"/>
                  <a:pt x="81" y="60"/>
                  <a:pt x="81" y="60"/>
                </a:cubicBezTo>
                <a:cubicBezTo>
                  <a:pt x="79" y="60"/>
                  <a:pt x="79" y="60"/>
                  <a:pt x="79" y="60"/>
                </a:cubicBezTo>
                <a:cubicBezTo>
                  <a:pt x="78" y="60"/>
                  <a:pt x="78" y="60"/>
                  <a:pt x="78" y="60"/>
                </a:cubicBezTo>
                <a:close/>
                <a:moveTo>
                  <a:pt x="74" y="62"/>
                </a:moveTo>
                <a:cubicBezTo>
                  <a:pt x="74" y="63"/>
                  <a:pt x="74" y="63"/>
                  <a:pt x="74" y="63"/>
                </a:cubicBezTo>
                <a:cubicBezTo>
                  <a:pt x="75" y="63"/>
                  <a:pt x="75" y="63"/>
                  <a:pt x="75" y="63"/>
                </a:cubicBezTo>
                <a:cubicBezTo>
                  <a:pt x="74" y="62"/>
                  <a:pt x="74" y="62"/>
                  <a:pt x="74" y="62"/>
                </a:cubicBezTo>
                <a:close/>
                <a:moveTo>
                  <a:pt x="65" y="54"/>
                </a:moveTo>
                <a:cubicBezTo>
                  <a:pt x="65" y="55"/>
                  <a:pt x="65" y="55"/>
                  <a:pt x="65" y="55"/>
                </a:cubicBezTo>
                <a:cubicBezTo>
                  <a:pt x="64" y="56"/>
                  <a:pt x="64" y="56"/>
                  <a:pt x="64" y="56"/>
                </a:cubicBezTo>
                <a:cubicBezTo>
                  <a:pt x="65" y="57"/>
                  <a:pt x="65" y="57"/>
                  <a:pt x="65" y="57"/>
                </a:cubicBezTo>
                <a:cubicBezTo>
                  <a:pt x="67" y="58"/>
                  <a:pt x="67" y="58"/>
                  <a:pt x="67" y="58"/>
                </a:cubicBezTo>
                <a:cubicBezTo>
                  <a:pt x="67" y="58"/>
                  <a:pt x="67" y="58"/>
                  <a:pt x="67" y="58"/>
                </a:cubicBezTo>
                <a:cubicBezTo>
                  <a:pt x="67" y="59"/>
                  <a:pt x="67" y="59"/>
                  <a:pt x="67" y="59"/>
                </a:cubicBezTo>
                <a:cubicBezTo>
                  <a:pt x="68" y="60"/>
                  <a:pt x="68" y="60"/>
                  <a:pt x="68" y="60"/>
                </a:cubicBezTo>
                <a:cubicBezTo>
                  <a:pt x="69" y="61"/>
                  <a:pt x="69" y="61"/>
                  <a:pt x="69" y="61"/>
                </a:cubicBezTo>
                <a:cubicBezTo>
                  <a:pt x="70" y="62"/>
                  <a:pt x="70" y="62"/>
                  <a:pt x="70" y="62"/>
                </a:cubicBezTo>
                <a:cubicBezTo>
                  <a:pt x="71" y="62"/>
                  <a:pt x="71" y="62"/>
                  <a:pt x="71" y="62"/>
                </a:cubicBezTo>
                <a:cubicBezTo>
                  <a:pt x="72" y="63"/>
                  <a:pt x="72" y="63"/>
                  <a:pt x="72" y="63"/>
                </a:cubicBezTo>
                <a:cubicBezTo>
                  <a:pt x="72" y="64"/>
                  <a:pt x="72" y="64"/>
                  <a:pt x="72" y="64"/>
                </a:cubicBezTo>
                <a:cubicBezTo>
                  <a:pt x="73" y="63"/>
                  <a:pt x="73" y="63"/>
                  <a:pt x="73" y="63"/>
                </a:cubicBezTo>
                <a:cubicBezTo>
                  <a:pt x="72" y="62"/>
                  <a:pt x="72" y="62"/>
                  <a:pt x="72" y="62"/>
                </a:cubicBezTo>
                <a:cubicBezTo>
                  <a:pt x="73" y="60"/>
                  <a:pt x="73" y="60"/>
                  <a:pt x="73" y="60"/>
                </a:cubicBezTo>
                <a:cubicBezTo>
                  <a:pt x="71" y="60"/>
                  <a:pt x="71" y="60"/>
                  <a:pt x="71" y="60"/>
                </a:cubicBezTo>
                <a:cubicBezTo>
                  <a:pt x="70" y="58"/>
                  <a:pt x="70" y="58"/>
                  <a:pt x="70" y="58"/>
                </a:cubicBezTo>
                <a:cubicBezTo>
                  <a:pt x="69" y="55"/>
                  <a:pt x="69" y="55"/>
                  <a:pt x="69" y="55"/>
                </a:cubicBezTo>
                <a:cubicBezTo>
                  <a:pt x="69" y="55"/>
                  <a:pt x="69" y="55"/>
                  <a:pt x="69" y="55"/>
                </a:cubicBezTo>
                <a:cubicBezTo>
                  <a:pt x="68" y="54"/>
                  <a:pt x="68" y="54"/>
                  <a:pt x="68" y="54"/>
                </a:cubicBezTo>
                <a:cubicBezTo>
                  <a:pt x="68" y="54"/>
                  <a:pt x="68" y="54"/>
                  <a:pt x="68" y="54"/>
                </a:cubicBezTo>
                <a:cubicBezTo>
                  <a:pt x="67" y="54"/>
                  <a:pt x="67" y="54"/>
                  <a:pt x="67" y="54"/>
                </a:cubicBezTo>
                <a:cubicBezTo>
                  <a:pt x="67" y="55"/>
                  <a:pt x="67" y="55"/>
                  <a:pt x="67" y="55"/>
                </a:cubicBezTo>
                <a:cubicBezTo>
                  <a:pt x="67" y="55"/>
                  <a:pt x="67" y="55"/>
                  <a:pt x="67" y="55"/>
                </a:cubicBezTo>
                <a:cubicBezTo>
                  <a:pt x="66" y="55"/>
                  <a:pt x="66" y="55"/>
                  <a:pt x="66" y="55"/>
                </a:cubicBezTo>
                <a:cubicBezTo>
                  <a:pt x="65" y="54"/>
                  <a:pt x="65" y="54"/>
                  <a:pt x="65" y="54"/>
                </a:cubicBezTo>
                <a:cubicBezTo>
                  <a:pt x="65" y="54"/>
                  <a:pt x="65" y="54"/>
                  <a:pt x="65" y="54"/>
                </a:cubicBezTo>
                <a:close/>
                <a:moveTo>
                  <a:pt x="59" y="47"/>
                </a:moveTo>
                <a:cubicBezTo>
                  <a:pt x="58" y="48"/>
                  <a:pt x="58" y="48"/>
                  <a:pt x="58" y="48"/>
                </a:cubicBezTo>
                <a:cubicBezTo>
                  <a:pt x="59" y="48"/>
                  <a:pt x="59" y="48"/>
                  <a:pt x="59" y="48"/>
                </a:cubicBezTo>
                <a:cubicBezTo>
                  <a:pt x="60" y="48"/>
                  <a:pt x="60" y="48"/>
                  <a:pt x="60" y="48"/>
                </a:cubicBezTo>
                <a:cubicBezTo>
                  <a:pt x="60" y="47"/>
                  <a:pt x="60" y="47"/>
                  <a:pt x="60" y="47"/>
                </a:cubicBezTo>
                <a:cubicBezTo>
                  <a:pt x="59" y="47"/>
                  <a:pt x="59" y="47"/>
                  <a:pt x="59" y="47"/>
                </a:cubicBezTo>
                <a:close/>
                <a:moveTo>
                  <a:pt x="60" y="44"/>
                </a:moveTo>
                <a:cubicBezTo>
                  <a:pt x="59" y="45"/>
                  <a:pt x="59" y="45"/>
                  <a:pt x="59" y="45"/>
                </a:cubicBezTo>
                <a:cubicBezTo>
                  <a:pt x="60" y="46"/>
                  <a:pt x="60" y="46"/>
                  <a:pt x="60" y="46"/>
                </a:cubicBezTo>
                <a:cubicBezTo>
                  <a:pt x="61" y="46"/>
                  <a:pt x="61" y="46"/>
                  <a:pt x="61" y="46"/>
                </a:cubicBezTo>
                <a:cubicBezTo>
                  <a:pt x="62" y="46"/>
                  <a:pt x="62" y="46"/>
                  <a:pt x="62" y="46"/>
                </a:cubicBezTo>
                <a:cubicBezTo>
                  <a:pt x="63" y="46"/>
                  <a:pt x="63" y="46"/>
                  <a:pt x="63" y="46"/>
                </a:cubicBezTo>
                <a:cubicBezTo>
                  <a:pt x="61" y="44"/>
                  <a:pt x="61" y="44"/>
                  <a:pt x="61" y="44"/>
                </a:cubicBezTo>
                <a:cubicBezTo>
                  <a:pt x="60" y="44"/>
                  <a:pt x="60" y="44"/>
                  <a:pt x="60" y="44"/>
                </a:cubicBezTo>
                <a:close/>
                <a:moveTo>
                  <a:pt x="47" y="36"/>
                </a:moveTo>
                <a:cubicBezTo>
                  <a:pt x="46" y="37"/>
                  <a:pt x="46" y="37"/>
                  <a:pt x="46" y="37"/>
                </a:cubicBezTo>
                <a:cubicBezTo>
                  <a:pt x="47" y="38"/>
                  <a:pt x="47" y="38"/>
                  <a:pt x="47" y="38"/>
                </a:cubicBezTo>
                <a:cubicBezTo>
                  <a:pt x="49" y="39"/>
                  <a:pt x="49" y="39"/>
                  <a:pt x="49" y="39"/>
                </a:cubicBezTo>
                <a:cubicBezTo>
                  <a:pt x="50" y="39"/>
                  <a:pt x="50" y="39"/>
                  <a:pt x="50" y="39"/>
                </a:cubicBezTo>
                <a:cubicBezTo>
                  <a:pt x="51" y="39"/>
                  <a:pt x="51" y="39"/>
                  <a:pt x="51" y="39"/>
                </a:cubicBezTo>
                <a:cubicBezTo>
                  <a:pt x="50" y="37"/>
                  <a:pt x="50" y="37"/>
                  <a:pt x="50" y="37"/>
                </a:cubicBezTo>
                <a:cubicBezTo>
                  <a:pt x="49" y="36"/>
                  <a:pt x="49" y="36"/>
                  <a:pt x="49" y="36"/>
                </a:cubicBezTo>
                <a:cubicBezTo>
                  <a:pt x="47" y="36"/>
                  <a:pt x="47" y="36"/>
                  <a:pt x="47" y="36"/>
                </a:cubicBezTo>
                <a:close/>
                <a:moveTo>
                  <a:pt x="44" y="34"/>
                </a:moveTo>
                <a:cubicBezTo>
                  <a:pt x="44" y="34"/>
                  <a:pt x="44" y="34"/>
                  <a:pt x="44" y="34"/>
                </a:cubicBezTo>
                <a:cubicBezTo>
                  <a:pt x="46" y="34"/>
                  <a:pt x="46" y="34"/>
                  <a:pt x="46" y="34"/>
                </a:cubicBezTo>
                <a:cubicBezTo>
                  <a:pt x="47" y="35"/>
                  <a:pt x="47" y="35"/>
                  <a:pt x="47" y="35"/>
                </a:cubicBezTo>
                <a:cubicBezTo>
                  <a:pt x="46" y="36"/>
                  <a:pt x="46" y="36"/>
                  <a:pt x="46" y="36"/>
                </a:cubicBezTo>
                <a:cubicBezTo>
                  <a:pt x="45" y="36"/>
                  <a:pt x="45" y="36"/>
                  <a:pt x="45" y="36"/>
                </a:cubicBezTo>
                <a:cubicBezTo>
                  <a:pt x="44" y="34"/>
                  <a:pt x="44" y="34"/>
                  <a:pt x="44" y="34"/>
                </a:cubicBezTo>
                <a:close/>
                <a:moveTo>
                  <a:pt x="39" y="31"/>
                </a:moveTo>
                <a:cubicBezTo>
                  <a:pt x="40" y="32"/>
                  <a:pt x="40" y="32"/>
                  <a:pt x="40" y="32"/>
                </a:cubicBezTo>
                <a:cubicBezTo>
                  <a:pt x="41" y="32"/>
                  <a:pt x="41" y="32"/>
                  <a:pt x="41" y="32"/>
                </a:cubicBezTo>
                <a:cubicBezTo>
                  <a:pt x="42" y="31"/>
                  <a:pt x="42" y="31"/>
                  <a:pt x="42" y="31"/>
                </a:cubicBezTo>
                <a:cubicBezTo>
                  <a:pt x="41" y="30"/>
                  <a:pt x="41" y="30"/>
                  <a:pt x="41" y="30"/>
                </a:cubicBezTo>
                <a:cubicBezTo>
                  <a:pt x="41" y="30"/>
                  <a:pt x="41" y="30"/>
                  <a:pt x="41" y="30"/>
                </a:cubicBezTo>
                <a:cubicBezTo>
                  <a:pt x="39" y="31"/>
                  <a:pt x="39" y="31"/>
                  <a:pt x="39" y="31"/>
                </a:cubicBezTo>
                <a:close/>
                <a:moveTo>
                  <a:pt x="44" y="78"/>
                </a:moveTo>
                <a:cubicBezTo>
                  <a:pt x="45" y="79"/>
                  <a:pt x="45" y="79"/>
                  <a:pt x="45" y="79"/>
                </a:cubicBezTo>
                <a:cubicBezTo>
                  <a:pt x="45" y="78"/>
                  <a:pt x="45" y="78"/>
                  <a:pt x="45" y="78"/>
                </a:cubicBezTo>
                <a:cubicBezTo>
                  <a:pt x="45" y="77"/>
                  <a:pt x="45" y="77"/>
                  <a:pt x="45" y="77"/>
                </a:cubicBezTo>
                <a:cubicBezTo>
                  <a:pt x="44" y="78"/>
                  <a:pt x="44" y="78"/>
                  <a:pt x="44" y="78"/>
                </a:cubicBezTo>
                <a:close/>
                <a:moveTo>
                  <a:pt x="32" y="62"/>
                </a:moveTo>
                <a:cubicBezTo>
                  <a:pt x="31" y="63"/>
                  <a:pt x="31" y="63"/>
                  <a:pt x="31" y="63"/>
                </a:cubicBezTo>
                <a:cubicBezTo>
                  <a:pt x="34" y="65"/>
                  <a:pt x="34" y="65"/>
                  <a:pt x="34" y="65"/>
                </a:cubicBezTo>
                <a:cubicBezTo>
                  <a:pt x="33" y="64"/>
                  <a:pt x="33" y="64"/>
                  <a:pt x="33" y="64"/>
                </a:cubicBezTo>
                <a:cubicBezTo>
                  <a:pt x="34" y="63"/>
                  <a:pt x="34" y="63"/>
                  <a:pt x="34" y="63"/>
                </a:cubicBezTo>
                <a:cubicBezTo>
                  <a:pt x="32" y="62"/>
                  <a:pt x="32" y="62"/>
                  <a:pt x="32" y="62"/>
                </a:cubicBezTo>
                <a:close/>
                <a:moveTo>
                  <a:pt x="30" y="61"/>
                </a:moveTo>
                <a:cubicBezTo>
                  <a:pt x="31" y="61"/>
                  <a:pt x="31" y="61"/>
                  <a:pt x="31" y="61"/>
                </a:cubicBezTo>
                <a:cubicBezTo>
                  <a:pt x="31" y="62"/>
                  <a:pt x="31" y="62"/>
                  <a:pt x="31" y="62"/>
                </a:cubicBezTo>
                <a:cubicBezTo>
                  <a:pt x="30" y="61"/>
                  <a:pt x="30" y="61"/>
                  <a:pt x="30" y="61"/>
                </a:cubicBezTo>
                <a:close/>
                <a:moveTo>
                  <a:pt x="28" y="57"/>
                </a:moveTo>
                <a:cubicBezTo>
                  <a:pt x="27" y="57"/>
                  <a:pt x="27" y="57"/>
                  <a:pt x="27" y="57"/>
                </a:cubicBezTo>
                <a:cubicBezTo>
                  <a:pt x="28" y="58"/>
                  <a:pt x="28" y="58"/>
                  <a:pt x="28" y="58"/>
                </a:cubicBezTo>
                <a:cubicBezTo>
                  <a:pt x="30" y="59"/>
                  <a:pt x="30" y="59"/>
                  <a:pt x="30" y="59"/>
                </a:cubicBezTo>
                <a:cubicBezTo>
                  <a:pt x="28" y="57"/>
                  <a:pt x="28" y="57"/>
                  <a:pt x="28" y="57"/>
                </a:cubicBezTo>
                <a:close/>
                <a:moveTo>
                  <a:pt x="21" y="51"/>
                </a:moveTo>
                <a:cubicBezTo>
                  <a:pt x="21" y="52"/>
                  <a:pt x="21" y="52"/>
                  <a:pt x="21" y="52"/>
                </a:cubicBezTo>
                <a:cubicBezTo>
                  <a:pt x="23" y="52"/>
                  <a:pt x="23" y="52"/>
                  <a:pt x="23" y="52"/>
                </a:cubicBezTo>
                <a:cubicBezTo>
                  <a:pt x="24" y="55"/>
                  <a:pt x="24" y="55"/>
                  <a:pt x="24" y="55"/>
                </a:cubicBezTo>
                <a:cubicBezTo>
                  <a:pt x="26" y="55"/>
                  <a:pt x="26" y="55"/>
                  <a:pt x="26" y="55"/>
                </a:cubicBezTo>
                <a:cubicBezTo>
                  <a:pt x="26" y="53"/>
                  <a:pt x="26" y="53"/>
                  <a:pt x="26" y="53"/>
                </a:cubicBezTo>
                <a:cubicBezTo>
                  <a:pt x="24" y="50"/>
                  <a:pt x="24" y="50"/>
                  <a:pt x="24" y="50"/>
                </a:cubicBezTo>
                <a:cubicBezTo>
                  <a:pt x="23" y="50"/>
                  <a:pt x="23" y="50"/>
                  <a:pt x="23" y="50"/>
                </a:cubicBezTo>
                <a:cubicBezTo>
                  <a:pt x="21" y="51"/>
                  <a:pt x="21" y="51"/>
                  <a:pt x="21" y="51"/>
                </a:cubicBezTo>
                <a:close/>
                <a:moveTo>
                  <a:pt x="20" y="46"/>
                </a:moveTo>
                <a:cubicBezTo>
                  <a:pt x="20" y="48"/>
                  <a:pt x="20" y="48"/>
                  <a:pt x="20" y="48"/>
                </a:cubicBezTo>
                <a:cubicBezTo>
                  <a:pt x="20" y="48"/>
                  <a:pt x="20" y="48"/>
                  <a:pt x="20" y="48"/>
                </a:cubicBezTo>
                <a:cubicBezTo>
                  <a:pt x="21" y="48"/>
                  <a:pt x="21" y="48"/>
                  <a:pt x="21" y="48"/>
                </a:cubicBezTo>
                <a:cubicBezTo>
                  <a:pt x="21" y="47"/>
                  <a:pt x="21" y="47"/>
                  <a:pt x="21" y="47"/>
                </a:cubicBezTo>
                <a:cubicBezTo>
                  <a:pt x="20" y="46"/>
                  <a:pt x="20" y="46"/>
                  <a:pt x="20" y="46"/>
                </a:cubicBezTo>
                <a:close/>
                <a:moveTo>
                  <a:pt x="21" y="43"/>
                </a:moveTo>
                <a:cubicBezTo>
                  <a:pt x="23" y="43"/>
                  <a:pt x="23" y="43"/>
                  <a:pt x="23" y="43"/>
                </a:cubicBezTo>
                <a:cubicBezTo>
                  <a:pt x="23" y="43"/>
                  <a:pt x="23" y="43"/>
                  <a:pt x="23" y="43"/>
                </a:cubicBezTo>
                <a:cubicBezTo>
                  <a:pt x="23" y="42"/>
                  <a:pt x="23" y="42"/>
                  <a:pt x="23" y="42"/>
                </a:cubicBezTo>
                <a:cubicBezTo>
                  <a:pt x="22" y="42"/>
                  <a:pt x="22" y="42"/>
                  <a:pt x="22" y="42"/>
                </a:cubicBezTo>
                <a:cubicBezTo>
                  <a:pt x="21" y="43"/>
                  <a:pt x="21" y="43"/>
                  <a:pt x="21" y="43"/>
                </a:cubicBezTo>
                <a:close/>
                <a:moveTo>
                  <a:pt x="12" y="34"/>
                </a:moveTo>
                <a:cubicBezTo>
                  <a:pt x="13" y="34"/>
                  <a:pt x="13" y="34"/>
                  <a:pt x="13" y="34"/>
                </a:cubicBezTo>
                <a:cubicBezTo>
                  <a:pt x="14" y="34"/>
                  <a:pt x="14" y="34"/>
                  <a:pt x="14" y="34"/>
                </a:cubicBezTo>
                <a:cubicBezTo>
                  <a:pt x="15" y="34"/>
                  <a:pt x="15" y="34"/>
                  <a:pt x="15" y="34"/>
                </a:cubicBezTo>
                <a:cubicBezTo>
                  <a:pt x="16" y="36"/>
                  <a:pt x="16" y="36"/>
                  <a:pt x="16" y="36"/>
                </a:cubicBezTo>
                <a:cubicBezTo>
                  <a:pt x="17" y="37"/>
                  <a:pt x="17" y="37"/>
                  <a:pt x="17" y="37"/>
                </a:cubicBezTo>
                <a:cubicBezTo>
                  <a:pt x="17" y="38"/>
                  <a:pt x="17" y="38"/>
                  <a:pt x="17" y="38"/>
                </a:cubicBezTo>
                <a:cubicBezTo>
                  <a:pt x="17" y="39"/>
                  <a:pt x="17" y="39"/>
                  <a:pt x="17" y="39"/>
                </a:cubicBezTo>
                <a:cubicBezTo>
                  <a:pt x="16" y="40"/>
                  <a:pt x="16" y="40"/>
                  <a:pt x="16" y="40"/>
                </a:cubicBezTo>
                <a:cubicBezTo>
                  <a:pt x="15" y="37"/>
                  <a:pt x="15" y="37"/>
                  <a:pt x="15" y="37"/>
                </a:cubicBezTo>
                <a:cubicBezTo>
                  <a:pt x="14" y="37"/>
                  <a:pt x="14" y="37"/>
                  <a:pt x="14" y="37"/>
                </a:cubicBezTo>
                <a:cubicBezTo>
                  <a:pt x="14" y="36"/>
                  <a:pt x="14" y="36"/>
                  <a:pt x="14" y="36"/>
                </a:cubicBezTo>
                <a:cubicBezTo>
                  <a:pt x="12" y="34"/>
                  <a:pt x="12" y="34"/>
                  <a:pt x="12" y="34"/>
                </a:cubicBezTo>
                <a:close/>
                <a:moveTo>
                  <a:pt x="12" y="30"/>
                </a:moveTo>
                <a:cubicBezTo>
                  <a:pt x="14" y="30"/>
                  <a:pt x="14" y="30"/>
                  <a:pt x="14" y="30"/>
                </a:cubicBezTo>
                <a:cubicBezTo>
                  <a:pt x="13" y="29"/>
                  <a:pt x="13" y="29"/>
                  <a:pt x="13" y="29"/>
                </a:cubicBezTo>
                <a:cubicBezTo>
                  <a:pt x="12" y="30"/>
                  <a:pt x="12" y="30"/>
                  <a:pt x="12" y="30"/>
                </a:cubicBezTo>
                <a:close/>
                <a:moveTo>
                  <a:pt x="4" y="24"/>
                </a:moveTo>
                <a:cubicBezTo>
                  <a:pt x="3" y="25"/>
                  <a:pt x="3" y="25"/>
                  <a:pt x="3" y="25"/>
                </a:cubicBezTo>
                <a:cubicBezTo>
                  <a:pt x="3" y="25"/>
                  <a:pt x="3" y="25"/>
                  <a:pt x="3" y="25"/>
                </a:cubicBezTo>
                <a:cubicBezTo>
                  <a:pt x="4" y="26"/>
                  <a:pt x="4" y="26"/>
                  <a:pt x="4" y="26"/>
                </a:cubicBezTo>
                <a:cubicBezTo>
                  <a:pt x="5" y="26"/>
                  <a:pt x="5" y="26"/>
                  <a:pt x="5" y="26"/>
                </a:cubicBezTo>
                <a:cubicBezTo>
                  <a:pt x="5" y="25"/>
                  <a:pt x="5" y="25"/>
                  <a:pt x="5" y="25"/>
                </a:cubicBezTo>
                <a:cubicBezTo>
                  <a:pt x="4" y="24"/>
                  <a:pt x="4" y="24"/>
                  <a:pt x="4" y="24"/>
                </a:cubicBezTo>
                <a:close/>
                <a:moveTo>
                  <a:pt x="0" y="6"/>
                </a:moveTo>
                <a:cubicBezTo>
                  <a:pt x="0" y="7"/>
                  <a:pt x="0" y="7"/>
                  <a:pt x="0" y="7"/>
                </a:cubicBezTo>
                <a:cubicBezTo>
                  <a:pt x="0" y="9"/>
                  <a:pt x="0" y="9"/>
                  <a:pt x="0" y="9"/>
                </a:cubicBezTo>
                <a:cubicBezTo>
                  <a:pt x="2" y="12"/>
                  <a:pt x="2" y="12"/>
                  <a:pt x="2" y="12"/>
                </a:cubicBezTo>
                <a:cubicBezTo>
                  <a:pt x="3" y="13"/>
                  <a:pt x="3" y="13"/>
                  <a:pt x="3" y="13"/>
                </a:cubicBezTo>
                <a:cubicBezTo>
                  <a:pt x="5" y="16"/>
                  <a:pt x="5" y="16"/>
                  <a:pt x="5" y="16"/>
                </a:cubicBezTo>
                <a:cubicBezTo>
                  <a:pt x="6" y="16"/>
                  <a:pt x="6" y="16"/>
                  <a:pt x="6" y="16"/>
                </a:cubicBezTo>
                <a:cubicBezTo>
                  <a:pt x="8" y="18"/>
                  <a:pt x="8" y="18"/>
                  <a:pt x="8" y="18"/>
                </a:cubicBezTo>
                <a:cubicBezTo>
                  <a:pt x="9" y="18"/>
                  <a:pt x="9" y="18"/>
                  <a:pt x="9" y="18"/>
                </a:cubicBezTo>
                <a:cubicBezTo>
                  <a:pt x="10" y="18"/>
                  <a:pt x="10" y="18"/>
                  <a:pt x="10" y="18"/>
                </a:cubicBezTo>
                <a:cubicBezTo>
                  <a:pt x="12" y="20"/>
                  <a:pt x="12" y="20"/>
                  <a:pt x="12" y="20"/>
                </a:cubicBezTo>
                <a:cubicBezTo>
                  <a:pt x="14" y="23"/>
                  <a:pt x="14" y="23"/>
                  <a:pt x="14" y="23"/>
                </a:cubicBezTo>
                <a:cubicBezTo>
                  <a:pt x="16" y="25"/>
                  <a:pt x="16" y="25"/>
                  <a:pt x="16" y="25"/>
                </a:cubicBezTo>
                <a:cubicBezTo>
                  <a:pt x="17" y="25"/>
                  <a:pt x="17" y="25"/>
                  <a:pt x="17" y="25"/>
                </a:cubicBezTo>
                <a:cubicBezTo>
                  <a:pt x="17" y="27"/>
                  <a:pt x="17" y="27"/>
                  <a:pt x="17" y="27"/>
                </a:cubicBezTo>
                <a:cubicBezTo>
                  <a:pt x="17" y="27"/>
                  <a:pt x="17" y="27"/>
                  <a:pt x="17" y="27"/>
                </a:cubicBezTo>
                <a:cubicBezTo>
                  <a:pt x="18" y="29"/>
                  <a:pt x="18" y="29"/>
                  <a:pt x="18" y="29"/>
                </a:cubicBezTo>
                <a:cubicBezTo>
                  <a:pt x="18" y="30"/>
                  <a:pt x="18" y="30"/>
                  <a:pt x="18" y="30"/>
                </a:cubicBezTo>
                <a:cubicBezTo>
                  <a:pt x="20" y="30"/>
                  <a:pt x="20" y="30"/>
                  <a:pt x="20" y="30"/>
                </a:cubicBezTo>
                <a:cubicBezTo>
                  <a:pt x="21" y="32"/>
                  <a:pt x="21" y="32"/>
                  <a:pt x="21" y="32"/>
                </a:cubicBezTo>
                <a:cubicBezTo>
                  <a:pt x="22" y="32"/>
                  <a:pt x="22" y="32"/>
                  <a:pt x="22" y="32"/>
                </a:cubicBezTo>
                <a:cubicBezTo>
                  <a:pt x="23" y="32"/>
                  <a:pt x="23" y="32"/>
                  <a:pt x="23" y="32"/>
                </a:cubicBezTo>
                <a:cubicBezTo>
                  <a:pt x="23" y="33"/>
                  <a:pt x="23" y="33"/>
                  <a:pt x="23" y="33"/>
                </a:cubicBezTo>
                <a:cubicBezTo>
                  <a:pt x="23" y="34"/>
                  <a:pt x="23" y="34"/>
                  <a:pt x="23" y="34"/>
                </a:cubicBezTo>
                <a:cubicBezTo>
                  <a:pt x="23" y="35"/>
                  <a:pt x="23" y="35"/>
                  <a:pt x="23" y="35"/>
                </a:cubicBezTo>
                <a:cubicBezTo>
                  <a:pt x="24" y="36"/>
                  <a:pt x="24" y="36"/>
                  <a:pt x="24" y="36"/>
                </a:cubicBezTo>
                <a:cubicBezTo>
                  <a:pt x="24" y="37"/>
                  <a:pt x="24" y="37"/>
                  <a:pt x="24" y="37"/>
                </a:cubicBezTo>
                <a:cubicBezTo>
                  <a:pt x="25" y="40"/>
                  <a:pt x="25" y="40"/>
                  <a:pt x="25" y="40"/>
                </a:cubicBezTo>
                <a:cubicBezTo>
                  <a:pt x="26" y="42"/>
                  <a:pt x="26" y="42"/>
                  <a:pt x="26" y="42"/>
                </a:cubicBezTo>
                <a:cubicBezTo>
                  <a:pt x="27" y="42"/>
                  <a:pt x="27" y="42"/>
                  <a:pt x="27" y="42"/>
                </a:cubicBezTo>
                <a:cubicBezTo>
                  <a:pt x="29" y="44"/>
                  <a:pt x="29" y="44"/>
                  <a:pt x="29" y="44"/>
                </a:cubicBezTo>
                <a:cubicBezTo>
                  <a:pt x="29" y="45"/>
                  <a:pt x="29" y="45"/>
                  <a:pt x="29" y="45"/>
                </a:cubicBezTo>
                <a:cubicBezTo>
                  <a:pt x="31" y="47"/>
                  <a:pt x="31" y="47"/>
                  <a:pt x="31" y="47"/>
                </a:cubicBezTo>
                <a:cubicBezTo>
                  <a:pt x="32" y="48"/>
                  <a:pt x="32" y="48"/>
                  <a:pt x="32" y="48"/>
                </a:cubicBezTo>
                <a:cubicBezTo>
                  <a:pt x="33" y="52"/>
                  <a:pt x="33" y="52"/>
                  <a:pt x="33" y="52"/>
                </a:cubicBezTo>
                <a:cubicBezTo>
                  <a:pt x="35" y="56"/>
                  <a:pt x="35" y="56"/>
                  <a:pt x="35" y="56"/>
                </a:cubicBezTo>
                <a:cubicBezTo>
                  <a:pt x="35" y="58"/>
                  <a:pt x="35" y="58"/>
                  <a:pt x="35" y="58"/>
                </a:cubicBezTo>
                <a:cubicBezTo>
                  <a:pt x="35" y="59"/>
                  <a:pt x="35" y="59"/>
                  <a:pt x="35" y="59"/>
                </a:cubicBezTo>
                <a:cubicBezTo>
                  <a:pt x="38" y="61"/>
                  <a:pt x="38" y="61"/>
                  <a:pt x="38" y="61"/>
                </a:cubicBezTo>
                <a:cubicBezTo>
                  <a:pt x="40" y="64"/>
                  <a:pt x="40" y="64"/>
                  <a:pt x="40" y="64"/>
                </a:cubicBezTo>
                <a:cubicBezTo>
                  <a:pt x="41" y="65"/>
                  <a:pt x="41" y="65"/>
                  <a:pt x="41" y="65"/>
                </a:cubicBezTo>
                <a:cubicBezTo>
                  <a:pt x="42" y="66"/>
                  <a:pt x="42" y="66"/>
                  <a:pt x="42" y="66"/>
                </a:cubicBezTo>
                <a:cubicBezTo>
                  <a:pt x="43" y="66"/>
                  <a:pt x="43" y="66"/>
                  <a:pt x="43" y="66"/>
                </a:cubicBezTo>
                <a:cubicBezTo>
                  <a:pt x="45" y="67"/>
                  <a:pt x="45" y="67"/>
                  <a:pt x="45" y="67"/>
                </a:cubicBezTo>
                <a:cubicBezTo>
                  <a:pt x="45" y="69"/>
                  <a:pt x="45" y="69"/>
                  <a:pt x="45" y="69"/>
                </a:cubicBezTo>
                <a:cubicBezTo>
                  <a:pt x="46" y="70"/>
                  <a:pt x="46" y="70"/>
                  <a:pt x="46" y="70"/>
                </a:cubicBezTo>
                <a:cubicBezTo>
                  <a:pt x="48" y="72"/>
                  <a:pt x="48" y="72"/>
                  <a:pt x="48" y="72"/>
                </a:cubicBezTo>
                <a:cubicBezTo>
                  <a:pt x="51" y="74"/>
                  <a:pt x="51" y="74"/>
                  <a:pt x="51" y="74"/>
                </a:cubicBezTo>
                <a:cubicBezTo>
                  <a:pt x="51" y="75"/>
                  <a:pt x="51" y="75"/>
                  <a:pt x="51" y="75"/>
                </a:cubicBezTo>
                <a:cubicBezTo>
                  <a:pt x="53" y="75"/>
                  <a:pt x="53" y="75"/>
                  <a:pt x="53" y="75"/>
                </a:cubicBezTo>
                <a:cubicBezTo>
                  <a:pt x="57" y="79"/>
                  <a:pt x="57" y="79"/>
                  <a:pt x="57" y="79"/>
                </a:cubicBezTo>
                <a:cubicBezTo>
                  <a:pt x="57" y="80"/>
                  <a:pt x="57" y="80"/>
                  <a:pt x="57" y="80"/>
                </a:cubicBezTo>
                <a:cubicBezTo>
                  <a:pt x="58" y="80"/>
                  <a:pt x="58" y="80"/>
                  <a:pt x="58" y="80"/>
                </a:cubicBezTo>
                <a:cubicBezTo>
                  <a:pt x="59" y="82"/>
                  <a:pt x="59" y="82"/>
                  <a:pt x="59" y="82"/>
                </a:cubicBezTo>
                <a:cubicBezTo>
                  <a:pt x="59" y="81"/>
                  <a:pt x="59" y="81"/>
                  <a:pt x="59" y="81"/>
                </a:cubicBezTo>
                <a:cubicBezTo>
                  <a:pt x="59" y="80"/>
                  <a:pt x="59" y="80"/>
                  <a:pt x="59" y="80"/>
                </a:cubicBezTo>
                <a:cubicBezTo>
                  <a:pt x="59" y="79"/>
                  <a:pt x="59" y="79"/>
                  <a:pt x="59" y="79"/>
                </a:cubicBezTo>
                <a:cubicBezTo>
                  <a:pt x="59" y="79"/>
                  <a:pt x="59" y="79"/>
                  <a:pt x="59" y="79"/>
                </a:cubicBezTo>
                <a:cubicBezTo>
                  <a:pt x="60" y="79"/>
                  <a:pt x="60" y="79"/>
                  <a:pt x="60" y="79"/>
                </a:cubicBezTo>
                <a:cubicBezTo>
                  <a:pt x="62" y="81"/>
                  <a:pt x="62" y="81"/>
                  <a:pt x="62" y="81"/>
                </a:cubicBezTo>
                <a:cubicBezTo>
                  <a:pt x="63" y="81"/>
                  <a:pt x="63" y="81"/>
                  <a:pt x="63" y="81"/>
                </a:cubicBezTo>
                <a:cubicBezTo>
                  <a:pt x="63" y="79"/>
                  <a:pt x="63" y="79"/>
                  <a:pt x="63" y="79"/>
                </a:cubicBezTo>
                <a:cubicBezTo>
                  <a:pt x="63" y="78"/>
                  <a:pt x="63" y="78"/>
                  <a:pt x="63" y="78"/>
                </a:cubicBezTo>
                <a:cubicBezTo>
                  <a:pt x="64" y="79"/>
                  <a:pt x="64" y="79"/>
                  <a:pt x="64" y="79"/>
                </a:cubicBezTo>
                <a:cubicBezTo>
                  <a:pt x="66" y="80"/>
                  <a:pt x="66" y="80"/>
                  <a:pt x="66" y="80"/>
                </a:cubicBezTo>
                <a:cubicBezTo>
                  <a:pt x="66" y="81"/>
                  <a:pt x="66" y="81"/>
                  <a:pt x="66" y="81"/>
                </a:cubicBezTo>
                <a:cubicBezTo>
                  <a:pt x="67" y="80"/>
                  <a:pt x="67" y="80"/>
                  <a:pt x="67" y="80"/>
                </a:cubicBezTo>
                <a:cubicBezTo>
                  <a:pt x="67" y="77"/>
                  <a:pt x="67" y="77"/>
                  <a:pt x="67" y="77"/>
                </a:cubicBezTo>
                <a:cubicBezTo>
                  <a:pt x="68" y="74"/>
                  <a:pt x="68" y="74"/>
                  <a:pt x="68" y="74"/>
                </a:cubicBezTo>
                <a:cubicBezTo>
                  <a:pt x="67" y="71"/>
                  <a:pt x="67" y="71"/>
                  <a:pt x="67" y="71"/>
                </a:cubicBezTo>
                <a:cubicBezTo>
                  <a:pt x="68" y="69"/>
                  <a:pt x="68" y="69"/>
                  <a:pt x="68" y="69"/>
                </a:cubicBezTo>
                <a:cubicBezTo>
                  <a:pt x="67" y="68"/>
                  <a:pt x="67" y="68"/>
                  <a:pt x="67" y="68"/>
                </a:cubicBezTo>
                <a:cubicBezTo>
                  <a:pt x="68" y="66"/>
                  <a:pt x="68" y="66"/>
                  <a:pt x="68" y="66"/>
                </a:cubicBezTo>
                <a:cubicBezTo>
                  <a:pt x="69" y="65"/>
                  <a:pt x="69" y="65"/>
                  <a:pt x="69" y="65"/>
                </a:cubicBezTo>
                <a:cubicBezTo>
                  <a:pt x="69" y="64"/>
                  <a:pt x="69" y="64"/>
                  <a:pt x="69" y="64"/>
                </a:cubicBezTo>
                <a:cubicBezTo>
                  <a:pt x="69" y="63"/>
                  <a:pt x="69" y="63"/>
                  <a:pt x="69" y="63"/>
                </a:cubicBezTo>
                <a:cubicBezTo>
                  <a:pt x="68" y="63"/>
                  <a:pt x="68" y="63"/>
                  <a:pt x="68" y="63"/>
                </a:cubicBezTo>
                <a:cubicBezTo>
                  <a:pt x="67" y="62"/>
                  <a:pt x="67" y="62"/>
                  <a:pt x="67" y="62"/>
                </a:cubicBezTo>
                <a:cubicBezTo>
                  <a:pt x="66" y="60"/>
                  <a:pt x="66" y="60"/>
                  <a:pt x="66" y="60"/>
                </a:cubicBezTo>
                <a:cubicBezTo>
                  <a:pt x="66" y="60"/>
                  <a:pt x="66" y="60"/>
                  <a:pt x="66" y="60"/>
                </a:cubicBezTo>
                <a:cubicBezTo>
                  <a:pt x="65" y="59"/>
                  <a:pt x="65" y="59"/>
                  <a:pt x="65" y="59"/>
                </a:cubicBezTo>
                <a:cubicBezTo>
                  <a:pt x="64" y="59"/>
                  <a:pt x="64" y="59"/>
                  <a:pt x="64" y="59"/>
                </a:cubicBezTo>
                <a:cubicBezTo>
                  <a:pt x="62" y="59"/>
                  <a:pt x="62" y="59"/>
                  <a:pt x="62" y="59"/>
                </a:cubicBezTo>
                <a:cubicBezTo>
                  <a:pt x="61" y="59"/>
                  <a:pt x="61" y="59"/>
                  <a:pt x="61" y="59"/>
                </a:cubicBezTo>
                <a:cubicBezTo>
                  <a:pt x="61" y="57"/>
                  <a:pt x="61" y="57"/>
                  <a:pt x="61" y="57"/>
                </a:cubicBezTo>
                <a:cubicBezTo>
                  <a:pt x="60" y="56"/>
                  <a:pt x="60" y="56"/>
                  <a:pt x="60" y="56"/>
                </a:cubicBezTo>
                <a:cubicBezTo>
                  <a:pt x="59" y="56"/>
                  <a:pt x="59" y="56"/>
                  <a:pt x="59" y="56"/>
                </a:cubicBezTo>
                <a:cubicBezTo>
                  <a:pt x="60" y="55"/>
                  <a:pt x="60" y="55"/>
                  <a:pt x="60" y="55"/>
                </a:cubicBezTo>
                <a:cubicBezTo>
                  <a:pt x="59" y="53"/>
                  <a:pt x="59" y="53"/>
                  <a:pt x="59" y="53"/>
                </a:cubicBezTo>
                <a:cubicBezTo>
                  <a:pt x="59" y="50"/>
                  <a:pt x="59" y="50"/>
                  <a:pt x="59" y="50"/>
                </a:cubicBezTo>
                <a:cubicBezTo>
                  <a:pt x="58" y="51"/>
                  <a:pt x="58" y="51"/>
                  <a:pt x="58" y="51"/>
                </a:cubicBezTo>
                <a:cubicBezTo>
                  <a:pt x="57" y="50"/>
                  <a:pt x="57" y="50"/>
                  <a:pt x="57" y="50"/>
                </a:cubicBezTo>
                <a:cubicBezTo>
                  <a:pt x="54" y="50"/>
                  <a:pt x="54" y="50"/>
                  <a:pt x="54" y="50"/>
                </a:cubicBezTo>
                <a:cubicBezTo>
                  <a:pt x="52" y="49"/>
                  <a:pt x="52" y="49"/>
                  <a:pt x="52" y="49"/>
                </a:cubicBezTo>
                <a:cubicBezTo>
                  <a:pt x="52" y="48"/>
                  <a:pt x="52" y="48"/>
                  <a:pt x="52" y="48"/>
                </a:cubicBezTo>
                <a:cubicBezTo>
                  <a:pt x="54" y="47"/>
                  <a:pt x="54" y="47"/>
                  <a:pt x="54" y="47"/>
                </a:cubicBezTo>
                <a:cubicBezTo>
                  <a:pt x="55" y="46"/>
                  <a:pt x="55" y="46"/>
                  <a:pt x="55" y="46"/>
                </a:cubicBezTo>
                <a:cubicBezTo>
                  <a:pt x="54" y="46"/>
                  <a:pt x="54" y="46"/>
                  <a:pt x="54" y="46"/>
                </a:cubicBezTo>
                <a:cubicBezTo>
                  <a:pt x="53" y="46"/>
                  <a:pt x="53" y="46"/>
                  <a:pt x="53" y="46"/>
                </a:cubicBezTo>
                <a:cubicBezTo>
                  <a:pt x="52" y="46"/>
                  <a:pt x="52" y="46"/>
                  <a:pt x="52" y="46"/>
                </a:cubicBezTo>
                <a:cubicBezTo>
                  <a:pt x="51" y="46"/>
                  <a:pt x="51" y="46"/>
                  <a:pt x="51" y="46"/>
                </a:cubicBezTo>
                <a:cubicBezTo>
                  <a:pt x="52" y="45"/>
                  <a:pt x="52" y="45"/>
                  <a:pt x="52" y="45"/>
                </a:cubicBezTo>
                <a:cubicBezTo>
                  <a:pt x="53" y="44"/>
                  <a:pt x="53" y="44"/>
                  <a:pt x="53" y="44"/>
                </a:cubicBezTo>
                <a:cubicBezTo>
                  <a:pt x="55" y="44"/>
                  <a:pt x="55" y="44"/>
                  <a:pt x="55" y="44"/>
                </a:cubicBezTo>
                <a:cubicBezTo>
                  <a:pt x="55" y="43"/>
                  <a:pt x="55" y="43"/>
                  <a:pt x="55" y="43"/>
                </a:cubicBezTo>
                <a:cubicBezTo>
                  <a:pt x="53" y="41"/>
                  <a:pt x="53" y="41"/>
                  <a:pt x="53" y="41"/>
                </a:cubicBezTo>
                <a:cubicBezTo>
                  <a:pt x="52" y="41"/>
                  <a:pt x="52" y="41"/>
                  <a:pt x="52" y="41"/>
                </a:cubicBezTo>
                <a:cubicBezTo>
                  <a:pt x="50" y="41"/>
                  <a:pt x="50" y="41"/>
                  <a:pt x="50" y="41"/>
                </a:cubicBezTo>
                <a:cubicBezTo>
                  <a:pt x="49" y="42"/>
                  <a:pt x="49" y="42"/>
                  <a:pt x="49" y="42"/>
                </a:cubicBezTo>
                <a:cubicBezTo>
                  <a:pt x="47" y="42"/>
                  <a:pt x="47" y="42"/>
                  <a:pt x="47" y="42"/>
                </a:cubicBezTo>
                <a:cubicBezTo>
                  <a:pt x="48" y="42"/>
                  <a:pt x="48" y="42"/>
                  <a:pt x="48" y="42"/>
                </a:cubicBezTo>
                <a:cubicBezTo>
                  <a:pt x="49" y="42"/>
                  <a:pt x="49" y="42"/>
                  <a:pt x="49" y="42"/>
                </a:cubicBezTo>
                <a:cubicBezTo>
                  <a:pt x="49" y="41"/>
                  <a:pt x="49" y="41"/>
                  <a:pt x="49" y="41"/>
                </a:cubicBezTo>
                <a:cubicBezTo>
                  <a:pt x="50" y="41"/>
                  <a:pt x="50" y="41"/>
                  <a:pt x="50" y="41"/>
                </a:cubicBezTo>
                <a:cubicBezTo>
                  <a:pt x="50" y="40"/>
                  <a:pt x="50" y="40"/>
                  <a:pt x="50" y="40"/>
                </a:cubicBezTo>
                <a:cubicBezTo>
                  <a:pt x="48" y="39"/>
                  <a:pt x="48" y="39"/>
                  <a:pt x="48" y="39"/>
                </a:cubicBezTo>
                <a:cubicBezTo>
                  <a:pt x="46" y="39"/>
                  <a:pt x="46" y="39"/>
                  <a:pt x="46" y="39"/>
                </a:cubicBezTo>
                <a:cubicBezTo>
                  <a:pt x="44" y="38"/>
                  <a:pt x="44" y="38"/>
                  <a:pt x="44" y="38"/>
                </a:cubicBezTo>
                <a:cubicBezTo>
                  <a:pt x="44" y="37"/>
                  <a:pt x="44" y="37"/>
                  <a:pt x="44" y="37"/>
                </a:cubicBezTo>
                <a:cubicBezTo>
                  <a:pt x="44" y="35"/>
                  <a:pt x="44" y="35"/>
                  <a:pt x="44" y="35"/>
                </a:cubicBezTo>
                <a:cubicBezTo>
                  <a:pt x="42" y="33"/>
                  <a:pt x="42" y="33"/>
                  <a:pt x="42" y="33"/>
                </a:cubicBezTo>
                <a:cubicBezTo>
                  <a:pt x="41" y="33"/>
                  <a:pt x="41" y="33"/>
                  <a:pt x="41" y="33"/>
                </a:cubicBezTo>
                <a:cubicBezTo>
                  <a:pt x="40" y="33"/>
                  <a:pt x="40" y="33"/>
                  <a:pt x="40" y="33"/>
                </a:cubicBezTo>
                <a:cubicBezTo>
                  <a:pt x="39" y="32"/>
                  <a:pt x="39" y="32"/>
                  <a:pt x="39" y="32"/>
                </a:cubicBezTo>
                <a:cubicBezTo>
                  <a:pt x="39" y="30"/>
                  <a:pt x="39" y="30"/>
                  <a:pt x="39" y="30"/>
                </a:cubicBezTo>
                <a:cubicBezTo>
                  <a:pt x="37" y="28"/>
                  <a:pt x="37" y="28"/>
                  <a:pt x="37" y="28"/>
                </a:cubicBezTo>
                <a:cubicBezTo>
                  <a:pt x="35" y="27"/>
                  <a:pt x="35" y="27"/>
                  <a:pt x="35" y="27"/>
                </a:cubicBezTo>
                <a:cubicBezTo>
                  <a:pt x="33" y="27"/>
                  <a:pt x="33" y="27"/>
                  <a:pt x="33" y="27"/>
                </a:cubicBezTo>
                <a:cubicBezTo>
                  <a:pt x="33" y="27"/>
                  <a:pt x="33" y="27"/>
                  <a:pt x="33" y="27"/>
                </a:cubicBezTo>
                <a:cubicBezTo>
                  <a:pt x="32" y="27"/>
                  <a:pt x="32" y="27"/>
                  <a:pt x="32" y="27"/>
                </a:cubicBezTo>
                <a:cubicBezTo>
                  <a:pt x="32" y="25"/>
                  <a:pt x="32" y="25"/>
                  <a:pt x="32" y="25"/>
                </a:cubicBezTo>
                <a:cubicBezTo>
                  <a:pt x="31" y="26"/>
                  <a:pt x="31" y="26"/>
                  <a:pt x="31" y="26"/>
                </a:cubicBezTo>
                <a:cubicBezTo>
                  <a:pt x="30" y="25"/>
                  <a:pt x="30" y="25"/>
                  <a:pt x="30" y="25"/>
                </a:cubicBezTo>
                <a:cubicBezTo>
                  <a:pt x="30" y="23"/>
                  <a:pt x="30" y="23"/>
                  <a:pt x="30" y="23"/>
                </a:cubicBezTo>
                <a:cubicBezTo>
                  <a:pt x="29" y="22"/>
                  <a:pt x="29" y="22"/>
                  <a:pt x="29" y="22"/>
                </a:cubicBezTo>
                <a:cubicBezTo>
                  <a:pt x="28" y="21"/>
                  <a:pt x="28" y="21"/>
                  <a:pt x="28" y="21"/>
                </a:cubicBezTo>
                <a:cubicBezTo>
                  <a:pt x="27" y="21"/>
                  <a:pt x="27" y="21"/>
                  <a:pt x="27" y="21"/>
                </a:cubicBezTo>
                <a:cubicBezTo>
                  <a:pt x="23" y="18"/>
                  <a:pt x="23" y="18"/>
                  <a:pt x="23" y="18"/>
                </a:cubicBezTo>
                <a:cubicBezTo>
                  <a:pt x="22" y="18"/>
                  <a:pt x="22" y="18"/>
                  <a:pt x="22" y="18"/>
                </a:cubicBezTo>
                <a:cubicBezTo>
                  <a:pt x="21" y="16"/>
                  <a:pt x="21" y="16"/>
                  <a:pt x="21" y="16"/>
                </a:cubicBezTo>
                <a:cubicBezTo>
                  <a:pt x="19" y="16"/>
                  <a:pt x="19" y="16"/>
                  <a:pt x="19" y="16"/>
                </a:cubicBezTo>
                <a:cubicBezTo>
                  <a:pt x="19" y="15"/>
                  <a:pt x="19" y="15"/>
                  <a:pt x="19" y="15"/>
                </a:cubicBezTo>
                <a:cubicBezTo>
                  <a:pt x="18" y="13"/>
                  <a:pt x="18" y="13"/>
                  <a:pt x="18" y="13"/>
                </a:cubicBezTo>
                <a:cubicBezTo>
                  <a:pt x="17" y="12"/>
                  <a:pt x="17" y="12"/>
                  <a:pt x="17" y="12"/>
                </a:cubicBezTo>
                <a:cubicBezTo>
                  <a:pt x="16" y="11"/>
                  <a:pt x="16" y="11"/>
                  <a:pt x="16" y="11"/>
                </a:cubicBezTo>
                <a:cubicBezTo>
                  <a:pt x="16" y="11"/>
                  <a:pt x="16" y="11"/>
                  <a:pt x="16" y="11"/>
                </a:cubicBezTo>
                <a:cubicBezTo>
                  <a:pt x="15" y="9"/>
                  <a:pt x="15" y="9"/>
                  <a:pt x="15" y="9"/>
                </a:cubicBezTo>
                <a:cubicBezTo>
                  <a:pt x="14" y="9"/>
                  <a:pt x="14" y="9"/>
                  <a:pt x="14" y="9"/>
                </a:cubicBezTo>
                <a:cubicBezTo>
                  <a:pt x="12" y="9"/>
                  <a:pt x="12" y="9"/>
                  <a:pt x="12" y="9"/>
                </a:cubicBezTo>
                <a:cubicBezTo>
                  <a:pt x="11" y="9"/>
                  <a:pt x="11" y="9"/>
                  <a:pt x="11" y="9"/>
                </a:cubicBezTo>
                <a:cubicBezTo>
                  <a:pt x="11" y="8"/>
                  <a:pt x="11" y="8"/>
                  <a:pt x="11" y="8"/>
                </a:cubicBezTo>
                <a:cubicBezTo>
                  <a:pt x="9" y="8"/>
                  <a:pt x="9" y="8"/>
                  <a:pt x="9" y="8"/>
                </a:cubicBezTo>
                <a:cubicBezTo>
                  <a:pt x="7" y="9"/>
                  <a:pt x="7" y="9"/>
                  <a:pt x="7" y="9"/>
                </a:cubicBezTo>
                <a:cubicBezTo>
                  <a:pt x="6" y="8"/>
                  <a:pt x="6" y="8"/>
                  <a:pt x="6" y="8"/>
                </a:cubicBezTo>
                <a:cubicBezTo>
                  <a:pt x="4" y="6"/>
                  <a:pt x="4" y="6"/>
                  <a:pt x="4" y="6"/>
                </a:cubicBezTo>
                <a:cubicBezTo>
                  <a:pt x="1" y="6"/>
                  <a:pt x="1" y="6"/>
                  <a:pt x="1" y="6"/>
                </a:cubicBezTo>
                <a:lnTo>
                  <a:pt x="0" y="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8" name="Freeform 26">
            <a:extLst>
              <a:ext uri="{FF2B5EF4-FFF2-40B4-BE49-F238E27FC236}">
                <a16:creationId xmlns:a16="http://schemas.microsoft.com/office/drawing/2014/main" id="{81E89C95-1C67-9E6E-807A-2A86F8BA12AF}"/>
              </a:ext>
            </a:extLst>
          </p:cNvPr>
          <p:cNvSpPr>
            <a:spLocks noEditPoints="1"/>
          </p:cNvSpPr>
          <p:nvPr userDrawn="1"/>
        </p:nvSpPr>
        <p:spPr bwMode="auto">
          <a:xfrm>
            <a:off x="20918711" y="9952909"/>
            <a:ext cx="200013" cy="60326"/>
          </a:xfrm>
          <a:custGeom>
            <a:avLst/>
            <a:gdLst>
              <a:gd name="T0" fmla="*/ 0 w 63"/>
              <a:gd name="T1" fmla="*/ 16 h 19"/>
              <a:gd name="T2" fmla="*/ 3 w 63"/>
              <a:gd name="T3" fmla="*/ 19 h 19"/>
              <a:gd name="T4" fmla="*/ 6 w 63"/>
              <a:gd name="T5" fmla="*/ 16 h 19"/>
              <a:gd name="T6" fmla="*/ 9 w 63"/>
              <a:gd name="T7" fmla="*/ 16 h 19"/>
              <a:gd name="T8" fmla="*/ 9 w 63"/>
              <a:gd name="T9" fmla="*/ 12 h 19"/>
              <a:gd name="T10" fmla="*/ 9 w 63"/>
              <a:gd name="T11" fmla="*/ 12 h 19"/>
              <a:gd name="T12" fmla="*/ 3 w 63"/>
              <a:gd name="T13" fmla="*/ 12 h 19"/>
              <a:gd name="T14" fmla="*/ 0 w 63"/>
              <a:gd name="T15" fmla="*/ 16 h 19"/>
              <a:gd name="T16" fmla="*/ 0 w 63"/>
              <a:gd name="T17" fmla="*/ 16 h 19"/>
              <a:gd name="T18" fmla="*/ 16 w 63"/>
              <a:gd name="T19" fmla="*/ 9 h 19"/>
              <a:gd name="T20" fmla="*/ 19 w 63"/>
              <a:gd name="T21" fmla="*/ 16 h 19"/>
              <a:gd name="T22" fmla="*/ 25 w 63"/>
              <a:gd name="T23" fmla="*/ 19 h 19"/>
              <a:gd name="T24" fmla="*/ 25 w 63"/>
              <a:gd name="T25" fmla="*/ 19 h 19"/>
              <a:gd name="T26" fmla="*/ 28 w 63"/>
              <a:gd name="T27" fmla="*/ 16 h 19"/>
              <a:gd name="T28" fmla="*/ 31 w 63"/>
              <a:gd name="T29" fmla="*/ 12 h 19"/>
              <a:gd name="T30" fmla="*/ 34 w 63"/>
              <a:gd name="T31" fmla="*/ 12 h 19"/>
              <a:gd name="T32" fmla="*/ 44 w 63"/>
              <a:gd name="T33" fmla="*/ 12 h 19"/>
              <a:gd name="T34" fmla="*/ 50 w 63"/>
              <a:gd name="T35" fmla="*/ 9 h 19"/>
              <a:gd name="T36" fmla="*/ 56 w 63"/>
              <a:gd name="T37" fmla="*/ 6 h 19"/>
              <a:gd name="T38" fmla="*/ 56 w 63"/>
              <a:gd name="T39" fmla="*/ 6 h 19"/>
              <a:gd name="T40" fmla="*/ 59 w 63"/>
              <a:gd name="T41" fmla="*/ 6 h 19"/>
              <a:gd name="T42" fmla="*/ 63 w 63"/>
              <a:gd name="T43" fmla="*/ 3 h 19"/>
              <a:gd name="T44" fmla="*/ 63 w 63"/>
              <a:gd name="T45" fmla="*/ 0 h 19"/>
              <a:gd name="T46" fmla="*/ 59 w 63"/>
              <a:gd name="T47" fmla="*/ 0 h 19"/>
              <a:gd name="T48" fmla="*/ 53 w 63"/>
              <a:gd name="T49" fmla="*/ 0 h 19"/>
              <a:gd name="T50" fmla="*/ 50 w 63"/>
              <a:gd name="T51" fmla="*/ 0 h 19"/>
              <a:gd name="T52" fmla="*/ 44 w 63"/>
              <a:gd name="T53" fmla="*/ 0 h 19"/>
              <a:gd name="T54" fmla="*/ 41 w 63"/>
              <a:gd name="T55" fmla="*/ 0 h 19"/>
              <a:gd name="T56" fmla="*/ 34 w 63"/>
              <a:gd name="T57" fmla="*/ 3 h 19"/>
              <a:gd name="T58" fmla="*/ 28 w 63"/>
              <a:gd name="T59" fmla="*/ 3 h 19"/>
              <a:gd name="T60" fmla="*/ 22 w 63"/>
              <a:gd name="T61" fmla="*/ 6 h 19"/>
              <a:gd name="T62" fmla="*/ 16 w 63"/>
              <a:gd name="T6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 h="19">
                <a:moveTo>
                  <a:pt x="0" y="16"/>
                </a:moveTo>
                <a:lnTo>
                  <a:pt x="3" y="19"/>
                </a:lnTo>
                <a:lnTo>
                  <a:pt x="6" y="16"/>
                </a:lnTo>
                <a:lnTo>
                  <a:pt x="9" y="16"/>
                </a:lnTo>
                <a:lnTo>
                  <a:pt x="9" y="12"/>
                </a:lnTo>
                <a:lnTo>
                  <a:pt x="9" y="12"/>
                </a:lnTo>
                <a:lnTo>
                  <a:pt x="3" y="12"/>
                </a:lnTo>
                <a:lnTo>
                  <a:pt x="0" y="16"/>
                </a:lnTo>
                <a:lnTo>
                  <a:pt x="0" y="16"/>
                </a:lnTo>
                <a:close/>
                <a:moveTo>
                  <a:pt x="16" y="9"/>
                </a:moveTo>
                <a:lnTo>
                  <a:pt x="19" y="16"/>
                </a:lnTo>
                <a:lnTo>
                  <a:pt x="25" y="19"/>
                </a:lnTo>
                <a:lnTo>
                  <a:pt x="25" y="19"/>
                </a:lnTo>
                <a:lnTo>
                  <a:pt x="28" y="16"/>
                </a:lnTo>
                <a:lnTo>
                  <a:pt x="31" y="12"/>
                </a:lnTo>
                <a:lnTo>
                  <a:pt x="34" y="12"/>
                </a:lnTo>
                <a:lnTo>
                  <a:pt x="44" y="12"/>
                </a:lnTo>
                <a:lnTo>
                  <a:pt x="50" y="9"/>
                </a:lnTo>
                <a:lnTo>
                  <a:pt x="56" y="6"/>
                </a:lnTo>
                <a:lnTo>
                  <a:pt x="56" y="6"/>
                </a:lnTo>
                <a:lnTo>
                  <a:pt x="59" y="6"/>
                </a:lnTo>
                <a:lnTo>
                  <a:pt x="63" y="3"/>
                </a:lnTo>
                <a:lnTo>
                  <a:pt x="63" y="0"/>
                </a:lnTo>
                <a:lnTo>
                  <a:pt x="59" y="0"/>
                </a:lnTo>
                <a:lnTo>
                  <a:pt x="53" y="0"/>
                </a:lnTo>
                <a:lnTo>
                  <a:pt x="50" y="0"/>
                </a:lnTo>
                <a:lnTo>
                  <a:pt x="44" y="0"/>
                </a:lnTo>
                <a:lnTo>
                  <a:pt x="41" y="0"/>
                </a:lnTo>
                <a:lnTo>
                  <a:pt x="34" y="3"/>
                </a:lnTo>
                <a:lnTo>
                  <a:pt x="28" y="3"/>
                </a:lnTo>
                <a:lnTo>
                  <a:pt x="22" y="6"/>
                </a:lnTo>
                <a:lnTo>
                  <a:pt x="16" y="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9" name="Freeform 27">
            <a:extLst>
              <a:ext uri="{FF2B5EF4-FFF2-40B4-BE49-F238E27FC236}">
                <a16:creationId xmlns:a16="http://schemas.microsoft.com/office/drawing/2014/main" id="{578AF1DD-6F84-6DC2-B445-5EB34D916CF6}"/>
              </a:ext>
            </a:extLst>
          </p:cNvPr>
          <p:cNvSpPr>
            <a:spLocks noEditPoints="1"/>
          </p:cNvSpPr>
          <p:nvPr userDrawn="1"/>
        </p:nvSpPr>
        <p:spPr bwMode="auto">
          <a:xfrm>
            <a:off x="19429734" y="8921033"/>
            <a:ext cx="1200072" cy="415926"/>
          </a:xfrm>
          <a:custGeom>
            <a:avLst/>
            <a:gdLst>
              <a:gd name="T0" fmla="*/ 228 w 378"/>
              <a:gd name="T1" fmla="*/ 97 h 131"/>
              <a:gd name="T2" fmla="*/ 3 w 378"/>
              <a:gd name="T3" fmla="*/ 40 h 131"/>
              <a:gd name="T4" fmla="*/ 0 w 378"/>
              <a:gd name="T5" fmla="*/ 34 h 131"/>
              <a:gd name="T6" fmla="*/ 207 w 378"/>
              <a:gd name="T7" fmla="*/ 128 h 131"/>
              <a:gd name="T8" fmla="*/ 222 w 378"/>
              <a:gd name="T9" fmla="*/ 128 h 131"/>
              <a:gd name="T10" fmla="*/ 260 w 378"/>
              <a:gd name="T11" fmla="*/ 122 h 131"/>
              <a:gd name="T12" fmla="*/ 288 w 378"/>
              <a:gd name="T13" fmla="*/ 118 h 131"/>
              <a:gd name="T14" fmla="*/ 310 w 378"/>
              <a:gd name="T15" fmla="*/ 71 h 131"/>
              <a:gd name="T16" fmla="*/ 319 w 378"/>
              <a:gd name="T17" fmla="*/ 59 h 131"/>
              <a:gd name="T18" fmla="*/ 344 w 378"/>
              <a:gd name="T19" fmla="*/ 62 h 131"/>
              <a:gd name="T20" fmla="*/ 363 w 378"/>
              <a:gd name="T21" fmla="*/ 62 h 131"/>
              <a:gd name="T22" fmla="*/ 369 w 378"/>
              <a:gd name="T23" fmla="*/ 50 h 131"/>
              <a:gd name="T24" fmla="*/ 369 w 378"/>
              <a:gd name="T25" fmla="*/ 40 h 131"/>
              <a:gd name="T26" fmla="*/ 353 w 378"/>
              <a:gd name="T27" fmla="*/ 34 h 131"/>
              <a:gd name="T28" fmla="*/ 347 w 378"/>
              <a:gd name="T29" fmla="*/ 31 h 131"/>
              <a:gd name="T30" fmla="*/ 347 w 378"/>
              <a:gd name="T31" fmla="*/ 18 h 131"/>
              <a:gd name="T32" fmla="*/ 335 w 378"/>
              <a:gd name="T33" fmla="*/ 6 h 131"/>
              <a:gd name="T34" fmla="*/ 328 w 378"/>
              <a:gd name="T35" fmla="*/ 12 h 131"/>
              <a:gd name="T36" fmla="*/ 316 w 378"/>
              <a:gd name="T37" fmla="*/ 28 h 131"/>
              <a:gd name="T38" fmla="*/ 297 w 378"/>
              <a:gd name="T39" fmla="*/ 43 h 131"/>
              <a:gd name="T40" fmla="*/ 303 w 378"/>
              <a:gd name="T41" fmla="*/ 46 h 131"/>
              <a:gd name="T42" fmla="*/ 300 w 378"/>
              <a:gd name="T43" fmla="*/ 62 h 131"/>
              <a:gd name="T44" fmla="*/ 297 w 378"/>
              <a:gd name="T45" fmla="*/ 53 h 131"/>
              <a:gd name="T46" fmla="*/ 288 w 378"/>
              <a:gd name="T47" fmla="*/ 62 h 131"/>
              <a:gd name="T48" fmla="*/ 275 w 378"/>
              <a:gd name="T49" fmla="*/ 62 h 131"/>
              <a:gd name="T50" fmla="*/ 257 w 378"/>
              <a:gd name="T51" fmla="*/ 84 h 131"/>
              <a:gd name="T52" fmla="*/ 238 w 378"/>
              <a:gd name="T53" fmla="*/ 103 h 131"/>
              <a:gd name="T54" fmla="*/ 225 w 378"/>
              <a:gd name="T55" fmla="*/ 109 h 131"/>
              <a:gd name="T56" fmla="*/ 207 w 378"/>
              <a:gd name="T57" fmla="*/ 118 h 131"/>
              <a:gd name="T58" fmla="*/ 194 w 378"/>
              <a:gd name="T59" fmla="*/ 112 h 131"/>
              <a:gd name="T60" fmla="*/ 332 w 378"/>
              <a:gd name="T61" fmla="*/ 0 h 131"/>
              <a:gd name="T62" fmla="*/ 338 w 378"/>
              <a:gd name="T63" fmla="*/ 3 h 131"/>
              <a:gd name="T64" fmla="*/ 225 w 378"/>
              <a:gd name="T65" fmla="*/ 103 h 131"/>
              <a:gd name="T66" fmla="*/ 228 w 378"/>
              <a:gd name="T67" fmla="*/ 103 h 131"/>
              <a:gd name="T68" fmla="*/ 235 w 378"/>
              <a:gd name="T69" fmla="*/ 93 h 131"/>
              <a:gd name="T70" fmla="*/ 232 w 378"/>
              <a:gd name="T71" fmla="*/ 97 h 131"/>
              <a:gd name="T72" fmla="*/ 3 w 378"/>
              <a:gd name="T73" fmla="*/ 12 h 131"/>
              <a:gd name="T74" fmla="*/ 19 w 378"/>
              <a:gd name="T75" fmla="*/ 18 h 131"/>
              <a:gd name="T76" fmla="*/ 25 w 378"/>
              <a:gd name="T77" fmla="*/ 31 h 131"/>
              <a:gd name="T78" fmla="*/ 38 w 378"/>
              <a:gd name="T79" fmla="*/ 25 h 131"/>
              <a:gd name="T80" fmla="*/ 44 w 378"/>
              <a:gd name="T81" fmla="*/ 21 h 131"/>
              <a:gd name="T82" fmla="*/ 66 w 378"/>
              <a:gd name="T83" fmla="*/ 59 h 131"/>
              <a:gd name="T84" fmla="*/ 69 w 378"/>
              <a:gd name="T85" fmla="*/ 84 h 131"/>
              <a:gd name="T86" fmla="*/ 78 w 378"/>
              <a:gd name="T87" fmla="*/ 97 h 131"/>
              <a:gd name="T88" fmla="*/ 82 w 378"/>
              <a:gd name="T89" fmla="*/ 109 h 131"/>
              <a:gd name="T90" fmla="*/ 85 w 378"/>
              <a:gd name="T91" fmla="*/ 118 h 131"/>
              <a:gd name="T92" fmla="*/ 82 w 378"/>
              <a:gd name="T93" fmla="*/ 118 h 131"/>
              <a:gd name="T94" fmla="*/ 72 w 378"/>
              <a:gd name="T95" fmla="*/ 122 h 131"/>
              <a:gd name="T96" fmla="*/ 53 w 378"/>
              <a:gd name="T97" fmla="*/ 109 h 131"/>
              <a:gd name="T98" fmla="*/ 38 w 378"/>
              <a:gd name="T99" fmla="*/ 97 h 131"/>
              <a:gd name="T100" fmla="*/ 28 w 378"/>
              <a:gd name="T101" fmla="*/ 81 h 131"/>
              <a:gd name="T102" fmla="*/ 13 w 378"/>
              <a:gd name="T103" fmla="*/ 65 h 131"/>
              <a:gd name="T104" fmla="*/ 10 w 378"/>
              <a:gd name="T105" fmla="*/ 4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8" h="131">
                <a:moveTo>
                  <a:pt x="228" y="97"/>
                </a:moveTo>
                <a:lnTo>
                  <a:pt x="228" y="100"/>
                </a:lnTo>
                <a:lnTo>
                  <a:pt x="228" y="100"/>
                </a:lnTo>
                <a:lnTo>
                  <a:pt x="228" y="97"/>
                </a:lnTo>
                <a:lnTo>
                  <a:pt x="228" y="97"/>
                </a:lnTo>
                <a:lnTo>
                  <a:pt x="228" y="97"/>
                </a:lnTo>
                <a:lnTo>
                  <a:pt x="228" y="97"/>
                </a:lnTo>
                <a:close/>
                <a:moveTo>
                  <a:pt x="0" y="34"/>
                </a:moveTo>
                <a:lnTo>
                  <a:pt x="3" y="40"/>
                </a:lnTo>
                <a:lnTo>
                  <a:pt x="3" y="40"/>
                </a:lnTo>
                <a:lnTo>
                  <a:pt x="7" y="40"/>
                </a:lnTo>
                <a:lnTo>
                  <a:pt x="7" y="37"/>
                </a:lnTo>
                <a:lnTo>
                  <a:pt x="3" y="34"/>
                </a:lnTo>
                <a:lnTo>
                  <a:pt x="0" y="34"/>
                </a:lnTo>
                <a:lnTo>
                  <a:pt x="0" y="34"/>
                </a:lnTo>
                <a:close/>
                <a:moveTo>
                  <a:pt x="194" y="112"/>
                </a:moveTo>
                <a:lnTo>
                  <a:pt x="197" y="118"/>
                </a:lnTo>
                <a:lnTo>
                  <a:pt x="203" y="122"/>
                </a:lnTo>
                <a:lnTo>
                  <a:pt x="203" y="125"/>
                </a:lnTo>
                <a:lnTo>
                  <a:pt x="207" y="128"/>
                </a:lnTo>
                <a:lnTo>
                  <a:pt x="210" y="131"/>
                </a:lnTo>
                <a:lnTo>
                  <a:pt x="213" y="131"/>
                </a:lnTo>
                <a:lnTo>
                  <a:pt x="219" y="131"/>
                </a:lnTo>
                <a:lnTo>
                  <a:pt x="219" y="128"/>
                </a:lnTo>
                <a:lnTo>
                  <a:pt x="222" y="128"/>
                </a:lnTo>
                <a:lnTo>
                  <a:pt x="225" y="128"/>
                </a:lnTo>
                <a:lnTo>
                  <a:pt x="238" y="128"/>
                </a:lnTo>
                <a:lnTo>
                  <a:pt x="247" y="125"/>
                </a:lnTo>
                <a:lnTo>
                  <a:pt x="250" y="122"/>
                </a:lnTo>
                <a:lnTo>
                  <a:pt x="260" y="122"/>
                </a:lnTo>
                <a:lnTo>
                  <a:pt x="266" y="122"/>
                </a:lnTo>
                <a:lnTo>
                  <a:pt x="266" y="125"/>
                </a:lnTo>
                <a:lnTo>
                  <a:pt x="272" y="125"/>
                </a:lnTo>
                <a:lnTo>
                  <a:pt x="278" y="122"/>
                </a:lnTo>
                <a:lnTo>
                  <a:pt x="288" y="118"/>
                </a:lnTo>
                <a:lnTo>
                  <a:pt x="288" y="115"/>
                </a:lnTo>
                <a:lnTo>
                  <a:pt x="297" y="106"/>
                </a:lnTo>
                <a:lnTo>
                  <a:pt x="300" y="97"/>
                </a:lnTo>
                <a:lnTo>
                  <a:pt x="307" y="87"/>
                </a:lnTo>
                <a:lnTo>
                  <a:pt x="310" y="71"/>
                </a:lnTo>
                <a:lnTo>
                  <a:pt x="310" y="68"/>
                </a:lnTo>
                <a:lnTo>
                  <a:pt x="313" y="65"/>
                </a:lnTo>
                <a:lnTo>
                  <a:pt x="313" y="62"/>
                </a:lnTo>
                <a:lnTo>
                  <a:pt x="316" y="59"/>
                </a:lnTo>
                <a:lnTo>
                  <a:pt x="319" y="59"/>
                </a:lnTo>
                <a:lnTo>
                  <a:pt x="325" y="59"/>
                </a:lnTo>
                <a:lnTo>
                  <a:pt x="335" y="59"/>
                </a:lnTo>
                <a:lnTo>
                  <a:pt x="335" y="62"/>
                </a:lnTo>
                <a:lnTo>
                  <a:pt x="341" y="62"/>
                </a:lnTo>
                <a:lnTo>
                  <a:pt x="344" y="62"/>
                </a:lnTo>
                <a:lnTo>
                  <a:pt x="347" y="59"/>
                </a:lnTo>
                <a:lnTo>
                  <a:pt x="350" y="62"/>
                </a:lnTo>
                <a:lnTo>
                  <a:pt x="353" y="65"/>
                </a:lnTo>
                <a:lnTo>
                  <a:pt x="357" y="62"/>
                </a:lnTo>
                <a:lnTo>
                  <a:pt x="363" y="62"/>
                </a:lnTo>
                <a:lnTo>
                  <a:pt x="363" y="59"/>
                </a:lnTo>
                <a:lnTo>
                  <a:pt x="357" y="56"/>
                </a:lnTo>
                <a:lnTo>
                  <a:pt x="357" y="50"/>
                </a:lnTo>
                <a:lnTo>
                  <a:pt x="360" y="46"/>
                </a:lnTo>
                <a:lnTo>
                  <a:pt x="369" y="50"/>
                </a:lnTo>
                <a:lnTo>
                  <a:pt x="375" y="46"/>
                </a:lnTo>
                <a:lnTo>
                  <a:pt x="378" y="43"/>
                </a:lnTo>
                <a:lnTo>
                  <a:pt x="378" y="40"/>
                </a:lnTo>
                <a:lnTo>
                  <a:pt x="375" y="40"/>
                </a:lnTo>
                <a:lnTo>
                  <a:pt x="369" y="40"/>
                </a:lnTo>
                <a:lnTo>
                  <a:pt x="366" y="37"/>
                </a:lnTo>
                <a:lnTo>
                  <a:pt x="363" y="37"/>
                </a:lnTo>
                <a:lnTo>
                  <a:pt x="360" y="31"/>
                </a:lnTo>
                <a:lnTo>
                  <a:pt x="357" y="31"/>
                </a:lnTo>
                <a:lnTo>
                  <a:pt x="353" y="34"/>
                </a:lnTo>
                <a:lnTo>
                  <a:pt x="350" y="34"/>
                </a:lnTo>
                <a:lnTo>
                  <a:pt x="357" y="31"/>
                </a:lnTo>
                <a:lnTo>
                  <a:pt x="353" y="28"/>
                </a:lnTo>
                <a:lnTo>
                  <a:pt x="350" y="28"/>
                </a:lnTo>
                <a:lnTo>
                  <a:pt x="347" y="31"/>
                </a:lnTo>
                <a:lnTo>
                  <a:pt x="347" y="31"/>
                </a:lnTo>
                <a:lnTo>
                  <a:pt x="344" y="28"/>
                </a:lnTo>
                <a:lnTo>
                  <a:pt x="344" y="25"/>
                </a:lnTo>
                <a:lnTo>
                  <a:pt x="350" y="21"/>
                </a:lnTo>
                <a:lnTo>
                  <a:pt x="347" y="18"/>
                </a:lnTo>
                <a:lnTo>
                  <a:pt x="344" y="15"/>
                </a:lnTo>
                <a:lnTo>
                  <a:pt x="341" y="18"/>
                </a:lnTo>
                <a:lnTo>
                  <a:pt x="338" y="15"/>
                </a:lnTo>
                <a:lnTo>
                  <a:pt x="338" y="9"/>
                </a:lnTo>
                <a:lnTo>
                  <a:pt x="335" y="6"/>
                </a:lnTo>
                <a:lnTo>
                  <a:pt x="332" y="6"/>
                </a:lnTo>
                <a:lnTo>
                  <a:pt x="335" y="12"/>
                </a:lnTo>
                <a:lnTo>
                  <a:pt x="328" y="15"/>
                </a:lnTo>
                <a:lnTo>
                  <a:pt x="328" y="15"/>
                </a:lnTo>
                <a:lnTo>
                  <a:pt x="328" y="12"/>
                </a:lnTo>
                <a:lnTo>
                  <a:pt x="328" y="9"/>
                </a:lnTo>
                <a:lnTo>
                  <a:pt x="325" y="9"/>
                </a:lnTo>
                <a:lnTo>
                  <a:pt x="322" y="15"/>
                </a:lnTo>
                <a:lnTo>
                  <a:pt x="319" y="18"/>
                </a:lnTo>
                <a:lnTo>
                  <a:pt x="316" y="28"/>
                </a:lnTo>
                <a:lnTo>
                  <a:pt x="316" y="31"/>
                </a:lnTo>
                <a:lnTo>
                  <a:pt x="310" y="40"/>
                </a:lnTo>
                <a:lnTo>
                  <a:pt x="307" y="40"/>
                </a:lnTo>
                <a:lnTo>
                  <a:pt x="300" y="40"/>
                </a:lnTo>
                <a:lnTo>
                  <a:pt x="297" y="43"/>
                </a:lnTo>
                <a:lnTo>
                  <a:pt x="300" y="43"/>
                </a:lnTo>
                <a:lnTo>
                  <a:pt x="297" y="46"/>
                </a:lnTo>
                <a:lnTo>
                  <a:pt x="300" y="46"/>
                </a:lnTo>
                <a:lnTo>
                  <a:pt x="303" y="46"/>
                </a:lnTo>
                <a:lnTo>
                  <a:pt x="303" y="46"/>
                </a:lnTo>
                <a:lnTo>
                  <a:pt x="300" y="50"/>
                </a:lnTo>
                <a:lnTo>
                  <a:pt x="300" y="50"/>
                </a:lnTo>
                <a:lnTo>
                  <a:pt x="300" y="53"/>
                </a:lnTo>
                <a:lnTo>
                  <a:pt x="303" y="59"/>
                </a:lnTo>
                <a:lnTo>
                  <a:pt x="300" y="62"/>
                </a:lnTo>
                <a:lnTo>
                  <a:pt x="297" y="59"/>
                </a:lnTo>
                <a:lnTo>
                  <a:pt x="297" y="56"/>
                </a:lnTo>
                <a:lnTo>
                  <a:pt x="297" y="53"/>
                </a:lnTo>
                <a:lnTo>
                  <a:pt x="297" y="53"/>
                </a:lnTo>
                <a:lnTo>
                  <a:pt x="297" y="53"/>
                </a:lnTo>
                <a:lnTo>
                  <a:pt x="294" y="53"/>
                </a:lnTo>
                <a:lnTo>
                  <a:pt x="291" y="56"/>
                </a:lnTo>
                <a:lnTo>
                  <a:pt x="294" y="62"/>
                </a:lnTo>
                <a:lnTo>
                  <a:pt x="291" y="65"/>
                </a:lnTo>
                <a:lnTo>
                  <a:pt x="288" y="62"/>
                </a:lnTo>
                <a:lnTo>
                  <a:pt x="285" y="56"/>
                </a:lnTo>
                <a:lnTo>
                  <a:pt x="282" y="56"/>
                </a:lnTo>
                <a:lnTo>
                  <a:pt x="278" y="53"/>
                </a:lnTo>
                <a:lnTo>
                  <a:pt x="275" y="59"/>
                </a:lnTo>
                <a:lnTo>
                  <a:pt x="275" y="62"/>
                </a:lnTo>
                <a:lnTo>
                  <a:pt x="272" y="65"/>
                </a:lnTo>
                <a:lnTo>
                  <a:pt x="269" y="71"/>
                </a:lnTo>
                <a:lnTo>
                  <a:pt x="263" y="75"/>
                </a:lnTo>
                <a:lnTo>
                  <a:pt x="263" y="81"/>
                </a:lnTo>
                <a:lnTo>
                  <a:pt x="257" y="84"/>
                </a:lnTo>
                <a:lnTo>
                  <a:pt x="253" y="90"/>
                </a:lnTo>
                <a:lnTo>
                  <a:pt x="238" y="93"/>
                </a:lnTo>
                <a:lnTo>
                  <a:pt x="235" y="93"/>
                </a:lnTo>
                <a:lnTo>
                  <a:pt x="235" y="100"/>
                </a:lnTo>
                <a:lnTo>
                  <a:pt x="238" y="103"/>
                </a:lnTo>
                <a:lnTo>
                  <a:pt x="235" y="100"/>
                </a:lnTo>
                <a:lnTo>
                  <a:pt x="232" y="103"/>
                </a:lnTo>
                <a:lnTo>
                  <a:pt x="228" y="103"/>
                </a:lnTo>
                <a:lnTo>
                  <a:pt x="225" y="106"/>
                </a:lnTo>
                <a:lnTo>
                  <a:pt x="225" y="109"/>
                </a:lnTo>
                <a:lnTo>
                  <a:pt x="225" y="115"/>
                </a:lnTo>
                <a:lnTo>
                  <a:pt x="222" y="118"/>
                </a:lnTo>
                <a:lnTo>
                  <a:pt x="222" y="122"/>
                </a:lnTo>
                <a:lnTo>
                  <a:pt x="213" y="122"/>
                </a:lnTo>
                <a:lnTo>
                  <a:pt x="207" y="118"/>
                </a:lnTo>
                <a:lnTo>
                  <a:pt x="200" y="118"/>
                </a:lnTo>
                <a:lnTo>
                  <a:pt x="197" y="115"/>
                </a:lnTo>
                <a:lnTo>
                  <a:pt x="194" y="112"/>
                </a:lnTo>
                <a:lnTo>
                  <a:pt x="194" y="112"/>
                </a:lnTo>
                <a:lnTo>
                  <a:pt x="194" y="112"/>
                </a:lnTo>
                <a:close/>
                <a:moveTo>
                  <a:pt x="332" y="0"/>
                </a:moveTo>
                <a:lnTo>
                  <a:pt x="328" y="3"/>
                </a:lnTo>
                <a:lnTo>
                  <a:pt x="328" y="3"/>
                </a:lnTo>
                <a:lnTo>
                  <a:pt x="332" y="0"/>
                </a:lnTo>
                <a:lnTo>
                  <a:pt x="332" y="0"/>
                </a:lnTo>
                <a:lnTo>
                  <a:pt x="332" y="0"/>
                </a:lnTo>
                <a:close/>
                <a:moveTo>
                  <a:pt x="338" y="0"/>
                </a:moveTo>
                <a:lnTo>
                  <a:pt x="335" y="3"/>
                </a:lnTo>
                <a:lnTo>
                  <a:pt x="335" y="3"/>
                </a:lnTo>
                <a:lnTo>
                  <a:pt x="338" y="3"/>
                </a:lnTo>
                <a:lnTo>
                  <a:pt x="338" y="0"/>
                </a:lnTo>
                <a:lnTo>
                  <a:pt x="338" y="0"/>
                </a:lnTo>
                <a:lnTo>
                  <a:pt x="338" y="0"/>
                </a:lnTo>
                <a:close/>
                <a:moveTo>
                  <a:pt x="228" y="103"/>
                </a:moveTo>
                <a:lnTo>
                  <a:pt x="225" y="103"/>
                </a:lnTo>
                <a:lnTo>
                  <a:pt x="228" y="100"/>
                </a:lnTo>
                <a:lnTo>
                  <a:pt x="228" y="103"/>
                </a:lnTo>
                <a:lnTo>
                  <a:pt x="228" y="103"/>
                </a:lnTo>
                <a:close/>
                <a:moveTo>
                  <a:pt x="232" y="100"/>
                </a:moveTo>
                <a:lnTo>
                  <a:pt x="228" y="103"/>
                </a:lnTo>
                <a:lnTo>
                  <a:pt x="228" y="100"/>
                </a:lnTo>
                <a:lnTo>
                  <a:pt x="228" y="100"/>
                </a:lnTo>
                <a:lnTo>
                  <a:pt x="232" y="100"/>
                </a:lnTo>
                <a:lnTo>
                  <a:pt x="232" y="100"/>
                </a:lnTo>
                <a:close/>
                <a:moveTo>
                  <a:pt x="235" y="93"/>
                </a:moveTo>
                <a:lnTo>
                  <a:pt x="235" y="100"/>
                </a:lnTo>
                <a:lnTo>
                  <a:pt x="232" y="100"/>
                </a:lnTo>
                <a:lnTo>
                  <a:pt x="228" y="97"/>
                </a:lnTo>
                <a:lnTo>
                  <a:pt x="228" y="97"/>
                </a:lnTo>
                <a:lnTo>
                  <a:pt x="232" y="97"/>
                </a:lnTo>
                <a:lnTo>
                  <a:pt x="232" y="97"/>
                </a:lnTo>
                <a:lnTo>
                  <a:pt x="235" y="93"/>
                </a:lnTo>
                <a:lnTo>
                  <a:pt x="235" y="93"/>
                </a:lnTo>
                <a:close/>
                <a:moveTo>
                  <a:pt x="3" y="18"/>
                </a:moveTo>
                <a:lnTo>
                  <a:pt x="3" y="12"/>
                </a:lnTo>
                <a:lnTo>
                  <a:pt x="7" y="9"/>
                </a:lnTo>
                <a:lnTo>
                  <a:pt x="10" y="12"/>
                </a:lnTo>
                <a:lnTo>
                  <a:pt x="16" y="15"/>
                </a:lnTo>
                <a:lnTo>
                  <a:pt x="16" y="18"/>
                </a:lnTo>
                <a:lnTo>
                  <a:pt x="19" y="18"/>
                </a:lnTo>
                <a:lnTo>
                  <a:pt x="22" y="18"/>
                </a:lnTo>
                <a:lnTo>
                  <a:pt x="22" y="25"/>
                </a:lnTo>
                <a:lnTo>
                  <a:pt x="19" y="28"/>
                </a:lnTo>
                <a:lnTo>
                  <a:pt x="19" y="31"/>
                </a:lnTo>
                <a:lnTo>
                  <a:pt x="25" y="31"/>
                </a:lnTo>
                <a:lnTo>
                  <a:pt x="28" y="28"/>
                </a:lnTo>
                <a:lnTo>
                  <a:pt x="32" y="28"/>
                </a:lnTo>
                <a:lnTo>
                  <a:pt x="35" y="31"/>
                </a:lnTo>
                <a:lnTo>
                  <a:pt x="38" y="28"/>
                </a:lnTo>
                <a:lnTo>
                  <a:pt x="38" y="25"/>
                </a:lnTo>
                <a:lnTo>
                  <a:pt x="38" y="25"/>
                </a:lnTo>
                <a:lnTo>
                  <a:pt x="38" y="25"/>
                </a:lnTo>
                <a:lnTo>
                  <a:pt x="41" y="25"/>
                </a:lnTo>
                <a:lnTo>
                  <a:pt x="44" y="21"/>
                </a:lnTo>
                <a:lnTo>
                  <a:pt x="44" y="21"/>
                </a:lnTo>
                <a:lnTo>
                  <a:pt x="47" y="28"/>
                </a:lnTo>
                <a:lnTo>
                  <a:pt x="63" y="40"/>
                </a:lnTo>
                <a:lnTo>
                  <a:pt x="66" y="50"/>
                </a:lnTo>
                <a:lnTo>
                  <a:pt x="69" y="56"/>
                </a:lnTo>
                <a:lnTo>
                  <a:pt x="66" y="59"/>
                </a:lnTo>
                <a:lnTo>
                  <a:pt x="69" y="68"/>
                </a:lnTo>
                <a:lnTo>
                  <a:pt x="66" y="68"/>
                </a:lnTo>
                <a:lnTo>
                  <a:pt x="66" y="71"/>
                </a:lnTo>
                <a:lnTo>
                  <a:pt x="69" y="75"/>
                </a:lnTo>
                <a:lnTo>
                  <a:pt x="69" y="84"/>
                </a:lnTo>
                <a:lnTo>
                  <a:pt x="72" y="90"/>
                </a:lnTo>
                <a:lnTo>
                  <a:pt x="75" y="93"/>
                </a:lnTo>
                <a:lnTo>
                  <a:pt x="78" y="93"/>
                </a:lnTo>
                <a:lnTo>
                  <a:pt x="78" y="97"/>
                </a:lnTo>
                <a:lnTo>
                  <a:pt x="78" y="97"/>
                </a:lnTo>
                <a:lnTo>
                  <a:pt x="78" y="103"/>
                </a:lnTo>
                <a:lnTo>
                  <a:pt x="82" y="106"/>
                </a:lnTo>
                <a:lnTo>
                  <a:pt x="82" y="106"/>
                </a:lnTo>
                <a:lnTo>
                  <a:pt x="82" y="106"/>
                </a:lnTo>
                <a:lnTo>
                  <a:pt x="82" y="109"/>
                </a:lnTo>
                <a:lnTo>
                  <a:pt x="88" y="115"/>
                </a:lnTo>
                <a:lnTo>
                  <a:pt x="88" y="122"/>
                </a:lnTo>
                <a:lnTo>
                  <a:pt x="85" y="122"/>
                </a:lnTo>
                <a:lnTo>
                  <a:pt x="85" y="118"/>
                </a:lnTo>
                <a:lnTo>
                  <a:pt x="85" y="118"/>
                </a:lnTo>
                <a:lnTo>
                  <a:pt x="82" y="115"/>
                </a:lnTo>
                <a:lnTo>
                  <a:pt x="82" y="115"/>
                </a:lnTo>
                <a:lnTo>
                  <a:pt x="82" y="118"/>
                </a:lnTo>
                <a:lnTo>
                  <a:pt x="82" y="118"/>
                </a:lnTo>
                <a:lnTo>
                  <a:pt x="82" y="118"/>
                </a:lnTo>
                <a:lnTo>
                  <a:pt x="82" y="122"/>
                </a:lnTo>
                <a:lnTo>
                  <a:pt x="78" y="122"/>
                </a:lnTo>
                <a:lnTo>
                  <a:pt x="78" y="122"/>
                </a:lnTo>
                <a:lnTo>
                  <a:pt x="75" y="122"/>
                </a:lnTo>
                <a:lnTo>
                  <a:pt x="72" y="122"/>
                </a:lnTo>
                <a:lnTo>
                  <a:pt x="69" y="118"/>
                </a:lnTo>
                <a:lnTo>
                  <a:pt x="63" y="115"/>
                </a:lnTo>
                <a:lnTo>
                  <a:pt x="57" y="112"/>
                </a:lnTo>
                <a:lnTo>
                  <a:pt x="53" y="109"/>
                </a:lnTo>
                <a:lnTo>
                  <a:pt x="53" y="109"/>
                </a:lnTo>
                <a:lnTo>
                  <a:pt x="50" y="109"/>
                </a:lnTo>
                <a:lnTo>
                  <a:pt x="47" y="109"/>
                </a:lnTo>
                <a:lnTo>
                  <a:pt x="41" y="103"/>
                </a:lnTo>
                <a:lnTo>
                  <a:pt x="41" y="100"/>
                </a:lnTo>
                <a:lnTo>
                  <a:pt x="38" y="97"/>
                </a:lnTo>
                <a:lnTo>
                  <a:pt x="28" y="93"/>
                </a:lnTo>
                <a:lnTo>
                  <a:pt x="28" y="90"/>
                </a:lnTo>
                <a:lnTo>
                  <a:pt x="28" y="87"/>
                </a:lnTo>
                <a:lnTo>
                  <a:pt x="32" y="84"/>
                </a:lnTo>
                <a:lnTo>
                  <a:pt x="28" y="81"/>
                </a:lnTo>
                <a:lnTo>
                  <a:pt x="25" y="78"/>
                </a:lnTo>
                <a:lnTo>
                  <a:pt x="22" y="75"/>
                </a:lnTo>
                <a:lnTo>
                  <a:pt x="16" y="71"/>
                </a:lnTo>
                <a:lnTo>
                  <a:pt x="13" y="68"/>
                </a:lnTo>
                <a:lnTo>
                  <a:pt x="13" y="65"/>
                </a:lnTo>
                <a:lnTo>
                  <a:pt x="13" y="62"/>
                </a:lnTo>
                <a:lnTo>
                  <a:pt x="10" y="59"/>
                </a:lnTo>
                <a:lnTo>
                  <a:pt x="13" y="56"/>
                </a:lnTo>
                <a:lnTo>
                  <a:pt x="13" y="50"/>
                </a:lnTo>
                <a:lnTo>
                  <a:pt x="10" y="46"/>
                </a:lnTo>
                <a:lnTo>
                  <a:pt x="10" y="40"/>
                </a:lnTo>
                <a:lnTo>
                  <a:pt x="7" y="25"/>
                </a:lnTo>
                <a:lnTo>
                  <a:pt x="3" y="18"/>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0" name="Freeform 28">
            <a:extLst>
              <a:ext uri="{FF2B5EF4-FFF2-40B4-BE49-F238E27FC236}">
                <a16:creationId xmlns:a16="http://schemas.microsoft.com/office/drawing/2014/main" id="{A9BA29C8-B3F5-FF8E-C2B3-D6A79D1980CF}"/>
              </a:ext>
            </a:extLst>
          </p:cNvPr>
          <p:cNvSpPr>
            <a:spLocks noEditPoints="1"/>
          </p:cNvSpPr>
          <p:nvPr userDrawn="1"/>
        </p:nvSpPr>
        <p:spPr bwMode="auto">
          <a:xfrm>
            <a:off x="20312324" y="9067083"/>
            <a:ext cx="79371" cy="60326"/>
          </a:xfrm>
          <a:custGeom>
            <a:avLst/>
            <a:gdLst>
              <a:gd name="T0" fmla="*/ 0 w 25"/>
              <a:gd name="T1" fmla="*/ 7 h 19"/>
              <a:gd name="T2" fmla="*/ 4 w 25"/>
              <a:gd name="T3" fmla="*/ 10 h 19"/>
              <a:gd name="T4" fmla="*/ 7 w 25"/>
              <a:gd name="T5" fmla="*/ 10 h 19"/>
              <a:gd name="T6" fmla="*/ 10 w 25"/>
              <a:gd name="T7" fmla="*/ 16 h 19"/>
              <a:gd name="T8" fmla="*/ 13 w 25"/>
              <a:gd name="T9" fmla="*/ 19 h 19"/>
              <a:gd name="T10" fmla="*/ 16 w 25"/>
              <a:gd name="T11" fmla="*/ 16 h 19"/>
              <a:gd name="T12" fmla="*/ 13 w 25"/>
              <a:gd name="T13" fmla="*/ 10 h 19"/>
              <a:gd name="T14" fmla="*/ 16 w 25"/>
              <a:gd name="T15" fmla="*/ 7 h 19"/>
              <a:gd name="T16" fmla="*/ 19 w 25"/>
              <a:gd name="T17" fmla="*/ 7 h 19"/>
              <a:gd name="T18" fmla="*/ 19 w 25"/>
              <a:gd name="T19" fmla="*/ 4 h 19"/>
              <a:gd name="T20" fmla="*/ 16 w 25"/>
              <a:gd name="T21" fmla="*/ 0 h 19"/>
              <a:gd name="T22" fmla="*/ 13 w 25"/>
              <a:gd name="T23" fmla="*/ 0 h 19"/>
              <a:gd name="T24" fmla="*/ 10 w 25"/>
              <a:gd name="T25" fmla="*/ 4 h 19"/>
              <a:gd name="T26" fmla="*/ 0 w 25"/>
              <a:gd name="T27" fmla="*/ 7 h 19"/>
              <a:gd name="T28" fmla="*/ 0 w 25"/>
              <a:gd name="T29" fmla="*/ 7 h 19"/>
              <a:gd name="T30" fmla="*/ 0 w 25"/>
              <a:gd name="T31" fmla="*/ 7 h 19"/>
              <a:gd name="T32" fmla="*/ 19 w 25"/>
              <a:gd name="T33" fmla="*/ 7 h 19"/>
              <a:gd name="T34" fmla="*/ 19 w 25"/>
              <a:gd name="T35" fmla="*/ 10 h 19"/>
              <a:gd name="T36" fmla="*/ 19 w 25"/>
              <a:gd name="T37" fmla="*/ 13 h 19"/>
              <a:gd name="T38" fmla="*/ 22 w 25"/>
              <a:gd name="T39" fmla="*/ 16 h 19"/>
              <a:gd name="T40" fmla="*/ 25 w 25"/>
              <a:gd name="T41" fmla="*/ 13 h 19"/>
              <a:gd name="T42" fmla="*/ 22 w 25"/>
              <a:gd name="T43" fmla="*/ 7 h 19"/>
              <a:gd name="T44" fmla="*/ 22 w 25"/>
              <a:gd name="T45" fmla="*/ 4 h 19"/>
              <a:gd name="T46" fmla="*/ 19 w 25"/>
              <a:gd name="T47" fmla="*/ 7 h 19"/>
              <a:gd name="T48" fmla="*/ 19 w 25"/>
              <a:gd name="T49"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19">
                <a:moveTo>
                  <a:pt x="0" y="7"/>
                </a:moveTo>
                <a:lnTo>
                  <a:pt x="4" y="10"/>
                </a:lnTo>
                <a:lnTo>
                  <a:pt x="7" y="10"/>
                </a:lnTo>
                <a:lnTo>
                  <a:pt x="10" y="16"/>
                </a:lnTo>
                <a:lnTo>
                  <a:pt x="13" y="19"/>
                </a:lnTo>
                <a:lnTo>
                  <a:pt x="16" y="16"/>
                </a:lnTo>
                <a:lnTo>
                  <a:pt x="13" y="10"/>
                </a:lnTo>
                <a:lnTo>
                  <a:pt x="16" y="7"/>
                </a:lnTo>
                <a:lnTo>
                  <a:pt x="19" y="7"/>
                </a:lnTo>
                <a:lnTo>
                  <a:pt x="19" y="4"/>
                </a:lnTo>
                <a:lnTo>
                  <a:pt x="16" y="0"/>
                </a:lnTo>
                <a:lnTo>
                  <a:pt x="13" y="0"/>
                </a:lnTo>
                <a:lnTo>
                  <a:pt x="10" y="4"/>
                </a:lnTo>
                <a:lnTo>
                  <a:pt x="0" y="7"/>
                </a:lnTo>
                <a:lnTo>
                  <a:pt x="0" y="7"/>
                </a:lnTo>
                <a:lnTo>
                  <a:pt x="0" y="7"/>
                </a:lnTo>
                <a:close/>
                <a:moveTo>
                  <a:pt x="19" y="7"/>
                </a:moveTo>
                <a:lnTo>
                  <a:pt x="19" y="10"/>
                </a:lnTo>
                <a:lnTo>
                  <a:pt x="19" y="13"/>
                </a:lnTo>
                <a:lnTo>
                  <a:pt x="22" y="16"/>
                </a:lnTo>
                <a:lnTo>
                  <a:pt x="25" y="13"/>
                </a:lnTo>
                <a:lnTo>
                  <a:pt x="22" y="7"/>
                </a:lnTo>
                <a:lnTo>
                  <a:pt x="22" y="4"/>
                </a:lnTo>
                <a:lnTo>
                  <a:pt x="19" y="7"/>
                </a:lnTo>
                <a:lnTo>
                  <a:pt x="19" y="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1" name="Freeform 29">
            <a:extLst>
              <a:ext uri="{FF2B5EF4-FFF2-40B4-BE49-F238E27FC236}">
                <a16:creationId xmlns:a16="http://schemas.microsoft.com/office/drawing/2014/main" id="{2FF733F3-75A2-2CF4-86FD-B99CCF367FE6}"/>
              </a:ext>
            </a:extLst>
          </p:cNvPr>
          <p:cNvSpPr>
            <a:spLocks noEditPoints="1"/>
          </p:cNvSpPr>
          <p:nvPr userDrawn="1"/>
        </p:nvSpPr>
        <p:spPr bwMode="auto">
          <a:xfrm>
            <a:off x="19490053" y="7838357"/>
            <a:ext cx="504793" cy="1003302"/>
          </a:xfrm>
          <a:custGeom>
            <a:avLst/>
            <a:gdLst>
              <a:gd name="T0" fmla="*/ 6 w 159"/>
              <a:gd name="T1" fmla="*/ 15 h 316"/>
              <a:gd name="T2" fmla="*/ 16 w 159"/>
              <a:gd name="T3" fmla="*/ 18 h 316"/>
              <a:gd name="T4" fmla="*/ 28 w 159"/>
              <a:gd name="T5" fmla="*/ 15 h 316"/>
              <a:gd name="T6" fmla="*/ 44 w 159"/>
              <a:gd name="T7" fmla="*/ 12 h 316"/>
              <a:gd name="T8" fmla="*/ 59 w 159"/>
              <a:gd name="T9" fmla="*/ 0 h 316"/>
              <a:gd name="T10" fmla="*/ 81 w 159"/>
              <a:gd name="T11" fmla="*/ 9 h 316"/>
              <a:gd name="T12" fmla="*/ 88 w 159"/>
              <a:gd name="T13" fmla="*/ 15 h 316"/>
              <a:gd name="T14" fmla="*/ 97 w 159"/>
              <a:gd name="T15" fmla="*/ 34 h 316"/>
              <a:gd name="T16" fmla="*/ 113 w 159"/>
              <a:gd name="T17" fmla="*/ 37 h 316"/>
              <a:gd name="T18" fmla="*/ 113 w 159"/>
              <a:gd name="T19" fmla="*/ 43 h 316"/>
              <a:gd name="T20" fmla="*/ 100 w 159"/>
              <a:gd name="T21" fmla="*/ 46 h 316"/>
              <a:gd name="T22" fmla="*/ 94 w 159"/>
              <a:gd name="T23" fmla="*/ 53 h 316"/>
              <a:gd name="T24" fmla="*/ 88 w 159"/>
              <a:gd name="T25" fmla="*/ 56 h 316"/>
              <a:gd name="T26" fmla="*/ 88 w 159"/>
              <a:gd name="T27" fmla="*/ 65 h 316"/>
              <a:gd name="T28" fmla="*/ 78 w 159"/>
              <a:gd name="T29" fmla="*/ 75 h 316"/>
              <a:gd name="T30" fmla="*/ 75 w 159"/>
              <a:gd name="T31" fmla="*/ 81 h 316"/>
              <a:gd name="T32" fmla="*/ 72 w 159"/>
              <a:gd name="T33" fmla="*/ 97 h 316"/>
              <a:gd name="T34" fmla="*/ 81 w 159"/>
              <a:gd name="T35" fmla="*/ 106 h 316"/>
              <a:gd name="T36" fmla="*/ 91 w 159"/>
              <a:gd name="T37" fmla="*/ 118 h 316"/>
              <a:gd name="T38" fmla="*/ 106 w 159"/>
              <a:gd name="T39" fmla="*/ 137 h 316"/>
              <a:gd name="T40" fmla="*/ 141 w 159"/>
              <a:gd name="T41" fmla="*/ 165 h 316"/>
              <a:gd name="T42" fmla="*/ 147 w 159"/>
              <a:gd name="T43" fmla="*/ 178 h 316"/>
              <a:gd name="T44" fmla="*/ 150 w 159"/>
              <a:gd name="T45" fmla="*/ 194 h 316"/>
              <a:gd name="T46" fmla="*/ 156 w 159"/>
              <a:gd name="T47" fmla="*/ 209 h 316"/>
              <a:gd name="T48" fmla="*/ 159 w 159"/>
              <a:gd name="T49" fmla="*/ 222 h 316"/>
              <a:gd name="T50" fmla="*/ 159 w 159"/>
              <a:gd name="T51" fmla="*/ 225 h 316"/>
              <a:gd name="T52" fmla="*/ 156 w 159"/>
              <a:gd name="T53" fmla="*/ 234 h 316"/>
              <a:gd name="T54" fmla="*/ 156 w 159"/>
              <a:gd name="T55" fmla="*/ 250 h 316"/>
              <a:gd name="T56" fmla="*/ 144 w 159"/>
              <a:gd name="T57" fmla="*/ 262 h 316"/>
              <a:gd name="T58" fmla="*/ 131 w 159"/>
              <a:gd name="T59" fmla="*/ 272 h 316"/>
              <a:gd name="T60" fmla="*/ 109 w 159"/>
              <a:gd name="T61" fmla="*/ 278 h 316"/>
              <a:gd name="T62" fmla="*/ 106 w 159"/>
              <a:gd name="T63" fmla="*/ 275 h 316"/>
              <a:gd name="T64" fmla="*/ 109 w 159"/>
              <a:gd name="T65" fmla="*/ 281 h 316"/>
              <a:gd name="T66" fmla="*/ 106 w 159"/>
              <a:gd name="T67" fmla="*/ 287 h 316"/>
              <a:gd name="T68" fmla="*/ 97 w 159"/>
              <a:gd name="T69" fmla="*/ 290 h 316"/>
              <a:gd name="T70" fmla="*/ 97 w 159"/>
              <a:gd name="T71" fmla="*/ 297 h 316"/>
              <a:gd name="T72" fmla="*/ 88 w 159"/>
              <a:gd name="T73" fmla="*/ 303 h 316"/>
              <a:gd name="T74" fmla="*/ 75 w 159"/>
              <a:gd name="T75" fmla="*/ 316 h 316"/>
              <a:gd name="T76" fmla="*/ 75 w 159"/>
              <a:gd name="T77" fmla="*/ 309 h 316"/>
              <a:gd name="T78" fmla="*/ 75 w 159"/>
              <a:gd name="T79" fmla="*/ 297 h 316"/>
              <a:gd name="T80" fmla="*/ 81 w 159"/>
              <a:gd name="T81" fmla="*/ 281 h 316"/>
              <a:gd name="T82" fmla="*/ 66 w 159"/>
              <a:gd name="T83" fmla="*/ 281 h 316"/>
              <a:gd name="T84" fmla="*/ 72 w 159"/>
              <a:gd name="T85" fmla="*/ 272 h 316"/>
              <a:gd name="T86" fmla="*/ 94 w 159"/>
              <a:gd name="T87" fmla="*/ 265 h 316"/>
              <a:gd name="T88" fmla="*/ 97 w 159"/>
              <a:gd name="T89" fmla="*/ 259 h 316"/>
              <a:gd name="T90" fmla="*/ 106 w 159"/>
              <a:gd name="T91" fmla="*/ 244 h 316"/>
              <a:gd name="T92" fmla="*/ 122 w 159"/>
              <a:gd name="T93" fmla="*/ 228 h 316"/>
              <a:gd name="T94" fmla="*/ 119 w 159"/>
              <a:gd name="T95" fmla="*/ 200 h 316"/>
              <a:gd name="T96" fmla="*/ 119 w 159"/>
              <a:gd name="T97" fmla="*/ 184 h 316"/>
              <a:gd name="T98" fmla="*/ 119 w 159"/>
              <a:gd name="T99" fmla="*/ 168 h 316"/>
              <a:gd name="T100" fmla="*/ 116 w 159"/>
              <a:gd name="T101" fmla="*/ 156 h 316"/>
              <a:gd name="T102" fmla="*/ 106 w 159"/>
              <a:gd name="T103" fmla="*/ 147 h 316"/>
              <a:gd name="T104" fmla="*/ 94 w 159"/>
              <a:gd name="T105" fmla="*/ 137 h 316"/>
              <a:gd name="T106" fmla="*/ 81 w 159"/>
              <a:gd name="T107" fmla="*/ 122 h 316"/>
              <a:gd name="T108" fmla="*/ 56 w 159"/>
              <a:gd name="T109" fmla="*/ 103 h 316"/>
              <a:gd name="T110" fmla="*/ 47 w 159"/>
              <a:gd name="T111" fmla="*/ 90 h 316"/>
              <a:gd name="T112" fmla="*/ 53 w 159"/>
              <a:gd name="T113" fmla="*/ 81 h 316"/>
              <a:gd name="T114" fmla="*/ 56 w 159"/>
              <a:gd name="T115" fmla="*/ 65 h 316"/>
              <a:gd name="T116" fmla="*/ 41 w 159"/>
              <a:gd name="T117" fmla="*/ 53 h 316"/>
              <a:gd name="T118" fmla="*/ 13 w 159"/>
              <a:gd name="T119" fmla="*/ 40 h 316"/>
              <a:gd name="T120" fmla="*/ 0 w 159"/>
              <a:gd name="T121" fmla="*/ 25 h 316"/>
              <a:gd name="T122" fmla="*/ 53 w 159"/>
              <a:gd name="T123" fmla="*/ 281 h 316"/>
              <a:gd name="T124" fmla="*/ 56 w 159"/>
              <a:gd name="T125" fmla="*/ 275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9" h="316">
                <a:moveTo>
                  <a:pt x="0" y="21"/>
                </a:moveTo>
                <a:lnTo>
                  <a:pt x="0" y="18"/>
                </a:lnTo>
                <a:lnTo>
                  <a:pt x="3" y="18"/>
                </a:lnTo>
                <a:lnTo>
                  <a:pt x="3" y="18"/>
                </a:lnTo>
                <a:lnTo>
                  <a:pt x="6" y="15"/>
                </a:lnTo>
                <a:lnTo>
                  <a:pt x="9" y="15"/>
                </a:lnTo>
                <a:lnTo>
                  <a:pt x="13" y="15"/>
                </a:lnTo>
                <a:lnTo>
                  <a:pt x="13" y="18"/>
                </a:lnTo>
                <a:lnTo>
                  <a:pt x="13" y="18"/>
                </a:lnTo>
                <a:lnTo>
                  <a:pt x="16" y="18"/>
                </a:lnTo>
                <a:lnTo>
                  <a:pt x="16" y="15"/>
                </a:lnTo>
                <a:lnTo>
                  <a:pt x="19" y="12"/>
                </a:lnTo>
                <a:lnTo>
                  <a:pt x="25" y="15"/>
                </a:lnTo>
                <a:lnTo>
                  <a:pt x="25" y="15"/>
                </a:lnTo>
                <a:lnTo>
                  <a:pt x="28" y="15"/>
                </a:lnTo>
                <a:lnTo>
                  <a:pt x="28" y="15"/>
                </a:lnTo>
                <a:lnTo>
                  <a:pt x="34" y="15"/>
                </a:lnTo>
                <a:lnTo>
                  <a:pt x="34" y="12"/>
                </a:lnTo>
                <a:lnTo>
                  <a:pt x="38" y="9"/>
                </a:lnTo>
                <a:lnTo>
                  <a:pt x="44" y="12"/>
                </a:lnTo>
                <a:lnTo>
                  <a:pt x="50" y="9"/>
                </a:lnTo>
                <a:lnTo>
                  <a:pt x="50" y="3"/>
                </a:lnTo>
                <a:lnTo>
                  <a:pt x="53" y="3"/>
                </a:lnTo>
                <a:lnTo>
                  <a:pt x="59" y="3"/>
                </a:lnTo>
                <a:lnTo>
                  <a:pt x="59" y="0"/>
                </a:lnTo>
                <a:lnTo>
                  <a:pt x="66" y="3"/>
                </a:lnTo>
                <a:lnTo>
                  <a:pt x="66" y="6"/>
                </a:lnTo>
                <a:lnTo>
                  <a:pt x="69" y="6"/>
                </a:lnTo>
                <a:lnTo>
                  <a:pt x="72" y="9"/>
                </a:lnTo>
                <a:lnTo>
                  <a:pt x="81" y="9"/>
                </a:lnTo>
                <a:lnTo>
                  <a:pt x="81" y="9"/>
                </a:lnTo>
                <a:lnTo>
                  <a:pt x="88" y="9"/>
                </a:lnTo>
                <a:lnTo>
                  <a:pt x="91" y="12"/>
                </a:lnTo>
                <a:lnTo>
                  <a:pt x="91" y="15"/>
                </a:lnTo>
                <a:lnTo>
                  <a:pt x="88" y="15"/>
                </a:lnTo>
                <a:lnTo>
                  <a:pt x="84" y="21"/>
                </a:lnTo>
                <a:lnTo>
                  <a:pt x="88" y="25"/>
                </a:lnTo>
                <a:lnTo>
                  <a:pt x="88" y="28"/>
                </a:lnTo>
                <a:lnTo>
                  <a:pt x="97" y="31"/>
                </a:lnTo>
                <a:lnTo>
                  <a:pt x="97" y="34"/>
                </a:lnTo>
                <a:lnTo>
                  <a:pt x="100" y="34"/>
                </a:lnTo>
                <a:lnTo>
                  <a:pt x="103" y="37"/>
                </a:lnTo>
                <a:lnTo>
                  <a:pt x="109" y="34"/>
                </a:lnTo>
                <a:lnTo>
                  <a:pt x="109" y="37"/>
                </a:lnTo>
                <a:lnTo>
                  <a:pt x="113" y="37"/>
                </a:lnTo>
                <a:lnTo>
                  <a:pt x="116" y="37"/>
                </a:lnTo>
                <a:lnTo>
                  <a:pt x="116" y="37"/>
                </a:lnTo>
                <a:lnTo>
                  <a:pt x="116" y="40"/>
                </a:lnTo>
                <a:lnTo>
                  <a:pt x="116" y="40"/>
                </a:lnTo>
                <a:lnTo>
                  <a:pt x="113" y="43"/>
                </a:lnTo>
                <a:lnTo>
                  <a:pt x="113" y="43"/>
                </a:lnTo>
                <a:lnTo>
                  <a:pt x="109" y="43"/>
                </a:lnTo>
                <a:lnTo>
                  <a:pt x="106" y="43"/>
                </a:lnTo>
                <a:lnTo>
                  <a:pt x="100" y="46"/>
                </a:lnTo>
                <a:lnTo>
                  <a:pt x="100" y="46"/>
                </a:lnTo>
                <a:lnTo>
                  <a:pt x="100" y="50"/>
                </a:lnTo>
                <a:lnTo>
                  <a:pt x="100" y="50"/>
                </a:lnTo>
                <a:lnTo>
                  <a:pt x="97" y="53"/>
                </a:lnTo>
                <a:lnTo>
                  <a:pt x="97" y="50"/>
                </a:lnTo>
                <a:lnTo>
                  <a:pt x="94" y="53"/>
                </a:lnTo>
                <a:lnTo>
                  <a:pt x="91" y="53"/>
                </a:lnTo>
                <a:lnTo>
                  <a:pt x="91" y="53"/>
                </a:lnTo>
                <a:lnTo>
                  <a:pt x="91" y="53"/>
                </a:lnTo>
                <a:lnTo>
                  <a:pt x="88" y="53"/>
                </a:lnTo>
                <a:lnTo>
                  <a:pt x="88" y="56"/>
                </a:lnTo>
                <a:lnTo>
                  <a:pt x="88" y="56"/>
                </a:lnTo>
                <a:lnTo>
                  <a:pt x="88" y="59"/>
                </a:lnTo>
                <a:lnTo>
                  <a:pt x="88" y="62"/>
                </a:lnTo>
                <a:lnTo>
                  <a:pt x="88" y="65"/>
                </a:lnTo>
                <a:lnTo>
                  <a:pt x="88" y="65"/>
                </a:lnTo>
                <a:lnTo>
                  <a:pt x="88" y="68"/>
                </a:lnTo>
                <a:lnTo>
                  <a:pt x="88" y="68"/>
                </a:lnTo>
                <a:lnTo>
                  <a:pt x="84" y="68"/>
                </a:lnTo>
                <a:lnTo>
                  <a:pt x="81" y="75"/>
                </a:lnTo>
                <a:lnTo>
                  <a:pt x="78" y="75"/>
                </a:lnTo>
                <a:lnTo>
                  <a:pt x="78" y="72"/>
                </a:lnTo>
                <a:lnTo>
                  <a:pt x="78" y="75"/>
                </a:lnTo>
                <a:lnTo>
                  <a:pt x="75" y="75"/>
                </a:lnTo>
                <a:lnTo>
                  <a:pt x="75" y="78"/>
                </a:lnTo>
                <a:lnTo>
                  <a:pt x="75" y="81"/>
                </a:lnTo>
                <a:lnTo>
                  <a:pt x="75" y="84"/>
                </a:lnTo>
                <a:lnTo>
                  <a:pt x="75" y="84"/>
                </a:lnTo>
                <a:lnTo>
                  <a:pt x="78" y="87"/>
                </a:lnTo>
                <a:lnTo>
                  <a:pt x="75" y="93"/>
                </a:lnTo>
                <a:lnTo>
                  <a:pt x="72" y="97"/>
                </a:lnTo>
                <a:lnTo>
                  <a:pt x="78" y="100"/>
                </a:lnTo>
                <a:lnTo>
                  <a:pt x="75" y="103"/>
                </a:lnTo>
                <a:lnTo>
                  <a:pt x="72" y="103"/>
                </a:lnTo>
                <a:lnTo>
                  <a:pt x="75" y="103"/>
                </a:lnTo>
                <a:lnTo>
                  <a:pt x="81" y="106"/>
                </a:lnTo>
                <a:lnTo>
                  <a:pt x="88" y="112"/>
                </a:lnTo>
                <a:lnTo>
                  <a:pt x="91" y="112"/>
                </a:lnTo>
                <a:lnTo>
                  <a:pt x="91" y="115"/>
                </a:lnTo>
                <a:lnTo>
                  <a:pt x="91" y="118"/>
                </a:lnTo>
                <a:lnTo>
                  <a:pt x="91" y="118"/>
                </a:lnTo>
                <a:lnTo>
                  <a:pt x="94" y="125"/>
                </a:lnTo>
                <a:lnTo>
                  <a:pt x="94" y="128"/>
                </a:lnTo>
                <a:lnTo>
                  <a:pt x="100" y="134"/>
                </a:lnTo>
                <a:lnTo>
                  <a:pt x="106" y="134"/>
                </a:lnTo>
                <a:lnTo>
                  <a:pt x="106" y="137"/>
                </a:lnTo>
                <a:lnTo>
                  <a:pt x="116" y="143"/>
                </a:lnTo>
                <a:lnTo>
                  <a:pt x="125" y="150"/>
                </a:lnTo>
                <a:lnTo>
                  <a:pt x="128" y="153"/>
                </a:lnTo>
                <a:lnTo>
                  <a:pt x="138" y="159"/>
                </a:lnTo>
                <a:lnTo>
                  <a:pt x="141" y="165"/>
                </a:lnTo>
                <a:lnTo>
                  <a:pt x="141" y="168"/>
                </a:lnTo>
                <a:lnTo>
                  <a:pt x="141" y="168"/>
                </a:lnTo>
                <a:lnTo>
                  <a:pt x="141" y="172"/>
                </a:lnTo>
                <a:lnTo>
                  <a:pt x="147" y="175"/>
                </a:lnTo>
                <a:lnTo>
                  <a:pt x="147" y="178"/>
                </a:lnTo>
                <a:lnTo>
                  <a:pt x="147" y="178"/>
                </a:lnTo>
                <a:lnTo>
                  <a:pt x="147" y="181"/>
                </a:lnTo>
                <a:lnTo>
                  <a:pt x="150" y="184"/>
                </a:lnTo>
                <a:lnTo>
                  <a:pt x="150" y="190"/>
                </a:lnTo>
                <a:lnTo>
                  <a:pt x="150" y="194"/>
                </a:lnTo>
                <a:lnTo>
                  <a:pt x="153" y="200"/>
                </a:lnTo>
                <a:lnTo>
                  <a:pt x="153" y="200"/>
                </a:lnTo>
                <a:lnTo>
                  <a:pt x="153" y="203"/>
                </a:lnTo>
                <a:lnTo>
                  <a:pt x="153" y="206"/>
                </a:lnTo>
                <a:lnTo>
                  <a:pt x="156" y="209"/>
                </a:lnTo>
                <a:lnTo>
                  <a:pt x="153" y="212"/>
                </a:lnTo>
                <a:lnTo>
                  <a:pt x="156" y="215"/>
                </a:lnTo>
                <a:lnTo>
                  <a:pt x="156" y="219"/>
                </a:lnTo>
                <a:lnTo>
                  <a:pt x="156" y="219"/>
                </a:lnTo>
                <a:lnTo>
                  <a:pt x="159" y="222"/>
                </a:lnTo>
                <a:lnTo>
                  <a:pt x="159" y="225"/>
                </a:lnTo>
                <a:lnTo>
                  <a:pt x="159" y="228"/>
                </a:lnTo>
                <a:lnTo>
                  <a:pt x="159" y="228"/>
                </a:lnTo>
                <a:lnTo>
                  <a:pt x="159" y="228"/>
                </a:lnTo>
                <a:lnTo>
                  <a:pt x="159" y="225"/>
                </a:lnTo>
                <a:lnTo>
                  <a:pt x="156" y="228"/>
                </a:lnTo>
                <a:lnTo>
                  <a:pt x="156" y="231"/>
                </a:lnTo>
                <a:lnTo>
                  <a:pt x="159" y="231"/>
                </a:lnTo>
                <a:lnTo>
                  <a:pt x="159" y="234"/>
                </a:lnTo>
                <a:lnTo>
                  <a:pt x="156" y="234"/>
                </a:lnTo>
                <a:lnTo>
                  <a:pt x="156" y="237"/>
                </a:lnTo>
                <a:lnTo>
                  <a:pt x="153" y="240"/>
                </a:lnTo>
                <a:lnTo>
                  <a:pt x="156" y="244"/>
                </a:lnTo>
                <a:lnTo>
                  <a:pt x="153" y="247"/>
                </a:lnTo>
                <a:lnTo>
                  <a:pt x="156" y="250"/>
                </a:lnTo>
                <a:lnTo>
                  <a:pt x="153" y="250"/>
                </a:lnTo>
                <a:lnTo>
                  <a:pt x="150" y="253"/>
                </a:lnTo>
                <a:lnTo>
                  <a:pt x="150" y="256"/>
                </a:lnTo>
                <a:lnTo>
                  <a:pt x="147" y="259"/>
                </a:lnTo>
                <a:lnTo>
                  <a:pt x="144" y="262"/>
                </a:lnTo>
                <a:lnTo>
                  <a:pt x="141" y="262"/>
                </a:lnTo>
                <a:lnTo>
                  <a:pt x="138" y="265"/>
                </a:lnTo>
                <a:lnTo>
                  <a:pt x="138" y="269"/>
                </a:lnTo>
                <a:lnTo>
                  <a:pt x="131" y="269"/>
                </a:lnTo>
                <a:lnTo>
                  <a:pt x="131" y="272"/>
                </a:lnTo>
                <a:lnTo>
                  <a:pt x="122" y="278"/>
                </a:lnTo>
                <a:lnTo>
                  <a:pt x="116" y="278"/>
                </a:lnTo>
                <a:lnTo>
                  <a:pt x="116" y="278"/>
                </a:lnTo>
                <a:lnTo>
                  <a:pt x="109" y="278"/>
                </a:lnTo>
                <a:lnTo>
                  <a:pt x="109" y="278"/>
                </a:lnTo>
                <a:lnTo>
                  <a:pt x="109" y="275"/>
                </a:lnTo>
                <a:lnTo>
                  <a:pt x="109" y="272"/>
                </a:lnTo>
                <a:lnTo>
                  <a:pt x="109" y="275"/>
                </a:lnTo>
                <a:lnTo>
                  <a:pt x="109" y="275"/>
                </a:lnTo>
                <a:lnTo>
                  <a:pt x="106" y="275"/>
                </a:lnTo>
                <a:lnTo>
                  <a:pt x="109" y="278"/>
                </a:lnTo>
                <a:lnTo>
                  <a:pt x="109" y="278"/>
                </a:lnTo>
                <a:lnTo>
                  <a:pt x="106" y="278"/>
                </a:lnTo>
                <a:lnTo>
                  <a:pt x="103" y="278"/>
                </a:lnTo>
                <a:lnTo>
                  <a:pt x="109" y="281"/>
                </a:lnTo>
                <a:lnTo>
                  <a:pt x="106" y="281"/>
                </a:lnTo>
                <a:lnTo>
                  <a:pt x="109" y="284"/>
                </a:lnTo>
                <a:lnTo>
                  <a:pt x="106" y="287"/>
                </a:lnTo>
                <a:lnTo>
                  <a:pt x="103" y="284"/>
                </a:lnTo>
                <a:lnTo>
                  <a:pt x="106" y="287"/>
                </a:lnTo>
                <a:lnTo>
                  <a:pt x="106" y="290"/>
                </a:lnTo>
                <a:lnTo>
                  <a:pt x="103" y="290"/>
                </a:lnTo>
                <a:lnTo>
                  <a:pt x="103" y="290"/>
                </a:lnTo>
                <a:lnTo>
                  <a:pt x="100" y="287"/>
                </a:lnTo>
                <a:lnTo>
                  <a:pt x="97" y="290"/>
                </a:lnTo>
                <a:lnTo>
                  <a:pt x="100" y="294"/>
                </a:lnTo>
                <a:lnTo>
                  <a:pt x="100" y="294"/>
                </a:lnTo>
                <a:lnTo>
                  <a:pt x="100" y="294"/>
                </a:lnTo>
                <a:lnTo>
                  <a:pt x="97" y="297"/>
                </a:lnTo>
                <a:lnTo>
                  <a:pt x="97" y="297"/>
                </a:lnTo>
                <a:lnTo>
                  <a:pt x="97" y="297"/>
                </a:lnTo>
                <a:lnTo>
                  <a:pt x="91" y="300"/>
                </a:lnTo>
                <a:lnTo>
                  <a:pt x="91" y="300"/>
                </a:lnTo>
                <a:lnTo>
                  <a:pt x="88" y="300"/>
                </a:lnTo>
                <a:lnTo>
                  <a:pt x="88" y="303"/>
                </a:lnTo>
                <a:lnTo>
                  <a:pt x="88" y="306"/>
                </a:lnTo>
                <a:lnTo>
                  <a:pt x="84" y="309"/>
                </a:lnTo>
                <a:lnTo>
                  <a:pt x="81" y="309"/>
                </a:lnTo>
                <a:lnTo>
                  <a:pt x="81" y="309"/>
                </a:lnTo>
                <a:lnTo>
                  <a:pt x="75" y="316"/>
                </a:lnTo>
                <a:lnTo>
                  <a:pt x="69" y="312"/>
                </a:lnTo>
                <a:lnTo>
                  <a:pt x="72" y="312"/>
                </a:lnTo>
                <a:lnTo>
                  <a:pt x="75" y="309"/>
                </a:lnTo>
                <a:lnTo>
                  <a:pt x="78" y="309"/>
                </a:lnTo>
                <a:lnTo>
                  <a:pt x="75" y="309"/>
                </a:lnTo>
                <a:lnTo>
                  <a:pt x="72" y="306"/>
                </a:lnTo>
                <a:lnTo>
                  <a:pt x="75" y="300"/>
                </a:lnTo>
                <a:lnTo>
                  <a:pt x="75" y="300"/>
                </a:lnTo>
                <a:lnTo>
                  <a:pt x="72" y="300"/>
                </a:lnTo>
                <a:lnTo>
                  <a:pt x="75" y="297"/>
                </a:lnTo>
                <a:lnTo>
                  <a:pt x="72" y="290"/>
                </a:lnTo>
                <a:lnTo>
                  <a:pt x="75" y="287"/>
                </a:lnTo>
                <a:lnTo>
                  <a:pt x="81" y="281"/>
                </a:lnTo>
                <a:lnTo>
                  <a:pt x="84" y="281"/>
                </a:lnTo>
                <a:lnTo>
                  <a:pt x="81" y="281"/>
                </a:lnTo>
                <a:lnTo>
                  <a:pt x="75" y="281"/>
                </a:lnTo>
                <a:lnTo>
                  <a:pt x="75" y="281"/>
                </a:lnTo>
                <a:lnTo>
                  <a:pt x="72" y="281"/>
                </a:lnTo>
                <a:lnTo>
                  <a:pt x="69" y="281"/>
                </a:lnTo>
                <a:lnTo>
                  <a:pt x="66" y="281"/>
                </a:lnTo>
                <a:lnTo>
                  <a:pt x="66" y="281"/>
                </a:lnTo>
                <a:lnTo>
                  <a:pt x="66" y="278"/>
                </a:lnTo>
                <a:lnTo>
                  <a:pt x="66" y="275"/>
                </a:lnTo>
                <a:lnTo>
                  <a:pt x="69" y="272"/>
                </a:lnTo>
                <a:lnTo>
                  <a:pt x="72" y="272"/>
                </a:lnTo>
                <a:lnTo>
                  <a:pt x="75" y="265"/>
                </a:lnTo>
                <a:lnTo>
                  <a:pt x="78" y="265"/>
                </a:lnTo>
                <a:lnTo>
                  <a:pt x="81" y="265"/>
                </a:lnTo>
                <a:lnTo>
                  <a:pt x="91" y="265"/>
                </a:lnTo>
                <a:lnTo>
                  <a:pt x="94" y="265"/>
                </a:lnTo>
                <a:lnTo>
                  <a:pt x="97" y="269"/>
                </a:lnTo>
                <a:lnTo>
                  <a:pt x="103" y="269"/>
                </a:lnTo>
                <a:lnTo>
                  <a:pt x="100" y="265"/>
                </a:lnTo>
                <a:lnTo>
                  <a:pt x="100" y="262"/>
                </a:lnTo>
                <a:lnTo>
                  <a:pt x="97" y="259"/>
                </a:lnTo>
                <a:lnTo>
                  <a:pt x="94" y="256"/>
                </a:lnTo>
                <a:lnTo>
                  <a:pt x="91" y="250"/>
                </a:lnTo>
                <a:lnTo>
                  <a:pt x="97" y="247"/>
                </a:lnTo>
                <a:lnTo>
                  <a:pt x="103" y="247"/>
                </a:lnTo>
                <a:lnTo>
                  <a:pt x="106" y="244"/>
                </a:lnTo>
                <a:lnTo>
                  <a:pt x="109" y="240"/>
                </a:lnTo>
                <a:lnTo>
                  <a:pt x="116" y="237"/>
                </a:lnTo>
                <a:lnTo>
                  <a:pt x="116" y="234"/>
                </a:lnTo>
                <a:lnTo>
                  <a:pt x="119" y="234"/>
                </a:lnTo>
                <a:lnTo>
                  <a:pt x="122" y="228"/>
                </a:lnTo>
                <a:lnTo>
                  <a:pt x="122" y="225"/>
                </a:lnTo>
                <a:lnTo>
                  <a:pt x="125" y="219"/>
                </a:lnTo>
                <a:lnTo>
                  <a:pt x="122" y="215"/>
                </a:lnTo>
                <a:lnTo>
                  <a:pt x="122" y="209"/>
                </a:lnTo>
                <a:lnTo>
                  <a:pt x="119" y="200"/>
                </a:lnTo>
                <a:lnTo>
                  <a:pt x="116" y="200"/>
                </a:lnTo>
                <a:lnTo>
                  <a:pt x="113" y="194"/>
                </a:lnTo>
                <a:lnTo>
                  <a:pt x="116" y="194"/>
                </a:lnTo>
                <a:lnTo>
                  <a:pt x="119" y="190"/>
                </a:lnTo>
                <a:lnTo>
                  <a:pt x="119" y="184"/>
                </a:lnTo>
                <a:lnTo>
                  <a:pt x="116" y="181"/>
                </a:lnTo>
                <a:lnTo>
                  <a:pt x="116" y="178"/>
                </a:lnTo>
                <a:lnTo>
                  <a:pt x="122" y="172"/>
                </a:lnTo>
                <a:lnTo>
                  <a:pt x="122" y="168"/>
                </a:lnTo>
                <a:lnTo>
                  <a:pt x="119" y="168"/>
                </a:lnTo>
                <a:lnTo>
                  <a:pt x="116" y="165"/>
                </a:lnTo>
                <a:lnTo>
                  <a:pt x="116" y="159"/>
                </a:lnTo>
                <a:lnTo>
                  <a:pt x="119" y="156"/>
                </a:lnTo>
                <a:lnTo>
                  <a:pt x="119" y="156"/>
                </a:lnTo>
                <a:lnTo>
                  <a:pt x="116" y="156"/>
                </a:lnTo>
                <a:lnTo>
                  <a:pt x="113" y="156"/>
                </a:lnTo>
                <a:lnTo>
                  <a:pt x="109" y="153"/>
                </a:lnTo>
                <a:lnTo>
                  <a:pt x="106" y="153"/>
                </a:lnTo>
                <a:lnTo>
                  <a:pt x="103" y="150"/>
                </a:lnTo>
                <a:lnTo>
                  <a:pt x="106" y="147"/>
                </a:lnTo>
                <a:lnTo>
                  <a:pt x="103" y="147"/>
                </a:lnTo>
                <a:lnTo>
                  <a:pt x="100" y="147"/>
                </a:lnTo>
                <a:lnTo>
                  <a:pt x="97" y="143"/>
                </a:lnTo>
                <a:lnTo>
                  <a:pt x="97" y="140"/>
                </a:lnTo>
                <a:lnTo>
                  <a:pt x="94" y="137"/>
                </a:lnTo>
                <a:lnTo>
                  <a:pt x="91" y="137"/>
                </a:lnTo>
                <a:lnTo>
                  <a:pt x="88" y="134"/>
                </a:lnTo>
                <a:lnTo>
                  <a:pt x="88" y="131"/>
                </a:lnTo>
                <a:lnTo>
                  <a:pt x="81" y="125"/>
                </a:lnTo>
                <a:lnTo>
                  <a:pt x="81" y="122"/>
                </a:lnTo>
                <a:lnTo>
                  <a:pt x="75" y="115"/>
                </a:lnTo>
                <a:lnTo>
                  <a:pt x="72" y="112"/>
                </a:lnTo>
                <a:lnTo>
                  <a:pt x="66" y="106"/>
                </a:lnTo>
                <a:lnTo>
                  <a:pt x="63" y="106"/>
                </a:lnTo>
                <a:lnTo>
                  <a:pt x="56" y="103"/>
                </a:lnTo>
                <a:lnTo>
                  <a:pt x="50" y="103"/>
                </a:lnTo>
                <a:lnTo>
                  <a:pt x="47" y="97"/>
                </a:lnTo>
                <a:lnTo>
                  <a:pt x="44" y="97"/>
                </a:lnTo>
                <a:lnTo>
                  <a:pt x="44" y="93"/>
                </a:lnTo>
                <a:lnTo>
                  <a:pt x="47" y="90"/>
                </a:lnTo>
                <a:lnTo>
                  <a:pt x="41" y="87"/>
                </a:lnTo>
                <a:lnTo>
                  <a:pt x="41" y="84"/>
                </a:lnTo>
                <a:lnTo>
                  <a:pt x="44" y="84"/>
                </a:lnTo>
                <a:lnTo>
                  <a:pt x="50" y="81"/>
                </a:lnTo>
                <a:lnTo>
                  <a:pt x="53" y="81"/>
                </a:lnTo>
                <a:lnTo>
                  <a:pt x="56" y="78"/>
                </a:lnTo>
                <a:lnTo>
                  <a:pt x="59" y="72"/>
                </a:lnTo>
                <a:lnTo>
                  <a:pt x="59" y="68"/>
                </a:lnTo>
                <a:lnTo>
                  <a:pt x="59" y="65"/>
                </a:lnTo>
                <a:lnTo>
                  <a:pt x="56" y="65"/>
                </a:lnTo>
                <a:lnTo>
                  <a:pt x="56" y="62"/>
                </a:lnTo>
                <a:lnTo>
                  <a:pt x="53" y="59"/>
                </a:lnTo>
                <a:lnTo>
                  <a:pt x="50" y="56"/>
                </a:lnTo>
                <a:lnTo>
                  <a:pt x="47" y="53"/>
                </a:lnTo>
                <a:lnTo>
                  <a:pt x="41" y="53"/>
                </a:lnTo>
                <a:lnTo>
                  <a:pt x="38" y="56"/>
                </a:lnTo>
                <a:lnTo>
                  <a:pt x="31" y="56"/>
                </a:lnTo>
                <a:lnTo>
                  <a:pt x="25" y="56"/>
                </a:lnTo>
                <a:lnTo>
                  <a:pt x="19" y="46"/>
                </a:lnTo>
                <a:lnTo>
                  <a:pt x="13" y="40"/>
                </a:lnTo>
                <a:lnTo>
                  <a:pt x="16" y="37"/>
                </a:lnTo>
                <a:lnTo>
                  <a:pt x="13" y="34"/>
                </a:lnTo>
                <a:lnTo>
                  <a:pt x="9" y="31"/>
                </a:lnTo>
                <a:lnTo>
                  <a:pt x="6" y="25"/>
                </a:lnTo>
                <a:lnTo>
                  <a:pt x="0" y="25"/>
                </a:lnTo>
                <a:lnTo>
                  <a:pt x="0" y="21"/>
                </a:lnTo>
                <a:lnTo>
                  <a:pt x="0" y="21"/>
                </a:lnTo>
                <a:close/>
                <a:moveTo>
                  <a:pt x="53" y="278"/>
                </a:moveTo>
                <a:lnTo>
                  <a:pt x="56" y="281"/>
                </a:lnTo>
                <a:lnTo>
                  <a:pt x="53" y="281"/>
                </a:lnTo>
                <a:lnTo>
                  <a:pt x="56" y="284"/>
                </a:lnTo>
                <a:lnTo>
                  <a:pt x="59" y="284"/>
                </a:lnTo>
                <a:lnTo>
                  <a:pt x="59" y="278"/>
                </a:lnTo>
                <a:lnTo>
                  <a:pt x="59" y="278"/>
                </a:lnTo>
                <a:lnTo>
                  <a:pt x="56" y="275"/>
                </a:lnTo>
                <a:lnTo>
                  <a:pt x="53" y="278"/>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2" name="Freeform 30">
            <a:extLst>
              <a:ext uri="{FF2B5EF4-FFF2-40B4-BE49-F238E27FC236}">
                <a16:creationId xmlns:a16="http://schemas.microsoft.com/office/drawing/2014/main" id="{5B5DC421-4FEA-4078-66DB-AA31031477B4}"/>
              </a:ext>
            </a:extLst>
          </p:cNvPr>
          <p:cNvSpPr>
            <a:spLocks/>
          </p:cNvSpPr>
          <p:nvPr userDrawn="1"/>
        </p:nvSpPr>
        <p:spPr bwMode="auto">
          <a:xfrm>
            <a:off x="19550377" y="8432080"/>
            <a:ext cx="336528" cy="279400"/>
          </a:xfrm>
          <a:custGeom>
            <a:avLst/>
            <a:gdLst>
              <a:gd name="T0" fmla="*/ 50 w 106"/>
              <a:gd name="T1" fmla="*/ 85 h 88"/>
              <a:gd name="T2" fmla="*/ 56 w 106"/>
              <a:gd name="T3" fmla="*/ 78 h 88"/>
              <a:gd name="T4" fmla="*/ 62 w 106"/>
              <a:gd name="T5" fmla="*/ 78 h 88"/>
              <a:gd name="T6" fmla="*/ 75 w 106"/>
              <a:gd name="T7" fmla="*/ 78 h 88"/>
              <a:gd name="T8" fmla="*/ 84 w 106"/>
              <a:gd name="T9" fmla="*/ 82 h 88"/>
              <a:gd name="T10" fmla="*/ 81 w 106"/>
              <a:gd name="T11" fmla="*/ 75 h 88"/>
              <a:gd name="T12" fmla="*/ 75 w 106"/>
              <a:gd name="T13" fmla="*/ 69 h 88"/>
              <a:gd name="T14" fmla="*/ 78 w 106"/>
              <a:gd name="T15" fmla="*/ 60 h 88"/>
              <a:gd name="T16" fmla="*/ 87 w 106"/>
              <a:gd name="T17" fmla="*/ 57 h 88"/>
              <a:gd name="T18" fmla="*/ 97 w 106"/>
              <a:gd name="T19" fmla="*/ 50 h 88"/>
              <a:gd name="T20" fmla="*/ 100 w 106"/>
              <a:gd name="T21" fmla="*/ 47 h 88"/>
              <a:gd name="T22" fmla="*/ 103 w 106"/>
              <a:gd name="T23" fmla="*/ 38 h 88"/>
              <a:gd name="T24" fmla="*/ 103 w 106"/>
              <a:gd name="T25" fmla="*/ 28 h 88"/>
              <a:gd name="T26" fmla="*/ 100 w 106"/>
              <a:gd name="T27" fmla="*/ 13 h 88"/>
              <a:gd name="T28" fmla="*/ 94 w 106"/>
              <a:gd name="T29" fmla="*/ 7 h 88"/>
              <a:gd name="T30" fmla="*/ 87 w 106"/>
              <a:gd name="T31" fmla="*/ 3 h 88"/>
              <a:gd name="T32" fmla="*/ 84 w 106"/>
              <a:gd name="T33" fmla="*/ 0 h 88"/>
              <a:gd name="T34" fmla="*/ 72 w 106"/>
              <a:gd name="T35" fmla="*/ 3 h 88"/>
              <a:gd name="T36" fmla="*/ 78 w 106"/>
              <a:gd name="T37" fmla="*/ 13 h 88"/>
              <a:gd name="T38" fmla="*/ 78 w 106"/>
              <a:gd name="T39" fmla="*/ 19 h 88"/>
              <a:gd name="T40" fmla="*/ 69 w 106"/>
              <a:gd name="T41" fmla="*/ 10 h 88"/>
              <a:gd name="T42" fmla="*/ 59 w 106"/>
              <a:gd name="T43" fmla="*/ 7 h 88"/>
              <a:gd name="T44" fmla="*/ 53 w 106"/>
              <a:gd name="T45" fmla="*/ 7 h 88"/>
              <a:gd name="T46" fmla="*/ 44 w 106"/>
              <a:gd name="T47" fmla="*/ 3 h 88"/>
              <a:gd name="T48" fmla="*/ 37 w 106"/>
              <a:gd name="T49" fmla="*/ 3 h 88"/>
              <a:gd name="T50" fmla="*/ 28 w 106"/>
              <a:gd name="T51" fmla="*/ 3 h 88"/>
              <a:gd name="T52" fmla="*/ 15 w 106"/>
              <a:gd name="T53" fmla="*/ 7 h 88"/>
              <a:gd name="T54" fmla="*/ 6 w 106"/>
              <a:gd name="T55" fmla="*/ 13 h 88"/>
              <a:gd name="T56" fmla="*/ 3 w 106"/>
              <a:gd name="T57" fmla="*/ 22 h 88"/>
              <a:gd name="T58" fmla="*/ 3 w 106"/>
              <a:gd name="T59" fmla="*/ 38 h 88"/>
              <a:gd name="T60" fmla="*/ 9 w 106"/>
              <a:gd name="T61" fmla="*/ 44 h 88"/>
              <a:gd name="T62" fmla="*/ 6 w 106"/>
              <a:gd name="T63" fmla="*/ 53 h 88"/>
              <a:gd name="T64" fmla="*/ 9 w 106"/>
              <a:gd name="T65" fmla="*/ 57 h 88"/>
              <a:gd name="T66" fmla="*/ 12 w 106"/>
              <a:gd name="T67" fmla="*/ 63 h 88"/>
              <a:gd name="T68" fmla="*/ 15 w 106"/>
              <a:gd name="T69" fmla="*/ 69 h 88"/>
              <a:gd name="T70" fmla="*/ 19 w 106"/>
              <a:gd name="T71" fmla="*/ 72 h 88"/>
              <a:gd name="T72" fmla="*/ 19 w 106"/>
              <a:gd name="T73" fmla="*/ 78 h 88"/>
              <a:gd name="T74" fmla="*/ 22 w 106"/>
              <a:gd name="T75" fmla="*/ 82 h 88"/>
              <a:gd name="T76" fmla="*/ 25 w 106"/>
              <a:gd name="T77" fmla="*/ 78 h 88"/>
              <a:gd name="T78" fmla="*/ 31 w 106"/>
              <a:gd name="T79" fmla="*/ 75 h 88"/>
              <a:gd name="T80" fmla="*/ 31 w 106"/>
              <a:gd name="T81" fmla="*/ 78 h 88"/>
              <a:gd name="T82" fmla="*/ 28 w 106"/>
              <a:gd name="T83" fmla="*/ 85 h 88"/>
              <a:gd name="T84" fmla="*/ 31 w 106"/>
              <a:gd name="T85" fmla="*/ 88 h 88"/>
              <a:gd name="T86" fmla="*/ 34 w 106"/>
              <a:gd name="T87" fmla="*/ 85 h 88"/>
              <a:gd name="T88" fmla="*/ 37 w 106"/>
              <a:gd name="T89" fmla="*/ 85 h 88"/>
              <a:gd name="T90" fmla="*/ 44 w 106"/>
              <a:gd name="T91" fmla="*/ 8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88">
                <a:moveTo>
                  <a:pt x="47" y="88"/>
                </a:moveTo>
                <a:lnTo>
                  <a:pt x="50" y="85"/>
                </a:lnTo>
                <a:lnTo>
                  <a:pt x="53" y="85"/>
                </a:lnTo>
                <a:lnTo>
                  <a:pt x="56" y="78"/>
                </a:lnTo>
                <a:lnTo>
                  <a:pt x="59" y="78"/>
                </a:lnTo>
                <a:lnTo>
                  <a:pt x="62" y="78"/>
                </a:lnTo>
                <a:lnTo>
                  <a:pt x="72" y="78"/>
                </a:lnTo>
                <a:lnTo>
                  <a:pt x="75" y="78"/>
                </a:lnTo>
                <a:lnTo>
                  <a:pt x="78" y="82"/>
                </a:lnTo>
                <a:lnTo>
                  <a:pt x="84" y="82"/>
                </a:lnTo>
                <a:lnTo>
                  <a:pt x="81" y="78"/>
                </a:lnTo>
                <a:lnTo>
                  <a:pt x="81" y="75"/>
                </a:lnTo>
                <a:lnTo>
                  <a:pt x="78" y="72"/>
                </a:lnTo>
                <a:lnTo>
                  <a:pt x="75" y="69"/>
                </a:lnTo>
                <a:lnTo>
                  <a:pt x="72" y="63"/>
                </a:lnTo>
                <a:lnTo>
                  <a:pt x="78" y="60"/>
                </a:lnTo>
                <a:lnTo>
                  <a:pt x="84" y="60"/>
                </a:lnTo>
                <a:lnTo>
                  <a:pt x="87" y="57"/>
                </a:lnTo>
                <a:lnTo>
                  <a:pt x="90" y="53"/>
                </a:lnTo>
                <a:lnTo>
                  <a:pt x="97" y="50"/>
                </a:lnTo>
                <a:lnTo>
                  <a:pt x="97" y="47"/>
                </a:lnTo>
                <a:lnTo>
                  <a:pt x="100" y="47"/>
                </a:lnTo>
                <a:lnTo>
                  <a:pt x="103" y="41"/>
                </a:lnTo>
                <a:lnTo>
                  <a:pt x="103" y="38"/>
                </a:lnTo>
                <a:lnTo>
                  <a:pt x="106" y="32"/>
                </a:lnTo>
                <a:lnTo>
                  <a:pt x="103" y="28"/>
                </a:lnTo>
                <a:lnTo>
                  <a:pt x="103" y="22"/>
                </a:lnTo>
                <a:lnTo>
                  <a:pt x="100" y="13"/>
                </a:lnTo>
                <a:lnTo>
                  <a:pt x="97" y="13"/>
                </a:lnTo>
                <a:lnTo>
                  <a:pt x="94" y="7"/>
                </a:lnTo>
                <a:lnTo>
                  <a:pt x="90" y="7"/>
                </a:lnTo>
                <a:lnTo>
                  <a:pt x="87" y="3"/>
                </a:lnTo>
                <a:lnTo>
                  <a:pt x="84" y="3"/>
                </a:lnTo>
                <a:lnTo>
                  <a:pt x="84" y="0"/>
                </a:lnTo>
                <a:lnTo>
                  <a:pt x="78" y="0"/>
                </a:lnTo>
                <a:lnTo>
                  <a:pt x="72" y="3"/>
                </a:lnTo>
                <a:lnTo>
                  <a:pt x="78" y="10"/>
                </a:lnTo>
                <a:lnTo>
                  <a:pt x="78" y="13"/>
                </a:lnTo>
                <a:lnTo>
                  <a:pt x="78" y="16"/>
                </a:lnTo>
                <a:lnTo>
                  <a:pt x="78" y="19"/>
                </a:lnTo>
                <a:lnTo>
                  <a:pt x="72" y="16"/>
                </a:lnTo>
                <a:lnTo>
                  <a:pt x="69" y="10"/>
                </a:lnTo>
                <a:lnTo>
                  <a:pt x="62" y="10"/>
                </a:lnTo>
                <a:lnTo>
                  <a:pt x="59" y="7"/>
                </a:lnTo>
                <a:lnTo>
                  <a:pt x="56" y="3"/>
                </a:lnTo>
                <a:lnTo>
                  <a:pt x="53" y="7"/>
                </a:lnTo>
                <a:lnTo>
                  <a:pt x="50" y="3"/>
                </a:lnTo>
                <a:lnTo>
                  <a:pt x="44" y="3"/>
                </a:lnTo>
                <a:lnTo>
                  <a:pt x="40" y="3"/>
                </a:lnTo>
                <a:lnTo>
                  <a:pt x="37" y="3"/>
                </a:lnTo>
                <a:lnTo>
                  <a:pt x="31" y="3"/>
                </a:lnTo>
                <a:lnTo>
                  <a:pt x="28" y="3"/>
                </a:lnTo>
                <a:lnTo>
                  <a:pt x="25" y="3"/>
                </a:lnTo>
                <a:lnTo>
                  <a:pt x="15" y="7"/>
                </a:lnTo>
                <a:lnTo>
                  <a:pt x="9" y="7"/>
                </a:lnTo>
                <a:lnTo>
                  <a:pt x="6" y="13"/>
                </a:lnTo>
                <a:lnTo>
                  <a:pt x="6" y="16"/>
                </a:lnTo>
                <a:lnTo>
                  <a:pt x="3" y="22"/>
                </a:lnTo>
                <a:lnTo>
                  <a:pt x="0" y="28"/>
                </a:lnTo>
                <a:lnTo>
                  <a:pt x="3" y="38"/>
                </a:lnTo>
                <a:lnTo>
                  <a:pt x="6" y="38"/>
                </a:lnTo>
                <a:lnTo>
                  <a:pt x="9" y="44"/>
                </a:lnTo>
                <a:lnTo>
                  <a:pt x="9" y="50"/>
                </a:lnTo>
                <a:lnTo>
                  <a:pt x="6" y="53"/>
                </a:lnTo>
                <a:lnTo>
                  <a:pt x="6" y="53"/>
                </a:lnTo>
                <a:lnTo>
                  <a:pt x="9" y="57"/>
                </a:lnTo>
                <a:lnTo>
                  <a:pt x="9" y="60"/>
                </a:lnTo>
                <a:lnTo>
                  <a:pt x="12" y="63"/>
                </a:lnTo>
                <a:lnTo>
                  <a:pt x="12" y="66"/>
                </a:lnTo>
                <a:lnTo>
                  <a:pt x="15" y="69"/>
                </a:lnTo>
                <a:lnTo>
                  <a:pt x="19" y="69"/>
                </a:lnTo>
                <a:lnTo>
                  <a:pt x="19" y="72"/>
                </a:lnTo>
                <a:lnTo>
                  <a:pt x="19" y="75"/>
                </a:lnTo>
                <a:lnTo>
                  <a:pt x="19" y="78"/>
                </a:lnTo>
                <a:lnTo>
                  <a:pt x="22" y="82"/>
                </a:lnTo>
                <a:lnTo>
                  <a:pt x="22" y="82"/>
                </a:lnTo>
                <a:lnTo>
                  <a:pt x="25" y="82"/>
                </a:lnTo>
                <a:lnTo>
                  <a:pt x="25" y="78"/>
                </a:lnTo>
                <a:lnTo>
                  <a:pt x="28" y="75"/>
                </a:lnTo>
                <a:lnTo>
                  <a:pt x="31" y="75"/>
                </a:lnTo>
                <a:lnTo>
                  <a:pt x="31" y="75"/>
                </a:lnTo>
                <a:lnTo>
                  <a:pt x="31" y="78"/>
                </a:lnTo>
                <a:lnTo>
                  <a:pt x="31" y="82"/>
                </a:lnTo>
                <a:lnTo>
                  <a:pt x="28" y="85"/>
                </a:lnTo>
                <a:lnTo>
                  <a:pt x="31" y="88"/>
                </a:lnTo>
                <a:lnTo>
                  <a:pt x="31" y="88"/>
                </a:lnTo>
                <a:lnTo>
                  <a:pt x="31" y="88"/>
                </a:lnTo>
                <a:lnTo>
                  <a:pt x="34" y="85"/>
                </a:lnTo>
                <a:lnTo>
                  <a:pt x="34" y="85"/>
                </a:lnTo>
                <a:lnTo>
                  <a:pt x="37" y="85"/>
                </a:lnTo>
                <a:lnTo>
                  <a:pt x="40" y="88"/>
                </a:lnTo>
                <a:lnTo>
                  <a:pt x="44" y="85"/>
                </a:lnTo>
                <a:lnTo>
                  <a:pt x="47" y="88"/>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3" name="Freeform 31">
            <a:extLst>
              <a:ext uri="{FF2B5EF4-FFF2-40B4-BE49-F238E27FC236}">
                <a16:creationId xmlns:a16="http://schemas.microsoft.com/office/drawing/2014/main" id="{B0DA7401-571D-4CFB-428F-412B0AD5D588}"/>
              </a:ext>
            </a:extLst>
          </p:cNvPr>
          <p:cNvSpPr>
            <a:spLocks/>
          </p:cNvSpPr>
          <p:nvPr userDrawn="1"/>
        </p:nvSpPr>
        <p:spPr bwMode="auto">
          <a:xfrm>
            <a:off x="19359887" y="7905032"/>
            <a:ext cx="517492" cy="587376"/>
          </a:xfrm>
          <a:custGeom>
            <a:avLst/>
            <a:gdLst>
              <a:gd name="T0" fmla="*/ 25 w 163"/>
              <a:gd name="T1" fmla="*/ 25 h 185"/>
              <a:gd name="T2" fmla="*/ 32 w 163"/>
              <a:gd name="T3" fmla="*/ 19 h 185"/>
              <a:gd name="T4" fmla="*/ 29 w 163"/>
              <a:gd name="T5" fmla="*/ 4 h 185"/>
              <a:gd name="T6" fmla="*/ 41 w 163"/>
              <a:gd name="T7" fmla="*/ 0 h 185"/>
              <a:gd name="T8" fmla="*/ 50 w 163"/>
              <a:gd name="T9" fmla="*/ 10 h 185"/>
              <a:gd name="T10" fmla="*/ 54 w 163"/>
              <a:gd name="T11" fmla="*/ 19 h 185"/>
              <a:gd name="T12" fmla="*/ 72 w 163"/>
              <a:gd name="T13" fmla="*/ 35 h 185"/>
              <a:gd name="T14" fmla="*/ 88 w 163"/>
              <a:gd name="T15" fmla="*/ 32 h 185"/>
              <a:gd name="T16" fmla="*/ 97 w 163"/>
              <a:gd name="T17" fmla="*/ 41 h 185"/>
              <a:gd name="T18" fmla="*/ 100 w 163"/>
              <a:gd name="T19" fmla="*/ 47 h 185"/>
              <a:gd name="T20" fmla="*/ 94 w 163"/>
              <a:gd name="T21" fmla="*/ 60 h 185"/>
              <a:gd name="T22" fmla="*/ 82 w 163"/>
              <a:gd name="T23" fmla="*/ 63 h 185"/>
              <a:gd name="T24" fmla="*/ 85 w 163"/>
              <a:gd name="T25" fmla="*/ 72 h 185"/>
              <a:gd name="T26" fmla="*/ 91 w 163"/>
              <a:gd name="T27" fmla="*/ 82 h 185"/>
              <a:gd name="T28" fmla="*/ 107 w 163"/>
              <a:gd name="T29" fmla="*/ 85 h 185"/>
              <a:gd name="T30" fmla="*/ 122 w 163"/>
              <a:gd name="T31" fmla="*/ 101 h 185"/>
              <a:gd name="T32" fmla="*/ 129 w 163"/>
              <a:gd name="T33" fmla="*/ 113 h 185"/>
              <a:gd name="T34" fmla="*/ 138 w 163"/>
              <a:gd name="T35" fmla="*/ 119 h 185"/>
              <a:gd name="T36" fmla="*/ 144 w 163"/>
              <a:gd name="T37" fmla="*/ 126 h 185"/>
              <a:gd name="T38" fmla="*/ 147 w 163"/>
              <a:gd name="T39" fmla="*/ 132 h 185"/>
              <a:gd name="T40" fmla="*/ 157 w 163"/>
              <a:gd name="T41" fmla="*/ 135 h 185"/>
              <a:gd name="T42" fmla="*/ 157 w 163"/>
              <a:gd name="T43" fmla="*/ 138 h 185"/>
              <a:gd name="T44" fmla="*/ 163 w 163"/>
              <a:gd name="T45" fmla="*/ 147 h 185"/>
              <a:gd name="T46" fmla="*/ 157 w 163"/>
              <a:gd name="T47" fmla="*/ 160 h 185"/>
              <a:gd name="T48" fmla="*/ 157 w 163"/>
              <a:gd name="T49" fmla="*/ 173 h 185"/>
              <a:gd name="T50" fmla="*/ 144 w 163"/>
              <a:gd name="T51" fmla="*/ 169 h 185"/>
              <a:gd name="T52" fmla="*/ 132 w 163"/>
              <a:gd name="T53" fmla="*/ 169 h 185"/>
              <a:gd name="T54" fmla="*/ 138 w 163"/>
              <a:gd name="T55" fmla="*/ 182 h 185"/>
              <a:gd name="T56" fmla="*/ 129 w 163"/>
              <a:gd name="T57" fmla="*/ 176 h 185"/>
              <a:gd name="T58" fmla="*/ 116 w 163"/>
              <a:gd name="T59" fmla="*/ 169 h 185"/>
              <a:gd name="T60" fmla="*/ 122 w 163"/>
              <a:gd name="T61" fmla="*/ 160 h 185"/>
              <a:gd name="T62" fmla="*/ 122 w 163"/>
              <a:gd name="T63" fmla="*/ 151 h 185"/>
              <a:gd name="T64" fmla="*/ 116 w 163"/>
              <a:gd name="T65" fmla="*/ 141 h 185"/>
              <a:gd name="T66" fmla="*/ 110 w 163"/>
              <a:gd name="T67" fmla="*/ 135 h 185"/>
              <a:gd name="T68" fmla="*/ 104 w 163"/>
              <a:gd name="T69" fmla="*/ 126 h 185"/>
              <a:gd name="T70" fmla="*/ 104 w 163"/>
              <a:gd name="T71" fmla="*/ 113 h 185"/>
              <a:gd name="T72" fmla="*/ 97 w 163"/>
              <a:gd name="T73" fmla="*/ 104 h 185"/>
              <a:gd name="T74" fmla="*/ 79 w 163"/>
              <a:gd name="T75" fmla="*/ 88 h 185"/>
              <a:gd name="T76" fmla="*/ 60 w 163"/>
              <a:gd name="T77" fmla="*/ 101 h 185"/>
              <a:gd name="T78" fmla="*/ 44 w 163"/>
              <a:gd name="T79" fmla="*/ 91 h 185"/>
              <a:gd name="T80" fmla="*/ 32 w 163"/>
              <a:gd name="T81" fmla="*/ 101 h 185"/>
              <a:gd name="T82" fmla="*/ 29 w 163"/>
              <a:gd name="T83" fmla="*/ 85 h 185"/>
              <a:gd name="T84" fmla="*/ 29 w 163"/>
              <a:gd name="T85" fmla="*/ 76 h 185"/>
              <a:gd name="T86" fmla="*/ 29 w 163"/>
              <a:gd name="T87" fmla="*/ 63 h 185"/>
              <a:gd name="T88" fmla="*/ 13 w 163"/>
              <a:gd name="T89" fmla="*/ 63 h 185"/>
              <a:gd name="T90" fmla="*/ 13 w 163"/>
              <a:gd name="T91" fmla="*/ 51 h 185"/>
              <a:gd name="T92" fmla="*/ 0 w 163"/>
              <a:gd name="T93" fmla="*/ 41 h 185"/>
              <a:gd name="T94" fmla="*/ 10 w 163"/>
              <a:gd name="T95" fmla="*/ 35 h 185"/>
              <a:gd name="T96" fmla="*/ 10 w 163"/>
              <a:gd name="T97" fmla="*/ 2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3" h="185">
                <a:moveTo>
                  <a:pt x="19" y="19"/>
                </a:moveTo>
                <a:lnTo>
                  <a:pt x="22" y="22"/>
                </a:lnTo>
                <a:lnTo>
                  <a:pt x="25" y="25"/>
                </a:lnTo>
                <a:lnTo>
                  <a:pt x="29" y="25"/>
                </a:lnTo>
                <a:lnTo>
                  <a:pt x="32" y="25"/>
                </a:lnTo>
                <a:lnTo>
                  <a:pt x="32" y="19"/>
                </a:lnTo>
                <a:lnTo>
                  <a:pt x="32" y="16"/>
                </a:lnTo>
                <a:lnTo>
                  <a:pt x="29" y="10"/>
                </a:lnTo>
                <a:lnTo>
                  <a:pt x="29" y="4"/>
                </a:lnTo>
                <a:lnTo>
                  <a:pt x="32" y="4"/>
                </a:lnTo>
                <a:lnTo>
                  <a:pt x="32" y="0"/>
                </a:lnTo>
                <a:lnTo>
                  <a:pt x="41" y="0"/>
                </a:lnTo>
                <a:lnTo>
                  <a:pt x="41" y="4"/>
                </a:lnTo>
                <a:lnTo>
                  <a:pt x="47" y="4"/>
                </a:lnTo>
                <a:lnTo>
                  <a:pt x="50" y="10"/>
                </a:lnTo>
                <a:lnTo>
                  <a:pt x="54" y="13"/>
                </a:lnTo>
                <a:lnTo>
                  <a:pt x="57" y="16"/>
                </a:lnTo>
                <a:lnTo>
                  <a:pt x="54" y="19"/>
                </a:lnTo>
                <a:lnTo>
                  <a:pt x="60" y="25"/>
                </a:lnTo>
                <a:lnTo>
                  <a:pt x="66" y="35"/>
                </a:lnTo>
                <a:lnTo>
                  <a:pt x="72" y="35"/>
                </a:lnTo>
                <a:lnTo>
                  <a:pt x="79" y="35"/>
                </a:lnTo>
                <a:lnTo>
                  <a:pt x="82" y="32"/>
                </a:lnTo>
                <a:lnTo>
                  <a:pt x="88" y="32"/>
                </a:lnTo>
                <a:lnTo>
                  <a:pt x="91" y="35"/>
                </a:lnTo>
                <a:lnTo>
                  <a:pt x="94" y="38"/>
                </a:lnTo>
                <a:lnTo>
                  <a:pt x="97" y="41"/>
                </a:lnTo>
                <a:lnTo>
                  <a:pt x="97" y="44"/>
                </a:lnTo>
                <a:lnTo>
                  <a:pt x="100" y="44"/>
                </a:lnTo>
                <a:lnTo>
                  <a:pt x="100" y="47"/>
                </a:lnTo>
                <a:lnTo>
                  <a:pt x="100" y="51"/>
                </a:lnTo>
                <a:lnTo>
                  <a:pt x="97" y="57"/>
                </a:lnTo>
                <a:lnTo>
                  <a:pt x="94" y="60"/>
                </a:lnTo>
                <a:lnTo>
                  <a:pt x="91" y="60"/>
                </a:lnTo>
                <a:lnTo>
                  <a:pt x="85" y="63"/>
                </a:lnTo>
                <a:lnTo>
                  <a:pt x="82" y="63"/>
                </a:lnTo>
                <a:lnTo>
                  <a:pt x="82" y="66"/>
                </a:lnTo>
                <a:lnTo>
                  <a:pt x="88" y="69"/>
                </a:lnTo>
                <a:lnTo>
                  <a:pt x="85" y="72"/>
                </a:lnTo>
                <a:lnTo>
                  <a:pt x="85" y="76"/>
                </a:lnTo>
                <a:lnTo>
                  <a:pt x="88" y="76"/>
                </a:lnTo>
                <a:lnTo>
                  <a:pt x="91" y="82"/>
                </a:lnTo>
                <a:lnTo>
                  <a:pt x="97" y="82"/>
                </a:lnTo>
                <a:lnTo>
                  <a:pt x="104" y="85"/>
                </a:lnTo>
                <a:lnTo>
                  <a:pt x="107" y="85"/>
                </a:lnTo>
                <a:lnTo>
                  <a:pt x="113" y="91"/>
                </a:lnTo>
                <a:lnTo>
                  <a:pt x="116" y="94"/>
                </a:lnTo>
                <a:lnTo>
                  <a:pt x="122" y="101"/>
                </a:lnTo>
                <a:lnTo>
                  <a:pt x="122" y="104"/>
                </a:lnTo>
                <a:lnTo>
                  <a:pt x="129" y="110"/>
                </a:lnTo>
                <a:lnTo>
                  <a:pt x="129" y="113"/>
                </a:lnTo>
                <a:lnTo>
                  <a:pt x="132" y="116"/>
                </a:lnTo>
                <a:lnTo>
                  <a:pt x="135" y="116"/>
                </a:lnTo>
                <a:lnTo>
                  <a:pt x="138" y="119"/>
                </a:lnTo>
                <a:lnTo>
                  <a:pt x="138" y="122"/>
                </a:lnTo>
                <a:lnTo>
                  <a:pt x="141" y="126"/>
                </a:lnTo>
                <a:lnTo>
                  <a:pt x="144" y="126"/>
                </a:lnTo>
                <a:lnTo>
                  <a:pt x="147" y="126"/>
                </a:lnTo>
                <a:lnTo>
                  <a:pt x="144" y="129"/>
                </a:lnTo>
                <a:lnTo>
                  <a:pt x="147" y="132"/>
                </a:lnTo>
                <a:lnTo>
                  <a:pt x="150" y="132"/>
                </a:lnTo>
                <a:lnTo>
                  <a:pt x="154" y="135"/>
                </a:lnTo>
                <a:lnTo>
                  <a:pt x="157" y="135"/>
                </a:lnTo>
                <a:lnTo>
                  <a:pt x="160" y="135"/>
                </a:lnTo>
                <a:lnTo>
                  <a:pt x="160" y="135"/>
                </a:lnTo>
                <a:lnTo>
                  <a:pt x="157" y="138"/>
                </a:lnTo>
                <a:lnTo>
                  <a:pt x="157" y="144"/>
                </a:lnTo>
                <a:lnTo>
                  <a:pt x="160" y="147"/>
                </a:lnTo>
                <a:lnTo>
                  <a:pt x="163" y="147"/>
                </a:lnTo>
                <a:lnTo>
                  <a:pt x="163" y="151"/>
                </a:lnTo>
                <a:lnTo>
                  <a:pt x="157" y="157"/>
                </a:lnTo>
                <a:lnTo>
                  <a:pt x="157" y="160"/>
                </a:lnTo>
                <a:lnTo>
                  <a:pt x="160" y="163"/>
                </a:lnTo>
                <a:lnTo>
                  <a:pt x="160" y="169"/>
                </a:lnTo>
                <a:lnTo>
                  <a:pt x="157" y="173"/>
                </a:lnTo>
                <a:lnTo>
                  <a:pt x="150" y="173"/>
                </a:lnTo>
                <a:lnTo>
                  <a:pt x="147" y="169"/>
                </a:lnTo>
                <a:lnTo>
                  <a:pt x="144" y="169"/>
                </a:lnTo>
                <a:lnTo>
                  <a:pt x="144" y="166"/>
                </a:lnTo>
                <a:lnTo>
                  <a:pt x="138" y="166"/>
                </a:lnTo>
                <a:lnTo>
                  <a:pt x="132" y="169"/>
                </a:lnTo>
                <a:lnTo>
                  <a:pt x="138" y="176"/>
                </a:lnTo>
                <a:lnTo>
                  <a:pt x="138" y="179"/>
                </a:lnTo>
                <a:lnTo>
                  <a:pt x="138" y="182"/>
                </a:lnTo>
                <a:lnTo>
                  <a:pt x="138" y="185"/>
                </a:lnTo>
                <a:lnTo>
                  <a:pt x="132" y="182"/>
                </a:lnTo>
                <a:lnTo>
                  <a:pt x="129" y="176"/>
                </a:lnTo>
                <a:lnTo>
                  <a:pt x="122" y="176"/>
                </a:lnTo>
                <a:lnTo>
                  <a:pt x="119" y="173"/>
                </a:lnTo>
                <a:lnTo>
                  <a:pt x="116" y="169"/>
                </a:lnTo>
                <a:lnTo>
                  <a:pt x="119" y="169"/>
                </a:lnTo>
                <a:lnTo>
                  <a:pt x="122" y="166"/>
                </a:lnTo>
                <a:lnTo>
                  <a:pt x="122" y="160"/>
                </a:lnTo>
                <a:lnTo>
                  <a:pt x="119" y="157"/>
                </a:lnTo>
                <a:lnTo>
                  <a:pt x="122" y="154"/>
                </a:lnTo>
                <a:lnTo>
                  <a:pt x="122" y="151"/>
                </a:lnTo>
                <a:lnTo>
                  <a:pt x="122" y="144"/>
                </a:lnTo>
                <a:lnTo>
                  <a:pt x="122" y="144"/>
                </a:lnTo>
                <a:lnTo>
                  <a:pt x="116" y="141"/>
                </a:lnTo>
                <a:lnTo>
                  <a:pt x="116" y="138"/>
                </a:lnTo>
                <a:lnTo>
                  <a:pt x="113" y="135"/>
                </a:lnTo>
                <a:lnTo>
                  <a:pt x="110" y="135"/>
                </a:lnTo>
                <a:lnTo>
                  <a:pt x="107" y="132"/>
                </a:lnTo>
                <a:lnTo>
                  <a:pt x="104" y="129"/>
                </a:lnTo>
                <a:lnTo>
                  <a:pt x="104" y="126"/>
                </a:lnTo>
                <a:lnTo>
                  <a:pt x="104" y="119"/>
                </a:lnTo>
                <a:lnTo>
                  <a:pt x="104" y="116"/>
                </a:lnTo>
                <a:lnTo>
                  <a:pt x="104" y="113"/>
                </a:lnTo>
                <a:lnTo>
                  <a:pt x="104" y="110"/>
                </a:lnTo>
                <a:lnTo>
                  <a:pt x="104" y="107"/>
                </a:lnTo>
                <a:lnTo>
                  <a:pt x="97" y="104"/>
                </a:lnTo>
                <a:lnTo>
                  <a:pt x="88" y="97"/>
                </a:lnTo>
                <a:lnTo>
                  <a:pt x="85" y="91"/>
                </a:lnTo>
                <a:lnTo>
                  <a:pt x="79" y="88"/>
                </a:lnTo>
                <a:lnTo>
                  <a:pt x="69" y="88"/>
                </a:lnTo>
                <a:lnTo>
                  <a:pt x="66" y="97"/>
                </a:lnTo>
                <a:lnTo>
                  <a:pt x="60" y="101"/>
                </a:lnTo>
                <a:lnTo>
                  <a:pt x="54" y="94"/>
                </a:lnTo>
                <a:lnTo>
                  <a:pt x="50" y="94"/>
                </a:lnTo>
                <a:lnTo>
                  <a:pt x="44" y="91"/>
                </a:lnTo>
                <a:lnTo>
                  <a:pt x="38" y="94"/>
                </a:lnTo>
                <a:lnTo>
                  <a:pt x="38" y="97"/>
                </a:lnTo>
                <a:lnTo>
                  <a:pt x="32" y="101"/>
                </a:lnTo>
                <a:lnTo>
                  <a:pt x="29" y="104"/>
                </a:lnTo>
                <a:lnTo>
                  <a:pt x="29" y="91"/>
                </a:lnTo>
                <a:lnTo>
                  <a:pt x="29" y="85"/>
                </a:lnTo>
                <a:lnTo>
                  <a:pt x="25" y="82"/>
                </a:lnTo>
                <a:lnTo>
                  <a:pt x="29" y="79"/>
                </a:lnTo>
                <a:lnTo>
                  <a:pt x="29" y="76"/>
                </a:lnTo>
                <a:lnTo>
                  <a:pt x="25" y="69"/>
                </a:lnTo>
                <a:lnTo>
                  <a:pt x="29" y="66"/>
                </a:lnTo>
                <a:lnTo>
                  <a:pt x="29" y="63"/>
                </a:lnTo>
                <a:lnTo>
                  <a:pt x="19" y="63"/>
                </a:lnTo>
                <a:lnTo>
                  <a:pt x="16" y="66"/>
                </a:lnTo>
                <a:lnTo>
                  <a:pt x="13" y="63"/>
                </a:lnTo>
                <a:lnTo>
                  <a:pt x="10" y="60"/>
                </a:lnTo>
                <a:lnTo>
                  <a:pt x="13" y="57"/>
                </a:lnTo>
                <a:lnTo>
                  <a:pt x="13" y="51"/>
                </a:lnTo>
                <a:lnTo>
                  <a:pt x="10" y="47"/>
                </a:lnTo>
                <a:lnTo>
                  <a:pt x="4" y="47"/>
                </a:lnTo>
                <a:lnTo>
                  <a:pt x="0" y="41"/>
                </a:lnTo>
                <a:lnTo>
                  <a:pt x="4" y="38"/>
                </a:lnTo>
                <a:lnTo>
                  <a:pt x="7" y="38"/>
                </a:lnTo>
                <a:lnTo>
                  <a:pt x="10" y="35"/>
                </a:lnTo>
                <a:lnTo>
                  <a:pt x="10" y="32"/>
                </a:lnTo>
                <a:lnTo>
                  <a:pt x="10" y="29"/>
                </a:lnTo>
                <a:lnTo>
                  <a:pt x="10" y="25"/>
                </a:lnTo>
                <a:lnTo>
                  <a:pt x="16" y="22"/>
                </a:lnTo>
                <a:lnTo>
                  <a:pt x="19" y="1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4" name="Freeform 32">
            <a:extLst>
              <a:ext uri="{FF2B5EF4-FFF2-40B4-BE49-F238E27FC236}">
                <a16:creationId xmlns:a16="http://schemas.microsoft.com/office/drawing/2014/main" id="{1A74BC14-32A2-B748-1B3C-54B1484DF7FB}"/>
              </a:ext>
            </a:extLst>
          </p:cNvPr>
          <p:cNvSpPr>
            <a:spLocks noEditPoints="1"/>
          </p:cNvSpPr>
          <p:nvPr userDrawn="1"/>
        </p:nvSpPr>
        <p:spPr bwMode="auto">
          <a:xfrm>
            <a:off x="19210670" y="8035209"/>
            <a:ext cx="536541" cy="984250"/>
          </a:xfrm>
          <a:custGeom>
            <a:avLst/>
            <a:gdLst>
              <a:gd name="T0" fmla="*/ 19 w 54"/>
              <a:gd name="T1" fmla="*/ 5 h 99"/>
              <a:gd name="T2" fmla="*/ 24 w 54"/>
              <a:gd name="T3" fmla="*/ 7 h 99"/>
              <a:gd name="T4" fmla="*/ 23 w 54"/>
              <a:gd name="T5" fmla="*/ 13 h 99"/>
              <a:gd name="T6" fmla="*/ 27 w 54"/>
              <a:gd name="T7" fmla="*/ 18 h 99"/>
              <a:gd name="T8" fmla="*/ 34 w 54"/>
              <a:gd name="T9" fmla="*/ 19 h 99"/>
              <a:gd name="T10" fmla="*/ 43 w 54"/>
              <a:gd name="T11" fmla="*/ 18 h 99"/>
              <a:gd name="T12" fmla="*/ 48 w 54"/>
              <a:gd name="T13" fmla="*/ 24 h 99"/>
              <a:gd name="T14" fmla="*/ 50 w 54"/>
              <a:gd name="T15" fmla="*/ 30 h 99"/>
              <a:gd name="T16" fmla="*/ 54 w 54"/>
              <a:gd name="T17" fmla="*/ 33 h 99"/>
              <a:gd name="T18" fmla="*/ 54 w 54"/>
              <a:gd name="T19" fmla="*/ 40 h 99"/>
              <a:gd name="T20" fmla="*/ 47 w 54"/>
              <a:gd name="T21" fmla="*/ 41 h 99"/>
              <a:gd name="T22" fmla="*/ 39 w 54"/>
              <a:gd name="T23" fmla="*/ 42 h 99"/>
              <a:gd name="T24" fmla="*/ 34 w 54"/>
              <a:gd name="T25" fmla="*/ 49 h 99"/>
              <a:gd name="T26" fmla="*/ 36 w 54"/>
              <a:gd name="T27" fmla="*/ 57 h 99"/>
              <a:gd name="T28" fmla="*/ 34 w 54"/>
              <a:gd name="T29" fmla="*/ 56 h 99"/>
              <a:gd name="T30" fmla="*/ 30 w 54"/>
              <a:gd name="T31" fmla="*/ 53 h 99"/>
              <a:gd name="T32" fmla="*/ 28 w 54"/>
              <a:gd name="T33" fmla="*/ 54 h 99"/>
              <a:gd name="T34" fmla="*/ 25 w 54"/>
              <a:gd name="T35" fmla="*/ 53 h 99"/>
              <a:gd name="T36" fmla="*/ 24 w 54"/>
              <a:gd name="T37" fmla="*/ 48 h 99"/>
              <a:gd name="T38" fmla="*/ 21 w 54"/>
              <a:gd name="T39" fmla="*/ 49 h 99"/>
              <a:gd name="T40" fmla="*/ 19 w 54"/>
              <a:gd name="T41" fmla="*/ 49 h 99"/>
              <a:gd name="T42" fmla="*/ 19 w 54"/>
              <a:gd name="T43" fmla="*/ 54 h 99"/>
              <a:gd name="T44" fmla="*/ 18 w 54"/>
              <a:gd name="T45" fmla="*/ 59 h 99"/>
              <a:gd name="T46" fmla="*/ 15 w 54"/>
              <a:gd name="T47" fmla="*/ 70 h 99"/>
              <a:gd name="T48" fmla="*/ 16 w 54"/>
              <a:gd name="T49" fmla="*/ 73 h 99"/>
              <a:gd name="T50" fmla="*/ 17 w 54"/>
              <a:gd name="T51" fmla="*/ 77 h 99"/>
              <a:gd name="T52" fmla="*/ 20 w 54"/>
              <a:gd name="T53" fmla="*/ 77 h 99"/>
              <a:gd name="T54" fmla="*/ 22 w 54"/>
              <a:gd name="T55" fmla="*/ 82 h 99"/>
              <a:gd name="T56" fmla="*/ 24 w 54"/>
              <a:gd name="T57" fmla="*/ 82 h 99"/>
              <a:gd name="T58" fmla="*/ 24 w 54"/>
              <a:gd name="T59" fmla="*/ 87 h 99"/>
              <a:gd name="T60" fmla="*/ 25 w 54"/>
              <a:gd name="T61" fmla="*/ 88 h 99"/>
              <a:gd name="T62" fmla="*/ 29 w 54"/>
              <a:gd name="T63" fmla="*/ 92 h 99"/>
              <a:gd name="T64" fmla="*/ 33 w 54"/>
              <a:gd name="T65" fmla="*/ 95 h 99"/>
              <a:gd name="T66" fmla="*/ 33 w 54"/>
              <a:gd name="T67" fmla="*/ 99 h 99"/>
              <a:gd name="T68" fmla="*/ 28 w 54"/>
              <a:gd name="T69" fmla="*/ 98 h 99"/>
              <a:gd name="T70" fmla="*/ 27 w 54"/>
              <a:gd name="T71" fmla="*/ 94 h 99"/>
              <a:gd name="T72" fmla="*/ 22 w 54"/>
              <a:gd name="T73" fmla="*/ 94 h 99"/>
              <a:gd name="T74" fmla="*/ 19 w 54"/>
              <a:gd name="T75" fmla="*/ 90 h 99"/>
              <a:gd name="T76" fmla="*/ 15 w 54"/>
              <a:gd name="T77" fmla="*/ 86 h 99"/>
              <a:gd name="T78" fmla="*/ 13 w 54"/>
              <a:gd name="T79" fmla="*/ 82 h 99"/>
              <a:gd name="T80" fmla="*/ 10 w 54"/>
              <a:gd name="T81" fmla="*/ 80 h 99"/>
              <a:gd name="T82" fmla="*/ 11 w 54"/>
              <a:gd name="T83" fmla="*/ 75 h 99"/>
              <a:gd name="T84" fmla="*/ 13 w 54"/>
              <a:gd name="T85" fmla="*/ 71 h 99"/>
              <a:gd name="T86" fmla="*/ 13 w 54"/>
              <a:gd name="T87" fmla="*/ 65 h 99"/>
              <a:gd name="T88" fmla="*/ 16 w 54"/>
              <a:gd name="T89" fmla="*/ 57 h 99"/>
              <a:gd name="T90" fmla="*/ 15 w 54"/>
              <a:gd name="T91" fmla="*/ 50 h 99"/>
              <a:gd name="T92" fmla="*/ 10 w 54"/>
              <a:gd name="T93" fmla="*/ 42 h 99"/>
              <a:gd name="T94" fmla="*/ 9 w 54"/>
              <a:gd name="T95" fmla="*/ 34 h 99"/>
              <a:gd name="T96" fmla="*/ 9 w 54"/>
              <a:gd name="T97" fmla="*/ 28 h 99"/>
              <a:gd name="T98" fmla="*/ 4 w 54"/>
              <a:gd name="T99" fmla="*/ 20 h 99"/>
              <a:gd name="T100" fmla="*/ 0 w 54"/>
              <a:gd name="T101" fmla="*/ 15 h 99"/>
              <a:gd name="T102" fmla="*/ 4 w 54"/>
              <a:gd name="T103" fmla="*/ 10 h 99"/>
              <a:gd name="T104" fmla="*/ 10 w 54"/>
              <a:gd name="T105" fmla="*/ 6 h 99"/>
              <a:gd name="T106" fmla="*/ 13 w 54"/>
              <a:gd name="T107" fmla="*/ 3 h 99"/>
              <a:gd name="T108" fmla="*/ 15 w 54"/>
              <a:gd name="T109" fmla="*/ 0 h 99"/>
              <a:gd name="T110" fmla="*/ 19 w 54"/>
              <a:gd name="T111" fmla="*/ 93 h 99"/>
              <a:gd name="T112" fmla="*/ 15 w 54"/>
              <a:gd name="T113" fmla="*/ 87 h 99"/>
              <a:gd name="T114" fmla="*/ 10 w 54"/>
              <a:gd name="T115" fmla="*/ 86 h 99"/>
              <a:gd name="T116" fmla="*/ 33 w 54"/>
              <a:gd name="T117" fmla="*/ 58 h 99"/>
              <a:gd name="T118" fmla="*/ 20 w 54"/>
              <a:gd name="T119" fmla="*/ 73 h 99"/>
              <a:gd name="T120" fmla="*/ 20 w 54"/>
              <a:gd name="T121" fmla="*/ 7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 h="99">
                <a:moveTo>
                  <a:pt x="15" y="0"/>
                </a:moveTo>
                <a:cubicBezTo>
                  <a:pt x="16" y="2"/>
                  <a:pt x="16" y="2"/>
                  <a:pt x="16" y="2"/>
                </a:cubicBezTo>
                <a:cubicBezTo>
                  <a:pt x="18" y="2"/>
                  <a:pt x="18" y="2"/>
                  <a:pt x="18" y="2"/>
                </a:cubicBezTo>
                <a:cubicBezTo>
                  <a:pt x="19" y="3"/>
                  <a:pt x="19" y="3"/>
                  <a:pt x="19" y="3"/>
                </a:cubicBezTo>
                <a:cubicBezTo>
                  <a:pt x="19" y="5"/>
                  <a:pt x="19" y="5"/>
                  <a:pt x="19" y="5"/>
                </a:cubicBezTo>
                <a:cubicBezTo>
                  <a:pt x="18" y="6"/>
                  <a:pt x="18" y="6"/>
                  <a:pt x="18" y="6"/>
                </a:cubicBezTo>
                <a:cubicBezTo>
                  <a:pt x="19" y="7"/>
                  <a:pt x="19" y="7"/>
                  <a:pt x="19" y="7"/>
                </a:cubicBezTo>
                <a:cubicBezTo>
                  <a:pt x="20" y="8"/>
                  <a:pt x="20" y="8"/>
                  <a:pt x="20" y="8"/>
                </a:cubicBezTo>
                <a:cubicBezTo>
                  <a:pt x="21" y="7"/>
                  <a:pt x="21" y="7"/>
                  <a:pt x="21" y="7"/>
                </a:cubicBezTo>
                <a:cubicBezTo>
                  <a:pt x="24" y="7"/>
                  <a:pt x="24" y="7"/>
                  <a:pt x="24" y="7"/>
                </a:cubicBezTo>
                <a:cubicBezTo>
                  <a:pt x="24" y="8"/>
                  <a:pt x="24" y="8"/>
                  <a:pt x="24" y="8"/>
                </a:cubicBezTo>
                <a:cubicBezTo>
                  <a:pt x="23" y="9"/>
                  <a:pt x="23" y="9"/>
                  <a:pt x="23" y="9"/>
                </a:cubicBezTo>
                <a:cubicBezTo>
                  <a:pt x="24" y="11"/>
                  <a:pt x="24" y="11"/>
                  <a:pt x="24" y="11"/>
                </a:cubicBezTo>
                <a:cubicBezTo>
                  <a:pt x="24" y="12"/>
                  <a:pt x="24" y="12"/>
                  <a:pt x="24" y="12"/>
                </a:cubicBezTo>
                <a:cubicBezTo>
                  <a:pt x="23" y="13"/>
                  <a:pt x="23" y="13"/>
                  <a:pt x="23" y="13"/>
                </a:cubicBezTo>
                <a:cubicBezTo>
                  <a:pt x="24" y="14"/>
                  <a:pt x="24" y="14"/>
                  <a:pt x="24" y="14"/>
                </a:cubicBezTo>
                <a:cubicBezTo>
                  <a:pt x="24" y="16"/>
                  <a:pt x="24" y="16"/>
                  <a:pt x="24" y="16"/>
                </a:cubicBezTo>
                <a:cubicBezTo>
                  <a:pt x="24" y="20"/>
                  <a:pt x="24" y="20"/>
                  <a:pt x="24" y="20"/>
                </a:cubicBezTo>
                <a:cubicBezTo>
                  <a:pt x="25" y="19"/>
                  <a:pt x="25" y="19"/>
                  <a:pt x="25" y="19"/>
                </a:cubicBezTo>
                <a:cubicBezTo>
                  <a:pt x="27" y="18"/>
                  <a:pt x="27" y="18"/>
                  <a:pt x="27" y="18"/>
                </a:cubicBezTo>
                <a:cubicBezTo>
                  <a:pt x="27" y="17"/>
                  <a:pt x="27" y="17"/>
                  <a:pt x="27" y="17"/>
                </a:cubicBezTo>
                <a:cubicBezTo>
                  <a:pt x="29" y="16"/>
                  <a:pt x="29" y="16"/>
                  <a:pt x="29" y="16"/>
                </a:cubicBezTo>
                <a:cubicBezTo>
                  <a:pt x="31" y="17"/>
                  <a:pt x="31" y="17"/>
                  <a:pt x="31" y="17"/>
                </a:cubicBezTo>
                <a:cubicBezTo>
                  <a:pt x="32" y="17"/>
                  <a:pt x="32" y="17"/>
                  <a:pt x="32" y="17"/>
                </a:cubicBezTo>
                <a:cubicBezTo>
                  <a:pt x="34" y="19"/>
                  <a:pt x="34" y="19"/>
                  <a:pt x="34" y="19"/>
                </a:cubicBezTo>
                <a:cubicBezTo>
                  <a:pt x="36" y="18"/>
                  <a:pt x="36" y="18"/>
                  <a:pt x="36" y="18"/>
                </a:cubicBezTo>
                <a:cubicBezTo>
                  <a:pt x="37" y="15"/>
                  <a:pt x="37" y="15"/>
                  <a:pt x="37" y="15"/>
                </a:cubicBezTo>
                <a:cubicBezTo>
                  <a:pt x="40" y="15"/>
                  <a:pt x="40" y="15"/>
                  <a:pt x="40" y="15"/>
                </a:cubicBezTo>
                <a:cubicBezTo>
                  <a:pt x="42" y="16"/>
                  <a:pt x="42" y="16"/>
                  <a:pt x="42" y="16"/>
                </a:cubicBezTo>
                <a:cubicBezTo>
                  <a:pt x="43" y="18"/>
                  <a:pt x="43" y="18"/>
                  <a:pt x="43" y="18"/>
                </a:cubicBezTo>
                <a:cubicBezTo>
                  <a:pt x="46" y="20"/>
                  <a:pt x="46" y="20"/>
                  <a:pt x="46" y="20"/>
                </a:cubicBezTo>
                <a:cubicBezTo>
                  <a:pt x="48" y="21"/>
                  <a:pt x="48" y="21"/>
                  <a:pt x="48" y="21"/>
                </a:cubicBezTo>
                <a:cubicBezTo>
                  <a:pt x="48" y="22"/>
                  <a:pt x="48" y="22"/>
                  <a:pt x="48" y="22"/>
                </a:cubicBezTo>
                <a:cubicBezTo>
                  <a:pt x="48" y="23"/>
                  <a:pt x="48" y="23"/>
                  <a:pt x="48" y="23"/>
                </a:cubicBezTo>
                <a:cubicBezTo>
                  <a:pt x="48" y="24"/>
                  <a:pt x="48" y="24"/>
                  <a:pt x="48" y="24"/>
                </a:cubicBezTo>
                <a:cubicBezTo>
                  <a:pt x="48" y="25"/>
                  <a:pt x="48" y="25"/>
                  <a:pt x="48" y="25"/>
                </a:cubicBezTo>
                <a:cubicBezTo>
                  <a:pt x="48" y="27"/>
                  <a:pt x="48" y="27"/>
                  <a:pt x="48" y="27"/>
                </a:cubicBezTo>
                <a:cubicBezTo>
                  <a:pt x="48" y="28"/>
                  <a:pt x="48" y="28"/>
                  <a:pt x="48" y="28"/>
                </a:cubicBezTo>
                <a:cubicBezTo>
                  <a:pt x="49" y="29"/>
                  <a:pt x="49" y="29"/>
                  <a:pt x="49" y="29"/>
                </a:cubicBezTo>
                <a:cubicBezTo>
                  <a:pt x="50" y="30"/>
                  <a:pt x="50" y="30"/>
                  <a:pt x="50" y="30"/>
                </a:cubicBezTo>
                <a:cubicBezTo>
                  <a:pt x="51" y="30"/>
                  <a:pt x="51" y="30"/>
                  <a:pt x="51" y="30"/>
                </a:cubicBezTo>
                <a:cubicBezTo>
                  <a:pt x="52" y="31"/>
                  <a:pt x="52" y="31"/>
                  <a:pt x="52" y="31"/>
                </a:cubicBezTo>
                <a:cubicBezTo>
                  <a:pt x="52" y="32"/>
                  <a:pt x="52" y="32"/>
                  <a:pt x="52" y="32"/>
                </a:cubicBezTo>
                <a:cubicBezTo>
                  <a:pt x="54" y="33"/>
                  <a:pt x="54" y="33"/>
                  <a:pt x="54" y="33"/>
                </a:cubicBezTo>
                <a:cubicBezTo>
                  <a:pt x="54" y="33"/>
                  <a:pt x="54" y="33"/>
                  <a:pt x="54" y="33"/>
                </a:cubicBezTo>
                <a:cubicBezTo>
                  <a:pt x="54" y="35"/>
                  <a:pt x="54" y="35"/>
                  <a:pt x="54" y="35"/>
                </a:cubicBezTo>
                <a:cubicBezTo>
                  <a:pt x="54" y="36"/>
                  <a:pt x="54" y="36"/>
                  <a:pt x="54" y="36"/>
                </a:cubicBezTo>
                <a:cubicBezTo>
                  <a:pt x="53" y="37"/>
                  <a:pt x="53" y="37"/>
                  <a:pt x="53" y="37"/>
                </a:cubicBezTo>
                <a:cubicBezTo>
                  <a:pt x="54" y="38"/>
                  <a:pt x="54" y="38"/>
                  <a:pt x="54" y="38"/>
                </a:cubicBezTo>
                <a:cubicBezTo>
                  <a:pt x="54" y="40"/>
                  <a:pt x="54" y="40"/>
                  <a:pt x="54" y="40"/>
                </a:cubicBezTo>
                <a:cubicBezTo>
                  <a:pt x="53" y="41"/>
                  <a:pt x="53" y="41"/>
                  <a:pt x="53" y="41"/>
                </a:cubicBezTo>
                <a:cubicBezTo>
                  <a:pt x="51" y="42"/>
                  <a:pt x="51" y="42"/>
                  <a:pt x="51" y="42"/>
                </a:cubicBezTo>
                <a:cubicBezTo>
                  <a:pt x="50" y="41"/>
                  <a:pt x="50" y="41"/>
                  <a:pt x="50" y="41"/>
                </a:cubicBezTo>
                <a:cubicBezTo>
                  <a:pt x="48" y="41"/>
                  <a:pt x="48" y="41"/>
                  <a:pt x="48" y="41"/>
                </a:cubicBezTo>
                <a:cubicBezTo>
                  <a:pt x="47" y="41"/>
                  <a:pt x="47" y="41"/>
                  <a:pt x="47" y="41"/>
                </a:cubicBezTo>
                <a:cubicBezTo>
                  <a:pt x="46" y="41"/>
                  <a:pt x="46" y="41"/>
                  <a:pt x="46" y="41"/>
                </a:cubicBezTo>
                <a:cubicBezTo>
                  <a:pt x="44" y="41"/>
                  <a:pt x="44" y="41"/>
                  <a:pt x="44" y="41"/>
                </a:cubicBezTo>
                <a:cubicBezTo>
                  <a:pt x="43" y="41"/>
                  <a:pt x="43" y="41"/>
                  <a:pt x="43" y="41"/>
                </a:cubicBezTo>
                <a:cubicBezTo>
                  <a:pt x="42" y="41"/>
                  <a:pt x="42" y="41"/>
                  <a:pt x="42" y="41"/>
                </a:cubicBezTo>
                <a:cubicBezTo>
                  <a:pt x="39" y="42"/>
                  <a:pt x="39" y="42"/>
                  <a:pt x="39" y="42"/>
                </a:cubicBezTo>
                <a:cubicBezTo>
                  <a:pt x="37" y="42"/>
                  <a:pt x="37" y="42"/>
                  <a:pt x="37" y="42"/>
                </a:cubicBezTo>
                <a:cubicBezTo>
                  <a:pt x="36" y="44"/>
                  <a:pt x="36" y="44"/>
                  <a:pt x="36" y="44"/>
                </a:cubicBezTo>
                <a:cubicBezTo>
                  <a:pt x="36" y="45"/>
                  <a:pt x="36" y="45"/>
                  <a:pt x="36" y="45"/>
                </a:cubicBezTo>
                <a:cubicBezTo>
                  <a:pt x="35" y="47"/>
                  <a:pt x="35" y="47"/>
                  <a:pt x="35" y="47"/>
                </a:cubicBezTo>
                <a:cubicBezTo>
                  <a:pt x="34" y="49"/>
                  <a:pt x="34" y="49"/>
                  <a:pt x="34" y="49"/>
                </a:cubicBezTo>
                <a:cubicBezTo>
                  <a:pt x="35" y="52"/>
                  <a:pt x="35" y="52"/>
                  <a:pt x="35" y="52"/>
                </a:cubicBezTo>
                <a:cubicBezTo>
                  <a:pt x="36" y="52"/>
                  <a:pt x="36" y="52"/>
                  <a:pt x="36" y="52"/>
                </a:cubicBezTo>
                <a:cubicBezTo>
                  <a:pt x="37" y="54"/>
                  <a:pt x="37" y="54"/>
                  <a:pt x="37" y="54"/>
                </a:cubicBezTo>
                <a:cubicBezTo>
                  <a:pt x="37" y="56"/>
                  <a:pt x="37" y="56"/>
                  <a:pt x="37" y="56"/>
                </a:cubicBezTo>
                <a:cubicBezTo>
                  <a:pt x="36" y="57"/>
                  <a:pt x="36" y="57"/>
                  <a:pt x="36" y="57"/>
                </a:cubicBezTo>
                <a:cubicBezTo>
                  <a:pt x="36" y="57"/>
                  <a:pt x="36" y="57"/>
                  <a:pt x="36" y="57"/>
                </a:cubicBezTo>
                <a:cubicBezTo>
                  <a:pt x="36" y="58"/>
                  <a:pt x="36" y="58"/>
                  <a:pt x="36" y="58"/>
                </a:cubicBezTo>
                <a:cubicBezTo>
                  <a:pt x="36" y="58"/>
                  <a:pt x="36" y="58"/>
                  <a:pt x="36" y="58"/>
                </a:cubicBezTo>
                <a:cubicBezTo>
                  <a:pt x="35" y="57"/>
                  <a:pt x="35" y="57"/>
                  <a:pt x="35" y="57"/>
                </a:cubicBezTo>
                <a:cubicBezTo>
                  <a:pt x="34" y="56"/>
                  <a:pt x="34" y="56"/>
                  <a:pt x="34" y="56"/>
                </a:cubicBezTo>
                <a:cubicBezTo>
                  <a:pt x="34" y="56"/>
                  <a:pt x="34" y="56"/>
                  <a:pt x="34" y="56"/>
                </a:cubicBezTo>
                <a:cubicBezTo>
                  <a:pt x="34" y="56"/>
                  <a:pt x="34" y="56"/>
                  <a:pt x="34" y="56"/>
                </a:cubicBezTo>
                <a:cubicBezTo>
                  <a:pt x="33" y="55"/>
                  <a:pt x="33" y="55"/>
                  <a:pt x="33" y="55"/>
                </a:cubicBezTo>
                <a:cubicBezTo>
                  <a:pt x="31" y="54"/>
                  <a:pt x="31" y="54"/>
                  <a:pt x="31" y="54"/>
                </a:cubicBezTo>
                <a:cubicBezTo>
                  <a:pt x="30" y="53"/>
                  <a:pt x="30" y="53"/>
                  <a:pt x="30" y="53"/>
                </a:cubicBezTo>
                <a:cubicBezTo>
                  <a:pt x="30" y="54"/>
                  <a:pt x="30" y="54"/>
                  <a:pt x="30" y="54"/>
                </a:cubicBezTo>
                <a:cubicBezTo>
                  <a:pt x="30" y="54"/>
                  <a:pt x="30" y="54"/>
                  <a:pt x="30" y="54"/>
                </a:cubicBezTo>
                <a:cubicBezTo>
                  <a:pt x="30" y="55"/>
                  <a:pt x="30" y="55"/>
                  <a:pt x="30" y="55"/>
                </a:cubicBezTo>
                <a:cubicBezTo>
                  <a:pt x="29" y="54"/>
                  <a:pt x="29" y="54"/>
                  <a:pt x="29" y="54"/>
                </a:cubicBezTo>
                <a:cubicBezTo>
                  <a:pt x="28" y="54"/>
                  <a:pt x="28" y="54"/>
                  <a:pt x="28" y="54"/>
                </a:cubicBezTo>
                <a:cubicBezTo>
                  <a:pt x="26" y="54"/>
                  <a:pt x="26" y="54"/>
                  <a:pt x="26" y="54"/>
                </a:cubicBezTo>
                <a:cubicBezTo>
                  <a:pt x="26" y="54"/>
                  <a:pt x="26" y="54"/>
                  <a:pt x="26" y="54"/>
                </a:cubicBezTo>
                <a:cubicBezTo>
                  <a:pt x="25" y="54"/>
                  <a:pt x="25" y="54"/>
                  <a:pt x="25" y="54"/>
                </a:cubicBezTo>
                <a:cubicBezTo>
                  <a:pt x="25" y="53"/>
                  <a:pt x="25" y="53"/>
                  <a:pt x="25" y="53"/>
                </a:cubicBezTo>
                <a:cubicBezTo>
                  <a:pt x="25" y="53"/>
                  <a:pt x="25" y="53"/>
                  <a:pt x="25" y="53"/>
                </a:cubicBezTo>
                <a:cubicBezTo>
                  <a:pt x="25" y="52"/>
                  <a:pt x="25" y="52"/>
                  <a:pt x="25" y="52"/>
                </a:cubicBezTo>
                <a:cubicBezTo>
                  <a:pt x="25" y="50"/>
                  <a:pt x="25" y="50"/>
                  <a:pt x="25" y="50"/>
                </a:cubicBezTo>
                <a:cubicBezTo>
                  <a:pt x="25" y="49"/>
                  <a:pt x="25" y="49"/>
                  <a:pt x="25" y="49"/>
                </a:cubicBezTo>
                <a:cubicBezTo>
                  <a:pt x="25" y="49"/>
                  <a:pt x="25" y="49"/>
                  <a:pt x="25" y="49"/>
                </a:cubicBezTo>
                <a:cubicBezTo>
                  <a:pt x="24" y="48"/>
                  <a:pt x="24" y="48"/>
                  <a:pt x="24" y="48"/>
                </a:cubicBezTo>
                <a:cubicBezTo>
                  <a:pt x="24" y="48"/>
                  <a:pt x="24" y="48"/>
                  <a:pt x="24" y="48"/>
                </a:cubicBezTo>
                <a:cubicBezTo>
                  <a:pt x="23" y="48"/>
                  <a:pt x="23" y="48"/>
                  <a:pt x="23" y="48"/>
                </a:cubicBezTo>
                <a:cubicBezTo>
                  <a:pt x="23" y="48"/>
                  <a:pt x="23" y="48"/>
                  <a:pt x="23" y="48"/>
                </a:cubicBezTo>
                <a:cubicBezTo>
                  <a:pt x="22" y="49"/>
                  <a:pt x="22" y="49"/>
                  <a:pt x="22" y="49"/>
                </a:cubicBezTo>
                <a:cubicBezTo>
                  <a:pt x="21" y="49"/>
                  <a:pt x="21" y="49"/>
                  <a:pt x="21" y="49"/>
                </a:cubicBezTo>
                <a:cubicBezTo>
                  <a:pt x="21" y="48"/>
                  <a:pt x="21" y="48"/>
                  <a:pt x="21" y="48"/>
                </a:cubicBezTo>
                <a:cubicBezTo>
                  <a:pt x="20" y="49"/>
                  <a:pt x="20" y="49"/>
                  <a:pt x="20" y="49"/>
                </a:cubicBezTo>
                <a:cubicBezTo>
                  <a:pt x="19" y="49"/>
                  <a:pt x="19" y="49"/>
                  <a:pt x="19" y="49"/>
                </a:cubicBezTo>
                <a:cubicBezTo>
                  <a:pt x="19" y="49"/>
                  <a:pt x="19" y="49"/>
                  <a:pt x="19" y="49"/>
                </a:cubicBezTo>
                <a:cubicBezTo>
                  <a:pt x="19" y="49"/>
                  <a:pt x="19" y="49"/>
                  <a:pt x="19" y="49"/>
                </a:cubicBezTo>
                <a:cubicBezTo>
                  <a:pt x="19" y="50"/>
                  <a:pt x="19" y="50"/>
                  <a:pt x="19" y="50"/>
                </a:cubicBezTo>
                <a:cubicBezTo>
                  <a:pt x="20" y="50"/>
                  <a:pt x="20" y="50"/>
                  <a:pt x="20" y="50"/>
                </a:cubicBezTo>
                <a:cubicBezTo>
                  <a:pt x="20" y="51"/>
                  <a:pt x="20" y="51"/>
                  <a:pt x="20" y="51"/>
                </a:cubicBezTo>
                <a:cubicBezTo>
                  <a:pt x="19" y="52"/>
                  <a:pt x="19" y="52"/>
                  <a:pt x="19" y="52"/>
                </a:cubicBezTo>
                <a:cubicBezTo>
                  <a:pt x="19" y="54"/>
                  <a:pt x="19" y="54"/>
                  <a:pt x="19" y="54"/>
                </a:cubicBezTo>
                <a:cubicBezTo>
                  <a:pt x="19" y="55"/>
                  <a:pt x="19" y="55"/>
                  <a:pt x="19" y="55"/>
                </a:cubicBezTo>
                <a:cubicBezTo>
                  <a:pt x="20" y="55"/>
                  <a:pt x="20" y="55"/>
                  <a:pt x="20" y="55"/>
                </a:cubicBezTo>
                <a:cubicBezTo>
                  <a:pt x="19" y="57"/>
                  <a:pt x="19" y="57"/>
                  <a:pt x="19" y="57"/>
                </a:cubicBezTo>
                <a:cubicBezTo>
                  <a:pt x="19" y="58"/>
                  <a:pt x="19" y="58"/>
                  <a:pt x="19" y="58"/>
                </a:cubicBezTo>
                <a:cubicBezTo>
                  <a:pt x="18" y="59"/>
                  <a:pt x="18" y="59"/>
                  <a:pt x="18" y="59"/>
                </a:cubicBezTo>
                <a:cubicBezTo>
                  <a:pt x="17" y="60"/>
                  <a:pt x="17" y="60"/>
                  <a:pt x="17" y="60"/>
                </a:cubicBezTo>
                <a:cubicBezTo>
                  <a:pt x="17" y="65"/>
                  <a:pt x="17" y="65"/>
                  <a:pt x="17" y="65"/>
                </a:cubicBezTo>
                <a:cubicBezTo>
                  <a:pt x="16" y="67"/>
                  <a:pt x="16" y="67"/>
                  <a:pt x="16" y="67"/>
                </a:cubicBezTo>
                <a:cubicBezTo>
                  <a:pt x="16" y="68"/>
                  <a:pt x="16" y="68"/>
                  <a:pt x="16" y="68"/>
                </a:cubicBezTo>
                <a:cubicBezTo>
                  <a:pt x="15" y="70"/>
                  <a:pt x="15" y="70"/>
                  <a:pt x="15" y="70"/>
                </a:cubicBezTo>
                <a:cubicBezTo>
                  <a:pt x="16" y="70"/>
                  <a:pt x="16" y="70"/>
                  <a:pt x="16" y="70"/>
                </a:cubicBezTo>
                <a:cubicBezTo>
                  <a:pt x="16" y="70"/>
                  <a:pt x="16" y="70"/>
                  <a:pt x="16" y="70"/>
                </a:cubicBezTo>
                <a:cubicBezTo>
                  <a:pt x="15" y="71"/>
                  <a:pt x="15" y="71"/>
                  <a:pt x="15" y="71"/>
                </a:cubicBezTo>
                <a:cubicBezTo>
                  <a:pt x="15" y="71"/>
                  <a:pt x="15" y="71"/>
                  <a:pt x="15" y="71"/>
                </a:cubicBezTo>
                <a:cubicBezTo>
                  <a:pt x="16" y="73"/>
                  <a:pt x="16" y="73"/>
                  <a:pt x="16" y="73"/>
                </a:cubicBezTo>
                <a:cubicBezTo>
                  <a:pt x="16" y="74"/>
                  <a:pt x="16" y="74"/>
                  <a:pt x="16" y="74"/>
                </a:cubicBezTo>
                <a:cubicBezTo>
                  <a:pt x="17" y="75"/>
                  <a:pt x="17" y="75"/>
                  <a:pt x="17" y="75"/>
                </a:cubicBezTo>
                <a:cubicBezTo>
                  <a:pt x="16" y="77"/>
                  <a:pt x="16" y="77"/>
                  <a:pt x="16" y="77"/>
                </a:cubicBezTo>
                <a:cubicBezTo>
                  <a:pt x="17" y="77"/>
                  <a:pt x="17" y="77"/>
                  <a:pt x="17" y="77"/>
                </a:cubicBezTo>
                <a:cubicBezTo>
                  <a:pt x="17" y="77"/>
                  <a:pt x="17" y="77"/>
                  <a:pt x="17" y="77"/>
                </a:cubicBezTo>
                <a:cubicBezTo>
                  <a:pt x="17" y="76"/>
                  <a:pt x="17" y="76"/>
                  <a:pt x="17" y="76"/>
                </a:cubicBezTo>
                <a:cubicBezTo>
                  <a:pt x="18" y="76"/>
                  <a:pt x="18" y="76"/>
                  <a:pt x="18" y="76"/>
                </a:cubicBezTo>
                <a:cubicBezTo>
                  <a:pt x="18" y="76"/>
                  <a:pt x="18" y="76"/>
                  <a:pt x="18" y="76"/>
                </a:cubicBezTo>
                <a:cubicBezTo>
                  <a:pt x="19" y="76"/>
                  <a:pt x="19" y="76"/>
                  <a:pt x="19" y="76"/>
                </a:cubicBezTo>
                <a:cubicBezTo>
                  <a:pt x="20" y="77"/>
                  <a:pt x="20" y="77"/>
                  <a:pt x="20" y="77"/>
                </a:cubicBezTo>
                <a:cubicBezTo>
                  <a:pt x="20" y="78"/>
                  <a:pt x="20" y="78"/>
                  <a:pt x="20" y="78"/>
                </a:cubicBezTo>
                <a:cubicBezTo>
                  <a:pt x="21" y="79"/>
                  <a:pt x="21" y="79"/>
                  <a:pt x="21" y="79"/>
                </a:cubicBezTo>
                <a:cubicBezTo>
                  <a:pt x="20" y="80"/>
                  <a:pt x="20" y="80"/>
                  <a:pt x="20" y="80"/>
                </a:cubicBezTo>
                <a:cubicBezTo>
                  <a:pt x="21" y="80"/>
                  <a:pt x="21" y="80"/>
                  <a:pt x="21" y="80"/>
                </a:cubicBezTo>
                <a:cubicBezTo>
                  <a:pt x="22" y="82"/>
                  <a:pt x="22" y="82"/>
                  <a:pt x="22" y="82"/>
                </a:cubicBezTo>
                <a:cubicBezTo>
                  <a:pt x="22" y="82"/>
                  <a:pt x="22" y="82"/>
                  <a:pt x="22" y="82"/>
                </a:cubicBezTo>
                <a:cubicBezTo>
                  <a:pt x="22" y="81"/>
                  <a:pt x="22" y="81"/>
                  <a:pt x="22" y="81"/>
                </a:cubicBezTo>
                <a:cubicBezTo>
                  <a:pt x="23" y="80"/>
                  <a:pt x="23" y="80"/>
                  <a:pt x="23" y="80"/>
                </a:cubicBezTo>
                <a:cubicBezTo>
                  <a:pt x="23" y="81"/>
                  <a:pt x="23" y="81"/>
                  <a:pt x="23" y="81"/>
                </a:cubicBezTo>
                <a:cubicBezTo>
                  <a:pt x="24" y="82"/>
                  <a:pt x="24" y="82"/>
                  <a:pt x="24" y="82"/>
                </a:cubicBezTo>
                <a:cubicBezTo>
                  <a:pt x="24" y="83"/>
                  <a:pt x="24" y="83"/>
                  <a:pt x="24" y="83"/>
                </a:cubicBezTo>
                <a:cubicBezTo>
                  <a:pt x="24" y="84"/>
                  <a:pt x="24" y="84"/>
                  <a:pt x="24" y="84"/>
                </a:cubicBezTo>
                <a:cubicBezTo>
                  <a:pt x="25" y="86"/>
                  <a:pt x="25" y="86"/>
                  <a:pt x="25" y="86"/>
                </a:cubicBezTo>
                <a:cubicBezTo>
                  <a:pt x="24" y="87"/>
                  <a:pt x="24" y="87"/>
                  <a:pt x="24" y="87"/>
                </a:cubicBezTo>
                <a:cubicBezTo>
                  <a:pt x="24" y="87"/>
                  <a:pt x="24" y="87"/>
                  <a:pt x="24" y="87"/>
                </a:cubicBezTo>
                <a:cubicBezTo>
                  <a:pt x="24" y="87"/>
                  <a:pt x="24" y="87"/>
                  <a:pt x="24" y="87"/>
                </a:cubicBezTo>
                <a:cubicBezTo>
                  <a:pt x="23" y="87"/>
                  <a:pt x="23" y="87"/>
                  <a:pt x="23" y="87"/>
                </a:cubicBezTo>
                <a:cubicBezTo>
                  <a:pt x="23" y="88"/>
                  <a:pt x="23" y="88"/>
                  <a:pt x="23" y="88"/>
                </a:cubicBezTo>
                <a:cubicBezTo>
                  <a:pt x="25" y="89"/>
                  <a:pt x="25" y="89"/>
                  <a:pt x="25" y="89"/>
                </a:cubicBezTo>
                <a:cubicBezTo>
                  <a:pt x="25" y="88"/>
                  <a:pt x="25" y="88"/>
                  <a:pt x="25" y="88"/>
                </a:cubicBezTo>
                <a:cubicBezTo>
                  <a:pt x="25" y="88"/>
                  <a:pt x="25" y="88"/>
                  <a:pt x="25" y="88"/>
                </a:cubicBezTo>
                <a:cubicBezTo>
                  <a:pt x="25" y="89"/>
                  <a:pt x="25" y="89"/>
                  <a:pt x="25" y="89"/>
                </a:cubicBezTo>
                <a:cubicBezTo>
                  <a:pt x="26" y="90"/>
                  <a:pt x="26" y="90"/>
                  <a:pt x="26" y="90"/>
                </a:cubicBezTo>
                <a:cubicBezTo>
                  <a:pt x="28" y="92"/>
                  <a:pt x="28" y="92"/>
                  <a:pt x="28" y="92"/>
                </a:cubicBezTo>
                <a:cubicBezTo>
                  <a:pt x="29" y="92"/>
                  <a:pt x="29" y="92"/>
                  <a:pt x="29" y="92"/>
                </a:cubicBezTo>
                <a:cubicBezTo>
                  <a:pt x="29" y="92"/>
                  <a:pt x="29" y="92"/>
                  <a:pt x="29" y="92"/>
                </a:cubicBezTo>
                <a:cubicBezTo>
                  <a:pt x="30" y="92"/>
                  <a:pt x="30" y="92"/>
                  <a:pt x="30" y="92"/>
                </a:cubicBezTo>
                <a:cubicBezTo>
                  <a:pt x="32" y="93"/>
                  <a:pt x="32" y="93"/>
                  <a:pt x="32" y="93"/>
                </a:cubicBezTo>
                <a:cubicBezTo>
                  <a:pt x="32" y="95"/>
                  <a:pt x="32" y="95"/>
                  <a:pt x="32" y="95"/>
                </a:cubicBezTo>
                <a:cubicBezTo>
                  <a:pt x="33" y="95"/>
                  <a:pt x="33" y="95"/>
                  <a:pt x="33" y="95"/>
                </a:cubicBezTo>
                <a:cubicBezTo>
                  <a:pt x="34" y="96"/>
                  <a:pt x="34" y="96"/>
                  <a:pt x="34" y="96"/>
                </a:cubicBezTo>
                <a:cubicBezTo>
                  <a:pt x="34" y="97"/>
                  <a:pt x="34" y="97"/>
                  <a:pt x="34" y="97"/>
                </a:cubicBezTo>
                <a:cubicBezTo>
                  <a:pt x="34" y="97"/>
                  <a:pt x="34" y="97"/>
                  <a:pt x="34" y="97"/>
                </a:cubicBezTo>
                <a:cubicBezTo>
                  <a:pt x="34" y="98"/>
                  <a:pt x="34" y="98"/>
                  <a:pt x="34" y="98"/>
                </a:cubicBezTo>
                <a:cubicBezTo>
                  <a:pt x="33" y="99"/>
                  <a:pt x="33" y="99"/>
                  <a:pt x="33" y="99"/>
                </a:cubicBezTo>
                <a:cubicBezTo>
                  <a:pt x="32" y="98"/>
                  <a:pt x="32" y="98"/>
                  <a:pt x="32" y="98"/>
                </a:cubicBezTo>
                <a:cubicBezTo>
                  <a:pt x="31" y="98"/>
                  <a:pt x="31" y="98"/>
                  <a:pt x="31" y="98"/>
                </a:cubicBezTo>
                <a:cubicBezTo>
                  <a:pt x="30" y="99"/>
                  <a:pt x="30" y="99"/>
                  <a:pt x="30" y="99"/>
                </a:cubicBezTo>
                <a:cubicBezTo>
                  <a:pt x="28" y="99"/>
                  <a:pt x="28" y="99"/>
                  <a:pt x="28" y="99"/>
                </a:cubicBezTo>
                <a:cubicBezTo>
                  <a:pt x="28" y="98"/>
                  <a:pt x="28" y="98"/>
                  <a:pt x="28" y="98"/>
                </a:cubicBezTo>
                <a:cubicBezTo>
                  <a:pt x="29" y="97"/>
                  <a:pt x="29" y="97"/>
                  <a:pt x="29" y="97"/>
                </a:cubicBezTo>
                <a:cubicBezTo>
                  <a:pt x="29" y="95"/>
                  <a:pt x="29" y="95"/>
                  <a:pt x="29" y="95"/>
                </a:cubicBezTo>
                <a:cubicBezTo>
                  <a:pt x="28" y="95"/>
                  <a:pt x="28" y="95"/>
                  <a:pt x="28" y="95"/>
                </a:cubicBezTo>
                <a:cubicBezTo>
                  <a:pt x="27" y="95"/>
                  <a:pt x="27" y="95"/>
                  <a:pt x="27" y="95"/>
                </a:cubicBezTo>
                <a:cubicBezTo>
                  <a:pt x="27" y="94"/>
                  <a:pt x="27" y="94"/>
                  <a:pt x="27" y="94"/>
                </a:cubicBezTo>
                <a:cubicBezTo>
                  <a:pt x="25" y="93"/>
                  <a:pt x="25" y="93"/>
                  <a:pt x="25" y="93"/>
                </a:cubicBezTo>
                <a:cubicBezTo>
                  <a:pt x="24" y="92"/>
                  <a:pt x="24" y="92"/>
                  <a:pt x="24" y="92"/>
                </a:cubicBezTo>
                <a:cubicBezTo>
                  <a:pt x="23" y="93"/>
                  <a:pt x="23" y="93"/>
                  <a:pt x="23" y="93"/>
                </a:cubicBezTo>
                <a:cubicBezTo>
                  <a:pt x="23" y="95"/>
                  <a:pt x="23" y="95"/>
                  <a:pt x="23" y="95"/>
                </a:cubicBezTo>
                <a:cubicBezTo>
                  <a:pt x="22" y="94"/>
                  <a:pt x="22" y="94"/>
                  <a:pt x="22" y="94"/>
                </a:cubicBezTo>
                <a:cubicBezTo>
                  <a:pt x="19" y="92"/>
                  <a:pt x="19" y="92"/>
                  <a:pt x="19" y="92"/>
                </a:cubicBezTo>
                <a:cubicBezTo>
                  <a:pt x="19" y="92"/>
                  <a:pt x="19" y="92"/>
                  <a:pt x="19" y="92"/>
                </a:cubicBezTo>
                <a:cubicBezTo>
                  <a:pt x="20" y="91"/>
                  <a:pt x="20" y="91"/>
                  <a:pt x="20" y="91"/>
                </a:cubicBezTo>
                <a:cubicBezTo>
                  <a:pt x="20" y="90"/>
                  <a:pt x="20" y="90"/>
                  <a:pt x="20" y="90"/>
                </a:cubicBezTo>
                <a:cubicBezTo>
                  <a:pt x="19" y="90"/>
                  <a:pt x="19" y="90"/>
                  <a:pt x="19" y="90"/>
                </a:cubicBezTo>
                <a:cubicBezTo>
                  <a:pt x="19" y="89"/>
                  <a:pt x="19" y="89"/>
                  <a:pt x="19" y="89"/>
                </a:cubicBezTo>
                <a:cubicBezTo>
                  <a:pt x="18" y="89"/>
                  <a:pt x="18" y="89"/>
                  <a:pt x="18" y="89"/>
                </a:cubicBezTo>
                <a:cubicBezTo>
                  <a:pt x="18" y="88"/>
                  <a:pt x="18" y="88"/>
                  <a:pt x="18" y="88"/>
                </a:cubicBezTo>
                <a:cubicBezTo>
                  <a:pt x="16" y="86"/>
                  <a:pt x="16" y="86"/>
                  <a:pt x="16" y="86"/>
                </a:cubicBezTo>
                <a:cubicBezTo>
                  <a:pt x="15" y="86"/>
                  <a:pt x="15" y="86"/>
                  <a:pt x="15" y="86"/>
                </a:cubicBezTo>
                <a:cubicBezTo>
                  <a:pt x="14" y="84"/>
                  <a:pt x="14" y="84"/>
                  <a:pt x="14" y="84"/>
                </a:cubicBezTo>
                <a:cubicBezTo>
                  <a:pt x="13" y="84"/>
                  <a:pt x="13" y="84"/>
                  <a:pt x="13" y="84"/>
                </a:cubicBezTo>
                <a:cubicBezTo>
                  <a:pt x="13" y="83"/>
                  <a:pt x="13" y="83"/>
                  <a:pt x="13" y="83"/>
                </a:cubicBezTo>
                <a:cubicBezTo>
                  <a:pt x="13" y="82"/>
                  <a:pt x="13" y="82"/>
                  <a:pt x="13" y="82"/>
                </a:cubicBezTo>
                <a:cubicBezTo>
                  <a:pt x="13" y="82"/>
                  <a:pt x="13" y="82"/>
                  <a:pt x="13" y="82"/>
                </a:cubicBezTo>
                <a:cubicBezTo>
                  <a:pt x="11" y="82"/>
                  <a:pt x="11" y="82"/>
                  <a:pt x="11" y="82"/>
                </a:cubicBezTo>
                <a:cubicBezTo>
                  <a:pt x="12" y="83"/>
                  <a:pt x="12" y="83"/>
                  <a:pt x="12" y="83"/>
                </a:cubicBezTo>
                <a:cubicBezTo>
                  <a:pt x="11" y="83"/>
                  <a:pt x="11" y="83"/>
                  <a:pt x="11" y="83"/>
                </a:cubicBezTo>
                <a:cubicBezTo>
                  <a:pt x="10" y="82"/>
                  <a:pt x="10" y="82"/>
                  <a:pt x="10" y="82"/>
                </a:cubicBezTo>
                <a:cubicBezTo>
                  <a:pt x="10" y="80"/>
                  <a:pt x="10" y="80"/>
                  <a:pt x="10" y="80"/>
                </a:cubicBezTo>
                <a:cubicBezTo>
                  <a:pt x="10" y="80"/>
                  <a:pt x="10" y="80"/>
                  <a:pt x="10" y="80"/>
                </a:cubicBezTo>
                <a:cubicBezTo>
                  <a:pt x="10" y="78"/>
                  <a:pt x="10" y="78"/>
                  <a:pt x="10" y="78"/>
                </a:cubicBezTo>
                <a:cubicBezTo>
                  <a:pt x="11" y="78"/>
                  <a:pt x="11" y="78"/>
                  <a:pt x="11" y="78"/>
                </a:cubicBezTo>
                <a:cubicBezTo>
                  <a:pt x="11" y="75"/>
                  <a:pt x="11" y="75"/>
                  <a:pt x="11" y="75"/>
                </a:cubicBezTo>
                <a:cubicBezTo>
                  <a:pt x="11" y="75"/>
                  <a:pt x="11" y="75"/>
                  <a:pt x="11" y="75"/>
                </a:cubicBezTo>
                <a:cubicBezTo>
                  <a:pt x="12" y="74"/>
                  <a:pt x="12" y="74"/>
                  <a:pt x="12" y="74"/>
                </a:cubicBezTo>
                <a:cubicBezTo>
                  <a:pt x="11" y="74"/>
                  <a:pt x="11" y="74"/>
                  <a:pt x="11" y="74"/>
                </a:cubicBezTo>
                <a:cubicBezTo>
                  <a:pt x="12" y="73"/>
                  <a:pt x="12" y="73"/>
                  <a:pt x="12" y="73"/>
                </a:cubicBezTo>
                <a:cubicBezTo>
                  <a:pt x="12" y="72"/>
                  <a:pt x="12" y="72"/>
                  <a:pt x="12" y="72"/>
                </a:cubicBezTo>
                <a:cubicBezTo>
                  <a:pt x="13" y="71"/>
                  <a:pt x="13" y="71"/>
                  <a:pt x="13" y="71"/>
                </a:cubicBezTo>
                <a:cubicBezTo>
                  <a:pt x="12" y="71"/>
                  <a:pt x="12" y="71"/>
                  <a:pt x="12" y="71"/>
                </a:cubicBezTo>
                <a:cubicBezTo>
                  <a:pt x="12" y="69"/>
                  <a:pt x="12" y="69"/>
                  <a:pt x="12" y="69"/>
                </a:cubicBezTo>
                <a:cubicBezTo>
                  <a:pt x="12" y="68"/>
                  <a:pt x="12" y="68"/>
                  <a:pt x="12" y="68"/>
                </a:cubicBezTo>
                <a:cubicBezTo>
                  <a:pt x="13" y="67"/>
                  <a:pt x="13" y="67"/>
                  <a:pt x="13" y="67"/>
                </a:cubicBezTo>
                <a:cubicBezTo>
                  <a:pt x="13" y="65"/>
                  <a:pt x="13" y="65"/>
                  <a:pt x="13" y="65"/>
                </a:cubicBezTo>
                <a:cubicBezTo>
                  <a:pt x="15" y="64"/>
                  <a:pt x="15" y="64"/>
                  <a:pt x="15" y="64"/>
                </a:cubicBezTo>
                <a:cubicBezTo>
                  <a:pt x="16" y="61"/>
                  <a:pt x="16" y="61"/>
                  <a:pt x="16" y="61"/>
                </a:cubicBezTo>
                <a:cubicBezTo>
                  <a:pt x="17" y="60"/>
                  <a:pt x="17" y="60"/>
                  <a:pt x="17" y="60"/>
                </a:cubicBezTo>
                <a:cubicBezTo>
                  <a:pt x="17" y="58"/>
                  <a:pt x="17" y="58"/>
                  <a:pt x="17" y="58"/>
                </a:cubicBezTo>
                <a:cubicBezTo>
                  <a:pt x="16" y="57"/>
                  <a:pt x="16" y="57"/>
                  <a:pt x="16" y="57"/>
                </a:cubicBezTo>
                <a:cubicBezTo>
                  <a:pt x="16" y="55"/>
                  <a:pt x="16" y="55"/>
                  <a:pt x="16" y="55"/>
                </a:cubicBezTo>
                <a:cubicBezTo>
                  <a:pt x="16" y="54"/>
                  <a:pt x="16" y="54"/>
                  <a:pt x="16" y="54"/>
                </a:cubicBezTo>
                <a:cubicBezTo>
                  <a:pt x="15" y="52"/>
                  <a:pt x="15" y="52"/>
                  <a:pt x="15" y="52"/>
                </a:cubicBezTo>
                <a:cubicBezTo>
                  <a:pt x="15" y="51"/>
                  <a:pt x="15" y="51"/>
                  <a:pt x="15" y="51"/>
                </a:cubicBezTo>
                <a:cubicBezTo>
                  <a:pt x="15" y="50"/>
                  <a:pt x="15" y="50"/>
                  <a:pt x="15" y="50"/>
                </a:cubicBezTo>
                <a:cubicBezTo>
                  <a:pt x="14" y="48"/>
                  <a:pt x="14" y="48"/>
                  <a:pt x="14" y="48"/>
                </a:cubicBezTo>
                <a:cubicBezTo>
                  <a:pt x="15" y="47"/>
                  <a:pt x="15" y="47"/>
                  <a:pt x="15" y="47"/>
                </a:cubicBezTo>
                <a:cubicBezTo>
                  <a:pt x="14" y="45"/>
                  <a:pt x="14" y="45"/>
                  <a:pt x="14" y="45"/>
                </a:cubicBezTo>
                <a:cubicBezTo>
                  <a:pt x="12" y="43"/>
                  <a:pt x="12" y="43"/>
                  <a:pt x="12" y="43"/>
                </a:cubicBezTo>
                <a:cubicBezTo>
                  <a:pt x="10" y="42"/>
                  <a:pt x="10" y="42"/>
                  <a:pt x="10" y="42"/>
                </a:cubicBezTo>
                <a:cubicBezTo>
                  <a:pt x="9" y="40"/>
                  <a:pt x="9" y="40"/>
                  <a:pt x="9" y="40"/>
                </a:cubicBezTo>
                <a:cubicBezTo>
                  <a:pt x="9" y="38"/>
                  <a:pt x="9" y="38"/>
                  <a:pt x="9" y="38"/>
                </a:cubicBezTo>
                <a:cubicBezTo>
                  <a:pt x="8" y="36"/>
                  <a:pt x="8" y="36"/>
                  <a:pt x="8" y="36"/>
                </a:cubicBezTo>
                <a:cubicBezTo>
                  <a:pt x="9" y="35"/>
                  <a:pt x="9" y="35"/>
                  <a:pt x="9" y="35"/>
                </a:cubicBezTo>
                <a:cubicBezTo>
                  <a:pt x="9" y="34"/>
                  <a:pt x="9" y="34"/>
                  <a:pt x="9" y="34"/>
                </a:cubicBezTo>
                <a:cubicBezTo>
                  <a:pt x="9" y="31"/>
                  <a:pt x="9" y="31"/>
                  <a:pt x="9" y="31"/>
                </a:cubicBezTo>
                <a:cubicBezTo>
                  <a:pt x="9" y="30"/>
                  <a:pt x="9" y="30"/>
                  <a:pt x="9" y="30"/>
                </a:cubicBezTo>
                <a:cubicBezTo>
                  <a:pt x="10" y="30"/>
                  <a:pt x="10" y="30"/>
                  <a:pt x="10" y="30"/>
                </a:cubicBezTo>
                <a:cubicBezTo>
                  <a:pt x="10" y="28"/>
                  <a:pt x="10" y="28"/>
                  <a:pt x="10" y="28"/>
                </a:cubicBezTo>
                <a:cubicBezTo>
                  <a:pt x="9" y="28"/>
                  <a:pt x="9" y="28"/>
                  <a:pt x="9" y="28"/>
                </a:cubicBezTo>
                <a:cubicBezTo>
                  <a:pt x="9" y="26"/>
                  <a:pt x="9" y="26"/>
                  <a:pt x="9" y="26"/>
                </a:cubicBezTo>
                <a:cubicBezTo>
                  <a:pt x="8" y="25"/>
                  <a:pt x="8" y="25"/>
                  <a:pt x="8" y="25"/>
                </a:cubicBezTo>
                <a:cubicBezTo>
                  <a:pt x="7" y="24"/>
                  <a:pt x="7" y="24"/>
                  <a:pt x="7" y="24"/>
                </a:cubicBezTo>
                <a:cubicBezTo>
                  <a:pt x="5" y="21"/>
                  <a:pt x="5" y="21"/>
                  <a:pt x="5" y="21"/>
                </a:cubicBezTo>
                <a:cubicBezTo>
                  <a:pt x="4" y="20"/>
                  <a:pt x="4" y="20"/>
                  <a:pt x="4" y="20"/>
                </a:cubicBezTo>
                <a:cubicBezTo>
                  <a:pt x="3" y="19"/>
                  <a:pt x="3" y="19"/>
                  <a:pt x="3" y="19"/>
                </a:cubicBezTo>
                <a:cubicBezTo>
                  <a:pt x="3" y="18"/>
                  <a:pt x="3" y="18"/>
                  <a:pt x="3" y="18"/>
                </a:cubicBezTo>
                <a:cubicBezTo>
                  <a:pt x="1" y="16"/>
                  <a:pt x="1" y="16"/>
                  <a:pt x="1" y="16"/>
                </a:cubicBezTo>
                <a:cubicBezTo>
                  <a:pt x="1" y="16"/>
                  <a:pt x="1" y="16"/>
                  <a:pt x="1" y="16"/>
                </a:cubicBezTo>
                <a:cubicBezTo>
                  <a:pt x="0" y="15"/>
                  <a:pt x="0" y="15"/>
                  <a:pt x="0" y="15"/>
                </a:cubicBezTo>
                <a:cubicBezTo>
                  <a:pt x="2" y="15"/>
                  <a:pt x="2" y="15"/>
                  <a:pt x="2" y="15"/>
                </a:cubicBezTo>
                <a:cubicBezTo>
                  <a:pt x="3" y="14"/>
                  <a:pt x="3" y="14"/>
                  <a:pt x="3" y="14"/>
                </a:cubicBezTo>
                <a:cubicBezTo>
                  <a:pt x="3" y="13"/>
                  <a:pt x="3" y="13"/>
                  <a:pt x="3" y="13"/>
                </a:cubicBezTo>
                <a:cubicBezTo>
                  <a:pt x="3" y="11"/>
                  <a:pt x="3" y="11"/>
                  <a:pt x="3" y="11"/>
                </a:cubicBezTo>
                <a:cubicBezTo>
                  <a:pt x="4" y="10"/>
                  <a:pt x="4" y="10"/>
                  <a:pt x="4" y="10"/>
                </a:cubicBezTo>
                <a:cubicBezTo>
                  <a:pt x="3" y="8"/>
                  <a:pt x="3" y="8"/>
                  <a:pt x="3" y="8"/>
                </a:cubicBezTo>
                <a:cubicBezTo>
                  <a:pt x="4" y="6"/>
                  <a:pt x="4" y="6"/>
                  <a:pt x="4" y="6"/>
                </a:cubicBezTo>
                <a:cubicBezTo>
                  <a:pt x="7" y="7"/>
                  <a:pt x="7" y="7"/>
                  <a:pt x="7" y="7"/>
                </a:cubicBezTo>
                <a:cubicBezTo>
                  <a:pt x="8" y="6"/>
                  <a:pt x="8" y="6"/>
                  <a:pt x="8" y="6"/>
                </a:cubicBezTo>
                <a:cubicBezTo>
                  <a:pt x="10" y="6"/>
                  <a:pt x="10" y="6"/>
                  <a:pt x="10" y="6"/>
                </a:cubicBezTo>
                <a:cubicBezTo>
                  <a:pt x="10" y="6"/>
                  <a:pt x="10" y="6"/>
                  <a:pt x="10" y="6"/>
                </a:cubicBezTo>
                <a:cubicBezTo>
                  <a:pt x="10" y="4"/>
                  <a:pt x="10" y="4"/>
                  <a:pt x="10" y="4"/>
                </a:cubicBezTo>
                <a:cubicBezTo>
                  <a:pt x="11" y="3"/>
                  <a:pt x="11" y="3"/>
                  <a:pt x="11" y="3"/>
                </a:cubicBezTo>
                <a:cubicBezTo>
                  <a:pt x="12" y="3"/>
                  <a:pt x="12" y="3"/>
                  <a:pt x="12" y="3"/>
                </a:cubicBezTo>
                <a:cubicBezTo>
                  <a:pt x="13" y="3"/>
                  <a:pt x="13" y="3"/>
                  <a:pt x="13" y="3"/>
                </a:cubicBezTo>
                <a:cubicBezTo>
                  <a:pt x="12" y="2"/>
                  <a:pt x="12" y="2"/>
                  <a:pt x="12" y="2"/>
                </a:cubicBezTo>
                <a:cubicBezTo>
                  <a:pt x="12" y="1"/>
                  <a:pt x="12" y="1"/>
                  <a:pt x="12" y="1"/>
                </a:cubicBezTo>
                <a:cubicBezTo>
                  <a:pt x="14" y="1"/>
                  <a:pt x="14" y="1"/>
                  <a:pt x="14" y="1"/>
                </a:cubicBezTo>
                <a:cubicBezTo>
                  <a:pt x="15" y="1"/>
                  <a:pt x="15" y="1"/>
                  <a:pt x="15" y="1"/>
                </a:cubicBezTo>
                <a:cubicBezTo>
                  <a:pt x="15" y="0"/>
                  <a:pt x="15" y="0"/>
                  <a:pt x="15" y="0"/>
                </a:cubicBezTo>
                <a:close/>
                <a:moveTo>
                  <a:pt x="19" y="93"/>
                </a:moveTo>
                <a:cubicBezTo>
                  <a:pt x="19" y="94"/>
                  <a:pt x="19" y="94"/>
                  <a:pt x="19" y="94"/>
                </a:cubicBezTo>
                <a:cubicBezTo>
                  <a:pt x="20" y="94"/>
                  <a:pt x="20" y="94"/>
                  <a:pt x="20" y="94"/>
                </a:cubicBezTo>
                <a:cubicBezTo>
                  <a:pt x="20" y="93"/>
                  <a:pt x="20" y="93"/>
                  <a:pt x="20" y="93"/>
                </a:cubicBezTo>
                <a:cubicBezTo>
                  <a:pt x="19" y="93"/>
                  <a:pt x="19" y="93"/>
                  <a:pt x="19" y="93"/>
                </a:cubicBezTo>
                <a:cubicBezTo>
                  <a:pt x="19" y="93"/>
                  <a:pt x="19" y="93"/>
                  <a:pt x="19" y="93"/>
                </a:cubicBezTo>
                <a:close/>
                <a:moveTo>
                  <a:pt x="15" y="87"/>
                </a:moveTo>
                <a:cubicBezTo>
                  <a:pt x="15" y="88"/>
                  <a:pt x="15" y="88"/>
                  <a:pt x="15" y="88"/>
                </a:cubicBezTo>
                <a:cubicBezTo>
                  <a:pt x="15" y="87"/>
                  <a:pt x="15" y="87"/>
                  <a:pt x="15" y="87"/>
                </a:cubicBezTo>
                <a:cubicBezTo>
                  <a:pt x="15" y="87"/>
                  <a:pt x="15" y="87"/>
                  <a:pt x="15" y="87"/>
                </a:cubicBezTo>
                <a:cubicBezTo>
                  <a:pt x="15" y="87"/>
                  <a:pt x="15" y="87"/>
                  <a:pt x="15" y="87"/>
                </a:cubicBezTo>
                <a:close/>
                <a:moveTo>
                  <a:pt x="11" y="84"/>
                </a:moveTo>
                <a:cubicBezTo>
                  <a:pt x="10" y="85"/>
                  <a:pt x="10" y="85"/>
                  <a:pt x="10" y="85"/>
                </a:cubicBezTo>
                <a:cubicBezTo>
                  <a:pt x="11" y="85"/>
                  <a:pt x="11" y="85"/>
                  <a:pt x="11" y="85"/>
                </a:cubicBezTo>
                <a:cubicBezTo>
                  <a:pt x="10" y="86"/>
                  <a:pt x="10" y="86"/>
                  <a:pt x="10" y="86"/>
                </a:cubicBezTo>
                <a:cubicBezTo>
                  <a:pt x="11" y="85"/>
                  <a:pt x="11" y="85"/>
                  <a:pt x="11" y="85"/>
                </a:cubicBezTo>
                <a:cubicBezTo>
                  <a:pt x="11" y="84"/>
                  <a:pt x="11" y="84"/>
                  <a:pt x="11" y="84"/>
                </a:cubicBezTo>
                <a:cubicBezTo>
                  <a:pt x="11" y="84"/>
                  <a:pt x="11" y="84"/>
                  <a:pt x="11" y="84"/>
                </a:cubicBezTo>
                <a:close/>
                <a:moveTo>
                  <a:pt x="33" y="57"/>
                </a:moveTo>
                <a:cubicBezTo>
                  <a:pt x="33" y="58"/>
                  <a:pt x="33" y="58"/>
                  <a:pt x="33" y="58"/>
                </a:cubicBezTo>
                <a:cubicBezTo>
                  <a:pt x="34" y="59"/>
                  <a:pt x="34" y="59"/>
                  <a:pt x="34" y="59"/>
                </a:cubicBezTo>
                <a:cubicBezTo>
                  <a:pt x="35" y="58"/>
                  <a:pt x="35" y="58"/>
                  <a:pt x="35" y="58"/>
                </a:cubicBezTo>
                <a:cubicBezTo>
                  <a:pt x="33" y="57"/>
                  <a:pt x="33" y="57"/>
                  <a:pt x="33" y="57"/>
                </a:cubicBezTo>
                <a:close/>
                <a:moveTo>
                  <a:pt x="21" y="72"/>
                </a:moveTo>
                <a:cubicBezTo>
                  <a:pt x="20" y="73"/>
                  <a:pt x="20" y="73"/>
                  <a:pt x="20" y="73"/>
                </a:cubicBezTo>
                <a:cubicBezTo>
                  <a:pt x="21" y="73"/>
                  <a:pt x="21" y="73"/>
                  <a:pt x="21" y="73"/>
                </a:cubicBezTo>
                <a:cubicBezTo>
                  <a:pt x="21" y="72"/>
                  <a:pt x="21" y="72"/>
                  <a:pt x="21" y="72"/>
                </a:cubicBezTo>
                <a:close/>
                <a:moveTo>
                  <a:pt x="21" y="74"/>
                </a:moveTo>
                <a:cubicBezTo>
                  <a:pt x="20" y="74"/>
                  <a:pt x="20" y="74"/>
                  <a:pt x="20" y="74"/>
                </a:cubicBezTo>
                <a:cubicBezTo>
                  <a:pt x="20" y="75"/>
                  <a:pt x="20" y="75"/>
                  <a:pt x="20" y="75"/>
                </a:cubicBezTo>
                <a:cubicBezTo>
                  <a:pt x="21" y="76"/>
                  <a:pt x="21" y="76"/>
                  <a:pt x="21" y="76"/>
                </a:cubicBezTo>
                <a:cubicBezTo>
                  <a:pt x="22" y="74"/>
                  <a:pt x="22" y="74"/>
                  <a:pt x="22" y="74"/>
                </a:cubicBezTo>
                <a:lnTo>
                  <a:pt x="21" y="7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5" name="Freeform 33">
            <a:extLst>
              <a:ext uri="{FF2B5EF4-FFF2-40B4-BE49-F238E27FC236}">
                <a16:creationId xmlns:a16="http://schemas.microsoft.com/office/drawing/2014/main" id="{95E54B2B-62DF-FF2A-C6C5-E98F2F592D05}"/>
              </a:ext>
            </a:extLst>
          </p:cNvPr>
          <p:cNvSpPr>
            <a:spLocks noEditPoints="1"/>
          </p:cNvSpPr>
          <p:nvPr userDrawn="1"/>
        </p:nvSpPr>
        <p:spPr bwMode="auto">
          <a:xfrm>
            <a:off x="18874144" y="7498633"/>
            <a:ext cx="555590" cy="1250950"/>
          </a:xfrm>
          <a:custGeom>
            <a:avLst/>
            <a:gdLst>
              <a:gd name="T0" fmla="*/ 97 w 175"/>
              <a:gd name="T1" fmla="*/ 6 h 394"/>
              <a:gd name="T2" fmla="*/ 113 w 175"/>
              <a:gd name="T3" fmla="*/ 31 h 394"/>
              <a:gd name="T4" fmla="*/ 106 w 175"/>
              <a:gd name="T5" fmla="*/ 60 h 394"/>
              <a:gd name="T6" fmla="*/ 97 w 175"/>
              <a:gd name="T7" fmla="*/ 69 h 394"/>
              <a:gd name="T8" fmla="*/ 100 w 175"/>
              <a:gd name="T9" fmla="*/ 85 h 394"/>
              <a:gd name="T10" fmla="*/ 119 w 175"/>
              <a:gd name="T11" fmla="*/ 94 h 394"/>
              <a:gd name="T12" fmla="*/ 128 w 175"/>
              <a:gd name="T13" fmla="*/ 110 h 394"/>
              <a:gd name="T14" fmla="*/ 144 w 175"/>
              <a:gd name="T15" fmla="*/ 113 h 394"/>
              <a:gd name="T16" fmla="*/ 135 w 175"/>
              <a:gd name="T17" fmla="*/ 135 h 394"/>
              <a:gd name="T18" fmla="*/ 150 w 175"/>
              <a:gd name="T19" fmla="*/ 141 h 394"/>
              <a:gd name="T20" fmla="*/ 175 w 175"/>
              <a:gd name="T21" fmla="*/ 144 h 394"/>
              <a:gd name="T22" fmla="*/ 163 w 175"/>
              <a:gd name="T23" fmla="*/ 163 h 394"/>
              <a:gd name="T24" fmla="*/ 144 w 175"/>
              <a:gd name="T25" fmla="*/ 175 h 394"/>
              <a:gd name="T26" fmla="*/ 138 w 175"/>
              <a:gd name="T27" fmla="*/ 188 h 394"/>
              <a:gd name="T28" fmla="*/ 116 w 175"/>
              <a:gd name="T29" fmla="*/ 204 h 394"/>
              <a:gd name="T30" fmla="*/ 110 w 175"/>
              <a:gd name="T31" fmla="*/ 219 h 394"/>
              <a:gd name="T32" fmla="*/ 132 w 175"/>
              <a:gd name="T33" fmla="*/ 247 h 394"/>
              <a:gd name="T34" fmla="*/ 135 w 175"/>
              <a:gd name="T35" fmla="*/ 266 h 394"/>
              <a:gd name="T36" fmla="*/ 138 w 175"/>
              <a:gd name="T37" fmla="*/ 301 h 394"/>
              <a:gd name="T38" fmla="*/ 153 w 175"/>
              <a:gd name="T39" fmla="*/ 329 h 394"/>
              <a:gd name="T40" fmla="*/ 160 w 175"/>
              <a:gd name="T41" fmla="*/ 357 h 394"/>
              <a:gd name="T42" fmla="*/ 144 w 175"/>
              <a:gd name="T43" fmla="*/ 385 h 394"/>
              <a:gd name="T44" fmla="*/ 138 w 175"/>
              <a:gd name="T45" fmla="*/ 379 h 394"/>
              <a:gd name="T46" fmla="*/ 144 w 175"/>
              <a:gd name="T47" fmla="*/ 369 h 394"/>
              <a:gd name="T48" fmla="*/ 144 w 175"/>
              <a:gd name="T49" fmla="*/ 351 h 394"/>
              <a:gd name="T50" fmla="*/ 138 w 175"/>
              <a:gd name="T51" fmla="*/ 322 h 394"/>
              <a:gd name="T52" fmla="*/ 132 w 175"/>
              <a:gd name="T53" fmla="*/ 316 h 394"/>
              <a:gd name="T54" fmla="*/ 122 w 175"/>
              <a:gd name="T55" fmla="*/ 291 h 394"/>
              <a:gd name="T56" fmla="*/ 116 w 175"/>
              <a:gd name="T57" fmla="*/ 266 h 394"/>
              <a:gd name="T58" fmla="*/ 113 w 175"/>
              <a:gd name="T59" fmla="*/ 257 h 394"/>
              <a:gd name="T60" fmla="*/ 100 w 175"/>
              <a:gd name="T61" fmla="*/ 241 h 394"/>
              <a:gd name="T62" fmla="*/ 100 w 175"/>
              <a:gd name="T63" fmla="*/ 244 h 394"/>
              <a:gd name="T64" fmla="*/ 88 w 175"/>
              <a:gd name="T65" fmla="*/ 254 h 394"/>
              <a:gd name="T66" fmla="*/ 85 w 175"/>
              <a:gd name="T67" fmla="*/ 260 h 394"/>
              <a:gd name="T68" fmla="*/ 66 w 175"/>
              <a:gd name="T69" fmla="*/ 269 h 394"/>
              <a:gd name="T70" fmla="*/ 56 w 175"/>
              <a:gd name="T71" fmla="*/ 272 h 394"/>
              <a:gd name="T72" fmla="*/ 53 w 175"/>
              <a:gd name="T73" fmla="*/ 266 h 394"/>
              <a:gd name="T74" fmla="*/ 56 w 175"/>
              <a:gd name="T75" fmla="*/ 241 h 394"/>
              <a:gd name="T76" fmla="*/ 47 w 175"/>
              <a:gd name="T77" fmla="*/ 219 h 394"/>
              <a:gd name="T78" fmla="*/ 35 w 175"/>
              <a:gd name="T79" fmla="*/ 197 h 394"/>
              <a:gd name="T80" fmla="*/ 22 w 175"/>
              <a:gd name="T81" fmla="*/ 197 h 394"/>
              <a:gd name="T82" fmla="*/ 31 w 175"/>
              <a:gd name="T83" fmla="*/ 197 h 394"/>
              <a:gd name="T84" fmla="*/ 31 w 175"/>
              <a:gd name="T85" fmla="*/ 185 h 394"/>
              <a:gd name="T86" fmla="*/ 16 w 175"/>
              <a:gd name="T87" fmla="*/ 182 h 394"/>
              <a:gd name="T88" fmla="*/ 13 w 175"/>
              <a:gd name="T89" fmla="*/ 179 h 394"/>
              <a:gd name="T90" fmla="*/ 0 w 175"/>
              <a:gd name="T91" fmla="*/ 157 h 394"/>
              <a:gd name="T92" fmla="*/ 13 w 175"/>
              <a:gd name="T93" fmla="*/ 138 h 394"/>
              <a:gd name="T94" fmla="*/ 19 w 175"/>
              <a:gd name="T95" fmla="*/ 119 h 394"/>
              <a:gd name="T96" fmla="*/ 28 w 175"/>
              <a:gd name="T97" fmla="*/ 97 h 394"/>
              <a:gd name="T98" fmla="*/ 41 w 175"/>
              <a:gd name="T99" fmla="*/ 57 h 394"/>
              <a:gd name="T100" fmla="*/ 56 w 175"/>
              <a:gd name="T101" fmla="*/ 25 h 394"/>
              <a:gd name="T102" fmla="*/ 75 w 175"/>
              <a:gd name="T103" fmla="*/ 16 h 394"/>
              <a:gd name="T104" fmla="*/ 25 w 175"/>
              <a:gd name="T105" fmla="*/ 2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5" h="394">
                <a:moveTo>
                  <a:pt x="78" y="3"/>
                </a:moveTo>
                <a:lnTo>
                  <a:pt x="81" y="0"/>
                </a:lnTo>
                <a:lnTo>
                  <a:pt x="88" y="3"/>
                </a:lnTo>
                <a:lnTo>
                  <a:pt x="91" y="0"/>
                </a:lnTo>
                <a:lnTo>
                  <a:pt x="94" y="0"/>
                </a:lnTo>
                <a:lnTo>
                  <a:pt x="97" y="6"/>
                </a:lnTo>
                <a:lnTo>
                  <a:pt x="100" y="10"/>
                </a:lnTo>
                <a:lnTo>
                  <a:pt x="103" y="16"/>
                </a:lnTo>
                <a:lnTo>
                  <a:pt x="106" y="16"/>
                </a:lnTo>
                <a:lnTo>
                  <a:pt x="110" y="19"/>
                </a:lnTo>
                <a:lnTo>
                  <a:pt x="110" y="25"/>
                </a:lnTo>
                <a:lnTo>
                  <a:pt x="113" y="31"/>
                </a:lnTo>
                <a:lnTo>
                  <a:pt x="113" y="38"/>
                </a:lnTo>
                <a:lnTo>
                  <a:pt x="113" y="47"/>
                </a:lnTo>
                <a:lnTo>
                  <a:pt x="113" y="50"/>
                </a:lnTo>
                <a:lnTo>
                  <a:pt x="110" y="53"/>
                </a:lnTo>
                <a:lnTo>
                  <a:pt x="106" y="53"/>
                </a:lnTo>
                <a:lnTo>
                  <a:pt x="106" y="60"/>
                </a:lnTo>
                <a:lnTo>
                  <a:pt x="103" y="60"/>
                </a:lnTo>
                <a:lnTo>
                  <a:pt x="103" y="63"/>
                </a:lnTo>
                <a:lnTo>
                  <a:pt x="106" y="66"/>
                </a:lnTo>
                <a:lnTo>
                  <a:pt x="103" y="69"/>
                </a:lnTo>
                <a:lnTo>
                  <a:pt x="100" y="66"/>
                </a:lnTo>
                <a:lnTo>
                  <a:pt x="97" y="69"/>
                </a:lnTo>
                <a:lnTo>
                  <a:pt x="97" y="72"/>
                </a:lnTo>
                <a:lnTo>
                  <a:pt x="97" y="75"/>
                </a:lnTo>
                <a:lnTo>
                  <a:pt x="97" y="78"/>
                </a:lnTo>
                <a:lnTo>
                  <a:pt x="97" y="82"/>
                </a:lnTo>
                <a:lnTo>
                  <a:pt x="100" y="82"/>
                </a:lnTo>
                <a:lnTo>
                  <a:pt x="100" y="85"/>
                </a:lnTo>
                <a:lnTo>
                  <a:pt x="103" y="88"/>
                </a:lnTo>
                <a:lnTo>
                  <a:pt x="103" y="94"/>
                </a:lnTo>
                <a:lnTo>
                  <a:pt x="106" y="97"/>
                </a:lnTo>
                <a:lnTo>
                  <a:pt x="110" y="94"/>
                </a:lnTo>
                <a:lnTo>
                  <a:pt x="119" y="91"/>
                </a:lnTo>
                <a:lnTo>
                  <a:pt x="119" y="94"/>
                </a:lnTo>
                <a:lnTo>
                  <a:pt x="119" y="97"/>
                </a:lnTo>
                <a:lnTo>
                  <a:pt x="122" y="100"/>
                </a:lnTo>
                <a:lnTo>
                  <a:pt x="125" y="97"/>
                </a:lnTo>
                <a:lnTo>
                  <a:pt x="128" y="100"/>
                </a:lnTo>
                <a:lnTo>
                  <a:pt x="125" y="107"/>
                </a:lnTo>
                <a:lnTo>
                  <a:pt x="128" y="110"/>
                </a:lnTo>
                <a:lnTo>
                  <a:pt x="135" y="110"/>
                </a:lnTo>
                <a:lnTo>
                  <a:pt x="132" y="110"/>
                </a:lnTo>
                <a:lnTo>
                  <a:pt x="135" y="113"/>
                </a:lnTo>
                <a:lnTo>
                  <a:pt x="135" y="113"/>
                </a:lnTo>
                <a:lnTo>
                  <a:pt x="141" y="113"/>
                </a:lnTo>
                <a:lnTo>
                  <a:pt x="144" y="113"/>
                </a:lnTo>
                <a:lnTo>
                  <a:pt x="144" y="116"/>
                </a:lnTo>
                <a:lnTo>
                  <a:pt x="141" y="119"/>
                </a:lnTo>
                <a:lnTo>
                  <a:pt x="141" y="122"/>
                </a:lnTo>
                <a:lnTo>
                  <a:pt x="138" y="128"/>
                </a:lnTo>
                <a:lnTo>
                  <a:pt x="135" y="135"/>
                </a:lnTo>
                <a:lnTo>
                  <a:pt x="135" y="135"/>
                </a:lnTo>
                <a:lnTo>
                  <a:pt x="138" y="135"/>
                </a:lnTo>
                <a:lnTo>
                  <a:pt x="144" y="135"/>
                </a:lnTo>
                <a:lnTo>
                  <a:pt x="144" y="138"/>
                </a:lnTo>
                <a:lnTo>
                  <a:pt x="147" y="135"/>
                </a:lnTo>
                <a:lnTo>
                  <a:pt x="150" y="138"/>
                </a:lnTo>
                <a:lnTo>
                  <a:pt x="150" y="141"/>
                </a:lnTo>
                <a:lnTo>
                  <a:pt x="150" y="147"/>
                </a:lnTo>
                <a:lnTo>
                  <a:pt x="157" y="147"/>
                </a:lnTo>
                <a:lnTo>
                  <a:pt x="160" y="147"/>
                </a:lnTo>
                <a:lnTo>
                  <a:pt x="163" y="147"/>
                </a:lnTo>
                <a:lnTo>
                  <a:pt x="172" y="141"/>
                </a:lnTo>
                <a:lnTo>
                  <a:pt x="175" y="144"/>
                </a:lnTo>
                <a:lnTo>
                  <a:pt x="175" y="147"/>
                </a:lnTo>
                <a:lnTo>
                  <a:pt x="169" y="150"/>
                </a:lnTo>
                <a:lnTo>
                  <a:pt x="163" y="153"/>
                </a:lnTo>
                <a:lnTo>
                  <a:pt x="163" y="157"/>
                </a:lnTo>
                <a:lnTo>
                  <a:pt x="163" y="160"/>
                </a:lnTo>
                <a:lnTo>
                  <a:pt x="163" y="163"/>
                </a:lnTo>
                <a:lnTo>
                  <a:pt x="160" y="166"/>
                </a:lnTo>
                <a:lnTo>
                  <a:pt x="157" y="166"/>
                </a:lnTo>
                <a:lnTo>
                  <a:pt x="153" y="172"/>
                </a:lnTo>
                <a:lnTo>
                  <a:pt x="150" y="172"/>
                </a:lnTo>
                <a:lnTo>
                  <a:pt x="144" y="172"/>
                </a:lnTo>
                <a:lnTo>
                  <a:pt x="144" y="175"/>
                </a:lnTo>
                <a:lnTo>
                  <a:pt x="147" y="179"/>
                </a:lnTo>
                <a:lnTo>
                  <a:pt x="144" y="179"/>
                </a:lnTo>
                <a:lnTo>
                  <a:pt x="141" y="179"/>
                </a:lnTo>
                <a:lnTo>
                  <a:pt x="138" y="182"/>
                </a:lnTo>
                <a:lnTo>
                  <a:pt x="138" y="188"/>
                </a:lnTo>
                <a:lnTo>
                  <a:pt x="138" y="188"/>
                </a:lnTo>
                <a:lnTo>
                  <a:pt x="132" y="188"/>
                </a:lnTo>
                <a:lnTo>
                  <a:pt x="128" y="191"/>
                </a:lnTo>
                <a:lnTo>
                  <a:pt x="119" y="188"/>
                </a:lnTo>
                <a:lnTo>
                  <a:pt x="116" y="194"/>
                </a:lnTo>
                <a:lnTo>
                  <a:pt x="119" y="200"/>
                </a:lnTo>
                <a:lnTo>
                  <a:pt x="116" y="204"/>
                </a:lnTo>
                <a:lnTo>
                  <a:pt x="116" y="210"/>
                </a:lnTo>
                <a:lnTo>
                  <a:pt x="116" y="213"/>
                </a:lnTo>
                <a:lnTo>
                  <a:pt x="113" y="216"/>
                </a:lnTo>
                <a:lnTo>
                  <a:pt x="106" y="216"/>
                </a:lnTo>
                <a:lnTo>
                  <a:pt x="110" y="219"/>
                </a:lnTo>
                <a:lnTo>
                  <a:pt x="110" y="219"/>
                </a:lnTo>
                <a:lnTo>
                  <a:pt x="116" y="225"/>
                </a:lnTo>
                <a:lnTo>
                  <a:pt x="116" y="229"/>
                </a:lnTo>
                <a:lnTo>
                  <a:pt x="119" y="232"/>
                </a:lnTo>
                <a:lnTo>
                  <a:pt x="122" y="235"/>
                </a:lnTo>
                <a:lnTo>
                  <a:pt x="128" y="244"/>
                </a:lnTo>
                <a:lnTo>
                  <a:pt x="132" y="247"/>
                </a:lnTo>
                <a:lnTo>
                  <a:pt x="135" y="250"/>
                </a:lnTo>
                <a:lnTo>
                  <a:pt x="135" y="257"/>
                </a:lnTo>
                <a:lnTo>
                  <a:pt x="138" y="257"/>
                </a:lnTo>
                <a:lnTo>
                  <a:pt x="138" y="263"/>
                </a:lnTo>
                <a:lnTo>
                  <a:pt x="135" y="263"/>
                </a:lnTo>
                <a:lnTo>
                  <a:pt x="135" y="266"/>
                </a:lnTo>
                <a:lnTo>
                  <a:pt x="135" y="275"/>
                </a:lnTo>
                <a:lnTo>
                  <a:pt x="135" y="279"/>
                </a:lnTo>
                <a:lnTo>
                  <a:pt x="132" y="282"/>
                </a:lnTo>
                <a:lnTo>
                  <a:pt x="135" y="288"/>
                </a:lnTo>
                <a:lnTo>
                  <a:pt x="135" y="294"/>
                </a:lnTo>
                <a:lnTo>
                  <a:pt x="138" y="301"/>
                </a:lnTo>
                <a:lnTo>
                  <a:pt x="144" y="304"/>
                </a:lnTo>
                <a:lnTo>
                  <a:pt x="150" y="310"/>
                </a:lnTo>
                <a:lnTo>
                  <a:pt x="153" y="316"/>
                </a:lnTo>
                <a:lnTo>
                  <a:pt x="150" y="319"/>
                </a:lnTo>
                <a:lnTo>
                  <a:pt x="153" y="326"/>
                </a:lnTo>
                <a:lnTo>
                  <a:pt x="153" y="329"/>
                </a:lnTo>
                <a:lnTo>
                  <a:pt x="153" y="332"/>
                </a:lnTo>
                <a:lnTo>
                  <a:pt x="157" y="338"/>
                </a:lnTo>
                <a:lnTo>
                  <a:pt x="157" y="341"/>
                </a:lnTo>
                <a:lnTo>
                  <a:pt x="157" y="347"/>
                </a:lnTo>
                <a:lnTo>
                  <a:pt x="160" y="351"/>
                </a:lnTo>
                <a:lnTo>
                  <a:pt x="160" y="357"/>
                </a:lnTo>
                <a:lnTo>
                  <a:pt x="157" y="360"/>
                </a:lnTo>
                <a:lnTo>
                  <a:pt x="153" y="369"/>
                </a:lnTo>
                <a:lnTo>
                  <a:pt x="147" y="372"/>
                </a:lnTo>
                <a:lnTo>
                  <a:pt x="147" y="379"/>
                </a:lnTo>
                <a:lnTo>
                  <a:pt x="144" y="382"/>
                </a:lnTo>
                <a:lnTo>
                  <a:pt x="144" y="385"/>
                </a:lnTo>
                <a:lnTo>
                  <a:pt x="144" y="385"/>
                </a:lnTo>
                <a:lnTo>
                  <a:pt x="144" y="388"/>
                </a:lnTo>
                <a:lnTo>
                  <a:pt x="141" y="394"/>
                </a:lnTo>
                <a:lnTo>
                  <a:pt x="141" y="388"/>
                </a:lnTo>
                <a:lnTo>
                  <a:pt x="141" y="382"/>
                </a:lnTo>
                <a:lnTo>
                  <a:pt x="138" y="379"/>
                </a:lnTo>
                <a:lnTo>
                  <a:pt x="138" y="379"/>
                </a:lnTo>
                <a:lnTo>
                  <a:pt x="141" y="379"/>
                </a:lnTo>
                <a:lnTo>
                  <a:pt x="141" y="379"/>
                </a:lnTo>
                <a:lnTo>
                  <a:pt x="144" y="372"/>
                </a:lnTo>
                <a:lnTo>
                  <a:pt x="144" y="369"/>
                </a:lnTo>
                <a:lnTo>
                  <a:pt x="144" y="369"/>
                </a:lnTo>
                <a:lnTo>
                  <a:pt x="144" y="363"/>
                </a:lnTo>
                <a:lnTo>
                  <a:pt x="144" y="363"/>
                </a:lnTo>
                <a:lnTo>
                  <a:pt x="144" y="360"/>
                </a:lnTo>
                <a:lnTo>
                  <a:pt x="144" y="357"/>
                </a:lnTo>
                <a:lnTo>
                  <a:pt x="147" y="354"/>
                </a:lnTo>
                <a:lnTo>
                  <a:pt x="144" y="351"/>
                </a:lnTo>
                <a:lnTo>
                  <a:pt x="141" y="347"/>
                </a:lnTo>
                <a:lnTo>
                  <a:pt x="141" y="341"/>
                </a:lnTo>
                <a:lnTo>
                  <a:pt x="144" y="341"/>
                </a:lnTo>
                <a:lnTo>
                  <a:pt x="141" y="338"/>
                </a:lnTo>
                <a:lnTo>
                  <a:pt x="141" y="335"/>
                </a:lnTo>
                <a:lnTo>
                  <a:pt x="138" y="322"/>
                </a:lnTo>
                <a:lnTo>
                  <a:pt x="135" y="322"/>
                </a:lnTo>
                <a:lnTo>
                  <a:pt x="135" y="316"/>
                </a:lnTo>
                <a:lnTo>
                  <a:pt x="132" y="313"/>
                </a:lnTo>
                <a:lnTo>
                  <a:pt x="132" y="319"/>
                </a:lnTo>
                <a:lnTo>
                  <a:pt x="132" y="319"/>
                </a:lnTo>
                <a:lnTo>
                  <a:pt x="132" y="316"/>
                </a:lnTo>
                <a:lnTo>
                  <a:pt x="128" y="313"/>
                </a:lnTo>
                <a:lnTo>
                  <a:pt x="128" y="304"/>
                </a:lnTo>
                <a:lnTo>
                  <a:pt x="125" y="301"/>
                </a:lnTo>
                <a:lnTo>
                  <a:pt x="125" y="297"/>
                </a:lnTo>
                <a:lnTo>
                  <a:pt x="128" y="294"/>
                </a:lnTo>
                <a:lnTo>
                  <a:pt x="122" y="291"/>
                </a:lnTo>
                <a:lnTo>
                  <a:pt x="122" y="285"/>
                </a:lnTo>
                <a:lnTo>
                  <a:pt x="122" y="285"/>
                </a:lnTo>
                <a:lnTo>
                  <a:pt x="119" y="269"/>
                </a:lnTo>
                <a:lnTo>
                  <a:pt x="116" y="269"/>
                </a:lnTo>
                <a:lnTo>
                  <a:pt x="116" y="266"/>
                </a:lnTo>
                <a:lnTo>
                  <a:pt x="116" y="266"/>
                </a:lnTo>
                <a:lnTo>
                  <a:pt x="116" y="263"/>
                </a:lnTo>
                <a:lnTo>
                  <a:pt x="116" y="257"/>
                </a:lnTo>
                <a:lnTo>
                  <a:pt x="116" y="257"/>
                </a:lnTo>
                <a:lnTo>
                  <a:pt x="116" y="254"/>
                </a:lnTo>
                <a:lnTo>
                  <a:pt x="116" y="257"/>
                </a:lnTo>
                <a:lnTo>
                  <a:pt x="113" y="257"/>
                </a:lnTo>
                <a:lnTo>
                  <a:pt x="110" y="257"/>
                </a:lnTo>
                <a:lnTo>
                  <a:pt x="106" y="254"/>
                </a:lnTo>
                <a:lnTo>
                  <a:pt x="106" y="250"/>
                </a:lnTo>
                <a:lnTo>
                  <a:pt x="103" y="241"/>
                </a:lnTo>
                <a:lnTo>
                  <a:pt x="100" y="241"/>
                </a:lnTo>
                <a:lnTo>
                  <a:pt x="100" y="241"/>
                </a:lnTo>
                <a:lnTo>
                  <a:pt x="100" y="238"/>
                </a:lnTo>
                <a:lnTo>
                  <a:pt x="97" y="235"/>
                </a:lnTo>
                <a:lnTo>
                  <a:pt x="97" y="238"/>
                </a:lnTo>
                <a:lnTo>
                  <a:pt x="97" y="241"/>
                </a:lnTo>
                <a:lnTo>
                  <a:pt x="97" y="241"/>
                </a:lnTo>
                <a:lnTo>
                  <a:pt x="100" y="244"/>
                </a:lnTo>
                <a:lnTo>
                  <a:pt x="100" y="247"/>
                </a:lnTo>
                <a:lnTo>
                  <a:pt x="97" y="250"/>
                </a:lnTo>
                <a:lnTo>
                  <a:pt x="97" y="254"/>
                </a:lnTo>
                <a:lnTo>
                  <a:pt x="94" y="257"/>
                </a:lnTo>
                <a:lnTo>
                  <a:pt x="91" y="257"/>
                </a:lnTo>
                <a:lnTo>
                  <a:pt x="88" y="254"/>
                </a:lnTo>
                <a:lnTo>
                  <a:pt x="85" y="254"/>
                </a:lnTo>
                <a:lnTo>
                  <a:pt x="88" y="257"/>
                </a:lnTo>
                <a:lnTo>
                  <a:pt x="88" y="257"/>
                </a:lnTo>
                <a:lnTo>
                  <a:pt x="91" y="257"/>
                </a:lnTo>
                <a:lnTo>
                  <a:pt x="85" y="260"/>
                </a:lnTo>
                <a:lnTo>
                  <a:pt x="85" y="260"/>
                </a:lnTo>
                <a:lnTo>
                  <a:pt x="81" y="260"/>
                </a:lnTo>
                <a:lnTo>
                  <a:pt x="81" y="263"/>
                </a:lnTo>
                <a:lnTo>
                  <a:pt x="72" y="269"/>
                </a:lnTo>
                <a:lnTo>
                  <a:pt x="69" y="269"/>
                </a:lnTo>
                <a:lnTo>
                  <a:pt x="69" y="269"/>
                </a:lnTo>
                <a:lnTo>
                  <a:pt x="66" y="269"/>
                </a:lnTo>
                <a:lnTo>
                  <a:pt x="66" y="266"/>
                </a:lnTo>
                <a:lnTo>
                  <a:pt x="66" y="269"/>
                </a:lnTo>
                <a:lnTo>
                  <a:pt x="63" y="269"/>
                </a:lnTo>
                <a:lnTo>
                  <a:pt x="60" y="266"/>
                </a:lnTo>
                <a:lnTo>
                  <a:pt x="56" y="269"/>
                </a:lnTo>
                <a:lnTo>
                  <a:pt x="56" y="272"/>
                </a:lnTo>
                <a:lnTo>
                  <a:pt x="53" y="272"/>
                </a:lnTo>
                <a:lnTo>
                  <a:pt x="53" y="266"/>
                </a:lnTo>
                <a:lnTo>
                  <a:pt x="60" y="263"/>
                </a:lnTo>
                <a:lnTo>
                  <a:pt x="60" y="257"/>
                </a:lnTo>
                <a:lnTo>
                  <a:pt x="56" y="263"/>
                </a:lnTo>
                <a:lnTo>
                  <a:pt x="53" y="266"/>
                </a:lnTo>
                <a:lnTo>
                  <a:pt x="50" y="269"/>
                </a:lnTo>
                <a:lnTo>
                  <a:pt x="47" y="269"/>
                </a:lnTo>
                <a:lnTo>
                  <a:pt x="50" y="266"/>
                </a:lnTo>
                <a:lnTo>
                  <a:pt x="47" y="263"/>
                </a:lnTo>
                <a:lnTo>
                  <a:pt x="50" y="244"/>
                </a:lnTo>
                <a:lnTo>
                  <a:pt x="56" y="241"/>
                </a:lnTo>
                <a:lnTo>
                  <a:pt x="53" y="238"/>
                </a:lnTo>
                <a:lnTo>
                  <a:pt x="50" y="232"/>
                </a:lnTo>
                <a:lnTo>
                  <a:pt x="50" y="222"/>
                </a:lnTo>
                <a:lnTo>
                  <a:pt x="47" y="222"/>
                </a:lnTo>
                <a:lnTo>
                  <a:pt x="47" y="219"/>
                </a:lnTo>
                <a:lnTo>
                  <a:pt x="47" y="219"/>
                </a:lnTo>
                <a:lnTo>
                  <a:pt x="44" y="216"/>
                </a:lnTo>
                <a:lnTo>
                  <a:pt x="44" y="210"/>
                </a:lnTo>
                <a:lnTo>
                  <a:pt x="41" y="207"/>
                </a:lnTo>
                <a:lnTo>
                  <a:pt x="41" y="204"/>
                </a:lnTo>
                <a:lnTo>
                  <a:pt x="41" y="200"/>
                </a:lnTo>
                <a:lnTo>
                  <a:pt x="35" y="197"/>
                </a:lnTo>
                <a:lnTo>
                  <a:pt x="38" y="200"/>
                </a:lnTo>
                <a:lnTo>
                  <a:pt x="38" y="210"/>
                </a:lnTo>
                <a:lnTo>
                  <a:pt x="31" y="207"/>
                </a:lnTo>
                <a:lnTo>
                  <a:pt x="28" y="204"/>
                </a:lnTo>
                <a:lnTo>
                  <a:pt x="25" y="200"/>
                </a:lnTo>
                <a:lnTo>
                  <a:pt x="22" y="197"/>
                </a:lnTo>
                <a:lnTo>
                  <a:pt x="22" y="194"/>
                </a:lnTo>
                <a:lnTo>
                  <a:pt x="25" y="194"/>
                </a:lnTo>
                <a:lnTo>
                  <a:pt x="28" y="197"/>
                </a:lnTo>
                <a:lnTo>
                  <a:pt x="31" y="200"/>
                </a:lnTo>
                <a:lnTo>
                  <a:pt x="31" y="197"/>
                </a:lnTo>
                <a:lnTo>
                  <a:pt x="31" y="197"/>
                </a:lnTo>
                <a:lnTo>
                  <a:pt x="28" y="194"/>
                </a:lnTo>
                <a:lnTo>
                  <a:pt x="31" y="194"/>
                </a:lnTo>
                <a:lnTo>
                  <a:pt x="31" y="194"/>
                </a:lnTo>
                <a:lnTo>
                  <a:pt x="35" y="194"/>
                </a:lnTo>
                <a:lnTo>
                  <a:pt x="35" y="191"/>
                </a:lnTo>
                <a:lnTo>
                  <a:pt x="31" y="185"/>
                </a:lnTo>
                <a:lnTo>
                  <a:pt x="25" y="185"/>
                </a:lnTo>
                <a:lnTo>
                  <a:pt x="22" y="182"/>
                </a:lnTo>
                <a:lnTo>
                  <a:pt x="19" y="182"/>
                </a:lnTo>
                <a:lnTo>
                  <a:pt x="19" y="179"/>
                </a:lnTo>
                <a:lnTo>
                  <a:pt x="19" y="182"/>
                </a:lnTo>
                <a:lnTo>
                  <a:pt x="16" y="182"/>
                </a:lnTo>
                <a:lnTo>
                  <a:pt x="16" y="179"/>
                </a:lnTo>
                <a:lnTo>
                  <a:pt x="19" y="175"/>
                </a:lnTo>
                <a:lnTo>
                  <a:pt x="13" y="175"/>
                </a:lnTo>
                <a:lnTo>
                  <a:pt x="10" y="175"/>
                </a:lnTo>
                <a:lnTo>
                  <a:pt x="10" y="175"/>
                </a:lnTo>
                <a:lnTo>
                  <a:pt x="13" y="179"/>
                </a:lnTo>
                <a:lnTo>
                  <a:pt x="3" y="172"/>
                </a:lnTo>
                <a:lnTo>
                  <a:pt x="3" y="166"/>
                </a:lnTo>
                <a:lnTo>
                  <a:pt x="0" y="163"/>
                </a:lnTo>
                <a:lnTo>
                  <a:pt x="0" y="163"/>
                </a:lnTo>
                <a:lnTo>
                  <a:pt x="0" y="160"/>
                </a:lnTo>
                <a:lnTo>
                  <a:pt x="0" y="157"/>
                </a:lnTo>
                <a:lnTo>
                  <a:pt x="3" y="153"/>
                </a:lnTo>
                <a:lnTo>
                  <a:pt x="6" y="153"/>
                </a:lnTo>
                <a:lnTo>
                  <a:pt x="10" y="150"/>
                </a:lnTo>
                <a:lnTo>
                  <a:pt x="10" y="141"/>
                </a:lnTo>
                <a:lnTo>
                  <a:pt x="10" y="138"/>
                </a:lnTo>
                <a:lnTo>
                  <a:pt x="13" y="138"/>
                </a:lnTo>
                <a:lnTo>
                  <a:pt x="13" y="138"/>
                </a:lnTo>
                <a:lnTo>
                  <a:pt x="16" y="132"/>
                </a:lnTo>
                <a:lnTo>
                  <a:pt x="16" y="128"/>
                </a:lnTo>
                <a:lnTo>
                  <a:pt x="16" y="122"/>
                </a:lnTo>
                <a:lnTo>
                  <a:pt x="16" y="119"/>
                </a:lnTo>
                <a:lnTo>
                  <a:pt x="19" y="119"/>
                </a:lnTo>
                <a:lnTo>
                  <a:pt x="19" y="110"/>
                </a:lnTo>
                <a:lnTo>
                  <a:pt x="19" y="107"/>
                </a:lnTo>
                <a:lnTo>
                  <a:pt x="16" y="97"/>
                </a:lnTo>
                <a:lnTo>
                  <a:pt x="22" y="97"/>
                </a:lnTo>
                <a:lnTo>
                  <a:pt x="25" y="97"/>
                </a:lnTo>
                <a:lnTo>
                  <a:pt x="28" y="97"/>
                </a:lnTo>
                <a:lnTo>
                  <a:pt x="31" y="91"/>
                </a:lnTo>
                <a:lnTo>
                  <a:pt x="35" y="82"/>
                </a:lnTo>
                <a:lnTo>
                  <a:pt x="38" y="72"/>
                </a:lnTo>
                <a:lnTo>
                  <a:pt x="35" y="69"/>
                </a:lnTo>
                <a:lnTo>
                  <a:pt x="35" y="66"/>
                </a:lnTo>
                <a:lnTo>
                  <a:pt x="41" y="57"/>
                </a:lnTo>
                <a:lnTo>
                  <a:pt x="41" y="50"/>
                </a:lnTo>
                <a:lnTo>
                  <a:pt x="41" y="47"/>
                </a:lnTo>
                <a:lnTo>
                  <a:pt x="41" y="44"/>
                </a:lnTo>
                <a:lnTo>
                  <a:pt x="47" y="31"/>
                </a:lnTo>
                <a:lnTo>
                  <a:pt x="53" y="31"/>
                </a:lnTo>
                <a:lnTo>
                  <a:pt x="56" y="25"/>
                </a:lnTo>
                <a:lnTo>
                  <a:pt x="60" y="19"/>
                </a:lnTo>
                <a:lnTo>
                  <a:pt x="66" y="19"/>
                </a:lnTo>
                <a:lnTo>
                  <a:pt x="69" y="16"/>
                </a:lnTo>
                <a:lnTo>
                  <a:pt x="75" y="16"/>
                </a:lnTo>
                <a:lnTo>
                  <a:pt x="78" y="19"/>
                </a:lnTo>
                <a:lnTo>
                  <a:pt x="75" y="16"/>
                </a:lnTo>
                <a:lnTo>
                  <a:pt x="75" y="10"/>
                </a:lnTo>
                <a:lnTo>
                  <a:pt x="81" y="6"/>
                </a:lnTo>
                <a:lnTo>
                  <a:pt x="78" y="3"/>
                </a:lnTo>
                <a:lnTo>
                  <a:pt x="78" y="3"/>
                </a:lnTo>
                <a:lnTo>
                  <a:pt x="78" y="3"/>
                </a:lnTo>
                <a:close/>
                <a:moveTo>
                  <a:pt x="25" y="210"/>
                </a:moveTo>
                <a:lnTo>
                  <a:pt x="28" y="213"/>
                </a:lnTo>
                <a:lnTo>
                  <a:pt x="31" y="216"/>
                </a:lnTo>
                <a:lnTo>
                  <a:pt x="31" y="213"/>
                </a:lnTo>
                <a:lnTo>
                  <a:pt x="28" y="210"/>
                </a:lnTo>
                <a:lnTo>
                  <a:pt x="25" y="21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6" name="Freeform 34">
            <a:extLst>
              <a:ext uri="{FF2B5EF4-FFF2-40B4-BE49-F238E27FC236}">
                <a16:creationId xmlns:a16="http://schemas.microsoft.com/office/drawing/2014/main" id="{05631AEE-C463-EC61-914A-B345926258E6}"/>
              </a:ext>
            </a:extLst>
          </p:cNvPr>
          <p:cNvSpPr>
            <a:spLocks noEditPoints="1"/>
          </p:cNvSpPr>
          <p:nvPr userDrawn="1"/>
        </p:nvSpPr>
        <p:spPr bwMode="auto">
          <a:xfrm>
            <a:off x="18150290" y="8759107"/>
            <a:ext cx="139693" cy="250826"/>
          </a:xfrm>
          <a:custGeom>
            <a:avLst/>
            <a:gdLst>
              <a:gd name="T0" fmla="*/ 0 w 44"/>
              <a:gd name="T1" fmla="*/ 35 h 79"/>
              <a:gd name="T2" fmla="*/ 3 w 44"/>
              <a:gd name="T3" fmla="*/ 29 h 79"/>
              <a:gd name="T4" fmla="*/ 0 w 44"/>
              <a:gd name="T5" fmla="*/ 32 h 79"/>
              <a:gd name="T6" fmla="*/ 0 w 44"/>
              <a:gd name="T7" fmla="*/ 38 h 79"/>
              <a:gd name="T8" fmla="*/ 6 w 44"/>
              <a:gd name="T9" fmla="*/ 7 h 79"/>
              <a:gd name="T10" fmla="*/ 3 w 44"/>
              <a:gd name="T11" fmla="*/ 0 h 79"/>
              <a:gd name="T12" fmla="*/ 9 w 44"/>
              <a:gd name="T13" fmla="*/ 0 h 79"/>
              <a:gd name="T14" fmla="*/ 6 w 44"/>
              <a:gd name="T15" fmla="*/ 4 h 79"/>
              <a:gd name="T16" fmla="*/ 6 w 44"/>
              <a:gd name="T17" fmla="*/ 7 h 79"/>
              <a:gd name="T18" fmla="*/ 16 w 44"/>
              <a:gd name="T19" fmla="*/ 0 h 79"/>
              <a:gd name="T20" fmla="*/ 19 w 44"/>
              <a:gd name="T21" fmla="*/ 7 h 79"/>
              <a:gd name="T22" fmla="*/ 19 w 44"/>
              <a:gd name="T23" fmla="*/ 7 h 79"/>
              <a:gd name="T24" fmla="*/ 16 w 44"/>
              <a:gd name="T25" fmla="*/ 7 h 79"/>
              <a:gd name="T26" fmla="*/ 9 w 44"/>
              <a:gd name="T27" fmla="*/ 4 h 79"/>
              <a:gd name="T28" fmla="*/ 13 w 44"/>
              <a:gd name="T29" fmla="*/ 4 h 79"/>
              <a:gd name="T30" fmla="*/ 13 w 44"/>
              <a:gd name="T31" fmla="*/ 0 h 79"/>
              <a:gd name="T32" fmla="*/ 9 w 44"/>
              <a:gd name="T33" fmla="*/ 7 h 79"/>
              <a:gd name="T34" fmla="*/ 9 w 44"/>
              <a:gd name="T35" fmla="*/ 10 h 79"/>
              <a:gd name="T36" fmla="*/ 9 w 44"/>
              <a:gd name="T37" fmla="*/ 13 h 79"/>
              <a:gd name="T38" fmla="*/ 6 w 44"/>
              <a:gd name="T39" fmla="*/ 19 h 79"/>
              <a:gd name="T40" fmla="*/ 3 w 44"/>
              <a:gd name="T41" fmla="*/ 16 h 79"/>
              <a:gd name="T42" fmla="*/ 0 w 44"/>
              <a:gd name="T43" fmla="*/ 16 h 79"/>
              <a:gd name="T44" fmla="*/ 3 w 44"/>
              <a:gd name="T45" fmla="*/ 19 h 79"/>
              <a:gd name="T46" fmla="*/ 3 w 44"/>
              <a:gd name="T47" fmla="*/ 22 h 79"/>
              <a:gd name="T48" fmla="*/ 3 w 44"/>
              <a:gd name="T49" fmla="*/ 32 h 79"/>
              <a:gd name="T50" fmla="*/ 3 w 44"/>
              <a:gd name="T51" fmla="*/ 41 h 79"/>
              <a:gd name="T52" fmla="*/ 3 w 44"/>
              <a:gd name="T53" fmla="*/ 51 h 79"/>
              <a:gd name="T54" fmla="*/ 6 w 44"/>
              <a:gd name="T55" fmla="*/ 63 h 79"/>
              <a:gd name="T56" fmla="*/ 13 w 44"/>
              <a:gd name="T57" fmla="*/ 79 h 79"/>
              <a:gd name="T58" fmla="*/ 19 w 44"/>
              <a:gd name="T59" fmla="*/ 79 h 79"/>
              <a:gd name="T60" fmla="*/ 31 w 44"/>
              <a:gd name="T61" fmla="*/ 76 h 79"/>
              <a:gd name="T62" fmla="*/ 41 w 44"/>
              <a:gd name="T63" fmla="*/ 63 h 79"/>
              <a:gd name="T64" fmla="*/ 44 w 44"/>
              <a:gd name="T65" fmla="*/ 57 h 79"/>
              <a:gd name="T66" fmla="*/ 44 w 44"/>
              <a:gd name="T67" fmla="*/ 51 h 79"/>
              <a:gd name="T68" fmla="*/ 44 w 44"/>
              <a:gd name="T69" fmla="*/ 44 h 79"/>
              <a:gd name="T70" fmla="*/ 38 w 44"/>
              <a:gd name="T71" fmla="*/ 35 h 79"/>
              <a:gd name="T72" fmla="*/ 31 w 44"/>
              <a:gd name="T73" fmla="*/ 29 h 79"/>
              <a:gd name="T74" fmla="*/ 28 w 44"/>
              <a:gd name="T75" fmla="*/ 29 h 79"/>
              <a:gd name="T76" fmla="*/ 31 w 44"/>
              <a:gd name="T77" fmla="*/ 22 h 79"/>
              <a:gd name="T78" fmla="*/ 25 w 44"/>
              <a:gd name="T79" fmla="*/ 19 h 79"/>
              <a:gd name="T80" fmla="*/ 22 w 44"/>
              <a:gd name="T81" fmla="*/ 16 h 79"/>
              <a:gd name="T82" fmla="*/ 22 w 44"/>
              <a:gd name="T83" fmla="*/ 10 h 79"/>
              <a:gd name="T84" fmla="*/ 16 w 44"/>
              <a:gd name="T85" fmla="*/ 10 h 79"/>
              <a:gd name="T86" fmla="*/ 13 w 44"/>
              <a:gd name="T87" fmla="*/ 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 h="79">
                <a:moveTo>
                  <a:pt x="0" y="38"/>
                </a:moveTo>
                <a:lnTo>
                  <a:pt x="0" y="35"/>
                </a:lnTo>
                <a:lnTo>
                  <a:pt x="0" y="32"/>
                </a:lnTo>
                <a:lnTo>
                  <a:pt x="3" y="29"/>
                </a:lnTo>
                <a:lnTo>
                  <a:pt x="3" y="32"/>
                </a:lnTo>
                <a:lnTo>
                  <a:pt x="0" y="32"/>
                </a:lnTo>
                <a:lnTo>
                  <a:pt x="3" y="35"/>
                </a:lnTo>
                <a:lnTo>
                  <a:pt x="0" y="38"/>
                </a:lnTo>
                <a:lnTo>
                  <a:pt x="0" y="38"/>
                </a:lnTo>
                <a:close/>
                <a:moveTo>
                  <a:pt x="6" y="7"/>
                </a:moveTo>
                <a:lnTo>
                  <a:pt x="3" y="4"/>
                </a:lnTo>
                <a:lnTo>
                  <a:pt x="3" y="0"/>
                </a:lnTo>
                <a:lnTo>
                  <a:pt x="9" y="0"/>
                </a:lnTo>
                <a:lnTo>
                  <a:pt x="9" y="0"/>
                </a:lnTo>
                <a:lnTo>
                  <a:pt x="9" y="4"/>
                </a:lnTo>
                <a:lnTo>
                  <a:pt x="6" y="4"/>
                </a:lnTo>
                <a:lnTo>
                  <a:pt x="6" y="7"/>
                </a:lnTo>
                <a:lnTo>
                  <a:pt x="6" y="7"/>
                </a:lnTo>
                <a:close/>
                <a:moveTo>
                  <a:pt x="13" y="0"/>
                </a:moveTo>
                <a:lnTo>
                  <a:pt x="16" y="0"/>
                </a:lnTo>
                <a:lnTo>
                  <a:pt x="16" y="4"/>
                </a:lnTo>
                <a:lnTo>
                  <a:pt x="19" y="7"/>
                </a:lnTo>
                <a:lnTo>
                  <a:pt x="22" y="10"/>
                </a:lnTo>
                <a:lnTo>
                  <a:pt x="19" y="7"/>
                </a:lnTo>
                <a:lnTo>
                  <a:pt x="16" y="7"/>
                </a:lnTo>
                <a:lnTo>
                  <a:pt x="16" y="7"/>
                </a:lnTo>
                <a:lnTo>
                  <a:pt x="9" y="4"/>
                </a:lnTo>
                <a:lnTo>
                  <a:pt x="9" y="4"/>
                </a:lnTo>
                <a:lnTo>
                  <a:pt x="13" y="4"/>
                </a:lnTo>
                <a:lnTo>
                  <a:pt x="13" y="4"/>
                </a:lnTo>
                <a:lnTo>
                  <a:pt x="13" y="0"/>
                </a:lnTo>
                <a:lnTo>
                  <a:pt x="13" y="0"/>
                </a:lnTo>
                <a:close/>
                <a:moveTo>
                  <a:pt x="9" y="7"/>
                </a:moveTo>
                <a:lnTo>
                  <a:pt x="9" y="7"/>
                </a:lnTo>
                <a:lnTo>
                  <a:pt x="9" y="10"/>
                </a:lnTo>
                <a:lnTo>
                  <a:pt x="9" y="10"/>
                </a:lnTo>
                <a:lnTo>
                  <a:pt x="9" y="10"/>
                </a:lnTo>
                <a:lnTo>
                  <a:pt x="9" y="13"/>
                </a:lnTo>
                <a:lnTo>
                  <a:pt x="9" y="13"/>
                </a:lnTo>
                <a:lnTo>
                  <a:pt x="6" y="19"/>
                </a:lnTo>
                <a:lnTo>
                  <a:pt x="6" y="16"/>
                </a:lnTo>
                <a:lnTo>
                  <a:pt x="3" y="16"/>
                </a:lnTo>
                <a:lnTo>
                  <a:pt x="0" y="16"/>
                </a:lnTo>
                <a:lnTo>
                  <a:pt x="0" y="16"/>
                </a:lnTo>
                <a:lnTo>
                  <a:pt x="3" y="16"/>
                </a:lnTo>
                <a:lnTo>
                  <a:pt x="3" y="19"/>
                </a:lnTo>
                <a:lnTo>
                  <a:pt x="3" y="19"/>
                </a:lnTo>
                <a:lnTo>
                  <a:pt x="3" y="22"/>
                </a:lnTo>
                <a:lnTo>
                  <a:pt x="3" y="29"/>
                </a:lnTo>
                <a:lnTo>
                  <a:pt x="3" y="32"/>
                </a:lnTo>
                <a:lnTo>
                  <a:pt x="3" y="41"/>
                </a:lnTo>
                <a:lnTo>
                  <a:pt x="3" y="41"/>
                </a:lnTo>
                <a:lnTo>
                  <a:pt x="0" y="44"/>
                </a:lnTo>
                <a:lnTo>
                  <a:pt x="3" y="51"/>
                </a:lnTo>
                <a:lnTo>
                  <a:pt x="3" y="54"/>
                </a:lnTo>
                <a:lnTo>
                  <a:pt x="6" y="63"/>
                </a:lnTo>
                <a:lnTo>
                  <a:pt x="9" y="72"/>
                </a:lnTo>
                <a:lnTo>
                  <a:pt x="13" y="79"/>
                </a:lnTo>
                <a:lnTo>
                  <a:pt x="16" y="79"/>
                </a:lnTo>
                <a:lnTo>
                  <a:pt x="19" y="79"/>
                </a:lnTo>
                <a:lnTo>
                  <a:pt x="25" y="79"/>
                </a:lnTo>
                <a:lnTo>
                  <a:pt x="31" y="76"/>
                </a:lnTo>
                <a:lnTo>
                  <a:pt x="38" y="69"/>
                </a:lnTo>
                <a:lnTo>
                  <a:pt x="41" y="63"/>
                </a:lnTo>
                <a:lnTo>
                  <a:pt x="44" y="60"/>
                </a:lnTo>
                <a:lnTo>
                  <a:pt x="44" y="57"/>
                </a:lnTo>
                <a:lnTo>
                  <a:pt x="44" y="57"/>
                </a:lnTo>
                <a:lnTo>
                  <a:pt x="44" y="51"/>
                </a:lnTo>
                <a:lnTo>
                  <a:pt x="41" y="47"/>
                </a:lnTo>
                <a:lnTo>
                  <a:pt x="44" y="44"/>
                </a:lnTo>
                <a:lnTo>
                  <a:pt x="41" y="44"/>
                </a:lnTo>
                <a:lnTo>
                  <a:pt x="38" y="35"/>
                </a:lnTo>
                <a:lnTo>
                  <a:pt x="34" y="29"/>
                </a:lnTo>
                <a:lnTo>
                  <a:pt x="31" y="29"/>
                </a:lnTo>
                <a:lnTo>
                  <a:pt x="31" y="29"/>
                </a:lnTo>
                <a:lnTo>
                  <a:pt x="28" y="29"/>
                </a:lnTo>
                <a:lnTo>
                  <a:pt x="31" y="26"/>
                </a:lnTo>
                <a:lnTo>
                  <a:pt x="31" y="22"/>
                </a:lnTo>
                <a:lnTo>
                  <a:pt x="28" y="22"/>
                </a:lnTo>
                <a:lnTo>
                  <a:pt x="25" y="19"/>
                </a:lnTo>
                <a:lnTo>
                  <a:pt x="25" y="19"/>
                </a:lnTo>
                <a:lnTo>
                  <a:pt x="22" y="16"/>
                </a:lnTo>
                <a:lnTo>
                  <a:pt x="22" y="13"/>
                </a:lnTo>
                <a:lnTo>
                  <a:pt x="22" y="10"/>
                </a:lnTo>
                <a:lnTo>
                  <a:pt x="16" y="10"/>
                </a:lnTo>
                <a:lnTo>
                  <a:pt x="16" y="10"/>
                </a:lnTo>
                <a:lnTo>
                  <a:pt x="13" y="10"/>
                </a:lnTo>
                <a:lnTo>
                  <a:pt x="13" y="7"/>
                </a:lnTo>
                <a:lnTo>
                  <a:pt x="9" y="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7" name="Freeform 35">
            <a:extLst>
              <a:ext uri="{FF2B5EF4-FFF2-40B4-BE49-F238E27FC236}">
                <a16:creationId xmlns:a16="http://schemas.microsoft.com/office/drawing/2014/main" id="{0EBC6A7B-56C6-A77E-D094-FBBC13C53B83}"/>
              </a:ext>
            </a:extLst>
          </p:cNvPr>
          <p:cNvSpPr>
            <a:spLocks noEditPoints="1"/>
          </p:cNvSpPr>
          <p:nvPr userDrawn="1"/>
        </p:nvSpPr>
        <p:spPr bwMode="auto">
          <a:xfrm>
            <a:off x="17375639" y="7162083"/>
            <a:ext cx="1755662" cy="1708150"/>
          </a:xfrm>
          <a:custGeom>
            <a:avLst/>
            <a:gdLst>
              <a:gd name="T0" fmla="*/ 188 w 553"/>
              <a:gd name="T1" fmla="*/ 47 h 538"/>
              <a:gd name="T2" fmla="*/ 219 w 553"/>
              <a:gd name="T3" fmla="*/ 62 h 538"/>
              <a:gd name="T4" fmla="*/ 225 w 553"/>
              <a:gd name="T5" fmla="*/ 103 h 538"/>
              <a:gd name="T6" fmla="*/ 288 w 553"/>
              <a:gd name="T7" fmla="*/ 128 h 538"/>
              <a:gd name="T8" fmla="*/ 360 w 553"/>
              <a:gd name="T9" fmla="*/ 147 h 538"/>
              <a:gd name="T10" fmla="*/ 388 w 553"/>
              <a:gd name="T11" fmla="*/ 119 h 538"/>
              <a:gd name="T12" fmla="*/ 419 w 553"/>
              <a:gd name="T13" fmla="*/ 144 h 538"/>
              <a:gd name="T14" fmla="*/ 444 w 553"/>
              <a:gd name="T15" fmla="*/ 122 h 538"/>
              <a:gd name="T16" fmla="*/ 472 w 553"/>
              <a:gd name="T17" fmla="*/ 100 h 538"/>
              <a:gd name="T18" fmla="*/ 513 w 553"/>
              <a:gd name="T19" fmla="*/ 87 h 538"/>
              <a:gd name="T20" fmla="*/ 535 w 553"/>
              <a:gd name="T21" fmla="*/ 87 h 538"/>
              <a:gd name="T22" fmla="*/ 550 w 553"/>
              <a:gd name="T23" fmla="*/ 109 h 538"/>
              <a:gd name="T24" fmla="*/ 525 w 553"/>
              <a:gd name="T25" fmla="*/ 137 h 538"/>
              <a:gd name="T26" fmla="*/ 503 w 553"/>
              <a:gd name="T27" fmla="*/ 197 h 538"/>
              <a:gd name="T28" fmla="*/ 488 w 553"/>
              <a:gd name="T29" fmla="*/ 234 h 538"/>
              <a:gd name="T30" fmla="*/ 478 w 553"/>
              <a:gd name="T31" fmla="*/ 244 h 538"/>
              <a:gd name="T32" fmla="*/ 463 w 553"/>
              <a:gd name="T33" fmla="*/ 209 h 538"/>
              <a:gd name="T34" fmla="*/ 450 w 553"/>
              <a:gd name="T35" fmla="*/ 216 h 538"/>
              <a:gd name="T36" fmla="*/ 457 w 553"/>
              <a:gd name="T37" fmla="*/ 200 h 538"/>
              <a:gd name="T38" fmla="*/ 453 w 553"/>
              <a:gd name="T39" fmla="*/ 175 h 538"/>
              <a:gd name="T40" fmla="*/ 413 w 553"/>
              <a:gd name="T41" fmla="*/ 163 h 538"/>
              <a:gd name="T42" fmla="*/ 400 w 553"/>
              <a:gd name="T43" fmla="*/ 153 h 538"/>
              <a:gd name="T44" fmla="*/ 388 w 553"/>
              <a:gd name="T45" fmla="*/ 150 h 538"/>
              <a:gd name="T46" fmla="*/ 394 w 553"/>
              <a:gd name="T47" fmla="*/ 175 h 538"/>
              <a:gd name="T48" fmla="*/ 400 w 553"/>
              <a:gd name="T49" fmla="*/ 219 h 538"/>
              <a:gd name="T50" fmla="*/ 407 w 553"/>
              <a:gd name="T51" fmla="*/ 256 h 538"/>
              <a:gd name="T52" fmla="*/ 391 w 553"/>
              <a:gd name="T53" fmla="*/ 250 h 538"/>
              <a:gd name="T54" fmla="*/ 388 w 553"/>
              <a:gd name="T55" fmla="*/ 250 h 538"/>
              <a:gd name="T56" fmla="*/ 366 w 553"/>
              <a:gd name="T57" fmla="*/ 278 h 538"/>
              <a:gd name="T58" fmla="*/ 341 w 553"/>
              <a:gd name="T59" fmla="*/ 294 h 538"/>
              <a:gd name="T60" fmla="*/ 303 w 553"/>
              <a:gd name="T61" fmla="*/ 341 h 538"/>
              <a:gd name="T62" fmla="*/ 269 w 553"/>
              <a:gd name="T63" fmla="*/ 375 h 538"/>
              <a:gd name="T64" fmla="*/ 247 w 553"/>
              <a:gd name="T65" fmla="*/ 413 h 538"/>
              <a:gd name="T66" fmla="*/ 244 w 553"/>
              <a:gd name="T67" fmla="*/ 494 h 538"/>
              <a:gd name="T68" fmla="*/ 238 w 553"/>
              <a:gd name="T69" fmla="*/ 519 h 538"/>
              <a:gd name="T70" fmla="*/ 213 w 553"/>
              <a:gd name="T71" fmla="*/ 535 h 538"/>
              <a:gd name="T72" fmla="*/ 169 w 553"/>
              <a:gd name="T73" fmla="*/ 485 h 538"/>
              <a:gd name="T74" fmla="*/ 144 w 553"/>
              <a:gd name="T75" fmla="*/ 438 h 538"/>
              <a:gd name="T76" fmla="*/ 122 w 553"/>
              <a:gd name="T77" fmla="*/ 391 h 538"/>
              <a:gd name="T78" fmla="*/ 103 w 553"/>
              <a:gd name="T79" fmla="*/ 331 h 538"/>
              <a:gd name="T80" fmla="*/ 91 w 553"/>
              <a:gd name="T81" fmla="*/ 288 h 538"/>
              <a:gd name="T82" fmla="*/ 88 w 553"/>
              <a:gd name="T83" fmla="*/ 256 h 538"/>
              <a:gd name="T84" fmla="*/ 88 w 553"/>
              <a:gd name="T85" fmla="*/ 241 h 538"/>
              <a:gd name="T86" fmla="*/ 72 w 553"/>
              <a:gd name="T87" fmla="*/ 272 h 538"/>
              <a:gd name="T88" fmla="*/ 13 w 553"/>
              <a:gd name="T89" fmla="*/ 244 h 538"/>
              <a:gd name="T90" fmla="*/ 28 w 553"/>
              <a:gd name="T91" fmla="*/ 244 h 538"/>
              <a:gd name="T92" fmla="*/ 32 w 553"/>
              <a:gd name="T93" fmla="*/ 234 h 538"/>
              <a:gd name="T94" fmla="*/ 0 w 553"/>
              <a:gd name="T95" fmla="*/ 216 h 538"/>
              <a:gd name="T96" fmla="*/ 44 w 553"/>
              <a:gd name="T97" fmla="*/ 197 h 538"/>
              <a:gd name="T98" fmla="*/ 41 w 553"/>
              <a:gd name="T99" fmla="*/ 169 h 538"/>
              <a:gd name="T100" fmla="*/ 13 w 553"/>
              <a:gd name="T101" fmla="*/ 144 h 538"/>
              <a:gd name="T102" fmla="*/ 47 w 553"/>
              <a:gd name="T103" fmla="*/ 122 h 538"/>
              <a:gd name="T104" fmla="*/ 91 w 553"/>
              <a:gd name="T105" fmla="*/ 69 h 538"/>
              <a:gd name="T106" fmla="*/ 110 w 553"/>
              <a:gd name="T107" fmla="*/ 25 h 538"/>
              <a:gd name="T108" fmla="*/ 163 w 553"/>
              <a:gd name="T109" fmla="*/ 6 h 538"/>
              <a:gd name="T110" fmla="*/ 400 w 553"/>
              <a:gd name="T111" fmla="*/ 253 h 538"/>
              <a:gd name="T112" fmla="*/ 394 w 553"/>
              <a:gd name="T113" fmla="*/ 259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3" h="538">
                <a:moveTo>
                  <a:pt x="178" y="15"/>
                </a:moveTo>
                <a:lnTo>
                  <a:pt x="178" y="19"/>
                </a:lnTo>
                <a:lnTo>
                  <a:pt x="178" y="22"/>
                </a:lnTo>
                <a:lnTo>
                  <a:pt x="185" y="25"/>
                </a:lnTo>
                <a:lnTo>
                  <a:pt x="185" y="31"/>
                </a:lnTo>
                <a:lnTo>
                  <a:pt x="185" y="34"/>
                </a:lnTo>
                <a:lnTo>
                  <a:pt x="185" y="37"/>
                </a:lnTo>
                <a:lnTo>
                  <a:pt x="188" y="41"/>
                </a:lnTo>
                <a:lnTo>
                  <a:pt x="188" y="44"/>
                </a:lnTo>
                <a:lnTo>
                  <a:pt x="188" y="47"/>
                </a:lnTo>
                <a:lnTo>
                  <a:pt x="191" y="47"/>
                </a:lnTo>
                <a:lnTo>
                  <a:pt x="191" y="50"/>
                </a:lnTo>
                <a:lnTo>
                  <a:pt x="197" y="53"/>
                </a:lnTo>
                <a:lnTo>
                  <a:pt x="197" y="50"/>
                </a:lnTo>
                <a:lnTo>
                  <a:pt x="203" y="50"/>
                </a:lnTo>
                <a:lnTo>
                  <a:pt x="203" y="50"/>
                </a:lnTo>
                <a:lnTo>
                  <a:pt x="210" y="53"/>
                </a:lnTo>
                <a:lnTo>
                  <a:pt x="213" y="56"/>
                </a:lnTo>
                <a:lnTo>
                  <a:pt x="216" y="56"/>
                </a:lnTo>
                <a:lnTo>
                  <a:pt x="219" y="62"/>
                </a:lnTo>
                <a:lnTo>
                  <a:pt x="222" y="62"/>
                </a:lnTo>
                <a:lnTo>
                  <a:pt x="222" y="66"/>
                </a:lnTo>
                <a:lnTo>
                  <a:pt x="222" y="66"/>
                </a:lnTo>
                <a:lnTo>
                  <a:pt x="225" y="72"/>
                </a:lnTo>
                <a:lnTo>
                  <a:pt x="222" y="81"/>
                </a:lnTo>
                <a:lnTo>
                  <a:pt x="222" y="87"/>
                </a:lnTo>
                <a:lnTo>
                  <a:pt x="216" y="97"/>
                </a:lnTo>
                <a:lnTo>
                  <a:pt x="219" y="100"/>
                </a:lnTo>
                <a:lnTo>
                  <a:pt x="222" y="100"/>
                </a:lnTo>
                <a:lnTo>
                  <a:pt x="225" y="103"/>
                </a:lnTo>
                <a:lnTo>
                  <a:pt x="228" y="103"/>
                </a:lnTo>
                <a:lnTo>
                  <a:pt x="232" y="106"/>
                </a:lnTo>
                <a:lnTo>
                  <a:pt x="238" y="109"/>
                </a:lnTo>
                <a:lnTo>
                  <a:pt x="247" y="112"/>
                </a:lnTo>
                <a:lnTo>
                  <a:pt x="253" y="122"/>
                </a:lnTo>
                <a:lnTo>
                  <a:pt x="263" y="122"/>
                </a:lnTo>
                <a:lnTo>
                  <a:pt x="266" y="125"/>
                </a:lnTo>
                <a:lnTo>
                  <a:pt x="272" y="125"/>
                </a:lnTo>
                <a:lnTo>
                  <a:pt x="278" y="131"/>
                </a:lnTo>
                <a:lnTo>
                  <a:pt x="288" y="128"/>
                </a:lnTo>
                <a:lnTo>
                  <a:pt x="291" y="131"/>
                </a:lnTo>
                <a:lnTo>
                  <a:pt x="300" y="128"/>
                </a:lnTo>
                <a:lnTo>
                  <a:pt x="310" y="131"/>
                </a:lnTo>
                <a:lnTo>
                  <a:pt x="313" y="137"/>
                </a:lnTo>
                <a:lnTo>
                  <a:pt x="316" y="141"/>
                </a:lnTo>
                <a:lnTo>
                  <a:pt x="328" y="144"/>
                </a:lnTo>
                <a:lnTo>
                  <a:pt x="332" y="141"/>
                </a:lnTo>
                <a:lnTo>
                  <a:pt x="338" y="141"/>
                </a:lnTo>
                <a:lnTo>
                  <a:pt x="353" y="147"/>
                </a:lnTo>
                <a:lnTo>
                  <a:pt x="360" y="147"/>
                </a:lnTo>
                <a:lnTo>
                  <a:pt x="366" y="150"/>
                </a:lnTo>
                <a:lnTo>
                  <a:pt x="378" y="147"/>
                </a:lnTo>
                <a:lnTo>
                  <a:pt x="378" y="137"/>
                </a:lnTo>
                <a:lnTo>
                  <a:pt x="375" y="131"/>
                </a:lnTo>
                <a:lnTo>
                  <a:pt x="378" y="122"/>
                </a:lnTo>
                <a:lnTo>
                  <a:pt x="375" y="116"/>
                </a:lnTo>
                <a:lnTo>
                  <a:pt x="375" y="116"/>
                </a:lnTo>
                <a:lnTo>
                  <a:pt x="382" y="112"/>
                </a:lnTo>
                <a:lnTo>
                  <a:pt x="385" y="112"/>
                </a:lnTo>
                <a:lnTo>
                  <a:pt x="388" y="119"/>
                </a:lnTo>
                <a:lnTo>
                  <a:pt x="388" y="122"/>
                </a:lnTo>
                <a:lnTo>
                  <a:pt x="391" y="125"/>
                </a:lnTo>
                <a:lnTo>
                  <a:pt x="391" y="125"/>
                </a:lnTo>
                <a:lnTo>
                  <a:pt x="391" y="128"/>
                </a:lnTo>
                <a:lnTo>
                  <a:pt x="391" y="134"/>
                </a:lnTo>
                <a:lnTo>
                  <a:pt x="394" y="137"/>
                </a:lnTo>
                <a:lnTo>
                  <a:pt x="400" y="141"/>
                </a:lnTo>
                <a:lnTo>
                  <a:pt x="403" y="137"/>
                </a:lnTo>
                <a:lnTo>
                  <a:pt x="413" y="144"/>
                </a:lnTo>
                <a:lnTo>
                  <a:pt x="419" y="144"/>
                </a:lnTo>
                <a:lnTo>
                  <a:pt x="422" y="141"/>
                </a:lnTo>
                <a:lnTo>
                  <a:pt x="425" y="137"/>
                </a:lnTo>
                <a:lnTo>
                  <a:pt x="428" y="141"/>
                </a:lnTo>
                <a:lnTo>
                  <a:pt x="438" y="137"/>
                </a:lnTo>
                <a:lnTo>
                  <a:pt x="441" y="137"/>
                </a:lnTo>
                <a:lnTo>
                  <a:pt x="450" y="137"/>
                </a:lnTo>
                <a:lnTo>
                  <a:pt x="450" y="134"/>
                </a:lnTo>
                <a:lnTo>
                  <a:pt x="450" y="128"/>
                </a:lnTo>
                <a:lnTo>
                  <a:pt x="444" y="125"/>
                </a:lnTo>
                <a:lnTo>
                  <a:pt x="444" y="122"/>
                </a:lnTo>
                <a:lnTo>
                  <a:pt x="444" y="116"/>
                </a:lnTo>
                <a:lnTo>
                  <a:pt x="447" y="116"/>
                </a:lnTo>
                <a:lnTo>
                  <a:pt x="453" y="116"/>
                </a:lnTo>
                <a:lnTo>
                  <a:pt x="457" y="116"/>
                </a:lnTo>
                <a:lnTo>
                  <a:pt x="460" y="109"/>
                </a:lnTo>
                <a:lnTo>
                  <a:pt x="463" y="106"/>
                </a:lnTo>
                <a:lnTo>
                  <a:pt x="466" y="109"/>
                </a:lnTo>
                <a:lnTo>
                  <a:pt x="466" y="106"/>
                </a:lnTo>
                <a:lnTo>
                  <a:pt x="469" y="103"/>
                </a:lnTo>
                <a:lnTo>
                  <a:pt x="472" y="100"/>
                </a:lnTo>
                <a:lnTo>
                  <a:pt x="475" y="97"/>
                </a:lnTo>
                <a:lnTo>
                  <a:pt x="478" y="97"/>
                </a:lnTo>
                <a:lnTo>
                  <a:pt x="485" y="94"/>
                </a:lnTo>
                <a:lnTo>
                  <a:pt x="491" y="87"/>
                </a:lnTo>
                <a:lnTo>
                  <a:pt x="491" y="84"/>
                </a:lnTo>
                <a:lnTo>
                  <a:pt x="494" y="84"/>
                </a:lnTo>
                <a:lnTo>
                  <a:pt x="497" y="81"/>
                </a:lnTo>
                <a:lnTo>
                  <a:pt x="500" y="84"/>
                </a:lnTo>
                <a:lnTo>
                  <a:pt x="507" y="84"/>
                </a:lnTo>
                <a:lnTo>
                  <a:pt x="513" y="87"/>
                </a:lnTo>
                <a:lnTo>
                  <a:pt x="516" y="84"/>
                </a:lnTo>
                <a:lnTo>
                  <a:pt x="516" y="81"/>
                </a:lnTo>
                <a:lnTo>
                  <a:pt x="522" y="75"/>
                </a:lnTo>
                <a:lnTo>
                  <a:pt x="525" y="78"/>
                </a:lnTo>
                <a:lnTo>
                  <a:pt x="528" y="81"/>
                </a:lnTo>
                <a:lnTo>
                  <a:pt x="532" y="78"/>
                </a:lnTo>
                <a:lnTo>
                  <a:pt x="532" y="81"/>
                </a:lnTo>
                <a:lnTo>
                  <a:pt x="528" y="87"/>
                </a:lnTo>
                <a:lnTo>
                  <a:pt x="532" y="91"/>
                </a:lnTo>
                <a:lnTo>
                  <a:pt x="535" y="87"/>
                </a:lnTo>
                <a:lnTo>
                  <a:pt x="535" y="87"/>
                </a:lnTo>
                <a:lnTo>
                  <a:pt x="538" y="91"/>
                </a:lnTo>
                <a:lnTo>
                  <a:pt x="541" y="94"/>
                </a:lnTo>
                <a:lnTo>
                  <a:pt x="541" y="97"/>
                </a:lnTo>
                <a:lnTo>
                  <a:pt x="538" y="100"/>
                </a:lnTo>
                <a:lnTo>
                  <a:pt x="538" y="103"/>
                </a:lnTo>
                <a:lnTo>
                  <a:pt x="541" y="106"/>
                </a:lnTo>
                <a:lnTo>
                  <a:pt x="544" y="103"/>
                </a:lnTo>
                <a:lnTo>
                  <a:pt x="547" y="106"/>
                </a:lnTo>
                <a:lnTo>
                  <a:pt x="550" y="109"/>
                </a:lnTo>
                <a:lnTo>
                  <a:pt x="553" y="112"/>
                </a:lnTo>
                <a:lnTo>
                  <a:pt x="547" y="116"/>
                </a:lnTo>
                <a:lnTo>
                  <a:pt x="547" y="122"/>
                </a:lnTo>
                <a:lnTo>
                  <a:pt x="550" y="125"/>
                </a:lnTo>
                <a:lnTo>
                  <a:pt x="547" y="122"/>
                </a:lnTo>
                <a:lnTo>
                  <a:pt x="541" y="122"/>
                </a:lnTo>
                <a:lnTo>
                  <a:pt x="538" y="125"/>
                </a:lnTo>
                <a:lnTo>
                  <a:pt x="532" y="125"/>
                </a:lnTo>
                <a:lnTo>
                  <a:pt x="528" y="131"/>
                </a:lnTo>
                <a:lnTo>
                  <a:pt x="525" y="137"/>
                </a:lnTo>
                <a:lnTo>
                  <a:pt x="519" y="137"/>
                </a:lnTo>
                <a:lnTo>
                  <a:pt x="513" y="150"/>
                </a:lnTo>
                <a:lnTo>
                  <a:pt x="513" y="153"/>
                </a:lnTo>
                <a:lnTo>
                  <a:pt x="513" y="156"/>
                </a:lnTo>
                <a:lnTo>
                  <a:pt x="513" y="163"/>
                </a:lnTo>
                <a:lnTo>
                  <a:pt x="507" y="172"/>
                </a:lnTo>
                <a:lnTo>
                  <a:pt x="507" y="175"/>
                </a:lnTo>
                <a:lnTo>
                  <a:pt x="510" y="178"/>
                </a:lnTo>
                <a:lnTo>
                  <a:pt x="507" y="188"/>
                </a:lnTo>
                <a:lnTo>
                  <a:pt x="503" y="197"/>
                </a:lnTo>
                <a:lnTo>
                  <a:pt x="500" y="203"/>
                </a:lnTo>
                <a:lnTo>
                  <a:pt x="497" y="203"/>
                </a:lnTo>
                <a:lnTo>
                  <a:pt x="494" y="203"/>
                </a:lnTo>
                <a:lnTo>
                  <a:pt x="488" y="203"/>
                </a:lnTo>
                <a:lnTo>
                  <a:pt x="491" y="213"/>
                </a:lnTo>
                <a:lnTo>
                  <a:pt x="491" y="216"/>
                </a:lnTo>
                <a:lnTo>
                  <a:pt x="491" y="225"/>
                </a:lnTo>
                <a:lnTo>
                  <a:pt x="488" y="225"/>
                </a:lnTo>
                <a:lnTo>
                  <a:pt x="488" y="228"/>
                </a:lnTo>
                <a:lnTo>
                  <a:pt x="488" y="234"/>
                </a:lnTo>
                <a:lnTo>
                  <a:pt x="488" y="238"/>
                </a:lnTo>
                <a:lnTo>
                  <a:pt x="485" y="244"/>
                </a:lnTo>
                <a:lnTo>
                  <a:pt x="485" y="244"/>
                </a:lnTo>
                <a:lnTo>
                  <a:pt x="482" y="244"/>
                </a:lnTo>
                <a:lnTo>
                  <a:pt x="482" y="247"/>
                </a:lnTo>
                <a:lnTo>
                  <a:pt x="482" y="250"/>
                </a:lnTo>
                <a:lnTo>
                  <a:pt x="478" y="250"/>
                </a:lnTo>
                <a:lnTo>
                  <a:pt x="478" y="247"/>
                </a:lnTo>
                <a:lnTo>
                  <a:pt x="478" y="247"/>
                </a:lnTo>
                <a:lnTo>
                  <a:pt x="478" y="244"/>
                </a:lnTo>
                <a:lnTo>
                  <a:pt x="475" y="241"/>
                </a:lnTo>
                <a:lnTo>
                  <a:pt x="475" y="238"/>
                </a:lnTo>
                <a:lnTo>
                  <a:pt x="472" y="228"/>
                </a:lnTo>
                <a:lnTo>
                  <a:pt x="472" y="225"/>
                </a:lnTo>
                <a:lnTo>
                  <a:pt x="472" y="222"/>
                </a:lnTo>
                <a:lnTo>
                  <a:pt x="472" y="216"/>
                </a:lnTo>
                <a:lnTo>
                  <a:pt x="469" y="213"/>
                </a:lnTo>
                <a:lnTo>
                  <a:pt x="469" y="213"/>
                </a:lnTo>
                <a:lnTo>
                  <a:pt x="466" y="213"/>
                </a:lnTo>
                <a:lnTo>
                  <a:pt x="463" y="209"/>
                </a:lnTo>
                <a:lnTo>
                  <a:pt x="460" y="213"/>
                </a:lnTo>
                <a:lnTo>
                  <a:pt x="463" y="213"/>
                </a:lnTo>
                <a:lnTo>
                  <a:pt x="460" y="216"/>
                </a:lnTo>
                <a:lnTo>
                  <a:pt x="460" y="216"/>
                </a:lnTo>
                <a:lnTo>
                  <a:pt x="460" y="219"/>
                </a:lnTo>
                <a:lnTo>
                  <a:pt x="460" y="222"/>
                </a:lnTo>
                <a:lnTo>
                  <a:pt x="460" y="225"/>
                </a:lnTo>
                <a:lnTo>
                  <a:pt x="457" y="225"/>
                </a:lnTo>
                <a:lnTo>
                  <a:pt x="453" y="219"/>
                </a:lnTo>
                <a:lnTo>
                  <a:pt x="450" y="216"/>
                </a:lnTo>
                <a:lnTo>
                  <a:pt x="450" y="216"/>
                </a:lnTo>
                <a:lnTo>
                  <a:pt x="447" y="213"/>
                </a:lnTo>
                <a:lnTo>
                  <a:pt x="447" y="209"/>
                </a:lnTo>
                <a:lnTo>
                  <a:pt x="447" y="206"/>
                </a:lnTo>
                <a:lnTo>
                  <a:pt x="447" y="203"/>
                </a:lnTo>
                <a:lnTo>
                  <a:pt x="450" y="203"/>
                </a:lnTo>
                <a:lnTo>
                  <a:pt x="453" y="200"/>
                </a:lnTo>
                <a:lnTo>
                  <a:pt x="453" y="200"/>
                </a:lnTo>
                <a:lnTo>
                  <a:pt x="457" y="200"/>
                </a:lnTo>
                <a:lnTo>
                  <a:pt x="457" y="200"/>
                </a:lnTo>
                <a:lnTo>
                  <a:pt x="457" y="197"/>
                </a:lnTo>
                <a:lnTo>
                  <a:pt x="460" y="194"/>
                </a:lnTo>
                <a:lnTo>
                  <a:pt x="463" y="188"/>
                </a:lnTo>
                <a:lnTo>
                  <a:pt x="463" y="184"/>
                </a:lnTo>
                <a:lnTo>
                  <a:pt x="466" y="178"/>
                </a:lnTo>
                <a:lnTo>
                  <a:pt x="463" y="178"/>
                </a:lnTo>
                <a:lnTo>
                  <a:pt x="460" y="175"/>
                </a:lnTo>
                <a:lnTo>
                  <a:pt x="457" y="175"/>
                </a:lnTo>
                <a:lnTo>
                  <a:pt x="457" y="175"/>
                </a:lnTo>
                <a:lnTo>
                  <a:pt x="453" y="175"/>
                </a:lnTo>
                <a:lnTo>
                  <a:pt x="447" y="175"/>
                </a:lnTo>
                <a:lnTo>
                  <a:pt x="441" y="175"/>
                </a:lnTo>
                <a:lnTo>
                  <a:pt x="432" y="175"/>
                </a:lnTo>
                <a:lnTo>
                  <a:pt x="428" y="175"/>
                </a:lnTo>
                <a:lnTo>
                  <a:pt x="422" y="172"/>
                </a:lnTo>
                <a:lnTo>
                  <a:pt x="419" y="175"/>
                </a:lnTo>
                <a:lnTo>
                  <a:pt x="416" y="172"/>
                </a:lnTo>
                <a:lnTo>
                  <a:pt x="416" y="169"/>
                </a:lnTo>
                <a:lnTo>
                  <a:pt x="416" y="166"/>
                </a:lnTo>
                <a:lnTo>
                  <a:pt x="413" y="163"/>
                </a:lnTo>
                <a:lnTo>
                  <a:pt x="413" y="159"/>
                </a:lnTo>
                <a:lnTo>
                  <a:pt x="410" y="153"/>
                </a:lnTo>
                <a:lnTo>
                  <a:pt x="410" y="153"/>
                </a:lnTo>
                <a:lnTo>
                  <a:pt x="410" y="156"/>
                </a:lnTo>
                <a:lnTo>
                  <a:pt x="403" y="153"/>
                </a:lnTo>
                <a:lnTo>
                  <a:pt x="403" y="153"/>
                </a:lnTo>
                <a:lnTo>
                  <a:pt x="400" y="150"/>
                </a:lnTo>
                <a:lnTo>
                  <a:pt x="397" y="150"/>
                </a:lnTo>
                <a:lnTo>
                  <a:pt x="397" y="153"/>
                </a:lnTo>
                <a:lnTo>
                  <a:pt x="400" y="153"/>
                </a:lnTo>
                <a:lnTo>
                  <a:pt x="397" y="153"/>
                </a:lnTo>
                <a:lnTo>
                  <a:pt x="394" y="153"/>
                </a:lnTo>
                <a:lnTo>
                  <a:pt x="391" y="150"/>
                </a:lnTo>
                <a:lnTo>
                  <a:pt x="391" y="147"/>
                </a:lnTo>
                <a:lnTo>
                  <a:pt x="388" y="144"/>
                </a:lnTo>
                <a:lnTo>
                  <a:pt x="388" y="144"/>
                </a:lnTo>
                <a:lnTo>
                  <a:pt x="385" y="147"/>
                </a:lnTo>
                <a:lnTo>
                  <a:pt x="385" y="147"/>
                </a:lnTo>
                <a:lnTo>
                  <a:pt x="385" y="147"/>
                </a:lnTo>
                <a:lnTo>
                  <a:pt x="388" y="150"/>
                </a:lnTo>
                <a:lnTo>
                  <a:pt x="385" y="156"/>
                </a:lnTo>
                <a:lnTo>
                  <a:pt x="382" y="159"/>
                </a:lnTo>
                <a:lnTo>
                  <a:pt x="382" y="166"/>
                </a:lnTo>
                <a:lnTo>
                  <a:pt x="388" y="169"/>
                </a:lnTo>
                <a:lnTo>
                  <a:pt x="394" y="166"/>
                </a:lnTo>
                <a:lnTo>
                  <a:pt x="397" y="166"/>
                </a:lnTo>
                <a:lnTo>
                  <a:pt x="397" y="169"/>
                </a:lnTo>
                <a:lnTo>
                  <a:pt x="397" y="175"/>
                </a:lnTo>
                <a:lnTo>
                  <a:pt x="394" y="175"/>
                </a:lnTo>
                <a:lnTo>
                  <a:pt x="394" y="175"/>
                </a:lnTo>
                <a:lnTo>
                  <a:pt x="391" y="178"/>
                </a:lnTo>
                <a:lnTo>
                  <a:pt x="388" y="181"/>
                </a:lnTo>
                <a:lnTo>
                  <a:pt x="385" y="184"/>
                </a:lnTo>
                <a:lnTo>
                  <a:pt x="385" y="191"/>
                </a:lnTo>
                <a:lnTo>
                  <a:pt x="388" y="197"/>
                </a:lnTo>
                <a:lnTo>
                  <a:pt x="394" y="197"/>
                </a:lnTo>
                <a:lnTo>
                  <a:pt x="400" y="203"/>
                </a:lnTo>
                <a:lnTo>
                  <a:pt x="400" y="209"/>
                </a:lnTo>
                <a:lnTo>
                  <a:pt x="400" y="216"/>
                </a:lnTo>
                <a:lnTo>
                  <a:pt x="400" y="219"/>
                </a:lnTo>
                <a:lnTo>
                  <a:pt x="400" y="225"/>
                </a:lnTo>
                <a:lnTo>
                  <a:pt x="407" y="234"/>
                </a:lnTo>
                <a:lnTo>
                  <a:pt x="407" y="238"/>
                </a:lnTo>
                <a:lnTo>
                  <a:pt x="410" y="241"/>
                </a:lnTo>
                <a:lnTo>
                  <a:pt x="410" y="247"/>
                </a:lnTo>
                <a:lnTo>
                  <a:pt x="407" y="247"/>
                </a:lnTo>
                <a:lnTo>
                  <a:pt x="410" y="253"/>
                </a:lnTo>
                <a:lnTo>
                  <a:pt x="410" y="256"/>
                </a:lnTo>
                <a:lnTo>
                  <a:pt x="407" y="253"/>
                </a:lnTo>
                <a:lnTo>
                  <a:pt x="407" y="256"/>
                </a:lnTo>
                <a:lnTo>
                  <a:pt x="403" y="253"/>
                </a:lnTo>
                <a:lnTo>
                  <a:pt x="400" y="250"/>
                </a:lnTo>
                <a:lnTo>
                  <a:pt x="400" y="247"/>
                </a:lnTo>
                <a:lnTo>
                  <a:pt x="400" y="250"/>
                </a:lnTo>
                <a:lnTo>
                  <a:pt x="400" y="250"/>
                </a:lnTo>
                <a:lnTo>
                  <a:pt x="400" y="250"/>
                </a:lnTo>
                <a:lnTo>
                  <a:pt x="397" y="250"/>
                </a:lnTo>
                <a:lnTo>
                  <a:pt x="394" y="250"/>
                </a:lnTo>
                <a:lnTo>
                  <a:pt x="394" y="253"/>
                </a:lnTo>
                <a:lnTo>
                  <a:pt x="391" y="250"/>
                </a:lnTo>
                <a:lnTo>
                  <a:pt x="391" y="247"/>
                </a:lnTo>
                <a:lnTo>
                  <a:pt x="391" y="244"/>
                </a:lnTo>
                <a:lnTo>
                  <a:pt x="388" y="241"/>
                </a:lnTo>
                <a:lnTo>
                  <a:pt x="385" y="241"/>
                </a:lnTo>
                <a:lnTo>
                  <a:pt x="385" y="241"/>
                </a:lnTo>
                <a:lnTo>
                  <a:pt x="388" y="241"/>
                </a:lnTo>
                <a:lnTo>
                  <a:pt x="391" y="244"/>
                </a:lnTo>
                <a:lnTo>
                  <a:pt x="388" y="244"/>
                </a:lnTo>
                <a:lnTo>
                  <a:pt x="388" y="247"/>
                </a:lnTo>
                <a:lnTo>
                  <a:pt x="388" y="250"/>
                </a:lnTo>
                <a:lnTo>
                  <a:pt x="385" y="253"/>
                </a:lnTo>
                <a:lnTo>
                  <a:pt x="372" y="259"/>
                </a:lnTo>
                <a:lnTo>
                  <a:pt x="369" y="259"/>
                </a:lnTo>
                <a:lnTo>
                  <a:pt x="369" y="263"/>
                </a:lnTo>
                <a:lnTo>
                  <a:pt x="366" y="266"/>
                </a:lnTo>
                <a:lnTo>
                  <a:pt x="369" y="269"/>
                </a:lnTo>
                <a:lnTo>
                  <a:pt x="369" y="272"/>
                </a:lnTo>
                <a:lnTo>
                  <a:pt x="369" y="275"/>
                </a:lnTo>
                <a:lnTo>
                  <a:pt x="369" y="275"/>
                </a:lnTo>
                <a:lnTo>
                  <a:pt x="366" y="278"/>
                </a:lnTo>
                <a:lnTo>
                  <a:pt x="366" y="281"/>
                </a:lnTo>
                <a:lnTo>
                  <a:pt x="363" y="285"/>
                </a:lnTo>
                <a:lnTo>
                  <a:pt x="363" y="285"/>
                </a:lnTo>
                <a:lnTo>
                  <a:pt x="357" y="291"/>
                </a:lnTo>
                <a:lnTo>
                  <a:pt x="357" y="294"/>
                </a:lnTo>
                <a:lnTo>
                  <a:pt x="347" y="297"/>
                </a:lnTo>
                <a:lnTo>
                  <a:pt x="344" y="297"/>
                </a:lnTo>
                <a:lnTo>
                  <a:pt x="344" y="294"/>
                </a:lnTo>
                <a:lnTo>
                  <a:pt x="344" y="294"/>
                </a:lnTo>
                <a:lnTo>
                  <a:pt x="341" y="294"/>
                </a:lnTo>
                <a:lnTo>
                  <a:pt x="338" y="297"/>
                </a:lnTo>
                <a:lnTo>
                  <a:pt x="338" y="297"/>
                </a:lnTo>
                <a:lnTo>
                  <a:pt x="335" y="303"/>
                </a:lnTo>
                <a:lnTo>
                  <a:pt x="338" y="300"/>
                </a:lnTo>
                <a:lnTo>
                  <a:pt x="341" y="300"/>
                </a:lnTo>
                <a:lnTo>
                  <a:pt x="341" y="300"/>
                </a:lnTo>
                <a:lnTo>
                  <a:pt x="328" y="313"/>
                </a:lnTo>
                <a:lnTo>
                  <a:pt x="325" y="322"/>
                </a:lnTo>
                <a:lnTo>
                  <a:pt x="307" y="335"/>
                </a:lnTo>
                <a:lnTo>
                  <a:pt x="303" y="341"/>
                </a:lnTo>
                <a:lnTo>
                  <a:pt x="300" y="344"/>
                </a:lnTo>
                <a:lnTo>
                  <a:pt x="294" y="347"/>
                </a:lnTo>
                <a:lnTo>
                  <a:pt x="288" y="353"/>
                </a:lnTo>
                <a:lnTo>
                  <a:pt x="288" y="356"/>
                </a:lnTo>
                <a:lnTo>
                  <a:pt x="288" y="360"/>
                </a:lnTo>
                <a:lnTo>
                  <a:pt x="285" y="366"/>
                </a:lnTo>
                <a:lnTo>
                  <a:pt x="282" y="369"/>
                </a:lnTo>
                <a:lnTo>
                  <a:pt x="272" y="366"/>
                </a:lnTo>
                <a:lnTo>
                  <a:pt x="269" y="369"/>
                </a:lnTo>
                <a:lnTo>
                  <a:pt x="269" y="375"/>
                </a:lnTo>
                <a:lnTo>
                  <a:pt x="263" y="381"/>
                </a:lnTo>
                <a:lnTo>
                  <a:pt x="260" y="381"/>
                </a:lnTo>
                <a:lnTo>
                  <a:pt x="257" y="378"/>
                </a:lnTo>
                <a:lnTo>
                  <a:pt x="257" y="378"/>
                </a:lnTo>
                <a:lnTo>
                  <a:pt x="250" y="385"/>
                </a:lnTo>
                <a:lnTo>
                  <a:pt x="247" y="388"/>
                </a:lnTo>
                <a:lnTo>
                  <a:pt x="247" y="394"/>
                </a:lnTo>
                <a:lnTo>
                  <a:pt x="250" y="403"/>
                </a:lnTo>
                <a:lnTo>
                  <a:pt x="247" y="410"/>
                </a:lnTo>
                <a:lnTo>
                  <a:pt x="247" y="413"/>
                </a:lnTo>
                <a:lnTo>
                  <a:pt x="247" y="428"/>
                </a:lnTo>
                <a:lnTo>
                  <a:pt x="253" y="432"/>
                </a:lnTo>
                <a:lnTo>
                  <a:pt x="253" y="441"/>
                </a:lnTo>
                <a:lnTo>
                  <a:pt x="250" y="453"/>
                </a:lnTo>
                <a:lnTo>
                  <a:pt x="244" y="463"/>
                </a:lnTo>
                <a:lnTo>
                  <a:pt x="244" y="469"/>
                </a:lnTo>
                <a:lnTo>
                  <a:pt x="247" y="472"/>
                </a:lnTo>
                <a:lnTo>
                  <a:pt x="247" y="488"/>
                </a:lnTo>
                <a:lnTo>
                  <a:pt x="247" y="494"/>
                </a:lnTo>
                <a:lnTo>
                  <a:pt x="244" y="494"/>
                </a:lnTo>
                <a:lnTo>
                  <a:pt x="241" y="494"/>
                </a:lnTo>
                <a:lnTo>
                  <a:pt x="238" y="494"/>
                </a:lnTo>
                <a:lnTo>
                  <a:pt x="235" y="497"/>
                </a:lnTo>
                <a:lnTo>
                  <a:pt x="235" y="500"/>
                </a:lnTo>
                <a:lnTo>
                  <a:pt x="232" y="507"/>
                </a:lnTo>
                <a:lnTo>
                  <a:pt x="228" y="510"/>
                </a:lnTo>
                <a:lnTo>
                  <a:pt x="228" y="513"/>
                </a:lnTo>
                <a:lnTo>
                  <a:pt x="235" y="516"/>
                </a:lnTo>
                <a:lnTo>
                  <a:pt x="238" y="516"/>
                </a:lnTo>
                <a:lnTo>
                  <a:pt x="238" y="519"/>
                </a:lnTo>
                <a:lnTo>
                  <a:pt x="235" y="516"/>
                </a:lnTo>
                <a:lnTo>
                  <a:pt x="232" y="516"/>
                </a:lnTo>
                <a:lnTo>
                  <a:pt x="225" y="519"/>
                </a:lnTo>
                <a:lnTo>
                  <a:pt x="222" y="516"/>
                </a:lnTo>
                <a:lnTo>
                  <a:pt x="216" y="519"/>
                </a:lnTo>
                <a:lnTo>
                  <a:pt x="213" y="525"/>
                </a:lnTo>
                <a:lnTo>
                  <a:pt x="213" y="525"/>
                </a:lnTo>
                <a:lnTo>
                  <a:pt x="213" y="529"/>
                </a:lnTo>
                <a:lnTo>
                  <a:pt x="213" y="529"/>
                </a:lnTo>
                <a:lnTo>
                  <a:pt x="213" y="535"/>
                </a:lnTo>
                <a:lnTo>
                  <a:pt x="203" y="538"/>
                </a:lnTo>
                <a:lnTo>
                  <a:pt x="197" y="538"/>
                </a:lnTo>
                <a:lnTo>
                  <a:pt x="191" y="535"/>
                </a:lnTo>
                <a:lnTo>
                  <a:pt x="185" y="525"/>
                </a:lnTo>
                <a:lnTo>
                  <a:pt x="178" y="513"/>
                </a:lnTo>
                <a:lnTo>
                  <a:pt x="178" y="503"/>
                </a:lnTo>
                <a:lnTo>
                  <a:pt x="175" y="497"/>
                </a:lnTo>
                <a:lnTo>
                  <a:pt x="172" y="488"/>
                </a:lnTo>
                <a:lnTo>
                  <a:pt x="172" y="485"/>
                </a:lnTo>
                <a:lnTo>
                  <a:pt x="169" y="485"/>
                </a:lnTo>
                <a:lnTo>
                  <a:pt x="169" y="478"/>
                </a:lnTo>
                <a:lnTo>
                  <a:pt x="166" y="472"/>
                </a:lnTo>
                <a:lnTo>
                  <a:pt x="160" y="466"/>
                </a:lnTo>
                <a:lnTo>
                  <a:pt x="157" y="460"/>
                </a:lnTo>
                <a:lnTo>
                  <a:pt x="157" y="460"/>
                </a:lnTo>
                <a:lnTo>
                  <a:pt x="150" y="453"/>
                </a:lnTo>
                <a:lnTo>
                  <a:pt x="147" y="450"/>
                </a:lnTo>
                <a:lnTo>
                  <a:pt x="147" y="447"/>
                </a:lnTo>
                <a:lnTo>
                  <a:pt x="147" y="441"/>
                </a:lnTo>
                <a:lnTo>
                  <a:pt x="144" y="438"/>
                </a:lnTo>
                <a:lnTo>
                  <a:pt x="141" y="428"/>
                </a:lnTo>
                <a:lnTo>
                  <a:pt x="138" y="422"/>
                </a:lnTo>
                <a:lnTo>
                  <a:pt x="138" y="416"/>
                </a:lnTo>
                <a:lnTo>
                  <a:pt x="135" y="413"/>
                </a:lnTo>
                <a:lnTo>
                  <a:pt x="135" y="407"/>
                </a:lnTo>
                <a:lnTo>
                  <a:pt x="135" y="407"/>
                </a:lnTo>
                <a:lnTo>
                  <a:pt x="128" y="400"/>
                </a:lnTo>
                <a:lnTo>
                  <a:pt x="128" y="397"/>
                </a:lnTo>
                <a:lnTo>
                  <a:pt x="128" y="397"/>
                </a:lnTo>
                <a:lnTo>
                  <a:pt x="122" y="391"/>
                </a:lnTo>
                <a:lnTo>
                  <a:pt x="122" y="388"/>
                </a:lnTo>
                <a:lnTo>
                  <a:pt x="119" y="385"/>
                </a:lnTo>
                <a:lnTo>
                  <a:pt x="119" y="381"/>
                </a:lnTo>
                <a:lnTo>
                  <a:pt x="116" y="378"/>
                </a:lnTo>
                <a:lnTo>
                  <a:pt x="113" y="369"/>
                </a:lnTo>
                <a:lnTo>
                  <a:pt x="113" y="360"/>
                </a:lnTo>
                <a:lnTo>
                  <a:pt x="103" y="341"/>
                </a:lnTo>
                <a:lnTo>
                  <a:pt x="103" y="338"/>
                </a:lnTo>
                <a:lnTo>
                  <a:pt x="100" y="331"/>
                </a:lnTo>
                <a:lnTo>
                  <a:pt x="103" y="331"/>
                </a:lnTo>
                <a:lnTo>
                  <a:pt x="97" y="322"/>
                </a:lnTo>
                <a:lnTo>
                  <a:pt x="97" y="319"/>
                </a:lnTo>
                <a:lnTo>
                  <a:pt x="100" y="319"/>
                </a:lnTo>
                <a:lnTo>
                  <a:pt x="100" y="316"/>
                </a:lnTo>
                <a:lnTo>
                  <a:pt x="97" y="313"/>
                </a:lnTo>
                <a:lnTo>
                  <a:pt x="94" y="300"/>
                </a:lnTo>
                <a:lnTo>
                  <a:pt x="91" y="294"/>
                </a:lnTo>
                <a:lnTo>
                  <a:pt x="94" y="294"/>
                </a:lnTo>
                <a:lnTo>
                  <a:pt x="91" y="291"/>
                </a:lnTo>
                <a:lnTo>
                  <a:pt x="91" y="288"/>
                </a:lnTo>
                <a:lnTo>
                  <a:pt x="94" y="285"/>
                </a:lnTo>
                <a:lnTo>
                  <a:pt x="94" y="278"/>
                </a:lnTo>
                <a:lnTo>
                  <a:pt x="91" y="272"/>
                </a:lnTo>
                <a:lnTo>
                  <a:pt x="91" y="272"/>
                </a:lnTo>
                <a:lnTo>
                  <a:pt x="88" y="263"/>
                </a:lnTo>
                <a:lnTo>
                  <a:pt x="91" y="259"/>
                </a:lnTo>
                <a:lnTo>
                  <a:pt x="94" y="256"/>
                </a:lnTo>
                <a:lnTo>
                  <a:pt x="97" y="256"/>
                </a:lnTo>
                <a:lnTo>
                  <a:pt x="94" y="256"/>
                </a:lnTo>
                <a:lnTo>
                  <a:pt x="88" y="256"/>
                </a:lnTo>
                <a:lnTo>
                  <a:pt x="88" y="256"/>
                </a:lnTo>
                <a:lnTo>
                  <a:pt x="88" y="253"/>
                </a:lnTo>
                <a:lnTo>
                  <a:pt x="85" y="250"/>
                </a:lnTo>
                <a:lnTo>
                  <a:pt x="85" y="247"/>
                </a:lnTo>
                <a:lnTo>
                  <a:pt x="88" y="244"/>
                </a:lnTo>
                <a:lnTo>
                  <a:pt x="88" y="244"/>
                </a:lnTo>
                <a:lnTo>
                  <a:pt x="94" y="241"/>
                </a:lnTo>
                <a:lnTo>
                  <a:pt x="94" y="241"/>
                </a:lnTo>
                <a:lnTo>
                  <a:pt x="91" y="241"/>
                </a:lnTo>
                <a:lnTo>
                  <a:pt x="88" y="241"/>
                </a:lnTo>
                <a:lnTo>
                  <a:pt x="85" y="241"/>
                </a:lnTo>
                <a:lnTo>
                  <a:pt x="82" y="238"/>
                </a:lnTo>
                <a:lnTo>
                  <a:pt x="82" y="241"/>
                </a:lnTo>
                <a:lnTo>
                  <a:pt x="82" y="244"/>
                </a:lnTo>
                <a:lnTo>
                  <a:pt x="78" y="253"/>
                </a:lnTo>
                <a:lnTo>
                  <a:pt x="82" y="256"/>
                </a:lnTo>
                <a:lnTo>
                  <a:pt x="82" y="263"/>
                </a:lnTo>
                <a:lnTo>
                  <a:pt x="78" y="266"/>
                </a:lnTo>
                <a:lnTo>
                  <a:pt x="78" y="269"/>
                </a:lnTo>
                <a:lnTo>
                  <a:pt x="72" y="272"/>
                </a:lnTo>
                <a:lnTo>
                  <a:pt x="60" y="278"/>
                </a:lnTo>
                <a:lnTo>
                  <a:pt x="57" y="278"/>
                </a:lnTo>
                <a:lnTo>
                  <a:pt x="50" y="278"/>
                </a:lnTo>
                <a:lnTo>
                  <a:pt x="35" y="266"/>
                </a:lnTo>
                <a:lnTo>
                  <a:pt x="28" y="256"/>
                </a:lnTo>
                <a:lnTo>
                  <a:pt x="28" y="256"/>
                </a:lnTo>
                <a:lnTo>
                  <a:pt x="25" y="256"/>
                </a:lnTo>
                <a:lnTo>
                  <a:pt x="22" y="253"/>
                </a:lnTo>
                <a:lnTo>
                  <a:pt x="16" y="247"/>
                </a:lnTo>
                <a:lnTo>
                  <a:pt x="13" y="244"/>
                </a:lnTo>
                <a:lnTo>
                  <a:pt x="16" y="241"/>
                </a:lnTo>
                <a:lnTo>
                  <a:pt x="16" y="241"/>
                </a:lnTo>
                <a:lnTo>
                  <a:pt x="19" y="241"/>
                </a:lnTo>
                <a:lnTo>
                  <a:pt x="19" y="241"/>
                </a:lnTo>
                <a:lnTo>
                  <a:pt x="19" y="247"/>
                </a:lnTo>
                <a:lnTo>
                  <a:pt x="22" y="247"/>
                </a:lnTo>
                <a:lnTo>
                  <a:pt x="25" y="244"/>
                </a:lnTo>
                <a:lnTo>
                  <a:pt x="25" y="244"/>
                </a:lnTo>
                <a:lnTo>
                  <a:pt x="28" y="247"/>
                </a:lnTo>
                <a:lnTo>
                  <a:pt x="28" y="244"/>
                </a:lnTo>
                <a:lnTo>
                  <a:pt x="38" y="238"/>
                </a:lnTo>
                <a:lnTo>
                  <a:pt x="41" y="238"/>
                </a:lnTo>
                <a:lnTo>
                  <a:pt x="44" y="231"/>
                </a:lnTo>
                <a:lnTo>
                  <a:pt x="44" y="231"/>
                </a:lnTo>
                <a:lnTo>
                  <a:pt x="47" y="228"/>
                </a:lnTo>
                <a:lnTo>
                  <a:pt x="41" y="228"/>
                </a:lnTo>
                <a:lnTo>
                  <a:pt x="41" y="228"/>
                </a:lnTo>
                <a:lnTo>
                  <a:pt x="41" y="228"/>
                </a:lnTo>
                <a:lnTo>
                  <a:pt x="41" y="231"/>
                </a:lnTo>
                <a:lnTo>
                  <a:pt x="32" y="234"/>
                </a:lnTo>
                <a:lnTo>
                  <a:pt x="28" y="234"/>
                </a:lnTo>
                <a:lnTo>
                  <a:pt x="25" y="234"/>
                </a:lnTo>
                <a:lnTo>
                  <a:pt x="13" y="231"/>
                </a:lnTo>
                <a:lnTo>
                  <a:pt x="7" y="225"/>
                </a:lnTo>
                <a:lnTo>
                  <a:pt x="3" y="222"/>
                </a:lnTo>
                <a:lnTo>
                  <a:pt x="3" y="219"/>
                </a:lnTo>
                <a:lnTo>
                  <a:pt x="7" y="213"/>
                </a:lnTo>
                <a:lnTo>
                  <a:pt x="13" y="213"/>
                </a:lnTo>
                <a:lnTo>
                  <a:pt x="7" y="213"/>
                </a:lnTo>
                <a:lnTo>
                  <a:pt x="0" y="216"/>
                </a:lnTo>
                <a:lnTo>
                  <a:pt x="0" y="209"/>
                </a:lnTo>
                <a:lnTo>
                  <a:pt x="3" y="209"/>
                </a:lnTo>
                <a:lnTo>
                  <a:pt x="7" y="206"/>
                </a:lnTo>
                <a:lnTo>
                  <a:pt x="10" y="203"/>
                </a:lnTo>
                <a:lnTo>
                  <a:pt x="13" y="203"/>
                </a:lnTo>
                <a:lnTo>
                  <a:pt x="16" y="200"/>
                </a:lnTo>
                <a:lnTo>
                  <a:pt x="28" y="203"/>
                </a:lnTo>
                <a:lnTo>
                  <a:pt x="38" y="200"/>
                </a:lnTo>
                <a:lnTo>
                  <a:pt x="38" y="197"/>
                </a:lnTo>
                <a:lnTo>
                  <a:pt x="44" y="197"/>
                </a:lnTo>
                <a:lnTo>
                  <a:pt x="41" y="200"/>
                </a:lnTo>
                <a:lnTo>
                  <a:pt x="44" y="200"/>
                </a:lnTo>
                <a:lnTo>
                  <a:pt x="47" y="200"/>
                </a:lnTo>
                <a:lnTo>
                  <a:pt x="50" y="197"/>
                </a:lnTo>
                <a:lnTo>
                  <a:pt x="50" y="197"/>
                </a:lnTo>
                <a:lnTo>
                  <a:pt x="50" y="194"/>
                </a:lnTo>
                <a:lnTo>
                  <a:pt x="47" y="181"/>
                </a:lnTo>
                <a:lnTo>
                  <a:pt x="41" y="175"/>
                </a:lnTo>
                <a:lnTo>
                  <a:pt x="44" y="172"/>
                </a:lnTo>
                <a:lnTo>
                  <a:pt x="41" y="169"/>
                </a:lnTo>
                <a:lnTo>
                  <a:pt x="38" y="172"/>
                </a:lnTo>
                <a:lnTo>
                  <a:pt x="32" y="166"/>
                </a:lnTo>
                <a:lnTo>
                  <a:pt x="28" y="159"/>
                </a:lnTo>
                <a:lnTo>
                  <a:pt x="28" y="153"/>
                </a:lnTo>
                <a:lnTo>
                  <a:pt x="25" y="147"/>
                </a:lnTo>
                <a:lnTo>
                  <a:pt x="22" y="147"/>
                </a:lnTo>
                <a:lnTo>
                  <a:pt x="22" y="150"/>
                </a:lnTo>
                <a:lnTo>
                  <a:pt x="16" y="147"/>
                </a:lnTo>
                <a:lnTo>
                  <a:pt x="13" y="147"/>
                </a:lnTo>
                <a:lnTo>
                  <a:pt x="13" y="144"/>
                </a:lnTo>
                <a:lnTo>
                  <a:pt x="16" y="134"/>
                </a:lnTo>
                <a:lnTo>
                  <a:pt x="19" y="134"/>
                </a:lnTo>
                <a:lnTo>
                  <a:pt x="25" y="125"/>
                </a:lnTo>
                <a:lnTo>
                  <a:pt x="25" y="122"/>
                </a:lnTo>
                <a:lnTo>
                  <a:pt x="28" y="122"/>
                </a:lnTo>
                <a:lnTo>
                  <a:pt x="32" y="119"/>
                </a:lnTo>
                <a:lnTo>
                  <a:pt x="35" y="122"/>
                </a:lnTo>
                <a:lnTo>
                  <a:pt x="38" y="125"/>
                </a:lnTo>
                <a:lnTo>
                  <a:pt x="38" y="125"/>
                </a:lnTo>
                <a:lnTo>
                  <a:pt x="47" y="122"/>
                </a:lnTo>
                <a:lnTo>
                  <a:pt x="57" y="122"/>
                </a:lnTo>
                <a:lnTo>
                  <a:pt x="63" y="116"/>
                </a:lnTo>
                <a:lnTo>
                  <a:pt x="66" y="103"/>
                </a:lnTo>
                <a:lnTo>
                  <a:pt x="75" y="97"/>
                </a:lnTo>
                <a:lnTo>
                  <a:pt x="78" y="91"/>
                </a:lnTo>
                <a:lnTo>
                  <a:pt x="78" y="84"/>
                </a:lnTo>
                <a:lnTo>
                  <a:pt x="85" y="78"/>
                </a:lnTo>
                <a:lnTo>
                  <a:pt x="91" y="75"/>
                </a:lnTo>
                <a:lnTo>
                  <a:pt x="91" y="72"/>
                </a:lnTo>
                <a:lnTo>
                  <a:pt x="91" y="69"/>
                </a:lnTo>
                <a:lnTo>
                  <a:pt x="91" y="66"/>
                </a:lnTo>
                <a:lnTo>
                  <a:pt x="94" y="59"/>
                </a:lnTo>
                <a:lnTo>
                  <a:pt x="97" y="56"/>
                </a:lnTo>
                <a:lnTo>
                  <a:pt x="97" y="53"/>
                </a:lnTo>
                <a:lnTo>
                  <a:pt x="100" y="44"/>
                </a:lnTo>
                <a:lnTo>
                  <a:pt x="97" y="34"/>
                </a:lnTo>
                <a:lnTo>
                  <a:pt x="97" y="34"/>
                </a:lnTo>
                <a:lnTo>
                  <a:pt x="103" y="28"/>
                </a:lnTo>
                <a:lnTo>
                  <a:pt x="107" y="28"/>
                </a:lnTo>
                <a:lnTo>
                  <a:pt x="110" y="25"/>
                </a:lnTo>
                <a:lnTo>
                  <a:pt x="113" y="25"/>
                </a:lnTo>
                <a:lnTo>
                  <a:pt x="119" y="19"/>
                </a:lnTo>
                <a:lnTo>
                  <a:pt x="122" y="9"/>
                </a:lnTo>
                <a:lnTo>
                  <a:pt x="128" y="3"/>
                </a:lnTo>
                <a:lnTo>
                  <a:pt x="135" y="3"/>
                </a:lnTo>
                <a:lnTo>
                  <a:pt x="138" y="0"/>
                </a:lnTo>
                <a:lnTo>
                  <a:pt x="141" y="0"/>
                </a:lnTo>
                <a:lnTo>
                  <a:pt x="150" y="6"/>
                </a:lnTo>
                <a:lnTo>
                  <a:pt x="157" y="3"/>
                </a:lnTo>
                <a:lnTo>
                  <a:pt x="163" y="6"/>
                </a:lnTo>
                <a:lnTo>
                  <a:pt x="166" y="12"/>
                </a:lnTo>
                <a:lnTo>
                  <a:pt x="169" y="9"/>
                </a:lnTo>
                <a:lnTo>
                  <a:pt x="178" y="15"/>
                </a:lnTo>
                <a:lnTo>
                  <a:pt x="178" y="15"/>
                </a:lnTo>
                <a:lnTo>
                  <a:pt x="178" y="15"/>
                </a:lnTo>
                <a:close/>
                <a:moveTo>
                  <a:pt x="400" y="253"/>
                </a:moveTo>
                <a:lnTo>
                  <a:pt x="400" y="256"/>
                </a:lnTo>
                <a:lnTo>
                  <a:pt x="400" y="256"/>
                </a:lnTo>
                <a:lnTo>
                  <a:pt x="400" y="253"/>
                </a:lnTo>
                <a:lnTo>
                  <a:pt x="400" y="253"/>
                </a:lnTo>
                <a:close/>
                <a:moveTo>
                  <a:pt x="397" y="253"/>
                </a:moveTo>
                <a:lnTo>
                  <a:pt x="397" y="253"/>
                </a:lnTo>
                <a:lnTo>
                  <a:pt x="397" y="256"/>
                </a:lnTo>
                <a:lnTo>
                  <a:pt x="397" y="256"/>
                </a:lnTo>
                <a:lnTo>
                  <a:pt x="397" y="253"/>
                </a:lnTo>
                <a:lnTo>
                  <a:pt x="397" y="253"/>
                </a:lnTo>
                <a:lnTo>
                  <a:pt x="397" y="253"/>
                </a:lnTo>
                <a:close/>
                <a:moveTo>
                  <a:pt x="394" y="253"/>
                </a:moveTo>
                <a:lnTo>
                  <a:pt x="394" y="256"/>
                </a:lnTo>
                <a:lnTo>
                  <a:pt x="394" y="259"/>
                </a:lnTo>
                <a:lnTo>
                  <a:pt x="394" y="256"/>
                </a:lnTo>
                <a:lnTo>
                  <a:pt x="394" y="253"/>
                </a:lnTo>
                <a:lnTo>
                  <a:pt x="394" y="253"/>
                </a:lnTo>
                <a:close/>
                <a:moveTo>
                  <a:pt x="388" y="253"/>
                </a:moveTo>
                <a:lnTo>
                  <a:pt x="388" y="256"/>
                </a:lnTo>
                <a:lnTo>
                  <a:pt x="388" y="256"/>
                </a:lnTo>
                <a:lnTo>
                  <a:pt x="391" y="250"/>
                </a:lnTo>
                <a:lnTo>
                  <a:pt x="391" y="250"/>
                </a:lnTo>
                <a:lnTo>
                  <a:pt x="388" y="253"/>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8" name="Freeform 36">
            <a:extLst>
              <a:ext uri="{FF2B5EF4-FFF2-40B4-BE49-F238E27FC236}">
                <a16:creationId xmlns:a16="http://schemas.microsoft.com/office/drawing/2014/main" id="{81877DC8-D975-B54F-5496-4F957CEBC3AC}"/>
              </a:ext>
            </a:extLst>
          </p:cNvPr>
          <p:cNvSpPr>
            <a:spLocks noEditPoints="1"/>
          </p:cNvSpPr>
          <p:nvPr userDrawn="1"/>
        </p:nvSpPr>
        <p:spPr bwMode="auto">
          <a:xfrm>
            <a:off x="18588411" y="7619283"/>
            <a:ext cx="317481" cy="415926"/>
          </a:xfrm>
          <a:custGeom>
            <a:avLst/>
            <a:gdLst>
              <a:gd name="T0" fmla="*/ 31 w 32"/>
              <a:gd name="T1" fmla="*/ 37 h 42"/>
              <a:gd name="T2" fmla="*/ 29 w 32"/>
              <a:gd name="T3" fmla="*/ 39 h 42"/>
              <a:gd name="T4" fmla="*/ 29 w 32"/>
              <a:gd name="T5" fmla="*/ 42 h 42"/>
              <a:gd name="T6" fmla="*/ 27 w 32"/>
              <a:gd name="T7" fmla="*/ 38 h 42"/>
              <a:gd name="T8" fmla="*/ 27 w 32"/>
              <a:gd name="T9" fmla="*/ 35 h 42"/>
              <a:gd name="T10" fmla="*/ 26 w 32"/>
              <a:gd name="T11" fmla="*/ 36 h 42"/>
              <a:gd name="T12" fmla="*/ 26 w 32"/>
              <a:gd name="T13" fmla="*/ 33 h 42"/>
              <a:gd name="T14" fmla="*/ 23 w 32"/>
              <a:gd name="T15" fmla="*/ 27 h 42"/>
              <a:gd name="T16" fmla="*/ 22 w 32"/>
              <a:gd name="T17" fmla="*/ 27 h 42"/>
              <a:gd name="T18" fmla="*/ 19 w 32"/>
              <a:gd name="T19" fmla="*/ 26 h 42"/>
              <a:gd name="T20" fmla="*/ 16 w 32"/>
              <a:gd name="T21" fmla="*/ 24 h 42"/>
              <a:gd name="T22" fmla="*/ 17 w 32"/>
              <a:gd name="T23" fmla="*/ 28 h 42"/>
              <a:gd name="T24" fmla="*/ 18 w 32"/>
              <a:gd name="T25" fmla="*/ 30 h 42"/>
              <a:gd name="T26" fmla="*/ 15 w 32"/>
              <a:gd name="T27" fmla="*/ 34 h 42"/>
              <a:gd name="T28" fmla="*/ 15 w 32"/>
              <a:gd name="T29" fmla="*/ 32 h 42"/>
              <a:gd name="T30" fmla="*/ 14 w 32"/>
              <a:gd name="T31" fmla="*/ 33 h 42"/>
              <a:gd name="T32" fmla="*/ 14 w 32"/>
              <a:gd name="T33" fmla="*/ 29 h 42"/>
              <a:gd name="T34" fmla="*/ 13 w 32"/>
              <a:gd name="T35" fmla="*/ 30 h 42"/>
              <a:gd name="T36" fmla="*/ 13 w 32"/>
              <a:gd name="T37" fmla="*/ 33 h 42"/>
              <a:gd name="T38" fmla="*/ 13 w 32"/>
              <a:gd name="T39" fmla="*/ 34 h 42"/>
              <a:gd name="T40" fmla="*/ 11 w 32"/>
              <a:gd name="T41" fmla="*/ 35 h 42"/>
              <a:gd name="T42" fmla="*/ 9 w 32"/>
              <a:gd name="T43" fmla="*/ 33 h 42"/>
              <a:gd name="T44" fmla="*/ 8 w 32"/>
              <a:gd name="T45" fmla="*/ 30 h 42"/>
              <a:gd name="T46" fmla="*/ 6 w 32"/>
              <a:gd name="T47" fmla="*/ 24 h 42"/>
              <a:gd name="T48" fmla="*/ 6 w 32"/>
              <a:gd name="T49" fmla="*/ 19 h 42"/>
              <a:gd name="T50" fmla="*/ 1 w 32"/>
              <a:gd name="T51" fmla="*/ 15 h 42"/>
              <a:gd name="T52" fmla="*/ 3 w 32"/>
              <a:gd name="T53" fmla="*/ 11 h 42"/>
              <a:gd name="T54" fmla="*/ 5 w 32"/>
              <a:gd name="T55" fmla="*/ 10 h 42"/>
              <a:gd name="T56" fmla="*/ 4 w 32"/>
              <a:gd name="T57" fmla="*/ 7 h 42"/>
              <a:gd name="T58" fmla="*/ 0 w 32"/>
              <a:gd name="T59" fmla="*/ 5 h 42"/>
              <a:gd name="T60" fmla="*/ 1 w 32"/>
              <a:gd name="T61" fmla="*/ 1 h 42"/>
              <a:gd name="T62" fmla="*/ 2 w 32"/>
              <a:gd name="T63" fmla="*/ 0 h 42"/>
              <a:gd name="T64" fmla="*/ 3 w 32"/>
              <a:gd name="T65" fmla="*/ 2 h 42"/>
              <a:gd name="T66" fmla="*/ 6 w 32"/>
              <a:gd name="T67" fmla="*/ 3 h 42"/>
              <a:gd name="T68" fmla="*/ 6 w 32"/>
              <a:gd name="T69" fmla="*/ 2 h 42"/>
              <a:gd name="T70" fmla="*/ 9 w 32"/>
              <a:gd name="T71" fmla="*/ 4 h 42"/>
              <a:gd name="T72" fmla="*/ 10 w 32"/>
              <a:gd name="T73" fmla="*/ 5 h 42"/>
              <a:gd name="T74" fmla="*/ 11 w 32"/>
              <a:gd name="T75" fmla="*/ 8 h 42"/>
              <a:gd name="T76" fmla="*/ 13 w 32"/>
              <a:gd name="T77" fmla="*/ 9 h 42"/>
              <a:gd name="T78" fmla="*/ 19 w 32"/>
              <a:gd name="T79" fmla="*/ 10 h 42"/>
              <a:gd name="T80" fmla="*/ 24 w 32"/>
              <a:gd name="T81" fmla="*/ 10 h 42"/>
              <a:gd name="T82" fmla="*/ 26 w 32"/>
              <a:gd name="T83" fmla="*/ 11 h 42"/>
              <a:gd name="T84" fmla="*/ 26 w 32"/>
              <a:gd name="T85" fmla="*/ 14 h 42"/>
              <a:gd name="T86" fmla="*/ 24 w 32"/>
              <a:gd name="T87" fmla="*/ 18 h 42"/>
              <a:gd name="T88" fmla="*/ 23 w 32"/>
              <a:gd name="T89" fmla="*/ 18 h 42"/>
              <a:gd name="T90" fmla="*/ 21 w 32"/>
              <a:gd name="T91" fmla="*/ 20 h 42"/>
              <a:gd name="T92" fmla="*/ 22 w 32"/>
              <a:gd name="T93" fmla="*/ 23 h 42"/>
              <a:gd name="T94" fmla="*/ 24 w 32"/>
              <a:gd name="T95" fmla="*/ 26 h 42"/>
              <a:gd name="T96" fmla="*/ 25 w 32"/>
              <a:gd name="T97" fmla="*/ 24 h 42"/>
              <a:gd name="T98" fmla="*/ 26 w 32"/>
              <a:gd name="T99" fmla="*/ 22 h 42"/>
              <a:gd name="T100" fmla="*/ 27 w 32"/>
              <a:gd name="T101" fmla="*/ 22 h 42"/>
              <a:gd name="T102" fmla="*/ 29 w 32"/>
              <a:gd name="T103" fmla="*/ 23 h 42"/>
              <a:gd name="T104" fmla="*/ 29 w 32"/>
              <a:gd name="T105" fmla="*/ 27 h 42"/>
              <a:gd name="T106" fmla="*/ 31 w 32"/>
              <a:gd name="T107" fmla="*/ 32 h 42"/>
              <a:gd name="T108" fmla="*/ 31 w 32"/>
              <a:gd name="T109" fmla="*/ 34 h 42"/>
              <a:gd name="T110" fmla="*/ 23 w 32"/>
              <a:gd name="T111" fmla="*/ 29 h 42"/>
              <a:gd name="T112" fmla="*/ 23 w 32"/>
              <a:gd name="T113" fmla="*/ 30 h 42"/>
              <a:gd name="T114" fmla="*/ 21 w 32"/>
              <a:gd name="T115" fmla="*/ 30 h 42"/>
              <a:gd name="T116" fmla="*/ 22 w 32"/>
              <a:gd name="T117" fmla="*/ 30 h 42"/>
              <a:gd name="T118" fmla="*/ 20 w 32"/>
              <a:gd name="T119" fmla="*/ 29 h 42"/>
              <a:gd name="T120" fmla="*/ 18 w 32"/>
              <a:gd name="T121" fmla="*/ 29 h 42"/>
              <a:gd name="T122" fmla="*/ 19 w 32"/>
              <a:gd name="T123" fmla="*/ 2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 h="42">
                <a:moveTo>
                  <a:pt x="32" y="34"/>
                </a:moveTo>
                <a:cubicBezTo>
                  <a:pt x="32" y="36"/>
                  <a:pt x="32" y="36"/>
                  <a:pt x="32" y="36"/>
                </a:cubicBezTo>
                <a:cubicBezTo>
                  <a:pt x="31" y="37"/>
                  <a:pt x="31" y="37"/>
                  <a:pt x="31" y="37"/>
                </a:cubicBezTo>
                <a:cubicBezTo>
                  <a:pt x="30" y="37"/>
                  <a:pt x="30" y="37"/>
                  <a:pt x="30" y="37"/>
                </a:cubicBezTo>
                <a:cubicBezTo>
                  <a:pt x="29" y="38"/>
                  <a:pt x="29" y="38"/>
                  <a:pt x="29" y="38"/>
                </a:cubicBezTo>
                <a:cubicBezTo>
                  <a:pt x="29" y="39"/>
                  <a:pt x="29" y="39"/>
                  <a:pt x="29" y="39"/>
                </a:cubicBezTo>
                <a:cubicBezTo>
                  <a:pt x="29" y="40"/>
                  <a:pt x="29" y="40"/>
                  <a:pt x="29" y="40"/>
                </a:cubicBezTo>
                <a:cubicBezTo>
                  <a:pt x="29" y="40"/>
                  <a:pt x="29" y="40"/>
                  <a:pt x="29" y="40"/>
                </a:cubicBezTo>
                <a:cubicBezTo>
                  <a:pt x="29" y="42"/>
                  <a:pt x="29" y="42"/>
                  <a:pt x="29" y="42"/>
                </a:cubicBezTo>
                <a:cubicBezTo>
                  <a:pt x="29" y="42"/>
                  <a:pt x="29" y="42"/>
                  <a:pt x="29" y="42"/>
                </a:cubicBezTo>
                <a:cubicBezTo>
                  <a:pt x="28" y="39"/>
                  <a:pt x="28" y="39"/>
                  <a:pt x="28" y="39"/>
                </a:cubicBezTo>
                <a:cubicBezTo>
                  <a:pt x="27" y="38"/>
                  <a:pt x="27" y="38"/>
                  <a:pt x="27" y="38"/>
                </a:cubicBezTo>
                <a:cubicBezTo>
                  <a:pt x="27" y="37"/>
                  <a:pt x="27" y="37"/>
                  <a:pt x="27" y="37"/>
                </a:cubicBezTo>
                <a:cubicBezTo>
                  <a:pt x="27" y="36"/>
                  <a:pt x="27" y="36"/>
                  <a:pt x="27" y="36"/>
                </a:cubicBezTo>
                <a:cubicBezTo>
                  <a:pt x="27" y="35"/>
                  <a:pt x="27" y="35"/>
                  <a:pt x="27" y="35"/>
                </a:cubicBezTo>
                <a:cubicBezTo>
                  <a:pt x="27" y="36"/>
                  <a:pt x="27" y="36"/>
                  <a:pt x="27" y="36"/>
                </a:cubicBezTo>
                <a:cubicBezTo>
                  <a:pt x="26" y="37"/>
                  <a:pt x="26" y="37"/>
                  <a:pt x="26" y="37"/>
                </a:cubicBezTo>
                <a:cubicBezTo>
                  <a:pt x="26" y="36"/>
                  <a:pt x="26" y="36"/>
                  <a:pt x="26" y="36"/>
                </a:cubicBezTo>
                <a:cubicBezTo>
                  <a:pt x="26" y="34"/>
                  <a:pt x="26" y="34"/>
                  <a:pt x="26" y="34"/>
                </a:cubicBezTo>
                <a:cubicBezTo>
                  <a:pt x="26" y="34"/>
                  <a:pt x="26" y="34"/>
                  <a:pt x="26" y="34"/>
                </a:cubicBezTo>
                <a:cubicBezTo>
                  <a:pt x="26" y="33"/>
                  <a:pt x="26" y="33"/>
                  <a:pt x="26" y="33"/>
                </a:cubicBezTo>
                <a:cubicBezTo>
                  <a:pt x="26" y="32"/>
                  <a:pt x="26" y="32"/>
                  <a:pt x="26" y="32"/>
                </a:cubicBezTo>
                <a:cubicBezTo>
                  <a:pt x="25" y="31"/>
                  <a:pt x="25" y="31"/>
                  <a:pt x="25" y="31"/>
                </a:cubicBezTo>
                <a:cubicBezTo>
                  <a:pt x="23" y="27"/>
                  <a:pt x="23" y="27"/>
                  <a:pt x="23" y="27"/>
                </a:cubicBezTo>
                <a:cubicBezTo>
                  <a:pt x="23" y="27"/>
                  <a:pt x="23" y="27"/>
                  <a:pt x="23" y="27"/>
                </a:cubicBezTo>
                <a:cubicBezTo>
                  <a:pt x="23" y="27"/>
                  <a:pt x="23" y="27"/>
                  <a:pt x="23" y="27"/>
                </a:cubicBezTo>
                <a:cubicBezTo>
                  <a:pt x="22" y="27"/>
                  <a:pt x="22" y="27"/>
                  <a:pt x="22" y="27"/>
                </a:cubicBezTo>
                <a:cubicBezTo>
                  <a:pt x="21" y="28"/>
                  <a:pt x="21" y="28"/>
                  <a:pt x="21" y="28"/>
                </a:cubicBezTo>
                <a:cubicBezTo>
                  <a:pt x="19" y="27"/>
                  <a:pt x="19" y="27"/>
                  <a:pt x="19" y="27"/>
                </a:cubicBezTo>
                <a:cubicBezTo>
                  <a:pt x="19" y="26"/>
                  <a:pt x="19" y="26"/>
                  <a:pt x="19" y="26"/>
                </a:cubicBezTo>
                <a:cubicBezTo>
                  <a:pt x="18" y="26"/>
                  <a:pt x="18" y="26"/>
                  <a:pt x="18" y="26"/>
                </a:cubicBezTo>
                <a:cubicBezTo>
                  <a:pt x="17" y="25"/>
                  <a:pt x="17" y="25"/>
                  <a:pt x="17" y="25"/>
                </a:cubicBezTo>
                <a:cubicBezTo>
                  <a:pt x="16" y="24"/>
                  <a:pt x="16" y="24"/>
                  <a:pt x="16" y="24"/>
                </a:cubicBezTo>
                <a:cubicBezTo>
                  <a:pt x="17" y="26"/>
                  <a:pt x="17" y="26"/>
                  <a:pt x="17" y="26"/>
                </a:cubicBezTo>
                <a:cubicBezTo>
                  <a:pt x="17" y="27"/>
                  <a:pt x="17" y="27"/>
                  <a:pt x="17" y="27"/>
                </a:cubicBezTo>
                <a:cubicBezTo>
                  <a:pt x="17" y="28"/>
                  <a:pt x="17" y="28"/>
                  <a:pt x="17" y="28"/>
                </a:cubicBezTo>
                <a:cubicBezTo>
                  <a:pt x="16" y="28"/>
                  <a:pt x="16" y="28"/>
                  <a:pt x="16" y="28"/>
                </a:cubicBezTo>
                <a:cubicBezTo>
                  <a:pt x="17" y="28"/>
                  <a:pt x="17" y="28"/>
                  <a:pt x="17" y="28"/>
                </a:cubicBezTo>
                <a:cubicBezTo>
                  <a:pt x="18" y="30"/>
                  <a:pt x="18" y="30"/>
                  <a:pt x="18" y="30"/>
                </a:cubicBezTo>
                <a:cubicBezTo>
                  <a:pt x="17" y="32"/>
                  <a:pt x="17" y="32"/>
                  <a:pt x="17" y="32"/>
                </a:cubicBezTo>
                <a:cubicBezTo>
                  <a:pt x="16" y="32"/>
                  <a:pt x="16" y="32"/>
                  <a:pt x="16" y="32"/>
                </a:cubicBezTo>
                <a:cubicBezTo>
                  <a:pt x="15" y="34"/>
                  <a:pt x="15" y="34"/>
                  <a:pt x="15" y="34"/>
                </a:cubicBezTo>
                <a:cubicBezTo>
                  <a:pt x="14" y="33"/>
                  <a:pt x="14" y="33"/>
                  <a:pt x="14" y="33"/>
                </a:cubicBezTo>
                <a:cubicBezTo>
                  <a:pt x="15" y="32"/>
                  <a:pt x="15" y="32"/>
                  <a:pt x="15" y="32"/>
                </a:cubicBezTo>
                <a:cubicBezTo>
                  <a:pt x="15" y="32"/>
                  <a:pt x="15" y="32"/>
                  <a:pt x="15" y="32"/>
                </a:cubicBezTo>
                <a:cubicBezTo>
                  <a:pt x="16" y="31"/>
                  <a:pt x="16" y="31"/>
                  <a:pt x="16" y="31"/>
                </a:cubicBezTo>
                <a:cubicBezTo>
                  <a:pt x="15" y="32"/>
                  <a:pt x="15" y="32"/>
                  <a:pt x="15" y="32"/>
                </a:cubicBezTo>
                <a:cubicBezTo>
                  <a:pt x="14" y="33"/>
                  <a:pt x="14" y="33"/>
                  <a:pt x="14" y="33"/>
                </a:cubicBezTo>
                <a:cubicBezTo>
                  <a:pt x="13" y="32"/>
                  <a:pt x="13" y="32"/>
                  <a:pt x="13" y="32"/>
                </a:cubicBezTo>
                <a:cubicBezTo>
                  <a:pt x="14" y="30"/>
                  <a:pt x="14" y="30"/>
                  <a:pt x="14" y="30"/>
                </a:cubicBezTo>
                <a:cubicBezTo>
                  <a:pt x="14" y="29"/>
                  <a:pt x="14" y="29"/>
                  <a:pt x="14" y="29"/>
                </a:cubicBezTo>
                <a:cubicBezTo>
                  <a:pt x="13" y="29"/>
                  <a:pt x="13" y="29"/>
                  <a:pt x="13" y="29"/>
                </a:cubicBezTo>
                <a:cubicBezTo>
                  <a:pt x="14" y="29"/>
                  <a:pt x="14" y="29"/>
                  <a:pt x="14" y="29"/>
                </a:cubicBezTo>
                <a:cubicBezTo>
                  <a:pt x="13" y="30"/>
                  <a:pt x="13" y="30"/>
                  <a:pt x="13" y="30"/>
                </a:cubicBezTo>
                <a:cubicBezTo>
                  <a:pt x="13" y="31"/>
                  <a:pt x="13" y="31"/>
                  <a:pt x="13" y="31"/>
                </a:cubicBezTo>
                <a:cubicBezTo>
                  <a:pt x="13" y="32"/>
                  <a:pt x="13" y="32"/>
                  <a:pt x="13" y="32"/>
                </a:cubicBezTo>
                <a:cubicBezTo>
                  <a:pt x="13" y="33"/>
                  <a:pt x="13" y="33"/>
                  <a:pt x="13" y="33"/>
                </a:cubicBezTo>
                <a:cubicBezTo>
                  <a:pt x="13" y="34"/>
                  <a:pt x="13" y="34"/>
                  <a:pt x="13" y="34"/>
                </a:cubicBezTo>
                <a:cubicBezTo>
                  <a:pt x="13" y="34"/>
                  <a:pt x="13" y="34"/>
                  <a:pt x="13" y="34"/>
                </a:cubicBezTo>
                <a:cubicBezTo>
                  <a:pt x="13" y="34"/>
                  <a:pt x="13" y="34"/>
                  <a:pt x="13" y="34"/>
                </a:cubicBezTo>
                <a:cubicBezTo>
                  <a:pt x="12" y="34"/>
                  <a:pt x="12" y="34"/>
                  <a:pt x="12" y="34"/>
                </a:cubicBezTo>
                <a:cubicBezTo>
                  <a:pt x="11" y="34"/>
                  <a:pt x="11" y="34"/>
                  <a:pt x="11" y="34"/>
                </a:cubicBezTo>
                <a:cubicBezTo>
                  <a:pt x="11" y="35"/>
                  <a:pt x="11" y="35"/>
                  <a:pt x="11" y="35"/>
                </a:cubicBezTo>
                <a:cubicBezTo>
                  <a:pt x="10" y="35"/>
                  <a:pt x="10" y="35"/>
                  <a:pt x="10" y="35"/>
                </a:cubicBezTo>
                <a:cubicBezTo>
                  <a:pt x="10" y="34"/>
                  <a:pt x="10" y="34"/>
                  <a:pt x="10" y="34"/>
                </a:cubicBezTo>
                <a:cubicBezTo>
                  <a:pt x="9" y="33"/>
                  <a:pt x="9" y="33"/>
                  <a:pt x="9" y="33"/>
                </a:cubicBezTo>
                <a:cubicBezTo>
                  <a:pt x="9" y="33"/>
                  <a:pt x="9" y="33"/>
                  <a:pt x="9" y="33"/>
                </a:cubicBezTo>
                <a:cubicBezTo>
                  <a:pt x="9" y="31"/>
                  <a:pt x="9" y="31"/>
                  <a:pt x="9" y="31"/>
                </a:cubicBezTo>
                <a:cubicBezTo>
                  <a:pt x="8" y="30"/>
                  <a:pt x="8" y="30"/>
                  <a:pt x="8" y="30"/>
                </a:cubicBezTo>
                <a:cubicBezTo>
                  <a:pt x="8" y="29"/>
                  <a:pt x="8" y="29"/>
                  <a:pt x="8" y="29"/>
                </a:cubicBezTo>
                <a:cubicBezTo>
                  <a:pt x="6" y="26"/>
                  <a:pt x="6" y="26"/>
                  <a:pt x="6" y="26"/>
                </a:cubicBezTo>
                <a:cubicBezTo>
                  <a:pt x="6" y="24"/>
                  <a:pt x="6" y="24"/>
                  <a:pt x="6" y="24"/>
                </a:cubicBezTo>
                <a:cubicBezTo>
                  <a:pt x="6" y="23"/>
                  <a:pt x="6" y="23"/>
                  <a:pt x="6" y="23"/>
                </a:cubicBezTo>
                <a:cubicBezTo>
                  <a:pt x="6" y="21"/>
                  <a:pt x="6" y="21"/>
                  <a:pt x="6" y="21"/>
                </a:cubicBezTo>
                <a:cubicBezTo>
                  <a:pt x="6" y="19"/>
                  <a:pt x="6" y="19"/>
                  <a:pt x="6" y="19"/>
                </a:cubicBezTo>
                <a:cubicBezTo>
                  <a:pt x="4" y="17"/>
                  <a:pt x="4" y="17"/>
                  <a:pt x="4" y="17"/>
                </a:cubicBezTo>
                <a:cubicBezTo>
                  <a:pt x="2" y="17"/>
                  <a:pt x="2" y="17"/>
                  <a:pt x="2" y="17"/>
                </a:cubicBezTo>
                <a:cubicBezTo>
                  <a:pt x="1" y="15"/>
                  <a:pt x="1" y="15"/>
                  <a:pt x="1" y="15"/>
                </a:cubicBezTo>
                <a:cubicBezTo>
                  <a:pt x="1" y="13"/>
                  <a:pt x="1" y="13"/>
                  <a:pt x="1" y="13"/>
                </a:cubicBezTo>
                <a:cubicBezTo>
                  <a:pt x="2" y="12"/>
                  <a:pt x="2" y="12"/>
                  <a:pt x="2" y="12"/>
                </a:cubicBezTo>
                <a:cubicBezTo>
                  <a:pt x="3" y="11"/>
                  <a:pt x="3" y="11"/>
                  <a:pt x="3" y="11"/>
                </a:cubicBezTo>
                <a:cubicBezTo>
                  <a:pt x="4" y="10"/>
                  <a:pt x="4" y="10"/>
                  <a:pt x="4" y="10"/>
                </a:cubicBezTo>
                <a:cubicBezTo>
                  <a:pt x="4" y="10"/>
                  <a:pt x="4" y="10"/>
                  <a:pt x="4" y="10"/>
                </a:cubicBezTo>
                <a:cubicBezTo>
                  <a:pt x="5" y="10"/>
                  <a:pt x="5" y="10"/>
                  <a:pt x="5" y="10"/>
                </a:cubicBezTo>
                <a:cubicBezTo>
                  <a:pt x="5" y="8"/>
                  <a:pt x="5" y="8"/>
                  <a:pt x="5" y="8"/>
                </a:cubicBezTo>
                <a:cubicBezTo>
                  <a:pt x="5" y="7"/>
                  <a:pt x="5" y="7"/>
                  <a:pt x="5" y="7"/>
                </a:cubicBezTo>
                <a:cubicBezTo>
                  <a:pt x="4" y="7"/>
                  <a:pt x="4" y="7"/>
                  <a:pt x="4" y="7"/>
                </a:cubicBezTo>
                <a:cubicBezTo>
                  <a:pt x="2" y="8"/>
                  <a:pt x="2" y="8"/>
                  <a:pt x="2" y="8"/>
                </a:cubicBezTo>
                <a:cubicBezTo>
                  <a:pt x="0" y="7"/>
                  <a:pt x="0" y="7"/>
                  <a:pt x="0" y="7"/>
                </a:cubicBezTo>
                <a:cubicBezTo>
                  <a:pt x="0" y="5"/>
                  <a:pt x="0" y="5"/>
                  <a:pt x="0" y="5"/>
                </a:cubicBezTo>
                <a:cubicBezTo>
                  <a:pt x="1" y="4"/>
                  <a:pt x="1" y="4"/>
                  <a:pt x="1" y="4"/>
                </a:cubicBezTo>
                <a:cubicBezTo>
                  <a:pt x="2" y="2"/>
                  <a:pt x="2" y="2"/>
                  <a:pt x="2" y="2"/>
                </a:cubicBezTo>
                <a:cubicBezTo>
                  <a:pt x="1" y="1"/>
                  <a:pt x="1" y="1"/>
                  <a:pt x="1" y="1"/>
                </a:cubicBezTo>
                <a:cubicBezTo>
                  <a:pt x="1" y="1"/>
                  <a:pt x="1" y="1"/>
                  <a:pt x="1" y="1"/>
                </a:cubicBezTo>
                <a:cubicBezTo>
                  <a:pt x="1" y="1"/>
                  <a:pt x="1" y="1"/>
                  <a:pt x="1" y="1"/>
                </a:cubicBezTo>
                <a:cubicBezTo>
                  <a:pt x="2" y="0"/>
                  <a:pt x="2" y="0"/>
                  <a:pt x="2" y="0"/>
                </a:cubicBezTo>
                <a:cubicBezTo>
                  <a:pt x="2" y="0"/>
                  <a:pt x="2" y="0"/>
                  <a:pt x="2" y="0"/>
                </a:cubicBezTo>
                <a:cubicBezTo>
                  <a:pt x="3" y="1"/>
                  <a:pt x="3" y="1"/>
                  <a:pt x="3" y="1"/>
                </a:cubicBezTo>
                <a:cubicBezTo>
                  <a:pt x="3" y="2"/>
                  <a:pt x="3" y="2"/>
                  <a:pt x="3" y="2"/>
                </a:cubicBezTo>
                <a:cubicBezTo>
                  <a:pt x="4" y="3"/>
                  <a:pt x="4" y="3"/>
                  <a:pt x="4" y="3"/>
                </a:cubicBezTo>
                <a:cubicBezTo>
                  <a:pt x="5" y="3"/>
                  <a:pt x="5" y="3"/>
                  <a:pt x="5" y="3"/>
                </a:cubicBezTo>
                <a:cubicBezTo>
                  <a:pt x="6" y="3"/>
                  <a:pt x="6" y="3"/>
                  <a:pt x="6" y="3"/>
                </a:cubicBezTo>
                <a:cubicBezTo>
                  <a:pt x="5" y="3"/>
                  <a:pt x="5" y="3"/>
                  <a:pt x="5" y="3"/>
                </a:cubicBezTo>
                <a:cubicBezTo>
                  <a:pt x="5" y="2"/>
                  <a:pt x="5" y="2"/>
                  <a:pt x="5" y="2"/>
                </a:cubicBezTo>
                <a:cubicBezTo>
                  <a:pt x="6" y="2"/>
                  <a:pt x="6" y="2"/>
                  <a:pt x="6" y="2"/>
                </a:cubicBezTo>
                <a:cubicBezTo>
                  <a:pt x="7" y="3"/>
                  <a:pt x="7" y="3"/>
                  <a:pt x="7" y="3"/>
                </a:cubicBezTo>
                <a:cubicBezTo>
                  <a:pt x="7" y="3"/>
                  <a:pt x="7" y="3"/>
                  <a:pt x="7" y="3"/>
                </a:cubicBezTo>
                <a:cubicBezTo>
                  <a:pt x="9" y="4"/>
                  <a:pt x="9" y="4"/>
                  <a:pt x="9" y="4"/>
                </a:cubicBezTo>
                <a:cubicBezTo>
                  <a:pt x="9" y="3"/>
                  <a:pt x="9" y="3"/>
                  <a:pt x="9" y="3"/>
                </a:cubicBezTo>
                <a:cubicBezTo>
                  <a:pt x="9" y="3"/>
                  <a:pt x="9" y="3"/>
                  <a:pt x="9" y="3"/>
                </a:cubicBezTo>
                <a:cubicBezTo>
                  <a:pt x="10" y="5"/>
                  <a:pt x="10" y="5"/>
                  <a:pt x="10" y="5"/>
                </a:cubicBezTo>
                <a:cubicBezTo>
                  <a:pt x="10" y="6"/>
                  <a:pt x="10" y="6"/>
                  <a:pt x="10" y="6"/>
                </a:cubicBezTo>
                <a:cubicBezTo>
                  <a:pt x="11" y="7"/>
                  <a:pt x="11" y="7"/>
                  <a:pt x="11" y="7"/>
                </a:cubicBezTo>
                <a:cubicBezTo>
                  <a:pt x="11" y="8"/>
                  <a:pt x="11" y="8"/>
                  <a:pt x="11" y="8"/>
                </a:cubicBezTo>
                <a:cubicBezTo>
                  <a:pt x="11" y="9"/>
                  <a:pt x="11" y="9"/>
                  <a:pt x="11" y="9"/>
                </a:cubicBezTo>
                <a:cubicBezTo>
                  <a:pt x="12" y="10"/>
                  <a:pt x="12" y="10"/>
                  <a:pt x="12" y="10"/>
                </a:cubicBezTo>
                <a:cubicBezTo>
                  <a:pt x="13" y="9"/>
                  <a:pt x="13" y="9"/>
                  <a:pt x="13" y="9"/>
                </a:cubicBezTo>
                <a:cubicBezTo>
                  <a:pt x="15" y="10"/>
                  <a:pt x="15" y="10"/>
                  <a:pt x="15" y="10"/>
                </a:cubicBezTo>
                <a:cubicBezTo>
                  <a:pt x="16" y="10"/>
                  <a:pt x="16" y="10"/>
                  <a:pt x="16" y="10"/>
                </a:cubicBezTo>
                <a:cubicBezTo>
                  <a:pt x="19" y="10"/>
                  <a:pt x="19" y="10"/>
                  <a:pt x="19" y="10"/>
                </a:cubicBezTo>
                <a:cubicBezTo>
                  <a:pt x="21" y="10"/>
                  <a:pt x="21" y="10"/>
                  <a:pt x="21" y="10"/>
                </a:cubicBezTo>
                <a:cubicBezTo>
                  <a:pt x="23" y="10"/>
                  <a:pt x="23" y="10"/>
                  <a:pt x="23" y="10"/>
                </a:cubicBezTo>
                <a:cubicBezTo>
                  <a:pt x="24" y="10"/>
                  <a:pt x="24" y="10"/>
                  <a:pt x="24" y="10"/>
                </a:cubicBezTo>
                <a:cubicBezTo>
                  <a:pt x="24" y="10"/>
                  <a:pt x="24" y="10"/>
                  <a:pt x="24" y="10"/>
                </a:cubicBezTo>
                <a:cubicBezTo>
                  <a:pt x="25" y="10"/>
                  <a:pt x="25" y="10"/>
                  <a:pt x="25" y="10"/>
                </a:cubicBezTo>
                <a:cubicBezTo>
                  <a:pt x="26" y="11"/>
                  <a:pt x="26" y="11"/>
                  <a:pt x="26" y="11"/>
                </a:cubicBezTo>
                <a:cubicBezTo>
                  <a:pt x="27" y="11"/>
                  <a:pt x="27" y="11"/>
                  <a:pt x="27" y="11"/>
                </a:cubicBezTo>
                <a:cubicBezTo>
                  <a:pt x="26" y="13"/>
                  <a:pt x="26" y="13"/>
                  <a:pt x="26" y="13"/>
                </a:cubicBezTo>
                <a:cubicBezTo>
                  <a:pt x="26" y="14"/>
                  <a:pt x="26" y="14"/>
                  <a:pt x="26" y="14"/>
                </a:cubicBezTo>
                <a:cubicBezTo>
                  <a:pt x="25" y="16"/>
                  <a:pt x="25" y="16"/>
                  <a:pt x="25" y="16"/>
                </a:cubicBezTo>
                <a:cubicBezTo>
                  <a:pt x="24" y="17"/>
                  <a:pt x="24" y="17"/>
                  <a:pt x="24" y="17"/>
                </a:cubicBezTo>
                <a:cubicBezTo>
                  <a:pt x="24" y="18"/>
                  <a:pt x="24" y="18"/>
                  <a:pt x="24" y="18"/>
                </a:cubicBezTo>
                <a:cubicBezTo>
                  <a:pt x="24" y="18"/>
                  <a:pt x="24" y="18"/>
                  <a:pt x="24" y="18"/>
                </a:cubicBezTo>
                <a:cubicBezTo>
                  <a:pt x="23" y="18"/>
                  <a:pt x="23" y="18"/>
                  <a:pt x="23" y="18"/>
                </a:cubicBezTo>
                <a:cubicBezTo>
                  <a:pt x="23" y="18"/>
                  <a:pt x="23" y="18"/>
                  <a:pt x="23" y="18"/>
                </a:cubicBezTo>
                <a:cubicBezTo>
                  <a:pt x="22" y="19"/>
                  <a:pt x="22" y="19"/>
                  <a:pt x="22" y="19"/>
                </a:cubicBezTo>
                <a:cubicBezTo>
                  <a:pt x="21" y="19"/>
                  <a:pt x="21" y="19"/>
                  <a:pt x="21" y="19"/>
                </a:cubicBezTo>
                <a:cubicBezTo>
                  <a:pt x="21" y="20"/>
                  <a:pt x="21" y="20"/>
                  <a:pt x="21" y="20"/>
                </a:cubicBezTo>
                <a:cubicBezTo>
                  <a:pt x="21" y="21"/>
                  <a:pt x="21" y="21"/>
                  <a:pt x="21" y="21"/>
                </a:cubicBezTo>
                <a:cubicBezTo>
                  <a:pt x="21" y="22"/>
                  <a:pt x="21" y="22"/>
                  <a:pt x="21" y="22"/>
                </a:cubicBezTo>
                <a:cubicBezTo>
                  <a:pt x="22" y="23"/>
                  <a:pt x="22" y="23"/>
                  <a:pt x="22" y="23"/>
                </a:cubicBezTo>
                <a:cubicBezTo>
                  <a:pt x="22" y="23"/>
                  <a:pt x="22" y="23"/>
                  <a:pt x="22" y="23"/>
                </a:cubicBezTo>
                <a:cubicBezTo>
                  <a:pt x="23" y="24"/>
                  <a:pt x="23" y="24"/>
                  <a:pt x="23" y="24"/>
                </a:cubicBezTo>
                <a:cubicBezTo>
                  <a:pt x="24" y="26"/>
                  <a:pt x="24" y="26"/>
                  <a:pt x="24" y="26"/>
                </a:cubicBezTo>
                <a:cubicBezTo>
                  <a:pt x="25" y="26"/>
                  <a:pt x="25" y="26"/>
                  <a:pt x="25" y="26"/>
                </a:cubicBezTo>
                <a:cubicBezTo>
                  <a:pt x="25" y="25"/>
                  <a:pt x="25" y="25"/>
                  <a:pt x="25" y="25"/>
                </a:cubicBezTo>
                <a:cubicBezTo>
                  <a:pt x="25" y="24"/>
                  <a:pt x="25" y="24"/>
                  <a:pt x="25" y="24"/>
                </a:cubicBezTo>
                <a:cubicBezTo>
                  <a:pt x="25" y="23"/>
                  <a:pt x="25" y="23"/>
                  <a:pt x="25" y="23"/>
                </a:cubicBezTo>
                <a:cubicBezTo>
                  <a:pt x="25" y="23"/>
                  <a:pt x="25" y="23"/>
                  <a:pt x="25" y="23"/>
                </a:cubicBezTo>
                <a:cubicBezTo>
                  <a:pt x="26" y="22"/>
                  <a:pt x="26" y="22"/>
                  <a:pt x="26" y="22"/>
                </a:cubicBezTo>
                <a:cubicBezTo>
                  <a:pt x="25" y="22"/>
                  <a:pt x="25" y="22"/>
                  <a:pt x="25" y="22"/>
                </a:cubicBezTo>
                <a:cubicBezTo>
                  <a:pt x="26" y="21"/>
                  <a:pt x="26" y="21"/>
                  <a:pt x="26" y="21"/>
                </a:cubicBezTo>
                <a:cubicBezTo>
                  <a:pt x="27" y="22"/>
                  <a:pt x="27" y="22"/>
                  <a:pt x="27" y="22"/>
                </a:cubicBezTo>
                <a:cubicBezTo>
                  <a:pt x="28" y="22"/>
                  <a:pt x="28" y="22"/>
                  <a:pt x="28" y="22"/>
                </a:cubicBezTo>
                <a:cubicBezTo>
                  <a:pt x="28" y="22"/>
                  <a:pt x="28" y="22"/>
                  <a:pt x="28" y="22"/>
                </a:cubicBezTo>
                <a:cubicBezTo>
                  <a:pt x="29" y="23"/>
                  <a:pt x="29" y="23"/>
                  <a:pt x="29" y="23"/>
                </a:cubicBezTo>
                <a:cubicBezTo>
                  <a:pt x="29" y="25"/>
                  <a:pt x="29" y="25"/>
                  <a:pt x="29" y="25"/>
                </a:cubicBezTo>
                <a:cubicBezTo>
                  <a:pt x="29" y="26"/>
                  <a:pt x="29" y="26"/>
                  <a:pt x="29" y="26"/>
                </a:cubicBezTo>
                <a:cubicBezTo>
                  <a:pt x="29" y="27"/>
                  <a:pt x="29" y="27"/>
                  <a:pt x="29" y="27"/>
                </a:cubicBezTo>
                <a:cubicBezTo>
                  <a:pt x="30" y="30"/>
                  <a:pt x="30" y="30"/>
                  <a:pt x="30" y="30"/>
                </a:cubicBezTo>
                <a:cubicBezTo>
                  <a:pt x="30" y="31"/>
                  <a:pt x="30" y="31"/>
                  <a:pt x="30" y="31"/>
                </a:cubicBezTo>
                <a:cubicBezTo>
                  <a:pt x="31" y="32"/>
                  <a:pt x="31" y="32"/>
                  <a:pt x="31" y="32"/>
                </a:cubicBezTo>
                <a:cubicBezTo>
                  <a:pt x="31" y="33"/>
                  <a:pt x="31" y="33"/>
                  <a:pt x="31" y="33"/>
                </a:cubicBezTo>
                <a:cubicBezTo>
                  <a:pt x="31" y="33"/>
                  <a:pt x="31" y="33"/>
                  <a:pt x="31" y="33"/>
                </a:cubicBezTo>
                <a:cubicBezTo>
                  <a:pt x="31" y="34"/>
                  <a:pt x="31" y="34"/>
                  <a:pt x="31" y="34"/>
                </a:cubicBezTo>
                <a:cubicBezTo>
                  <a:pt x="32" y="34"/>
                  <a:pt x="32" y="34"/>
                  <a:pt x="32" y="34"/>
                </a:cubicBezTo>
                <a:close/>
                <a:moveTo>
                  <a:pt x="23" y="29"/>
                </a:moveTo>
                <a:cubicBezTo>
                  <a:pt x="23" y="29"/>
                  <a:pt x="23" y="29"/>
                  <a:pt x="23" y="29"/>
                </a:cubicBezTo>
                <a:cubicBezTo>
                  <a:pt x="22" y="29"/>
                  <a:pt x="22" y="29"/>
                  <a:pt x="22" y="29"/>
                </a:cubicBezTo>
                <a:cubicBezTo>
                  <a:pt x="22" y="30"/>
                  <a:pt x="22" y="30"/>
                  <a:pt x="22" y="30"/>
                </a:cubicBezTo>
                <a:cubicBezTo>
                  <a:pt x="23" y="30"/>
                  <a:pt x="23" y="30"/>
                  <a:pt x="23" y="30"/>
                </a:cubicBezTo>
                <a:cubicBezTo>
                  <a:pt x="23" y="29"/>
                  <a:pt x="23" y="29"/>
                  <a:pt x="23" y="29"/>
                </a:cubicBezTo>
                <a:close/>
                <a:moveTo>
                  <a:pt x="20" y="29"/>
                </a:moveTo>
                <a:cubicBezTo>
                  <a:pt x="21" y="30"/>
                  <a:pt x="21" y="30"/>
                  <a:pt x="21" y="30"/>
                </a:cubicBezTo>
                <a:cubicBezTo>
                  <a:pt x="20" y="31"/>
                  <a:pt x="20" y="31"/>
                  <a:pt x="20" y="31"/>
                </a:cubicBezTo>
                <a:cubicBezTo>
                  <a:pt x="21" y="32"/>
                  <a:pt x="21" y="32"/>
                  <a:pt x="21" y="32"/>
                </a:cubicBezTo>
                <a:cubicBezTo>
                  <a:pt x="22" y="30"/>
                  <a:pt x="22" y="30"/>
                  <a:pt x="22" y="30"/>
                </a:cubicBezTo>
                <a:cubicBezTo>
                  <a:pt x="21" y="29"/>
                  <a:pt x="21" y="29"/>
                  <a:pt x="21" y="29"/>
                </a:cubicBezTo>
                <a:cubicBezTo>
                  <a:pt x="20" y="28"/>
                  <a:pt x="20" y="28"/>
                  <a:pt x="20" y="28"/>
                </a:cubicBezTo>
                <a:cubicBezTo>
                  <a:pt x="20" y="28"/>
                  <a:pt x="20" y="29"/>
                  <a:pt x="20" y="29"/>
                </a:cubicBezTo>
                <a:close/>
                <a:moveTo>
                  <a:pt x="19" y="28"/>
                </a:moveTo>
                <a:cubicBezTo>
                  <a:pt x="17" y="28"/>
                  <a:pt x="17" y="28"/>
                  <a:pt x="17" y="28"/>
                </a:cubicBezTo>
                <a:cubicBezTo>
                  <a:pt x="18" y="29"/>
                  <a:pt x="18" y="29"/>
                  <a:pt x="18" y="29"/>
                </a:cubicBezTo>
                <a:cubicBezTo>
                  <a:pt x="18" y="31"/>
                  <a:pt x="18" y="31"/>
                  <a:pt x="18" y="31"/>
                </a:cubicBezTo>
                <a:cubicBezTo>
                  <a:pt x="20" y="31"/>
                  <a:pt x="20" y="31"/>
                  <a:pt x="20" y="31"/>
                </a:cubicBezTo>
                <a:cubicBezTo>
                  <a:pt x="19" y="29"/>
                  <a:pt x="19" y="29"/>
                  <a:pt x="19" y="29"/>
                </a:cubicBezTo>
                <a:lnTo>
                  <a:pt x="19" y="28"/>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9" name="Freeform 37">
            <a:extLst>
              <a:ext uri="{FF2B5EF4-FFF2-40B4-BE49-F238E27FC236}">
                <a16:creationId xmlns:a16="http://schemas.microsoft.com/office/drawing/2014/main" id="{11CF9471-B7F1-C599-0021-134AD647234B}"/>
              </a:ext>
            </a:extLst>
          </p:cNvPr>
          <p:cNvSpPr>
            <a:spLocks/>
          </p:cNvSpPr>
          <p:nvPr userDrawn="1"/>
        </p:nvSpPr>
        <p:spPr bwMode="auto">
          <a:xfrm>
            <a:off x="18616987" y="7508157"/>
            <a:ext cx="187314" cy="111126"/>
          </a:xfrm>
          <a:custGeom>
            <a:avLst/>
            <a:gdLst>
              <a:gd name="T0" fmla="*/ 0 w 59"/>
              <a:gd name="T1" fmla="*/ 16 h 35"/>
              <a:gd name="T2" fmla="*/ 3 w 59"/>
              <a:gd name="T3" fmla="*/ 13 h 35"/>
              <a:gd name="T4" fmla="*/ 9 w 59"/>
              <a:gd name="T5" fmla="*/ 7 h 35"/>
              <a:gd name="T6" fmla="*/ 19 w 59"/>
              <a:gd name="T7" fmla="*/ 0 h 35"/>
              <a:gd name="T8" fmla="*/ 25 w 59"/>
              <a:gd name="T9" fmla="*/ 0 h 35"/>
              <a:gd name="T10" fmla="*/ 28 w 59"/>
              <a:gd name="T11" fmla="*/ 3 h 35"/>
              <a:gd name="T12" fmla="*/ 37 w 59"/>
              <a:gd name="T13" fmla="*/ 3 h 35"/>
              <a:gd name="T14" fmla="*/ 41 w 59"/>
              <a:gd name="T15" fmla="*/ 3 h 35"/>
              <a:gd name="T16" fmla="*/ 44 w 59"/>
              <a:gd name="T17" fmla="*/ 3 h 35"/>
              <a:gd name="T18" fmla="*/ 50 w 59"/>
              <a:gd name="T19" fmla="*/ 3 h 35"/>
              <a:gd name="T20" fmla="*/ 53 w 59"/>
              <a:gd name="T21" fmla="*/ 7 h 35"/>
              <a:gd name="T22" fmla="*/ 53 w 59"/>
              <a:gd name="T23" fmla="*/ 7 h 35"/>
              <a:gd name="T24" fmla="*/ 53 w 59"/>
              <a:gd name="T25" fmla="*/ 13 h 35"/>
              <a:gd name="T26" fmla="*/ 53 w 59"/>
              <a:gd name="T27" fmla="*/ 16 h 35"/>
              <a:gd name="T28" fmla="*/ 59 w 59"/>
              <a:gd name="T29" fmla="*/ 19 h 35"/>
              <a:gd name="T30" fmla="*/ 59 w 59"/>
              <a:gd name="T31" fmla="*/ 25 h 35"/>
              <a:gd name="T32" fmla="*/ 59 w 59"/>
              <a:gd name="T33" fmla="*/ 28 h 35"/>
              <a:gd name="T34" fmla="*/ 50 w 59"/>
              <a:gd name="T35" fmla="*/ 28 h 35"/>
              <a:gd name="T36" fmla="*/ 47 w 59"/>
              <a:gd name="T37" fmla="*/ 28 h 35"/>
              <a:gd name="T38" fmla="*/ 37 w 59"/>
              <a:gd name="T39" fmla="*/ 32 h 35"/>
              <a:gd name="T40" fmla="*/ 34 w 59"/>
              <a:gd name="T41" fmla="*/ 28 h 35"/>
              <a:gd name="T42" fmla="*/ 31 w 59"/>
              <a:gd name="T43" fmla="*/ 32 h 35"/>
              <a:gd name="T44" fmla="*/ 28 w 59"/>
              <a:gd name="T45" fmla="*/ 35 h 35"/>
              <a:gd name="T46" fmla="*/ 22 w 59"/>
              <a:gd name="T47" fmla="*/ 35 h 35"/>
              <a:gd name="T48" fmla="*/ 12 w 59"/>
              <a:gd name="T49" fmla="*/ 28 h 35"/>
              <a:gd name="T50" fmla="*/ 9 w 59"/>
              <a:gd name="T51" fmla="*/ 32 h 35"/>
              <a:gd name="T52" fmla="*/ 3 w 59"/>
              <a:gd name="T53" fmla="*/ 28 h 35"/>
              <a:gd name="T54" fmla="*/ 0 w 59"/>
              <a:gd name="T55" fmla="*/ 25 h 35"/>
              <a:gd name="T56" fmla="*/ 0 w 59"/>
              <a:gd name="T57" fmla="*/ 19 h 35"/>
              <a:gd name="T58" fmla="*/ 0 w 59"/>
              <a:gd name="T59" fmla="*/ 1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9" h="35">
                <a:moveTo>
                  <a:pt x="0" y="16"/>
                </a:moveTo>
                <a:lnTo>
                  <a:pt x="3" y="13"/>
                </a:lnTo>
                <a:lnTo>
                  <a:pt x="9" y="7"/>
                </a:lnTo>
                <a:lnTo>
                  <a:pt x="19" y="0"/>
                </a:lnTo>
                <a:lnTo>
                  <a:pt x="25" y="0"/>
                </a:lnTo>
                <a:lnTo>
                  <a:pt x="28" y="3"/>
                </a:lnTo>
                <a:lnTo>
                  <a:pt x="37" y="3"/>
                </a:lnTo>
                <a:lnTo>
                  <a:pt x="41" y="3"/>
                </a:lnTo>
                <a:lnTo>
                  <a:pt x="44" y="3"/>
                </a:lnTo>
                <a:lnTo>
                  <a:pt x="50" y="3"/>
                </a:lnTo>
                <a:lnTo>
                  <a:pt x="53" y="7"/>
                </a:lnTo>
                <a:lnTo>
                  <a:pt x="53" y="7"/>
                </a:lnTo>
                <a:lnTo>
                  <a:pt x="53" y="13"/>
                </a:lnTo>
                <a:lnTo>
                  <a:pt x="53" y="16"/>
                </a:lnTo>
                <a:lnTo>
                  <a:pt x="59" y="19"/>
                </a:lnTo>
                <a:lnTo>
                  <a:pt x="59" y="25"/>
                </a:lnTo>
                <a:lnTo>
                  <a:pt x="59" y="28"/>
                </a:lnTo>
                <a:lnTo>
                  <a:pt x="50" y="28"/>
                </a:lnTo>
                <a:lnTo>
                  <a:pt x="47" y="28"/>
                </a:lnTo>
                <a:lnTo>
                  <a:pt x="37" y="32"/>
                </a:lnTo>
                <a:lnTo>
                  <a:pt x="34" y="28"/>
                </a:lnTo>
                <a:lnTo>
                  <a:pt x="31" y="32"/>
                </a:lnTo>
                <a:lnTo>
                  <a:pt x="28" y="35"/>
                </a:lnTo>
                <a:lnTo>
                  <a:pt x="22" y="35"/>
                </a:lnTo>
                <a:lnTo>
                  <a:pt x="12" y="28"/>
                </a:lnTo>
                <a:lnTo>
                  <a:pt x="9" y="32"/>
                </a:lnTo>
                <a:lnTo>
                  <a:pt x="3" y="28"/>
                </a:lnTo>
                <a:lnTo>
                  <a:pt x="0" y="25"/>
                </a:lnTo>
                <a:lnTo>
                  <a:pt x="0" y="19"/>
                </a:lnTo>
                <a:lnTo>
                  <a:pt x="0" y="1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0" name="Freeform 38">
            <a:extLst>
              <a:ext uri="{FF2B5EF4-FFF2-40B4-BE49-F238E27FC236}">
                <a16:creationId xmlns:a16="http://schemas.microsoft.com/office/drawing/2014/main" id="{F14DD383-CD13-C224-A9E6-3BFF9D6B5D46}"/>
              </a:ext>
            </a:extLst>
          </p:cNvPr>
          <p:cNvSpPr>
            <a:spLocks/>
          </p:cNvSpPr>
          <p:nvPr userDrawn="1"/>
        </p:nvSpPr>
        <p:spPr bwMode="auto">
          <a:xfrm>
            <a:off x="18061397" y="7358932"/>
            <a:ext cx="514317" cy="279400"/>
          </a:xfrm>
          <a:custGeom>
            <a:avLst/>
            <a:gdLst>
              <a:gd name="T0" fmla="*/ 9 w 162"/>
              <a:gd name="T1" fmla="*/ 0 h 88"/>
              <a:gd name="T2" fmla="*/ 16 w 162"/>
              <a:gd name="T3" fmla="*/ 7 h 88"/>
              <a:gd name="T4" fmla="*/ 22 w 162"/>
              <a:gd name="T5" fmla="*/ 7 h 88"/>
              <a:gd name="T6" fmla="*/ 28 w 162"/>
              <a:gd name="T7" fmla="*/ 4 h 88"/>
              <a:gd name="T8" fmla="*/ 37 w 162"/>
              <a:gd name="T9" fmla="*/ 10 h 88"/>
              <a:gd name="T10" fmla="*/ 47 w 162"/>
              <a:gd name="T11" fmla="*/ 10 h 88"/>
              <a:gd name="T12" fmla="*/ 56 w 162"/>
              <a:gd name="T13" fmla="*/ 16 h 88"/>
              <a:gd name="T14" fmla="*/ 62 w 162"/>
              <a:gd name="T15" fmla="*/ 22 h 88"/>
              <a:gd name="T16" fmla="*/ 66 w 162"/>
              <a:gd name="T17" fmla="*/ 29 h 88"/>
              <a:gd name="T18" fmla="*/ 69 w 162"/>
              <a:gd name="T19" fmla="*/ 22 h 88"/>
              <a:gd name="T20" fmla="*/ 72 w 162"/>
              <a:gd name="T21" fmla="*/ 22 h 88"/>
              <a:gd name="T22" fmla="*/ 81 w 162"/>
              <a:gd name="T23" fmla="*/ 25 h 88"/>
              <a:gd name="T24" fmla="*/ 87 w 162"/>
              <a:gd name="T25" fmla="*/ 35 h 88"/>
              <a:gd name="T26" fmla="*/ 97 w 162"/>
              <a:gd name="T27" fmla="*/ 35 h 88"/>
              <a:gd name="T28" fmla="*/ 100 w 162"/>
              <a:gd name="T29" fmla="*/ 47 h 88"/>
              <a:gd name="T30" fmla="*/ 109 w 162"/>
              <a:gd name="T31" fmla="*/ 47 h 88"/>
              <a:gd name="T32" fmla="*/ 116 w 162"/>
              <a:gd name="T33" fmla="*/ 44 h 88"/>
              <a:gd name="T34" fmla="*/ 125 w 162"/>
              <a:gd name="T35" fmla="*/ 41 h 88"/>
              <a:gd name="T36" fmla="*/ 131 w 162"/>
              <a:gd name="T37" fmla="*/ 50 h 88"/>
              <a:gd name="T38" fmla="*/ 141 w 162"/>
              <a:gd name="T39" fmla="*/ 57 h 88"/>
              <a:gd name="T40" fmla="*/ 150 w 162"/>
              <a:gd name="T41" fmla="*/ 57 h 88"/>
              <a:gd name="T42" fmla="*/ 156 w 162"/>
              <a:gd name="T43" fmla="*/ 54 h 88"/>
              <a:gd name="T44" fmla="*/ 162 w 162"/>
              <a:gd name="T45" fmla="*/ 60 h 88"/>
              <a:gd name="T46" fmla="*/ 162 w 162"/>
              <a:gd name="T47" fmla="*/ 75 h 88"/>
              <a:gd name="T48" fmla="*/ 150 w 162"/>
              <a:gd name="T49" fmla="*/ 88 h 88"/>
              <a:gd name="T50" fmla="*/ 137 w 162"/>
              <a:gd name="T51" fmla="*/ 85 h 88"/>
              <a:gd name="T52" fmla="*/ 116 w 162"/>
              <a:gd name="T53" fmla="*/ 79 h 88"/>
              <a:gd name="T54" fmla="*/ 100 w 162"/>
              <a:gd name="T55" fmla="*/ 79 h 88"/>
              <a:gd name="T56" fmla="*/ 94 w 162"/>
              <a:gd name="T57" fmla="*/ 69 h 88"/>
              <a:gd name="T58" fmla="*/ 75 w 162"/>
              <a:gd name="T59" fmla="*/ 69 h 88"/>
              <a:gd name="T60" fmla="*/ 62 w 162"/>
              <a:gd name="T61" fmla="*/ 69 h 88"/>
              <a:gd name="T62" fmla="*/ 50 w 162"/>
              <a:gd name="T63" fmla="*/ 63 h 88"/>
              <a:gd name="T64" fmla="*/ 37 w 162"/>
              <a:gd name="T65" fmla="*/ 60 h 88"/>
              <a:gd name="T66" fmla="*/ 22 w 162"/>
              <a:gd name="T67" fmla="*/ 47 h 88"/>
              <a:gd name="T68" fmla="*/ 12 w 162"/>
              <a:gd name="T69" fmla="*/ 41 h 88"/>
              <a:gd name="T70" fmla="*/ 6 w 162"/>
              <a:gd name="T71" fmla="*/ 38 h 88"/>
              <a:gd name="T72" fmla="*/ 0 w 162"/>
              <a:gd name="T73" fmla="*/ 35 h 88"/>
              <a:gd name="T74" fmla="*/ 6 w 162"/>
              <a:gd name="T75" fmla="*/ 19 h 88"/>
              <a:gd name="T76" fmla="*/ 6 w 162"/>
              <a:gd name="T77" fmla="*/ 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88">
                <a:moveTo>
                  <a:pt x="6" y="4"/>
                </a:moveTo>
                <a:lnTo>
                  <a:pt x="9" y="0"/>
                </a:lnTo>
                <a:lnTo>
                  <a:pt x="16" y="4"/>
                </a:lnTo>
                <a:lnTo>
                  <a:pt x="16" y="7"/>
                </a:lnTo>
                <a:lnTo>
                  <a:pt x="19" y="7"/>
                </a:lnTo>
                <a:lnTo>
                  <a:pt x="22" y="7"/>
                </a:lnTo>
                <a:lnTo>
                  <a:pt x="25" y="4"/>
                </a:lnTo>
                <a:lnTo>
                  <a:pt x="28" y="4"/>
                </a:lnTo>
                <a:lnTo>
                  <a:pt x="37" y="7"/>
                </a:lnTo>
                <a:lnTo>
                  <a:pt x="37" y="10"/>
                </a:lnTo>
                <a:lnTo>
                  <a:pt x="44" y="10"/>
                </a:lnTo>
                <a:lnTo>
                  <a:pt x="47" y="10"/>
                </a:lnTo>
                <a:lnTo>
                  <a:pt x="53" y="16"/>
                </a:lnTo>
                <a:lnTo>
                  <a:pt x="56" y="16"/>
                </a:lnTo>
                <a:lnTo>
                  <a:pt x="59" y="19"/>
                </a:lnTo>
                <a:lnTo>
                  <a:pt x="62" y="22"/>
                </a:lnTo>
                <a:lnTo>
                  <a:pt x="66" y="25"/>
                </a:lnTo>
                <a:lnTo>
                  <a:pt x="66" y="29"/>
                </a:lnTo>
                <a:lnTo>
                  <a:pt x="69" y="29"/>
                </a:lnTo>
                <a:lnTo>
                  <a:pt x="69" y="22"/>
                </a:lnTo>
                <a:lnTo>
                  <a:pt x="72" y="22"/>
                </a:lnTo>
                <a:lnTo>
                  <a:pt x="72" y="22"/>
                </a:lnTo>
                <a:lnTo>
                  <a:pt x="78" y="22"/>
                </a:lnTo>
                <a:lnTo>
                  <a:pt x="81" y="25"/>
                </a:lnTo>
                <a:lnTo>
                  <a:pt x="81" y="32"/>
                </a:lnTo>
                <a:lnTo>
                  <a:pt x="87" y="35"/>
                </a:lnTo>
                <a:lnTo>
                  <a:pt x="94" y="35"/>
                </a:lnTo>
                <a:lnTo>
                  <a:pt x="97" y="35"/>
                </a:lnTo>
                <a:lnTo>
                  <a:pt x="97" y="41"/>
                </a:lnTo>
                <a:lnTo>
                  <a:pt x="100" y="47"/>
                </a:lnTo>
                <a:lnTo>
                  <a:pt x="103" y="47"/>
                </a:lnTo>
                <a:lnTo>
                  <a:pt x="109" y="47"/>
                </a:lnTo>
                <a:lnTo>
                  <a:pt x="109" y="47"/>
                </a:lnTo>
                <a:lnTo>
                  <a:pt x="116" y="44"/>
                </a:lnTo>
                <a:lnTo>
                  <a:pt x="119" y="41"/>
                </a:lnTo>
                <a:lnTo>
                  <a:pt x="125" y="41"/>
                </a:lnTo>
                <a:lnTo>
                  <a:pt x="131" y="44"/>
                </a:lnTo>
                <a:lnTo>
                  <a:pt x="131" y="50"/>
                </a:lnTo>
                <a:lnTo>
                  <a:pt x="137" y="50"/>
                </a:lnTo>
                <a:lnTo>
                  <a:pt x="141" y="57"/>
                </a:lnTo>
                <a:lnTo>
                  <a:pt x="144" y="57"/>
                </a:lnTo>
                <a:lnTo>
                  <a:pt x="150" y="57"/>
                </a:lnTo>
                <a:lnTo>
                  <a:pt x="150" y="57"/>
                </a:lnTo>
                <a:lnTo>
                  <a:pt x="156" y="54"/>
                </a:lnTo>
                <a:lnTo>
                  <a:pt x="159" y="54"/>
                </a:lnTo>
                <a:lnTo>
                  <a:pt x="162" y="60"/>
                </a:lnTo>
                <a:lnTo>
                  <a:pt x="159" y="69"/>
                </a:lnTo>
                <a:lnTo>
                  <a:pt x="162" y="75"/>
                </a:lnTo>
                <a:lnTo>
                  <a:pt x="162" y="85"/>
                </a:lnTo>
                <a:lnTo>
                  <a:pt x="150" y="88"/>
                </a:lnTo>
                <a:lnTo>
                  <a:pt x="144" y="85"/>
                </a:lnTo>
                <a:lnTo>
                  <a:pt x="137" y="85"/>
                </a:lnTo>
                <a:lnTo>
                  <a:pt x="122" y="79"/>
                </a:lnTo>
                <a:lnTo>
                  <a:pt x="116" y="79"/>
                </a:lnTo>
                <a:lnTo>
                  <a:pt x="112" y="82"/>
                </a:lnTo>
                <a:lnTo>
                  <a:pt x="100" y="79"/>
                </a:lnTo>
                <a:lnTo>
                  <a:pt x="97" y="75"/>
                </a:lnTo>
                <a:lnTo>
                  <a:pt x="94" y="69"/>
                </a:lnTo>
                <a:lnTo>
                  <a:pt x="84" y="66"/>
                </a:lnTo>
                <a:lnTo>
                  <a:pt x="75" y="69"/>
                </a:lnTo>
                <a:lnTo>
                  <a:pt x="72" y="66"/>
                </a:lnTo>
                <a:lnTo>
                  <a:pt x="62" y="69"/>
                </a:lnTo>
                <a:lnTo>
                  <a:pt x="56" y="63"/>
                </a:lnTo>
                <a:lnTo>
                  <a:pt x="50" y="63"/>
                </a:lnTo>
                <a:lnTo>
                  <a:pt x="47" y="60"/>
                </a:lnTo>
                <a:lnTo>
                  <a:pt x="37" y="60"/>
                </a:lnTo>
                <a:lnTo>
                  <a:pt x="31" y="50"/>
                </a:lnTo>
                <a:lnTo>
                  <a:pt x="22" y="47"/>
                </a:lnTo>
                <a:lnTo>
                  <a:pt x="16" y="44"/>
                </a:lnTo>
                <a:lnTo>
                  <a:pt x="12" y="41"/>
                </a:lnTo>
                <a:lnTo>
                  <a:pt x="9" y="41"/>
                </a:lnTo>
                <a:lnTo>
                  <a:pt x="6" y="38"/>
                </a:lnTo>
                <a:lnTo>
                  <a:pt x="3" y="38"/>
                </a:lnTo>
                <a:lnTo>
                  <a:pt x="0" y="35"/>
                </a:lnTo>
                <a:lnTo>
                  <a:pt x="6" y="25"/>
                </a:lnTo>
                <a:lnTo>
                  <a:pt x="6" y="19"/>
                </a:lnTo>
                <a:lnTo>
                  <a:pt x="9" y="10"/>
                </a:lnTo>
                <a:lnTo>
                  <a:pt x="6" y="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1" name="Freeform 39">
            <a:extLst>
              <a:ext uri="{FF2B5EF4-FFF2-40B4-BE49-F238E27FC236}">
                <a16:creationId xmlns:a16="http://schemas.microsoft.com/office/drawing/2014/main" id="{E1CD081F-6D7B-1DAE-9FD8-3557668C3584}"/>
              </a:ext>
            </a:extLst>
          </p:cNvPr>
          <p:cNvSpPr>
            <a:spLocks/>
          </p:cNvSpPr>
          <p:nvPr userDrawn="1"/>
        </p:nvSpPr>
        <p:spPr bwMode="auto">
          <a:xfrm>
            <a:off x="16880371" y="6904907"/>
            <a:ext cx="863544" cy="952502"/>
          </a:xfrm>
          <a:custGeom>
            <a:avLst/>
            <a:gdLst>
              <a:gd name="T0" fmla="*/ 163 w 272"/>
              <a:gd name="T1" fmla="*/ 287 h 300"/>
              <a:gd name="T2" fmla="*/ 184 w 272"/>
              <a:gd name="T3" fmla="*/ 284 h 300"/>
              <a:gd name="T4" fmla="*/ 197 w 272"/>
              <a:gd name="T5" fmla="*/ 281 h 300"/>
              <a:gd name="T6" fmla="*/ 206 w 272"/>
              <a:gd name="T7" fmla="*/ 278 h 300"/>
              <a:gd name="T8" fmla="*/ 200 w 272"/>
              <a:gd name="T9" fmla="*/ 253 h 300"/>
              <a:gd name="T10" fmla="*/ 184 w 272"/>
              <a:gd name="T11" fmla="*/ 240 h 300"/>
              <a:gd name="T12" fmla="*/ 178 w 272"/>
              <a:gd name="T13" fmla="*/ 231 h 300"/>
              <a:gd name="T14" fmla="*/ 172 w 272"/>
              <a:gd name="T15" fmla="*/ 215 h 300"/>
              <a:gd name="T16" fmla="*/ 184 w 272"/>
              <a:gd name="T17" fmla="*/ 203 h 300"/>
              <a:gd name="T18" fmla="*/ 194 w 272"/>
              <a:gd name="T19" fmla="*/ 206 h 300"/>
              <a:gd name="T20" fmla="*/ 222 w 272"/>
              <a:gd name="T21" fmla="*/ 184 h 300"/>
              <a:gd name="T22" fmla="*/ 241 w 272"/>
              <a:gd name="T23" fmla="*/ 159 h 300"/>
              <a:gd name="T24" fmla="*/ 247 w 272"/>
              <a:gd name="T25" fmla="*/ 147 h 300"/>
              <a:gd name="T26" fmla="*/ 256 w 272"/>
              <a:gd name="T27" fmla="*/ 125 h 300"/>
              <a:gd name="T28" fmla="*/ 263 w 272"/>
              <a:gd name="T29" fmla="*/ 109 h 300"/>
              <a:gd name="T30" fmla="*/ 272 w 272"/>
              <a:gd name="T31" fmla="*/ 96 h 300"/>
              <a:gd name="T32" fmla="*/ 253 w 272"/>
              <a:gd name="T33" fmla="*/ 90 h 300"/>
              <a:gd name="T34" fmla="*/ 231 w 272"/>
              <a:gd name="T35" fmla="*/ 75 h 300"/>
              <a:gd name="T36" fmla="*/ 228 w 272"/>
              <a:gd name="T37" fmla="*/ 46 h 300"/>
              <a:gd name="T38" fmla="*/ 228 w 272"/>
              <a:gd name="T39" fmla="*/ 34 h 300"/>
              <a:gd name="T40" fmla="*/ 213 w 272"/>
              <a:gd name="T41" fmla="*/ 18 h 300"/>
              <a:gd name="T42" fmla="*/ 203 w 272"/>
              <a:gd name="T43" fmla="*/ 9 h 300"/>
              <a:gd name="T44" fmla="*/ 200 w 272"/>
              <a:gd name="T45" fmla="*/ 0 h 300"/>
              <a:gd name="T46" fmla="*/ 181 w 272"/>
              <a:gd name="T47" fmla="*/ 12 h 300"/>
              <a:gd name="T48" fmla="*/ 175 w 272"/>
              <a:gd name="T49" fmla="*/ 46 h 300"/>
              <a:gd name="T50" fmla="*/ 169 w 272"/>
              <a:gd name="T51" fmla="*/ 65 h 300"/>
              <a:gd name="T52" fmla="*/ 163 w 272"/>
              <a:gd name="T53" fmla="*/ 71 h 300"/>
              <a:gd name="T54" fmla="*/ 156 w 272"/>
              <a:gd name="T55" fmla="*/ 84 h 300"/>
              <a:gd name="T56" fmla="*/ 153 w 272"/>
              <a:gd name="T57" fmla="*/ 103 h 300"/>
              <a:gd name="T58" fmla="*/ 144 w 272"/>
              <a:gd name="T59" fmla="*/ 112 h 300"/>
              <a:gd name="T60" fmla="*/ 134 w 272"/>
              <a:gd name="T61" fmla="*/ 115 h 300"/>
              <a:gd name="T62" fmla="*/ 125 w 272"/>
              <a:gd name="T63" fmla="*/ 125 h 300"/>
              <a:gd name="T64" fmla="*/ 109 w 272"/>
              <a:gd name="T65" fmla="*/ 131 h 300"/>
              <a:gd name="T66" fmla="*/ 100 w 272"/>
              <a:gd name="T67" fmla="*/ 140 h 300"/>
              <a:gd name="T68" fmla="*/ 103 w 272"/>
              <a:gd name="T69" fmla="*/ 159 h 300"/>
              <a:gd name="T70" fmla="*/ 81 w 272"/>
              <a:gd name="T71" fmla="*/ 168 h 300"/>
              <a:gd name="T72" fmla="*/ 56 w 272"/>
              <a:gd name="T73" fmla="*/ 172 h 300"/>
              <a:gd name="T74" fmla="*/ 0 w 272"/>
              <a:gd name="T75" fmla="*/ 165 h 300"/>
              <a:gd name="T76" fmla="*/ 22 w 272"/>
              <a:gd name="T77" fmla="*/ 193 h 300"/>
              <a:gd name="T78" fmla="*/ 34 w 272"/>
              <a:gd name="T79" fmla="*/ 200 h 300"/>
              <a:gd name="T80" fmla="*/ 41 w 272"/>
              <a:gd name="T81" fmla="*/ 215 h 300"/>
              <a:gd name="T82" fmla="*/ 53 w 272"/>
              <a:gd name="T83" fmla="*/ 231 h 300"/>
              <a:gd name="T84" fmla="*/ 34 w 272"/>
              <a:gd name="T85" fmla="*/ 234 h 300"/>
              <a:gd name="T86" fmla="*/ 22 w 272"/>
              <a:gd name="T87" fmla="*/ 250 h 300"/>
              <a:gd name="T88" fmla="*/ 25 w 272"/>
              <a:gd name="T89" fmla="*/ 265 h 300"/>
              <a:gd name="T90" fmla="*/ 37 w 272"/>
              <a:gd name="T91" fmla="*/ 265 h 300"/>
              <a:gd name="T92" fmla="*/ 47 w 272"/>
              <a:gd name="T93" fmla="*/ 262 h 300"/>
              <a:gd name="T94" fmla="*/ 56 w 272"/>
              <a:gd name="T95" fmla="*/ 262 h 300"/>
              <a:gd name="T96" fmla="*/ 66 w 272"/>
              <a:gd name="T97" fmla="*/ 262 h 300"/>
              <a:gd name="T98" fmla="*/ 72 w 272"/>
              <a:gd name="T99" fmla="*/ 262 h 300"/>
              <a:gd name="T100" fmla="*/ 87 w 272"/>
              <a:gd name="T101" fmla="*/ 259 h 300"/>
              <a:gd name="T102" fmla="*/ 97 w 272"/>
              <a:gd name="T103" fmla="*/ 259 h 300"/>
              <a:gd name="T104" fmla="*/ 116 w 272"/>
              <a:gd name="T105" fmla="*/ 259 h 300"/>
              <a:gd name="T106" fmla="*/ 122 w 272"/>
              <a:gd name="T107" fmla="*/ 269 h 300"/>
              <a:gd name="T108" fmla="*/ 128 w 272"/>
              <a:gd name="T109" fmla="*/ 269 h 300"/>
              <a:gd name="T110" fmla="*/ 134 w 272"/>
              <a:gd name="T111" fmla="*/ 284 h 300"/>
              <a:gd name="T112" fmla="*/ 137 w 272"/>
              <a:gd name="T113" fmla="*/ 290 h 300"/>
              <a:gd name="T114" fmla="*/ 153 w 272"/>
              <a:gd name="T115" fmla="*/ 29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2" h="300">
                <a:moveTo>
                  <a:pt x="156" y="297"/>
                </a:moveTo>
                <a:lnTo>
                  <a:pt x="156" y="290"/>
                </a:lnTo>
                <a:lnTo>
                  <a:pt x="159" y="290"/>
                </a:lnTo>
                <a:lnTo>
                  <a:pt x="163" y="287"/>
                </a:lnTo>
                <a:lnTo>
                  <a:pt x="166" y="284"/>
                </a:lnTo>
                <a:lnTo>
                  <a:pt x="169" y="284"/>
                </a:lnTo>
                <a:lnTo>
                  <a:pt x="172" y="281"/>
                </a:lnTo>
                <a:lnTo>
                  <a:pt x="184" y="284"/>
                </a:lnTo>
                <a:lnTo>
                  <a:pt x="194" y="281"/>
                </a:lnTo>
                <a:lnTo>
                  <a:pt x="194" y="278"/>
                </a:lnTo>
                <a:lnTo>
                  <a:pt x="200" y="278"/>
                </a:lnTo>
                <a:lnTo>
                  <a:pt x="197" y="281"/>
                </a:lnTo>
                <a:lnTo>
                  <a:pt x="200" y="281"/>
                </a:lnTo>
                <a:lnTo>
                  <a:pt x="203" y="281"/>
                </a:lnTo>
                <a:lnTo>
                  <a:pt x="206" y="278"/>
                </a:lnTo>
                <a:lnTo>
                  <a:pt x="206" y="278"/>
                </a:lnTo>
                <a:lnTo>
                  <a:pt x="206" y="275"/>
                </a:lnTo>
                <a:lnTo>
                  <a:pt x="203" y="262"/>
                </a:lnTo>
                <a:lnTo>
                  <a:pt x="197" y="256"/>
                </a:lnTo>
                <a:lnTo>
                  <a:pt x="200" y="253"/>
                </a:lnTo>
                <a:lnTo>
                  <a:pt x="197" y="250"/>
                </a:lnTo>
                <a:lnTo>
                  <a:pt x="194" y="253"/>
                </a:lnTo>
                <a:lnTo>
                  <a:pt x="188" y="247"/>
                </a:lnTo>
                <a:lnTo>
                  <a:pt x="184" y="240"/>
                </a:lnTo>
                <a:lnTo>
                  <a:pt x="184" y="234"/>
                </a:lnTo>
                <a:lnTo>
                  <a:pt x="181" y="228"/>
                </a:lnTo>
                <a:lnTo>
                  <a:pt x="178" y="228"/>
                </a:lnTo>
                <a:lnTo>
                  <a:pt x="178" y="231"/>
                </a:lnTo>
                <a:lnTo>
                  <a:pt x="172" y="228"/>
                </a:lnTo>
                <a:lnTo>
                  <a:pt x="169" y="228"/>
                </a:lnTo>
                <a:lnTo>
                  <a:pt x="169" y="225"/>
                </a:lnTo>
                <a:lnTo>
                  <a:pt x="172" y="215"/>
                </a:lnTo>
                <a:lnTo>
                  <a:pt x="175" y="215"/>
                </a:lnTo>
                <a:lnTo>
                  <a:pt x="181" y="206"/>
                </a:lnTo>
                <a:lnTo>
                  <a:pt x="181" y="203"/>
                </a:lnTo>
                <a:lnTo>
                  <a:pt x="184" y="203"/>
                </a:lnTo>
                <a:lnTo>
                  <a:pt x="188" y="200"/>
                </a:lnTo>
                <a:lnTo>
                  <a:pt x="191" y="203"/>
                </a:lnTo>
                <a:lnTo>
                  <a:pt x="194" y="206"/>
                </a:lnTo>
                <a:lnTo>
                  <a:pt x="194" y="206"/>
                </a:lnTo>
                <a:lnTo>
                  <a:pt x="203" y="203"/>
                </a:lnTo>
                <a:lnTo>
                  <a:pt x="213" y="203"/>
                </a:lnTo>
                <a:lnTo>
                  <a:pt x="219" y="197"/>
                </a:lnTo>
                <a:lnTo>
                  <a:pt x="222" y="184"/>
                </a:lnTo>
                <a:lnTo>
                  <a:pt x="231" y="178"/>
                </a:lnTo>
                <a:lnTo>
                  <a:pt x="234" y="172"/>
                </a:lnTo>
                <a:lnTo>
                  <a:pt x="234" y="165"/>
                </a:lnTo>
                <a:lnTo>
                  <a:pt x="241" y="159"/>
                </a:lnTo>
                <a:lnTo>
                  <a:pt x="247" y="156"/>
                </a:lnTo>
                <a:lnTo>
                  <a:pt x="247" y="153"/>
                </a:lnTo>
                <a:lnTo>
                  <a:pt x="247" y="150"/>
                </a:lnTo>
                <a:lnTo>
                  <a:pt x="247" y="147"/>
                </a:lnTo>
                <a:lnTo>
                  <a:pt x="250" y="140"/>
                </a:lnTo>
                <a:lnTo>
                  <a:pt x="253" y="137"/>
                </a:lnTo>
                <a:lnTo>
                  <a:pt x="253" y="134"/>
                </a:lnTo>
                <a:lnTo>
                  <a:pt x="256" y="125"/>
                </a:lnTo>
                <a:lnTo>
                  <a:pt x="253" y="115"/>
                </a:lnTo>
                <a:lnTo>
                  <a:pt x="253" y="115"/>
                </a:lnTo>
                <a:lnTo>
                  <a:pt x="259" y="109"/>
                </a:lnTo>
                <a:lnTo>
                  <a:pt x="263" y="109"/>
                </a:lnTo>
                <a:lnTo>
                  <a:pt x="266" y="106"/>
                </a:lnTo>
                <a:lnTo>
                  <a:pt x="269" y="106"/>
                </a:lnTo>
                <a:lnTo>
                  <a:pt x="272" y="103"/>
                </a:lnTo>
                <a:lnTo>
                  <a:pt x="272" y="96"/>
                </a:lnTo>
                <a:lnTo>
                  <a:pt x="266" y="96"/>
                </a:lnTo>
                <a:lnTo>
                  <a:pt x="263" y="96"/>
                </a:lnTo>
                <a:lnTo>
                  <a:pt x="256" y="96"/>
                </a:lnTo>
                <a:lnTo>
                  <a:pt x="253" y="90"/>
                </a:lnTo>
                <a:lnTo>
                  <a:pt x="247" y="87"/>
                </a:lnTo>
                <a:lnTo>
                  <a:pt x="241" y="87"/>
                </a:lnTo>
                <a:lnTo>
                  <a:pt x="231" y="81"/>
                </a:lnTo>
                <a:lnTo>
                  <a:pt x="231" y="75"/>
                </a:lnTo>
                <a:lnTo>
                  <a:pt x="228" y="62"/>
                </a:lnTo>
                <a:lnTo>
                  <a:pt x="225" y="56"/>
                </a:lnTo>
                <a:lnTo>
                  <a:pt x="225" y="50"/>
                </a:lnTo>
                <a:lnTo>
                  <a:pt x="228" y="46"/>
                </a:lnTo>
                <a:lnTo>
                  <a:pt x="228" y="43"/>
                </a:lnTo>
                <a:lnTo>
                  <a:pt x="234" y="40"/>
                </a:lnTo>
                <a:lnTo>
                  <a:pt x="234" y="37"/>
                </a:lnTo>
                <a:lnTo>
                  <a:pt x="228" y="34"/>
                </a:lnTo>
                <a:lnTo>
                  <a:pt x="228" y="31"/>
                </a:lnTo>
                <a:lnTo>
                  <a:pt x="222" y="28"/>
                </a:lnTo>
                <a:lnTo>
                  <a:pt x="216" y="21"/>
                </a:lnTo>
                <a:lnTo>
                  <a:pt x="213" y="18"/>
                </a:lnTo>
                <a:lnTo>
                  <a:pt x="209" y="18"/>
                </a:lnTo>
                <a:lnTo>
                  <a:pt x="206" y="21"/>
                </a:lnTo>
                <a:lnTo>
                  <a:pt x="203" y="18"/>
                </a:lnTo>
                <a:lnTo>
                  <a:pt x="203" y="9"/>
                </a:lnTo>
                <a:lnTo>
                  <a:pt x="213" y="3"/>
                </a:lnTo>
                <a:lnTo>
                  <a:pt x="209" y="0"/>
                </a:lnTo>
                <a:lnTo>
                  <a:pt x="206" y="0"/>
                </a:lnTo>
                <a:lnTo>
                  <a:pt x="200" y="0"/>
                </a:lnTo>
                <a:lnTo>
                  <a:pt x="194" y="3"/>
                </a:lnTo>
                <a:lnTo>
                  <a:pt x="188" y="6"/>
                </a:lnTo>
                <a:lnTo>
                  <a:pt x="184" y="6"/>
                </a:lnTo>
                <a:lnTo>
                  <a:pt x="181" y="12"/>
                </a:lnTo>
                <a:lnTo>
                  <a:pt x="178" y="15"/>
                </a:lnTo>
                <a:lnTo>
                  <a:pt x="184" y="28"/>
                </a:lnTo>
                <a:lnTo>
                  <a:pt x="184" y="34"/>
                </a:lnTo>
                <a:lnTo>
                  <a:pt x="175" y="46"/>
                </a:lnTo>
                <a:lnTo>
                  <a:pt x="181" y="53"/>
                </a:lnTo>
                <a:lnTo>
                  <a:pt x="181" y="59"/>
                </a:lnTo>
                <a:lnTo>
                  <a:pt x="175" y="65"/>
                </a:lnTo>
                <a:lnTo>
                  <a:pt x="169" y="65"/>
                </a:lnTo>
                <a:lnTo>
                  <a:pt x="163" y="62"/>
                </a:lnTo>
                <a:lnTo>
                  <a:pt x="156" y="65"/>
                </a:lnTo>
                <a:lnTo>
                  <a:pt x="159" y="71"/>
                </a:lnTo>
                <a:lnTo>
                  <a:pt x="163" y="71"/>
                </a:lnTo>
                <a:lnTo>
                  <a:pt x="166" y="78"/>
                </a:lnTo>
                <a:lnTo>
                  <a:pt x="166" y="81"/>
                </a:lnTo>
                <a:lnTo>
                  <a:pt x="159" y="84"/>
                </a:lnTo>
                <a:lnTo>
                  <a:pt x="156" y="84"/>
                </a:lnTo>
                <a:lnTo>
                  <a:pt x="153" y="87"/>
                </a:lnTo>
                <a:lnTo>
                  <a:pt x="153" y="93"/>
                </a:lnTo>
                <a:lnTo>
                  <a:pt x="153" y="100"/>
                </a:lnTo>
                <a:lnTo>
                  <a:pt x="153" y="103"/>
                </a:lnTo>
                <a:lnTo>
                  <a:pt x="150" y="103"/>
                </a:lnTo>
                <a:lnTo>
                  <a:pt x="153" y="112"/>
                </a:lnTo>
                <a:lnTo>
                  <a:pt x="147" y="118"/>
                </a:lnTo>
                <a:lnTo>
                  <a:pt x="144" y="112"/>
                </a:lnTo>
                <a:lnTo>
                  <a:pt x="141" y="112"/>
                </a:lnTo>
                <a:lnTo>
                  <a:pt x="141" y="115"/>
                </a:lnTo>
                <a:lnTo>
                  <a:pt x="137" y="115"/>
                </a:lnTo>
                <a:lnTo>
                  <a:pt x="134" y="115"/>
                </a:lnTo>
                <a:lnTo>
                  <a:pt x="131" y="115"/>
                </a:lnTo>
                <a:lnTo>
                  <a:pt x="128" y="118"/>
                </a:lnTo>
                <a:lnTo>
                  <a:pt x="122" y="122"/>
                </a:lnTo>
                <a:lnTo>
                  <a:pt x="125" y="125"/>
                </a:lnTo>
                <a:lnTo>
                  <a:pt x="122" y="128"/>
                </a:lnTo>
                <a:lnTo>
                  <a:pt x="116" y="131"/>
                </a:lnTo>
                <a:lnTo>
                  <a:pt x="112" y="128"/>
                </a:lnTo>
                <a:lnTo>
                  <a:pt x="109" y="131"/>
                </a:lnTo>
                <a:lnTo>
                  <a:pt x="106" y="131"/>
                </a:lnTo>
                <a:lnTo>
                  <a:pt x="106" y="134"/>
                </a:lnTo>
                <a:lnTo>
                  <a:pt x="103" y="137"/>
                </a:lnTo>
                <a:lnTo>
                  <a:pt x="100" y="140"/>
                </a:lnTo>
                <a:lnTo>
                  <a:pt x="100" y="147"/>
                </a:lnTo>
                <a:lnTo>
                  <a:pt x="100" y="153"/>
                </a:lnTo>
                <a:lnTo>
                  <a:pt x="100" y="156"/>
                </a:lnTo>
                <a:lnTo>
                  <a:pt x="103" y="159"/>
                </a:lnTo>
                <a:lnTo>
                  <a:pt x="100" y="162"/>
                </a:lnTo>
                <a:lnTo>
                  <a:pt x="94" y="165"/>
                </a:lnTo>
                <a:lnTo>
                  <a:pt x="87" y="165"/>
                </a:lnTo>
                <a:lnTo>
                  <a:pt x="81" y="168"/>
                </a:lnTo>
                <a:lnTo>
                  <a:pt x="69" y="168"/>
                </a:lnTo>
                <a:lnTo>
                  <a:pt x="62" y="168"/>
                </a:lnTo>
                <a:lnTo>
                  <a:pt x="62" y="172"/>
                </a:lnTo>
                <a:lnTo>
                  <a:pt x="56" y="172"/>
                </a:lnTo>
                <a:lnTo>
                  <a:pt x="47" y="175"/>
                </a:lnTo>
                <a:lnTo>
                  <a:pt x="25" y="175"/>
                </a:lnTo>
                <a:lnTo>
                  <a:pt x="0" y="165"/>
                </a:lnTo>
                <a:lnTo>
                  <a:pt x="0" y="165"/>
                </a:lnTo>
                <a:lnTo>
                  <a:pt x="9" y="181"/>
                </a:lnTo>
                <a:lnTo>
                  <a:pt x="12" y="184"/>
                </a:lnTo>
                <a:lnTo>
                  <a:pt x="16" y="190"/>
                </a:lnTo>
                <a:lnTo>
                  <a:pt x="22" y="193"/>
                </a:lnTo>
                <a:lnTo>
                  <a:pt x="22" y="193"/>
                </a:lnTo>
                <a:lnTo>
                  <a:pt x="28" y="193"/>
                </a:lnTo>
                <a:lnTo>
                  <a:pt x="34" y="197"/>
                </a:lnTo>
                <a:lnTo>
                  <a:pt x="34" y="200"/>
                </a:lnTo>
                <a:lnTo>
                  <a:pt x="37" y="200"/>
                </a:lnTo>
                <a:lnTo>
                  <a:pt x="37" y="206"/>
                </a:lnTo>
                <a:lnTo>
                  <a:pt x="41" y="209"/>
                </a:lnTo>
                <a:lnTo>
                  <a:pt x="41" y="215"/>
                </a:lnTo>
                <a:lnTo>
                  <a:pt x="41" y="218"/>
                </a:lnTo>
                <a:lnTo>
                  <a:pt x="47" y="218"/>
                </a:lnTo>
                <a:lnTo>
                  <a:pt x="53" y="222"/>
                </a:lnTo>
                <a:lnTo>
                  <a:pt x="53" y="231"/>
                </a:lnTo>
                <a:lnTo>
                  <a:pt x="50" y="234"/>
                </a:lnTo>
                <a:lnTo>
                  <a:pt x="44" y="231"/>
                </a:lnTo>
                <a:lnTo>
                  <a:pt x="34" y="234"/>
                </a:lnTo>
                <a:lnTo>
                  <a:pt x="34" y="234"/>
                </a:lnTo>
                <a:lnTo>
                  <a:pt x="28" y="237"/>
                </a:lnTo>
                <a:lnTo>
                  <a:pt x="25" y="240"/>
                </a:lnTo>
                <a:lnTo>
                  <a:pt x="25" y="247"/>
                </a:lnTo>
                <a:lnTo>
                  <a:pt x="22" y="250"/>
                </a:lnTo>
                <a:lnTo>
                  <a:pt x="25" y="253"/>
                </a:lnTo>
                <a:lnTo>
                  <a:pt x="25" y="262"/>
                </a:lnTo>
                <a:lnTo>
                  <a:pt x="25" y="265"/>
                </a:lnTo>
                <a:lnTo>
                  <a:pt x="25" y="265"/>
                </a:lnTo>
                <a:lnTo>
                  <a:pt x="25" y="269"/>
                </a:lnTo>
                <a:lnTo>
                  <a:pt x="28" y="269"/>
                </a:lnTo>
                <a:lnTo>
                  <a:pt x="34" y="265"/>
                </a:lnTo>
                <a:lnTo>
                  <a:pt x="37" y="265"/>
                </a:lnTo>
                <a:lnTo>
                  <a:pt x="37" y="265"/>
                </a:lnTo>
                <a:lnTo>
                  <a:pt x="41" y="265"/>
                </a:lnTo>
                <a:lnTo>
                  <a:pt x="44" y="262"/>
                </a:lnTo>
                <a:lnTo>
                  <a:pt x="47" y="262"/>
                </a:lnTo>
                <a:lnTo>
                  <a:pt x="50" y="262"/>
                </a:lnTo>
                <a:lnTo>
                  <a:pt x="53" y="262"/>
                </a:lnTo>
                <a:lnTo>
                  <a:pt x="53" y="262"/>
                </a:lnTo>
                <a:lnTo>
                  <a:pt x="56" y="262"/>
                </a:lnTo>
                <a:lnTo>
                  <a:pt x="56" y="262"/>
                </a:lnTo>
                <a:lnTo>
                  <a:pt x="59" y="259"/>
                </a:lnTo>
                <a:lnTo>
                  <a:pt x="62" y="262"/>
                </a:lnTo>
                <a:lnTo>
                  <a:pt x="66" y="262"/>
                </a:lnTo>
                <a:lnTo>
                  <a:pt x="66" y="259"/>
                </a:lnTo>
                <a:lnTo>
                  <a:pt x="69" y="259"/>
                </a:lnTo>
                <a:lnTo>
                  <a:pt x="69" y="262"/>
                </a:lnTo>
                <a:lnTo>
                  <a:pt x="72" y="262"/>
                </a:lnTo>
                <a:lnTo>
                  <a:pt x="75" y="265"/>
                </a:lnTo>
                <a:lnTo>
                  <a:pt x="78" y="265"/>
                </a:lnTo>
                <a:lnTo>
                  <a:pt x="81" y="259"/>
                </a:lnTo>
                <a:lnTo>
                  <a:pt x="87" y="259"/>
                </a:lnTo>
                <a:lnTo>
                  <a:pt x="91" y="262"/>
                </a:lnTo>
                <a:lnTo>
                  <a:pt x="94" y="259"/>
                </a:lnTo>
                <a:lnTo>
                  <a:pt x="97" y="259"/>
                </a:lnTo>
                <a:lnTo>
                  <a:pt x="97" y="259"/>
                </a:lnTo>
                <a:lnTo>
                  <a:pt x="100" y="259"/>
                </a:lnTo>
                <a:lnTo>
                  <a:pt x="103" y="259"/>
                </a:lnTo>
                <a:lnTo>
                  <a:pt x="109" y="259"/>
                </a:lnTo>
                <a:lnTo>
                  <a:pt x="116" y="259"/>
                </a:lnTo>
                <a:lnTo>
                  <a:pt x="119" y="262"/>
                </a:lnTo>
                <a:lnTo>
                  <a:pt x="122" y="265"/>
                </a:lnTo>
                <a:lnTo>
                  <a:pt x="122" y="269"/>
                </a:lnTo>
                <a:lnTo>
                  <a:pt x="122" y="269"/>
                </a:lnTo>
                <a:lnTo>
                  <a:pt x="119" y="269"/>
                </a:lnTo>
                <a:lnTo>
                  <a:pt x="119" y="272"/>
                </a:lnTo>
                <a:lnTo>
                  <a:pt x="122" y="272"/>
                </a:lnTo>
                <a:lnTo>
                  <a:pt x="128" y="269"/>
                </a:lnTo>
                <a:lnTo>
                  <a:pt x="128" y="272"/>
                </a:lnTo>
                <a:lnTo>
                  <a:pt x="134" y="278"/>
                </a:lnTo>
                <a:lnTo>
                  <a:pt x="134" y="284"/>
                </a:lnTo>
                <a:lnTo>
                  <a:pt x="134" y="284"/>
                </a:lnTo>
                <a:lnTo>
                  <a:pt x="134" y="287"/>
                </a:lnTo>
                <a:lnTo>
                  <a:pt x="134" y="290"/>
                </a:lnTo>
                <a:lnTo>
                  <a:pt x="134" y="290"/>
                </a:lnTo>
                <a:lnTo>
                  <a:pt x="137" y="290"/>
                </a:lnTo>
                <a:lnTo>
                  <a:pt x="137" y="294"/>
                </a:lnTo>
                <a:lnTo>
                  <a:pt x="141" y="294"/>
                </a:lnTo>
                <a:lnTo>
                  <a:pt x="147" y="294"/>
                </a:lnTo>
                <a:lnTo>
                  <a:pt x="153" y="297"/>
                </a:lnTo>
                <a:lnTo>
                  <a:pt x="153" y="300"/>
                </a:lnTo>
                <a:lnTo>
                  <a:pt x="156" y="29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2" name="Freeform 40">
            <a:extLst>
              <a:ext uri="{FF2B5EF4-FFF2-40B4-BE49-F238E27FC236}">
                <a16:creationId xmlns:a16="http://schemas.microsoft.com/office/drawing/2014/main" id="{EF75F18B-48DB-3DA4-661D-37CB0987743A}"/>
              </a:ext>
            </a:extLst>
          </p:cNvPr>
          <p:cNvSpPr>
            <a:spLocks/>
          </p:cNvSpPr>
          <p:nvPr userDrawn="1"/>
        </p:nvSpPr>
        <p:spPr bwMode="auto">
          <a:xfrm>
            <a:off x="17524857" y="6854109"/>
            <a:ext cx="457170" cy="377826"/>
          </a:xfrm>
          <a:custGeom>
            <a:avLst/>
            <a:gdLst>
              <a:gd name="T0" fmla="*/ 72 w 144"/>
              <a:gd name="T1" fmla="*/ 116 h 119"/>
              <a:gd name="T2" fmla="*/ 81 w 144"/>
              <a:gd name="T3" fmla="*/ 100 h 119"/>
              <a:gd name="T4" fmla="*/ 91 w 144"/>
              <a:gd name="T5" fmla="*/ 97 h 119"/>
              <a:gd name="T6" fmla="*/ 103 w 144"/>
              <a:gd name="T7" fmla="*/ 103 h 119"/>
              <a:gd name="T8" fmla="*/ 116 w 144"/>
              <a:gd name="T9" fmla="*/ 103 h 119"/>
              <a:gd name="T10" fmla="*/ 122 w 144"/>
              <a:gd name="T11" fmla="*/ 106 h 119"/>
              <a:gd name="T12" fmla="*/ 138 w 144"/>
              <a:gd name="T13" fmla="*/ 106 h 119"/>
              <a:gd name="T14" fmla="*/ 141 w 144"/>
              <a:gd name="T15" fmla="*/ 109 h 119"/>
              <a:gd name="T16" fmla="*/ 141 w 144"/>
              <a:gd name="T17" fmla="*/ 100 h 119"/>
              <a:gd name="T18" fmla="*/ 135 w 144"/>
              <a:gd name="T19" fmla="*/ 91 h 119"/>
              <a:gd name="T20" fmla="*/ 131 w 144"/>
              <a:gd name="T21" fmla="*/ 72 h 119"/>
              <a:gd name="T22" fmla="*/ 122 w 144"/>
              <a:gd name="T23" fmla="*/ 62 h 119"/>
              <a:gd name="T24" fmla="*/ 113 w 144"/>
              <a:gd name="T25" fmla="*/ 47 h 119"/>
              <a:gd name="T26" fmla="*/ 100 w 144"/>
              <a:gd name="T27" fmla="*/ 41 h 119"/>
              <a:gd name="T28" fmla="*/ 94 w 144"/>
              <a:gd name="T29" fmla="*/ 34 h 119"/>
              <a:gd name="T30" fmla="*/ 78 w 144"/>
              <a:gd name="T31" fmla="*/ 34 h 119"/>
              <a:gd name="T32" fmla="*/ 72 w 144"/>
              <a:gd name="T33" fmla="*/ 31 h 119"/>
              <a:gd name="T34" fmla="*/ 69 w 144"/>
              <a:gd name="T35" fmla="*/ 22 h 119"/>
              <a:gd name="T36" fmla="*/ 56 w 144"/>
              <a:gd name="T37" fmla="*/ 3 h 119"/>
              <a:gd name="T38" fmla="*/ 50 w 144"/>
              <a:gd name="T39" fmla="*/ 0 h 119"/>
              <a:gd name="T40" fmla="*/ 47 w 144"/>
              <a:gd name="T41" fmla="*/ 3 h 119"/>
              <a:gd name="T42" fmla="*/ 41 w 144"/>
              <a:gd name="T43" fmla="*/ 3 h 119"/>
              <a:gd name="T44" fmla="*/ 35 w 144"/>
              <a:gd name="T45" fmla="*/ 0 h 119"/>
              <a:gd name="T46" fmla="*/ 35 w 144"/>
              <a:gd name="T47" fmla="*/ 3 h 119"/>
              <a:gd name="T48" fmla="*/ 22 w 144"/>
              <a:gd name="T49" fmla="*/ 12 h 119"/>
              <a:gd name="T50" fmla="*/ 10 w 144"/>
              <a:gd name="T51" fmla="*/ 19 h 119"/>
              <a:gd name="T52" fmla="*/ 0 w 144"/>
              <a:gd name="T53" fmla="*/ 34 h 119"/>
              <a:gd name="T54" fmla="*/ 6 w 144"/>
              <a:gd name="T55" fmla="*/ 34 h 119"/>
              <a:gd name="T56" fmla="*/ 13 w 144"/>
              <a:gd name="T57" fmla="*/ 37 h 119"/>
              <a:gd name="T58" fmla="*/ 25 w 144"/>
              <a:gd name="T59" fmla="*/ 47 h 119"/>
              <a:gd name="T60" fmla="*/ 31 w 144"/>
              <a:gd name="T61" fmla="*/ 53 h 119"/>
              <a:gd name="T62" fmla="*/ 25 w 144"/>
              <a:gd name="T63" fmla="*/ 59 h 119"/>
              <a:gd name="T64" fmla="*/ 22 w 144"/>
              <a:gd name="T65" fmla="*/ 66 h 119"/>
              <a:gd name="T66" fmla="*/ 25 w 144"/>
              <a:gd name="T67" fmla="*/ 78 h 119"/>
              <a:gd name="T68" fmla="*/ 28 w 144"/>
              <a:gd name="T69" fmla="*/ 97 h 119"/>
              <a:gd name="T70" fmla="*/ 44 w 144"/>
              <a:gd name="T71" fmla="*/ 103 h 119"/>
              <a:gd name="T72" fmla="*/ 53 w 144"/>
              <a:gd name="T73" fmla="*/ 112 h 119"/>
              <a:gd name="T74" fmla="*/ 63 w 144"/>
              <a:gd name="T75" fmla="*/ 112 h 119"/>
              <a:gd name="T76" fmla="*/ 69 w 144"/>
              <a:gd name="T7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4" h="119">
                <a:moveTo>
                  <a:pt x="69" y="119"/>
                </a:moveTo>
                <a:lnTo>
                  <a:pt x="72" y="116"/>
                </a:lnTo>
                <a:lnTo>
                  <a:pt x="75" y="106"/>
                </a:lnTo>
                <a:lnTo>
                  <a:pt x="81" y="100"/>
                </a:lnTo>
                <a:lnTo>
                  <a:pt x="88" y="100"/>
                </a:lnTo>
                <a:lnTo>
                  <a:pt x="91" y="97"/>
                </a:lnTo>
                <a:lnTo>
                  <a:pt x="94" y="97"/>
                </a:lnTo>
                <a:lnTo>
                  <a:pt x="103" y="103"/>
                </a:lnTo>
                <a:lnTo>
                  <a:pt x="110" y="100"/>
                </a:lnTo>
                <a:lnTo>
                  <a:pt x="116" y="103"/>
                </a:lnTo>
                <a:lnTo>
                  <a:pt x="119" y="109"/>
                </a:lnTo>
                <a:lnTo>
                  <a:pt x="122" y="106"/>
                </a:lnTo>
                <a:lnTo>
                  <a:pt x="131" y="112"/>
                </a:lnTo>
                <a:lnTo>
                  <a:pt x="138" y="106"/>
                </a:lnTo>
                <a:lnTo>
                  <a:pt x="141" y="106"/>
                </a:lnTo>
                <a:lnTo>
                  <a:pt x="141" y="109"/>
                </a:lnTo>
                <a:lnTo>
                  <a:pt x="144" y="106"/>
                </a:lnTo>
                <a:lnTo>
                  <a:pt x="141" y="100"/>
                </a:lnTo>
                <a:lnTo>
                  <a:pt x="138" y="91"/>
                </a:lnTo>
                <a:lnTo>
                  <a:pt x="135" y="91"/>
                </a:lnTo>
                <a:lnTo>
                  <a:pt x="131" y="81"/>
                </a:lnTo>
                <a:lnTo>
                  <a:pt x="131" y="72"/>
                </a:lnTo>
                <a:lnTo>
                  <a:pt x="128" y="66"/>
                </a:lnTo>
                <a:lnTo>
                  <a:pt x="122" y="62"/>
                </a:lnTo>
                <a:lnTo>
                  <a:pt x="116" y="56"/>
                </a:lnTo>
                <a:lnTo>
                  <a:pt x="113" y="47"/>
                </a:lnTo>
                <a:lnTo>
                  <a:pt x="106" y="44"/>
                </a:lnTo>
                <a:lnTo>
                  <a:pt x="100" y="41"/>
                </a:lnTo>
                <a:lnTo>
                  <a:pt x="97" y="37"/>
                </a:lnTo>
                <a:lnTo>
                  <a:pt x="94" y="34"/>
                </a:lnTo>
                <a:lnTo>
                  <a:pt x="88" y="37"/>
                </a:lnTo>
                <a:lnTo>
                  <a:pt x="78" y="34"/>
                </a:lnTo>
                <a:lnTo>
                  <a:pt x="75" y="31"/>
                </a:lnTo>
                <a:lnTo>
                  <a:pt x="72" y="31"/>
                </a:lnTo>
                <a:lnTo>
                  <a:pt x="72" y="25"/>
                </a:lnTo>
                <a:lnTo>
                  <a:pt x="69" y="22"/>
                </a:lnTo>
                <a:lnTo>
                  <a:pt x="60" y="9"/>
                </a:lnTo>
                <a:lnTo>
                  <a:pt x="56" y="3"/>
                </a:lnTo>
                <a:lnTo>
                  <a:pt x="53" y="0"/>
                </a:lnTo>
                <a:lnTo>
                  <a:pt x="50" y="0"/>
                </a:lnTo>
                <a:lnTo>
                  <a:pt x="50" y="0"/>
                </a:lnTo>
                <a:lnTo>
                  <a:pt x="47" y="3"/>
                </a:lnTo>
                <a:lnTo>
                  <a:pt x="44" y="3"/>
                </a:lnTo>
                <a:lnTo>
                  <a:pt x="41" y="3"/>
                </a:lnTo>
                <a:lnTo>
                  <a:pt x="38" y="0"/>
                </a:lnTo>
                <a:lnTo>
                  <a:pt x="35" y="0"/>
                </a:lnTo>
                <a:lnTo>
                  <a:pt x="35" y="3"/>
                </a:lnTo>
                <a:lnTo>
                  <a:pt x="35" y="3"/>
                </a:lnTo>
                <a:lnTo>
                  <a:pt x="31" y="9"/>
                </a:lnTo>
                <a:lnTo>
                  <a:pt x="22" y="12"/>
                </a:lnTo>
                <a:lnTo>
                  <a:pt x="6" y="16"/>
                </a:lnTo>
                <a:lnTo>
                  <a:pt x="10" y="19"/>
                </a:lnTo>
                <a:lnTo>
                  <a:pt x="0" y="25"/>
                </a:lnTo>
                <a:lnTo>
                  <a:pt x="0" y="34"/>
                </a:lnTo>
                <a:lnTo>
                  <a:pt x="3" y="37"/>
                </a:lnTo>
                <a:lnTo>
                  <a:pt x="6" y="34"/>
                </a:lnTo>
                <a:lnTo>
                  <a:pt x="10" y="34"/>
                </a:lnTo>
                <a:lnTo>
                  <a:pt x="13" y="37"/>
                </a:lnTo>
                <a:lnTo>
                  <a:pt x="19" y="44"/>
                </a:lnTo>
                <a:lnTo>
                  <a:pt x="25" y="47"/>
                </a:lnTo>
                <a:lnTo>
                  <a:pt x="25" y="50"/>
                </a:lnTo>
                <a:lnTo>
                  <a:pt x="31" y="53"/>
                </a:lnTo>
                <a:lnTo>
                  <a:pt x="31" y="56"/>
                </a:lnTo>
                <a:lnTo>
                  <a:pt x="25" y="59"/>
                </a:lnTo>
                <a:lnTo>
                  <a:pt x="25" y="62"/>
                </a:lnTo>
                <a:lnTo>
                  <a:pt x="22" y="66"/>
                </a:lnTo>
                <a:lnTo>
                  <a:pt x="22" y="72"/>
                </a:lnTo>
                <a:lnTo>
                  <a:pt x="25" y="78"/>
                </a:lnTo>
                <a:lnTo>
                  <a:pt x="28" y="91"/>
                </a:lnTo>
                <a:lnTo>
                  <a:pt x="28" y="97"/>
                </a:lnTo>
                <a:lnTo>
                  <a:pt x="38" y="103"/>
                </a:lnTo>
                <a:lnTo>
                  <a:pt x="44" y="103"/>
                </a:lnTo>
                <a:lnTo>
                  <a:pt x="50" y="106"/>
                </a:lnTo>
                <a:lnTo>
                  <a:pt x="53" y="112"/>
                </a:lnTo>
                <a:lnTo>
                  <a:pt x="60" y="112"/>
                </a:lnTo>
                <a:lnTo>
                  <a:pt x="63" y="112"/>
                </a:lnTo>
                <a:lnTo>
                  <a:pt x="69" y="112"/>
                </a:lnTo>
                <a:lnTo>
                  <a:pt x="69" y="11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3" name="Freeform 41">
            <a:extLst>
              <a:ext uri="{FF2B5EF4-FFF2-40B4-BE49-F238E27FC236}">
                <a16:creationId xmlns:a16="http://schemas.microsoft.com/office/drawing/2014/main" id="{CEB80832-BD29-51A3-376B-BB36B7A8A1EC}"/>
              </a:ext>
            </a:extLst>
          </p:cNvPr>
          <p:cNvSpPr>
            <a:spLocks/>
          </p:cNvSpPr>
          <p:nvPr userDrawn="1"/>
        </p:nvSpPr>
        <p:spPr bwMode="auto">
          <a:xfrm>
            <a:off x="16810531" y="6765209"/>
            <a:ext cx="834972" cy="695326"/>
          </a:xfrm>
          <a:custGeom>
            <a:avLst/>
            <a:gdLst>
              <a:gd name="T0" fmla="*/ 241 w 263"/>
              <a:gd name="T1" fmla="*/ 22 h 219"/>
              <a:gd name="T2" fmla="*/ 253 w 263"/>
              <a:gd name="T3" fmla="*/ 22 h 219"/>
              <a:gd name="T4" fmla="*/ 256 w 263"/>
              <a:gd name="T5" fmla="*/ 31 h 219"/>
              <a:gd name="T6" fmla="*/ 247 w 263"/>
              <a:gd name="T7" fmla="*/ 40 h 219"/>
              <a:gd name="T8" fmla="*/ 216 w 263"/>
              <a:gd name="T9" fmla="*/ 47 h 219"/>
              <a:gd name="T10" fmla="*/ 203 w 263"/>
              <a:gd name="T11" fmla="*/ 56 h 219"/>
              <a:gd name="T12" fmla="*/ 206 w 263"/>
              <a:gd name="T13" fmla="*/ 78 h 219"/>
              <a:gd name="T14" fmla="*/ 203 w 263"/>
              <a:gd name="T15" fmla="*/ 103 h 219"/>
              <a:gd name="T16" fmla="*/ 185 w 263"/>
              <a:gd name="T17" fmla="*/ 106 h 219"/>
              <a:gd name="T18" fmla="*/ 185 w 263"/>
              <a:gd name="T19" fmla="*/ 115 h 219"/>
              <a:gd name="T20" fmla="*/ 181 w 263"/>
              <a:gd name="T21" fmla="*/ 128 h 219"/>
              <a:gd name="T22" fmla="*/ 175 w 263"/>
              <a:gd name="T23" fmla="*/ 137 h 219"/>
              <a:gd name="T24" fmla="*/ 172 w 263"/>
              <a:gd name="T25" fmla="*/ 147 h 219"/>
              <a:gd name="T26" fmla="*/ 166 w 263"/>
              <a:gd name="T27" fmla="*/ 156 h 219"/>
              <a:gd name="T28" fmla="*/ 159 w 263"/>
              <a:gd name="T29" fmla="*/ 159 h 219"/>
              <a:gd name="T30" fmla="*/ 150 w 263"/>
              <a:gd name="T31" fmla="*/ 162 h 219"/>
              <a:gd name="T32" fmla="*/ 144 w 263"/>
              <a:gd name="T33" fmla="*/ 172 h 219"/>
              <a:gd name="T34" fmla="*/ 131 w 263"/>
              <a:gd name="T35" fmla="*/ 175 h 219"/>
              <a:gd name="T36" fmla="*/ 125 w 263"/>
              <a:gd name="T37" fmla="*/ 181 h 219"/>
              <a:gd name="T38" fmla="*/ 122 w 263"/>
              <a:gd name="T39" fmla="*/ 197 h 219"/>
              <a:gd name="T40" fmla="*/ 122 w 263"/>
              <a:gd name="T41" fmla="*/ 206 h 219"/>
              <a:gd name="T42" fmla="*/ 103 w 263"/>
              <a:gd name="T43" fmla="*/ 212 h 219"/>
              <a:gd name="T44" fmla="*/ 84 w 263"/>
              <a:gd name="T45" fmla="*/ 216 h 219"/>
              <a:gd name="T46" fmla="*/ 47 w 263"/>
              <a:gd name="T47" fmla="*/ 219 h 219"/>
              <a:gd name="T48" fmla="*/ 38 w 263"/>
              <a:gd name="T49" fmla="*/ 187 h 219"/>
              <a:gd name="T50" fmla="*/ 31 w 263"/>
              <a:gd name="T51" fmla="*/ 169 h 219"/>
              <a:gd name="T52" fmla="*/ 13 w 263"/>
              <a:gd name="T53" fmla="*/ 156 h 219"/>
              <a:gd name="T54" fmla="*/ 6 w 263"/>
              <a:gd name="T55" fmla="*/ 134 h 219"/>
              <a:gd name="T56" fmla="*/ 13 w 263"/>
              <a:gd name="T57" fmla="*/ 122 h 219"/>
              <a:gd name="T58" fmla="*/ 3 w 263"/>
              <a:gd name="T59" fmla="*/ 109 h 219"/>
              <a:gd name="T60" fmla="*/ 3 w 263"/>
              <a:gd name="T61" fmla="*/ 100 h 219"/>
              <a:gd name="T62" fmla="*/ 9 w 263"/>
              <a:gd name="T63" fmla="*/ 94 h 219"/>
              <a:gd name="T64" fmla="*/ 9 w 263"/>
              <a:gd name="T65" fmla="*/ 87 h 219"/>
              <a:gd name="T66" fmla="*/ 9 w 263"/>
              <a:gd name="T67" fmla="*/ 75 h 219"/>
              <a:gd name="T68" fmla="*/ 16 w 263"/>
              <a:gd name="T69" fmla="*/ 75 h 219"/>
              <a:gd name="T70" fmla="*/ 25 w 263"/>
              <a:gd name="T71" fmla="*/ 75 h 219"/>
              <a:gd name="T72" fmla="*/ 34 w 263"/>
              <a:gd name="T73" fmla="*/ 81 h 219"/>
              <a:gd name="T74" fmla="*/ 44 w 263"/>
              <a:gd name="T75" fmla="*/ 81 h 219"/>
              <a:gd name="T76" fmla="*/ 50 w 263"/>
              <a:gd name="T77" fmla="*/ 72 h 219"/>
              <a:gd name="T78" fmla="*/ 63 w 263"/>
              <a:gd name="T79" fmla="*/ 65 h 219"/>
              <a:gd name="T80" fmla="*/ 69 w 263"/>
              <a:gd name="T81" fmla="*/ 59 h 219"/>
              <a:gd name="T82" fmla="*/ 75 w 263"/>
              <a:gd name="T83" fmla="*/ 44 h 219"/>
              <a:gd name="T84" fmla="*/ 72 w 263"/>
              <a:gd name="T85" fmla="*/ 37 h 219"/>
              <a:gd name="T86" fmla="*/ 81 w 263"/>
              <a:gd name="T87" fmla="*/ 34 h 219"/>
              <a:gd name="T88" fmla="*/ 94 w 263"/>
              <a:gd name="T89" fmla="*/ 28 h 219"/>
              <a:gd name="T90" fmla="*/ 103 w 263"/>
              <a:gd name="T91" fmla="*/ 31 h 219"/>
              <a:gd name="T92" fmla="*/ 116 w 263"/>
              <a:gd name="T93" fmla="*/ 34 h 219"/>
              <a:gd name="T94" fmla="*/ 125 w 263"/>
              <a:gd name="T95" fmla="*/ 31 h 219"/>
              <a:gd name="T96" fmla="*/ 141 w 263"/>
              <a:gd name="T97" fmla="*/ 37 h 219"/>
              <a:gd name="T98" fmla="*/ 150 w 263"/>
              <a:gd name="T99" fmla="*/ 31 h 219"/>
              <a:gd name="T100" fmla="*/ 156 w 263"/>
              <a:gd name="T101" fmla="*/ 34 h 219"/>
              <a:gd name="T102" fmla="*/ 159 w 263"/>
              <a:gd name="T103" fmla="*/ 28 h 219"/>
              <a:gd name="T104" fmla="*/ 166 w 263"/>
              <a:gd name="T105" fmla="*/ 22 h 219"/>
              <a:gd name="T106" fmla="*/ 172 w 263"/>
              <a:gd name="T107" fmla="*/ 25 h 219"/>
              <a:gd name="T108" fmla="*/ 175 w 263"/>
              <a:gd name="T109" fmla="*/ 12 h 219"/>
              <a:gd name="T110" fmla="*/ 181 w 263"/>
              <a:gd name="T111" fmla="*/ 0 h 219"/>
              <a:gd name="T112" fmla="*/ 194 w 263"/>
              <a:gd name="T113" fmla="*/ 6 h 219"/>
              <a:gd name="T114" fmla="*/ 194 w 263"/>
              <a:gd name="T115" fmla="*/ 15 h 219"/>
              <a:gd name="T116" fmla="*/ 197 w 263"/>
              <a:gd name="T117" fmla="*/ 25 h 219"/>
              <a:gd name="T118" fmla="*/ 200 w 263"/>
              <a:gd name="T119" fmla="*/ 40 h 219"/>
              <a:gd name="T120" fmla="*/ 210 w 263"/>
              <a:gd name="T121" fmla="*/ 44 h 219"/>
              <a:gd name="T122" fmla="*/ 222 w 263"/>
              <a:gd name="T123" fmla="*/ 37 h 219"/>
              <a:gd name="T124" fmla="*/ 228 w 263"/>
              <a:gd name="T125" fmla="*/ 28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3" h="219">
                <a:moveTo>
                  <a:pt x="228" y="28"/>
                </a:moveTo>
                <a:lnTo>
                  <a:pt x="238" y="22"/>
                </a:lnTo>
                <a:lnTo>
                  <a:pt x="241" y="22"/>
                </a:lnTo>
                <a:lnTo>
                  <a:pt x="244" y="25"/>
                </a:lnTo>
                <a:lnTo>
                  <a:pt x="250" y="25"/>
                </a:lnTo>
                <a:lnTo>
                  <a:pt x="253" y="22"/>
                </a:lnTo>
                <a:lnTo>
                  <a:pt x="260" y="22"/>
                </a:lnTo>
                <a:lnTo>
                  <a:pt x="263" y="25"/>
                </a:lnTo>
                <a:lnTo>
                  <a:pt x="256" y="31"/>
                </a:lnTo>
                <a:lnTo>
                  <a:pt x="260" y="31"/>
                </a:lnTo>
                <a:lnTo>
                  <a:pt x="256" y="37"/>
                </a:lnTo>
                <a:lnTo>
                  <a:pt x="247" y="40"/>
                </a:lnTo>
                <a:lnTo>
                  <a:pt x="228" y="44"/>
                </a:lnTo>
                <a:lnTo>
                  <a:pt x="222" y="44"/>
                </a:lnTo>
                <a:lnTo>
                  <a:pt x="216" y="47"/>
                </a:lnTo>
                <a:lnTo>
                  <a:pt x="210" y="50"/>
                </a:lnTo>
                <a:lnTo>
                  <a:pt x="206" y="50"/>
                </a:lnTo>
                <a:lnTo>
                  <a:pt x="203" y="56"/>
                </a:lnTo>
                <a:lnTo>
                  <a:pt x="200" y="59"/>
                </a:lnTo>
                <a:lnTo>
                  <a:pt x="206" y="72"/>
                </a:lnTo>
                <a:lnTo>
                  <a:pt x="206" y="78"/>
                </a:lnTo>
                <a:lnTo>
                  <a:pt x="197" y="90"/>
                </a:lnTo>
                <a:lnTo>
                  <a:pt x="203" y="97"/>
                </a:lnTo>
                <a:lnTo>
                  <a:pt x="203" y="103"/>
                </a:lnTo>
                <a:lnTo>
                  <a:pt x="197" y="109"/>
                </a:lnTo>
                <a:lnTo>
                  <a:pt x="191" y="109"/>
                </a:lnTo>
                <a:lnTo>
                  <a:pt x="185" y="106"/>
                </a:lnTo>
                <a:lnTo>
                  <a:pt x="178" y="109"/>
                </a:lnTo>
                <a:lnTo>
                  <a:pt x="181" y="115"/>
                </a:lnTo>
                <a:lnTo>
                  <a:pt x="185" y="115"/>
                </a:lnTo>
                <a:lnTo>
                  <a:pt x="188" y="122"/>
                </a:lnTo>
                <a:lnTo>
                  <a:pt x="188" y="125"/>
                </a:lnTo>
                <a:lnTo>
                  <a:pt x="181" y="128"/>
                </a:lnTo>
                <a:lnTo>
                  <a:pt x="178" y="128"/>
                </a:lnTo>
                <a:lnTo>
                  <a:pt x="175" y="131"/>
                </a:lnTo>
                <a:lnTo>
                  <a:pt x="175" y="137"/>
                </a:lnTo>
                <a:lnTo>
                  <a:pt x="175" y="144"/>
                </a:lnTo>
                <a:lnTo>
                  <a:pt x="175" y="147"/>
                </a:lnTo>
                <a:lnTo>
                  <a:pt x="172" y="147"/>
                </a:lnTo>
                <a:lnTo>
                  <a:pt x="175" y="156"/>
                </a:lnTo>
                <a:lnTo>
                  <a:pt x="169" y="162"/>
                </a:lnTo>
                <a:lnTo>
                  <a:pt x="166" y="156"/>
                </a:lnTo>
                <a:lnTo>
                  <a:pt x="163" y="156"/>
                </a:lnTo>
                <a:lnTo>
                  <a:pt x="163" y="159"/>
                </a:lnTo>
                <a:lnTo>
                  <a:pt x="159" y="159"/>
                </a:lnTo>
                <a:lnTo>
                  <a:pt x="156" y="159"/>
                </a:lnTo>
                <a:lnTo>
                  <a:pt x="153" y="159"/>
                </a:lnTo>
                <a:lnTo>
                  <a:pt x="150" y="162"/>
                </a:lnTo>
                <a:lnTo>
                  <a:pt x="144" y="166"/>
                </a:lnTo>
                <a:lnTo>
                  <a:pt x="147" y="169"/>
                </a:lnTo>
                <a:lnTo>
                  <a:pt x="144" y="172"/>
                </a:lnTo>
                <a:lnTo>
                  <a:pt x="138" y="175"/>
                </a:lnTo>
                <a:lnTo>
                  <a:pt x="134" y="172"/>
                </a:lnTo>
                <a:lnTo>
                  <a:pt x="131" y="175"/>
                </a:lnTo>
                <a:lnTo>
                  <a:pt x="128" y="175"/>
                </a:lnTo>
                <a:lnTo>
                  <a:pt x="128" y="178"/>
                </a:lnTo>
                <a:lnTo>
                  <a:pt x="125" y="181"/>
                </a:lnTo>
                <a:lnTo>
                  <a:pt x="122" y="184"/>
                </a:lnTo>
                <a:lnTo>
                  <a:pt x="122" y="191"/>
                </a:lnTo>
                <a:lnTo>
                  <a:pt x="122" y="197"/>
                </a:lnTo>
                <a:lnTo>
                  <a:pt x="122" y="200"/>
                </a:lnTo>
                <a:lnTo>
                  <a:pt x="125" y="203"/>
                </a:lnTo>
                <a:lnTo>
                  <a:pt x="122" y="206"/>
                </a:lnTo>
                <a:lnTo>
                  <a:pt x="116" y="209"/>
                </a:lnTo>
                <a:lnTo>
                  <a:pt x="109" y="209"/>
                </a:lnTo>
                <a:lnTo>
                  <a:pt x="103" y="212"/>
                </a:lnTo>
                <a:lnTo>
                  <a:pt x="91" y="212"/>
                </a:lnTo>
                <a:lnTo>
                  <a:pt x="84" y="212"/>
                </a:lnTo>
                <a:lnTo>
                  <a:pt x="84" y="216"/>
                </a:lnTo>
                <a:lnTo>
                  <a:pt x="78" y="216"/>
                </a:lnTo>
                <a:lnTo>
                  <a:pt x="69" y="219"/>
                </a:lnTo>
                <a:lnTo>
                  <a:pt x="47" y="219"/>
                </a:lnTo>
                <a:lnTo>
                  <a:pt x="22" y="209"/>
                </a:lnTo>
                <a:lnTo>
                  <a:pt x="34" y="191"/>
                </a:lnTo>
                <a:lnTo>
                  <a:pt x="38" y="187"/>
                </a:lnTo>
                <a:lnTo>
                  <a:pt x="34" y="181"/>
                </a:lnTo>
                <a:lnTo>
                  <a:pt x="34" y="175"/>
                </a:lnTo>
                <a:lnTo>
                  <a:pt x="31" y="169"/>
                </a:lnTo>
                <a:lnTo>
                  <a:pt x="16" y="169"/>
                </a:lnTo>
                <a:lnTo>
                  <a:pt x="16" y="159"/>
                </a:lnTo>
                <a:lnTo>
                  <a:pt x="13" y="156"/>
                </a:lnTo>
                <a:lnTo>
                  <a:pt x="13" y="153"/>
                </a:lnTo>
                <a:lnTo>
                  <a:pt x="13" y="144"/>
                </a:lnTo>
                <a:lnTo>
                  <a:pt x="6" y="134"/>
                </a:lnTo>
                <a:lnTo>
                  <a:pt x="6" y="131"/>
                </a:lnTo>
                <a:lnTo>
                  <a:pt x="13" y="122"/>
                </a:lnTo>
                <a:lnTo>
                  <a:pt x="13" y="122"/>
                </a:lnTo>
                <a:lnTo>
                  <a:pt x="3" y="122"/>
                </a:lnTo>
                <a:lnTo>
                  <a:pt x="3" y="115"/>
                </a:lnTo>
                <a:lnTo>
                  <a:pt x="3" y="109"/>
                </a:lnTo>
                <a:lnTo>
                  <a:pt x="3" y="109"/>
                </a:lnTo>
                <a:lnTo>
                  <a:pt x="6" y="103"/>
                </a:lnTo>
                <a:lnTo>
                  <a:pt x="3" y="100"/>
                </a:lnTo>
                <a:lnTo>
                  <a:pt x="0" y="100"/>
                </a:lnTo>
                <a:lnTo>
                  <a:pt x="6" y="97"/>
                </a:lnTo>
                <a:lnTo>
                  <a:pt x="9" y="94"/>
                </a:lnTo>
                <a:lnTo>
                  <a:pt x="9" y="90"/>
                </a:lnTo>
                <a:lnTo>
                  <a:pt x="13" y="90"/>
                </a:lnTo>
                <a:lnTo>
                  <a:pt x="9" y="87"/>
                </a:lnTo>
                <a:lnTo>
                  <a:pt x="9" y="84"/>
                </a:lnTo>
                <a:lnTo>
                  <a:pt x="9" y="81"/>
                </a:lnTo>
                <a:lnTo>
                  <a:pt x="9" y="75"/>
                </a:lnTo>
                <a:lnTo>
                  <a:pt x="9" y="75"/>
                </a:lnTo>
                <a:lnTo>
                  <a:pt x="13" y="75"/>
                </a:lnTo>
                <a:lnTo>
                  <a:pt x="16" y="75"/>
                </a:lnTo>
                <a:lnTo>
                  <a:pt x="19" y="78"/>
                </a:lnTo>
                <a:lnTo>
                  <a:pt x="22" y="78"/>
                </a:lnTo>
                <a:lnTo>
                  <a:pt x="25" y="75"/>
                </a:lnTo>
                <a:lnTo>
                  <a:pt x="28" y="75"/>
                </a:lnTo>
                <a:lnTo>
                  <a:pt x="31" y="78"/>
                </a:lnTo>
                <a:lnTo>
                  <a:pt x="34" y="81"/>
                </a:lnTo>
                <a:lnTo>
                  <a:pt x="34" y="84"/>
                </a:lnTo>
                <a:lnTo>
                  <a:pt x="38" y="81"/>
                </a:lnTo>
                <a:lnTo>
                  <a:pt x="44" y="81"/>
                </a:lnTo>
                <a:lnTo>
                  <a:pt x="47" y="78"/>
                </a:lnTo>
                <a:lnTo>
                  <a:pt x="47" y="75"/>
                </a:lnTo>
                <a:lnTo>
                  <a:pt x="50" y="72"/>
                </a:lnTo>
                <a:lnTo>
                  <a:pt x="47" y="69"/>
                </a:lnTo>
                <a:lnTo>
                  <a:pt x="53" y="65"/>
                </a:lnTo>
                <a:lnTo>
                  <a:pt x="63" y="65"/>
                </a:lnTo>
                <a:lnTo>
                  <a:pt x="63" y="62"/>
                </a:lnTo>
                <a:lnTo>
                  <a:pt x="66" y="59"/>
                </a:lnTo>
                <a:lnTo>
                  <a:pt x="69" y="59"/>
                </a:lnTo>
                <a:lnTo>
                  <a:pt x="69" y="53"/>
                </a:lnTo>
                <a:lnTo>
                  <a:pt x="69" y="50"/>
                </a:lnTo>
                <a:lnTo>
                  <a:pt x="75" y="44"/>
                </a:lnTo>
                <a:lnTo>
                  <a:pt x="75" y="40"/>
                </a:lnTo>
                <a:lnTo>
                  <a:pt x="72" y="40"/>
                </a:lnTo>
                <a:lnTo>
                  <a:pt x="72" y="37"/>
                </a:lnTo>
                <a:lnTo>
                  <a:pt x="75" y="37"/>
                </a:lnTo>
                <a:lnTo>
                  <a:pt x="78" y="34"/>
                </a:lnTo>
                <a:lnTo>
                  <a:pt x="81" y="34"/>
                </a:lnTo>
                <a:lnTo>
                  <a:pt x="84" y="34"/>
                </a:lnTo>
                <a:lnTo>
                  <a:pt x="91" y="28"/>
                </a:lnTo>
                <a:lnTo>
                  <a:pt x="94" y="28"/>
                </a:lnTo>
                <a:lnTo>
                  <a:pt x="97" y="31"/>
                </a:lnTo>
                <a:lnTo>
                  <a:pt x="103" y="28"/>
                </a:lnTo>
                <a:lnTo>
                  <a:pt x="103" y="31"/>
                </a:lnTo>
                <a:lnTo>
                  <a:pt x="109" y="28"/>
                </a:lnTo>
                <a:lnTo>
                  <a:pt x="116" y="31"/>
                </a:lnTo>
                <a:lnTo>
                  <a:pt x="116" y="34"/>
                </a:lnTo>
                <a:lnTo>
                  <a:pt x="119" y="34"/>
                </a:lnTo>
                <a:lnTo>
                  <a:pt x="122" y="31"/>
                </a:lnTo>
                <a:lnTo>
                  <a:pt x="125" y="31"/>
                </a:lnTo>
                <a:lnTo>
                  <a:pt x="131" y="37"/>
                </a:lnTo>
                <a:lnTo>
                  <a:pt x="134" y="37"/>
                </a:lnTo>
                <a:lnTo>
                  <a:pt x="141" y="37"/>
                </a:lnTo>
                <a:lnTo>
                  <a:pt x="144" y="34"/>
                </a:lnTo>
                <a:lnTo>
                  <a:pt x="147" y="31"/>
                </a:lnTo>
                <a:lnTo>
                  <a:pt x="150" y="31"/>
                </a:lnTo>
                <a:lnTo>
                  <a:pt x="150" y="28"/>
                </a:lnTo>
                <a:lnTo>
                  <a:pt x="153" y="31"/>
                </a:lnTo>
                <a:lnTo>
                  <a:pt x="156" y="34"/>
                </a:lnTo>
                <a:lnTo>
                  <a:pt x="163" y="34"/>
                </a:lnTo>
                <a:lnTo>
                  <a:pt x="163" y="31"/>
                </a:lnTo>
                <a:lnTo>
                  <a:pt x="159" y="28"/>
                </a:lnTo>
                <a:lnTo>
                  <a:pt x="159" y="25"/>
                </a:lnTo>
                <a:lnTo>
                  <a:pt x="166" y="25"/>
                </a:lnTo>
                <a:lnTo>
                  <a:pt x="166" y="22"/>
                </a:lnTo>
                <a:lnTo>
                  <a:pt x="169" y="22"/>
                </a:lnTo>
                <a:lnTo>
                  <a:pt x="169" y="25"/>
                </a:lnTo>
                <a:lnTo>
                  <a:pt x="172" y="25"/>
                </a:lnTo>
                <a:lnTo>
                  <a:pt x="175" y="22"/>
                </a:lnTo>
                <a:lnTo>
                  <a:pt x="175" y="15"/>
                </a:lnTo>
                <a:lnTo>
                  <a:pt x="175" y="12"/>
                </a:lnTo>
                <a:lnTo>
                  <a:pt x="178" y="9"/>
                </a:lnTo>
                <a:lnTo>
                  <a:pt x="178" y="3"/>
                </a:lnTo>
                <a:lnTo>
                  <a:pt x="181" y="0"/>
                </a:lnTo>
                <a:lnTo>
                  <a:pt x="185" y="0"/>
                </a:lnTo>
                <a:lnTo>
                  <a:pt x="188" y="3"/>
                </a:lnTo>
                <a:lnTo>
                  <a:pt x="194" y="6"/>
                </a:lnTo>
                <a:lnTo>
                  <a:pt x="194" y="9"/>
                </a:lnTo>
                <a:lnTo>
                  <a:pt x="191" y="12"/>
                </a:lnTo>
                <a:lnTo>
                  <a:pt x="194" y="15"/>
                </a:lnTo>
                <a:lnTo>
                  <a:pt x="197" y="15"/>
                </a:lnTo>
                <a:lnTo>
                  <a:pt x="197" y="18"/>
                </a:lnTo>
                <a:lnTo>
                  <a:pt x="197" y="25"/>
                </a:lnTo>
                <a:lnTo>
                  <a:pt x="197" y="28"/>
                </a:lnTo>
                <a:lnTo>
                  <a:pt x="197" y="37"/>
                </a:lnTo>
                <a:lnTo>
                  <a:pt x="200" y="40"/>
                </a:lnTo>
                <a:lnTo>
                  <a:pt x="200" y="44"/>
                </a:lnTo>
                <a:lnTo>
                  <a:pt x="203" y="44"/>
                </a:lnTo>
                <a:lnTo>
                  <a:pt x="210" y="44"/>
                </a:lnTo>
                <a:lnTo>
                  <a:pt x="213" y="40"/>
                </a:lnTo>
                <a:lnTo>
                  <a:pt x="213" y="40"/>
                </a:lnTo>
                <a:lnTo>
                  <a:pt x="222" y="37"/>
                </a:lnTo>
                <a:lnTo>
                  <a:pt x="225" y="34"/>
                </a:lnTo>
                <a:lnTo>
                  <a:pt x="225" y="31"/>
                </a:lnTo>
                <a:lnTo>
                  <a:pt x="228" y="28"/>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4" name="Freeform 42">
            <a:extLst>
              <a:ext uri="{FF2B5EF4-FFF2-40B4-BE49-F238E27FC236}">
                <a16:creationId xmlns:a16="http://schemas.microsoft.com/office/drawing/2014/main" id="{3ACBBCA8-3F6C-4F52-B72A-1D059B9D4D77}"/>
              </a:ext>
            </a:extLst>
          </p:cNvPr>
          <p:cNvSpPr>
            <a:spLocks noEditPoints="1"/>
          </p:cNvSpPr>
          <p:nvPr userDrawn="1"/>
        </p:nvSpPr>
        <p:spPr bwMode="auto">
          <a:xfrm>
            <a:off x="13584939" y="5285656"/>
            <a:ext cx="387325" cy="307976"/>
          </a:xfrm>
          <a:custGeom>
            <a:avLst/>
            <a:gdLst>
              <a:gd name="T0" fmla="*/ 30 w 39"/>
              <a:gd name="T1" fmla="*/ 30 h 31"/>
              <a:gd name="T2" fmla="*/ 31 w 39"/>
              <a:gd name="T3" fmla="*/ 28 h 31"/>
              <a:gd name="T4" fmla="*/ 28 w 39"/>
              <a:gd name="T5" fmla="*/ 28 h 31"/>
              <a:gd name="T6" fmla="*/ 28 w 39"/>
              <a:gd name="T7" fmla="*/ 29 h 31"/>
              <a:gd name="T8" fmla="*/ 37 w 39"/>
              <a:gd name="T9" fmla="*/ 24 h 31"/>
              <a:gd name="T10" fmla="*/ 37 w 39"/>
              <a:gd name="T11" fmla="*/ 22 h 31"/>
              <a:gd name="T12" fmla="*/ 25 w 39"/>
              <a:gd name="T13" fmla="*/ 19 h 31"/>
              <a:gd name="T14" fmla="*/ 21 w 39"/>
              <a:gd name="T15" fmla="*/ 24 h 31"/>
              <a:gd name="T16" fmla="*/ 18 w 39"/>
              <a:gd name="T17" fmla="*/ 22 h 31"/>
              <a:gd name="T18" fmla="*/ 18 w 39"/>
              <a:gd name="T19" fmla="*/ 19 h 31"/>
              <a:gd name="T20" fmla="*/ 19 w 39"/>
              <a:gd name="T21" fmla="*/ 19 h 31"/>
              <a:gd name="T22" fmla="*/ 22 w 39"/>
              <a:gd name="T23" fmla="*/ 19 h 31"/>
              <a:gd name="T24" fmla="*/ 22 w 39"/>
              <a:gd name="T25" fmla="*/ 16 h 31"/>
              <a:gd name="T26" fmla="*/ 24 w 39"/>
              <a:gd name="T27" fmla="*/ 20 h 31"/>
              <a:gd name="T28" fmla="*/ 24 w 39"/>
              <a:gd name="T29" fmla="*/ 22 h 31"/>
              <a:gd name="T30" fmla="*/ 22 w 39"/>
              <a:gd name="T31" fmla="*/ 25 h 31"/>
              <a:gd name="T32" fmla="*/ 24 w 39"/>
              <a:gd name="T33" fmla="*/ 25 h 31"/>
              <a:gd name="T34" fmla="*/ 18 w 39"/>
              <a:gd name="T35" fmla="*/ 25 h 31"/>
              <a:gd name="T36" fmla="*/ 21 w 39"/>
              <a:gd name="T37" fmla="*/ 26 h 31"/>
              <a:gd name="T38" fmla="*/ 22 w 39"/>
              <a:gd name="T39" fmla="*/ 27 h 31"/>
              <a:gd name="T40" fmla="*/ 20 w 39"/>
              <a:gd name="T41" fmla="*/ 28 h 31"/>
              <a:gd name="T42" fmla="*/ 17 w 39"/>
              <a:gd name="T43" fmla="*/ 27 h 31"/>
              <a:gd name="T44" fmla="*/ 13 w 39"/>
              <a:gd name="T45" fmla="*/ 19 h 31"/>
              <a:gd name="T46" fmla="*/ 14 w 39"/>
              <a:gd name="T47" fmla="*/ 19 h 31"/>
              <a:gd name="T48" fmla="*/ 14 w 39"/>
              <a:gd name="T49" fmla="*/ 26 h 31"/>
              <a:gd name="T50" fmla="*/ 15 w 39"/>
              <a:gd name="T51" fmla="*/ 26 h 31"/>
              <a:gd name="T52" fmla="*/ 15 w 39"/>
              <a:gd name="T53" fmla="*/ 24 h 31"/>
              <a:gd name="T54" fmla="*/ 14 w 39"/>
              <a:gd name="T55" fmla="*/ 21 h 31"/>
              <a:gd name="T56" fmla="*/ 13 w 39"/>
              <a:gd name="T57" fmla="*/ 25 h 31"/>
              <a:gd name="T58" fmla="*/ 9 w 39"/>
              <a:gd name="T59" fmla="*/ 22 h 31"/>
              <a:gd name="T60" fmla="*/ 17 w 39"/>
              <a:gd name="T61" fmla="*/ 4 h 31"/>
              <a:gd name="T62" fmla="*/ 3 w 39"/>
              <a:gd name="T63" fmla="*/ 9 h 31"/>
              <a:gd name="T64" fmla="*/ 4 w 39"/>
              <a:gd name="T65" fmla="*/ 10 h 31"/>
              <a:gd name="T66" fmla="*/ 3 w 39"/>
              <a:gd name="T67" fmla="*/ 9 h 31"/>
              <a:gd name="T68" fmla="*/ 8 w 39"/>
              <a:gd name="T69" fmla="*/ 8 h 31"/>
              <a:gd name="T70" fmla="*/ 12 w 39"/>
              <a:gd name="T71" fmla="*/ 8 h 31"/>
              <a:gd name="T72" fmla="*/ 13 w 39"/>
              <a:gd name="T73" fmla="*/ 2 h 31"/>
              <a:gd name="T74" fmla="*/ 10 w 39"/>
              <a:gd name="T75" fmla="*/ 3 h 31"/>
              <a:gd name="T76" fmla="*/ 6 w 39"/>
              <a:gd name="T77" fmla="*/ 6 h 31"/>
              <a:gd name="T78" fmla="*/ 2 w 39"/>
              <a:gd name="T79" fmla="*/ 7 h 31"/>
              <a:gd name="T80" fmla="*/ 2 w 39"/>
              <a:gd name="T81" fmla="*/ 10 h 31"/>
              <a:gd name="T82" fmla="*/ 9 w 39"/>
              <a:gd name="T83" fmla="*/ 25 h 31"/>
              <a:gd name="T84" fmla="*/ 8 w 39"/>
              <a:gd name="T85" fmla="*/ 23 h 31"/>
              <a:gd name="T86" fmla="*/ 10 w 39"/>
              <a:gd name="T87" fmla="*/ 20 h 31"/>
              <a:gd name="T88" fmla="*/ 12 w 39"/>
              <a:gd name="T89" fmla="*/ 18 h 31"/>
              <a:gd name="T90" fmla="*/ 14 w 39"/>
              <a:gd name="T91" fmla="*/ 14 h 31"/>
              <a:gd name="T92" fmla="*/ 16 w 39"/>
              <a:gd name="T93" fmla="*/ 14 h 31"/>
              <a:gd name="T94" fmla="*/ 13 w 39"/>
              <a:gd name="T95" fmla="*/ 13 h 31"/>
              <a:gd name="T96" fmla="*/ 11 w 39"/>
              <a:gd name="T97" fmla="*/ 10 h 31"/>
              <a:gd name="T98" fmla="*/ 7 w 39"/>
              <a:gd name="T99" fmla="*/ 8 h 31"/>
              <a:gd name="T100" fmla="*/ 7 w 39"/>
              <a:gd name="T101" fmla="*/ 11 h 31"/>
              <a:gd name="T102" fmla="*/ 6 w 39"/>
              <a:gd name="T103" fmla="*/ 12 h 31"/>
              <a:gd name="T104" fmla="*/ 5 w 39"/>
              <a:gd name="T105" fmla="*/ 10 h 31"/>
              <a:gd name="T106" fmla="*/ 3 w 39"/>
              <a:gd name="T107" fmla="*/ 12 h 31"/>
              <a:gd name="T108" fmla="*/ 2 w 39"/>
              <a:gd name="T109" fmla="*/ 13 h 31"/>
              <a:gd name="T110" fmla="*/ 0 w 39"/>
              <a:gd name="T111" fmla="*/ 16 h 31"/>
              <a:gd name="T112" fmla="*/ 0 w 39"/>
              <a:gd name="T113" fmla="*/ 19 h 31"/>
              <a:gd name="T114" fmla="*/ 3 w 39"/>
              <a:gd name="T115" fmla="*/ 22 h 31"/>
              <a:gd name="T116" fmla="*/ 4 w 39"/>
              <a:gd name="T117"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 h="31">
                <a:moveTo>
                  <a:pt x="28" y="30"/>
                </a:moveTo>
                <a:cubicBezTo>
                  <a:pt x="28" y="31"/>
                  <a:pt x="28" y="31"/>
                  <a:pt x="28" y="31"/>
                </a:cubicBezTo>
                <a:cubicBezTo>
                  <a:pt x="30" y="31"/>
                  <a:pt x="30" y="31"/>
                  <a:pt x="30" y="31"/>
                </a:cubicBezTo>
                <a:cubicBezTo>
                  <a:pt x="30" y="30"/>
                  <a:pt x="30" y="30"/>
                  <a:pt x="30" y="30"/>
                </a:cubicBezTo>
                <a:cubicBezTo>
                  <a:pt x="31" y="30"/>
                  <a:pt x="31" y="30"/>
                  <a:pt x="31" y="30"/>
                </a:cubicBezTo>
                <a:cubicBezTo>
                  <a:pt x="31" y="30"/>
                  <a:pt x="31" y="30"/>
                  <a:pt x="31" y="30"/>
                </a:cubicBezTo>
                <a:cubicBezTo>
                  <a:pt x="31" y="29"/>
                  <a:pt x="31" y="29"/>
                  <a:pt x="31" y="29"/>
                </a:cubicBezTo>
                <a:cubicBezTo>
                  <a:pt x="31" y="28"/>
                  <a:pt x="31" y="28"/>
                  <a:pt x="31" y="28"/>
                </a:cubicBezTo>
                <a:cubicBezTo>
                  <a:pt x="30" y="28"/>
                  <a:pt x="30" y="28"/>
                  <a:pt x="30" y="28"/>
                </a:cubicBezTo>
                <a:cubicBezTo>
                  <a:pt x="30" y="28"/>
                  <a:pt x="30" y="28"/>
                  <a:pt x="30" y="28"/>
                </a:cubicBezTo>
                <a:cubicBezTo>
                  <a:pt x="29" y="28"/>
                  <a:pt x="29" y="28"/>
                  <a:pt x="29" y="28"/>
                </a:cubicBezTo>
                <a:cubicBezTo>
                  <a:pt x="28" y="28"/>
                  <a:pt x="28" y="28"/>
                  <a:pt x="28" y="28"/>
                </a:cubicBezTo>
                <a:cubicBezTo>
                  <a:pt x="28" y="29"/>
                  <a:pt x="28" y="29"/>
                  <a:pt x="28" y="29"/>
                </a:cubicBezTo>
                <a:cubicBezTo>
                  <a:pt x="29" y="29"/>
                  <a:pt x="29" y="29"/>
                  <a:pt x="29" y="29"/>
                </a:cubicBezTo>
                <a:cubicBezTo>
                  <a:pt x="29" y="29"/>
                  <a:pt x="29" y="29"/>
                  <a:pt x="29" y="29"/>
                </a:cubicBezTo>
                <a:cubicBezTo>
                  <a:pt x="28" y="29"/>
                  <a:pt x="28" y="29"/>
                  <a:pt x="28" y="29"/>
                </a:cubicBezTo>
                <a:cubicBezTo>
                  <a:pt x="28" y="30"/>
                  <a:pt x="28" y="30"/>
                  <a:pt x="28" y="30"/>
                </a:cubicBezTo>
                <a:close/>
                <a:moveTo>
                  <a:pt x="37" y="22"/>
                </a:moveTo>
                <a:cubicBezTo>
                  <a:pt x="37" y="23"/>
                  <a:pt x="37" y="23"/>
                  <a:pt x="37" y="23"/>
                </a:cubicBezTo>
                <a:cubicBezTo>
                  <a:pt x="37" y="24"/>
                  <a:pt x="37" y="24"/>
                  <a:pt x="37" y="24"/>
                </a:cubicBezTo>
                <a:cubicBezTo>
                  <a:pt x="39" y="25"/>
                  <a:pt x="39" y="25"/>
                  <a:pt x="39" y="25"/>
                </a:cubicBezTo>
                <a:cubicBezTo>
                  <a:pt x="39" y="24"/>
                  <a:pt x="39" y="24"/>
                  <a:pt x="39" y="24"/>
                </a:cubicBezTo>
                <a:cubicBezTo>
                  <a:pt x="38" y="22"/>
                  <a:pt x="38" y="22"/>
                  <a:pt x="38" y="22"/>
                </a:cubicBezTo>
                <a:cubicBezTo>
                  <a:pt x="37" y="22"/>
                  <a:pt x="37" y="22"/>
                  <a:pt x="37" y="22"/>
                </a:cubicBezTo>
                <a:close/>
                <a:moveTo>
                  <a:pt x="25" y="19"/>
                </a:moveTo>
                <a:cubicBezTo>
                  <a:pt x="24" y="20"/>
                  <a:pt x="24" y="20"/>
                  <a:pt x="24" y="20"/>
                </a:cubicBezTo>
                <a:cubicBezTo>
                  <a:pt x="25" y="20"/>
                  <a:pt x="25" y="20"/>
                  <a:pt x="25" y="20"/>
                </a:cubicBezTo>
                <a:cubicBezTo>
                  <a:pt x="25" y="19"/>
                  <a:pt x="25" y="19"/>
                  <a:pt x="25" y="19"/>
                </a:cubicBezTo>
                <a:close/>
                <a:moveTo>
                  <a:pt x="22" y="25"/>
                </a:moveTo>
                <a:cubicBezTo>
                  <a:pt x="21" y="25"/>
                  <a:pt x="21" y="25"/>
                  <a:pt x="21" y="25"/>
                </a:cubicBezTo>
                <a:cubicBezTo>
                  <a:pt x="20" y="24"/>
                  <a:pt x="20" y="24"/>
                  <a:pt x="20" y="24"/>
                </a:cubicBezTo>
                <a:cubicBezTo>
                  <a:pt x="21" y="24"/>
                  <a:pt x="21" y="24"/>
                  <a:pt x="21" y="24"/>
                </a:cubicBezTo>
                <a:cubicBezTo>
                  <a:pt x="21" y="23"/>
                  <a:pt x="21" y="23"/>
                  <a:pt x="21" y="23"/>
                </a:cubicBezTo>
                <a:cubicBezTo>
                  <a:pt x="19" y="23"/>
                  <a:pt x="19" y="23"/>
                  <a:pt x="19" y="23"/>
                </a:cubicBezTo>
                <a:cubicBezTo>
                  <a:pt x="18" y="23"/>
                  <a:pt x="18" y="23"/>
                  <a:pt x="18" y="23"/>
                </a:cubicBezTo>
                <a:cubicBezTo>
                  <a:pt x="18" y="22"/>
                  <a:pt x="18" y="22"/>
                  <a:pt x="18" y="22"/>
                </a:cubicBezTo>
                <a:cubicBezTo>
                  <a:pt x="18" y="21"/>
                  <a:pt x="18" y="21"/>
                  <a:pt x="18" y="21"/>
                </a:cubicBezTo>
                <a:cubicBezTo>
                  <a:pt x="17" y="20"/>
                  <a:pt x="17" y="20"/>
                  <a:pt x="17" y="20"/>
                </a:cubicBezTo>
                <a:cubicBezTo>
                  <a:pt x="17" y="19"/>
                  <a:pt x="17" y="19"/>
                  <a:pt x="17" y="19"/>
                </a:cubicBezTo>
                <a:cubicBezTo>
                  <a:pt x="18" y="19"/>
                  <a:pt x="18" y="19"/>
                  <a:pt x="18" y="19"/>
                </a:cubicBezTo>
                <a:cubicBezTo>
                  <a:pt x="18" y="18"/>
                  <a:pt x="18" y="18"/>
                  <a:pt x="18" y="18"/>
                </a:cubicBezTo>
                <a:cubicBezTo>
                  <a:pt x="19" y="17"/>
                  <a:pt x="19" y="17"/>
                  <a:pt x="19" y="17"/>
                </a:cubicBezTo>
                <a:cubicBezTo>
                  <a:pt x="19" y="18"/>
                  <a:pt x="19" y="18"/>
                  <a:pt x="19" y="18"/>
                </a:cubicBezTo>
                <a:cubicBezTo>
                  <a:pt x="19" y="19"/>
                  <a:pt x="19" y="19"/>
                  <a:pt x="19" y="19"/>
                </a:cubicBezTo>
                <a:cubicBezTo>
                  <a:pt x="21" y="19"/>
                  <a:pt x="21" y="19"/>
                  <a:pt x="21" y="19"/>
                </a:cubicBezTo>
                <a:cubicBezTo>
                  <a:pt x="21" y="19"/>
                  <a:pt x="21" y="19"/>
                  <a:pt x="21" y="19"/>
                </a:cubicBezTo>
                <a:cubicBezTo>
                  <a:pt x="22" y="19"/>
                  <a:pt x="22" y="19"/>
                  <a:pt x="22" y="19"/>
                </a:cubicBezTo>
                <a:cubicBezTo>
                  <a:pt x="22" y="19"/>
                  <a:pt x="22" y="19"/>
                  <a:pt x="22" y="19"/>
                </a:cubicBezTo>
                <a:cubicBezTo>
                  <a:pt x="21" y="18"/>
                  <a:pt x="21" y="18"/>
                  <a:pt x="21" y="18"/>
                </a:cubicBezTo>
                <a:cubicBezTo>
                  <a:pt x="20" y="17"/>
                  <a:pt x="20" y="17"/>
                  <a:pt x="20" y="17"/>
                </a:cubicBezTo>
                <a:cubicBezTo>
                  <a:pt x="21" y="16"/>
                  <a:pt x="21" y="16"/>
                  <a:pt x="21" y="16"/>
                </a:cubicBezTo>
                <a:cubicBezTo>
                  <a:pt x="22" y="16"/>
                  <a:pt x="22" y="16"/>
                  <a:pt x="22" y="16"/>
                </a:cubicBezTo>
                <a:cubicBezTo>
                  <a:pt x="24" y="16"/>
                  <a:pt x="24" y="16"/>
                  <a:pt x="24" y="16"/>
                </a:cubicBezTo>
                <a:cubicBezTo>
                  <a:pt x="24" y="17"/>
                  <a:pt x="24" y="17"/>
                  <a:pt x="24" y="17"/>
                </a:cubicBezTo>
                <a:cubicBezTo>
                  <a:pt x="24" y="18"/>
                  <a:pt x="24" y="18"/>
                  <a:pt x="24" y="18"/>
                </a:cubicBezTo>
                <a:cubicBezTo>
                  <a:pt x="24" y="20"/>
                  <a:pt x="24" y="20"/>
                  <a:pt x="24" y="20"/>
                </a:cubicBezTo>
                <a:cubicBezTo>
                  <a:pt x="23" y="20"/>
                  <a:pt x="23" y="20"/>
                  <a:pt x="23" y="20"/>
                </a:cubicBezTo>
                <a:cubicBezTo>
                  <a:pt x="23" y="21"/>
                  <a:pt x="23" y="21"/>
                  <a:pt x="23" y="21"/>
                </a:cubicBezTo>
                <a:cubicBezTo>
                  <a:pt x="24" y="22"/>
                  <a:pt x="24" y="22"/>
                  <a:pt x="24" y="22"/>
                </a:cubicBezTo>
                <a:cubicBezTo>
                  <a:pt x="24" y="22"/>
                  <a:pt x="24" y="22"/>
                  <a:pt x="24" y="22"/>
                </a:cubicBezTo>
                <a:cubicBezTo>
                  <a:pt x="23" y="23"/>
                  <a:pt x="23" y="23"/>
                  <a:pt x="23" y="23"/>
                </a:cubicBezTo>
                <a:cubicBezTo>
                  <a:pt x="22" y="23"/>
                  <a:pt x="22" y="23"/>
                  <a:pt x="22" y="23"/>
                </a:cubicBezTo>
                <a:cubicBezTo>
                  <a:pt x="22" y="24"/>
                  <a:pt x="22" y="24"/>
                  <a:pt x="22" y="24"/>
                </a:cubicBezTo>
                <a:cubicBezTo>
                  <a:pt x="22" y="25"/>
                  <a:pt x="22" y="25"/>
                  <a:pt x="22" y="25"/>
                </a:cubicBezTo>
                <a:close/>
                <a:moveTo>
                  <a:pt x="22" y="25"/>
                </a:moveTo>
                <a:cubicBezTo>
                  <a:pt x="23" y="26"/>
                  <a:pt x="23" y="26"/>
                  <a:pt x="23" y="26"/>
                </a:cubicBezTo>
                <a:cubicBezTo>
                  <a:pt x="23" y="25"/>
                  <a:pt x="23" y="25"/>
                  <a:pt x="23" y="25"/>
                </a:cubicBezTo>
                <a:cubicBezTo>
                  <a:pt x="24" y="25"/>
                  <a:pt x="24" y="25"/>
                  <a:pt x="24" y="25"/>
                </a:cubicBezTo>
                <a:cubicBezTo>
                  <a:pt x="24" y="24"/>
                  <a:pt x="24" y="24"/>
                  <a:pt x="24" y="24"/>
                </a:cubicBezTo>
                <a:cubicBezTo>
                  <a:pt x="23" y="25"/>
                  <a:pt x="23" y="25"/>
                  <a:pt x="23" y="25"/>
                </a:cubicBezTo>
                <a:cubicBezTo>
                  <a:pt x="22" y="25"/>
                  <a:pt x="22" y="25"/>
                  <a:pt x="22" y="25"/>
                </a:cubicBezTo>
                <a:close/>
                <a:moveTo>
                  <a:pt x="18" y="25"/>
                </a:moveTo>
                <a:cubicBezTo>
                  <a:pt x="19" y="27"/>
                  <a:pt x="19" y="27"/>
                  <a:pt x="19" y="27"/>
                </a:cubicBezTo>
                <a:cubicBezTo>
                  <a:pt x="20" y="27"/>
                  <a:pt x="20" y="27"/>
                  <a:pt x="20" y="27"/>
                </a:cubicBezTo>
                <a:cubicBezTo>
                  <a:pt x="20" y="27"/>
                  <a:pt x="20" y="27"/>
                  <a:pt x="20" y="27"/>
                </a:cubicBezTo>
                <a:cubicBezTo>
                  <a:pt x="21" y="26"/>
                  <a:pt x="21" y="26"/>
                  <a:pt x="21" y="26"/>
                </a:cubicBezTo>
                <a:cubicBezTo>
                  <a:pt x="22" y="26"/>
                  <a:pt x="22" y="26"/>
                  <a:pt x="22" y="26"/>
                </a:cubicBezTo>
                <a:cubicBezTo>
                  <a:pt x="22" y="25"/>
                  <a:pt x="22" y="25"/>
                  <a:pt x="22" y="25"/>
                </a:cubicBezTo>
                <a:cubicBezTo>
                  <a:pt x="22" y="26"/>
                  <a:pt x="22" y="26"/>
                  <a:pt x="22" y="26"/>
                </a:cubicBezTo>
                <a:cubicBezTo>
                  <a:pt x="22" y="27"/>
                  <a:pt x="22" y="27"/>
                  <a:pt x="22" y="27"/>
                </a:cubicBezTo>
                <a:cubicBezTo>
                  <a:pt x="22" y="28"/>
                  <a:pt x="22" y="28"/>
                  <a:pt x="22" y="28"/>
                </a:cubicBezTo>
                <a:cubicBezTo>
                  <a:pt x="21" y="28"/>
                  <a:pt x="21" y="28"/>
                  <a:pt x="21" y="28"/>
                </a:cubicBezTo>
                <a:cubicBezTo>
                  <a:pt x="21" y="27"/>
                  <a:pt x="21" y="27"/>
                  <a:pt x="21" y="27"/>
                </a:cubicBezTo>
                <a:cubicBezTo>
                  <a:pt x="20" y="28"/>
                  <a:pt x="20" y="28"/>
                  <a:pt x="20" y="28"/>
                </a:cubicBezTo>
                <a:cubicBezTo>
                  <a:pt x="19" y="28"/>
                  <a:pt x="19" y="28"/>
                  <a:pt x="19" y="28"/>
                </a:cubicBezTo>
                <a:cubicBezTo>
                  <a:pt x="17" y="28"/>
                  <a:pt x="17" y="28"/>
                  <a:pt x="17" y="28"/>
                </a:cubicBezTo>
                <a:cubicBezTo>
                  <a:pt x="16" y="27"/>
                  <a:pt x="16" y="27"/>
                  <a:pt x="16" y="27"/>
                </a:cubicBezTo>
                <a:cubicBezTo>
                  <a:pt x="17" y="27"/>
                  <a:pt x="17" y="27"/>
                  <a:pt x="17" y="27"/>
                </a:cubicBezTo>
                <a:cubicBezTo>
                  <a:pt x="17" y="26"/>
                  <a:pt x="17" y="26"/>
                  <a:pt x="17" y="26"/>
                </a:cubicBezTo>
                <a:cubicBezTo>
                  <a:pt x="17" y="25"/>
                  <a:pt x="17" y="25"/>
                  <a:pt x="17" y="25"/>
                </a:cubicBezTo>
                <a:cubicBezTo>
                  <a:pt x="18" y="25"/>
                  <a:pt x="18" y="25"/>
                  <a:pt x="18" y="25"/>
                </a:cubicBezTo>
                <a:close/>
                <a:moveTo>
                  <a:pt x="13" y="19"/>
                </a:moveTo>
                <a:cubicBezTo>
                  <a:pt x="14" y="18"/>
                  <a:pt x="14" y="18"/>
                  <a:pt x="14" y="18"/>
                </a:cubicBezTo>
                <a:cubicBezTo>
                  <a:pt x="14" y="16"/>
                  <a:pt x="14" y="16"/>
                  <a:pt x="14" y="16"/>
                </a:cubicBezTo>
                <a:cubicBezTo>
                  <a:pt x="14" y="18"/>
                  <a:pt x="14" y="18"/>
                  <a:pt x="14" y="18"/>
                </a:cubicBezTo>
                <a:cubicBezTo>
                  <a:pt x="14" y="19"/>
                  <a:pt x="14" y="19"/>
                  <a:pt x="14" y="19"/>
                </a:cubicBezTo>
                <a:cubicBezTo>
                  <a:pt x="13" y="19"/>
                  <a:pt x="13" y="19"/>
                  <a:pt x="13" y="19"/>
                </a:cubicBezTo>
                <a:close/>
                <a:moveTo>
                  <a:pt x="13" y="26"/>
                </a:moveTo>
                <a:cubicBezTo>
                  <a:pt x="14" y="27"/>
                  <a:pt x="14" y="27"/>
                  <a:pt x="14" y="27"/>
                </a:cubicBezTo>
                <a:cubicBezTo>
                  <a:pt x="14" y="26"/>
                  <a:pt x="14" y="26"/>
                  <a:pt x="14" y="26"/>
                </a:cubicBezTo>
                <a:cubicBezTo>
                  <a:pt x="13" y="26"/>
                  <a:pt x="13" y="26"/>
                  <a:pt x="13" y="26"/>
                </a:cubicBezTo>
                <a:close/>
                <a:moveTo>
                  <a:pt x="15" y="24"/>
                </a:moveTo>
                <a:cubicBezTo>
                  <a:pt x="15" y="25"/>
                  <a:pt x="15" y="25"/>
                  <a:pt x="15" y="25"/>
                </a:cubicBezTo>
                <a:cubicBezTo>
                  <a:pt x="15" y="26"/>
                  <a:pt x="15" y="26"/>
                  <a:pt x="15" y="26"/>
                </a:cubicBezTo>
                <a:cubicBezTo>
                  <a:pt x="15" y="27"/>
                  <a:pt x="15" y="27"/>
                  <a:pt x="15" y="27"/>
                </a:cubicBezTo>
                <a:cubicBezTo>
                  <a:pt x="16" y="26"/>
                  <a:pt x="16" y="26"/>
                  <a:pt x="16" y="26"/>
                </a:cubicBezTo>
                <a:cubicBezTo>
                  <a:pt x="16" y="25"/>
                  <a:pt x="16" y="25"/>
                  <a:pt x="16" y="25"/>
                </a:cubicBezTo>
                <a:cubicBezTo>
                  <a:pt x="16" y="25"/>
                  <a:pt x="15" y="24"/>
                  <a:pt x="15" y="24"/>
                </a:cubicBezTo>
                <a:close/>
                <a:moveTo>
                  <a:pt x="10" y="20"/>
                </a:moveTo>
                <a:cubicBezTo>
                  <a:pt x="12" y="20"/>
                  <a:pt x="12" y="20"/>
                  <a:pt x="12" y="20"/>
                </a:cubicBezTo>
                <a:cubicBezTo>
                  <a:pt x="13" y="21"/>
                  <a:pt x="13" y="21"/>
                  <a:pt x="13" y="21"/>
                </a:cubicBezTo>
                <a:cubicBezTo>
                  <a:pt x="14" y="21"/>
                  <a:pt x="14" y="21"/>
                  <a:pt x="14" y="21"/>
                </a:cubicBezTo>
                <a:cubicBezTo>
                  <a:pt x="15" y="22"/>
                  <a:pt x="15" y="22"/>
                  <a:pt x="15" y="22"/>
                </a:cubicBezTo>
                <a:cubicBezTo>
                  <a:pt x="15" y="23"/>
                  <a:pt x="15" y="23"/>
                  <a:pt x="15" y="23"/>
                </a:cubicBezTo>
                <a:cubicBezTo>
                  <a:pt x="14" y="25"/>
                  <a:pt x="14" y="25"/>
                  <a:pt x="14" y="25"/>
                </a:cubicBezTo>
                <a:cubicBezTo>
                  <a:pt x="13" y="25"/>
                  <a:pt x="13" y="25"/>
                  <a:pt x="13" y="25"/>
                </a:cubicBezTo>
                <a:cubicBezTo>
                  <a:pt x="12" y="25"/>
                  <a:pt x="12" y="25"/>
                  <a:pt x="12" y="25"/>
                </a:cubicBezTo>
                <a:cubicBezTo>
                  <a:pt x="11" y="25"/>
                  <a:pt x="11" y="25"/>
                  <a:pt x="11" y="25"/>
                </a:cubicBezTo>
                <a:cubicBezTo>
                  <a:pt x="10" y="23"/>
                  <a:pt x="10" y="23"/>
                  <a:pt x="10" y="23"/>
                </a:cubicBezTo>
                <a:cubicBezTo>
                  <a:pt x="9" y="22"/>
                  <a:pt x="9" y="22"/>
                  <a:pt x="9" y="22"/>
                </a:cubicBezTo>
                <a:cubicBezTo>
                  <a:pt x="10" y="20"/>
                  <a:pt x="10" y="20"/>
                  <a:pt x="10" y="20"/>
                </a:cubicBezTo>
                <a:close/>
                <a:moveTo>
                  <a:pt x="15" y="5"/>
                </a:moveTo>
                <a:cubicBezTo>
                  <a:pt x="15" y="4"/>
                  <a:pt x="15" y="4"/>
                  <a:pt x="15" y="4"/>
                </a:cubicBezTo>
                <a:cubicBezTo>
                  <a:pt x="17" y="4"/>
                  <a:pt x="17" y="4"/>
                  <a:pt x="17" y="4"/>
                </a:cubicBezTo>
                <a:cubicBezTo>
                  <a:pt x="16" y="5"/>
                  <a:pt x="16" y="5"/>
                  <a:pt x="16" y="5"/>
                </a:cubicBezTo>
                <a:cubicBezTo>
                  <a:pt x="15" y="5"/>
                  <a:pt x="15" y="5"/>
                  <a:pt x="15" y="5"/>
                </a:cubicBezTo>
                <a:close/>
                <a:moveTo>
                  <a:pt x="4" y="11"/>
                </a:moveTo>
                <a:cubicBezTo>
                  <a:pt x="3" y="9"/>
                  <a:pt x="3" y="9"/>
                  <a:pt x="3" y="9"/>
                </a:cubicBezTo>
                <a:cubicBezTo>
                  <a:pt x="4" y="8"/>
                  <a:pt x="4" y="8"/>
                  <a:pt x="4" y="8"/>
                </a:cubicBezTo>
                <a:cubicBezTo>
                  <a:pt x="5" y="8"/>
                  <a:pt x="5" y="8"/>
                  <a:pt x="5" y="8"/>
                </a:cubicBezTo>
                <a:cubicBezTo>
                  <a:pt x="5" y="9"/>
                  <a:pt x="5" y="9"/>
                  <a:pt x="5" y="9"/>
                </a:cubicBezTo>
                <a:cubicBezTo>
                  <a:pt x="4" y="10"/>
                  <a:pt x="4" y="10"/>
                  <a:pt x="4" y="10"/>
                </a:cubicBezTo>
                <a:cubicBezTo>
                  <a:pt x="4" y="11"/>
                  <a:pt x="4" y="11"/>
                  <a:pt x="4" y="11"/>
                </a:cubicBezTo>
                <a:close/>
                <a:moveTo>
                  <a:pt x="3" y="11"/>
                </a:moveTo>
                <a:cubicBezTo>
                  <a:pt x="3" y="10"/>
                  <a:pt x="3" y="10"/>
                  <a:pt x="3" y="10"/>
                </a:cubicBezTo>
                <a:cubicBezTo>
                  <a:pt x="3" y="9"/>
                  <a:pt x="3" y="9"/>
                  <a:pt x="3" y="9"/>
                </a:cubicBezTo>
                <a:cubicBezTo>
                  <a:pt x="5" y="7"/>
                  <a:pt x="5" y="7"/>
                  <a:pt x="5" y="7"/>
                </a:cubicBezTo>
                <a:cubicBezTo>
                  <a:pt x="5" y="8"/>
                  <a:pt x="5" y="8"/>
                  <a:pt x="5" y="8"/>
                </a:cubicBezTo>
                <a:cubicBezTo>
                  <a:pt x="7" y="7"/>
                  <a:pt x="7" y="7"/>
                  <a:pt x="7" y="7"/>
                </a:cubicBezTo>
                <a:cubicBezTo>
                  <a:pt x="8" y="8"/>
                  <a:pt x="8" y="8"/>
                  <a:pt x="8" y="8"/>
                </a:cubicBezTo>
                <a:cubicBezTo>
                  <a:pt x="9" y="7"/>
                  <a:pt x="9" y="7"/>
                  <a:pt x="9" y="7"/>
                </a:cubicBezTo>
                <a:cubicBezTo>
                  <a:pt x="10" y="7"/>
                  <a:pt x="10" y="7"/>
                  <a:pt x="10" y="7"/>
                </a:cubicBezTo>
                <a:cubicBezTo>
                  <a:pt x="11" y="8"/>
                  <a:pt x="11" y="8"/>
                  <a:pt x="11" y="8"/>
                </a:cubicBezTo>
                <a:cubicBezTo>
                  <a:pt x="12" y="8"/>
                  <a:pt x="12" y="8"/>
                  <a:pt x="12" y="8"/>
                </a:cubicBezTo>
                <a:cubicBezTo>
                  <a:pt x="13" y="5"/>
                  <a:pt x="13" y="5"/>
                  <a:pt x="13" y="5"/>
                </a:cubicBezTo>
                <a:cubicBezTo>
                  <a:pt x="13" y="4"/>
                  <a:pt x="13" y="4"/>
                  <a:pt x="13" y="4"/>
                </a:cubicBezTo>
                <a:cubicBezTo>
                  <a:pt x="13" y="4"/>
                  <a:pt x="13" y="4"/>
                  <a:pt x="13" y="4"/>
                </a:cubicBezTo>
                <a:cubicBezTo>
                  <a:pt x="13" y="2"/>
                  <a:pt x="13" y="2"/>
                  <a:pt x="13" y="2"/>
                </a:cubicBezTo>
                <a:cubicBezTo>
                  <a:pt x="14" y="1"/>
                  <a:pt x="14" y="1"/>
                  <a:pt x="14" y="1"/>
                </a:cubicBezTo>
                <a:cubicBezTo>
                  <a:pt x="13" y="0"/>
                  <a:pt x="13" y="0"/>
                  <a:pt x="13" y="0"/>
                </a:cubicBezTo>
                <a:cubicBezTo>
                  <a:pt x="12" y="2"/>
                  <a:pt x="12" y="2"/>
                  <a:pt x="12" y="2"/>
                </a:cubicBezTo>
                <a:cubicBezTo>
                  <a:pt x="10" y="3"/>
                  <a:pt x="10" y="3"/>
                  <a:pt x="10" y="3"/>
                </a:cubicBezTo>
                <a:cubicBezTo>
                  <a:pt x="9" y="3"/>
                  <a:pt x="9" y="3"/>
                  <a:pt x="9" y="3"/>
                </a:cubicBezTo>
                <a:cubicBezTo>
                  <a:pt x="8" y="4"/>
                  <a:pt x="8" y="4"/>
                  <a:pt x="8" y="4"/>
                </a:cubicBezTo>
                <a:cubicBezTo>
                  <a:pt x="8" y="5"/>
                  <a:pt x="8" y="5"/>
                  <a:pt x="8" y="5"/>
                </a:cubicBezTo>
                <a:cubicBezTo>
                  <a:pt x="6" y="6"/>
                  <a:pt x="6" y="6"/>
                  <a:pt x="6" y="6"/>
                </a:cubicBezTo>
                <a:cubicBezTo>
                  <a:pt x="5" y="6"/>
                  <a:pt x="5" y="6"/>
                  <a:pt x="5" y="6"/>
                </a:cubicBezTo>
                <a:cubicBezTo>
                  <a:pt x="3" y="7"/>
                  <a:pt x="3" y="7"/>
                  <a:pt x="3" y="7"/>
                </a:cubicBezTo>
                <a:cubicBezTo>
                  <a:pt x="3" y="7"/>
                  <a:pt x="3" y="7"/>
                  <a:pt x="3" y="7"/>
                </a:cubicBezTo>
                <a:cubicBezTo>
                  <a:pt x="2" y="7"/>
                  <a:pt x="2" y="7"/>
                  <a:pt x="2" y="7"/>
                </a:cubicBezTo>
                <a:cubicBezTo>
                  <a:pt x="2" y="9"/>
                  <a:pt x="2" y="9"/>
                  <a:pt x="2" y="9"/>
                </a:cubicBezTo>
                <a:cubicBezTo>
                  <a:pt x="1" y="10"/>
                  <a:pt x="1" y="10"/>
                  <a:pt x="1" y="10"/>
                </a:cubicBezTo>
                <a:cubicBezTo>
                  <a:pt x="1" y="10"/>
                  <a:pt x="1" y="10"/>
                  <a:pt x="1" y="10"/>
                </a:cubicBezTo>
                <a:cubicBezTo>
                  <a:pt x="2" y="10"/>
                  <a:pt x="2" y="10"/>
                  <a:pt x="2" y="10"/>
                </a:cubicBezTo>
                <a:cubicBezTo>
                  <a:pt x="3" y="11"/>
                  <a:pt x="3" y="11"/>
                  <a:pt x="3" y="11"/>
                </a:cubicBezTo>
                <a:close/>
                <a:moveTo>
                  <a:pt x="9" y="26"/>
                </a:moveTo>
                <a:cubicBezTo>
                  <a:pt x="8" y="26"/>
                  <a:pt x="8" y="26"/>
                  <a:pt x="8" y="26"/>
                </a:cubicBezTo>
                <a:cubicBezTo>
                  <a:pt x="9" y="25"/>
                  <a:pt x="9" y="25"/>
                  <a:pt x="9" y="25"/>
                </a:cubicBezTo>
                <a:cubicBezTo>
                  <a:pt x="8" y="24"/>
                  <a:pt x="8" y="24"/>
                  <a:pt x="8" y="24"/>
                </a:cubicBezTo>
                <a:cubicBezTo>
                  <a:pt x="7" y="24"/>
                  <a:pt x="7" y="24"/>
                  <a:pt x="7" y="24"/>
                </a:cubicBezTo>
                <a:cubicBezTo>
                  <a:pt x="8" y="24"/>
                  <a:pt x="8" y="24"/>
                  <a:pt x="8" y="24"/>
                </a:cubicBezTo>
                <a:cubicBezTo>
                  <a:pt x="8" y="23"/>
                  <a:pt x="8" y="23"/>
                  <a:pt x="8" y="23"/>
                </a:cubicBezTo>
                <a:cubicBezTo>
                  <a:pt x="8" y="22"/>
                  <a:pt x="8" y="22"/>
                  <a:pt x="8" y="22"/>
                </a:cubicBezTo>
                <a:cubicBezTo>
                  <a:pt x="8" y="22"/>
                  <a:pt x="8" y="22"/>
                  <a:pt x="8" y="22"/>
                </a:cubicBezTo>
                <a:cubicBezTo>
                  <a:pt x="8" y="21"/>
                  <a:pt x="8" y="21"/>
                  <a:pt x="8" y="21"/>
                </a:cubicBezTo>
                <a:cubicBezTo>
                  <a:pt x="10" y="20"/>
                  <a:pt x="10" y="20"/>
                  <a:pt x="10" y="20"/>
                </a:cubicBezTo>
                <a:cubicBezTo>
                  <a:pt x="10" y="19"/>
                  <a:pt x="10" y="19"/>
                  <a:pt x="10" y="19"/>
                </a:cubicBezTo>
                <a:cubicBezTo>
                  <a:pt x="11" y="18"/>
                  <a:pt x="11" y="18"/>
                  <a:pt x="11" y="18"/>
                </a:cubicBezTo>
                <a:cubicBezTo>
                  <a:pt x="11" y="18"/>
                  <a:pt x="11" y="18"/>
                  <a:pt x="11" y="18"/>
                </a:cubicBezTo>
                <a:cubicBezTo>
                  <a:pt x="12" y="18"/>
                  <a:pt x="12" y="18"/>
                  <a:pt x="12" y="18"/>
                </a:cubicBezTo>
                <a:cubicBezTo>
                  <a:pt x="12" y="16"/>
                  <a:pt x="12" y="16"/>
                  <a:pt x="12" y="16"/>
                </a:cubicBezTo>
                <a:cubicBezTo>
                  <a:pt x="12" y="15"/>
                  <a:pt x="12" y="15"/>
                  <a:pt x="12" y="15"/>
                </a:cubicBezTo>
                <a:cubicBezTo>
                  <a:pt x="13" y="14"/>
                  <a:pt x="13" y="14"/>
                  <a:pt x="13" y="14"/>
                </a:cubicBezTo>
                <a:cubicBezTo>
                  <a:pt x="14" y="14"/>
                  <a:pt x="14" y="14"/>
                  <a:pt x="14" y="14"/>
                </a:cubicBezTo>
                <a:cubicBezTo>
                  <a:pt x="14" y="15"/>
                  <a:pt x="14" y="15"/>
                  <a:pt x="14" y="15"/>
                </a:cubicBezTo>
                <a:cubicBezTo>
                  <a:pt x="15" y="15"/>
                  <a:pt x="15" y="15"/>
                  <a:pt x="15" y="15"/>
                </a:cubicBezTo>
                <a:cubicBezTo>
                  <a:pt x="15" y="15"/>
                  <a:pt x="15" y="15"/>
                  <a:pt x="15" y="15"/>
                </a:cubicBezTo>
                <a:cubicBezTo>
                  <a:pt x="16" y="14"/>
                  <a:pt x="16" y="14"/>
                  <a:pt x="16" y="14"/>
                </a:cubicBezTo>
                <a:cubicBezTo>
                  <a:pt x="16" y="13"/>
                  <a:pt x="16" y="13"/>
                  <a:pt x="16" y="13"/>
                </a:cubicBezTo>
                <a:cubicBezTo>
                  <a:pt x="15" y="12"/>
                  <a:pt x="15" y="12"/>
                  <a:pt x="15" y="12"/>
                </a:cubicBezTo>
                <a:cubicBezTo>
                  <a:pt x="14" y="13"/>
                  <a:pt x="14" y="13"/>
                  <a:pt x="14" y="13"/>
                </a:cubicBezTo>
                <a:cubicBezTo>
                  <a:pt x="13" y="13"/>
                  <a:pt x="13" y="13"/>
                  <a:pt x="13" y="13"/>
                </a:cubicBezTo>
                <a:cubicBezTo>
                  <a:pt x="12" y="12"/>
                  <a:pt x="12" y="12"/>
                  <a:pt x="12" y="12"/>
                </a:cubicBezTo>
                <a:cubicBezTo>
                  <a:pt x="12" y="11"/>
                  <a:pt x="12" y="11"/>
                  <a:pt x="12" y="11"/>
                </a:cubicBezTo>
                <a:cubicBezTo>
                  <a:pt x="11" y="11"/>
                  <a:pt x="11" y="11"/>
                  <a:pt x="11" y="11"/>
                </a:cubicBezTo>
                <a:cubicBezTo>
                  <a:pt x="11" y="10"/>
                  <a:pt x="11" y="10"/>
                  <a:pt x="11" y="10"/>
                </a:cubicBezTo>
                <a:cubicBezTo>
                  <a:pt x="11" y="9"/>
                  <a:pt x="11" y="9"/>
                  <a:pt x="11" y="9"/>
                </a:cubicBezTo>
                <a:cubicBezTo>
                  <a:pt x="10" y="8"/>
                  <a:pt x="10" y="8"/>
                  <a:pt x="10" y="8"/>
                </a:cubicBezTo>
                <a:cubicBezTo>
                  <a:pt x="8" y="8"/>
                  <a:pt x="8" y="8"/>
                  <a:pt x="8" y="8"/>
                </a:cubicBezTo>
                <a:cubicBezTo>
                  <a:pt x="7" y="8"/>
                  <a:pt x="7" y="8"/>
                  <a:pt x="7" y="8"/>
                </a:cubicBezTo>
                <a:cubicBezTo>
                  <a:pt x="6" y="8"/>
                  <a:pt x="6" y="8"/>
                  <a:pt x="6" y="8"/>
                </a:cubicBezTo>
                <a:cubicBezTo>
                  <a:pt x="6" y="9"/>
                  <a:pt x="6" y="9"/>
                  <a:pt x="6" y="9"/>
                </a:cubicBezTo>
                <a:cubicBezTo>
                  <a:pt x="7" y="10"/>
                  <a:pt x="7" y="10"/>
                  <a:pt x="7" y="10"/>
                </a:cubicBezTo>
                <a:cubicBezTo>
                  <a:pt x="7" y="11"/>
                  <a:pt x="7" y="11"/>
                  <a:pt x="7" y="11"/>
                </a:cubicBezTo>
                <a:cubicBezTo>
                  <a:pt x="8" y="12"/>
                  <a:pt x="8" y="12"/>
                  <a:pt x="8" y="12"/>
                </a:cubicBezTo>
                <a:cubicBezTo>
                  <a:pt x="8" y="12"/>
                  <a:pt x="8" y="12"/>
                  <a:pt x="8" y="12"/>
                </a:cubicBezTo>
                <a:cubicBezTo>
                  <a:pt x="7" y="12"/>
                  <a:pt x="7" y="12"/>
                  <a:pt x="7" y="12"/>
                </a:cubicBezTo>
                <a:cubicBezTo>
                  <a:pt x="6" y="12"/>
                  <a:pt x="6" y="12"/>
                  <a:pt x="6" y="12"/>
                </a:cubicBezTo>
                <a:cubicBezTo>
                  <a:pt x="5" y="12"/>
                  <a:pt x="5" y="12"/>
                  <a:pt x="5" y="12"/>
                </a:cubicBezTo>
                <a:cubicBezTo>
                  <a:pt x="6" y="11"/>
                  <a:pt x="6" y="11"/>
                  <a:pt x="6" y="11"/>
                </a:cubicBezTo>
                <a:cubicBezTo>
                  <a:pt x="5" y="10"/>
                  <a:pt x="5" y="10"/>
                  <a:pt x="5" y="10"/>
                </a:cubicBezTo>
                <a:cubicBezTo>
                  <a:pt x="5" y="10"/>
                  <a:pt x="5" y="10"/>
                  <a:pt x="5" y="10"/>
                </a:cubicBezTo>
                <a:cubicBezTo>
                  <a:pt x="4" y="11"/>
                  <a:pt x="4" y="11"/>
                  <a:pt x="4" y="11"/>
                </a:cubicBezTo>
                <a:cubicBezTo>
                  <a:pt x="5" y="12"/>
                  <a:pt x="5" y="12"/>
                  <a:pt x="5" y="12"/>
                </a:cubicBezTo>
                <a:cubicBezTo>
                  <a:pt x="4" y="13"/>
                  <a:pt x="4" y="13"/>
                  <a:pt x="4" y="13"/>
                </a:cubicBezTo>
                <a:cubicBezTo>
                  <a:pt x="3" y="12"/>
                  <a:pt x="3" y="12"/>
                  <a:pt x="3" y="12"/>
                </a:cubicBezTo>
                <a:cubicBezTo>
                  <a:pt x="2" y="12"/>
                  <a:pt x="2" y="12"/>
                  <a:pt x="2" y="12"/>
                </a:cubicBezTo>
                <a:cubicBezTo>
                  <a:pt x="1" y="11"/>
                  <a:pt x="1" y="11"/>
                  <a:pt x="1" y="11"/>
                </a:cubicBezTo>
                <a:cubicBezTo>
                  <a:pt x="0" y="12"/>
                  <a:pt x="0" y="12"/>
                  <a:pt x="0" y="12"/>
                </a:cubicBezTo>
                <a:cubicBezTo>
                  <a:pt x="2" y="13"/>
                  <a:pt x="2" y="13"/>
                  <a:pt x="2" y="13"/>
                </a:cubicBezTo>
                <a:cubicBezTo>
                  <a:pt x="2" y="15"/>
                  <a:pt x="2" y="15"/>
                  <a:pt x="2" y="15"/>
                </a:cubicBezTo>
                <a:cubicBezTo>
                  <a:pt x="1" y="14"/>
                  <a:pt x="1" y="14"/>
                  <a:pt x="1" y="14"/>
                </a:cubicBezTo>
                <a:cubicBezTo>
                  <a:pt x="0" y="14"/>
                  <a:pt x="0" y="14"/>
                  <a:pt x="0" y="14"/>
                </a:cubicBezTo>
                <a:cubicBezTo>
                  <a:pt x="0" y="16"/>
                  <a:pt x="0" y="16"/>
                  <a:pt x="0" y="16"/>
                </a:cubicBezTo>
                <a:cubicBezTo>
                  <a:pt x="1" y="16"/>
                  <a:pt x="1" y="16"/>
                  <a:pt x="1" y="16"/>
                </a:cubicBezTo>
                <a:cubicBezTo>
                  <a:pt x="1" y="18"/>
                  <a:pt x="1" y="18"/>
                  <a:pt x="1" y="18"/>
                </a:cubicBezTo>
                <a:cubicBezTo>
                  <a:pt x="2" y="18"/>
                  <a:pt x="2" y="18"/>
                  <a:pt x="2" y="18"/>
                </a:cubicBezTo>
                <a:cubicBezTo>
                  <a:pt x="0" y="19"/>
                  <a:pt x="0" y="19"/>
                  <a:pt x="0" y="19"/>
                </a:cubicBezTo>
                <a:cubicBezTo>
                  <a:pt x="0" y="21"/>
                  <a:pt x="0" y="21"/>
                  <a:pt x="0" y="21"/>
                </a:cubicBezTo>
                <a:cubicBezTo>
                  <a:pt x="0" y="21"/>
                  <a:pt x="0" y="21"/>
                  <a:pt x="0" y="21"/>
                </a:cubicBezTo>
                <a:cubicBezTo>
                  <a:pt x="1" y="21"/>
                  <a:pt x="1" y="21"/>
                  <a:pt x="1" y="21"/>
                </a:cubicBezTo>
                <a:cubicBezTo>
                  <a:pt x="3" y="22"/>
                  <a:pt x="3" y="22"/>
                  <a:pt x="3" y="22"/>
                </a:cubicBezTo>
                <a:cubicBezTo>
                  <a:pt x="3" y="24"/>
                  <a:pt x="3" y="24"/>
                  <a:pt x="3" y="24"/>
                </a:cubicBezTo>
                <a:cubicBezTo>
                  <a:pt x="3" y="24"/>
                  <a:pt x="3" y="24"/>
                  <a:pt x="3" y="24"/>
                </a:cubicBezTo>
                <a:cubicBezTo>
                  <a:pt x="3" y="25"/>
                  <a:pt x="3" y="25"/>
                  <a:pt x="3" y="25"/>
                </a:cubicBezTo>
                <a:cubicBezTo>
                  <a:pt x="4" y="25"/>
                  <a:pt x="4" y="25"/>
                  <a:pt x="4" y="25"/>
                </a:cubicBezTo>
                <a:cubicBezTo>
                  <a:pt x="7" y="26"/>
                  <a:pt x="7" y="26"/>
                  <a:pt x="7" y="26"/>
                </a:cubicBezTo>
                <a:cubicBezTo>
                  <a:pt x="7" y="26"/>
                  <a:pt x="7" y="26"/>
                  <a:pt x="7" y="26"/>
                </a:cubicBezTo>
                <a:lnTo>
                  <a:pt x="9" y="2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5" name="Freeform 43">
            <a:extLst>
              <a:ext uri="{FF2B5EF4-FFF2-40B4-BE49-F238E27FC236}">
                <a16:creationId xmlns:a16="http://schemas.microsoft.com/office/drawing/2014/main" id="{0E7476C6-83FD-51F6-1CFF-62791C16F857}"/>
              </a:ext>
            </a:extLst>
          </p:cNvPr>
          <p:cNvSpPr>
            <a:spLocks noEditPoints="1"/>
          </p:cNvSpPr>
          <p:nvPr userDrawn="1"/>
        </p:nvSpPr>
        <p:spPr bwMode="auto">
          <a:xfrm>
            <a:off x="13388102" y="3815633"/>
            <a:ext cx="1260396" cy="1457326"/>
          </a:xfrm>
          <a:custGeom>
            <a:avLst/>
            <a:gdLst>
              <a:gd name="T0" fmla="*/ 122 w 127"/>
              <a:gd name="T1" fmla="*/ 18 h 147"/>
              <a:gd name="T2" fmla="*/ 126 w 127"/>
              <a:gd name="T3" fmla="*/ 10 h 147"/>
              <a:gd name="T4" fmla="*/ 117 w 127"/>
              <a:gd name="T5" fmla="*/ 6 h 147"/>
              <a:gd name="T6" fmla="*/ 111 w 127"/>
              <a:gd name="T7" fmla="*/ 7 h 147"/>
              <a:gd name="T8" fmla="*/ 108 w 127"/>
              <a:gd name="T9" fmla="*/ 0 h 147"/>
              <a:gd name="T10" fmla="*/ 104 w 127"/>
              <a:gd name="T11" fmla="*/ 9 h 147"/>
              <a:gd name="T12" fmla="*/ 95 w 127"/>
              <a:gd name="T13" fmla="*/ 13 h 147"/>
              <a:gd name="T14" fmla="*/ 91 w 127"/>
              <a:gd name="T15" fmla="*/ 5 h 147"/>
              <a:gd name="T16" fmla="*/ 88 w 127"/>
              <a:gd name="T17" fmla="*/ 15 h 147"/>
              <a:gd name="T18" fmla="*/ 81 w 127"/>
              <a:gd name="T19" fmla="*/ 17 h 147"/>
              <a:gd name="T20" fmla="*/ 72 w 127"/>
              <a:gd name="T21" fmla="*/ 25 h 147"/>
              <a:gd name="T22" fmla="*/ 69 w 127"/>
              <a:gd name="T23" fmla="*/ 27 h 147"/>
              <a:gd name="T24" fmla="*/ 62 w 127"/>
              <a:gd name="T25" fmla="*/ 27 h 147"/>
              <a:gd name="T26" fmla="*/ 56 w 127"/>
              <a:gd name="T27" fmla="*/ 36 h 147"/>
              <a:gd name="T28" fmla="*/ 55 w 127"/>
              <a:gd name="T29" fmla="*/ 40 h 147"/>
              <a:gd name="T30" fmla="*/ 49 w 127"/>
              <a:gd name="T31" fmla="*/ 45 h 147"/>
              <a:gd name="T32" fmla="*/ 50 w 127"/>
              <a:gd name="T33" fmla="*/ 50 h 147"/>
              <a:gd name="T34" fmla="*/ 44 w 127"/>
              <a:gd name="T35" fmla="*/ 57 h 147"/>
              <a:gd name="T36" fmla="*/ 43 w 127"/>
              <a:gd name="T37" fmla="*/ 62 h 147"/>
              <a:gd name="T38" fmla="*/ 40 w 127"/>
              <a:gd name="T39" fmla="*/ 71 h 147"/>
              <a:gd name="T40" fmla="*/ 33 w 127"/>
              <a:gd name="T41" fmla="*/ 79 h 147"/>
              <a:gd name="T42" fmla="*/ 25 w 127"/>
              <a:gd name="T43" fmla="*/ 89 h 147"/>
              <a:gd name="T44" fmla="*/ 34 w 127"/>
              <a:gd name="T45" fmla="*/ 88 h 147"/>
              <a:gd name="T46" fmla="*/ 23 w 127"/>
              <a:gd name="T47" fmla="*/ 92 h 147"/>
              <a:gd name="T48" fmla="*/ 20 w 127"/>
              <a:gd name="T49" fmla="*/ 98 h 147"/>
              <a:gd name="T50" fmla="*/ 14 w 127"/>
              <a:gd name="T51" fmla="*/ 99 h 147"/>
              <a:gd name="T52" fmla="*/ 12 w 127"/>
              <a:gd name="T53" fmla="*/ 104 h 147"/>
              <a:gd name="T54" fmla="*/ 2 w 127"/>
              <a:gd name="T55" fmla="*/ 106 h 147"/>
              <a:gd name="T56" fmla="*/ 3 w 127"/>
              <a:gd name="T57" fmla="*/ 112 h 147"/>
              <a:gd name="T58" fmla="*/ 9 w 127"/>
              <a:gd name="T59" fmla="*/ 114 h 147"/>
              <a:gd name="T60" fmla="*/ 12 w 127"/>
              <a:gd name="T61" fmla="*/ 117 h 147"/>
              <a:gd name="T62" fmla="*/ 3 w 127"/>
              <a:gd name="T63" fmla="*/ 120 h 147"/>
              <a:gd name="T64" fmla="*/ 11 w 127"/>
              <a:gd name="T65" fmla="*/ 122 h 147"/>
              <a:gd name="T66" fmla="*/ 5 w 127"/>
              <a:gd name="T67" fmla="*/ 131 h 147"/>
              <a:gd name="T68" fmla="*/ 9 w 127"/>
              <a:gd name="T69" fmla="*/ 138 h 147"/>
              <a:gd name="T70" fmla="*/ 15 w 127"/>
              <a:gd name="T71" fmla="*/ 147 h 147"/>
              <a:gd name="T72" fmla="*/ 26 w 127"/>
              <a:gd name="T73" fmla="*/ 136 h 147"/>
              <a:gd name="T74" fmla="*/ 31 w 127"/>
              <a:gd name="T75" fmla="*/ 132 h 147"/>
              <a:gd name="T76" fmla="*/ 39 w 127"/>
              <a:gd name="T77" fmla="*/ 137 h 147"/>
              <a:gd name="T78" fmla="*/ 40 w 127"/>
              <a:gd name="T79" fmla="*/ 103 h 147"/>
              <a:gd name="T80" fmla="*/ 48 w 127"/>
              <a:gd name="T81" fmla="*/ 62 h 147"/>
              <a:gd name="T82" fmla="*/ 64 w 127"/>
              <a:gd name="T83" fmla="*/ 38 h 147"/>
              <a:gd name="T84" fmla="*/ 75 w 127"/>
              <a:gd name="T85" fmla="*/ 28 h 147"/>
              <a:gd name="T86" fmla="*/ 97 w 127"/>
              <a:gd name="T87" fmla="*/ 31 h 147"/>
              <a:gd name="T88" fmla="*/ 112 w 127"/>
              <a:gd name="T89" fmla="*/ 15 h 147"/>
              <a:gd name="T90" fmla="*/ 4 w 127"/>
              <a:gd name="T91" fmla="*/ 127 h 147"/>
              <a:gd name="T92" fmla="*/ 2 w 127"/>
              <a:gd name="T93" fmla="*/ 124 h 147"/>
              <a:gd name="T94" fmla="*/ 5 w 127"/>
              <a:gd name="T95" fmla="*/ 104 h 147"/>
              <a:gd name="T96" fmla="*/ 22 w 127"/>
              <a:gd name="T97" fmla="*/ 90 h 147"/>
              <a:gd name="T98" fmla="*/ 37 w 127"/>
              <a:gd name="T99" fmla="*/ 68 h 147"/>
              <a:gd name="T100" fmla="*/ 38 w 127"/>
              <a:gd name="T101" fmla="*/ 46 h 147"/>
              <a:gd name="T102" fmla="*/ 47 w 127"/>
              <a:gd name="T103" fmla="*/ 35 h 147"/>
              <a:gd name="T104" fmla="*/ 51 w 127"/>
              <a:gd name="T105" fmla="*/ 30 h 147"/>
              <a:gd name="T106" fmla="*/ 50 w 127"/>
              <a:gd name="T107" fmla="*/ 34 h 147"/>
              <a:gd name="T108" fmla="*/ 62 w 127"/>
              <a:gd name="T109" fmla="*/ 25 h 147"/>
              <a:gd name="T110" fmla="*/ 62 w 127"/>
              <a:gd name="T111" fmla="*/ 25 h 147"/>
              <a:gd name="T112" fmla="*/ 69 w 127"/>
              <a:gd name="T113" fmla="*/ 19 h 147"/>
              <a:gd name="T114" fmla="*/ 72 w 127"/>
              <a:gd name="T115" fmla="*/ 15 h 147"/>
              <a:gd name="T116" fmla="*/ 88 w 127"/>
              <a:gd name="T117" fmla="*/ 9 h 147"/>
              <a:gd name="T118" fmla="*/ 88 w 127"/>
              <a:gd name="T119" fmla="*/ 6 h 147"/>
              <a:gd name="T120" fmla="*/ 100 w 127"/>
              <a:gd name="T121" fmla="*/ 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7" h="147">
                <a:moveTo>
                  <a:pt x="118" y="26"/>
                </a:moveTo>
                <a:cubicBezTo>
                  <a:pt x="119" y="26"/>
                  <a:pt x="119" y="26"/>
                  <a:pt x="119" y="26"/>
                </a:cubicBezTo>
                <a:cubicBezTo>
                  <a:pt x="119" y="24"/>
                  <a:pt x="119" y="24"/>
                  <a:pt x="119" y="24"/>
                </a:cubicBezTo>
                <a:cubicBezTo>
                  <a:pt x="121" y="22"/>
                  <a:pt x="121" y="22"/>
                  <a:pt x="121" y="22"/>
                </a:cubicBezTo>
                <a:cubicBezTo>
                  <a:pt x="122" y="22"/>
                  <a:pt x="122" y="22"/>
                  <a:pt x="122" y="22"/>
                </a:cubicBezTo>
                <a:cubicBezTo>
                  <a:pt x="123" y="21"/>
                  <a:pt x="123" y="21"/>
                  <a:pt x="123" y="21"/>
                </a:cubicBezTo>
                <a:cubicBezTo>
                  <a:pt x="123" y="19"/>
                  <a:pt x="123" y="19"/>
                  <a:pt x="123" y="19"/>
                </a:cubicBezTo>
                <a:cubicBezTo>
                  <a:pt x="124" y="19"/>
                  <a:pt x="124" y="19"/>
                  <a:pt x="124" y="19"/>
                </a:cubicBezTo>
                <a:cubicBezTo>
                  <a:pt x="125" y="19"/>
                  <a:pt x="125" y="19"/>
                  <a:pt x="125" y="19"/>
                </a:cubicBezTo>
                <a:cubicBezTo>
                  <a:pt x="126" y="18"/>
                  <a:pt x="126" y="18"/>
                  <a:pt x="126" y="18"/>
                </a:cubicBezTo>
                <a:cubicBezTo>
                  <a:pt x="126" y="17"/>
                  <a:pt x="126" y="17"/>
                  <a:pt x="126" y="17"/>
                </a:cubicBezTo>
                <a:cubicBezTo>
                  <a:pt x="126" y="17"/>
                  <a:pt x="126" y="17"/>
                  <a:pt x="126" y="17"/>
                </a:cubicBezTo>
                <a:cubicBezTo>
                  <a:pt x="125" y="16"/>
                  <a:pt x="125" y="16"/>
                  <a:pt x="125" y="16"/>
                </a:cubicBezTo>
                <a:cubicBezTo>
                  <a:pt x="124" y="16"/>
                  <a:pt x="124" y="16"/>
                  <a:pt x="124" y="16"/>
                </a:cubicBezTo>
                <a:cubicBezTo>
                  <a:pt x="124" y="17"/>
                  <a:pt x="124" y="17"/>
                  <a:pt x="124" y="17"/>
                </a:cubicBezTo>
                <a:cubicBezTo>
                  <a:pt x="124" y="17"/>
                  <a:pt x="124" y="17"/>
                  <a:pt x="124" y="17"/>
                </a:cubicBezTo>
                <a:cubicBezTo>
                  <a:pt x="123" y="17"/>
                  <a:pt x="123" y="17"/>
                  <a:pt x="123" y="17"/>
                </a:cubicBezTo>
                <a:cubicBezTo>
                  <a:pt x="123" y="16"/>
                  <a:pt x="123" y="16"/>
                  <a:pt x="123" y="16"/>
                </a:cubicBezTo>
                <a:cubicBezTo>
                  <a:pt x="122" y="16"/>
                  <a:pt x="122" y="16"/>
                  <a:pt x="122" y="16"/>
                </a:cubicBezTo>
                <a:cubicBezTo>
                  <a:pt x="123" y="17"/>
                  <a:pt x="123" y="17"/>
                  <a:pt x="123" y="17"/>
                </a:cubicBezTo>
                <a:cubicBezTo>
                  <a:pt x="122" y="18"/>
                  <a:pt x="122" y="18"/>
                  <a:pt x="122" y="18"/>
                </a:cubicBezTo>
                <a:cubicBezTo>
                  <a:pt x="122" y="18"/>
                  <a:pt x="122" y="18"/>
                  <a:pt x="122" y="18"/>
                </a:cubicBezTo>
                <a:cubicBezTo>
                  <a:pt x="121" y="17"/>
                  <a:pt x="121" y="17"/>
                  <a:pt x="121" y="17"/>
                </a:cubicBezTo>
                <a:cubicBezTo>
                  <a:pt x="120" y="18"/>
                  <a:pt x="120" y="18"/>
                  <a:pt x="120" y="18"/>
                </a:cubicBezTo>
                <a:cubicBezTo>
                  <a:pt x="120" y="18"/>
                  <a:pt x="120" y="18"/>
                  <a:pt x="120" y="18"/>
                </a:cubicBezTo>
                <a:cubicBezTo>
                  <a:pt x="120" y="17"/>
                  <a:pt x="120" y="17"/>
                  <a:pt x="120" y="17"/>
                </a:cubicBezTo>
                <a:cubicBezTo>
                  <a:pt x="120" y="16"/>
                  <a:pt x="120" y="16"/>
                  <a:pt x="120" y="16"/>
                </a:cubicBezTo>
                <a:cubicBezTo>
                  <a:pt x="119" y="16"/>
                  <a:pt x="119" y="16"/>
                  <a:pt x="119" y="16"/>
                </a:cubicBezTo>
                <a:cubicBezTo>
                  <a:pt x="119" y="15"/>
                  <a:pt x="119" y="15"/>
                  <a:pt x="119" y="15"/>
                </a:cubicBezTo>
                <a:cubicBezTo>
                  <a:pt x="118" y="14"/>
                  <a:pt x="118" y="14"/>
                  <a:pt x="118" y="14"/>
                </a:cubicBezTo>
                <a:cubicBezTo>
                  <a:pt x="117" y="14"/>
                  <a:pt x="117" y="14"/>
                  <a:pt x="117" y="14"/>
                </a:cubicBezTo>
                <a:cubicBezTo>
                  <a:pt x="116" y="14"/>
                  <a:pt x="116" y="14"/>
                  <a:pt x="116" y="14"/>
                </a:cubicBezTo>
                <a:cubicBezTo>
                  <a:pt x="115" y="14"/>
                  <a:pt x="115" y="14"/>
                  <a:pt x="115" y="14"/>
                </a:cubicBezTo>
                <a:cubicBezTo>
                  <a:pt x="114" y="13"/>
                  <a:pt x="114" y="13"/>
                  <a:pt x="114" y="13"/>
                </a:cubicBezTo>
                <a:cubicBezTo>
                  <a:pt x="114" y="13"/>
                  <a:pt x="114" y="13"/>
                  <a:pt x="114" y="13"/>
                </a:cubicBezTo>
                <a:cubicBezTo>
                  <a:pt x="116" y="13"/>
                  <a:pt x="116" y="13"/>
                  <a:pt x="116" y="13"/>
                </a:cubicBezTo>
                <a:cubicBezTo>
                  <a:pt x="118" y="13"/>
                  <a:pt x="118" y="13"/>
                  <a:pt x="118" y="13"/>
                </a:cubicBezTo>
                <a:cubicBezTo>
                  <a:pt x="119" y="13"/>
                  <a:pt x="119" y="13"/>
                  <a:pt x="119" y="13"/>
                </a:cubicBezTo>
                <a:cubicBezTo>
                  <a:pt x="121" y="14"/>
                  <a:pt x="121" y="14"/>
                  <a:pt x="121" y="14"/>
                </a:cubicBezTo>
                <a:cubicBezTo>
                  <a:pt x="123" y="13"/>
                  <a:pt x="123" y="13"/>
                  <a:pt x="123" y="13"/>
                </a:cubicBezTo>
                <a:cubicBezTo>
                  <a:pt x="124" y="11"/>
                  <a:pt x="124" y="11"/>
                  <a:pt x="124" y="11"/>
                </a:cubicBezTo>
                <a:cubicBezTo>
                  <a:pt x="126" y="10"/>
                  <a:pt x="126" y="10"/>
                  <a:pt x="126" y="10"/>
                </a:cubicBezTo>
                <a:cubicBezTo>
                  <a:pt x="127" y="9"/>
                  <a:pt x="127" y="9"/>
                  <a:pt x="127" y="9"/>
                </a:cubicBezTo>
                <a:cubicBezTo>
                  <a:pt x="127" y="9"/>
                  <a:pt x="127" y="9"/>
                  <a:pt x="127" y="9"/>
                </a:cubicBezTo>
                <a:cubicBezTo>
                  <a:pt x="127" y="9"/>
                  <a:pt x="127" y="9"/>
                  <a:pt x="127" y="9"/>
                </a:cubicBezTo>
                <a:cubicBezTo>
                  <a:pt x="126" y="8"/>
                  <a:pt x="126" y="8"/>
                  <a:pt x="126" y="8"/>
                </a:cubicBezTo>
                <a:cubicBezTo>
                  <a:pt x="126" y="8"/>
                  <a:pt x="126" y="8"/>
                  <a:pt x="126" y="8"/>
                </a:cubicBezTo>
                <a:cubicBezTo>
                  <a:pt x="125" y="8"/>
                  <a:pt x="125" y="8"/>
                  <a:pt x="125" y="8"/>
                </a:cubicBezTo>
                <a:cubicBezTo>
                  <a:pt x="123" y="7"/>
                  <a:pt x="123" y="7"/>
                  <a:pt x="123" y="7"/>
                </a:cubicBezTo>
                <a:cubicBezTo>
                  <a:pt x="122" y="7"/>
                  <a:pt x="122" y="7"/>
                  <a:pt x="122" y="7"/>
                </a:cubicBezTo>
                <a:cubicBezTo>
                  <a:pt x="121" y="8"/>
                  <a:pt x="121" y="8"/>
                  <a:pt x="121" y="8"/>
                </a:cubicBezTo>
                <a:cubicBezTo>
                  <a:pt x="121" y="8"/>
                  <a:pt x="121" y="8"/>
                  <a:pt x="121" y="8"/>
                </a:cubicBezTo>
                <a:cubicBezTo>
                  <a:pt x="120" y="7"/>
                  <a:pt x="120" y="7"/>
                  <a:pt x="120" y="7"/>
                </a:cubicBezTo>
                <a:cubicBezTo>
                  <a:pt x="121" y="7"/>
                  <a:pt x="121" y="7"/>
                  <a:pt x="121" y="7"/>
                </a:cubicBezTo>
                <a:cubicBezTo>
                  <a:pt x="121" y="6"/>
                  <a:pt x="121" y="6"/>
                  <a:pt x="121" y="6"/>
                </a:cubicBezTo>
                <a:cubicBezTo>
                  <a:pt x="120" y="5"/>
                  <a:pt x="120" y="5"/>
                  <a:pt x="120" y="5"/>
                </a:cubicBezTo>
                <a:cubicBezTo>
                  <a:pt x="120" y="5"/>
                  <a:pt x="120" y="5"/>
                  <a:pt x="120" y="5"/>
                </a:cubicBezTo>
                <a:cubicBezTo>
                  <a:pt x="119" y="5"/>
                  <a:pt x="119" y="5"/>
                  <a:pt x="119" y="5"/>
                </a:cubicBezTo>
                <a:cubicBezTo>
                  <a:pt x="118" y="7"/>
                  <a:pt x="118" y="7"/>
                  <a:pt x="118" y="7"/>
                </a:cubicBezTo>
                <a:cubicBezTo>
                  <a:pt x="118" y="7"/>
                  <a:pt x="118" y="7"/>
                  <a:pt x="118" y="7"/>
                </a:cubicBezTo>
                <a:cubicBezTo>
                  <a:pt x="118" y="6"/>
                  <a:pt x="118" y="6"/>
                  <a:pt x="118" y="6"/>
                </a:cubicBezTo>
                <a:cubicBezTo>
                  <a:pt x="117" y="6"/>
                  <a:pt x="117" y="6"/>
                  <a:pt x="117" y="6"/>
                </a:cubicBezTo>
                <a:cubicBezTo>
                  <a:pt x="117" y="6"/>
                  <a:pt x="117" y="6"/>
                  <a:pt x="117" y="6"/>
                </a:cubicBezTo>
                <a:cubicBezTo>
                  <a:pt x="116" y="6"/>
                  <a:pt x="116" y="6"/>
                  <a:pt x="116" y="6"/>
                </a:cubicBezTo>
                <a:cubicBezTo>
                  <a:pt x="116" y="6"/>
                  <a:pt x="116" y="6"/>
                  <a:pt x="116" y="6"/>
                </a:cubicBezTo>
                <a:cubicBezTo>
                  <a:pt x="117" y="5"/>
                  <a:pt x="117" y="5"/>
                  <a:pt x="117" y="5"/>
                </a:cubicBezTo>
                <a:cubicBezTo>
                  <a:pt x="117" y="4"/>
                  <a:pt x="117" y="4"/>
                  <a:pt x="117" y="4"/>
                </a:cubicBezTo>
                <a:cubicBezTo>
                  <a:pt x="116" y="4"/>
                  <a:pt x="116" y="4"/>
                  <a:pt x="116" y="4"/>
                </a:cubicBezTo>
                <a:cubicBezTo>
                  <a:pt x="115" y="4"/>
                  <a:pt x="115" y="4"/>
                  <a:pt x="115" y="4"/>
                </a:cubicBezTo>
                <a:cubicBezTo>
                  <a:pt x="114" y="4"/>
                  <a:pt x="114" y="4"/>
                  <a:pt x="114" y="4"/>
                </a:cubicBezTo>
                <a:cubicBezTo>
                  <a:pt x="114" y="6"/>
                  <a:pt x="114" y="6"/>
                  <a:pt x="114" y="6"/>
                </a:cubicBezTo>
                <a:cubicBezTo>
                  <a:pt x="113" y="6"/>
                  <a:pt x="113" y="6"/>
                  <a:pt x="113" y="6"/>
                </a:cubicBezTo>
                <a:cubicBezTo>
                  <a:pt x="113" y="7"/>
                  <a:pt x="113" y="7"/>
                  <a:pt x="113" y="7"/>
                </a:cubicBezTo>
                <a:cubicBezTo>
                  <a:pt x="114" y="9"/>
                  <a:pt x="114" y="9"/>
                  <a:pt x="114" y="9"/>
                </a:cubicBezTo>
                <a:cubicBezTo>
                  <a:pt x="113" y="9"/>
                  <a:pt x="113" y="9"/>
                  <a:pt x="113" y="9"/>
                </a:cubicBezTo>
                <a:cubicBezTo>
                  <a:pt x="113" y="10"/>
                  <a:pt x="113" y="10"/>
                  <a:pt x="113" y="10"/>
                </a:cubicBezTo>
                <a:cubicBezTo>
                  <a:pt x="112" y="9"/>
                  <a:pt x="112" y="9"/>
                  <a:pt x="112" y="9"/>
                </a:cubicBezTo>
                <a:cubicBezTo>
                  <a:pt x="112" y="9"/>
                  <a:pt x="112" y="9"/>
                  <a:pt x="112" y="9"/>
                </a:cubicBezTo>
                <a:cubicBezTo>
                  <a:pt x="111" y="9"/>
                  <a:pt x="111" y="9"/>
                  <a:pt x="111" y="9"/>
                </a:cubicBezTo>
                <a:cubicBezTo>
                  <a:pt x="110" y="9"/>
                  <a:pt x="110" y="9"/>
                  <a:pt x="110" y="9"/>
                </a:cubicBezTo>
                <a:cubicBezTo>
                  <a:pt x="109" y="10"/>
                  <a:pt x="109" y="10"/>
                  <a:pt x="109" y="10"/>
                </a:cubicBezTo>
                <a:cubicBezTo>
                  <a:pt x="110" y="8"/>
                  <a:pt x="110" y="8"/>
                  <a:pt x="110" y="8"/>
                </a:cubicBezTo>
                <a:cubicBezTo>
                  <a:pt x="111" y="8"/>
                  <a:pt x="111" y="8"/>
                  <a:pt x="111" y="8"/>
                </a:cubicBezTo>
                <a:cubicBezTo>
                  <a:pt x="111" y="7"/>
                  <a:pt x="111" y="7"/>
                  <a:pt x="111" y="7"/>
                </a:cubicBezTo>
                <a:cubicBezTo>
                  <a:pt x="111" y="6"/>
                  <a:pt x="111" y="6"/>
                  <a:pt x="111" y="6"/>
                </a:cubicBezTo>
                <a:cubicBezTo>
                  <a:pt x="111" y="6"/>
                  <a:pt x="111" y="6"/>
                  <a:pt x="111" y="6"/>
                </a:cubicBezTo>
                <a:cubicBezTo>
                  <a:pt x="110" y="7"/>
                  <a:pt x="110" y="7"/>
                  <a:pt x="110" y="7"/>
                </a:cubicBezTo>
                <a:cubicBezTo>
                  <a:pt x="109" y="7"/>
                  <a:pt x="109" y="7"/>
                  <a:pt x="109" y="7"/>
                </a:cubicBezTo>
                <a:cubicBezTo>
                  <a:pt x="109" y="6"/>
                  <a:pt x="109" y="6"/>
                  <a:pt x="109" y="6"/>
                </a:cubicBezTo>
                <a:cubicBezTo>
                  <a:pt x="110" y="6"/>
                  <a:pt x="110" y="6"/>
                  <a:pt x="110" y="6"/>
                </a:cubicBezTo>
                <a:cubicBezTo>
                  <a:pt x="110" y="5"/>
                  <a:pt x="110" y="5"/>
                  <a:pt x="110" y="5"/>
                </a:cubicBezTo>
                <a:cubicBezTo>
                  <a:pt x="109" y="5"/>
                  <a:pt x="109" y="5"/>
                  <a:pt x="109" y="5"/>
                </a:cubicBezTo>
                <a:cubicBezTo>
                  <a:pt x="109" y="4"/>
                  <a:pt x="109" y="4"/>
                  <a:pt x="109" y="4"/>
                </a:cubicBezTo>
                <a:cubicBezTo>
                  <a:pt x="110" y="4"/>
                  <a:pt x="110" y="4"/>
                  <a:pt x="110" y="4"/>
                </a:cubicBezTo>
                <a:cubicBezTo>
                  <a:pt x="110" y="4"/>
                  <a:pt x="110" y="4"/>
                  <a:pt x="110" y="4"/>
                </a:cubicBezTo>
                <a:cubicBezTo>
                  <a:pt x="111" y="4"/>
                  <a:pt x="111" y="4"/>
                  <a:pt x="111" y="4"/>
                </a:cubicBezTo>
                <a:cubicBezTo>
                  <a:pt x="112" y="2"/>
                  <a:pt x="112" y="2"/>
                  <a:pt x="112" y="2"/>
                </a:cubicBezTo>
                <a:cubicBezTo>
                  <a:pt x="112" y="2"/>
                  <a:pt x="112" y="2"/>
                  <a:pt x="112" y="2"/>
                </a:cubicBezTo>
                <a:cubicBezTo>
                  <a:pt x="111" y="2"/>
                  <a:pt x="111" y="2"/>
                  <a:pt x="111" y="2"/>
                </a:cubicBezTo>
                <a:cubicBezTo>
                  <a:pt x="110" y="2"/>
                  <a:pt x="110" y="2"/>
                  <a:pt x="110" y="2"/>
                </a:cubicBezTo>
                <a:cubicBezTo>
                  <a:pt x="110" y="1"/>
                  <a:pt x="110" y="1"/>
                  <a:pt x="110" y="1"/>
                </a:cubicBezTo>
                <a:cubicBezTo>
                  <a:pt x="110" y="0"/>
                  <a:pt x="110" y="0"/>
                  <a:pt x="110" y="0"/>
                </a:cubicBezTo>
                <a:cubicBezTo>
                  <a:pt x="109" y="1"/>
                  <a:pt x="109" y="1"/>
                  <a:pt x="109" y="1"/>
                </a:cubicBezTo>
                <a:cubicBezTo>
                  <a:pt x="108" y="0"/>
                  <a:pt x="108" y="0"/>
                  <a:pt x="108" y="0"/>
                </a:cubicBezTo>
                <a:cubicBezTo>
                  <a:pt x="108" y="0"/>
                  <a:pt x="108" y="0"/>
                  <a:pt x="108" y="0"/>
                </a:cubicBezTo>
                <a:cubicBezTo>
                  <a:pt x="107" y="1"/>
                  <a:pt x="107" y="1"/>
                  <a:pt x="107" y="1"/>
                </a:cubicBezTo>
                <a:cubicBezTo>
                  <a:pt x="107" y="1"/>
                  <a:pt x="107" y="1"/>
                  <a:pt x="107" y="1"/>
                </a:cubicBezTo>
                <a:cubicBezTo>
                  <a:pt x="108" y="2"/>
                  <a:pt x="108" y="2"/>
                  <a:pt x="108" y="2"/>
                </a:cubicBezTo>
                <a:cubicBezTo>
                  <a:pt x="107" y="3"/>
                  <a:pt x="107" y="3"/>
                  <a:pt x="107" y="3"/>
                </a:cubicBezTo>
                <a:cubicBezTo>
                  <a:pt x="107" y="3"/>
                  <a:pt x="107" y="3"/>
                  <a:pt x="107" y="3"/>
                </a:cubicBezTo>
                <a:cubicBezTo>
                  <a:pt x="106" y="2"/>
                  <a:pt x="106" y="2"/>
                  <a:pt x="106" y="2"/>
                </a:cubicBezTo>
                <a:cubicBezTo>
                  <a:pt x="105" y="2"/>
                  <a:pt x="105" y="2"/>
                  <a:pt x="105" y="2"/>
                </a:cubicBezTo>
                <a:cubicBezTo>
                  <a:pt x="105" y="3"/>
                  <a:pt x="105" y="3"/>
                  <a:pt x="105" y="3"/>
                </a:cubicBezTo>
                <a:cubicBezTo>
                  <a:pt x="105" y="4"/>
                  <a:pt x="105" y="4"/>
                  <a:pt x="105" y="4"/>
                </a:cubicBezTo>
                <a:cubicBezTo>
                  <a:pt x="106" y="4"/>
                  <a:pt x="106" y="4"/>
                  <a:pt x="106" y="4"/>
                </a:cubicBezTo>
                <a:cubicBezTo>
                  <a:pt x="106" y="4"/>
                  <a:pt x="106" y="4"/>
                  <a:pt x="106" y="4"/>
                </a:cubicBezTo>
                <a:cubicBezTo>
                  <a:pt x="106" y="5"/>
                  <a:pt x="106" y="5"/>
                  <a:pt x="106" y="5"/>
                </a:cubicBezTo>
                <a:cubicBezTo>
                  <a:pt x="106" y="5"/>
                  <a:pt x="106" y="5"/>
                  <a:pt x="106" y="5"/>
                </a:cubicBezTo>
                <a:cubicBezTo>
                  <a:pt x="106" y="6"/>
                  <a:pt x="106" y="6"/>
                  <a:pt x="106" y="6"/>
                </a:cubicBezTo>
                <a:cubicBezTo>
                  <a:pt x="105" y="6"/>
                  <a:pt x="105" y="6"/>
                  <a:pt x="105" y="6"/>
                </a:cubicBezTo>
                <a:cubicBezTo>
                  <a:pt x="105" y="7"/>
                  <a:pt x="105" y="7"/>
                  <a:pt x="105" y="7"/>
                </a:cubicBezTo>
                <a:cubicBezTo>
                  <a:pt x="105" y="8"/>
                  <a:pt x="105" y="8"/>
                  <a:pt x="105" y="8"/>
                </a:cubicBezTo>
                <a:cubicBezTo>
                  <a:pt x="104" y="8"/>
                  <a:pt x="104" y="8"/>
                  <a:pt x="104" y="8"/>
                </a:cubicBezTo>
                <a:cubicBezTo>
                  <a:pt x="105" y="9"/>
                  <a:pt x="105" y="9"/>
                  <a:pt x="105" y="9"/>
                </a:cubicBezTo>
                <a:cubicBezTo>
                  <a:pt x="104" y="10"/>
                  <a:pt x="104" y="10"/>
                  <a:pt x="104" y="10"/>
                </a:cubicBezTo>
                <a:cubicBezTo>
                  <a:pt x="104" y="9"/>
                  <a:pt x="104" y="9"/>
                  <a:pt x="104" y="9"/>
                </a:cubicBezTo>
                <a:cubicBezTo>
                  <a:pt x="103" y="10"/>
                  <a:pt x="103" y="10"/>
                  <a:pt x="103" y="10"/>
                </a:cubicBezTo>
                <a:cubicBezTo>
                  <a:pt x="103" y="10"/>
                  <a:pt x="103" y="10"/>
                  <a:pt x="103" y="10"/>
                </a:cubicBezTo>
                <a:cubicBezTo>
                  <a:pt x="102" y="11"/>
                  <a:pt x="102" y="11"/>
                  <a:pt x="102" y="11"/>
                </a:cubicBezTo>
                <a:cubicBezTo>
                  <a:pt x="102" y="9"/>
                  <a:pt x="102" y="9"/>
                  <a:pt x="102" y="9"/>
                </a:cubicBezTo>
                <a:cubicBezTo>
                  <a:pt x="103" y="7"/>
                  <a:pt x="103" y="7"/>
                  <a:pt x="103" y="7"/>
                </a:cubicBezTo>
                <a:cubicBezTo>
                  <a:pt x="102" y="7"/>
                  <a:pt x="102" y="7"/>
                  <a:pt x="102" y="7"/>
                </a:cubicBezTo>
                <a:cubicBezTo>
                  <a:pt x="102" y="6"/>
                  <a:pt x="102" y="6"/>
                  <a:pt x="102" y="6"/>
                </a:cubicBezTo>
                <a:cubicBezTo>
                  <a:pt x="103" y="6"/>
                  <a:pt x="103" y="6"/>
                  <a:pt x="103" y="6"/>
                </a:cubicBezTo>
                <a:cubicBezTo>
                  <a:pt x="103" y="4"/>
                  <a:pt x="103" y="4"/>
                  <a:pt x="103" y="4"/>
                </a:cubicBezTo>
                <a:cubicBezTo>
                  <a:pt x="102" y="3"/>
                  <a:pt x="102" y="3"/>
                  <a:pt x="102" y="3"/>
                </a:cubicBezTo>
                <a:cubicBezTo>
                  <a:pt x="102" y="3"/>
                  <a:pt x="102" y="3"/>
                  <a:pt x="102" y="3"/>
                </a:cubicBezTo>
                <a:cubicBezTo>
                  <a:pt x="100" y="6"/>
                  <a:pt x="100" y="6"/>
                  <a:pt x="100" y="6"/>
                </a:cubicBezTo>
                <a:cubicBezTo>
                  <a:pt x="100" y="7"/>
                  <a:pt x="100" y="7"/>
                  <a:pt x="100" y="7"/>
                </a:cubicBezTo>
                <a:cubicBezTo>
                  <a:pt x="99" y="9"/>
                  <a:pt x="99" y="9"/>
                  <a:pt x="99" y="9"/>
                </a:cubicBezTo>
                <a:cubicBezTo>
                  <a:pt x="98" y="11"/>
                  <a:pt x="98" y="11"/>
                  <a:pt x="98" y="11"/>
                </a:cubicBezTo>
                <a:cubicBezTo>
                  <a:pt x="98" y="12"/>
                  <a:pt x="98" y="12"/>
                  <a:pt x="98" y="12"/>
                </a:cubicBezTo>
                <a:cubicBezTo>
                  <a:pt x="98" y="13"/>
                  <a:pt x="98" y="13"/>
                  <a:pt x="98" y="13"/>
                </a:cubicBezTo>
                <a:cubicBezTo>
                  <a:pt x="97" y="15"/>
                  <a:pt x="97" y="15"/>
                  <a:pt x="97" y="15"/>
                </a:cubicBezTo>
                <a:cubicBezTo>
                  <a:pt x="96" y="15"/>
                  <a:pt x="96" y="15"/>
                  <a:pt x="96" y="15"/>
                </a:cubicBezTo>
                <a:cubicBezTo>
                  <a:pt x="96" y="14"/>
                  <a:pt x="96" y="14"/>
                  <a:pt x="96" y="14"/>
                </a:cubicBezTo>
                <a:cubicBezTo>
                  <a:pt x="95" y="13"/>
                  <a:pt x="95" y="13"/>
                  <a:pt x="95" y="13"/>
                </a:cubicBezTo>
                <a:cubicBezTo>
                  <a:pt x="97" y="11"/>
                  <a:pt x="97" y="11"/>
                  <a:pt x="97" y="11"/>
                </a:cubicBezTo>
                <a:cubicBezTo>
                  <a:pt x="96" y="10"/>
                  <a:pt x="96" y="10"/>
                  <a:pt x="96" y="10"/>
                </a:cubicBezTo>
                <a:cubicBezTo>
                  <a:pt x="97" y="10"/>
                  <a:pt x="97" y="10"/>
                  <a:pt x="97" y="10"/>
                </a:cubicBezTo>
                <a:cubicBezTo>
                  <a:pt x="96" y="8"/>
                  <a:pt x="96" y="8"/>
                  <a:pt x="96" y="8"/>
                </a:cubicBezTo>
                <a:cubicBezTo>
                  <a:pt x="98" y="6"/>
                  <a:pt x="98" y="6"/>
                  <a:pt x="98" y="6"/>
                </a:cubicBezTo>
                <a:cubicBezTo>
                  <a:pt x="98" y="5"/>
                  <a:pt x="98" y="5"/>
                  <a:pt x="98" y="5"/>
                </a:cubicBezTo>
                <a:cubicBezTo>
                  <a:pt x="99" y="5"/>
                  <a:pt x="99" y="5"/>
                  <a:pt x="99" y="5"/>
                </a:cubicBezTo>
                <a:cubicBezTo>
                  <a:pt x="99" y="4"/>
                  <a:pt x="99" y="4"/>
                  <a:pt x="99" y="4"/>
                </a:cubicBezTo>
                <a:cubicBezTo>
                  <a:pt x="98" y="4"/>
                  <a:pt x="98" y="4"/>
                  <a:pt x="98" y="4"/>
                </a:cubicBezTo>
                <a:cubicBezTo>
                  <a:pt x="97" y="3"/>
                  <a:pt x="97" y="3"/>
                  <a:pt x="97" y="3"/>
                </a:cubicBezTo>
                <a:cubicBezTo>
                  <a:pt x="96" y="3"/>
                  <a:pt x="96" y="3"/>
                  <a:pt x="96" y="3"/>
                </a:cubicBezTo>
                <a:cubicBezTo>
                  <a:pt x="96" y="4"/>
                  <a:pt x="96" y="4"/>
                  <a:pt x="96" y="4"/>
                </a:cubicBezTo>
                <a:cubicBezTo>
                  <a:pt x="96" y="5"/>
                  <a:pt x="96" y="5"/>
                  <a:pt x="96" y="5"/>
                </a:cubicBezTo>
                <a:cubicBezTo>
                  <a:pt x="95" y="4"/>
                  <a:pt x="95" y="4"/>
                  <a:pt x="95" y="4"/>
                </a:cubicBezTo>
                <a:cubicBezTo>
                  <a:pt x="95" y="3"/>
                  <a:pt x="95" y="3"/>
                  <a:pt x="95" y="3"/>
                </a:cubicBezTo>
                <a:cubicBezTo>
                  <a:pt x="94" y="3"/>
                  <a:pt x="94" y="3"/>
                  <a:pt x="94" y="3"/>
                </a:cubicBezTo>
                <a:cubicBezTo>
                  <a:pt x="93" y="4"/>
                  <a:pt x="93" y="4"/>
                  <a:pt x="93" y="4"/>
                </a:cubicBezTo>
                <a:cubicBezTo>
                  <a:pt x="93" y="5"/>
                  <a:pt x="93" y="5"/>
                  <a:pt x="93" y="5"/>
                </a:cubicBezTo>
                <a:cubicBezTo>
                  <a:pt x="93" y="6"/>
                  <a:pt x="93" y="6"/>
                  <a:pt x="93" y="6"/>
                </a:cubicBezTo>
                <a:cubicBezTo>
                  <a:pt x="92" y="5"/>
                  <a:pt x="92" y="5"/>
                  <a:pt x="92" y="5"/>
                </a:cubicBezTo>
                <a:cubicBezTo>
                  <a:pt x="91" y="5"/>
                  <a:pt x="91" y="5"/>
                  <a:pt x="91" y="5"/>
                </a:cubicBezTo>
                <a:cubicBezTo>
                  <a:pt x="91" y="5"/>
                  <a:pt x="91" y="5"/>
                  <a:pt x="91" y="5"/>
                </a:cubicBezTo>
                <a:cubicBezTo>
                  <a:pt x="91" y="6"/>
                  <a:pt x="91" y="6"/>
                  <a:pt x="91" y="6"/>
                </a:cubicBezTo>
                <a:cubicBezTo>
                  <a:pt x="93" y="7"/>
                  <a:pt x="93" y="7"/>
                  <a:pt x="93" y="7"/>
                </a:cubicBezTo>
                <a:cubicBezTo>
                  <a:pt x="93" y="8"/>
                  <a:pt x="93" y="8"/>
                  <a:pt x="93" y="8"/>
                </a:cubicBezTo>
                <a:cubicBezTo>
                  <a:pt x="93" y="8"/>
                  <a:pt x="93" y="8"/>
                  <a:pt x="93" y="8"/>
                </a:cubicBezTo>
                <a:cubicBezTo>
                  <a:pt x="92" y="8"/>
                  <a:pt x="92" y="8"/>
                  <a:pt x="92" y="8"/>
                </a:cubicBezTo>
                <a:cubicBezTo>
                  <a:pt x="91" y="8"/>
                  <a:pt x="91" y="8"/>
                  <a:pt x="91" y="8"/>
                </a:cubicBezTo>
                <a:cubicBezTo>
                  <a:pt x="91" y="9"/>
                  <a:pt x="91" y="9"/>
                  <a:pt x="91" y="9"/>
                </a:cubicBezTo>
                <a:cubicBezTo>
                  <a:pt x="91" y="9"/>
                  <a:pt x="91" y="9"/>
                  <a:pt x="91" y="9"/>
                </a:cubicBezTo>
                <a:cubicBezTo>
                  <a:pt x="91" y="10"/>
                  <a:pt x="91" y="10"/>
                  <a:pt x="91" y="10"/>
                </a:cubicBezTo>
                <a:cubicBezTo>
                  <a:pt x="90" y="9"/>
                  <a:pt x="90" y="9"/>
                  <a:pt x="90" y="9"/>
                </a:cubicBezTo>
                <a:cubicBezTo>
                  <a:pt x="89" y="9"/>
                  <a:pt x="89" y="9"/>
                  <a:pt x="89" y="9"/>
                </a:cubicBezTo>
                <a:cubicBezTo>
                  <a:pt x="89" y="10"/>
                  <a:pt x="89" y="10"/>
                  <a:pt x="89" y="10"/>
                </a:cubicBezTo>
                <a:cubicBezTo>
                  <a:pt x="88" y="11"/>
                  <a:pt x="88" y="11"/>
                  <a:pt x="88" y="11"/>
                </a:cubicBezTo>
                <a:cubicBezTo>
                  <a:pt x="88" y="11"/>
                  <a:pt x="88" y="11"/>
                  <a:pt x="88" y="11"/>
                </a:cubicBezTo>
                <a:cubicBezTo>
                  <a:pt x="88" y="12"/>
                  <a:pt x="88" y="12"/>
                  <a:pt x="88" y="12"/>
                </a:cubicBezTo>
                <a:cubicBezTo>
                  <a:pt x="87" y="12"/>
                  <a:pt x="87" y="12"/>
                  <a:pt x="87" y="12"/>
                </a:cubicBezTo>
                <a:cubicBezTo>
                  <a:pt x="87" y="13"/>
                  <a:pt x="87" y="13"/>
                  <a:pt x="87" y="13"/>
                </a:cubicBezTo>
                <a:cubicBezTo>
                  <a:pt x="88" y="14"/>
                  <a:pt x="88" y="14"/>
                  <a:pt x="88" y="14"/>
                </a:cubicBezTo>
                <a:cubicBezTo>
                  <a:pt x="87" y="15"/>
                  <a:pt x="87" y="15"/>
                  <a:pt x="87" y="15"/>
                </a:cubicBezTo>
                <a:cubicBezTo>
                  <a:pt x="88" y="15"/>
                  <a:pt x="88" y="15"/>
                  <a:pt x="88" y="15"/>
                </a:cubicBezTo>
                <a:cubicBezTo>
                  <a:pt x="89" y="16"/>
                  <a:pt x="89" y="16"/>
                  <a:pt x="89" y="16"/>
                </a:cubicBezTo>
                <a:cubicBezTo>
                  <a:pt x="88" y="16"/>
                  <a:pt x="88" y="16"/>
                  <a:pt x="88" y="16"/>
                </a:cubicBezTo>
                <a:cubicBezTo>
                  <a:pt x="86" y="16"/>
                  <a:pt x="86" y="16"/>
                  <a:pt x="86" y="16"/>
                </a:cubicBezTo>
                <a:cubicBezTo>
                  <a:pt x="86" y="15"/>
                  <a:pt x="86" y="15"/>
                  <a:pt x="86" y="15"/>
                </a:cubicBezTo>
                <a:cubicBezTo>
                  <a:pt x="85" y="14"/>
                  <a:pt x="85" y="14"/>
                  <a:pt x="85" y="14"/>
                </a:cubicBezTo>
                <a:cubicBezTo>
                  <a:pt x="86" y="14"/>
                  <a:pt x="86" y="14"/>
                  <a:pt x="86" y="14"/>
                </a:cubicBezTo>
                <a:cubicBezTo>
                  <a:pt x="85" y="13"/>
                  <a:pt x="85" y="13"/>
                  <a:pt x="85" y="13"/>
                </a:cubicBezTo>
                <a:cubicBezTo>
                  <a:pt x="84" y="13"/>
                  <a:pt x="84" y="13"/>
                  <a:pt x="84" y="13"/>
                </a:cubicBezTo>
                <a:cubicBezTo>
                  <a:pt x="83" y="13"/>
                  <a:pt x="83" y="13"/>
                  <a:pt x="83" y="13"/>
                </a:cubicBezTo>
                <a:cubicBezTo>
                  <a:pt x="81" y="12"/>
                  <a:pt x="81" y="12"/>
                  <a:pt x="81" y="12"/>
                </a:cubicBezTo>
                <a:cubicBezTo>
                  <a:pt x="80" y="12"/>
                  <a:pt x="80" y="12"/>
                  <a:pt x="80" y="12"/>
                </a:cubicBezTo>
                <a:cubicBezTo>
                  <a:pt x="80" y="12"/>
                  <a:pt x="80" y="12"/>
                  <a:pt x="80" y="12"/>
                </a:cubicBezTo>
                <a:cubicBezTo>
                  <a:pt x="79" y="12"/>
                  <a:pt x="79" y="12"/>
                  <a:pt x="79" y="12"/>
                </a:cubicBezTo>
                <a:cubicBezTo>
                  <a:pt x="78" y="12"/>
                  <a:pt x="78" y="12"/>
                  <a:pt x="78" y="12"/>
                </a:cubicBezTo>
                <a:cubicBezTo>
                  <a:pt x="77" y="13"/>
                  <a:pt x="77" y="13"/>
                  <a:pt x="77" y="13"/>
                </a:cubicBezTo>
                <a:cubicBezTo>
                  <a:pt x="77" y="13"/>
                  <a:pt x="77" y="13"/>
                  <a:pt x="77" y="13"/>
                </a:cubicBezTo>
                <a:cubicBezTo>
                  <a:pt x="78" y="15"/>
                  <a:pt x="78" y="15"/>
                  <a:pt x="78" y="15"/>
                </a:cubicBezTo>
                <a:cubicBezTo>
                  <a:pt x="79" y="15"/>
                  <a:pt x="79" y="15"/>
                  <a:pt x="79" y="15"/>
                </a:cubicBezTo>
                <a:cubicBezTo>
                  <a:pt x="80" y="15"/>
                  <a:pt x="80" y="15"/>
                  <a:pt x="80" y="15"/>
                </a:cubicBezTo>
                <a:cubicBezTo>
                  <a:pt x="81" y="16"/>
                  <a:pt x="81" y="16"/>
                  <a:pt x="81" y="16"/>
                </a:cubicBezTo>
                <a:cubicBezTo>
                  <a:pt x="81" y="17"/>
                  <a:pt x="81" y="17"/>
                  <a:pt x="81" y="17"/>
                </a:cubicBezTo>
                <a:cubicBezTo>
                  <a:pt x="81" y="18"/>
                  <a:pt x="81" y="18"/>
                  <a:pt x="81" y="18"/>
                </a:cubicBezTo>
                <a:cubicBezTo>
                  <a:pt x="82" y="19"/>
                  <a:pt x="82" y="19"/>
                  <a:pt x="82" y="19"/>
                </a:cubicBezTo>
                <a:cubicBezTo>
                  <a:pt x="81" y="20"/>
                  <a:pt x="81" y="20"/>
                  <a:pt x="81" y="20"/>
                </a:cubicBezTo>
                <a:cubicBezTo>
                  <a:pt x="81" y="19"/>
                  <a:pt x="81" y="19"/>
                  <a:pt x="81" y="19"/>
                </a:cubicBezTo>
                <a:cubicBezTo>
                  <a:pt x="80" y="18"/>
                  <a:pt x="80" y="18"/>
                  <a:pt x="80" y="18"/>
                </a:cubicBezTo>
                <a:cubicBezTo>
                  <a:pt x="79" y="17"/>
                  <a:pt x="79" y="17"/>
                  <a:pt x="79" y="17"/>
                </a:cubicBezTo>
                <a:cubicBezTo>
                  <a:pt x="78" y="17"/>
                  <a:pt x="78" y="17"/>
                  <a:pt x="78" y="17"/>
                </a:cubicBezTo>
                <a:cubicBezTo>
                  <a:pt x="78" y="18"/>
                  <a:pt x="78" y="18"/>
                  <a:pt x="78" y="18"/>
                </a:cubicBezTo>
                <a:cubicBezTo>
                  <a:pt x="77" y="19"/>
                  <a:pt x="77" y="19"/>
                  <a:pt x="77" y="19"/>
                </a:cubicBezTo>
                <a:cubicBezTo>
                  <a:pt x="77" y="17"/>
                  <a:pt x="77" y="17"/>
                  <a:pt x="77" y="17"/>
                </a:cubicBezTo>
                <a:cubicBezTo>
                  <a:pt x="76" y="18"/>
                  <a:pt x="76" y="18"/>
                  <a:pt x="76" y="18"/>
                </a:cubicBezTo>
                <a:cubicBezTo>
                  <a:pt x="76" y="18"/>
                  <a:pt x="76" y="18"/>
                  <a:pt x="76" y="18"/>
                </a:cubicBezTo>
                <a:cubicBezTo>
                  <a:pt x="75" y="19"/>
                  <a:pt x="75" y="19"/>
                  <a:pt x="75" y="19"/>
                </a:cubicBezTo>
                <a:cubicBezTo>
                  <a:pt x="75" y="20"/>
                  <a:pt x="75" y="20"/>
                  <a:pt x="75" y="20"/>
                </a:cubicBezTo>
                <a:cubicBezTo>
                  <a:pt x="76" y="21"/>
                  <a:pt x="76" y="21"/>
                  <a:pt x="76" y="21"/>
                </a:cubicBezTo>
                <a:cubicBezTo>
                  <a:pt x="77" y="22"/>
                  <a:pt x="77" y="22"/>
                  <a:pt x="77" y="22"/>
                </a:cubicBezTo>
                <a:cubicBezTo>
                  <a:pt x="76" y="22"/>
                  <a:pt x="76" y="22"/>
                  <a:pt x="76" y="22"/>
                </a:cubicBezTo>
                <a:cubicBezTo>
                  <a:pt x="75" y="21"/>
                  <a:pt x="75" y="21"/>
                  <a:pt x="75" y="21"/>
                </a:cubicBezTo>
                <a:cubicBezTo>
                  <a:pt x="74" y="23"/>
                  <a:pt x="74" y="23"/>
                  <a:pt x="74" y="23"/>
                </a:cubicBezTo>
                <a:cubicBezTo>
                  <a:pt x="74" y="24"/>
                  <a:pt x="74" y="24"/>
                  <a:pt x="74" y="24"/>
                </a:cubicBezTo>
                <a:cubicBezTo>
                  <a:pt x="72" y="25"/>
                  <a:pt x="72" y="25"/>
                  <a:pt x="72" y="25"/>
                </a:cubicBezTo>
                <a:cubicBezTo>
                  <a:pt x="72" y="24"/>
                  <a:pt x="72" y="24"/>
                  <a:pt x="72" y="24"/>
                </a:cubicBezTo>
                <a:cubicBezTo>
                  <a:pt x="73" y="23"/>
                  <a:pt x="73" y="23"/>
                  <a:pt x="73" y="23"/>
                </a:cubicBezTo>
                <a:cubicBezTo>
                  <a:pt x="73" y="23"/>
                  <a:pt x="73" y="23"/>
                  <a:pt x="73" y="23"/>
                </a:cubicBezTo>
                <a:cubicBezTo>
                  <a:pt x="74" y="21"/>
                  <a:pt x="74" y="21"/>
                  <a:pt x="74" y="21"/>
                </a:cubicBezTo>
                <a:cubicBezTo>
                  <a:pt x="73" y="17"/>
                  <a:pt x="73" y="17"/>
                  <a:pt x="73" y="17"/>
                </a:cubicBezTo>
                <a:cubicBezTo>
                  <a:pt x="72" y="18"/>
                  <a:pt x="72" y="18"/>
                  <a:pt x="72" y="18"/>
                </a:cubicBezTo>
                <a:cubicBezTo>
                  <a:pt x="71" y="20"/>
                  <a:pt x="71" y="20"/>
                  <a:pt x="71" y="20"/>
                </a:cubicBezTo>
                <a:cubicBezTo>
                  <a:pt x="71" y="22"/>
                  <a:pt x="71" y="22"/>
                  <a:pt x="71" y="22"/>
                </a:cubicBezTo>
                <a:cubicBezTo>
                  <a:pt x="71" y="22"/>
                  <a:pt x="71" y="22"/>
                  <a:pt x="71" y="22"/>
                </a:cubicBezTo>
                <a:cubicBezTo>
                  <a:pt x="70" y="24"/>
                  <a:pt x="70" y="24"/>
                  <a:pt x="70" y="24"/>
                </a:cubicBezTo>
                <a:cubicBezTo>
                  <a:pt x="70" y="22"/>
                  <a:pt x="70" y="22"/>
                  <a:pt x="70" y="22"/>
                </a:cubicBezTo>
                <a:cubicBezTo>
                  <a:pt x="71" y="21"/>
                  <a:pt x="71" y="21"/>
                  <a:pt x="71" y="21"/>
                </a:cubicBezTo>
                <a:cubicBezTo>
                  <a:pt x="70" y="19"/>
                  <a:pt x="70" y="19"/>
                  <a:pt x="70" y="19"/>
                </a:cubicBezTo>
                <a:cubicBezTo>
                  <a:pt x="70" y="19"/>
                  <a:pt x="70" y="19"/>
                  <a:pt x="70" y="19"/>
                </a:cubicBezTo>
                <a:cubicBezTo>
                  <a:pt x="68" y="20"/>
                  <a:pt x="68" y="20"/>
                  <a:pt x="68" y="20"/>
                </a:cubicBezTo>
                <a:cubicBezTo>
                  <a:pt x="67" y="22"/>
                  <a:pt x="67" y="22"/>
                  <a:pt x="67" y="22"/>
                </a:cubicBezTo>
                <a:cubicBezTo>
                  <a:pt x="68" y="23"/>
                  <a:pt x="68" y="23"/>
                  <a:pt x="68" y="23"/>
                </a:cubicBezTo>
                <a:cubicBezTo>
                  <a:pt x="68" y="24"/>
                  <a:pt x="68" y="24"/>
                  <a:pt x="68" y="24"/>
                </a:cubicBezTo>
                <a:cubicBezTo>
                  <a:pt x="70" y="25"/>
                  <a:pt x="70" y="25"/>
                  <a:pt x="70" y="25"/>
                </a:cubicBezTo>
                <a:cubicBezTo>
                  <a:pt x="70" y="26"/>
                  <a:pt x="70" y="26"/>
                  <a:pt x="70" y="26"/>
                </a:cubicBezTo>
                <a:cubicBezTo>
                  <a:pt x="69" y="27"/>
                  <a:pt x="69" y="27"/>
                  <a:pt x="69" y="27"/>
                </a:cubicBezTo>
                <a:cubicBezTo>
                  <a:pt x="69" y="26"/>
                  <a:pt x="69" y="26"/>
                  <a:pt x="69" y="26"/>
                </a:cubicBezTo>
                <a:cubicBezTo>
                  <a:pt x="68" y="25"/>
                  <a:pt x="68" y="25"/>
                  <a:pt x="68" y="25"/>
                </a:cubicBezTo>
                <a:cubicBezTo>
                  <a:pt x="67" y="23"/>
                  <a:pt x="67" y="23"/>
                  <a:pt x="67" y="23"/>
                </a:cubicBezTo>
                <a:cubicBezTo>
                  <a:pt x="66" y="23"/>
                  <a:pt x="66" y="23"/>
                  <a:pt x="66" y="23"/>
                </a:cubicBezTo>
                <a:cubicBezTo>
                  <a:pt x="65" y="23"/>
                  <a:pt x="65" y="23"/>
                  <a:pt x="65" y="23"/>
                </a:cubicBezTo>
                <a:cubicBezTo>
                  <a:pt x="65" y="24"/>
                  <a:pt x="65" y="24"/>
                  <a:pt x="65" y="24"/>
                </a:cubicBezTo>
                <a:cubicBezTo>
                  <a:pt x="66" y="25"/>
                  <a:pt x="66" y="25"/>
                  <a:pt x="66" y="25"/>
                </a:cubicBezTo>
                <a:cubicBezTo>
                  <a:pt x="67" y="25"/>
                  <a:pt x="67" y="25"/>
                  <a:pt x="67" y="25"/>
                </a:cubicBezTo>
                <a:cubicBezTo>
                  <a:pt x="67" y="26"/>
                  <a:pt x="67" y="26"/>
                  <a:pt x="67" y="26"/>
                </a:cubicBezTo>
                <a:cubicBezTo>
                  <a:pt x="66" y="26"/>
                  <a:pt x="66" y="26"/>
                  <a:pt x="66" y="26"/>
                </a:cubicBezTo>
                <a:cubicBezTo>
                  <a:pt x="65" y="26"/>
                  <a:pt x="65" y="26"/>
                  <a:pt x="65" y="26"/>
                </a:cubicBezTo>
                <a:cubicBezTo>
                  <a:pt x="66" y="27"/>
                  <a:pt x="66" y="27"/>
                  <a:pt x="66" y="27"/>
                </a:cubicBezTo>
                <a:cubicBezTo>
                  <a:pt x="65" y="26"/>
                  <a:pt x="65" y="26"/>
                  <a:pt x="65" y="26"/>
                </a:cubicBezTo>
                <a:cubicBezTo>
                  <a:pt x="65" y="25"/>
                  <a:pt x="65" y="25"/>
                  <a:pt x="65" y="25"/>
                </a:cubicBezTo>
                <a:cubicBezTo>
                  <a:pt x="64" y="24"/>
                  <a:pt x="64" y="24"/>
                  <a:pt x="64" y="24"/>
                </a:cubicBezTo>
                <a:cubicBezTo>
                  <a:pt x="64" y="24"/>
                  <a:pt x="64" y="24"/>
                  <a:pt x="64" y="24"/>
                </a:cubicBezTo>
                <a:cubicBezTo>
                  <a:pt x="63" y="24"/>
                  <a:pt x="63" y="24"/>
                  <a:pt x="63" y="24"/>
                </a:cubicBezTo>
                <a:cubicBezTo>
                  <a:pt x="63" y="26"/>
                  <a:pt x="63" y="26"/>
                  <a:pt x="63" y="26"/>
                </a:cubicBezTo>
                <a:cubicBezTo>
                  <a:pt x="63" y="26"/>
                  <a:pt x="63" y="26"/>
                  <a:pt x="63" y="26"/>
                </a:cubicBezTo>
                <a:cubicBezTo>
                  <a:pt x="63" y="28"/>
                  <a:pt x="63" y="28"/>
                  <a:pt x="63" y="28"/>
                </a:cubicBezTo>
                <a:cubicBezTo>
                  <a:pt x="62" y="27"/>
                  <a:pt x="62" y="27"/>
                  <a:pt x="62" y="27"/>
                </a:cubicBezTo>
                <a:cubicBezTo>
                  <a:pt x="61" y="27"/>
                  <a:pt x="61" y="27"/>
                  <a:pt x="61" y="27"/>
                </a:cubicBezTo>
                <a:cubicBezTo>
                  <a:pt x="60" y="29"/>
                  <a:pt x="60" y="29"/>
                  <a:pt x="60" y="29"/>
                </a:cubicBezTo>
                <a:cubicBezTo>
                  <a:pt x="60" y="29"/>
                  <a:pt x="60" y="29"/>
                  <a:pt x="60" y="29"/>
                </a:cubicBezTo>
                <a:cubicBezTo>
                  <a:pt x="61" y="29"/>
                  <a:pt x="61" y="29"/>
                  <a:pt x="61" y="29"/>
                </a:cubicBezTo>
                <a:cubicBezTo>
                  <a:pt x="62" y="30"/>
                  <a:pt x="62" y="30"/>
                  <a:pt x="62" y="30"/>
                </a:cubicBezTo>
                <a:cubicBezTo>
                  <a:pt x="61" y="30"/>
                  <a:pt x="61" y="30"/>
                  <a:pt x="61" y="30"/>
                </a:cubicBezTo>
                <a:cubicBezTo>
                  <a:pt x="60" y="30"/>
                  <a:pt x="60" y="30"/>
                  <a:pt x="60" y="30"/>
                </a:cubicBezTo>
                <a:cubicBezTo>
                  <a:pt x="61" y="31"/>
                  <a:pt x="61" y="31"/>
                  <a:pt x="61" y="31"/>
                </a:cubicBezTo>
                <a:cubicBezTo>
                  <a:pt x="61" y="32"/>
                  <a:pt x="61" y="32"/>
                  <a:pt x="61" y="32"/>
                </a:cubicBezTo>
                <a:cubicBezTo>
                  <a:pt x="60" y="32"/>
                  <a:pt x="60" y="32"/>
                  <a:pt x="60" y="32"/>
                </a:cubicBezTo>
                <a:cubicBezTo>
                  <a:pt x="60" y="32"/>
                  <a:pt x="60" y="32"/>
                  <a:pt x="60" y="32"/>
                </a:cubicBezTo>
                <a:cubicBezTo>
                  <a:pt x="60" y="32"/>
                  <a:pt x="60" y="32"/>
                  <a:pt x="60" y="32"/>
                </a:cubicBezTo>
                <a:cubicBezTo>
                  <a:pt x="59" y="33"/>
                  <a:pt x="59" y="33"/>
                  <a:pt x="59" y="33"/>
                </a:cubicBezTo>
                <a:cubicBezTo>
                  <a:pt x="59" y="32"/>
                  <a:pt x="59" y="32"/>
                  <a:pt x="59" y="32"/>
                </a:cubicBezTo>
                <a:cubicBezTo>
                  <a:pt x="58" y="32"/>
                  <a:pt x="58" y="32"/>
                  <a:pt x="58" y="32"/>
                </a:cubicBezTo>
                <a:cubicBezTo>
                  <a:pt x="57" y="33"/>
                  <a:pt x="57" y="33"/>
                  <a:pt x="57" y="33"/>
                </a:cubicBezTo>
                <a:cubicBezTo>
                  <a:pt x="57" y="34"/>
                  <a:pt x="57" y="34"/>
                  <a:pt x="57" y="34"/>
                </a:cubicBezTo>
                <a:cubicBezTo>
                  <a:pt x="57" y="34"/>
                  <a:pt x="57" y="34"/>
                  <a:pt x="57" y="34"/>
                </a:cubicBezTo>
                <a:cubicBezTo>
                  <a:pt x="56" y="34"/>
                  <a:pt x="56" y="34"/>
                  <a:pt x="56" y="34"/>
                </a:cubicBezTo>
                <a:cubicBezTo>
                  <a:pt x="55" y="36"/>
                  <a:pt x="55" y="36"/>
                  <a:pt x="55" y="36"/>
                </a:cubicBezTo>
                <a:cubicBezTo>
                  <a:pt x="56" y="36"/>
                  <a:pt x="56" y="36"/>
                  <a:pt x="56" y="36"/>
                </a:cubicBezTo>
                <a:cubicBezTo>
                  <a:pt x="59" y="35"/>
                  <a:pt x="59" y="35"/>
                  <a:pt x="59" y="35"/>
                </a:cubicBezTo>
                <a:cubicBezTo>
                  <a:pt x="59" y="35"/>
                  <a:pt x="59" y="35"/>
                  <a:pt x="59" y="35"/>
                </a:cubicBezTo>
                <a:cubicBezTo>
                  <a:pt x="61" y="35"/>
                  <a:pt x="61" y="35"/>
                  <a:pt x="61" y="35"/>
                </a:cubicBezTo>
                <a:cubicBezTo>
                  <a:pt x="61" y="35"/>
                  <a:pt x="61" y="35"/>
                  <a:pt x="61" y="35"/>
                </a:cubicBezTo>
                <a:cubicBezTo>
                  <a:pt x="61" y="36"/>
                  <a:pt x="61" y="36"/>
                  <a:pt x="61" y="36"/>
                </a:cubicBezTo>
                <a:cubicBezTo>
                  <a:pt x="61" y="37"/>
                  <a:pt x="61" y="37"/>
                  <a:pt x="61" y="37"/>
                </a:cubicBezTo>
                <a:cubicBezTo>
                  <a:pt x="60" y="38"/>
                  <a:pt x="60" y="38"/>
                  <a:pt x="60" y="38"/>
                </a:cubicBezTo>
                <a:cubicBezTo>
                  <a:pt x="60" y="39"/>
                  <a:pt x="60" y="39"/>
                  <a:pt x="60" y="39"/>
                </a:cubicBezTo>
                <a:cubicBezTo>
                  <a:pt x="60" y="38"/>
                  <a:pt x="60" y="38"/>
                  <a:pt x="60" y="38"/>
                </a:cubicBezTo>
                <a:cubicBezTo>
                  <a:pt x="59" y="37"/>
                  <a:pt x="59" y="37"/>
                  <a:pt x="59" y="37"/>
                </a:cubicBezTo>
                <a:cubicBezTo>
                  <a:pt x="58" y="37"/>
                  <a:pt x="58" y="37"/>
                  <a:pt x="58" y="37"/>
                </a:cubicBezTo>
                <a:cubicBezTo>
                  <a:pt x="58" y="37"/>
                  <a:pt x="58" y="37"/>
                  <a:pt x="58" y="37"/>
                </a:cubicBezTo>
                <a:cubicBezTo>
                  <a:pt x="57" y="37"/>
                  <a:pt x="57" y="37"/>
                  <a:pt x="57" y="37"/>
                </a:cubicBezTo>
                <a:cubicBezTo>
                  <a:pt x="57" y="37"/>
                  <a:pt x="57" y="37"/>
                  <a:pt x="57" y="37"/>
                </a:cubicBezTo>
                <a:cubicBezTo>
                  <a:pt x="57" y="38"/>
                  <a:pt x="57" y="38"/>
                  <a:pt x="57" y="38"/>
                </a:cubicBezTo>
                <a:cubicBezTo>
                  <a:pt x="56" y="37"/>
                  <a:pt x="56" y="37"/>
                  <a:pt x="56" y="37"/>
                </a:cubicBezTo>
                <a:cubicBezTo>
                  <a:pt x="55" y="38"/>
                  <a:pt x="55" y="38"/>
                  <a:pt x="55" y="38"/>
                </a:cubicBezTo>
                <a:cubicBezTo>
                  <a:pt x="56" y="38"/>
                  <a:pt x="56" y="38"/>
                  <a:pt x="56" y="38"/>
                </a:cubicBezTo>
                <a:cubicBezTo>
                  <a:pt x="56" y="39"/>
                  <a:pt x="56" y="39"/>
                  <a:pt x="56" y="39"/>
                </a:cubicBezTo>
                <a:cubicBezTo>
                  <a:pt x="56" y="39"/>
                  <a:pt x="56" y="39"/>
                  <a:pt x="56" y="39"/>
                </a:cubicBezTo>
                <a:cubicBezTo>
                  <a:pt x="55" y="40"/>
                  <a:pt x="55" y="40"/>
                  <a:pt x="55" y="40"/>
                </a:cubicBezTo>
                <a:cubicBezTo>
                  <a:pt x="56" y="41"/>
                  <a:pt x="56" y="41"/>
                  <a:pt x="56" y="41"/>
                </a:cubicBezTo>
                <a:cubicBezTo>
                  <a:pt x="55" y="41"/>
                  <a:pt x="55" y="41"/>
                  <a:pt x="55" y="41"/>
                </a:cubicBezTo>
                <a:cubicBezTo>
                  <a:pt x="55" y="41"/>
                  <a:pt x="55" y="41"/>
                  <a:pt x="55" y="41"/>
                </a:cubicBezTo>
                <a:cubicBezTo>
                  <a:pt x="55" y="40"/>
                  <a:pt x="55" y="40"/>
                  <a:pt x="55" y="40"/>
                </a:cubicBezTo>
                <a:cubicBezTo>
                  <a:pt x="54" y="38"/>
                  <a:pt x="54" y="38"/>
                  <a:pt x="54" y="38"/>
                </a:cubicBezTo>
                <a:cubicBezTo>
                  <a:pt x="53" y="39"/>
                  <a:pt x="53" y="39"/>
                  <a:pt x="53" y="39"/>
                </a:cubicBezTo>
                <a:cubicBezTo>
                  <a:pt x="52" y="40"/>
                  <a:pt x="52" y="40"/>
                  <a:pt x="52" y="40"/>
                </a:cubicBezTo>
                <a:cubicBezTo>
                  <a:pt x="52" y="39"/>
                  <a:pt x="52" y="39"/>
                  <a:pt x="52" y="39"/>
                </a:cubicBezTo>
                <a:cubicBezTo>
                  <a:pt x="52" y="38"/>
                  <a:pt x="52" y="38"/>
                  <a:pt x="52" y="38"/>
                </a:cubicBezTo>
                <a:cubicBezTo>
                  <a:pt x="51" y="38"/>
                  <a:pt x="51" y="38"/>
                  <a:pt x="51" y="38"/>
                </a:cubicBezTo>
                <a:cubicBezTo>
                  <a:pt x="50" y="39"/>
                  <a:pt x="50" y="39"/>
                  <a:pt x="50" y="39"/>
                </a:cubicBezTo>
                <a:cubicBezTo>
                  <a:pt x="51" y="40"/>
                  <a:pt x="51" y="40"/>
                  <a:pt x="51" y="40"/>
                </a:cubicBezTo>
                <a:cubicBezTo>
                  <a:pt x="53" y="40"/>
                  <a:pt x="53" y="40"/>
                  <a:pt x="53" y="40"/>
                </a:cubicBezTo>
                <a:cubicBezTo>
                  <a:pt x="54" y="41"/>
                  <a:pt x="54" y="41"/>
                  <a:pt x="54" y="41"/>
                </a:cubicBezTo>
                <a:cubicBezTo>
                  <a:pt x="53" y="42"/>
                  <a:pt x="53" y="42"/>
                  <a:pt x="53" y="42"/>
                </a:cubicBezTo>
                <a:cubicBezTo>
                  <a:pt x="51" y="42"/>
                  <a:pt x="51" y="42"/>
                  <a:pt x="51" y="42"/>
                </a:cubicBezTo>
                <a:cubicBezTo>
                  <a:pt x="50" y="42"/>
                  <a:pt x="50" y="42"/>
                  <a:pt x="50" y="42"/>
                </a:cubicBezTo>
                <a:cubicBezTo>
                  <a:pt x="49" y="42"/>
                  <a:pt x="49" y="42"/>
                  <a:pt x="49" y="42"/>
                </a:cubicBezTo>
                <a:cubicBezTo>
                  <a:pt x="49" y="43"/>
                  <a:pt x="49" y="43"/>
                  <a:pt x="49" y="43"/>
                </a:cubicBezTo>
                <a:cubicBezTo>
                  <a:pt x="50" y="44"/>
                  <a:pt x="50" y="44"/>
                  <a:pt x="50" y="44"/>
                </a:cubicBezTo>
                <a:cubicBezTo>
                  <a:pt x="49" y="45"/>
                  <a:pt x="49" y="45"/>
                  <a:pt x="49" y="45"/>
                </a:cubicBezTo>
                <a:cubicBezTo>
                  <a:pt x="50" y="44"/>
                  <a:pt x="50" y="44"/>
                  <a:pt x="50" y="44"/>
                </a:cubicBezTo>
                <a:cubicBezTo>
                  <a:pt x="51" y="43"/>
                  <a:pt x="51" y="43"/>
                  <a:pt x="51" y="43"/>
                </a:cubicBezTo>
                <a:cubicBezTo>
                  <a:pt x="52" y="43"/>
                  <a:pt x="52" y="43"/>
                  <a:pt x="52" y="43"/>
                </a:cubicBezTo>
                <a:cubicBezTo>
                  <a:pt x="53" y="44"/>
                  <a:pt x="53" y="44"/>
                  <a:pt x="53" y="44"/>
                </a:cubicBezTo>
                <a:cubicBezTo>
                  <a:pt x="51" y="44"/>
                  <a:pt x="51" y="44"/>
                  <a:pt x="51" y="44"/>
                </a:cubicBezTo>
                <a:cubicBezTo>
                  <a:pt x="51" y="45"/>
                  <a:pt x="51" y="45"/>
                  <a:pt x="51" y="45"/>
                </a:cubicBezTo>
                <a:cubicBezTo>
                  <a:pt x="51" y="46"/>
                  <a:pt x="51" y="46"/>
                  <a:pt x="51" y="46"/>
                </a:cubicBezTo>
                <a:cubicBezTo>
                  <a:pt x="53" y="47"/>
                  <a:pt x="53" y="47"/>
                  <a:pt x="53" y="47"/>
                </a:cubicBezTo>
                <a:cubicBezTo>
                  <a:pt x="53" y="48"/>
                  <a:pt x="53" y="48"/>
                  <a:pt x="53" y="48"/>
                </a:cubicBezTo>
                <a:cubicBezTo>
                  <a:pt x="52" y="47"/>
                  <a:pt x="52" y="47"/>
                  <a:pt x="52" y="47"/>
                </a:cubicBezTo>
                <a:cubicBezTo>
                  <a:pt x="51" y="47"/>
                  <a:pt x="51" y="47"/>
                  <a:pt x="51" y="47"/>
                </a:cubicBezTo>
                <a:cubicBezTo>
                  <a:pt x="50" y="46"/>
                  <a:pt x="50" y="46"/>
                  <a:pt x="50" y="46"/>
                </a:cubicBezTo>
                <a:cubicBezTo>
                  <a:pt x="49" y="46"/>
                  <a:pt x="49" y="46"/>
                  <a:pt x="49" y="46"/>
                </a:cubicBezTo>
                <a:cubicBezTo>
                  <a:pt x="49" y="47"/>
                  <a:pt x="49" y="47"/>
                  <a:pt x="49" y="47"/>
                </a:cubicBezTo>
                <a:cubicBezTo>
                  <a:pt x="50" y="48"/>
                  <a:pt x="50" y="48"/>
                  <a:pt x="50" y="48"/>
                </a:cubicBezTo>
                <a:cubicBezTo>
                  <a:pt x="48" y="48"/>
                  <a:pt x="48" y="48"/>
                  <a:pt x="48" y="48"/>
                </a:cubicBezTo>
                <a:cubicBezTo>
                  <a:pt x="47" y="49"/>
                  <a:pt x="47" y="49"/>
                  <a:pt x="47" y="49"/>
                </a:cubicBezTo>
                <a:cubicBezTo>
                  <a:pt x="47" y="49"/>
                  <a:pt x="47" y="49"/>
                  <a:pt x="47" y="49"/>
                </a:cubicBezTo>
                <a:cubicBezTo>
                  <a:pt x="48" y="50"/>
                  <a:pt x="48" y="50"/>
                  <a:pt x="48" y="50"/>
                </a:cubicBezTo>
                <a:cubicBezTo>
                  <a:pt x="49" y="49"/>
                  <a:pt x="49" y="49"/>
                  <a:pt x="49" y="49"/>
                </a:cubicBezTo>
                <a:cubicBezTo>
                  <a:pt x="50" y="50"/>
                  <a:pt x="50" y="50"/>
                  <a:pt x="50" y="50"/>
                </a:cubicBezTo>
                <a:cubicBezTo>
                  <a:pt x="51" y="50"/>
                  <a:pt x="51" y="50"/>
                  <a:pt x="51" y="50"/>
                </a:cubicBezTo>
                <a:cubicBezTo>
                  <a:pt x="52" y="51"/>
                  <a:pt x="52" y="51"/>
                  <a:pt x="52" y="51"/>
                </a:cubicBezTo>
                <a:cubicBezTo>
                  <a:pt x="52" y="51"/>
                  <a:pt x="52" y="51"/>
                  <a:pt x="52" y="51"/>
                </a:cubicBezTo>
                <a:cubicBezTo>
                  <a:pt x="52" y="52"/>
                  <a:pt x="52" y="52"/>
                  <a:pt x="52" y="52"/>
                </a:cubicBezTo>
                <a:cubicBezTo>
                  <a:pt x="51" y="51"/>
                  <a:pt x="51" y="51"/>
                  <a:pt x="51" y="51"/>
                </a:cubicBezTo>
                <a:cubicBezTo>
                  <a:pt x="49" y="51"/>
                  <a:pt x="49" y="51"/>
                  <a:pt x="49" y="51"/>
                </a:cubicBezTo>
                <a:cubicBezTo>
                  <a:pt x="49" y="51"/>
                  <a:pt x="49" y="51"/>
                  <a:pt x="49" y="51"/>
                </a:cubicBezTo>
                <a:cubicBezTo>
                  <a:pt x="47" y="51"/>
                  <a:pt x="47" y="51"/>
                  <a:pt x="47" y="51"/>
                </a:cubicBezTo>
                <a:cubicBezTo>
                  <a:pt x="47" y="52"/>
                  <a:pt x="47" y="52"/>
                  <a:pt x="47" y="52"/>
                </a:cubicBezTo>
                <a:cubicBezTo>
                  <a:pt x="46" y="53"/>
                  <a:pt x="46" y="53"/>
                  <a:pt x="46" y="53"/>
                </a:cubicBezTo>
                <a:cubicBezTo>
                  <a:pt x="46" y="52"/>
                  <a:pt x="46" y="52"/>
                  <a:pt x="46" y="52"/>
                </a:cubicBezTo>
                <a:cubicBezTo>
                  <a:pt x="44" y="53"/>
                  <a:pt x="44" y="53"/>
                  <a:pt x="44" y="53"/>
                </a:cubicBezTo>
                <a:cubicBezTo>
                  <a:pt x="43" y="53"/>
                  <a:pt x="43" y="53"/>
                  <a:pt x="43" y="53"/>
                </a:cubicBezTo>
                <a:cubicBezTo>
                  <a:pt x="43" y="54"/>
                  <a:pt x="43" y="54"/>
                  <a:pt x="43" y="54"/>
                </a:cubicBezTo>
                <a:cubicBezTo>
                  <a:pt x="44" y="54"/>
                  <a:pt x="44" y="54"/>
                  <a:pt x="44" y="54"/>
                </a:cubicBezTo>
                <a:cubicBezTo>
                  <a:pt x="45" y="55"/>
                  <a:pt x="45" y="55"/>
                  <a:pt x="45" y="55"/>
                </a:cubicBezTo>
                <a:cubicBezTo>
                  <a:pt x="44" y="55"/>
                  <a:pt x="44" y="55"/>
                  <a:pt x="44" y="55"/>
                </a:cubicBezTo>
                <a:cubicBezTo>
                  <a:pt x="43" y="55"/>
                  <a:pt x="43" y="55"/>
                  <a:pt x="43" y="55"/>
                </a:cubicBezTo>
                <a:cubicBezTo>
                  <a:pt x="43" y="56"/>
                  <a:pt x="43" y="56"/>
                  <a:pt x="43" y="56"/>
                </a:cubicBezTo>
                <a:cubicBezTo>
                  <a:pt x="44" y="56"/>
                  <a:pt x="44" y="56"/>
                  <a:pt x="44" y="56"/>
                </a:cubicBezTo>
                <a:cubicBezTo>
                  <a:pt x="44" y="57"/>
                  <a:pt x="44" y="57"/>
                  <a:pt x="44" y="57"/>
                </a:cubicBezTo>
                <a:cubicBezTo>
                  <a:pt x="42" y="57"/>
                  <a:pt x="42" y="57"/>
                  <a:pt x="42" y="57"/>
                </a:cubicBezTo>
                <a:cubicBezTo>
                  <a:pt x="42" y="56"/>
                  <a:pt x="42" y="56"/>
                  <a:pt x="42" y="56"/>
                </a:cubicBezTo>
                <a:cubicBezTo>
                  <a:pt x="42" y="57"/>
                  <a:pt x="42" y="57"/>
                  <a:pt x="42" y="57"/>
                </a:cubicBezTo>
                <a:cubicBezTo>
                  <a:pt x="43" y="57"/>
                  <a:pt x="43" y="57"/>
                  <a:pt x="43" y="57"/>
                </a:cubicBezTo>
                <a:cubicBezTo>
                  <a:pt x="42" y="58"/>
                  <a:pt x="42" y="58"/>
                  <a:pt x="42" y="58"/>
                </a:cubicBezTo>
                <a:cubicBezTo>
                  <a:pt x="42" y="58"/>
                  <a:pt x="42" y="58"/>
                  <a:pt x="42" y="58"/>
                </a:cubicBezTo>
                <a:cubicBezTo>
                  <a:pt x="43" y="58"/>
                  <a:pt x="43" y="58"/>
                  <a:pt x="43" y="58"/>
                </a:cubicBezTo>
                <a:cubicBezTo>
                  <a:pt x="42" y="59"/>
                  <a:pt x="42" y="59"/>
                  <a:pt x="42" y="59"/>
                </a:cubicBezTo>
                <a:cubicBezTo>
                  <a:pt x="42" y="59"/>
                  <a:pt x="42" y="59"/>
                  <a:pt x="42" y="59"/>
                </a:cubicBezTo>
                <a:cubicBezTo>
                  <a:pt x="41" y="59"/>
                  <a:pt x="41" y="59"/>
                  <a:pt x="41" y="59"/>
                </a:cubicBezTo>
                <a:cubicBezTo>
                  <a:pt x="41" y="59"/>
                  <a:pt x="41" y="59"/>
                  <a:pt x="41" y="59"/>
                </a:cubicBezTo>
                <a:cubicBezTo>
                  <a:pt x="41" y="60"/>
                  <a:pt x="41" y="60"/>
                  <a:pt x="41" y="60"/>
                </a:cubicBezTo>
                <a:cubicBezTo>
                  <a:pt x="41" y="60"/>
                  <a:pt x="41" y="60"/>
                  <a:pt x="41" y="60"/>
                </a:cubicBezTo>
                <a:cubicBezTo>
                  <a:pt x="43" y="61"/>
                  <a:pt x="43" y="61"/>
                  <a:pt x="43" y="61"/>
                </a:cubicBezTo>
                <a:cubicBezTo>
                  <a:pt x="43" y="62"/>
                  <a:pt x="43" y="62"/>
                  <a:pt x="43" y="62"/>
                </a:cubicBezTo>
                <a:cubicBezTo>
                  <a:pt x="44" y="62"/>
                  <a:pt x="44" y="62"/>
                  <a:pt x="44" y="62"/>
                </a:cubicBezTo>
                <a:cubicBezTo>
                  <a:pt x="45" y="61"/>
                  <a:pt x="45" y="61"/>
                  <a:pt x="45" y="61"/>
                </a:cubicBezTo>
                <a:cubicBezTo>
                  <a:pt x="44" y="62"/>
                  <a:pt x="44" y="62"/>
                  <a:pt x="44" y="62"/>
                </a:cubicBezTo>
                <a:cubicBezTo>
                  <a:pt x="44" y="63"/>
                  <a:pt x="44" y="63"/>
                  <a:pt x="44" y="63"/>
                </a:cubicBezTo>
                <a:cubicBezTo>
                  <a:pt x="43" y="63"/>
                  <a:pt x="43" y="63"/>
                  <a:pt x="43" y="63"/>
                </a:cubicBezTo>
                <a:cubicBezTo>
                  <a:pt x="43" y="62"/>
                  <a:pt x="43" y="62"/>
                  <a:pt x="43" y="62"/>
                </a:cubicBezTo>
                <a:cubicBezTo>
                  <a:pt x="41" y="62"/>
                  <a:pt x="41" y="62"/>
                  <a:pt x="41" y="62"/>
                </a:cubicBezTo>
                <a:cubicBezTo>
                  <a:pt x="40" y="63"/>
                  <a:pt x="40" y="63"/>
                  <a:pt x="40" y="63"/>
                </a:cubicBezTo>
                <a:cubicBezTo>
                  <a:pt x="40" y="64"/>
                  <a:pt x="40" y="64"/>
                  <a:pt x="40" y="64"/>
                </a:cubicBezTo>
                <a:cubicBezTo>
                  <a:pt x="41" y="64"/>
                  <a:pt x="41" y="64"/>
                  <a:pt x="41" y="64"/>
                </a:cubicBezTo>
                <a:cubicBezTo>
                  <a:pt x="41" y="64"/>
                  <a:pt x="41" y="64"/>
                  <a:pt x="41" y="64"/>
                </a:cubicBezTo>
                <a:cubicBezTo>
                  <a:pt x="42" y="65"/>
                  <a:pt x="42" y="65"/>
                  <a:pt x="42" y="65"/>
                </a:cubicBezTo>
                <a:cubicBezTo>
                  <a:pt x="42" y="66"/>
                  <a:pt x="42" y="66"/>
                  <a:pt x="42" y="66"/>
                </a:cubicBezTo>
                <a:cubicBezTo>
                  <a:pt x="41" y="65"/>
                  <a:pt x="41" y="65"/>
                  <a:pt x="41" y="65"/>
                </a:cubicBezTo>
                <a:cubicBezTo>
                  <a:pt x="41" y="65"/>
                  <a:pt x="41" y="65"/>
                  <a:pt x="41" y="65"/>
                </a:cubicBezTo>
                <a:cubicBezTo>
                  <a:pt x="40" y="66"/>
                  <a:pt x="40" y="66"/>
                  <a:pt x="40" y="66"/>
                </a:cubicBezTo>
                <a:cubicBezTo>
                  <a:pt x="40" y="67"/>
                  <a:pt x="40" y="67"/>
                  <a:pt x="40" y="67"/>
                </a:cubicBezTo>
                <a:cubicBezTo>
                  <a:pt x="40" y="67"/>
                  <a:pt x="40" y="67"/>
                  <a:pt x="40" y="67"/>
                </a:cubicBezTo>
                <a:cubicBezTo>
                  <a:pt x="40" y="68"/>
                  <a:pt x="40" y="68"/>
                  <a:pt x="40" y="68"/>
                </a:cubicBezTo>
                <a:cubicBezTo>
                  <a:pt x="41" y="68"/>
                  <a:pt x="41" y="68"/>
                  <a:pt x="41" y="68"/>
                </a:cubicBezTo>
                <a:cubicBezTo>
                  <a:pt x="40" y="68"/>
                  <a:pt x="40" y="68"/>
                  <a:pt x="40" y="68"/>
                </a:cubicBezTo>
                <a:cubicBezTo>
                  <a:pt x="39" y="68"/>
                  <a:pt x="39" y="68"/>
                  <a:pt x="39" y="68"/>
                </a:cubicBezTo>
                <a:cubicBezTo>
                  <a:pt x="39" y="68"/>
                  <a:pt x="39" y="68"/>
                  <a:pt x="39" y="68"/>
                </a:cubicBezTo>
                <a:cubicBezTo>
                  <a:pt x="39" y="69"/>
                  <a:pt x="39" y="69"/>
                  <a:pt x="39" y="69"/>
                </a:cubicBezTo>
                <a:cubicBezTo>
                  <a:pt x="40" y="69"/>
                  <a:pt x="40" y="69"/>
                  <a:pt x="40" y="69"/>
                </a:cubicBezTo>
                <a:cubicBezTo>
                  <a:pt x="40" y="70"/>
                  <a:pt x="40" y="70"/>
                  <a:pt x="40" y="70"/>
                </a:cubicBezTo>
                <a:cubicBezTo>
                  <a:pt x="40" y="71"/>
                  <a:pt x="40" y="71"/>
                  <a:pt x="40" y="71"/>
                </a:cubicBezTo>
                <a:cubicBezTo>
                  <a:pt x="39" y="70"/>
                  <a:pt x="39" y="70"/>
                  <a:pt x="39" y="70"/>
                </a:cubicBezTo>
                <a:cubicBezTo>
                  <a:pt x="38" y="70"/>
                  <a:pt x="38" y="70"/>
                  <a:pt x="38" y="70"/>
                </a:cubicBezTo>
                <a:cubicBezTo>
                  <a:pt x="38" y="71"/>
                  <a:pt x="38" y="71"/>
                  <a:pt x="38" y="71"/>
                </a:cubicBezTo>
                <a:cubicBezTo>
                  <a:pt x="39" y="71"/>
                  <a:pt x="39" y="71"/>
                  <a:pt x="39" y="71"/>
                </a:cubicBezTo>
                <a:cubicBezTo>
                  <a:pt x="39" y="72"/>
                  <a:pt x="39" y="72"/>
                  <a:pt x="39" y="72"/>
                </a:cubicBezTo>
                <a:cubicBezTo>
                  <a:pt x="39" y="73"/>
                  <a:pt x="39" y="73"/>
                  <a:pt x="39" y="73"/>
                </a:cubicBezTo>
                <a:cubicBezTo>
                  <a:pt x="40" y="73"/>
                  <a:pt x="40" y="73"/>
                  <a:pt x="40" y="73"/>
                </a:cubicBezTo>
                <a:cubicBezTo>
                  <a:pt x="40" y="72"/>
                  <a:pt x="40" y="72"/>
                  <a:pt x="40" y="72"/>
                </a:cubicBezTo>
                <a:cubicBezTo>
                  <a:pt x="41" y="72"/>
                  <a:pt x="41" y="72"/>
                  <a:pt x="41" y="72"/>
                </a:cubicBezTo>
                <a:cubicBezTo>
                  <a:pt x="40" y="74"/>
                  <a:pt x="40" y="74"/>
                  <a:pt x="40" y="74"/>
                </a:cubicBezTo>
                <a:cubicBezTo>
                  <a:pt x="39" y="74"/>
                  <a:pt x="39" y="74"/>
                  <a:pt x="39" y="74"/>
                </a:cubicBezTo>
                <a:cubicBezTo>
                  <a:pt x="38" y="75"/>
                  <a:pt x="38" y="75"/>
                  <a:pt x="38" y="75"/>
                </a:cubicBezTo>
                <a:cubicBezTo>
                  <a:pt x="38" y="75"/>
                  <a:pt x="38" y="75"/>
                  <a:pt x="38" y="75"/>
                </a:cubicBezTo>
                <a:cubicBezTo>
                  <a:pt x="37" y="75"/>
                  <a:pt x="37" y="75"/>
                  <a:pt x="37" y="75"/>
                </a:cubicBezTo>
                <a:cubicBezTo>
                  <a:pt x="37" y="76"/>
                  <a:pt x="37" y="76"/>
                  <a:pt x="37" y="76"/>
                </a:cubicBezTo>
                <a:cubicBezTo>
                  <a:pt x="36" y="76"/>
                  <a:pt x="36" y="76"/>
                  <a:pt x="36" y="76"/>
                </a:cubicBezTo>
                <a:cubicBezTo>
                  <a:pt x="35" y="77"/>
                  <a:pt x="35" y="77"/>
                  <a:pt x="35" y="77"/>
                </a:cubicBezTo>
                <a:cubicBezTo>
                  <a:pt x="36" y="77"/>
                  <a:pt x="36" y="77"/>
                  <a:pt x="36" y="77"/>
                </a:cubicBezTo>
                <a:cubicBezTo>
                  <a:pt x="36" y="78"/>
                  <a:pt x="36" y="78"/>
                  <a:pt x="36" y="78"/>
                </a:cubicBezTo>
                <a:cubicBezTo>
                  <a:pt x="34" y="78"/>
                  <a:pt x="34" y="78"/>
                  <a:pt x="34" y="78"/>
                </a:cubicBezTo>
                <a:cubicBezTo>
                  <a:pt x="33" y="79"/>
                  <a:pt x="33" y="79"/>
                  <a:pt x="33" y="79"/>
                </a:cubicBezTo>
                <a:cubicBezTo>
                  <a:pt x="33" y="80"/>
                  <a:pt x="33" y="80"/>
                  <a:pt x="33" y="80"/>
                </a:cubicBezTo>
                <a:cubicBezTo>
                  <a:pt x="35" y="80"/>
                  <a:pt x="35" y="80"/>
                  <a:pt x="35" y="80"/>
                </a:cubicBezTo>
                <a:cubicBezTo>
                  <a:pt x="34" y="80"/>
                  <a:pt x="34" y="80"/>
                  <a:pt x="34" y="80"/>
                </a:cubicBezTo>
                <a:cubicBezTo>
                  <a:pt x="33" y="81"/>
                  <a:pt x="33" y="81"/>
                  <a:pt x="33" y="81"/>
                </a:cubicBezTo>
                <a:cubicBezTo>
                  <a:pt x="32" y="82"/>
                  <a:pt x="32" y="82"/>
                  <a:pt x="32" y="82"/>
                </a:cubicBezTo>
                <a:cubicBezTo>
                  <a:pt x="32" y="81"/>
                  <a:pt x="32" y="81"/>
                  <a:pt x="32" y="81"/>
                </a:cubicBezTo>
                <a:cubicBezTo>
                  <a:pt x="31" y="80"/>
                  <a:pt x="31" y="80"/>
                  <a:pt x="31" y="80"/>
                </a:cubicBezTo>
                <a:cubicBezTo>
                  <a:pt x="31" y="81"/>
                  <a:pt x="31" y="81"/>
                  <a:pt x="31" y="81"/>
                </a:cubicBezTo>
                <a:cubicBezTo>
                  <a:pt x="30" y="81"/>
                  <a:pt x="30" y="81"/>
                  <a:pt x="30" y="81"/>
                </a:cubicBezTo>
                <a:cubicBezTo>
                  <a:pt x="30" y="81"/>
                  <a:pt x="30" y="81"/>
                  <a:pt x="30" y="81"/>
                </a:cubicBezTo>
                <a:cubicBezTo>
                  <a:pt x="30" y="82"/>
                  <a:pt x="30" y="82"/>
                  <a:pt x="30" y="82"/>
                </a:cubicBezTo>
                <a:cubicBezTo>
                  <a:pt x="30" y="83"/>
                  <a:pt x="30" y="83"/>
                  <a:pt x="30" y="83"/>
                </a:cubicBezTo>
                <a:cubicBezTo>
                  <a:pt x="30" y="83"/>
                  <a:pt x="30" y="83"/>
                  <a:pt x="30" y="83"/>
                </a:cubicBezTo>
                <a:cubicBezTo>
                  <a:pt x="29" y="83"/>
                  <a:pt x="29" y="83"/>
                  <a:pt x="29" y="83"/>
                </a:cubicBezTo>
                <a:cubicBezTo>
                  <a:pt x="28" y="84"/>
                  <a:pt x="28" y="84"/>
                  <a:pt x="28" y="84"/>
                </a:cubicBezTo>
                <a:cubicBezTo>
                  <a:pt x="28" y="85"/>
                  <a:pt x="28" y="85"/>
                  <a:pt x="28" y="85"/>
                </a:cubicBezTo>
                <a:cubicBezTo>
                  <a:pt x="27" y="86"/>
                  <a:pt x="27" y="86"/>
                  <a:pt x="27" y="86"/>
                </a:cubicBezTo>
                <a:cubicBezTo>
                  <a:pt x="27" y="86"/>
                  <a:pt x="27" y="86"/>
                  <a:pt x="27" y="86"/>
                </a:cubicBezTo>
                <a:cubicBezTo>
                  <a:pt x="27" y="87"/>
                  <a:pt x="27" y="87"/>
                  <a:pt x="27" y="87"/>
                </a:cubicBezTo>
                <a:cubicBezTo>
                  <a:pt x="26" y="88"/>
                  <a:pt x="26" y="88"/>
                  <a:pt x="26" y="88"/>
                </a:cubicBezTo>
                <a:cubicBezTo>
                  <a:pt x="25" y="89"/>
                  <a:pt x="25" y="89"/>
                  <a:pt x="25" y="89"/>
                </a:cubicBezTo>
                <a:cubicBezTo>
                  <a:pt x="25" y="90"/>
                  <a:pt x="25" y="90"/>
                  <a:pt x="25" y="90"/>
                </a:cubicBezTo>
                <a:cubicBezTo>
                  <a:pt x="27" y="89"/>
                  <a:pt x="27" y="89"/>
                  <a:pt x="27" y="89"/>
                </a:cubicBezTo>
                <a:cubicBezTo>
                  <a:pt x="27" y="89"/>
                  <a:pt x="27" y="89"/>
                  <a:pt x="27" y="89"/>
                </a:cubicBezTo>
                <a:cubicBezTo>
                  <a:pt x="27" y="89"/>
                  <a:pt x="27" y="89"/>
                  <a:pt x="27" y="89"/>
                </a:cubicBezTo>
                <a:cubicBezTo>
                  <a:pt x="26" y="90"/>
                  <a:pt x="26" y="90"/>
                  <a:pt x="26" y="90"/>
                </a:cubicBezTo>
                <a:cubicBezTo>
                  <a:pt x="26" y="91"/>
                  <a:pt x="26" y="91"/>
                  <a:pt x="26" y="91"/>
                </a:cubicBezTo>
                <a:cubicBezTo>
                  <a:pt x="27" y="92"/>
                  <a:pt x="27" y="92"/>
                  <a:pt x="27" y="92"/>
                </a:cubicBezTo>
                <a:cubicBezTo>
                  <a:pt x="28" y="91"/>
                  <a:pt x="28" y="91"/>
                  <a:pt x="28" y="91"/>
                </a:cubicBezTo>
                <a:cubicBezTo>
                  <a:pt x="30" y="91"/>
                  <a:pt x="30" y="91"/>
                  <a:pt x="30" y="91"/>
                </a:cubicBezTo>
                <a:cubicBezTo>
                  <a:pt x="32" y="89"/>
                  <a:pt x="32" y="89"/>
                  <a:pt x="32" y="89"/>
                </a:cubicBezTo>
                <a:cubicBezTo>
                  <a:pt x="32" y="88"/>
                  <a:pt x="32" y="88"/>
                  <a:pt x="32" y="88"/>
                </a:cubicBezTo>
                <a:cubicBezTo>
                  <a:pt x="31" y="89"/>
                  <a:pt x="31" y="89"/>
                  <a:pt x="31" y="89"/>
                </a:cubicBezTo>
                <a:cubicBezTo>
                  <a:pt x="32" y="88"/>
                  <a:pt x="32" y="88"/>
                  <a:pt x="32" y="88"/>
                </a:cubicBezTo>
                <a:cubicBezTo>
                  <a:pt x="32" y="86"/>
                  <a:pt x="32" y="86"/>
                  <a:pt x="32" y="86"/>
                </a:cubicBezTo>
                <a:cubicBezTo>
                  <a:pt x="32" y="86"/>
                  <a:pt x="32" y="86"/>
                  <a:pt x="32" y="86"/>
                </a:cubicBezTo>
                <a:cubicBezTo>
                  <a:pt x="33" y="86"/>
                  <a:pt x="33" y="86"/>
                  <a:pt x="33" y="86"/>
                </a:cubicBezTo>
                <a:cubicBezTo>
                  <a:pt x="34" y="86"/>
                  <a:pt x="34" y="86"/>
                  <a:pt x="34" y="86"/>
                </a:cubicBezTo>
                <a:cubicBezTo>
                  <a:pt x="35" y="86"/>
                  <a:pt x="35" y="86"/>
                  <a:pt x="35" y="86"/>
                </a:cubicBezTo>
                <a:cubicBezTo>
                  <a:pt x="33" y="87"/>
                  <a:pt x="33" y="87"/>
                  <a:pt x="33" y="87"/>
                </a:cubicBezTo>
                <a:cubicBezTo>
                  <a:pt x="33" y="88"/>
                  <a:pt x="33" y="88"/>
                  <a:pt x="33" y="88"/>
                </a:cubicBezTo>
                <a:cubicBezTo>
                  <a:pt x="34" y="88"/>
                  <a:pt x="34" y="88"/>
                  <a:pt x="34" y="88"/>
                </a:cubicBezTo>
                <a:cubicBezTo>
                  <a:pt x="34" y="89"/>
                  <a:pt x="34" y="89"/>
                  <a:pt x="34" y="89"/>
                </a:cubicBezTo>
                <a:cubicBezTo>
                  <a:pt x="33" y="89"/>
                  <a:pt x="33" y="89"/>
                  <a:pt x="33" y="89"/>
                </a:cubicBezTo>
                <a:cubicBezTo>
                  <a:pt x="31" y="91"/>
                  <a:pt x="31" y="91"/>
                  <a:pt x="31" y="91"/>
                </a:cubicBezTo>
                <a:cubicBezTo>
                  <a:pt x="32" y="91"/>
                  <a:pt x="32" y="91"/>
                  <a:pt x="32" y="91"/>
                </a:cubicBezTo>
                <a:cubicBezTo>
                  <a:pt x="32" y="92"/>
                  <a:pt x="32" y="92"/>
                  <a:pt x="32" y="92"/>
                </a:cubicBezTo>
                <a:cubicBezTo>
                  <a:pt x="32" y="93"/>
                  <a:pt x="32" y="93"/>
                  <a:pt x="32" y="93"/>
                </a:cubicBezTo>
                <a:cubicBezTo>
                  <a:pt x="31" y="93"/>
                  <a:pt x="31" y="93"/>
                  <a:pt x="31" y="93"/>
                </a:cubicBezTo>
                <a:cubicBezTo>
                  <a:pt x="30" y="92"/>
                  <a:pt x="30" y="92"/>
                  <a:pt x="30" y="92"/>
                </a:cubicBezTo>
                <a:cubicBezTo>
                  <a:pt x="28" y="92"/>
                  <a:pt x="28" y="92"/>
                  <a:pt x="28" y="92"/>
                </a:cubicBezTo>
                <a:cubicBezTo>
                  <a:pt x="28" y="93"/>
                  <a:pt x="28" y="93"/>
                  <a:pt x="28" y="93"/>
                </a:cubicBezTo>
                <a:cubicBezTo>
                  <a:pt x="28" y="94"/>
                  <a:pt x="28" y="94"/>
                  <a:pt x="28" y="94"/>
                </a:cubicBezTo>
                <a:cubicBezTo>
                  <a:pt x="27" y="95"/>
                  <a:pt x="27" y="95"/>
                  <a:pt x="27" y="95"/>
                </a:cubicBezTo>
                <a:cubicBezTo>
                  <a:pt x="26" y="95"/>
                  <a:pt x="26" y="95"/>
                  <a:pt x="26" y="95"/>
                </a:cubicBezTo>
                <a:cubicBezTo>
                  <a:pt x="26" y="94"/>
                  <a:pt x="26" y="94"/>
                  <a:pt x="26" y="94"/>
                </a:cubicBezTo>
                <a:cubicBezTo>
                  <a:pt x="27" y="94"/>
                  <a:pt x="27" y="94"/>
                  <a:pt x="27" y="94"/>
                </a:cubicBezTo>
                <a:cubicBezTo>
                  <a:pt x="26" y="93"/>
                  <a:pt x="26" y="93"/>
                  <a:pt x="26" y="93"/>
                </a:cubicBezTo>
                <a:cubicBezTo>
                  <a:pt x="26" y="92"/>
                  <a:pt x="26" y="92"/>
                  <a:pt x="26" y="92"/>
                </a:cubicBezTo>
                <a:cubicBezTo>
                  <a:pt x="25" y="91"/>
                  <a:pt x="25" y="91"/>
                  <a:pt x="25" y="91"/>
                </a:cubicBezTo>
                <a:cubicBezTo>
                  <a:pt x="24" y="91"/>
                  <a:pt x="24" y="91"/>
                  <a:pt x="24" y="91"/>
                </a:cubicBezTo>
                <a:cubicBezTo>
                  <a:pt x="24" y="91"/>
                  <a:pt x="24" y="91"/>
                  <a:pt x="24" y="91"/>
                </a:cubicBezTo>
                <a:cubicBezTo>
                  <a:pt x="23" y="92"/>
                  <a:pt x="23" y="92"/>
                  <a:pt x="23" y="92"/>
                </a:cubicBezTo>
                <a:cubicBezTo>
                  <a:pt x="23" y="92"/>
                  <a:pt x="23" y="92"/>
                  <a:pt x="23" y="92"/>
                </a:cubicBezTo>
                <a:cubicBezTo>
                  <a:pt x="24" y="92"/>
                  <a:pt x="24" y="92"/>
                  <a:pt x="24" y="92"/>
                </a:cubicBezTo>
                <a:cubicBezTo>
                  <a:pt x="23" y="94"/>
                  <a:pt x="23" y="94"/>
                  <a:pt x="23" y="94"/>
                </a:cubicBezTo>
                <a:cubicBezTo>
                  <a:pt x="22" y="93"/>
                  <a:pt x="22" y="93"/>
                  <a:pt x="22" y="93"/>
                </a:cubicBezTo>
                <a:cubicBezTo>
                  <a:pt x="21" y="93"/>
                  <a:pt x="21" y="93"/>
                  <a:pt x="21" y="93"/>
                </a:cubicBezTo>
                <a:cubicBezTo>
                  <a:pt x="20" y="94"/>
                  <a:pt x="20" y="94"/>
                  <a:pt x="20" y="94"/>
                </a:cubicBezTo>
                <a:cubicBezTo>
                  <a:pt x="20" y="95"/>
                  <a:pt x="20" y="95"/>
                  <a:pt x="20" y="95"/>
                </a:cubicBezTo>
                <a:cubicBezTo>
                  <a:pt x="21" y="94"/>
                  <a:pt x="21" y="94"/>
                  <a:pt x="21" y="94"/>
                </a:cubicBezTo>
                <a:cubicBezTo>
                  <a:pt x="21" y="95"/>
                  <a:pt x="21" y="95"/>
                  <a:pt x="21" y="95"/>
                </a:cubicBezTo>
                <a:cubicBezTo>
                  <a:pt x="20" y="95"/>
                  <a:pt x="20" y="95"/>
                  <a:pt x="20" y="95"/>
                </a:cubicBezTo>
                <a:cubicBezTo>
                  <a:pt x="19" y="96"/>
                  <a:pt x="19" y="96"/>
                  <a:pt x="19" y="96"/>
                </a:cubicBezTo>
                <a:cubicBezTo>
                  <a:pt x="19" y="96"/>
                  <a:pt x="19" y="96"/>
                  <a:pt x="19" y="96"/>
                </a:cubicBezTo>
                <a:cubicBezTo>
                  <a:pt x="18" y="96"/>
                  <a:pt x="18" y="96"/>
                  <a:pt x="18" y="96"/>
                </a:cubicBezTo>
                <a:cubicBezTo>
                  <a:pt x="18" y="96"/>
                  <a:pt x="18" y="96"/>
                  <a:pt x="18" y="96"/>
                </a:cubicBezTo>
                <a:cubicBezTo>
                  <a:pt x="19" y="97"/>
                  <a:pt x="19" y="97"/>
                  <a:pt x="19" y="97"/>
                </a:cubicBezTo>
                <a:cubicBezTo>
                  <a:pt x="21" y="97"/>
                  <a:pt x="21" y="97"/>
                  <a:pt x="21" y="97"/>
                </a:cubicBezTo>
                <a:cubicBezTo>
                  <a:pt x="21" y="98"/>
                  <a:pt x="21" y="98"/>
                  <a:pt x="21" y="98"/>
                </a:cubicBezTo>
                <a:cubicBezTo>
                  <a:pt x="21" y="98"/>
                  <a:pt x="21" y="98"/>
                  <a:pt x="21" y="98"/>
                </a:cubicBezTo>
                <a:cubicBezTo>
                  <a:pt x="21" y="99"/>
                  <a:pt x="21" y="99"/>
                  <a:pt x="21" y="99"/>
                </a:cubicBezTo>
                <a:cubicBezTo>
                  <a:pt x="20" y="98"/>
                  <a:pt x="20" y="98"/>
                  <a:pt x="20" y="98"/>
                </a:cubicBezTo>
                <a:cubicBezTo>
                  <a:pt x="20" y="98"/>
                  <a:pt x="20" y="98"/>
                  <a:pt x="20" y="98"/>
                </a:cubicBezTo>
                <a:cubicBezTo>
                  <a:pt x="18" y="98"/>
                  <a:pt x="18" y="98"/>
                  <a:pt x="18" y="98"/>
                </a:cubicBezTo>
                <a:cubicBezTo>
                  <a:pt x="17" y="97"/>
                  <a:pt x="17" y="97"/>
                  <a:pt x="17" y="97"/>
                </a:cubicBezTo>
                <a:cubicBezTo>
                  <a:pt x="17" y="96"/>
                  <a:pt x="17" y="96"/>
                  <a:pt x="17" y="96"/>
                </a:cubicBezTo>
                <a:cubicBezTo>
                  <a:pt x="17" y="96"/>
                  <a:pt x="17" y="96"/>
                  <a:pt x="17" y="96"/>
                </a:cubicBezTo>
                <a:cubicBezTo>
                  <a:pt x="16" y="97"/>
                  <a:pt x="16" y="97"/>
                  <a:pt x="16" y="97"/>
                </a:cubicBezTo>
                <a:cubicBezTo>
                  <a:pt x="18" y="98"/>
                  <a:pt x="18" y="98"/>
                  <a:pt x="18" y="98"/>
                </a:cubicBezTo>
                <a:cubicBezTo>
                  <a:pt x="19" y="99"/>
                  <a:pt x="19" y="99"/>
                  <a:pt x="19" y="99"/>
                </a:cubicBezTo>
                <a:cubicBezTo>
                  <a:pt x="20" y="99"/>
                  <a:pt x="20" y="99"/>
                  <a:pt x="20" y="99"/>
                </a:cubicBezTo>
                <a:cubicBezTo>
                  <a:pt x="20" y="100"/>
                  <a:pt x="20" y="100"/>
                  <a:pt x="20" y="100"/>
                </a:cubicBezTo>
                <a:cubicBezTo>
                  <a:pt x="19" y="100"/>
                  <a:pt x="19" y="100"/>
                  <a:pt x="19" y="100"/>
                </a:cubicBezTo>
                <a:cubicBezTo>
                  <a:pt x="17" y="99"/>
                  <a:pt x="17" y="99"/>
                  <a:pt x="17" y="99"/>
                </a:cubicBezTo>
                <a:cubicBezTo>
                  <a:pt x="16" y="97"/>
                  <a:pt x="16" y="97"/>
                  <a:pt x="16" y="97"/>
                </a:cubicBezTo>
                <a:cubicBezTo>
                  <a:pt x="15" y="98"/>
                  <a:pt x="15" y="98"/>
                  <a:pt x="15" y="98"/>
                </a:cubicBezTo>
                <a:cubicBezTo>
                  <a:pt x="14" y="97"/>
                  <a:pt x="14" y="97"/>
                  <a:pt x="14" y="97"/>
                </a:cubicBezTo>
                <a:cubicBezTo>
                  <a:pt x="13" y="97"/>
                  <a:pt x="13" y="97"/>
                  <a:pt x="13" y="97"/>
                </a:cubicBezTo>
                <a:cubicBezTo>
                  <a:pt x="12" y="97"/>
                  <a:pt x="12" y="97"/>
                  <a:pt x="12" y="97"/>
                </a:cubicBezTo>
                <a:cubicBezTo>
                  <a:pt x="12" y="97"/>
                  <a:pt x="12" y="97"/>
                  <a:pt x="12" y="97"/>
                </a:cubicBezTo>
                <a:cubicBezTo>
                  <a:pt x="12" y="98"/>
                  <a:pt x="12" y="98"/>
                  <a:pt x="12" y="98"/>
                </a:cubicBezTo>
                <a:cubicBezTo>
                  <a:pt x="11" y="99"/>
                  <a:pt x="11" y="99"/>
                  <a:pt x="11" y="99"/>
                </a:cubicBezTo>
                <a:cubicBezTo>
                  <a:pt x="12" y="100"/>
                  <a:pt x="12" y="100"/>
                  <a:pt x="12" y="100"/>
                </a:cubicBezTo>
                <a:cubicBezTo>
                  <a:pt x="14" y="99"/>
                  <a:pt x="14" y="99"/>
                  <a:pt x="14" y="99"/>
                </a:cubicBezTo>
                <a:cubicBezTo>
                  <a:pt x="15" y="100"/>
                  <a:pt x="15" y="100"/>
                  <a:pt x="15" y="100"/>
                </a:cubicBezTo>
                <a:cubicBezTo>
                  <a:pt x="14" y="100"/>
                  <a:pt x="14" y="100"/>
                  <a:pt x="14" y="100"/>
                </a:cubicBezTo>
                <a:cubicBezTo>
                  <a:pt x="14" y="100"/>
                  <a:pt x="14" y="100"/>
                  <a:pt x="14" y="100"/>
                </a:cubicBezTo>
                <a:cubicBezTo>
                  <a:pt x="16" y="100"/>
                  <a:pt x="16" y="100"/>
                  <a:pt x="16" y="100"/>
                </a:cubicBezTo>
                <a:cubicBezTo>
                  <a:pt x="16" y="100"/>
                  <a:pt x="16" y="100"/>
                  <a:pt x="16" y="100"/>
                </a:cubicBezTo>
                <a:cubicBezTo>
                  <a:pt x="16" y="100"/>
                  <a:pt x="16" y="100"/>
                  <a:pt x="16" y="100"/>
                </a:cubicBezTo>
                <a:cubicBezTo>
                  <a:pt x="14" y="101"/>
                  <a:pt x="14" y="101"/>
                  <a:pt x="14" y="101"/>
                </a:cubicBezTo>
                <a:cubicBezTo>
                  <a:pt x="14" y="102"/>
                  <a:pt x="14" y="102"/>
                  <a:pt x="14" y="102"/>
                </a:cubicBezTo>
                <a:cubicBezTo>
                  <a:pt x="12" y="102"/>
                  <a:pt x="12" y="102"/>
                  <a:pt x="12" y="102"/>
                </a:cubicBezTo>
                <a:cubicBezTo>
                  <a:pt x="11" y="100"/>
                  <a:pt x="11" y="100"/>
                  <a:pt x="11" y="100"/>
                </a:cubicBezTo>
                <a:cubicBezTo>
                  <a:pt x="11" y="100"/>
                  <a:pt x="11" y="100"/>
                  <a:pt x="11" y="100"/>
                </a:cubicBezTo>
                <a:cubicBezTo>
                  <a:pt x="10" y="101"/>
                  <a:pt x="10" y="101"/>
                  <a:pt x="10" y="101"/>
                </a:cubicBezTo>
                <a:cubicBezTo>
                  <a:pt x="9" y="100"/>
                  <a:pt x="9" y="100"/>
                  <a:pt x="9" y="100"/>
                </a:cubicBezTo>
                <a:cubicBezTo>
                  <a:pt x="8" y="101"/>
                  <a:pt x="8" y="101"/>
                  <a:pt x="8" y="101"/>
                </a:cubicBezTo>
                <a:cubicBezTo>
                  <a:pt x="8" y="100"/>
                  <a:pt x="8" y="100"/>
                  <a:pt x="8" y="100"/>
                </a:cubicBezTo>
                <a:cubicBezTo>
                  <a:pt x="7" y="101"/>
                  <a:pt x="7" y="101"/>
                  <a:pt x="7" y="101"/>
                </a:cubicBezTo>
                <a:cubicBezTo>
                  <a:pt x="7" y="101"/>
                  <a:pt x="7" y="101"/>
                  <a:pt x="7" y="101"/>
                </a:cubicBezTo>
                <a:cubicBezTo>
                  <a:pt x="9" y="102"/>
                  <a:pt x="9" y="102"/>
                  <a:pt x="9" y="102"/>
                </a:cubicBezTo>
                <a:cubicBezTo>
                  <a:pt x="10" y="102"/>
                  <a:pt x="10" y="102"/>
                  <a:pt x="10" y="102"/>
                </a:cubicBezTo>
                <a:cubicBezTo>
                  <a:pt x="12" y="103"/>
                  <a:pt x="12" y="103"/>
                  <a:pt x="12" y="103"/>
                </a:cubicBezTo>
                <a:cubicBezTo>
                  <a:pt x="12" y="104"/>
                  <a:pt x="12" y="104"/>
                  <a:pt x="12" y="104"/>
                </a:cubicBezTo>
                <a:cubicBezTo>
                  <a:pt x="12" y="105"/>
                  <a:pt x="12" y="105"/>
                  <a:pt x="12" y="105"/>
                </a:cubicBezTo>
                <a:cubicBezTo>
                  <a:pt x="11" y="106"/>
                  <a:pt x="11" y="106"/>
                  <a:pt x="11" y="106"/>
                </a:cubicBezTo>
                <a:cubicBezTo>
                  <a:pt x="11" y="105"/>
                  <a:pt x="11" y="105"/>
                  <a:pt x="11" y="105"/>
                </a:cubicBezTo>
                <a:cubicBezTo>
                  <a:pt x="11" y="103"/>
                  <a:pt x="11" y="103"/>
                  <a:pt x="11" y="103"/>
                </a:cubicBezTo>
                <a:cubicBezTo>
                  <a:pt x="10" y="103"/>
                  <a:pt x="10" y="103"/>
                  <a:pt x="10" y="103"/>
                </a:cubicBezTo>
                <a:cubicBezTo>
                  <a:pt x="9" y="103"/>
                  <a:pt x="9" y="103"/>
                  <a:pt x="9" y="103"/>
                </a:cubicBezTo>
                <a:cubicBezTo>
                  <a:pt x="9" y="104"/>
                  <a:pt x="9" y="104"/>
                  <a:pt x="9" y="104"/>
                </a:cubicBezTo>
                <a:cubicBezTo>
                  <a:pt x="9" y="105"/>
                  <a:pt x="9" y="105"/>
                  <a:pt x="9" y="105"/>
                </a:cubicBezTo>
                <a:cubicBezTo>
                  <a:pt x="7" y="104"/>
                  <a:pt x="7" y="104"/>
                  <a:pt x="7" y="104"/>
                </a:cubicBezTo>
                <a:cubicBezTo>
                  <a:pt x="6" y="105"/>
                  <a:pt x="6" y="105"/>
                  <a:pt x="6" y="105"/>
                </a:cubicBezTo>
                <a:cubicBezTo>
                  <a:pt x="7" y="106"/>
                  <a:pt x="7" y="106"/>
                  <a:pt x="7" y="106"/>
                </a:cubicBezTo>
                <a:cubicBezTo>
                  <a:pt x="6" y="106"/>
                  <a:pt x="6" y="106"/>
                  <a:pt x="6" y="106"/>
                </a:cubicBezTo>
                <a:cubicBezTo>
                  <a:pt x="6" y="106"/>
                  <a:pt x="6" y="106"/>
                  <a:pt x="6" y="106"/>
                </a:cubicBezTo>
                <a:cubicBezTo>
                  <a:pt x="5" y="105"/>
                  <a:pt x="5" y="105"/>
                  <a:pt x="5" y="105"/>
                </a:cubicBezTo>
                <a:cubicBezTo>
                  <a:pt x="4" y="105"/>
                  <a:pt x="4" y="105"/>
                  <a:pt x="4" y="105"/>
                </a:cubicBezTo>
                <a:cubicBezTo>
                  <a:pt x="4" y="106"/>
                  <a:pt x="4" y="106"/>
                  <a:pt x="4" y="106"/>
                </a:cubicBezTo>
                <a:cubicBezTo>
                  <a:pt x="4" y="107"/>
                  <a:pt x="4" y="107"/>
                  <a:pt x="4" y="107"/>
                </a:cubicBezTo>
                <a:cubicBezTo>
                  <a:pt x="3" y="106"/>
                  <a:pt x="3" y="106"/>
                  <a:pt x="3" y="106"/>
                </a:cubicBezTo>
                <a:cubicBezTo>
                  <a:pt x="2" y="105"/>
                  <a:pt x="2" y="105"/>
                  <a:pt x="2" y="105"/>
                </a:cubicBezTo>
                <a:cubicBezTo>
                  <a:pt x="2" y="105"/>
                  <a:pt x="2" y="105"/>
                  <a:pt x="2" y="105"/>
                </a:cubicBezTo>
                <a:cubicBezTo>
                  <a:pt x="2" y="106"/>
                  <a:pt x="2" y="106"/>
                  <a:pt x="2" y="106"/>
                </a:cubicBezTo>
                <a:cubicBezTo>
                  <a:pt x="3" y="107"/>
                  <a:pt x="3" y="107"/>
                  <a:pt x="3" y="107"/>
                </a:cubicBezTo>
                <a:cubicBezTo>
                  <a:pt x="2" y="107"/>
                  <a:pt x="2" y="107"/>
                  <a:pt x="2" y="107"/>
                </a:cubicBezTo>
                <a:cubicBezTo>
                  <a:pt x="3" y="108"/>
                  <a:pt x="3" y="108"/>
                  <a:pt x="3" y="108"/>
                </a:cubicBezTo>
                <a:cubicBezTo>
                  <a:pt x="4" y="107"/>
                  <a:pt x="4" y="107"/>
                  <a:pt x="4" y="107"/>
                </a:cubicBezTo>
                <a:cubicBezTo>
                  <a:pt x="6" y="108"/>
                  <a:pt x="6" y="108"/>
                  <a:pt x="6" y="108"/>
                </a:cubicBezTo>
                <a:cubicBezTo>
                  <a:pt x="7" y="109"/>
                  <a:pt x="7" y="109"/>
                  <a:pt x="7" y="109"/>
                </a:cubicBezTo>
                <a:cubicBezTo>
                  <a:pt x="9" y="109"/>
                  <a:pt x="9" y="109"/>
                  <a:pt x="9" y="109"/>
                </a:cubicBezTo>
                <a:cubicBezTo>
                  <a:pt x="10" y="108"/>
                  <a:pt x="10" y="108"/>
                  <a:pt x="10" y="108"/>
                </a:cubicBezTo>
                <a:cubicBezTo>
                  <a:pt x="11" y="108"/>
                  <a:pt x="11" y="108"/>
                  <a:pt x="11" y="108"/>
                </a:cubicBezTo>
                <a:cubicBezTo>
                  <a:pt x="9" y="109"/>
                  <a:pt x="9" y="109"/>
                  <a:pt x="9" y="109"/>
                </a:cubicBezTo>
                <a:cubicBezTo>
                  <a:pt x="8" y="109"/>
                  <a:pt x="8" y="109"/>
                  <a:pt x="8" y="109"/>
                </a:cubicBezTo>
                <a:cubicBezTo>
                  <a:pt x="7" y="109"/>
                  <a:pt x="7" y="109"/>
                  <a:pt x="7" y="109"/>
                </a:cubicBezTo>
                <a:cubicBezTo>
                  <a:pt x="5" y="108"/>
                  <a:pt x="5" y="108"/>
                  <a:pt x="5" y="108"/>
                </a:cubicBezTo>
                <a:cubicBezTo>
                  <a:pt x="4" y="109"/>
                  <a:pt x="4" y="109"/>
                  <a:pt x="4" y="109"/>
                </a:cubicBezTo>
                <a:cubicBezTo>
                  <a:pt x="3" y="108"/>
                  <a:pt x="3" y="108"/>
                  <a:pt x="3" y="108"/>
                </a:cubicBezTo>
                <a:cubicBezTo>
                  <a:pt x="2" y="109"/>
                  <a:pt x="2" y="109"/>
                  <a:pt x="2" y="109"/>
                </a:cubicBezTo>
                <a:cubicBezTo>
                  <a:pt x="1" y="109"/>
                  <a:pt x="1" y="109"/>
                  <a:pt x="1" y="109"/>
                </a:cubicBezTo>
                <a:cubicBezTo>
                  <a:pt x="1" y="110"/>
                  <a:pt x="1" y="110"/>
                  <a:pt x="1" y="110"/>
                </a:cubicBezTo>
                <a:cubicBezTo>
                  <a:pt x="3" y="111"/>
                  <a:pt x="3" y="111"/>
                  <a:pt x="3" y="111"/>
                </a:cubicBezTo>
                <a:cubicBezTo>
                  <a:pt x="2" y="112"/>
                  <a:pt x="2" y="112"/>
                  <a:pt x="2" y="112"/>
                </a:cubicBezTo>
                <a:cubicBezTo>
                  <a:pt x="3" y="112"/>
                  <a:pt x="3" y="112"/>
                  <a:pt x="3" y="112"/>
                </a:cubicBezTo>
                <a:cubicBezTo>
                  <a:pt x="4" y="112"/>
                  <a:pt x="4" y="112"/>
                  <a:pt x="4" y="112"/>
                </a:cubicBezTo>
                <a:cubicBezTo>
                  <a:pt x="6" y="112"/>
                  <a:pt x="6" y="112"/>
                  <a:pt x="6" y="112"/>
                </a:cubicBezTo>
                <a:cubicBezTo>
                  <a:pt x="4" y="112"/>
                  <a:pt x="4" y="112"/>
                  <a:pt x="4" y="112"/>
                </a:cubicBezTo>
                <a:cubicBezTo>
                  <a:pt x="3" y="112"/>
                  <a:pt x="3" y="112"/>
                  <a:pt x="3" y="112"/>
                </a:cubicBezTo>
                <a:cubicBezTo>
                  <a:pt x="2" y="113"/>
                  <a:pt x="2" y="113"/>
                  <a:pt x="2" y="113"/>
                </a:cubicBezTo>
                <a:cubicBezTo>
                  <a:pt x="2" y="112"/>
                  <a:pt x="2" y="112"/>
                  <a:pt x="2" y="112"/>
                </a:cubicBezTo>
                <a:cubicBezTo>
                  <a:pt x="2" y="113"/>
                  <a:pt x="2" y="113"/>
                  <a:pt x="2" y="113"/>
                </a:cubicBezTo>
                <a:cubicBezTo>
                  <a:pt x="3" y="113"/>
                  <a:pt x="3" y="113"/>
                  <a:pt x="3" y="113"/>
                </a:cubicBezTo>
                <a:cubicBezTo>
                  <a:pt x="3" y="113"/>
                  <a:pt x="3" y="113"/>
                  <a:pt x="3" y="113"/>
                </a:cubicBezTo>
                <a:cubicBezTo>
                  <a:pt x="2" y="114"/>
                  <a:pt x="2" y="114"/>
                  <a:pt x="2" y="114"/>
                </a:cubicBezTo>
                <a:cubicBezTo>
                  <a:pt x="2" y="114"/>
                  <a:pt x="2" y="114"/>
                  <a:pt x="2" y="114"/>
                </a:cubicBezTo>
                <a:cubicBezTo>
                  <a:pt x="2" y="115"/>
                  <a:pt x="2" y="115"/>
                  <a:pt x="2" y="115"/>
                </a:cubicBezTo>
                <a:cubicBezTo>
                  <a:pt x="2" y="115"/>
                  <a:pt x="2" y="115"/>
                  <a:pt x="2" y="115"/>
                </a:cubicBezTo>
                <a:cubicBezTo>
                  <a:pt x="3" y="116"/>
                  <a:pt x="3" y="116"/>
                  <a:pt x="3" y="116"/>
                </a:cubicBezTo>
                <a:cubicBezTo>
                  <a:pt x="4" y="116"/>
                  <a:pt x="4" y="116"/>
                  <a:pt x="4" y="116"/>
                </a:cubicBezTo>
                <a:cubicBezTo>
                  <a:pt x="5" y="115"/>
                  <a:pt x="5" y="115"/>
                  <a:pt x="5" y="115"/>
                </a:cubicBezTo>
                <a:cubicBezTo>
                  <a:pt x="7" y="115"/>
                  <a:pt x="7" y="115"/>
                  <a:pt x="7" y="115"/>
                </a:cubicBezTo>
                <a:cubicBezTo>
                  <a:pt x="8" y="115"/>
                  <a:pt x="8" y="115"/>
                  <a:pt x="8" y="115"/>
                </a:cubicBezTo>
                <a:cubicBezTo>
                  <a:pt x="9" y="115"/>
                  <a:pt x="9" y="115"/>
                  <a:pt x="9" y="115"/>
                </a:cubicBezTo>
                <a:cubicBezTo>
                  <a:pt x="9" y="115"/>
                  <a:pt x="9" y="115"/>
                  <a:pt x="9" y="115"/>
                </a:cubicBezTo>
                <a:cubicBezTo>
                  <a:pt x="9" y="114"/>
                  <a:pt x="9" y="114"/>
                  <a:pt x="9" y="114"/>
                </a:cubicBezTo>
                <a:cubicBezTo>
                  <a:pt x="10" y="114"/>
                  <a:pt x="10" y="114"/>
                  <a:pt x="10" y="114"/>
                </a:cubicBezTo>
                <a:cubicBezTo>
                  <a:pt x="11" y="115"/>
                  <a:pt x="11" y="115"/>
                  <a:pt x="11" y="115"/>
                </a:cubicBezTo>
                <a:cubicBezTo>
                  <a:pt x="12" y="115"/>
                  <a:pt x="12" y="115"/>
                  <a:pt x="12" y="115"/>
                </a:cubicBezTo>
                <a:cubicBezTo>
                  <a:pt x="13" y="114"/>
                  <a:pt x="13" y="114"/>
                  <a:pt x="13" y="114"/>
                </a:cubicBezTo>
                <a:cubicBezTo>
                  <a:pt x="13" y="114"/>
                  <a:pt x="13" y="114"/>
                  <a:pt x="13" y="114"/>
                </a:cubicBezTo>
                <a:cubicBezTo>
                  <a:pt x="13" y="114"/>
                  <a:pt x="13" y="114"/>
                  <a:pt x="13" y="114"/>
                </a:cubicBezTo>
                <a:cubicBezTo>
                  <a:pt x="13" y="115"/>
                  <a:pt x="13" y="115"/>
                  <a:pt x="13" y="115"/>
                </a:cubicBezTo>
                <a:cubicBezTo>
                  <a:pt x="14" y="115"/>
                  <a:pt x="14" y="115"/>
                  <a:pt x="14" y="115"/>
                </a:cubicBezTo>
                <a:cubicBezTo>
                  <a:pt x="14" y="114"/>
                  <a:pt x="14" y="114"/>
                  <a:pt x="14" y="114"/>
                </a:cubicBezTo>
                <a:cubicBezTo>
                  <a:pt x="14" y="114"/>
                  <a:pt x="14" y="114"/>
                  <a:pt x="14" y="114"/>
                </a:cubicBezTo>
                <a:cubicBezTo>
                  <a:pt x="15" y="112"/>
                  <a:pt x="15" y="112"/>
                  <a:pt x="15" y="112"/>
                </a:cubicBezTo>
                <a:cubicBezTo>
                  <a:pt x="15" y="113"/>
                  <a:pt x="15" y="113"/>
                  <a:pt x="15" y="113"/>
                </a:cubicBezTo>
                <a:cubicBezTo>
                  <a:pt x="16" y="115"/>
                  <a:pt x="16" y="115"/>
                  <a:pt x="16" y="115"/>
                </a:cubicBezTo>
                <a:cubicBezTo>
                  <a:pt x="15" y="116"/>
                  <a:pt x="15" y="116"/>
                  <a:pt x="15" y="116"/>
                </a:cubicBezTo>
                <a:cubicBezTo>
                  <a:pt x="13" y="116"/>
                  <a:pt x="13" y="116"/>
                  <a:pt x="13" y="116"/>
                </a:cubicBezTo>
                <a:cubicBezTo>
                  <a:pt x="13" y="117"/>
                  <a:pt x="13" y="117"/>
                  <a:pt x="13" y="117"/>
                </a:cubicBezTo>
                <a:cubicBezTo>
                  <a:pt x="13" y="117"/>
                  <a:pt x="13" y="117"/>
                  <a:pt x="13" y="117"/>
                </a:cubicBezTo>
                <a:cubicBezTo>
                  <a:pt x="12" y="118"/>
                  <a:pt x="12" y="118"/>
                  <a:pt x="12" y="118"/>
                </a:cubicBezTo>
                <a:cubicBezTo>
                  <a:pt x="11" y="118"/>
                  <a:pt x="11" y="118"/>
                  <a:pt x="11" y="118"/>
                </a:cubicBezTo>
                <a:cubicBezTo>
                  <a:pt x="11" y="117"/>
                  <a:pt x="11" y="117"/>
                  <a:pt x="11" y="117"/>
                </a:cubicBezTo>
                <a:cubicBezTo>
                  <a:pt x="12" y="117"/>
                  <a:pt x="12" y="117"/>
                  <a:pt x="12" y="117"/>
                </a:cubicBezTo>
                <a:cubicBezTo>
                  <a:pt x="12" y="116"/>
                  <a:pt x="12" y="116"/>
                  <a:pt x="12" y="116"/>
                </a:cubicBezTo>
                <a:cubicBezTo>
                  <a:pt x="10" y="116"/>
                  <a:pt x="10" y="116"/>
                  <a:pt x="10" y="116"/>
                </a:cubicBezTo>
                <a:cubicBezTo>
                  <a:pt x="9" y="117"/>
                  <a:pt x="9" y="117"/>
                  <a:pt x="9" y="117"/>
                </a:cubicBezTo>
                <a:cubicBezTo>
                  <a:pt x="9" y="117"/>
                  <a:pt x="9" y="117"/>
                  <a:pt x="9" y="117"/>
                </a:cubicBezTo>
                <a:cubicBezTo>
                  <a:pt x="8" y="116"/>
                  <a:pt x="8" y="116"/>
                  <a:pt x="8" y="116"/>
                </a:cubicBezTo>
                <a:cubicBezTo>
                  <a:pt x="7" y="116"/>
                  <a:pt x="7" y="116"/>
                  <a:pt x="7" y="116"/>
                </a:cubicBezTo>
                <a:cubicBezTo>
                  <a:pt x="6" y="116"/>
                  <a:pt x="6" y="116"/>
                  <a:pt x="6" y="116"/>
                </a:cubicBezTo>
                <a:cubicBezTo>
                  <a:pt x="5" y="116"/>
                  <a:pt x="5" y="116"/>
                  <a:pt x="5" y="116"/>
                </a:cubicBezTo>
                <a:cubicBezTo>
                  <a:pt x="3" y="117"/>
                  <a:pt x="3" y="117"/>
                  <a:pt x="3" y="117"/>
                </a:cubicBezTo>
                <a:cubicBezTo>
                  <a:pt x="3" y="117"/>
                  <a:pt x="3" y="117"/>
                  <a:pt x="3" y="117"/>
                </a:cubicBezTo>
                <a:cubicBezTo>
                  <a:pt x="2" y="116"/>
                  <a:pt x="2" y="116"/>
                  <a:pt x="2" y="116"/>
                </a:cubicBezTo>
                <a:cubicBezTo>
                  <a:pt x="1" y="116"/>
                  <a:pt x="1" y="116"/>
                  <a:pt x="1" y="116"/>
                </a:cubicBezTo>
                <a:cubicBezTo>
                  <a:pt x="2" y="118"/>
                  <a:pt x="2" y="118"/>
                  <a:pt x="2" y="118"/>
                </a:cubicBezTo>
                <a:cubicBezTo>
                  <a:pt x="1" y="118"/>
                  <a:pt x="1" y="118"/>
                  <a:pt x="1" y="118"/>
                </a:cubicBezTo>
                <a:cubicBezTo>
                  <a:pt x="2" y="119"/>
                  <a:pt x="2" y="119"/>
                  <a:pt x="2" y="119"/>
                </a:cubicBezTo>
                <a:cubicBezTo>
                  <a:pt x="3" y="118"/>
                  <a:pt x="3" y="118"/>
                  <a:pt x="3" y="118"/>
                </a:cubicBezTo>
                <a:cubicBezTo>
                  <a:pt x="3" y="118"/>
                  <a:pt x="3" y="118"/>
                  <a:pt x="3" y="118"/>
                </a:cubicBezTo>
                <a:cubicBezTo>
                  <a:pt x="4" y="118"/>
                  <a:pt x="4" y="118"/>
                  <a:pt x="4" y="118"/>
                </a:cubicBezTo>
                <a:cubicBezTo>
                  <a:pt x="3" y="119"/>
                  <a:pt x="3" y="119"/>
                  <a:pt x="3" y="119"/>
                </a:cubicBezTo>
                <a:cubicBezTo>
                  <a:pt x="3" y="120"/>
                  <a:pt x="3" y="120"/>
                  <a:pt x="3" y="120"/>
                </a:cubicBezTo>
                <a:cubicBezTo>
                  <a:pt x="3" y="120"/>
                  <a:pt x="3" y="120"/>
                  <a:pt x="3" y="120"/>
                </a:cubicBezTo>
                <a:cubicBezTo>
                  <a:pt x="2" y="120"/>
                  <a:pt x="2" y="120"/>
                  <a:pt x="2" y="120"/>
                </a:cubicBezTo>
                <a:cubicBezTo>
                  <a:pt x="2" y="121"/>
                  <a:pt x="2" y="121"/>
                  <a:pt x="2" y="121"/>
                </a:cubicBezTo>
                <a:cubicBezTo>
                  <a:pt x="3" y="122"/>
                  <a:pt x="3" y="122"/>
                  <a:pt x="3" y="122"/>
                </a:cubicBezTo>
                <a:cubicBezTo>
                  <a:pt x="5" y="120"/>
                  <a:pt x="5" y="120"/>
                  <a:pt x="5" y="120"/>
                </a:cubicBezTo>
                <a:cubicBezTo>
                  <a:pt x="6" y="120"/>
                  <a:pt x="6" y="120"/>
                  <a:pt x="6" y="120"/>
                </a:cubicBezTo>
                <a:cubicBezTo>
                  <a:pt x="6" y="121"/>
                  <a:pt x="6" y="121"/>
                  <a:pt x="6" y="121"/>
                </a:cubicBezTo>
                <a:cubicBezTo>
                  <a:pt x="6" y="122"/>
                  <a:pt x="6" y="122"/>
                  <a:pt x="6" y="122"/>
                </a:cubicBezTo>
                <a:cubicBezTo>
                  <a:pt x="4" y="123"/>
                  <a:pt x="4" y="123"/>
                  <a:pt x="4" y="123"/>
                </a:cubicBezTo>
                <a:cubicBezTo>
                  <a:pt x="5" y="123"/>
                  <a:pt x="5" y="123"/>
                  <a:pt x="5" y="123"/>
                </a:cubicBezTo>
                <a:cubicBezTo>
                  <a:pt x="5" y="123"/>
                  <a:pt x="5" y="123"/>
                  <a:pt x="5" y="123"/>
                </a:cubicBezTo>
                <a:cubicBezTo>
                  <a:pt x="5" y="124"/>
                  <a:pt x="5" y="124"/>
                  <a:pt x="5" y="124"/>
                </a:cubicBezTo>
                <a:cubicBezTo>
                  <a:pt x="6" y="125"/>
                  <a:pt x="6" y="125"/>
                  <a:pt x="6" y="125"/>
                </a:cubicBezTo>
                <a:cubicBezTo>
                  <a:pt x="5" y="126"/>
                  <a:pt x="5" y="126"/>
                  <a:pt x="5" y="126"/>
                </a:cubicBezTo>
                <a:cubicBezTo>
                  <a:pt x="6" y="126"/>
                  <a:pt x="6" y="126"/>
                  <a:pt x="6" y="126"/>
                </a:cubicBezTo>
                <a:cubicBezTo>
                  <a:pt x="7" y="125"/>
                  <a:pt x="7" y="125"/>
                  <a:pt x="7" y="125"/>
                </a:cubicBezTo>
                <a:cubicBezTo>
                  <a:pt x="7" y="124"/>
                  <a:pt x="7" y="124"/>
                  <a:pt x="7" y="124"/>
                </a:cubicBezTo>
                <a:cubicBezTo>
                  <a:pt x="8" y="123"/>
                  <a:pt x="8" y="123"/>
                  <a:pt x="8" y="123"/>
                </a:cubicBezTo>
                <a:cubicBezTo>
                  <a:pt x="10" y="122"/>
                  <a:pt x="10" y="122"/>
                  <a:pt x="10" y="122"/>
                </a:cubicBezTo>
                <a:cubicBezTo>
                  <a:pt x="11" y="122"/>
                  <a:pt x="11" y="122"/>
                  <a:pt x="11" y="122"/>
                </a:cubicBezTo>
                <a:cubicBezTo>
                  <a:pt x="12" y="122"/>
                  <a:pt x="12" y="122"/>
                  <a:pt x="12" y="122"/>
                </a:cubicBezTo>
                <a:cubicBezTo>
                  <a:pt x="11" y="122"/>
                  <a:pt x="11" y="122"/>
                  <a:pt x="11" y="122"/>
                </a:cubicBezTo>
                <a:cubicBezTo>
                  <a:pt x="10" y="123"/>
                  <a:pt x="10" y="123"/>
                  <a:pt x="10" y="123"/>
                </a:cubicBezTo>
                <a:cubicBezTo>
                  <a:pt x="10" y="125"/>
                  <a:pt x="10" y="125"/>
                  <a:pt x="10" y="125"/>
                </a:cubicBezTo>
                <a:cubicBezTo>
                  <a:pt x="10" y="125"/>
                  <a:pt x="10" y="125"/>
                  <a:pt x="10" y="125"/>
                </a:cubicBezTo>
                <a:cubicBezTo>
                  <a:pt x="10" y="125"/>
                  <a:pt x="10" y="125"/>
                  <a:pt x="10" y="125"/>
                </a:cubicBezTo>
                <a:cubicBezTo>
                  <a:pt x="9" y="123"/>
                  <a:pt x="9" y="123"/>
                  <a:pt x="9" y="123"/>
                </a:cubicBezTo>
                <a:cubicBezTo>
                  <a:pt x="9" y="123"/>
                  <a:pt x="9" y="123"/>
                  <a:pt x="9" y="123"/>
                </a:cubicBezTo>
                <a:cubicBezTo>
                  <a:pt x="8" y="125"/>
                  <a:pt x="8" y="125"/>
                  <a:pt x="8" y="125"/>
                </a:cubicBezTo>
                <a:cubicBezTo>
                  <a:pt x="7" y="125"/>
                  <a:pt x="7" y="125"/>
                  <a:pt x="7" y="125"/>
                </a:cubicBezTo>
                <a:cubicBezTo>
                  <a:pt x="8" y="125"/>
                  <a:pt x="8" y="125"/>
                  <a:pt x="8" y="125"/>
                </a:cubicBezTo>
                <a:cubicBezTo>
                  <a:pt x="7" y="127"/>
                  <a:pt x="7" y="127"/>
                  <a:pt x="7" y="127"/>
                </a:cubicBezTo>
                <a:cubicBezTo>
                  <a:pt x="7" y="127"/>
                  <a:pt x="7" y="127"/>
                  <a:pt x="7" y="127"/>
                </a:cubicBezTo>
                <a:cubicBezTo>
                  <a:pt x="6" y="128"/>
                  <a:pt x="6" y="128"/>
                  <a:pt x="6" y="128"/>
                </a:cubicBezTo>
                <a:cubicBezTo>
                  <a:pt x="7" y="128"/>
                  <a:pt x="7" y="128"/>
                  <a:pt x="7" y="128"/>
                </a:cubicBezTo>
                <a:cubicBezTo>
                  <a:pt x="9" y="128"/>
                  <a:pt x="9" y="128"/>
                  <a:pt x="9" y="128"/>
                </a:cubicBezTo>
                <a:cubicBezTo>
                  <a:pt x="9" y="129"/>
                  <a:pt x="9" y="129"/>
                  <a:pt x="9" y="129"/>
                </a:cubicBezTo>
                <a:cubicBezTo>
                  <a:pt x="8" y="129"/>
                  <a:pt x="8" y="129"/>
                  <a:pt x="8" y="129"/>
                </a:cubicBezTo>
                <a:cubicBezTo>
                  <a:pt x="7" y="129"/>
                  <a:pt x="7" y="129"/>
                  <a:pt x="7" y="129"/>
                </a:cubicBezTo>
                <a:cubicBezTo>
                  <a:pt x="7" y="130"/>
                  <a:pt x="7" y="130"/>
                  <a:pt x="7" y="130"/>
                </a:cubicBezTo>
                <a:cubicBezTo>
                  <a:pt x="6" y="129"/>
                  <a:pt x="6" y="129"/>
                  <a:pt x="6" y="129"/>
                </a:cubicBezTo>
                <a:cubicBezTo>
                  <a:pt x="5" y="130"/>
                  <a:pt x="5" y="130"/>
                  <a:pt x="5" y="130"/>
                </a:cubicBezTo>
                <a:cubicBezTo>
                  <a:pt x="5" y="131"/>
                  <a:pt x="5" y="131"/>
                  <a:pt x="5" y="131"/>
                </a:cubicBezTo>
                <a:cubicBezTo>
                  <a:pt x="5" y="130"/>
                  <a:pt x="5" y="130"/>
                  <a:pt x="5" y="130"/>
                </a:cubicBezTo>
                <a:cubicBezTo>
                  <a:pt x="4" y="130"/>
                  <a:pt x="4" y="130"/>
                  <a:pt x="4" y="130"/>
                </a:cubicBezTo>
                <a:cubicBezTo>
                  <a:pt x="3" y="132"/>
                  <a:pt x="3" y="132"/>
                  <a:pt x="3" y="132"/>
                </a:cubicBezTo>
                <a:cubicBezTo>
                  <a:pt x="3" y="133"/>
                  <a:pt x="3" y="133"/>
                  <a:pt x="3" y="133"/>
                </a:cubicBezTo>
                <a:cubicBezTo>
                  <a:pt x="5" y="134"/>
                  <a:pt x="5" y="134"/>
                  <a:pt x="5" y="134"/>
                </a:cubicBezTo>
                <a:cubicBezTo>
                  <a:pt x="5" y="133"/>
                  <a:pt x="5" y="133"/>
                  <a:pt x="5" y="133"/>
                </a:cubicBezTo>
                <a:cubicBezTo>
                  <a:pt x="6" y="134"/>
                  <a:pt x="6" y="134"/>
                  <a:pt x="6" y="134"/>
                </a:cubicBezTo>
                <a:cubicBezTo>
                  <a:pt x="7" y="133"/>
                  <a:pt x="7" y="133"/>
                  <a:pt x="7" y="133"/>
                </a:cubicBezTo>
                <a:cubicBezTo>
                  <a:pt x="6" y="133"/>
                  <a:pt x="6" y="133"/>
                  <a:pt x="6" y="133"/>
                </a:cubicBezTo>
                <a:cubicBezTo>
                  <a:pt x="7" y="132"/>
                  <a:pt x="7" y="132"/>
                  <a:pt x="7" y="132"/>
                </a:cubicBezTo>
                <a:cubicBezTo>
                  <a:pt x="8" y="133"/>
                  <a:pt x="8" y="133"/>
                  <a:pt x="8" y="133"/>
                </a:cubicBezTo>
                <a:cubicBezTo>
                  <a:pt x="8" y="133"/>
                  <a:pt x="8" y="133"/>
                  <a:pt x="8" y="133"/>
                </a:cubicBezTo>
                <a:cubicBezTo>
                  <a:pt x="8" y="134"/>
                  <a:pt x="8" y="134"/>
                  <a:pt x="8" y="134"/>
                </a:cubicBezTo>
                <a:cubicBezTo>
                  <a:pt x="8" y="135"/>
                  <a:pt x="8" y="135"/>
                  <a:pt x="8" y="135"/>
                </a:cubicBezTo>
                <a:cubicBezTo>
                  <a:pt x="7" y="135"/>
                  <a:pt x="7" y="135"/>
                  <a:pt x="7" y="135"/>
                </a:cubicBezTo>
                <a:cubicBezTo>
                  <a:pt x="8" y="137"/>
                  <a:pt x="8" y="137"/>
                  <a:pt x="8" y="137"/>
                </a:cubicBezTo>
                <a:cubicBezTo>
                  <a:pt x="9" y="137"/>
                  <a:pt x="9" y="137"/>
                  <a:pt x="9" y="137"/>
                </a:cubicBezTo>
                <a:cubicBezTo>
                  <a:pt x="10" y="136"/>
                  <a:pt x="10" y="136"/>
                  <a:pt x="10" y="136"/>
                </a:cubicBezTo>
                <a:cubicBezTo>
                  <a:pt x="11" y="137"/>
                  <a:pt x="11" y="137"/>
                  <a:pt x="11" y="137"/>
                </a:cubicBezTo>
                <a:cubicBezTo>
                  <a:pt x="9" y="137"/>
                  <a:pt x="9" y="137"/>
                  <a:pt x="9" y="137"/>
                </a:cubicBezTo>
                <a:cubicBezTo>
                  <a:pt x="9" y="138"/>
                  <a:pt x="9" y="138"/>
                  <a:pt x="9" y="138"/>
                </a:cubicBezTo>
                <a:cubicBezTo>
                  <a:pt x="9" y="139"/>
                  <a:pt x="9" y="139"/>
                  <a:pt x="9" y="139"/>
                </a:cubicBezTo>
                <a:cubicBezTo>
                  <a:pt x="9" y="139"/>
                  <a:pt x="9" y="139"/>
                  <a:pt x="9" y="139"/>
                </a:cubicBezTo>
                <a:cubicBezTo>
                  <a:pt x="7" y="137"/>
                  <a:pt x="7" y="137"/>
                  <a:pt x="7" y="137"/>
                </a:cubicBezTo>
                <a:cubicBezTo>
                  <a:pt x="6" y="138"/>
                  <a:pt x="6" y="138"/>
                  <a:pt x="6" y="138"/>
                </a:cubicBezTo>
                <a:cubicBezTo>
                  <a:pt x="6" y="137"/>
                  <a:pt x="6" y="137"/>
                  <a:pt x="6" y="137"/>
                </a:cubicBezTo>
                <a:cubicBezTo>
                  <a:pt x="5" y="137"/>
                  <a:pt x="5" y="137"/>
                  <a:pt x="5" y="137"/>
                </a:cubicBezTo>
                <a:cubicBezTo>
                  <a:pt x="5" y="138"/>
                  <a:pt x="5" y="138"/>
                  <a:pt x="5" y="138"/>
                </a:cubicBezTo>
                <a:cubicBezTo>
                  <a:pt x="4" y="139"/>
                  <a:pt x="4" y="139"/>
                  <a:pt x="4" y="139"/>
                </a:cubicBezTo>
                <a:cubicBezTo>
                  <a:pt x="6" y="141"/>
                  <a:pt x="6" y="141"/>
                  <a:pt x="6" y="141"/>
                </a:cubicBezTo>
                <a:cubicBezTo>
                  <a:pt x="7" y="142"/>
                  <a:pt x="7" y="142"/>
                  <a:pt x="7" y="142"/>
                </a:cubicBezTo>
                <a:cubicBezTo>
                  <a:pt x="9" y="143"/>
                  <a:pt x="9" y="143"/>
                  <a:pt x="9" y="143"/>
                </a:cubicBezTo>
                <a:cubicBezTo>
                  <a:pt x="11" y="144"/>
                  <a:pt x="11" y="144"/>
                  <a:pt x="11" y="144"/>
                </a:cubicBezTo>
                <a:cubicBezTo>
                  <a:pt x="11" y="145"/>
                  <a:pt x="11" y="145"/>
                  <a:pt x="11" y="145"/>
                </a:cubicBezTo>
                <a:cubicBezTo>
                  <a:pt x="11" y="145"/>
                  <a:pt x="11" y="145"/>
                  <a:pt x="11" y="145"/>
                </a:cubicBezTo>
                <a:cubicBezTo>
                  <a:pt x="12" y="146"/>
                  <a:pt x="12" y="146"/>
                  <a:pt x="12" y="146"/>
                </a:cubicBezTo>
                <a:cubicBezTo>
                  <a:pt x="12" y="146"/>
                  <a:pt x="12" y="146"/>
                  <a:pt x="12" y="146"/>
                </a:cubicBezTo>
                <a:cubicBezTo>
                  <a:pt x="12" y="144"/>
                  <a:pt x="12" y="144"/>
                  <a:pt x="12" y="144"/>
                </a:cubicBezTo>
                <a:cubicBezTo>
                  <a:pt x="13" y="144"/>
                  <a:pt x="13" y="144"/>
                  <a:pt x="13" y="144"/>
                </a:cubicBezTo>
                <a:cubicBezTo>
                  <a:pt x="14" y="145"/>
                  <a:pt x="14" y="145"/>
                  <a:pt x="14" y="145"/>
                </a:cubicBezTo>
                <a:cubicBezTo>
                  <a:pt x="13" y="145"/>
                  <a:pt x="13" y="145"/>
                  <a:pt x="13" y="145"/>
                </a:cubicBezTo>
                <a:cubicBezTo>
                  <a:pt x="15" y="147"/>
                  <a:pt x="15" y="147"/>
                  <a:pt x="15" y="147"/>
                </a:cubicBezTo>
                <a:cubicBezTo>
                  <a:pt x="15" y="146"/>
                  <a:pt x="15" y="146"/>
                  <a:pt x="15" y="146"/>
                </a:cubicBezTo>
                <a:cubicBezTo>
                  <a:pt x="16" y="146"/>
                  <a:pt x="16" y="146"/>
                  <a:pt x="16" y="146"/>
                </a:cubicBezTo>
                <a:cubicBezTo>
                  <a:pt x="17" y="146"/>
                  <a:pt x="17" y="146"/>
                  <a:pt x="17" y="146"/>
                </a:cubicBezTo>
                <a:cubicBezTo>
                  <a:pt x="18" y="145"/>
                  <a:pt x="18" y="145"/>
                  <a:pt x="18" y="145"/>
                </a:cubicBezTo>
                <a:cubicBezTo>
                  <a:pt x="19" y="145"/>
                  <a:pt x="19" y="145"/>
                  <a:pt x="19" y="145"/>
                </a:cubicBezTo>
                <a:cubicBezTo>
                  <a:pt x="19" y="144"/>
                  <a:pt x="19" y="144"/>
                  <a:pt x="19" y="144"/>
                </a:cubicBezTo>
                <a:cubicBezTo>
                  <a:pt x="19" y="144"/>
                  <a:pt x="19" y="144"/>
                  <a:pt x="19" y="144"/>
                </a:cubicBezTo>
                <a:cubicBezTo>
                  <a:pt x="20" y="145"/>
                  <a:pt x="20" y="145"/>
                  <a:pt x="20" y="145"/>
                </a:cubicBezTo>
                <a:cubicBezTo>
                  <a:pt x="21" y="145"/>
                  <a:pt x="21" y="145"/>
                  <a:pt x="21" y="145"/>
                </a:cubicBezTo>
                <a:cubicBezTo>
                  <a:pt x="23" y="143"/>
                  <a:pt x="23" y="143"/>
                  <a:pt x="23" y="143"/>
                </a:cubicBezTo>
                <a:cubicBezTo>
                  <a:pt x="23" y="142"/>
                  <a:pt x="23" y="142"/>
                  <a:pt x="23" y="142"/>
                </a:cubicBezTo>
                <a:cubicBezTo>
                  <a:pt x="22" y="141"/>
                  <a:pt x="22" y="141"/>
                  <a:pt x="22" y="141"/>
                </a:cubicBezTo>
                <a:cubicBezTo>
                  <a:pt x="23" y="142"/>
                  <a:pt x="23" y="142"/>
                  <a:pt x="23" y="142"/>
                </a:cubicBezTo>
                <a:cubicBezTo>
                  <a:pt x="25" y="141"/>
                  <a:pt x="25" y="141"/>
                  <a:pt x="25" y="141"/>
                </a:cubicBezTo>
                <a:cubicBezTo>
                  <a:pt x="24" y="140"/>
                  <a:pt x="24" y="140"/>
                  <a:pt x="24" y="140"/>
                </a:cubicBezTo>
                <a:cubicBezTo>
                  <a:pt x="25" y="140"/>
                  <a:pt x="25" y="140"/>
                  <a:pt x="25" y="140"/>
                </a:cubicBezTo>
                <a:cubicBezTo>
                  <a:pt x="25" y="139"/>
                  <a:pt x="25" y="139"/>
                  <a:pt x="25" y="139"/>
                </a:cubicBezTo>
                <a:cubicBezTo>
                  <a:pt x="26" y="138"/>
                  <a:pt x="26" y="138"/>
                  <a:pt x="26" y="138"/>
                </a:cubicBezTo>
                <a:cubicBezTo>
                  <a:pt x="27" y="138"/>
                  <a:pt x="27" y="138"/>
                  <a:pt x="27" y="138"/>
                </a:cubicBezTo>
                <a:cubicBezTo>
                  <a:pt x="27" y="137"/>
                  <a:pt x="27" y="137"/>
                  <a:pt x="27" y="137"/>
                </a:cubicBezTo>
                <a:cubicBezTo>
                  <a:pt x="26" y="136"/>
                  <a:pt x="26" y="136"/>
                  <a:pt x="26" y="136"/>
                </a:cubicBezTo>
                <a:cubicBezTo>
                  <a:pt x="27" y="135"/>
                  <a:pt x="27" y="135"/>
                  <a:pt x="27" y="135"/>
                </a:cubicBezTo>
                <a:cubicBezTo>
                  <a:pt x="26" y="134"/>
                  <a:pt x="26" y="134"/>
                  <a:pt x="26" y="134"/>
                </a:cubicBezTo>
                <a:cubicBezTo>
                  <a:pt x="25" y="133"/>
                  <a:pt x="25" y="133"/>
                  <a:pt x="25" y="133"/>
                </a:cubicBezTo>
                <a:cubicBezTo>
                  <a:pt x="25" y="132"/>
                  <a:pt x="25" y="132"/>
                  <a:pt x="25" y="132"/>
                </a:cubicBezTo>
                <a:cubicBezTo>
                  <a:pt x="25" y="133"/>
                  <a:pt x="25" y="133"/>
                  <a:pt x="25" y="133"/>
                </a:cubicBezTo>
                <a:cubicBezTo>
                  <a:pt x="26" y="134"/>
                  <a:pt x="26" y="134"/>
                  <a:pt x="26" y="134"/>
                </a:cubicBezTo>
                <a:cubicBezTo>
                  <a:pt x="27" y="136"/>
                  <a:pt x="27" y="136"/>
                  <a:pt x="27" y="136"/>
                </a:cubicBezTo>
                <a:cubicBezTo>
                  <a:pt x="27" y="136"/>
                  <a:pt x="27" y="136"/>
                  <a:pt x="27" y="136"/>
                </a:cubicBezTo>
                <a:cubicBezTo>
                  <a:pt x="28" y="136"/>
                  <a:pt x="28" y="136"/>
                  <a:pt x="28" y="136"/>
                </a:cubicBezTo>
                <a:cubicBezTo>
                  <a:pt x="28" y="137"/>
                  <a:pt x="28" y="137"/>
                  <a:pt x="28" y="137"/>
                </a:cubicBezTo>
                <a:cubicBezTo>
                  <a:pt x="28" y="138"/>
                  <a:pt x="28" y="138"/>
                  <a:pt x="28" y="138"/>
                </a:cubicBezTo>
                <a:cubicBezTo>
                  <a:pt x="30" y="137"/>
                  <a:pt x="30" y="137"/>
                  <a:pt x="30" y="137"/>
                </a:cubicBezTo>
                <a:cubicBezTo>
                  <a:pt x="29" y="136"/>
                  <a:pt x="29" y="136"/>
                  <a:pt x="29" y="136"/>
                </a:cubicBezTo>
                <a:cubicBezTo>
                  <a:pt x="29" y="136"/>
                  <a:pt x="29" y="136"/>
                  <a:pt x="29" y="136"/>
                </a:cubicBezTo>
                <a:cubicBezTo>
                  <a:pt x="29" y="135"/>
                  <a:pt x="29" y="135"/>
                  <a:pt x="29" y="135"/>
                </a:cubicBezTo>
                <a:cubicBezTo>
                  <a:pt x="30" y="136"/>
                  <a:pt x="30" y="136"/>
                  <a:pt x="30" y="136"/>
                </a:cubicBezTo>
                <a:cubicBezTo>
                  <a:pt x="30" y="137"/>
                  <a:pt x="30" y="137"/>
                  <a:pt x="30" y="137"/>
                </a:cubicBezTo>
                <a:cubicBezTo>
                  <a:pt x="32" y="135"/>
                  <a:pt x="32" y="135"/>
                  <a:pt x="32" y="135"/>
                </a:cubicBezTo>
                <a:cubicBezTo>
                  <a:pt x="32" y="134"/>
                  <a:pt x="32" y="134"/>
                  <a:pt x="32" y="134"/>
                </a:cubicBezTo>
                <a:cubicBezTo>
                  <a:pt x="32" y="132"/>
                  <a:pt x="32" y="132"/>
                  <a:pt x="32" y="132"/>
                </a:cubicBezTo>
                <a:cubicBezTo>
                  <a:pt x="31" y="132"/>
                  <a:pt x="31" y="132"/>
                  <a:pt x="31" y="132"/>
                </a:cubicBezTo>
                <a:cubicBezTo>
                  <a:pt x="31" y="131"/>
                  <a:pt x="31" y="131"/>
                  <a:pt x="31" y="131"/>
                </a:cubicBezTo>
                <a:cubicBezTo>
                  <a:pt x="31" y="131"/>
                  <a:pt x="31" y="131"/>
                  <a:pt x="31" y="131"/>
                </a:cubicBezTo>
                <a:cubicBezTo>
                  <a:pt x="31" y="131"/>
                  <a:pt x="31" y="131"/>
                  <a:pt x="31" y="131"/>
                </a:cubicBezTo>
                <a:cubicBezTo>
                  <a:pt x="32" y="130"/>
                  <a:pt x="32" y="130"/>
                  <a:pt x="32" y="130"/>
                </a:cubicBezTo>
                <a:cubicBezTo>
                  <a:pt x="32" y="130"/>
                  <a:pt x="32" y="130"/>
                  <a:pt x="32" y="130"/>
                </a:cubicBezTo>
                <a:cubicBezTo>
                  <a:pt x="32" y="129"/>
                  <a:pt x="32" y="129"/>
                  <a:pt x="32" y="129"/>
                </a:cubicBezTo>
                <a:cubicBezTo>
                  <a:pt x="32" y="128"/>
                  <a:pt x="32" y="128"/>
                  <a:pt x="32" y="128"/>
                </a:cubicBezTo>
                <a:cubicBezTo>
                  <a:pt x="33" y="127"/>
                  <a:pt x="33" y="127"/>
                  <a:pt x="33" y="127"/>
                </a:cubicBezTo>
                <a:cubicBezTo>
                  <a:pt x="34" y="128"/>
                  <a:pt x="34" y="128"/>
                  <a:pt x="34" y="128"/>
                </a:cubicBezTo>
                <a:cubicBezTo>
                  <a:pt x="33" y="129"/>
                  <a:pt x="33" y="129"/>
                  <a:pt x="33" y="129"/>
                </a:cubicBezTo>
                <a:cubicBezTo>
                  <a:pt x="33" y="131"/>
                  <a:pt x="33" y="131"/>
                  <a:pt x="33" y="131"/>
                </a:cubicBezTo>
                <a:cubicBezTo>
                  <a:pt x="33" y="132"/>
                  <a:pt x="33" y="132"/>
                  <a:pt x="33" y="132"/>
                </a:cubicBezTo>
                <a:cubicBezTo>
                  <a:pt x="34" y="133"/>
                  <a:pt x="34" y="133"/>
                  <a:pt x="34" y="133"/>
                </a:cubicBezTo>
                <a:cubicBezTo>
                  <a:pt x="34" y="134"/>
                  <a:pt x="34" y="134"/>
                  <a:pt x="34" y="134"/>
                </a:cubicBezTo>
                <a:cubicBezTo>
                  <a:pt x="35" y="135"/>
                  <a:pt x="35" y="135"/>
                  <a:pt x="35" y="135"/>
                </a:cubicBezTo>
                <a:cubicBezTo>
                  <a:pt x="37" y="135"/>
                  <a:pt x="37" y="135"/>
                  <a:pt x="37" y="135"/>
                </a:cubicBezTo>
                <a:cubicBezTo>
                  <a:pt x="37" y="135"/>
                  <a:pt x="37" y="135"/>
                  <a:pt x="37" y="135"/>
                </a:cubicBezTo>
                <a:cubicBezTo>
                  <a:pt x="37" y="136"/>
                  <a:pt x="37" y="136"/>
                  <a:pt x="37" y="136"/>
                </a:cubicBezTo>
                <a:cubicBezTo>
                  <a:pt x="38" y="137"/>
                  <a:pt x="38" y="137"/>
                  <a:pt x="38" y="137"/>
                </a:cubicBezTo>
                <a:cubicBezTo>
                  <a:pt x="38" y="138"/>
                  <a:pt x="38" y="138"/>
                  <a:pt x="38" y="138"/>
                </a:cubicBezTo>
                <a:cubicBezTo>
                  <a:pt x="39" y="137"/>
                  <a:pt x="39" y="137"/>
                  <a:pt x="39" y="137"/>
                </a:cubicBezTo>
                <a:cubicBezTo>
                  <a:pt x="39" y="133"/>
                  <a:pt x="39" y="133"/>
                  <a:pt x="39" y="133"/>
                </a:cubicBezTo>
                <a:cubicBezTo>
                  <a:pt x="38" y="131"/>
                  <a:pt x="38" y="131"/>
                  <a:pt x="38" y="131"/>
                </a:cubicBezTo>
                <a:cubicBezTo>
                  <a:pt x="38" y="130"/>
                  <a:pt x="38" y="130"/>
                  <a:pt x="38" y="130"/>
                </a:cubicBezTo>
                <a:cubicBezTo>
                  <a:pt x="39" y="129"/>
                  <a:pt x="39" y="129"/>
                  <a:pt x="39" y="129"/>
                </a:cubicBezTo>
                <a:cubicBezTo>
                  <a:pt x="39" y="128"/>
                  <a:pt x="39" y="128"/>
                  <a:pt x="39" y="128"/>
                </a:cubicBezTo>
                <a:cubicBezTo>
                  <a:pt x="39" y="127"/>
                  <a:pt x="39" y="127"/>
                  <a:pt x="39" y="127"/>
                </a:cubicBezTo>
                <a:cubicBezTo>
                  <a:pt x="41" y="127"/>
                  <a:pt x="41" y="127"/>
                  <a:pt x="41" y="127"/>
                </a:cubicBezTo>
                <a:cubicBezTo>
                  <a:pt x="41" y="126"/>
                  <a:pt x="41" y="126"/>
                  <a:pt x="41" y="126"/>
                </a:cubicBezTo>
                <a:cubicBezTo>
                  <a:pt x="41" y="125"/>
                  <a:pt x="41" y="125"/>
                  <a:pt x="41" y="125"/>
                </a:cubicBezTo>
                <a:cubicBezTo>
                  <a:pt x="42" y="123"/>
                  <a:pt x="42" y="123"/>
                  <a:pt x="42" y="123"/>
                </a:cubicBezTo>
                <a:cubicBezTo>
                  <a:pt x="41" y="122"/>
                  <a:pt x="41" y="122"/>
                  <a:pt x="41" y="122"/>
                </a:cubicBezTo>
                <a:cubicBezTo>
                  <a:pt x="41" y="119"/>
                  <a:pt x="41" y="119"/>
                  <a:pt x="41" y="119"/>
                </a:cubicBezTo>
                <a:cubicBezTo>
                  <a:pt x="40" y="117"/>
                  <a:pt x="40" y="117"/>
                  <a:pt x="40" y="117"/>
                </a:cubicBezTo>
                <a:cubicBezTo>
                  <a:pt x="40" y="116"/>
                  <a:pt x="40" y="116"/>
                  <a:pt x="40" y="116"/>
                </a:cubicBezTo>
                <a:cubicBezTo>
                  <a:pt x="43" y="115"/>
                  <a:pt x="43" y="115"/>
                  <a:pt x="43" y="115"/>
                </a:cubicBezTo>
                <a:cubicBezTo>
                  <a:pt x="43" y="113"/>
                  <a:pt x="43" y="113"/>
                  <a:pt x="43" y="113"/>
                </a:cubicBezTo>
                <a:cubicBezTo>
                  <a:pt x="43" y="111"/>
                  <a:pt x="43" y="111"/>
                  <a:pt x="43" y="111"/>
                </a:cubicBezTo>
                <a:cubicBezTo>
                  <a:pt x="41" y="109"/>
                  <a:pt x="41" y="109"/>
                  <a:pt x="41" y="109"/>
                </a:cubicBezTo>
                <a:cubicBezTo>
                  <a:pt x="39" y="108"/>
                  <a:pt x="39" y="108"/>
                  <a:pt x="39" y="108"/>
                </a:cubicBezTo>
                <a:cubicBezTo>
                  <a:pt x="39" y="106"/>
                  <a:pt x="39" y="106"/>
                  <a:pt x="39" y="106"/>
                </a:cubicBezTo>
                <a:cubicBezTo>
                  <a:pt x="40" y="103"/>
                  <a:pt x="40" y="103"/>
                  <a:pt x="40" y="103"/>
                </a:cubicBezTo>
                <a:cubicBezTo>
                  <a:pt x="39" y="101"/>
                  <a:pt x="39" y="101"/>
                  <a:pt x="39" y="101"/>
                </a:cubicBezTo>
                <a:cubicBezTo>
                  <a:pt x="39" y="99"/>
                  <a:pt x="39" y="99"/>
                  <a:pt x="39" y="99"/>
                </a:cubicBezTo>
                <a:cubicBezTo>
                  <a:pt x="39" y="97"/>
                  <a:pt x="39" y="97"/>
                  <a:pt x="39" y="97"/>
                </a:cubicBezTo>
                <a:cubicBezTo>
                  <a:pt x="39" y="94"/>
                  <a:pt x="39" y="94"/>
                  <a:pt x="39" y="94"/>
                </a:cubicBezTo>
                <a:cubicBezTo>
                  <a:pt x="38" y="91"/>
                  <a:pt x="38" y="91"/>
                  <a:pt x="38" y="91"/>
                </a:cubicBezTo>
                <a:cubicBezTo>
                  <a:pt x="39" y="88"/>
                  <a:pt x="39" y="88"/>
                  <a:pt x="39" y="88"/>
                </a:cubicBezTo>
                <a:cubicBezTo>
                  <a:pt x="40" y="85"/>
                  <a:pt x="40" y="85"/>
                  <a:pt x="40" y="85"/>
                </a:cubicBezTo>
                <a:cubicBezTo>
                  <a:pt x="41" y="84"/>
                  <a:pt x="41" y="84"/>
                  <a:pt x="41" y="84"/>
                </a:cubicBezTo>
                <a:cubicBezTo>
                  <a:pt x="43" y="85"/>
                  <a:pt x="43" y="85"/>
                  <a:pt x="43" y="85"/>
                </a:cubicBezTo>
                <a:cubicBezTo>
                  <a:pt x="45" y="85"/>
                  <a:pt x="45" y="85"/>
                  <a:pt x="45" y="85"/>
                </a:cubicBezTo>
                <a:cubicBezTo>
                  <a:pt x="46" y="83"/>
                  <a:pt x="46" y="83"/>
                  <a:pt x="46" y="83"/>
                </a:cubicBezTo>
                <a:cubicBezTo>
                  <a:pt x="46" y="81"/>
                  <a:pt x="46" y="81"/>
                  <a:pt x="46" y="81"/>
                </a:cubicBezTo>
                <a:cubicBezTo>
                  <a:pt x="46" y="80"/>
                  <a:pt x="46" y="80"/>
                  <a:pt x="46" y="80"/>
                </a:cubicBezTo>
                <a:cubicBezTo>
                  <a:pt x="46" y="79"/>
                  <a:pt x="46" y="79"/>
                  <a:pt x="46" y="79"/>
                </a:cubicBezTo>
                <a:cubicBezTo>
                  <a:pt x="48" y="73"/>
                  <a:pt x="48" y="73"/>
                  <a:pt x="48" y="73"/>
                </a:cubicBezTo>
                <a:cubicBezTo>
                  <a:pt x="48" y="70"/>
                  <a:pt x="48" y="70"/>
                  <a:pt x="48" y="70"/>
                </a:cubicBezTo>
                <a:cubicBezTo>
                  <a:pt x="48" y="68"/>
                  <a:pt x="48" y="68"/>
                  <a:pt x="48" y="68"/>
                </a:cubicBezTo>
                <a:cubicBezTo>
                  <a:pt x="49" y="66"/>
                  <a:pt x="49" y="66"/>
                  <a:pt x="49" y="66"/>
                </a:cubicBezTo>
                <a:cubicBezTo>
                  <a:pt x="49" y="64"/>
                  <a:pt x="49" y="64"/>
                  <a:pt x="49" y="64"/>
                </a:cubicBezTo>
                <a:cubicBezTo>
                  <a:pt x="48" y="63"/>
                  <a:pt x="48" y="63"/>
                  <a:pt x="48" y="63"/>
                </a:cubicBezTo>
                <a:cubicBezTo>
                  <a:pt x="48" y="62"/>
                  <a:pt x="48" y="62"/>
                  <a:pt x="48" y="62"/>
                </a:cubicBezTo>
                <a:cubicBezTo>
                  <a:pt x="50" y="61"/>
                  <a:pt x="50" y="61"/>
                  <a:pt x="50" y="61"/>
                </a:cubicBezTo>
                <a:cubicBezTo>
                  <a:pt x="52" y="60"/>
                  <a:pt x="52" y="60"/>
                  <a:pt x="52" y="60"/>
                </a:cubicBezTo>
                <a:cubicBezTo>
                  <a:pt x="53" y="59"/>
                  <a:pt x="53" y="59"/>
                  <a:pt x="53" y="59"/>
                </a:cubicBezTo>
                <a:cubicBezTo>
                  <a:pt x="53" y="58"/>
                  <a:pt x="53" y="58"/>
                  <a:pt x="53" y="58"/>
                </a:cubicBezTo>
                <a:cubicBezTo>
                  <a:pt x="55" y="55"/>
                  <a:pt x="55" y="55"/>
                  <a:pt x="55" y="55"/>
                </a:cubicBezTo>
                <a:cubicBezTo>
                  <a:pt x="57" y="53"/>
                  <a:pt x="57" y="53"/>
                  <a:pt x="57" y="53"/>
                </a:cubicBezTo>
                <a:cubicBezTo>
                  <a:pt x="57" y="51"/>
                  <a:pt x="57" y="51"/>
                  <a:pt x="57" y="51"/>
                </a:cubicBezTo>
                <a:cubicBezTo>
                  <a:pt x="57" y="49"/>
                  <a:pt x="57" y="49"/>
                  <a:pt x="57" y="49"/>
                </a:cubicBezTo>
                <a:cubicBezTo>
                  <a:pt x="56" y="49"/>
                  <a:pt x="56" y="49"/>
                  <a:pt x="56" y="49"/>
                </a:cubicBezTo>
                <a:cubicBezTo>
                  <a:pt x="56" y="46"/>
                  <a:pt x="56" y="46"/>
                  <a:pt x="56" y="46"/>
                </a:cubicBezTo>
                <a:cubicBezTo>
                  <a:pt x="57" y="45"/>
                  <a:pt x="57" y="45"/>
                  <a:pt x="57" y="45"/>
                </a:cubicBezTo>
                <a:cubicBezTo>
                  <a:pt x="58" y="44"/>
                  <a:pt x="58" y="44"/>
                  <a:pt x="58" y="44"/>
                </a:cubicBezTo>
                <a:cubicBezTo>
                  <a:pt x="58" y="43"/>
                  <a:pt x="58" y="43"/>
                  <a:pt x="58" y="43"/>
                </a:cubicBezTo>
                <a:cubicBezTo>
                  <a:pt x="59" y="42"/>
                  <a:pt x="59" y="42"/>
                  <a:pt x="59" y="42"/>
                </a:cubicBezTo>
                <a:cubicBezTo>
                  <a:pt x="60" y="40"/>
                  <a:pt x="60" y="40"/>
                  <a:pt x="60" y="40"/>
                </a:cubicBezTo>
                <a:cubicBezTo>
                  <a:pt x="61" y="39"/>
                  <a:pt x="61" y="39"/>
                  <a:pt x="61" y="39"/>
                </a:cubicBezTo>
                <a:cubicBezTo>
                  <a:pt x="63" y="40"/>
                  <a:pt x="63" y="40"/>
                  <a:pt x="63" y="40"/>
                </a:cubicBezTo>
                <a:cubicBezTo>
                  <a:pt x="63" y="41"/>
                  <a:pt x="63" y="41"/>
                  <a:pt x="63" y="41"/>
                </a:cubicBezTo>
                <a:cubicBezTo>
                  <a:pt x="64" y="40"/>
                  <a:pt x="64" y="40"/>
                  <a:pt x="64" y="40"/>
                </a:cubicBezTo>
                <a:cubicBezTo>
                  <a:pt x="65" y="40"/>
                  <a:pt x="65" y="40"/>
                  <a:pt x="65" y="40"/>
                </a:cubicBezTo>
                <a:cubicBezTo>
                  <a:pt x="64" y="38"/>
                  <a:pt x="64" y="38"/>
                  <a:pt x="64" y="38"/>
                </a:cubicBezTo>
                <a:cubicBezTo>
                  <a:pt x="65" y="38"/>
                  <a:pt x="65" y="38"/>
                  <a:pt x="65" y="38"/>
                </a:cubicBezTo>
                <a:cubicBezTo>
                  <a:pt x="65" y="37"/>
                  <a:pt x="65" y="37"/>
                  <a:pt x="65" y="37"/>
                </a:cubicBezTo>
                <a:cubicBezTo>
                  <a:pt x="65" y="36"/>
                  <a:pt x="65" y="36"/>
                  <a:pt x="65" y="36"/>
                </a:cubicBezTo>
                <a:cubicBezTo>
                  <a:pt x="64" y="35"/>
                  <a:pt x="64" y="35"/>
                  <a:pt x="64" y="35"/>
                </a:cubicBezTo>
                <a:cubicBezTo>
                  <a:pt x="65" y="34"/>
                  <a:pt x="65" y="34"/>
                  <a:pt x="65" y="34"/>
                </a:cubicBezTo>
                <a:cubicBezTo>
                  <a:pt x="67" y="34"/>
                  <a:pt x="67" y="34"/>
                  <a:pt x="67" y="34"/>
                </a:cubicBezTo>
                <a:cubicBezTo>
                  <a:pt x="68" y="33"/>
                  <a:pt x="68" y="33"/>
                  <a:pt x="68" y="33"/>
                </a:cubicBezTo>
                <a:cubicBezTo>
                  <a:pt x="70" y="34"/>
                  <a:pt x="70" y="34"/>
                  <a:pt x="70" y="34"/>
                </a:cubicBezTo>
                <a:cubicBezTo>
                  <a:pt x="71" y="35"/>
                  <a:pt x="71" y="35"/>
                  <a:pt x="71" y="35"/>
                </a:cubicBezTo>
                <a:cubicBezTo>
                  <a:pt x="73" y="35"/>
                  <a:pt x="73" y="35"/>
                  <a:pt x="73" y="35"/>
                </a:cubicBezTo>
                <a:cubicBezTo>
                  <a:pt x="74" y="36"/>
                  <a:pt x="74" y="36"/>
                  <a:pt x="74" y="36"/>
                </a:cubicBezTo>
                <a:cubicBezTo>
                  <a:pt x="74" y="35"/>
                  <a:pt x="74" y="35"/>
                  <a:pt x="74" y="35"/>
                </a:cubicBezTo>
                <a:cubicBezTo>
                  <a:pt x="75" y="36"/>
                  <a:pt x="75" y="36"/>
                  <a:pt x="75" y="36"/>
                </a:cubicBezTo>
                <a:cubicBezTo>
                  <a:pt x="75" y="34"/>
                  <a:pt x="75" y="34"/>
                  <a:pt x="75" y="34"/>
                </a:cubicBezTo>
                <a:cubicBezTo>
                  <a:pt x="74" y="33"/>
                  <a:pt x="74" y="33"/>
                  <a:pt x="74" y="33"/>
                </a:cubicBezTo>
                <a:cubicBezTo>
                  <a:pt x="74" y="31"/>
                  <a:pt x="74" y="31"/>
                  <a:pt x="74" y="31"/>
                </a:cubicBezTo>
                <a:cubicBezTo>
                  <a:pt x="75" y="31"/>
                  <a:pt x="75" y="31"/>
                  <a:pt x="75" y="31"/>
                </a:cubicBezTo>
                <a:cubicBezTo>
                  <a:pt x="75" y="30"/>
                  <a:pt x="75" y="30"/>
                  <a:pt x="75" y="30"/>
                </a:cubicBezTo>
                <a:cubicBezTo>
                  <a:pt x="74" y="29"/>
                  <a:pt x="74" y="29"/>
                  <a:pt x="74" y="29"/>
                </a:cubicBezTo>
                <a:cubicBezTo>
                  <a:pt x="74" y="28"/>
                  <a:pt x="74" y="28"/>
                  <a:pt x="74" y="28"/>
                </a:cubicBezTo>
                <a:cubicBezTo>
                  <a:pt x="75" y="28"/>
                  <a:pt x="75" y="28"/>
                  <a:pt x="75" y="28"/>
                </a:cubicBezTo>
                <a:cubicBezTo>
                  <a:pt x="77" y="28"/>
                  <a:pt x="77" y="28"/>
                  <a:pt x="77" y="28"/>
                </a:cubicBezTo>
                <a:cubicBezTo>
                  <a:pt x="77" y="28"/>
                  <a:pt x="77" y="28"/>
                  <a:pt x="77" y="28"/>
                </a:cubicBezTo>
                <a:cubicBezTo>
                  <a:pt x="77" y="28"/>
                  <a:pt x="77" y="28"/>
                  <a:pt x="77" y="28"/>
                </a:cubicBezTo>
                <a:cubicBezTo>
                  <a:pt x="77" y="27"/>
                  <a:pt x="77" y="27"/>
                  <a:pt x="77" y="27"/>
                </a:cubicBezTo>
                <a:cubicBezTo>
                  <a:pt x="78" y="28"/>
                  <a:pt x="78" y="28"/>
                  <a:pt x="78" y="28"/>
                </a:cubicBezTo>
                <a:cubicBezTo>
                  <a:pt x="78" y="27"/>
                  <a:pt x="78" y="27"/>
                  <a:pt x="78" y="27"/>
                </a:cubicBezTo>
                <a:cubicBezTo>
                  <a:pt x="78" y="26"/>
                  <a:pt x="78" y="26"/>
                  <a:pt x="78" y="26"/>
                </a:cubicBezTo>
                <a:cubicBezTo>
                  <a:pt x="78" y="25"/>
                  <a:pt x="78" y="25"/>
                  <a:pt x="78" y="25"/>
                </a:cubicBezTo>
                <a:cubicBezTo>
                  <a:pt x="79" y="24"/>
                  <a:pt x="79" y="24"/>
                  <a:pt x="79" y="24"/>
                </a:cubicBezTo>
                <a:cubicBezTo>
                  <a:pt x="80" y="25"/>
                  <a:pt x="80" y="25"/>
                  <a:pt x="80" y="25"/>
                </a:cubicBezTo>
                <a:cubicBezTo>
                  <a:pt x="81" y="26"/>
                  <a:pt x="81" y="26"/>
                  <a:pt x="81" y="26"/>
                </a:cubicBezTo>
                <a:cubicBezTo>
                  <a:pt x="84" y="28"/>
                  <a:pt x="84" y="28"/>
                  <a:pt x="84" y="28"/>
                </a:cubicBezTo>
                <a:cubicBezTo>
                  <a:pt x="84" y="30"/>
                  <a:pt x="84" y="30"/>
                  <a:pt x="84" y="30"/>
                </a:cubicBezTo>
                <a:cubicBezTo>
                  <a:pt x="85" y="31"/>
                  <a:pt x="85" y="31"/>
                  <a:pt x="85" y="31"/>
                </a:cubicBezTo>
                <a:cubicBezTo>
                  <a:pt x="87" y="32"/>
                  <a:pt x="87" y="32"/>
                  <a:pt x="87" y="32"/>
                </a:cubicBezTo>
                <a:cubicBezTo>
                  <a:pt x="90" y="32"/>
                  <a:pt x="90" y="32"/>
                  <a:pt x="90" y="32"/>
                </a:cubicBezTo>
                <a:cubicBezTo>
                  <a:pt x="92" y="30"/>
                  <a:pt x="92" y="30"/>
                  <a:pt x="92" y="30"/>
                </a:cubicBezTo>
                <a:cubicBezTo>
                  <a:pt x="93" y="29"/>
                  <a:pt x="93" y="29"/>
                  <a:pt x="93" y="29"/>
                </a:cubicBezTo>
                <a:cubicBezTo>
                  <a:pt x="94" y="29"/>
                  <a:pt x="94" y="29"/>
                  <a:pt x="94" y="29"/>
                </a:cubicBezTo>
                <a:cubicBezTo>
                  <a:pt x="96" y="31"/>
                  <a:pt x="96" y="31"/>
                  <a:pt x="96" y="31"/>
                </a:cubicBezTo>
                <a:cubicBezTo>
                  <a:pt x="97" y="31"/>
                  <a:pt x="97" y="31"/>
                  <a:pt x="97" y="31"/>
                </a:cubicBezTo>
                <a:cubicBezTo>
                  <a:pt x="98" y="30"/>
                  <a:pt x="98" y="30"/>
                  <a:pt x="98" y="30"/>
                </a:cubicBezTo>
                <a:cubicBezTo>
                  <a:pt x="99" y="29"/>
                  <a:pt x="99" y="29"/>
                  <a:pt x="99" y="29"/>
                </a:cubicBezTo>
                <a:cubicBezTo>
                  <a:pt x="100" y="28"/>
                  <a:pt x="100" y="28"/>
                  <a:pt x="100" y="28"/>
                </a:cubicBezTo>
                <a:cubicBezTo>
                  <a:pt x="101" y="28"/>
                  <a:pt x="101" y="28"/>
                  <a:pt x="101" y="28"/>
                </a:cubicBezTo>
                <a:cubicBezTo>
                  <a:pt x="102" y="28"/>
                  <a:pt x="102" y="28"/>
                  <a:pt x="102" y="28"/>
                </a:cubicBezTo>
                <a:cubicBezTo>
                  <a:pt x="102" y="27"/>
                  <a:pt x="102" y="27"/>
                  <a:pt x="102" y="27"/>
                </a:cubicBezTo>
                <a:cubicBezTo>
                  <a:pt x="102" y="26"/>
                  <a:pt x="102" y="26"/>
                  <a:pt x="102" y="26"/>
                </a:cubicBezTo>
                <a:cubicBezTo>
                  <a:pt x="101" y="24"/>
                  <a:pt x="101" y="24"/>
                  <a:pt x="101" y="24"/>
                </a:cubicBezTo>
                <a:cubicBezTo>
                  <a:pt x="102" y="21"/>
                  <a:pt x="102" y="21"/>
                  <a:pt x="102" y="21"/>
                </a:cubicBezTo>
                <a:cubicBezTo>
                  <a:pt x="102" y="20"/>
                  <a:pt x="102" y="20"/>
                  <a:pt x="102" y="20"/>
                </a:cubicBezTo>
                <a:cubicBezTo>
                  <a:pt x="102" y="19"/>
                  <a:pt x="102" y="19"/>
                  <a:pt x="102" y="19"/>
                </a:cubicBezTo>
                <a:cubicBezTo>
                  <a:pt x="102" y="18"/>
                  <a:pt x="102" y="18"/>
                  <a:pt x="102" y="18"/>
                </a:cubicBezTo>
                <a:cubicBezTo>
                  <a:pt x="103" y="17"/>
                  <a:pt x="103" y="17"/>
                  <a:pt x="103" y="17"/>
                </a:cubicBezTo>
                <a:cubicBezTo>
                  <a:pt x="103" y="16"/>
                  <a:pt x="103" y="16"/>
                  <a:pt x="103" y="16"/>
                </a:cubicBezTo>
                <a:cubicBezTo>
                  <a:pt x="104" y="16"/>
                  <a:pt x="104" y="16"/>
                  <a:pt x="104" y="16"/>
                </a:cubicBezTo>
                <a:cubicBezTo>
                  <a:pt x="106" y="16"/>
                  <a:pt x="106" y="16"/>
                  <a:pt x="106" y="16"/>
                </a:cubicBezTo>
                <a:cubicBezTo>
                  <a:pt x="107" y="16"/>
                  <a:pt x="107" y="16"/>
                  <a:pt x="107" y="16"/>
                </a:cubicBezTo>
                <a:cubicBezTo>
                  <a:pt x="107" y="15"/>
                  <a:pt x="107" y="15"/>
                  <a:pt x="107" y="15"/>
                </a:cubicBezTo>
                <a:cubicBezTo>
                  <a:pt x="108" y="14"/>
                  <a:pt x="108" y="14"/>
                  <a:pt x="108" y="14"/>
                </a:cubicBezTo>
                <a:cubicBezTo>
                  <a:pt x="111" y="14"/>
                  <a:pt x="111" y="14"/>
                  <a:pt x="111" y="14"/>
                </a:cubicBezTo>
                <a:cubicBezTo>
                  <a:pt x="112" y="15"/>
                  <a:pt x="112" y="15"/>
                  <a:pt x="112" y="15"/>
                </a:cubicBezTo>
                <a:cubicBezTo>
                  <a:pt x="113" y="17"/>
                  <a:pt x="113" y="17"/>
                  <a:pt x="113" y="17"/>
                </a:cubicBezTo>
                <a:cubicBezTo>
                  <a:pt x="114" y="18"/>
                  <a:pt x="114" y="18"/>
                  <a:pt x="114" y="18"/>
                </a:cubicBezTo>
                <a:cubicBezTo>
                  <a:pt x="116" y="18"/>
                  <a:pt x="116" y="18"/>
                  <a:pt x="116" y="18"/>
                </a:cubicBezTo>
                <a:cubicBezTo>
                  <a:pt x="118" y="18"/>
                  <a:pt x="118" y="18"/>
                  <a:pt x="118" y="18"/>
                </a:cubicBezTo>
                <a:cubicBezTo>
                  <a:pt x="118" y="19"/>
                  <a:pt x="118" y="19"/>
                  <a:pt x="118" y="19"/>
                </a:cubicBezTo>
                <a:cubicBezTo>
                  <a:pt x="119" y="21"/>
                  <a:pt x="119" y="21"/>
                  <a:pt x="119" y="21"/>
                </a:cubicBezTo>
                <a:cubicBezTo>
                  <a:pt x="119" y="22"/>
                  <a:pt x="119" y="22"/>
                  <a:pt x="119" y="22"/>
                </a:cubicBezTo>
                <a:cubicBezTo>
                  <a:pt x="118" y="24"/>
                  <a:pt x="118" y="24"/>
                  <a:pt x="118" y="24"/>
                </a:cubicBezTo>
                <a:cubicBezTo>
                  <a:pt x="118" y="26"/>
                  <a:pt x="118" y="26"/>
                  <a:pt x="118" y="26"/>
                </a:cubicBezTo>
                <a:close/>
                <a:moveTo>
                  <a:pt x="5" y="135"/>
                </a:moveTo>
                <a:cubicBezTo>
                  <a:pt x="6" y="136"/>
                  <a:pt x="6" y="136"/>
                  <a:pt x="6" y="136"/>
                </a:cubicBezTo>
                <a:cubicBezTo>
                  <a:pt x="5" y="136"/>
                  <a:pt x="5" y="136"/>
                  <a:pt x="5" y="136"/>
                </a:cubicBezTo>
                <a:cubicBezTo>
                  <a:pt x="5" y="135"/>
                  <a:pt x="5" y="135"/>
                  <a:pt x="5" y="135"/>
                </a:cubicBezTo>
                <a:close/>
                <a:moveTo>
                  <a:pt x="2" y="128"/>
                </a:moveTo>
                <a:cubicBezTo>
                  <a:pt x="2" y="128"/>
                  <a:pt x="3" y="128"/>
                  <a:pt x="3" y="128"/>
                </a:cubicBezTo>
                <a:cubicBezTo>
                  <a:pt x="4" y="129"/>
                  <a:pt x="4" y="129"/>
                  <a:pt x="4" y="129"/>
                </a:cubicBezTo>
                <a:cubicBezTo>
                  <a:pt x="3" y="130"/>
                  <a:pt x="3" y="130"/>
                  <a:pt x="3" y="130"/>
                </a:cubicBezTo>
                <a:cubicBezTo>
                  <a:pt x="2" y="128"/>
                  <a:pt x="2" y="128"/>
                  <a:pt x="2" y="128"/>
                </a:cubicBezTo>
                <a:close/>
                <a:moveTo>
                  <a:pt x="5" y="126"/>
                </a:moveTo>
                <a:cubicBezTo>
                  <a:pt x="5" y="127"/>
                  <a:pt x="5" y="127"/>
                  <a:pt x="5" y="127"/>
                </a:cubicBezTo>
                <a:cubicBezTo>
                  <a:pt x="4" y="127"/>
                  <a:pt x="4" y="127"/>
                  <a:pt x="4" y="127"/>
                </a:cubicBezTo>
                <a:cubicBezTo>
                  <a:pt x="5" y="126"/>
                  <a:pt x="5" y="126"/>
                  <a:pt x="5" y="126"/>
                </a:cubicBezTo>
                <a:close/>
                <a:moveTo>
                  <a:pt x="4" y="125"/>
                </a:moveTo>
                <a:cubicBezTo>
                  <a:pt x="3" y="126"/>
                  <a:pt x="3" y="126"/>
                  <a:pt x="3" y="126"/>
                </a:cubicBezTo>
                <a:cubicBezTo>
                  <a:pt x="2" y="126"/>
                  <a:pt x="2" y="126"/>
                  <a:pt x="2" y="126"/>
                </a:cubicBezTo>
                <a:cubicBezTo>
                  <a:pt x="4" y="125"/>
                  <a:pt x="4" y="125"/>
                  <a:pt x="4" y="125"/>
                </a:cubicBezTo>
                <a:close/>
                <a:moveTo>
                  <a:pt x="1" y="120"/>
                </a:moveTo>
                <a:cubicBezTo>
                  <a:pt x="0" y="120"/>
                  <a:pt x="0" y="120"/>
                  <a:pt x="0" y="120"/>
                </a:cubicBezTo>
                <a:cubicBezTo>
                  <a:pt x="1" y="119"/>
                  <a:pt x="1" y="119"/>
                  <a:pt x="1" y="119"/>
                </a:cubicBezTo>
                <a:cubicBezTo>
                  <a:pt x="1" y="119"/>
                  <a:pt x="1" y="120"/>
                  <a:pt x="1" y="120"/>
                </a:cubicBezTo>
                <a:close/>
                <a:moveTo>
                  <a:pt x="1" y="121"/>
                </a:moveTo>
                <a:cubicBezTo>
                  <a:pt x="2" y="121"/>
                  <a:pt x="2" y="121"/>
                  <a:pt x="2" y="121"/>
                </a:cubicBezTo>
                <a:cubicBezTo>
                  <a:pt x="1" y="122"/>
                  <a:pt x="1" y="122"/>
                  <a:pt x="1" y="122"/>
                </a:cubicBezTo>
                <a:cubicBezTo>
                  <a:pt x="1" y="121"/>
                  <a:pt x="1" y="121"/>
                  <a:pt x="1" y="121"/>
                </a:cubicBezTo>
                <a:close/>
                <a:moveTo>
                  <a:pt x="3" y="123"/>
                </a:moveTo>
                <a:cubicBezTo>
                  <a:pt x="3" y="123"/>
                  <a:pt x="4" y="124"/>
                  <a:pt x="4" y="124"/>
                </a:cubicBezTo>
                <a:cubicBezTo>
                  <a:pt x="4" y="125"/>
                  <a:pt x="4" y="125"/>
                  <a:pt x="4" y="125"/>
                </a:cubicBezTo>
                <a:cubicBezTo>
                  <a:pt x="3" y="123"/>
                  <a:pt x="3" y="123"/>
                  <a:pt x="3" y="123"/>
                </a:cubicBezTo>
                <a:close/>
                <a:moveTo>
                  <a:pt x="2" y="124"/>
                </a:moveTo>
                <a:cubicBezTo>
                  <a:pt x="1" y="123"/>
                  <a:pt x="1" y="123"/>
                  <a:pt x="1" y="123"/>
                </a:cubicBezTo>
                <a:cubicBezTo>
                  <a:pt x="2" y="123"/>
                  <a:pt x="2" y="123"/>
                  <a:pt x="2" y="123"/>
                </a:cubicBezTo>
                <a:cubicBezTo>
                  <a:pt x="2" y="124"/>
                  <a:pt x="2" y="124"/>
                  <a:pt x="2" y="124"/>
                </a:cubicBezTo>
                <a:close/>
                <a:moveTo>
                  <a:pt x="1" y="117"/>
                </a:moveTo>
                <a:cubicBezTo>
                  <a:pt x="0" y="118"/>
                  <a:pt x="0" y="118"/>
                  <a:pt x="0" y="118"/>
                </a:cubicBezTo>
                <a:cubicBezTo>
                  <a:pt x="0" y="118"/>
                  <a:pt x="0" y="118"/>
                  <a:pt x="0" y="118"/>
                </a:cubicBezTo>
                <a:cubicBezTo>
                  <a:pt x="1" y="117"/>
                  <a:pt x="1" y="117"/>
                  <a:pt x="1" y="117"/>
                </a:cubicBezTo>
                <a:cubicBezTo>
                  <a:pt x="1" y="117"/>
                  <a:pt x="1" y="117"/>
                  <a:pt x="1" y="117"/>
                </a:cubicBezTo>
                <a:close/>
                <a:moveTo>
                  <a:pt x="0" y="108"/>
                </a:moveTo>
                <a:cubicBezTo>
                  <a:pt x="2" y="109"/>
                  <a:pt x="2" y="109"/>
                  <a:pt x="2" y="109"/>
                </a:cubicBezTo>
                <a:cubicBezTo>
                  <a:pt x="1" y="109"/>
                  <a:pt x="1" y="109"/>
                  <a:pt x="1" y="109"/>
                </a:cubicBezTo>
                <a:cubicBezTo>
                  <a:pt x="0" y="108"/>
                  <a:pt x="0" y="108"/>
                  <a:pt x="0" y="108"/>
                </a:cubicBezTo>
                <a:close/>
                <a:moveTo>
                  <a:pt x="1" y="106"/>
                </a:moveTo>
                <a:cubicBezTo>
                  <a:pt x="2" y="107"/>
                  <a:pt x="2" y="107"/>
                  <a:pt x="2" y="107"/>
                </a:cubicBezTo>
                <a:cubicBezTo>
                  <a:pt x="1" y="107"/>
                  <a:pt x="1" y="107"/>
                  <a:pt x="1" y="107"/>
                </a:cubicBezTo>
                <a:cubicBezTo>
                  <a:pt x="1" y="106"/>
                  <a:pt x="1" y="106"/>
                  <a:pt x="1" y="106"/>
                </a:cubicBezTo>
                <a:close/>
                <a:moveTo>
                  <a:pt x="4" y="103"/>
                </a:moveTo>
                <a:cubicBezTo>
                  <a:pt x="5" y="104"/>
                  <a:pt x="5" y="104"/>
                  <a:pt x="5" y="104"/>
                </a:cubicBezTo>
                <a:cubicBezTo>
                  <a:pt x="3" y="104"/>
                  <a:pt x="3" y="104"/>
                  <a:pt x="3" y="104"/>
                </a:cubicBezTo>
                <a:cubicBezTo>
                  <a:pt x="4" y="103"/>
                  <a:pt x="4" y="103"/>
                  <a:pt x="4" y="103"/>
                </a:cubicBezTo>
                <a:close/>
                <a:moveTo>
                  <a:pt x="5" y="103"/>
                </a:moveTo>
                <a:cubicBezTo>
                  <a:pt x="6" y="103"/>
                  <a:pt x="6" y="103"/>
                  <a:pt x="6" y="103"/>
                </a:cubicBezTo>
                <a:cubicBezTo>
                  <a:pt x="7" y="104"/>
                  <a:pt x="7" y="104"/>
                  <a:pt x="7" y="104"/>
                </a:cubicBezTo>
                <a:cubicBezTo>
                  <a:pt x="5" y="104"/>
                  <a:pt x="5" y="104"/>
                  <a:pt x="5" y="104"/>
                </a:cubicBezTo>
                <a:cubicBezTo>
                  <a:pt x="5" y="103"/>
                  <a:pt x="5" y="103"/>
                  <a:pt x="5" y="103"/>
                </a:cubicBezTo>
                <a:close/>
                <a:moveTo>
                  <a:pt x="16" y="95"/>
                </a:moveTo>
                <a:cubicBezTo>
                  <a:pt x="16" y="95"/>
                  <a:pt x="18" y="94"/>
                  <a:pt x="18" y="94"/>
                </a:cubicBezTo>
                <a:cubicBezTo>
                  <a:pt x="18" y="95"/>
                  <a:pt x="18" y="95"/>
                  <a:pt x="18" y="95"/>
                </a:cubicBezTo>
                <a:cubicBezTo>
                  <a:pt x="17" y="95"/>
                  <a:pt x="17" y="95"/>
                  <a:pt x="17" y="95"/>
                </a:cubicBezTo>
                <a:cubicBezTo>
                  <a:pt x="16" y="95"/>
                  <a:pt x="16" y="95"/>
                  <a:pt x="16" y="95"/>
                </a:cubicBezTo>
                <a:close/>
                <a:moveTo>
                  <a:pt x="17" y="93"/>
                </a:moveTo>
                <a:cubicBezTo>
                  <a:pt x="17" y="93"/>
                  <a:pt x="16" y="93"/>
                  <a:pt x="16" y="93"/>
                </a:cubicBezTo>
                <a:cubicBezTo>
                  <a:pt x="15" y="92"/>
                  <a:pt x="15" y="92"/>
                  <a:pt x="15" y="92"/>
                </a:cubicBezTo>
                <a:cubicBezTo>
                  <a:pt x="16" y="92"/>
                  <a:pt x="16" y="92"/>
                  <a:pt x="16" y="92"/>
                </a:cubicBezTo>
                <a:cubicBezTo>
                  <a:pt x="17" y="93"/>
                  <a:pt x="17" y="93"/>
                  <a:pt x="17" y="93"/>
                </a:cubicBezTo>
                <a:close/>
                <a:moveTo>
                  <a:pt x="18" y="90"/>
                </a:moveTo>
                <a:cubicBezTo>
                  <a:pt x="20" y="88"/>
                  <a:pt x="20" y="88"/>
                  <a:pt x="20" y="88"/>
                </a:cubicBezTo>
                <a:cubicBezTo>
                  <a:pt x="21" y="89"/>
                  <a:pt x="21" y="89"/>
                  <a:pt x="21" y="89"/>
                </a:cubicBezTo>
                <a:cubicBezTo>
                  <a:pt x="20" y="90"/>
                  <a:pt x="20" y="90"/>
                  <a:pt x="20" y="90"/>
                </a:cubicBezTo>
                <a:cubicBezTo>
                  <a:pt x="18" y="90"/>
                  <a:pt x="18" y="90"/>
                  <a:pt x="18" y="90"/>
                </a:cubicBezTo>
                <a:close/>
                <a:moveTo>
                  <a:pt x="18" y="92"/>
                </a:moveTo>
                <a:cubicBezTo>
                  <a:pt x="19" y="91"/>
                  <a:pt x="19" y="91"/>
                  <a:pt x="19" y="91"/>
                </a:cubicBezTo>
                <a:cubicBezTo>
                  <a:pt x="20" y="91"/>
                  <a:pt x="20" y="91"/>
                  <a:pt x="20" y="91"/>
                </a:cubicBezTo>
                <a:cubicBezTo>
                  <a:pt x="21" y="90"/>
                  <a:pt x="21" y="90"/>
                  <a:pt x="21" y="90"/>
                </a:cubicBezTo>
                <a:cubicBezTo>
                  <a:pt x="22" y="90"/>
                  <a:pt x="22" y="90"/>
                  <a:pt x="22" y="90"/>
                </a:cubicBezTo>
                <a:cubicBezTo>
                  <a:pt x="22" y="91"/>
                  <a:pt x="22" y="91"/>
                  <a:pt x="22" y="91"/>
                </a:cubicBezTo>
                <a:cubicBezTo>
                  <a:pt x="21" y="92"/>
                  <a:pt x="21" y="92"/>
                  <a:pt x="21" y="92"/>
                </a:cubicBezTo>
                <a:cubicBezTo>
                  <a:pt x="20" y="92"/>
                  <a:pt x="20" y="92"/>
                  <a:pt x="20" y="92"/>
                </a:cubicBezTo>
                <a:cubicBezTo>
                  <a:pt x="19" y="92"/>
                  <a:pt x="19" y="92"/>
                  <a:pt x="19" y="92"/>
                </a:cubicBezTo>
                <a:cubicBezTo>
                  <a:pt x="18" y="92"/>
                  <a:pt x="18" y="92"/>
                  <a:pt x="18" y="92"/>
                </a:cubicBezTo>
                <a:close/>
                <a:moveTo>
                  <a:pt x="35" y="75"/>
                </a:moveTo>
                <a:cubicBezTo>
                  <a:pt x="35" y="74"/>
                  <a:pt x="35" y="74"/>
                  <a:pt x="35" y="74"/>
                </a:cubicBezTo>
                <a:cubicBezTo>
                  <a:pt x="37" y="73"/>
                  <a:pt x="37" y="73"/>
                  <a:pt x="37" y="73"/>
                </a:cubicBezTo>
                <a:cubicBezTo>
                  <a:pt x="35" y="75"/>
                  <a:pt x="35" y="75"/>
                  <a:pt x="35" y="75"/>
                </a:cubicBezTo>
                <a:cubicBezTo>
                  <a:pt x="35" y="75"/>
                  <a:pt x="35" y="75"/>
                  <a:pt x="35" y="75"/>
                </a:cubicBezTo>
                <a:close/>
                <a:moveTo>
                  <a:pt x="33" y="78"/>
                </a:moveTo>
                <a:cubicBezTo>
                  <a:pt x="33" y="77"/>
                  <a:pt x="33" y="77"/>
                  <a:pt x="33" y="77"/>
                </a:cubicBezTo>
                <a:cubicBezTo>
                  <a:pt x="32" y="77"/>
                  <a:pt x="32" y="77"/>
                  <a:pt x="32" y="77"/>
                </a:cubicBezTo>
                <a:cubicBezTo>
                  <a:pt x="33" y="76"/>
                  <a:pt x="33" y="76"/>
                  <a:pt x="33" y="76"/>
                </a:cubicBezTo>
                <a:cubicBezTo>
                  <a:pt x="34" y="76"/>
                  <a:pt x="34" y="76"/>
                  <a:pt x="34" y="76"/>
                </a:cubicBezTo>
                <a:cubicBezTo>
                  <a:pt x="35" y="75"/>
                  <a:pt x="35" y="75"/>
                  <a:pt x="35" y="75"/>
                </a:cubicBezTo>
                <a:cubicBezTo>
                  <a:pt x="34" y="77"/>
                  <a:pt x="34" y="77"/>
                  <a:pt x="34" y="77"/>
                </a:cubicBezTo>
                <a:cubicBezTo>
                  <a:pt x="33" y="78"/>
                  <a:pt x="33" y="78"/>
                  <a:pt x="33" y="78"/>
                </a:cubicBezTo>
                <a:close/>
                <a:moveTo>
                  <a:pt x="36" y="67"/>
                </a:moveTo>
                <a:cubicBezTo>
                  <a:pt x="37" y="67"/>
                  <a:pt x="37" y="67"/>
                  <a:pt x="37" y="67"/>
                </a:cubicBezTo>
                <a:cubicBezTo>
                  <a:pt x="37" y="68"/>
                  <a:pt x="37" y="68"/>
                  <a:pt x="37" y="68"/>
                </a:cubicBezTo>
                <a:cubicBezTo>
                  <a:pt x="36" y="69"/>
                  <a:pt x="36" y="69"/>
                  <a:pt x="36" y="69"/>
                </a:cubicBezTo>
                <a:cubicBezTo>
                  <a:pt x="36" y="68"/>
                  <a:pt x="36" y="68"/>
                  <a:pt x="36" y="68"/>
                </a:cubicBezTo>
                <a:cubicBezTo>
                  <a:pt x="36" y="67"/>
                  <a:pt x="36" y="67"/>
                  <a:pt x="36" y="67"/>
                </a:cubicBezTo>
                <a:close/>
                <a:moveTo>
                  <a:pt x="39" y="65"/>
                </a:moveTo>
                <a:cubicBezTo>
                  <a:pt x="39" y="64"/>
                  <a:pt x="39" y="64"/>
                  <a:pt x="39" y="64"/>
                </a:cubicBezTo>
                <a:cubicBezTo>
                  <a:pt x="40" y="64"/>
                  <a:pt x="40" y="64"/>
                  <a:pt x="40" y="64"/>
                </a:cubicBezTo>
                <a:cubicBezTo>
                  <a:pt x="39" y="65"/>
                  <a:pt x="39" y="65"/>
                  <a:pt x="39" y="65"/>
                </a:cubicBezTo>
                <a:cubicBezTo>
                  <a:pt x="39" y="65"/>
                  <a:pt x="39" y="65"/>
                  <a:pt x="39" y="65"/>
                </a:cubicBezTo>
                <a:close/>
                <a:moveTo>
                  <a:pt x="38" y="62"/>
                </a:moveTo>
                <a:cubicBezTo>
                  <a:pt x="39" y="61"/>
                  <a:pt x="39" y="61"/>
                  <a:pt x="39" y="61"/>
                </a:cubicBezTo>
                <a:cubicBezTo>
                  <a:pt x="39" y="62"/>
                  <a:pt x="39" y="62"/>
                  <a:pt x="39" y="62"/>
                </a:cubicBezTo>
                <a:cubicBezTo>
                  <a:pt x="38" y="64"/>
                  <a:pt x="38" y="64"/>
                  <a:pt x="38" y="64"/>
                </a:cubicBezTo>
                <a:cubicBezTo>
                  <a:pt x="38" y="62"/>
                  <a:pt x="38" y="62"/>
                  <a:pt x="38" y="62"/>
                </a:cubicBezTo>
                <a:close/>
                <a:moveTo>
                  <a:pt x="46" y="51"/>
                </a:moveTo>
                <a:cubicBezTo>
                  <a:pt x="46" y="51"/>
                  <a:pt x="46" y="51"/>
                  <a:pt x="46" y="51"/>
                </a:cubicBezTo>
                <a:cubicBezTo>
                  <a:pt x="47" y="51"/>
                  <a:pt x="47" y="51"/>
                  <a:pt x="47" y="51"/>
                </a:cubicBezTo>
                <a:cubicBezTo>
                  <a:pt x="46" y="52"/>
                  <a:pt x="46" y="52"/>
                  <a:pt x="46" y="52"/>
                </a:cubicBezTo>
                <a:cubicBezTo>
                  <a:pt x="46" y="51"/>
                  <a:pt x="46" y="51"/>
                  <a:pt x="46" y="51"/>
                </a:cubicBezTo>
                <a:close/>
                <a:moveTo>
                  <a:pt x="38" y="45"/>
                </a:moveTo>
                <a:cubicBezTo>
                  <a:pt x="39" y="45"/>
                  <a:pt x="39" y="45"/>
                  <a:pt x="39" y="45"/>
                </a:cubicBezTo>
                <a:cubicBezTo>
                  <a:pt x="38" y="46"/>
                  <a:pt x="38" y="46"/>
                  <a:pt x="38" y="46"/>
                </a:cubicBezTo>
                <a:cubicBezTo>
                  <a:pt x="38" y="46"/>
                  <a:pt x="38" y="46"/>
                  <a:pt x="38" y="46"/>
                </a:cubicBezTo>
                <a:cubicBezTo>
                  <a:pt x="38" y="45"/>
                  <a:pt x="38" y="45"/>
                  <a:pt x="38" y="45"/>
                </a:cubicBezTo>
                <a:close/>
                <a:moveTo>
                  <a:pt x="40" y="42"/>
                </a:moveTo>
                <a:cubicBezTo>
                  <a:pt x="39" y="43"/>
                  <a:pt x="39" y="43"/>
                  <a:pt x="39" y="43"/>
                </a:cubicBezTo>
                <a:cubicBezTo>
                  <a:pt x="39" y="42"/>
                  <a:pt x="39" y="42"/>
                  <a:pt x="39" y="42"/>
                </a:cubicBezTo>
                <a:cubicBezTo>
                  <a:pt x="40" y="40"/>
                  <a:pt x="40" y="40"/>
                  <a:pt x="40" y="40"/>
                </a:cubicBezTo>
                <a:cubicBezTo>
                  <a:pt x="40" y="42"/>
                  <a:pt x="40" y="42"/>
                  <a:pt x="40" y="42"/>
                </a:cubicBezTo>
                <a:close/>
                <a:moveTo>
                  <a:pt x="41" y="41"/>
                </a:moveTo>
                <a:cubicBezTo>
                  <a:pt x="41" y="40"/>
                  <a:pt x="41" y="40"/>
                  <a:pt x="41" y="40"/>
                </a:cubicBezTo>
                <a:cubicBezTo>
                  <a:pt x="41" y="39"/>
                  <a:pt x="41" y="39"/>
                  <a:pt x="41" y="39"/>
                </a:cubicBezTo>
                <a:cubicBezTo>
                  <a:pt x="42" y="40"/>
                  <a:pt x="42" y="40"/>
                  <a:pt x="42" y="40"/>
                </a:cubicBezTo>
                <a:cubicBezTo>
                  <a:pt x="41" y="41"/>
                  <a:pt x="41" y="41"/>
                  <a:pt x="41" y="41"/>
                </a:cubicBezTo>
                <a:close/>
                <a:moveTo>
                  <a:pt x="45" y="38"/>
                </a:moveTo>
                <a:cubicBezTo>
                  <a:pt x="45" y="39"/>
                  <a:pt x="45" y="39"/>
                  <a:pt x="45" y="39"/>
                </a:cubicBezTo>
                <a:cubicBezTo>
                  <a:pt x="42" y="41"/>
                  <a:pt x="42" y="41"/>
                  <a:pt x="42" y="41"/>
                </a:cubicBezTo>
                <a:cubicBezTo>
                  <a:pt x="43" y="38"/>
                  <a:pt x="43" y="38"/>
                  <a:pt x="43" y="38"/>
                </a:cubicBezTo>
                <a:cubicBezTo>
                  <a:pt x="45" y="38"/>
                  <a:pt x="45" y="38"/>
                  <a:pt x="45" y="38"/>
                </a:cubicBezTo>
                <a:close/>
                <a:moveTo>
                  <a:pt x="47" y="35"/>
                </a:moveTo>
                <a:cubicBezTo>
                  <a:pt x="48" y="34"/>
                  <a:pt x="48" y="34"/>
                  <a:pt x="48" y="34"/>
                </a:cubicBezTo>
                <a:cubicBezTo>
                  <a:pt x="49" y="35"/>
                  <a:pt x="49" y="35"/>
                  <a:pt x="49" y="35"/>
                </a:cubicBezTo>
                <a:cubicBezTo>
                  <a:pt x="47" y="35"/>
                  <a:pt x="47" y="35"/>
                  <a:pt x="47" y="35"/>
                </a:cubicBezTo>
                <a:close/>
                <a:moveTo>
                  <a:pt x="48" y="36"/>
                </a:moveTo>
                <a:cubicBezTo>
                  <a:pt x="48" y="38"/>
                  <a:pt x="48" y="38"/>
                  <a:pt x="48" y="38"/>
                </a:cubicBezTo>
                <a:cubicBezTo>
                  <a:pt x="47" y="37"/>
                  <a:pt x="47" y="37"/>
                  <a:pt x="47" y="37"/>
                </a:cubicBezTo>
                <a:cubicBezTo>
                  <a:pt x="45" y="38"/>
                  <a:pt x="45" y="38"/>
                  <a:pt x="45" y="38"/>
                </a:cubicBezTo>
                <a:cubicBezTo>
                  <a:pt x="46" y="37"/>
                  <a:pt x="46" y="37"/>
                  <a:pt x="46" y="37"/>
                </a:cubicBezTo>
                <a:cubicBezTo>
                  <a:pt x="48" y="36"/>
                  <a:pt x="48" y="36"/>
                  <a:pt x="48" y="36"/>
                </a:cubicBezTo>
                <a:close/>
                <a:moveTo>
                  <a:pt x="49" y="29"/>
                </a:moveTo>
                <a:cubicBezTo>
                  <a:pt x="50" y="31"/>
                  <a:pt x="50" y="31"/>
                  <a:pt x="50" y="31"/>
                </a:cubicBezTo>
                <a:cubicBezTo>
                  <a:pt x="50" y="33"/>
                  <a:pt x="50" y="33"/>
                  <a:pt x="50" y="33"/>
                </a:cubicBezTo>
                <a:cubicBezTo>
                  <a:pt x="48" y="34"/>
                  <a:pt x="48" y="34"/>
                  <a:pt x="48" y="34"/>
                </a:cubicBezTo>
                <a:cubicBezTo>
                  <a:pt x="47" y="33"/>
                  <a:pt x="47" y="33"/>
                  <a:pt x="47" y="33"/>
                </a:cubicBezTo>
                <a:cubicBezTo>
                  <a:pt x="49" y="32"/>
                  <a:pt x="49" y="32"/>
                  <a:pt x="49" y="32"/>
                </a:cubicBezTo>
                <a:cubicBezTo>
                  <a:pt x="48" y="32"/>
                  <a:pt x="48" y="32"/>
                  <a:pt x="48" y="32"/>
                </a:cubicBezTo>
                <a:cubicBezTo>
                  <a:pt x="46" y="33"/>
                  <a:pt x="46" y="33"/>
                  <a:pt x="46" y="33"/>
                </a:cubicBezTo>
                <a:cubicBezTo>
                  <a:pt x="46" y="32"/>
                  <a:pt x="46" y="32"/>
                  <a:pt x="46" y="32"/>
                </a:cubicBezTo>
                <a:cubicBezTo>
                  <a:pt x="46" y="31"/>
                  <a:pt x="46" y="31"/>
                  <a:pt x="46" y="31"/>
                </a:cubicBezTo>
                <a:cubicBezTo>
                  <a:pt x="48" y="31"/>
                  <a:pt x="48" y="31"/>
                  <a:pt x="48" y="31"/>
                </a:cubicBezTo>
                <a:cubicBezTo>
                  <a:pt x="49" y="30"/>
                  <a:pt x="49" y="30"/>
                  <a:pt x="49" y="30"/>
                </a:cubicBezTo>
                <a:cubicBezTo>
                  <a:pt x="48" y="30"/>
                  <a:pt x="48" y="30"/>
                  <a:pt x="48" y="30"/>
                </a:cubicBezTo>
                <a:cubicBezTo>
                  <a:pt x="49" y="29"/>
                  <a:pt x="49" y="29"/>
                  <a:pt x="49" y="29"/>
                </a:cubicBezTo>
                <a:close/>
                <a:moveTo>
                  <a:pt x="51" y="30"/>
                </a:moveTo>
                <a:cubicBezTo>
                  <a:pt x="50" y="30"/>
                  <a:pt x="50" y="30"/>
                  <a:pt x="50" y="30"/>
                </a:cubicBezTo>
                <a:cubicBezTo>
                  <a:pt x="50" y="28"/>
                  <a:pt x="50" y="28"/>
                  <a:pt x="50" y="28"/>
                </a:cubicBezTo>
                <a:cubicBezTo>
                  <a:pt x="52" y="27"/>
                  <a:pt x="52" y="27"/>
                  <a:pt x="52" y="27"/>
                </a:cubicBezTo>
                <a:cubicBezTo>
                  <a:pt x="52" y="25"/>
                  <a:pt x="52" y="25"/>
                  <a:pt x="52" y="25"/>
                </a:cubicBezTo>
                <a:cubicBezTo>
                  <a:pt x="53" y="25"/>
                  <a:pt x="53" y="25"/>
                  <a:pt x="53" y="25"/>
                </a:cubicBezTo>
                <a:cubicBezTo>
                  <a:pt x="54" y="26"/>
                  <a:pt x="54" y="26"/>
                  <a:pt x="54" y="26"/>
                </a:cubicBezTo>
                <a:cubicBezTo>
                  <a:pt x="52" y="27"/>
                  <a:pt x="52" y="27"/>
                  <a:pt x="52" y="27"/>
                </a:cubicBezTo>
                <a:cubicBezTo>
                  <a:pt x="52" y="28"/>
                  <a:pt x="52" y="28"/>
                  <a:pt x="52" y="28"/>
                </a:cubicBezTo>
                <a:cubicBezTo>
                  <a:pt x="51" y="30"/>
                  <a:pt x="51" y="30"/>
                  <a:pt x="51" y="30"/>
                </a:cubicBezTo>
                <a:close/>
                <a:moveTo>
                  <a:pt x="55" y="31"/>
                </a:moveTo>
                <a:cubicBezTo>
                  <a:pt x="56" y="32"/>
                  <a:pt x="56" y="32"/>
                  <a:pt x="56" y="32"/>
                </a:cubicBezTo>
                <a:cubicBezTo>
                  <a:pt x="54" y="35"/>
                  <a:pt x="54" y="35"/>
                  <a:pt x="54" y="35"/>
                </a:cubicBezTo>
                <a:cubicBezTo>
                  <a:pt x="53" y="36"/>
                  <a:pt x="53" y="36"/>
                  <a:pt x="53" y="36"/>
                </a:cubicBezTo>
                <a:cubicBezTo>
                  <a:pt x="52" y="37"/>
                  <a:pt x="52" y="37"/>
                  <a:pt x="52" y="37"/>
                </a:cubicBezTo>
                <a:cubicBezTo>
                  <a:pt x="51" y="36"/>
                  <a:pt x="51" y="36"/>
                  <a:pt x="51" y="36"/>
                </a:cubicBezTo>
                <a:cubicBezTo>
                  <a:pt x="51" y="35"/>
                  <a:pt x="51" y="35"/>
                  <a:pt x="51" y="35"/>
                </a:cubicBezTo>
                <a:cubicBezTo>
                  <a:pt x="50" y="37"/>
                  <a:pt x="50" y="37"/>
                  <a:pt x="50" y="37"/>
                </a:cubicBezTo>
                <a:cubicBezTo>
                  <a:pt x="49" y="37"/>
                  <a:pt x="49" y="37"/>
                  <a:pt x="49" y="37"/>
                </a:cubicBezTo>
                <a:cubicBezTo>
                  <a:pt x="50" y="35"/>
                  <a:pt x="50" y="35"/>
                  <a:pt x="50" y="35"/>
                </a:cubicBezTo>
                <a:cubicBezTo>
                  <a:pt x="50" y="35"/>
                  <a:pt x="50" y="35"/>
                  <a:pt x="50" y="35"/>
                </a:cubicBezTo>
                <a:cubicBezTo>
                  <a:pt x="50" y="34"/>
                  <a:pt x="50" y="34"/>
                  <a:pt x="50" y="34"/>
                </a:cubicBezTo>
                <a:cubicBezTo>
                  <a:pt x="51" y="33"/>
                  <a:pt x="51" y="33"/>
                  <a:pt x="51" y="33"/>
                </a:cubicBezTo>
                <a:cubicBezTo>
                  <a:pt x="51" y="32"/>
                  <a:pt x="51" y="32"/>
                  <a:pt x="51" y="32"/>
                </a:cubicBezTo>
                <a:cubicBezTo>
                  <a:pt x="52" y="29"/>
                  <a:pt x="52" y="29"/>
                  <a:pt x="52" y="29"/>
                </a:cubicBezTo>
                <a:cubicBezTo>
                  <a:pt x="52" y="33"/>
                  <a:pt x="52" y="33"/>
                  <a:pt x="52" y="33"/>
                </a:cubicBezTo>
                <a:cubicBezTo>
                  <a:pt x="52" y="34"/>
                  <a:pt x="52" y="34"/>
                  <a:pt x="52" y="34"/>
                </a:cubicBezTo>
                <a:cubicBezTo>
                  <a:pt x="53" y="32"/>
                  <a:pt x="53" y="32"/>
                  <a:pt x="53" y="32"/>
                </a:cubicBezTo>
                <a:cubicBezTo>
                  <a:pt x="55" y="32"/>
                  <a:pt x="55" y="32"/>
                  <a:pt x="55" y="32"/>
                </a:cubicBezTo>
                <a:cubicBezTo>
                  <a:pt x="54" y="31"/>
                  <a:pt x="54" y="31"/>
                  <a:pt x="54" y="31"/>
                </a:cubicBezTo>
                <a:cubicBezTo>
                  <a:pt x="54" y="30"/>
                  <a:pt x="54" y="30"/>
                  <a:pt x="54" y="30"/>
                </a:cubicBezTo>
                <a:cubicBezTo>
                  <a:pt x="55" y="31"/>
                  <a:pt x="55" y="31"/>
                  <a:pt x="55" y="31"/>
                </a:cubicBezTo>
                <a:close/>
                <a:moveTo>
                  <a:pt x="55" y="29"/>
                </a:moveTo>
                <a:cubicBezTo>
                  <a:pt x="54" y="29"/>
                  <a:pt x="54" y="29"/>
                  <a:pt x="54" y="29"/>
                </a:cubicBezTo>
                <a:cubicBezTo>
                  <a:pt x="55" y="29"/>
                  <a:pt x="55" y="29"/>
                  <a:pt x="55" y="29"/>
                </a:cubicBezTo>
                <a:cubicBezTo>
                  <a:pt x="56" y="29"/>
                  <a:pt x="56" y="29"/>
                  <a:pt x="56" y="29"/>
                </a:cubicBezTo>
                <a:cubicBezTo>
                  <a:pt x="56" y="30"/>
                  <a:pt x="56" y="30"/>
                  <a:pt x="56" y="30"/>
                </a:cubicBezTo>
                <a:cubicBezTo>
                  <a:pt x="55" y="29"/>
                  <a:pt x="55" y="29"/>
                  <a:pt x="55" y="29"/>
                </a:cubicBezTo>
                <a:close/>
                <a:moveTo>
                  <a:pt x="58" y="31"/>
                </a:moveTo>
                <a:cubicBezTo>
                  <a:pt x="58" y="30"/>
                  <a:pt x="58" y="30"/>
                  <a:pt x="58" y="30"/>
                </a:cubicBezTo>
                <a:cubicBezTo>
                  <a:pt x="59" y="31"/>
                  <a:pt x="59" y="31"/>
                  <a:pt x="59" y="31"/>
                </a:cubicBezTo>
                <a:cubicBezTo>
                  <a:pt x="58" y="31"/>
                  <a:pt x="58" y="31"/>
                  <a:pt x="58" y="31"/>
                </a:cubicBezTo>
                <a:close/>
                <a:moveTo>
                  <a:pt x="62" y="25"/>
                </a:moveTo>
                <a:cubicBezTo>
                  <a:pt x="62" y="25"/>
                  <a:pt x="62" y="25"/>
                  <a:pt x="62" y="25"/>
                </a:cubicBezTo>
                <a:cubicBezTo>
                  <a:pt x="62" y="26"/>
                  <a:pt x="62" y="26"/>
                  <a:pt x="62" y="26"/>
                </a:cubicBezTo>
                <a:cubicBezTo>
                  <a:pt x="61" y="27"/>
                  <a:pt x="61" y="27"/>
                  <a:pt x="61" y="27"/>
                </a:cubicBezTo>
                <a:cubicBezTo>
                  <a:pt x="61" y="27"/>
                  <a:pt x="61" y="27"/>
                  <a:pt x="61" y="27"/>
                </a:cubicBezTo>
                <a:cubicBezTo>
                  <a:pt x="59" y="27"/>
                  <a:pt x="59" y="27"/>
                  <a:pt x="59" y="27"/>
                </a:cubicBezTo>
                <a:cubicBezTo>
                  <a:pt x="59" y="29"/>
                  <a:pt x="59" y="29"/>
                  <a:pt x="59" y="29"/>
                </a:cubicBezTo>
                <a:cubicBezTo>
                  <a:pt x="58" y="29"/>
                  <a:pt x="58" y="29"/>
                  <a:pt x="58" y="29"/>
                </a:cubicBezTo>
                <a:cubicBezTo>
                  <a:pt x="58" y="28"/>
                  <a:pt x="58" y="28"/>
                  <a:pt x="58" y="28"/>
                </a:cubicBezTo>
                <a:cubicBezTo>
                  <a:pt x="57" y="27"/>
                  <a:pt x="57" y="27"/>
                  <a:pt x="57" y="27"/>
                </a:cubicBezTo>
                <a:cubicBezTo>
                  <a:pt x="58" y="26"/>
                  <a:pt x="58" y="26"/>
                  <a:pt x="58" y="26"/>
                </a:cubicBezTo>
                <a:cubicBezTo>
                  <a:pt x="57" y="26"/>
                  <a:pt x="57" y="26"/>
                  <a:pt x="57" y="26"/>
                </a:cubicBezTo>
                <a:cubicBezTo>
                  <a:pt x="57" y="25"/>
                  <a:pt x="57" y="25"/>
                  <a:pt x="57" y="25"/>
                </a:cubicBezTo>
                <a:cubicBezTo>
                  <a:pt x="59" y="24"/>
                  <a:pt x="59" y="24"/>
                  <a:pt x="59" y="24"/>
                </a:cubicBezTo>
                <a:cubicBezTo>
                  <a:pt x="58" y="24"/>
                  <a:pt x="58" y="24"/>
                  <a:pt x="58" y="24"/>
                </a:cubicBezTo>
                <a:cubicBezTo>
                  <a:pt x="58" y="22"/>
                  <a:pt x="58" y="22"/>
                  <a:pt x="58" y="22"/>
                </a:cubicBezTo>
                <a:cubicBezTo>
                  <a:pt x="59" y="23"/>
                  <a:pt x="59" y="23"/>
                  <a:pt x="59" y="23"/>
                </a:cubicBezTo>
                <a:cubicBezTo>
                  <a:pt x="59" y="22"/>
                  <a:pt x="59" y="22"/>
                  <a:pt x="59" y="22"/>
                </a:cubicBezTo>
                <a:cubicBezTo>
                  <a:pt x="61" y="22"/>
                  <a:pt x="61" y="22"/>
                  <a:pt x="61" y="22"/>
                </a:cubicBezTo>
                <a:cubicBezTo>
                  <a:pt x="61" y="23"/>
                  <a:pt x="61" y="23"/>
                  <a:pt x="61" y="23"/>
                </a:cubicBezTo>
                <a:cubicBezTo>
                  <a:pt x="62" y="23"/>
                  <a:pt x="62" y="23"/>
                  <a:pt x="62" y="23"/>
                </a:cubicBezTo>
                <a:cubicBezTo>
                  <a:pt x="62" y="25"/>
                  <a:pt x="62" y="25"/>
                  <a:pt x="62" y="25"/>
                </a:cubicBezTo>
                <a:close/>
                <a:moveTo>
                  <a:pt x="62" y="21"/>
                </a:moveTo>
                <a:cubicBezTo>
                  <a:pt x="64" y="21"/>
                  <a:pt x="64" y="21"/>
                  <a:pt x="64" y="21"/>
                </a:cubicBezTo>
                <a:cubicBezTo>
                  <a:pt x="64" y="20"/>
                  <a:pt x="64" y="20"/>
                  <a:pt x="64" y="20"/>
                </a:cubicBezTo>
                <a:cubicBezTo>
                  <a:pt x="66" y="20"/>
                  <a:pt x="66" y="20"/>
                  <a:pt x="66" y="20"/>
                </a:cubicBezTo>
                <a:cubicBezTo>
                  <a:pt x="66" y="19"/>
                  <a:pt x="66" y="19"/>
                  <a:pt x="66" y="19"/>
                </a:cubicBezTo>
                <a:cubicBezTo>
                  <a:pt x="67" y="20"/>
                  <a:pt x="67" y="20"/>
                  <a:pt x="67" y="20"/>
                </a:cubicBezTo>
                <a:cubicBezTo>
                  <a:pt x="66" y="21"/>
                  <a:pt x="66" y="21"/>
                  <a:pt x="66" y="21"/>
                </a:cubicBezTo>
                <a:cubicBezTo>
                  <a:pt x="66" y="22"/>
                  <a:pt x="66" y="22"/>
                  <a:pt x="66" y="22"/>
                </a:cubicBezTo>
                <a:cubicBezTo>
                  <a:pt x="65" y="22"/>
                  <a:pt x="65" y="22"/>
                  <a:pt x="65" y="22"/>
                </a:cubicBezTo>
                <a:cubicBezTo>
                  <a:pt x="64" y="23"/>
                  <a:pt x="64" y="23"/>
                  <a:pt x="64" y="23"/>
                </a:cubicBezTo>
                <a:cubicBezTo>
                  <a:pt x="62" y="21"/>
                  <a:pt x="62" y="21"/>
                  <a:pt x="62" y="21"/>
                </a:cubicBezTo>
                <a:close/>
                <a:moveTo>
                  <a:pt x="67" y="14"/>
                </a:moveTo>
                <a:cubicBezTo>
                  <a:pt x="67" y="13"/>
                  <a:pt x="67" y="13"/>
                  <a:pt x="67" y="13"/>
                </a:cubicBezTo>
                <a:cubicBezTo>
                  <a:pt x="68" y="13"/>
                  <a:pt x="68" y="13"/>
                  <a:pt x="68" y="13"/>
                </a:cubicBezTo>
                <a:cubicBezTo>
                  <a:pt x="67" y="14"/>
                  <a:pt x="67" y="14"/>
                  <a:pt x="67" y="14"/>
                </a:cubicBezTo>
                <a:close/>
                <a:moveTo>
                  <a:pt x="65" y="16"/>
                </a:moveTo>
                <a:cubicBezTo>
                  <a:pt x="65" y="15"/>
                  <a:pt x="65" y="15"/>
                  <a:pt x="65" y="15"/>
                </a:cubicBezTo>
                <a:cubicBezTo>
                  <a:pt x="67" y="14"/>
                  <a:pt x="67" y="14"/>
                  <a:pt x="67" y="14"/>
                </a:cubicBezTo>
                <a:cubicBezTo>
                  <a:pt x="67" y="15"/>
                  <a:pt x="67" y="15"/>
                  <a:pt x="67" y="15"/>
                </a:cubicBezTo>
                <a:cubicBezTo>
                  <a:pt x="67" y="15"/>
                  <a:pt x="65" y="16"/>
                  <a:pt x="65" y="16"/>
                </a:cubicBezTo>
                <a:close/>
                <a:moveTo>
                  <a:pt x="69" y="19"/>
                </a:moveTo>
                <a:cubicBezTo>
                  <a:pt x="70" y="17"/>
                  <a:pt x="70" y="17"/>
                  <a:pt x="70" y="17"/>
                </a:cubicBezTo>
                <a:cubicBezTo>
                  <a:pt x="70" y="18"/>
                  <a:pt x="70" y="18"/>
                  <a:pt x="70" y="18"/>
                </a:cubicBezTo>
                <a:cubicBezTo>
                  <a:pt x="69" y="19"/>
                  <a:pt x="69" y="19"/>
                  <a:pt x="69" y="19"/>
                </a:cubicBezTo>
                <a:close/>
                <a:moveTo>
                  <a:pt x="69" y="18"/>
                </a:moveTo>
                <a:cubicBezTo>
                  <a:pt x="68" y="19"/>
                  <a:pt x="68" y="19"/>
                  <a:pt x="68" y="19"/>
                </a:cubicBezTo>
                <a:cubicBezTo>
                  <a:pt x="67" y="19"/>
                  <a:pt x="67" y="19"/>
                  <a:pt x="67" y="19"/>
                </a:cubicBezTo>
                <a:cubicBezTo>
                  <a:pt x="66" y="17"/>
                  <a:pt x="66" y="17"/>
                  <a:pt x="66" y="17"/>
                </a:cubicBezTo>
                <a:cubicBezTo>
                  <a:pt x="68" y="16"/>
                  <a:pt x="68" y="16"/>
                  <a:pt x="68" y="16"/>
                </a:cubicBezTo>
                <a:cubicBezTo>
                  <a:pt x="68" y="16"/>
                  <a:pt x="68" y="16"/>
                  <a:pt x="68" y="16"/>
                </a:cubicBezTo>
                <a:cubicBezTo>
                  <a:pt x="69" y="16"/>
                  <a:pt x="69" y="16"/>
                  <a:pt x="69" y="16"/>
                </a:cubicBezTo>
                <a:cubicBezTo>
                  <a:pt x="70" y="16"/>
                  <a:pt x="70" y="16"/>
                  <a:pt x="70" y="16"/>
                </a:cubicBezTo>
                <a:cubicBezTo>
                  <a:pt x="69" y="17"/>
                  <a:pt x="69" y="17"/>
                  <a:pt x="69" y="17"/>
                </a:cubicBezTo>
                <a:cubicBezTo>
                  <a:pt x="69" y="18"/>
                  <a:pt x="69" y="18"/>
                  <a:pt x="69" y="18"/>
                </a:cubicBezTo>
                <a:close/>
                <a:moveTo>
                  <a:pt x="72" y="15"/>
                </a:moveTo>
                <a:cubicBezTo>
                  <a:pt x="71" y="16"/>
                  <a:pt x="71" y="16"/>
                  <a:pt x="71" y="16"/>
                </a:cubicBezTo>
                <a:cubicBezTo>
                  <a:pt x="70" y="15"/>
                  <a:pt x="70" y="15"/>
                  <a:pt x="70" y="15"/>
                </a:cubicBezTo>
                <a:cubicBezTo>
                  <a:pt x="70" y="14"/>
                  <a:pt x="70" y="14"/>
                  <a:pt x="70" y="14"/>
                </a:cubicBezTo>
                <a:cubicBezTo>
                  <a:pt x="69" y="12"/>
                  <a:pt x="69" y="12"/>
                  <a:pt x="69" y="12"/>
                </a:cubicBezTo>
                <a:cubicBezTo>
                  <a:pt x="70" y="12"/>
                  <a:pt x="70" y="12"/>
                  <a:pt x="70" y="12"/>
                </a:cubicBezTo>
                <a:cubicBezTo>
                  <a:pt x="70" y="14"/>
                  <a:pt x="70" y="14"/>
                  <a:pt x="70" y="14"/>
                </a:cubicBezTo>
                <a:cubicBezTo>
                  <a:pt x="72" y="15"/>
                  <a:pt x="72" y="15"/>
                  <a:pt x="72" y="15"/>
                </a:cubicBezTo>
                <a:cubicBezTo>
                  <a:pt x="72" y="15"/>
                  <a:pt x="72" y="15"/>
                  <a:pt x="72" y="15"/>
                </a:cubicBezTo>
                <a:close/>
                <a:moveTo>
                  <a:pt x="75" y="17"/>
                </a:moveTo>
                <a:cubicBezTo>
                  <a:pt x="75" y="16"/>
                  <a:pt x="75" y="16"/>
                  <a:pt x="75" y="16"/>
                </a:cubicBezTo>
                <a:cubicBezTo>
                  <a:pt x="74" y="16"/>
                  <a:pt x="74" y="16"/>
                  <a:pt x="74" y="16"/>
                </a:cubicBezTo>
                <a:cubicBezTo>
                  <a:pt x="74" y="14"/>
                  <a:pt x="74" y="14"/>
                  <a:pt x="74" y="14"/>
                </a:cubicBezTo>
                <a:cubicBezTo>
                  <a:pt x="74" y="13"/>
                  <a:pt x="74" y="13"/>
                  <a:pt x="74" y="13"/>
                </a:cubicBezTo>
                <a:cubicBezTo>
                  <a:pt x="76" y="14"/>
                  <a:pt x="76" y="14"/>
                  <a:pt x="76" y="14"/>
                </a:cubicBezTo>
                <a:cubicBezTo>
                  <a:pt x="75" y="15"/>
                  <a:pt x="75" y="15"/>
                  <a:pt x="75" y="15"/>
                </a:cubicBezTo>
                <a:cubicBezTo>
                  <a:pt x="76" y="16"/>
                  <a:pt x="76" y="16"/>
                  <a:pt x="76" y="16"/>
                </a:cubicBezTo>
                <a:cubicBezTo>
                  <a:pt x="75" y="17"/>
                  <a:pt x="75" y="17"/>
                  <a:pt x="75" y="17"/>
                </a:cubicBezTo>
                <a:close/>
                <a:moveTo>
                  <a:pt x="85" y="12"/>
                </a:moveTo>
                <a:cubicBezTo>
                  <a:pt x="84" y="12"/>
                  <a:pt x="84" y="12"/>
                  <a:pt x="84" y="12"/>
                </a:cubicBezTo>
                <a:cubicBezTo>
                  <a:pt x="82" y="11"/>
                  <a:pt x="82" y="11"/>
                  <a:pt x="82" y="11"/>
                </a:cubicBezTo>
                <a:cubicBezTo>
                  <a:pt x="83" y="11"/>
                  <a:pt x="83" y="11"/>
                  <a:pt x="83" y="11"/>
                </a:cubicBezTo>
                <a:cubicBezTo>
                  <a:pt x="85" y="11"/>
                  <a:pt x="85" y="11"/>
                  <a:pt x="85" y="11"/>
                </a:cubicBezTo>
                <a:cubicBezTo>
                  <a:pt x="85" y="11"/>
                  <a:pt x="85" y="11"/>
                  <a:pt x="85" y="11"/>
                </a:cubicBezTo>
                <a:cubicBezTo>
                  <a:pt x="85" y="12"/>
                  <a:pt x="85" y="12"/>
                  <a:pt x="85" y="12"/>
                </a:cubicBezTo>
                <a:close/>
                <a:moveTo>
                  <a:pt x="86" y="11"/>
                </a:moveTo>
                <a:cubicBezTo>
                  <a:pt x="85" y="10"/>
                  <a:pt x="85" y="10"/>
                  <a:pt x="85" y="10"/>
                </a:cubicBezTo>
                <a:cubicBezTo>
                  <a:pt x="87" y="8"/>
                  <a:pt x="87" y="8"/>
                  <a:pt x="87" y="8"/>
                </a:cubicBezTo>
                <a:cubicBezTo>
                  <a:pt x="88" y="9"/>
                  <a:pt x="88" y="9"/>
                  <a:pt x="88" y="9"/>
                </a:cubicBezTo>
                <a:cubicBezTo>
                  <a:pt x="87" y="10"/>
                  <a:pt x="87" y="10"/>
                  <a:pt x="87" y="10"/>
                </a:cubicBezTo>
                <a:cubicBezTo>
                  <a:pt x="86" y="11"/>
                  <a:pt x="86" y="11"/>
                  <a:pt x="86" y="11"/>
                </a:cubicBezTo>
                <a:close/>
                <a:moveTo>
                  <a:pt x="84" y="9"/>
                </a:moveTo>
                <a:cubicBezTo>
                  <a:pt x="83" y="9"/>
                  <a:pt x="83" y="9"/>
                  <a:pt x="83" y="9"/>
                </a:cubicBezTo>
                <a:cubicBezTo>
                  <a:pt x="81" y="9"/>
                  <a:pt x="81" y="9"/>
                  <a:pt x="81" y="9"/>
                </a:cubicBezTo>
                <a:cubicBezTo>
                  <a:pt x="80" y="7"/>
                  <a:pt x="80" y="7"/>
                  <a:pt x="80" y="7"/>
                </a:cubicBezTo>
                <a:cubicBezTo>
                  <a:pt x="82" y="8"/>
                  <a:pt x="82" y="8"/>
                  <a:pt x="82" y="8"/>
                </a:cubicBezTo>
                <a:cubicBezTo>
                  <a:pt x="83" y="7"/>
                  <a:pt x="83" y="7"/>
                  <a:pt x="83" y="7"/>
                </a:cubicBezTo>
                <a:cubicBezTo>
                  <a:pt x="83" y="8"/>
                  <a:pt x="83" y="8"/>
                  <a:pt x="83" y="8"/>
                </a:cubicBezTo>
                <a:cubicBezTo>
                  <a:pt x="84" y="6"/>
                  <a:pt x="84" y="6"/>
                  <a:pt x="84" y="6"/>
                </a:cubicBezTo>
                <a:cubicBezTo>
                  <a:pt x="85" y="7"/>
                  <a:pt x="85" y="7"/>
                  <a:pt x="85" y="7"/>
                </a:cubicBezTo>
                <a:cubicBezTo>
                  <a:pt x="87" y="5"/>
                  <a:pt x="87" y="5"/>
                  <a:pt x="87" y="5"/>
                </a:cubicBezTo>
                <a:cubicBezTo>
                  <a:pt x="87" y="6"/>
                  <a:pt x="87" y="6"/>
                  <a:pt x="87" y="6"/>
                </a:cubicBezTo>
                <a:cubicBezTo>
                  <a:pt x="84" y="9"/>
                  <a:pt x="84" y="9"/>
                  <a:pt x="84" y="9"/>
                </a:cubicBezTo>
                <a:close/>
                <a:moveTo>
                  <a:pt x="88" y="6"/>
                </a:moveTo>
                <a:cubicBezTo>
                  <a:pt x="88" y="6"/>
                  <a:pt x="89" y="6"/>
                  <a:pt x="89" y="6"/>
                </a:cubicBezTo>
                <a:cubicBezTo>
                  <a:pt x="91" y="7"/>
                  <a:pt x="91" y="7"/>
                  <a:pt x="91" y="7"/>
                </a:cubicBezTo>
                <a:cubicBezTo>
                  <a:pt x="90" y="8"/>
                  <a:pt x="90" y="8"/>
                  <a:pt x="90" y="8"/>
                </a:cubicBezTo>
                <a:cubicBezTo>
                  <a:pt x="89" y="9"/>
                  <a:pt x="89" y="9"/>
                  <a:pt x="89" y="9"/>
                </a:cubicBezTo>
                <a:cubicBezTo>
                  <a:pt x="89" y="7"/>
                  <a:pt x="89" y="7"/>
                  <a:pt x="89" y="7"/>
                </a:cubicBezTo>
                <a:cubicBezTo>
                  <a:pt x="88" y="6"/>
                  <a:pt x="88" y="6"/>
                  <a:pt x="88" y="6"/>
                </a:cubicBezTo>
                <a:close/>
                <a:moveTo>
                  <a:pt x="91" y="3"/>
                </a:moveTo>
                <a:cubicBezTo>
                  <a:pt x="91" y="4"/>
                  <a:pt x="91" y="4"/>
                  <a:pt x="91" y="4"/>
                </a:cubicBezTo>
                <a:cubicBezTo>
                  <a:pt x="90" y="4"/>
                  <a:pt x="90" y="4"/>
                  <a:pt x="90" y="4"/>
                </a:cubicBezTo>
                <a:cubicBezTo>
                  <a:pt x="89" y="3"/>
                  <a:pt x="89" y="3"/>
                  <a:pt x="89" y="3"/>
                </a:cubicBezTo>
                <a:cubicBezTo>
                  <a:pt x="90" y="3"/>
                  <a:pt x="90" y="3"/>
                  <a:pt x="90" y="3"/>
                </a:cubicBezTo>
                <a:cubicBezTo>
                  <a:pt x="91" y="3"/>
                  <a:pt x="91" y="3"/>
                  <a:pt x="91" y="3"/>
                </a:cubicBezTo>
                <a:close/>
                <a:moveTo>
                  <a:pt x="94" y="2"/>
                </a:moveTo>
                <a:cubicBezTo>
                  <a:pt x="93" y="1"/>
                  <a:pt x="93" y="1"/>
                  <a:pt x="93" y="1"/>
                </a:cubicBezTo>
                <a:cubicBezTo>
                  <a:pt x="93" y="1"/>
                  <a:pt x="93" y="1"/>
                  <a:pt x="93" y="1"/>
                </a:cubicBezTo>
                <a:cubicBezTo>
                  <a:pt x="94" y="1"/>
                  <a:pt x="94" y="1"/>
                  <a:pt x="94" y="1"/>
                </a:cubicBezTo>
                <a:cubicBezTo>
                  <a:pt x="94" y="2"/>
                  <a:pt x="94" y="2"/>
                  <a:pt x="94" y="2"/>
                </a:cubicBezTo>
                <a:close/>
                <a:moveTo>
                  <a:pt x="96" y="2"/>
                </a:moveTo>
                <a:cubicBezTo>
                  <a:pt x="96" y="2"/>
                  <a:pt x="96" y="2"/>
                  <a:pt x="96" y="2"/>
                </a:cubicBezTo>
                <a:cubicBezTo>
                  <a:pt x="96" y="1"/>
                  <a:pt x="96" y="1"/>
                  <a:pt x="96" y="1"/>
                </a:cubicBezTo>
                <a:cubicBezTo>
                  <a:pt x="97" y="1"/>
                  <a:pt x="97" y="1"/>
                  <a:pt x="97" y="1"/>
                </a:cubicBezTo>
                <a:cubicBezTo>
                  <a:pt x="97" y="1"/>
                  <a:pt x="97" y="1"/>
                  <a:pt x="97" y="1"/>
                </a:cubicBezTo>
                <a:cubicBezTo>
                  <a:pt x="98" y="0"/>
                  <a:pt x="98" y="0"/>
                  <a:pt x="98" y="0"/>
                </a:cubicBezTo>
                <a:cubicBezTo>
                  <a:pt x="98" y="0"/>
                  <a:pt x="98" y="0"/>
                  <a:pt x="98" y="0"/>
                </a:cubicBezTo>
                <a:cubicBezTo>
                  <a:pt x="99" y="1"/>
                  <a:pt x="99" y="1"/>
                  <a:pt x="99" y="1"/>
                </a:cubicBezTo>
                <a:cubicBezTo>
                  <a:pt x="99" y="2"/>
                  <a:pt x="99" y="2"/>
                  <a:pt x="99" y="2"/>
                </a:cubicBezTo>
                <a:cubicBezTo>
                  <a:pt x="100" y="2"/>
                  <a:pt x="100" y="2"/>
                  <a:pt x="100" y="2"/>
                </a:cubicBezTo>
                <a:cubicBezTo>
                  <a:pt x="99" y="3"/>
                  <a:pt x="99" y="3"/>
                  <a:pt x="99" y="3"/>
                </a:cubicBezTo>
                <a:cubicBezTo>
                  <a:pt x="98" y="3"/>
                  <a:pt x="98" y="3"/>
                  <a:pt x="98" y="3"/>
                </a:cubicBezTo>
                <a:cubicBezTo>
                  <a:pt x="97" y="2"/>
                  <a:pt x="97" y="2"/>
                  <a:pt x="97" y="2"/>
                </a:cubicBezTo>
                <a:lnTo>
                  <a:pt x="96" y="2"/>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6" name="Freeform 44">
            <a:extLst>
              <a:ext uri="{FF2B5EF4-FFF2-40B4-BE49-F238E27FC236}">
                <a16:creationId xmlns:a16="http://schemas.microsoft.com/office/drawing/2014/main" id="{89FD7F2F-CD13-1839-AFAF-B688873840D2}"/>
              </a:ext>
            </a:extLst>
          </p:cNvPr>
          <p:cNvSpPr>
            <a:spLocks noEditPoints="1"/>
          </p:cNvSpPr>
          <p:nvPr userDrawn="1"/>
        </p:nvSpPr>
        <p:spPr bwMode="auto">
          <a:xfrm>
            <a:off x="13743678" y="4091856"/>
            <a:ext cx="615910" cy="1400176"/>
          </a:xfrm>
          <a:custGeom>
            <a:avLst/>
            <a:gdLst>
              <a:gd name="T0" fmla="*/ 7 w 194"/>
              <a:gd name="T1" fmla="*/ 319 h 441"/>
              <a:gd name="T2" fmla="*/ 19 w 194"/>
              <a:gd name="T3" fmla="*/ 297 h 441"/>
              <a:gd name="T4" fmla="*/ 22 w 194"/>
              <a:gd name="T5" fmla="*/ 260 h 441"/>
              <a:gd name="T6" fmla="*/ 10 w 194"/>
              <a:gd name="T7" fmla="*/ 216 h 441"/>
              <a:gd name="T8" fmla="*/ 28 w 194"/>
              <a:gd name="T9" fmla="*/ 179 h 441"/>
              <a:gd name="T10" fmla="*/ 38 w 194"/>
              <a:gd name="T11" fmla="*/ 125 h 441"/>
              <a:gd name="T12" fmla="*/ 53 w 194"/>
              <a:gd name="T13" fmla="*/ 97 h 441"/>
              <a:gd name="T14" fmla="*/ 63 w 194"/>
              <a:gd name="T15" fmla="*/ 57 h 441"/>
              <a:gd name="T16" fmla="*/ 85 w 194"/>
              <a:gd name="T17" fmla="*/ 38 h 441"/>
              <a:gd name="T18" fmla="*/ 91 w 194"/>
              <a:gd name="T19" fmla="*/ 25 h 441"/>
              <a:gd name="T20" fmla="*/ 116 w 194"/>
              <a:gd name="T21" fmla="*/ 22 h 441"/>
              <a:gd name="T22" fmla="*/ 122 w 194"/>
              <a:gd name="T23" fmla="*/ 10 h 441"/>
              <a:gd name="T24" fmla="*/ 132 w 194"/>
              <a:gd name="T25" fmla="*/ 3 h 441"/>
              <a:gd name="T26" fmla="*/ 166 w 194"/>
              <a:gd name="T27" fmla="*/ 25 h 441"/>
              <a:gd name="T28" fmla="*/ 178 w 194"/>
              <a:gd name="T29" fmla="*/ 41 h 441"/>
              <a:gd name="T30" fmla="*/ 182 w 194"/>
              <a:gd name="T31" fmla="*/ 66 h 441"/>
              <a:gd name="T32" fmla="*/ 188 w 194"/>
              <a:gd name="T33" fmla="*/ 100 h 441"/>
              <a:gd name="T34" fmla="*/ 188 w 194"/>
              <a:gd name="T35" fmla="*/ 116 h 441"/>
              <a:gd name="T36" fmla="*/ 169 w 194"/>
              <a:gd name="T37" fmla="*/ 116 h 441"/>
              <a:gd name="T38" fmla="*/ 157 w 194"/>
              <a:gd name="T39" fmla="*/ 119 h 441"/>
              <a:gd name="T40" fmla="*/ 157 w 194"/>
              <a:gd name="T41" fmla="*/ 135 h 441"/>
              <a:gd name="T42" fmla="*/ 157 w 194"/>
              <a:gd name="T43" fmla="*/ 138 h 441"/>
              <a:gd name="T44" fmla="*/ 157 w 194"/>
              <a:gd name="T45" fmla="*/ 157 h 441"/>
              <a:gd name="T46" fmla="*/ 150 w 194"/>
              <a:gd name="T47" fmla="*/ 175 h 441"/>
              <a:gd name="T48" fmla="*/ 135 w 194"/>
              <a:gd name="T49" fmla="*/ 194 h 441"/>
              <a:gd name="T50" fmla="*/ 122 w 194"/>
              <a:gd name="T51" fmla="*/ 207 h 441"/>
              <a:gd name="T52" fmla="*/ 110 w 194"/>
              <a:gd name="T53" fmla="*/ 210 h 441"/>
              <a:gd name="T54" fmla="*/ 100 w 194"/>
              <a:gd name="T55" fmla="*/ 229 h 441"/>
              <a:gd name="T56" fmla="*/ 97 w 194"/>
              <a:gd name="T57" fmla="*/ 250 h 441"/>
              <a:gd name="T58" fmla="*/ 97 w 194"/>
              <a:gd name="T59" fmla="*/ 266 h 441"/>
              <a:gd name="T60" fmla="*/ 100 w 194"/>
              <a:gd name="T61" fmla="*/ 285 h 441"/>
              <a:gd name="T62" fmla="*/ 119 w 194"/>
              <a:gd name="T63" fmla="*/ 297 h 441"/>
              <a:gd name="T64" fmla="*/ 119 w 194"/>
              <a:gd name="T65" fmla="*/ 326 h 441"/>
              <a:gd name="T66" fmla="*/ 100 w 194"/>
              <a:gd name="T67" fmla="*/ 319 h 441"/>
              <a:gd name="T68" fmla="*/ 85 w 194"/>
              <a:gd name="T69" fmla="*/ 322 h 441"/>
              <a:gd name="T70" fmla="*/ 97 w 194"/>
              <a:gd name="T71" fmla="*/ 326 h 441"/>
              <a:gd name="T72" fmla="*/ 119 w 194"/>
              <a:gd name="T73" fmla="*/ 332 h 441"/>
              <a:gd name="T74" fmla="*/ 110 w 194"/>
              <a:gd name="T75" fmla="*/ 335 h 441"/>
              <a:gd name="T76" fmla="*/ 97 w 194"/>
              <a:gd name="T77" fmla="*/ 347 h 441"/>
              <a:gd name="T78" fmla="*/ 91 w 194"/>
              <a:gd name="T79" fmla="*/ 357 h 441"/>
              <a:gd name="T80" fmla="*/ 94 w 194"/>
              <a:gd name="T81" fmla="*/ 372 h 441"/>
              <a:gd name="T82" fmla="*/ 94 w 194"/>
              <a:gd name="T83" fmla="*/ 397 h 441"/>
              <a:gd name="T84" fmla="*/ 78 w 194"/>
              <a:gd name="T85" fmla="*/ 419 h 441"/>
              <a:gd name="T86" fmla="*/ 57 w 194"/>
              <a:gd name="T87" fmla="*/ 435 h 441"/>
              <a:gd name="T88" fmla="*/ 35 w 194"/>
              <a:gd name="T89" fmla="*/ 438 h 441"/>
              <a:gd name="T90" fmla="*/ 35 w 194"/>
              <a:gd name="T91" fmla="*/ 413 h 441"/>
              <a:gd name="T92" fmla="*/ 16 w 194"/>
              <a:gd name="T93" fmla="*/ 388 h 441"/>
              <a:gd name="T94" fmla="*/ 10 w 194"/>
              <a:gd name="T95" fmla="*/ 369 h 441"/>
              <a:gd name="T96" fmla="*/ 7 w 194"/>
              <a:gd name="T97" fmla="*/ 360 h 441"/>
              <a:gd name="T98" fmla="*/ 0 w 194"/>
              <a:gd name="T99" fmla="*/ 347 h 441"/>
              <a:gd name="T100" fmla="*/ 122 w 194"/>
              <a:gd name="T101" fmla="*/ 332 h 441"/>
              <a:gd name="T102" fmla="*/ 7 w 194"/>
              <a:gd name="T103" fmla="*/ 366 h 441"/>
              <a:gd name="T104" fmla="*/ 138 w 194"/>
              <a:gd name="T105" fmla="*/ 357 h 441"/>
              <a:gd name="T106" fmla="*/ 141 w 194"/>
              <a:gd name="T107" fmla="*/ 372 h 441"/>
              <a:gd name="T108" fmla="*/ 128 w 194"/>
              <a:gd name="T109" fmla="*/ 401 h 441"/>
              <a:gd name="T110" fmla="*/ 135 w 194"/>
              <a:gd name="T111" fmla="*/ 385 h 441"/>
              <a:gd name="T112" fmla="*/ 128 w 194"/>
              <a:gd name="T113" fmla="*/ 376 h 441"/>
              <a:gd name="T114" fmla="*/ 125 w 194"/>
              <a:gd name="T115" fmla="*/ 394 h 441"/>
              <a:gd name="T116" fmla="*/ 94 w 194"/>
              <a:gd name="T117" fmla="*/ 419 h 441"/>
              <a:gd name="T118" fmla="*/ 100 w 194"/>
              <a:gd name="T119" fmla="*/ 39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4" h="441">
                <a:moveTo>
                  <a:pt x="3" y="338"/>
                </a:moveTo>
                <a:lnTo>
                  <a:pt x="7" y="341"/>
                </a:lnTo>
                <a:lnTo>
                  <a:pt x="7" y="344"/>
                </a:lnTo>
                <a:lnTo>
                  <a:pt x="10" y="341"/>
                </a:lnTo>
                <a:lnTo>
                  <a:pt x="10" y="329"/>
                </a:lnTo>
                <a:lnTo>
                  <a:pt x="7" y="322"/>
                </a:lnTo>
                <a:lnTo>
                  <a:pt x="7" y="319"/>
                </a:lnTo>
                <a:lnTo>
                  <a:pt x="10" y="316"/>
                </a:lnTo>
                <a:lnTo>
                  <a:pt x="10" y="313"/>
                </a:lnTo>
                <a:lnTo>
                  <a:pt x="10" y="310"/>
                </a:lnTo>
                <a:lnTo>
                  <a:pt x="16" y="310"/>
                </a:lnTo>
                <a:lnTo>
                  <a:pt x="16" y="307"/>
                </a:lnTo>
                <a:lnTo>
                  <a:pt x="16" y="304"/>
                </a:lnTo>
                <a:lnTo>
                  <a:pt x="19" y="297"/>
                </a:lnTo>
                <a:lnTo>
                  <a:pt x="16" y="294"/>
                </a:lnTo>
                <a:lnTo>
                  <a:pt x="16" y="285"/>
                </a:lnTo>
                <a:lnTo>
                  <a:pt x="13" y="279"/>
                </a:lnTo>
                <a:lnTo>
                  <a:pt x="13" y="275"/>
                </a:lnTo>
                <a:lnTo>
                  <a:pt x="22" y="272"/>
                </a:lnTo>
                <a:lnTo>
                  <a:pt x="22" y="266"/>
                </a:lnTo>
                <a:lnTo>
                  <a:pt x="22" y="260"/>
                </a:lnTo>
                <a:lnTo>
                  <a:pt x="16" y="254"/>
                </a:lnTo>
                <a:lnTo>
                  <a:pt x="10" y="250"/>
                </a:lnTo>
                <a:lnTo>
                  <a:pt x="10" y="244"/>
                </a:lnTo>
                <a:lnTo>
                  <a:pt x="13" y="235"/>
                </a:lnTo>
                <a:lnTo>
                  <a:pt x="10" y="229"/>
                </a:lnTo>
                <a:lnTo>
                  <a:pt x="10" y="222"/>
                </a:lnTo>
                <a:lnTo>
                  <a:pt x="10" y="216"/>
                </a:lnTo>
                <a:lnTo>
                  <a:pt x="10" y="207"/>
                </a:lnTo>
                <a:lnTo>
                  <a:pt x="7" y="197"/>
                </a:lnTo>
                <a:lnTo>
                  <a:pt x="10" y="188"/>
                </a:lnTo>
                <a:lnTo>
                  <a:pt x="13" y="179"/>
                </a:lnTo>
                <a:lnTo>
                  <a:pt x="16" y="175"/>
                </a:lnTo>
                <a:lnTo>
                  <a:pt x="22" y="179"/>
                </a:lnTo>
                <a:lnTo>
                  <a:pt x="28" y="179"/>
                </a:lnTo>
                <a:lnTo>
                  <a:pt x="32" y="172"/>
                </a:lnTo>
                <a:lnTo>
                  <a:pt x="32" y="166"/>
                </a:lnTo>
                <a:lnTo>
                  <a:pt x="32" y="163"/>
                </a:lnTo>
                <a:lnTo>
                  <a:pt x="32" y="160"/>
                </a:lnTo>
                <a:lnTo>
                  <a:pt x="38" y="141"/>
                </a:lnTo>
                <a:lnTo>
                  <a:pt x="38" y="132"/>
                </a:lnTo>
                <a:lnTo>
                  <a:pt x="38" y="125"/>
                </a:lnTo>
                <a:lnTo>
                  <a:pt x="41" y="119"/>
                </a:lnTo>
                <a:lnTo>
                  <a:pt x="41" y="113"/>
                </a:lnTo>
                <a:lnTo>
                  <a:pt x="38" y="110"/>
                </a:lnTo>
                <a:lnTo>
                  <a:pt x="38" y="107"/>
                </a:lnTo>
                <a:lnTo>
                  <a:pt x="44" y="103"/>
                </a:lnTo>
                <a:lnTo>
                  <a:pt x="50" y="100"/>
                </a:lnTo>
                <a:lnTo>
                  <a:pt x="53" y="97"/>
                </a:lnTo>
                <a:lnTo>
                  <a:pt x="53" y="94"/>
                </a:lnTo>
                <a:lnTo>
                  <a:pt x="60" y="85"/>
                </a:lnTo>
                <a:lnTo>
                  <a:pt x="66" y="78"/>
                </a:lnTo>
                <a:lnTo>
                  <a:pt x="66" y="72"/>
                </a:lnTo>
                <a:lnTo>
                  <a:pt x="66" y="66"/>
                </a:lnTo>
                <a:lnTo>
                  <a:pt x="63" y="66"/>
                </a:lnTo>
                <a:lnTo>
                  <a:pt x="63" y="57"/>
                </a:lnTo>
                <a:lnTo>
                  <a:pt x="66" y="53"/>
                </a:lnTo>
                <a:lnTo>
                  <a:pt x="69" y="50"/>
                </a:lnTo>
                <a:lnTo>
                  <a:pt x="69" y="47"/>
                </a:lnTo>
                <a:lnTo>
                  <a:pt x="72" y="44"/>
                </a:lnTo>
                <a:lnTo>
                  <a:pt x="75" y="38"/>
                </a:lnTo>
                <a:lnTo>
                  <a:pt x="78" y="35"/>
                </a:lnTo>
                <a:lnTo>
                  <a:pt x="85" y="38"/>
                </a:lnTo>
                <a:lnTo>
                  <a:pt x="85" y="41"/>
                </a:lnTo>
                <a:lnTo>
                  <a:pt x="88" y="38"/>
                </a:lnTo>
                <a:lnTo>
                  <a:pt x="91" y="38"/>
                </a:lnTo>
                <a:lnTo>
                  <a:pt x="88" y="31"/>
                </a:lnTo>
                <a:lnTo>
                  <a:pt x="91" y="31"/>
                </a:lnTo>
                <a:lnTo>
                  <a:pt x="91" y="28"/>
                </a:lnTo>
                <a:lnTo>
                  <a:pt x="91" y="25"/>
                </a:lnTo>
                <a:lnTo>
                  <a:pt x="88" y="22"/>
                </a:lnTo>
                <a:lnTo>
                  <a:pt x="91" y="19"/>
                </a:lnTo>
                <a:lnTo>
                  <a:pt x="97" y="19"/>
                </a:lnTo>
                <a:lnTo>
                  <a:pt x="100" y="16"/>
                </a:lnTo>
                <a:lnTo>
                  <a:pt x="107" y="19"/>
                </a:lnTo>
                <a:lnTo>
                  <a:pt x="110" y="22"/>
                </a:lnTo>
                <a:lnTo>
                  <a:pt x="116" y="22"/>
                </a:lnTo>
                <a:lnTo>
                  <a:pt x="119" y="25"/>
                </a:lnTo>
                <a:lnTo>
                  <a:pt x="119" y="22"/>
                </a:lnTo>
                <a:lnTo>
                  <a:pt x="122" y="25"/>
                </a:lnTo>
                <a:lnTo>
                  <a:pt x="122" y="19"/>
                </a:lnTo>
                <a:lnTo>
                  <a:pt x="119" y="16"/>
                </a:lnTo>
                <a:lnTo>
                  <a:pt x="119" y="10"/>
                </a:lnTo>
                <a:lnTo>
                  <a:pt x="122" y="10"/>
                </a:lnTo>
                <a:lnTo>
                  <a:pt x="122" y="6"/>
                </a:lnTo>
                <a:lnTo>
                  <a:pt x="119" y="3"/>
                </a:lnTo>
                <a:lnTo>
                  <a:pt x="119" y="0"/>
                </a:lnTo>
                <a:lnTo>
                  <a:pt x="122" y="0"/>
                </a:lnTo>
                <a:lnTo>
                  <a:pt x="128" y="0"/>
                </a:lnTo>
                <a:lnTo>
                  <a:pt x="128" y="0"/>
                </a:lnTo>
                <a:lnTo>
                  <a:pt x="132" y="3"/>
                </a:lnTo>
                <a:lnTo>
                  <a:pt x="138" y="6"/>
                </a:lnTo>
                <a:lnTo>
                  <a:pt x="144" y="13"/>
                </a:lnTo>
                <a:lnTo>
                  <a:pt x="150" y="16"/>
                </a:lnTo>
                <a:lnTo>
                  <a:pt x="157" y="19"/>
                </a:lnTo>
                <a:lnTo>
                  <a:pt x="160" y="19"/>
                </a:lnTo>
                <a:lnTo>
                  <a:pt x="163" y="19"/>
                </a:lnTo>
                <a:lnTo>
                  <a:pt x="166" y="25"/>
                </a:lnTo>
                <a:lnTo>
                  <a:pt x="169" y="28"/>
                </a:lnTo>
                <a:lnTo>
                  <a:pt x="169" y="28"/>
                </a:lnTo>
                <a:lnTo>
                  <a:pt x="172" y="28"/>
                </a:lnTo>
                <a:lnTo>
                  <a:pt x="175" y="35"/>
                </a:lnTo>
                <a:lnTo>
                  <a:pt x="178" y="35"/>
                </a:lnTo>
                <a:lnTo>
                  <a:pt x="178" y="38"/>
                </a:lnTo>
                <a:lnTo>
                  <a:pt x="178" y="41"/>
                </a:lnTo>
                <a:lnTo>
                  <a:pt x="178" y="44"/>
                </a:lnTo>
                <a:lnTo>
                  <a:pt x="175" y="50"/>
                </a:lnTo>
                <a:lnTo>
                  <a:pt x="178" y="53"/>
                </a:lnTo>
                <a:lnTo>
                  <a:pt x="182" y="53"/>
                </a:lnTo>
                <a:lnTo>
                  <a:pt x="185" y="60"/>
                </a:lnTo>
                <a:lnTo>
                  <a:pt x="182" y="63"/>
                </a:lnTo>
                <a:lnTo>
                  <a:pt x="182" y="66"/>
                </a:lnTo>
                <a:lnTo>
                  <a:pt x="185" y="69"/>
                </a:lnTo>
                <a:lnTo>
                  <a:pt x="185" y="78"/>
                </a:lnTo>
                <a:lnTo>
                  <a:pt x="185" y="82"/>
                </a:lnTo>
                <a:lnTo>
                  <a:pt x="185" y="85"/>
                </a:lnTo>
                <a:lnTo>
                  <a:pt x="185" y="91"/>
                </a:lnTo>
                <a:lnTo>
                  <a:pt x="185" y="94"/>
                </a:lnTo>
                <a:lnTo>
                  <a:pt x="188" y="100"/>
                </a:lnTo>
                <a:lnTo>
                  <a:pt x="191" y="100"/>
                </a:lnTo>
                <a:lnTo>
                  <a:pt x="194" y="107"/>
                </a:lnTo>
                <a:lnTo>
                  <a:pt x="194" y="110"/>
                </a:lnTo>
                <a:lnTo>
                  <a:pt x="194" y="116"/>
                </a:lnTo>
                <a:lnTo>
                  <a:pt x="194" y="116"/>
                </a:lnTo>
                <a:lnTo>
                  <a:pt x="194" y="116"/>
                </a:lnTo>
                <a:lnTo>
                  <a:pt x="188" y="116"/>
                </a:lnTo>
                <a:lnTo>
                  <a:pt x="188" y="113"/>
                </a:lnTo>
                <a:lnTo>
                  <a:pt x="182" y="116"/>
                </a:lnTo>
                <a:lnTo>
                  <a:pt x="178" y="116"/>
                </a:lnTo>
                <a:lnTo>
                  <a:pt x="178" y="119"/>
                </a:lnTo>
                <a:lnTo>
                  <a:pt x="175" y="116"/>
                </a:lnTo>
                <a:lnTo>
                  <a:pt x="172" y="113"/>
                </a:lnTo>
                <a:lnTo>
                  <a:pt x="169" y="116"/>
                </a:lnTo>
                <a:lnTo>
                  <a:pt x="166" y="113"/>
                </a:lnTo>
                <a:lnTo>
                  <a:pt x="166" y="116"/>
                </a:lnTo>
                <a:lnTo>
                  <a:pt x="166" y="119"/>
                </a:lnTo>
                <a:lnTo>
                  <a:pt x="163" y="122"/>
                </a:lnTo>
                <a:lnTo>
                  <a:pt x="160" y="122"/>
                </a:lnTo>
                <a:lnTo>
                  <a:pt x="160" y="119"/>
                </a:lnTo>
                <a:lnTo>
                  <a:pt x="157" y="119"/>
                </a:lnTo>
                <a:lnTo>
                  <a:pt x="160" y="122"/>
                </a:lnTo>
                <a:lnTo>
                  <a:pt x="160" y="125"/>
                </a:lnTo>
                <a:lnTo>
                  <a:pt x="157" y="128"/>
                </a:lnTo>
                <a:lnTo>
                  <a:pt x="153" y="128"/>
                </a:lnTo>
                <a:lnTo>
                  <a:pt x="150" y="128"/>
                </a:lnTo>
                <a:lnTo>
                  <a:pt x="157" y="132"/>
                </a:lnTo>
                <a:lnTo>
                  <a:pt x="157" y="135"/>
                </a:lnTo>
                <a:lnTo>
                  <a:pt x="153" y="135"/>
                </a:lnTo>
                <a:lnTo>
                  <a:pt x="153" y="132"/>
                </a:lnTo>
                <a:lnTo>
                  <a:pt x="150" y="132"/>
                </a:lnTo>
                <a:lnTo>
                  <a:pt x="150" y="132"/>
                </a:lnTo>
                <a:lnTo>
                  <a:pt x="150" y="135"/>
                </a:lnTo>
                <a:lnTo>
                  <a:pt x="153" y="135"/>
                </a:lnTo>
                <a:lnTo>
                  <a:pt x="157" y="138"/>
                </a:lnTo>
                <a:lnTo>
                  <a:pt x="153" y="141"/>
                </a:lnTo>
                <a:lnTo>
                  <a:pt x="150" y="147"/>
                </a:lnTo>
                <a:lnTo>
                  <a:pt x="153" y="150"/>
                </a:lnTo>
                <a:lnTo>
                  <a:pt x="147" y="150"/>
                </a:lnTo>
                <a:lnTo>
                  <a:pt x="150" y="153"/>
                </a:lnTo>
                <a:lnTo>
                  <a:pt x="153" y="153"/>
                </a:lnTo>
                <a:lnTo>
                  <a:pt x="157" y="157"/>
                </a:lnTo>
                <a:lnTo>
                  <a:pt x="153" y="157"/>
                </a:lnTo>
                <a:lnTo>
                  <a:pt x="157" y="160"/>
                </a:lnTo>
                <a:lnTo>
                  <a:pt x="160" y="160"/>
                </a:lnTo>
                <a:lnTo>
                  <a:pt x="153" y="166"/>
                </a:lnTo>
                <a:lnTo>
                  <a:pt x="153" y="166"/>
                </a:lnTo>
                <a:lnTo>
                  <a:pt x="150" y="169"/>
                </a:lnTo>
                <a:lnTo>
                  <a:pt x="150" y="175"/>
                </a:lnTo>
                <a:lnTo>
                  <a:pt x="147" y="182"/>
                </a:lnTo>
                <a:lnTo>
                  <a:pt x="144" y="182"/>
                </a:lnTo>
                <a:lnTo>
                  <a:pt x="141" y="188"/>
                </a:lnTo>
                <a:lnTo>
                  <a:pt x="138" y="185"/>
                </a:lnTo>
                <a:lnTo>
                  <a:pt x="138" y="188"/>
                </a:lnTo>
                <a:lnTo>
                  <a:pt x="138" y="191"/>
                </a:lnTo>
                <a:lnTo>
                  <a:pt x="135" y="194"/>
                </a:lnTo>
                <a:lnTo>
                  <a:pt x="132" y="197"/>
                </a:lnTo>
                <a:lnTo>
                  <a:pt x="128" y="197"/>
                </a:lnTo>
                <a:lnTo>
                  <a:pt x="128" y="194"/>
                </a:lnTo>
                <a:lnTo>
                  <a:pt x="125" y="194"/>
                </a:lnTo>
                <a:lnTo>
                  <a:pt x="125" y="197"/>
                </a:lnTo>
                <a:lnTo>
                  <a:pt x="125" y="204"/>
                </a:lnTo>
                <a:lnTo>
                  <a:pt x="122" y="207"/>
                </a:lnTo>
                <a:lnTo>
                  <a:pt x="119" y="204"/>
                </a:lnTo>
                <a:lnTo>
                  <a:pt x="119" y="204"/>
                </a:lnTo>
                <a:lnTo>
                  <a:pt x="116" y="207"/>
                </a:lnTo>
                <a:lnTo>
                  <a:pt x="116" y="207"/>
                </a:lnTo>
                <a:lnTo>
                  <a:pt x="113" y="207"/>
                </a:lnTo>
                <a:lnTo>
                  <a:pt x="110" y="207"/>
                </a:lnTo>
                <a:lnTo>
                  <a:pt x="110" y="210"/>
                </a:lnTo>
                <a:lnTo>
                  <a:pt x="113" y="213"/>
                </a:lnTo>
                <a:lnTo>
                  <a:pt x="113" y="213"/>
                </a:lnTo>
                <a:lnTo>
                  <a:pt x="107" y="219"/>
                </a:lnTo>
                <a:lnTo>
                  <a:pt x="103" y="219"/>
                </a:lnTo>
                <a:lnTo>
                  <a:pt x="103" y="219"/>
                </a:lnTo>
                <a:lnTo>
                  <a:pt x="103" y="222"/>
                </a:lnTo>
                <a:lnTo>
                  <a:pt x="100" y="229"/>
                </a:lnTo>
                <a:lnTo>
                  <a:pt x="94" y="229"/>
                </a:lnTo>
                <a:lnTo>
                  <a:pt x="91" y="229"/>
                </a:lnTo>
                <a:lnTo>
                  <a:pt x="97" y="235"/>
                </a:lnTo>
                <a:lnTo>
                  <a:pt x="97" y="238"/>
                </a:lnTo>
                <a:lnTo>
                  <a:pt x="97" y="241"/>
                </a:lnTo>
                <a:lnTo>
                  <a:pt x="97" y="244"/>
                </a:lnTo>
                <a:lnTo>
                  <a:pt x="97" y="250"/>
                </a:lnTo>
                <a:lnTo>
                  <a:pt x="97" y="254"/>
                </a:lnTo>
                <a:lnTo>
                  <a:pt x="97" y="257"/>
                </a:lnTo>
                <a:lnTo>
                  <a:pt x="97" y="254"/>
                </a:lnTo>
                <a:lnTo>
                  <a:pt x="94" y="257"/>
                </a:lnTo>
                <a:lnTo>
                  <a:pt x="97" y="263"/>
                </a:lnTo>
                <a:lnTo>
                  <a:pt x="94" y="266"/>
                </a:lnTo>
                <a:lnTo>
                  <a:pt x="97" y="266"/>
                </a:lnTo>
                <a:lnTo>
                  <a:pt x="97" y="269"/>
                </a:lnTo>
                <a:lnTo>
                  <a:pt x="94" y="269"/>
                </a:lnTo>
                <a:lnTo>
                  <a:pt x="97" y="275"/>
                </a:lnTo>
                <a:lnTo>
                  <a:pt x="94" y="279"/>
                </a:lnTo>
                <a:lnTo>
                  <a:pt x="97" y="282"/>
                </a:lnTo>
                <a:lnTo>
                  <a:pt x="97" y="282"/>
                </a:lnTo>
                <a:lnTo>
                  <a:pt x="100" y="285"/>
                </a:lnTo>
                <a:lnTo>
                  <a:pt x="100" y="288"/>
                </a:lnTo>
                <a:lnTo>
                  <a:pt x="103" y="285"/>
                </a:lnTo>
                <a:lnTo>
                  <a:pt x="103" y="291"/>
                </a:lnTo>
                <a:lnTo>
                  <a:pt x="107" y="285"/>
                </a:lnTo>
                <a:lnTo>
                  <a:pt x="110" y="288"/>
                </a:lnTo>
                <a:lnTo>
                  <a:pt x="113" y="291"/>
                </a:lnTo>
                <a:lnTo>
                  <a:pt x="119" y="297"/>
                </a:lnTo>
                <a:lnTo>
                  <a:pt x="116" y="301"/>
                </a:lnTo>
                <a:lnTo>
                  <a:pt x="122" y="304"/>
                </a:lnTo>
                <a:lnTo>
                  <a:pt x="122" y="307"/>
                </a:lnTo>
                <a:lnTo>
                  <a:pt x="128" y="310"/>
                </a:lnTo>
                <a:lnTo>
                  <a:pt x="125" y="316"/>
                </a:lnTo>
                <a:lnTo>
                  <a:pt x="119" y="319"/>
                </a:lnTo>
                <a:lnTo>
                  <a:pt x="119" y="326"/>
                </a:lnTo>
                <a:lnTo>
                  <a:pt x="113" y="326"/>
                </a:lnTo>
                <a:lnTo>
                  <a:pt x="110" y="322"/>
                </a:lnTo>
                <a:lnTo>
                  <a:pt x="110" y="322"/>
                </a:lnTo>
                <a:lnTo>
                  <a:pt x="107" y="319"/>
                </a:lnTo>
                <a:lnTo>
                  <a:pt x="103" y="319"/>
                </a:lnTo>
                <a:lnTo>
                  <a:pt x="103" y="319"/>
                </a:lnTo>
                <a:lnTo>
                  <a:pt x="100" y="319"/>
                </a:lnTo>
                <a:lnTo>
                  <a:pt x="100" y="319"/>
                </a:lnTo>
                <a:lnTo>
                  <a:pt x="97" y="319"/>
                </a:lnTo>
                <a:lnTo>
                  <a:pt x="94" y="319"/>
                </a:lnTo>
                <a:lnTo>
                  <a:pt x="91" y="322"/>
                </a:lnTo>
                <a:lnTo>
                  <a:pt x="91" y="319"/>
                </a:lnTo>
                <a:lnTo>
                  <a:pt x="88" y="322"/>
                </a:lnTo>
                <a:lnTo>
                  <a:pt x="85" y="322"/>
                </a:lnTo>
                <a:lnTo>
                  <a:pt x="82" y="322"/>
                </a:lnTo>
                <a:lnTo>
                  <a:pt x="82" y="326"/>
                </a:lnTo>
                <a:lnTo>
                  <a:pt x="88" y="326"/>
                </a:lnTo>
                <a:lnTo>
                  <a:pt x="88" y="326"/>
                </a:lnTo>
                <a:lnTo>
                  <a:pt x="88" y="326"/>
                </a:lnTo>
                <a:lnTo>
                  <a:pt x="94" y="326"/>
                </a:lnTo>
                <a:lnTo>
                  <a:pt x="97" y="326"/>
                </a:lnTo>
                <a:lnTo>
                  <a:pt x="100" y="326"/>
                </a:lnTo>
                <a:lnTo>
                  <a:pt x="103" y="329"/>
                </a:lnTo>
                <a:lnTo>
                  <a:pt x="107" y="329"/>
                </a:lnTo>
                <a:lnTo>
                  <a:pt x="110" y="329"/>
                </a:lnTo>
                <a:lnTo>
                  <a:pt x="113" y="326"/>
                </a:lnTo>
                <a:lnTo>
                  <a:pt x="116" y="329"/>
                </a:lnTo>
                <a:lnTo>
                  <a:pt x="119" y="332"/>
                </a:lnTo>
                <a:lnTo>
                  <a:pt x="119" y="335"/>
                </a:lnTo>
                <a:lnTo>
                  <a:pt x="116" y="335"/>
                </a:lnTo>
                <a:lnTo>
                  <a:pt x="116" y="335"/>
                </a:lnTo>
                <a:lnTo>
                  <a:pt x="110" y="341"/>
                </a:lnTo>
                <a:lnTo>
                  <a:pt x="110" y="341"/>
                </a:lnTo>
                <a:lnTo>
                  <a:pt x="110" y="338"/>
                </a:lnTo>
                <a:lnTo>
                  <a:pt x="110" y="335"/>
                </a:lnTo>
                <a:lnTo>
                  <a:pt x="107" y="338"/>
                </a:lnTo>
                <a:lnTo>
                  <a:pt x="107" y="341"/>
                </a:lnTo>
                <a:lnTo>
                  <a:pt x="103" y="341"/>
                </a:lnTo>
                <a:lnTo>
                  <a:pt x="103" y="344"/>
                </a:lnTo>
                <a:lnTo>
                  <a:pt x="100" y="347"/>
                </a:lnTo>
                <a:lnTo>
                  <a:pt x="97" y="344"/>
                </a:lnTo>
                <a:lnTo>
                  <a:pt x="97" y="347"/>
                </a:lnTo>
                <a:lnTo>
                  <a:pt x="97" y="351"/>
                </a:lnTo>
                <a:lnTo>
                  <a:pt x="94" y="351"/>
                </a:lnTo>
                <a:lnTo>
                  <a:pt x="94" y="351"/>
                </a:lnTo>
                <a:lnTo>
                  <a:pt x="91" y="351"/>
                </a:lnTo>
                <a:lnTo>
                  <a:pt x="94" y="354"/>
                </a:lnTo>
                <a:lnTo>
                  <a:pt x="97" y="357"/>
                </a:lnTo>
                <a:lnTo>
                  <a:pt x="91" y="357"/>
                </a:lnTo>
                <a:lnTo>
                  <a:pt x="97" y="360"/>
                </a:lnTo>
                <a:lnTo>
                  <a:pt x="97" y="360"/>
                </a:lnTo>
                <a:lnTo>
                  <a:pt x="94" y="366"/>
                </a:lnTo>
                <a:lnTo>
                  <a:pt x="100" y="369"/>
                </a:lnTo>
                <a:lnTo>
                  <a:pt x="94" y="369"/>
                </a:lnTo>
                <a:lnTo>
                  <a:pt x="91" y="369"/>
                </a:lnTo>
                <a:lnTo>
                  <a:pt x="94" y="372"/>
                </a:lnTo>
                <a:lnTo>
                  <a:pt x="91" y="376"/>
                </a:lnTo>
                <a:lnTo>
                  <a:pt x="94" y="379"/>
                </a:lnTo>
                <a:lnTo>
                  <a:pt x="91" y="382"/>
                </a:lnTo>
                <a:lnTo>
                  <a:pt x="94" y="385"/>
                </a:lnTo>
                <a:lnTo>
                  <a:pt x="91" y="388"/>
                </a:lnTo>
                <a:lnTo>
                  <a:pt x="91" y="394"/>
                </a:lnTo>
                <a:lnTo>
                  <a:pt x="94" y="397"/>
                </a:lnTo>
                <a:lnTo>
                  <a:pt x="94" y="401"/>
                </a:lnTo>
                <a:lnTo>
                  <a:pt x="91" y="410"/>
                </a:lnTo>
                <a:lnTo>
                  <a:pt x="88" y="413"/>
                </a:lnTo>
                <a:lnTo>
                  <a:pt x="88" y="419"/>
                </a:lnTo>
                <a:lnTo>
                  <a:pt x="85" y="426"/>
                </a:lnTo>
                <a:lnTo>
                  <a:pt x="82" y="423"/>
                </a:lnTo>
                <a:lnTo>
                  <a:pt x="78" y="419"/>
                </a:lnTo>
                <a:lnTo>
                  <a:pt x="72" y="423"/>
                </a:lnTo>
                <a:lnTo>
                  <a:pt x="66" y="423"/>
                </a:lnTo>
                <a:lnTo>
                  <a:pt x="66" y="419"/>
                </a:lnTo>
                <a:lnTo>
                  <a:pt x="63" y="426"/>
                </a:lnTo>
                <a:lnTo>
                  <a:pt x="57" y="426"/>
                </a:lnTo>
                <a:lnTo>
                  <a:pt x="57" y="432"/>
                </a:lnTo>
                <a:lnTo>
                  <a:pt x="57" y="435"/>
                </a:lnTo>
                <a:lnTo>
                  <a:pt x="57" y="438"/>
                </a:lnTo>
                <a:lnTo>
                  <a:pt x="53" y="441"/>
                </a:lnTo>
                <a:lnTo>
                  <a:pt x="50" y="438"/>
                </a:lnTo>
                <a:lnTo>
                  <a:pt x="38" y="441"/>
                </a:lnTo>
                <a:lnTo>
                  <a:pt x="35" y="441"/>
                </a:lnTo>
                <a:lnTo>
                  <a:pt x="32" y="441"/>
                </a:lnTo>
                <a:lnTo>
                  <a:pt x="35" y="438"/>
                </a:lnTo>
                <a:lnTo>
                  <a:pt x="35" y="429"/>
                </a:lnTo>
                <a:lnTo>
                  <a:pt x="28" y="426"/>
                </a:lnTo>
                <a:lnTo>
                  <a:pt x="28" y="423"/>
                </a:lnTo>
                <a:lnTo>
                  <a:pt x="25" y="423"/>
                </a:lnTo>
                <a:lnTo>
                  <a:pt x="25" y="419"/>
                </a:lnTo>
                <a:lnTo>
                  <a:pt x="32" y="419"/>
                </a:lnTo>
                <a:lnTo>
                  <a:pt x="35" y="413"/>
                </a:lnTo>
                <a:lnTo>
                  <a:pt x="35" y="407"/>
                </a:lnTo>
                <a:lnTo>
                  <a:pt x="28" y="410"/>
                </a:lnTo>
                <a:lnTo>
                  <a:pt x="25" y="407"/>
                </a:lnTo>
                <a:lnTo>
                  <a:pt x="25" y="404"/>
                </a:lnTo>
                <a:lnTo>
                  <a:pt x="19" y="401"/>
                </a:lnTo>
                <a:lnTo>
                  <a:pt x="19" y="397"/>
                </a:lnTo>
                <a:lnTo>
                  <a:pt x="16" y="388"/>
                </a:lnTo>
                <a:lnTo>
                  <a:pt x="16" y="388"/>
                </a:lnTo>
                <a:lnTo>
                  <a:pt x="13" y="382"/>
                </a:lnTo>
                <a:lnTo>
                  <a:pt x="10" y="382"/>
                </a:lnTo>
                <a:lnTo>
                  <a:pt x="7" y="379"/>
                </a:lnTo>
                <a:lnTo>
                  <a:pt x="10" y="376"/>
                </a:lnTo>
                <a:lnTo>
                  <a:pt x="10" y="372"/>
                </a:lnTo>
                <a:lnTo>
                  <a:pt x="10" y="369"/>
                </a:lnTo>
                <a:lnTo>
                  <a:pt x="10" y="366"/>
                </a:lnTo>
                <a:lnTo>
                  <a:pt x="13" y="363"/>
                </a:lnTo>
                <a:lnTo>
                  <a:pt x="13" y="360"/>
                </a:lnTo>
                <a:lnTo>
                  <a:pt x="10" y="360"/>
                </a:lnTo>
                <a:lnTo>
                  <a:pt x="10" y="357"/>
                </a:lnTo>
                <a:lnTo>
                  <a:pt x="7" y="357"/>
                </a:lnTo>
                <a:lnTo>
                  <a:pt x="7" y="360"/>
                </a:lnTo>
                <a:lnTo>
                  <a:pt x="10" y="363"/>
                </a:lnTo>
                <a:lnTo>
                  <a:pt x="7" y="363"/>
                </a:lnTo>
                <a:lnTo>
                  <a:pt x="7" y="360"/>
                </a:lnTo>
                <a:lnTo>
                  <a:pt x="7" y="360"/>
                </a:lnTo>
                <a:lnTo>
                  <a:pt x="3" y="357"/>
                </a:lnTo>
                <a:lnTo>
                  <a:pt x="3" y="351"/>
                </a:lnTo>
                <a:lnTo>
                  <a:pt x="0" y="347"/>
                </a:lnTo>
                <a:lnTo>
                  <a:pt x="0" y="341"/>
                </a:lnTo>
                <a:lnTo>
                  <a:pt x="3" y="338"/>
                </a:lnTo>
                <a:lnTo>
                  <a:pt x="3" y="338"/>
                </a:lnTo>
                <a:lnTo>
                  <a:pt x="3" y="338"/>
                </a:lnTo>
                <a:close/>
                <a:moveTo>
                  <a:pt x="119" y="326"/>
                </a:moveTo>
                <a:lnTo>
                  <a:pt x="122" y="332"/>
                </a:lnTo>
                <a:lnTo>
                  <a:pt x="122" y="332"/>
                </a:lnTo>
                <a:lnTo>
                  <a:pt x="122" y="329"/>
                </a:lnTo>
                <a:lnTo>
                  <a:pt x="125" y="326"/>
                </a:lnTo>
                <a:lnTo>
                  <a:pt x="125" y="319"/>
                </a:lnTo>
                <a:lnTo>
                  <a:pt x="122" y="319"/>
                </a:lnTo>
                <a:lnTo>
                  <a:pt x="119" y="326"/>
                </a:lnTo>
                <a:lnTo>
                  <a:pt x="119" y="326"/>
                </a:lnTo>
                <a:close/>
                <a:moveTo>
                  <a:pt x="7" y="366"/>
                </a:moveTo>
                <a:lnTo>
                  <a:pt x="3" y="369"/>
                </a:lnTo>
                <a:lnTo>
                  <a:pt x="7" y="369"/>
                </a:lnTo>
                <a:lnTo>
                  <a:pt x="7" y="366"/>
                </a:lnTo>
                <a:lnTo>
                  <a:pt x="7" y="366"/>
                </a:lnTo>
                <a:lnTo>
                  <a:pt x="7" y="366"/>
                </a:lnTo>
                <a:close/>
                <a:moveTo>
                  <a:pt x="135" y="354"/>
                </a:moveTo>
                <a:lnTo>
                  <a:pt x="138" y="357"/>
                </a:lnTo>
                <a:lnTo>
                  <a:pt x="138" y="354"/>
                </a:lnTo>
                <a:lnTo>
                  <a:pt x="138" y="354"/>
                </a:lnTo>
                <a:lnTo>
                  <a:pt x="135" y="354"/>
                </a:lnTo>
                <a:lnTo>
                  <a:pt x="135" y="354"/>
                </a:lnTo>
                <a:close/>
                <a:moveTo>
                  <a:pt x="138" y="372"/>
                </a:moveTo>
                <a:lnTo>
                  <a:pt x="138" y="372"/>
                </a:lnTo>
                <a:lnTo>
                  <a:pt x="141" y="372"/>
                </a:lnTo>
                <a:lnTo>
                  <a:pt x="144" y="369"/>
                </a:lnTo>
                <a:lnTo>
                  <a:pt x="144" y="369"/>
                </a:lnTo>
                <a:lnTo>
                  <a:pt x="138" y="369"/>
                </a:lnTo>
                <a:lnTo>
                  <a:pt x="138" y="372"/>
                </a:lnTo>
                <a:lnTo>
                  <a:pt x="138" y="372"/>
                </a:lnTo>
                <a:close/>
                <a:moveTo>
                  <a:pt x="122" y="401"/>
                </a:moveTo>
                <a:lnTo>
                  <a:pt x="128" y="401"/>
                </a:lnTo>
                <a:lnTo>
                  <a:pt x="128" y="397"/>
                </a:lnTo>
                <a:lnTo>
                  <a:pt x="128" y="397"/>
                </a:lnTo>
                <a:lnTo>
                  <a:pt x="128" y="394"/>
                </a:lnTo>
                <a:lnTo>
                  <a:pt x="132" y="391"/>
                </a:lnTo>
                <a:lnTo>
                  <a:pt x="135" y="388"/>
                </a:lnTo>
                <a:lnTo>
                  <a:pt x="135" y="385"/>
                </a:lnTo>
                <a:lnTo>
                  <a:pt x="135" y="385"/>
                </a:lnTo>
                <a:lnTo>
                  <a:pt x="132" y="382"/>
                </a:lnTo>
                <a:lnTo>
                  <a:pt x="135" y="379"/>
                </a:lnTo>
                <a:lnTo>
                  <a:pt x="135" y="376"/>
                </a:lnTo>
                <a:lnTo>
                  <a:pt x="138" y="376"/>
                </a:lnTo>
                <a:lnTo>
                  <a:pt x="135" y="372"/>
                </a:lnTo>
                <a:lnTo>
                  <a:pt x="132" y="376"/>
                </a:lnTo>
                <a:lnTo>
                  <a:pt x="128" y="376"/>
                </a:lnTo>
                <a:lnTo>
                  <a:pt x="125" y="379"/>
                </a:lnTo>
                <a:lnTo>
                  <a:pt x="122" y="382"/>
                </a:lnTo>
                <a:lnTo>
                  <a:pt x="122" y="385"/>
                </a:lnTo>
                <a:lnTo>
                  <a:pt x="122" y="388"/>
                </a:lnTo>
                <a:lnTo>
                  <a:pt x="119" y="388"/>
                </a:lnTo>
                <a:lnTo>
                  <a:pt x="125" y="394"/>
                </a:lnTo>
                <a:lnTo>
                  <a:pt x="125" y="394"/>
                </a:lnTo>
                <a:lnTo>
                  <a:pt x="125" y="397"/>
                </a:lnTo>
                <a:lnTo>
                  <a:pt x="122" y="401"/>
                </a:lnTo>
                <a:lnTo>
                  <a:pt x="122" y="401"/>
                </a:lnTo>
                <a:lnTo>
                  <a:pt x="122" y="401"/>
                </a:lnTo>
                <a:close/>
                <a:moveTo>
                  <a:pt x="94" y="413"/>
                </a:moveTo>
                <a:lnTo>
                  <a:pt x="94" y="416"/>
                </a:lnTo>
                <a:lnTo>
                  <a:pt x="94" y="419"/>
                </a:lnTo>
                <a:lnTo>
                  <a:pt x="97" y="423"/>
                </a:lnTo>
                <a:lnTo>
                  <a:pt x="97" y="419"/>
                </a:lnTo>
                <a:lnTo>
                  <a:pt x="100" y="413"/>
                </a:lnTo>
                <a:lnTo>
                  <a:pt x="100" y="404"/>
                </a:lnTo>
                <a:lnTo>
                  <a:pt x="103" y="397"/>
                </a:lnTo>
                <a:lnTo>
                  <a:pt x="103" y="394"/>
                </a:lnTo>
                <a:lnTo>
                  <a:pt x="100" y="391"/>
                </a:lnTo>
                <a:lnTo>
                  <a:pt x="97" y="394"/>
                </a:lnTo>
                <a:lnTo>
                  <a:pt x="100" y="397"/>
                </a:lnTo>
                <a:lnTo>
                  <a:pt x="97" y="401"/>
                </a:lnTo>
                <a:lnTo>
                  <a:pt x="94" y="404"/>
                </a:lnTo>
                <a:lnTo>
                  <a:pt x="94" y="413"/>
                </a:lnTo>
                <a:close/>
              </a:path>
            </a:pathLst>
          </a:custGeom>
          <a:solidFill>
            <a:schemeClr val="bg2"/>
          </a:solidFill>
          <a:ln>
            <a:solidFill>
              <a:schemeClr val="bg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7" name="Freeform 45">
            <a:extLst>
              <a:ext uri="{FF2B5EF4-FFF2-40B4-BE49-F238E27FC236}">
                <a16:creationId xmlns:a16="http://schemas.microsoft.com/office/drawing/2014/main" id="{3AD9F6E7-A387-2424-A86E-B39DF1D1198A}"/>
              </a:ext>
            </a:extLst>
          </p:cNvPr>
          <p:cNvSpPr>
            <a:spLocks noEditPoints="1"/>
          </p:cNvSpPr>
          <p:nvPr userDrawn="1"/>
        </p:nvSpPr>
        <p:spPr bwMode="auto">
          <a:xfrm>
            <a:off x="14150050" y="3952159"/>
            <a:ext cx="625437" cy="1123950"/>
          </a:xfrm>
          <a:custGeom>
            <a:avLst/>
            <a:gdLst>
              <a:gd name="T0" fmla="*/ 57 w 63"/>
              <a:gd name="T1" fmla="*/ 93 h 113"/>
              <a:gd name="T2" fmla="*/ 58 w 63"/>
              <a:gd name="T3" fmla="*/ 76 h 113"/>
              <a:gd name="T4" fmla="*/ 54 w 63"/>
              <a:gd name="T5" fmla="*/ 64 h 113"/>
              <a:gd name="T6" fmla="*/ 52 w 63"/>
              <a:gd name="T7" fmla="*/ 56 h 113"/>
              <a:gd name="T8" fmla="*/ 50 w 63"/>
              <a:gd name="T9" fmla="*/ 43 h 113"/>
              <a:gd name="T10" fmla="*/ 48 w 63"/>
              <a:gd name="T11" fmla="*/ 28 h 113"/>
              <a:gd name="T12" fmla="*/ 41 w 63"/>
              <a:gd name="T13" fmla="*/ 22 h 113"/>
              <a:gd name="T14" fmla="*/ 40 w 63"/>
              <a:gd name="T15" fmla="*/ 13 h 113"/>
              <a:gd name="T16" fmla="*/ 41 w 63"/>
              <a:gd name="T17" fmla="*/ 4 h 113"/>
              <a:gd name="T18" fmla="*/ 31 w 63"/>
              <a:gd name="T19" fmla="*/ 0 h 113"/>
              <a:gd name="T20" fmla="*/ 26 w 63"/>
              <a:gd name="T21" fmla="*/ 3 h 113"/>
              <a:gd name="T22" fmla="*/ 25 w 63"/>
              <a:gd name="T23" fmla="*/ 12 h 113"/>
              <a:gd name="T24" fmla="*/ 21 w 63"/>
              <a:gd name="T25" fmla="*/ 16 h 113"/>
              <a:gd name="T26" fmla="*/ 13 w 63"/>
              <a:gd name="T27" fmla="*/ 18 h 113"/>
              <a:gd name="T28" fmla="*/ 3 w 63"/>
              <a:gd name="T29" fmla="*/ 11 h 113"/>
              <a:gd name="T30" fmla="*/ 0 w 63"/>
              <a:gd name="T31" fmla="*/ 13 h 113"/>
              <a:gd name="T32" fmla="*/ 9 w 63"/>
              <a:gd name="T33" fmla="*/ 20 h 113"/>
              <a:gd name="T34" fmla="*/ 14 w 63"/>
              <a:gd name="T35" fmla="*/ 23 h 113"/>
              <a:gd name="T36" fmla="*/ 15 w 63"/>
              <a:gd name="T37" fmla="*/ 30 h 113"/>
              <a:gd name="T38" fmla="*/ 18 w 63"/>
              <a:gd name="T39" fmla="*/ 36 h 113"/>
              <a:gd name="T40" fmla="*/ 19 w 63"/>
              <a:gd name="T41" fmla="*/ 46 h 113"/>
              <a:gd name="T42" fmla="*/ 23 w 63"/>
              <a:gd name="T43" fmla="*/ 51 h 113"/>
              <a:gd name="T44" fmla="*/ 28 w 63"/>
              <a:gd name="T45" fmla="*/ 57 h 113"/>
              <a:gd name="T46" fmla="*/ 29 w 63"/>
              <a:gd name="T47" fmla="*/ 61 h 113"/>
              <a:gd name="T48" fmla="*/ 23 w 63"/>
              <a:gd name="T49" fmla="*/ 64 h 113"/>
              <a:gd name="T50" fmla="*/ 19 w 63"/>
              <a:gd name="T51" fmla="*/ 68 h 113"/>
              <a:gd name="T52" fmla="*/ 18 w 63"/>
              <a:gd name="T53" fmla="*/ 74 h 113"/>
              <a:gd name="T54" fmla="*/ 14 w 63"/>
              <a:gd name="T55" fmla="*/ 75 h 113"/>
              <a:gd name="T56" fmla="*/ 13 w 63"/>
              <a:gd name="T57" fmla="*/ 79 h 113"/>
              <a:gd name="T58" fmla="*/ 10 w 63"/>
              <a:gd name="T59" fmla="*/ 80 h 113"/>
              <a:gd name="T60" fmla="*/ 9 w 63"/>
              <a:gd name="T61" fmla="*/ 85 h 113"/>
              <a:gd name="T62" fmla="*/ 10 w 63"/>
              <a:gd name="T63" fmla="*/ 89 h 113"/>
              <a:gd name="T64" fmla="*/ 13 w 63"/>
              <a:gd name="T65" fmla="*/ 96 h 113"/>
              <a:gd name="T66" fmla="*/ 12 w 63"/>
              <a:gd name="T67" fmla="*/ 104 h 113"/>
              <a:gd name="T68" fmla="*/ 16 w 63"/>
              <a:gd name="T69" fmla="*/ 106 h 113"/>
              <a:gd name="T70" fmla="*/ 20 w 63"/>
              <a:gd name="T71" fmla="*/ 107 h 113"/>
              <a:gd name="T72" fmla="*/ 22 w 63"/>
              <a:gd name="T73" fmla="*/ 113 h 113"/>
              <a:gd name="T74" fmla="*/ 26 w 63"/>
              <a:gd name="T75" fmla="*/ 111 h 113"/>
              <a:gd name="T76" fmla="*/ 35 w 63"/>
              <a:gd name="T77" fmla="*/ 107 h 113"/>
              <a:gd name="T78" fmla="*/ 38 w 63"/>
              <a:gd name="T79" fmla="*/ 106 h 113"/>
              <a:gd name="T80" fmla="*/ 40 w 63"/>
              <a:gd name="T81" fmla="*/ 106 h 113"/>
              <a:gd name="T82" fmla="*/ 44 w 63"/>
              <a:gd name="T83" fmla="*/ 105 h 113"/>
              <a:gd name="T84" fmla="*/ 48 w 63"/>
              <a:gd name="T85" fmla="*/ 104 h 113"/>
              <a:gd name="T86" fmla="*/ 25 w 63"/>
              <a:gd name="T87" fmla="*/ 59 h 113"/>
              <a:gd name="T88" fmla="*/ 26 w 63"/>
              <a:gd name="T89" fmla="*/ 59 h 113"/>
              <a:gd name="T90" fmla="*/ 8 w 63"/>
              <a:gd name="T91" fmla="*/ 77 h 113"/>
              <a:gd name="T92" fmla="*/ 8 w 63"/>
              <a:gd name="T93" fmla="*/ 77 h 113"/>
              <a:gd name="T94" fmla="*/ 21 w 63"/>
              <a:gd name="T95" fmla="*/ 110 h 113"/>
              <a:gd name="T96" fmla="*/ 19 w 63"/>
              <a:gd name="T97" fmla="*/ 107 h 113"/>
              <a:gd name="T98" fmla="*/ 16 w 63"/>
              <a:gd name="T99" fmla="*/ 107 h 113"/>
              <a:gd name="T100" fmla="*/ 12 w 63"/>
              <a:gd name="T101" fmla="*/ 107 h 113"/>
              <a:gd name="T102" fmla="*/ 4 w 63"/>
              <a:gd name="T103" fmla="*/ 106 h 113"/>
              <a:gd name="T104" fmla="*/ 6 w 63"/>
              <a:gd name="T105" fmla="*/ 110 h 113"/>
              <a:gd name="T106" fmla="*/ 4 w 63"/>
              <a:gd name="T107" fmla="*/ 10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3" h="113">
                <a:moveTo>
                  <a:pt x="50" y="104"/>
                </a:moveTo>
                <a:cubicBezTo>
                  <a:pt x="50" y="103"/>
                  <a:pt x="50" y="103"/>
                  <a:pt x="50" y="103"/>
                </a:cubicBezTo>
                <a:cubicBezTo>
                  <a:pt x="53" y="100"/>
                  <a:pt x="53" y="100"/>
                  <a:pt x="53" y="100"/>
                </a:cubicBezTo>
                <a:cubicBezTo>
                  <a:pt x="54" y="99"/>
                  <a:pt x="54" y="99"/>
                  <a:pt x="54" y="99"/>
                </a:cubicBezTo>
                <a:cubicBezTo>
                  <a:pt x="56" y="96"/>
                  <a:pt x="56" y="96"/>
                  <a:pt x="56" y="96"/>
                </a:cubicBezTo>
                <a:cubicBezTo>
                  <a:pt x="57" y="93"/>
                  <a:pt x="57" y="93"/>
                  <a:pt x="57" y="93"/>
                </a:cubicBezTo>
                <a:cubicBezTo>
                  <a:pt x="59" y="90"/>
                  <a:pt x="59" y="90"/>
                  <a:pt x="59" y="90"/>
                </a:cubicBezTo>
                <a:cubicBezTo>
                  <a:pt x="61" y="86"/>
                  <a:pt x="61" y="86"/>
                  <a:pt x="61" y="86"/>
                </a:cubicBezTo>
                <a:cubicBezTo>
                  <a:pt x="63" y="82"/>
                  <a:pt x="63" y="82"/>
                  <a:pt x="63" y="82"/>
                </a:cubicBezTo>
                <a:cubicBezTo>
                  <a:pt x="63" y="80"/>
                  <a:pt x="63" y="80"/>
                  <a:pt x="63" y="80"/>
                </a:cubicBezTo>
                <a:cubicBezTo>
                  <a:pt x="60" y="77"/>
                  <a:pt x="60" y="77"/>
                  <a:pt x="60" y="77"/>
                </a:cubicBezTo>
                <a:cubicBezTo>
                  <a:pt x="58" y="76"/>
                  <a:pt x="58" y="76"/>
                  <a:pt x="58" y="76"/>
                </a:cubicBezTo>
                <a:cubicBezTo>
                  <a:pt x="55" y="72"/>
                  <a:pt x="55" y="72"/>
                  <a:pt x="55" y="72"/>
                </a:cubicBezTo>
                <a:cubicBezTo>
                  <a:pt x="56" y="70"/>
                  <a:pt x="56" y="70"/>
                  <a:pt x="56" y="70"/>
                </a:cubicBezTo>
                <a:cubicBezTo>
                  <a:pt x="57" y="68"/>
                  <a:pt x="57" y="68"/>
                  <a:pt x="57" y="68"/>
                </a:cubicBezTo>
                <a:cubicBezTo>
                  <a:pt x="57" y="67"/>
                  <a:pt x="57" y="67"/>
                  <a:pt x="57" y="67"/>
                </a:cubicBezTo>
                <a:cubicBezTo>
                  <a:pt x="55" y="65"/>
                  <a:pt x="55" y="65"/>
                  <a:pt x="55" y="65"/>
                </a:cubicBezTo>
                <a:cubicBezTo>
                  <a:pt x="54" y="64"/>
                  <a:pt x="54" y="64"/>
                  <a:pt x="54" y="64"/>
                </a:cubicBezTo>
                <a:cubicBezTo>
                  <a:pt x="54" y="62"/>
                  <a:pt x="54" y="62"/>
                  <a:pt x="54" y="62"/>
                </a:cubicBezTo>
                <a:cubicBezTo>
                  <a:pt x="55" y="61"/>
                  <a:pt x="55" y="61"/>
                  <a:pt x="55" y="61"/>
                </a:cubicBezTo>
                <a:cubicBezTo>
                  <a:pt x="54" y="60"/>
                  <a:pt x="54" y="60"/>
                  <a:pt x="54" y="60"/>
                </a:cubicBezTo>
                <a:cubicBezTo>
                  <a:pt x="53" y="59"/>
                  <a:pt x="53" y="59"/>
                  <a:pt x="53" y="59"/>
                </a:cubicBezTo>
                <a:cubicBezTo>
                  <a:pt x="52" y="58"/>
                  <a:pt x="52" y="58"/>
                  <a:pt x="52" y="58"/>
                </a:cubicBezTo>
                <a:cubicBezTo>
                  <a:pt x="52" y="56"/>
                  <a:pt x="52" y="56"/>
                  <a:pt x="52" y="56"/>
                </a:cubicBezTo>
                <a:cubicBezTo>
                  <a:pt x="53" y="55"/>
                  <a:pt x="53" y="55"/>
                  <a:pt x="53" y="55"/>
                </a:cubicBezTo>
                <a:cubicBezTo>
                  <a:pt x="52" y="55"/>
                  <a:pt x="52" y="55"/>
                  <a:pt x="52" y="55"/>
                </a:cubicBezTo>
                <a:cubicBezTo>
                  <a:pt x="52" y="54"/>
                  <a:pt x="52" y="54"/>
                  <a:pt x="52" y="54"/>
                </a:cubicBezTo>
                <a:cubicBezTo>
                  <a:pt x="52" y="50"/>
                  <a:pt x="52" y="50"/>
                  <a:pt x="52" y="50"/>
                </a:cubicBezTo>
                <a:cubicBezTo>
                  <a:pt x="53" y="49"/>
                  <a:pt x="53" y="49"/>
                  <a:pt x="53" y="49"/>
                </a:cubicBezTo>
                <a:cubicBezTo>
                  <a:pt x="50" y="43"/>
                  <a:pt x="50" y="43"/>
                  <a:pt x="50" y="43"/>
                </a:cubicBezTo>
                <a:cubicBezTo>
                  <a:pt x="48" y="38"/>
                  <a:pt x="48" y="38"/>
                  <a:pt x="48" y="38"/>
                </a:cubicBezTo>
                <a:cubicBezTo>
                  <a:pt x="47" y="36"/>
                  <a:pt x="47" y="36"/>
                  <a:pt x="47" y="36"/>
                </a:cubicBezTo>
                <a:cubicBezTo>
                  <a:pt x="46" y="35"/>
                  <a:pt x="46" y="35"/>
                  <a:pt x="46" y="35"/>
                </a:cubicBezTo>
                <a:cubicBezTo>
                  <a:pt x="47" y="32"/>
                  <a:pt x="47" y="32"/>
                  <a:pt x="47" y="32"/>
                </a:cubicBezTo>
                <a:cubicBezTo>
                  <a:pt x="48" y="30"/>
                  <a:pt x="48" y="30"/>
                  <a:pt x="48" y="30"/>
                </a:cubicBezTo>
                <a:cubicBezTo>
                  <a:pt x="48" y="28"/>
                  <a:pt x="48" y="28"/>
                  <a:pt x="48" y="28"/>
                </a:cubicBezTo>
                <a:cubicBezTo>
                  <a:pt x="48" y="27"/>
                  <a:pt x="48" y="27"/>
                  <a:pt x="48" y="27"/>
                </a:cubicBezTo>
                <a:cubicBezTo>
                  <a:pt x="45" y="25"/>
                  <a:pt x="45" y="25"/>
                  <a:pt x="45" y="25"/>
                </a:cubicBezTo>
                <a:cubicBezTo>
                  <a:pt x="44" y="24"/>
                  <a:pt x="44" y="24"/>
                  <a:pt x="44" y="24"/>
                </a:cubicBezTo>
                <a:cubicBezTo>
                  <a:pt x="43" y="23"/>
                  <a:pt x="43" y="23"/>
                  <a:pt x="43" y="23"/>
                </a:cubicBezTo>
                <a:cubicBezTo>
                  <a:pt x="42" y="22"/>
                  <a:pt x="42" y="22"/>
                  <a:pt x="42" y="22"/>
                </a:cubicBezTo>
                <a:cubicBezTo>
                  <a:pt x="41" y="22"/>
                  <a:pt x="41" y="22"/>
                  <a:pt x="41" y="22"/>
                </a:cubicBezTo>
                <a:cubicBezTo>
                  <a:pt x="40" y="19"/>
                  <a:pt x="40" y="19"/>
                  <a:pt x="40" y="19"/>
                </a:cubicBezTo>
                <a:cubicBezTo>
                  <a:pt x="39" y="18"/>
                  <a:pt x="39" y="18"/>
                  <a:pt x="39" y="18"/>
                </a:cubicBezTo>
                <a:cubicBezTo>
                  <a:pt x="39" y="16"/>
                  <a:pt x="39" y="16"/>
                  <a:pt x="39" y="16"/>
                </a:cubicBezTo>
                <a:cubicBezTo>
                  <a:pt x="40" y="14"/>
                  <a:pt x="40" y="14"/>
                  <a:pt x="40" y="14"/>
                </a:cubicBezTo>
                <a:cubicBezTo>
                  <a:pt x="39" y="14"/>
                  <a:pt x="39" y="14"/>
                  <a:pt x="39" y="14"/>
                </a:cubicBezTo>
                <a:cubicBezTo>
                  <a:pt x="40" y="13"/>
                  <a:pt x="40" y="13"/>
                  <a:pt x="40" y="13"/>
                </a:cubicBezTo>
                <a:cubicBezTo>
                  <a:pt x="41" y="12"/>
                  <a:pt x="41" y="12"/>
                  <a:pt x="41" y="12"/>
                </a:cubicBezTo>
                <a:cubicBezTo>
                  <a:pt x="41" y="10"/>
                  <a:pt x="41" y="10"/>
                  <a:pt x="41" y="10"/>
                </a:cubicBezTo>
                <a:cubicBezTo>
                  <a:pt x="42" y="8"/>
                  <a:pt x="42" y="8"/>
                  <a:pt x="42" y="8"/>
                </a:cubicBezTo>
                <a:cubicBezTo>
                  <a:pt x="42" y="7"/>
                  <a:pt x="42" y="7"/>
                  <a:pt x="42" y="7"/>
                </a:cubicBezTo>
                <a:cubicBezTo>
                  <a:pt x="41" y="5"/>
                  <a:pt x="41" y="5"/>
                  <a:pt x="41" y="5"/>
                </a:cubicBezTo>
                <a:cubicBezTo>
                  <a:pt x="41" y="4"/>
                  <a:pt x="41" y="4"/>
                  <a:pt x="41" y="4"/>
                </a:cubicBezTo>
                <a:cubicBezTo>
                  <a:pt x="39" y="4"/>
                  <a:pt x="39" y="4"/>
                  <a:pt x="39" y="4"/>
                </a:cubicBezTo>
                <a:cubicBezTo>
                  <a:pt x="37" y="4"/>
                  <a:pt x="37" y="4"/>
                  <a:pt x="37" y="4"/>
                </a:cubicBezTo>
                <a:cubicBezTo>
                  <a:pt x="36" y="3"/>
                  <a:pt x="36" y="3"/>
                  <a:pt x="36" y="3"/>
                </a:cubicBezTo>
                <a:cubicBezTo>
                  <a:pt x="35" y="1"/>
                  <a:pt x="35" y="1"/>
                  <a:pt x="35" y="1"/>
                </a:cubicBezTo>
                <a:cubicBezTo>
                  <a:pt x="34" y="0"/>
                  <a:pt x="34" y="0"/>
                  <a:pt x="34" y="0"/>
                </a:cubicBezTo>
                <a:cubicBezTo>
                  <a:pt x="31" y="0"/>
                  <a:pt x="31" y="0"/>
                  <a:pt x="31" y="0"/>
                </a:cubicBezTo>
                <a:cubicBezTo>
                  <a:pt x="30" y="1"/>
                  <a:pt x="30" y="1"/>
                  <a:pt x="30" y="1"/>
                </a:cubicBezTo>
                <a:cubicBezTo>
                  <a:pt x="30" y="2"/>
                  <a:pt x="30" y="2"/>
                  <a:pt x="30" y="2"/>
                </a:cubicBezTo>
                <a:cubicBezTo>
                  <a:pt x="29" y="2"/>
                  <a:pt x="29" y="2"/>
                  <a:pt x="29" y="2"/>
                </a:cubicBezTo>
                <a:cubicBezTo>
                  <a:pt x="27" y="2"/>
                  <a:pt x="27" y="2"/>
                  <a:pt x="27" y="2"/>
                </a:cubicBezTo>
                <a:cubicBezTo>
                  <a:pt x="26" y="2"/>
                  <a:pt x="26" y="2"/>
                  <a:pt x="26" y="2"/>
                </a:cubicBezTo>
                <a:cubicBezTo>
                  <a:pt x="26" y="3"/>
                  <a:pt x="26" y="3"/>
                  <a:pt x="26" y="3"/>
                </a:cubicBezTo>
                <a:cubicBezTo>
                  <a:pt x="25" y="4"/>
                  <a:pt x="25" y="4"/>
                  <a:pt x="25" y="4"/>
                </a:cubicBezTo>
                <a:cubicBezTo>
                  <a:pt x="25" y="5"/>
                  <a:pt x="25" y="5"/>
                  <a:pt x="25" y="5"/>
                </a:cubicBezTo>
                <a:cubicBezTo>
                  <a:pt x="25" y="6"/>
                  <a:pt x="25" y="6"/>
                  <a:pt x="25" y="6"/>
                </a:cubicBezTo>
                <a:cubicBezTo>
                  <a:pt x="25" y="7"/>
                  <a:pt x="25" y="7"/>
                  <a:pt x="25" y="7"/>
                </a:cubicBezTo>
                <a:cubicBezTo>
                  <a:pt x="24" y="10"/>
                  <a:pt x="24" y="10"/>
                  <a:pt x="24" y="10"/>
                </a:cubicBezTo>
                <a:cubicBezTo>
                  <a:pt x="25" y="12"/>
                  <a:pt x="25" y="12"/>
                  <a:pt x="25" y="12"/>
                </a:cubicBezTo>
                <a:cubicBezTo>
                  <a:pt x="25" y="13"/>
                  <a:pt x="25" y="13"/>
                  <a:pt x="25" y="13"/>
                </a:cubicBezTo>
                <a:cubicBezTo>
                  <a:pt x="25" y="14"/>
                  <a:pt x="25" y="14"/>
                  <a:pt x="25" y="14"/>
                </a:cubicBezTo>
                <a:cubicBezTo>
                  <a:pt x="24" y="14"/>
                  <a:pt x="24" y="14"/>
                  <a:pt x="24" y="14"/>
                </a:cubicBezTo>
                <a:cubicBezTo>
                  <a:pt x="23" y="14"/>
                  <a:pt x="23" y="14"/>
                  <a:pt x="23" y="14"/>
                </a:cubicBezTo>
                <a:cubicBezTo>
                  <a:pt x="22" y="15"/>
                  <a:pt x="22" y="15"/>
                  <a:pt x="22" y="15"/>
                </a:cubicBezTo>
                <a:cubicBezTo>
                  <a:pt x="21" y="16"/>
                  <a:pt x="21" y="16"/>
                  <a:pt x="21" y="16"/>
                </a:cubicBezTo>
                <a:cubicBezTo>
                  <a:pt x="20" y="17"/>
                  <a:pt x="20" y="17"/>
                  <a:pt x="20" y="17"/>
                </a:cubicBezTo>
                <a:cubicBezTo>
                  <a:pt x="19" y="17"/>
                  <a:pt x="19" y="17"/>
                  <a:pt x="19" y="17"/>
                </a:cubicBezTo>
                <a:cubicBezTo>
                  <a:pt x="17" y="15"/>
                  <a:pt x="17" y="15"/>
                  <a:pt x="17" y="15"/>
                </a:cubicBezTo>
                <a:cubicBezTo>
                  <a:pt x="16" y="15"/>
                  <a:pt x="16" y="15"/>
                  <a:pt x="16" y="15"/>
                </a:cubicBezTo>
                <a:cubicBezTo>
                  <a:pt x="15" y="16"/>
                  <a:pt x="15" y="16"/>
                  <a:pt x="15" y="16"/>
                </a:cubicBezTo>
                <a:cubicBezTo>
                  <a:pt x="13" y="18"/>
                  <a:pt x="13" y="18"/>
                  <a:pt x="13" y="18"/>
                </a:cubicBezTo>
                <a:cubicBezTo>
                  <a:pt x="10" y="18"/>
                  <a:pt x="10" y="18"/>
                  <a:pt x="10" y="18"/>
                </a:cubicBezTo>
                <a:cubicBezTo>
                  <a:pt x="8" y="17"/>
                  <a:pt x="8" y="17"/>
                  <a:pt x="8" y="17"/>
                </a:cubicBezTo>
                <a:cubicBezTo>
                  <a:pt x="7" y="16"/>
                  <a:pt x="7" y="16"/>
                  <a:pt x="7" y="16"/>
                </a:cubicBezTo>
                <a:cubicBezTo>
                  <a:pt x="7" y="14"/>
                  <a:pt x="7" y="14"/>
                  <a:pt x="7" y="14"/>
                </a:cubicBezTo>
                <a:cubicBezTo>
                  <a:pt x="4" y="12"/>
                  <a:pt x="4" y="12"/>
                  <a:pt x="4" y="12"/>
                </a:cubicBezTo>
                <a:cubicBezTo>
                  <a:pt x="3" y="11"/>
                  <a:pt x="3" y="11"/>
                  <a:pt x="3" y="11"/>
                </a:cubicBezTo>
                <a:cubicBezTo>
                  <a:pt x="2" y="10"/>
                  <a:pt x="2" y="10"/>
                  <a:pt x="2" y="10"/>
                </a:cubicBezTo>
                <a:cubicBezTo>
                  <a:pt x="1" y="11"/>
                  <a:pt x="1" y="11"/>
                  <a:pt x="1" y="11"/>
                </a:cubicBezTo>
                <a:cubicBezTo>
                  <a:pt x="1" y="12"/>
                  <a:pt x="1" y="12"/>
                  <a:pt x="1" y="12"/>
                </a:cubicBezTo>
                <a:cubicBezTo>
                  <a:pt x="1" y="13"/>
                  <a:pt x="1" y="13"/>
                  <a:pt x="1" y="13"/>
                </a:cubicBezTo>
                <a:cubicBezTo>
                  <a:pt x="1" y="14"/>
                  <a:pt x="1" y="14"/>
                  <a:pt x="1" y="14"/>
                </a:cubicBezTo>
                <a:cubicBezTo>
                  <a:pt x="0" y="13"/>
                  <a:pt x="0" y="13"/>
                  <a:pt x="0" y="13"/>
                </a:cubicBezTo>
                <a:cubicBezTo>
                  <a:pt x="0" y="14"/>
                  <a:pt x="0" y="14"/>
                  <a:pt x="0" y="14"/>
                </a:cubicBezTo>
                <a:cubicBezTo>
                  <a:pt x="1" y="15"/>
                  <a:pt x="1" y="15"/>
                  <a:pt x="1" y="15"/>
                </a:cubicBezTo>
                <a:cubicBezTo>
                  <a:pt x="3" y="16"/>
                  <a:pt x="3" y="16"/>
                  <a:pt x="3" y="16"/>
                </a:cubicBezTo>
                <a:cubicBezTo>
                  <a:pt x="5" y="18"/>
                  <a:pt x="5" y="18"/>
                  <a:pt x="5" y="18"/>
                </a:cubicBezTo>
                <a:cubicBezTo>
                  <a:pt x="7" y="19"/>
                  <a:pt x="7" y="19"/>
                  <a:pt x="7" y="19"/>
                </a:cubicBezTo>
                <a:cubicBezTo>
                  <a:pt x="9" y="20"/>
                  <a:pt x="9" y="20"/>
                  <a:pt x="9" y="20"/>
                </a:cubicBezTo>
                <a:cubicBezTo>
                  <a:pt x="10" y="20"/>
                  <a:pt x="10" y="20"/>
                  <a:pt x="10" y="20"/>
                </a:cubicBezTo>
                <a:cubicBezTo>
                  <a:pt x="11" y="20"/>
                  <a:pt x="11" y="20"/>
                  <a:pt x="11" y="20"/>
                </a:cubicBezTo>
                <a:cubicBezTo>
                  <a:pt x="12" y="22"/>
                  <a:pt x="12" y="22"/>
                  <a:pt x="12" y="22"/>
                </a:cubicBezTo>
                <a:cubicBezTo>
                  <a:pt x="13" y="23"/>
                  <a:pt x="13" y="23"/>
                  <a:pt x="13" y="23"/>
                </a:cubicBezTo>
                <a:cubicBezTo>
                  <a:pt x="13" y="23"/>
                  <a:pt x="13" y="23"/>
                  <a:pt x="13" y="23"/>
                </a:cubicBezTo>
                <a:cubicBezTo>
                  <a:pt x="14" y="23"/>
                  <a:pt x="14" y="23"/>
                  <a:pt x="14" y="23"/>
                </a:cubicBezTo>
                <a:cubicBezTo>
                  <a:pt x="15" y="25"/>
                  <a:pt x="15" y="25"/>
                  <a:pt x="15" y="25"/>
                </a:cubicBezTo>
                <a:cubicBezTo>
                  <a:pt x="16" y="25"/>
                  <a:pt x="16" y="25"/>
                  <a:pt x="16" y="25"/>
                </a:cubicBezTo>
                <a:cubicBezTo>
                  <a:pt x="16" y="26"/>
                  <a:pt x="16" y="26"/>
                  <a:pt x="16" y="26"/>
                </a:cubicBezTo>
                <a:cubicBezTo>
                  <a:pt x="16" y="27"/>
                  <a:pt x="16" y="27"/>
                  <a:pt x="16" y="27"/>
                </a:cubicBezTo>
                <a:cubicBezTo>
                  <a:pt x="16" y="28"/>
                  <a:pt x="16" y="28"/>
                  <a:pt x="16" y="28"/>
                </a:cubicBezTo>
                <a:cubicBezTo>
                  <a:pt x="15" y="30"/>
                  <a:pt x="15" y="30"/>
                  <a:pt x="15" y="30"/>
                </a:cubicBezTo>
                <a:cubicBezTo>
                  <a:pt x="16" y="31"/>
                  <a:pt x="16" y="31"/>
                  <a:pt x="16" y="31"/>
                </a:cubicBezTo>
                <a:cubicBezTo>
                  <a:pt x="17" y="31"/>
                  <a:pt x="17" y="31"/>
                  <a:pt x="17" y="31"/>
                </a:cubicBezTo>
                <a:cubicBezTo>
                  <a:pt x="18" y="33"/>
                  <a:pt x="18" y="33"/>
                  <a:pt x="18" y="33"/>
                </a:cubicBezTo>
                <a:cubicBezTo>
                  <a:pt x="17" y="34"/>
                  <a:pt x="17" y="34"/>
                  <a:pt x="17" y="34"/>
                </a:cubicBezTo>
                <a:cubicBezTo>
                  <a:pt x="17" y="35"/>
                  <a:pt x="17" y="35"/>
                  <a:pt x="17" y="35"/>
                </a:cubicBezTo>
                <a:cubicBezTo>
                  <a:pt x="18" y="36"/>
                  <a:pt x="18" y="36"/>
                  <a:pt x="18" y="36"/>
                </a:cubicBezTo>
                <a:cubicBezTo>
                  <a:pt x="18" y="39"/>
                  <a:pt x="18" y="39"/>
                  <a:pt x="18" y="39"/>
                </a:cubicBezTo>
                <a:cubicBezTo>
                  <a:pt x="18" y="40"/>
                  <a:pt x="18" y="40"/>
                  <a:pt x="18" y="40"/>
                </a:cubicBezTo>
                <a:cubicBezTo>
                  <a:pt x="18" y="41"/>
                  <a:pt x="18" y="41"/>
                  <a:pt x="18" y="41"/>
                </a:cubicBezTo>
                <a:cubicBezTo>
                  <a:pt x="18" y="43"/>
                  <a:pt x="18" y="43"/>
                  <a:pt x="18" y="43"/>
                </a:cubicBezTo>
                <a:cubicBezTo>
                  <a:pt x="18" y="44"/>
                  <a:pt x="18" y="44"/>
                  <a:pt x="18" y="44"/>
                </a:cubicBezTo>
                <a:cubicBezTo>
                  <a:pt x="19" y="46"/>
                  <a:pt x="19" y="46"/>
                  <a:pt x="19" y="46"/>
                </a:cubicBezTo>
                <a:cubicBezTo>
                  <a:pt x="20" y="46"/>
                  <a:pt x="20" y="46"/>
                  <a:pt x="20" y="46"/>
                </a:cubicBezTo>
                <a:cubicBezTo>
                  <a:pt x="21" y="48"/>
                  <a:pt x="21" y="48"/>
                  <a:pt x="21" y="48"/>
                </a:cubicBezTo>
                <a:cubicBezTo>
                  <a:pt x="21" y="49"/>
                  <a:pt x="21" y="49"/>
                  <a:pt x="21" y="49"/>
                </a:cubicBezTo>
                <a:cubicBezTo>
                  <a:pt x="21" y="51"/>
                  <a:pt x="21" y="51"/>
                  <a:pt x="21" y="51"/>
                </a:cubicBezTo>
                <a:cubicBezTo>
                  <a:pt x="22" y="51"/>
                  <a:pt x="22" y="51"/>
                  <a:pt x="22" y="51"/>
                </a:cubicBezTo>
                <a:cubicBezTo>
                  <a:pt x="23" y="51"/>
                  <a:pt x="23" y="51"/>
                  <a:pt x="23" y="51"/>
                </a:cubicBezTo>
                <a:cubicBezTo>
                  <a:pt x="24" y="52"/>
                  <a:pt x="24" y="52"/>
                  <a:pt x="24" y="52"/>
                </a:cubicBezTo>
                <a:cubicBezTo>
                  <a:pt x="27" y="52"/>
                  <a:pt x="27" y="52"/>
                  <a:pt x="27" y="52"/>
                </a:cubicBezTo>
                <a:cubicBezTo>
                  <a:pt x="28" y="54"/>
                  <a:pt x="28" y="54"/>
                  <a:pt x="28" y="54"/>
                </a:cubicBezTo>
                <a:cubicBezTo>
                  <a:pt x="27" y="54"/>
                  <a:pt x="27" y="54"/>
                  <a:pt x="27" y="54"/>
                </a:cubicBezTo>
                <a:cubicBezTo>
                  <a:pt x="28" y="55"/>
                  <a:pt x="28" y="55"/>
                  <a:pt x="28" y="55"/>
                </a:cubicBezTo>
                <a:cubicBezTo>
                  <a:pt x="28" y="57"/>
                  <a:pt x="28" y="57"/>
                  <a:pt x="28" y="57"/>
                </a:cubicBezTo>
                <a:cubicBezTo>
                  <a:pt x="28" y="57"/>
                  <a:pt x="28" y="57"/>
                  <a:pt x="28" y="57"/>
                </a:cubicBezTo>
                <a:cubicBezTo>
                  <a:pt x="29" y="59"/>
                  <a:pt x="29" y="59"/>
                  <a:pt x="29" y="59"/>
                </a:cubicBezTo>
                <a:cubicBezTo>
                  <a:pt x="28" y="59"/>
                  <a:pt x="28" y="59"/>
                  <a:pt x="28" y="59"/>
                </a:cubicBezTo>
                <a:cubicBezTo>
                  <a:pt x="28" y="59"/>
                  <a:pt x="28" y="59"/>
                  <a:pt x="28" y="59"/>
                </a:cubicBezTo>
                <a:cubicBezTo>
                  <a:pt x="29" y="60"/>
                  <a:pt x="29" y="60"/>
                  <a:pt x="29" y="60"/>
                </a:cubicBezTo>
                <a:cubicBezTo>
                  <a:pt x="29" y="61"/>
                  <a:pt x="29" y="61"/>
                  <a:pt x="29" y="61"/>
                </a:cubicBezTo>
                <a:cubicBezTo>
                  <a:pt x="27" y="60"/>
                  <a:pt x="27" y="60"/>
                  <a:pt x="27" y="60"/>
                </a:cubicBezTo>
                <a:cubicBezTo>
                  <a:pt x="26" y="60"/>
                  <a:pt x="26" y="60"/>
                  <a:pt x="26" y="60"/>
                </a:cubicBezTo>
                <a:cubicBezTo>
                  <a:pt x="24" y="61"/>
                  <a:pt x="24" y="61"/>
                  <a:pt x="24" y="61"/>
                </a:cubicBezTo>
                <a:cubicBezTo>
                  <a:pt x="24" y="62"/>
                  <a:pt x="24" y="62"/>
                  <a:pt x="24" y="62"/>
                </a:cubicBezTo>
                <a:cubicBezTo>
                  <a:pt x="23" y="63"/>
                  <a:pt x="23" y="63"/>
                  <a:pt x="23" y="63"/>
                </a:cubicBezTo>
                <a:cubicBezTo>
                  <a:pt x="23" y="64"/>
                  <a:pt x="23" y="64"/>
                  <a:pt x="23" y="64"/>
                </a:cubicBezTo>
                <a:cubicBezTo>
                  <a:pt x="22" y="65"/>
                  <a:pt x="22" y="65"/>
                  <a:pt x="22" y="65"/>
                </a:cubicBezTo>
                <a:cubicBezTo>
                  <a:pt x="21" y="67"/>
                  <a:pt x="21" y="67"/>
                  <a:pt x="21" y="67"/>
                </a:cubicBezTo>
                <a:cubicBezTo>
                  <a:pt x="20" y="69"/>
                  <a:pt x="20" y="69"/>
                  <a:pt x="20" y="69"/>
                </a:cubicBezTo>
                <a:cubicBezTo>
                  <a:pt x="20" y="69"/>
                  <a:pt x="20" y="69"/>
                  <a:pt x="20" y="69"/>
                </a:cubicBezTo>
                <a:cubicBezTo>
                  <a:pt x="19" y="68"/>
                  <a:pt x="19" y="68"/>
                  <a:pt x="19" y="68"/>
                </a:cubicBezTo>
                <a:cubicBezTo>
                  <a:pt x="19" y="68"/>
                  <a:pt x="19" y="68"/>
                  <a:pt x="19" y="68"/>
                </a:cubicBezTo>
                <a:cubicBezTo>
                  <a:pt x="19" y="70"/>
                  <a:pt x="19" y="70"/>
                  <a:pt x="19" y="70"/>
                </a:cubicBezTo>
                <a:cubicBezTo>
                  <a:pt x="19" y="71"/>
                  <a:pt x="19" y="71"/>
                  <a:pt x="19" y="71"/>
                </a:cubicBezTo>
                <a:cubicBezTo>
                  <a:pt x="18" y="71"/>
                  <a:pt x="18" y="71"/>
                  <a:pt x="18" y="71"/>
                </a:cubicBezTo>
                <a:cubicBezTo>
                  <a:pt x="17" y="72"/>
                  <a:pt x="17" y="72"/>
                  <a:pt x="17" y="72"/>
                </a:cubicBezTo>
                <a:cubicBezTo>
                  <a:pt x="17" y="73"/>
                  <a:pt x="17" y="73"/>
                  <a:pt x="17" y="73"/>
                </a:cubicBezTo>
                <a:cubicBezTo>
                  <a:pt x="18" y="74"/>
                  <a:pt x="18" y="74"/>
                  <a:pt x="18" y="74"/>
                </a:cubicBezTo>
                <a:cubicBezTo>
                  <a:pt x="17" y="74"/>
                  <a:pt x="17" y="74"/>
                  <a:pt x="17" y="74"/>
                </a:cubicBezTo>
                <a:cubicBezTo>
                  <a:pt x="16" y="73"/>
                  <a:pt x="16" y="73"/>
                  <a:pt x="16" y="73"/>
                </a:cubicBezTo>
                <a:cubicBezTo>
                  <a:pt x="15" y="73"/>
                  <a:pt x="15" y="73"/>
                  <a:pt x="15" y="73"/>
                </a:cubicBezTo>
                <a:cubicBezTo>
                  <a:pt x="15" y="75"/>
                  <a:pt x="15" y="75"/>
                  <a:pt x="15" y="75"/>
                </a:cubicBezTo>
                <a:cubicBezTo>
                  <a:pt x="15" y="75"/>
                  <a:pt x="15" y="75"/>
                  <a:pt x="15" y="75"/>
                </a:cubicBezTo>
                <a:cubicBezTo>
                  <a:pt x="14" y="75"/>
                  <a:pt x="14" y="75"/>
                  <a:pt x="14" y="75"/>
                </a:cubicBezTo>
                <a:cubicBezTo>
                  <a:pt x="14" y="75"/>
                  <a:pt x="14" y="75"/>
                  <a:pt x="14" y="75"/>
                </a:cubicBezTo>
                <a:cubicBezTo>
                  <a:pt x="15" y="76"/>
                  <a:pt x="15" y="76"/>
                  <a:pt x="15" y="76"/>
                </a:cubicBezTo>
                <a:cubicBezTo>
                  <a:pt x="15" y="77"/>
                  <a:pt x="15" y="77"/>
                  <a:pt x="15" y="77"/>
                </a:cubicBezTo>
                <a:cubicBezTo>
                  <a:pt x="14" y="78"/>
                  <a:pt x="14" y="78"/>
                  <a:pt x="14" y="78"/>
                </a:cubicBezTo>
                <a:cubicBezTo>
                  <a:pt x="14" y="78"/>
                  <a:pt x="14" y="78"/>
                  <a:pt x="14" y="78"/>
                </a:cubicBezTo>
                <a:cubicBezTo>
                  <a:pt x="13" y="79"/>
                  <a:pt x="13" y="79"/>
                  <a:pt x="13" y="79"/>
                </a:cubicBezTo>
                <a:cubicBezTo>
                  <a:pt x="12" y="79"/>
                  <a:pt x="12" y="79"/>
                  <a:pt x="12" y="79"/>
                </a:cubicBezTo>
                <a:cubicBezTo>
                  <a:pt x="12" y="78"/>
                  <a:pt x="12" y="78"/>
                  <a:pt x="12" y="78"/>
                </a:cubicBezTo>
                <a:cubicBezTo>
                  <a:pt x="11" y="78"/>
                  <a:pt x="11" y="78"/>
                  <a:pt x="11" y="78"/>
                </a:cubicBezTo>
                <a:cubicBezTo>
                  <a:pt x="10" y="78"/>
                  <a:pt x="10" y="78"/>
                  <a:pt x="10" y="78"/>
                </a:cubicBezTo>
                <a:cubicBezTo>
                  <a:pt x="10" y="79"/>
                  <a:pt x="10" y="79"/>
                  <a:pt x="10" y="79"/>
                </a:cubicBezTo>
                <a:cubicBezTo>
                  <a:pt x="10" y="80"/>
                  <a:pt x="10" y="80"/>
                  <a:pt x="10" y="80"/>
                </a:cubicBezTo>
                <a:cubicBezTo>
                  <a:pt x="10" y="81"/>
                  <a:pt x="10" y="81"/>
                  <a:pt x="10" y="81"/>
                </a:cubicBezTo>
                <a:cubicBezTo>
                  <a:pt x="10" y="82"/>
                  <a:pt x="10" y="82"/>
                  <a:pt x="10" y="82"/>
                </a:cubicBezTo>
                <a:cubicBezTo>
                  <a:pt x="9" y="82"/>
                  <a:pt x="9" y="82"/>
                  <a:pt x="9" y="82"/>
                </a:cubicBezTo>
                <a:cubicBezTo>
                  <a:pt x="9" y="83"/>
                  <a:pt x="9" y="83"/>
                  <a:pt x="9" y="83"/>
                </a:cubicBezTo>
                <a:cubicBezTo>
                  <a:pt x="9" y="85"/>
                  <a:pt x="9" y="85"/>
                  <a:pt x="9" y="85"/>
                </a:cubicBezTo>
                <a:cubicBezTo>
                  <a:pt x="9" y="85"/>
                  <a:pt x="9" y="85"/>
                  <a:pt x="9" y="85"/>
                </a:cubicBezTo>
                <a:cubicBezTo>
                  <a:pt x="9" y="86"/>
                  <a:pt x="9" y="86"/>
                  <a:pt x="9" y="86"/>
                </a:cubicBezTo>
                <a:cubicBezTo>
                  <a:pt x="9" y="87"/>
                  <a:pt x="9" y="87"/>
                  <a:pt x="9" y="87"/>
                </a:cubicBezTo>
                <a:cubicBezTo>
                  <a:pt x="10" y="87"/>
                  <a:pt x="10" y="87"/>
                  <a:pt x="10" y="87"/>
                </a:cubicBezTo>
                <a:cubicBezTo>
                  <a:pt x="11" y="87"/>
                  <a:pt x="11" y="87"/>
                  <a:pt x="11" y="87"/>
                </a:cubicBezTo>
                <a:cubicBezTo>
                  <a:pt x="10" y="89"/>
                  <a:pt x="10" y="89"/>
                  <a:pt x="10" y="89"/>
                </a:cubicBezTo>
                <a:cubicBezTo>
                  <a:pt x="10" y="89"/>
                  <a:pt x="10" y="89"/>
                  <a:pt x="10" y="89"/>
                </a:cubicBezTo>
                <a:cubicBezTo>
                  <a:pt x="11" y="91"/>
                  <a:pt x="11" y="91"/>
                  <a:pt x="11" y="91"/>
                </a:cubicBezTo>
                <a:cubicBezTo>
                  <a:pt x="10" y="91"/>
                  <a:pt x="10" y="91"/>
                  <a:pt x="10" y="91"/>
                </a:cubicBezTo>
                <a:cubicBezTo>
                  <a:pt x="12" y="93"/>
                  <a:pt x="12" y="93"/>
                  <a:pt x="12" y="93"/>
                </a:cubicBezTo>
                <a:cubicBezTo>
                  <a:pt x="12" y="94"/>
                  <a:pt x="12" y="94"/>
                  <a:pt x="12" y="94"/>
                </a:cubicBezTo>
                <a:cubicBezTo>
                  <a:pt x="12" y="94"/>
                  <a:pt x="12" y="94"/>
                  <a:pt x="12" y="94"/>
                </a:cubicBezTo>
                <a:cubicBezTo>
                  <a:pt x="13" y="96"/>
                  <a:pt x="13" y="96"/>
                  <a:pt x="13" y="96"/>
                </a:cubicBezTo>
                <a:cubicBezTo>
                  <a:pt x="12" y="96"/>
                  <a:pt x="12" y="96"/>
                  <a:pt x="12" y="96"/>
                </a:cubicBezTo>
                <a:cubicBezTo>
                  <a:pt x="12" y="98"/>
                  <a:pt x="12" y="98"/>
                  <a:pt x="12" y="98"/>
                </a:cubicBezTo>
                <a:cubicBezTo>
                  <a:pt x="12" y="99"/>
                  <a:pt x="12" y="99"/>
                  <a:pt x="12" y="99"/>
                </a:cubicBezTo>
                <a:cubicBezTo>
                  <a:pt x="11" y="102"/>
                  <a:pt x="11" y="102"/>
                  <a:pt x="11" y="102"/>
                </a:cubicBezTo>
                <a:cubicBezTo>
                  <a:pt x="12" y="102"/>
                  <a:pt x="12" y="102"/>
                  <a:pt x="12" y="102"/>
                </a:cubicBezTo>
                <a:cubicBezTo>
                  <a:pt x="12" y="104"/>
                  <a:pt x="12" y="104"/>
                  <a:pt x="12" y="104"/>
                </a:cubicBezTo>
                <a:cubicBezTo>
                  <a:pt x="12" y="105"/>
                  <a:pt x="12" y="105"/>
                  <a:pt x="12" y="105"/>
                </a:cubicBezTo>
                <a:cubicBezTo>
                  <a:pt x="12" y="105"/>
                  <a:pt x="12" y="105"/>
                  <a:pt x="12" y="105"/>
                </a:cubicBezTo>
                <a:cubicBezTo>
                  <a:pt x="14" y="105"/>
                  <a:pt x="14" y="105"/>
                  <a:pt x="14" y="105"/>
                </a:cubicBezTo>
                <a:cubicBezTo>
                  <a:pt x="14" y="105"/>
                  <a:pt x="14" y="105"/>
                  <a:pt x="14" y="105"/>
                </a:cubicBezTo>
                <a:cubicBezTo>
                  <a:pt x="15" y="104"/>
                  <a:pt x="15" y="104"/>
                  <a:pt x="15" y="104"/>
                </a:cubicBezTo>
                <a:cubicBezTo>
                  <a:pt x="16" y="106"/>
                  <a:pt x="16" y="106"/>
                  <a:pt x="16" y="106"/>
                </a:cubicBezTo>
                <a:cubicBezTo>
                  <a:pt x="17" y="106"/>
                  <a:pt x="17" y="106"/>
                  <a:pt x="17" y="106"/>
                </a:cubicBezTo>
                <a:cubicBezTo>
                  <a:pt x="18" y="107"/>
                  <a:pt x="18" y="107"/>
                  <a:pt x="18" y="107"/>
                </a:cubicBezTo>
                <a:cubicBezTo>
                  <a:pt x="19" y="106"/>
                  <a:pt x="19" y="106"/>
                  <a:pt x="19" y="106"/>
                </a:cubicBezTo>
                <a:cubicBezTo>
                  <a:pt x="20" y="107"/>
                  <a:pt x="20" y="107"/>
                  <a:pt x="20" y="107"/>
                </a:cubicBezTo>
                <a:cubicBezTo>
                  <a:pt x="20" y="107"/>
                  <a:pt x="20" y="107"/>
                  <a:pt x="20" y="107"/>
                </a:cubicBezTo>
                <a:cubicBezTo>
                  <a:pt x="20" y="107"/>
                  <a:pt x="20" y="107"/>
                  <a:pt x="20" y="107"/>
                </a:cubicBezTo>
                <a:cubicBezTo>
                  <a:pt x="22" y="106"/>
                  <a:pt x="22" y="106"/>
                  <a:pt x="22" y="106"/>
                </a:cubicBezTo>
                <a:cubicBezTo>
                  <a:pt x="22" y="107"/>
                  <a:pt x="22" y="107"/>
                  <a:pt x="22" y="107"/>
                </a:cubicBezTo>
                <a:cubicBezTo>
                  <a:pt x="21" y="108"/>
                  <a:pt x="21" y="108"/>
                  <a:pt x="21" y="108"/>
                </a:cubicBezTo>
                <a:cubicBezTo>
                  <a:pt x="23" y="111"/>
                  <a:pt x="23" y="111"/>
                  <a:pt x="23" y="111"/>
                </a:cubicBezTo>
                <a:cubicBezTo>
                  <a:pt x="23" y="111"/>
                  <a:pt x="23" y="111"/>
                  <a:pt x="23" y="111"/>
                </a:cubicBezTo>
                <a:cubicBezTo>
                  <a:pt x="22" y="113"/>
                  <a:pt x="22" y="113"/>
                  <a:pt x="22" y="113"/>
                </a:cubicBezTo>
                <a:cubicBezTo>
                  <a:pt x="23" y="113"/>
                  <a:pt x="23" y="113"/>
                  <a:pt x="23" y="113"/>
                </a:cubicBezTo>
                <a:cubicBezTo>
                  <a:pt x="24" y="111"/>
                  <a:pt x="24" y="111"/>
                  <a:pt x="24" y="111"/>
                </a:cubicBezTo>
                <a:cubicBezTo>
                  <a:pt x="24" y="111"/>
                  <a:pt x="24" y="111"/>
                  <a:pt x="24" y="111"/>
                </a:cubicBezTo>
                <a:cubicBezTo>
                  <a:pt x="24" y="111"/>
                  <a:pt x="24" y="111"/>
                  <a:pt x="24" y="111"/>
                </a:cubicBezTo>
                <a:cubicBezTo>
                  <a:pt x="26" y="111"/>
                  <a:pt x="26" y="111"/>
                  <a:pt x="26" y="111"/>
                </a:cubicBezTo>
                <a:cubicBezTo>
                  <a:pt x="26" y="111"/>
                  <a:pt x="26" y="111"/>
                  <a:pt x="26" y="111"/>
                </a:cubicBezTo>
                <a:cubicBezTo>
                  <a:pt x="28" y="109"/>
                  <a:pt x="28" y="109"/>
                  <a:pt x="28" y="109"/>
                </a:cubicBezTo>
                <a:cubicBezTo>
                  <a:pt x="30" y="109"/>
                  <a:pt x="30" y="109"/>
                  <a:pt x="30" y="109"/>
                </a:cubicBezTo>
                <a:cubicBezTo>
                  <a:pt x="32" y="108"/>
                  <a:pt x="32" y="108"/>
                  <a:pt x="32" y="108"/>
                </a:cubicBezTo>
                <a:cubicBezTo>
                  <a:pt x="32" y="107"/>
                  <a:pt x="32" y="107"/>
                  <a:pt x="32" y="107"/>
                </a:cubicBezTo>
                <a:cubicBezTo>
                  <a:pt x="34" y="108"/>
                  <a:pt x="34" y="108"/>
                  <a:pt x="34" y="108"/>
                </a:cubicBezTo>
                <a:cubicBezTo>
                  <a:pt x="35" y="107"/>
                  <a:pt x="35" y="107"/>
                  <a:pt x="35" y="107"/>
                </a:cubicBezTo>
                <a:cubicBezTo>
                  <a:pt x="36" y="106"/>
                  <a:pt x="36" y="106"/>
                  <a:pt x="36" y="106"/>
                </a:cubicBezTo>
                <a:cubicBezTo>
                  <a:pt x="36" y="106"/>
                  <a:pt x="36" y="106"/>
                  <a:pt x="36" y="106"/>
                </a:cubicBezTo>
                <a:cubicBezTo>
                  <a:pt x="36" y="107"/>
                  <a:pt x="36" y="107"/>
                  <a:pt x="36" y="107"/>
                </a:cubicBezTo>
                <a:cubicBezTo>
                  <a:pt x="36" y="108"/>
                  <a:pt x="36" y="108"/>
                  <a:pt x="36" y="108"/>
                </a:cubicBezTo>
                <a:cubicBezTo>
                  <a:pt x="37" y="106"/>
                  <a:pt x="37" y="106"/>
                  <a:pt x="37" y="106"/>
                </a:cubicBezTo>
                <a:cubicBezTo>
                  <a:pt x="38" y="106"/>
                  <a:pt x="38" y="106"/>
                  <a:pt x="38" y="106"/>
                </a:cubicBezTo>
                <a:cubicBezTo>
                  <a:pt x="37" y="105"/>
                  <a:pt x="37" y="105"/>
                  <a:pt x="37" y="105"/>
                </a:cubicBezTo>
                <a:cubicBezTo>
                  <a:pt x="38" y="105"/>
                  <a:pt x="38" y="105"/>
                  <a:pt x="38" y="105"/>
                </a:cubicBezTo>
                <a:cubicBezTo>
                  <a:pt x="38" y="106"/>
                  <a:pt x="38" y="106"/>
                  <a:pt x="38" y="106"/>
                </a:cubicBezTo>
                <a:cubicBezTo>
                  <a:pt x="39" y="106"/>
                  <a:pt x="39" y="106"/>
                  <a:pt x="39" y="106"/>
                </a:cubicBezTo>
                <a:cubicBezTo>
                  <a:pt x="39" y="105"/>
                  <a:pt x="39" y="105"/>
                  <a:pt x="39" y="105"/>
                </a:cubicBezTo>
                <a:cubicBezTo>
                  <a:pt x="40" y="106"/>
                  <a:pt x="40" y="106"/>
                  <a:pt x="40" y="106"/>
                </a:cubicBezTo>
                <a:cubicBezTo>
                  <a:pt x="41" y="106"/>
                  <a:pt x="41" y="106"/>
                  <a:pt x="41" y="106"/>
                </a:cubicBezTo>
                <a:cubicBezTo>
                  <a:pt x="41" y="105"/>
                  <a:pt x="41" y="105"/>
                  <a:pt x="41" y="105"/>
                </a:cubicBezTo>
                <a:cubicBezTo>
                  <a:pt x="41" y="105"/>
                  <a:pt x="41" y="105"/>
                  <a:pt x="41" y="105"/>
                </a:cubicBezTo>
                <a:cubicBezTo>
                  <a:pt x="42" y="106"/>
                  <a:pt x="42" y="106"/>
                  <a:pt x="42" y="106"/>
                </a:cubicBezTo>
                <a:cubicBezTo>
                  <a:pt x="42" y="105"/>
                  <a:pt x="42" y="105"/>
                  <a:pt x="42" y="105"/>
                </a:cubicBezTo>
                <a:cubicBezTo>
                  <a:pt x="44" y="105"/>
                  <a:pt x="44" y="105"/>
                  <a:pt x="44" y="105"/>
                </a:cubicBezTo>
                <a:cubicBezTo>
                  <a:pt x="45" y="106"/>
                  <a:pt x="45" y="106"/>
                  <a:pt x="45" y="106"/>
                </a:cubicBezTo>
                <a:cubicBezTo>
                  <a:pt x="47" y="106"/>
                  <a:pt x="47" y="106"/>
                  <a:pt x="47" y="106"/>
                </a:cubicBezTo>
                <a:cubicBezTo>
                  <a:pt x="47" y="105"/>
                  <a:pt x="47" y="105"/>
                  <a:pt x="47" y="105"/>
                </a:cubicBezTo>
                <a:cubicBezTo>
                  <a:pt x="47" y="104"/>
                  <a:pt x="47" y="104"/>
                  <a:pt x="47" y="104"/>
                </a:cubicBezTo>
                <a:cubicBezTo>
                  <a:pt x="47" y="104"/>
                  <a:pt x="47" y="104"/>
                  <a:pt x="47" y="104"/>
                </a:cubicBezTo>
                <a:cubicBezTo>
                  <a:pt x="48" y="104"/>
                  <a:pt x="48" y="104"/>
                  <a:pt x="48" y="104"/>
                </a:cubicBezTo>
                <a:cubicBezTo>
                  <a:pt x="48" y="105"/>
                  <a:pt x="48" y="105"/>
                  <a:pt x="48" y="105"/>
                </a:cubicBezTo>
                <a:cubicBezTo>
                  <a:pt x="49" y="105"/>
                  <a:pt x="49" y="105"/>
                  <a:pt x="49" y="105"/>
                </a:cubicBezTo>
                <a:cubicBezTo>
                  <a:pt x="49" y="105"/>
                  <a:pt x="50" y="105"/>
                  <a:pt x="50" y="104"/>
                </a:cubicBezTo>
                <a:close/>
                <a:moveTo>
                  <a:pt x="26" y="59"/>
                </a:moveTo>
                <a:cubicBezTo>
                  <a:pt x="26" y="59"/>
                  <a:pt x="26" y="59"/>
                  <a:pt x="26" y="59"/>
                </a:cubicBezTo>
                <a:cubicBezTo>
                  <a:pt x="25" y="59"/>
                  <a:pt x="25" y="59"/>
                  <a:pt x="25" y="59"/>
                </a:cubicBezTo>
                <a:cubicBezTo>
                  <a:pt x="24" y="58"/>
                  <a:pt x="24" y="58"/>
                  <a:pt x="24" y="58"/>
                </a:cubicBezTo>
                <a:cubicBezTo>
                  <a:pt x="25" y="57"/>
                  <a:pt x="25" y="57"/>
                  <a:pt x="25" y="57"/>
                </a:cubicBezTo>
                <a:cubicBezTo>
                  <a:pt x="27" y="57"/>
                  <a:pt x="27" y="57"/>
                  <a:pt x="27" y="57"/>
                </a:cubicBezTo>
                <a:cubicBezTo>
                  <a:pt x="27" y="58"/>
                  <a:pt x="27" y="58"/>
                  <a:pt x="27" y="58"/>
                </a:cubicBezTo>
                <a:cubicBezTo>
                  <a:pt x="26" y="58"/>
                  <a:pt x="26" y="58"/>
                  <a:pt x="26" y="58"/>
                </a:cubicBezTo>
                <a:cubicBezTo>
                  <a:pt x="26" y="59"/>
                  <a:pt x="26" y="59"/>
                  <a:pt x="26" y="59"/>
                </a:cubicBezTo>
                <a:close/>
                <a:moveTo>
                  <a:pt x="9" y="77"/>
                </a:moveTo>
                <a:cubicBezTo>
                  <a:pt x="9" y="76"/>
                  <a:pt x="9" y="76"/>
                  <a:pt x="9" y="76"/>
                </a:cubicBezTo>
                <a:cubicBezTo>
                  <a:pt x="10" y="76"/>
                  <a:pt x="10" y="76"/>
                  <a:pt x="10" y="76"/>
                </a:cubicBezTo>
                <a:cubicBezTo>
                  <a:pt x="9" y="77"/>
                  <a:pt x="9" y="77"/>
                  <a:pt x="9" y="77"/>
                </a:cubicBezTo>
                <a:cubicBezTo>
                  <a:pt x="9" y="77"/>
                  <a:pt x="9" y="77"/>
                  <a:pt x="9" y="77"/>
                </a:cubicBezTo>
                <a:close/>
                <a:moveTo>
                  <a:pt x="8" y="77"/>
                </a:moveTo>
                <a:cubicBezTo>
                  <a:pt x="9" y="78"/>
                  <a:pt x="9" y="78"/>
                  <a:pt x="9" y="78"/>
                </a:cubicBezTo>
                <a:cubicBezTo>
                  <a:pt x="10" y="78"/>
                  <a:pt x="10" y="78"/>
                  <a:pt x="10" y="78"/>
                </a:cubicBezTo>
                <a:cubicBezTo>
                  <a:pt x="10" y="79"/>
                  <a:pt x="10" y="79"/>
                  <a:pt x="10" y="79"/>
                </a:cubicBezTo>
                <a:cubicBezTo>
                  <a:pt x="9" y="79"/>
                  <a:pt x="9" y="79"/>
                  <a:pt x="9" y="79"/>
                </a:cubicBezTo>
                <a:cubicBezTo>
                  <a:pt x="8" y="78"/>
                  <a:pt x="8" y="78"/>
                  <a:pt x="8" y="78"/>
                </a:cubicBezTo>
                <a:cubicBezTo>
                  <a:pt x="8" y="77"/>
                  <a:pt x="8" y="77"/>
                  <a:pt x="8" y="77"/>
                </a:cubicBezTo>
                <a:close/>
                <a:moveTo>
                  <a:pt x="21" y="110"/>
                </a:moveTo>
                <a:cubicBezTo>
                  <a:pt x="21" y="111"/>
                  <a:pt x="21" y="111"/>
                  <a:pt x="21" y="111"/>
                </a:cubicBezTo>
                <a:cubicBezTo>
                  <a:pt x="21" y="112"/>
                  <a:pt x="21" y="112"/>
                  <a:pt x="21" y="112"/>
                </a:cubicBezTo>
                <a:cubicBezTo>
                  <a:pt x="20" y="111"/>
                  <a:pt x="20" y="111"/>
                  <a:pt x="20" y="111"/>
                </a:cubicBezTo>
                <a:cubicBezTo>
                  <a:pt x="21" y="111"/>
                  <a:pt x="21" y="111"/>
                  <a:pt x="21" y="111"/>
                </a:cubicBezTo>
                <a:cubicBezTo>
                  <a:pt x="21" y="110"/>
                  <a:pt x="21" y="110"/>
                  <a:pt x="21" y="110"/>
                </a:cubicBezTo>
                <a:close/>
                <a:moveTo>
                  <a:pt x="20" y="109"/>
                </a:moveTo>
                <a:cubicBezTo>
                  <a:pt x="20" y="109"/>
                  <a:pt x="20" y="110"/>
                  <a:pt x="20" y="110"/>
                </a:cubicBezTo>
                <a:cubicBezTo>
                  <a:pt x="19" y="110"/>
                  <a:pt x="19" y="110"/>
                  <a:pt x="19" y="110"/>
                </a:cubicBezTo>
                <a:cubicBezTo>
                  <a:pt x="20" y="109"/>
                  <a:pt x="20" y="109"/>
                  <a:pt x="20" y="109"/>
                </a:cubicBezTo>
                <a:close/>
                <a:moveTo>
                  <a:pt x="17" y="108"/>
                </a:moveTo>
                <a:cubicBezTo>
                  <a:pt x="19" y="107"/>
                  <a:pt x="19" y="107"/>
                  <a:pt x="19" y="107"/>
                </a:cubicBezTo>
                <a:cubicBezTo>
                  <a:pt x="19" y="108"/>
                  <a:pt x="19" y="108"/>
                  <a:pt x="19" y="108"/>
                </a:cubicBezTo>
                <a:cubicBezTo>
                  <a:pt x="18" y="109"/>
                  <a:pt x="18" y="109"/>
                  <a:pt x="18" y="109"/>
                </a:cubicBezTo>
                <a:cubicBezTo>
                  <a:pt x="17" y="108"/>
                  <a:pt x="17" y="108"/>
                  <a:pt x="17" y="108"/>
                </a:cubicBezTo>
                <a:cubicBezTo>
                  <a:pt x="17" y="108"/>
                  <a:pt x="17" y="108"/>
                  <a:pt x="17" y="108"/>
                </a:cubicBezTo>
                <a:close/>
                <a:moveTo>
                  <a:pt x="14" y="106"/>
                </a:moveTo>
                <a:cubicBezTo>
                  <a:pt x="16" y="107"/>
                  <a:pt x="16" y="107"/>
                  <a:pt x="16" y="107"/>
                </a:cubicBezTo>
                <a:cubicBezTo>
                  <a:pt x="15" y="107"/>
                  <a:pt x="15" y="107"/>
                  <a:pt x="15" y="107"/>
                </a:cubicBezTo>
                <a:cubicBezTo>
                  <a:pt x="14" y="107"/>
                  <a:pt x="14" y="107"/>
                  <a:pt x="14" y="107"/>
                </a:cubicBezTo>
                <a:cubicBezTo>
                  <a:pt x="14" y="106"/>
                  <a:pt x="14" y="106"/>
                  <a:pt x="14" y="106"/>
                </a:cubicBezTo>
                <a:close/>
                <a:moveTo>
                  <a:pt x="12" y="106"/>
                </a:moveTo>
                <a:cubicBezTo>
                  <a:pt x="13" y="106"/>
                  <a:pt x="13" y="106"/>
                  <a:pt x="13" y="106"/>
                </a:cubicBezTo>
                <a:cubicBezTo>
                  <a:pt x="12" y="107"/>
                  <a:pt x="12" y="107"/>
                  <a:pt x="12" y="107"/>
                </a:cubicBezTo>
                <a:cubicBezTo>
                  <a:pt x="12" y="107"/>
                  <a:pt x="12" y="106"/>
                  <a:pt x="12" y="106"/>
                </a:cubicBezTo>
                <a:close/>
                <a:moveTo>
                  <a:pt x="3" y="108"/>
                </a:moveTo>
                <a:cubicBezTo>
                  <a:pt x="5" y="108"/>
                  <a:pt x="5" y="108"/>
                  <a:pt x="5" y="108"/>
                </a:cubicBezTo>
                <a:cubicBezTo>
                  <a:pt x="5" y="108"/>
                  <a:pt x="5" y="108"/>
                  <a:pt x="5" y="108"/>
                </a:cubicBezTo>
                <a:cubicBezTo>
                  <a:pt x="4" y="107"/>
                  <a:pt x="4" y="107"/>
                  <a:pt x="4" y="107"/>
                </a:cubicBezTo>
                <a:cubicBezTo>
                  <a:pt x="4" y="106"/>
                  <a:pt x="4" y="106"/>
                  <a:pt x="4" y="106"/>
                </a:cubicBezTo>
                <a:cubicBezTo>
                  <a:pt x="5" y="106"/>
                  <a:pt x="5" y="106"/>
                  <a:pt x="5" y="106"/>
                </a:cubicBezTo>
                <a:cubicBezTo>
                  <a:pt x="7" y="107"/>
                  <a:pt x="7" y="107"/>
                  <a:pt x="7" y="107"/>
                </a:cubicBezTo>
                <a:cubicBezTo>
                  <a:pt x="7" y="108"/>
                  <a:pt x="7" y="108"/>
                  <a:pt x="7" y="108"/>
                </a:cubicBezTo>
                <a:cubicBezTo>
                  <a:pt x="6" y="108"/>
                  <a:pt x="6" y="108"/>
                  <a:pt x="6" y="108"/>
                </a:cubicBezTo>
                <a:cubicBezTo>
                  <a:pt x="6" y="109"/>
                  <a:pt x="6" y="109"/>
                  <a:pt x="6" y="109"/>
                </a:cubicBezTo>
                <a:cubicBezTo>
                  <a:pt x="6" y="110"/>
                  <a:pt x="6" y="110"/>
                  <a:pt x="6" y="110"/>
                </a:cubicBezTo>
                <a:cubicBezTo>
                  <a:pt x="7" y="110"/>
                  <a:pt x="7" y="110"/>
                  <a:pt x="7" y="110"/>
                </a:cubicBezTo>
                <a:cubicBezTo>
                  <a:pt x="7" y="111"/>
                  <a:pt x="7" y="111"/>
                  <a:pt x="7" y="111"/>
                </a:cubicBezTo>
                <a:cubicBezTo>
                  <a:pt x="7" y="111"/>
                  <a:pt x="7" y="111"/>
                  <a:pt x="7" y="111"/>
                </a:cubicBezTo>
                <a:cubicBezTo>
                  <a:pt x="5" y="110"/>
                  <a:pt x="5" y="110"/>
                  <a:pt x="5" y="110"/>
                </a:cubicBezTo>
                <a:cubicBezTo>
                  <a:pt x="4" y="110"/>
                  <a:pt x="4" y="110"/>
                  <a:pt x="4" y="110"/>
                </a:cubicBezTo>
                <a:cubicBezTo>
                  <a:pt x="4" y="109"/>
                  <a:pt x="4" y="109"/>
                  <a:pt x="4" y="109"/>
                </a:cubicBezTo>
                <a:cubicBezTo>
                  <a:pt x="3" y="109"/>
                  <a:pt x="3" y="109"/>
                  <a:pt x="3" y="109"/>
                </a:cubicBezTo>
                <a:lnTo>
                  <a:pt x="3" y="108"/>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8" name="Freeform 46">
            <a:extLst>
              <a:ext uri="{FF2B5EF4-FFF2-40B4-BE49-F238E27FC236}">
                <a16:creationId xmlns:a16="http://schemas.microsoft.com/office/drawing/2014/main" id="{BBD057DD-1111-FBC9-8E85-930CB025E0DE}"/>
              </a:ext>
            </a:extLst>
          </p:cNvPr>
          <p:cNvSpPr>
            <a:spLocks noEditPoints="1"/>
          </p:cNvSpPr>
          <p:nvPr userDrawn="1"/>
        </p:nvSpPr>
        <p:spPr bwMode="auto">
          <a:xfrm>
            <a:off x="14321491" y="5076108"/>
            <a:ext cx="336528" cy="228600"/>
          </a:xfrm>
          <a:custGeom>
            <a:avLst/>
            <a:gdLst>
              <a:gd name="T0" fmla="*/ 103 w 106"/>
              <a:gd name="T1" fmla="*/ 66 h 72"/>
              <a:gd name="T2" fmla="*/ 106 w 106"/>
              <a:gd name="T3" fmla="*/ 59 h 72"/>
              <a:gd name="T4" fmla="*/ 96 w 106"/>
              <a:gd name="T5" fmla="*/ 41 h 72"/>
              <a:gd name="T6" fmla="*/ 100 w 106"/>
              <a:gd name="T7" fmla="*/ 25 h 72"/>
              <a:gd name="T8" fmla="*/ 103 w 106"/>
              <a:gd name="T9" fmla="*/ 12 h 72"/>
              <a:gd name="T10" fmla="*/ 106 w 106"/>
              <a:gd name="T11" fmla="*/ 12 h 72"/>
              <a:gd name="T12" fmla="*/ 103 w 106"/>
              <a:gd name="T13" fmla="*/ 9 h 72"/>
              <a:gd name="T14" fmla="*/ 81 w 106"/>
              <a:gd name="T15" fmla="*/ 6 h 72"/>
              <a:gd name="T16" fmla="*/ 68 w 106"/>
              <a:gd name="T17" fmla="*/ 3 h 72"/>
              <a:gd name="T18" fmla="*/ 62 w 106"/>
              <a:gd name="T19" fmla="*/ 0 h 72"/>
              <a:gd name="T20" fmla="*/ 59 w 106"/>
              <a:gd name="T21" fmla="*/ 3 h 72"/>
              <a:gd name="T22" fmla="*/ 59 w 106"/>
              <a:gd name="T23" fmla="*/ 6 h 72"/>
              <a:gd name="T24" fmla="*/ 56 w 106"/>
              <a:gd name="T25" fmla="*/ 9 h 72"/>
              <a:gd name="T26" fmla="*/ 46 w 106"/>
              <a:gd name="T27" fmla="*/ 6 h 72"/>
              <a:gd name="T28" fmla="*/ 43 w 106"/>
              <a:gd name="T29" fmla="*/ 9 h 72"/>
              <a:gd name="T30" fmla="*/ 37 w 106"/>
              <a:gd name="T31" fmla="*/ 16 h 72"/>
              <a:gd name="T32" fmla="*/ 28 w 106"/>
              <a:gd name="T33" fmla="*/ 16 h 72"/>
              <a:gd name="T34" fmla="*/ 28 w 106"/>
              <a:gd name="T35" fmla="*/ 31 h 72"/>
              <a:gd name="T36" fmla="*/ 31 w 106"/>
              <a:gd name="T37" fmla="*/ 31 h 72"/>
              <a:gd name="T38" fmla="*/ 34 w 106"/>
              <a:gd name="T39" fmla="*/ 34 h 72"/>
              <a:gd name="T40" fmla="*/ 31 w 106"/>
              <a:gd name="T41" fmla="*/ 41 h 72"/>
              <a:gd name="T42" fmla="*/ 40 w 106"/>
              <a:gd name="T43" fmla="*/ 50 h 72"/>
              <a:gd name="T44" fmla="*/ 40 w 106"/>
              <a:gd name="T45" fmla="*/ 47 h 72"/>
              <a:gd name="T46" fmla="*/ 46 w 106"/>
              <a:gd name="T47" fmla="*/ 47 h 72"/>
              <a:gd name="T48" fmla="*/ 43 w 106"/>
              <a:gd name="T49" fmla="*/ 59 h 72"/>
              <a:gd name="T50" fmla="*/ 53 w 106"/>
              <a:gd name="T51" fmla="*/ 53 h 72"/>
              <a:gd name="T52" fmla="*/ 62 w 106"/>
              <a:gd name="T53" fmla="*/ 56 h 72"/>
              <a:gd name="T54" fmla="*/ 65 w 106"/>
              <a:gd name="T55" fmla="*/ 53 h 72"/>
              <a:gd name="T56" fmla="*/ 68 w 106"/>
              <a:gd name="T57" fmla="*/ 59 h 72"/>
              <a:gd name="T58" fmla="*/ 78 w 106"/>
              <a:gd name="T59" fmla="*/ 62 h 72"/>
              <a:gd name="T60" fmla="*/ 84 w 106"/>
              <a:gd name="T61" fmla="*/ 69 h 72"/>
              <a:gd name="T62" fmla="*/ 93 w 106"/>
              <a:gd name="T63" fmla="*/ 69 h 72"/>
              <a:gd name="T64" fmla="*/ 100 w 106"/>
              <a:gd name="T65" fmla="*/ 72 h 72"/>
              <a:gd name="T66" fmla="*/ 25 w 106"/>
              <a:gd name="T67" fmla="*/ 25 h 72"/>
              <a:gd name="T68" fmla="*/ 21 w 106"/>
              <a:gd name="T69" fmla="*/ 28 h 72"/>
              <a:gd name="T70" fmla="*/ 21 w 106"/>
              <a:gd name="T71" fmla="*/ 25 h 72"/>
              <a:gd name="T72" fmla="*/ 12 w 106"/>
              <a:gd name="T73" fmla="*/ 31 h 72"/>
              <a:gd name="T74" fmla="*/ 3 w 106"/>
              <a:gd name="T75" fmla="*/ 31 h 72"/>
              <a:gd name="T76" fmla="*/ 9 w 106"/>
              <a:gd name="T77" fmla="*/ 28 h 72"/>
              <a:gd name="T78" fmla="*/ 12 w 106"/>
              <a:gd name="T79" fmla="*/ 25 h 72"/>
              <a:gd name="T80" fmla="*/ 15 w 106"/>
              <a:gd name="T81" fmla="*/ 25 h 72"/>
              <a:gd name="T82" fmla="*/ 21 w 106"/>
              <a:gd name="T83" fmla="*/ 31 h 72"/>
              <a:gd name="T84" fmla="*/ 15 w 106"/>
              <a:gd name="T85" fmla="*/ 31 h 72"/>
              <a:gd name="T86" fmla="*/ 12 w 106"/>
              <a:gd name="T87" fmla="*/ 34 h 72"/>
              <a:gd name="T88" fmla="*/ 21 w 106"/>
              <a:gd name="T89" fmla="*/ 34 h 72"/>
              <a:gd name="T90" fmla="*/ 28 w 106"/>
              <a:gd name="T91" fmla="*/ 41 h 72"/>
              <a:gd name="T92" fmla="*/ 21 w 106"/>
              <a:gd name="T93" fmla="*/ 37 h 72"/>
              <a:gd name="T94" fmla="*/ 3 w 106"/>
              <a:gd name="T95" fmla="*/ 59 h 72"/>
              <a:gd name="T96" fmla="*/ 9 w 106"/>
              <a:gd name="T97" fmla="*/ 56 h 72"/>
              <a:gd name="T98" fmla="*/ 9 w 106"/>
              <a:gd name="T99" fmla="*/ 50 h 72"/>
              <a:gd name="T100" fmla="*/ 18 w 106"/>
              <a:gd name="T101" fmla="*/ 47 h 72"/>
              <a:gd name="T102" fmla="*/ 21 w 106"/>
              <a:gd name="T103" fmla="*/ 44 h 72"/>
              <a:gd name="T104" fmla="*/ 21 w 106"/>
              <a:gd name="T105" fmla="*/ 41 h 72"/>
              <a:gd name="T106" fmla="*/ 18 w 106"/>
              <a:gd name="T107" fmla="*/ 37 h 72"/>
              <a:gd name="T108" fmla="*/ 9 w 106"/>
              <a:gd name="T109" fmla="*/ 37 h 72"/>
              <a:gd name="T110" fmla="*/ 6 w 106"/>
              <a:gd name="T111" fmla="*/ 41 h 72"/>
              <a:gd name="T112" fmla="*/ 6 w 106"/>
              <a:gd name="T113" fmla="*/ 41 h 72"/>
              <a:gd name="T114" fmla="*/ 3 w 106"/>
              <a:gd name="T115" fmla="*/ 41 h 72"/>
              <a:gd name="T116" fmla="*/ 3 w 106"/>
              <a:gd name="T117" fmla="*/ 44 h 72"/>
              <a:gd name="T118" fmla="*/ 0 w 106"/>
              <a:gd name="T119" fmla="*/ 47 h 72"/>
              <a:gd name="T120" fmla="*/ 3 w 106"/>
              <a:gd name="T121" fmla="*/ 50 h 72"/>
              <a:gd name="T122" fmla="*/ 6 w 106"/>
              <a:gd name="T123" fmla="*/ 56 h 72"/>
              <a:gd name="T124" fmla="*/ 3 w 106"/>
              <a:gd name="T125" fmla="*/ 5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 h="72">
                <a:moveTo>
                  <a:pt x="100" y="72"/>
                </a:moveTo>
                <a:lnTo>
                  <a:pt x="103" y="66"/>
                </a:lnTo>
                <a:lnTo>
                  <a:pt x="103" y="62"/>
                </a:lnTo>
                <a:lnTo>
                  <a:pt x="106" y="59"/>
                </a:lnTo>
                <a:lnTo>
                  <a:pt x="106" y="56"/>
                </a:lnTo>
                <a:lnTo>
                  <a:pt x="96" y="41"/>
                </a:lnTo>
                <a:lnTo>
                  <a:pt x="96" y="25"/>
                </a:lnTo>
                <a:lnTo>
                  <a:pt x="100" y="25"/>
                </a:lnTo>
                <a:lnTo>
                  <a:pt x="100" y="19"/>
                </a:lnTo>
                <a:lnTo>
                  <a:pt x="103" y="12"/>
                </a:lnTo>
                <a:lnTo>
                  <a:pt x="106" y="12"/>
                </a:lnTo>
                <a:lnTo>
                  <a:pt x="106" y="12"/>
                </a:lnTo>
                <a:lnTo>
                  <a:pt x="103" y="9"/>
                </a:lnTo>
                <a:lnTo>
                  <a:pt x="103" y="9"/>
                </a:lnTo>
                <a:lnTo>
                  <a:pt x="87" y="9"/>
                </a:lnTo>
                <a:lnTo>
                  <a:pt x="81" y="6"/>
                </a:lnTo>
                <a:lnTo>
                  <a:pt x="71" y="6"/>
                </a:lnTo>
                <a:lnTo>
                  <a:pt x="68" y="3"/>
                </a:lnTo>
                <a:lnTo>
                  <a:pt x="65" y="6"/>
                </a:lnTo>
                <a:lnTo>
                  <a:pt x="62" y="0"/>
                </a:lnTo>
                <a:lnTo>
                  <a:pt x="62" y="3"/>
                </a:lnTo>
                <a:lnTo>
                  <a:pt x="59" y="3"/>
                </a:lnTo>
                <a:lnTo>
                  <a:pt x="59" y="6"/>
                </a:lnTo>
                <a:lnTo>
                  <a:pt x="59" y="6"/>
                </a:lnTo>
                <a:lnTo>
                  <a:pt x="56" y="9"/>
                </a:lnTo>
                <a:lnTo>
                  <a:pt x="56" y="9"/>
                </a:lnTo>
                <a:lnTo>
                  <a:pt x="46" y="9"/>
                </a:lnTo>
                <a:lnTo>
                  <a:pt x="46" y="6"/>
                </a:lnTo>
                <a:lnTo>
                  <a:pt x="46" y="9"/>
                </a:lnTo>
                <a:lnTo>
                  <a:pt x="43" y="9"/>
                </a:lnTo>
                <a:lnTo>
                  <a:pt x="37" y="9"/>
                </a:lnTo>
                <a:lnTo>
                  <a:pt x="37" y="16"/>
                </a:lnTo>
                <a:lnTo>
                  <a:pt x="34" y="12"/>
                </a:lnTo>
                <a:lnTo>
                  <a:pt x="28" y="16"/>
                </a:lnTo>
                <a:lnTo>
                  <a:pt x="28" y="19"/>
                </a:lnTo>
                <a:lnTo>
                  <a:pt x="28" y="31"/>
                </a:lnTo>
                <a:lnTo>
                  <a:pt x="31" y="34"/>
                </a:lnTo>
                <a:lnTo>
                  <a:pt x="31" y="31"/>
                </a:lnTo>
                <a:lnTo>
                  <a:pt x="34" y="31"/>
                </a:lnTo>
                <a:lnTo>
                  <a:pt x="34" y="34"/>
                </a:lnTo>
                <a:lnTo>
                  <a:pt x="31" y="34"/>
                </a:lnTo>
                <a:lnTo>
                  <a:pt x="31" y="41"/>
                </a:lnTo>
                <a:lnTo>
                  <a:pt x="34" y="44"/>
                </a:lnTo>
                <a:lnTo>
                  <a:pt x="40" y="50"/>
                </a:lnTo>
                <a:lnTo>
                  <a:pt x="40" y="50"/>
                </a:lnTo>
                <a:lnTo>
                  <a:pt x="40" y="47"/>
                </a:lnTo>
                <a:lnTo>
                  <a:pt x="43" y="44"/>
                </a:lnTo>
                <a:lnTo>
                  <a:pt x="46" y="47"/>
                </a:lnTo>
                <a:lnTo>
                  <a:pt x="43" y="56"/>
                </a:lnTo>
                <a:lnTo>
                  <a:pt x="43" y="59"/>
                </a:lnTo>
                <a:lnTo>
                  <a:pt x="46" y="59"/>
                </a:lnTo>
                <a:lnTo>
                  <a:pt x="53" y="53"/>
                </a:lnTo>
                <a:lnTo>
                  <a:pt x="56" y="53"/>
                </a:lnTo>
                <a:lnTo>
                  <a:pt x="62" y="56"/>
                </a:lnTo>
                <a:lnTo>
                  <a:pt x="65" y="56"/>
                </a:lnTo>
                <a:lnTo>
                  <a:pt x="65" y="53"/>
                </a:lnTo>
                <a:lnTo>
                  <a:pt x="68" y="56"/>
                </a:lnTo>
                <a:lnTo>
                  <a:pt x="68" y="59"/>
                </a:lnTo>
                <a:lnTo>
                  <a:pt x="71" y="59"/>
                </a:lnTo>
                <a:lnTo>
                  <a:pt x="78" y="62"/>
                </a:lnTo>
                <a:lnTo>
                  <a:pt x="81" y="66"/>
                </a:lnTo>
                <a:lnTo>
                  <a:pt x="84" y="69"/>
                </a:lnTo>
                <a:lnTo>
                  <a:pt x="87" y="72"/>
                </a:lnTo>
                <a:lnTo>
                  <a:pt x="93" y="69"/>
                </a:lnTo>
                <a:lnTo>
                  <a:pt x="100" y="72"/>
                </a:lnTo>
                <a:lnTo>
                  <a:pt x="100" y="72"/>
                </a:lnTo>
                <a:close/>
                <a:moveTo>
                  <a:pt x="21" y="25"/>
                </a:moveTo>
                <a:lnTo>
                  <a:pt x="25" y="25"/>
                </a:lnTo>
                <a:lnTo>
                  <a:pt x="25" y="28"/>
                </a:lnTo>
                <a:lnTo>
                  <a:pt x="21" y="28"/>
                </a:lnTo>
                <a:lnTo>
                  <a:pt x="21" y="25"/>
                </a:lnTo>
                <a:lnTo>
                  <a:pt x="21" y="25"/>
                </a:lnTo>
                <a:close/>
                <a:moveTo>
                  <a:pt x="12" y="34"/>
                </a:moveTo>
                <a:lnTo>
                  <a:pt x="12" y="31"/>
                </a:lnTo>
                <a:lnTo>
                  <a:pt x="9" y="31"/>
                </a:lnTo>
                <a:lnTo>
                  <a:pt x="3" y="31"/>
                </a:lnTo>
                <a:lnTo>
                  <a:pt x="3" y="31"/>
                </a:lnTo>
                <a:lnTo>
                  <a:pt x="9" y="28"/>
                </a:lnTo>
                <a:lnTo>
                  <a:pt x="12" y="25"/>
                </a:lnTo>
                <a:lnTo>
                  <a:pt x="12" y="25"/>
                </a:lnTo>
                <a:lnTo>
                  <a:pt x="12" y="25"/>
                </a:lnTo>
                <a:lnTo>
                  <a:pt x="15" y="25"/>
                </a:lnTo>
                <a:lnTo>
                  <a:pt x="18" y="28"/>
                </a:lnTo>
                <a:lnTo>
                  <a:pt x="21" y="31"/>
                </a:lnTo>
                <a:lnTo>
                  <a:pt x="18" y="31"/>
                </a:lnTo>
                <a:lnTo>
                  <a:pt x="15" y="31"/>
                </a:lnTo>
                <a:lnTo>
                  <a:pt x="12" y="34"/>
                </a:lnTo>
                <a:lnTo>
                  <a:pt x="12" y="34"/>
                </a:lnTo>
                <a:close/>
                <a:moveTo>
                  <a:pt x="21" y="37"/>
                </a:moveTo>
                <a:lnTo>
                  <a:pt x="21" y="34"/>
                </a:lnTo>
                <a:lnTo>
                  <a:pt x="25" y="34"/>
                </a:lnTo>
                <a:lnTo>
                  <a:pt x="28" y="41"/>
                </a:lnTo>
                <a:lnTo>
                  <a:pt x="25" y="41"/>
                </a:lnTo>
                <a:lnTo>
                  <a:pt x="21" y="37"/>
                </a:lnTo>
                <a:lnTo>
                  <a:pt x="21" y="37"/>
                </a:lnTo>
                <a:close/>
                <a:moveTo>
                  <a:pt x="3" y="59"/>
                </a:moveTo>
                <a:lnTo>
                  <a:pt x="6" y="59"/>
                </a:lnTo>
                <a:lnTo>
                  <a:pt x="9" y="56"/>
                </a:lnTo>
                <a:lnTo>
                  <a:pt x="9" y="56"/>
                </a:lnTo>
                <a:lnTo>
                  <a:pt x="9" y="50"/>
                </a:lnTo>
                <a:lnTo>
                  <a:pt x="15" y="50"/>
                </a:lnTo>
                <a:lnTo>
                  <a:pt x="18" y="47"/>
                </a:lnTo>
                <a:lnTo>
                  <a:pt x="21" y="44"/>
                </a:lnTo>
                <a:lnTo>
                  <a:pt x="21" y="44"/>
                </a:lnTo>
                <a:lnTo>
                  <a:pt x="25" y="44"/>
                </a:lnTo>
                <a:lnTo>
                  <a:pt x="21" y="41"/>
                </a:lnTo>
                <a:lnTo>
                  <a:pt x="21" y="41"/>
                </a:lnTo>
                <a:lnTo>
                  <a:pt x="18" y="37"/>
                </a:lnTo>
                <a:lnTo>
                  <a:pt x="12" y="37"/>
                </a:lnTo>
                <a:lnTo>
                  <a:pt x="9" y="37"/>
                </a:lnTo>
                <a:lnTo>
                  <a:pt x="9" y="41"/>
                </a:lnTo>
                <a:lnTo>
                  <a:pt x="6" y="41"/>
                </a:lnTo>
                <a:lnTo>
                  <a:pt x="6" y="41"/>
                </a:lnTo>
                <a:lnTo>
                  <a:pt x="6" y="41"/>
                </a:lnTo>
                <a:lnTo>
                  <a:pt x="3" y="41"/>
                </a:lnTo>
                <a:lnTo>
                  <a:pt x="3" y="41"/>
                </a:lnTo>
                <a:lnTo>
                  <a:pt x="0" y="41"/>
                </a:lnTo>
                <a:lnTo>
                  <a:pt x="3" y="44"/>
                </a:lnTo>
                <a:lnTo>
                  <a:pt x="3" y="44"/>
                </a:lnTo>
                <a:lnTo>
                  <a:pt x="0" y="47"/>
                </a:lnTo>
                <a:lnTo>
                  <a:pt x="0" y="47"/>
                </a:lnTo>
                <a:lnTo>
                  <a:pt x="3" y="50"/>
                </a:lnTo>
                <a:lnTo>
                  <a:pt x="6" y="53"/>
                </a:lnTo>
                <a:lnTo>
                  <a:pt x="6" y="56"/>
                </a:lnTo>
                <a:lnTo>
                  <a:pt x="6" y="56"/>
                </a:lnTo>
                <a:lnTo>
                  <a:pt x="3" y="5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9" name="Freeform 47">
            <a:extLst>
              <a:ext uri="{FF2B5EF4-FFF2-40B4-BE49-F238E27FC236}">
                <a16:creationId xmlns:a16="http://schemas.microsoft.com/office/drawing/2014/main" id="{E31A3B04-C675-7E5F-6949-1BCE5871EB0F}"/>
              </a:ext>
            </a:extLst>
          </p:cNvPr>
          <p:cNvSpPr>
            <a:spLocks/>
          </p:cNvSpPr>
          <p:nvPr userDrawn="1"/>
        </p:nvSpPr>
        <p:spPr bwMode="auto">
          <a:xfrm>
            <a:off x="14289741" y="5244381"/>
            <a:ext cx="396852" cy="219078"/>
          </a:xfrm>
          <a:custGeom>
            <a:avLst/>
            <a:gdLst>
              <a:gd name="T0" fmla="*/ 125 w 125"/>
              <a:gd name="T1" fmla="*/ 47 h 69"/>
              <a:gd name="T2" fmla="*/ 119 w 125"/>
              <a:gd name="T3" fmla="*/ 38 h 69"/>
              <a:gd name="T4" fmla="*/ 116 w 125"/>
              <a:gd name="T5" fmla="*/ 31 h 69"/>
              <a:gd name="T6" fmla="*/ 116 w 125"/>
              <a:gd name="T7" fmla="*/ 25 h 69"/>
              <a:gd name="T8" fmla="*/ 113 w 125"/>
              <a:gd name="T9" fmla="*/ 22 h 69"/>
              <a:gd name="T10" fmla="*/ 103 w 125"/>
              <a:gd name="T11" fmla="*/ 16 h 69"/>
              <a:gd name="T12" fmla="*/ 94 w 125"/>
              <a:gd name="T13" fmla="*/ 16 h 69"/>
              <a:gd name="T14" fmla="*/ 88 w 125"/>
              <a:gd name="T15" fmla="*/ 9 h 69"/>
              <a:gd name="T16" fmla="*/ 78 w 125"/>
              <a:gd name="T17" fmla="*/ 6 h 69"/>
              <a:gd name="T18" fmla="*/ 75 w 125"/>
              <a:gd name="T19" fmla="*/ 0 h 69"/>
              <a:gd name="T20" fmla="*/ 72 w 125"/>
              <a:gd name="T21" fmla="*/ 3 h 69"/>
              <a:gd name="T22" fmla="*/ 63 w 125"/>
              <a:gd name="T23" fmla="*/ 0 h 69"/>
              <a:gd name="T24" fmla="*/ 53 w 125"/>
              <a:gd name="T25" fmla="*/ 6 h 69"/>
              <a:gd name="T26" fmla="*/ 56 w 125"/>
              <a:gd name="T27" fmla="*/ 19 h 69"/>
              <a:gd name="T28" fmla="*/ 47 w 125"/>
              <a:gd name="T29" fmla="*/ 31 h 69"/>
              <a:gd name="T30" fmla="*/ 38 w 125"/>
              <a:gd name="T31" fmla="*/ 28 h 69"/>
              <a:gd name="T32" fmla="*/ 28 w 125"/>
              <a:gd name="T33" fmla="*/ 16 h 69"/>
              <a:gd name="T34" fmla="*/ 25 w 125"/>
              <a:gd name="T35" fmla="*/ 9 h 69"/>
              <a:gd name="T36" fmla="*/ 19 w 125"/>
              <a:gd name="T37" fmla="*/ 16 h 69"/>
              <a:gd name="T38" fmla="*/ 13 w 125"/>
              <a:gd name="T39" fmla="*/ 16 h 69"/>
              <a:gd name="T40" fmla="*/ 10 w 125"/>
              <a:gd name="T41" fmla="*/ 25 h 69"/>
              <a:gd name="T42" fmla="*/ 6 w 125"/>
              <a:gd name="T43" fmla="*/ 31 h 69"/>
              <a:gd name="T44" fmla="*/ 3 w 125"/>
              <a:gd name="T45" fmla="*/ 41 h 69"/>
              <a:gd name="T46" fmla="*/ 0 w 125"/>
              <a:gd name="T47" fmla="*/ 47 h 69"/>
              <a:gd name="T48" fmla="*/ 3 w 125"/>
              <a:gd name="T49" fmla="*/ 60 h 69"/>
              <a:gd name="T50" fmla="*/ 6 w 125"/>
              <a:gd name="T51" fmla="*/ 60 h 69"/>
              <a:gd name="T52" fmla="*/ 16 w 125"/>
              <a:gd name="T53" fmla="*/ 50 h 69"/>
              <a:gd name="T54" fmla="*/ 31 w 125"/>
              <a:gd name="T55" fmla="*/ 47 h 69"/>
              <a:gd name="T56" fmla="*/ 38 w 125"/>
              <a:gd name="T57" fmla="*/ 50 h 69"/>
              <a:gd name="T58" fmla="*/ 44 w 125"/>
              <a:gd name="T59" fmla="*/ 47 h 69"/>
              <a:gd name="T60" fmla="*/ 50 w 125"/>
              <a:gd name="T61" fmla="*/ 50 h 69"/>
              <a:gd name="T62" fmla="*/ 60 w 125"/>
              <a:gd name="T63" fmla="*/ 53 h 69"/>
              <a:gd name="T64" fmla="*/ 66 w 125"/>
              <a:gd name="T65" fmla="*/ 50 h 69"/>
              <a:gd name="T66" fmla="*/ 81 w 125"/>
              <a:gd name="T67" fmla="*/ 53 h 69"/>
              <a:gd name="T68" fmla="*/ 91 w 125"/>
              <a:gd name="T69" fmla="*/ 60 h 69"/>
              <a:gd name="T70" fmla="*/ 100 w 125"/>
              <a:gd name="T71" fmla="*/ 66 h 69"/>
              <a:gd name="T72" fmla="*/ 100 w 125"/>
              <a:gd name="T73" fmla="*/ 69 h 69"/>
              <a:gd name="T74" fmla="*/ 116 w 125"/>
              <a:gd name="T75" fmla="*/ 63 h 69"/>
              <a:gd name="T76" fmla="*/ 119 w 125"/>
              <a:gd name="T77" fmla="*/ 56 h 69"/>
              <a:gd name="T78" fmla="*/ 125 w 125"/>
              <a:gd name="T79" fmla="*/ 5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5" h="69">
                <a:moveTo>
                  <a:pt x="125" y="53"/>
                </a:moveTo>
                <a:lnTo>
                  <a:pt x="125" y="47"/>
                </a:lnTo>
                <a:lnTo>
                  <a:pt x="122" y="44"/>
                </a:lnTo>
                <a:lnTo>
                  <a:pt x="119" y="38"/>
                </a:lnTo>
                <a:lnTo>
                  <a:pt x="119" y="34"/>
                </a:lnTo>
                <a:lnTo>
                  <a:pt x="116" y="31"/>
                </a:lnTo>
                <a:lnTo>
                  <a:pt x="116" y="28"/>
                </a:lnTo>
                <a:lnTo>
                  <a:pt x="116" y="25"/>
                </a:lnTo>
                <a:lnTo>
                  <a:pt x="113" y="25"/>
                </a:lnTo>
                <a:lnTo>
                  <a:pt x="113" y="22"/>
                </a:lnTo>
                <a:lnTo>
                  <a:pt x="113" y="19"/>
                </a:lnTo>
                <a:lnTo>
                  <a:pt x="103" y="16"/>
                </a:lnTo>
                <a:lnTo>
                  <a:pt x="97" y="19"/>
                </a:lnTo>
                <a:lnTo>
                  <a:pt x="94" y="16"/>
                </a:lnTo>
                <a:lnTo>
                  <a:pt x="91" y="13"/>
                </a:lnTo>
                <a:lnTo>
                  <a:pt x="88" y="9"/>
                </a:lnTo>
                <a:lnTo>
                  <a:pt x="81" y="6"/>
                </a:lnTo>
                <a:lnTo>
                  <a:pt x="78" y="6"/>
                </a:lnTo>
                <a:lnTo>
                  <a:pt x="78" y="3"/>
                </a:lnTo>
                <a:lnTo>
                  <a:pt x="75" y="0"/>
                </a:lnTo>
                <a:lnTo>
                  <a:pt x="75" y="3"/>
                </a:lnTo>
                <a:lnTo>
                  <a:pt x="72" y="3"/>
                </a:lnTo>
                <a:lnTo>
                  <a:pt x="66" y="0"/>
                </a:lnTo>
                <a:lnTo>
                  <a:pt x="63" y="0"/>
                </a:lnTo>
                <a:lnTo>
                  <a:pt x="56" y="6"/>
                </a:lnTo>
                <a:lnTo>
                  <a:pt x="53" y="6"/>
                </a:lnTo>
                <a:lnTo>
                  <a:pt x="53" y="9"/>
                </a:lnTo>
                <a:lnTo>
                  <a:pt x="56" y="19"/>
                </a:lnTo>
                <a:lnTo>
                  <a:pt x="53" y="25"/>
                </a:lnTo>
                <a:lnTo>
                  <a:pt x="47" y="31"/>
                </a:lnTo>
                <a:lnTo>
                  <a:pt x="44" y="31"/>
                </a:lnTo>
                <a:lnTo>
                  <a:pt x="38" y="28"/>
                </a:lnTo>
                <a:lnTo>
                  <a:pt x="38" y="25"/>
                </a:lnTo>
                <a:lnTo>
                  <a:pt x="28" y="16"/>
                </a:lnTo>
                <a:lnTo>
                  <a:pt x="28" y="9"/>
                </a:lnTo>
                <a:lnTo>
                  <a:pt x="25" y="9"/>
                </a:lnTo>
                <a:lnTo>
                  <a:pt x="22" y="13"/>
                </a:lnTo>
                <a:lnTo>
                  <a:pt x="19" y="16"/>
                </a:lnTo>
                <a:lnTo>
                  <a:pt x="16" y="16"/>
                </a:lnTo>
                <a:lnTo>
                  <a:pt x="13" y="16"/>
                </a:lnTo>
                <a:lnTo>
                  <a:pt x="10" y="22"/>
                </a:lnTo>
                <a:lnTo>
                  <a:pt x="10" y="25"/>
                </a:lnTo>
                <a:lnTo>
                  <a:pt x="6" y="25"/>
                </a:lnTo>
                <a:lnTo>
                  <a:pt x="6" y="31"/>
                </a:lnTo>
                <a:lnTo>
                  <a:pt x="3" y="38"/>
                </a:lnTo>
                <a:lnTo>
                  <a:pt x="3" y="41"/>
                </a:lnTo>
                <a:lnTo>
                  <a:pt x="3" y="44"/>
                </a:lnTo>
                <a:lnTo>
                  <a:pt x="0" y="47"/>
                </a:lnTo>
                <a:lnTo>
                  <a:pt x="0" y="56"/>
                </a:lnTo>
                <a:lnTo>
                  <a:pt x="3" y="60"/>
                </a:lnTo>
                <a:lnTo>
                  <a:pt x="3" y="60"/>
                </a:lnTo>
                <a:lnTo>
                  <a:pt x="6" y="60"/>
                </a:lnTo>
                <a:lnTo>
                  <a:pt x="10" y="53"/>
                </a:lnTo>
                <a:lnTo>
                  <a:pt x="16" y="50"/>
                </a:lnTo>
                <a:lnTo>
                  <a:pt x="22" y="47"/>
                </a:lnTo>
                <a:lnTo>
                  <a:pt x="31" y="47"/>
                </a:lnTo>
                <a:lnTo>
                  <a:pt x="35" y="47"/>
                </a:lnTo>
                <a:lnTo>
                  <a:pt x="38" y="50"/>
                </a:lnTo>
                <a:lnTo>
                  <a:pt x="41" y="47"/>
                </a:lnTo>
                <a:lnTo>
                  <a:pt x="44" y="47"/>
                </a:lnTo>
                <a:lnTo>
                  <a:pt x="47" y="50"/>
                </a:lnTo>
                <a:lnTo>
                  <a:pt x="50" y="50"/>
                </a:lnTo>
                <a:lnTo>
                  <a:pt x="53" y="53"/>
                </a:lnTo>
                <a:lnTo>
                  <a:pt x="60" y="53"/>
                </a:lnTo>
                <a:lnTo>
                  <a:pt x="60" y="53"/>
                </a:lnTo>
                <a:lnTo>
                  <a:pt x="66" y="50"/>
                </a:lnTo>
                <a:lnTo>
                  <a:pt x="75" y="53"/>
                </a:lnTo>
                <a:lnTo>
                  <a:pt x="81" y="53"/>
                </a:lnTo>
                <a:lnTo>
                  <a:pt x="85" y="60"/>
                </a:lnTo>
                <a:lnTo>
                  <a:pt x="91" y="60"/>
                </a:lnTo>
                <a:lnTo>
                  <a:pt x="94" y="66"/>
                </a:lnTo>
                <a:lnTo>
                  <a:pt x="100" y="66"/>
                </a:lnTo>
                <a:lnTo>
                  <a:pt x="100" y="69"/>
                </a:lnTo>
                <a:lnTo>
                  <a:pt x="100" y="69"/>
                </a:lnTo>
                <a:lnTo>
                  <a:pt x="106" y="66"/>
                </a:lnTo>
                <a:lnTo>
                  <a:pt x="116" y="63"/>
                </a:lnTo>
                <a:lnTo>
                  <a:pt x="116" y="60"/>
                </a:lnTo>
                <a:lnTo>
                  <a:pt x="119" y="56"/>
                </a:lnTo>
                <a:lnTo>
                  <a:pt x="122" y="53"/>
                </a:lnTo>
                <a:lnTo>
                  <a:pt x="125" y="53"/>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0" name="Freeform 48">
            <a:extLst>
              <a:ext uri="{FF2B5EF4-FFF2-40B4-BE49-F238E27FC236}">
                <a16:creationId xmlns:a16="http://schemas.microsoft.com/office/drawing/2014/main" id="{73478B3B-959B-2208-AE1D-39D80EC1055F}"/>
              </a:ext>
            </a:extLst>
          </p:cNvPr>
          <p:cNvSpPr>
            <a:spLocks/>
          </p:cNvSpPr>
          <p:nvPr userDrawn="1"/>
        </p:nvSpPr>
        <p:spPr bwMode="auto">
          <a:xfrm>
            <a:off x="14299267" y="5393608"/>
            <a:ext cx="307956" cy="228600"/>
          </a:xfrm>
          <a:custGeom>
            <a:avLst/>
            <a:gdLst>
              <a:gd name="T0" fmla="*/ 32 w 97"/>
              <a:gd name="T1" fmla="*/ 50 h 72"/>
              <a:gd name="T2" fmla="*/ 32 w 97"/>
              <a:gd name="T3" fmla="*/ 44 h 72"/>
              <a:gd name="T4" fmla="*/ 35 w 97"/>
              <a:gd name="T5" fmla="*/ 41 h 72"/>
              <a:gd name="T6" fmla="*/ 32 w 97"/>
              <a:gd name="T7" fmla="*/ 41 h 72"/>
              <a:gd name="T8" fmla="*/ 28 w 97"/>
              <a:gd name="T9" fmla="*/ 38 h 72"/>
              <a:gd name="T10" fmla="*/ 28 w 97"/>
              <a:gd name="T11" fmla="*/ 34 h 72"/>
              <a:gd name="T12" fmla="*/ 25 w 97"/>
              <a:gd name="T13" fmla="*/ 34 h 72"/>
              <a:gd name="T14" fmla="*/ 19 w 97"/>
              <a:gd name="T15" fmla="*/ 34 h 72"/>
              <a:gd name="T16" fmla="*/ 13 w 97"/>
              <a:gd name="T17" fmla="*/ 31 h 72"/>
              <a:gd name="T18" fmla="*/ 10 w 97"/>
              <a:gd name="T19" fmla="*/ 25 h 72"/>
              <a:gd name="T20" fmla="*/ 3 w 97"/>
              <a:gd name="T21" fmla="*/ 28 h 72"/>
              <a:gd name="T22" fmla="*/ 0 w 97"/>
              <a:gd name="T23" fmla="*/ 25 h 72"/>
              <a:gd name="T24" fmla="*/ 3 w 97"/>
              <a:gd name="T25" fmla="*/ 22 h 72"/>
              <a:gd name="T26" fmla="*/ 0 w 97"/>
              <a:gd name="T27" fmla="*/ 19 h 72"/>
              <a:gd name="T28" fmla="*/ 0 w 97"/>
              <a:gd name="T29" fmla="*/ 13 h 72"/>
              <a:gd name="T30" fmla="*/ 3 w 97"/>
              <a:gd name="T31" fmla="*/ 13 h 72"/>
              <a:gd name="T32" fmla="*/ 7 w 97"/>
              <a:gd name="T33" fmla="*/ 6 h 72"/>
              <a:gd name="T34" fmla="*/ 13 w 97"/>
              <a:gd name="T35" fmla="*/ 3 h 72"/>
              <a:gd name="T36" fmla="*/ 19 w 97"/>
              <a:gd name="T37" fmla="*/ 0 h 72"/>
              <a:gd name="T38" fmla="*/ 28 w 97"/>
              <a:gd name="T39" fmla="*/ 0 h 72"/>
              <a:gd name="T40" fmla="*/ 32 w 97"/>
              <a:gd name="T41" fmla="*/ 0 h 72"/>
              <a:gd name="T42" fmla="*/ 35 w 97"/>
              <a:gd name="T43" fmla="*/ 3 h 72"/>
              <a:gd name="T44" fmla="*/ 38 w 97"/>
              <a:gd name="T45" fmla="*/ 0 h 72"/>
              <a:gd name="T46" fmla="*/ 41 w 97"/>
              <a:gd name="T47" fmla="*/ 0 h 72"/>
              <a:gd name="T48" fmla="*/ 44 w 97"/>
              <a:gd name="T49" fmla="*/ 3 h 72"/>
              <a:gd name="T50" fmla="*/ 47 w 97"/>
              <a:gd name="T51" fmla="*/ 3 h 72"/>
              <a:gd name="T52" fmla="*/ 50 w 97"/>
              <a:gd name="T53" fmla="*/ 6 h 72"/>
              <a:gd name="T54" fmla="*/ 57 w 97"/>
              <a:gd name="T55" fmla="*/ 6 h 72"/>
              <a:gd name="T56" fmla="*/ 57 w 97"/>
              <a:gd name="T57" fmla="*/ 6 h 72"/>
              <a:gd name="T58" fmla="*/ 63 w 97"/>
              <a:gd name="T59" fmla="*/ 3 h 72"/>
              <a:gd name="T60" fmla="*/ 72 w 97"/>
              <a:gd name="T61" fmla="*/ 6 h 72"/>
              <a:gd name="T62" fmla="*/ 78 w 97"/>
              <a:gd name="T63" fmla="*/ 6 h 72"/>
              <a:gd name="T64" fmla="*/ 82 w 97"/>
              <a:gd name="T65" fmla="*/ 13 h 72"/>
              <a:gd name="T66" fmla="*/ 88 w 97"/>
              <a:gd name="T67" fmla="*/ 13 h 72"/>
              <a:gd name="T68" fmla="*/ 91 w 97"/>
              <a:gd name="T69" fmla="*/ 19 h 72"/>
              <a:gd name="T70" fmla="*/ 97 w 97"/>
              <a:gd name="T71" fmla="*/ 19 h 72"/>
              <a:gd name="T72" fmla="*/ 97 w 97"/>
              <a:gd name="T73" fmla="*/ 22 h 72"/>
              <a:gd name="T74" fmla="*/ 94 w 97"/>
              <a:gd name="T75" fmla="*/ 28 h 72"/>
              <a:gd name="T76" fmla="*/ 97 w 97"/>
              <a:gd name="T77" fmla="*/ 28 h 72"/>
              <a:gd name="T78" fmla="*/ 97 w 97"/>
              <a:gd name="T79" fmla="*/ 31 h 72"/>
              <a:gd name="T80" fmla="*/ 91 w 97"/>
              <a:gd name="T81" fmla="*/ 34 h 72"/>
              <a:gd name="T82" fmla="*/ 88 w 97"/>
              <a:gd name="T83" fmla="*/ 41 h 72"/>
              <a:gd name="T84" fmla="*/ 85 w 97"/>
              <a:gd name="T85" fmla="*/ 44 h 72"/>
              <a:gd name="T86" fmla="*/ 82 w 97"/>
              <a:gd name="T87" fmla="*/ 50 h 72"/>
              <a:gd name="T88" fmla="*/ 88 w 97"/>
              <a:gd name="T89" fmla="*/ 50 h 72"/>
              <a:gd name="T90" fmla="*/ 88 w 97"/>
              <a:gd name="T91" fmla="*/ 56 h 72"/>
              <a:gd name="T92" fmla="*/ 85 w 97"/>
              <a:gd name="T93" fmla="*/ 56 h 72"/>
              <a:gd name="T94" fmla="*/ 82 w 97"/>
              <a:gd name="T95" fmla="*/ 53 h 72"/>
              <a:gd name="T96" fmla="*/ 78 w 97"/>
              <a:gd name="T97" fmla="*/ 53 h 72"/>
              <a:gd name="T98" fmla="*/ 75 w 97"/>
              <a:gd name="T99" fmla="*/ 59 h 72"/>
              <a:gd name="T100" fmla="*/ 72 w 97"/>
              <a:gd name="T101" fmla="*/ 59 h 72"/>
              <a:gd name="T102" fmla="*/ 72 w 97"/>
              <a:gd name="T103" fmla="*/ 66 h 72"/>
              <a:gd name="T104" fmla="*/ 69 w 97"/>
              <a:gd name="T105" fmla="*/ 66 h 72"/>
              <a:gd name="T106" fmla="*/ 66 w 97"/>
              <a:gd name="T107" fmla="*/ 69 h 72"/>
              <a:gd name="T108" fmla="*/ 60 w 97"/>
              <a:gd name="T109" fmla="*/ 66 h 72"/>
              <a:gd name="T110" fmla="*/ 53 w 97"/>
              <a:gd name="T111" fmla="*/ 69 h 72"/>
              <a:gd name="T112" fmla="*/ 47 w 97"/>
              <a:gd name="T113" fmla="*/ 72 h 72"/>
              <a:gd name="T114" fmla="*/ 44 w 97"/>
              <a:gd name="T115" fmla="*/ 66 h 72"/>
              <a:gd name="T116" fmla="*/ 47 w 97"/>
              <a:gd name="T117" fmla="*/ 63 h 72"/>
              <a:gd name="T118" fmla="*/ 44 w 97"/>
              <a:gd name="T119" fmla="*/ 56 h 72"/>
              <a:gd name="T120" fmla="*/ 41 w 97"/>
              <a:gd name="T121" fmla="*/ 53 h 72"/>
              <a:gd name="T122" fmla="*/ 38 w 97"/>
              <a:gd name="T123" fmla="*/ 50 h 72"/>
              <a:gd name="T124" fmla="*/ 32 w 97"/>
              <a:gd name="T125" fmla="*/ 5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7" h="72">
                <a:moveTo>
                  <a:pt x="32" y="50"/>
                </a:moveTo>
                <a:lnTo>
                  <a:pt x="32" y="44"/>
                </a:lnTo>
                <a:lnTo>
                  <a:pt x="35" y="41"/>
                </a:lnTo>
                <a:lnTo>
                  <a:pt x="32" y="41"/>
                </a:lnTo>
                <a:lnTo>
                  <a:pt x="28" y="38"/>
                </a:lnTo>
                <a:lnTo>
                  <a:pt x="28" y="34"/>
                </a:lnTo>
                <a:lnTo>
                  <a:pt x="25" y="34"/>
                </a:lnTo>
                <a:lnTo>
                  <a:pt x="19" y="34"/>
                </a:lnTo>
                <a:lnTo>
                  <a:pt x="13" y="31"/>
                </a:lnTo>
                <a:lnTo>
                  <a:pt x="10" y="25"/>
                </a:lnTo>
                <a:lnTo>
                  <a:pt x="3" y="28"/>
                </a:lnTo>
                <a:lnTo>
                  <a:pt x="0" y="25"/>
                </a:lnTo>
                <a:lnTo>
                  <a:pt x="3" y="22"/>
                </a:lnTo>
                <a:lnTo>
                  <a:pt x="0" y="19"/>
                </a:lnTo>
                <a:lnTo>
                  <a:pt x="0" y="13"/>
                </a:lnTo>
                <a:lnTo>
                  <a:pt x="3" y="13"/>
                </a:lnTo>
                <a:lnTo>
                  <a:pt x="7" y="6"/>
                </a:lnTo>
                <a:lnTo>
                  <a:pt x="13" y="3"/>
                </a:lnTo>
                <a:lnTo>
                  <a:pt x="19" y="0"/>
                </a:lnTo>
                <a:lnTo>
                  <a:pt x="28" y="0"/>
                </a:lnTo>
                <a:lnTo>
                  <a:pt x="32" y="0"/>
                </a:lnTo>
                <a:lnTo>
                  <a:pt x="35" y="3"/>
                </a:lnTo>
                <a:lnTo>
                  <a:pt x="38" y="0"/>
                </a:lnTo>
                <a:lnTo>
                  <a:pt x="41" y="0"/>
                </a:lnTo>
                <a:lnTo>
                  <a:pt x="44" y="3"/>
                </a:lnTo>
                <a:lnTo>
                  <a:pt x="47" y="3"/>
                </a:lnTo>
                <a:lnTo>
                  <a:pt x="50" y="6"/>
                </a:lnTo>
                <a:lnTo>
                  <a:pt x="57" y="6"/>
                </a:lnTo>
                <a:lnTo>
                  <a:pt x="57" y="6"/>
                </a:lnTo>
                <a:lnTo>
                  <a:pt x="63" y="3"/>
                </a:lnTo>
                <a:lnTo>
                  <a:pt x="72" y="6"/>
                </a:lnTo>
                <a:lnTo>
                  <a:pt x="78" y="6"/>
                </a:lnTo>
                <a:lnTo>
                  <a:pt x="82" y="13"/>
                </a:lnTo>
                <a:lnTo>
                  <a:pt x="88" y="13"/>
                </a:lnTo>
                <a:lnTo>
                  <a:pt x="91" y="19"/>
                </a:lnTo>
                <a:lnTo>
                  <a:pt x="97" y="19"/>
                </a:lnTo>
                <a:lnTo>
                  <a:pt x="97" y="22"/>
                </a:lnTo>
                <a:lnTo>
                  <a:pt x="94" y="28"/>
                </a:lnTo>
                <a:lnTo>
                  <a:pt x="97" y="28"/>
                </a:lnTo>
                <a:lnTo>
                  <a:pt x="97" y="31"/>
                </a:lnTo>
                <a:lnTo>
                  <a:pt x="91" y="34"/>
                </a:lnTo>
                <a:lnTo>
                  <a:pt x="88" y="41"/>
                </a:lnTo>
                <a:lnTo>
                  <a:pt x="85" y="44"/>
                </a:lnTo>
                <a:lnTo>
                  <a:pt x="82" y="50"/>
                </a:lnTo>
                <a:lnTo>
                  <a:pt x="88" y="50"/>
                </a:lnTo>
                <a:lnTo>
                  <a:pt x="88" y="56"/>
                </a:lnTo>
                <a:lnTo>
                  <a:pt x="85" y="56"/>
                </a:lnTo>
                <a:lnTo>
                  <a:pt x="82" y="53"/>
                </a:lnTo>
                <a:lnTo>
                  <a:pt x="78" y="53"/>
                </a:lnTo>
                <a:lnTo>
                  <a:pt x="75" y="59"/>
                </a:lnTo>
                <a:lnTo>
                  <a:pt x="72" y="59"/>
                </a:lnTo>
                <a:lnTo>
                  <a:pt x="72" y="66"/>
                </a:lnTo>
                <a:lnTo>
                  <a:pt x="69" y="66"/>
                </a:lnTo>
                <a:lnTo>
                  <a:pt x="66" y="69"/>
                </a:lnTo>
                <a:lnTo>
                  <a:pt x="60" y="66"/>
                </a:lnTo>
                <a:lnTo>
                  <a:pt x="53" y="69"/>
                </a:lnTo>
                <a:lnTo>
                  <a:pt x="47" y="72"/>
                </a:lnTo>
                <a:lnTo>
                  <a:pt x="44" y="66"/>
                </a:lnTo>
                <a:lnTo>
                  <a:pt x="47" y="63"/>
                </a:lnTo>
                <a:lnTo>
                  <a:pt x="44" y="56"/>
                </a:lnTo>
                <a:lnTo>
                  <a:pt x="41" y="53"/>
                </a:lnTo>
                <a:lnTo>
                  <a:pt x="38" y="50"/>
                </a:lnTo>
                <a:lnTo>
                  <a:pt x="32" y="5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1" name="Freeform 49">
            <a:extLst>
              <a:ext uri="{FF2B5EF4-FFF2-40B4-BE49-F238E27FC236}">
                <a16:creationId xmlns:a16="http://schemas.microsoft.com/office/drawing/2014/main" id="{99298F62-8D5E-06AC-CB19-7CE5DF2B2E3F}"/>
              </a:ext>
            </a:extLst>
          </p:cNvPr>
          <p:cNvSpPr>
            <a:spLocks/>
          </p:cNvSpPr>
          <p:nvPr userDrawn="1"/>
        </p:nvSpPr>
        <p:spPr bwMode="auto">
          <a:xfrm>
            <a:off x="14448482" y="5412657"/>
            <a:ext cx="527016" cy="396878"/>
          </a:xfrm>
          <a:custGeom>
            <a:avLst/>
            <a:gdLst>
              <a:gd name="T0" fmla="*/ 6 w 166"/>
              <a:gd name="T1" fmla="*/ 63 h 125"/>
              <a:gd name="T2" fmla="*/ 19 w 166"/>
              <a:gd name="T3" fmla="*/ 63 h 125"/>
              <a:gd name="T4" fmla="*/ 25 w 166"/>
              <a:gd name="T5" fmla="*/ 60 h 125"/>
              <a:gd name="T6" fmla="*/ 28 w 166"/>
              <a:gd name="T7" fmla="*/ 53 h 125"/>
              <a:gd name="T8" fmla="*/ 35 w 166"/>
              <a:gd name="T9" fmla="*/ 47 h 125"/>
              <a:gd name="T10" fmla="*/ 41 w 166"/>
              <a:gd name="T11" fmla="*/ 50 h 125"/>
              <a:gd name="T12" fmla="*/ 35 w 166"/>
              <a:gd name="T13" fmla="*/ 44 h 125"/>
              <a:gd name="T14" fmla="*/ 41 w 166"/>
              <a:gd name="T15" fmla="*/ 35 h 125"/>
              <a:gd name="T16" fmla="*/ 50 w 166"/>
              <a:gd name="T17" fmla="*/ 25 h 125"/>
              <a:gd name="T18" fmla="*/ 47 w 166"/>
              <a:gd name="T19" fmla="*/ 22 h 125"/>
              <a:gd name="T20" fmla="*/ 56 w 166"/>
              <a:gd name="T21" fmla="*/ 13 h 125"/>
              <a:gd name="T22" fmla="*/ 66 w 166"/>
              <a:gd name="T23" fmla="*/ 7 h 125"/>
              <a:gd name="T24" fmla="*/ 72 w 166"/>
              <a:gd name="T25" fmla="*/ 0 h 125"/>
              <a:gd name="T26" fmla="*/ 78 w 166"/>
              <a:gd name="T27" fmla="*/ 0 h 125"/>
              <a:gd name="T28" fmla="*/ 88 w 166"/>
              <a:gd name="T29" fmla="*/ 7 h 125"/>
              <a:gd name="T30" fmla="*/ 97 w 166"/>
              <a:gd name="T31" fmla="*/ 3 h 125"/>
              <a:gd name="T32" fmla="*/ 106 w 166"/>
              <a:gd name="T33" fmla="*/ 7 h 125"/>
              <a:gd name="T34" fmla="*/ 113 w 166"/>
              <a:gd name="T35" fmla="*/ 7 h 125"/>
              <a:gd name="T36" fmla="*/ 125 w 166"/>
              <a:gd name="T37" fmla="*/ 10 h 125"/>
              <a:gd name="T38" fmla="*/ 125 w 166"/>
              <a:gd name="T39" fmla="*/ 19 h 125"/>
              <a:gd name="T40" fmla="*/ 128 w 166"/>
              <a:gd name="T41" fmla="*/ 28 h 125"/>
              <a:gd name="T42" fmla="*/ 135 w 166"/>
              <a:gd name="T43" fmla="*/ 41 h 125"/>
              <a:gd name="T44" fmla="*/ 144 w 166"/>
              <a:gd name="T45" fmla="*/ 50 h 125"/>
              <a:gd name="T46" fmla="*/ 153 w 166"/>
              <a:gd name="T47" fmla="*/ 60 h 125"/>
              <a:gd name="T48" fmla="*/ 160 w 166"/>
              <a:gd name="T49" fmla="*/ 69 h 125"/>
              <a:gd name="T50" fmla="*/ 163 w 166"/>
              <a:gd name="T51" fmla="*/ 72 h 125"/>
              <a:gd name="T52" fmla="*/ 150 w 166"/>
              <a:gd name="T53" fmla="*/ 82 h 125"/>
              <a:gd name="T54" fmla="*/ 144 w 166"/>
              <a:gd name="T55" fmla="*/ 82 h 125"/>
              <a:gd name="T56" fmla="*/ 147 w 166"/>
              <a:gd name="T57" fmla="*/ 91 h 125"/>
              <a:gd name="T58" fmla="*/ 150 w 166"/>
              <a:gd name="T59" fmla="*/ 103 h 125"/>
              <a:gd name="T60" fmla="*/ 150 w 166"/>
              <a:gd name="T61" fmla="*/ 107 h 125"/>
              <a:gd name="T62" fmla="*/ 138 w 166"/>
              <a:gd name="T63" fmla="*/ 110 h 125"/>
              <a:gd name="T64" fmla="*/ 135 w 166"/>
              <a:gd name="T65" fmla="*/ 125 h 125"/>
              <a:gd name="T66" fmla="*/ 125 w 166"/>
              <a:gd name="T67" fmla="*/ 122 h 125"/>
              <a:gd name="T68" fmla="*/ 116 w 166"/>
              <a:gd name="T69" fmla="*/ 122 h 125"/>
              <a:gd name="T70" fmla="*/ 110 w 166"/>
              <a:gd name="T71" fmla="*/ 125 h 125"/>
              <a:gd name="T72" fmla="*/ 103 w 166"/>
              <a:gd name="T73" fmla="*/ 122 h 125"/>
              <a:gd name="T74" fmla="*/ 94 w 166"/>
              <a:gd name="T75" fmla="*/ 125 h 125"/>
              <a:gd name="T76" fmla="*/ 85 w 166"/>
              <a:gd name="T77" fmla="*/ 122 h 125"/>
              <a:gd name="T78" fmla="*/ 81 w 166"/>
              <a:gd name="T79" fmla="*/ 122 h 125"/>
              <a:gd name="T80" fmla="*/ 69 w 166"/>
              <a:gd name="T81" fmla="*/ 122 h 125"/>
              <a:gd name="T82" fmla="*/ 66 w 166"/>
              <a:gd name="T83" fmla="*/ 119 h 125"/>
              <a:gd name="T84" fmla="*/ 47 w 166"/>
              <a:gd name="T85" fmla="*/ 113 h 125"/>
              <a:gd name="T86" fmla="*/ 41 w 166"/>
              <a:gd name="T87" fmla="*/ 119 h 125"/>
              <a:gd name="T88" fmla="*/ 22 w 166"/>
              <a:gd name="T89" fmla="*/ 119 h 125"/>
              <a:gd name="T90" fmla="*/ 13 w 166"/>
              <a:gd name="T91" fmla="*/ 119 h 125"/>
              <a:gd name="T92" fmla="*/ 10 w 166"/>
              <a:gd name="T93" fmla="*/ 116 h 125"/>
              <a:gd name="T94" fmla="*/ 3 w 166"/>
              <a:gd name="T95" fmla="*/ 103 h 125"/>
              <a:gd name="T96" fmla="*/ 10 w 166"/>
              <a:gd name="T97" fmla="*/ 97 h 125"/>
              <a:gd name="T98" fmla="*/ 10 w 166"/>
              <a:gd name="T99" fmla="*/ 85 h 125"/>
              <a:gd name="T100" fmla="*/ 3 w 166"/>
              <a:gd name="T101" fmla="*/ 75 h 125"/>
              <a:gd name="T102" fmla="*/ 0 w 166"/>
              <a:gd name="T103" fmla="*/ 6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6" h="125">
                <a:moveTo>
                  <a:pt x="0" y="66"/>
                </a:moveTo>
                <a:lnTo>
                  <a:pt x="6" y="63"/>
                </a:lnTo>
                <a:lnTo>
                  <a:pt x="13" y="60"/>
                </a:lnTo>
                <a:lnTo>
                  <a:pt x="19" y="63"/>
                </a:lnTo>
                <a:lnTo>
                  <a:pt x="22" y="60"/>
                </a:lnTo>
                <a:lnTo>
                  <a:pt x="25" y="60"/>
                </a:lnTo>
                <a:lnTo>
                  <a:pt x="25" y="53"/>
                </a:lnTo>
                <a:lnTo>
                  <a:pt x="28" y="53"/>
                </a:lnTo>
                <a:lnTo>
                  <a:pt x="31" y="47"/>
                </a:lnTo>
                <a:lnTo>
                  <a:pt x="35" y="47"/>
                </a:lnTo>
                <a:lnTo>
                  <a:pt x="38" y="50"/>
                </a:lnTo>
                <a:lnTo>
                  <a:pt x="41" y="50"/>
                </a:lnTo>
                <a:lnTo>
                  <a:pt x="41" y="44"/>
                </a:lnTo>
                <a:lnTo>
                  <a:pt x="35" y="44"/>
                </a:lnTo>
                <a:lnTo>
                  <a:pt x="38" y="38"/>
                </a:lnTo>
                <a:lnTo>
                  <a:pt x="41" y="35"/>
                </a:lnTo>
                <a:lnTo>
                  <a:pt x="44" y="28"/>
                </a:lnTo>
                <a:lnTo>
                  <a:pt x="50" y="25"/>
                </a:lnTo>
                <a:lnTo>
                  <a:pt x="50" y="22"/>
                </a:lnTo>
                <a:lnTo>
                  <a:pt x="47" y="22"/>
                </a:lnTo>
                <a:lnTo>
                  <a:pt x="50" y="16"/>
                </a:lnTo>
                <a:lnTo>
                  <a:pt x="56" y="13"/>
                </a:lnTo>
                <a:lnTo>
                  <a:pt x="66" y="10"/>
                </a:lnTo>
                <a:lnTo>
                  <a:pt x="66" y="7"/>
                </a:lnTo>
                <a:lnTo>
                  <a:pt x="69" y="3"/>
                </a:lnTo>
                <a:lnTo>
                  <a:pt x="72" y="0"/>
                </a:lnTo>
                <a:lnTo>
                  <a:pt x="75" y="0"/>
                </a:lnTo>
                <a:lnTo>
                  <a:pt x="78" y="0"/>
                </a:lnTo>
                <a:lnTo>
                  <a:pt x="85" y="0"/>
                </a:lnTo>
                <a:lnTo>
                  <a:pt x="88" y="7"/>
                </a:lnTo>
                <a:lnTo>
                  <a:pt x="94" y="3"/>
                </a:lnTo>
                <a:lnTo>
                  <a:pt x="97" y="3"/>
                </a:lnTo>
                <a:lnTo>
                  <a:pt x="100" y="10"/>
                </a:lnTo>
                <a:lnTo>
                  <a:pt x="106" y="7"/>
                </a:lnTo>
                <a:lnTo>
                  <a:pt x="113" y="3"/>
                </a:lnTo>
                <a:lnTo>
                  <a:pt x="113" y="7"/>
                </a:lnTo>
                <a:lnTo>
                  <a:pt x="116" y="7"/>
                </a:lnTo>
                <a:lnTo>
                  <a:pt x="125" y="10"/>
                </a:lnTo>
                <a:lnTo>
                  <a:pt x="125" y="16"/>
                </a:lnTo>
                <a:lnTo>
                  <a:pt x="125" y="19"/>
                </a:lnTo>
                <a:lnTo>
                  <a:pt x="128" y="25"/>
                </a:lnTo>
                <a:lnTo>
                  <a:pt x="128" y="28"/>
                </a:lnTo>
                <a:lnTo>
                  <a:pt x="131" y="35"/>
                </a:lnTo>
                <a:lnTo>
                  <a:pt x="135" y="41"/>
                </a:lnTo>
                <a:lnTo>
                  <a:pt x="141" y="47"/>
                </a:lnTo>
                <a:lnTo>
                  <a:pt x="144" y="50"/>
                </a:lnTo>
                <a:lnTo>
                  <a:pt x="147" y="57"/>
                </a:lnTo>
                <a:lnTo>
                  <a:pt x="153" y="60"/>
                </a:lnTo>
                <a:lnTo>
                  <a:pt x="160" y="66"/>
                </a:lnTo>
                <a:lnTo>
                  <a:pt x="160" y="69"/>
                </a:lnTo>
                <a:lnTo>
                  <a:pt x="166" y="72"/>
                </a:lnTo>
                <a:lnTo>
                  <a:pt x="163" y="72"/>
                </a:lnTo>
                <a:lnTo>
                  <a:pt x="160" y="82"/>
                </a:lnTo>
                <a:lnTo>
                  <a:pt x="150" y="82"/>
                </a:lnTo>
                <a:lnTo>
                  <a:pt x="144" y="78"/>
                </a:lnTo>
                <a:lnTo>
                  <a:pt x="144" y="82"/>
                </a:lnTo>
                <a:lnTo>
                  <a:pt x="144" y="85"/>
                </a:lnTo>
                <a:lnTo>
                  <a:pt x="147" y="91"/>
                </a:lnTo>
                <a:lnTo>
                  <a:pt x="147" y="97"/>
                </a:lnTo>
                <a:lnTo>
                  <a:pt x="150" y="103"/>
                </a:lnTo>
                <a:lnTo>
                  <a:pt x="150" y="107"/>
                </a:lnTo>
                <a:lnTo>
                  <a:pt x="150" y="107"/>
                </a:lnTo>
                <a:lnTo>
                  <a:pt x="141" y="110"/>
                </a:lnTo>
                <a:lnTo>
                  <a:pt x="138" y="110"/>
                </a:lnTo>
                <a:lnTo>
                  <a:pt x="135" y="116"/>
                </a:lnTo>
                <a:lnTo>
                  <a:pt x="135" y="125"/>
                </a:lnTo>
                <a:lnTo>
                  <a:pt x="128" y="125"/>
                </a:lnTo>
                <a:lnTo>
                  <a:pt x="125" y="122"/>
                </a:lnTo>
                <a:lnTo>
                  <a:pt x="119" y="122"/>
                </a:lnTo>
                <a:lnTo>
                  <a:pt x="116" y="122"/>
                </a:lnTo>
                <a:lnTo>
                  <a:pt x="113" y="122"/>
                </a:lnTo>
                <a:lnTo>
                  <a:pt x="110" y="125"/>
                </a:lnTo>
                <a:lnTo>
                  <a:pt x="106" y="125"/>
                </a:lnTo>
                <a:lnTo>
                  <a:pt x="103" y="122"/>
                </a:lnTo>
                <a:lnTo>
                  <a:pt x="100" y="119"/>
                </a:lnTo>
                <a:lnTo>
                  <a:pt x="94" y="125"/>
                </a:lnTo>
                <a:lnTo>
                  <a:pt x="91" y="122"/>
                </a:lnTo>
                <a:lnTo>
                  <a:pt x="85" y="122"/>
                </a:lnTo>
                <a:lnTo>
                  <a:pt x="81" y="122"/>
                </a:lnTo>
                <a:lnTo>
                  <a:pt x="81" y="122"/>
                </a:lnTo>
                <a:lnTo>
                  <a:pt x="78" y="122"/>
                </a:lnTo>
                <a:lnTo>
                  <a:pt x="69" y="122"/>
                </a:lnTo>
                <a:lnTo>
                  <a:pt x="69" y="122"/>
                </a:lnTo>
                <a:lnTo>
                  <a:pt x="66" y="119"/>
                </a:lnTo>
                <a:lnTo>
                  <a:pt x="53" y="116"/>
                </a:lnTo>
                <a:lnTo>
                  <a:pt x="47" y="113"/>
                </a:lnTo>
                <a:lnTo>
                  <a:pt x="47" y="113"/>
                </a:lnTo>
                <a:lnTo>
                  <a:pt x="41" y="119"/>
                </a:lnTo>
                <a:lnTo>
                  <a:pt x="35" y="119"/>
                </a:lnTo>
                <a:lnTo>
                  <a:pt x="22" y="119"/>
                </a:lnTo>
                <a:lnTo>
                  <a:pt x="19" y="122"/>
                </a:lnTo>
                <a:lnTo>
                  <a:pt x="13" y="119"/>
                </a:lnTo>
                <a:lnTo>
                  <a:pt x="10" y="119"/>
                </a:lnTo>
                <a:lnTo>
                  <a:pt x="10" y="116"/>
                </a:lnTo>
                <a:lnTo>
                  <a:pt x="6" y="110"/>
                </a:lnTo>
                <a:lnTo>
                  <a:pt x="3" y="103"/>
                </a:lnTo>
                <a:lnTo>
                  <a:pt x="6" y="100"/>
                </a:lnTo>
                <a:lnTo>
                  <a:pt x="10" y="97"/>
                </a:lnTo>
                <a:lnTo>
                  <a:pt x="10" y="85"/>
                </a:lnTo>
                <a:lnTo>
                  <a:pt x="10" y="85"/>
                </a:lnTo>
                <a:lnTo>
                  <a:pt x="6" y="78"/>
                </a:lnTo>
                <a:lnTo>
                  <a:pt x="3" y="75"/>
                </a:lnTo>
                <a:lnTo>
                  <a:pt x="3" y="66"/>
                </a:lnTo>
                <a:lnTo>
                  <a:pt x="0" y="6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2" name="Freeform 50">
            <a:extLst>
              <a:ext uri="{FF2B5EF4-FFF2-40B4-BE49-F238E27FC236}">
                <a16:creationId xmlns:a16="http://schemas.microsoft.com/office/drawing/2014/main" id="{E040B357-EC93-20CD-95CC-92375C1BEA56}"/>
              </a:ext>
            </a:extLst>
          </p:cNvPr>
          <p:cNvSpPr>
            <a:spLocks/>
          </p:cNvSpPr>
          <p:nvPr userDrawn="1"/>
        </p:nvSpPr>
        <p:spPr bwMode="auto">
          <a:xfrm>
            <a:off x="14410383" y="5730156"/>
            <a:ext cx="1031811" cy="638176"/>
          </a:xfrm>
          <a:custGeom>
            <a:avLst/>
            <a:gdLst>
              <a:gd name="T0" fmla="*/ 47 w 325"/>
              <a:gd name="T1" fmla="*/ 19 h 201"/>
              <a:gd name="T2" fmla="*/ 78 w 325"/>
              <a:gd name="T3" fmla="*/ 19 h 201"/>
              <a:gd name="T4" fmla="*/ 93 w 325"/>
              <a:gd name="T5" fmla="*/ 22 h 201"/>
              <a:gd name="T6" fmla="*/ 115 w 325"/>
              <a:gd name="T7" fmla="*/ 22 h 201"/>
              <a:gd name="T8" fmla="*/ 131 w 325"/>
              <a:gd name="T9" fmla="*/ 22 h 201"/>
              <a:gd name="T10" fmla="*/ 150 w 325"/>
              <a:gd name="T11" fmla="*/ 10 h 201"/>
              <a:gd name="T12" fmla="*/ 172 w 325"/>
              <a:gd name="T13" fmla="*/ 3 h 201"/>
              <a:gd name="T14" fmla="*/ 203 w 325"/>
              <a:gd name="T15" fmla="*/ 0 h 201"/>
              <a:gd name="T16" fmla="*/ 225 w 325"/>
              <a:gd name="T17" fmla="*/ 22 h 201"/>
              <a:gd name="T18" fmla="*/ 234 w 325"/>
              <a:gd name="T19" fmla="*/ 44 h 201"/>
              <a:gd name="T20" fmla="*/ 262 w 325"/>
              <a:gd name="T21" fmla="*/ 50 h 201"/>
              <a:gd name="T22" fmla="*/ 284 w 325"/>
              <a:gd name="T23" fmla="*/ 63 h 201"/>
              <a:gd name="T24" fmla="*/ 306 w 325"/>
              <a:gd name="T25" fmla="*/ 63 h 201"/>
              <a:gd name="T26" fmla="*/ 325 w 325"/>
              <a:gd name="T27" fmla="*/ 69 h 201"/>
              <a:gd name="T28" fmla="*/ 322 w 325"/>
              <a:gd name="T29" fmla="*/ 94 h 201"/>
              <a:gd name="T30" fmla="*/ 306 w 325"/>
              <a:gd name="T31" fmla="*/ 113 h 201"/>
              <a:gd name="T32" fmla="*/ 297 w 325"/>
              <a:gd name="T33" fmla="*/ 132 h 201"/>
              <a:gd name="T34" fmla="*/ 278 w 325"/>
              <a:gd name="T35" fmla="*/ 138 h 201"/>
              <a:gd name="T36" fmla="*/ 262 w 325"/>
              <a:gd name="T37" fmla="*/ 144 h 201"/>
              <a:gd name="T38" fmla="*/ 247 w 325"/>
              <a:gd name="T39" fmla="*/ 144 h 201"/>
              <a:gd name="T40" fmla="*/ 243 w 325"/>
              <a:gd name="T41" fmla="*/ 157 h 201"/>
              <a:gd name="T42" fmla="*/ 243 w 325"/>
              <a:gd name="T43" fmla="*/ 151 h 201"/>
              <a:gd name="T44" fmla="*/ 231 w 325"/>
              <a:gd name="T45" fmla="*/ 160 h 201"/>
              <a:gd name="T46" fmla="*/ 215 w 325"/>
              <a:gd name="T47" fmla="*/ 160 h 201"/>
              <a:gd name="T48" fmla="*/ 231 w 325"/>
              <a:gd name="T49" fmla="*/ 166 h 201"/>
              <a:gd name="T50" fmla="*/ 234 w 325"/>
              <a:gd name="T51" fmla="*/ 172 h 201"/>
              <a:gd name="T52" fmla="*/ 243 w 325"/>
              <a:gd name="T53" fmla="*/ 179 h 201"/>
              <a:gd name="T54" fmla="*/ 234 w 325"/>
              <a:gd name="T55" fmla="*/ 160 h 201"/>
              <a:gd name="T56" fmla="*/ 253 w 325"/>
              <a:gd name="T57" fmla="*/ 182 h 201"/>
              <a:gd name="T58" fmla="*/ 268 w 325"/>
              <a:gd name="T59" fmla="*/ 176 h 201"/>
              <a:gd name="T60" fmla="*/ 268 w 325"/>
              <a:gd name="T61" fmla="*/ 185 h 201"/>
              <a:gd name="T62" fmla="*/ 240 w 325"/>
              <a:gd name="T63" fmla="*/ 191 h 201"/>
              <a:gd name="T64" fmla="*/ 215 w 325"/>
              <a:gd name="T65" fmla="*/ 197 h 201"/>
              <a:gd name="T66" fmla="*/ 206 w 325"/>
              <a:gd name="T67" fmla="*/ 182 h 201"/>
              <a:gd name="T68" fmla="*/ 215 w 325"/>
              <a:gd name="T69" fmla="*/ 169 h 201"/>
              <a:gd name="T70" fmla="*/ 212 w 325"/>
              <a:gd name="T71" fmla="*/ 163 h 201"/>
              <a:gd name="T72" fmla="*/ 190 w 325"/>
              <a:gd name="T73" fmla="*/ 160 h 201"/>
              <a:gd name="T74" fmla="*/ 181 w 325"/>
              <a:gd name="T75" fmla="*/ 154 h 201"/>
              <a:gd name="T76" fmla="*/ 187 w 325"/>
              <a:gd name="T77" fmla="*/ 151 h 201"/>
              <a:gd name="T78" fmla="*/ 184 w 325"/>
              <a:gd name="T79" fmla="*/ 144 h 201"/>
              <a:gd name="T80" fmla="*/ 175 w 325"/>
              <a:gd name="T81" fmla="*/ 147 h 201"/>
              <a:gd name="T82" fmla="*/ 162 w 325"/>
              <a:gd name="T83" fmla="*/ 157 h 201"/>
              <a:gd name="T84" fmla="*/ 147 w 325"/>
              <a:gd name="T85" fmla="*/ 176 h 201"/>
              <a:gd name="T86" fmla="*/ 147 w 325"/>
              <a:gd name="T87" fmla="*/ 182 h 201"/>
              <a:gd name="T88" fmla="*/ 128 w 325"/>
              <a:gd name="T89" fmla="*/ 182 h 201"/>
              <a:gd name="T90" fmla="*/ 125 w 325"/>
              <a:gd name="T91" fmla="*/ 172 h 201"/>
              <a:gd name="T92" fmla="*/ 134 w 325"/>
              <a:gd name="T93" fmla="*/ 154 h 201"/>
              <a:gd name="T94" fmla="*/ 147 w 325"/>
              <a:gd name="T95" fmla="*/ 147 h 201"/>
              <a:gd name="T96" fmla="*/ 134 w 325"/>
              <a:gd name="T97" fmla="*/ 132 h 201"/>
              <a:gd name="T98" fmla="*/ 118 w 325"/>
              <a:gd name="T99" fmla="*/ 110 h 201"/>
              <a:gd name="T100" fmla="*/ 100 w 325"/>
              <a:gd name="T101" fmla="*/ 104 h 201"/>
              <a:gd name="T102" fmla="*/ 84 w 325"/>
              <a:gd name="T103" fmla="*/ 100 h 201"/>
              <a:gd name="T104" fmla="*/ 81 w 325"/>
              <a:gd name="T105" fmla="*/ 113 h 201"/>
              <a:gd name="T106" fmla="*/ 53 w 325"/>
              <a:gd name="T107" fmla="*/ 125 h 201"/>
              <a:gd name="T108" fmla="*/ 28 w 325"/>
              <a:gd name="T109" fmla="*/ 119 h 201"/>
              <a:gd name="T110" fmla="*/ 9 w 325"/>
              <a:gd name="T111" fmla="*/ 113 h 201"/>
              <a:gd name="T112" fmla="*/ 6 w 325"/>
              <a:gd name="T113" fmla="*/ 91 h 201"/>
              <a:gd name="T114" fmla="*/ 25 w 325"/>
              <a:gd name="T115" fmla="*/ 60 h 201"/>
              <a:gd name="T116" fmla="*/ 28 w 325"/>
              <a:gd name="T117" fmla="*/ 44 h 201"/>
              <a:gd name="T118" fmla="*/ 22 w 325"/>
              <a:gd name="T119" fmla="*/ 2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5" h="201">
                <a:moveTo>
                  <a:pt x="22" y="19"/>
                </a:moveTo>
                <a:lnTo>
                  <a:pt x="25" y="19"/>
                </a:lnTo>
                <a:lnTo>
                  <a:pt x="31" y="22"/>
                </a:lnTo>
                <a:lnTo>
                  <a:pt x="34" y="19"/>
                </a:lnTo>
                <a:lnTo>
                  <a:pt x="47" y="19"/>
                </a:lnTo>
                <a:lnTo>
                  <a:pt x="53" y="19"/>
                </a:lnTo>
                <a:lnTo>
                  <a:pt x="59" y="13"/>
                </a:lnTo>
                <a:lnTo>
                  <a:pt x="59" y="13"/>
                </a:lnTo>
                <a:lnTo>
                  <a:pt x="65" y="16"/>
                </a:lnTo>
                <a:lnTo>
                  <a:pt x="78" y="19"/>
                </a:lnTo>
                <a:lnTo>
                  <a:pt x="81" y="22"/>
                </a:lnTo>
                <a:lnTo>
                  <a:pt x="81" y="22"/>
                </a:lnTo>
                <a:lnTo>
                  <a:pt x="90" y="22"/>
                </a:lnTo>
                <a:lnTo>
                  <a:pt x="93" y="22"/>
                </a:lnTo>
                <a:lnTo>
                  <a:pt x="93" y="22"/>
                </a:lnTo>
                <a:lnTo>
                  <a:pt x="97" y="22"/>
                </a:lnTo>
                <a:lnTo>
                  <a:pt x="103" y="22"/>
                </a:lnTo>
                <a:lnTo>
                  <a:pt x="106" y="25"/>
                </a:lnTo>
                <a:lnTo>
                  <a:pt x="112" y="19"/>
                </a:lnTo>
                <a:lnTo>
                  <a:pt x="115" y="22"/>
                </a:lnTo>
                <a:lnTo>
                  <a:pt x="118" y="25"/>
                </a:lnTo>
                <a:lnTo>
                  <a:pt x="122" y="25"/>
                </a:lnTo>
                <a:lnTo>
                  <a:pt x="125" y="22"/>
                </a:lnTo>
                <a:lnTo>
                  <a:pt x="128" y="22"/>
                </a:lnTo>
                <a:lnTo>
                  <a:pt x="131" y="22"/>
                </a:lnTo>
                <a:lnTo>
                  <a:pt x="137" y="22"/>
                </a:lnTo>
                <a:lnTo>
                  <a:pt x="140" y="25"/>
                </a:lnTo>
                <a:lnTo>
                  <a:pt x="147" y="25"/>
                </a:lnTo>
                <a:lnTo>
                  <a:pt x="147" y="16"/>
                </a:lnTo>
                <a:lnTo>
                  <a:pt x="150" y="10"/>
                </a:lnTo>
                <a:lnTo>
                  <a:pt x="153" y="10"/>
                </a:lnTo>
                <a:lnTo>
                  <a:pt x="162" y="7"/>
                </a:lnTo>
                <a:lnTo>
                  <a:pt x="165" y="7"/>
                </a:lnTo>
                <a:lnTo>
                  <a:pt x="172" y="7"/>
                </a:lnTo>
                <a:lnTo>
                  <a:pt x="172" y="3"/>
                </a:lnTo>
                <a:lnTo>
                  <a:pt x="175" y="0"/>
                </a:lnTo>
                <a:lnTo>
                  <a:pt x="184" y="3"/>
                </a:lnTo>
                <a:lnTo>
                  <a:pt x="193" y="3"/>
                </a:lnTo>
                <a:lnTo>
                  <a:pt x="197" y="0"/>
                </a:lnTo>
                <a:lnTo>
                  <a:pt x="203" y="0"/>
                </a:lnTo>
                <a:lnTo>
                  <a:pt x="206" y="10"/>
                </a:lnTo>
                <a:lnTo>
                  <a:pt x="209" y="13"/>
                </a:lnTo>
                <a:lnTo>
                  <a:pt x="206" y="19"/>
                </a:lnTo>
                <a:lnTo>
                  <a:pt x="212" y="25"/>
                </a:lnTo>
                <a:lnTo>
                  <a:pt x="225" y="22"/>
                </a:lnTo>
                <a:lnTo>
                  <a:pt x="228" y="25"/>
                </a:lnTo>
                <a:lnTo>
                  <a:pt x="228" y="32"/>
                </a:lnTo>
                <a:lnTo>
                  <a:pt x="231" y="32"/>
                </a:lnTo>
                <a:lnTo>
                  <a:pt x="231" y="38"/>
                </a:lnTo>
                <a:lnTo>
                  <a:pt x="234" y="44"/>
                </a:lnTo>
                <a:lnTo>
                  <a:pt x="243" y="50"/>
                </a:lnTo>
                <a:lnTo>
                  <a:pt x="247" y="47"/>
                </a:lnTo>
                <a:lnTo>
                  <a:pt x="253" y="50"/>
                </a:lnTo>
                <a:lnTo>
                  <a:pt x="256" y="50"/>
                </a:lnTo>
                <a:lnTo>
                  <a:pt x="262" y="50"/>
                </a:lnTo>
                <a:lnTo>
                  <a:pt x="268" y="44"/>
                </a:lnTo>
                <a:lnTo>
                  <a:pt x="272" y="44"/>
                </a:lnTo>
                <a:lnTo>
                  <a:pt x="275" y="54"/>
                </a:lnTo>
                <a:lnTo>
                  <a:pt x="281" y="60"/>
                </a:lnTo>
                <a:lnTo>
                  <a:pt x="284" y="63"/>
                </a:lnTo>
                <a:lnTo>
                  <a:pt x="284" y="60"/>
                </a:lnTo>
                <a:lnTo>
                  <a:pt x="293" y="60"/>
                </a:lnTo>
                <a:lnTo>
                  <a:pt x="297" y="60"/>
                </a:lnTo>
                <a:lnTo>
                  <a:pt x="303" y="63"/>
                </a:lnTo>
                <a:lnTo>
                  <a:pt x="306" y="63"/>
                </a:lnTo>
                <a:lnTo>
                  <a:pt x="312" y="66"/>
                </a:lnTo>
                <a:lnTo>
                  <a:pt x="315" y="66"/>
                </a:lnTo>
                <a:lnTo>
                  <a:pt x="319" y="63"/>
                </a:lnTo>
                <a:lnTo>
                  <a:pt x="322" y="69"/>
                </a:lnTo>
                <a:lnTo>
                  <a:pt x="325" y="69"/>
                </a:lnTo>
                <a:lnTo>
                  <a:pt x="325" y="75"/>
                </a:lnTo>
                <a:lnTo>
                  <a:pt x="322" y="79"/>
                </a:lnTo>
                <a:lnTo>
                  <a:pt x="315" y="82"/>
                </a:lnTo>
                <a:lnTo>
                  <a:pt x="315" y="88"/>
                </a:lnTo>
                <a:lnTo>
                  <a:pt x="322" y="94"/>
                </a:lnTo>
                <a:lnTo>
                  <a:pt x="322" y="97"/>
                </a:lnTo>
                <a:lnTo>
                  <a:pt x="319" y="107"/>
                </a:lnTo>
                <a:lnTo>
                  <a:pt x="322" y="110"/>
                </a:lnTo>
                <a:lnTo>
                  <a:pt x="315" y="113"/>
                </a:lnTo>
                <a:lnTo>
                  <a:pt x="306" y="113"/>
                </a:lnTo>
                <a:lnTo>
                  <a:pt x="303" y="122"/>
                </a:lnTo>
                <a:lnTo>
                  <a:pt x="300" y="122"/>
                </a:lnTo>
                <a:lnTo>
                  <a:pt x="300" y="132"/>
                </a:lnTo>
                <a:lnTo>
                  <a:pt x="297" y="132"/>
                </a:lnTo>
                <a:lnTo>
                  <a:pt x="297" y="132"/>
                </a:lnTo>
                <a:lnTo>
                  <a:pt x="293" y="132"/>
                </a:lnTo>
                <a:lnTo>
                  <a:pt x="287" y="132"/>
                </a:lnTo>
                <a:lnTo>
                  <a:pt x="284" y="132"/>
                </a:lnTo>
                <a:lnTo>
                  <a:pt x="281" y="135"/>
                </a:lnTo>
                <a:lnTo>
                  <a:pt x="278" y="138"/>
                </a:lnTo>
                <a:lnTo>
                  <a:pt x="275" y="138"/>
                </a:lnTo>
                <a:lnTo>
                  <a:pt x="272" y="141"/>
                </a:lnTo>
                <a:lnTo>
                  <a:pt x="268" y="144"/>
                </a:lnTo>
                <a:lnTo>
                  <a:pt x="268" y="144"/>
                </a:lnTo>
                <a:lnTo>
                  <a:pt x="262" y="144"/>
                </a:lnTo>
                <a:lnTo>
                  <a:pt x="259" y="147"/>
                </a:lnTo>
                <a:lnTo>
                  <a:pt x="256" y="147"/>
                </a:lnTo>
                <a:lnTo>
                  <a:pt x="250" y="147"/>
                </a:lnTo>
                <a:lnTo>
                  <a:pt x="250" y="147"/>
                </a:lnTo>
                <a:lnTo>
                  <a:pt x="247" y="144"/>
                </a:lnTo>
                <a:lnTo>
                  <a:pt x="243" y="144"/>
                </a:lnTo>
                <a:lnTo>
                  <a:pt x="247" y="147"/>
                </a:lnTo>
                <a:lnTo>
                  <a:pt x="247" y="151"/>
                </a:lnTo>
                <a:lnTo>
                  <a:pt x="247" y="151"/>
                </a:lnTo>
                <a:lnTo>
                  <a:pt x="243" y="157"/>
                </a:lnTo>
                <a:lnTo>
                  <a:pt x="240" y="160"/>
                </a:lnTo>
                <a:lnTo>
                  <a:pt x="240" y="157"/>
                </a:lnTo>
                <a:lnTo>
                  <a:pt x="240" y="157"/>
                </a:lnTo>
                <a:lnTo>
                  <a:pt x="243" y="151"/>
                </a:lnTo>
                <a:lnTo>
                  <a:pt x="243" y="151"/>
                </a:lnTo>
                <a:lnTo>
                  <a:pt x="240" y="151"/>
                </a:lnTo>
                <a:lnTo>
                  <a:pt x="240" y="151"/>
                </a:lnTo>
                <a:lnTo>
                  <a:pt x="234" y="157"/>
                </a:lnTo>
                <a:lnTo>
                  <a:pt x="231" y="157"/>
                </a:lnTo>
                <a:lnTo>
                  <a:pt x="231" y="160"/>
                </a:lnTo>
                <a:lnTo>
                  <a:pt x="228" y="160"/>
                </a:lnTo>
                <a:lnTo>
                  <a:pt x="225" y="160"/>
                </a:lnTo>
                <a:lnTo>
                  <a:pt x="222" y="160"/>
                </a:lnTo>
                <a:lnTo>
                  <a:pt x="218" y="160"/>
                </a:lnTo>
                <a:lnTo>
                  <a:pt x="215" y="160"/>
                </a:lnTo>
                <a:lnTo>
                  <a:pt x="218" y="163"/>
                </a:lnTo>
                <a:lnTo>
                  <a:pt x="225" y="163"/>
                </a:lnTo>
                <a:lnTo>
                  <a:pt x="228" y="166"/>
                </a:lnTo>
                <a:lnTo>
                  <a:pt x="231" y="166"/>
                </a:lnTo>
                <a:lnTo>
                  <a:pt x="231" y="166"/>
                </a:lnTo>
                <a:lnTo>
                  <a:pt x="234" y="169"/>
                </a:lnTo>
                <a:lnTo>
                  <a:pt x="231" y="169"/>
                </a:lnTo>
                <a:lnTo>
                  <a:pt x="231" y="172"/>
                </a:lnTo>
                <a:lnTo>
                  <a:pt x="234" y="172"/>
                </a:lnTo>
                <a:lnTo>
                  <a:pt x="234" y="172"/>
                </a:lnTo>
                <a:lnTo>
                  <a:pt x="234" y="176"/>
                </a:lnTo>
                <a:lnTo>
                  <a:pt x="237" y="172"/>
                </a:lnTo>
                <a:lnTo>
                  <a:pt x="240" y="172"/>
                </a:lnTo>
                <a:lnTo>
                  <a:pt x="240" y="179"/>
                </a:lnTo>
                <a:lnTo>
                  <a:pt x="243" y="179"/>
                </a:lnTo>
                <a:lnTo>
                  <a:pt x="247" y="182"/>
                </a:lnTo>
                <a:lnTo>
                  <a:pt x="250" y="182"/>
                </a:lnTo>
                <a:lnTo>
                  <a:pt x="243" y="176"/>
                </a:lnTo>
                <a:lnTo>
                  <a:pt x="234" y="166"/>
                </a:lnTo>
                <a:lnTo>
                  <a:pt x="234" y="160"/>
                </a:lnTo>
                <a:lnTo>
                  <a:pt x="234" y="160"/>
                </a:lnTo>
                <a:lnTo>
                  <a:pt x="237" y="163"/>
                </a:lnTo>
                <a:lnTo>
                  <a:pt x="240" y="169"/>
                </a:lnTo>
                <a:lnTo>
                  <a:pt x="250" y="179"/>
                </a:lnTo>
                <a:lnTo>
                  <a:pt x="253" y="182"/>
                </a:lnTo>
                <a:lnTo>
                  <a:pt x="256" y="176"/>
                </a:lnTo>
                <a:lnTo>
                  <a:pt x="256" y="176"/>
                </a:lnTo>
                <a:lnTo>
                  <a:pt x="259" y="179"/>
                </a:lnTo>
                <a:lnTo>
                  <a:pt x="262" y="176"/>
                </a:lnTo>
                <a:lnTo>
                  <a:pt x="268" y="176"/>
                </a:lnTo>
                <a:lnTo>
                  <a:pt x="275" y="176"/>
                </a:lnTo>
                <a:lnTo>
                  <a:pt x="272" y="179"/>
                </a:lnTo>
                <a:lnTo>
                  <a:pt x="272" y="179"/>
                </a:lnTo>
                <a:lnTo>
                  <a:pt x="272" y="182"/>
                </a:lnTo>
                <a:lnTo>
                  <a:pt x="268" y="185"/>
                </a:lnTo>
                <a:lnTo>
                  <a:pt x="262" y="185"/>
                </a:lnTo>
                <a:lnTo>
                  <a:pt x="256" y="185"/>
                </a:lnTo>
                <a:lnTo>
                  <a:pt x="250" y="188"/>
                </a:lnTo>
                <a:lnTo>
                  <a:pt x="247" y="191"/>
                </a:lnTo>
                <a:lnTo>
                  <a:pt x="240" y="191"/>
                </a:lnTo>
                <a:lnTo>
                  <a:pt x="231" y="197"/>
                </a:lnTo>
                <a:lnTo>
                  <a:pt x="225" y="201"/>
                </a:lnTo>
                <a:lnTo>
                  <a:pt x="218" y="201"/>
                </a:lnTo>
                <a:lnTo>
                  <a:pt x="215" y="197"/>
                </a:lnTo>
                <a:lnTo>
                  <a:pt x="215" y="197"/>
                </a:lnTo>
                <a:lnTo>
                  <a:pt x="218" y="191"/>
                </a:lnTo>
                <a:lnTo>
                  <a:pt x="218" y="188"/>
                </a:lnTo>
                <a:lnTo>
                  <a:pt x="212" y="182"/>
                </a:lnTo>
                <a:lnTo>
                  <a:pt x="209" y="182"/>
                </a:lnTo>
                <a:lnTo>
                  <a:pt x="206" y="182"/>
                </a:lnTo>
                <a:lnTo>
                  <a:pt x="203" y="182"/>
                </a:lnTo>
                <a:lnTo>
                  <a:pt x="200" y="182"/>
                </a:lnTo>
                <a:lnTo>
                  <a:pt x="203" y="176"/>
                </a:lnTo>
                <a:lnTo>
                  <a:pt x="209" y="172"/>
                </a:lnTo>
                <a:lnTo>
                  <a:pt x="215" y="169"/>
                </a:lnTo>
                <a:lnTo>
                  <a:pt x="218" y="169"/>
                </a:lnTo>
                <a:lnTo>
                  <a:pt x="215" y="166"/>
                </a:lnTo>
                <a:lnTo>
                  <a:pt x="215" y="160"/>
                </a:lnTo>
                <a:lnTo>
                  <a:pt x="212" y="160"/>
                </a:lnTo>
                <a:lnTo>
                  <a:pt x="212" y="163"/>
                </a:lnTo>
                <a:lnTo>
                  <a:pt x="209" y="163"/>
                </a:lnTo>
                <a:lnTo>
                  <a:pt x="203" y="160"/>
                </a:lnTo>
                <a:lnTo>
                  <a:pt x="200" y="160"/>
                </a:lnTo>
                <a:lnTo>
                  <a:pt x="193" y="163"/>
                </a:lnTo>
                <a:lnTo>
                  <a:pt x="190" y="160"/>
                </a:lnTo>
                <a:lnTo>
                  <a:pt x="187" y="160"/>
                </a:lnTo>
                <a:lnTo>
                  <a:pt x="184" y="157"/>
                </a:lnTo>
                <a:lnTo>
                  <a:pt x="187" y="157"/>
                </a:lnTo>
                <a:lnTo>
                  <a:pt x="187" y="154"/>
                </a:lnTo>
                <a:lnTo>
                  <a:pt x="181" y="154"/>
                </a:lnTo>
                <a:lnTo>
                  <a:pt x="175" y="154"/>
                </a:lnTo>
                <a:lnTo>
                  <a:pt x="175" y="151"/>
                </a:lnTo>
                <a:lnTo>
                  <a:pt x="178" y="151"/>
                </a:lnTo>
                <a:lnTo>
                  <a:pt x="184" y="151"/>
                </a:lnTo>
                <a:lnTo>
                  <a:pt x="187" y="151"/>
                </a:lnTo>
                <a:lnTo>
                  <a:pt x="190" y="151"/>
                </a:lnTo>
                <a:lnTo>
                  <a:pt x="193" y="147"/>
                </a:lnTo>
                <a:lnTo>
                  <a:pt x="190" y="147"/>
                </a:lnTo>
                <a:lnTo>
                  <a:pt x="187" y="147"/>
                </a:lnTo>
                <a:lnTo>
                  <a:pt x="184" y="144"/>
                </a:lnTo>
                <a:lnTo>
                  <a:pt x="181" y="144"/>
                </a:lnTo>
                <a:lnTo>
                  <a:pt x="181" y="147"/>
                </a:lnTo>
                <a:lnTo>
                  <a:pt x="178" y="147"/>
                </a:lnTo>
                <a:lnTo>
                  <a:pt x="175" y="147"/>
                </a:lnTo>
                <a:lnTo>
                  <a:pt x="175" y="147"/>
                </a:lnTo>
                <a:lnTo>
                  <a:pt x="175" y="144"/>
                </a:lnTo>
                <a:lnTo>
                  <a:pt x="168" y="151"/>
                </a:lnTo>
                <a:lnTo>
                  <a:pt x="165" y="151"/>
                </a:lnTo>
                <a:lnTo>
                  <a:pt x="162" y="154"/>
                </a:lnTo>
                <a:lnTo>
                  <a:pt x="162" y="157"/>
                </a:lnTo>
                <a:lnTo>
                  <a:pt x="159" y="163"/>
                </a:lnTo>
                <a:lnTo>
                  <a:pt x="156" y="163"/>
                </a:lnTo>
                <a:lnTo>
                  <a:pt x="156" y="166"/>
                </a:lnTo>
                <a:lnTo>
                  <a:pt x="150" y="176"/>
                </a:lnTo>
                <a:lnTo>
                  <a:pt x="147" y="176"/>
                </a:lnTo>
                <a:lnTo>
                  <a:pt x="147" y="172"/>
                </a:lnTo>
                <a:lnTo>
                  <a:pt x="147" y="176"/>
                </a:lnTo>
                <a:lnTo>
                  <a:pt x="143" y="176"/>
                </a:lnTo>
                <a:lnTo>
                  <a:pt x="147" y="179"/>
                </a:lnTo>
                <a:lnTo>
                  <a:pt x="147" y="182"/>
                </a:lnTo>
                <a:lnTo>
                  <a:pt x="147" y="182"/>
                </a:lnTo>
                <a:lnTo>
                  <a:pt x="143" y="179"/>
                </a:lnTo>
                <a:lnTo>
                  <a:pt x="137" y="182"/>
                </a:lnTo>
                <a:lnTo>
                  <a:pt x="134" y="182"/>
                </a:lnTo>
                <a:lnTo>
                  <a:pt x="128" y="182"/>
                </a:lnTo>
                <a:lnTo>
                  <a:pt x="122" y="182"/>
                </a:lnTo>
                <a:lnTo>
                  <a:pt x="118" y="176"/>
                </a:lnTo>
                <a:lnTo>
                  <a:pt x="122" y="172"/>
                </a:lnTo>
                <a:lnTo>
                  <a:pt x="125" y="176"/>
                </a:lnTo>
                <a:lnTo>
                  <a:pt x="125" y="172"/>
                </a:lnTo>
                <a:lnTo>
                  <a:pt x="128" y="166"/>
                </a:lnTo>
                <a:lnTo>
                  <a:pt x="131" y="166"/>
                </a:lnTo>
                <a:lnTo>
                  <a:pt x="131" y="160"/>
                </a:lnTo>
                <a:lnTo>
                  <a:pt x="131" y="154"/>
                </a:lnTo>
                <a:lnTo>
                  <a:pt x="134" y="154"/>
                </a:lnTo>
                <a:lnTo>
                  <a:pt x="140" y="151"/>
                </a:lnTo>
                <a:lnTo>
                  <a:pt x="143" y="154"/>
                </a:lnTo>
                <a:lnTo>
                  <a:pt x="147" y="154"/>
                </a:lnTo>
                <a:lnTo>
                  <a:pt x="150" y="151"/>
                </a:lnTo>
                <a:lnTo>
                  <a:pt x="147" y="147"/>
                </a:lnTo>
                <a:lnTo>
                  <a:pt x="147" y="144"/>
                </a:lnTo>
                <a:lnTo>
                  <a:pt x="147" y="141"/>
                </a:lnTo>
                <a:lnTo>
                  <a:pt x="140" y="138"/>
                </a:lnTo>
                <a:lnTo>
                  <a:pt x="137" y="135"/>
                </a:lnTo>
                <a:lnTo>
                  <a:pt x="134" y="132"/>
                </a:lnTo>
                <a:lnTo>
                  <a:pt x="131" y="129"/>
                </a:lnTo>
                <a:lnTo>
                  <a:pt x="131" y="125"/>
                </a:lnTo>
                <a:lnTo>
                  <a:pt x="131" y="116"/>
                </a:lnTo>
                <a:lnTo>
                  <a:pt x="125" y="116"/>
                </a:lnTo>
                <a:lnTo>
                  <a:pt x="118" y="110"/>
                </a:lnTo>
                <a:lnTo>
                  <a:pt x="118" y="110"/>
                </a:lnTo>
                <a:lnTo>
                  <a:pt x="115" y="110"/>
                </a:lnTo>
                <a:lnTo>
                  <a:pt x="109" y="110"/>
                </a:lnTo>
                <a:lnTo>
                  <a:pt x="103" y="104"/>
                </a:lnTo>
                <a:lnTo>
                  <a:pt x="100" y="104"/>
                </a:lnTo>
                <a:lnTo>
                  <a:pt x="97" y="100"/>
                </a:lnTo>
                <a:lnTo>
                  <a:pt x="93" y="100"/>
                </a:lnTo>
                <a:lnTo>
                  <a:pt x="90" y="100"/>
                </a:lnTo>
                <a:lnTo>
                  <a:pt x="87" y="104"/>
                </a:lnTo>
                <a:lnTo>
                  <a:pt x="84" y="100"/>
                </a:lnTo>
                <a:lnTo>
                  <a:pt x="84" y="104"/>
                </a:lnTo>
                <a:lnTo>
                  <a:pt x="81" y="100"/>
                </a:lnTo>
                <a:lnTo>
                  <a:pt x="81" y="107"/>
                </a:lnTo>
                <a:lnTo>
                  <a:pt x="81" y="110"/>
                </a:lnTo>
                <a:lnTo>
                  <a:pt x="81" y="113"/>
                </a:lnTo>
                <a:lnTo>
                  <a:pt x="78" y="116"/>
                </a:lnTo>
                <a:lnTo>
                  <a:pt x="72" y="116"/>
                </a:lnTo>
                <a:lnTo>
                  <a:pt x="59" y="119"/>
                </a:lnTo>
                <a:lnTo>
                  <a:pt x="56" y="122"/>
                </a:lnTo>
                <a:lnTo>
                  <a:pt x="53" y="125"/>
                </a:lnTo>
                <a:lnTo>
                  <a:pt x="47" y="125"/>
                </a:lnTo>
                <a:lnTo>
                  <a:pt x="40" y="125"/>
                </a:lnTo>
                <a:lnTo>
                  <a:pt x="40" y="122"/>
                </a:lnTo>
                <a:lnTo>
                  <a:pt x="34" y="119"/>
                </a:lnTo>
                <a:lnTo>
                  <a:pt x="28" y="119"/>
                </a:lnTo>
                <a:lnTo>
                  <a:pt x="22" y="113"/>
                </a:lnTo>
                <a:lnTo>
                  <a:pt x="18" y="113"/>
                </a:lnTo>
                <a:lnTo>
                  <a:pt x="15" y="116"/>
                </a:lnTo>
                <a:lnTo>
                  <a:pt x="12" y="116"/>
                </a:lnTo>
                <a:lnTo>
                  <a:pt x="9" y="113"/>
                </a:lnTo>
                <a:lnTo>
                  <a:pt x="6" y="110"/>
                </a:lnTo>
                <a:lnTo>
                  <a:pt x="0" y="107"/>
                </a:lnTo>
                <a:lnTo>
                  <a:pt x="3" y="104"/>
                </a:lnTo>
                <a:lnTo>
                  <a:pt x="3" y="97"/>
                </a:lnTo>
                <a:lnTo>
                  <a:pt x="6" y="91"/>
                </a:lnTo>
                <a:lnTo>
                  <a:pt x="9" y="91"/>
                </a:lnTo>
                <a:lnTo>
                  <a:pt x="12" y="85"/>
                </a:lnTo>
                <a:lnTo>
                  <a:pt x="9" y="79"/>
                </a:lnTo>
                <a:lnTo>
                  <a:pt x="22" y="66"/>
                </a:lnTo>
                <a:lnTo>
                  <a:pt x="25" y="60"/>
                </a:lnTo>
                <a:lnTo>
                  <a:pt x="28" y="57"/>
                </a:lnTo>
                <a:lnTo>
                  <a:pt x="31" y="57"/>
                </a:lnTo>
                <a:lnTo>
                  <a:pt x="31" y="50"/>
                </a:lnTo>
                <a:lnTo>
                  <a:pt x="31" y="47"/>
                </a:lnTo>
                <a:lnTo>
                  <a:pt x="28" y="44"/>
                </a:lnTo>
                <a:lnTo>
                  <a:pt x="31" y="41"/>
                </a:lnTo>
                <a:lnTo>
                  <a:pt x="25" y="41"/>
                </a:lnTo>
                <a:lnTo>
                  <a:pt x="25" y="35"/>
                </a:lnTo>
                <a:lnTo>
                  <a:pt x="22" y="32"/>
                </a:lnTo>
                <a:lnTo>
                  <a:pt x="22" y="22"/>
                </a:lnTo>
                <a:lnTo>
                  <a:pt x="22" y="1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3" name="Freeform 51">
            <a:extLst>
              <a:ext uri="{FF2B5EF4-FFF2-40B4-BE49-F238E27FC236}">
                <a16:creationId xmlns:a16="http://schemas.microsoft.com/office/drawing/2014/main" id="{54ABFC5D-212F-F1EB-9626-435D73F29D21}"/>
              </a:ext>
            </a:extLst>
          </p:cNvPr>
          <p:cNvSpPr>
            <a:spLocks/>
          </p:cNvSpPr>
          <p:nvPr userDrawn="1"/>
        </p:nvSpPr>
        <p:spPr bwMode="auto">
          <a:xfrm>
            <a:off x="14667542" y="6047657"/>
            <a:ext cx="219064" cy="241302"/>
          </a:xfrm>
          <a:custGeom>
            <a:avLst/>
            <a:gdLst>
              <a:gd name="T0" fmla="*/ 0 w 69"/>
              <a:gd name="T1" fmla="*/ 13 h 76"/>
              <a:gd name="T2" fmla="*/ 0 w 69"/>
              <a:gd name="T3" fmla="*/ 10 h 76"/>
              <a:gd name="T4" fmla="*/ 0 w 69"/>
              <a:gd name="T5" fmla="*/ 7 h 76"/>
              <a:gd name="T6" fmla="*/ 0 w 69"/>
              <a:gd name="T7" fmla="*/ 0 h 76"/>
              <a:gd name="T8" fmla="*/ 3 w 69"/>
              <a:gd name="T9" fmla="*/ 4 h 76"/>
              <a:gd name="T10" fmla="*/ 3 w 69"/>
              <a:gd name="T11" fmla="*/ 0 h 76"/>
              <a:gd name="T12" fmla="*/ 6 w 69"/>
              <a:gd name="T13" fmla="*/ 4 h 76"/>
              <a:gd name="T14" fmla="*/ 9 w 69"/>
              <a:gd name="T15" fmla="*/ 0 h 76"/>
              <a:gd name="T16" fmla="*/ 12 w 69"/>
              <a:gd name="T17" fmla="*/ 0 h 76"/>
              <a:gd name="T18" fmla="*/ 16 w 69"/>
              <a:gd name="T19" fmla="*/ 0 h 76"/>
              <a:gd name="T20" fmla="*/ 19 w 69"/>
              <a:gd name="T21" fmla="*/ 4 h 76"/>
              <a:gd name="T22" fmla="*/ 22 w 69"/>
              <a:gd name="T23" fmla="*/ 4 h 76"/>
              <a:gd name="T24" fmla="*/ 28 w 69"/>
              <a:gd name="T25" fmla="*/ 10 h 76"/>
              <a:gd name="T26" fmla="*/ 34 w 69"/>
              <a:gd name="T27" fmla="*/ 10 h 76"/>
              <a:gd name="T28" fmla="*/ 37 w 69"/>
              <a:gd name="T29" fmla="*/ 10 h 76"/>
              <a:gd name="T30" fmla="*/ 37 w 69"/>
              <a:gd name="T31" fmla="*/ 10 h 76"/>
              <a:gd name="T32" fmla="*/ 44 w 69"/>
              <a:gd name="T33" fmla="*/ 16 h 76"/>
              <a:gd name="T34" fmla="*/ 50 w 69"/>
              <a:gd name="T35" fmla="*/ 16 h 76"/>
              <a:gd name="T36" fmla="*/ 50 w 69"/>
              <a:gd name="T37" fmla="*/ 25 h 76"/>
              <a:gd name="T38" fmla="*/ 50 w 69"/>
              <a:gd name="T39" fmla="*/ 29 h 76"/>
              <a:gd name="T40" fmla="*/ 53 w 69"/>
              <a:gd name="T41" fmla="*/ 32 h 76"/>
              <a:gd name="T42" fmla="*/ 56 w 69"/>
              <a:gd name="T43" fmla="*/ 35 h 76"/>
              <a:gd name="T44" fmla="*/ 59 w 69"/>
              <a:gd name="T45" fmla="*/ 38 h 76"/>
              <a:gd name="T46" fmla="*/ 66 w 69"/>
              <a:gd name="T47" fmla="*/ 41 h 76"/>
              <a:gd name="T48" fmla="*/ 66 w 69"/>
              <a:gd name="T49" fmla="*/ 44 h 76"/>
              <a:gd name="T50" fmla="*/ 66 w 69"/>
              <a:gd name="T51" fmla="*/ 47 h 76"/>
              <a:gd name="T52" fmla="*/ 69 w 69"/>
              <a:gd name="T53" fmla="*/ 51 h 76"/>
              <a:gd name="T54" fmla="*/ 66 w 69"/>
              <a:gd name="T55" fmla="*/ 54 h 76"/>
              <a:gd name="T56" fmla="*/ 62 w 69"/>
              <a:gd name="T57" fmla="*/ 54 h 76"/>
              <a:gd name="T58" fmla="*/ 59 w 69"/>
              <a:gd name="T59" fmla="*/ 51 h 76"/>
              <a:gd name="T60" fmla="*/ 53 w 69"/>
              <a:gd name="T61" fmla="*/ 54 h 76"/>
              <a:gd name="T62" fmla="*/ 50 w 69"/>
              <a:gd name="T63" fmla="*/ 54 h 76"/>
              <a:gd name="T64" fmla="*/ 50 w 69"/>
              <a:gd name="T65" fmla="*/ 60 h 76"/>
              <a:gd name="T66" fmla="*/ 50 w 69"/>
              <a:gd name="T67" fmla="*/ 66 h 76"/>
              <a:gd name="T68" fmla="*/ 47 w 69"/>
              <a:gd name="T69" fmla="*/ 66 h 76"/>
              <a:gd name="T70" fmla="*/ 44 w 69"/>
              <a:gd name="T71" fmla="*/ 72 h 76"/>
              <a:gd name="T72" fmla="*/ 44 w 69"/>
              <a:gd name="T73" fmla="*/ 76 h 76"/>
              <a:gd name="T74" fmla="*/ 41 w 69"/>
              <a:gd name="T75" fmla="*/ 72 h 76"/>
              <a:gd name="T76" fmla="*/ 37 w 69"/>
              <a:gd name="T77" fmla="*/ 76 h 76"/>
              <a:gd name="T78" fmla="*/ 37 w 69"/>
              <a:gd name="T79" fmla="*/ 76 h 76"/>
              <a:gd name="T80" fmla="*/ 34 w 69"/>
              <a:gd name="T81" fmla="*/ 69 h 76"/>
              <a:gd name="T82" fmla="*/ 34 w 69"/>
              <a:gd name="T83" fmla="*/ 51 h 76"/>
              <a:gd name="T84" fmla="*/ 31 w 69"/>
              <a:gd name="T85" fmla="*/ 47 h 76"/>
              <a:gd name="T86" fmla="*/ 31 w 69"/>
              <a:gd name="T87" fmla="*/ 41 h 76"/>
              <a:gd name="T88" fmla="*/ 19 w 69"/>
              <a:gd name="T89" fmla="*/ 32 h 76"/>
              <a:gd name="T90" fmla="*/ 19 w 69"/>
              <a:gd name="T91" fmla="*/ 29 h 76"/>
              <a:gd name="T92" fmla="*/ 9 w 69"/>
              <a:gd name="T93" fmla="*/ 22 h 76"/>
              <a:gd name="T94" fmla="*/ 9 w 69"/>
              <a:gd name="T95" fmla="*/ 13 h 76"/>
              <a:gd name="T96" fmla="*/ 0 w 69"/>
              <a:gd name="T97" fmla="*/ 1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 h="76">
                <a:moveTo>
                  <a:pt x="0" y="13"/>
                </a:moveTo>
                <a:lnTo>
                  <a:pt x="0" y="10"/>
                </a:lnTo>
                <a:lnTo>
                  <a:pt x="0" y="7"/>
                </a:lnTo>
                <a:lnTo>
                  <a:pt x="0" y="0"/>
                </a:lnTo>
                <a:lnTo>
                  <a:pt x="3" y="4"/>
                </a:lnTo>
                <a:lnTo>
                  <a:pt x="3" y="0"/>
                </a:lnTo>
                <a:lnTo>
                  <a:pt x="6" y="4"/>
                </a:lnTo>
                <a:lnTo>
                  <a:pt x="9" y="0"/>
                </a:lnTo>
                <a:lnTo>
                  <a:pt x="12" y="0"/>
                </a:lnTo>
                <a:lnTo>
                  <a:pt x="16" y="0"/>
                </a:lnTo>
                <a:lnTo>
                  <a:pt x="19" y="4"/>
                </a:lnTo>
                <a:lnTo>
                  <a:pt x="22" y="4"/>
                </a:lnTo>
                <a:lnTo>
                  <a:pt x="28" y="10"/>
                </a:lnTo>
                <a:lnTo>
                  <a:pt x="34" y="10"/>
                </a:lnTo>
                <a:lnTo>
                  <a:pt x="37" y="10"/>
                </a:lnTo>
                <a:lnTo>
                  <a:pt x="37" y="10"/>
                </a:lnTo>
                <a:lnTo>
                  <a:pt x="44" y="16"/>
                </a:lnTo>
                <a:lnTo>
                  <a:pt x="50" y="16"/>
                </a:lnTo>
                <a:lnTo>
                  <a:pt x="50" y="25"/>
                </a:lnTo>
                <a:lnTo>
                  <a:pt x="50" y="29"/>
                </a:lnTo>
                <a:lnTo>
                  <a:pt x="53" y="32"/>
                </a:lnTo>
                <a:lnTo>
                  <a:pt x="56" y="35"/>
                </a:lnTo>
                <a:lnTo>
                  <a:pt x="59" y="38"/>
                </a:lnTo>
                <a:lnTo>
                  <a:pt x="66" y="41"/>
                </a:lnTo>
                <a:lnTo>
                  <a:pt x="66" y="44"/>
                </a:lnTo>
                <a:lnTo>
                  <a:pt x="66" y="47"/>
                </a:lnTo>
                <a:lnTo>
                  <a:pt x="69" y="51"/>
                </a:lnTo>
                <a:lnTo>
                  <a:pt x="66" y="54"/>
                </a:lnTo>
                <a:lnTo>
                  <a:pt x="62" y="54"/>
                </a:lnTo>
                <a:lnTo>
                  <a:pt x="59" y="51"/>
                </a:lnTo>
                <a:lnTo>
                  <a:pt x="53" y="54"/>
                </a:lnTo>
                <a:lnTo>
                  <a:pt x="50" y="54"/>
                </a:lnTo>
                <a:lnTo>
                  <a:pt x="50" y="60"/>
                </a:lnTo>
                <a:lnTo>
                  <a:pt x="50" y="66"/>
                </a:lnTo>
                <a:lnTo>
                  <a:pt x="47" y="66"/>
                </a:lnTo>
                <a:lnTo>
                  <a:pt x="44" y="72"/>
                </a:lnTo>
                <a:lnTo>
                  <a:pt x="44" y="76"/>
                </a:lnTo>
                <a:lnTo>
                  <a:pt x="41" y="72"/>
                </a:lnTo>
                <a:lnTo>
                  <a:pt x="37" y="76"/>
                </a:lnTo>
                <a:lnTo>
                  <a:pt x="37" y="76"/>
                </a:lnTo>
                <a:lnTo>
                  <a:pt x="34" y="69"/>
                </a:lnTo>
                <a:lnTo>
                  <a:pt x="34" y="51"/>
                </a:lnTo>
                <a:lnTo>
                  <a:pt x="31" y="47"/>
                </a:lnTo>
                <a:lnTo>
                  <a:pt x="31" y="41"/>
                </a:lnTo>
                <a:lnTo>
                  <a:pt x="19" y="32"/>
                </a:lnTo>
                <a:lnTo>
                  <a:pt x="19" y="29"/>
                </a:lnTo>
                <a:lnTo>
                  <a:pt x="9" y="22"/>
                </a:lnTo>
                <a:lnTo>
                  <a:pt x="9" y="13"/>
                </a:lnTo>
                <a:lnTo>
                  <a:pt x="0" y="13"/>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4" name="Freeform 52">
            <a:extLst>
              <a:ext uri="{FF2B5EF4-FFF2-40B4-BE49-F238E27FC236}">
                <a16:creationId xmlns:a16="http://schemas.microsoft.com/office/drawing/2014/main" id="{2663AFAC-2AEC-512C-15F1-54599A3221FE}"/>
              </a:ext>
            </a:extLst>
          </p:cNvPr>
          <p:cNvSpPr>
            <a:spLocks/>
          </p:cNvSpPr>
          <p:nvPr userDrawn="1"/>
        </p:nvSpPr>
        <p:spPr bwMode="auto">
          <a:xfrm>
            <a:off x="14321491" y="6088933"/>
            <a:ext cx="555590" cy="346078"/>
          </a:xfrm>
          <a:custGeom>
            <a:avLst/>
            <a:gdLst>
              <a:gd name="T0" fmla="*/ 43 w 175"/>
              <a:gd name="T1" fmla="*/ 3 h 109"/>
              <a:gd name="T2" fmla="*/ 50 w 175"/>
              <a:gd name="T3" fmla="*/ 0 h 109"/>
              <a:gd name="T4" fmla="*/ 62 w 175"/>
              <a:gd name="T5" fmla="*/ 6 h 109"/>
              <a:gd name="T6" fmla="*/ 68 w 175"/>
              <a:gd name="T7" fmla="*/ 12 h 109"/>
              <a:gd name="T8" fmla="*/ 81 w 175"/>
              <a:gd name="T9" fmla="*/ 12 h 109"/>
              <a:gd name="T10" fmla="*/ 87 w 175"/>
              <a:gd name="T11" fmla="*/ 6 h 109"/>
              <a:gd name="T12" fmla="*/ 106 w 175"/>
              <a:gd name="T13" fmla="*/ 3 h 109"/>
              <a:gd name="T14" fmla="*/ 118 w 175"/>
              <a:gd name="T15" fmla="*/ 9 h 109"/>
              <a:gd name="T16" fmla="*/ 128 w 175"/>
              <a:gd name="T17" fmla="*/ 19 h 109"/>
              <a:gd name="T18" fmla="*/ 140 w 175"/>
              <a:gd name="T19" fmla="*/ 34 h 109"/>
              <a:gd name="T20" fmla="*/ 143 w 175"/>
              <a:gd name="T21" fmla="*/ 56 h 109"/>
              <a:gd name="T22" fmla="*/ 150 w 175"/>
              <a:gd name="T23" fmla="*/ 69 h 109"/>
              <a:gd name="T24" fmla="*/ 162 w 175"/>
              <a:gd name="T25" fmla="*/ 69 h 109"/>
              <a:gd name="T26" fmla="*/ 171 w 175"/>
              <a:gd name="T27" fmla="*/ 66 h 109"/>
              <a:gd name="T28" fmla="*/ 171 w 175"/>
              <a:gd name="T29" fmla="*/ 72 h 109"/>
              <a:gd name="T30" fmla="*/ 175 w 175"/>
              <a:gd name="T31" fmla="*/ 75 h 109"/>
              <a:gd name="T32" fmla="*/ 168 w 175"/>
              <a:gd name="T33" fmla="*/ 81 h 109"/>
              <a:gd name="T34" fmla="*/ 159 w 175"/>
              <a:gd name="T35" fmla="*/ 88 h 109"/>
              <a:gd name="T36" fmla="*/ 159 w 175"/>
              <a:gd name="T37" fmla="*/ 94 h 109"/>
              <a:gd name="T38" fmla="*/ 156 w 175"/>
              <a:gd name="T39" fmla="*/ 100 h 109"/>
              <a:gd name="T40" fmla="*/ 153 w 175"/>
              <a:gd name="T41" fmla="*/ 106 h 109"/>
              <a:gd name="T42" fmla="*/ 146 w 175"/>
              <a:gd name="T43" fmla="*/ 103 h 109"/>
              <a:gd name="T44" fmla="*/ 140 w 175"/>
              <a:gd name="T45" fmla="*/ 100 h 109"/>
              <a:gd name="T46" fmla="*/ 128 w 175"/>
              <a:gd name="T47" fmla="*/ 97 h 109"/>
              <a:gd name="T48" fmla="*/ 112 w 175"/>
              <a:gd name="T49" fmla="*/ 103 h 109"/>
              <a:gd name="T50" fmla="*/ 106 w 175"/>
              <a:gd name="T51" fmla="*/ 109 h 109"/>
              <a:gd name="T52" fmla="*/ 96 w 175"/>
              <a:gd name="T53" fmla="*/ 109 h 109"/>
              <a:gd name="T54" fmla="*/ 87 w 175"/>
              <a:gd name="T55" fmla="*/ 106 h 109"/>
              <a:gd name="T56" fmla="*/ 81 w 175"/>
              <a:gd name="T57" fmla="*/ 109 h 109"/>
              <a:gd name="T58" fmla="*/ 68 w 175"/>
              <a:gd name="T59" fmla="*/ 109 h 109"/>
              <a:gd name="T60" fmla="*/ 65 w 175"/>
              <a:gd name="T61" fmla="*/ 106 h 109"/>
              <a:gd name="T62" fmla="*/ 56 w 175"/>
              <a:gd name="T63" fmla="*/ 109 h 109"/>
              <a:gd name="T64" fmla="*/ 53 w 175"/>
              <a:gd name="T65" fmla="*/ 103 h 109"/>
              <a:gd name="T66" fmla="*/ 53 w 175"/>
              <a:gd name="T67" fmla="*/ 100 h 109"/>
              <a:gd name="T68" fmla="*/ 46 w 175"/>
              <a:gd name="T69" fmla="*/ 94 h 109"/>
              <a:gd name="T70" fmla="*/ 46 w 175"/>
              <a:gd name="T71" fmla="*/ 88 h 109"/>
              <a:gd name="T72" fmla="*/ 37 w 175"/>
              <a:gd name="T73" fmla="*/ 91 h 109"/>
              <a:gd name="T74" fmla="*/ 31 w 175"/>
              <a:gd name="T75" fmla="*/ 88 h 109"/>
              <a:gd name="T76" fmla="*/ 21 w 175"/>
              <a:gd name="T77" fmla="*/ 84 h 109"/>
              <a:gd name="T78" fmla="*/ 25 w 175"/>
              <a:gd name="T79" fmla="*/ 78 h 109"/>
              <a:gd name="T80" fmla="*/ 12 w 175"/>
              <a:gd name="T81" fmla="*/ 69 h 109"/>
              <a:gd name="T82" fmla="*/ 6 w 175"/>
              <a:gd name="T83" fmla="*/ 59 h 109"/>
              <a:gd name="T84" fmla="*/ 0 w 175"/>
              <a:gd name="T85" fmla="*/ 56 h 109"/>
              <a:gd name="T86" fmla="*/ 9 w 175"/>
              <a:gd name="T87" fmla="*/ 50 h 109"/>
              <a:gd name="T88" fmla="*/ 15 w 175"/>
              <a:gd name="T89" fmla="*/ 47 h 109"/>
              <a:gd name="T90" fmla="*/ 18 w 175"/>
              <a:gd name="T91" fmla="*/ 41 h 109"/>
              <a:gd name="T92" fmla="*/ 31 w 175"/>
              <a:gd name="T93" fmla="*/ 19 h 109"/>
              <a:gd name="T94" fmla="*/ 37 w 175"/>
              <a:gd name="T95" fmla="*/ 9 h 109"/>
              <a:gd name="T96" fmla="*/ 40 w 175"/>
              <a:gd name="T97" fmla="*/ 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5" h="109">
                <a:moveTo>
                  <a:pt x="40" y="3"/>
                </a:moveTo>
                <a:lnTo>
                  <a:pt x="43" y="3"/>
                </a:lnTo>
                <a:lnTo>
                  <a:pt x="46" y="0"/>
                </a:lnTo>
                <a:lnTo>
                  <a:pt x="50" y="0"/>
                </a:lnTo>
                <a:lnTo>
                  <a:pt x="56" y="6"/>
                </a:lnTo>
                <a:lnTo>
                  <a:pt x="62" y="6"/>
                </a:lnTo>
                <a:lnTo>
                  <a:pt x="68" y="9"/>
                </a:lnTo>
                <a:lnTo>
                  <a:pt x="68" y="12"/>
                </a:lnTo>
                <a:lnTo>
                  <a:pt x="75" y="12"/>
                </a:lnTo>
                <a:lnTo>
                  <a:pt x="81" y="12"/>
                </a:lnTo>
                <a:lnTo>
                  <a:pt x="84" y="9"/>
                </a:lnTo>
                <a:lnTo>
                  <a:pt x="87" y="6"/>
                </a:lnTo>
                <a:lnTo>
                  <a:pt x="100" y="3"/>
                </a:lnTo>
                <a:lnTo>
                  <a:pt x="106" y="3"/>
                </a:lnTo>
                <a:lnTo>
                  <a:pt x="118" y="0"/>
                </a:lnTo>
                <a:lnTo>
                  <a:pt x="118" y="9"/>
                </a:lnTo>
                <a:lnTo>
                  <a:pt x="128" y="16"/>
                </a:lnTo>
                <a:lnTo>
                  <a:pt x="128" y="19"/>
                </a:lnTo>
                <a:lnTo>
                  <a:pt x="140" y="28"/>
                </a:lnTo>
                <a:lnTo>
                  <a:pt x="140" y="34"/>
                </a:lnTo>
                <a:lnTo>
                  <a:pt x="143" y="38"/>
                </a:lnTo>
                <a:lnTo>
                  <a:pt x="143" y="56"/>
                </a:lnTo>
                <a:lnTo>
                  <a:pt x="146" y="63"/>
                </a:lnTo>
                <a:lnTo>
                  <a:pt x="150" y="69"/>
                </a:lnTo>
                <a:lnTo>
                  <a:pt x="156" y="69"/>
                </a:lnTo>
                <a:lnTo>
                  <a:pt x="162" y="69"/>
                </a:lnTo>
                <a:lnTo>
                  <a:pt x="165" y="69"/>
                </a:lnTo>
                <a:lnTo>
                  <a:pt x="171" y="66"/>
                </a:lnTo>
                <a:lnTo>
                  <a:pt x="175" y="69"/>
                </a:lnTo>
                <a:lnTo>
                  <a:pt x="171" y="72"/>
                </a:lnTo>
                <a:lnTo>
                  <a:pt x="175" y="72"/>
                </a:lnTo>
                <a:lnTo>
                  <a:pt x="175" y="75"/>
                </a:lnTo>
                <a:lnTo>
                  <a:pt x="171" y="81"/>
                </a:lnTo>
                <a:lnTo>
                  <a:pt x="168" y="81"/>
                </a:lnTo>
                <a:lnTo>
                  <a:pt x="159" y="81"/>
                </a:lnTo>
                <a:lnTo>
                  <a:pt x="159" y="88"/>
                </a:lnTo>
                <a:lnTo>
                  <a:pt x="156" y="91"/>
                </a:lnTo>
                <a:lnTo>
                  <a:pt x="159" y="94"/>
                </a:lnTo>
                <a:lnTo>
                  <a:pt x="159" y="97"/>
                </a:lnTo>
                <a:lnTo>
                  <a:pt x="156" y="100"/>
                </a:lnTo>
                <a:lnTo>
                  <a:pt x="159" y="106"/>
                </a:lnTo>
                <a:lnTo>
                  <a:pt x="153" y="106"/>
                </a:lnTo>
                <a:lnTo>
                  <a:pt x="153" y="103"/>
                </a:lnTo>
                <a:lnTo>
                  <a:pt x="146" y="103"/>
                </a:lnTo>
                <a:lnTo>
                  <a:pt x="143" y="103"/>
                </a:lnTo>
                <a:lnTo>
                  <a:pt x="140" y="100"/>
                </a:lnTo>
                <a:lnTo>
                  <a:pt x="134" y="97"/>
                </a:lnTo>
                <a:lnTo>
                  <a:pt x="128" y="97"/>
                </a:lnTo>
                <a:lnTo>
                  <a:pt x="125" y="100"/>
                </a:lnTo>
                <a:lnTo>
                  <a:pt x="112" y="103"/>
                </a:lnTo>
                <a:lnTo>
                  <a:pt x="109" y="106"/>
                </a:lnTo>
                <a:lnTo>
                  <a:pt x="106" y="109"/>
                </a:lnTo>
                <a:lnTo>
                  <a:pt x="103" y="109"/>
                </a:lnTo>
                <a:lnTo>
                  <a:pt x="96" y="109"/>
                </a:lnTo>
                <a:lnTo>
                  <a:pt x="93" y="109"/>
                </a:lnTo>
                <a:lnTo>
                  <a:pt x="87" y="106"/>
                </a:lnTo>
                <a:lnTo>
                  <a:pt x="84" y="109"/>
                </a:lnTo>
                <a:lnTo>
                  <a:pt x="81" y="109"/>
                </a:lnTo>
                <a:lnTo>
                  <a:pt x="75" y="109"/>
                </a:lnTo>
                <a:lnTo>
                  <a:pt x="68" y="109"/>
                </a:lnTo>
                <a:lnTo>
                  <a:pt x="65" y="109"/>
                </a:lnTo>
                <a:lnTo>
                  <a:pt x="65" y="106"/>
                </a:lnTo>
                <a:lnTo>
                  <a:pt x="59" y="106"/>
                </a:lnTo>
                <a:lnTo>
                  <a:pt x="56" y="109"/>
                </a:lnTo>
                <a:lnTo>
                  <a:pt x="53" y="106"/>
                </a:lnTo>
                <a:lnTo>
                  <a:pt x="53" y="103"/>
                </a:lnTo>
                <a:lnTo>
                  <a:pt x="53" y="100"/>
                </a:lnTo>
                <a:lnTo>
                  <a:pt x="53" y="100"/>
                </a:lnTo>
                <a:lnTo>
                  <a:pt x="46" y="97"/>
                </a:lnTo>
                <a:lnTo>
                  <a:pt x="46" y="94"/>
                </a:lnTo>
                <a:lnTo>
                  <a:pt x="43" y="91"/>
                </a:lnTo>
                <a:lnTo>
                  <a:pt x="46" y="88"/>
                </a:lnTo>
                <a:lnTo>
                  <a:pt x="40" y="84"/>
                </a:lnTo>
                <a:lnTo>
                  <a:pt x="37" y="91"/>
                </a:lnTo>
                <a:lnTo>
                  <a:pt x="34" y="88"/>
                </a:lnTo>
                <a:lnTo>
                  <a:pt x="31" y="88"/>
                </a:lnTo>
                <a:lnTo>
                  <a:pt x="28" y="84"/>
                </a:lnTo>
                <a:lnTo>
                  <a:pt x="21" y="84"/>
                </a:lnTo>
                <a:lnTo>
                  <a:pt x="21" y="81"/>
                </a:lnTo>
                <a:lnTo>
                  <a:pt x="25" y="78"/>
                </a:lnTo>
                <a:lnTo>
                  <a:pt x="18" y="72"/>
                </a:lnTo>
                <a:lnTo>
                  <a:pt x="12" y="69"/>
                </a:lnTo>
                <a:lnTo>
                  <a:pt x="12" y="66"/>
                </a:lnTo>
                <a:lnTo>
                  <a:pt x="6" y="59"/>
                </a:lnTo>
                <a:lnTo>
                  <a:pt x="6" y="56"/>
                </a:lnTo>
                <a:lnTo>
                  <a:pt x="0" y="56"/>
                </a:lnTo>
                <a:lnTo>
                  <a:pt x="6" y="50"/>
                </a:lnTo>
                <a:lnTo>
                  <a:pt x="9" y="50"/>
                </a:lnTo>
                <a:lnTo>
                  <a:pt x="9" y="47"/>
                </a:lnTo>
                <a:lnTo>
                  <a:pt x="15" y="47"/>
                </a:lnTo>
                <a:lnTo>
                  <a:pt x="18" y="44"/>
                </a:lnTo>
                <a:lnTo>
                  <a:pt x="18" y="41"/>
                </a:lnTo>
                <a:lnTo>
                  <a:pt x="25" y="31"/>
                </a:lnTo>
                <a:lnTo>
                  <a:pt x="31" y="19"/>
                </a:lnTo>
                <a:lnTo>
                  <a:pt x="34" y="9"/>
                </a:lnTo>
                <a:lnTo>
                  <a:pt x="37" y="9"/>
                </a:lnTo>
                <a:lnTo>
                  <a:pt x="40" y="6"/>
                </a:lnTo>
                <a:lnTo>
                  <a:pt x="40" y="3"/>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5" name="Freeform 53">
            <a:extLst>
              <a:ext uri="{FF2B5EF4-FFF2-40B4-BE49-F238E27FC236}">
                <a16:creationId xmlns:a16="http://schemas.microsoft.com/office/drawing/2014/main" id="{1D2E6A65-E949-A9BB-6C2C-70BA5DCB6AB9}"/>
              </a:ext>
            </a:extLst>
          </p:cNvPr>
          <p:cNvSpPr>
            <a:spLocks/>
          </p:cNvSpPr>
          <p:nvPr userDrawn="1"/>
        </p:nvSpPr>
        <p:spPr bwMode="auto">
          <a:xfrm>
            <a:off x="14092905" y="6069880"/>
            <a:ext cx="355577" cy="228600"/>
          </a:xfrm>
          <a:custGeom>
            <a:avLst/>
            <a:gdLst>
              <a:gd name="T0" fmla="*/ 72 w 112"/>
              <a:gd name="T1" fmla="*/ 62 h 72"/>
              <a:gd name="T2" fmla="*/ 78 w 112"/>
              <a:gd name="T3" fmla="*/ 56 h 72"/>
              <a:gd name="T4" fmla="*/ 81 w 112"/>
              <a:gd name="T5" fmla="*/ 56 h 72"/>
              <a:gd name="T6" fmla="*/ 81 w 112"/>
              <a:gd name="T7" fmla="*/ 53 h 72"/>
              <a:gd name="T8" fmla="*/ 87 w 112"/>
              <a:gd name="T9" fmla="*/ 53 h 72"/>
              <a:gd name="T10" fmla="*/ 90 w 112"/>
              <a:gd name="T11" fmla="*/ 50 h 72"/>
              <a:gd name="T12" fmla="*/ 90 w 112"/>
              <a:gd name="T13" fmla="*/ 47 h 72"/>
              <a:gd name="T14" fmla="*/ 97 w 112"/>
              <a:gd name="T15" fmla="*/ 37 h 72"/>
              <a:gd name="T16" fmla="*/ 103 w 112"/>
              <a:gd name="T17" fmla="*/ 25 h 72"/>
              <a:gd name="T18" fmla="*/ 106 w 112"/>
              <a:gd name="T19" fmla="*/ 15 h 72"/>
              <a:gd name="T20" fmla="*/ 109 w 112"/>
              <a:gd name="T21" fmla="*/ 15 h 72"/>
              <a:gd name="T22" fmla="*/ 112 w 112"/>
              <a:gd name="T23" fmla="*/ 12 h 72"/>
              <a:gd name="T24" fmla="*/ 109 w 112"/>
              <a:gd name="T25" fmla="*/ 6 h 72"/>
              <a:gd name="T26" fmla="*/ 106 w 112"/>
              <a:gd name="T27" fmla="*/ 3 h 72"/>
              <a:gd name="T28" fmla="*/ 100 w 112"/>
              <a:gd name="T29" fmla="*/ 0 h 72"/>
              <a:gd name="T30" fmla="*/ 97 w 112"/>
              <a:gd name="T31" fmla="*/ 3 h 72"/>
              <a:gd name="T32" fmla="*/ 90 w 112"/>
              <a:gd name="T33" fmla="*/ 0 h 72"/>
              <a:gd name="T34" fmla="*/ 84 w 112"/>
              <a:gd name="T35" fmla="*/ 0 h 72"/>
              <a:gd name="T36" fmla="*/ 78 w 112"/>
              <a:gd name="T37" fmla="*/ 0 h 72"/>
              <a:gd name="T38" fmla="*/ 72 w 112"/>
              <a:gd name="T39" fmla="*/ 0 h 72"/>
              <a:gd name="T40" fmla="*/ 68 w 112"/>
              <a:gd name="T41" fmla="*/ 6 h 72"/>
              <a:gd name="T42" fmla="*/ 65 w 112"/>
              <a:gd name="T43" fmla="*/ 9 h 72"/>
              <a:gd name="T44" fmla="*/ 65 w 112"/>
              <a:gd name="T45" fmla="*/ 12 h 72"/>
              <a:gd name="T46" fmla="*/ 59 w 112"/>
              <a:gd name="T47" fmla="*/ 6 h 72"/>
              <a:gd name="T48" fmla="*/ 53 w 112"/>
              <a:gd name="T49" fmla="*/ 12 h 72"/>
              <a:gd name="T50" fmla="*/ 47 w 112"/>
              <a:gd name="T51" fmla="*/ 12 h 72"/>
              <a:gd name="T52" fmla="*/ 47 w 112"/>
              <a:gd name="T53" fmla="*/ 15 h 72"/>
              <a:gd name="T54" fmla="*/ 37 w 112"/>
              <a:gd name="T55" fmla="*/ 18 h 72"/>
              <a:gd name="T56" fmla="*/ 28 w 112"/>
              <a:gd name="T57" fmla="*/ 18 h 72"/>
              <a:gd name="T58" fmla="*/ 22 w 112"/>
              <a:gd name="T59" fmla="*/ 18 h 72"/>
              <a:gd name="T60" fmla="*/ 9 w 112"/>
              <a:gd name="T61" fmla="*/ 12 h 72"/>
              <a:gd name="T62" fmla="*/ 9 w 112"/>
              <a:gd name="T63" fmla="*/ 12 h 72"/>
              <a:gd name="T64" fmla="*/ 9 w 112"/>
              <a:gd name="T65" fmla="*/ 18 h 72"/>
              <a:gd name="T66" fmla="*/ 9 w 112"/>
              <a:gd name="T67" fmla="*/ 22 h 72"/>
              <a:gd name="T68" fmla="*/ 0 w 112"/>
              <a:gd name="T69" fmla="*/ 22 h 72"/>
              <a:gd name="T70" fmla="*/ 0 w 112"/>
              <a:gd name="T71" fmla="*/ 25 h 72"/>
              <a:gd name="T72" fmla="*/ 3 w 112"/>
              <a:gd name="T73" fmla="*/ 28 h 72"/>
              <a:gd name="T74" fmla="*/ 3 w 112"/>
              <a:gd name="T75" fmla="*/ 31 h 72"/>
              <a:gd name="T76" fmla="*/ 3 w 112"/>
              <a:gd name="T77" fmla="*/ 34 h 72"/>
              <a:gd name="T78" fmla="*/ 3 w 112"/>
              <a:gd name="T79" fmla="*/ 40 h 72"/>
              <a:gd name="T80" fmla="*/ 0 w 112"/>
              <a:gd name="T81" fmla="*/ 44 h 72"/>
              <a:gd name="T82" fmla="*/ 0 w 112"/>
              <a:gd name="T83" fmla="*/ 44 h 72"/>
              <a:gd name="T84" fmla="*/ 6 w 112"/>
              <a:gd name="T85" fmla="*/ 50 h 72"/>
              <a:gd name="T86" fmla="*/ 6 w 112"/>
              <a:gd name="T87" fmla="*/ 56 h 72"/>
              <a:gd name="T88" fmla="*/ 9 w 112"/>
              <a:gd name="T89" fmla="*/ 56 h 72"/>
              <a:gd name="T90" fmla="*/ 15 w 112"/>
              <a:gd name="T91" fmla="*/ 62 h 72"/>
              <a:gd name="T92" fmla="*/ 22 w 112"/>
              <a:gd name="T93" fmla="*/ 65 h 72"/>
              <a:gd name="T94" fmla="*/ 25 w 112"/>
              <a:gd name="T95" fmla="*/ 69 h 72"/>
              <a:gd name="T96" fmla="*/ 34 w 112"/>
              <a:gd name="T97" fmla="*/ 69 h 72"/>
              <a:gd name="T98" fmla="*/ 40 w 112"/>
              <a:gd name="T99" fmla="*/ 72 h 72"/>
              <a:gd name="T100" fmla="*/ 43 w 112"/>
              <a:gd name="T101" fmla="*/ 69 h 72"/>
              <a:gd name="T102" fmla="*/ 47 w 112"/>
              <a:gd name="T103" fmla="*/ 69 h 72"/>
              <a:gd name="T104" fmla="*/ 50 w 112"/>
              <a:gd name="T105" fmla="*/ 65 h 72"/>
              <a:gd name="T106" fmla="*/ 53 w 112"/>
              <a:gd name="T107" fmla="*/ 65 h 72"/>
              <a:gd name="T108" fmla="*/ 56 w 112"/>
              <a:gd name="T109" fmla="*/ 65 h 72"/>
              <a:gd name="T110" fmla="*/ 59 w 112"/>
              <a:gd name="T111" fmla="*/ 62 h 72"/>
              <a:gd name="T112" fmla="*/ 62 w 112"/>
              <a:gd name="T113" fmla="*/ 59 h 72"/>
              <a:gd name="T114" fmla="*/ 65 w 112"/>
              <a:gd name="T115" fmla="*/ 59 h 72"/>
              <a:gd name="T116" fmla="*/ 72 w 112"/>
              <a:gd name="T117" fmla="*/ 59 h 72"/>
              <a:gd name="T118" fmla="*/ 72 w 112"/>
              <a:gd name="T119"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2" h="72">
                <a:moveTo>
                  <a:pt x="72" y="62"/>
                </a:moveTo>
                <a:lnTo>
                  <a:pt x="78" y="56"/>
                </a:lnTo>
                <a:lnTo>
                  <a:pt x="81" y="56"/>
                </a:lnTo>
                <a:lnTo>
                  <a:pt x="81" y="53"/>
                </a:lnTo>
                <a:lnTo>
                  <a:pt x="87" y="53"/>
                </a:lnTo>
                <a:lnTo>
                  <a:pt x="90" y="50"/>
                </a:lnTo>
                <a:lnTo>
                  <a:pt x="90" y="47"/>
                </a:lnTo>
                <a:lnTo>
                  <a:pt x="97" y="37"/>
                </a:lnTo>
                <a:lnTo>
                  <a:pt x="103" y="25"/>
                </a:lnTo>
                <a:lnTo>
                  <a:pt x="106" y="15"/>
                </a:lnTo>
                <a:lnTo>
                  <a:pt x="109" y="15"/>
                </a:lnTo>
                <a:lnTo>
                  <a:pt x="112" y="12"/>
                </a:lnTo>
                <a:lnTo>
                  <a:pt x="109" y="6"/>
                </a:lnTo>
                <a:lnTo>
                  <a:pt x="106" y="3"/>
                </a:lnTo>
                <a:lnTo>
                  <a:pt x="100" y="0"/>
                </a:lnTo>
                <a:lnTo>
                  <a:pt x="97" y="3"/>
                </a:lnTo>
                <a:lnTo>
                  <a:pt x="90" y="0"/>
                </a:lnTo>
                <a:lnTo>
                  <a:pt x="84" y="0"/>
                </a:lnTo>
                <a:lnTo>
                  <a:pt x="78" y="0"/>
                </a:lnTo>
                <a:lnTo>
                  <a:pt x="72" y="0"/>
                </a:lnTo>
                <a:lnTo>
                  <a:pt x="68" y="6"/>
                </a:lnTo>
                <a:lnTo>
                  <a:pt x="65" y="9"/>
                </a:lnTo>
                <a:lnTo>
                  <a:pt x="65" y="12"/>
                </a:lnTo>
                <a:lnTo>
                  <a:pt x="59" y="6"/>
                </a:lnTo>
                <a:lnTo>
                  <a:pt x="53" y="12"/>
                </a:lnTo>
                <a:lnTo>
                  <a:pt x="47" y="12"/>
                </a:lnTo>
                <a:lnTo>
                  <a:pt x="47" y="15"/>
                </a:lnTo>
                <a:lnTo>
                  <a:pt x="37" y="18"/>
                </a:lnTo>
                <a:lnTo>
                  <a:pt x="28" y="18"/>
                </a:lnTo>
                <a:lnTo>
                  <a:pt x="22" y="18"/>
                </a:lnTo>
                <a:lnTo>
                  <a:pt x="9" y="12"/>
                </a:lnTo>
                <a:lnTo>
                  <a:pt x="9" y="12"/>
                </a:lnTo>
                <a:lnTo>
                  <a:pt x="9" y="18"/>
                </a:lnTo>
                <a:lnTo>
                  <a:pt x="9" y="22"/>
                </a:lnTo>
                <a:lnTo>
                  <a:pt x="0" y="22"/>
                </a:lnTo>
                <a:lnTo>
                  <a:pt x="0" y="25"/>
                </a:lnTo>
                <a:lnTo>
                  <a:pt x="3" y="28"/>
                </a:lnTo>
                <a:lnTo>
                  <a:pt x="3" y="31"/>
                </a:lnTo>
                <a:lnTo>
                  <a:pt x="3" y="34"/>
                </a:lnTo>
                <a:lnTo>
                  <a:pt x="3" y="40"/>
                </a:lnTo>
                <a:lnTo>
                  <a:pt x="0" y="44"/>
                </a:lnTo>
                <a:lnTo>
                  <a:pt x="0" y="44"/>
                </a:lnTo>
                <a:lnTo>
                  <a:pt x="6" y="50"/>
                </a:lnTo>
                <a:lnTo>
                  <a:pt x="6" y="56"/>
                </a:lnTo>
                <a:lnTo>
                  <a:pt x="9" y="56"/>
                </a:lnTo>
                <a:lnTo>
                  <a:pt x="15" y="62"/>
                </a:lnTo>
                <a:lnTo>
                  <a:pt x="22" y="65"/>
                </a:lnTo>
                <a:lnTo>
                  <a:pt x="25" y="69"/>
                </a:lnTo>
                <a:lnTo>
                  <a:pt x="34" y="69"/>
                </a:lnTo>
                <a:lnTo>
                  <a:pt x="40" y="72"/>
                </a:lnTo>
                <a:lnTo>
                  <a:pt x="43" y="69"/>
                </a:lnTo>
                <a:lnTo>
                  <a:pt x="47" y="69"/>
                </a:lnTo>
                <a:lnTo>
                  <a:pt x="50" y="65"/>
                </a:lnTo>
                <a:lnTo>
                  <a:pt x="53" y="65"/>
                </a:lnTo>
                <a:lnTo>
                  <a:pt x="56" y="65"/>
                </a:lnTo>
                <a:lnTo>
                  <a:pt x="59" y="62"/>
                </a:lnTo>
                <a:lnTo>
                  <a:pt x="62" y="59"/>
                </a:lnTo>
                <a:lnTo>
                  <a:pt x="65" y="59"/>
                </a:lnTo>
                <a:lnTo>
                  <a:pt x="72" y="59"/>
                </a:lnTo>
                <a:lnTo>
                  <a:pt x="72" y="62"/>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6" name="Freeform 54">
            <a:extLst>
              <a:ext uri="{FF2B5EF4-FFF2-40B4-BE49-F238E27FC236}">
                <a16:creationId xmlns:a16="http://schemas.microsoft.com/office/drawing/2014/main" id="{B3F79F7F-C229-21C0-753A-FF664F1631B9}"/>
              </a:ext>
            </a:extLst>
          </p:cNvPr>
          <p:cNvSpPr>
            <a:spLocks/>
          </p:cNvSpPr>
          <p:nvPr userDrawn="1"/>
        </p:nvSpPr>
        <p:spPr bwMode="auto">
          <a:xfrm>
            <a:off x="14121479" y="6000032"/>
            <a:ext cx="307956" cy="127000"/>
          </a:xfrm>
          <a:custGeom>
            <a:avLst/>
            <a:gdLst>
              <a:gd name="T0" fmla="*/ 0 w 97"/>
              <a:gd name="T1" fmla="*/ 34 h 40"/>
              <a:gd name="T2" fmla="*/ 13 w 97"/>
              <a:gd name="T3" fmla="*/ 40 h 40"/>
              <a:gd name="T4" fmla="*/ 19 w 97"/>
              <a:gd name="T5" fmla="*/ 40 h 40"/>
              <a:gd name="T6" fmla="*/ 28 w 97"/>
              <a:gd name="T7" fmla="*/ 40 h 40"/>
              <a:gd name="T8" fmla="*/ 38 w 97"/>
              <a:gd name="T9" fmla="*/ 37 h 40"/>
              <a:gd name="T10" fmla="*/ 38 w 97"/>
              <a:gd name="T11" fmla="*/ 34 h 40"/>
              <a:gd name="T12" fmla="*/ 44 w 97"/>
              <a:gd name="T13" fmla="*/ 34 h 40"/>
              <a:gd name="T14" fmla="*/ 50 w 97"/>
              <a:gd name="T15" fmla="*/ 28 h 40"/>
              <a:gd name="T16" fmla="*/ 56 w 97"/>
              <a:gd name="T17" fmla="*/ 34 h 40"/>
              <a:gd name="T18" fmla="*/ 56 w 97"/>
              <a:gd name="T19" fmla="*/ 31 h 40"/>
              <a:gd name="T20" fmla="*/ 59 w 97"/>
              <a:gd name="T21" fmla="*/ 28 h 40"/>
              <a:gd name="T22" fmla="*/ 63 w 97"/>
              <a:gd name="T23" fmla="*/ 22 h 40"/>
              <a:gd name="T24" fmla="*/ 69 w 97"/>
              <a:gd name="T25" fmla="*/ 22 h 40"/>
              <a:gd name="T26" fmla="*/ 75 w 97"/>
              <a:gd name="T27" fmla="*/ 22 h 40"/>
              <a:gd name="T28" fmla="*/ 81 w 97"/>
              <a:gd name="T29" fmla="*/ 22 h 40"/>
              <a:gd name="T30" fmla="*/ 88 w 97"/>
              <a:gd name="T31" fmla="*/ 25 h 40"/>
              <a:gd name="T32" fmla="*/ 94 w 97"/>
              <a:gd name="T33" fmla="*/ 19 h 40"/>
              <a:gd name="T34" fmla="*/ 94 w 97"/>
              <a:gd name="T35" fmla="*/ 12 h 40"/>
              <a:gd name="T36" fmla="*/ 97 w 97"/>
              <a:gd name="T37" fmla="*/ 6 h 40"/>
              <a:gd name="T38" fmla="*/ 97 w 97"/>
              <a:gd name="T39" fmla="*/ 6 h 40"/>
              <a:gd name="T40" fmla="*/ 88 w 97"/>
              <a:gd name="T41" fmla="*/ 0 h 40"/>
              <a:gd name="T42" fmla="*/ 81 w 97"/>
              <a:gd name="T43" fmla="*/ 0 h 40"/>
              <a:gd name="T44" fmla="*/ 78 w 97"/>
              <a:gd name="T45" fmla="*/ 0 h 40"/>
              <a:gd name="T46" fmla="*/ 75 w 97"/>
              <a:gd name="T47" fmla="*/ 0 h 40"/>
              <a:gd name="T48" fmla="*/ 72 w 97"/>
              <a:gd name="T49" fmla="*/ 0 h 40"/>
              <a:gd name="T50" fmla="*/ 72 w 97"/>
              <a:gd name="T51" fmla="*/ 3 h 40"/>
              <a:gd name="T52" fmla="*/ 69 w 97"/>
              <a:gd name="T53" fmla="*/ 0 h 40"/>
              <a:gd name="T54" fmla="*/ 63 w 97"/>
              <a:gd name="T55" fmla="*/ 0 h 40"/>
              <a:gd name="T56" fmla="*/ 59 w 97"/>
              <a:gd name="T57" fmla="*/ 0 h 40"/>
              <a:gd name="T58" fmla="*/ 56 w 97"/>
              <a:gd name="T59" fmla="*/ 0 h 40"/>
              <a:gd name="T60" fmla="*/ 53 w 97"/>
              <a:gd name="T61" fmla="*/ 6 h 40"/>
              <a:gd name="T62" fmla="*/ 50 w 97"/>
              <a:gd name="T63" fmla="*/ 6 h 40"/>
              <a:gd name="T64" fmla="*/ 50 w 97"/>
              <a:gd name="T65" fmla="*/ 3 h 40"/>
              <a:gd name="T66" fmla="*/ 50 w 97"/>
              <a:gd name="T67" fmla="*/ 3 h 40"/>
              <a:gd name="T68" fmla="*/ 41 w 97"/>
              <a:gd name="T69" fmla="*/ 3 h 40"/>
              <a:gd name="T70" fmla="*/ 38 w 97"/>
              <a:gd name="T71" fmla="*/ 6 h 40"/>
              <a:gd name="T72" fmla="*/ 31 w 97"/>
              <a:gd name="T73" fmla="*/ 9 h 40"/>
              <a:gd name="T74" fmla="*/ 25 w 97"/>
              <a:gd name="T75" fmla="*/ 12 h 40"/>
              <a:gd name="T76" fmla="*/ 19 w 97"/>
              <a:gd name="T77" fmla="*/ 15 h 40"/>
              <a:gd name="T78" fmla="*/ 13 w 97"/>
              <a:gd name="T79" fmla="*/ 19 h 40"/>
              <a:gd name="T80" fmla="*/ 9 w 97"/>
              <a:gd name="T81" fmla="*/ 15 h 40"/>
              <a:gd name="T82" fmla="*/ 6 w 97"/>
              <a:gd name="T83" fmla="*/ 15 h 40"/>
              <a:gd name="T84" fmla="*/ 0 w 97"/>
              <a:gd name="T85" fmla="*/ 19 h 40"/>
              <a:gd name="T86" fmla="*/ 0 w 97"/>
              <a:gd name="T87" fmla="*/ 19 h 40"/>
              <a:gd name="T88" fmla="*/ 0 w 97"/>
              <a:gd name="T89" fmla="*/ 25 h 40"/>
              <a:gd name="T90" fmla="*/ 0 w 97"/>
              <a:gd name="T91" fmla="*/ 3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40">
                <a:moveTo>
                  <a:pt x="0" y="34"/>
                </a:moveTo>
                <a:lnTo>
                  <a:pt x="13" y="40"/>
                </a:lnTo>
                <a:lnTo>
                  <a:pt x="19" y="40"/>
                </a:lnTo>
                <a:lnTo>
                  <a:pt x="28" y="40"/>
                </a:lnTo>
                <a:lnTo>
                  <a:pt x="38" y="37"/>
                </a:lnTo>
                <a:lnTo>
                  <a:pt x="38" y="34"/>
                </a:lnTo>
                <a:lnTo>
                  <a:pt x="44" y="34"/>
                </a:lnTo>
                <a:lnTo>
                  <a:pt x="50" y="28"/>
                </a:lnTo>
                <a:lnTo>
                  <a:pt x="56" y="34"/>
                </a:lnTo>
                <a:lnTo>
                  <a:pt x="56" y="31"/>
                </a:lnTo>
                <a:lnTo>
                  <a:pt x="59" y="28"/>
                </a:lnTo>
                <a:lnTo>
                  <a:pt x="63" y="22"/>
                </a:lnTo>
                <a:lnTo>
                  <a:pt x="69" y="22"/>
                </a:lnTo>
                <a:lnTo>
                  <a:pt x="75" y="22"/>
                </a:lnTo>
                <a:lnTo>
                  <a:pt x="81" y="22"/>
                </a:lnTo>
                <a:lnTo>
                  <a:pt x="88" y="25"/>
                </a:lnTo>
                <a:lnTo>
                  <a:pt x="94" y="19"/>
                </a:lnTo>
                <a:lnTo>
                  <a:pt x="94" y="12"/>
                </a:lnTo>
                <a:lnTo>
                  <a:pt x="97" y="6"/>
                </a:lnTo>
                <a:lnTo>
                  <a:pt x="97" y="6"/>
                </a:lnTo>
                <a:lnTo>
                  <a:pt x="88" y="0"/>
                </a:lnTo>
                <a:lnTo>
                  <a:pt x="81" y="0"/>
                </a:lnTo>
                <a:lnTo>
                  <a:pt x="78" y="0"/>
                </a:lnTo>
                <a:lnTo>
                  <a:pt x="75" y="0"/>
                </a:lnTo>
                <a:lnTo>
                  <a:pt x="72" y="0"/>
                </a:lnTo>
                <a:lnTo>
                  <a:pt x="72" y="3"/>
                </a:lnTo>
                <a:lnTo>
                  <a:pt x="69" y="0"/>
                </a:lnTo>
                <a:lnTo>
                  <a:pt x="63" y="0"/>
                </a:lnTo>
                <a:lnTo>
                  <a:pt x="59" y="0"/>
                </a:lnTo>
                <a:lnTo>
                  <a:pt x="56" y="0"/>
                </a:lnTo>
                <a:lnTo>
                  <a:pt x="53" y="6"/>
                </a:lnTo>
                <a:lnTo>
                  <a:pt x="50" y="6"/>
                </a:lnTo>
                <a:lnTo>
                  <a:pt x="50" y="3"/>
                </a:lnTo>
                <a:lnTo>
                  <a:pt x="50" y="3"/>
                </a:lnTo>
                <a:lnTo>
                  <a:pt x="41" y="3"/>
                </a:lnTo>
                <a:lnTo>
                  <a:pt x="38" y="6"/>
                </a:lnTo>
                <a:lnTo>
                  <a:pt x="31" y="9"/>
                </a:lnTo>
                <a:lnTo>
                  <a:pt x="25" y="12"/>
                </a:lnTo>
                <a:lnTo>
                  <a:pt x="19" y="15"/>
                </a:lnTo>
                <a:lnTo>
                  <a:pt x="13" y="19"/>
                </a:lnTo>
                <a:lnTo>
                  <a:pt x="9" y="15"/>
                </a:lnTo>
                <a:lnTo>
                  <a:pt x="6" y="15"/>
                </a:lnTo>
                <a:lnTo>
                  <a:pt x="0" y="19"/>
                </a:lnTo>
                <a:lnTo>
                  <a:pt x="0" y="19"/>
                </a:lnTo>
                <a:lnTo>
                  <a:pt x="0" y="25"/>
                </a:lnTo>
                <a:lnTo>
                  <a:pt x="0" y="3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7" name="Freeform 55">
            <a:extLst>
              <a:ext uri="{FF2B5EF4-FFF2-40B4-BE49-F238E27FC236}">
                <a16:creationId xmlns:a16="http://schemas.microsoft.com/office/drawing/2014/main" id="{6283180F-B03D-B8B6-D208-8180118EE81A}"/>
              </a:ext>
            </a:extLst>
          </p:cNvPr>
          <p:cNvSpPr>
            <a:spLocks/>
          </p:cNvSpPr>
          <p:nvPr userDrawn="1"/>
        </p:nvSpPr>
        <p:spPr bwMode="auto">
          <a:xfrm>
            <a:off x="14458008" y="6396908"/>
            <a:ext cx="368278" cy="228600"/>
          </a:xfrm>
          <a:custGeom>
            <a:avLst/>
            <a:gdLst>
              <a:gd name="T0" fmla="*/ 10 w 116"/>
              <a:gd name="T1" fmla="*/ 3 h 72"/>
              <a:gd name="T2" fmla="*/ 10 w 116"/>
              <a:gd name="T3" fmla="*/ 6 h 72"/>
              <a:gd name="T4" fmla="*/ 13 w 116"/>
              <a:gd name="T5" fmla="*/ 12 h 72"/>
              <a:gd name="T6" fmla="*/ 22 w 116"/>
              <a:gd name="T7" fmla="*/ 9 h 72"/>
              <a:gd name="T8" fmla="*/ 25 w 116"/>
              <a:gd name="T9" fmla="*/ 12 h 72"/>
              <a:gd name="T10" fmla="*/ 38 w 116"/>
              <a:gd name="T11" fmla="*/ 12 h 72"/>
              <a:gd name="T12" fmla="*/ 44 w 116"/>
              <a:gd name="T13" fmla="*/ 9 h 72"/>
              <a:gd name="T14" fmla="*/ 53 w 116"/>
              <a:gd name="T15" fmla="*/ 12 h 72"/>
              <a:gd name="T16" fmla="*/ 63 w 116"/>
              <a:gd name="T17" fmla="*/ 12 h 72"/>
              <a:gd name="T18" fmla="*/ 69 w 116"/>
              <a:gd name="T19" fmla="*/ 6 h 72"/>
              <a:gd name="T20" fmla="*/ 85 w 116"/>
              <a:gd name="T21" fmla="*/ 0 h 72"/>
              <a:gd name="T22" fmla="*/ 97 w 116"/>
              <a:gd name="T23" fmla="*/ 3 h 72"/>
              <a:gd name="T24" fmla="*/ 103 w 116"/>
              <a:gd name="T25" fmla="*/ 6 h 72"/>
              <a:gd name="T26" fmla="*/ 110 w 116"/>
              <a:gd name="T27" fmla="*/ 9 h 72"/>
              <a:gd name="T28" fmla="*/ 116 w 116"/>
              <a:gd name="T29" fmla="*/ 9 h 72"/>
              <a:gd name="T30" fmla="*/ 113 w 116"/>
              <a:gd name="T31" fmla="*/ 19 h 72"/>
              <a:gd name="T32" fmla="*/ 103 w 116"/>
              <a:gd name="T33" fmla="*/ 25 h 72"/>
              <a:gd name="T34" fmla="*/ 103 w 116"/>
              <a:gd name="T35" fmla="*/ 38 h 72"/>
              <a:gd name="T36" fmla="*/ 97 w 116"/>
              <a:gd name="T37" fmla="*/ 44 h 72"/>
              <a:gd name="T38" fmla="*/ 103 w 116"/>
              <a:gd name="T39" fmla="*/ 50 h 72"/>
              <a:gd name="T40" fmla="*/ 107 w 116"/>
              <a:gd name="T41" fmla="*/ 53 h 72"/>
              <a:gd name="T42" fmla="*/ 100 w 116"/>
              <a:gd name="T43" fmla="*/ 56 h 72"/>
              <a:gd name="T44" fmla="*/ 88 w 116"/>
              <a:gd name="T45" fmla="*/ 50 h 72"/>
              <a:gd name="T46" fmla="*/ 85 w 116"/>
              <a:gd name="T47" fmla="*/ 53 h 72"/>
              <a:gd name="T48" fmla="*/ 82 w 116"/>
              <a:gd name="T49" fmla="*/ 56 h 72"/>
              <a:gd name="T50" fmla="*/ 72 w 116"/>
              <a:gd name="T51" fmla="*/ 63 h 72"/>
              <a:gd name="T52" fmla="*/ 75 w 116"/>
              <a:gd name="T53" fmla="*/ 69 h 72"/>
              <a:gd name="T54" fmla="*/ 63 w 116"/>
              <a:gd name="T55" fmla="*/ 72 h 72"/>
              <a:gd name="T56" fmla="*/ 57 w 116"/>
              <a:gd name="T57" fmla="*/ 72 h 72"/>
              <a:gd name="T58" fmla="*/ 50 w 116"/>
              <a:gd name="T59" fmla="*/ 72 h 72"/>
              <a:gd name="T60" fmla="*/ 47 w 116"/>
              <a:gd name="T61" fmla="*/ 69 h 72"/>
              <a:gd name="T62" fmla="*/ 35 w 116"/>
              <a:gd name="T63" fmla="*/ 69 h 72"/>
              <a:gd name="T64" fmla="*/ 28 w 116"/>
              <a:gd name="T65" fmla="*/ 72 h 72"/>
              <a:gd name="T66" fmla="*/ 19 w 116"/>
              <a:gd name="T67" fmla="*/ 72 h 72"/>
              <a:gd name="T68" fmla="*/ 19 w 116"/>
              <a:gd name="T69" fmla="*/ 69 h 72"/>
              <a:gd name="T70" fmla="*/ 13 w 116"/>
              <a:gd name="T71" fmla="*/ 53 h 72"/>
              <a:gd name="T72" fmla="*/ 3 w 116"/>
              <a:gd name="T73" fmla="*/ 47 h 72"/>
              <a:gd name="T74" fmla="*/ 3 w 116"/>
              <a:gd name="T75" fmla="*/ 41 h 72"/>
              <a:gd name="T76" fmla="*/ 10 w 116"/>
              <a:gd name="T77" fmla="*/ 31 h 72"/>
              <a:gd name="T78" fmla="*/ 10 w 116"/>
              <a:gd name="T79" fmla="*/ 22 h 72"/>
              <a:gd name="T80" fmla="*/ 0 w 116"/>
              <a:gd name="T81" fmla="*/ 9 h 72"/>
              <a:gd name="T82" fmla="*/ 3 w 116"/>
              <a:gd name="T83"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6" h="72">
                <a:moveTo>
                  <a:pt x="3" y="0"/>
                </a:moveTo>
                <a:lnTo>
                  <a:pt x="10" y="3"/>
                </a:lnTo>
                <a:lnTo>
                  <a:pt x="10" y="3"/>
                </a:lnTo>
                <a:lnTo>
                  <a:pt x="10" y="6"/>
                </a:lnTo>
                <a:lnTo>
                  <a:pt x="10" y="9"/>
                </a:lnTo>
                <a:lnTo>
                  <a:pt x="13" y="12"/>
                </a:lnTo>
                <a:lnTo>
                  <a:pt x="16" y="9"/>
                </a:lnTo>
                <a:lnTo>
                  <a:pt x="22" y="9"/>
                </a:lnTo>
                <a:lnTo>
                  <a:pt x="22" y="12"/>
                </a:lnTo>
                <a:lnTo>
                  <a:pt x="25" y="12"/>
                </a:lnTo>
                <a:lnTo>
                  <a:pt x="32" y="12"/>
                </a:lnTo>
                <a:lnTo>
                  <a:pt x="38" y="12"/>
                </a:lnTo>
                <a:lnTo>
                  <a:pt x="41" y="12"/>
                </a:lnTo>
                <a:lnTo>
                  <a:pt x="44" y="9"/>
                </a:lnTo>
                <a:lnTo>
                  <a:pt x="50" y="12"/>
                </a:lnTo>
                <a:lnTo>
                  <a:pt x="53" y="12"/>
                </a:lnTo>
                <a:lnTo>
                  <a:pt x="60" y="12"/>
                </a:lnTo>
                <a:lnTo>
                  <a:pt x="63" y="12"/>
                </a:lnTo>
                <a:lnTo>
                  <a:pt x="66" y="9"/>
                </a:lnTo>
                <a:lnTo>
                  <a:pt x="69" y="6"/>
                </a:lnTo>
                <a:lnTo>
                  <a:pt x="82" y="3"/>
                </a:lnTo>
                <a:lnTo>
                  <a:pt x="85" y="0"/>
                </a:lnTo>
                <a:lnTo>
                  <a:pt x="91" y="0"/>
                </a:lnTo>
                <a:lnTo>
                  <a:pt x="97" y="3"/>
                </a:lnTo>
                <a:lnTo>
                  <a:pt x="100" y="6"/>
                </a:lnTo>
                <a:lnTo>
                  <a:pt x="103" y="6"/>
                </a:lnTo>
                <a:lnTo>
                  <a:pt x="110" y="6"/>
                </a:lnTo>
                <a:lnTo>
                  <a:pt x="110" y="9"/>
                </a:lnTo>
                <a:lnTo>
                  <a:pt x="116" y="9"/>
                </a:lnTo>
                <a:lnTo>
                  <a:pt x="116" y="9"/>
                </a:lnTo>
                <a:lnTo>
                  <a:pt x="113" y="19"/>
                </a:lnTo>
                <a:lnTo>
                  <a:pt x="113" y="19"/>
                </a:lnTo>
                <a:lnTo>
                  <a:pt x="107" y="19"/>
                </a:lnTo>
                <a:lnTo>
                  <a:pt x="103" y="25"/>
                </a:lnTo>
                <a:lnTo>
                  <a:pt x="103" y="34"/>
                </a:lnTo>
                <a:lnTo>
                  <a:pt x="103" y="38"/>
                </a:lnTo>
                <a:lnTo>
                  <a:pt x="97" y="41"/>
                </a:lnTo>
                <a:lnTo>
                  <a:pt x="97" y="44"/>
                </a:lnTo>
                <a:lnTo>
                  <a:pt x="100" y="44"/>
                </a:lnTo>
                <a:lnTo>
                  <a:pt x="103" y="50"/>
                </a:lnTo>
                <a:lnTo>
                  <a:pt x="107" y="53"/>
                </a:lnTo>
                <a:lnTo>
                  <a:pt x="107" y="53"/>
                </a:lnTo>
                <a:lnTo>
                  <a:pt x="103" y="53"/>
                </a:lnTo>
                <a:lnTo>
                  <a:pt x="100" y="56"/>
                </a:lnTo>
                <a:lnTo>
                  <a:pt x="94" y="50"/>
                </a:lnTo>
                <a:lnTo>
                  <a:pt x="88" y="50"/>
                </a:lnTo>
                <a:lnTo>
                  <a:pt x="88" y="53"/>
                </a:lnTo>
                <a:lnTo>
                  <a:pt x="85" y="53"/>
                </a:lnTo>
                <a:lnTo>
                  <a:pt x="82" y="56"/>
                </a:lnTo>
                <a:lnTo>
                  <a:pt x="82" y="56"/>
                </a:lnTo>
                <a:lnTo>
                  <a:pt x="78" y="56"/>
                </a:lnTo>
                <a:lnTo>
                  <a:pt x="72" y="63"/>
                </a:lnTo>
                <a:lnTo>
                  <a:pt x="72" y="66"/>
                </a:lnTo>
                <a:lnTo>
                  <a:pt x="75" y="69"/>
                </a:lnTo>
                <a:lnTo>
                  <a:pt x="72" y="72"/>
                </a:lnTo>
                <a:lnTo>
                  <a:pt x="63" y="72"/>
                </a:lnTo>
                <a:lnTo>
                  <a:pt x="60" y="72"/>
                </a:lnTo>
                <a:lnTo>
                  <a:pt x="57" y="72"/>
                </a:lnTo>
                <a:lnTo>
                  <a:pt x="53" y="72"/>
                </a:lnTo>
                <a:lnTo>
                  <a:pt x="50" y="72"/>
                </a:lnTo>
                <a:lnTo>
                  <a:pt x="47" y="72"/>
                </a:lnTo>
                <a:lnTo>
                  <a:pt x="47" y="69"/>
                </a:lnTo>
                <a:lnTo>
                  <a:pt x="41" y="69"/>
                </a:lnTo>
                <a:lnTo>
                  <a:pt x="35" y="69"/>
                </a:lnTo>
                <a:lnTo>
                  <a:pt x="32" y="72"/>
                </a:lnTo>
                <a:lnTo>
                  <a:pt x="28" y="72"/>
                </a:lnTo>
                <a:lnTo>
                  <a:pt x="22" y="72"/>
                </a:lnTo>
                <a:lnTo>
                  <a:pt x="19" y="72"/>
                </a:lnTo>
                <a:lnTo>
                  <a:pt x="19" y="72"/>
                </a:lnTo>
                <a:lnTo>
                  <a:pt x="19" y="69"/>
                </a:lnTo>
                <a:lnTo>
                  <a:pt x="19" y="63"/>
                </a:lnTo>
                <a:lnTo>
                  <a:pt x="13" y="53"/>
                </a:lnTo>
                <a:lnTo>
                  <a:pt x="3" y="47"/>
                </a:lnTo>
                <a:lnTo>
                  <a:pt x="3" y="47"/>
                </a:lnTo>
                <a:lnTo>
                  <a:pt x="7" y="44"/>
                </a:lnTo>
                <a:lnTo>
                  <a:pt x="3" y="41"/>
                </a:lnTo>
                <a:lnTo>
                  <a:pt x="3" y="38"/>
                </a:lnTo>
                <a:lnTo>
                  <a:pt x="10" y="31"/>
                </a:lnTo>
                <a:lnTo>
                  <a:pt x="13" y="28"/>
                </a:lnTo>
                <a:lnTo>
                  <a:pt x="10" y="22"/>
                </a:lnTo>
                <a:lnTo>
                  <a:pt x="3" y="16"/>
                </a:lnTo>
                <a:lnTo>
                  <a:pt x="0" y="9"/>
                </a:lnTo>
                <a:lnTo>
                  <a:pt x="3" y="6"/>
                </a:lnTo>
                <a:lnTo>
                  <a:pt x="3"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8" name="Freeform 56">
            <a:extLst>
              <a:ext uri="{FF2B5EF4-FFF2-40B4-BE49-F238E27FC236}">
                <a16:creationId xmlns:a16="http://schemas.microsoft.com/office/drawing/2014/main" id="{0C21C5A5-0BFD-47A6-7CA9-70A9477BAF06}"/>
              </a:ext>
            </a:extLst>
          </p:cNvPr>
          <p:cNvSpPr>
            <a:spLocks/>
          </p:cNvSpPr>
          <p:nvPr userDrawn="1"/>
        </p:nvSpPr>
        <p:spPr bwMode="auto">
          <a:xfrm>
            <a:off x="14359590" y="6546130"/>
            <a:ext cx="158740" cy="130176"/>
          </a:xfrm>
          <a:custGeom>
            <a:avLst/>
            <a:gdLst>
              <a:gd name="T0" fmla="*/ 34 w 50"/>
              <a:gd name="T1" fmla="*/ 0 h 41"/>
              <a:gd name="T2" fmla="*/ 44 w 50"/>
              <a:gd name="T3" fmla="*/ 6 h 41"/>
              <a:gd name="T4" fmla="*/ 50 w 50"/>
              <a:gd name="T5" fmla="*/ 16 h 41"/>
              <a:gd name="T6" fmla="*/ 50 w 50"/>
              <a:gd name="T7" fmla="*/ 22 h 41"/>
              <a:gd name="T8" fmla="*/ 50 w 50"/>
              <a:gd name="T9" fmla="*/ 25 h 41"/>
              <a:gd name="T10" fmla="*/ 47 w 50"/>
              <a:gd name="T11" fmla="*/ 28 h 41"/>
              <a:gd name="T12" fmla="*/ 44 w 50"/>
              <a:gd name="T13" fmla="*/ 28 h 41"/>
              <a:gd name="T14" fmla="*/ 41 w 50"/>
              <a:gd name="T15" fmla="*/ 31 h 41"/>
              <a:gd name="T16" fmla="*/ 31 w 50"/>
              <a:gd name="T17" fmla="*/ 31 h 41"/>
              <a:gd name="T18" fmla="*/ 25 w 50"/>
              <a:gd name="T19" fmla="*/ 31 h 41"/>
              <a:gd name="T20" fmla="*/ 25 w 50"/>
              <a:gd name="T21" fmla="*/ 34 h 41"/>
              <a:gd name="T22" fmla="*/ 19 w 50"/>
              <a:gd name="T23" fmla="*/ 34 h 41"/>
              <a:gd name="T24" fmla="*/ 13 w 50"/>
              <a:gd name="T25" fmla="*/ 41 h 41"/>
              <a:gd name="T26" fmla="*/ 13 w 50"/>
              <a:gd name="T27" fmla="*/ 41 h 41"/>
              <a:gd name="T28" fmla="*/ 9 w 50"/>
              <a:gd name="T29" fmla="*/ 37 h 41"/>
              <a:gd name="T30" fmla="*/ 6 w 50"/>
              <a:gd name="T31" fmla="*/ 34 h 41"/>
              <a:gd name="T32" fmla="*/ 3 w 50"/>
              <a:gd name="T33" fmla="*/ 28 h 41"/>
              <a:gd name="T34" fmla="*/ 0 w 50"/>
              <a:gd name="T35" fmla="*/ 22 h 41"/>
              <a:gd name="T36" fmla="*/ 3 w 50"/>
              <a:gd name="T37" fmla="*/ 12 h 41"/>
              <a:gd name="T38" fmla="*/ 3 w 50"/>
              <a:gd name="T39" fmla="*/ 16 h 41"/>
              <a:gd name="T40" fmla="*/ 3 w 50"/>
              <a:gd name="T41" fmla="*/ 12 h 41"/>
              <a:gd name="T42" fmla="*/ 3 w 50"/>
              <a:gd name="T43" fmla="*/ 9 h 41"/>
              <a:gd name="T44" fmla="*/ 9 w 50"/>
              <a:gd name="T45" fmla="*/ 6 h 41"/>
              <a:gd name="T46" fmla="*/ 13 w 50"/>
              <a:gd name="T47" fmla="*/ 6 h 41"/>
              <a:gd name="T48" fmla="*/ 16 w 50"/>
              <a:gd name="T49" fmla="*/ 3 h 41"/>
              <a:gd name="T50" fmla="*/ 25 w 50"/>
              <a:gd name="T51" fmla="*/ 3 h 41"/>
              <a:gd name="T52" fmla="*/ 28 w 50"/>
              <a:gd name="T53" fmla="*/ 3 h 41"/>
              <a:gd name="T54" fmla="*/ 31 w 50"/>
              <a:gd name="T55" fmla="*/ 0 h 41"/>
              <a:gd name="T56" fmla="*/ 34 w 50"/>
              <a:gd name="T5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1">
                <a:moveTo>
                  <a:pt x="34" y="0"/>
                </a:moveTo>
                <a:lnTo>
                  <a:pt x="44" y="6"/>
                </a:lnTo>
                <a:lnTo>
                  <a:pt x="50" y="16"/>
                </a:lnTo>
                <a:lnTo>
                  <a:pt x="50" y="22"/>
                </a:lnTo>
                <a:lnTo>
                  <a:pt x="50" y="25"/>
                </a:lnTo>
                <a:lnTo>
                  <a:pt x="47" y="28"/>
                </a:lnTo>
                <a:lnTo>
                  <a:pt x="44" y="28"/>
                </a:lnTo>
                <a:lnTo>
                  <a:pt x="41" y="31"/>
                </a:lnTo>
                <a:lnTo>
                  <a:pt x="31" y="31"/>
                </a:lnTo>
                <a:lnTo>
                  <a:pt x="25" y="31"/>
                </a:lnTo>
                <a:lnTo>
                  <a:pt x="25" y="34"/>
                </a:lnTo>
                <a:lnTo>
                  <a:pt x="19" y="34"/>
                </a:lnTo>
                <a:lnTo>
                  <a:pt x="13" y="41"/>
                </a:lnTo>
                <a:lnTo>
                  <a:pt x="13" y="41"/>
                </a:lnTo>
                <a:lnTo>
                  <a:pt x="9" y="37"/>
                </a:lnTo>
                <a:lnTo>
                  <a:pt x="6" y="34"/>
                </a:lnTo>
                <a:lnTo>
                  <a:pt x="3" y="28"/>
                </a:lnTo>
                <a:lnTo>
                  <a:pt x="0" y="22"/>
                </a:lnTo>
                <a:lnTo>
                  <a:pt x="3" y="12"/>
                </a:lnTo>
                <a:lnTo>
                  <a:pt x="3" y="16"/>
                </a:lnTo>
                <a:lnTo>
                  <a:pt x="3" y="12"/>
                </a:lnTo>
                <a:lnTo>
                  <a:pt x="3" y="9"/>
                </a:lnTo>
                <a:lnTo>
                  <a:pt x="9" y="6"/>
                </a:lnTo>
                <a:lnTo>
                  <a:pt x="13" y="6"/>
                </a:lnTo>
                <a:lnTo>
                  <a:pt x="16" y="3"/>
                </a:lnTo>
                <a:lnTo>
                  <a:pt x="25" y="3"/>
                </a:lnTo>
                <a:lnTo>
                  <a:pt x="28" y="3"/>
                </a:lnTo>
                <a:lnTo>
                  <a:pt x="31" y="0"/>
                </a:lnTo>
                <a:lnTo>
                  <a:pt x="34"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9" name="Freeform 57">
            <a:extLst>
              <a:ext uri="{FF2B5EF4-FFF2-40B4-BE49-F238E27FC236}">
                <a16:creationId xmlns:a16="http://schemas.microsoft.com/office/drawing/2014/main" id="{D0EE23B8-A6EA-FA9A-56A4-34888B259B72}"/>
              </a:ext>
            </a:extLst>
          </p:cNvPr>
          <p:cNvSpPr>
            <a:spLocks/>
          </p:cNvSpPr>
          <p:nvPr userDrawn="1"/>
        </p:nvSpPr>
        <p:spPr bwMode="auto">
          <a:xfrm>
            <a:off x="14280220" y="6527080"/>
            <a:ext cx="120642" cy="228600"/>
          </a:xfrm>
          <a:custGeom>
            <a:avLst/>
            <a:gdLst>
              <a:gd name="T0" fmla="*/ 28 w 38"/>
              <a:gd name="T1" fmla="*/ 18 h 72"/>
              <a:gd name="T2" fmla="*/ 25 w 38"/>
              <a:gd name="T3" fmla="*/ 28 h 72"/>
              <a:gd name="T4" fmla="*/ 28 w 38"/>
              <a:gd name="T5" fmla="*/ 34 h 72"/>
              <a:gd name="T6" fmla="*/ 31 w 38"/>
              <a:gd name="T7" fmla="*/ 40 h 72"/>
              <a:gd name="T8" fmla="*/ 34 w 38"/>
              <a:gd name="T9" fmla="*/ 43 h 72"/>
              <a:gd name="T10" fmla="*/ 38 w 38"/>
              <a:gd name="T11" fmla="*/ 47 h 72"/>
              <a:gd name="T12" fmla="*/ 38 w 38"/>
              <a:gd name="T13" fmla="*/ 53 h 72"/>
              <a:gd name="T14" fmla="*/ 34 w 38"/>
              <a:gd name="T15" fmla="*/ 59 h 72"/>
              <a:gd name="T16" fmla="*/ 25 w 38"/>
              <a:gd name="T17" fmla="*/ 59 h 72"/>
              <a:gd name="T18" fmla="*/ 25 w 38"/>
              <a:gd name="T19" fmla="*/ 65 h 72"/>
              <a:gd name="T20" fmla="*/ 22 w 38"/>
              <a:gd name="T21" fmla="*/ 72 h 72"/>
              <a:gd name="T22" fmla="*/ 19 w 38"/>
              <a:gd name="T23" fmla="*/ 72 h 72"/>
              <a:gd name="T24" fmla="*/ 16 w 38"/>
              <a:gd name="T25" fmla="*/ 68 h 72"/>
              <a:gd name="T26" fmla="*/ 13 w 38"/>
              <a:gd name="T27" fmla="*/ 59 h 72"/>
              <a:gd name="T28" fmla="*/ 6 w 38"/>
              <a:gd name="T29" fmla="*/ 59 h 72"/>
              <a:gd name="T30" fmla="*/ 3 w 38"/>
              <a:gd name="T31" fmla="*/ 56 h 72"/>
              <a:gd name="T32" fmla="*/ 6 w 38"/>
              <a:gd name="T33" fmla="*/ 53 h 72"/>
              <a:gd name="T34" fmla="*/ 3 w 38"/>
              <a:gd name="T35" fmla="*/ 50 h 72"/>
              <a:gd name="T36" fmla="*/ 3 w 38"/>
              <a:gd name="T37" fmla="*/ 43 h 72"/>
              <a:gd name="T38" fmla="*/ 6 w 38"/>
              <a:gd name="T39" fmla="*/ 40 h 72"/>
              <a:gd name="T40" fmla="*/ 3 w 38"/>
              <a:gd name="T41" fmla="*/ 34 h 72"/>
              <a:gd name="T42" fmla="*/ 3 w 38"/>
              <a:gd name="T43" fmla="*/ 25 h 72"/>
              <a:gd name="T44" fmla="*/ 6 w 38"/>
              <a:gd name="T45" fmla="*/ 25 h 72"/>
              <a:gd name="T46" fmla="*/ 6 w 38"/>
              <a:gd name="T47" fmla="*/ 22 h 72"/>
              <a:gd name="T48" fmla="*/ 0 w 38"/>
              <a:gd name="T49" fmla="*/ 18 h 72"/>
              <a:gd name="T50" fmla="*/ 0 w 38"/>
              <a:gd name="T51" fmla="*/ 12 h 72"/>
              <a:gd name="T52" fmla="*/ 3 w 38"/>
              <a:gd name="T53" fmla="*/ 6 h 72"/>
              <a:gd name="T54" fmla="*/ 9 w 38"/>
              <a:gd name="T55" fmla="*/ 0 h 72"/>
              <a:gd name="T56" fmla="*/ 9 w 38"/>
              <a:gd name="T57" fmla="*/ 3 h 72"/>
              <a:gd name="T58" fmla="*/ 13 w 38"/>
              <a:gd name="T59" fmla="*/ 6 h 72"/>
              <a:gd name="T60" fmla="*/ 16 w 38"/>
              <a:gd name="T61" fmla="*/ 0 h 72"/>
              <a:gd name="T62" fmla="*/ 16 w 38"/>
              <a:gd name="T63" fmla="*/ 0 h 72"/>
              <a:gd name="T64" fmla="*/ 16 w 38"/>
              <a:gd name="T65" fmla="*/ 3 h 72"/>
              <a:gd name="T66" fmla="*/ 19 w 38"/>
              <a:gd name="T67" fmla="*/ 6 h 72"/>
              <a:gd name="T68" fmla="*/ 22 w 38"/>
              <a:gd name="T69" fmla="*/ 6 h 72"/>
              <a:gd name="T70" fmla="*/ 25 w 38"/>
              <a:gd name="T71" fmla="*/ 9 h 72"/>
              <a:gd name="T72" fmla="*/ 25 w 38"/>
              <a:gd name="T73" fmla="*/ 12 h 72"/>
              <a:gd name="T74" fmla="*/ 25 w 38"/>
              <a:gd name="T75" fmla="*/ 18 h 72"/>
              <a:gd name="T76" fmla="*/ 28 w 38"/>
              <a:gd name="T77" fmla="*/ 1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 h="72">
                <a:moveTo>
                  <a:pt x="28" y="18"/>
                </a:moveTo>
                <a:lnTo>
                  <a:pt x="25" y="28"/>
                </a:lnTo>
                <a:lnTo>
                  <a:pt x="28" y="34"/>
                </a:lnTo>
                <a:lnTo>
                  <a:pt x="31" y="40"/>
                </a:lnTo>
                <a:lnTo>
                  <a:pt x="34" y="43"/>
                </a:lnTo>
                <a:lnTo>
                  <a:pt x="38" y="47"/>
                </a:lnTo>
                <a:lnTo>
                  <a:pt x="38" y="53"/>
                </a:lnTo>
                <a:lnTo>
                  <a:pt x="34" y="59"/>
                </a:lnTo>
                <a:lnTo>
                  <a:pt x="25" y="59"/>
                </a:lnTo>
                <a:lnTo>
                  <a:pt x="25" y="65"/>
                </a:lnTo>
                <a:lnTo>
                  <a:pt x="22" y="72"/>
                </a:lnTo>
                <a:lnTo>
                  <a:pt x="19" y="72"/>
                </a:lnTo>
                <a:lnTo>
                  <a:pt x="16" y="68"/>
                </a:lnTo>
                <a:lnTo>
                  <a:pt x="13" y="59"/>
                </a:lnTo>
                <a:lnTo>
                  <a:pt x="6" y="59"/>
                </a:lnTo>
                <a:lnTo>
                  <a:pt x="3" y="56"/>
                </a:lnTo>
                <a:lnTo>
                  <a:pt x="6" y="53"/>
                </a:lnTo>
                <a:lnTo>
                  <a:pt x="3" y="50"/>
                </a:lnTo>
                <a:lnTo>
                  <a:pt x="3" y="43"/>
                </a:lnTo>
                <a:lnTo>
                  <a:pt x="6" y="40"/>
                </a:lnTo>
                <a:lnTo>
                  <a:pt x="3" y="34"/>
                </a:lnTo>
                <a:lnTo>
                  <a:pt x="3" y="25"/>
                </a:lnTo>
                <a:lnTo>
                  <a:pt x="6" y="25"/>
                </a:lnTo>
                <a:lnTo>
                  <a:pt x="6" y="22"/>
                </a:lnTo>
                <a:lnTo>
                  <a:pt x="0" y="18"/>
                </a:lnTo>
                <a:lnTo>
                  <a:pt x="0" y="12"/>
                </a:lnTo>
                <a:lnTo>
                  <a:pt x="3" y="6"/>
                </a:lnTo>
                <a:lnTo>
                  <a:pt x="9" y="0"/>
                </a:lnTo>
                <a:lnTo>
                  <a:pt x="9" y="3"/>
                </a:lnTo>
                <a:lnTo>
                  <a:pt x="13" y="6"/>
                </a:lnTo>
                <a:lnTo>
                  <a:pt x="16" y="0"/>
                </a:lnTo>
                <a:lnTo>
                  <a:pt x="16" y="0"/>
                </a:lnTo>
                <a:lnTo>
                  <a:pt x="16" y="3"/>
                </a:lnTo>
                <a:lnTo>
                  <a:pt x="19" y="6"/>
                </a:lnTo>
                <a:lnTo>
                  <a:pt x="22" y="6"/>
                </a:lnTo>
                <a:lnTo>
                  <a:pt x="25" y="9"/>
                </a:lnTo>
                <a:lnTo>
                  <a:pt x="25" y="12"/>
                </a:lnTo>
                <a:lnTo>
                  <a:pt x="25" y="18"/>
                </a:lnTo>
                <a:lnTo>
                  <a:pt x="28" y="18"/>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0" name="Freeform 58">
            <a:extLst>
              <a:ext uri="{FF2B5EF4-FFF2-40B4-BE49-F238E27FC236}">
                <a16:creationId xmlns:a16="http://schemas.microsoft.com/office/drawing/2014/main" id="{8051A9B8-277E-1527-9635-3324B81C21D7}"/>
              </a:ext>
            </a:extLst>
          </p:cNvPr>
          <p:cNvSpPr>
            <a:spLocks/>
          </p:cNvSpPr>
          <p:nvPr userDrawn="1"/>
        </p:nvSpPr>
        <p:spPr bwMode="auto">
          <a:xfrm>
            <a:off x="14242119" y="6257209"/>
            <a:ext cx="257159" cy="339726"/>
          </a:xfrm>
          <a:custGeom>
            <a:avLst/>
            <a:gdLst>
              <a:gd name="T0" fmla="*/ 3 w 81"/>
              <a:gd name="T1" fmla="*/ 6 h 107"/>
              <a:gd name="T2" fmla="*/ 9 w 81"/>
              <a:gd name="T3" fmla="*/ 6 h 107"/>
              <a:gd name="T4" fmla="*/ 15 w 81"/>
              <a:gd name="T5" fmla="*/ 0 h 107"/>
              <a:gd name="T6" fmla="*/ 25 w 81"/>
              <a:gd name="T7" fmla="*/ 0 h 107"/>
              <a:gd name="T8" fmla="*/ 31 w 81"/>
              <a:gd name="T9" fmla="*/ 6 h 107"/>
              <a:gd name="T10" fmla="*/ 37 w 81"/>
              <a:gd name="T11" fmla="*/ 16 h 107"/>
              <a:gd name="T12" fmla="*/ 50 w 81"/>
              <a:gd name="T13" fmla="*/ 25 h 107"/>
              <a:gd name="T14" fmla="*/ 46 w 81"/>
              <a:gd name="T15" fmla="*/ 31 h 107"/>
              <a:gd name="T16" fmla="*/ 56 w 81"/>
              <a:gd name="T17" fmla="*/ 35 h 107"/>
              <a:gd name="T18" fmla="*/ 62 w 81"/>
              <a:gd name="T19" fmla="*/ 38 h 107"/>
              <a:gd name="T20" fmla="*/ 71 w 81"/>
              <a:gd name="T21" fmla="*/ 35 h 107"/>
              <a:gd name="T22" fmla="*/ 71 w 81"/>
              <a:gd name="T23" fmla="*/ 41 h 107"/>
              <a:gd name="T24" fmla="*/ 68 w 81"/>
              <a:gd name="T25" fmla="*/ 53 h 107"/>
              <a:gd name="T26" fmla="*/ 78 w 81"/>
              <a:gd name="T27" fmla="*/ 66 h 107"/>
              <a:gd name="T28" fmla="*/ 78 w 81"/>
              <a:gd name="T29" fmla="*/ 75 h 107"/>
              <a:gd name="T30" fmla="*/ 71 w 81"/>
              <a:gd name="T31" fmla="*/ 85 h 107"/>
              <a:gd name="T32" fmla="*/ 71 w 81"/>
              <a:gd name="T33" fmla="*/ 91 h 107"/>
              <a:gd name="T34" fmla="*/ 65 w 81"/>
              <a:gd name="T35" fmla="*/ 94 h 107"/>
              <a:gd name="T36" fmla="*/ 53 w 81"/>
              <a:gd name="T37" fmla="*/ 94 h 107"/>
              <a:gd name="T38" fmla="*/ 46 w 81"/>
              <a:gd name="T39" fmla="*/ 97 h 107"/>
              <a:gd name="T40" fmla="*/ 40 w 81"/>
              <a:gd name="T41" fmla="*/ 103 h 107"/>
              <a:gd name="T42" fmla="*/ 37 w 81"/>
              <a:gd name="T43" fmla="*/ 103 h 107"/>
              <a:gd name="T44" fmla="*/ 37 w 81"/>
              <a:gd name="T45" fmla="*/ 94 h 107"/>
              <a:gd name="T46" fmla="*/ 31 w 81"/>
              <a:gd name="T47" fmla="*/ 91 h 107"/>
              <a:gd name="T48" fmla="*/ 28 w 81"/>
              <a:gd name="T49" fmla="*/ 85 h 107"/>
              <a:gd name="T50" fmla="*/ 31 w 81"/>
              <a:gd name="T51" fmla="*/ 82 h 107"/>
              <a:gd name="T52" fmla="*/ 25 w 81"/>
              <a:gd name="T53" fmla="*/ 75 h 107"/>
              <a:gd name="T54" fmla="*/ 18 w 81"/>
              <a:gd name="T55" fmla="*/ 72 h 107"/>
              <a:gd name="T56" fmla="*/ 15 w 81"/>
              <a:gd name="T57" fmla="*/ 69 h 107"/>
              <a:gd name="T58" fmla="*/ 12 w 81"/>
              <a:gd name="T59" fmla="*/ 63 h 107"/>
              <a:gd name="T60" fmla="*/ 9 w 81"/>
              <a:gd name="T61" fmla="*/ 53 h 107"/>
              <a:gd name="T62" fmla="*/ 15 w 81"/>
              <a:gd name="T63" fmla="*/ 53 h 107"/>
              <a:gd name="T64" fmla="*/ 12 w 81"/>
              <a:gd name="T65" fmla="*/ 50 h 107"/>
              <a:gd name="T66" fmla="*/ 6 w 81"/>
              <a:gd name="T67" fmla="*/ 44 h 107"/>
              <a:gd name="T68" fmla="*/ 9 w 81"/>
              <a:gd name="T69" fmla="*/ 35 h 107"/>
              <a:gd name="T70" fmla="*/ 6 w 81"/>
              <a:gd name="T71" fmla="*/ 31 h 107"/>
              <a:gd name="T72" fmla="*/ 3 w 81"/>
              <a:gd name="T73" fmla="*/ 31 h 107"/>
              <a:gd name="T74" fmla="*/ 9 w 81"/>
              <a:gd name="T75" fmla="*/ 25 h 107"/>
              <a:gd name="T76" fmla="*/ 9 w 81"/>
              <a:gd name="T77" fmla="*/ 25 h 107"/>
              <a:gd name="T78" fmla="*/ 3 w 81"/>
              <a:gd name="T79" fmla="*/ 22 h 107"/>
              <a:gd name="T80" fmla="*/ 0 w 81"/>
              <a:gd name="T81" fmla="*/ 1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07">
                <a:moveTo>
                  <a:pt x="0" y="10"/>
                </a:moveTo>
                <a:lnTo>
                  <a:pt x="3" y="6"/>
                </a:lnTo>
                <a:lnTo>
                  <a:pt x="6" y="6"/>
                </a:lnTo>
                <a:lnTo>
                  <a:pt x="9" y="6"/>
                </a:lnTo>
                <a:lnTo>
                  <a:pt x="12" y="3"/>
                </a:lnTo>
                <a:lnTo>
                  <a:pt x="15" y="0"/>
                </a:lnTo>
                <a:lnTo>
                  <a:pt x="18" y="0"/>
                </a:lnTo>
                <a:lnTo>
                  <a:pt x="25" y="0"/>
                </a:lnTo>
                <a:lnTo>
                  <a:pt x="31" y="3"/>
                </a:lnTo>
                <a:lnTo>
                  <a:pt x="31" y="6"/>
                </a:lnTo>
                <a:lnTo>
                  <a:pt x="37" y="13"/>
                </a:lnTo>
                <a:lnTo>
                  <a:pt x="37" y="16"/>
                </a:lnTo>
                <a:lnTo>
                  <a:pt x="43" y="19"/>
                </a:lnTo>
                <a:lnTo>
                  <a:pt x="50" y="25"/>
                </a:lnTo>
                <a:lnTo>
                  <a:pt x="46" y="28"/>
                </a:lnTo>
                <a:lnTo>
                  <a:pt x="46" y="31"/>
                </a:lnTo>
                <a:lnTo>
                  <a:pt x="53" y="31"/>
                </a:lnTo>
                <a:lnTo>
                  <a:pt x="56" y="35"/>
                </a:lnTo>
                <a:lnTo>
                  <a:pt x="59" y="35"/>
                </a:lnTo>
                <a:lnTo>
                  <a:pt x="62" y="38"/>
                </a:lnTo>
                <a:lnTo>
                  <a:pt x="65" y="31"/>
                </a:lnTo>
                <a:lnTo>
                  <a:pt x="71" y="35"/>
                </a:lnTo>
                <a:lnTo>
                  <a:pt x="68" y="38"/>
                </a:lnTo>
                <a:lnTo>
                  <a:pt x="71" y="41"/>
                </a:lnTo>
                <a:lnTo>
                  <a:pt x="71" y="50"/>
                </a:lnTo>
                <a:lnTo>
                  <a:pt x="68" y="53"/>
                </a:lnTo>
                <a:lnTo>
                  <a:pt x="71" y="60"/>
                </a:lnTo>
                <a:lnTo>
                  <a:pt x="78" y="66"/>
                </a:lnTo>
                <a:lnTo>
                  <a:pt x="81" y="72"/>
                </a:lnTo>
                <a:lnTo>
                  <a:pt x="78" y="75"/>
                </a:lnTo>
                <a:lnTo>
                  <a:pt x="71" y="82"/>
                </a:lnTo>
                <a:lnTo>
                  <a:pt x="71" y="85"/>
                </a:lnTo>
                <a:lnTo>
                  <a:pt x="75" y="88"/>
                </a:lnTo>
                <a:lnTo>
                  <a:pt x="71" y="91"/>
                </a:lnTo>
                <a:lnTo>
                  <a:pt x="68" y="91"/>
                </a:lnTo>
                <a:lnTo>
                  <a:pt x="65" y="94"/>
                </a:lnTo>
                <a:lnTo>
                  <a:pt x="62" y="94"/>
                </a:lnTo>
                <a:lnTo>
                  <a:pt x="53" y="94"/>
                </a:lnTo>
                <a:lnTo>
                  <a:pt x="50" y="97"/>
                </a:lnTo>
                <a:lnTo>
                  <a:pt x="46" y="97"/>
                </a:lnTo>
                <a:lnTo>
                  <a:pt x="40" y="100"/>
                </a:lnTo>
                <a:lnTo>
                  <a:pt x="40" y="103"/>
                </a:lnTo>
                <a:lnTo>
                  <a:pt x="40" y="107"/>
                </a:lnTo>
                <a:lnTo>
                  <a:pt x="37" y="103"/>
                </a:lnTo>
                <a:lnTo>
                  <a:pt x="37" y="97"/>
                </a:lnTo>
                <a:lnTo>
                  <a:pt x="37" y="94"/>
                </a:lnTo>
                <a:lnTo>
                  <a:pt x="34" y="91"/>
                </a:lnTo>
                <a:lnTo>
                  <a:pt x="31" y="91"/>
                </a:lnTo>
                <a:lnTo>
                  <a:pt x="28" y="88"/>
                </a:lnTo>
                <a:lnTo>
                  <a:pt x="28" y="85"/>
                </a:lnTo>
                <a:lnTo>
                  <a:pt x="28" y="85"/>
                </a:lnTo>
                <a:lnTo>
                  <a:pt x="31" y="82"/>
                </a:lnTo>
                <a:lnTo>
                  <a:pt x="31" y="75"/>
                </a:lnTo>
                <a:lnTo>
                  <a:pt x="25" y="75"/>
                </a:lnTo>
                <a:lnTo>
                  <a:pt x="21" y="72"/>
                </a:lnTo>
                <a:lnTo>
                  <a:pt x="18" y="72"/>
                </a:lnTo>
                <a:lnTo>
                  <a:pt x="15" y="72"/>
                </a:lnTo>
                <a:lnTo>
                  <a:pt x="15" y="69"/>
                </a:lnTo>
                <a:lnTo>
                  <a:pt x="12" y="63"/>
                </a:lnTo>
                <a:lnTo>
                  <a:pt x="12" y="63"/>
                </a:lnTo>
                <a:lnTo>
                  <a:pt x="9" y="56"/>
                </a:lnTo>
                <a:lnTo>
                  <a:pt x="9" y="53"/>
                </a:lnTo>
                <a:lnTo>
                  <a:pt x="12" y="50"/>
                </a:lnTo>
                <a:lnTo>
                  <a:pt x="15" y="53"/>
                </a:lnTo>
                <a:lnTo>
                  <a:pt x="15" y="50"/>
                </a:lnTo>
                <a:lnTo>
                  <a:pt x="12" y="50"/>
                </a:lnTo>
                <a:lnTo>
                  <a:pt x="12" y="47"/>
                </a:lnTo>
                <a:lnTo>
                  <a:pt x="6" y="44"/>
                </a:lnTo>
                <a:lnTo>
                  <a:pt x="6" y="41"/>
                </a:lnTo>
                <a:lnTo>
                  <a:pt x="9" y="35"/>
                </a:lnTo>
                <a:lnTo>
                  <a:pt x="9" y="31"/>
                </a:lnTo>
                <a:lnTo>
                  <a:pt x="6" y="31"/>
                </a:lnTo>
                <a:lnTo>
                  <a:pt x="6" y="31"/>
                </a:lnTo>
                <a:lnTo>
                  <a:pt x="3" y="31"/>
                </a:lnTo>
                <a:lnTo>
                  <a:pt x="3" y="28"/>
                </a:lnTo>
                <a:lnTo>
                  <a:pt x="9" y="25"/>
                </a:lnTo>
                <a:lnTo>
                  <a:pt x="9" y="25"/>
                </a:lnTo>
                <a:lnTo>
                  <a:pt x="9" y="25"/>
                </a:lnTo>
                <a:lnTo>
                  <a:pt x="6" y="22"/>
                </a:lnTo>
                <a:lnTo>
                  <a:pt x="3" y="22"/>
                </a:lnTo>
                <a:lnTo>
                  <a:pt x="3" y="16"/>
                </a:lnTo>
                <a:lnTo>
                  <a:pt x="0" y="10"/>
                </a:lnTo>
                <a:lnTo>
                  <a:pt x="0" y="1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1" name="Freeform 59">
            <a:extLst>
              <a:ext uri="{FF2B5EF4-FFF2-40B4-BE49-F238E27FC236}">
                <a16:creationId xmlns:a16="http://schemas.microsoft.com/office/drawing/2014/main" id="{A8F52D4C-83F9-5B28-34EE-4D7D1A25460C}"/>
              </a:ext>
            </a:extLst>
          </p:cNvPr>
          <p:cNvSpPr>
            <a:spLocks/>
          </p:cNvSpPr>
          <p:nvPr userDrawn="1"/>
        </p:nvSpPr>
        <p:spPr bwMode="auto">
          <a:xfrm>
            <a:off x="14229421" y="6447711"/>
            <a:ext cx="111119" cy="136526"/>
          </a:xfrm>
          <a:custGeom>
            <a:avLst/>
            <a:gdLst>
              <a:gd name="T0" fmla="*/ 16 w 35"/>
              <a:gd name="T1" fmla="*/ 43 h 43"/>
              <a:gd name="T2" fmla="*/ 16 w 35"/>
              <a:gd name="T3" fmla="*/ 37 h 43"/>
              <a:gd name="T4" fmla="*/ 19 w 35"/>
              <a:gd name="T5" fmla="*/ 31 h 43"/>
              <a:gd name="T6" fmla="*/ 25 w 35"/>
              <a:gd name="T7" fmla="*/ 25 h 43"/>
              <a:gd name="T8" fmla="*/ 25 w 35"/>
              <a:gd name="T9" fmla="*/ 28 h 43"/>
              <a:gd name="T10" fmla="*/ 29 w 35"/>
              <a:gd name="T11" fmla="*/ 31 h 43"/>
              <a:gd name="T12" fmla="*/ 32 w 35"/>
              <a:gd name="T13" fmla="*/ 25 h 43"/>
              <a:gd name="T14" fmla="*/ 32 w 35"/>
              <a:gd name="T15" fmla="*/ 25 h 43"/>
              <a:gd name="T16" fmla="*/ 35 w 35"/>
              <a:gd name="T17" fmla="*/ 22 h 43"/>
              <a:gd name="T18" fmla="*/ 35 w 35"/>
              <a:gd name="T19" fmla="*/ 15 h 43"/>
              <a:gd name="T20" fmla="*/ 29 w 35"/>
              <a:gd name="T21" fmla="*/ 15 h 43"/>
              <a:gd name="T22" fmla="*/ 25 w 35"/>
              <a:gd name="T23" fmla="*/ 12 h 43"/>
              <a:gd name="T24" fmla="*/ 22 w 35"/>
              <a:gd name="T25" fmla="*/ 12 h 43"/>
              <a:gd name="T26" fmla="*/ 19 w 35"/>
              <a:gd name="T27" fmla="*/ 12 h 43"/>
              <a:gd name="T28" fmla="*/ 19 w 35"/>
              <a:gd name="T29" fmla="*/ 9 h 43"/>
              <a:gd name="T30" fmla="*/ 16 w 35"/>
              <a:gd name="T31" fmla="*/ 3 h 43"/>
              <a:gd name="T32" fmla="*/ 16 w 35"/>
              <a:gd name="T33" fmla="*/ 3 h 43"/>
              <a:gd name="T34" fmla="*/ 13 w 35"/>
              <a:gd name="T35" fmla="*/ 3 h 43"/>
              <a:gd name="T36" fmla="*/ 10 w 35"/>
              <a:gd name="T37" fmla="*/ 0 h 43"/>
              <a:gd name="T38" fmla="*/ 7 w 35"/>
              <a:gd name="T39" fmla="*/ 3 h 43"/>
              <a:gd name="T40" fmla="*/ 7 w 35"/>
              <a:gd name="T41" fmla="*/ 6 h 43"/>
              <a:gd name="T42" fmla="*/ 10 w 35"/>
              <a:gd name="T43" fmla="*/ 6 h 43"/>
              <a:gd name="T44" fmla="*/ 10 w 35"/>
              <a:gd name="T45" fmla="*/ 9 h 43"/>
              <a:gd name="T46" fmla="*/ 7 w 35"/>
              <a:gd name="T47" fmla="*/ 12 h 43"/>
              <a:gd name="T48" fmla="*/ 7 w 35"/>
              <a:gd name="T49" fmla="*/ 12 h 43"/>
              <a:gd name="T50" fmla="*/ 4 w 35"/>
              <a:gd name="T51" fmla="*/ 15 h 43"/>
              <a:gd name="T52" fmla="*/ 4 w 35"/>
              <a:gd name="T53" fmla="*/ 22 h 43"/>
              <a:gd name="T54" fmla="*/ 0 w 35"/>
              <a:gd name="T55" fmla="*/ 25 h 43"/>
              <a:gd name="T56" fmla="*/ 0 w 35"/>
              <a:gd name="T57" fmla="*/ 25 h 43"/>
              <a:gd name="T58" fmla="*/ 0 w 35"/>
              <a:gd name="T59" fmla="*/ 28 h 43"/>
              <a:gd name="T60" fmla="*/ 4 w 35"/>
              <a:gd name="T61" fmla="*/ 31 h 43"/>
              <a:gd name="T62" fmla="*/ 13 w 35"/>
              <a:gd name="T63" fmla="*/ 40 h 43"/>
              <a:gd name="T64" fmla="*/ 13 w 35"/>
              <a:gd name="T65" fmla="*/ 40 h 43"/>
              <a:gd name="T66" fmla="*/ 16 w 35"/>
              <a:gd name="T6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3">
                <a:moveTo>
                  <a:pt x="16" y="43"/>
                </a:moveTo>
                <a:lnTo>
                  <a:pt x="16" y="37"/>
                </a:lnTo>
                <a:lnTo>
                  <a:pt x="19" y="31"/>
                </a:lnTo>
                <a:lnTo>
                  <a:pt x="25" y="25"/>
                </a:lnTo>
                <a:lnTo>
                  <a:pt x="25" y="28"/>
                </a:lnTo>
                <a:lnTo>
                  <a:pt x="29" y="31"/>
                </a:lnTo>
                <a:lnTo>
                  <a:pt x="32" y="25"/>
                </a:lnTo>
                <a:lnTo>
                  <a:pt x="32" y="25"/>
                </a:lnTo>
                <a:lnTo>
                  <a:pt x="35" y="22"/>
                </a:lnTo>
                <a:lnTo>
                  <a:pt x="35" y="15"/>
                </a:lnTo>
                <a:lnTo>
                  <a:pt x="29" y="15"/>
                </a:lnTo>
                <a:lnTo>
                  <a:pt x="25" y="12"/>
                </a:lnTo>
                <a:lnTo>
                  <a:pt x="22" y="12"/>
                </a:lnTo>
                <a:lnTo>
                  <a:pt x="19" y="12"/>
                </a:lnTo>
                <a:lnTo>
                  <a:pt x="19" y="9"/>
                </a:lnTo>
                <a:lnTo>
                  <a:pt x="16" y="3"/>
                </a:lnTo>
                <a:lnTo>
                  <a:pt x="16" y="3"/>
                </a:lnTo>
                <a:lnTo>
                  <a:pt x="13" y="3"/>
                </a:lnTo>
                <a:lnTo>
                  <a:pt x="10" y="0"/>
                </a:lnTo>
                <a:lnTo>
                  <a:pt x="7" y="3"/>
                </a:lnTo>
                <a:lnTo>
                  <a:pt x="7" y="6"/>
                </a:lnTo>
                <a:lnTo>
                  <a:pt x="10" y="6"/>
                </a:lnTo>
                <a:lnTo>
                  <a:pt x="10" y="9"/>
                </a:lnTo>
                <a:lnTo>
                  <a:pt x="7" y="12"/>
                </a:lnTo>
                <a:lnTo>
                  <a:pt x="7" y="12"/>
                </a:lnTo>
                <a:lnTo>
                  <a:pt x="4" y="15"/>
                </a:lnTo>
                <a:lnTo>
                  <a:pt x="4" y="22"/>
                </a:lnTo>
                <a:lnTo>
                  <a:pt x="0" y="25"/>
                </a:lnTo>
                <a:lnTo>
                  <a:pt x="0" y="25"/>
                </a:lnTo>
                <a:lnTo>
                  <a:pt x="0" y="28"/>
                </a:lnTo>
                <a:lnTo>
                  <a:pt x="4" y="31"/>
                </a:lnTo>
                <a:lnTo>
                  <a:pt x="13" y="40"/>
                </a:lnTo>
                <a:lnTo>
                  <a:pt x="13" y="40"/>
                </a:lnTo>
                <a:lnTo>
                  <a:pt x="16" y="43"/>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2" name="Freeform 60">
            <a:extLst>
              <a:ext uri="{FF2B5EF4-FFF2-40B4-BE49-F238E27FC236}">
                <a16:creationId xmlns:a16="http://schemas.microsoft.com/office/drawing/2014/main" id="{6DEBDA55-8335-A6F8-E0E1-8BB6B3830C20}"/>
              </a:ext>
            </a:extLst>
          </p:cNvPr>
          <p:cNvSpPr>
            <a:spLocks noEditPoints="1"/>
          </p:cNvSpPr>
          <p:nvPr userDrawn="1"/>
        </p:nvSpPr>
        <p:spPr bwMode="auto">
          <a:xfrm>
            <a:off x="13934166" y="6247680"/>
            <a:ext cx="336528" cy="257176"/>
          </a:xfrm>
          <a:custGeom>
            <a:avLst/>
            <a:gdLst>
              <a:gd name="T0" fmla="*/ 34 w 34"/>
              <a:gd name="T1" fmla="*/ 9 h 26"/>
              <a:gd name="T2" fmla="*/ 33 w 34"/>
              <a:gd name="T3" fmla="*/ 8 h 26"/>
              <a:gd name="T4" fmla="*/ 31 w 34"/>
              <a:gd name="T5" fmla="*/ 4 h 26"/>
              <a:gd name="T6" fmla="*/ 27 w 34"/>
              <a:gd name="T7" fmla="*/ 4 h 26"/>
              <a:gd name="T8" fmla="*/ 21 w 34"/>
              <a:gd name="T9" fmla="*/ 2 h 26"/>
              <a:gd name="T10" fmla="*/ 18 w 34"/>
              <a:gd name="T11" fmla="*/ 0 h 26"/>
              <a:gd name="T12" fmla="*/ 11 w 34"/>
              <a:gd name="T13" fmla="*/ 4 h 26"/>
              <a:gd name="T14" fmla="*/ 7 w 34"/>
              <a:gd name="T15" fmla="*/ 7 h 26"/>
              <a:gd name="T16" fmla="*/ 2 w 34"/>
              <a:gd name="T17" fmla="*/ 7 h 26"/>
              <a:gd name="T18" fmla="*/ 0 w 34"/>
              <a:gd name="T19" fmla="*/ 10 h 26"/>
              <a:gd name="T20" fmla="*/ 2 w 34"/>
              <a:gd name="T21" fmla="*/ 12 h 26"/>
              <a:gd name="T22" fmla="*/ 5 w 34"/>
              <a:gd name="T23" fmla="*/ 8 h 26"/>
              <a:gd name="T24" fmla="*/ 8 w 34"/>
              <a:gd name="T25" fmla="*/ 10 h 26"/>
              <a:gd name="T26" fmla="*/ 11 w 34"/>
              <a:gd name="T27" fmla="*/ 15 h 26"/>
              <a:gd name="T28" fmla="*/ 12 w 34"/>
              <a:gd name="T29" fmla="*/ 16 h 26"/>
              <a:gd name="T30" fmla="*/ 11 w 34"/>
              <a:gd name="T31" fmla="*/ 18 h 26"/>
              <a:gd name="T32" fmla="*/ 15 w 34"/>
              <a:gd name="T33" fmla="*/ 20 h 26"/>
              <a:gd name="T34" fmla="*/ 17 w 34"/>
              <a:gd name="T35" fmla="*/ 22 h 26"/>
              <a:gd name="T36" fmla="*/ 25 w 34"/>
              <a:gd name="T37" fmla="*/ 26 h 26"/>
              <a:gd name="T38" fmla="*/ 23 w 34"/>
              <a:gd name="T39" fmla="*/ 26 h 26"/>
              <a:gd name="T40" fmla="*/ 25 w 34"/>
              <a:gd name="T41" fmla="*/ 25 h 26"/>
              <a:gd name="T42" fmla="*/ 15 w 34"/>
              <a:gd name="T43" fmla="*/ 15 h 26"/>
              <a:gd name="T44" fmla="*/ 15 w 34"/>
              <a:gd name="T45" fmla="*/ 13 h 26"/>
              <a:gd name="T46" fmla="*/ 13 w 34"/>
              <a:gd name="T47" fmla="*/ 10 h 26"/>
              <a:gd name="T48" fmla="*/ 14 w 34"/>
              <a:gd name="T49" fmla="*/ 8 h 26"/>
              <a:gd name="T50" fmla="*/ 16 w 34"/>
              <a:gd name="T51" fmla="*/ 10 h 26"/>
              <a:gd name="T52" fmla="*/ 18 w 34"/>
              <a:gd name="T53" fmla="*/ 9 h 26"/>
              <a:gd name="T54" fmla="*/ 21 w 34"/>
              <a:gd name="T55" fmla="*/ 8 h 26"/>
              <a:gd name="T56" fmla="*/ 23 w 34"/>
              <a:gd name="T57" fmla="*/ 9 h 26"/>
              <a:gd name="T58" fmla="*/ 26 w 34"/>
              <a:gd name="T59" fmla="*/ 9 h 26"/>
              <a:gd name="T60" fmla="*/ 29 w 34"/>
              <a:gd name="T61" fmla="*/ 9 h 26"/>
              <a:gd name="T62" fmla="*/ 32 w 34"/>
              <a:gd name="T63" fmla="*/ 11 h 26"/>
              <a:gd name="T64" fmla="*/ 22 w 34"/>
              <a:gd name="T65" fmla="*/ 26 h 26"/>
              <a:gd name="T66" fmla="*/ 18 w 34"/>
              <a:gd name="T67" fmla="*/ 24 h 26"/>
              <a:gd name="T68" fmla="*/ 18 w 34"/>
              <a:gd name="T69" fmla="*/ 24 h 26"/>
              <a:gd name="T70" fmla="*/ 21 w 34"/>
              <a:gd name="T71" fmla="*/ 23 h 26"/>
              <a:gd name="T72" fmla="*/ 18 w 34"/>
              <a:gd name="T73" fmla="*/ 23 h 26"/>
              <a:gd name="T74" fmla="*/ 11 w 34"/>
              <a:gd name="T75" fmla="*/ 16 h 26"/>
              <a:gd name="T76" fmla="*/ 8 w 34"/>
              <a:gd name="T77" fmla="*/ 13 h 26"/>
              <a:gd name="T78" fmla="*/ 8 w 34"/>
              <a:gd name="T79" fmla="*/ 13 h 26"/>
              <a:gd name="T80" fmla="*/ 10 w 34"/>
              <a:gd name="T81" fmla="*/ 19 h 26"/>
              <a:gd name="T82" fmla="*/ 8 w 34"/>
              <a:gd name="T83" fmla="*/ 15 h 26"/>
              <a:gd name="T84" fmla="*/ 5 w 34"/>
              <a:gd name="T85" fmla="*/ 11 h 26"/>
              <a:gd name="T86" fmla="*/ 6 w 34"/>
              <a:gd name="T87" fmla="*/ 14 h 26"/>
              <a:gd name="T88" fmla="*/ 5 w 34"/>
              <a:gd name="T89" fmla="*/ 11 h 26"/>
              <a:gd name="T90" fmla="*/ 6 w 34"/>
              <a:gd name="T91" fmla="*/ 12 h 26"/>
              <a:gd name="T92" fmla="*/ 5 w 34"/>
              <a:gd name="T93" fmla="*/ 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 h="26">
                <a:moveTo>
                  <a:pt x="32" y="11"/>
                </a:moveTo>
                <a:cubicBezTo>
                  <a:pt x="32" y="10"/>
                  <a:pt x="32" y="10"/>
                  <a:pt x="32" y="10"/>
                </a:cubicBezTo>
                <a:cubicBezTo>
                  <a:pt x="34" y="9"/>
                  <a:pt x="34" y="9"/>
                  <a:pt x="34" y="9"/>
                </a:cubicBezTo>
                <a:cubicBezTo>
                  <a:pt x="34" y="9"/>
                  <a:pt x="34" y="9"/>
                  <a:pt x="34" y="9"/>
                </a:cubicBezTo>
                <a:cubicBezTo>
                  <a:pt x="34" y="9"/>
                  <a:pt x="34" y="9"/>
                  <a:pt x="34" y="9"/>
                </a:cubicBezTo>
                <a:cubicBezTo>
                  <a:pt x="33" y="8"/>
                  <a:pt x="33" y="8"/>
                  <a:pt x="33" y="8"/>
                </a:cubicBezTo>
                <a:cubicBezTo>
                  <a:pt x="32" y="8"/>
                  <a:pt x="32" y="8"/>
                  <a:pt x="32" y="8"/>
                </a:cubicBezTo>
                <a:cubicBezTo>
                  <a:pt x="32" y="6"/>
                  <a:pt x="32" y="6"/>
                  <a:pt x="32" y="6"/>
                </a:cubicBezTo>
                <a:cubicBezTo>
                  <a:pt x="31" y="4"/>
                  <a:pt x="31" y="4"/>
                  <a:pt x="31" y="4"/>
                </a:cubicBezTo>
                <a:cubicBezTo>
                  <a:pt x="30" y="4"/>
                  <a:pt x="30" y="4"/>
                  <a:pt x="30" y="4"/>
                </a:cubicBezTo>
                <a:cubicBezTo>
                  <a:pt x="29" y="5"/>
                  <a:pt x="29" y="5"/>
                  <a:pt x="29" y="5"/>
                </a:cubicBezTo>
                <a:cubicBezTo>
                  <a:pt x="27" y="4"/>
                  <a:pt x="27" y="4"/>
                  <a:pt x="27" y="4"/>
                </a:cubicBezTo>
                <a:cubicBezTo>
                  <a:pt x="24" y="4"/>
                  <a:pt x="24" y="4"/>
                  <a:pt x="24" y="4"/>
                </a:cubicBezTo>
                <a:cubicBezTo>
                  <a:pt x="23" y="3"/>
                  <a:pt x="23" y="3"/>
                  <a:pt x="23" y="3"/>
                </a:cubicBezTo>
                <a:cubicBezTo>
                  <a:pt x="21" y="2"/>
                  <a:pt x="21" y="2"/>
                  <a:pt x="21" y="2"/>
                </a:cubicBezTo>
                <a:cubicBezTo>
                  <a:pt x="19" y="0"/>
                  <a:pt x="19" y="0"/>
                  <a:pt x="19" y="0"/>
                </a:cubicBezTo>
                <a:cubicBezTo>
                  <a:pt x="18" y="0"/>
                  <a:pt x="18" y="0"/>
                  <a:pt x="18" y="0"/>
                </a:cubicBezTo>
                <a:cubicBezTo>
                  <a:pt x="18" y="0"/>
                  <a:pt x="18" y="0"/>
                  <a:pt x="18" y="0"/>
                </a:cubicBezTo>
                <a:cubicBezTo>
                  <a:pt x="15" y="0"/>
                  <a:pt x="15" y="0"/>
                  <a:pt x="15" y="0"/>
                </a:cubicBezTo>
                <a:cubicBezTo>
                  <a:pt x="11" y="2"/>
                  <a:pt x="11" y="2"/>
                  <a:pt x="11" y="2"/>
                </a:cubicBezTo>
                <a:cubicBezTo>
                  <a:pt x="11" y="4"/>
                  <a:pt x="11" y="4"/>
                  <a:pt x="11" y="4"/>
                </a:cubicBezTo>
                <a:cubicBezTo>
                  <a:pt x="9" y="5"/>
                  <a:pt x="9" y="5"/>
                  <a:pt x="9" y="5"/>
                </a:cubicBezTo>
                <a:cubicBezTo>
                  <a:pt x="9" y="7"/>
                  <a:pt x="9" y="7"/>
                  <a:pt x="9" y="7"/>
                </a:cubicBezTo>
                <a:cubicBezTo>
                  <a:pt x="7" y="7"/>
                  <a:pt x="7" y="7"/>
                  <a:pt x="7" y="7"/>
                </a:cubicBezTo>
                <a:cubicBezTo>
                  <a:pt x="5" y="6"/>
                  <a:pt x="5" y="6"/>
                  <a:pt x="5" y="6"/>
                </a:cubicBezTo>
                <a:cubicBezTo>
                  <a:pt x="4" y="6"/>
                  <a:pt x="4" y="6"/>
                  <a:pt x="4" y="6"/>
                </a:cubicBezTo>
                <a:cubicBezTo>
                  <a:pt x="2" y="7"/>
                  <a:pt x="2" y="7"/>
                  <a:pt x="2" y="7"/>
                </a:cubicBezTo>
                <a:cubicBezTo>
                  <a:pt x="0" y="8"/>
                  <a:pt x="0" y="8"/>
                  <a:pt x="0" y="8"/>
                </a:cubicBezTo>
                <a:cubicBezTo>
                  <a:pt x="0" y="8"/>
                  <a:pt x="0" y="8"/>
                  <a:pt x="0" y="8"/>
                </a:cubicBezTo>
                <a:cubicBezTo>
                  <a:pt x="0" y="10"/>
                  <a:pt x="0" y="10"/>
                  <a:pt x="0" y="10"/>
                </a:cubicBezTo>
                <a:cubicBezTo>
                  <a:pt x="2" y="12"/>
                  <a:pt x="2" y="12"/>
                  <a:pt x="2" y="12"/>
                </a:cubicBezTo>
                <a:cubicBezTo>
                  <a:pt x="2" y="12"/>
                  <a:pt x="2" y="12"/>
                  <a:pt x="2" y="12"/>
                </a:cubicBezTo>
                <a:cubicBezTo>
                  <a:pt x="2" y="12"/>
                  <a:pt x="2" y="12"/>
                  <a:pt x="2" y="12"/>
                </a:cubicBezTo>
                <a:cubicBezTo>
                  <a:pt x="4" y="10"/>
                  <a:pt x="4" y="10"/>
                  <a:pt x="4" y="10"/>
                </a:cubicBezTo>
                <a:cubicBezTo>
                  <a:pt x="4" y="9"/>
                  <a:pt x="4" y="9"/>
                  <a:pt x="4" y="9"/>
                </a:cubicBezTo>
                <a:cubicBezTo>
                  <a:pt x="5" y="8"/>
                  <a:pt x="5" y="8"/>
                  <a:pt x="5" y="8"/>
                </a:cubicBezTo>
                <a:cubicBezTo>
                  <a:pt x="6" y="8"/>
                  <a:pt x="6" y="8"/>
                  <a:pt x="6" y="8"/>
                </a:cubicBezTo>
                <a:cubicBezTo>
                  <a:pt x="7" y="9"/>
                  <a:pt x="7" y="9"/>
                  <a:pt x="7" y="9"/>
                </a:cubicBezTo>
                <a:cubicBezTo>
                  <a:pt x="8" y="10"/>
                  <a:pt x="8" y="10"/>
                  <a:pt x="8" y="10"/>
                </a:cubicBezTo>
                <a:cubicBezTo>
                  <a:pt x="8" y="12"/>
                  <a:pt x="8" y="12"/>
                  <a:pt x="8" y="12"/>
                </a:cubicBezTo>
                <a:cubicBezTo>
                  <a:pt x="9" y="13"/>
                  <a:pt x="9" y="13"/>
                  <a:pt x="9" y="13"/>
                </a:cubicBezTo>
                <a:cubicBezTo>
                  <a:pt x="11" y="15"/>
                  <a:pt x="11" y="15"/>
                  <a:pt x="11" y="15"/>
                </a:cubicBezTo>
                <a:cubicBezTo>
                  <a:pt x="12" y="15"/>
                  <a:pt x="12" y="15"/>
                  <a:pt x="12" y="15"/>
                </a:cubicBezTo>
                <a:cubicBezTo>
                  <a:pt x="13" y="16"/>
                  <a:pt x="13" y="16"/>
                  <a:pt x="13" y="16"/>
                </a:cubicBezTo>
                <a:cubicBezTo>
                  <a:pt x="12" y="16"/>
                  <a:pt x="12" y="16"/>
                  <a:pt x="12" y="16"/>
                </a:cubicBezTo>
                <a:cubicBezTo>
                  <a:pt x="11" y="16"/>
                  <a:pt x="11" y="16"/>
                  <a:pt x="11" y="16"/>
                </a:cubicBezTo>
                <a:cubicBezTo>
                  <a:pt x="10" y="17"/>
                  <a:pt x="10" y="17"/>
                  <a:pt x="10" y="17"/>
                </a:cubicBezTo>
                <a:cubicBezTo>
                  <a:pt x="11" y="18"/>
                  <a:pt x="11" y="18"/>
                  <a:pt x="11" y="18"/>
                </a:cubicBezTo>
                <a:cubicBezTo>
                  <a:pt x="12" y="18"/>
                  <a:pt x="12" y="18"/>
                  <a:pt x="12" y="18"/>
                </a:cubicBezTo>
                <a:cubicBezTo>
                  <a:pt x="14" y="20"/>
                  <a:pt x="14" y="20"/>
                  <a:pt x="14" y="20"/>
                </a:cubicBezTo>
                <a:cubicBezTo>
                  <a:pt x="15" y="20"/>
                  <a:pt x="15" y="20"/>
                  <a:pt x="15" y="20"/>
                </a:cubicBezTo>
                <a:cubicBezTo>
                  <a:pt x="15" y="21"/>
                  <a:pt x="15" y="21"/>
                  <a:pt x="15" y="21"/>
                </a:cubicBezTo>
                <a:cubicBezTo>
                  <a:pt x="16" y="22"/>
                  <a:pt x="16" y="22"/>
                  <a:pt x="16" y="22"/>
                </a:cubicBezTo>
                <a:cubicBezTo>
                  <a:pt x="17" y="22"/>
                  <a:pt x="17" y="22"/>
                  <a:pt x="17" y="22"/>
                </a:cubicBezTo>
                <a:cubicBezTo>
                  <a:pt x="20" y="22"/>
                  <a:pt x="20" y="22"/>
                  <a:pt x="20" y="22"/>
                </a:cubicBezTo>
                <a:cubicBezTo>
                  <a:pt x="22" y="23"/>
                  <a:pt x="22" y="23"/>
                  <a:pt x="22" y="23"/>
                </a:cubicBezTo>
                <a:cubicBezTo>
                  <a:pt x="25" y="26"/>
                  <a:pt x="25" y="26"/>
                  <a:pt x="25" y="26"/>
                </a:cubicBezTo>
                <a:cubicBezTo>
                  <a:pt x="24" y="26"/>
                  <a:pt x="24" y="26"/>
                  <a:pt x="24" y="26"/>
                </a:cubicBezTo>
                <a:cubicBezTo>
                  <a:pt x="22" y="25"/>
                  <a:pt x="22" y="25"/>
                  <a:pt x="22" y="25"/>
                </a:cubicBezTo>
                <a:cubicBezTo>
                  <a:pt x="23" y="26"/>
                  <a:pt x="23" y="26"/>
                  <a:pt x="23" y="26"/>
                </a:cubicBezTo>
                <a:cubicBezTo>
                  <a:pt x="25" y="26"/>
                  <a:pt x="25" y="26"/>
                  <a:pt x="25" y="26"/>
                </a:cubicBezTo>
                <a:cubicBezTo>
                  <a:pt x="25" y="26"/>
                  <a:pt x="25" y="26"/>
                  <a:pt x="25" y="26"/>
                </a:cubicBezTo>
                <a:cubicBezTo>
                  <a:pt x="25" y="25"/>
                  <a:pt x="25" y="25"/>
                  <a:pt x="25" y="25"/>
                </a:cubicBezTo>
                <a:cubicBezTo>
                  <a:pt x="21" y="20"/>
                  <a:pt x="21" y="20"/>
                  <a:pt x="21" y="20"/>
                </a:cubicBezTo>
                <a:cubicBezTo>
                  <a:pt x="16" y="16"/>
                  <a:pt x="16" y="16"/>
                  <a:pt x="16" y="16"/>
                </a:cubicBezTo>
                <a:cubicBezTo>
                  <a:pt x="15" y="15"/>
                  <a:pt x="15" y="15"/>
                  <a:pt x="15" y="15"/>
                </a:cubicBezTo>
                <a:cubicBezTo>
                  <a:pt x="16" y="15"/>
                  <a:pt x="16" y="15"/>
                  <a:pt x="16" y="15"/>
                </a:cubicBezTo>
                <a:cubicBezTo>
                  <a:pt x="15" y="14"/>
                  <a:pt x="15" y="14"/>
                  <a:pt x="15" y="14"/>
                </a:cubicBezTo>
                <a:cubicBezTo>
                  <a:pt x="15" y="13"/>
                  <a:pt x="15" y="13"/>
                  <a:pt x="15" y="13"/>
                </a:cubicBezTo>
                <a:cubicBezTo>
                  <a:pt x="13" y="11"/>
                  <a:pt x="13" y="11"/>
                  <a:pt x="13" y="11"/>
                </a:cubicBezTo>
                <a:cubicBezTo>
                  <a:pt x="13" y="11"/>
                  <a:pt x="13" y="11"/>
                  <a:pt x="13" y="11"/>
                </a:cubicBezTo>
                <a:cubicBezTo>
                  <a:pt x="13" y="10"/>
                  <a:pt x="13" y="10"/>
                  <a:pt x="13" y="10"/>
                </a:cubicBezTo>
                <a:cubicBezTo>
                  <a:pt x="13" y="10"/>
                  <a:pt x="13" y="10"/>
                  <a:pt x="13" y="10"/>
                </a:cubicBezTo>
                <a:cubicBezTo>
                  <a:pt x="13" y="8"/>
                  <a:pt x="13" y="8"/>
                  <a:pt x="13" y="8"/>
                </a:cubicBezTo>
                <a:cubicBezTo>
                  <a:pt x="14" y="8"/>
                  <a:pt x="14" y="8"/>
                  <a:pt x="14" y="8"/>
                </a:cubicBezTo>
                <a:cubicBezTo>
                  <a:pt x="15" y="9"/>
                  <a:pt x="15" y="9"/>
                  <a:pt x="15" y="9"/>
                </a:cubicBezTo>
                <a:cubicBezTo>
                  <a:pt x="16" y="10"/>
                  <a:pt x="16" y="10"/>
                  <a:pt x="16" y="10"/>
                </a:cubicBezTo>
                <a:cubicBezTo>
                  <a:pt x="16" y="10"/>
                  <a:pt x="16" y="10"/>
                  <a:pt x="16" y="10"/>
                </a:cubicBezTo>
                <a:cubicBezTo>
                  <a:pt x="16" y="9"/>
                  <a:pt x="16" y="9"/>
                  <a:pt x="16" y="9"/>
                </a:cubicBezTo>
                <a:cubicBezTo>
                  <a:pt x="18" y="8"/>
                  <a:pt x="18" y="8"/>
                  <a:pt x="18" y="8"/>
                </a:cubicBezTo>
                <a:cubicBezTo>
                  <a:pt x="18" y="9"/>
                  <a:pt x="18" y="9"/>
                  <a:pt x="18" y="9"/>
                </a:cubicBezTo>
                <a:cubicBezTo>
                  <a:pt x="19" y="8"/>
                  <a:pt x="19" y="8"/>
                  <a:pt x="19" y="8"/>
                </a:cubicBezTo>
                <a:cubicBezTo>
                  <a:pt x="20" y="8"/>
                  <a:pt x="20" y="8"/>
                  <a:pt x="20" y="8"/>
                </a:cubicBezTo>
                <a:cubicBezTo>
                  <a:pt x="21" y="8"/>
                  <a:pt x="21" y="8"/>
                  <a:pt x="21" y="8"/>
                </a:cubicBezTo>
                <a:cubicBezTo>
                  <a:pt x="22" y="8"/>
                  <a:pt x="22" y="8"/>
                  <a:pt x="22" y="8"/>
                </a:cubicBezTo>
                <a:cubicBezTo>
                  <a:pt x="22" y="9"/>
                  <a:pt x="22" y="9"/>
                  <a:pt x="22" y="9"/>
                </a:cubicBezTo>
                <a:cubicBezTo>
                  <a:pt x="23" y="9"/>
                  <a:pt x="23" y="9"/>
                  <a:pt x="23" y="9"/>
                </a:cubicBezTo>
                <a:cubicBezTo>
                  <a:pt x="24" y="9"/>
                  <a:pt x="24" y="9"/>
                  <a:pt x="24" y="9"/>
                </a:cubicBezTo>
                <a:cubicBezTo>
                  <a:pt x="25" y="9"/>
                  <a:pt x="25" y="9"/>
                  <a:pt x="25" y="9"/>
                </a:cubicBezTo>
                <a:cubicBezTo>
                  <a:pt x="26" y="9"/>
                  <a:pt x="26" y="9"/>
                  <a:pt x="26" y="9"/>
                </a:cubicBezTo>
                <a:cubicBezTo>
                  <a:pt x="27" y="9"/>
                  <a:pt x="27" y="9"/>
                  <a:pt x="27" y="9"/>
                </a:cubicBezTo>
                <a:cubicBezTo>
                  <a:pt x="28" y="9"/>
                  <a:pt x="28" y="9"/>
                  <a:pt x="28" y="9"/>
                </a:cubicBezTo>
                <a:cubicBezTo>
                  <a:pt x="29" y="9"/>
                  <a:pt x="29" y="9"/>
                  <a:pt x="29" y="9"/>
                </a:cubicBezTo>
                <a:cubicBezTo>
                  <a:pt x="31" y="10"/>
                  <a:pt x="31" y="10"/>
                  <a:pt x="31" y="10"/>
                </a:cubicBezTo>
                <a:cubicBezTo>
                  <a:pt x="32" y="10"/>
                  <a:pt x="32" y="10"/>
                  <a:pt x="32" y="10"/>
                </a:cubicBezTo>
                <a:cubicBezTo>
                  <a:pt x="32" y="11"/>
                  <a:pt x="32" y="11"/>
                  <a:pt x="32" y="11"/>
                </a:cubicBezTo>
                <a:close/>
                <a:moveTo>
                  <a:pt x="19" y="25"/>
                </a:moveTo>
                <a:cubicBezTo>
                  <a:pt x="19" y="25"/>
                  <a:pt x="22" y="25"/>
                  <a:pt x="22" y="25"/>
                </a:cubicBezTo>
                <a:cubicBezTo>
                  <a:pt x="22" y="26"/>
                  <a:pt x="22" y="26"/>
                  <a:pt x="22" y="26"/>
                </a:cubicBezTo>
                <a:cubicBezTo>
                  <a:pt x="20" y="26"/>
                  <a:pt x="20" y="26"/>
                  <a:pt x="20" y="26"/>
                </a:cubicBezTo>
                <a:cubicBezTo>
                  <a:pt x="19" y="25"/>
                  <a:pt x="19" y="25"/>
                  <a:pt x="19" y="25"/>
                </a:cubicBezTo>
                <a:close/>
                <a:moveTo>
                  <a:pt x="18" y="24"/>
                </a:moveTo>
                <a:cubicBezTo>
                  <a:pt x="21" y="24"/>
                  <a:pt x="21" y="24"/>
                  <a:pt x="21" y="24"/>
                </a:cubicBezTo>
                <a:cubicBezTo>
                  <a:pt x="20" y="25"/>
                  <a:pt x="20" y="25"/>
                  <a:pt x="20" y="25"/>
                </a:cubicBezTo>
                <a:cubicBezTo>
                  <a:pt x="18" y="24"/>
                  <a:pt x="18" y="24"/>
                  <a:pt x="18" y="24"/>
                </a:cubicBezTo>
                <a:close/>
                <a:moveTo>
                  <a:pt x="18" y="23"/>
                </a:moveTo>
                <a:cubicBezTo>
                  <a:pt x="20" y="23"/>
                  <a:pt x="20" y="23"/>
                  <a:pt x="20" y="23"/>
                </a:cubicBezTo>
                <a:cubicBezTo>
                  <a:pt x="21" y="23"/>
                  <a:pt x="21" y="23"/>
                  <a:pt x="21" y="23"/>
                </a:cubicBezTo>
                <a:cubicBezTo>
                  <a:pt x="20" y="24"/>
                  <a:pt x="20" y="24"/>
                  <a:pt x="20" y="24"/>
                </a:cubicBezTo>
                <a:cubicBezTo>
                  <a:pt x="19" y="23"/>
                  <a:pt x="19" y="23"/>
                  <a:pt x="19" y="23"/>
                </a:cubicBezTo>
                <a:cubicBezTo>
                  <a:pt x="18" y="23"/>
                  <a:pt x="18" y="23"/>
                  <a:pt x="18" y="23"/>
                </a:cubicBezTo>
                <a:close/>
                <a:moveTo>
                  <a:pt x="9" y="15"/>
                </a:moveTo>
                <a:cubicBezTo>
                  <a:pt x="10" y="15"/>
                  <a:pt x="10" y="15"/>
                  <a:pt x="10" y="15"/>
                </a:cubicBezTo>
                <a:cubicBezTo>
                  <a:pt x="11" y="16"/>
                  <a:pt x="11" y="16"/>
                  <a:pt x="11" y="16"/>
                </a:cubicBezTo>
                <a:cubicBezTo>
                  <a:pt x="10" y="16"/>
                  <a:pt x="10" y="16"/>
                  <a:pt x="10" y="16"/>
                </a:cubicBezTo>
                <a:cubicBezTo>
                  <a:pt x="9" y="15"/>
                  <a:pt x="9" y="15"/>
                  <a:pt x="9" y="15"/>
                </a:cubicBezTo>
                <a:close/>
                <a:moveTo>
                  <a:pt x="8" y="13"/>
                </a:moveTo>
                <a:cubicBezTo>
                  <a:pt x="9" y="14"/>
                  <a:pt x="9" y="14"/>
                  <a:pt x="9" y="14"/>
                </a:cubicBezTo>
                <a:cubicBezTo>
                  <a:pt x="8" y="14"/>
                  <a:pt x="8" y="14"/>
                  <a:pt x="8" y="14"/>
                </a:cubicBezTo>
                <a:cubicBezTo>
                  <a:pt x="8" y="13"/>
                  <a:pt x="8" y="13"/>
                  <a:pt x="8" y="13"/>
                </a:cubicBezTo>
                <a:close/>
                <a:moveTo>
                  <a:pt x="8" y="17"/>
                </a:moveTo>
                <a:cubicBezTo>
                  <a:pt x="10" y="18"/>
                  <a:pt x="10" y="18"/>
                  <a:pt x="10" y="18"/>
                </a:cubicBezTo>
                <a:cubicBezTo>
                  <a:pt x="10" y="19"/>
                  <a:pt x="10" y="19"/>
                  <a:pt x="10" y="19"/>
                </a:cubicBezTo>
                <a:cubicBezTo>
                  <a:pt x="8" y="17"/>
                  <a:pt x="8" y="17"/>
                  <a:pt x="8" y="17"/>
                </a:cubicBezTo>
                <a:close/>
                <a:moveTo>
                  <a:pt x="7" y="15"/>
                </a:moveTo>
                <a:cubicBezTo>
                  <a:pt x="8" y="15"/>
                  <a:pt x="8" y="15"/>
                  <a:pt x="8" y="15"/>
                </a:cubicBezTo>
                <a:cubicBezTo>
                  <a:pt x="8" y="16"/>
                  <a:pt x="8" y="16"/>
                  <a:pt x="8" y="16"/>
                </a:cubicBezTo>
                <a:cubicBezTo>
                  <a:pt x="7" y="15"/>
                  <a:pt x="7" y="15"/>
                  <a:pt x="7" y="15"/>
                </a:cubicBezTo>
                <a:close/>
                <a:moveTo>
                  <a:pt x="5" y="11"/>
                </a:moveTo>
                <a:cubicBezTo>
                  <a:pt x="6" y="12"/>
                  <a:pt x="6" y="12"/>
                  <a:pt x="6" y="12"/>
                </a:cubicBezTo>
                <a:cubicBezTo>
                  <a:pt x="7" y="14"/>
                  <a:pt x="7" y="14"/>
                  <a:pt x="7" y="14"/>
                </a:cubicBezTo>
                <a:cubicBezTo>
                  <a:pt x="6" y="14"/>
                  <a:pt x="6" y="14"/>
                  <a:pt x="6" y="14"/>
                </a:cubicBezTo>
                <a:cubicBezTo>
                  <a:pt x="5" y="13"/>
                  <a:pt x="5" y="13"/>
                  <a:pt x="5" y="13"/>
                </a:cubicBezTo>
                <a:cubicBezTo>
                  <a:pt x="5" y="13"/>
                  <a:pt x="5" y="13"/>
                  <a:pt x="5" y="13"/>
                </a:cubicBezTo>
                <a:cubicBezTo>
                  <a:pt x="5" y="11"/>
                  <a:pt x="5" y="11"/>
                  <a:pt x="5" y="11"/>
                </a:cubicBezTo>
                <a:close/>
                <a:moveTo>
                  <a:pt x="6" y="9"/>
                </a:moveTo>
                <a:cubicBezTo>
                  <a:pt x="7" y="11"/>
                  <a:pt x="7" y="11"/>
                  <a:pt x="7" y="11"/>
                </a:cubicBezTo>
                <a:cubicBezTo>
                  <a:pt x="6" y="12"/>
                  <a:pt x="6" y="12"/>
                  <a:pt x="6" y="12"/>
                </a:cubicBezTo>
                <a:cubicBezTo>
                  <a:pt x="6" y="11"/>
                  <a:pt x="6" y="11"/>
                  <a:pt x="6" y="11"/>
                </a:cubicBezTo>
                <a:cubicBezTo>
                  <a:pt x="5" y="11"/>
                  <a:pt x="5" y="11"/>
                  <a:pt x="5" y="11"/>
                </a:cubicBezTo>
                <a:cubicBezTo>
                  <a:pt x="5" y="9"/>
                  <a:pt x="5" y="9"/>
                  <a:pt x="5" y="9"/>
                </a:cubicBezTo>
                <a:cubicBezTo>
                  <a:pt x="5" y="9"/>
                  <a:pt x="5" y="9"/>
                  <a:pt x="6" y="9"/>
                </a:cubicBez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3" name="Freeform 61">
            <a:extLst>
              <a:ext uri="{FF2B5EF4-FFF2-40B4-BE49-F238E27FC236}">
                <a16:creationId xmlns:a16="http://schemas.microsoft.com/office/drawing/2014/main" id="{AE1C3309-A63A-A2F1-86C8-ACE4C0326D5C}"/>
              </a:ext>
            </a:extLst>
          </p:cNvPr>
          <p:cNvSpPr>
            <a:spLocks/>
          </p:cNvSpPr>
          <p:nvPr userDrawn="1"/>
        </p:nvSpPr>
        <p:spPr bwMode="auto">
          <a:xfrm>
            <a:off x="14061155" y="6327059"/>
            <a:ext cx="228585" cy="200026"/>
          </a:xfrm>
          <a:custGeom>
            <a:avLst/>
            <a:gdLst>
              <a:gd name="T0" fmla="*/ 38 w 72"/>
              <a:gd name="T1" fmla="*/ 53 h 63"/>
              <a:gd name="T2" fmla="*/ 10 w 72"/>
              <a:gd name="T3" fmla="*/ 25 h 63"/>
              <a:gd name="T4" fmla="*/ 10 w 72"/>
              <a:gd name="T5" fmla="*/ 22 h 63"/>
              <a:gd name="T6" fmla="*/ 7 w 72"/>
              <a:gd name="T7" fmla="*/ 16 h 63"/>
              <a:gd name="T8" fmla="*/ 0 w 72"/>
              <a:gd name="T9" fmla="*/ 9 h 63"/>
              <a:gd name="T10" fmla="*/ 0 w 72"/>
              <a:gd name="T11" fmla="*/ 6 h 63"/>
              <a:gd name="T12" fmla="*/ 3 w 72"/>
              <a:gd name="T13" fmla="*/ 0 h 63"/>
              <a:gd name="T14" fmla="*/ 10 w 72"/>
              <a:gd name="T15" fmla="*/ 6 h 63"/>
              <a:gd name="T16" fmla="*/ 10 w 72"/>
              <a:gd name="T17" fmla="*/ 3 h 63"/>
              <a:gd name="T18" fmla="*/ 16 w 72"/>
              <a:gd name="T19" fmla="*/ 3 h 63"/>
              <a:gd name="T20" fmla="*/ 22 w 72"/>
              <a:gd name="T21" fmla="*/ 0 h 63"/>
              <a:gd name="T22" fmla="*/ 28 w 72"/>
              <a:gd name="T23" fmla="*/ 0 h 63"/>
              <a:gd name="T24" fmla="*/ 32 w 72"/>
              <a:gd name="T25" fmla="*/ 3 h 63"/>
              <a:gd name="T26" fmla="*/ 38 w 72"/>
              <a:gd name="T27" fmla="*/ 3 h 63"/>
              <a:gd name="T28" fmla="*/ 44 w 72"/>
              <a:gd name="T29" fmla="*/ 3 h 63"/>
              <a:gd name="T30" fmla="*/ 50 w 72"/>
              <a:gd name="T31" fmla="*/ 3 h 63"/>
              <a:gd name="T32" fmla="*/ 60 w 72"/>
              <a:gd name="T33" fmla="*/ 6 h 63"/>
              <a:gd name="T34" fmla="*/ 63 w 72"/>
              <a:gd name="T35" fmla="*/ 9 h 63"/>
              <a:gd name="T36" fmla="*/ 66 w 72"/>
              <a:gd name="T37" fmla="*/ 13 h 63"/>
              <a:gd name="T38" fmla="*/ 63 w 72"/>
              <a:gd name="T39" fmla="*/ 22 h 63"/>
              <a:gd name="T40" fmla="*/ 69 w 72"/>
              <a:gd name="T41" fmla="*/ 28 h 63"/>
              <a:gd name="T42" fmla="*/ 72 w 72"/>
              <a:gd name="T43" fmla="*/ 31 h 63"/>
              <a:gd name="T44" fmla="*/ 66 w 72"/>
              <a:gd name="T45" fmla="*/ 31 h 63"/>
              <a:gd name="T46" fmla="*/ 69 w 72"/>
              <a:gd name="T47" fmla="*/ 41 h 63"/>
              <a:gd name="T48" fmla="*/ 66 w 72"/>
              <a:gd name="T49" fmla="*/ 41 h 63"/>
              <a:gd name="T50" fmla="*/ 60 w 72"/>
              <a:gd name="T51" fmla="*/ 41 h 63"/>
              <a:gd name="T52" fmla="*/ 63 w 72"/>
              <a:gd name="T53" fmla="*/ 44 h 63"/>
              <a:gd name="T54" fmla="*/ 60 w 72"/>
              <a:gd name="T55" fmla="*/ 50 h 63"/>
              <a:gd name="T56" fmla="*/ 57 w 72"/>
              <a:gd name="T57" fmla="*/ 53 h 63"/>
              <a:gd name="T58" fmla="*/ 53 w 72"/>
              <a:gd name="T59" fmla="*/ 63 h 63"/>
              <a:gd name="T60" fmla="*/ 47 w 72"/>
              <a:gd name="T61" fmla="*/ 60 h 63"/>
              <a:gd name="T62" fmla="*/ 38 w 72"/>
              <a:gd name="T63" fmla="*/ 60 h 63"/>
              <a:gd name="T64" fmla="*/ 38 w 72"/>
              <a:gd name="T65" fmla="*/ 5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63">
                <a:moveTo>
                  <a:pt x="38" y="56"/>
                </a:moveTo>
                <a:lnTo>
                  <a:pt x="38" y="53"/>
                </a:lnTo>
                <a:lnTo>
                  <a:pt x="25" y="38"/>
                </a:lnTo>
                <a:lnTo>
                  <a:pt x="10" y="25"/>
                </a:lnTo>
                <a:lnTo>
                  <a:pt x="7" y="22"/>
                </a:lnTo>
                <a:lnTo>
                  <a:pt x="10" y="22"/>
                </a:lnTo>
                <a:lnTo>
                  <a:pt x="7" y="19"/>
                </a:lnTo>
                <a:lnTo>
                  <a:pt x="7" y="16"/>
                </a:lnTo>
                <a:lnTo>
                  <a:pt x="0" y="9"/>
                </a:lnTo>
                <a:lnTo>
                  <a:pt x="0" y="9"/>
                </a:lnTo>
                <a:lnTo>
                  <a:pt x="0" y="6"/>
                </a:lnTo>
                <a:lnTo>
                  <a:pt x="0" y="6"/>
                </a:lnTo>
                <a:lnTo>
                  <a:pt x="0" y="0"/>
                </a:lnTo>
                <a:lnTo>
                  <a:pt x="3" y="0"/>
                </a:lnTo>
                <a:lnTo>
                  <a:pt x="7" y="3"/>
                </a:lnTo>
                <a:lnTo>
                  <a:pt x="10" y="6"/>
                </a:lnTo>
                <a:lnTo>
                  <a:pt x="10" y="6"/>
                </a:lnTo>
                <a:lnTo>
                  <a:pt x="10" y="3"/>
                </a:lnTo>
                <a:lnTo>
                  <a:pt x="16" y="0"/>
                </a:lnTo>
                <a:lnTo>
                  <a:pt x="16" y="3"/>
                </a:lnTo>
                <a:lnTo>
                  <a:pt x="19" y="0"/>
                </a:lnTo>
                <a:lnTo>
                  <a:pt x="22" y="0"/>
                </a:lnTo>
                <a:lnTo>
                  <a:pt x="25" y="0"/>
                </a:lnTo>
                <a:lnTo>
                  <a:pt x="28" y="0"/>
                </a:lnTo>
                <a:lnTo>
                  <a:pt x="28" y="3"/>
                </a:lnTo>
                <a:lnTo>
                  <a:pt x="32" y="3"/>
                </a:lnTo>
                <a:lnTo>
                  <a:pt x="35" y="3"/>
                </a:lnTo>
                <a:lnTo>
                  <a:pt x="38" y="3"/>
                </a:lnTo>
                <a:lnTo>
                  <a:pt x="41" y="3"/>
                </a:lnTo>
                <a:lnTo>
                  <a:pt x="44" y="3"/>
                </a:lnTo>
                <a:lnTo>
                  <a:pt x="47" y="3"/>
                </a:lnTo>
                <a:lnTo>
                  <a:pt x="50" y="3"/>
                </a:lnTo>
                <a:lnTo>
                  <a:pt x="57" y="6"/>
                </a:lnTo>
                <a:lnTo>
                  <a:pt x="60" y="6"/>
                </a:lnTo>
                <a:lnTo>
                  <a:pt x="63" y="9"/>
                </a:lnTo>
                <a:lnTo>
                  <a:pt x="63" y="9"/>
                </a:lnTo>
                <a:lnTo>
                  <a:pt x="66" y="9"/>
                </a:lnTo>
                <a:lnTo>
                  <a:pt x="66" y="13"/>
                </a:lnTo>
                <a:lnTo>
                  <a:pt x="63" y="19"/>
                </a:lnTo>
                <a:lnTo>
                  <a:pt x="63" y="22"/>
                </a:lnTo>
                <a:lnTo>
                  <a:pt x="69" y="25"/>
                </a:lnTo>
                <a:lnTo>
                  <a:pt x="69" y="28"/>
                </a:lnTo>
                <a:lnTo>
                  <a:pt x="72" y="28"/>
                </a:lnTo>
                <a:lnTo>
                  <a:pt x="72" y="31"/>
                </a:lnTo>
                <a:lnTo>
                  <a:pt x="69" y="28"/>
                </a:lnTo>
                <a:lnTo>
                  <a:pt x="66" y="31"/>
                </a:lnTo>
                <a:lnTo>
                  <a:pt x="66" y="34"/>
                </a:lnTo>
                <a:lnTo>
                  <a:pt x="69" y="41"/>
                </a:lnTo>
                <a:lnTo>
                  <a:pt x="69" y="41"/>
                </a:lnTo>
                <a:lnTo>
                  <a:pt x="66" y="41"/>
                </a:lnTo>
                <a:lnTo>
                  <a:pt x="63" y="38"/>
                </a:lnTo>
                <a:lnTo>
                  <a:pt x="60" y="41"/>
                </a:lnTo>
                <a:lnTo>
                  <a:pt x="60" y="44"/>
                </a:lnTo>
                <a:lnTo>
                  <a:pt x="63" y="44"/>
                </a:lnTo>
                <a:lnTo>
                  <a:pt x="63" y="47"/>
                </a:lnTo>
                <a:lnTo>
                  <a:pt x="60" y="50"/>
                </a:lnTo>
                <a:lnTo>
                  <a:pt x="60" y="50"/>
                </a:lnTo>
                <a:lnTo>
                  <a:pt x="57" y="53"/>
                </a:lnTo>
                <a:lnTo>
                  <a:pt x="57" y="60"/>
                </a:lnTo>
                <a:lnTo>
                  <a:pt x="53" y="63"/>
                </a:lnTo>
                <a:lnTo>
                  <a:pt x="53" y="63"/>
                </a:lnTo>
                <a:lnTo>
                  <a:pt x="47" y="60"/>
                </a:lnTo>
                <a:lnTo>
                  <a:pt x="47" y="60"/>
                </a:lnTo>
                <a:lnTo>
                  <a:pt x="38" y="60"/>
                </a:lnTo>
                <a:lnTo>
                  <a:pt x="38" y="56"/>
                </a:lnTo>
                <a:lnTo>
                  <a:pt x="38" y="5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4" name="Freeform 62">
            <a:extLst>
              <a:ext uri="{FF2B5EF4-FFF2-40B4-BE49-F238E27FC236}">
                <a16:creationId xmlns:a16="http://schemas.microsoft.com/office/drawing/2014/main" id="{97B7A77F-8433-BE01-679E-3BA4F6A72EB4}"/>
              </a:ext>
            </a:extLst>
          </p:cNvPr>
          <p:cNvSpPr>
            <a:spLocks/>
          </p:cNvSpPr>
          <p:nvPr userDrawn="1"/>
        </p:nvSpPr>
        <p:spPr bwMode="auto">
          <a:xfrm>
            <a:off x="13924643" y="6209581"/>
            <a:ext cx="187314" cy="117478"/>
          </a:xfrm>
          <a:custGeom>
            <a:avLst/>
            <a:gdLst>
              <a:gd name="T0" fmla="*/ 3 w 59"/>
              <a:gd name="T1" fmla="*/ 37 h 37"/>
              <a:gd name="T2" fmla="*/ 9 w 59"/>
              <a:gd name="T3" fmla="*/ 34 h 37"/>
              <a:gd name="T4" fmla="*/ 15 w 59"/>
              <a:gd name="T5" fmla="*/ 31 h 37"/>
              <a:gd name="T6" fmla="*/ 18 w 59"/>
              <a:gd name="T7" fmla="*/ 31 h 37"/>
              <a:gd name="T8" fmla="*/ 25 w 59"/>
              <a:gd name="T9" fmla="*/ 34 h 37"/>
              <a:gd name="T10" fmla="*/ 31 w 59"/>
              <a:gd name="T11" fmla="*/ 34 h 37"/>
              <a:gd name="T12" fmla="*/ 31 w 59"/>
              <a:gd name="T13" fmla="*/ 28 h 37"/>
              <a:gd name="T14" fmla="*/ 37 w 59"/>
              <a:gd name="T15" fmla="*/ 25 h 37"/>
              <a:gd name="T16" fmla="*/ 37 w 59"/>
              <a:gd name="T17" fmla="*/ 18 h 37"/>
              <a:gd name="T18" fmla="*/ 50 w 59"/>
              <a:gd name="T19" fmla="*/ 12 h 37"/>
              <a:gd name="T20" fmla="*/ 59 w 59"/>
              <a:gd name="T21" fmla="*/ 12 h 37"/>
              <a:gd name="T22" fmla="*/ 59 w 59"/>
              <a:gd name="T23" fmla="*/ 6 h 37"/>
              <a:gd name="T24" fmla="*/ 53 w 59"/>
              <a:gd name="T25" fmla="*/ 0 h 37"/>
              <a:gd name="T26" fmla="*/ 46 w 59"/>
              <a:gd name="T27" fmla="*/ 0 h 37"/>
              <a:gd name="T28" fmla="*/ 40 w 59"/>
              <a:gd name="T29" fmla="*/ 6 h 37"/>
              <a:gd name="T30" fmla="*/ 37 w 59"/>
              <a:gd name="T31" fmla="*/ 6 h 37"/>
              <a:gd name="T32" fmla="*/ 34 w 59"/>
              <a:gd name="T33" fmla="*/ 6 h 37"/>
              <a:gd name="T34" fmla="*/ 31 w 59"/>
              <a:gd name="T35" fmla="*/ 9 h 37"/>
              <a:gd name="T36" fmla="*/ 25 w 59"/>
              <a:gd name="T37" fmla="*/ 9 h 37"/>
              <a:gd name="T38" fmla="*/ 21 w 59"/>
              <a:gd name="T39" fmla="*/ 9 h 37"/>
              <a:gd name="T40" fmla="*/ 18 w 59"/>
              <a:gd name="T41" fmla="*/ 6 h 37"/>
              <a:gd name="T42" fmla="*/ 9 w 59"/>
              <a:gd name="T43" fmla="*/ 6 h 37"/>
              <a:gd name="T44" fmla="*/ 6 w 59"/>
              <a:gd name="T45" fmla="*/ 6 h 37"/>
              <a:gd name="T46" fmla="*/ 3 w 59"/>
              <a:gd name="T47" fmla="*/ 12 h 37"/>
              <a:gd name="T48" fmla="*/ 3 w 59"/>
              <a:gd name="T49" fmla="*/ 15 h 37"/>
              <a:gd name="T50" fmla="*/ 0 w 59"/>
              <a:gd name="T51" fmla="*/ 21 h 37"/>
              <a:gd name="T52" fmla="*/ 3 w 59"/>
              <a:gd name="T53" fmla="*/ 28 h 37"/>
              <a:gd name="T54" fmla="*/ 3 w 59"/>
              <a:gd name="T55" fmla="*/ 28 h 37"/>
              <a:gd name="T56" fmla="*/ 6 w 59"/>
              <a:gd name="T57" fmla="*/ 28 h 37"/>
              <a:gd name="T58" fmla="*/ 6 w 59"/>
              <a:gd name="T59" fmla="*/ 31 h 37"/>
              <a:gd name="T60" fmla="*/ 3 w 59"/>
              <a:gd name="T61" fmla="*/ 31 h 37"/>
              <a:gd name="T62" fmla="*/ 3 w 59"/>
              <a:gd name="T6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 h="37">
                <a:moveTo>
                  <a:pt x="3" y="37"/>
                </a:moveTo>
                <a:lnTo>
                  <a:pt x="9" y="34"/>
                </a:lnTo>
                <a:lnTo>
                  <a:pt x="15" y="31"/>
                </a:lnTo>
                <a:lnTo>
                  <a:pt x="18" y="31"/>
                </a:lnTo>
                <a:lnTo>
                  <a:pt x="25" y="34"/>
                </a:lnTo>
                <a:lnTo>
                  <a:pt x="31" y="34"/>
                </a:lnTo>
                <a:lnTo>
                  <a:pt x="31" y="28"/>
                </a:lnTo>
                <a:lnTo>
                  <a:pt x="37" y="25"/>
                </a:lnTo>
                <a:lnTo>
                  <a:pt x="37" y="18"/>
                </a:lnTo>
                <a:lnTo>
                  <a:pt x="50" y="12"/>
                </a:lnTo>
                <a:lnTo>
                  <a:pt x="59" y="12"/>
                </a:lnTo>
                <a:lnTo>
                  <a:pt x="59" y="6"/>
                </a:lnTo>
                <a:lnTo>
                  <a:pt x="53" y="0"/>
                </a:lnTo>
                <a:lnTo>
                  <a:pt x="46" y="0"/>
                </a:lnTo>
                <a:lnTo>
                  <a:pt x="40" y="6"/>
                </a:lnTo>
                <a:lnTo>
                  <a:pt x="37" y="6"/>
                </a:lnTo>
                <a:lnTo>
                  <a:pt x="34" y="6"/>
                </a:lnTo>
                <a:lnTo>
                  <a:pt x="31" y="9"/>
                </a:lnTo>
                <a:lnTo>
                  <a:pt x="25" y="9"/>
                </a:lnTo>
                <a:lnTo>
                  <a:pt x="21" y="9"/>
                </a:lnTo>
                <a:lnTo>
                  <a:pt x="18" y="6"/>
                </a:lnTo>
                <a:lnTo>
                  <a:pt x="9" y="6"/>
                </a:lnTo>
                <a:lnTo>
                  <a:pt x="6" y="6"/>
                </a:lnTo>
                <a:lnTo>
                  <a:pt x="3" y="12"/>
                </a:lnTo>
                <a:lnTo>
                  <a:pt x="3" y="15"/>
                </a:lnTo>
                <a:lnTo>
                  <a:pt x="0" y="21"/>
                </a:lnTo>
                <a:lnTo>
                  <a:pt x="3" y="28"/>
                </a:lnTo>
                <a:lnTo>
                  <a:pt x="3" y="28"/>
                </a:lnTo>
                <a:lnTo>
                  <a:pt x="6" y="28"/>
                </a:lnTo>
                <a:lnTo>
                  <a:pt x="6" y="31"/>
                </a:lnTo>
                <a:lnTo>
                  <a:pt x="3" y="31"/>
                </a:lnTo>
                <a:lnTo>
                  <a:pt x="3" y="3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5" name="Freeform 63">
            <a:extLst>
              <a:ext uri="{FF2B5EF4-FFF2-40B4-BE49-F238E27FC236}">
                <a16:creationId xmlns:a16="http://schemas.microsoft.com/office/drawing/2014/main" id="{02F5B7E7-4EAA-829B-C130-6DBC8032A7BF}"/>
              </a:ext>
            </a:extLst>
          </p:cNvPr>
          <p:cNvSpPr>
            <a:spLocks/>
          </p:cNvSpPr>
          <p:nvPr userDrawn="1"/>
        </p:nvSpPr>
        <p:spPr bwMode="auto">
          <a:xfrm>
            <a:off x="13696058" y="6028609"/>
            <a:ext cx="425422" cy="209550"/>
          </a:xfrm>
          <a:custGeom>
            <a:avLst/>
            <a:gdLst>
              <a:gd name="T0" fmla="*/ 81 w 134"/>
              <a:gd name="T1" fmla="*/ 63 h 66"/>
              <a:gd name="T2" fmla="*/ 93 w 134"/>
              <a:gd name="T3" fmla="*/ 66 h 66"/>
              <a:gd name="T4" fmla="*/ 103 w 134"/>
              <a:gd name="T5" fmla="*/ 66 h 66"/>
              <a:gd name="T6" fmla="*/ 109 w 134"/>
              <a:gd name="T7" fmla="*/ 63 h 66"/>
              <a:gd name="T8" fmla="*/ 118 w 134"/>
              <a:gd name="T9" fmla="*/ 57 h 66"/>
              <a:gd name="T10" fmla="*/ 128 w 134"/>
              <a:gd name="T11" fmla="*/ 53 h 66"/>
              <a:gd name="T12" fmla="*/ 128 w 134"/>
              <a:gd name="T13" fmla="*/ 44 h 66"/>
              <a:gd name="T14" fmla="*/ 125 w 134"/>
              <a:gd name="T15" fmla="*/ 38 h 66"/>
              <a:gd name="T16" fmla="*/ 134 w 134"/>
              <a:gd name="T17" fmla="*/ 35 h 66"/>
              <a:gd name="T18" fmla="*/ 134 w 134"/>
              <a:gd name="T19" fmla="*/ 25 h 66"/>
              <a:gd name="T20" fmla="*/ 134 w 134"/>
              <a:gd name="T21" fmla="*/ 10 h 66"/>
              <a:gd name="T22" fmla="*/ 122 w 134"/>
              <a:gd name="T23" fmla="*/ 6 h 66"/>
              <a:gd name="T24" fmla="*/ 112 w 134"/>
              <a:gd name="T25" fmla="*/ 6 h 66"/>
              <a:gd name="T26" fmla="*/ 100 w 134"/>
              <a:gd name="T27" fmla="*/ 3 h 66"/>
              <a:gd name="T28" fmla="*/ 93 w 134"/>
              <a:gd name="T29" fmla="*/ 3 h 66"/>
              <a:gd name="T30" fmla="*/ 90 w 134"/>
              <a:gd name="T31" fmla="*/ 10 h 66"/>
              <a:gd name="T32" fmla="*/ 84 w 134"/>
              <a:gd name="T33" fmla="*/ 13 h 66"/>
              <a:gd name="T34" fmla="*/ 72 w 134"/>
              <a:gd name="T35" fmla="*/ 6 h 66"/>
              <a:gd name="T36" fmla="*/ 72 w 134"/>
              <a:gd name="T37" fmla="*/ 13 h 66"/>
              <a:gd name="T38" fmla="*/ 65 w 134"/>
              <a:gd name="T39" fmla="*/ 16 h 66"/>
              <a:gd name="T40" fmla="*/ 56 w 134"/>
              <a:gd name="T41" fmla="*/ 25 h 66"/>
              <a:gd name="T42" fmla="*/ 62 w 134"/>
              <a:gd name="T43" fmla="*/ 31 h 66"/>
              <a:gd name="T44" fmla="*/ 59 w 134"/>
              <a:gd name="T45" fmla="*/ 35 h 66"/>
              <a:gd name="T46" fmla="*/ 50 w 134"/>
              <a:gd name="T47" fmla="*/ 35 h 66"/>
              <a:gd name="T48" fmla="*/ 43 w 134"/>
              <a:gd name="T49" fmla="*/ 35 h 66"/>
              <a:gd name="T50" fmla="*/ 34 w 134"/>
              <a:gd name="T51" fmla="*/ 38 h 66"/>
              <a:gd name="T52" fmla="*/ 28 w 134"/>
              <a:gd name="T53" fmla="*/ 38 h 66"/>
              <a:gd name="T54" fmla="*/ 18 w 134"/>
              <a:gd name="T55" fmla="*/ 35 h 66"/>
              <a:gd name="T56" fmla="*/ 15 w 134"/>
              <a:gd name="T57" fmla="*/ 41 h 66"/>
              <a:gd name="T58" fmla="*/ 9 w 134"/>
              <a:gd name="T59" fmla="*/ 41 h 66"/>
              <a:gd name="T60" fmla="*/ 3 w 134"/>
              <a:gd name="T61" fmla="*/ 38 h 66"/>
              <a:gd name="T62" fmla="*/ 0 w 134"/>
              <a:gd name="T63" fmla="*/ 38 h 66"/>
              <a:gd name="T64" fmla="*/ 0 w 134"/>
              <a:gd name="T65" fmla="*/ 44 h 66"/>
              <a:gd name="T66" fmla="*/ 3 w 134"/>
              <a:gd name="T67" fmla="*/ 50 h 66"/>
              <a:gd name="T68" fmla="*/ 9 w 134"/>
              <a:gd name="T69" fmla="*/ 47 h 66"/>
              <a:gd name="T70" fmla="*/ 15 w 134"/>
              <a:gd name="T71" fmla="*/ 50 h 66"/>
              <a:gd name="T72" fmla="*/ 22 w 134"/>
              <a:gd name="T73" fmla="*/ 53 h 66"/>
              <a:gd name="T74" fmla="*/ 28 w 134"/>
              <a:gd name="T75" fmla="*/ 53 h 66"/>
              <a:gd name="T76" fmla="*/ 40 w 134"/>
              <a:gd name="T77" fmla="*/ 50 h 66"/>
              <a:gd name="T78" fmla="*/ 47 w 134"/>
              <a:gd name="T79" fmla="*/ 53 h 66"/>
              <a:gd name="T80" fmla="*/ 68 w 134"/>
              <a:gd name="T81" fmla="*/ 63 h 66"/>
              <a:gd name="T82" fmla="*/ 78 w 134"/>
              <a:gd name="T83" fmla="*/ 6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4" h="66">
                <a:moveTo>
                  <a:pt x="78" y="63"/>
                </a:moveTo>
                <a:lnTo>
                  <a:pt x="81" y="63"/>
                </a:lnTo>
                <a:lnTo>
                  <a:pt x="90" y="63"/>
                </a:lnTo>
                <a:lnTo>
                  <a:pt x="93" y="66"/>
                </a:lnTo>
                <a:lnTo>
                  <a:pt x="97" y="66"/>
                </a:lnTo>
                <a:lnTo>
                  <a:pt x="103" y="66"/>
                </a:lnTo>
                <a:lnTo>
                  <a:pt x="106" y="63"/>
                </a:lnTo>
                <a:lnTo>
                  <a:pt x="109" y="63"/>
                </a:lnTo>
                <a:lnTo>
                  <a:pt x="112" y="63"/>
                </a:lnTo>
                <a:lnTo>
                  <a:pt x="118" y="57"/>
                </a:lnTo>
                <a:lnTo>
                  <a:pt x="125" y="57"/>
                </a:lnTo>
                <a:lnTo>
                  <a:pt x="128" y="53"/>
                </a:lnTo>
                <a:lnTo>
                  <a:pt x="128" y="47"/>
                </a:lnTo>
                <a:lnTo>
                  <a:pt x="128" y="44"/>
                </a:lnTo>
                <a:lnTo>
                  <a:pt x="128" y="41"/>
                </a:lnTo>
                <a:lnTo>
                  <a:pt x="125" y="38"/>
                </a:lnTo>
                <a:lnTo>
                  <a:pt x="125" y="35"/>
                </a:lnTo>
                <a:lnTo>
                  <a:pt x="134" y="35"/>
                </a:lnTo>
                <a:lnTo>
                  <a:pt x="134" y="31"/>
                </a:lnTo>
                <a:lnTo>
                  <a:pt x="134" y="25"/>
                </a:lnTo>
                <a:lnTo>
                  <a:pt x="134" y="16"/>
                </a:lnTo>
                <a:lnTo>
                  <a:pt x="134" y="10"/>
                </a:lnTo>
                <a:lnTo>
                  <a:pt x="125" y="6"/>
                </a:lnTo>
                <a:lnTo>
                  <a:pt x="122" y="6"/>
                </a:lnTo>
                <a:lnTo>
                  <a:pt x="118" y="6"/>
                </a:lnTo>
                <a:lnTo>
                  <a:pt x="112" y="6"/>
                </a:lnTo>
                <a:lnTo>
                  <a:pt x="106" y="3"/>
                </a:lnTo>
                <a:lnTo>
                  <a:pt x="100" y="3"/>
                </a:lnTo>
                <a:lnTo>
                  <a:pt x="97" y="0"/>
                </a:lnTo>
                <a:lnTo>
                  <a:pt x="93" y="3"/>
                </a:lnTo>
                <a:lnTo>
                  <a:pt x="93" y="6"/>
                </a:lnTo>
                <a:lnTo>
                  <a:pt x="90" y="10"/>
                </a:lnTo>
                <a:lnTo>
                  <a:pt x="87" y="10"/>
                </a:lnTo>
                <a:lnTo>
                  <a:pt x="84" y="13"/>
                </a:lnTo>
                <a:lnTo>
                  <a:pt x="75" y="6"/>
                </a:lnTo>
                <a:lnTo>
                  <a:pt x="72" y="6"/>
                </a:lnTo>
                <a:lnTo>
                  <a:pt x="72" y="10"/>
                </a:lnTo>
                <a:lnTo>
                  <a:pt x="72" y="13"/>
                </a:lnTo>
                <a:lnTo>
                  <a:pt x="68" y="13"/>
                </a:lnTo>
                <a:lnTo>
                  <a:pt x="65" y="16"/>
                </a:lnTo>
                <a:lnTo>
                  <a:pt x="62" y="19"/>
                </a:lnTo>
                <a:lnTo>
                  <a:pt x="56" y="25"/>
                </a:lnTo>
                <a:lnTo>
                  <a:pt x="56" y="28"/>
                </a:lnTo>
                <a:lnTo>
                  <a:pt x="62" y="31"/>
                </a:lnTo>
                <a:lnTo>
                  <a:pt x="62" y="35"/>
                </a:lnTo>
                <a:lnTo>
                  <a:pt x="59" y="35"/>
                </a:lnTo>
                <a:lnTo>
                  <a:pt x="56" y="35"/>
                </a:lnTo>
                <a:lnTo>
                  <a:pt x="50" y="35"/>
                </a:lnTo>
                <a:lnTo>
                  <a:pt x="47" y="35"/>
                </a:lnTo>
                <a:lnTo>
                  <a:pt x="43" y="35"/>
                </a:lnTo>
                <a:lnTo>
                  <a:pt x="37" y="38"/>
                </a:lnTo>
                <a:lnTo>
                  <a:pt x="34" y="38"/>
                </a:lnTo>
                <a:lnTo>
                  <a:pt x="31" y="38"/>
                </a:lnTo>
                <a:lnTo>
                  <a:pt x="28" y="38"/>
                </a:lnTo>
                <a:lnTo>
                  <a:pt x="25" y="38"/>
                </a:lnTo>
                <a:lnTo>
                  <a:pt x="18" y="35"/>
                </a:lnTo>
                <a:lnTo>
                  <a:pt x="12" y="38"/>
                </a:lnTo>
                <a:lnTo>
                  <a:pt x="15" y="41"/>
                </a:lnTo>
                <a:lnTo>
                  <a:pt x="12" y="41"/>
                </a:lnTo>
                <a:lnTo>
                  <a:pt x="9" y="41"/>
                </a:lnTo>
                <a:lnTo>
                  <a:pt x="6" y="38"/>
                </a:lnTo>
                <a:lnTo>
                  <a:pt x="3" y="38"/>
                </a:lnTo>
                <a:lnTo>
                  <a:pt x="0" y="38"/>
                </a:lnTo>
                <a:lnTo>
                  <a:pt x="0" y="38"/>
                </a:lnTo>
                <a:lnTo>
                  <a:pt x="0" y="41"/>
                </a:lnTo>
                <a:lnTo>
                  <a:pt x="0" y="44"/>
                </a:lnTo>
                <a:lnTo>
                  <a:pt x="3" y="44"/>
                </a:lnTo>
                <a:lnTo>
                  <a:pt x="3" y="50"/>
                </a:lnTo>
                <a:lnTo>
                  <a:pt x="6" y="50"/>
                </a:lnTo>
                <a:lnTo>
                  <a:pt x="9" y="47"/>
                </a:lnTo>
                <a:lnTo>
                  <a:pt x="12" y="53"/>
                </a:lnTo>
                <a:lnTo>
                  <a:pt x="15" y="50"/>
                </a:lnTo>
                <a:lnTo>
                  <a:pt x="18" y="50"/>
                </a:lnTo>
                <a:lnTo>
                  <a:pt x="22" y="53"/>
                </a:lnTo>
                <a:lnTo>
                  <a:pt x="22" y="53"/>
                </a:lnTo>
                <a:lnTo>
                  <a:pt x="28" y="53"/>
                </a:lnTo>
                <a:lnTo>
                  <a:pt x="37" y="50"/>
                </a:lnTo>
                <a:lnTo>
                  <a:pt x="40" y="50"/>
                </a:lnTo>
                <a:lnTo>
                  <a:pt x="50" y="50"/>
                </a:lnTo>
                <a:lnTo>
                  <a:pt x="47" y="53"/>
                </a:lnTo>
                <a:lnTo>
                  <a:pt x="56" y="60"/>
                </a:lnTo>
                <a:lnTo>
                  <a:pt x="68" y="63"/>
                </a:lnTo>
                <a:lnTo>
                  <a:pt x="75" y="60"/>
                </a:lnTo>
                <a:lnTo>
                  <a:pt x="78" y="63"/>
                </a:lnTo>
                <a:lnTo>
                  <a:pt x="78" y="63"/>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6" name="Freeform 64">
            <a:extLst>
              <a:ext uri="{FF2B5EF4-FFF2-40B4-BE49-F238E27FC236}">
                <a16:creationId xmlns:a16="http://schemas.microsoft.com/office/drawing/2014/main" id="{A853D176-7B95-95F0-0F45-E7520FB6DEDD}"/>
              </a:ext>
            </a:extLst>
          </p:cNvPr>
          <p:cNvSpPr>
            <a:spLocks/>
          </p:cNvSpPr>
          <p:nvPr userDrawn="1"/>
        </p:nvSpPr>
        <p:spPr bwMode="auto">
          <a:xfrm>
            <a:off x="13934164" y="5533306"/>
            <a:ext cx="574641" cy="485776"/>
          </a:xfrm>
          <a:custGeom>
            <a:avLst/>
            <a:gdLst>
              <a:gd name="T0" fmla="*/ 109 w 181"/>
              <a:gd name="T1" fmla="*/ 153 h 153"/>
              <a:gd name="T2" fmla="*/ 115 w 181"/>
              <a:gd name="T3" fmla="*/ 147 h 153"/>
              <a:gd name="T4" fmla="*/ 122 w 181"/>
              <a:gd name="T5" fmla="*/ 147 h 153"/>
              <a:gd name="T6" fmla="*/ 131 w 181"/>
              <a:gd name="T7" fmla="*/ 150 h 153"/>
              <a:gd name="T8" fmla="*/ 134 w 181"/>
              <a:gd name="T9" fmla="*/ 147 h 153"/>
              <a:gd name="T10" fmla="*/ 140 w 181"/>
              <a:gd name="T11" fmla="*/ 147 h 153"/>
              <a:gd name="T12" fmla="*/ 156 w 181"/>
              <a:gd name="T13" fmla="*/ 153 h 153"/>
              <a:gd name="T14" fmla="*/ 162 w 181"/>
              <a:gd name="T15" fmla="*/ 147 h 153"/>
              <a:gd name="T16" fmla="*/ 172 w 181"/>
              <a:gd name="T17" fmla="*/ 128 h 153"/>
              <a:gd name="T18" fmla="*/ 178 w 181"/>
              <a:gd name="T19" fmla="*/ 119 h 153"/>
              <a:gd name="T20" fmla="*/ 181 w 181"/>
              <a:gd name="T21" fmla="*/ 112 h 153"/>
              <a:gd name="T22" fmla="*/ 178 w 181"/>
              <a:gd name="T23" fmla="*/ 106 h 153"/>
              <a:gd name="T24" fmla="*/ 175 w 181"/>
              <a:gd name="T25" fmla="*/ 103 h 153"/>
              <a:gd name="T26" fmla="*/ 172 w 181"/>
              <a:gd name="T27" fmla="*/ 94 h 153"/>
              <a:gd name="T28" fmla="*/ 172 w 181"/>
              <a:gd name="T29" fmla="*/ 78 h 153"/>
              <a:gd name="T30" fmla="*/ 165 w 181"/>
              <a:gd name="T31" fmla="*/ 65 h 153"/>
              <a:gd name="T32" fmla="*/ 172 w 181"/>
              <a:gd name="T33" fmla="*/ 59 h 153"/>
              <a:gd name="T34" fmla="*/ 172 w 181"/>
              <a:gd name="T35" fmla="*/ 47 h 153"/>
              <a:gd name="T36" fmla="*/ 165 w 181"/>
              <a:gd name="T37" fmla="*/ 37 h 153"/>
              <a:gd name="T38" fmla="*/ 159 w 181"/>
              <a:gd name="T39" fmla="*/ 22 h 153"/>
              <a:gd name="T40" fmla="*/ 159 w 181"/>
              <a:gd name="T41" fmla="*/ 12 h 153"/>
              <a:gd name="T42" fmla="*/ 153 w 181"/>
              <a:gd name="T43" fmla="*/ 6 h 153"/>
              <a:gd name="T44" fmla="*/ 100 w 181"/>
              <a:gd name="T45" fmla="*/ 9 h 153"/>
              <a:gd name="T46" fmla="*/ 90 w 181"/>
              <a:gd name="T47" fmla="*/ 15 h 153"/>
              <a:gd name="T48" fmla="*/ 84 w 181"/>
              <a:gd name="T49" fmla="*/ 15 h 153"/>
              <a:gd name="T50" fmla="*/ 97 w 181"/>
              <a:gd name="T51" fmla="*/ 6 h 153"/>
              <a:gd name="T52" fmla="*/ 90 w 181"/>
              <a:gd name="T53" fmla="*/ 12 h 153"/>
              <a:gd name="T54" fmla="*/ 75 w 181"/>
              <a:gd name="T55" fmla="*/ 12 h 153"/>
              <a:gd name="T56" fmla="*/ 75 w 181"/>
              <a:gd name="T57" fmla="*/ 3 h 153"/>
              <a:gd name="T58" fmla="*/ 81 w 181"/>
              <a:gd name="T59" fmla="*/ 6 h 153"/>
              <a:gd name="T60" fmla="*/ 75 w 181"/>
              <a:gd name="T61" fmla="*/ 3 h 153"/>
              <a:gd name="T62" fmla="*/ 56 w 181"/>
              <a:gd name="T63" fmla="*/ 3 h 153"/>
              <a:gd name="T64" fmla="*/ 47 w 181"/>
              <a:gd name="T65" fmla="*/ 6 h 153"/>
              <a:gd name="T66" fmla="*/ 37 w 181"/>
              <a:gd name="T67" fmla="*/ 9 h 153"/>
              <a:gd name="T68" fmla="*/ 34 w 181"/>
              <a:gd name="T69" fmla="*/ 19 h 153"/>
              <a:gd name="T70" fmla="*/ 18 w 181"/>
              <a:gd name="T71" fmla="*/ 22 h 153"/>
              <a:gd name="T72" fmla="*/ 9 w 181"/>
              <a:gd name="T73" fmla="*/ 28 h 153"/>
              <a:gd name="T74" fmla="*/ 6 w 181"/>
              <a:gd name="T75" fmla="*/ 34 h 153"/>
              <a:gd name="T76" fmla="*/ 6 w 181"/>
              <a:gd name="T77" fmla="*/ 34 h 153"/>
              <a:gd name="T78" fmla="*/ 6 w 181"/>
              <a:gd name="T79" fmla="*/ 50 h 153"/>
              <a:gd name="T80" fmla="*/ 0 w 181"/>
              <a:gd name="T81" fmla="*/ 56 h 153"/>
              <a:gd name="T82" fmla="*/ 6 w 181"/>
              <a:gd name="T83" fmla="*/ 65 h 153"/>
              <a:gd name="T84" fmla="*/ 9 w 181"/>
              <a:gd name="T85" fmla="*/ 75 h 153"/>
              <a:gd name="T86" fmla="*/ 9 w 181"/>
              <a:gd name="T87" fmla="*/ 81 h 153"/>
              <a:gd name="T88" fmla="*/ 15 w 181"/>
              <a:gd name="T89" fmla="*/ 91 h 153"/>
              <a:gd name="T90" fmla="*/ 18 w 181"/>
              <a:gd name="T91" fmla="*/ 103 h 153"/>
              <a:gd name="T92" fmla="*/ 18 w 181"/>
              <a:gd name="T93" fmla="*/ 109 h 153"/>
              <a:gd name="T94" fmla="*/ 22 w 181"/>
              <a:gd name="T95" fmla="*/ 106 h 153"/>
              <a:gd name="T96" fmla="*/ 34 w 181"/>
              <a:gd name="T97" fmla="*/ 106 h 153"/>
              <a:gd name="T98" fmla="*/ 37 w 181"/>
              <a:gd name="T99" fmla="*/ 112 h 153"/>
              <a:gd name="T100" fmla="*/ 43 w 181"/>
              <a:gd name="T101" fmla="*/ 116 h 153"/>
              <a:gd name="T102" fmla="*/ 40 w 181"/>
              <a:gd name="T103" fmla="*/ 122 h 153"/>
              <a:gd name="T104" fmla="*/ 43 w 181"/>
              <a:gd name="T105" fmla="*/ 128 h 153"/>
              <a:gd name="T106" fmla="*/ 47 w 181"/>
              <a:gd name="T107" fmla="*/ 125 h 153"/>
              <a:gd name="T108" fmla="*/ 47 w 181"/>
              <a:gd name="T109" fmla="*/ 119 h 153"/>
              <a:gd name="T110" fmla="*/ 56 w 181"/>
              <a:gd name="T111" fmla="*/ 125 h 153"/>
              <a:gd name="T112" fmla="*/ 62 w 181"/>
              <a:gd name="T113" fmla="*/ 125 h 153"/>
              <a:gd name="T114" fmla="*/ 72 w 181"/>
              <a:gd name="T115" fmla="*/ 128 h 153"/>
              <a:gd name="T116" fmla="*/ 90 w 181"/>
              <a:gd name="T117" fmla="*/ 137 h 153"/>
              <a:gd name="T118" fmla="*/ 97 w 181"/>
              <a:gd name="T119" fmla="*/ 144 h 153"/>
              <a:gd name="T120" fmla="*/ 106 w 181"/>
              <a:gd name="T121" fmla="*/ 144 h 153"/>
              <a:gd name="T122" fmla="*/ 109 w 181"/>
              <a:gd name="T123" fmla="*/ 1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 h="153">
                <a:moveTo>
                  <a:pt x="109" y="150"/>
                </a:moveTo>
                <a:lnTo>
                  <a:pt x="109" y="153"/>
                </a:lnTo>
                <a:lnTo>
                  <a:pt x="112" y="153"/>
                </a:lnTo>
                <a:lnTo>
                  <a:pt x="115" y="147"/>
                </a:lnTo>
                <a:lnTo>
                  <a:pt x="118" y="147"/>
                </a:lnTo>
                <a:lnTo>
                  <a:pt x="122" y="147"/>
                </a:lnTo>
                <a:lnTo>
                  <a:pt x="128" y="147"/>
                </a:lnTo>
                <a:lnTo>
                  <a:pt x="131" y="150"/>
                </a:lnTo>
                <a:lnTo>
                  <a:pt x="131" y="147"/>
                </a:lnTo>
                <a:lnTo>
                  <a:pt x="134" y="147"/>
                </a:lnTo>
                <a:lnTo>
                  <a:pt x="137" y="147"/>
                </a:lnTo>
                <a:lnTo>
                  <a:pt x="140" y="147"/>
                </a:lnTo>
                <a:lnTo>
                  <a:pt x="147" y="147"/>
                </a:lnTo>
                <a:lnTo>
                  <a:pt x="156" y="153"/>
                </a:lnTo>
                <a:lnTo>
                  <a:pt x="159" y="153"/>
                </a:lnTo>
                <a:lnTo>
                  <a:pt x="162" y="147"/>
                </a:lnTo>
                <a:lnTo>
                  <a:pt x="159" y="141"/>
                </a:lnTo>
                <a:lnTo>
                  <a:pt x="172" y="128"/>
                </a:lnTo>
                <a:lnTo>
                  <a:pt x="175" y="122"/>
                </a:lnTo>
                <a:lnTo>
                  <a:pt x="178" y="119"/>
                </a:lnTo>
                <a:lnTo>
                  <a:pt x="181" y="119"/>
                </a:lnTo>
                <a:lnTo>
                  <a:pt x="181" y="112"/>
                </a:lnTo>
                <a:lnTo>
                  <a:pt x="181" y="109"/>
                </a:lnTo>
                <a:lnTo>
                  <a:pt x="178" y="106"/>
                </a:lnTo>
                <a:lnTo>
                  <a:pt x="181" y="103"/>
                </a:lnTo>
                <a:lnTo>
                  <a:pt x="175" y="103"/>
                </a:lnTo>
                <a:lnTo>
                  <a:pt x="175" y="97"/>
                </a:lnTo>
                <a:lnTo>
                  <a:pt x="172" y="94"/>
                </a:lnTo>
                <a:lnTo>
                  <a:pt x="172" y="84"/>
                </a:lnTo>
                <a:lnTo>
                  <a:pt x="172" y="78"/>
                </a:lnTo>
                <a:lnTo>
                  <a:pt x="168" y="72"/>
                </a:lnTo>
                <a:lnTo>
                  <a:pt x="165" y="65"/>
                </a:lnTo>
                <a:lnTo>
                  <a:pt x="168" y="62"/>
                </a:lnTo>
                <a:lnTo>
                  <a:pt x="172" y="59"/>
                </a:lnTo>
                <a:lnTo>
                  <a:pt x="172" y="47"/>
                </a:lnTo>
                <a:lnTo>
                  <a:pt x="172" y="47"/>
                </a:lnTo>
                <a:lnTo>
                  <a:pt x="168" y="40"/>
                </a:lnTo>
                <a:lnTo>
                  <a:pt x="165" y="37"/>
                </a:lnTo>
                <a:lnTo>
                  <a:pt x="165" y="28"/>
                </a:lnTo>
                <a:lnTo>
                  <a:pt x="159" y="22"/>
                </a:lnTo>
                <a:lnTo>
                  <a:pt x="162" y="19"/>
                </a:lnTo>
                <a:lnTo>
                  <a:pt x="159" y="12"/>
                </a:lnTo>
                <a:lnTo>
                  <a:pt x="156" y="9"/>
                </a:lnTo>
                <a:lnTo>
                  <a:pt x="153" y="6"/>
                </a:lnTo>
                <a:lnTo>
                  <a:pt x="125" y="9"/>
                </a:lnTo>
                <a:lnTo>
                  <a:pt x="100" y="9"/>
                </a:lnTo>
                <a:lnTo>
                  <a:pt x="100" y="9"/>
                </a:lnTo>
                <a:lnTo>
                  <a:pt x="90" y="15"/>
                </a:lnTo>
                <a:lnTo>
                  <a:pt x="87" y="15"/>
                </a:lnTo>
                <a:lnTo>
                  <a:pt x="84" y="15"/>
                </a:lnTo>
                <a:lnTo>
                  <a:pt x="90" y="12"/>
                </a:lnTo>
                <a:lnTo>
                  <a:pt x="97" y="6"/>
                </a:lnTo>
                <a:lnTo>
                  <a:pt x="93" y="6"/>
                </a:lnTo>
                <a:lnTo>
                  <a:pt x="90" y="12"/>
                </a:lnTo>
                <a:lnTo>
                  <a:pt x="81" y="15"/>
                </a:lnTo>
                <a:lnTo>
                  <a:pt x="75" y="12"/>
                </a:lnTo>
                <a:lnTo>
                  <a:pt x="72" y="6"/>
                </a:lnTo>
                <a:lnTo>
                  <a:pt x="75" y="3"/>
                </a:lnTo>
                <a:lnTo>
                  <a:pt x="78" y="6"/>
                </a:lnTo>
                <a:lnTo>
                  <a:pt x="81" y="6"/>
                </a:lnTo>
                <a:lnTo>
                  <a:pt x="81" y="6"/>
                </a:lnTo>
                <a:lnTo>
                  <a:pt x="75" y="3"/>
                </a:lnTo>
                <a:lnTo>
                  <a:pt x="65" y="0"/>
                </a:lnTo>
                <a:lnTo>
                  <a:pt x="56" y="3"/>
                </a:lnTo>
                <a:lnTo>
                  <a:pt x="53" y="3"/>
                </a:lnTo>
                <a:lnTo>
                  <a:pt x="47" y="6"/>
                </a:lnTo>
                <a:lnTo>
                  <a:pt x="43" y="9"/>
                </a:lnTo>
                <a:lnTo>
                  <a:pt x="37" y="9"/>
                </a:lnTo>
                <a:lnTo>
                  <a:pt x="34" y="15"/>
                </a:lnTo>
                <a:lnTo>
                  <a:pt x="34" y="19"/>
                </a:lnTo>
                <a:lnTo>
                  <a:pt x="28" y="19"/>
                </a:lnTo>
                <a:lnTo>
                  <a:pt x="18" y="22"/>
                </a:lnTo>
                <a:lnTo>
                  <a:pt x="12" y="22"/>
                </a:lnTo>
                <a:lnTo>
                  <a:pt x="9" y="28"/>
                </a:lnTo>
                <a:lnTo>
                  <a:pt x="6" y="31"/>
                </a:lnTo>
                <a:lnTo>
                  <a:pt x="6" y="34"/>
                </a:lnTo>
                <a:lnTo>
                  <a:pt x="6" y="34"/>
                </a:lnTo>
                <a:lnTo>
                  <a:pt x="6" y="34"/>
                </a:lnTo>
                <a:lnTo>
                  <a:pt x="6" y="44"/>
                </a:lnTo>
                <a:lnTo>
                  <a:pt x="6" y="50"/>
                </a:lnTo>
                <a:lnTo>
                  <a:pt x="0" y="53"/>
                </a:lnTo>
                <a:lnTo>
                  <a:pt x="0" y="56"/>
                </a:lnTo>
                <a:lnTo>
                  <a:pt x="6" y="62"/>
                </a:lnTo>
                <a:lnTo>
                  <a:pt x="6" y="65"/>
                </a:lnTo>
                <a:lnTo>
                  <a:pt x="9" y="72"/>
                </a:lnTo>
                <a:lnTo>
                  <a:pt x="9" y="75"/>
                </a:lnTo>
                <a:lnTo>
                  <a:pt x="9" y="78"/>
                </a:lnTo>
                <a:lnTo>
                  <a:pt x="9" y="81"/>
                </a:lnTo>
                <a:lnTo>
                  <a:pt x="12" y="87"/>
                </a:lnTo>
                <a:lnTo>
                  <a:pt x="15" y="91"/>
                </a:lnTo>
                <a:lnTo>
                  <a:pt x="18" y="94"/>
                </a:lnTo>
                <a:lnTo>
                  <a:pt x="18" y="103"/>
                </a:lnTo>
                <a:lnTo>
                  <a:pt x="15" y="106"/>
                </a:lnTo>
                <a:lnTo>
                  <a:pt x="18" y="109"/>
                </a:lnTo>
                <a:lnTo>
                  <a:pt x="18" y="106"/>
                </a:lnTo>
                <a:lnTo>
                  <a:pt x="22" y="106"/>
                </a:lnTo>
                <a:lnTo>
                  <a:pt x="25" y="106"/>
                </a:lnTo>
                <a:lnTo>
                  <a:pt x="34" y="106"/>
                </a:lnTo>
                <a:lnTo>
                  <a:pt x="34" y="109"/>
                </a:lnTo>
                <a:lnTo>
                  <a:pt x="37" y="112"/>
                </a:lnTo>
                <a:lnTo>
                  <a:pt x="40" y="112"/>
                </a:lnTo>
                <a:lnTo>
                  <a:pt x="43" y="116"/>
                </a:lnTo>
                <a:lnTo>
                  <a:pt x="40" y="119"/>
                </a:lnTo>
                <a:lnTo>
                  <a:pt x="40" y="122"/>
                </a:lnTo>
                <a:lnTo>
                  <a:pt x="43" y="122"/>
                </a:lnTo>
                <a:lnTo>
                  <a:pt x="43" y="128"/>
                </a:lnTo>
                <a:lnTo>
                  <a:pt x="47" y="128"/>
                </a:lnTo>
                <a:lnTo>
                  <a:pt x="47" y="125"/>
                </a:lnTo>
                <a:lnTo>
                  <a:pt x="50" y="125"/>
                </a:lnTo>
                <a:lnTo>
                  <a:pt x="47" y="119"/>
                </a:lnTo>
                <a:lnTo>
                  <a:pt x="47" y="119"/>
                </a:lnTo>
                <a:lnTo>
                  <a:pt x="56" y="125"/>
                </a:lnTo>
                <a:lnTo>
                  <a:pt x="62" y="122"/>
                </a:lnTo>
                <a:lnTo>
                  <a:pt x="62" y="125"/>
                </a:lnTo>
                <a:lnTo>
                  <a:pt x="65" y="131"/>
                </a:lnTo>
                <a:lnTo>
                  <a:pt x="72" y="128"/>
                </a:lnTo>
                <a:lnTo>
                  <a:pt x="78" y="131"/>
                </a:lnTo>
                <a:lnTo>
                  <a:pt x="90" y="137"/>
                </a:lnTo>
                <a:lnTo>
                  <a:pt x="93" y="144"/>
                </a:lnTo>
                <a:lnTo>
                  <a:pt x="97" y="144"/>
                </a:lnTo>
                <a:lnTo>
                  <a:pt x="100" y="144"/>
                </a:lnTo>
                <a:lnTo>
                  <a:pt x="106" y="144"/>
                </a:lnTo>
                <a:lnTo>
                  <a:pt x="109" y="147"/>
                </a:lnTo>
                <a:lnTo>
                  <a:pt x="109" y="15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7" name="Freeform 65">
            <a:extLst>
              <a:ext uri="{FF2B5EF4-FFF2-40B4-BE49-F238E27FC236}">
                <a16:creationId xmlns:a16="http://schemas.microsoft.com/office/drawing/2014/main" id="{D0EED0F1-2DF2-07D5-4365-4462ECF724FC}"/>
              </a:ext>
            </a:extLst>
          </p:cNvPr>
          <p:cNvSpPr>
            <a:spLocks/>
          </p:cNvSpPr>
          <p:nvPr userDrawn="1"/>
        </p:nvSpPr>
        <p:spPr bwMode="auto">
          <a:xfrm>
            <a:off x="13823046" y="5869859"/>
            <a:ext cx="457170" cy="200026"/>
          </a:xfrm>
          <a:custGeom>
            <a:avLst/>
            <a:gdLst>
              <a:gd name="T0" fmla="*/ 53 w 144"/>
              <a:gd name="T1" fmla="*/ 3 h 63"/>
              <a:gd name="T2" fmla="*/ 57 w 144"/>
              <a:gd name="T3" fmla="*/ 0 h 63"/>
              <a:gd name="T4" fmla="*/ 69 w 144"/>
              <a:gd name="T5" fmla="*/ 0 h 63"/>
              <a:gd name="T6" fmla="*/ 72 w 144"/>
              <a:gd name="T7" fmla="*/ 6 h 63"/>
              <a:gd name="T8" fmla="*/ 78 w 144"/>
              <a:gd name="T9" fmla="*/ 10 h 63"/>
              <a:gd name="T10" fmla="*/ 75 w 144"/>
              <a:gd name="T11" fmla="*/ 16 h 63"/>
              <a:gd name="T12" fmla="*/ 78 w 144"/>
              <a:gd name="T13" fmla="*/ 22 h 63"/>
              <a:gd name="T14" fmla="*/ 82 w 144"/>
              <a:gd name="T15" fmla="*/ 19 h 63"/>
              <a:gd name="T16" fmla="*/ 82 w 144"/>
              <a:gd name="T17" fmla="*/ 13 h 63"/>
              <a:gd name="T18" fmla="*/ 91 w 144"/>
              <a:gd name="T19" fmla="*/ 19 h 63"/>
              <a:gd name="T20" fmla="*/ 97 w 144"/>
              <a:gd name="T21" fmla="*/ 19 h 63"/>
              <a:gd name="T22" fmla="*/ 107 w 144"/>
              <a:gd name="T23" fmla="*/ 22 h 63"/>
              <a:gd name="T24" fmla="*/ 125 w 144"/>
              <a:gd name="T25" fmla="*/ 31 h 63"/>
              <a:gd name="T26" fmla="*/ 132 w 144"/>
              <a:gd name="T27" fmla="*/ 38 h 63"/>
              <a:gd name="T28" fmla="*/ 141 w 144"/>
              <a:gd name="T29" fmla="*/ 38 h 63"/>
              <a:gd name="T30" fmla="*/ 144 w 144"/>
              <a:gd name="T31" fmla="*/ 44 h 63"/>
              <a:gd name="T32" fmla="*/ 132 w 144"/>
              <a:gd name="T33" fmla="*/ 47 h 63"/>
              <a:gd name="T34" fmla="*/ 119 w 144"/>
              <a:gd name="T35" fmla="*/ 53 h 63"/>
              <a:gd name="T36" fmla="*/ 107 w 144"/>
              <a:gd name="T37" fmla="*/ 60 h 63"/>
              <a:gd name="T38" fmla="*/ 100 w 144"/>
              <a:gd name="T39" fmla="*/ 56 h 63"/>
              <a:gd name="T40" fmla="*/ 85 w 144"/>
              <a:gd name="T41" fmla="*/ 56 h 63"/>
              <a:gd name="T42" fmla="*/ 78 w 144"/>
              <a:gd name="T43" fmla="*/ 56 h 63"/>
              <a:gd name="T44" fmla="*/ 66 w 144"/>
              <a:gd name="T45" fmla="*/ 53 h 63"/>
              <a:gd name="T46" fmla="*/ 57 w 144"/>
              <a:gd name="T47" fmla="*/ 50 h 63"/>
              <a:gd name="T48" fmla="*/ 53 w 144"/>
              <a:gd name="T49" fmla="*/ 56 h 63"/>
              <a:gd name="T50" fmla="*/ 47 w 144"/>
              <a:gd name="T51" fmla="*/ 60 h 63"/>
              <a:gd name="T52" fmla="*/ 35 w 144"/>
              <a:gd name="T53" fmla="*/ 56 h 63"/>
              <a:gd name="T54" fmla="*/ 32 w 144"/>
              <a:gd name="T55" fmla="*/ 56 h 63"/>
              <a:gd name="T56" fmla="*/ 19 w 144"/>
              <a:gd name="T57" fmla="*/ 44 h 63"/>
              <a:gd name="T58" fmla="*/ 10 w 144"/>
              <a:gd name="T59" fmla="*/ 38 h 63"/>
              <a:gd name="T60" fmla="*/ 10 w 144"/>
              <a:gd name="T61" fmla="*/ 28 h 63"/>
              <a:gd name="T62" fmla="*/ 0 w 144"/>
              <a:gd name="T63" fmla="*/ 19 h 63"/>
              <a:gd name="T64" fmla="*/ 0 w 144"/>
              <a:gd name="T65" fmla="*/ 16 h 63"/>
              <a:gd name="T66" fmla="*/ 7 w 144"/>
              <a:gd name="T67" fmla="*/ 19 h 63"/>
              <a:gd name="T68" fmla="*/ 16 w 144"/>
              <a:gd name="T69" fmla="*/ 13 h 63"/>
              <a:gd name="T70" fmla="*/ 25 w 144"/>
              <a:gd name="T71" fmla="*/ 6 h 63"/>
              <a:gd name="T72" fmla="*/ 35 w 144"/>
              <a:gd name="T73" fmla="*/ 3 h 63"/>
              <a:gd name="T74" fmla="*/ 38 w 144"/>
              <a:gd name="T75" fmla="*/ 3 h 63"/>
              <a:gd name="T76" fmla="*/ 44 w 144"/>
              <a:gd name="T77" fmla="*/ 0 h 63"/>
              <a:gd name="T78" fmla="*/ 50 w 144"/>
              <a:gd name="T7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4" h="63">
                <a:moveTo>
                  <a:pt x="50" y="0"/>
                </a:moveTo>
                <a:lnTo>
                  <a:pt x="53" y="3"/>
                </a:lnTo>
                <a:lnTo>
                  <a:pt x="53" y="0"/>
                </a:lnTo>
                <a:lnTo>
                  <a:pt x="57" y="0"/>
                </a:lnTo>
                <a:lnTo>
                  <a:pt x="60" y="0"/>
                </a:lnTo>
                <a:lnTo>
                  <a:pt x="69" y="0"/>
                </a:lnTo>
                <a:lnTo>
                  <a:pt x="69" y="3"/>
                </a:lnTo>
                <a:lnTo>
                  <a:pt x="72" y="6"/>
                </a:lnTo>
                <a:lnTo>
                  <a:pt x="75" y="6"/>
                </a:lnTo>
                <a:lnTo>
                  <a:pt x="78" y="10"/>
                </a:lnTo>
                <a:lnTo>
                  <a:pt x="75" y="13"/>
                </a:lnTo>
                <a:lnTo>
                  <a:pt x="75" y="16"/>
                </a:lnTo>
                <a:lnTo>
                  <a:pt x="78" y="16"/>
                </a:lnTo>
                <a:lnTo>
                  <a:pt x="78" y="22"/>
                </a:lnTo>
                <a:lnTo>
                  <a:pt x="82" y="22"/>
                </a:lnTo>
                <a:lnTo>
                  <a:pt x="82" y="19"/>
                </a:lnTo>
                <a:lnTo>
                  <a:pt x="85" y="19"/>
                </a:lnTo>
                <a:lnTo>
                  <a:pt x="82" y="13"/>
                </a:lnTo>
                <a:lnTo>
                  <a:pt x="82" y="13"/>
                </a:lnTo>
                <a:lnTo>
                  <a:pt x="91" y="19"/>
                </a:lnTo>
                <a:lnTo>
                  <a:pt x="97" y="16"/>
                </a:lnTo>
                <a:lnTo>
                  <a:pt x="97" y="19"/>
                </a:lnTo>
                <a:lnTo>
                  <a:pt x="100" y="25"/>
                </a:lnTo>
                <a:lnTo>
                  <a:pt x="107" y="22"/>
                </a:lnTo>
                <a:lnTo>
                  <a:pt x="113" y="25"/>
                </a:lnTo>
                <a:lnTo>
                  <a:pt x="125" y="31"/>
                </a:lnTo>
                <a:lnTo>
                  <a:pt x="128" y="38"/>
                </a:lnTo>
                <a:lnTo>
                  <a:pt x="132" y="38"/>
                </a:lnTo>
                <a:lnTo>
                  <a:pt x="135" y="38"/>
                </a:lnTo>
                <a:lnTo>
                  <a:pt x="141" y="38"/>
                </a:lnTo>
                <a:lnTo>
                  <a:pt x="144" y="41"/>
                </a:lnTo>
                <a:lnTo>
                  <a:pt x="144" y="44"/>
                </a:lnTo>
                <a:lnTo>
                  <a:pt x="135" y="44"/>
                </a:lnTo>
                <a:lnTo>
                  <a:pt x="132" y="47"/>
                </a:lnTo>
                <a:lnTo>
                  <a:pt x="125" y="50"/>
                </a:lnTo>
                <a:lnTo>
                  <a:pt x="119" y="53"/>
                </a:lnTo>
                <a:lnTo>
                  <a:pt x="113" y="56"/>
                </a:lnTo>
                <a:lnTo>
                  <a:pt x="107" y="60"/>
                </a:lnTo>
                <a:lnTo>
                  <a:pt x="103" y="56"/>
                </a:lnTo>
                <a:lnTo>
                  <a:pt x="100" y="56"/>
                </a:lnTo>
                <a:lnTo>
                  <a:pt x="94" y="60"/>
                </a:lnTo>
                <a:lnTo>
                  <a:pt x="85" y="56"/>
                </a:lnTo>
                <a:lnTo>
                  <a:pt x="82" y="56"/>
                </a:lnTo>
                <a:lnTo>
                  <a:pt x="78" y="56"/>
                </a:lnTo>
                <a:lnTo>
                  <a:pt x="72" y="56"/>
                </a:lnTo>
                <a:lnTo>
                  <a:pt x="66" y="53"/>
                </a:lnTo>
                <a:lnTo>
                  <a:pt x="60" y="53"/>
                </a:lnTo>
                <a:lnTo>
                  <a:pt x="57" y="50"/>
                </a:lnTo>
                <a:lnTo>
                  <a:pt x="53" y="53"/>
                </a:lnTo>
                <a:lnTo>
                  <a:pt x="53" y="56"/>
                </a:lnTo>
                <a:lnTo>
                  <a:pt x="50" y="60"/>
                </a:lnTo>
                <a:lnTo>
                  <a:pt x="47" y="60"/>
                </a:lnTo>
                <a:lnTo>
                  <a:pt x="44" y="63"/>
                </a:lnTo>
                <a:lnTo>
                  <a:pt x="35" y="56"/>
                </a:lnTo>
                <a:lnTo>
                  <a:pt x="32" y="56"/>
                </a:lnTo>
                <a:lnTo>
                  <a:pt x="32" y="56"/>
                </a:lnTo>
                <a:lnTo>
                  <a:pt x="25" y="47"/>
                </a:lnTo>
                <a:lnTo>
                  <a:pt x="19" y="44"/>
                </a:lnTo>
                <a:lnTo>
                  <a:pt x="13" y="41"/>
                </a:lnTo>
                <a:lnTo>
                  <a:pt x="10" y="38"/>
                </a:lnTo>
                <a:lnTo>
                  <a:pt x="10" y="35"/>
                </a:lnTo>
                <a:lnTo>
                  <a:pt x="10" y="28"/>
                </a:lnTo>
                <a:lnTo>
                  <a:pt x="3" y="22"/>
                </a:lnTo>
                <a:lnTo>
                  <a:pt x="0" y="19"/>
                </a:lnTo>
                <a:lnTo>
                  <a:pt x="0" y="16"/>
                </a:lnTo>
                <a:lnTo>
                  <a:pt x="0" y="16"/>
                </a:lnTo>
                <a:lnTo>
                  <a:pt x="3" y="19"/>
                </a:lnTo>
                <a:lnTo>
                  <a:pt x="7" y="19"/>
                </a:lnTo>
                <a:lnTo>
                  <a:pt x="13" y="13"/>
                </a:lnTo>
                <a:lnTo>
                  <a:pt x="16" y="13"/>
                </a:lnTo>
                <a:lnTo>
                  <a:pt x="19" y="6"/>
                </a:lnTo>
                <a:lnTo>
                  <a:pt x="25" y="6"/>
                </a:lnTo>
                <a:lnTo>
                  <a:pt x="25" y="3"/>
                </a:lnTo>
                <a:lnTo>
                  <a:pt x="35" y="3"/>
                </a:lnTo>
                <a:lnTo>
                  <a:pt x="35" y="6"/>
                </a:lnTo>
                <a:lnTo>
                  <a:pt x="38" y="3"/>
                </a:lnTo>
                <a:lnTo>
                  <a:pt x="38" y="0"/>
                </a:lnTo>
                <a:lnTo>
                  <a:pt x="44" y="0"/>
                </a:lnTo>
                <a:lnTo>
                  <a:pt x="47" y="0"/>
                </a:lnTo>
                <a:lnTo>
                  <a:pt x="50" y="0"/>
                </a:lnTo>
                <a:lnTo>
                  <a:pt x="50" y="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8" name="Freeform 66">
            <a:extLst>
              <a:ext uri="{FF2B5EF4-FFF2-40B4-BE49-F238E27FC236}">
                <a16:creationId xmlns:a16="http://schemas.microsoft.com/office/drawing/2014/main" id="{3BAF052D-6FEE-BAA5-C27F-8C70DFCE5D77}"/>
              </a:ext>
            </a:extLst>
          </p:cNvPr>
          <p:cNvSpPr>
            <a:spLocks/>
          </p:cNvSpPr>
          <p:nvPr userDrawn="1"/>
        </p:nvSpPr>
        <p:spPr bwMode="auto">
          <a:xfrm>
            <a:off x="13467470" y="5533307"/>
            <a:ext cx="523844" cy="625478"/>
          </a:xfrm>
          <a:custGeom>
            <a:avLst/>
            <a:gdLst>
              <a:gd name="T0" fmla="*/ 59 w 165"/>
              <a:gd name="T1" fmla="*/ 3 h 197"/>
              <a:gd name="T2" fmla="*/ 69 w 165"/>
              <a:gd name="T3" fmla="*/ 12 h 197"/>
              <a:gd name="T4" fmla="*/ 72 w 165"/>
              <a:gd name="T5" fmla="*/ 22 h 197"/>
              <a:gd name="T6" fmla="*/ 81 w 165"/>
              <a:gd name="T7" fmla="*/ 19 h 197"/>
              <a:gd name="T8" fmla="*/ 90 w 165"/>
              <a:gd name="T9" fmla="*/ 19 h 197"/>
              <a:gd name="T10" fmla="*/ 84 w 165"/>
              <a:gd name="T11" fmla="*/ 25 h 197"/>
              <a:gd name="T12" fmla="*/ 94 w 165"/>
              <a:gd name="T13" fmla="*/ 28 h 197"/>
              <a:gd name="T14" fmla="*/ 109 w 165"/>
              <a:gd name="T15" fmla="*/ 22 h 197"/>
              <a:gd name="T16" fmla="*/ 115 w 165"/>
              <a:gd name="T17" fmla="*/ 15 h 197"/>
              <a:gd name="T18" fmla="*/ 115 w 165"/>
              <a:gd name="T19" fmla="*/ 19 h 197"/>
              <a:gd name="T20" fmla="*/ 122 w 165"/>
              <a:gd name="T21" fmla="*/ 19 h 197"/>
              <a:gd name="T22" fmla="*/ 134 w 165"/>
              <a:gd name="T23" fmla="*/ 25 h 197"/>
              <a:gd name="T24" fmla="*/ 144 w 165"/>
              <a:gd name="T25" fmla="*/ 34 h 197"/>
              <a:gd name="T26" fmla="*/ 153 w 165"/>
              <a:gd name="T27" fmla="*/ 44 h 197"/>
              <a:gd name="T28" fmla="*/ 153 w 165"/>
              <a:gd name="T29" fmla="*/ 62 h 197"/>
              <a:gd name="T30" fmla="*/ 156 w 165"/>
              <a:gd name="T31" fmla="*/ 78 h 197"/>
              <a:gd name="T32" fmla="*/ 165 w 165"/>
              <a:gd name="T33" fmla="*/ 94 h 197"/>
              <a:gd name="T34" fmla="*/ 156 w 165"/>
              <a:gd name="T35" fmla="*/ 106 h 197"/>
              <a:gd name="T36" fmla="*/ 147 w 165"/>
              <a:gd name="T37" fmla="*/ 109 h 197"/>
              <a:gd name="T38" fmla="*/ 128 w 165"/>
              <a:gd name="T39" fmla="*/ 119 h 197"/>
              <a:gd name="T40" fmla="*/ 112 w 165"/>
              <a:gd name="T41" fmla="*/ 122 h 197"/>
              <a:gd name="T42" fmla="*/ 122 w 165"/>
              <a:gd name="T43" fmla="*/ 134 h 197"/>
              <a:gd name="T44" fmla="*/ 131 w 165"/>
              <a:gd name="T45" fmla="*/ 150 h 197"/>
              <a:gd name="T46" fmla="*/ 144 w 165"/>
              <a:gd name="T47" fmla="*/ 169 h 197"/>
              <a:gd name="T48" fmla="*/ 128 w 165"/>
              <a:gd name="T49" fmla="*/ 181 h 197"/>
              <a:gd name="T50" fmla="*/ 131 w 165"/>
              <a:gd name="T51" fmla="*/ 191 h 197"/>
              <a:gd name="T52" fmla="*/ 115 w 165"/>
              <a:gd name="T53" fmla="*/ 191 h 197"/>
              <a:gd name="T54" fmla="*/ 100 w 165"/>
              <a:gd name="T55" fmla="*/ 194 h 197"/>
              <a:gd name="T56" fmla="*/ 87 w 165"/>
              <a:gd name="T57" fmla="*/ 197 h 197"/>
              <a:gd name="T58" fmla="*/ 75 w 165"/>
              <a:gd name="T59" fmla="*/ 194 h 197"/>
              <a:gd name="T60" fmla="*/ 62 w 165"/>
              <a:gd name="T61" fmla="*/ 191 h 197"/>
              <a:gd name="T62" fmla="*/ 56 w 165"/>
              <a:gd name="T63" fmla="*/ 187 h 197"/>
              <a:gd name="T64" fmla="*/ 44 w 165"/>
              <a:gd name="T65" fmla="*/ 191 h 197"/>
              <a:gd name="T66" fmla="*/ 37 w 165"/>
              <a:gd name="T67" fmla="*/ 187 h 197"/>
              <a:gd name="T68" fmla="*/ 37 w 165"/>
              <a:gd name="T69" fmla="*/ 172 h 197"/>
              <a:gd name="T70" fmla="*/ 40 w 165"/>
              <a:gd name="T71" fmla="*/ 156 h 197"/>
              <a:gd name="T72" fmla="*/ 25 w 165"/>
              <a:gd name="T73" fmla="*/ 153 h 197"/>
              <a:gd name="T74" fmla="*/ 15 w 165"/>
              <a:gd name="T75" fmla="*/ 150 h 197"/>
              <a:gd name="T76" fmla="*/ 9 w 165"/>
              <a:gd name="T77" fmla="*/ 137 h 197"/>
              <a:gd name="T78" fmla="*/ 6 w 165"/>
              <a:gd name="T79" fmla="*/ 122 h 197"/>
              <a:gd name="T80" fmla="*/ 3 w 165"/>
              <a:gd name="T81" fmla="*/ 109 h 197"/>
              <a:gd name="T82" fmla="*/ 3 w 165"/>
              <a:gd name="T83" fmla="*/ 91 h 197"/>
              <a:gd name="T84" fmla="*/ 19 w 165"/>
              <a:gd name="T85" fmla="*/ 84 h 197"/>
              <a:gd name="T86" fmla="*/ 22 w 165"/>
              <a:gd name="T87" fmla="*/ 72 h 197"/>
              <a:gd name="T88" fmla="*/ 15 w 165"/>
              <a:gd name="T89" fmla="*/ 65 h 197"/>
              <a:gd name="T90" fmla="*/ 25 w 165"/>
              <a:gd name="T91" fmla="*/ 59 h 197"/>
              <a:gd name="T92" fmla="*/ 28 w 165"/>
              <a:gd name="T93" fmla="*/ 50 h 197"/>
              <a:gd name="T94" fmla="*/ 22 w 165"/>
              <a:gd name="T95" fmla="*/ 44 h 197"/>
              <a:gd name="T96" fmla="*/ 37 w 165"/>
              <a:gd name="T97" fmla="*/ 37 h 197"/>
              <a:gd name="T98" fmla="*/ 40 w 165"/>
              <a:gd name="T99" fmla="*/ 40 h 197"/>
              <a:gd name="T100" fmla="*/ 44 w 165"/>
              <a:gd name="T101" fmla="*/ 44 h 197"/>
              <a:gd name="T102" fmla="*/ 47 w 165"/>
              <a:gd name="T103" fmla="*/ 37 h 197"/>
              <a:gd name="T104" fmla="*/ 59 w 165"/>
              <a:gd name="T105" fmla="*/ 31 h 197"/>
              <a:gd name="T106" fmla="*/ 59 w 165"/>
              <a:gd name="T107" fmla="*/ 31 h 197"/>
              <a:gd name="T108" fmla="*/ 56 w 165"/>
              <a:gd name="T109" fmla="*/ 25 h 197"/>
              <a:gd name="T110" fmla="*/ 47 w 165"/>
              <a:gd name="T111" fmla="*/ 15 h 197"/>
              <a:gd name="T112" fmla="*/ 50 w 165"/>
              <a:gd name="T113" fmla="*/ 6 h 197"/>
              <a:gd name="T114" fmla="*/ 47 w 165"/>
              <a:gd name="T11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5" h="197">
                <a:moveTo>
                  <a:pt x="47" y="0"/>
                </a:moveTo>
                <a:lnTo>
                  <a:pt x="50" y="0"/>
                </a:lnTo>
                <a:lnTo>
                  <a:pt x="59" y="3"/>
                </a:lnTo>
                <a:lnTo>
                  <a:pt x="59" y="3"/>
                </a:lnTo>
                <a:lnTo>
                  <a:pt x="65" y="3"/>
                </a:lnTo>
                <a:lnTo>
                  <a:pt x="69" y="6"/>
                </a:lnTo>
                <a:lnTo>
                  <a:pt x="72" y="6"/>
                </a:lnTo>
                <a:lnTo>
                  <a:pt x="69" y="12"/>
                </a:lnTo>
                <a:lnTo>
                  <a:pt x="69" y="15"/>
                </a:lnTo>
                <a:lnTo>
                  <a:pt x="69" y="15"/>
                </a:lnTo>
                <a:lnTo>
                  <a:pt x="72" y="19"/>
                </a:lnTo>
                <a:lnTo>
                  <a:pt x="72" y="22"/>
                </a:lnTo>
                <a:lnTo>
                  <a:pt x="75" y="19"/>
                </a:lnTo>
                <a:lnTo>
                  <a:pt x="78" y="15"/>
                </a:lnTo>
                <a:lnTo>
                  <a:pt x="78" y="15"/>
                </a:lnTo>
                <a:lnTo>
                  <a:pt x="81" y="19"/>
                </a:lnTo>
                <a:lnTo>
                  <a:pt x="84" y="22"/>
                </a:lnTo>
                <a:lnTo>
                  <a:pt x="87" y="19"/>
                </a:lnTo>
                <a:lnTo>
                  <a:pt x="90" y="15"/>
                </a:lnTo>
                <a:lnTo>
                  <a:pt x="90" y="19"/>
                </a:lnTo>
                <a:lnTo>
                  <a:pt x="90" y="22"/>
                </a:lnTo>
                <a:lnTo>
                  <a:pt x="87" y="25"/>
                </a:lnTo>
                <a:lnTo>
                  <a:pt x="87" y="25"/>
                </a:lnTo>
                <a:lnTo>
                  <a:pt x="84" y="25"/>
                </a:lnTo>
                <a:lnTo>
                  <a:pt x="87" y="28"/>
                </a:lnTo>
                <a:lnTo>
                  <a:pt x="90" y="28"/>
                </a:lnTo>
                <a:lnTo>
                  <a:pt x="94" y="28"/>
                </a:lnTo>
                <a:lnTo>
                  <a:pt x="94" y="28"/>
                </a:lnTo>
                <a:lnTo>
                  <a:pt x="100" y="28"/>
                </a:lnTo>
                <a:lnTo>
                  <a:pt x="100" y="25"/>
                </a:lnTo>
                <a:lnTo>
                  <a:pt x="103" y="22"/>
                </a:lnTo>
                <a:lnTo>
                  <a:pt x="109" y="22"/>
                </a:lnTo>
                <a:lnTo>
                  <a:pt x="109" y="19"/>
                </a:lnTo>
                <a:lnTo>
                  <a:pt x="112" y="19"/>
                </a:lnTo>
                <a:lnTo>
                  <a:pt x="112" y="15"/>
                </a:lnTo>
                <a:lnTo>
                  <a:pt x="115" y="15"/>
                </a:lnTo>
                <a:lnTo>
                  <a:pt x="122" y="15"/>
                </a:lnTo>
                <a:lnTo>
                  <a:pt x="115" y="15"/>
                </a:lnTo>
                <a:lnTo>
                  <a:pt x="115" y="19"/>
                </a:lnTo>
                <a:lnTo>
                  <a:pt x="115" y="19"/>
                </a:lnTo>
                <a:lnTo>
                  <a:pt x="112" y="19"/>
                </a:lnTo>
                <a:lnTo>
                  <a:pt x="112" y="22"/>
                </a:lnTo>
                <a:lnTo>
                  <a:pt x="119" y="19"/>
                </a:lnTo>
                <a:lnTo>
                  <a:pt x="122" y="19"/>
                </a:lnTo>
                <a:lnTo>
                  <a:pt x="125" y="19"/>
                </a:lnTo>
                <a:lnTo>
                  <a:pt x="125" y="19"/>
                </a:lnTo>
                <a:lnTo>
                  <a:pt x="128" y="19"/>
                </a:lnTo>
                <a:lnTo>
                  <a:pt x="134" y="25"/>
                </a:lnTo>
                <a:lnTo>
                  <a:pt x="137" y="25"/>
                </a:lnTo>
                <a:lnTo>
                  <a:pt x="140" y="28"/>
                </a:lnTo>
                <a:lnTo>
                  <a:pt x="137" y="31"/>
                </a:lnTo>
                <a:lnTo>
                  <a:pt x="144" y="34"/>
                </a:lnTo>
                <a:lnTo>
                  <a:pt x="147" y="34"/>
                </a:lnTo>
                <a:lnTo>
                  <a:pt x="147" y="34"/>
                </a:lnTo>
                <a:lnTo>
                  <a:pt x="153" y="34"/>
                </a:lnTo>
                <a:lnTo>
                  <a:pt x="153" y="44"/>
                </a:lnTo>
                <a:lnTo>
                  <a:pt x="153" y="50"/>
                </a:lnTo>
                <a:lnTo>
                  <a:pt x="147" y="53"/>
                </a:lnTo>
                <a:lnTo>
                  <a:pt x="147" y="56"/>
                </a:lnTo>
                <a:lnTo>
                  <a:pt x="153" y="62"/>
                </a:lnTo>
                <a:lnTo>
                  <a:pt x="153" y="65"/>
                </a:lnTo>
                <a:lnTo>
                  <a:pt x="156" y="72"/>
                </a:lnTo>
                <a:lnTo>
                  <a:pt x="156" y="75"/>
                </a:lnTo>
                <a:lnTo>
                  <a:pt x="156" y="78"/>
                </a:lnTo>
                <a:lnTo>
                  <a:pt x="156" y="81"/>
                </a:lnTo>
                <a:lnTo>
                  <a:pt x="159" y="87"/>
                </a:lnTo>
                <a:lnTo>
                  <a:pt x="162" y="91"/>
                </a:lnTo>
                <a:lnTo>
                  <a:pt x="165" y="94"/>
                </a:lnTo>
                <a:lnTo>
                  <a:pt x="165" y="103"/>
                </a:lnTo>
                <a:lnTo>
                  <a:pt x="162" y="106"/>
                </a:lnTo>
                <a:lnTo>
                  <a:pt x="159" y="106"/>
                </a:lnTo>
                <a:lnTo>
                  <a:pt x="156" y="106"/>
                </a:lnTo>
                <a:lnTo>
                  <a:pt x="150" y="106"/>
                </a:lnTo>
                <a:lnTo>
                  <a:pt x="150" y="109"/>
                </a:lnTo>
                <a:lnTo>
                  <a:pt x="147" y="112"/>
                </a:lnTo>
                <a:lnTo>
                  <a:pt x="147" y="109"/>
                </a:lnTo>
                <a:lnTo>
                  <a:pt x="137" y="109"/>
                </a:lnTo>
                <a:lnTo>
                  <a:pt x="137" y="112"/>
                </a:lnTo>
                <a:lnTo>
                  <a:pt x="131" y="112"/>
                </a:lnTo>
                <a:lnTo>
                  <a:pt x="128" y="119"/>
                </a:lnTo>
                <a:lnTo>
                  <a:pt x="125" y="119"/>
                </a:lnTo>
                <a:lnTo>
                  <a:pt x="119" y="125"/>
                </a:lnTo>
                <a:lnTo>
                  <a:pt x="115" y="125"/>
                </a:lnTo>
                <a:lnTo>
                  <a:pt x="112" y="122"/>
                </a:lnTo>
                <a:lnTo>
                  <a:pt x="112" y="122"/>
                </a:lnTo>
                <a:lnTo>
                  <a:pt x="112" y="125"/>
                </a:lnTo>
                <a:lnTo>
                  <a:pt x="115" y="128"/>
                </a:lnTo>
                <a:lnTo>
                  <a:pt x="122" y="134"/>
                </a:lnTo>
                <a:lnTo>
                  <a:pt x="122" y="141"/>
                </a:lnTo>
                <a:lnTo>
                  <a:pt x="122" y="144"/>
                </a:lnTo>
                <a:lnTo>
                  <a:pt x="125" y="147"/>
                </a:lnTo>
                <a:lnTo>
                  <a:pt x="131" y="150"/>
                </a:lnTo>
                <a:lnTo>
                  <a:pt x="137" y="153"/>
                </a:lnTo>
                <a:lnTo>
                  <a:pt x="144" y="162"/>
                </a:lnTo>
                <a:lnTo>
                  <a:pt x="144" y="166"/>
                </a:lnTo>
                <a:lnTo>
                  <a:pt x="144" y="169"/>
                </a:lnTo>
                <a:lnTo>
                  <a:pt x="140" y="169"/>
                </a:lnTo>
                <a:lnTo>
                  <a:pt x="137" y="172"/>
                </a:lnTo>
                <a:lnTo>
                  <a:pt x="134" y="175"/>
                </a:lnTo>
                <a:lnTo>
                  <a:pt x="128" y="181"/>
                </a:lnTo>
                <a:lnTo>
                  <a:pt x="128" y="184"/>
                </a:lnTo>
                <a:lnTo>
                  <a:pt x="134" y="187"/>
                </a:lnTo>
                <a:lnTo>
                  <a:pt x="134" y="191"/>
                </a:lnTo>
                <a:lnTo>
                  <a:pt x="131" y="191"/>
                </a:lnTo>
                <a:lnTo>
                  <a:pt x="128" y="191"/>
                </a:lnTo>
                <a:lnTo>
                  <a:pt x="122" y="191"/>
                </a:lnTo>
                <a:lnTo>
                  <a:pt x="119" y="191"/>
                </a:lnTo>
                <a:lnTo>
                  <a:pt x="115" y="191"/>
                </a:lnTo>
                <a:lnTo>
                  <a:pt x="109" y="194"/>
                </a:lnTo>
                <a:lnTo>
                  <a:pt x="106" y="194"/>
                </a:lnTo>
                <a:lnTo>
                  <a:pt x="103" y="194"/>
                </a:lnTo>
                <a:lnTo>
                  <a:pt x="100" y="194"/>
                </a:lnTo>
                <a:lnTo>
                  <a:pt x="97" y="194"/>
                </a:lnTo>
                <a:lnTo>
                  <a:pt x="90" y="191"/>
                </a:lnTo>
                <a:lnTo>
                  <a:pt x="84" y="194"/>
                </a:lnTo>
                <a:lnTo>
                  <a:pt x="87" y="197"/>
                </a:lnTo>
                <a:lnTo>
                  <a:pt x="84" y="197"/>
                </a:lnTo>
                <a:lnTo>
                  <a:pt x="81" y="197"/>
                </a:lnTo>
                <a:lnTo>
                  <a:pt x="78" y="194"/>
                </a:lnTo>
                <a:lnTo>
                  <a:pt x="75" y="194"/>
                </a:lnTo>
                <a:lnTo>
                  <a:pt x="72" y="194"/>
                </a:lnTo>
                <a:lnTo>
                  <a:pt x="72" y="194"/>
                </a:lnTo>
                <a:lnTo>
                  <a:pt x="69" y="194"/>
                </a:lnTo>
                <a:lnTo>
                  <a:pt x="62" y="191"/>
                </a:lnTo>
                <a:lnTo>
                  <a:pt x="59" y="191"/>
                </a:lnTo>
                <a:lnTo>
                  <a:pt x="59" y="191"/>
                </a:lnTo>
                <a:lnTo>
                  <a:pt x="56" y="191"/>
                </a:lnTo>
                <a:lnTo>
                  <a:pt x="56" y="187"/>
                </a:lnTo>
                <a:lnTo>
                  <a:pt x="50" y="187"/>
                </a:lnTo>
                <a:lnTo>
                  <a:pt x="50" y="191"/>
                </a:lnTo>
                <a:lnTo>
                  <a:pt x="50" y="194"/>
                </a:lnTo>
                <a:lnTo>
                  <a:pt x="44" y="191"/>
                </a:lnTo>
                <a:lnTo>
                  <a:pt x="40" y="194"/>
                </a:lnTo>
                <a:lnTo>
                  <a:pt x="37" y="194"/>
                </a:lnTo>
                <a:lnTo>
                  <a:pt x="37" y="194"/>
                </a:lnTo>
                <a:lnTo>
                  <a:pt x="37" y="187"/>
                </a:lnTo>
                <a:lnTo>
                  <a:pt x="34" y="187"/>
                </a:lnTo>
                <a:lnTo>
                  <a:pt x="34" y="181"/>
                </a:lnTo>
                <a:lnTo>
                  <a:pt x="34" y="175"/>
                </a:lnTo>
                <a:lnTo>
                  <a:pt x="37" y="172"/>
                </a:lnTo>
                <a:lnTo>
                  <a:pt x="37" y="169"/>
                </a:lnTo>
                <a:lnTo>
                  <a:pt x="40" y="162"/>
                </a:lnTo>
                <a:lnTo>
                  <a:pt x="44" y="159"/>
                </a:lnTo>
                <a:lnTo>
                  <a:pt x="40" y="156"/>
                </a:lnTo>
                <a:lnTo>
                  <a:pt x="37" y="156"/>
                </a:lnTo>
                <a:lnTo>
                  <a:pt x="31" y="153"/>
                </a:lnTo>
                <a:lnTo>
                  <a:pt x="28" y="153"/>
                </a:lnTo>
                <a:lnTo>
                  <a:pt x="25" y="153"/>
                </a:lnTo>
                <a:lnTo>
                  <a:pt x="22" y="153"/>
                </a:lnTo>
                <a:lnTo>
                  <a:pt x="19" y="156"/>
                </a:lnTo>
                <a:lnTo>
                  <a:pt x="15" y="153"/>
                </a:lnTo>
                <a:lnTo>
                  <a:pt x="15" y="150"/>
                </a:lnTo>
                <a:lnTo>
                  <a:pt x="12" y="147"/>
                </a:lnTo>
                <a:lnTo>
                  <a:pt x="12" y="147"/>
                </a:lnTo>
                <a:lnTo>
                  <a:pt x="12" y="141"/>
                </a:lnTo>
                <a:lnTo>
                  <a:pt x="9" y="137"/>
                </a:lnTo>
                <a:lnTo>
                  <a:pt x="9" y="134"/>
                </a:lnTo>
                <a:lnTo>
                  <a:pt x="6" y="128"/>
                </a:lnTo>
                <a:lnTo>
                  <a:pt x="3" y="128"/>
                </a:lnTo>
                <a:lnTo>
                  <a:pt x="6" y="122"/>
                </a:lnTo>
                <a:lnTo>
                  <a:pt x="3" y="119"/>
                </a:lnTo>
                <a:lnTo>
                  <a:pt x="3" y="116"/>
                </a:lnTo>
                <a:lnTo>
                  <a:pt x="0" y="112"/>
                </a:lnTo>
                <a:lnTo>
                  <a:pt x="3" y="109"/>
                </a:lnTo>
                <a:lnTo>
                  <a:pt x="0" y="109"/>
                </a:lnTo>
                <a:lnTo>
                  <a:pt x="3" y="103"/>
                </a:lnTo>
                <a:lnTo>
                  <a:pt x="3" y="97"/>
                </a:lnTo>
                <a:lnTo>
                  <a:pt x="3" y="91"/>
                </a:lnTo>
                <a:lnTo>
                  <a:pt x="6" y="87"/>
                </a:lnTo>
                <a:lnTo>
                  <a:pt x="9" y="84"/>
                </a:lnTo>
                <a:lnTo>
                  <a:pt x="12" y="84"/>
                </a:lnTo>
                <a:lnTo>
                  <a:pt x="19" y="84"/>
                </a:lnTo>
                <a:lnTo>
                  <a:pt x="22" y="81"/>
                </a:lnTo>
                <a:lnTo>
                  <a:pt x="19" y="78"/>
                </a:lnTo>
                <a:lnTo>
                  <a:pt x="22" y="78"/>
                </a:lnTo>
                <a:lnTo>
                  <a:pt x="22" y="72"/>
                </a:lnTo>
                <a:lnTo>
                  <a:pt x="22" y="72"/>
                </a:lnTo>
                <a:lnTo>
                  <a:pt x="22" y="69"/>
                </a:lnTo>
                <a:lnTo>
                  <a:pt x="15" y="69"/>
                </a:lnTo>
                <a:lnTo>
                  <a:pt x="15" y="65"/>
                </a:lnTo>
                <a:lnTo>
                  <a:pt x="19" y="62"/>
                </a:lnTo>
                <a:lnTo>
                  <a:pt x="22" y="65"/>
                </a:lnTo>
                <a:lnTo>
                  <a:pt x="25" y="62"/>
                </a:lnTo>
                <a:lnTo>
                  <a:pt x="25" y="59"/>
                </a:lnTo>
                <a:lnTo>
                  <a:pt x="25" y="56"/>
                </a:lnTo>
                <a:lnTo>
                  <a:pt x="25" y="53"/>
                </a:lnTo>
                <a:lnTo>
                  <a:pt x="28" y="50"/>
                </a:lnTo>
                <a:lnTo>
                  <a:pt x="28" y="50"/>
                </a:lnTo>
                <a:lnTo>
                  <a:pt x="28" y="50"/>
                </a:lnTo>
                <a:lnTo>
                  <a:pt x="28" y="47"/>
                </a:lnTo>
                <a:lnTo>
                  <a:pt x="22" y="47"/>
                </a:lnTo>
                <a:lnTo>
                  <a:pt x="22" y="44"/>
                </a:lnTo>
                <a:lnTo>
                  <a:pt x="22" y="37"/>
                </a:lnTo>
                <a:lnTo>
                  <a:pt x="31" y="37"/>
                </a:lnTo>
                <a:lnTo>
                  <a:pt x="31" y="34"/>
                </a:lnTo>
                <a:lnTo>
                  <a:pt x="37" y="37"/>
                </a:lnTo>
                <a:lnTo>
                  <a:pt x="37" y="44"/>
                </a:lnTo>
                <a:lnTo>
                  <a:pt x="40" y="47"/>
                </a:lnTo>
                <a:lnTo>
                  <a:pt x="44" y="44"/>
                </a:lnTo>
                <a:lnTo>
                  <a:pt x="40" y="40"/>
                </a:lnTo>
                <a:lnTo>
                  <a:pt x="40" y="37"/>
                </a:lnTo>
                <a:lnTo>
                  <a:pt x="44" y="37"/>
                </a:lnTo>
                <a:lnTo>
                  <a:pt x="44" y="40"/>
                </a:lnTo>
                <a:lnTo>
                  <a:pt x="44" y="44"/>
                </a:lnTo>
                <a:lnTo>
                  <a:pt x="50" y="50"/>
                </a:lnTo>
                <a:lnTo>
                  <a:pt x="47" y="47"/>
                </a:lnTo>
                <a:lnTo>
                  <a:pt x="47" y="40"/>
                </a:lnTo>
                <a:lnTo>
                  <a:pt x="47" y="37"/>
                </a:lnTo>
                <a:lnTo>
                  <a:pt x="50" y="34"/>
                </a:lnTo>
                <a:lnTo>
                  <a:pt x="53" y="31"/>
                </a:lnTo>
                <a:lnTo>
                  <a:pt x="56" y="34"/>
                </a:lnTo>
                <a:lnTo>
                  <a:pt x="59" y="31"/>
                </a:lnTo>
                <a:lnTo>
                  <a:pt x="65" y="40"/>
                </a:lnTo>
                <a:lnTo>
                  <a:pt x="75" y="40"/>
                </a:lnTo>
                <a:lnTo>
                  <a:pt x="65" y="37"/>
                </a:lnTo>
                <a:lnTo>
                  <a:pt x="59" y="31"/>
                </a:lnTo>
                <a:lnTo>
                  <a:pt x="56" y="31"/>
                </a:lnTo>
                <a:lnTo>
                  <a:pt x="53" y="28"/>
                </a:lnTo>
                <a:lnTo>
                  <a:pt x="53" y="25"/>
                </a:lnTo>
                <a:lnTo>
                  <a:pt x="56" y="25"/>
                </a:lnTo>
                <a:lnTo>
                  <a:pt x="53" y="22"/>
                </a:lnTo>
                <a:lnTo>
                  <a:pt x="53" y="19"/>
                </a:lnTo>
                <a:lnTo>
                  <a:pt x="47" y="19"/>
                </a:lnTo>
                <a:lnTo>
                  <a:pt x="47" y="15"/>
                </a:lnTo>
                <a:lnTo>
                  <a:pt x="50" y="15"/>
                </a:lnTo>
                <a:lnTo>
                  <a:pt x="56" y="12"/>
                </a:lnTo>
                <a:lnTo>
                  <a:pt x="50" y="9"/>
                </a:lnTo>
                <a:lnTo>
                  <a:pt x="50" y="6"/>
                </a:lnTo>
                <a:lnTo>
                  <a:pt x="50" y="6"/>
                </a:lnTo>
                <a:lnTo>
                  <a:pt x="47" y="6"/>
                </a:lnTo>
                <a:lnTo>
                  <a:pt x="47" y="3"/>
                </a:lnTo>
                <a:lnTo>
                  <a:pt x="47" y="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9" name="Freeform 67">
            <a:extLst>
              <a:ext uri="{FF2B5EF4-FFF2-40B4-BE49-F238E27FC236}">
                <a16:creationId xmlns:a16="http://schemas.microsoft.com/office/drawing/2014/main" id="{E4FBC5A0-5349-97B7-A00A-2FDB0A2347A5}"/>
              </a:ext>
            </a:extLst>
          </p:cNvPr>
          <p:cNvSpPr>
            <a:spLocks/>
          </p:cNvSpPr>
          <p:nvPr userDrawn="1"/>
        </p:nvSpPr>
        <p:spPr bwMode="auto">
          <a:xfrm>
            <a:off x="13696056" y="6168307"/>
            <a:ext cx="9525" cy="19050"/>
          </a:xfrm>
          <a:custGeom>
            <a:avLst/>
            <a:gdLst>
              <a:gd name="T0" fmla="*/ 0 w 3"/>
              <a:gd name="T1" fmla="*/ 0 h 6"/>
              <a:gd name="T2" fmla="*/ 3 w 3"/>
              <a:gd name="T3" fmla="*/ 0 h 6"/>
              <a:gd name="T4" fmla="*/ 3 w 3"/>
              <a:gd name="T5" fmla="*/ 6 h 6"/>
              <a:gd name="T6" fmla="*/ 0 w 3"/>
              <a:gd name="T7" fmla="*/ 6 h 6"/>
              <a:gd name="T8" fmla="*/ 0 w 3"/>
              <a:gd name="T9" fmla="*/ 3 h 6"/>
              <a:gd name="T10" fmla="*/ 0 w 3"/>
              <a:gd name="T11" fmla="*/ 0 h 6"/>
              <a:gd name="T12" fmla="*/ 0 w 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 h="6">
                <a:moveTo>
                  <a:pt x="0" y="0"/>
                </a:moveTo>
                <a:lnTo>
                  <a:pt x="3" y="0"/>
                </a:lnTo>
                <a:lnTo>
                  <a:pt x="3" y="6"/>
                </a:lnTo>
                <a:lnTo>
                  <a:pt x="0" y="6"/>
                </a:lnTo>
                <a:lnTo>
                  <a:pt x="0" y="3"/>
                </a:lnTo>
                <a:lnTo>
                  <a:pt x="0" y="0"/>
                </a:lnTo>
                <a:lnTo>
                  <a:pt x="0" y="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0" name="Freeform 68">
            <a:extLst>
              <a:ext uri="{FF2B5EF4-FFF2-40B4-BE49-F238E27FC236}">
                <a16:creationId xmlns:a16="http://schemas.microsoft.com/office/drawing/2014/main" id="{7DDF81D5-4C50-6EC4-D10E-3377107E7EF7}"/>
              </a:ext>
            </a:extLst>
          </p:cNvPr>
          <p:cNvSpPr>
            <a:spLocks/>
          </p:cNvSpPr>
          <p:nvPr userDrawn="1"/>
        </p:nvSpPr>
        <p:spPr bwMode="auto">
          <a:xfrm>
            <a:off x="13476998" y="6127033"/>
            <a:ext cx="288907" cy="161926"/>
          </a:xfrm>
          <a:custGeom>
            <a:avLst/>
            <a:gdLst>
              <a:gd name="T0" fmla="*/ 37 w 91"/>
              <a:gd name="T1" fmla="*/ 7 h 51"/>
              <a:gd name="T2" fmla="*/ 47 w 91"/>
              <a:gd name="T3" fmla="*/ 7 h 51"/>
              <a:gd name="T4" fmla="*/ 47 w 91"/>
              <a:gd name="T5" fmla="*/ 0 h 51"/>
              <a:gd name="T6" fmla="*/ 53 w 91"/>
              <a:gd name="T7" fmla="*/ 4 h 51"/>
              <a:gd name="T8" fmla="*/ 56 w 91"/>
              <a:gd name="T9" fmla="*/ 4 h 51"/>
              <a:gd name="T10" fmla="*/ 66 w 91"/>
              <a:gd name="T11" fmla="*/ 7 h 51"/>
              <a:gd name="T12" fmla="*/ 69 w 91"/>
              <a:gd name="T13" fmla="*/ 13 h 51"/>
              <a:gd name="T14" fmla="*/ 69 w 91"/>
              <a:gd name="T15" fmla="*/ 19 h 51"/>
              <a:gd name="T16" fmla="*/ 78 w 91"/>
              <a:gd name="T17" fmla="*/ 16 h 51"/>
              <a:gd name="T18" fmla="*/ 84 w 91"/>
              <a:gd name="T19" fmla="*/ 19 h 51"/>
              <a:gd name="T20" fmla="*/ 91 w 91"/>
              <a:gd name="T21" fmla="*/ 22 h 51"/>
              <a:gd name="T22" fmla="*/ 87 w 91"/>
              <a:gd name="T23" fmla="*/ 32 h 51"/>
              <a:gd name="T24" fmla="*/ 78 w 91"/>
              <a:gd name="T25" fmla="*/ 41 h 51"/>
              <a:gd name="T26" fmla="*/ 72 w 91"/>
              <a:gd name="T27" fmla="*/ 38 h 51"/>
              <a:gd name="T28" fmla="*/ 62 w 91"/>
              <a:gd name="T29" fmla="*/ 41 h 51"/>
              <a:gd name="T30" fmla="*/ 59 w 91"/>
              <a:gd name="T31" fmla="*/ 44 h 51"/>
              <a:gd name="T32" fmla="*/ 53 w 91"/>
              <a:gd name="T33" fmla="*/ 38 h 51"/>
              <a:gd name="T34" fmla="*/ 41 w 91"/>
              <a:gd name="T35" fmla="*/ 47 h 51"/>
              <a:gd name="T36" fmla="*/ 28 w 91"/>
              <a:gd name="T37" fmla="*/ 51 h 51"/>
              <a:gd name="T38" fmla="*/ 22 w 91"/>
              <a:gd name="T39" fmla="*/ 44 h 51"/>
              <a:gd name="T40" fmla="*/ 19 w 91"/>
              <a:gd name="T41" fmla="*/ 38 h 51"/>
              <a:gd name="T42" fmla="*/ 12 w 91"/>
              <a:gd name="T43" fmla="*/ 35 h 51"/>
              <a:gd name="T44" fmla="*/ 9 w 91"/>
              <a:gd name="T45" fmla="*/ 41 h 51"/>
              <a:gd name="T46" fmla="*/ 3 w 91"/>
              <a:gd name="T47" fmla="*/ 44 h 51"/>
              <a:gd name="T48" fmla="*/ 3 w 91"/>
              <a:gd name="T49" fmla="*/ 38 h 51"/>
              <a:gd name="T50" fmla="*/ 6 w 91"/>
              <a:gd name="T51" fmla="*/ 35 h 51"/>
              <a:gd name="T52" fmla="*/ 12 w 91"/>
              <a:gd name="T53" fmla="*/ 22 h 51"/>
              <a:gd name="T54" fmla="*/ 19 w 91"/>
              <a:gd name="T55" fmla="*/ 16 h 51"/>
              <a:gd name="T56" fmla="*/ 22 w 91"/>
              <a:gd name="T57" fmla="*/ 10 h 51"/>
              <a:gd name="T58" fmla="*/ 19 w 91"/>
              <a:gd name="T59" fmla="*/ 4 h 51"/>
              <a:gd name="T60" fmla="*/ 25 w 91"/>
              <a:gd name="T61" fmla="*/ 7 h 51"/>
              <a:gd name="T62" fmla="*/ 34 w 91"/>
              <a:gd name="T63" fmla="*/ 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51">
                <a:moveTo>
                  <a:pt x="34" y="7"/>
                </a:moveTo>
                <a:lnTo>
                  <a:pt x="37" y="7"/>
                </a:lnTo>
                <a:lnTo>
                  <a:pt x="41" y="4"/>
                </a:lnTo>
                <a:lnTo>
                  <a:pt x="47" y="7"/>
                </a:lnTo>
                <a:lnTo>
                  <a:pt x="47" y="4"/>
                </a:lnTo>
                <a:lnTo>
                  <a:pt x="47" y="0"/>
                </a:lnTo>
                <a:lnTo>
                  <a:pt x="53" y="0"/>
                </a:lnTo>
                <a:lnTo>
                  <a:pt x="53" y="4"/>
                </a:lnTo>
                <a:lnTo>
                  <a:pt x="56" y="4"/>
                </a:lnTo>
                <a:lnTo>
                  <a:pt x="56" y="4"/>
                </a:lnTo>
                <a:lnTo>
                  <a:pt x="59" y="4"/>
                </a:lnTo>
                <a:lnTo>
                  <a:pt x="66" y="7"/>
                </a:lnTo>
                <a:lnTo>
                  <a:pt x="69" y="10"/>
                </a:lnTo>
                <a:lnTo>
                  <a:pt x="69" y="13"/>
                </a:lnTo>
                <a:lnTo>
                  <a:pt x="69" y="16"/>
                </a:lnTo>
                <a:lnTo>
                  <a:pt x="69" y="19"/>
                </a:lnTo>
                <a:lnTo>
                  <a:pt x="75" y="19"/>
                </a:lnTo>
                <a:lnTo>
                  <a:pt x="78" y="16"/>
                </a:lnTo>
                <a:lnTo>
                  <a:pt x="81" y="22"/>
                </a:lnTo>
                <a:lnTo>
                  <a:pt x="84" y="19"/>
                </a:lnTo>
                <a:lnTo>
                  <a:pt x="87" y="19"/>
                </a:lnTo>
                <a:lnTo>
                  <a:pt x="91" y="22"/>
                </a:lnTo>
                <a:lnTo>
                  <a:pt x="84" y="26"/>
                </a:lnTo>
                <a:lnTo>
                  <a:pt x="87" y="32"/>
                </a:lnTo>
                <a:lnTo>
                  <a:pt x="81" y="35"/>
                </a:lnTo>
                <a:lnTo>
                  <a:pt x="78" y="41"/>
                </a:lnTo>
                <a:lnTo>
                  <a:pt x="75" y="38"/>
                </a:lnTo>
                <a:lnTo>
                  <a:pt x="72" y="38"/>
                </a:lnTo>
                <a:lnTo>
                  <a:pt x="62" y="35"/>
                </a:lnTo>
                <a:lnTo>
                  <a:pt x="62" y="41"/>
                </a:lnTo>
                <a:lnTo>
                  <a:pt x="59" y="47"/>
                </a:lnTo>
                <a:lnTo>
                  <a:pt x="59" y="44"/>
                </a:lnTo>
                <a:lnTo>
                  <a:pt x="53" y="41"/>
                </a:lnTo>
                <a:lnTo>
                  <a:pt x="53" y="38"/>
                </a:lnTo>
                <a:lnTo>
                  <a:pt x="47" y="35"/>
                </a:lnTo>
                <a:lnTo>
                  <a:pt x="41" y="47"/>
                </a:lnTo>
                <a:lnTo>
                  <a:pt x="34" y="44"/>
                </a:lnTo>
                <a:lnTo>
                  <a:pt x="28" y="51"/>
                </a:lnTo>
                <a:lnTo>
                  <a:pt x="25" y="47"/>
                </a:lnTo>
                <a:lnTo>
                  <a:pt x="22" y="44"/>
                </a:lnTo>
                <a:lnTo>
                  <a:pt x="22" y="44"/>
                </a:lnTo>
                <a:lnTo>
                  <a:pt x="19" y="38"/>
                </a:lnTo>
                <a:lnTo>
                  <a:pt x="19" y="35"/>
                </a:lnTo>
                <a:lnTo>
                  <a:pt x="12" y="35"/>
                </a:lnTo>
                <a:lnTo>
                  <a:pt x="9" y="38"/>
                </a:lnTo>
                <a:lnTo>
                  <a:pt x="9" y="41"/>
                </a:lnTo>
                <a:lnTo>
                  <a:pt x="6" y="44"/>
                </a:lnTo>
                <a:lnTo>
                  <a:pt x="3" y="44"/>
                </a:lnTo>
                <a:lnTo>
                  <a:pt x="0" y="41"/>
                </a:lnTo>
                <a:lnTo>
                  <a:pt x="3" y="38"/>
                </a:lnTo>
                <a:lnTo>
                  <a:pt x="6" y="38"/>
                </a:lnTo>
                <a:lnTo>
                  <a:pt x="6" y="35"/>
                </a:lnTo>
                <a:lnTo>
                  <a:pt x="6" y="29"/>
                </a:lnTo>
                <a:lnTo>
                  <a:pt x="12" y="22"/>
                </a:lnTo>
                <a:lnTo>
                  <a:pt x="16" y="19"/>
                </a:lnTo>
                <a:lnTo>
                  <a:pt x="19" y="16"/>
                </a:lnTo>
                <a:lnTo>
                  <a:pt x="22" y="13"/>
                </a:lnTo>
                <a:lnTo>
                  <a:pt x="22" y="10"/>
                </a:lnTo>
                <a:lnTo>
                  <a:pt x="19" y="7"/>
                </a:lnTo>
                <a:lnTo>
                  <a:pt x="19" y="4"/>
                </a:lnTo>
                <a:lnTo>
                  <a:pt x="25" y="4"/>
                </a:lnTo>
                <a:lnTo>
                  <a:pt x="25" y="7"/>
                </a:lnTo>
                <a:lnTo>
                  <a:pt x="28" y="7"/>
                </a:lnTo>
                <a:lnTo>
                  <a:pt x="34" y="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1" name="Freeform 69">
            <a:extLst>
              <a:ext uri="{FF2B5EF4-FFF2-40B4-BE49-F238E27FC236}">
                <a16:creationId xmlns:a16="http://schemas.microsoft.com/office/drawing/2014/main" id="{B36EF9A7-06E3-9340-8321-C72B67438A75}"/>
              </a:ext>
            </a:extLst>
          </p:cNvPr>
          <p:cNvSpPr>
            <a:spLocks noEditPoints="1"/>
          </p:cNvSpPr>
          <p:nvPr userDrawn="1"/>
        </p:nvSpPr>
        <p:spPr bwMode="auto">
          <a:xfrm>
            <a:off x="13327779" y="5673008"/>
            <a:ext cx="228585" cy="206376"/>
          </a:xfrm>
          <a:custGeom>
            <a:avLst/>
            <a:gdLst>
              <a:gd name="T0" fmla="*/ 47 w 72"/>
              <a:gd name="T1" fmla="*/ 59 h 65"/>
              <a:gd name="T2" fmla="*/ 47 w 72"/>
              <a:gd name="T3" fmla="*/ 47 h 65"/>
              <a:gd name="T4" fmla="*/ 53 w 72"/>
              <a:gd name="T5" fmla="*/ 40 h 65"/>
              <a:gd name="T6" fmla="*/ 63 w 72"/>
              <a:gd name="T7" fmla="*/ 40 h 65"/>
              <a:gd name="T8" fmla="*/ 63 w 72"/>
              <a:gd name="T9" fmla="*/ 34 h 65"/>
              <a:gd name="T10" fmla="*/ 66 w 72"/>
              <a:gd name="T11" fmla="*/ 28 h 65"/>
              <a:gd name="T12" fmla="*/ 66 w 72"/>
              <a:gd name="T13" fmla="*/ 25 h 65"/>
              <a:gd name="T14" fmla="*/ 59 w 72"/>
              <a:gd name="T15" fmla="*/ 21 h 65"/>
              <a:gd name="T16" fmla="*/ 66 w 72"/>
              <a:gd name="T17" fmla="*/ 21 h 65"/>
              <a:gd name="T18" fmla="*/ 69 w 72"/>
              <a:gd name="T19" fmla="*/ 15 h 65"/>
              <a:gd name="T20" fmla="*/ 69 w 72"/>
              <a:gd name="T21" fmla="*/ 9 h 65"/>
              <a:gd name="T22" fmla="*/ 72 w 72"/>
              <a:gd name="T23" fmla="*/ 6 h 65"/>
              <a:gd name="T24" fmla="*/ 66 w 72"/>
              <a:gd name="T25" fmla="*/ 3 h 65"/>
              <a:gd name="T26" fmla="*/ 53 w 72"/>
              <a:gd name="T27" fmla="*/ 0 h 65"/>
              <a:gd name="T28" fmla="*/ 47 w 72"/>
              <a:gd name="T29" fmla="*/ 3 h 65"/>
              <a:gd name="T30" fmla="*/ 41 w 72"/>
              <a:gd name="T31" fmla="*/ 3 h 65"/>
              <a:gd name="T32" fmla="*/ 28 w 72"/>
              <a:gd name="T33" fmla="*/ 12 h 65"/>
              <a:gd name="T34" fmla="*/ 22 w 72"/>
              <a:gd name="T35" fmla="*/ 12 h 65"/>
              <a:gd name="T36" fmla="*/ 19 w 72"/>
              <a:gd name="T37" fmla="*/ 21 h 65"/>
              <a:gd name="T38" fmla="*/ 19 w 72"/>
              <a:gd name="T39" fmla="*/ 31 h 65"/>
              <a:gd name="T40" fmla="*/ 16 w 72"/>
              <a:gd name="T41" fmla="*/ 34 h 65"/>
              <a:gd name="T42" fmla="*/ 12 w 72"/>
              <a:gd name="T43" fmla="*/ 40 h 65"/>
              <a:gd name="T44" fmla="*/ 22 w 72"/>
              <a:gd name="T45" fmla="*/ 47 h 65"/>
              <a:gd name="T46" fmla="*/ 16 w 72"/>
              <a:gd name="T47" fmla="*/ 47 h 65"/>
              <a:gd name="T48" fmla="*/ 16 w 72"/>
              <a:gd name="T49" fmla="*/ 50 h 65"/>
              <a:gd name="T50" fmla="*/ 19 w 72"/>
              <a:gd name="T51" fmla="*/ 53 h 65"/>
              <a:gd name="T52" fmla="*/ 9 w 72"/>
              <a:gd name="T53" fmla="*/ 50 h 65"/>
              <a:gd name="T54" fmla="*/ 3 w 72"/>
              <a:gd name="T55" fmla="*/ 50 h 65"/>
              <a:gd name="T56" fmla="*/ 9 w 72"/>
              <a:gd name="T57" fmla="*/ 53 h 65"/>
              <a:gd name="T58" fmla="*/ 12 w 72"/>
              <a:gd name="T59" fmla="*/ 53 h 65"/>
              <a:gd name="T60" fmla="*/ 12 w 72"/>
              <a:gd name="T61" fmla="*/ 56 h 65"/>
              <a:gd name="T62" fmla="*/ 6 w 72"/>
              <a:gd name="T63" fmla="*/ 53 h 65"/>
              <a:gd name="T64" fmla="*/ 0 w 72"/>
              <a:gd name="T65" fmla="*/ 53 h 65"/>
              <a:gd name="T66" fmla="*/ 6 w 72"/>
              <a:gd name="T67" fmla="*/ 59 h 65"/>
              <a:gd name="T68" fmla="*/ 9 w 72"/>
              <a:gd name="T69" fmla="*/ 59 h 65"/>
              <a:gd name="T70" fmla="*/ 16 w 72"/>
              <a:gd name="T71" fmla="*/ 56 h 65"/>
              <a:gd name="T72" fmla="*/ 19 w 72"/>
              <a:gd name="T73" fmla="*/ 56 h 65"/>
              <a:gd name="T74" fmla="*/ 28 w 72"/>
              <a:gd name="T75" fmla="*/ 53 h 65"/>
              <a:gd name="T76" fmla="*/ 34 w 72"/>
              <a:gd name="T77" fmla="*/ 56 h 65"/>
              <a:gd name="T78" fmla="*/ 41 w 72"/>
              <a:gd name="T79" fmla="*/ 56 h 65"/>
              <a:gd name="T80" fmla="*/ 41 w 72"/>
              <a:gd name="T81" fmla="*/ 62 h 65"/>
              <a:gd name="T82" fmla="*/ 44 w 72"/>
              <a:gd name="T83" fmla="*/ 65 h 65"/>
              <a:gd name="T84" fmla="*/ 12 w 72"/>
              <a:gd name="T85" fmla="*/ 47 h 65"/>
              <a:gd name="T86" fmla="*/ 9 w 72"/>
              <a:gd name="T87" fmla="*/ 50 h 65"/>
              <a:gd name="T88" fmla="*/ 6 w 72"/>
              <a:gd name="T89" fmla="*/ 47 h 65"/>
              <a:gd name="T90" fmla="*/ 9 w 72"/>
              <a:gd name="T91" fmla="*/ 43 h 65"/>
              <a:gd name="T92" fmla="*/ 16 w 72"/>
              <a:gd name="T93" fmla="*/ 43 h 65"/>
              <a:gd name="T94" fmla="*/ 12 w 72"/>
              <a:gd name="T95" fmla="*/ 47 h 65"/>
              <a:gd name="T96" fmla="*/ 9 w 72"/>
              <a:gd name="T97" fmla="*/ 4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 h="65">
                <a:moveTo>
                  <a:pt x="44" y="65"/>
                </a:moveTo>
                <a:lnTo>
                  <a:pt x="47" y="59"/>
                </a:lnTo>
                <a:lnTo>
                  <a:pt x="47" y="53"/>
                </a:lnTo>
                <a:lnTo>
                  <a:pt x="47" y="47"/>
                </a:lnTo>
                <a:lnTo>
                  <a:pt x="50" y="43"/>
                </a:lnTo>
                <a:lnTo>
                  <a:pt x="53" y="40"/>
                </a:lnTo>
                <a:lnTo>
                  <a:pt x="56" y="40"/>
                </a:lnTo>
                <a:lnTo>
                  <a:pt x="63" y="40"/>
                </a:lnTo>
                <a:lnTo>
                  <a:pt x="66" y="37"/>
                </a:lnTo>
                <a:lnTo>
                  <a:pt x="63" y="34"/>
                </a:lnTo>
                <a:lnTo>
                  <a:pt x="66" y="34"/>
                </a:lnTo>
                <a:lnTo>
                  <a:pt x="66" y="28"/>
                </a:lnTo>
                <a:lnTo>
                  <a:pt x="66" y="28"/>
                </a:lnTo>
                <a:lnTo>
                  <a:pt x="66" y="25"/>
                </a:lnTo>
                <a:lnTo>
                  <a:pt x="59" y="25"/>
                </a:lnTo>
                <a:lnTo>
                  <a:pt x="59" y="21"/>
                </a:lnTo>
                <a:lnTo>
                  <a:pt x="63" y="18"/>
                </a:lnTo>
                <a:lnTo>
                  <a:pt x="66" y="21"/>
                </a:lnTo>
                <a:lnTo>
                  <a:pt x="69" y="18"/>
                </a:lnTo>
                <a:lnTo>
                  <a:pt x="69" y="15"/>
                </a:lnTo>
                <a:lnTo>
                  <a:pt x="69" y="12"/>
                </a:lnTo>
                <a:lnTo>
                  <a:pt x="69" y="9"/>
                </a:lnTo>
                <a:lnTo>
                  <a:pt x="72" y="6"/>
                </a:lnTo>
                <a:lnTo>
                  <a:pt x="72" y="6"/>
                </a:lnTo>
                <a:lnTo>
                  <a:pt x="69" y="6"/>
                </a:lnTo>
                <a:lnTo>
                  <a:pt x="66" y="3"/>
                </a:lnTo>
                <a:lnTo>
                  <a:pt x="59" y="0"/>
                </a:lnTo>
                <a:lnTo>
                  <a:pt x="53" y="0"/>
                </a:lnTo>
                <a:lnTo>
                  <a:pt x="50" y="3"/>
                </a:lnTo>
                <a:lnTo>
                  <a:pt x="47" y="3"/>
                </a:lnTo>
                <a:lnTo>
                  <a:pt x="44" y="3"/>
                </a:lnTo>
                <a:lnTo>
                  <a:pt x="41" y="3"/>
                </a:lnTo>
                <a:lnTo>
                  <a:pt x="34" y="9"/>
                </a:lnTo>
                <a:lnTo>
                  <a:pt x="28" y="12"/>
                </a:lnTo>
                <a:lnTo>
                  <a:pt x="25" y="12"/>
                </a:lnTo>
                <a:lnTo>
                  <a:pt x="22" y="12"/>
                </a:lnTo>
                <a:lnTo>
                  <a:pt x="22" y="18"/>
                </a:lnTo>
                <a:lnTo>
                  <a:pt x="19" y="21"/>
                </a:lnTo>
                <a:lnTo>
                  <a:pt x="19" y="25"/>
                </a:lnTo>
                <a:lnTo>
                  <a:pt x="19" y="31"/>
                </a:lnTo>
                <a:lnTo>
                  <a:pt x="16" y="34"/>
                </a:lnTo>
                <a:lnTo>
                  <a:pt x="16" y="34"/>
                </a:lnTo>
                <a:lnTo>
                  <a:pt x="12" y="37"/>
                </a:lnTo>
                <a:lnTo>
                  <a:pt x="12" y="40"/>
                </a:lnTo>
                <a:lnTo>
                  <a:pt x="19" y="43"/>
                </a:lnTo>
                <a:lnTo>
                  <a:pt x="22" y="47"/>
                </a:lnTo>
                <a:lnTo>
                  <a:pt x="16" y="47"/>
                </a:lnTo>
                <a:lnTo>
                  <a:pt x="16" y="47"/>
                </a:lnTo>
                <a:lnTo>
                  <a:pt x="12" y="50"/>
                </a:lnTo>
                <a:lnTo>
                  <a:pt x="16" y="50"/>
                </a:lnTo>
                <a:lnTo>
                  <a:pt x="19" y="53"/>
                </a:lnTo>
                <a:lnTo>
                  <a:pt x="19" y="53"/>
                </a:lnTo>
                <a:lnTo>
                  <a:pt x="12" y="53"/>
                </a:lnTo>
                <a:lnTo>
                  <a:pt x="9" y="50"/>
                </a:lnTo>
                <a:lnTo>
                  <a:pt x="6" y="50"/>
                </a:lnTo>
                <a:lnTo>
                  <a:pt x="3" y="50"/>
                </a:lnTo>
                <a:lnTo>
                  <a:pt x="6" y="53"/>
                </a:lnTo>
                <a:lnTo>
                  <a:pt x="9" y="53"/>
                </a:lnTo>
                <a:lnTo>
                  <a:pt x="12" y="56"/>
                </a:lnTo>
                <a:lnTo>
                  <a:pt x="12" y="53"/>
                </a:lnTo>
                <a:lnTo>
                  <a:pt x="16" y="56"/>
                </a:lnTo>
                <a:lnTo>
                  <a:pt x="12" y="56"/>
                </a:lnTo>
                <a:lnTo>
                  <a:pt x="9" y="56"/>
                </a:lnTo>
                <a:lnTo>
                  <a:pt x="6" y="53"/>
                </a:lnTo>
                <a:lnTo>
                  <a:pt x="0" y="53"/>
                </a:lnTo>
                <a:lnTo>
                  <a:pt x="0" y="53"/>
                </a:lnTo>
                <a:lnTo>
                  <a:pt x="3" y="56"/>
                </a:lnTo>
                <a:lnTo>
                  <a:pt x="6" y="59"/>
                </a:lnTo>
                <a:lnTo>
                  <a:pt x="9" y="59"/>
                </a:lnTo>
                <a:lnTo>
                  <a:pt x="9" y="59"/>
                </a:lnTo>
                <a:lnTo>
                  <a:pt x="12" y="59"/>
                </a:lnTo>
                <a:lnTo>
                  <a:pt x="16" y="56"/>
                </a:lnTo>
                <a:lnTo>
                  <a:pt x="16" y="56"/>
                </a:lnTo>
                <a:lnTo>
                  <a:pt x="19" y="56"/>
                </a:lnTo>
                <a:lnTo>
                  <a:pt x="22" y="53"/>
                </a:lnTo>
                <a:lnTo>
                  <a:pt x="28" y="53"/>
                </a:lnTo>
                <a:lnTo>
                  <a:pt x="31" y="56"/>
                </a:lnTo>
                <a:lnTo>
                  <a:pt x="34" y="56"/>
                </a:lnTo>
                <a:lnTo>
                  <a:pt x="34" y="59"/>
                </a:lnTo>
                <a:lnTo>
                  <a:pt x="41" y="56"/>
                </a:lnTo>
                <a:lnTo>
                  <a:pt x="41" y="59"/>
                </a:lnTo>
                <a:lnTo>
                  <a:pt x="41" y="62"/>
                </a:lnTo>
                <a:lnTo>
                  <a:pt x="44" y="65"/>
                </a:lnTo>
                <a:lnTo>
                  <a:pt x="44" y="65"/>
                </a:lnTo>
                <a:close/>
                <a:moveTo>
                  <a:pt x="6" y="47"/>
                </a:moveTo>
                <a:lnTo>
                  <a:pt x="12" y="47"/>
                </a:lnTo>
                <a:lnTo>
                  <a:pt x="12" y="47"/>
                </a:lnTo>
                <a:lnTo>
                  <a:pt x="9" y="50"/>
                </a:lnTo>
                <a:lnTo>
                  <a:pt x="9" y="47"/>
                </a:lnTo>
                <a:lnTo>
                  <a:pt x="6" y="47"/>
                </a:lnTo>
                <a:lnTo>
                  <a:pt x="6" y="47"/>
                </a:lnTo>
                <a:close/>
                <a:moveTo>
                  <a:pt x="9" y="43"/>
                </a:moveTo>
                <a:lnTo>
                  <a:pt x="12" y="43"/>
                </a:lnTo>
                <a:lnTo>
                  <a:pt x="16" y="43"/>
                </a:lnTo>
                <a:lnTo>
                  <a:pt x="16" y="47"/>
                </a:lnTo>
                <a:lnTo>
                  <a:pt x="12" y="47"/>
                </a:lnTo>
                <a:lnTo>
                  <a:pt x="12" y="43"/>
                </a:lnTo>
                <a:lnTo>
                  <a:pt x="9" y="43"/>
                </a:lnTo>
                <a:lnTo>
                  <a:pt x="9" y="43"/>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2" name="Freeform 70">
            <a:extLst>
              <a:ext uri="{FF2B5EF4-FFF2-40B4-BE49-F238E27FC236}">
                <a16:creationId xmlns:a16="http://schemas.microsoft.com/office/drawing/2014/main" id="{DAC5685F-802A-EC37-2518-BD6487F9D724}"/>
              </a:ext>
            </a:extLst>
          </p:cNvPr>
          <p:cNvSpPr>
            <a:spLocks/>
          </p:cNvSpPr>
          <p:nvPr userDrawn="1"/>
        </p:nvSpPr>
        <p:spPr bwMode="auto">
          <a:xfrm>
            <a:off x="13308732" y="5841283"/>
            <a:ext cx="177788" cy="149226"/>
          </a:xfrm>
          <a:custGeom>
            <a:avLst/>
            <a:gdLst>
              <a:gd name="T0" fmla="*/ 53 w 56"/>
              <a:gd name="T1" fmla="*/ 31 h 47"/>
              <a:gd name="T2" fmla="*/ 56 w 56"/>
              <a:gd name="T3" fmla="*/ 25 h 47"/>
              <a:gd name="T4" fmla="*/ 53 w 56"/>
              <a:gd name="T5" fmla="*/ 22 h 47"/>
              <a:gd name="T6" fmla="*/ 53 w 56"/>
              <a:gd name="T7" fmla="*/ 19 h 47"/>
              <a:gd name="T8" fmla="*/ 50 w 56"/>
              <a:gd name="T9" fmla="*/ 15 h 47"/>
              <a:gd name="T10" fmla="*/ 53 w 56"/>
              <a:gd name="T11" fmla="*/ 12 h 47"/>
              <a:gd name="T12" fmla="*/ 47 w 56"/>
              <a:gd name="T13" fmla="*/ 9 h 47"/>
              <a:gd name="T14" fmla="*/ 47 w 56"/>
              <a:gd name="T15" fmla="*/ 6 h 47"/>
              <a:gd name="T16" fmla="*/ 47 w 56"/>
              <a:gd name="T17" fmla="*/ 3 h 47"/>
              <a:gd name="T18" fmla="*/ 40 w 56"/>
              <a:gd name="T19" fmla="*/ 6 h 47"/>
              <a:gd name="T20" fmla="*/ 40 w 56"/>
              <a:gd name="T21" fmla="*/ 3 h 47"/>
              <a:gd name="T22" fmla="*/ 37 w 56"/>
              <a:gd name="T23" fmla="*/ 3 h 47"/>
              <a:gd name="T24" fmla="*/ 34 w 56"/>
              <a:gd name="T25" fmla="*/ 0 h 47"/>
              <a:gd name="T26" fmla="*/ 28 w 56"/>
              <a:gd name="T27" fmla="*/ 0 h 47"/>
              <a:gd name="T28" fmla="*/ 25 w 56"/>
              <a:gd name="T29" fmla="*/ 3 h 47"/>
              <a:gd name="T30" fmla="*/ 22 w 56"/>
              <a:gd name="T31" fmla="*/ 3 h 47"/>
              <a:gd name="T32" fmla="*/ 22 w 56"/>
              <a:gd name="T33" fmla="*/ 3 h 47"/>
              <a:gd name="T34" fmla="*/ 18 w 56"/>
              <a:gd name="T35" fmla="*/ 6 h 47"/>
              <a:gd name="T36" fmla="*/ 15 w 56"/>
              <a:gd name="T37" fmla="*/ 6 h 47"/>
              <a:gd name="T38" fmla="*/ 15 w 56"/>
              <a:gd name="T39" fmla="*/ 6 h 47"/>
              <a:gd name="T40" fmla="*/ 12 w 56"/>
              <a:gd name="T41" fmla="*/ 6 h 47"/>
              <a:gd name="T42" fmla="*/ 9 w 56"/>
              <a:gd name="T43" fmla="*/ 3 h 47"/>
              <a:gd name="T44" fmla="*/ 6 w 56"/>
              <a:gd name="T45" fmla="*/ 0 h 47"/>
              <a:gd name="T46" fmla="*/ 3 w 56"/>
              <a:gd name="T47" fmla="*/ 3 h 47"/>
              <a:gd name="T48" fmla="*/ 0 w 56"/>
              <a:gd name="T49" fmla="*/ 9 h 47"/>
              <a:gd name="T50" fmla="*/ 3 w 56"/>
              <a:gd name="T51" fmla="*/ 9 h 47"/>
              <a:gd name="T52" fmla="*/ 3 w 56"/>
              <a:gd name="T53" fmla="*/ 19 h 47"/>
              <a:gd name="T54" fmla="*/ 9 w 56"/>
              <a:gd name="T55" fmla="*/ 19 h 47"/>
              <a:gd name="T56" fmla="*/ 9 w 56"/>
              <a:gd name="T57" fmla="*/ 22 h 47"/>
              <a:gd name="T58" fmla="*/ 15 w 56"/>
              <a:gd name="T59" fmla="*/ 28 h 47"/>
              <a:gd name="T60" fmla="*/ 15 w 56"/>
              <a:gd name="T61" fmla="*/ 28 h 47"/>
              <a:gd name="T62" fmla="*/ 18 w 56"/>
              <a:gd name="T63" fmla="*/ 28 h 47"/>
              <a:gd name="T64" fmla="*/ 22 w 56"/>
              <a:gd name="T65" fmla="*/ 31 h 47"/>
              <a:gd name="T66" fmla="*/ 22 w 56"/>
              <a:gd name="T67" fmla="*/ 34 h 47"/>
              <a:gd name="T68" fmla="*/ 25 w 56"/>
              <a:gd name="T69" fmla="*/ 37 h 47"/>
              <a:gd name="T70" fmla="*/ 28 w 56"/>
              <a:gd name="T71" fmla="*/ 37 h 47"/>
              <a:gd name="T72" fmla="*/ 31 w 56"/>
              <a:gd name="T73" fmla="*/ 37 h 47"/>
              <a:gd name="T74" fmla="*/ 31 w 56"/>
              <a:gd name="T75" fmla="*/ 37 h 47"/>
              <a:gd name="T76" fmla="*/ 34 w 56"/>
              <a:gd name="T77" fmla="*/ 37 h 47"/>
              <a:gd name="T78" fmla="*/ 40 w 56"/>
              <a:gd name="T79" fmla="*/ 44 h 47"/>
              <a:gd name="T80" fmla="*/ 43 w 56"/>
              <a:gd name="T81" fmla="*/ 44 h 47"/>
              <a:gd name="T82" fmla="*/ 47 w 56"/>
              <a:gd name="T83" fmla="*/ 47 h 47"/>
              <a:gd name="T84" fmla="*/ 50 w 56"/>
              <a:gd name="T85" fmla="*/ 47 h 47"/>
              <a:gd name="T86" fmla="*/ 53 w 56"/>
              <a:gd name="T87" fmla="*/ 47 h 47"/>
              <a:gd name="T88" fmla="*/ 53 w 56"/>
              <a:gd name="T89" fmla="*/ 44 h 47"/>
              <a:gd name="T90" fmla="*/ 50 w 56"/>
              <a:gd name="T91" fmla="*/ 44 h 47"/>
              <a:gd name="T92" fmla="*/ 50 w 56"/>
              <a:gd name="T93" fmla="*/ 40 h 47"/>
              <a:gd name="T94" fmla="*/ 50 w 56"/>
              <a:gd name="T95" fmla="*/ 37 h 47"/>
              <a:gd name="T96" fmla="*/ 50 w 56"/>
              <a:gd name="T97" fmla="*/ 34 h 47"/>
              <a:gd name="T98" fmla="*/ 53 w 56"/>
              <a:gd name="T99" fmla="*/ 31 h 47"/>
              <a:gd name="T100" fmla="*/ 53 w 56"/>
              <a:gd name="T101" fmla="*/ 3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 h="47">
                <a:moveTo>
                  <a:pt x="53" y="31"/>
                </a:moveTo>
                <a:lnTo>
                  <a:pt x="56" y="25"/>
                </a:lnTo>
                <a:lnTo>
                  <a:pt x="53" y="22"/>
                </a:lnTo>
                <a:lnTo>
                  <a:pt x="53" y="19"/>
                </a:lnTo>
                <a:lnTo>
                  <a:pt x="50" y="15"/>
                </a:lnTo>
                <a:lnTo>
                  <a:pt x="53" y="12"/>
                </a:lnTo>
                <a:lnTo>
                  <a:pt x="47" y="9"/>
                </a:lnTo>
                <a:lnTo>
                  <a:pt x="47" y="6"/>
                </a:lnTo>
                <a:lnTo>
                  <a:pt x="47" y="3"/>
                </a:lnTo>
                <a:lnTo>
                  <a:pt x="40" y="6"/>
                </a:lnTo>
                <a:lnTo>
                  <a:pt x="40" y="3"/>
                </a:lnTo>
                <a:lnTo>
                  <a:pt x="37" y="3"/>
                </a:lnTo>
                <a:lnTo>
                  <a:pt x="34" y="0"/>
                </a:lnTo>
                <a:lnTo>
                  <a:pt x="28" y="0"/>
                </a:lnTo>
                <a:lnTo>
                  <a:pt x="25" y="3"/>
                </a:lnTo>
                <a:lnTo>
                  <a:pt x="22" y="3"/>
                </a:lnTo>
                <a:lnTo>
                  <a:pt x="22" y="3"/>
                </a:lnTo>
                <a:lnTo>
                  <a:pt x="18" y="6"/>
                </a:lnTo>
                <a:lnTo>
                  <a:pt x="15" y="6"/>
                </a:lnTo>
                <a:lnTo>
                  <a:pt x="15" y="6"/>
                </a:lnTo>
                <a:lnTo>
                  <a:pt x="12" y="6"/>
                </a:lnTo>
                <a:lnTo>
                  <a:pt x="9" y="3"/>
                </a:lnTo>
                <a:lnTo>
                  <a:pt x="6" y="0"/>
                </a:lnTo>
                <a:lnTo>
                  <a:pt x="3" y="3"/>
                </a:lnTo>
                <a:lnTo>
                  <a:pt x="0" y="9"/>
                </a:lnTo>
                <a:lnTo>
                  <a:pt x="3" y="9"/>
                </a:lnTo>
                <a:lnTo>
                  <a:pt x="3" y="19"/>
                </a:lnTo>
                <a:lnTo>
                  <a:pt x="9" y="19"/>
                </a:lnTo>
                <a:lnTo>
                  <a:pt x="9" y="22"/>
                </a:lnTo>
                <a:lnTo>
                  <a:pt x="15" y="28"/>
                </a:lnTo>
                <a:lnTo>
                  <a:pt x="15" y="28"/>
                </a:lnTo>
                <a:lnTo>
                  <a:pt x="18" y="28"/>
                </a:lnTo>
                <a:lnTo>
                  <a:pt x="22" y="31"/>
                </a:lnTo>
                <a:lnTo>
                  <a:pt x="22" y="34"/>
                </a:lnTo>
                <a:lnTo>
                  <a:pt x="25" y="37"/>
                </a:lnTo>
                <a:lnTo>
                  <a:pt x="28" y="37"/>
                </a:lnTo>
                <a:lnTo>
                  <a:pt x="31" y="37"/>
                </a:lnTo>
                <a:lnTo>
                  <a:pt x="31" y="37"/>
                </a:lnTo>
                <a:lnTo>
                  <a:pt x="34" y="37"/>
                </a:lnTo>
                <a:lnTo>
                  <a:pt x="40" y="44"/>
                </a:lnTo>
                <a:lnTo>
                  <a:pt x="43" y="44"/>
                </a:lnTo>
                <a:lnTo>
                  <a:pt x="47" y="47"/>
                </a:lnTo>
                <a:lnTo>
                  <a:pt x="50" y="47"/>
                </a:lnTo>
                <a:lnTo>
                  <a:pt x="53" y="47"/>
                </a:lnTo>
                <a:lnTo>
                  <a:pt x="53" y="44"/>
                </a:lnTo>
                <a:lnTo>
                  <a:pt x="50" y="44"/>
                </a:lnTo>
                <a:lnTo>
                  <a:pt x="50" y="40"/>
                </a:lnTo>
                <a:lnTo>
                  <a:pt x="50" y="37"/>
                </a:lnTo>
                <a:lnTo>
                  <a:pt x="50" y="34"/>
                </a:lnTo>
                <a:lnTo>
                  <a:pt x="53" y="31"/>
                </a:lnTo>
                <a:lnTo>
                  <a:pt x="53" y="31"/>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3" name="Freeform 71">
            <a:extLst>
              <a:ext uri="{FF2B5EF4-FFF2-40B4-BE49-F238E27FC236}">
                <a16:creationId xmlns:a16="http://schemas.microsoft.com/office/drawing/2014/main" id="{A4177FDA-15C5-3B80-EC95-D1F92566B90F}"/>
              </a:ext>
            </a:extLst>
          </p:cNvPr>
          <p:cNvSpPr>
            <a:spLocks/>
          </p:cNvSpPr>
          <p:nvPr userDrawn="1"/>
        </p:nvSpPr>
        <p:spPr bwMode="auto">
          <a:xfrm>
            <a:off x="13467470" y="5939709"/>
            <a:ext cx="38100" cy="60326"/>
          </a:xfrm>
          <a:custGeom>
            <a:avLst/>
            <a:gdLst>
              <a:gd name="T0" fmla="*/ 3 w 12"/>
              <a:gd name="T1" fmla="*/ 16 h 19"/>
              <a:gd name="T2" fmla="*/ 3 w 12"/>
              <a:gd name="T3" fmla="*/ 13 h 19"/>
              <a:gd name="T4" fmla="*/ 0 w 12"/>
              <a:gd name="T5" fmla="*/ 13 h 19"/>
              <a:gd name="T6" fmla="*/ 0 w 12"/>
              <a:gd name="T7" fmla="*/ 9 h 19"/>
              <a:gd name="T8" fmla="*/ 0 w 12"/>
              <a:gd name="T9" fmla="*/ 6 h 19"/>
              <a:gd name="T10" fmla="*/ 0 w 12"/>
              <a:gd name="T11" fmla="*/ 3 h 19"/>
              <a:gd name="T12" fmla="*/ 3 w 12"/>
              <a:gd name="T13" fmla="*/ 0 h 19"/>
              <a:gd name="T14" fmla="*/ 6 w 12"/>
              <a:gd name="T15" fmla="*/ 0 h 19"/>
              <a:gd name="T16" fmla="*/ 9 w 12"/>
              <a:gd name="T17" fmla="*/ 6 h 19"/>
              <a:gd name="T18" fmla="*/ 9 w 12"/>
              <a:gd name="T19" fmla="*/ 9 h 19"/>
              <a:gd name="T20" fmla="*/ 12 w 12"/>
              <a:gd name="T21" fmla="*/ 13 h 19"/>
              <a:gd name="T22" fmla="*/ 12 w 12"/>
              <a:gd name="T23" fmla="*/ 19 h 19"/>
              <a:gd name="T24" fmla="*/ 9 w 12"/>
              <a:gd name="T25" fmla="*/ 19 h 19"/>
              <a:gd name="T26" fmla="*/ 3 w 12"/>
              <a:gd name="T27" fmla="*/ 19 h 19"/>
              <a:gd name="T28" fmla="*/ 3 w 12"/>
              <a:gd name="T29" fmla="*/ 16 h 19"/>
              <a:gd name="T30" fmla="*/ 3 w 12"/>
              <a:gd name="T31"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9">
                <a:moveTo>
                  <a:pt x="3" y="16"/>
                </a:moveTo>
                <a:lnTo>
                  <a:pt x="3" y="13"/>
                </a:lnTo>
                <a:lnTo>
                  <a:pt x="0" y="13"/>
                </a:lnTo>
                <a:lnTo>
                  <a:pt x="0" y="9"/>
                </a:lnTo>
                <a:lnTo>
                  <a:pt x="0" y="6"/>
                </a:lnTo>
                <a:lnTo>
                  <a:pt x="0" y="3"/>
                </a:lnTo>
                <a:lnTo>
                  <a:pt x="3" y="0"/>
                </a:lnTo>
                <a:lnTo>
                  <a:pt x="6" y="0"/>
                </a:lnTo>
                <a:lnTo>
                  <a:pt x="9" y="6"/>
                </a:lnTo>
                <a:lnTo>
                  <a:pt x="9" y="9"/>
                </a:lnTo>
                <a:lnTo>
                  <a:pt x="12" y="13"/>
                </a:lnTo>
                <a:lnTo>
                  <a:pt x="12" y="19"/>
                </a:lnTo>
                <a:lnTo>
                  <a:pt x="9" y="19"/>
                </a:lnTo>
                <a:lnTo>
                  <a:pt x="3" y="19"/>
                </a:lnTo>
                <a:lnTo>
                  <a:pt x="3" y="16"/>
                </a:lnTo>
                <a:lnTo>
                  <a:pt x="3" y="1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4" name="Freeform 72">
            <a:extLst>
              <a:ext uri="{FF2B5EF4-FFF2-40B4-BE49-F238E27FC236}">
                <a16:creationId xmlns:a16="http://schemas.microsoft.com/office/drawing/2014/main" id="{F79750A8-9725-333F-BE2E-01353D19D9DC}"/>
              </a:ext>
            </a:extLst>
          </p:cNvPr>
          <p:cNvSpPr>
            <a:spLocks noEditPoints="1"/>
          </p:cNvSpPr>
          <p:nvPr userDrawn="1"/>
        </p:nvSpPr>
        <p:spPr bwMode="auto">
          <a:xfrm>
            <a:off x="12772187" y="4837983"/>
            <a:ext cx="38100" cy="98426"/>
          </a:xfrm>
          <a:custGeom>
            <a:avLst/>
            <a:gdLst>
              <a:gd name="T0" fmla="*/ 2 w 4"/>
              <a:gd name="T1" fmla="*/ 8 h 10"/>
              <a:gd name="T2" fmla="*/ 3 w 4"/>
              <a:gd name="T3" fmla="*/ 10 h 10"/>
              <a:gd name="T4" fmla="*/ 3 w 4"/>
              <a:gd name="T5" fmla="*/ 9 h 10"/>
              <a:gd name="T6" fmla="*/ 3 w 4"/>
              <a:gd name="T7" fmla="*/ 8 h 10"/>
              <a:gd name="T8" fmla="*/ 2 w 4"/>
              <a:gd name="T9" fmla="*/ 8 h 10"/>
              <a:gd name="T10" fmla="*/ 3 w 4"/>
              <a:gd name="T11" fmla="*/ 5 h 10"/>
              <a:gd name="T12" fmla="*/ 2 w 4"/>
              <a:gd name="T13" fmla="*/ 5 h 10"/>
              <a:gd name="T14" fmla="*/ 3 w 4"/>
              <a:gd name="T15" fmla="*/ 6 h 10"/>
              <a:gd name="T16" fmla="*/ 3 w 4"/>
              <a:gd name="T17" fmla="*/ 5 h 10"/>
              <a:gd name="T18" fmla="*/ 3 w 4"/>
              <a:gd name="T19" fmla="*/ 5 h 10"/>
              <a:gd name="T20" fmla="*/ 0 w 4"/>
              <a:gd name="T21" fmla="*/ 1 h 10"/>
              <a:gd name="T22" fmla="*/ 0 w 4"/>
              <a:gd name="T23" fmla="*/ 2 h 10"/>
              <a:gd name="T24" fmla="*/ 1 w 4"/>
              <a:gd name="T25" fmla="*/ 3 h 10"/>
              <a:gd name="T26" fmla="*/ 0 w 4"/>
              <a:gd name="T27" fmla="*/ 1 h 10"/>
              <a:gd name="T28" fmla="*/ 3 w 4"/>
              <a:gd name="T29" fmla="*/ 0 h 10"/>
              <a:gd name="T30" fmla="*/ 4 w 4"/>
              <a:gd name="T31" fmla="*/ 1 h 10"/>
              <a:gd name="T32" fmla="*/ 4 w 4"/>
              <a:gd name="T33" fmla="*/ 0 h 10"/>
              <a:gd name="T34" fmla="*/ 3 w 4"/>
              <a:gd name="T35" fmla="*/ 0 h 10"/>
              <a:gd name="T36" fmla="*/ 1 w 4"/>
              <a:gd name="T37" fmla="*/ 0 h 10"/>
              <a:gd name="T38" fmla="*/ 2 w 4"/>
              <a:gd name="T39" fmla="*/ 0 h 10"/>
              <a:gd name="T40" fmla="*/ 3 w 4"/>
              <a:gd name="T41" fmla="*/ 1 h 10"/>
              <a:gd name="T42" fmla="*/ 3 w 4"/>
              <a:gd name="T43" fmla="*/ 2 h 10"/>
              <a:gd name="T44" fmla="*/ 2 w 4"/>
              <a:gd name="T45" fmla="*/ 1 h 10"/>
              <a:gd name="T46" fmla="*/ 1 w 4"/>
              <a:gd name="T47" fmla="*/ 0 h 10"/>
              <a:gd name="T48" fmla="*/ 1 w 4"/>
              <a:gd name="T49" fmla="*/ 0 h 10"/>
              <a:gd name="T50" fmla="*/ 3 w 4"/>
              <a:gd name="T51" fmla="*/ 3 h 10"/>
              <a:gd name="T52" fmla="*/ 4 w 4"/>
              <a:gd name="T53" fmla="*/ 4 h 10"/>
              <a:gd name="T54" fmla="*/ 3 w 4"/>
              <a:gd name="T55" fmla="*/ 4 h 10"/>
              <a:gd name="T56" fmla="*/ 1 w 4"/>
              <a:gd name="T57" fmla="*/ 2 h 10"/>
              <a:gd name="T58" fmla="*/ 1 w 4"/>
              <a:gd name="T59" fmla="*/ 1 h 10"/>
              <a:gd name="T60" fmla="*/ 1 w 4"/>
              <a:gd name="T6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 h="10">
                <a:moveTo>
                  <a:pt x="2" y="8"/>
                </a:moveTo>
                <a:cubicBezTo>
                  <a:pt x="3" y="10"/>
                  <a:pt x="3" y="10"/>
                  <a:pt x="3" y="10"/>
                </a:cubicBezTo>
                <a:cubicBezTo>
                  <a:pt x="3" y="9"/>
                  <a:pt x="3" y="9"/>
                  <a:pt x="3" y="9"/>
                </a:cubicBezTo>
                <a:cubicBezTo>
                  <a:pt x="3" y="8"/>
                  <a:pt x="3" y="8"/>
                  <a:pt x="3" y="8"/>
                </a:cubicBezTo>
                <a:cubicBezTo>
                  <a:pt x="2" y="8"/>
                  <a:pt x="2" y="8"/>
                  <a:pt x="2" y="8"/>
                </a:cubicBezTo>
                <a:close/>
                <a:moveTo>
                  <a:pt x="3" y="5"/>
                </a:moveTo>
                <a:cubicBezTo>
                  <a:pt x="2" y="5"/>
                  <a:pt x="2" y="5"/>
                  <a:pt x="2" y="5"/>
                </a:cubicBezTo>
                <a:cubicBezTo>
                  <a:pt x="3" y="6"/>
                  <a:pt x="3" y="6"/>
                  <a:pt x="3" y="6"/>
                </a:cubicBezTo>
                <a:cubicBezTo>
                  <a:pt x="3" y="5"/>
                  <a:pt x="3" y="5"/>
                  <a:pt x="3" y="5"/>
                </a:cubicBezTo>
                <a:cubicBezTo>
                  <a:pt x="3" y="5"/>
                  <a:pt x="3" y="5"/>
                  <a:pt x="3" y="5"/>
                </a:cubicBezTo>
                <a:close/>
                <a:moveTo>
                  <a:pt x="0" y="1"/>
                </a:moveTo>
                <a:cubicBezTo>
                  <a:pt x="0" y="2"/>
                  <a:pt x="0" y="2"/>
                  <a:pt x="0" y="2"/>
                </a:cubicBezTo>
                <a:cubicBezTo>
                  <a:pt x="1" y="3"/>
                  <a:pt x="1" y="3"/>
                  <a:pt x="1" y="3"/>
                </a:cubicBezTo>
                <a:cubicBezTo>
                  <a:pt x="0" y="1"/>
                  <a:pt x="0" y="1"/>
                  <a:pt x="0" y="1"/>
                </a:cubicBezTo>
                <a:close/>
                <a:moveTo>
                  <a:pt x="3" y="0"/>
                </a:moveTo>
                <a:cubicBezTo>
                  <a:pt x="4" y="1"/>
                  <a:pt x="4" y="1"/>
                  <a:pt x="4" y="1"/>
                </a:cubicBezTo>
                <a:cubicBezTo>
                  <a:pt x="4" y="0"/>
                  <a:pt x="4" y="0"/>
                  <a:pt x="4" y="0"/>
                </a:cubicBezTo>
                <a:cubicBezTo>
                  <a:pt x="3" y="0"/>
                  <a:pt x="3" y="0"/>
                  <a:pt x="3" y="0"/>
                </a:cubicBezTo>
                <a:close/>
                <a:moveTo>
                  <a:pt x="1" y="0"/>
                </a:moveTo>
                <a:cubicBezTo>
                  <a:pt x="1" y="0"/>
                  <a:pt x="2" y="0"/>
                  <a:pt x="2" y="0"/>
                </a:cubicBezTo>
                <a:cubicBezTo>
                  <a:pt x="3" y="1"/>
                  <a:pt x="3" y="1"/>
                  <a:pt x="3" y="1"/>
                </a:cubicBezTo>
                <a:cubicBezTo>
                  <a:pt x="3" y="2"/>
                  <a:pt x="3" y="2"/>
                  <a:pt x="3" y="2"/>
                </a:cubicBezTo>
                <a:cubicBezTo>
                  <a:pt x="2" y="1"/>
                  <a:pt x="2" y="1"/>
                  <a:pt x="2" y="1"/>
                </a:cubicBezTo>
                <a:cubicBezTo>
                  <a:pt x="1" y="0"/>
                  <a:pt x="1" y="0"/>
                  <a:pt x="1" y="0"/>
                </a:cubicBezTo>
                <a:close/>
                <a:moveTo>
                  <a:pt x="1" y="0"/>
                </a:moveTo>
                <a:cubicBezTo>
                  <a:pt x="3" y="3"/>
                  <a:pt x="3" y="3"/>
                  <a:pt x="3" y="3"/>
                </a:cubicBezTo>
                <a:cubicBezTo>
                  <a:pt x="4" y="4"/>
                  <a:pt x="4" y="4"/>
                  <a:pt x="4" y="4"/>
                </a:cubicBezTo>
                <a:cubicBezTo>
                  <a:pt x="3" y="4"/>
                  <a:pt x="3" y="4"/>
                  <a:pt x="3" y="4"/>
                </a:cubicBezTo>
                <a:cubicBezTo>
                  <a:pt x="1" y="2"/>
                  <a:pt x="1" y="2"/>
                  <a:pt x="1" y="2"/>
                </a:cubicBezTo>
                <a:cubicBezTo>
                  <a:pt x="1" y="1"/>
                  <a:pt x="1" y="1"/>
                  <a:pt x="1" y="1"/>
                </a:cubicBezTo>
                <a:lnTo>
                  <a:pt x="1"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5" name="Freeform 73">
            <a:extLst>
              <a:ext uri="{FF2B5EF4-FFF2-40B4-BE49-F238E27FC236}">
                <a16:creationId xmlns:a16="http://schemas.microsoft.com/office/drawing/2014/main" id="{2BA1BC17-A3E3-8031-DDB4-979C88C0B844}"/>
              </a:ext>
            </a:extLst>
          </p:cNvPr>
          <p:cNvSpPr>
            <a:spLocks/>
          </p:cNvSpPr>
          <p:nvPr userDrawn="1"/>
        </p:nvSpPr>
        <p:spPr bwMode="auto">
          <a:xfrm>
            <a:off x="12572181" y="5492033"/>
            <a:ext cx="250810" cy="339726"/>
          </a:xfrm>
          <a:custGeom>
            <a:avLst/>
            <a:gdLst>
              <a:gd name="T0" fmla="*/ 35 w 79"/>
              <a:gd name="T1" fmla="*/ 104 h 107"/>
              <a:gd name="T2" fmla="*/ 41 w 79"/>
              <a:gd name="T3" fmla="*/ 97 h 107"/>
              <a:gd name="T4" fmla="*/ 47 w 79"/>
              <a:gd name="T5" fmla="*/ 94 h 107"/>
              <a:gd name="T6" fmla="*/ 60 w 79"/>
              <a:gd name="T7" fmla="*/ 91 h 107"/>
              <a:gd name="T8" fmla="*/ 66 w 79"/>
              <a:gd name="T9" fmla="*/ 88 h 107"/>
              <a:gd name="T10" fmla="*/ 69 w 79"/>
              <a:gd name="T11" fmla="*/ 85 h 107"/>
              <a:gd name="T12" fmla="*/ 75 w 79"/>
              <a:gd name="T13" fmla="*/ 75 h 107"/>
              <a:gd name="T14" fmla="*/ 79 w 79"/>
              <a:gd name="T15" fmla="*/ 60 h 107"/>
              <a:gd name="T16" fmla="*/ 79 w 79"/>
              <a:gd name="T17" fmla="*/ 53 h 107"/>
              <a:gd name="T18" fmla="*/ 72 w 79"/>
              <a:gd name="T19" fmla="*/ 41 h 107"/>
              <a:gd name="T20" fmla="*/ 72 w 79"/>
              <a:gd name="T21" fmla="*/ 38 h 107"/>
              <a:gd name="T22" fmla="*/ 60 w 79"/>
              <a:gd name="T23" fmla="*/ 25 h 107"/>
              <a:gd name="T24" fmla="*/ 54 w 79"/>
              <a:gd name="T25" fmla="*/ 35 h 107"/>
              <a:gd name="T26" fmla="*/ 54 w 79"/>
              <a:gd name="T27" fmla="*/ 16 h 107"/>
              <a:gd name="T28" fmla="*/ 60 w 79"/>
              <a:gd name="T29" fmla="*/ 10 h 107"/>
              <a:gd name="T30" fmla="*/ 66 w 79"/>
              <a:gd name="T31" fmla="*/ 7 h 107"/>
              <a:gd name="T32" fmla="*/ 60 w 79"/>
              <a:gd name="T33" fmla="*/ 3 h 107"/>
              <a:gd name="T34" fmla="*/ 54 w 79"/>
              <a:gd name="T35" fmla="*/ 13 h 107"/>
              <a:gd name="T36" fmla="*/ 54 w 79"/>
              <a:gd name="T37" fmla="*/ 3 h 107"/>
              <a:gd name="T38" fmla="*/ 50 w 79"/>
              <a:gd name="T39" fmla="*/ 7 h 107"/>
              <a:gd name="T40" fmla="*/ 44 w 79"/>
              <a:gd name="T41" fmla="*/ 10 h 107"/>
              <a:gd name="T42" fmla="*/ 44 w 79"/>
              <a:gd name="T43" fmla="*/ 13 h 107"/>
              <a:gd name="T44" fmla="*/ 41 w 79"/>
              <a:gd name="T45" fmla="*/ 16 h 107"/>
              <a:gd name="T46" fmla="*/ 41 w 79"/>
              <a:gd name="T47" fmla="*/ 22 h 107"/>
              <a:gd name="T48" fmla="*/ 47 w 79"/>
              <a:gd name="T49" fmla="*/ 22 h 107"/>
              <a:gd name="T50" fmla="*/ 38 w 79"/>
              <a:gd name="T51" fmla="*/ 28 h 107"/>
              <a:gd name="T52" fmla="*/ 29 w 79"/>
              <a:gd name="T53" fmla="*/ 32 h 107"/>
              <a:gd name="T54" fmla="*/ 16 w 79"/>
              <a:gd name="T55" fmla="*/ 28 h 107"/>
              <a:gd name="T56" fmla="*/ 13 w 79"/>
              <a:gd name="T57" fmla="*/ 32 h 107"/>
              <a:gd name="T58" fmla="*/ 16 w 79"/>
              <a:gd name="T59" fmla="*/ 38 h 107"/>
              <a:gd name="T60" fmla="*/ 10 w 79"/>
              <a:gd name="T61" fmla="*/ 35 h 107"/>
              <a:gd name="T62" fmla="*/ 19 w 79"/>
              <a:gd name="T63" fmla="*/ 41 h 107"/>
              <a:gd name="T64" fmla="*/ 16 w 79"/>
              <a:gd name="T65" fmla="*/ 47 h 107"/>
              <a:gd name="T66" fmla="*/ 10 w 79"/>
              <a:gd name="T67" fmla="*/ 50 h 107"/>
              <a:gd name="T68" fmla="*/ 13 w 79"/>
              <a:gd name="T69" fmla="*/ 53 h 107"/>
              <a:gd name="T70" fmla="*/ 29 w 79"/>
              <a:gd name="T71" fmla="*/ 57 h 107"/>
              <a:gd name="T72" fmla="*/ 19 w 79"/>
              <a:gd name="T73" fmla="*/ 66 h 107"/>
              <a:gd name="T74" fmla="*/ 10 w 79"/>
              <a:gd name="T75" fmla="*/ 75 h 107"/>
              <a:gd name="T76" fmla="*/ 19 w 79"/>
              <a:gd name="T77" fmla="*/ 75 h 107"/>
              <a:gd name="T78" fmla="*/ 29 w 79"/>
              <a:gd name="T79" fmla="*/ 72 h 107"/>
              <a:gd name="T80" fmla="*/ 16 w 79"/>
              <a:gd name="T81" fmla="*/ 75 h 107"/>
              <a:gd name="T82" fmla="*/ 13 w 79"/>
              <a:gd name="T83" fmla="*/ 82 h 107"/>
              <a:gd name="T84" fmla="*/ 10 w 79"/>
              <a:gd name="T85" fmla="*/ 85 h 107"/>
              <a:gd name="T86" fmla="*/ 7 w 79"/>
              <a:gd name="T87" fmla="*/ 82 h 107"/>
              <a:gd name="T88" fmla="*/ 13 w 79"/>
              <a:gd name="T89" fmla="*/ 88 h 107"/>
              <a:gd name="T90" fmla="*/ 4 w 79"/>
              <a:gd name="T91" fmla="*/ 94 h 107"/>
              <a:gd name="T92" fmla="*/ 16 w 79"/>
              <a:gd name="T93" fmla="*/ 94 h 107"/>
              <a:gd name="T94" fmla="*/ 10 w 79"/>
              <a:gd name="T95" fmla="*/ 100 h 107"/>
              <a:gd name="T96" fmla="*/ 10 w 79"/>
              <a:gd name="T97" fmla="*/ 104 h 107"/>
              <a:gd name="T98" fmla="*/ 19 w 79"/>
              <a:gd name="T99" fmla="*/ 10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 h="107">
                <a:moveTo>
                  <a:pt x="19" y="107"/>
                </a:moveTo>
                <a:lnTo>
                  <a:pt x="29" y="104"/>
                </a:lnTo>
                <a:lnTo>
                  <a:pt x="35" y="104"/>
                </a:lnTo>
                <a:lnTo>
                  <a:pt x="38" y="100"/>
                </a:lnTo>
                <a:lnTo>
                  <a:pt x="38" y="94"/>
                </a:lnTo>
                <a:lnTo>
                  <a:pt x="41" y="97"/>
                </a:lnTo>
                <a:lnTo>
                  <a:pt x="38" y="97"/>
                </a:lnTo>
                <a:lnTo>
                  <a:pt x="44" y="97"/>
                </a:lnTo>
                <a:lnTo>
                  <a:pt x="47" y="94"/>
                </a:lnTo>
                <a:lnTo>
                  <a:pt x="50" y="94"/>
                </a:lnTo>
                <a:lnTo>
                  <a:pt x="50" y="91"/>
                </a:lnTo>
                <a:lnTo>
                  <a:pt x="60" y="91"/>
                </a:lnTo>
                <a:lnTo>
                  <a:pt x="63" y="88"/>
                </a:lnTo>
                <a:lnTo>
                  <a:pt x="63" y="91"/>
                </a:lnTo>
                <a:lnTo>
                  <a:pt x="66" y="88"/>
                </a:lnTo>
                <a:lnTo>
                  <a:pt x="69" y="88"/>
                </a:lnTo>
                <a:lnTo>
                  <a:pt x="75" y="88"/>
                </a:lnTo>
                <a:lnTo>
                  <a:pt x="69" y="85"/>
                </a:lnTo>
                <a:lnTo>
                  <a:pt x="72" y="82"/>
                </a:lnTo>
                <a:lnTo>
                  <a:pt x="75" y="78"/>
                </a:lnTo>
                <a:lnTo>
                  <a:pt x="75" y="75"/>
                </a:lnTo>
                <a:lnTo>
                  <a:pt x="79" y="72"/>
                </a:lnTo>
                <a:lnTo>
                  <a:pt x="79" y="69"/>
                </a:lnTo>
                <a:lnTo>
                  <a:pt x="79" y="60"/>
                </a:lnTo>
                <a:lnTo>
                  <a:pt x="75" y="57"/>
                </a:lnTo>
                <a:lnTo>
                  <a:pt x="79" y="57"/>
                </a:lnTo>
                <a:lnTo>
                  <a:pt x="79" y="53"/>
                </a:lnTo>
                <a:lnTo>
                  <a:pt x="75" y="47"/>
                </a:lnTo>
                <a:lnTo>
                  <a:pt x="75" y="44"/>
                </a:lnTo>
                <a:lnTo>
                  <a:pt x="72" y="41"/>
                </a:lnTo>
                <a:lnTo>
                  <a:pt x="75" y="41"/>
                </a:lnTo>
                <a:lnTo>
                  <a:pt x="79" y="41"/>
                </a:lnTo>
                <a:lnTo>
                  <a:pt x="72" y="38"/>
                </a:lnTo>
                <a:lnTo>
                  <a:pt x="69" y="38"/>
                </a:lnTo>
                <a:lnTo>
                  <a:pt x="66" y="28"/>
                </a:lnTo>
                <a:lnTo>
                  <a:pt x="60" y="25"/>
                </a:lnTo>
                <a:lnTo>
                  <a:pt x="60" y="28"/>
                </a:lnTo>
                <a:lnTo>
                  <a:pt x="57" y="35"/>
                </a:lnTo>
                <a:lnTo>
                  <a:pt x="54" y="35"/>
                </a:lnTo>
                <a:lnTo>
                  <a:pt x="47" y="25"/>
                </a:lnTo>
                <a:lnTo>
                  <a:pt x="50" y="19"/>
                </a:lnTo>
                <a:lnTo>
                  <a:pt x="54" y="16"/>
                </a:lnTo>
                <a:lnTo>
                  <a:pt x="57" y="13"/>
                </a:lnTo>
                <a:lnTo>
                  <a:pt x="60" y="13"/>
                </a:lnTo>
                <a:lnTo>
                  <a:pt x="60" y="10"/>
                </a:lnTo>
                <a:lnTo>
                  <a:pt x="60" y="10"/>
                </a:lnTo>
                <a:lnTo>
                  <a:pt x="63" y="7"/>
                </a:lnTo>
                <a:lnTo>
                  <a:pt x="66" y="7"/>
                </a:lnTo>
                <a:lnTo>
                  <a:pt x="63" y="3"/>
                </a:lnTo>
                <a:lnTo>
                  <a:pt x="60" y="0"/>
                </a:lnTo>
                <a:lnTo>
                  <a:pt x="60" y="3"/>
                </a:lnTo>
                <a:lnTo>
                  <a:pt x="57" y="3"/>
                </a:lnTo>
                <a:lnTo>
                  <a:pt x="57" y="7"/>
                </a:lnTo>
                <a:lnTo>
                  <a:pt x="54" y="13"/>
                </a:lnTo>
                <a:lnTo>
                  <a:pt x="54" y="10"/>
                </a:lnTo>
                <a:lnTo>
                  <a:pt x="57" y="7"/>
                </a:lnTo>
                <a:lnTo>
                  <a:pt x="54" y="3"/>
                </a:lnTo>
                <a:lnTo>
                  <a:pt x="50" y="3"/>
                </a:lnTo>
                <a:lnTo>
                  <a:pt x="54" y="7"/>
                </a:lnTo>
                <a:lnTo>
                  <a:pt x="50" y="7"/>
                </a:lnTo>
                <a:lnTo>
                  <a:pt x="47" y="7"/>
                </a:lnTo>
                <a:lnTo>
                  <a:pt x="44" y="7"/>
                </a:lnTo>
                <a:lnTo>
                  <a:pt x="44" y="10"/>
                </a:lnTo>
                <a:lnTo>
                  <a:pt x="41" y="10"/>
                </a:lnTo>
                <a:lnTo>
                  <a:pt x="41" y="13"/>
                </a:lnTo>
                <a:lnTo>
                  <a:pt x="44" y="13"/>
                </a:lnTo>
                <a:lnTo>
                  <a:pt x="41" y="16"/>
                </a:lnTo>
                <a:lnTo>
                  <a:pt x="38" y="16"/>
                </a:lnTo>
                <a:lnTo>
                  <a:pt x="41" y="16"/>
                </a:lnTo>
                <a:lnTo>
                  <a:pt x="35" y="19"/>
                </a:lnTo>
                <a:lnTo>
                  <a:pt x="38" y="22"/>
                </a:lnTo>
                <a:lnTo>
                  <a:pt x="41" y="22"/>
                </a:lnTo>
                <a:lnTo>
                  <a:pt x="41" y="22"/>
                </a:lnTo>
                <a:lnTo>
                  <a:pt x="44" y="22"/>
                </a:lnTo>
                <a:lnTo>
                  <a:pt x="47" y="22"/>
                </a:lnTo>
                <a:lnTo>
                  <a:pt x="41" y="25"/>
                </a:lnTo>
                <a:lnTo>
                  <a:pt x="35" y="28"/>
                </a:lnTo>
                <a:lnTo>
                  <a:pt x="38" y="28"/>
                </a:lnTo>
                <a:lnTo>
                  <a:pt x="32" y="32"/>
                </a:lnTo>
                <a:lnTo>
                  <a:pt x="29" y="28"/>
                </a:lnTo>
                <a:lnTo>
                  <a:pt x="29" y="32"/>
                </a:lnTo>
                <a:lnTo>
                  <a:pt x="25" y="28"/>
                </a:lnTo>
                <a:lnTo>
                  <a:pt x="16" y="28"/>
                </a:lnTo>
                <a:lnTo>
                  <a:pt x="16" y="28"/>
                </a:lnTo>
                <a:lnTo>
                  <a:pt x="13" y="28"/>
                </a:lnTo>
                <a:lnTo>
                  <a:pt x="10" y="32"/>
                </a:lnTo>
                <a:lnTo>
                  <a:pt x="13" y="32"/>
                </a:lnTo>
                <a:lnTo>
                  <a:pt x="13" y="35"/>
                </a:lnTo>
                <a:lnTo>
                  <a:pt x="16" y="35"/>
                </a:lnTo>
                <a:lnTo>
                  <a:pt x="16" y="38"/>
                </a:lnTo>
                <a:lnTo>
                  <a:pt x="13" y="38"/>
                </a:lnTo>
                <a:lnTo>
                  <a:pt x="13" y="35"/>
                </a:lnTo>
                <a:lnTo>
                  <a:pt x="10" y="35"/>
                </a:lnTo>
                <a:lnTo>
                  <a:pt x="16" y="41"/>
                </a:lnTo>
                <a:lnTo>
                  <a:pt x="19" y="38"/>
                </a:lnTo>
                <a:lnTo>
                  <a:pt x="19" y="41"/>
                </a:lnTo>
                <a:lnTo>
                  <a:pt x="16" y="44"/>
                </a:lnTo>
                <a:lnTo>
                  <a:pt x="13" y="44"/>
                </a:lnTo>
                <a:lnTo>
                  <a:pt x="16" y="47"/>
                </a:lnTo>
                <a:lnTo>
                  <a:pt x="10" y="47"/>
                </a:lnTo>
                <a:lnTo>
                  <a:pt x="10" y="50"/>
                </a:lnTo>
                <a:lnTo>
                  <a:pt x="10" y="50"/>
                </a:lnTo>
                <a:lnTo>
                  <a:pt x="13" y="53"/>
                </a:lnTo>
                <a:lnTo>
                  <a:pt x="16" y="53"/>
                </a:lnTo>
                <a:lnTo>
                  <a:pt x="13" y="53"/>
                </a:lnTo>
                <a:lnTo>
                  <a:pt x="19" y="53"/>
                </a:lnTo>
                <a:lnTo>
                  <a:pt x="19" y="57"/>
                </a:lnTo>
                <a:lnTo>
                  <a:pt x="29" y="57"/>
                </a:lnTo>
                <a:lnTo>
                  <a:pt x="25" y="63"/>
                </a:lnTo>
                <a:lnTo>
                  <a:pt x="22" y="60"/>
                </a:lnTo>
                <a:lnTo>
                  <a:pt x="19" y="66"/>
                </a:lnTo>
                <a:lnTo>
                  <a:pt x="22" y="66"/>
                </a:lnTo>
                <a:lnTo>
                  <a:pt x="19" y="72"/>
                </a:lnTo>
                <a:lnTo>
                  <a:pt x="10" y="75"/>
                </a:lnTo>
                <a:lnTo>
                  <a:pt x="13" y="75"/>
                </a:lnTo>
                <a:lnTo>
                  <a:pt x="19" y="72"/>
                </a:lnTo>
                <a:lnTo>
                  <a:pt x="19" y="75"/>
                </a:lnTo>
                <a:lnTo>
                  <a:pt x="25" y="75"/>
                </a:lnTo>
                <a:lnTo>
                  <a:pt x="29" y="72"/>
                </a:lnTo>
                <a:lnTo>
                  <a:pt x="29" y="72"/>
                </a:lnTo>
                <a:lnTo>
                  <a:pt x="32" y="72"/>
                </a:lnTo>
                <a:lnTo>
                  <a:pt x="22" y="75"/>
                </a:lnTo>
                <a:lnTo>
                  <a:pt x="16" y="75"/>
                </a:lnTo>
                <a:lnTo>
                  <a:pt x="16" y="78"/>
                </a:lnTo>
                <a:lnTo>
                  <a:pt x="10" y="78"/>
                </a:lnTo>
                <a:lnTo>
                  <a:pt x="13" y="82"/>
                </a:lnTo>
                <a:lnTo>
                  <a:pt x="13" y="85"/>
                </a:lnTo>
                <a:lnTo>
                  <a:pt x="13" y="85"/>
                </a:lnTo>
                <a:lnTo>
                  <a:pt x="10" y="85"/>
                </a:lnTo>
                <a:lnTo>
                  <a:pt x="7" y="82"/>
                </a:lnTo>
                <a:lnTo>
                  <a:pt x="7" y="85"/>
                </a:lnTo>
                <a:lnTo>
                  <a:pt x="7" y="82"/>
                </a:lnTo>
                <a:lnTo>
                  <a:pt x="0" y="85"/>
                </a:lnTo>
                <a:lnTo>
                  <a:pt x="0" y="88"/>
                </a:lnTo>
                <a:lnTo>
                  <a:pt x="13" y="88"/>
                </a:lnTo>
                <a:lnTo>
                  <a:pt x="10" y="91"/>
                </a:lnTo>
                <a:lnTo>
                  <a:pt x="4" y="91"/>
                </a:lnTo>
                <a:lnTo>
                  <a:pt x="4" y="94"/>
                </a:lnTo>
                <a:lnTo>
                  <a:pt x="7" y="94"/>
                </a:lnTo>
                <a:lnTo>
                  <a:pt x="7" y="97"/>
                </a:lnTo>
                <a:lnTo>
                  <a:pt x="16" y="94"/>
                </a:lnTo>
                <a:lnTo>
                  <a:pt x="10" y="100"/>
                </a:lnTo>
                <a:lnTo>
                  <a:pt x="7" y="100"/>
                </a:lnTo>
                <a:lnTo>
                  <a:pt x="10" y="100"/>
                </a:lnTo>
                <a:lnTo>
                  <a:pt x="16" y="97"/>
                </a:lnTo>
                <a:lnTo>
                  <a:pt x="16" y="100"/>
                </a:lnTo>
                <a:lnTo>
                  <a:pt x="10" y="104"/>
                </a:lnTo>
                <a:lnTo>
                  <a:pt x="13" y="104"/>
                </a:lnTo>
                <a:lnTo>
                  <a:pt x="13" y="104"/>
                </a:lnTo>
                <a:lnTo>
                  <a:pt x="19" y="104"/>
                </a:lnTo>
                <a:lnTo>
                  <a:pt x="19" y="10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6" name="Freeform 74">
            <a:extLst>
              <a:ext uri="{FF2B5EF4-FFF2-40B4-BE49-F238E27FC236}">
                <a16:creationId xmlns:a16="http://schemas.microsoft.com/office/drawing/2014/main" id="{DC1883C7-77E8-DEE7-E566-29F0A9830EBA}"/>
              </a:ext>
            </a:extLst>
          </p:cNvPr>
          <p:cNvSpPr>
            <a:spLocks noEditPoints="1"/>
          </p:cNvSpPr>
          <p:nvPr userDrawn="1"/>
        </p:nvSpPr>
        <p:spPr bwMode="auto">
          <a:xfrm>
            <a:off x="12721394" y="4987205"/>
            <a:ext cx="536541" cy="981078"/>
          </a:xfrm>
          <a:custGeom>
            <a:avLst/>
            <a:gdLst>
              <a:gd name="T0" fmla="*/ 2 w 54"/>
              <a:gd name="T1" fmla="*/ 56 h 99"/>
              <a:gd name="T2" fmla="*/ 12 w 54"/>
              <a:gd name="T3" fmla="*/ 57 h 99"/>
              <a:gd name="T4" fmla="*/ 11 w 54"/>
              <a:gd name="T5" fmla="*/ 62 h 99"/>
              <a:gd name="T6" fmla="*/ 39 w 54"/>
              <a:gd name="T7" fmla="*/ 0 h 99"/>
              <a:gd name="T8" fmla="*/ 38 w 54"/>
              <a:gd name="T9" fmla="*/ 1 h 99"/>
              <a:gd name="T10" fmla="*/ 36 w 54"/>
              <a:gd name="T11" fmla="*/ 4 h 99"/>
              <a:gd name="T12" fmla="*/ 50 w 54"/>
              <a:gd name="T13" fmla="*/ 86 h 99"/>
              <a:gd name="T14" fmla="*/ 36 w 54"/>
              <a:gd name="T15" fmla="*/ 93 h 99"/>
              <a:gd name="T16" fmla="*/ 6 w 54"/>
              <a:gd name="T17" fmla="*/ 41 h 99"/>
              <a:gd name="T18" fmla="*/ 9 w 54"/>
              <a:gd name="T19" fmla="*/ 37 h 99"/>
              <a:gd name="T20" fmla="*/ 26 w 54"/>
              <a:gd name="T21" fmla="*/ 19 h 99"/>
              <a:gd name="T22" fmla="*/ 25 w 54"/>
              <a:gd name="T23" fmla="*/ 22 h 99"/>
              <a:gd name="T24" fmla="*/ 11 w 54"/>
              <a:gd name="T25" fmla="*/ 26 h 99"/>
              <a:gd name="T26" fmla="*/ 7 w 54"/>
              <a:gd name="T27" fmla="*/ 29 h 99"/>
              <a:gd name="T28" fmla="*/ 4 w 54"/>
              <a:gd name="T29" fmla="*/ 33 h 99"/>
              <a:gd name="T30" fmla="*/ 5 w 54"/>
              <a:gd name="T31" fmla="*/ 35 h 99"/>
              <a:gd name="T32" fmla="*/ 9 w 54"/>
              <a:gd name="T33" fmla="*/ 34 h 99"/>
              <a:gd name="T34" fmla="*/ 11 w 54"/>
              <a:gd name="T35" fmla="*/ 34 h 99"/>
              <a:gd name="T36" fmla="*/ 12 w 54"/>
              <a:gd name="T37" fmla="*/ 42 h 99"/>
              <a:gd name="T38" fmla="*/ 12 w 54"/>
              <a:gd name="T39" fmla="*/ 47 h 99"/>
              <a:gd name="T40" fmla="*/ 16 w 54"/>
              <a:gd name="T41" fmla="*/ 52 h 99"/>
              <a:gd name="T42" fmla="*/ 17 w 54"/>
              <a:gd name="T43" fmla="*/ 63 h 99"/>
              <a:gd name="T44" fmla="*/ 16 w 54"/>
              <a:gd name="T45" fmla="*/ 98 h 99"/>
              <a:gd name="T46" fmla="*/ 24 w 54"/>
              <a:gd name="T47" fmla="*/ 97 h 99"/>
              <a:gd name="T48" fmla="*/ 31 w 54"/>
              <a:gd name="T49" fmla="*/ 93 h 99"/>
              <a:gd name="T50" fmla="*/ 40 w 54"/>
              <a:gd name="T51" fmla="*/ 92 h 99"/>
              <a:gd name="T52" fmla="*/ 51 w 54"/>
              <a:gd name="T53" fmla="*/ 89 h 99"/>
              <a:gd name="T54" fmla="*/ 48 w 54"/>
              <a:gd name="T55" fmla="*/ 86 h 99"/>
              <a:gd name="T56" fmla="*/ 50 w 54"/>
              <a:gd name="T57" fmla="*/ 82 h 99"/>
              <a:gd name="T58" fmla="*/ 53 w 54"/>
              <a:gd name="T59" fmla="*/ 80 h 99"/>
              <a:gd name="T60" fmla="*/ 44 w 54"/>
              <a:gd name="T61" fmla="*/ 73 h 99"/>
              <a:gd name="T62" fmla="*/ 40 w 54"/>
              <a:gd name="T63" fmla="*/ 66 h 99"/>
              <a:gd name="T64" fmla="*/ 42 w 54"/>
              <a:gd name="T65" fmla="*/ 62 h 99"/>
              <a:gd name="T66" fmla="*/ 33 w 54"/>
              <a:gd name="T67" fmla="*/ 50 h 99"/>
              <a:gd name="T68" fmla="*/ 23 w 54"/>
              <a:gd name="T69" fmla="*/ 45 h 99"/>
              <a:gd name="T70" fmla="*/ 25 w 54"/>
              <a:gd name="T71" fmla="*/ 43 h 99"/>
              <a:gd name="T72" fmla="*/ 31 w 54"/>
              <a:gd name="T73" fmla="*/ 34 h 99"/>
              <a:gd name="T74" fmla="*/ 24 w 54"/>
              <a:gd name="T75" fmla="*/ 32 h 99"/>
              <a:gd name="T76" fmla="*/ 21 w 54"/>
              <a:gd name="T77" fmla="*/ 29 h 99"/>
              <a:gd name="T78" fmla="*/ 22 w 54"/>
              <a:gd name="T79" fmla="*/ 24 h 99"/>
              <a:gd name="T80" fmla="*/ 16 w 54"/>
              <a:gd name="T81" fmla="*/ 24 h 99"/>
              <a:gd name="T82" fmla="*/ 14 w 54"/>
              <a:gd name="T83" fmla="*/ 30 h 99"/>
              <a:gd name="T84" fmla="*/ 13 w 54"/>
              <a:gd name="T85" fmla="*/ 33 h 99"/>
              <a:gd name="T86" fmla="*/ 13 w 54"/>
              <a:gd name="T87" fmla="*/ 35 h 99"/>
              <a:gd name="T88" fmla="*/ 12 w 54"/>
              <a:gd name="T89" fmla="*/ 39 h 99"/>
              <a:gd name="T90" fmla="*/ 13 w 54"/>
              <a:gd name="T91" fmla="*/ 42 h 99"/>
              <a:gd name="T92" fmla="*/ 13 w 54"/>
              <a:gd name="T93" fmla="*/ 48 h 99"/>
              <a:gd name="T94" fmla="*/ 14 w 54"/>
              <a:gd name="T95" fmla="*/ 48 h 99"/>
              <a:gd name="T96" fmla="*/ 17 w 54"/>
              <a:gd name="T97" fmla="*/ 45 h 99"/>
              <a:gd name="T98" fmla="*/ 16 w 54"/>
              <a:gd name="T99" fmla="*/ 56 h 99"/>
              <a:gd name="T100" fmla="*/ 22 w 54"/>
              <a:gd name="T101" fmla="*/ 57 h 99"/>
              <a:gd name="T102" fmla="*/ 28 w 54"/>
              <a:gd name="T103" fmla="*/ 62 h 99"/>
              <a:gd name="T104" fmla="*/ 27 w 54"/>
              <a:gd name="T105" fmla="*/ 69 h 99"/>
              <a:gd name="T106" fmla="*/ 17 w 54"/>
              <a:gd name="T107" fmla="*/ 74 h 99"/>
              <a:gd name="T108" fmla="*/ 19 w 54"/>
              <a:gd name="T109" fmla="*/ 80 h 99"/>
              <a:gd name="T110" fmla="*/ 16 w 54"/>
              <a:gd name="T111" fmla="*/ 85 h 99"/>
              <a:gd name="T112" fmla="*/ 24 w 54"/>
              <a:gd name="T113" fmla="*/ 86 h 99"/>
              <a:gd name="T114" fmla="*/ 27 w 54"/>
              <a:gd name="T115" fmla="*/ 89 h 99"/>
              <a:gd name="T116" fmla="*/ 16 w 54"/>
              <a:gd name="T117" fmla="*/ 94 h 99"/>
              <a:gd name="T118" fmla="*/ 15 w 54"/>
              <a:gd name="T119"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 h="99">
                <a:moveTo>
                  <a:pt x="10" y="64"/>
                </a:moveTo>
                <a:cubicBezTo>
                  <a:pt x="8" y="63"/>
                  <a:pt x="8" y="63"/>
                  <a:pt x="8" y="63"/>
                </a:cubicBezTo>
                <a:cubicBezTo>
                  <a:pt x="7" y="63"/>
                  <a:pt x="7" y="63"/>
                  <a:pt x="7" y="63"/>
                </a:cubicBezTo>
                <a:cubicBezTo>
                  <a:pt x="6" y="60"/>
                  <a:pt x="6" y="60"/>
                  <a:pt x="6" y="60"/>
                </a:cubicBezTo>
                <a:cubicBezTo>
                  <a:pt x="4" y="59"/>
                  <a:pt x="4" y="59"/>
                  <a:pt x="4" y="59"/>
                </a:cubicBezTo>
                <a:cubicBezTo>
                  <a:pt x="4" y="60"/>
                  <a:pt x="4" y="60"/>
                  <a:pt x="4" y="60"/>
                </a:cubicBezTo>
                <a:cubicBezTo>
                  <a:pt x="3" y="62"/>
                  <a:pt x="3" y="62"/>
                  <a:pt x="3" y="62"/>
                </a:cubicBezTo>
                <a:cubicBezTo>
                  <a:pt x="2" y="62"/>
                  <a:pt x="2" y="62"/>
                  <a:pt x="2" y="62"/>
                </a:cubicBezTo>
                <a:cubicBezTo>
                  <a:pt x="0" y="59"/>
                  <a:pt x="0" y="59"/>
                  <a:pt x="0" y="59"/>
                </a:cubicBezTo>
                <a:cubicBezTo>
                  <a:pt x="1" y="57"/>
                  <a:pt x="1" y="57"/>
                  <a:pt x="1" y="57"/>
                </a:cubicBezTo>
                <a:cubicBezTo>
                  <a:pt x="2" y="56"/>
                  <a:pt x="2" y="56"/>
                  <a:pt x="2" y="56"/>
                </a:cubicBezTo>
                <a:cubicBezTo>
                  <a:pt x="3" y="55"/>
                  <a:pt x="3" y="55"/>
                  <a:pt x="3" y="55"/>
                </a:cubicBezTo>
                <a:cubicBezTo>
                  <a:pt x="4" y="55"/>
                  <a:pt x="4" y="55"/>
                  <a:pt x="4" y="55"/>
                </a:cubicBezTo>
                <a:cubicBezTo>
                  <a:pt x="4" y="54"/>
                  <a:pt x="4" y="54"/>
                  <a:pt x="4" y="54"/>
                </a:cubicBezTo>
                <a:cubicBezTo>
                  <a:pt x="5" y="54"/>
                  <a:pt x="5" y="54"/>
                  <a:pt x="5" y="54"/>
                </a:cubicBezTo>
                <a:cubicBezTo>
                  <a:pt x="6" y="54"/>
                  <a:pt x="6" y="54"/>
                  <a:pt x="6" y="54"/>
                </a:cubicBezTo>
                <a:cubicBezTo>
                  <a:pt x="7" y="54"/>
                  <a:pt x="7" y="54"/>
                  <a:pt x="7" y="54"/>
                </a:cubicBezTo>
                <a:cubicBezTo>
                  <a:pt x="8" y="53"/>
                  <a:pt x="8" y="53"/>
                  <a:pt x="8" y="53"/>
                </a:cubicBezTo>
                <a:cubicBezTo>
                  <a:pt x="10" y="53"/>
                  <a:pt x="10" y="53"/>
                  <a:pt x="10" y="53"/>
                </a:cubicBezTo>
                <a:cubicBezTo>
                  <a:pt x="11" y="53"/>
                  <a:pt x="11" y="53"/>
                  <a:pt x="11" y="53"/>
                </a:cubicBezTo>
                <a:cubicBezTo>
                  <a:pt x="11" y="55"/>
                  <a:pt x="11" y="55"/>
                  <a:pt x="11" y="55"/>
                </a:cubicBezTo>
                <a:cubicBezTo>
                  <a:pt x="12" y="57"/>
                  <a:pt x="12" y="57"/>
                  <a:pt x="12" y="57"/>
                </a:cubicBezTo>
                <a:cubicBezTo>
                  <a:pt x="12" y="58"/>
                  <a:pt x="12" y="58"/>
                  <a:pt x="12" y="58"/>
                </a:cubicBezTo>
                <a:cubicBezTo>
                  <a:pt x="13" y="58"/>
                  <a:pt x="13" y="58"/>
                  <a:pt x="13" y="58"/>
                </a:cubicBezTo>
                <a:cubicBezTo>
                  <a:pt x="14" y="61"/>
                  <a:pt x="14" y="61"/>
                  <a:pt x="14" y="61"/>
                </a:cubicBezTo>
                <a:cubicBezTo>
                  <a:pt x="13" y="59"/>
                  <a:pt x="13" y="59"/>
                  <a:pt x="13" y="59"/>
                </a:cubicBezTo>
                <a:cubicBezTo>
                  <a:pt x="12" y="59"/>
                  <a:pt x="12" y="59"/>
                  <a:pt x="12" y="59"/>
                </a:cubicBezTo>
                <a:cubicBezTo>
                  <a:pt x="13" y="59"/>
                  <a:pt x="13" y="59"/>
                  <a:pt x="13" y="59"/>
                </a:cubicBezTo>
                <a:cubicBezTo>
                  <a:pt x="12" y="60"/>
                  <a:pt x="12" y="60"/>
                  <a:pt x="12" y="60"/>
                </a:cubicBezTo>
                <a:cubicBezTo>
                  <a:pt x="13" y="61"/>
                  <a:pt x="13" y="61"/>
                  <a:pt x="13" y="61"/>
                </a:cubicBezTo>
                <a:cubicBezTo>
                  <a:pt x="13" y="62"/>
                  <a:pt x="13" y="62"/>
                  <a:pt x="13" y="62"/>
                </a:cubicBezTo>
                <a:cubicBezTo>
                  <a:pt x="11" y="61"/>
                  <a:pt x="11" y="61"/>
                  <a:pt x="11" y="61"/>
                </a:cubicBezTo>
                <a:cubicBezTo>
                  <a:pt x="11" y="62"/>
                  <a:pt x="11" y="62"/>
                  <a:pt x="11" y="62"/>
                </a:cubicBezTo>
                <a:cubicBezTo>
                  <a:pt x="10" y="63"/>
                  <a:pt x="10" y="63"/>
                  <a:pt x="10" y="63"/>
                </a:cubicBezTo>
                <a:cubicBezTo>
                  <a:pt x="10" y="63"/>
                  <a:pt x="10" y="63"/>
                  <a:pt x="10" y="63"/>
                </a:cubicBezTo>
                <a:cubicBezTo>
                  <a:pt x="10" y="64"/>
                  <a:pt x="10" y="64"/>
                  <a:pt x="10" y="64"/>
                </a:cubicBezTo>
                <a:cubicBezTo>
                  <a:pt x="10" y="64"/>
                  <a:pt x="10" y="64"/>
                  <a:pt x="10" y="64"/>
                </a:cubicBezTo>
                <a:close/>
                <a:moveTo>
                  <a:pt x="36" y="9"/>
                </a:moveTo>
                <a:cubicBezTo>
                  <a:pt x="37" y="8"/>
                  <a:pt x="37" y="8"/>
                  <a:pt x="37" y="8"/>
                </a:cubicBezTo>
                <a:cubicBezTo>
                  <a:pt x="37" y="8"/>
                  <a:pt x="37" y="8"/>
                  <a:pt x="37" y="8"/>
                </a:cubicBezTo>
                <a:cubicBezTo>
                  <a:pt x="36" y="9"/>
                  <a:pt x="36" y="9"/>
                  <a:pt x="36" y="9"/>
                </a:cubicBezTo>
                <a:close/>
                <a:moveTo>
                  <a:pt x="38" y="1"/>
                </a:moveTo>
                <a:cubicBezTo>
                  <a:pt x="38" y="1"/>
                  <a:pt x="38" y="1"/>
                  <a:pt x="38" y="1"/>
                </a:cubicBezTo>
                <a:cubicBezTo>
                  <a:pt x="39" y="0"/>
                  <a:pt x="39" y="0"/>
                  <a:pt x="39" y="0"/>
                </a:cubicBezTo>
                <a:cubicBezTo>
                  <a:pt x="38" y="1"/>
                  <a:pt x="38" y="1"/>
                  <a:pt x="38" y="1"/>
                </a:cubicBezTo>
                <a:close/>
                <a:moveTo>
                  <a:pt x="36" y="4"/>
                </a:moveTo>
                <a:cubicBezTo>
                  <a:pt x="36" y="3"/>
                  <a:pt x="36" y="3"/>
                  <a:pt x="36" y="3"/>
                </a:cubicBezTo>
                <a:cubicBezTo>
                  <a:pt x="35" y="3"/>
                  <a:pt x="35" y="3"/>
                  <a:pt x="35" y="3"/>
                </a:cubicBezTo>
                <a:cubicBezTo>
                  <a:pt x="35" y="4"/>
                  <a:pt x="35" y="4"/>
                  <a:pt x="35" y="4"/>
                </a:cubicBezTo>
                <a:cubicBezTo>
                  <a:pt x="35" y="4"/>
                  <a:pt x="36" y="4"/>
                  <a:pt x="36" y="4"/>
                </a:cubicBezTo>
                <a:close/>
                <a:moveTo>
                  <a:pt x="37" y="3"/>
                </a:moveTo>
                <a:cubicBezTo>
                  <a:pt x="36" y="3"/>
                  <a:pt x="36" y="3"/>
                  <a:pt x="36" y="3"/>
                </a:cubicBezTo>
                <a:cubicBezTo>
                  <a:pt x="37" y="2"/>
                  <a:pt x="37" y="2"/>
                  <a:pt x="37" y="2"/>
                </a:cubicBezTo>
                <a:cubicBezTo>
                  <a:pt x="37" y="1"/>
                  <a:pt x="37" y="1"/>
                  <a:pt x="37" y="1"/>
                </a:cubicBezTo>
                <a:cubicBezTo>
                  <a:pt x="38" y="1"/>
                  <a:pt x="38" y="1"/>
                  <a:pt x="38" y="1"/>
                </a:cubicBezTo>
                <a:cubicBezTo>
                  <a:pt x="38" y="3"/>
                  <a:pt x="38" y="3"/>
                  <a:pt x="38" y="3"/>
                </a:cubicBezTo>
                <a:cubicBezTo>
                  <a:pt x="37" y="3"/>
                  <a:pt x="37" y="3"/>
                  <a:pt x="37" y="3"/>
                </a:cubicBezTo>
                <a:close/>
                <a:moveTo>
                  <a:pt x="37" y="7"/>
                </a:moveTo>
                <a:cubicBezTo>
                  <a:pt x="36" y="6"/>
                  <a:pt x="36" y="6"/>
                  <a:pt x="36" y="6"/>
                </a:cubicBezTo>
                <a:cubicBezTo>
                  <a:pt x="35" y="6"/>
                  <a:pt x="35" y="6"/>
                  <a:pt x="35" y="6"/>
                </a:cubicBezTo>
                <a:cubicBezTo>
                  <a:pt x="34" y="5"/>
                  <a:pt x="34" y="5"/>
                  <a:pt x="34" y="5"/>
                </a:cubicBezTo>
                <a:cubicBezTo>
                  <a:pt x="35" y="5"/>
                  <a:pt x="35" y="5"/>
                  <a:pt x="35" y="5"/>
                </a:cubicBezTo>
                <a:cubicBezTo>
                  <a:pt x="36" y="5"/>
                  <a:pt x="36" y="5"/>
                  <a:pt x="36" y="5"/>
                </a:cubicBezTo>
                <a:cubicBezTo>
                  <a:pt x="36" y="5"/>
                  <a:pt x="36" y="5"/>
                  <a:pt x="36" y="5"/>
                </a:cubicBezTo>
                <a:cubicBezTo>
                  <a:pt x="36" y="4"/>
                  <a:pt x="36" y="4"/>
                  <a:pt x="36" y="4"/>
                </a:cubicBezTo>
                <a:cubicBezTo>
                  <a:pt x="36" y="4"/>
                  <a:pt x="36" y="4"/>
                  <a:pt x="36" y="4"/>
                </a:cubicBezTo>
                <a:cubicBezTo>
                  <a:pt x="37" y="4"/>
                  <a:pt x="37" y="4"/>
                  <a:pt x="37" y="4"/>
                </a:cubicBezTo>
                <a:cubicBezTo>
                  <a:pt x="38" y="4"/>
                  <a:pt x="38" y="4"/>
                  <a:pt x="38" y="4"/>
                </a:cubicBezTo>
                <a:cubicBezTo>
                  <a:pt x="37" y="5"/>
                  <a:pt x="37" y="5"/>
                  <a:pt x="37" y="5"/>
                </a:cubicBezTo>
                <a:cubicBezTo>
                  <a:pt x="38" y="6"/>
                  <a:pt x="38" y="6"/>
                  <a:pt x="38" y="6"/>
                </a:cubicBezTo>
                <a:cubicBezTo>
                  <a:pt x="37" y="6"/>
                  <a:pt x="37" y="6"/>
                  <a:pt x="37" y="6"/>
                </a:cubicBezTo>
                <a:cubicBezTo>
                  <a:pt x="37" y="7"/>
                  <a:pt x="37" y="7"/>
                  <a:pt x="37" y="7"/>
                </a:cubicBezTo>
                <a:cubicBezTo>
                  <a:pt x="37" y="7"/>
                  <a:pt x="37" y="7"/>
                  <a:pt x="37" y="7"/>
                </a:cubicBezTo>
                <a:close/>
                <a:moveTo>
                  <a:pt x="49" y="86"/>
                </a:moveTo>
                <a:cubicBezTo>
                  <a:pt x="49" y="86"/>
                  <a:pt x="49" y="86"/>
                  <a:pt x="49" y="86"/>
                </a:cubicBezTo>
                <a:cubicBezTo>
                  <a:pt x="50" y="86"/>
                  <a:pt x="50" y="86"/>
                  <a:pt x="50" y="86"/>
                </a:cubicBezTo>
                <a:cubicBezTo>
                  <a:pt x="50" y="86"/>
                  <a:pt x="50" y="86"/>
                  <a:pt x="50" y="86"/>
                </a:cubicBezTo>
                <a:cubicBezTo>
                  <a:pt x="49" y="85"/>
                  <a:pt x="49" y="85"/>
                  <a:pt x="49" y="85"/>
                </a:cubicBezTo>
                <a:cubicBezTo>
                  <a:pt x="49" y="86"/>
                  <a:pt x="49" y="86"/>
                  <a:pt x="49" y="86"/>
                </a:cubicBezTo>
                <a:close/>
                <a:moveTo>
                  <a:pt x="36" y="93"/>
                </a:moveTo>
                <a:cubicBezTo>
                  <a:pt x="37" y="92"/>
                  <a:pt x="37" y="92"/>
                  <a:pt x="37" y="92"/>
                </a:cubicBezTo>
                <a:cubicBezTo>
                  <a:pt x="38" y="92"/>
                  <a:pt x="38" y="92"/>
                  <a:pt x="38" y="92"/>
                </a:cubicBezTo>
                <a:cubicBezTo>
                  <a:pt x="39" y="92"/>
                  <a:pt x="39" y="92"/>
                  <a:pt x="39" y="92"/>
                </a:cubicBezTo>
                <a:cubicBezTo>
                  <a:pt x="38" y="93"/>
                  <a:pt x="38" y="93"/>
                  <a:pt x="38" y="93"/>
                </a:cubicBezTo>
                <a:cubicBezTo>
                  <a:pt x="38" y="94"/>
                  <a:pt x="38" y="94"/>
                  <a:pt x="38" y="94"/>
                </a:cubicBezTo>
                <a:cubicBezTo>
                  <a:pt x="37" y="94"/>
                  <a:pt x="37" y="94"/>
                  <a:pt x="37" y="94"/>
                </a:cubicBezTo>
                <a:cubicBezTo>
                  <a:pt x="37" y="93"/>
                  <a:pt x="37" y="93"/>
                  <a:pt x="37" y="93"/>
                </a:cubicBezTo>
                <a:cubicBezTo>
                  <a:pt x="36" y="93"/>
                  <a:pt x="36" y="93"/>
                  <a:pt x="36" y="93"/>
                </a:cubicBezTo>
                <a:close/>
                <a:moveTo>
                  <a:pt x="16" y="47"/>
                </a:moveTo>
                <a:cubicBezTo>
                  <a:pt x="15" y="48"/>
                  <a:pt x="15" y="48"/>
                  <a:pt x="15" y="48"/>
                </a:cubicBezTo>
                <a:cubicBezTo>
                  <a:pt x="16" y="49"/>
                  <a:pt x="16" y="49"/>
                  <a:pt x="16" y="49"/>
                </a:cubicBezTo>
                <a:cubicBezTo>
                  <a:pt x="16" y="48"/>
                  <a:pt x="16" y="48"/>
                  <a:pt x="16" y="48"/>
                </a:cubicBezTo>
                <a:cubicBezTo>
                  <a:pt x="16" y="47"/>
                  <a:pt x="16" y="47"/>
                  <a:pt x="16" y="47"/>
                </a:cubicBezTo>
                <a:close/>
                <a:moveTo>
                  <a:pt x="10" y="46"/>
                </a:moveTo>
                <a:cubicBezTo>
                  <a:pt x="10" y="45"/>
                  <a:pt x="10" y="45"/>
                  <a:pt x="10" y="45"/>
                </a:cubicBezTo>
                <a:cubicBezTo>
                  <a:pt x="10" y="46"/>
                  <a:pt x="10" y="46"/>
                  <a:pt x="10" y="46"/>
                </a:cubicBezTo>
                <a:cubicBezTo>
                  <a:pt x="10" y="46"/>
                  <a:pt x="10" y="46"/>
                  <a:pt x="10" y="46"/>
                </a:cubicBezTo>
                <a:close/>
                <a:moveTo>
                  <a:pt x="6" y="42"/>
                </a:moveTo>
                <a:cubicBezTo>
                  <a:pt x="6" y="41"/>
                  <a:pt x="6" y="41"/>
                  <a:pt x="6" y="41"/>
                </a:cubicBezTo>
                <a:cubicBezTo>
                  <a:pt x="7" y="41"/>
                  <a:pt x="7" y="41"/>
                  <a:pt x="7" y="41"/>
                </a:cubicBezTo>
                <a:cubicBezTo>
                  <a:pt x="6" y="42"/>
                  <a:pt x="6" y="42"/>
                  <a:pt x="6" y="42"/>
                </a:cubicBezTo>
                <a:close/>
                <a:moveTo>
                  <a:pt x="8" y="41"/>
                </a:moveTo>
                <a:cubicBezTo>
                  <a:pt x="9" y="40"/>
                  <a:pt x="9" y="40"/>
                  <a:pt x="9" y="40"/>
                </a:cubicBezTo>
                <a:cubicBezTo>
                  <a:pt x="9" y="41"/>
                  <a:pt x="9" y="41"/>
                  <a:pt x="9" y="41"/>
                </a:cubicBezTo>
                <a:cubicBezTo>
                  <a:pt x="8" y="41"/>
                  <a:pt x="8" y="41"/>
                  <a:pt x="8" y="41"/>
                </a:cubicBezTo>
                <a:close/>
                <a:moveTo>
                  <a:pt x="10" y="39"/>
                </a:moveTo>
                <a:cubicBezTo>
                  <a:pt x="11" y="38"/>
                  <a:pt x="11" y="38"/>
                  <a:pt x="11" y="38"/>
                </a:cubicBezTo>
                <a:cubicBezTo>
                  <a:pt x="10" y="38"/>
                  <a:pt x="10" y="38"/>
                  <a:pt x="10" y="38"/>
                </a:cubicBezTo>
                <a:cubicBezTo>
                  <a:pt x="10" y="39"/>
                  <a:pt x="10" y="39"/>
                  <a:pt x="10" y="39"/>
                </a:cubicBezTo>
                <a:close/>
                <a:moveTo>
                  <a:pt x="9" y="37"/>
                </a:moveTo>
                <a:cubicBezTo>
                  <a:pt x="10" y="38"/>
                  <a:pt x="10" y="38"/>
                  <a:pt x="10" y="38"/>
                </a:cubicBezTo>
                <a:cubicBezTo>
                  <a:pt x="10" y="38"/>
                  <a:pt x="10" y="38"/>
                  <a:pt x="10" y="38"/>
                </a:cubicBezTo>
                <a:cubicBezTo>
                  <a:pt x="10" y="37"/>
                  <a:pt x="10" y="37"/>
                  <a:pt x="10" y="37"/>
                </a:cubicBezTo>
                <a:cubicBezTo>
                  <a:pt x="9" y="37"/>
                  <a:pt x="9" y="37"/>
                  <a:pt x="9" y="37"/>
                </a:cubicBezTo>
                <a:close/>
                <a:moveTo>
                  <a:pt x="25" y="18"/>
                </a:moveTo>
                <a:cubicBezTo>
                  <a:pt x="26" y="19"/>
                  <a:pt x="26" y="19"/>
                  <a:pt x="26" y="19"/>
                </a:cubicBezTo>
                <a:cubicBezTo>
                  <a:pt x="26" y="18"/>
                  <a:pt x="26" y="18"/>
                  <a:pt x="26" y="18"/>
                </a:cubicBezTo>
                <a:cubicBezTo>
                  <a:pt x="25" y="18"/>
                  <a:pt x="25" y="18"/>
                  <a:pt x="25" y="18"/>
                </a:cubicBezTo>
                <a:close/>
                <a:moveTo>
                  <a:pt x="24" y="19"/>
                </a:moveTo>
                <a:cubicBezTo>
                  <a:pt x="25" y="19"/>
                  <a:pt x="25" y="19"/>
                  <a:pt x="25" y="19"/>
                </a:cubicBezTo>
                <a:cubicBezTo>
                  <a:pt x="26" y="19"/>
                  <a:pt x="26" y="19"/>
                  <a:pt x="26" y="19"/>
                </a:cubicBezTo>
                <a:cubicBezTo>
                  <a:pt x="25" y="20"/>
                  <a:pt x="25" y="20"/>
                  <a:pt x="25" y="20"/>
                </a:cubicBezTo>
                <a:cubicBezTo>
                  <a:pt x="27" y="20"/>
                  <a:pt x="27" y="20"/>
                  <a:pt x="27" y="20"/>
                </a:cubicBezTo>
                <a:cubicBezTo>
                  <a:pt x="27" y="21"/>
                  <a:pt x="27" y="21"/>
                  <a:pt x="27" y="21"/>
                </a:cubicBezTo>
                <a:cubicBezTo>
                  <a:pt x="26" y="20"/>
                  <a:pt x="26" y="20"/>
                  <a:pt x="26" y="20"/>
                </a:cubicBezTo>
                <a:cubicBezTo>
                  <a:pt x="25" y="20"/>
                  <a:pt x="25" y="20"/>
                  <a:pt x="25" y="20"/>
                </a:cubicBezTo>
                <a:cubicBezTo>
                  <a:pt x="25" y="20"/>
                  <a:pt x="25" y="20"/>
                  <a:pt x="25" y="20"/>
                </a:cubicBezTo>
                <a:cubicBezTo>
                  <a:pt x="25" y="20"/>
                  <a:pt x="25" y="20"/>
                  <a:pt x="25" y="20"/>
                </a:cubicBezTo>
                <a:cubicBezTo>
                  <a:pt x="24" y="20"/>
                  <a:pt x="24" y="20"/>
                  <a:pt x="24" y="20"/>
                </a:cubicBezTo>
                <a:cubicBezTo>
                  <a:pt x="24" y="19"/>
                  <a:pt x="24" y="19"/>
                  <a:pt x="24" y="19"/>
                </a:cubicBezTo>
                <a:close/>
                <a:moveTo>
                  <a:pt x="24" y="21"/>
                </a:moveTo>
                <a:cubicBezTo>
                  <a:pt x="25" y="22"/>
                  <a:pt x="25" y="22"/>
                  <a:pt x="25" y="22"/>
                </a:cubicBezTo>
                <a:cubicBezTo>
                  <a:pt x="25" y="21"/>
                  <a:pt x="25" y="21"/>
                  <a:pt x="25" y="21"/>
                </a:cubicBezTo>
                <a:cubicBezTo>
                  <a:pt x="25" y="21"/>
                  <a:pt x="25" y="21"/>
                  <a:pt x="25" y="21"/>
                </a:cubicBezTo>
                <a:cubicBezTo>
                  <a:pt x="24" y="21"/>
                  <a:pt x="24" y="21"/>
                  <a:pt x="24" y="21"/>
                </a:cubicBezTo>
                <a:close/>
                <a:moveTo>
                  <a:pt x="6" y="28"/>
                </a:moveTo>
                <a:cubicBezTo>
                  <a:pt x="7" y="28"/>
                  <a:pt x="7" y="28"/>
                  <a:pt x="7" y="28"/>
                </a:cubicBezTo>
                <a:cubicBezTo>
                  <a:pt x="6" y="27"/>
                  <a:pt x="6" y="27"/>
                  <a:pt x="6" y="27"/>
                </a:cubicBezTo>
                <a:cubicBezTo>
                  <a:pt x="7" y="26"/>
                  <a:pt x="7" y="26"/>
                  <a:pt x="7" y="26"/>
                </a:cubicBezTo>
                <a:cubicBezTo>
                  <a:pt x="8" y="27"/>
                  <a:pt x="8" y="27"/>
                  <a:pt x="8" y="27"/>
                </a:cubicBezTo>
                <a:cubicBezTo>
                  <a:pt x="8" y="26"/>
                  <a:pt x="8" y="26"/>
                  <a:pt x="8" y="26"/>
                </a:cubicBezTo>
                <a:cubicBezTo>
                  <a:pt x="10" y="24"/>
                  <a:pt x="10" y="24"/>
                  <a:pt x="10" y="24"/>
                </a:cubicBezTo>
                <a:cubicBezTo>
                  <a:pt x="11" y="26"/>
                  <a:pt x="11" y="26"/>
                  <a:pt x="11" y="26"/>
                </a:cubicBezTo>
                <a:cubicBezTo>
                  <a:pt x="10" y="27"/>
                  <a:pt x="10" y="27"/>
                  <a:pt x="10" y="27"/>
                </a:cubicBezTo>
                <a:cubicBezTo>
                  <a:pt x="9" y="28"/>
                  <a:pt x="9" y="28"/>
                  <a:pt x="9" y="28"/>
                </a:cubicBezTo>
                <a:cubicBezTo>
                  <a:pt x="10" y="28"/>
                  <a:pt x="10" y="28"/>
                  <a:pt x="10" y="28"/>
                </a:cubicBezTo>
                <a:cubicBezTo>
                  <a:pt x="9" y="29"/>
                  <a:pt x="9" y="29"/>
                  <a:pt x="9" y="29"/>
                </a:cubicBezTo>
                <a:cubicBezTo>
                  <a:pt x="8" y="29"/>
                  <a:pt x="8" y="29"/>
                  <a:pt x="8" y="29"/>
                </a:cubicBezTo>
                <a:cubicBezTo>
                  <a:pt x="7" y="29"/>
                  <a:pt x="7" y="29"/>
                  <a:pt x="7" y="29"/>
                </a:cubicBezTo>
                <a:cubicBezTo>
                  <a:pt x="6" y="28"/>
                  <a:pt x="6" y="28"/>
                  <a:pt x="6" y="28"/>
                </a:cubicBezTo>
                <a:close/>
                <a:moveTo>
                  <a:pt x="6" y="30"/>
                </a:moveTo>
                <a:cubicBezTo>
                  <a:pt x="7" y="31"/>
                  <a:pt x="7" y="31"/>
                  <a:pt x="7" y="31"/>
                </a:cubicBezTo>
                <a:cubicBezTo>
                  <a:pt x="8" y="30"/>
                  <a:pt x="8" y="30"/>
                  <a:pt x="8" y="30"/>
                </a:cubicBezTo>
                <a:cubicBezTo>
                  <a:pt x="7" y="29"/>
                  <a:pt x="7" y="29"/>
                  <a:pt x="7" y="29"/>
                </a:cubicBezTo>
                <a:cubicBezTo>
                  <a:pt x="7" y="29"/>
                  <a:pt x="7" y="29"/>
                  <a:pt x="7" y="29"/>
                </a:cubicBezTo>
                <a:cubicBezTo>
                  <a:pt x="6" y="30"/>
                  <a:pt x="6" y="30"/>
                  <a:pt x="6" y="30"/>
                </a:cubicBezTo>
                <a:cubicBezTo>
                  <a:pt x="6" y="30"/>
                  <a:pt x="6" y="30"/>
                  <a:pt x="6" y="30"/>
                </a:cubicBezTo>
                <a:close/>
                <a:moveTo>
                  <a:pt x="6" y="32"/>
                </a:moveTo>
                <a:cubicBezTo>
                  <a:pt x="5" y="32"/>
                  <a:pt x="5" y="32"/>
                  <a:pt x="5" y="32"/>
                </a:cubicBezTo>
                <a:cubicBezTo>
                  <a:pt x="4" y="32"/>
                  <a:pt x="4" y="32"/>
                  <a:pt x="4" y="32"/>
                </a:cubicBezTo>
                <a:cubicBezTo>
                  <a:pt x="4" y="31"/>
                  <a:pt x="4" y="31"/>
                  <a:pt x="4" y="31"/>
                </a:cubicBezTo>
                <a:cubicBezTo>
                  <a:pt x="6" y="31"/>
                  <a:pt x="6" y="31"/>
                  <a:pt x="6" y="31"/>
                </a:cubicBezTo>
                <a:cubicBezTo>
                  <a:pt x="6" y="32"/>
                  <a:pt x="6" y="32"/>
                  <a:pt x="6" y="32"/>
                </a:cubicBezTo>
                <a:close/>
                <a:moveTo>
                  <a:pt x="5" y="34"/>
                </a:moveTo>
                <a:cubicBezTo>
                  <a:pt x="4" y="33"/>
                  <a:pt x="4" y="33"/>
                  <a:pt x="4" y="33"/>
                </a:cubicBezTo>
                <a:cubicBezTo>
                  <a:pt x="4" y="33"/>
                  <a:pt x="4" y="33"/>
                  <a:pt x="4" y="33"/>
                </a:cubicBezTo>
                <a:cubicBezTo>
                  <a:pt x="5" y="33"/>
                  <a:pt x="5" y="33"/>
                  <a:pt x="5" y="33"/>
                </a:cubicBezTo>
                <a:cubicBezTo>
                  <a:pt x="5" y="34"/>
                  <a:pt x="5" y="34"/>
                  <a:pt x="5" y="34"/>
                </a:cubicBezTo>
                <a:close/>
                <a:moveTo>
                  <a:pt x="4" y="37"/>
                </a:moveTo>
                <a:cubicBezTo>
                  <a:pt x="4" y="37"/>
                  <a:pt x="4" y="37"/>
                  <a:pt x="4" y="37"/>
                </a:cubicBezTo>
                <a:cubicBezTo>
                  <a:pt x="3" y="38"/>
                  <a:pt x="3" y="38"/>
                  <a:pt x="3" y="38"/>
                </a:cubicBezTo>
                <a:cubicBezTo>
                  <a:pt x="3" y="37"/>
                  <a:pt x="3" y="37"/>
                  <a:pt x="3" y="37"/>
                </a:cubicBezTo>
                <a:cubicBezTo>
                  <a:pt x="4" y="37"/>
                  <a:pt x="4" y="37"/>
                  <a:pt x="4" y="37"/>
                </a:cubicBezTo>
                <a:close/>
                <a:moveTo>
                  <a:pt x="5" y="36"/>
                </a:moveTo>
                <a:cubicBezTo>
                  <a:pt x="5" y="35"/>
                  <a:pt x="5" y="35"/>
                  <a:pt x="5" y="35"/>
                </a:cubicBezTo>
                <a:cubicBezTo>
                  <a:pt x="5" y="35"/>
                  <a:pt x="5" y="35"/>
                  <a:pt x="5" y="35"/>
                </a:cubicBezTo>
                <a:cubicBezTo>
                  <a:pt x="5" y="34"/>
                  <a:pt x="5" y="34"/>
                  <a:pt x="5" y="34"/>
                </a:cubicBezTo>
                <a:cubicBezTo>
                  <a:pt x="4" y="34"/>
                  <a:pt x="4" y="34"/>
                  <a:pt x="4" y="34"/>
                </a:cubicBezTo>
                <a:cubicBezTo>
                  <a:pt x="4" y="34"/>
                  <a:pt x="4" y="34"/>
                  <a:pt x="4" y="34"/>
                </a:cubicBezTo>
                <a:cubicBezTo>
                  <a:pt x="4" y="35"/>
                  <a:pt x="4" y="35"/>
                  <a:pt x="4" y="35"/>
                </a:cubicBezTo>
                <a:cubicBezTo>
                  <a:pt x="4" y="36"/>
                  <a:pt x="4" y="36"/>
                  <a:pt x="4" y="36"/>
                </a:cubicBezTo>
                <a:cubicBezTo>
                  <a:pt x="5" y="36"/>
                  <a:pt x="5" y="36"/>
                  <a:pt x="5" y="36"/>
                </a:cubicBezTo>
                <a:close/>
                <a:moveTo>
                  <a:pt x="11" y="37"/>
                </a:moveTo>
                <a:cubicBezTo>
                  <a:pt x="11" y="36"/>
                  <a:pt x="11" y="36"/>
                  <a:pt x="11" y="36"/>
                </a:cubicBezTo>
                <a:cubicBezTo>
                  <a:pt x="10" y="36"/>
                  <a:pt x="10" y="36"/>
                  <a:pt x="10" y="36"/>
                </a:cubicBezTo>
                <a:cubicBezTo>
                  <a:pt x="9" y="34"/>
                  <a:pt x="9" y="34"/>
                  <a:pt x="9" y="34"/>
                </a:cubicBezTo>
                <a:cubicBezTo>
                  <a:pt x="9" y="34"/>
                  <a:pt x="9" y="34"/>
                  <a:pt x="9" y="34"/>
                </a:cubicBezTo>
                <a:cubicBezTo>
                  <a:pt x="9" y="34"/>
                  <a:pt x="9" y="34"/>
                  <a:pt x="9" y="34"/>
                </a:cubicBezTo>
                <a:cubicBezTo>
                  <a:pt x="9" y="34"/>
                  <a:pt x="9" y="34"/>
                  <a:pt x="9" y="34"/>
                </a:cubicBezTo>
                <a:cubicBezTo>
                  <a:pt x="7" y="33"/>
                  <a:pt x="7" y="33"/>
                  <a:pt x="7" y="33"/>
                </a:cubicBezTo>
                <a:cubicBezTo>
                  <a:pt x="8" y="33"/>
                  <a:pt x="8" y="33"/>
                  <a:pt x="8" y="33"/>
                </a:cubicBezTo>
                <a:cubicBezTo>
                  <a:pt x="8" y="33"/>
                  <a:pt x="8" y="33"/>
                  <a:pt x="8" y="33"/>
                </a:cubicBezTo>
                <a:cubicBezTo>
                  <a:pt x="8" y="32"/>
                  <a:pt x="8" y="32"/>
                  <a:pt x="8" y="32"/>
                </a:cubicBezTo>
                <a:cubicBezTo>
                  <a:pt x="10" y="33"/>
                  <a:pt x="10" y="33"/>
                  <a:pt x="10" y="33"/>
                </a:cubicBezTo>
                <a:cubicBezTo>
                  <a:pt x="9" y="32"/>
                  <a:pt x="9" y="32"/>
                  <a:pt x="9" y="32"/>
                </a:cubicBezTo>
                <a:cubicBezTo>
                  <a:pt x="10" y="31"/>
                  <a:pt x="10" y="31"/>
                  <a:pt x="10" y="31"/>
                </a:cubicBezTo>
                <a:cubicBezTo>
                  <a:pt x="11" y="32"/>
                  <a:pt x="11" y="32"/>
                  <a:pt x="11" y="32"/>
                </a:cubicBezTo>
                <a:cubicBezTo>
                  <a:pt x="11" y="34"/>
                  <a:pt x="11" y="34"/>
                  <a:pt x="11" y="34"/>
                </a:cubicBezTo>
                <a:cubicBezTo>
                  <a:pt x="12" y="35"/>
                  <a:pt x="12" y="35"/>
                  <a:pt x="12" y="35"/>
                </a:cubicBezTo>
                <a:cubicBezTo>
                  <a:pt x="12" y="35"/>
                  <a:pt x="12" y="35"/>
                  <a:pt x="12" y="35"/>
                </a:cubicBezTo>
                <a:cubicBezTo>
                  <a:pt x="13" y="35"/>
                  <a:pt x="13" y="35"/>
                  <a:pt x="13" y="35"/>
                </a:cubicBezTo>
                <a:cubicBezTo>
                  <a:pt x="12" y="36"/>
                  <a:pt x="12" y="36"/>
                  <a:pt x="12" y="36"/>
                </a:cubicBezTo>
                <a:cubicBezTo>
                  <a:pt x="12" y="37"/>
                  <a:pt x="12" y="37"/>
                  <a:pt x="12" y="37"/>
                </a:cubicBezTo>
                <a:cubicBezTo>
                  <a:pt x="11" y="37"/>
                  <a:pt x="11" y="37"/>
                  <a:pt x="11" y="37"/>
                </a:cubicBezTo>
                <a:close/>
                <a:moveTo>
                  <a:pt x="9" y="44"/>
                </a:moveTo>
                <a:cubicBezTo>
                  <a:pt x="12" y="43"/>
                  <a:pt x="12" y="43"/>
                  <a:pt x="12" y="43"/>
                </a:cubicBezTo>
                <a:cubicBezTo>
                  <a:pt x="12" y="44"/>
                  <a:pt x="12" y="44"/>
                  <a:pt x="12" y="44"/>
                </a:cubicBezTo>
                <a:cubicBezTo>
                  <a:pt x="13" y="43"/>
                  <a:pt x="13" y="43"/>
                  <a:pt x="13" y="43"/>
                </a:cubicBezTo>
                <a:cubicBezTo>
                  <a:pt x="12" y="42"/>
                  <a:pt x="12" y="42"/>
                  <a:pt x="12" y="42"/>
                </a:cubicBezTo>
                <a:cubicBezTo>
                  <a:pt x="12" y="42"/>
                  <a:pt x="12" y="42"/>
                  <a:pt x="12" y="42"/>
                </a:cubicBezTo>
                <a:cubicBezTo>
                  <a:pt x="11" y="40"/>
                  <a:pt x="11" y="40"/>
                  <a:pt x="11" y="40"/>
                </a:cubicBezTo>
                <a:cubicBezTo>
                  <a:pt x="9" y="41"/>
                  <a:pt x="9" y="41"/>
                  <a:pt x="9" y="41"/>
                </a:cubicBezTo>
                <a:cubicBezTo>
                  <a:pt x="11" y="42"/>
                  <a:pt x="11" y="42"/>
                  <a:pt x="11" y="42"/>
                </a:cubicBezTo>
                <a:cubicBezTo>
                  <a:pt x="10" y="43"/>
                  <a:pt x="10" y="43"/>
                  <a:pt x="10" y="43"/>
                </a:cubicBezTo>
                <a:cubicBezTo>
                  <a:pt x="10" y="43"/>
                  <a:pt x="10" y="43"/>
                  <a:pt x="10" y="43"/>
                </a:cubicBezTo>
                <a:cubicBezTo>
                  <a:pt x="9" y="44"/>
                  <a:pt x="9" y="44"/>
                  <a:pt x="9" y="44"/>
                </a:cubicBezTo>
                <a:close/>
                <a:moveTo>
                  <a:pt x="11" y="48"/>
                </a:moveTo>
                <a:cubicBezTo>
                  <a:pt x="11" y="47"/>
                  <a:pt x="11" y="47"/>
                  <a:pt x="11" y="47"/>
                </a:cubicBezTo>
                <a:cubicBezTo>
                  <a:pt x="13" y="45"/>
                  <a:pt x="13" y="45"/>
                  <a:pt x="13" y="45"/>
                </a:cubicBezTo>
                <a:cubicBezTo>
                  <a:pt x="12" y="47"/>
                  <a:pt x="12" y="47"/>
                  <a:pt x="12" y="47"/>
                </a:cubicBezTo>
                <a:cubicBezTo>
                  <a:pt x="11" y="48"/>
                  <a:pt x="11" y="48"/>
                  <a:pt x="11" y="48"/>
                </a:cubicBezTo>
                <a:close/>
                <a:moveTo>
                  <a:pt x="9" y="50"/>
                </a:moveTo>
                <a:cubicBezTo>
                  <a:pt x="11" y="49"/>
                  <a:pt x="11" y="49"/>
                  <a:pt x="11" y="49"/>
                </a:cubicBezTo>
                <a:cubicBezTo>
                  <a:pt x="10" y="47"/>
                  <a:pt x="10" y="47"/>
                  <a:pt x="10" y="47"/>
                </a:cubicBezTo>
                <a:cubicBezTo>
                  <a:pt x="8" y="48"/>
                  <a:pt x="8" y="48"/>
                  <a:pt x="8" y="48"/>
                </a:cubicBezTo>
                <a:cubicBezTo>
                  <a:pt x="8" y="49"/>
                  <a:pt x="8" y="49"/>
                  <a:pt x="8" y="49"/>
                </a:cubicBezTo>
                <a:cubicBezTo>
                  <a:pt x="10" y="48"/>
                  <a:pt x="10" y="48"/>
                  <a:pt x="10" y="48"/>
                </a:cubicBezTo>
                <a:cubicBezTo>
                  <a:pt x="9" y="50"/>
                  <a:pt x="9" y="50"/>
                  <a:pt x="9" y="50"/>
                </a:cubicBezTo>
                <a:close/>
                <a:moveTo>
                  <a:pt x="14" y="49"/>
                </a:moveTo>
                <a:cubicBezTo>
                  <a:pt x="14" y="51"/>
                  <a:pt x="14" y="51"/>
                  <a:pt x="14" y="51"/>
                </a:cubicBezTo>
                <a:cubicBezTo>
                  <a:pt x="16" y="52"/>
                  <a:pt x="16" y="52"/>
                  <a:pt x="16" y="52"/>
                </a:cubicBezTo>
                <a:cubicBezTo>
                  <a:pt x="16" y="50"/>
                  <a:pt x="16" y="50"/>
                  <a:pt x="16" y="50"/>
                </a:cubicBezTo>
                <a:cubicBezTo>
                  <a:pt x="15" y="49"/>
                  <a:pt x="15" y="49"/>
                  <a:pt x="15" y="49"/>
                </a:cubicBezTo>
                <a:cubicBezTo>
                  <a:pt x="14" y="49"/>
                  <a:pt x="14" y="49"/>
                  <a:pt x="14" y="49"/>
                </a:cubicBezTo>
                <a:close/>
                <a:moveTo>
                  <a:pt x="18" y="70"/>
                </a:moveTo>
                <a:cubicBezTo>
                  <a:pt x="20" y="71"/>
                  <a:pt x="20" y="71"/>
                  <a:pt x="20" y="71"/>
                </a:cubicBezTo>
                <a:cubicBezTo>
                  <a:pt x="21" y="70"/>
                  <a:pt x="21" y="70"/>
                  <a:pt x="21" y="70"/>
                </a:cubicBezTo>
                <a:cubicBezTo>
                  <a:pt x="20" y="70"/>
                  <a:pt x="20" y="70"/>
                  <a:pt x="20" y="70"/>
                </a:cubicBezTo>
                <a:cubicBezTo>
                  <a:pt x="20" y="69"/>
                  <a:pt x="20" y="69"/>
                  <a:pt x="20" y="69"/>
                </a:cubicBezTo>
                <a:cubicBezTo>
                  <a:pt x="19" y="69"/>
                  <a:pt x="19" y="69"/>
                  <a:pt x="19" y="69"/>
                </a:cubicBezTo>
                <a:cubicBezTo>
                  <a:pt x="19" y="69"/>
                  <a:pt x="18" y="70"/>
                  <a:pt x="18" y="70"/>
                </a:cubicBezTo>
                <a:close/>
                <a:moveTo>
                  <a:pt x="17" y="63"/>
                </a:moveTo>
                <a:cubicBezTo>
                  <a:pt x="17" y="62"/>
                  <a:pt x="17" y="62"/>
                  <a:pt x="17" y="62"/>
                </a:cubicBezTo>
                <a:cubicBezTo>
                  <a:pt x="20" y="60"/>
                  <a:pt x="20" y="60"/>
                  <a:pt x="20" y="60"/>
                </a:cubicBezTo>
                <a:cubicBezTo>
                  <a:pt x="19" y="61"/>
                  <a:pt x="19" y="61"/>
                  <a:pt x="19" y="61"/>
                </a:cubicBezTo>
                <a:cubicBezTo>
                  <a:pt x="20" y="62"/>
                  <a:pt x="20" y="62"/>
                  <a:pt x="20" y="62"/>
                </a:cubicBezTo>
                <a:cubicBezTo>
                  <a:pt x="18" y="63"/>
                  <a:pt x="18" y="63"/>
                  <a:pt x="18" y="63"/>
                </a:cubicBezTo>
                <a:cubicBezTo>
                  <a:pt x="17" y="63"/>
                  <a:pt x="17" y="63"/>
                  <a:pt x="17" y="63"/>
                </a:cubicBezTo>
                <a:close/>
                <a:moveTo>
                  <a:pt x="15" y="99"/>
                </a:moveTo>
                <a:cubicBezTo>
                  <a:pt x="15" y="98"/>
                  <a:pt x="15" y="98"/>
                  <a:pt x="15" y="98"/>
                </a:cubicBezTo>
                <a:cubicBezTo>
                  <a:pt x="15" y="98"/>
                  <a:pt x="15" y="98"/>
                  <a:pt x="15" y="98"/>
                </a:cubicBezTo>
                <a:cubicBezTo>
                  <a:pt x="16" y="97"/>
                  <a:pt x="16" y="97"/>
                  <a:pt x="16" y="97"/>
                </a:cubicBezTo>
                <a:cubicBezTo>
                  <a:pt x="16" y="98"/>
                  <a:pt x="16" y="98"/>
                  <a:pt x="16" y="98"/>
                </a:cubicBezTo>
                <a:cubicBezTo>
                  <a:pt x="17" y="97"/>
                  <a:pt x="17" y="97"/>
                  <a:pt x="17" y="97"/>
                </a:cubicBezTo>
                <a:cubicBezTo>
                  <a:pt x="17" y="97"/>
                  <a:pt x="17" y="97"/>
                  <a:pt x="17" y="97"/>
                </a:cubicBezTo>
                <a:cubicBezTo>
                  <a:pt x="18" y="96"/>
                  <a:pt x="18" y="96"/>
                  <a:pt x="18" y="96"/>
                </a:cubicBezTo>
                <a:cubicBezTo>
                  <a:pt x="19" y="96"/>
                  <a:pt x="19" y="96"/>
                  <a:pt x="19" y="96"/>
                </a:cubicBezTo>
                <a:cubicBezTo>
                  <a:pt x="20" y="96"/>
                  <a:pt x="20" y="96"/>
                  <a:pt x="20" y="96"/>
                </a:cubicBezTo>
                <a:cubicBezTo>
                  <a:pt x="20" y="96"/>
                  <a:pt x="20" y="96"/>
                  <a:pt x="20" y="96"/>
                </a:cubicBezTo>
                <a:cubicBezTo>
                  <a:pt x="21" y="96"/>
                  <a:pt x="21" y="96"/>
                  <a:pt x="21" y="96"/>
                </a:cubicBezTo>
                <a:cubicBezTo>
                  <a:pt x="21" y="96"/>
                  <a:pt x="21" y="96"/>
                  <a:pt x="21" y="96"/>
                </a:cubicBezTo>
                <a:cubicBezTo>
                  <a:pt x="22" y="96"/>
                  <a:pt x="22" y="96"/>
                  <a:pt x="22" y="96"/>
                </a:cubicBezTo>
                <a:cubicBezTo>
                  <a:pt x="23" y="97"/>
                  <a:pt x="23" y="97"/>
                  <a:pt x="23" y="97"/>
                </a:cubicBezTo>
                <a:cubicBezTo>
                  <a:pt x="24" y="97"/>
                  <a:pt x="24" y="97"/>
                  <a:pt x="24" y="97"/>
                </a:cubicBezTo>
                <a:cubicBezTo>
                  <a:pt x="24" y="96"/>
                  <a:pt x="24" y="96"/>
                  <a:pt x="24" y="96"/>
                </a:cubicBezTo>
                <a:cubicBezTo>
                  <a:pt x="25" y="96"/>
                  <a:pt x="25" y="96"/>
                  <a:pt x="25" y="96"/>
                </a:cubicBezTo>
                <a:cubicBezTo>
                  <a:pt x="25" y="95"/>
                  <a:pt x="25" y="95"/>
                  <a:pt x="25" y="95"/>
                </a:cubicBezTo>
                <a:cubicBezTo>
                  <a:pt x="25" y="94"/>
                  <a:pt x="25" y="94"/>
                  <a:pt x="25" y="94"/>
                </a:cubicBezTo>
                <a:cubicBezTo>
                  <a:pt x="25" y="94"/>
                  <a:pt x="25" y="94"/>
                  <a:pt x="25" y="94"/>
                </a:cubicBezTo>
                <a:cubicBezTo>
                  <a:pt x="26" y="93"/>
                  <a:pt x="26" y="93"/>
                  <a:pt x="26" y="93"/>
                </a:cubicBezTo>
                <a:cubicBezTo>
                  <a:pt x="26" y="93"/>
                  <a:pt x="26" y="93"/>
                  <a:pt x="26" y="93"/>
                </a:cubicBezTo>
                <a:cubicBezTo>
                  <a:pt x="28" y="93"/>
                  <a:pt x="28" y="93"/>
                  <a:pt x="28" y="93"/>
                </a:cubicBezTo>
                <a:cubicBezTo>
                  <a:pt x="29" y="93"/>
                  <a:pt x="29" y="93"/>
                  <a:pt x="29" y="93"/>
                </a:cubicBezTo>
                <a:cubicBezTo>
                  <a:pt x="31" y="94"/>
                  <a:pt x="31" y="94"/>
                  <a:pt x="31" y="94"/>
                </a:cubicBezTo>
                <a:cubicBezTo>
                  <a:pt x="31" y="93"/>
                  <a:pt x="31" y="93"/>
                  <a:pt x="31" y="93"/>
                </a:cubicBezTo>
                <a:cubicBezTo>
                  <a:pt x="33" y="93"/>
                  <a:pt x="33" y="93"/>
                  <a:pt x="33" y="93"/>
                </a:cubicBezTo>
                <a:cubicBezTo>
                  <a:pt x="34" y="94"/>
                  <a:pt x="34" y="94"/>
                  <a:pt x="34" y="94"/>
                </a:cubicBezTo>
                <a:cubicBezTo>
                  <a:pt x="34" y="93"/>
                  <a:pt x="34" y="93"/>
                  <a:pt x="34" y="93"/>
                </a:cubicBezTo>
                <a:cubicBezTo>
                  <a:pt x="35" y="92"/>
                  <a:pt x="35" y="92"/>
                  <a:pt x="35" y="92"/>
                </a:cubicBezTo>
                <a:cubicBezTo>
                  <a:pt x="36" y="92"/>
                  <a:pt x="36" y="92"/>
                  <a:pt x="36" y="92"/>
                </a:cubicBezTo>
                <a:cubicBezTo>
                  <a:pt x="37" y="91"/>
                  <a:pt x="37" y="91"/>
                  <a:pt x="37" y="91"/>
                </a:cubicBezTo>
                <a:cubicBezTo>
                  <a:pt x="38" y="92"/>
                  <a:pt x="38" y="92"/>
                  <a:pt x="38" y="92"/>
                </a:cubicBezTo>
                <a:cubicBezTo>
                  <a:pt x="39" y="92"/>
                  <a:pt x="39" y="92"/>
                  <a:pt x="39" y="92"/>
                </a:cubicBezTo>
                <a:cubicBezTo>
                  <a:pt x="40" y="91"/>
                  <a:pt x="40" y="91"/>
                  <a:pt x="40" y="91"/>
                </a:cubicBezTo>
                <a:cubicBezTo>
                  <a:pt x="40" y="92"/>
                  <a:pt x="40" y="92"/>
                  <a:pt x="40" y="92"/>
                </a:cubicBezTo>
                <a:cubicBezTo>
                  <a:pt x="40" y="92"/>
                  <a:pt x="40" y="92"/>
                  <a:pt x="40" y="92"/>
                </a:cubicBezTo>
                <a:cubicBezTo>
                  <a:pt x="41" y="91"/>
                  <a:pt x="41" y="91"/>
                  <a:pt x="41" y="91"/>
                </a:cubicBezTo>
                <a:cubicBezTo>
                  <a:pt x="43" y="91"/>
                  <a:pt x="43" y="91"/>
                  <a:pt x="43" y="91"/>
                </a:cubicBezTo>
                <a:cubicBezTo>
                  <a:pt x="45" y="91"/>
                  <a:pt x="45" y="91"/>
                  <a:pt x="45" y="91"/>
                </a:cubicBezTo>
                <a:cubicBezTo>
                  <a:pt x="46" y="92"/>
                  <a:pt x="46" y="92"/>
                  <a:pt x="46" y="92"/>
                </a:cubicBezTo>
                <a:cubicBezTo>
                  <a:pt x="47" y="92"/>
                  <a:pt x="47" y="92"/>
                  <a:pt x="47" y="92"/>
                </a:cubicBezTo>
                <a:cubicBezTo>
                  <a:pt x="47" y="91"/>
                  <a:pt x="47" y="91"/>
                  <a:pt x="47" y="91"/>
                </a:cubicBezTo>
                <a:cubicBezTo>
                  <a:pt x="49" y="91"/>
                  <a:pt x="49" y="91"/>
                  <a:pt x="49" y="91"/>
                </a:cubicBezTo>
                <a:cubicBezTo>
                  <a:pt x="49" y="90"/>
                  <a:pt x="49" y="90"/>
                  <a:pt x="49" y="90"/>
                </a:cubicBezTo>
                <a:cubicBezTo>
                  <a:pt x="50" y="90"/>
                  <a:pt x="50" y="90"/>
                  <a:pt x="50" y="90"/>
                </a:cubicBezTo>
                <a:cubicBezTo>
                  <a:pt x="51" y="90"/>
                  <a:pt x="51" y="90"/>
                  <a:pt x="51" y="90"/>
                </a:cubicBezTo>
                <a:cubicBezTo>
                  <a:pt x="51" y="89"/>
                  <a:pt x="51" y="89"/>
                  <a:pt x="51" y="89"/>
                </a:cubicBezTo>
                <a:cubicBezTo>
                  <a:pt x="52" y="88"/>
                  <a:pt x="52" y="88"/>
                  <a:pt x="52" y="88"/>
                </a:cubicBezTo>
                <a:cubicBezTo>
                  <a:pt x="53" y="88"/>
                  <a:pt x="53" y="88"/>
                  <a:pt x="53" y="88"/>
                </a:cubicBezTo>
                <a:cubicBezTo>
                  <a:pt x="53" y="87"/>
                  <a:pt x="53" y="87"/>
                  <a:pt x="53" y="87"/>
                </a:cubicBezTo>
                <a:cubicBezTo>
                  <a:pt x="53" y="87"/>
                  <a:pt x="53" y="87"/>
                  <a:pt x="53" y="87"/>
                </a:cubicBezTo>
                <a:cubicBezTo>
                  <a:pt x="53" y="86"/>
                  <a:pt x="53" y="86"/>
                  <a:pt x="53" y="86"/>
                </a:cubicBezTo>
                <a:cubicBezTo>
                  <a:pt x="51" y="86"/>
                  <a:pt x="51" y="86"/>
                  <a:pt x="51" y="86"/>
                </a:cubicBezTo>
                <a:cubicBezTo>
                  <a:pt x="50" y="86"/>
                  <a:pt x="50" y="86"/>
                  <a:pt x="50" y="86"/>
                </a:cubicBezTo>
                <a:cubicBezTo>
                  <a:pt x="50" y="86"/>
                  <a:pt x="50" y="86"/>
                  <a:pt x="50" y="86"/>
                </a:cubicBezTo>
                <a:cubicBezTo>
                  <a:pt x="48" y="86"/>
                  <a:pt x="48" y="86"/>
                  <a:pt x="48" y="86"/>
                </a:cubicBezTo>
                <a:cubicBezTo>
                  <a:pt x="48" y="86"/>
                  <a:pt x="48" y="86"/>
                  <a:pt x="48" y="86"/>
                </a:cubicBezTo>
                <a:cubicBezTo>
                  <a:pt x="48" y="86"/>
                  <a:pt x="48" y="86"/>
                  <a:pt x="48" y="86"/>
                </a:cubicBezTo>
                <a:cubicBezTo>
                  <a:pt x="49" y="85"/>
                  <a:pt x="49" y="85"/>
                  <a:pt x="49" y="85"/>
                </a:cubicBezTo>
                <a:cubicBezTo>
                  <a:pt x="49" y="85"/>
                  <a:pt x="49" y="85"/>
                  <a:pt x="49" y="85"/>
                </a:cubicBezTo>
                <a:cubicBezTo>
                  <a:pt x="48" y="85"/>
                  <a:pt x="48" y="85"/>
                  <a:pt x="48" y="85"/>
                </a:cubicBezTo>
                <a:cubicBezTo>
                  <a:pt x="47" y="85"/>
                  <a:pt x="47" y="85"/>
                  <a:pt x="47" y="85"/>
                </a:cubicBezTo>
                <a:cubicBezTo>
                  <a:pt x="48" y="84"/>
                  <a:pt x="48" y="84"/>
                  <a:pt x="48" y="84"/>
                </a:cubicBezTo>
                <a:cubicBezTo>
                  <a:pt x="49" y="85"/>
                  <a:pt x="49" y="85"/>
                  <a:pt x="49" y="85"/>
                </a:cubicBezTo>
                <a:cubicBezTo>
                  <a:pt x="50" y="84"/>
                  <a:pt x="50" y="84"/>
                  <a:pt x="50" y="84"/>
                </a:cubicBezTo>
                <a:cubicBezTo>
                  <a:pt x="50" y="83"/>
                  <a:pt x="50" y="83"/>
                  <a:pt x="50" y="83"/>
                </a:cubicBezTo>
                <a:cubicBezTo>
                  <a:pt x="49" y="83"/>
                  <a:pt x="49" y="83"/>
                  <a:pt x="49" y="83"/>
                </a:cubicBezTo>
                <a:cubicBezTo>
                  <a:pt x="49" y="83"/>
                  <a:pt x="49" y="83"/>
                  <a:pt x="49" y="83"/>
                </a:cubicBezTo>
                <a:cubicBezTo>
                  <a:pt x="50" y="82"/>
                  <a:pt x="50" y="82"/>
                  <a:pt x="50" y="82"/>
                </a:cubicBezTo>
                <a:cubicBezTo>
                  <a:pt x="51" y="83"/>
                  <a:pt x="51" y="83"/>
                  <a:pt x="51" y="83"/>
                </a:cubicBezTo>
                <a:cubicBezTo>
                  <a:pt x="51" y="82"/>
                  <a:pt x="51" y="82"/>
                  <a:pt x="51" y="82"/>
                </a:cubicBezTo>
                <a:cubicBezTo>
                  <a:pt x="52" y="81"/>
                  <a:pt x="52" y="81"/>
                  <a:pt x="52" y="81"/>
                </a:cubicBezTo>
                <a:cubicBezTo>
                  <a:pt x="51" y="81"/>
                  <a:pt x="51" y="81"/>
                  <a:pt x="51" y="81"/>
                </a:cubicBezTo>
                <a:cubicBezTo>
                  <a:pt x="52" y="81"/>
                  <a:pt x="52" y="81"/>
                  <a:pt x="52" y="81"/>
                </a:cubicBezTo>
                <a:cubicBezTo>
                  <a:pt x="51" y="81"/>
                  <a:pt x="51" y="81"/>
                  <a:pt x="51" y="81"/>
                </a:cubicBezTo>
                <a:cubicBezTo>
                  <a:pt x="51" y="80"/>
                  <a:pt x="51" y="80"/>
                  <a:pt x="51" y="80"/>
                </a:cubicBezTo>
                <a:cubicBezTo>
                  <a:pt x="52" y="80"/>
                  <a:pt x="52" y="80"/>
                  <a:pt x="52" y="80"/>
                </a:cubicBezTo>
                <a:cubicBezTo>
                  <a:pt x="52" y="81"/>
                  <a:pt x="52" y="81"/>
                  <a:pt x="52" y="81"/>
                </a:cubicBezTo>
                <a:cubicBezTo>
                  <a:pt x="53" y="80"/>
                  <a:pt x="53" y="80"/>
                  <a:pt x="53" y="80"/>
                </a:cubicBezTo>
                <a:cubicBezTo>
                  <a:pt x="53" y="80"/>
                  <a:pt x="53" y="80"/>
                  <a:pt x="53" y="80"/>
                </a:cubicBezTo>
                <a:cubicBezTo>
                  <a:pt x="53" y="78"/>
                  <a:pt x="53" y="78"/>
                  <a:pt x="53" y="78"/>
                </a:cubicBezTo>
                <a:cubicBezTo>
                  <a:pt x="54" y="76"/>
                  <a:pt x="54" y="76"/>
                  <a:pt x="54" y="76"/>
                </a:cubicBezTo>
                <a:cubicBezTo>
                  <a:pt x="54" y="75"/>
                  <a:pt x="54" y="75"/>
                  <a:pt x="54" y="75"/>
                </a:cubicBezTo>
                <a:cubicBezTo>
                  <a:pt x="53" y="74"/>
                  <a:pt x="53" y="74"/>
                  <a:pt x="53" y="74"/>
                </a:cubicBezTo>
                <a:cubicBezTo>
                  <a:pt x="51" y="72"/>
                  <a:pt x="51" y="72"/>
                  <a:pt x="51" y="72"/>
                </a:cubicBezTo>
                <a:cubicBezTo>
                  <a:pt x="48" y="72"/>
                  <a:pt x="48" y="72"/>
                  <a:pt x="48" y="72"/>
                </a:cubicBezTo>
                <a:cubicBezTo>
                  <a:pt x="46" y="72"/>
                  <a:pt x="46" y="72"/>
                  <a:pt x="46" y="72"/>
                </a:cubicBezTo>
                <a:cubicBezTo>
                  <a:pt x="46" y="73"/>
                  <a:pt x="46" y="73"/>
                  <a:pt x="46" y="73"/>
                </a:cubicBezTo>
                <a:cubicBezTo>
                  <a:pt x="46" y="74"/>
                  <a:pt x="46" y="74"/>
                  <a:pt x="46" y="74"/>
                </a:cubicBezTo>
                <a:cubicBezTo>
                  <a:pt x="45" y="73"/>
                  <a:pt x="45" y="73"/>
                  <a:pt x="45" y="73"/>
                </a:cubicBezTo>
                <a:cubicBezTo>
                  <a:pt x="44" y="73"/>
                  <a:pt x="44" y="73"/>
                  <a:pt x="44" y="73"/>
                </a:cubicBezTo>
                <a:cubicBezTo>
                  <a:pt x="46" y="71"/>
                  <a:pt x="46" y="71"/>
                  <a:pt x="46" y="71"/>
                </a:cubicBezTo>
                <a:cubicBezTo>
                  <a:pt x="46" y="70"/>
                  <a:pt x="46" y="70"/>
                  <a:pt x="46" y="70"/>
                </a:cubicBezTo>
                <a:cubicBezTo>
                  <a:pt x="44" y="68"/>
                  <a:pt x="44" y="68"/>
                  <a:pt x="44" y="68"/>
                </a:cubicBezTo>
                <a:cubicBezTo>
                  <a:pt x="44" y="68"/>
                  <a:pt x="44" y="68"/>
                  <a:pt x="44" y="68"/>
                </a:cubicBezTo>
                <a:cubicBezTo>
                  <a:pt x="42" y="67"/>
                  <a:pt x="42" y="67"/>
                  <a:pt x="42" y="67"/>
                </a:cubicBezTo>
                <a:cubicBezTo>
                  <a:pt x="42" y="66"/>
                  <a:pt x="42" y="66"/>
                  <a:pt x="42" y="66"/>
                </a:cubicBezTo>
                <a:cubicBezTo>
                  <a:pt x="41" y="66"/>
                  <a:pt x="41" y="66"/>
                  <a:pt x="41" y="66"/>
                </a:cubicBezTo>
                <a:cubicBezTo>
                  <a:pt x="41" y="66"/>
                  <a:pt x="41" y="66"/>
                  <a:pt x="41" y="66"/>
                </a:cubicBezTo>
                <a:cubicBezTo>
                  <a:pt x="40" y="66"/>
                  <a:pt x="40" y="66"/>
                  <a:pt x="40" y="66"/>
                </a:cubicBezTo>
                <a:cubicBezTo>
                  <a:pt x="39" y="66"/>
                  <a:pt x="39" y="66"/>
                  <a:pt x="39" y="66"/>
                </a:cubicBezTo>
                <a:cubicBezTo>
                  <a:pt x="40" y="66"/>
                  <a:pt x="40" y="66"/>
                  <a:pt x="40" y="66"/>
                </a:cubicBezTo>
                <a:cubicBezTo>
                  <a:pt x="41" y="66"/>
                  <a:pt x="41" y="66"/>
                  <a:pt x="41" y="66"/>
                </a:cubicBezTo>
                <a:cubicBezTo>
                  <a:pt x="42" y="66"/>
                  <a:pt x="42" y="66"/>
                  <a:pt x="42" y="66"/>
                </a:cubicBezTo>
                <a:cubicBezTo>
                  <a:pt x="42" y="66"/>
                  <a:pt x="42" y="66"/>
                  <a:pt x="42" y="66"/>
                </a:cubicBezTo>
                <a:cubicBezTo>
                  <a:pt x="43" y="66"/>
                  <a:pt x="43" y="66"/>
                  <a:pt x="43" y="66"/>
                </a:cubicBezTo>
                <a:cubicBezTo>
                  <a:pt x="43" y="66"/>
                  <a:pt x="43" y="66"/>
                  <a:pt x="43" y="66"/>
                </a:cubicBezTo>
                <a:cubicBezTo>
                  <a:pt x="44" y="66"/>
                  <a:pt x="44" y="66"/>
                  <a:pt x="44" y="66"/>
                </a:cubicBezTo>
                <a:cubicBezTo>
                  <a:pt x="42" y="64"/>
                  <a:pt x="42" y="64"/>
                  <a:pt x="42" y="64"/>
                </a:cubicBezTo>
                <a:cubicBezTo>
                  <a:pt x="42" y="63"/>
                  <a:pt x="42" y="63"/>
                  <a:pt x="42" y="63"/>
                </a:cubicBezTo>
                <a:cubicBezTo>
                  <a:pt x="42" y="63"/>
                  <a:pt x="42" y="63"/>
                  <a:pt x="42" y="63"/>
                </a:cubicBezTo>
                <a:cubicBezTo>
                  <a:pt x="43" y="62"/>
                  <a:pt x="43" y="62"/>
                  <a:pt x="43" y="62"/>
                </a:cubicBezTo>
                <a:cubicBezTo>
                  <a:pt x="42" y="62"/>
                  <a:pt x="42" y="62"/>
                  <a:pt x="42" y="62"/>
                </a:cubicBezTo>
                <a:cubicBezTo>
                  <a:pt x="41" y="61"/>
                  <a:pt x="41" y="61"/>
                  <a:pt x="41" y="61"/>
                </a:cubicBezTo>
                <a:cubicBezTo>
                  <a:pt x="41" y="61"/>
                  <a:pt x="41" y="61"/>
                  <a:pt x="41" y="61"/>
                </a:cubicBezTo>
                <a:cubicBezTo>
                  <a:pt x="40" y="59"/>
                  <a:pt x="40" y="59"/>
                  <a:pt x="40" y="59"/>
                </a:cubicBezTo>
                <a:cubicBezTo>
                  <a:pt x="39" y="59"/>
                  <a:pt x="39" y="59"/>
                  <a:pt x="39" y="59"/>
                </a:cubicBezTo>
                <a:cubicBezTo>
                  <a:pt x="36" y="58"/>
                  <a:pt x="36" y="58"/>
                  <a:pt x="36" y="58"/>
                </a:cubicBezTo>
                <a:cubicBezTo>
                  <a:pt x="36" y="57"/>
                  <a:pt x="36" y="57"/>
                  <a:pt x="36" y="57"/>
                </a:cubicBezTo>
                <a:cubicBezTo>
                  <a:pt x="36" y="57"/>
                  <a:pt x="36" y="57"/>
                  <a:pt x="36" y="57"/>
                </a:cubicBezTo>
                <a:cubicBezTo>
                  <a:pt x="35" y="55"/>
                  <a:pt x="35" y="55"/>
                  <a:pt x="35" y="55"/>
                </a:cubicBezTo>
                <a:cubicBezTo>
                  <a:pt x="34" y="54"/>
                  <a:pt x="34" y="54"/>
                  <a:pt x="34" y="54"/>
                </a:cubicBezTo>
                <a:cubicBezTo>
                  <a:pt x="34" y="51"/>
                  <a:pt x="34" y="51"/>
                  <a:pt x="34" y="51"/>
                </a:cubicBezTo>
                <a:cubicBezTo>
                  <a:pt x="33" y="50"/>
                  <a:pt x="33" y="50"/>
                  <a:pt x="33" y="50"/>
                </a:cubicBezTo>
                <a:cubicBezTo>
                  <a:pt x="33" y="50"/>
                  <a:pt x="33" y="50"/>
                  <a:pt x="33" y="50"/>
                </a:cubicBezTo>
                <a:cubicBezTo>
                  <a:pt x="31" y="47"/>
                  <a:pt x="31" y="47"/>
                  <a:pt x="31" y="47"/>
                </a:cubicBezTo>
                <a:cubicBezTo>
                  <a:pt x="30" y="47"/>
                  <a:pt x="30" y="47"/>
                  <a:pt x="30" y="47"/>
                </a:cubicBezTo>
                <a:cubicBezTo>
                  <a:pt x="29" y="46"/>
                  <a:pt x="29" y="46"/>
                  <a:pt x="29" y="46"/>
                </a:cubicBezTo>
                <a:cubicBezTo>
                  <a:pt x="28" y="46"/>
                  <a:pt x="28" y="46"/>
                  <a:pt x="28" y="46"/>
                </a:cubicBezTo>
                <a:cubicBezTo>
                  <a:pt x="27" y="46"/>
                  <a:pt x="27" y="46"/>
                  <a:pt x="27" y="46"/>
                </a:cubicBezTo>
                <a:cubicBezTo>
                  <a:pt x="26" y="47"/>
                  <a:pt x="26" y="47"/>
                  <a:pt x="26" y="47"/>
                </a:cubicBezTo>
                <a:cubicBezTo>
                  <a:pt x="25" y="46"/>
                  <a:pt x="25" y="46"/>
                  <a:pt x="25" y="46"/>
                </a:cubicBezTo>
                <a:cubicBezTo>
                  <a:pt x="24" y="46"/>
                  <a:pt x="24" y="46"/>
                  <a:pt x="24" y="46"/>
                </a:cubicBezTo>
                <a:cubicBezTo>
                  <a:pt x="23" y="46"/>
                  <a:pt x="23" y="46"/>
                  <a:pt x="23" y="46"/>
                </a:cubicBezTo>
                <a:cubicBezTo>
                  <a:pt x="23" y="45"/>
                  <a:pt x="23" y="45"/>
                  <a:pt x="23" y="45"/>
                </a:cubicBezTo>
                <a:cubicBezTo>
                  <a:pt x="23" y="46"/>
                  <a:pt x="23" y="46"/>
                  <a:pt x="23" y="46"/>
                </a:cubicBezTo>
                <a:cubicBezTo>
                  <a:pt x="25" y="46"/>
                  <a:pt x="25" y="46"/>
                  <a:pt x="25" y="46"/>
                </a:cubicBezTo>
                <a:cubicBezTo>
                  <a:pt x="26" y="45"/>
                  <a:pt x="26" y="45"/>
                  <a:pt x="26" y="45"/>
                </a:cubicBezTo>
                <a:cubicBezTo>
                  <a:pt x="26" y="45"/>
                  <a:pt x="26" y="45"/>
                  <a:pt x="26" y="45"/>
                </a:cubicBezTo>
                <a:cubicBezTo>
                  <a:pt x="27" y="45"/>
                  <a:pt x="27" y="45"/>
                  <a:pt x="27" y="45"/>
                </a:cubicBezTo>
                <a:cubicBezTo>
                  <a:pt x="28" y="44"/>
                  <a:pt x="28" y="44"/>
                  <a:pt x="28" y="44"/>
                </a:cubicBezTo>
                <a:cubicBezTo>
                  <a:pt x="27" y="43"/>
                  <a:pt x="27" y="43"/>
                  <a:pt x="27" y="43"/>
                </a:cubicBezTo>
                <a:cubicBezTo>
                  <a:pt x="27" y="43"/>
                  <a:pt x="27" y="43"/>
                  <a:pt x="27" y="43"/>
                </a:cubicBezTo>
                <a:cubicBezTo>
                  <a:pt x="27" y="42"/>
                  <a:pt x="27" y="42"/>
                  <a:pt x="27" y="42"/>
                </a:cubicBezTo>
                <a:cubicBezTo>
                  <a:pt x="25" y="43"/>
                  <a:pt x="25" y="43"/>
                  <a:pt x="25" y="43"/>
                </a:cubicBezTo>
                <a:cubicBezTo>
                  <a:pt x="25" y="43"/>
                  <a:pt x="25" y="43"/>
                  <a:pt x="25" y="43"/>
                </a:cubicBezTo>
                <a:cubicBezTo>
                  <a:pt x="26" y="42"/>
                  <a:pt x="26" y="42"/>
                  <a:pt x="26" y="42"/>
                </a:cubicBezTo>
                <a:cubicBezTo>
                  <a:pt x="28" y="42"/>
                  <a:pt x="28" y="42"/>
                  <a:pt x="28" y="42"/>
                </a:cubicBezTo>
                <a:cubicBezTo>
                  <a:pt x="28" y="41"/>
                  <a:pt x="28" y="41"/>
                  <a:pt x="28" y="41"/>
                </a:cubicBezTo>
                <a:cubicBezTo>
                  <a:pt x="29" y="41"/>
                  <a:pt x="29" y="41"/>
                  <a:pt x="29" y="41"/>
                </a:cubicBezTo>
                <a:cubicBezTo>
                  <a:pt x="29" y="40"/>
                  <a:pt x="29" y="40"/>
                  <a:pt x="29" y="40"/>
                </a:cubicBezTo>
                <a:cubicBezTo>
                  <a:pt x="30" y="39"/>
                  <a:pt x="30" y="39"/>
                  <a:pt x="30" y="39"/>
                </a:cubicBezTo>
                <a:cubicBezTo>
                  <a:pt x="31" y="38"/>
                  <a:pt x="31" y="38"/>
                  <a:pt x="31" y="38"/>
                </a:cubicBezTo>
                <a:cubicBezTo>
                  <a:pt x="30" y="37"/>
                  <a:pt x="30" y="37"/>
                  <a:pt x="30" y="37"/>
                </a:cubicBezTo>
                <a:cubicBezTo>
                  <a:pt x="31" y="36"/>
                  <a:pt x="31" y="36"/>
                  <a:pt x="31" y="36"/>
                </a:cubicBezTo>
                <a:cubicBezTo>
                  <a:pt x="31" y="36"/>
                  <a:pt x="31" y="36"/>
                  <a:pt x="31" y="36"/>
                </a:cubicBezTo>
                <a:cubicBezTo>
                  <a:pt x="31" y="34"/>
                  <a:pt x="31" y="34"/>
                  <a:pt x="31" y="34"/>
                </a:cubicBezTo>
                <a:cubicBezTo>
                  <a:pt x="32" y="33"/>
                  <a:pt x="32" y="33"/>
                  <a:pt x="32" y="33"/>
                </a:cubicBezTo>
                <a:cubicBezTo>
                  <a:pt x="32" y="33"/>
                  <a:pt x="32" y="33"/>
                  <a:pt x="32" y="33"/>
                </a:cubicBezTo>
                <a:cubicBezTo>
                  <a:pt x="31" y="31"/>
                  <a:pt x="31" y="31"/>
                  <a:pt x="31" y="31"/>
                </a:cubicBezTo>
                <a:cubicBezTo>
                  <a:pt x="31" y="31"/>
                  <a:pt x="31" y="31"/>
                  <a:pt x="31" y="31"/>
                </a:cubicBezTo>
                <a:cubicBezTo>
                  <a:pt x="28" y="31"/>
                  <a:pt x="28" y="31"/>
                  <a:pt x="28" y="31"/>
                </a:cubicBezTo>
                <a:cubicBezTo>
                  <a:pt x="27" y="31"/>
                  <a:pt x="27" y="31"/>
                  <a:pt x="27" y="31"/>
                </a:cubicBezTo>
                <a:cubicBezTo>
                  <a:pt x="26" y="32"/>
                  <a:pt x="26" y="32"/>
                  <a:pt x="26" y="32"/>
                </a:cubicBezTo>
                <a:cubicBezTo>
                  <a:pt x="25" y="32"/>
                  <a:pt x="25" y="32"/>
                  <a:pt x="25" y="32"/>
                </a:cubicBezTo>
                <a:cubicBezTo>
                  <a:pt x="24" y="31"/>
                  <a:pt x="24" y="31"/>
                  <a:pt x="24" y="31"/>
                </a:cubicBezTo>
                <a:cubicBezTo>
                  <a:pt x="24" y="31"/>
                  <a:pt x="24" y="31"/>
                  <a:pt x="24" y="31"/>
                </a:cubicBezTo>
                <a:cubicBezTo>
                  <a:pt x="24" y="32"/>
                  <a:pt x="24" y="32"/>
                  <a:pt x="24" y="32"/>
                </a:cubicBezTo>
                <a:cubicBezTo>
                  <a:pt x="23" y="32"/>
                  <a:pt x="23" y="32"/>
                  <a:pt x="23" y="32"/>
                </a:cubicBezTo>
                <a:cubicBezTo>
                  <a:pt x="22" y="32"/>
                  <a:pt x="22" y="32"/>
                  <a:pt x="22" y="32"/>
                </a:cubicBezTo>
                <a:cubicBezTo>
                  <a:pt x="21" y="32"/>
                  <a:pt x="21" y="32"/>
                  <a:pt x="21" y="32"/>
                </a:cubicBezTo>
                <a:cubicBezTo>
                  <a:pt x="21" y="33"/>
                  <a:pt x="21" y="33"/>
                  <a:pt x="21" y="33"/>
                </a:cubicBezTo>
                <a:cubicBezTo>
                  <a:pt x="20" y="33"/>
                  <a:pt x="20" y="33"/>
                  <a:pt x="20" y="33"/>
                </a:cubicBezTo>
                <a:cubicBezTo>
                  <a:pt x="21" y="32"/>
                  <a:pt x="21" y="32"/>
                  <a:pt x="21" y="32"/>
                </a:cubicBezTo>
                <a:cubicBezTo>
                  <a:pt x="22" y="30"/>
                  <a:pt x="22" y="30"/>
                  <a:pt x="22" y="30"/>
                </a:cubicBezTo>
                <a:cubicBezTo>
                  <a:pt x="22" y="30"/>
                  <a:pt x="22" y="30"/>
                  <a:pt x="22" y="30"/>
                </a:cubicBezTo>
                <a:cubicBezTo>
                  <a:pt x="21" y="30"/>
                  <a:pt x="21" y="30"/>
                  <a:pt x="21" y="30"/>
                </a:cubicBezTo>
                <a:cubicBezTo>
                  <a:pt x="21" y="30"/>
                  <a:pt x="21" y="30"/>
                  <a:pt x="21" y="30"/>
                </a:cubicBezTo>
                <a:cubicBezTo>
                  <a:pt x="21" y="29"/>
                  <a:pt x="21" y="29"/>
                  <a:pt x="21" y="29"/>
                </a:cubicBezTo>
                <a:cubicBezTo>
                  <a:pt x="24" y="27"/>
                  <a:pt x="24" y="27"/>
                  <a:pt x="24" y="27"/>
                </a:cubicBezTo>
                <a:cubicBezTo>
                  <a:pt x="25" y="26"/>
                  <a:pt x="25" y="26"/>
                  <a:pt x="25" y="26"/>
                </a:cubicBezTo>
                <a:cubicBezTo>
                  <a:pt x="25" y="26"/>
                  <a:pt x="25" y="26"/>
                  <a:pt x="25" y="26"/>
                </a:cubicBezTo>
                <a:cubicBezTo>
                  <a:pt x="26" y="25"/>
                  <a:pt x="26" y="25"/>
                  <a:pt x="26" y="25"/>
                </a:cubicBezTo>
                <a:cubicBezTo>
                  <a:pt x="25" y="24"/>
                  <a:pt x="25" y="24"/>
                  <a:pt x="25" y="24"/>
                </a:cubicBezTo>
                <a:cubicBezTo>
                  <a:pt x="26" y="23"/>
                  <a:pt x="26" y="23"/>
                  <a:pt x="26" y="23"/>
                </a:cubicBezTo>
                <a:cubicBezTo>
                  <a:pt x="26" y="23"/>
                  <a:pt x="26" y="23"/>
                  <a:pt x="26" y="23"/>
                </a:cubicBezTo>
                <a:cubicBezTo>
                  <a:pt x="25" y="23"/>
                  <a:pt x="25" y="23"/>
                  <a:pt x="25" y="23"/>
                </a:cubicBezTo>
                <a:cubicBezTo>
                  <a:pt x="24" y="23"/>
                  <a:pt x="24" y="23"/>
                  <a:pt x="24" y="23"/>
                </a:cubicBezTo>
                <a:cubicBezTo>
                  <a:pt x="23" y="23"/>
                  <a:pt x="23" y="23"/>
                  <a:pt x="23" y="23"/>
                </a:cubicBezTo>
                <a:cubicBezTo>
                  <a:pt x="22" y="24"/>
                  <a:pt x="22" y="24"/>
                  <a:pt x="22" y="24"/>
                </a:cubicBezTo>
                <a:cubicBezTo>
                  <a:pt x="21" y="24"/>
                  <a:pt x="21" y="24"/>
                  <a:pt x="21" y="24"/>
                </a:cubicBezTo>
                <a:cubicBezTo>
                  <a:pt x="20" y="24"/>
                  <a:pt x="20" y="24"/>
                  <a:pt x="20" y="24"/>
                </a:cubicBezTo>
                <a:cubicBezTo>
                  <a:pt x="20" y="24"/>
                  <a:pt x="20" y="24"/>
                  <a:pt x="20" y="24"/>
                </a:cubicBezTo>
                <a:cubicBezTo>
                  <a:pt x="19" y="25"/>
                  <a:pt x="19" y="25"/>
                  <a:pt x="19" y="25"/>
                </a:cubicBezTo>
                <a:cubicBezTo>
                  <a:pt x="19" y="24"/>
                  <a:pt x="19" y="24"/>
                  <a:pt x="19" y="24"/>
                </a:cubicBezTo>
                <a:cubicBezTo>
                  <a:pt x="19" y="24"/>
                  <a:pt x="19" y="24"/>
                  <a:pt x="19" y="24"/>
                </a:cubicBezTo>
                <a:cubicBezTo>
                  <a:pt x="18" y="25"/>
                  <a:pt x="18" y="25"/>
                  <a:pt x="18" y="25"/>
                </a:cubicBezTo>
                <a:cubicBezTo>
                  <a:pt x="18" y="24"/>
                  <a:pt x="18" y="24"/>
                  <a:pt x="18" y="24"/>
                </a:cubicBezTo>
                <a:cubicBezTo>
                  <a:pt x="16" y="23"/>
                  <a:pt x="16" y="23"/>
                  <a:pt x="16" y="23"/>
                </a:cubicBezTo>
                <a:cubicBezTo>
                  <a:pt x="16" y="24"/>
                  <a:pt x="16" y="24"/>
                  <a:pt x="16" y="24"/>
                </a:cubicBezTo>
                <a:cubicBezTo>
                  <a:pt x="16" y="24"/>
                  <a:pt x="16" y="24"/>
                  <a:pt x="16" y="24"/>
                </a:cubicBezTo>
                <a:cubicBezTo>
                  <a:pt x="16" y="25"/>
                  <a:pt x="16" y="25"/>
                  <a:pt x="16" y="25"/>
                </a:cubicBezTo>
                <a:cubicBezTo>
                  <a:pt x="16" y="25"/>
                  <a:pt x="16" y="25"/>
                  <a:pt x="16" y="25"/>
                </a:cubicBezTo>
                <a:cubicBezTo>
                  <a:pt x="16" y="26"/>
                  <a:pt x="16" y="26"/>
                  <a:pt x="16" y="26"/>
                </a:cubicBezTo>
                <a:cubicBezTo>
                  <a:pt x="15" y="26"/>
                  <a:pt x="15" y="26"/>
                  <a:pt x="15" y="26"/>
                </a:cubicBezTo>
                <a:cubicBezTo>
                  <a:pt x="15" y="27"/>
                  <a:pt x="15" y="27"/>
                  <a:pt x="15" y="27"/>
                </a:cubicBezTo>
                <a:cubicBezTo>
                  <a:pt x="15" y="28"/>
                  <a:pt x="15" y="28"/>
                  <a:pt x="15" y="28"/>
                </a:cubicBezTo>
                <a:cubicBezTo>
                  <a:pt x="14" y="28"/>
                  <a:pt x="14" y="28"/>
                  <a:pt x="14" y="28"/>
                </a:cubicBezTo>
                <a:cubicBezTo>
                  <a:pt x="15" y="29"/>
                  <a:pt x="15" y="29"/>
                  <a:pt x="15" y="29"/>
                </a:cubicBezTo>
                <a:cubicBezTo>
                  <a:pt x="16" y="30"/>
                  <a:pt x="16" y="30"/>
                  <a:pt x="16" y="30"/>
                </a:cubicBezTo>
                <a:cubicBezTo>
                  <a:pt x="15" y="29"/>
                  <a:pt x="15" y="29"/>
                  <a:pt x="15" y="29"/>
                </a:cubicBezTo>
                <a:cubicBezTo>
                  <a:pt x="14" y="30"/>
                  <a:pt x="14" y="30"/>
                  <a:pt x="14" y="30"/>
                </a:cubicBezTo>
                <a:cubicBezTo>
                  <a:pt x="13" y="29"/>
                  <a:pt x="13" y="29"/>
                  <a:pt x="13" y="29"/>
                </a:cubicBezTo>
                <a:cubicBezTo>
                  <a:pt x="13" y="30"/>
                  <a:pt x="13" y="30"/>
                  <a:pt x="13" y="30"/>
                </a:cubicBezTo>
                <a:cubicBezTo>
                  <a:pt x="13" y="30"/>
                  <a:pt x="13" y="30"/>
                  <a:pt x="13" y="30"/>
                </a:cubicBezTo>
                <a:cubicBezTo>
                  <a:pt x="13" y="31"/>
                  <a:pt x="13" y="31"/>
                  <a:pt x="13" y="31"/>
                </a:cubicBezTo>
                <a:cubicBezTo>
                  <a:pt x="13" y="30"/>
                  <a:pt x="13" y="30"/>
                  <a:pt x="13" y="30"/>
                </a:cubicBezTo>
                <a:cubicBezTo>
                  <a:pt x="12" y="31"/>
                  <a:pt x="12" y="31"/>
                  <a:pt x="12" y="31"/>
                </a:cubicBezTo>
                <a:cubicBezTo>
                  <a:pt x="13" y="31"/>
                  <a:pt x="13" y="31"/>
                  <a:pt x="13" y="31"/>
                </a:cubicBezTo>
                <a:cubicBezTo>
                  <a:pt x="12" y="32"/>
                  <a:pt x="12" y="32"/>
                  <a:pt x="12" y="32"/>
                </a:cubicBezTo>
                <a:cubicBezTo>
                  <a:pt x="13" y="33"/>
                  <a:pt x="13" y="33"/>
                  <a:pt x="13" y="33"/>
                </a:cubicBezTo>
                <a:cubicBezTo>
                  <a:pt x="14" y="33"/>
                  <a:pt x="14" y="33"/>
                  <a:pt x="14" y="33"/>
                </a:cubicBezTo>
                <a:cubicBezTo>
                  <a:pt x="13" y="33"/>
                  <a:pt x="13" y="33"/>
                  <a:pt x="13" y="33"/>
                </a:cubicBezTo>
                <a:cubicBezTo>
                  <a:pt x="12" y="32"/>
                  <a:pt x="12" y="32"/>
                  <a:pt x="12" y="32"/>
                </a:cubicBezTo>
                <a:cubicBezTo>
                  <a:pt x="12" y="34"/>
                  <a:pt x="12" y="34"/>
                  <a:pt x="12" y="34"/>
                </a:cubicBezTo>
                <a:cubicBezTo>
                  <a:pt x="12" y="34"/>
                  <a:pt x="12" y="34"/>
                  <a:pt x="12" y="34"/>
                </a:cubicBezTo>
                <a:cubicBezTo>
                  <a:pt x="14" y="34"/>
                  <a:pt x="14" y="34"/>
                  <a:pt x="14" y="34"/>
                </a:cubicBezTo>
                <a:cubicBezTo>
                  <a:pt x="13" y="35"/>
                  <a:pt x="13" y="35"/>
                  <a:pt x="13" y="35"/>
                </a:cubicBezTo>
                <a:cubicBezTo>
                  <a:pt x="13" y="35"/>
                  <a:pt x="13" y="35"/>
                  <a:pt x="13" y="35"/>
                </a:cubicBezTo>
                <a:cubicBezTo>
                  <a:pt x="13" y="35"/>
                  <a:pt x="13" y="35"/>
                  <a:pt x="13" y="35"/>
                </a:cubicBezTo>
                <a:cubicBezTo>
                  <a:pt x="14" y="35"/>
                  <a:pt x="14" y="35"/>
                  <a:pt x="14" y="35"/>
                </a:cubicBezTo>
                <a:cubicBezTo>
                  <a:pt x="14" y="35"/>
                  <a:pt x="14" y="35"/>
                  <a:pt x="14" y="35"/>
                </a:cubicBezTo>
                <a:cubicBezTo>
                  <a:pt x="14" y="35"/>
                  <a:pt x="14" y="35"/>
                  <a:pt x="14" y="35"/>
                </a:cubicBezTo>
                <a:cubicBezTo>
                  <a:pt x="13" y="35"/>
                  <a:pt x="13" y="35"/>
                  <a:pt x="13" y="35"/>
                </a:cubicBezTo>
                <a:cubicBezTo>
                  <a:pt x="13" y="35"/>
                  <a:pt x="13" y="35"/>
                  <a:pt x="13" y="35"/>
                </a:cubicBezTo>
                <a:cubicBezTo>
                  <a:pt x="13" y="36"/>
                  <a:pt x="13" y="36"/>
                  <a:pt x="13" y="36"/>
                </a:cubicBezTo>
                <a:cubicBezTo>
                  <a:pt x="13" y="36"/>
                  <a:pt x="13" y="36"/>
                  <a:pt x="13" y="36"/>
                </a:cubicBezTo>
                <a:cubicBezTo>
                  <a:pt x="13" y="36"/>
                  <a:pt x="13" y="36"/>
                  <a:pt x="13" y="36"/>
                </a:cubicBezTo>
                <a:cubicBezTo>
                  <a:pt x="12" y="37"/>
                  <a:pt x="12" y="37"/>
                  <a:pt x="12" y="37"/>
                </a:cubicBezTo>
                <a:cubicBezTo>
                  <a:pt x="13" y="37"/>
                  <a:pt x="13" y="37"/>
                  <a:pt x="13" y="37"/>
                </a:cubicBezTo>
                <a:cubicBezTo>
                  <a:pt x="13" y="38"/>
                  <a:pt x="13" y="38"/>
                  <a:pt x="13" y="38"/>
                </a:cubicBezTo>
                <a:cubicBezTo>
                  <a:pt x="12" y="37"/>
                  <a:pt x="12" y="37"/>
                  <a:pt x="12" y="37"/>
                </a:cubicBezTo>
                <a:cubicBezTo>
                  <a:pt x="12" y="38"/>
                  <a:pt x="12" y="38"/>
                  <a:pt x="12" y="38"/>
                </a:cubicBezTo>
                <a:cubicBezTo>
                  <a:pt x="12" y="38"/>
                  <a:pt x="12" y="38"/>
                  <a:pt x="12" y="38"/>
                </a:cubicBezTo>
                <a:cubicBezTo>
                  <a:pt x="12" y="39"/>
                  <a:pt x="12" y="39"/>
                  <a:pt x="12" y="39"/>
                </a:cubicBezTo>
                <a:cubicBezTo>
                  <a:pt x="12" y="39"/>
                  <a:pt x="12" y="39"/>
                  <a:pt x="12" y="39"/>
                </a:cubicBezTo>
                <a:cubicBezTo>
                  <a:pt x="10" y="39"/>
                  <a:pt x="10" y="39"/>
                  <a:pt x="10" y="39"/>
                </a:cubicBezTo>
                <a:cubicBezTo>
                  <a:pt x="10" y="40"/>
                  <a:pt x="10" y="40"/>
                  <a:pt x="10" y="40"/>
                </a:cubicBezTo>
                <a:cubicBezTo>
                  <a:pt x="10" y="40"/>
                  <a:pt x="10" y="40"/>
                  <a:pt x="10" y="40"/>
                </a:cubicBezTo>
                <a:cubicBezTo>
                  <a:pt x="11" y="40"/>
                  <a:pt x="11" y="40"/>
                  <a:pt x="11" y="40"/>
                </a:cubicBezTo>
                <a:cubicBezTo>
                  <a:pt x="12" y="40"/>
                  <a:pt x="12" y="40"/>
                  <a:pt x="12" y="40"/>
                </a:cubicBezTo>
                <a:cubicBezTo>
                  <a:pt x="12" y="40"/>
                  <a:pt x="12" y="40"/>
                  <a:pt x="12" y="40"/>
                </a:cubicBezTo>
                <a:cubicBezTo>
                  <a:pt x="11" y="40"/>
                  <a:pt x="11" y="40"/>
                  <a:pt x="11" y="40"/>
                </a:cubicBezTo>
                <a:cubicBezTo>
                  <a:pt x="12" y="41"/>
                  <a:pt x="12" y="41"/>
                  <a:pt x="12" y="41"/>
                </a:cubicBezTo>
                <a:cubicBezTo>
                  <a:pt x="12" y="41"/>
                  <a:pt x="12" y="41"/>
                  <a:pt x="12" y="41"/>
                </a:cubicBezTo>
                <a:cubicBezTo>
                  <a:pt x="13" y="42"/>
                  <a:pt x="13" y="42"/>
                  <a:pt x="13" y="42"/>
                </a:cubicBezTo>
                <a:cubicBezTo>
                  <a:pt x="15" y="39"/>
                  <a:pt x="15" y="39"/>
                  <a:pt x="15" y="39"/>
                </a:cubicBezTo>
                <a:cubicBezTo>
                  <a:pt x="15" y="40"/>
                  <a:pt x="15" y="40"/>
                  <a:pt x="15" y="40"/>
                </a:cubicBezTo>
                <a:cubicBezTo>
                  <a:pt x="15" y="40"/>
                  <a:pt x="15" y="40"/>
                  <a:pt x="15" y="40"/>
                </a:cubicBezTo>
                <a:cubicBezTo>
                  <a:pt x="15" y="40"/>
                  <a:pt x="15" y="40"/>
                  <a:pt x="15" y="40"/>
                </a:cubicBezTo>
                <a:cubicBezTo>
                  <a:pt x="14" y="42"/>
                  <a:pt x="14" y="42"/>
                  <a:pt x="14" y="42"/>
                </a:cubicBezTo>
                <a:cubicBezTo>
                  <a:pt x="14" y="42"/>
                  <a:pt x="14" y="42"/>
                  <a:pt x="14" y="42"/>
                </a:cubicBezTo>
                <a:cubicBezTo>
                  <a:pt x="13" y="44"/>
                  <a:pt x="13" y="44"/>
                  <a:pt x="13" y="44"/>
                </a:cubicBezTo>
                <a:cubicBezTo>
                  <a:pt x="14" y="44"/>
                  <a:pt x="14" y="44"/>
                  <a:pt x="14" y="44"/>
                </a:cubicBezTo>
                <a:cubicBezTo>
                  <a:pt x="13" y="46"/>
                  <a:pt x="13" y="46"/>
                  <a:pt x="13" y="46"/>
                </a:cubicBezTo>
                <a:cubicBezTo>
                  <a:pt x="13" y="47"/>
                  <a:pt x="13" y="47"/>
                  <a:pt x="13" y="47"/>
                </a:cubicBezTo>
                <a:cubicBezTo>
                  <a:pt x="13" y="48"/>
                  <a:pt x="13" y="48"/>
                  <a:pt x="13" y="48"/>
                </a:cubicBezTo>
                <a:cubicBezTo>
                  <a:pt x="13" y="48"/>
                  <a:pt x="13" y="48"/>
                  <a:pt x="13" y="48"/>
                </a:cubicBezTo>
                <a:cubicBezTo>
                  <a:pt x="13" y="48"/>
                  <a:pt x="13" y="48"/>
                  <a:pt x="13" y="48"/>
                </a:cubicBezTo>
                <a:cubicBezTo>
                  <a:pt x="13" y="49"/>
                  <a:pt x="13" y="49"/>
                  <a:pt x="13" y="49"/>
                </a:cubicBezTo>
                <a:cubicBezTo>
                  <a:pt x="13" y="51"/>
                  <a:pt x="13" y="51"/>
                  <a:pt x="13" y="51"/>
                </a:cubicBezTo>
                <a:cubicBezTo>
                  <a:pt x="12" y="52"/>
                  <a:pt x="12" y="52"/>
                  <a:pt x="12" y="52"/>
                </a:cubicBezTo>
                <a:cubicBezTo>
                  <a:pt x="12" y="52"/>
                  <a:pt x="12" y="52"/>
                  <a:pt x="12" y="52"/>
                </a:cubicBezTo>
                <a:cubicBezTo>
                  <a:pt x="13" y="52"/>
                  <a:pt x="13" y="52"/>
                  <a:pt x="13" y="52"/>
                </a:cubicBezTo>
                <a:cubicBezTo>
                  <a:pt x="13" y="51"/>
                  <a:pt x="13" y="51"/>
                  <a:pt x="13" y="51"/>
                </a:cubicBezTo>
                <a:cubicBezTo>
                  <a:pt x="14" y="50"/>
                  <a:pt x="14" y="50"/>
                  <a:pt x="14" y="50"/>
                </a:cubicBezTo>
                <a:cubicBezTo>
                  <a:pt x="14" y="49"/>
                  <a:pt x="14" y="49"/>
                  <a:pt x="14" y="49"/>
                </a:cubicBezTo>
                <a:cubicBezTo>
                  <a:pt x="14" y="48"/>
                  <a:pt x="14" y="48"/>
                  <a:pt x="14" y="48"/>
                </a:cubicBezTo>
                <a:cubicBezTo>
                  <a:pt x="14" y="46"/>
                  <a:pt x="14" y="46"/>
                  <a:pt x="14" y="46"/>
                </a:cubicBezTo>
                <a:cubicBezTo>
                  <a:pt x="14" y="46"/>
                  <a:pt x="14" y="46"/>
                  <a:pt x="14" y="46"/>
                </a:cubicBezTo>
                <a:cubicBezTo>
                  <a:pt x="16" y="44"/>
                  <a:pt x="16" y="44"/>
                  <a:pt x="16" y="44"/>
                </a:cubicBezTo>
                <a:cubicBezTo>
                  <a:pt x="15" y="46"/>
                  <a:pt x="15" y="46"/>
                  <a:pt x="15" y="46"/>
                </a:cubicBezTo>
                <a:cubicBezTo>
                  <a:pt x="15" y="47"/>
                  <a:pt x="15" y="47"/>
                  <a:pt x="15" y="47"/>
                </a:cubicBezTo>
                <a:cubicBezTo>
                  <a:pt x="15" y="47"/>
                  <a:pt x="15" y="47"/>
                  <a:pt x="15" y="47"/>
                </a:cubicBezTo>
                <a:cubicBezTo>
                  <a:pt x="15" y="47"/>
                  <a:pt x="15" y="47"/>
                  <a:pt x="15" y="47"/>
                </a:cubicBezTo>
                <a:cubicBezTo>
                  <a:pt x="16" y="46"/>
                  <a:pt x="16" y="46"/>
                  <a:pt x="16" y="46"/>
                </a:cubicBezTo>
                <a:cubicBezTo>
                  <a:pt x="16" y="47"/>
                  <a:pt x="16" y="47"/>
                  <a:pt x="16" y="47"/>
                </a:cubicBezTo>
                <a:cubicBezTo>
                  <a:pt x="17" y="46"/>
                  <a:pt x="17" y="46"/>
                  <a:pt x="17" y="46"/>
                </a:cubicBezTo>
                <a:cubicBezTo>
                  <a:pt x="17" y="45"/>
                  <a:pt x="17" y="45"/>
                  <a:pt x="17" y="45"/>
                </a:cubicBezTo>
                <a:cubicBezTo>
                  <a:pt x="17" y="44"/>
                  <a:pt x="17" y="44"/>
                  <a:pt x="17" y="44"/>
                </a:cubicBezTo>
                <a:cubicBezTo>
                  <a:pt x="17" y="46"/>
                  <a:pt x="17" y="46"/>
                  <a:pt x="17" y="46"/>
                </a:cubicBezTo>
                <a:cubicBezTo>
                  <a:pt x="18" y="47"/>
                  <a:pt x="18" y="47"/>
                  <a:pt x="18" y="47"/>
                </a:cubicBezTo>
                <a:cubicBezTo>
                  <a:pt x="17" y="46"/>
                  <a:pt x="17" y="46"/>
                  <a:pt x="17" y="46"/>
                </a:cubicBezTo>
                <a:cubicBezTo>
                  <a:pt x="17" y="48"/>
                  <a:pt x="17" y="48"/>
                  <a:pt x="17" y="48"/>
                </a:cubicBezTo>
                <a:cubicBezTo>
                  <a:pt x="17" y="49"/>
                  <a:pt x="17" y="49"/>
                  <a:pt x="17" y="49"/>
                </a:cubicBezTo>
                <a:cubicBezTo>
                  <a:pt x="18" y="50"/>
                  <a:pt x="18" y="50"/>
                  <a:pt x="18" y="50"/>
                </a:cubicBezTo>
                <a:cubicBezTo>
                  <a:pt x="18" y="51"/>
                  <a:pt x="18" y="51"/>
                  <a:pt x="18" y="51"/>
                </a:cubicBezTo>
                <a:cubicBezTo>
                  <a:pt x="17" y="52"/>
                  <a:pt x="17" y="52"/>
                  <a:pt x="17" y="52"/>
                </a:cubicBezTo>
                <a:cubicBezTo>
                  <a:pt x="16" y="54"/>
                  <a:pt x="16" y="54"/>
                  <a:pt x="16" y="54"/>
                </a:cubicBezTo>
                <a:cubicBezTo>
                  <a:pt x="16" y="56"/>
                  <a:pt x="16" y="56"/>
                  <a:pt x="16" y="56"/>
                </a:cubicBezTo>
                <a:cubicBezTo>
                  <a:pt x="15" y="55"/>
                  <a:pt x="15" y="55"/>
                  <a:pt x="15" y="55"/>
                </a:cubicBezTo>
                <a:cubicBezTo>
                  <a:pt x="16" y="56"/>
                  <a:pt x="16" y="56"/>
                  <a:pt x="16" y="56"/>
                </a:cubicBezTo>
                <a:cubicBezTo>
                  <a:pt x="17" y="58"/>
                  <a:pt x="17" y="58"/>
                  <a:pt x="17" y="58"/>
                </a:cubicBezTo>
                <a:cubicBezTo>
                  <a:pt x="16" y="56"/>
                  <a:pt x="16" y="56"/>
                  <a:pt x="16" y="56"/>
                </a:cubicBezTo>
                <a:cubicBezTo>
                  <a:pt x="17" y="56"/>
                  <a:pt x="17" y="56"/>
                  <a:pt x="17" y="56"/>
                </a:cubicBezTo>
                <a:cubicBezTo>
                  <a:pt x="19" y="58"/>
                  <a:pt x="19" y="58"/>
                  <a:pt x="19" y="58"/>
                </a:cubicBezTo>
                <a:cubicBezTo>
                  <a:pt x="19" y="57"/>
                  <a:pt x="19" y="57"/>
                  <a:pt x="19" y="57"/>
                </a:cubicBezTo>
                <a:cubicBezTo>
                  <a:pt x="19" y="56"/>
                  <a:pt x="19" y="56"/>
                  <a:pt x="19" y="56"/>
                </a:cubicBezTo>
                <a:cubicBezTo>
                  <a:pt x="19" y="56"/>
                  <a:pt x="19" y="56"/>
                  <a:pt x="19" y="56"/>
                </a:cubicBezTo>
                <a:cubicBezTo>
                  <a:pt x="21" y="57"/>
                  <a:pt x="21" y="57"/>
                  <a:pt x="21" y="57"/>
                </a:cubicBezTo>
                <a:cubicBezTo>
                  <a:pt x="22" y="57"/>
                  <a:pt x="22" y="57"/>
                  <a:pt x="22" y="57"/>
                </a:cubicBezTo>
                <a:cubicBezTo>
                  <a:pt x="22" y="56"/>
                  <a:pt x="22" y="56"/>
                  <a:pt x="22" y="56"/>
                </a:cubicBezTo>
                <a:cubicBezTo>
                  <a:pt x="23" y="56"/>
                  <a:pt x="23" y="56"/>
                  <a:pt x="23" y="56"/>
                </a:cubicBezTo>
                <a:cubicBezTo>
                  <a:pt x="24" y="55"/>
                  <a:pt x="24" y="55"/>
                  <a:pt x="24" y="55"/>
                </a:cubicBezTo>
                <a:cubicBezTo>
                  <a:pt x="27" y="55"/>
                  <a:pt x="27" y="55"/>
                  <a:pt x="27" y="55"/>
                </a:cubicBezTo>
                <a:cubicBezTo>
                  <a:pt x="25" y="56"/>
                  <a:pt x="25" y="56"/>
                  <a:pt x="25" y="56"/>
                </a:cubicBezTo>
                <a:cubicBezTo>
                  <a:pt x="23" y="59"/>
                  <a:pt x="23" y="59"/>
                  <a:pt x="23" y="59"/>
                </a:cubicBezTo>
                <a:cubicBezTo>
                  <a:pt x="25" y="62"/>
                  <a:pt x="25" y="62"/>
                  <a:pt x="25" y="62"/>
                </a:cubicBezTo>
                <a:cubicBezTo>
                  <a:pt x="26" y="62"/>
                  <a:pt x="26" y="62"/>
                  <a:pt x="26" y="62"/>
                </a:cubicBezTo>
                <a:cubicBezTo>
                  <a:pt x="26" y="63"/>
                  <a:pt x="26" y="63"/>
                  <a:pt x="26" y="63"/>
                </a:cubicBezTo>
                <a:cubicBezTo>
                  <a:pt x="27" y="62"/>
                  <a:pt x="27" y="62"/>
                  <a:pt x="27" y="62"/>
                </a:cubicBezTo>
                <a:cubicBezTo>
                  <a:pt x="28" y="62"/>
                  <a:pt x="28" y="62"/>
                  <a:pt x="28" y="62"/>
                </a:cubicBezTo>
                <a:cubicBezTo>
                  <a:pt x="28" y="63"/>
                  <a:pt x="28" y="63"/>
                  <a:pt x="28" y="63"/>
                </a:cubicBezTo>
                <a:cubicBezTo>
                  <a:pt x="28" y="64"/>
                  <a:pt x="28" y="64"/>
                  <a:pt x="28" y="64"/>
                </a:cubicBezTo>
                <a:cubicBezTo>
                  <a:pt x="27" y="65"/>
                  <a:pt x="27" y="65"/>
                  <a:pt x="27" y="65"/>
                </a:cubicBezTo>
                <a:cubicBezTo>
                  <a:pt x="27" y="66"/>
                  <a:pt x="27" y="66"/>
                  <a:pt x="27" y="66"/>
                </a:cubicBezTo>
                <a:cubicBezTo>
                  <a:pt x="26" y="68"/>
                  <a:pt x="26" y="68"/>
                  <a:pt x="26" y="68"/>
                </a:cubicBezTo>
                <a:cubicBezTo>
                  <a:pt x="27" y="69"/>
                  <a:pt x="27" y="69"/>
                  <a:pt x="27" y="69"/>
                </a:cubicBezTo>
                <a:cubicBezTo>
                  <a:pt x="28" y="69"/>
                  <a:pt x="28" y="69"/>
                  <a:pt x="28" y="69"/>
                </a:cubicBezTo>
                <a:cubicBezTo>
                  <a:pt x="29" y="70"/>
                  <a:pt x="29" y="70"/>
                  <a:pt x="29" y="70"/>
                </a:cubicBezTo>
                <a:cubicBezTo>
                  <a:pt x="28" y="70"/>
                  <a:pt x="28" y="70"/>
                  <a:pt x="28" y="70"/>
                </a:cubicBezTo>
                <a:cubicBezTo>
                  <a:pt x="27" y="70"/>
                  <a:pt x="27" y="70"/>
                  <a:pt x="27" y="70"/>
                </a:cubicBezTo>
                <a:cubicBezTo>
                  <a:pt x="27" y="69"/>
                  <a:pt x="27" y="69"/>
                  <a:pt x="27" y="69"/>
                </a:cubicBezTo>
                <a:cubicBezTo>
                  <a:pt x="26" y="69"/>
                  <a:pt x="26" y="69"/>
                  <a:pt x="26" y="69"/>
                </a:cubicBezTo>
                <a:cubicBezTo>
                  <a:pt x="27" y="70"/>
                  <a:pt x="27" y="70"/>
                  <a:pt x="27" y="70"/>
                </a:cubicBezTo>
                <a:cubicBezTo>
                  <a:pt x="27" y="71"/>
                  <a:pt x="27" y="71"/>
                  <a:pt x="27" y="71"/>
                </a:cubicBezTo>
                <a:cubicBezTo>
                  <a:pt x="26" y="70"/>
                  <a:pt x="26" y="70"/>
                  <a:pt x="26" y="70"/>
                </a:cubicBezTo>
                <a:cubicBezTo>
                  <a:pt x="25" y="70"/>
                  <a:pt x="25" y="70"/>
                  <a:pt x="25" y="70"/>
                </a:cubicBezTo>
                <a:cubicBezTo>
                  <a:pt x="23" y="70"/>
                  <a:pt x="23" y="70"/>
                  <a:pt x="23" y="70"/>
                </a:cubicBezTo>
                <a:cubicBezTo>
                  <a:pt x="23" y="70"/>
                  <a:pt x="23" y="70"/>
                  <a:pt x="23" y="70"/>
                </a:cubicBezTo>
                <a:cubicBezTo>
                  <a:pt x="21" y="71"/>
                  <a:pt x="21" y="71"/>
                  <a:pt x="21" y="71"/>
                </a:cubicBezTo>
                <a:cubicBezTo>
                  <a:pt x="19" y="73"/>
                  <a:pt x="19" y="73"/>
                  <a:pt x="19" y="73"/>
                </a:cubicBezTo>
                <a:cubicBezTo>
                  <a:pt x="18" y="74"/>
                  <a:pt x="18" y="74"/>
                  <a:pt x="18" y="74"/>
                </a:cubicBezTo>
                <a:cubicBezTo>
                  <a:pt x="17" y="74"/>
                  <a:pt x="17" y="74"/>
                  <a:pt x="17" y="74"/>
                </a:cubicBezTo>
                <a:cubicBezTo>
                  <a:pt x="18" y="74"/>
                  <a:pt x="18" y="74"/>
                  <a:pt x="18" y="74"/>
                </a:cubicBezTo>
                <a:cubicBezTo>
                  <a:pt x="19" y="74"/>
                  <a:pt x="19" y="74"/>
                  <a:pt x="19" y="74"/>
                </a:cubicBezTo>
                <a:cubicBezTo>
                  <a:pt x="19" y="74"/>
                  <a:pt x="19" y="74"/>
                  <a:pt x="19" y="74"/>
                </a:cubicBezTo>
                <a:cubicBezTo>
                  <a:pt x="21" y="73"/>
                  <a:pt x="21" y="73"/>
                  <a:pt x="21" y="73"/>
                </a:cubicBezTo>
                <a:cubicBezTo>
                  <a:pt x="21" y="74"/>
                  <a:pt x="21" y="74"/>
                  <a:pt x="21" y="74"/>
                </a:cubicBezTo>
                <a:cubicBezTo>
                  <a:pt x="22" y="75"/>
                  <a:pt x="22" y="75"/>
                  <a:pt x="22" y="75"/>
                </a:cubicBezTo>
                <a:cubicBezTo>
                  <a:pt x="21" y="76"/>
                  <a:pt x="21" y="76"/>
                  <a:pt x="21" y="76"/>
                </a:cubicBezTo>
                <a:cubicBezTo>
                  <a:pt x="21" y="77"/>
                  <a:pt x="21" y="77"/>
                  <a:pt x="21" y="77"/>
                </a:cubicBezTo>
                <a:cubicBezTo>
                  <a:pt x="22" y="77"/>
                  <a:pt x="22" y="77"/>
                  <a:pt x="22" y="77"/>
                </a:cubicBezTo>
                <a:cubicBezTo>
                  <a:pt x="20" y="79"/>
                  <a:pt x="20" y="79"/>
                  <a:pt x="20" y="79"/>
                </a:cubicBezTo>
                <a:cubicBezTo>
                  <a:pt x="19" y="80"/>
                  <a:pt x="19" y="80"/>
                  <a:pt x="19" y="80"/>
                </a:cubicBezTo>
                <a:cubicBezTo>
                  <a:pt x="18" y="80"/>
                  <a:pt x="18" y="80"/>
                  <a:pt x="18" y="80"/>
                </a:cubicBezTo>
                <a:cubicBezTo>
                  <a:pt x="18" y="80"/>
                  <a:pt x="18" y="80"/>
                  <a:pt x="18" y="80"/>
                </a:cubicBezTo>
                <a:cubicBezTo>
                  <a:pt x="17" y="81"/>
                  <a:pt x="17" y="81"/>
                  <a:pt x="17" y="81"/>
                </a:cubicBezTo>
                <a:cubicBezTo>
                  <a:pt x="16" y="81"/>
                  <a:pt x="16" y="81"/>
                  <a:pt x="16" y="81"/>
                </a:cubicBezTo>
                <a:cubicBezTo>
                  <a:pt x="14" y="82"/>
                  <a:pt x="14" y="82"/>
                  <a:pt x="14" y="82"/>
                </a:cubicBezTo>
                <a:cubicBezTo>
                  <a:pt x="15" y="82"/>
                  <a:pt x="15" y="82"/>
                  <a:pt x="15" y="82"/>
                </a:cubicBezTo>
                <a:cubicBezTo>
                  <a:pt x="15" y="83"/>
                  <a:pt x="15" y="83"/>
                  <a:pt x="15" y="83"/>
                </a:cubicBezTo>
                <a:cubicBezTo>
                  <a:pt x="15" y="84"/>
                  <a:pt x="15" y="84"/>
                  <a:pt x="15" y="84"/>
                </a:cubicBezTo>
                <a:cubicBezTo>
                  <a:pt x="16" y="84"/>
                  <a:pt x="16" y="84"/>
                  <a:pt x="16" y="84"/>
                </a:cubicBezTo>
                <a:cubicBezTo>
                  <a:pt x="16" y="84"/>
                  <a:pt x="16" y="84"/>
                  <a:pt x="16" y="84"/>
                </a:cubicBezTo>
                <a:cubicBezTo>
                  <a:pt x="16" y="85"/>
                  <a:pt x="16" y="85"/>
                  <a:pt x="16" y="85"/>
                </a:cubicBezTo>
                <a:cubicBezTo>
                  <a:pt x="17" y="84"/>
                  <a:pt x="17" y="84"/>
                  <a:pt x="17" y="84"/>
                </a:cubicBezTo>
                <a:cubicBezTo>
                  <a:pt x="18" y="84"/>
                  <a:pt x="18" y="84"/>
                  <a:pt x="18" y="84"/>
                </a:cubicBezTo>
                <a:cubicBezTo>
                  <a:pt x="20" y="83"/>
                  <a:pt x="20" y="83"/>
                  <a:pt x="20" y="83"/>
                </a:cubicBezTo>
                <a:cubicBezTo>
                  <a:pt x="20" y="84"/>
                  <a:pt x="20" y="84"/>
                  <a:pt x="20" y="84"/>
                </a:cubicBezTo>
                <a:cubicBezTo>
                  <a:pt x="21" y="84"/>
                  <a:pt x="21" y="84"/>
                  <a:pt x="21" y="84"/>
                </a:cubicBezTo>
                <a:cubicBezTo>
                  <a:pt x="20" y="85"/>
                  <a:pt x="20" y="85"/>
                  <a:pt x="20" y="85"/>
                </a:cubicBezTo>
                <a:cubicBezTo>
                  <a:pt x="20" y="85"/>
                  <a:pt x="20" y="85"/>
                  <a:pt x="20" y="85"/>
                </a:cubicBezTo>
                <a:cubicBezTo>
                  <a:pt x="22" y="85"/>
                  <a:pt x="22" y="85"/>
                  <a:pt x="22" y="85"/>
                </a:cubicBezTo>
                <a:cubicBezTo>
                  <a:pt x="22" y="85"/>
                  <a:pt x="22" y="85"/>
                  <a:pt x="22" y="85"/>
                </a:cubicBezTo>
                <a:cubicBezTo>
                  <a:pt x="23" y="85"/>
                  <a:pt x="23" y="85"/>
                  <a:pt x="23" y="85"/>
                </a:cubicBezTo>
                <a:cubicBezTo>
                  <a:pt x="24" y="86"/>
                  <a:pt x="24" y="86"/>
                  <a:pt x="24" y="86"/>
                </a:cubicBezTo>
                <a:cubicBezTo>
                  <a:pt x="24" y="87"/>
                  <a:pt x="24" y="87"/>
                  <a:pt x="24" y="87"/>
                </a:cubicBezTo>
                <a:cubicBezTo>
                  <a:pt x="26" y="87"/>
                  <a:pt x="26" y="87"/>
                  <a:pt x="26" y="87"/>
                </a:cubicBezTo>
                <a:cubicBezTo>
                  <a:pt x="27" y="86"/>
                  <a:pt x="27" y="86"/>
                  <a:pt x="27" y="86"/>
                </a:cubicBezTo>
                <a:cubicBezTo>
                  <a:pt x="28" y="85"/>
                  <a:pt x="28" y="85"/>
                  <a:pt x="28" y="85"/>
                </a:cubicBezTo>
                <a:cubicBezTo>
                  <a:pt x="29" y="85"/>
                  <a:pt x="29" y="85"/>
                  <a:pt x="29" y="85"/>
                </a:cubicBezTo>
                <a:cubicBezTo>
                  <a:pt x="30" y="84"/>
                  <a:pt x="30" y="84"/>
                  <a:pt x="30" y="84"/>
                </a:cubicBezTo>
                <a:cubicBezTo>
                  <a:pt x="31" y="84"/>
                  <a:pt x="31" y="84"/>
                  <a:pt x="31" y="84"/>
                </a:cubicBezTo>
                <a:cubicBezTo>
                  <a:pt x="29" y="85"/>
                  <a:pt x="29" y="85"/>
                  <a:pt x="29" y="85"/>
                </a:cubicBezTo>
                <a:cubicBezTo>
                  <a:pt x="28" y="87"/>
                  <a:pt x="28" y="87"/>
                  <a:pt x="28" y="87"/>
                </a:cubicBezTo>
                <a:cubicBezTo>
                  <a:pt x="28" y="89"/>
                  <a:pt x="28" y="89"/>
                  <a:pt x="28" y="89"/>
                </a:cubicBezTo>
                <a:cubicBezTo>
                  <a:pt x="27" y="89"/>
                  <a:pt x="27" y="89"/>
                  <a:pt x="27" y="89"/>
                </a:cubicBezTo>
                <a:cubicBezTo>
                  <a:pt x="26" y="89"/>
                  <a:pt x="26" y="89"/>
                  <a:pt x="26" y="89"/>
                </a:cubicBezTo>
                <a:cubicBezTo>
                  <a:pt x="25" y="88"/>
                  <a:pt x="25" y="88"/>
                  <a:pt x="25" y="88"/>
                </a:cubicBezTo>
                <a:cubicBezTo>
                  <a:pt x="22" y="88"/>
                  <a:pt x="22" y="88"/>
                  <a:pt x="22" y="88"/>
                </a:cubicBezTo>
                <a:cubicBezTo>
                  <a:pt x="20" y="89"/>
                  <a:pt x="20" y="89"/>
                  <a:pt x="20" y="89"/>
                </a:cubicBezTo>
                <a:cubicBezTo>
                  <a:pt x="20" y="89"/>
                  <a:pt x="20" y="89"/>
                  <a:pt x="20" y="89"/>
                </a:cubicBezTo>
                <a:cubicBezTo>
                  <a:pt x="20" y="90"/>
                  <a:pt x="20" y="90"/>
                  <a:pt x="20" y="90"/>
                </a:cubicBezTo>
                <a:cubicBezTo>
                  <a:pt x="19" y="90"/>
                  <a:pt x="19" y="90"/>
                  <a:pt x="19" y="90"/>
                </a:cubicBezTo>
                <a:cubicBezTo>
                  <a:pt x="18" y="92"/>
                  <a:pt x="18" y="92"/>
                  <a:pt x="18" y="92"/>
                </a:cubicBezTo>
                <a:cubicBezTo>
                  <a:pt x="17" y="93"/>
                  <a:pt x="17" y="93"/>
                  <a:pt x="17" y="93"/>
                </a:cubicBezTo>
                <a:cubicBezTo>
                  <a:pt x="17" y="94"/>
                  <a:pt x="17" y="94"/>
                  <a:pt x="17" y="94"/>
                </a:cubicBezTo>
                <a:cubicBezTo>
                  <a:pt x="16" y="94"/>
                  <a:pt x="16" y="94"/>
                  <a:pt x="16" y="94"/>
                </a:cubicBezTo>
                <a:cubicBezTo>
                  <a:pt x="16" y="95"/>
                  <a:pt x="16" y="95"/>
                  <a:pt x="16" y="95"/>
                </a:cubicBezTo>
                <a:cubicBezTo>
                  <a:pt x="15" y="95"/>
                  <a:pt x="15" y="95"/>
                  <a:pt x="15" y="95"/>
                </a:cubicBezTo>
                <a:cubicBezTo>
                  <a:pt x="15" y="96"/>
                  <a:pt x="15" y="96"/>
                  <a:pt x="15" y="96"/>
                </a:cubicBezTo>
                <a:cubicBezTo>
                  <a:pt x="13" y="97"/>
                  <a:pt x="13" y="97"/>
                  <a:pt x="13" y="97"/>
                </a:cubicBezTo>
                <a:cubicBezTo>
                  <a:pt x="13" y="97"/>
                  <a:pt x="13" y="97"/>
                  <a:pt x="13" y="97"/>
                </a:cubicBezTo>
                <a:cubicBezTo>
                  <a:pt x="12" y="98"/>
                  <a:pt x="12" y="98"/>
                  <a:pt x="12" y="98"/>
                </a:cubicBezTo>
                <a:cubicBezTo>
                  <a:pt x="12" y="99"/>
                  <a:pt x="12" y="99"/>
                  <a:pt x="12" y="99"/>
                </a:cubicBezTo>
                <a:cubicBezTo>
                  <a:pt x="13" y="99"/>
                  <a:pt x="13" y="99"/>
                  <a:pt x="13" y="99"/>
                </a:cubicBezTo>
                <a:cubicBezTo>
                  <a:pt x="13" y="98"/>
                  <a:pt x="13" y="98"/>
                  <a:pt x="13" y="98"/>
                </a:cubicBezTo>
                <a:cubicBezTo>
                  <a:pt x="14" y="98"/>
                  <a:pt x="14" y="98"/>
                  <a:pt x="14" y="98"/>
                </a:cubicBezTo>
                <a:lnTo>
                  <a:pt x="15" y="9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7" name="Freeform 75">
            <a:extLst>
              <a:ext uri="{FF2B5EF4-FFF2-40B4-BE49-F238E27FC236}">
                <a16:creationId xmlns:a16="http://schemas.microsoft.com/office/drawing/2014/main" id="{3E1B5730-BCA9-FC8A-FC99-A7AEB9E18597}"/>
              </a:ext>
            </a:extLst>
          </p:cNvPr>
          <p:cNvSpPr>
            <a:spLocks noEditPoints="1"/>
          </p:cNvSpPr>
          <p:nvPr userDrawn="1"/>
        </p:nvSpPr>
        <p:spPr bwMode="auto">
          <a:xfrm>
            <a:off x="12889659" y="5869861"/>
            <a:ext cx="815923" cy="755650"/>
          </a:xfrm>
          <a:custGeom>
            <a:avLst/>
            <a:gdLst>
              <a:gd name="T0" fmla="*/ 204 w 257"/>
              <a:gd name="T1" fmla="*/ 116 h 238"/>
              <a:gd name="T2" fmla="*/ 188 w 257"/>
              <a:gd name="T3" fmla="*/ 125 h 238"/>
              <a:gd name="T4" fmla="*/ 191 w 257"/>
              <a:gd name="T5" fmla="*/ 110 h 238"/>
              <a:gd name="T6" fmla="*/ 207 w 257"/>
              <a:gd name="T7" fmla="*/ 91 h 238"/>
              <a:gd name="T8" fmla="*/ 213 w 257"/>
              <a:gd name="T9" fmla="*/ 88 h 238"/>
              <a:gd name="T10" fmla="*/ 216 w 257"/>
              <a:gd name="T11" fmla="*/ 69 h 238"/>
              <a:gd name="T12" fmla="*/ 222 w 257"/>
              <a:gd name="T13" fmla="*/ 50 h 238"/>
              <a:gd name="T14" fmla="*/ 204 w 257"/>
              <a:gd name="T15" fmla="*/ 47 h 238"/>
              <a:gd name="T16" fmla="*/ 191 w 257"/>
              <a:gd name="T17" fmla="*/ 41 h 238"/>
              <a:gd name="T18" fmla="*/ 175 w 257"/>
              <a:gd name="T19" fmla="*/ 35 h 238"/>
              <a:gd name="T20" fmla="*/ 160 w 257"/>
              <a:gd name="T21" fmla="*/ 28 h 238"/>
              <a:gd name="T22" fmla="*/ 147 w 257"/>
              <a:gd name="T23" fmla="*/ 19 h 238"/>
              <a:gd name="T24" fmla="*/ 135 w 257"/>
              <a:gd name="T25" fmla="*/ 0 h 238"/>
              <a:gd name="T26" fmla="*/ 119 w 257"/>
              <a:gd name="T27" fmla="*/ 6 h 238"/>
              <a:gd name="T28" fmla="*/ 110 w 257"/>
              <a:gd name="T29" fmla="*/ 28 h 238"/>
              <a:gd name="T30" fmla="*/ 88 w 257"/>
              <a:gd name="T31" fmla="*/ 38 h 238"/>
              <a:gd name="T32" fmla="*/ 75 w 257"/>
              <a:gd name="T33" fmla="*/ 44 h 238"/>
              <a:gd name="T34" fmla="*/ 66 w 257"/>
              <a:gd name="T35" fmla="*/ 35 h 238"/>
              <a:gd name="T36" fmla="*/ 54 w 257"/>
              <a:gd name="T37" fmla="*/ 38 h 238"/>
              <a:gd name="T38" fmla="*/ 60 w 257"/>
              <a:gd name="T39" fmla="*/ 56 h 238"/>
              <a:gd name="T40" fmla="*/ 50 w 257"/>
              <a:gd name="T41" fmla="*/ 60 h 238"/>
              <a:gd name="T42" fmla="*/ 32 w 257"/>
              <a:gd name="T43" fmla="*/ 56 h 238"/>
              <a:gd name="T44" fmla="*/ 16 w 257"/>
              <a:gd name="T45" fmla="*/ 60 h 238"/>
              <a:gd name="T46" fmla="*/ 4 w 257"/>
              <a:gd name="T47" fmla="*/ 69 h 238"/>
              <a:gd name="T48" fmla="*/ 7 w 257"/>
              <a:gd name="T49" fmla="*/ 69 h 238"/>
              <a:gd name="T50" fmla="*/ 10 w 257"/>
              <a:gd name="T51" fmla="*/ 75 h 238"/>
              <a:gd name="T52" fmla="*/ 10 w 257"/>
              <a:gd name="T53" fmla="*/ 85 h 238"/>
              <a:gd name="T54" fmla="*/ 25 w 257"/>
              <a:gd name="T55" fmla="*/ 85 h 238"/>
              <a:gd name="T56" fmla="*/ 38 w 257"/>
              <a:gd name="T57" fmla="*/ 88 h 238"/>
              <a:gd name="T58" fmla="*/ 44 w 257"/>
              <a:gd name="T59" fmla="*/ 97 h 238"/>
              <a:gd name="T60" fmla="*/ 54 w 257"/>
              <a:gd name="T61" fmla="*/ 97 h 238"/>
              <a:gd name="T62" fmla="*/ 47 w 257"/>
              <a:gd name="T63" fmla="*/ 107 h 238"/>
              <a:gd name="T64" fmla="*/ 66 w 257"/>
              <a:gd name="T65" fmla="*/ 119 h 238"/>
              <a:gd name="T66" fmla="*/ 66 w 257"/>
              <a:gd name="T67" fmla="*/ 135 h 238"/>
              <a:gd name="T68" fmla="*/ 72 w 257"/>
              <a:gd name="T69" fmla="*/ 141 h 238"/>
              <a:gd name="T70" fmla="*/ 69 w 257"/>
              <a:gd name="T71" fmla="*/ 160 h 238"/>
              <a:gd name="T72" fmla="*/ 60 w 257"/>
              <a:gd name="T73" fmla="*/ 191 h 238"/>
              <a:gd name="T74" fmla="*/ 69 w 257"/>
              <a:gd name="T75" fmla="*/ 197 h 238"/>
              <a:gd name="T76" fmla="*/ 94 w 257"/>
              <a:gd name="T77" fmla="*/ 207 h 238"/>
              <a:gd name="T78" fmla="*/ 116 w 257"/>
              <a:gd name="T79" fmla="*/ 207 h 238"/>
              <a:gd name="T80" fmla="*/ 141 w 257"/>
              <a:gd name="T81" fmla="*/ 213 h 238"/>
              <a:gd name="T82" fmla="*/ 154 w 257"/>
              <a:gd name="T83" fmla="*/ 185 h 238"/>
              <a:gd name="T84" fmla="*/ 169 w 257"/>
              <a:gd name="T85" fmla="*/ 191 h 238"/>
              <a:gd name="T86" fmla="*/ 201 w 257"/>
              <a:gd name="T87" fmla="*/ 197 h 238"/>
              <a:gd name="T88" fmla="*/ 219 w 257"/>
              <a:gd name="T89" fmla="*/ 178 h 238"/>
              <a:gd name="T90" fmla="*/ 207 w 257"/>
              <a:gd name="T91" fmla="*/ 153 h 238"/>
              <a:gd name="T92" fmla="*/ 207 w 257"/>
              <a:gd name="T93" fmla="*/ 135 h 238"/>
              <a:gd name="T94" fmla="*/ 251 w 257"/>
              <a:gd name="T95" fmla="*/ 238 h 238"/>
              <a:gd name="T96" fmla="*/ 244 w 257"/>
              <a:gd name="T97" fmla="*/ 229 h 238"/>
              <a:gd name="T98" fmla="*/ 241 w 257"/>
              <a:gd name="T99" fmla="*/ 222 h 238"/>
              <a:gd name="T100" fmla="*/ 241 w 257"/>
              <a:gd name="T101" fmla="*/ 216 h 238"/>
              <a:gd name="T102" fmla="*/ 251 w 257"/>
              <a:gd name="T103" fmla="*/ 207 h 238"/>
              <a:gd name="T104" fmla="*/ 254 w 257"/>
              <a:gd name="T105" fmla="*/ 197 h 238"/>
              <a:gd name="T106" fmla="*/ 257 w 257"/>
              <a:gd name="T107" fmla="*/ 22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7" h="238">
                <a:moveTo>
                  <a:pt x="210" y="128"/>
                </a:moveTo>
                <a:lnTo>
                  <a:pt x="207" y="125"/>
                </a:lnTo>
                <a:lnTo>
                  <a:pt x="207" y="125"/>
                </a:lnTo>
                <a:lnTo>
                  <a:pt x="204" y="119"/>
                </a:lnTo>
                <a:lnTo>
                  <a:pt x="204" y="116"/>
                </a:lnTo>
                <a:lnTo>
                  <a:pt x="197" y="116"/>
                </a:lnTo>
                <a:lnTo>
                  <a:pt x="194" y="119"/>
                </a:lnTo>
                <a:lnTo>
                  <a:pt x="194" y="122"/>
                </a:lnTo>
                <a:lnTo>
                  <a:pt x="191" y="125"/>
                </a:lnTo>
                <a:lnTo>
                  <a:pt x="188" y="125"/>
                </a:lnTo>
                <a:lnTo>
                  <a:pt x="185" y="122"/>
                </a:lnTo>
                <a:lnTo>
                  <a:pt x="188" y="119"/>
                </a:lnTo>
                <a:lnTo>
                  <a:pt x="191" y="119"/>
                </a:lnTo>
                <a:lnTo>
                  <a:pt x="191" y="116"/>
                </a:lnTo>
                <a:lnTo>
                  <a:pt x="191" y="110"/>
                </a:lnTo>
                <a:lnTo>
                  <a:pt x="197" y="103"/>
                </a:lnTo>
                <a:lnTo>
                  <a:pt x="201" y="100"/>
                </a:lnTo>
                <a:lnTo>
                  <a:pt x="204" y="97"/>
                </a:lnTo>
                <a:lnTo>
                  <a:pt x="207" y="94"/>
                </a:lnTo>
                <a:lnTo>
                  <a:pt x="207" y="91"/>
                </a:lnTo>
                <a:lnTo>
                  <a:pt x="204" y="88"/>
                </a:lnTo>
                <a:lnTo>
                  <a:pt x="204" y="85"/>
                </a:lnTo>
                <a:lnTo>
                  <a:pt x="210" y="85"/>
                </a:lnTo>
                <a:lnTo>
                  <a:pt x="210" y="88"/>
                </a:lnTo>
                <a:lnTo>
                  <a:pt x="213" y="88"/>
                </a:lnTo>
                <a:lnTo>
                  <a:pt x="219" y="88"/>
                </a:lnTo>
                <a:lnTo>
                  <a:pt x="219" y="81"/>
                </a:lnTo>
                <a:lnTo>
                  <a:pt x="216" y="81"/>
                </a:lnTo>
                <a:lnTo>
                  <a:pt x="216" y="75"/>
                </a:lnTo>
                <a:lnTo>
                  <a:pt x="216" y="69"/>
                </a:lnTo>
                <a:lnTo>
                  <a:pt x="219" y="66"/>
                </a:lnTo>
                <a:lnTo>
                  <a:pt x="219" y="63"/>
                </a:lnTo>
                <a:lnTo>
                  <a:pt x="222" y="56"/>
                </a:lnTo>
                <a:lnTo>
                  <a:pt x="226" y="53"/>
                </a:lnTo>
                <a:lnTo>
                  <a:pt x="222" y="50"/>
                </a:lnTo>
                <a:lnTo>
                  <a:pt x="219" y="50"/>
                </a:lnTo>
                <a:lnTo>
                  <a:pt x="213" y="47"/>
                </a:lnTo>
                <a:lnTo>
                  <a:pt x="210" y="47"/>
                </a:lnTo>
                <a:lnTo>
                  <a:pt x="207" y="47"/>
                </a:lnTo>
                <a:lnTo>
                  <a:pt x="204" y="47"/>
                </a:lnTo>
                <a:lnTo>
                  <a:pt x="201" y="50"/>
                </a:lnTo>
                <a:lnTo>
                  <a:pt x="197" y="47"/>
                </a:lnTo>
                <a:lnTo>
                  <a:pt x="197" y="44"/>
                </a:lnTo>
                <a:lnTo>
                  <a:pt x="194" y="41"/>
                </a:lnTo>
                <a:lnTo>
                  <a:pt x="191" y="41"/>
                </a:lnTo>
                <a:lnTo>
                  <a:pt x="185" y="41"/>
                </a:lnTo>
                <a:lnTo>
                  <a:pt x="185" y="38"/>
                </a:lnTo>
                <a:lnTo>
                  <a:pt x="182" y="38"/>
                </a:lnTo>
                <a:lnTo>
                  <a:pt x="179" y="38"/>
                </a:lnTo>
                <a:lnTo>
                  <a:pt x="175" y="35"/>
                </a:lnTo>
                <a:lnTo>
                  <a:pt x="172" y="35"/>
                </a:lnTo>
                <a:lnTo>
                  <a:pt x="166" y="28"/>
                </a:lnTo>
                <a:lnTo>
                  <a:pt x="163" y="28"/>
                </a:lnTo>
                <a:lnTo>
                  <a:pt x="163" y="28"/>
                </a:lnTo>
                <a:lnTo>
                  <a:pt x="160" y="28"/>
                </a:lnTo>
                <a:lnTo>
                  <a:pt x="157" y="28"/>
                </a:lnTo>
                <a:lnTo>
                  <a:pt x="154" y="25"/>
                </a:lnTo>
                <a:lnTo>
                  <a:pt x="154" y="22"/>
                </a:lnTo>
                <a:lnTo>
                  <a:pt x="150" y="19"/>
                </a:lnTo>
                <a:lnTo>
                  <a:pt x="147" y="19"/>
                </a:lnTo>
                <a:lnTo>
                  <a:pt x="147" y="19"/>
                </a:lnTo>
                <a:lnTo>
                  <a:pt x="141" y="13"/>
                </a:lnTo>
                <a:lnTo>
                  <a:pt x="141" y="10"/>
                </a:lnTo>
                <a:lnTo>
                  <a:pt x="135" y="10"/>
                </a:lnTo>
                <a:lnTo>
                  <a:pt x="135" y="0"/>
                </a:lnTo>
                <a:lnTo>
                  <a:pt x="132" y="0"/>
                </a:lnTo>
                <a:lnTo>
                  <a:pt x="132" y="0"/>
                </a:lnTo>
                <a:lnTo>
                  <a:pt x="125" y="3"/>
                </a:lnTo>
                <a:lnTo>
                  <a:pt x="122" y="3"/>
                </a:lnTo>
                <a:lnTo>
                  <a:pt x="119" y="6"/>
                </a:lnTo>
                <a:lnTo>
                  <a:pt x="116" y="10"/>
                </a:lnTo>
                <a:lnTo>
                  <a:pt x="116" y="13"/>
                </a:lnTo>
                <a:lnTo>
                  <a:pt x="116" y="22"/>
                </a:lnTo>
                <a:lnTo>
                  <a:pt x="110" y="25"/>
                </a:lnTo>
                <a:lnTo>
                  <a:pt x="110" y="28"/>
                </a:lnTo>
                <a:lnTo>
                  <a:pt x="104" y="31"/>
                </a:lnTo>
                <a:lnTo>
                  <a:pt x="100" y="31"/>
                </a:lnTo>
                <a:lnTo>
                  <a:pt x="97" y="28"/>
                </a:lnTo>
                <a:lnTo>
                  <a:pt x="91" y="35"/>
                </a:lnTo>
                <a:lnTo>
                  <a:pt x="88" y="38"/>
                </a:lnTo>
                <a:lnTo>
                  <a:pt x="88" y="38"/>
                </a:lnTo>
                <a:lnTo>
                  <a:pt x="94" y="41"/>
                </a:lnTo>
                <a:lnTo>
                  <a:pt x="88" y="44"/>
                </a:lnTo>
                <a:lnTo>
                  <a:pt x="82" y="44"/>
                </a:lnTo>
                <a:lnTo>
                  <a:pt x="75" y="44"/>
                </a:lnTo>
                <a:lnTo>
                  <a:pt x="72" y="41"/>
                </a:lnTo>
                <a:lnTo>
                  <a:pt x="69" y="44"/>
                </a:lnTo>
                <a:lnTo>
                  <a:pt x="66" y="41"/>
                </a:lnTo>
                <a:lnTo>
                  <a:pt x="66" y="38"/>
                </a:lnTo>
                <a:lnTo>
                  <a:pt x="66" y="35"/>
                </a:lnTo>
                <a:lnTo>
                  <a:pt x="63" y="35"/>
                </a:lnTo>
                <a:lnTo>
                  <a:pt x="60" y="35"/>
                </a:lnTo>
                <a:lnTo>
                  <a:pt x="57" y="35"/>
                </a:lnTo>
                <a:lnTo>
                  <a:pt x="54" y="35"/>
                </a:lnTo>
                <a:lnTo>
                  <a:pt x="54" y="38"/>
                </a:lnTo>
                <a:lnTo>
                  <a:pt x="54" y="41"/>
                </a:lnTo>
                <a:lnTo>
                  <a:pt x="60" y="47"/>
                </a:lnTo>
                <a:lnTo>
                  <a:pt x="60" y="50"/>
                </a:lnTo>
                <a:lnTo>
                  <a:pt x="60" y="53"/>
                </a:lnTo>
                <a:lnTo>
                  <a:pt x="60" y="56"/>
                </a:lnTo>
                <a:lnTo>
                  <a:pt x="60" y="56"/>
                </a:lnTo>
                <a:lnTo>
                  <a:pt x="63" y="60"/>
                </a:lnTo>
                <a:lnTo>
                  <a:pt x="54" y="60"/>
                </a:lnTo>
                <a:lnTo>
                  <a:pt x="50" y="63"/>
                </a:lnTo>
                <a:lnTo>
                  <a:pt x="50" y="60"/>
                </a:lnTo>
                <a:lnTo>
                  <a:pt x="44" y="63"/>
                </a:lnTo>
                <a:lnTo>
                  <a:pt x="44" y="60"/>
                </a:lnTo>
                <a:lnTo>
                  <a:pt x="41" y="63"/>
                </a:lnTo>
                <a:lnTo>
                  <a:pt x="35" y="56"/>
                </a:lnTo>
                <a:lnTo>
                  <a:pt x="32" y="56"/>
                </a:lnTo>
                <a:lnTo>
                  <a:pt x="25" y="56"/>
                </a:lnTo>
                <a:lnTo>
                  <a:pt x="22" y="60"/>
                </a:lnTo>
                <a:lnTo>
                  <a:pt x="22" y="60"/>
                </a:lnTo>
                <a:lnTo>
                  <a:pt x="19" y="60"/>
                </a:lnTo>
                <a:lnTo>
                  <a:pt x="16" y="60"/>
                </a:lnTo>
                <a:lnTo>
                  <a:pt x="13" y="60"/>
                </a:lnTo>
                <a:lnTo>
                  <a:pt x="10" y="63"/>
                </a:lnTo>
                <a:lnTo>
                  <a:pt x="4" y="63"/>
                </a:lnTo>
                <a:lnTo>
                  <a:pt x="0" y="66"/>
                </a:lnTo>
                <a:lnTo>
                  <a:pt x="4" y="69"/>
                </a:lnTo>
                <a:lnTo>
                  <a:pt x="7" y="66"/>
                </a:lnTo>
                <a:lnTo>
                  <a:pt x="10" y="69"/>
                </a:lnTo>
                <a:lnTo>
                  <a:pt x="10" y="69"/>
                </a:lnTo>
                <a:lnTo>
                  <a:pt x="7" y="69"/>
                </a:lnTo>
                <a:lnTo>
                  <a:pt x="7" y="69"/>
                </a:lnTo>
                <a:lnTo>
                  <a:pt x="7" y="72"/>
                </a:lnTo>
                <a:lnTo>
                  <a:pt x="7" y="69"/>
                </a:lnTo>
                <a:lnTo>
                  <a:pt x="10" y="72"/>
                </a:lnTo>
                <a:lnTo>
                  <a:pt x="10" y="72"/>
                </a:lnTo>
                <a:lnTo>
                  <a:pt x="10" y="75"/>
                </a:lnTo>
                <a:lnTo>
                  <a:pt x="4" y="75"/>
                </a:lnTo>
                <a:lnTo>
                  <a:pt x="4" y="75"/>
                </a:lnTo>
                <a:lnTo>
                  <a:pt x="10" y="75"/>
                </a:lnTo>
                <a:lnTo>
                  <a:pt x="10" y="81"/>
                </a:lnTo>
                <a:lnTo>
                  <a:pt x="10" y="85"/>
                </a:lnTo>
                <a:lnTo>
                  <a:pt x="13" y="81"/>
                </a:lnTo>
                <a:lnTo>
                  <a:pt x="16" y="81"/>
                </a:lnTo>
                <a:lnTo>
                  <a:pt x="19" y="81"/>
                </a:lnTo>
                <a:lnTo>
                  <a:pt x="25" y="85"/>
                </a:lnTo>
                <a:lnTo>
                  <a:pt x="25" y="85"/>
                </a:lnTo>
                <a:lnTo>
                  <a:pt x="29" y="85"/>
                </a:lnTo>
                <a:lnTo>
                  <a:pt x="32" y="88"/>
                </a:lnTo>
                <a:lnTo>
                  <a:pt x="35" y="85"/>
                </a:lnTo>
                <a:lnTo>
                  <a:pt x="38" y="85"/>
                </a:lnTo>
                <a:lnTo>
                  <a:pt x="38" y="88"/>
                </a:lnTo>
                <a:lnTo>
                  <a:pt x="38" y="91"/>
                </a:lnTo>
                <a:lnTo>
                  <a:pt x="41" y="88"/>
                </a:lnTo>
                <a:lnTo>
                  <a:pt x="44" y="91"/>
                </a:lnTo>
                <a:lnTo>
                  <a:pt x="41" y="94"/>
                </a:lnTo>
                <a:lnTo>
                  <a:pt x="44" y="97"/>
                </a:lnTo>
                <a:lnTo>
                  <a:pt x="47" y="97"/>
                </a:lnTo>
                <a:lnTo>
                  <a:pt x="50" y="94"/>
                </a:lnTo>
                <a:lnTo>
                  <a:pt x="54" y="94"/>
                </a:lnTo>
                <a:lnTo>
                  <a:pt x="57" y="97"/>
                </a:lnTo>
                <a:lnTo>
                  <a:pt x="54" y="97"/>
                </a:lnTo>
                <a:lnTo>
                  <a:pt x="50" y="97"/>
                </a:lnTo>
                <a:lnTo>
                  <a:pt x="47" y="100"/>
                </a:lnTo>
                <a:lnTo>
                  <a:pt x="50" y="100"/>
                </a:lnTo>
                <a:lnTo>
                  <a:pt x="50" y="103"/>
                </a:lnTo>
                <a:lnTo>
                  <a:pt x="47" y="107"/>
                </a:lnTo>
                <a:lnTo>
                  <a:pt x="50" y="110"/>
                </a:lnTo>
                <a:lnTo>
                  <a:pt x="54" y="110"/>
                </a:lnTo>
                <a:lnTo>
                  <a:pt x="57" y="116"/>
                </a:lnTo>
                <a:lnTo>
                  <a:pt x="63" y="116"/>
                </a:lnTo>
                <a:lnTo>
                  <a:pt x="66" y="119"/>
                </a:lnTo>
                <a:lnTo>
                  <a:pt x="66" y="122"/>
                </a:lnTo>
                <a:lnTo>
                  <a:pt x="69" y="125"/>
                </a:lnTo>
                <a:lnTo>
                  <a:pt x="66" y="132"/>
                </a:lnTo>
                <a:lnTo>
                  <a:pt x="66" y="132"/>
                </a:lnTo>
                <a:lnTo>
                  <a:pt x="66" y="135"/>
                </a:lnTo>
                <a:lnTo>
                  <a:pt x="69" y="135"/>
                </a:lnTo>
                <a:lnTo>
                  <a:pt x="75" y="138"/>
                </a:lnTo>
                <a:lnTo>
                  <a:pt x="79" y="150"/>
                </a:lnTo>
                <a:lnTo>
                  <a:pt x="75" y="144"/>
                </a:lnTo>
                <a:lnTo>
                  <a:pt x="72" y="141"/>
                </a:lnTo>
                <a:lnTo>
                  <a:pt x="69" y="138"/>
                </a:lnTo>
                <a:lnTo>
                  <a:pt x="66" y="141"/>
                </a:lnTo>
                <a:lnTo>
                  <a:pt x="66" y="150"/>
                </a:lnTo>
                <a:lnTo>
                  <a:pt x="66" y="157"/>
                </a:lnTo>
                <a:lnTo>
                  <a:pt x="69" y="160"/>
                </a:lnTo>
                <a:lnTo>
                  <a:pt x="66" y="160"/>
                </a:lnTo>
                <a:lnTo>
                  <a:pt x="63" y="175"/>
                </a:lnTo>
                <a:lnTo>
                  <a:pt x="60" y="185"/>
                </a:lnTo>
                <a:lnTo>
                  <a:pt x="57" y="188"/>
                </a:lnTo>
                <a:lnTo>
                  <a:pt x="60" y="191"/>
                </a:lnTo>
                <a:lnTo>
                  <a:pt x="60" y="191"/>
                </a:lnTo>
                <a:lnTo>
                  <a:pt x="63" y="191"/>
                </a:lnTo>
                <a:lnTo>
                  <a:pt x="63" y="197"/>
                </a:lnTo>
                <a:lnTo>
                  <a:pt x="63" y="200"/>
                </a:lnTo>
                <a:lnTo>
                  <a:pt x="69" y="197"/>
                </a:lnTo>
                <a:lnTo>
                  <a:pt x="75" y="200"/>
                </a:lnTo>
                <a:lnTo>
                  <a:pt x="79" y="207"/>
                </a:lnTo>
                <a:lnTo>
                  <a:pt x="85" y="204"/>
                </a:lnTo>
                <a:lnTo>
                  <a:pt x="88" y="210"/>
                </a:lnTo>
                <a:lnTo>
                  <a:pt x="94" y="207"/>
                </a:lnTo>
                <a:lnTo>
                  <a:pt x="97" y="210"/>
                </a:lnTo>
                <a:lnTo>
                  <a:pt x="100" y="207"/>
                </a:lnTo>
                <a:lnTo>
                  <a:pt x="110" y="207"/>
                </a:lnTo>
                <a:lnTo>
                  <a:pt x="113" y="207"/>
                </a:lnTo>
                <a:lnTo>
                  <a:pt x="116" y="207"/>
                </a:lnTo>
                <a:lnTo>
                  <a:pt x="122" y="210"/>
                </a:lnTo>
                <a:lnTo>
                  <a:pt x="132" y="210"/>
                </a:lnTo>
                <a:lnTo>
                  <a:pt x="138" y="213"/>
                </a:lnTo>
                <a:lnTo>
                  <a:pt x="141" y="213"/>
                </a:lnTo>
                <a:lnTo>
                  <a:pt x="141" y="213"/>
                </a:lnTo>
                <a:lnTo>
                  <a:pt x="141" y="207"/>
                </a:lnTo>
                <a:lnTo>
                  <a:pt x="141" y="200"/>
                </a:lnTo>
                <a:lnTo>
                  <a:pt x="141" y="197"/>
                </a:lnTo>
                <a:lnTo>
                  <a:pt x="147" y="191"/>
                </a:lnTo>
                <a:lnTo>
                  <a:pt x="154" y="185"/>
                </a:lnTo>
                <a:lnTo>
                  <a:pt x="154" y="185"/>
                </a:lnTo>
                <a:lnTo>
                  <a:pt x="157" y="188"/>
                </a:lnTo>
                <a:lnTo>
                  <a:pt x="163" y="188"/>
                </a:lnTo>
                <a:lnTo>
                  <a:pt x="166" y="191"/>
                </a:lnTo>
                <a:lnTo>
                  <a:pt x="169" y="191"/>
                </a:lnTo>
                <a:lnTo>
                  <a:pt x="172" y="188"/>
                </a:lnTo>
                <a:lnTo>
                  <a:pt x="175" y="188"/>
                </a:lnTo>
                <a:lnTo>
                  <a:pt x="188" y="194"/>
                </a:lnTo>
                <a:lnTo>
                  <a:pt x="191" y="197"/>
                </a:lnTo>
                <a:lnTo>
                  <a:pt x="201" y="197"/>
                </a:lnTo>
                <a:lnTo>
                  <a:pt x="204" y="194"/>
                </a:lnTo>
                <a:lnTo>
                  <a:pt x="204" y="194"/>
                </a:lnTo>
                <a:lnTo>
                  <a:pt x="207" y="188"/>
                </a:lnTo>
                <a:lnTo>
                  <a:pt x="219" y="178"/>
                </a:lnTo>
                <a:lnTo>
                  <a:pt x="219" y="178"/>
                </a:lnTo>
                <a:lnTo>
                  <a:pt x="216" y="175"/>
                </a:lnTo>
                <a:lnTo>
                  <a:pt x="219" y="169"/>
                </a:lnTo>
                <a:lnTo>
                  <a:pt x="213" y="169"/>
                </a:lnTo>
                <a:lnTo>
                  <a:pt x="207" y="166"/>
                </a:lnTo>
                <a:lnTo>
                  <a:pt x="207" y="153"/>
                </a:lnTo>
                <a:lnTo>
                  <a:pt x="204" y="150"/>
                </a:lnTo>
                <a:lnTo>
                  <a:pt x="204" y="147"/>
                </a:lnTo>
                <a:lnTo>
                  <a:pt x="210" y="147"/>
                </a:lnTo>
                <a:lnTo>
                  <a:pt x="210" y="141"/>
                </a:lnTo>
                <a:lnTo>
                  <a:pt x="207" y="135"/>
                </a:lnTo>
                <a:lnTo>
                  <a:pt x="207" y="132"/>
                </a:lnTo>
                <a:lnTo>
                  <a:pt x="207" y="128"/>
                </a:lnTo>
                <a:lnTo>
                  <a:pt x="210" y="128"/>
                </a:lnTo>
                <a:lnTo>
                  <a:pt x="210" y="128"/>
                </a:lnTo>
                <a:close/>
                <a:moveTo>
                  <a:pt x="251" y="238"/>
                </a:moveTo>
                <a:lnTo>
                  <a:pt x="244" y="235"/>
                </a:lnTo>
                <a:lnTo>
                  <a:pt x="241" y="232"/>
                </a:lnTo>
                <a:lnTo>
                  <a:pt x="244" y="232"/>
                </a:lnTo>
                <a:lnTo>
                  <a:pt x="244" y="232"/>
                </a:lnTo>
                <a:lnTo>
                  <a:pt x="244" y="229"/>
                </a:lnTo>
                <a:lnTo>
                  <a:pt x="244" y="229"/>
                </a:lnTo>
                <a:lnTo>
                  <a:pt x="244" y="225"/>
                </a:lnTo>
                <a:lnTo>
                  <a:pt x="241" y="225"/>
                </a:lnTo>
                <a:lnTo>
                  <a:pt x="238" y="222"/>
                </a:lnTo>
                <a:lnTo>
                  <a:pt x="241" y="222"/>
                </a:lnTo>
                <a:lnTo>
                  <a:pt x="241" y="222"/>
                </a:lnTo>
                <a:lnTo>
                  <a:pt x="238" y="219"/>
                </a:lnTo>
                <a:lnTo>
                  <a:pt x="238" y="216"/>
                </a:lnTo>
                <a:lnTo>
                  <a:pt x="238" y="216"/>
                </a:lnTo>
                <a:lnTo>
                  <a:pt x="241" y="216"/>
                </a:lnTo>
                <a:lnTo>
                  <a:pt x="238" y="213"/>
                </a:lnTo>
                <a:lnTo>
                  <a:pt x="241" y="207"/>
                </a:lnTo>
                <a:lnTo>
                  <a:pt x="247" y="207"/>
                </a:lnTo>
                <a:lnTo>
                  <a:pt x="247" y="204"/>
                </a:lnTo>
                <a:lnTo>
                  <a:pt x="251" y="207"/>
                </a:lnTo>
                <a:lnTo>
                  <a:pt x="254" y="207"/>
                </a:lnTo>
                <a:lnTo>
                  <a:pt x="254" y="204"/>
                </a:lnTo>
                <a:lnTo>
                  <a:pt x="254" y="200"/>
                </a:lnTo>
                <a:lnTo>
                  <a:pt x="254" y="197"/>
                </a:lnTo>
                <a:lnTo>
                  <a:pt x="254" y="197"/>
                </a:lnTo>
                <a:lnTo>
                  <a:pt x="257" y="204"/>
                </a:lnTo>
                <a:lnTo>
                  <a:pt x="257" y="207"/>
                </a:lnTo>
                <a:lnTo>
                  <a:pt x="257" y="216"/>
                </a:lnTo>
                <a:lnTo>
                  <a:pt x="254" y="225"/>
                </a:lnTo>
                <a:lnTo>
                  <a:pt x="257" y="229"/>
                </a:lnTo>
                <a:lnTo>
                  <a:pt x="254" y="235"/>
                </a:lnTo>
                <a:lnTo>
                  <a:pt x="251" y="238"/>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8" name="Freeform 76">
            <a:extLst>
              <a:ext uri="{FF2B5EF4-FFF2-40B4-BE49-F238E27FC236}">
                <a16:creationId xmlns:a16="http://schemas.microsoft.com/office/drawing/2014/main" id="{F08762F7-E9B7-93CF-639B-C3CE9FA8BB2D}"/>
              </a:ext>
            </a:extLst>
          </p:cNvPr>
          <p:cNvSpPr>
            <a:spLocks/>
          </p:cNvSpPr>
          <p:nvPr userDrawn="1"/>
        </p:nvSpPr>
        <p:spPr bwMode="auto">
          <a:xfrm>
            <a:off x="14013537" y="7031907"/>
            <a:ext cx="19049" cy="19050"/>
          </a:xfrm>
          <a:custGeom>
            <a:avLst/>
            <a:gdLst>
              <a:gd name="T0" fmla="*/ 0 w 6"/>
              <a:gd name="T1" fmla="*/ 0 h 6"/>
              <a:gd name="T2" fmla="*/ 0 w 6"/>
              <a:gd name="T3" fmla="*/ 3 h 6"/>
              <a:gd name="T4" fmla="*/ 3 w 6"/>
              <a:gd name="T5" fmla="*/ 6 h 6"/>
              <a:gd name="T6" fmla="*/ 6 w 6"/>
              <a:gd name="T7" fmla="*/ 3 h 6"/>
              <a:gd name="T8" fmla="*/ 6 w 6"/>
              <a:gd name="T9" fmla="*/ 0 h 6"/>
              <a:gd name="T10" fmla="*/ 0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0" y="0"/>
                </a:moveTo>
                <a:lnTo>
                  <a:pt x="0" y="3"/>
                </a:lnTo>
                <a:lnTo>
                  <a:pt x="3" y="6"/>
                </a:lnTo>
                <a:lnTo>
                  <a:pt x="6" y="3"/>
                </a:lnTo>
                <a:lnTo>
                  <a:pt x="6" y="0"/>
                </a:lnTo>
                <a:lnTo>
                  <a:pt x="0" y="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9" name="Freeform 77">
            <a:extLst>
              <a:ext uri="{FF2B5EF4-FFF2-40B4-BE49-F238E27FC236}">
                <a16:creationId xmlns:a16="http://schemas.microsoft.com/office/drawing/2014/main" id="{F33C48FF-74FE-7EC6-0B97-DCB2E5F08E2B}"/>
              </a:ext>
            </a:extLst>
          </p:cNvPr>
          <p:cNvSpPr>
            <a:spLocks noEditPoints="1"/>
          </p:cNvSpPr>
          <p:nvPr userDrawn="1"/>
        </p:nvSpPr>
        <p:spPr bwMode="auto">
          <a:xfrm>
            <a:off x="13537320" y="6187359"/>
            <a:ext cx="704804" cy="796926"/>
          </a:xfrm>
          <a:custGeom>
            <a:avLst/>
            <a:gdLst>
              <a:gd name="T0" fmla="*/ 3 w 222"/>
              <a:gd name="T1" fmla="*/ 66 h 251"/>
              <a:gd name="T2" fmla="*/ 6 w 222"/>
              <a:gd name="T3" fmla="*/ 41 h 251"/>
              <a:gd name="T4" fmla="*/ 15 w 222"/>
              <a:gd name="T5" fmla="*/ 25 h 251"/>
              <a:gd name="T6" fmla="*/ 40 w 222"/>
              <a:gd name="T7" fmla="*/ 25 h 251"/>
              <a:gd name="T8" fmla="*/ 56 w 222"/>
              <a:gd name="T9" fmla="*/ 19 h 251"/>
              <a:gd name="T10" fmla="*/ 72 w 222"/>
              <a:gd name="T11" fmla="*/ 3 h 251"/>
              <a:gd name="T12" fmla="*/ 97 w 222"/>
              <a:gd name="T13" fmla="*/ 3 h 251"/>
              <a:gd name="T14" fmla="*/ 125 w 222"/>
              <a:gd name="T15" fmla="*/ 19 h 251"/>
              <a:gd name="T16" fmla="*/ 115 w 222"/>
              <a:gd name="T17" fmla="*/ 35 h 251"/>
              <a:gd name="T18" fmla="*/ 100 w 222"/>
              <a:gd name="T19" fmla="*/ 44 h 251"/>
              <a:gd name="T20" fmla="*/ 103 w 222"/>
              <a:gd name="T21" fmla="*/ 63 h 251"/>
              <a:gd name="T22" fmla="*/ 122 w 222"/>
              <a:gd name="T23" fmla="*/ 82 h 251"/>
              <a:gd name="T24" fmla="*/ 137 w 222"/>
              <a:gd name="T25" fmla="*/ 107 h 251"/>
              <a:gd name="T26" fmla="*/ 156 w 222"/>
              <a:gd name="T27" fmla="*/ 122 h 251"/>
              <a:gd name="T28" fmla="*/ 178 w 222"/>
              <a:gd name="T29" fmla="*/ 125 h 251"/>
              <a:gd name="T30" fmla="*/ 178 w 222"/>
              <a:gd name="T31" fmla="*/ 138 h 251"/>
              <a:gd name="T32" fmla="*/ 218 w 222"/>
              <a:gd name="T33" fmla="*/ 157 h 251"/>
              <a:gd name="T34" fmla="*/ 222 w 222"/>
              <a:gd name="T35" fmla="*/ 172 h 251"/>
              <a:gd name="T36" fmla="*/ 212 w 222"/>
              <a:gd name="T37" fmla="*/ 166 h 251"/>
              <a:gd name="T38" fmla="*/ 197 w 222"/>
              <a:gd name="T39" fmla="*/ 160 h 251"/>
              <a:gd name="T40" fmla="*/ 190 w 222"/>
              <a:gd name="T41" fmla="*/ 169 h 251"/>
              <a:gd name="T42" fmla="*/ 190 w 222"/>
              <a:gd name="T43" fmla="*/ 179 h 251"/>
              <a:gd name="T44" fmla="*/ 197 w 222"/>
              <a:gd name="T45" fmla="*/ 197 h 251"/>
              <a:gd name="T46" fmla="*/ 184 w 222"/>
              <a:gd name="T47" fmla="*/ 219 h 251"/>
              <a:gd name="T48" fmla="*/ 172 w 222"/>
              <a:gd name="T49" fmla="*/ 213 h 251"/>
              <a:gd name="T50" fmla="*/ 178 w 222"/>
              <a:gd name="T51" fmla="*/ 200 h 251"/>
              <a:gd name="T52" fmla="*/ 178 w 222"/>
              <a:gd name="T53" fmla="*/ 185 h 251"/>
              <a:gd name="T54" fmla="*/ 168 w 222"/>
              <a:gd name="T55" fmla="*/ 169 h 251"/>
              <a:gd name="T56" fmla="*/ 156 w 222"/>
              <a:gd name="T57" fmla="*/ 163 h 251"/>
              <a:gd name="T58" fmla="*/ 147 w 222"/>
              <a:gd name="T59" fmla="*/ 150 h 251"/>
              <a:gd name="T60" fmla="*/ 131 w 222"/>
              <a:gd name="T61" fmla="*/ 141 h 251"/>
              <a:gd name="T62" fmla="*/ 118 w 222"/>
              <a:gd name="T63" fmla="*/ 138 h 251"/>
              <a:gd name="T64" fmla="*/ 93 w 222"/>
              <a:gd name="T65" fmla="*/ 116 h 251"/>
              <a:gd name="T66" fmla="*/ 75 w 222"/>
              <a:gd name="T67" fmla="*/ 100 h 251"/>
              <a:gd name="T68" fmla="*/ 65 w 222"/>
              <a:gd name="T69" fmla="*/ 82 h 251"/>
              <a:gd name="T70" fmla="*/ 50 w 222"/>
              <a:gd name="T71" fmla="*/ 69 h 251"/>
              <a:gd name="T72" fmla="*/ 15 w 222"/>
              <a:gd name="T73" fmla="*/ 78 h 251"/>
              <a:gd name="T74" fmla="*/ 34 w 222"/>
              <a:gd name="T75" fmla="*/ 141 h 251"/>
              <a:gd name="T76" fmla="*/ 28 w 222"/>
              <a:gd name="T77" fmla="*/ 144 h 251"/>
              <a:gd name="T78" fmla="*/ 78 w 222"/>
              <a:gd name="T79" fmla="*/ 113 h 251"/>
              <a:gd name="T80" fmla="*/ 72 w 222"/>
              <a:gd name="T81" fmla="*/ 104 h 251"/>
              <a:gd name="T82" fmla="*/ 62 w 222"/>
              <a:gd name="T83" fmla="*/ 104 h 251"/>
              <a:gd name="T84" fmla="*/ 47 w 222"/>
              <a:gd name="T85" fmla="*/ 194 h 251"/>
              <a:gd name="T86" fmla="*/ 56 w 222"/>
              <a:gd name="T87" fmla="*/ 191 h 251"/>
              <a:gd name="T88" fmla="*/ 53 w 222"/>
              <a:gd name="T89" fmla="*/ 160 h 251"/>
              <a:gd name="T90" fmla="*/ 53 w 222"/>
              <a:gd name="T91" fmla="*/ 144 h 251"/>
              <a:gd name="T92" fmla="*/ 34 w 222"/>
              <a:gd name="T93" fmla="*/ 150 h 251"/>
              <a:gd name="T94" fmla="*/ 31 w 222"/>
              <a:gd name="T95" fmla="*/ 160 h 251"/>
              <a:gd name="T96" fmla="*/ 37 w 222"/>
              <a:gd name="T97" fmla="*/ 172 h 251"/>
              <a:gd name="T98" fmla="*/ 37 w 222"/>
              <a:gd name="T99" fmla="*/ 194 h 251"/>
              <a:gd name="T100" fmla="*/ 165 w 222"/>
              <a:gd name="T101" fmla="*/ 244 h 251"/>
              <a:gd name="T102" fmla="*/ 168 w 222"/>
              <a:gd name="T103" fmla="*/ 216 h 251"/>
              <a:gd name="T104" fmla="*/ 150 w 222"/>
              <a:gd name="T105" fmla="*/ 219 h 251"/>
              <a:gd name="T106" fmla="*/ 122 w 222"/>
              <a:gd name="T107" fmla="*/ 216 h 251"/>
              <a:gd name="T108" fmla="*/ 115 w 222"/>
              <a:gd name="T109" fmla="*/ 229 h 251"/>
              <a:gd name="T110" fmla="*/ 143 w 222"/>
              <a:gd name="T111" fmla="*/ 241 h 251"/>
              <a:gd name="T112" fmla="*/ 162 w 222"/>
              <a:gd name="T113" fmla="*/ 251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2" h="251">
                <a:moveTo>
                  <a:pt x="15" y="78"/>
                </a:moveTo>
                <a:lnTo>
                  <a:pt x="12" y="75"/>
                </a:lnTo>
                <a:lnTo>
                  <a:pt x="15" y="69"/>
                </a:lnTo>
                <a:lnTo>
                  <a:pt x="9" y="69"/>
                </a:lnTo>
                <a:lnTo>
                  <a:pt x="3" y="66"/>
                </a:lnTo>
                <a:lnTo>
                  <a:pt x="3" y="53"/>
                </a:lnTo>
                <a:lnTo>
                  <a:pt x="0" y="50"/>
                </a:lnTo>
                <a:lnTo>
                  <a:pt x="0" y="47"/>
                </a:lnTo>
                <a:lnTo>
                  <a:pt x="6" y="47"/>
                </a:lnTo>
                <a:lnTo>
                  <a:pt x="6" y="41"/>
                </a:lnTo>
                <a:lnTo>
                  <a:pt x="3" y="35"/>
                </a:lnTo>
                <a:lnTo>
                  <a:pt x="3" y="32"/>
                </a:lnTo>
                <a:lnTo>
                  <a:pt x="3" y="28"/>
                </a:lnTo>
                <a:lnTo>
                  <a:pt x="9" y="32"/>
                </a:lnTo>
                <a:lnTo>
                  <a:pt x="15" y="25"/>
                </a:lnTo>
                <a:lnTo>
                  <a:pt x="22" y="28"/>
                </a:lnTo>
                <a:lnTo>
                  <a:pt x="28" y="16"/>
                </a:lnTo>
                <a:lnTo>
                  <a:pt x="34" y="19"/>
                </a:lnTo>
                <a:lnTo>
                  <a:pt x="34" y="22"/>
                </a:lnTo>
                <a:lnTo>
                  <a:pt x="40" y="25"/>
                </a:lnTo>
                <a:lnTo>
                  <a:pt x="40" y="28"/>
                </a:lnTo>
                <a:lnTo>
                  <a:pt x="43" y="22"/>
                </a:lnTo>
                <a:lnTo>
                  <a:pt x="43" y="16"/>
                </a:lnTo>
                <a:lnTo>
                  <a:pt x="53" y="19"/>
                </a:lnTo>
                <a:lnTo>
                  <a:pt x="56" y="19"/>
                </a:lnTo>
                <a:lnTo>
                  <a:pt x="59" y="22"/>
                </a:lnTo>
                <a:lnTo>
                  <a:pt x="62" y="16"/>
                </a:lnTo>
                <a:lnTo>
                  <a:pt x="68" y="13"/>
                </a:lnTo>
                <a:lnTo>
                  <a:pt x="65" y="7"/>
                </a:lnTo>
                <a:lnTo>
                  <a:pt x="72" y="3"/>
                </a:lnTo>
                <a:lnTo>
                  <a:pt x="78" y="3"/>
                </a:lnTo>
                <a:lnTo>
                  <a:pt x="87" y="0"/>
                </a:lnTo>
                <a:lnTo>
                  <a:pt x="90" y="0"/>
                </a:lnTo>
                <a:lnTo>
                  <a:pt x="100" y="0"/>
                </a:lnTo>
                <a:lnTo>
                  <a:pt x="97" y="3"/>
                </a:lnTo>
                <a:lnTo>
                  <a:pt x="106" y="10"/>
                </a:lnTo>
                <a:lnTo>
                  <a:pt x="118" y="13"/>
                </a:lnTo>
                <a:lnTo>
                  <a:pt x="125" y="10"/>
                </a:lnTo>
                <a:lnTo>
                  <a:pt x="128" y="13"/>
                </a:lnTo>
                <a:lnTo>
                  <a:pt x="125" y="19"/>
                </a:lnTo>
                <a:lnTo>
                  <a:pt x="125" y="22"/>
                </a:lnTo>
                <a:lnTo>
                  <a:pt x="122" y="28"/>
                </a:lnTo>
                <a:lnTo>
                  <a:pt x="125" y="35"/>
                </a:lnTo>
                <a:lnTo>
                  <a:pt x="118" y="32"/>
                </a:lnTo>
                <a:lnTo>
                  <a:pt x="115" y="35"/>
                </a:lnTo>
                <a:lnTo>
                  <a:pt x="115" y="38"/>
                </a:lnTo>
                <a:lnTo>
                  <a:pt x="109" y="38"/>
                </a:lnTo>
                <a:lnTo>
                  <a:pt x="106" y="41"/>
                </a:lnTo>
                <a:lnTo>
                  <a:pt x="103" y="41"/>
                </a:lnTo>
                <a:lnTo>
                  <a:pt x="100" y="44"/>
                </a:lnTo>
                <a:lnTo>
                  <a:pt x="103" y="47"/>
                </a:lnTo>
                <a:lnTo>
                  <a:pt x="106" y="50"/>
                </a:lnTo>
                <a:lnTo>
                  <a:pt x="103" y="57"/>
                </a:lnTo>
                <a:lnTo>
                  <a:pt x="100" y="57"/>
                </a:lnTo>
                <a:lnTo>
                  <a:pt x="103" y="63"/>
                </a:lnTo>
                <a:lnTo>
                  <a:pt x="103" y="69"/>
                </a:lnTo>
                <a:lnTo>
                  <a:pt x="106" y="72"/>
                </a:lnTo>
                <a:lnTo>
                  <a:pt x="112" y="75"/>
                </a:lnTo>
                <a:lnTo>
                  <a:pt x="118" y="78"/>
                </a:lnTo>
                <a:lnTo>
                  <a:pt x="122" y="82"/>
                </a:lnTo>
                <a:lnTo>
                  <a:pt x="134" y="94"/>
                </a:lnTo>
                <a:lnTo>
                  <a:pt x="134" y="97"/>
                </a:lnTo>
                <a:lnTo>
                  <a:pt x="134" y="97"/>
                </a:lnTo>
                <a:lnTo>
                  <a:pt x="134" y="104"/>
                </a:lnTo>
                <a:lnTo>
                  <a:pt x="137" y="107"/>
                </a:lnTo>
                <a:lnTo>
                  <a:pt x="140" y="110"/>
                </a:lnTo>
                <a:lnTo>
                  <a:pt x="143" y="116"/>
                </a:lnTo>
                <a:lnTo>
                  <a:pt x="150" y="119"/>
                </a:lnTo>
                <a:lnTo>
                  <a:pt x="153" y="122"/>
                </a:lnTo>
                <a:lnTo>
                  <a:pt x="156" y="122"/>
                </a:lnTo>
                <a:lnTo>
                  <a:pt x="159" y="125"/>
                </a:lnTo>
                <a:lnTo>
                  <a:pt x="165" y="125"/>
                </a:lnTo>
                <a:lnTo>
                  <a:pt x="168" y="125"/>
                </a:lnTo>
                <a:lnTo>
                  <a:pt x="175" y="125"/>
                </a:lnTo>
                <a:lnTo>
                  <a:pt x="178" y="125"/>
                </a:lnTo>
                <a:lnTo>
                  <a:pt x="178" y="129"/>
                </a:lnTo>
                <a:lnTo>
                  <a:pt x="172" y="132"/>
                </a:lnTo>
                <a:lnTo>
                  <a:pt x="172" y="135"/>
                </a:lnTo>
                <a:lnTo>
                  <a:pt x="175" y="138"/>
                </a:lnTo>
                <a:lnTo>
                  <a:pt x="178" y="138"/>
                </a:lnTo>
                <a:lnTo>
                  <a:pt x="184" y="138"/>
                </a:lnTo>
                <a:lnTo>
                  <a:pt x="200" y="147"/>
                </a:lnTo>
                <a:lnTo>
                  <a:pt x="206" y="150"/>
                </a:lnTo>
                <a:lnTo>
                  <a:pt x="212" y="157"/>
                </a:lnTo>
                <a:lnTo>
                  <a:pt x="218" y="157"/>
                </a:lnTo>
                <a:lnTo>
                  <a:pt x="222" y="160"/>
                </a:lnTo>
                <a:lnTo>
                  <a:pt x="222" y="163"/>
                </a:lnTo>
                <a:lnTo>
                  <a:pt x="222" y="166"/>
                </a:lnTo>
                <a:lnTo>
                  <a:pt x="218" y="169"/>
                </a:lnTo>
                <a:lnTo>
                  <a:pt x="222" y="172"/>
                </a:lnTo>
                <a:lnTo>
                  <a:pt x="218" y="172"/>
                </a:lnTo>
                <a:lnTo>
                  <a:pt x="218" y="175"/>
                </a:lnTo>
                <a:lnTo>
                  <a:pt x="215" y="172"/>
                </a:lnTo>
                <a:lnTo>
                  <a:pt x="212" y="169"/>
                </a:lnTo>
                <a:lnTo>
                  <a:pt x="212" y="166"/>
                </a:lnTo>
                <a:lnTo>
                  <a:pt x="212" y="163"/>
                </a:lnTo>
                <a:lnTo>
                  <a:pt x="209" y="163"/>
                </a:lnTo>
                <a:lnTo>
                  <a:pt x="203" y="163"/>
                </a:lnTo>
                <a:lnTo>
                  <a:pt x="203" y="160"/>
                </a:lnTo>
                <a:lnTo>
                  <a:pt x="197" y="160"/>
                </a:lnTo>
                <a:lnTo>
                  <a:pt x="197" y="160"/>
                </a:lnTo>
                <a:lnTo>
                  <a:pt x="193" y="160"/>
                </a:lnTo>
                <a:lnTo>
                  <a:pt x="193" y="166"/>
                </a:lnTo>
                <a:lnTo>
                  <a:pt x="190" y="166"/>
                </a:lnTo>
                <a:lnTo>
                  <a:pt x="190" y="169"/>
                </a:lnTo>
                <a:lnTo>
                  <a:pt x="190" y="172"/>
                </a:lnTo>
                <a:lnTo>
                  <a:pt x="187" y="175"/>
                </a:lnTo>
                <a:lnTo>
                  <a:pt x="187" y="179"/>
                </a:lnTo>
                <a:lnTo>
                  <a:pt x="187" y="179"/>
                </a:lnTo>
                <a:lnTo>
                  <a:pt x="190" y="179"/>
                </a:lnTo>
                <a:lnTo>
                  <a:pt x="197" y="185"/>
                </a:lnTo>
                <a:lnTo>
                  <a:pt x="197" y="188"/>
                </a:lnTo>
                <a:lnTo>
                  <a:pt x="197" y="191"/>
                </a:lnTo>
                <a:lnTo>
                  <a:pt x="200" y="194"/>
                </a:lnTo>
                <a:lnTo>
                  <a:pt x="197" y="197"/>
                </a:lnTo>
                <a:lnTo>
                  <a:pt x="193" y="197"/>
                </a:lnTo>
                <a:lnTo>
                  <a:pt x="190" y="200"/>
                </a:lnTo>
                <a:lnTo>
                  <a:pt x="190" y="210"/>
                </a:lnTo>
                <a:lnTo>
                  <a:pt x="184" y="213"/>
                </a:lnTo>
                <a:lnTo>
                  <a:pt x="184" y="219"/>
                </a:lnTo>
                <a:lnTo>
                  <a:pt x="181" y="222"/>
                </a:lnTo>
                <a:lnTo>
                  <a:pt x="175" y="222"/>
                </a:lnTo>
                <a:lnTo>
                  <a:pt x="172" y="219"/>
                </a:lnTo>
                <a:lnTo>
                  <a:pt x="172" y="216"/>
                </a:lnTo>
                <a:lnTo>
                  <a:pt x="172" y="213"/>
                </a:lnTo>
                <a:lnTo>
                  <a:pt x="175" y="213"/>
                </a:lnTo>
                <a:lnTo>
                  <a:pt x="178" y="210"/>
                </a:lnTo>
                <a:lnTo>
                  <a:pt x="178" y="207"/>
                </a:lnTo>
                <a:lnTo>
                  <a:pt x="178" y="204"/>
                </a:lnTo>
                <a:lnTo>
                  <a:pt x="178" y="200"/>
                </a:lnTo>
                <a:lnTo>
                  <a:pt x="178" y="200"/>
                </a:lnTo>
                <a:lnTo>
                  <a:pt x="181" y="200"/>
                </a:lnTo>
                <a:lnTo>
                  <a:pt x="181" y="194"/>
                </a:lnTo>
                <a:lnTo>
                  <a:pt x="178" y="191"/>
                </a:lnTo>
                <a:lnTo>
                  <a:pt x="178" y="185"/>
                </a:lnTo>
                <a:lnTo>
                  <a:pt x="175" y="182"/>
                </a:lnTo>
                <a:lnTo>
                  <a:pt x="175" y="175"/>
                </a:lnTo>
                <a:lnTo>
                  <a:pt x="172" y="169"/>
                </a:lnTo>
                <a:lnTo>
                  <a:pt x="168" y="169"/>
                </a:lnTo>
                <a:lnTo>
                  <a:pt x="168" y="169"/>
                </a:lnTo>
                <a:lnTo>
                  <a:pt x="162" y="169"/>
                </a:lnTo>
                <a:lnTo>
                  <a:pt x="162" y="166"/>
                </a:lnTo>
                <a:lnTo>
                  <a:pt x="156" y="166"/>
                </a:lnTo>
                <a:lnTo>
                  <a:pt x="156" y="163"/>
                </a:lnTo>
                <a:lnTo>
                  <a:pt x="156" y="163"/>
                </a:lnTo>
                <a:lnTo>
                  <a:pt x="156" y="157"/>
                </a:lnTo>
                <a:lnTo>
                  <a:pt x="153" y="154"/>
                </a:lnTo>
                <a:lnTo>
                  <a:pt x="150" y="154"/>
                </a:lnTo>
                <a:lnTo>
                  <a:pt x="147" y="154"/>
                </a:lnTo>
                <a:lnTo>
                  <a:pt x="147" y="150"/>
                </a:lnTo>
                <a:lnTo>
                  <a:pt x="143" y="150"/>
                </a:lnTo>
                <a:lnTo>
                  <a:pt x="140" y="150"/>
                </a:lnTo>
                <a:lnTo>
                  <a:pt x="140" y="150"/>
                </a:lnTo>
                <a:lnTo>
                  <a:pt x="134" y="141"/>
                </a:lnTo>
                <a:lnTo>
                  <a:pt x="131" y="141"/>
                </a:lnTo>
                <a:lnTo>
                  <a:pt x="128" y="141"/>
                </a:lnTo>
                <a:lnTo>
                  <a:pt x="125" y="144"/>
                </a:lnTo>
                <a:lnTo>
                  <a:pt x="122" y="144"/>
                </a:lnTo>
                <a:lnTo>
                  <a:pt x="122" y="138"/>
                </a:lnTo>
                <a:lnTo>
                  <a:pt x="118" y="138"/>
                </a:lnTo>
                <a:lnTo>
                  <a:pt x="112" y="138"/>
                </a:lnTo>
                <a:lnTo>
                  <a:pt x="106" y="132"/>
                </a:lnTo>
                <a:lnTo>
                  <a:pt x="97" y="119"/>
                </a:lnTo>
                <a:lnTo>
                  <a:pt x="97" y="119"/>
                </a:lnTo>
                <a:lnTo>
                  <a:pt x="93" y="116"/>
                </a:lnTo>
                <a:lnTo>
                  <a:pt x="90" y="113"/>
                </a:lnTo>
                <a:lnTo>
                  <a:pt x="84" y="113"/>
                </a:lnTo>
                <a:lnTo>
                  <a:pt x="84" y="107"/>
                </a:lnTo>
                <a:lnTo>
                  <a:pt x="78" y="104"/>
                </a:lnTo>
                <a:lnTo>
                  <a:pt x="75" y="100"/>
                </a:lnTo>
                <a:lnTo>
                  <a:pt x="72" y="97"/>
                </a:lnTo>
                <a:lnTo>
                  <a:pt x="72" y="91"/>
                </a:lnTo>
                <a:lnTo>
                  <a:pt x="68" y="91"/>
                </a:lnTo>
                <a:lnTo>
                  <a:pt x="68" y="85"/>
                </a:lnTo>
                <a:lnTo>
                  <a:pt x="65" y="82"/>
                </a:lnTo>
                <a:lnTo>
                  <a:pt x="62" y="78"/>
                </a:lnTo>
                <a:lnTo>
                  <a:pt x="62" y="75"/>
                </a:lnTo>
                <a:lnTo>
                  <a:pt x="62" y="72"/>
                </a:lnTo>
                <a:lnTo>
                  <a:pt x="56" y="69"/>
                </a:lnTo>
                <a:lnTo>
                  <a:pt x="50" y="69"/>
                </a:lnTo>
                <a:lnTo>
                  <a:pt x="37" y="66"/>
                </a:lnTo>
                <a:lnTo>
                  <a:pt x="28" y="69"/>
                </a:lnTo>
                <a:lnTo>
                  <a:pt x="28" y="72"/>
                </a:lnTo>
                <a:lnTo>
                  <a:pt x="25" y="78"/>
                </a:lnTo>
                <a:lnTo>
                  <a:pt x="15" y="78"/>
                </a:lnTo>
                <a:lnTo>
                  <a:pt x="15" y="78"/>
                </a:lnTo>
                <a:close/>
                <a:moveTo>
                  <a:pt x="28" y="144"/>
                </a:moveTo>
                <a:lnTo>
                  <a:pt x="31" y="144"/>
                </a:lnTo>
                <a:lnTo>
                  <a:pt x="31" y="144"/>
                </a:lnTo>
                <a:lnTo>
                  <a:pt x="34" y="141"/>
                </a:lnTo>
                <a:lnTo>
                  <a:pt x="31" y="141"/>
                </a:lnTo>
                <a:lnTo>
                  <a:pt x="31" y="141"/>
                </a:lnTo>
                <a:lnTo>
                  <a:pt x="28" y="144"/>
                </a:lnTo>
                <a:lnTo>
                  <a:pt x="28" y="144"/>
                </a:lnTo>
                <a:lnTo>
                  <a:pt x="28" y="144"/>
                </a:lnTo>
                <a:close/>
                <a:moveTo>
                  <a:pt x="78" y="113"/>
                </a:moveTo>
                <a:lnTo>
                  <a:pt x="81" y="116"/>
                </a:lnTo>
                <a:lnTo>
                  <a:pt x="81" y="113"/>
                </a:lnTo>
                <a:lnTo>
                  <a:pt x="78" y="113"/>
                </a:lnTo>
                <a:lnTo>
                  <a:pt x="78" y="113"/>
                </a:lnTo>
                <a:close/>
                <a:moveTo>
                  <a:pt x="62" y="104"/>
                </a:moveTo>
                <a:lnTo>
                  <a:pt x="62" y="104"/>
                </a:lnTo>
                <a:lnTo>
                  <a:pt x="65" y="107"/>
                </a:lnTo>
                <a:lnTo>
                  <a:pt x="68" y="104"/>
                </a:lnTo>
                <a:lnTo>
                  <a:pt x="72" y="104"/>
                </a:lnTo>
                <a:lnTo>
                  <a:pt x="72" y="100"/>
                </a:lnTo>
                <a:lnTo>
                  <a:pt x="68" y="100"/>
                </a:lnTo>
                <a:lnTo>
                  <a:pt x="68" y="100"/>
                </a:lnTo>
                <a:lnTo>
                  <a:pt x="62" y="104"/>
                </a:lnTo>
                <a:lnTo>
                  <a:pt x="62" y="104"/>
                </a:lnTo>
                <a:close/>
                <a:moveTo>
                  <a:pt x="40" y="197"/>
                </a:moveTo>
                <a:lnTo>
                  <a:pt x="40" y="197"/>
                </a:lnTo>
                <a:lnTo>
                  <a:pt x="43" y="197"/>
                </a:lnTo>
                <a:lnTo>
                  <a:pt x="47" y="197"/>
                </a:lnTo>
                <a:lnTo>
                  <a:pt x="47" y="194"/>
                </a:lnTo>
                <a:lnTo>
                  <a:pt x="47" y="191"/>
                </a:lnTo>
                <a:lnTo>
                  <a:pt x="50" y="191"/>
                </a:lnTo>
                <a:lnTo>
                  <a:pt x="53" y="194"/>
                </a:lnTo>
                <a:lnTo>
                  <a:pt x="56" y="194"/>
                </a:lnTo>
                <a:lnTo>
                  <a:pt x="56" y="191"/>
                </a:lnTo>
                <a:lnTo>
                  <a:pt x="56" y="182"/>
                </a:lnTo>
                <a:lnTo>
                  <a:pt x="59" y="182"/>
                </a:lnTo>
                <a:lnTo>
                  <a:pt x="56" y="172"/>
                </a:lnTo>
                <a:lnTo>
                  <a:pt x="59" y="166"/>
                </a:lnTo>
                <a:lnTo>
                  <a:pt x="53" y="160"/>
                </a:lnTo>
                <a:lnTo>
                  <a:pt x="59" y="160"/>
                </a:lnTo>
                <a:lnTo>
                  <a:pt x="59" y="157"/>
                </a:lnTo>
                <a:lnTo>
                  <a:pt x="56" y="150"/>
                </a:lnTo>
                <a:lnTo>
                  <a:pt x="56" y="147"/>
                </a:lnTo>
                <a:lnTo>
                  <a:pt x="53" y="144"/>
                </a:lnTo>
                <a:lnTo>
                  <a:pt x="50" y="144"/>
                </a:lnTo>
                <a:lnTo>
                  <a:pt x="47" y="141"/>
                </a:lnTo>
                <a:lnTo>
                  <a:pt x="43" y="141"/>
                </a:lnTo>
                <a:lnTo>
                  <a:pt x="37" y="150"/>
                </a:lnTo>
                <a:lnTo>
                  <a:pt x="34" y="150"/>
                </a:lnTo>
                <a:lnTo>
                  <a:pt x="28" y="147"/>
                </a:lnTo>
                <a:lnTo>
                  <a:pt x="28" y="154"/>
                </a:lnTo>
                <a:lnTo>
                  <a:pt x="28" y="154"/>
                </a:lnTo>
                <a:lnTo>
                  <a:pt x="31" y="157"/>
                </a:lnTo>
                <a:lnTo>
                  <a:pt x="31" y="160"/>
                </a:lnTo>
                <a:lnTo>
                  <a:pt x="34" y="163"/>
                </a:lnTo>
                <a:lnTo>
                  <a:pt x="34" y="169"/>
                </a:lnTo>
                <a:lnTo>
                  <a:pt x="31" y="172"/>
                </a:lnTo>
                <a:lnTo>
                  <a:pt x="34" y="172"/>
                </a:lnTo>
                <a:lnTo>
                  <a:pt x="37" y="172"/>
                </a:lnTo>
                <a:lnTo>
                  <a:pt x="37" y="175"/>
                </a:lnTo>
                <a:lnTo>
                  <a:pt x="34" y="179"/>
                </a:lnTo>
                <a:lnTo>
                  <a:pt x="34" y="185"/>
                </a:lnTo>
                <a:lnTo>
                  <a:pt x="34" y="188"/>
                </a:lnTo>
                <a:lnTo>
                  <a:pt x="37" y="194"/>
                </a:lnTo>
                <a:lnTo>
                  <a:pt x="40" y="197"/>
                </a:lnTo>
                <a:lnTo>
                  <a:pt x="40" y="197"/>
                </a:lnTo>
                <a:close/>
                <a:moveTo>
                  <a:pt x="162" y="251"/>
                </a:moveTo>
                <a:lnTo>
                  <a:pt x="162" y="244"/>
                </a:lnTo>
                <a:lnTo>
                  <a:pt x="165" y="244"/>
                </a:lnTo>
                <a:lnTo>
                  <a:pt x="165" y="238"/>
                </a:lnTo>
                <a:lnTo>
                  <a:pt x="162" y="235"/>
                </a:lnTo>
                <a:lnTo>
                  <a:pt x="165" y="226"/>
                </a:lnTo>
                <a:lnTo>
                  <a:pt x="168" y="222"/>
                </a:lnTo>
                <a:lnTo>
                  <a:pt x="168" y="216"/>
                </a:lnTo>
                <a:lnTo>
                  <a:pt x="165" y="213"/>
                </a:lnTo>
                <a:lnTo>
                  <a:pt x="162" y="216"/>
                </a:lnTo>
                <a:lnTo>
                  <a:pt x="159" y="216"/>
                </a:lnTo>
                <a:lnTo>
                  <a:pt x="156" y="213"/>
                </a:lnTo>
                <a:lnTo>
                  <a:pt x="150" y="219"/>
                </a:lnTo>
                <a:lnTo>
                  <a:pt x="140" y="219"/>
                </a:lnTo>
                <a:lnTo>
                  <a:pt x="134" y="219"/>
                </a:lnTo>
                <a:lnTo>
                  <a:pt x="128" y="219"/>
                </a:lnTo>
                <a:lnTo>
                  <a:pt x="125" y="216"/>
                </a:lnTo>
                <a:lnTo>
                  <a:pt x="122" y="216"/>
                </a:lnTo>
                <a:lnTo>
                  <a:pt x="118" y="219"/>
                </a:lnTo>
                <a:lnTo>
                  <a:pt x="118" y="216"/>
                </a:lnTo>
                <a:lnTo>
                  <a:pt x="112" y="219"/>
                </a:lnTo>
                <a:lnTo>
                  <a:pt x="112" y="226"/>
                </a:lnTo>
                <a:lnTo>
                  <a:pt x="115" y="229"/>
                </a:lnTo>
                <a:lnTo>
                  <a:pt x="122" y="229"/>
                </a:lnTo>
                <a:lnTo>
                  <a:pt x="128" y="235"/>
                </a:lnTo>
                <a:lnTo>
                  <a:pt x="131" y="235"/>
                </a:lnTo>
                <a:lnTo>
                  <a:pt x="137" y="238"/>
                </a:lnTo>
                <a:lnTo>
                  <a:pt x="143" y="241"/>
                </a:lnTo>
                <a:lnTo>
                  <a:pt x="147" y="241"/>
                </a:lnTo>
                <a:lnTo>
                  <a:pt x="150" y="244"/>
                </a:lnTo>
                <a:lnTo>
                  <a:pt x="150" y="247"/>
                </a:lnTo>
                <a:lnTo>
                  <a:pt x="159" y="251"/>
                </a:lnTo>
                <a:lnTo>
                  <a:pt x="162" y="251"/>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0" name="Freeform 78">
            <a:extLst>
              <a:ext uri="{FF2B5EF4-FFF2-40B4-BE49-F238E27FC236}">
                <a16:creationId xmlns:a16="http://schemas.microsoft.com/office/drawing/2014/main" id="{4AED8873-22A0-5B23-479A-4AF076176712}"/>
              </a:ext>
            </a:extLst>
          </p:cNvPr>
          <p:cNvSpPr>
            <a:spLocks noEditPoints="1"/>
          </p:cNvSpPr>
          <p:nvPr userDrawn="1"/>
        </p:nvSpPr>
        <p:spPr bwMode="auto">
          <a:xfrm>
            <a:off x="12632501" y="6435008"/>
            <a:ext cx="774652" cy="587376"/>
          </a:xfrm>
          <a:custGeom>
            <a:avLst/>
            <a:gdLst>
              <a:gd name="T0" fmla="*/ 45 w 78"/>
              <a:gd name="T1" fmla="*/ 4 h 59"/>
              <a:gd name="T2" fmla="*/ 46 w 78"/>
              <a:gd name="T3" fmla="*/ 7 h 59"/>
              <a:gd name="T4" fmla="*/ 51 w 78"/>
              <a:gd name="T5" fmla="*/ 9 h 59"/>
              <a:gd name="T6" fmla="*/ 56 w 78"/>
              <a:gd name="T7" fmla="*/ 9 h 59"/>
              <a:gd name="T8" fmla="*/ 61 w 78"/>
              <a:gd name="T9" fmla="*/ 9 h 59"/>
              <a:gd name="T10" fmla="*/ 65 w 78"/>
              <a:gd name="T11" fmla="*/ 10 h 59"/>
              <a:gd name="T12" fmla="*/ 71 w 78"/>
              <a:gd name="T13" fmla="*/ 11 h 59"/>
              <a:gd name="T14" fmla="*/ 70 w 78"/>
              <a:gd name="T15" fmla="*/ 15 h 59"/>
              <a:gd name="T16" fmla="*/ 67 w 78"/>
              <a:gd name="T17" fmla="*/ 19 h 59"/>
              <a:gd name="T18" fmla="*/ 62 w 78"/>
              <a:gd name="T19" fmla="*/ 21 h 59"/>
              <a:gd name="T20" fmla="*/ 60 w 78"/>
              <a:gd name="T21" fmla="*/ 23 h 59"/>
              <a:gd name="T22" fmla="*/ 58 w 78"/>
              <a:gd name="T23" fmla="*/ 25 h 59"/>
              <a:gd name="T24" fmla="*/ 56 w 78"/>
              <a:gd name="T25" fmla="*/ 28 h 59"/>
              <a:gd name="T26" fmla="*/ 52 w 78"/>
              <a:gd name="T27" fmla="*/ 33 h 59"/>
              <a:gd name="T28" fmla="*/ 54 w 78"/>
              <a:gd name="T29" fmla="*/ 37 h 59"/>
              <a:gd name="T30" fmla="*/ 52 w 78"/>
              <a:gd name="T31" fmla="*/ 41 h 59"/>
              <a:gd name="T32" fmla="*/ 50 w 78"/>
              <a:gd name="T33" fmla="*/ 47 h 59"/>
              <a:gd name="T34" fmla="*/ 48 w 78"/>
              <a:gd name="T35" fmla="*/ 49 h 59"/>
              <a:gd name="T36" fmla="*/ 42 w 78"/>
              <a:gd name="T37" fmla="*/ 54 h 59"/>
              <a:gd name="T38" fmla="*/ 39 w 78"/>
              <a:gd name="T39" fmla="*/ 53 h 59"/>
              <a:gd name="T40" fmla="*/ 36 w 78"/>
              <a:gd name="T41" fmla="*/ 53 h 59"/>
              <a:gd name="T42" fmla="*/ 31 w 78"/>
              <a:gd name="T43" fmla="*/ 53 h 59"/>
              <a:gd name="T44" fmla="*/ 26 w 78"/>
              <a:gd name="T45" fmla="*/ 56 h 59"/>
              <a:gd name="T46" fmla="*/ 23 w 78"/>
              <a:gd name="T47" fmla="*/ 58 h 59"/>
              <a:gd name="T48" fmla="*/ 17 w 78"/>
              <a:gd name="T49" fmla="*/ 57 h 59"/>
              <a:gd name="T50" fmla="*/ 13 w 78"/>
              <a:gd name="T51" fmla="*/ 51 h 59"/>
              <a:gd name="T52" fmla="*/ 10 w 78"/>
              <a:gd name="T53" fmla="*/ 49 h 59"/>
              <a:gd name="T54" fmla="*/ 13 w 78"/>
              <a:gd name="T55" fmla="*/ 43 h 59"/>
              <a:gd name="T56" fmla="*/ 10 w 78"/>
              <a:gd name="T57" fmla="*/ 40 h 59"/>
              <a:gd name="T58" fmla="*/ 11 w 78"/>
              <a:gd name="T59" fmla="*/ 35 h 59"/>
              <a:gd name="T60" fmla="*/ 12 w 78"/>
              <a:gd name="T61" fmla="*/ 32 h 59"/>
              <a:gd name="T62" fmla="*/ 14 w 78"/>
              <a:gd name="T63" fmla="*/ 27 h 59"/>
              <a:gd name="T64" fmla="*/ 16 w 78"/>
              <a:gd name="T65" fmla="*/ 19 h 59"/>
              <a:gd name="T66" fmla="*/ 16 w 78"/>
              <a:gd name="T67" fmla="*/ 16 h 59"/>
              <a:gd name="T68" fmla="*/ 12 w 78"/>
              <a:gd name="T69" fmla="*/ 15 h 59"/>
              <a:gd name="T70" fmla="*/ 6 w 78"/>
              <a:gd name="T71" fmla="*/ 15 h 59"/>
              <a:gd name="T72" fmla="*/ 2 w 78"/>
              <a:gd name="T73" fmla="*/ 13 h 59"/>
              <a:gd name="T74" fmla="*/ 2 w 78"/>
              <a:gd name="T75" fmla="*/ 12 h 59"/>
              <a:gd name="T76" fmla="*/ 3 w 78"/>
              <a:gd name="T77" fmla="*/ 9 h 59"/>
              <a:gd name="T78" fmla="*/ 2 w 78"/>
              <a:gd name="T79" fmla="*/ 8 h 59"/>
              <a:gd name="T80" fmla="*/ 0 w 78"/>
              <a:gd name="T81" fmla="*/ 7 h 59"/>
              <a:gd name="T82" fmla="*/ 3 w 78"/>
              <a:gd name="T83" fmla="*/ 4 h 59"/>
              <a:gd name="T84" fmla="*/ 7 w 78"/>
              <a:gd name="T85" fmla="*/ 3 h 59"/>
              <a:gd name="T86" fmla="*/ 8 w 78"/>
              <a:gd name="T87" fmla="*/ 1 h 59"/>
              <a:gd name="T88" fmla="*/ 11 w 78"/>
              <a:gd name="T89" fmla="*/ 1 h 59"/>
              <a:gd name="T90" fmla="*/ 15 w 78"/>
              <a:gd name="T91" fmla="*/ 1 h 59"/>
              <a:gd name="T92" fmla="*/ 20 w 78"/>
              <a:gd name="T93" fmla="*/ 1 h 59"/>
              <a:gd name="T94" fmla="*/ 26 w 78"/>
              <a:gd name="T95" fmla="*/ 3 h 59"/>
              <a:gd name="T96" fmla="*/ 34 w 78"/>
              <a:gd name="T97" fmla="*/ 2 h 59"/>
              <a:gd name="T98" fmla="*/ 37 w 78"/>
              <a:gd name="T99" fmla="*/ 3 h 59"/>
              <a:gd name="T100" fmla="*/ 42 w 78"/>
              <a:gd name="T101" fmla="*/ 4 h 59"/>
              <a:gd name="T102" fmla="*/ 74 w 78"/>
              <a:gd name="T103" fmla="*/ 31 h 59"/>
              <a:gd name="T104" fmla="*/ 78 w 78"/>
              <a:gd name="T105" fmla="*/ 31 h 59"/>
              <a:gd name="T106" fmla="*/ 74 w 78"/>
              <a:gd name="T107" fmla="*/ 31 h 59"/>
              <a:gd name="T108" fmla="*/ 73 w 78"/>
              <a:gd name="T109" fmla="*/ 32 h 59"/>
              <a:gd name="T110" fmla="*/ 69 w 78"/>
              <a:gd name="T111" fmla="*/ 33 h 59"/>
              <a:gd name="T112" fmla="*/ 71 w 78"/>
              <a:gd name="T113" fmla="*/ 35 h 59"/>
              <a:gd name="T114" fmla="*/ 64 w 78"/>
              <a:gd name="T115" fmla="*/ 37 h 59"/>
              <a:gd name="T116" fmla="*/ 62 w 78"/>
              <a:gd name="T117" fmla="*/ 3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 h="59">
                <a:moveTo>
                  <a:pt x="44" y="3"/>
                </a:moveTo>
                <a:cubicBezTo>
                  <a:pt x="45" y="4"/>
                  <a:pt x="45" y="4"/>
                  <a:pt x="45" y="4"/>
                </a:cubicBezTo>
                <a:cubicBezTo>
                  <a:pt x="45" y="4"/>
                  <a:pt x="45" y="4"/>
                  <a:pt x="45" y="4"/>
                </a:cubicBezTo>
                <a:cubicBezTo>
                  <a:pt x="46" y="4"/>
                  <a:pt x="46" y="4"/>
                  <a:pt x="46" y="4"/>
                </a:cubicBezTo>
                <a:cubicBezTo>
                  <a:pt x="46" y="6"/>
                  <a:pt x="46" y="6"/>
                  <a:pt x="46" y="6"/>
                </a:cubicBezTo>
                <a:cubicBezTo>
                  <a:pt x="46" y="7"/>
                  <a:pt x="46" y="7"/>
                  <a:pt x="46" y="7"/>
                </a:cubicBezTo>
                <a:cubicBezTo>
                  <a:pt x="48" y="6"/>
                  <a:pt x="48" y="6"/>
                  <a:pt x="48" y="6"/>
                </a:cubicBezTo>
                <a:cubicBezTo>
                  <a:pt x="50" y="7"/>
                  <a:pt x="50" y="7"/>
                  <a:pt x="50" y="7"/>
                </a:cubicBezTo>
                <a:cubicBezTo>
                  <a:pt x="51" y="9"/>
                  <a:pt x="51" y="9"/>
                  <a:pt x="51" y="9"/>
                </a:cubicBezTo>
                <a:cubicBezTo>
                  <a:pt x="53" y="8"/>
                  <a:pt x="53" y="8"/>
                  <a:pt x="53" y="8"/>
                </a:cubicBezTo>
                <a:cubicBezTo>
                  <a:pt x="54" y="10"/>
                  <a:pt x="54" y="10"/>
                  <a:pt x="54" y="10"/>
                </a:cubicBezTo>
                <a:cubicBezTo>
                  <a:pt x="56" y="9"/>
                  <a:pt x="56" y="9"/>
                  <a:pt x="56" y="9"/>
                </a:cubicBezTo>
                <a:cubicBezTo>
                  <a:pt x="57" y="10"/>
                  <a:pt x="57" y="10"/>
                  <a:pt x="57" y="10"/>
                </a:cubicBezTo>
                <a:cubicBezTo>
                  <a:pt x="58" y="9"/>
                  <a:pt x="58" y="9"/>
                  <a:pt x="58" y="9"/>
                </a:cubicBezTo>
                <a:cubicBezTo>
                  <a:pt x="61" y="9"/>
                  <a:pt x="61" y="9"/>
                  <a:pt x="61" y="9"/>
                </a:cubicBezTo>
                <a:cubicBezTo>
                  <a:pt x="62" y="9"/>
                  <a:pt x="62" y="9"/>
                  <a:pt x="62" y="9"/>
                </a:cubicBezTo>
                <a:cubicBezTo>
                  <a:pt x="63" y="9"/>
                  <a:pt x="63" y="9"/>
                  <a:pt x="63" y="9"/>
                </a:cubicBezTo>
                <a:cubicBezTo>
                  <a:pt x="65" y="10"/>
                  <a:pt x="65" y="10"/>
                  <a:pt x="65" y="10"/>
                </a:cubicBezTo>
                <a:cubicBezTo>
                  <a:pt x="68" y="10"/>
                  <a:pt x="68" y="10"/>
                  <a:pt x="68" y="10"/>
                </a:cubicBezTo>
                <a:cubicBezTo>
                  <a:pt x="70" y="11"/>
                  <a:pt x="70" y="11"/>
                  <a:pt x="70" y="11"/>
                </a:cubicBezTo>
                <a:cubicBezTo>
                  <a:pt x="71" y="11"/>
                  <a:pt x="71" y="11"/>
                  <a:pt x="71" y="11"/>
                </a:cubicBezTo>
                <a:cubicBezTo>
                  <a:pt x="71" y="12"/>
                  <a:pt x="71" y="12"/>
                  <a:pt x="71" y="12"/>
                </a:cubicBezTo>
                <a:cubicBezTo>
                  <a:pt x="70" y="13"/>
                  <a:pt x="70" y="13"/>
                  <a:pt x="70" y="13"/>
                </a:cubicBezTo>
                <a:cubicBezTo>
                  <a:pt x="70" y="15"/>
                  <a:pt x="70" y="15"/>
                  <a:pt x="70" y="15"/>
                </a:cubicBezTo>
                <a:cubicBezTo>
                  <a:pt x="70" y="16"/>
                  <a:pt x="70" y="16"/>
                  <a:pt x="70" y="16"/>
                </a:cubicBezTo>
                <a:cubicBezTo>
                  <a:pt x="70" y="17"/>
                  <a:pt x="70" y="17"/>
                  <a:pt x="70" y="17"/>
                </a:cubicBezTo>
                <a:cubicBezTo>
                  <a:pt x="67" y="19"/>
                  <a:pt x="67" y="19"/>
                  <a:pt x="67" y="19"/>
                </a:cubicBezTo>
                <a:cubicBezTo>
                  <a:pt x="67" y="19"/>
                  <a:pt x="66" y="20"/>
                  <a:pt x="66" y="20"/>
                </a:cubicBezTo>
                <a:cubicBezTo>
                  <a:pt x="66" y="20"/>
                  <a:pt x="64" y="21"/>
                  <a:pt x="64" y="21"/>
                </a:cubicBezTo>
                <a:cubicBezTo>
                  <a:pt x="62" y="21"/>
                  <a:pt x="62" y="21"/>
                  <a:pt x="62" y="21"/>
                </a:cubicBezTo>
                <a:cubicBezTo>
                  <a:pt x="60" y="22"/>
                  <a:pt x="60" y="22"/>
                  <a:pt x="60" y="22"/>
                </a:cubicBezTo>
                <a:cubicBezTo>
                  <a:pt x="59" y="23"/>
                  <a:pt x="59" y="23"/>
                  <a:pt x="59" y="23"/>
                </a:cubicBezTo>
                <a:cubicBezTo>
                  <a:pt x="60" y="23"/>
                  <a:pt x="60" y="23"/>
                  <a:pt x="60" y="23"/>
                </a:cubicBezTo>
                <a:cubicBezTo>
                  <a:pt x="59" y="25"/>
                  <a:pt x="59" y="25"/>
                  <a:pt x="59" y="25"/>
                </a:cubicBezTo>
                <a:cubicBezTo>
                  <a:pt x="58" y="25"/>
                  <a:pt x="58" y="25"/>
                  <a:pt x="58" y="25"/>
                </a:cubicBezTo>
                <a:cubicBezTo>
                  <a:pt x="58" y="25"/>
                  <a:pt x="58" y="25"/>
                  <a:pt x="58" y="25"/>
                </a:cubicBezTo>
                <a:cubicBezTo>
                  <a:pt x="58" y="25"/>
                  <a:pt x="58" y="25"/>
                  <a:pt x="58" y="25"/>
                </a:cubicBezTo>
                <a:cubicBezTo>
                  <a:pt x="58" y="25"/>
                  <a:pt x="58" y="25"/>
                  <a:pt x="58" y="25"/>
                </a:cubicBezTo>
                <a:cubicBezTo>
                  <a:pt x="56" y="28"/>
                  <a:pt x="56" y="28"/>
                  <a:pt x="56" y="28"/>
                </a:cubicBezTo>
                <a:cubicBezTo>
                  <a:pt x="55" y="28"/>
                  <a:pt x="55" y="28"/>
                  <a:pt x="55" y="28"/>
                </a:cubicBezTo>
                <a:cubicBezTo>
                  <a:pt x="52" y="32"/>
                  <a:pt x="52" y="32"/>
                  <a:pt x="52" y="32"/>
                </a:cubicBezTo>
                <a:cubicBezTo>
                  <a:pt x="52" y="33"/>
                  <a:pt x="52" y="33"/>
                  <a:pt x="52" y="33"/>
                </a:cubicBezTo>
                <a:cubicBezTo>
                  <a:pt x="53" y="35"/>
                  <a:pt x="53" y="35"/>
                  <a:pt x="53" y="35"/>
                </a:cubicBezTo>
                <a:cubicBezTo>
                  <a:pt x="53" y="36"/>
                  <a:pt x="53" y="36"/>
                  <a:pt x="53" y="36"/>
                </a:cubicBezTo>
                <a:cubicBezTo>
                  <a:pt x="54" y="37"/>
                  <a:pt x="54" y="37"/>
                  <a:pt x="54" y="37"/>
                </a:cubicBezTo>
                <a:cubicBezTo>
                  <a:pt x="55" y="39"/>
                  <a:pt x="55" y="39"/>
                  <a:pt x="55" y="39"/>
                </a:cubicBezTo>
                <a:cubicBezTo>
                  <a:pt x="54" y="40"/>
                  <a:pt x="54" y="40"/>
                  <a:pt x="54" y="40"/>
                </a:cubicBezTo>
                <a:cubicBezTo>
                  <a:pt x="52" y="41"/>
                  <a:pt x="52" y="41"/>
                  <a:pt x="52" y="41"/>
                </a:cubicBezTo>
                <a:cubicBezTo>
                  <a:pt x="52" y="42"/>
                  <a:pt x="52" y="42"/>
                  <a:pt x="52" y="42"/>
                </a:cubicBezTo>
                <a:cubicBezTo>
                  <a:pt x="50" y="45"/>
                  <a:pt x="50" y="45"/>
                  <a:pt x="50" y="45"/>
                </a:cubicBezTo>
                <a:cubicBezTo>
                  <a:pt x="50" y="47"/>
                  <a:pt x="50" y="47"/>
                  <a:pt x="50" y="47"/>
                </a:cubicBezTo>
                <a:cubicBezTo>
                  <a:pt x="50" y="48"/>
                  <a:pt x="50" y="48"/>
                  <a:pt x="50" y="48"/>
                </a:cubicBezTo>
                <a:cubicBezTo>
                  <a:pt x="50" y="48"/>
                  <a:pt x="50" y="48"/>
                  <a:pt x="50" y="48"/>
                </a:cubicBezTo>
                <a:cubicBezTo>
                  <a:pt x="48" y="49"/>
                  <a:pt x="48" y="49"/>
                  <a:pt x="48" y="49"/>
                </a:cubicBezTo>
                <a:cubicBezTo>
                  <a:pt x="44" y="50"/>
                  <a:pt x="44" y="50"/>
                  <a:pt x="44" y="50"/>
                </a:cubicBezTo>
                <a:cubicBezTo>
                  <a:pt x="44" y="52"/>
                  <a:pt x="44" y="52"/>
                  <a:pt x="44" y="52"/>
                </a:cubicBezTo>
                <a:cubicBezTo>
                  <a:pt x="42" y="54"/>
                  <a:pt x="42" y="54"/>
                  <a:pt x="42" y="54"/>
                </a:cubicBezTo>
                <a:cubicBezTo>
                  <a:pt x="41" y="53"/>
                  <a:pt x="41" y="53"/>
                  <a:pt x="41" y="53"/>
                </a:cubicBezTo>
                <a:cubicBezTo>
                  <a:pt x="40" y="52"/>
                  <a:pt x="40" y="52"/>
                  <a:pt x="40" y="52"/>
                </a:cubicBezTo>
                <a:cubicBezTo>
                  <a:pt x="39" y="53"/>
                  <a:pt x="39" y="53"/>
                  <a:pt x="39" y="53"/>
                </a:cubicBezTo>
                <a:cubicBezTo>
                  <a:pt x="38" y="54"/>
                  <a:pt x="38" y="54"/>
                  <a:pt x="38" y="54"/>
                </a:cubicBezTo>
                <a:cubicBezTo>
                  <a:pt x="37" y="53"/>
                  <a:pt x="37" y="53"/>
                  <a:pt x="37" y="53"/>
                </a:cubicBezTo>
                <a:cubicBezTo>
                  <a:pt x="36" y="53"/>
                  <a:pt x="36" y="53"/>
                  <a:pt x="36" y="53"/>
                </a:cubicBezTo>
                <a:cubicBezTo>
                  <a:pt x="36" y="54"/>
                  <a:pt x="36" y="54"/>
                  <a:pt x="36" y="54"/>
                </a:cubicBezTo>
                <a:cubicBezTo>
                  <a:pt x="34" y="54"/>
                  <a:pt x="34" y="54"/>
                  <a:pt x="34" y="54"/>
                </a:cubicBezTo>
                <a:cubicBezTo>
                  <a:pt x="31" y="53"/>
                  <a:pt x="31" y="53"/>
                  <a:pt x="31" y="53"/>
                </a:cubicBezTo>
                <a:cubicBezTo>
                  <a:pt x="30" y="54"/>
                  <a:pt x="30" y="54"/>
                  <a:pt x="30" y="54"/>
                </a:cubicBezTo>
                <a:cubicBezTo>
                  <a:pt x="28" y="54"/>
                  <a:pt x="28" y="54"/>
                  <a:pt x="28" y="54"/>
                </a:cubicBezTo>
                <a:cubicBezTo>
                  <a:pt x="26" y="56"/>
                  <a:pt x="26" y="56"/>
                  <a:pt x="26" y="56"/>
                </a:cubicBezTo>
                <a:cubicBezTo>
                  <a:pt x="24" y="56"/>
                  <a:pt x="24" y="56"/>
                  <a:pt x="24" y="56"/>
                </a:cubicBezTo>
                <a:cubicBezTo>
                  <a:pt x="23" y="57"/>
                  <a:pt x="23" y="57"/>
                  <a:pt x="23" y="57"/>
                </a:cubicBezTo>
                <a:cubicBezTo>
                  <a:pt x="23" y="58"/>
                  <a:pt x="23" y="58"/>
                  <a:pt x="23" y="58"/>
                </a:cubicBezTo>
                <a:cubicBezTo>
                  <a:pt x="21" y="59"/>
                  <a:pt x="21" y="59"/>
                  <a:pt x="21" y="59"/>
                </a:cubicBezTo>
                <a:cubicBezTo>
                  <a:pt x="19" y="59"/>
                  <a:pt x="19" y="59"/>
                  <a:pt x="19" y="59"/>
                </a:cubicBezTo>
                <a:cubicBezTo>
                  <a:pt x="17" y="57"/>
                  <a:pt x="17" y="57"/>
                  <a:pt x="17" y="57"/>
                </a:cubicBezTo>
                <a:cubicBezTo>
                  <a:pt x="16" y="54"/>
                  <a:pt x="16" y="54"/>
                  <a:pt x="16" y="54"/>
                </a:cubicBezTo>
                <a:cubicBezTo>
                  <a:pt x="16" y="53"/>
                  <a:pt x="16" y="53"/>
                  <a:pt x="16" y="53"/>
                </a:cubicBezTo>
                <a:cubicBezTo>
                  <a:pt x="13" y="51"/>
                  <a:pt x="13" y="51"/>
                  <a:pt x="13" y="51"/>
                </a:cubicBezTo>
                <a:cubicBezTo>
                  <a:pt x="12" y="51"/>
                  <a:pt x="12" y="51"/>
                  <a:pt x="12" y="51"/>
                </a:cubicBezTo>
                <a:cubicBezTo>
                  <a:pt x="11" y="50"/>
                  <a:pt x="11" y="50"/>
                  <a:pt x="11" y="50"/>
                </a:cubicBezTo>
                <a:cubicBezTo>
                  <a:pt x="10" y="49"/>
                  <a:pt x="10" y="49"/>
                  <a:pt x="10" y="49"/>
                </a:cubicBezTo>
                <a:cubicBezTo>
                  <a:pt x="10" y="47"/>
                  <a:pt x="10" y="47"/>
                  <a:pt x="10" y="47"/>
                </a:cubicBezTo>
                <a:cubicBezTo>
                  <a:pt x="11" y="45"/>
                  <a:pt x="11" y="45"/>
                  <a:pt x="11" y="45"/>
                </a:cubicBezTo>
                <a:cubicBezTo>
                  <a:pt x="13" y="43"/>
                  <a:pt x="13" y="43"/>
                  <a:pt x="13" y="43"/>
                </a:cubicBezTo>
                <a:cubicBezTo>
                  <a:pt x="13" y="42"/>
                  <a:pt x="13" y="42"/>
                  <a:pt x="13" y="42"/>
                </a:cubicBezTo>
                <a:cubicBezTo>
                  <a:pt x="11" y="42"/>
                  <a:pt x="11" y="42"/>
                  <a:pt x="11" y="42"/>
                </a:cubicBezTo>
                <a:cubicBezTo>
                  <a:pt x="10" y="40"/>
                  <a:pt x="10" y="40"/>
                  <a:pt x="10" y="40"/>
                </a:cubicBezTo>
                <a:cubicBezTo>
                  <a:pt x="12" y="38"/>
                  <a:pt x="12" y="38"/>
                  <a:pt x="12" y="38"/>
                </a:cubicBezTo>
                <a:cubicBezTo>
                  <a:pt x="12" y="36"/>
                  <a:pt x="12" y="36"/>
                  <a:pt x="12" y="36"/>
                </a:cubicBezTo>
                <a:cubicBezTo>
                  <a:pt x="11" y="35"/>
                  <a:pt x="11" y="35"/>
                  <a:pt x="11" y="35"/>
                </a:cubicBezTo>
                <a:cubicBezTo>
                  <a:pt x="9" y="32"/>
                  <a:pt x="9" y="32"/>
                  <a:pt x="9" y="32"/>
                </a:cubicBezTo>
                <a:cubicBezTo>
                  <a:pt x="11" y="31"/>
                  <a:pt x="11" y="31"/>
                  <a:pt x="11" y="31"/>
                </a:cubicBezTo>
                <a:cubicBezTo>
                  <a:pt x="12" y="32"/>
                  <a:pt x="12" y="32"/>
                  <a:pt x="12" y="32"/>
                </a:cubicBezTo>
                <a:cubicBezTo>
                  <a:pt x="14" y="29"/>
                  <a:pt x="14" y="29"/>
                  <a:pt x="14" y="29"/>
                </a:cubicBezTo>
                <a:cubicBezTo>
                  <a:pt x="12" y="28"/>
                  <a:pt x="12" y="28"/>
                  <a:pt x="12" y="28"/>
                </a:cubicBezTo>
                <a:cubicBezTo>
                  <a:pt x="14" y="27"/>
                  <a:pt x="14" y="27"/>
                  <a:pt x="14" y="27"/>
                </a:cubicBezTo>
                <a:cubicBezTo>
                  <a:pt x="14" y="23"/>
                  <a:pt x="14" y="23"/>
                  <a:pt x="14" y="23"/>
                </a:cubicBezTo>
                <a:cubicBezTo>
                  <a:pt x="14" y="21"/>
                  <a:pt x="14" y="21"/>
                  <a:pt x="14" y="21"/>
                </a:cubicBezTo>
                <a:cubicBezTo>
                  <a:pt x="16" y="19"/>
                  <a:pt x="16" y="19"/>
                  <a:pt x="16" y="19"/>
                </a:cubicBezTo>
                <a:cubicBezTo>
                  <a:pt x="17" y="19"/>
                  <a:pt x="17" y="19"/>
                  <a:pt x="17" y="19"/>
                </a:cubicBezTo>
                <a:cubicBezTo>
                  <a:pt x="17" y="18"/>
                  <a:pt x="17" y="18"/>
                  <a:pt x="17" y="18"/>
                </a:cubicBezTo>
                <a:cubicBezTo>
                  <a:pt x="16" y="16"/>
                  <a:pt x="16" y="16"/>
                  <a:pt x="16" y="16"/>
                </a:cubicBezTo>
                <a:cubicBezTo>
                  <a:pt x="16" y="14"/>
                  <a:pt x="16" y="14"/>
                  <a:pt x="16" y="14"/>
                </a:cubicBezTo>
                <a:cubicBezTo>
                  <a:pt x="13" y="14"/>
                  <a:pt x="13" y="14"/>
                  <a:pt x="13" y="14"/>
                </a:cubicBezTo>
                <a:cubicBezTo>
                  <a:pt x="12" y="15"/>
                  <a:pt x="12" y="15"/>
                  <a:pt x="12" y="15"/>
                </a:cubicBezTo>
                <a:cubicBezTo>
                  <a:pt x="8" y="14"/>
                  <a:pt x="8" y="14"/>
                  <a:pt x="8" y="14"/>
                </a:cubicBezTo>
                <a:cubicBezTo>
                  <a:pt x="6" y="16"/>
                  <a:pt x="6" y="16"/>
                  <a:pt x="6" y="16"/>
                </a:cubicBezTo>
                <a:cubicBezTo>
                  <a:pt x="6" y="15"/>
                  <a:pt x="6" y="15"/>
                  <a:pt x="6" y="15"/>
                </a:cubicBezTo>
                <a:cubicBezTo>
                  <a:pt x="6" y="13"/>
                  <a:pt x="6" y="13"/>
                  <a:pt x="6" y="13"/>
                </a:cubicBezTo>
                <a:cubicBezTo>
                  <a:pt x="5" y="13"/>
                  <a:pt x="5" y="13"/>
                  <a:pt x="5" y="13"/>
                </a:cubicBezTo>
                <a:cubicBezTo>
                  <a:pt x="2" y="13"/>
                  <a:pt x="2" y="13"/>
                  <a:pt x="2" y="13"/>
                </a:cubicBezTo>
                <a:cubicBezTo>
                  <a:pt x="2" y="13"/>
                  <a:pt x="2" y="13"/>
                  <a:pt x="2" y="13"/>
                </a:cubicBezTo>
                <a:cubicBezTo>
                  <a:pt x="3" y="12"/>
                  <a:pt x="3" y="12"/>
                  <a:pt x="3" y="12"/>
                </a:cubicBezTo>
                <a:cubicBezTo>
                  <a:pt x="2" y="12"/>
                  <a:pt x="2" y="12"/>
                  <a:pt x="2" y="12"/>
                </a:cubicBezTo>
                <a:cubicBezTo>
                  <a:pt x="3" y="11"/>
                  <a:pt x="3" y="11"/>
                  <a:pt x="3" y="11"/>
                </a:cubicBezTo>
                <a:cubicBezTo>
                  <a:pt x="3" y="10"/>
                  <a:pt x="3" y="10"/>
                  <a:pt x="3" y="10"/>
                </a:cubicBezTo>
                <a:cubicBezTo>
                  <a:pt x="3" y="9"/>
                  <a:pt x="3" y="9"/>
                  <a:pt x="3" y="9"/>
                </a:cubicBezTo>
                <a:cubicBezTo>
                  <a:pt x="2" y="10"/>
                  <a:pt x="2" y="10"/>
                  <a:pt x="2" y="10"/>
                </a:cubicBezTo>
                <a:cubicBezTo>
                  <a:pt x="1" y="10"/>
                  <a:pt x="1" y="10"/>
                  <a:pt x="1" y="10"/>
                </a:cubicBezTo>
                <a:cubicBezTo>
                  <a:pt x="2" y="8"/>
                  <a:pt x="2" y="8"/>
                  <a:pt x="2" y="8"/>
                </a:cubicBezTo>
                <a:cubicBezTo>
                  <a:pt x="1" y="8"/>
                  <a:pt x="1" y="8"/>
                  <a:pt x="1" y="8"/>
                </a:cubicBezTo>
                <a:cubicBezTo>
                  <a:pt x="1" y="7"/>
                  <a:pt x="1" y="7"/>
                  <a:pt x="1" y="7"/>
                </a:cubicBezTo>
                <a:cubicBezTo>
                  <a:pt x="0" y="7"/>
                  <a:pt x="0" y="7"/>
                  <a:pt x="0" y="7"/>
                </a:cubicBezTo>
                <a:cubicBezTo>
                  <a:pt x="0" y="6"/>
                  <a:pt x="0" y="6"/>
                  <a:pt x="0" y="6"/>
                </a:cubicBezTo>
                <a:cubicBezTo>
                  <a:pt x="1" y="5"/>
                  <a:pt x="1" y="5"/>
                  <a:pt x="1" y="5"/>
                </a:cubicBezTo>
                <a:cubicBezTo>
                  <a:pt x="3" y="4"/>
                  <a:pt x="3" y="4"/>
                  <a:pt x="3" y="4"/>
                </a:cubicBezTo>
                <a:cubicBezTo>
                  <a:pt x="4" y="4"/>
                  <a:pt x="4" y="4"/>
                  <a:pt x="4" y="4"/>
                </a:cubicBezTo>
                <a:cubicBezTo>
                  <a:pt x="6" y="4"/>
                  <a:pt x="6" y="4"/>
                  <a:pt x="6" y="4"/>
                </a:cubicBezTo>
                <a:cubicBezTo>
                  <a:pt x="7" y="3"/>
                  <a:pt x="7" y="3"/>
                  <a:pt x="7" y="3"/>
                </a:cubicBezTo>
                <a:cubicBezTo>
                  <a:pt x="6" y="3"/>
                  <a:pt x="6" y="3"/>
                  <a:pt x="6" y="3"/>
                </a:cubicBezTo>
                <a:cubicBezTo>
                  <a:pt x="6" y="2"/>
                  <a:pt x="6" y="2"/>
                  <a:pt x="6" y="2"/>
                </a:cubicBezTo>
                <a:cubicBezTo>
                  <a:pt x="8" y="1"/>
                  <a:pt x="8" y="1"/>
                  <a:pt x="8" y="1"/>
                </a:cubicBezTo>
                <a:cubicBezTo>
                  <a:pt x="8" y="1"/>
                  <a:pt x="8" y="1"/>
                  <a:pt x="8" y="1"/>
                </a:cubicBezTo>
                <a:cubicBezTo>
                  <a:pt x="9" y="0"/>
                  <a:pt x="9" y="0"/>
                  <a:pt x="9" y="0"/>
                </a:cubicBezTo>
                <a:cubicBezTo>
                  <a:pt x="11" y="1"/>
                  <a:pt x="11" y="1"/>
                  <a:pt x="11" y="1"/>
                </a:cubicBezTo>
                <a:cubicBezTo>
                  <a:pt x="12" y="2"/>
                  <a:pt x="12" y="2"/>
                  <a:pt x="12" y="2"/>
                </a:cubicBezTo>
                <a:cubicBezTo>
                  <a:pt x="13" y="1"/>
                  <a:pt x="13" y="1"/>
                  <a:pt x="13" y="1"/>
                </a:cubicBezTo>
                <a:cubicBezTo>
                  <a:pt x="15" y="1"/>
                  <a:pt x="15" y="1"/>
                  <a:pt x="15" y="1"/>
                </a:cubicBezTo>
                <a:cubicBezTo>
                  <a:pt x="16" y="2"/>
                  <a:pt x="16" y="2"/>
                  <a:pt x="16" y="2"/>
                </a:cubicBezTo>
                <a:cubicBezTo>
                  <a:pt x="18" y="1"/>
                  <a:pt x="18" y="1"/>
                  <a:pt x="18" y="1"/>
                </a:cubicBezTo>
                <a:cubicBezTo>
                  <a:pt x="20" y="1"/>
                  <a:pt x="20" y="1"/>
                  <a:pt x="20" y="1"/>
                </a:cubicBezTo>
                <a:cubicBezTo>
                  <a:pt x="20" y="1"/>
                  <a:pt x="20" y="1"/>
                  <a:pt x="20" y="1"/>
                </a:cubicBezTo>
                <a:cubicBezTo>
                  <a:pt x="22" y="2"/>
                  <a:pt x="22" y="2"/>
                  <a:pt x="22" y="2"/>
                </a:cubicBezTo>
                <a:cubicBezTo>
                  <a:pt x="26" y="3"/>
                  <a:pt x="26" y="3"/>
                  <a:pt x="26" y="3"/>
                </a:cubicBezTo>
                <a:cubicBezTo>
                  <a:pt x="28" y="3"/>
                  <a:pt x="28" y="3"/>
                  <a:pt x="28" y="3"/>
                </a:cubicBezTo>
                <a:cubicBezTo>
                  <a:pt x="31" y="2"/>
                  <a:pt x="31" y="2"/>
                  <a:pt x="31" y="2"/>
                </a:cubicBezTo>
                <a:cubicBezTo>
                  <a:pt x="34" y="2"/>
                  <a:pt x="34" y="2"/>
                  <a:pt x="34" y="2"/>
                </a:cubicBezTo>
                <a:cubicBezTo>
                  <a:pt x="34" y="3"/>
                  <a:pt x="34" y="3"/>
                  <a:pt x="34" y="3"/>
                </a:cubicBezTo>
                <a:cubicBezTo>
                  <a:pt x="36" y="4"/>
                  <a:pt x="36" y="4"/>
                  <a:pt x="36" y="4"/>
                </a:cubicBezTo>
                <a:cubicBezTo>
                  <a:pt x="37" y="3"/>
                  <a:pt x="37" y="3"/>
                  <a:pt x="37" y="3"/>
                </a:cubicBezTo>
                <a:cubicBezTo>
                  <a:pt x="39" y="3"/>
                  <a:pt x="39" y="3"/>
                  <a:pt x="39" y="3"/>
                </a:cubicBezTo>
                <a:cubicBezTo>
                  <a:pt x="42" y="5"/>
                  <a:pt x="42" y="5"/>
                  <a:pt x="42" y="5"/>
                </a:cubicBezTo>
                <a:cubicBezTo>
                  <a:pt x="42" y="4"/>
                  <a:pt x="42" y="4"/>
                  <a:pt x="42" y="4"/>
                </a:cubicBezTo>
                <a:cubicBezTo>
                  <a:pt x="43" y="4"/>
                  <a:pt x="43" y="4"/>
                  <a:pt x="43" y="4"/>
                </a:cubicBezTo>
                <a:cubicBezTo>
                  <a:pt x="44" y="3"/>
                  <a:pt x="44" y="3"/>
                  <a:pt x="44" y="3"/>
                </a:cubicBezTo>
                <a:close/>
                <a:moveTo>
                  <a:pt x="74" y="31"/>
                </a:moveTo>
                <a:cubicBezTo>
                  <a:pt x="76" y="31"/>
                  <a:pt x="76" y="31"/>
                  <a:pt x="76" y="31"/>
                </a:cubicBezTo>
                <a:cubicBezTo>
                  <a:pt x="77" y="31"/>
                  <a:pt x="77" y="31"/>
                  <a:pt x="77" y="31"/>
                </a:cubicBezTo>
                <a:cubicBezTo>
                  <a:pt x="78" y="31"/>
                  <a:pt x="78" y="31"/>
                  <a:pt x="78" y="31"/>
                </a:cubicBezTo>
                <a:cubicBezTo>
                  <a:pt x="76" y="30"/>
                  <a:pt x="76" y="30"/>
                  <a:pt x="76" y="30"/>
                </a:cubicBezTo>
                <a:cubicBezTo>
                  <a:pt x="74" y="30"/>
                  <a:pt x="74" y="30"/>
                  <a:pt x="74" y="30"/>
                </a:cubicBezTo>
                <a:cubicBezTo>
                  <a:pt x="74" y="31"/>
                  <a:pt x="74" y="31"/>
                  <a:pt x="74" y="31"/>
                </a:cubicBezTo>
                <a:close/>
                <a:moveTo>
                  <a:pt x="71" y="35"/>
                </a:moveTo>
                <a:cubicBezTo>
                  <a:pt x="71" y="33"/>
                  <a:pt x="71" y="33"/>
                  <a:pt x="71" y="33"/>
                </a:cubicBezTo>
                <a:cubicBezTo>
                  <a:pt x="73" y="32"/>
                  <a:pt x="73" y="32"/>
                  <a:pt x="73" y="32"/>
                </a:cubicBezTo>
                <a:cubicBezTo>
                  <a:pt x="71" y="32"/>
                  <a:pt x="71" y="32"/>
                  <a:pt x="71" y="32"/>
                </a:cubicBezTo>
                <a:cubicBezTo>
                  <a:pt x="70" y="32"/>
                  <a:pt x="70" y="32"/>
                  <a:pt x="70" y="32"/>
                </a:cubicBezTo>
                <a:cubicBezTo>
                  <a:pt x="69" y="33"/>
                  <a:pt x="69" y="33"/>
                  <a:pt x="69" y="33"/>
                </a:cubicBezTo>
                <a:cubicBezTo>
                  <a:pt x="68" y="34"/>
                  <a:pt x="68" y="34"/>
                  <a:pt x="68" y="34"/>
                </a:cubicBezTo>
                <a:cubicBezTo>
                  <a:pt x="70" y="34"/>
                  <a:pt x="70" y="34"/>
                  <a:pt x="70" y="34"/>
                </a:cubicBezTo>
                <a:cubicBezTo>
                  <a:pt x="71" y="35"/>
                  <a:pt x="71" y="35"/>
                  <a:pt x="71" y="35"/>
                </a:cubicBezTo>
                <a:close/>
                <a:moveTo>
                  <a:pt x="63" y="39"/>
                </a:moveTo>
                <a:cubicBezTo>
                  <a:pt x="64" y="38"/>
                  <a:pt x="64" y="38"/>
                  <a:pt x="64" y="38"/>
                </a:cubicBezTo>
                <a:cubicBezTo>
                  <a:pt x="64" y="37"/>
                  <a:pt x="64" y="37"/>
                  <a:pt x="64" y="37"/>
                </a:cubicBezTo>
                <a:cubicBezTo>
                  <a:pt x="64" y="37"/>
                  <a:pt x="64" y="37"/>
                  <a:pt x="64" y="37"/>
                </a:cubicBezTo>
                <a:cubicBezTo>
                  <a:pt x="62" y="37"/>
                  <a:pt x="62" y="37"/>
                  <a:pt x="62" y="37"/>
                </a:cubicBezTo>
                <a:cubicBezTo>
                  <a:pt x="62" y="38"/>
                  <a:pt x="62" y="38"/>
                  <a:pt x="62" y="38"/>
                </a:cubicBezTo>
                <a:lnTo>
                  <a:pt x="63" y="3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1" name="Freeform 79">
            <a:extLst>
              <a:ext uri="{FF2B5EF4-FFF2-40B4-BE49-F238E27FC236}">
                <a16:creationId xmlns:a16="http://schemas.microsoft.com/office/drawing/2014/main" id="{0C2E9019-2DB8-DB83-A415-165CE5E5A2E3}"/>
              </a:ext>
            </a:extLst>
          </p:cNvPr>
          <p:cNvSpPr>
            <a:spLocks/>
          </p:cNvSpPr>
          <p:nvPr userDrawn="1"/>
        </p:nvSpPr>
        <p:spPr bwMode="auto">
          <a:xfrm>
            <a:off x="12613454" y="6565181"/>
            <a:ext cx="187314" cy="387350"/>
          </a:xfrm>
          <a:custGeom>
            <a:avLst/>
            <a:gdLst>
              <a:gd name="T0" fmla="*/ 37 w 59"/>
              <a:gd name="T1" fmla="*/ 113 h 122"/>
              <a:gd name="T2" fmla="*/ 41 w 59"/>
              <a:gd name="T3" fmla="*/ 100 h 122"/>
              <a:gd name="T4" fmla="*/ 47 w 59"/>
              <a:gd name="T5" fmla="*/ 91 h 122"/>
              <a:gd name="T6" fmla="*/ 37 w 59"/>
              <a:gd name="T7" fmla="*/ 85 h 122"/>
              <a:gd name="T8" fmla="*/ 44 w 59"/>
              <a:gd name="T9" fmla="*/ 72 h 122"/>
              <a:gd name="T10" fmla="*/ 34 w 59"/>
              <a:gd name="T11" fmla="*/ 60 h 122"/>
              <a:gd name="T12" fmla="*/ 44 w 59"/>
              <a:gd name="T13" fmla="*/ 60 h 122"/>
              <a:gd name="T14" fmla="*/ 44 w 59"/>
              <a:gd name="T15" fmla="*/ 47 h 122"/>
              <a:gd name="T16" fmla="*/ 50 w 59"/>
              <a:gd name="T17" fmla="*/ 31 h 122"/>
              <a:gd name="T18" fmla="*/ 56 w 59"/>
              <a:gd name="T19" fmla="*/ 19 h 122"/>
              <a:gd name="T20" fmla="*/ 59 w 59"/>
              <a:gd name="T21" fmla="*/ 16 h 122"/>
              <a:gd name="T22" fmla="*/ 56 w 59"/>
              <a:gd name="T23" fmla="*/ 3 h 122"/>
              <a:gd name="T24" fmla="*/ 44 w 59"/>
              <a:gd name="T25" fmla="*/ 6 h 122"/>
              <a:gd name="T26" fmla="*/ 25 w 59"/>
              <a:gd name="T27" fmla="*/ 10 h 122"/>
              <a:gd name="T28" fmla="*/ 25 w 59"/>
              <a:gd name="T29" fmla="*/ 0 h 122"/>
              <a:gd name="T30" fmla="*/ 12 w 59"/>
              <a:gd name="T31" fmla="*/ 0 h 122"/>
              <a:gd name="T32" fmla="*/ 16 w 59"/>
              <a:gd name="T33" fmla="*/ 13 h 122"/>
              <a:gd name="T34" fmla="*/ 16 w 59"/>
              <a:gd name="T35" fmla="*/ 25 h 122"/>
              <a:gd name="T36" fmla="*/ 16 w 59"/>
              <a:gd name="T37" fmla="*/ 35 h 122"/>
              <a:gd name="T38" fmla="*/ 12 w 59"/>
              <a:gd name="T39" fmla="*/ 44 h 122"/>
              <a:gd name="T40" fmla="*/ 6 w 59"/>
              <a:gd name="T41" fmla="*/ 56 h 122"/>
              <a:gd name="T42" fmla="*/ 3 w 59"/>
              <a:gd name="T43" fmla="*/ 66 h 122"/>
              <a:gd name="T44" fmla="*/ 0 w 59"/>
              <a:gd name="T45" fmla="*/ 81 h 122"/>
              <a:gd name="T46" fmla="*/ 6 w 59"/>
              <a:gd name="T47" fmla="*/ 78 h 122"/>
              <a:gd name="T48" fmla="*/ 9 w 59"/>
              <a:gd name="T49" fmla="*/ 78 h 122"/>
              <a:gd name="T50" fmla="*/ 3 w 59"/>
              <a:gd name="T51" fmla="*/ 85 h 122"/>
              <a:gd name="T52" fmla="*/ 6 w 59"/>
              <a:gd name="T53" fmla="*/ 91 h 122"/>
              <a:gd name="T54" fmla="*/ 12 w 59"/>
              <a:gd name="T55" fmla="*/ 88 h 122"/>
              <a:gd name="T56" fmla="*/ 12 w 59"/>
              <a:gd name="T57" fmla="*/ 94 h 122"/>
              <a:gd name="T58" fmla="*/ 12 w 59"/>
              <a:gd name="T59" fmla="*/ 110 h 122"/>
              <a:gd name="T60" fmla="*/ 9 w 59"/>
              <a:gd name="T61" fmla="*/ 119 h 122"/>
              <a:gd name="T62" fmla="*/ 16 w 59"/>
              <a:gd name="T63" fmla="*/ 116 h 122"/>
              <a:gd name="T64" fmla="*/ 28 w 59"/>
              <a:gd name="T65" fmla="*/ 122 h 122"/>
              <a:gd name="T66" fmla="*/ 37 w 59"/>
              <a:gd name="T67" fmla="*/ 119 h 122"/>
              <a:gd name="T68" fmla="*/ 41 w 59"/>
              <a:gd name="T69" fmla="*/ 11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122">
                <a:moveTo>
                  <a:pt x="41" y="116"/>
                </a:moveTo>
                <a:lnTo>
                  <a:pt x="37" y="113"/>
                </a:lnTo>
                <a:lnTo>
                  <a:pt x="37" y="107"/>
                </a:lnTo>
                <a:lnTo>
                  <a:pt x="41" y="100"/>
                </a:lnTo>
                <a:lnTo>
                  <a:pt x="47" y="94"/>
                </a:lnTo>
                <a:lnTo>
                  <a:pt x="47" y="91"/>
                </a:lnTo>
                <a:lnTo>
                  <a:pt x="41" y="91"/>
                </a:lnTo>
                <a:lnTo>
                  <a:pt x="37" y="85"/>
                </a:lnTo>
                <a:lnTo>
                  <a:pt x="44" y="78"/>
                </a:lnTo>
                <a:lnTo>
                  <a:pt x="44" y="72"/>
                </a:lnTo>
                <a:lnTo>
                  <a:pt x="41" y="69"/>
                </a:lnTo>
                <a:lnTo>
                  <a:pt x="34" y="60"/>
                </a:lnTo>
                <a:lnTo>
                  <a:pt x="41" y="56"/>
                </a:lnTo>
                <a:lnTo>
                  <a:pt x="44" y="60"/>
                </a:lnTo>
                <a:lnTo>
                  <a:pt x="50" y="50"/>
                </a:lnTo>
                <a:lnTo>
                  <a:pt x="44" y="47"/>
                </a:lnTo>
                <a:lnTo>
                  <a:pt x="50" y="44"/>
                </a:lnTo>
                <a:lnTo>
                  <a:pt x="50" y="31"/>
                </a:lnTo>
                <a:lnTo>
                  <a:pt x="50" y="25"/>
                </a:lnTo>
                <a:lnTo>
                  <a:pt x="56" y="19"/>
                </a:lnTo>
                <a:lnTo>
                  <a:pt x="59" y="19"/>
                </a:lnTo>
                <a:lnTo>
                  <a:pt x="59" y="16"/>
                </a:lnTo>
                <a:lnTo>
                  <a:pt x="56" y="10"/>
                </a:lnTo>
                <a:lnTo>
                  <a:pt x="56" y="3"/>
                </a:lnTo>
                <a:lnTo>
                  <a:pt x="47" y="3"/>
                </a:lnTo>
                <a:lnTo>
                  <a:pt x="44" y="6"/>
                </a:lnTo>
                <a:lnTo>
                  <a:pt x="31" y="3"/>
                </a:lnTo>
                <a:lnTo>
                  <a:pt x="25" y="10"/>
                </a:lnTo>
                <a:lnTo>
                  <a:pt x="25" y="6"/>
                </a:lnTo>
                <a:lnTo>
                  <a:pt x="25" y="0"/>
                </a:lnTo>
                <a:lnTo>
                  <a:pt x="22" y="0"/>
                </a:lnTo>
                <a:lnTo>
                  <a:pt x="12" y="0"/>
                </a:lnTo>
                <a:lnTo>
                  <a:pt x="12" y="6"/>
                </a:lnTo>
                <a:lnTo>
                  <a:pt x="16" y="13"/>
                </a:lnTo>
                <a:lnTo>
                  <a:pt x="16" y="25"/>
                </a:lnTo>
                <a:lnTo>
                  <a:pt x="16" y="25"/>
                </a:lnTo>
                <a:lnTo>
                  <a:pt x="12" y="31"/>
                </a:lnTo>
                <a:lnTo>
                  <a:pt x="16" y="35"/>
                </a:lnTo>
                <a:lnTo>
                  <a:pt x="16" y="38"/>
                </a:lnTo>
                <a:lnTo>
                  <a:pt x="12" y="44"/>
                </a:lnTo>
                <a:lnTo>
                  <a:pt x="12" y="50"/>
                </a:lnTo>
                <a:lnTo>
                  <a:pt x="6" y="56"/>
                </a:lnTo>
                <a:lnTo>
                  <a:pt x="6" y="60"/>
                </a:lnTo>
                <a:lnTo>
                  <a:pt x="3" y="66"/>
                </a:lnTo>
                <a:lnTo>
                  <a:pt x="0" y="78"/>
                </a:lnTo>
                <a:lnTo>
                  <a:pt x="0" y="81"/>
                </a:lnTo>
                <a:lnTo>
                  <a:pt x="3" y="81"/>
                </a:lnTo>
                <a:lnTo>
                  <a:pt x="6" y="78"/>
                </a:lnTo>
                <a:lnTo>
                  <a:pt x="9" y="75"/>
                </a:lnTo>
                <a:lnTo>
                  <a:pt x="9" y="78"/>
                </a:lnTo>
                <a:lnTo>
                  <a:pt x="9" y="81"/>
                </a:lnTo>
                <a:lnTo>
                  <a:pt x="3" y="85"/>
                </a:lnTo>
                <a:lnTo>
                  <a:pt x="3" y="88"/>
                </a:lnTo>
                <a:lnTo>
                  <a:pt x="6" y="91"/>
                </a:lnTo>
                <a:lnTo>
                  <a:pt x="9" y="88"/>
                </a:lnTo>
                <a:lnTo>
                  <a:pt x="12" y="88"/>
                </a:lnTo>
                <a:lnTo>
                  <a:pt x="12" y="91"/>
                </a:lnTo>
                <a:lnTo>
                  <a:pt x="12" y="94"/>
                </a:lnTo>
                <a:lnTo>
                  <a:pt x="12" y="100"/>
                </a:lnTo>
                <a:lnTo>
                  <a:pt x="12" y="110"/>
                </a:lnTo>
                <a:lnTo>
                  <a:pt x="9" y="116"/>
                </a:lnTo>
                <a:lnTo>
                  <a:pt x="9" y="119"/>
                </a:lnTo>
                <a:lnTo>
                  <a:pt x="9" y="119"/>
                </a:lnTo>
                <a:lnTo>
                  <a:pt x="16" y="116"/>
                </a:lnTo>
                <a:lnTo>
                  <a:pt x="22" y="119"/>
                </a:lnTo>
                <a:lnTo>
                  <a:pt x="28" y="122"/>
                </a:lnTo>
                <a:lnTo>
                  <a:pt x="34" y="119"/>
                </a:lnTo>
                <a:lnTo>
                  <a:pt x="37" y="119"/>
                </a:lnTo>
                <a:lnTo>
                  <a:pt x="37" y="116"/>
                </a:lnTo>
                <a:lnTo>
                  <a:pt x="41" y="11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2" name="Freeform 80">
            <a:extLst>
              <a:ext uri="{FF2B5EF4-FFF2-40B4-BE49-F238E27FC236}">
                <a16:creationId xmlns:a16="http://schemas.microsoft.com/office/drawing/2014/main" id="{CA301A15-4F2F-F086-955C-468CB385F47F}"/>
              </a:ext>
            </a:extLst>
          </p:cNvPr>
          <p:cNvSpPr>
            <a:spLocks noEditPoints="1"/>
          </p:cNvSpPr>
          <p:nvPr userDrawn="1"/>
        </p:nvSpPr>
        <p:spPr bwMode="auto">
          <a:xfrm>
            <a:off x="14308789" y="6574707"/>
            <a:ext cx="536541" cy="527050"/>
          </a:xfrm>
          <a:custGeom>
            <a:avLst/>
            <a:gdLst>
              <a:gd name="T0" fmla="*/ 33 w 54"/>
              <a:gd name="T1" fmla="*/ 5 h 53"/>
              <a:gd name="T2" fmla="*/ 22 w 54"/>
              <a:gd name="T3" fmla="*/ 5 h 53"/>
              <a:gd name="T4" fmla="*/ 9 w 54"/>
              <a:gd name="T5" fmla="*/ 10 h 53"/>
              <a:gd name="T6" fmla="*/ 6 w 54"/>
              <a:gd name="T7" fmla="*/ 22 h 53"/>
              <a:gd name="T8" fmla="*/ 14 w 54"/>
              <a:gd name="T9" fmla="*/ 29 h 53"/>
              <a:gd name="T10" fmla="*/ 20 w 54"/>
              <a:gd name="T11" fmla="*/ 31 h 53"/>
              <a:gd name="T12" fmla="*/ 10 w 54"/>
              <a:gd name="T13" fmla="*/ 31 h 53"/>
              <a:gd name="T14" fmla="*/ 16 w 54"/>
              <a:gd name="T15" fmla="*/ 40 h 53"/>
              <a:gd name="T16" fmla="*/ 19 w 54"/>
              <a:gd name="T17" fmla="*/ 41 h 53"/>
              <a:gd name="T18" fmla="*/ 20 w 54"/>
              <a:gd name="T19" fmla="*/ 35 h 53"/>
              <a:gd name="T20" fmla="*/ 24 w 54"/>
              <a:gd name="T21" fmla="*/ 35 h 53"/>
              <a:gd name="T22" fmla="*/ 26 w 54"/>
              <a:gd name="T23" fmla="*/ 32 h 53"/>
              <a:gd name="T24" fmla="*/ 22 w 54"/>
              <a:gd name="T25" fmla="*/ 26 h 53"/>
              <a:gd name="T26" fmla="*/ 20 w 54"/>
              <a:gd name="T27" fmla="*/ 21 h 53"/>
              <a:gd name="T28" fmla="*/ 20 w 54"/>
              <a:gd name="T29" fmla="*/ 18 h 53"/>
              <a:gd name="T30" fmla="*/ 19 w 54"/>
              <a:gd name="T31" fmla="*/ 12 h 53"/>
              <a:gd name="T32" fmla="*/ 24 w 54"/>
              <a:gd name="T33" fmla="*/ 14 h 53"/>
              <a:gd name="T34" fmla="*/ 28 w 54"/>
              <a:gd name="T35" fmla="*/ 13 h 53"/>
              <a:gd name="T36" fmla="*/ 30 w 54"/>
              <a:gd name="T37" fmla="*/ 9 h 53"/>
              <a:gd name="T38" fmla="*/ 40 w 54"/>
              <a:gd name="T39" fmla="*/ 7 h 53"/>
              <a:gd name="T40" fmla="*/ 26 w 54"/>
              <a:gd name="T41" fmla="*/ 50 h 53"/>
              <a:gd name="T42" fmla="*/ 35 w 54"/>
              <a:gd name="T43" fmla="*/ 53 h 53"/>
              <a:gd name="T44" fmla="*/ 42 w 54"/>
              <a:gd name="T45" fmla="*/ 50 h 53"/>
              <a:gd name="T46" fmla="*/ 37 w 54"/>
              <a:gd name="T47" fmla="*/ 49 h 53"/>
              <a:gd name="T48" fmla="*/ 29 w 54"/>
              <a:gd name="T49" fmla="*/ 48 h 53"/>
              <a:gd name="T50" fmla="*/ 27 w 54"/>
              <a:gd name="T51" fmla="*/ 49 h 53"/>
              <a:gd name="T52" fmla="*/ 1 w 54"/>
              <a:gd name="T53" fmla="*/ 19 h 53"/>
              <a:gd name="T54" fmla="*/ 7 w 54"/>
              <a:gd name="T55" fmla="*/ 25 h 53"/>
              <a:gd name="T56" fmla="*/ 7 w 54"/>
              <a:gd name="T57" fmla="*/ 29 h 53"/>
              <a:gd name="T58" fmla="*/ 6 w 54"/>
              <a:gd name="T59" fmla="*/ 30 h 53"/>
              <a:gd name="T60" fmla="*/ 8 w 54"/>
              <a:gd name="T61" fmla="*/ 34 h 53"/>
              <a:gd name="T62" fmla="*/ 48 w 54"/>
              <a:gd name="T63" fmla="*/ 46 h 53"/>
              <a:gd name="T64" fmla="*/ 48 w 54"/>
              <a:gd name="T65" fmla="*/ 50 h 53"/>
              <a:gd name="T66" fmla="*/ 54 w 54"/>
              <a:gd name="T67" fmla="*/ 42 h 53"/>
              <a:gd name="T68" fmla="*/ 51 w 54"/>
              <a:gd name="T69" fmla="*/ 46 h 53"/>
              <a:gd name="T70" fmla="*/ 43 w 54"/>
              <a:gd name="T71" fmla="*/ 32 h 53"/>
              <a:gd name="T72" fmla="*/ 43 w 54"/>
              <a:gd name="T73" fmla="*/ 33 h 53"/>
              <a:gd name="T74" fmla="*/ 39 w 54"/>
              <a:gd name="T75" fmla="*/ 28 h 53"/>
              <a:gd name="T76" fmla="*/ 38 w 54"/>
              <a:gd name="T77" fmla="*/ 22 h 53"/>
              <a:gd name="T78" fmla="*/ 42 w 54"/>
              <a:gd name="T79" fmla="*/ 23 h 53"/>
              <a:gd name="T80" fmla="*/ 39 w 54"/>
              <a:gd name="T81" fmla="*/ 23 h 53"/>
              <a:gd name="T82" fmla="*/ 33 w 54"/>
              <a:gd name="T83" fmla="*/ 15 h 53"/>
              <a:gd name="T84" fmla="*/ 33 w 54"/>
              <a:gd name="T85" fmla="*/ 16 h 53"/>
              <a:gd name="T86" fmla="*/ 29 w 54"/>
              <a:gd name="T87" fmla="*/ 10 h 53"/>
              <a:gd name="T88" fmla="*/ 23 w 54"/>
              <a:gd name="T89" fmla="*/ 22 h 53"/>
              <a:gd name="T90" fmla="*/ 31 w 54"/>
              <a:gd name="T91" fmla="*/ 25 h 53"/>
              <a:gd name="T92" fmla="*/ 40 w 54"/>
              <a:gd name="T93" fmla="*/ 35 h 53"/>
              <a:gd name="T94" fmla="*/ 31 w 54"/>
              <a:gd name="T95" fmla="*/ 38 h 53"/>
              <a:gd name="T96" fmla="*/ 30 w 54"/>
              <a:gd name="T97" fmla="*/ 34 h 53"/>
              <a:gd name="T98" fmla="*/ 37 w 54"/>
              <a:gd name="T99" fmla="*/ 39 h 53"/>
              <a:gd name="T100" fmla="*/ 37 w 54"/>
              <a:gd name="T101" fmla="*/ 35 h 53"/>
              <a:gd name="T102" fmla="*/ 32 w 54"/>
              <a:gd name="T103" fmla="*/ 32 h 53"/>
              <a:gd name="T104" fmla="*/ 21 w 54"/>
              <a:gd name="T105" fmla="*/ 23 h 53"/>
              <a:gd name="T106" fmla="*/ 29 w 54"/>
              <a:gd name="T107" fmla="*/ 28 h 53"/>
              <a:gd name="T108" fmla="*/ 30 w 54"/>
              <a:gd name="T109" fmla="*/ 32 h 53"/>
              <a:gd name="T110" fmla="*/ 24 w 54"/>
              <a:gd name="T111" fmla="*/ 26 h 53"/>
              <a:gd name="T112" fmla="*/ 22 w 54"/>
              <a:gd name="T113" fmla="*/ 42 h 53"/>
              <a:gd name="T114" fmla="*/ 22 w 54"/>
              <a:gd name="T115" fmla="*/ 4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53">
                <a:moveTo>
                  <a:pt x="41" y="0"/>
                </a:moveTo>
                <a:cubicBezTo>
                  <a:pt x="40" y="0"/>
                  <a:pt x="40" y="0"/>
                  <a:pt x="40" y="0"/>
                </a:cubicBezTo>
                <a:cubicBezTo>
                  <a:pt x="38" y="2"/>
                  <a:pt x="38" y="2"/>
                  <a:pt x="38" y="2"/>
                </a:cubicBezTo>
                <a:cubicBezTo>
                  <a:pt x="38" y="3"/>
                  <a:pt x="38" y="3"/>
                  <a:pt x="38" y="3"/>
                </a:cubicBezTo>
                <a:cubicBezTo>
                  <a:pt x="39" y="4"/>
                  <a:pt x="39" y="4"/>
                  <a:pt x="39" y="4"/>
                </a:cubicBezTo>
                <a:cubicBezTo>
                  <a:pt x="38" y="5"/>
                  <a:pt x="38" y="5"/>
                  <a:pt x="38" y="5"/>
                </a:cubicBezTo>
                <a:cubicBezTo>
                  <a:pt x="35" y="5"/>
                  <a:pt x="35" y="5"/>
                  <a:pt x="35" y="5"/>
                </a:cubicBezTo>
                <a:cubicBezTo>
                  <a:pt x="34" y="5"/>
                  <a:pt x="34" y="5"/>
                  <a:pt x="34" y="5"/>
                </a:cubicBezTo>
                <a:cubicBezTo>
                  <a:pt x="33" y="5"/>
                  <a:pt x="33" y="5"/>
                  <a:pt x="33" y="5"/>
                </a:cubicBezTo>
                <a:cubicBezTo>
                  <a:pt x="32" y="5"/>
                  <a:pt x="32" y="5"/>
                  <a:pt x="32" y="5"/>
                </a:cubicBezTo>
                <a:cubicBezTo>
                  <a:pt x="31" y="5"/>
                  <a:pt x="31" y="5"/>
                  <a:pt x="31" y="5"/>
                </a:cubicBezTo>
                <a:cubicBezTo>
                  <a:pt x="30" y="5"/>
                  <a:pt x="30" y="5"/>
                  <a:pt x="30" y="5"/>
                </a:cubicBezTo>
                <a:cubicBezTo>
                  <a:pt x="30" y="4"/>
                  <a:pt x="30" y="4"/>
                  <a:pt x="30" y="4"/>
                </a:cubicBezTo>
                <a:cubicBezTo>
                  <a:pt x="28" y="4"/>
                  <a:pt x="28" y="4"/>
                  <a:pt x="28" y="4"/>
                </a:cubicBezTo>
                <a:cubicBezTo>
                  <a:pt x="26" y="4"/>
                  <a:pt x="26" y="4"/>
                  <a:pt x="26" y="4"/>
                </a:cubicBezTo>
                <a:cubicBezTo>
                  <a:pt x="25" y="5"/>
                  <a:pt x="25" y="5"/>
                  <a:pt x="25" y="5"/>
                </a:cubicBezTo>
                <a:cubicBezTo>
                  <a:pt x="24" y="5"/>
                  <a:pt x="24" y="5"/>
                  <a:pt x="24" y="5"/>
                </a:cubicBezTo>
                <a:cubicBezTo>
                  <a:pt x="22" y="5"/>
                  <a:pt x="22" y="5"/>
                  <a:pt x="22" y="5"/>
                </a:cubicBezTo>
                <a:cubicBezTo>
                  <a:pt x="21" y="5"/>
                  <a:pt x="21" y="5"/>
                  <a:pt x="21" y="5"/>
                </a:cubicBezTo>
                <a:cubicBezTo>
                  <a:pt x="20" y="6"/>
                  <a:pt x="20" y="6"/>
                  <a:pt x="20" y="6"/>
                </a:cubicBezTo>
                <a:cubicBezTo>
                  <a:pt x="19" y="6"/>
                  <a:pt x="19" y="6"/>
                  <a:pt x="19" y="6"/>
                </a:cubicBezTo>
                <a:cubicBezTo>
                  <a:pt x="18" y="7"/>
                  <a:pt x="18" y="7"/>
                  <a:pt x="18" y="7"/>
                </a:cubicBezTo>
                <a:cubicBezTo>
                  <a:pt x="15" y="7"/>
                  <a:pt x="15" y="7"/>
                  <a:pt x="15" y="7"/>
                </a:cubicBezTo>
                <a:cubicBezTo>
                  <a:pt x="13" y="7"/>
                  <a:pt x="13" y="7"/>
                  <a:pt x="13" y="7"/>
                </a:cubicBezTo>
                <a:cubicBezTo>
                  <a:pt x="13" y="8"/>
                  <a:pt x="13" y="8"/>
                  <a:pt x="13" y="8"/>
                </a:cubicBezTo>
                <a:cubicBezTo>
                  <a:pt x="11" y="8"/>
                  <a:pt x="11" y="8"/>
                  <a:pt x="11" y="8"/>
                </a:cubicBezTo>
                <a:cubicBezTo>
                  <a:pt x="9" y="10"/>
                  <a:pt x="9" y="10"/>
                  <a:pt x="9" y="10"/>
                </a:cubicBezTo>
                <a:cubicBezTo>
                  <a:pt x="9" y="12"/>
                  <a:pt x="9" y="12"/>
                  <a:pt x="9" y="12"/>
                </a:cubicBezTo>
                <a:cubicBezTo>
                  <a:pt x="8" y="14"/>
                  <a:pt x="8" y="14"/>
                  <a:pt x="8" y="14"/>
                </a:cubicBezTo>
                <a:cubicBezTo>
                  <a:pt x="5" y="14"/>
                  <a:pt x="5" y="14"/>
                  <a:pt x="5" y="14"/>
                </a:cubicBezTo>
                <a:cubicBezTo>
                  <a:pt x="5" y="16"/>
                  <a:pt x="5" y="16"/>
                  <a:pt x="5" y="16"/>
                </a:cubicBezTo>
                <a:cubicBezTo>
                  <a:pt x="4" y="18"/>
                  <a:pt x="4" y="18"/>
                  <a:pt x="4" y="18"/>
                </a:cubicBezTo>
                <a:cubicBezTo>
                  <a:pt x="3" y="18"/>
                  <a:pt x="3" y="18"/>
                  <a:pt x="3" y="18"/>
                </a:cubicBezTo>
                <a:cubicBezTo>
                  <a:pt x="4" y="18"/>
                  <a:pt x="4" y="18"/>
                  <a:pt x="4" y="18"/>
                </a:cubicBezTo>
                <a:cubicBezTo>
                  <a:pt x="4" y="20"/>
                  <a:pt x="4" y="20"/>
                  <a:pt x="4" y="20"/>
                </a:cubicBezTo>
                <a:cubicBezTo>
                  <a:pt x="6" y="22"/>
                  <a:pt x="6" y="22"/>
                  <a:pt x="6" y="22"/>
                </a:cubicBezTo>
                <a:cubicBezTo>
                  <a:pt x="7" y="24"/>
                  <a:pt x="7" y="24"/>
                  <a:pt x="7" y="24"/>
                </a:cubicBezTo>
                <a:cubicBezTo>
                  <a:pt x="8" y="24"/>
                  <a:pt x="8" y="24"/>
                  <a:pt x="8" y="24"/>
                </a:cubicBezTo>
                <a:cubicBezTo>
                  <a:pt x="8" y="24"/>
                  <a:pt x="8" y="24"/>
                  <a:pt x="8" y="24"/>
                </a:cubicBezTo>
                <a:cubicBezTo>
                  <a:pt x="9" y="27"/>
                  <a:pt x="9" y="27"/>
                  <a:pt x="9" y="27"/>
                </a:cubicBezTo>
                <a:cubicBezTo>
                  <a:pt x="10" y="28"/>
                  <a:pt x="10" y="28"/>
                  <a:pt x="10" y="28"/>
                </a:cubicBezTo>
                <a:cubicBezTo>
                  <a:pt x="11" y="29"/>
                  <a:pt x="11" y="29"/>
                  <a:pt x="11" y="29"/>
                </a:cubicBezTo>
                <a:cubicBezTo>
                  <a:pt x="12" y="27"/>
                  <a:pt x="12" y="27"/>
                  <a:pt x="12" y="27"/>
                </a:cubicBezTo>
                <a:cubicBezTo>
                  <a:pt x="13" y="29"/>
                  <a:pt x="13" y="29"/>
                  <a:pt x="13" y="29"/>
                </a:cubicBezTo>
                <a:cubicBezTo>
                  <a:pt x="14" y="29"/>
                  <a:pt x="14" y="29"/>
                  <a:pt x="14" y="29"/>
                </a:cubicBezTo>
                <a:cubicBezTo>
                  <a:pt x="15" y="28"/>
                  <a:pt x="15" y="28"/>
                  <a:pt x="15" y="28"/>
                </a:cubicBezTo>
                <a:cubicBezTo>
                  <a:pt x="16" y="28"/>
                  <a:pt x="16" y="28"/>
                  <a:pt x="16" y="28"/>
                </a:cubicBezTo>
                <a:cubicBezTo>
                  <a:pt x="17" y="29"/>
                  <a:pt x="17" y="29"/>
                  <a:pt x="17" y="29"/>
                </a:cubicBezTo>
                <a:cubicBezTo>
                  <a:pt x="18" y="29"/>
                  <a:pt x="18" y="29"/>
                  <a:pt x="18" y="29"/>
                </a:cubicBezTo>
                <a:cubicBezTo>
                  <a:pt x="19" y="29"/>
                  <a:pt x="19" y="29"/>
                  <a:pt x="19" y="29"/>
                </a:cubicBezTo>
                <a:cubicBezTo>
                  <a:pt x="19" y="29"/>
                  <a:pt x="19" y="29"/>
                  <a:pt x="19" y="29"/>
                </a:cubicBezTo>
                <a:cubicBezTo>
                  <a:pt x="20" y="30"/>
                  <a:pt x="20" y="30"/>
                  <a:pt x="20" y="30"/>
                </a:cubicBezTo>
                <a:cubicBezTo>
                  <a:pt x="21" y="30"/>
                  <a:pt x="21" y="30"/>
                  <a:pt x="21" y="30"/>
                </a:cubicBezTo>
                <a:cubicBezTo>
                  <a:pt x="20" y="31"/>
                  <a:pt x="20" y="31"/>
                  <a:pt x="20" y="31"/>
                </a:cubicBezTo>
                <a:cubicBezTo>
                  <a:pt x="20" y="32"/>
                  <a:pt x="20" y="32"/>
                  <a:pt x="20" y="32"/>
                </a:cubicBezTo>
                <a:cubicBezTo>
                  <a:pt x="19" y="31"/>
                  <a:pt x="19" y="31"/>
                  <a:pt x="19" y="31"/>
                </a:cubicBezTo>
                <a:cubicBezTo>
                  <a:pt x="18" y="31"/>
                  <a:pt x="18" y="31"/>
                  <a:pt x="18" y="31"/>
                </a:cubicBezTo>
                <a:cubicBezTo>
                  <a:pt x="15" y="29"/>
                  <a:pt x="15" y="29"/>
                  <a:pt x="15" y="29"/>
                </a:cubicBezTo>
                <a:cubicBezTo>
                  <a:pt x="14" y="29"/>
                  <a:pt x="14" y="29"/>
                  <a:pt x="14" y="29"/>
                </a:cubicBezTo>
                <a:cubicBezTo>
                  <a:pt x="13" y="30"/>
                  <a:pt x="13" y="30"/>
                  <a:pt x="13" y="30"/>
                </a:cubicBezTo>
                <a:cubicBezTo>
                  <a:pt x="12" y="29"/>
                  <a:pt x="12" y="29"/>
                  <a:pt x="12" y="29"/>
                </a:cubicBezTo>
                <a:cubicBezTo>
                  <a:pt x="11" y="31"/>
                  <a:pt x="11" y="31"/>
                  <a:pt x="11" y="31"/>
                </a:cubicBezTo>
                <a:cubicBezTo>
                  <a:pt x="10" y="31"/>
                  <a:pt x="10" y="31"/>
                  <a:pt x="10" y="31"/>
                </a:cubicBezTo>
                <a:cubicBezTo>
                  <a:pt x="10" y="32"/>
                  <a:pt x="10" y="32"/>
                  <a:pt x="10" y="32"/>
                </a:cubicBezTo>
                <a:cubicBezTo>
                  <a:pt x="11" y="33"/>
                  <a:pt x="11" y="33"/>
                  <a:pt x="11" y="33"/>
                </a:cubicBezTo>
                <a:cubicBezTo>
                  <a:pt x="13" y="34"/>
                  <a:pt x="13" y="34"/>
                  <a:pt x="13" y="34"/>
                </a:cubicBezTo>
                <a:cubicBezTo>
                  <a:pt x="14" y="35"/>
                  <a:pt x="14" y="35"/>
                  <a:pt x="14" y="35"/>
                </a:cubicBezTo>
                <a:cubicBezTo>
                  <a:pt x="14" y="36"/>
                  <a:pt x="14" y="36"/>
                  <a:pt x="14" y="36"/>
                </a:cubicBezTo>
                <a:cubicBezTo>
                  <a:pt x="14" y="37"/>
                  <a:pt x="14" y="37"/>
                  <a:pt x="14" y="37"/>
                </a:cubicBezTo>
                <a:cubicBezTo>
                  <a:pt x="14" y="38"/>
                  <a:pt x="14" y="38"/>
                  <a:pt x="14" y="38"/>
                </a:cubicBezTo>
                <a:cubicBezTo>
                  <a:pt x="15" y="39"/>
                  <a:pt x="15" y="39"/>
                  <a:pt x="15" y="39"/>
                </a:cubicBezTo>
                <a:cubicBezTo>
                  <a:pt x="16" y="40"/>
                  <a:pt x="16" y="40"/>
                  <a:pt x="16" y="40"/>
                </a:cubicBezTo>
                <a:cubicBezTo>
                  <a:pt x="16" y="39"/>
                  <a:pt x="16" y="39"/>
                  <a:pt x="16" y="39"/>
                </a:cubicBezTo>
                <a:cubicBezTo>
                  <a:pt x="16" y="39"/>
                  <a:pt x="16" y="39"/>
                  <a:pt x="16" y="39"/>
                </a:cubicBezTo>
                <a:cubicBezTo>
                  <a:pt x="16" y="38"/>
                  <a:pt x="16" y="38"/>
                  <a:pt x="16" y="38"/>
                </a:cubicBezTo>
                <a:cubicBezTo>
                  <a:pt x="17" y="39"/>
                  <a:pt x="17" y="39"/>
                  <a:pt x="17" y="39"/>
                </a:cubicBezTo>
                <a:cubicBezTo>
                  <a:pt x="18" y="40"/>
                  <a:pt x="18" y="40"/>
                  <a:pt x="18" y="40"/>
                </a:cubicBezTo>
                <a:cubicBezTo>
                  <a:pt x="19" y="41"/>
                  <a:pt x="19" y="41"/>
                  <a:pt x="19" y="41"/>
                </a:cubicBezTo>
                <a:cubicBezTo>
                  <a:pt x="18" y="42"/>
                  <a:pt x="18" y="42"/>
                  <a:pt x="18" y="42"/>
                </a:cubicBezTo>
                <a:cubicBezTo>
                  <a:pt x="19" y="43"/>
                  <a:pt x="19" y="43"/>
                  <a:pt x="19" y="43"/>
                </a:cubicBezTo>
                <a:cubicBezTo>
                  <a:pt x="19" y="41"/>
                  <a:pt x="19" y="41"/>
                  <a:pt x="19" y="41"/>
                </a:cubicBezTo>
                <a:cubicBezTo>
                  <a:pt x="20" y="39"/>
                  <a:pt x="20" y="39"/>
                  <a:pt x="20" y="39"/>
                </a:cubicBezTo>
                <a:cubicBezTo>
                  <a:pt x="21" y="39"/>
                  <a:pt x="21" y="39"/>
                  <a:pt x="21" y="39"/>
                </a:cubicBezTo>
                <a:cubicBezTo>
                  <a:pt x="21" y="41"/>
                  <a:pt x="21" y="41"/>
                  <a:pt x="21" y="41"/>
                </a:cubicBezTo>
                <a:cubicBezTo>
                  <a:pt x="23" y="42"/>
                  <a:pt x="23" y="42"/>
                  <a:pt x="23" y="42"/>
                </a:cubicBezTo>
                <a:cubicBezTo>
                  <a:pt x="22" y="41"/>
                  <a:pt x="22" y="41"/>
                  <a:pt x="22" y="41"/>
                </a:cubicBezTo>
                <a:cubicBezTo>
                  <a:pt x="22" y="40"/>
                  <a:pt x="22" y="40"/>
                  <a:pt x="22" y="40"/>
                </a:cubicBezTo>
                <a:cubicBezTo>
                  <a:pt x="22" y="38"/>
                  <a:pt x="22" y="38"/>
                  <a:pt x="22" y="38"/>
                </a:cubicBezTo>
                <a:cubicBezTo>
                  <a:pt x="21" y="36"/>
                  <a:pt x="21" y="36"/>
                  <a:pt x="21" y="36"/>
                </a:cubicBezTo>
                <a:cubicBezTo>
                  <a:pt x="20" y="35"/>
                  <a:pt x="20" y="35"/>
                  <a:pt x="20" y="35"/>
                </a:cubicBezTo>
                <a:cubicBezTo>
                  <a:pt x="20" y="35"/>
                  <a:pt x="20" y="35"/>
                  <a:pt x="20" y="35"/>
                </a:cubicBezTo>
                <a:cubicBezTo>
                  <a:pt x="21" y="35"/>
                  <a:pt x="21" y="35"/>
                  <a:pt x="21" y="35"/>
                </a:cubicBezTo>
                <a:cubicBezTo>
                  <a:pt x="22" y="35"/>
                  <a:pt x="22" y="35"/>
                  <a:pt x="22" y="35"/>
                </a:cubicBezTo>
                <a:cubicBezTo>
                  <a:pt x="22" y="36"/>
                  <a:pt x="22" y="36"/>
                  <a:pt x="22" y="36"/>
                </a:cubicBezTo>
                <a:cubicBezTo>
                  <a:pt x="22" y="36"/>
                  <a:pt x="22" y="36"/>
                  <a:pt x="22" y="36"/>
                </a:cubicBezTo>
                <a:cubicBezTo>
                  <a:pt x="23" y="36"/>
                  <a:pt x="23" y="36"/>
                  <a:pt x="23" y="36"/>
                </a:cubicBezTo>
                <a:cubicBezTo>
                  <a:pt x="25" y="36"/>
                  <a:pt x="25" y="36"/>
                  <a:pt x="25" y="36"/>
                </a:cubicBezTo>
                <a:cubicBezTo>
                  <a:pt x="25" y="36"/>
                  <a:pt x="25" y="36"/>
                  <a:pt x="25" y="36"/>
                </a:cubicBezTo>
                <a:cubicBezTo>
                  <a:pt x="24" y="35"/>
                  <a:pt x="24" y="35"/>
                  <a:pt x="24" y="35"/>
                </a:cubicBezTo>
                <a:cubicBezTo>
                  <a:pt x="24" y="35"/>
                  <a:pt x="24" y="35"/>
                  <a:pt x="24" y="35"/>
                </a:cubicBezTo>
                <a:cubicBezTo>
                  <a:pt x="23" y="35"/>
                  <a:pt x="23" y="35"/>
                  <a:pt x="23" y="35"/>
                </a:cubicBezTo>
                <a:cubicBezTo>
                  <a:pt x="22" y="34"/>
                  <a:pt x="22" y="34"/>
                  <a:pt x="22" y="34"/>
                </a:cubicBezTo>
                <a:cubicBezTo>
                  <a:pt x="22" y="33"/>
                  <a:pt x="22" y="33"/>
                  <a:pt x="22" y="33"/>
                </a:cubicBezTo>
                <a:cubicBezTo>
                  <a:pt x="21" y="32"/>
                  <a:pt x="21" y="32"/>
                  <a:pt x="21" y="32"/>
                </a:cubicBezTo>
                <a:cubicBezTo>
                  <a:pt x="22" y="32"/>
                  <a:pt x="22" y="32"/>
                  <a:pt x="22" y="32"/>
                </a:cubicBezTo>
                <a:cubicBezTo>
                  <a:pt x="23" y="32"/>
                  <a:pt x="23" y="32"/>
                  <a:pt x="23" y="32"/>
                </a:cubicBezTo>
                <a:cubicBezTo>
                  <a:pt x="24" y="31"/>
                  <a:pt x="24" y="31"/>
                  <a:pt x="24" y="31"/>
                </a:cubicBezTo>
                <a:cubicBezTo>
                  <a:pt x="26" y="32"/>
                  <a:pt x="26" y="32"/>
                  <a:pt x="26" y="32"/>
                </a:cubicBezTo>
                <a:cubicBezTo>
                  <a:pt x="26" y="33"/>
                  <a:pt x="26" y="33"/>
                  <a:pt x="26" y="33"/>
                </a:cubicBezTo>
                <a:cubicBezTo>
                  <a:pt x="27" y="33"/>
                  <a:pt x="27" y="33"/>
                  <a:pt x="27" y="33"/>
                </a:cubicBezTo>
                <a:cubicBezTo>
                  <a:pt x="28" y="32"/>
                  <a:pt x="28" y="32"/>
                  <a:pt x="28" y="32"/>
                </a:cubicBezTo>
                <a:cubicBezTo>
                  <a:pt x="27" y="31"/>
                  <a:pt x="27" y="31"/>
                  <a:pt x="27" y="31"/>
                </a:cubicBezTo>
                <a:cubicBezTo>
                  <a:pt x="27" y="29"/>
                  <a:pt x="27" y="29"/>
                  <a:pt x="27" y="29"/>
                </a:cubicBezTo>
                <a:cubicBezTo>
                  <a:pt x="26" y="29"/>
                  <a:pt x="26" y="29"/>
                  <a:pt x="26" y="29"/>
                </a:cubicBezTo>
                <a:cubicBezTo>
                  <a:pt x="23" y="27"/>
                  <a:pt x="23" y="27"/>
                  <a:pt x="23" y="27"/>
                </a:cubicBezTo>
                <a:cubicBezTo>
                  <a:pt x="23" y="27"/>
                  <a:pt x="23" y="27"/>
                  <a:pt x="23" y="27"/>
                </a:cubicBezTo>
                <a:cubicBezTo>
                  <a:pt x="22" y="26"/>
                  <a:pt x="22" y="26"/>
                  <a:pt x="22" y="26"/>
                </a:cubicBezTo>
                <a:cubicBezTo>
                  <a:pt x="21" y="26"/>
                  <a:pt x="21" y="26"/>
                  <a:pt x="21" y="26"/>
                </a:cubicBezTo>
                <a:cubicBezTo>
                  <a:pt x="21" y="25"/>
                  <a:pt x="21" y="25"/>
                  <a:pt x="21" y="25"/>
                </a:cubicBezTo>
                <a:cubicBezTo>
                  <a:pt x="20" y="25"/>
                  <a:pt x="20" y="25"/>
                  <a:pt x="20" y="25"/>
                </a:cubicBezTo>
                <a:cubicBezTo>
                  <a:pt x="18" y="24"/>
                  <a:pt x="18" y="24"/>
                  <a:pt x="18" y="24"/>
                </a:cubicBezTo>
                <a:cubicBezTo>
                  <a:pt x="20" y="24"/>
                  <a:pt x="20" y="24"/>
                  <a:pt x="20" y="24"/>
                </a:cubicBezTo>
                <a:cubicBezTo>
                  <a:pt x="20" y="23"/>
                  <a:pt x="20" y="23"/>
                  <a:pt x="20" y="23"/>
                </a:cubicBezTo>
                <a:cubicBezTo>
                  <a:pt x="20" y="22"/>
                  <a:pt x="20" y="22"/>
                  <a:pt x="20" y="22"/>
                </a:cubicBezTo>
                <a:cubicBezTo>
                  <a:pt x="19" y="22"/>
                  <a:pt x="19" y="22"/>
                  <a:pt x="19" y="22"/>
                </a:cubicBezTo>
                <a:cubicBezTo>
                  <a:pt x="20" y="21"/>
                  <a:pt x="20" y="21"/>
                  <a:pt x="20" y="21"/>
                </a:cubicBezTo>
                <a:cubicBezTo>
                  <a:pt x="20" y="20"/>
                  <a:pt x="20" y="20"/>
                  <a:pt x="20" y="20"/>
                </a:cubicBezTo>
                <a:cubicBezTo>
                  <a:pt x="21" y="21"/>
                  <a:pt x="21" y="21"/>
                  <a:pt x="21" y="21"/>
                </a:cubicBezTo>
                <a:cubicBezTo>
                  <a:pt x="22" y="21"/>
                  <a:pt x="22" y="21"/>
                  <a:pt x="22" y="21"/>
                </a:cubicBezTo>
                <a:cubicBezTo>
                  <a:pt x="21" y="22"/>
                  <a:pt x="21" y="22"/>
                  <a:pt x="21" y="22"/>
                </a:cubicBezTo>
                <a:cubicBezTo>
                  <a:pt x="21" y="23"/>
                  <a:pt x="21" y="23"/>
                  <a:pt x="21" y="23"/>
                </a:cubicBezTo>
                <a:cubicBezTo>
                  <a:pt x="22" y="23"/>
                  <a:pt x="22" y="23"/>
                  <a:pt x="22" y="23"/>
                </a:cubicBezTo>
                <a:cubicBezTo>
                  <a:pt x="22" y="21"/>
                  <a:pt x="22" y="21"/>
                  <a:pt x="22" y="21"/>
                </a:cubicBezTo>
                <a:cubicBezTo>
                  <a:pt x="22" y="20"/>
                  <a:pt x="22" y="20"/>
                  <a:pt x="22" y="20"/>
                </a:cubicBezTo>
                <a:cubicBezTo>
                  <a:pt x="20" y="18"/>
                  <a:pt x="20" y="18"/>
                  <a:pt x="20" y="18"/>
                </a:cubicBezTo>
                <a:cubicBezTo>
                  <a:pt x="19" y="17"/>
                  <a:pt x="19" y="17"/>
                  <a:pt x="19" y="17"/>
                </a:cubicBezTo>
                <a:cubicBezTo>
                  <a:pt x="19" y="16"/>
                  <a:pt x="19" y="16"/>
                  <a:pt x="19" y="16"/>
                </a:cubicBezTo>
                <a:cubicBezTo>
                  <a:pt x="17" y="15"/>
                  <a:pt x="17" y="15"/>
                  <a:pt x="17" y="15"/>
                </a:cubicBezTo>
                <a:cubicBezTo>
                  <a:pt x="18" y="14"/>
                  <a:pt x="18" y="14"/>
                  <a:pt x="18" y="14"/>
                </a:cubicBezTo>
                <a:cubicBezTo>
                  <a:pt x="17" y="12"/>
                  <a:pt x="17" y="12"/>
                  <a:pt x="17" y="12"/>
                </a:cubicBezTo>
                <a:cubicBezTo>
                  <a:pt x="18" y="11"/>
                  <a:pt x="18" y="11"/>
                  <a:pt x="18" y="11"/>
                </a:cubicBezTo>
                <a:cubicBezTo>
                  <a:pt x="20" y="10"/>
                  <a:pt x="20" y="10"/>
                  <a:pt x="20" y="10"/>
                </a:cubicBezTo>
                <a:cubicBezTo>
                  <a:pt x="20" y="12"/>
                  <a:pt x="20" y="12"/>
                  <a:pt x="20" y="12"/>
                </a:cubicBezTo>
                <a:cubicBezTo>
                  <a:pt x="19" y="12"/>
                  <a:pt x="19" y="12"/>
                  <a:pt x="19" y="12"/>
                </a:cubicBezTo>
                <a:cubicBezTo>
                  <a:pt x="19" y="12"/>
                  <a:pt x="19" y="12"/>
                  <a:pt x="19" y="12"/>
                </a:cubicBezTo>
                <a:cubicBezTo>
                  <a:pt x="21" y="13"/>
                  <a:pt x="21" y="13"/>
                  <a:pt x="21" y="13"/>
                </a:cubicBezTo>
                <a:cubicBezTo>
                  <a:pt x="22" y="15"/>
                  <a:pt x="22" y="15"/>
                  <a:pt x="22" y="15"/>
                </a:cubicBezTo>
                <a:cubicBezTo>
                  <a:pt x="23" y="16"/>
                  <a:pt x="23" y="16"/>
                  <a:pt x="23" y="16"/>
                </a:cubicBezTo>
                <a:cubicBezTo>
                  <a:pt x="24" y="16"/>
                  <a:pt x="24" y="16"/>
                  <a:pt x="24" y="16"/>
                </a:cubicBezTo>
                <a:cubicBezTo>
                  <a:pt x="23" y="15"/>
                  <a:pt x="23" y="15"/>
                  <a:pt x="23" y="15"/>
                </a:cubicBezTo>
                <a:cubicBezTo>
                  <a:pt x="23" y="14"/>
                  <a:pt x="23" y="14"/>
                  <a:pt x="23" y="14"/>
                </a:cubicBezTo>
                <a:cubicBezTo>
                  <a:pt x="23" y="13"/>
                  <a:pt x="23" y="13"/>
                  <a:pt x="23" y="13"/>
                </a:cubicBezTo>
                <a:cubicBezTo>
                  <a:pt x="24" y="14"/>
                  <a:pt x="24" y="14"/>
                  <a:pt x="24" y="14"/>
                </a:cubicBezTo>
                <a:cubicBezTo>
                  <a:pt x="25" y="15"/>
                  <a:pt x="25" y="15"/>
                  <a:pt x="25" y="15"/>
                </a:cubicBezTo>
                <a:cubicBezTo>
                  <a:pt x="26" y="15"/>
                  <a:pt x="26" y="15"/>
                  <a:pt x="26" y="15"/>
                </a:cubicBezTo>
                <a:cubicBezTo>
                  <a:pt x="26" y="14"/>
                  <a:pt x="26" y="14"/>
                  <a:pt x="26" y="14"/>
                </a:cubicBezTo>
                <a:cubicBezTo>
                  <a:pt x="26" y="14"/>
                  <a:pt x="26" y="14"/>
                  <a:pt x="26" y="14"/>
                </a:cubicBezTo>
                <a:cubicBezTo>
                  <a:pt x="25" y="13"/>
                  <a:pt x="25" y="13"/>
                  <a:pt x="25" y="13"/>
                </a:cubicBezTo>
                <a:cubicBezTo>
                  <a:pt x="25" y="13"/>
                  <a:pt x="25" y="13"/>
                  <a:pt x="25" y="13"/>
                </a:cubicBezTo>
                <a:cubicBezTo>
                  <a:pt x="27" y="13"/>
                  <a:pt x="27" y="13"/>
                  <a:pt x="27" y="13"/>
                </a:cubicBezTo>
                <a:cubicBezTo>
                  <a:pt x="28" y="14"/>
                  <a:pt x="28" y="14"/>
                  <a:pt x="28" y="14"/>
                </a:cubicBezTo>
                <a:cubicBezTo>
                  <a:pt x="28" y="13"/>
                  <a:pt x="28" y="13"/>
                  <a:pt x="28" y="13"/>
                </a:cubicBezTo>
                <a:cubicBezTo>
                  <a:pt x="27" y="12"/>
                  <a:pt x="27" y="12"/>
                  <a:pt x="27" y="12"/>
                </a:cubicBezTo>
                <a:cubicBezTo>
                  <a:pt x="26" y="12"/>
                  <a:pt x="26" y="12"/>
                  <a:pt x="26" y="12"/>
                </a:cubicBezTo>
                <a:cubicBezTo>
                  <a:pt x="24" y="10"/>
                  <a:pt x="24" y="10"/>
                  <a:pt x="24" y="10"/>
                </a:cubicBezTo>
                <a:cubicBezTo>
                  <a:pt x="25" y="10"/>
                  <a:pt x="25" y="10"/>
                  <a:pt x="25" y="10"/>
                </a:cubicBezTo>
                <a:cubicBezTo>
                  <a:pt x="26" y="10"/>
                  <a:pt x="26" y="10"/>
                  <a:pt x="26" y="10"/>
                </a:cubicBezTo>
                <a:cubicBezTo>
                  <a:pt x="27" y="9"/>
                  <a:pt x="27" y="9"/>
                  <a:pt x="27" y="9"/>
                </a:cubicBezTo>
                <a:cubicBezTo>
                  <a:pt x="28" y="8"/>
                  <a:pt x="28" y="8"/>
                  <a:pt x="28" y="8"/>
                </a:cubicBezTo>
                <a:cubicBezTo>
                  <a:pt x="29" y="7"/>
                  <a:pt x="29" y="7"/>
                  <a:pt x="29" y="7"/>
                </a:cubicBezTo>
                <a:cubicBezTo>
                  <a:pt x="30" y="9"/>
                  <a:pt x="30" y="9"/>
                  <a:pt x="30" y="9"/>
                </a:cubicBezTo>
                <a:cubicBezTo>
                  <a:pt x="31" y="9"/>
                  <a:pt x="31" y="9"/>
                  <a:pt x="31" y="9"/>
                </a:cubicBezTo>
                <a:cubicBezTo>
                  <a:pt x="32" y="7"/>
                  <a:pt x="32" y="7"/>
                  <a:pt x="32" y="7"/>
                </a:cubicBezTo>
                <a:cubicBezTo>
                  <a:pt x="32" y="7"/>
                  <a:pt x="32" y="7"/>
                  <a:pt x="32" y="7"/>
                </a:cubicBezTo>
                <a:cubicBezTo>
                  <a:pt x="33" y="7"/>
                  <a:pt x="33" y="7"/>
                  <a:pt x="33" y="7"/>
                </a:cubicBezTo>
                <a:cubicBezTo>
                  <a:pt x="34" y="8"/>
                  <a:pt x="34" y="8"/>
                  <a:pt x="34" y="8"/>
                </a:cubicBezTo>
                <a:cubicBezTo>
                  <a:pt x="36" y="8"/>
                  <a:pt x="36" y="8"/>
                  <a:pt x="36" y="8"/>
                </a:cubicBezTo>
                <a:cubicBezTo>
                  <a:pt x="38" y="8"/>
                  <a:pt x="38" y="8"/>
                  <a:pt x="38" y="8"/>
                </a:cubicBezTo>
                <a:cubicBezTo>
                  <a:pt x="40" y="8"/>
                  <a:pt x="40" y="8"/>
                  <a:pt x="40" y="8"/>
                </a:cubicBezTo>
                <a:cubicBezTo>
                  <a:pt x="40" y="7"/>
                  <a:pt x="40" y="7"/>
                  <a:pt x="40" y="7"/>
                </a:cubicBezTo>
                <a:cubicBezTo>
                  <a:pt x="40" y="5"/>
                  <a:pt x="40" y="5"/>
                  <a:pt x="40" y="5"/>
                </a:cubicBezTo>
                <a:cubicBezTo>
                  <a:pt x="42" y="4"/>
                  <a:pt x="42" y="4"/>
                  <a:pt x="42" y="4"/>
                </a:cubicBezTo>
                <a:cubicBezTo>
                  <a:pt x="42" y="3"/>
                  <a:pt x="42" y="3"/>
                  <a:pt x="42" y="3"/>
                </a:cubicBezTo>
                <a:cubicBezTo>
                  <a:pt x="40" y="2"/>
                  <a:pt x="40" y="2"/>
                  <a:pt x="40" y="2"/>
                </a:cubicBezTo>
                <a:cubicBezTo>
                  <a:pt x="41" y="0"/>
                  <a:pt x="41" y="0"/>
                  <a:pt x="41" y="0"/>
                </a:cubicBezTo>
                <a:close/>
                <a:moveTo>
                  <a:pt x="27" y="49"/>
                </a:moveTo>
                <a:cubicBezTo>
                  <a:pt x="26" y="48"/>
                  <a:pt x="26" y="48"/>
                  <a:pt x="26" y="48"/>
                </a:cubicBezTo>
                <a:cubicBezTo>
                  <a:pt x="26" y="49"/>
                  <a:pt x="26" y="49"/>
                  <a:pt x="26" y="49"/>
                </a:cubicBezTo>
                <a:cubicBezTo>
                  <a:pt x="26" y="50"/>
                  <a:pt x="26" y="50"/>
                  <a:pt x="26" y="50"/>
                </a:cubicBezTo>
                <a:cubicBezTo>
                  <a:pt x="26" y="51"/>
                  <a:pt x="26" y="51"/>
                  <a:pt x="26" y="51"/>
                </a:cubicBezTo>
                <a:cubicBezTo>
                  <a:pt x="27" y="51"/>
                  <a:pt x="27" y="51"/>
                  <a:pt x="27" y="51"/>
                </a:cubicBezTo>
                <a:cubicBezTo>
                  <a:pt x="29" y="51"/>
                  <a:pt x="29" y="51"/>
                  <a:pt x="29" y="51"/>
                </a:cubicBezTo>
                <a:cubicBezTo>
                  <a:pt x="30" y="51"/>
                  <a:pt x="30" y="51"/>
                  <a:pt x="30" y="51"/>
                </a:cubicBezTo>
                <a:cubicBezTo>
                  <a:pt x="31" y="51"/>
                  <a:pt x="31" y="51"/>
                  <a:pt x="31" y="51"/>
                </a:cubicBezTo>
                <a:cubicBezTo>
                  <a:pt x="32" y="51"/>
                  <a:pt x="32" y="51"/>
                  <a:pt x="32" y="51"/>
                </a:cubicBezTo>
                <a:cubicBezTo>
                  <a:pt x="33" y="52"/>
                  <a:pt x="33" y="52"/>
                  <a:pt x="33" y="52"/>
                </a:cubicBezTo>
                <a:cubicBezTo>
                  <a:pt x="33" y="53"/>
                  <a:pt x="33" y="53"/>
                  <a:pt x="33" y="53"/>
                </a:cubicBezTo>
                <a:cubicBezTo>
                  <a:pt x="35" y="53"/>
                  <a:pt x="35" y="53"/>
                  <a:pt x="35" y="53"/>
                </a:cubicBezTo>
                <a:cubicBezTo>
                  <a:pt x="36" y="52"/>
                  <a:pt x="36" y="52"/>
                  <a:pt x="36" y="52"/>
                </a:cubicBezTo>
                <a:cubicBezTo>
                  <a:pt x="38" y="52"/>
                  <a:pt x="38" y="52"/>
                  <a:pt x="38" y="52"/>
                </a:cubicBezTo>
                <a:cubicBezTo>
                  <a:pt x="40" y="52"/>
                  <a:pt x="40" y="52"/>
                  <a:pt x="40" y="52"/>
                </a:cubicBezTo>
                <a:cubicBezTo>
                  <a:pt x="42" y="52"/>
                  <a:pt x="42" y="52"/>
                  <a:pt x="42" y="52"/>
                </a:cubicBezTo>
                <a:cubicBezTo>
                  <a:pt x="43" y="52"/>
                  <a:pt x="43" y="52"/>
                  <a:pt x="43" y="52"/>
                </a:cubicBezTo>
                <a:cubicBezTo>
                  <a:pt x="43" y="51"/>
                  <a:pt x="43" y="51"/>
                  <a:pt x="43" y="51"/>
                </a:cubicBezTo>
                <a:cubicBezTo>
                  <a:pt x="43" y="50"/>
                  <a:pt x="43" y="50"/>
                  <a:pt x="43" y="50"/>
                </a:cubicBezTo>
                <a:cubicBezTo>
                  <a:pt x="43" y="49"/>
                  <a:pt x="43" y="49"/>
                  <a:pt x="43" y="49"/>
                </a:cubicBezTo>
                <a:cubicBezTo>
                  <a:pt x="42" y="50"/>
                  <a:pt x="42" y="50"/>
                  <a:pt x="42" y="50"/>
                </a:cubicBezTo>
                <a:cubicBezTo>
                  <a:pt x="42" y="51"/>
                  <a:pt x="42" y="51"/>
                  <a:pt x="42" y="51"/>
                </a:cubicBezTo>
                <a:cubicBezTo>
                  <a:pt x="42" y="51"/>
                  <a:pt x="42" y="51"/>
                  <a:pt x="42" y="51"/>
                </a:cubicBezTo>
                <a:cubicBezTo>
                  <a:pt x="41" y="51"/>
                  <a:pt x="41" y="51"/>
                  <a:pt x="41" y="51"/>
                </a:cubicBezTo>
                <a:cubicBezTo>
                  <a:pt x="40" y="51"/>
                  <a:pt x="40" y="51"/>
                  <a:pt x="40" y="51"/>
                </a:cubicBezTo>
                <a:cubicBezTo>
                  <a:pt x="40" y="51"/>
                  <a:pt x="40" y="51"/>
                  <a:pt x="40" y="51"/>
                </a:cubicBezTo>
                <a:cubicBezTo>
                  <a:pt x="40" y="50"/>
                  <a:pt x="40" y="50"/>
                  <a:pt x="40" y="50"/>
                </a:cubicBezTo>
                <a:cubicBezTo>
                  <a:pt x="39" y="49"/>
                  <a:pt x="39" y="49"/>
                  <a:pt x="39" y="49"/>
                </a:cubicBezTo>
                <a:cubicBezTo>
                  <a:pt x="39" y="49"/>
                  <a:pt x="39" y="49"/>
                  <a:pt x="39" y="49"/>
                </a:cubicBezTo>
                <a:cubicBezTo>
                  <a:pt x="37" y="49"/>
                  <a:pt x="37" y="49"/>
                  <a:pt x="37" y="49"/>
                </a:cubicBezTo>
                <a:cubicBezTo>
                  <a:pt x="36" y="49"/>
                  <a:pt x="36" y="49"/>
                  <a:pt x="36" y="49"/>
                </a:cubicBezTo>
                <a:cubicBezTo>
                  <a:pt x="34" y="49"/>
                  <a:pt x="34" y="49"/>
                  <a:pt x="34" y="49"/>
                </a:cubicBezTo>
                <a:cubicBezTo>
                  <a:pt x="33" y="50"/>
                  <a:pt x="33" y="50"/>
                  <a:pt x="33" y="50"/>
                </a:cubicBezTo>
                <a:cubicBezTo>
                  <a:pt x="31" y="50"/>
                  <a:pt x="31" y="50"/>
                  <a:pt x="31" y="50"/>
                </a:cubicBezTo>
                <a:cubicBezTo>
                  <a:pt x="31" y="49"/>
                  <a:pt x="31" y="49"/>
                  <a:pt x="31" y="49"/>
                </a:cubicBezTo>
                <a:cubicBezTo>
                  <a:pt x="30" y="49"/>
                  <a:pt x="30" y="49"/>
                  <a:pt x="30" y="49"/>
                </a:cubicBezTo>
                <a:cubicBezTo>
                  <a:pt x="29" y="49"/>
                  <a:pt x="29" y="49"/>
                  <a:pt x="29" y="49"/>
                </a:cubicBezTo>
                <a:cubicBezTo>
                  <a:pt x="30" y="49"/>
                  <a:pt x="30" y="49"/>
                  <a:pt x="30" y="49"/>
                </a:cubicBezTo>
                <a:cubicBezTo>
                  <a:pt x="29" y="48"/>
                  <a:pt x="29" y="48"/>
                  <a:pt x="29" y="48"/>
                </a:cubicBezTo>
                <a:cubicBezTo>
                  <a:pt x="28" y="48"/>
                  <a:pt x="28" y="48"/>
                  <a:pt x="28" y="48"/>
                </a:cubicBezTo>
                <a:cubicBezTo>
                  <a:pt x="29" y="48"/>
                  <a:pt x="29" y="48"/>
                  <a:pt x="29" y="48"/>
                </a:cubicBezTo>
                <a:cubicBezTo>
                  <a:pt x="29" y="48"/>
                  <a:pt x="29" y="48"/>
                  <a:pt x="29" y="48"/>
                </a:cubicBezTo>
                <a:cubicBezTo>
                  <a:pt x="29" y="49"/>
                  <a:pt x="29" y="49"/>
                  <a:pt x="29" y="49"/>
                </a:cubicBezTo>
                <a:cubicBezTo>
                  <a:pt x="28" y="49"/>
                  <a:pt x="28" y="49"/>
                  <a:pt x="28" y="49"/>
                </a:cubicBezTo>
                <a:cubicBezTo>
                  <a:pt x="27" y="48"/>
                  <a:pt x="27" y="48"/>
                  <a:pt x="27" y="48"/>
                </a:cubicBezTo>
                <a:cubicBezTo>
                  <a:pt x="27" y="48"/>
                  <a:pt x="27" y="48"/>
                  <a:pt x="27" y="48"/>
                </a:cubicBezTo>
                <a:cubicBezTo>
                  <a:pt x="27" y="48"/>
                  <a:pt x="27" y="48"/>
                  <a:pt x="27" y="48"/>
                </a:cubicBezTo>
                <a:cubicBezTo>
                  <a:pt x="27" y="49"/>
                  <a:pt x="27" y="49"/>
                  <a:pt x="27" y="49"/>
                </a:cubicBezTo>
                <a:cubicBezTo>
                  <a:pt x="27" y="49"/>
                  <a:pt x="27" y="49"/>
                  <a:pt x="27" y="49"/>
                </a:cubicBezTo>
                <a:close/>
                <a:moveTo>
                  <a:pt x="2" y="17"/>
                </a:moveTo>
                <a:cubicBezTo>
                  <a:pt x="2" y="19"/>
                  <a:pt x="2" y="19"/>
                  <a:pt x="2" y="19"/>
                </a:cubicBezTo>
                <a:cubicBezTo>
                  <a:pt x="2" y="19"/>
                  <a:pt x="2" y="19"/>
                  <a:pt x="2" y="19"/>
                </a:cubicBezTo>
                <a:cubicBezTo>
                  <a:pt x="3" y="20"/>
                  <a:pt x="3" y="20"/>
                  <a:pt x="3" y="20"/>
                </a:cubicBezTo>
                <a:cubicBezTo>
                  <a:pt x="3" y="20"/>
                  <a:pt x="3" y="20"/>
                  <a:pt x="3" y="20"/>
                </a:cubicBezTo>
                <a:cubicBezTo>
                  <a:pt x="3" y="20"/>
                  <a:pt x="3" y="20"/>
                  <a:pt x="3" y="20"/>
                </a:cubicBezTo>
                <a:cubicBezTo>
                  <a:pt x="2" y="20"/>
                  <a:pt x="2" y="20"/>
                  <a:pt x="2" y="20"/>
                </a:cubicBezTo>
                <a:cubicBezTo>
                  <a:pt x="1" y="19"/>
                  <a:pt x="1" y="19"/>
                  <a:pt x="1" y="19"/>
                </a:cubicBezTo>
                <a:cubicBezTo>
                  <a:pt x="1" y="18"/>
                  <a:pt x="1" y="18"/>
                  <a:pt x="1" y="18"/>
                </a:cubicBezTo>
                <a:cubicBezTo>
                  <a:pt x="0" y="18"/>
                  <a:pt x="0" y="18"/>
                  <a:pt x="0" y="18"/>
                </a:cubicBezTo>
                <a:cubicBezTo>
                  <a:pt x="0" y="18"/>
                  <a:pt x="0" y="18"/>
                  <a:pt x="0" y="18"/>
                </a:cubicBezTo>
                <a:cubicBezTo>
                  <a:pt x="1" y="17"/>
                  <a:pt x="1" y="17"/>
                  <a:pt x="1" y="17"/>
                </a:cubicBezTo>
                <a:cubicBezTo>
                  <a:pt x="2" y="17"/>
                  <a:pt x="2" y="17"/>
                  <a:pt x="2" y="17"/>
                </a:cubicBezTo>
                <a:close/>
                <a:moveTo>
                  <a:pt x="6" y="26"/>
                </a:moveTo>
                <a:cubicBezTo>
                  <a:pt x="6" y="26"/>
                  <a:pt x="6" y="26"/>
                  <a:pt x="6" y="26"/>
                </a:cubicBezTo>
                <a:cubicBezTo>
                  <a:pt x="7" y="25"/>
                  <a:pt x="7" y="25"/>
                  <a:pt x="7" y="25"/>
                </a:cubicBezTo>
                <a:cubicBezTo>
                  <a:pt x="7" y="25"/>
                  <a:pt x="7" y="25"/>
                  <a:pt x="7" y="25"/>
                </a:cubicBezTo>
                <a:cubicBezTo>
                  <a:pt x="8" y="26"/>
                  <a:pt x="8" y="26"/>
                  <a:pt x="8" y="26"/>
                </a:cubicBezTo>
                <a:cubicBezTo>
                  <a:pt x="7" y="26"/>
                  <a:pt x="7" y="26"/>
                  <a:pt x="7" y="26"/>
                </a:cubicBezTo>
                <a:cubicBezTo>
                  <a:pt x="7" y="27"/>
                  <a:pt x="7" y="27"/>
                  <a:pt x="7" y="27"/>
                </a:cubicBezTo>
                <a:cubicBezTo>
                  <a:pt x="6" y="26"/>
                  <a:pt x="6" y="26"/>
                  <a:pt x="6" y="26"/>
                </a:cubicBezTo>
                <a:close/>
                <a:moveTo>
                  <a:pt x="7" y="28"/>
                </a:moveTo>
                <a:cubicBezTo>
                  <a:pt x="7" y="27"/>
                  <a:pt x="7" y="27"/>
                  <a:pt x="7" y="27"/>
                </a:cubicBezTo>
                <a:cubicBezTo>
                  <a:pt x="7" y="27"/>
                  <a:pt x="7" y="27"/>
                  <a:pt x="7" y="27"/>
                </a:cubicBezTo>
                <a:cubicBezTo>
                  <a:pt x="8" y="28"/>
                  <a:pt x="8" y="28"/>
                  <a:pt x="8" y="28"/>
                </a:cubicBezTo>
                <a:cubicBezTo>
                  <a:pt x="7" y="29"/>
                  <a:pt x="7" y="29"/>
                  <a:pt x="7" y="29"/>
                </a:cubicBezTo>
                <a:cubicBezTo>
                  <a:pt x="8" y="29"/>
                  <a:pt x="8" y="29"/>
                  <a:pt x="8" y="29"/>
                </a:cubicBezTo>
                <a:cubicBezTo>
                  <a:pt x="8" y="30"/>
                  <a:pt x="8" y="30"/>
                  <a:pt x="8" y="30"/>
                </a:cubicBezTo>
                <a:cubicBezTo>
                  <a:pt x="8" y="30"/>
                  <a:pt x="8" y="30"/>
                  <a:pt x="8" y="30"/>
                </a:cubicBezTo>
                <a:cubicBezTo>
                  <a:pt x="8" y="31"/>
                  <a:pt x="8" y="31"/>
                  <a:pt x="8" y="31"/>
                </a:cubicBezTo>
                <a:cubicBezTo>
                  <a:pt x="7" y="31"/>
                  <a:pt x="7" y="31"/>
                  <a:pt x="7" y="31"/>
                </a:cubicBezTo>
                <a:cubicBezTo>
                  <a:pt x="6" y="30"/>
                  <a:pt x="6" y="30"/>
                  <a:pt x="6" y="30"/>
                </a:cubicBezTo>
                <a:cubicBezTo>
                  <a:pt x="6" y="30"/>
                  <a:pt x="6" y="30"/>
                  <a:pt x="6" y="30"/>
                </a:cubicBezTo>
                <a:cubicBezTo>
                  <a:pt x="6" y="29"/>
                  <a:pt x="6" y="29"/>
                  <a:pt x="6" y="29"/>
                </a:cubicBezTo>
                <a:cubicBezTo>
                  <a:pt x="6" y="30"/>
                  <a:pt x="6" y="30"/>
                  <a:pt x="6" y="30"/>
                </a:cubicBezTo>
                <a:cubicBezTo>
                  <a:pt x="6" y="30"/>
                  <a:pt x="6" y="30"/>
                  <a:pt x="6" y="30"/>
                </a:cubicBezTo>
                <a:cubicBezTo>
                  <a:pt x="5" y="30"/>
                  <a:pt x="5" y="30"/>
                  <a:pt x="5" y="30"/>
                </a:cubicBezTo>
                <a:cubicBezTo>
                  <a:pt x="5" y="29"/>
                  <a:pt x="5" y="29"/>
                  <a:pt x="5" y="29"/>
                </a:cubicBezTo>
                <a:cubicBezTo>
                  <a:pt x="6" y="28"/>
                  <a:pt x="6" y="28"/>
                  <a:pt x="6" y="28"/>
                </a:cubicBezTo>
                <a:cubicBezTo>
                  <a:pt x="7" y="28"/>
                  <a:pt x="7" y="28"/>
                  <a:pt x="7" y="28"/>
                </a:cubicBezTo>
                <a:close/>
                <a:moveTo>
                  <a:pt x="9" y="33"/>
                </a:moveTo>
                <a:cubicBezTo>
                  <a:pt x="9" y="33"/>
                  <a:pt x="9" y="33"/>
                  <a:pt x="9" y="33"/>
                </a:cubicBezTo>
                <a:cubicBezTo>
                  <a:pt x="9" y="33"/>
                  <a:pt x="9" y="33"/>
                  <a:pt x="9" y="33"/>
                </a:cubicBezTo>
                <a:cubicBezTo>
                  <a:pt x="8" y="34"/>
                  <a:pt x="8" y="34"/>
                  <a:pt x="8" y="34"/>
                </a:cubicBezTo>
                <a:cubicBezTo>
                  <a:pt x="8" y="34"/>
                  <a:pt x="8" y="34"/>
                  <a:pt x="8" y="34"/>
                </a:cubicBezTo>
                <a:cubicBezTo>
                  <a:pt x="7" y="33"/>
                  <a:pt x="7" y="33"/>
                  <a:pt x="7" y="33"/>
                </a:cubicBezTo>
                <a:cubicBezTo>
                  <a:pt x="7" y="32"/>
                  <a:pt x="7" y="32"/>
                  <a:pt x="7" y="32"/>
                </a:cubicBezTo>
                <a:cubicBezTo>
                  <a:pt x="7" y="32"/>
                  <a:pt x="7" y="32"/>
                  <a:pt x="7" y="32"/>
                </a:cubicBezTo>
                <a:cubicBezTo>
                  <a:pt x="8" y="32"/>
                  <a:pt x="8" y="32"/>
                  <a:pt x="8" y="32"/>
                </a:cubicBezTo>
                <a:cubicBezTo>
                  <a:pt x="9" y="33"/>
                  <a:pt x="9" y="33"/>
                  <a:pt x="9" y="33"/>
                </a:cubicBezTo>
                <a:close/>
                <a:moveTo>
                  <a:pt x="48" y="47"/>
                </a:moveTo>
                <a:cubicBezTo>
                  <a:pt x="48" y="46"/>
                  <a:pt x="48" y="46"/>
                  <a:pt x="48" y="46"/>
                </a:cubicBezTo>
                <a:cubicBezTo>
                  <a:pt x="48" y="46"/>
                  <a:pt x="48" y="46"/>
                  <a:pt x="48" y="46"/>
                </a:cubicBezTo>
                <a:cubicBezTo>
                  <a:pt x="48" y="46"/>
                  <a:pt x="48" y="46"/>
                  <a:pt x="48" y="46"/>
                </a:cubicBezTo>
                <a:cubicBezTo>
                  <a:pt x="48" y="47"/>
                  <a:pt x="48" y="47"/>
                  <a:pt x="48" y="47"/>
                </a:cubicBezTo>
                <a:close/>
                <a:moveTo>
                  <a:pt x="48" y="50"/>
                </a:moveTo>
                <a:cubicBezTo>
                  <a:pt x="47" y="49"/>
                  <a:pt x="47" y="49"/>
                  <a:pt x="47" y="49"/>
                </a:cubicBezTo>
                <a:cubicBezTo>
                  <a:pt x="47" y="48"/>
                  <a:pt x="47" y="48"/>
                  <a:pt x="47" y="48"/>
                </a:cubicBezTo>
                <a:cubicBezTo>
                  <a:pt x="48" y="47"/>
                  <a:pt x="48" y="47"/>
                  <a:pt x="48" y="47"/>
                </a:cubicBezTo>
                <a:cubicBezTo>
                  <a:pt x="48" y="48"/>
                  <a:pt x="48" y="48"/>
                  <a:pt x="48" y="48"/>
                </a:cubicBezTo>
                <a:cubicBezTo>
                  <a:pt x="48" y="48"/>
                  <a:pt x="48" y="48"/>
                  <a:pt x="48" y="48"/>
                </a:cubicBezTo>
                <a:cubicBezTo>
                  <a:pt x="48" y="50"/>
                  <a:pt x="48" y="50"/>
                  <a:pt x="48" y="50"/>
                </a:cubicBezTo>
                <a:cubicBezTo>
                  <a:pt x="48" y="50"/>
                  <a:pt x="48" y="50"/>
                  <a:pt x="48" y="50"/>
                </a:cubicBezTo>
                <a:close/>
                <a:moveTo>
                  <a:pt x="51" y="46"/>
                </a:moveTo>
                <a:cubicBezTo>
                  <a:pt x="50" y="46"/>
                  <a:pt x="50" y="46"/>
                  <a:pt x="50" y="46"/>
                </a:cubicBezTo>
                <a:cubicBezTo>
                  <a:pt x="51" y="45"/>
                  <a:pt x="51" y="45"/>
                  <a:pt x="51" y="45"/>
                </a:cubicBezTo>
                <a:cubicBezTo>
                  <a:pt x="51" y="45"/>
                  <a:pt x="51" y="45"/>
                  <a:pt x="51" y="45"/>
                </a:cubicBezTo>
                <a:cubicBezTo>
                  <a:pt x="51" y="44"/>
                  <a:pt x="51" y="44"/>
                  <a:pt x="51" y="44"/>
                </a:cubicBezTo>
                <a:cubicBezTo>
                  <a:pt x="52" y="43"/>
                  <a:pt x="52" y="43"/>
                  <a:pt x="52" y="43"/>
                </a:cubicBezTo>
                <a:cubicBezTo>
                  <a:pt x="53" y="42"/>
                  <a:pt x="53" y="42"/>
                  <a:pt x="53" y="42"/>
                </a:cubicBezTo>
                <a:cubicBezTo>
                  <a:pt x="54" y="42"/>
                  <a:pt x="54" y="42"/>
                  <a:pt x="54" y="42"/>
                </a:cubicBezTo>
                <a:cubicBezTo>
                  <a:pt x="54" y="43"/>
                  <a:pt x="54" y="43"/>
                  <a:pt x="54" y="43"/>
                </a:cubicBezTo>
                <a:cubicBezTo>
                  <a:pt x="54" y="43"/>
                  <a:pt x="54" y="43"/>
                  <a:pt x="54" y="43"/>
                </a:cubicBezTo>
                <a:cubicBezTo>
                  <a:pt x="54" y="44"/>
                  <a:pt x="54" y="44"/>
                  <a:pt x="54" y="44"/>
                </a:cubicBezTo>
                <a:cubicBezTo>
                  <a:pt x="53" y="44"/>
                  <a:pt x="53" y="44"/>
                  <a:pt x="53" y="44"/>
                </a:cubicBezTo>
                <a:cubicBezTo>
                  <a:pt x="53" y="45"/>
                  <a:pt x="53" y="45"/>
                  <a:pt x="53" y="45"/>
                </a:cubicBezTo>
                <a:cubicBezTo>
                  <a:pt x="53" y="45"/>
                  <a:pt x="53" y="45"/>
                  <a:pt x="53" y="45"/>
                </a:cubicBezTo>
                <a:cubicBezTo>
                  <a:pt x="52" y="45"/>
                  <a:pt x="52" y="45"/>
                  <a:pt x="52" y="45"/>
                </a:cubicBezTo>
                <a:cubicBezTo>
                  <a:pt x="51" y="46"/>
                  <a:pt x="51" y="46"/>
                  <a:pt x="51" y="46"/>
                </a:cubicBezTo>
                <a:cubicBezTo>
                  <a:pt x="51" y="46"/>
                  <a:pt x="51" y="46"/>
                  <a:pt x="51" y="46"/>
                </a:cubicBezTo>
                <a:close/>
                <a:moveTo>
                  <a:pt x="42" y="42"/>
                </a:moveTo>
                <a:cubicBezTo>
                  <a:pt x="42" y="42"/>
                  <a:pt x="42" y="42"/>
                  <a:pt x="42" y="42"/>
                </a:cubicBezTo>
                <a:cubicBezTo>
                  <a:pt x="42" y="41"/>
                  <a:pt x="42" y="41"/>
                  <a:pt x="42" y="41"/>
                </a:cubicBezTo>
                <a:cubicBezTo>
                  <a:pt x="43" y="41"/>
                  <a:pt x="43" y="41"/>
                  <a:pt x="43" y="41"/>
                </a:cubicBezTo>
                <a:cubicBezTo>
                  <a:pt x="44" y="41"/>
                  <a:pt x="44" y="41"/>
                  <a:pt x="44" y="41"/>
                </a:cubicBezTo>
                <a:cubicBezTo>
                  <a:pt x="43" y="42"/>
                  <a:pt x="43" y="42"/>
                  <a:pt x="43" y="42"/>
                </a:cubicBezTo>
                <a:cubicBezTo>
                  <a:pt x="43" y="42"/>
                  <a:pt x="42" y="42"/>
                  <a:pt x="42" y="42"/>
                </a:cubicBezTo>
                <a:close/>
                <a:moveTo>
                  <a:pt x="42" y="33"/>
                </a:moveTo>
                <a:cubicBezTo>
                  <a:pt x="43" y="32"/>
                  <a:pt x="43" y="32"/>
                  <a:pt x="43" y="32"/>
                </a:cubicBezTo>
                <a:cubicBezTo>
                  <a:pt x="44" y="32"/>
                  <a:pt x="44" y="32"/>
                  <a:pt x="44" y="32"/>
                </a:cubicBezTo>
                <a:cubicBezTo>
                  <a:pt x="45" y="33"/>
                  <a:pt x="45" y="33"/>
                  <a:pt x="45" y="33"/>
                </a:cubicBezTo>
                <a:cubicBezTo>
                  <a:pt x="45" y="33"/>
                  <a:pt x="45" y="33"/>
                  <a:pt x="45" y="33"/>
                </a:cubicBezTo>
                <a:cubicBezTo>
                  <a:pt x="45" y="33"/>
                  <a:pt x="45" y="33"/>
                  <a:pt x="45" y="33"/>
                </a:cubicBezTo>
                <a:cubicBezTo>
                  <a:pt x="46" y="33"/>
                  <a:pt x="46" y="33"/>
                  <a:pt x="46" y="33"/>
                </a:cubicBezTo>
                <a:cubicBezTo>
                  <a:pt x="45" y="34"/>
                  <a:pt x="45" y="34"/>
                  <a:pt x="45" y="34"/>
                </a:cubicBezTo>
                <a:cubicBezTo>
                  <a:pt x="45" y="34"/>
                  <a:pt x="45" y="34"/>
                  <a:pt x="45" y="34"/>
                </a:cubicBezTo>
                <a:cubicBezTo>
                  <a:pt x="44" y="34"/>
                  <a:pt x="44" y="34"/>
                  <a:pt x="44" y="34"/>
                </a:cubicBezTo>
                <a:cubicBezTo>
                  <a:pt x="43" y="33"/>
                  <a:pt x="43" y="33"/>
                  <a:pt x="43" y="33"/>
                </a:cubicBezTo>
                <a:cubicBezTo>
                  <a:pt x="43" y="33"/>
                  <a:pt x="43" y="33"/>
                  <a:pt x="43" y="33"/>
                </a:cubicBezTo>
                <a:cubicBezTo>
                  <a:pt x="42" y="34"/>
                  <a:pt x="42" y="34"/>
                  <a:pt x="42" y="34"/>
                </a:cubicBezTo>
                <a:cubicBezTo>
                  <a:pt x="42" y="33"/>
                  <a:pt x="42" y="33"/>
                  <a:pt x="42" y="33"/>
                </a:cubicBezTo>
                <a:close/>
                <a:moveTo>
                  <a:pt x="40" y="26"/>
                </a:moveTo>
                <a:cubicBezTo>
                  <a:pt x="40" y="28"/>
                  <a:pt x="40" y="28"/>
                  <a:pt x="40" y="28"/>
                </a:cubicBezTo>
                <a:cubicBezTo>
                  <a:pt x="40" y="29"/>
                  <a:pt x="40" y="29"/>
                  <a:pt x="40" y="29"/>
                </a:cubicBezTo>
                <a:cubicBezTo>
                  <a:pt x="39" y="29"/>
                  <a:pt x="39" y="29"/>
                  <a:pt x="39" y="29"/>
                </a:cubicBezTo>
                <a:cubicBezTo>
                  <a:pt x="39" y="29"/>
                  <a:pt x="39" y="29"/>
                  <a:pt x="39" y="29"/>
                </a:cubicBezTo>
                <a:cubicBezTo>
                  <a:pt x="39" y="28"/>
                  <a:pt x="39" y="28"/>
                  <a:pt x="39" y="28"/>
                </a:cubicBezTo>
                <a:cubicBezTo>
                  <a:pt x="39" y="28"/>
                  <a:pt x="39" y="28"/>
                  <a:pt x="39" y="28"/>
                </a:cubicBezTo>
                <a:cubicBezTo>
                  <a:pt x="39" y="27"/>
                  <a:pt x="39" y="27"/>
                  <a:pt x="39" y="27"/>
                </a:cubicBezTo>
                <a:cubicBezTo>
                  <a:pt x="38" y="27"/>
                  <a:pt x="38" y="27"/>
                  <a:pt x="38" y="27"/>
                </a:cubicBezTo>
                <a:cubicBezTo>
                  <a:pt x="38" y="26"/>
                  <a:pt x="38" y="26"/>
                  <a:pt x="38" y="26"/>
                </a:cubicBezTo>
                <a:cubicBezTo>
                  <a:pt x="39" y="26"/>
                  <a:pt x="39" y="26"/>
                  <a:pt x="39" y="26"/>
                </a:cubicBezTo>
                <a:cubicBezTo>
                  <a:pt x="40" y="26"/>
                  <a:pt x="40" y="26"/>
                  <a:pt x="40" y="26"/>
                </a:cubicBezTo>
                <a:cubicBezTo>
                  <a:pt x="40" y="26"/>
                  <a:pt x="40" y="26"/>
                  <a:pt x="40" y="26"/>
                </a:cubicBezTo>
                <a:close/>
                <a:moveTo>
                  <a:pt x="39" y="23"/>
                </a:moveTo>
                <a:cubicBezTo>
                  <a:pt x="38" y="22"/>
                  <a:pt x="38" y="22"/>
                  <a:pt x="38" y="22"/>
                </a:cubicBezTo>
                <a:cubicBezTo>
                  <a:pt x="38" y="21"/>
                  <a:pt x="38" y="21"/>
                  <a:pt x="38" y="21"/>
                </a:cubicBezTo>
                <a:cubicBezTo>
                  <a:pt x="40" y="21"/>
                  <a:pt x="40" y="21"/>
                  <a:pt x="40" y="21"/>
                </a:cubicBezTo>
                <a:cubicBezTo>
                  <a:pt x="40" y="20"/>
                  <a:pt x="40" y="20"/>
                  <a:pt x="40" y="20"/>
                </a:cubicBezTo>
                <a:cubicBezTo>
                  <a:pt x="42" y="20"/>
                  <a:pt x="42" y="20"/>
                  <a:pt x="42" y="20"/>
                </a:cubicBezTo>
                <a:cubicBezTo>
                  <a:pt x="42" y="20"/>
                  <a:pt x="42" y="20"/>
                  <a:pt x="42" y="20"/>
                </a:cubicBezTo>
                <a:cubicBezTo>
                  <a:pt x="42" y="21"/>
                  <a:pt x="42" y="21"/>
                  <a:pt x="42" y="21"/>
                </a:cubicBezTo>
                <a:cubicBezTo>
                  <a:pt x="42" y="21"/>
                  <a:pt x="42" y="21"/>
                  <a:pt x="42" y="21"/>
                </a:cubicBezTo>
                <a:cubicBezTo>
                  <a:pt x="42" y="22"/>
                  <a:pt x="42" y="22"/>
                  <a:pt x="42" y="22"/>
                </a:cubicBezTo>
                <a:cubicBezTo>
                  <a:pt x="42" y="23"/>
                  <a:pt x="42" y="23"/>
                  <a:pt x="42" y="23"/>
                </a:cubicBezTo>
                <a:cubicBezTo>
                  <a:pt x="41" y="23"/>
                  <a:pt x="41" y="23"/>
                  <a:pt x="41" y="23"/>
                </a:cubicBezTo>
                <a:cubicBezTo>
                  <a:pt x="40" y="23"/>
                  <a:pt x="40" y="23"/>
                  <a:pt x="40" y="23"/>
                </a:cubicBezTo>
                <a:cubicBezTo>
                  <a:pt x="40" y="22"/>
                  <a:pt x="40" y="22"/>
                  <a:pt x="40" y="22"/>
                </a:cubicBezTo>
                <a:cubicBezTo>
                  <a:pt x="41" y="22"/>
                  <a:pt x="41" y="22"/>
                  <a:pt x="41" y="22"/>
                </a:cubicBezTo>
                <a:cubicBezTo>
                  <a:pt x="41" y="21"/>
                  <a:pt x="41" y="21"/>
                  <a:pt x="41" y="21"/>
                </a:cubicBezTo>
                <a:cubicBezTo>
                  <a:pt x="40" y="21"/>
                  <a:pt x="40" y="21"/>
                  <a:pt x="40" y="21"/>
                </a:cubicBezTo>
                <a:cubicBezTo>
                  <a:pt x="40" y="22"/>
                  <a:pt x="40" y="22"/>
                  <a:pt x="40" y="22"/>
                </a:cubicBezTo>
                <a:cubicBezTo>
                  <a:pt x="39" y="23"/>
                  <a:pt x="39" y="23"/>
                  <a:pt x="39" y="23"/>
                </a:cubicBezTo>
                <a:cubicBezTo>
                  <a:pt x="39" y="23"/>
                  <a:pt x="39" y="23"/>
                  <a:pt x="39" y="23"/>
                </a:cubicBezTo>
                <a:cubicBezTo>
                  <a:pt x="39" y="23"/>
                  <a:pt x="39" y="23"/>
                  <a:pt x="39" y="23"/>
                </a:cubicBezTo>
                <a:close/>
                <a:moveTo>
                  <a:pt x="35" y="11"/>
                </a:moveTo>
                <a:cubicBezTo>
                  <a:pt x="36" y="11"/>
                  <a:pt x="36" y="11"/>
                  <a:pt x="36" y="11"/>
                </a:cubicBezTo>
                <a:cubicBezTo>
                  <a:pt x="36" y="11"/>
                  <a:pt x="36" y="11"/>
                  <a:pt x="36" y="11"/>
                </a:cubicBezTo>
                <a:cubicBezTo>
                  <a:pt x="37" y="11"/>
                  <a:pt x="37" y="11"/>
                  <a:pt x="37" y="11"/>
                </a:cubicBezTo>
                <a:cubicBezTo>
                  <a:pt x="37" y="12"/>
                  <a:pt x="37" y="12"/>
                  <a:pt x="37" y="12"/>
                </a:cubicBezTo>
                <a:cubicBezTo>
                  <a:pt x="37" y="12"/>
                  <a:pt x="37" y="12"/>
                  <a:pt x="37" y="12"/>
                </a:cubicBezTo>
                <a:cubicBezTo>
                  <a:pt x="35" y="11"/>
                  <a:pt x="35" y="11"/>
                  <a:pt x="35" y="11"/>
                </a:cubicBezTo>
                <a:close/>
                <a:moveTo>
                  <a:pt x="33" y="15"/>
                </a:moveTo>
                <a:cubicBezTo>
                  <a:pt x="34" y="15"/>
                  <a:pt x="34" y="15"/>
                  <a:pt x="34" y="15"/>
                </a:cubicBezTo>
                <a:cubicBezTo>
                  <a:pt x="34" y="15"/>
                  <a:pt x="34" y="15"/>
                  <a:pt x="34" y="15"/>
                </a:cubicBezTo>
                <a:cubicBezTo>
                  <a:pt x="35" y="14"/>
                  <a:pt x="35" y="14"/>
                  <a:pt x="35" y="14"/>
                </a:cubicBezTo>
                <a:cubicBezTo>
                  <a:pt x="35" y="15"/>
                  <a:pt x="35" y="15"/>
                  <a:pt x="35" y="15"/>
                </a:cubicBezTo>
                <a:cubicBezTo>
                  <a:pt x="35" y="16"/>
                  <a:pt x="35" y="16"/>
                  <a:pt x="35" y="16"/>
                </a:cubicBezTo>
                <a:cubicBezTo>
                  <a:pt x="34" y="17"/>
                  <a:pt x="34" y="17"/>
                  <a:pt x="34" y="17"/>
                </a:cubicBezTo>
                <a:cubicBezTo>
                  <a:pt x="34" y="16"/>
                  <a:pt x="34" y="16"/>
                  <a:pt x="34" y="16"/>
                </a:cubicBezTo>
                <a:cubicBezTo>
                  <a:pt x="33" y="17"/>
                  <a:pt x="33" y="17"/>
                  <a:pt x="33" y="17"/>
                </a:cubicBezTo>
                <a:cubicBezTo>
                  <a:pt x="33" y="16"/>
                  <a:pt x="33" y="16"/>
                  <a:pt x="33" y="16"/>
                </a:cubicBezTo>
                <a:cubicBezTo>
                  <a:pt x="32" y="15"/>
                  <a:pt x="32" y="15"/>
                  <a:pt x="32" y="15"/>
                </a:cubicBezTo>
                <a:cubicBezTo>
                  <a:pt x="33" y="15"/>
                  <a:pt x="33" y="15"/>
                  <a:pt x="33" y="15"/>
                </a:cubicBezTo>
                <a:close/>
                <a:moveTo>
                  <a:pt x="30" y="9"/>
                </a:moveTo>
                <a:cubicBezTo>
                  <a:pt x="30" y="9"/>
                  <a:pt x="30" y="9"/>
                  <a:pt x="30" y="9"/>
                </a:cubicBezTo>
                <a:cubicBezTo>
                  <a:pt x="31" y="9"/>
                  <a:pt x="31" y="9"/>
                  <a:pt x="31" y="9"/>
                </a:cubicBezTo>
                <a:cubicBezTo>
                  <a:pt x="31" y="10"/>
                  <a:pt x="31" y="10"/>
                  <a:pt x="31" y="10"/>
                </a:cubicBezTo>
                <a:cubicBezTo>
                  <a:pt x="30" y="11"/>
                  <a:pt x="30" y="11"/>
                  <a:pt x="30" y="11"/>
                </a:cubicBezTo>
                <a:cubicBezTo>
                  <a:pt x="30" y="10"/>
                  <a:pt x="30" y="10"/>
                  <a:pt x="30" y="10"/>
                </a:cubicBezTo>
                <a:cubicBezTo>
                  <a:pt x="29" y="10"/>
                  <a:pt x="29" y="10"/>
                  <a:pt x="29" y="10"/>
                </a:cubicBezTo>
                <a:cubicBezTo>
                  <a:pt x="30" y="9"/>
                  <a:pt x="30" y="9"/>
                  <a:pt x="30" y="9"/>
                </a:cubicBezTo>
                <a:close/>
                <a:moveTo>
                  <a:pt x="24" y="22"/>
                </a:moveTo>
                <a:cubicBezTo>
                  <a:pt x="24" y="22"/>
                  <a:pt x="24" y="22"/>
                  <a:pt x="24" y="22"/>
                </a:cubicBezTo>
                <a:cubicBezTo>
                  <a:pt x="25" y="22"/>
                  <a:pt x="25" y="22"/>
                  <a:pt x="25" y="22"/>
                </a:cubicBezTo>
                <a:cubicBezTo>
                  <a:pt x="25" y="23"/>
                  <a:pt x="25" y="23"/>
                  <a:pt x="25" y="23"/>
                </a:cubicBezTo>
                <a:cubicBezTo>
                  <a:pt x="25" y="23"/>
                  <a:pt x="25" y="23"/>
                  <a:pt x="25" y="23"/>
                </a:cubicBezTo>
                <a:cubicBezTo>
                  <a:pt x="24" y="22"/>
                  <a:pt x="24" y="22"/>
                  <a:pt x="24" y="22"/>
                </a:cubicBezTo>
                <a:close/>
                <a:moveTo>
                  <a:pt x="23" y="22"/>
                </a:moveTo>
                <a:cubicBezTo>
                  <a:pt x="23" y="22"/>
                  <a:pt x="23" y="22"/>
                  <a:pt x="23" y="22"/>
                </a:cubicBezTo>
                <a:cubicBezTo>
                  <a:pt x="24" y="22"/>
                  <a:pt x="24" y="22"/>
                  <a:pt x="24" y="22"/>
                </a:cubicBezTo>
                <a:cubicBezTo>
                  <a:pt x="23" y="22"/>
                  <a:pt x="23" y="22"/>
                  <a:pt x="23" y="22"/>
                </a:cubicBezTo>
                <a:cubicBezTo>
                  <a:pt x="23" y="22"/>
                  <a:pt x="23" y="22"/>
                  <a:pt x="23" y="22"/>
                </a:cubicBezTo>
                <a:close/>
                <a:moveTo>
                  <a:pt x="30" y="23"/>
                </a:moveTo>
                <a:cubicBezTo>
                  <a:pt x="30" y="23"/>
                  <a:pt x="30" y="23"/>
                  <a:pt x="30" y="23"/>
                </a:cubicBezTo>
                <a:cubicBezTo>
                  <a:pt x="31" y="24"/>
                  <a:pt x="31" y="24"/>
                  <a:pt x="31" y="24"/>
                </a:cubicBezTo>
                <a:cubicBezTo>
                  <a:pt x="32" y="24"/>
                  <a:pt x="32" y="24"/>
                  <a:pt x="32" y="24"/>
                </a:cubicBezTo>
                <a:cubicBezTo>
                  <a:pt x="32" y="25"/>
                  <a:pt x="32" y="25"/>
                  <a:pt x="32" y="25"/>
                </a:cubicBezTo>
                <a:cubicBezTo>
                  <a:pt x="31" y="25"/>
                  <a:pt x="31" y="25"/>
                  <a:pt x="31" y="25"/>
                </a:cubicBezTo>
                <a:cubicBezTo>
                  <a:pt x="31" y="24"/>
                  <a:pt x="31" y="24"/>
                  <a:pt x="31" y="24"/>
                </a:cubicBezTo>
                <a:cubicBezTo>
                  <a:pt x="31" y="24"/>
                  <a:pt x="31" y="24"/>
                  <a:pt x="31" y="24"/>
                </a:cubicBezTo>
                <a:cubicBezTo>
                  <a:pt x="30" y="23"/>
                  <a:pt x="30" y="23"/>
                  <a:pt x="30" y="23"/>
                </a:cubicBezTo>
                <a:close/>
                <a:moveTo>
                  <a:pt x="40" y="35"/>
                </a:moveTo>
                <a:cubicBezTo>
                  <a:pt x="40" y="35"/>
                  <a:pt x="40" y="35"/>
                  <a:pt x="40" y="35"/>
                </a:cubicBezTo>
                <a:cubicBezTo>
                  <a:pt x="40" y="34"/>
                  <a:pt x="40" y="34"/>
                  <a:pt x="40" y="34"/>
                </a:cubicBezTo>
                <a:cubicBezTo>
                  <a:pt x="41" y="34"/>
                  <a:pt x="41" y="34"/>
                  <a:pt x="41" y="34"/>
                </a:cubicBezTo>
                <a:cubicBezTo>
                  <a:pt x="41" y="34"/>
                  <a:pt x="41" y="34"/>
                  <a:pt x="41" y="34"/>
                </a:cubicBezTo>
                <a:cubicBezTo>
                  <a:pt x="40" y="35"/>
                  <a:pt x="40" y="35"/>
                  <a:pt x="40" y="35"/>
                </a:cubicBezTo>
                <a:close/>
                <a:moveTo>
                  <a:pt x="30" y="42"/>
                </a:moveTo>
                <a:cubicBezTo>
                  <a:pt x="30" y="41"/>
                  <a:pt x="30" y="41"/>
                  <a:pt x="30" y="41"/>
                </a:cubicBezTo>
                <a:cubicBezTo>
                  <a:pt x="31" y="41"/>
                  <a:pt x="31" y="41"/>
                  <a:pt x="31" y="41"/>
                </a:cubicBezTo>
                <a:cubicBezTo>
                  <a:pt x="31" y="41"/>
                  <a:pt x="31" y="41"/>
                  <a:pt x="31" y="41"/>
                </a:cubicBezTo>
                <a:cubicBezTo>
                  <a:pt x="30" y="42"/>
                  <a:pt x="30" y="42"/>
                  <a:pt x="30" y="42"/>
                </a:cubicBezTo>
                <a:cubicBezTo>
                  <a:pt x="30" y="42"/>
                  <a:pt x="30" y="42"/>
                  <a:pt x="30" y="42"/>
                </a:cubicBezTo>
                <a:close/>
                <a:moveTo>
                  <a:pt x="30" y="38"/>
                </a:moveTo>
                <a:cubicBezTo>
                  <a:pt x="31" y="37"/>
                  <a:pt x="31" y="37"/>
                  <a:pt x="31" y="37"/>
                </a:cubicBezTo>
                <a:cubicBezTo>
                  <a:pt x="31" y="38"/>
                  <a:pt x="31" y="38"/>
                  <a:pt x="31" y="38"/>
                </a:cubicBezTo>
                <a:cubicBezTo>
                  <a:pt x="30" y="38"/>
                  <a:pt x="30" y="38"/>
                  <a:pt x="30" y="38"/>
                </a:cubicBezTo>
                <a:close/>
                <a:moveTo>
                  <a:pt x="30" y="37"/>
                </a:moveTo>
                <a:cubicBezTo>
                  <a:pt x="30" y="36"/>
                  <a:pt x="30" y="36"/>
                  <a:pt x="30" y="36"/>
                </a:cubicBezTo>
                <a:cubicBezTo>
                  <a:pt x="31" y="36"/>
                  <a:pt x="31" y="36"/>
                  <a:pt x="31" y="36"/>
                </a:cubicBezTo>
                <a:cubicBezTo>
                  <a:pt x="31" y="36"/>
                  <a:pt x="31" y="36"/>
                  <a:pt x="31" y="36"/>
                </a:cubicBezTo>
                <a:cubicBezTo>
                  <a:pt x="31" y="36"/>
                  <a:pt x="30" y="37"/>
                  <a:pt x="30" y="37"/>
                </a:cubicBezTo>
                <a:close/>
                <a:moveTo>
                  <a:pt x="29" y="35"/>
                </a:moveTo>
                <a:cubicBezTo>
                  <a:pt x="29" y="35"/>
                  <a:pt x="29" y="35"/>
                  <a:pt x="29" y="35"/>
                </a:cubicBezTo>
                <a:cubicBezTo>
                  <a:pt x="30" y="34"/>
                  <a:pt x="30" y="34"/>
                  <a:pt x="30" y="34"/>
                </a:cubicBezTo>
                <a:cubicBezTo>
                  <a:pt x="30" y="35"/>
                  <a:pt x="30" y="35"/>
                  <a:pt x="30" y="35"/>
                </a:cubicBezTo>
                <a:cubicBezTo>
                  <a:pt x="29" y="35"/>
                  <a:pt x="29" y="35"/>
                  <a:pt x="29" y="35"/>
                </a:cubicBezTo>
                <a:close/>
                <a:moveTo>
                  <a:pt x="35" y="39"/>
                </a:moveTo>
                <a:cubicBezTo>
                  <a:pt x="35" y="38"/>
                  <a:pt x="35" y="38"/>
                  <a:pt x="35" y="38"/>
                </a:cubicBezTo>
                <a:cubicBezTo>
                  <a:pt x="35" y="37"/>
                  <a:pt x="35" y="37"/>
                  <a:pt x="35" y="37"/>
                </a:cubicBezTo>
                <a:cubicBezTo>
                  <a:pt x="35" y="37"/>
                  <a:pt x="35" y="37"/>
                  <a:pt x="35" y="37"/>
                </a:cubicBezTo>
                <a:cubicBezTo>
                  <a:pt x="36" y="38"/>
                  <a:pt x="36" y="38"/>
                  <a:pt x="36" y="38"/>
                </a:cubicBezTo>
                <a:cubicBezTo>
                  <a:pt x="35" y="39"/>
                  <a:pt x="35" y="39"/>
                  <a:pt x="35" y="39"/>
                </a:cubicBezTo>
                <a:close/>
                <a:moveTo>
                  <a:pt x="37" y="39"/>
                </a:moveTo>
                <a:cubicBezTo>
                  <a:pt x="36" y="38"/>
                  <a:pt x="36" y="38"/>
                  <a:pt x="36" y="38"/>
                </a:cubicBezTo>
                <a:cubicBezTo>
                  <a:pt x="37" y="37"/>
                  <a:pt x="37" y="37"/>
                  <a:pt x="37" y="37"/>
                </a:cubicBezTo>
                <a:cubicBezTo>
                  <a:pt x="38" y="37"/>
                  <a:pt x="38" y="37"/>
                  <a:pt x="38" y="37"/>
                </a:cubicBezTo>
                <a:cubicBezTo>
                  <a:pt x="38" y="38"/>
                  <a:pt x="38" y="38"/>
                  <a:pt x="38" y="38"/>
                </a:cubicBezTo>
                <a:cubicBezTo>
                  <a:pt x="37" y="39"/>
                  <a:pt x="37" y="39"/>
                  <a:pt x="37" y="39"/>
                </a:cubicBezTo>
                <a:cubicBezTo>
                  <a:pt x="37" y="39"/>
                  <a:pt x="37" y="39"/>
                  <a:pt x="37" y="39"/>
                </a:cubicBezTo>
                <a:close/>
                <a:moveTo>
                  <a:pt x="36" y="36"/>
                </a:moveTo>
                <a:cubicBezTo>
                  <a:pt x="36" y="35"/>
                  <a:pt x="36" y="35"/>
                  <a:pt x="36" y="35"/>
                </a:cubicBezTo>
                <a:cubicBezTo>
                  <a:pt x="37" y="35"/>
                  <a:pt x="37" y="35"/>
                  <a:pt x="37" y="35"/>
                </a:cubicBezTo>
                <a:cubicBezTo>
                  <a:pt x="36" y="36"/>
                  <a:pt x="36" y="36"/>
                  <a:pt x="36" y="36"/>
                </a:cubicBezTo>
                <a:close/>
                <a:moveTo>
                  <a:pt x="34" y="34"/>
                </a:moveTo>
                <a:cubicBezTo>
                  <a:pt x="35" y="34"/>
                  <a:pt x="35" y="34"/>
                  <a:pt x="35" y="34"/>
                </a:cubicBezTo>
                <a:cubicBezTo>
                  <a:pt x="36" y="35"/>
                  <a:pt x="36" y="35"/>
                  <a:pt x="36" y="35"/>
                </a:cubicBezTo>
                <a:cubicBezTo>
                  <a:pt x="36" y="35"/>
                  <a:pt x="36" y="35"/>
                  <a:pt x="36" y="35"/>
                </a:cubicBezTo>
                <a:cubicBezTo>
                  <a:pt x="35" y="35"/>
                  <a:pt x="35" y="35"/>
                  <a:pt x="35" y="35"/>
                </a:cubicBezTo>
                <a:cubicBezTo>
                  <a:pt x="34" y="34"/>
                  <a:pt x="34" y="34"/>
                  <a:pt x="34" y="34"/>
                </a:cubicBezTo>
                <a:close/>
                <a:moveTo>
                  <a:pt x="32" y="32"/>
                </a:moveTo>
                <a:cubicBezTo>
                  <a:pt x="32" y="32"/>
                  <a:pt x="32" y="32"/>
                  <a:pt x="32" y="32"/>
                </a:cubicBezTo>
                <a:cubicBezTo>
                  <a:pt x="33" y="32"/>
                  <a:pt x="33" y="32"/>
                  <a:pt x="33" y="32"/>
                </a:cubicBezTo>
                <a:cubicBezTo>
                  <a:pt x="34" y="33"/>
                  <a:pt x="34" y="33"/>
                  <a:pt x="34" y="33"/>
                </a:cubicBezTo>
                <a:cubicBezTo>
                  <a:pt x="34" y="34"/>
                  <a:pt x="34" y="34"/>
                  <a:pt x="34" y="34"/>
                </a:cubicBezTo>
                <a:cubicBezTo>
                  <a:pt x="33" y="34"/>
                  <a:pt x="33" y="34"/>
                  <a:pt x="33" y="34"/>
                </a:cubicBezTo>
                <a:cubicBezTo>
                  <a:pt x="32" y="33"/>
                  <a:pt x="32" y="33"/>
                  <a:pt x="32" y="33"/>
                </a:cubicBezTo>
                <a:cubicBezTo>
                  <a:pt x="31" y="32"/>
                  <a:pt x="31" y="32"/>
                  <a:pt x="31" y="32"/>
                </a:cubicBezTo>
                <a:cubicBezTo>
                  <a:pt x="32" y="32"/>
                  <a:pt x="32" y="32"/>
                  <a:pt x="32" y="32"/>
                </a:cubicBezTo>
                <a:close/>
                <a:moveTo>
                  <a:pt x="20" y="24"/>
                </a:moveTo>
                <a:cubicBezTo>
                  <a:pt x="21" y="23"/>
                  <a:pt x="21" y="23"/>
                  <a:pt x="21" y="23"/>
                </a:cubicBezTo>
                <a:cubicBezTo>
                  <a:pt x="22" y="23"/>
                  <a:pt x="22" y="23"/>
                  <a:pt x="22" y="23"/>
                </a:cubicBezTo>
                <a:cubicBezTo>
                  <a:pt x="23" y="24"/>
                  <a:pt x="23" y="24"/>
                  <a:pt x="23" y="24"/>
                </a:cubicBezTo>
                <a:cubicBezTo>
                  <a:pt x="25" y="25"/>
                  <a:pt x="25" y="25"/>
                  <a:pt x="25" y="25"/>
                </a:cubicBezTo>
                <a:cubicBezTo>
                  <a:pt x="26" y="25"/>
                  <a:pt x="26" y="25"/>
                  <a:pt x="26" y="25"/>
                </a:cubicBezTo>
                <a:cubicBezTo>
                  <a:pt x="26" y="25"/>
                  <a:pt x="26" y="25"/>
                  <a:pt x="26" y="25"/>
                </a:cubicBezTo>
                <a:cubicBezTo>
                  <a:pt x="27" y="25"/>
                  <a:pt x="27" y="25"/>
                  <a:pt x="27" y="25"/>
                </a:cubicBezTo>
                <a:cubicBezTo>
                  <a:pt x="27" y="25"/>
                  <a:pt x="27" y="25"/>
                  <a:pt x="27" y="25"/>
                </a:cubicBezTo>
                <a:cubicBezTo>
                  <a:pt x="28" y="27"/>
                  <a:pt x="28" y="27"/>
                  <a:pt x="28" y="27"/>
                </a:cubicBezTo>
                <a:cubicBezTo>
                  <a:pt x="29" y="28"/>
                  <a:pt x="29" y="28"/>
                  <a:pt x="29" y="28"/>
                </a:cubicBezTo>
                <a:cubicBezTo>
                  <a:pt x="29" y="28"/>
                  <a:pt x="29" y="28"/>
                  <a:pt x="29" y="28"/>
                </a:cubicBezTo>
                <a:cubicBezTo>
                  <a:pt x="29" y="29"/>
                  <a:pt x="29" y="29"/>
                  <a:pt x="29" y="29"/>
                </a:cubicBezTo>
                <a:cubicBezTo>
                  <a:pt x="29" y="30"/>
                  <a:pt x="29" y="30"/>
                  <a:pt x="29" y="30"/>
                </a:cubicBezTo>
                <a:cubicBezTo>
                  <a:pt x="30" y="31"/>
                  <a:pt x="30" y="31"/>
                  <a:pt x="30" y="31"/>
                </a:cubicBezTo>
                <a:cubicBezTo>
                  <a:pt x="30" y="30"/>
                  <a:pt x="30" y="30"/>
                  <a:pt x="30" y="30"/>
                </a:cubicBezTo>
                <a:cubicBezTo>
                  <a:pt x="31" y="30"/>
                  <a:pt x="31" y="30"/>
                  <a:pt x="31" y="30"/>
                </a:cubicBezTo>
                <a:cubicBezTo>
                  <a:pt x="31" y="32"/>
                  <a:pt x="31" y="32"/>
                  <a:pt x="31" y="32"/>
                </a:cubicBezTo>
                <a:cubicBezTo>
                  <a:pt x="30" y="31"/>
                  <a:pt x="30" y="31"/>
                  <a:pt x="30" y="31"/>
                </a:cubicBezTo>
                <a:cubicBezTo>
                  <a:pt x="30" y="32"/>
                  <a:pt x="30" y="32"/>
                  <a:pt x="30" y="32"/>
                </a:cubicBezTo>
                <a:cubicBezTo>
                  <a:pt x="29" y="31"/>
                  <a:pt x="29" y="31"/>
                  <a:pt x="29" y="31"/>
                </a:cubicBezTo>
                <a:cubicBezTo>
                  <a:pt x="28" y="30"/>
                  <a:pt x="28" y="30"/>
                  <a:pt x="28" y="30"/>
                </a:cubicBezTo>
                <a:cubicBezTo>
                  <a:pt x="28" y="30"/>
                  <a:pt x="28" y="30"/>
                  <a:pt x="28" y="30"/>
                </a:cubicBezTo>
                <a:cubicBezTo>
                  <a:pt x="28" y="29"/>
                  <a:pt x="28" y="29"/>
                  <a:pt x="28" y="29"/>
                </a:cubicBezTo>
                <a:cubicBezTo>
                  <a:pt x="27" y="28"/>
                  <a:pt x="27" y="28"/>
                  <a:pt x="27" y="28"/>
                </a:cubicBezTo>
                <a:cubicBezTo>
                  <a:pt x="27" y="28"/>
                  <a:pt x="27" y="28"/>
                  <a:pt x="27" y="28"/>
                </a:cubicBezTo>
                <a:cubicBezTo>
                  <a:pt x="26" y="28"/>
                  <a:pt x="26" y="28"/>
                  <a:pt x="26" y="28"/>
                </a:cubicBezTo>
                <a:cubicBezTo>
                  <a:pt x="25" y="27"/>
                  <a:pt x="25" y="27"/>
                  <a:pt x="25" y="27"/>
                </a:cubicBezTo>
                <a:cubicBezTo>
                  <a:pt x="24" y="26"/>
                  <a:pt x="24" y="26"/>
                  <a:pt x="24" y="26"/>
                </a:cubicBezTo>
                <a:cubicBezTo>
                  <a:pt x="24" y="26"/>
                  <a:pt x="24" y="26"/>
                  <a:pt x="24" y="26"/>
                </a:cubicBezTo>
                <a:cubicBezTo>
                  <a:pt x="23" y="25"/>
                  <a:pt x="23" y="25"/>
                  <a:pt x="23" y="25"/>
                </a:cubicBezTo>
                <a:cubicBezTo>
                  <a:pt x="22" y="25"/>
                  <a:pt x="22" y="25"/>
                  <a:pt x="22" y="25"/>
                </a:cubicBezTo>
                <a:cubicBezTo>
                  <a:pt x="22" y="25"/>
                  <a:pt x="22" y="25"/>
                  <a:pt x="22" y="25"/>
                </a:cubicBezTo>
                <a:cubicBezTo>
                  <a:pt x="22" y="24"/>
                  <a:pt x="22" y="24"/>
                  <a:pt x="22" y="24"/>
                </a:cubicBezTo>
                <a:cubicBezTo>
                  <a:pt x="21" y="24"/>
                  <a:pt x="21" y="24"/>
                  <a:pt x="21" y="24"/>
                </a:cubicBezTo>
                <a:cubicBezTo>
                  <a:pt x="20" y="24"/>
                  <a:pt x="20" y="24"/>
                  <a:pt x="20" y="24"/>
                </a:cubicBezTo>
                <a:close/>
                <a:moveTo>
                  <a:pt x="22" y="43"/>
                </a:moveTo>
                <a:cubicBezTo>
                  <a:pt x="22" y="42"/>
                  <a:pt x="22" y="42"/>
                  <a:pt x="22" y="42"/>
                </a:cubicBezTo>
                <a:cubicBezTo>
                  <a:pt x="22" y="43"/>
                  <a:pt x="22" y="43"/>
                  <a:pt x="22" y="43"/>
                </a:cubicBezTo>
                <a:cubicBezTo>
                  <a:pt x="23" y="44"/>
                  <a:pt x="23" y="44"/>
                  <a:pt x="23" y="44"/>
                </a:cubicBezTo>
                <a:cubicBezTo>
                  <a:pt x="22" y="45"/>
                  <a:pt x="22" y="45"/>
                  <a:pt x="22" y="45"/>
                </a:cubicBezTo>
                <a:cubicBezTo>
                  <a:pt x="22" y="45"/>
                  <a:pt x="22" y="45"/>
                  <a:pt x="22" y="45"/>
                </a:cubicBezTo>
                <a:cubicBezTo>
                  <a:pt x="22" y="44"/>
                  <a:pt x="22" y="44"/>
                  <a:pt x="22" y="44"/>
                </a:cubicBezTo>
                <a:cubicBezTo>
                  <a:pt x="21" y="43"/>
                  <a:pt x="21" y="43"/>
                  <a:pt x="21" y="43"/>
                </a:cubicBezTo>
                <a:cubicBezTo>
                  <a:pt x="22" y="43"/>
                  <a:pt x="22" y="43"/>
                  <a:pt x="22" y="43"/>
                </a:cubicBezTo>
                <a:close/>
                <a:moveTo>
                  <a:pt x="22" y="42"/>
                </a:moveTo>
                <a:cubicBezTo>
                  <a:pt x="22" y="42"/>
                  <a:pt x="22" y="42"/>
                  <a:pt x="22" y="42"/>
                </a:cubicBezTo>
                <a:cubicBezTo>
                  <a:pt x="22" y="42"/>
                  <a:pt x="22" y="42"/>
                  <a:pt x="22" y="42"/>
                </a:cubicBez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3" name="Freeform 81">
            <a:extLst>
              <a:ext uri="{FF2B5EF4-FFF2-40B4-BE49-F238E27FC236}">
                <a16:creationId xmlns:a16="http://schemas.microsoft.com/office/drawing/2014/main" id="{EEECA377-8AC4-DACF-343B-9CF53DE9D8FF}"/>
              </a:ext>
            </a:extLst>
          </p:cNvPr>
          <p:cNvSpPr>
            <a:spLocks noEditPoints="1"/>
          </p:cNvSpPr>
          <p:nvPr userDrawn="1"/>
        </p:nvSpPr>
        <p:spPr bwMode="auto">
          <a:xfrm>
            <a:off x="15797771" y="6546135"/>
            <a:ext cx="339704" cy="288926"/>
          </a:xfrm>
          <a:custGeom>
            <a:avLst/>
            <a:gdLst>
              <a:gd name="T0" fmla="*/ 0 w 107"/>
              <a:gd name="T1" fmla="*/ 16 h 91"/>
              <a:gd name="T2" fmla="*/ 19 w 107"/>
              <a:gd name="T3" fmla="*/ 19 h 91"/>
              <a:gd name="T4" fmla="*/ 35 w 107"/>
              <a:gd name="T5" fmla="*/ 22 h 91"/>
              <a:gd name="T6" fmla="*/ 32 w 107"/>
              <a:gd name="T7" fmla="*/ 12 h 91"/>
              <a:gd name="T8" fmla="*/ 28 w 107"/>
              <a:gd name="T9" fmla="*/ 3 h 91"/>
              <a:gd name="T10" fmla="*/ 44 w 107"/>
              <a:gd name="T11" fmla="*/ 9 h 91"/>
              <a:gd name="T12" fmla="*/ 57 w 107"/>
              <a:gd name="T13" fmla="*/ 16 h 91"/>
              <a:gd name="T14" fmla="*/ 63 w 107"/>
              <a:gd name="T15" fmla="*/ 9 h 91"/>
              <a:gd name="T16" fmla="*/ 75 w 107"/>
              <a:gd name="T17" fmla="*/ 3 h 91"/>
              <a:gd name="T18" fmla="*/ 82 w 107"/>
              <a:gd name="T19" fmla="*/ 16 h 91"/>
              <a:gd name="T20" fmla="*/ 91 w 107"/>
              <a:gd name="T21" fmla="*/ 25 h 91"/>
              <a:gd name="T22" fmla="*/ 94 w 107"/>
              <a:gd name="T23" fmla="*/ 31 h 91"/>
              <a:gd name="T24" fmla="*/ 103 w 107"/>
              <a:gd name="T25" fmla="*/ 34 h 91"/>
              <a:gd name="T26" fmla="*/ 103 w 107"/>
              <a:gd name="T27" fmla="*/ 37 h 91"/>
              <a:gd name="T28" fmla="*/ 97 w 107"/>
              <a:gd name="T29" fmla="*/ 41 h 91"/>
              <a:gd name="T30" fmla="*/ 91 w 107"/>
              <a:gd name="T31" fmla="*/ 50 h 91"/>
              <a:gd name="T32" fmla="*/ 91 w 107"/>
              <a:gd name="T33" fmla="*/ 56 h 91"/>
              <a:gd name="T34" fmla="*/ 91 w 107"/>
              <a:gd name="T35" fmla="*/ 62 h 91"/>
              <a:gd name="T36" fmla="*/ 88 w 107"/>
              <a:gd name="T37" fmla="*/ 66 h 91"/>
              <a:gd name="T38" fmla="*/ 88 w 107"/>
              <a:gd name="T39" fmla="*/ 75 h 91"/>
              <a:gd name="T40" fmla="*/ 88 w 107"/>
              <a:gd name="T41" fmla="*/ 69 h 91"/>
              <a:gd name="T42" fmla="*/ 85 w 107"/>
              <a:gd name="T43" fmla="*/ 69 h 91"/>
              <a:gd name="T44" fmla="*/ 85 w 107"/>
              <a:gd name="T45" fmla="*/ 75 h 91"/>
              <a:gd name="T46" fmla="*/ 85 w 107"/>
              <a:gd name="T47" fmla="*/ 81 h 91"/>
              <a:gd name="T48" fmla="*/ 82 w 107"/>
              <a:gd name="T49" fmla="*/ 91 h 91"/>
              <a:gd name="T50" fmla="*/ 78 w 107"/>
              <a:gd name="T51" fmla="*/ 87 h 91"/>
              <a:gd name="T52" fmla="*/ 69 w 107"/>
              <a:gd name="T53" fmla="*/ 78 h 91"/>
              <a:gd name="T54" fmla="*/ 69 w 107"/>
              <a:gd name="T55" fmla="*/ 72 h 91"/>
              <a:gd name="T56" fmla="*/ 72 w 107"/>
              <a:gd name="T57" fmla="*/ 66 h 91"/>
              <a:gd name="T58" fmla="*/ 66 w 107"/>
              <a:gd name="T59" fmla="*/ 62 h 91"/>
              <a:gd name="T60" fmla="*/ 66 w 107"/>
              <a:gd name="T61" fmla="*/ 59 h 91"/>
              <a:gd name="T62" fmla="*/ 60 w 107"/>
              <a:gd name="T63" fmla="*/ 62 h 91"/>
              <a:gd name="T64" fmla="*/ 53 w 107"/>
              <a:gd name="T65" fmla="*/ 66 h 91"/>
              <a:gd name="T66" fmla="*/ 47 w 107"/>
              <a:gd name="T67" fmla="*/ 72 h 91"/>
              <a:gd name="T68" fmla="*/ 44 w 107"/>
              <a:gd name="T69" fmla="*/ 75 h 91"/>
              <a:gd name="T70" fmla="*/ 41 w 107"/>
              <a:gd name="T71" fmla="*/ 78 h 91"/>
              <a:gd name="T72" fmla="*/ 38 w 107"/>
              <a:gd name="T73" fmla="*/ 75 h 91"/>
              <a:gd name="T74" fmla="*/ 41 w 107"/>
              <a:gd name="T75" fmla="*/ 72 h 91"/>
              <a:gd name="T76" fmla="*/ 41 w 107"/>
              <a:gd name="T77" fmla="*/ 66 h 91"/>
              <a:gd name="T78" fmla="*/ 32 w 107"/>
              <a:gd name="T79" fmla="*/ 59 h 91"/>
              <a:gd name="T80" fmla="*/ 19 w 107"/>
              <a:gd name="T81" fmla="*/ 50 h 91"/>
              <a:gd name="T82" fmla="*/ 22 w 107"/>
              <a:gd name="T83" fmla="*/ 44 h 91"/>
              <a:gd name="T84" fmla="*/ 16 w 107"/>
              <a:gd name="T85" fmla="*/ 31 h 91"/>
              <a:gd name="T86" fmla="*/ 13 w 107"/>
              <a:gd name="T87" fmla="*/ 22 h 91"/>
              <a:gd name="T88" fmla="*/ 0 w 107"/>
              <a:gd name="T89" fmla="*/ 19 h 91"/>
              <a:gd name="T90" fmla="*/ 35 w 107"/>
              <a:gd name="T91" fmla="*/ 78 h 91"/>
              <a:gd name="T92" fmla="*/ 19 w 107"/>
              <a:gd name="T93" fmla="*/ 62 h 91"/>
              <a:gd name="T94" fmla="*/ 13 w 107"/>
              <a:gd name="T95" fmla="*/ 56 h 91"/>
              <a:gd name="T96" fmla="*/ 7 w 107"/>
              <a:gd name="T97" fmla="*/ 53 h 91"/>
              <a:gd name="T98" fmla="*/ 0 w 107"/>
              <a:gd name="T99" fmla="*/ 56 h 91"/>
              <a:gd name="T100" fmla="*/ 0 w 107"/>
              <a:gd name="T101" fmla="*/ 56 h 91"/>
              <a:gd name="T102" fmla="*/ 7 w 107"/>
              <a:gd name="T103" fmla="*/ 59 h 91"/>
              <a:gd name="T104" fmla="*/ 7 w 107"/>
              <a:gd name="T105" fmla="*/ 66 h 91"/>
              <a:gd name="T106" fmla="*/ 16 w 107"/>
              <a:gd name="T107" fmla="*/ 75 h 91"/>
              <a:gd name="T108" fmla="*/ 28 w 107"/>
              <a:gd name="T109" fmla="*/ 78 h 91"/>
              <a:gd name="T110" fmla="*/ 35 w 107"/>
              <a:gd name="T111" fmla="*/ 7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 h="91">
                <a:moveTo>
                  <a:pt x="0" y="19"/>
                </a:moveTo>
                <a:lnTo>
                  <a:pt x="0" y="16"/>
                </a:lnTo>
                <a:lnTo>
                  <a:pt x="10" y="12"/>
                </a:lnTo>
                <a:lnTo>
                  <a:pt x="19" y="19"/>
                </a:lnTo>
                <a:lnTo>
                  <a:pt x="28" y="19"/>
                </a:lnTo>
                <a:lnTo>
                  <a:pt x="35" y="22"/>
                </a:lnTo>
                <a:lnTo>
                  <a:pt x="35" y="16"/>
                </a:lnTo>
                <a:lnTo>
                  <a:pt x="32" y="12"/>
                </a:lnTo>
                <a:lnTo>
                  <a:pt x="28" y="9"/>
                </a:lnTo>
                <a:lnTo>
                  <a:pt x="28" y="3"/>
                </a:lnTo>
                <a:lnTo>
                  <a:pt x="35" y="3"/>
                </a:lnTo>
                <a:lnTo>
                  <a:pt x="44" y="9"/>
                </a:lnTo>
                <a:lnTo>
                  <a:pt x="47" y="16"/>
                </a:lnTo>
                <a:lnTo>
                  <a:pt x="57" y="16"/>
                </a:lnTo>
                <a:lnTo>
                  <a:pt x="57" y="12"/>
                </a:lnTo>
                <a:lnTo>
                  <a:pt x="63" y="9"/>
                </a:lnTo>
                <a:lnTo>
                  <a:pt x="69" y="0"/>
                </a:lnTo>
                <a:lnTo>
                  <a:pt x="75" y="3"/>
                </a:lnTo>
                <a:lnTo>
                  <a:pt x="82" y="12"/>
                </a:lnTo>
                <a:lnTo>
                  <a:pt x="82" y="16"/>
                </a:lnTo>
                <a:lnTo>
                  <a:pt x="82" y="22"/>
                </a:lnTo>
                <a:lnTo>
                  <a:pt x="91" y="25"/>
                </a:lnTo>
                <a:lnTo>
                  <a:pt x="91" y="28"/>
                </a:lnTo>
                <a:lnTo>
                  <a:pt x="94" y="31"/>
                </a:lnTo>
                <a:lnTo>
                  <a:pt x="100" y="31"/>
                </a:lnTo>
                <a:lnTo>
                  <a:pt x="103" y="34"/>
                </a:lnTo>
                <a:lnTo>
                  <a:pt x="107" y="37"/>
                </a:lnTo>
                <a:lnTo>
                  <a:pt x="103" y="37"/>
                </a:lnTo>
                <a:lnTo>
                  <a:pt x="103" y="41"/>
                </a:lnTo>
                <a:lnTo>
                  <a:pt x="97" y="41"/>
                </a:lnTo>
                <a:lnTo>
                  <a:pt x="91" y="44"/>
                </a:lnTo>
                <a:lnTo>
                  <a:pt x="91" y="50"/>
                </a:lnTo>
                <a:lnTo>
                  <a:pt x="91" y="53"/>
                </a:lnTo>
                <a:lnTo>
                  <a:pt x="91" y="56"/>
                </a:lnTo>
                <a:lnTo>
                  <a:pt x="91" y="59"/>
                </a:lnTo>
                <a:lnTo>
                  <a:pt x="91" y="62"/>
                </a:lnTo>
                <a:lnTo>
                  <a:pt x="91" y="66"/>
                </a:lnTo>
                <a:lnTo>
                  <a:pt x="88" y="66"/>
                </a:lnTo>
                <a:lnTo>
                  <a:pt x="88" y="72"/>
                </a:lnTo>
                <a:lnTo>
                  <a:pt x="88" y="75"/>
                </a:lnTo>
                <a:lnTo>
                  <a:pt x="88" y="75"/>
                </a:lnTo>
                <a:lnTo>
                  <a:pt x="88" y="69"/>
                </a:lnTo>
                <a:lnTo>
                  <a:pt x="85" y="66"/>
                </a:lnTo>
                <a:lnTo>
                  <a:pt x="85" y="69"/>
                </a:lnTo>
                <a:lnTo>
                  <a:pt x="82" y="72"/>
                </a:lnTo>
                <a:lnTo>
                  <a:pt x="85" y="75"/>
                </a:lnTo>
                <a:lnTo>
                  <a:pt x="85" y="78"/>
                </a:lnTo>
                <a:lnTo>
                  <a:pt x="85" y="81"/>
                </a:lnTo>
                <a:lnTo>
                  <a:pt x="85" y="87"/>
                </a:lnTo>
                <a:lnTo>
                  <a:pt x="82" y="91"/>
                </a:lnTo>
                <a:lnTo>
                  <a:pt x="78" y="87"/>
                </a:lnTo>
                <a:lnTo>
                  <a:pt x="78" y="87"/>
                </a:lnTo>
                <a:lnTo>
                  <a:pt x="75" y="84"/>
                </a:lnTo>
                <a:lnTo>
                  <a:pt x="69" y="78"/>
                </a:lnTo>
                <a:lnTo>
                  <a:pt x="75" y="72"/>
                </a:lnTo>
                <a:lnTo>
                  <a:pt x="69" y="72"/>
                </a:lnTo>
                <a:lnTo>
                  <a:pt x="69" y="69"/>
                </a:lnTo>
                <a:lnTo>
                  <a:pt x="72" y="66"/>
                </a:lnTo>
                <a:lnTo>
                  <a:pt x="69" y="62"/>
                </a:lnTo>
                <a:lnTo>
                  <a:pt x="66" y="62"/>
                </a:lnTo>
                <a:lnTo>
                  <a:pt x="66" y="59"/>
                </a:lnTo>
                <a:lnTo>
                  <a:pt x="66" y="59"/>
                </a:lnTo>
                <a:lnTo>
                  <a:pt x="63" y="59"/>
                </a:lnTo>
                <a:lnTo>
                  <a:pt x="60" y="62"/>
                </a:lnTo>
                <a:lnTo>
                  <a:pt x="57" y="62"/>
                </a:lnTo>
                <a:lnTo>
                  <a:pt x="53" y="66"/>
                </a:lnTo>
                <a:lnTo>
                  <a:pt x="53" y="66"/>
                </a:lnTo>
                <a:lnTo>
                  <a:pt x="47" y="72"/>
                </a:lnTo>
                <a:lnTo>
                  <a:pt x="47" y="72"/>
                </a:lnTo>
                <a:lnTo>
                  <a:pt x="44" y="75"/>
                </a:lnTo>
                <a:lnTo>
                  <a:pt x="44" y="75"/>
                </a:lnTo>
                <a:lnTo>
                  <a:pt x="41" y="78"/>
                </a:lnTo>
                <a:lnTo>
                  <a:pt x="38" y="75"/>
                </a:lnTo>
                <a:lnTo>
                  <a:pt x="38" y="75"/>
                </a:lnTo>
                <a:lnTo>
                  <a:pt x="38" y="72"/>
                </a:lnTo>
                <a:lnTo>
                  <a:pt x="41" y="72"/>
                </a:lnTo>
                <a:lnTo>
                  <a:pt x="38" y="66"/>
                </a:lnTo>
                <a:lnTo>
                  <a:pt x="41" y="66"/>
                </a:lnTo>
                <a:lnTo>
                  <a:pt x="38" y="59"/>
                </a:lnTo>
                <a:lnTo>
                  <a:pt x="32" y="59"/>
                </a:lnTo>
                <a:lnTo>
                  <a:pt x="22" y="56"/>
                </a:lnTo>
                <a:lnTo>
                  <a:pt x="19" y="50"/>
                </a:lnTo>
                <a:lnTo>
                  <a:pt x="22" y="47"/>
                </a:lnTo>
                <a:lnTo>
                  <a:pt x="22" y="44"/>
                </a:lnTo>
                <a:lnTo>
                  <a:pt x="16" y="34"/>
                </a:lnTo>
                <a:lnTo>
                  <a:pt x="16" y="31"/>
                </a:lnTo>
                <a:lnTo>
                  <a:pt x="16" y="28"/>
                </a:lnTo>
                <a:lnTo>
                  <a:pt x="13" y="22"/>
                </a:lnTo>
                <a:lnTo>
                  <a:pt x="3" y="22"/>
                </a:lnTo>
                <a:lnTo>
                  <a:pt x="0" y="19"/>
                </a:lnTo>
                <a:lnTo>
                  <a:pt x="0" y="19"/>
                </a:lnTo>
                <a:close/>
                <a:moveTo>
                  <a:pt x="35" y="78"/>
                </a:moveTo>
                <a:lnTo>
                  <a:pt x="25" y="62"/>
                </a:lnTo>
                <a:lnTo>
                  <a:pt x="19" y="62"/>
                </a:lnTo>
                <a:lnTo>
                  <a:pt x="16" y="56"/>
                </a:lnTo>
                <a:lnTo>
                  <a:pt x="13" y="56"/>
                </a:lnTo>
                <a:lnTo>
                  <a:pt x="13" y="59"/>
                </a:lnTo>
                <a:lnTo>
                  <a:pt x="7" y="53"/>
                </a:lnTo>
                <a:lnTo>
                  <a:pt x="3" y="56"/>
                </a:lnTo>
                <a:lnTo>
                  <a:pt x="0" y="56"/>
                </a:lnTo>
                <a:lnTo>
                  <a:pt x="0" y="56"/>
                </a:lnTo>
                <a:lnTo>
                  <a:pt x="0" y="56"/>
                </a:lnTo>
                <a:lnTo>
                  <a:pt x="3" y="59"/>
                </a:lnTo>
                <a:lnTo>
                  <a:pt x="7" y="59"/>
                </a:lnTo>
                <a:lnTo>
                  <a:pt x="10" y="62"/>
                </a:lnTo>
                <a:lnTo>
                  <a:pt x="7" y="66"/>
                </a:lnTo>
                <a:lnTo>
                  <a:pt x="16" y="72"/>
                </a:lnTo>
                <a:lnTo>
                  <a:pt x="16" y="75"/>
                </a:lnTo>
                <a:lnTo>
                  <a:pt x="22" y="78"/>
                </a:lnTo>
                <a:lnTo>
                  <a:pt x="28" y="78"/>
                </a:lnTo>
                <a:lnTo>
                  <a:pt x="32" y="81"/>
                </a:lnTo>
                <a:lnTo>
                  <a:pt x="35" y="78"/>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4" name="Freeform 82">
            <a:extLst>
              <a:ext uri="{FF2B5EF4-FFF2-40B4-BE49-F238E27FC236}">
                <a16:creationId xmlns:a16="http://schemas.microsoft.com/office/drawing/2014/main" id="{DE9BCCB0-08C2-2007-D231-67770D30D14F}"/>
              </a:ext>
            </a:extLst>
          </p:cNvPr>
          <p:cNvSpPr>
            <a:spLocks/>
          </p:cNvSpPr>
          <p:nvPr userDrawn="1"/>
        </p:nvSpPr>
        <p:spPr bwMode="auto">
          <a:xfrm>
            <a:off x="15769196" y="6723931"/>
            <a:ext cx="1279443" cy="1035050"/>
          </a:xfrm>
          <a:custGeom>
            <a:avLst/>
            <a:gdLst>
              <a:gd name="T0" fmla="*/ 19 w 403"/>
              <a:gd name="T1" fmla="*/ 6 h 326"/>
              <a:gd name="T2" fmla="*/ 37 w 403"/>
              <a:gd name="T3" fmla="*/ 22 h 326"/>
              <a:gd name="T4" fmla="*/ 50 w 403"/>
              <a:gd name="T5" fmla="*/ 22 h 326"/>
              <a:gd name="T6" fmla="*/ 62 w 403"/>
              <a:gd name="T7" fmla="*/ 10 h 326"/>
              <a:gd name="T8" fmla="*/ 75 w 403"/>
              <a:gd name="T9" fmla="*/ 3 h 326"/>
              <a:gd name="T10" fmla="*/ 78 w 403"/>
              <a:gd name="T11" fmla="*/ 13 h 326"/>
              <a:gd name="T12" fmla="*/ 87 w 403"/>
              <a:gd name="T13" fmla="*/ 31 h 326"/>
              <a:gd name="T14" fmla="*/ 97 w 403"/>
              <a:gd name="T15" fmla="*/ 38 h 326"/>
              <a:gd name="T16" fmla="*/ 103 w 403"/>
              <a:gd name="T17" fmla="*/ 53 h 326"/>
              <a:gd name="T18" fmla="*/ 125 w 403"/>
              <a:gd name="T19" fmla="*/ 57 h 326"/>
              <a:gd name="T20" fmla="*/ 153 w 403"/>
              <a:gd name="T21" fmla="*/ 72 h 326"/>
              <a:gd name="T22" fmla="*/ 200 w 403"/>
              <a:gd name="T23" fmla="*/ 69 h 326"/>
              <a:gd name="T24" fmla="*/ 209 w 403"/>
              <a:gd name="T25" fmla="*/ 50 h 326"/>
              <a:gd name="T26" fmla="*/ 234 w 403"/>
              <a:gd name="T27" fmla="*/ 35 h 326"/>
              <a:gd name="T28" fmla="*/ 253 w 403"/>
              <a:gd name="T29" fmla="*/ 31 h 326"/>
              <a:gd name="T30" fmla="*/ 284 w 403"/>
              <a:gd name="T31" fmla="*/ 44 h 326"/>
              <a:gd name="T32" fmla="*/ 303 w 403"/>
              <a:gd name="T33" fmla="*/ 53 h 326"/>
              <a:gd name="T34" fmla="*/ 334 w 403"/>
              <a:gd name="T35" fmla="*/ 75 h 326"/>
              <a:gd name="T36" fmla="*/ 337 w 403"/>
              <a:gd name="T37" fmla="*/ 94 h 326"/>
              <a:gd name="T38" fmla="*/ 337 w 403"/>
              <a:gd name="T39" fmla="*/ 107 h 326"/>
              <a:gd name="T40" fmla="*/ 331 w 403"/>
              <a:gd name="T41" fmla="*/ 122 h 326"/>
              <a:gd name="T42" fmla="*/ 341 w 403"/>
              <a:gd name="T43" fmla="*/ 135 h 326"/>
              <a:gd name="T44" fmla="*/ 341 w 403"/>
              <a:gd name="T45" fmla="*/ 169 h 326"/>
              <a:gd name="T46" fmla="*/ 362 w 403"/>
              <a:gd name="T47" fmla="*/ 194 h 326"/>
              <a:gd name="T48" fmla="*/ 362 w 403"/>
              <a:gd name="T49" fmla="*/ 241 h 326"/>
              <a:gd name="T50" fmla="*/ 384 w 403"/>
              <a:gd name="T51" fmla="*/ 254 h 326"/>
              <a:gd name="T52" fmla="*/ 391 w 403"/>
              <a:gd name="T53" fmla="*/ 272 h 326"/>
              <a:gd name="T54" fmla="*/ 400 w 403"/>
              <a:gd name="T55" fmla="*/ 291 h 326"/>
              <a:gd name="T56" fmla="*/ 375 w 403"/>
              <a:gd name="T57" fmla="*/ 297 h 326"/>
              <a:gd name="T58" fmla="*/ 375 w 403"/>
              <a:gd name="T59" fmla="*/ 322 h 326"/>
              <a:gd name="T60" fmla="*/ 356 w 403"/>
              <a:gd name="T61" fmla="*/ 319 h 326"/>
              <a:gd name="T62" fmla="*/ 347 w 403"/>
              <a:gd name="T63" fmla="*/ 319 h 326"/>
              <a:gd name="T64" fmla="*/ 319 w 403"/>
              <a:gd name="T65" fmla="*/ 316 h 326"/>
              <a:gd name="T66" fmla="*/ 297 w 403"/>
              <a:gd name="T67" fmla="*/ 313 h 326"/>
              <a:gd name="T68" fmla="*/ 281 w 403"/>
              <a:gd name="T69" fmla="*/ 297 h 326"/>
              <a:gd name="T70" fmla="*/ 272 w 403"/>
              <a:gd name="T71" fmla="*/ 282 h 326"/>
              <a:gd name="T72" fmla="*/ 253 w 403"/>
              <a:gd name="T73" fmla="*/ 282 h 326"/>
              <a:gd name="T74" fmla="*/ 222 w 403"/>
              <a:gd name="T75" fmla="*/ 288 h 326"/>
              <a:gd name="T76" fmla="*/ 203 w 403"/>
              <a:gd name="T77" fmla="*/ 282 h 326"/>
              <a:gd name="T78" fmla="*/ 191 w 403"/>
              <a:gd name="T79" fmla="*/ 272 h 326"/>
              <a:gd name="T80" fmla="*/ 169 w 403"/>
              <a:gd name="T81" fmla="*/ 266 h 326"/>
              <a:gd name="T82" fmla="*/ 153 w 403"/>
              <a:gd name="T83" fmla="*/ 244 h 326"/>
              <a:gd name="T84" fmla="*/ 153 w 403"/>
              <a:gd name="T85" fmla="*/ 241 h 326"/>
              <a:gd name="T86" fmla="*/ 137 w 403"/>
              <a:gd name="T87" fmla="*/ 216 h 326"/>
              <a:gd name="T88" fmla="*/ 125 w 403"/>
              <a:gd name="T89" fmla="*/ 216 h 326"/>
              <a:gd name="T90" fmla="*/ 116 w 403"/>
              <a:gd name="T91" fmla="*/ 213 h 326"/>
              <a:gd name="T92" fmla="*/ 112 w 403"/>
              <a:gd name="T93" fmla="*/ 219 h 326"/>
              <a:gd name="T94" fmla="*/ 103 w 403"/>
              <a:gd name="T95" fmla="*/ 213 h 326"/>
              <a:gd name="T96" fmla="*/ 91 w 403"/>
              <a:gd name="T97" fmla="*/ 188 h 326"/>
              <a:gd name="T98" fmla="*/ 81 w 403"/>
              <a:gd name="T99" fmla="*/ 163 h 326"/>
              <a:gd name="T100" fmla="*/ 53 w 403"/>
              <a:gd name="T101" fmla="*/ 153 h 326"/>
              <a:gd name="T102" fmla="*/ 50 w 403"/>
              <a:gd name="T103" fmla="*/ 141 h 326"/>
              <a:gd name="T104" fmla="*/ 44 w 403"/>
              <a:gd name="T105" fmla="*/ 132 h 326"/>
              <a:gd name="T106" fmla="*/ 47 w 403"/>
              <a:gd name="T107" fmla="*/ 113 h 326"/>
              <a:gd name="T108" fmla="*/ 50 w 403"/>
              <a:gd name="T109" fmla="*/ 97 h 326"/>
              <a:gd name="T110" fmla="*/ 53 w 403"/>
              <a:gd name="T111" fmla="*/ 91 h 326"/>
              <a:gd name="T112" fmla="*/ 31 w 403"/>
              <a:gd name="T113" fmla="*/ 85 h 326"/>
              <a:gd name="T114" fmla="*/ 22 w 403"/>
              <a:gd name="T115" fmla="*/ 69 h 326"/>
              <a:gd name="T116" fmla="*/ 16 w 403"/>
              <a:gd name="T117" fmla="*/ 57 h 326"/>
              <a:gd name="T118" fmla="*/ 9 w 403"/>
              <a:gd name="T119" fmla="*/ 35 h 326"/>
              <a:gd name="T120" fmla="*/ 3 w 403"/>
              <a:gd name="T121" fmla="*/ 13 h 326"/>
              <a:gd name="T122" fmla="*/ 9 w 403"/>
              <a:gd name="T123"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3" h="326">
                <a:moveTo>
                  <a:pt x="9" y="0"/>
                </a:moveTo>
                <a:lnTo>
                  <a:pt x="9" y="0"/>
                </a:lnTo>
                <a:lnTo>
                  <a:pt x="12" y="3"/>
                </a:lnTo>
                <a:lnTo>
                  <a:pt x="16" y="3"/>
                </a:lnTo>
                <a:lnTo>
                  <a:pt x="19" y="6"/>
                </a:lnTo>
                <a:lnTo>
                  <a:pt x="16" y="10"/>
                </a:lnTo>
                <a:lnTo>
                  <a:pt x="25" y="16"/>
                </a:lnTo>
                <a:lnTo>
                  <a:pt x="25" y="19"/>
                </a:lnTo>
                <a:lnTo>
                  <a:pt x="31" y="22"/>
                </a:lnTo>
                <a:lnTo>
                  <a:pt x="37" y="22"/>
                </a:lnTo>
                <a:lnTo>
                  <a:pt x="41" y="25"/>
                </a:lnTo>
                <a:lnTo>
                  <a:pt x="44" y="22"/>
                </a:lnTo>
                <a:lnTo>
                  <a:pt x="44" y="22"/>
                </a:lnTo>
                <a:lnTo>
                  <a:pt x="47" y="19"/>
                </a:lnTo>
                <a:lnTo>
                  <a:pt x="50" y="22"/>
                </a:lnTo>
                <a:lnTo>
                  <a:pt x="53" y="19"/>
                </a:lnTo>
                <a:lnTo>
                  <a:pt x="53" y="19"/>
                </a:lnTo>
                <a:lnTo>
                  <a:pt x="56" y="16"/>
                </a:lnTo>
                <a:lnTo>
                  <a:pt x="56" y="16"/>
                </a:lnTo>
                <a:lnTo>
                  <a:pt x="62" y="10"/>
                </a:lnTo>
                <a:lnTo>
                  <a:pt x="62" y="10"/>
                </a:lnTo>
                <a:lnTo>
                  <a:pt x="66" y="6"/>
                </a:lnTo>
                <a:lnTo>
                  <a:pt x="69" y="6"/>
                </a:lnTo>
                <a:lnTo>
                  <a:pt x="72" y="3"/>
                </a:lnTo>
                <a:lnTo>
                  <a:pt x="75" y="3"/>
                </a:lnTo>
                <a:lnTo>
                  <a:pt x="75" y="3"/>
                </a:lnTo>
                <a:lnTo>
                  <a:pt x="75" y="6"/>
                </a:lnTo>
                <a:lnTo>
                  <a:pt x="78" y="6"/>
                </a:lnTo>
                <a:lnTo>
                  <a:pt x="81" y="10"/>
                </a:lnTo>
                <a:lnTo>
                  <a:pt x="78" y="13"/>
                </a:lnTo>
                <a:lnTo>
                  <a:pt x="78" y="16"/>
                </a:lnTo>
                <a:lnTo>
                  <a:pt x="84" y="16"/>
                </a:lnTo>
                <a:lnTo>
                  <a:pt x="78" y="22"/>
                </a:lnTo>
                <a:lnTo>
                  <a:pt x="84" y="28"/>
                </a:lnTo>
                <a:lnTo>
                  <a:pt x="87" y="31"/>
                </a:lnTo>
                <a:lnTo>
                  <a:pt x="87" y="31"/>
                </a:lnTo>
                <a:lnTo>
                  <a:pt x="91" y="35"/>
                </a:lnTo>
                <a:lnTo>
                  <a:pt x="94" y="31"/>
                </a:lnTo>
                <a:lnTo>
                  <a:pt x="94" y="35"/>
                </a:lnTo>
                <a:lnTo>
                  <a:pt x="97" y="38"/>
                </a:lnTo>
                <a:lnTo>
                  <a:pt x="97" y="41"/>
                </a:lnTo>
                <a:lnTo>
                  <a:pt x="97" y="47"/>
                </a:lnTo>
                <a:lnTo>
                  <a:pt x="97" y="47"/>
                </a:lnTo>
                <a:lnTo>
                  <a:pt x="100" y="50"/>
                </a:lnTo>
                <a:lnTo>
                  <a:pt x="103" y="53"/>
                </a:lnTo>
                <a:lnTo>
                  <a:pt x="109" y="53"/>
                </a:lnTo>
                <a:lnTo>
                  <a:pt x="112" y="53"/>
                </a:lnTo>
                <a:lnTo>
                  <a:pt x="116" y="53"/>
                </a:lnTo>
                <a:lnTo>
                  <a:pt x="122" y="57"/>
                </a:lnTo>
                <a:lnTo>
                  <a:pt x="125" y="57"/>
                </a:lnTo>
                <a:lnTo>
                  <a:pt x="125" y="60"/>
                </a:lnTo>
                <a:lnTo>
                  <a:pt x="128" y="63"/>
                </a:lnTo>
                <a:lnTo>
                  <a:pt x="137" y="69"/>
                </a:lnTo>
                <a:lnTo>
                  <a:pt x="144" y="69"/>
                </a:lnTo>
                <a:lnTo>
                  <a:pt x="153" y="72"/>
                </a:lnTo>
                <a:lnTo>
                  <a:pt x="159" y="72"/>
                </a:lnTo>
                <a:lnTo>
                  <a:pt x="172" y="69"/>
                </a:lnTo>
                <a:lnTo>
                  <a:pt x="184" y="66"/>
                </a:lnTo>
                <a:lnTo>
                  <a:pt x="194" y="66"/>
                </a:lnTo>
                <a:lnTo>
                  <a:pt x="200" y="69"/>
                </a:lnTo>
                <a:lnTo>
                  <a:pt x="200" y="63"/>
                </a:lnTo>
                <a:lnTo>
                  <a:pt x="197" y="60"/>
                </a:lnTo>
                <a:lnTo>
                  <a:pt x="197" y="53"/>
                </a:lnTo>
                <a:lnTo>
                  <a:pt x="200" y="50"/>
                </a:lnTo>
                <a:lnTo>
                  <a:pt x="209" y="50"/>
                </a:lnTo>
                <a:lnTo>
                  <a:pt x="209" y="44"/>
                </a:lnTo>
                <a:lnTo>
                  <a:pt x="212" y="41"/>
                </a:lnTo>
                <a:lnTo>
                  <a:pt x="216" y="41"/>
                </a:lnTo>
                <a:lnTo>
                  <a:pt x="225" y="35"/>
                </a:lnTo>
                <a:lnTo>
                  <a:pt x="234" y="35"/>
                </a:lnTo>
                <a:lnTo>
                  <a:pt x="241" y="35"/>
                </a:lnTo>
                <a:lnTo>
                  <a:pt x="241" y="31"/>
                </a:lnTo>
                <a:lnTo>
                  <a:pt x="247" y="28"/>
                </a:lnTo>
                <a:lnTo>
                  <a:pt x="250" y="31"/>
                </a:lnTo>
                <a:lnTo>
                  <a:pt x="253" y="31"/>
                </a:lnTo>
                <a:lnTo>
                  <a:pt x="262" y="38"/>
                </a:lnTo>
                <a:lnTo>
                  <a:pt x="266" y="38"/>
                </a:lnTo>
                <a:lnTo>
                  <a:pt x="278" y="44"/>
                </a:lnTo>
                <a:lnTo>
                  <a:pt x="281" y="44"/>
                </a:lnTo>
                <a:lnTo>
                  <a:pt x="284" y="44"/>
                </a:lnTo>
                <a:lnTo>
                  <a:pt x="294" y="47"/>
                </a:lnTo>
                <a:lnTo>
                  <a:pt x="297" y="47"/>
                </a:lnTo>
                <a:lnTo>
                  <a:pt x="297" y="53"/>
                </a:lnTo>
                <a:lnTo>
                  <a:pt x="300" y="53"/>
                </a:lnTo>
                <a:lnTo>
                  <a:pt x="303" y="53"/>
                </a:lnTo>
                <a:lnTo>
                  <a:pt x="312" y="57"/>
                </a:lnTo>
                <a:lnTo>
                  <a:pt x="319" y="66"/>
                </a:lnTo>
                <a:lnTo>
                  <a:pt x="328" y="66"/>
                </a:lnTo>
                <a:lnTo>
                  <a:pt x="331" y="69"/>
                </a:lnTo>
                <a:lnTo>
                  <a:pt x="334" y="75"/>
                </a:lnTo>
                <a:lnTo>
                  <a:pt x="334" y="78"/>
                </a:lnTo>
                <a:lnTo>
                  <a:pt x="337" y="82"/>
                </a:lnTo>
                <a:lnTo>
                  <a:pt x="337" y="85"/>
                </a:lnTo>
                <a:lnTo>
                  <a:pt x="337" y="88"/>
                </a:lnTo>
                <a:lnTo>
                  <a:pt x="337" y="94"/>
                </a:lnTo>
                <a:lnTo>
                  <a:pt x="337" y="97"/>
                </a:lnTo>
                <a:lnTo>
                  <a:pt x="337" y="100"/>
                </a:lnTo>
                <a:lnTo>
                  <a:pt x="341" y="103"/>
                </a:lnTo>
                <a:lnTo>
                  <a:pt x="337" y="103"/>
                </a:lnTo>
                <a:lnTo>
                  <a:pt x="337" y="107"/>
                </a:lnTo>
                <a:lnTo>
                  <a:pt x="334" y="110"/>
                </a:lnTo>
                <a:lnTo>
                  <a:pt x="328" y="113"/>
                </a:lnTo>
                <a:lnTo>
                  <a:pt x="331" y="113"/>
                </a:lnTo>
                <a:lnTo>
                  <a:pt x="334" y="116"/>
                </a:lnTo>
                <a:lnTo>
                  <a:pt x="331" y="122"/>
                </a:lnTo>
                <a:lnTo>
                  <a:pt x="331" y="122"/>
                </a:lnTo>
                <a:lnTo>
                  <a:pt x="331" y="128"/>
                </a:lnTo>
                <a:lnTo>
                  <a:pt x="331" y="135"/>
                </a:lnTo>
                <a:lnTo>
                  <a:pt x="341" y="135"/>
                </a:lnTo>
                <a:lnTo>
                  <a:pt x="341" y="135"/>
                </a:lnTo>
                <a:lnTo>
                  <a:pt x="334" y="144"/>
                </a:lnTo>
                <a:lnTo>
                  <a:pt x="334" y="147"/>
                </a:lnTo>
                <a:lnTo>
                  <a:pt x="341" y="157"/>
                </a:lnTo>
                <a:lnTo>
                  <a:pt x="341" y="166"/>
                </a:lnTo>
                <a:lnTo>
                  <a:pt x="341" y="169"/>
                </a:lnTo>
                <a:lnTo>
                  <a:pt x="344" y="172"/>
                </a:lnTo>
                <a:lnTo>
                  <a:pt x="344" y="182"/>
                </a:lnTo>
                <a:lnTo>
                  <a:pt x="359" y="182"/>
                </a:lnTo>
                <a:lnTo>
                  <a:pt x="362" y="188"/>
                </a:lnTo>
                <a:lnTo>
                  <a:pt x="362" y="194"/>
                </a:lnTo>
                <a:lnTo>
                  <a:pt x="366" y="200"/>
                </a:lnTo>
                <a:lnTo>
                  <a:pt x="362" y="204"/>
                </a:lnTo>
                <a:lnTo>
                  <a:pt x="350" y="222"/>
                </a:lnTo>
                <a:lnTo>
                  <a:pt x="359" y="238"/>
                </a:lnTo>
                <a:lnTo>
                  <a:pt x="362" y="241"/>
                </a:lnTo>
                <a:lnTo>
                  <a:pt x="366" y="247"/>
                </a:lnTo>
                <a:lnTo>
                  <a:pt x="372" y="250"/>
                </a:lnTo>
                <a:lnTo>
                  <a:pt x="372" y="250"/>
                </a:lnTo>
                <a:lnTo>
                  <a:pt x="378" y="250"/>
                </a:lnTo>
                <a:lnTo>
                  <a:pt x="384" y="254"/>
                </a:lnTo>
                <a:lnTo>
                  <a:pt x="384" y="257"/>
                </a:lnTo>
                <a:lnTo>
                  <a:pt x="387" y="257"/>
                </a:lnTo>
                <a:lnTo>
                  <a:pt x="387" y="263"/>
                </a:lnTo>
                <a:lnTo>
                  <a:pt x="391" y="266"/>
                </a:lnTo>
                <a:lnTo>
                  <a:pt x="391" y="272"/>
                </a:lnTo>
                <a:lnTo>
                  <a:pt x="391" y="275"/>
                </a:lnTo>
                <a:lnTo>
                  <a:pt x="397" y="275"/>
                </a:lnTo>
                <a:lnTo>
                  <a:pt x="403" y="279"/>
                </a:lnTo>
                <a:lnTo>
                  <a:pt x="403" y="288"/>
                </a:lnTo>
                <a:lnTo>
                  <a:pt x="400" y="291"/>
                </a:lnTo>
                <a:lnTo>
                  <a:pt x="394" y="288"/>
                </a:lnTo>
                <a:lnTo>
                  <a:pt x="384" y="291"/>
                </a:lnTo>
                <a:lnTo>
                  <a:pt x="384" y="291"/>
                </a:lnTo>
                <a:lnTo>
                  <a:pt x="378" y="294"/>
                </a:lnTo>
                <a:lnTo>
                  <a:pt x="375" y="297"/>
                </a:lnTo>
                <a:lnTo>
                  <a:pt x="375" y="304"/>
                </a:lnTo>
                <a:lnTo>
                  <a:pt x="372" y="307"/>
                </a:lnTo>
                <a:lnTo>
                  <a:pt x="375" y="310"/>
                </a:lnTo>
                <a:lnTo>
                  <a:pt x="375" y="319"/>
                </a:lnTo>
                <a:lnTo>
                  <a:pt x="375" y="322"/>
                </a:lnTo>
                <a:lnTo>
                  <a:pt x="372" y="322"/>
                </a:lnTo>
                <a:lnTo>
                  <a:pt x="372" y="322"/>
                </a:lnTo>
                <a:lnTo>
                  <a:pt x="369" y="326"/>
                </a:lnTo>
                <a:lnTo>
                  <a:pt x="362" y="322"/>
                </a:lnTo>
                <a:lnTo>
                  <a:pt x="356" y="319"/>
                </a:lnTo>
                <a:lnTo>
                  <a:pt x="356" y="316"/>
                </a:lnTo>
                <a:lnTo>
                  <a:pt x="353" y="316"/>
                </a:lnTo>
                <a:lnTo>
                  <a:pt x="353" y="319"/>
                </a:lnTo>
                <a:lnTo>
                  <a:pt x="350" y="322"/>
                </a:lnTo>
                <a:lnTo>
                  <a:pt x="347" y="319"/>
                </a:lnTo>
                <a:lnTo>
                  <a:pt x="347" y="319"/>
                </a:lnTo>
                <a:lnTo>
                  <a:pt x="344" y="319"/>
                </a:lnTo>
                <a:lnTo>
                  <a:pt x="334" y="316"/>
                </a:lnTo>
                <a:lnTo>
                  <a:pt x="328" y="316"/>
                </a:lnTo>
                <a:lnTo>
                  <a:pt x="319" y="316"/>
                </a:lnTo>
                <a:lnTo>
                  <a:pt x="312" y="310"/>
                </a:lnTo>
                <a:lnTo>
                  <a:pt x="309" y="310"/>
                </a:lnTo>
                <a:lnTo>
                  <a:pt x="306" y="316"/>
                </a:lnTo>
                <a:lnTo>
                  <a:pt x="303" y="313"/>
                </a:lnTo>
                <a:lnTo>
                  <a:pt x="297" y="313"/>
                </a:lnTo>
                <a:lnTo>
                  <a:pt x="287" y="313"/>
                </a:lnTo>
                <a:lnTo>
                  <a:pt x="287" y="310"/>
                </a:lnTo>
                <a:lnTo>
                  <a:pt x="284" y="310"/>
                </a:lnTo>
                <a:lnTo>
                  <a:pt x="284" y="304"/>
                </a:lnTo>
                <a:lnTo>
                  <a:pt x="281" y="297"/>
                </a:lnTo>
                <a:lnTo>
                  <a:pt x="278" y="288"/>
                </a:lnTo>
                <a:lnTo>
                  <a:pt x="275" y="285"/>
                </a:lnTo>
                <a:lnTo>
                  <a:pt x="275" y="282"/>
                </a:lnTo>
                <a:lnTo>
                  <a:pt x="272" y="282"/>
                </a:lnTo>
                <a:lnTo>
                  <a:pt x="272" y="282"/>
                </a:lnTo>
                <a:lnTo>
                  <a:pt x="266" y="279"/>
                </a:lnTo>
                <a:lnTo>
                  <a:pt x="262" y="282"/>
                </a:lnTo>
                <a:lnTo>
                  <a:pt x="256" y="285"/>
                </a:lnTo>
                <a:lnTo>
                  <a:pt x="253" y="285"/>
                </a:lnTo>
                <a:lnTo>
                  <a:pt x="253" y="282"/>
                </a:lnTo>
                <a:lnTo>
                  <a:pt x="253" y="285"/>
                </a:lnTo>
                <a:lnTo>
                  <a:pt x="244" y="291"/>
                </a:lnTo>
                <a:lnTo>
                  <a:pt x="237" y="297"/>
                </a:lnTo>
                <a:lnTo>
                  <a:pt x="228" y="291"/>
                </a:lnTo>
                <a:lnTo>
                  <a:pt x="222" y="288"/>
                </a:lnTo>
                <a:lnTo>
                  <a:pt x="219" y="291"/>
                </a:lnTo>
                <a:lnTo>
                  <a:pt x="216" y="291"/>
                </a:lnTo>
                <a:lnTo>
                  <a:pt x="209" y="285"/>
                </a:lnTo>
                <a:lnTo>
                  <a:pt x="206" y="285"/>
                </a:lnTo>
                <a:lnTo>
                  <a:pt x="203" y="282"/>
                </a:lnTo>
                <a:lnTo>
                  <a:pt x="200" y="282"/>
                </a:lnTo>
                <a:lnTo>
                  <a:pt x="194" y="275"/>
                </a:lnTo>
                <a:lnTo>
                  <a:pt x="194" y="272"/>
                </a:lnTo>
                <a:lnTo>
                  <a:pt x="194" y="272"/>
                </a:lnTo>
                <a:lnTo>
                  <a:pt x="191" y="272"/>
                </a:lnTo>
                <a:lnTo>
                  <a:pt x="191" y="269"/>
                </a:lnTo>
                <a:lnTo>
                  <a:pt x="184" y="269"/>
                </a:lnTo>
                <a:lnTo>
                  <a:pt x="181" y="266"/>
                </a:lnTo>
                <a:lnTo>
                  <a:pt x="175" y="266"/>
                </a:lnTo>
                <a:lnTo>
                  <a:pt x="169" y="266"/>
                </a:lnTo>
                <a:lnTo>
                  <a:pt x="166" y="263"/>
                </a:lnTo>
                <a:lnTo>
                  <a:pt x="159" y="250"/>
                </a:lnTo>
                <a:lnTo>
                  <a:pt x="159" y="247"/>
                </a:lnTo>
                <a:lnTo>
                  <a:pt x="156" y="247"/>
                </a:lnTo>
                <a:lnTo>
                  <a:pt x="153" y="244"/>
                </a:lnTo>
                <a:lnTo>
                  <a:pt x="153" y="244"/>
                </a:lnTo>
                <a:lnTo>
                  <a:pt x="156" y="244"/>
                </a:lnTo>
                <a:lnTo>
                  <a:pt x="156" y="244"/>
                </a:lnTo>
                <a:lnTo>
                  <a:pt x="156" y="241"/>
                </a:lnTo>
                <a:lnTo>
                  <a:pt x="153" y="241"/>
                </a:lnTo>
                <a:lnTo>
                  <a:pt x="150" y="241"/>
                </a:lnTo>
                <a:lnTo>
                  <a:pt x="150" y="235"/>
                </a:lnTo>
                <a:lnTo>
                  <a:pt x="144" y="225"/>
                </a:lnTo>
                <a:lnTo>
                  <a:pt x="141" y="222"/>
                </a:lnTo>
                <a:lnTo>
                  <a:pt x="137" y="216"/>
                </a:lnTo>
                <a:lnTo>
                  <a:pt x="134" y="216"/>
                </a:lnTo>
                <a:lnTo>
                  <a:pt x="128" y="219"/>
                </a:lnTo>
                <a:lnTo>
                  <a:pt x="128" y="219"/>
                </a:lnTo>
                <a:lnTo>
                  <a:pt x="125" y="216"/>
                </a:lnTo>
                <a:lnTo>
                  <a:pt x="125" y="216"/>
                </a:lnTo>
                <a:lnTo>
                  <a:pt x="119" y="216"/>
                </a:lnTo>
                <a:lnTo>
                  <a:pt x="119" y="213"/>
                </a:lnTo>
                <a:lnTo>
                  <a:pt x="122" y="210"/>
                </a:lnTo>
                <a:lnTo>
                  <a:pt x="119" y="213"/>
                </a:lnTo>
                <a:lnTo>
                  <a:pt x="116" y="213"/>
                </a:lnTo>
                <a:lnTo>
                  <a:pt x="116" y="213"/>
                </a:lnTo>
                <a:lnTo>
                  <a:pt x="119" y="213"/>
                </a:lnTo>
                <a:lnTo>
                  <a:pt x="119" y="219"/>
                </a:lnTo>
                <a:lnTo>
                  <a:pt x="116" y="219"/>
                </a:lnTo>
                <a:lnTo>
                  <a:pt x="112" y="219"/>
                </a:lnTo>
                <a:lnTo>
                  <a:pt x="109" y="216"/>
                </a:lnTo>
                <a:lnTo>
                  <a:pt x="109" y="216"/>
                </a:lnTo>
                <a:lnTo>
                  <a:pt x="109" y="216"/>
                </a:lnTo>
                <a:lnTo>
                  <a:pt x="106" y="216"/>
                </a:lnTo>
                <a:lnTo>
                  <a:pt x="103" y="213"/>
                </a:lnTo>
                <a:lnTo>
                  <a:pt x="100" y="210"/>
                </a:lnTo>
                <a:lnTo>
                  <a:pt x="97" y="197"/>
                </a:lnTo>
                <a:lnTo>
                  <a:pt x="91" y="197"/>
                </a:lnTo>
                <a:lnTo>
                  <a:pt x="91" y="194"/>
                </a:lnTo>
                <a:lnTo>
                  <a:pt x="91" y="188"/>
                </a:lnTo>
                <a:lnTo>
                  <a:pt x="94" y="185"/>
                </a:lnTo>
                <a:lnTo>
                  <a:pt x="91" y="175"/>
                </a:lnTo>
                <a:lnTo>
                  <a:pt x="87" y="172"/>
                </a:lnTo>
                <a:lnTo>
                  <a:pt x="84" y="166"/>
                </a:lnTo>
                <a:lnTo>
                  <a:pt x="81" y="163"/>
                </a:lnTo>
                <a:lnTo>
                  <a:pt x="78" y="166"/>
                </a:lnTo>
                <a:lnTo>
                  <a:pt x="62" y="157"/>
                </a:lnTo>
                <a:lnTo>
                  <a:pt x="59" y="157"/>
                </a:lnTo>
                <a:lnTo>
                  <a:pt x="59" y="157"/>
                </a:lnTo>
                <a:lnTo>
                  <a:pt x="53" y="153"/>
                </a:lnTo>
                <a:lnTo>
                  <a:pt x="56" y="150"/>
                </a:lnTo>
                <a:lnTo>
                  <a:pt x="53" y="150"/>
                </a:lnTo>
                <a:lnTo>
                  <a:pt x="56" y="147"/>
                </a:lnTo>
                <a:lnTo>
                  <a:pt x="53" y="144"/>
                </a:lnTo>
                <a:lnTo>
                  <a:pt x="50" y="141"/>
                </a:lnTo>
                <a:lnTo>
                  <a:pt x="47" y="138"/>
                </a:lnTo>
                <a:lnTo>
                  <a:pt x="44" y="135"/>
                </a:lnTo>
                <a:lnTo>
                  <a:pt x="41" y="135"/>
                </a:lnTo>
                <a:lnTo>
                  <a:pt x="41" y="135"/>
                </a:lnTo>
                <a:lnTo>
                  <a:pt x="44" y="132"/>
                </a:lnTo>
                <a:lnTo>
                  <a:pt x="41" y="128"/>
                </a:lnTo>
                <a:lnTo>
                  <a:pt x="44" y="125"/>
                </a:lnTo>
                <a:lnTo>
                  <a:pt x="44" y="119"/>
                </a:lnTo>
                <a:lnTo>
                  <a:pt x="47" y="116"/>
                </a:lnTo>
                <a:lnTo>
                  <a:pt x="47" y="113"/>
                </a:lnTo>
                <a:lnTo>
                  <a:pt x="50" y="113"/>
                </a:lnTo>
                <a:lnTo>
                  <a:pt x="50" y="110"/>
                </a:lnTo>
                <a:lnTo>
                  <a:pt x="50" y="103"/>
                </a:lnTo>
                <a:lnTo>
                  <a:pt x="50" y="103"/>
                </a:lnTo>
                <a:lnTo>
                  <a:pt x="50" y="97"/>
                </a:lnTo>
                <a:lnTo>
                  <a:pt x="50" y="97"/>
                </a:lnTo>
                <a:lnTo>
                  <a:pt x="56" y="94"/>
                </a:lnTo>
                <a:lnTo>
                  <a:pt x="56" y="94"/>
                </a:lnTo>
                <a:lnTo>
                  <a:pt x="56" y="94"/>
                </a:lnTo>
                <a:lnTo>
                  <a:pt x="53" y="91"/>
                </a:lnTo>
                <a:lnTo>
                  <a:pt x="47" y="94"/>
                </a:lnTo>
                <a:lnTo>
                  <a:pt x="44" y="91"/>
                </a:lnTo>
                <a:lnTo>
                  <a:pt x="37" y="88"/>
                </a:lnTo>
                <a:lnTo>
                  <a:pt x="34" y="88"/>
                </a:lnTo>
                <a:lnTo>
                  <a:pt x="31" y="85"/>
                </a:lnTo>
                <a:lnTo>
                  <a:pt x="31" y="82"/>
                </a:lnTo>
                <a:lnTo>
                  <a:pt x="28" y="78"/>
                </a:lnTo>
                <a:lnTo>
                  <a:pt x="25" y="78"/>
                </a:lnTo>
                <a:lnTo>
                  <a:pt x="22" y="72"/>
                </a:lnTo>
                <a:lnTo>
                  <a:pt x="22" y="69"/>
                </a:lnTo>
                <a:lnTo>
                  <a:pt x="22" y="66"/>
                </a:lnTo>
                <a:lnTo>
                  <a:pt x="19" y="66"/>
                </a:lnTo>
                <a:lnTo>
                  <a:pt x="19" y="66"/>
                </a:lnTo>
                <a:lnTo>
                  <a:pt x="19" y="63"/>
                </a:lnTo>
                <a:lnTo>
                  <a:pt x="16" y="57"/>
                </a:lnTo>
                <a:lnTo>
                  <a:pt x="12" y="50"/>
                </a:lnTo>
                <a:lnTo>
                  <a:pt x="6" y="47"/>
                </a:lnTo>
                <a:lnTo>
                  <a:pt x="6" y="44"/>
                </a:lnTo>
                <a:lnTo>
                  <a:pt x="6" y="38"/>
                </a:lnTo>
                <a:lnTo>
                  <a:pt x="9" y="35"/>
                </a:lnTo>
                <a:lnTo>
                  <a:pt x="9" y="31"/>
                </a:lnTo>
                <a:lnTo>
                  <a:pt x="3" y="31"/>
                </a:lnTo>
                <a:lnTo>
                  <a:pt x="3" y="25"/>
                </a:lnTo>
                <a:lnTo>
                  <a:pt x="3" y="22"/>
                </a:lnTo>
                <a:lnTo>
                  <a:pt x="3" y="13"/>
                </a:lnTo>
                <a:lnTo>
                  <a:pt x="0" y="10"/>
                </a:lnTo>
                <a:lnTo>
                  <a:pt x="0" y="10"/>
                </a:lnTo>
                <a:lnTo>
                  <a:pt x="6" y="6"/>
                </a:lnTo>
                <a:lnTo>
                  <a:pt x="6" y="3"/>
                </a:lnTo>
                <a:lnTo>
                  <a:pt x="9" y="0"/>
                </a:lnTo>
                <a:lnTo>
                  <a:pt x="9" y="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5" name="Freeform 83">
            <a:extLst>
              <a:ext uri="{FF2B5EF4-FFF2-40B4-BE49-F238E27FC236}">
                <a16:creationId xmlns:a16="http://schemas.microsoft.com/office/drawing/2014/main" id="{81077EF9-181D-0F61-8857-1AEC3AF4FC7D}"/>
              </a:ext>
            </a:extLst>
          </p:cNvPr>
          <p:cNvSpPr>
            <a:spLocks/>
          </p:cNvSpPr>
          <p:nvPr userDrawn="1"/>
        </p:nvSpPr>
        <p:spPr bwMode="auto">
          <a:xfrm>
            <a:off x="15708874" y="6606461"/>
            <a:ext cx="219064" cy="187326"/>
          </a:xfrm>
          <a:custGeom>
            <a:avLst/>
            <a:gdLst>
              <a:gd name="T0" fmla="*/ 0 w 69"/>
              <a:gd name="T1" fmla="*/ 3 h 59"/>
              <a:gd name="T2" fmla="*/ 6 w 69"/>
              <a:gd name="T3" fmla="*/ 0 h 59"/>
              <a:gd name="T4" fmla="*/ 16 w 69"/>
              <a:gd name="T5" fmla="*/ 0 h 59"/>
              <a:gd name="T6" fmla="*/ 16 w 69"/>
              <a:gd name="T7" fmla="*/ 0 h 59"/>
              <a:gd name="T8" fmla="*/ 28 w 69"/>
              <a:gd name="T9" fmla="*/ 0 h 59"/>
              <a:gd name="T10" fmla="*/ 31 w 69"/>
              <a:gd name="T11" fmla="*/ 3 h 59"/>
              <a:gd name="T12" fmla="*/ 41 w 69"/>
              <a:gd name="T13" fmla="*/ 3 h 59"/>
              <a:gd name="T14" fmla="*/ 44 w 69"/>
              <a:gd name="T15" fmla="*/ 9 h 59"/>
              <a:gd name="T16" fmla="*/ 44 w 69"/>
              <a:gd name="T17" fmla="*/ 12 h 59"/>
              <a:gd name="T18" fmla="*/ 44 w 69"/>
              <a:gd name="T19" fmla="*/ 15 h 59"/>
              <a:gd name="T20" fmla="*/ 50 w 69"/>
              <a:gd name="T21" fmla="*/ 25 h 59"/>
              <a:gd name="T22" fmla="*/ 50 w 69"/>
              <a:gd name="T23" fmla="*/ 28 h 59"/>
              <a:gd name="T24" fmla="*/ 47 w 69"/>
              <a:gd name="T25" fmla="*/ 31 h 59"/>
              <a:gd name="T26" fmla="*/ 50 w 69"/>
              <a:gd name="T27" fmla="*/ 37 h 59"/>
              <a:gd name="T28" fmla="*/ 60 w 69"/>
              <a:gd name="T29" fmla="*/ 40 h 59"/>
              <a:gd name="T30" fmla="*/ 66 w 69"/>
              <a:gd name="T31" fmla="*/ 40 h 59"/>
              <a:gd name="T32" fmla="*/ 69 w 69"/>
              <a:gd name="T33" fmla="*/ 47 h 59"/>
              <a:gd name="T34" fmla="*/ 66 w 69"/>
              <a:gd name="T35" fmla="*/ 47 h 59"/>
              <a:gd name="T36" fmla="*/ 69 w 69"/>
              <a:gd name="T37" fmla="*/ 53 h 59"/>
              <a:gd name="T38" fmla="*/ 66 w 69"/>
              <a:gd name="T39" fmla="*/ 53 h 59"/>
              <a:gd name="T40" fmla="*/ 66 w 69"/>
              <a:gd name="T41" fmla="*/ 56 h 59"/>
              <a:gd name="T42" fmla="*/ 63 w 69"/>
              <a:gd name="T43" fmla="*/ 59 h 59"/>
              <a:gd name="T44" fmla="*/ 53 w 69"/>
              <a:gd name="T45" fmla="*/ 43 h 59"/>
              <a:gd name="T46" fmla="*/ 47 w 69"/>
              <a:gd name="T47" fmla="*/ 43 h 59"/>
              <a:gd name="T48" fmla="*/ 44 w 69"/>
              <a:gd name="T49" fmla="*/ 37 h 59"/>
              <a:gd name="T50" fmla="*/ 41 w 69"/>
              <a:gd name="T51" fmla="*/ 37 h 59"/>
              <a:gd name="T52" fmla="*/ 41 w 69"/>
              <a:gd name="T53" fmla="*/ 40 h 59"/>
              <a:gd name="T54" fmla="*/ 35 w 69"/>
              <a:gd name="T55" fmla="*/ 34 h 59"/>
              <a:gd name="T56" fmla="*/ 31 w 69"/>
              <a:gd name="T57" fmla="*/ 37 h 59"/>
              <a:gd name="T58" fmla="*/ 28 w 69"/>
              <a:gd name="T59" fmla="*/ 37 h 59"/>
              <a:gd name="T60" fmla="*/ 25 w 69"/>
              <a:gd name="T61" fmla="*/ 34 h 59"/>
              <a:gd name="T62" fmla="*/ 22 w 69"/>
              <a:gd name="T63" fmla="*/ 31 h 59"/>
              <a:gd name="T64" fmla="*/ 19 w 69"/>
              <a:gd name="T65" fmla="*/ 31 h 59"/>
              <a:gd name="T66" fmla="*/ 13 w 69"/>
              <a:gd name="T67" fmla="*/ 31 h 59"/>
              <a:gd name="T68" fmla="*/ 6 w 69"/>
              <a:gd name="T69" fmla="*/ 28 h 59"/>
              <a:gd name="T70" fmla="*/ 6 w 69"/>
              <a:gd name="T71" fmla="*/ 18 h 59"/>
              <a:gd name="T72" fmla="*/ 10 w 69"/>
              <a:gd name="T73" fmla="*/ 12 h 59"/>
              <a:gd name="T74" fmla="*/ 6 w 69"/>
              <a:gd name="T75" fmla="*/ 9 h 59"/>
              <a:gd name="T76" fmla="*/ 3 w 69"/>
              <a:gd name="T77" fmla="*/ 9 h 59"/>
              <a:gd name="T78" fmla="*/ 3 w 69"/>
              <a:gd name="T79" fmla="*/ 6 h 59"/>
              <a:gd name="T80" fmla="*/ 0 w 69"/>
              <a:gd name="T81"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9" h="59">
                <a:moveTo>
                  <a:pt x="0" y="3"/>
                </a:moveTo>
                <a:lnTo>
                  <a:pt x="6" y="0"/>
                </a:lnTo>
                <a:lnTo>
                  <a:pt x="16" y="0"/>
                </a:lnTo>
                <a:lnTo>
                  <a:pt x="16" y="0"/>
                </a:lnTo>
                <a:lnTo>
                  <a:pt x="28" y="0"/>
                </a:lnTo>
                <a:lnTo>
                  <a:pt x="31" y="3"/>
                </a:lnTo>
                <a:lnTo>
                  <a:pt x="41" y="3"/>
                </a:lnTo>
                <a:lnTo>
                  <a:pt x="44" y="9"/>
                </a:lnTo>
                <a:lnTo>
                  <a:pt x="44" y="12"/>
                </a:lnTo>
                <a:lnTo>
                  <a:pt x="44" y="15"/>
                </a:lnTo>
                <a:lnTo>
                  <a:pt x="50" y="25"/>
                </a:lnTo>
                <a:lnTo>
                  <a:pt x="50" y="28"/>
                </a:lnTo>
                <a:lnTo>
                  <a:pt x="47" y="31"/>
                </a:lnTo>
                <a:lnTo>
                  <a:pt x="50" y="37"/>
                </a:lnTo>
                <a:lnTo>
                  <a:pt x="60" y="40"/>
                </a:lnTo>
                <a:lnTo>
                  <a:pt x="66" y="40"/>
                </a:lnTo>
                <a:lnTo>
                  <a:pt x="69" y="47"/>
                </a:lnTo>
                <a:lnTo>
                  <a:pt x="66" y="47"/>
                </a:lnTo>
                <a:lnTo>
                  <a:pt x="69" y="53"/>
                </a:lnTo>
                <a:lnTo>
                  <a:pt x="66" y="53"/>
                </a:lnTo>
                <a:lnTo>
                  <a:pt x="66" y="56"/>
                </a:lnTo>
                <a:lnTo>
                  <a:pt x="63" y="59"/>
                </a:lnTo>
                <a:lnTo>
                  <a:pt x="53" y="43"/>
                </a:lnTo>
                <a:lnTo>
                  <a:pt x="47" y="43"/>
                </a:lnTo>
                <a:lnTo>
                  <a:pt x="44" y="37"/>
                </a:lnTo>
                <a:lnTo>
                  <a:pt x="41" y="37"/>
                </a:lnTo>
                <a:lnTo>
                  <a:pt x="41" y="40"/>
                </a:lnTo>
                <a:lnTo>
                  <a:pt x="35" y="34"/>
                </a:lnTo>
                <a:lnTo>
                  <a:pt x="31" y="37"/>
                </a:lnTo>
                <a:lnTo>
                  <a:pt x="28" y="37"/>
                </a:lnTo>
                <a:lnTo>
                  <a:pt x="25" y="34"/>
                </a:lnTo>
                <a:lnTo>
                  <a:pt x="22" y="31"/>
                </a:lnTo>
                <a:lnTo>
                  <a:pt x="19" y="31"/>
                </a:lnTo>
                <a:lnTo>
                  <a:pt x="13" y="31"/>
                </a:lnTo>
                <a:lnTo>
                  <a:pt x="6" y="28"/>
                </a:lnTo>
                <a:lnTo>
                  <a:pt x="6" y="18"/>
                </a:lnTo>
                <a:lnTo>
                  <a:pt x="10" y="12"/>
                </a:lnTo>
                <a:lnTo>
                  <a:pt x="6" y="9"/>
                </a:lnTo>
                <a:lnTo>
                  <a:pt x="3" y="9"/>
                </a:lnTo>
                <a:lnTo>
                  <a:pt x="3" y="6"/>
                </a:lnTo>
                <a:lnTo>
                  <a:pt x="0" y="3"/>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6" name="Freeform 84">
            <a:extLst>
              <a:ext uri="{FF2B5EF4-FFF2-40B4-BE49-F238E27FC236}">
                <a16:creationId xmlns:a16="http://schemas.microsoft.com/office/drawing/2014/main" id="{C6E24D87-74E0-8C03-D90B-BF66EDB66FAB}"/>
              </a:ext>
            </a:extLst>
          </p:cNvPr>
          <p:cNvSpPr>
            <a:spLocks noEditPoints="1"/>
          </p:cNvSpPr>
          <p:nvPr userDrawn="1"/>
        </p:nvSpPr>
        <p:spPr bwMode="auto">
          <a:xfrm>
            <a:off x="14667545" y="6555659"/>
            <a:ext cx="1161974" cy="466726"/>
          </a:xfrm>
          <a:custGeom>
            <a:avLst/>
            <a:gdLst>
              <a:gd name="T0" fmla="*/ 19 w 366"/>
              <a:gd name="T1" fmla="*/ 16 h 147"/>
              <a:gd name="T2" fmla="*/ 28 w 366"/>
              <a:gd name="T3" fmla="*/ 0 h 147"/>
              <a:gd name="T4" fmla="*/ 53 w 366"/>
              <a:gd name="T5" fmla="*/ 16 h 147"/>
              <a:gd name="T6" fmla="*/ 50 w 366"/>
              <a:gd name="T7" fmla="*/ 28 h 147"/>
              <a:gd name="T8" fmla="*/ 22 w 366"/>
              <a:gd name="T9" fmla="*/ 41 h 147"/>
              <a:gd name="T10" fmla="*/ 16 w 366"/>
              <a:gd name="T11" fmla="*/ 38 h 147"/>
              <a:gd name="T12" fmla="*/ 6 w 366"/>
              <a:gd name="T13" fmla="*/ 31 h 147"/>
              <a:gd name="T14" fmla="*/ 278 w 366"/>
              <a:gd name="T15" fmla="*/ 25 h 147"/>
              <a:gd name="T16" fmla="*/ 256 w 366"/>
              <a:gd name="T17" fmla="*/ 22 h 147"/>
              <a:gd name="T18" fmla="*/ 222 w 366"/>
              <a:gd name="T19" fmla="*/ 25 h 147"/>
              <a:gd name="T20" fmla="*/ 197 w 366"/>
              <a:gd name="T21" fmla="*/ 19 h 147"/>
              <a:gd name="T22" fmla="*/ 181 w 366"/>
              <a:gd name="T23" fmla="*/ 9 h 147"/>
              <a:gd name="T24" fmla="*/ 159 w 366"/>
              <a:gd name="T25" fmla="*/ 3 h 147"/>
              <a:gd name="T26" fmla="*/ 125 w 366"/>
              <a:gd name="T27" fmla="*/ 6 h 147"/>
              <a:gd name="T28" fmla="*/ 106 w 366"/>
              <a:gd name="T29" fmla="*/ 22 h 147"/>
              <a:gd name="T30" fmla="*/ 81 w 366"/>
              <a:gd name="T31" fmla="*/ 22 h 147"/>
              <a:gd name="T32" fmla="*/ 66 w 366"/>
              <a:gd name="T33" fmla="*/ 34 h 147"/>
              <a:gd name="T34" fmla="*/ 56 w 366"/>
              <a:gd name="T35" fmla="*/ 41 h 147"/>
              <a:gd name="T36" fmla="*/ 47 w 366"/>
              <a:gd name="T37" fmla="*/ 44 h 147"/>
              <a:gd name="T38" fmla="*/ 28 w 366"/>
              <a:gd name="T39" fmla="*/ 44 h 147"/>
              <a:gd name="T40" fmla="*/ 12 w 366"/>
              <a:gd name="T41" fmla="*/ 63 h 147"/>
              <a:gd name="T42" fmla="*/ 28 w 366"/>
              <a:gd name="T43" fmla="*/ 66 h 147"/>
              <a:gd name="T44" fmla="*/ 25 w 366"/>
              <a:gd name="T45" fmla="*/ 81 h 147"/>
              <a:gd name="T46" fmla="*/ 28 w 366"/>
              <a:gd name="T47" fmla="*/ 88 h 147"/>
              <a:gd name="T48" fmla="*/ 16 w 366"/>
              <a:gd name="T49" fmla="*/ 91 h 147"/>
              <a:gd name="T50" fmla="*/ 25 w 366"/>
              <a:gd name="T51" fmla="*/ 100 h 147"/>
              <a:gd name="T52" fmla="*/ 34 w 366"/>
              <a:gd name="T53" fmla="*/ 116 h 147"/>
              <a:gd name="T54" fmla="*/ 37 w 366"/>
              <a:gd name="T55" fmla="*/ 125 h 147"/>
              <a:gd name="T56" fmla="*/ 37 w 366"/>
              <a:gd name="T57" fmla="*/ 131 h 147"/>
              <a:gd name="T58" fmla="*/ 50 w 366"/>
              <a:gd name="T59" fmla="*/ 135 h 147"/>
              <a:gd name="T60" fmla="*/ 62 w 366"/>
              <a:gd name="T61" fmla="*/ 131 h 147"/>
              <a:gd name="T62" fmla="*/ 72 w 366"/>
              <a:gd name="T63" fmla="*/ 138 h 147"/>
              <a:gd name="T64" fmla="*/ 87 w 366"/>
              <a:gd name="T65" fmla="*/ 141 h 147"/>
              <a:gd name="T66" fmla="*/ 100 w 366"/>
              <a:gd name="T67" fmla="*/ 131 h 147"/>
              <a:gd name="T68" fmla="*/ 134 w 366"/>
              <a:gd name="T69" fmla="*/ 141 h 147"/>
              <a:gd name="T70" fmla="*/ 169 w 366"/>
              <a:gd name="T71" fmla="*/ 141 h 147"/>
              <a:gd name="T72" fmla="*/ 197 w 366"/>
              <a:gd name="T73" fmla="*/ 131 h 147"/>
              <a:gd name="T74" fmla="*/ 200 w 366"/>
              <a:gd name="T75" fmla="*/ 138 h 147"/>
              <a:gd name="T76" fmla="*/ 216 w 366"/>
              <a:gd name="T77" fmla="*/ 144 h 147"/>
              <a:gd name="T78" fmla="*/ 228 w 366"/>
              <a:gd name="T79" fmla="*/ 131 h 147"/>
              <a:gd name="T80" fmla="*/ 256 w 366"/>
              <a:gd name="T81" fmla="*/ 125 h 147"/>
              <a:gd name="T82" fmla="*/ 288 w 366"/>
              <a:gd name="T83" fmla="*/ 119 h 147"/>
              <a:gd name="T84" fmla="*/ 322 w 366"/>
              <a:gd name="T85" fmla="*/ 119 h 147"/>
              <a:gd name="T86" fmla="*/ 353 w 366"/>
              <a:gd name="T87" fmla="*/ 113 h 147"/>
              <a:gd name="T88" fmla="*/ 363 w 366"/>
              <a:gd name="T89" fmla="*/ 110 h 147"/>
              <a:gd name="T90" fmla="*/ 356 w 366"/>
              <a:gd name="T91" fmla="*/ 84 h 147"/>
              <a:gd name="T92" fmla="*/ 347 w 366"/>
              <a:gd name="T93" fmla="*/ 63 h 147"/>
              <a:gd name="T94" fmla="*/ 347 w 366"/>
              <a:gd name="T95" fmla="*/ 47 h 147"/>
              <a:gd name="T96" fmla="*/ 331 w 366"/>
              <a:gd name="T97" fmla="*/ 25 h 147"/>
              <a:gd name="T98" fmla="*/ 309 w 366"/>
              <a:gd name="T99" fmla="*/ 13 h 147"/>
              <a:gd name="T100" fmla="*/ 294 w 366"/>
              <a:gd name="T101" fmla="*/ 9 h 147"/>
              <a:gd name="T102" fmla="*/ 47 w 366"/>
              <a:gd name="T103" fmla="*/ 138 h 147"/>
              <a:gd name="T104" fmla="*/ 9 w 366"/>
              <a:gd name="T105" fmla="*/ 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6" h="147">
                <a:moveTo>
                  <a:pt x="6" y="31"/>
                </a:moveTo>
                <a:lnTo>
                  <a:pt x="12" y="31"/>
                </a:lnTo>
                <a:lnTo>
                  <a:pt x="12" y="28"/>
                </a:lnTo>
                <a:lnTo>
                  <a:pt x="12" y="22"/>
                </a:lnTo>
                <a:lnTo>
                  <a:pt x="19" y="19"/>
                </a:lnTo>
                <a:lnTo>
                  <a:pt x="19" y="16"/>
                </a:lnTo>
                <a:lnTo>
                  <a:pt x="12" y="13"/>
                </a:lnTo>
                <a:lnTo>
                  <a:pt x="16" y="6"/>
                </a:lnTo>
                <a:lnTo>
                  <a:pt x="19" y="3"/>
                </a:lnTo>
                <a:lnTo>
                  <a:pt x="22" y="3"/>
                </a:lnTo>
                <a:lnTo>
                  <a:pt x="22" y="0"/>
                </a:lnTo>
                <a:lnTo>
                  <a:pt x="28" y="0"/>
                </a:lnTo>
                <a:lnTo>
                  <a:pt x="34" y="6"/>
                </a:lnTo>
                <a:lnTo>
                  <a:pt x="37" y="3"/>
                </a:lnTo>
                <a:lnTo>
                  <a:pt x="41" y="3"/>
                </a:lnTo>
                <a:lnTo>
                  <a:pt x="41" y="13"/>
                </a:lnTo>
                <a:lnTo>
                  <a:pt x="47" y="16"/>
                </a:lnTo>
                <a:lnTo>
                  <a:pt x="53" y="16"/>
                </a:lnTo>
                <a:lnTo>
                  <a:pt x="56" y="22"/>
                </a:lnTo>
                <a:lnTo>
                  <a:pt x="59" y="25"/>
                </a:lnTo>
                <a:lnTo>
                  <a:pt x="59" y="25"/>
                </a:lnTo>
                <a:lnTo>
                  <a:pt x="56" y="31"/>
                </a:lnTo>
                <a:lnTo>
                  <a:pt x="53" y="28"/>
                </a:lnTo>
                <a:lnTo>
                  <a:pt x="50" y="28"/>
                </a:lnTo>
                <a:lnTo>
                  <a:pt x="44" y="28"/>
                </a:lnTo>
                <a:lnTo>
                  <a:pt x="44" y="28"/>
                </a:lnTo>
                <a:lnTo>
                  <a:pt x="37" y="28"/>
                </a:lnTo>
                <a:lnTo>
                  <a:pt x="34" y="31"/>
                </a:lnTo>
                <a:lnTo>
                  <a:pt x="31" y="38"/>
                </a:lnTo>
                <a:lnTo>
                  <a:pt x="22" y="41"/>
                </a:lnTo>
                <a:lnTo>
                  <a:pt x="12" y="50"/>
                </a:lnTo>
                <a:lnTo>
                  <a:pt x="12" y="47"/>
                </a:lnTo>
                <a:lnTo>
                  <a:pt x="12" y="41"/>
                </a:lnTo>
                <a:lnTo>
                  <a:pt x="16" y="41"/>
                </a:lnTo>
                <a:lnTo>
                  <a:pt x="19" y="38"/>
                </a:lnTo>
                <a:lnTo>
                  <a:pt x="16" y="38"/>
                </a:lnTo>
                <a:lnTo>
                  <a:pt x="12" y="38"/>
                </a:lnTo>
                <a:lnTo>
                  <a:pt x="12" y="38"/>
                </a:lnTo>
                <a:lnTo>
                  <a:pt x="9" y="34"/>
                </a:lnTo>
                <a:lnTo>
                  <a:pt x="6" y="31"/>
                </a:lnTo>
                <a:lnTo>
                  <a:pt x="6" y="31"/>
                </a:lnTo>
                <a:lnTo>
                  <a:pt x="6" y="31"/>
                </a:lnTo>
                <a:close/>
                <a:moveTo>
                  <a:pt x="294" y="9"/>
                </a:moveTo>
                <a:lnTo>
                  <a:pt x="294" y="9"/>
                </a:lnTo>
                <a:lnTo>
                  <a:pt x="291" y="16"/>
                </a:lnTo>
                <a:lnTo>
                  <a:pt x="288" y="19"/>
                </a:lnTo>
                <a:lnTo>
                  <a:pt x="281" y="22"/>
                </a:lnTo>
                <a:lnTo>
                  <a:pt x="278" y="25"/>
                </a:lnTo>
                <a:lnTo>
                  <a:pt x="272" y="25"/>
                </a:lnTo>
                <a:lnTo>
                  <a:pt x="269" y="25"/>
                </a:lnTo>
                <a:lnTo>
                  <a:pt x="263" y="25"/>
                </a:lnTo>
                <a:lnTo>
                  <a:pt x="259" y="22"/>
                </a:lnTo>
                <a:lnTo>
                  <a:pt x="256" y="22"/>
                </a:lnTo>
                <a:lnTo>
                  <a:pt x="256" y="22"/>
                </a:lnTo>
                <a:lnTo>
                  <a:pt x="253" y="22"/>
                </a:lnTo>
                <a:lnTo>
                  <a:pt x="244" y="25"/>
                </a:lnTo>
                <a:lnTo>
                  <a:pt x="238" y="28"/>
                </a:lnTo>
                <a:lnTo>
                  <a:pt x="231" y="25"/>
                </a:lnTo>
                <a:lnTo>
                  <a:pt x="225" y="22"/>
                </a:lnTo>
                <a:lnTo>
                  <a:pt x="222" y="25"/>
                </a:lnTo>
                <a:lnTo>
                  <a:pt x="216" y="22"/>
                </a:lnTo>
                <a:lnTo>
                  <a:pt x="212" y="19"/>
                </a:lnTo>
                <a:lnTo>
                  <a:pt x="203" y="16"/>
                </a:lnTo>
                <a:lnTo>
                  <a:pt x="203" y="16"/>
                </a:lnTo>
                <a:lnTo>
                  <a:pt x="200" y="19"/>
                </a:lnTo>
                <a:lnTo>
                  <a:pt x="197" y="19"/>
                </a:lnTo>
                <a:lnTo>
                  <a:pt x="194" y="13"/>
                </a:lnTo>
                <a:lnTo>
                  <a:pt x="194" y="9"/>
                </a:lnTo>
                <a:lnTo>
                  <a:pt x="191" y="6"/>
                </a:lnTo>
                <a:lnTo>
                  <a:pt x="187" y="6"/>
                </a:lnTo>
                <a:lnTo>
                  <a:pt x="184" y="9"/>
                </a:lnTo>
                <a:lnTo>
                  <a:pt x="181" y="9"/>
                </a:lnTo>
                <a:lnTo>
                  <a:pt x="181" y="9"/>
                </a:lnTo>
                <a:lnTo>
                  <a:pt x="172" y="3"/>
                </a:lnTo>
                <a:lnTo>
                  <a:pt x="172" y="0"/>
                </a:lnTo>
                <a:lnTo>
                  <a:pt x="172" y="0"/>
                </a:lnTo>
                <a:lnTo>
                  <a:pt x="166" y="3"/>
                </a:lnTo>
                <a:lnTo>
                  <a:pt x="159" y="3"/>
                </a:lnTo>
                <a:lnTo>
                  <a:pt x="156" y="0"/>
                </a:lnTo>
                <a:lnTo>
                  <a:pt x="153" y="3"/>
                </a:lnTo>
                <a:lnTo>
                  <a:pt x="144" y="3"/>
                </a:lnTo>
                <a:lnTo>
                  <a:pt x="137" y="3"/>
                </a:lnTo>
                <a:lnTo>
                  <a:pt x="128" y="6"/>
                </a:lnTo>
                <a:lnTo>
                  <a:pt x="125" y="6"/>
                </a:lnTo>
                <a:lnTo>
                  <a:pt x="119" y="9"/>
                </a:lnTo>
                <a:lnTo>
                  <a:pt x="116" y="13"/>
                </a:lnTo>
                <a:lnTo>
                  <a:pt x="112" y="13"/>
                </a:lnTo>
                <a:lnTo>
                  <a:pt x="109" y="16"/>
                </a:lnTo>
                <a:lnTo>
                  <a:pt x="106" y="16"/>
                </a:lnTo>
                <a:lnTo>
                  <a:pt x="106" y="22"/>
                </a:lnTo>
                <a:lnTo>
                  <a:pt x="103" y="22"/>
                </a:lnTo>
                <a:lnTo>
                  <a:pt x="103" y="25"/>
                </a:lnTo>
                <a:lnTo>
                  <a:pt x="97" y="25"/>
                </a:lnTo>
                <a:lnTo>
                  <a:pt x="87" y="22"/>
                </a:lnTo>
                <a:lnTo>
                  <a:pt x="84" y="22"/>
                </a:lnTo>
                <a:lnTo>
                  <a:pt x="81" y="22"/>
                </a:lnTo>
                <a:lnTo>
                  <a:pt x="78" y="22"/>
                </a:lnTo>
                <a:lnTo>
                  <a:pt x="72" y="25"/>
                </a:lnTo>
                <a:lnTo>
                  <a:pt x="69" y="22"/>
                </a:lnTo>
                <a:lnTo>
                  <a:pt x="62" y="25"/>
                </a:lnTo>
                <a:lnTo>
                  <a:pt x="62" y="28"/>
                </a:lnTo>
                <a:lnTo>
                  <a:pt x="66" y="34"/>
                </a:lnTo>
                <a:lnTo>
                  <a:pt x="72" y="34"/>
                </a:lnTo>
                <a:lnTo>
                  <a:pt x="75" y="34"/>
                </a:lnTo>
                <a:lnTo>
                  <a:pt x="75" y="34"/>
                </a:lnTo>
                <a:lnTo>
                  <a:pt x="66" y="38"/>
                </a:lnTo>
                <a:lnTo>
                  <a:pt x="59" y="38"/>
                </a:lnTo>
                <a:lnTo>
                  <a:pt x="56" y="41"/>
                </a:lnTo>
                <a:lnTo>
                  <a:pt x="59" y="44"/>
                </a:lnTo>
                <a:lnTo>
                  <a:pt x="62" y="41"/>
                </a:lnTo>
                <a:lnTo>
                  <a:pt x="66" y="44"/>
                </a:lnTo>
                <a:lnTo>
                  <a:pt x="62" y="47"/>
                </a:lnTo>
                <a:lnTo>
                  <a:pt x="53" y="47"/>
                </a:lnTo>
                <a:lnTo>
                  <a:pt x="47" y="44"/>
                </a:lnTo>
                <a:lnTo>
                  <a:pt x="44" y="47"/>
                </a:lnTo>
                <a:lnTo>
                  <a:pt x="41" y="44"/>
                </a:lnTo>
                <a:lnTo>
                  <a:pt x="37" y="44"/>
                </a:lnTo>
                <a:lnTo>
                  <a:pt x="34" y="47"/>
                </a:lnTo>
                <a:lnTo>
                  <a:pt x="31" y="47"/>
                </a:lnTo>
                <a:lnTo>
                  <a:pt x="28" y="44"/>
                </a:lnTo>
                <a:lnTo>
                  <a:pt x="22" y="44"/>
                </a:lnTo>
                <a:lnTo>
                  <a:pt x="12" y="50"/>
                </a:lnTo>
                <a:lnTo>
                  <a:pt x="12" y="53"/>
                </a:lnTo>
                <a:lnTo>
                  <a:pt x="12" y="56"/>
                </a:lnTo>
                <a:lnTo>
                  <a:pt x="12" y="59"/>
                </a:lnTo>
                <a:lnTo>
                  <a:pt x="12" y="63"/>
                </a:lnTo>
                <a:lnTo>
                  <a:pt x="12" y="66"/>
                </a:lnTo>
                <a:lnTo>
                  <a:pt x="12" y="66"/>
                </a:lnTo>
                <a:lnTo>
                  <a:pt x="19" y="66"/>
                </a:lnTo>
                <a:lnTo>
                  <a:pt x="19" y="66"/>
                </a:lnTo>
                <a:lnTo>
                  <a:pt x="22" y="66"/>
                </a:lnTo>
                <a:lnTo>
                  <a:pt x="28" y="66"/>
                </a:lnTo>
                <a:lnTo>
                  <a:pt x="22" y="69"/>
                </a:lnTo>
                <a:lnTo>
                  <a:pt x="25" y="72"/>
                </a:lnTo>
                <a:lnTo>
                  <a:pt x="25" y="75"/>
                </a:lnTo>
                <a:lnTo>
                  <a:pt x="25" y="78"/>
                </a:lnTo>
                <a:lnTo>
                  <a:pt x="25" y="78"/>
                </a:lnTo>
                <a:lnTo>
                  <a:pt x="25" y="81"/>
                </a:lnTo>
                <a:lnTo>
                  <a:pt x="31" y="78"/>
                </a:lnTo>
                <a:lnTo>
                  <a:pt x="31" y="81"/>
                </a:lnTo>
                <a:lnTo>
                  <a:pt x="28" y="81"/>
                </a:lnTo>
                <a:lnTo>
                  <a:pt x="22" y="84"/>
                </a:lnTo>
                <a:lnTo>
                  <a:pt x="25" y="88"/>
                </a:lnTo>
                <a:lnTo>
                  <a:pt x="28" y="88"/>
                </a:lnTo>
                <a:lnTo>
                  <a:pt x="25" y="88"/>
                </a:lnTo>
                <a:lnTo>
                  <a:pt x="22" y="91"/>
                </a:lnTo>
                <a:lnTo>
                  <a:pt x="22" y="91"/>
                </a:lnTo>
                <a:lnTo>
                  <a:pt x="19" y="88"/>
                </a:lnTo>
                <a:lnTo>
                  <a:pt x="19" y="88"/>
                </a:lnTo>
                <a:lnTo>
                  <a:pt x="16" y="91"/>
                </a:lnTo>
                <a:lnTo>
                  <a:pt x="19" y="94"/>
                </a:lnTo>
                <a:lnTo>
                  <a:pt x="16" y="94"/>
                </a:lnTo>
                <a:lnTo>
                  <a:pt x="16" y="97"/>
                </a:lnTo>
                <a:lnTo>
                  <a:pt x="19" y="100"/>
                </a:lnTo>
                <a:lnTo>
                  <a:pt x="22" y="97"/>
                </a:lnTo>
                <a:lnTo>
                  <a:pt x="25" y="100"/>
                </a:lnTo>
                <a:lnTo>
                  <a:pt x="28" y="100"/>
                </a:lnTo>
                <a:lnTo>
                  <a:pt x="31" y="103"/>
                </a:lnTo>
                <a:lnTo>
                  <a:pt x="34" y="110"/>
                </a:lnTo>
                <a:lnTo>
                  <a:pt x="31" y="113"/>
                </a:lnTo>
                <a:lnTo>
                  <a:pt x="34" y="113"/>
                </a:lnTo>
                <a:lnTo>
                  <a:pt x="34" y="116"/>
                </a:lnTo>
                <a:lnTo>
                  <a:pt x="34" y="116"/>
                </a:lnTo>
                <a:lnTo>
                  <a:pt x="41" y="122"/>
                </a:lnTo>
                <a:lnTo>
                  <a:pt x="37" y="125"/>
                </a:lnTo>
                <a:lnTo>
                  <a:pt x="34" y="122"/>
                </a:lnTo>
                <a:lnTo>
                  <a:pt x="34" y="125"/>
                </a:lnTo>
                <a:lnTo>
                  <a:pt x="37" y="125"/>
                </a:lnTo>
                <a:lnTo>
                  <a:pt x="44" y="125"/>
                </a:lnTo>
                <a:lnTo>
                  <a:pt x="50" y="125"/>
                </a:lnTo>
                <a:lnTo>
                  <a:pt x="50" y="125"/>
                </a:lnTo>
                <a:lnTo>
                  <a:pt x="50" y="128"/>
                </a:lnTo>
                <a:lnTo>
                  <a:pt x="44" y="131"/>
                </a:lnTo>
                <a:lnTo>
                  <a:pt x="37" y="131"/>
                </a:lnTo>
                <a:lnTo>
                  <a:pt x="37" y="131"/>
                </a:lnTo>
                <a:lnTo>
                  <a:pt x="41" y="135"/>
                </a:lnTo>
                <a:lnTo>
                  <a:pt x="44" y="131"/>
                </a:lnTo>
                <a:lnTo>
                  <a:pt x="47" y="131"/>
                </a:lnTo>
                <a:lnTo>
                  <a:pt x="50" y="131"/>
                </a:lnTo>
                <a:lnTo>
                  <a:pt x="50" y="135"/>
                </a:lnTo>
                <a:lnTo>
                  <a:pt x="50" y="135"/>
                </a:lnTo>
                <a:lnTo>
                  <a:pt x="53" y="131"/>
                </a:lnTo>
                <a:lnTo>
                  <a:pt x="56" y="128"/>
                </a:lnTo>
                <a:lnTo>
                  <a:pt x="59" y="128"/>
                </a:lnTo>
                <a:lnTo>
                  <a:pt x="59" y="131"/>
                </a:lnTo>
                <a:lnTo>
                  <a:pt x="62" y="131"/>
                </a:lnTo>
                <a:lnTo>
                  <a:pt x="66" y="135"/>
                </a:lnTo>
                <a:lnTo>
                  <a:pt x="69" y="131"/>
                </a:lnTo>
                <a:lnTo>
                  <a:pt x="72" y="131"/>
                </a:lnTo>
                <a:lnTo>
                  <a:pt x="72" y="135"/>
                </a:lnTo>
                <a:lnTo>
                  <a:pt x="69" y="135"/>
                </a:lnTo>
                <a:lnTo>
                  <a:pt x="72" y="138"/>
                </a:lnTo>
                <a:lnTo>
                  <a:pt x="72" y="141"/>
                </a:lnTo>
                <a:lnTo>
                  <a:pt x="75" y="144"/>
                </a:lnTo>
                <a:lnTo>
                  <a:pt x="78" y="141"/>
                </a:lnTo>
                <a:lnTo>
                  <a:pt x="81" y="144"/>
                </a:lnTo>
                <a:lnTo>
                  <a:pt x="87" y="144"/>
                </a:lnTo>
                <a:lnTo>
                  <a:pt x="87" y="141"/>
                </a:lnTo>
                <a:lnTo>
                  <a:pt x="91" y="141"/>
                </a:lnTo>
                <a:lnTo>
                  <a:pt x="94" y="141"/>
                </a:lnTo>
                <a:lnTo>
                  <a:pt x="97" y="141"/>
                </a:lnTo>
                <a:lnTo>
                  <a:pt x="100" y="141"/>
                </a:lnTo>
                <a:lnTo>
                  <a:pt x="100" y="135"/>
                </a:lnTo>
                <a:lnTo>
                  <a:pt x="100" y="131"/>
                </a:lnTo>
                <a:lnTo>
                  <a:pt x="100" y="128"/>
                </a:lnTo>
                <a:lnTo>
                  <a:pt x="109" y="128"/>
                </a:lnTo>
                <a:lnTo>
                  <a:pt x="116" y="128"/>
                </a:lnTo>
                <a:lnTo>
                  <a:pt x="125" y="135"/>
                </a:lnTo>
                <a:lnTo>
                  <a:pt x="128" y="135"/>
                </a:lnTo>
                <a:lnTo>
                  <a:pt x="134" y="141"/>
                </a:lnTo>
                <a:lnTo>
                  <a:pt x="141" y="144"/>
                </a:lnTo>
                <a:lnTo>
                  <a:pt x="156" y="144"/>
                </a:lnTo>
                <a:lnTo>
                  <a:pt x="162" y="141"/>
                </a:lnTo>
                <a:lnTo>
                  <a:pt x="166" y="141"/>
                </a:lnTo>
                <a:lnTo>
                  <a:pt x="166" y="141"/>
                </a:lnTo>
                <a:lnTo>
                  <a:pt x="169" y="141"/>
                </a:lnTo>
                <a:lnTo>
                  <a:pt x="169" y="138"/>
                </a:lnTo>
                <a:lnTo>
                  <a:pt x="178" y="125"/>
                </a:lnTo>
                <a:lnTo>
                  <a:pt x="178" y="125"/>
                </a:lnTo>
                <a:lnTo>
                  <a:pt x="187" y="128"/>
                </a:lnTo>
                <a:lnTo>
                  <a:pt x="194" y="131"/>
                </a:lnTo>
                <a:lnTo>
                  <a:pt x="197" y="131"/>
                </a:lnTo>
                <a:lnTo>
                  <a:pt x="200" y="128"/>
                </a:lnTo>
                <a:lnTo>
                  <a:pt x="203" y="125"/>
                </a:lnTo>
                <a:lnTo>
                  <a:pt x="206" y="125"/>
                </a:lnTo>
                <a:lnTo>
                  <a:pt x="206" y="128"/>
                </a:lnTo>
                <a:lnTo>
                  <a:pt x="203" y="135"/>
                </a:lnTo>
                <a:lnTo>
                  <a:pt x="200" y="138"/>
                </a:lnTo>
                <a:lnTo>
                  <a:pt x="200" y="138"/>
                </a:lnTo>
                <a:lnTo>
                  <a:pt x="203" y="144"/>
                </a:lnTo>
                <a:lnTo>
                  <a:pt x="203" y="147"/>
                </a:lnTo>
                <a:lnTo>
                  <a:pt x="206" y="147"/>
                </a:lnTo>
                <a:lnTo>
                  <a:pt x="209" y="147"/>
                </a:lnTo>
                <a:lnTo>
                  <a:pt x="216" y="144"/>
                </a:lnTo>
                <a:lnTo>
                  <a:pt x="216" y="141"/>
                </a:lnTo>
                <a:lnTo>
                  <a:pt x="216" y="138"/>
                </a:lnTo>
                <a:lnTo>
                  <a:pt x="216" y="131"/>
                </a:lnTo>
                <a:lnTo>
                  <a:pt x="219" y="128"/>
                </a:lnTo>
                <a:lnTo>
                  <a:pt x="225" y="128"/>
                </a:lnTo>
                <a:lnTo>
                  <a:pt x="228" y="131"/>
                </a:lnTo>
                <a:lnTo>
                  <a:pt x="238" y="125"/>
                </a:lnTo>
                <a:lnTo>
                  <a:pt x="238" y="125"/>
                </a:lnTo>
                <a:lnTo>
                  <a:pt x="241" y="125"/>
                </a:lnTo>
                <a:lnTo>
                  <a:pt x="253" y="122"/>
                </a:lnTo>
                <a:lnTo>
                  <a:pt x="256" y="125"/>
                </a:lnTo>
                <a:lnTo>
                  <a:pt x="256" y="125"/>
                </a:lnTo>
                <a:lnTo>
                  <a:pt x="263" y="128"/>
                </a:lnTo>
                <a:lnTo>
                  <a:pt x="272" y="128"/>
                </a:lnTo>
                <a:lnTo>
                  <a:pt x="275" y="125"/>
                </a:lnTo>
                <a:lnTo>
                  <a:pt x="278" y="125"/>
                </a:lnTo>
                <a:lnTo>
                  <a:pt x="281" y="122"/>
                </a:lnTo>
                <a:lnTo>
                  <a:pt x="288" y="119"/>
                </a:lnTo>
                <a:lnTo>
                  <a:pt x="294" y="119"/>
                </a:lnTo>
                <a:lnTo>
                  <a:pt x="297" y="119"/>
                </a:lnTo>
                <a:lnTo>
                  <a:pt x="306" y="119"/>
                </a:lnTo>
                <a:lnTo>
                  <a:pt x="316" y="116"/>
                </a:lnTo>
                <a:lnTo>
                  <a:pt x="322" y="116"/>
                </a:lnTo>
                <a:lnTo>
                  <a:pt x="322" y="119"/>
                </a:lnTo>
                <a:lnTo>
                  <a:pt x="328" y="113"/>
                </a:lnTo>
                <a:lnTo>
                  <a:pt x="331" y="113"/>
                </a:lnTo>
                <a:lnTo>
                  <a:pt x="334" y="113"/>
                </a:lnTo>
                <a:lnTo>
                  <a:pt x="341" y="113"/>
                </a:lnTo>
                <a:lnTo>
                  <a:pt x="350" y="113"/>
                </a:lnTo>
                <a:lnTo>
                  <a:pt x="353" y="113"/>
                </a:lnTo>
                <a:lnTo>
                  <a:pt x="356" y="113"/>
                </a:lnTo>
                <a:lnTo>
                  <a:pt x="356" y="119"/>
                </a:lnTo>
                <a:lnTo>
                  <a:pt x="359" y="119"/>
                </a:lnTo>
                <a:lnTo>
                  <a:pt x="366" y="119"/>
                </a:lnTo>
                <a:lnTo>
                  <a:pt x="366" y="116"/>
                </a:lnTo>
                <a:lnTo>
                  <a:pt x="363" y="110"/>
                </a:lnTo>
                <a:lnTo>
                  <a:pt x="359" y="103"/>
                </a:lnTo>
                <a:lnTo>
                  <a:pt x="353" y="100"/>
                </a:lnTo>
                <a:lnTo>
                  <a:pt x="353" y="97"/>
                </a:lnTo>
                <a:lnTo>
                  <a:pt x="353" y="91"/>
                </a:lnTo>
                <a:lnTo>
                  <a:pt x="356" y="88"/>
                </a:lnTo>
                <a:lnTo>
                  <a:pt x="356" y="84"/>
                </a:lnTo>
                <a:lnTo>
                  <a:pt x="350" y="84"/>
                </a:lnTo>
                <a:lnTo>
                  <a:pt x="350" y="78"/>
                </a:lnTo>
                <a:lnTo>
                  <a:pt x="350" y="75"/>
                </a:lnTo>
                <a:lnTo>
                  <a:pt x="350" y="66"/>
                </a:lnTo>
                <a:lnTo>
                  <a:pt x="347" y="63"/>
                </a:lnTo>
                <a:lnTo>
                  <a:pt x="347" y="63"/>
                </a:lnTo>
                <a:lnTo>
                  <a:pt x="353" y="59"/>
                </a:lnTo>
                <a:lnTo>
                  <a:pt x="353" y="56"/>
                </a:lnTo>
                <a:lnTo>
                  <a:pt x="356" y="53"/>
                </a:lnTo>
                <a:lnTo>
                  <a:pt x="353" y="50"/>
                </a:lnTo>
                <a:lnTo>
                  <a:pt x="350" y="47"/>
                </a:lnTo>
                <a:lnTo>
                  <a:pt x="347" y="47"/>
                </a:lnTo>
                <a:lnTo>
                  <a:pt x="341" y="47"/>
                </a:lnTo>
                <a:lnTo>
                  <a:pt x="334" y="44"/>
                </a:lnTo>
                <a:lnTo>
                  <a:pt x="334" y="34"/>
                </a:lnTo>
                <a:lnTo>
                  <a:pt x="338" y="28"/>
                </a:lnTo>
                <a:lnTo>
                  <a:pt x="334" y="25"/>
                </a:lnTo>
                <a:lnTo>
                  <a:pt x="331" y="25"/>
                </a:lnTo>
                <a:lnTo>
                  <a:pt x="331" y="22"/>
                </a:lnTo>
                <a:lnTo>
                  <a:pt x="328" y="19"/>
                </a:lnTo>
                <a:lnTo>
                  <a:pt x="325" y="19"/>
                </a:lnTo>
                <a:lnTo>
                  <a:pt x="316" y="9"/>
                </a:lnTo>
                <a:lnTo>
                  <a:pt x="313" y="9"/>
                </a:lnTo>
                <a:lnTo>
                  <a:pt x="309" y="13"/>
                </a:lnTo>
                <a:lnTo>
                  <a:pt x="306" y="13"/>
                </a:lnTo>
                <a:lnTo>
                  <a:pt x="303" y="9"/>
                </a:lnTo>
                <a:lnTo>
                  <a:pt x="300" y="13"/>
                </a:lnTo>
                <a:lnTo>
                  <a:pt x="297" y="13"/>
                </a:lnTo>
                <a:lnTo>
                  <a:pt x="297" y="9"/>
                </a:lnTo>
                <a:lnTo>
                  <a:pt x="294" y="9"/>
                </a:lnTo>
                <a:lnTo>
                  <a:pt x="294" y="9"/>
                </a:lnTo>
                <a:close/>
                <a:moveTo>
                  <a:pt x="44" y="135"/>
                </a:moveTo>
                <a:lnTo>
                  <a:pt x="47" y="135"/>
                </a:lnTo>
                <a:lnTo>
                  <a:pt x="47" y="135"/>
                </a:lnTo>
                <a:lnTo>
                  <a:pt x="47" y="135"/>
                </a:lnTo>
                <a:lnTo>
                  <a:pt x="47" y="138"/>
                </a:lnTo>
                <a:lnTo>
                  <a:pt x="44" y="135"/>
                </a:lnTo>
                <a:lnTo>
                  <a:pt x="44" y="135"/>
                </a:lnTo>
                <a:close/>
                <a:moveTo>
                  <a:pt x="0" y="47"/>
                </a:moveTo>
                <a:lnTo>
                  <a:pt x="3" y="50"/>
                </a:lnTo>
                <a:lnTo>
                  <a:pt x="9" y="47"/>
                </a:lnTo>
                <a:lnTo>
                  <a:pt x="9" y="47"/>
                </a:lnTo>
                <a:lnTo>
                  <a:pt x="6" y="44"/>
                </a:lnTo>
                <a:lnTo>
                  <a:pt x="6" y="47"/>
                </a:lnTo>
                <a:lnTo>
                  <a:pt x="3" y="47"/>
                </a:lnTo>
                <a:lnTo>
                  <a:pt x="0" y="4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7" name="Freeform 85">
            <a:extLst>
              <a:ext uri="{FF2B5EF4-FFF2-40B4-BE49-F238E27FC236}">
                <a16:creationId xmlns:a16="http://schemas.microsoft.com/office/drawing/2014/main" id="{22EBD02A-0AE3-DF38-08C5-A9ADFFE9D284}"/>
              </a:ext>
            </a:extLst>
          </p:cNvPr>
          <p:cNvSpPr>
            <a:spLocks/>
          </p:cNvSpPr>
          <p:nvPr userDrawn="1"/>
        </p:nvSpPr>
        <p:spPr bwMode="auto">
          <a:xfrm>
            <a:off x="15512041" y="6914429"/>
            <a:ext cx="603211" cy="574678"/>
          </a:xfrm>
          <a:custGeom>
            <a:avLst/>
            <a:gdLst>
              <a:gd name="T0" fmla="*/ 187 w 190"/>
              <a:gd name="T1" fmla="*/ 156 h 181"/>
              <a:gd name="T2" fmla="*/ 181 w 190"/>
              <a:gd name="T3" fmla="*/ 150 h 181"/>
              <a:gd name="T4" fmla="*/ 172 w 190"/>
              <a:gd name="T5" fmla="*/ 137 h 181"/>
              <a:gd name="T6" fmla="*/ 172 w 190"/>
              <a:gd name="T7" fmla="*/ 128 h 181"/>
              <a:gd name="T8" fmla="*/ 172 w 190"/>
              <a:gd name="T9" fmla="*/ 115 h 181"/>
              <a:gd name="T10" fmla="*/ 165 w 190"/>
              <a:gd name="T11" fmla="*/ 106 h 181"/>
              <a:gd name="T12" fmla="*/ 159 w 190"/>
              <a:gd name="T13" fmla="*/ 106 h 181"/>
              <a:gd name="T14" fmla="*/ 140 w 190"/>
              <a:gd name="T15" fmla="*/ 97 h 181"/>
              <a:gd name="T16" fmla="*/ 134 w 190"/>
              <a:gd name="T17" fmla="*/ 93 h 181"/>
              <a:gd name="T18" fmla="*/ 134 w 190"/>
              <a:gd name="T19" fmla="*/ 90 h 181"/>
              <a:gd name="T20" fmla="*/ 134 w 190"/>
              <a:gd name="T21" fmla="*/ 84 h 181"/>
              <a:gd name="T22" fmla="*/ 128 w 190"/>
              <a:gd name="T23" fmla="*/ 78 h 181"/>
              <a:gd name="T24" fmla="*/ 122 w 190"/>
              <a:gd name="T25" fmla="*/ 75 h 181"/>
              <a:gd name="T26" fmla="*/ 125 w 190"/>
              <a:gd name="T27" fmla="*/ 72 h 181"/>
              <a:gd name="T28" fmla="*/ 125 w 190"/>
              <a:gd name="T29" fmla="*/ 65 h 181"/>
              <a:gd name="T30" fmla="*/ 128 w 190"/>
              <a:gd name="T31" fmla="*/ 56 h 181"/>
              <a:gd name="T32" fmla="*/ 131 w 190"/>
              <a:gd name="T33" fmla="*/ 53 h 181"/>
              <a:gd name="T34" fmla="*/ 131 w 190"/>
              <a:gd name="T35" fmla="*/ 43 h 181"/>
              <a:gd name="T36" fmla="*/ 131 w 190"/>
              <a:gd name="T37" fmla="*/ 37 h 181"/>
              <a:gd name="T38" fmla="*/ 137 w 190"/>
              <a:gd name="T39" fmla="*/ 34 h 181"/>
              <a:gd name="T40" fmla="*/ 137 w 190"/>
              <a:gd name="T41" fmla="*/ 34 h 181"/>
              <a:gd name="T42" fmla="*/ 128 w 190"/>
              <a:gd name="T43" fmla="*/ 34 h 181"/>
              <a:gd name="T44" fmla="*/ 118 w 190"/>
              <a:gd name="T45" fmla="*/ 28 h 181"/>
              <a:gd name="T46" fmla="*/ 112 w 190"/>
              <a:gd name="T47" fmla="*/ 25 h 181"/>
              <a:gd name="T48" fmla="*/ 109 w 190"/>
              <a:gd name="T49" fmla="*/ 18 h 181"/>
              <a:gd name="T50" fmla="*/ 103 w 190"/>
              <a:gd name="T51" fmla="*/ 12 h 181"/>
              <a:gd name="T52" fmla="*/ 103 w 190"/>
              <a:gd name="T53" fmla="*/ 6 h 181"/>
              <a:gd name="T54" fmla="*/ 93 w 190"/>
              <a:gd name="T55" fmla="*/ 6 h 181"/>
              <a:gd name="T56" fmla="*/ 90 w 190"/>
              <a:gd name="T57" fmla="*/ 0 h 181"/>
              <a:gd name="T58" fmla="*/ 84 w 190"/>
              <a:gd name="T59" fmla="*/ 0 h 181"/>
              <a:gd name="T60" fmla="*/ 68 w 190"/>
              <a:gd name="T61" fmla="*/ 0 h 181"/>
              <a:gd name="T62" fmla="*/ 62 w 190"/>
              <a:gd name="T63" fmla="*/ 0 h 181"/>
              <a:gd name="T64" fmla="*/ 56 w 190"/>
              <a:gd name="T65" fmla="*/ 6 h 181"/>
              <a:gd name="T66" fmla="*/ 53 w 190"/>
              <a:gd name="T67" fmla="*/ 9 h 181"/>
              <a:gd name="T68" fmla="*/ 40 w 190"/>
              <a:gd name="T69" fmla="*/ 15 h 181"/>
              <a:gd name="T70" fmla="*/ 37 w 190"/>
              <a:gd name="T71" fmla="*/ 28 h 181"/>
              <a:gd name="T72" fmla="*/ 40 w 190"/>
              <a:gd name="T73" fmla="*/ 40 h 181"/>
              <a:gd name="T74" fmla="*/ 37 w 190"/>
              <a:gd name="T75" fmla="*/ 50 h 181"/>
              <a:gd name="T76" fmla="*/ 34 w 190"/>
              <a:gd name="T77" fmla="*/ 62 h 181"/>
              <a:gd name="T78" fmla="*/ 0 w 190"/>
              <a:gd name="T79" fmla="*/ 90 h 181"/>
              <a:gd name="T80" fmla="*/ 0 w 190"/>
              <a:gd name="T81" fmla="*/ 90 h 181"/>
              <a:gd name="T82" fmla="*/ 25 w 190"/>
              <a:gd name="T83" fmla="*/ 115 h 181"/>
              <a:gd name="T84" fmla="*/ 156 w 190"/>
              <a:gd name="T85" fmla="*/ 181 h 181"/>
              <a:gd name="T86" fmla="*/ 162 w 190"/>
              <a:gd name="T87" fmla="*/ 162 h 181"/>
              <a:gd name="T88" fmla="*/ 178 w 190"/>
              <a:gd name="T89" fmla="*/ 162 h 181"/>
              <a:gd name="T90" fmla="*/ 184 w 190"/>
              <a:gd name="T91" fmla="*/ 162 h 181"/>
              <a:gd name="T92" fmla="*/ 190 w 190"/>
              <a:gd name="T93" fmla="*/ 15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0" h="181">
                <a:moveTo>
                  <a:pt x="190" y="156"/>
                </a:moveTo>
                <a:lnTo>
                  <a:pt x="187" y="156"/>
                </a:lnTo>
                <a:lnTo>
                  <a:pt x="184" y="153"/>
                </a:lnTo>
                <a:lnTo>
                  <a:pt x="181" y="150"/>
                </a:lnTo>
                <a:lnTo>
                  <a:pt x="178" y="137"/>
                </a:lnTo>
                <a:lnTo>
                  <a:pt x="172" y="137"/>
                </a:lnTo>
                <a:lnTo>
                  <a:pt x="172" y="134"/>
                </a:lnTo>
                <a:lnTo>
                  <a:pt x="172" y="128"/>
                </a:lnTo>
                <a:lnTo>
                  <a:pt x="175" y="125"/>
                </a:lnTo>
                <a:lnTo>
                  <a:pt x="172" y="115"/>
                </a:lnTo>
                <a:lnTo>
                  <a:pt x="168" y="112"/>
                </a:lnTo>
                <a:lnTo>
                  <a:pt x="165" y="106"/>
                </a:lnTo>
                <a:lnTo>
                  <a:pt x="162" y="103"/>
                </a:lnTo>
                <a:lnTo>
                  <a:pt x="159" y="106"/>
                </a:lnTo>
                <a:lnTo>
                  <a:pt x="143" y="97"/>
                </a:lnTo>
                <a:lnTo>
                  <a:pt x="140" y="97"/>
                </a:lnTo>
                <a:lnTo>
                  <a:pt x="140" y="97"/>
                </a:lnTo>
                <a:lnTo>
                  <a:pt x="134" y="93"/>
                </a:lnTo>
                <a:lnTo>
                  <a:pt x="137" y="90"/>
                </a:lnTo>
                <a:lnTo>
                  <a:pt x="134" y="90"/>
                </a:lnTo>
                <a:lnTo>
                  <a:pt x="137" y="87"/>
                </a:lnTo>
                <a:lnTo>
                  <a:pt x="134" y="84"/>
                </a:lnTo>
                <a:lnTo>
                  <a:pt x="131" y="81"/>
                </a:lnTo>
                <a:lnTo>
                  <a:pt x="128" y="78"/>
                </a:lnTo>
                <a:lnTo>
                  <a:pt x="125" y="75"/>
                </a:lnTo>
                <a:lnTo>
                  <a:pt x="122" y="75"/>
                </a:lnTo>
                <a:lnTo>
                  <a:pt x="122" y="75"/>
                </a:lnTo>
                <a:lnTo>
                  <a:pt x="125" y="72"/>
                </a:lnTo>
                <a:lnTo>
                  <a:pt x="122" y="68"/>
                </a:lnTo>
                <a:lnTo>
                  <a:pt x="125" y="65"/>
                </a:lnTo>
                <a:lnTo>
                  <a:pt x="125" y="59"/>
                </a:lnTo>
                <a:lnTo>
                  <a:pt x="128" y="56"/>
                </a:lnTo>
                <a:lnTo>
                  <a:pt x="128" y="53"/>
                </a:lnTo>
                <a:lnTo>
                  <a:pt x="131" y="53"/>
                </a:lnTo>
                <a:lnTo>
                  <a:pt x="131" y="50"/>
                </a:lnTo>
                <a:lnTo>
                  <a:pt x="131" y="43"/>
                </a:lnTo>
                <a:lnTo>
                  <a:pt x="131" y="43"/>
                </a:lnTo>
                <a:lnTo>
                  <a:pt x="131" y="37"/>
                </a:lnTo>
                <a:lnTo>
                  <a:pt x="131" y="37"/>
                </a:lnTo>
                <a:lnTo>
                  <a:pt x="137" y="34"/>
                </a:lnTo>
                <a:lnTo>
                  <a:pt x="137" y="34"/>
                </a:lnTo>
                <a:lnTo>
                  <a:pt x="137" y="34"/>
                </a:lnTo>
                <a:lnTo>
                  <a:pt x="134" y="31"/>
                </a:lnTo>
                <a:lnTo>
                  <a:pt x="128" y="34"/>
                </a:lnTo>
                <a:lnTo>
                  <a:pt x="125" y="31"/>
                </a:lnTo>
                <a:lnTo>
                  <a:pt x="118" y="28"/>
                </a:lnTo>
                <a:lnTo>
                  <a:pt x="115" y="28"/>
                </a:lnTo>
                <a:lnTo>
                  <a:pt x="112" y="25"/>
                </a:lnTo>
                <a:lnTo>
                  <a:pt x="112" y="22"/>
                </a:lnTo>
                <a:lnTo>
                  <a:pt x="109" y="18"/>
                </a:lnTo>
                <a:lnTo>
                  <a:pt x="106" y="18"/>
                </a:lnTo>
                <a:lnTo>
                  <a:pt x="103" y="12"/>
                </a:lnTo>
                <a:lnTo>
                  <a:pt x="103" y="9"/>
                </a:lnTo>
                <a:lnTo>
                  <a:pt x="103" y="6"/>
                </a:lnTo>
                <a:lnTo>
                  <a:pt x="100" y="6"/>
                </a:lnTo>
                <a:lnTo>
                  <a:pt x="93" y="6"/>
                </a:lnTo>
                <a:lnTo>
                  <a:pt x="90" y="6"/>
                </a:lnTo>
                <a:lnTo>
                  <a:pt x="90" y="0"/>
                </a:lnTo>
                <a:lnTo>
                  <a:pt x="87" y="0"/>
                </a:lnTo>
                <a:lnTo>
                  <a:pt x="84" y="0"/>
                </a:lnTo>
                <a:lnTo>
                  <a:pt x="75" y="0"/>
                </a:lnTo>
                <a:lnTo>
                  <a:pt x="68" y="0"/>
                </a:lnTo>
                <a:lnTo>
                  <a:pt x="65" y="0"/>
                </a:lnTo>
                <a:lnTo>
                  <a:pt x="62" y="0"/>
                </a:lnTo>
                <a:lnTo>
                  <a:pt x="56" y="6"/>
                </a:lnTo>
                <a:lnTo>
                  <a:pt x="56" y="6"/>
                </a:lnTo>
                <a:lnTo>
                  <a:pt x="56" y="9"/>
                </a:lnTo>
                <a:lnTo>
                  <a:pt x="53" y="9"/>
                </a:lnTo>
                <a:lnTo>
                  <a:pt x="50" y="12"/>
                </a:lnTo>
                <a:lnTo>
                  <a:pt x="40" y="15"/>
                </a:lnTo>
                <a:lnTo>
                  <a:pt x="37" y="22"/>
                </a:lnTo>
                <a:lnTo>
                  <a:pt x="37" y="28"/>
                </a:lnTo>
                <a:lnTo>
                  <a:pt x="40" y="34"/>
                </a:lnTo>
                <a:lnTo>
                  <a:pt x="40" y="40"/>
                </a:lnTo>
                <a:lnTo>
                  <a:pt x="37" y="47"/>
                </a:lnTo>
                <a:lnTo>
                  <a:pt x="37" y="50"/>
                </a:lnTo>
                <a:lnTo>
                  <a:pt x="37" y="56"/>
                </a:lnTo>
                <a:lnTo>
                  <a:pt x="34" y="62"/>
                </a:lnTo>
                <a:lnTo>
                  <a:pt x="34" y="65"/>
                </a:lnTo>
                <a:lnTo>
                  <a:pt x="0" y="90"/>
                </a:lnTo>
                <a:lnTo>
                  <a:pt x="0" y="90"/>
                </a:lnTo>
                <a:lnTo>
                  <a:pt x="0" y="90"/>
                </a:lnTo>
                <a:lnTo>
                  <a:pt x="9" y="115"/>
                </a:lnTo>
                <a:lnTo>
                  <a:pt x="25" y="115"/>
                </a:lnTo>
                <a:lnTo>
                  <a:pt x="118" y="181"/>
                </a:lnTo>
                <a:lnTo>
                  <a:pt x="156" y="181"/>
                </a:lnTo>
                <a:lnTo>
                  <a:pt x="159" y="172"/>
                </a:lnTo>
                <a:lnTo>
                  <a:pt x="162" y="162"/>
                </a:lnTo>
                <a:lnTo>
                  <a:pt x="172" y="159"/>
                </a:lnTo>
                <a:lnTo>
                  <a:pt x="178" y="162"/>
                </a:lnTo>
                <a:lnTo>
                  <a:pt x="184" y="159"/>
                </a:lnTo>
                <a:lnTo>
                  <a:pt x="184" y="162"/>
                </a:lnTo>
                <a:lnTo>
                  <a:pt x="187" y="156"/>
                </a:lnTo>
                <a:lnTo>
                  <a:pt x="190" y="15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8" name="Freeform 86">
            <a:extLst>
              <a:ext uri="{FF2B5EF4-FFF2-40B4-BE49-F238E27FC236}">
                <a16:creationId xmlns:a16="http://schemas.microsoft.com/office/drawing/2014/main" id="{239BC775-BCCD-2BB4-6489-846312735CCE}"/>
              </a:ext>
            </a:extLst>
          </p:cNvPr>
          <p:cNvSpPr>
            <a:spLocks/>
          </p:cNvSpPr>
          <p:nvPr userDrawn="1"/>
        </p:nvSpPr>
        <p:spPr bwMode="auto">
          <a:xfrm>
            <a:off x="16007307" y="7419259"/>
            <a:ext cx="98420" cy="111126"/>
          </a:xfrm>
          <a:custGeom>
            <a:avLst/>
            <a:gdLst>
              <a:gd name="T0" fmla="*/ 0 w 31"/>
              <a:gd name="T1" fmla="*/ 22 h 35"/>
              <a:gd name="T2" fmla="*/ 3 w 31"/>
              <a:gd name="T3" fmla="*/ 13 h 35"/>
              <a:gd name="T4" fmla="*/ 6 w 31"/>
              <a:gd name="T5" fmla="*/ 3 h 35"/>
              <a:gd name="T6" fmla="*/ 16 w 31"/>
              <a:gd name="T7" fmla="*/ 0 h 35"/>
              <a:gd name="T8" fmla="*/ 22 w 31"/>
              <a:gd name="T9" fmla="*/ 3 h 35"/>
              <a:gd name="T10" fmla="*/ 28 w 31"/>
              <a:gd name="T11" fmla="*/ 0 h 35"/>
              <a:gd name="T12" fmla="*/ 28 w 31"/>
              <a:gd name="T13" fmla="*/ 3 h 35"/>
              <a:gd name="T14" fmla="*/ 28 w 31"/>
              <a:gd name="T15" fmla="*/ 3 h 35"/>
              <a:gd name="T16" fmla="*/ 31 w 31"/>
              <a:gd name="T17" fmla="*/ 13 h 35"/>
              <a:gd name="T18" fmla="*/ 19 w 31"/>
              <a:gd name="T19" fmla="*/ 16 h 35"/>
              <a:gd name="T20" fmla="*/ 28 w 31"/>
              <a:gd name="T21" fmla="*/ 19 h 35"/>
              <a:gd name="T22" fmla="*/ 28 w 31"/>
              <a:gd name="T23" fmla="*/ 19 h 35"/>
              <a:gd name="T24" fmla="*/ 28 w 31"/>
              <a:gd name="T25" fmla="*/ 22 h 35"/>
              <a:gd name="T26" fmla="*/ 28 w 31"/>
              <a:gd name="T27" fmla="*/ 25 h 35"/>
              <a:gd name="T28" fmla="*/ 31 w 31"/>
              <a:gd name="T29" fmla="*/ 25 h 35"/>
              <a:gd name="T30" fmla="*/ 31 w 31"/>
              <a:gd name="T31" fmla="*/ 25 h 35"/>
              <a:gd name="T32" fmla="*/ 31 w 31"/>
              <a:gd name="T33" fmla="*/ 28 h 35"/>
              <a:gd name="T34" fmla="*/ 31 w 31"/>
              <a:gd name="T35" fmla="*/ 28 h 35"/>
              <a:gd name="T36" fmla="*/ 19 w 31"/>
              <a:gd name="T37" fmla="*/ 35 h 35"/>
              <a:gd name="T38" fmla="*/ 19 w 31"/>
              <a:gd name="T39" fmla="*/ 28 h 35"/>
              <a:gd name="T40" fmla="*/ 0 w 31"/>
              <a:gd name="T41" fmla="*/ 22 h 35"/>
              <a:gd name="T42" fmla="*/ 0 w 31"/>
              <a:gd name="T43"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5">
                <a:moveTo>
                  <a:pt x="0" y="22"/>
                </a:moveTo>
                <a:lnTo>
                  <a:pt x="3" y="13"/>
                </a:lnTo>
                <a:lnTo>
                  <a:pt x="6" y="3"/>
                </a:lnTo>
                <a:lnTo>
                  <a:pt x="16" y="0"/>
                </a:lnTo>
                <a:lnTo>
                  <a:pt x="22" y="3"/>
                </a:lnTo>
                <a:lnTo>
                  <a:pt x="28" y="0"/>
                </a:lnTo>
                <a:lnTo>
                  <a:pt x="28" y="3"/>
                </a:lnTo>
                <a:lnTo>
                  <a:pt x="28" y="3"/>
                </a:lnTo>
                <a:lnTo>
                  <a:pt x="31" y="13"/>
                </a:lnTo>
                <a:lnTo>
                  <a:pt x="19" y="16"/>
                </a:lnTo>
                <a:lnTo>
                  <a:pt x="28" y="19"/>
                </a:lnTo>
                <a:lnTo>
                  <a:pt x="28" y="19"/>
                </a:lnTo>
                <a:lnTo>
                  <a:pt x="28" y="22"/>
                </a:lnTo>
                <a:lnTo>
                  <a:pt x="28" y="25"/>
                </a:lnTo>
                <a:lnTo>
                  <a:pt x="31" y="25"/>
                </a:lnTo>
                <a:lnTo>
                  <a:pt x="31" y="25"/>
                </a:lnTo>
                <a:lnTo>
                  <a:pt x="31" y="28"/>
                </a:lnTo>
                <a:lnTo>
                  <a:pt x="31" y="28"/>
                </a:lnTo>
                <a:lnTo>
                  <a:pt x="19" y="35"/>
                </a:lnTo>
                <a:lnTo>
                  <a:pt x="19" y="28"/>
                </a:lnTo>
                <a:lnTo>
                  <a:pt x="0" y="22"/>
                </a:lnTo>
                <a:lnTo>
                  <a:pt x="0" y="22"/>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9" name="Freeform 87">
            <a:extLst>
              <a:ext uri="{FF2B5EF4-FFF2-40B4-BE49-F238E27FC236}">
                <a16:creationId xmlns:a16="http://schemas.microsoft.com/office/drawing/2014/main" id="{6951549B-0CB6-8403-7057-290677120776}"/>
              </a:ext>
            </a:extLst>
          </p:cNvPr>
          <p:cNvSpPr>
            <a:spLocks/>
          </p:cNvSpPr>
          <p:nvPr userDrawn="1"/>
        </p:nvSpPr>
        <p:spPr bwMode="auto">
          <a:xfrm>
            <a:off x="15092965" y="7041432"/>
            <a:ext cx="139693" cy="79376"/>
          </a:xfrm>
          <a:custGeom>
            <a:avLst/>
            <a:gdLst>
              <a:gd name="T0" fmla="*/ 10 w 44"/>
              <a:gd name="T1" fmla="*/ 25 h 25"/>
              <a:gd name="T2" fmla="*/ 3 w 44"/>
              <a:gd name="T3" fmla="*/ 22 h 25"/>
              <a:gd name="T4" fmla="*/ 0 w 44"/>
              <a:gd name="T5" fmla="*/ 19 h 25"/>
              <a:gd name="T6" fmla="*/ 0 w 44"/>
              <a:gd name="T7" fmla="*/ 13 h 25"/>
              <a:gd name="T8" fmla="*/ 3 w 44"/>
              <a:gd name="T9" fmla="*/ 13 h 25"/>
              <a:gd name="T10" fmla="*/ 7 w 44"/>
              <a:gd name="T11" fmla="*/ 10 h 25"/>
              <a:gd name="T12" fmla="*/ 10 w 44"/>
              <a:gd name="T13" fmla="*/ 13 h 25"/>
              <a:gd name="T14" fmla="*/ 13 w 44"/>
              <a:gd name="T15" fmla="*/ 13 h 25"/>
              <a:gd name="T16" fmla="*/ 13 w 44"/>
              <a:gd name="T17" fmla="*/ 10 h 25"/>
              <a:gd name="T18" fmla="*/ 13 w 44"/>
              <a:gd name="T19" fmla="*/ 7 h 25"/>
              <a:gd name="T20" fmla="*/ 19 w 44"/>
              <a:gd name="T21" fmla="*/ 7 h 25"/>
              <a:gd name="T22" fmla="*/ 22 w 44"/>
              <a:gd name="T23" fmla="*/ 10 h 25"/>
              <a:gd name="T24" fmla="*/ 25 w 44"/>
              <a:gd name="T25" fmla="*/ 7 h 25"/>
              <a:gd name="T26" fmla="*/ 35 w 44"/>
              <a:gd name="T27" fmla="*/ 3 h 25"/>
              <a:gd name="T28" fmla="*/ 41 w 44"/>
              <a:gd name="T29" fmla="*/ 0 h 25"/>
              <a:gd name="T30" fmla="*/ 44 w 44"/>
              <a:gd name="T31" fmla="*/ 0 h 25"/>
              <a:gd name="T32" fmla="*/ 44 w 44"/>
              <a:gd name="T33" fmla="*/ 0 h 25"/>
              <a:gd name="T34" fmla="*/ 44 w 44"/>
              <a:gd name="T35" fmla="*/ 3 h 25"/>
              <a:gd name="T36" fmla="*/ 38 w 44"/>
              <a:gd name="T37" fmla="*/ 7 h 25"/>
              <a:gd name="T38" fmla="*/ 35 w 44"/>
              <a:gd name="T39" fmla="*/ 10 h 25"/>
              <a:gd name="T40" fmla="*/ 35 w 44"/>
              <a:gd name="T41" fmla="*/ 16 h 25"/>
              <a:gd name="T42" fmla="*/ 35 w 44"/>
              <a:gd name="T43" fmla="*/ 19 h 25"/>
              <a:gd name="T44" fmla="*/ 32 w 44"/>
              <a:gd name="T45" fmla="*/ 19 h 25"/>
              <a:gd name="T46" fmla="*/ 28 w 44"/>
              <a:gd name="T47" fmla="*/ 19 h 25"/>
              <a:gd name="T48" fmla="*/ 22 w 44"/>
              <a:gd name="T49" fmla="*/ 22 h 25"/>
              <a:gd name="T50" fmla="*/ 19 w 44"/>
              <a:gd name="T51" fmla="*/ 25 h 25"/>
              <a:gd name="T52" fmla="*/ 16 w 44"/>
              <a:gd name="T53" fmla="*/ 25 h 25"/>
              <a:gd name="T54" fmla="*/ 13 w 44"/>
              <a:gd name="T55" fmla="*/ 25 h 25"/>
              <a:gd name="T56" fmla="*/ 10 w 44"/>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 h="25">
                <a:moveTo>
                  <a:pt x="10" y="25"/>
                </a:moveTo>
                <a:lnTo>
                  <a:pt x="3" y="22"/>
                </a:lnTo>
                <a:lnTo>
                  <a:pt x="0" y="19"/>
                </a:lnTo>
                <a:lnTo>
                  <a:pt x="0" y="13"/>
                </a:lnTo>
                <a:lnTo>
                  <a:pt x="3" y="13"/>
                </a:lnTo>
                <a:lnTo>
                  <a:pt x="7" y="10"/>
                </a:lnTo>
                <a:lnTo>
                  <a:pt x="10" y="13"/>
                </a:lnTo>
                <a:lnTo>
                  <a:pt x="13" y="13"/>
                </a:lnTo>
                <a:lnTo>
                  <a:pt x="13" y="10"/>
                </a:lnTo>
                <a:lnTo>
                  <a:pt x="13" y="7"/>
                </a:lnTo>
                <a:lnTo>
                  <a:pt x="19" y="7"/>
                </a:lnTo>
                <a:lnTo>
                  <a:pt x="22" y="10"/>
                </a:lnTo>
                <a:lnTo>
                  <a:pt x="25" y="7"/>
                </a:lnTo>
                <a:lnTo>
                  <a:pt x="35" y="3"/>
                </a:lnTo>
                <a:lnTo>
                  <a:pt x="41" y="0"/>
                </a:lnTo>
                <a:lnTo>
                  <a:pt x="44" y="0"/>
                </a:lnTo>
                <a:lnTo>
                  <a:pt x="44" y="0"/>
                </a:lnTo>
                <a:lnTo>
                  <a:pt x="44" y="3"/>
                </a:lnTo>
                <a:lnTo>
                  <a:pt x="38" y="7"/>
                </a:lnTo>
                <a:lnTo>
                  <a:pt x="35" y="10"/>
                </a:lnTo>
                <a:lnTo>
                  <a:pt x="35" y="16"/>
                </a:lnTo>
                <a:lnTo>
                  <a:pt x="35" y="19"/>
                </a:lnTo>
                <a:lnTo>
                  <a:pt x="32" y="19"/>
                </a:lnTo>
                <a:lnTo>
                  <a:pt x="28" y="19"/>
                </a:lnTo>
                <a:lnTo>
                  <a:pt x="22" y="22"/>
                </a:lnTo>
                <a:lnTo>
                  <a:pt x="19" y="25"/>
                </a:lnTo>
                <a:lnTo>
                  <a:pt x="16" y="25"/>
                </a:lnTo>
                <a:lnTo>
                  <a:pt x="13" y="25"/>
                </a:lnTo>
                <a:lnTo>
                  <a:pt x="10" y="25"/>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0" name="Freeform 88">
            <a:extLst>
              <a:ext uri="{FF2B5EF4-FFF2-40B4-BE49-F238E27FC236}">
                <a16:creationId xmlns:a16="http://schemas.microsoft.com/office/drawing/2014/main" id="{A9F214AB-770D-1909-1CD0-6A6BC67938CE}"/>
              </a:ext>
            </a:extLst>
          </p:cNvPr>
          <p:cNvSpPr>
            <a:spLocks/>
          </p:cNvSpPr>
          <p:nvPr userDrawn="1"/>
        </p:nvSpPr>
        <p:spPr bwMode="auto">
          <a:xfrm>
            <a:off x="15302503" y="6923959"/>
            <a:ext cx="387325" cy="346078"/>
          </a:xfrm>
          <a:custGeom>
            <a:avLst/>
            <a:gdLst>
              <a:gd name="T0" fmla="*/ 100 w 122"/>
              <a:gd name="T1" fmla="*/ 62 h 109"/>
              <a:gd name="T2" fmla="*/ 103 w 122"/>
              <a:gd name="T3" fmla="*/ 53 h 109"/>
              <a:gd name="T4" fmla="*/ 103 w 122"/>
              <a:gd name="T5" fmla="*/ 44 h 109"/>
              <a:gd name="T6" fmla="*/ 106 w 122"/>
              <a:gd name="T7" fmla="*/ 31 h 109"/>
              <a:gd name="T8" fmla="*/ 103 w 122"/>
              <a:gd name="T9" fmla="*/ 19 h 109"/>
              <a:gd name="T10" fmla="*/ 116 w 122"/>
              <a:gd name="T11" fmla="*/ 9 h 109"/>
              <a:gd name="T12" fmla="*/ 122 w 122"/>
              <a:gd name="T13" fmla="*/ 6 h 109"/>
              <a:gd name="T14" fmla="*/ 122 w 122"/>
              <a:gd name="T15" fmla="*/ 0 h 109"/>
              <a:gd name="T16" fmla="*/ 106 w 122"/>
              <a:gd name="T17" fmla="*/ 3 h 109"/>
              <a:gd name="T18" fmla="*/ 94 w 122"/>
              <a:gd name="T19" fmla="*/ 3 h 109"/>
              <a:gd name="T20" fmla="*/ 81 w 122"/>
              <a:gd name="T21" fmla="*/ 6 h 109"/>
              <a:gd name="T22" fmla="*/ 75 w 122"/>
              <a:gd name="T23" fmla="*/ 9 h 109"/>
              <a:gd name="T24" fmla="*/ 63 w 122"/>
              <a:gd name="T25" fmla="*/ 12 h 109"/>
              <a:gd name="T26" fmla="*/ 56 w 122"/>
              <a:gd name="T27" fmla="*/ 9 h 109"/>
              <a:gd name="T28" fmla="*/ 41 w 122"/>
              <a:gd name="T29" fmla="*/ 9 h 109"/>
              <a:gd name="T30" fmla="*/ 38 w 122"/>
              <a:gd name="T31" fmla="*/ 9 h 109"/>
              <a:gd name="T32" fmla="*/ 25 w 122"/>
              <a:gd name="T33" fmla="*/ 12 h 109"/>
              <a:gd name="T34" fmla="*/ 16 w 122"/>
              <a:gd name="T35" fmla="*/ 15 h 109"/>
              <a:gd name="T36" fmla="*/ 16 w 122"/>
              <a:gd name="T37" fmla="*/ 25 h 109"/>
              <a:gd name="T38" fmla="*/ 9 w 122"/>
              <a:gd name="T39" fmla="*/ 31 h 109"/>
              <a:gd name="T40" fmla="*/ 3 w 122"/>
              <a:gd name="T41" fmla="*/ 31 h 109"/>
              <a:gd name="T42" fmla="*/ 0 w 122"/>
              <a:gd name="T43" fmla="*/ 31 h 109"/>
              <a:gd name="T44" fmla="*/ 3 w 122"/>
              <a:gd name="T45" fmla="*/ 44 h 109"/>
              <a:gd name="T46" fmla="*/ 3 w 122"/>
              <a:gd name="T47" fmla="*/ 53 h 109"/>
              <a:gd name="T48" fmla="*/ 12 w 122"/>
              <a:gd name="T49" fmla="*/ 62 h 109"/>
              <a:gd name="T50" fmla="*/ 19 w 122"/>
              <a:gd name="T51" fmla="*/ 65 h 109"/>
              <a:gd name="T52" fmla="*/ 19 w 122"/>
              <a:gd name="T53" fmla="*/ 75 h 109"/>
              <a:gd name="T54" fmla="*/ 16 w 122"/>
              <a:gd name="T55" fmla="*/ 78 h 109"/>
              <a:gd name="T56" fmla="*/ 9 w 122"/>
              <a:gd name="T57" fmla="*/ 84 h 109"/>
              <a:gd name="T58" fmla="*/ 6 w 122"/>
              <a:gd name="T59" fmla="*/ 87 h 109"/>
              <a:gd name="T60" fmla="*/ 9 w 122"/>
              <a:gd name="T61" fmla="*/ 94 h 109"/>
              <a:gd name="T62" fmla="*/ 9 w 122"/>
              <a:gd name="T63" fmla="*/ 103 h 109"/>
              <a:gd name="T64" fmla="*/ 19 w 122"/>
              <a:gd name="T65" fmla="*/ 106 h 109"/>
              <a:gd name="T66" fmla="*/ 22 w 122"/>
              <a:gd name="T67" fmla="*/ 109 h 109"/>
              <a:gd name="T68" fmla="*/ 66 w 122"/>
              <a:gd name="T69" fmla="*/ 8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2" h="109">
                <a:moveTo>
                  <a:pt x="66" y="87"/>
                </a:moveTo>
                <a:lnTo>
                  <a:pt x="100" y="62"/>
                </a:lnTo>
                <a:lnTo>
                  <a:pt x="100" y="59"/>
                </a:lnTo>
                <a:lnTo>
                  <a:pt x="103" y="53"/>
                </a:lnTo>
                <a:lnTo>
                  <a:pt x="103" y="47"/>
                </a:lnTo>
                <a:lnTo>
                  <a:pt x="103" y="44"/>
                </a:lnTo>
                <a:lnTo>
                  <a:pt x="106" y="37"/>
                </a:lnTo>
                <a:lnTo>
                  <a:pt x="106" y="31"/>
                </a:lnTo>
                <a:lnTo>
                  <a:pt x="103" y="25"/>
                </a:lnTo>
                <a:lnTo>
                  <a:pt x="103" y="19"/>
                </a:lnTo>
                <a:lnTo>
                  <a:pt x="106" y="12"/>
                </a:lnTo>
                <a:lnTo>
                  <a:pt x="116" y="9"/>
                </a:lnTo>
                <a:lnTo>
                  <a:pt x="119" y="6"/>
                </a:lnTo>
                <a:lnTo>
                  <a:pt x="122" y="6"/>
                </a:lnTo>
                <a:lnTo>
                  <a:pt x="122" y="3"/>
                </a:lnTo>
                <a:lnTo>
                  <a:pt x="122" y="0"/>
                </a:lnTo>
                <a:lnTo>
                  <a:pt x="116" y="0"/>
                </a:lnTo>
                <a:lnTo>
                  <a:pt x="106" y="3"/>
                </a:lnTo>
                <a:lnTo>
                  <a:pt x="97" y="3"/>
                </a:lnTo>
                <a:lnTo>
                  <a:pt x="94" y="3"/>
                </a:lnTo>
                <a:lnTo>
                  <a:pt x="88" y="3"/>
                </a:lnTo>
                <a:lnTo>
                  <a:pt x="81" y="6"/>
                </a:lnTo>
                <a:lnTo>
                  <a:pt x="78" y="9"/>
                </a:lnTo>
                <a:lnTo>
                  <a:pt x="75" y="9"/>
                </a:lnTo>
                <a:lnTo>
                  <a:pt x="72" y="12"/>
                </a:lnTo>
                <a:lnTo>
                  <a:pt x="63" y="12"/>
                </a:lnTo>
                <a:lnTo>
                  <a:pt x="56" y="9"/>
                </a:lnTo>
                <a:lnTo>
                  <a:pt x="56" y="9"/>
                </a:lnTo>
                <a:lnTo>
                  <a:pt x="53" y="6"/>
                </a:lnTo>
                <a:lnTo>
                  <a:pt x="41" y="9"/>
                </a:lnTo>
                <a:lnTo>
                  <a:pt x="38" y="9"/>
                </a:lnTo>
                <a:lnTo>
                  <a:pt x="38" y="9"/>
                </a:lnTo>
                <a:lnTo>
                  <a:pt x="28" y="15"/>
                </a:lnTo>
                <a:lnTo>
                  <a:pt x="25" y="12"/>
                </a:lnTo>
                <a:lnTo>
                  <a:pt x="19" y="12"/>
                </a:lnTo>
                <a:lnTo>
                  <a:pt x="16" y="15"/>
                </a:lnTo>
                <a:lnTo>
                  <a:pt x="16" y="22"/>
                </a:lnTo>
                <a:lnTo>
                  <a:pt x="16" y="25"/>
                </a:lnTo>
                <a:lnTo>
                  <a:pt x="16" y="28"/>
                </a:lnTo>
                <a:lnTo>
                  <a:pt x="9" y="31"/>
                </a:lnTo>
                <a:lnTo>
                  <a:pt x="6" y="31"/>
                </a:lnTo>
                <a:lnTo>
                  <a:pt x="3" y="31"/>
                </a:lnTo>
                <a:lnTo>
                  <a:pt x="3" y="31"/>
                </a:lnTo>
                <a:lnTo>
                  <a:pt x="0" y="31"/>
                </a:lnTo>
                <a:lnTo>
                  <a:pt x="0" y="37"/>
                </a:lnTo>
                <a:lnTo>
                  <a:pt x="3" y="44"/>
                </a:lnTo>
                <a:lnTo>
                  <a:pt x="6" y="50"/>
                </a:lnTo>
                <a:lnTo>
                  <a:pt x="3" y="53"/>
                </a:lnTo>
                <a:lnTo>
                  <a:pt x="3" y="59"/>
                </a:lnTo>
                <a:lnTo>
                  <a:pt x="12" y="62"/>
                </a:lnTo>
                <a:lnTo>
                  <a:pt x="16" y="65"/>
                </a:lnTo>
                <a:lnTo>
                  <a:pt x="19" y="65"/>
                </a:lnTo>
                <a:lnTo>
                  <a:pt x="19" y="72"/>
                </a:lnTo>
                <a:lnTo>
                  <a:pt x="19" y="75"/>
                </a:lnTo>
                <a:lnTo>
                  <a:pt x="16" y="78"/>
                </a:lnTo>
                <a:lnTo>
                  <a:pt x="16" y="78"/>
                </a:lnTo>
                <a:lnTo>
                  <a:pt x="9" y="78"/>
                </a:lnTo>
                <a:lnTo>
                  <a:pt x="9" y="84"/>
                </a:lnTo>
                <a:lnTo>
                  <a:pt x="6" y="87"/>
                </a:lnTo>
                <a:lnTo>
                  <a:pt x="6" y="87"/>
                </a:lnTo>
                <a:lnTo>
                  <a:pt x="6" y="90"/>
                </a:lnTo>
                <a:lnTo>
                  <a:pt x="9" y="94"/>
                </a:lnTo>
                <a:lnTo>
                  <a:pt x="9" y="100"/>
                </a:lnTo>
                <a:lnTo>
                  <a:pt x="9" y="103"/>
                </a:lnTo>
                <a:lnTo>
                  <a:pt x="12" y="103"/>
                </a:lnTo>
                <a:lnTo>
                  <a:pt x="19" y="106"/>
                </a:lnTo>
                <a:lnTo>
                  <a:pt x="22" y="109"/>
                </a:lnTo>
                <a:lnTo>
                  <a:pt x="22" y="109"/>
                </a:lnTo>
                <a:lnTo>
                  <a:pt x="25" y="109"/>
                </a:lnTo>
                <a:lnTo>
                  <a:pt x="66" y="87"/>
                </a:lnTo>
                <a:lnTo>
                  <a:pt x="66" y="8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1" name="Freeform 89">
            <a:extLst>
              <a:ext uri="{FF2B5EF4-FFF2-40B4-BE49-F238E27FC236}">
                <a16:creationId xmlns:a16="http://schemas.microsoft.com/office/drawing/2014/main" id="{1F848FEE-3FEE-988B-C64F-C2442FDC3FCC}"/>
              </a:ext>
            </a:extLst>
          </p:cNvPr>
          <p:cNvSpPr>
            <a:spLocks/>
          </p:cNvSpPr>
          <p:nvPr userDrawn="1"/>
        </p:nvSpPr>
        <p:spPr bwMode="auto">
          <a:xfrm>
            <a:off x="15223130" y="7200182"/>
            <a:ext cx="98420" cy="279400"/>
          </a:xfrm>
          <a:custGeom>
            <a:avLst/>
            <a:gdLst>
              <a:gd name="T0" fmla="*/ 19 w 31"/>
              <a:gd name="T1" fmla="*/ 88 h 88"/>
              <a:gd name="T2" fmla="*/ 22 w 31"/>
              <a:gd name="T3" fmla="*/ 85 h 88"/>
              <a:gd name="T4" fmla="*/ 22 w 31"/>
              <a:gd name="T5" fmla="*/ 85 h 88"/>
              <a:gd name="T6" fmla="*/ 22 w 31"/>
              <a:gd name="T7" fmla="*/ 82 h 88"/>
              <a:gd name="T8" fmla="*/ 25 w 31"/>
              <a:gd name="T9" fmla="*/ 79 h 88"/>
              <a:gd name="T10" fmla="*/ 25 w 31"/>
              <a:gd name="T11" fmla="*/ 75 h 88"/>
              <a:gd name="T12" fmla="*/ 25 w 31"/>
              <a:gd name="T13" fmla="*/ 69 h 88"/>
              <a:gd name="T14" fmla="*/ 25 w 31"/>
              <a:gd name="T15" fmla="*/ 63 h 88"/>
              <a:gd name="T16" fmla="*/ 25 w 31"/>
              <a:gd name="T17" fmla="*/ 63 h 88"/>
              <a:gd name="T18" fmla="*/ 25 w 31"/>
              <a:gd name="T19" fmla="*/ 60 h 88"/>
              <a:gd name="T20" fmla="*/ 28 w 31"/>
              <a:gd name="T21" fmla="*/ 54 h 88"/>
              <a:gd name="T22" fmla="*/ 28 w 31"/>
              <a:gd name="T23" fmla="*/ 50 h 88"/>
              <a:gd name="T24" fmla="*/ 28 w 31"/>
              <a:gd name="T25" fmla="*/ 44 h 88"/>
              <a:gd name="T26" fmla="*/ 25 w 31"/>
              <a:gd name="T27" fmla="*/ 44 h 88"/>
              <a:gd name="T28" fmla="*/ 25 w 31"/>
              <a:gd name="T29" fmla="*/ 44 h 88"/>
              <a:gd name="T30" fmla="*/ 22 w 31"/>
              <a:gd name="T31" fmla="*/ 44 h 88"/>
              <a:gd name="T32" fmla="*/ 19 w 31"/>
              <a:gd name="T33" fmla="*/ 44 h 88"/>
              <a:gd name="T34" fmla="*/ 19 w 31"/>
              <a:gd name="T35" fmla="*/ 38 h 88"/>
              <a:gd name="T36" fmla="*/ 19 w 31"/>
              <a:gd name="T37" fmla="*/ 29 h 88"/>
              <a:gd name="T38" fmla="*/ 19 w 31"/>
              <a:gd name="T39" fmla="*/ 25 h 88"/>
              <a:gd name="T40" fmla="*/ 19 w 31"/>
              <a:gd name="T41" fmla="*/ 19 h 88"/>
              <a:gd name="T42" fmla="*/ 25 w 31"/>
              <a:gd name="T43" fmla="*/ 19 h 88"/>
              <a:gd name="T44" fmla="*/ 25 w 31"/>
              <a:gd name="T45" fmla="*/ 22 h 88"/>
              <a:gd name="T46" fmla="*/ 25 w 31"/>
              <a:gd name="T47" fmla="*/ 25 h 88"/>
              <a:gd name="T48" fmla="*/ 28 w 31"/>
              <a:gd name="T49" fmla="*/ 22 h 88"/>
              <a:gd name="T50" fmla="*/ 28 w 31"/>
              <a:gd name="T51" fmla="*/ 19 h 88"/>
              <a:gd name="T52" fmla="*/ 28 w 31"/>
              <a:gd name="T53" fmla="*/ 19 h 88"/>
              <a:gd name="T54" fmla="*/ 28 w 31"/>
              <a:gd name="T55" fmla="*/ 19 h 88"/>
              <a:gd name="T56" fmla="*/ 28 w 31"/>
              <a:gd name="T57" fmla="*/ 16 h 88"/>
              <a:gd name="T58" fmla="*/ 28 w 31"/>
              <a:gd name="T59" fmla="*/ 10 h 88"/>
              <a:gd name="T60" fmla="*/ 28 w 31"/>
              <a:gd name="T61" fmla="*/ 3 h 88"/>
              <a:gd name="T62" fmla="*/ 31 w 31"/>
              <a:gd name="T63" fmla="*/ 0 h 88"/>
              <a:gd name="T64" fmla="*/ 28 w 31"/>
              <a:gd name="T65" fmla="*/ 0 h 88"/>
              <a:gd name="T66" fmla="*/ 28 w 31"/>
              <a:gd name="T67" fmla="*/ 7 h 88"/>
              <a:gd name="T68" fmla="*/ 22 w 31"/>
              <a:gd name="T69" fmla="*/ 7 h 88"/>
              <a:gd name="T70" fmla="*/ 19 w 31"/>
              <a:gd name="T71" fmla="*/ 7 h 88"/>
              <a:gd name="T72" fmla="*/ 12 w 31"/>
              <a:gd name="T73" fmla="*/ 10 h 88"/>
              <a:gd name="T74" fmla="*/ 12 w 31"/>
              <a:gd name="T75" fmla="*/ 25 h 88"/>
              <a:gd name="T76" fmla="*/ 6 w 31"/>
              <a:gd name="T77" fmla="*/ 35 h 88"/>
              <a:gd name="T78" fmla="*/ 0 w 31"/>
              <a:gd name="T79" fmla="*/ 44 h 88"/>
              <a:gd name="T80" fmla="*/ 3 w 31"/>
              <a:gd name="T81" fmla="*/ 44 h 88"/>
              <a:gd name="T82" fmla="*/ 6 w 31"/>
              <a:gd name="T83" fmla="*/ 50 h 88"/>
              <a:gd name="T84" fmla="*/ 9 w 31"/>
              <a:gd name="T85" fmla="*/ 57 h 88"/>
              <a:gd name="T86" fmla="*/ 16 w 31"/>
              <a:gd name="T87" fmla="*/ 66 h 88"/>
              <a:gd name="T88" fmla="*/ 19 w 31"/>
              <a:gd name="T89" fmla="*/ 75 h 88"/>
              <a:gd name="T90" fmla="*/ 16 w 31"/>
              <a:gd name="T91" fmla="*/ 82 h 88"/>
              <a:gd name="T92" fmla="*/ 19 w 31"/>
              <a:gd name="T9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1" h="88">
                <a:moveTo>
                  <a:pt x="19" y="88"/>
                </a:moveTo>
                <a:lnTo>
                  <a:pt x="22" y="85"/>
                </a:lnTo>
                <a:lnTo>
                  <a:pt x="22" y="85"/>
                </a:lnTo>
                <a:lnTo>
                  <a:pt x="22" y="82"/>
                </a:lnTo>
                <a:lnTo>
                  <a:pt x="25" y="79"/>
                </a:lnTo>
                <a:lnTo>
                  <a:pt x="25" y="75"/>
                </a:lnTo>
                <a:lnTo>
                  <a:pt x="25" y="69"/>
                </a:lnTo>
                <a:lnTo>
                  <a:pt x="25" y="63"/>
                </a:lnTo>
                <a:lnTo>
                  <a:pt x="25" y="63"/>
                </a:lnTo>
                <a:lnTo>
                  <a:pt x="25" y="60"/>
                </a:lnTo>
                <a:lnTo>
                  <a:pt x="28" y="54"/>
                </a:lnTo>
                <a:lnTo>
                  <a:pt x="28" y="50"/>
                </a:lnTo>
                <a:lnTo>
                  <a:pt x="28" y="44"/>
                </a:lnTo>
                <a:lnTo>
                  <a:pt x="25" y="44"/>
                </a:lnTo>
                <a:lnTo>
                  <a:pt x="25" y="44"/>
                </a:lnTo>
                <a:lnTo>
                  <a:pt x="22" y="44"/>
                </a:lnTo>
                <a:lnTo>
                  <a:pt x="19" y="44"/>
                </a:lnTo>
                <a:lnTo>
                  <a:pt x="19" y="38"/>
                </a:lnTo>
                <a:lnTo>
                  <a:pt x="19" y="29"/>
                </a:lnTo>
                <a:lnTo>
                  <a:pt x="19" y="25"/>
                </a:lnTo>
                <a:lnTo>
                  <a:pt x="19" y="19"/>
                </a:lnTo>
                <a:lnTo>
                  <a:pt x="25" y="19"/>
                </a:lnTo>
                <a:lnTo>
                  <a:pt x="25" y="22"/>
                </a:lnTo>
                <a:lnTo>
                  <a:pt x="25" y="25"/>
                </a:lnTo>
                <a:lnTo>
                  <a:pt x="28" y="22"/>
                </a:lnTo>
                <a:lnTo>
                  <a:pt x="28" y="19"/>
                </a:lnTo>
                <a:lnTo>
                  <a:pt x="28" y="19"/>
                </a:lnTo>
                <a:lnTo>
                  <a:pt x="28" y="19"/>
                </a:lnTo>
                <a:lnTo>
                  <a:pt x="28" y="16"/>
                </a:lnTo>
                <a:lnTo>
                  <a:pt x="28" y="10"/>
                </a:lnTo>
                <a:lnTo>
                  <a:pt x="28" y="3"/>
                </a:lnTo>
                <a:lnTo>
                  <a:pt x="31" y="0"/>
                </a:lnTo>
                <a:lnTo>
                  <a:pt x="28" y="0"/>
                </a:lnTo>
                <a:lnTo>
                  <a:pt x="28" y="7"/>
                </a:lnTo>
                <a:lnTo>
                  <a:pt x="22" y="7"/>
                </a:lnTo>
                <a:lnTo>
                  <a:pt x="19" y="7"/>
                </a:lnTo>
                <a:lnTo>
                  <a:pt x="12" y="10"/>
                </a:lnTo>
                <a:lnTo>
                  <a:pt x="12" y="25"/>
                </a:lnTo>
                <a:lnTo>
                  <a:pt x="6" y="35"/>
                </a:lnTo>
                <a:lnTo>
                  <a:pt x="0" y="44"/>
                </a:lnTo>
                <a:lnTo>
                  <a:pt x="3" y="44"/>
                </a:lnTo>
                <a:lnTo>
                  <a:pt x="6" y="50"/>
                </a:lnTo>
                <a:lnTo>
                  <a:pt x="9" y="57"/>
                </a:lnTo>
                <a:lnTo>
                  <a:pt x="16" y="66"/>
                </a:lnTo>
                <a:lnTo>
                  <a:pt x="19" y="75"/>
                </a:lnTo>
                <a:lnTo>
                  <a:pt x="16" y="82"/>
                </a:lnTo>
                <a:lnTo>
                  <a:pt x="19" y="88"/>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2" name="Freeform 90">
            <a:extLst>
              <a:ext uri="{FF2B5EF4-FFF2-40B4-BE49-F238E27FC236}">
                <a16:creationId xmlns:a16="http://schemas.microsoft.com/office/drawing/2014/main" id="{CFFA66D9-E570-6028-038D-5E4D639F2DC9}"/>
              </a:ext>
            </a:extLst>
          </p:cNvPr>
          <p:cNvSpPr>
            <a:spLocks/>
          </p:cNvSpPr>
          <p:nvPr userDrawn="1"/>
        </p:nvSpPr>
        <p:spPr bwMode="auto">
          <a:xfrm>
            <a:off x="15312026" y="7200181"/>
            <a:ext cx="19049" cy="60326"/>
          </a:xfrm>
          <a:custGeom>
            <a:avLst/>
            <a:gdLst>
              <a:gd name="T0" fmla="*/ 0 w 6"/>
              <a:gd name="T1" fmla="*/ 19 h 19"/>
              <a:gd name="T2" fmla="*/ 0 w 6"/>
              <a:gd name="T3" fmla="*/ 19 h 19"/>
              <a:gd name="T4" fmla="*/ 0 w 6"/>
              <a:gd name="T5" fmla="*/ 16 h 19"/>
              <a:gd name="T6" fmla="*/ 0 w 6"/>
              <a:gd name="T7" fmla="*/ 10 h 19"/>
              <a:gd name="T8" fmla="*/ 0 w 6"/>
              <a:gd name="T9" fmla="*/ 3 h 19"/>
              <a:gd name="T10" fmla="*/ 3 w 6"/>
              <a:gd name="T11" fmla="*/ 0 h 19"/>
              <a:gd name="T12" fmla="*/ 3 w 6"/>
              <a:gd name="T13" fmla="*/ 0 h 19"/>
              <a:gd name="T14" fmla="*/ 3 w 6"/>
              <a:gd name="T15" fmla="*/ 3 h 19"/>
              <a:gd name="T16" fmla="*/ 6 w 6"/>
              <a:gd name="T17" fmla="*/ 7 h 19"/>
              <a:gd name="T18" fmla="*/ 6 w 6"/>
              <a:gd name="T19" fmla="*/ 13 h 19"/>
              <a:gd name="T20" fmla="*/ 6 w 6"/>
              <a:gd name="T21" fmla="*/ 16 h 19"/>
              <a:gd name="T22" fmla="*/ 6 w 6"/>
              <a:gd name="T23" fmla="*/ 16 h 19"/>
              <a:gd name="T24" fmla="*/ 3 w 6"/>
              <a:gd name="T25" fmla="*/ 19 h 19"/>
              <a:gd name="T26" fmla="*/ 3 w 6"/>
              <a:gd name="T27" fmla="*/ 19 h 19"/>
              <a:gd name="T28" fmla="*/ 0 w 6"/>
              <a:gd name="T2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19">
                <a:moveTo>
                  <a:pt x="0" y="19"/>
                </a:moveTo>
                <a:lnTo>
                  <a:pt x="0" y="19"/>
                </a:lnTo>
                <a:lnTo>
                  <a:pt x="0" y="16"/>
                </a:lnTo>
                <a:lnTo>
                  <a:pt x="0" y="10"/>
                </a:lnTo>
                <a:lnTo>
                  <a:pt x="0" y="3"/>
                </a:lnTo>
                <a:lnTo>
                  <a:pt x="3" y="0"/>
                </a:lnTo>
                <a:lnTo>
                  <a:pt x="3" y="0"/>
                </a:lnTo>
                <a:lnTo>
                  <a:pt x="3" y="3"/>
                </a:lnTo>
                <a:lnTo>
                  <a:pt x="6" y="7"/>
                </a:lnTo>
                <a:lnTo>
                  <a:pt x="6" y="13"/>
                </a:lnTo>
                <a:lnTo>
                  <a:pt x="6" y="16"/>
                </a:lnTo>
                <a:lnTo>
                  <a:pt x="6" y="16"/>
                </a:lnTo>
                <a:lnTo>
                  <a:pt x="3" y="19"/>
                </a:lnTo>
                <a:lnTo>
                  <a:pt x="3" y="19"/>
                </a:lnTo>
                <a:lnTo>
                  <a:pt x="0" y="1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3" name="Freeform 91">
            <a:extLst>
              <a:ext uri="{FF2B5EF4-FFF2-40B4-BE49-F238E27FC236}">
                <a16:creationId xmlns:a16="http://schemas.microsoft.com/office/drawing/2014/main" id="{BE593F9C-1812-016E-E4FF-B02A0B51C4B1}"/>
              </a:ext>
            </a:extLst>
          </p:cNvPr>
          <p:cNvSpPr>
            <a:spLocks/>
          </p:cNvSpPr>
          <p:nvPr userDrawn="1"/>
        </p:nvSpPr>
        <p:spPr bwMode="auto">
          <a:xfrm>
            <a:off x="15283451" y="7260506"/>
            <a:ext cx="28574" cy="79376"/>
          </a:xfrm>
          <a:custGeom>
            <a:avLst/>
            <a:gdLst>
              <a:gd name="T0" fmla="*/ 6 w 9"/>
              <a:gd name="T1" fmla="*/ 25 h 25"/>
              <a:gd name="T2" fmla="*/ 6 w 9"/>
              <a:gd name="T3" fmla="*/ 25 h 25"/>
              <a:gd name="T4" fmla="*/ 3 w 9"/>
              <a:gd name="T5" fmla="*/ 25 h 25"/>
              <a:gd name="T6" fmla="*/ 0 w 9"/>
              <a:gd name="T7" fmla="*/ 25 h 25"/>
              <a:gd name="T8" fmla="*/ 0 w 9"/>
              <a:gd name="T9" fmla="*/ 19 h 25"/>
              <a:gd name="T10" fmla="*/ 0 w 9"/>
              <a:gd name="T11" fmla="*/ 10 h 25"/>
              <a:gd name="T12" fmla="*/ 0 w 9"/>
              <a:gd name="T13" fmla="*/ 6 h 25"/>
              <a:gd name="T14" fmla="*/ 0 w 9"/>
              <a:gd name="T15" fmla="*/ 0 h 25"/>
              <a:gd name="T16" fmla="*/ 6 w 9"/>
              <a:gd name="T17" fmla="*/ 0 h 25"/>
              <a:gd name="T18" fmla="*/ 6 w 9"/>
              <a:gd name="T19" fmla="*/ 3 h 25"/>
              <a:gd name="T20" fmla="*/ 6 w 9"/>
              <a:gd name="T21" fmla="*/ 6 h 25"/>
              <a:gd name="T22" fmla="*/ 9 w 9"/>
              <a:gd name="T23" fmla="*/ 3 h 25"/>
              <a:gd name="T24" fmla="*/ 9 w 9"/>
              <a:gd name="T25" fmla="*/ 3 h 25"/>
              <a:gd name="T26" fmla="*/ 9 w 9"/>
              <a:gd name="T27" fmla="*/ 6 h 25"/>
              <a:gd name="T28" fmla="*/ 9 w 9"/>
              <a:gd name="T29" fmla="*/ 10 h 25"/>
              <a:gd name="T30" fmla="*/ 9 w 9"/>
              <a:gd name="T31" fmla="*/ 13 h 25"/>
              <a:gd name="T32" fmla="*/ 9 w 9"/>
              <a:gd name="T33" fmla="*/ 16 h 25"/>
              <a:gd name="T34" fmla="*/ 9 w 9"/>
              <a:gd name="T35" fmla="*/ 25 h 25"/>
              <a:gd name="T36" fmla="*/ 6 w 9"/>
              <a:gd name="T3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25">
                <a:moveTo>
                  <a:pt x="6" y="25"/>
                </a:moveTo>
                <a:lnTo>
                  <a:pt x="6" y="25"/>
                </a:lnTo>
                <a:lnTo>
                  <a:pt x="3" y="25"/>
                </a:lnTo>
                <a:lnTo>
                  <a:pt x="0" y="25"/>
                </a:lnTo>
                <a:lnTo>
                  <a:pt x="0" y="19"/>
                </a:lnTo>
                <a:lnTo>
                  <a:pt x="0" y="10"/>
                </a:lnTo>
                <a:lnTo>
                  <a:pt x="0" y="6"/>
                </a:lnTo>
                <a:lnTo>
                  <a:pt x="0" y="0"/>
                </a:lnTo>
                <a:lnTo>
                  <a:pt x="6" y="0"/>
                </a:lnTo>
                <a:lnTo>
                  <a:pt x="6" y="3"/>
                </a:lnTo>
                <a:lnTo>
                  <a:pt x="6" y="6"/>
                </a:lnTo>
                <a:lnTo>
                  <a:pt x="9" y="3"/>
                </a:lnTo>
                <a:lnTo>
                  <a:pt x="9" y="3"/>
                </a:lnTo>
                <a:lnTo>
                  <a:pt x="9" y="6"/>
                </a:lnTo>
                <a:lnTo>
                  <a:pt x="9" y="10"/>
                </a:lnTo>
                <a:lnTo>
                  <a:pt x="9" y="13"/>
                </a:lnTo>
                <a:lnTo>
                  <a:pt x="9" y="16"/>
                </a:lnTo>
                <a:lnTo>
                  <a:pt x="9" y="25"/>
                </a:lnTo>
                <a:lnTo>
                  <a:pt x="6" y="25"/>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4" name="Freeform 92">
            <a:extLst>
              <a:ext uri="{FF2B5EF4-FFF2-40B4-BE49-F238E27FC236}">
                <a16:creationId xmlns:a16="http://schemas.microsoft.com/office/drawing/2014/main" id="{D925FD80-E3F1-940A-AEF5-6D54017A2971}"/>
              </a:ext>
            </a:extLst>
          </p:cNvPr>
          <p:cNvSpPr>
            <a:spLocks/>
          </p:cNvSpPr>
          <p:nvPr userDrawn="1"/>
        </p:nvSpPr>
        <p:spPr bwMode="auto">
          <a:xfrm>
            <a:off x="15283451" y="7111283"/>
            <a:ext cx="79371" cy="111126"/>
          </a:xfrm>
          <a:custGeom>
            <a:avLst/>
            <a:gdLst>
              <a:gd name="T0" fmla="*/ 0 w 25"/>
              <a:gd name="T1" fmla="*/ 35 h 35"/>
              <a:gd name="T2" fmla="*/ 3 w 25"/>
              <a:gd name="T3" fmla="*/ 35 h 35"/>
              <a:gd name="T4" fmla="*/ 9 w 25"/>
              <a:gd name="T5" fmla="*/ 35 h 35"/>
              <a:gd name="T6" fmla="*/ 9 w 25"/>
              <a:gd name="T7" fmla="*/ 28 h 35"/>
              <a:gd name="T8" fmla="*/ 12 w 25"/>
              <a:gd name="T9" fmla="*/ 28 h 35"/>
              <a:gd name="T10" fmla="*/ 15 w 25"/>
              <a:gd name="T11" fmla="*/ 25 h 35"/>
              <a:gd name="T12" fmla="*/ 15 w 25"/>
              <a:gd name="T13" fmla="*/ 19 h 35"/>
              <a:gd name="T14" fmla="*/ 22 w 25"/>
              <a:gd name="T15" fmla="*/ 19 h 35"/>
              <a:gd name="T16" fmla="*/ 22 w 25"/>
              <a:gd name="T17" fmla="*/ 19 h 35"/>
              <a:gd name="T18" fmla="*/ 25 w 25"/>
              <a:gd name="T19" fmla="*/ 16 h 35"/>
              <a:gd name="T20" fmla="*/ 25 w 25"/>
              <a:gd name="T21" fmla="*/ 13 h 35"/>
              <a:gd name="T22" fmla="*/ 25 w 25"/>
              <a:gd name="T23" fmla="*/ 6 h 35"/>
              <a:gd name="T24" fmla="*/ 22 w 25"/>
              <a:gd name="T25" fmla="*/ 6 h 35"/>
              <a:gd name="T26" fmla="*/ 18 w 25"/>
              <a:gd name="T27" fmla="*/ 3 h 35"/>
              <a:gd name="T28" fmla="*/ 9 w 25"/>
              <a:gd name="T29" fmla="*/ 0 h 35"/>
              <a:gd name="T30" fmla="*/ 9 w 25"/>
              <a:gd name="T31" fmla="*/ 3 h 35"/>
              <a:gd name="T32" fmla="*/ 6 w 25"/>
              <a:gd name="T33" fmla="*/ 3 h 35"/>
              <a:gd name="T34" fmla="*/ 6 w 25"/>
              <a:gd name="T35" fmla="*/ 16 h 35"/>
              <a:gd name="T36" fmla="*/ 3 w 25"/>
              <a:gd name="T37" fmla="*/ 22 h 35"/>
              <a:gd name="T38" fmla="*/ 0 w 25"/>
              <a:gd name="T39" fmla="*/ 28 h 35"/>
              <a:gd name="T40" fmla="*/ 0 w 25"/>
              <a:gd name="T41" fmla="*/ 31 h 35"/>
              <a:gd name="T42" fmla="*/ 0 w 25"/>
              <a:gd name="T4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35">
                <a:moveTo>
                  <a:pt x="0" y="35"/>
                </a:moveTo>
                <a:lnTo>
                  <a:pt x="3" y="35"/>
                </a:lnTo>
                <a:lnTo>
                  <a:pt x="9" y="35"/>
                </a:lnTo>
                <a:lnTo>
                  <a:pt x="9" y="28"/>
                </a:lnTo>
                <a:lnTo>
                  <a:pt x="12" y="28"/>
                </a:lnTo>
                <a:lnTo>
                  <a:pt x="15" y="25"/>
                </a:lnTo>
                <a:lnTo>
                  <a:pt x="15" y="19"/>
                </a:lnTo>
                <a:lnTo>
                  <a:pt x="22" y="19"/>
                </a:lnTo>
                <a:lnTo>
                  <a:pt x="22" y="19"/>
                </a:lnTo>
                <a:lnTo>
                  <a:pt x="25" y="16"/>
                </a:lnTo>
                <a:lnTo>
                  <a:pt x="25" y="13"/>
                </a:lnTo>
                <a:lnTo>
                  <a:pt x="25" y="6"/>
                </a:lnTo>
                <a:lnTo>
                  <a:pt x="22" y="6"/>
                </a:lnTo>
                <a:lnTo>
                  <a:pt x="18" y="3"/>
                </a:lnTo>
                <a:lnTo>
                  <a:pt x="9" y="0"/>
                </a:lnTo>
                <a:lnTo>
                  <a:pt x="9" y="3"/>
                </a:lnTo>
                <a:lnTo>
                  <a:pt x="6" y="3"/>
                </a:lnTo>
                <a:lnTo>
                  <a:pt x="6" y="16"/>
                </a:lnTo>
                <a:lnTo>
                  <a:pt x="3" y="22"/>
                </a:lnTo>
                <a:lnTo>
                  <a:pt x="0" y="28"/>
                </a:lnTo>
                <a:lnTo>
                  <a:pt x="0" y="31"/>
                </a:lnTo>
                <a:lnTo>
                  <a:pt x="0" y="35"/>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5" name="Freeform 93">
            <a:extLst>
              <a:ext uri="{FF2B5EF4-FFF2-40B4-BE49-F238E27FC236}">
                <a16:creationId xmlns:a16="http://schemas.microsoft.com/office/drawing/2014/main" id="{14B79F9A-3E2F-786E-C342-5B5A8613AD4C}"/>
              </a:ext>
            </a:extLst>
          </p:cNvPr>
          <p:cNvSpPr>
            <a:spLocks/>
          </p:cNvSpPr>
          <p:nvPr userDrawn="1"/>
        </p:nvSpPr>
        <p:spPr bwMode="auto">
          <a:xfrm>
            <a:off x="15283451" y="7200182"/>
            <a:ext cx="257159" cy="307976"/>
          </a:xfrm>
          <a:custGeom>
            <a:avLst/>
            <a:gdLst>
              <a:gd name="T0" fmla="*/ 3 w 81"/>
              <a:gd name="T1" fmla="*/ 85 h 97"/>
              <a:gd name="T2" fmla="*/ 3 w 81"/>
              <a:gd name="T3" fmla="*/ 85 h 97"/>
              <a:gd name="T4" fmla="*/ 3 w 81"/>
              <a:gd name="T5" fmla="*/ 82 h 97"/>
              <a:gd name="T6" fmla="*/ 6 w 81"/>
              <a:gd name="T7" fmla="*/ 79 h 97"/>
              <a:gd name="T8" fmla="*/ 6 w 81"/>
              <a:gd name="T9" fmla="*/ 75 h 97"/>
              <a:gd name="T10" fmla="*/ 6 w 81"/>
              <a:gd name="T11" fmla="*/ 69 h 97"/>
              <a:gd name="T12" fmla="*/ 6 w 81"/>
              <a:gd name="T13" fmla="*/ 63 h 97"/>
              <a:gd name="T14" fmla="*/ 6 w 81"/>
              <a:gd name="T15" fmla="*/ 63 h 97"/>
              <a:gd name="T16" fmla="*/ 6 w 81"/>
              <a:gd name="T17" fmla="*/ 60 h 97"/>
              <a:gd name="T18" fmla="*/ 9 w 81"/>
              <a:gd name="T19" fmla="*/ 54 h 97"/>
              <a:gd name="T20" fmla="*/ 9 w 81"/>
              <a:gd name="T21" fmla="*/ 50 h 97"/>
              <a:gd name="T22" fmla="*/ 9 w 81"/>
              <a:gd name="T23" fmla="*/ 35 h 97"/>
              <a:gd name="T24" fmla="*/ 9 w 81"/>
              <a:gd name="T25" fmla="*/ 32 h 97"/>
              <a:gd name="T26" fmla="*/ 9 w 81"/>
              <a:gd name="T27" fmla="*/ 29 h 97"/>
              <a:gd name="T28" fmla="*/ 9 w 81"/>
              <a:gd name="T29" fmla="*/ 25 h 97"/>
              <a:gd name="T30" fmla="*/ 9 w 81"/>
              <a:gd name="T31" fmla="*/ 22 h 97"/>
              <a:gd name="T32" fmla="*/ 9 w 81"/>
              <a:gd name="T33" fmla="*/ 19 h 97"/>
              <a:gd name="T34" fmla="*/ 12 w 81"/>
              <a:gd name="T35" fmla="*/ 19 h 97"/>
              <a:gd name="T36" fmla="*/ 12 w 81"/>
              <a:gd name="T37" fmla="*/ 19 h 97"/>
              <a:gd name="T38" fmla="*/ 15 w 81"/>
              <a:gd name="T39" fmla="*/ 16 h 97"/>
              <a:gd name="T40" fmla="*/ 18 w 81"/>
              <a:gd name="T41" fmla="*/ 16 h 97"/>
              <a:gd name="T42" fmla="*/ 25 w 81"/>
              <a:gd name="T43" fmla="*/ 19 h 97"/>
              <a:gd name="T44" fmla="*/ 28 w 81"/>
              <a:gd name="T45" fmla="*/ 22 h 97"/>
              <a:gd name="T46" fmla="*/ 28 w 81"/>
              <a:gd name="T47" fmla="*/ 22 h 97"/>
              <a:gd name="T48" fmla="*/ 31 w 81"/>
              <a:gd name="T49" fmla="*/ 22 h 97"/>
              <a:gd name="T50" fmla="*/ 72 w 81"/>
              <a:gd name="T51" fmla="*/ 0 h 97"/>
              <a:gd name="T52" fmla="*/ 81 w 81"/>
              <a:gd name="T53" fmla="*/ 25 h 97"/>
              <a:gd name="T54" fmla="*/ 78 w 81"/>
              <a:gd name="T55" fmla="*/ 25 h 97"/>
              <a:gd name="T56" fmla="*/ 72 w 81"/>
              <a:gd name="T57" fmla="*/ 32 h 97"/>
              <a:gd name="T58" fmla="*/ 44 w 81"/>
              <a:gd name="T59" fmla="*/ 41 h 97"/>
              <a:gd name="T60" fmla="*/ 65 w 81"/>
              <a:gd name="T61" fmla="*/ 66 h 97"/>
              <a:gd name="T62" fmla="*/ 56 w 81"/>
              <a:gd name="T63" fmla="*/ 75 h 97"/>
              <a:gd name="T64" fmla="*/ 56 w 81"/>
              <a:gd name="T65" fmla="*/ 82 h 97"/>
              <a:gd name="T66" fmla="*/ 40 w 81"/>
              <a:gd name="T67" fmla="*/ 82 h 97"/>
              <a:gd name="T68" fmla="*/ 28 w 81"/>
              <a:gd name="T69" fmla="*/ 97 h 97"/>
              <a:gd name="T70" fmla="*/ 6 w 81"/>
              <a:gd name="T71" fmla="*/ 91 h 97"/>
              <a:gd name="T72" fmla="*/ 0 w 81"/>
              <a:gd name="T73" fmla="*/ 91 h 97"/>
              <a:gd name="T74" fmla="*/ 3 w 81"/>
              <a:gd name="T75" fmla="*/ 91 h 97"/>
              <a:gd name="T76" fmla="*/ 3 w 81"/>
              <a:gd name="T77" fmla="*/ 85 h 97"/>
              <a:gd name="T78" fmla="*/ 3 w 81"/>
              <a:gd name="T79" fmla="*/ 85 h 97"/>
              <a:gd name="T80" fmla="*/ 3 w 81"/>
              <a:gd name="T81" fmla="*/ 8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97">
                <a:moveTo>
                  <a:pt x="3" y="85"/>
                </a:moveTo>
                <a:lnTo>
                  <a:pt x="3" y="85"/>
                </a:lnTo>
                <a:lnTo>
                  <a:pt x="3" y="82"/>
                </a:lnTo>
                <a:lnTo>
                  <a:pt x="6" y="79"/>
                </a:lnTo>
                <a:lnTo>
                  <a:pt x="6" y="75"/>
                </a:lnTo>
                <a:lnTo>
                  <a:pt x="6" y="69"/>
                </a:lnTo>
                <a:lnTo>
                  <a:pt x="6" y="63"/>
                </a:lnTo>
                <a:lnTo>
                  <a:pt x="6" y="63"/>
                </a:lnTo>
                <a:lnTo>
                  <a:pt x="6" y="60"/>
                </a:lnTo>
                <a:lnTo>
                  <a:pt x="9" y="54"/>
                </a:lnTo>
                <a:lnTo>
                  <a:pt x="9" y="50"/>
                </a:lnTo>
                <a:lnTo>
                  <a:pt x="9" y="35"/>
                </a:lnTo>
                <a:lnTo>
                  <a:pt x="9" y="32"/>
                </a:lnTo>
                <a:lnTo>
                  <a:pt x="9" y="29"/>
                </a:lnTo>
                <a:lnTo>
                  <a:pt x="9" y="25"/>
                </a:lnTo>
                <a:lnTo>
                  <a:pt x="9" y="22"/>
                </a:lnTo>
                <a:lnTo>
                  <a:pt x="9" y="19"/>
                </a:lnTo>
                <a:lnTo>
                  <a:pt x="12" y="19"/>
                </a:lnTo>
                <a:lnTo>
                  <a:pt x="12" y="19"/>
                </a:lnTo>
                <a:lnTo>
                  <a:pt x="15" y="16"/>
                </a:lnTo>
                <a:lnTo>
                  <a:pt x="18" y="16"/>
                </a:lnTo>
                <a:lnTo>
                  <a:pt x="25" y="19"/>
                </a:lnTo>
                <a:lnTo>
                  <a:pt x="28" y="22"/>
                </a:lnTo>
                <a:lnTo>
                  <a:pt x="28" y="22"/>
                </a:lnTo>
                <a:lnTo>
                  <a:pt x="31" y="22"/>
                </a:lnTo>
                <a:lnTo>
                  <a:pt x="72" y="0"/>
                </a:lnTo>
                <a:lnTo>
                  <a:pt x="81" y="25"/>
                </a:lnTo>
                <a:lnTo>
                  <a:pt x="78" y="25"/>
                </a:lnTo>
                <a:lnTo>
                  <a:pt x="72" y="32"/>
                </a:lnTo>
                <a:lnTo>
                  <a:pt x="44" y="41"/>
                </a:lnTo>
                <a:lnTo>
                  <a:pt x="65" y="66"/>
                </a:lnTo>
                <a:lnTo>
                  <a:pt x="56" y="75"/>
                </a:lnTo>
                <a:lnTo>
                  <a:pt x="56" y="82"/>
                </a:lnTo>
                <a:lnTo>
                  <a:pt x="40" y="82"/>
                </a:lnTo>
                <a:lnTo>
                  <a:pt x="28" y="97"/>
                </a:lnTo>
                <a:lnTo>
                  <a:pt x="6" y="91"/>
                </a:lnTo>
                <a:lnTo>
                  <a:pt x="0" y="91"/>
                </a:lnTo>
                <a:lnTo>
                  <a:pt x="3" y="91"/>
                </a:lnTo>
                <a:lnTo>
                  <a:pt x="3" y="85"/>
                </a:lnTo>
                <a:lnTo>
                  <a:pt x="3" y="85"/>
                </a:lnTo>
                <a:lnTo>
                  <a:pt x="3" y="85"/>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6" name="Freeform 94">
            <a:extLst>
              <a:ext uri="{FF2B5EF4-FFF2-40B4-BE49-F238E27FC236}">
                <a16:creationId xmlns:a16="http://schemas.microsoft.com/office/drawing/2014/main" id="{C128A7BA-E35E-E6E8-D3E8-8DB53DFC319A}"/>
              </a:ext>
            </a:extLst>
          </p:cNvPr>
          <p:cNvSpPr>
            <a:spLocks/>
          </p:cNvSpPr>
          <p:nvPr userDrawn="1"/>
        </p:nvSpPr>
        <p:spPr bwMode="auto">
          <a:xfrm>
            <a:off x="15283454" y="7279558"/>
            <a:ext cx="1288966" cy="1092200"/>
          </a:xfrm>
          <a:custGeom>
            <a:avLst/>
            <a:gdLst>
              <a:gd name="T0" fmla="*/ 247 w 406"/>
              <a:gd name="T1" fmla="*/ 72 h 344"/>
              <a:gd name="T2" fmla="*/ 97 w 406"/>
              <a:gd name="T3" fmla="*/ 0 h 344"/>
              <a:gd name="T4" fmla="*/ 44 w 406"/>
              <a:gd name="T5" fmla="*/ 16 h 344"/>
              <a:gd name="T6" fmla="*/ 56 w 406"/>
              <a:gd name="T7" fmla="*/ 57 h 344"/>
              <a:gd name="T8" fmla="*/ 6 w 406"/>
              <a:gd name="T9" fmla="*/ 66 h 344"/>
              <a:gd name="T10" fmla="*/ 0 w 406"/>
              <a:gd name="T11" fmla="*/ 82 h 344"/>
              <a:gd name="T12" fmla="*/ 3 w 406"/>
              <a:gd name="T13" fmla="*/ 88 h 344"/>
              <a:gd name="T14" fmla="*/ 9 w 406"/>
              <a:gd name="T15" fmla="*/ 91 h 344"/>
              <a:gd name="T16" fmla="*/ 18 w 406"/>
              <a:gd name="T17" fmla="*/ 107 h 344"/>
              <a:gd name="T18" fmla="*/ 25 w 406"/>
              <a:gd name="T19" fmla="*/ 113 h 344"/>
              <a:gd name="T20" fmla="*/ 34 w 406"/>
              <a:gd name="T21" fmla="*/ 129 h 344"/>
              <a:gd name="T22" fmla="*/ 37 w 406"/>
              <a:gd name="T23" fmla="*/ 135 h 344"/>
              <a:gd name="T24" fmla="*/ 50 w 406"/>
              <a:gd name="T25" fmla="*/ 151 h 344"/>
              <a:gd name="T26" fmla="*/ 53 w 406"/>
              <a:gd name="T27" fmla="*/ 160 h 344"/>
              <a:gd name="T28" fmla="*/ 56 w 406"/>
              <a:gd name="T29" fmla="*/ 169 h 344"/>
              <a:gd name="T30" fmla="*/ 65 w 406"/>
              <a:gd name="T31" fmla="*/ 172 h 344"/>
              <a:gd name="T32" fmla="*/ 78 w 406"/>
              <a:gd name="T33" fmla="*/ 185 h 344"/>
              <a:gd name="T34" fmla="*/ 81 w 406"/>
              <a:gd name="T35" fmla="*/ 191 h 344"/>
              <a:gd name="T36" fmla="*/ 90 w 406"/>
              <a:gd name="T37" fmla="*/ 207 h 344"/>
              <a:gd name="T38" fmla="*/ 87 w 406"/>
              <a:gd name="T39" fmla="*/ 216 h 344"/>
              <a:gd name="T40" fmla="*/ 90 w 406"/>
              <a:gd name="T41" fmla="*/ 235 h 344"/>
              <a:gd name="T42" fmla="*/ 106 w 406"/>
              <a:gd name="T43" fmla="*/ 251 h 344"/>
              <a:gd name="T44" fmla="*/ 115 w 406"/>
              <a:gd name="T45" fmla="*/ 257 h 344"/>
              <a:gd name="T46" fmla="*/ 125 w 406"/>
              <a:gd name="T47" fmla="*/ 266 h 344"/>
              <a:gd name="T48" fmla="*/ 131 w 406"/>
              <a:gd name="T49" fmla="*/ 269 h 344"/>
              <a:gd name="T50" fmla="*/ 140 w 406"/>
              <a:gd name="T51" fmla="*/ 294 h 344"/>
              <a:gd name="T52" fmla="*/ 159 w 406"/>
              <a:gd name="T53" fmla="*/ 319 h 344"/>
              <a:gd name="T54" fmla="*/ 172 w 406"/>
              <a:gd name="T55" fmla="*/ 329 h 344"/>
              <a:gd name="T56" fmla="*/ 181 w 406"/>
              <a:gd name="T57" fmla="*/ 323 h 344"/>
              <a:gd name="T58" fmla="*/ 184 w 406"/>
              <a:gd name="T59" fmla="*/ 307 h 344"/>
              <a:gd name="T60" fmla="*/ 222 w 406"/>
              <a:gd name="T61" fmla="*/ 316 h 344"/>
              <a:gd name="T62" fmla="*/ 275 w 406"/>
              <a:gd name="T63" fmla="*/ 294 h 344"/>
              <a:gd name="T64" fmla="*/ 403 w 406"/>
              <a:gd name="T65" fmla="*/ 197 h 344"/>
              <a:gd name="T66" fmla="*/ 337 w 406"/>
              <a:gd name="T67" fmla="*/ 194 h 344"/>
              <a:gd name="T68" fmla="*/ 331 w 406"/>
              <a:gd name="T69" fmla="*/ 169 h 344"/>
              <a:gd name="T70" fmla="*/ 328 w 406"/>
              <a:gd name="T71" fmla="*/ 166 h 344"/>
              <a:gd name="T72" fmla="*/ 325 w 406"/>
              <a:gd name="T73" fmla="*/ 160 h 344"/>
              <a:gd name="T74" fmla="*/ 315 w 406"/>
              <a:gd name="T75" fmla="*/ 157 h 344"/>
              <a:gd name="T76" fmla="*/ 309 w 406"/>
              <a:gd name="T77" fmla="*/ 151 h 344"/>
              <a:gd name="T78" fmla="*/ 297 w 406"/>
              <a:gd name="T79" fmla="*/ 129 h 344"/>
              <a:gd name="T80" fmla="*/ 297 w 406"/>
              <a:gd name="T81" fmla="*/ 119 h 344"/>
              <a:gd name="T82" fmla="*/ 290 w 406"/>
              <a:gd name="T83" fmla="*/ 113 h 344"/>
              <a:gd name="T84" fmla="*/ 281 w 406"/>
              <a:gd name="T85" fmla="*/ 100 h 344"/>
              <a:gd name="T86" fmla="*/ 284 w 406"/>
              <a:gd name="T87" fmla="*/ 97 h 344"/>
              <a:gd name="T88" fmla="*/ 272 w 406"/>
              <a:gd name="T89" fmla="*/ 94 h 344"/>
              <a:gd name="T90" fmla="*/ 262 w 406"/>
              <a:gd name="T91" fmla="*/ 79 h 344"/>
              <a:gd name="T92" fmla="*/ 259 w 406"/>
              <a:gd name="T93" fmla="*/ 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6" h="344">
                <a:moveTo>
                  <a:pt x="259" y="72"/>
                </a:moveTo>
                <a:lnTo>
                  <a:pt x="247" y="79"/>
                </a:lnTo>
                <a:lnTo>
                  <a:pt x="247" y="72"/>
                </a:lnTo>
                <a:lnTo>
                  <a:pt x="228" y="66"/>
                </a:lnTo>
                <a:lnTo>
                  <a:pt x="190" y="66"/>
                </a:lnTo>
                <a:lnTo>
                  <a:pt x="97" y="0"/>
                </a:lnTo>
                <a:lnTo>
                  <a:pt x="78" y="0"/>
                </a:lnTo>
                <a:lnTo>
                  <a:pt x="72" y="7"/>
                </a:lnTo>
                <a:lnTo>
                  <a:pt x="44" y="16"/>
                </a:lnTo>
                <a:lnTo>
                  <a:pt x="65" y="41"/>
                </a:lnTo>
                <a:lnTo>
                  <a:pt x="56" y="50"/>
                </a:lnTo>
                <a:lnTo>
                  <a:pt x="56" y="57"/>
                </a:lnTo>
                <a:lnTo>
                  <a:pt x="40" y="57"/>
                </a:lnTo>
                <a:lnTo>
                  <a:pt x="28" y="72"/>
                </a:lnTo>
                <a:lnTo>
                  <a:pt x="6" y="66"/>
                </a:lnTo>
                <a:lnTo>
                  <a:pt x="0" y="66"/>
                </a:lnTo>
                <a:lnTo>
                  <a:pt x="0" y="72"/>
                </a:lnTo>
                <a:lnTo>
                  <a:pt x="0" y="82"/>
                </a:lnTo>
                <a:lnTo>
                  <a:pt x="0" y="88"/>
                </a:lnTo>
                <a:lnTo>
                  <a:pt x="0" y="91"/>
                </a:lnTo>
                <a:lnTo>
                  <a:pt x="3" y="88"/>
                </a:lnTo>
                <a:lnTo>
                  <a:pt x="3" y="91"/>
                </a:lnTo>
                <a:lnTo>
                  <a:pt x="6" y="88"/>
                </a:lnTo>
                <a:lnTo>
                  <a:pt x="9" y="91"/>
                </a:lnTo>
                <a:lnTo>
                  <a:pt x="9" y="91"/>
                </a:lnTo>
                <a:lnTo>
                  <a:pt x="18" y="100"/>
                </a:lnTo>
                <a:lnTo>
                  <a:pt x="18" y="107"/>
                </a:lnTo>
                <a:lnTo>
                  <a:pt x="22" y="107"/>
                </a:lnTo>
                <a:lnTo>
                  <a:pt x="22" y="110"/>
                </a:lnTo>
                <a:lnTo>
                  <a:pt x="25" y="113"/>
                </a:lnTo>
                <a:lnTo>
                  <a:pt x="28" y="113"/>
                </a:lnTo>
                <a:lnTo>
                  <a:pt x="34" y="126"/>
                </a:lnTo>
                <a:lnTo>
                  <a:pt x="34" y="129"/>
                </a:lnTo>
                <a:lnTo>
                  <a:pt x="34" y="132"/>
                </a:lnTo>
                <a:lnTo>
                  <a:pt x="37" y="132"/>
                </a:lnTo>
                <a:lnTo>
                  <a:pt x="37" y="135"/>
                </a:lnTo>
                <a:lnTo>
                  <a:pt x="40" y="138"/>
                </a:lnTo>
                <a:lnTo>
                  <a:pt x="47" y="141"/>
                </a:lnTo>
                <a:lnTo>
                  <a:pt x="50" y="151"/>
                </a:lnTo>
                <a:lnTo>
                  <a:pt x="53" y="151"/>
                </a:lnTo>
                <a:lnTo>
                  <a:pt x="53" y="157"/>
                </a:lnTo>
                <a:lnTo>
                  <a:pt x="53" y="160"/>
                </a:lnTo>
                <a:lnTo>
                  <a:pt x="53" y="163"/>
                </a:lnTo>
                <a:lnTo>
                  <a:pt x="56" y="166"/>
                </a:lnTo>
                <a:lnTo>
                  <a:pt x="56" y="169"/>
                </a:lnTo>
                <a:lnTo>
                  <a:pt x="59" y="172"/>
                </a:lnTo>
                <a:lnTo>
                  <a:pt x="62" y="169"/>
                </a:lnTo>
                <a:lnTo>
                  <a:pt x="65" y="172"/>
                </a:lnTo>
                <a:lnTo>
                  <a:pt x="72" y="176"/>
                </a:lnTo>
                <a:lnTo>
                  <a:pt x="78" y="179"/>
                </a:lnTo>
                <a:lnTo>
                  <a:pt x="78" y="185"/>
                </a:lnTo>
                <a:lnTo>
                  <a:pt x="81" y="185"/>
                </a:lnTo>
                <a:lnTo>
                  <a:pt x="81" y="188"/>
                </a:lnTo>
                <a:lnTo>
                  <a:pt x="81" y="191"/>
                </a:lnTo>
                <a:lnTo>
                  <a:pt x="84" y="197"/>
                </a:lnTo>
                <a:lnTo>
                  <a:pt x="87" y="201"/>
                </a:lnTo>
                <a:lnTo>
                  <a:pt x="90" y="207"/>
                </a:lnTo>
                <a:lnTo>
                  <a:pt x="90" y="210"/>
                </a:lnTo>
                <a:lnTo>
                  <a:pt x="87" y="216"/>
                </a:lnTo>
                <a:lnTo>
                  <a:pt x="87" y="216"/>
                </a:lnTo>
                <a:lnTo>
                  <a:pt x="87" y="219"/>
                </a:lnTo>
                <a:lnTo>
                  <a:pt x="90" y="229"/>
                </a:lnTo>
                <a:lnTo>
                  <a:pt x="90" y="235"/>
                </a:lnTo>
                <a:lnTo>
                  <a:pt x="94" y="238"/>
                </a:lnTo>
                <a:lnTo>
                  <a:pt x="97" y="241"/>
                </a:lnTo>
                <a:lnTo>
                  <a:pt x="106" y="251"/>
                </a:lnTo>
                <a:lnTo>
                  <a:pt x="109" y="254"/>
                </a:lnTo>
                <a:lnTo>
                  <a:pt x="112" y="254"/>
                </a:lnTo>
                <a:lnTo>
                  <a:pt x="115" y="257"/>
                </a:lnTo>
                <a:lnTo>
                  <a:pt x="119" y="257"/>
                </a:lnTo>
                <a:lnTo>
                  <a:pt x="122" y="263"/>
                </a:lnTo>
                <a:lnTo>
                  <a:pt x="125" y="266"/>
                </a:lnTo>
                <a:lnTo>
                  <a:pt x="128" y="266"/>
                </a:lnTo>
                <a:lnTo>
                  <a:pt x="128" y="269"/>
                </a:lnTo>
                <a:lnTo>
                  <a:pt x="131" y="269"/>
                </a:lnTo>
                <a:lnTo>
                  <a:pt x="134" y="288"/>
                </a:lnTo>
                <a:lnTo>
                  <a:pt x="140" y="288"/>
                </a:lnTo>
                <a:lnTo>
                  <a:pt x="140" y="294"/>
                </a:lnTo>
                <a:lnTo>
                  <a:pt x="153" y="310"/>
                </a:lnTo>
                <a:lnTo>
                  <a:pt x="156" y="310"/>
                </a:lnTo>
                <a:lnTo>
                  <a:pt x="159" y="319"/>
                </a:lnTo>
                <a:lnTo>
                  <a:pt x="165" y="319"/>
                </a:lnTo>
                <a:lnTo>
                  <a:pt x="169" y="329"/>
                </a:lnTo>
                <a:lnTo>
                  <a:pt x="172" y="329"/>
                </a:lnTo>
                <a:lnTo>
                  <a:pt x="175" y="332"/>
                </a:lnTo>
                <a:lnTo>
                  <a:pt x="175" y="329"/>
                </a:lnTo>
                <a:lnTo>
                  <a:pt x="181" y="323"/>
                </a:lnTo>
                <a:lnTo>
                  <a:pt x="178" y="316"/>
                </a:lnTo>
                <a:lnTo>
                  <a:pt x="181" y="307"/>
                </a:lnTo>
                <a:lnTo>
                  <a:pt x="184" y="307"/>
                </a:lnTo>
                <a:lnTo>
                  <a:pt x="190" y="310"/>
                </a:lnTo>
                <a:lnTo>
                  <a:pt x="203" y="310"/>
                </a:lnTo>
                <a:lnTo>
                  <a:pt x="222" y="316"/>
                </a:lnTo>
                <a:lnTo>
                  <a:pt x="237" y="326"/>
                </a:lnTo>
                <a:lnTo>
                  <a:pt x="237" y="344"/>
                </a:lnTo>
                <a:lnTo>
                  <a:pt x="275" y="294"/>
                </a:lnTo>
                <a:lnTo>
                  <a:pt x="403" y="257"/>
                </a:lnTo>
                <a:lnTo>
                  <a:pt x="406" y="213"/>
                </a:lnTo>
                <a:lnTo>
                  <a:pt x="403" y="197"/>
                </a:lnTo>
                <a:lnTo>
                  <a:pt x="403" y="197"/>
                </a:lnTo>
                <a:lnTo>
                  <a:pt x="397" y="204"/>
                </a:lnTo>
                <a:lnTo>
                  <a:pt x="337" y="194"/>
                </a:lnTo>
                <a:lnTo>
                  <a:pt x="334" y="179"/>
                </a:lnTo>
                <a:lnTo>
                  <a:pt x="331" y="176"/>
                </a:lnTo>
                <a:lnTo>
                  <a:pt x="331" y="169"/>
                </a:lnTo>
                <a:lnTo>
                  <a:pt x="331" y="169"/>
                </a:lnTo>
                <a:lnTo>
                  <a:pt x="328" y="169"/>
                </a:lnTo>
                <a:lnTo>
                  <a:pt x="328" y="166"/>
                </a:lnTo>
                <a:lnTo>
                  <a:pt x="328" y="163"/>
                </a:lnTo>
                <a:lnTo>
                  <a:pt x="328" y="160"/>
                </a:lnTo>
                <a:lnTo>
                  <a:pt x="325" y="160"/>
                </a:lnTo>
                <a:lnTo>
                  <a:pt x="325" y="160"/>
                </a:lnTo>
                <a:lnTo>
                  <a:pt x="322" y="160"/>
                </a:lnTo>
                <a:lnTo>
                  <a:pt x="315" y="157"/>
                </a:lnTo>
                <a:lnTo>
                  <a:pt x="315" y="154"/>
                </a:lnTo>
                <a:lnTo>
                  <a:pt x="312" y="157"/>
                </a:lnTo>
                <a:lnTo>
                  <a:pt x="309" y="151"/>
                </a:lnTo>
                <a:lnTo>
                  <a:pt x="309" y="147"/>
                </a:lnTo>
                <a:lnTo>
                  <a:pt x="300" y="135"/>
                </a:lnTo>
                <a:lnTo>
                  <a:pt x="297" y="129"/>
                </a:lnTo>
                <a:lnTo>
                  <a:pt x="300" y="129"/>
                </a:lnTo>
                <a:lnTo>
                  <a:pt x="300" y="129"/>
                </a:lnTo>
                <a:lnTo>
                  <a:pt x="297" y="119"/>
                </a:lnTo>
                <a:lnTo>
                  <a:pt x="297" y="116"/>
                </a:lnTo>
                <a:lnTo>
                  <a:pt x="294" y="113"/>
                </a:lnTo>
                <a:lnTo>
                  <a:pt x="290" y="113"/>
                </a:lnTo>
                <a:lnTo>
                  <a:pt x="284" y="104"/>
                </a:lnTo>
                <a:lnTo>
                  <a:pt x="281" y="104"/>
                </a:lnTo>
                <a:lnTo>
                  <a:pt x="281" y="100"/>
                </a:lnTo>
                <a:lnTo>
                  <a:pt x="281" y="97"/>
                </a:lnTo>
                <a:lnTo>
                  <a:pt x="281" y="97"/>
                </a:lnTo>
                <a:lnTo>
                  <a:pt x="284" y="97"/>
                </a:lnTo>
                <a:lnTo>
                  <a:pt x="281" y="97"/>
                </a:lnTo>
                <a:lnTo>
                  <a:pt x="278" y="94"/>
                </a:lnTo>
                <a:lnTo>
                  <a:pt x="272" y="94"/>
                </a:lnTo>
                <a:lnTo>
                  <a:pt x="269" y="85"/>
                </a:lnTo>
                <a:lnTo>
                  <a:pt x="265" y="79"/>
                </a:lnTo>
                <a:lnTo>
                  <a:pt x="262" y="79"/>
                </a:lnTo>
                <a:lnTo>
                  <a:pt x="262" y="75"/>
                </a:lnTo>
                <a:lnTo>
                  <a:pt x="262" y="75"/>
                </a:lnTo>
                <a:lnTo>
                  <a:pt x="259" y="72"/>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7" name="Freeform 95">
            <a:extLst>
              <a:ext uri="{FF2B5EF4-FFF2-40B4-BE49-F238E27FC236}">
                <a16:creationId xmlns:a16="http://schemas.microsoft.com/office/drawing/2014/main" id="{C66698BB-650A-3C9C-6301-3E84B12E28A2}"/>
              </a:ext>
            </a:extLst>
          </p:cNvPr>
          <p:cNvSpPr>
            <a:spLocks/>
          </p:cNvSpPr>
          <p:nvPr userDrawn="1"/>
        </p:nvSpPr>
        <p:spPr bwMode="auto">
          <a:xfrm>
            <a:off x="16273987" y="7689131"/>
            <a:ext cx="50797" cy="98426"/>
          </a:xfrm>
          <a:custGeom>
            <a:avLst/>
            <a:gdLst>
              <a:gd name="T0" fmla="*/ 13 w 16"/>
              <a:gd name="T1" fmla="*/ 31 h 31"/>
              <a:gd name="T2" fmla="*/ 10 w 16"/>
              <a:gd name="T3" fmla="*/ 31 h 31"/>
              <a:gd name="T4" fmla="*/ 3 w 16"/>
              <a:gd name="T5" fmla="*/ 28 h 31"/>
              <a:gd name="T6" fmla="*/ 3 w 16"/>
              <a:gd name="T7" fmla="*/ 25 h 31"/>
              <a:gd name="T8" fmla="*/ 3 w 16"/>
              <a:gd name="T9" fmla="*/ 25 h 31"/>
              <a:gd name="T10" fmla="*/ 3 w 16"/>
              <a:gd name="T11" fmla="*/ 22 h 31"/>
              <a:gd name="T12" fmla="*/ 3 w 16"/>
              <a:gd name="T13" fmla="*/ 18 h 31"/>
              <a:gd name="T14" fmla="*/ 0 w 16"/>
              <a:gd name="T15" fmla="*/ 18 h 31"/>
              <a:gd name="T16" fmla="*/ 3 w 16"/>
              <a:gd name="T17" fmla="*/ 12 h 31"/>
              <a:gd name="T18" fmla="*/ 3 w 16"/>
              <a:gd name="T19" fmla="*/ 12 h 31"/>
              <a:gd name="T20" fmla="*/ 3 w 16"/>
              <a:gd name="T21" fmla="*/ 12 h 31"/>
              <a:gd name="T22" fmla="*/ 3 w 16"/>
              <a:gd name="T23" fmla="*/ 6 h 31"/>
              <a:gd name="T24" fmla="*/ 3 w 16"/>
              <a:gd name="T25" fmla="*/ 6 h 31"/>
              <a:gd name="T26" fmla="*/ 3 w 16"/>
              <a:gd name="T27" fmla="*/ 3 h 31"/>
              <a:gd name="T28" fmla="*/ 7 w 16"/>
              <a:gd name="T29" fmla="*/ 3 h 31"/>
              <a:gd name="T30" fmla="*/ 7 w 16"/>
              <a:gd name="T31" fmla="*/ 0 h 31"/>
              <a:gd name="T32" fmla="*/ 7 w 16"/>
              <a:gd name="T33" fmla="*/ 0 h 31"/>
              <a:gd name="T34" fmla="*/ 7 w 16"/>
              <a:gd name="T35" fmla="*/ 0 h 31"/>
              <a:gd name="T36" fmla="*/ 10 w 16"/>
              <a:gd name="T37" fmla="*/ 0 h 31"/>
              <a:gd name="T38" fmla="*/ 13 w 16"/>
              <a:gd name="T39" fmla="*/ 0 h 31"/>
              <a:gd name="T40" fmla="*/ 13 w 16"/>
              <a:gd name="T41" fmla="*/ 3 h 31"/>
              <a:gd name="T42" fmla="*/ 13 w 16"/>
              <a:gd name="T43" fmla="*/ 3 h 31"/>
              <a:gd name="T44" fmla="*/ 16 w 16"/>
              <a:gd name="T45" fmla="*/ 3 h 31"/>
              <a:gd name="T46" fmla="*/ 13 w 16"/>
              <a:gd name="T47" fmla="*/ 12 h 31"/>
              <a:gd name="T48" fmla="*/ 13 w 16"/>
              <a:gd name="T49" fmla="*/ 12 h 31"/>
              <a:gd name="T50" fmla="*/ 13 w 16"/>
              <a:gd name="T51" fmla="*/ 18 h 31"/>
              <a:gd name="T52" fmla="*/ 16 w 16"/>
              <a:gd name="T53" fmla="*/ 18 h 31"/>
              <a:gd name="T54" fmla="*/ 16 w 16"/>
              <a:gd name="T55" fmla="*/ 22 h 31"/>
              <a:gd name="T56" fmla="*/ 16 w 16"/>
              <a:gd name="T57" fmla="*/ 31 h 31"/>
              <a:gd name="T58" fmla="*/ 13 w 16"/>
              <a:gd name="T59" fmla="*/ 31 h 31"/>
              <a:gd name="T60" fmla="*/ 13 w 16"/>
              <a:gd name="T6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 h="31">
                <a:moveTo>
                  <a:pt x="13" y="31"/>
                </a:moveTo>
                <a:lnTo>
                  <a:pt x="10" y="31"/>
                </a:lnTo>
                <a:lnTo>
                  <a:pt x="3" y="28"/>
                </a:lnTo>
                <a:lnTo>
                  <a:pt x="3" y="25"/>
                </a:lnTo>
                <a:lnTo>
                  <a:pt x="3" y="25"/>
                </a:lnTo>
                <a:lnTo>
                  <a:pt x="3" y="22"/>
                </a:lnTo>
                <a:lnTo>
                  <a:pt x="3" y="18"/>
                </a:lnTo>
                <a:lnTo>
                  <a:pt x="0" y="18"/>
                </a:lnTo>
                <a:lnTo>
                  <a:pt x="3" y="12"/>
                </a:lnTo>
                <a:lnTo>
                  <a:pt x="3" y="12"/>
                </a:lnTo>
                <a:lnTo>
                  <a:pt x="3" y="12"/>
                </a:lnTo>
                <a:lnTo>
                  <a:pt x="3" y="6"/>
                </a:lnTo>
                <a:lnTo>
                  <a:pt x="3" y="6"/>
                </a:lnTo>
                <a:lnTo>
                  <a:pt x="3" y="3"/>
                </a:lnTo>
                <a:lnTo>
                  <a:pt x="7" y="3"/>
                </a:lnTo>
                <a:lnTo>
                  <a:pt x="7" y="0"/>
                </a:lnTo>
                <a:lnTo>
                  <a:pt x="7" y="0"/>
                </a:lnTo>
                <a:lnTo>
                  <a:pt x="7" y="0"/>
                </a:lnTo>
                <a:lnTo>
                  <a:pt x="10" y="0"/>
                </a:lnTo>
                <a:lnTo>
                  <a:pt x="13" y="0"/>
                </a:lnTo>
                <a:lnTo>
                  <a:pt x="13" y="3"/>
                </a:lnTo>
                <a:lnTo>
                  <a:pt x="13" y="3"/>
                </a:lnTo>
                <a:lnTo>
                  <a:pt x="16" y="3"/>
                </a:lnTo>
                <a:lnTo>
                  <a:pt x="13" y="12"/>
                </a:lnTo>
                <a:lnTo>
                  <a:pt x="13" y="12"/>
                </a:lnTo>
                <a:lnTo>
                  <a:pt x="13" y="18"/>
                </a:lnTo>
                <a:lnTo>
                  <a:pt x="16" y="18"/>
                </a:lnTo>
                <a:lnTo>
                  <a:pt x="16" y="22"/>
                </a:lnTo>
                <a:lnTo>
                  <a:pt x="16" y="31"/>
                </a:lnTo>
                <a:lnTo>
                  <a:pt x="13" y="31"/>
                </a:lnTo>
                <a:lnTo>
                  <a:pt x="13" y="31"/>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8" name="Freeform 96">
            <a:extLst>
              <a:ext uri="{FF2B5EF4-FFF2-40B4-BE49-F238E27FC236}">
                <a16:creationId xmlns:a16="http://schemas.microsoft.com/office/drawing/2014/main" id="{4D8C8FF9-133B-C058-D6F4-BB6AFBB2CE32}"/>
              </a:ext>
            </a:extLst>
          </p:cNvPr>
          <p:cNvSpPr>
            <a:spLocks/>
          </p:cNvSpPr>
          <p:nvPr userDrawn="1"/>
        </p:nvSpPr>
        <p:spPr bwMode="auto">
          <a:xfrm>
            <a:off x="16334310" y="7689135"/>
            <a:ext cx="298431" cy="238126"/>
          </a:xfrm>
          <a:custGeom>
            <a:avLst/>
            <a:gdLst>
              <a:gd name="T0" fmla="*/ 0 w 94"/>
              <a:gd name="T1" fmla="*/ 40 h 75"/>
              <a:gd name="T2" fmla="*/ 0 w 94"/>
              <a:gd name="T3" fmla="*/ 47 h 75"/>
              <a:gd name="T4" fmla="*/ 3 w 94"/>
              <a:gd name="T5" fmla="*/ 50 h 75"/>
              <a:gd name="T6" fmla="*/ 6 w 94"/>
              <a:gd name="T7" fmla="*/ 65 h 75"/>
              <a:gd name="T8" fmla="*/ 66 w 94"/>
              <a:gd name="T9" fmla="*/ 75 h 75"/>
              <a:gd name="T10" fmla="*/ 72 w 94"/>
              <a:gd name="T11" fmla="*/ 68 h 75"/>
              <a:gd name="T12" fmla="*/ 88 w 94"/>
              <a:gd name="T13" fmla="*/ 18 h 75"/>
              <a:gd name="T14" fmla="*/ 94 w 94"/>
              <a:gd name="T15" fmla="*/ 18 h 75"/>
              <a:gd name="T16" fmla="*/ 91 w 94"/>
              <a:gd name="T17" fmla="*/ 12 h 75"/>
              <a:gd name="T18" fmla="*/ 91 w 94"/>
              <a:gd name="T19" fmla="*/ 9 h 75"/>
              <a:gd name="T20" fmla="*/ 91 w 94"/>
              <a:gd name="T21" fmla="*/ 9 h 75"/>
              <a:gd name="T22" fmla="*/ 88 w 94"/>
              <a:gd name="T23" fmla="*/ 9 h 75"/>
              <a:gd name="T24" fmla="*/ 88 w 94"/>
              <a:gd name="T25" fmla="*/ 9 h 75"/>
              <a:gd name="T26" fmla="*/ 88 w 94"/>
              <a:gd name="T27" fmla="*/ 9 h 75"/>
              <a:gd name="T28" fmla="*/ 88 w 94"/>
              <a:gd name="T29" fmla="*/ 3 h 75"/>
              <a:gd name="T30" fmla="*/ 84 w 94"/>
              <a:gd name="T31" fmla="*/ 0 h 75"/>
              <a:gd name="T32" fmla="*/ 84 w 94"/>
              <a:gd name="T33" fmla="*/ 3 h 75"/>
              <a:gd name="T34" fmla="*/ 81 w 94"/>
              <a:gd name="T35" fmla="*/ 6 h 75"/>
              <a:gd name="T36" fmla="*/ 69 w 94"/>
              <a:gd name="T37" fmla="*/ 12 h 75"/>
              <a:gd name="T38" fmla="*/ 69 w 94"/>
              <a:gd name="T39" fmla="*/ 18 h 75"/>
              <a:gd name="T40" fmla="*/ 59 w 94"/>
              <a:gd name="T41" fmla="*/ 28 h 75"/>
              <a:gd name="T42" fmla="*/ 56 w 94"/>
              <a:gd name="T43" fmla="*/ 31 h 75"/>
              <a:gd name="T44" fmla="*/ 59 w 94"/>
              <a:gd name="T45" fmla="*/ 31 h 75"/>
              <a:gd name="T46" fmla="*/ 59 w 94"/>
              <a:gd name="T47" fmla="*/ 34 h 75"/>
              <a:gd name="T48" fmla="*/ 56 w 94"/>
              <a:gd name="T49" fmla="*/ 40 h 75"/>
              <a:gd name="T50" fmla="*/ 53 w 94"/>
              <a:gd name="T51" fmla="*/ 37 h 75"/>
              <a:gd name="T52" fmla="*/ 50 w 94"/>
              <a:gd name="T53" fmla="*/ 37 h 75"/>
              <a:gd name="T54" fmla="*/ 50 w 94"/>
              <a:gd name="T55" fmla="*/ 37 h 75"/>
              <a:gd name="T56" fmla="*/ 50 w 94"/>
              <a:gd name="T57" fmla="*/ 40 h 75"/>
              <a:gd name="T58" fmla="*/ 47 w 94"/>
              <a:gd name="T59" fmla="*/ 40 h 75"/>
              <a:gd name="T60" fmla="*/ 47 w 94"/>
              <a:gd name="T61" fmla="*/ 43 h 75"/>
              <a:gd name="T62" fmla="*/ 41 w 94"/>
              <a:gd name="T63" fmla="*/ 43 h 75"/>
              <a:gd name="T64" fmla="*/ 38 w 94"/>
              <a:gd name="T65" fmla="*/ 43 h 75"/>
              <a:gd name="T66" fmla="*/ 34 w 94"/>
              <a:gd name="T67" fmla="*/ 43 h 75"/>
              <a:gd name="T68" fmla="*/ 31 w 94"/>
              <a:gd name="T69" fmla="*/ 43 h 75"/>
              <a:gd name="T70" fmla="*/ 31 w 94"/>
              <a:gd name="T71" fmla="*/ 40 h 75"/>
              <a:gd name="T72" fmla="*/ 28 w 94"/>
              <a:gd name="T73" fmla="*/ 43 h 75"/>
              <a:gd name="T74" fmla="*/ 22 w 94"/>
              <a:gd name="T75" fmla="*/ 40 h 75"/>
              <a:gd name="T76" fmla="*/ 13 w 94"/>
              <a:gd name="T77" fmla="*/ 47 h 75"/>
              <a:gd name="T78" fmla="*/ 9 w 94"/>
              <a:gd name="T79" fmla="*/ 47 h 75"/>
              <a:gd name="T80" fmla="*/ 6 w 94"/>
              <a:gd name="T81" fmla="*/ 47 h 75"/>
              <a:gd name="T82" fmla="*/ 3 w 94"/>
              <a:gd name="T83" fmla="*/ 47 h 75"/>
              <a:gd name="T84" fmla="*/ 3 w 94"/>
              <a:gd name="T85" fmla="*/ 37 h 75"/>
              <a:gd name="T86" fmla="*/ 0 w 94"/>
              <a:gd name="T87" fmla="*/ 40 h 75"/>
              <a:gd name="T88" fmla="*/ 0 w 94"/>
              <a:gd name="T89" fmla="*/ 4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75">
                <a:moveTo>
                  <a:pt x="0" y="40"/>
                </a:moveTo>
                <a:lnTo>
                  <a:pt x="0" y="47"/>
                </a:lnTo>
                <a:lnTo>
                  <a:pt x="3" y="50"/>
                </a:lnTo>
                <a:lnTo>
                  <a:pt x="6" y="65"/>
                </a:lnTo>
                <a:lnTo>
                  <a:pt x="66" y="75"/>
                </a:lnTo>
                <a:lnTo>
                  <a:pt x="72" y="68"/>
                </a:lnTo>
                <a:lnTo>
                  <a:pt x="88" y="18"/>
                </a:lnTo>
                <a:lnTo>
                  <a:pt x="94" y="18"/>
                </a:lnTo>
                <a:lnTo>
                  <a:pt x="91" y="12"/>
                </a:lnTo>
                <a:lnTo>
                  <a:pt x="91" y="9"/>
                </a:lnTo>
                <a:lnTo>
                  <a:pt x="91" y="9"/>
                </a:lnTo>
                <a:lnTo>
                  <a:pt x="88" y="9"/>
                </a:lnTo>
                <a:lnTo>
                  <a:pt x="88" y="9"/>
                </a:lnTo>
                <a:lnTo>
                  <a:pt x="88" y="9"/>
                </a:lnTo>
                <a:lnTo>
                  <a:pt x="88" y="3"/>
                </a:lnTo>
                <a:lnTo>
                  <a:pt x="84" y="0"/>
                </a:lnTo>
                <a:lnTo>
                  <a:pt x="84" y="3"/>
                </a:lnTo>
                <a:lnTo>
                  <a:pt x="81" y="6"/>
                </a:lnTo>
                <a:lnTo>
                  <a:pt x="69" y="12"/>
                </a:lnTo>
                <a:lnTo>
                  <a:pt x="69" y="18"/>
                </a:lnTo>
                <a:lnTo>
                  <a:pt x="59" y="28"/>
                </a:lnTo>
                <a:lnTo>
                  <a:pt x="56" y="31"/>
                </a:lnTo>
                <a:lnTo>
                  <a:pt x="59" y="31"/>
                </a:lnTo>
                <a:lnTo>
                  <a:pt x="59" y="34"/>
                </a:lnTo>
                <a:lnTo>
                  <a:pt x="56" y="40"/>
                </a:lnTo>
                <a:lnTo>
                  <a:pt x="53" y="37"/>
                </a:lnTo>
                <a:lnTo>
                  <a:pt x="50" y="37"/>
                </a:lnTo>
                <a:lnTo>
                  <a:pt x="50" y="37"/>
                </a:lnTo>
                <a:lnTo>
                  <a:pt x="50" y="40"/>
                </a:lnTo>
                <a:lnTo>
                  <a:pt x="47" y="40"/>
                </a:lnTo>
                <a:lnTo>
                  <a:pt x="47" y="43"/>
                </a:lnTo>
                <a:lnTo>
                  <a:pt x="41" y="43"/>
                </a:lnTo>
                <a:lnTo>
                  <a:pt x="38" y="43"/>
                </a:lnTo>
                <a:lnTo>
                  <a:pt x="34" y="43"/>
                </a:lnTo>
                <a:lnTo>
                  <a:pt x="31" y="43"/>
                </a:lnTo>
                <a:lnTo>
                  <a:pt x="31" y="40"/>
                </a:lnTo>
                <a:lnTo>
                  <a:pt x="28" y="43"/>
                </a:lnTo>
                <a:lnTo>
                  <a:pt x="22" y="40"/>
                </a:lnTo>
                <a:lnTo>
                  <a:pt x="13" y="47"/>
                </a:lnTo>
                <a:lnTo>
                  <a:pt x="9" y="47"/>
                </a:lnTo>
                <a:lnTo>
                  <a:pt x="6" y="47"/>
                </a:lnTo>
                <a:lnTo>
                  <a:pt x="3" y="47"/>
                </a:lnTo>
                <a:lnTo>
                  <a:pt x="3" y="37"/>
                </a:lnTo>
                <a:lnTo>
                  <a:pt x="0" y="40"/>
                </a:lnTo>
                <a:lnTo>
                  <a:pt x="0" y="4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9" name="Freeform 97">
            <a:extLst>
              <a:ext uri="{FF2B5EF4-FFF2-40B4-BE49-F238E27FC236}">
                <a16:creationId xmlns:a16="http://schemas.microsoft.com/office/drawing/2014/main" id="{DBBE649A-91DD-412E-E9F9-4EC6B0209ACE}"/>
              </a:ext>
            </a:extLst>
          </p:cNvPr>
          <p:cNvSpPr>
            <a:spLocks noEditPoints="1"/>
          </p:cNvSpPr>
          <p:nvPr userDrawn="1"/>
        </p:nvSpPr>
        <p:spPr bwMode="auto">
          <a:xfrm>
            <a:off x="11470524" y="6812832"/>
            <a:ext cx="190490" cy="79376"/>
          </a:xfrm>
          <a:custGeom>
            <a:avLst/>
            <a:gdLst>
              <a:gd name="T0" fmla="*/ 25 w 60"/>
              <a:gd name="T1" fmla="*/ 0 h 25"/>
              <a:gd name="T2" fmla="*/ 29 w 60"/>
              <a:gd name="T3" fmla="*/ 0 h 25"/>
              <a:gd name="T4" fmla="*/ 29 w 60"/>
              <a:gd name="T5" fmla="*/ 0 h 25"/>
              <a:gd name="T6" fmla="*/ 25 w 60"/>
              <a:gd name="T7" fmla="*/ 0 h 25"/>
              <a:gd name="T8" fmla="*/ 25 w 60"/>
              <a:gd name="T9" fmla="*/ 0 h 25"/>
              <a:gd name="T10" fmla="*/ 25 w 60"/>
              <a:gd name="T11" fmla="*/ 0 h 25"/>
              <a:gd name="T12" fmla="*/ 7 w 60"/>
              <a:gd name="T13" fmla="*/ 0 h 25"/>
              <a:gd name="T14" fmla="*/ 13 w 60"/>
              <a:gd name="T15" fmla="*/ 3 h 25"/>
              <a:gd name="T16" fmla="*/ 10 w 60"/>
              <a:gd name="T17" fmla="*/ 0 h 25"/>
              <a:gd name="T18" fmla="*/ 7 w 60"/>
              <a:gd name="T19" fmla="*/ 0 h 25"/>
              <a:gd name="T20" fmla="*/ 7 w 60"/>
              <a:gd name="T21" fmla="*/ 0 h 25"/>
              <a:gd name="T22" fmla="*/ 0 w 60"/>
              <a:gd name="T23" fmla="*/ 3 h 25"/>
              <a:gd name="T24" fmla="*/ 0 w 60"/>
              <a:gd name="T25" fmla="*/ 7 h 25"/>
              <a:gd name="T26" fmla="*/ 7 w 60"/>
              <a:gd name="T27" fmla="*/ 7 h 25"/>
              <a:gd name="T28" fmla="*/ 7 w 60"/>
              <a:gd name="T29" fmla="*/ 7 h 25"/>
              <a:gd name="T30" fmla="*/ 4 w 60"/>
              <a:gd name="T31" fmla="*/ 3 h 25"/>
              <a:gd name="T32" fmla="*/ 0 w 60"/>
              <a:gd name="T33" fmla="*/ 3 h 25"/>
              <a:gd name="T34" fmla="*/ 0 w 60"/>
              <a:gd name="T35" fmla="*/ 3 h 25"/>
              <a:gd name="T36" fmla="*/ 54 w 60"/>
              <a:gd name="T37" fmla="*/ 22 h 25"/>
              <a:gd name="T38" fmla="*/ 51 w 60"/>
              <a:gd name="T39" fmla="*/ 22 h 25"/>
              <a:gd name="T40" fmla="*/ 54 w 60"/>
              <a:gd name="T41" fmla="*/ 25 h 25"/>
              <a:gd name="T42" fmla="*/ 57 w 60"/>
              <a:gd name="T43" fmla="*/ 25 h 25"/>
              <a:gd name="T44" fmla="*/ 60 w 60"/>
              <a:gd name="T45" fmla="*/ 22 h 25"/>
              <a:gd name="T46" fmla="*/ 57 w 60"/>
              <a:gd name="T47" fmla="*/ 22 h 25"/>
              <a:gd name="T48" fmla="*/ 54 w 60"/>
              <a:gd name="T49" fmla="*/ 2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25">
                <a:moveTo>
                  <a:pt x="25" y="0"/>
                </a:moveTo>
                <a:lnTo>
                  <a:pt x="29" y="0"/>
                </a:lnTo>
                <a:lnTo>
                  <a:pt x="29" y="0"/>
                </a:lnTo>
                <a:lnTo>
                  <a:pt x="25" y="0"/>
                </a:lnTo>
                <a:lnTo>
                  <a:pt x="25" y="0"/>
                </a:lnTo>
                <a:lnTo>
                  <a:pt x="25" y="0"/>
                </a:lnTo>
                <a:close/>
                <a:moveTo>
                  <a:pt x="7" y="0"/>
                </a:moveTo>
                <a:lnTo>
                  <a:pt x="13" y="3"/>
                </a:lnTo>
                <a:lnTo>
                  <a:pt x="10" y="0"/>
                </a:lnTo>
                <a:lnTo>
                  <a:pt x="7" y="0"/>
                </a:lnTo>
                <a:lnTo>
                  <a:pt x="7" y="0"/>
                </a:lnTo>
                <a:close/>
                <a:moveTo>
                  <a:pt x="0" y="3"/>
                </a:moveTo>
                <a:lnTo>
                  <a:pt x="0" y="7"/>
                </a:lnTo>
                <a:lnTo>
                  <a:pt x="7" y="7"/>
                </a:lnTo>
                <a:lnTo>
                  <a:pt x="7" y="7"/>
                </a:lnTo>
                <a:lnTo>
                  <a:pt x="4" y="3"/>
                </a:lnTo>
                <a:lnTo>
                  <a:pt x="0" y="3"/>
                </a:lnTo>
                <a:lnTo>
                  <a:pt x="0" y="3"/>
                </a:lnTo>
                <a:close/>
                <a:moveTo>
                  <a:pt x="54" y="22"/>
                </a:moveTo>
                <a:lnTo>
                  <a:pt x="51" y="22"/>
                </a:lnTo>
                <a:lnTo>
                  <a:pt x="54" y="25"/>
                </a:lnTo>
                <a:lnTo>
                  <a:pt x="57" y="25"/>
                </a:lnTo>
                <a:lnTo>
                  <a:pt x="60" y="22"/>
                </a:lnTo>
                <a:lnTo>
                  <a:pt x="57" y="22"/>
                </a:lnTo>
                <a:lnTo>
                  <a:pt x="54" y="22"/>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0" name="Freeform 98">
            <a:extLst>
              <a:ext uri="{FF2B5EF4-FFF2-40B4-BE49-F238E27FC236}">
                <a16:creationId xmlns:a16="http://schemas.microsoft.com/office/drawing/2014/main" id="{E579E179-B3FD-62F8-AFF8-4CD284D2A47B}"/>
              </a:ext>
            </a:extLst>
          </p:cNvPr>
          <p:cNvSpPr>
            <a:spLocks/>
          </p:cNvSpPr>
          <p:nvPr userDrawn="1"/>
        </p:nvSpPr>
        <p:spPr bwMode="auto">
          <a:xfrm>
            <a:off x="12137232" y="7241459"/>
            <a:ext cx="28574" cy="19050"/>
          </a:xfrm>
          <a:custGeom>
            <a:avLst/>
            <a:gdLst>
              <a:gd name="T0" fmla="*/ 2 w 3"/>
              <a:gd name="T1" fmla="*/ 2 h 2"/>
              <a:gd name="T2" fmla="*/ 1 w 3"/>
              <a:gd name="T3" fmla="*/ 1 h 2"/>
              <a:gd name="T4" fmla="*/ 0 w 3"/>
              <a:gd name="T5" fmla="*/ 1 h 2"/>
              <a:gd name="T6" fmla="*/ 2 w 3"/>
              <a:gd name="T7" fmla="*/ 0 h 2"/>
              <a:gd name="T8" fmla="*/ 3 w 3"/>
              <a:gd name="T9" fmla="*/ 2 h 2"/>
              <a:gd name="T10" fmla="*/ 2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2" y="2"/>
                </a:moveTo>
                <a:cubicBezTo>
                  <a:pt x="1" y="1"/>
                  <a:pt x="1" y="1"/>
                  <a:pt x="1" y="1"/>
                </a:cubicBezTo>
                <a:cubicBezTo>
                  <a:pt x="0" y="1"/>
                  <a:pt x="0" y="1"/>
                  <a:pt x="0" y="1"/>
                </a:cubicBezTo>
                <a:cubicBezTo>
                  <a:pt x="2" y="0"/>
                  <a:pt x="2" y="0"/>
                  <a:pt x="2" y="0"/>
                </a:cubicBezTo>
                <a:cubicBezTo>
                  <a:pt x="3" y="2"/>
                  <a:pt x="3" y="2"/>
                  <a:pt x="3" y="2"/>
                </a:cubicBezTo>
                <a:cubicBezTo>
                  <a:pt x="3" y="2"/>
                  <a:pt x="2" y="2"/>
                  <a:pt x="2" y="2"/>
                </a:cubicBez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1" name="Freeform 99">
            <a:extLst>
              <a:ext uri="{FF2B5EF4-FFF2-40B4-BE49-F238E27FC236}">
                <a16:creationId xmlns:a16="http://schemas.microsoft.com/office/drawing/2014/main" id="{B098398C-7962-95BC-3C49-7BB86C43B29D}"/>
              </a:ext>
            </a:extLst>
          </p:cNvPr>
          <p:cNvSpPr>
            <a:spLocks noEditPoints="1"/>
          </p:cNvSpPr>
          <p:nvPr userDrawn="1"/>
        </p:nvSpPr>
        <p:spPr bwMode="auto">
          <a:xfrm>
            <a:off x="12076915" y="7508156"/>
            <a:ext cx="288907" cy="101600"/>
          </a:xfrm>
          <a:custGeom>
            <a:avLst/>
            <a:gdLst>
              <a:gd name="T0" fmla="*/ 5 w 29"/>
              <a:gd name="T1" fmla="*/ 7 h 10"/>
              <a:gd name="T2" fmla="*/ 5 w 29"/>
              <a:gd name="T3" fmla="*/ 7 h 10"/>
              <a:gd name="T4" fmla="*/ 5 w 29"/>
              <a:gd name="T5" fmla="*/ 6 h 10"/>
              <a:gd name="T6" fmla="*/ 5 w 29"/>
              <a:gd name="T7" fmla="*/ 6 h 10"/>
              <a:gd name="T8" fmla="*/ 5 w 29"/>
              <a:gd name="T9" fmla="*/ 7 h 10"/>
              <a:gd name="T10" fmla="*/ 5 w 29"/>
              <a:gd name="T11" fmla="*/ 7 h 10"/>
              <a:gd name="T12" fmla="*/ 1 w 29"/>
              <a:gd name="T13" fmla="*/ 10 h 10"/>
              <a:gd name="T14" fmla="*/ 0 w 29"/>
              <a:gd name="T15" fmla="*/ 9 h 10"/>
              <a:gd name="T16" fmla="*/ 1 w 29"/>
              <a:gd name="T17" fmla="*/ 9 h 10"/>
              <a:gd name="T18" fmla="*/ 1 w 29"/>
              <a:gd name="T19" fmla="*/ 9 h 10"/>
              <a:gd name="T20" fmla="*/ 1 w 29"/>
              <a:gd name="T21" fmla="*/ 9 h 10"/>
              <a:gd name="T22" fmla="*/ 1 w 29"/>
              <a:gd name="T23" fmla="*/ 10 h 10"/>
              <a:gd name="T24" fmla="*/ 1 w 29"/>
              <a:gd name="T25" fmla="*/ 10 h 10"/>
              <a:gd name="T26" fmla="*/ 2 w 29"/>
              <a:gd name="T27" fmla="*/ 4 h 10"/>
              <a:gd name="T28" fmla="*/ 2 w 29"/>
              <a:gd name="T29" fmla="*/ 3 h 10"/>
              <a:gd name="T30" fmla="*/ 1 w 29"/>
              <a:gd name="T31" fmla="*/ 2 h 10"/>
              <a:gd name="T32" fmla="*/ 2 w 29"/>
              <a:gd name="T33" fmla="*/ 1 h 10"/>
              <a:gd name="T34" fmla="*/ 3 w 29"/>
              <a:gd name="T35" fmla="*/ 2 h 10"/>
              <a:gd name="T36" fmla="*/ 3 w 29"/>
              <a:gd name="T37" fmla="*/ 4 h 10"/>
              <a:gd name="T38" fmla="*/ 2 w 29"/>
              <a:gd name="T39" fmla="*/ 4 h 10"/>
              <a:gd name="T40" fmla="*/ 12 w 29"/>
              <a:gd name="T41" fmla="*/ 6 h 10"/>
              <a:gd name="T42" fmla="*/ 10 w 29"/>
              <a:gd name="T43" fmla="*/ 6 h 10"/>
              <a:gd name="T44" fmla="*/ 8 w 29"/>
              <a:gd name="T45" fmla="*/ 7 h 10"/>
              <a:gd name="T46" fmla="*/ 7 w 29"/>
              <a:gd name="T47" fmla="*/ 7 h 10"/>
              <a:gd name="T48" fmla="*/ 7 w 29"/>
              <a:gd name="T49" fmla="*/ 6 h 10"/>
              <a:gd name="T50" fmla="*/ 8 w 29"/>
              <a:gd name="T51" fmla="*/ 5 h 10"/>
              <a:gd name="T52" fmla="*/ 9 w 29"/>
              <a:gd name="T53" fmla="*/ 5 h 10"/>
              <a:gd name="T54" fmla="*/ 10 w 29"/>
              <a:gd name="T55" fmla="*/ 5 h 10"/>
              <a:gd name="T56" fmla="*/ 11 w 29"/>
              <a:gd name="T57" fmla="*/ 4 h 10"/>
              <a:gd name="T58" fmla="*/ 12 w 29"/>
              <a:gd name="T59" fmla="*/ 4 h 10"/>
              <a:gd name="T60" fmla="*/ 12 w 29"/>
              <a:gd name="T61" fmla="*/ 6 h 10"/>
              <a:gd name="T62" fmla="*/ 14 w 29"/>
              <a:gd name="T63" fmla="*/ 6 h 10"/>
              <a:gd name="T64" fmla="*/ 14 w 29"/>
              <a:gd name="T65" fmla="*/ 8 h 10"/>
              <a:gd name="T66" fmla="*/ 15 w 29"/>
              <a:gd name="T67" fmla="*/ 9 h 10"/>
              <a:gd name="T68" fmla="*/ 16 w 29"/>
              <a:gd name="T69" fmla="*/ 8 h 10"/>
              <a:gd name="T70" fmla="*/ 17 w 29"/>
              <a:gd name="T71" fmla="*/ 8 h 10"/>
              <a:gd name="T72" fmla="*/ 16 w 29"/>
              <a:gd name="T73" fmla="*/ 7 h 10"/>
              <a:gd name="T74" fmla="*/ 15 w 29"/>
              <a:gd name="T75" fmla="*/ 6 h 10"/>
              <a:gd name="T76" fmla="*/ 14 w 29"/>
              <a:gd name="T77" fmla="*/ 6 h 10"/>
              <a:gd name="T78" fmla="*/ 26 w 29"/>
              <a:gd name="T79" fmla="*/ 2 h 10"/>
              <a:gd name="T80" fmla="*/ 27 w 29"/>
              <a:gd name="T81" fmla="*/ 0 h 10"/>
              <a:gd name="T82" fmla="*/ 28 w 29"/>
              <a:gd name="T83" fmla="*/ 0 h 10"/>
              <a:gd name="T84" fmla="*/ 29 w 29"/>
              <a:gd name="T85" fmla="*/ 1 h 10"/>
              <a:gd name="T86" fmla="*/ 27 w 29"/>
              <a:gd name="T87" fmla="*/ 1 h 10"/>
              <a:gd name="T88" fmla="*/ 26 w 29"/>
              <a:gd name="T89" fmla="*/ 2 h 10"/>
              <a:gd name="T90" fmla="*/ 22 w 29"/>
              <a:gd name="T91" fmla="*/ 7 h 10"/>
              <a:gd name="T92" fmla="*/ 24 w 29"/>
              <a:gd name="T93" fmla="*/ 5 h 10"/>
              <a:gd name="T94" fmla="*/ 24 w 29"/>
              <a:gd name="T95" fmla="*/ 4 h 10"/>
              <a:gd name="T96" fmla="*/ 26 w 29"/>
              <a:gd name="T97" fmla="*/ 3 h 10"/>
              <a:gd name="T98" fmla="*/ 26 w 29"/>
              <a:gd name="T99" fmla="*/ 5 h 10"/>
              <a:gd name="T100" fmla="*/ 24 w 29"/>
              <a:gd name="T101" fmla="*/ 7 h 10"/>
              <a:gd name="T102" fmla="*/ 23 w 29"/>
              <a:gd name="T103" fmla="*/ 7 h 10"/>
              <a:gd name="T104" fmla="*/ 22 w 29"/>
              <a:gd name="T105"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 h="10">
                <a:moveTo>
                  <a:pt x="5" y="7"/>
                </a:moveTo>
                <a:cubicBezTo>
                  <a:pt x="5" y="7"/>
                  <a:pt x="5" y="7"/>
                  <a:pt x="5" y="7"/>
                </a:cubicBezTo>
                <a:cubicBezTo>
                  <a:pt x="5" y="6"/>
                  <a:pt x="5" y="6"/>
                  <a:pt x="5" y="6"/>
                </a:cubicBezTo>
                <a:cubicBezTo>
                  <a:pt x="5" y="6"/>
                  <a:pt x="5" y="6"/>
                  <a:pt x="5" y="6"/>
                </a:cubicBezTo>
                <a:cubicBezTo>
                  <a:pt x="5" y="7"/>
                  <a:pt x="5" y="7"/>
                  <a:pt x="5" y="7"/>
                </a:cubicBezTo>
                <a:cubicBezTo>
                  <a:pt x="5" y="7"/>
                  <a:pt x="5" y="7"/>
                  <a:pt x="5" y="7"/>
                </a:cubicBezTo>
                <a:close/>
                <a:moveTo>
                  <a:pt x="1" y="10"/>
                </a:moveTo>
                <a:cubicBezTo>
                  <a:pt x="0" y="9"/>
                  <a:pt x="0" y="9"/>
                  <a:pt x="0" y="9"/>
                </a:cubicBezTo>
                <a:cubicBezTo>
                  <a:pt x="1" y="9"/>
                  <a:pt x="1" y="9"/>
                  <a:pt x="1" y="9"/>
                </a:cubicBezTo>
                <a:cubicBezTo>
                  <a:pt x="1" y="9"/>
                  <a:pt x="1" y="9"/>
                  <a:pt x="1" y="9"/>
                </a:cubicBezTo>
                <a:cubicBezTo>
                  <a:pt x="1" y="9"/>
                  <a:pt x="1" y="9"/>
                  <a:pt x="1" y="9"/>
                </a:cubicBezTo>
                <a:cubicBezTo>
                  <a:pt x="1" y="10"/>
                  <a:pt x="1" y="10"/>
                  <a:pt x="1" y="10"/>
                </a:cubicBezTo>
                <a:cubicBezTo>
                  <a:pt x="1" y="10"/>
                  <a:pt x="1" y="10"/>
                  <a:pt x="1" y="10"/>
                </a:cubicBezTo>
                <a:close/>
                <a:moveTo>
                  <a:pt x="2" y="4"/>
                </a:moveTo>
                <a:cubicBezTo>
                  <a:pt x="2" y="3"/>
                  <a:pt x="2" y="3"/>
                  <a:pt x="2" y="3"/>
                </a:cubicBezTo>
                <a:cubicBezTo>
                  <a:pt x="1" y="2"/>
                  <a:pt x="1" y="2"/>
                  <a:pt x="1" y="2"/>
                </a:cubicBezTo>
                <a:cubicBezTo>
                  <a:pt x="1" y="2"/>
                  <a:pt x="2" y="1"/>
                  <a:pt x="2" y="1"/>
                </a:cubicBezTo>
                <a:cubicBezTo>
                  <a:pt x="2" y="1"/>
                  <a:pt x="3" y="2"/>
                  <a:pt x="3" y="2"/>
                </a:cubicBezTo>
                <a:cubicBezTo>
                  <a:pt x="3" y="4"/>
                  <a:pt x="3" y="4"/>
                  <a:pt x="3" y="4"/>
                </a:cubicBezTo>
                <a:cubicBezTo>
                  <a:pt x="3" y="4"/>
                  <a:pt x="2" y="4"/>
                  <a:pt x="2" y="4"/>
                </a:cubicBezTo>
                <a:close/>
                <a:moveTo>
                  <a:pt x="12" y="6"/>
                </a:moveTo>
                <a:cubicBezTo>
                  <a:pt x="10" y="6"/>
                  <a:pt x="10" y="6"/>
                  <a:pt x="10" y="6"/>
                </a:cubicBezTo>
                <a:cubicBezTo>
                  <a:pt x="8" y="7"/>
                  <a:pt x="8" y="7"/>
                  <a:pt x="8" y="7"/>
                </a:cubicBezTo>
                <a:cubicBezTo>
                  <a:pt x="7" y="7"/>
                  <a:pt x="7" y="7"/>
                  <a:pt x="7" y="7"/>
                </a:cubicBezTo>
                <a:cubicBezTo>
                  <a:pt x="7" y="6"/>
                  <a:pt x="7" y="6"/>
                  <a:pt x="7" y="6"/>
                </a:cubicBezTo>
                <a:cubicBezTo>
                  <a:pt x="8" y="5"/>
                  <a:pt x="8" y="5"/>
                  <a:pt x="8" y="5"/>
                </a:cubicBezTo>
                <a:cubicBezTo>
                  <a:pt x="9" y="5"/>
                  <a:pt x="9" y="5"/>
                  <a:pt x="9" y="5"/>
                </a:cubicBezTo>
                <a:cubicBezTo>
                  <a:pt x="10" y="5"/>
                  <a:pt x="10" y="5"/>
                  <a:pt x="10" y="5"/>
                </a:cubicBezTo>
                <a:cubicBezTo>
                  <a:pt x="11" y="4"/>
                  <a:pt x="11" y="4"/>
                  <a:pt x="11" y="4"/>
                </a:cubicBezTo>
                <a:cubicBezTo>
                  <a:pt x="12" y="4"/>
                  <a:pt x="12" y="4"/>
                  <a:pt x="12" y="4"/>
                </a:cubicBezTo>
                <a:cubicBezTo>
                  <a:pt x="12" y="6"/>
                  <a:pt x="12" y="6"/>
                  <a:pt x="12" y="6"/>
                </a:cubicBezTo>
                <a:close/>
                <a:moveTo>
                  <a:pt x="14" y="6"/>
                </a:moveTo>
                <a:cubicBezTo>
                  <a:pt x="14" y="8"/>
                  <a:pt x="14" y="8"/>
                  <a:pt x="14" y="8"/>
                </a:cubicBezTo>
                <a:cubicBezTo>
                  <a:pt x="15" y="9"/>
                  <a:pt x="15" y="9"/>
                  <a:pt x="15" y="9"/>
                </a:cubicBezTo>
                <a:cubicBezTo>
                  <a:pt x="16" y="8"/>
                  <a:pt x="16" y="8"/>
                  <a:pt x="16" y="8"/>
                </a:cubicBezTo>
                <a:cubicBezTo>
                  <a:pt x="17" y="8"/>
                  <a:pt x="17" y="8"/>
                  <a:pt x="17" y="8"/>
                </a:cubicBezTo>
                <a:cubicBezTo>
                  <a:pt x="16" y="7"/>
                  <a:pt x="16" y="7"/>
                  <a:pt x="16" y="7"/>
                </a:cubicBezTo>
                <a:cubicBezTo>
                  <a:pt x="15" y="6"/>
                  <a:pt x="15" y="6"/>
                  <a:pt x="15" y="6"/>
                </a:cubicBezTo>
                <a:cubicBezTo>
                  <a:pt x="14" y="6"/>
                  <a:pt x="14" y="6"/>
                  <a:pt x="14" y="6"/>
                </a:cubicBezTo>
                <a:close/>
                <a:moveTo>
                  <a:pt x="26" y="2"/>
                </a:moveTo>
                <a:cubicBezTo>
                  <a:pt x="27" y="0"/>
                  <a:pt x="27" y="0"/>
                  <a:pt x="27" y="0"/>
                </a:cubicBezTo>
                <a:cubicBezTo>
                  <a:pt x="28" y="0"/>
                  <a:pt x="28" y="0"/>
                  <a:pt x="28" y="0"/>
                </a:cubicBezTo>
                <a:cubicBezTo>
                  <a:pt x="29" y="1"/>
                  <a:pt x="29" y="1"/>
                  <a:pt x="29" y="1"/>
                </a:cubicBezTo>
                <a:cubicBezTo>
                  <a:pt x="27" y="1"/>
                  <a:pt x="27" y="1"/>
                  <a:pt x="27" y="1"/>
                </a:cubicBezTo>
                <a:cubicBezTo>
                  <a:pt x="26" y="2"/>
                  <a:pt x="26" y="2"/>
                  <a:pt x="26" y="2"/>
                </a:cubicBezTo>
                <a:close/>
                <a:moveTo>
                  <a:pt x="22" y="7"/>
                </a:moveTo>
                <a:cubicBezTo>
                  <a:pt x="24" y="5"/>
                  <a:pt x="24" y="5"/>
                  <a:pt x="24" y="5"/>
                </a:cubicBezTo>
                <a:cubicBezTo>
                  <a:pt x="24" y="4"/>
                  <a:pt x="24" y="4"/>
                  <a:pt x="24" y="4"/>
                </a:cubicBezTo>
                <a:cubicBezTo>
                  <a:pt x="26" y="3"/>
                  <a:pt x="26" y="3"/>
                  <a:pt x="26" y="3"/>
                </a:cubicBezTo>
                <a:cubicBezTo>
                  <a:pt x="26" y="5"/>
                  <a:pt x="26" y="5"/>
                  <a:pt x="26" y="5"/>
                </a:cubicBezTo>
                <a:cubicBezTo>
                  <a:pt x="24" y="7"/>
                  <a:pt x="24" y="7"/>
                  <a:pt x="24" y="7"/>
                </a:cubicBezTo>
                <a:cubicBezTo>
                  <a:pt x="23" y="7"/>
                  <a:pt x="23" y="7"/>
                  <a:pt x="23" y="7"/>
                </a:cubicBezTo>
                <a:lnTo>
                  <a:pt x="22" y="7"/>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2" name="Freeform 100">
            <a:extLst>
              <a:ext uri="{FF2B5EF4-FFF2-40B4-BE49-F238E27FC236}">
                <a16:creationId xmlns:a16="http://schemas.microsoft.com/office/drawing/2014/main" id="{CC0C2875-68AC-4012-FA16-ECCD3C8D43C7}"/>
              </a:ext>
            </a:extLst>
          </p:cNvPr>
          <p:cNvSpPr>
            <a:spLocks noEditPoints="1"/>
          </p:cNvSpPr>
          <p:nvPr userDrawn="1"/>
        </p:nvSpPr>
        <p:spPr bwMode="auto">
          <a:xfrm>
            <a:off x="11610217" y="8282859"/>
            <a:ext cx="158740" cy="149226"/>
          </a:xfrm>
          <a:custGeom>
            <a:avLst/>
            <a:gdLst>
              <a:gd name="T0" fmla="*/ 2 w 16"/>
              <a:gd name="T1" fmla="*/ 1 h 15"/>
              <a:gd name="T2" fmla="*/ 3 w 16"/>
              <a:gd name="T3" fmla="*/ 0 h 15"/>
              <a:gd name="T4" fmla="*/ 3 w 16"/>
              <a:gd name="T5" fmla="*/ 0 h 15"/>
              <a:gd name="T6" fmla="*/ 2 w 16"/>
              <a:gd name="T7" fmla="*/ 0 h 15"/>
              <a:gd name="T8" fmla="*/ 1 w 16"/>
              <a:gd name="T9" fmla="*/ 0 h 15"/>
              <a:gd name="T10" fmla="*/ 0 w 16"/>
              <a:gd name="T11" fmla="*/ 0 h 15"/>
              <a:gd name="T12" fmla="*/ 1 w 16"/>
              <a:gd name="T13" fmla="*/ 1 h 15"/>
              <a:gd name="T14" fmla="*/ 2 w 16"/>
              <a:gd name="T15" fmla="*/ 1 h 15"/>
              <a:gd name="T16" fmla="*/ 3 w 16"/>
              <a:gd name="T17" fmla="*/ 2 h 15"/>
              <a:gd name="T18" fmla="*/ 3 w 16"/>
              <a:gd name="T19" fmla="*/ 1 h 15"/>
              <a:gd name="T20" fmla="*/ 3 w 16"/>
              <a:gd name="T21" fmla="*/ 1 h 15"/>
              <a:gd name="T22" fmla="*/ 4 w 16"/>
              <a:gd name="T23" fmla="*/ 1 h 15"/>
              <a:gd name="T24" fmla="*/ 4 w 16"/>
              <a:gd name="T25" fmla="*/ 2 h 15"/>
              <a:gd name="T26" fmla="*/ 3 w 16"/>
              <a:gd name="T27" fmla="*/ 2 h 15"/>
              <a:gd name="T28" fmla="*/ 8 w 16"/>
              <a:gd name="T29" fmla="*/ 4 h 15"/>
              <a:gd name="T30" fmla="*/ 8 w 16"/>
              <a:gd name="T31" fmla="*/ 4 h 15"/>
              <a:gd name="T32" fmla="*/ 7 w 16"/>
              <a:gd name="T33" fmla="*/ 4 h 15"/>
              <a:gd name="T34" fmla="*/ 7 w 16"/>
              <a:gd name="T35" fmla="*/ 3 h 15"/>
              <a:gd name="T36" fmla="*/ 7 w 16"/>
              <a:gd name="T37" fmla="*/ 3 h 15"/>
              <a:gd name="T38" fmla="*/ 8 w 16"/>
              <a:gd name="T39" fmla="*/ 3 h 15"/>
              <a:gd name="T40" fmla="*/ 8 w 16"/>
              <a:gd name="T41" fmla="*/ 3 h 15"/>
              <a:gd name="T42" fmla="*/ 8 w 16"/>
              <a:gd name="T43" fmla="*/ 4 h 15"/>
              <a:gd name="T44" fmla="*/ 8 w 16"/>
              <a:gd name="T45" fmla="*/ 4 h 15"/>
              <a:gd name="T46" fmla="*/ 10 w 16"/>
              <a:gd name="T47" fmla="*/ 4 h 15"/>
              <a:gd name="T48" fmla="*/ 9 w 16"/>
              <a:gd name="T49" fmla="*/ 4 h 15"/>
              <a:gd name="T50" fmla="*/ 9 w 16"/>
              <a:gd name="T51" fmla="*/ 3 h 15"/>
              <a:gd name="T52" fmla="*/ 9 w 16"/>
              <a:gd name="T53" fmla="*/ 3 h 15"/>
              <a:gd name="T54" fmla="*/ 10 w 16"/>
              <a:gd name="T55" fmla="*/ 4 h 15"/>
              <a:gd name="T56" fmla="*/ 15 w 16"/>
              <a:gd name="T57" fmla="*/ 3 h 15"/>
              <a:gd name="T58" fmla="*/ 15 w 16"/>
              <a:gd name="T59" fmla="*/ 2 h 15"/>
              <a:gd name="T60" fmla="*/ 16 w 16"/>
              <a:gd name="T61" fmla="*/ 1 h 15"/>
              <a:gd name="T62" fmla="*/ 16 w 16"/>
              <a:gd name="T63" fmla="*/ 3 h 15"/>
              <a:gd name="T64" fmla="*/ 15 w 16"/>
              <a:gd name="T65" fmla="*/ 3 h 15"/>
              <a:gd name="T66" fmla="*/ 15 w 16"/>
              <a:gd name="T67" fmla="*/ 7 h 15"/>
              <a:gd name="T68" fmla="*/ 14 w 16"/>
              <a:gd name="T69" fmla="*/ 6 h 15"/>
              <a:gd name="T70" fmla="*/ 15 w 16"/>
              <a:gd name="T71" fmla="*/ 6 h 15"/>
              <a:gd name="T72" fmla="*/ 16 w 16"/>
              <a:gd name="T73" fmla="*/ 6 h 15"/>
              <a:gd name="T74" fmla="*/ 16 w 16"/>
              <a:gd name="T75" fmla="*/ 7 h 15"/>
              <a:gd name="T76" fmla="*/ 16 w 16"/>
              <a:gd name="T77" fmla="*/ 7 h 15"/>
              <a:gd name="T78" fmla="*/ 15 w 16"/>
              <a:gd name="T79" fmla="*/ 7 h 15"/>
              <a:gd name="T80" fmla="*/ 14 w 16"/>
              <a:gd name="T81" fmla="*/ 13 h 15"/>
              <a:gd name="T82" fmla="*/ 13 w 16"/>
              <a:gd name="T83" fmla="*/ 12 h 15"/>
              <a:gd name="T84" fmla="*/ 14 w 16"/>
              <a:gd name="T85" fmla="*/ 12 h 15"/>
              <a:gd name="T86" fmla="*/ 14 w 16"/>
              <a:gd name="T87" fmla="*/ 13 h 15"/>
              <a:gd name="T88" fmla="*/ 14 w 16"/>
              <a:gd name="T89" fmla="*/ 13 h 15"/>
              <a:gd name="T90" fmla="*/ 10 w 16"/>
              <a:gd name="T91" fmla="*/ 14 h 15"/>
              <a:gd name="T92" fmla="*/ 10 w 16"/>
              <a:gd name="T93" fmla="*/ 13 h 15"/>
              <a:gd name="T94" fmla="*/ 10 w 16"/>
              <a:gd name="T95" fmla="*/ 12 h 15"/>
              <a:gd name="T96" fmla="*/ 11 w 16"/>
              <a:gd name="T97" fmla="*/ 12 h 15"/>
              <a:gd name="T98" fmla="*/ 12 w 16"/>
              <a:gd name="T99" fmla="*/ 14 h 15"/>
              <a:gd name="T100" fmla="*/ 12 w 16"/>
              <a:gd name="T101" fmla="*/ 15 h 15"/>
              <a:gd name="T102" fmla="*/ 10 w 16"/>
              <a:gd name="T103"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 h="15">
                <a:moveTo>
                  <a:pt x="2" y="1"/>
                </a:moveTo>
                <a:cubicBezTo>
                  <a:pt x="3" y="0"/>
                  <a:pt x="3" y="0"/>
                  <a:pt x="3" y="0"/>
                </a:cubicBezTo>
                <a:cubicBezTo>
                  <a:pt x="3" y="0"/>
                  <a:pt x="3" y="0"/>
                  <a:pt x="3" y="0"/>
                </a:cubicBezTo>
                <a:cubicBezTo>
                  <a:pt x="2" y="0"/>
                  <a:pt x="2" y="0"/>
                  <a:pt x="2" y="0"/>
                </a:cubicBezTo>
                <a:cubicBezTo>
                  <a:pt x="1" y="0"/>
                  <a:pt x="1" y="0"/>
                  <a:pt x="1" y="0"/>
                </a:cubicBezTo>
                <a:cubicBezTo>
                  <a:pt x="0" y="0"/>
                  <a:pt x="0" y="0"/>
                  <a:pt x="0" y="0"/>
                </a:cubicBezTo>
                <a:cubicBezTo>
                  <a:pt x="1" y="1"/>
                  <a:pt x="1" y="1"/>
                  <a:pt x="1" y="1"/>
                </a:cubicBezTo>
                <a:cubicBezTo>
                  <a:pt x="1" y="1"/>
                  <a:pt x="1" y="1"/>
                  <a:pt x="2" y="1"/>
                </a:cubicBezTo>
                <a:close/>
                <a:moveTo>
                  <a:pt x="3" y="2"/>
                </a:moveTo>
                <a:cubicBezTo>
                  <a:pt x="3" y="1"/>
                  <a:pt x="3" y="1"/>
                  <a:pt x="3" y="1"/>
                </a:cubicBezTo>
                <a:cubicBezTo>
                  <a:pt x="3" y="1"/>
                  <a:pt x="3" y="1"/>
                  <a:pt x="3" y="1"/>
                </a:cubicBezTo>
                <a:cubicBezTo>
                  <a:pt x="4" y="1"/>
                  <a:pt x="4" y="1"/>
                  <a:pt x="4" y="1"/>
                </a:cubicBezTo>
                <a:cubicBezTo>
                  <a:pt x="4" y="2"/>
                  <a:pt x="4" y="2"/>
                  <a:pt x="4" y="2"/>
                </a:cubicBezTo>
                <a:cubicBezTo>
                  <a:pt x="4" y="2"/>
                  <a:pt x="3" y="2"/>
                  <a:pt x="3" y="2"/>
                </a:cubicBezTo>
                <a:close/>
                <a:moveTo>
                  <a:pt x="8" y="4"/>
                </a:moveTo>
                <a:cubicBezTo>
                  <a:pt x="8" y="4"/>
                  <a:pt x="8" y="4"/>
                  <a:pt x="8" y="4"/>
                </a:cubicBezTo>
                <a:cubicBezTo>
                  <a:pt x="7" y="4"/>
                  <a:pt x="7" y="4"/>
                  <a:pt x="7" y="4"/>
                </a:cubicBezTo>
                <a:cubicBezTo>
                  <a:pt x="7" y="3"/>
                  <a:pt x="7" y="3"/>
                  <a:pt x="7" y="3"/>
                </a:cubicBezTo>
                <a:cubicBezTo>
                  <a:pt x="7" y="3"/>
                  <a:pt x="7" y="3"/>
                  <a:pt x="7" y="3"/>
                </a:cubicBezTo>
                <a:cubicBezTo>
                  <a:pt x="8" y="3"/>
                  <a:pt x="8" y="3"/>
                  <a:pt x="8" y="3"/>
                </a:cubicBezTo>
                <a:cubicBezTo>
                  <a:pt x="8" y="3"/>
                  <a:pt x="8" y="3"/>
                  <a:pt x="8" y="3"/>
                </a:cubicBezTo>
                <a:cubicBezTo>
                  <a:pt x="8" y="4"/>
                  <a:pt x="8" y="4"/>
                  <a:pt x="8" y="4"/>
                </a:cubicBezTo>
                <a:cubicBezTo>
                  <a:pt x="8" y="4"/>
                  <a:pt x="8" y="4"/>
                  <a:pt x="8" y="4"/>
                </a:cubicBezTo>
                <a:close/>
                <a:moveTo>
                  <a:pt x="10" y="4"/>
                </a:moveTo>
                <a:cubicBezTo>
                  <a:pt x="9" y="4"/>
                  <a:pt x="9" y="4"/>
                  <a:pt x="9" y="4"/>
                </a:cubicBezTo>
                <a:cubicBezTo>
                  <a:pt x="9" y="3"/>
                  <a:pt x="9" y="3"/>
                  <a:pt x="9" y="3"/>
                </a:cubicBezTo>
                <a:cubicBezTo>
                  <a:pt x="9" y="3"/>
                  <a:pt x="9" y="3"/>
                  <a:pt x="9" y="3"/>
                </a:cubicBezTo>
                <a:cubicBezTo>
                  <a:pt x="10" y="4"/>
                  <a:pt x="10" y="4"/>
                  <a:pt x="10" y="4"/>
                </a:cubicBezTo>
                <a:close/>
                <a:moveTo>
                  <a:pt x="15" y="3"/>
                </a:moveTo>
                <a:cubicBezTo>
                  <a:pt x="15" y="2"/>
                  <a:pt x="15" y="2"/>
                  <a:pt x="15" y="2"/>
                </a:cubicBezTo>
                <a:cubicBezTo>
                  <a:pt x="16" y="1"/>
                  <a:pt x="16" y="1"/>
                  <a:pt x="16" y="1"/>
                </a:cubicBezTo>
                <a:cubicBezTo>
                  <a:pt x="16" y="3"/>
                  <a:pt x="16" y="3"/>
                  <a:pt x="16" y="3"/>
                </a:cubicBezTo>
                <a:cubicBezTo>
                  <a:pt x="15" y="3"/>
                  <a:pt x="15" y="3"/>
                  <a:pt x="15" y="3"/>
                </a:cubicBezTo>
                <a:close/>
                <a:moveTo>
                  <a:pt x="15" y="7"/>
                </a:moveTo>
                <a:cubicBezTo>
                  <a:pt x="14" y="6"/>
                  <a:pt x="14" y="6"/>
                  <a:pt x="14" y="6"/>
                </a:cubicBezTo>
                <a:cubicBezTo>
                  <a:pt x="15" y="6"/>
                  <a:pt x="15" y="6"/>
                  <a:pt x="15" y="6"/>
                </a:cubicBezTo>
                <a:cubicBezTo>
                  <a:pt x="16" y="6"/>
                  <a:pt x="16" y="6"/>
                  <a:pt x="16" y="6"/>
                </a:cubicBezTo>
                <a:cubicBezTo>
                  <a:pt x="16" y="7"/>
                  <a:pt x="16" y="7"/>
                  <a:pt x="16" y="7"/>
                </a:cubicBezTo>
                <a:cubicBezTo>
                  <a:pt x="16" y="7"/>
                  <a:pt x="16" y="7"/>
                  <a:pt x="16" y="7"/>
                </a:cubicBezTo>
                <a:cubicBezTo>
                  <a:pt x="15" y="7"/>
                  <a:pt x="15" y="7"/>
                  <a:pt x="15" y="7"/>
                </a:cubicBezTo>
                <a:close/>
                <a:moveTo>
                  <a:pt x="14" y="13"/>
                </a:moveTo>
                <a:cubicBezTo>
                  <a:pt x="13" y="12"/>
                  <a:pt x="13" y="12"/>
                  <a:pt x="13" y="12"/>
                </a:cubicBezTo>
                <a:cubicBezTo>
                  <a:pt x="14" y="12"/>
                  <a:pt x="14" y="12"/>
                  <a:pt x="14" y="12"/>
                </a:cubicBezTo>
                <a:cubicBezTo>
                  <a:pt x="14" y="13"/>
                  <a:pt x="14" y="13"/>
                  <a:pt x="14" y="13"/>
                </a:cubicBezTo>
                <a:cubicBezTo>
                  <a:pt x="14" y="13"/>
                  <a:pt x="14" y="13"/>
                  <a:pt x="14" y="13"/>
                </a:cubicBezTo>
                <a:close/>
                <a:moveTo>
                  <a:pt x="10" y="14"/>
                </a:moveTo>
                <a:cubicBezTo>
                  <a:pt x="10" y="13"/>
                  <a:pt x="10" y="13"/>
                  <a:pt x="10" y="13"/>
                </a:cubicBezTo>
                <a:cubicBezTo>
                  <a:pt x="10" y="12"/>
                  <a:pt x="10" y="12"/>
                  <a:pt x="10" y="12"/>
                </a:cubicBezTo>
                <a:cubicBezTo>
                  <a:pt x="11" y="12"/>
                  <a:pt x="11" y="12"/>
                  <a:pt x="11" y="12"/>
                </a:cubicBezTo>
                <a:cubicBezTo>
                  <a:pt x="12" y="14"/>
                  <a:pt x="12" y="14"/>
                  <a:pt x="12" y="14"/>
                </a:cubicBezTo>
                <a:cubicBezTo>
                  <a:pt x="12" y="15"/>
                  <a:pt x="12" y="15"/>
                  <a:pt x="12" y="15"/>
                </a:cubicBezTo>
                <a:lnTo>
                  <a:pt x="10" y="1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3" name="Freeform 101">
            <a:extLst>
              <a:ext uri="{FF2B5EF4-FFF2-40B4-BE49-F238E27FC236}">
                <a16:creationId xmlns:a16="http://schemas.microsoft.com/office/drawing/2014/main" id="{79DD08C0-E6B2-D617-C333-B26FB0AC0D1B}"/>
              </a:ext>
            </a:extLst>
          </p:cNvPr>
          <p:cNvSpPr>
            <a:spLocks noEditPoints="1"/>
          </p:cNvSpPr>
          <p:nvPr userDrawn="1"/>
        </p:nvSpPr>
        <p:spPr bwMode="auto">
          <a:xfrm>
            <a:off x="16385104" y="7657383"/>
            <a:ext cx="466696" cy="666750"/>
          </a:xfrm>
          <a:custGeom>
            <a:avLst/>
            <a:gdLst>
              <a:gd name="T0" fmla="*/ 56 w 147"/>
              <a:gd name="T1" fmla="*/ 138 h 210"/>
              <a:gd name="T2" fmla="*/ 56 w 147"/>
              <a:gd name="T3" fmla="*/ 78 h 210"/>
              <a:gd name="T4" fmla="*/ 78 w 147"/>
              <a:gd name="T5" fmla="*/ 28 h 210"/>
              <a:gd name="T6" fmla="*/ 84 w 147"/>
              <a:gd name="T7" fmla="*/ 47 h 210"/>
              <a:gd name="T8" fmla="*/ 97 w 147"/>
              <a:gd name="T9" fmla="*/ 60 h 210"/>
              <a:gd name="T10" fmla="*/ 103 w 147"/>
              <a:gd name="T11" fmla="*/ 60 h 210"/>
              <a:gd name="T12" fmla="*/ 115 w 147"/>
              <a:gd name="T13" fmla="*/ 60 h 210"/>
              <a:gd name="T14" fmla="*/ 122 w 147"/>
              <a:gd name="T15" fmla="*/ 60 h 210"/>
              <a:gd name="T16" fmla="*/ 131 w 147"/>
              <a:gd name="T17" fmla="*/ 72 h 210"/>
              <a:gd name="T18" fmla="*/ 134 w 147"/>
              <a:gd name="T19" fmla="*/ 78 h 210"/>
              <a:gd name="T20" fmla="*/ 147 w 147"/>
              <a:gd name="T21" fmla="*/ 85 h 210"/>
              <a:gd name="T22" fmla="*/ 147 w 147"/>
              <a:gd name="T23" fmla="*/ 91 h 210"/>
              <a:gd name="T24" fmla="*/ 143 w 147"/>
              <a:gd name="T25" fmla="*/ 97 h 210"/>
              <a:gd name="T26" fmla="*/ 137 w 147"/>
              <a:gd name="T27" fmla="*/ 113 h 210"/>
              <a:gd name="T28" fmla="*/ 131 w 147"/>
              <a:gd name="T29" fmla="*/ 119 h 210"/>
              <a:gd name="T30" fmla="*/ 125 w 147"/>
              <a:gd name="T31" fmla="*/ 129 h 210"/>
              <a:gd name="T32" fmla="*/ 122 w 147"/>
              <a:gd name="T33" fmla="*/ 129 h 210"/>
              <a:gd name="T34" fmla="*/ 122 w 147"/>
              <a:gd name="T35" fmla="*/ 125 h 210"/>
              <a:gd name="T36" fmla="*/ 118 w 147"/>
              <a:gd name="T37" fmla="*/ 125 h 210"/>
              <a:gd name="T38" fmla="*/ 115 w 147"/>
              <a:gd name="T39" fmla="*/ 129 h 210"/>
              <a:gd name="T40" fmla="*/ 115 w 147"/>
              <a:gd name="T41" fmla="*/ 132 h 210"/>
              <a:gd name="T42" fmla="*/ 112 w 147"/>
              <a:gd name="T43" fmla="*/ 144 h 210"/>
              <a:gd name="T44" fmla="*/ 112 w 147"/>
              <a:gd name="T45" fmla="*/ 147 h 210"/>
              <a:gd name="T46" fmla="*/ 112 w 147"/>
              <a:gd name="T47" fmla="*/ 150 h 210"/>
              <a:gd name="T48" fmla="*/ 115 w 147"/>
              <a:gd name="T49" fmla="*/ 160 h 210"/>
              <a:gd name="T50" fmla="*/ 106 w 147"/>
              <a:gd name="T51" fmla="*/ 160 h 210"/>
              <a:gd name="T52" fmla="*/ 100 w 147"/>
              <a:gd name="T53" fmla="*/ 160 h 210"/>
              <a:gd name="T54" fmla="*/ 90 w 147"/>
              <a:gd name="T55" fmla="*/ 172 h 210"/>
              <a:gd name="T56" fmla="*/ 87 w 147"/>
              <a:gd name="T57" fmla="*/ 179 h 210"/>
              <a:gd name="T58" fmla="*/ 81 w 147"/>
              <a:gd name="T59" fmla="*/ 182 h 210"/>
              <a:gd name="T60" fmla="*/ 68 w 147"/>
              <a:gd name="T61" fmla="*/ 182 h 210"/>
              <a:gd name="T62" fmla="*/ 65 w 147"/>
              <a:gd name="T63" fmla="*/ 188 h 210"/>
              <a:gd name="T64" fmla="*/ 65 w 147"/>
              <a:gd name="T65" fmla="*/ 191 h 210"/>
              <a:gd name="T66" fmla="*/ 65 w 147"/>
              <a:gd name="T67" fmla="*/ 194 h 210"/>
              <a:gd name="T68" fmla="*/ 65 w 147"/>
              <a:gd name="T69" fmla="*/ 194 h 210"/>
              <a:gd name="T70" fmla="*/ 59 w 147"/>
              <a:gd name="T71" fmla="*/ 204 h 210"/>
              <a:gd name="T72" fmla="*/ 53 w 147"/>
              <a:gd name="T73" fmla="*/ 200 h 210"/>
              <a:gd name="T74" fmla="*/ 40 w 147"/>
              <a:gd name="T75" fmla="*/ 204 h 210"/>
              <a:gd name="T76" fmla="*/ 34 w 147"/>
              <a:gd name="T77" fmla="*/ 210 h 210"/>
              <a:gd name="T78" fmla="*/ 31 w 147"/>
              <a:gd name="T79" fmla="*/ 210 h 210"/>
              <a:gd name="T80" fmla="*/ 15 w 147"/>
              <a:gd name="T81" fmla="*/ 194 h 210"/>
              <a:gd name="T82" fmla="*/ 0 w 147"/>
              <a:gd name="T83" fmla="*/ 163 h 210"/>
              <a:gd name="T84" fmla="*/ 3 w 147"/>
              <a:gd name="T85" fmla="*/ 154 h 210"/>
              <a:gd name="T86" fmla="*/ 72 w 147"/>
              <a:gd name="T87" fmla="*/ 16 h 210"/>
              <a:gd name="T88" fmla="*/ 75 w 147"/>
              <a:gd name="T89" fmla="*/ 7 h 210"/>
              <a:gd name="T90" fmla="*/ 75 w 147"/>
              <a:gd name="T91" fmla="*/ 3 h 210"/>
              <a:gd name="T92" fmla="*/ 75 w 147"/>
              <a:gd name="T93" fmla="*/ 3 h 210"/>
              <a:gd name="T94" fmla="*/ 75 w 147"/>
              <a:gd name="T95" fmla="*/ 0 h 210"/>
              <a:gd name="T96" fmla="*/ 72 w 147"/>
              <a:gd name="T97" fmla="*/ 0 h 210"/>
              <a:gd name="T98" fmla="*/ 68 w 147"/>
              <a:gd name="T99" fmla="*/ 10 h 210"/>
              <a:gd name="T100" fmla="*/ 68 w 147"/>
              <a:gd name="T101" fmla="*/ 10 h 210"/>
              <a:gd name="T102" fmla="*/ 72 w 147"/>
              <a:gd name="T103" fmla="*/ 13 h 210"/>
              <a:gd name="T104" fmla="*/ 72 w 147"/>
              <a:gd name="T105" fmla="*/ 1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7" h="210">
                <a:moveTo>
                  <a:pt x="3" y="154"/>
                </a:moveTo>
                <a:lnTo>
                  <a:pt x="56" y="138"/>
                </a:lnTo>
                <a:lnTo>
                  <a:pt x="59" y="94"/>
                </a:lnTo>
                <a:lnTo>
                  <a:pt x="56" y="78"/>
                </a:lnTo>
                <a:lnTo>
                  <a:pt x="72" y="28"/>
                </a:lnTo>
                <a:lnTo>
                  <a:pt x="78" y="28"/>
                </a:lnTo>
                <a:lnTo>
                  <a:pt x="78" y="38"/>
                </a:lnTo>
                <a:lnTo>
                  <a:pt x="84" y="47"/>
                </a:lnTo>
                <a:lnTo>
                  <a:pt x="84" y="50"/>
                </a:lnTo>
                <a:lnTo>
                  <a:pt x="97" y="60"/>
                </a:lnTo>
                <a:lnTo>
                  <a:pt x="100" y="60"/>
                </a:lnTo>
                <a:lnTo>
                  <a:pt x="103" y="60"/>
                </a:lnTo>
                <a:lnTo>
                  <a:pt x="106" y="60"/>
                </a:lnTo>
                <a:lnTo>
                  <a:pt x="115" y="60"/>
                </a:lnTo>
                <a:lnTo>
                  <a:pt x="122" y="60"/>
                </a:lnTo>
                <a:lnTo>
                  <a:pt x="122" y="60"/>
                </a:lnTo>
                <a:lnTo>
                  <a:pt x="128" y="66"/>
                </a:lnTo>
                <a:lnTo>
                  <a:pt x="131" y="72"/>
                </a:lnTo>
                <a:lnTo>
                  <a:pt x="134" y="75"/>
                </a:lnTo>
                <a:lnTo>
                  <a:pt x="134" y="78"/>
                </a:lnTo>
                <a:lnTo>
                  <a:pt x="143" y="85"/>
                </a:lnTo>
                <a:lnTo>
                  <a:pt x="147" y="85"/>
                </a:lnTo>
                <a:lnTo>
                  <a:pt x="147" y="88"/>
                </a:lnTo>
                <a:lnTo>
                  <a:pt x="147" y="91"/>
                </a:lnTo>
                <a:lnTo>
                  <a:pt x="143" y="94"/>
                </a:lnTo>
                <a:lnTo>
                  <a:pt x="143" y="97"/>
                </a:lnTo>
                <a:lnTo>
                  <a:pt x="143" y="100"/>
                </a:lnTo>
                <a:lnTo>
                  <a:pt x="137" y="113"/>
                </a:lnTo>
                <a:lnTo>
                  <a:pt x="131" y="116"/>
                </a:lnTo>
                <a:lnTo>
                  <a:pt x="131" y="119"/>
                </a:lnTo>
                <a:lnTo>
                  <a:pt x="128" y="122"/>
                </a:lnTo>
                <a:lnTo>
                  <a:pt x="125" y="129"/>
                </a:lnTo>
                <a:lnTo>
                  <a:pt x="125" y="129"/>
                </a:lnTo>
                <a:lnTo>
                  <a:pt x="122" y="129"/>
                </a:lnTo>
                <a:lnTo>
                  <a:pt x="122" y="125"/>
                </a:lnTo>
                <a:lnTo>
                  <a:pt x="122" y="125"/>
                </a:lnTo>
                <a:lnTo>
                  <a:pt x="122" y="122"/>
                </a:lnTo>
                <a:lnTo>
                  <a:pt x="118" y="125"/>
                </a:lnTo>
                <a:lnTo>
                  <a:pt x="115" y="129"/>
                </a:lnTo>
                <a:lnTo>
                  <a:pt x="115" y="129"/>
                </a:lnTo>
                <a:lnTo>
                  <a:pt x="118" y="132"/>
                </a:lnTo>
                <a:lnTo>
                  <a:pt x="115" y="132"/>
                </a:lnTo>
                <a:lnTo>
                  <a:pt x="112" y="138"/>
                </a:lnTo>
                <a:lnTo>
                  <a:pt x="112" y="144"/>
                </a:lnTo>
                <a:lnTo>
                  <a:pt x="109" y="147"/>
                </a:lnTo>
                <a:lnTo>
                  <a:pt x="112" y="147"/>
                </a:lnTo>
                <a:lnTo>
                  <a:pt x="112" y="150"/>
                </a:lnTo>
                <a:lnTo>
                  <a:pt x="112" y="150"/>
                </a:lnTo>
                <a:lnTo>
                  <a:pt x="115" y="157"/>
                </a:lnTo>
                <a:lnTo>
                  <a:pt x="115" y="160"/>
                </a:lnTo>
                <a:lnTo>
                  <a:pt x="115" y="160"/>
                </a:lnTo>
                <a:lnTo>
                  <a:pt x="106" y="160"/>
                </a:lnTo>
                <a:lnTo>
                  <a:pt x="103" y="163"/>
                </a:lnTo>
                <a:lnTo>
                  <a:pt x="100" y="160"/>
                </a:lnTo>
                <a:lnTo>
                  <a:pt x="97" y="163"/>
                </a:lnTo>
                <a:lnTo>
                  <a:pt x="90" y="172"/>
                </a:lnTo>
                <a:lnTo>
                  <a:pt x="90" y="179"/>
                </a:lnTo>
                <a:lnTo>
                  <a:pt x="87" y="179"/>
                </a:lnTo>
                <a:lnTo>
                  <a:pt x="84" y="182"/>
                </a:lnTo>
                <a:lnTo>
                  <a:pt x="81" y="182"/>
                </a:lnTo>
                <a:lnTo>
                  <a:pt x="75" y="182"/>
                </a:lnTo>
                <a:lnTo>
                  <a:pt x="68" y="182"/>
                </a:lnTo>
                <a:lnTo>
                  <a:pt x="68" y="185"/>
                </a:lnTo>
                <a:lnTo>
                  <a:pt x="65" y="188"/>
                </a:lnTo>
                <a:lnTo>
                  <a:pt x="65" y="188"/>
                </a:lnTo>
                <a:lnTo>
                  <a:pt x="65" y="191"/>
                </a:lnTo>
                <a:lnTo>
                  <a:pt x="65" y="191"/>
                </a:lnTo>
                <a:lnTo>
                  <a:pt x="65" y="194"/>
                </a:lnTo>
                <a:lnTo>
                  <a:pt x="65" y="194"/>
                </a:lnTo>
                <a:lnTo>
                  <a:pt x="65" y="194"/>
                </a:lnTo>
                <a:lnTo>
                  <a:pt x="62" y="204"/>
                </a:lnTo>
                <a:lnTo>
                  <a:pt x="59" y="204"/>
                </a:lnTo>
                <a:lnTo>
                  <a:pt x="56" y="200"/>
                </a:lnTo>
                <a:lnTo>
                  <a:pt x="53" y="200"/>
                </a:lnTo>
                <a:lnTo>
                  <a:pt x="50" y="200"/>
                </a:lnTo>
                <a:lnTo>
                  <a:pt x="40" y="204"/>
                </a:lnTo>
                <a:lnTo>
                  <a:pt x="37" y="204"/>
                </a:lnTo>
                <a:lnTo>
                  <a:pt x="34" y="210"/>
                </a:lnTo>
                <a:lnTo>
                  <a:pt x="31" y="210"/>
                </a:lnTo>
                <a:lnTo>
                  <a:pt x="31" y="210"/>
                </a:lnTo>
                <a:lnTo>
                  <a:pt x="28" y="210"/>
                </a:lnTo>
                <a:lnTo>
                  <a:pt x="15" y="194"/>
                </a:lnTo>
                <a:lnTo>
                  <a:pt x="18" y="188"/>
                </a:lnTo>
                <a:lnTo>
                  <a:pt x="0" y="163"/>
                </a:lnTo>
                <a:lnTo>
                  <a:pt x="3" y="154"/>
                </a:lnTo>
                <a:lnTo>
                  <a:pt x="3" y="154"/>
                </a:lnTo>
                <a:close/>
                <a:moveTo>
                  <a:pt x="72" y="19"/>
                </a:moveTo>
                <a:lnTo>
                  <a:pt x="72" y="16"/>
                </a:lnTo>
                <a:lnTo>
                  <a:pt x="75" y="13"/>
                </a:lnTo>
                <a:lnTo>
                  <a:pt x="75" y="7"/>
                </a:lnTo>
                <a:lnTo>
                  <a:pt x="75" y="7"/>
                </a:lnTo>
                <a:lnTo>
                  <a:pt x="75" y="3"/>
                </a:lnTo>
                <a:lnTo>
                  <a:pt x="75" y="3"/>
                </a:lnTo>
                <a:lnTo>
                  <a:pt x="75" y="3"/>
                </a:lnTo>
                <a:lnTo>
                  <a:pt x="75" y="3"/>
                </a:lnTo>
                <a:lnTo>
                  <a:pt x="75" y="0"/>
                </a:lnTo>
                <a:lnTo>
                  <a:pt x="72" y="3"/>
                </a:lnTo>
                <a:lnTo>
                  <a:pt x="72" y="0"/>
                </a:lnTo>
                <a:lnTo>
                  <a:pt x="72" y="7"/>
                </a:lnTo>
                <a:lnTo>
                  <a:pt x="68" y="10"/>
                </a:lnTo>
                <a:lnTo>
                  <a:pt x="68" y="7"/>
                </a:lnTo>
                <a:lnTo>
                  <a:pt x="68" y="10"/>
                </a:lnTo>
                <a:lnTo>
                  <a:pt x="68" y="10"/>
                </a:lnTo>
                <a:lnTo>
                  <a:pt x="72" y="13"/>
                </a:lnTo>
                <a:lnTo>
                  <a:pt x="72" y="19"/>
                </a:lnTo>
                <a:lnTo>
                  <a:pt x="72" y="1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4" name="Freeform 102">
            <a:extLst>
              <a:ext uri="{FF2B5EF4-FFF2-40B4-BE49-F238E27FC236}">
                <a16:creationId xmlns:a16="http://schemas.microsoft.com/office/drawing/2014/main" id="{AE2672CD-7498-1E06-78DD-70D596BE1FC3}"/>
              </a:ext>
            </a:extLst>
          </p:cNvPr>
          <p:cNvSpPr>
            <a:spLocks noEditPoints="1"/>
          </p:cNvSpPr>
          <p:nvPr userDrawn="1"/>
        </p:nvSpPr>
        <p:spPr bwMode="auto">
          <a:xfrm>
            <a:off x="15807294" y="8146333"/>
            <a:ext cx="755601" cy="466726"/>
          </a:xfrm>
          <a:custGeom>
            <a:avLst/>
            <a:gdLst>
              <a:gd name="T0" fmla="*/ 7 w 238"/>
              <a:gd name="T1" fmla="*/ 56 h 147"/>
              <a:gd name="T2" fmla="*/ 10 w 238"/>
              <a:gd name="T3" fmla="*/ 56 h 147"/>
              <a:gd name="T4" fmla="*/ 13 w 238"/>
              <a:gd name="T5" fmla="*/ 43 h 147"/>
              <a:gd name="T6" fmla="*/ 19 w 238"/>
              <a:gd name="T7" fmla="*/ 34 h 147"/>
              <a:gd name="T8" fmla="*/ 38 w 238"/>
              <a:gd name="T9" fmla="*/ 37 h 147"/>
              <a:gd name="T10" fmla="*/ 72 w 238"/>
              <a:gd name="T11" fmla="*/ 53 h 147"/>
              <a:gd name="T12" fmla="*/ 110 w 238"/>
              <a:gd name="T13" fmla="*/ 21 h 147"/>
              <a:gd name="T14" fmla="*/ 182 w 238"/>
              <a:gd name="T15" fmla="*/ 9 h 147"/>
              <a:gd name="T16" fmla="*/ 197 w 238"/>
              <a:gd name="T17" fmla="*/ 40 h 147"/>
              <a:gd name="T18" fmla="*/ 204 w 238"/>
              <a:gd name="T19" fmla="*/ 56 h 147"/>
              <a:gd name="T20" fmla="*/ 191 w 238"/>
              <a:gd name="T21" fmla="*/ 65 h 147"/>
              <a:gd name="T22" fmla="*/ 191 w 238"/>
              <a:gd name="T23" fmla="*/ 71 h 147"/>
              <a:gd name="T24" fmla="*/ 191 w 238"/>
              <a:gd name="T25" fmla="*/ 75 h 147"/>
              <a:gd name="T26" fmla="*/ 179 w 238"/>
              <a:gd name="T27" fmla="*/ 81 h 147"/>
              <a:gd name="T28" fmla="*/ 160 w 238"/>
              <a:gd name="T29" fmla="*/ 87 h 147"/>
              <a:gd name="T30" fmla="*/ 135 w 238"/>
              <a:gd name="T31" fmla="*/ 97 h 147"/>
              <a:gd name="T32" fmla="*/ 132 w 238"/>
              <a:gd name="T33" fmla="*/ 97 h 147"/>
              <a:gd name="T34" fmla="*/ 119 w 238"/>
              <a:gd name="T35" fmla="*/ 109 h 147"/>
              <a:gd name="T36" fmla="*/ 116 w 238"/>
              <a:gd name="T37" fmla="*/ 109 h 147"/>
              <a:gd name="T38" fmla="*/ 113 w 238"/>
              <a:gd name="T39" fmla="*/ 109 h 147"/>
              <a:gd name="T40" fmla="*/ 107 w 238"/>
              <a:gd name="T41" fmla="*/ 109 h 147"/>
              <a:gd name="T42" fmla="*/ 100 w 238"/>
              <a:gd name="T43" fmla="*/ 115 h 147"/>
              <a:gd name="T44" fmla="*/ 88 w 238"/>
              <a:gd name="T45" fmla="*/ 118 h 147"/>
              <a:gd name="T46" fmla="*/ 75 w 238"/>
              <a:gd name="T47" fmla="*/ 122 h 147"/>
              <a:gd name="T48" fmla="*/ 69 w 238"/>
              <a:gd name="T49" fmla="*/ 122 h 147"/>
              <a:gd name="T50" fmla="*/ 66 w 238"/>
              <a:gd name="T51" fmla="*/ 118 h 147"/>
              <a:gd name="T52" fmla="*/ 57 w 238"/>
              <a:gd name="T53" fmla="*/ 122 h 147"/>
              <a:gd name="T54" fmla="*/ 54 w 238"/>
              <a:gd name="T55" fmla="*/ 128 h 147"/>
              <a:gd name="T56" fmla="*/ 47 w 238"/>
              <a:gd name="T57" fmla="*/ 134 h 147"/>
              <a:gd name="T58" fmla="*/ 41 w 238"/>
              <a:gd name="T59" fmla="*/ 134 h 147"/>
              <a:gd name="T60" fmla="*/ 32 w 238"/>
              <a:gd name="T61" fmla="*/ 137 h 147"/>
              <a:gd name="T62" fmla="*/ 25 w 238"/>
              <a:gd name="T63" fmla="*/ 137 h 147"/>
              <a:gd name="T64" fmla="*/ 22 w 238"/>
              <a:gd name="T65" fmla="*/ 134 h 147"/>
              <a:gd name="T66" fmla="*/ 16 w 238"/>
              <a:gd name="T67" fmla="*/ 125 h 147"/>
              <a:gd name="T68" fmla="*/ 16 w 238"/>
              <a:gd name="T69" fmla="*/ 118 h 147"/>
              <a:gd name="T70" fmla="*/ 10 w 238"/>
              <a:gd name="T71" fmla="*/ 109 h 147"/>
              <a:gd name="T72" fmla="*/ 4 w 238"/>
              <a:gd name="T73" fmla="*/ 84 h 147"/>
              <a:gd name="T74" fmla="*/ 0 w 238"/>
              <a:gd name="T75" fmla="*/ 81 h 147"/>
              <a:gd name="T76" fmla="*/ 4 w 238"/>
              <a:gd name="T77" fmla="*/ 78 h 147"/>
              <a:gd name="T78" fmla="*/ 4 w 238"/>
              <a:gd name="T79" fmla="*/ 78 h 147"/>
              <a:gd name="T80" fmla="*/ 4 w 238"/>
              <a:gd name="T81" fmla="*/ 59 h 147"/>
              <a:gd name="T82" fmla="*/ 4 w 238"/>
              <a:gd name="T83" fmla="*/ 56 h 147"/>
              <a:gd name="T84" fmla="*/ 194 w 238"/>
              <a:gd name="T85" fmla="*/ 147 h 147"/>
              <a:gd name="T86" fmla="*/ 194 w 238"/>
              <a:gd name="T87" fmla="*/ 147 h 147"/>
              <a:gd name="T88" fmla="*/ 191 w 238"/>
              <a:gd name="T89" fmla="*/ 147 h 147"/>
              <a:gd name="T90" fmla="*/ 216 w 238"/>
              <a:gd name="T91" fmla="*/ 140 h 147"/>
              <a:gd name="T92" fmla="*/ 219 w 238"/>
              <a:gd name="T93" fmla="*/ 134 h 147"/>
              <a:gd name="T94" fmla="*/ 222 w 238"/>
              <a:gd name="T95" fmla="*/ 137 h 147"/>
              <a:gd name="T96" fmla="*/ 229 w 238"/>
              <a:gd name="T97" fmla="*/ 137 h 147"/>
              <a:gd name="T98" fmla="*/ 235 w 238"/>
              <a:gd name="T99" fmla="*/ 137 h 147"/>
              <a:gd name="T100" fmla="*/ 238 w 238"/>
              <a:gd name="T101" fmla="*/ 140 h 147"/>
              <a:gd name="T102" fmla="*/ 235 w 238"/>
              <a:gd name="T103" fmla="*/ 140 h 147"/>
              <a:gd name="T104" fmla="*/ 225 w 238"/>
              <a:gd name="T105" fmla="*/ 143 h 147"/>
              <a:gd name="T106" fmla="*/ 216 w 238"/>
              <a:gd name="T107" fmla="*/ 14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8" h="147">
                <a:moveTo>
                  <a:pt x="4" y="56"/>
                </a:moveTo>
                <a:lnTo>
                  <a:pt x="7" y="56"/>
                </a:lnTo>
                <a:lnTo>
                  <a:pt x="10" y="59"/>
                </a:lnTo>
                <a:lnTo>
                  <a:pt x="10" y="56"/>
                </a:lnTo>
                <a:lnTo>
                  <a:pt x="16" y="50"/>
                </a:lnTo>
                <a:lnTo>
                  <a:pt x="13" y="43"/>
                </a:lnTo>
                <a:lnTo>
                  <a:pt x="16" y="34"/>
                </a:lnTo>
                <a:lnTo>
                  <a:pt x="19" y="34"/>
                </a:lnTo>
                <a:lnTo>
                  <a:pt x="25" y="37"/>
                </a:lnTo>
                <a:lnTo>
                  <a:pt x="38" y="37"/>
                </a:lnTo>
                <a:lnTo>
                  <a:pt x="57" y="43"/>
                </a:lnTo>
                <a:lnTo>
                  <a:pt x="72" y="53"/>
                </a:lnTo>
                <a:lnTo>
                  <a:pt x="72" y="71"/>
                </a:lnTo>
                <a:lnTo>
                  <a:pt x="110" y="21"/>
                </a:lnTo>
                <a:lnTo>
                  <a:pt x="185" y="0"/>
                </a:lnTo>
                <a:lnTo>
                  <a:pt x="182" y="9"/>
                </a:lnTo>
                <a:lnTo>
                  <a:pt x="200" y="34"/>
                </a:lnTo>
                <a:lnTo>
                  <a:pt x="197" y="40"/>
                </a:lnTo>
                <a:lnTo>
                  <a:pt x="210" y="56"/>
                </a:lnTo>
                <a:lnTo>
                  <a:pt x="204" y="56"/>
                </a:lnTo>
                <a:lnTo>
                  <a:pt x="197" y="59"/>
                </a:lnTo>
                <a:lnTo>
                  <a:pt x="191" y="65"/>
                </a:lnTo>
                <a:lnTo>
                  <a:pt x="191" y="71"/>
                </a:lnTo>
                <a:lnTo>
                  <a:pt x="191" y="71"/>
                </a:lnTo>
                <a:lnTo>
                  <a:pt x="191" y="75"/>
                </a:lnTo>
                <a:lnTo>
                  <a:pt x="191" y="75"/>
                </a:lnTo>
                <a:lnTo>
                  <a:pt x="182" y="78"/>
                </a:lnTo>
                <a:lnTo>
                  <a:pt x="179" y="81"/>
                </a:lnTo>
                <a:lnTo>
                  <a:pt x="172" y="84"/>
                </a:lnTo>
                <a:lnTo>
                  <a:pt x="160" y="87"/>
                </a:lnTo>
                <a:lnTo>
                  <a:pt x="157" y="90"/>
                </a:lnTo>
                <a:lnTo>
                  <a:pt x="135" y="97"/>
                </a:lnTo>
                <a:lnTo>
                  <a:pt x="135" y="97"/>
                </a:lnTo>
                <a:lnTo>
                  <a:pt x="132" y="97"/>
                </a:lnTo>
                <a:lnTo>
                  <a:pt x="125" y="103"/>
                </a:lnTo>
                <a:lnTo>
                  <a:pt x="119" y="109"/>
                </a:lnTo>
                <a:lnTo>
                  <a:pt x="119" y="109"/>
                </a:lnTo>
                <a:lnTo>
                  <a:pt x="116" y="109"/>
                </a:lnTo>
                <a:lnTo>
                  <a:pt x="116" y="109"/>
                </a:lnTo>
                <a:lnTo>
                  <a:pt x="113" y="109"/>
                </a:lnTo>
                <a:lnTo>
                  <a:pt x="110" y="109"/>
                </a:lnTo>
                <a:lnTo>
                  <a:pt x="107" y="109"/>
                </a:lnTo>
                <a:lnTo>
                  <a:pt x="100" y="112"/>
                </a:lnTo>
                <a:lnTo>
                  <a:pt x="100" y="115"/>
                </a:lnTo>
                <a:lnTo>
                  <a:pt x="97" y="118"/>
                </a:lnTo>
                <a:lnTo>
                  <a:pt x="88" y="118"/>
                </a:lnTo>
                <a:lnTo>
                  <a:pt x="79" y="122"/>
                </a:lnTo>
                <a:lnTo>
                  <a:pt x="75" y="122"/>
                </a:lnTo>
                <a:lnTo>
                  <a:pt x="75" y="118"/>
                </a:lnTo>
                <a:lnTo>
                  <a:pt x="69" y="122"/>
                </a:lnTo>
                <a:lnTo>
                  <a:pt x="69" y="118"/>
                </a:lnTo>
                <a:lnTo>
                  <a:pt x="66" y="118"/>
                </a:lnTo>
                <a:lnTo>
                  <a:pt x="63" y="118"/>
                </a:lnTo>
                <a:lnTo>
                  <a:pt x="57" y="122"/>
                </a:lnTo>
                <a:lnTo>
                  <a:pt x="57" y="128"/>
                </a:lnTo>
                <a:lnTo>
                  <a:pt x="54" y="128"/>
                </a:lnTo>
                <a:lnTo>
                  <a:pt x="50" y="134"/>
                </a:lnTo>
                <a:lnTo>
                  <a:pt x="47" y="134"/>
                </a:lnTo>
                <a:lnTo>
                  <a:pt x="44" y="134"/>
                </a:lnTo>
                <a:lnTo>
                  <a:pt x="41" y="134"/>
                </a:lnTo>
                <a:lnTo>
                  <a:pt x="35" y="137"/>
                </a:lnTo>
                <a:lnTo>
                  <a:pt x="32" y="137"/>
                </a:lnTo>
                <a:lnTo>
                  <a:pt x="29" y="134"/>
                </a:lnTo>
                <a:lnTo>
                  <a:pt x="25" y="137"/>
                </a:lnTo>
                <a:lnTo>
                  <a:pt x="22" y="137"/>
                </a:lnTo>
                <a:lnTo>
                  <a:pt x="22" y="134"/>
                </a:lnTo>
                <a:lnTo>
                  <a:pt x="19" y="128"/>
                </a:lnTo>
                <a:lnTo>
                  <a:pt x="16" y="125"/>
                </a:lnTo>
                <a:lnTo>
                  <a:pt x="13" y="118"/>
                </a:lnTo>
                <a:lnTo>
                  <a:pt x="16" y="118"/>
                </a:lnTo>
                <a:lnTo>
                  <a:pt x="16" y="112"/>
                </a:lnTo>
                <a:lnTo>
                  <a:pt x="10" y="109"/>
                </a:lnTo>
                <a:lnTo>
                  <a:pt x="7" y="90"/>
                </a:lnTo>
                <a:lnTo>
                  <a:pt x="4" y="84"/>
                </a:lnTo>
                <a:lnTo>
                  <a:pt x="4" y="81"/>
                </a:lnTo>
                <a:lnTo>
                  <a:pt x="0" y="81"/>
                </a:lnTo>
                <a:lnTo>
                  <a:pt x="0" y="78"/>
                </a:lnTo>
                <a:lnTo>
                  <a:pt x="4" y="78"/>
                </a:lnTo>
                <a:lnTo>
                  <a:pt x="4" y="78"/>
                </a:lnTo>
                <a:lnTo>
                  <a:pt x="4" y="78"/>
                </a:lnTo>
                <a:lnTo>
                  <a:pt x="7" y="71"/>
                </a:lnTo>
                <a:lnTo>
                  <a:pt x="4" y="59"/>
                </a:lnTo>
                <a:lnTo>
                  <a:pt x="4" y="56"/>
                </a:lnTo>
                <a:lnTo>
                  <a:pt x="4" y="56"/>
                </a:lnTo>
                <a:close/>
                <a:moveTo>
                  <a:pt x="191" y="147"/>
                </a:moveTo>
                <a:lnTo>
                  <a:pt x="194" y="147"/>
                </a:lnTo>
                <a:lnTo>
                  <a:pt x="200" y="147"/>
                </a:lnTo>
                <a:lnTo>
                  <a:pt x="194" y="147"/>
                </a:lnTo>
                <a:lnTo>
                  <a:pt x="191" y="147"/>
                </a:lnTo>
                <a:lnTo>
                  <a:pt x="191" y="147"/>
                </a:lnTo>
                <a:close/>
                <a:moveTo>
                  <a:pt x="216" y="140"/>
                </a:moveTo>
                <a:lnTo>
                  <a:pt x="216" y="140"/>
                </a:lnTo>
                <a:lnTo>
                  <a:pt x="216" y="137"/>
                </a:lnTo>
                <a:lnTo>
                  <a:pt x="219" y="134"/>
                </a:lnTo>
                <a:lnTo>
                  <a:pt x="222" y="134"/>
                </a:lnTo>
                <a:lnTo>
                  <a:pt x="222" y="137"/>
                </a:lnTo>
                <a:lnTo>
                  <a:pt x="225" y="137"/>
                </a:lnTo>
                <a:lnTo>
                  <a:pt x="229" y="137"/>
                </a:lnTo>
                <a:lnTo>
                  <a:pt x="232" y="137"/>
                </a:lnTo>
                <a:lnTo>
                  <a:pt x="235" y="137"/>
                </a:lnTo>
                <a:lnTo>
                  <a:pt x="238" y="137"/>
                </a:lnTo>
                <a:lnTo>
                  <a:pt x="238" y="140"/>
                </a:lnTo>
                <a:lnTo>
                  <a:pt x="238" y="140"/>
                </a:lnTo>
                <a:lnTo>
                  <a:pt x="235" y="140"/>
                </a:lnTo>
                <a:lnTo>
                  <a:pt x="229" y="143"/>
                </a:lnTo>
                <a:lnTo>
                  <a:pt x="225" y="143"/>
                </a:lnTo>
                <a:lnTo>
                  <a:pt x="219" y="143"/>
                </a:lnTo>
                <a:lnTo>
                  <a:pt x="216" y="143"/>
                </a:lnTo>
                <a:lnTo>
                  <a:pt x="216" y="14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5" name="Freeform 103">
            <a:extLst>
              <a:ext uri="{FF2B5EF4-FFF2-40B4-BE49-F238E27FC236}">
                <a16:creationId xmlns:a16="http://schemas.microsoft.com/office/drawing/2014/main" id="{DFBB5B58-F92C-7E82-6714-7E6C209E4B74}"/>
              </a:ext>
            </a:extLst>
          </p:cNvPr>
          <p:cNvSpPr>
            <a:spLocks/>
          </p:cNvSpPr>
          <p:nvPr userDrawn="1"/>
        </p:nvSpPr>
        <p:spPr bwMode="auto">
          <a:xfrm>
            <a:off x="14658019" y="7320835"/>
            <a:ext cx="784175" cy="654050"/>
          </a:xfrm>
          <a:custGeom>
            <a:avLst/>
            <a:gdLst>
              <a:gd name="T0" fmla="*/ 197 w 247"/>
              <a:gd name="T1" fmla="*/ 37 h 206"/>
              <a:gd name="T2" fmla="*/ 184 w 247"/>
              <a:gd name="T3" fmla="*/ 12 h 206"/>
              <a:gd name="T4" fmla="*/ 175 w 247"/>
              <a:gd name="T5" fmla="*/ 9 h 206"/>
              <a:gd name="T6" fmla="*/ 150 w 247"/>
              <a:gd name="T7" fmla="*/ 12 h 206"/>
              <a:gd name="T8" fmla="*/ 144 w 247"/>
              <a:gd name="T9" fmla="*/ 16 h 206"/>
              <a:gd name="T10" fmla="*/ 137 w 247"/>
              <a:gd name="T11" fmla="*/ 9 h 206"/>
              <a:gd name="T12" fmla="*/ 134 w 247"/>
              <a:gd name="T13" fmla="*/ 3 h 206"/>
              <a:gd name="T14" fmla="*/ 122 w 247"/>
              <a:gd name="T15" fmla="*/ 3 h 206"/>
              <a:gd name="T16" fmla="*/ 125 w 247"/>
              <a:gd name="T17" fmla="*/ 6 h 206"/>
              <a:gd name="T18" fmla="*/ 112 w 247"/>
              <a:gd name="T19" fmla="*/ 6 h 206"/>
              <a:gd name="T20" fmla="*/ 115 w 247"/>
              <a:gd name="T21" fmla="*/ 3 h 206"/>
              <a:gd name="T22" fmla="*/ 109 w 247"/>
              <a:gd name="T23" fmla="*/ 3 h 206"/>
              <a:gd name="T24" fmla="*/ 100 w 247"/>
              <a:gd name="T25" fmla="*/ 9 h 206"/>
              <a:gd name="T26" fmla="*/ 87 w 247"/>
              <a:gd name="T27" fmla="*/ 16 h 206"/>
              <a:gd name="T28" fmla="*/ 72 w 247"/>
              <a:gd name="T29" fmla="*/ 12 h 206"/>
              <a:gd name="T30" fmla="*/ 56 w 247"/>
              <a:gd name="T31" fmla="*/ 9 h 206"/>
              <a:gd name="T32" fmla="*/ 40 w 247"/>
              <a:gd name="T33" fmla="*/ 6 h 206"/>
              <a:gd name="T34" fmla="*/ 9 w 247"/>
              <a:gd name="T35" fmla="*/ 3 h 206"/>
              <a:gd name="T36" fmla="*/ 6 w 247"/>
              <a:gd name="T37" fmla="*/ 6 h 206"/>
              <a:gd name="T38" fmla="*/ 6 w 247"/>
              <a:gd name="T39" fmla="*/ 25 h 206"/>
              <a:gd name="T40" fmla="*/ 3 w 247"/>
              <a:gd name="T41" fmla="*/ 41 h 206"/>
              <a:gd name="T42" fmla="*/ 247 w 247"/>
              <a:gd name="T43" fmla="*/ 206 h 206"/>
              <a:gd name="T44" fmla="*/ 241 w 247"/>
              <a:gd name="T45" fmla="*/ 200 h 206"/>
              <a:gd name="T46" fmla="*/ 231 w 247"/>
              <a:gd name="T47" fmla="*/ 191 h 206"/>
              <a:gd name="T48" fmla="*/ 219 w 247"/>
              <a:gd name="T49" fmla="*/ 188 h 206"/>
              <a:gd name="T50" fmla="*/ 215 w 247"/>
              <a:gd name="T51" fmla="*/ 169 h 206"/>
              <a:gd name="T52" fmla="*/ 219 w 247"/>
              <a:gd name="T53" fmla="*/ 166 h 206"/>
              <a:gd name="T54" fmla="*/ 219 w 247"/>
              <a:gd name="T55" fmla="*/ 166 h 206"/>
              <a:gd name="T56" fmla="*/ 215 w 247"/>
              <a:gd name="T57" fmla="*/ 159 h 206"/>
              <a:gd name="T58" fmla="*/ 203 w 247"/>
              <a:gd name="T59" fmla="*/ 141 h 206"/>
              <a:gd name="T60" fmla="*/ 187 w 247"/>
              <a:gd name="T61" fmla="*/ 116 h 206"/>
              <a:gd name="T62" fmla="*/ 184 w 247"/>
              <a:gd name="T63" fmla="*/ 100 h 206"/>
              <a:gd name="T64" fmla="*/ 175 w 247"/>
              <a:gd name="T65" fmla="*/ 87 h 206"/>
              <a:gd name="T66" fmla="*/ 172 w 247"/>
              <a:gd name="T67" fmla="*/ 78 h 206"/>
              <a:gd name="T68" fmla="*/ 153 w 247"/>
              <a:gd name="T69" fmla="*/ 56 h 206"/>
              <a:gd name="T70" fmla="*/ 150 w 247"/>
              <a:gd name="T71" fmla="*/ 44 h 206"/>
              <a:gd name="T72" fmla="*/ 150 w 247"/>
              <a:gd name="T73" fmla="*/ 41 h 206"/>
              <a:gd name="T74" fmla="*/ 156 w 247"/>
              <a:gd name="T75" fmla="*/ 50 h 206"/>
              <a:gd name="T76" fmla="*/ 165 w 247"/>
              <a:gd name="T77" fmla="*/ 62 h 206"/>
              <a:gd name="T78" fmla="*/ 172 w 247"/>
              <a:gd name="T79" fmla="*/ 72 h 206"/>
              <a:gd name="T80" fmla="*/ 187 w 247"/>
              <a:gd name="T81" fmla="*/ 84 h 206"/>
              <a:gd name="T82" fmla="*/ 194 w 247"/>
              <a:gd name="T83" fmla="*/ 75 h 206"/>
              <a:gd name="T84" fmla="*/ 194 w 247"/>
              <a:gd name="T85" fmla="*/ 6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7" h="206">
                <a:moveTo>
                  <a:pt x="197" y="50"/>
                </a:moveTo>
                <a:lnTo>
                  <a:pt x="194" y="44"/>
                </a:lnTo>
                <a:lnTo>
                  <a:pt x="197" y="37"/>
                </a:lnTo>
                <a:lnTo>
                  <a:pt x="194" y="28"/>
                </a:lnTo>
                <a:lnTo>
                  <a:pt x="187" y="19"/>
                </a:lnTo>
                <a:lnTo>
                  <a:pt x="184" y="12"/>
                </a:lnTo>
                <a:lnTo>
                  <a:pt x="181" y="6"/>
                </a:lnTo>
                <a:lnTo>
                  <a:pt x="178" y="6"/>
                </a:lnTo>
                <a:lnTo>
                  <a:pt x="175" y="9"/>
                </a:lnTo>
                <a:lnTo>
                  <a:pt x="172" y="12"/>
                </a:lnTo>
                <a:lnTo>
                  <a:pt x="159" y="9"/>
                </a:lnTo>
                <a:lnTo>
                  <a:pt x="150" y="12"/>
                </a:lnTo>
                <a:lnTo>
                  <a:pt x="140" y="6"/>
                </a:lnTo>
                <a:lnTo>
                  <a:pt x="140" y="9"/>
                </a:lnTo>
                <a:lnTo>
                  <a:pt x="144" y="16"/>
                </a:lnTo>
                <a:lnTo>
                  <a:pt x="144" y="16"/>
                </a:lnTo>
                <a:lnTo>
                  <a:pt x="140" y="12"/>
                </a:lnTo>
                <a:lnTo>
                  <a:pt x="137" y="9"/>
                </a:lnTo>
                <a:lnTo>
                  <a:pt x="134" y="6"/>
                </a:lnTo>
                <a:lnTo>
                  <a:pt x="137" y="6"/>
                </a:lnTo>
                <a:lnTo>
                  <a:pt x="134" y="3"/>
                </a:lnTo>
                <a:lnTo>
                  <a:pt x="131" y="6"/>
                </a:lnTo>
                <a:lnTo>
                  <a:pt x="128" y="3"/>
                </a:lnTo>
                <a:lnTo>
                  <a:pt x="122" y="3"/>
                </a:lnTo>
                <a:lnTo>
                  <a:pt x="122" y="3"/>
                </a:lnTo>
                <a:lnTo>
                  <a:pt x="125" y="3"/>
                </a:lnTo>
                <a:lnTo>
                  <a:pt x="125" y="6"/>
                </a:lnTo>
                <a:lnTo>
                  <a:pt x="122" y="6"/>
                </a:lnTo>
                <a:lnTo>
                  <a:pt x="115" y="6"/>
                </a:lnTo>
                <a:lnTo>
                  <a:pt x="112" y="6"/>
                </a:lnTo>
                <a:lnTo>
                  <a:pt x="112" y="6"/>
                </a:lnTo>
                <a:lnTo>
                  <a:pt x="112" y="3"/>
                </a:lnTo>
                <a:lnTo>
                  <a:pt x="115" y="3"/>
                </a:lnTo>
                <a:lnTo>
                  <a:pt x="119" y="3"/>
                </a:lnTo>
                <a:lnTo>
                  <a:pt x="115" y="3"/>
                </a:lnTo>
                <a:lnTo>
                  <a:pt x="109" y="3"/>
                </a:lnTo>
                <a:lnTo>
                  <a:pt x="106" y="6"/>
                </a:lnTo>
                <a:lnTo>
                  <a:pt x="100" y="9"/>
                </a:lnTo>
                <a:lnTo>
                  <a:pt x="100" y="9"/>
                </a:lnTo>
                <a:lnTo>
                  <a:pt x="94" y="12"/>
                </a:lnTo>
                <a:lnTo>
                  <a:pt x="90" y="16"/>
                </a:lnTo>
                <a:lnTo>
                  <a:pt x="87" y="16"/>
                </a:lnTo>
                <a:lnTo>
                  <a:pt x="81" y="16"/>
                </a:lnTo>
                <a:lnTo>
                  <a:pt x="75" y="12"/>
                </a:lnTo>
                <a:lnTo>
                  <a:pt x="72" y="12"/>
                </a:lnTo>
                <a:lnTo>
                  <a:pt x="62" y="12"/>
                </a:lnTo>
                <a:lnTo>
                  <a:pt x="59" y="9"/>
                </a:lnTo>
                <a:lnTo>
                  <a:pt x="56" y="9"/>
                </a:lnTo>
                <a:lnTo>
                  <a:pt x="53" y="9"/>
                </a:lnTo>
                <a:lnTo>
                  <a:pt x="47" y="6"/>
                </a:lnTo>
                <a:lnTo>
                  <a:pt x="40" y="6"/>
                </a:lnTo>
                <a:lnTo>
                  <a:pt x="25" y="3"/>
                </a:lnTo>
                <a:lnTo>
                  <a:pt x="19" y="0"/>
                </a:lnTo>
                <a:lnTo>
                  <a:pt x="9" y="3"/>
                </a:lnTo>
                <a:lnTo>
                  <a:pt x="6" y="3"/>
                </a:lnTo>
                <a:lnTo>
                  <a:pt x="6" y="3"/>
                </a:lnTo>
                <a:lnTo>
                  <a:pt x="6" y="6"/>
                </a:lnTo>
                <a:lnTo>
                  <a:pt x="3" y="12"/>
                </a:lnTo>
                <a:lnTo>
                  <a:pt x="6" y="19"/>
                </a:lnTo>
                <a:lnTo>
                  <a:pt x="6" y="25"/>
                </a:lnTo>
                <a:lnTo>
                  <a:pt x="3" y="31"/>
                </a:lnTo>
                <a:lnTo>
                  <a:pt x="0" y="37"/>
                </a:lnTo>
                <a:lnTo>
                  <a:pt x="3" y="41"/>
                </a:lnTo>
                <a:lnTo>
                  <a:pt x="6" y="53"/>
                </a:lnTo>
                <a:lnTo>
                  <a:pt x="12" y="206"/>
                </a:lnTo>
                <a:lnTo>
                  <a:pt x="247" y="206"/>
                </a:lnTo>
                <a:lnTo>
                  <a:pt x="247" y="206"/>
                </a:lnTo>
                <a:lnTo>
                  <a:pt x="244" y="203"/>
                </a:lnTo>
                <a:lnTo>
                  <a:pt x="241" y="200"/>
                </a:lnTo>
                <a:lnTo>
                  <a:pt x="237" y="197"/>
                </a:lnTo>
                <a:lnTo>
                  <a:pt x="234" y="197"/>
                </a:lnTo>
                <a:lnTo>
                  <a:pt x="231" y="191"/>
                </a:lnTo>
                <a:lnTo>
                  <a:pt x="228" y="191"/>
                </a:lnTo>
                <a:lnTo>
                  <a:pt x="225" y="191"/>
                </a:lnTo>
                <a:lnTo>
                  <a:pt x="219" y="188"/>
                </a:lnTo>
                <a:lnTo>
                  <a:pt x="215" y="178"/>
                </a:lnTo>
                <a:lnTo>
                  <a:pt x="215" y="175"/>
                </a:lnTo>
                <a:lnTo>
                  <a:pt x="215" y="169"/>
                </a:lnTo>
                <a:lnTo>
                  <a:pt x="215" y="166"/>
                </a:lnTo>
                <a:lnTo>
                  <a:pt x="215" y="166"/>
                </a:lnTo>
                <a:lnTo>
                  <a:pt x="219" y="166"/>
                </a:lnTo>
                <a:lnTo>
                  <a:pt x="222" y="166"/>
                </a:lnTo>
                <a:lnTo>
                  <a:pt x="222" y="166"/>
                </a:lnTo>
                <a:lnTo>
                  <a:pt x="219" y="166"/>
                </a:lnTo>
                <a:lnTo>
                  <a:pt x="215" y="159"/>
                </a:lnTo>
                <a:lnTo>
                  <a:pt x="215" y="159"/>
                </a:lnTo>
                <a:lnTo>
                  <a:pt x="215" y="159"/>
                </a:lnTo>
                <a:lnTo>
                  <a:pt x="212" y="156"/>
                </a:lnTo>
                <a:lnTo>
                  <a:pt x="209" y="153"/>
                </a:lnTo>
                <a:lnTo>
                  <a:pt x="203" y="141"/>
                </a:lnTo>
                <a:lnTo>
                  <a:pt x="200" y="138"/>
                </a:lnTo>
                <a:lnTo>
                  <a:pt x="197" y="131"/>
                </a:lnTo>
                <a:lnTo>
                  <a:pt x="187" y="116"/>
                </a:lnTo>
                <a:lnTo>
                  <a:pt x="187" y="109"/>
                </a:lnTo>
                <a:lnTo>
                  <a:pt x="184" y="106"/>
                </a:lnTo>
                <a:lnTo>
                  <a:pt x="184" y="100"/>
                </a:lnTo>
                <a:lnTo>
                  <a:pt x="181" y="97"/>
                </a:lnTo>
                <a:lnTo>
                  <a:pt x="181" y="94"/>
                </a:lnTo>
                <a:lnTo>
                  <a:pt x="175" y="87"/>
                </a:lnTo>
                <a:lnTo>
                  <a:pt x="175" y="84"/>
                </a:lnTo>
                <a:lnTo>
                  <a:pt x="175" y="81"/>
                </a:lnTo>
                <a:lnTo>
                  <a:pt x="172" y="78"/>
                </a:lnTo>
                <a:lnTo>
                  <a:pt x="162" y="69"/>
                </a:lnTo>
                <a:lnTo>
                  <a:pt x="162" y="66"/>
                </a:lnTo>
                <a:lnTo>
                  <a:pt x="153" y="56"/>
                </a:lnTo>
                <a:lnTo>
                  <a:pt x="153" y="53"/>
                </a:lnTo>
                <a:lnTo>
                  <a:pt x="150" y="47"/>
                </a:lnTo>
                <a:lnTo>
                  <a:pt x="150" y="44"/>
                </a:lnTo>
                <a:lnTo>
                  <a:pt x="150" y="41"/>
                </a:lnTo>
                <a:lnTo>
                  <a:pt x="150" y="41"/>
                </a:lnTo>
                <a:lnTo>
                  <a:pt x="150" y="41"/>
                </a:lnTo>
                <a:lnTo>
                  <a:pt x="153" y="41"/>
                </a:lnTo>
                <a:lnTo>
                  <a:pt x="153" y="47"/>
                </a:lnTo>
                <a:lnTo>
                  <a:pt x="156" y="50"/>
                </a:lnTo>
                <a:lnTo>
                  <a:pt x="156" y="50"/>
                </a:lnTo>
                <a:lnTo>
                  <a:pt x="165" y="59"/>
                </a:lnTo>
                <a:lnTo>
                  <a:pt x="165" y="62"/>
                </a:lnTo>
                <a:lnTo>
                  <a:pt x="165" y="66"/>
                </a:lnTo>
                <a:lnTo>
                  <a:pt x="172" y="69"/>
                </a:lnTo>
                <a:lnTo>
                  <a:pt x="172" y="72"/>
                </a:lnTo>
                <a:lnTo>
                  <a:pt x="181" y="81"/>
                </a:lnTo>
                <a:lnTo>
                  <a:pt x="187" y="84"/>
                </a:lnTo>
                <a:lnTo>
                  <a:pt x="187" y="84"/>
                </a:lnTo>
                <a:lnTo>
                  <a:pt x="187" y="84"/>
                </a:lnTo>
                <a:lnTo>
                  <a:pt x="190" y="81"/>
                </a:lnTo>
                <a:lnTo>
                  <a:pt x="194" y="75"/>
                </a:lnTo>
                <a:lnTo>
                  <a:pt x="190" y="72"/>
                </a:lnTo>
                <a:lnTo>
                  <a:pt x="194" y="66"/>
                </a:lnTo>
                <a:lnTo>
                  <a:pt x="194" y="62"/>
                </a:lnTo>
                <a:lnTo>
                  <a:pt x="197" y="50"/>
                </a:lnTo>
                <a:lnTo>
                  <a:pt x="197" y="5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6" name="Freeform 104">
            <a:extLst>
              <a:ext uri="{FF2B5EF4-FFF2-40B4-BE49-F238E27FC236}">
                <a16:creationId xmlns:a16="http://schemas.microsoft.com/office/drawing/2014/main" id="{D2717C56-0CA3-E711-DF12-62A7CBA3542F}"/>
              </a:ext>
            </a:extLst>
          </p:cNvPr>
          <p:cNvSpPr>
            <a:spLocks/>
          </p:cNvSpPr>
          <p:nvPr userDrawn="1"/>
        </p:nvSpPr>
        <p:spPr bwMode="auto">
          <a:xfrm>
            <a:off x="14518326" y="7974881"/>
            <a:ext cx="1031811" cy="1184278"/>
          </a:xfrm>
          <a:custGeom>
            <a:avLst/>
            <a:gdLst>
              <a:gd name="T0" fmla="*/ 291 w 325"/>
              <a:gd name="T1" fmla="*/ 3 h 373"/>
              <a:gd name="T2" fmla="*/ 294 w 325"/>
              <a:gd name="T3" fmla="*/ 13 h 373"/>
              <a:gd name="T4" fmla="*/ 294 w 325"/>
              <a:gd name="T5" fmla="*/ 16 h 373"/>
              <a:gd name="T6" fmla="*/ 300 w 325"/>
              <a:gd name="T7" fmla="*/ 50 h 373"/>
              <a:gd name="T8" fmla="*/ 316 w 325"/>
              <a:gd name="T9" fmla="*/ 75 h 373"/>
              <a:gd name="T10" fmla="*/ 325 w 325"/>
              <a:gd name="T11" fmla="*/ 85 h 373"/>
              <a:gd name="T12" fmla="*/ 310 w 325"/>
              <a:gd name="T13" fmla="*/ 91 h 373"/>
              <a:gd name="T14" fmla="*/ 300 w 325"/>
              <a:gd name="T15" fmla="*/ 97 h 373"/>
              <a:gd name="T16" fmla="*/ 300 w 325"/>
              <a:gd name="T17" fmla="*/ 113 h 373"/>
              <a:gd name="T18" fmla="*/ 291 w 325"/>
              <a:gd name="T19" fmla="*/ 138 h 373"/>
              <a:gd name="T20" fmla="*/ 291 w 325"/>
              <a:gd name="T21" fmla="*/ 157 h 373"/>
              <a:gd name="T22" fmla="*/ 281 w 325"/>
              <a:gd name="T23" fmla="*/ 188 h 373"/>
              <a:gd name="T24" fmla="*/ 269 w 325"/>
              <a:gd name="T25" fmla="*/ 201 h 373"/>
              <a:gd name="T26" fmla="*/ 253 w 325"/>
              <a:gd name="T27" fmla="*/ 226 h 373"/>
              <a:gd name="T28" fmla="*/ 250 w 325"/>
              <a:gd name="T29" fmla="*/ 244 h 373"/>
              <a:gd name="T30" fmla="*/ 244 w 325"/>
              <a:gd name="T31" fmla="*/ 273 h 373"/>
              <a:gd name="T32" fmla="*/ 228 w 325"/>
              <a:gd name="T33" fmla="*/ 273 h 373"/>
              <a:gd name="T34" fmla="*/ 228 w 325"/>
              <a:gd name="T35" fmla="*/ 288 h 373"/>
              <a:gd name="T36" fmla="*/ 244 w 325"/>
              <a:gd name="T37" fmla="*/ 298 h 373"/>
              <a:gd name="T38" fmla="*/ 256 w 325"/>
              <a:gd name="T39" fmla="*/ 307 h 373"/>
              <a:gd name="T40" fmla="*/ 266 w 325"/>
              <a:gd name="T41" fmla="*/ 329 h 373"/>
              <a:gd name="T42" fmla="*/ 250 w 325"/>
              <a:gd name="T43" fmla="*/ 351 h 373"/>
              <a:gd name="T44" fmla="*/ 241 w 325"/>
              <a:gd name="T45" fmla="*/ 360 h 373"/>
              <a:gd name="T46" fmla="*/ 219 w 325"/>
              <a:gd name="T47" fmla="*/ 366 h 373"/>
              <a:gd name="T48" fmla="*/ 209 w 325"/>
              <a:gd name="T49" fmla="*/ 373 h 373"/>
              <a:gd name="T50" fmla="*/ 194 w 325"/>
              <a:gd name="T51" fmla="*/ 369 h 373"/>
              <a:gd name="T52" fmla="*/ 184 w 325"/>
              <a:gd name="T53" fmla="*/ 373 h 373"/>
              <a:gd name="T54" fmla="*/ 175 w 325"/>
              <a:gd name="T55" fmla="*/ 369 h 373"/>
              <a:gd name="T56" fmla="*/ 166 w 325"/>
              <a:gd name="T57" fmla="*/ 357 h 373"/>
              <a:gd name="T58" fmla="*/ 153 w 325"/>
              <a:gd name="T59" fmla="*/ 348 h 373"/>
              <a:gd name="T60" fmla="*/ 144 w 325"/>
              <a:gd name="T61" fmla="*/ 354 h 373"/>
              <a:gd name="T62" fmla="*/ 131 w 325"/>
              <a:gd name="T63" fmla="*/ 357 h 373"/>
              <a:gd name="T64" fmla="*/ 116 w 325"/>
              <a:gd name="T65" fmla="*/ 348 h 373"/>
              <a:gd name="T66" fmla="*/ 109 w 325"/>
              <a:gd name="T67" fmla="*/ 338 h 373"/>
              <a:gd name="T68" fmla="*/ 97 w 325"/>
              <a:gd name="T69" fmla="*/ 323 h 373"/>
              <a:gd name="T70" fmla="*/ 88 w 325"/>
              <a:gd name="T71" fmla="*/ 313 h 373"/>
              <a:gd name="T72" fmla="*/ 75 w 325"/>
              <a:gd name="T73" fmla="*/ 301 h 373"/>
              <a:gd name="T74" fmla="*/ 69 w 325"/>
              <a:gd name="T75" fmla="*/ 294 h 373"/>
              <a:gd name="T76" fmla="*/ 63 w 325"/>
              <a:gd name="T77" fmla="*/ 285 h 373"/>
              <a:gd name="T78" fmla="*/ 47 w 325"/>
              <a:gd name="T79" fmla="*/ 276 h 373"/>
              <a:gd name="T80" fmla="*/ 41 w 325"/>
              <a:gd name="T81" fmla="*/ 269 h 373"/>
              <a:gd name="T82" fmla="*/ 34 w 325"/>
              <a:gd name="T83" fmla="*/ 254 h 373"/>
              <a:gd name="T84" fmla="*/ 25 w 325"/>
              <a:gd name="T85" fmla="*/ 232 h 373"/>
              <a:gd name="T86" fmla="*/ 19 w 325"/>
              <a:gd name="T87" fmla="*/ 219 h 373"/>
              <a:gd name="T88" fmla="*/ 13 w 325"/>
              <a:gd name="T89" fmla="*/ 207 h 373"/>
              <a:gd name="T90" fmla="*/ 9 w 325"/>
              <a:gd name="T91" fmla="*/ 191 h 373"/>
              <a:gd name="T92" fmla="*/ 0 w 325"/>
              <a:gd name="T93" fmla="*/ 185 h 373"/>
              <a:gd name="T94" fmla="*/ 6 w 325"/>
              <a:gd name="T95" fmla="*/ 166 h 373"/>
              <a:gd name="T96" fmla="*/ 13 w 325"/>
              <a:gd name="T97" fmla="*/ 151 h 373"/>
              <a:gd name="T98" fmla="*/ 22 w 325"/>
              <a:gd name="T99" fmla="*/ 132 h 373"/>
              <a:gd name="T100" fmla="*/ 41 w 325"/>
              <a:gd name="T101" fmla="*/ 125 h 373"/>
              <a:gd name="T102" fmla="*/ 56 w 325"/>
              <a:gd name="T103"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5" h="373">
                <a:moveTo>
                  <a:pt x="56" y="0"/>
                </a:moveTo>
                <a:lnTo>
                  <a:pt x="291" y="0"/>
                </a:lnTo>
                <a:lnTo>
                  <a:pt x="291" y="0"/>
                </a:lnTo>
                <a:lnTo>
                  <a:pt x="291" y="3"/>
                </a:lnTo>
                <a:lnTo>
                  <a:pt x="291" y="3"/>
                </a:lnTo>
                <a:lnTo>
                  <a:pt x="291" y="7"/>
                </a:lnTo>
                <a:lnTo>
                  <a:pt x="291" y="7"/>
                </a:lnTo>
                <a:lnTo>
                  <a:pt x="291" y="7"/>
                </a:lnTo>
                <a:lnTo>
                  <a:pt x="291" y="10"/>
                </a:lnTo>
                <a:lnTo>
                  <a:pt x="294" y="13"/>
                </a:lnTo>
                <a:lnTo>
                  <a:pt x="297" y="19"/>
                </a:lnTo>
                <a:lnTo>
                  <a:pt x="297" y="19"/>
                </a:lnTo>
                <a:lnTo>
                  <a:pt x="297" y="19"/>
                </a:lnTo>
                <a:lnTo>
                  <a:pt x="297" y="19"/>
                </a:lnTo>
                <a:lnTo>
                  <a:pt x="294" y="16"/>
                </a:lnTo>
                <a:lnTo>
                  <a:pt x="294" y="19"/>
                </a:lnTo>
                <a:lnTo>
                  <a:pt x="294" y="22"/>
                </a:lnTo>
                <a:lnTo>
                  <a:pt x="300" y="35"/>
                </a:lnTo>
                <a:lnTo>
                  <a:pt x="300" y="44"/>
                </a:lnTo>
                <a:lnTo>
                  <a:pt x="300" y="50"/>
                </a:lnTo>
                <a:lnTo>
                  <a:pt x="300" y="60"/>
                </a:lnTo>
                <a:lnTo>
                  <a:pt x="306" y="66"/>
                </a:lnTo>
                <a:lnTo>
                  <a:pt x="310" y="66"/>
                </a:lnTo>
                <a:lnTo>
                  <a:pt x="316" y="72"/>
                </a:lnTo>
                <a:lnTo>
                  <a:pt x="316" y="75"/>
                </a:lnTo>
                <a:lnTo>
                  <a:pt x="322" y="75"/>
                </a:lnTo>
                <a:lnTo>
                  <a:pt x="325" y="79"/>
                </a:lnTo>
                <a:lnTo>
                  <a:pt x="325" y="82"/>
                </a:lnTo>
                <a:lnTo>
                  <a:pt x="325" y="82"/>
                </a:lnTo>
                <a:lnTo>
                  <a:pt x="325" y="85"/>
                </a:lnTo>
                <a:lnTo>
                  <a:pt x="322" y="88"/>
                </a:lnTo>
                <a:lnTo>
                  <a:pt x="316" y="88"/>
                </a:lnTo>
                <a:lnTo>
                  <a:pt x="316" y="91"/>
                </a:lnTo>
                <a:lnTo>
                  <a:pt x="313" y="91"/>
                </a:lnTo>
                <a:lnTo>
                  <a:pt x="310" y="91"/>
                </a:lnTo>
                <a:lnTo>
                  <a:pt x="306" y="91"/>
                </a:lnTo>
                <a:lnTo>
                  <a:pt x="306" y="94"/>
                </a:lnTo>
                <a:lnTo>
                  <a:pt x="306" y="97"/>
                </a:lnTo>
                <a:lnTo>
                  <a:pt x="306" y="97"/>
                </a:lnTo>
                <a:lnTo>
                  <a:pt x="300" y="97"/>
                </a:lnTo>
                <a:lnTo>
                  <a:pt x="297" y="100"/>
                </a:lnTo>
                <a:lnTo>
                  <a:pt x="297" y="104"/>
                </a:lnTo>
                <a:lnTo>
                  <a:pt x="297" y="110"/>
                </a:lnTo>
                <a:lnTo>
                  <a:pt x="297" y="110"/>
                </a:lnTo>
                <a:lnTo>
                  <a:pt x="300" y="113"/>
                </a:lnTo>
                <a:lnTo>
                  <a:pt x="297" y="113"/>
                </a:lnTo>
                <a:lnTo>
                  <a:pt x="294" y="119"/>
                </a:lnTo>
                <a:lnTo>
                  <a:pt x="294" y="129"/>
                </a:lnTo>
                <a:lnTo>
                  <a:pt x="291" y="135"/>
                </a:lnTo>
                <a:lnTo>
                  <a:pt x="291" y="138"/>
                </a:lnTo>
                <a:lnTo>
                  <a:pt x="288" y="141"/>
                </a:lnTo>
                <a:lnTo>
                  <a:pt x="288" y="144"/>
                </a:lnTo>
                <a:lnTo>
                  <a:pt x="291" y="154"/>
                </a:lnTo>
                <a:lnTo>
                  <a:pt x="291" y="157"/>
                </a:lnTo>
                <a:lnTo>
                  <a:pt x="291" y="157"/>
                </a:lnTo>
                <a:lnTo>
                  <a:pt x="291" y="160"/>
                </a:lnTo>
                <a:lnTo>
                  <a:pt x="288" y="163"/>
                </a:lnTo>
                <a:lnTo>
                  <a:pt x="288" y="172"/>
                </a:lnTo>
                <a:lnTo>
                  <a:pt x="285" y="182"/>
                </a:lnTo>
                <a:lnTo>
                  <a:pt x="281" y="188"/>
                </a:lnTo>
                <a:lnTo>
                  <a:pt x="278" y="185"/>
                </a:lnTo>
                <a:lnTo>
                  <a:pt x="275" y="188"/>
                </a:lnTo>
                <a:lnTo>
                  <a:pt x="275" y="191"/>
                </a:lnTo>
                <a:lnTo>
                  <a:pt x="272" y="197"/>
                </a:lnTo>
                <a:lnTo>
                  <a:pt x="269" y="201"/>
                </a:lnTo>
                <a:lnTo>
                  <a:pt x="266" y="207"/>
                </a:lnTo>
                <a:lnTo>
                  <a:pt x="263" y="210"/>
                </a:lnTo>
                <a:lnTo>
                  <a:pt x="259" y="226"/>
                </a:lnTo>
                <a:lnTo>
                  <a:pt x="256" y="226"/>
                </a:lnTo>
                <a:lnTo>
                  <a:pt x="253" y="226"/>
                </a:lnTo>
                <a:lnTo>
                  <a:pt x="253" y="229"/>
                </a:lnTo>
                <a:lnTo>
                  <a:pt x="250" y="235"/>
                </a:lnTo>
                <a:lnTo>
                  <a:pt x="247" y="238"/>
                </a:lnTo>
                <a:lnTo>
                  <a:pt x="250" y="241"/>
                </a:lnTo>
                <a:lnTo>
                  <a:pt x="250" y="244"/>
                </a:lnTo>
                <a:lnTo>
                  <a:pt x="247" y="247"/>
                </a:lnTo>
                <a:lnTo>
                  <a:pt x="244" y="254"/>
                </a:lnTo>
                <a:lnTo>
                  <a:pt x="247" y="263"/>
                </a:lnTo>
                <a:lnTo>
                  <a:pt x="244" y="273"/>
                </a:lnTo>
                <a:lnTo>
                  <a:pt x="244" y="273"/>
                </a:lnTo>
                <a:lnTo>
                  <a:pt x="241" y="276"/>
                </a:lnTo>
                <a:lnTo>
                  <a:pt x="238" y="276"/>
                </a:lnTo>
                <a:lnTo>
                  <a:pt x="238" y="273"/>
                </a:lnTo>
                <a:lnTo>
                  <a:pt x="234" y="276"/>
                </a:lnTo>
                <a:lnTo>
                  <a:pt x="228" y="273"/>
                </a:lnTo>
                <a:lnTo>
                  <a:pt x="228" y="279"/>
                </a:lnTo>
                <a:lnTo>
                  <a:pt x="225" y="279"/>
                </a:lnTo>
                <a:lnTo>
                  <a:pt x="222" y="282"/>
                </a:lnTo>
                <a:lnTo>
                  <a:pt x="225" y="285"/>
                </a:lnTo>
                <a:lnTo>
                  <a:pt x="228" y="288"/>
                </a:lnTo>
                <a:lnTo>
                  <a:pt x="238" y="288"/>
                </a:lnTo>
                <a:lnTo>
                  <a:pt x="238" y="288"/>
                </a:lnTo>
                <a:lnTo>
                  <a:pt x="241" y="294"/>
                </a:lnTo>
                <a:lnTo>
                  <a:pt x="244" y="294"/>
                </a:lnTo>
                <a:lnTo>
                  <a:pt x="244" y="298"/>
                </a:lnTo>
                <a:lnTo>
                  <a:pt x="247" y="304"/>
                </a:lnTo>
                <a:lnTo>
                  <a:pt x="250" y="304"/>
                </a:lnTo>
                <a:lnTo>
                  <a:pt x="250" y="307"/>
                </a:lnTo>
                <a:lnTo>
                  <a:pt x="253" y="307"/>
                </a:lnTo>
                <a:lnTo>
                  <a:pt x="256" y="307"/>
                </a:lnTo>
                <a:lnTo>
                  <a:pt x="259" y="310"/>
                </a:lnTo>
                <a:lnTo>
                  <a:pt x="259" y="313"/>
                </a:lnTo>
                <a:lnTo>
                  <a:pt x="263" y="316"/>
                </a:lnTo>
                <a:lnTo>
                  <a:pt x="266" y="326"/>
                </a:lnTo>
                <a:lnTo>
                  <a:pt x="266" y="329"/>
                </a:lnTo>
                <a:lnTo>
                  <a:pt x="269" y="335"/>
                </a:lnTo>
                <a:lnTo>
                  <a:pt x="263" y="341"/>
                </a:lnTo>
                <a:lnTo>
                  <a:pt x="256" y="348"/>
                </a:lnTo>
                <a:lnTo>
                  <a:pt x="253" y="348"/>
                </a:lnTo>
                <a:lnTo>
                  <a:pt x="250" y="351"/>
                </a:lnTo>
                <a:lnTo>
                  <a:pt x="250" y="354"/>
                </a:lnTo>
                <a:lnTo>
                  <a:pt x="247" y="354"/>
                </a:lnTo>
                <a:lnTo>
                  <a:pt x="244" y="357"/>
                </a:lnTo>
                <a:lnTo>
                  <a:pt x="244" y="357"/>
                </a:lnTo>
                <a:lnTo>
                  <a:pt x="241" y="360"/>
                </a:lnTo>
                <a:lnTo>
                  <a:pt x="238" y="363"/>
                </a:lnTo>
                <a:lnTo>
                  <a:pt x="234" y="366"/>
                </a:lnTo>
                <a:lnTo>
                  <a:pt x="228" y="366"/>
                </a:lnTo>
                <a:lnTo>
                  <a:pt x="222" y="366"/>
                </a:lnTo>
                <a:lnTo>
                  <a:pt x="219" y="366"/>
                </a:lnTo>
                <a:lnTo>
                  <a:pt x="216" y="366"/>
                </a:lnTo>
                <a:lnTo>
                  <a:pt x="213" y="369"/>
                </a:lnTo>
                <a:lnTo>
                  <a:pt x="209" y="366"/>
                </a:lnTo>
                <a:lnTo>
                  <a:pt x="209" y="369"/>
                </a:lnTo>
                <a:lnTo>
                  <a:pt x="209" y="373"/>
                </a:lnTo>
                <a:lnTo>
                  <a:pt x="206" y="373"/>
                </a:lnTo>
                <a:lnTo>
                  <a:pt x="200" y="373"/>
                </a:lnTo>
                <a:lnTo>
                  <a:pt x="200" y="369"/>
                </a:lnTo>
                <a:lnTo>
                  <a:pt x="197" y="366"/>
                </a:lnTo>
                <a:lnTo>
                  <a:pt x="194" y="369"/>
                </a:lnTo>
                <a:lnTo>
                  <a:pt x="191" y="366"/>
                </a:lnTo>
                <a:lnTo>
                  <a:pt x="184" y="366"/>
                </a:lnTo>
                <a:lnTo>
                  <a:pt x="184" y="366"/>
                </a:lnTo>
                <a:lnTo>
                  <a:pt x="184" y="369"/>
                </a:lnTo>
                <a:lnTo>
                  <a:pt x="184" y="373"/>
                </a:lnTo>
                <a:lnTo>
                  <a:pt x="184" y="373"/>
                </a:lnTo>
                <a:lnTo>
                  <a:pt x="181" y="373"/>
                </a:lnTo>
                <a:lnTo>
                  <a:pt x="178" y="373"/>
                </a:lnTo>
                <a:lnTo>
                  <a:pt x="175" y="373"/>
                </a:lnTo>
                <a:lnTo>
                  <a:pt x="175" y="369"/>
                </a:lnTo>
                <a:lnTo>
                  <a:pt x="175" y="366"/>
                </a:lnTo>
                <a:lnTo>
                  <a:pt x="175" y="366"/>
                </a:lnTo>
                <a:lnTo>
                  <a:pt x="172" y="363"/>
                </a:lnTo>
                <a:lnTo>
                  <a:pt x="169" y="360"/>
                </a:lnTo>
                <a:lnTo>
                  <a:pt x="166" y="357"/>
                </a:lnTo>
                <a:lnTo>
                  <a:pt x="163" y="357"/>
                </a:lnTo>
                <a:lnTo>
                  <a:pt x="163" y="354"/>
                </a:lnTo>
                <a:lnTo>
                  <a:pt x="159" y="348"/>
                </a:lnTo>
                <a:lnTo>
                  <a:pt x="156" y="348"/>
                </a:lnTo>
                <a:lnTo>
                  <a:pt x="153" y="348"/>
                </a:lnTo>
                <a:lnTo>
                  <a:pt x="150" y="351"/>
                </a:lnTo>
                <a:lnTo>
                  <a:pt x="150" y="354"/>
                </a:lnTo>
                <a:lnTo>
                  <a:pt x="147" y="354"/>
                </a:lnTo>
                <a:lnTo>
                  <a:pt x="144" y="354"/>
                </a:lnTo>
                <a:lnTo>
                  <a:pt x="144" y="354"/>
                </a:lnTo>
                <a:lnTo>
                  <a:pt x="141" y="354"/>
                </a:lnTo>
                <a:lnTo>
                  <a:pt x="138" y="354"/>
                </a:lnTo>
                <a:lnTo>
                  <a:pt x="134" y="354"/>
                </a:lnTo>
                <a:lnTo>
                  <a:pt x="131" y="357"/>
                </a:lnTo>
                <a:lnTo>
                  <a:pt x="131" y="357"/>
                </a:lnTo>
                <a:lnTo>
                  <a:pt x="125" y="354"/>
                </a:lnTo>
                <a:lnTo>
                  <a:pt x="122" y="351"/>
                </a:lnTo>
                <a:lnTo>
                  <a:pt x="119" y="351"/>
                </a:lnTo>
                <a:lnTo>
                  <a:pt x="119" y="348"/>
                </a:lnTo>
                <a:lnTo>
                  <a:pt x="116" y="348"/>
                </a:lnTo>
                <a:lnTo>
                  <a:pt x="116" y="344"/>
                </a:lnTo>
                <a:lnTo>
                  <a:pt x="116" y="344"/>
                </a:lnTo>
                <a:lnTo>
                  <a:pt x="116" y="341"/>
                </a:lnTo>
                <a:lnTo>
                  <a:pt x="113" y="341"/>
                </a:lnTo>
                <a:lnTo>
                  <a:pt x="109" y="338"/>
                </a:lnTo>
                <a:lnTo>
                  <a:pt x="106" y="335"/>
                </a:lnTo>
                <a:lnTo>
                  <a:pt x="106" y="329"/>
                </a:lnTo>
                <a:lnTo>
                  <a:pt x="106" y="329"/>
                </a:lnTo>
                <a:lnTo>
                  <a:pt x="103" y="326"/>
                </a:lnTo>
                <a:lnTo>
                  <a:pt x="97" y="323"/>
                </a:lnTo>
                <a:lnTo>
                  <a:pt x="97" y="323"/>
                </a:lnTo>
                <a:lnTo>
                  <a:pt x="97" y="319"/>
                </a:lnTo>
                <a:lnTo>
                  <a:pt x="94" y="316"/>
                </a:lnTo>
                <a:lnTo>
                  <a:pt x="91" y="316"/>
                </a:lnTo>
                <a:lnTo>
                  <a:pt x="88" y="313"/>
                </a:lnTo>
                <a:lnTo>
                  <a:pt x="88" y="307"/>
                </a:lnTo>
                <a:lnTo>
                  <a:pt x="88" y="307"/>
                </a:lnTo>
                <a:lnTo>
                  <a:pt x="81" y="301"/>
                </a:lnTo>
                <a:lnTo>
                  <a:pt x="78" y="301"/>
                </a:lnTo>
                <a:lnTo>
                  <a:pt x="75" y="301"/>
                </a:lnTo>
                <a:lnTo>
                  <a:pt x="75" y="301"/>
                </a:lnTo>
                <a:lnTo>
                  <a:pt x="72" y="301"/>
                </a:lnTo>
                <a:lnTo>
                  <a:pt x="66" y="298"/>
                </a:lnTo>
                <a:lnTo>
                  <a:pt x="69" y="294"/>
                </a:lnTo>
                <a:lnTo>
                  <a:pt x="69" y="294"/>
                </a:lnTo>
                <a:lnTo>
                  <a:pt x="72" y="291"/>
                </a:lnTo>
                <a:lnTo>
                  <a:pt x="72" y="288"/>
                </a:lnTo>
                <a:lnTo>
                  <a:pt x="72" y="285"/>
                </a:lnTo>
                <a:lnTo>
                  <a:pt x="69" y="285"/>
                </a:lnTo>
                <a:lnTo>
                  <a:pt x="63" y="285"/>
                </a:lnTo>
                <a:lnTo>
                  <a:pt x="63" y="282"/>
                </a:lnTo>
                <a:lnTo>
                  <a:pt x="59" y="279"/>
                </a:lnTo>
                <a:lnTo>
                  <a:pt x="56" y="279"/>
                </a:lnTo>
                <a:lnTo>
                  <a:pt x="53" y="279"/>
                </a:lnTo>
                <a:lnTo>
                  <a:pt x="47" y="276"/>
                </a:lnTo>
                <a:lnTo>
                  <a:pt x="47" y="273"/>
                </a:lnTo>
                <a:lnTo>
                  <a:pt x="50" y="269"/>
                </a:lnTo>
                <a:lnTo>
                  <a:pt x="47" y="266"/>
                </a:lnTo>
                <a:lnTo>
                  <a:pt x="41" y="266"/>
                </a:lnTo>
                <a:lnTo>
                  <a:pt x="41" y="269"/>
                </a:lnTo>
                <a:lnTo>
                  <a:pt x="34" y="269"/>
                </a:lnTo>
                <a:lnTo>
                  <a:pt x="31" y="266"/>
                </a:lnTo>
                <a:lnTo>
                  <a:pt x="31" y="260"/>
                </a:lnTo>
                <a:lnTo>
                  <a:pt x="34" y="257"/>
                </a:lnTo>
                <a:lnTo>
                  <a:pt x="34" y="254"/>
                </a:lnTo>
                <a:lnTo>
                  <a:pt x="34" y="251"/>
                </a:lnTo>
                <a:lnTo>
                  <a:pt x="34" y="247"/>
                </a:lnTo>
                <a:lnTo>
                  <a:pt x="31" y="241"/>
                </a:lnTo>
                <a:lnTo>
                  <a:pt x="25" y="232"/>
                </a:lnTo>
                <a:lnTo>
                  <a:pt x="25" y="232"/>
                </a:lnTo>
                <a:lnTo>
                  <a:pt x="22" y="229"/>
                </a:lnTo>
                <a:lnTo>
                  <a:pt x="22" y="226"/>
                </a:lnTo>
                <a:lnTo>
                  <a:pt x="22" y="222"/>
                </a:lnTo>
                <a:lnTo>
                  <a:pt x="19" y="222"/>
                </a:lnTo>
                <a:lnTo>
                  <a:pt x="19" y="219"/>
                </a:lnTo>
                <a:lnTo>
                  <a:pt x="19" y="216"/>
                </a:lnTo>
                <a:lnTo>
                  <a:pt x="22" y="216"/>
                </a:lnTo>
                <a:lnTo>
                  <a:pt x="19" y="213"/>
                </a:lnTo>
                <a:lnTo>
                  <a:pt x="13" y="210"/>
                </a:lnTo>
                <a:lnTo>
                  <a:pt x="13" y="207"/>
                </a:lnTo>
                <a:lnTo>
                  <a:pt x="13" y="201"/>
                </a:lnTo>
                <a:lnTo>
                  <a:pt x="9" y="197"/>
                </a:lnTo>
                <a:lnTo>
                  <a:pt x="13" y="194"/>
                </a:lnTo>
                <a:lnTo>
                  <a:pt x="9" y="194"/>
                </a:lnTo>
                <a:lnTo>
                  <a:pt x="9" y="191"/>
                </a:lnTo>
                <a:lnTo>
                  <a:pt x="9" y="188"/>
                </a:lnTo>
                <a:lnTo>
                  <a:pt x="9" y="188"/>
                </a:lnTo>
                <a:lnTo>
                  <a:pt x="3" y="191"/>
                </a:lnTo>
                <a:lnTo>
                  <a:pt x="0" y="188"/>
                </a:lnTo>
                <a:lnTo>
                  <a:pt x="0" y="185"/>
                </a:lnTo>
                <a:lnTo>
                  <a:pt x="6" y="179"/>
                </a:lnTo>
                <a:lnTo>
                  <a:pt x="9" y="176"/>
                </a:lnTo>
                <a:lnTo>
                  <a:pt x="9" y="172"/>
                </a:lnTo>
                <a:lnTo>
                  <a:pt x="6" y="169"/>
                </a:lnTo>
                <a:lnTo>
                  <a:pt x="6" y="166"/>
                </a:lnTo>
                <a:lnTo>
                  <a:pt x="9" y="163"/>
                </a:lnTo>
                <a:lnTo>
                  <a:pt x="13" y="160"/>
                </a:lnTo>
                <a:lnTo>
                  <a:pt x="9" y="157"/>
                </a:lnTo>
                <a:lnTo>
                  <a:pt x="9" y="154"/>
                </a:lnTo>
                <a:lnTo>
                  <a:pt x="13" y="151"/>
                </a:lnTo>
                <a:lnTo>
                  <a:pt x="16" y="151"/>
                </a:lnTo>
                <a:lnTo>
                  <a:pt x="22" y="144"/>
                </a:lnTo>
                <a:lnTo>
                  <a:pt x="25" y="138"/>
                </a:lnTo>
                <a:lnTo>
                  <a:pt x="22" y="135"/>
                </a:lnTo>
                <a:lnTo>
                  <a:pt x="22" y="132"/>
                </a:lnTo>
                <a:lnTo>
                  <a:pt x="25" y="129"/>
                </a:lnTo>
                <a:lnTo>
                  <a:pt x="31" y="129"/>
                </a:lnTo>
                <a:lnTo>
                  <a:pt x="34" y="129"/>
                </a:lnTo>
                <a:lnTo>
                  <a:pt x="38" y="129"/>
                </a:lnTo>
                <a:lnTo>
                  <a:pt x="41" y="125"/>
                </a:lnTo>
                <a:lnTo>
                  <a:pt x="41" y="50"/>
                </a:lnTo>
                <a:lnTo>
                  <a:pt x="41" y="50"/>
                </a:lnTo>
                <a:lnTo>
                  <a:pt x="41" y="41"/>
                </a:lnTo>
                <a:lnTo>
                  <a:pt x="59" y="41"/>
                </a:lnTo>
                <a:lnTo>
                  <a:pt x="56"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7" name="Freeform 105">
            <a:extLst>
              <a:ext uri="{FF2B5EF4-FFF2-40B4-BE49-F238E27FC236}">
                <a16:creationId xmlns:a16="http://schemas.microsoft.com/office/drawing/2014/main" id="{78091744-904B-AC32-4490-3FC354D2570E}"/>
              </a:ext>
            </a:extLst>
          </p:cNvPr>
          <p:cNvSpPr>
            <a:spLocks/>
          </p:cNvSpPr>
          <p:nvPr userDrawn="1"/>
        </p:nvSpPr>
        <p:spPr bwMode="auto">
          <a:xfrm>
            <a:off x="15223130" y="8432081"/>
            <a:ext cx="952440" cy="727078"/>
          </a:xfrm>
          <a:custGeom>
            <a:avLst/>
            <a:gdLst>
              <a:gd name="T0" fmla="*/ 44 w 300"/>
              <a:gd name="T1" fmla="*/ 182 h 229"/>
              <a:gd name="T2" fmla="*/ 37 w 300"/>
              <a:gd name="T3" fmla="*/ 166 h 229"/>
              <a:gd name="T4" fmla="*/ 28 w 300"/>
              <a:gd name="T5" fmla="*/ 163 h 229"/>
              <a:gd name="T6" fmla="*/ 22 w 300"/>
              <a:gd name="T7" fmla="*/ 154 h 229"/>
              <a:gd name="T8" fmla="*/ 16 w 300"/>
              <a:gd name="T9" fmla="*/ 144 h 229"/>
              <a:gd name="T10" fmla="*/ 3 w 300"/>
              <a:gd name="T11" fmla="*/ 141 h 229"/>
              <a:gd name="T12" fmla="*/ 6 w 300"/>
              <a:gd name="T13" fmla="*/ 135 h 229"/>
              <a:gd name="T14" fmla="*/ 16 w 300"/>
              <a:gd name="T15" fmla="*/ 129 h 229"/>
              <a:gd name="T16" fmla="*/ 22 w 300"/>
              <a:gd name="T17" fmla="*/ 129 h 229"/>
              <a:gd name="T18" fmla="*/ 22 w 300"/>
              <a:gd name="T19" fmla="*/ 110 h 229"/>
              <a:gd name="T20" fmla="*/ 28 w 300"/>
              <a:gd name="T21" fmla="*/ 97 h 229"/>
              <a:gd name="T22" fmla="*/ 31 w 300"/>
              <a:gd name="T23" fmla="*/ 85 h 229"/>
              <a:gd name="T24" fmla="*/ 37 w 300"/>
              <a:gd name="T25" fmla="*/ 82 h 229"/>
              <a:gd name="T26" fmla="*/ 47 w 300"/>
              <a:gd name="T27" fmla="*/ 57 h 229"/>
              <a:gd name="T28" fmla="*/ 53 w 300"/>
              <a:gd name="T29" fmla="*/ 44 h 229"/>
              <a:gd name="T30" fmla="*/ 63 w 300"/>
              <a:gd name="T31" fmla="*/ 38 h 229"/>
              <a:gd name="T32" fmla="*/ 69 w 300"/>
              <a:gd name="T33" fmla="*/ 16 h 229"/>
              <a:gd name="T34" fmla="*/ 78 w 300"/>
              <a:gd name="T35" fmla="*/ 13 h 229"/>
              <a:gd name="T36" fmla="*/ 88 w 300"/>
              <a:gd name="T37" fmla="*/ 0 h 229"/>
              <a:gd name="T38" fmla="*/ 97 w 300"/>
              <a:gd name="T39" fmla="*/ 7 h 229"/>
              <a:gd name="T40" fmla="*/ 109 w 300"/>
              <a:gd name="T41" fmla="*/ 3 h 229"/>
              <a:gd name="T42" fmla="*/ 116 w 300"/>
              <a:gd name="T43" fmla="*/ 3 h 229"/>
              <a:gd name="T44" fmla="*/ 125 w 300"/>
              <a:gd name="T45" fmla="*/ 7 h 229"/>
              <a:gd name="T46" fmla="*/ 138 w 300"/>
              <a:gd name="T47" fmla="*/ 13 h 229"/>
              <a:gd name="T48" fmla="*/ 150 w 300"/>
              <a:gd name="T49" fmla="*/ 22 h 229"/>
              <a:gd name="T50" fmla="*/ 156 w 300"/>
              <a:gd name="T51" fmla="*/ 25 h 229"/>
              <a:gd name="T52" fmla="*/ 172 w 300"/>
              <a:gd name="T53" fmla="*/ 35 h 229"/>
              <a:gd name="T54" fmla="*/ 175 w 300"/>
              <a:gd name="T55" fmla="*/ 47 h 229"/>
              <a:gd name="T56" fmla="*/ 181 w 300"/>
              <a:gd name="T57" fmla="*/ 53 h 229"/>
              <a:gd name="T58" fmla="*/ 178 w 300"/>
              <a:gd name="T59" fmla="*/ 69 h 229"/>
              <a:gd name="T60" fmla="*/ 172 w 300"/>
              <a:gd name="T61" fmla="*/ 78 h 229"/>
              <a:gd name="T62" fmla="*/ 188 w 300"/>
              <a:gd name="T63" fmla="*/ 78 h 229"/>
              <a:gd name="T64" fmla="*/ 194 w 300"/>
              <a:gd name="T65" fmla="*/ 82 h 229"/>
              <a:gd name="T66" fmla="*/ 203 w 300"/>
              <a:gd name="T67" fmla="*/ 103 h 229"/>
              <a:gd name="T68" fmla="*/ 213 w 300"/>
              <a:gd name="T69" fmla="*/ 116 h 229"/>
              <a:gd name="T70" fmla="*/ 300 w 300"/>
              <a:gd name="T71" fmla="*/ 138 h 229"/>
              <a:gd name="T72" fmla="*/ 216 w 300"/>
              <a:gd name="T73" fmla="*/ 197 h 229"/>
              <a:gd name="T74" fmla="*/ 203 w 300"/>
              <a:gd name="T75" fmla="*/ 204 h 229"/>
              <a:gd name="T76" fmla="*/ 194 w 300"/>
              <a:gd name="T77" fmla="*/ 213 h 229"/>
              <a:gd name="T78" fmla="*/ 178 w 300"/>
              <a:gd name="T79" fmla="*/ 219 h 229"/>
              <a:gd name="T80" fmla="*/ 166 w 300"/>
              <a:gd name="T81" fmla="*/ 219 h 229"/>
              <a:gd name="T82" fmla="*/ 156 w 300"/>
              <a:gd name="T83" fmla="*/ 213 h 229"/>
              <a:gd name="T84" fmla="*/ 144 w 300"/>
              <a:gd name="T85" fmla="*/ 216 h 229"/>
              <a:gd name="T86" fmla="*/ 131 w 300"/>
              <a:gd name="T87" fmla="*/ 229 h 229"/>
              <a:gd name="T88" fmla="*/ 122 w 300"/>
              <a:gd name="T89" fmla="*/ 225 h 229"/>
              <a:gd name="T90" fmla="*/ 106 w 300"/>
              <a:gd name="T91" fmla="*/ 225 h 229"/>
              <a:gd name="T92" fmla="*/ 94 w 300"/>
              <a:gd name="T93" fmla="*/ 216 h 229"/>
              <a:gd name="T94" fmla="*/ 72 w 300"/>
              <a:gd name="T95" fmla="*/ 207 h 229"/>
              <a:gd name="T96" fmla="*/ 59 w 300"/>
              <a:gd name="T97" fmla="*/ 207 h 229"/>
              <a:gd name="T98" fmla="*/ 53 w 300"/>
              <a:gd name="T99" fmla="*/ 191 h 229"/>
              <a:gd name="T100" fmla="*/ 47 w 300"/>
              <a:gd name="T101" fmla="*/ 19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229">
                <a:moveTo>
                  <a:pt x="47" y="191"/>
                </a:moveTo>
                <a:lnTo>
                  <a:pt x="44" y="185"/>
                </a:lnTo>
                <a:lnTo>
                  <a:pt x="44" y="182"/>
                </a:lnTo>
                <a:lnTo>
                  <a:pt x="41" y="172"/>
                </a:lnTo>
                <a:lnTo>
                  <a:pt x="37" y="169"/>
                </a:lnTo>
                <a:lnTo>
                  <a:pt x="37" y="166"/>
                </a:lnTo>
                <a:lnTo>
                  <a:pt x="34" y="163"/>
                </a:lnTo>
                <a:lnTo>
                  <a:pt x="31" y="163"/>
                </a:lnTo>
                <a:lnTo>
                  <a:pt x="28" y="163"/>
                </a:lnTo>
                <a:lnTo>
                  <a:pt x="28" y="160"/>
                </a:lnTo>
                <a:lnTo>
                  <a:pt x="25" y="160"/>
                </a:lnTo>
                <a:lnTo>
                  <a:pt x="22" y="154"/>
                </a:lnTo>
                <a:lnTo>
                  <a:pt x="22" y="150"/>
                </a:lnTo>
                <a:lnTo>
                  <a:pt x="19" y="150"/>
                </a:lnTo>
                <a:lnTo>
                  <a:pt x="16" y="144"/>
                </a:lnTo>
                <a:lnTo>
                  <a:pt x="16" y="144"/>
                </a:lnTo>
                <a:lnTo>
                  <a:pt x="6" y="144"/>
                </a:lnTo>
                <a:lnTo>
                  <a:pt x="3" y="141"/>
                </a:lnTo>
                <a:lnTo>
                  <a:pt x="0" y="138"/>
                </a:lnTo>
                <a:lnTo>
                  <a:pt x="3" y="135"/>
                </a:lnTo>
                <a:lnTo>
                  <a:pt x="6" y="135"/>
                </a:lnTo>
                <a:lnTo>
                  <a:pt x="6" y="129"/>
                </a:lnTo>
                <a:lnTo>
                  <a:pt x="12" y="132"/>
                </a:lnTo>
                <a:lnTo>
                  <a:pt x="16" y="129"/>
                </a:lnTo>
                <a:lnTo>
                  <a:pt x="16" y="132"/>
                </a:lnTo>
                <a:lnTo>
                  <a:pt x="19" y="132"/>
                </a:lnTo>
                <a:lnTo>
                  <a:pt x="22" y="129"/>
                </a:lnTo>
                <a:lnTo>
                  <a:pt x="22" y="129"/>
                </a:lnTo>
                <a:lnTo>
                  <a:pt x="25" y="119"/>
                </a:lnTo>
                <a:lnTo>
                  <a:pt x="22" y="110"/>
                </a:lnTo>
                <a:lnTo>
                  <a:pt x="25" y="103"/>
                </a:lnTo>
                <a:lnTo>
                  <a:pt x="28" y="100"/>
                </a:lnTo>
                <a:lnTo>
                  <a:pt x="28" y="97"/>
                </a:lnTo>
                <a:lnTo>
                  <a:pt x="25" y="94"/>
                </a:lnTo>
                <a:lnTo>
                  <a:pt x="28" y="91"/>
                </a:lnTo>
                <a:lnTo>
                  <a:pt x="31" y="85"/>
                </a:lnTo>
                <a:lnTo>
                  <a:pt x="31" y="82"/>
                </a:lnTo>
                <a:lnTo>
                  <a:pt x="34" y="82"/>
                </a:lnTo>
                <a:lnTo>
                  <a:pt x="37" y="82"/>
                </a:lnTo>
                <a:lnTo>
                  <a:pt x="41" y="66"/>
                </a:lnTo>
                <a:lnTo>
                  <a:pt x="44" y="63"/>
                </a:lnTo>
                <a:lnTo>
                  <a:pt x="47" y="57"/>
                </a:lnTo>
                <a:lnTo>
                  <a:pt x="50" y="53"/>
                </a:lnTo>
                <a:lnTo>
                  <a:pt x="53" y="47"/>
                </a:lnTo>
                <a:lnTo>
                  <a:pt x="53" y="44"/>
                </a:lnTo>
                <a:lnTo>
                  <a:pt x="56" y="41"/>
                </a:lnTo>
                <a:lnTo>
                  <a:pt x="59" y="44"/>
                </a:lnTo>
                <a:lnTo>
                  <a:pt x="63" y="38"/>
                </a:lnTo>
                <a:lnTo>
                  <a:pt x="66" y="28"/>
                </a:lnTo>
                <a:lnTo>
                  <a:pt x="66" y="19"/>
                </a:lnTo>
                <a:lnTo>
                  <a:pt x="69" y="16"/>
                </a:lnTo>
                <a:lnTo>
                  <a:pt x="69" y="13"/>
                </a:lnTo>
                <a:lnTo>
                  <a:pt x="72" y="13"/>
                </a:lnTo>
                <a:lnTo>
                  <a:pt x="78" y="13"/>
                </a:lnTo>
                <a:lnTo>
                  <a:pt x="78" y="13"/>
                </a:lnTo>
                <a:lnTo>
                  <a:pt x="81" y="13"/>
                </a:lnTo>
                <a:lnTo>
                  <a:pt x="88" y="0"/>
                </a:lnTo>
                <a:lnTo>
                  <a:pt x="88" y="3"/>
                </a:lnTo>
                <a:lnTo>
                  <a:pt x="91" y="3"/>
                </a:lnTo>
                <a:lnTo>
                  <a:pt x="97" y="7"/>
                </a:lnTo>
                <a:lnTo>
                  <a:pt x="100" y="7"/>
                </a:lnTo>
                <a:lnTo>
                  <a:pt x="106" y="3"/>
                </a:lnTo>
                <a:lnTo>
                  <a:pt x="109" y="3"/>
                </a:lnTo>
                <a:lnTo>
                  <a:pt x="113" y="7"/>
                </a:lnTo>
                <a:lnTo>
                  <a:pt x="113" y="3"/>
                </a:lnTo>
                <a:lnTo>
                  <a:pt x="116" y="3"/>
                </a:lnTo>
                <a:lnTo>
                  <a:pt x="122" y="10"/>
                </a:lnTo>
                <a:lnTo>
                  <a:pt x="122" y="10"/>
                </a:lnTo>
                <a:lnTo>
                  <a:pt x="125" y="7"/>
                </a:lnTo>
                <a:lnTo>
                  <a:pt x="131" y="10"/>
                </a:lnTo>
                <a:lnTo>
                  <a:pt x="134" y="13"/>
                </a:lnTo>
                <a:lnTo>
                  <a:pt x="138" y="13"/>
                </a:lnTo>
                <a:lnTo>
                  <a:pt x="144" y="19"/>
                </a:lnTo>
                <a:lnTo>
                  <a:pt x="144" y="22"/>
                </a:lnTo>
                <a:lnTo>
                  <a:pt x="150" y="22"/>
                </a:lnTo>
                <a:lnTo>
                  <a:pt x="150" y="22"/>
                </a:lnTo>
                <a:lnTo>
                  <a:pt x="156" y="25"/>
                </a:lnTo>
                <a:lnTo>
                  <a:pt x="156" y="25"/>
                </a:lnTo>
                <a:lnTo>
                  <a:pt x="163" y="28"/>
                </a:lnTo>
                <a:lnTo>
                  <a:pt x="166" y="35"/>
                </a:lnTo>
                <a:lnTo>
                  <a:pt x="172" y="35"/>
                </a:lnTo>
                <a:lnTo>
                  <a:pt x="175" y="41"/>
                </a:lnTo>
                <a:lnTo>
                  <a:pt x="175" y="44"/>
                </a:lnTo>
                <a:lnTo>
                  <a:pt x="175" y="47"/>
                </a:lnTo>
                <a:lnTo>
                  <a:pt x="178" y="47"/>
                </a:lnTo>
                <a:lnTo>
                  <a:pt x="184" y="53"/>
                </a:lnTo>
                <a:lnTo>
                  <a:pt x="181" y="53"/>
                </a:lnTo>
                <a:lnTo>
                  <a:pt x="178" y="60"/>
                </a:lnTo>
                <a:lnTo>
                  <a:pt x="178" y="63"/>
                </a:lnTo>
                <a:lnTo>
                  <a:pt x="178" y="69"/>
                </a:lnTo>
                <a:lnTo>
                  <a:pt x="175" y="72"/>
                </a:lnTo>
                <a:lnTo>
                  <a:pt x="175" y="75"/>
                </a:lnTo>
                <a:lnTo>
                  <a:pt x="172" y="78"/>
                </a:lnTo>
                <a:lnTo>
                  <a:pt x="175" y="82"/>
                </a:lnTo>
                <a:lnTo>
                  <a:pt x="181" y="82"/>
                </a:lnTo>
                <a:lnTo>
                  <a:pt x="188" y="78"/>
                </a:lnTo>
                <a:lnTo>
                  <a:pt x="191" y="78"/>
                </a:lnTo>
                <a:lnTo>
                  <a:pt x="197" y="78"/>
                </a:lnTo>
                <a:lnTo>
                  <a:pt x="194" y="82"/>
                </a:lnTo>
                <a:lnTo>
                  <a:pt x="197" y="88"/>
                </a:lnTo>
                <a:lnTo>
                  <a:pt x="200" y="100"/>
                </a:lnTo>
                <a:lnTo>
                  <a:pt x="203" y="103"/>
                </a:lnTo>
                <a:lnTo>
                  <a:pt x="203" y="110"/>
                </a:lnTo>
                <a:lnTo>
                  <a:pt x="206" y="113"/>
                </a:lnTo>
                <a:lnTo>
                  <a:pt x="213" y="116"/>
                </a:lnTo>
                <a:lnTo>
                  <a:pt x="219" y="119"/>
                </a:lnTo>
                <a:lnTo>
                  <a:pt x="275" y="138"/>
                </a:lnTo>
                <a:lnTo>
                  <a:pt x="300" y="138"/>
                </a:lnTo>
                <a:lnTo>
                  <a:pt x="241" y="197"/>
                </a:lnTo>
                <a:lnTo>
                  <a:pt x="228" y="197"/>
                </a:lnTo>
                <a:lnTo>
                  <a:pt x="216" y="197"/>
                </a:lnTo>
                <a:lnTo>
                  <a:pt x="213" y="200"/>
                </a:lnTo>
                <a:lnTo>
                  <a:pt x="209" y="200"/>
                </a:lnTo>
                <a:lnTo>
                  <a:pt x="203" y="204"/>
                </a:lnTo>
                <a:lnTo>
                  <a:pt x="203" y="207"/>
                </a:lnTo>
                <a:lnTo>
                  <a:pt x="197" y="210"/>
                </a:lnTo>
                <a:lnTo>
                  <a:pt x="194" y="213"/>
                </a:lnTo>
                <a:lnTo>
                  <a:pt x="188" y="213"/>
                </a:lnTo>
                <a:lnTo>
                  <a:pt x="181" y="216"/>
                </a:lnTo>
                <a:lnTo>
                  <a:pt x="178" y="219"/>
                </a:lnTo>
                <a:lnTo>
                  <a:pt x="178" y="219"/>
                </a:lnTo>
                <a:lnTo>
                  <a:pt x="172" y="219"/>
                </a:lnTo>
                <a:lnTo>
                  <a:pt x="166" y="219"/>
                </a:lnTo>
                <a:lnTo>
                  <a:pt x="163" y="219"/>
                </a:lnTo>
                <a:lnTo>
                  <a:pt x="159" y="216"/>
                </a:lnTo>
                <a:lnTo>
                  <a:pt x="156" y="213"/>
                </a:lnTo>
                <a:lnTo>
                  <a:pt x="147" y="213"/>
                </a:lnTo>
                <a:lnTo>
                  <a:pt x="147" y="216"/>
                </a:lnTo>
                <a:lnTo>
                  <a:pt x="144" y="216"/>
                </a:lnTo>
                <a:lnTo>
                  <a:pt x="141" y="216"/>
                </a:lnTo>
                <a:lnTo>
                  <a:pt x="138" y="219"/>
                </a:lnTo>
                <a:lnTo>
                  <a:pt x="131" y="229"/>
                </a:lnTo>
                <a:lnTo>
                  <a:pt x="128" y="229"/>
                </a:lnTo>
                <a:lnTo>
                  <a:pt x="125" y="229"/>
                </a:lnTo>
                <a:lnTo>
                  <a:pt x="122" y="225"/>
                </a:lnTo>
                <a:lnTo>
                  <a:pt x="116" y="229"/>
                </a:lnTo>
                <a:lnTo>
                  <a:pt x="113" y="225"/>
                </a:lnTo>
                <a:lnTo>
                  <a:pt x="106" y="225"/>
                </a:lnTo>
                <a:lnTo>
                  <a:pt x="103" y="225"/>
                </a:lnTo>
                <a:lnTo>
                  <a:pt x="100" y="222"/>
                </a:lnTo>
                <a:lnTo>
                  <a:pt x="94" y="216"/>
                </a:lnTo>
                <a:lnTo>
                  <a:pt x="88" y="210"/>
                </a:lnTo>
                <a:lnTo>
                  <a:pt x="81" y="207"/>
                </a:lnTo>
                <a:lnTo>
                  <a:pt x="72" y="207"/>
                </a:lnTo>
                <a:lnTo>
                  <a:pt x="69" y="207"/>
                </a:lnTo>
                <a:lnTo>
                  <a:pt x="63" y="210"/>
                </a:lnTo>
                <a:lnTo>
                  <a:pt x="59" y="207"/>
                </a:lnTo>
                <a:lnTo>
                  <a:pt x="56" y="204"/>
                </a:lnTo>
                <a:lnTo>
                  <a:pt x="56" y="191"/>
                </a:lnTo>
                <a:lnTo>
                  <a:pt x="53" y="191"/>
                </a:lnTo>
                <a:lnTo>
                  <a:pt x="50" y="191"/>
                </a:lnTo>
                <a:lnTo>
                  <a:pt x="47" y="188"/>
                </a:lnTo>
                <a:lnTo>
                  <a:pt x="47" y="191"/>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8" name="Freeform 106">
            <a:extLst>
              <a:ext uri="{FF2B5EF4-FFF2-40B4-BE49-F238E27FC236}">
                <a16:creationId xmlns:a16="http://schemas.microsoft.com/office/drawing/2014/main" id="{A33C3AF8-0FFA-0F1B-D757-BDDA8E465DDB}"/>
              </a:ext>
            </a:extLst>
          </p:cNvPr>
          <p:cNvSpPr>
            <a:spLocks/>
          </p:cNvSpPr>
          <p:nvPr userDrawn="1"/>
        </p:nvSpPr>
        <p:spPr bwMode="auto">
          <a:xfrm>
            <a:off x="15432668" y="8235233"/>
            <a:ext cx="415899" cy="365126"/>
          </a:xfrm>
          <a:custGeom>
            <a:avLst/>
            <a:gdLst>
              <a:gd name="T0" fmla="*/ 112 w 131"/>
              <a:gd name="T1" fmla="*/ 109 h 115"/>
              <a:gd name="T2" fmla="*/ 109 w 131"/>
              <a:gd name="T3" fmla="*/ 106 h 115"/>
              <a:gd name="T4" fmla="*/ 106 w 131"/>
              <a:gd name="T5" fmla="*/ 97 h 115"/>
              <a:gd name="T6" fmla="*/ 97 w 131"/>
              <a:gd name="T7" fmla="*/ 90 h 115"/>
              <a:gd name="T8" fmla="*/ 90 w 131"/>
              <a:gd name="T9" fmla="*/ 87 h 115"/>
              <a:gd name="T10" fmla="*/ 84 w 131"/>
              <a:gd name="T11" fmla="*/ 84 h 115"/>
              <a:gd name="T12" fmla="*/ 78 w 131"/>
              <a:gd name="T13" fmla="*/ 81 h 115"/>
              <a:gd name="T14" fmla="*/ 68 w 131"/>
              <a:gd name="T15" fmla="*/ 75 h 115"/>
              <a:gd name="T16" fmla="*/ 59 w 131"/>
              <a:gd name="T17" fmla="*/ 69 h 115"/>
              <a:gd name="T18" fmla="*/ 56 w 131"/>
              <a:gd name="T19" fmla="*/ 72 h 115"/>
              <a:gd name="T20" fmla="*/ 47 w 131"/>
              <a:gd name="T21" fmla="*/ 65 h 115"/>
              <a:gd name="T22" fmla="*/ 43 w 131"/>
              <a:gd name="T23" fmla="*/ 65 h 115"/>
              <a:gd name="T24" fmla="*/ 34 w 131"/>
              <a:gd name="T25" fmla="*/ 69 h 115"/>
              <a:gd name="T26" fmla="*/ 25 w 131"/>
              <a:gd name="T27" fmla="*/ 65 h 115"/>
              <a:gd name="T28" fmla="*/ 22 w 131"/>
              <a:gd name="T29" fmla="*/ 62 h 115"/>
              <a:gd name="T30" fmla="*/ 12 w 131"/>
              <a:gd name="T31" fmla="*/ 75 h 115"/>
              <a:gd name="T32" fmla="*/ 6 w 131"/>
              <a:gd name="T33" fmla="*/ 75 h 115"/>
              <a:gd name="T34" fmla="*/ 3 w 131"/>
              <a:gd name="T35" fmla="*/ 72 h 115"/>
              <a:gd name="T36" fmla="*/ 0 w 131"/>
              <a:gd name="T37" fmla="*/ 59 h 115"/>
              <a:gd name="T38" fmla="*/ 3 w 131"/>
              <a:gd name="T39" fmla="*/ 53 h 115"/>
              <a:gd name="T40" fmla="*/ 6 w 131"/>
              <a:gd name="T41" fmla="*/ 37 h 115"/>
              <a:gd name="T42" fmla="*/ 12 w 131"/>
              <a:gd name="T43" fmla="*/ 31 h 115"/>
              <a:gd name="T44" fmla="*/ 9 w 131"/>
              <a:gd name="T45" fmla="*/ 28 h 115"/>
              <a:gd name="T46" fmla="*/ 9 w 131"/>
              <a:gd name="T47" fmla="*/ 18 h 115"/>
              <a:gd name="T48" fmla="*/ 18 w 131"/>
              <a:gd name="T49" fmla="*/ 15 h 115"/>
              <a:gd name="T50" fmla="*/ 18 w 131"/>
              <a:gd name="T51" fmla="*/ 12 h 115"/>
              <a:gd name="T52" fmla="*/ 22 w 131"/>
              <a:gd name="T53" fmla="*/ 9 h 115"/>
              <a:gd name="T54" fmla="*/ 28 w 131"/>
              <a:gd name="T55" fmla="*/ 9 h 115"/>
              <a:gd name="T56" fmla="*/ 34 w 131"/>
              <a:gd name="T57" fmla="*/ 6 h 115"/>
              <a:gd name="T58" fmla="*/ 37 w 131"/>
              <a:gd name="T59" fmla="*/ 0 h 115"/>
              <a:gd name="T60" fmla="*/ 43 w 131"/>
              <a:gd name="T61" fmla="*/ 3 h 115"/>
              <a:gd name="T62" fmla="*/ 53 w 131"/>
              <a:gd name="T63" fmla="*/ 40 h 115"/>
              <a:gd name="T64" fmla="*/ 56 w 131"/>
              <a:gd name="T65" fmla="*/ 47 h 115"/>
              <a:gd name="T66" fmla="*/ 59 w 131"/>
              <a:gd name="T67" fmla="*/ 47 h 115"/>
              <a:gd name="T68" fmla="*/ 62 w 131"/>
              <a:gd name="T69" fmla="*/ 59 h 115"/>
              <a:gd name="T70" fmla="*/ 65 w 131"/>
              <a:gd name="T71" fmla="*/ 53 h 115"/>
              <a:gd name="T72" fmla="*/ 65 w 131"/>
              <a:gd name="T73" fmla="*/ 50 h 115"/>
              <a:gd name="T74" fmla="*/ 68 w 131"/>
              <a:gd name="T75" fmla="*/ 53 h 115"/>
              <a:gd name="T76" fmla="*/ 72 w 131"/>
              <a:gd name="T77" fmla="*/ 59 h 115"/>
              <a:gd name="T78" fmla="*/ 75 w 131"/>
              <a:gd name="T79" fmla="*/ 62 h 115"/>
              <a:gd name="T80" fmla="*/ 81 w 131"/>
              <a:gd name="T81" fmla="*/ 62 h 115"/>
              <a:gd name="T82" fmla="*/ 87 w 131"/>
              <a:gd name="T83" fmla="*/ 65 h 115"/>
              <a:gd name="T84" fmla="*/ 93 w 131"/>
              <a:gd name="T85" fmla="*/ 69 h 115"/>
              <a:gd name="T86" fmla="*/ 100 w 131"/>
              <a:gd name="T87" fmla="*/ 78 h 115"/>
              <a:gd name="T88" fmla="*/ 109 w 131"/>
              <a:gd name="T89" fmla="*/ 84 h 115"/>
              <a:gd name="T90" fmla="*/ 112 w 131"/>
              <a:gd name="T91" fmla="*/ 87 h 115"/>
              <a:gd name="T92" fmla="*/ 115 w 131"/>
              <a:gd name="T93" fmla="*/ 90 h 115"/>
              <a:gd name="T94" fmla="*/ 118 w 131"/>
              <a:gd name="T95" fmla="*/ 97 h 115"/>
              <a:gd name="T96" fmla="*/ 122 w 131"/>
              <a:gd name="T97" fmla="*/ 103 h 115"/>
              <a:gd name="T98" fmla="*/ 125 w 131"/>
              <a:gd name="T99" fmla="*/ 106 h 115"/>
              <a:gd name="T100" fmla="*/ 128 w 131"/>
              <a:gd name="T101" fmla="*/ 106 h 115"/>
              <a:gd name="T102" fmla="*/ 131 w 131"/>
              <a:gd name="T103" fmla="*/ 109 h 115"/>
              <a:gd name="T104" fmla="*/ 125 w 131"/>
              <a:gd name="T105" fmla="*/ 112 h 115"/>
              <a:gd name="T106" fmla="*/ 118 w 131"/>
              <a:gd name="T10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1" h="115">
                <a:moveTo>
                  <a:pt x="118" y="115"/>
                </a:moveTo>
                <a:lnTo>
                  <a:pt x="112" y="109"/>
                </a:lnTo>
                <a:lnTo>
                  <a:pt x="109" y="109"/>
                </a:lnTo>
                <a:lnTo>
                  <a:pt x="109" y="106"/>
                </a:lnTo>
                <a:lnTo>
                  <a:pt x="109" y="103"/>
                </a:lnTo>
                <a:lnTo>
                  <a:pt x="106" y="97"/>
                </a:lnTo>
                <a:lnTo>
                  <a:pt x="100" y="97"/>
                </a:lnTo>
                <a:lnTo>
                  <a:pt x="97" y="90"/>
                </a:lnTo>
                <a:lnTo>
                  <a:pt x="90" y="87"/>
                </a:lnTo>
                <a:lnTo>
                  <a:pt x="90" y="87"/>
                </a:lnTo>
                <a:lnTo>
                  <a:pt x="84" y="84"/>
                </a:lnTo>
                <a:lnTo>
                  <a:pt x="84" y="84"/>
                </a:lnTo>
                <a:lnTo>
                  <a:pt x="78" y="84"/>
                </a:lnTo>
                <a:lnTo>
                  <a:pt x="78" y="81"/>
                </a:lnTo>
                <a:lnTo>
                  <a:pt x="72" y="75"/>
                </a:lnTo>
                <a:lnTo>
                  <a:pt x="68" y="75"/>
                </a:lnTo>
                <a:lnTo>
                  <a:pt x="65" y="72"/>
                </a:lnTo>
                <a:lnTo>
                  <a:pt x="59" y="69"/>
                </a:lnTo>
                <a:lnTo>
                  <a:pt x="56" y="72"/>
                </a:lnTo>
                <a:lnTo>
                  <a:pt x="56" y="72"/>
                </a:lnTo>
                <a:lnTo>
                  <a:pt x="50" y="65"/>
                </a:lnTo>
                <a:lnTo>
                  <a:pt x="47" y="65"/>
                </a:lnTo>
                <a:lnTo>
                  <a:pt x="47" y="69"/>
                </a:lnTo>
                <a:lnTo>
                  <a:pt x="43" y="65"/>
                </a:lnTo>
                <a:lnTo>
                  <a:pt x="40" y="65"/>
                </a:lnTo>
                <a:lnTo>
                  <a:pt x="34" y="69"/>
                </a:lnTo>
                <a:lnTo>
                  <a:pt x="31" y="69"/>
                </a:lnTo>
                <a:lnTo>
                  <a:pt x="25" y="65"/>
                </a:lnTo>
                <a:lnTo>
                  <a:pt x="22" y="65"/>
                </a:lnTo>
                <a:lnTo>
                  <a:pt x="22" y="62"/>
                </a:lnTo>
                <a:lnTo>
                  <a:pt x="15" y="75"/>
                </a:lnTo>
                <a:lnTo>
                  <a:pt x="12" y="75"/>
                </a:lnTo>
                <a:lnTo>
                  <a:pt x="12" y="75"/>
                </a:lnTo>
                <a:lnTo>
                  <a:pt x="6" y="75"/>
                </a:lnTo>
                <a:lnTo>
                  <a:pt x="3" y="75"/>
                </a:lnTo>
                <a:lnTo>
                  <a:pt x="3" y="72"/>
                </a:lnTo>
                <a:lnTo>
                  <a:pt x="0" y="62"/>
                </a:lnTo>
                <a:lnTo>
                  <a:pt x="0" y="59"/>
                </a:lnTo>
                <a:lnTo>
                  <a:pt x="3" y="56"/>
                </a:lnTo>
                <a:lnTo>
                  <a:pt x="3" y="53"/>
                </a:lnTo>
                <a:lnTo>
                  <a:pt x="6" y="47"/>
                </a:lnTo>
                <a:lnTo>
                  <a:pt x="6" y="37"/>
                </a:lnTo>
                <a:lnTo>
                  <a:pt x="9" y="31"/>
                </a:lnTo>
                <a:lnTo>
                  <a:pt x="12" y="31"/>
                </a:lnTo>
                <a:lnTo>
                  <a:pt x="9" y="28"/>
                </a:lnTo>
                <a:lnTo>
                  <a:pt x="9" y="28"/>
                </a:lnTo>
                <a:lnTo>
                  <a:pt x="9" y="22"/>
                </a:lnTo>
                <a:lnTo>
                  <a:pt x="9" y="18"/>
                </a:lnTo>
                <a:lnTo>
                  <a:pt x="12" y="15"/>
                </a:lnTo>
                <a:lnTo>
                  <a:pt x="18" y="15"/>
                </a:lnTo>
                <a:lnTo>
                  <a:pt x="18" y="15"/>
                </a:lnTo>
                <a:lnTo>
                  <a:pt x="18" y="12"/>
                </a:lnTo>
                <a:lnTo>
                  <a:pt x="18" y="9"/>
                </a:lnTo>
                <a:lnTo>
                  <a:pt x="22" y="9"/>
                </a:lnTo>
                <a:lnTo>
                  <a:pt x="25" y="9"/>
                </a:lnTo>
                <a:lnTo>
                  <a:pt x="28" y="9"/>
                </a:lnTo>
                <a:lnTo>
                  <a:pt x="28" y="6"/>
                </a:lnTo>
                <a:lnTo>
                  <a:pt x="34" y="6"/>
                </a:lnTo>
                <a:lnTo>
                  <a:pt x="37" y="3"/>
                </a:lnTo>
                <a:lnTo>
                  <a:pt x="37" y="0"/>
                </a:lnTo>
                <a:lnTo>
                  <a:pt x="37" y="0"/>
                </a:lnTo>
                <a:lnTo>
                  <a:pt x="43" y="3"/>
                </a:lnTo>
                <a:lnTo>
                  <a:pt x="53" y="25"/>
                </a:lnTo>
                <a:lnTo>
                  <a:pt x="53" y="40"/>
                </a:lnTo>
                <a:lnTo>
                  <a:pt x="56" y="40"/>
                </a:lnTo>
                <a:lnTo>
                  <a:pt x="56" y="47"/>
                </a:lnTo>
                <a:lnTo>
                  <a:pt x="56" y="47"/>
                </a:lnTo>
                <a:lnTo>
                  <a:pt x="59" y="47"/>
                </a:lnTo>
                <a:lnTo>
                  <a:pt x="62" y="53"/>
                </a:lnTo>
                <a:lnTo>
                  <a:pt x="62" y="59"/>
                </a:lnTo>
                <a:lnTo>
                  <a:pt x="65" y="59"/>
                </a:lnTo>
                <a:lnTo>
                  <a:pt x="65" y="53"/>
                </a:lnTo>
                <a:lnTo>
                  <a:pt x="65" y="53"/>
                </a:lnTo>
                <a:lnTo>
                  <a:pt x="65" y="50"/>
                </a:lnTo>
                <a:lnTo>
                  <a:pt x="65" y="50"/>
                </a:lnTo>
                <a:lnTo>
                  <a:pt x="68" y="53"/>
                </a:lnTo>
                <a:lnTo>
                  <a:pt x="68" y="56"/>
                </a:lnTo>
                <a:lnTo>
                  <a:pt x="72" y="59"/>
                </a:lnTo>
                <a:lnTo>
                  <a:pt x="75" y="62"/>
                </a:lnTo>
                <a:lnTo>
                  <a:pt x="75" y="62"/>
                </a:lnTo>
                <a:lnTo>
                  <a:pt x="78" y="62"/>
                </a:lnTo>
                <a:lnTo>
                  <a:pt x="81" y="62"/>
                </a:lnTo>
                <a:lnTo>
                  <a:pt x="81" y="62"/>
                </a:lnTo>
                <a:lnTo>
                  <a:pt x="87" y="65"/>
                </a:lnTo>
                <a:lnTo>
                  <a:pt x="87" y="69"/>
                </a:lnTo>
                <a:lnTo>
                  <a:pt x="93" y="69"/>
                </a:lnTo>
                <a:lnTo>
                  <a:pt x="93" y="72"/>
                </a:lnTo>
                <a:lnTo>
                  <a:pt x="100" y="78"/>
                </a:lnTo>
                <a:lnTo>
                  <a:pt x="103" y="84"/>
                </a:lnTo>
                <a:lnTo>
                  <a:pt x="109" y="84"/>
                </a:lnTo>
                <a:lnTo>
                  <a:pt x="112" y="87"/>
                </a:lnTo>
                <a:lnTo>
                  <a:pt x="112" y="87"/>
                </a:lnTo>
                <a:lnTo>
                  <a:pt x="112" y="87"/>
                </a:lnTo>
                <a:lnTo>
                  <a:pt x="115" y="90"/>
                </a:lnTo>
                <a:lnTo>
                  <a:pt x="118" y="97"/>
                </a:lnTo>
                <a:lnTo>
                  <a:pt x="118" y="97"/>
                </a:lnTo>
                <a:lnTo>
                  <a:pt x="122" y="103"/>
                </a:lnTo>
                <a:lnTo>
                  <a:pt x="122" y="103"/>
                </a:lnTo>
                <a:lnTo>
                  <a:pt x="125" y="106"/>
                </a:lnTo>
                <a:lnTo>
                  <a:pt x="125" y="106"/>
                </a:lnTo>
                <a:lnTo>
                  <a:pt x="128" y="106"/>
                </a:lnTo>
                <a:lnTo>
                  <a:pt x="128" y="106"/>
                </a:lnTo>
                <a:lnTo>
                  <a:pt x="131" y="106"/>
                </a:lnTo>
                <a:lnTo>
                  <a:pt x="131" y="109"/>
                </a:lnTo>
                <a:lnTo>
                  <a:pt x="128" y="112"/>
                </a:lnTo>
                <a:lnTo>
                  <a:pt x="125" y="112"/>
                </a:lnTo>
                <a:lnTo>
                  <a:pt x="122" y="115"/>
                </a:lnTo>
                <a:lnTo>
                  <a:pt x="118" y="115"/>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9" name="Freeform 107">
            <a:extLst>
              <a:ext uri="{FF2B5EF4-FFF2-40B4-BE49-F238E27FC236}">
                <a16:creationId xmlns:a16="http://schemas.microsoft.com/office/drawing/2014/main" id="{6C5E7DDC-1570-0808-97E9-35745D32FDAF}"/>
              </a:ext>
            </a:extLst>
          </p:cNvPr>
          <p:cNvSpPr>
            <a:spLocks/>
          </p:cNvSpPr>
          <p:nvPr userDrawn="1"/>
        </p:nvSpPr>
        <p:spPr bwMode="auto">
          <a:xfrm>
            <a:off x="15769196" y="8581309"/>
            <a:ext cx="98420" cy="111126"/>
          </a:xfrm>
          <a:custGeom>
            <a:avLst/>
            <a:gdLst>
              <a:gd name="T0" fmla="*/ 25 w 31"/>
              <a:gd name="T1" fmla="*/ 31 h 35"/>
              <a:gd name="T2" fmla="*/ 19 w 31"/>
              <a:gd name="T3" fmla="*/ 31 h 35"/>
              <a:gd name="T4" fmla="*/ 16 w 31"/>
              <a:gd name="T5" fmla="*/ 31 h 35"/>
              <a:gd name="T6" fmla="*/ 9 w 31"/>
              <a:gd name="T7" fmla="*/ 35 h 35"/>
              <a:gd name="T8" fmla="*/ 3 w 31"/>
              <a:gd name="T9" fmla="*/ 35 h 35"/>
              <a:gd name="T10" fmla="*/ 0 w 31"/>
              <a:gd name="T11" fmla="*/ 31 h 35"/>
              <a:gd name="T12" fmla="*/ 3 w 31"/>
              <a:gd name="T13" fmla="*/ 28 h 35"/>
              <a:gd name="T14" fmla="*/ 3 w 31"/>
              <a:gd name="T15" fmla="*/ 25 h 35"/>
              <a:gd name="T16" fmla="*/ 6 w 31"/>
              <a:gd name="T17" fmla="*/ 22 h 35"/>
              <a:gd name="T18" fmla="*/ 6 w 31"/>
              <a:gd name="T19" fmla="*/ 16 h 35"/>
              <a:gd name="T20" fmla="*/ 6 w 31"/>
              <a:gd name="T21" fmla="*/ 13 h 35"/>
              <a:gd name="T22" fmla="*/ 9 w 31"/>
              <a:gd name="T23" fmla="*/ 6 h 35"/>
              <a:gd name="T24" fmla="*/ 16 w 31"/>
              <a:gd name="T25" fmla="*/ 6 h 35"/>
              <a:gd name="T26" fmla="*/ 19 w 31"/>
              <a:gd name="T27" fmla="*/ 3 h 35"/>
              <a:gd name="T28" fmla="*/ 22 w 31"/>
              <a:gd name="T29" fmla="*/ 3 h 35"/>
              <a:gd name="T30" fmla="*/ 25 w 31"/>
              <a:gd name="T31" fmla="*/ 0 h 35"/>
              <a:gd name="T32" fmla="*/ 25 w 31"/>
              <a:gd name="T33" fmla="*/ 0 h 35"/>
              <a:gd name="T34" fmla="*/ 25 w 31"/>
              <a:gd name="T35" fmla="*/ 0 h 35"/>
              <a:gd name="T36" fmla="*/ 28 w 31"/>
              <a:gd name="T37" fmla="*/ 3 h 35"/>
              <a:gd name="T38" fmla="*/ 31 w 31"/>
              <a:gd name="T39" fmla="*/ 3 h 35"/>
              <a:gd name="T40" fmla="*/ 31 w 31"/>
              <a:gd name="T41" fmla="*/ 6 h 35"/>
              <a:gd name="T42" fmla="*/ 31 w 31"/>
              <a:gd name="T43" fmla="*/ 13 h 35"/>
              <a:gd name="T44" fmla="*/ 28 w 31"/>
              <a:gd name="T45" fmla="*/ 13 h 35"/>
              <a:gd name="T46" fmla="*/ 25 w 31"/>
              <a:gd name="T47" fmla="*/ 19 h 35"/>
              <a:gd name="T48" fmla="*/ 22 w 31"/>
              <a:gd name="T49" fmla="*/ 19 h 35"/>
              <a:gd name="T50" fmla="*/ 22 w 31"/>
              <a:gd name="T51" fmla="*/ 22 h 35"/>
              <a:gd name="T52" fmla="*/ 16 w 31"/>
              <a:gd name="T53" fmla="*/ 22 h 35"/>
              <a:gd name="T54" fmla="*/ 19 w 31"/>
              <a:gd name="T55" fmla="*/ 22 h 35"/>
              <a:gd name="T56" fmla="*/ 19 w 31"/>
              <a:gd name="T57" fmla="*/ 22 h 35"/>
              <a:gd name="T58" fmla="*/ 22 w 31"/>
              <a:gd name="T59" fmla="*/ 22 h 35"/>
              <a:gd name="T60" fmla="*/ 28 w 31"/>
              <a:gd name="T61" fmla="*/ 22 h 35"/>
              <a:gd name="T62" fmla="*/ 28 w 31"/>
              <a:gd name="T63" fmla="*/ 22 h 35"/>
              <a:gd name="T64" fmla="*/ 25 w 31"/>
              <a:gd name="T65" fmla="*/ 31 h 35"/>
              <a:gd name="T66" fmla="*/ 25 w 31"/>
              <a:gd name="T67"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 h="35">
                <a:moveTo>
                  <a:pt x="25" y="31"/>
                </a:moveTo>
                <a:lnTo>
                  <a:pt x="19" y="31"/>
                </a:lnTo>
                <a:lnTo>
                  <a:pt x="16" y="31"/>
                </a:lnTo>
                <a:lnTo>
                  <a:pt x="9" y="35"/>
                </a:lnTo>
                <a:lnTo>
                  <a:pt x="3" y="35"/>
                </a:lnTo>
                <a:lnTo>
                  <a:pt x="0" y="31"/>
                </a:lnTo>
                <a:lnTo>
                  <a:pt x="3" y="28"/>
                </a:lnTo>
                <a:lnTo>
                  <a:pt x="3" y="25"/>
                </a:lnTo>
                <a:lnTo>
                  <a:pt x="6" y="22"/>
                </a:lnTo>
                <a:lnTo>
                  <a:pt x="6" y="16"/>
                </a:lnTo>
                <a:lnTo>
                  <a:pt x="6" y="13"/>
                </a:lnTo>
                <a:lnTo>
                  <a:pt x="9" y="6"/>
                </a:lnTo>
                <a:lnTo>
                  <a:pt x="16" y="6"/>
                </a:lnTo>
                <a:lnTo>
                  <a:pt x="19" y="3"/>
                </a:lnTo>
                <a:lnTo>
                  <a:pt x="22" y="3"/>
                </a:lnTo>
                <a:lnTo>
                  <a:pt x="25" y="0"/>
                </a:lnTo>
                <a:lnTo>
                  <a:pt x="25" y="0"/>
                </a:lnTo>
                <a:lnTo>
                  <a:pt x="25" y="0"/>
                </a:lnTo>
                <a:lnTo>
                  <a:pt x="28" y="3"/>
                </a:lnTo>
                <a:lnTo>
                  <a:pt x="31" y="3"/>
                </a:lnTo>
                <a:lnTo>
                  <a:pt x="31" y="6"/>
                </a:lnTo>
                <a:lnTo>
                  <a:pt x="31" y="13"/>
                </a:lnTo>
                <a:lnTo>
                  <a:pt x="28" y="13"/>
                </a:lnTo>
                <a:lnTo>
                  <a:pt x="25" y="19"/>
                </a:lnTo>
                <a:lnTo>
                  <a:pt x="22" y="19"/>
                </a:lnTo>
                <a:lnTo>
                  <a:pt x="22" y="22"/>
                </a:lnTo>
                <a:lnTo>
                  <a:pt x="16" y="22"/>
                </a:lnTo>
                <a:lnTo>
                  <a:pt x="19" y="22"/>
                </a:lnTo>
                <a:lnTo>
                  <a:pt x="19" y="22"/>
                </a:lnTo>
                <a:lnTo>
                  <a:pt x="22" y="22"/>
                </a:lnTo>
                <a:lnTo>
                  <a:pt x="28" y="22"/>
                </a:lnTo>
                <a:lnTo>
                  <a:pt x="28" y="22"/>
                </a:lnTo>
                <a:lnTo>
                  <a:pt x="25" y="31"/>
                </a:lnTo>
                <a:lnTo>
                  <a:pt x="25" y="31"/>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0" name="Freeform 108">
            <a:extLst>
              <a:ext uri="{FF2B5EF4-FFF2-40B4-BE49-F238E27FC236}">
                <a16:creationId xmlns:a16="http://schemas.microsoft.com/office/drawing/2014/main" id="{D33FA7C1-8373-6F3E-717F-3BC291EFAC19}"/>
              </a:ext>
            </a:extLst>
          </p:cNvPr>
          <p:cNvSpPr>
            <a:spLocks/>
          </p:cNvSpPr>
          <p:nvPr userDrawn="1"/>
        </p:nvSpPr>
        <p:spPr bwMode="auto">
          <a:xfrm>
            <a:off x="15727923" y="8622583"/>
            <a:ext cx="647660" cy="854078"/>
          </a:xfrm>
          <a:custGeom>
            <a:avLst/>
            <a:gdLst>
              <a:gd name="T0" fmla="*/ 22 w 204"/>
              <a:gd name="T1" fmla="*/ 156 h 269"/>
              <a:gd name="T2" fmla="*/ 38 w 204"/>
              <a:gd name="T3" fmla="*/ 150 h 269"/>
              <a:gd name="T4" fmla="*/ 50 w 204"/>
              <a:gd name="T5" fmla="*/ 140 h 269"/>
              <a:gd name="T6" fmla="*/ 69 w 204"/>
              <a:gd name="T7" fmla="*/ 137 h 269"/>
              <a:gd name="T8" fmla="*/ 116 w 204"/>
              <a:gd name="T9" fmla="*/ 78 h 269"/>
              <a:gd name="T10" fmla="*/ 47 w 204"/>
              <a:gd name="T11" fmla="*/ 53 h 269"/>
              <a:gd name="T12" fmla="*/ 41 w 204"/>
              <a:gd name="T13" fmla="*/ 40 h 269"/>
              <a:gd name="T14" fmla="*/ 38 w 204"/>
              <a:gd name="T15" fmla="*/ 18 h 269"/>
              <a:gd name="T16" fmla="*/ 44 w 204"/>
              <a:gd name="T17" fmla="*/ 12 h 269"/>
              <a:gd name="T18" fmla="*/ 60 w 204"/>
              <a:gd name="T19" fmla="*/ 31 h 269"/>
              <a:gd name="T20" fmla="*/ 75 w 204"/>
              <a:gd name="T21" fmla="*/ 34 h 269"/>
              <a:gd name="T22" fmla="*/ 85 w 204"/>
              <a:gd name="T23" fmla="*/ 28 h 269"/>
              <a:gd name="T24" fmla="*/ 94 w 204"/>
              <a:gd name="T25" fmla="*/ 25 h 269"/>
              <a:gd name="T26" fmla="*/ 107 w 204"/>
              <a:gd name="T27" fmla="*/ 25 h 269"/>
              <a:gd name="T28" fmla="*/ 125 w 204"/>
              <a:gd name="T29" fmla="*/ 18 h 269"/>
              <a:gd name="T30" fmla="*/ 138 w 204"/>
              <a:gd name="T31" fmla="*/ 18 h 269"/>
              <a:gd name="T32" fmla="*/ 154 w 204"/>
              <a:gd name="T33" fmla="*/ 15 h 269"/>
              <a:gd name="T34" fmla="*/ 169 w 204"/>
              <a:gd name="T35" fmla="*/ 12 h 269"/>
              <a:gd name="T36" fmla="*/ 175 w 204"/>
              <a:gd name="T37" fmla="*/ 9 h 269"/>
              <a:gd name="T38" fmla="*/ 185 w 204"/>
              <a:gd name="T39" fmla="*/ 6 h 269"/>
              <a:gd name="T40" fmla="*/ 188 w 204"/>
              <a:gd name="T41" fmla="*/ 0 h 269"/>
              <a:gd name="T42" fmla="*/ 194 w 204"/>
              <a:gd name="T43" fmla="*/ 3 h 269"/>
              <a:gd name="T44" fmla="*/ 200 w 204"/>
              <a:gd name="T45" fmla="*/ 3 h 269"/>
              <a:gd name="T46" fmla="*/ 197 w 204"/>
              <a:gd name="T47" fmla="*/ 12 h 269"/>
              <a:gd name="T48" fmla="*/ 200 w 204"/>
              <a:gd name="T49" fmla="*/ 18 h 269"/>
              <a:gd name="T50" fmla="*/ 197 w 204"/>
              <a:gd name="T51" fmla="*/ 25 h 269"/>
              <a:gd name="T52" fmla="*/ 197 w 204"/>
              <a:gd name="T53" fmla="*/ 34 h 269"/>
              <a:gd name="T54" fmla="*/ 200 w 204"/>
              <a:gd name="T55" fmla="*/ 31 h 269"/>
              <a:gd name="T56" fmla="*/ 200 w 204"/>
              <a:gd name="T57" fmla="*/ 34 h 269"/>
              <a:gd name="T58" fmla="*/ 194 w 204"/>
              <a:gd name="T59" fmla="*/ 40 h 269"/>
              <a:gd name="T60" fmla="*/ 194 w 204"/>
              <a:gd name="T61" fmla="*/ 50 h 269"/>
              <a:gd name="T62" fmla="*/ 182 w 204"/>
              <a:gd name="T63" fmla="*/ 75 h 269"/>
              <a:gd name="T64" fmla="*/ 172 w 204"/>
              <a:gd name="T65" fmla="*/ 81 h 269"/>
              <a:gd name="T66" fmla="*/ 172 w 204"/>
              <a:gd name="T67" fmla="*/ 87 h 269"/>
              <a:gd name="T68" fmla="*/ 154 w 204"/>
              <a:gd name="T69" fmla="*/ 125 h 269"/>
              <a:gd name="T70" fmla="*/ 138 w 204"/>
              <a:gd name="T71" fmla="*/ 153 h 269"/>
              <a:gd name="T72" fmla="*/ 100 w 204"/>
              <a:gd name="T73" fmla="*/ 191 h 269"/>
              <a:gd name="T74" fmla="*/ 79 w 204"/>
              <a:gd name="T75" fmla="*/ 203 h 269"/>
              <a:gd name="T76" fmla="*/ 57 w 204"/>
              <a:gd name="T77" fmla="*/ 222 h 269"/>
              <a:gd name="T78" fmla="*/ 41 w 204"/>
              <a:gd name="T79" fmla="*/ 241 h 269"/>
              <a:gd name="T80" fmla="*/ 32 w 204"/>
              <a:gd name="T81" fmla="*/ 250 h 269"/>
              <a:gd name="T82" fmla="*/ 0 w 204"/>
              <a:gd name="T83" fmla="*/ 256 h 269"/>
              <a:gd name="T84" fmla="*/ 19 w 204"/>
              <a:gd name="T85" fmla="*/ 15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4" h="269">
                <a:moveTo>
                  <a:pt x="19" y="159"/>
                </a:moveTo>
                <a:lnTo>
                  <a:pt x="19" y="159"/>
                </a:lnTo>
                <a:lnTo>
                  <a:pt x="22" y="156"/>
                </a:lnTo>
                <a:lnTo>
                  <a:pt x="29" y="153"/>
                </a:lnTo>
                <a:lnTo>
                  <a:pt x="35" y="153"/>
                </a:lnTo>
                <a:lnTo>
                  <a:pt x="38" y="150"/>
                </a:lnTo>
                <a:lnTo>
                  <a:pt x="44" y="147"/>
                </a:lnTo>
                <a:lnTo>
                  <a:pt x="44" y="144"/>
                </a:lnTo>
                <a:lnTo>
                  <a:pt x="50" y="140"/>
                </a:lnTo>
                <a:lnTo>
                  <a:pt x="54" y="140"/>
                </a:lnTo>
                <a:lnTo>
                  <a:pt x="57" y="137"/>
                </a:lnTo>
                <a:lnTo>
                  <a:pt x="69" y="137"/>
                </a:lnTo>
                <a:lnTo>
                  <a:pt x="82" y="137"/>
                </a:lnTo>
                <a:lnTo>
                  <a:pt x="141" y="78"/>
                </a:lnTo>
                <a:lnTo>
                  <a:pt x="116" y="78"/>
                </a:lnTo>
                <a:lnTo>
                  <a:pt x="60" y="59"/>
                </a:lnTo>
                <a:lnTo>
                  <a:pt x="54" y="56"/>
                </a:lnTo>
                <a:lnTo>
                  <a:pt x="47" y="53"/>
                </a:lnTo>
                <a:lnTo>
                  <a:pt x="44" y="50"/>
                </a:lnTo>
                <a:lnTo>
                  <a:pt x="44" y="43"/>
                </a:lnTo>
                <a:lnTo>
                  <a:pt x="41" y="40"/>
                </a:lnTo>
                <a:lnTo>
                  <a:pt x="38" y="28"/>
                </a:lnTo>
                <a:lnTo>
                  <a:pt x="35" y="22"/>
                </a:lnTo>
                <a:lnTo>
                  <a:pt x="38" y="18"/>
                </a:lnTo>
                <a:lnTo>
                  <a:pt x="41" y="9"/>
                </a:lnTo>
                <a:lnTo>
                  <a:pt x="44" y="12"/>
                </a:lnTo>
                <a:lnTo>
                  <a:pt x="44" y="12"/>
                </a:lnTo>
                <a:lnTo>
                  <a:pt x="57" y="28"/>
                </a:lnTo>
                <a:lnTo>
                  <a:pt x="57" y="28"/>
                </a:lnTo>
                <a:lnTo>
                  <a:pt x="60" y="31"/>
                </a:lnTo>
                <a:lnTo>
                  <a:pt x="63" y="34"/>
                </a:lnTo>
                <a:lnTo>
                  <a:pt x="69" y="34"/>
                </a:lnTo>
                <a:lnTo>
                  <a:pt x="75" y="34"/>
                </a:lnTo>
                <a:lnTo>
                  <a:pt x="75" y="34"/>
                </a:lnTo>
                <a:lnTo>
                  <a:pt x="82" y="31"/>
                </a:lnTo>
                <a:lnTo>
                  <a:pt x="85" y="28"/>
                </a:lnTo>
                <a:lnTo>
                  <a:pt x="91" y="25"/>
                </a:lnTo>
                <a:lnTo>
                  <a:pt x="94" y="25"/>
                </a:lnTo>
                <a:lnTo>
                  <a:pt x="94" y="25"/>
                </a:lnTo>
                <a:lnTo>
                  <a:pt x="100" y="25"/>
                </a:lnTo>
                <a:lnTo>
                  <a:pt x="100" y="25"/>
                </a:lnTo>
                <a:lnTo>
                  <a:pt x="107" y="25"/>
                </a:lnTo>
                <a:lnTo>
                  <a:pt x="110" y="25"/>
                </a:lnTo>
                <a:lnTo>
                  <a:pt x="122" y="18"/>
                </a:lnTo>
                <a:lnTo>
                  <a:pt x="125" y="18"/>
                </a:lnTo>
                <a:lnTo>
                  <a:pt x="132" y="18"/>
                </a:lnTo>
                <a:lnTo>
                  <a:pt x="135" y="18"/>
                </a:lnTo>
                <a:lnTo>
                  <a:pt x="138" y="18"/>
                </a:lnTo>
                <a:lnTo>
                  <a:pt x="144" y="15"/>
                </a:lnTo>
                <a:lnTo>
                  <a:pt x="150" y="15"/>
                </a:lnTo>
                <a:lnTo>
                  <a:pt x="154" y="15"/>
                </a:lnTo>
                <a:lnTo>
                  <a:pt x="154" y="15"/>
                </a:lnTo>
                <a:lnTo>
                  <a:pt x="163" y="15"/>
                </a:lnTo>
                <a:lnTo>
                  <a:pt x="169" y="12"/>
                </a:lnTo>
                <a:lnTo>
                  <a:pt x="172" y="12"/>
                </a:lnTo>
                <a:lnTo>
                  <a:pt x="175" y="12"/>
                </a:lnTo>
                <a:lnTo>
                  <a:pt x="175" y="9"/>
                </a:lnTo>
                <a:lnTo>
                  <a:pt x="182" y="9"/>
                </a:lnTo>
                <a:lnTo>
                  <a:pt x="185" y="6"/>
                </a:lnTo>
                <a:lnTo>
                  <a:pt x="185" y="6"/>
                </a:lnTo>
                <a:lnTo>
                  <a:pt x="188" y="3"/>
                </a:lnTo>
                <a:lnTo>
                  <a:pt x="188" y="3"/>
                </a:lnTo>
                <a:lnTo>
                  <a:pt x="188" y="0"/>
                </a:lnTo>
                <a:lnTo>
                  <a:pt x="191" y="3"/>
                </a:lnTo>
                <a:lnTo>
                  <a:pt x="191" y="0"/>
                </a:lnTo>
                <a:lnTo>
                  <a:pt x="194" y="3"/>
                </a:lnTo>
                <a:lnTo>
                  <a:pt x="197" y="3"/>
                </a:lnTo>
                <a:lnTo>
                  <a:pt x="200" y="3"/>
                </a:lnTo>
                <a:lnTo>
                  <a:pt x="200" y="3"/>
                </a:lnTo>
                <a:lnTo>
                  <a:pt x="200" y="6"/>
                </a:lnTo>
                <a:lnTo>
                  <a:pt x="197" y="9"/>
                </a:lnTo>
                <a:lnTo>
                  <a:pt x="197" y="12"/>
                </a:lnTo>
                <a:lnTo>
                  <a:pt x="197" y="15"/>
                </a:lnTo>
                <a:lnTo>
                  <a:pt x="197" y="18"/>
                </a:lnTo>
                <a:lnTo>
                  <a:pt x="200" y="18"/>
                </a:lnTo>
                <a:lnTo>
                  <a:pt x="200" y="18"/>
                </a:lnTo>
                <a:lnTo>
                  <a:pt x="197" y="22"/>
                </a:lnTo>
                <a:lnTo>
                  <a:pt x="197" y="25"/>
                </a:lnTo>
                <a:lnTo>
                  <a:pt x="197" y="28"/>
                </a:lnTo>
                <a:lnTo>
                  <a:pt x="200" y="31"/>
                </a:lnTo>
                <a:lnTo>
                  <a:pt x="197" y="34"/>
                </a:lnTo>
                <a:lnTo>
                  <a:pt x="200" y="34"/>
                </a:lnTo>
                <a:lnTo>
                  <a:pt x="200" y="31"/>
                </a:lnTo>
                <a:lnTo>
                  <a:pt x="200" y="31"/>
                </a:lnTo>
                <a:lnTo>
                  <a:pt x="204" y="34"/>
                </a:lnTo>
                <a:lnTo>
                  <a:pt x="200" y="34"/>
                </a:lnTo>
                <a:lnTo>
                  <a:pt x="200" y="34"/>
                </a:lnTo>
                <a:lnTo>
                  <a:pt x="197" y="34"/>
                </a:lnTo>
                <a:lnTo>
                  <a:pt x="197" y="34"/>
                </a:lnTo>
                <a:lnTo>
                  <a:pt x="194" y="40"/>
                </a:lnTo>
                <a:lnTo>
                  <a:pt x="194" y="43"/>
                </a:lnTo>
                <a:lnTo>
                  <a:pt x="194" y="47"/>
                </a:lnTo>
                <a:lnTo>
                  <a:pt x="194" y="50"/>
                </a:lnTo>
                <a:lnTo>
                  <a:pt x="194" y="53"/>
                </a:lnTo>
                <a:lnTo>
                  <a:pt x="188" y="62"/>
                </a:lnTo>
                <a:lnTo>
                  <a:pt x="182" y="75"/>
                </a:lnTo>
                <a:lnTo>
                  <a:pt x="179" y="78"/>
                </a:lnTo>
                <a:lnTo>
                  <a:pt x="179" y="78"/>
                </a:lnTo>
                <a:lnTo>
                  <a:pt x="172" y="81"/>
                </a:lnTo>
                <a:lnTo>
                  <a:pt x="172" y="84"/>
                </a:lnTo>
                <a:lnTo>
                  <a:pt x="175" y="87"/>
                </a:lnTo>
                <a:lnTo>
                  <a:pt x="172" y="87"/>
                </a:lnTo>
                <a:lnTo>
                  <a:pt x="160" y="109"/>
                </a:lnTo>
                <a:lnTo>
                  <a:pt x="160" y="115"/>
                </a:lnTo>
                <a:lnTo>
                  <a:pt x="154" y="125"/>
                </a:lnTo>
                <a:lnTo>
                  <a:pt x="154" y="128"/>
                </a:lnTo>
                <a:lnTo>
                  <a:pt x="141" y="147"/>
                </a:lnTo>
                <a:lnTo>
                  <a:pt x="138" y="153"/>
                </a:lnTo>
                <a:lnTo>
                  <a:pt x="132" y="159"/>
                </a:lnTo>
                <a:lnTo>
                  <a:pt x="122" y="172"/>
                </a:lnTo>
                <a:lnTo>
                  <a:pt x="100" y="191"/>
                </a:lnTo>
                <a:lnTo>
                  <a:pt x="91" y="197"/>
                </a:lnTo>
                <a:lnTo>
                  <a:pt x="85" y="200"/>
                </a:lnTo>
                <a:lnTo>
                  <a:pt x="79" y="203"/>
                </a:lnTo>
                <a:lnTo>
                  <a:pt x="72" y="209"/>
                </a:lnTo>
                <a:lnTo>
                  <a:pt x="60" y="222"/>
                </a:lnTo>
                <a:lnTo>
                  <a:pt x="57" y="222"/>
                </a:lnTo>
                <a:lnTo>
                  <a:pt x="44" y="234"/>
                </a:lnTo>
                <a:lnTo>
                  <a:pt x="44" y="237"/>
                </a:lnTo>
                <a:lnTo>
                  <a:pt x="41" y="241"/>
                </a:lnTo>
                <a:lnTo>
                  <a:pt x="38" y="241"/>
                </a:lnTo>
                <a:lnTo>
                  <a:pt x="32" y="244"/>
                </a:lnTo>
                <a:lnTo>
                  <a:pt x="32" y="250"/>
                </a:lnTo>
                <a:lnTo>
                  <a:pt x="16" y="266"/>
                </a:lnTo>
                <a:lnTo>
                  <a:pt x="16" y="269"/>
                </a:lnTo>
                <a:lnTo>
                  <a:pt x="0" y="256"/>
                </a:lnTo>
                <a:lnTo>
                  <a:pt x="0" y="178"/>
                </a:lnTo>
                <a:lnTo>
                  <a:pt x="19" y="159"/>
                </a:lnTo>
                <a:lnTo>
                  <a:pt x="19" y="15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1" name="Freeform 109">
            <a:extLst>
              <a:ext uri="{FF2B5EF4-FFF2-40B4-BE49-F238E27FC236}">
                <a16:creationId xmlns:a16="http://schemas.microsoft.com/office/drawing/2014/main" id="{03582BF7-9EC8-C967-E3A8-F7D8EE4EBBC9}"/>
              </a:ext>
            </a:extLst>
          </p:cNvPr>
          <p:cNvSpPr>
            <a:spLocks noEditPoints="1"/>
          </p:cNvSpPr>
          <p:nvPr userDrawn="1"/>
        </p:nvSpPr>
        <p:spPr bwMode="auto">
          <a:xfrm>
            <a:off x="15134240" y="9028982"/>
            <a:ext cx="654007" cy="635000"/>
          </a:xfrm>
          <a:custGeom>
            <a:avLst/>
            <a:gdLst>
              <a:gd name="T0" fmla="*/ 53 w 206"/>
              <a:gd name="T1" fmla="*/ 22 h 200"/>
              <a:gd name="T2" fmla="*/ 56 w 206"/>
              <a:gd name="T3" fmla="*/ 19 h 200"/>
              <a:gd name="T4" fmla="*/ 62 w 206"/>
              <a:gd name="T5" fmla="*/ 16 h 200"/>
              <a:gd name="T6" fmla="*/ 75 w 206"/>
              <a:gd name="T7" fmla="*/ 0 h 200"/>
              <a:gd name="T8" fmla="*/ 81 w 206"/>
              <a:gd name="T9" fmla="*/ 3 h 200"/>
              <a:gd name="T10" fmla="*/ 84 w 206"/>
              <a:gd name="T11" fmla="*/ 16 h 200"/>
              <a:gd name="T12" fmla="*/ 91 w 206"/>
              <a:gd name="T13" fmla="*/ 22 h 200"/>
              <a:gd name="T14" fmla="*/ 100 w 206"/>
              <a:gd name="T15" fmla="*/ 19 h 200"/>
              <a:gd name="T16" fmla="*/ 116 w 206"/>
              <a:gd name="T17" fmla="*/ 22 h 200"/>
              <a:gd name="T18" fmla="*/ 128 w 206"/>
              <a:gd name="T19" fmla="*/ 34 h 200"/>
              <a:gd name="T20" fmla="*/ 134 w 206"/>
              <a:gd name="T21" fmla="*/ 37 h 200"/>
              <a:gd name="T22" fmla="*/ 144 w 206"/>
              <a:gd name="T23" fmla="*/ 41 h 200"/>
              <a:gd name="T24" fmla="*/ 153 w 206"/>
              <a:gd name="T25" fmla="*/ 41 h 200"/>
              <a:gd name="T26" fmla="*/ 159 w 206"/>
              <a:gd name="T27" fmla="*/ 41 h 200"/>
              <a:gd name="T28" fmla="*/ 169 w 206"/>
              <a:gd name="T29" fmla="*/ 28 h 200"/>
              <a:gd name="T30" fmla="*/ 175 w 206"/>
              <a:gd name="T31" fmla="*/ 28 h 200"/>
              <a:gd name="T32" fmla="*/ 184 w 206"/>
              <a:gd name="T33" fmla="*/ 25 h 200"/>
              <a:gd name="T34" fmla="*/ 191 w 206"/>
              <a:gd name="T35" fmla="*/ 31 h 200"/>
              <a:gd name="T36" fmla="*/ 200 w 206"/>
              <a:gd name="T37" fmla="*/ 31 h 200"/>
              <a:gd name="T38" fmla="*/ 187 w 206"/>
              <a:gd name="T39" fmla="*/ 50 h 200"/>
              <a:gd name="T40" fmla="*/ 203 w 206"/>
              <a:gd name="T41" fmla="*/ 141 h 200"/>
              <a:gd name="T42" fmla="*/ 194 w 206"/>
              <a:gd name="T43" fmla="*/ 147 h 200"/>
              <a:gd name="T44" fmla="*/ 191 w 206"/>
              <a:gd name="T45" fmla="*/ 150 h 200"/>
              <a:gd name="T46" fmla="*/ 184 w 206"/>
              <a:gd name="T47" fmla="*/ 156 h 200"/>
              <a:gd name="T48" fmla="*/ 175 w 206"/>
              <a:gd name="T49" fmla="*/ 159 h 200"/>
              <a:gd name="T50" fmla="*/ 175 w 206"/>
              <a:gd name="T51" fmla="*/ 163 h 200"/>
              <a:gd name="T52" fmla="*/ 172 w 206"/>
              <a:gd name="T53" fmla="*/ 169 h 200"/>
              <a:gd name="T54" fmla="*/ 169 w 206"/>
              <a:gd name="T55" fmla="*/ 175 h 200"/>
              <a:gd name="T56" fmla="*/ 166 w 206"/>
              <a:gd name="T57" fmla="*/ 181 h 200"/>
              <a:gd name="T58" fmla="*/ 156 w 206"/>
              <a:gd name="T59" fmla="*/ 200 h 200"/>
              <a:gd name="T60" fmla="*/ 150 w 206"/>
              <a:gd name="T61" fmla="*/ 200 h 200"/>
              <a:gd name="T62" fmla="*/ 125 w 206"/>
              <a:gd name="T63" fmla="*/ 181 h 200"/>
              <a:gd name="T64" fmla="*/ 125 w 206"/>
              <a:gd name="T65" fmla="*/ 178 h 200"/>
              <a:gd name="T66" fmla="*/ 47 w 206"/>
              <a:gd name="T67" fmla="*/ 128 h 200"/>
              <a:gd name="T68" fmla="*/ 47 w 206"/>
              <a:gd name="T69" fmla="*/ 109 h 200"/>
              <a:gd name="T70" fmla="*/ 53 w 206"/>
              <a:gd name="T71" fmla="*/ 100 h 200"/>
              <a:gd name="T72" fmla="*/ 56 w 206"/>
              <a:gd name="T73" fmla="*/ 94 h 200"/>
              <a:gd name="T74" fmla="*/ 62 w 206"/>
              <a:gd name="T75" fmla="*/ 88 h 200"/>
              <a:gd name="T76" fmla="*/ 69 w 206"/>
              <a:gd name="T77" fmla="*/ 84 h 200"/>
              <a:gd name="T78" fmla="*/ 69 w 206"/>
              <a:gd name="T79" fmla="*/ 78 h 200"/>
              <a:gd name="T80" fmla="*/ 75 w 206"/>
              <a:gd name="T81" fmla="*/ 69 h 200"/>
              <a:gd name="T82" fmla="*/ 69 w 206"/>
              <a:gd name="T83" fmla="*/ 63 h 200"/>
              <a:gd name="T84" fmla="*/ 69 w 206"/>
              <a:gd name="T85" fmla="*/ 59 h 200"/>
              <a:gd name="T86" fmla="*/ 65 w 206"/>
              <a:gd name="T87" fmla="*/ 50 h 200"/>
              <a:gd name="T88" fmla="*/ 59 w 206"/>
              <a:gd name="T89" fmla="*/ 44 h 200"/>
              <a:gd name="T90" fmla="*/ 56 w 206"/>
              <a:gd name="T91" fmla="*/ 37 h 200"/>
              <a:gd name="T92" fmla="*/ 53 w 206"/>
              <a:gd name="T93" fmla="*/ 34 h 200"/>
              <a:gd name="T94" fmla="*/ 50 w 206"/>
              <a:gd name="T95" fmla="*/ 25 h 200"/>
              <a:gd name="T96" fmla="*/ 50 w 206"/>
              <a:gd name="T97" fmla="*/ 25 h 200"/>
              <a:gd name="T98" fmla="*/ 0 w 206"/>
              <a:gd name="T99" fmla="*/ 131 h 200"/>
              <a:gd name="T100" fmla="*/ 15 w 206"/>
              <a:gd name="T101" fmla="*/ 131 h 200"/>
              <a:gd name="T102" fmla="*/ 0 w 206"/>
              <a:gd name="T103" fmla="*/ 13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6" h="200">
                <a:moveTo>
                  <a:pt x="50" y="25"/>
                </a:moveTo>
                <a:lnTo>
                  <a:pt x="53" y="22"/>
                </a:lnTo>
                <a:lnTo>
                  <a:pt x="56" y="22"/>
                </a:lnTo>
                <a:lnTo>
                  <a:pt x="56" y="19"/>
                </a:lnTo>
                <a:lnTo>
                  <a:pt x="59" y="16"/>
                </a:lnTo>
                <a:lnTo>
                  <a:pt x="62" y="16"/>
                </a:lnTo>
                <a:lnTo>
                  <a:pt x="69" y="9"/>
                </a:lnTo>
                <a:lnTo>
                  <a:pt x="75" y="0"/>
                </a:lnTo>
                <a:lnTo>
                  <a:pt x="78" y="3"/>
                </a:lnTo>
                <a:lnTo>
                  <a:pt x="81" y="3"/>
                </a:lnTo>
                <a:lnTo>
                  <a:pt x="84" y="3"/>
                </a:lnTo>
                <a:lnTo>
                  <a:pt x="84" y="16"/>
                </a:lnTo>
                <a:lnTo>
                  <a:pt x="87" y="19"/>
                </a:lnTo>
                <a:lnTo>
                  <a:pt x="91" y="22"/>
                </a:lnTo>
                <a:lnTo>
                  <a:pt x="97" y="19"/>
                </a:lnTo>
                <a:lnTo>
                  <a:pt x="100" y="19"/>
                </a:lnTo>
                <a:lnTo>
                  <a:pt x="109" y="19"/>
                </a:lnTo>
                <a:lnTo>
                  <a:pt x="116" y="22"/>
                </a:lnTo>
                <a:lnTo>
                  <a:pt x="122" y="28"/>
                </a:lnTo>
                <a:lnTo>
                  <a:pt x="128" y="34"/>
                </a:lnTo>
                <a:lnTo>
                  <a:pt x="131" y="37"/>
                </a:lnTo>
                <a:lnTo>
                  <a:pt x="134" y="37"/>
                </a:lnTo>
                <a:lnTo>
                  <a:pt x="141" y="37"/>
                </a:lnTo>
                <a:lnTo>
                  <a:pt x="144" y="41"/>
                </a:lnTo>
                <a:lnTo>
                  <a:pt x="150" y="37"/>
                </a:lnTo>
                <a:lnTo>
                  <a:pt x="153" y="41"/>
                </a:lnTo>
                <a:lnTo>
                  <a:pt x="156" y="41"/>
                </a:lnTo>
                <a:lnTo>
                  <a:pt x="159" y="41"/>
                </a:lnTo>
                <a:lnTo>
                  <a:pt x="166" y="31"/>
                </a:lnTo>
                <a:lnTo>
                  <a:pt x="169" y="28"/>
                </a:lnTo>
                <a:lnTo>
                  <a:pt x="172" y="28"/>
                </a:lnTo>
                <a:lnTo>
                  <a:pt x="175" y="28"/>
                </a:lnTo>
                <a:lnTo>
                  <a:pt x="175" y="25"/>
                </a:lnTo>
                <a:lnTo>
                  <a:pt x="184" y="25"/>
                </a:lnTo>
                <a:lnTo>
                  <a:pt x="187" y="28"/>
                </a:lnTo>
                <a:lnTo>
                  <a:pt x="191" y="31"/>
                </a:lnTo>
                <a:lnTo>
                  <a:pt x="194" y="31"/>
                </a:lnTo>
                <a:lnTo>
                  <a:pt x="200" y="31"/>
                </a:lnTo>
                <a:lnTo>
                  <a:pt x="206" y="31"/>
                </a:lnTo>
                <a:lnTo>
                  <a:pt x="187" y="50"/>
                </a:lnTo>
                <a:lnTo>
                  <a:pt x="187" y="128"/>
                </a:lnTo>
                <a:lnTo>
                  <a:pt x="203" y="141"/>
                </a:lnTo>
                <a:lnTo>
                  <a:pt x="203" y="141"/>
                </a:lnTo>
                <a:lnTo>
                  <a:pt x="194" y="147"/>
                </a:lnTo>
                <a:lnTo>
                  <a:pt x="194" y="150"/>
                </a:lnTo>
                <a:lnTo>
                  <a:pt x="191" y="150"/>
                </a:lnTo>
                <a:lnTo>
                  <a:pt x="194" y="153"/>
                </a:lnTo>
                <a:lnTo>
                  <a:pt x="184" y="156"/>
                </a:lnTo>
                <a:lnTo>
                  <a:pt x="181" y="159"/>
                </a:lnTo>
                <a:lnTo>
                  <a:pt x="175" y="159"/>
                </a:lnTo>
                <a:lnTo>
                  <a:pt x="175" y="163"/>
                </a:lnTo>
                <a:lnTo>
                  <a:pt x="175" y="163"/>
                </a:lnTo>
                <a:lnTo>
                  <a:pt x="172" y="166"/>
                </a:lnTo>
                <a:lnTo>
                  <a:pt x="172" y="169"/>
                </a:lnTo>
                <a:lnTo>
                  <a:pt x="172" y="169"/>
                </a:lnTo>
                <a:lnTo>
                  <a:pt x="169" y="175"/>
                </a:lnTo>
                <a:lnTo>
                  <a:pt x="166" y="178"/>
                </a:lnTo>
                <a:lnTo>
                  <a:pt x="166" y="181"/>
                </a:lnTo>
                <a:lnTo>
                  <a:pt x="162" y="188"/>
                </a:lnTo>
                <a:lnTo>
                  <a:pt x="156" y="200"/>
                </a:lnTo>
                <a:lnTo>
                  <a:pt x="150" y="200"/>
                </a:lnTo>
                <a:lnTo>
                  <a:pt x="150" y="200"/>
                </a:lnTo>
                <a:lnTo>
                  <a:pt x="125" y="185"/>
                </a:lnTo>
                <a:lnTo>
                  <a:pt x="125" y="181"/>
                </a:lnTo>
                <a:lnTo>
                  <a:pt x="122" y="178"/>
                </a:lnTo>
                <a:lnTo>
                  <a:pt x="125" y="178"/>
                </a:lnTo>
                <a:lnTo>
                  <a:pt x="119" y="172"/>
                </a:lnTo>
                <a:lnTo>
                  <a:pt x="47" y="128"/>
                </a:lnTo>
                <a:lnTo>
                  <a:pt x="44" y="128"/>
                </a:lnTo>
                <a:lnTo>
                  <a:pt x="47" y="109"/>
                </a:lnTo>
                <a:lnTo>
                  <a:pt x="47" y="103"/>
                </a:lnTo>
                <a:lnTo>
                  <a:pt x="53" y="100"/>
                </a:lnTo>
                <a:lnTo>
                  <a:pt x="53" y="97"/>
                </a:lnTo>
                <a:lnTo>
                  <a:pt x="56" y="94"/>
                </a:lnTo>
                <a:lnTo>
                  <a:pt x="59" y="91"/>
                </a:lnTo>
                <a:lnTo>
                  <a:pt x="62" y="88"/>
                </a:lnTo>
                <a:lnTo>
                  <a:pt x="59" y="84"/>
                </a:lnTo>
                <a:lnTo>
                  <a:pt x="69" y="84"/>
                </a:lnTo>
                <a:lnTo>
                  <a:pt x="69" y="81"/>
                </a:lnTo>
                <a:lnTo>
                  <a:pt x="69" y="78"/>
                </a:lnTo>
                <a:lnTo>
                  <a:pt x="75" y="72"/>
                </a:lnTo>
                <a:lnTo>
                  <a:pt x="75" y="69"/>
                </a:lnTo>
                <a:lnTo>
                  <a:pt x="72" y="66"/>
                </a:lnTo>
                <a:lnTo>
                  <a:pt x="69" y="63"/>
                </a:lnTo>
                <a:lnTo>
                  <a:pt x="72" y="59"/>
                </a:lnTo>
                <a:lnTo>
                  <a:pt x="69" y="59"/>
                </a:lnTo>
                <a:lnTo>
                  <a:pt x="65" y="56"/>
                </a:lnTo>
                <a:lnTo>
                  <a:pt x="65" y="50"/>
                </a:lnTo>
                <a:lnTo>
                  <a:pt x="59" y="47"/>
                </a:lnTo>
                <a:lnTo>
                  <a:pt x="59" y="44"/>
                </a:lnTo>
                <a:lnTo>
                  <a:pt x="59" y="37"/>
                </a:lnTo>
                <a:lnTo>
                  <a:pt x="56" y="37"/>
                </a:lnTo>
                <a:lnTo>
                  <a:pt x="56" y="34"/>
                </a:lnTo>
                <a:lnTo>
                  <a:pt x="53" y="34"/>
                </a:lnTo>
                <a:lnTo>
                  <a:pt x="53" y="28"/>
                </a:lnTo>
                <a:lnTo>
                  <a:pt x="50" y="25"/>
                </a:lnTo>
                <a:lnTo>
                  <a:pt x="50" y="25"/>
                </a:lnTo>
                <a:lnTo>
                  <a:pt x="50" y="25"/>
                </a:lnTo>
                <a:lnTo>
                  <a:pt x="50" y="25"/>
                </a:lnTo>
                <a:close/>
                <a:moveTo>
                  <a:pt x="0" y="131"/>
                </a:moveTo>
                <a:lnTo>
                  <a:pt x="6" y="131"/>
                </a:lnTo>
                <a:lnTo>
                  <a:pt x="15" y="131"/>
                </a:lnTo>
                <a:lnTo>
                  <a:pt x="0" y="131"/>
                </a:lnTo>
                <a:lnTo>
                  <a:pt x="0" y="131"/>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2" name="Freeform 110">
            <a:extLst>
              <a:ext uri="{FF2B5EF4-FFF2-40B4-BE49-F238E27FC236}">
                <a16:creationId xmlns:a16="http://schemas.microsoft.com/office/drawing/2014/main" id="{E0EBD3E9-9003-52B9-FA3B-D9676863D9F0}"/>
              </a:ext>
            </a:extLst>
          </p:cNvPr>
          <p:cNvSpPr>
            <a:spLocks/>
          </p:cNvSpPr>
          <p:nvPr userDrawn="1"/>
        </p:nvSpPr>
        <p:spPr bwMode="auto">
          <a:xfrm>
            <a:off x="15004070" y="9108358"/>
            <a:ext cx="368278" cy="358776"/>
          </a:xfrm>
          <a:custGeom>
            <a:avLst/>
            <a:gdLst>
              <a:gd name="T0" fmla="*/ 88 w 116"/>
              <a:gd name="T1" fmla="*/ 78 h 113"/>
              <a:gd name="T2" fmla="*/ 94 w 116"/>
              <a:gd name="T3" fmla="*/ 72 h 113"/>
              <a:gd name="T4" fmla="*/ 100 w 116"/>
              <a:gd name="T5" fmla="*/ 66 h 113"/>
              <a:gd name="T6" fmla="*/ 100 w 116"/>
              <a:gd name="T7" fmla="*/ 59 h 113"/>
              <a:gd name="T8" fmla="*/ 110 w 116"/>
              <a:gd name="T9" fmla="*/ 56 h 113"/>
              <a:gd name="T10" fmla="*/ 116 w 116"/>
              <a:gd name="T11" fmla="*/ 47 h 113"/>
              <a:gd name="T12" fmla="*/ 113 w 116"/>
              <a:gd name="T13" fmla="*/ 41 h 113"/>
              <a:gd name="T14" fmla="*/ 113 w 116"/>
              <a:gd name="T15" fmla="*/ 34 h 113"/>
              <a:gd name="T16" fmla="*/ 106 w 116"/>
              <a:gd name="T17" fmla="*/ 31 h 113"/>
              <a:gd name="T18" fmla="*/ 100 w 116"/>
              <a:gd name="T19" fmla="*/ 22 h 113"/>
              <a:gd name="T20" fmla="*/ 100 w 116"/>
              <a:gd name="T21" fmla="*/ 12 h 113"/>
              <a:gd name="T22" fmla="*/ 97 w 116"/>
              <a:gd name="T23" fmla="*/ 9 h 113"/>
              <a:gd name="T24" fmla="*/ 94 w 116"/>
              <a:gd name="T25" fmla="*/ 3 h 113"/>
              <a:gd name="T26" fmla="*/ 88 w 116"/>
              <a:gd name="T27" fmla="*/ 3 h 113"/>
              <a:gd name="T28" fmla="*/ 81 w 116"/>
              <a:gd name="T29" fmla="*/ 9 h 113"/>
              <a:gd name="T30" fmla="*/ 69 w 116"/>
              <a:gd name="T31" fmla="*/ 9 h 113"/>
              <a:gd name="T32" fmla="*/ 63 w 116"/>
              <a:gd name="T33" fmla="*/ 9 h 113"/>
              <a:gd name="T34" fmla="*/ 56 w 116"/>
              <a:gd name="T35" fmla="*/ 9 h 113"/>
              <a:gd name="T36" fmla="*/ 56 w 116"/>
              <a:gd name="T37" fmla="*/ 16 h 113"/>
              <a:gd name="T38" fmla="*/ 47 w 116"/>
              <a:gd name="T39" fmla="*/ 16 h 113"/>
              <a:gd name="T40" fmla="*/ 44 w 116"/>
              <a:gd name="T41" fmla="*/ 9 h 113"/>
              <a:gd name="T42" fmla="*/ 38 w 116"/>
              <a:gd name="T43" fmla="*/ 9 h 113"/>
              <a:gd name="T44" fmla="*/ 31 w 116"/>
              <a:gd name="T45" fmla="*/ 9 h 113"/>
              <a:gd name="T46" fmla="*/ 31 w 116"/>
              <a:gd name="T47" fmla="*/ 16 h 113"/>
              <a:gd name="T48" fmla="*/ 31 w 116"/>
              <a:gd name="T49" fmla="*/ 16 h 113"/>
              <a:gd name="T50" fmla="*/ 28 w 116"/>
              <a:gd name="T51" fmla="*/ 22 h 113"/>
              <a:gd name="T52" fmla="*/ 25 w 116"/>
              <a:gd name="T53" fmla="*/ 34 h 113"/>
              <a:gd name="T54" fmla="*/ 28 w 116"/>
              <a:gd name="T55" fmla="*/ 41 h 113"/>
              <a:gd name="T56" fmla="*/ 31 w 116"/>
              <a:gd name="T57" fmla="*/ 47 h 113"/>
              <a:gd name="T58" fmla="*/ 22 w 116"/>
              <a:gd name="T59" fmla="*/ 63 h 113"/>
              <a:gd name="T60" fmla="*/ 13 w 116"/>
              <a:gd name="T61" fmla="*/ 72 h 113"/>
              <a:gd name="T62" fmla="*/ 3 w 116"/>
              <a:gd name="T63" fmla="*/ 88 h 113"/>
              <a:gd name="T64" fmla="*/ 3 w 116"/>
              <a:gd name="T65" fmla="*/ 100 h 113"/>
              <a:gd name="T66" fmla="*/ 0 w 116"/>
              <a:gd name="T67" fmla="*/ 113 h 113"/>
              <a:gd name="T68" fmla="*/ 0 w 116"/>
              <a:gd name="T69" fmla="*/ 113 h 113"/>
              <a:gd name="T70" fmla="*/ 10 w 116"/>
              <a:gd name="T71" fmla="*/ 109 h 113"/>
              <a:gd name="T72" fmla="*/ 13 w 116"/>
              <a:gd name="T73" fmla="*/ 113 h 113"/>
              <a:gd name="T74" fmla="*/ 16 w 116"/>
              <a:gd name="T75" fmla="*/ 113 h 113"/>
              <a:gd name="T76" fmla="*/ 19 w 116"/>
              <a:gd name="T77" fmla="*/ 109 h 113"/>
              <a:gd name="T78" fmla="*/ 22 w 116"/>
              <a:gd name="T79" fmla="*/ 106 h 113"/>
              <a:gd name="T80" fmla="*/ 25 w 116"/>
              <a:gd name="T81" fmla="*/ 106 h 113"/>
              <a:gd name="T82" fmla="*/ 41 w 116"/>
              <a:gd name="T83" fmla="*/ 106 h 113"/>
              <a:gd name="T84" fmla="*/ 85 w 116"/>
              <a:gd name="T85" fmla="*/ 10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6" h="113">
                <a:moveTo>
                  <a:pt x="88" y="84"/>
                </a:moveTo>
                <a:lnTo>
                  <a:pt x="88" y="78"/>
                </a:lnTo>
                <a:lnTo>
                  <a:pt x="94" y="75"/>
                </a:lnTo>
                <a:lnTo>
                  <a:pt x="94" y="72"/>
                </a:lnTo>
                <a:lnTo>
                  <a:pt x="97" y="69"/>
                </a:lnTo>
                <a:lnTo>
                  <a:pt x="100" y="66"/>
                </a:lnTo>
                <a:lnTo>
                  <a:pt x="103" y="63"/>
                </a:lnTo>
                <a:lnTo>
                  <a:pt x="100" y="59"/>
                </a:lnTo>
                <a:lnTo>
                  <a:pt x="110" y="59"/>
                </a:lnTo>
                <a:lnTo>
                  <a:pt x="110" y="56"/>
                </a:lnTo>
                <a:lnTo>
                  <a:pt x="110" y="53"/>
                </a:lnTo>
                <a:lnTo>
                  <a:pt x="116" y="47"/>
                </a:lnTo>
                <a:lnTo>
                  <a:pt x="116" y="44"/>
                </a:lnTo>
                <a:lnTo>
                  <a:pt x="113" y="41"/>
                </a:lnTo>
                <a:lnTo>
                  <a:pt x="110" y="38"/>
                </a:lnTo>
                <a:lnTo>
                  <a:pt x="113" y="34"/>
                </a:lnTo>
                <a:lnTo>
                  <a:pt x="110" y="34"/>
                </a:lnTo>
                <a:lnTo>
                  <a:pt x="106" y="31"/>
                </a:lnTo>
                <a:lnTo>
                  <a:pt x="106" y="25"/>
                </a:lnTo>
                <a:lnTo>
                  <a:pt x="100" y="22"/>
                </a:lnTo>
                <a:lnTo>
                  <a:pt x="100" y="19"/>
                </a:lnTo>
                <a:lnTo>
                  <a:pt x="100" y="12"/>
                </a:lnTo>
                <a:lnTo>
                  <a:pt x="97" y="12"/>
                </a:lnTo>
                <a:lnTo>
                  <a:pt x="97" y="9"/>
                </a:lnTo>
                <a:lnTo>
                  <a:pt x="94" y="9"/>
                </a:lnTo>
                <a:lnTo>
                  <a:pt x="94" y="3"/>
                </a:lnTo>
                <a:lnTo>
                  <a:pt x="91" y="0"/>
                </a:lnTo>
                <a:lnTo>
                  <a:pt x="88" y="3"/>
                </a:lnTo>
                <a:lnTo>
                  <a:pt x="85" y="6"/>
                </a:lnTo>
                <a:lnTo>
                  <a:pt x="81" y="9"/>
                </a:lnTo>
                <a:lnTo>
                  <a:pt x="75" y="9"/>
                </a:lnTo>
                <a:lnTo>
                  <a:pt x="69" y="9"/>
                </a:lnTo>
                <a:lnTo>
                  <a:pt x="66" y="9"/>
                </a:lnTo>
                <a:lnTo>
                  <a:pt x="63" y="9"/>
                </a:lnTo>
                <a:lnTo>
                  <a:pt x="60" y="12"/>
                </a:lnTo>
                <a:lnTo>
                  <a:pt x="56" y="9"/>
                </a:lnTo>
                <a:lnTo>
                  <a:pt x="56" y="12"/>
                </a:lnTo>
                <a:lnTo>
                  <a:pt x="56" y="16"/>
                </a:lnTo>
                <a:lnTo>
                  <a:pt x="53" y="16"/>
                </a:lnTo>
                <a:lnTo>
                  <a:pt x="47" y="16"/>
                </a:lnTo>
                <a:lnTo>
                  <a:pt x="47" y="12"/>
                </a:lnTo>
                <a:lnTo>
                  <a:pt x="44" y="9"/>
                </a:lnTo>
                <a:lnTo>
                  <a:pt x="41" y="12"/>
                </a:lnTo>
                <a:lnTo>
                  <a:pt x="38" y="9"/>
                </a:lnTo>
                <a:lnTo>
                  <a:pt x="31" y="9"/>
                </a:lnTo>
                <a:lnTo>
                  <a:pt x="31" y="9"/>
                </a:lnTo>
                <a:lnTo>
                  <a:pt x="31" y="12"/>
                </a:lnTo>
                <a:lnTo>
                  <a:pt x="31" y="16"/>
                </a:lnTo>
                <a:lnTo>
                  <a:pt x="31" y="16"/>
                </a:lnTo>
                <a:lnTo>
                  <a:pt x="31" y="16"/>
                </a:lnTo>
                <a:lnTo>
                  <a:pt x="28" y="19"/>
                </a:lnTo>
                <a:lnTo>
                  <a:pt x="28" y="22"/>
                </a:lnTo>
                <a:lnTo>
                  <a:pt x="28" y="28"/>
                </a:lnTo>
                <a:lnTo>
                  <a:pt x="25" y="34"/>
                </a:lnTo>
                <a:lnTo>
                  <a:pt x="25" y="38"/>
                </a:lnTo>
                <a:lnTo>
                  <a:pt x="28" y="41"/>
                </a:lnTo>
                <a:lnTo>
                  <a:pt x="31" y="44"/>
                </a:lnTo>
                <a:lnTo>
                  <a:pt x="31" y="47"/>
                </a:lnTo>
                <a:lnTo>
                  <a:pt x="31" y="50"/>
                </a:lnTo>
                <a:lnTo>
                  <a:pt x="22" y="63"/>
                </a:lnTo>
                <a:lnTo>
                  <a:pt x="16" y="69"/>
                </a:lnTo>
                <a:lnTo>
                  <a:pt x="13" y="72"/>
                </a:lnTo>
                <a:lnTo>
                  <a:pt x="6" y="84"/>
                </a:lnTo>
                <a:lnTo>
                  <a:pt x="3" y="88"/>
                </a:lnTo>
                <a:lnTo>
                  <a:pt x="3" y="94"/>
                </a:lnTo>
                <a:lnTo>
                  <a:pt x="3" y="100"/>
                </a:lnTo>
                <a:lnTo>
                  <a:pt x="0" y="106"/>
                </a:lnTo>
                <a:lnTo>
                  <a:pt x="0" y="113"/>
                </a:lnTo>
                <a:lnTo>
                  <a:pt x="0" y="113"/>
                </a:lnTo>
                <a:lnTo>
                  <a:pt x="0" y="113"/>
                </a:lnTo>
                <a:lnTo>
                  <a:pt x="3" y="113"/>
                </a:lnTo>
                <a:lnTo>
                  <a:pt x="10" y="109"/>
                </a:lnTo>
                <a:lnTo>
                  <a:pt x="10" y="113"/>
                </a:lnTo>
                <a:lnTo>
                  <a:pt x="13" y="113"/>
                </a:lnTo>
                <a:lnTo>
                  <a:pt x="16" y="113"/>
                </a:lnTo>
                <a:lnTo>
                  <a:pt x="16" y="113"/>
                </a:lnTo>
                <a:lnTo>
                  <a:pt x="16" y="109"/>
                </a:lnTo>
                <a:lnTo>
                  <a:pt x="19" y="109"/>
                </a:lnTo>
                <a:lnTo>
                  <a:pt x="19" y="109"/>
                </a:lnTo>
                <a:lnTo>
                  <a:pt x="22" y="106"/>
                </a:lnTo>
                <a:lnTo>
                  <a:pt x="22" y="106"/>
                </a:lnTo>
                <a:lnTo>
                  <a:pt x="25" y="106"/>
                </a:lnTo>
                <a:lnTo>
                  <a:pt x="41" y="106"/>
                </a:lnTo>
                <a:lnTo>
                  <a:pt x="41" y="106"/>
                </a:lnTo>
                <a:lnTo>
                  <a:pt x="56" y="106"/>
                </a:lnTo>
                <a:lnTo>
                  <a:pt x="85" y="103"/>
                </a:lnTo>
                <a:lnTo>
                  <a:pt x="88" y="8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3" name="Freeform 111">
            <a:extLst>
              <a:ext uri="{FF2B5EF4-FFF2-40B4-BE49-F238E27FC236}">
                <a16:creationId xmlns:a16="http://schemas.microsoft.com/office/drawing/2014/main" id="{DB9F04C6-5A37-A0A1-C344-0C16117E3E28}"/>
              </a:ext>
            </a:extLst>
          </p:cNvPr>
          <p:cNvSpPr>
            <a:spLocks/>
          </p:cNvSpPr>
          <p:nvPr userDrawn="1"/>
        </p:nvSpPr>
        <p:spPr bwMode="auto">
          <a:xfrm>
            <a:off x="14070682" y="8679733"/>
            <a:ext cx="815923" cy="549278"/>
          </a:xfrm>
          <a:custGeom>
            <a:avLst/>
            <a:gdLst>
              <a:gd name="T0" fmla="*/ 163 w 257"/>
              <a:gd name="T1" fmla="*/ 7 h 173"/>
              <a:gd name="T2" fmla="*/ 175 w 257"/>
              <a:gd name="T3" fmla="*/ 25 h 173"/>
              <a:gd name="T4" fmla="*/ 172 w 257"/>
              <a:gd name="T5" fmla="*/ 38 h 173"/>
              <a:gd name="T6" fmla="*/ 182 w 257"/>
              <a:gd name="T7" fmla="*/ 44 h 173"/>
              <a:gd name="T8" fmla="*/ 188 w 257"/>
              <a:gd name="T9" fmla="*/ 54 h 173"/>
              <a:gd name="T10" fmla="*/ 204 w 257"/>
              <a:gd name="T11" fmla="*/ 60 h 173"/>
              <a:gd name="T12" fmla="*/ 213 w 257"/>
              <a:gd name="T13" fmla="*/ 66 h 173"/>
              <a:gd name="T14" fmla="*/ 207 w 257"/>
              <a:gd name="T15" fmla="*/ 76 h 173"/>
              <a:gd name="T16" fmla="*/ 219 w 257"/>
              <a:gd name="T17" fmla="*/ 79 h 173"/>
              <a:gd name="T18" fmla="*/ 229 w 257"/>
              <a:gd name="T19" fmla="*/ 91 h 173"/>
              <a:gd name="T20" fmla="*/ 238 w 257"/>
              <a:gd name="T21" fmla="*/ 101 h 173"/>
              <a:gd name="T22" fmla="*/ 247 w 257"/>
              <a:gd name="T23" fmla="*/ 107 h 173"/>
              <a:gd name="T24" fmla="*/ 257 w 257"/>
              <a:gd name="T25" fmla="*/ 119 h 173"/>
              <a:gd name="T26" fmla="*/ 247 w 257"/>
              <a:gd name="T27" fmla="*/ 119 h 173"/>
              <a:gd name="T28" fmla="*/ 229 w 257"/>
              <a:gd name="T29" fmla="*/ 119 h 173"/>
              <a:gd name="T30" fmla="*/ 219 w 257"/>
              <a:gd name="T31" fmla="*/ 116 h 173"/>
              <a:gd name="T32" fmla="*/ 213 w 257"/>
              <a:gd name="T33" fmla="*/ 116 h 173"/>
              <a:gd name="T34" fmla="*/ 200 w 257"/>
              <a:gd name="T35" fmla="*/ 122 h 173"/>
              <a:gd name="T36" fmla="*/ 194 w 257"/>
              <a:gd name="T37" fmla="*/ 122 h 173"/>
              <a:gd name="T38" fmla="*/ 182 w 257"/>
              <a:gd name="T39" fmla="*/ 126 h 173"/>
              <a:gd name="T40" fmla="*/ 166 w 257"/>
              <a:gd name="T41" fmla="*/ 126 h 173"/>
              <a:gd name="T42" fmla="*/ 154 w 257"/>
              <a:gd name="T43" fmla="*/ 132 h 173"/>
              <a:gd name="T44" fmla="*/ 150 w 257"/>
              <a:gd name="T45" fmla="*/ 138 h 173"/>
              <a:gd name="T46" fmla="*/ 138 w 257"/>
              <a:gd name="T47" fmla="*/ 135 h 173"/>
              <a:gd name="T48" fmla="*/ 122 w 257"/>
              <a:gd name="T49" fmla="*/ 132 h 173"/>
              <a:gd name="T50" fmla="*/ 110 w 257"/>
              <a:gd name="T51" fmla="*/ 126 h 173"/>
              <a:gd name="T52" fmla="*/ 97 w 257"/>
              <a:gd name="T53" fmla="*/ 119 h 173"/>
              <a:gd name="T54" fmla="*/ 88 w 257"/>
              <a:gd name="T55" fmla="*/ 122 h 173"/>
              <a:gd name="T56" fmla="*/ 85 w 257"/>
              <a:gd name="T57" fmla="*/ 132 h 173"/>
              <a:gd name="T58" fmla="*/ 82 w 257"/>
              <a:gd name="T59" fmla="*/ 141 h 173"/>
              <a:gd name="T60" fmla="*/ 79 w 257"/>
              <a:gd name="T61" fmla="*/ 147 h 173"/>
              <a:gd name="T62" fmla="*/ 69 w 257"/>
              <a:gd name="T63" fmla="*/ 144 h 173"/>
              <a:gd name="T64" fmla="*/ 50 w 257"/>
              <a:gd name="T65" fmla="*/ 151 h 173"/>
              <a:gd name="T66" fmla="*/ 32 w 257"/>
              <a:gd name="T67" fmla="*/ 173 h 173"/>
              <a:gd name="T68" fmla="*/ 32 w 257"/>
              <a:gd name="T69" fmla="*/ 163 h 173"/>
              <a:gd name="T70" fmla="*/ 16 w 257"/>
              <a:gd name="T71" fmla="*/ 144 h 173"/>
              <a:gd name="T72" fmla="*/ 4 w 257"/>
              <a:gd name="T73" fmla="*/ 132 h 173"/>
              <a:gd name="T74" fmla="*/ 0 w 257"/>
              <a:gd name="T75" fmla="*/ 110 h 173"/>
              <a:gd name="T76" fmla="*/ 4 w 257"/>
              <a:gd name="T77" fmla="*/ 94 h 173"/>
              <a:gd name="T78" fmla="*/ 16 w 257"/>
              <a:gd name="T79" fmla="*/ 76 h 173"/>
              <a:gd name="T80" fmla="*/ 22 w 257"/>
              <a:gd name="T81" fmla="*/ 69 h 173"/>
              <a:gd name="T82" fmla="*/ 35 w 257"/>
              <a:gd name="T83" fmla="*/ 72 h 173"/>
              <a:gd name="T84" fmla="*/ 44 w 257"/>
              <a:gd name="T85" fmla="*/ 63 h 173"/>
              <a:gd name="T86" fmla="*/ 54 w 257"/>
              <a:gd name="T87" fmla="*/ 66 h 173"/>
              <a:gd name="T88" fmla="*/ 82 w 257"/>
              <a:gd name="T89" fmla="*/ 57 h 173"/>
              <a:gd name="T90" fmla="*/ 88 w 257"/>
              <a:gd name="T91" fmla="*/ 47 h 173"/>
              <a:gd name="T92" fmla="*/ 91 w 257"/>
              <a:gd name="T93" fmla="*/ 41 h 173"/>
              <a:gd name="T94" fmla="*/ 110 w 257"/>
              <a:gd name="T95" fmla="*/ 41 h 173"/>
              <a:gd name="T96" fmla="*/ 122 w 257"/>
              <a:gd name="T97" fmla="*/ 32 h 173"/>
              <a:gd name="T98" fmla="*/ 125 w 257"/>
              <a:gd name="T99" fmla="*/ 22 h 173"/>
              <a:gd name="T100" fmla="*/ 138 w 257"/>
              <a:gd name="T101" fmla="*/ 13 h 173"/>
              <a:gd name="T102" fmla="*/ 144 w 257"/>
              <a:gd name="T103" fmla="*/ 4 h 173"/>
              <a:gd name="T104" fmla="*/ 160 w 257"/>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7" h="173">
                <a:moveTo>
                  <a:pt x="160" y="0"/>
                </a:moveTo>
                <a:lnTo>
                  <a:pt x="163" y="0"/>
                </a:lnTo>
                <a:lnTo>
                  <a:pt x="163" y="4"/>
                </a:lnTo>
                <a:lnTo>
                  <a:pt x="163" y="7"/>
                </a:lnTo>
                <a:lnTo>
                  <a:pt x="166" y="10"/>
                </a:lnTo>
                <a:lnTo>
                  <a:pt x="166" y="10"/>
                </a:lnTo>
                <a:lnTo>
                  <a:pt x="172" y="19"/>
                </a:lnTo>
                <a:lnTo>
                  <a:pt x="175" y="25"/>
                </a:lnTo>
                <a:lnTo>
                  <a:pt x="175" y="29"/>
                </a:lnTo>
                <a:lnTo>
                  <a:pt x="175" y="32"/>
                </a:lnTo>
                <a:lnTo>
                  <a:pt x="175" y="35"/>
                </a:lnTo>
                <a:lnTo>
                  <a:pt x="172" y="38"/>
                </a:lnTo>
                <a:lnTo>
                  <a:pt x="172" y="44"/>
                </a:lnTo>
                <a:lnTo>
                  <a:pt x="175" y="47"/>
                </a:lnTo>
                <a:lnTo>
                  <a:pt x="182" y="47"/>
                </a:lnTo>
                <a:lnTo>
                  <a:pt x="182" y="44"/>
                </a:lnTo>
                <a:lnTo>
                  <a:pt x="188" y="44"/>
                </a:lnTo>
                <a:lnTo>
                  <a:pt x="191" y="47"/>
                </a:lnTo>
                <a:lnTo>
                  <a:pt x="188" y="51"/>
                </a:lnTo>
                <a:lnTo>
                  <a:pt x="188" y="54"/>
                </a:lnTo>
                <a:lnTo>
                  <a:pt x="194" y="57"/>
                </a:lnTo>
                <a:lnTo>
                  <a:pt x="197" y="57"/>
                </a:lnTo>
                <a:lnTo>
                  <a:pt x="200" y="57"/>
                </a:lnTo>
                <a:lnTo>
                  <a:pt x="204" y="60"/>
                </a:lnTo>
                <a:lnTo>
                  <a:pt x="204" y="63"/>
                </a:lnTo>
                <a:lnTo>
                  <a:pt x="210" y="63"/>
                </a:lnTo>
                <a:lnTo>
                  <a:pt x="213" y="63"/>
                </a:lnTo>
                <a:lnTo>
                  <a:pt x="213" y="66"/>
                </a:lnTo>
                <a:lnTo>
                  <a:pt x="213" y="69"/>
                </a:lnTo>
                <a:lnTo>
                  <a:pt x="210" y="72"/>
                </a:lnTo>
                <a:lnTo>
                  <a:pt x="210" y="72"/>
                </a:lnTo>
                <a:lnTo>
                  <a:pt x="207" y="76"/>
                </a:lnTo>
                <a:lnTo>
                  <a:pt x="213" y="79"/>
                </a:lnTo>
                <a:lnTo>
                  <a:pt x="216" y="79"/>
                </a:lnTo>
                <a:lnTo>
                  <a:pt x="216" y="79"/>
                </a:lnTo>
                <a:lnTo>
                  <a:pt x="219" y="79"/>
                </a:lnTo>
                <a:lnTo>
                  <a:pt x="222" y="79"/>
                </a:lnTo>
                <a:lnTo>
                  <a:pt x="229" y="85"/>
                </a:lnTo>
                <a:lnTo>
                  <a:pt x="229" y="85"/>
                </a:lnTo>
                <a:lnTo>
                  <a:pt x="229" y="91"/>
                </a:lnTo>
                <a:lnTo>
                  <a:pt x="232" y="94"/>
                </a:lnTo>
                <a:lnTo>
                  <a:pt x="235" y="94"/>
                </a:lnTo>
                <a:lnTo>
                  <a:pt x="238" y="97"/>
                </a:lnTo>
                <a:lnTo>
                  <a:pt x="238" y="101"/>
                </a:lnTo>
                <a:lnTo>
                  <a:pt x="238" y="101"/>
                </a:lnTo>
                <a:lnTo>
                  <a:pt x="244" y="104"/>
                </a:lnTo>
                <a:lnTo>
                  <a:pt x="247" y="107"/>
                </a:lnTo>
                <a:lnTo>
                  <a:pt x="247" y="107"/>
                </a:lnTo>
                <a:lnTo>
                  <a:pt x="247" y="113"/>
                </a:lnTo>
                <a:lnTo>
                  <a:pt x="250" y="116"/>
                </a:lnTo>
                <a:lnTo>
                  <a:pt x="254" y="119"/>
                </a:lnTo>
                <a:lnTo>
                  <a:pt x="257" y="119"/>
                </a:lnTo>
                <a:lnTo>
                  <a:pt x="257" y="122"/>
                </a:lnTo>
                <a:lnTo>
                  <a:pt x="254" y="119"/>
                </a:lnTo>
                <a:lnTo>
                  <a:pt x="250" y="119"/>
                </a:lnTo>
                <a:lnTo>
                  <a:pt x="247" y="119"/>
                </a:lnTo>
                <a:lnTo>
                  <a:pt x="241" y="122"/>
                </a:lnTo>
                <a:lnTo>
                  <a:pt x="238" y="119"/>
                </a:lnTo>
                <a:lnTo>
                  <a:pt x="232" y="119"/>
                </a:lnTo>
                <a:lnTo>
                  <a:pt x="229" y="119"/>
                </a:lnTo>
                <a:lnTo>
                  <a:pt x="225" y="119"/>
                </a:lnTo>
                <a:lnTo>
                  <a:pt x="225" y="116"/>
                </a:lnTo>
                <a:lnTo>
                  <a:pt x="222" y="116"/>
                </a:lnTo>
                <a:lnTo>
                  <a:pt x="219" y="116"/>
                </a:lnTo>
                <a:lnTo>
                  <a:pt x="216" y="113"/>
                </a:lnTo>
                <a:lnTo>
                  <a:pt x="213" y="116"/>
                </a:lnTo>
                <a:lnTo>
                  <a:pt x="213" y="116"/>
                </a:lnTo>
                <a:lnTo>
                  <a:pt x="213" y="116"/>
                </a:lnTo>
                <a:lnTo>
                  <a:pt x="210" y="122"/>
                </a:lnTo>
                <a:lnTo>
                  <a:pt x="210" y="122"/>
                </a:lnTo>
                <a:lnTo>
                  <a:pt x="207" y="122"/>
                </a:lnTo>
                <a:lnTo>
                  <a:pt x="200" y="122"/>
                </a:lnTo>
                <a:lnTo>
                  <a:pt x="200" y="122"/>
                </a:lnTo>
                <a:lnTo>
                  <a:pt x="197" y="122"/>
                </a:lnTo>
                <a:lnTo>
                  <a:pt x="197" y="122"/>
                </a:lnTo>
                <a:lnTo>
                  <a:pt x="194" y="122"/>
                </a:lnTo>
                <a:lnTo>
                  <a:pt x="194" y="119"/>
                </a:lnTo>
                <a:lnTo>
                  <a:pt x="191" y="119"/>
                </a:lnTo>
                <a:lnTo>
                  <a:pt x="185" y="122"/>
                </a:lnTo>
                <a:lnTo>
                  <a:pt x="182" y="126"/>
                </a:lnTo>
                <a:lnTo>
                  <a:pt x="179" y="126"/>
                </a:lnTo>
                <a:lnTo>
                  <a:pt x="172" y="129"/>
                </a:lnTo>
                <a:lnTo>
                  <a:pt x="169" y="129"/>
                </a:lnTo>
                <a:lnTo>
                  <a:pt x="166" y="126"/>
                </a:lnTo>
                <a:lnTo>
                  <a:pt x="163" y="126"/>
                </a:lnTo>
                <a:lnTo>
                  <a:pt x="160" y="126"/>
                </a:lnTo>
                <a:lnTo>
                  <a:pt x="157" y="129"/>
                </a:lnTo>
                <a:lnTo>
                  <a:pt x="154" y="132"/>
                </a:lnTo>
                <a:lnTo>
                  <a:pt x="154" y="135"/>
                </a:lnTo>
                <a:lnTo>
                  <a:pt x="154" y="135"/>
                </a:lnTo>
                <a:lnTo>
                  <a:pt x="154" y="138"/>
                </a:lnTo>
                <a:lnTo>
                  <a:pt x="150" y="138"/>
                </a:lnTo>
                <a:lnTo>
                  <a:pt x="147" y="138"/>
                </a:lnTo>
                <a:lnTo>
                  <a:pt x="144" y="135"/>
                </a:lnTo>
                <a:lnTo>
                  <a:pt x="141" y="135"/>
                </a:lnTo>
                <a:lnTo>
                  <a:pt x="138" y="135"/>
                </a:lnTo>
                <a:lnTo>
                  <a:pt x="135" y="135"/>
                </a:lnTo>
                <a:lnTo>
                  <a:pt x="132" y="135"/>
                </a:lnTo>
                <a:lnTo>
                  <a:pt x="129" y="135"/>
                </a:lnTo>
                <a:lnTo>
                  <a:pt x="122" y="132"/>
                </a:lnTo>
                <a:lnTo>
                  <a:pt x="119" y="132"/>
                </a:lnTo>
                <a:lnTo>
                  <a:pt x="119" y="132"/>
                </a:lnTo>
                <a:lnTo>
                  <a:pt x="113" y="129"/>
                </a:lnTo>
                <a:lnTo>
                  <a:pt x="110" y="126"/>
                </a:lnTo>
                <a:lnTo>
                  <a:pt x="104" y="122"/>
                </a:lnTo>
                <a:lnTo>
                  <a:pt x="100" y="122"/>
                </a:lnTo>
                <a:lnTo>
                  <a:pt x="97" y="119"/>
                </a:lnTo>
                <a:lnTo>
                  <a:pt x="97" y="119"/>
                </a:lnTo>
                <a:lnTo>
                  <a:pt x="97" y="122"/>
                </a:lnTo>
                <a:lnTo>
                  <a:pt x="94" y="119"/>
                </a:lnTo>
                <a:lnTo>
                  <a:pt x="91" y="122"/>
                </a:lnTo>
                <a:lnTo>
                  <a:pt x="88" y="122"/>
                </a:lnTo>
                <a:lnTo>
                  <a:pt x="85" y="126"/>
                </a:lnTo>
                <a:lnTo>
                  <a:pt x="85" y="129"/>
                </a:lnTo>
                <a:lnTo>
                  <a:pt x="85" y="129"/>
                </a:lnTo>
                <a:lnTo>
                  <a:pt x="85" y="132"/>
                </a:lnTo>
                <a:lnTo>
                  <a:pt x="82" y="132"/>
                </a:lnTo>
                <a:lnTo>
                  <a:pt x="79" y="135"/>
                </a:lnTo>
                <a:lnTo>
                  <a:pt x="79" y="135"/>
                </a:lnTo>
                <a:lnTo>
                  <a:pt x="82" y="141"/>
                </a:lnTo>
                <a:lnTo>
                  <a:pt x="82" y="141"/>
                </a:lnTo>
                <a:lnTo>
                  <a:pt x="82" y="144"/>
                </a:lnTo>
                <a:lnTo>
                  <a:pt x="82" y="147"/>
                </a:lnTo>
                <a:lnTo>
                  <a:pt x="79" y="147"/>
                </a:lnTo>
                <a:lnTo>
                  <a:pt x="75" y="147"/>
                </a:lnTo>
                <a:lnTo>
                  <a:pt x="72" y="147"/>
                </a:lnTo>
                <a:lnTo>
                  <a:pt x="72" y="144"/>
                </a:lnTo>
                <a:lnTo>
                  <a:pt x="69" y="144"/>
                </a:lnTo>
                <a:lnTo>
                  <a:pt x="66" y="144"/>
                </a:lnTo>
                <a:lnTo>
                  <a:pt x="63" y="147"/>
                </a:lnTo>
                <a:lnTo>
                  <a:pt x="60" y="147"/>
                </a:lnTo>
                <a:lnTo>
                  <a:pt x="50" y="151"/>
                </a:lnTo>
                <a:lnTo>
                  <a:pt x="50" y="151"/>
                </a:lnTo>
                <a:lnTo>
                  <a:pt x="47" y="154"/>
                </a:lnTo>
                <a:lnTo>
                  <a:pt x="41" y="157"/>
                </a:lnTo>
                <a:lnTo>
                  <a:pt x="32" y="173"/>
                </a:lnTo>
                <a:lnTo>
                  <a:pt x="32" y="173"/>
                </a:lnTo>
                <a:lnTo>
                  <a:pt x="32" y="169"/>
                </a:lnTo>
                <a:lnTo>
                  <a:pt x="32" y="166"/>
                </a:lnTo>
                <a:lnTo>
                  <a:pt x="32" y="163"/>
                </a:lnTo>
                <a:lnTo>
                  <a:pt x="25" y="157"/>
                </a:lnTo>
                <a:lnTo>
                  <a:pt x="22" y="157"/>
                </a:lnTo>
                <a:lnTo>
                  <a:pt x="19" y="151"/>
                </a:lnTo>
                <a:lnTo>
                  <a:pt x="16" y="144"/>
                </a:lnTo>
                <a:lnTo>
                  <a:pt x="13" y="138"/>
                </a:lnTo>
                <a:lnTo>
                  <a:pt x="10" y="135"/>
                </a:lnTo>
                <a:lnTo>
                  <a:pt x="4" y="132"/>
                </a:lnTo>
                <a:lnTo>
                  <a:pt x="4" y="132"/>
                </a:lnTo>
                <a:lnTo>
                  <a:pt x="4" y="122"/>
                </a:lnTo>
                <a:lnTo>
                  <a:pt x="4" y="119"/>
                </a:lnTo>
                <a:lnTo>
                  <a:pt x="0" y="113"/>
                </a:lnTo>
                <a:lnTo>
                  <a:pt x="0" y="110"/>
                </a:lnTo>
                <a:lnTo>
                  <a:pt x="0" y="104"/>
                </a:lnTo>
                <a:lnTo>
                  <a:pt x="0" y="101"/>
                </a:lnTo>
                <a:lnTo>
                  <a:pt x="0" y="97"/>
                </a:lnTo>
                <a:lnTo>
                  <a:pt x="4" y="94"/>
                </a:lnTo>
                <a:lnTo>
                  <a:pt x="7" y="91"/>
                </a:lnTo>
                <a:lnTo>
                  <a:pt x="10" y="85"/>
                </a:lnTo>
                <a:lnTo>
                  <a:pt x="13" y="79"/>
                </a:lnTo>
                <a:lnTo>
                  <a:pt x="16" y="76"/>
                </a:lnTo>
                <a:lnTo>
                  <a:pt x="19" y="72"/>
                </a:lnTo>
                <a:lnTo>
                  <a:pt x="22" y="69"/>
                </a:lnTo>
                <a:lnTo>
                  <a:pt x="22" y="66"/>
                </a:lnTo>
                <a:lnTo>
                  <a:pt x="22" y="69"/>
                </a:lnTo>
                <a:lnTo>
                  <a:pt x="25" y="72"/>
                </a:lnTo>
                <a:lnTo>
                  <a:pt x="29" y="72"/>
                </a:lnTo>
                <a:lnTo>
                  <a:pt x="32" y="72"/>
                </a:lnTo>
                <a:lnTo>
                  <a:pt x="35" y="72"/>
                </a:lnTo>
                <a:lnTo>
                  <a:pt x="38" y="69"/>
                </a:lnTo>
                <a:lnTo>
                  <a:pt x="38" y="63"/>
                </a:lnTo>
                <a:lnTo>
                  <a:pt x="41" y="63"/>
                </a:lnTo>
                <a:lnTo>
                  <a:pt x="44" y="63"/>
                </a:lnTo>
                <a:lnTo>
                  <a:pt x="44" y="69"/>
                </a:lnTo>
                <a:lnTo>
                  <a:pt x="47" y="69"/>
                </a:lnTo>
                <a:lnTo>
                  <a:pt x="50" y="69"/>
                </a:lnTo>
                <a:lnTo>
                  <a:pt x="54" y="66"/>
                </a:lnTo>
                <a:lnTo>
                  <a:pt x="60" y="63"/>
                </a:lnTo>
                <a:lnTo>
                  <a:pt x="66" y="60"/>
                </a:lnTo>
                <a:lnTo>
                  <a:pt x="75" y="57"/>
                </a:lnTo>
                <a:lnTo>
                  <a:pt x="82" y="57"/>
                </a:lnTo>
                <a:lnTo>
                  <a:pt x="85" y="54"/>
                </a:lnTo>
                <a:lnTo>
                  <a:pt x="91" y="51"/>
                </a:lnTo>
                <a:lnTo>
                  <a:pt x="91" y="47"/>
                </a:lnTo>
                <a:lnTo>
                  <a:pt x="88" y="47"/>
                </a:lnTo>
                <a:lnTo>
                  <a:pt x="85" y="44"/>
                </a:lnTo>
                <a:lnTo>
                  <a:pt x="85" y="41"/>
                </a:lnTo>
                <a:lnTo>
                  <a:pt x="88" y="38"/>
                </a:lnTo>
                <a:lnTo>
                  <a:pt x="91" y="41"/>
                </a:lnTo>
                <a:lnTo>
                  <a:pt x="94" y="38"/>
                </a:lnTo>
                <a:lnTo>
                  <a:pt x="97" y="41"/>
                </a:lnTo>
                <a:lnTo>
                  <a:pt x="104" y="41"/>
                </a:lnTo>
                <a:lnTo>
                  <a:pt x="110" y="41"/>
                </a:lnTo>
                <a:lnTo>
                  <a:pt x="116" y="41"/>
                </a:lnTo>
                <a:lnTo>
                  <a:pt x="119" y="38"/>
                </a:lnTo>
                <a:lnTo>
                  <a:pt x="122" y="35"/>
                </a:lnTo>
                <a:lnTo>
                  <a:pt x="122" y="32"/>
                </a:lnTo>
                <a:lnTo>
                  <a:pt x="122" y="29"/>
                </a:lnTo>
                <a:lnTo>
                  <a:pt x="122" y="25"/>
                </a:lnTo>
                <a:lnTo>
                  <a:pt x="125" y="25"/>
                </a:lnTo>
                <a:lnTo>
                  <a:pt x="125" y="22"/>
                </a:lnTo>
                <a:lnTo>
                  <a:pt x="129" y="19"/>
                </a:lnTo>
                <a:lnTo>
                  <a:pt x="132" y="19"/>
                </a:lnTo>
                <a:lnTo>
                  <a:pt x="132" y="19"/>
                </a:lnTo>
                <a:lnTo>
                  <a:pt x="138" y="13"/>
                </a:lnTo>
                <a:lnTo>
                  <a:pt x="138" y="13"/>
                </a:lnTo>
                <a:lnTo>
                  <a:pt x="138" y="10"/>
                </a:lnTo>
                <a:lnTo>
                  <a:pt x="138" y="7"/>
                </a:lnTo>
                <a:lnTo>
                  <a:pt x="144" y="4"/>
                </a:lnTo>
                <a:lnTo>
                  <a:pt x="147" y="0"/>
                </a:lnTo>
                <a:lnTo>
                  <a:pt x="154" y="0"/>
                </a:lnTo>
                <a:lnTo>
                  <a:pt x="154" y="4"/>
                </a:lnTo>
                <a:lnTo>
                  <a:pt x="160" y="0"/>
                </a:lnTo>
                <a:lnTo>
                  <a:pt x="160"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4" name="Freeform 112">
            <a:extLst>
              <a:ext uri="{FF2B5EF4-FFF2-40B4-BE49-F238E27FC236}">
                <a16:creationId xmlns:a16="http://schemas.microsoft.com/office/drawing/2014/main" id="{2E9068E9-7B1C-2387-F7CF-B38D02113EB4}"/>
              </a:ext>
            </a:extLst>
          </p:cNvPr>
          <p:cNvSpPr>
            <a:spLocks/>
          </p:cNvSpPr>
          <p:nvPr userDrawn="1"/>
        </p:nvSpPr>
        <p:spPr bwMode="auto">
          <a:xfrm>
            <a:off x="13734157" y="7231931"/>
            <a:ext cx="971487" cy="901702"/>
          </a:xfrm>
          <a:custGeom>
            <a:avLst/>
            <a:gdLst>
              <a:gd name="T0" fmla="*/ 288 w 306"/>
              <a:gd name="T1" fmla="*/ 275 h 284"/>
              <a:gd name="T2" fmla="*/ 297 w 306"/>
              <a:gd name="T3" fmla="*/ 81 h 284"/>
              <a:gd name="T4" fmla="*/ 291 w 306"/>
              <a:gd name="T5" fmla="*/ 65 h 284"/>
              <a:gd name="T6" fmla="*/ 297 w 306"/>
              <a:gd name="T7" fmla="*/ 53 h 284"/>
              <a:gd name="T8" fmla="*/ 294 w 306"/>
              <a:gd name="T9" fmla="*/ 40 h 284"/>
              <a:gd name="T10" fmla="*/ 297 w 306"/>
              <a:gd name="T11" fmla="*/ 31 h 284"/>
              <a:gd name="T12" fmla="*/ 294 w 306"/>
              <a:gd name="T13" fmla="*/ 22 h 284"/>
              <a:gd name="T14" fmla="*/ 285 w 306"/>
              <a:gd name="T15" fmla="*/ 22 h 284"/>
              <a:gd name="T16" fmla="*/ 269 w 306"/>
              <a:gd name="T17" fmla="*/ 19 h 284"/>
              <a:gd name="T18" fmla="*/ 260 w 306"/>
              <a:gd name="T19" fmla="*/ 15 h 284"/>
              <a:gd name="T20" fmla="*/ 260 w 306"/>
              <a:gd name="T21" fmla="*/ 12 h 284"/>
              <a:gd name="T22" fmla="*/ 250 w 306"/>
              <a:gd name="T23" fmla="*/ 6 h 284"/>
              <a:gd name="T24" fmla="*/ 238 w 306"/>
              <a:gd name="T25" fmla="*/ 3 h 284"/>
              <a:gd name="T26" fmla="*/ 235 w 306"/>
              <a:gd name="T27" fmla="*/ 6 h 284"/>
              <a:gd name="T28" fmla="*/ 228 w 306"/>
              <a:gd name="T29" fmla="*/ 3 h 284"/>
              <a:gd name="T30" fmla="*/ 213 w 306"/>
              <a:gd name="T31" fmla="*/ 6 h 284"/>
              <a:gd name="T32" fmla="*/ 200 w 306"/>
              <a:gd name="T33" fmla="*/ 15 h 284"/>
              <a:gd name="T34" fmla="*/ 197 w 306"/>
              <a:gd name="T35" fmla="*/ 22 h 284"/>
              <a:gd name="T36" fmla="*/ 200 w 306"/>
              <a:gd name="T37" fmla="*/ 37 h 284"/>
              <a:gd name="T38" fmla="*/ 200 w 306"/>
              <a:gd name="T39" fmla="*/ 50 h 284"/>
              <a:gd name="T40" fmla="*/ 194 w 306"/>
              <a:gd name="T41" fmla="*/ 56 h 284"/>
              <a:gd name="T42" fmla="*/ 185 w 306"/>
              <a:gd name="T43" fmla="*/ 65 h 284"/>
              <a:gd name="T44" fmla="*/ 169 w 306"/>
              <a:gd name="T45" fmla="*/ 56 h 284"/>
              <a:gd name="T46" fmla="*/ 153 w 306"/>
              <a:gd name="T47" fmla="*/ 47 h 284"/>
              <a:gd name="T48" fmla="*/ 131 w 306"/>
              <a:gd name="T49" fmla="*/ 37 h 284"/>
              <a:gd name="T50" fmla="*/ 122 w 306"/>
              <a:gd name="T51" fmla="*/ 40 h 284"/>
              <a:gd name="T52" fmla="*/ 110 w 306"/>
              <a:gd name="T53" fmla="*/ 25 h 284"/>
              <a:gd name="T54" fmla="*/ 103 w 306"/>
              <a:gd name="T55" fmla="*/ 12 h 284"/>
              <a:gd name="T56" fmla="*/ 85 w 306"/>
              <a:gd name="T57" fmla="*/ 6 h 284"/>
              <a:gd name="T58" fmla="*/ 69 w 306"/>
              <a:gd name="T59" fmla="*/ 3 h 284"/>
              <a:gd name="T60" fmla="*/ 44 w 306"/>
              <a:gd name="T61" fmla="*/ 3 h 284"/>
              <a:gd name="T62" fmla="*/ 38 w 306"/>
              <a:gd name="T63" fmla="*/ 0 h 284"/>
              <a:gd name="T64" fmla="*/ 38 w 306"/>
              <a:gd name="T65" fmla="*/ 9 h 284"/>
              <a:gd name="T66" fmla="*/ 35 w 306"/>
              <a:gd name="T67" fmla="*/ 15 h 284"/>
              <a:gd name="T68" fmla="*/ 22 w 306"/>
              <a:gd name="T69" fmla="*/ 28 h 284"/>
              <a:gd name="T70" fmla="*/ 16 w 306"/>
              <a:gd name="T71" fmla="*/ 31 h 284"/>
              <a:gd name="T72" fmla="*/ 13 w 306"/>
              <a:gd name="T73" fmla="*/ 34 h 284"/>
              <a:gd name="T74" fmla="*/ 13 w 306"/>
              <a:gd name="T75" fmla="*/ 44 h 284"/>
              <a:gd name="T76" fmla="*/ 13 w 306"/>
              <a:gd name="T77" fmla="*/ 50 h 284"/>
              <a:gd name="T78" fmla="*/ 13 w 306"/>
              <a:gd name="T79" fmla="*/ 53 h 284"/>
              <a:gd name="T80" fmla="*/ 6 w 306"/>
              <a:gd name="T81" fmla="*/ 59 h 284"/>
              <a:gd name="T82" fmla="*/ 3 w 306"/>
              <a:gd name="T83" fmla="*/ 59 h 284"/>
              <a:gd name="T84" fmla="*/ 0 w 306"/>
              <a:gd name="T85" fmla="*/ 62 h 284"/>
              <a:gd name="T86" fmla="*/ 3 w 306"/>
              <a:gd name="T87" fmla="*/ 69 h 284"/>
              <a:gd name="T88" fmla="*/ 6 w 306"/>
              <a:gd name="T89" fmla="*/ 87 h 284"/>
              <a:gd name="T90" fmla="*/ 6 w 306"/>
              <a:gd name="T91" fmla="*/ 97 h 284"/>
              <a:gd name="T92" fmla="*/ 10 w 306"/>
              <a:gd name="T93" fmla="*/ 112 h 284"/>
              <a:gd name="T94" fmla="*/ 6 w 306"/>
              <a:gd name="T95" fmla="*/ 125 h 284"/>
              <a:gd name="T96" fmla="*/ 10 w 306"/>
              <a:gd name="T97" fmla="*/ 137 h 284"/>
              <a:gd name="T98" fmla="*/ 3 w 306"/>
              <a:gd name="T99" fmla="*/ 141 h 284"/>
              <a:gd name="T100" fmla="*/ 0 w 306"/>
              <a:gd name="T101" fmla="*/ 147 h 284"/>
              <a:gd name="T102" fmla="*/ 6 w 306"/>
              <a:gd name="T103" fmla="*/ 156 h 284"/>
              <a:gd name="T104" fmla="*/ 13 w 306"/>
              <a:gd name="T105" fmla="*/ 162 h 284"/>
              <a:gd name="T106" fmla="*/ 13 w 306"/>
              <a:gd name="T107" fmla="*/ 172 h 284"/>
              <a:gd name="T108" fmla="*/ 16 w 306"/>
              <a:gd name="T109" fmla="*/ 178 h 284"/>
              <a:gd name="T110" fmla="*/ 19 w 306"/>
              <a:gd name="T111" fmla="*/ 184 h 284"/>
              <a:gd name="T112" fmla="*/ 35 w 306"/>
              <a:gd name="T113" fmla="*/ 184 h 284"/>
              <a:gd name="T114" fmla="*/ 41 w 306"/>
              <a:gd name="T115" fmla="*/ 191 h 284"/>
              <a:gd name="T116" fmla="*/ 47 w 306"/>
              <a:gd name="T117" fmla="*/ 203 h 284"/>
              <a:gd name="T118" fmla="*/ 50 w 306"/>
              <a:gd name="T119" fmla="*/ 206 h 284"/>
              <a:gd name="T120" fmla="*/ 88 w 306"/>
              <a:gd name="T121" fmla="*/ 219 h 284"/>
              <a:gd name="T122" fmla="*/ 288 w 306"/>
              <a:gd name="T123" fmla="*/ 284 h 284"/>
              <a:gd name="T124" fmla="*/ 288 w 306"/>
              <a:gd name="T125"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 h="284">
                <a:moveTo>
                  <a:pt x="288" y="284"/>
                </a:moveTo>
                <a:lnTo>
                  <a:pt x="288" y="275"/>
                </a:lnTo>
                <a:lnTo>
                  <a:pt x="306" y="275"/>
                </a:lnTo>
                <a:lnTo>
                  <a:pt x="297" y="81"/>
                </a:lnTo>
                <a:lnTo>
                  <a:pt x="294" y="69"/>
                </a:lnTo>
                <a:lnTo>
                  <a:pt x="291" y="65"/>
                </a:lnTo>
                <a:lnTo>
                  <a:pt x="294" y="59"/>
                </a:lnTo>
                <a:lnTo>
                  <a:pt x="297" y="53"/>
                </a:lnTo>
                <a:lnTo>
                  <a:pt x="297" y="47"/>
                </a:lnTo>
                <a:lnTo>
                  <a:pt x="294" y="40"/>
                </a:lnTo>
                <a:lnTo>
                  <a:pt x="297" y="34"/>
                </a:lnTo>
                <a:lnTo>
                  <a:pt x="297" y="31"/>
                </a:lnTo>
                <a:lnTo>
                  <a:pt x="297" y="25"/>
                </a:lnTo>
                <a:lnTo>
                  <a:pt x="294" y="22"/>
                </a:lnTo>
                <a:lnTo>
                  <a:pt x="291" y="22"/>
                </a:lnTo>
                <a:lnTo>
                  <a:pt x="285" y="22"/>
                </a:lnTo>
                <a:lnTo>
                  <a:pt x="272" y="19"/>
                </a:lnTo>
                <a:lnTo>
                  <a:pt x="269" y="19"/>
                </a:lnTo>
                <a:lnTo>
                  <a:pt x="266" y="19"/>
                </a:lnTo>
                <a:lnTo>
                  <a:pt x="260" y="15"/>
                </a:lnTo>
                <a:lnTo>
                  <a:pt x="256" y="12"/>
                </a:lnTo>
                <a:lnTo>
                  <a:pt x="260" y="12"/>
                </a:lnTo>
                <a:lnTo>
                  <a:pt x="256" y="9"/>
                </a:lnTo>
                <a:lnTo>
                  <a:pt x="250" y="6"/>
                </a:lnTo>
                <a:lnTo>
                  <a:pt x="244" y="6"/>
                </a:lnTo>
                <a:lnTo>
                  <a:pt x="238" y="3"/>
                </a:lnTo>
                <a:lnTo>
                  <a:pt x="238" y="3"/>
                </a:lnTo>
                <a:lnTo>
                  <a:pt x="235" y="6"/>
                </a:lnTo>
                <a:lnTo>
                  <a:pt x="231" y="3"/>
                </a:lnTo>
                <a:lnTo>
                  <a:pt x="228" y="3"/>
                </a:lnTo>
                <a:lnTo>
                  <a:pt x="222" y="6"/>
                </a:lnTo>
                <a:lnTo>
                  <a:pt x="213" y="6"/>
                </a:lnTo>
                <a:lnTo>
                  <a:pt x="206" y="9"/>
                </a:lnTo>
                <a:lnTo>
                  <a:pt x="200" y="15"/>
                </a:lnTo>
                <a:lnTo>
                  <a:pt x="200" y="22"/>
                </a:lnTo>
                <a:lnTo>
                  <a:pt x="197" y="22"/>
                </a:lnTo>
                <a:lnTo>
                  <a:pt x="197" y="31"/>
                </a:lnTo>
                <a:lnTo>
                  <a:pt x="200" y="37"/>
                </a:lnTo>
                <a:lnTo>
                  <a:pt x="203" y="47"/>
                </a:lnTo>
                <a:lnTo>
                  <a:pt x="200" y="50"/>
                </a:lnTo>
                <a:lnTo>
                  <a:pt x="194" y="56"/>
                </a:lnTo>
                <a:lnTo>
                  <a:pt x="194" y="56"/>
                </a:lnTo>
                <a:lnTo>
                  <a:pt x="188" y="62"/>
                </a:lnTo>
                <a:lnTo>
                  <a:pt x="185" y="65"/>
                </a:lnTo>
                <a:lnTo>
                  <a:pt x="175" y="62"/>
                </a:lnTo>
                <a:lnTo>
                  <a:pt x="169" y="56"/>
                </a:lnTo>
                <a:lnTo>
                  <a:pt x="163" y="50"/>
                </a:lnTo>
                <a:lnTo>
                  <a:pt x="153" y="47"/>
                </a:lnTo>
                <a:lnTo>
                  <a:pt x="138" y="40"/>
                </a:lnTo>
                <a:lnTo>
                  <a:pt x="131" y="37"/>
                </a:lnTo>
                <a:lnTo>
                  <a:pt x="128" y="40"/>
                </a:lnTo>
                <a:lnTo>
                  <a:pt x="122" y="40"/>
                </a:lnTo>
                <a:lnTo>
                  <a:pt x="116" y="37"/>
                </a:lnTo>
                <a:lnTo>
                  <a:pt x="110" y="25"/>
                </a:lnTo>
                <a:lnTo>
                  <a:pt x="110" y="19"/>
                </a:lnTo>
                <a:lnTo>
                  <a:pt x="103" y="12"/>
                </a:lnTo>
                <a:lnTo>
                  <a:pt x="91" y="9"/>
                </a:lnTo>
                <a:lnTo>
                  <a:pt x="85" y="6"/>
                </a:lnTo>
                <a:lnTo>
                  <a:pt x="75" y="6"/>
                </a:lnTo>
                <a:lnTo>
                  <a:pt x="69" y="3"/>
                </a:lnTo>
                <a:lnTo>
                  <a:pt x="53" y="6"/>
                </a:lnTo>
                <a:lnTo>
                  <a:pt x="44" y="3"/>
                </a:lnTo>
                <a:lnTo>
                  <a:pt x="41" y="0"/>
                </a:lnTo>
                <a:lnTo>
                  <a:pt x="38" y="0"/>
                </a:lnTo>
                <a:lnTo>
                  <a:pt x="38" y="0"/>
                </a:lnTo>
                <a:lnTo>
                  <a:pt x="38" y="9"/>
                </a:lnTo>
                <a:lnTo>
                  <a:pt x="38" y="9"/>
                </a:lnTo>
                <a:lnTo>
                  <a:pt x="35" y="15"/>
                </a:lnTo>
                <a:lnTo>
                  <a:pt x="22" y="25"/>
                </a:lnTo>
                <a:lnTo>
                  <a:pt x="22" y="28"/>
                </a:lnTo>
                <a:lnTo>
                  <a:pt x="19" y="31"/>
                </a:lnTo>
                <a:lnTo>
                  <a:pt x="16" y="31"/>
                </a:lnTo>
                <a:lnTo>
                  <a:pt x="13" y="34"/>
                </a:lnTo>
                <a:lnTo>
                  <a:pt x="13" y="34"/>
                </a:lnTo>
                <a:lnTo>
                  <a:pt x="13" y="37"/>
                </a:lnTo>
                <a:lnTo>
                  <a:pt x="13" y="44"/>
                </a:lnTo>
                <a:lnTo>
                  <a:pt x="13" y="50"/>
                </a:lnTo>
                <a:lnTo>
                  <a:pt x="13" y="50"/>
                </a:lnTo>
                <a:lnTo>
                  <a:pt x="13" y="53"/>
                </a:lnTo>
                <a:lnTo>
                  <a:pt x="13" y="53"/>
                </a:lnTo>
                <a:lnTo>
                  <a:pt x="10" y="56"/>
                </a:lnTo>
                <a:lnTo>
                  <a:pt x="6" y="59"/>
                </a:lnTo>
                <a:lnTo>
                  <a:pt x="6" y="59"/>
                </a:lnTo>
                <a:lnTo>
                  <a:pt x="3" y="59"/>
                </a:lnTo>
                <a:lnTo>
                  <a:pt x="3" y="59"/>
                </a:lnTo>
                <a:lnTo>
                  <a:pt x="0" y="62"/>
                </a:lnTo>
                <a:lnTo>
                  <a:pt x="0" y="69"/>
                </a:lnTo>
                <a:lnTo>
                  <a:pt x="3" y="69"/>
                </a:lnTo>
                <a:lnTo>
                  <a:pt x="6" y="75"/>
                </a:lnTo>
                <a:lnTo>
                  <a:pt x="6" y="87"/>
                </a:lnTo>
                <a:lnTo>
                  <a:pt x="6" y="94"/>
                </a:lnTo>
                <a:lnTo>
                  <a:pt x="6" y="97"/>
                </a:lnTo>
                <a:lnTo>
                  <a:pt x="6" y="106"/>
                </a:lnTo>
                <a:lnTo>
                  <a:pt x="10" y="112"/>
                </a:lnTo>
                <a:lnTo>
                  <a:pt x="6" y="122"/>
                </a:lnTo>
                <a:lnTo>
                  <a:pt x="6" y="125"/>
                </a:lnTo>
                <a:lnTo>
                  <a:pt x="10" y="128"/>
                </a:lnTo>
                <a:lnTo>
                  <a:pt x="10" y="137"/>
                </a:lnTo>
                <a:lnTo>
                  <a:pt x="6" y="137"/>
                </a:lnTo>
                <a:lnTo>
                  <a:pt x="3" y="141"/>
                </a:lnTo>
                <a:lnTo>
                  <a:pt x="0" y="144"/>
                </a:lnTo>
                <a:lnTo>
                  <a:pt x="0" y="147"/>
                </a:lnTo>
                <a:lnTo>
                  <a:pt x="3" y="150"/>
                </a:lnTo>
                <a:lnTo>
                  <a:pt x="6" y="156"/>
                </a:lnTo>
                <a:lnTo>
                  <a:pt x="13" y="162"/>
                </a:lnTo>
                <a:lnTo>
                  <a:pt x="13" y="162"/>
                </a:lnTo>
                <a:lnTo>
                  <a:pt x="13" y="169"/>
                </a:lnTo>
                <a:lnTo>
                  <a:pt x="13" y="172"/>
                </a:lnTo>
                <a:lnTo>
                  <a:pt x="13" y="175"/>
                </a:lnTo>
                <a:lnTo>
                  <a:pt x="16" y="178"/>
                </a:lnTo>
                <a:lnTo>
                  <a:pt x="16" y="181"/>
                </a:lnTo>
                <a:lnTo>
                  <a:pt x="19" y="184"/>
                </a:lnTo>
                <a:lnTo>
                  <a:pt x="25" y="184"/>
                </a:lnTo>
                <a:lnTo>
                  <a:pt x="35" y="184"/>
                </a:lnTo>
                <a:lnTo>
                  <a:pt x="38" y="187"/>
                </a:lnTo>
                <a:lnTo>
                  <a:pt x="41" y="191"/>
                </a:lnTo>
                <a:lnTo>
                  <a:pt x="44" y="200"/>
                </a:lnTo>
                <a:lnTo>
                  <a:pt x="47" y="203"/>
                </a:lnTo>
                <a:lnTo>
                  <a:pt x="47" y="206"/>
                </a:lnTo>
                <a:lnTo>
                  <a:pt x="50" y="206"/>
                </a:lnTo>
                <a:lnTo>
                  <a:pt x="85" y="216"/>
                </a:lnTo>
                <a:lnTo>
                  <a:pt x="88" y="219"/>
                </a:lnTo>
                <a:lnTo>
                  <a:pt x="128" y="203"/>
                </a:lnTo>
                <a:lnTo>
                  <a:pt x="288" y="284"/>
                </a:lnTo>
                <a:lnTo>
                  <a:pt x="288" y="284"/>
                </a:lnTo>
                <a:lnTo>
                  <a:pt x="288" y="28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5" name="Freeform 113">
            <a:extLst>
              <a:ext uri="{FF2B5EF4-FFF2-40B4-BE49-F238E27FC236}">
                <a16:creationId xmlns:a16="http://schemas.microsoft.com/office/drawing/2014/main" id="{110F2053-89AE-A154-378B-F0E5264E54C7}"/>
              </a:ext>
            </a:extLst>
          </p:cNvPr>
          <p:cNvSpPr>
            <a:spLocks noEditPoints="1"/>
          </p:cNvSpPr>
          <p:nvPr userDrawn="1"/>
        </p:nvSpPr>
        <p:spPr bwMode="auto">
          <a:xfrm>
            <a:off x="13616686" y="6933480"/>
            <a:ext cx="238111" cy="485776"/>
          </a:xfrm>
          <a:custGeom>
            <a:avLst/>
            <a:gdLst>
              <a:gd name="T0" fmla="*/ 43 w 75"/>
              <a:gd name="T1" fmla="*/ 153 h 153"/>
              <a:gd name="T2" fmla="*/ 47 w 75"/>
              <a:gd name="T3" fmla="*/ 150 h 153"/>
              <a:gd name="T4" fmla="*/ 50 w 75"/>
              <a:gd name="T5" fmla="*/ 147 h 153"/>
              <a:gd name="T6" fmla="*/ 50 w 75"/>
              <a:gd name="T7" fmla="*/ 144 h 153"/>
              <a:gd name="T8" fmla="*/ 50 w 75"/>
              <a:gd name="T9" fmla="*/ 131 h 153"/>
              <a:gd name="T10" fmla="*/ 50 w 75"/>
              <a:gd name="T11" fmla="*/ 128 h 153"/>
              <a:gd name="T12" fmla="*/ 56 w 75"/>
              <a:gd name="T13" fmla="*/ 125 h 153"/>
              <a:gd name="T14" fmla="*/ 59 w 75"/>
              <a:gd name="T15" fmla="*/ 119 h 153"/>
              <a:gd name="T16" fmla="*/ 75 w 75"/>
              <a:gd name="T17" fmla="*/ 103 h 153"/>
              <a:gd name="T18" fmla="*/ 75 w 75"/>
              <a:gd name="T19" fmla="*/ 94 h 153"/>
              <a:gd name="T20" fmla="*/ 72 w 75"/>
              <a:gd name="T21" fmla="*/ 94 h 153"/>
              <a:gd name="T22" fmla="*/ 65 w 75"/>
              <a:gd name="T23" fmla="*/ 87 h 153"/>
              <a:gd name="T24" fmla="*/ 62 w 75"/>
              <a:gd name="T25" fmla="*/ 84 h 153"/>
              <a:gd name="T26" fmla="*/ 62 w 75"/>
              <a:gd name="T27" fmla="*/ 84 h 153"/>
              <a:gd name="T28" fmla="*/ 56 w 75"/>
              <a:gd name="T29" fmla="*/ 84 h 153"/>
              <a:gd name="T30" fmla="*/ 53 w 75"/>
              <a:gd name="T31" fmla="*/ 84 h 153"/>
              <a:gd name="T32" fmla="*/ 43 w 75"/>
              <a:gd name="T33" fmla="*/ 72 h 153"/>
              <a:gd name="T34" fmla="*/ 56 w 75"/>
              <a:gd name="T35" fmla="*/ 59 h 153"/>
              <a:gd name="T36" fmla="*/ 62 w 75"/>
              <a:gd name="T37" fmla="*/ 53 h 153"/>
              <a:gd name="T38" fmla="*/ 62 w 75"/>
              <a:gd name="T39" fmla="*/ 50 h 153"/>
              <a:gd name="T40" fmla="*/ 62 w 75"/>
              <a:gd name="T41" fmla="*/ 44 h 153"/>
              <a:gd name="T42" fmla="*/ 56 w 75"/>
              <a:gd name="T43" fmla="*/ 37 h 153"/>
              <a:gd name="T44" fmla="*/ 53 w 75"/>
              <a:gd name="T45" fmla="*/ 25 h 153"/>
              <a:gd name="T46" fmla="*/ 56 w 75"/>
              <a:gd name="T47" fmla="*/ 19 h 153"/>
              <a:gd name="T48" fmla="*/ 59 w 75"/>
              <a:gd name="T49" fmla="*/ 9 h 153"/>
              <a:gd name="T50" fmla="*/ 53 w 75"/>
              <a:gd name="T51" fmla="*/ 12 h 153"/>
              <a:gd name="T52" fmla="*/ 47 w 75"/>
              <a:gd name="T53" fmla="*/ 16 h 153"/>
              <a:gd name="T54" fmla="*/ 43 w 75"/>
              <a:gd name="T55" fmla="*/ 6 h 153"/>
              <a:gd name="T56" fmla="*/ 40 w 75"/>
              <a:gd name="T57" fmla="*/ 0 h 153"/>
              <a:gd name="T58" fmla="*/ 37 w 75"/>
              <a:gd name="T59" fmla="*/ 3 h 153"/>
              <a:gd name="T60" fmla="*/ 28 w 75"/>
              <a:gd name="T61" fmla="*/ 3 h 153"/>
              <a:gd name="T62" fmla="*/ 15 w 75"/>
              <a:gd name="T63" fmla="*/ 9 h 153"/>
              <a:gd name="T64" fmla="*/ 15 w 75"/>
              <a:gd name="T65" fmla="*/ 12 h 153"/>
              <a:gd name="T66" fmla="*/ 15 w 75"/>
              <a:gd name="T67" fmla="*/ 22 h 153"/>
              <a:gd name="T68" fmla="*/ 12 w 75"/>
              <a:gd name="T69" fmla="*/ 37 h 153"/>
              <a:gd name="T70" fmla="*/ 15 w 75"/>
              <a:gd name="T71" fmla="*/ 47 h 153"/>
              <a:gd name="T72" fmla="*/ 15 w 75"/>
              <a:gd name="T73" fmla="*/ 47 h 153"/>
              <a:gd name="T74" fmla="*/ 15 w 75"/>
              <a:gd name="T75" fmla="*/ 53 h 153"/>
              <a:gd name="T76" fmla="*/ 12 w 75"/>
              <a:gd name="T77" fmla="*/ 62 h 153"/>
              <a:gd name="T78" fmla="*/ 9 w 75"/>
              <a:gd name="T79" fmla="*/ 66 h 153"/>
              <a:gd name="T80" fmla="*/ 3 w 75"/>
              <a:gd name="T81" fmla="*/ 72 h 153"/>
              <a:gd name="T82" fmla="*/ 0 w 75"/>
              <a:gd name="T83" fmla="*/ 84 h 153"/>
              <a:gd name="T84" fmla="*/ 3 w 75"/>
              <a:gd name="T85" fmla="*/ 91 h 153"/>
              <a:gd name="T86" fmla="*/ 6 w 75"/>
              <a:gd name="T87" fmla="*/ 94 h 153"/>
              <a:gd name="T88" fmla="*/ 12 w 75"/>
              <a:gd name="T89" fmla="*/ 103 h 153"/>
              <a:gd name="T90" fmla="*/ 18 w 75"/>
              <a:gd name="T91" fmla="*/ 109 h 153"/>
              <a:gd name="T92" fmla="*/ 28 w 75"/>
              <a:gd name="T93" fmla="*/ 116 h 153"/>
              <a:gd name="T94" fmla="*/ 40 w 75"/>
              <a:gd name="T95" fmla="*/ 153 h 153"/>
              <a:gd name="T96" fmla="*/ 59 w 75"/>
              <a:gd name="T97" fmla="*/ 78 h 153"/>
              <a:gd name="T98" fmla="*/ 62 w 75"/>
              <a:gd name="T99" fmla="*/ 81 h 153"/>
              <a:gd name="T100" fmla="*/ 56 w 75"/>
              <a:gd name="T101" fmla="*/ 7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5" h="153">
                <a:moveTo>
                  <a:pt x="40" y="153"/>
                </a:moveTo>
                <a:lnTo>
                  <a:pt x="43" y="153"/>
                </a:lnTo>
                <a:lnTo>
                  <a:pt x="43" y="153"/>
                </a:lnTo>
                <a:lnTo>
                  <a:pt x="47" y="150"/>
                </a:lnTo>
                <a:lnTo>
                  <a:pt x="50" y="147"/>
                </a:lnTo>
                <a:lnTo>
                  <a:pt x="50" y="147"/>
                </a:lnTo>
                <a:lnTo>
                  <a:pt x="50" y="144"/>
                </a:lnTo>
                <a:lnTo>
                  <a:pt x="50" y="144"/>
                </a:lnTo>
                <a:lnTo>
                  <a:pt x="50" y="138"/>
                </a:lnTo>
                <a:lnTo>
                  <a:pt x="50" y="131"/>
                </a:lnTo>
                <a:lnTo>
                  <a:pt x="50" y="128"/>
                </a:lnTo>
                <a:lnTo>
                  <a:pt x="50" y="128"/>
                </a:lnTo>
                <a:lnTo>
                  <a:pt x="53" y="125"/>
                </a:lnTo>
                <a:lnTo>
                  <a:pt x="56" y="125"/>
                </a:lnTo>
                <a:lnTo>
                  <a:pt x="59" y="122"/>
                </a:lnTo>
                <a:lnTo>
                  <a:pt x="59" y="119"/>
                </a:lnTo>
                <a:lnTo>
                  <a:pt x="72" y="109"/>
                </a:lnTo>
                <a:lnTo>
                  <a:pt x="75" y="103"/>
                </a:lnTo>
                <a:lnTo>
                  <a:pt x="75" y="103"/>
                </a:lnTo>
                <a:lnTo>
                  <a:pt x="75" y="94"/>
                </a:lnTo>
                <a:lnTo>
                  <a:pt x="75" y="94"/>
                </a:lnTo>
                <a:lnTo>
                  <a:pt x="72" y="94"/>
                </a:lnTo>
                <a:lnTo>
                  <a:pt x="65" y="91"/>
                </a:lnTo>
                <a:lnTo>
                  <a:pt x="65" y="87"/>
                </a:lnTo>
                <a:lnTo>
                  <a:pt x="65" y="84"/>
                </a:lnTo>
                <a:lnTo>
                  <a:pt x="62" y="84"/>
                </a:lnTo>
                <a:lnTo>
                  <a:pt x="62" y="84"/>
                </a:lnTo>
                <a:lnTo>
                  <a:pt x="62" y="84"/>
                </a:lnTo>
                <a:lnTo>
                  <a:pt x="59" y="87"/>
                </a:lnTo>
                <a:lnTo>
                  <a:pt x="56" y="84"/>
                </a:lnTo>
                <a:lnTo>
                  <a:pt x="56" y="81"/>
                </a:lnTo>
                <a:lnTo>
                  <a:pt x="53" y="84"/>
                </a:lnTo>
                <a:lnTo>
                  <a:pt x="47" y="78"/>
                </a:lnTo>
                <a:lnTo>
                  <a:pt x="43" y="72"/>
                </a:lnTo>
                <a:lnTo>
                  <a:pt x="47" y="66"/>
                </a:lnTo>
                <a:lnTo>
                  <a:pt x="56" y="59"/>
                </a:lnTo>
                <a:lnTo>
                  <a:pt x="62" y="53"/>
                </a:lnTo>
                <a:lnTo>
                  <a:pt x="62" y="53"/>
                </a:lnTo>
                <a:lnTo>
                  <a:pt x="62" y="50"/>
                </a:lnTo>
                <a:lnTo>
                  <a:pt x="62" y="50"/>
                </a:lnTo>
                <a:lnTo>
                  <a:pt x="62" y="47"/>
                </a:lnTo>
                <a:lnTo>
                  <a:pt x="62" y="44"/>
                </a:lnTo>
                <a:lnTo>
                  <a:pt x="62" y="37"/>
                </a:lnTo>
                <a:lnTo>
                  <a:pt x="56" y="37"/>
                </a:lnTo>
                <a:lnTo>
                  <a:pt x="50" y="28"/>
                </a:lnTo>
                <a:lnTo>
                  <a:pt x="53" y="25"/>
                </a:lnTo>
                <a:lnTo>
                  <a:pt x="56" y="22"/>
                </a:lnTo>
                <a:lnTo>
                  <a:pt x="56" y="19"/>
                </a:lnTo>
                <a:lnTo>
                  <a:pt x="59" y="12"/>
                </a:lnTo>
                <a:lnTo>
                  <a:pt x="59" y="9"/>
                </a:lnTo>
                <a:lnTo>
                  <a:pt x="59" y="6"/>
                </a:lnTo>
                <a:lnTo>
                  <a:pt x="53" y="12"/>
                </a:lnTo>
                <a:lnTo>
                  <a:pt x="50" y="16"/>
                </a:lnTo>
                <a:lnTo>
                  <a:pt x="47" y="16"/>
                </a:lnTo>
                <a:lnTo>
                  <a:pt x="43" y="6"/>
                </a:lnTo>
                <a:lnTo>
                  <a:pt x="43" y="6"/>
                </a:lnTo>
                <a:lnTo>
                  <a:pt x="43" y="3"/>
                </a:lnTo>
                <a:lnTo>
                  <a:pt x="40" y="0"/>
                </a:lnTo>
                <a:lnTo>
                  <a:pt x="37" y="3"/>
                </a:lnTo>
                <a:lnTo>
                  <a:pt x="37" y="3"/>
                </a:lnTo>
                <a:lnTo>
                  <a:pt x="34" y="3"/>
                </a:lnTo>
                <a:lnTo>
                  <a:pt x="28" y="3"/>
                </a:lnTo>
                <a:lnTo>
                  <a:pt x="22" y="6"/>
                </a:lnTo>
                <a:lnTo>
                  <a:pt x="15" y="9"/>
                </a:lnTo>
                <a:lnTo>
                  <a:pt x="15" y="9"/>
                </a:lnTo>
                <a:lnTo>
                  <a:pt x="15" y="12"/>
                </a:lnTo>
                <a:lnTo>
                  <a:pt x="15" y="16"/>
                </a:lnTo>
                <a:lnTo>
                  <a:pt x="15" y="22"/>
                </a:lnTo>
                <a:lnTo>
                  <a:pt x="15" y="28"/>
                </a:lnTo>
                <a:lnTo>
                  <a:pt x="12" y="37"/>
                </a:lnTo>
                <a:lnTo>
                  <a:pt x="12" y="44"/>
                </a:lnTo>
                <a:lnTo>
                  <a:pt x="15" y="47"/>
                </a:lnTo>
                <a:lnTo>
                  <a:pt x="15" y="47"/>
                </a:lnTo>
                <a:lnTo>
                  <a:pt x="15" y="47"/>
                </a:lnTo>
                <a:lnTo>
                  <a:pt x="12" y="50"/>
                </a:lnTo>
                <a:lnTo>
                  <a:pt x="15" y="53"/>
                </a:lnTo>
                <a:lnTo>
                  <a:pt x="15" y="56"/>
                </a:lnTo>
                <a:lnTo>
                  <a:pt x="12" y="62"/>
                </a:lnTo>
                <a:lnTo>
                  <a:pt x="9" y="66"/>
                </a:lnTo>
                <a:lnTo>
                  <a:pt x="9" y="66"/>
                </a:lnTo>
                <a:lnTo>
                  <a:pt x="6" y="69"/>
                </a:lnTo>
                <a:lnTo>
                  <a:pt x="3" y="72"/>
                </a:lnTo>
                <a:lnTo>
                  <a:pt x="0" y="81"/>
                </a:lnTo>
                <a:lnTo>
                  <a:pt x="0" y="84"/>
                </a:lnTo>
                <a:lnTo>
                  <a:pt x="3" y="87"/>
                </a:lnTo>
                <a:lnTo>
                  <a:pt x="3" y="91"/>
                </a:lnTo>
                <a:lnTo>
                  <a:pt x="6" y="94"/>
                </a:lnTo>
                <a:lnTo>
                  <a:pt x="6" y="94"/>
                </a:lnTo>
                <a:lnTo>
                  <a:pt x="12" y="100"/>
                </a:lnTo>
                <a:lnTo>
                  <a:pt x="12" y="103"/>
                </a:lnTo>
                <a:lnTo>
                  <a:pt x="18" y="106"/>
                </a:lnTo>
                <a:lnTo>
                  <a:pt x="18" y="109"/>
                </a:lnTo>
                <a:lnTo>
                  <a:pt x="22" y="109"/>
                </a:lnTo>
                <a:lnTo>
                  <a:pt x="28" y="116"/>
                </a:lnTo>
                <a:lnTo>
                  <a:pt x="40" y="153"/>
                </a:lnTo>
                <a:lnTo>
                  <a:pt x="40" y="153"/>
                </a:lnTo>
                <a:close/>
                <a:moveTo>
                  <a:pt x="56" y="78"/>
                </a:moveTo>
                <a:lnTo>
                  <a:pt x="59" y="78"/>
                </a:lnTo>
                <a:lnTo>
                  <a:pt x="62" y="78"/>
                </a:lnTo>
                <a:lnTo>
                  <a:pt x="62" y="81"/>
                </a:lnTo>
                <a:lnTo>
                  <a:pt x="59" y="81"/>
                </a:lnTo>
                <a:lnTo>
                  <a:pt x="56" y="78"/>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6" name="Freeform 114">
            <a:extLst>
              <a:ext uri="{FF2B5EF4-FFF2-40B4-BE49-F238E27FC236}">
                <a16:creationId xmlns:a16="http://schemas.microsoft.com/office/drawing/2014/main" id="{E920A03B-2FF5-5BCE-10F0-C715AC6434E3}"/>
              </a:ext>
            </a:extLst>
          </p:cNvPr>
          <p:cNvSpPr>
            <a:spLocks/>
          </p:cNvSpPr>
          <p:nvPr userDrawn="1"/>
        </p:nvSpPr>
        <p:spPr bwMode="auto">
          <a:xfrm>
            <a:off x="12642026" y="6952533"/>
            <a:ext cx="1250869" cy="1212850"/>
          </a:xfrm>
          <a:custGeom>
            <a:avLst/>
            <a:gdLst>
              <a:gd name="T0" fmla="*/ 391 w 394"/>
              <a:gd name="T1" fmla="*/ 291 h 382"/>
              <a:gd name="T2" fmla="*/ 382 w 394"/>
              <a:gd name="T3" fmla="*/ 275 h 382"/>
              <a:gd name="T4" fmla="*/ 363 w 394"/>
              <a:gd name="T5" fmla="*/ 272 h 382"/>
              <a:gd name="T6" fmla="*/ 357 w 394"/>
              <a:gd name="T7" fmla="*/ 263 h 382"/>
              <a:gd name="T8" fmla="*/ 357 w 394"/>
              <a:gd name="T9" fmla="*/ 250 h 382"/>
              <a:gd name="T10" fmla="*/ 347 w 394"/>
              <a:gd name="T11" fmla="*/ 238 h 382"/>
              <a:gd name="T12" fmla="*/ 347 w 394"/>
              <a:gd name="T13" fmla="*/ 229 h 382"/>
              <a:gd name="T14" fmla="*/ 354 w 394"/>
              <a:gd name="T15" fmla="*/ 216 h 382"/>
              <a:gd name="T16" fmla="*/ 354 w 394"/>
              <a:gd name="T17" fmla="*/ 200 h 382"/>
              <a:gd name="T18" fmla="*/ 350 w 394"/>
              <a:gd name="T19" fmla="*/ 182 h 382"/>
              <a:gd name="T20" fmla="*/ 347 w 394"/>
              <a:gd name="T21" fmla="*/ 157 h 382"/>
              <a:gd name="T22" fmla="*/ 347 w 394"/>
              <a:gd name="T23" fmla="*/ 147 h 382"/>
              <a:gd name="T24" fmla="*/ 325 w 394"/>
              <a:gd name="T25" fmla="*/ 103 h 382"/>
              <a:gd name="T26" fmla="*/ 319 w 394"/>
              <a:gd name="T27" fmla="*/ 94 h 382"/>
              <a:gd name="T28" fmla="*/ 310 w 394"/>
              <a:gd name="T29" fmla="*/ 85 h 382"/>
              <a:gd name="T30" fmla="*/ 307 w 394"/>
              <a:gd name="T31" fmla="*/ 75 h 382"/>
              <a:gd name="T32" fmla="*/ 316 w 394"/>
              <a:gd name="T33" fmla="*/ 60 h 382"/>
              <a:gd name="T34" fmla="*/ 322 w 394"/>
              <a:gd name="T35" fmla="*/ 50 h 382"/>
              <a:gd name="T36" fmla="*/ 322 w 394"/>
              <a:gd name="T37" fmla="*/ 41 h 382"/>
              <a:gd name="T38" fmla="*/ 319 w 394"/>
              <a:gd name="T39" fmla="*/ 38 h 382"/>
              <a:gd name="T40" fmla="*/ 322 w 394"/>
              <a:gd name="T41" fmla="*/ 16 h 382"/>
              <a:gd name="T42" fmla="*/ 322 w 394"/>
              <a:gd name="T43" fmla="*/ 3 h 382"/>
              <a:gd name="T44" fmla="*/ 313 w 394"/>
              <a:gd name="T45" fmla="*/ 3 h 382"/>
              <a:gd name="T46" fmla="*/ 297 w 394"/>
              <a:gd name="T47" fmla="*/ 0 h 382"/>
              <a:gd name="T48" fmla="*/ 285 w 394"/>
              <a:gd name="T49" fmla="*/ 6 h 382"/>
              <a:gd name="T50" fmla="*/ 279 w 394"/>
              <a:gd name="T51" fmla="*/ 0 h 382"/>
              <a:gd name="T52" fmla="*/ 272 w 394"/>
              <a:gd name="T53" fmla="*/ 6 h 382"/>
              <a:gd name="T54" fmla="*/ 263 w 394"/>
              <a:gd name="T55" fmla="*/ 10 h 382"/>
              <a:gd name="T56" fmla="*/ 250 w 394"/>
              <a:gd name="T57" fmla="*/ 6 h 382"/>
              <a:gd name="T58" fmla="*/ 238 w 394"/>
              <a:gd name="T59" fmla="*/ 6 h 382"/>
              <a:gd name="T60" fmla="*/ 232 w 394"/>
              <a:gd name="T61" fmla="*/ 3 h 382"/>
              <a:gd name="T62" fmla="*/ 219 w 394"/>
              <a:gd name="T63" fmla="*/ 6 h 382"/>
              <a:gd name="T64" fmla="*/ 207 w 394"/>
              <a:gd name="T65" fmla="*/ 10 h 382"/>
              <a:gd name="T66" fmla="*/ 191 w 394"/>
              <a:gd name="T67" fmla="*/ 10 h 382"/>
              <a:gd name="T68" fmla="*/ 175 w 394"/>
              <a:gd name="T69" fmla="*/ 19 h 382"/>
              <a:gd name="T70" fmla="*/ 166 w 394"/>
              <a:gd name="T71" fmla="*/ 28 h 382"/>
              <a:gd name="T72" fmla="*/ 160 w 394"/>
              <a:gd name="T73" fmla="*/ 28 h 382"/>
              <a:gd name="T74" fmla="*/ 150 w 394"/>
              <a:gd name="T75" fmla="*/ 31 h 382"/>
              <a:gd name="T76" fmla="*/ 144 w 394"/>
              <a:gd name="T77" fmla="*/ 38 h 382"/>
              <a:gd name="T78" fmla="*/ 128 w 394"/>
              <a:gd name="T79" fmla="*/ 44 h 382"/>
              <a:gd name="T80" fmla="*/ 135 w 394"/>
              <a:gd name="T81" fmla="*/ 50 h 382"/>
              <a:gd name="T82" fmla="*/ 135 w 394"/>
              <a:gd name="T83" fmla="*/ 63 h 382"/>
              <a:gd name="T84" fmla="*/ 138 w 394"/>
              <a:gd name="T85" fmla="*/ 88 h 382"/>
              <a:gd name="T86" fmla="*/ 144 w 394"/>
              <a:gd name="T87" fmla="*/ 97 h 382"/>
              <a:gd name="T88" fmla="*/ 150 w 394"/>
              <a:gd name="T89" fmla="*/ 100 h 382"/>
              <a:gd name="T90" fmla="*/ 144 w 394"/>
              <a:gd name="T91" fmla="*/ 113 h 382"/>
              <a:gd name="T92" fmla="*/ 113 w 394"/>
              <a:gd name="T93" fmla="*/ 119 h 382"/>
              <a:gd name="T94" fmla="*/ 107 w 394"/>
              <a:gd name="T95" fmla="*/ 135 h 382"/>
              <a:gd name="T96" fmla="*/ 72 w 394"/>
              <a:gd name="T97" fmla="*/ 160 h 382"/>
              <a:gd name="T98" fmla="*/ 41 w 394"/>
              <a:gd name="T99" fmla="*/ 172 h 382"/>
              <a:gd name="T100" fmla="*/ 19 w 394"/>
              <a:gd name="T101" fmla="*/ 175 h 382"/>
              <a:gd name="T102" fmla="*/ 0 w 394"/>
              <a:gd name="T103" fmla="*/ 191 h 382"/>
              <a:gd name="T104" fmla="*/ 0 w 394"/>
              <a:gd name="T105" fmla="*/ 213 h 382"/>
              <a:gd name="T106" fmla="*/ 72 w 394"/>
              <a:gd name="T107" fmla="*/ 260 h 382"/>
              <a:gd name="T108" fmla="*/ 203 w 394"/>
              <a:gd name="T109" fmla="*/ 354 h 382"/>
              <a:gd name="T110" fmla="*/ 219 w 394"/>
              <a:gd name="T111" fmla="*/ 360 h 382"/>
              <a:gd name="T112" fmla="*/ 232 w 394"/>
              <a:gd name="T113" fmla="*/ 369 h 382"/>
              <a:gd name="T114" fmla="*/ 232 w 394"/>
              <a:gd name="T115" fmla="*/ 382 h 382"/>
              <a:gd name="T116" fmla="*/ 253 w 394"/>
              <a:gd name="T117" fmla="*/ 379 h 382"/>
              <a:gd name="T118" fmla="*/ 282 w 394"/>
              <a:gd name="T119" fmla="*/ 372 h 382"/>
              <a:gd name="T120" fmla="*/ 394 w 394"/>
              <a:gd name="T121" fmla="*/ 294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4" h="382">
                <a:moveTo>
                  <a:pt x="394" y="294"/>
                </a:moveTo>
                <a:lnTo>
                  <a:pt x="391" y="294"/>
                </a:lnTo>
                <a:lnTo>
                  <a:pt x="391" y="291"/>
                </a:lnTo>
                <a:lnTo>
                  <a:pt x="388" y="288"/>
                </a:lnTo>
                <a:lnTo>
                  <a:pt x="385" y="279"/>
                </a:lnTo>
                <a:lnTo>
                  <a:pt x="382" y="275"/>
                </a:lnTo>
                <a:lnTo>
                  <a:pt x="379" y="272"/>
                </a:lnTo>
                <a:lnTo>
                  <a:pt x="369" y="272"/>
                </a:lnTo>
                <a:lnTo>
                  <a:pt x="363" y="272"/>
                </a:lnTo>
                <a:lnTo>
                  <a:pt x="360" y="269"/>
                </a:lnTo>
                <a:lnTo>
                  <a:pt x="360" y="266"/>
                </a:lnTo>
                <a:lnTo>
                  <a:pt x="357" y="263"/>
                </a:lnTo>
                <a:lnTo>
                  <a:pt x="357" y="260"/>
                </a:lnTo>
                <a:lnTo>
                  <a:pt x="357" y="257"/>
                </a:lnTo>
                <a:lnTo>
                  <a:pt x="357" y="250"/>
                </a:lnTo>
                <a:lnTo>
                  <a:pt x="357" y="250"/>
                </a:lnTo>
                <a:lnTo>
                  <a:pt x="350" y="244"/>
                </a:lnTo>
                <a:lnTo>
                  <a:pt x="347" y="238"/>
                </a:lnTo>
                <a:lnTo>
                  <a:pt x="344" y="235"/>
                </a:lnTo>
                <a:lnTo>
                  <a:pt x="344" y="232"/>
                </a:lnTo>
                <a:lnTo>
                  <a:pt x="347" y="229"/>
                </a:lnTo>
                <a:lnTo>
                  <a:pt x="350" y="225"/>
                </a:lnTo>
                <a:lnTo>
                  <a:pt x="354" y="225"/>
                </a:lnTo>
                <a:lnTo>
                  <a:pt x="354" y="216"/>
                </a:lnTo>
                <a:lnTo>
                  <a:pt x="350" y="213"/>
                </a:lnTo>
                <a:lnTo>
                  <a:pt x="350" y="210"/>
                </a:lnTo>
                <a:lnTo>
                  <a:pt x="354" y="200"/>
                </a:lnTo>
                <a:lnTo>
                  <a:pt x="350" y="194"/>
                </a:lnTo>
                <a:lnTo>
                  <a:pt x="350" y="185"/>
                </a:lnTo>
                <a:lnTo>
                  <a:pt x="350" y="182"/>
                </a:lnTo>
                <a:lnTo>
                  <a:pt x="350" y="175"/>
                </a:lnTo>
                <a:lnTo>
                  <a:pt x="350" y="163"/>
                </a:lnTo>
                <a:lnTo>
                  <a:pt x="347" y="157"/>
                </a:lnTo>
                <a:lnTo>
                  <a:pt x="344" y="157"/>
                </a:lnTo>
                <a:lnTo>
                  <a:pt x="344" y="150"/>
                </a:lnTo>
                <a:lnTo>
                  <a:pt x="347" y="147"/>
                </a:lnTo>
                <a:lnTo>
                  <a:pt x="335" y="110"/>
                </a:lnTo>
                <a:lnTo>
                  <a:pt x="329" y="103"/>
                </a:lnTo>
                <a:lnTo>
                  <a:pt x="325" y="103"/>
                </a:lnTo>
                <a:lnTo>
                  <a:pt x="325" y="100"/>
                </a:lnTo>
                <a:lnTo>
                  <a:pt x="319" y="97"/>
                </a:lnTo>
                <a:lnTo>
                  <a:pt x="319" y="94"/>
                </a:lnTo>
                <a:lnTo>
                  <a:pt x="313" y="88"/>
                </a:lnTo>
                <a:lnTo>
                  <a:pt x="313" y="88"/>
                </a:lnTo>
                <a:lnTo>
                  <a:pt x="310" y="85"/>
                </a:lnTo>
                <a:lnTo>
                  <a:pt x="310" y="81"/>
                </a:lnTo>
                <a:lnTo>
                  <a:pt x="307" y="78"/>
                </a:lnTo>
                <a:lnTo>
                  <a:pt x="307" y="75"/>
                </a:lnTo>
                <a:lnTo>
                  <a:pt x="310" y="66"/>
                </a:lnTo>
                <a:lnTo>
                  <a:pt x="313" y="63"/>
                </a:lnTo>
                <a:lnTo>
                  <a:pt x="316" y="60"/>
                </a:lnTo>
                <a:lnTo>
                  <a:pt x="316" y="60"/>
                </a:lnTo>
                <a:lnTo>
                  <a:pt x="319" y="56"/>
                </a:lnTo>
                <a:lnTo>
                  <a:pt x="322" y="50"/>
                </a:lnTo>
                <a:lnTo>
                  <a:pt x="322" y="47"/>
                </a:lnTo>
                <a:lnTo>
                  <a:pt x="319" y="44"/>
                </a:lnTo>
                <a:lnTo>
                  <a:pt x="322" y="41"/>
                </a:lnTo>
                <a:lnTo>
                  <a:pt x="322" y="41"/>
                </a:lnTo>
                <a:lnTo>
                  <a:pt x="322" y="41"/>
                </a:lnTo>
                <a:lnTo>
                  <a:pt x="319" y="38"/>
                </a:lnTo>
                <a:lnTo>
                  <a:pt x="319" y="31"/>
                </a:lnTo>
                <a:lnTo>
                  <a:pt x="322" y="22"/>
                </a:lnTo>
                <a:lnTo>
                  <a:pt x="322" y="16"/>
                </a:lnTo>
                <a:lnTo>
                  <a:pt x="322" y="10"/>
                </a:lnTo>
                <a:lnTo>
                  <a:pt x="322" y="6"/>
                </a:lnTo>
                <a:lnTo>
                  <a:pt x="322" y="3"/>
                </a:lnTo>
                <a:lnTo>
                  <a:pt x="322" y="3"/>
                </a:lnTo>
                <a:lnTo>
                  <a:pt x="316" y="3"/>
                </a:lnTo>
                <a:lnTo>
                  <a:pt x="313" y="3"/>
                </a:lnTo>
                <a:lnTo>
                  <a:pt x="307" y="6"/>
                </a:lnTo>
                <a:lnTo>
                  <a:pt x="300" y="3"/>
                </a:lnTo>
                <a:lnTo>
                  <a:pt x="297" y="0"/>
                </a:lnTo>
                <a:lnTo>
                  <a:pt x="297" y="3"/>
                </a:lnTo>
                <a:lnTo>
                  <a:pt x="291" y="6"/>
                </a:lnTo>
                <a:lnTo>
                  <a:pt x="285" y="6"/>
                </a:lnTo>
                <a:lnTo>
                  <a:pt x="285" y="3"/>
                </a:lnTo>
                <a:lnTo>
                  <a:pt x="282" y="0"/>
                </a:lnTo>
                <a:lnTo>
                  <a:pt x="279" y="0"/>
                </a:lnTo>
                <a:lnTo>
                  <a:pt x="279" y="3"/>
                </a:lnTo>
                <a:lnTo>
                  <a:pt x="272" y="3"/>
                </a:lnTo>
                <a:lnTo>
                  <a:pt x="272" y="6"/>
                </a:lnTo>
                <a:lnTo>
                  <a:pt x="269" y="6"/>
                </a:lnTo>
                <a:lnTo>
                  <a:pt x="266" y="6"/>
                </a:lnTo>
                <a:lnTo>
                  <a:pt x="263" y="10"/>
                </a:lnTo>
                <a:lnTo>
                  <a:pt x="257" y="10"/>
                </a:lnTo>
                <a:lnTo>
                  <a:pt x="257" y="6"/>
                </a:lnTo>
                <a:lnTo>
                  <a:pt x="250" y="6"/>
                </a:lnTo>
                <a:lnTo>
                  <a:pt x="247" y="3"/>
                </a:lnTo>
                <a:lnTo>
                  <a:pt x="241" y="6"/>
                </a:lnTo>
                <a:lnTo>
                  <a:pt x="238" y="6"/>
                </a:lnTo>
                <a:lnTo>
                  <a:pt x="235" y="6"/>
                </a:lnTo>
                <a:lnTo>
                  <a:pt x="232" y="3"/>
                </a:lnTo>
                <a:lnTo>
                  <a:pt x="232" y="3"/>
                </a:lnTo>
                <a:lnTo>
                  <a:pt x="228" y="10"/>
                </a:lnTo>
                <a:lnTo>
                  <a:pt x="225" y="10"/>
                </a:lnTo>
                <a:lnTo>
                  <a:pt x="219" y="6"/>
                </a:lnTo>
                <a:lnTo>
                  <a:pt x="216" y="13"/>
                </a:lnTo>
                <a:lnTo>
                  <a:pt x="213" y="13"/>
                </a:lnTo>
                <a:lnTo>
                  <a:pt x="207" y="10"/>
                </a:lnTo>
                <a:lnTo>
                  <a:pt x="203" y="10"/>
                </a:lnTo>
                <a:lnTo>
                  <a:pt x="197" y="13"/>
                </a:lnTo>
                <a:lnTo>
                  <a:pt x="191" y="10"/>
                </a:lnTo>
                <a:lnTo>
                  <a:pt x="182" y="19"/>
                </a:lnTo>
                <a:lnTo>
                  <a:pt x="175" y="19"/>
                </a:lnTo>
                <a:lnTo>
                  <a:pt x="175" y="19"/>
                </a:lnTo>
                <a:lnTo>
                  <a:pt x="169" y="22"/>
                </a:lnTo>
                <a:lnTo>
                  <a:pt x="169" y="25"/>
                </a:lnTo>
                <a:lnTo>
                  <a:pt x="166" y="28"/>
                </a:lnTo>
                <a:lnTo>
                  <a:pt x="166" y="28"/>
                </a:lnTo>
                <a:lnTo>
                  <a:pt x="163" y="28"/>
                </a:lnTo>
                <a:lnTo>
                  <a:pt x="160" y="28"/>
                </a:lnTo>
                <a:lnTo>
                  <a:pt x="160" y="28"/>
                </a:lnTo>
                <a:lnTo>
                  <a:pt x="157" y="31"/>
                </a:lnTo>
                <a:lnTo>
                  <a:pt x="150" y="31"/>
                </a:lnTo>
                <a:lnTo>
                  <a:pt x="147" y="31"/>
                </a:lnTo>
                <a:lnTo>
                  <a:pt x="144" y="35"/>
                </a:lnTo>
                <a:lnTo>
                  <a:pt x="144" y="38"/>
                </a:lnTo>
                <a:lnTo>
                  <a:pt x="141" y="41"/>
                </a:lnTo>
                <a:lnTo>
                  <a:pt x="135" y="44"/>
                </a:lnTo>
                <a:lnTo>
                  <a:pt x="128" y="44"/>
                </a:lnTo>
                <a:lnTo>
                  <a:pt x="132" y="47"/>
                </a:lnTo>
                <a:lnTo>
                  <a:pt x="132" y="47"/>
                </a:lnTo>
                <a:lnTo>
                  <a:pt x="135" y="50"/>
                </a:lnTo>
                <a:lnTo>
                  <a:pt x="135" y="53"/>
                </a:lnTo>
                <a:lnTo>
                  <a:pt x="135" y="56"/>
                </a:lnTo>
                <a:lnTo>
                  <a:pt x="135" y="63"/>
                </a:lnTo>
                <a:lnTo>
                  <a:pt x="135" y="69"/>
                </a:lnTo>
                <a:lnTo>
                  <a:pt x="135" y="72"/>
                </a:lnTo>
                <a:lnTo>
                  <a:pt x="138" y="88"/>
                </a:lnTo>
                <a:lnTo>
                  <a:pt x="141" y="94"/>
                </a:lnTo>
                <a:lnTo>
                  <a:pt x="141" y="97"/>
                </a:lnTo>
                <a:lnTo>
                  <a:pt x="144" y="97"/>
                </a:lnTo>
                <a:lnTo>
                  <a:pt x="147" y="100"/>
                </a:lnTo>
                <a:lnTo>
                  <a:pt x="147" y="100"/>
                </a:lnTo>
                <a:lnTo>
                  <a:pt x="150" y="100"/>
                </a:lnTo>
                <a:lnTo>
                  <a:pt x="147" y="107"/>
                </a:lnTo>
                <a:lnTo>
                  <a:pt x="147" y="107"/>
                </a:lnTo>
                <a:lnTo>
                  <a:pt x="144" y="113"/>
                </a:lnTo>
                <a:lnTo>
                  <a:pt x="122" y="113"/>
                </a:lnTo>
                <a:lnTo>
                  <a:pt x="119" y="113"/>
                </a:lnTo>
                <a:lnTo>
                  <a:pt x="113" y="119"/>
                </a:lnTo>
                <a:lnTo>
                  <a:pt x="110" y="122"/>
                </a:lnTo>
                <a:lnTo>
                  <a:pt x="107" y="128"/>
                </a:lnTo>
                <a:lnTo>
                  <a:pt x="107" y="135"/>
                </a:lnTo>
                <a:lnTo>
                  <a:pt x="107" y="138"/>
                </a:lnTo>
                <a:lnTo>
                  <a:pt x="91" y="147"/>
                </a:lnTo>
                <a:lnTo>
                  <a:pt x="72" y="160"/>
                </a:lnTo>
                <a:lnTo>
                  <a:pt x="53" y="169"/>
                </a:lnTo>
                <a:lnTo>
                  <a:pt x="47" y="172"/>
                </a:lnTo>
                <a:lnTo>
                  <a:pt x="41" y="172"/>
                </a:lnTo>
                <a:lnTo>
                  <a:pt x="35" y="172"/>
                </a:lnTo>
                <a:lnTo>
                  <a:pt x="32" y="172"/>
                </a:lnTo>
                <a:lnTo>
                  <a:pt x="19" y="175"/>
                </a:lnTo>
                <a:lnTo>
                  <a:pt x="13" y="178"/>
                </a:lnTo>
                <a:lnTo>
                  <a:pt x="10" y="182"/>
                </a:lnTo>
                <a:lnTo>
                  <a:pt x="0" y="191"/>
                </a:lnTo>
                <a:lnTo>
                  <a:pt x="0" y="207"/>
                </a:lnTo>
                <a:lnTo>
                  <a:pt x="0" y="207"/>
                </a:lnTo>
                <a:lnTo>
                  <a:pt x="0" y="213"/>
                </a:lnTo>
                <a:lnTo>
                  <a:pt x="0" y="213"/>
                </a:lnTo>
                <a:lnTo>
                  <a:pt x="0" y="213"/>
                </a:lnTo>
                <a:lnTo>
                  <a:pt x="72" y="260"/>
                </a:lnTo>
                <a:lnTo>
                  <a:pt x="72" y="260"/>
                </a:lnTo>
                <a:lnTo>
                  <a:pt x="200" y="344"/>
                </a:lnTo>
                <a:lnTo>
                  <a:pt x="203" y="354"/>
                </a:lnTo>
                <a:lnTo>
                  <a:pt x="207" y="357"/>
                </a:lnTo>
                <a:lnTo>
                  <a:pt x="213" y="357"/>
                </a:lnTo>
                <a:lnTo>
                  <a:pt x="219" y="360"/>
                </a:lnTo>
                <a:lnTo>
                  <a:pt x="222" y="363"/>
                </a:lnTo>
                <a:lnTo>
                  <a:pt x="228" y="366"/>
                </a:lnTo>
                <a:lnTo>
                  <a:pt x="232" y="369"/>
                </a:lnTo>
                <a:lnTo>
                  <a:pt x="232" y="372"/>
                </a:lnTo>
                <a:lnTo>
                  <a:pt x="228" y="379"/>
                </a:lnTo>
                <a:lnTo>
                  <a:pt x="232" y="382"/>
                </a:lnTo>
                <a:lnTo>
                  <a:pt x="235" y="382"/>
                </a:lnTo>
                <a:lnTo>
                  <a:pt x="244" y="382"/>
                </a:lnTo>
                <a:lnTo>
                  <a:pt x="253" y="379"/>
                </a:lnTo>
                <a:lnTo>
                  <a:pt x="253" y="379"/>
                </a:lnTo>
                <a:lnTo>
                  <a:pt x="253" y="379"/>
                </a:lnTo>
                <a:lnTo>
                  <a:pt x="282" y="372"/>
                </a:lnTo>
                <a:lnTo>
                  <a:pt x="307" y="351"/>
                </a:lnTo>
                <a:lnTo>
                  <a:pt x="394" y="294"/>
                </a:lnTo>
                <a:lnTo>
                  <a:pt x="394" y="29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7" name="Freeform 115">
            <a:extLst>
              <a:ext uri="{FF2B5EF4-FFF2-40B4-BE49-F238E27FC236}">
                <a16:creationId xmlns:a16="http://schemas.microsoft.com/office/drawing/2014/main" id="{3178F600-193A-5956-2E3F-5727CB179D45}"/>
              </a:ext>
            </a:extLst>
          </p:cNvPr>
          <p:cNvSpPr>
            <a:spLocks/>
          </p:cNvSpPr>
          <p:nvPr userDrawn="1"/>
        </p:nvSpPr>
        <p:spPr bwMode="auto">
          <a:xfrm>
            <a:off x="12394390" y="7031907"/>
            <a:ext cx="723855" cy="577850"/>
          </a:xfrm>
          <a:custGeom>
            <a:avLst/>
            <a:gdLst>
              <a:gd name="T0" fmla="*/ 78 w 228"/>
              <a:gd name="T1" fmla="*/ 166 h 182"/>
              <a:gd name="T2" fmla="*/ 91 w 228"/>
              <a:gd name="T3" fmla="*/ 153 h 182"/>
              <a:gd name="T4" fmla="*/ 110 w 228"/>
              <a:gd name="T5" fmla="*/ 147 h 182"/>
              <a:gd name="T6" fmla="*/ 119 w 228"/>
              <a:gd name="T7" fmla="*/ 147 h 182"/>
              <a:gd name="T8" fmla="*/ 131 w 228"/>
              <a:gd name="T9" fmla="*/ 144 h 182"/>
              <a:gd name="T10" fmla="*/ 169 w 228"/>
              <a:gd name="T11" fmla="*/ 122 h 182"/>
              <a:gd name="T12" fmla="*/ 185 w 228"/>
              <a:gd name="T13" fmla="*/ 110 h 182"/>
              <a:gd name="T14" fmla="*/ 188 w 228"/>
              <a:gd name="T15" fmla="*/ 97 h 182"/>
              <a:gd name="T16" fmla="*/ 197 w 228"/>
              <a:gd name="T17" fmla="*/ 88 h 182"/>
              <a:gd name="T18" fmla="*/ 222 w 228"/>
              <a:gd name="T19" fmla="*/ 88 h 182"/>
              <a:gd name="T20" fmla="*/ 225 w 228"/>
              <a:gd name="T21" fmla="*/ 82 h 182"/>
              <a:gd name="T22" fmla="*/ 225 w 228"/>
              <a:gd name="T23" fmla="*/ 75 h 182"/>
              <a:gd name="T24" fmla="*/ 222 w 228"/>
              <a:gd name="T25" fmla="*/ 72 h 182"/>
              <a:gd name="T26" fmla="*/ 219 w 228"/>
              <a:gd name="T27" fmla="*/ 69 h 182"/>
              <a:gd name="T28" fmla="*/ 213 w 228"/>
              <a:gd name="T29" fmla="*/ 47 h 182"/>
              <a:gd name="T30" fmla="*/ 213 w 228"/>
              <a:gd name="T31" fmla="*/ 38 h 182"/>
              <a:gd name="T32" fmla="*/ 213 w 228"/>
              <a:gd name="T33" fmla="*/ 28 h 182"/>
              <a:gd name="T34" fmla="*/ 210 w 228"/>
              <a:gd name="T35" fmla="*/ 22 h 182"/>
              <a:gd name="T36" fmla="*/ 206 w 228"/>
              <a:gd name="T37" fmla="*/ 19 h 182"/>
              <a:gd name="T38" fmla="*/ 194 w 228"/>
              <a:gd name="T39" fmla="*/ 19 h 182"/>
              <a:gd name="T40" fmla="*/ 191 w 228"/>
              <a:gd name="T41" fmla="*/ 13 h 182"/>
              <a:gd name="T42" fmla="*/ 188 w 228"/>
              <a:gd name="T43" fmla="*/ 10 h 182"/>
              <a:gd name="T44" fmla="*/ 178 w 228"/>
              <a:gd name="T45" fmla="*/ 16 h 182"/>
              <a:gd name="T46" fmla="*/ 169 w 228"/>
              <a:gd name="T47" fmla="*/ 13 h 182"/>
              <a:gd name="T48" fmla="*/ 160 w 228"/>
              <a:gd name="T49" fmla="*/ 16 h 182"/>
              <a:gd name="T50" fmla="*/ 150 w 228"/>
              <a:gd name="T51" fmla="*/ 10 h 182"/>
              <a:gd name="T52" fmla="*/ 147 w 228"/>
              <a:gd name="T53" fmla="*/ 6 h 182"/>
              <a:gd name="T54" fmla="*/ 147 w 228"/>
              <a:gd name="T55" fmla="*/ 3 h 182"/>
              <a:gd name="T56" fmla="*/ 141 w 228"/>
              <a:gd name="T57" fmla="*/ 3 h 182"/>
              <a:gd name="T58" fmla="*/ 138 w 228"/>
              <a:gd name="T59" fmla="*/ 3 h 182"/>
              <a:gd name="T60" fmla="*/ 131 w 228"/>
              <a:gd name="T61" fmla="*/ 19 h 182"/>
              <a:gd name="T62" fmla="*/ 128 w 228"/>
              <a:gd name="T63" fmla="*/ 31 h 182"/>
              <a:gd name="T64" fmla="*/ 116 w 228"/>
              <a:gd name="T65" fmla="*/ 44 h 182"/>
              <a:gd name="T66" fmla="*/ 110 w 228"/>
              <a:gd name="T67" fmla="*/ 47 h 182"/>
              <a:gd name="T68" fmla="*/ 97 w 228"/>
              <a:gd name="T69" fmla="*/ 56 h 182"/>
              <a:gd name="T70" fmla="*/ 88 w 228"/>
              <a:gd name="T71" fmla="*/ 63 h 182"/>
              <a:gd name="T72" fmla="*/ 78 w 228"/>
              <a:gd name="T73" fmla="*/ 69 h 182"/>
              <a:gd name="T74" fmla="*/ 72 w 228"/>
              <a:gd name="T75" fmla="*/ 82 h 182"/>
              <a:gd name="T76" fmla="*/ 66 w 228"/>
              <a:gd name="T77" fmla="*/ 94 h 182"/>
              <a:gd name="T78" fmla="*/ 60 w 228"/>
              <a:gd name="T79" fmla="*/ 107 h 182"/>
              <a:gd name="T80" fmla="*/ 60 w 228"/>
              <a:gd name="T81" fmla="*/ 122 h 182"/>
              <a:gd name="T82" fmla="*/ 63 w 228"/>
              <a:gd name="T83" fmla="*/ 125 h 182"/>
              <a:gd name="T84" fmla="*/ 50 w 228"/>
              <a:gd name="T85" fmla="*/ 144 h 182"/>
              <a:gd name="T86" fmla="*/ 44 w 228"/>
              <a:gd name="T87" fmla="*/ 157 h 182"/>
              <a:gd name="T88" fmla="*/ 25 w 228"/>
              <a:gd name="T89" fmla="*/ 169 h 182"/>
              <a:gd name="T90" fmla="*/ 0 w 228"/>
              <a:gd name="T91" fmla="*/ 182 h 182"/>
              <a:gd name="T92" fmla="*/ 78 w 228"/>
              <a:gd name="T93"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8" h="182">
                <a:moveTo>
                  <a:pt x="78" y="182"/>
                </a:moveTo>
                <a:lnTo>
                  <a:pt x="78" y="166"/>
                </a:lnTo>
                <a:lnTo>
                  <a:pt x="88" y="157"/>
                </a:lnTo>
                <a:lnTo>
                  <a:pt x="91" y="153"/>
                </a:lnTo>
                <a:lnTo>
                  <a:pt x="97" y="150"/>
                </a:lnTo>
                <a:lnTo>
                  <a:pt x="110" y="147"/>
                </a:lnTo>
                <a:lnTo>
                  <a:pt x="113" y="147"/>
                </a:lnTo>
                <a:lnTo>
                  <a:pt x="119" y="147"/>
                </a:lnTo>
                <a:lnTo>
                  <a:pt x="125" y="147"/>
                </a:lnTo>
                <a:lnTo>
                  <a:pt x="131" y="144"/>
                </a:lnTo>
                <a:lnTo>
                  <a:pt x="150" y="135"/>
                </a:lnTo>
                <a:lnTo>
                  <a:pt x="169" y="122"/>
                </a:lnTo>
                <a:lnTo>
                  <a:pt x="185" y="113"/>
                </a:lnTo>
                <a:lnTo>
                  <a:pt x="185" y="110"/>
                </a:lnTo>
                <a:lnTo>
                  <a:pt x="185" y="103"/>
                </a:lnTo>
                <a:lnTo>
                  <a:pt x="188" y="97"/>
                </a:lnTo>
                <a:lnTo>
                  <a:pt x="191" y="94"/>
                </a:lnTo>
                <a:lnTo>
                  <a:pt x="197" y="88"/>
                </a:lnTo>
                <a:lnTo>
                  <a:pt x="200" y="88"/>
                </a:lnTo>
                <a:lnTo>
                  <a:pt x="222" y="88"/>
                </a:lnTo>
                <a:lnTo>
                  <a:pt x="225" y="82"/>
                </a:lnTo>
                <a:lnTo>
                  <a:pt x="225" y="82"/>
                </a:lnTo>
                <a:lnTo>
                  <a:pt x="228" y="75"/>
                </a:lnTo>
                <a:lnTo>
                  <a:pt x="225" y="75"/>
                </a:lnTo>
                <a:lnTo>
                  <a:pt x="225" y="75"/>
                </a:lnTo>
                <a:lnTo>
                  <a:pt x="222" y="72"/>
                </a:lnTo>
                <a:lnTo>
                  <a:pt x="219" y="72"/>
                </a:lnTo>
                <a:lnTo>
                  <a:pt x="219" y="69"/>
                </a:lnTo>
                <a:lnTo>
                  <a:pt x="216" y="63"/>
                </a:lnTo>
                <a:lnTo>
                  <a:pt x="213" y="47"/>
                </a:lnTo>
                <a:lnTo>
                  <a:pt x="213" y="44"/>
                </a:lnTo>
                <a:lnTo>
                  <a:pt x="213" y="38"/>
                </a:lnTo>
                <a:lnTo>
                  <a:pt x="213" y="31"/>
                </a:lnTo>
                <a:lnTo>
                  <a:pt x="213" y="28"/>
                </a:lnTo>
                <a:lnTo>
                  <a:pt x="213" y="25"/>
                </a:lnTo>
                <a:lnTo>
                  <a:pt x="210" y="22"/>
                </a:lnTo>
                <a:lnTo>
                  <a:pt x="210" y="22"/>
                </a:lnTo>
                <a:lnTo>
                  <a:pt x="206" y="19"/>
                </a:lnTo>
                <a:lnTo>
                  <a:pt x="203" y="19"/>
                </a:lnTo>
                <a:lnTo>
                  <a:pt x="194" y="19"/>
                </a:lnTo>
                <a:lnTo>
                  <a:pt x="191" y="16"/>
                </a:lnTo>
                <a:lnTo>
                  <a:pt x="191" y="13"/>
                </a:lnTo>
                <a:lnTo>
                  <a:pt x="188" y="10"/>
                </a:lnTo>
                <a:lnTo>
                  <a:pt x="188" y="10"/>
                </a:lnTo>
                <a:lnTo>
                  <a:pt x="185" y="16"/>
                </a:lnTo>
                <a:lnTo>
                  <a:pt x="178" y="16"/>
                </a:lnTo>
                <a:lnTo>
                  <a:pt x="172" y="16"/>
                </a:lnTo>
                <a:lnTo>
                  <a:pt x="169" y="13"/>
                </a:lnTo>
                <a:lnTo>
                  <a:pt x="166" y="16"/>
                </a:lnTo>
                <a:lnTo>
                  <a:pt x="160" y="16"/>
                </a:lnTo>
                <a:lnTo>
                  <a:pt x="153" y="16"/>
                </a:lnTo>
                <a:lnTo>
                  <a:pt x="150" y="10"/>
                </a:lnTo>
                <a:lnTo>
                  <a:pt x="147" y="10"/>
                </a:lnTo>
                <a:lnTo>
                  <a:pt x="147" y="6"/>
                </a:lnTo>
                <a:lnTo>
                  <a:pt x="147" y="3"/>
                </a:lnTo>
                <a:lnTo>
                  <a:pt x="147" y="3"/>
                </a:lnTo>
                <a:lnTo>
                  <a:pt x="144" y="0"/>
                </a:lnTo>
                <a:lnTo>
                  <a:pt x="141" y="3"/>
                </a:lnTo>
                <a:lnTo>
                  <a:pt x="141" y="3"/>
                </a:lnTo>
                <a:lnTo>
                  <a:pt x="138" y="3"/>
                </a:lnTo>
                <a:lnTo>
                  <a:pt x="135" y="6"/>
                </a:lnTo>
                <a:lnTo>
                  <a:pt x="131" y="19"/>
                </a:lnTo>
                <a:lnTo>
                  <a:pt x="128" y="25"/>
                </a:lnTo>
                <a:lnTo>
                  <a:pt x="128" y="31"/>
                </a:lnTo>
                <a:lnTo>
                  <a:pt x="125" y="38"/>
                </a:lnTo>
                <a:lnTo>
                  <a:pt x="116" y="44"/>
                </a:lnTo>
                <a:lnTo>
                  <a:pt x="113" y="44"/>
                </a:lnTo>
                <a:lnTo>
                  <a:pt x="110" y="47"/>
                </a:lnTo>
                <a:lnTo>
                  <a:pt x="103" y="50"/>
                </a:lnTo>
                <a:lnTo>
                  <a:pt x="97" y="56"/>
                </a:lnTo>
                <a:lnTo>
                  <a:pt x="94" y="56"/>
                </a:lnTo>
                <a:lnTo>
                  <a:pt x="88" y="63"/>
                </a:lnTo>
                <a:lnTo>
                  <a:pt x="81" y="63"/>
                </a:lnTo>
                <a:lnTo>
                  <a:pt x="78" y="69"/>
                </a:lnTo>
                <a:lnTo>
                  <a:pt x="69" y="75"/>
                </a:lnTo>
                <a:lnTo>
                  <a:pt x="72" y="82"/>
                </a:lnTo>
                <a:lnTo>
                  <a:pt x="72" y="85"/>
                </a:lnTo>
                <a:lnTo>
                  <a:pt x="66" y="94"/>
                </a:lnTo>
                <a:lnTo>
                  <a:pt x="60" y="103"/>
                </a:lnTo>
                <a:lnTo>
                  <a:pt x="60" y="107"/>
                </a:lnTo>
                <a:lnTo>
                  <a:pt x="63" y="113"/>
                </a:lnTo>
                <a:lnTo>
                  <a:pt x="60" y="122"/>
                </a:lnTo>
                <a:lnTo>
                  <a:pt x="63" y="122"/>
                </a:lnTo>
                <a:lnTo>
                  <a:pt x="63" y="125"/>
                </a:lnTo>
                <a:lnTo>
                  <a:pt x="63" y="132"/>
                </a:lnTo>
                <a:lnTo>
                  <a:pt x="50" y="144"/>
                </a:lnTo>
                <a:lnTo>
                  <a:pt x="50" y="150"/>
                </a:lnTo>
                <a:lnTo>
                  <a:pt x="44" y="157"/>
                </a:lnTo>
                <a:lnTo>
                  <a:pt x="38" y="157"/>
                </a:lnTo>
                <a:lnTo>
                  <a:pt x="25" y="169"/>
                </a:lnTo>
                <a:lnTo>
                  <a:pt x="3" y="172"/>
                </a:lnTo>
                <a:lnTo>
                  <a:pt x="0" y="182"/>
                </a:lnTo>
                <a:lnTo>
                  <a:pt x="78" y="182"/>
                </a:lnTo>
                <a:lnTo>
                  <a:pt x="78" y="182"/>
                </a:lnTo>
                <a:lnTo>
                  <a:pt x="78" y="182"/>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8" name="Freeform 116">
            <a:extLst>
              <a:ext uri="{FF2B5EF4-FFF2-40B4-BE49-F238E27FC236}">
                <a16:creationId xmlns:a16="http://schemas.microsoft.com/office/drawing/2014/main" id="{410972D6-96EE-C511-5928-A4D17BAEC05E}"/>
              </a:ext>
            </a:extLst>
          </p:cNvPr>
          <p:cNvSpPr>
            <a:spLocks/>
          </p:cNvSpPr>
          <p:nvPr userDrawn="1"/>
        </p:nvSpPr>
        <p:spPr bwMode="auto">
          <a:xfrm>
            <a:off x="12137233" y="7609756"/>
            <a:ext cx="504793" cy="406400"/>
          </a:xfrm>
          <a:custGeom>
            <a:avLst/>
            <a:gdLst>
              <a:gd name="T0" fmla="*/ 159 w 159"/>
              <a:gd name="T1" fmla="*/ 6 h 128"/>
              <a:gd name="T2" fmla="*/ 159 w 159"/>
              <a:gd name="T3" fmla="*/ 0 h 128"/>
              <a:gd name="T4" fmla="*/ 81 w 159"/>
              <a:gd name="T5" fmla="*/ 0 h 128"/>
              <a:gd name="T6" fmla="*/ 72 w 159"/>
              <a:gd name="T7" fmla="*/ 9 h 128"/>
              <a:gd name="T8" fmla="*/ 72 w 159"/>
              <a:gd name="T9" fmla="*/ 15 h 128"/>
              <a:gd name="T10" fmla="*/ 69 w 159"/>
              <a:gd name="T11" fmla="*/ 15 h 128"/>
              <a:gd name="T12" fmla="*/ 56 w 159"/>
              <a:gd name="T13" fmla="*/ 25 h 128"/>
              <a:gd name="T14" fmla="*/ 56 w 159"/>
              <a:gd name="T15" fmla="*/ 28 h 128"/>
              <a:gd name="T16" fmla="*/ 50 w 159"/>
              <a:gd name="T17" fmla="*/ 31 h 128"/>
              <a:gd name="T18" fmla="*/ 50 w 159"/>
              <a:gd name="T19" fmla="*/ 37 h 128"/>
              <a:gd name="T20" fmla="*/ 37 w 159"/>
              <a:gd name="T21" fmla="*/ 53 h 128"/>
              <a:gd name="T22" fmla="*/ 37 w 159"/>
              <a:gd name="T23" fmla="*/ 59 h 128"/>
              <a:gd name="T24" fmla="*/ 28 w 159"/>
              <a:gd name="T25" fmla="*/ 68 h 128"/>
              <a:gd name="T26" fmla="*/ 25 w 159"/>
              <a:gd name="T27" fmla="*/ 68 h 128"/>
              <a:gd name="T28" fmla="*/ 22 w 159"/>
              <a:gd name="T29" fmla="*/ 81 h 128"/>
              <a:gd name="T30" fmla="*/ 22 w 159"/>
              <a:gd name="T31" fmla="*/ 84 h 128"/>
              <a:gd name="T32" fmla="*/ 12 w 159"/>
              <a:gd name="T33" fmla="*/ 93 h 128"/>
              <a:gd name="T34" fmla="*/ 12 w 159"/>
              <a:gd name="T35" fmla="*/ 97 h 128"/>
              <a:gd name="T36" fmla="*/ 16 w 159"/>
              <a:gd name="T37" fmla="*/ 97 h 128"/>
              <a:gd name="T38" fmla="*/ 12 w 159"/>
              <a:gd name="T39" fmla="*/ 100 h 128"/>
              <a:gd name="T40" fmla="*/ 6 w 159"/>
              <a:gd name="T41" fmla="*/ 109 h 128"/>
              <a:gd name="T42" fmla="*/ 3 w 159"/>
              <a:gd name="T43" fmla="*/ 109 h 128"/>
              <a:gd name="T44" fmla="*/ 0 w 159"/>
              <a:gd name="T45" fmla="*/ 112 h 128"/>
              <a:gd name="T46" fmla="*/ 0 w 159"/>
              <a:gd name="T47" fmla="*/ 118 h 128"/>
              <a:gd name="T48" fmla="*/ 0 w 159"/>
              <a:gd name="T49" fmla="*/ 122 h 128"/>
              <a:gd name="T50" fmla="*/ 0 w 159"/>
              <a:gd name="T51" fmla="*/ 128 h 128"/>
              <a:gd name="T52" fmla="*/ 78 w 159"/>
              <a:gd name="T53" fmla="*/ 128 h 128"/>
              <a:gd name="T54" fmla="*/ 78 w 159"/>
              <a:gd name="T55" fmla="*/ 93 h 128"/>
              <a:gd name="T56" fmla="*/ 81 w 159"/>
              <a:gd name="T57" fmla="*/ 87 h 128"/>
              <a:gd name="T58" fmla="*/ 84 w 159"/>
              <a:gd name="T59" fmla="*/ 84 h 128"/>
              <a:gd name="T60" fmla="*/ 91 w 159"/>
              <a:gd name="T61" fmla="*/ 84 h 128"/>
              <a:gd name="T62" fmla="*/ 97 w 159"/>
              <a:gd name="T63" fmla="*/ 84 h 128"/>
              <a:gd name="T64" fmla="*/ 97 w 159"/>
              <a:gd name="T65" fmla="*/ 31 h 128"/>
              <a:gd name="T66" fmla="*/ 159 w 159"/>
              <a:gd name="T67" fmla="*/ 34 h 128"/>
              <a:gd name="T68" fmla="*/ 159 w 159"/>
              <a:gd name="T69" fmla="*/ 6 h 128"/>
              <a:gd name="T70" fmla="*/ 159 w 159"/>
              <a:gd name="T71" fmla="*/ 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28">
                <a:moveTo>
                  <a:pt x="159" y="6"/>
                </a:moveTo>
                <a:lnTo>
                  <a:pt x="159" y="0"/>
                </a:lnTo>
                <a:lnTo>
                  <a:pt x="81" y="0"/>
                </a:lnTo>
                <a:lnTo>
                  <a:pt x="72" y="9"/>
                </a:lnTo>
                <a:lnTo>
                  <a:pt x="72" y="15"/>
                </a:lnTo>
                <a:lnTo>
                  <a:pt x="69" y="15"/>
                </a:lnTo>
                <a:lnTo>
                  <a:pt x="56" y="25"/>
                </a:lnTo>
                <a:lnTo>
                  <a:pt x="56" y="28"/>
                </a:lnTo>
                <a:lnTo>
                  <a:pt x="50" y="31"/>
                </a:lnTo>
                <a:lnTo>
                  <a:pt x="50" y="37"/>
                </a:lnTo>
                <a:lnTo>
                  <a:pt x="37" y="53"/>
                </a:lnTo>
                <a:lnTo>
                  <a:pt x="37" y="59"/>
                </a:lnTo>
                <a:lnTo>
                  <a:pt x="28" y="68"/>
                </a:lnTo>
                <a:lnTo>
                  <a:pt x="25" y="68"/>
                </a:lnTo>
                <a:lnTo>
                  <a:pt x="22" y="81"/>
                </a:lnTo>
                <a:lnTo>
                  <a:pt x="22" y="84"/>
                </a:lnTo>
                <a:lnTo>
                  <a:pt x="12" y="93"/>
                </a:lnTo>
                <a:lnTo>
                  <a:pt x="12" y="97"/>
                </a:lnTo>
                <a:lnTo>
                  <a:pt x="16" y="97"/>
                </a:lnTo>
                <a:lnTo>
                  <a:pt x="12" y="100"/>
                </a:lnTo>
                <a:lnTo>
                  <a:pt x="6" y="109"/>
                </a:lnTo>
                <a:lnTo>
                  <a:pt x="3" y="109"/>
                </a:lnTo>
                <a:lnTo>
                  <a:pt x="0" y="112"/>
                </a:lnTo>
                <a:lnTo>
                  <a:pt x="0" y="118"/>
                </a:lnTo>
                <a:lnTo>
                  <a:pt x="0" y="122"/>
                </a:lnTo>
                <a:lnTo>
                  <a:pt x="0" y="128"/>
                </a:lnTo>
                <a:lnTo>
                  <a:pt x="78" y="128"/>
                </a:lnTo>
                <a:lnTo>
                  <a:pt x="78" y="93"/>
                </a:lnTo>
                <a:lnTo>
                  <a:pt x="81" y="87"/>
                </a:lnTo>
                <a:lnTo>
                  <a:pt x="84" y="84"/>
                </a:lnTo>
                <a:lnTo>
                  <a:pt x="91" y="84"/>
                </a:lnTo>
                <a:lnTo>
                  <a:pt x="97" y="84"/>
                </a:lnTo>
                <a:lnTo>
                  <a:pt x="97" y="31"/>
                </a:lnTo>
                <a:lnTo>
                  <a:pt x="159" y="34"/>
                </a:lnTo>
                <a:lnTo>
                  <a:pt x="159" y="6"/>
                </a:lnTo>
                <a:lnTo>
                  <a:pt x="159" y="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9" name="Freeform 117">
            <a:extLst>
              <a:ext uri="{FF2B5EF4-FFF2-40B4-BE49-F238E27FC236}">
                <a16:creationId xmlns:a16="http://schemas.microsoft.com/office/drawing/2014/main" id="{9F97AA04-E302-134D-90C9-36CDDF49BD4C}"/>
              </a:ext>
            </a:extLst>
          </p:cNvPr>
          <p:cNvSpPr>
            <a:spLocks/>
          </p:cNvSpPr>
          <p:nvPr userDrawn="1"/>
        </p:nvSpPr>
        <p:spPr bwMode="auto">
          <a:xfrm>
            <a:off x="12127709" y="7628807"/>
            <a:ext cx="742902" cy="803278"/>
          </a:xfrm>
          <a:custGeom>
            <a:avLst/>
            <a:gdLst>
              <a:gd name="T0" fmla="*/ 81 w 234"/>
              <a:gd name="T1" fmla="*/ 122 h 253"/>
              <a:gd name="T2" fmla="*/ 84 w 234"/>
              <a:gd name="T3" fmla="*/ 81 h 253"/>
              <a:gd name="T4" fmla="*/ 94 w 234"/>
              <a:gd name="T5" fmla="*/ 78 h 253"/>
              <a:gd name="T6" fmla="*/ 100 w 234"/>
              <a:gd name="T7" fmla="*/ 25 h 253"/>
              <a:gd name="T8" fmla="*/ 162 w 234"/>
              <a:gd name="T9" fmla="*/ 0 h 253"/>
              <a:gd name="T10" fmla="*/ 234 w 234"/>
              <a:gd name="T11" fmla="*/ 47 h 253"/>
              <a:gd name="T12" fmla="*/ 209 w 234"/>
              <a:gd name="T13" fmla="*/ 47 h 253"/>
              <a:gd name="T14" fmla="*/ 231 w 234"/>
              <a:gd name="T15" fmla="*/ 225 h 253"/>
              <a:gd name="T16" fmla="*/ 156 w 234"/>
              <a:gd name="T17" fmla="*/ 241 h 253"/>
              <a:gd name="T18" fmla="*/ 150 w 234"/>
              <a:gd name="T19" fmla="*/ 238 h 253"/>
              <a:gd name="T20" fmla="*/ 144 w 234"/>
              <a:gd name="T21" fmla="*/ 241 h 253"/>
              <a:gd name="T22" fmla="*/ 144 w 234"/>
              <a:gd name="T23" fmla="*/ 234 h 253"/>
              <a:gd name="T24" fmla="*/ 128 w 234"/>
              <a:gd name="T25" fmla="*/ 238 h 253"/>
              <a:gd name="T26" fmla="*/ 122 w 234"/>
              <a:gd name="T27" fmla="*/ 244 h 253"/>
              <a:gd name="T28" fmla="*/ 119 w 234"/>
              <a:gd name="T29" fmla="*/ 234 h 253"/>
              <a:gd name="T30" fmla="*/ 106 w 234"/>
              <a:gd name="T31" fmla="*/ 234 h 253"/>
              <a:gd name="T32" fmla="*/ 106 w 234"/>
              <a:gd name="T33" fmla="*/ 244 h 253"/>
              <a:gd name="T34" fmla="*/ 100 w 234"/>
              <a:gd name="T35" fmla="*/ 250 h 253"/>
              <a:gd name="T36" fmla="*/ 94 w 234"/>
              <a:gd name="T37" fmla="*/ 253 h 253"/>
              <a:gd name="T38" fmla="*/ 87 w 234"/>
              <a:gd name="T39" fmla="*/ 247 h 253"/>
              <a:gd name="T40" fmla="*/ 84 w 234"/>
              <a:gd name="T41" fmla="*/ 244 h 253"/>
              <a:gd name="T42" fmla="*/ 78 w 234"/>
              <a:gd name="T43" fmla="*/ 238 h 253"/>
              <a:gd name="T44" fmla="*/ 75 w 234"/>
              <a:gd name="T45" fmla="*/ 228 h 253"/>
              <a:gd name="T46" fmla="*/ 69 w 234"/>
              <a:gd name="T47" fmla="*/ 228 h 253"/>
              <a:gd name="T48" fmla="*/ 65 w 234"/>
              <a:gd name="T49" fmla="*/ 228 h 253"/>
              <a:gd name="T50" fmla="*/ 62 w 234"/>
              <a:gd name="T51" fmla="*/ 225 h 253"/>
              <a:gd name="T52" fmla="*/ 53 w 234"/>
              <a:gd name="T53" fmla="*/ 219 h 253"/>
              <a:gd name="T54" fmla="*/ 40 w 234"/>
              <a:gd name="T55" fmla="*/ 216 h 253"/>
              <a:gd name="T56" fmla="*/ 19 w 234"/>
              <a:gd name="T57" fmla="*/ 222 h 253"/>
              <a:gd name="T58" fmla="*/ 12 w 234"/>
              <a:gd name="T59" fmla="*/ 225 h 253"/>
              <a:gd name="T60" fmla="*/ 9 w 234"/>
              <a:gd name="T61" fmla="*/ 219 h 253"/>
              <a:gd name="T62" fmla="*/ 19 w 234"/>
              <a:gd name="T63" fmla="*/ 200 h 253"/>
              <a:gd name="T64" fmla="*/ 15 w 234"/>
              <a:gd name="T65" fmla="*/ 166 h 253"/>
              <a:gd name="T66" fmla="*/ 12 w 234"/>
              <a:gd name="T67" fmla="*/ 156 h 253"/>
              <a:gd name="T68" fmla="*/ 15 w 234"/>
              <a:gd name="T69" fmla="*/ 150 h 253"/>
              <a:gd name="T70" fmla="*/ 15 w 234"/>
              <a:gd name="T71" fmla="*/ 144 h 253"/>
              <a:gd name="T72" fmla="*/ 9 w 234"/>
              <a:gd name="T73" fmla="*/ 138 h 253"/>
              <a:gd name="T74" fmla="*/ 6 w 234"/>
              <a:gd name="T75" fmla="*/ 131 h 253"/>
              <a:gd name="T76" fmla="*/ 0 w 234"/>
              <a:gd name="T77" fmla="*/ 128 h 253"/>
              <a:gd name="T78" fmla="*/ 3 w 234"/>
              <a:gd name="T79" fmla="*/ 122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253">
                <a:moveTo>
                  <a:pt x="3" y="122"/>
                </a:moveTo>
                <a:lnTo>
                  <a:pt x="81" y="122"/>
                </a:lnTo>
                <a:lnTo>
                  <a:pt x="81" y="87"/>
                </a:lnTo>
                <a:lnTo>
                  <a:pt x="84" y="81"/>
                </a:lnTo>
                <a:lnTo>
                  <a:pt x="87" y="78"/>
                </a:lnTo>
                <a:lnTo>
                  <a:pt x="94" y="78"/>
                </a:lnTo>
                <a:lnTo>
                  <a:pt x="100" y="78"/>
                </a:lnTo>
                <a:lnTo>
                  <a:pt x="100" y="25"/>
                </a:lnTo>
                <a:lnTo>
                  <a:pt x="162" y="28"/>
                </a:lnTo>
                <a:lnTo>
                  <a:pt x="162" y="0"/>
                </a:lnTo>
                <a:lnTo>
                  <a:pt x="234" y="47"/>
                </a:lnTo>
                <a:lnTo>
                  <a:pt x="234" y="47"/>
                </a:lnTo>
                <a:lnTo>
                  <a:pt x="234" y="47"/>
                </a:lnTo>
                <a:lnTo>
                  <a:pt x="209" y="47"/>
                </a:lnTo>
                <a:lnTo>
                  <a:pt x="225" y="219"/>
                </a:lnTo>
                <a:lnTo>
                  <a:pt x="231" y="225"/>
                </a:lnTo>
                <a:lnTo>
                  <a:pt x="225" y="241"/>
                </a:lnTo>
                <a:lnTo>
                  <a:pt x="156" y="241"/>
                </a:lnTo>
                <a:lnTo>
                  <a:pt x="153" y="241"/>
                </a:lnTo>
                <a:lnTo>
                  <a:pt x="150" y="238"/>
                </a:lnTo>
                <a:lnTo>
                  <a:pt x="147" y="238"/>
                </a:lnTo>
                <a:lnTo>
                  <a:pt x="144" y="241"/>
                </a:lnTo>
                <a:lnTo>
                  <a:pt x="144" y="241"/>
                </a:lnTo>
                <a:lnTo>
                  <a:pt x="144" y="234"/>
                </a:lnTo>
                <a:lnTo>
                  <a:pt x="137" y="231"/>
                </a:lnTo>
                <a:lnTo>
                  <a:pt x="128" y="238"/>
                </a:lnTo>
                <a:lnTo>
                  <a:pt x="122" y="247"/>
                </a:lnTo>
                <a:lnTo>
                  <a:pt x="122" y="244"/>
                </a:lnTo>
                <a:lnTo>
                  <a:pt x="119" y="238"/>
                </a:lnTo>
                <a:lnTo>
                  <a:pt x="119" y="234"/>
                </a:lnTo>
                <a:lnTo>
                  <a:pt x="112" y="234"/>
                </a:lnTo>
                <a:lnTo>
                  <a:pt x="106" y="234"/>
                </a:lnTo>
                <a:lnTo>
                  <a:pt x="106" y="244"/>
                </a:lnTo>
                <a:lnTo>
                  <a:pt x="106" y="244"/>
                </a:lnTo>
                <a:lnTo>
                  <a:pt x="103" y="250"/>
                </a:lnTo>
                <a:lnTo>
                  <a:pt x="100" y="250"/>
                </a:lnTo>
                <a:lnTo>
                  <a:pt x="94" y="253"/>
                </a:lnTo>
                <a:lnTo>
                  <a:pt x="94" y="253"/>
                </a:lnTo>
                <a:lnTo>
                  <a:pt x="94" y="250"/>
                </a:lnTo>
                <a:lnTo>
                  <a:pt x="87" y="247"/>
                </a:lnTo>
                <a:lnTo>
                  <a:pt x="84" y="247"/>
                </a:lnTo>
                <a:lnTo>
                  <a:pt x="84" y="244"/>
                </a:lnTo>
                <a:lnTo>
                  <a:pt x="78" y="241"/>
                </a:lnTo>
                <a:lnTo>
                  <a:pt x="78" y="238"/>
                </a:lnTo>
                <a:lnTo>
                  <a:pt x="75" y="234"/>
                </a:lnTo>
                <a:lnTo>
                  <a:pt x="75" y="228"/>
                </a:lnTo>
                <a:lnTo>
                  <a:pt x="72" y="228"/>
                </a:lnTo>
                <a:lnTo>
                  <a:pt x="69" y="228"/>
                </a:lnTo>
                <a:lnTo>
                  <a:pt x="69" y="228"/>
                </a:lnTo>
                <a:lnTo>
                  <a:pt x="65" y="228"/>
                </a:lnTo>
                <a:lnTo>
                  <a:pt x="62" y="228"/>
                </a:lnTo>
                <a:lnTo>
                  <a:pt x="62" y="225"/>
                </a:lnTo>
                <a:lnTo>
                  <a:pt x="56" y="219"/>
                </a:lnTo>
                <a:lnTo>
                  <a:pt x="53" y="219"/>
                </a:lnTo>
                <a:lnTo>
                  <a:pt x="44" y="216"/>
                </a:lnTo>
                <a:lnTo>
                  <a:pt x="40" y="216"/>
                </a:lnTo>
                <a:lnTo>
                  <a:pt x="28" y="219"/>
                </a:lnTo>
                <a:lnTo>
                  <a:pt x="19" y="222"/>
                </a:lnTo>
                <a:lnTo>
                  <a:pt x="15" y="225"/>
                </a:lnTo>
                <a:lnTo>
                  <a:pt x="12" y="225"/>
                </a:lnTo>
                <a:lnTo>
                  <a:pt x="9" y="228"/>
                </a:lnTo>
                <a:lnTo>
                  <a:pt x="9" y="219"/>
                </a:lnTo>
                <a:lnTo>
                  <a:pt x="12" y="206"/>
                </a:lnTo>
                <a:lnTo>
                  <a:pt x="19" y="200"/>
                </a:lnTo>
                <a:lnTo>
                  <a:pt x="19" y="188"/>
                </a:lnTo>
                <a:lnTo>
                  <a:pt x="15" y="166"/>
                </a:lnTo>
                <a:lnTo>
                  <a:pt x="9" y="156"/>
                </a:lnTo>
                <a:lnTo>
                  <a:pt x="12" y="156"/>
                </a:lnTo>
                <a:lnTo>
                  <a:pt x="15" y="156"/>
                </a:lnTo>
                <a:lnTo>
                  <a:pt x="15" y="150"/>
                </a:lnTo>
                <a:lnTo>
                  <a:pt x="15" y="144"/>
                </a:lnTo>
                <a:lnTo>
                  <a:pt x="15" y="144"/>
                </a:lnTo>
                <a:lnTo>
                  <a:pt x="12" y="134"/>
                </a:lnTo>
                <a:lnTo>
                  <a:pt x="9" y="138"/>
                </a:lnTo>
                <a:lnTo>
                  <a:pt x="6" y="134"/>
                </a:lnTo>
                <a:lnTo>
                  <a:pt x="6" y="131"/>
                </a:lnTo>
                <a:lnTo>
                  <a:pt x="0" y="134"/>
                </a:lnTo>
                <a:lnTo>
                  <a:pt x="0" y="128"/>
                </a:lnTo>
                <a:lnTo>
                  <a:pt x="3" y="125"/>
                </a:lnTo>
                <a:lnTo>
                  <a:pt x="3" y="122"/>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0" name="Freeform 118">
            <a:extLst>
              <a:ext uri="{FF2B5EF4-FFF2-40B4-BE49-F238E27FC236}">
                <a16:creationId xmlns:a16="http://schemas.microsoft.com/office/drawing/2014/main" id="{71C38E70-D65E-47CF-03BC-BE49FD036274}"/>
              </a:ext>
            </a:extLst>
          </p:cNvPr>
          <p:cNvSpPr>
            <a:spLocks/>
          </p:cNvSpPr>
          <p:nvPr userDrawn="1"/>
        </p:nvSpPr>
        <p:spPr bwMode="auto">
          <a:xfrm>
            <a:off x="12426139" y="7778032"/>
            <a:ext cx="1019110" cy="942976"/>
          </a:xfrm>
          <a:custGeom>
            <a:avLst/>
            <a:gdLst>
              <a:gd name="T0" fmla="*/ 9 w 321"/>
              <a:gd name="T1" fmla="*/ 203 h 297"/>
              <a:gd name="T2" fmla="*/ 12 w 321"/>
              <a:gd name="T3" fmla="*/ 187 h 297"/>
              <a:gd name="T4" fmla="*/ 25 w 321"/>
              <a:gd name="T5" fmla="*/ 191 h 297"/>
              <a:gd name="T6" fmla="*/ 34 w 321"/>
              <a:gd name="T7" fmla="*/ 191 h 297"/>
              <a:gd name="T8" fmla="*/ 50 w 321"/>
              <a:gd name="T9" fmla="*/ 194 h 297"/>
              <a:gd name="T10" fmla="*/ 56 w 321"/>
              <a:gd name="T11" fmla="*/ 191 h 297"/>
              <a:gd name="T12" fmla="*/ 131 w 321"/>
              <a:gd name="T13" fmla="*/ 194 h 297"/>
              <a:gd name="T14" fmla="*/ 115 w 321"/>
              <a:gd name="T15" fmla="*/ 0 h 297"/>
              <a:gd name="T16" fmla="*/ 271 w 321"/>
              <a:gd name="T17" fmla="*/ 94 h 297"/>
              <a:gd name="T18" fmla="*/ 287 w 321"/>
              <a:gd name="T19" fmla="*/ 100 h 297"/>
              <a:gd name="T20" fmla="*/ 300 w 321"/>
              <a:gd name="T21" fmla="*/ 109 h 297"/>
              <a:gd name="T22" fmla="*/ 300 w 321"/>
              <a:gd name="T23" fmla="*/ 122 h 297"/>
              <a:gd name="T24" fmla="*/ 321 w 321"/>
              <a:gd name="T25" fmla="*/ 119 h 297"/>
              <a:gd name="T26" fmla="*/ 318 w 321"/>
              <a:gd name="T27" fmla="*/ 175 h 297"/>
              <a:gd name="T28" fmla="*/ 312 w 321"/>
              <a:gd name="T29" fmla="*/ 187 h 297"/>
              <a:gd name="T30" fmla="*/ 290 w 321"/>
              <a:gd name="T31" fmla="*/ 197 h 297"/>
              <a:gd name="T32" fmla="*/ 275 w 321"/>
              <a:gd name="T33" fmla="*/ 200 h 297"/>
              <a:gd name="T34" fmla="*/ 250 w 321"/>
              <a:gd name="T35" fmla="*/ 203 h 297"/>
              <a:gd name="T36" fmla="*/ 243 w 321"/>
              <a:gd name="T37" fmla="*/ 203 h 297"/>
              <a:gd name="T38" fmla="*/ 231 w 321"/>
              <a:gd name="T39" fmla="*/ 200 h 297"/>
              <a:gd name="T40" fmla="*/ 209 w 321"/>
              <a:gd name="T41" fmla="*/ 209 h 297"/>
              <a:gd name="T42" fmla="*/ 181 w 321"/>
              <a:gd name="T43" fmla="*/ 228 h 297"/>
              <a:gd name="T44" fmla="*/ 162 w 321"/>
              <a:gd name="T45" fmla="*/ 231 h 297"/>
              <a:gd name="T46" fmla="*/ 156 w 321"/>
              <a:gd name="T47" fmla="*/ 244 h 297"/>
              <a:gd name="T48" fmla="*/ 146 w 321"/>
              <a:gd name="T49" fmla="*/ 263 h 297"/>
              <a:gd name="T50" fmla="*/ 137 w 321"/>
              <a:gd name="T51" fmla="*/ 272 h 297"/>
              <a:gd name="T52" fmla="*/ 134 w 321"/>
              <a:gd name="T53" fmla="*/ 281 h 297"/>
              <a:gd name="T54" fmla="*/ 134 w 321"/>
              <a:gd name="T55" fmla="*/ 291 h 297"/>
              <a:gd name="T56" fmla="*/ 121 w 321"/>
              <a:gd name="T57" fmla="*/ 294 h 297"/>
              <a:gd name="T58" fmla="*/ 112 w 321"/>
              <a:gd name="T59" fmla="*/ 294 h 297"/>
              <a:gd name="T60" fmla="*/ 103 w 321"/>
              <a:gd name="T61" fmla="*/ 294 h 297"/>
              <a:gd name="T62" fmla="*/ 87 w 321"/>
              <a:gd name="T63" fmla="*/ 297 h 297"/>
              <a:gd name="T64" fmla="*/ 81 w 321"/>
              <a:gd name="T65" fmla="*/ 291 h 297"/>
              <a:gd name="T66" fmla="*/ 81 w 321"/>
              <a:gd name="T67" fmla="*/ 284 h 297"/>
              <a:gd name="T68" fmla="*/ 71 w 321"/>
              <a:gd name="T69" fmla="*/ 288 h 297"/>
              <a:gd name="T70" fmla="*/ 78 w 321"/>
              <a:gd name="T71" fmla="*/ 275 h 297"/>
              <a:gd name="T72" fmla="*/ 71 w 321"/>
              <a:gd name="T73" fmla="*/ 266 h 297"/>
              <a:gd name="T74" fmla="*/ 65 w 321"/>
              <a:gd name="T75" fmla="*/ 256 h 297"/>
              <a:gd name="T76" fmla="*/ 56 w 321"/>
              <a:gd name="T77" fmla="*/ 256 h 297"/>
              <a:gd name="T78" fmla="*/ 43 w 321"/>
              <a:gd name="T79" fmla="*/ 263 h 297"/>
              <a:gd name="T80" fmla="*/ 31 w 321"/>
              <a:gd name="T81" fmla="*/ 263 h 297"/>
              <a:gd name="T82" fmla="*/ 21 w 321"/>
              <a:gd name="T83" fmla="*/ 263 h 297"/>
              <a:gd name="T84" fmla="*/ 25 w 321"/>
              <a:gd name="T85" fmla="*/ 256 h 297"/>
              <a:gd name="T86" fmla="*/ 18 w 321"/>
              <a:gd name="T87" fmla="*/ 247 h 297"/>
              <a:gd name="T88" fmla="*/ 15 w 321"/>
              <a:gd name="T89" fmla="*/ 241 h 297"/>
              <a:gd name="T90" fmla="*/ 9 w 321"/>
              <a:gd name="T91" fmla="*/ 238 h 297"/>
              <a:gd name="T92" fmla="*/ 3 w 321"/>
              <a:gd name="T93" fmla="*/ 225 h 297"/>
              <a:gd name="T94" fmla="*/ 3 w 321"/>
              <a:gd name="T95" fmla="*/ 209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1" h="297">
                <a:moveTo>
                  <a:pt x="0" y="206"/>
                </a:moveTo>
                <a:lnTo>
                  <a:pt x="6" y="203"/>
                </a:lnTo>
                <a:lnTo>
                  <a:pt x="9" y="203"/>
                </a:lnTo>
                <a:lnTo>
                  <a:pt x="12" y="197"/>
                </a:lnTo>
                <a:lnTo>
                  <a:pt x="12" y="197"/>
                </a:lnTo>
                <a:lnTo>
                  <a:pt x="12" y="187"/>
                </a:lnTo>
                <a:lnTo>
                  <a:pt x="18" y="187"/>
                </a:lnTo>
                <a:lnTo>
                  <a:pt x="25" y="187"/>
                </a:lnTo>
                <a:lnTo>
                  <a:pt x="25" y="191"/>
                </a:lnTo>
                <a:lnTo>
                  <a:pt x="28" y="197"/>
                </a:lnTo>
                <a:lnTo>
                  <a:pt x="28" y="200"/>
                </a:lnTo>
                <a:lnTo>
                  <a:pt x="34" y="191"/>
                </a:lnTo>
                <a:lnTo>
                  <a:pt x="43" y="184"/>
                </a:lnTo>
                <a:lnTo>
                  <a:pt x="50" y="187"/>
                </a:lnTo>
                <a:lnTo>
                  <a:pt x="50" y="194"/>
                </a:lnTo>
                <a:lnTo>
                  <a:pt x="50" y="194"/>
                </a:lnTo>
                <a:lnTo>
                  <a:pt x="53" y="191"/>
                </a:lnTo>
                <a:lnTo>
                  <a:pt x="56" y="191"/>
                </a:lnTo>
                <a:lnTo>
                  <a:pt x="59" y="194"/>
                </a:lnTo>
                <a:lnTo>
                  <a:pt x="62" y="194"/>
                </a:lnTo>
                <a:lnTo>
                  <a:pt x="131" y="194"/>
                </a:lnTo>
                <a:lnTo>
                  <a:pt x="137" y="178"/>
                </a:lnTo>
                <a:lnTo>
                  <a:pt x="131" y="172"/>
                </a:lnTo>
                <a:lnTo>
                  <a:pt x="115" y="0"/>
                </a:lnTo>
                <a:lnTo>
                  <a:pt x="140" y="0"/>
                </a:lnTo>
                <a:lnTo>
                  <a:pt x="268" y="84"/>
                </a:lnTo>
                <a:lnTo>
                  <a:pt x="271" y="94"/>
                </a:lnTo>
                <a:lnTo>
                  <a:pt x="275" y="97"/>
                </a:lnTo>
                <a:lnTo>
                  <a:pt x="281" y="97"/>
                </a:lnTo>
                <a:lnTo>
                  <a:pt x="287" y="100"/>
                </a:lnTo>
                <a:lnTo>
                  <a:pt x="290" y="103"/>
                </a:lnTo>
                <a:lnTo>
                  <a:pt x="296" y="106"/>
                </a:lnTo>
                <a:lnTo>
                  <a:pt x="300" y="109"/>
                </a:lnTo>
                <a:lnTo>
                  <a:pt x="300" y="112"/>
                </a:lnTo>
                <a:lnTo>
                  <a:pt x="296" y="119"/>
                </a:lnTo>
                <a:lnTo>
                  <a:pt x="300" y="122"/>
                </a:lnTo>
                <a:lnTo>
                  <a:pt x="303" y="122"/>
                </a:lnTo>
                <a:lnTo>
                  <a:pt x="312" y="122"/>
                </a:lnTo>
                <a:lnTo>
                  <a:pt x="321" y="119"/>
                </a:lnTo>
                <a:lnTo>
                  <a:pt x="321" y="119"/>
                </a:lnTo>
                <a:lnTo>
                  <a:pt x="318" y="156"/>
                </a:lnTo>
                <a:lnTo>
                  <a:pt x="318" y="175"/>
                </a:lnTo>
                <a:lnTo>
                  <a:pt x="315" y="178"/>
                </a:lnTo>
                <a:lnTo>
                  <a:pt x="315" y="184"/>
                </a:lnTo>
                <a:lnTo>
                  <a:pt x="312" y="187"/>
                </a:lnTo>
                <a:lnTo>
                  <a:pt x="303" y="194"/>
                </a:lnTo>
                <a:lnTo>
                  <a:pt x="296" y="197"/>
                </a:lnTo>
                <a:lnTo>
                  <a:pt x="290" y="197"/>
                </a:lnTo>
                <a:lnTo>
                  <a:pt x="287" y="200"/>
                </a:lnTo>
                <a:lnTo>
                  <a:pt x="281" y="200"/>
                </a:lnTo>
                <a:lnTo>
                  <a:pt x="275" y="200"/>
                </a:lnTo>
                <a:lnTo>
                  <a:pt x="268" y="203"/>
                </a:lnTo>
                <a:lnTo>
                  <a:pt x="262" y="203"/>
                </a:lnTo>
                <a:lnTo>
                  <a:pt x="250" y="203"/>
                </a:lnTo>
                <a:lnTo>
                  <a:pt x="246" y="203"/>
                </a:lnTo>
                <a:lnTo>
                  <a:pt x="246" y="203"/>
                </a:lnTo>
                <a:lnTo>
                  <a:pt x="243" y="203"/>
                </a:lnTo>
                <a:lnTo>
                  <a:pt x="240" y="203"/>
                </a:lnTo>
                <a:lnTo>
                  <a:pt x="234" y="200"/>
                </a:lnTo>
                <a:lnTo>
                  <a:pt x="231" y="200"/>
                </a:lnTo>
                <a:lnTo>
                  <a:pt x="221" y="203"/>
                </a:lnTo>
                <a:lnTo>
                  <a:pt x="215" y="206"/>
                </a:lnTo>
                <a:lnTo>
                  <a:pt x="209" y="209"/>
                </a:lnTo>
                <a:lnTo>
                  <a:pt x="193" y="219"/>
                </a:lnTo>
                <a:lnTo>
                  <a:pt x="184" y="225"/>
                </a:lnTo>
                <a:lnTo>
                  <a:pt x="181" y="228"/>
                </a:lnTo>
                <a:lnTo>
                  <a:pt x="171" y="231"/>
                </a:lnTo>
                <a:lnTo>
                  <a:pt x="168" y="231"/>
                </a:lnTo>
                <a:lnTo>
                  <a:pt x="162" y="231"/>
                </a:lnTo>
                <a:lnTo>
                  <a:pt x="162" y="234"/>
                </a:lnTo>
                <a:lnTo>
                  <a:pt x="159" y="234"/>
                </a:lnTo>
                <a:lnTo>
                  <a:pt x="156" y="244"/>
                </a:lnTo>
                <a:lnTo>
                  <a:pt x="156" y="247"/>
                </a:lnTo>
                <a:lnTo>
                  <a:pt x="150" y="253"/>
                </a:lnTo>
                <a:lnTo>
                  <a:pt x="146" y="263"/>
                </a:lnTo>
                <a:lnTo>
                  <a:pt x="140" y="266"/>
                </a:lnTo>
                <a:lnTo>
                  <a:pt x="137" y="269"/>
                </a:lnTo>
                <a:lnTo>
                  <a:pt x="137" y="272"/>
                </a:lnTo>
                <a:lnTo>
                  <a:pt x="140" y="278"/>
                </a:lnTo>
                <a:lnTo>
                  <a:pt x="134" y="278"/>
                </a:lnTo>
                <a:lnTo>
                  <a:pt x="134" y="281"/>
                </a:lnTo>
                <a:lnTo>
                  <a:pt x="137" y="284"/>
                </a:lnTo>
                <a:lnTo>
                  <a:pt x="134" y="291"/>
                </a:lnTo>
                <a:lnTo>
                  <a:pt x="134" y="291"/>
                </a:lnTo>
                <a:lnTo>
                  <a:pt x="131" y="297"/>
                </a:lnTo>
                <a:lnTo>
                  <a:pt x="125" y="297"/>
                </a:lnTo>
                <a:lnTo>
                  <a:pt x="121" y="294"/>
                </a:lnTo>
                <a:lnTo>
                  <a:pt x="121" y="291"/>
                </a:lnTo>
                <a:lnTo>
                  <a:pt x="118" y="291"/>
                </a:lnTo>
                <a:lnTo>
                  <a:pt x="112" y="294"/>
                </a:lnTo>
                <a:lnTo>
                  <a:pt x="112" y="294"/>
                </a:lnTo>
                <a:lnTo>
                  <a:pt x="109" y="297"/>
                </a:lnTo>
                <a:lnTo>
                  <a:pt x="103" y="294"/>
                </a:lnTo>
                <a:lnTo>
                  <a:pt x="96" y="294"/>
                </a:lnTo>
                <a:lnTo>
                  <a:pt x="93" y="294"/>
                </a:lnTo>
                <a:lnTo>
                  <a:pt x="87" y="297"/>
                </a:lnTo>
                <a:lnTo>
                  <a:pt x="87" y="294"/>
                </a:lnTo>
                <a:lnTo>
                  <a:pt x="87" y="291"/>
                </a:lnTo>
                <a:lnTo>
                  <a:pt x="81" y="291"/>
                </a:lnTo>
                <a:lnTo>
                  <a:pt x="81" y="291"/>
                </a:lnTo>
                <a:lnTo>
                  <a:pt x="81" y="288"/>
                </a:lnTo>
                <a:lnTo>
                  <a:pt x="81" y="284"/>
                </a:lnTo>
                <a:lnTo>
                  <a:pt x="78" y="284"/>
                </a:lnTo>
                <a:lnTo>
                  <a:pt x="75" y="284"/>
                </a:lnTo>
                <a:lnTo>
                  <a:pt x="71" y="288"/>
                </a:lnTo>
                <a:lnTo>
                  <a:pt x="75" y="281"/>
                </a:lnTo>
                <a:lnTo>
                  <a:pt x="78" y="275"/>
                </a:lnTo>
                <a:lnTo>
                  <a:pt x="78" y="275"/>
                </a:lnTo>
                <a:lnTo>
                  <a:pt x="71" y="272"/>
                </a:lnTo>
                <a:lnTo>
                  <a:pt x="71" y="272"/>
                </a:lnTo>
                <a:lnTo>
                  <a:pt x="71" y="266"/>
                </a:lnTo>
                <a:lnTo>
                  <a:pt x="71" y="263"/>
                </a:lnTo>
                <a:lnTo>
                  <a:pt x="65" y="259"/>
                </a:lnTo>
                <a:lnTo>
                  <a:pt x="65" y="256"/>
                </a:lnTo>
                <a:lnTo>
                  <a:pt x="62" y="256"/>
                </a:lnTo>
                <a:lnTo>
                  <a:pt x="59" y="259"/>
                </a:lnTo>
                <a:lnTo>
                  <a:pt x="56" y="256"/>
                </a:lnTo>
                <a:lnTo>
                  <a:pt x="50" y="256"/>
                </a:lnTo>
                <a:lnTo>
                  <a:pt x="46" y="263"/>
                </a:lnTo>
                <a:lnTo>
                  <a:pt x="43" y="263"/>
                </a:lnTo>
                <a:lnTo>
                  <a:pt x="40" y="266"/>
                </a:lnTo>
                <a:lnTo>
                  <a:pt x="37" y="266"/>
                </a:lnTo>
                <a:lnTo>
                  <a:pt x="31" y="263"/>
                </a:lnTo>
                <a:lnTo>
                  <a:pt x="28" y="263"/>
                </a:lnTo>
                <a:lnTo>
                  <a:pt x="25" y="263"/>
                </a:lnTo>
                <a:lnTo>
                  <a:pt x="21" y="263"/>
                </a:lnTo>
                <a:lnTo>
                  <a:pt x="21" y="263"/>
                </a:lnTo>
                <a:lnTo>
                  <a:pt x="25" y="259"/>
                </a:lnTo>
                <a:lnTo>
                  <a:pt x="25" y="256"/>
                </a:lnTo>
                <a:lnTo>
                  <a:pt x="18" y="253"/>
                </a:lnTo>
                <a:lnTo>
                  <a:pt x="18" y="250"/>
                </a:lnTo>
                <a:lnTo>
                  <a:pt x="18" y="247"/>
                </a:lnTo>
                <a:lnTo>
                  <a:pt x="18" y="247"/>
                </a:lnTo>
                <a:lnTo>
                  <a:pt x="15" y="244"/>
                </a:lnTo>
                <a:lnTo>
                  <a:pt x="15" y="241"/>
                </a:lnTo>
                <a:lnTo>
                  <a:pt x="12" y="238"/>
                </a:lnTo>
                <a:lnTo>
                  <a:pt x="12" y="238"/>
                </a:lnTo>
                <a:lnTo>
                  <a:pt x="9" y="238"/>
                </a:lnTo>
                <a:lnTo>
                  <a:pt x="6" y="231"/>
                </a:lnTo>
                <a:lnTo>
                  <a:pt x="3" y="228"/>
                </a:lnTo>
                <a:lnTo>
                  <a:pt x="3" y="225"/>
                </a:lnTo>
                <a:lnTo>
                  <a:pt x="3" y="216"/>
                </a:lnTo>
                <a:lnTo>
                  <a:pt x="3" y="213"/>
                </a:lnTo>
                <a:lnTo>
                  <a:pt x="3" y="209"/>
                </a:lnTo>
                <a:lnTo>
                  <a:pt x="0" y="20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1" name="Freeform 119">
            <a:extLst>
              <a:ext uri="{FF2B5EF4-FFF2-40B4-BE49-F238E27FC236}">
                <a16:creationId xmlns:a16="http://schemas.microsoft.com/office/drawing/2014/main" id="{F41BA9EA-3123-4343-6262-66564A7208E8}"/>
              </a:ext>
            </a:extLst>
          </p:cNvPr>
          <p:cNvSpPr>
            <a:spLocks/>
          </p:cNvSpPr>
          <p:nvPr userDrawn="1"/>
        </p:nvSpPr>
        <p:spPr bwMode="auto">
          <a:xfrm>
            <a:off x="12851563" y="8413031"/>
            <a:ext cx="476219" cy="346078"/>
          </a:xfrm>
          <a:custGeom>
            <a:avLst/>
            <a:gdLst>
              <a:gd name="T0" fmla="*/ 3 w 150"/>
              <a:gd name="T1" fmla="*/ 84 h 109"/>
              <a:gd name="T2" fmla="*/ 0 w 150"/>
              <a:gd name="T3" fmla="*/ 78 h 109"/>
              <a:gd name="T4" fmla="*/ 3 w 150"/>
              <a:gd name="T5" fmla="*/ 72 h 109"/>
              <a:gd name="T6" fmla="*/ 6 w 150"/>
              <a:gd name="T7" fmla="*/ 66 h 109"/>
              <a:gd name="T8" fmla="*/ 16 w 150"/>
              <a:gd name="T9" fmla="*/ 53 h 109"/>
              <a:gd name="T10" fmla="*/ 22 w 150"/>
              <a:gd name="T11" fmla="*/ 44 h 109"/>
              <a:gd name="T12" fmla="*/ 28 w 150"/>
              <a:gd name="T13" fmla="*/ 34 h 109"/>
              <a:gd name="T14" fmla="*/ 34 w 150"/>
              <a:gd name="T15" fmla="*/ 31 h 109"/>
              <a:gd name="T16" fmla="*/ 47 w 150"/>
              <a:gd name="T17" fmla="*/ 28 h 109"/>
              <a:gd name="T18" fmla="*/ 59 w 150"/>
              <a:gd name="T19" fmla="*/ 19 h 109"/>
              <a:gd name="T20" fmla="*/ 81 w 150"/>
              <a:gd name="T21" fmla="*/ 6 h 109"/>
              <a:gd name="T22" fmla="*/ 97 w 150"/>
              <a:gd name="T23" fmla="*/ 0 h 109"/>
              <a:gd name="T24" fmla="*/ 106 w 150"/>
              <a:gd name="T25" fmla="*/ 3 h 109"/>
              <a:gd name="T26" fmla="*/ 112 w 150"/>
              <a:gd name="T27" fmla="*/ 3 h 109"/>
              <a:gd name="T28" fmla="*/ 109 w 150"/>
              <a:gd name="T29" fmla="*/ 9 h 109"/>
              <a:gd name="T30" fmla="*/ 106 w 150"/>
              <a:gd name="T31" fmla="*/ 22 h 109"/>
              <a:gd name="T32" fmla="*/ 125 w 150"/>
              <a:gd name="T33" fmla="*/ 41 h 109"/>
              <a:gd name="T34" fmla="*/ 141 w 150"/>
              <a:gd name="T35" fmla="*/ 41 h 109"/>
              <a:gd name="T36" fmla="*/ 144 w 150"/>
              <a:gd name="T37" fmla="*/ 44 h 109"/>
              <a:gd name="T38" fmla="*/ 147 w 150"/>
              <a:gd name="T39" fmla="*/ 50 h 109"/>
              <a:gd name="T40" fmla="*/ 147 w 150"/>
              <a:gd name="T41" fmla="*/ 59 h 109"/>
              <a:gd name="T42" fmla="*/ 150 w 150"/>
              <a:gd name="T43" fmla="*/ 63 h 109"/>
              <a:gd name="T44" fmla="*/ 141 w 150"/>
              <a:gd name="T45" fmla="*/ 69 h 109"/>
              <a:gd name="T46" fmla="*/ 134 w 150"/>
              <a:gd name="T47" fmla="*/ 69 h 109"/>
              <a:gd name="T48" fmla="*/ 128 w 150"/>
              <a:gd name="T49" fmla="*/ 75 h 109"/>
              <a:gd name="T50" fmla="*/ 128 w 150"/>
              <a:gd name="T51" fmla="*/ 81 h 109"/>
              <a:gd name="T52" fmla="*/ 122 w 150"/>
              <a:gd name="T53" fmla="*/ 84 h 109"/>
              <a:gd name="T54" fmla="*/ 100 w 150"/>
              <a:gd name="T55" fmla="*/ 78 h 109"/>
              <a:gd name="T56" fmla="*/ 97 w 150"/>
              <a:gd name="T57" fmla="*/ 78 h 109"/>
              <a:gd name="T58" fmla="*/ 87 w 150"/>
              <a:gd name="T59" fmla="*/ 81 h 109"/>
              <a:gd name="T60" fmla="*/ 72 w 150"/>
              <a:gd name="T61" fmla="*/ 81 h 109"/>
              <a:gd name="T62" fmla="*/ 56 w 150"/>
              <a:gd name="T63" fmla="*/ 84 h 109"/>
              <a:gd name="T64" fmla="*/ 47 w 150"/>
              <a:gd name="T65" fmla="*/ 88 h 109"/>
              <a:gd name="T66" fmla="*/ 50 w 150"/>
              <a:gd name="T67" fmla="*/ 97 h 109"/>
              <a:gd name="T68" fmla="*/ 53 w 150"/>
              <a:gd name="T69" fmla="*/ 106 h 109"/>
              <a:gd name="T70" fmla="*/ 47 w 150"/>
              <a:gd name="T71" fmla="*/ 103 h 109"/>
              <a:gd name="T72" fmla="*/ 41 w 150"/>
              <a:gd name="T73" fmla="*/ 106 h 109"/>
              <a:gd name="T74" fmla="*/ 28 w 150"/>
              <a:gd name="T75" fmla="*/ 106 h 109"/>
              <a:gd name="T76" fmla="*/ 22 w 150"/>
              <a:gd name="T77" fmla="*/ 100 h 109"/>
              <a:gd name="T78" fmla="*/ 19 w 150"/>
              <a:gd name="T79" fmla="*/ 100 h 109"/>
              <a:gd name="T80" fmla="*/ 6 w 150"/>
              <a:gd name="T81" fmla="*/ 94 h 109"/>
              <a:gd name="T82" fmla="*/ 0 w 150"/>
              <a:gd name="T83" fmla="*/ 9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09">
                <a:moveTo>
                  <a:pt x="0" y="91"/>
                </a:moveTo>
                <a:lnTo>
                  <a:pt x="3" y="84"/>
                </a:lnTo>
                <a:lnTo>
                  <a:pt x="0" y="81"/>
                </a:lnTo>
                <a:lnTo>
                  <a:pt x="0" y="78"/>
                </a:lnTo>
                <a:lnTo>
                  <a:pt x="6" y="78"/>
                </a:lnTo>
                <a:lnTo>
                  <a:pt x="3" y="72"/>
                </a:lnTo>
                <a:lnTo>
                  <a:pt x="3" y="69"/>
                </a:lnTo>
                <a:lnTo>
                  <a:pt x="6" y="66"/>
                </a:lnTo>
                <a:lnTo>
                  <a:pt x="12" y="63"/>
                </a:lnTo>
                <a:lnTo>
                  <a:pt x="16" y="53"/>
                </a:lnTo>
                <a:lnTo>
                  <a:pt x="22" y="47"/>
                </a:lnTo>
                <a:lnTo>
                  <a:pt x="22" y="44"/>
                </a:lnTo>
                <a:lnTo>
                  <a:pt x="25" y="34"/>
                </a:lnTo>
                <a:lnTo>
                  <a:pt x="28" y="34"/>
                </a:lnTo>
                <a:lnTo>
                  <a:pt x="28" y="31"/>
                </a:lnTo>
                <a:lnTo>
                  <a:pt x="34" y="31"/>
                </a:lnTo>
                <a:lnTo>
                  <a:pt x="37" y="31"/>
                </a:lnTo>
                <a:lnTo>
                  <a:pt x="47" y="28"/>
                </a:lnTo>
                <a:lnTo>
                  <a:pt x="50" y="25"/>
                </a:lnTo>
                <a:lnTo>
                  <a:pt x="59" y="19"/>
                </a:lnTo>
                <a:lnTo>
                  <a:pt x="75" y="9"/>
                </a:lnTo>
                <a:lnTo>
                  <a:pt x="81" y="6"/>
                </a:lnTo>
                <a:lnTo>
                  <a:pt x="87" y="3"/>
                </a:lnTo>
                <a:lnTo>
                  <a:pt x="97" y="0"/>
                </a:lnTo>
                <a:lnTo>
                  <a:pt x="100" y="0"/>
                </a:lnTo>
                <a:lnTo>
                  <a:pt x="106" y="3"/>
                </a:lnTo>
                <a:lnTo>
                  <a:pt x="109" y="3"/>
                </a:lnTo>
                <a:lnTo>
                  <a:pt x="112" y="3"/>
                </a:lnTo>
                <a:lnTo>
                  <a:pt x="109" y="6"/>
                </a:lnTo>
                <a:lnTo>
                  <a:pt x="109" y="9"/>
                </a:lnTo>
                <a:lnTo>
                  <a:pt x="106" y="16"/>
                </a:lnTo>
                <a:lnTo>
                  <a:pt x="106" y="22"/>
                </a:lnTo>
                <a:lnTo>
                  <a:pt x="125" y="34"/>
                </a:lnTo>
                <a:lnTo>
                  <a:pt x="125" y="41"/>
                </a:lnTo>
                <a:lnTo>
                  <a:pt x="134" y="47"/>
                </a:lnTo>
                <a:lnTo>
                  <a:pt x="141" y="41"/>
                </a:lnTo>
                <a:lnTo>
                  <a:pt x="144" y="44"/>
                </a:lnTo>
                <a:lnTo>
                  <a:pt x="144" y="44"/>
                </a:lnTo>
                <a:lnTo>
                  <a:pt x="147" y="47"/>
                </a:lnTo>
                <a:lnTo>
                  <a:pt x="147" y="50"/>
                </a:lnTo>
                <a:lnTo>
                  <a:pt x="144" y="53"/>
                </a:lnTo>
                <a:lnTo>
                  <a:pt x="147" y="59"/>
                </a:lnTo>
                <a:lnTo>
                  <a:pt x="150" y="59"/>
                </a:lnTo>
                <a:lnTo>
                  <a:pt x="150" y="63"/>
                </a:lnTo>
                <a:lnTo>
                  <a:pt x="144" y="66"/>
                </a:lnTo>
                <a:lnTo>
                  <a:pt x="141" y="69"/>
                </a:lnTo>
                <a:lnTo>
                  <a:pt x="134" y="72"/>
                </a:lnTo>
                <a:lnTo>
                  <a:pt x="134" y="69"/>
                </a:lnTo>
                <a:lnTo>
                  <a:pt x="128" y="72"/>
                </a:lnTo>
                <a:lnTo>
                  <a:pt x="128" y="75"/>
                </a:lnTo>
                <a:lnTo>
                  <a:pt x="125" y="78"/>
                </a:lnTo>
                <a:lnTo>
                  <a:pt x="128" y="81"/>
                </a:lnTo>
                <a:lnTo>
                  <a:pt x="122" y="81"/>
                </a:lnTo>
                <a:lnTo>
                  <a:pt x="122" y="84"/>
                </a:lnTo>
                <a:lnTo>
                  <a:pt x="100" y="78"/>
                </a:lnTo>
                <a:lnTo>
                  <a:pt x="100" y="78"/>
                </a:lnTo>
                <a:lnTo>
                  <a:pt x="100" y="78"/>
                </a:lnTo>
                <a:lnTo>
                  <a:pt x="97" y="78"/>
                </a:lnTo>
                <a:lnTo>
                  <a:pt x="94" y="81"/>
                </a:lnTo>
                <a:lnTo>
                  <a:pt x="87" y="81"/>
                </a:lnTo>
                <a:lnTo>
                  <a:pt x="81" y="81"/>
                </a:lnTo>
                <a:lnTo>
                  <a:pt x="72" y="81"/>
                </a:lnTo>
                <a:lnTo>
                  <a:pt x="69" y="84"/>
                </a:lnTo>
                <a:lnTo>
                  <a:pt x="56" y="84"/>
                </a:lnTo>
                <a:lnTo>
                  <a:pt x="47" y="84"/>
                </a:lnTo>
                <a:lnTo>
                  <a:pt x="47" y="88"/>
                </a:lnTo>
                <a:lnTo>
                  <a:pt x="50" y="94"/>
                </a:lnTo>
                <a:lnTo>
                  <a:pt x="50" y="97"/>
                </a:lnTo>
                <a:lnTo>
                  <a:pt x="53" y="100"/>
                </a:lnTo>
                <a:lnTo>
                  <a:pt x="53" y="106"/>
                </a:lnTo>
                <a:lnTo>
                  <a:pt x="50" y="106"/>
                </a:lnTo>
                <a:lnTo>
                  <a:pt x="47" y="103"/>
                </a:lnTo>
                <a:lnTo>
                  <a:pt x="44" y="103"/>
                </a:lnTo>
                <a:lnTo>
                  <a:pt x="41" y="106"/>
                </a:lnTo>
                <a:lnTo>
                  <a:pt x="34" y="109"/>
                </a:lnTo>
                <a:lnTo>
                  <a:pt x="28" y="106"/>
                </a:lnTo>
                <a:lnTo>
                  <a:pt x="28" y="103"/>
                </a:lnTo>
                <a:lnTo>
                  <a:pt x="22" y="100"/>
                </a:lnTo>
                <a:lnTo>
                  <a:pt x="19" y="100"/>
                </a:lnTo>
                <a:lnTo>
                  <a:pt x="19" y="100"/>
                </a:lnTo>
                <a:lnTo>
                  <a:pt x="16" y="100"/>
                </a:lnTo>
                <a:lnTo>
                  <a:pt x="6" y="94"/>
                </a:lnTo>
                <a:lnTo>
                  <a:pt x="3" y="91"/>
                </a:lnTo>
                <a:lnTo>
                  <a:pt x="0" y="91"/>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2" name="Freeform 120">
            <a:extLst>
              <a:ext uri="{FF2B5EF4-FFF2-40B4-BE49-F238E27FC236}">
                <a16:creationId xmlns:a16="http://schemas.microsoft.com/office/drawing/2014/main" id="{4302D1DE-5C0F-9D2E-EF90-40F0AEB86807}"/>
              </a:ext>
            </a:extLst>
          </p:cNvPr>
          <p:cNvSpPr>
            <a:spLocks/>
          </p:cNvSpPr>
          <p:nvPr userDrawn="1"/>
        </p:nvSpPr>
        <p:spPr bwMode="auto">
          <a:xfrm>
            <a:off x="12095961" y="8314611"/>
            <a:ext cx="409549" cy="298450"/>
          </a:xfrm>
          <a:custGeom>
            <a:avLst/>
            <a:gdLst>
              <a:gd name="T0" fmla="*/ 22 w 129"/>
              <a:gd name="T1" fmla="*/ 9 h 94"/>
              <a:gd name="T2" fmla="*/ 29 w 129"/>
              <a:gd name="T3" fmla="*/ 6 h 94"/>
              <a:gd name="T4" fmla="*/ 50 w 129"/>
              <a:gd name="T5" fmla="*/ 0 h 94"/>
              <a:gd name="T6" fmla="*/ 63 w 129"/>
              <a:gd name="T7" fmla="*/ 3 h 94"/>
              <a:gd name="T8" fmla="*/ 72 w 129"/>
              <a:gd name="T9" fmla="*/ 9 h 94"/>
              <a:gd name="T10" fmla="*/ 75 w 129"/>
              <a:gd name="T11" fmla="*/ 12 h 94"/>
              <a:gd name="T12" fmla="*/ 79 w 129"/>
              <a:gd name="T13" fmla="*/ 12 h 94"/>
              <a:gd name="T14" fmla="*/ 85 w 129"/>
              <a:gd name="T15" fmla="*/ 12 h 94"/>
              <a:gd name="T16" fmla="*/ 88 w 129"/>
              <a:gd name="T17" fmla="*/ 22 h 94"/>
              <a:gd name="T18" fmla="*/ 94 w 129"/>
              <a:gd name="T19" fmla="*/ 28 h 94"/>
              <a:gd name="T20" fmla="*/ 97 w 129"/>
              <a:gd name="T21" fmla="*/ 31 h 94"/>
              <a:gd name="T22" fmla="*/ 104 w 129"/>
              <a:gd name="T23" fmla="*/ 37 h 94"/>
              <a:gd name="T24" fmla="*/ 107 w 129"/>
              <a:gd name="T25" fmla="*/ 44 h 94"/>
              <a:gd name="T26" fmla="*/ 107 w 129"/>
              <a:gd name="T27" fmla="*/ 56 h 94"/>
              <a:gd name="T28" fmla="*/ 110 w 129"/>
              <a:gd name="T29" fmla="*/ 62 h 94"/>
              <a:gd name="T30" fmla="*/ 116 w 129"/>
              <a:gd name="T31" fmla="*/ 69 h 94"/>
              <a:gd name="T32" fmla="*/ 119 w 129"/>
              <a:gd name="T33" fmla="*/ 72 h 94"/>
              <a:gd name="T34" fmla="*/ 122 w 129"/>
              <a:gd name="T35" fmla="*/ 78 h 94"/>
              <a:gd name="T36" fmla="*/ 122 w 129"/>
              <a:gd name="T37" fmla="*/ 81 h 94"/>
              <a:gd name="T38" fmla="*/ 129 w 129"/>
              <a:gd name="T39" fmla="*/ 87 h 94"/>
              <a:gd name="T40" fmla="*/ 125 w 129"/>
              <a:gd name="T41" fmla="*/ 94 h 94"/>
              <a:gd name="T42" fmla="*/ 122 w 129"/>
              <a:gd name="T43" fmla="*/ 90 h 94"/>
              <a:gd name="T44" fmla="*/ 116 w 129"/>
              <a:gd name="T45" fmla="*/ 87 h 94"/>
              <a:gd name="T46" fmla="*/ 107 w 129"/>
              <a:gd name="T47" fmla="*/ 87 h 94"/>
              <a:gd name="T48" fmla="*/ 97 w 129"/>
              <a:gd name="T49" fmla="*/ 84 h 94"/>
              <a:gd name="T50" fmla="*/ 75 w 129"/>
              <a:gd name="T51" fmla="*/ 81 h 94"/>
              <a:gd name="T52" fmla="*/ 72 w 129"/>
              <a:gd name="T53" fmla="*/ 81 h 94"/>
              <a:gd name="T54" fmla="*/ 50 w 129"/>
              <a:gd name="T55" fmla="*/ 78 h 94"/>
              <a:gd name="T56" fmla="*/ 41 w 129"/>
              <a:gd name="T57" fmla="*/ 87 h 94"/>
              <a:gd name="T58" fmla="*/ 19 w 129"/>
              <a:gd name="T59" fmla="*/ 87 h 94"/>
              <a:gd name="T60" fmla="*/ 16 w 129"/>
              <a:gd name="T61" fmla="*/ 84 h 94"/>
              <a:gd name="T62" fmla="*/ 16 w 129"/>
              <a:gd name="T63" fmla="*/ 84 h 94"/>
              <a:gd name="T64" fmla="*/ 22 w 129"/>
              <a:gd name="T65" fmla="*/ 81 h 94"/>
              <a:gd name="T66" fmla="*/ 13 w 129"/>
              <a:gd name="T67" fmla="*/ 81 h 94"/>
              <a:gd name="T68" fmla="*/ 13 w 129"/>
              <a:gd name="T69" fmla="*/ 78 h 94"/>
              <a:gd name="T70" fmla="*/ 16 w 129"/>
              <a:gd name="T71" fmla="*/ 72 h 94"/>
              <a:gd name="T72" fmla="*/ 32 w 129"/>
              <a:gd name="T73" fmla="*/ 69 h 94"/>
              <a:gd name="T74" fmla="*/ 38 w 129"/>
              <a:gd name="T75" fmla="*/ 62 h 94"/>
              <a:gd name="T76" fmla="*/ 41 w 129"/>
              <a:gd name="T77" fmla="*/ 65 h 94"/>
              <a:gd name="T78" fmla="*/ 47 w 129"/>
              <a:gd name="T79" fmla="*/ 62 h 94"/>
              <a:gd name="T80" fmla="*/ 57 w 129"/>
              <a:gd name="T81" fmla="*/ 65 h 94"/>
              <a:gd name="T82" fmla="*/ 66 w 129"/>
              <a:gd name="T83" fmla="*/ 69 h 94"/>
              <a:gd name="T84" fmla="*/ 72 w 129"/>
              <a:gd name="T85" fmla="*/ 65 h 94"/>
              <a:gd name="T86" fmla="*/ 69 w 129"/>
              <a:gd name="T87" fmla="*/ 65 h 94"/>
              <a:gd name="T88" fmla="*/ 57 w 129"/>
              <a:gd name="T89" fmla="*/ 59 h 94"/>
              <a:gd name="T90" fmla="*/ 47 w 129"/>
              <a:gd name="T91" fmla="*/ 56 h 94"/>
              <a:gd name="T92" fmla="*/ 38 w 129"/>
              <a:gd name="T93" fmla="*/ 56 h 94"/>
              <a:gd name="T94" fmla="*/ 29 w 129"/>
              <a:gd name="T95" fmla="*/ 62 h 94"/>
              <a:gd name="T96" fmla="*/ 16 w 129"/>
              <a:gd name="T97" fmla="*/ 62 h 94"/>
              <a:gd name="T98" fmla="*/ 19 w 129"/>
              <a:gd name="T99" fmla="*/ 59 h 94"/>
              <a:gd name="T100" fmla="*/ 16 w 129"/>
              <a:gd name="T101" fmla="*/ 56 h 94"/>
              <a:gd name="T102" fmla="*/ 13 w 129"/>
              <a:gd name="T103" fmla="*/ 53 h 94"/>
              <a:gd name="T104" fmla="*/ 0 w 129"/>
              <a:gd name="T105" fmla="*/ 37 h 94"/>
              <a:gd name="T106" fmla="*/ 19 w 129"/>
              <a:gd name="T107" fmla="*/ 1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9" h="94">
                <a:moveTo>
                  <a:pt x="19" y="12"/>
                </a:moveTo>
                <a:lnTo>
                  <a:pt x="22" y="9"/>
                </a:lnTo>
                <a:lnTo>
                  <a:pt x="25" y="9"/>
                </a:lnTo>
                <a:lnTo>
                  <a:pt x="29" y="6"/>
                </a:lnTo>
                <a:lnTo>
                  <a:pt x="38" y="3"/>
                </a:lnTo>
                <a:lnTo>
                  <a:pt x="50" y="0"/>
                </a:lnTo>
                <a:lnTo>
                  <a:pt x="54" y="0"/>
                </a:lnTo>
                <a:lnTo>
                  <a:pt x="63" y="3"/>
                </a:lnTo>
                <a:lnTo>
                  <a:pt x="66" y="3"/>
                </a:lnTo>
                <a:lnTo>
                  <a:pt x="72" y="9"/>
                </a:lnTo>
                <a:lnTo>
                  <a:pt x="72" y="12"/>
                </a:lnTo>
                <a:lnTo>
                  <a:pt x="75" y="12"/>
                </a:lnTo>
                <a:lnTo>
                  <a:pt x="79" y="12"/>
                </a:lnTo>
                <a:lnTo>
                  <a:pt x="79" y="12"/>
                </a:lnTo>
                <a:lnTo>
                  <a:pt x="82" y="12"/>
                </a:lnTo>
                <a:lnTo>
                  <a:pt x="85" y="12"/>
                </a:lnTo>
                <a:lnTo>
                  <a:pt x="85" y="18"/>
                </a:lnTo>
                <a:lnTo>
                  <a:pt x="88" y="22"/>
                </a:lnTo>
                <a:lnTo>
                  <a:pt x="88" y="25"/>
                </a:lnTo>
                <a:lnTo>
                  <a:pt x="94" y="28"/>
                </a:lnTo>
                <a:lnTo>
                  <a:pt x="94" y="31"/>
                </a:lnTo>
                <a:lnTo>
                  <a:pt x="97" y="31"/>
                </a:lnTo>
                <a:lnTo>
                  <a:pt x="104" y="34"/>
                </a:lnTo>
                <a:lnTo>
                  <a:pt x="104" y="37"/>
                </a:lnTo>
                <a:lnTo>
                  <a:pt x="107" y="40"/>
                </a:lnTo>
                <a:lnTo>
                  <a:pt x="107" y="44"/>
                </a:lnTo>
                <a:lnTo>
                  <a:pt x="107" y="47"/>
                </a:lnTo>
                <a:lnTo>
                  <a:pt x="107" y="56"/>
                </a:lnTo>
                <a:lnTo>
                  <a:pt x="107" y="59"/>
                </a:lnTo>
                <a:lnTo>
                  <a:pt x="110" y="62"/>
                </a:lnTo>
                <a:lnTo>
                  <a:pt x="113" y="69"/>
                </a:lnTo>
                <a:lnTo>
                  <a:pt x="116" y="69"/>
                </a:lnTo>
                <a:lnTo>
                  <a:pt x="116" y="69"/>
                </a:lnTo>
                <a:lnTo>
                  <a:pt x="119" y="72"/>
                </a:lnTo>
                <a:lnTo>
                  <a:pt x="119" y="75"/>
                </a:lnTo>
                <a:lnTo>
                  <a:pt x="122" y="78"/>
                </a:lnTo>
                <a:lnTo>
                  <a:pt x="122" y="78"/>
                </a:lnTo>
                <a:lnTo>
                  <a:pt x="122" y="81"/>
                </a:lnTo>
                <a:lnTo>
                  <a:pt x="122" y="84"/>
                </a:lnTo>
                <a:lnTo>
                  <a:pt x="129" y="87"/>
                </a:lnTo>
                <a:lnTo>
                  <a:pt x="129" y="90"/>
                </a:lnTo>
                <a:lnTo>
                  <a:pt x="125" y="94"/>
                </a:lnTo>
                <a:lnTo>
                  <a:pt x="125" y="90"/>
                </a:lnTo>
                <a:lnTo>
                  <a:pt x="122" y="90"/>
                </a:lnTo>
                <a:lnTo>
                  <a:pt x="119" y="87"/>
                </a:lnTo>
                <a:lnTo>
                  <a:pt x="116" y="87"/>
                </a:lnTo>
                <a:lnTo>
                  <a:pt x="113" y="87"/>
                </a:lnTo>
                <a:lnTo>
                  <a:pt x="107" y="87"/>
                </a:lnTo>
                <a:lnTo>
                  <a:pt x="100" y="87"/>
                </a:lnTo>
                <a:lnTo>
                  <a:pt x="97" y="84"/>
                </a:lnTo>
                <a:lnTo>
                  <a:pt x="88" y="81"/>
                </a:lnTo>
                <a:lnTo>
                  <a:pt x="75" y="81"/>
                </a:lnTo>
                <a:lnTo>
                  <a:pt x="72" y="81"/>
                </a:lnTo>
                <a:lnTo>
                  <a:pt x="72" y="81"/>
                </a:lnTo>
                <a:lnTo>
                  <a:pt x="69" y="78"/>
                </a:lnTo>
                <a:lnTo>
                  <a:pt x="50" y="78"/>
                </a:lnTo>
                <a:lnTo>
                  <a:pt x="44" y="81"/>
                </a:lnTo>
                <a:lnTo>
                  <a:pt x="41" y="87"/>
                </a:lnTo>
                <a:lnTo>
                  <a:pt x="25" y="84"/>
                </a:lnTo>
                <a:lnTo>
                  <a:pt x="19" y="87"/>
                </a:lnTo>
                <a:lnTo>
                  <a:pt x="16" y="87"/>
                </a:lnTo>
                <a:lnTo>
                  <a:pt x="16" y="84"/>
                </a:lnTo>
                <a:lnTo>
                  <a:pt x="13" y="81"/>
                </a:lnTo>
                <a:lnTo>
                  <a:pt x="16" y="84"/>
                </a:lnTo>
                <a:lnTo>
                  <a:pt x="19" y="84"/>
                </a:lnTo>
                <a:lnTo>
                  <a:pt x="22" y="81"/>
                </a:lnTo>
                <a:lnTo>
                  <a:pt x="16" y="78"/>
                </a:lnTo>
                <a:lnTo>
                  <a:pt x="13" y="81"/>
                </a:lnTo>
                <a:lnTo>
                  <a:pt x="10" y="81"/>
                </a:lnTo>
                <a:lnTo>
                  <a:pt x="13" y="78"/>
                </a:lnTo>
                <a:lnTo>
                  <a:pt x="13" y="72"/>
                </a:lnTo>
                <a:lnTo>
                  <a:pt x="16" y="72"/>
                </a:lnTo>
                <a:lnTo>
                  <a:pt x="29" y="72"/>
                </a:lnTo>
                <a:lnTo>
                  <a:pt x="32" y="69"/>
                </a:lnTo>
                <a:lnTo>
                  <a:pt x="35" y="65"/>
                </a:lnTo>
                <a:lnTo>
                  <a:pt x="38" y="62"/>
                </a:lnTo>
                <a:lnTo>
                  <a:pt x="41" y="65"/>
                </a:lnTo>
                <a:lnTo>
                  <a:pt x="41" y="65"/>
                </a:lnTo>
                <a:lnTo>
                  <a:pt x="44" y="62"/>
                </a:lnTo>
                <a:lnTo>
                  <a:pt x="47" y="62"/>
                </a:lnTo>
                <a:lnTo>
                  <a:pt x="50" y="65"/>
                </a:lnTo>
                <a:lnTo>
                  <a:pt x="57" y="65"/>
                </a:lnTo>
                <a:lnTo>
                  <a:pt x="60" y="65"/>
                </a:lnTo>
                <a:lnTo>
                  <a:pt x="66" y="69"/>
                </a:lnTo>
                <a:lnTo>
                  <a:pt x="72" y="69"/>
                </a:lnTo>
                <a:lnTo>
                  <a:pt x="72" y="65"/>
                </a:lnTo>
                <a:lnTo>
                  <a:pt x="72" y="65"/>
                </a:lnTo>
                <a:lnTo>
                  <a:pt x="69" y="65"/>
                </a:lnTo>
                <a:lnTo>
                  <a:pt x="63" y="59"/>
                </a:lnTo>
                <a:lnTo>
                  <a:pt x="57" y="59"/>
                </a:lnTo>
                <a:lnTo>
                  <a:pt x="50" y="56"/>
                </a:lnTo>
                <a:lnTo>
                  <a:pt x="47" y="56"/>
                </a:lnTo>
                <a:lnTo>
                  <a:pt x="44" y="53"/>
                </a:lnTo>
                <a:lnTo>
                  <a:pt x="38" y="56"/>
                </a:lnTo>
                <a:lnTo>
                  <a:pt x="32" y="62"/>
                </a:lnTo>
                <a:lnTo>
                  <a:pt x="29" y="62"/>
                </a:lnTo>
                <a:lnTo>
                  <a:pt x="25" y="62"/>
                </a:lnTo>
                <a:lnTo>
                  <a:pt x="16" y="62"/>
                </a:lnTo>
                <a:lnTo>
                  <a:pt x="16" y="62"/>
                </a:lnTo>
                <a:lnTo>
                  <a:pt x="19" y="59"/>
                </a:lnTo>
                <a:lnTo>
                  <a:pt x="13" y="56"/>
                </a:lnTo>
                <a:lnTo>
                  <a:pt x="16" y="56"/>
                </a:lnTo>
                <a:lnTo>
                  <a:pt x="16" y="53"/>
                </a:lnTo>
                <a:lnTo>
                  <a:pt x="13" y="53"/>
                </a:lnTo>
                <a:lnTo>
                  <a:pt x="7" y="44"/>
                </a:lnTo>
                <a:lnTo>
                  <a:pt x="0" y="37"/>
                </a:lnTo>
                <a:lnTo>
                  <a:pt x="13" y="28"/>
                </a:lnTo>
                <a:lnTo>
                  <a:pt x="19" y="18"/>
                </a:lnTo>
                <a:lnTo>
                  <a:pt x="19" y="12"/>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3" name="Freeform 121">
            <a:extLst>
              <a:ext uri="{FF2B5EF4-FFF2-40B4-BE49-F238E27FC236}">
                <a16:creationId xmlns:a16="http://schemas.microsoft.com/office/drawing/2014/main" id="{96F1264B-D7F3-A9BF-CB18-4FBBF2D2D0B0}"/>
              </a:ext>
            </a:extLst>
          </p:cNvPr>
          <p:cNvSpPr>
            <a:spLocks/>
          </p:cNvSpPr>
          <p:nvPr userDrawn="1"/>
        </p:nvSpPr>
        <p:spPr bwMode="auto">
          <a:xfrm>
            <a:off x="12127710" y="8482883"/>
            <a:ext cx="196837" cy="60326"/>
          </a:xfrm>
          <a:custGeom>
            <a:avLst/>
            <a:gdLst>
              <a:gd name="T0" fmla="*/ 3 w 62"/>
              <a:gd name="T1" fmla="*/ 19 h 19"/>
              <a:gd name="T2" fmla="*/ 6 w 62"/>
              <a:gd name="T3" fmla="*/ 19 h 19"/>
              <a:gd name="T4" fmla="*/ 19 w 62"/>
              <a:gd name="T5" fmla="*/ 19 h 19"/>
              <a:gd name="T6" fmla="*/ 22 w 62"/>
              <a:gd name="T7" fmla="*/ 16 h 19"/>
              <a:gd name="T8" fmla="*/ 25 w 62"/>
              <a:gd name="T9" fmla="*/ 12 h 19"/>
              <a:gd name="T10" fmla="*/ 28 w 62"/>
              <a:gd name="T11" fmla="*/ 9 h 19"/>
              <a:gd name="T12" fmla="*/ 31 w 62"/>
              <a:gd name="T13" fmla="*/ 12 h 19"/>
              <a:gd name="T14" fmla="*/ 31 w 62"/>
              <a:gd name="T15" fmla="*/ 12 h 19"/>
              <a:gd name="T16" fmla="*/ 34 w 62"/>
              <a:gd name="T17" fmla="*/ 9 h 19"/>
              <a:gd name="T18" fmla="*/ 37 w 62"/>
              <a:gd name="T19" fmla="*/ 9 h 19"/>
              <a:gd name="T20" fmla="*/ 40 w 62"/>
              <a:gd name="T21" fmla="*/ 12 h 19"/>
              <a:gd name="T22" fmla="*/ 47 w 62"/>
              <a:gd name="T23" fmla="*/ 12 h 19"/>
              <a:gd name="T24" fmla="*/ 50 w 62"/>
              <a:gd name="T25" fmla="*/ 12 h 19"/>
              <a:gd name="T26" fmla="*/ 56 w 62"/>
              <a:gd name="T27" fmla="*/ 16 h 19"/>
              <a:gd name="T28" fmla="*/ 62 w 62"/>
              <a:gd name="T29" fmla="*/ 16 h 19"/>
              <a:gd name="T30" fmla="*/ 62 w 62"/>
              <a:gd name="T31" fmla="*/ 12 h 19"/>
              <a:gd name="T32" fmla="*/ 62 w 62"/>
              <a:gd name="T33" fmla="*/ 12 h 19"/>
              <a:gd name="T34" fmla="*/ 59 w 62"/>
              <a:gd name="T35" fmla="*/ 12 h 19"/>
              <a:gd name="T36" fmla="*/ 53 w 62"/>
              <a:gd name="T37" fmla="*/ 6 h 19"/>
              <a:gd name="T38" fmla="*/ 47 w 62"/>
              <a:gd name="T39" fmla="*/ 6 h 19"/>
              <a:gd name="T40" fmla="*/ 40 w 62"/>
              <a:gd name="T41" fmla="*/ 3 h 19"/>
              <a:gd name="T42" fmla="*/ 37 w 62"/>
              <a:gd name="T43" fmla="*/ 3 h 19"/>
              <a:gd name="T44" fmla="*/ 34 w 62"/>
              <a:gd name="T45" fmla="*/ 0 h 19"/>
              <a:gd name="T46" fmla="*/ 28 w 62"/>
              <a:gd name="T47" fmla="*/ 3 h 19"/>
              <a:gd name="T48" fmla="*/ 22 w 62"/>
              <a:gd name="T49" fmla="*/ 9 h 19"/>
              <a:gd name="T50" fmla="*/ 19 w 62"/>
              <a:gd name="T51" fmla="*/ 9 h 19"/>
              <a:gd name="T52" fmla="*/ 15 w 62"/>
              <a:gd name="T53" fmla="*/ 9 h 19"/>
              <a:gd name="T54" fmla="*/ 6 w 62"/>
              <a:gd name="T55" fmla="*/ 9 h 19"/>
              <a:gd name="T56" fmla="*/ 6 w 62"/>
              <a:gd name="T57" fmla="*/ 12 h 19"/>
              <a:gd name="T58" fmla="*/ 12 w 62"/>
              <a:gd name="T59" fmla="*/ 16 h 19"/>
              <a:gd name="T60" fmla="*/ 15 w 62"/>
              <a:gd name="T61" fmla="*/ 16 h 19"/>
              <a:gd name="T62" fmla="*/ 12 w 62"/>
              <a:gd name="T63" fmla="*/ 19 h 19"/>
              <a:gd name="T64" fmla="*/ 9 w 62"/>
              <a:gd name="T65" fmla="*/ 19 h 19"/>
              <a:gd name="T66" fmla="*/ 3 w 62"/>
              <a:gd name="T67" fmla="*/ 12 h 19"/>
              <a:gd name="T68" fmla="*/ 0 w 62"/>
              <a:gd name="T69" fmla="*/ 16 h 19"/>
              <a:gd name="T70" fmla="*/ 3 w 62"/>
              <a:gd name="T71" fmla="*/ 19 h 19"/>
              <a:gd name="T72" fmla="*/ 3 w 62"/>
              <a:gd name="T7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19">
                <a:moveTo>
                  <a:pt x="3" y="19"/>
                </a:moveTo>
                <a:lnTo>
                  <a:pt x="6" y="19"/>
                </a:lnTo>
                <a:lnTo>
                  <a:pt x="19" y="19"/>
                </a:lnTo>
                <a:lnTo>
                  <a:pt x="22" y="16"/>
                </a:lnTo>
                <a:lnTo>
                  <a:pt x="25" y="12"/>
                </a:lnTo>
                <a:lnTo>
                  <a:pt x="28" y="9"/>
                </a:lnTo>
                <a:lnTo>
                  <a:pt x="31" y="12"/>
                </a:lnTo>
                <a:lnTo>
                  <a:pt x="31" y="12"/>
                </a:lnTo>
                <a:lnTo>
                  <a:pt x="34" y="9"/>
                </a:lnTo>
                <a:lnTo>
                  <a:pt x="37" y="9"/>
                </a:lnTo>
                <a:lnTo>
                  <a:pt x="40" y="12"/>
                </a:lnTo>
                <a:lnTo>
                  <a:pt x="47" y="12"/>
                </a:lnTo>
                <a:lnTo>
                  <a:pt x="50" y="12"/>
                </a:lnTo>
                <a:lnTo>
                  <a:pt x="56" y="16"/>
                </a:lnTo>
                <a:lnTo>
                  <a:pt x="62" y="16"/>
                </a:lnTo>
                <a:lnTo>
                  <a:pt x="62" y="12"/>
                </a:lnTo>
                <a:lnTo>
                  <a:pt x="62" y="12"/>
                </a:lnTo>
                <a:lnTo>
                  <a:pt x="59" y="12"/>
                </a:lnTo>
                <a:lnTo>
                  <a:pt x="53" y="6"/>
                </a:lnTo>
                <a:lnTo>
                  <a:pt x="47" y="6"/>
                </a:lnTo>
                <a:lnTo>
                  <a:pt x="40" y="3"/>
                </a:lnTo>
                <a:lnTo>
                  <a:pt x="37" y="3"/>
                </a:lnTo>
                <a:lnTo>
                  <a:pt x="34" y="0"/>
                </a:lnTo>
                <a:lnTo>
                  <a:pt x="28" y="3"/>
                </a:lnTo>
                <a:lnTo>
                  <a:pt x="22" y="9"/>
                </a:lnTo>
                <a:lnTo>
                  <a:pt x="19" y="9"/>
                </a:lnTo>
                <a:lnTo>
                  <a:pt x="15" y="9"/>
                </a:lnTo>
                <a:lnTo>
                  <a:pt x="6" y="9"/>
                </a:lnTo>
                <a:lnTo>
                  <a:pt x="6" y="12"/>
                </a:lnTo>
                <a:lnTo>
                  <a:pt x="12" y="16"/>
                </a:lnTo>
                <a:lnTo>
                  <a:pt x="15" y="16"/>
                </a:lnTo>
                <a:lnTo>
                  <a:pt x="12" y="19"/>
                </a:lnTo>
                <a:lnTo>
                  <a:pt x="9" y="19"/>
                </a:lnTo>
                <a:lnTo>
                  <a:pt x="3" y="12"/>
                </a:lnTo>
                <a:lnTo>
                  <a:pt x="0" y="16"/>
                </a:lnTo>
                <a:lnTo>
                  <a:pt x="3" y="19"/>
                </a:lnTo>
                <a:lnTo>
                  <a:pt x="3" y="1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4" name="Freeform 122">
            <a:extLst>
              <a:ext uri="{FF2B5EF4-FFF2-40B4-BE49-F238E27FC236}">
                <a16:creationId xmlns:a16="http://schemas.microsoft.com/office/drawing/2014/main" id="{FFE84A1A-5839-392D-3923-150B65C9DA21}"/>
              </a:ext>
            </a:extLst>
          </p:cNvPr>
          <p:cNvSpPr>
            <a:spLocks/>
          </p:cNvSpPr>
          <p:nvPr userDrawn="1"/>
        </p:nvSpPr>
        <p:spPr bwMode="auto">
          <a:xfrm>
            <a:off x="12146758" y="8562257"/>
            <a:ext cx="187314" cy="117478"/>
          </a:xfrm>
          <a:custGeom>
            <a:avLst/>
            <a:gdLst>
              <a:gd name="T0" fmla="*/ 0 w 59"/>
              <a:gd name="T1" fmla="*/ 9 h 37"/>
              <a:gd name="T2" fmla="*/ 3 w 59"/>
              <a:gd name="T3" fmla="*/ 9 h 37"/>
              <a:gd name="T4" fmla="*/ 9 w 59"/>
              <a:gd name="T5" fmla="*/ 6 h 37"/>
              <a:gd name="T6" fmla="*/ 25 w 59"/>
              <a:gd name="T7" fmla="*/ 9 h 37"/>
              <a:gd name="T8" fmla="*/ 28 w 59"/>
              <a:gd name="T9" fmla="*/ 3 h 37"/>
              <a:gd name="T10" fmla="*/ 34 w 59"/>
              <a:gd name="T11" fmla="*/ 0 h 37"/>
              <a:gd name="T12" fmla="*/ 53 w 59"/>
              <a:gd name="T13" fmla="*/ 0 h 37"/>
              <a:gd name="T14" fmla="*/ 56 w 59"/>
              <a:gd name="T15" fmla="*/ 3 h 37"/>
              <a:gd name="T16" fmla="*/ 56 w 59"/>
              <a:gd name="T17" fmla="*/ 9 h 37"/>
              <a:gd name="T18" fmla="*/ 56 w 59"/>
              <a:gd name="T19" fmla="*/ 12 h 37"/>
              <a:gd name="T20" fmla="*/ 56 w 59"/>
              <a:gd name="T21" fmla="*/ 19 h 37"/>
              <a:gd name="T22" fmla="*/ 59 w 59"/>
              <a:gd name="T23" fmla="*/ 22 h 37"/>
              <a:gd name="T24" fmla="*/ 59 w 59"/>
              <a:gd name="T25" fmla="*/ 25 h 37"/>
              <a:gd name="T26" fmla="*/ 56 w 59"/>
              <a:gd name="T27" fmla="*/ 28 h 37"/>
              <a:gd name="T28" fmla="*/ 50 w 59"/>
              <a:gd name="T29" fmla="*/ 28 h 37"/>
              <a:gd name="T30" fmla="*/ 44 w 59"/>
              <a:gd name="T31" fmla="*/ 31 h 37"/>
              <a:gd name="T32" fmla="*/ 41 w 59"/>
              <a:gd name="T33" fmla="*/ 31 h 37"/>
              <a:gd name="T34" fmla="*/ 38 w 59"/>
              <a:gd name="T35" fmla="*/ 37 h 37"/>
              <a:gd name="T36" fmla="*/ 31 w 59"/>
              <a:gd name="T37" fmla="*/ 37 h 37"/>
              <a:gd name="T38" fmla="*/ 31 w 59"/>
              <a:gd name="T39" fmla="*/ 37 h 37"/>
              <a:gd name="T40" fmla="*/ 31 w 59"/>
              <a:gd name="T41" fmla="*/ 34 h 37"/>
              <a:gd name="T42" fmla="*/ 25 w 59"/>
              <a:gd name="T43" fmla="*/ 34 h 37"/>
              <a:gd name="T44" fmla="*/ 28 w 59"/>
              <a:gd name="T45" fmla="*/ 28 h 37"/>
              <a:gd name="T46" fmla="*/ 25 w 59"/>
              <a:gd name="T47" fmla="*/ 28 h 37"/>
              <a:gd name="T48" fmla="*/ 28 w 59"/>
              <a:gd name="T49" fmla="*/ 28 h 37"/>
              <a:gd name="T50" fmla="*/ 25 w 59"/>
              <a:gd name="T51" fmla="*/ 25 h 37"/>
              <a:gd name="T52" fmla="*/ 22 w 59"/>
              <a:gd name="T53" fmla="*/ 25 h 37"/>
              <a:gd name="T54" fmla="*/ 22 w 59"/>
              <a:gd name="T55" fmla="*/ 25 h 37"/>
              <a:gd name="T56" fmla="*/ 31 w 59"/>
              <a:gd name="T57" fmla="*/ 22 h 37"/>
              <a:gd name="T58" fmla="*/ 31 w 59"/>
              <a:gd name="T59" fmla="*/ 22 h 37"/>
              <a:gd name="T60" fmla="*/ 28 w 59"/>
              <a:gd name="T61" fmla="*/ 19 h 37"/>
              <a:gd name="T62" fmla="*/ 22 w 59"/>
              <a:gd name="T63" fmla="*/ 19 h 37"/>
              <a:gd name="T64" fmla="*/ 19 w 59"/>
              <a:gd name="T65" fmla="*/ 22 h 37"/>
              <a:gd name="T66" fmla="*/ 16 w 59"/>
              <a:gd name="T67" fmla="*/ 22 h 37"/>
              <a:gd name="T68" fmla="*/ 13 w 59"/>
              <a:gd name="T69" fmla="*/ 19 h 37"/>
              <a:gd name="T70" fmla="*/ 9 w 59"/>
              <a:gd name="T71" fmla="*/ 19 h 37"/>
              <a:gd name="T72" fmla="*/ 6 w 59"/>
              <a:gd name="T73" fmla="*/ 16 h 37"/>
              <a:gd name="T74" fmla="*/ 9 w 59"/>
              <a:gd name="T75" fmla="*/ 12 h 37"/>
              <a:gd name="T76" fmla="*/ 6 w 59"/>
              <a:gd name="T77" fmla="*/ 12 h 37"/>
              <a:gd name="T78" fmla="*/ 0 w 59"/>
              <a:gd name="T79" fmla="*/ 12 h 37"/>
              <a:gd name="T80" fmla="*/ 0 w 59"/>
              <a:gd name="T81" fmla="*/ 9 h 37"/>
              <a:gd name="T82" fmla="*/ 0 w 59"/>
              <a:gd name="T83" fmla="*/ 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9" h="37">
                <a:moveTo>
                  <a:pt x="0" y="9"/>
                </a:moveTo>
                <a:lnTo>
                  <a:pt x="3" y="9"/>
                </a:lnTo>
                <a:lnTo>
                  <a:pt x="9" y="6"/>
                </a:lnTo>
                <a:lnTo>
                  <a:pt x="25" y="9"/>
                </a:lnTo>
                <a:lnTo>
                  <a:pt x="28" y="3"/>
                </a:lnTo>
                <a:lnTo>
                  <a:pt x="34" y="0"/>
                </a:lnTo>
                <a:lnTo>
                  <a:pt x="53" y="0"/>
                </a:lnTo>
                <a:lnTo>
                  <a:pt x="56" y="3"/>
                </a:lnTo>
                <a:lnTo>
                  <a:pt x="56" y="9"/>
                </a:lnTo>
                <a:lnTo>
                  <a:pt x="56" y="12"/>
                </a:lnTo>
                <a:lnTo>
                  <a:pt x="56" y="19"/>
                </a:lnTo>
                <a:lnTo>
                  <a:pt x="59" y="22"/>
                </a:lnTo>
                <a:lnTo>
                  <a:pt x="59" y="25"/>
                </a:lnTo>
                <a:lnTo>
                  <a:pt x="56" y="28"/>
                </a:lnTo>
                <a:lnTo>
                  <a:pt x="50" y="28"/>
                </a:lnTo>
                <a:lnTo>
                  <a:pt x="44" y="31"/>
                </a:lnTo>
                <a:lnTo>
                  <a:pt x="41" y="31"/>
                </a:lnTo>
                <a:lnTo>
                  <a:pt x="38" y="37"/>
                </a:lnTo>
                <a:lnTo>
                  <a:pt x="31" y="37"/>
                </a:lnTo>
                <a:lnTo>
                  <a:pt x="31" y="37"/>
                </a:lnTo>
                <a:lnTo>
                  <a:pt x="31" y="34"/>
                </a:lnTo>
                <a:lnTo>
                  <a:pt x="25" y="34"/>
                </a:lnTo>
                <a:lnTo>
                  <a:pt x="28" y="28"/>
                </a:lnTo>
                <a:lnTo>
                  <a:pt x="25" y="28"/>
                </a:lnTo>
                <a:lnTo>
                  <a:pt x="28" y="28"/>
                </a:lnTo>
                <a:lnTo>
                  <a:pt x="25" y="25"/>
                </a:lnTo>
                <a:lnTo>
                  <a:pt x="22" y="25"/>
                </a:lnTo>
                <a:lnTo>
                  <a:pt x="22" y="25"/>
                </a:lnTo>
                <a:lnTo>
                  <a:pt x="31" y="22"/>
                </a:lnTo>
                <a:lnTo>
                  <a:pt x="31" y="22"/>
                </a:lnTo>
                <a:lnTo>
                  <a:pt x="28" y="19"/>
                </a:lnTo>
                <a:lnTo>
                  <a:pt x="22" y="19"/>
                </a:lnTo>
                <a:lnTo>
                  <a:pt x="19" y="22"/>
                </a:lnTo>
                <a:lnTo>
                  <a:pt x="16" y="22"/>
                </a:lnTo>
                <a:lnTo>
                  <a:pt x="13" y="19"/>
                </a:lnTo>
                <a:lnTo>
                  <a:pt x="9" y="19"/>
                </a:lnTo>
                <a:lnTo>
                  <a:pt x="6" y="16"/>
                </a:lnTo>
                <a:lnTo>
                  <a:pt x="9" y="12"/>
                </a:lnTo>
                <a:lnTo>
                  <a:pt x="6" y="12"/>
                </a:lnTo>
                <a:lnTo>
                  <a:pt x="0" y="12"/>
                </a:lnTo>
                <a:lnTo>
                  <a:pt x="0" y="9"/>
                </a:lnTo>
                <a:lnTo>
                  <a:pt x="0" y="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5" name="Freeform 123">
            <a:extLst>
              <a:ext uri="{FF2B5EF4-FFF2-40B4-BE49-F238E27FC236}">
                <a16:creationId xmlns:a16="http://schemas.microsoft.com/office/drawing/2014/main" id="{7A6F06F7-CA01-4CB6-1480-85CF1CC468AB}"/>
              </a:ext>
            </a:extLst>
          </p:cNvPr>
          <p:cNvSpPr>
            <a:spLocks/>
          </p:cNvSpPr>
          <p:nvPr userDrawn="1"/>
        </p:nvSpPr>
        <p:spPr bwMode="auto">
          <a:xfrm>
            <a:off x="12267399" y="8571781"/>
            <a:ext cx="434948" cy="438150"/>
          </a:xfrm>
          <a:custGeom>
            <a:avLst/>
            <a:gdLst>
              <a:gd name="T0" fmla="*/ 3 w 137"/>
              <a:gd name="T1" fmla="*/ 28 h 138"/>
              <a:gd name="T2" fmla="*/ 12 w 137"/>
              <a:gd name="T3" fmla="*/ 25 h 138"/>
              <a:gd name="T4" fmla="*/ 21 w 137"/>
              <a:gd name="T5" fmla="*/ 22 h 138"/>
              <a:gd name="T6" fmla="*/ 18 w 137"/>
              <a:gd name="T7" fmla="*/ 16 h 138"/>
              <a:gd name="T8" fmla="*/ 18 w 137"/>
              <a:gd name="T9" fmla="*/ 6 h 138"/>
              <a:gd name="T10" fmla="*/ 21 w 137"/>
              <a:gd name="T11" fmla="*/ 0 h 138"/>
              <a:gd name="T12" fmla="*/ 43 w 137"/>
              <a:gd name="T13" fmla="*/ 3 h 138"/>
              <a:gd name="T14" fmla="*/ 53 w 137"/>
              <a:gd name="T15" fmla="*/ 6 h 138"/>
              <a:gd name="T16" fmla="*/ 62 w 137"/>
              <a:gd name="T17" fmla="*/ 6 h 138"/>
              <a:gd name="T18" fmla="*/ 68 w 137"/>
              <a:gd name="T19" fmla="*/ 9 h 138"/>
              <a:gd name="T20" fmla="*/ 71 w 137"/>
              <a:gd name="T21" fmla="*/ 13 h 138"/>
              <a:gd name="T22" fmla="*/ 78 w 137"/>
              <a:gd name="T23" fmla="*/ 13 h 138"/>
              <a:gd name="T24" fmla="*/ 87 w 137"/>
              <a:gd name="T25" fmla="*/ 16 h 138"/>
              <a:gd name="T26" fmla="*/ 93 w 137"/>
              <a:gd name="T27" fmla="*/ 13 h 138"/>
              <a:gd name="T28" fmla="*/ 100 w 137"/>
              <a:gd name="T29" fmla="*/ 6 h 138"/>
              <a:gd name="T30" fmla="*/ 109 w 137"/>
              <a:gd name="T31" fmla="*/ 9 h 138"/>
              <a:gd name="T32" fmla="*/ 115 w 137"/>
              <a:gd name="T33" fmla="*/ 6 h 138"/>
              <a:gd name="T34" fmla="*/ 121 w 137"/>
              <a:gd name="T35" fmla="*/ 13 h 138"/>
              <a:gd name="T36" fmla="*/ 121 w 137"/>
              <a:gd name="T37" fmla="*/ 22 h 138"/>
              <a:gd name="T38" fmla="*/ 128 w 137"/>
              <a:gd name="T39" fmla="*/ 25 h 138"/>
              <a:gd name="T40" fmla="*/ 125 w 137"/>
              <a:gd name="T41" fmla="*/ 31 h 138"/>
              <a:gd name="T42" fmla="*/ 125 w 137"/>
              <a:gd name="T43" fmla="*/ 34 h 138"/>
              <a:gd name="T44" fmla="*/ 131 w 137"/>
              <a:gd name="T45" fmla="*/ 34 h 138"/>
              <a:gd name="T46" fmla="*/ 131 w 137"/>
              <a:gd name="T47" fmla="*/ 41 h 138"/>
              <a:gd name="T48" fmla="*/ 137 w 137"/>
              <a:gd name="T49" fmla="*/ 41 h 138"/>
              <a:gd name="T50" fmla="*/ 137 w 137"/>
              <a:gd name="T51" fmla="*/ 47 h 138"/>
              <a:gd name="T52" fmla="*/ 131 w 137"/>
              <a:gd name="T53" fmla="*/ 50 h 138"/>
              <a:gd name="T54" fmla="*/ 131 w 137"/>
              <a:gd name="T55" fmla="*/ 56 h 138"/>
              <a:gd name="T56" fmla="*/ 131 w 137"/>
              <a:gd name="T57" fmla="*/ 66 h 138"/>
              <a:gd name="T58" fmla="*/ 134 w 137"/>
              <a:gd name="T59" fmla="*/ 75 h 138"/>
              <a:gd name="T60" fmla="*/ 134 w 137"/>
              <a:gd name="T61" fmla="*/ 81 h 138"/>
              <a:gd name="T62" fmla="*/ 131 w 137"/>
              <a:gd name="T63" fmla="*/ 81 h 138"/>
              <a:gd name="T64" fmla="*/ 134 w 137"/>
              <a:gd name="T65" fmla="*/ 91 h 138"/>
              <a:gd name="T66" fmla="*/ 134 w 137"/>
              <a:gd name="T67" fmla="*/ 97 h 138"/>
              <a:gd name="T68" fmla="*/ 125 w 137"/>
              <a:gd name="T69" fmla="*/ 110 h 138"/>
              <a:gd name="T70" fmla="*/ 125 w 137"/>
              <a:gd name="T71" fmla="*/ 116 h 138"/>
              <a:gd name="T72" fmla="*/ 121 w 137"/>
              <a:gd name="T73" fmla="*/ 125 h 138"/>
              <a:gd name="T74" fmla="*/ 90 w 137"/>
              <a:gd name="T75" fmla="*/ 138 h 138"/>
              <a:gd name="T76" fmla="*/ 81 w 137"/>
              <a:gd name="T77" fmla="*/ 131 h 138"/>
              <a:gd name="T78" fmla="*/ 71 w 137"/>
              <a:gd name="T79" fmla="*/ 122 h 138"/>
              <a:gd name="T80" fmla="*/ 71 w 137"/>
              <a:gd name="T81" fmla="*/ 119 h 138"/>
              <a:gd name="T82" fmla="*/ 84 w 137"/>
              <a:gd name="T83" fmla="*/ 88 h 138"/>
              <a:gd name="T84" fmla="*/ 81 w 137"/>
              <a:gd name="T85" fmla="*/ 85 h 138"/>
              <a:gd name="T86" fmla="*/ 84 w 137"/>
              <a:gd name="T87" fmla="*/ 78 h 138"/>
              <a:gd name="T88" fmla="*/ 81 w 137"/>
              <a:gd name="T89" fmla="*/ 72 h 138"/>
              <a:gd name="T90" fmla="*/ 75 w 137"/>
              <a:gd name="T91" fmla="*/ 59 h 138"/>
              <a:gd name="T92" fmla="*/ 71 w 137"/>
              <a:gd name="T93" fmla="*/ 53 h 138"/>
              <a:gd name="T94" fmla="*/ 50 w 137"/>
              <a:gd name="T95" fmla="*/ 53 h 138"/>
              <a:gd name="T96" fmla="*/ 40 w 137"/>
              <a:gd name="T97" fmla="*/ 63 h 138"/>
              <a:gd name="T98" fmla="*/ 34 w 137"/>
              <a:gd name="T99" fmla="*/ 69 h 138"/>
              <a:gd name="T100" fmla="*/ 28 w 137"/>
              <a:gd name="T101" fmla="*/ 66 h 138"/>
              <a:gd name="T102" fmla="*/ 21 w 137"/>
              <a:gd name="T103" fmla="*/ 56 h 138"/>
              <a:gd name="T104" fmla="*/ 15 w 137"/>
              <a:gd name="T105" fmla="*/ 56 h 138"/>
              <a:gd name="T106" fmla="*/ 18 w 137"/>
              <a:gd name="T107" fmla="*/ 50 h 138"/>
              <a:gd name="T108" fmla="*/ 12 w 137"/>
              <a:gd name="T109" fmla="*/ 53 h 138"/>
              <a:gd name="T110" fmla="*/ 6 w 137"/>
              <a:gd name="T111" fmla="*/ 50 h 138"/>
              <a:gd name="T112" fmla="*/ 3 w 137"/>
              <a:gd name="T113" fmla="*/ 38 h 138"/>
              <a:gd name="T114" fmla="*/ 0 w 137"/>
              <a:gd name="T115" fmla="*/ 3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7" h="138">
                <a:moveTo>
                  <a:pt x="0" y="34"/>
                </a:moveTo>
                <a:lnTo>
                  <a:pt x="3" y="28"/>
                </a:lnTo>
                <a:lnTo>
                  <a:pt x="6" y="28"/>
                </a:lnTo>
                <a:lnTo>
                  <a:pt x="12" y="25"/>
                </a:lnTo>
                <a:lnTo>
                  <a:pt x="18" y="25"/>
                </a:lnTo>
                <a:lnTo>
                  <a:pt x="21" y="22"/>
                </a:lnTo>
                <a:lnTo>
                  <a:pt x="21" y="19"/>
                </a:lnTo>
                <a:lnTo>
                  <a:pt x="18" y="16"/>
                </a:lnTo>
                <a:lnTo>
                  <a:pt x="18" y="9"/>
                </a:lnTo>
                <a:lnTo>
                  <a:pt x="18" y="6"/>
                </a:lnTo>
                <a:lnTo>
                  <a:pt x="18" y="0"/>
                </a:lnTo>
                <a:lnTo>
                  <a:pt x="21" y="0"/>
                </a:lnTo>
                <a:lnTo>
                  <a:pt x="34" y="0"/>
                </a:lnTo>
                <a:lnTo>
                  <a:pt x="43" y="3"/>
                </a:lnTo>
                <a:lnTo>
                  <a:pt x="46" y="6"/>
                </a:lnTo>
                <a:lnTo>
                  <a:pt x="53" y="6"/>
                </a:lnTo>
                <a:lnTo>
                  <a:pt x="59" y="6"/>
                </a:lnTo>
                <a:lnTo>
                  <a:pt x="62" y="6"/>
                </a:lnTo>
                <a:lnTo>
                  <a:pt x="65" y="6"/>
                </a:lnTo>
                <a:lnTo>
                  <a:pt x="68" y="9"/>
                </a:lnTo>
                <a:lnTo>
                  <a:pt x="71" y="9"/>
                </a:lnTo>
                <a:lnTo>
                  <a:pt x="71" y="13"/>
                </a:lnTo>
                <a:lnTo>
                  <a:pt x="75" y="13"/>
                </a:lnTo>
                <a:lnTo>
                  <a:pt x="78" y="13"/>
                </a:lnTo>
                <a:lnTo>
                  <a:pt x="81" y="13"/>
                </a:lnTo>
                <a:lnTo>
                  <a:pt x="87" y="16"/>
                </a:lnTo>
                <a:lnTo>
                  <a:pt x="90" y="16"/>
                </a:lnTo>
                <a:lnTo>
                  <a:pt x="93" y="13"/>
                </a:lnTo>
                <a:lnTo>
                  <a:pt x="96" y="13"/>
                </a:lnTo>
                <a:lnTo>
                  <a:pt x="100" y="6"/>
                </a:lnTo>
                <a:lnTo>
                  <a:pt x="106" y="6"/>
                </a:lnTo>
                <a:lnTo>
                  <a:pt x="109" y="9"/>
                </a:lnTo>
                <a:lnTo>
                  <a:pt x="112" y="6"/>
                </a:lnTo>
                <a:lnTo>
                  <a:pt x="115" y="6"/>
                </a:lnTo>
                <a:lnTo>
                  <a:pt x="115" y="9"/>
                </a:lnTo>
                <a:lnTo>
                  <a:pt x="121" y="13"/>
                </a:lnTo>
                <a:lnTo>
                  <a:pt x="121" y="16"/>
                </a:lnTo>
                <a:lnTo>
                  <a:pt x="121" y="22"/>
                </a:lnTo>
                <a:lnTo>
                  <a:pt x="121" y="22"/>
                </a:lnTo>
                <a:lnTo>
                  <a:pt x="128" y="25"/>
                </a:lnTo>
                <a:lnTo>
                  <a:pt x="128" y="25"/>
                </a:lnTo>
                <a:lnTo>
                  <a:pt x="125" y="31"/>
                </a:lnTo>
                <a:lnTo>
                  <a:pt x="121" y="38"/>
                </a:lnTo>
                <a:lnTo>
                  <a:pt x="125" y="34"/>
                </a:lnTo>
                <a:lnTo>
                  <a:pt x="128" y="34"/>
                </a:lnTo>
                <a:lnTo>
                  <a:pt x="131" y="34"/>
                </a:lnTo>
                <a:lnTo>
                  <a:pt x="131" y="38"/>
                </a:lnTo>
                <a:lnTo>
                  <a:pt x="131" y="41"/>
                </a:lnTo>
                <a:lnTo>
                  <a:pt x="131" y="41"/>
                </a:lnTo>
                <a:lnTo>
                  <a:pt x="137" y="41"/>
                </a:lnTo>
                <a:lnTo>
                  <a:pt x="137" y="44"/>
                </a:lnTo>
                <a:lnTo>
                  <a:pt x="137" y="47"/>
                </a:lnTo>
                <a:lnTo>
                  <a:pt x="137" y="47"/>
                </a:lnTo>
                <a:lnTo>
                  <a:pt x="131" y="50"/>
                </a:lnTo>
                <a:lnTo>
                  <a:pt x="131" y="53"/>
                </a:lnTo>
                <a:lnTo>
                  <a:pt x="131" y="56"/>
                </a:lnTo>
                <a:lnTo>
                  <a:pt x="131" y="63"/>
                </a:lnTo>
                <a:lnTo>
                  <a:pt x="131" y="66"/>
                </a:lnTo>
                <a:lnTo>
                  <a:pt x="131" y="75"/>
                </a:lnTo>
                <a:lnTo>
                  <a:pt x="134" y="75"/>
                </a:lnTo>
                <a:lnTo>
                  <a:pt x="137" y="78"/>
                </a:lnTo>
                <a:lnTo>
                  <a:pt x="134" y="81"/>
                </a:lnTo>
                <a:lnTo>
                  <a:pt x="131" y="81"/>
                </a:lnTo>
                <a:lnTo>
                  <a:pt x="131" y="81"/>
                </a:lnTo>
                <a:lnTo>
                  <a:pt x="131" y="85"/>
                </a:lnTo>
                <a:lnTo>
                  <a:pt x="134" y="91"/>
                </a:lnTo>
                <a:lnTo>
                  <a:pt x="134" y="91"/>
                </a:lnTo>
                <a:lnTo>
                  <a:pt x="134" y="97"/>
                </a:lnTo>
                <a:lnTo>
                  <a:pt x="128" y="106"/>
                </a:lnTo>
                <a:lnTo>
                  <a:pt x="125" y="110"/>
                </a:lnTo>
                <a:lnTo>
                  <a:pt x="125" y="110"/>
                </a:lnTo>
                <a:lnTo>
                  <a:pt x="125" y="116"/>
                </a:lnTo>
                <a:lnTo>
                  <a:pt x="121" y="122"/>
                </a:lnTo>
                <a:lnTo>
                  <a:pt x="121" y="125"/>
                </a:lnTo>
                <a:lnTo>
                  <a:pt x="121" y="125"/>
                </a:lnTo>
                <a:lnTo>
                  <a:pt x="90" y="138"/>
                </a:lnTo>
                <a:lnTo>
                  <a:pt x="84" y="131"/>
                </a:lnTo>
                <a:lnTo>
                  <a:pt x="81" y="131"/>
                </a:lnTo>
                <a:lnTo>
                  <a:pt x="75" y="125"/>
                </a:lnTo>
                <a:lnTo>
                  <a:pt x="71" y="122"/>
                </a:lnTo>
                <a:lnTo>
                  <a:pt x="75" y="119"/>
                </a:lnTo>
                <a:lnTo>
                  <a:pt x="71" y="119"/>
                </a:lnTo>
                <a:lnTo>
                  <a:pt x="81" y="113"/>
                </a:lnTo>
                <a:lnTo>
                  <a:pt x="84" y="88"/>
                </a:lnTo>
                <a:lnTo>
                  <a:pt x="84" y="85"/>
                </a:lnTo>
                <a:lnTo>
                  <a:pt x="81" y="85"/>
                </a:lnTo>
                <a:lnTo>
                  <a:pt x="81" y="81"/>
                </a:lnTo>
                <a:lnTo>
                  <a:pt x="84" y="78"/>
                </a:lnTo>
                <a:lnTo>
                  <a:pt x="84" y="75"/>
                </a:lnTo>
                <a:lnTo>
                  <a:pt x="81" y="72"/>
                </a:lnTo>
                <a:lnTo>
                  <a:pt x="81" y="69"/>
                </a:lnTo>
                <a:lnTo>
                  <a:pt x="75" y="59"/>
                </a:lnTo>
                <a:lnTo>
                  <a:pt x="75" y="56"/>
                </a:lnTo>
                <a:lnTo>
                  <a:pt x="71" y="53"/>
                </a:lnTo>
                <a:lnTo>
                  <a:pt x="56" y="53"/>
                </a:lnTo>
                <a:lnTo>
                  <a:pt x="50" y="53"/>
                </a:lnTo>
                <a:lnTo>
                  <a:pt x="46" y="56"/>
                </a:lnTo>
                <a:lnTo>
                  <a:pt x="40" y="63"/>
                </a:lnTo>
                <a:lnTo>
                  <a:pt x="40" y="66"/>
                </a:lnTo>
                <a:lnTo>
                  <a:pt x="34" y="69"/>
                </a:lnTo>
                <a:lnTo>
                  <a:pt x="31" y="69"/>
                </a:lnTo>
                <a:lnTo>
                  <a:pt x="28" y="66"/>
                </a:lnTo>
                <a:lnTo>
                  <a:pt x="25" y="63"/>
                </a:lnTo>
                <a:lnTo>
                  <a:pt x="21" y="56"/>
                </a:lnTo>
                <a:lnTo>
                  <a:pt x="18" y="56"/>
                </a:lnTo>
                <a:lnTo>
                  <a:pt x="15" y="56"/>
                </a:lnTo>
                <a:lnTo>
                  <a:pt x="15" y="53"/>
                </a:lnTo>
                <a:lnTo>
                  <a:pt x="18" y="50"/>
                </a:lnTo>
                <a:lnTo>
                  <a:pt x="15" y="50"/>
                </a:lnTo>
                <a:lnTo>
                  <a:pt x="12" y="53"/>
                </a:lnTo>
                <a:lnTo>
                  <a:pt x="9" y="50"/>
                </a:lnTo>
                <a:lnTo>
                  <a:pt x="6" y="50"/>
                </a:lnTo>
                <a:lnTo>
                  <a:pt x="0" y="44"/>
                </a:lnTo>
                <a:lnTo>
                  <a:pt x="3" y="38"/>
                </a:lnTo>
                <a:lnTo>
                  <a:pt x="0" y="34"/>
                </a:lnTo>
                <a:lnTo>
                  <a:pt x="0" y="3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6" name="Freeform 124">
            <a:extLst>
              <a:ext uri="{FF2B5EF4-FFF2-40B4-BE49-F238E27FC236}">
                <a16:creationId xmlns:a16="http://schemas.microsoft.com/office/drawing/2014/main" id="{B676D579-1110-A2E1-343B-10F06E0C65F2}"/>
              </a:ext>
            </a:extLst>
          </p:cNvPr>
          <p:cNvSpPr>
            <a:spLocks noEditPoints="1"/>
          </p:cNvSpPr>
          <p:nvPr userDrawn="1"/>
        </p:nvSpPr>
        <p:spPr bwMode="auto">
          <a:xfrm>
            <a:off x="12365814" y="8740061"/>
            <a:ext cx="168267" cy="209550"/>
          </a:xfrm>
          <a:custGeom>
            <a:avLst/>
            <a:gdLst>
              <a:gd name="T0" fmla="*/ 12 w 53"/>
              <a:gd name="T1" fmla="*/ 57 h 66"/>
              <a:gd name="T2" fmla="*/ 12 w 53"/>
              <a:gd name="T3" fmla="*/ 53 h 66"/>
              <a:gd name="T4" fmla="*/ 12 w 53"/>
              <a:gd name="T5" fmla="*/ 53 h 66"/>
              <a:gd name="T6" fmla="*/ 9 w 53"/>
              <a:gd name="T7" fmla="*/ 50 h 66"/>
              <a:gd name="T8" fmla="*/ 9 w 53"/>
              <a:gd name="T9" fmla="*/ 53 h 66"/>
              <a:gd name="T10" fmla="*/ 9 w 53"/>
              <a:gd name="T11" fmla="*/ 53 h 66"/>
              <a:gd name="T12" fmla="*/ 12 w 53"/>
              <a:gd name="T13" fmla="*/ 57 h 66"/>
              <a:gd name="T14" fmla="*/ 12 w 53"/>
              <a:gd name="T15" fmla="*/ 57 h 66"/>
              <a:gd name="T16" fmla="*/ 12 w 53"/>
              <a:gd name="T17" fmla="*/ 57 h 66"/>
              <a:gd name="T18" fmla="*/ 0 w 53"/>
              <a:gd name="T19" fmla="*/ 16 h 66"/>
              <a:gd name="T20" fmla="*/ 3 w 53"/>
              <a:gd name="T21" fmla="*/ 16 h 66"/>
              <a:gd name="T22" fmla="*/ 9 w 53"/>
              <a:gd name="T23" fmla="*/ 13 h 66"/>
              <a:gd name="T24" fmla="*/ 9 w 53"/>
              <a:gd name="T25" fmla="*/ 10 h 66"/>
              <a:gd name="T26" fmla="*/ 15 w 53"/>
              <a:gd name="T27" fmla="*/ 3 h 66"/>
              <a:gd name="T28" fmla="*/ 19 w 53"/>
              <a:gd name="T29" fmla="*/ 0 h 66"/>
              <a:gd name="T30" fmla="*/ 25 w 53"/>
              <a:gd name="T31" fmla="*/ 0 h 66"/>
              <a:gd name="T32" fmla="*/ 40 w 53"/>
              <a:gd name="T33" fmla="*/ 0 h 66"/>
              <a:gd name="T34" fmla="*/ 44 w 53"/>
              <a:gd name="T35" fmla="*/ 3 h 66"/>
              <a:gd name="T36" fmla="*/ 44 w 53"/>
              <a:gd name="T37" fmla="*/ 6 h 66"/>
              <a:gd name="T38" fmla="*/ 50 w 53"/>
              <a:gd name="T39" fmla="*/ 16 h 66"/>
              <a:gd name="T40" fmla="*/ 50 w 53"/>
              <a:gd name="T41" fmla="*/ 19 h 66"/>
              <a:gd name="T42" fmla="*/ 53 w 53"/>
              <a:gd name="T43" fmla="*/ 22 h 66"/>
              <a:gd name="T44" fmla="*/ 53 w 53"/>
              <a:gd name="T45" fmla="*/ 25 h 66"/>
              <a:gd name="T46" fmla="*/ 50 w 53"/>
              <a:gd name="T47" fmla="*/ 28 h 66"/>
              <a:gd name="T48" fmla="*/ 50 w 53"/>
              <a:gd name="T49" fmla="*/ 32 h 66"/>
              <a:gd name="T50" fmla="*/ 53 w 53"/>
              <a:gd name="T51" fmla="*/ 32 h 66"/>
              <a:gd name="T52" fmla="*/ 53 w 53"/>
              <a:gd name="T53" fmla="*/ 35 h 66"/>
              <a:gd name="T54" fmla="*/ 50 w 53"/>
              <a:gd name="T55" fmla="*/ 60 h 66"/>
              <a:gd name="T56" fmla="*/ 40 w 53"/>
              <a:gd name="T57" fmla="*/ 66 h 66"/>
              <a:gd name="T58" fmla="*/ 40 w 53"/>
              <a:gd name="T59" fmla="*/ 66 h 66"/>
              <a:gd name="T60" fmla="*/ 31 w 53"/>
              <a:gd name="T61" fmla="*/ 66 h 66"/>
              <a:gd name="T62" fmla="*/ 22 w 53"/>
              <a:gd name="T63" fmla="*/ 60 h 66"/>
              <a:gd name="T64" fmla="*/ 19 w 53"/>
              <a:gd name="T65" fmla="*/ 60 h 66"/>
              <a:gd name="T66" fmla="*/ 19 w 53"/>
              <a:gd name="T67" fmla="*/ 57 h 66"/>
              <a:gd name="T68" fmla="*/ 15 w 53"/>
              <a:gd name="T69" fmla="*/ 53 h 66"/>
              <a:gd name="T70" fmla="*/ 12 w 53"/>
              <a:gd name="T71" fmla="*/ 50 h 66"/>
              <a:gd name="T72" fmla="*/ 15 w 53"/>
              <a:gd name="T73" fmla="*/ 47 h 66"/>
              <a:gd name="T74" fmla="*/ 15 w 53"/>
              <a:gd name="T75" fmla="*/ 47 h 66"/>
              <a:gd name="T76" fmla="*/ 9 w 53"/>
              <a:gd name="T77" fmla="*/ 47 h 66"/>
              <a:gd name="T78" fmla="*/ 6 w 53"/>
              <a:gd name="T79" fmla="*/ 44 h 66"/>
              <a:gd name="T80" fmla="*/ 6 w 53"/>
              <a:gd name="T81" fmla="*/ 38 h 66"/>
              <a:gd name="T82" fmla="*/ 3 w 53"/>
              <a:gd name="T83" fmla="*/ 32 h 66"/>
              <a:gd name="T84" fmla="*/ 0 w 53"/>
              <a:gd name="T85" fmla="*/ 32 h 66"/>
              <a:gd name="T86" fmla="*/ 0 w 53"/>
              <a:gd name="T87" fmla="*/ 28 h 66"/>
              <a:gd name="T88" fmla="*/ 3 w 53"/>
              <a:gd name="T89" fmla="*/ 25 h 66"/>
              <a:gd name="T90" fmla="*/ 0 w 53"/>
              <a:gd name="T91" fmla="*/ 22 h 66"/>
              <a:gd name="T92" fmla="*/ 0 w 53"/>
              <a:gd name="T93" fmla="*/ 19 h 66"/>
              <a:gd name="T94" fmla="*/ 0 w 53"/>
              <a:gd name="T95" fmla="*/ 16 h 66"/>
              <a:gd name="T96" fmla="*/ 0 w 53"/>
              <a:gd name="T97"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66">
                <a:moveTo>
                  <a:pt x="12" y="57"/>
                </a:moveTo>
                <a:lnTo>
                  <a:pt x="12" y="53"/>
                </a:lnTo>
                <a:lnTo>
                  <a:pt x="12" y="53"/>
                </a:lnTo>
                <a:lnTo>
                  <a:pt x="9" y="50"/>
                </a:lnTo>
                <a:lnTo>
                  <a:pt x="9" y="53"/>
                </a:lnTo>
                <a:lnTo>
                  <a:pt x="9" y="53"/>
                </a:lnTo>
                <a:lnTo>
                  <a:pt x="12" y="57"/>
                </a:lnTo>
                <a:lnTo>
                  <a:pt x="12" y="57"/>
                </a:lnTo>
                <a:lnTo>
                  <a:pt x="12" y="57"/>
                </a:lnTo>
                <a:close/>
                <a:moveTo>
                  <a:pt x="0" y="16"/>
                </a:moveTo>
                <a:lnTo>
                  <a:pt x="3" y="16"/>
                </a:lnTo>
                <a:lnTo>
                  <a:pt x="9" y="13"/>
                </a:lnTo>
                <a:lnTo>
                  <a:pt x="9" y="10"/>
                </a:lnTo>
                <a:lnTo>
                  <a:pt x="15" y="3"/>
                </a:lnTo>
                <a:lnTo>
                  <a:pt x="19" y="0"/>
                </a:lnTo>
                <a:lnTo>
                  <a:pt x="25" y="0"/>
                </a:lnTo>
                <a:lnTo>
                  <a:pt x="40" y="0"/>
                </a:lnTo>
                <a:lnTo>
                  <a:pt x="44" y="3"/>
                </a:lnTo>
                <a:lnTo>
                  <a:pt x="44" y="6"/>
                </a:lnTo>
                <a:lnTo>
                  <a:pt x="50" y="16"/>
                </a:lnTo>
                <a:lnTo>
                  <a:pt x="50" y="19"/>
                </a:lnTo>
                <a:lnTo>
                  <a:pt x="53" y="22"/>
                </a:lnTo>
                <a:lnTo>
                  <a:pt x="53" y="25"/>
                </a:lnTo>
                <a:lnTo>
                  <a:pt x="50" y="28"/>
                </a:lnTo>
                <a:lnTo>
                  <a:pt x="50" y="32"/>
                </a:lnTo>
                <a:lnTo>
                  <a:pt x="53" y="32"/>
                </a:lnTo>
                <a:lnTo>
                  <a:pt x="53" y="35"/>
                </a:lnTo>
                <a:lnTo>
                  <a:pt x="50" y="60"/>
                </a:lnTo>
                <a:lnTo>
                  <a:pt x="40" y="66"/>
                </a:lnTo>
                <a:lnTo>
                  <a:pt x="40" y="66"/>
                </a:lnTo>
                <a:lnTo>
                  <a:pt x="31" y="66"/>
                </a:lnTo>
                <a:lnTo>
                  <a:pt x="22" y="60"/>
                </a:lnTo>
                <a:lnTo>
                  <a:pt x="19" y="60"/>
                </a:lnTo>
                <a:lnTo>
                  <a:pt x="19" y="57"/>
                </a:lnTo>
                <a:lnTo>
                  <a:pt x="15" y="53"/>
                </a:lnTo>
                <a:lnTo>
                  <a:pt x="12" y="50"/>
                </a:lnTo>
                <a:lnTo>
                  <a:pt x="15" y="47"/>
                </a:lnTo>
                <a:lnTo>
                  <a:pt x="15" y="47"/>
                </a:lnTo>
                <a:lnTo>
                  <a:pt x="9" y="47"/>
                </a:lnTo>
                <a:lnTo>
                  <a:pt x="6" y="44"/>
                </a:lnTo>
                <a:lnTo>
                  <a:pt x="6" y="38"/>
                </a:lnTo>
                <a:lnTo>
                  <a:pt x="3" y="32"/>
                </a:lnTo>
                <a:lnTo>
                  <a:pt x="0" y="32"/>
                </a:lnTo>
                <a:lnTo>
                  <a:pt x="0" y="28"/>
                </a:lnTo>
                <a:lnTo>
                  <a:pt x="3" y="25"/>
                </a:lnTo>
                <a:lnTo>
                  <a:pt x="0" y="22"/>
                </a:lnTo>
                <a:lnTo>
                  <a:pt x="0" y="19"/>
                </a:lnTo>
                <a:lnTo>
                  <a:pt x="0" y="16"/>
                </a:lnTo>
                <a:lnTo>
                  <a:pt x="0" y="1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7" name="Freeform 125">
            <a:extLst>
              <a:ext uri="{FF2B5EF4-FFF2-40B4-BE49-F238E27FC236}">
                <a16:creationId xmlns:a16="http://schemas.microsoft.com/office/drawing/2014/main" id="{C7F7CED0-DA03-7A65-742A-A99592A7E76E}"/>
              </a:ext>
            </a:extLst>
          </p:cNvPr>
          <p:cNvSpPr>
            <a:spLocks/>
          </p:cNvSpPr>
          <p:nvPr userDrawn="1"/>
        </p:nvSpPr>
        <p:spPr bwMode="auto">
          <a:xfrm>
            <a:off x="12473761" y="8828958"/>
            <a:ext cx="247634" cy="279400"/>
          </a:xfrm>
          <a:custGeom>
            <a:avLst/>
            <a:gdLst>
              <a:gd name="T0" fmla="*/ 0 w 78"/>
              <a:gd name="T1" fmla="*/ 38 h 88"/>
              <a:gd name="T2" fmla="*/ 0 w 78"/>
              <a:gd name="T3" fmla="*/ 35 h 88"/>
              <a:gd name="T4" fmla="*/ 3 w 78"/>
              <a:gd name="T5" fmla="*/ 29 h 88"/>
              <a:gd name="T6" fmla="*/ 6 w 78"/>
              <a:gd name="T7" fmla="*/ 25 h 88"/>
              <a:gd name="T8" fmla="*/ 13 w 78"/>
              <a:gd name="T9" fmla="*/ 22 h 88"/>
              <a:gd name="T10" fmla="*/ 13 w 78"/>
              <a:gd name="T11" fmla="*/ 19 h 88"/>
              <a:gd name="T12" fmla="*/ 13 w 78"/>
              <a:gd name="T13" fmla="*/ 13 h 88"/>
              <a:gd name="T14" fmla="*/ 16 w 78"/>
              <a:gd name="T15" fmla="*/ 13 h 88"/>
              <a:gd name="T16" fmla="*/ 16 w 78"/>
              <a:gd name="T17" fmla="*/ 10 h 88"/>
              <a:gd name="T18" fmla="*/ 16 w 78"/>
              <a:gd name="T19" fmla="*/ 7 h 88"/>
              <a:gd name="T20" fmla="*/ 22 w 78"/>
              <a:gd name="T21" fmla="*/ 4 h 88"/>
              <a:gd name="T22" fmla="*/ 25 w 78"/>
              <a:gd name="T23" fmla="*/ 4 h 88"/>
              <a:gd name="T24" fmla="*/ 31 w 78"/>
              <a:gd name="T25" fmla="*/ 0 h 88"/>
              <a:gd name="T26" fmla="*/ 35 w 78"/>
              <a:gd name="T27" fmla="*/ 4 h 88"/>
              <a:gd name="T28" fmla="*/ 38 w 78"/>
              <a:gd name="T29" fmla="*/ 7 h 88"/>
              <a:gd name="T30" fmla="*/ 41 w 78"/>
              <a:gd name="T31" fmla="*/ 10 h 88"/>
              <a:gd name="T32" fmla="*/ 41 w 78"/>
              <a:gd name="T33" fmla="*/ 16 h 88"/>
              <a:gd name="T34" fmla="*/ 41 w 78"/>
              <a:gd name="T35" fmla="*/ 22 h 88"/>
              <a:gd name="T36" fmla="*/ 47 w 78"/>
              <a:gd name="T37" fmla="*/ 29 h 88"/>
              <a:gd name="T38" fmla="*/ 47 w 78"/>
              <a:gd name="T39" fmla="*/ 25 h 88"/>
              <a:gd name="T40" fmla="*/ 53 w 78"/>
              <a:gd name="T41" fmla="*/ 22 h 88"/>
              <a:gd name="T42" fmla="*/ 56 w 78"/>
              <a:gd name="T43" fmla="*/ 22 h 88"/>
              <a:gd name="T44" fmla="*/ 60 w 78"/>
              <a:gd name="T45" fmla="*/ 25 h 88"/>
              <a:gd name="T46" fmla="*/ 60 w 78"/>
              <a:gd name="T47" fmla="*/ 29 h 88"/>
              <a:gd name="T48" fmla="*/ 60 w 78"/>
              <a:gd name="T49" fmla="*/ 29 h 88"/>
              <a:gd name="T50" fmla="*/ 60 w 78"/>
              <a:gd name="T51" fmla="*/ 35 h 88"/>
              <a:gd name="T52" fmla="*/ 56 w 78"/>
              <a:gd name="T53" fmla="*/ 41 h 88"/>
              <a:gd name="T54" fmla="*/ 56 w 78"/>
              <a:gd name="T55" fmla="*/ 44 h 88"/>
              <a:gd name="T56" fmla="*/ 56 w 78"/>
              <a:gd name="T57" fmla="*/ 47 h 88"/>
              <a:gd name="T58" fmla="*/ 60 w 78"/>
              <a:gd name="T59" fmla="*/ 47 h 88"/>
              <a:gd name="T60" fmla="*/ 60 w 78"/>
              <a:gd name="T61" fmla="*/ 47 h 88"/>
              <a:gd name="T62" fmla="*/ 63 w 78"/>
              <a:gd name="T63" fmla="*/ 47 h 88"/>
              <a:gd name="T64" fmla="*/ 66 w 78"/>
              <a:gd name="T65" fmla="*/ 50 h 88"/>
              <a:gd name="T66" fmla="*/ 69 w 78"/>
              <a:gd name="T67" fmla="*/ 50 h 88"/>
              <a:gd name="T68" fmla="*/ 72 w 78"/>
              <a:gd name="T69" fmla="*/ 50 h 88"/>
              <a:gd name="T70" fmla="*/ 72 w 78"/>
              <a:gd name="T71" fmla="*/ 54 h 88"/>
              <a:gd name="T72" fmla="*/ 75 w 78"/>
              <a:gd name="T73" fmla="*/ 57 h 88"/>
              <a:gd name="T74" fmla="*/ 78 w 78"/>
              <a:gd name="T75" fmla="*/ 57 h 88"/>
              <a:gd name="T76" fmla="*/ 78 w 78"/>
              <a:gd name="T77" fmla="*/ 60 h 88"/>
              <a:gd name="T78" fmla="*/ 75 w 78"/>
              <a:gd name="T79" fmla="*/ 63 h 88"/>
              <a:gd name="T80" fmla="*/ 78 w 78"/>
              <a:gd name="T81" fmla="*/ 66 h 88"/>
              <a:gd name="T82" fmla="*/ 75 w 78"/>
              <a:gd name="T83" fmla="*/ 69 h 88"/>
              <a:gd name="T84" fmla="*/ 75 w 78"/>
              <a:gd name="T85" fmla="*/ 72 h 88"/>
              <a:gd name="T86" fmla="*/ 75 w 78"/>
              <a:gd name="T87" fmla="*/ 75 h 88"/>
              <a:gd name="T88" fmla="*/ 75 w 78"/>
              <a:gd name="T89" fmla="*/ 79 h 88"/>
              <a:gd name="T90" fmla="*/ 78 w 78"/>
              <a:gd name="T91" fmla="*/ 82 h 88"/>
              <a:gd name="T92" fmla="*/ 78 w 78"/>
              <a:gd name="T93" fmla="*/ 88 h 88"/>
              <a:gd name="T94" fmla="*/ 56 w 78"/>
              <a:gd name="T95" fmla="*/ 79 h 88"/>
              <a:gd name="T96" fmla="*/ 44 w 78"/>
              <a:gd name="T97" fmla="*/ 69 h 88"/>
              <a:gd name="T98" fmla="*/ 38 w 78"/>
              <a:gd name="T99" fmla="*/ 69 h 88"/>
              <a:gd name="T100" fmla="*/ 25 w 78"/>
              <a:gd name="T101" fmla="*/ 57 h 88"/>
              <a:gd name="T102" fmla="*/ 19 w 78"/>
              <a:gd name="T103" fmla="*/ 50 h 88"/>
              <a:gd name="T104" fmla="*/ 16 w 78"/>
              <a:gd name="T105" fmla="*/ 50 h 88"/>
              <a:gd name="T106" fmla="*/ 10 w 78"/>
              <a:gd name="T107" fmla="*/ 44 h 88"/>
              <a:gd name="T108" fmla="*/ 6 w 78"/>
              <a:gd name="T109" fmla="*/ 41 h 88"/>
              <a:gd name="T110" fmla="*/ 10 w 78"/>
              <a:gd name="T111" fmla="*/ 38 h 88"/>
              <a:gd name="T112" fmla="*/ 6 w 78"/>
              <a:gd name="T113" fmla="*/ 38 h 88"/>
              <a:gd name="T114" fmla="*/ 0 w 78"/>
              <a:gd name="T115" fmla="*/ 3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 h="88">
                <a:moveTo>
                  <a:pt x="0" y="38"/>
                </a:moveTo>
                <a:lnTo>
                  <a:pt x="0" y="35"/>
                </a:lnTo>
                <a:lnTo>
                  <a:pt x="3" y="29"/>
                </a:lnTo>
                <a:lnTo>
                  <a:pt x="6" y="25"/>
                </a:lnTo>
                <a:lnTo>
                  <a:pt x="13" y="22"/>
                </a:lnTo>
                <a:lnTo>
                  <a:pt x="13" y="19"/>
                </a:lnTo>
                <a:lnTo>
                  <a:pt x="13" y="13"/>
                </a:lnTo>
                <a:lnTo>
                  <a:pt x="16" y="13"/>
                </a:lnTo>
                <a:lnTo>
                  <a:pt x="16" y="10"/>
                </a:lnTo>
                <a:lnTo>
                  <a:pt x="16" y="7"/>
                </a:lnTo>
                <a:lnTo>
                  <a:pt x="22" y="4"/>
                </a:lnTo>
                <a:lnTo>
                  <a:pt x="25" y="4"/>
                </a:lnTo>
                <a:lnTo>
                  <a:pt x="31" y="0"/>
                </a:lnTo>
                <a:lnTo>
                  <a:pt x="35" y="4"/>
                </a:lnTo>
                <a:lnTo>
                  <a:pt x="38" y="7"/>
                </a:lnTo>
                <a:lnTo>
                  <a:pt x="41" y="10"/>
                </a:lnTo>
                <a:lnTo>
                  <a:pt x="41" y="16"/>
                </a:lnTo>
                <a:lnTo>
                  <a:pt x="41" y="22"/>
                </a:lnTo>
                <a:lnTo>
                  <a:pt x="47" y="29"/>
                </a:lnTo>
                <a:lnTo>
                  <a:pt x="47" y="25"/>
                </a:lnTo>
                <a:lnTo>
                  <a:pt x="53" y="22"/>
                </a:lnTo>
                <a:lnTo>
                  <a:pt x="56" y="22"/>
                </a:lnTo>
                <a:lnTo>
                  <a:pt x="60" y="25"/>
                </a:lnTo>
                <a:lnTo>
                  <a:pt x="60" y="29"/>
                </a:lnTo>
                <a:lnTo>
                  <a:pt x="60" y="29"/>
                </a:lnTo>
                <a:lnTo>
                  <a:pt x="60" y="35"/>
                </a:lnTo>
                <a:lnTo>
                  <a:pt x="56" y="41"/>
                </a:lnTo>
                <a:lnTo>
                  <a:pt x="56" y="44"/>
                </a:lnTo>
                <a:lnTo>
                  <a:pt x="56" y="47"/>
                </a:lnTo>
                <a:lnTo>
                  <a:pt x="60" y="47"/>
                </a:lnTo>
                <a:lnTo>
                  <a:pt x="60" y="47"/>
                </a:lnTo>
                <a:lnTo>
                  <a:pt x="63" y="47"/>
                </a:lnTo>
                <a:lnTo>
                  <a:pt x="66" y="50"/>
                </a:lnTo>
                <a:lnTo>
                  <a:pt x="69" y="50"/>
                </a:lnTo>
                <a:lnTo>
                  <a:pt x="72" y="50"/>
                </a:lnTo>
                <a:lnTo>
                  <a:pt x="72" y="54"/>
                </a:lnTo>
                <a:lnTo>
                  <a:pt x="75" y="57"/>
                </a:lnTo>
                <a:lnTo>
                  <a:pt x="78" y="57"/>
                </a:lnTo>
                <a:lnTo>
                  <a:pt x="78" y="60"/>
                </a:lnTo>
                <a:lnTo>
                  <a:pt x="75" y="63"/>
                </a:lnTo>
                <a:lnTo>
                  <a:pt x="78" y="66"/>
                </a:lnTo>
                <a:lnTo>
                  <a:pt x="75" y="69"/>
                </a:lnTo>
                <a:lnTo>
                  <a:pt x="75" y="72"/>
                </a:lnTo>
                <a:lnTo>
                  <a:pt x="75" y="75"/>
                </a:lnTo>
                <a:lnTo>
                  <a:pt x="75" y="79"/>
                </a:lnTo>
                <a:lnTo>
                  <a:pt x="78" y="82"/>
                </a:lnTo>
                <a:lnTo>
                  <a:pt x="78" y="88"/>
                </a:lnTo>
                <a:lnTo>
                  <a:pt x="56" y="79"/>
                </a:lnTo>
                <a:lnTo>
                  <a:pt x="44" y="69"/>
                </a:lnTo>
                <a:lnTo>
                  <a:pt x="38" y="69"/>
                </a:lnTo>
                <a:lnTo>
                  <a:pt x="25" y="57"/>
                </a:lnTo>
                <a:lnTo>
                  <a:pt x="19" y="50"/>
                </a:lnTo>
                <a:lnTo>
                  <a:pt x="16" y="50"/>
                </a:lnTo>
                <a:lnTo>
                  <a:pt x="10" y="44"/>
                </a:lnTo>
                <a:lnTo>
                  <a:pt x="6" y="41"/>
                </a:lnTo>
                <a:lnTo>
                  <a:pt x="10" y="38"/>
                </a:lnTo>
                <a:lnTo>
                  <a:pt x="6" y="38"/>
                </a:lnTo>
                <a:lnTo>
                  <a:pt x="0" y="38"/>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8" name="Freeform 126">
            <a:extLst>
              <a:ext uri="{FF2B5EF4-FFF2-40B4-BE49-F238E27FC236}">
                <a16:creationId xmlns:a16="http://schemas.microsoft.com/office/drawing/2014/main" id="{89769378-639F-4321-4969-B329792BDDFA}"/>
              </a:ext>
            </a:extLst>
          </p:cNvPr>
          <p:cNvSpPr>
            <a:spLocks/>
          </p:cNvSpPr>
          <p:nvPr userDrawn="1"/>
        </p:nvSpPr>
        <p:spPr bwMode="auto">
          <a:xfrm>
            <a:off x="12651547" y="8701956"/>
            <a:ext cx="387325" cy="406400"/>
          </a:xfrm>
          <a:custGeom>
            <a:avLst/>
            <a:gdLst>
              <a:gd name="T0" fmla="*/ 22 w 122"/>
              <a:gd name="T1" fmla="*/ 122 h 128"/>
              <a:gd name="T2" fmla="*/ 19 w 122"/>
              <a:gd name="T3" fmla="*/ 115 h 128"/>
              <a:gd name="T4" fmla="*/ 19 w 122"/>
              <a:gd name="T5" fmla="*/ 109 h 128"/>
              <a:gd name="T6" fmla="*/ 19 w 122"/>
              <a:gd name="T7" fmla="*/ 103 h 128"/>
              <a:gd name="T8" fmla="*/ 22 w 122"/>
              <a:gd name="T9" fmla="*/ 97 h 128"/>
              <a:gd name="T10" fmla="*/ 16 w 122"/>
              <a:gd name="T11" fmla="*/ 94 h 128"/>
              <a:gd name="T12" fmla="*/ 13 w 122"/>
              <a:gd name="T13" fmla="*/ 90 h 128"/>
              <a:gd name="T14" fmla="*/ 7 w 122"/>
              <a:gd name="T15" fmla="*/ 87 h 128"/>
              <a:gd name="T16" fmla="*/ 4 w 122"/>
              <a:gd name="T17" fmla="*/ 87 h 128"/>
              <a:gd name="T18" fmla="*/ 0 w 122"/>
              <a:gd name="T19" fmla="*/ 84 h 128"/>
              <a:gd name="T20" fmla="*/ 4 w 122"/>
              <a:gd name="T21" fmla="*/ 75 h 128"/>
              <a:gd name="T22" fmla="*/ 4 w 122"/>
              <a:gd name="T23" fmla="*/ 69 h 128"/>
              <a:gd name="T24" fmla="*/ 13 w 122"/>
              <a:gd name="T25" fmla="*/ 56 h 128"/>
              <a:gd name="T26" fmla="*/ 13 w 122"/>
              <a:gd name="T27" fmla="*/ 50 h 128"/>
              <a:gd name="T28" fmla="*/ 10 w 122"/>
              <a:gd name="T29" fmla="*/ 40 h 128"/>
              <a:gd name="T30" fmla="*/ 13 w 122"/>
              <a:gd name="T31" fmla="*/ 40 h 128"/>
              <a:gd name="T32" fmla="*/ 13 w 122"/>
              <a:gd name="T33" fmla="*/ 34 h 128"/>
              <a:gd name="T34" fmla="*/ 10 w 122"/>
              <a:gd name="T35" fmla="*/ 25 h 128"/>
              <a:gd name="T36" fmla="*/ 10 w 122"/>
              <a:gd name="T37" fmla="*/ 15 h 128"/>
              <a:gd name="T38" fmla="*/ 10 w 122"/>
              <a:gd name="T39" fmla="*/ 9 h 128"/>
              <a:gd name="T40" fmla="*/ 22 w 122"/>
              <a:gd name="T41" fmla="*/ 3 h 128"/>
              <a:gd name="T42" fmla="*/ 32 w 122"/>
              <a:gd name="T43" fmla="*/ 3 h 128"/>
              <a:gd name="T44" fmla="*/ 41 w 122"/>
              <a:gd name="T45" fmla="*/ 3 h 128"/>
              <a:gd name="T46" fmla="*/ 47 w 122"/>
              <a:gd name="T47" fmla="*/ 0 h 128"/>
              <a:gd name="T48" fmla="*/ 50 w 122"/>
              <a:gd name="T49" fmla="*/ 3 h 128"/>
              <a:gd name="T50" fmla="*/ 60 w 122"/>
              <a:gd name="T51" fmla="*/ 6 h 128"/>
              <a:gd name="T52" fmla="*/ 66 w 122"/>
              <a:gd name="T53" fmla="*/ 0 h 128"/>
              <a:gd name="T54" fmla="*/ 79 w 122"/>
              <a:gd name="T55" fmla="*/ 9 h 128"/>
              <a:gd name="T56" fmla="*/ 82 w 122"/>
              <a:gd name="T57" fmla="*/ 9 h 128"/>
              <a:gd name="T58" fmla="*/ 91 w 122"/>
              <a:gd name="T59" fmla="*/ 12 h 128"/>
              <a:gd name="T60" fmla="*/ 97 w 122"/>
              <a:gd name="T61" fmla="*/ 18 h 128"/>
              <a:gd name="T62" fmla="*/ 107 w 122"/>
              <a:gd name="T63" fmla="*/ 12 h 128"/>
              <a:gd name="T64" fmla="*/ 113 w 122"/>
              <a:gd name="T65" fmla="*/ 15 h 128"/>
              <a:gd name="T66" fmla="*/ 116 w 122"/>
              <a:gd name="T67" fmla="*/ 18 h 128"/>
              <a:gd name="T68" fmla="*/ 116 w 122"/>
              <a:gd name="T69" fmla="*/ 28 h 128"/>
              <a:gd name="T70" fmla="*/ 119 w 122"/>
              <a:gd name="T71" fmla="*/ 34 h 128"/>
              <a:gd name="T72" fmla="*/ 119 w 122"/>
              <a:gd name="T73" fmla="*/ 44 h 128"/>
              <a:gd name="T74" fmla="*/ 116 w 122"/>
              <a:gd name="T75" fmla="*/ 50 h 128"/>
              <a:gd name="T76" fmla="*/ 110 w 122"/>
              <a:gd name="T77" fmla="*/ 62 h 128"/>
              <a:gd name="T78" fmla="*/ 107 w 122"/>
              <a:gd name="T79" fmla="*/ 72 h 128"/>
              <a:gd name="T80" fmla="*/ 107 w 122"/>
              <a:gd name="T81" fmla="*/ 81 h 128"/>
              <a:gd name="T82" fmla="*/ 104 w 122"/>
              <a:gd name="T83" fmla="*/ 84 h 128"/>
              <a:gd name="T84" fmla="*/ 110 w 122"/>
              <a:gd name="T85" fmla="*/ 94 h 128"/>
              <a:gd name="T86" fmla="*/ 116 w 122"/>
              <a:gd name="T87" fmla="*/ 100 h 128"/>
              <a:gd name="T88" fmla="*/ 116 w 122"/>
              <a:gd name="T89" fmla="*/ 109 h 128"/>
              <a:gd name="T90" fmla="*/ 110 w 122"/>
              <a:gd name="T91" fmla="*/ 109 h 128"/>
              <a:gd name="T92" fmla="*/ 107 w 122"/>
              <a:gd name="T93" fmla="*/ 106 h 128"/>
              <a:gd name="T94" fmla="*/ 100 w 122"/>
              <a:gd name="T95" fmla="*/ 112 h 128"/>
              <a:gd name="T96" fmla="*/ 82 w 122"/>
              <a:gd name="T97" fmla="*/ 112 h 128"/>
              <a:gd name="T98" fmla="*/ 50 w 122"/>
              <a:gd name="T99" fmla="*/ 112 h 128"/>
              <a:gd name="T100" fmla="*/ 35 w 122"/>
              <a:gd name="T101" fmla="*/ 119 h 128"/>
              <a:gd name="T102" fmla="*/ 29 w 122"/>
              <a:gd name="T103" fmla="*/ 122 h 128"/>
              <a:gd name="T104" fmla="*/ 22 w 122"/>
              <a:gd name="T10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2" h="128">
                <a:moveTo>
                  <a:pt x="22" y="128"/>
                </a:moveTo>
                <a:lnTo>
                  <a:pt x="22" y="122"/>
                </a:lnTo>
                <a:lnTo>
                  <a:pt x="19" y="119"/>
                </a:lnTo>
                <a:lnTo>
                  <a:pt x="19" y="115"/>
                </a:lnTo>
                <a:lnTo>
                  <a:pt x="19" y="112"/>
                </a:lnTo>
                <a:lnTo>
                  <a:pt x="19" y="109"/>
                </a:lnTo>
                <a:lnTo>
                  <a:pt x="22" y="106"/>
                </a:lnTo>
                <a:lnTo>
                  <a:pt x="19" y="103"/>
                </a:lnTo>
                <a:lnTo>
                  <a:pt x="22" y="100"/>
                </a:lnTo>
                <a:lnTo>
                  <a:pt x="22" y="97"/>
                </a:lnTo>
                <a:lnTo>
                  <a:pt x="19" y="97"/>
                </a:lnTo>
                <a:lnTo>
                  <a:pt x="16" y="94"/>
                </a:lnTo>
                <a:lnTo>
                  <a:pt x="16" y="90"/>
                </a:lnTo>
                <a:lnTo>
                  <a:pt x="13" y="90"/>
                </a:lnTo>
                <a:lnTo>
                  <a:pt x="10" y="90"/>
                </a:lnTo>
                <a:lnTo>
                  <a:pt x="7" y="87"/>
                </a:lnTo>
                <a:lnTo>
                  <a:pt x="4" y="87"/>
                </a:lnTo>
                <a:lnTo>
                  <a:pt x="4" y="87"/>
                </a:lnTo>
                <a:lnTo>
                  <a:pt x="0" y="87"/>
                </a:lnTo>
                <a:lnTo>
                  <a:pt x="0" y="84"/>
                </a:lnTo>
                <a:lnTo>
                  <a:pt x="0" y="81"/>
                </a:lnTo>
                <a:lnTo>
                  <a:pt x="4" y="75"/>
                </a:lnTo>
                <a:lnTo>
                  <a:pt x="4" y="69"/>
                </a:lnTo>
                <a:lnTo>
                  <a:pt x="4" y="69"/>
                </a:lnTo>
                <a:lnTo>
                  <a:pt x="7" y="65"/>
                </a:lnTo>
                <a:lnTo>
                  <a:pt x="13" y="56"/>
                </a:lnTo>
                <a:lnTo>
                  <a:pt x="13" y="50"/>
                </a:lnTo>
                <a:lnTo>
                  <a:pt x="13" y="50"/>
                </a:lnTo>
                <a:lnTo>
                  <a:pt x="10" y="44"/>
                </a:lnTo>
                <a:lnTo>
                  <a:pt x="10" y="40"/>
                </a:lnTo>
                <a:lnTo>
                  <a:pt x="10" y="40"/>
                </a:lnTo>
                <a:lnTo>
                  <a:pt x="13" y="40"/>
                </a:lnTo>
                <a:lnTo>
                  <a:pt x="16" y="37"/>
                </a:lnTo>
                <a:lnTo>
                  <a:pt x="13" y="34"/>
                </a:lnTo>
                <a:lnTo>
                  <a:pt x="10" y="34"/>
                </a:lnTo>
                <a:lnTo>
                  <a:pt x="10" y="25"/>
                </a:lnTo>
                <a:lnTo>
                  <a:pt x="10" y="22"/>
                </a:lnTo>
                <a:lnTo>
                  <a:pt x="10" y="15"/>
                </a:lnTo>
                <a:lnTo>
                  <a:pt x="10" y="12"/>
                </a:lnTo>
                <a:lnTo>
                  <a:pt x="10" y="9"/>
                </a:lnTo>
                <a:lnTo>
                  <a:pt x="16" y="6"/>
                </a:lnTo>
                <a:lnTo>
                  <a:pt x="22" y="3"/>
                </a:lnTo>
                <a:lnTo>
                  <a:pt x="25" y="3"/>
                </a:lnTo>
                <a:lnTo>
                  <a:pt x="32" y="3"/>
                </a:lnTo>
                <a:lnTo>
                  <a:pt x="38" y="6"/>
                </a:lnTo>
                <a:lnTo>
                  <a:pt x="41" y="3"/>
                </a:lnTo>
                <a:lnTo>
                  <a:pt x="41" y="3"/>
                </a:lnTo>
                <a:lnTo>
                  <a:pt x="47" y="0"/>
                </a:lnTo>
                <a:lnTo>
                  <a:pt x="50" y="0"/>
                </a:lnTo>
                <a:lnTo>
                  <a:pt x="50" y="3"/>
                </a:lnTo>
                <a:lnTo>
                  <a:pt x="54" y="6"/>
                </a:lnTo>
                <a:lnTo>
                  <a:pt x="60" y="6"/>
                </a:lnTo>
                <a:lnTo>
                  <a:pt x="63" y="0"/>
                </a:lnTo>
                <a:lnTo>
                  <a:pt x="66" y="0"/>
                </a:lnTo>
                <a:lnTo>
                  <a:pt x="69" y="3"/>
                </a:lnTo>
                <a:lnTo>
                  <a:pt x="79" y="9"/>
                </a:lnTo>
                <a:lnTo>
                  <a:pt x="82" y="9"/>
                </a:lnTo>
                <a:lnTo>
                  <a:pt x="82" y="9"/>
                </a:lnTo>
                <a:lnTo>
                  <a:pt x="85" y="9"/>
                </a:lnTo>
                <a:lnTo>
                  <a:pt x="91" y="12"/>
                </a:lnTo>
                <a:lnTo>
                  <a:pt x="91" y="15"/>
                </a:lnTo>
                <a:lnTo>
                  <a:pt x="97" y="18"/>
                </a:lnTo>
                <a:lnTo>
                  <a:pt x="104" y="15"/>
                </a:lnTo>
                <a:lnTo>
                  <a:pt x="107" y="12"/>
                </a:lnTo>
                <a:lnTo>
                  <a:pt x="110" y="12"/>
                </a:lnTo>
                <a:lnTo>
                  <a:pt x="113" y="15"/>
                </a:lnTo>
                <a:lnTo>
                  <a:pt x="116" y="15"/>
                </a:lnTo>
                <a:lnTo>
                  <a:pt x="116" y="18"/>
                </a:lnTo>
                <a:lnTo>
                  <a:pt x="116" y="25"/>
                </a:lnTo>
                <a:lnTo>
                  <a:pt x="116" y="28"/>
                </a:lnTo>
                <a:lnTo>
                  <a:pt x="116" y="31"/>
                </a:lnTo>
                <a:lnTo>
                  <a:pt x="119" y="34"/>
                </a:lnTo>
                <a:lnTo>
                  <a:pt x="122" y="40"/>
                </a:lnTo>
                <a:lnTo>
                  <a:pt x="119" y="44"/>
                </a:lnTo>
                <a:lnTo>
                  <a:pt x="119" y="47"/>
                </a:lnTo>
                <a:lnTo>
                  <a:pt x="116" y="50"/>
                </a:lnTo>
                <a:lnTo>
                  <a:pt x="110" y="59"/>
                </a:lnTo>
                <a:lnTo>
                  <a:pt x="110" y="62"/>
                </a:lnTo>
                <a:lnTo>
                  <a:pt x="110" y="65"/>
                </a:lnTo>
                <a:lnTo>
                  <a:pt x="107" y="72"/>
                </a:lnTo>
                <a:lnTo>
                  <a:pt x="107" y="75"/>
                </a:lnTo>
                <a:lnTo>
                  <a:pt x="107" y="81"/>
                </a:lnTo>
                <a:lnTo>
                  <a:pt x="104" y="84"/>
                </a:lnTo>
                <a:lnTo>
                  <a:pt x="104" y="84"/>
                </a:lnTo>
                <a:lnTo>
                  <a:pt x="107" y="87"/>
                </a:lnTo>
                <a:lnTo>
                  <a:pt x="110" y="94"/>
                </a:lnTo>
                <a:lnTo>
                  <a:pt x="110" y="100"/>
                </a:lnTo>
                <a:lnTo>
                  <a:pt x="116" y="100"/>
                </a:lnTo>
                <a:lnTo>
                  <a:pt x="116" y="103"/>
                </a:lnTo>
                <a:lnTo>
                  <a:pt x="116" y="109"/>
                </a:lnTo>
                <a:lnTo>
                  <a:pt x="113" y="109"/>
                </a:lnTo>
                <a:lnTo>
                  <a:pt x="110" y="109"/>
                </a:lnTo>
                <a:lnTo>
                  <a:pt x="110" y="112"/>
                </a:lnTo>
                <a:lnTo>
                  <a:pt x="107" y="106"/>
                </a:lnTo>
                <a:lnTo>
                  <a:pt x="104" y="109"/>
                </a:lnTo>
                <a:lnTo>
                  <a:pt x="100" y="112"/>
                </a:lnTo>
                <a:lnTo>
                  <a:pt x="91" y="109"/>
                </a:lnTo>
                <a:lnTo>
                  <a:pt x="82" y="112"/>
                </a:lnTo>
                <a:lnTo>
                  <a:pt x="57" y="112"/>
                </a:lnTo>
                <a:lnTo>
                  <a:pt x="50" y="112"/>
                </a:lnTo>
                <a:lnTo>
                  <a:pt x="50" y="115"/>
                </a:lnTo>
                <a:lnTo>
                  <a:pt x="35" y="119"/>
                </a:lnTo>
                <a:lnTo>
                  <a:pt x="35" y="122"/>
                </a:lnTo>
                <a:lnTo>
                  <a:pt x="29" y="122"/>
                </a:lnTo>
                <a:lnTo>
                  <a:pt x="22" y="128"/>
                </a:lnTo>
                <a:lnTo>
                  <a:pt x="22" y="128"/>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9" name="Freeform 127">
            <a:extLst>
              <a:ext uri="{FF2B5EF4-FFF2-40B4-BE49-F238E27FC236}">
                <a16:creationId xmlns:a16="http://schemas.microsoft.com/office/drawing/2014/main" id="{15E9201F-2285-B51D-6933-6B8EB5BAA359}"/>
              </a:ext>
            </a:extLst>
          </p:cNvPr>
          <p:cNvSpPr>
            <a:spLocks/>
          </p:cNvSpPr>
          <p:nvPr userDrawn="1"/>
        </p:nvSpPr>
        <p:spPr bwMode="auto">
          <a:xfrm>
            <a:off x="12981728" y="8660681"/>
            <a:ext cx="266685" cy="419102"/>
          </a:xfrm>
          <a:custGeom>
            <a:avLst/>
            <a:gdLst>
              <a:gd name="T0" fmla="*/ 6 w 84"/>
              <a:gd name="T1" fmla="*/ 122 h 132"/>
              <a:gd name="T2" fmla="*/ 12 w 84"/>
              <a:gd name="T3" fmla="*/ 122 h 132"/>
              <a:gd name="T4" fmla="*/ 12 w 84"/>
              <a:gd name="T5" fmla="*/ 113 h 132"/>
              <a:gd name="T6" fmla="*/ 6 w 84"/>
              <a:gd name="T7" fmla="*/ 107 h 132"/>
              <a:gd name="T8" fmla="*/ 0 w 84"/>
              <a:gd name="T9" fmla="*/ 97 h 132"/>
              <a:gd name="T10" fmla="*/ 3 w 84"/>
              <a:gd name="T11" fmla="*/ 94 h 132"/>
              <a:gd name="T12" fmla="*/ 3 w 84"/>
              <a:gd name="T13" fmla="*/ 85 h 132"/>
              <a:gd name="T14" fmla="*/ 6 w 84"/>
              <a:gd name="T15" fmla="*/ 75 h 132"/>
              <a:gd name="T16" fmla="*/ 12 w 84"/>
              <a:gd name="T17" fmla="*/ 63 h 132"/>
              <a:gd name="T18" fmla="*/ 15 w 84"/>
              <a:gd name="T19" fmla="*/ 57 h 132"/>
              <a:gd name="T20" fmla="*/ 15 w 84"/>
              <a:gd name="T21" fmla="*/ 47 h 132"/>
              <a:gd name="T22" fmla="*/ 12 w 84"/>
              <a:gd name="T23" fmla="*/ 41 h 132"/>
              <a:gd name="T24" fmla="*/ 12 w 84"/>
              <a:gd name="T25" fmla="*/ 31 h 132"/>
              <a:gd name="T26" fmla="*/ 9 w 84"/>
              <a:gd name="T27" fmla="*/ 19 h 132"/>
              <a:gd name="T28" fmla="*/ 6 w 84"/>
              <a:gd name="T29" fmla="*/ 10 h 132"/>
              <a:gd name="T30" fmla="*/ 15 w 84"/>
              <a:gd name="T31" fmla="*/ 6 h 132"/>
              <a:gd name="T32" fmla="*/ 31 w 84"/>
              <a:gd name="T33" fmla="*/ 3 h 132"/>
              <a:gd name="T34" fmla="*/ 46 w 84"/>
              <a:gd name="T35" fmla="*/ 3 h 132"/>
              <a:gd name="T36" fmla="*/ 56 w 84"/>
              <a:gd name="T37" fmla="*/ 0 h 132"/>
              <a:gd name="T38" fmla="*/ 59 w 84"/>
              <a:gd name="T39" fmla="*/ 6 h 132"/>
              <a:gd name="T40" fmla="*/ 62 w 84"/>
              <a:gd name="T41" fmla="*/ 13 h 132"/>
              <a:gd name="T42" fmla="*/ 68 w 84"/>
              <a:gd name="T43" fmla="*/ 19 h 132"/>
              <a:gd name="T44" fmla="*/ 71 w 84"/>
              <a:gd name="T45" fmla="*/ 25 h 132"/>
              <a:gd name="T46" fmla="*/ 75 w 84"/>
              <a:gd name="T47" fmla="*/ 35 h 132"/>
              <a:gd name="T48" fmla="*/ 75 w 84"/>
              <a:gd name="T49" fmla="*/ 41 h 132"/>
              <a:gd name="T50" fmla="*/ 75 w 84"/>
              <a:gd name="T51" fmla="*/ 47 h 132"/>
              <a:gd name="T52" fmla="*/ 75 w 84"/>
              <a:gd name="T53" fmla="*/ 53 h 132"/>
              <a:gd name="T54" fmla="*/ 75 w 84"/>
              <a:gd name="T55" fmla="*/ 60 h 132"/>
              <a:gd name="T56" fmla="*/ 78 w 84"/>
              <a:gd name="T57" fmla="*/ 69 h 132"/>
              <a:gd name="T58" fmla="*/ 75 w 84"/>
              <a:gd name="T59" fmla="*/ 85 h 132"/>
              <a:gd name="T60" fmla="*/ 75 w 84"/>
              <a:gd name="T61" fmla="*/ 91 h 132"/>
              <a:gd name="T62" fmla="*/ 78 w 84"/>
              <a:gd name="T63" fmla="*/ 100 h 132"/>
              <a:gd name="T64" fmla="*/ 81 w 84"/>
              <a:gd name="T65" fmla="*/ 103 h 132"/>
              <a:gd name="T66" fmla="*/ 71 w 84"/>
              <a:gd name="T67" fmla="*/ 110 h 132"/>
              <a:gd name="T68" fmla="*/ 53 w 84"/>
              <a:gd name="T69" fmla="*/ 122 h 132"/>
              <a:gd name="T70" fmla="*/ 25 w 84"/>
              <a:gd name="T71" fmla="*/ 132 h 132"/>
              <a:gd name="T72" fmla="*/ 6 w 84"/>
              <a:gd name="T73" fmla="*/ 12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4" h="132">
                <a:moveTo>
                  <a:pt x="6" y="125"/>
                </a:moveTo>
                <a:lnTo>
                  <a:pt x="6" y="122"/>
                </a:lnTo>
                <a:lnTo>
                  <a:pt x="9" y="122"/>
                </a:lnTo>
                <a:lnTo>
                  <a:pt x="12" y="122"/>
                </a:lnTo>
                <a:lnTo>
                  <a:pt x="12" y="116"/>
                </a:lnTo>
                <a:lnTo>
                  <a:pt x="12" y="113"/>
                </a:lnTo>
                <a:lnTo>
                  <a:pt x="6" y="113"/>
                </a:lnTo>
                <a:lnTo>
                  <a:pt x="6" y="107"/>
                </a:lnTo>
                <a:lnTo>
                  <a:pt x="3" y="100"/>
                </a:lnTo>
                <a:lnTo>
                  <a:pt x="0" y="97"/>
                </a:lnTo>
                <a:lnTo>
                  <a:pt x="0" y="97"/>
                </a:lnTo>
                <a:lnTo>
                  <a:pt x="3" y="94"/>
                </a:lnTo>
                <a:lnTo>
                  <a:pt x="3" y="88"/>
                </a:lnTo>
                <a:lnTo>
                  <a:pt x="3" y="85"/>
                </a:lnTo>
                <a:lnTo>
                  <a:pt x="6" y="78"/>
                </a:lnTo>
                <a:lnTo>
                  <a:pt x="6" y="75"/>
                </a:lnTo>
                <a:lnTo>
                  <a:pt x="6" y="72"/>
                </a:lnTo>
                <a:lnTo>
                  <a:pt x="12" y="63"/>
                </a:lnTo>
                <a:lnTo>
                  <a:pt x="15" y="60"/>
                </a:lnTo>
                <a:lnTo>
                  <a:pt x="15" y="57"/>
                </a:lnTo>
                <a:lnTo>
                  <a:pt x="18" y="53"/>
                </a:lnTo>
                <a:lnTo>
                  <a:pt x="15" y="47"/>
                </a:lnTo>
                <a:lnTo>
                  <a:pt x="12" y="44"/>
                </a:lnTo>
                <a:lnTo>
                  <a:pt x="12" y="41"/>
                </a:lnTo>
                <a:lnTo>
                  <a:pt x="12" y="38"/>
                </a:lnTo>
                <a:lnTo>
                  <a:pt x="12" y="31"/>
                </a:lnTo>
                <a:lnTo>
                  <a:pt x="12" y="22"/>
                </a:lnTo>
                <a:lnTo>
                  <a:pt x="9" y="19"/>
                </a:lnTo>
                <a:lnTo>
                  <a:pt x="9" y="16"/>
                </a:lnTo>
                <a:lnTo>
                  <a:pt x="6" y="10"/>
                </a:lnTo>
                <a:lnTo>
                  <a:pt x="6" y="6"/>
                </a:lnTo>
                <a:lnTo>
                  <a:pt x="15" y="6"/>
                </a:lnTo>
                <a:lnTo>
                  <a:pt x="28" y="6"/>
                </a:lnTo>
                <a:lnTo>
                  <a:pt x="31" y="3"/>
                </a:lnTo>
                <a:lnTo>
                  <a:pt x="40" y="3"/>
                </a:lnTo>
                <a:lnTo>
                  <a:pt x="46" y="3"/>
                </a:lnTo>
                <a:lnTo>
                  <a:pt x="53" y="3"/>
                </a:lnTo>
                <a:lnTo>
                  <a:pt x="56" y="0"/>
                </a:lnTo>
                <a:lnTo>
                  <a:pt x="59" y="0"/>
                </a:lnTo>
                <a:lnTo>
                  <a:pt x="59" y="6"/>
                </a:lnTo>
                <a:lnTo>
                  <a:pt x="62" y="10"/>
                </a:lnTo>
                <a:lnTo>
                  <a:pt x="62" y="13"/>
                </a:lnTo>
                <a:lnTo>
                  <a:pt x="65" y="16"/>
                </a:lnTo>
                <a:lnTo>
                  <a:pt x="68" y="19"/>
                </a:lnTo>
                <a:lnTo>
                  <a:pt x="71" y="22"/>
                </a:lnTo>
                <a:lnTo>
                  <a:pt x="71" y="25"/>
                </a:lnTo>
                <a:lnTo>
                  <a:pt x="71" y="35"/>
                </a:lnTo>
                <a:lnTo>
                  <a:pt x="75" y="35"/>
                </a:lnTo>
                <a:lnTo>
                  <a:pt x="75" y="35"/>
                </a:lnTo>
                <a:lnTo>
                  <a:pt x="75" y="41"/>
                </a:lnTo>
                <a:lnTo>
                  <a:pt x="75" y="44"/>
                </a:lnTo>
                <a:lnTo>
                  <a:pt x="75" y="47"/>
                </a:lnTo>
                <a:lnTo>
                  <a:pt x="75" y="50"/>
                </a:lnTo>
                <a:lnTo>
                  <a:pt x="75" y="53"/>
                </a:lnTo>
                <a:lnTo>
                  <a:pt x="75" y="57"/>
                </a:lnTo>
                <a:lnTo>
                  <a:pt x="75" y="60"/>
                </a:lnTo>
                <a:lnTo>
                  <a:pt x="75" y="66"/>
                </a:lnTo>
                <a:lnTo>
                  <a:pt x="78" y="69"/>
                </a:lnTo>
                <a:lnTo>
                  <a:pt x="78" y="82"/>
                </a:lnTo>
                <a:lnTo>
                  <a:pt x="75" y="85"/>
                </a:lnTo>
                <a:lnTo>
                  <a:pt x="75" y="88"/>
                </a:lnTo>
                <a:lnTo>
                  <a:pt x="75" y="91"/>
                </a:lnTo>
                <a:lnTo>
                  <a:pt x="75" y="97"/>
                </a:lnTo>
                <a:lnTo>
                  <a:pt x="78" y="100"/>
                </a:lnTo>
                <a:lnTo>
                  <a:pt x="78" y="103"/>
                </a:lnTo>
                <a:lnTo>
                  <a:pt x="81" y="103"/>
                </a:lnTo>
                <a:lnTo>
                  <a:pt x="84" y="107"/>
                </a:lnTo>
                <a:lnTo>
                  <a:pt x="71" y="110"/>
                </a:lnTo>
                <a:lnTo>
                  <a:pt x="62" y="113"/>
                </a:lnTo>
                <a:lnTo>
                  <a:pt x="53" y="122"/>
                </a:lnTo>
                <a:lnTo>
                  <a:pt x="40" y="122"/>
                </a:lnTo>
                <a:lnTo>
                  <a:pt x="25" y="132"/>
                </a:lnTo>
                <a:lnTo>
                  <a:pt x="15" y="128"/>
                </a:lnTo>
                <a:lnTo>
                  <a:pt x="6" y="125"/>
                </a:lnTo>
                <a:lnTo>
                  <a:pt x="6" y="125"/>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0" name="Freeform 128">
            <a:extLst>
              <a:ext uri="{FF2B5EF4-FFF2-40B4-BE49-F238E27FC236}">
                <a16:creationId xmlns:a16="http://schemas.microsoft.com/office/drawing/2014/main" id="{1B4BEC92-97C8-F932-A108-33B3ADB34002}"/>
              </a:ext>
            </a:extLst>
          </p:cNvPr>
          <p:cNvSpPr>
            <a:spLocks/>
          </p:cNvSpPr>
          <p:nvPr userDrawn="1"/>
        </p:nvSpPr>
        <p:spPr bwMode="auto">
          <a:xfrm>
            <a:off x="13169040" y="8660685"/>
            <a:ext cx="117470" cy="339726"/>
          </a:xfrm>
          <a:custGeom>
            <a:avLst/>
            <a:gdLst>
              <a:gd name="T0" fmla="*/ 22 w 37"/>
              <a:gd name="T1" fmla="*/ 6 h 107"/>
              <a:gd name="T2" fmla="*/ 0 w 37"/>
              <a:gd name="T3" fmla="*/ 0 h 107"/>
              <a:gd name="T4" fmla="*/ 0 w 37"/>
              <a:gd name="T5" fmla="*/ 0 h 107"/>
              <a:gd name="T6" fmla="*/ 0 w 37"/>
              <a:gd name="T7" fmla="*/ 6 h 107"/>
              <a:gd name="T8" fmla="*/ 3 w 37"/>
              <a:gd name="T9" fmla="*/ 10 h 107"/>
              <a:gd name="T10" fmla="*/ 3 w 37"/>
              <a:gd name="T11" fmla="*/ 13 h 107"/>
              <a:gd name="T12" fmla="*/ 6 w 37"/>
              <a:gd name="T13" fmla="*/ 16 h 107"/>
              <a:gd name="T14" fmla="*/ 9 w 37"/>
              <a:gd name="T15" fmla="*/ 19 h 107"/>
              <a:gd name="T16" fmla="*/ 12 w 37"/>
              <a:gd name="T17" fmla="*/ 22 h 107"/>
              <a:gd name="T18" fmla="*/ 12 w 37"/>
              <a:gd name="T19" fmla="*/ 25 h 107"/>
              <a:gd name="T20" fmla="*/ 12 w 37"/>
              <a:gd name="T21" fmla="*/ 35 h 107"/>
              <a:gd name="T22" fmla="*/ 16 w 37"/>
              <a:gd name="T23" fmla="*/ 35 h 107"/>
              <a:gd name="T24" fmla="*/ 16 w 37"/>
              <a:gd name="T25" fmla="*/ 35 h 107"/>
              <a:gd name="T26" fmla="*/ 16 w 37"/>
              <a:gd name="T27" fmla="*/ 41 h 107"/>
              <a:gd name="T28" fmla="*/ 16 w 37"/>
              <a:gd name="T29" fmla="*/ 44 h 107"/>
              <a:gd name="T30" fmla="*/ 16 w 37"/>
              <a:gd name="T31" fmla="*/ 47 h 107"/>
              <a:gd name="T32" fmla="*/ 16 w 37"/>
              <a:gd name="T33" fmla="*/ 50 h 107"/>
              <a:gd name="T34" fmla="*/ 16 w 37"/>
              <a:gd name="T35" fmla="*/ 53 h 107"/>
              <a:gd name="T36" fmla="*/ 16 w 37"/>
              <a:gd name="T37" fmla="*/ 57 h 107"/>
              <a:gd name="T38" fmla="*/ 16 w 37"/>
              <a:gd name="T39" fmla="*/ 60 h 107"/>
              <a:gd name="T40" fmla="*/ 16 w 37"/>
              <a:gd name="T41" fmla="*/ 66 h 107"/>
              <a:gd name="T42" fmla="*/ 19 w 37"/>
              <a:gd name="T43" fmla="*/ 69 h 107"/>
              <a:gd name="T44" fmla="*/ 19 w 37"/>
              <a:gd name="T45" fmla="*/ 82 h 107"/>
              <a:gd name="T46" fmla="*/ 16 w 37"/>
              <a:gd name="T47" fmla="*/ 85 h 107"/>
              <a:gd name="T48" fmla="*/ 16 w 37"/>
              <a:gd name="T49" fmla="*/ 88 h 107"/>
              <a:gd name="T50" fmla="*/ 16 w 37"/>
              <a:gd name="T51" fmla="*/ 91 h 107"/>
              <a:gd name="T52" fmla="*/ 16 w 37"/>
              <a:gd name="T53" fmla="*/ 97 h 107"/>
              <a:gd name="T54" fmla="*/ 19 w 37"/>
              <a:gd name="T55" fmla="*/ 100 h 107"/>
              <a:gd name="T56" fmla="*/ 19 w 37"/>
              <a:gd name="T57" fmla="*/ 103 h 107"/>
              <a:gd name="T58" fmla="*/ 22 w 37"/>
              <a:gd name="T59" fmla="*/ 103 h 107"/>
              <a:gd name="T60" fmla="*/ 25 w 37"/>
              <a:gd name="T61" fmla="*/ 107 h 107"/>
              <a:gd name="T62" fmla="*/ 25 w 37"/>
              <a:gd name="T63" fmla="*/ 107 h 107"/>
              <a:gd name="T64" fmla="*/ 37 w 37"/>
              <a:gd name="T65" fmla="*/ 100 h 107"/>
              <a:gd name="T66" fmla="*/ 37 w 37"/>
              <a:gd name="T67" fmla="*/ 100 h 107"/>
              <a:gd name="T68" fmla="*/ 37 w 37"/>
              <a:gd name="T69" fmla="*/ 97 h 107"/>
              <a:gd name="T70" fmla="*/ 37 w 37"/>
              <a:gd name="T71" fmla="*/ 94 h 107"/>
              <a:gd name="T72" fmla="*/ 37 w 37"/>
              <a:gd name="T73" fmla="*/ 88 h 107"/>
              <a:gd name="T74" fmla="*/ 34 w 37"/>
              <a:gd name="T75" fmla="*/ 82 h 107"/>
              <a:gd name="T76" fmla="*/ 34 w 37"/>
              <a:gd name="T77" fmla="*/ 60 h 107"/>
              <a:gd name="T78" fmla="*/ 34 w 37"/>
              <a:gd name="T79" fmla="*/ 57 h 107"/>
              <a:gd name="T80" fmla="*/ 37 w 37"/>
              <a:gd name="T81" fmla="*/ 53 h 107"/>
              <a:gd name="T82" fmla="*/ 37 w 37"/>
              <a:gd name="T83" fmla="*/ 47 h 107"/>
              <a:gd name="T84" fmla="*/ 37 w 37"/>
              <a:gd name="T85" fmla="*/ 44 h 107"/>
              <a:gd name="T86" fmla="*/ 37 w 37"/>
              <a:gd name="T87" fmla="*/ 41 h 107"/>
              <a:gd name="T88" fmla="*/ 34 w 37"/>
              <a:gd name="T89" fmla="*/ 31 h 107"/>
              <a:gd name="T90" fmla="*/ 31 w 37"/>
              <a:gd name="T91" fmla="*/ 22 h 107"/>
              <a:gd name="T92" fmla="*/ 28 w 37"/>
              <a:gd name="T93" fmla="*/ 19 h 107"/>
              <a:gd name="T94" fmla="*/ 25 w 37"/>
              <a:gd name="T95" fmla="*/ 16 h 107"/>
              <a:gd name="T96" fmla="*/ 22 w 37"/>
              <a:gd name="T97" fmla="*/ 16 h 107"/>
              <a:gd name="T98" fmla="*/ 19 w 37"/>
              <a:gd name="T99" fmla="*/ 10 h 107"/>
              <a:gd name="T100" fmla="*/ 22 w 37"/>
              <a:gd name="T101" fmla="*/ 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 h="107">
                <a:moveTo>
                  <a:pt x="22" y="6"/>
                </a:moveTo>
                <a:lnTo>
                  <a:pt x="0" y="0"/>
                </a:lnTo>
                <a:lnTo>
                  <a:pt x="0" y="0"/>
                </a:lnTo>
                <a:lnTo>
                  <a:pt x="0" y="6"/>
                </a:lnTo>
                <a:lnTo>
                  <a:pt x="3" y="10"/>
                </a:lnTo>
                <a:lnTo>
                  <a:pt x="3" y="13"/>
                </a:lnTo>
                <a:lnTo>
                  <a:pt x="6" y="16"/>
                </a:lnTo>
                <a:lnTo>
                  <a:pt x="9" y="19"/>
                </a:lnTo>
                <a:lnTo>
                  <a:pt x="12" y="22"/>
                </a:lnTo>
                <a:lnTo>
                  <a:pt x="12" y="25"/>
                </a:lnTo>
                <a:lnTo>
                  <a:pt x="12" y="35"/>
                </a:lnTo>
                <a:lnTo>
                  <a:pt x="16" y="35"/>
                </a:lnTo>
                <a:lnTo>
                  <a:pt x="16" y="35"/>
                </a:lnTo>
                <a:lnTo>
                  <a:pt x="16" y="41"/>
                </a:lnTo>
                <a:lnTo>
                  <a:pt x="16" y="44"/>
                </a:lnTo>
                <a:lnTo>
                  <a:pt x="16" y="47"/>
                </a:lnTo>
                <a:lnTo>
                  <a:pt x="16" y="50"/>
                </a:lnTo>
                <a:lnTo>
                  <a:pt x="16" y="53"/>
                </a:lnTo>
                <a:lnTo>
                  <a:pt x="16" y="57"/>
                </a:lnTo>
                <a:lnTo>
                  <a:pt x="16" y="60"/>
                </a:lnTo>
                <a:lnTo>
                  <a:pt x="16" y="66"/>
                </a:lnTo>
                <a:lnTo>
                  <a:pt x="19" y="69"/>
                </a:lnTo>
                <a:lnTo>
                  <a:pt x="19" y="82"/>
                </a:lnTo>
                <a:lnTo>
                  <a:pt x="16" y="85"/>
                </a:lnTo>
                <a:lnTo>
                  <a:pt x="16" y="88"/>
                </a:lnTo>
                <a:lnTo>
                  <a:pt x="16" y="91"/>
                </a:lnTo>
                <a:lnTo>
                  <a:pt x="16" y="97"/>
                </a:lnTo>
                <a:lnTo>
                  <a:pt x="19" y="100"/>
                </a:lnTo>
                <a:lnTo>
                  <a:pt x="19" y="103"/>
                </a:lnTo>
                <a:lnTo>
                  <a:pt x="22" y="103"/>
                </a:lnTo>
                <a:lnTo>
                  <a:pt x="25" y="107"/>
                </a:lnTo>
                <a:lnTo>
                  <a:pt x="25" y="107"/>
                </a:lnTo>
                <a:lnTo>
                  <a:pt x="37" y="100"/>
                </a:lnTo>
                <a:lnTo>
                  <a:pt x="37" y="100"/>
                </a:lnTo>
                <a:lnTo>
                  <a:pt x="37" y="97"/>
                </a:lnTo>
                <a:lnTo>
                  <a:pt x="37" y="94"/>
                </a:lnTo>
                <a:lnTo>
                  <a:pt x="37" y="88"/>
                </a:lnTo>
                <a:lnTo>
                  <a:pt x="34" y="82"/>
                </a:lnTo>
                <a:lnTo>
                  <a:pt x="34" y="60"/>
                </a:lnTo>
                <a:lnTo>
                  <a:pt x="34" y="57"/>
                </a:lnTo>
                <a:lnTo>
                  <a:pt x="37" y="53"/>
                </a:lnTo>
                <a:lnTo>
                  <a:pt x="37" y="47"/>
                </a:lnTo>
                <a:lnTo>
                  <a:pt x="37" y="44"/>
                </a:lnTo>
                <a:lnTo>
                  <a:pt x="37" y="41"/>
                </a:lnTo>
                <a:lnTo>
                  <a:pt x="34" y="31"/>
                </a:lnTo>
                <a:lnTo>
                  <a:pt x="31" y="22"/>
                </a:lnTo>
                <a:lnTo>
                  <a:pt x="28" y="19"/>
                </a:lnTo>
                <a:lnTo>
                  <a:pt x="25" y="16"/>
                </a:lnTo>
                <a:lnTo>
                  <a:pt x="22" y="16"/>
                </a:lnTo>
                <a:lnTo>
                  <a:pt x="19" y="10"/>
                </a:lnTo>
                <a:lnTo>
                  <a:pt x="22" y="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1" name="Freeform 129">
            <a:extLst>
              <a:ext uri="{FF2B5EF4-FFF2-40B4-BE49-F238E27FC236}">
                <a16:creationId xmlns:a16="http://schemas.microsoft.com/office/drawing/2014/main" id="{DF9710B4-EED7-3A8B-9FE9-26463D806B2E}"/>
              </a:ext>
            </a:extLst>
          </p:cNvPr>
          <p:cNvSpPr>
            <a:spLocks/>
          </p:cNvSpPr>
          <p:nvPr userDrawn="1"/>
        </p:nvSpPr>
        <p:spPr bwMode="auto">
          <a:xfrm>
            <a:off x="13229364" y="8581306"/>
            <a:ext cx="196837" cy="406400"/>
          </a:xfrm>
          <a:custGeom>
            <a:avLst/>
            <a:gdLst>
              <a:gd name="T0" fmla="*/ 31 w 62"/>
              <a:gd name="T1" fmla="*/ 10 h 128"/>
              <a:gd name="T2" fmla="*/ 22 w 62"/>
              <a:gd name="T3" fmla="*/ 16 h 128"/>
              <a:gd name="T4" fmla="*/ 15 w 62"/>
              <a:gd name="T5" fmla="*/ 16 h 128"/>
              <a:gd name="T6" fmla="*/ 9 w 62"/>
              <a:gd name="T7" fmla="*/ 22 h 128"/>
              <a:gd name="T8" fmla="*/ 9 w 62"/>
              <a:gd name="T9" fmla="*/ 28 h 128"/>
              <a:gd name="T10" fmla="*/ 0 w 62"/>
              <a:gd name="T11" fmla="*/ 35 h 128"/>
              <a:gd name="T12" fmla="*/ 6 w 62"/>
              <a:gd name="T13" fmla="*/ 41 h 128"/>
              <a:gd name="T14" fmla="*/ 12 w 62"/>
              <a:gd name="T15" fmla="*/ 47 h 128"/>
              <a:gd name="T16" fmla="*/ 18 w 62"/>
              <a:gd name="T17" fmla="*/ 66 h 128"/>
              <a:gd name="T18" fmla="*/ 18 w 62"/>
              <a:gd name="T19" fmla="*/ 72 h 128"/>
              <a:gd name="T20" fmla="*/ 15 w 62"/>
              <a:gd name="T21" fmla="*/ 82 h 128"/>
              <a:gd name="T22" fmla="*/ 15 w 62"/>
              <a:gd name="T23" fmla="*/ 107 h 128"/>
              <a:gd name="T24" fmla="*/ 18 w 62"/>
              <a:gd name="T25" fmla="*/ 119 h 128"/>
              <a:gd name="T26" fmla="*/ 18 w 62"/>
              <a:gd name="T27" fmla="*/ 125 h 128"/>
              <a:gd name="T28" fmla="*/ 40 w 62"/>
              <a:gd name="T29" fmla="*/ 122 h 128"/>
              <a:gd name="T30" fmla="*/ 40 w 62"/>
              <a:gd name="T31" fmla="*/ 119 h 128"/>
              <a:gd name="T32" fmla="*/ 40 w 62"/>
              <a:gd name="T33" fmla="*/ 107 h 128"/>
              <a:gd name="T34" fmla="*/ 40 w 62"/>
              <a:gd name="T35" fmla="*/ 94 h 128"/>
              <a:gd name="T36" fmla="*/ 40 w 62"/>
              <a:gd name="T37" fmla="*/ 91 h 128"/>
              <a:gd name="T38" fmla="*/ 40 w 62"/>
              <a:gd name="T39" fmla="*/ 88 h 128"/>
              <a:gd name="T40" fmla="*/ 40 w 62"/>
              <a:gd name="T41" fmla="*/ 82 h 128"/>
              <a:gd name="T42" fmla="*/ 40 w 62"/>
              <a:gd name="T43" fmla="*/ 75 h 128"/>
              <a:gd name="T44" fmla="*/ 40 w 62"/>
              <a:gd name="T45" fmla="*/ 69 h 128"/>
              <a:gd name="T46" fmla="*/ 47 w 62"/>
              <a:gd name="T47" fmla="*/ 66 h 128"/>
              <a:gd name="T48" fmla="*/ 50 w 62"/>
              <a:gd name="T49" fmla="*/ 63 h 128"/>
              <a:gd name="T50" fmla="*/ 53 w 62"/>
              <a:gd name="T51" fmla="*/ 53 h 128"/>
              <a:gd name="T52" fmla="*/ 59 w 62"/>
              <a:gd name="T53" fmla="*/ 53 h 128"/>
              <a:gd name="T54" fmla="*/ 56 w 62"/>
              <a:gd name="T55" fmla="*/ 47 h 128"/>
              <a:gd name="T56" fmla="*/ 59 w 62"/>
              <a:gd name="T57" fmla="*/ 41 h 128"/>
              <a:gd name="T58" fmla="*/ 62 w 62"/>
              <a:gd name="T59" fmla="*/ 38 h 128"/>
              <a:gd name="T60" fmla="*/ 62 w 62"/>
              <a:gd name="T61" fmla="*/ 28 h 128"/>
              <a:gd name="T62" fmla="*/ 56 w 62"/>
              <a:gd name="T63" fmla="*/ 19 h 128"/>
              <a:gd name="T64" fmla="*/ 56 w 62"/>
              <a:gd name="T65" fmla="*/ 16 h 128"/>
              <a:gd name="T66" fmla="*/ 47 w 62"/>
              <a:gd name="T67" fmla="*/ 10 h 128"/>
              <a:gd name="T68" fmla="*/ 37 w 62"/>
              <a:gd name="T69" fmla="*/ 0 h 128"/>
              <a:gd name="T70" fmla="*/ 37 w 62"/>
              <a:gd name="T71" fmla="*/ 3 h 128"/>
              <a:gd name="T72" fmla="*/ 31 w 62"/>
              <a:gd name="T73" fmla="*/ 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128">
                <a:moveTo>
                  <a:pt x="31" y="6"/>
                </a:moveTo>
                <a:lnTo>
                  <a:pt x="31" y="10"/>
                </a:lnTo>
                <a:lnTo>
                  <a:pt x="25" y="13"/>
                </a:lnTo>
                <a:lnTo>
                  <a:pt x="22" y="16"/>
                </a:lnTo>
                <a:lnTo>
                  <a:pt x="15" y="19"/>
                </a:lnTo>
                <a:lnTo>
                  <a:pt x="15" y="16"/>
                </a:lnTo>
                <a:lnTo>
                  <a:pt x="9" y="19"/>
                </a:lnTo>
                <a:lnTo>
                  <a:pt x="9" y="22"/>
                </a:lnTo>
                <a:lnTo>
                  <a:pt x="6" y="25"/>
                </a:lnTo>
                <a:lnTo>
                  <a:pt x="9" y="28"/>
                </a:lnTo>
                <a:lnTo>
                  <a:pt x="3" y="28"/>
                </a:lnTo>
                <a:lnTo>
                  <a:pt x="0" y="35"/>
                </a:lnTo>
                <a:lnTo>
                  <a:pt x="3" y="41"/>
                </a:lnTo>
                <a:lnTo>
                  <a:pt x="6" y="41"/>
                </a:lnTo>
                <a:lnTo>
                  <a:pt x="9" y="44"/>
                </a:lnTo>
                <a:lnTo>
                  <a:pt x="12" y="47"/>
                </a:lnTo>
                <a:lnTo>
                  <a:pt x="15" y="56"/>
                </a:lnTo>
                <a:lnTo>
                  <a:pt x="18" y="66"/>
                </a:lnTo>
                <a:lnTo>
                  <a:pt x="18" y="69"/>
                </a:lnTo>
                <a:lnTo>
                  <a:pt x="18" y="72"/>
                </a:lnTo>
                <a:lnTo>
                  <a:pt x="18" y="78"/>
                </a:lnTo>
                <a:lnTo>
                  <a:pt x="15" y="82"/>
                </a:lnTo>
                <a:lnTo>
                  <a:pt x="15" y="85"/>
                </a:lnTo>
                <a:lnTo>
                  <a:pt x="15" y="107"/>
                </a:lnTo>
                <a:lnTo>
                  <a:pt x="18" y="113"/>
                </a:lnTo>
                <a:lnTo>
                  <a:pt x="18" y="119"/>
                </a:lnTo>
                <a:lnTo>
                  <a:pt x="18" y="122"/>
                </a:lnTo>
                <a:lnTo>
                  <a:pt x="18" y="125"/>
                </a:lnTo>
                <a:lnTo>
                  <a:pt x="28" y="128"/>
                </a:lnTo>
                <a:lnTo>
                  <a:pt x="40" y="122"/>
                </a:lnTo>
                <a:lnTo>
                  <a:pt x="40" y="122"/>
                </a:lnTo>
                <a:lnTo>
                  <a:pt x="40" y="119"/>
                </a:lnTo>
                <a:lnTo>
                  <a:pt x="40" y="110"/>
                </a:lnTo>
                <a:lnTo>
                  <a:pt x="40" y="107"/>
                </a:lnTo>
                <a:lnTo>
                  <a:pt x="40" y="103"/>
                </a:lnTo>
                <a:lnTo>
                  <a:pt x="40" y="94"/>
                </a:lnTo>
                <a:lnTo>
                  <a:pt x="40" y="91"/>
                </a:lnTo>
                <a:lnTo>
                  <a:pt x="40" y="91"/>
                </a:lnTo>
                <a:lnTo>
                  <a:pt x="40" y="88"/>
                </a:lnTo>
                <a:lnTo>
                  <a:pt x="40" y="88"/>
                </a:lnTo>
                <a:lnTo>
                  <a:pt x="40" y="85"/>
                </a:lnTo>
                <a:lnTo>
                  <a:pt x="40" y="82"/>
                </a:lnTo>
                <a:lnTo>
                  <a:pt x="40" y="78"/>
                </a:lnTo>
                <a:lnTo>
                  <a:pt x="40" y="75"/>
                </a:lnTo>
                <a:lnTo>
                  <a:pt x="40" y="72"/>
                </a:lnTo>
                <a:lnTo>
                  <a:pt x="40" y="69"/>
                </a:lnTo>
                <a:lnTo>
                  <a:pt x="43" y="69"/>
                </a:lnTo>
                <a:lnTo>
                  <a:pt x="47" y="66"/>
                </a:lnTo>
                <a:lnTo>
                  <a:pt x="50" y="66"/>
                </a:lnTo>
                <a:lnTo>
                  <a:pt x="50" y="63"/>
                </a:lnTo>
                <a:lnTo>
                  <a:pt x="53" y="56"/>
                </a:lnTo>
                <a:lnTo>
                  <a:pt x="53" y="53"/>
                </a:lnTo>
                <a:lnTo>
                  <a:pt x="56" y="53"/>
                </a:lnTo>
                <a:lnTo>
                  <a:pt x="59" y="53"/>
                </a:lnTo>
                <a:lnTo>
                  <a:pt x="59" y="50"/>
                </a:lnTo>
                <a:lnTo>
                  <a:pt x="56" y="47"/>
                </a:lnTo>
                <a:lnTo>
                  <a:pt x="56" y="44"/>
                </a:lnTo>
                <a:lnTo>
                  <a:pt x="59" y="41"/>
                </a:lnTo>
                <a:lnTo>
                  <a:pt x="62" y="41"/>
                </a:lnTo>
                <a:lnTo>
                  <a:pt x="62" y="38"/>
                </a:lnTo>
                <a:lnTo>
                  <a:pt x="62" y="31"/>
                </a:lnTo>
                <a:lnTo>
                  <a:pt x="62" y="28"/>
                </a:lnTo>
                <a:lnTo>
                  <a:pt x="56" y="22"/>
                </a:lnTo>
                <a:lnTo>
                  <a:pt x="56" y="19"/>
                </a:lnTo>
                <a:lnTo>
                  <a:pt x="56" y="16"/>
                </a:lnTo>
                <a:lnTo>
                  <a:pt x="56" y="16"/>
                </a:lnTo>
                <a:lnTo>
                  <a:pt x="53" y="10"/>
                </a:lnTo>
                <a:lnTo>
                  <a:pt x="47" y="10"/>
                </a:lnTo>
                <a:lnTo>
                  <a:pt x="43" y="3"/>
                </a:lnTo>
                <a:lnTo>
                  <a:pt x="37" y="0"/>
                </a:lnTo>
                <a:lnTo>
                  <a:pt x="34" y="3"/>
                </a:lnTo>
                <a:lnTo>
                  <a:pt x="37" y="3"/>
                </a:lnTo>
                <a:lnTo>
                  <a:pt x="31" y="6"/>
                </a:lnTo>
                <a:lnTo>
                  <a:pt x="31" y="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2" name="Freeform 130">
            <a:extLst>
              <a:ext uri="{FF2B5EF4-FFF2-40B4-BE49-F238E27FC236}">
                <a16:creationId xmlns:a16="http://schemas.microsoft.com/office/drawing/2014/main" id="{0DDA314E-1F4E-8AB7-B3F4-CBFEBA1F6917}"/>
              </a:ext>
            </a:extLst>
          </p:cNvPr>
          <p:cNvSpPr>
            <a:spLocks noEditPoints="1"/>
          </p:cNvSpPr>
          <p:nvPr userDrawn="1"/>
        </p:nvSpPr>
        <p:spPr bwMode="auto">
          <a:xfrm>
            <a:off x="13924643" y="7876457"/>
            <a:ext cx="723855" cy="1031878"/>
          </a:xfrm>
          <a:custGeom>
            <a:avLst/>
            <a:gdLst>
              <a:gd name="T0" fmla="*/ 228 w 228"/>
              <a:gd name="T1" fmla="*/ 81 h 325"/>
              <a:gd name="T2" fmla="*/ 221 w 228"/>
              <a:gd name="T3" fmla="*/ 160 h 325"/>
              <a:gd name="T4" fmla="*/ 209 w 228"/>
              <a:gd name="T5" fmla="*/ 163 h 325"/>
              <a:gd name="T6" fmla="*/ 209 w 228"/>
              <a:gd name="T7" fmla="*/ 175 h 325"/>
              <a:gd name="T8" fmla="*/ 196 w 228"/>
              <a:gd name="T9" fmla="*/ 185 h 325"/>
              <a:gd name="T10" fmla="*/ 196 w 228"/>
              <a:gd name="T11" fmla="*/ 194 h 325"/>
              <a:gd name="T12" fmla="*/ 196 w 228"/>
              <a:gd name="T13" fmla="*/ 203 h 325"/>
              <a:gd name="T14" fmla="*/ 187 w 228"/>
              <a:gd name="T15" fmla="*/ 216 h 325"/>
              <a:gd name="T16" fmla="*/ 196 w 228"/>
              <a:gd name="T17" fmla="*/ 219 h 325"/>
              <a:gd name="T18" fmla="*/ 196 w 228"/>
              <a:gd name="T19" fmla="*/ 225 h 325"/>
              <a:gd name="T20" fmla="*/ 200 w 228"/>
              <a:gd name="T21" fmla="*/ 232 h 325"/>
              <a:gd name="T22" fmla="*/ 206 w 228"/>
              <a:gd name="T23" fmla="*/ 244 h 325"/>
              <a:gd name="T24" fmla="*/ 206 w 228"/>
              <a:gd name="T25" fmla="*/ 250 h 325"/>
              <a:gd name="T26" fmla="*/ 200 w 228"/>
              <a:gd name="T27" fmla="*/ 253 h 325"/>
              <a:gd name="T28" fmla="*/ 184 w 228"/>
              <a:gd name="T29" fmla="*/ 260 h 325"/>
              <a:gd name="T30" fmla="*/ 184 w 228"/>
              <a:gd name="T31" fmla="*/ 266 h 325"/>
              <a:gd name="T32" fmla="*/ 175 w 228"/>
              <a:gd name="T33" fmla="*/ 272 h 325"/>
              <a:gd name="T34" fmla="*/ 168 w 228"/>
              <a:gd name="T35" fmla="*/ 278 h 325"/>
              <a:gd name="T36" fmla="*/ 168 w 228"/>
              <a:gd name="T37" fmla="*/ 288 h 325"/>
              <a:gd name="T38" fmla="*/ 156 w 228"/>
              <a:gd name="T39" fmla="*/ 294 h 325"/>
              <a:gd name="T40" fmla="*/ 140 w 228"/>
              <a:gd name="T41" fmla="*/ 291 h 325"/>
              <a:gd name="T42" fmla="*/ 131 w 228"/>
              <a:gd name="T43" fmla="*/ 294 h 325"/>
              <a:gd name="T44" fmla="*/ 137 w 228"/>
              <a:gd name="T45" fmla="*/ 300 h 325"/>
              <a:gd name="T46" fmla="*/ 128 w 228"/>
              <a:gd name="T47" fmla="*/ 310 h 325"/>
              <a:gd name="T48" fmla="*/ 106 w 228"/>
              <a:gd name="T49" fmla="*/ 316 h 325"/>
              <a:gd name="T50" fmla="*/ 93 w 228"/>
              <a:gd name="T51" fmla="*/ 322 h 325"/>
              <a:gd name="T52" fmla="*/ 87 w 228"/>
              <a:gd name="T53" fmla="*/ 316 h 325"/>
              <a:gd name="T54" fmla="*/ 81 w 228"/>
              <a:gd name="T55" fmla="*/ 325 h 325"/>
              <a:gd name="T56" fmla="*/ 71 w 228"/>
              <a:gd name="T57" fmla="*/ 325 h 325"/>
              <a:gd name="T58" fmla="*/ 68 w 228"/>
              <a:gd name="T59" fmla="*/ 316 h 325"/>
              <a:gd name="T60" fmla="*/ 59 w 228"/>
              <a:gd name="T61" fmla="*/ 304 h 325"/>
              <a:gd name="T62" fmla="*/ 40 w 228"/>
              <a:gd name="T63" fmla="*/ 288 h 325"/>
              <a:gd name="T64" fmla="*/ 37 w 228"/>
              <a:gd name="T65" fmla="*/ 285 h 325"/>
              <a:gd name="T66" fmla="*/ 37 w 228"/>
              <a:gd name="T67" fmla="*/ 275 h 325"/>
              <a:gd name="T68" fmla="*/ 46 w 228"/>
              <a:gd name="T69" fmla="*/ 275 h 325"/>
              <a:gd name="T70" fmla="*/ 56 w 228"/>
              <a:gd name="T71" fmla="*/ 275 h 325"/>
              <a:gd name="T72" fmla="*/ 65 w 228"/>
              <a:gd name="T73" fmla="*/ 275 h 325"/>
              <a:gd name="T74" fmla="*/ 59 w 228"/>
              <a:gd name="T75" fmla="*/ 269 h 325"/>
              <a:gd name="T76" fmla="*/ 53 w 228"/>
              <a:gd name="T77" fmla="*/ 260 h 325"/>
              <a:gd name="T78" fmla="*/ 56 w 228"/>
              <a:gd name="T79" fmla="*/ 247 h 325"/>
              <a:gd name="T80" fmla="*/ 56 w 228"/>
              <a:gd name="T81" fmla="*/ 241 h 325"/>
              <a:gd name="T82" fmla="*/ 53 w 228"/>
              <a:gd name="T83" fmla="*/ 232 h 325"/>
              <a:gd name="T84" fmla="*/ 43 w 228"/>
              <a:gd name="T85" fmla="*/ 219 h 325"/>
              <a:gd name="T86" fmla="*/ 31 w 228"/>
              <a:gd name="T87" fmla="*/ 210 h 325"/>
              <a:gd name="T88" fmla="*/ 21 w 228"/>
              <a:gd name="T89" fmla="*/ 175 h 325"/>
              <a:gd name="T90" fmla="*/ 28 w 228"/>
              <a:gd name="T91" fmla="*/ 172 h 325"/>
              <a:gd name="T92" fmla="*/ 59 w 228"/>
              <a:gd name="T93" fmla="*/ 110 h 325"/>
              <a:gd name="T94" fmla="*/ 68 w 228"/>
              <a:gd name="T95" fmla="*/ 63 h 325"/>
              <a:gd name="T96" fmla="*/ 59 w 228"/>
              <a:gd name="T97" fmla="*/ 38 h 325"/>
              <a:gd name="T98" fmla="*/ 46 w 228"/>
              <a:gd name="T99" fmla="*/ 9 h 325"/>
              <a:gd name="T100" fmla="*/ 0 w 228"/>
              <a:gd name="T101" fmla="*/ 21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8" h="325">
                <a:moveTo>
                  <a:pt x="46" y="9"/>
                </a:moveTo>
                <a:lnTo>
                  <a:pt x="68" y="0"/>
                </a:lnTo>
                <a:lnTo>
                  <a:pt x="228" y="81"/>
                </a:lnTo>
                <a:lnTo>
                  <a:pt x="228" y="156"/>
                </a:lnTo>
                <a:lnTo>
                  <a:pt x="225" y="160"/>
                </a:lnTo>
                <a:lnTo>
                  <a:pt x="221" y="160"/>
                </a:lnTo>
                <a:lnTo>
                  <a:pt x="218" y="160"/>
                </a:lnTo>
                <a:lnTo>
                  <a:pt x="212" y="160"/>
                </a:lnTo>
                <a:lnTo>
                  <a:pt x="209" y="163"/>
                </a:lnTo>
                <a:lnTo>
                  <a:pt x="209" y="166"/>
                </a:lnTo>
                <a:lnTo>
                  <a:pt x="212" y="169"/>
                </a:lnTo>
                <a:lnTo>
                  <a:pt x="209" y="175"/>
                </a:lnTo>
                <a:lnTo>
                  <a:pt x="203" y="182"/>
                </a:lnTo>
                <a:lnTo>
                  <a:pt x="200" y="182"/>
                </a:lnTo>
                <a:lnTo>
                  <a:pt x="196" y="185"/>
                </a:lnTo>
                <a:lnTo>
                  <a:pt x="196" y="188"/>
                </a:lnTo>
                <a:lnTo>
                  <a:pt x="200" y="191"/>
                </a:lnTo>
                <a:lnTo>
                  <a:pt x="196" y="194"/>
                </a:lnTo>
                <a:lnTo>
                  <a:pt x="193" y="197"/>
                </a:lnTo>
                <a:lnTo>
                  <a:pt x="193" y="200"/>
                </a:lnTo>
                <a:lnTo>
                  <a:pt x="196" y="203"/>
                </a:lnTo>
                <a:lnTo>
                  <a:pt x="196" y="207"/>
                </a:lnTo>
                <a:lnTo>
                  <a:pt x="193" y="210"/>
                </a:lnTo>
                <a:lnTo>
                  <a:pt x="187" y="216"/>
                </a:lnTo>
                <a:lnTo>
                  <a:pt x="187" y="219"/>
                </a:lnTo>
                <a:lnTo>
                  <a:pt x="190" y="222"/>
                </a:lnTo>
                <a:lnTo>
                  <a:pt x="196" y="219"/>
                </a:lnTo>
                <a:lnTo>
                  <a:pt x="196" y="219"/>
                </a:lnTo>
                <a:lnTo>
                  <a:pt x="196" y="222"/>
                </a:lnTo>
                <a:lnTo>
                  <a:pt x="196" y="225"/>
                </a:lnTo>
                <a:lnTo>
                  <a:pt x="200" y="225"/>
                </a:lnTo>
                <a:lnTo>
                  <a:pt x="196" y="228"/>
                </a:lnTo>
                <a:lnTo>
                  <a:pt x="200" y="232"/>
                </a:lnTo>
                <a:lnTo>
                  <a:pt x="200" y="238"/>
                </a:lnTo>
                <a:lnTo>
                  <a:pt x="200" y="241"/>
                </a:lnTo>
                <a:lnTo>
                  <a:pt x="206" y="244"/>
                </a:lnTo>
                <a:lnTo>
                  <a:pt x="209" y="247"/>
                </a:lnTo>
                <a:lnTo>
                  <a:pt x="206" y="247"/>
                </a:lnTo>
                <a:lnTo>
                  <a:pt x="206" y="250"/>
                </a:lnTo>
                <a:lnTo>
                  <a:pt x="206" y="253"/>
                </a:lnTo>
                <a:lnTo>
                  <a:pt x="200" y="257"/>
                </a:lnTo>
                <a:lnTo>
                  <a:pt x="200" y="253"/>
                </a:lnTo>
                <a:lnTo>
                  <a:pt x="193" y="253"/>
                </a:lnTo>
                <a:lnTo>
                  <a:pt x="190" y="257"/>
                </a:lnTo>
                <a:lnTo>
                  <a:pt x="184" y="260"/>
                </a:lnTo>
                <a:lnTo>
                  <a:pt x="184" y="263"/>
                </a:lnTo>
                <a:lnTo>
                  <a:pt x="184" y="266"/>
                </a:lnTo>
                <a:lnTo>
                  <a:pt x="184" y="266"/>
                </a:lnTo>
                <a:lnTo>
                  <a:pt x="178" y="272"/>
                </a:lnTo>
                <a:lnTo>
                  <a:pt x="178" y="272"/>
                </a:lnTo>
                <a:lnTo>
                  <a:pt x="175" y="272"/>
                </a:lnTo>
                <a:lnTo>
                  <a:pt x="171" y="275"/>
                </a:lnTo>
                <a:lnTo>
                  <a:pt x="171" y="278"/>
                </a:lnTo>
                <a:lnTo>
                  <a:pt x="168" y="278"/>
                </a:lnTo>
                <a:lnTo>
                  <a:pt x="168" y="282"/>
                </a:lnTo>
                <a:lnTo>
                  <a:pt x="168" y="285"/>
                </a:lnTo>
                <a:lnTo>
                  <a:pt x="168" y="288"/>
                </a:lnTo>
                <a:lnTo>
                  <a:pt x="165" y="291"/>
                </a:lnTo>
                <a:lnTo>
                  <a:pt x="162" y="294"/>
                </a:lnTo>
                <a:lnTo>
                  <a:pt x="156" y="294"/>
                </a:lnTo>
                <a:lnTo>
                  <a:pt x="150" y="294"/>
                </a:lnTo>
                <a:lnTo>
                  <a:pt x="143" y="294"/>
                </a:lnTo>
                <a:lnTo>
                  <a:pt x="140" y="291"/>
                </a:lnTo>
                <a:lnTo>
                  <a:pt x="137" y="294"/>
                </a:lnTo>
                <a:lnTo>
                  <a:pt x="134" y="291"/>
                </a:lnTo>
                <a:lnTo>
                  <a:pt x="131" y="294"/>
                </a:lnTo>
                <a:lnTo>
                  <a:pt x="131" y="297"/>
                </a:lnTo>
                <a:lnTo>
                  <a:pt x="134" y="300"/>
                </a:lnTo>
                <a:lnTo>
                  <a:pt x="137" y="300"/>
                </a:lnTo>
                <a:lnTo>
                  <a:pt x="137" y="304"/>
                </a:lnTo>
                <a:lnTo>
                  <a:pt x="131" y="307"/>
                </a:lnTo>
                <a:lnTo>
                  <a:pt x="128" y="310"/>
                </a:lnTo>
                <a:lnTo>
                  <a:pt x="121" y="310"/>
                </a:lnTo>
                <a:lnTo>
                  <a:pt x="112" y="313"/>
                </a:lnTo>
                <a:lnTo>
                  <a:pt x="106" y="316"/>
                </a:lnTo>
                <a:lnTo>
                  <a:pt x="100" y="319"/>
                </a:lnTo>
                <a:lnTo>
                  <a:pt x="96" y="322"/>
                </a:lnTo>
                <a:lnTo>
                  <a:pt x="93" y="322"/>
                </a:lnTo>
                <a:lnTo>
                  <a:pt x="90" y="322"/>
                </a:lnTo>
                <a:lnTo>
                  <a:pt x="90" y="316"/>
                </a:lnTo>
                <a:lnTo>
                  <a:pt x="87" y="316"/>
                </a:lnTo>
                <a:lnTo>
                  <a:pt x="84" y="316"/>
                </a:lnTo>
                <a:lnTo>
                  <a:pt x="84" y="322"/>
                </a:lnTo>
                <a:lnTo>
                  <a:pt x="81" y="325"/>
                </a:lnTo>
                <a:lnTo>
                  <a:pt x="78" y="325"/>
                </a:lnTo>
                <a:lnTo>
                  <a:pt x="75" y="325"/>
                </a:lnTo>
                <a:lnTo>
                  <a:pt x="71" y="325"/>
                </a:lnTo>
                <a:lnTo>
                  <a:pt x="68" y="322"/>
                </a:lnTo>
                <a:lnTo>
                  <a:pt x="68" y="319"/>
                </a:lnTo>
                <a:lnTo>
                  <a:pt x="68" y="316"/>
                </a:lnTo>
                <a:lnTo>
                  <a:pt x="65" y="313"/>
                </a:lnTo>
                <a:lnTo>
                  <a:pt x="62" y="307"/>
                </a:lnTo>
                <a:lnTo>
                  <a:pt x="59" y="304"/>
                </a:lnTo>
                <a:lnTo>
                  <a:pt x="50" y="297"/>
                </a:lnTo>
                <a:lnTo>
                  <a:pt x="43" y="291"/>
                </a:lnTo>
                <a:lnTo>
                  <a:pt x="40" y="288"/>
                </a:lnTo>
                <a:lnTo>
                  <a:pt x="40" y="288"/>
                </a:lnTo>
                <a:lnTo>
                  <a:pt x="37" y="285"/>
                </a:lnTo>
                <a:lnTo>
                  <a:pt x="37" y="285"/>
                </a:lnTo>
                <a:lnTo>
                  <a:pt x="37" y="278"/>
                </a:lnTo>
                <a:lnTo>
                  <a:pt x="37" y="278"/>
                </a:lnTo>
                <a:lnTo>
                  <a:pt x="37" y="275"/>
                </a:lnTo>
                <a:lnTo>
                  <a:pt x="40" y="275"/>
                </a:lnTo>
                <a:lnTo>
                  <a:pt x="43" y="275"/>
                </a:lnTo>
                <a:lnTo>
                  <a:pt x="46" y="275"/>
                </a:lnTo>
                <a:lnTo>
                  <a:pt x="50" y="275"/>
                </a:lnTo>
                <a:lnTo>
                  <a:pt x="53" y="275"/>
                </a:lnTo>
                <a:lnTo>
                  <a:pt x="56" y="275"/>
                </a:lnTo>
                <a:lnTo>
                  <a:pt x="59" y="275"/>
                </a:lnTo>
                <a:lnTo>
                  <a:pt x="62" y="275"/>
                </a:lnTo>
                <a:lnTo>
                  <a:pt x="65" y="275"/>
                </a:lnTo>
                <a:lnTo>
                  <a:pt x="65" y="275"/>
                </a:lnTo>
                <a:lnTo>
                  <a:pt x="65" y="275"/>
                </a:lnTo>
                <a:lnTo>
                  <a:pt x="59" y="269"/>
                </a:lnTo>
                <a:lnTo>
                  <a:pt x="59" y="266"/>
                </a:lnTo>
                <a:lnTo>
                  <a:pt x="56" y="266"/>
                </a:lnTo>
                <a:lnTo>
                  <a:pt x="53" y="260"/>
                </a:lnTo>
                <a:lnTo>
                  <a:pt x="53" y="257"/>
                </a:lnTo>
                <a:lnTo>
                  <a:pt x="56" y="253"/>
                </a:lnTo>
                <a:lnTo>
                  <a:pt x="56" y="247"/>
                </a:lnTo>
                <a:lnTo>
                  <a:pt x="53" y="247"/>
                </a:lnTo>
                <a:lnTo>
                  <a:pt x="53" y="244"/>
                </a:lnTo>
                <a:lnTo>
                  <a:pt x="56" y="241"/>
                </a:lnTo>
                <a:lnTo>
                  <a:pt x="56" y="238"/>
                </a:lnTo>
                <a:lnTo>
                  <a:pt x="53" y="235"/>
                </a:lnTo>
                <a:lnTo>
                  <a:pt x="53" y="232"/>
                </a:lnTo>
                <a:lnTo>
                  <a:pt x="50" y="228"/>
                </a:lnTo>
                <a:lnTo>
                  <a:pt x="50" y="222"/>
                </a:lnTo>
                <a:lnTo>
                  <a:pt x="43" y="219"/>
                </a:lnTo>
                <a:lnTo>
                  <a:pt x="34" y="213"/>
                </a:lnTo>
                <a:lnTo>
                  <a:pt x="34" y="213"/>
                </a:lnTo>
                <a:lnTo>
                  <a:pt x="31" y="210"/>
                </a:lnTo>
                <a:lnTo>
                  <a:pt x="28" y="203"/>
                </a:lnTo>
                <a:lnTo>
                  <a:pt x="25" y="200"/>
                </a:lnTo>
                <a:lnTo>
                  <a:pt x="21" y="175"/>
                </a:lnTo>
                <a:lnTo>
                  <a:pt x="25" y="175"/>
                </a:lnTo>
                <a:lnTo>
                  <a:pt x="25" y="175"/>
                </a:lnTo>
                <a:lnTo>
                  <a:pt x="28" y="172"/>
                </a:lnTo>
                <a:lnTo>
                  <a:pt x="28" y="172"/>
                </a:lnTo>
                <a:lnTo>
                  <a:pt x="62" y="138"/>
                </a:lnTo>
                <a:lnTo>
                  <a:pt x="59" y="110"/>
                </a:lnTo>
                <a:lnTo>
                  <a:pt x="65" y="72"/>
                </a:lnTo>
                <a:lnTo>
                  <a:pt x="68" y="69"/>
                </a:lnTo>
                <a:lnTo>
                  <a:pt x="68" y="63"/>
                </a:lnTo>
                <a:lnTo>
                  <a:pt x="56" y="47"/>
                </a:lnTo>
                <a:lnTo>
                  <a:pt x="56" y="44"/>
                </a:lnTo>
                <a:lnTo>
                  <a:pt x="59" y="38"/>
                </a:lnTo>
                <a:lnTo>
                  <a:pt x="46" y="13"/>
                </a:lnTo>
                <a:lnTo>
                  <a:pt x="46" y="9"/>
                </a:lnTo>
                <a:lnTo>
                  <a:pt x="46" y="9"/>
                </a:lnTo>
                <a:close/>
                <a:moveTo>
                  <a:pt x="6" y="210"/>
                </a:moveTo>
                <a:lnTo>
                  <a:pt x="3" y="213"/>
                </a:lnTo>
                <a:lnTo>
                  <a:pt x="0" y="216"/>
                </a:lnTo>
                <a:lnTo>
                  <a:pt x="0" y="213"/>
                </a:lnTo>
                <a:lnTo>
                  <a:pt x="6" y="21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3" name="Freeform 131">
            <a:extLst>
              <a:ext uri="{FF2B5EF4-FFF2-40B4-BE49-F238E27FC236}">
                <a16:creationId xmlns:a16="http://schemas.microsoft.com/office/drawing/2014/main" id="{11ADA199-9207-1AB8-7C7B-624A09F08C1D}"/>
              </a:ext>
            </a:extLst>
          </p:cNvPr>
          <p:cNvSpPr>
            <a:spLocks/>
          </p:cNvSpPr>
          <p:nvPr userDrawn="1"/>
        </p:nvSpPr>
        <p:spPr bwMode="auto">
          <a:xfrm>
            <a:off x="13188089" y="7885983"/>
            <a:ext cx="952440" cy="746126"/>
          </a:xfrm>
          <a:custGeom>
            <a:avLst/>
            <a:gdLst>
              <a:gd name="T0" fmla="*/ 66 w 300"/>
              <a:gd name="T1" fmla="*/ 229 h 235"/>
              <a:gd name="T2" fmla="*/ 56 w 300"/>
              <a:gd name="T3" fmla="*/ 222 h 235"/>
              <a:gd name="T4" fmla="*/ 47 w 300"/>
              <a:gd name="T5" fmla="*/ 222 h 235"/>
              <a:gd name="T6" fmla="*/ 44 w 300"/>
              <a:gd name="T7" fmla="*/ 225 h 235"/>
              <a:gd name="T8" fmla="*/ 38 w 300"/>
              <a:gd name="T9" fmla="*/ 219 h 235"/>
              <a:gd name="T10" fmla="*/ 41 w 300"/>
              <a:gd name="T11" fmla="*/ 213 h 235"/>
              <a:gd name="T12" fmla="*/ 38 w 300"/>
              <a:gd name="T13" fmla="*/ 210 h 235"/>
              <a:gd name="T14" fmla="*/ 28 w 300"/>
              <a:gd name="T15" fmla="*/ 213 h 235"/>
              <a:gd name="T16" fmla="*/ 19 w 300"/>
              <a:gd name="T17" fmla="*/ 200 h 235"/>
              <a:gd name="T18" fmla="*/ 0 w 300"/>
              <a:gd name="T19" fmla="*/ 182 h 235"/>
              <a:gd name="T20" fmla="*/ 3 w 300"/>
              <a:gd name="T21" fmla="*/ 172 h 235"/>
              <a:gd name="T22" fmla="*/ 10 w 300"/>
              <a:gd name="T23" fmla="*/ 169 h 235"/>
              <a:gd name="T24" fmla="*/ 28 w 300"/>
              <a:gd name="T25" fmla="*/ 169 h 235"/>
              <a:gd name="T26" fmla="*/ 41 w 300"/>
              <a:gd name="T27" fmla="*/ 166 h 235"/>
              <a:gd name="T28" fmla="*/ 50 w 300"/>
              <a:gd name="T29" fmla="*/ 163 h 235"/>
              <a:gd name="T30" fmla="*/ 63 w 300"/>
              <a:gd name="T31" fmla="*/ 160 h 235"/>
              <a:gd name="T32" fmla="*/ 75 w 300"/>
              <a:gd name="T33" fmla="*/ 150 h 235"/>
              <a:gd name="T34" fmla="*/ 78 w 300"/>
              <a:gd name="T35" fmla="*/ 141 h 235"/>
              <a:gd name="T36" fmla="*/ 81 w 300"/>
              <a:gd name="T37" fmla="*/ 85 h 235"/>
              <a:gd name="T38" fmla="*/ 135 w 300"/>
              <a:gd name="T39" fmla="*/ 57 h 235"/>
              <a:gd name="T40" fmla="*/ 257 w 300"/>
              <a:gd name="T41" fmla="*/ 10 h 235"/>
              <a:gd name="T42" fmla="*/ 278 w 300"/>
              <a:gd name="T43" fmla="*/ 6 h 235"/>
              <a:gd name="T44" fmla="*/ 291 w 300"/>
              <a:gd name="T45" fmla="*/ 35 h 235"/>
              <a:gd name="T46" fmla="*/ 288 w 300"/>
              <a:gd name="T47" fmla="*/ 44 h 235"/>
              <a:gd name="T48" fmla="*/ 300 w 300"/>
              <a:gd name="T49" fmla="*/ 66 h 235"/>
              <a:gd name="T50" fmla="*/ 291 w 300"/>
              <a:gd name="T51" fmla="*/ 107 h 235"/>
              <a:gd name="T52" fmla="*/ 260 w 300"/>
              <a:gd name="T53" fmla="*/ 169 h 235"/>
              <a:gd name="T54" fmla="*/ 257 w 300"/>
              <a:gd name="T55" fmla="*/ 172 h 235"/>
              <a:gd name="T56" fmla="*/ 253 w 300"/>
              <a:gd name="T57" fmla="*/ 172 h 235"/>
              <a:gd name="T58" fmla="*/ 253 w 300"/>
              <a:gd name="T59" fmla="*/ 197 h 235"/>
              <a:gd name="T60" fmla="*/ 250 w 300"/>
              <a:gd name="T61" fmla="*/ 204 h 235"/>
              <a:gd name="T62" fmla="*/ 244 w 300"/>
              <a:gd name="T63" fmla="*/ 204 h 235"/>
              <a:gd name="T64" fmla="*/ 241 w 300"/>
              <a:gd name="T65" fmla="*/ 207 h 235"/>
              <a:gd name="T66" fmla="*/ 238 w 300"/>
              <a:gd name="T67" fmla="*/ 207 h 235"/>
              <a:gd name="T68" fmla="*/ 228 w 300"/>
              <a:gd name="T69" fmla="*/ 210 h 235"/>
              <a:gd name="T70" fmla="*/ 216 w 300"/>
              <a:gd name="T71" fmla="*/ 207 h 235"/>
              <a:gd name="T72" fmla="*/ 203 w 300"/>
              <a:gd name="T73" fmla="*/ 207 h 235"/>
              <a:gd name="T74" fmla="*/ 188 w 300"/>
              <a:gd name="T75" fmla="*/ 207 h 235"/>
              <a:gd name="T76" fmla="*/ 178 w 300"/>
              <a:gd name="T77" fmla="*/ 216 h 235"/>
              <a:gd name="T78" fmla="*/ 169 w 300"/>
              <a:gd name="T79" fmla="*/ 213 h 235"/>
              <a:gd name="T80" fmla="*/ 157 w 300"/>
              <a:gd name="T81" fmla="*/ 210 h 235"/>
              <a:gd name="T82" fmla="*/ 153 w 300"/>
              <a:gd name="T83" fmla="*/ 207 h 235"/>
              <a:gd name="T84" fmla="*/ 147 w 300"/>
              <a:gd name="T85" fmla="*/ 204 h 235"/>
              <a:gd name="T86" fmla="*/ 141 w 300"/>
              <a:gd name="T87" fmla="*/ 207 h 235"/>
              <a:gd name="T88" fmla="*/ 135 w 300"/>
              <a:gd name="T89" fmla="*/ 207 h 235"/>
              <a:gd name="T90" fmla="*/ 132 w 300"/>
              <a:gd name="T91" fmla="*/ 210 h 235"/>
              <a:gd name="T92" fmla="*/ 122 w 300"/>
              <a:gd name="T93" fmla="*/ 200 h 235"/>
              <a:gd name="T94" fmla="*/ 116 w 300"/>
              <a:gd name="T95" fmla="*/ 197 h 235"/>
              <a:gd name="T96" fmla="*/ 110 w 300"/>
              <a:gd name="T97" fmla="*/ 194 h 235"/>
              <a:gd name="T98" fmla="*/ 100 w 300"/>
              <a:gd name="T99" fmla="*/ 194 h 235"/>
              <a:gd name="T100" fmla="*/ 97 w 300"/>
              <a:gd name="T101" fmla="*/ 194 h 235"/>
              <a:gd name="T102" fmla="*/ 88 w 300"/>
              <a:gd name="T103" fmla="*/ 194 h 235"/>
              <a:gd name="T104" fmla="*/ 81 w 300"/>
              <a:gd name="T105" fmla="*/ 197 h 235"/>
              <a:gd name="T106" fmla="*/ 78 w 300"/>
              <a:gd name="T107" fmla="*/ 197 h 235"/>
              <a:gd name="T108" fmla="*/ 72 w 300"/>
              <a:gd name="T109" fmla="*/ 204 h 235"/>
              <a:gd name="T110" fmla="*/ 72 w 300"/>
              <a:gd name="T111" fmla="*/ 207 h 235"/>
              <a:gd name="T112" fmla="*/ 75 w 300"/>
              <a:gd name="T113" fmla="*/ 213 h 235"/>
              <a:gd name="T114" fmla="*/ 75 w 300"/>
              <a:gd name="T115" fmla="*/ 216 h 235"/>
              <a:gd name="T116" fmla="*/ 69 w 300"/>
              <a:gd name="T117" fmla="*/ 219 h 235"/>
              <a:gd name="T118" fmla="*/ 66 w 300"/>
              <a:gd name="T119" fmla="*/ 225 h 235"/>
              <a:gd name="T120" fmla="*/ 72 w 300"/>
              <a:gd name="T121" fmla="*/ 229 h 235"/>
              <a:gd name="T122" fmla="*/ 69 w 300"/>
              <a:gd name="T123"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0" h="235">
                <a:moveTo>
                  <a:pt x="69" y="235"/>
                </a:moveTo>
                <a:lnTo>
                  <a:pt x="66" y="229"/>
                </a:lnTo>
                <a:lnTo>
                  <a:pt x="60" y="229"/>
                </a:lnTo>
                <a:lnTo>
                  <a:pt x="56" y="222"/>
                </a:lnTo>
                <a:lnTo>
                  <a:pt x="50" y="219"/>
                </a:lnTo>
                <a:lnTo>
                  <a:pt x="47" y="222"/>
                </a:lnTo>
                <a:lnTo>
                  <a:pt x="50" y="222"/>
                </a:lnTo>
                <a:lnTo>
                  <a:pt x="44" y="225"/>
                </a:lnTo>
                <a:lnTo>
                  <a:pt x="41" y="225"/>
                </a:lnTo>
                <a:lnTo>
                  <a:pt x="38" y="219"/>
                </a:lnTo>
                <a:lnTo>
                  <a:pt x="41" y="216"/>
                </a:lnTo>
                <a:lnTo>
                  <a:pt x="41" y="213"/>
                </a:lnTo>
                <a:lnTo>
                  <a:pt x="38" y="210"/>
                </a:lnTo>
                <a:lnTo>
                  <a:pt x="38" y="210"/>
                </a:lnTo>
                <a:lnTo>
                  <a:pt x="35" y="207"/>
                </a:lnTo>
                <a:lnTo>
                  <a:pt x="28" y="213"/>
                </a:lnTo>
                <a:lnTo>
                  <a:pt x="19" y="207"/>
                </a:lnTo>
                <a:lnTo>
                  <a:pt x="19" y="200"/>
                </a:lnTo>
                <a:lnTo>
                  <a:pt x="0" y="188"/>
                </a:lnTo>
                <a:lnTo>
                  <a:pt x="0" y="182"/>
                </a:lnTo>
                <a:lnTo>
                  <a:pt x="3" y="175"/>
                </a:lnTo>
                <a:lnTo>
                  <a:pt x="3" y="172"/>
                </a:lnTo>
                <a:lnTo>
                  <a:pt x="6" y="169"/>
                </a:lnTo>
                <a:lnTo>
                  <a:pt x="10" y="169"/>
                </a:lnTo>
                <a:lnTo>
                  <a:pt x="22" y="169"/>
                </a:lnTo>
                <a:lnTo>
                  <a:pt x="28" y="169"/>
                </a:lnTo>
                <a:lnTo>
                  <a:pt x="35" y="166"/>
                </a:lnTo>
                <a:lnTo>
                  <a:pt x="41" y="166"/>
                </a:lnTo>
                <a:lnTo>
                  <a:pt x="47" y="166"/>
                </a:lnTo>
                <a:lnTo>
                  <a:pt x="50" y="163"/>
                </a:lnTo>
                <a:lnTo>
                  <a:pt x="56" y="163"/>
                </a:lnTo>
                <a:lnTo>
                  <a:pt x="63" y="160"/>
                </a:lnTo>
                <a:lnTo>
                  <a:pt x="72" y="153"/>
                </a:lnTo>
                <a:lnTo>
                  <a:pt x="75" y="150"/>
                </a:lnTo>
                <a:lnTo>
                  <a:pt x="75" y="144"/>
                </a:lnTo>
                <a:lnTo>
                  <a:pt x="78" y="141"/>
                </a:lnTo>
                <a:lnTo>
                  <a:pt x="78" y="122"/>
                </a:lnTo>
                <a:lnTo>
                  <a:pt x="81" y="85"/>
                </a:lnTo>
                <a:lnTo>
                  <a:pt x="110" y="78"/>
                </a:lnTo>
                <a:lnTo>
                  <a:pt x="135" y="57"/>
                </a:lnTo>
                <a:lnTo>
                  <a:pt x="222" y="0"/>
                </a:lnTo>
                <a:lnTo>
                  <a:pt x="257" y="10"/>
                </a:lnTo>
                <a:lnTo>
                  <a:pt x="260" y="13"/>
                </a:lnTo>
                <a:lnTo>
                  <a:pt x="278" y="6"/>
                </a:lnTo>
                <a:lnTo>
                  <a:pt x="278" y="10"/>
                </a:lnTo>
                <a:lnTo>
                  <a:pt x="291" y="35"/>
                </a:lnTo>
                <a:lnTo>
                  <a:pt x="288" y="41"/>
                </a:lnTo>
                <a:lnTo>
                  <a:pt x="288" y="44"/>
                </a:lnTo>
                <a:lnTo>
                  <a:pt x="300" y="60"/>
                </a:lnTo>
                <a:lnTo>
                  <a:pt x="300" y="66"/>
                </a:lnTo>
                <a:lnTo>
                  <a:pt x="297" y="69"/>
                </a:lnTo>
                <a:lnTo>
                  <a:pt x="291" y="107"/>
                </a:lnTo>
                <a:lnTo>
                  <a:pt x="294" y="135"/>
                </a:lnTo>
                <a:lnTo>
                  <a:pt x="260" y="169"/>
                </a:lnTo>
                <a:lnTo>
                  <a:pt x="260" y="169"/>
                </a:lnTo>
                <a:lnTo>
                  <a:pt x="257" y="172"/>
                </a:lnTo>
                <a:lnTo>
                  <a:pt x="257" y="172"/>
                </a:lnTo>
                <a:lnTo>
                  <a:pt x="253" y="172"/>
                </a:lnTo>
                <a:lnTo>
                  <a:pt x="257" y="197"/>
                </a:lnTo>
                <a:lnTo>
                  <a:pt x="253" y="197"/>
                </a:lnTo>
                <a:lnTo>
                  <a:pt x="250" y="200"/>
                </a:lnTo>
                <a:lnTo>
                  <a:pt x="250" y="204"/>
                </a:lnTo>
                <a:lnTo>
                  <a:pt x="247" y="204"/>
                </a:lnTo>
                <a:lnTo>
                  <a:pt x="244" y="204"/>
                </a:lnTo>
                <a:lnTo>
                  <a:pt x="241" y="204"/>
                </a:lnTo>
                <a:lnTo>
                  <a:pt x="241" y="207"/>
                </a:lnTo>
                <a:lnTo>
                  <a:pt x="238" y="207"/>
                </a:lnTo>
                <a:lnTo>
                  <a:pt x="238" y="207"/>
                </a:lnTo>
                <a:lnTo>
                  <a:pt x="232" y="210"/>
                </a:lnTo>
                <a:lnTo>
                  <a:pt x="228" y="210"/>
                </a:lnTo>
                <a:lnTo>
                  <a:pt x="222" y="210"/>
                </a:lnTo>
                <a:lnTo>
                  <a:pt x="216" y="207"/>
                </a:lnTo>
                <a:lnTo>
                  <a:pt x="207" y="204"/>
                </a:lnTo>
                <a:lnTo>
                  <a:pt x="203" y="207"/>
                </a:lnTo>
                <a:lnTo>
                  <a:pt x="194" y="207"/>
                </a:lnTo>
                <a:lnTo>
                  <a:pt x="188" y="207"/>
                </a:lnTo>
                <a:lnTo>
                  <a:pt x="185" y="213"/>
                </a:lnTo>
                <a:lnTo>
                  <a:pt x="178" y="216"/>
                </a:lnTo>
                <a:lnTo>
                  <a:pt x="175" y="216"/>
                </a:lnTo>
                <a:lnTo>
                  <a:pt x="169" y="213"/>
                </a:lnTo>
                <a:lnTo>
                  <a:pt x="163" y="213"/>
                </a:lnTo>
                <a:lnTo>
                  <a:pt x="157" y="210"/>
                </a:lnTo>
                <a:lnTo>
                  <a:pt x="153" y="207"/>
                </a:lnTo>
                <a:lnTo>
                  <a:pt x="153" y="207"/>
                </a:lnTo>
                <a:lnTo>
                  <a:pt x="150" y="204"/>
                </a:lnTo>
                <a:lnTo>
                  <a:pt x="147" y="204"/>
                </a:lnTo>
                <a:lnTo>
                  <a:pt x="147" y="204"/>
                </a:lnTo>
                <a:lnTo>
                  <a:pt x="141" y="207"/>
                </a:lnTo>
                <a:lnTo>
                  <a:pt x="138" y="207"/>
                </a:lnTo>
                <a:lnTo>
                  <a:pt x="135" y="207"/>
                </a:lnTo>
                <a:lnTo>
                  <a:pt x="132" y="210"/>
                </a:lnTo>
                <a:lnTo>
                  <a:pt x="132" y="210"/>
                </a:lnTo>
                <a:lnTo>
                  <a:pt x="125" y="207"/>
                </a:lnTo>
                <a:lnTo>
                  <a:pt x="122" y="200"/>
                </a:lnTo>
                <a:lnTo>
                  <a:pt x="119" y="200"/>
                </a:lnTo>
                <a:lnTo>
                  <a:pt x="116" y="197"/>
                </a:lnTo>
                <a:lnTo>
                  <a:pt x="113" y="197"/>
                </a:lnTo>
                <a:lnTo>
                  <a:pt x="110" y="194"/>
                </a:lnTo>
                <a:lnTo>
                  <a:pt x="103" y="194"/>
                </a:lnTo>
                <a:lnTo>
                  <a:pt x="100" y="194"/>
                </a:lnTo>
                <a:lnTo>
                  <a:pt x="97" y="194"/>
                </a:lnTo>
                <a:lnTo>
                  <a:pt x="97" y="194"/>
                </a:lnTo>
                <a:lnTo>
                  <a:pt x="91" y="194"/>
                </a:lnTo>
                <a:lnTo>
                  <a:pt x="88" y="194"/>
                </a:lnTo>
                <a:lnTo>
                  <a:pt x="85" y="194"/>
                </a:lnTo>
                <a:lnTo>
                  <a:pt x="81" y="197"/>
                </a:lnTo>
                <a:lnTo>
                  <a:pt x="81" y="197"/>
                </a:lnTo>
                <a:lnTo>
                  <a:pt x="78" y="197"/>
                </a:lnTo>
                <a:lnTo>
                  <a:pt x="75" y="200"/>
                </a:lnTo>
                <a:lnTo>
                  <a:pt x="72" y="204"/>
                </a:lnTo>
                <a:lnTo>
                  <a:pt x="75" y="207"/>
                </a:lnTo>
                <a:lnTo>
                  <a:pt x="72" y="207"/>
                </a:lnTo>
                <a:lnTo>
                  <a:pt x="72" y="207"/>
                </a:lnTo>
                <a:lnTo>
                  <a:pt x="75" y="213"/>
                </a:lnTo>
                <a:lnTo>
                  <a:pt x="75" y="213"/>
                </a:lnTo>
                <a:lnTo>
                  <a:pt x="75" y="216"/>
                </a:lnTo>
                <a:lnTo>
                  <a:pt x="72" y="216"/>
                </a:lnTo>
                <a:lnTo>
                  <a:pt x="69" y="219"/>
                </a:lnTo>
                <a:lnTo>
                  <a:pt x="69" y="222"/>
                </a:lnTo>
                <a:lnTo>
                  <a:pt x="66" y="225"/>
                </a:lnTo>
                <a:lnTo>
                  <a:pt x="69" y="229"/>
                </a:lnTo>
                <a:lnTo>
                  <a:pt x="72" y="229"/>
                </a:lnTo>
                <a:lnTo>
                  <a:pt x="72" y="232"/>
                </a:lnTo>
                <a:lnTo>
                  <a:pt x="69" y="235"/>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4" name="Freeform 132">
            <a:extLst>
              <a:ext uri="{FF2B5EF4-FFF2-40B4-BE49-F238E27FC236}">
                <a16:creationId xmlns:a16="http://schemas.microsoft.com/office/drawing/2014/main" id="{1E18DCF6-8314-F925-1AE2-2A2115080ABB}"/>
              </a:ext>
            </a:extLst>
          </p:cNvPr>
          <p:cNvSpPr>
            <a:spLocks/>
          </p:cNvSpPr>
          <p:nvPr userDrawn="1"/>
        </p:nvSpPr>
        <p:spPr bwMode="auto">
          <a:xfrm>
            <a:off x="13356352" y="8501935"/>
            <a:ext cx="714330" cy="615950"/>
          </a:xfrm>
          <a:custGeom>
            <a:avLst/>
            <a:gdLst>
              <a:gd name="T0" fmla="*/ 210 w 225"/>
              <a:gd name="T1" fmla="*/ 13 h 194"/>
              <a:gd name="T2" fmla="*/ 197 w 225"/>
              <a:gd name="T3" fmla="*/ 6 h 194"/>
              <a:gd name="T4" fmla="*/ 191 w 225"/>
              <a:gd name="T5" fmla="*/ 10 h 194"/>
              <a:gd name="T6" fmla="*/ 185 w 225"/>
              <a:gd name="T7" fmla="*/ 13 h 194"/>
              <a:gd name="T8" fmla="*/ 175 w 225"/>
              <a:gd name="T9" fmla="*/ 16 h 194"/>
              <a:gd name="T10" fmla="*/ 154 w 225"/>
              <a:gd name="T11" fmla="*/ 10 h 194"/>
              <a:gd name="T12" fmla="*/ 135 w 225"/>
              <a:gd name="T13" fmla="*/ 13 h 194"/>
              <a:gd name="T14" fmla="*/ 122 w 225"/>
              <a:gd name="T15" fmla="*/ 22 h 194"/>
              <a:gd name="T16" fmla="*/ 104 w 225"/>
              <a:gd name="T17" fmla="*/ 16 h 194"/>
              <a:gd name="T18" fmla="*/ 97 w 225"/>
              <a:gd name="T19" fmla="*/ 10 h 194"/>
              <a:gd name="T20" fmla="*/ 88 w 225"/>
              <a:gd name="T21" fmla="*/ 13 h 194"/>
              <a:gd name="T22" fmla="*/ 79 w 225"/>
              <a:gd name="T23" fmla="*/ 16 h 194"/>
              <a:gd name="T24" fmla="*/ 69 w 225"/>
              <a:gd name="T25" fmla="*/ 6 h 194"/>
              <a:gd name="T26" fmla="*/ 60 w 225"/>
              <a:gd name="T27" fmla="*/ 3 h 194"/>
              <a:gd name="T28" fmla="*/ 47 w 225"/>
              <a:gd name="T29" fmla="*/ 0 h 194"/>
              <a:gd name="T30" fmla="*/ 38 w 225"/>
              <a:gd name="T31" fmla="*/ 0 h 194"/>
              <a:gd name="T32" fmla="*/ 28 w 225"/>
              <a:gd name="T33" fmla="*/ 3 h 194"/>
              <a:gd name="T34" fmla="*/ 22 w 225"/>
              <a:gd name="T35" fmla="*/ 6 h 194"/>
              <a:gd name="T36" fmla="*/ 19 w 225"/>
              <a:gd name="T37" fmla="*/ 13 h 194"/>
              <a:gd name="T38" fmla="*/ 22 w 225"/>
              <a:gd name="T39" fmla="*/ 19 h 194"/>
              <a:gd name="T40" fmla="*/ 16 w 225"/>
              <a:gd name="T41" fmla="*/ 25 h 194"/>
              <a:gd name="T42" fmla="*/ 16 w 225"/>
              <a:gd name="T43" fmla="*/ 35 h 194"/>
              <a:gd name="T44" fmla="*/ 16 w 225"/>
              <a:gd name="T45" fmla="*/ 41 h 194"/>
              <a:gd name="T46" fmla="*/ 22 w 225"/>
              <a:gd name="T47" fmla="*/ 53 h 194"/>
              <a:gd name="T48" fmla="*/ 22 w 225"/>
              <a:gd name="T49" fmla="*/ 66 h 194"/>
              <a:gd name="T50" fmla="*/ 16 w 225"/>
              <a:gd name="T51" fmla="*/ 72 h 194"/>
              <a:gd name="T52" fmla="*/ 16 w 225"/>
              <a:gd name="T53" fmla="*/ 78 h 194"/>
              <a:gd name="T54" fmla="*/ 10 w 225"/>
              <a:gd name="T55" fmla="*/ 88 h 194"/>
              <a:gd name="T56" fmla="*/ 3 w 225"/>
              <a:gd name="T57" fmla="*/ 94 h 194"/>
              <a:gd name="T58" fmla="*/ 0 w 225"/>
              <a:gd name="T59" fmla="*/ 100 h 194"/>
              <a:gd name="T60" fmla="*/ 0 w 225"/>
              <a:gd name="T61" fmla="*/ 110 h 194"/>
              <a:gd name="T62" fmla="*/ 0 w 225"/>
              <a:gd name="T63" fmla="*/ 116 h 194"/>
              <a:gd name="T64" fmla="*/ 0 w 225"/>
              <a:gd name="T65" fmla="*/ 128 h 194"/>
              <a:gd name="T66" fmla="*/ 0 w 225"/>
              <a:gd name="T67" fmla="*/ 144 h 194"/>
              <a:gd name="T68" fmla="*/ 16 w 225"/>
              <a:gd name="T69" fmla="*/ 147 h 194"/>
              <a:gd name="T70" fmla="*/ 41 w 225"/>
              <a:gd name="T71" fmla="*/ 172 h 194"/>
              <a:gd name="T72" fmla="*/ 47 w 225"/>
              <a:gd name="T73" fmla="*/ 188 h 194"/>
              <a:gd name="T74" fmla="*/ 79 w 225"/>
              <a:gd name="T75" fmla="*/ 191 h 194"/>
              <a:gd name="T76" fmla="*/ 94 w 225"/>
              <a:gd name="T77" fmla="*/ 188 h 194"/>
              <a:gd name="T78" fmla="*/ 104 w 225"/>
              <a:gd name="T79" fmla="*/ 182 h 194"/>
              <a:gd name="T80" fmla="*/ 110 w 225"/>
              <a:gd name="T81" fmla="*/ 185 h 194"/>
              <a:gd name="T82" fmla="*/ 116 w 225"/>
              <a:gd name="T83" fmla="*/ 172 h 194"/>
              <a:gd name="T84" fmla="*/ 116 w 225"/>
              <a:gd name="T85" fmla="*/ 163 h 194"/>
              <a:gd name="T86" fmla="*/ 125 w 225"/>
              <a:gd name="T87" fmla="*/ 153 h 194"/>
              <a:gd name="T88" fmla="*/ 132 w 225"/>
              <a:gd name="T89" fmla="*/ 144 h 194"/>
              <a:gd name="T90" fmla="*/ 138 w 225"/>
              <a:gd name="T91" fmla="*/ 138 h 194"/>
              <a:gd name="T92" fmla="*/ 147 w 225"/>
              <a:gd name="T93" fmla="*/ 141 h 194"/>
              <a:gd name="T94" fmla="*/ 157 w 225"/>
              <a:gd name="T95" fmla="*/ 150 h 194"/>
              <a:gd name="T96" fmla="*/ 166 w 225"/>
              <a:gd name="T97" fmla="*/ 144 h 194"/>
              <a:gd name="T98" fmla="*/ 169 w 225"/>
              <a:gd name="T99" fmla="*/ 138 h 194"/>
              <a:gd name="T100" fmla="*/ 172 w 225"/>
              <a:gd name="T101" fmla="*/ 128 h 194"/>
              <a:gd name="T102" fmla="*/ 179 w 225"/>
              <a:gd name="T103" fmla="*/ 116 h 194"/>
              <a:gd name="T104" fmla="*/ 191 w 225"/>
              <a:gd name="T105" fmla="*/ 103 h 194"/>
              <a:gd name="T106" fmla="*/ 191 w 225"/>
              <a:gd name="T107" fmla="*/ 91 h 194"/>
              <a:gd name="T108" fmla="*/ 204 w 225"/>
              <a:gd name="T109" fmla="*/ 81 h 194"/>
              <a:gd name="T110" fmla="*/ 204 w 225"/>
              <a:gd name="T111" fmla="*/ 69 h 194"/>
              <a:gd name="T112" fmla="*/ 210 w 225"/>
              <a:gd name="T113" fmla="*/ 56 h 194"/>
              <a:gd name="T114" fmla="*/ 216 w 225"/>
              <a:gd name="T115" fmla="*/ 53 h 194"/>
              <a:gd name="T116" fmla="*/ 225 w 225"/>
              <a:gd name="T117" fmla="*/ 47 h 194"/>
              <a:gd name="T118" fmla="*/ 222 w 225"/>
              <a:gd name="T119" fmla="*/ 35 h 194"/>
              <a:gd name="T120" fmla="*/ 216 w 225"/>
              <a:gd name="T121" fmla="*/ 25 h 194"/>
              <a:gd name="T122" fmla="*/ 213 w 225"/>
              <a:gd name="T123" fmla="*/ 1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5" h="194">
                <a:moveTo>
                  <a:pt x="213" y="16"/>
                </a:moveTo>
                <a:lnTo>
                  <a:pt x="213" y="16"/>
                </a:lnTo>
                <a:lnTo>
                  <a:pt x="210" y="13"/>
                </a:lnTo>
                <a:lnTo>
                  <a:pt x="207" y="6"/>
                </a:lnTo>
                <a:lnTo>
                  <a:pt x="200" y="3"/>
                </a:lnTo>
                <a:lnTo>
                  <a:pt x="197" y="6"/>
                </a:lnTo>
                <a:lnTo>
                  <a:pt x="197" y="10"/>
                </a:lnTo>
                <a:lnTo>
                  <a:pt x="194" y="10"/>
                </a:lnTo>
                <a:lnTo>
                  <a:pt x="191" y="10"/>
                </a:lnTo>
                <a:lnTo>
                  <a:pt x="188" y="10"/>
                </a:lnTo>
                <a:lnTo>
                  <a:pt x="188" y="13"/>
                </a:lnTo>
                <a:lnTo>
                  <a:pt x="185" y="13"/>
                </a:lnTo>
                <a:lnTo>
                  <a:pt x="182" y="16"/>
                </a:lnTo>
                <a:lnTo>
                  <a:pt x="179" y="19"/>
                </a:lnTo>
                <a:lnTo>
                  <a:pt x="175" y="16"/>
                </a:lnTo>
                <a:lnTo>
                  <a:pt x="169" y="16"/>
                </a:lnTo>
                <a:lnTo>
                  <a:pt x="163" y="13"/>
                </a:lnTo>
                <a:lnTo>
                  <a:pt x="154" y="10"/>
                </a:lnTo>
                <a:lnTo>
                  <a:pt x="150" y="13"/>
                </a:lnTo>
                <a:lnTo>
                  <a:pt x="141" y="13"/>
                </a:lnTo>
                <a:lnTo>
                  <a:pt x="135" y="13"/>
                </a:lnTo>
                <a:lnTo>
                  <a:pt x="132" y="19"/>
                </a:lnTo>
                <a:lnTo>
                  <a:pt x="125" y="22"/>
                </a:lnTo>
                <a:lnTo>
                  <a:pt x="122" y="22"/>
                </a:lnTo>
                <a:lnTo>
                  <a:pt x="116" y="19"/>
                </a:lnTo>
                <a:lnTo>
                  <a:pt x="110" y="19"/>
                </a:lnTo>
                <a:lnTo>
                  <a:pt x="104" y="16"/>
                </a:lnTo>
                <a:lnTo>
                  <a:pt x="100" y="13"/>
                </a:lnTo>
                <a:lnTo>
                  <a:pt x="100" y="13"/>
                </a:lnTo>
                <a:lnTo>
                  <a:pt x="97" y="10"/>
                </a:lnTo>
                <a:lnTo>
                  <a:pt x="94" y="10"/>
                </a:lnTo>
                <a:lnTo>
                  <a:pt x="94" y="10"/>
                </a:lnTo>
                <a:lnTo>
                  <a:pt x="88" y="13"/>
                </a:lnTo>
                <a:lnTo>
                  <a:pt x="85" y="13"/>
                </a:lnTo>
                <a:lnTo>
                  <a:pt x="82" y="13"/>
                </a:lnTo>
                <a:lnTo>
                  <a:pt x="79" y="16"/>
                </a:lnTo>
                <a:lnTo>
                  <a:pt x="79" y="16"/>
                </a:lnTo>
                <a:lnTo>
                  <a:pt x="72" y="13"/>
                </a:lnTo>
                <a:lnTo>
                  <a:pt x="69" y="6"/>
                </a:lnTo>
                <a:lnTo>
                  <a:pt x="66" y="6"/>
                </a:lnTo>
                <a:lnTo>
                  <a:pt x="63" y="3"/>
                </a:lnTo>
                <a:lnTo>
                  <a:pt x="60" y="3"/>
                </a:lnTo>
                <a:lnTo>
                  <a:pt x="57" y="0"/>
                </a:lnTo>
                <a:lnTo>
                  <a:pt x="50" y="0"/>
                </a:lnTo>
                <a:lnTo>
                  <a:pt x="47" y="0"/>
                </a:lnTo>
                <a:lnTo>
                  <a:pt x="44" y="0"/>
                </a:lnTo>
                <a:lnTo>
                  <a:pt x="44" y="0"/>
                </a:lnTo>
                <a:lnTo>
                  <a:pt x="38" y="0"/>
                </a:lnTo>
                <a:lnTo>
                  <a:pt x="35" y="0"/>
                </a:lnTo>
                <a:lnTo>
                  <a:pt x="32" y="0"/>
                </a:lnTo>
                <a:lnTo>
                  <a:pt x="28" y="3"/>
                </a:lnTo>
                <a:lnTo>
                  <a:pt x="28" y="3"/>
                </a:lnTo>
                <a:lnTo>
                  <a:pt x="25" y="3"/>
                </a:lnTo>
                <a:lnTo>
                  <a:pt x="22" y="6"/>
                </a:lnTo>
                <a:lnTo>
                  <a:pt x="19" y="10"/>
                </a:lnTo>
                <a:lnTo>
                  <a:pt x="22" y="13"/>
                </a:lnTo>
                <a:lnTo>
                  <a:pt x="19" y="13"/>
                </a:lnTo>
                <a:lnTo>
                  <a:pt x="19" y="13"/>
                </a:lnTo>
                <a:lnTo>
                  <a:pt x="22" y="19"/>
                </a:lnTo>
                <a:lnTo>
                  <a:pt x="22" y="19"/>
                </a:lnTo>
                <a:lnTo>
                  <a:pt x="22" y="22"/>
                </a:lnTo>
                <a:lnTo>
                  <a:pt x="19" y="22"/>
                </a:lnTo>
                <a:lnTo>
                  <a:pt x="16" y="25"/>
                </a:lnTo>
                <a:lnTo>
                  <a:pt x="16" y="28"/>
                </a:lnTo>
                <a:lnTo>
                  <a:pt x="13" y="31"/>
                </a:lnTo>
                <a:lnTo>
                  <a:pt x="16" y="35"/>
                </a:lnTo>
                <a:lnTo>
                  <a:pt x="19" y="35"/>
                </a:lnTo>
                <a:lnTo>
                  <a:pt x="19" y="38"/>
                </a:lnTo>
                <a:lnTo>
                  <a:pt x="16" y="41"/>
                </a:lnTo>
                <a:lnTo>
                  <a:pt x="16" y="44"/>
                </a:lnTo>
                <a:lnTo>
                  <a:pt x="16" y="47"/>
                </a:lnTo>
                <a:lnTo>
                  <a:pt x="22" y="53"/>
                </a:lnTo>
                <a:lnTo>
                  <a:pt x="22" y="56"/>
                </a:lnTo>
                <a:lnTo>
                  <a:pt x="22" y="63"/>
                </a:lnTo>
                <a:lnTo>
                  <a:pt x="22" y="66"/>
                </a:lnTo>
                <a:lnTo>
                  <a:pt x="19" y="66"/>
                </a:lnTo>
                <a:lnTo>
                  <a:pt x="16" y="69"/>
                </a:lnTo>
                <a:lnTo>
                  <a:pt x="16" y="72"/>
                </a:lnTo>
                <a:lnTo>
                  <a:pt x="19" y="75"/>
                </a:lnTo>
                <a:lnTo>
                  <a:pt x="19" y="78"/>
                </a:lnTo>
                <a:lnTo>
                  <a:pt x="16" y="78"/>
                </a:lnTo>
                <a:lnTo>
                  <a:pt x="13" y="78"/>
                </a:lnTo>
                <a:lnTo>
                  <a:pt x="13" y="81"/>
                </a:lnTo>
                <a:lnTo>
                  <a:pt x="10" y="88"/>
                </a:lnTo>
                <a:lnTo>
                  <a:pt x="10" y="91"/>
                </a:lnTo>
                <a:lnTo>
                  <a:pt x="7" y="91"/>
                </a:lnTo>
                <a:lnTo>
                  <a:pt x="3" y="94"/>
                </a:lnTo>
                <a:lnTo>
                  <a:pt x="0" y="94"/>
                </a:lnTo>
                <a:lnTo>
                  <a:pt x="0" y="97"/>
                </a:lnTo>
                <a:lnTo>
                  <a:pt x="0" y="100"/>
                </a:lnTo>
                <a:lnTo>
                  <a:pt x="0" y="103"/>
                </a:lnTo>
                <a:lnTo>
                  <a:pt x="0" y="107"/>
                </a:lnTo>
                <a:lnTo>
                  <a:pt x="0" y="110"/>
                </a:lnTo>
                <a:lnTo>
                  <a:pt x="0" y="113"/>
                </a:lnTo>
                <a:lnTo>
                  <a:pt x="0" y="113"/>
                </a:lnTo>
                <a:lnTo>
                  <a:pt x="0" y="116"/>
                </a:lnTo>
                <a:lnTo>
                  <a:pt x="0" y="116"/>
                </a:lnTo>
                <a:lnTo>
                  <a:pt x="0" y="119"/>
                </a:lnTo>
                <a:lnTo>
                  <a:pt x="0" y="128"/>
                </a:lnTo>
                <a:lnTo>
                  <a:pt x="0" y="132"/>
                </a:lnTo>
                <a:lnTo>
                  <a:pt x="0" y="135"/>
                </a:lnTo>
                <a:lnTo>
                  <a:pt x="0" y="144"/>
                </a:lnTo>
                <a:lnTo>
                  <a:pt x="0" y="147"/>
                </a:lnTo>
                <a:lnTo>
                  <a:pt x="10" y="150"/>
                </a:lnTo>
                <a:lnTo>
                  <a:pt x="16" y="147"/>
                </a:lnTo>
                <a:lnTo>
                  <a:pt x="28" y="153"/>
                </a:lnTo>
                <a:lnTo>
                  <a:pt x="38" y="163"/>
                </a:lnTo>
                <a:lnTo>
                  <a:pt x="41" y="172"/>
                </a:lnTo>
                <a:lnTo>
                  <a:pt x="41" y="178"/>
                </a:lnTo>
                <a:lnTo>
                  <a:pt x="44" y="178"/>
                </a:lnTo>
                <a:lnTo>
                  <a:pt x="47" y="188"/>
                </a:lnTo>
                <a:lnTo>
                  <a:pt x="50" y="191"/>
                </a:lnTo>
                <a:lnTo>
                  <a:pt x="60" y="194"/>
                </a:lnTo>
                <a:lnTo>
                  <a:pt x="79" y="191"/>
                </a:lnTo>
                <a:lnTo>
                  <a:pt x="82" y="191"/>
                </a:lnTo>
                <a:lnTo>
                  <a:pt x="85" y="191"/>
                </a:lnTo>
                <a:lnTo>
                  <a:pt x="94" y="188"/>
                </a:lnTo>
                <a:lnTo>
                  <a:pt x="97" y="188"/>
                </a:lnTo>
                <a:lnTo>
                  <a:pt x="100" y="188"/>
                </a:lnTo>
                <a:lnTo>
                  <a:pt x="104" y="182"/>
                </a:lnTo>
                <a:lnTo>
                  <a:pt x="107" y="185"/>
                </a:lnTo>
                <a:lnTo>
                  <a:pt x="110" y="185"/>
                </a:lnTo>
                <a:lnTo>
                  <a:pt x="110" y="185"/>
                </a:lnTo>
                <a:lnTo>
                  <a:pt x="110" y="182"/>
                </a:lnTo>
                <a:lnTo>
                  <a:pt x="113" y="175"/>
                </a:lnTo>
                <a:lnTo>
                  <a:pt x="116" y="172"/>
                </a:lnTo>
                <a:lnTo>
                  <a:pt x="116" y="166"/>
                </a:lnTo>
                <a:lnTo>
                  <a:pt x="116" y="163"/>
                </a:lnTo>
                <a:lnTo>
                  <a:pt x="116" y="163"/>
                </a:lnTo>
                <a:lnTo>
                  <a:pt x="116" y="160"/>
                </a:lnTo>
                <a:lnTo>
                  <a:pt x="119" y="157"/>
                </a:lnTo>
                <a:lnTo>
                  <a:pt x="125" y="153"/>
                </a:lnTo>
                <a:lnTo>
                  <a:pt x="125" y="150"/>
                </a:lnTo>
                <a:lnTo>
                  <a:pt x="132" y="147"/>
                </a:lnTo>
                <a:lnTo>
                  <a:pt x="132" y="144"/>
                </a:lnTo>
                <a:lnTo>
                  <a:pt x="132" y="141"/>
                </a:lnTo>
                <a:lnTo>
                  <a:pt x="138" y="141"/>
                </a:lnTo>
                <a:lnTo>
                  <a:pt x="138" y="138"/>
                </a:lnTo>
                <a:lnTo>
                  <a:pt x="138" y="138"/>
                </a:lnTo>
                <a:lnTo>
                  <a:pt x="144" y="141"/>
                </a:lnTo>
                <a:lnTo>
                  <a:pt x="147" y="141"/>
                </a:lnTo>
                <a:lnTo>
                  <a:pt x="150" y="144"/>
                </a:lnTo>
                <a:lnTo>
                  <a:pt x="154" y="147"/>
                </a:lnTo>
                <a:lnTo>
                  <a:pt x="157" y="150"/>
                </a:lnTo>
                <a:lnTo>
                  <a:pt x="157" y="150"/>
                </a:lnTo>
                <a:lnTo>
                  <a:pt x="163" y="147"/>
                </a:lnTo>
                <a:lnTo>
                  <a:pt x="166" y="144"/>
                </a:lnTo>
                <a:lnTo>
                  <a:pt x="166" y="141"/>
                </a:lnTo>
                <a:lnTo>
                  <a:pt x="166" y="138"/>
                </a:lnTo>
                <a:lnTo>
                  <a:pt x="169" y="138"/>
                </a:lnTo>
                <a:lnTo>
                  <a:pt x="172" y="135"/>
                </a:lnTo>
                <a:lnTo>
                  <a:pt x="172" y="132"/>
                </a:lnTo>
                <a:lnTo>
                  <a:pt x="172" y="128"/>
                </a:lnTo>
                <a:lnTo>
                  <a:pt x="179" y="122"/>
                </a:lnTo>
                <a:lnTo>
                  <a:pt x="179" y="119"/>
                </a:lnTo>
                <a:lnTo>
                  <a:pt x="179" y="116"/>
                </a:lnTo>
                <a:lnTo>
                  <a:pt x="182" y="113"/>
                </a:lnTo>
                <a:lnTo>
                  <a:pt x="185" y="107"/>
                </a:lnTo>
                <a:lnTo>
                  <a:pt x="191" y="103"/>
                </a:lnTo>
                <a:lnTo>
                  <a:pt x="191" y="100"/>
                </a:lnTo>
                <a:lnTo>
                  <a:pt x="191" y="97"/>
                </a:lnTo>
                <a:lnTo>
                  <a:pt x="191" y="91"/>
                </a:lnTo>
                <a:lnTo>
                  <a:pt x="194" y="88"/>
                </a:lnTo>
                <a:lnTo>
                  <a:pt x="200" y="88"/>
                </a:lnTo>
                <a:lnTo>
                  <a:pt x="204" y="81"/>
                </a:lnTo>
                <a:lnTo>
                  <a:pt x="204" y="78"/>
                </a:lnTo>
                <a:lnTo>
                  <a:pt x="204" y="72"/>
                </a:lnTo>
                <a:lnTo>
                  <a:pt x="204" y="69"/>
                </a:lnTo>
                <a:lnTo>
                  <a:pt x="204" y="66"/>
                </a:lnTo>
                <a:lnTo>
                  <a:pt x="207" y="60"/>
                </a:lnTo>
                <a:lnTo>
                  <a:pt x="210" y="56"/>
                </a:lnTo>
                <a:lnTo>
                  <a:pt x="210" y="56"/>
                </a:lnTo>
                <a:lnTo>
                  <a:pt x="213" y="53"/>
                </a:lnTo>
                <a:lnTo>
                  <a:pt x="216" y="53"/>
                </a:lnTo>
                <a:lnTo>
                  <a:pt x="219" y="50"/>
                </a:lnTo>
                <a:lnTo>
                  <a:pt x="222" y="47"/>
                </a:lnTo>
                <a:lnTo>
                  <a:pt x="225" y="47"/>
                </a:lnTo>
                <a:lnTo>
                  <a:pt x="222" y="41"/>
                </a:lnTo>
                <a:lnTo>
                  <a:pt x="222" y="38"/>
                </a:lnTo>
                <a:lnTo>
                  <a:pt x="222" y="35"/>
                </a:lnTo>
                <a:lnTo>
                  <a:pt x="219" y="35"/>
                </a:lnTo>
                <a:lnTo>
                  <a:pt x="216" y="31"/>
                </a:lnTo>
                <a:lnTo>
                  <a:pt x="216" y="25"/>
                </a:lnTo>
                <a:lnTo>
                  <a:pt x="216" y="22"/>
                </a:lnTo>
                <a:lnTo>
                  <a:pt x="213" y="16"/>
                </a:lnTo>
                <a:lnTo>
                  <a:pt x="213" y="1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5" name="Freeform 133">
            <a:extLst>
              <a:ext uri="{FF2B5EF4-FFF2-40B4-BE49-F238E27FC236}">
                <a16:creationId xmlns:a16="http://schemas.microsoft.com/office/drawing/2014/main" id="{68D6163C-0D54-0E2F-2FAB-5AFDAEABC7D5}"/>
              </a:ext>
            </a:extLst>
          </p:cNvPr>
          <p:cNvSpPr>
            <a:spLocks/>
          </p:cNvSpPr>
          <p:nvPr userDrawn="1"/>
        </p:nvSpPr>
        <p:spPr bwMode="auto">
          <a:xfrm>
            <a:off x="13565890" y="9356009"/>
            <a:ext cx="19049" cy="19050"/>
          </a:xfrm>
          <a:custGeom>
            <a:avLst/>
            <a:gdLst>
              <a:gd name="T0" fmla="*/ 0 w 6"/>
              <a:gd name="T1" fmla="*/ 6 h 6"/>
              <a:gd name="T2" fmla="*/ 0 w 6"/>
              <a:gd name="T3" fmla="*/ 3 h 6"/>
              <a:gd name="T4" fmla="*/ 3 w 6"/>
              <a:gd name="T5" fmla="*/ 0 h 6"/>
              <a:gd name="T6" fmla="*/ 6 w 6"/>
              <a:gd name="T7" fmla="*/ 3 h 6"/>
              <a:gd name="T8" fmla="*/ 3 w 6"/>
              <a:gd name="T9" fmla="*/ 6 h 6"/>
              <a:gd name="T10" fmla="*/ 3 w 6"/>
              <a:gd name="T11" fmla="*/ 6 h 6"/>
              <a:gd name="T12" fmla="*/ 0 w 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0" y="6"/>
                </a:moveTo>
                <a:lnTo>
                  <a:pt x="0" y="3"/>
                </a:lnTo>
                <a:lnTo>
                  <a:pt x="3" y="0"/>
                </a:lnTo>
                <a:lnTo>
                  <a:pt x="6" y="3"/>
                </a:lnTo>
                <a:lnTo>
                  <a:pt x="3" y="6"/>
                </a:lnTo>
                <a:lnTo>
                  <a:pt x="3" y="6"/>
                </a:lnTo>
                <a:lnTo>
                  <a:pt x="0" y="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6" name="Freeform 134">
            <a:extLst>
              <a:ext uri="{FF2B5EF4-FFF2-40B4-BE49-F238E27FC236}">
                <a16:creationId xmlns:a16="http://schemas.microsoft.com/office/drawing/2014/main" id="{87E5841B-3162-DD42-A2CB-B9D2A1014310}"/>
              </a:ext>
            </a:extLst>
          </p:cNvPr>
          <p:cNvSpPr>
            <a:spLocks/>
          </p:cNvSpPr>
          <p:nvPr userDrawn="1"/>
        </p:nvSpPr>
        <p:spPr bwMode="auto">
          <a:xfrm>
            <a:off x="13686531" y="9136930"/>
            <a:ext cx="28574" cy="50800"/>
          </a:xfrm>
          <a:custGeom>
            <a:avLst/>
            <a:gdLst>
              <a:gd name="T0" fmla="*/ 0 w 9"/>
              <a:gd name="T1" fmla="*/ 13 h 16"/>
              <a:gd name="T2" fmla="*/ 0 w 9"/>
              <a:gd name="T3" fmla="*/ 10 h 16"/>
              <a:gd name="T4" fmla="*/ 3 w 9"/>
              <a:gd name="T5" fmla="*/ 10 h 16"/>
              <a:gd name="T6" fmla="*/ 3 w 9"/>
              <a:gd name="T7" fmla="*/ 3 h 16"/>
              <a:gd name="T8" fmla="*/ 9 w 9"/>
              <a:gd name="T9" fmla="*/ 0 h 16"/>
              <a:gd name="T10" fmla="*/ 9 w 9"/>
              <a:gd name="T11" fmla="*/ 0 h 16"/>
              <a:gd name="T12" fmla="*/ 9 w 9"/>
              <a:gd name="T13" fmla="*/ 7 h 16"/>
              <a:gd name="T14" fmla="*/ 6 w 9"/>
              <a:gd name="T15" fmla="*/ 16 h 16"/>
              <a:gd name="T16" fmla="*/ 3 w 9"/>
              <a:gd name="T17" fmla="*/ 13 h 16"/>
              <a:gd name="T18" fmla="*/ 0 w 9"/>
              <a:gd name="T19"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6">
                <a:moveTo>
                  <a:pt x="0" y="13"/>
                </a:moveTo>
                <a:lnTo>
                  <a:pt x="0" y="10"/>
                </a:lnTo>
                <a:lnTo>
                  <a:pt x="3" y="10"/>
                </a:lnTo>
                <a:lnTo>
                  <a:pt x="3" y="3"/>
                </a:lnTo>
                <a:lnTo>
                  <a:pt x="9" y="0"/>
                </a:lnTo>
                <a:lnTo>
                  <a:pt x="9" y="0"/>
                </a:lnTo>
                <a:lnTo>
                  <a:pt x="9" y="7"/>
                </a:lnTo>
                <a:lnTo>
                  <a:pt x="6" y="16"/>
                </a:lnTo>
                <a:lnTo>
                  <a:pt x="3" y="13"/>
                </a:lnTo>
                <a:lnTo>
                  <a:pt x="0" y="13"/>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7" name="Freeform 135">
            <a:extLst>
              <a:ext uri="{FF2B5EF4-FFF2-40B4-BE49-F238E27FC236}">
                <a16:creationId xmlns:a16="http://schemas.microsoft.com/office/drawing/2014/main" id="{BDEEEF07-47B2-25A7-7546-DAE48128F2D7}"/>
              </a:ext>
            </a:extLst>
          </p:cNvPr>
          <p:cNvSpPr>
            <a:spLocks/>
          </p:cNvSpPr>
          <p:nvPr userDrawn="1"/>
        </p:nvSpPr>
        <p:spPr bwMode="auto">
          <a:xfrm>
            <a:off x="13705581" y="8552732"/>
            <a:ext cx="466696" cy="714376"/>
          </a:xfrm>
          <a:custGeom>
            <a:avLst/>
            <a:gdLst>
              <a:gd name="T0" fmla="*/ 3 w 147"/>
              <a:gd name="T1" fmla="*/ 159 h 225"/>
              <a:gd name="T2" fmla="*/ 6 w 147"/>
              <a:gd name="T3" fmla="*/ 147 h 225"/>
              <a:gd name="T4" fmla="*/ 9 w 147"/>
              <a:gd name="T5" fmla="*/ 141 h 225"/>
              <a:gd name="T6" fmla="*/ 22 w 147"/>
              <a:gd name="T7" fmla="*/ 131 h 225"/>
              <a:gd name="T8" fmla="*/ 28 w 147"/>
              <a:gd name="T9" fmla="*/ 125 h 225"/>
              <a:gd name="T10" fmla="*/ 34 w 147"/>
              <a:gd name="T11" fmla="*/ 125 h 225"/>
              <a:gd name="T12" fmla="*/ 44 w 147"/>
              <a:gd name="T13" fmla="*/ 131 h 225"/>
              <a:gd name="T14" fmla="*/ 53 w 147"/>
              <a:gd name="T15" fmla="*/ 131 h 225"/>
              <a:gd name="T16" fmla="*/ 56 w 147"/>
              <a:gd name="T17" fmla="*/ 122 h 225"/>
              <a:gd name="T18" fmla="*/ 62 w 147"/>
              <a:gd name="T19" fmla="*/ 116 h 225"/>
              <a:gd name="T20" fmla="*/ 69 w 147"/>
              <a:gd name="T21" fmla="*/ 103 h 225"/>
              <a:gd name="T22" fmla="*/ 75 w 147"/>
              <a:gd name="T23" fmla="*/ 91 h 225"/>
              <a:gd name="T24" fmla="*/ 81 w 147"/>
              <a:gd name="T25" fmla="*/ 81 h 225"/>
              <a:gd name="T26" fmla="*/ 90 w 147"/>
              <a:gd name="T27" fmla="*/ 72 h 225"/>
              <a:gd name="T28" fmla="*/ 94 w 147"/>
              <a:gd name="T29" fmla="*/ 56 h 225"/>
              <a:gd name="T30" fmla="*/ 97 w 147"/>
              <a:gd name="T31" fmla="*/ 44 h 225"/>
              <a:gd name="T32" fmla="*/ 103 w 147"/>
              <a:gd name="T33" fmla="*/ 37 h 225"/>
              <a:gd name="T34" fmla="*/ 112 w 147"/>
              <a:gd name="T35" fmla="*/ 31 h 225"/>
              <a:gd name="T36" fmla="*/ 112 w 147"/>
              <a:gd name="T37" fmla="*/ 22 h 225"/>
              <a:gd name="T38" fmla="*/ 106 w 147"/>
              <a:gd name="T39" fmla="*/ 15 h 225"/>
              <a:gd name="T40" fmla="*/ 103 w 147"/>
              <a:gd name="T41" fmla="*/ 0 h 225"/>
              <a:gd name="T42" fmla="*/ 119 w 147"/>
              <a:gd name="T43" fmla="*/ 15 h 225"/>
              <a:gd name="T44" fmla="*/ 125 w 147"/>
              <a:gd name="T45" fmla="*/ 25 h 225"/>
              <a:gd name="T46" fmla="*/ 122 w 147"/>
              <a:gd name="T47" fmla="*/ 34 h 225"/>
              <a:gd name="T48" fmla="*/ 122 w 147"/>
              <a:gd name="T49" fmla="*/ 44 h 225"/>
              <a:gd name="T50" fmla="*/ 128 w 147"/>
              <a:gd name="T51" fmla="*/ 53 h 225"/>
              <a:gd name="T52" fmla="*/ 134 w 147"/>
              <a:gd name="T53" fmla="*/ 62 h 225"/>
              <a:gd name="T54" fmla="*/ 128 w 147"/>
              <a:gd name="T55" fmla="*/ 62 h 225"/>
              <a:gd name="T56" fmla="*/ 119 w 147"/>
              <a:gd name="T57" fmla="*/ 62 h 225"/>
              <a:gd name="T58" fmla="*/ 109 w 147"/>
              <a:gd name="T59" fmla="*/ 62 h 225"/>
              <a:gd name="T60" fmla="*/ 106 w 147"/>
              <a:gd name="T61" fmla="*/ 65 h 225"/>
              <a:gd name="T62" fmla="*/ 109 w 147"/>
              <a:gd name="T63" fmla="*/ 75 h 225"/>
              <a:gd name="T64" fmla="*/ 119 w 147"/>
              <a:gd name="T65" fmla="*/ 84 h 225"/>
              <a:gd name="T66" fmla="*/ 134 w 147"/>
              <a:gd name="T67" fmla="*/ 100 h 225"/>
              <a:gd name="T68" fmla="*/ 134 w 147"/>
              <a:gd name="T69" fmla="*/ 112 h 225"/>
              <a:gd name="T70" fmla="*/ 125 w 147"/>
              <a:gd name="T71" fmla="*/ 125 h 225"/>
              <a:gd name="T72" fmla="*/ 115 w 147"/>
              <a:gd name="T73" fmla="*/ 137 h 225"/>
              <a:gd name="T74" fmla="*/ 115 w 147"/>
              <a:gd name="T75" fmla="*/ 150 h 225"/>
              <a:gd name="T76" fmla="*/ 119 w 147"/>
              <a:gd name="T77" fmla="*/ 162 h 225"/>
              <a:gd name="T78" fmla="*/ 125 w 147"/>
              <a:gd name="T79" fmla="*/ 175 h 225"/>
              <a:gd name="T80" fmla="*/ 134 w 147"/>
              <a:gd name="T81" fmla="*/ 191 h 225"/>
              <a:gd name="T82" fmla="*/ 147 w 147"/>
              <a:gd name="T83" fmla="*/ 203 h 225"/>
              <a:gd name="T84" fmla="*/ 147 w 147"/>
              <a:gd name="T85" fmla="*/ 213 h 225"/>
              <a:gd name="T86" fmla="*/ 147 w 147"/>
              <a:gd name="T87" fmla="*/ 216 h 225"/>
              <a:gd name="T88" fmla="*/ 144 w 147"/>
              <a:gd name="T89" fmla="*/ 225 h 225"/>
              <a:gd name="T90" fmla="*/ 140 w 147"/>
              <a:gd name="T91" fmla="*/ 225 h 225"/>
              <a:gd name="T92" fmla="*/ 137 w 147"/>
              <a:gd name="T93" fmla="*/ 225 h 225"/>
              <a:gd name="T94" fmla="*/ 128 w 147"/>
              <a:gd name="T95" fmla="*/ 222 h 225"/>
              <a:gd name="T96" fmla="*/ 125 w 147"/>
              <a:gd name="T97" fmla="*/ 222 h 225"/>
              <a:gd name="T98" fmla="*/ 119 w 147"/>
              <a:gd name="T99" fmla="*/ 222 h 225"/>
              <a:gd name="T100" fmla="*/ 115 w 147"/>
              <a:gd name="T101" fmla="*/ 222 h 225"/>
              <a:gd name="T102" fmla="*/ 84 w 147"/>
              <a:gd name="T103" fmla="*/ 219 h 225"/>
              <a:gd name="T104" fmla="*/ 78 w 147"/>
              <a:gd name="T105" fmla="*/ 219 h 225"/>
              <a:gd name="T106" fmla="*/ 72 w 147"/>
              <a:gd name="T107" fmla="*/ 219 h 225"/>
              <a:gd name="T108" fmla="*/ 62 w 147"/>
              <a:gd name="T109" fmla="*/ 216 h 225"/>
              <a:gd name="T110" fmla="*/ 53 w 147"/>
              <a:gd name="T111" fmla="*/ 219 h 225"/>
              <a:gd name="T112" fmla="*/ 50 w 147"/>
              <a:gd name="T113" fmla="*/ 219 h 225"/>
              <a:gd name="T114" fmla="*/ 25 w 147"/>
              <a:gd name="T115" fmla="*/ 219 h 225"/>
              <a:gd name="T116" fmla="*/ 22 w 147"/>
              <a:gd name="T117" fmla="*/ 213 h 225"/>
              <a:gd name="T118" fmla="*/ 19 w 147"/>
              <a:gd name="T119" fmla="*/ 194 h 225"/>
              <a:gd name="T120" fmla="*/ 19 w 147"/>
              <a:gd name="T121" fmla="*/ 181 h 225"/>
              <a:gd name="T122" fmla="*/ 6 w 147"/>
              <a:gd name="T123" fmla="*/ 181 h 225"/>
              <a:gd name="T124" fmla="*/ 0 w 147"/>
              <a:gd name="T125" fmla="*/ 169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7" h="225">
                <a:moveTo>
                  <a:pt x="0" y="169"/>
                </a:moveTo>
                <a:lnTo>
                  <a:pt x="0" y="166"/>
                </a:lnTo>
                <a:lnTo>
                  <a:pt x="3" y="159"/>
                </a:lnTo>
                <a:lnTo>
                  <a:pt x="6" y="156"/>
                </a:lnTo>
                <a:lnTo>
                  <a:pt x="6" y="150"/>
                </a:lnTo>
                <a:lnTo>
                  <a:pt x="6" y="147"/>
                </a:lnTo>
                <a:lnTo>
                  <a:pt x="6" y="147"/>
                </a:lnTo>
                <a:lnTo>
                  <a:pt x="6" y="144"/>
                </a:lnTo>
                <a:lnTo>
                  <a:pt x="9" y="141"/>
                </a:lnTo>
                <a:lnTo>
                  <a:pt x="15" y="137"/>
                </a:lnTo>
                <a:lnTo>
                  <a:pt x="15" y="134"/>
                </a:lnTo>
                <a:lnTo>
                  <a:pt x="22" y="131"/>
                </a:lnTo>
                <a:lnTo>
                  <a:pt x="22" y="128"/>
                </a:lnTo>
                <a:lnTo>
                  <a:pt x="22" y="125"/>
                </a:lnTo>
                <a:lnTo>
                  <a:pt x="28" y="125"/>
                </a:lnTo>
                <a:lnTo>
                  <a:pt x="28" y="122"/>
                </a:lnTo>
                <a:lnTo>
                  <a:pt x="28" y="122"/>
                </a:lnTo>
                <a:lnTo>
                  <a:pt x="34" y="125"/>
                </a:lnTo>
                <a:lnTo>
                  <a:pt x="37" y="125"/>
                </a:lnTo>
                <a:lnTo>
                  <a:pt x="40" y="128"/>
                </a:lnTo>
                <a:lnTo>
                  <a:pt x="44" y="131"/>
                </a:lnTo>
                <a:lnTo>
                  <a:pt x="47" y="134"/>
                </a:lnTo>
                <a:lnTo>
                  <a:pt x="47" y="134"/>
                </a:lnTo>
                <a:lnTo>
                  <a:pt x="53" y="131"/>
                </a:lnTo>
                <a:lnTo>
                  <a:pt x="56" y="128"/>
                </a:lnTo>
                <a:lnTo>
                  <a:pt x="56" y="125"/>
                </a:lnTo>
                <a:lnTo>
                  <a:pt x="56" y="122"/>
                </a:lnTo>
                <a:lnTo>
                  <a:pt x="59" y="122"/>
                </a:lnTo>
                <a:lnTo>
                  <a:pt x="62" y="119"/>
                </a:lnTo>
                <a:lnTo>
                  <a:pt x="62" y="116"/>
                </a:lnTo>
                <a:lnTo>
                  <a:pt x="62" y="112"/>
                </a:lnTo>
                <a:lnTo>
                  <a:pt x="69" y="106"/>
                </a:lnTo>
                <a:lnTo>
                  <a:pt x="69" y="103"/>
                </a:lnTo>
                <a:lnTo>
                  <a:pt x="69" y="100"/>
                </a:lnTo>
                <a:lnTo>
                  <a:pt x="72" y="97"/>
                </a:lnTo>
                <a:lnTo>
                  <a:pt x="75" y="91"/>
                </a:lnTo>
                <a:lnTo>
                  <a:pt x="81" y="87"/>
                </a:lnTo>
                <a:lnTo>
                  <a:pt x="81" y="84"/>
                </a:lnTo>
                <a:lnTo>
                  <a:pt x="81" y="81"/>
                </a:lnTo>
                <a:lnTo>
                  <a:pt x="81" y="75"/>
                </a:lnTo>
                <a:lnTo>
                  <a:pt x="84" y="72"/>
                </a:lnTo>
                <a:lnTo>
                  <a:pt x="90" y="72"/>
                </a:lnTo>
                <a:lnTo>
                  <a:pt x="94" y="65"/>
                </a:lnTo>
                <a:lnTo>
                  <a:pt x="94" y="62"/>
                </a:lnTo>
                <a:lnTo>
                  <a:pt x="94" y="56"/>
                </a:lnTo>
                <a:lnTo>
                  <a:pt x="94" y="53"/>
                </a:lnTo>
                <a:lnTo>
                  <a:pt x="94" y="50"/>
                </a:lnTo>
                <a:lnTo>
                  <a:pt x="97" y="44"/>
                </a:lnTo>
                <a:lnTo>
                  <a:pt x="100" y="40"/>
                </a:lnTo>
                <a:lnTo>
                  <a:pt x="100" y="40"/>
                </a:lnTo>
                <a:lnTo>
                  <a:pt x="103" y="37"/>
                </a:lnTo>
                <a:lnTo>
                  <a:pt x="106" y="37"/>
                </a:lnTo>
                <a:lnTo>
                  <a:pt x="109" y="34"/>
                </a:lnTo>
                <a:lnTo>
                  <a:pt x="112" y="31"/>
                </a:lnTo>
                <a:lnTo>
                  <a:pt x="115" y="31"/>
                </a:lnTo>
                <a:lnTo>
                  <a:pt x="112" y="25"/>
                </a:lnTo>
                <a:lnTo>
                  <a:pt x="112" y="22"/>
                </a:lnTo>
                <a:lnTo>
                  <a:pt x="112" y="19"/>
                </a:lnTo>
                <a:lnTo>
                  <a:pt x="109" y="19"/>
                </a:lnTo>
                <a:lnTo>
                  <a:pt x="106" y="15"/>
                </a:lnTo>
                <a:lnTo>
                  <a:pt x="106" y="9"/>
                </a:lnTo>
                <a:lnTo>
                  <a:pt x="106" y="6"/>
                </a:lnTo>
                <a:lnTo>
                  <a:pt x="103" y="0"/>
                </a:lnTo>
                <a:lnTo>
                  <a:pt x="112" y="6"/>
                </a:lnTo>
                <a:lnTo>
                  <a:pt x="119" y="9"/>
                </a:lnTo>
                <a:lnTo>
                  <a:pt x="119" y="15"/>
                </a:lnTo>
                <a:lnTo>
                  <a:pt x="122" y="19"/>
                </a:lnTo>
                <a:lnTo>
                  <a:pt x="122" y="22"/>
                </a:lnTo>
                <a:lnTo>
                  <a:pt x="125" y="25"/>
                </a:lnTo>
                <a:lnTo>
                  <a:pt x="125" y="28"/>
                </a:lnTo>
                <a:lnTo>
                  <a:pt x="122" y="31"/>
                </a:lnTo>
                <a:lnTo>
                  <a:pt x="122" y="34"/>
                </a:lnTo>
                <a:lnTo>
                  <a:pt x="125" y="34"/>
                </a:lnTo>
                <a:lnTo>
                  <a:pt x="125" y="40"/>
                </a:lnTo>
                <a:lnTo>
                  <a:pt x="122" y="44"/>
                </a:lnTo>
                <a:lnTo>
                  <a:pt x="122" y="47"/>
                </a:lnTo>
                <a:lnTo>
                  <a:pt x="125" y="53"/>
                </a:lnTo>
                <a:lnTo>
                  <a:pt x="128" y="53"/>
                </a:lnTo>
                <a:lnTo>
                  <a:pt x="128" y="56"/>
                </a:lnTo>
                <a:lnTo>
                  <a:pt x="134" y="62"/>
                </a:lnTo>
                <a:lnTo>
                  <a:pt x="134" y="62"/>
                </a:lnTo>
                <a:lnTo>
                  <a:pt x="134" y="62"/>
                </a:lnTo>
                <a:lnTo>
                  <a:pt x="131" y="62"/>
                </a:lnTo>
                <a:lnTo>
                  <a:pt x="128" y="62"/>
                </a:lnTo>
                <a:lnTo>
                  <a:pt x="125" y="62"/>
                </a:lnTo>
                <a:lnTo>
                  <a:pt x="122" y="62"/>
                </a:lnTo>
                <a:lnTo>
                  <a:pt x="119" y="62"/>
                </a:lnTo>
                <a:lnTo>
                  <a:pt x="115" y="62"/>
                </a:lnTo>
                <a:lnTo>
                  <a:pt x="112" y="62"/>
                </a:lnTo>
                <a:lnTo>
                  <a:pt x="109" y="62"/>
                </a:lnTo>
                <a:lnTo>
                  <a:pt x="106" y="62"/>
                </a:lnTo>
                <a:lnTo>
                  <a:pt x="106" y="65"/>
                </a:lnTo>
                <a:lnTo>
                  <a:pt x="106" y="65"/>
                </a:lnTo>
                <a:lnTo>
                  <a:pt x="106" y="72"/>
                </a:lnTo>
                <a:lnTo>
                  <a:pt x="106" y="72"/>
                </a:lnTo>
                <a:lnTo>
                  <a:pt x="109" y="75"/>
                </a:lnTo>
                <a:lnTo>
                  <a:pt x="109" y="75"/>
                </a:lnTo>
                <a:lnTo>
                  <a:pt x="112" y="78"/>
                </a:lnTo>
                <a:lnTo>
                  <a:pt x="119" y="84"/>
                </a:lnTo>
                <a:lnTo>
                  <a:pt x="128" y="91"/>
                </a:lnTo>
                <a:lnTo>
                  <a:pt x="131" y="94"/>
                </a:lnTo>
                <a:lnTo>
                  <a:pt x="134" y="100"/>
                </a:lnTo>
                <a:lnTo>
                  <a:pt x="137" y="103"/>
                </a:lnTo>
                <a:lnTo>
                  <a:pt x="137" y="109"/>
                </a:lnTo>
                <a:lnTo>
                  <a:pt x="134" y="112"/>
                </a:lnTo>
                <a:lnTo>
                  <a:pt x="131" y="116"/>
                </a:lnTo>
                <a:lnTo>
                  <a:pt x="128" y="119"/>
                </a:lnTo>
                <a:lnTo>
                  <a:pt x="125" y="125"/>
                </a:lnTo>
                <a:lnTo>
                  <a:pt x="122" y="131"/>
                </a:lnTo>
                <a:lnTo>
                  <a:pt x="119" y="134"/>
                </a:lnTo>
                <a:lnTo>
                  <a:pt x="115" y="137"/>
                </a:lnTo>
                <a:lnTo>
                  <a:pt x="115" y="141"/>
                </a:lnTo>
                <a:lnTo>
                  <a:pt x="115" y="144"/>
                </a:lnTo>
                <a:lnTo>
                  <a:pt x="115" y="150"/>
                </a:lnTo>
                <a:lnTo>
                  <a:pt x="115" y="153"/>
                </a:lnTo>
                <a:lnTo>
                  <a:pt x="119" y="159"/>
                </a:lnTo>
                <a:lnTo>
                  <a:pt x="119" y="162"/>
                </a:lnTo>
                <a:lnTo>
                  <a:pt x="119" y="172"/>
                </a:lnTo>
                <a:lnTo>
                  <a:pt x="119" y="172"/>
                </a:lnTo>
                <a:lnTo>
                  <a:pt x="125" y="175"/>
                </a:lnTo>
                <a:lnTo>
                  <a:pt x="128" y="178"/>
                </a:lnTo>
                <a:lnTo>
                  <a:pt x="131" y="184"/>
                </a:lnTo>
                <a:lnTo>
                  <a:pt x="134" y="191"/>
                </a:lnTo>
                <a:lnTo>
                  <a:pt x="137" y="197"/>
                </a:lnTo>
                <a:lnTo>
                  <a:pt x="140" y="197"/>
                </a:lnTo>
                <a:lnTo>
                  <a:pt x="147" y="203"/>
                </a:lnTo>
                <a:lnTo>
                  <a:pt x="147" y="206"/>
                </a:lnTo>
                <a:lnTo>
                  <a:pt x="147" y="209"/>
                </a:lnTo>
                <a:lnTo>
                  <a:pt x="147" y="213"/>
                </a:lnTo>
                <a:lnTo>
                  <a:pt x="147" y="213"/>
                </a:lnTo>
                <a:lnTo>
                  <a:pt x="147" y="213"/>
                </a:lnTo>
                <a:lnTo>
                  <a:pt x="147" y="216"/>
                </a:lnTo>
                <a:lnTo>
                  <a:pt x="144" y="219"/>
                </a:lnTo>
                <a:lnTo>
                  <a:pt x="144" y="219"/>
                </a:lnTo>
                <a:lnTo>
                  <a:pt x="144" y="225"/>
                </a:lnTo>
                <a:lnTo>
                  <a:pt x="144" y="225"/>
                </a:lnTo>
                <a:lnTo>
                  <a:pt x="144" y="225"/>
                </a:lnTo>
                <a:lnTo>
                  <a:pt x="140" y="225"/>
                </a:lnTo>
                <a:lnTo>
                  <a:pt x="140" y="225"/>
                </a:lnTo>
                <a:lnTo>
                  <a:pt x="137" y="225"/>
                </a:lnTo>
                <a:lnTo>
                  <a:pt x="137" y="225"/>
                </a:lnTo>
                <a:lnTo>
                  <a:pt x="134" y="225"/>
                </a:lnTo>
                <a:lnTo>
                  <a:pt x="131" y="225"/>
                </a:lnTo>
                <a:lnTo>
                  <a:pt x="128" y="222"/>
                </a:lnTo>
                <a:lnTo>
                  <a:pt x="128" y="222"/>
                </a:lnTo>
                <a:lnTo>
                  <a:pt x="125" y="222"/>
                </a:lnTo>
                <a:lnTo>
                  <a:pt x="125" y="222"/>
                </a:lnTo>
                <a:lnTo>
                  <a:pt x="122" y="222"/>
                </a:lnTo>
                <a:lnTo>
                  <a:pt x="122" y="222"/>
                </a:lnTo>
                <a:lnTo>
                  <a:pt x="119" y="222"/>
                </a:lnTo>
                <a:lnTo>
                  <a:pt x="115" y="219"/>
                </a:lnTo>
                <a:lnTo>
                  <a:pt x="115" y="219"/>
                </a:lnTo>
                <a:lnTo>
                  <a:pt x="115" y="222"/>
                </a:lnTo>
                <a:lnTo>
                  <a:pt x="112" y="219"/>
                </a:lnTo>
                <a:lnTo>
                  <a:pt x="87" y="219"/>
                </a:lnTo>
                <a:lnTo>
                  <a:pt x="84" y="219"/>
                </a:lnTo>
                <a:lnTo>
                  <a:pt x="84" y="219"/>
                </a:lnTo>
                <a:lnTo>
                  <a:pt x="84" y="219"/>
                </a:lnTo>
                <a:lnTo>
                  <a:pt x="78" y="219"/>
                </a:lnTo>
                <a:lnTo>
                  <a:pt x="78" y="216"/>
                </a:lnTo>
                <a:lnTo>
                  <a:pt x="75" y="216"/>
                </a:lnTo>
                <a:lnTo>
                  <a:pt x="72" y="219"/>
                </a:lnTo>
                <a:lnTo>
                  <a:pt x="69" y="216"/>
                </a:lnTo>
                <a:lnTo>
                  <a:pt x="62" y="216"/>
                </a:lnTo>
                <a:lnTo>
                  <a:pt x="62" y="216"/>
                </a:lnTo>
                <a:lnTo>
                  <a:pt x="56" y="216"/>
                </a:lnTo>
                <a:lnTo>
                  <a:pt x="56" y="219"/>
                </a:lnTo>
                <a:lnTo>
                  <a:pt x="53" y="219"/>
                </a:lnTo>
                <a:lnTo>
                  <a:pt x="50" y="219"/>
                </a:lnTo>
                <a:lnTo>
                  <a:pt x="50" y="219"/>
                </a:lnTo>
                <a:lnTo>
                  <a:pt x="50" y="219"/>
                </a:lnTo>
                <a:lnTo>
                  <a:pt x="28" y="219"/>
                </a:lnTo>
                <a:lnTo>
                  <a:pt x="25" y="219"/>
                </a:lnTo>
                <a:lnTo>
                  <a:pt x="25" y="219"/>
                </a:lnTo>
                <a:lnTo>
                  <a:pt x="22" y="219"/>
                </a:lnTo>
                <a:lnTo>
                  <a:pt x="25" y="216"/>
                </a:lnTo>
                <a:lnTo>
                  <a:pt x="22" y="213"/>
                </a:lnTo>
                <a:lnTo>
                  <a:pt x="25" y="206"/>
                </a:lnTo>
                <a:lnTo>
                  <a:pt x="22" y="200"/>
                </a:lnTo>
                <a:lnTo>
                  <a:pt x="19" y="194"/>
                </a:lnTo>
                <a:lnTo>
                  <a:pt x="19" y="187"/>
                </a:lnTo>
                <a:lnTo>
                  <a:pt x="22" y="184"/>
                </a:lnTo>
                <a:lnTo>
                  <a:pt x="19" y="181"/>
                </a:lnTo>
                <a:lnTo>
                  <a:pt x="12" y="184"/>
                </a:lnTo>
                <a:lnTo>
                  <a:pt x="9" y="181"/>
                </a:lnTo>
                <a:lnTo>
                  <a:pt x="6" y="181"/>
                </a:lnTo>
                <a:lnTo>
                  <a:pt x="6" y="169"/>
                </a:lnTo>
                <a:lnTo>
                  <a:pt x="3" y="172"/>
                </a:lnTo>
                <a:lnTo>
                  <a:pt x="0" y="16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8" name="Freeform 136">
            <a:extLst>
              <a:ext uri="{FF2B5EF4-FFF2-40B4-BE49-F238E27FC236}">
                <a16:creationId xmlns:a16="http://schemas.microsoft.com/office/drawing/2014/main" id="{5750FE4B-144F-4393-8D4B-31B30F8722CB}"/>
              </a:ext>
            </a:extLst>
          </p:cNvPr>
          <p:cNvSpPr>
            <a:spLocks/>
          </p:cNvSpPr>
          <p:nvPr userDrawn="1"/>
        </p:nvSpPr>
        <p:spPr bwMode="auto">
          <a:xfrm>
            <a:off x="13705578" y="9238533"/>
            <a:ext cx="355577" cy="387350"/>
          </a:xfrm>
          <a:custGeom>
            <a:avLst/>
            <a:gdLst>
              <a:gd name="T0" fmla="*/ 50 w 112"/>
              <a:gd name="T1" fmla="*/ 3 h 122"/>
              <a:gd name="T2" fmla="*/ 56 w 112"/>
              <a:gd name="T3" fmla="*/ 3 h 122"/>
              <a:gd name="T4" fmla="*/ 62 w 112"/>
              <a:gd name="T5" fmla="*/ 0 h 122"/>
              <a:gd name="T6" fmla="*/ 69 w 112"/>
              <a:gd name="T7" fmla="*/ 0 h 122"/>
              <a:gd name="T8" fmla="*/ 75 w 112"/>
              <a:gd name="T9" fmla="*/ 0 h 122"/>
              <a:gd name="T10" fmla="*/ 78 w 112"/>
              <a:gd name="T11" fmla="*/ 3 h 122"/>
              <a:gd name="T12" fmla="*/ 84 w 112"/>
              <a:gd name="T13" fmla="*/ 3 h 122"/>
              <a:gd name="T14" fmla="*/ 87 w 112"/>
              <a:gd name="T15" fmla="*/ 3 h 122"/>
              <a:gd name="T16" fmla="*/ 84 w 112"/>
              <a:gd name="T17" fmla="*/ 6 h 122"/>
              <a:gd name="T18" fmla="*/ 87 w 112"/>
              <a:gd name="T19" fmla="*/ 15 h 122"/>
              <a:gd name="T20" fmla="*/ 87 w 112"/>
              <a:gd name="T21" fmla="*/ 22 h 122"/>
              <a:gd name="T22" fmla="*/ 90 w 112"/>
              <a:gd name="T23" fmla="*/ 22 h 122"/>
              <a:gd name="T24" fmla="*/ 100 w 112"/>
              <a:gd name="T25" fmla="*/ 22 h 122"/>
              <a:gd name="T26" fmla="*/ 109 w 112"/>
              <a:gd name="T27" fmla="*/ 18 h 122"/>
              <a:gd name="T28" fmla="*/ 112 w 112"/>
              <a:gd name="T29" fmla="*/ 25 h 122"/>
              <a:gd name="T30" fmla="*/ 112 w 112"/>
              <a:gd name="T31" fmla="*/ 31 h 122"/>
              <a:gd name="T32" fmla="*/ 109 w 112"/>
              <a:gd name="T33" fmla="*/ 34 h 122"/>
              <a:gd name="T34" fmla="*/ 103 w 112"/>
              <a:gd name="T35" fmla="*/ 40 h 122"/>
              <a:gd name="T36" fmla="*/ 106 w 112"/>
              <a:gd name="T37" fmla="*/ 43 h 122"/>
              <a:gd name="T38" fmla="*/ 103 w 112"/>
              <a:gd name="T39" fmla="*/ 47 h 122"/>
              <a:gd name="T40" fmla="*/ 100 w 112"/>
              <a:gd name="T41" fmla="*/ 47 h 122"/>
              <a:gd name="T42" fmla="*/ 103 w 112"/>
              <a:gd name="T43" fmla="*/ 50 h 122"/>
              <a:gd name="T44" fmla="*/ 106 w 112"/>
              <a:gd name="T45" fmla="*/ 53 h 122"/>
              <a:gd name="T46" fmla="*/ 109 w 112"/>
              <a:gd name="T47" fmla="*/ 59 h 122"/>
              <a:gd name="T48" fmla="*/ 112 w 112"/>
              <a:gd name="T49" fmla="*/ 65 h 122"/>
              <a:gd name="T50" fmla="*/ 106 w 112"/>
              <a:gd name="T51" fmla="*/ 87 h 122"/>
              <a:gd name="T52" fmla="*/ 106 w 112"/>
              <a:gd name="T53" fmla="*/ 93 h 122"/>
              <a:gd name="T54" fmla="*/ 103 w 112"/>
              <a:gd name="T55" fmla="*/ 90 h 122"/>
              <a:gd name="T56" fmla="*/ 94 w 112"/>
              <a:gd name="T57" fmla="*/ 90 h 122"/>
              <a:gd name="T58" fmla="*/ 90 w 112"/>
              <a:gd name="T59" fmla="*/ 90 h 122"/>
              <a:gd name="T60" fmla="*/ 81 w 112"/>
              <a:gd name="T61" fmla="*/ 90 h 122"/>
              <a:gd name="T62" fmla="*/ 75 w 112"/>
              <a:gd name="T63" fmla="*/ 81 h 122"/>
              <a:gd name="T64" fmla="*/ 75 w 112"/>
              <a:gd name="T65" fmla="*/ 87 h 122"/>
              <a:gd name="T66" fmla="*/ 65 w 112"/>
              <a:gd name="T67" fmla="*/ 90 h 122"/>
              <a:gd name="T68" fmla="*/ 62 w 112"/>
              <a:gd name="T69" fmla="*/ 93 h 122"/>
              <a:gd name="T70" fmla="*/ 56 w 112"/>
              <a:gd name="T71" fmla="*/ 93 h 122"/>
              <a:gd name="T72" fmla="*/ 50 w 112"/>
              <a:gd name="T73" fmla="*/ 97 h 122"/>
              <a:gd name="T74" fmla="*/ 53 w 112"/>
              <a:gd name="T75" fmla="*/ 103 h 122"/>
              <a:gd name="T76" fmla="*/ 59 w 112"/>
              <a:gd name="T77" fmla="*/ 100 h 122"/>
              <a:gd name="T78" fmla="*/ 62 w 112"/>
              <a:gd name="T79" fmla="*/ 103 h 122"/>
              <a:gd name="T80" fmla="*/ 62 w 112"/>
              <a:gd name="T81" fmla="*/ 119 h 122"/>
              <a:gd name="T82" fmla="*/ 56 w 112"/>
              <a:gd name="T83" fmla="*/ 112 h 122"/>
              <a:gd name="T84" fmla="*/ 53 w 112"/>
              <a:gd name="T85" fmla="*/ 115 h 122"/>
              <a:gd name="T86" fmla="*/ 50 w 112"/>
              <a:gd name="T87" fmla="*/ 119 h 122"/>
              <a:gd name="T88" fmla="*/ 47 w 112"/>
              <a:gd name="T89" fmla="*/ 122 h 122"/>
              <a:gd name="T90" fmla="*/ 40 w 112"/>
              <a:gd name="T91" fmla="*/ 119 h 122"/>
              <a:gd name="T92" fmla="*/ 31 w 112"/>
              <a:gd name="T93" fmla="*/ 109 h 122"/>
              <a:gd name="T94" fmla="*/ 19 w 112"/>
              <a:gd name="T95" fmla="*/ 97 h 122"/>
              <a:gd name="T96" fmla="*/ 15 w 112"/>
              <a:gd name="T97" fmla="*/ 90 h 122"/>
              <a:gd name="T98" fmla="*/ 9 w 112"/>
              <a:gd name="T99" fmla="*/ 84 h 122"/>
              <a:gd name="T100" fmla="*/ 6 w 112"/>
              <a:gd name="T101" fmla="*/ 75 h 122"/>
              <a:gd name="T102" fmla="*/ 3 w 112"/>
              <a:gd name="T103" fmla="*/ 68 h 122"/>
              <a:gd name="T104" fmla="*/ 0 w 112"/>
              <a:gd name="T105" fmla="*/ 59 h 122"/>
              <a:gd name="T106" fmla="*/ 9 w 112"/>
              <a:gd name="T107" fmla="*/ 56 h 122"/>
              <a:gd name="T108" fmla="*/ 9 w 112"/>
              <a:gd name="T109" fmla="*/ 40 h 122"/>
              <a:gd name="T110" fmla="*/ 22 w 112"/>
              <a:gd name="T111" fmla="*/ 40 h 122"/>
              <a:gd name="T112" fmla="*/ 12 w 112"/>
              <a:gd name="T113" fmla="*/ 34 h 122"/>
              <a:gd name="T114" fmla="*/ 15 w 112"/>
              <a:gd name="T115" fmla="*/ 28 h 122"/>
              <a:gd name="T116" fmla="*/ 19 w 112"/>
              <a:gd name="T117" fmla="*/ 25 h 122"/>
              <a:gd name="T118" fmla="*/ 25 w 112"/>
              <a:gd name="T119" fmla="*/ 28 h 122"/>
              <a:gd name="T120" fmla="*/ 50 w 112"/>
              <a:gd name="T121" fmla="*/ 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2" h="122">
                <a:moveTo>
                  <a:pt x="50" y="3"/>
                </a:moveTo>
                <a:lnTo>
                  <a:pt x="50" y="3"/>
                </a:lnTo>
                <a:lnTo>
                  <a:pt x="53" y="3"/>
                </a:lnTo>
                <a:lnTo>
                  <a:pt x="56" y="3"/>
                </a:lnTo>
                <a:lnTo>
                  <a:pt x="56" y="0"/>
                </a:lnTo>
                <a:lnTo>
                  <a:pt x="62" y="0"/>
                </a:lnTo>
                <a:lnTo>
                  <a:pt x="62" y="0"/>
                </a:lnTo>
                <a:lnTo>
                  <a:pt x="69" y="0"/>
                </a:lnTo>
                <a:lnTo>
                  <a:pt x="72" y="3"/>
                </a:lnTo>
                <a:lnTo>
                  <a:pt x="75" y="0"/>
                </a:lnTo>
                <a:lnTo>
                  <a:pt x="78" y="0"/>
                </a:lnTo>
                <a:lnTo>
                  <a:pt x="78" y="3"/>
                </a:lnTo>
                <a:lnTo>
                  <a:pt x="84" y="3"/>
                </a:lnTo>
                <a:lnTo>
                  <a:pt x="84" y="3"/>
                </a:lnTo>
                <a:lnTo>
                  <a:pt x="84" y="3"/>
                </a:lnTo>
                <a:lnTo>
                  <a:pt x="87" y="3"/>
                </a:lnTo>
                <a:lnTo>
                  <a:pt x="87" y="3"/>
                </a:lnTo>
                <a:lnTo>
                  <a:pt x="84" y="6"/>
                </a:lnTo>
                <a:lnTo>
                  <a:pt x="87" y="12"/>
                </a:lnTo>
                <a:lnTo>
                  <a:pt x="87" y="15"/>
                </a:lnTo>
                <a:lnTo>
                  <a:pt x="87" y="18"/>
                </a:lnTo>
                <a:lnTo>
                  <a:pt x="87" y="22"/>
                </a:lnTo>
                <a:lnTo>
                  <a:pt x="87" y="22"/>
                </a:lnTo>
                <a:lnTo>
                  <a:pt x="90" y="22"/>
                </a:lnTo>
                <a:lnTo>
                  <a:pt x="94" y="22"/>
                </a:lnTo>
                <a:lnTo>
                  <a:pt x="100" y="22"/>
                </a:lnTo>
                <a:lnTo>
                  <a:pt x="103" y="18"/>
                </a:lnTo>
                <a:lnTo>
                  <a:pt x="109" y="18"/>
                </a:lnTo>
                <a:lnTo>
                  <a:pt x="112" y="22"/>
                </a:lnTo>
                <a:lnTo>
                  <a:pt x="112" y="25"/>
                </a:lnTo>
                <a:lnTo>
                  <a:pt x="109" y="28"/>
                </a:lnTo>
                <a:lnTo>
                  <a:pt x="112" y="31"/>
                </a:lnTo>
                <a:lnTo>
                  <a:pt x="112" y="34"/>
                </a:lnTo>
                <a:lnTo>
                  <a:pt x="109" y="34"/>
                </a:lnTo>
                <a:lnTo>
                  <a:pt x="103" y="37"/>
                </a:lnTo>
                <a:lnTo>
                  <a:pt x="103" y="40"/>
                </a:lnTo>
                <a:lnTo>
                  <a:pt x="103" y="40"/>
                </a:lnTo>
                <a:lnTo>
                  <a:pt x="106" y="43"/>
                </a:lnTo>
                <a:lnTo>
                  <a:pt x="103" y="43"/>
                </a:lnTo>
                <a:lnTo>
                  <a:pt x="103" y="47"/>
                </a:lnTo>
                <a:lnTo>
                  <a:pt x="100" y="47"/>
                </a:lnTo>
                <a:lnTo>
                  <a:pt x="100" y="47"/>
                </a:lnTo>
                <a:lnTo>
                  <a:pt x="103" y="50"/>
                </a:lnTo>
                <a:lnTo>
                  <a:pt x="103" y="50"/>
                </a:lnTo>
                <a:lnTo>
                  <a:pt x="106" y="53"/>
                </a:lnTo>
                <a:lnTo>
                  <a:pt x="106" y="53"/>
                </a:lnTo>
                <a:lnTo>
                  <a:pt x="109" y="56"/>
                </a:lnTo>
                <a:lnTo>
                  <a:pt x="109" y="59"/>
                </a:lnTo>
                <a:lnTo>
                  <a:pt x="112" y="62"/>
                </a:lnTo>
                <a:lnTo>
                  <a:pt x="112" y="65"/>
                </a:lnTo>
                <a:lnTo>
                  <a:pt x="109" y="72"/>
                </a:lnTo>
                <a:lnTo>
                  <a:pt x="106" y="87"/>
                </a:lnTo>
                <a:lnTo>
                  <a:pt x="106" y="90"/>
                </a:lnTo>
                <a:lnTo>
                  <a:pt x="106" y="93"/>
                </a:lnTo>
                <a:lnTo>
                  <a:pt x="103" y="93"/>
                </a:lnTo>
                <a:lnTo>
                  <a:pt x="103" y="90"/>
                </a:lnTo>
                <a:lnTo>
                  <a:pt x="100" y="90"/>
                </a:lnTo>
                <a:lnTo>
                  <a:pt x="94" y="90"/>
                </a:lnTo>
                <a:lnTo>
                  <a:pt x="94" y="90"/>
                </a:lnTo>
                <a:lnTo>
                  <a:pt x="90" y="90"/>
                </a:lnTo>
                <a:lnTo>
                  <a:pt x="84" y="93"/>
                </a:lnTo>
                <a:lnTo>
                  <a:pt x="81" y="90"/>
                </a:lnTo>
                <a:lnTo>
                  <a:pt x="78" y="81"/>
                </a:lnTo>
                <a:lnTo>
                  <a:pt x="75" y="81"/>
                </a:lnTo>
                <a:lnTo>
                  <a:pt x="75" y="84"/>
                </a:lnTo>
                <a:lnTo>
                  <a:pt x="75" y="87"/>
                </a:lnTo>
                <a:lnTo>
                  <a:pt x="75" y="90"/>
                </a:lnTo>
                <a:lnTo>
                  <a:pt x="65" y="90"/>
                </a:lnTo>
                <a:lnTo>
                  <a:pt x="62" y="90"/>
                </a:lnTo>
                <a:lnTo>
                  <a:pt x="62" y="93"/>
                </a:lnTo>
                <a:lnTo>
                  <a:pt x="59" y="93"/>
                </a:lnTo>
                <a:lnTo>
                  <a:pt x="56" y="93"/>
                </a:lnTo>
                <a:lnTo>
                  <a:pt x="53" y="93"/>
                </a:lnTo>
                <a:lnTo>
                  <a:pt x="50" y="97"/>
                </a:lnTo>
                <a:lnTo>
                  <a:pt x="53" y="97"/>
                </a:lnTo>
                <a:lnTo>
                  <a:pt x="53" y="103"/>
                </a:lnTo>
                <a:lnTo>
                  <a:pt x="56" y="100"/>
                </a:lnTo>
                <a:lnTo>
                  <a:pt x="59" y="100"/>
                </a:lnTo>
                <a:lnTo>
                  <a:pt x="59" y="103"/>
                </a:lnTo>
                <a:lnTo>
                  <a:pt x="62" y="103"/>
                </a:lnTo>
                <a:lnTo>
                  <a:pt x="62" y="115"/>
                </a:lnTo>
                <a:lnTo>
                  <a:pt x="62" y="119"/>
                </a:lnTo>
                <a:lnTo>
                  <a:pt x="59" y="112"/>
                </a:lnTo>
                <a:lnTo>
                  <a:pt x="56" y="112"/>
                </a:lnTo>
                <a:lnTo>
                  <a:pt x="56" y="115"/>
                </a:lnTo>
                <a:lnTo>
                  <a:pt x="53" y="115"/>
                </a:lnTo>
                <a:lnTo>
                  <a:pt x="50" y="115"/>
                </a:lnTo>
                <a:lnTo>
                  <a:pt x="50" y="119"/>
                </a:lnTo>
                <a:lnTo>
                  <a:pt x="47" y="122"/>
                </a:lnTo>
                <a:lnTo>
                  <a:pt x="47" y="122"/>
                </a:lnTo>
                <a:lnTo>
                  <a:pt x="44" y="122"/>
                </a:lnTo>
                <a:lnTo>
                  <a:pt x="40" y="119"/>
                </a:lnTo>
                <a:lnTo>
                  <a:pt x="34" y="115"/>
                </a:lnTo>
                <a:lnTo>
                  <a:pt x="31" y="109"/>
                </a:lnTo>
                <a:lnTo>
                  <a:pt x="25" y="103"/>
                </a:lnTo>
                <a:lnTo>
                  <a:pt x="19" y="97"/>
                </a:lnTo>
                <a:lnTo>
                  <a:pt x="19" y="97"/>
                </a:lnTo>
                <a:lnTo>
                  <a:pt x="15" y="90"/>
                </a:lnTo>
                <a:lnTo>
                  <a:pt x="12" y="87"/>
                </a:lnTo>
                <a:lnTo>
                  <a:pt x="9" y="84"/>
                </a:lnTo>
                <a:lnTo>
                  <a:pt x="9" y="78"/>
                </a:lnTo>
                <a:lnTo>
                  <a:pt x="6" y="75"/>
                </a:lnTo>
                <a:lnTo>
                  <a:pt x="6" y="72"/>
                </a:lnTo>
                <a:lnTo>
                  <a:pt x="3" y="68"/>
                </a:lnTo>
                <a:lnTo>
                  <a:pt x="0" y="59"/>
                </a:lnTo>
                <a:lnTo>
                  <a:pt x="0" y="59"/>
                </a:lnTo>
                <a:lnTo>
                  <a:pt x="6" y="59"/>
                </a:lnTo>
                <a:lnTo>
                  <a:pt x="9" y="56"/>
                </a:lnTo>
                <a:lnTo>
                  <a:pt x="9" y="47"/>
                </a:lnTo>
                <a:lnTo>
                  <a:pt x="9" y="40"/>
                </a:lnTo>
                <a:lnTo>
                  <a:pt x="12" y="43"/>
                </a:lnTo>
                <a:lnTo>
                  <a:pt x="22" y="40"/>
                </a:lnTo>
                <a:lnTo>
                  <a:pt x="15" y="40"/>
                </a:lnTo>
                <a:lnTo>
                  <a:pt x="12" y="34"/>
                </a:lnTo>
                <a:lnTo>
                  <a:pt x="15" y="31"/>
                </a:lnTo>
                <a:lnTo>
                  <a:pt x="15" y="28"/>
                </a:lnTo>
                <a:lnTo>
                  <a:pt x="19" y="28"/>
                </a:lnTo>
                <a:lnTo>
                  <a:pt x="19" y="25"/>
                </a:lnTo>
                <a:lnTo>
                  <a:pt x="22" y="25"/>
                </a:lnTo>
                <a:lnTo>
                  <a:pt x="25" y="28"/>
                </a:lnTo>
                <a:lnTo>
                  <a:pt x="50" y="28"/>
                </a:lnTo>
                <a:lnTo>
                  <a:pt x="50" y="3"/>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9" name="Freeform 137">
            <a:extLst>
              <a:ext uri="{FF2B5EF4-FFF2-40B4-BE49-F238E27FC236}">
                <a16:creationId xmlns:a16="http://schemas.microsoft.com/office/drawing/2014/main" id="{23A3A45C-16CF-0185-40AF-0A7FB1AE0688}"/>
              </a:ext>
            </a:extLst>
          </p:cNvPr>
          <p:cNvSpPr>
            <a:spLocks/>
          </p:cNvSpPr>
          <p:nvPr userDrawn="1"/>
        </p:nvSpPr>
        <p:spPr bwMode="auto">
          <a:xfrm>
            <a:off x="13734152" y="9248056"/>
            <a:ext cx="130168" cy="79376"/>
          </a:xfrm>
          <a:custGeom>
            <a:avLst/>
            <a:gdLst>
              <a:gd name="T0" fmla="*/ 6 w 41"/>
              <a:gd name="T1" fmla="*/ 25 h 25"/>
              <a:gd name="T2" fmla="*/ 10 w 41"/>
              <a:gd name="T3" fmla="*/ 25 h 25"/>
              <a:gd name="T4" fmla="*/ 10 w 41"/>
              <a:gd name="T5" fmla="*/ 22 h 25"/>
              <a:gd name="T6" fmla="*/ 13 w 41"/>
              <a:gd name="T7" fmla="*/ 22 h 25"/>
              <a:gd name="T8" fmla="*/ 16 w 41"/>
              <a:gd name="T9" fmla="*/ 25 h 25"/>
              <a:gd name="T10" fmla="*/ 41 w 41"/>
              <a:gd name="T11" fmla="*/ 25 h 25"/>
              <a:gd name="T12" fmla="*/ 41 w 41"/>
              <a:gd name="T13" fmla="*/ 0 h 25"/>
              <a:gd name="T14" fmla="*/ 19 w 41"/>
              <a:gd name="T15" fmla="*/ 0 h 25"/>
              <a:gd name="T16" fmla="*/ 16 w 41"/>
              <a:gd name="T17" fmla="*/ 0 h 25"/>
              <a:gd name="T18" fmla="*/ 16 w 41"/>
              <a:gd name="T19" fmla="*/ 0 h 25"/>
              <a:gd name="T20" fmla="*/ 13 w 41"/>
              <a:gd name="T21" fmla="*/ 0 h 25"/>
              <a:gd name="T22" fmla="*/ 10 w 41"/>
              <a:gd name="T23" fmla="*/ 0 h 25"/>
              <a:gd name="T24" fmla="*/ 13 w 41"/>
              <a:gd name="T25" fmla="*/ 3 h 25"/>
              <a:gd name="T26" fmla="*/ 6 w 41"/>
              <a:gd name="T27" fmla="*/ 12 h 25"/>
              <a:gd name="T28" fmla="*/ 0 w 41"/>
              <a:gd name="T29" fmla="*/ 22 h 25"/>
              <a:gd name="T30" fmla="*/ 6 w 41"/>
              <a:gd name="T31" fmla="*/ 22 h 25"/>
              <a:gd name="T32" fmla="*/ 6 w 41"/>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 h="25">
                <a:moveTo>
                  <a:pt x="6" y="25"/>
                </a:moveTo>
                <a:lnTo>
                  <a:pt x="10" y="25"/>
                </a:lnTo>
                <a:lnTo>
                  <a:pt x="10" y="22"/>
                </a:lnTo>
                <a:lnTo>
                  <a:pt x="13" y="22"/>
                </a:lnTo>
                <a:lnTo>
                  <a:pt x="16" y="25"/>
                </a:lnTo>
                <a:lnTo>
                  <a:pt x="41" y="25"/>
                </a:lnTo>
                <a:lnTo>
                  <a:pt x="41" y="0"/>
                </a:lnTo>
                <a:lnTo>
                  <a:pt x="19" y="0"/>
                </a:lnTo>
                <a:lnTo>
                  <a:pt x="16" y="0"/>
                </a:lnTo>
                <a:lnTo>
                  <a:pt x="16" y="0"/>
                </a:lnTo>
                <a:lnTo>
                  <a:pt x="13" y="0"/>
                </a:lnTo>
                <a:lnTo>
                  <a:pt x="10" y="0"/>
                </a:lnTo>
                <a:lnTo>
                  <a:pt x="13" y="3"/>
                </a:lnTo>
                <a:lnTo>
                  <a:pt x="6" y="12"/>
                </a:lnTo>
                <a:lnTo>
                  <a:pt x="0" y="22"/>
                </a:lnTo>
                <a:lnTo>
                  <a:pt x="6" y="22"/>
                </a:lnTo>
                <a:lnTo>
                  <a:pt x="6" y="25"/>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0" name="Freeform 138">
            <a:extLst>
              <a:ext uri="{FF2B5EF4-FFF2-40B4-BE49-F238E27FC236}">
                <a16:creationId xmlns:a16="http://schemas.microsoft.com/office/drawing/2014/main" id="{3915A2D3-2717-6D12-CE57-80FED6575B36}"/>
              </a:ext>
            </a:extLst>
          </p:cNvPr>
          <p:cNvSpPr>
            <a:spLocks/>
          </p:cNvSpPr>
          <p:nvPr userDrawn="1"/>
        </p:nvSpPr>
        <p:spPr bwMode="auto">
          <a:xfrm>
            <a:off x="13854795" y="9136933"/>
            <a:ext cx="476219" cy="568326"/>
          </a:xfrm>
          <a:custGeom>
            <a:avLst/>
            <a:gdLst>
              <a:gd name="T0" fmla="*/ 3 w 150"/>
              <a:gd name="T1" fmla="*/ 147 h 179"/>
              <a:gd name="T2" fmla="*/ 9 w 150"/>
              <a:gd name="T3" fmla="*/ 144 h 179"/>
              <a:gd name="T4" fmla="*/ 15 w 150"/>
              <a:gd name="T5" fmla="*/ 147 h 179"/>
              <a:gd name="T6" fmla="*/ 12 w 150"/>
              <a:gd name="T7" fmla="*/ 132 h 179"/>
              <a:gd name="T8" fmla="*/ 6 w 150"/>
              <a:gd name="T9" fmla="*/ 129 h 179"/>
              <a:gd name="T10" fmla="*/ 9 w 150"/>
              <a:gd name="T11" fmla="*/ 125 h 179"/>
              <a:gd name="T12" fmla="*/ 15 w 150"/>
              <a:gd name="T13" fmla="*/ 122 h 179"/>
              <a:gd name="T14" fmla="*/ 28 w 150"/>
              <a:gd name="T15" fmla="*/ 119 h 179"/>
              <a:gd name="T16" fmla="*/ 31 w 150"/>
              <a:gd name="T17" fmla="*/ 113 h 179"/>
              <a:gd name="T18" fmla="*/ 43 w 150"/>
              <a:gd name="T19" fmla="*/ 122 h 179"/>
              <a:gd name="T20" fmla="*/ 53 w 150"/>
              <a:gd name="T21" fmla="*/ 122 h 179"/>
              <a:gd name="T22" fmla="*/ 59 w 150"/>
              <a:gd name="T23" fmla="*/ 125 h 179"/>
              <a:gd name="T24" fmla="*/ 62 w 150"/>
              <a:gd name="T25" fmla="*/ 104 h 179"/>
              <a:gd name="T26" fmla="*/ 62 w 150"/>
              <a:gd name="T27" fmla="*/ 91 h 179"/>
              <a:gd name="T28" fmla="*/ 59 w 150"/>
              <a:gd name="T29" fmla="*/ 85 h 179"/>
              <a:gd name="T30" fmla="*/ 53 w 150"/>
              <a:gd name="T31" fmla="*/ 79 h 179"/>
              <a:gd name="T32" fmla="*/ 56 w 150"/>
              <a:gd name="T33" fmla="*/ 75 h 179"/>
              <a:gd name="T34" fmla="*/ 56 w 150"/>
              <a:gd name="T35" fmla="*/ 72 h 179"/>
              <a:gd name="T36" fmla="*/ 65 w 150"/>
              <a:gd name="T37" fmla="*/ 66 h 179"/>
              <a:gd name="T38" fmla="*/ 65 w 150"/>
              <a:gd name="T39" fmla="*/ 57 h 179"/>
              <a:gd name="T40" fmla="*/ 56 w 150"/>
              <a:gd name="T41" fmla="*/ 50 h 179"/>
              <a:gd name="T42" fmla="*/ 43 w 150"/>
              <a:gd name="T43" fmla="*/ 54 h 179"/>
              <a:gd name="T44" fmla="*/ 40 w 150"/>
              <a:gd name="T45" fmla="*/ 50 h 179"/>
              <a:gd name="T46" fmla="*/ 37 w 150"/>
              <a:gd name="T47" fmla="*/ 38 h 179"/>
              <a:gd name="T48" fmla="*/ 68 w 150"/>
              <a:gd name="T49" fmla="*/ 38 h 179"/>
              <a:gd name="T50" fmla="*/ 72 w 150"/>
              <a:gd name="T51" fmla="*/ 38 h 179"/>
              <a:gd name="T52" fmla="*/ 78 w 150"/>
              <a:gd name="T53" fmla="*/ 38 h 179"/>
              <a:gd name="T54" fmla="*/ 81 w 150"/>
              <a:gd name="T55" fmla="*/ 38 h 179"/>
              <a:gd name="T56" fmla="*/ 90 w 150"/>
              <a:gd name="T57" fmla="*/ 41 h 179"/>
              <a:gd name="T58" fmla="*/ 93 w 150"/>
              <a:gd name="T59" fmla="*/ 41 h 179"/>
              <a:gd name="T60" fmla="*/ 97 w 150"/>
              <a:gd name="T61" fmla="*/ 41 h 179"/>
              <a:gd name="T62" fmla="*/ 100 w 150"/>
              <a:gd name="T63" fmla="*/ 32 h 179"/>
              <a:gd name="T64" fmla="*/ 115 w 150"/>
              <a:gd name="T65" fmla="*/ 10 h 179"/>
              <a:gd name="T66" fmla="*/ 128 w 150"/>
              <a:gd name="T67" fmla="*/ 3 h 179"/>
              <a:gd name="T68" fmla="*/ 137 w 150"/>
              <a:gd name="T69" fmla="*/ 0 h 179"/>
              <a:gd name="T70" fmla="*/ 143 w 150"/>
              <a:gd name="T71" fmla="*/ 3 h 179"/>
              <a:gd name="T72" fmla="*/ 147 w 150"/>
              <a:gd name="T73" fmla="*/ 3 h 179"/>
              <a:gd name="T74" fmla="*/ 147 w 150"/>
              <a:gd name="T75" fmla="*/ 19 h 179"/>
              <a:gd name="T76" fmla="*/ 137 w 150"/>
              <a:gd name="T77" fmla="*/ 41 h 179"/>
              <a:gd name="T78" fmla="*/ 134 w 150"/>
              <a:gd name="T79" fmla="*/ 50 h 179"/>
              <a:gd name="T80" fmla="*/ 134 w 150"/>
              <a:gd name="T81" fmla="*/ 66 h 179"/>
              <a:gd name="T82" fmla="*/ 131 w 150"/>
              <a:gd name="T83" fmla="*/ 75 h 179"/>
              <a:gd name="T84" fmla="*/ 122 w 150"/>
              <a:gd name="T85" fmla="*/ 97 h 179"/>
              <a:gd name="T86" fmla="*/ 112 w 150"/>
              <a:gd name="T87" fmla="*/ 100 h 179"/>
              <a:gd name="T88" fmla="*/ 106 w 150"/>
              <a:gd name="T89" fmla="*/ 113 h 179"/>
              <a:gd name="T90" fmla="*/ 97 w 150"/>
              <a:gd name="T91" fmla="*/ 129 h 179"/>
              <a:gd name="T92" fmla="*/ 97 w 150"/>
              <a:gd name="T93" fmla="*/ 147 h 179"/>
              <a:gd name="T94" fmla="*/ 90 w 150"/>
              <a:gd name="T95" fmla="*/ 157 h 179"/>
              <a:gd name="T96" fmla="*/ 78 w 150"/>
              <a:gd name="T97" fmla="*/ 169 h 179"/>
              <a:gd name="T98" fmla="*/ 65 w 150"/>
              <a:gd name="T99" fmla="*/ 172 h 179"/>
              <a:gd name="T100" fmla="*/ 65 w 150"/>
              <a:gd name="T101" fmla="*/ 163 h 179"/>
              <a:gd name="T102" fmla="*/ 56 w 150"/>
              <a:gd name="T103" fmla="*/ 166 h 179"/>
              <a:gd name="T104" fmla="*/ 50 w 150"/>
              <a:gd name="T105" fmla="*/ 172 h 179"/>
              <a:gd name="T106" fmla="*/ 43 w 150"/>
              <a:gd name="T107" fmla="*/ 172 h 179"/>
              <a:gd name="T108" fmla="*/ 37 w 150"/>
              <a:gd name="T109" fmla="*/ 172 h 179"/>
              <a:gd name="T110" fmla="*/ 34 w 150"/>
              <a:gd name="T111" fmla="*/ 166 h 179"/>
              <a:gd name="T112" fmla="*/ 28 w 150"/>
              <a:gd name="T113" fmla="*/ 166 h 179"/>
              <a:gd name="T114" fmla="*/ 22 w 150"/>
              <a:gd name="T115" fmla="*/ 172 h 179"/>
              <a:gd name="T116" fmla="*/ 15 w 150"/>
              <a:gd name="T117" fmla="*/ 179 h 179"/>
              <a:gd name="T118" fmla="*/ 12 w 150"/>
              <a:gd name="T119" fmla="*/ 169 h 179"/>
              <a:gd name="T120" fmla="*/ 3 w 150"/>
              <a:gd name="T121" fmla="*/ 16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179">
                <a:moveTo>
                  <a:pt x="0" y="154"/>
                </a:moveTo>
                <a:lnTo>
                  <a:pt x="3" y="151"/>
                </a:lnTo>
                <a:lnTo>
                  <a:pt x="3" y="147"/>
                </a:lnTo>
                <a:lnTo>
                  <a:pt x="6" y="147"/>
                </a:lnTo>
                <a:lnTo>
                  <a:pt x="9" y="147"/>
                </a:lnTo>
                <a:lnTo>
                  <a:pt x="9" y="144"/>
                </a:lnTo>
                <a:lnTo>
                  <a:pt x="12" y="144"/>
                </a:lnTo>
                <a:lnTo>
                  <a:pt x="15" y="151"/>
                </a:lnTo>
                <a:lnTo>
                  <a:pt x="15" y="147"/>
                </a:lnTo>
                <a:lnTo>
                  <a:pt x="15" y="135"/>
                </a:lnTo>
                <a:lnTo>
                  <a:pt x="12" y="135"/>
                </a:lnTo>
                <a:lnTo>
                  <a:pt x="12" y="132"/>
                </a:lnTo>
                <a:lnTo>
                  <a:pt x="9" y="132"/>
                </a:lnTo>
                <a:lnTo>
                  <a:pt x="6" y="135"/>
                </a:lnTo>
                <a:lnTo>
                  <a:pt x="6" y="129"/>
                </a:lnTo>
                <a:lnTo>
                  <a:pt x="3" y="129"/>
                </a:lnTo>
                <a:lnTo>
                  <a:pt x="6" y="125"/>
                </a:lnTo>
                <a:lnTo>
                  <a:pt x="9" y="125"/>
                </a:lnTo>
                <a:lnTo>
                  <a:pt x="12" y="125"/>
                </a:lnTo>
                <a:lnTo>
                  <a:pt x="15" y="125"/>
                </a:lnTo>
                <a:lnTo>
                  <a:pt x="15" y="122"/>
                </a:lnTo>
                <a:lnTo>
                  <a:pt x="18" y="122"/>
                </a:lnTo>
                <a:lnTo>
                  <a:pt x="28" y="122"/>
                </a:lnTo>
                <a:lnTo>
                  <a:pt x="28" y="119"/>
                </a:lnTo>
                <a:lnTo>
                  <a:pt x="28" y="116"/>
                </a:lnTo>
                <a:lnTo>
                  <a:pt x="28" y="113"/>
                </a:lnTo>
                <a:lnTo>
                  <a:pt x="31" y="113"/>
                </a:lnTo>
                <a:lnTo>
                  <a:pt x="34" y="122"/>
                </a:lnTo>
                <a:lnTo>
                  <a:pt x="37" y="125"/>
                </a:lnTo>
                <a:lnTo>
                  <a:pt x="43" y="122"/>
                </a:lnTo>
                <a:lnTo>
                  <a:pt x="47" y="122"/>
                </a:lnTo>
                <a:lnTo>
                  <a:pt x="47" y="122"/>
                </a:lnTo>
                <a:lnTo>
                  <a:pt x="53" y="122"/>
                </a:lnTo>
                <a:lnTo>
                  <a:pt x="56" y="122"/>
                </a:lnTo>
                <a:lnTo>
                  <a:pt x="56" y="125"/>
                </a:lnTo>
                <a:lnTo>
                  <a:pt x="59" y="125"/>
                </a:lnTo>
                <a:lnTo>
                  <a:pt x="59" y="122"/>
                </a:lnTo>
                <a:lnTo>
                  <a:pt x="59" y="119"/>
                </a:lnTo>
                <a:lnTo>
                  <a:pt x="62" y="104"/>
                </a:lnTo>
                <a:lnTo>
                  <a:pt x="65" y="97"/>
                </a:lnTo>
                <a:lnTo>
                  <a:pt x="65" y="94"/>
                </a:lnTo>
                <a:lnTo>
                  <a:pt x="62" y="91"/>
                </a:lnTo>
                <a:lnTo>
                  <a:pt x="62" y="88"/>
                </a:lnTo>
                <a:lnTo>
                  <a:pt x="59" y="85"/>
                </a:lnTo>
                <a:lnTo>
                  <a:pt x="59" y="85"/>
                </a:lnTo>
                <a:lnTo>
                  <a:pt x="56" y="82"/>
                </a:lnTo>
                <a:lnTo>
                  <a:pt x="56" y="82"/>
                </a:lnTo>
                <a:lnTo>
                  <a:pt x="53" y="79"/>
                </a:lnTo>
                <a:lnTo>
                  <a:pt x="53" y="79"/>
                </a:lnTo>
                <a:lnTo>
                  <a:pt x="56" y="79"/>
                </a:lnTo>
                <a:lnTo>
                  <a:pt x="56" y="75"/>
                </a:lnTo>
                <a:lnTo>
                  <a:pt x="59" y="75"/>
                </a:lnTo>
                <a:lnTo>
                  <a:pt x="56" y="72"/>
                </a:lnTo>
                <a:lnTo>
                  <a:pt x="56" y="72"/>
                </a:lnTo>
                <a:lnTo>
                  <a:pt x="56" y="69"/>
                </a:lnTo>
                <a:lnTo>
                  <a:pt x="62" y="66"/>
                </a:lnTo>
                <a:lnTo>
                  <a:pt x="65" y="66"/>
                </a:lnTo>
                <a:lnTo>
                  <a:pt x="65" y="63"/>
                </a:lnTo>
                <a:lnTo>
                  <a:pt x="62" y="60"/>
                </a:lnTo>
                <a:lnTo>
                  <a:pt x="65" y="57"/>
                </a:lnTo>
                <a:lnTo>
                  <a:pt x="65" y="54"/>
                </a:lnTo>
                <a:lnTo>
                  <a:pt x="62" y="50"/>
                </a:lnTo>
                <a:lnTo>
                  <a:pt x="56" y="50"/>
                </a:lnTo>
                <a:lnTo>
                  <a:pt x="53" y="54"/>
                </a:lnTo>
                <a:lnTo>
                  <a:pt x="47" y="54"/>
                </a:lnTo>
                <a:lnTo>
                  <a:pt x="43" y="54"/>
                </a:lnTo>
                <a:lnTo>
                  <a:pt x="40" y="54"/>
                </a:lnTo>
                <a:lnTo>
                  <a:pt x="40" y="54"/>
                </a:lnTo>
                <a:lnTo>
                  <a:pt x="40" y="50"/>
                </a:lnTo>
                <a:lnTo>
                  <a:pt x="40" y="47"/>
                </a:lnTo>
                <a:lnTo>
                  <a:pt x="40" y="44"/>
                </a:lnTo>
                <a:lnTo>
                  <a:pt x="37" y="38"/>
                </a:lnTo>
                <a:lnTo>
                  <a:pt x="40" y="35"/>
                </a:lnTo>
                <a:lnTo>
                  <a:pt x="65" y="35"/>
                </a:lnTo>
                <a:lnTo>
                  <a:pt x="68" y="38"/>
                </a:lnTo>
                <a:lnTo>
                  <a:pt x="68" y="35"/>
                </a:lnTo>
                <a:lnTo>
                  <a:pt x="68" y="35"/>
                </a:lnTo>
                <a:lnTo>
                  <a:pt x="72" y="38"/>
                </a:lnTo>
                <a:lnTo>
                  <a:pt x="75" y="38"/>
                </a:lnTo>
                <a:lnTo>
                  <a:pt x="75" y="38"/>
                </a:lnTo>
                <a:lnTo>
                  <a:pt x="78" y="38"/>
                </a:lnTo>
                <a:lnTo>
                  <a:pt x="78" y="38"/>
                </a:lnTo>
                <a:lnTo>
                  <a:pt x="81" y="38"/>
                </a:lnTo>
                <a:lnTo>
                  <a:pt x="81" y="38"/>
                </a:lnTo>
                <a:lnTo>
                  <a:pt x="84" y="41"/>
                </a:lnTo>
                <a:lnTo>
                  <a:pt x="87" y="41"/>
                </a:lnTo>
                <a:lnTo>
                  <a:pt x="90" y="41"/>
                </a:lnTo>
                <a:lnTo>
                  <a:pt x="90" y="41"/>
                </a:lnTo>
                <a:lnTo>
                  <a:pt x="93" y="41"/>
                </a:lnTo>
                <a:lnTo>
                  <a:pt x="93" y="41"/>
                </a:lnTo>
                <a:lnTo>
                  <a:pt x="97" y="41"/>
                </a:lnTo>
                <a:lnTo>
                  <a:pt x="97" y="41"/>
                </a:lnTo>
                <a:lnTo>
                  <a:pt x="97" y="41"/>
                </a:lnTo>
                <a:lnTo>
                  <a:pt x="97" y="35"/>
                </a:lnTo>
                <a:lnTo>
                  <a:pt x="97" y="35"/>
                </a:lnTo>
                <a:lnTo>
                  <a:pt x="100" y="32"/>
                </a:lnTo>
                <a:lnTo>
                  <a:pt x="100" y="29"/>
                </a:lnTo>
                <a:lnTo>
                  <a:pt x="109" y="13"/>
                </a:lnTo>
                <a:lnTo>
                  <a:pt x="115" y="10"/>
                </a:lnTo>
                <a:lnTo>
                  <a:pt x="118" y="7"/>
                </a:lnTo>
                <a:lnTo>
                  <a:pt x="118" y="7"/>
                </a:lnTo>
                <a:lnTo>
                  <a:pt x="128" y="3"/>
                </a:lnTo>
                <a:lnTo>
                  <a:pt x="131" y="3"/>
                </a:lnTo>
                <a:lnTo>
                  <a:pt x="134" y="0"/>
                </a:lnTo>
                <a:lnTo>
                  <a:pt x="137" y="0"/>
                </a:lnTo>
                <a:lnTo>
                  <a:pt x="140" y="0"/>
                </a:lnTo>
                <a:lnTo>
                  <a:pt x="140" y="3"/>
                </a:lnTo>
                <a:lnTo>
                  <a:pt x="143" y="3"/>
                </a:lnTo>
                <a:lnTo>
                  <a:pt x="147" y="3"/>
                </a:lnTo>
                <a:lnTo>
                  <a:pt x="150" y="3"/>
                </a:lnTo>
                <a:lnTo>
                  <a:pt x="147" y="3"/>
                </a:lnTo>
                <a:lnTo>
                  <a:pt x="150" y="10"/>
                </a:lnTo>
                <a:lnTo>
                  <a:pt x="150" y="16"/>
                </a:lnTo>
                <a:lnTo>
                  <a:pt x="147" y="19"/>
                </a:lnTo>
                <a:lnTo>
                  <a:pt x="147" y="22"/>
                </a:lnTo>
                <a:lnTo>
                  <a:pt x="137" y="32"/>
                </a:lnTo>
                <a:lnTo>
                  <a:pt x="137" y="41"/>
                </a:lnTo>
                <a:lnTo>
                  <a:pt x="137" y="44"/>
                </a:lnTo>
                <a:lnTo>
                  <a:pt x="137" y="47"/>
                </a:lnTo>
                <a:lnTo>
                  <a:pt x="134" y="50"/>
                </a:lnTo>
                <a:lnTo>
                  <a:pt x="134" y="57"/>
                </a:lnTo>
                <a:lnTo>
                  <a:pt x="134" y="60"/>
                </a:lnTo>
                <a:lnTo>
                  <a:pt x="134" y="66"/>
                </a:lnTo>
                <a:lnTo>
                  <a:pt x="134" y="66"/>
                </a:lnTo>
                <a:lnTo>
                  <a:pt x="134" y="72"/>
                </a:lnTo>
                <a:lnTo>
                  <a:pt x="131" y="75"/>
                </a:lnTo>
                <a:lnTo>
                  <a:pt x="128" y="82"/>
                </a:lnTo>
                <a:lnTo>
                  <a:pt x="128" y="88"/>
                </a:lnTo>
                <a:lnTo>
                  <a:pt x="122" y="97"/>
                </a:lnTo>
                <a:lnTo>
                  <a:pt x="118" y="97"/>
                </a:lnTo>
                <a:lnTo>
                  <a:pt x="115" y="100"/>
                </a:lnTo>
                <a:lnTo>
                  <a:pt x="112" y="100"/>
                </a:lnTo>
                <a:lnTo>
                  <a:pt x="109" y="104"/>
                </a:lnTo>
                <a:lnTo>
                  <a:pt x="106" y="107"/>
                </a:lnTo>
                <a:lnTo>
                  <a:pt x="106" y="113"/>
                </a:lnTo>
                <a:lnTo>
                  <a:pt x="100" y="119"/>
                </a:lnTo>
                <a:lnTo>
                  <a:pt x="97" y="122"/>
                </a:lnTo>
                <a:lnTo>
                  <a:pt x="97" y="129"/>
                </a:lnTo>
                <a:lnTo>
                  <a:pt x="100" y="129"/>
                </a:lnTo>
                <a:lnTo>
                  <a:pt x="97" y="141"/>
                </a:lnTo>
                <a:lnTo>
                  <a:pt x="97" y="147"/>
                </a:lnTo>
                <a:lnTo>
                  <a:pt x="97" y="151"/>
                </a:lnTo>
                <a:lnTo>
                  <a:pt x="93" y="154"/>
                </a:lnTo>
                <a:lnTo>
                  <a:pt x="90" y="157"/>
                </a:lnTo>
                <a:lnTo>
                  <a:pt x="87" y="157"/>
                </a:lnTo>
                <a:lnTo>
                  <a:pt x="84" y="160"/>
                </a:lnTo>
                <a:lnTo>
                  <a:pt x="78" y="169"/>
                </a:lnTo>
                <a:lnTo>
                  <a:pt x="75" y="172"/>
                </a:lnTo>
                <a:lnTo>
                  <a:pt x="68" y="176"/>
                </a:lnTo>
                <a:lnTo>
                  <a:pt x="65" y="172"/>
                </a:lnTo>
                <a:lnTo>
                  <a:pt x="65" y="169"/>
                </a:lnTo>
                <a:lnTo>
                  <a:pt x="62" y="169"/>
                </a:lnTo>
                <a:lnTo>
                  <a:pt x="65" y="163"/>
                </a:lnTo>
                <a:lnTo>
                  <a:pt x="65" y="163"/>
                </a:lnTo>
                <a:lnTo>
                  <a:pt x="59" y="163"/>
                </a:lnTo>
                <a:lnTo>
                  <a:pt x="56" y="166"/>
                </a:lnTo>
                <a:lnTo>
                  <a:pt x="53" y="166"/>
                </a:lnTo>
                <a:lnTo>
                  <a:pt x="50" y="166"/>
                </a:lnTo>
                <a:lnTo>
                  <a:pt x="50" y="172"/>
                </a:lnTo>
                <a:lnTo>
                  <a:pt x="47" y="172"/>
                </a:lnTo>
                <a:lnTo>
                  <a:pt x="43" y="172"/>
                </a:lnTo>
                <a:lnTo>
                  <a:pt x="43" y="172"/>
                </a:lnTo>
                <a:lnTo>
                  <a:pt x="43" y="169"/>
                </a:lnTo>
                <a:lnTo>
                  <a:pt x="40" y="172"/>
                </a:lnTo>
                <a:lnTo>
                  <a:pt x="37" y="172"/>
                </a:lnTo>
                <a:lnTo>
                  <a:pt x="37" y="172"/>
                </a:lnTo>
                <a:lnTo>
                  <a:pt x="37" y="169"/>
                </a:lnTo>
                <a:lnTo>
                  <a:pt x="34" y="166"/>
                </a:lnTo>
                <a:lnTo>
                  <a:pt x="34" y="163"/>
                </a:lnTo>
                <a:lnTo>
                  <a:pt x="31" y="163"/>
                </a:lnTo>
                <a:lnTo>
                  <a:pt x="28" y="166"/>
                </a:lnTo>
                <a:lnTo>
                  <a:pt x="25" y="166"/>
                </a:lnTo>
                <a:lnTo>
                  <a:pt x="25" y="169"/>
                </a:lnTo>
                <a:lnTo>
                  <a:pt x="22" y="172"/>
                </a:lnTo>
                <a:lnTo>
                  <a:pt x="18" y="172"/>
                </a:lnTo>
                <a:lnTo>
                  <a:pt x="18" y="176"/>
                </a:lnTo>
                <a:lnTo>
                  <a:pt x="15" y="179"/>
                </a:lnTo>
                <a:lnTo>
                  <a:pt x="12" y="176"/>
                </a:lnTo>
                <a:lnTo>
                  <a:pt x="15" y="172"/>
                </a:lnTo>
                <a:lnTo>
                  <a:pt x="12" y="169"/>
                </a:lnTo>
                <a:lnTo>
                  <a:pt x="9" y="166"/>
                </a:lnTo>
                <a:lnTo>
                  <a:pt x="6" y="160"/>
                </a:lnTo>
                <a:lnTo>
                  <a:pt x="3" y="160"/>
                </a:lnTo>
                <a:lnTo>
                  <a:pt x="0" y="15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1" name="Freeform 139">
            <a:extLst>
              <a:ext uri="{FF2B5EF4-FFF2-40B4-BE49-F238E27FC236}">
                <a16:creationId xmlns:a16="http://schemas.microsoft.com/office/drawing/2014/main" id="{8BB3328A-4187-DC58-CF07-F1BA02A53C40}"/>
              </a:ext>
            </a:extLst>
          </p:cNvPr>
          <p:cNvSpPr>
            <a:spLocks/>
          </p:cNvSpPr>
          <p:nvPr userDrawn="1"/>
        </p:nvSpPr>
        <p:spPr bwMode="auto">
          <a:xfrm>
            <a:off x="13902416" y="9654459"/>
            <a:ext cx="69845" cy="98426"/>
          </a:xfrm>
          <a:custGeom>
            <a:avLst/>
            <a:gdLst>
              <a:gd name="T0" fmla="*/ 22 w 22"/>
              <a:gd name="T1" fmla="*/ 9 h 31"/>
              <a:gd name="T2" fmla="*/ 22 w 22"/>
              <a:gd name="T3" fmla="*/ 6 h 31"/>
              <a:gd name="T4" fmla="*/ 19 w 22"/>
              <a:gd name="T5" fmla="*/ 3 h 31"/>
              <a:gd name="T6" fmla="*/ 19 w 22"/>
              <a:gd name="T7" fmla="*/ 0 h 31"/>
              <a:gd name="T8" fmla="*/ 16 w 22"/>
              <a:gd name="T9" fmla="*/ 0 h 31"/>
              <a:gd name="T10" fmla="*/ 13 w 22"/>
              <a:gd name="T11" fmla="*/ 3 h 31"/>
              <a:gd name="T12" fmla="*/ 10 w 22"/>
              <a:gd name="T13" fmla="*/ 3 h 31"/>
              <a:gd name="T14" fmla="*/ 10 w 22"/>
              <a:gd name="T15" fmla="*/ 6 h 31"/>
              <a:gd name="T16" fmla="*/ 7 w 22"/>
              <a:gd name="T17" fmla="*/ 9 h 31"/>
              <a:gd name="T18" fmla="*/ 3 w 22"/>
              <a:gd name="T19" fmla="*/ 9 h 31"/>
              <a:gd name="T20" fmla="*/ 3 w 22"/>
              <a:gd name="T21" fmla="*/ 13 h 31"/>
              <a:gd name="T22" fmla="*/ 0 w 22"/>
              <a:gd name="T23" fmla="*/ 16 h 31"/>
              <a:gd name="T24" fmla="*/ 3 w 22"/>
              <a:gd name="T25" fmla="*/ 19 h 31"/>
              <a:gd name="T26" fmla="*/ 3 w 22"/>
              <a:gd name="T27" fmla="*/ 22 h 31"/>
              <a:gd name="T28" fmla="*/ 3 w 22"/>
              <a:gd name="T29" fmla="*/ 28 h 31"/>
              <a:gd name="T30" fmla="*/ 3 w 22"/>
              <a:gd name="T31" fmla="*/ 31 h 31"/>
              <a:gd name="T32" fmla="*/ 7 w 22"/>
              <a:gd name="T33" fmla="*/ 28 h 31"/>
              <a:gd name="T34" fmla="*/ 10 w 22"/>
              <a:gd name="T35" fmla="*/ 28 h 31"/>
              <a:gd name="T36" fmla="*/ 13 w 22"/>
              <a:gd name="T37" fmla="*/ 25 h 31"/>
              <a:gd name="T38" fmla="*/ 13 w 22"/>
              <a:gd name="T39" fmla="*/ 19 h 31"/>
              <a:gd name="T40" fmla="*/ 13 w 22"/>
              <a:gd name="T41" fmla="*/ 16 h 31"/>
              <a:gd name="T42" fmla="*/ 19 w 22"/>
              <a:gd name="T43" fmla="*/ 13 h 31"/>
              <a:gd name="T44" fmla="*/ 22 w 22"/>
              <a:gd name="T45"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31">
                <a:moveTo>
                  <a:pt x="22" y="9"/>
                </a:moveTo>
                <a:lnTo>
                  <a:pt x="22" y="6"/>
                </a:lnTo>
                <a:lnTo>
                  <a:pt x="19" y="3"/>
                </a:lnTo>
                <a:lnTo>
                  <a:pt x="19" y="0"/>
                </a:lnTo>
                <a:lnTo>
                  <a:pt x="16" y="0"/>
                </a:lnTo>
                <a:lnTo>
                  <a:pt x="13" y="3"/>
                </a:lnTo>
                <a:lnTo>
                  <a:pt x="10" y="3"/>
                </a:lnTo>
                <a:lnTo>
                  <a:pt x="10" y="6"/>
                </a:lnTo>
                <a:lnTo>
                  <a:pt x="7" y="9"/>
                </a:lnTo>
                <a:lnTo>
                  <a:pt x="3" y="9"/>
                </a:lnTo>
                <a:lnTo>
                  <a:pt x="3" y="13"/>
                </a:lnTo>
                <a:lnTo>
                  <a:pt x="0" y="16"/>
                </a:lnTo>
                <a:lnTo>
                  <a:pt x="3" y="19"/>
                </a:lnTo>
                <a:lnTo>
                  <a:pt x="3" y="22"/>
                </a:lnTo>
                <a:lnTo>
                  <a:pt x="3" y="28"/>
                </a:lnTo>
                <a:lnTo>
                  <a:pt x="3" y="31"/>
                </a:lnTo>
                <a:lnTo>
                  <a:pt x="7" y="28"/>
                </a:lnTo>
                <a:lnTo>
                  <a:pt x="10" y="28"/>
                </a:lnTo>
                <a:lnTo>
                  <a:pt x="13" y="25"/>
                </a:lnTo>
                <a:lnTo>
                  <a:pt x="13" y="19"/>
                </a:lnTo>
                <a:lnTo>
                  <a:pt x="13" y="16"/>
                </a:lnTo>
                <a:lnTo>
                  <a:pt x="19" y="13"/>
                </a:lnTo>
                <a:lnTo>
                  <a:pt x="22" y="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2" name="Freeform 140">
            <a:extLst>
              <a:ext uri="{FF2B5EF4-FFF2-40B4-BE49-F238E27FC236}">
                <a16:creationId xmlns:a16="http://schemas.microsoft.com/office/drawing/2014/main" id="{47AB13FF-1E1F-1922-4F4B-A1271DBE5B98}"/>
              </a:ext>
            </a:extLst>
          </p:cNvPr>
          <p:cNvSpPr>
            <a:spLocks/>
          </p:cNvSpPr>
          <p:nvPr userDrawn="1"/>
        </p:nvSpPr>
        <p:spPr bwMode="auto">
          <a:xfrm>
            <a:off x="14985026" y="9435382"/>
            <a:ext cx="704804" cy="714376"/>
          </a:xfrm>
          <a:custGeom>
            <a:avLst/>
            <a:gdLst>
              <a:gd name="T0" fmla="*/ 28 w 222"/>
              <a:gd name="T1" fmla="*/ 3 h 225"/>
              <a:gd name="T2" fmla="*/ 94 w 222"/>
              <a:gd name="T3" fmla="*/ 0 h 225"/>
              <a:gd name="T4" fmla="*/ 169 w 222"/>
              <a:gd name="T5" fmla="*/ 50 h 225"/>
              <a:gd name="T6" fmla="*/ 197 w 222"/>
              <a:gd name="T7" fmla="*/ 72 h 225"/>
              <a:gd name="T8" fmla="*/ 197 w 222"/>
              <a:gd name="T9" fmla="*/ 78 h 225"/>
              <a:gd name="T10" fmla="*/ 188 w 222"/>
              <a:gd name="T11" fmla="*/ 100 h 225"/>
              <a:gd name="T12" fmla="*/ 197 w 222"/>
              <a:gd name="T13" fmla="*/ 116 h 225"/>
              <a:gd name="T14" fmla="*/ 203 w 222"/>
              <a:gd name="T15" fmla="*/ 122 h 225"/>
              <a:gd name="T16" fmla="*/ 197 w 222"/>
              <a:gd name="T17" fmla="*/ 128 h 225"/>
              <a:gd name="T18" fmla="*/ 200 w 222"/>
              <a:gd name="T19" fmla="*/ 144 h 225"/>
              <a:gd name="T20" fmla="*/ 200 w 222"/>
              <a:gd name="T21" fmla="*/ 157 h 225"/>
              <a:gd name="T22" fmla="*/ 200 w 222"/>
              <a:gd name="T23" fmla="*/ 163 h 225"/>
              <a:gd name="T24" fmla="*/ 203 w 222"/>
              <a:gd name="T25" fmla="*/ 169 h 225"/>
              <a:gd name="T26" fmla="*/ 213 w 222"/>
              <a:gd name="T27" fmla="*/ 185 h 225"/>
              <a:gd name="T28" fmla="*/ 222 w 222"/>
              <a:gd name="T29" fmla="*/ 191 h 225"/>
              <a:gd name="T30" fmla="*/ 219 w 222"/>
              <a:gd name="T31" fmla="*/ 194 h 225"/>
              <a:gd name="T32" fmla="*/ 209 w 222"/>
              <a:gd name="T33" fmla="*/ 197 h 225"/>
              <a:gd name="T34" fmla="*/ 200 w 222"/>
              <a:gd name="T35" fmla="*/ 204 h 225"/>
              <a:gd name="T36" fmla="*/ 191 w 222"/>
              <a:gd name="T37" fmla="*/ 204 h 225"/>
              <a:gd name="T38" fmla="*/ 178 w 222"/>
              <a:gd name="T39" fmla="*/ 210 h 225"/>
              <a:gd name="T40" fmla="*/ 169 w 222"/>
              <a:gd name="T41" fmla="*/ 207 h 225"/>
              <a:gd name="T42" fmla="*/ 169 w 222"/>
              <a:gd name="T43" fmla="*/ 213 h 225"/>
              <a:gd name="T44" fmla="*/ 156 w 222"/>
              <a:gd name="T45" fmla="*/ 213 h 225"/>
              <a:gd name="T46" fmla="*/ 150 w 222"/>
              <a:gd name="T47" fmla="*/ 210 h 225"/>
              <a:gd name="T48" fmla="*/ 144 w 222"/>
              <a:gd name="T49" fmla="*/ 216 h 225"/>
              <a:gd name="T50" fmla="*/ 134 w 222"/>
              <a:gd name="T51" fmla="*/ 213 h 225"/>
              <a:gd name="T52" fmla="*/ 128 w 222"/>
              <a:gd name="T53" fmla="*/ 210 h 225"/>
              <a:gd name="T54" fmla="*/ 125 w 222"/>
              <a:gd name="T55" fmla="*/ 210 h 225"/>
              <a:gd name="T56" fmla="*/ 100 w 222"/>
              <a:gd name="T57" fmla="*/ 225 h 225"/>
              <a:gd name="T58" fmla="*/ 91 w 222"/>
              <a:gd name="T59" fmla="*/ 179 h 225"/>
              <a:gd name="T60" fmla="*/ 87 w 222"/>
              <a:gd name="T61" fmla="*/ 172 h 225"/>
              <a:gd name="T62" fmla="*/ 81 w 222"/>
              <a:gd name="T63" fmla="*/ 172 h 225"/>
              <a:gd name="T64" fmla="*/ 78 w 222"/>
              <a:gd name="T65" fmla="*/ 172 h 225"/>
              <a:gd name="T66" fmla="*/ 72 w 222"/>
              <a:gd name="T67" fmla="*/ 169 h 225"/>
              <a:gd name="T68" fmla="*/ 69 w 222"/>
              <a:gd name="T69" fmla="*/ 166 h 225"/>
              <a:gd name="T70" fmla="*/ 62 w 222"/>
              <a:gd name="T71" fmla="*/ 160 h 225"/>
              <a:gd name="T72" fmla="*/ 47 w 222"/>
              <a:gd name="T73" fmla="*/ 157 h 225"/>
              <a:gd name="T74" fmla="*/ 41 w 222"/>
              <a:gd name="T75" fmla="*/ 150 h 225"/>
              <a:gd name="T76" fmla="*/ 34 w 222"/>
              <a:gd name="T77" fmla="*/ 150 h 225"/>
              <a:gd name="T78" fmla="*/ 9 w 222"/>
              <a:gd name="T79" fmla="*/ 113 h 225"/>
              <a:gd name="T80" fmla="*/ 12 w 222"/>
              <a:gd name="T81" fmla="*/ 72 h 225"/>
              <a:gd name="T82" fmla="*/ 25 w 222"/>
              <a:gd name="T83" fmla="*/ 60 h 225"/>
              <a:gd name="T84" fmla="*/ 34 w 222"/>
              <a:gd name="T85" fmla="*/ 53 h 225"/>
              <a:gd name="T86" fmla="*/ 31 w 222"/>
              <a:gd name="T87" fmla="*/ 44 h 225"/>
              <a:gd name="T88" fmla="*/ 28 w 222"/>
              <a:gd name="T89" fmla="*/ 38 h 225"/>
              <a:gd name="T90" fmla="*/ 28 w 222"/>
              <a:gd name="T91" fmla="*/ 35 h 225"/>
              <a:gd name="T92" fmla="*/ 34 w 222"/>
              <a:gd name="T93" fmla="*/ 31 h 225"/>
              <a:gd name="T94" fmla="*/ 34 w 222"/>
              <a:gd name="T95" fmla="*/ 22 h 225"/>
              <a:gd name="T96" fmla="*/ 31 w 222"/>
              <a:gd name="T97" fmla="*/ 1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2" h="225">
                <a:moveTo>
                  <a:pt x="25" y="6"/>
                </a:moveTo>
                <a:lnTo>
                  <a:pt x="28" y="3"/>
                </a:lnTo>
                <a:lnTo>
                  <a:pt x="28" y="3"/>
                </a:lnTo>
                <a:lnTo>
                  <a:pt x="31" y="3"/>
                </a:lnTo>
                <a:lnTo>
                  <a:pt x="53" y="3"/>
                </a:lnTo>
                <a:lnTo>
                  <a:pt x="94" y="0"/>
                </a:lnTo>
                <a:lnTo>
                  <a:pt x="166" y="44"/>
                </a:lnTo>
                <a:lnTo>
                  <a:pt x="172" y="50"/>
                </a:lnTo>
                <a:lnTo>
                  <a:pt x="169" y="50"/>
                </a:lnTo>
                <a:lnTo>
                  <a:pt x="172" y="53"/>
                </a:lnTo>
                <a:lnTo>
                  <a:pt x="172" y="57"/>
                </a:lnTo>
                <a:lnTo>
                  <a:pt x="197" y="72"/>
                </a:lnTo>
                <a:lnTo>
                  <a:pt x="197" y="72"/>
                </a:lnTo>
                <a:lnTo>
                  <a:pt x="197" y="75"/>
                </a:lnTo>
                <a:lnTo>
                  <a:pt x="197" y="78"/>
                </a:lnTo>
                <a:lnTo>
                  <a:pt x="197" y="78"/>
                </a:lnTo>
                <a:lnTo>
                  <a:pt x="191" y="91"/>
                </a:lnTo>
                <a:lnTo>
                  <a:pt x="188" y="100"/>
                </a:lnTo>
                <a:lnTo>
                  <a:pt x="188" y="103"/>
                </a:lnTo>
                <a:lnTo>
                  <a:pt x="194" y="110"/>
                </a:lnTo>
                <a:lnTo>
                  <a:pt x="197" y="116"/>
                </a:lnTo>
                <a:lnTo>
                  <a:pt x="200" y="113"/>
                </a:lnTo>
                <a:lnTo>
                  <a:pt x="203" y="122"/>
                </a:lnTo>
                <a:lnTo>
                  <a:pt x="203" y="122"/>
                </a:lnTo>
                <a:lnTo>
                  <a:pt x="200" y="122"/>
                </a:lnTo>
                <a:lnTo>
                  <a:pt x="197" y="125"/>
                </a:lnTo>
                <a:lnTo>
                  <a:pt x="197" y="128"/>
                </a:lnTo>
                <a:lnTo>
                  <a:pt x="197" y="138"/>
                </a:lnTo>
                <a:lnTo>
                  <a:pt x="200" y="141"/>
                </a:lnTo>
                <a:lnTo>
                  <a:pt x="200" y="144"/>
                </a:lnTo>
                <a:lnTo>
                  <a:pt x="197" y="147"/>
                </a:lnTo>
                <a:lnTo>
                  <a:pt x="197" y="150"/>
                </a:lnTo>
                <a:lnTo>
                  <a:pt x="200" y="157"/>
                </a:lnTo>
                <a:lnTo>
                  <a:pt x="200" y="157"/>
                </a:lnTo>
                <a:lnTo>
                  <a:pt x="200" y="160"/>
                </a:lnTo>
                <a:lnTo>
                  <a:pt x="200" y="163"/>
                </a:lnTo>
                <a:lnTo>
                  <a:pt x="203" y="163"/>
                </a:lnTo>
                <a:lnTo>
                  <a:pt x="200" y="169"/>
                </a:lnTo>
                <a:lnTo>
                  <a:pt x="203" y="169"/>
                </a:lnTo>
                <a:lnTo>
                  <a:pt x="206" y="175"/>
                </a:lnTo>
                <a:lnTo>
                  <a:pt x="203" y="179"/>
                </a:lnTo>
                <a:lnTo>
                  <a:pt x="213" y="185"/>
                </a:lnTo>
                <a:lnTo>
                  <a:pt x="216" y="185"/>
                </a:lnTo>
                <a:lnTo>
                  <a:pt x="222" y="191"/>
                </a:lnTo>
                <a:lnTo>
                  <a:pt x="222" y="191"/>
                </a:lnTo>
                <a:lnTo>
                  <a:pt x="222" y="191"/>
                </a:lnTo>
                <a:lnTo>
                  <a:pt x="222" y="191"/>
                </a:lnTo>
                <a:lnTo>
                  <a:pt x="219" y="194"/>
                </a:lnTo>
                <a:lnTo>
                  <a:pt x="216" y="194"/>
                </a:lnTo>
                <a:lnTo>
                  <a:pt x="213" y="197"/>
                </a:lnTo>
                <a:lnTo>
                  <a:pt x="209" y="197"/>
                </a:lnTo>
                <a:lnTo>
                  <a:pt x="206" y="200"/>
                </a:lnTo>
                <a:lnTo>
                  <a:pt x="203" y="204"/>
                </a:lnTo>
                <a:lnTo>
                  <a:pt x="200" y="204"/>
                </a:lnTo>
                <a:lnTo>
                  <a:pt x="197" y="204"/>
                </a:lnTo>
                <a:lnTo>
                  <a:pt x="194" y="207"/>
                </a:lnTo>
                <a:lnTo>
                  <a:pt x="191" y="204"/>
                </a:lnTo>
                <a:lnTo>
                  <a:pt x="184" y="207"/>
                </a:lnTo>
                <a:lnTo>
                  <a:pt x="181" y="207"/>
                </a:lnTo>
                <a:lnTo>
                  <a:pt x="178" y="210"/>
                </a:lnTo>
                <a:lnTo>
                  <a:pt x="175" y="207"/>
                </a:lnTo>
                <a:lnTo>
                  <a:pt x="172" y="207"/>
                </a:lnTo>
                <a:lnTo>
                  <a:pt x="169" y="207"/>
                </a:lnTo>
                <a:lnTo>
                  <a:pt x="169" y="207"/>
                </a:lnTo>
                <a:lnTo>
                  <a:pt x="169" y="210"/>
                </a:lnTo>
                <a:lnTo>
                  <a:pt x="169" y="213"/>
                </a:lnTo>
                <a:lnTo>
                  <a:pt x="163" y="213"/>
                </a:lnTo>
                <a:lnTo>
                  <a:pt x="159" y="213"/>
                </a:lnTo>
                <a:lnTo>
                  <a:pt x="156" y="213"/>
                </a:lnTo>
                <a:lnTo>
                  <a:pt x="153" y="213"/>
                </a:lnTo>
                <a:lnTo>
                  <a:pt x="153" y="213"/>
                </a:lnTo>
                <a:lnTo>
                  <a:pt x="150" y="210"/>
                </a:lnTo>
                <a:lnTo>
                  <a:pt x="150" y="213"/>
                </a:lnTo>
                <a:lnTo>
                  <a:pt x="147" y="213"/>
                </a:lnTo>
                <a:lnTo>
                  <a:pt x="144" y="216"/>
                </a:lnTo>
                <a:lnTo>
                  <a:pt x="138" y="216"/>
                </a:lnTo>
                <a:lnTo>
                  <a:pt x="138" y="216"/>
                </a:lnTo>
                <a:lnTo>
                  <a:pt x="134" y="213"/>
                </a:lnTo>
                <a:lnTo>
                  <a:pt x="134" y="213"/>
                </a:lnTo>
                <a:lnTo>
                  <a:pt x="131" y="210"/>
                </a:lnTo>
                <a:lnTo>
                  <a:pt x="128" y="210"/>
                </a:lnTo>
                <a:lnTo>
                  <a:pt x="128" y="210"/>
                </a:lnTo>
                <a:lnTo>
                  <a:pt x="125" y="210"/>
                </a:lnTo>
                <a:lnTo>
                  <a:pt x="125" y="210"/>
                </a:lnTo>
                <a:lnTo>
                  <a:pt x="122" y="213"/>
                </a:lnTo>
                <a:lnTo>
                  <a:pt x="103" y="213"/>
                </a:lnTo>
                <a:lnTo>
                  <a:pt x="100" y="225"/>
                </a:lnTo>
                <a:lnTo>
                  <a:pt x="100" y="194"/>
                </a:lnTo>
                <a:lnTo>
                  <a:pt x="97" y="185"/>
                </a:lnTo>
                <a:lnTo>
                  <a:pt x="91" y="179"/>
                </a:lnTo>
                <a:lnTo>
                  <a:pt x="91" y="175"/>
                </a:lnTo>
                <a:lnTo>
                  <a:pt x="87" y="175"/>
                </a:lnTo>
                <a:lnTo>
                  <a:pt x="87" y="172"/>
                </a:lnTo>
                <a:lnTo>
                  <a:pt x="84" y="172"/>
                </a:lnTo>
                <a:lnTo>
                  <a:pt x="84" y="172"/>
                </a:lnTo>
                <a:lnTo>
                  <a:pt x="81" y="172"/>
                </a:lnTo>
                <a:lnTo>
                  <a:pt x="81" y="172"/>
                </a:lnTo>
                <a:lnTo>
                  <a:pt x="78" y="172"/>
                </a:lnTo>
                <a:lnTo>
                  <a:pt x="78" y="172"/>
                </a:lnTo>
                <a:lnTo>
                  <a:pt x="75" y="169"/>
                </a:lnTo>
                <a:lnTo>
                  <a:pt x="75" y="169"/>
                </a:lnTo>
                <a:lnTo>
                  <a:pt x="72" y="169"/>
                </a:lnTo>
                <a:lnTo>
                  <a:pt x="72" y="169"/>
                </a:lnTo>
                <a:lnTo>
                  <a:pt x="72" y="169"/>
                </a:lnTo>
                <a:lnTo>
                  <a:pt x="69" y="166"/>
                </a:lnTo>
                <a:lnTo>
                  <a:pt x="66" y="163"/>
                </a:lnTo>
                <a:lnTo>
                  <a:pt x="62" y="163"/>
                </a:lnTo>
                <a:lnTo>
                  <a:pt x="62" y="160"/>
                </a:lnTo>
                <a:lnTo>
                  <a:pt x="59" y="160"/>
                </a:lnTo>
                <a:lnTo>
                  <a:pt x="50" y="157"/>
                </a:lnTo>
                <a:lnTo>
                  <a:pt x="47" y="157"/>
                </a:lnTo>
                <a:lnTo>
                  <a:pt x="44" y="153"/>
                </a:lnTo>
                <a:lnTo>
                  <a:pt x="44" y="153"/>
                </a:lnTo>
                <a:lnTo>
                  <a:pt x="41" y="150"/>
                </a:lnTo>
                <a:lnTo>
                  <a:pt x="41" y="150"/>
                </a:lnTo>
                <a:lnTo>
                  <a:pt x="37" y="150"/>
                </a:lnTo>
                <a:lnTo>
                  <a:pt x="34" y="150"/>
                </a:lnTo>
                <a:lnTo>
                  <a:pt x="28" y="147"/>
                </a:lnTo>
                <a:lnTo>
                  <a:pt x="22" y="132"/>
                </a:lnTo>
                <a:lnTo>
                  <a:pt x="9" y="113"/>
                </a:lnTo>
                <a:lnTo>
                  <a:pt x="3" y="88"/>
                </a:lnTo>
                <a:lnTo>
                  <a:pt x="0" y="72"/>
                </a:lnTo>
                <a:lnTo>
                  <a:pt x="12" y="72"/>
                </a:lnTo>
                <a:lnTo>
                  <a:pt x="19" y="69"/>
                </a:lnTo>
                <a:lnTo>
                  <a:pt x="22" y="66"/>
                </a:lnTo>
                <a:lnTo>
                  <a:pt x="25" y="60"/>
                </a:lnTo>
                <a:lnTo>
                  <a:pt x="28" y="57"/>
                </a:lnTo>
                <a:lnTo>
                  <a:pt x="31" y="57"/>
                </a:lnTo>
                <a:lnTo>
                  <a:pt x="34" y="53"/>
                </a:lnTo>
                <a:lnTo>
                  <a:pt x="34" y="50"/>
                </a:lnTo>
                <a:lnTo>
                  <a:pt x="34" y="44"/>
                </a:lnTo>
                <a:lnTo>
                  <a:pt x="31" y="44"/>
                </a:lnTo>
                <a:lnTo>
                  <a:pt x="31" y="41"/>
                </a:lnTo>
                <a:lnTo>
                  <a:pt x="28" y="38"/>
                </a:lnTo>
                <a:lnTo>
                  <a:pt x="28" y="38"/>
                </a:lnTo>
                <a:lnTo>
                  <a:pt x="28" y="35"/>
                </a:lnTo>
                <a:lnTo>
                  <a:pt x="28" y="31"/>
                </a:lnTo>
                <a:lnTo>
                  <a:pt x="28" y="35"/>
                </a:lnTo>
                <a:lnTo>
                  <a:pt x="28" y="35"/>
                </a:lnTo>
                <a:lnTo>
                  <a:pt x="31" y="31"/>
                </a:lnTo>
                <a:lnTo>
                  <a:pt x="34" y="31"/>
                </a:lnTo>
                <a:lnTo>
                  <a:pt x="34" y="28"/>
                </a:lnTo>
                <a:lnTo>
                  <a:pt x="34" y="25"/>
                </a:lnTo>
                <a:lnTo>
                  <a:pt x="34" y="22"/>
                </a:lnTo>
                <a:lnTo>
                  <a:pt x="34" y="16"/>
                </a:lnTo>
                <a:lnTo>
                  <a:pt x="31" y="13"/>
                </a:lnTo>
                <a:lnTo>
                  <a:pt x="31" y="13"/>
                </a:lnTo>
                <a:lnTo>
                  <a:pt x="28" y="10"/>
                </a:lnTo>
                <a:lnTo>
                  <a:pt x="25" y="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3" name="Freeform 141">
            <a:extLst>
              <a:ext uri="{FF2B5EF4-FFF2-40B4-BE49-F238E27FC236}">
                <a16:creationId xmlns:a16="http://schemas.microsoft.com/office/drawing/2014/main" id="{F67283CD-3229-B831-58CE-9BD44605C78C}"/>
              </a:ext>
            </a:extLst>
          </p:cNvPr>
          <p:cNvSpPr>
            <a:spLocks/>
          </p:cNvSpPr>
          <p:nvPr userDrawn="1"/>
        </p:nvSpPr>
        <p:spPr bwMode="auto">
          <a:xfrm>
            <a:off x="14975496" y="9454432"/>
            <a:ext cx="117470" cy="101600"/>
          </a:xfrm>
          <a:custGeom>
            <a:avLst/>
            <a:gdLst>
              <a:gd name="T0" fmla="*/ 9 w 37"/>
              <a:gd name="T1" fmla="*/ 4 h 32"/>
              <a:gd name="T2" fmla="*/ 9 w 37"/>
              <a:gd name="T3" fmla="*/ 4 h 32"/>
              <a:gd name="T4" fmla="*/ 12 w 37"/>
              <a:gd name="T5" fmla="*/ 4 h 32"/>
              <a:gd name="T6" fmla="*/ 19 w 37"/>
              <a:gd name="T7" fmla="*/ 0 h 32"/>
              <a:gd name="T8" fmla="*/ 19 w 37"/>
              <a:gd name="T9" fmla="*/ 4 h 32"/>
              <a:gd name="T10" fmla="*/ 22 w 37"/>
              <a:gd name="T11" fmla="*/ 4 h 32"/>
              <a:gd name="T12" fmla="*/ 25 w 37"/>
              <a:gd name="T13" fmla="*/ 4 h 32"/>
              <a:gd name="T14" fmla="*/ 25 w 37"/>
              <a:gd name="T15" fmla="*/ 4 h 32"/>
              <a:gd name="T16" fmla="*/ 25 w 37"/>
              <a:gd name="T17" fmla="*/ 0 h 32"/>
              <a:gd name="T18" fmla="*/ 28 w 37"/>
              <a:gd name="T19" fmla="*/ 0 h 32"/>
              <a:gd name="T20" fmla="*/ 31 w 37"/>
              <a:gd name="T21" fmla="*/ 4 h 32"/>
              <a:gd name="T22" fmla="*/ 34 w 37"/>
              <a:gd name="T23" fmla="*/ 7 h 32"/>
              <a:gd name="T24" fmla="*/ 34 w 37"/>
              <a:gd name="T25" fmla="*/ 7 h 32"/>
              <a:gd name="T26" fmla="*/ 37 w 37"/>
              <a:gd name="T27" fmla="*/ 10 h 32"/>
              <a:gd name="T28" fmla="*/ 37 w 37"/>
              <a:gd name="T29" fmla="*/ 16 h 32"/>
              <a:gd name="T30" fmla="*/ 37 w 37"/>
              <a:gd name="T31" fmla="*/ 19 h 32"/>
              <a:gd name="T32" fmla="*/ 37 w 37"/>
              <a:gd name="T33" fmla="*/ 22 h 32"/>
              <a:gd name="T34" fmla="*/ 37 w 37"/>
              <a:gd name="T35" fmla="*/ 25 h 32"/>
              <a:gd name="T36" fmla="*/ 34 w 37"/>
              <a:gd name="T37" fmla="*/ 25 h 32"/>
              <a:gd name="T38" fmla="*/ 31 w 37"/>
              <a:gd name="T39" fmla="*/ 29 h 32"/>
              <a:gd name="T40" fmla="*/ 31 w 37"/>
              <a:gd name="T41" fmla="*/ 29 h 32"/>
              <a:gd name="T42" fmla="*/ 31 w 37"/>
              <a:gd name="T43" fmla="*/ 25 h 32"/>
              <a:gd name="T44" fmla="*/ 31 w 37"/>
              <a:gd name="T45" fmla="*/ 25 h 32"/>
              <a:gd name="T46" fmla="*/ 28 w 37"/>
              <a:gd name="T47" fmla="*/ 25 h 32"/>
              <a:gd name="T48" fmla="*/ 28 w 37"/>
              <a:gd name="T49" fmla="*/ 22 h 32"/>
              <a:gd name="T50" fmla="*/ 25 w 37"/>
              <a:gd name="T51" fmla="*/ 22 h 32"/>
              <a:gd name="T52" fmla="*/ 22 w 37"/>
              <a:gd name="T53" fmla="*/ 19 h 32"/>
              <a:gd name="T54" fmla="*/ 22 w 37"/>
              <a:gd name="T55" fmla="*/ 19 h 32"/>
              <a:gd name="T56" fmla="*/ 22 w 37"/>
              <a:gd name="T57" fmla="*/ 22 h 32"/>
              <a:gd name="T58" fmla="*/ 19 w 37"/>
              <a:gd name="T59" fmla="*/ 29 h 32"/>
              <a:gd name="T60" fmla="*/ 19 w 37"/>
              <a:gd name="T61" fmla="*/ 32 h 32"/>
              <a:gd name="T62" fmla="*/ 15 w 37"/>
              <a:gd name="T63" fmla="*/ 32 h 32"/>
              <a:gd name="T64" fmla="*/ 12 w 37"/>
              <a:gd name="T65" fmla="*/ 32 h 32"/>
              <a:gd name="T66" fmla="*/ 12 w 37"/>
              <a:gd name="T67" fmla="*/ 32 h 32"/>
              <a:gd name="T68" fmla="*/ 9 w 37"/>
              <a:gd name="T69" fmla="*/ 32 h 32"/>
              <a:gd name="T70" fmla="*/ 6 w 37"/>
              <a:gd name="T71" fmla="*/ 32 h 32"/>
              <a:gd name="T72" fmla="*/ 6 w 37"/>
              <a:gd name="T73" fmla="*/ 29 h 32"/>
              <a:gd name="T74" fmla="*/ 3 w 37"/>
              <a:gd name="T75" fmla="*/ 25 h 32"/>
              <a:gd name="T76" fmla="*/ 0 w 37"/>
              <a:gd name="T77" fmla="*/ 25 h 32"/>
              <a:gd name="T78" fmla="*/ 0 w 37"/>
              <a:gd name="T79" fmla="*/ 29 h 32"/>
              <a:gd name="T80" fmla="*/ 0 w 37"/>
              <a:gd name="T81" fmla="*/ 25 h 32"/>
              <a:gd name="T82" fmla="*/ 3 w 37"/>
              <a:gd name="T83" fmla="*/ 13 h 32"/>
              <a:gd name="T84" fmla="*/ 6 w 37"/>
              <a:gd name="T85" fmla="*/ 7 h 32"/>
              <a:gd name="T86" fmla="*/ 9 w 37"/>
              <a:gd name="T87"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 h="32">
                <a:moveTo>
                  <a:pt x="9" y="4"/>
                </a:moveTo>
                <a:lnTo>
                  <a:pt x="9" y="4"/>
                </a:lnTo>
                <a:lnTo>
                  <a:pt x="12" y="4"/>
                </a:lnTo>
                <a:lnTo>
                  <a:pt x="19" y="0"/>
                </a:lnTo>
                <a:lnTo>
                  <a:pt x="19" y="4"/>
                </a:lnTo>
                <a:lnTo>
                  <a:pt x="22" y="4"/>
                </a:lnTo>
                <a:lnTo>
                  <a:pt x="25" y="4"/>
                </a:lnTo>
                <a:lnTo>
                  <a:pt x="25" y="4"/>
                </a:lnTo>
                <a:lnTo>
                  <a:pt x="25" y="0"/>
                </a:lnTo>
                <a:lnTo>
                  <a:pt x="28" y="0"/>
                </a:lnTo>
                <a:lnTo>
                  <a:pt x="31" y="4"/>
                </a:lnTo>
                <a:lnTo>
                  <a:pt x="34" y="7"/>
                </a:lnTo>
                <a:lnTo>
                  <a:pt x="34" y="7"/>
                </a:lnTo>
                <a:lnTo>
                  <a:pt x="37" y="10"/>
                </a:lnTo>
                <a:lnTo>
                  <a:pt x="37" y="16"/>
                </a:lnTo>
                <a:lnTo>
                  <a:pt x="37" y="19"/>
                </a:lnTo>
                <a:lnTo>
                  <a:pt x="37" y="22"/>
                </a:lnTo>
                <a:lnTo>
                  <a:pt x="37" y="25"/>
                </a:lnTo>
                <a:lnTo>
                  <a:pt x="34" y="25"/>
                </a:lnTo>
                <a:lnTo>
                  <a:pt x="31" y="29"/>
                </a:lnTo>
                <a:lnTo>
                  <a:pt x="31" y="29"/>
                </a:lnTo>
                <a:lnTo>
                  <a:pt x="31" y="25"/>
                </a:lnTo>
                <a:lnTo>
                  <a:pt x="31" y="25"/>
                </a:lnTo>
                <a:lnTo>
                  <a:pt x="28" y="25"/>
                </a:lnTo>
                <a:lnTo>
                  <a:pt x="28" y="22"/>
                </a:lnTo>
                <a:lnTo>
                  <a:pt x="25" y="22"/>
                </a:lnTo>
                <a:lnTo>
                  <a:pt x="22" y="19"/>
                </a:lnTo>
                <a:lnTo>
                  <a:pt x="22" y="19"/>
                </a:lnTo>
                <a:lnTo>
                  <a:pt x="22" y="22"/>
                </a:lnTo>
                <a:lnTo>
                  <a:pt x="19" y="29"/>
                </a:lnTo>
                <a:lnTo>
                  <a:pt x="19" y="32"/>
                </a:lnTo>
                <a:lnTo>
                  <a:pt x="15" y="32"/>
                </a:lnTo>
                <a:lnTo>
                  <a:pt x="12" y="32"/>
                </a:lnTo>
                <a:lnTo>
                  <a:pt x="12" y="32"/>
                </a:lnTo>
                <a:lnTo>
                  <a:pt x="9" y="32"/>
                </a:lnTo>
                <a:lnTo>
                  <a:pt x="6" y="32"/>
                </a:lnTo>
                <a:lnTo>
                  <a:pt x="6" y="29"/>
                </a:lnTo>
                <a:lnTo>
                  <a:pt x="3" y="25"/>
                </a:lnTo>
                <a:lnTo>
                  <a:pt x="0" y="25"/>
                </a:lnTo>
                <a:lnTo>
                  <a:pt x="0" y="29"/>
                </a:lnTo>
                <a:lnTo>
                  <a:pt x="0" y="25"/>
                </a:lnTo>
                <a:lnTo>
                  <a:pt x="3" y="13"/>
                </a:lnTo>
                <a:lnTo>
                  <a:pt x="6" y="7"/>
                </a:lnTo>
                <a:lnTo>
                  <a:pt x="9" y="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4" name="Freeform 142">
            <a:extLst>
              <a:ext uri="{FF2B5EF4-FFF2-40B4-BE49-F238E27FC236}">
                <a16:creationId xmlns:a16="http://schemas.microsoft.com/office/drawing/2014/main" id="{921E20B6-3CA3-FDF9-2AF9-ED2E1DF49237}"/>
              </a:ext>
            </a:extLst>
          </p:cNvPr>
          <p:cNvSpPr>
            <a:spLocks/>
          </p:cNvSpPr>
          <p:nvPr userDrawn="1"/>
        </p:nvSpPr>
        <p:spPr bwMode="auto">
          <a:xfrm>
            <a:off x="14965974" y="9514759"/>
            <a:ext cx="126992" cy="149226"/>
          </a:xfrm>
          <a:custGeom>
            <a:avLst/>
            <a:gdLst>
              <a:gd name="T0" fmla="*/ 6 w 40"/>
              <a:gd name="T1" fmla="*/ 47 h 47"/>
              <a:gd name="T2" fmla="*/ 18 w 40"/>
              <a:gd name="T3" fmla="*/ 47 h 47"/>
              <a:gd name="T4" fmla="*/ 25 w 40"/>
              <a:gd name="T5" fmla="*/ 44 h 47"/>
              <a:gd name="T6" fmla="*/ 28 w 40"/>
              <a:gd name="T7" fmla="*/ 41 h 47"/>
              <a:gd name="T8" fmla="*/ 31 w 40"/>
              <a:gd name="T9" fmla="*/ 35 h 47"/>
              <a:gd name="T10" fmla="*/ 34 w 40"/>
              <a:gd name="T11" fmla="*/ 32 h 47"/>
              <a:gd name="T12" fmla="*/ 37 w 40"/>
              <a:gd name="T13" fmla="*/ 32 h 47"/>
              <a:gd name="T14" fmla="*/ 40 w 40"/>
              <a:gd name="T15" fmla="*/ 28 h 47"/>
              <a:gd name="T16" fmla="*/ 40 w 40"/>
              <a:gd name="T17" fmla="*/ 25 h 47"/>
              <a:gd name="T18" fmla="*/ 40 w 40"/>
              <a:gd name="T19" fmla="*/ 19 h 47"/>
              <a:gd name="T20" fmla="*/ 37 w 40"/>
              <a:gd name="T21" fmla="*/ 19 h 47"/>
              <a:gd name="T22" fmla="*/ 37 w 40"/>
              <a:gd name="T23" fmla="*/ 16 h 47"/>
              <a:gd name="T24" fmla="*/ 34 w 40"/>
              <a:gd name="T25" fmla="*/ 13 h 47"/>
              <a:gd name="T26" fmla="*/ 34 w 40"/>
              <a:gd name="T27" fmla="*/ 13 h 47"/>
              <a:gd name="T28" fmla="*/ 34 w 40"/>
              <a:gd name="T29" fmla="*/ 10 h 47"/>
              <a:gd name="T30" fmla="*/ 34 w 40"/>
              <a:gd name="T31" fmla="*/ 6 h 47"/>
              <a:gd name="T32" fmla="*/ 31 w 40"/>
              <a:gd name="T33" fmla="*/ 6 h 47"/>
              <a:gd name="T34" fmla="*/ 31 w 40"/>
              <a:gd name="T35" fmla="*/ 3 h 47"/>
              <a:gd name="T36" fmla="*/ 28 w 40"/>
              <a:gd name="T37" fmla="*/ 3 h 47"/>
              <a:gd name="T38" fmla="*/ 25 w 40"/>
              <a:gd name="T39" fmla="*/ 0 h 47"/>
              <a:gd name="T40" fmla="*/ 25 w 40"/>
              <a:gd name="T41" fmla="*/ 0 h 47"/>
              <a:gd name="T42" fmla="*/ 25 w 40"/>
              <a:gd name="T43" fmla="*/ 3 h 47"/>
              <a:gd name="T44" fmla="*/ 22 w 40"/>
              <a:gd name="T45" fmla="*/ 10 h 47"/>
              <a:gd name="T46" fmla="*/ 22 w 40"/>
              <a:gd name="T47" fmla="*/ 13 h 47"/>
              <a:gd name="T48" fmla="*/ 18 w 40"/>
              <a:gd name="T49" fmla="*/ 13 h 47"/>
              <a:gd name="T50" fmla="*/ 15 w 40"/>
              <a:gd name="T51" fmla="*/ 13 h 47"/>
              <a:gd name="T52" fmla="*/ 15 w 40"/>
              <a:gd name="T53" fmla="*/ 13 h 47"/>
              <a:gd name="T54" fmla="*/ 12 w 40"/>
              <a:gd name="T55" fmla="*/ 13 h 47"/>
              <a:gd name="T56" fmla="*/ 9 w 40"/>
              <a:gd name="T57" fmla="*/ 13 h 47"/>
              <a:gd name="T58" fmla="*/ 9 w 40"/>
              <a:gd name="T59" fmla="*/ 10 h 47"/>
              <a:gd name="T60" fmla="*/ 6 w 40"/>
              <a:gd name="T61" fmla="*/ 6 h 47"/>
              <a:gd name="T62" fmla="*/ 3 w 40"/>
              <a:gd name="T63" fmla="*/ 6 h 47"/>
              <a:gd name="T64" fmla="*/ 3 w 40"/>
              <a:gd name="T65" fmla="*/ 10 h 47"/>
              <a:gd name="T66" fmla="*/ 0 w 40"/>
              <a:gd name="T67" fmla="*/ 10 h 47"/>
              <a:gd name="T68" fmla="*/ 3 w 40"/>
              <a:gd name="T69" fmla="*/ 16 h 47"/>
              <a:gd name="T70" fmla="*/ 3 w 40"/>
              <a:gd name="T71" fmla="*/ 19 h 47"/>
              <a:gd name="T72" fmla="*/ 3 w 40"/>
              <a:gd name="T73" fmla="*/ 25 h 47"/>
              <a:gd name="T74" fmla="*/ 6 w 40"/>
              <a:gd name="T75"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7">
                <a:moveTo>
                  <a:pt x="6" y="47"/>
                </a:moveTo>
                <a:lnTo>
                  <a:pt x="18" y="47"/>
                </a:lnTo>
                <a:lnTo>
                  <a:pt x="25" y="44"/>
                </a:lnTo>
                <a:lnTo>
                  <a:pt x="28" y="41"/>
                </a:lnTo>
                <a:lnTo>
                  <a:pt x="31" y="35"/>
                </a:lnTo>
                <a:lnTo>
                  <a:pt x="34" y="32"/>
                </a:lnTo>
                <a:lnTo>
                  <a:pt x="37" y="32"/>
                </a:lnTo>
                <a:lnTo>
                  <a:pt x="40" y="28"/>
                </a:lnTo>
                <a:lnTo>
                  <a:pt x="40" y="25"/>
                </a:lnTo>
                <a:lnTo>
                  <a:pt x="40" y="19"/>
                </a:lnTo>
                <a:lnTo>
                  <a:pt x="37" y="19"/>
                </a:lnTo>
                <a:lnTo>
                  <a:pt x="37" y="16"/>
                </a:lnTo>
                <a:lnTo>
                  <a:pt x="34" y="13"/>
                </a:lnTo>
                <a:lnTo>
                  <a:pt x="34" y="13"/>
                </a:lnTo>
                <a:lnTo>
                  <a:pt x="34" y="10"/>
                </a:lnTo>
                <a:lnTo>
                  <a:pt x="34" y="6"/>
                </a:lnTo>
                <a:lnTo>
                  <a:pt x="31" y="6"/>
                </a:lnTo>
                <a:lnTo>
                  <a:pt x="31" y="3"/>
                </a:lnTo>
                <a:lnTo>
                  <a:pt x="28" y="3"/>
                </a:lnTo>
                <a:lnTo>
                  <a:pt x="25" y="0"/>
                </a:lnTo>
                <a:lnTo>
                  <a:pt x="25" y="0"/>
                </a:lnTo>
                <a:lnTo>
                  <a:pt x="25" y="3"/>
                </a:lnTo>
                <a:lnTo>
                  <a:pt x="22" y="10"/>
                </a:lnTo>
                <a:lnTo>
                  <a:pt x="22" y="13"/>
                </a:lnTo>
                <a:lnTo>
                  <a:pt x="18" y="13"/>
                </a:lnTo>
                <a:lnTo>
                  <a:pt x="15" y="13"/>
                </a:lnTo>
                <a:lnTo>
                  <a:pt x="15" y="13"/>
                </a:lnTo>
                <a:lnTo>
                  <a:pt x="12" y="13"/>
                </a:lnTo>
                <a:lnTo>
                  <a:pt x="9" y="13"/>
                </a:lnTo>
                <a:lnTo>
                  <a:pt x="9" y="10"/>
                </a:lnTo>
                <a:lnTo>
                  <a:pt x="6" y="6"/>
                </a:lnTo>
                <a:lnTo>
                  <a:pt x="3" y="6"/>
                </a:lnTo>
                <a:lnTo>
                  <a:pt x="3" y="10"/>
                </a:lnTo>
                <a:lnTo>
                  <a:pt x="0" y="10"/>
                </a:lnTo>
                <a:lnTo>
                  <a:pt x="3" y="16"/>
                </a:lnTo>
                <a:lnTo>
                  <a:pt x="3" y="19"/>
                </a:lnTo>
                <a:lnTo>
                  <a:pt x="3" y="25"/>
                </a:lnTo>
                <a:lnTo>
                  <a:pt x="6" y="47"/>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5" name="Freeform 143">
            <a:extLst>
              <a:ext uri="{FF2B5EF4-FFF2-40B4-BE49-F238E27FC236}">
                <a16:creationId xmlns:a16="http://schemas.microsoft.com/office/drawing/2014/main" id="{AB171244-B990-61F9-B8F9-7FF8D86BFDF1}"/>
              </a:ext>
            </a:extLst>
          </p:cNvPr>
          <p:cNvSpPr>
            <a:spLocks/>
          </p:cNvSpPr>
          <p:nvPr userDrawn="1"/>
        </p:nvSpPr>
        <p:spPr bwMode="auto">
          <a:xfrm>
            <a:off x="13911945" y="9038509"/>
            <a:ext cx="1190549" cy="1190626"/>
          </a:xfrm>
          <a:custGeom>
            <a:avLst/>
            <a:gdLst>
              <a:gd name="T0" fmla="*/ 10 w 375"/>
              <a:gd name="T1" fmla="*/ 210 h 375"/>
              <a:gd name="T2" fmla="*/ 25 w 375"/>
              <a:gd name="T3" fmla="*/ 203 h 375"/>
              <a:gd name="T4" fmla="*/ 41 w 375"/>
              <a:gd name="T5" fmla="*/ 194 h 375"/>
              <a:gd name="T6" fmla="*/ 50 w 375"/>
              <a:gd name="T7" fmla="*/ 207 h 375"/>
              <a:gd name="T8" fmla="*/ 75 w 375"/>
              <a:gd name="T9" fmla="*/ 185 h 375"/>
              <a:gd name="T10" fmla="*/ 79 w 375"/>
              <a:gd name="T11" fmla="*/ 153 h 375"/>
              <a:gd name="T12" fmla="*/ 97 w 375"/>
              <a:gd name="T13" fmla="*/ 131 h 375"/>
              <a:gd name="T14" fmla="*/ 116 w 375"/>
              <a:gd name="T15" fmla="*/ 103 h 375"/>
              <a:gd name="T16" fmla="*/ 119 w 375"/>
              <a:gd name="T17" fmla="*/ 78 h 375"/>
              <a:gd name="T18" fmla="*/ 132 w 375"/>
              <a:gd name="T19" fmla="*/ 47 h 375"/>
              <a:gd name="T20" fmla="*/ 129 w 375"/>
              <a:gd name="T21" fmla="*/ 22 h 375"/>
              <a:gd name="T22" fmla="*/ 135 w 375"/>
              <a:gd name="T23" fmla="*/ 13 h 375"/>
              <a:gd name="T24" fmla="*/ 147 w 375"/>
              <a:gd name="T25" fmla="*/ 6 h 375"/>
              <a:gd name="T26" fmla="*/ 169 w 375"/>
              <a:gd name="T27" fmla="*/ 19 h 375"/>
              <a:gd name="T28" fmla="*/ 191 w 375"/>
              <a:gd name="T29" fmla="*/ 22 h 375"/>
              <a:gd name="T30" fmla="*/ 204 w 375"/>
              <a:gd name="T31" fmla="*/ 22 h 375"/>
              <a:gd name="T32" fmla="*/ 219 w 375"/>
              <a:gd name="T33" fmla="*/ 16 h 375"/>
              <a:gd name="T34" fmla="*/ 244 w 375"/>
              <a:gd name="T35" fmla="*/ 6 h 375"/>
              <a:gd name="T36" fmla="*/ 257 w 375"/>
              <a:gd name="T37" fmla="*/ 9 h 375"/>
              <a:gd name="T38" fmla="*/ 266 w 375"/>
              <a:gd name="T39" fmla="*/ 0 h 375"/>
              <a:gd name="T40" fmla="*/ 282 w 375"/>
              <a:gd name="T41" fmla="*/ 6 h 375"/>
              <a:gd name="T42" fmla="*/ 307 w 375"/>
              <a:gd name="T43" fmla="*/ 9 h 375"/>
              <a:gd name="T44" fmla="*/ 322 w 375"/>
              <a:gd name="T45" fmla="*/ 22 h 375"/>
              <a:gd name="T46" fmla="*/ 335 w 375"/>
              <a:gd name="T47" fmla="*/ 19 h 375"/>
              <a:gd name="T48" fmla="*/ 350 w 375"/>
              <a:gd name="T49" fmla="*/ 13 h 375"/>
              <a:gd name="T50" fmla="*/ 366 w 375"/>
              <a:gd name="T51" fmla="*/ 31 h 375"/>
              <a:gd name="T52" fmla="*/ 375 w 375"/>
              <a:gd name="T53" fmla="*/ 38 h 375"/>
              <a:gd name="T54" fmla="*/ 372 w 375"/>
              <a:gd name="T55" fmla="*/ 63 h 375"/>
              <a:gd name="T56" fmla="*/ 357 w 375"/>
              <a:gd name="T57" fmla="*/ 94 h 375"/>
              <a:gd name="T58" fmla="*/ 344 w 375"/>
              <a:gd name="T59" fmla="*/ 135 h 375"/>
              <a:gd name="T60" fmla="*/ 335 w 375"/>
              <a:gd name="T61" fmla="*/ 169 h 375"/>
              <a:gd name="T62" fmla="*/ 363 w 375"/>
              <a:gd name="T63" fmla="*/ 269 h 375"/>
              <a:gd name="T64" fmla="*/ 329 w 375"/>
              <a:gd name="T65" fmla="*/ 304 h 375"/>
              <a:gd name="T66" fmla="*/ 325 w 375"/>
              <a:gd name="T67" fmla="*/ 316 h 375"/>
              <a:gd name="T68" fmla="*/ 319 w 375"/>
              <a:gd name="T69" fmla="*/ 344 h 375"/>
              <a:gd name="T70" fmla="*/ 341 w 375"/>
              <a:gd name="T71" fmla="*/ 357 h 375"/>
              <a:gd name="T72" fmla="*/ 344 w 375"/>
              <a:gd name="T73" fmla="*/ 375 h 375"/>
              <a:gd name="T74" fmla="*/ 332 w 375"/>
              <a:gd name="T75" fmla="*/ 375 h 375"/>
              <a:gd name="T76" fmla="*/ 304 w 375"/>
              <a:gd name="T77" fmla="*/ 354 h 375"/>
              <a:gd name="T78" fmla="*/ 294 w 375"/>
              <a:gd name="T79" fmla="*/ 338 h 375"/>
              <a:gd name="T80" fmla="*/ 279 w 375"/>
              <a:gd name="T81" fmla="*/ 347 h 375"/>
              <a:gd name="T82" fmla="*/ 260 w 375"/>
              <a:gd name="T83" fmla="*/ 341 h 375"/>
              <a:gd name="T84" fmla="*/ 250 w 375"/>
              <a:gd name="T85" fmla="*/ 332 h 375"/>
              <a:gd name="T86" fmla="*/ 241 w 375"/>
              <a:gd name="T87" fmla="*/ 335 h 375"/>
              <a:gd name="T88" fmla="*/ 232 w 375"/>
              <a:gd name="T89" fmla="*/ 329 h 375"/>
              <a:gd name="T90" fmla="*/ 216 w 375"/>
              <a:gd name="T91" fmla="*/ 332 h 375"/>
              <a:gd name="T92" fmla="*/ 200 w 375"/>
              <a:gd name="T93" fmla="*/ 329 h 375"/>
              <a:gd name="T94" fmla="*/ 197 w 375"/>
              <a:gd name="T95" fmla="*/ 322 h 375"/>
              <a:gd name="T96" fmla="*/ 194 w 375"/>
              <a:gd name="T97" fmla="*/ 310 h 375"/>
              <a:gd name="T98" fmla="*/ 191 w 375"/>
              <a:gd name="T99" fmla="*/ 297 h 375"/>
              <a:gd name="T100" fmla="*/ 191 w 375"/>
              <a:gd name="T101" fmla="*/ 278 h 375"/>
              <a:gd name="T102" fmla="*/ 188 w 375"/>
              <a:gd name="T103" fmla="*/ 266 h 375"/>
              <a:gd name="T104" fmla="*/ 166 w 375"/>
              <a:gd name="T105" fmla="*/ 250 h 375"/>
              <a:gd name="T106" fmla="*/ 141 w 375"/>
              <a:gd name="T107" fmla="*/ 253 h 375"/>
              <a:gd name="T108" fmla="*/ 122 w 375"/>
              <a:gd name="T109" fmla="*/ 269 h 375"/>
              <a:gd name="T110" fmla="*/ 100 w 375"/>
              <a:gd name="T111" fmla="*/ 260 h 375"/>
              <a:gd name="T112" fmla="*/ 94 w 375"/>
              <a:gd name="T113" fmla="*/ 244 h 375"/>
              <a:gd name="T114" fmla="*/ 91 w 375"/>
              <a:gd name="T115" fmla="*/ 228 h 375"/>
              <a:gd name="T116" fmla="*/ 44 w 375"/>
              <a:gd name="T117" fmla="*/ 225 h 375"/>
              <a:gd name="T118" fmla="*/ 19 w 375"/>
              <a:gd name="T119" fmla="*/ 225 h 375"/>
              <a:gd name="T120" fmla="*/ 10 w 375"/>
              <a:gd name="T121" fmla="*/ 228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5" h="375">
                <a:moveTo>
                  <a:pt x="0" y="225"/>
                </a:moveTo>
                <a:lnTo>
                  <a:pt x="4" y="222"/>
                </a:lnTo>
                <a:lnTo>
                  <a:pt x="7" y="222"/>
                </a:lnTo>
                <a:lnTo>
                  <a:pt x="10" y="219"/>
                </a:lnTo>
                <a:lnTo>
                  <a:pt x="10" y="213"/>
                </a:lnTo>
                <a:lnTo>
                  <a:pt x="10" y="210"/>
                </a:lnTo>
                <a:lnTo>
                  <a:pt x="16" y="207"/>
                </a:lnTo>
                <a:lnTo>
                  <a:pt x="19" y="203"/>
                </a:lnTo>
                <a:lnTo>
                  <a:pt x="22" y="203"/>
                </a:lnTo>
                <a:lnTo>
                  <a:pt x="25" y="200"/>
                </a:lnTo>
                <a:lnTo>
                  <a:pt x="25" y="203"/>
                </a:lnTo>
                <a:lnTo>
                  <a:pt x="25" y="203"/>
                </a:lnTo>
                <a:lnTo>
                  <a:pt x="29" y="203"/>
                </a:lnTo>
                <a:lnTo>
                  <a:pt x="32" y="203"/>
                </a:lnTo>
                <a:lnTo>
                  <a:pt x="32" y="197"/>
                </a:lnTo>
                <a:lnTo>
                  <a:pt x="35" y="197"/>
                </a:lnTo>
                <a:lnTo>
                  <a:pt x="38" y="197"/>
                </a:lnTo>
                <a:lnTo>
                  <a:pt x="41" y="194"/>
                </a:lnTo>
                <a:lnTo>
                  <a:pt x="47" y="194"/>
                </a:lnTo>
                <a:lnTo>
                  <a:pt x="47" y="194"/>
                </a:lnTo>
                <a:lnTo>
                  <a:pt x="44" y="200"/>
                </a:lnTo>
                <a:lnTo>
                  <a:pt x="47" y="200"/>
                </a:lnTo>
                <a:lnTo>
                  <a:pt x="47" y="203"/>
                </a:lnTo>
                <a:lnTo>
                  <a:pt x="50" y="207"/>
                </a:lnTo>
                <a:lnTo>
                  <a:pt x="57" y="203"/>
                </a:lnTo>
                <a:lnTo>
                  <a:pt x="60" y="200"/>
                </a:lnTo>
                <a:lnTo>
                  <a:pt x="66" y="191"/>
                </a:lnTo>
                <a:lnTo>
                  <a:pt x="69" y="188"/>
                </a:lnTo>
                <a:lnTo>
                  <a:pt x="72" y="188"/>
                </a:lnTo>
                <a:lnTo>
                  <a:pt x="75" y="185"/>
                </a:lnTo>
                <a:lnTo>
                  <a:pt x="79" y="182"/>
                </a:lnTo>
                <a:lnTo>
                  <a:pt x="79" y="178"/>
                </a:lnTo>
                <a:lnTo>
                  <a:pt x="79" y="172"/>
                </a:lnTo>
                <a:lnTo>
                  <a:pt x="82" y="160"/>
                </a:lnTo>
                <a:lnTo>
                  <a:pt x="79" y="160"/>
                </a:lnTo>
                <a:lnTo>
                  <a:pt x="79" y="153"/>
                </a:lnTo>
                <a:lnTo>
                  <a:pt x="82" y="150"/>
                </a:lnTo>
                <a:lnTo>
                  <a:pt x="88" y="144"/>
                </a:lnTo>
                <a:lnTo>
                  <a:pt x="88" y="138"/>
                </a:lnTo>
                <a:lnTo>
                  <a:pt x="91" y="135"/>
                </a:lnTo>
                <a:lnTo>
                  <a:pt x="94" y="131"/>
                </a:lnTo>
                <a:lnTo>
                  <a:pt x="97" y="131"/>
                </a:lnTo>
                <a:lnTo>
                  <a:pt x="100" y="128"/>
                </a:lnTo>
                <a:lnTo>
                  <a:pt x="104" y="128"/>
                </a:lnTo>
                <a:lnTo>
                  <a:pt x="110" y="119"/>
                </a:lnTo>
                <a:lnTo>
                  <a:pt x="110" y="113"/>
                </a:lnTo>
                <a:lnTo>
                  <a:pt x="113" y="106"/>
                </a:lnTo>
                <a:lnTo>
                  <a:pt x="116" y="103"/>
                </a:lnTo>
                <a:lnTo>
                  <a:pt x="116" y="97"/>
                </a:lnTo>
                <a:lnTo>
                  <a:pt x="116" y="97"/>
                </a:lnTo>
                <a:lnTo>
                  <a:pt x="116" y="91"/>
                </a:lnTo>
                <a:lnTo>
                  <a:pt x="116" y="88"/>
                </a:lnTo>
                <a:lnTo>
                  <a:pt x="116" y="81"/>
                </a:lnTo>
                <a:lnTo>
                  <a:pt x="119" y="78"/>
                </a:lnTo>
                <a:lnTo>
                  <a:pt x="119" y="75"/>
                </a:lnTo>
                <a:lnTo>
                  <a:pt x="119" y="72"/>
                </a:lnTo>
                <a:lnTo>
                  <a:pt x="119" y="63"/>
                </a:lnTo>
                <a:lnTo>
                  <a:pt x="129" y="53"/>
                </a:lnTo>
                <a:lnTo>
                  <a:pt x="129" y="50"/>
                </a:lnTo>
                <a:lnTo>
                  <a:pt x="132" y="47"/>
                </a:lnTo>
                <a:lnTo>
                  <a:pt x="132" y="41"/>
                </a:lnTo>
                <a:lnTo>
                  <a:pt x="129" y="34"/>
                </a:lnTo>
                <a:lnTo>
                  <a:pt x="132" y="31"/>
                </a:lnTo>
                <a:lnTo>
                  <a:pt x="132" y="28"/>
                </a:lnTo>
                <a:lnTo>
                  <a:pt x="132" y="28"/>
                </a:lnTo>
                <a:lnTo>
                  <a:pt x="129" y="22"/>
                </a:lnTo>
                <a:lnTo>
                  <a:pt x="129" y="22"/>
                </a:lnTo>
                <a:lnTo>
                  <a:pt x="132" y="19"/>
                </a:lnTo>
                <a:lnTo>
                  <a:pt x="135" y="19"/>
                </a:lnTo>
                <a:lnTo>
                  <a:pt x="135" y="16"/>
                </a:lnTo>
                <a:lnTo>
                  <a:pt x="135" y="16"/>
                </a:lnTo>
                <a:lnTo>
                  <a:pt x="135" y="13"/>
                </a:lnTo>
                <a:lnTo>
                  <a:pt x="138" y="9"/>
                </a:lnTo>
                <a:lnTo>
                  <a:pt x="141" y="9"/>
                </a:lnTo>
                <a:lnTo>
                  <a:pt x="144" y="6"/>
                </a:lnTo>
                <a:lnTo>
                  <a:pt x="147" y="9"/>
                </a:lnTo>
                <a:lnTo>
                  <a:pt x="147" y="6"/>
                </a:lnTo>
                <a:lnTo>
                  <a:pt x="147" y="6"/>
                </a:lnTo>
                <a:lnTo>
                  <a:pt x="150" y="9"/>
                </a:lnTo>
                <a:lnTo>
                  <a:pt x="154" y="9"/>
                </a:lnTo>
                <a:lnTo>
                  <a:pt x="160" y="13"/>
                </a:lnTo>
                <a:lnTo>
                  <a:pt x="163" y="16"/>
                </a:lnTo>
                <a:lnTo>
                  <a:pt x="169" y="19"/>
                </a:lnTo>
                <a:lnTo>
                  <a:pt x="169" y="19"/>
                </a:lnTo>
                <a:lnTo>
                  <a:pt x="172" y="19"/>
                </a:lnTo>
                <a:lnTo>
                  <a:pt x="179" y="22"/>
                </a:lnTo>
                <a:lnTo>
                  <a:pt x="182" y="22"/>
                </a:lnTo>
                <a:lnTo>
                  <a:pt x="185" y="22"/>
                </a:lnTo>
                <a:lnTo>
                  <a:pt x="188" y="22"/>
                </a:lnTo>
                <a:lnTo>
                  <a:pt x="191" y="22"/>
                </a:lnTo>
                <a:lnTo>
                  <a:pt x="194" y="22"/>
                </a:lnTo>
                <a:lnTo>
                  <a:pt x="197" y="25"/>
                </a:lnTo>
                <a:lnTo>
                  <a:pt x="200" y="25"/>
                </a:lnTo>
                <a:lnTo>
                  <a:pt x="204" y="25"/>
                </a:lnTo>
                <a:lnTo>
                  <a:pt x="204" y="22"/>
                </a:lnTo>
                <a:lnTo>
                  <a:pt x="204" y="22"/>
                </a:lnTo>
                <a:lnTo>
                  <a:pt x="204" y="19"/>
                </a:lnTo>
                <a:lnTo>
                  <a:pt x="207" y="16"/>
                </a:lnTo>
                <a:lnTo>
                  <a:pt x="210" y="13"/>
                </a:lnTo>
                <a:lnTo>
                  <a:pt x="213" y="13"/>
                </a:lnTo>
                <a:lnTo>
                  <a:pt x="216" y="13"/>
                </a:lnTo>
                <a:lnTo>
                  <a:pt x="219" y="16"/>
                </a:lnTo>
                <a:lnTo>
                  <a:pt x="222" y="16"/>
                </a:lnTo>
                <a:lnTo>
                  <a:pt x="229" y="13"/>
                </a:lnTo>
                <a:lnTo>
                  <a:pt x="232" y="13"/>
                </a:lnTo>
                <a:lnTo>
                  <a:pt x="235" y="9"/>
                </a:lnTo>
                <a:lnTo>
                  <a:pt x="241" y="6"/>
                </a:lnTo>
                <a:lnTo>
                  <a:pt x="244" y="6"/>
                </a:lnTo>
                <a:lnTo>
                  <a:pt x="244" y="9"/>
                </a:lnTo>
                <a:lnTo>
                  <a:pt x="247" y="9"/>
                </a:lnTo>
                <a:lnTo>
                  <a:pt x="247" y="9"/>
                </a:lnTo>
                <a:lnTo>
                  <a:pt x="250" y="9"/>
                </a:lnTo>
                <a:lnTo>
                  <a:pt x="250" y="9"/>
                </a:lnTo>
                <a:lnTo>
                  <a:pt x="257" y="9"/>
                </a:lnTo>
                <a:lnTo>
                  <a:pt x="260" y="9"/>
                </a:lnTo>
                <a:lnTo>
                  <a:pt x="260" y="9"/>
                </a:lnTo>
                <a:lnTo>
                  <a:pt x="263" y="3"/>
                </a:lnTo>
                <a:lnTo>
                  <a:pt x="263" y="3"/>
                </a:lnTo>
                <a:lnTo>
                  <a:pt x="263" y="3"/>
                </a:lnTo>
                <a:lnTo>
                  <a:pt x="266" y="0"/>
                </a:lnTo>
                <a:lnTo>
                  <a:pt x="269" y="3"/>
                </a:lnTo>
                <a:lnTo>
                  <a:pt x="272" y="3"/>
                </a:lnTo>
                <a:lnTo>
                  <a:pt x="275" y="3"/>
                </a:lnTo>
                <a:lnTo>
                  <a:pt x="275" y="6"/>
                </a:lnTo>
                <a:lnTo>
                  <a:pt x="279" y="6"/>
                </a:lnTo>
                <a:lnTo>
                  <a:pt x="282" y="6"/>
                </a:lnTo>
                <a:lnTo>
                  <a:pt x="288" y="6"/>
                </a:lnTo>
                <a:lnTo>
                  <a:pt x="291" y="9"/>
                </a:lnTo>
                <a:lnTo>
                  <a:pt x="297" y="6"/>
                </a:lnTo>
                <a:lnTo>
                  <a:pt x="300" y="6"/>
                </a:lnTo>
                <a:lnTo>
                  <a:pt x="304" y="6"/>
                </a:lnTo>
                <a:lnTo>
                  <a:pt x="307" y="9"/>
                </a:lnTo>
                <a:lnTo>
                  <a:pt x="307" y="13"/>
                </a:lnTo>
                <a:lnTo>
                  <a:pt x="310" y="13"/>
                </a:lnTo>
                <a:lnTo>
                  <a:pt x="310" y="16"/>
                </a:lnTo>
                <a:lnTo>
                  <a:pt x="313" y="16"/>
                </a:lnTo>
                <a:lnTo>
                  <a:pt x="316" y="19"/>
                </a:lnTo>
                <a:lnTo>
                  <a:pt x="322" y="22"/>
                </a:lnTo>
                <a:lnTo>
                  <a:pt x="322" y="22"/>
                </a:lnTo>
                <a:lnTo>
                  <a:pt x="325" y="19"/>
                </a:lnTo>
                <a:lnTo>
                  <a:pt x="329" y="19"/>
                </a:lnTo>
                <a:lnTo>
                  <a:pt x="332" y="19"/>
                </a:lnTo>
                <a:lnTo>
                  <a:pt x="335" y="19"/>
                </a:lnTo>
                <a:lnTo>
                  <a:pt x="335" y="19"/>
                </a:lnTo>
                <a:lnTo>
                  <a:pt x="338" y="19"/>
                </a:lnTo>
                <a:lnTo>
                  <a:pt x="341" y="19"/>
                </a:lnTo>
                <a:lnTo>
                  <a:pt x="341" y="16"/>
                </a:lnTo>
                <a:lnTo>
                  <a:pt x="344" y="13"/>
                </a:lnTo>
                <a:lnTo>
                  <a:pt x="347" y="13"/>
                </a:lnTo>
                <a:lnTo>
                  <a:pt x="350" y="13"/>
                </a:lnTo>
                <a:lnTo>
                  <a:pt x="354" y="19"/>
                </a:lnTo>
                <a:lnTo>
                  <a:pt x="354" y="22"/>
                </a:lnTo>
                <a:lnTo>
                  <a:pt x="357" y="22"/>
                </a:lnTo>
                <a:lnTo>
                  <a:pt x="360" y="25"/>
                </a:lnTo>
                <a:lnTo>
                  <a:pt x="363" y="28"/>
                </a:lnTo>
                <a:lnTo>
                  <a:pt x="366" y="31"/>
                </a:lnTo>
                <a:lnTo>
                  <a:pt x="366" y="31"/>
                </a:lnTo>
                <a:lnTo>
                  <a:pt x="366" y="34"/>
                </a:lnTo>
                <a:lnTo>
                  <a:pt x="366" y="38"/>
                </a:lnTo>
                <a:lnTo>
                  <a:pt x="369" y="38"/>
                </a:lnTo>
                <a:lnTo>
                  <a:pt x="372" y="38"/>
                </a:lnTo>
                <a:lnTo>
                  <a:pt x="375" y="38"/>
                </a:lnTo>
                <a:lnTo>
                  <a:pt x="372" y="41"/>
                </a:lnTo>
                <a:lnTo>
                  <a:pt x="372" y="44"/>
                </a:lnTo>
                <a:lnTo>
                  <a:pt x="372" y="50"/>
                </a:lnTo>
                <a:lnTo>
                  <a:pt x="369" y="56"/>
                </a:lnTo>
                <a:lnTo>
                  <a:pt x="369" y="60"/>
                </a:lnTo>
                <a:lnTo>
                  <a:pt x="372" y="63"/>
                </a:lnTo>
                <a:lnTo>
                  <a:pt x="375" y="66"/>
                </a:lnTo>
                <a:lnTo>
                  <a:pt x="375" y="69"/>
                </a:lnTo>
                <a:lnTo>
                  <a:pt x="375" y="72"/>
                </a:lnTo>
                <a:lnTo>
                  <a:pt x="366" y="85"/>
                </a:lnTo>
                <a:lnTo>
                  <a:pt x="360" y="91"/>
                </a:lnTo>
                <a:lnTo>
                  <a:pt x="357" y="94"/>
                </a:lnTo>
                <a:lnTo>
                  <a:pt x="350" y="106"/>
                </a:lnTo>
                <a:lnTo>
                  <a:pt x="347" y="110"/>
                </a:lnTo>
                <a:lnTo>
                  <a:pt x="347" y="116"/>
                </a:lnTo>
                <a:lnTo>
                  <a:pt x="347" y="122"/>
                </a:lnTo>
                <a:lnTo>
                  <a:pt x="344" y="128"/>
                </a:lnTo>
                <a:lnTo>
                  <a:pt x="344" y="135"/>
                </a:lnTo>
                <a:lnTo>
                  <a:pt x="341" y="138"/>
                </a:lnTo>
                <a:lnTo>
                  <a:pt x="338" y="144"/>
                </a:lnTo>
                <a:lnTo>
                  <a:pt x="335" y="156"/>
                </a:lnTo>
                <a:lnTo>
                  <a:pt x="332" y="160"/>
                </a:lnTo>
                <a:lnTo>
                  <a:pt x="335" y="166"/>
                </a:lnTo>
                <a:lnTo>
                  <a:pt x="335" y="169"/>
                </a:lnTo>
                <a:lnTo>
                  <a:pt x="335" y="175"/>
                </a:lnTo>
                <a:lnTo>
                  <a:pt x="341" y="213"/>
                </a:lnTo>
                <a:lnTo>
                  <a:pt x="347" y="238"/>
                </a:lnTo>
                <a:lnTo>
                  <a:pt x="360" y="257"/>
                </a:lnTo>
                <a:lnTo>
                  <a:pt x="366" y="272"/>
                </a:lnTo>
                <a:lnTo>
                  <a:pt x="363" y="269"/>
                </a:lnTo>
                <a:lnTo>
                  <a:pt x="332" y="278"/>
                </a:lnTo>
                <a:lnTo>
                  <a:pt x="322" y="294"/>
                </a:lnTo>
                <a:lnTo>
                  <a:pt x="322" y="297"/>
                </a:lnTo>
                <a:lnTo>
                  <a:pt x="325" y="300"/>
                </a:lnTo>
                <a:lnTo>
                  <a:pt x="329" y="300"/>
                </a:lnTo>
                <a:lnTo>
                  <a:pt x="329" y="304"/>
                </a:lnTo>
                <a:lnTo>
                  <a:pt x="325" y="304"/>
                </a:lnTo>
                <a:lnTo>
                  <a:pt x="325" y="307"/>
                </a:lnTo>
                <a:lnTo>
                  <a:pt x="325" y="310"/>
                </a:lnTo>
                <a:lnTo>
                  <a:pt x="325" y="313"/>
                </a:lnTo>
                <a:lnTo>
                  <a:pt x="325" y="316"/>
                </a:lnTo>
                <a:lnTo>
                  <a:pt x="325" y="316"/>
                </a:lnTo>
                <a:lnTo>
                  <a:pt x="325" y="319"/>
                </a:lnTo>
                <a:lnTo>
                  <a:pt x="325" y="319"/>
                </a:lnTo>
                <a:lnTo>
                  <a:pt x="319" y="325"/>
                </a:lnTo>
                <a:lnTo>
                  <a:pt x="319" y="325"/>
                </a:lnTo>
                <a:lnTo>
                  <a:pt x="319" y="338"/>
                </a:lnTo>
                <a:lnTo>
                  <a:pt x="319" y="344"/>
                </a:lnTo>
                <a:lnTo>
                  <a:pt x="322" y="344"/>
                </a:lnTo>
                <a:lnTo>
                  <a:pt x="329" y="350"/>
                </a:lnTo>
                <a:lnTo>
                  <a:pt x="329" y="354"/>
                </a:lnTo>
                <a:lnTo>
                  <a:pt x="332" y="357"/>
                </a:lnTo>
                <a:lnTo>
                  <a:pt x="338" y="357"/>
                </a:lnTo>
                <a:lnTo>
                  <a:pt x="341" y="357"/>
                </a:lnTo>
                <a:lnTo>
                  <a:pt x="338" y="354"/>
                </a:lnTo>
                <a:lnTo>
                  <a:pt x="338" y="350"/>
                </a:lnTo>
                <a:lnTo>
                  <a:pt x="344" y="350"/>
                </a:lnTo>
                <a:lnTo>
                  <a:pt x="344" y="350"/>
                </a:lnTo>
                <a:lnTo>
                  <a:pt x="347" y="372"/>
                </a:lnTo>
                <a:lnTo>
                  <a:pt x="344" y="375"/>
                </a:lnTo>
                <a:lnTo>
                  <a:pt x="341" y="372"/>
                </a:lnTo>
                <a:lnTo>
                  <a:pt x="341" y="372"/>
                </a:lnTo>
                <a:lnTo>
                  <a:pt x="341" y="372"/>
                </a:lnTo>
                <a:lnTo>
                  <a:pt x="338" y="372"/>
                </a:lnTo>
                <a:lnTo>
                  <a:pt x="335" y="375"/>
                </a:lnTo>
                <a:lnTo>
                  <a:pt x="332" y="375"/>
                </a:lnTo>
                <a:lnTo>
                  <a:pt x="329" y="369"/>
                </a:lnTo>
                <a:lnTo>
                  <a:pt x="322" y="366"/>
                </a:lnTo>
                <a:lnTo>
                  <a:pt x="319" y="363"/>
                </a:lnTo>
                <a:lnTo>
                  <a:pt x="316" y="357"/>
                </a:lnTo>
                <a:lnTo>
                  <a:pt x="313" y="354"/>
                </a:lnTo>
                <a:lnTo>
                  <a:pt x="304" y="354"/>
                </a:lnTo>
                <a:lnTo>
                  <a:pt x="300" y="350"/>
                </a:lnTo>
                <a:lnTo>
                  <a:pt x="300" y="347"/>
                </a:lnTo>
                <a:lnTo>
                  <a:pt x="297" y="344"/>
                </a:lnTo>
                <a:lnTo>
                  <a:pt x="297" y="338"/>
                </a:lnTo>
                <a:lnTo>
                  <a:pt x="294" y="338"/>
                </a:lnTo>
                <a:lnTo>
                  <a:pt x="294" y="338"/>
                </a:lnTo>
                <a:lnTo>
                  <a:pt x="291" y="338"/>
                </a:lnTo>
                <a:lnTo>
                  <a:pt x="288" y="344"/>
                </a:lnTo>
                <a:lnTo>
                  <a:pt x="288" y="347"/>
                </a:lnTo>
                <a:lnTo>
                  <a:pt x="282" y="347"/>
                </a:lnTo>
                <a:lnTo>
                  <a:pt x="279" y="347"/>
                </a:lnTo>
                <a:lnTo>
                  <a:pt x="279" y="347"/>
                </a:lnTo>
                <a:lnTo>
                  <a:pt x="275" y="347"/>
                </a:lnTo>
                <a:lnTo>
                  <a:pt x="269" y="344"/>
                </a:lnTo>
                <a:lnTo>
                  <a:pt x="266" y="341"/>
                </a:lnTo>
                <a:lnTo>
                  <a:pt x="263" y="341"/>
                </a:lnTo>
                <a:lnTo>
                  <a:pt x="260" y="341"/>
                </a:lnTo>
                <a:lnTo>
                  <a:pt x="260" y="341"/>
                </a:lnTo>
                <a:lnTo>
                  <a:pt x="260" y="338"/>
                </a:lnTo>
                <a:lnTo>
                  <a:pt x="260" y="335"/>
                </a:lnTo>
                <a:lnTo>
                  <a:pt x="257" y="335"/>
                </a:lnTo>
                <a:lnTo>
                  <a:pt x="257" y="332"/>
                </a:lnTo>
                <a:lnTo>
                  <a:pt x="257" y="329"/>
                </a:lnTo>
                <a:lnTo>
                  <a:pt x="250" y="332"/>
                </a:lnTo>
                <a:lnTo>
                  <a:pt x="250" y="332"/>
                </a:lnTo>
                <a:lnTo>
                  <a:pt x="247" y="332"/>
                </a:lnTo>
                <a:lnTo>
                  <a:pt x="244" y="335"/>
                </a:lnTo>
                <a:lnTo>
                  <a:pt x="241" y="335"/>
                </a:lnTo>
                <a:lnTo>
                  <a:pt x="241" y="335"/>
                </a:lnTo>
                <a:lnTo>
                  <a:pt x="241" y="335"/>
                </a:lnTo>
                <a:lnTo>
                  <a:pt x="241" y="332"/>
                </a:lnTo>
                <a:lnTo>
                  <a:pt x="238" y="329"/>
                </a:lnTo>
                <a:lnTo>
                  <a:pt x="235" y="329"/>
                </a:lnTo>
                <a:lnTo>
                  <a:pt x="235" y="329"/>
                </a:lnTo>
                <a:lnTo>
                  <a:pt x="232" y="329"/>
                </a:lnTo>
                <a:lnTo>
                  <a:pt x="232" y="329"/>
                </a:lnTo>
                <a:lnTo>
                  <a:pt x="229" y="329"/>
                </a:lnTo>
                <a:lnTo>
                  <a:pt x="225" y="329"/>
                </a:lnTo>
                <a:lnTo>
                  <a:pt x="222" y="332"/>
                </a:lnTo>
                <a:lnTo>
                  <a:pt x="219" y="332"/>
                </a:lnTo>
                <a:lnTo>
                  <a:pt x="219" y="332"/>
                </a:lnTo>
                <a:lnTo>
                  <a:pt x="216" y="332"/>
                </a:lnTo>
                <a:lnTo>
                  <a:pt x="210" y="332"/>
                </a:lnTo>
                <a:lnTo>
                  <a:pt x="210" y="332"/>
                </a:lnTo>
                <a:lnTo>
                  <a:pt x="207" y="329"/>
                </a:lnTo>
                <a:lnTo>
                  <a:pt x="204" y="329"/>
                </a:lnTo>
                <a:lnTo>
                  <a:pt x="204" y="329"/>
                </a:lnTo>
                <a:lnTo>
                  <a:pt x="200" y="329"/>
                </a:lnTo>
                <a:lnTo>
                  <a:pt x="200" y="332"/>
                </a:lnTo>
                <a:lnTo>
                  <a:pt x="197" y="332"/>
                </a:lnTo>
                <a:lnTo>
                  <a:pt x="197" y="329"/>
                </a:lnTo>
                <a:lnTo>
                  <a:pt x="197" y="325"/>
                </a:lnTo>
                <a:lnTo>
                  <a:pt x="197" y="325"/>
                </a:lnTo>
                <a:lnTo>
                  <a:pt x="197" y="322"/>
                </a:lnTo>
                <a:lnTo>
                  <a:pt x="200" y="322"/>
                </a:lnTo>
                <a:lnTo>
                  <a:pt x="197" y="319"/>
                </a:lnTo>
                <a:lnTo>
                  <a:pt x="197" y="316"/>
                </a:lnTo>
                <a:lnTo>
                  <a:pt x="197" y="313"/>
                </a:lnTo>
                <a:lnTo>
                  <a:pt x="197" y="313"/>
                </a:lnTo>
                <a:lnTo>
                  <a:pt x="194" y="310"/>
                </a:lnTo>
                <a:lnTo>
                  <a:pt x="194" y="307"/>
                </a:lnTo>
                <a:lnTo>
                  <a:pt x="197" y="304"/>
                </a:lnTo>
                <a:lnTo>
                  <a:pt x="194" y="304"/>
                </a:lnTo>
                <a:lnTo>
                  <a:pt x="194" y="300"/>
                </a:lnTo>
                <a:lnTo>
                  <a:pt x="194" y="300"/>
                </a:lnTo>
                <a:lnTo>
                  <a:pt x="191" y="297"/>
                </a:lnTo>
                <a:lnTo>
                  <a:pt x="191" y="297"/>
                </a:lnTo>
                <a:lnTo>
                  <a:pt x="191" y="294"/>
                </a:lnTo>
                <a:lnTo>
                  <a:pt x="191" y="291"/>
                </a:lnTo>
                <a:lnTo>
                  <a:pt x="188" y="291"/>
                </a:lnTo>
                <a:lnTo>
                  <a:pt x="191" y="288"/>
                </a:lnTo>
                <a:lnTo>
                  <a:pt x="191" y="278"/>
                </a:lnTo>
                <a:lnTo>
                  <a:pt x="188" y="275"/>
                </a:lnTo>
                <a:lnTo>
                  <a:pt x="188" y="275"/>
                </a:lnTo>
                <a:lnTo>
                  <a:pt x="191" y="275"/>
                </a:lnTo>
                <a:lnTo>
                  <a:pt x="191" y="272"/>
                </a:lnTo>
                <a:lnTo>
                  <a:pt x="188" y="269"/>
                </a:lnTo>
                <a:lnTo>
                  <a:pt x="188" y="266"/>
                </a:lnTo>
                <a:lnTo>
                  <a:pt x="191" y="263"/>
                </a:lnTo>
                <a:lnTo>
                  <a:pt x="191" y="260"/>
                </a:lnTo>
                <a:lnTo>
                  <a:pt x="191" y="257"/>
                </a:lnTo>
                <a:lnTo>
                  <a:pt x="191" y="253"/>
                </a:lnTo>
                <a:lnTo>
                  <a:pt x="166" y="250"/>
                </a:lnTo>
                <a:lnTo>
                  <a:pt x="166" y="250"/>
                </a:lnTo>
                <a:lnTo>
                  <a:pt x="169" y="247"/>
                </a:lnTo>
                <a:lnTo>
                  <a:pt x="169" y="244"/>
                </a:lnTo>
                <a:lnTo>
                  <a:pt x="163" y="244"/>
                </a:lnTo>
                <a:lnTo>
                  <a:pt x="163" y="247"/>
                </a:lnTo>
                <a:lnTo>
                  <a:pt x="144" y="247"/>
                </a:lnTo>
                <a:lnTo>
                  <a:pt x="141" y="253"/>
                </a:lnTo>
                <a:lnTo>
                  <a:pt x="141" y="257"/>
                </a:lnTo>
                <a:lnTo>
                  <a:pt x="138" y="257"/>
                </a:lnTo>
                <a:lnTo>
                  <a:pt x="141" y="260"/>
                </a:lnTo>
                <a:lnTo>
                  <a:pt x="141" y="266"/>
                </a:lnTo>
                <a:lnTo>
                  <a:pt x="125" y="266"/>
                </a:lnTo>
                <a:lnTo>
                  <a:pt x="122" y="269"/>
                </a:lnTo>
                <a:lnTo>
                  <a:pt x="116" y="269"/>
                </a:lnTo>
                <a:lnTo>
                  <a:pt x="113" y="266"/>
                </a:lnTo>
                <a:lnTo>
                  <a:pt x="110" y="269"/>
                </a:lnTo>
                <a:lnTo>
                  <a:pt x="104" y="269"/>
                </a:lnTo>
                <a:lnTo>
                  <a:pt x="104" y="266"/>
                </a:lnTo>
                <a:lnTo>
                  <a:pt x="100" y="260"/>
                </a:lnTo>
                <a:lnTo>
                  <a:pt x="100" y="257"/>
                </a:lnTo>
                <a:lnTo>
                  <a:pt x="97" y="253"/>
                </a:lnTo>
                <a:lnTo>
                  <a:pt x="94" y="253"/>
                </a:lnTo>
                <a:lnTo>
                  <a:pt x="94" y="250"/>
                </a:lnTo>
                <a:lnTo>
                  <a:pt x="94" y="247"/>
                </a:lnTo>
                <a:lnTo>
                  <a:pt x="94" y="244"/>
                </a:lnTo>
                <a:lnTo>
                  <a:pt x="91" y="241"/>
                </a:lnTo>
                <a:lnTo>
                  <a:pt x="91" y="238"/>
                </a:lnTo>
                <a:lnTo>
                  <a:pt x="94" y="235"/>
                </a:lnTo>
                <a:lnTo>
                  <a:pt x="91" y="232"/>
                </a:lnTo>
                <a:lnTo>
                  <a:pt x="91" y="232"/>
                </a:lnTo>
                <a:lnTo>
                  <a:pt x="91" y="228"/>
                </a:lnTo>
                <a:lnTo>
                  <a:pt x="91" y="228"/>
                </a:lnTo>
                <a:lnTo>
                  <a:pt x="91" y="225"/>
                </a:lnTo>
                <a:lnTo>
                  <a:pt x="69" y="225"/>
                </a:lnTo>
                <a:lnTo>
                  <a:pt x="57" y="225"/>
                </a:lnTo>
                <a:lnTo>
                  <a:pt x="50" y="225"/>
                </a:lnTo>
                <a:lnTo>
                  <a:pt x="44" y="225"/>
                </a:lnTo>
                <a:lnTo>
                  <a:pt x="41" y="225"/>
                </a:lnTo>
                <a:lnTo>
                  <a:pt x="35" y="225"/>
                </a:lnTo>
                <a:lnTo>
                  <a:pt x="29" y="225"/>
                </a:lnTo>
                <a:lnTo>
                  <a:pt x="25" y="225"/>
                </a:lnTo>
                <a:lnTo>
                  <a:pt x="22" y="225"/>
                </a:lnTo>
                <a:lnTo>
                  <a:pt x="19" y="225"/>
                </a:lnTo>
                <a:lnTo>
                  <a:pt x="16" y="225"/>
                </a:lnTo>
                <a:lnTo>
                  <a:pt x="13" y="225"/>
                </a:lnTo>
                <a:lnTo>
                  <a:pt x="13" y="228"/>
                </a:lnTo>
                <a:lnTo>
                  <a:pt x="10" y="228"/>
                </a:lnTo>
                <a:lnTo>
                  <a:pt x="10" y="228"/>
                </a:lnTo>
                <a:lnTo>
                  <a:pt x="10" y="228"/>
                </a:lnTo>
                <a:lnTo>
                  <a:pt x="10" y="228"/>
                </a:lnTo>
                <a:lnTo>
                  <a:pt x="10" y="228"/>
                </a:lnTo>
                <a:lnTo>
                  <a:pt x="7" y="225"/>
                </a:lnTo>
                <a:lnTo>
                  <a:pt x="0" y="225"/>
                </a:lnTo>
                <a:lnTo>
                  <a:pt x="0" y="225"/>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6" name="Freeform 144">
            <a:extLst>
              <a:ext uri="{FF2B5EF4-FFF2-40B4-BE49-F238E27FC236}">
                <a16:creationId xmlns:a16="http://schemas.microsoft.com/office/drawing/2014/main" id="{00D3CA52-0CF9-F2F6-19E7-BD9DFC18DA60}"/>
              </a:ext>
            </a:extLst>
          </p:cNvPr>
          <p:cNvSpPr>
            <a:spLocks/>
          </p:cNvSpPr>
          <p:nvPr userDrawn="1"/>
        </p:nvSpPr>
        <p:spPr bwMode="auto">
          <a:xfrm>
            <a:off x="15194560" y="9971959"/>
            <a:ext cx="196837" cy="498478"/>
          </a:xfrm>
          <a:custGeom>
            <a:avLst/>
            <a:gdLst>
              <a:gd name="T0" fmla="*/ 9 w 62"/>
              <a:gd name="T1" fmla="*/ 0 h 157"/>
              <a:gd name="T2" fmla="*/ 12 w 62"/>
              <a:gd name="T3" fmla="*/ 3 h 157"/>
              <a:gd name="T4" fmla="*/ 15 w 62"/>
              <a:gd name="T5" fmla="*/ 3 h 157"/>
              <a:gd name="T6" fmla="*/ 18 w 62"/>
              <a:gd name="T7" fmla="*/ 3 h 157"/>
              <a:gd name="T8" fmla="*/ 21 w 62"/>
              <a:gd name="T9" fmla="*/ 3 h 157"/>
              <a:gd name="T10" fmla="*/ 25 w 62"/>
              <a:gd name="T11" fmla="*/ 6 h 157"/>
              <a:gd name="T12" fmla="*/ 31 w 62"/>
              <a:gd name="T13" fmla="*/ 16 h 157"/>
              <a:gd name="T14" fmla="*/ 34 w 62"/>
              <a:gd name="T15" fmla="*/ 56 h 157"/>
              <a:gd name="T16" fmla="*/ 34 w 62"/>
              <a:gd name="T17" fmla="*/ 78 h 157"/>
              <a:gd name="T18" fmla="*/ 43 w 62"/>
              <a:gd name="T19" fmla="*/ 85 h 157"/>
              <a:gd name="T20" fmla="*/ 46 w 62"/>
              <a:gd name="T21" fmla="*/ 88 h 157"/>
              <a:gd name="T22" fmla="*/ 56 w 62"/>
              <a:gd name="T23" fmla="*/ 97 h 157"/>
              <a:gd name="T24" fmla="*/ 62 w 62"/>
              <a:gd name="T25" fmla="*/ 106 h 157"/>
              <a:gd name="T26" fmla="*/ 62 w 62"/>
              <a:gd name="T27" fmla="*/ 113 h 157"/>
              <a:gd name="T28" fmla="*/ 59 w 62"/>
              <a:gd name="T29" fmla="*/ 116 h 157"/>
              <a:gd name="T30" fmla="*/ 56 w 62"/>
              <a:gd name="T31" fmla="*/ 116 h 157"/>
              <a:gd name="T32" fmla="*/ 56 w 62"/>
              <a:gd name="T33" fmla="*/ 119 h 157"/>
              <a:gd name="T34" fmla="*/ 59 w 62"/>
              <a:gd name="T35" fmla="*/ 128 h 157"/>
              <a:gd name="T36" fmla="*/ 56 w 62"/>
              <a:gd name="T37" fmla="*/ 135 h 157"/>
              <a:gd name="T38" fmla="*/ 50 w 62"/>
              <a:gd name="T39" fmla="*/ 141 h 157"/>
              <a:gd name="T40" fmla="*/ 46 w 62"/>
              <a:gd name="T41" fmla="*/ 147 h 157"/>
              <a:gd name="T42" fmla="*/ 46 w 62"/>
              <a:gd name="T43" fmla="*/ 157 h 157"/>
              <a:gd name="T44" fmla="*/ 43 w 62"/>
              <a:gd name="T45" fmla="*/ 157 h 157"/>
              <a:gd name="T46" fmla="*/ 40 w 62"/>
              <a:gd name="T47" fmla="*/ 150 h 157"/>
              <a:gd name="T48" fmla="*/ 37 w 62"/>
              <a:gd name="T49" fmla="*/ 147 h 157"/>
              <a:gd name="T50" fmla="*/ 31 w 62"/>
              <a:gd name="T51" fmla="*/ 138 h 157"/>
              <a:gd name="T52" fmla="*/ 28 w 62"/>
              <a:gd name="T53" fmla="*/ 132 h 157"/>
              <a:gd name="T54" fmla="*/ 31 w 62"/>
              <a:gd name="T55" fmla="*/ 125 h 157"/>
              <a:gd name="T56" fmla="*/ 34 w 62"/>
              <a:gd name="T57" fmla="*/ 116 h 157"/>
              <a:gd name="T58" fmla="*/ 34 w 62"/>
              <a:gd name="T59" fmla="*/ 106 h 157"/>
              <a:gd name="T60" fmla="*/ 28 w 62"/>
              <a:gd name="T61" fmla="*/ 100 h 157"/>
              <a:gd name="T62" fmla="*/ 21 w 62"/>
              <a:gd name="T63" fmla="*/ 103 h 157"/>
              <a:gd name="T64" fmla="*/ 18 w 62"/>
              <a:gd name="T65" fmla="*/ 103 h 157"/>
              <a:gd name="T66" fmla="*/ 15 w 62"/>
              <a:gd name="T67" fmla="*/ 100 h 157"/>
              <a:gd name="T68" fmla="*/ 12 w 62"/>
              <a:gd name="T69" fmla="*/ 97 h 157"/>
              <a:gd name="T70" fmla="*/ 6 w 62"/>
              <a:gd name="T71" fmla="*/ 94 h 157"/>
              <a:gd name="T72" fmla="*/ 3 w 62"/>
              <a:gd name="T73" fmla="*/ 88 h 157"/>
              <a:gd name="T74" fmla="*/ 0 w 62"/>
              <a:gd name="T75" fmla="*/ 85 h 157"/>
              <a:gd name="T76" fmla="*/ 6 w 62"/>
              <a:gd name="T77" fmla="*/ 78 h 157"/>
              <a:gd name="T78" fmla="*/ 6 w 62"/>
              <a:gd name="T79" fmla="*/ 75 h 157"/>
              <a:gd name="T80" fmla="*/ 6 w 62"/>
              <a:gd name="T81" fmla="*/ 69 h 157"/>
              <a:gd name="T82" fmla="*/ 9 w 62"/>
              <a:gd name="T83" fmla="*/ 66 h 157"/>
              <a:gd name="T84" fmla="*/ 15 w 62"/>
              <a:gd name="T85" fmla="*/ 63 h 157"/>
              <a:gd name="T86" fmla="*/ 15 w 62"/>
              <a:gd name="T87" fmla="*/ 60 h 157"/>
              <a:gd name="T88" fmla="*/ 12 w 62"/>
              <a:gd name="T89" fmla="*/ 56 h 157"/>
              <a:gd name="T90" fmla="*/ 12 w 62"/>
              <a:gd name="T91" fmla="*/ 53 h 157"/>
              <a:gd name="T92" fmla="*/ 12 w 62"/>
              <a:gd name="T93" fmla="*/ 47 h 157"/>
              <a:gd name="T94" fmla="*/ 12 w 62"/>
              <a:gd name="T95" fmla="*/ 44 h 157"/>
              <a:gd name="T96" fmla="*/ 12 w 62"/>
              <a:gd name="T97" fmla="*/ 38 h 157"/>
              <a:gd name="T98" fmla="*/ 18 w 62"/>
              <a:gd name="T99" fmla="*/ 28 h 157"/>
              <a:gd name="T100" fmla="*/ 18 w 62"/>
              <a:gd name="T101" fmla="*/ 28 h 157"/>
              <a:gd name="T102" fmla="*/ 15 w 62"/>
              <a:gd name="T103" fmla="*/ 19 h 157"/>
              <a:gd name="T104" fmla="*/ 12 w 62"/>
              <a:gd name="T105" fmla="*/ 16 h 157"/>
              <a:gd name="T106" fmla="*/ 15 w 62"/>
              <a:gd name="T107" fmla="*/ 10 h 157"/>
              <a:gd name="T108" fmla="*/ 9 w 62"/>
              <a:gd name="T109" fmla="*/ 6 h 157"/>
              <a:gd name="T110" fmla="*/ 9 w 62"/>
              <a:gd name="T111" fmla="*/ 3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 h="157">
                <a:moveTo>
                  <a:pt x="6" y="0"/>
                </a:moveTo>
                <a:lnTo>
                  <a:pt x="9" y="0"/>
                </a:lnTo>
                <a:lnTo>
                  <a:pt x="9" y="0"/>
                </a:lnTo>
                <a:lnTo>
                  <a:pt x="12" y="3"/>
                </a:lnTo>
                <a:lnTo>
                  <a:pt x="12" y="3"/>
                </a:lnTo>
                <a:lnTo>
                  <a:pt x="15" y="3"/>
                </a:lnTo>
                <a:lnTo>
                  <a:pt x="15" y="3"/>
                </a:lnTo>
                <a:lnTo>
                  <a:pt x="18" y="3"/>
                </a:lnTo>
                <a:lnTo>
                  <a:pt x="18" y="3"/>
                </a:lnTo>
                <a:lnTo>
                  <a:pt x="21" y="3"/>
                </a:lnTo>
                <a:lnTo>
                  <a:pt x="21" y="6"/>
                </a:lnTo>
                <a:lnTo>
                  <a:pt x="25" y="6"/>
                </a:lnTo>
                <a:lnTo>
                  <a:pt x="25" y="10"/>
                </a:lnTo>
                <a:lnTo>
                  <a:pt x="31" y="16"/>
                </a:lnTo>
                <a:lnTo>
                  <a:pt x="34" y="25"/>
                </a:lnTo>
                <a:lnTo>
                  <a:pt x="34" y="56"/>
                </a:lnTo>
                <a:lnTo>
                  <a:pt x="31" y="60"/>
                </a:lnTo>
                <a:lnTo>
                  <a:pt x="34" y="78"/>
                </a:lnTo>
                <a:lnTo>
                  <a:pt x="40" y="81"/>
                </a:lnTo>
                <a:lnTo>
                  <a:pt x="43" y="85"/>
                </a:lnTo>
                <a:lnTo>
                  <a:pt x="46" y="88"/>
                </a:lnTo>
                <a:lnTo>
                  <a:pt x="46" y="88"/>
                </a:lnTo>
                <a:lnTo>
                  <a:pt x="53" y="94"/>
                </a:lnTo>
                <a:lnTo>
                  <a:pt x="56" y="97"/>
                </a:lnTo>
                <a:lnTo>
                  <a:pt x="59" y="103"/>
                </a:lnTo>
                <a:lnTo>
                  <a:pt x="62" y="106"/>
                </a:lnTo>
                <a:lnTo>
                  <a:pt x="62" y="110"/>
                </a:lnTo>
                <a:lnTo>
                  <a:pt x="62" y="113"/>
                </a:lnTo>
                <a:lnTo>
                  <a:pt x="59" y="113"/>
                </a:lnTo>
                <a:lnTo>
                  <a:pt x="59" y="116"/>
                </a:lnTo>
                <a:lnTo>
                  <a:pt x="56" y="116"/>
                </a:lnTo>
                <a:lnTo>
                  <a:pt x="56" y="116"/>
                </a:lnTo>
                <a:lnTo>
                  <a:pt x="59" y="119"/>
                </a:lnTo>
                <a:lnTo>
                  <a:pt x="56" y="119"/>
                </a:lnTo>
                <a:lnTo>
                  <a:pt x="59" y="122"/>
                </a:lnTo>
                <a:lnTo>
                  <a:pt x="59" y="128"/>
                </a:lnTo>
                <a:lnTo>
                  <a:pt x="59" y="132"/>
                </a:lnTo>
                <a:lnTo>
                  <a:pt x="56" y="135"/>
                </a:lnTo>
                <a:lnTo>
                  <a:pt x="50" y="135"/>
                </a:lnTo>
                <a:lnTo>
                  <a:pt x="50" y="141"/>
                </a:lnTo>
                <a:lnTo>
                  <a:pt x="50" y="144"/>
                </a:lnTo>
                <a:lnTo>
                  <a:pt x="46" y="147"/>
                </a:lnTo>
                <a:lnTo>
                  <a:pt x="46" y="153"/>
                </a:lnTo>
                <a:lnTo>
                  <a:pt x="46" y="157"/>
                </a:lnTo>
                <a:lnTo>
                  <a:pt x="43" y="157"/>
                </a:lnTo>
                <a:lnTo>
                  <a:pt x="43" y="157"/>
                </a:lnTo>
                <a:lnTo>
                  <a:pt x="43" y="153"/>
                </a:lnTo>
                <a:lnTo>
                  <a:pt x="40" y="150"/>
                </a:lnTo>
                <a:lnTo>
                  <a:pt x="40" y="147"/>
                </a:lnTo>
                <a:lnTo>
                  <a:pt x="37" y="147"/>
                </a:lnTo>
                <a:lnTo>
                  <a:pt x="34" y="144"/>
                </a:lnTo>
                <a:lnTo>
                  <a:pt x="31" y="138"/>
                </a:lnTo>
                <a:lnTo>
                  <a:pt x="28" y="135"/>
                </a:lnTo>
                <a:lnTo>
                  <a:pt x="28" y="132"/>
                </a:lnTo>
                <a:lnTo>
                  <a:pt x="28" y="128"/>
                </a:lnTo>
                <a:lnTo>
                  <a:pt x="31" y="125"/>
                </a:lnTo>
                <a:lnTo>
                  <a:pt x="31" y="119"/>
                </a:lnTo>
                <a:lnTo>
                  <a:pt x="34" y="116"/>
                </a:lnTo>
                <a:lnTo>
                  <a:pt x="34" y="110"/>
                </a:lnTo>
                <a:lnTo>
                  <a:pt x="34" y="106"/>
                </a:lnTo>
                <a:lnTo>
                  <a:pt x="34" y="103"/>
                </a:lnTo>
                <a:lnTo>
                  <a:pt x="28" y="100"/>
                </a:lnTo>
                <a:lnTo>
                  <a:pt x="25" y="100"/>
                </a:lnTo>
                <a:lnTo>
                  <a:pt x="21" y="103"/>
                </a:lnTo>
                <a:lnTo>
                  <a:pt x="18" y="103"/>
                </a:lnTo>
                <a:lnTo>
                  <a:pt x="18" y="103"/>
                </a:lnTo>
                <a:lnTo>
                  <a:pt x="15" y="103"/>
                </a:lnTo>
                <a:lnTo>
                  <a:pt x="15" y="100"/>
                </a:lnTo>
                <a:lnTo>
                  <a:pt x="12" y="97"/>
                </a:lnTo>
                <a:lnTo>
                  <a:pt x="12" y="97"/>
                </a:lnTo>
                <a:lnTo>
                  <a:pt x="12" y="94"/>
                </a:lnTo>
                <a:lnTo>
                  <a:pt x="6" y="94"/>
                </a:lnTo>
                <a:lnTo>
                  <a:pt x="6" y="94"/>
                </a:lnTo>
                <a:lnTo>
                  <a:pt x="3" y="88"/>
                </a:lnTo>
                <a:lnTo>
                  <a:pt x="0" y="85"/>
                </a:lnTo>
                <a:lnTo>
                  <a:pt x="0" y="85"/>
                </a:lnTo>
                <a:lnTo>
                  <a:pt x="3" y="81"/>
                </a:lnTo>
                <a:lnTo>
                  <a:pt x="6" y="78"/>
                </a:lnTo>
                <a:lnTo>
                  <a:pt x="6" y="75"/>
                </a:lnTo>
                <a:lnTo>
                  <a:pt x="6" y="75"/>
                </a:lnTo>
                <a:lnTo>
                  <a:pt x="6" y="72"/>
                </a:lnTo>
                <a:lnTo>
                  <a:pt x="6" y="69"/>
                </a:lnTo>
                <a:lnTo>
                  <a:pt x="6" y="69"/>
                </a:lnTo>
                <a:lnTo>
                  <a:pt x="9" y="66"/>
                </a:lnTo>
                <a:lnTo>
                  <a:pt x="12" y="63"/>
                </a:lnTo>
                <a:lnTo>
                  <a:pt x="15" y="63"/>
                </a:lnTo>
                <a:lnTo>
                  <a:pt x="15" y="63"/>
                </a:lnTo>
                <a:lnTo>
                  <a:pt x="15" y="60"/>
                </a:lnTo>
                <a:lnTo>
                  <a:pt x="15" y="60"/>
                </a:lnTo>
                <a:lnTo>
                  <a:pt x="12" y="56"/>
                </a:lnTo>
                <a:lnTo>
                  <a:pt x="12" y="53"/>
                </a:lnTo>
                <a:lnTo>
                  <a:pt x="12" y="53"/>
                </a:lnTo>
                <a:lnTo>
                  <a:pt x="15" y="50"/>
                </a:lnTo>
                <a:lnTo>
                  <a:pt x="12" y="47"/>
                </a:lnTo>
                <a:lnTo>
                  <a:pt x="15" y="47"/>
                </a:lnTo>
                <a:lnTo>
                  <a:pt x="12" y="44"/>
                </a:lnTo>
                <a:lnTo>
                  <a:pt x="12" y="41"/>
                </a:lnTo>
                <a:lnTo>
                  <a:pt x="12" y="38"/>
                </a:lnTo>
                <a:lnTo>
                  <a:pt x="12" y="35"/>
                </a:lnTo>
                <a:lnTo>
                  <a:pt x="18" y="28"/>
                </a:lnTo>
                <a:lnTo>
                  <a:pt x="18" y="28"/>
                </a:lnTo>
                <a:lnTo>
                  <a:pt x="18" y="28"/>
                </a:lnTo>
                <a:lnTo>
                  <a:pt x="18" y="22"/>
                </a:lnTo>
                <a:lnTo>
                  <a:pt x="15" y="19"/>
                </a:lnTo>
                <a:lnTo>
                  <a:pt x="12" y="19"/>
                </a:lnTo>
                <a:lnTo>
                  <a:pt x="12" y="16"/>
                </a:lnTo>
                <a:lnTo>
                  <a:pt x="15" y="10"/>
                </a:lnTo>
                <a:lnTo>
                  <a:pt x="15" y="10"/>
                </a:lnTo>
                <a:lnTo>
                  <a:pt x="12" y="10"/>
                </a:lnTo>
                <a:lnTo>
                  <a:pt x="9" y="6"/>
                </a:lnTo>
                <a:lnTo>
                  <a:pt x="9" y="3"/>
                </a:lnTo>
                <a:lnTo>
                  <a:pt x="9" y="3"/>
                </a:lnTo>
                <a:lnTo>
                  <a:pt x="6" y="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7" name="Freeform 145">
            <a:extLst>
              <a:ext uri="{FF2B5EF4-FFF2-40B4-BE49-F238E27FC236}">
                <a16:creationId xmlns:a16="http://schemas.microsoft.com/office/drawing/2014/main" id="{F90D4A4A-6A08-760A-F2EB-0F119E32C2E3}"/>
              </a:ext>
            </a:extLst>
          </p:cNvPr>
          <p:cNvSpPr>
            <a:spLocks/>
          </p:cNvSpPr>
          <p:nvPr userDrawn="1"/>
        </p:nvSpPr>
        <p:spPr bwMode="auto">
          <a:xfrm>
            <a:off x="14508802" y="9892582"/>
            <a:ext cx="742902" cy="635000"/>
          </a:xfrm>
          <a:custGeom>
            <a:avLst/>
            <a:gdLst>
              <a:gd name="T0" fmla="*/ 50 w 234"/>
              <a:gd name="T1" fmla="*/ 60 h 200"/>
              <a:gd name="T2" fmla="*/ 53 w 234"/>
              <a:gd name="T3" fmla="*/ 66 h 200"/>
              <a:gd name="T4" fmla="*/ 62 w 234"/>
              <a:gd name="T5" fmla="*/ 63 h 200"/>
              <a:gd name="T6" fmla="*/ 72 w 234"/>
              <a:gd name="T7" fmla="*/ 66 h 200"/>
              <a:gd name="T8" fmla="*/ 75 w 234"/>
              <a:gd name="T9" fmla="*/ 72 h 200"/>
              <a:gd name="T10" fmla="*/ 91 w 234"/>
              <a:gd name="T11" fmla="*/ 78 h 200"/>
              <a:gd name="T12" fmla="*/ 100 w 234"/>
              <a:gd name="T13" fmla="*/ 75 h 200"/>
              <a:gd name="T14" fmla="*/ 109 w 234"/>
              <a:gd name="T15" fmla="*/ 69 h 200"/>
              <a:gd name="T16" fmla="*/ 116 w 234"/>
              <a:gd name="T17" fmla="*/ 85 h 200"/>
              <a:gd name="T18" fmla="*/ 134 w 234"/>
              <a:gd name="T19" fmla="*/ 97 h 200"/>
              <a:gd name="T20" fmla="*/ 150 w 234"/>
              <a:gd name="T21" fmla="*/ 103 h 200"/>
              <a:gd name="T22" fmla="*/ 156 w 234"/>
              <a:gd name="T23" fmla="*/ 106 h 200"/>
              <a:gd name="T24" fmla="*/ 150 w 234"/>
              <a:gd name="T25" fmla="*/ 81 h 200"/>
              <a:gd name="T26" fmla="*/ 144 w 234"/>
              <a:gd name="T27" fmla="*/ 88 h 200"/>
              <a:gd name="T28" fmla="*/ 131 w 234"/>
              <a:gd name="T29" fmla="*/ 75 h 200"/>
              <a:gd name="T30" fmla="*/ 137 w 234"/>
              <a:gd name="T31" fmla="*/ 50 h 200"/>
              <a:gd name="T32" fmla="*/ 137 w 234"/>
              <a:gd name="T33" fmla="*/ 44 h 200"/>
              <a:gd name="T34" fmla="*/ 141 w 234"/>
              <a:gd name="T35" fmla="*/ 35 h 200"/>
              <a:gd name="T36" fmla="*/ 134 w 234"/>
              <a:gd name="T37" fmla="*/ 25 h 200"/>
              <a:gd name="T38" fmla="*/ 187 w 234"/>
              <a:gd name="T39" fmla="*/ 6 h 200"/>
              <a:gd name="T40" fmla="*/ 194 w 234"/>
              <a:gd name="T41" fmla="*/ 9 h 200"/>
              <a:gd name="T42" fmla="*/ 212 w 234"/>
              <a:gd name="T43" fmla="*/ 16 h 200"/>
              <a:gd name="T44" fmla="*/ 222 w 234"/>
              <a:gd name="T45" fmla="*/ 25 h 200"/>
              <a:gd name="T46" fmla="*/ 225 w 234"/>
              <a:gd name="T47" fmla="*/ 31 h 200"/>
              <a:gd name="T48" fmla="*/ 228 w 234"/>
              <a:gd name="T49" fmla="*/ 41 h 200"/>
              <a:gd name="T50" fmla="*/ 234 w 234"/>
              <a:gd name="T51" fmla="*/ 53 h 200"/>
              <a:gd name="T52" fmla="*/ 228 w 234"/>
              <a:gd name="T53" fmla="*/ 63 h 200"/>
              <a:gd name="T54" fmla="*/ 228 w 234"/>
              <a:gd name="T55" fmla="*/ 72 h 200"/>
              <a:gd name="T56" fmla="*/ 228 w 234"/>
              <a:gd name="T57" fmla="*/ 81 h 200"/>
              <a:gd name="T58" fmla="*/ 231 w 234"/>
              <a:gd name="T59" fmla="*/ 88 h 200"/>
              <a:gd name="T60" fmla="*/ 222 w 234"/>
              <a:gd name="T61" fmla="*/ 94 h 200"/>
              <a:gd name="T62" fmla="*/ 222 w 234"/>
              <a:gd name="T63" fmla="*/ 103 h 200"/>
              <a:gd name="T64" fmla="*/ 219 w 234"/>
              <a:gd name="T65" fmla="*/ 113 h 200"/>
              <a:gd name="T66" fmla="*/ 216 w 234"/>
              <a:gd name="T67" fmla="*/ 122 h 200"/>
              <a:gd name="T68" fmla="*/ 178 w 234"/>
              <a:gd name="T69" fmla="*/ 135 h 200"/>
              <a:gd name="T70" fmla="*/ 169 w 234"/>
              <a:gd name="T71" fmla="*/ 150 h 200"/>
              <a:gd name="T72" fmla="*/ 159 w 234"/>
              <a:gd name="T73" fmla="*/ 150 h 200"/>
              <a:gd name="T74" fmla="*/ 147 w 234"/>
              <a:gd name="T75" fmla="*/ 153 h 200"/>
              <a:gd name="T76" fmla="*/ 137 w 234"/>
              <a:gd name="T77" fmla="*/ 160 h 200"/>
              <a:gd name="T78" fmla="*/ 134 w 234"/>
              <a:gd name="T79" fmla="*/ 166 h 200"/>
              <a:gd name="T80" fmla="*/ 103 w 234"/>
              <a:gd name="T81" fmla="*/ 197 h 200"/>
              <a:gd name="T82" fmla="*/ 91 w 234"/>
              <a:gd name="T83" fmla="*/ 194 h 200"/>
              <a:gd name="T84" fmla="*/ 81 w 234"/>
              <a:gd name="T85" fmla="*/ 194 h 200"/>
              <a:gd name="T86" fmla="*/ 72 w 234"/>
              <a:gd name="T87" fmla="*/ 194 h 200"/>
              <a:gd name="T88" fmla="*/ 59 w 234"/>
              <a:gd name="T89" fmla="*/ 188 h 200"/>
              <a:gd name="T90" fmla="*/ 53 w 234"/>
              <a:gd name="T91" fmla="*/ 188 h 200"/>
              <a:gd name="T92" fmla="*/ 28 w 234"/>
              <a:gd name="T93" fmla="*/ 191 h 200"/>
              <a:gd name="T94" fmla="*/ 22 w 234"/>
              <a:gd name="T95" fmla="*/ 182 h 200"/>
              <a:gd name="T96" fmla="*/ 9 w 234"/>
              <a:gd name="T97" fmla="*/ 172 h 200"/>
              <a:gd name="T98" fmla="*/ 0 w 234"/>
              <a:gd name="T99" fmla="*/ 163 h 200"/>
              <a:gd name="T100" fmla="*/ 44 w 234"/>
              <a:gd name="T101" fmla="*/ 91 h 200"/>
              <a:gd name="T102" fmla="*/ 44 w 234"/>
              <a:gd name="T103" fmla="*/ 78 h 200"/>
              <a:gd name="T104" fmla="*/ 44 w 234"/>
              <a:gd name="T10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4" h="200">
                <a:moveTo>
                  <a:pt x="44" y="60"/>
                </a:moveTo>
                <a:lnTo>
                  <a:pt x="47" y="60"/>
                </a:lnTo>
                <a:lnTo>
                  <a:pt x="47" y="60"/>
                </a:lnTo>
                <a:lnTo>
                  <a:pt x="50" y="60"/>
                </a:lnTo>
                <a:lnTo>
                  <a:pt x="53" y="63"/>
                </a:lnTo>
                <a:lnTo>
                  <a:pt x="53" y="66"/>
                </a:lnTo>
                <a:lnTo>
                  <a:pt x="53" y="66"/>
                </a:lnTo>
                <a:lnTo>
                  <a:pt x="53" y="66"/>
                </a:lnTo>
                <a:lnTo>
                  <a:pt x="56" y="66"/>
                </a:lnTo>
                <a:lnTo>
                  <a:pt x="59" y="63"/>
                </a:lnTo>
                <a:lnTo>
                  <a:pt x="62" y="63"/>
                </a:lnTo>
                <a:lnTo>
                  <a:pt x="62" y="63"/>
                </a:lnTo>
                <a:lnTo>
                  <a:pt x="69" y="60"/>
                </a:lnTo>
                <a:lnTo>
                  <a:pt x="69" y="63"/>
                </a:lnTo>
                <a:lnTo>
                  <a:pt x="69" y="66"/>
                </a:lnTo>
                <a:lnTo>
                  <a:pt x="72" y="66"/>
                </a:lnTo>
                <a:lnTo>
                  <a:pt x="72" y="69"/>
                </a:lnTo>
                <a:lnTo>
                  <a:pt x="72" y="72"/>
                </a:lnTo>
                <a:lnTo>
                  <a:pt x="72" y="72"/>
                </a:lnTo>
                <a:lnTo>
                  <a:pt x="75" y="72"/>
                </a:lnTo>
                <a:lnTo>
                  <a:pt x="78" y="72"/>
                </a:lnTo>
                <a:lnTo>
                  <a:pt x="81" y="75"/>
                </a:lnTo>
                <a:lnTo>
                  <a:pt x="87" y="78"/>
                </a:lnTo>
                <a:lnTo>
                  <a:pt x="91" y="78"/>
                </a:lnTo>
                <a:lnTo>
                  <a:pt x="91" y="78"/>
                </a:lnTo>
                <a:lnTo>
                  <a:pt x="94" y="78"/>
                </a:lnTo>
                <a:lnTo>
                  <a:pt x="100" y="78"/>
                </a:lnTo>
                <a:lnTo>
                  <a:pt x="100" y="75"/>
                </a:lnTo>
                <a:lnTo>
                  <a:pt x="103" y="69"/>
                </a:lnTo>
                <a:lnTo>
                  <a:pt x="106" y="69"/>
                </a:lnTo>
                <a:lnTo>
                  <a:pt x="106" y="69"/>
                </a:lnTo>
                <a:lnTo>
                  <a:pt x="109" y="69"/>
                </a:lnTo>
                <a:lnTo>
                  <a:pt x="109" y="75"/>
                </a:lnTo>
                <a:lnTo>
                  <a:pt x="112" y="78"/>
                </a:lnTo>
                <a:lnTo>
                  <a:pt x="112" y="81"/>
                </a:lnTo>
                <a:lnTo>
                  <a:pt x="116" y="85"/>
                </a:lnTo>
                <a:lnTo>
                  <a:pt x="125" y="85"/>
                </a:lnTo>
                <a:lnTo>
                  <a:pt x="128" y="88"/>
                </a:lnTo>
                <a:lnTo>
                  <a:pt x="131" y="94"/>
                </a:lnTo>
                <a:lnTo>
                  <a:pt x="134" y="97"/>
                </a:lnTo>
                <a:lnTo>
                  <a:pt x="141" y="100"/>
                </a:lnTo>
                <a:lnTo>
                  <a:pt x="144" y="106"/>
                </a:lnTo>
                <a:lnTo>
                  <a:pt x="147" y="106"/>
                </a:lnTo>
                <a:lnTo>
                  <a:pt x="150" y="103"/>
                </a:lnTo>
                <a:lnTo>
                  <a:pt x="153" y="103"/>
                </a:lnTo>
                <a:lnTo>
                  <a:pt x="153" y="103"/>
                </a:lnTo>
                <a:lnTo>
                  <a:pt x="153" y="103"/>
                </a:lnTo>
                <a:lnTo>
                  <a:pt x="156" y="106"/>
                </a:lnTo>
                <a:lnTo>
                  <a:pt x="159" y="103"/>
                </a:lnTo>
                <a:lnTo>
                  <a:pt x="156" y="81"/>
                </a:lnTo>
                <a:lnTo>
                  <a:pt x="156" y="81"/>
                </a:lnTo>
                <a:lnTo>
                  <a:pt x="150" y="81"/>
                </a:lnTo>
                <a:lnTo>
                  <a:pt x="150" y="85"/>
                </a:lnTo>
                <a:lnTo>
                  <a:pt x="153" y="88"/>
                </a:lnTo>
                <a:lnTo>
                  <a:pt x="150" y="88"/>
                </a:lnTo>
                <a:lnTo>
                  <a:pt x="144" y="88"/>
                </a:lnTo>
                <a:lnTo>
                  <a:pt x="141" y="85"/>
                </a:lnTo>
                <a:lnTo>
                  <a:pt x="141" y="81"/>
                </a:lnTo>
                <a:lnTo>
                  <a:pt x="134" y="75"/>
                </a:lnTo>
                <a:lnTo>
                  <a:pt x="131" y="75"/>
                </a:lnTo>
                <a:lnTo>
                  <a:pt x="131" y="69"/>
                </a:lnTo>
                <a:lnTo>
                  <a:pt x="131" y="56"/>
                </a:lnTo>
                <a:lnTo>
                  <a:pt x="131" y="56"/>
                </a:lnTo>
                <a:lnTo>
                  <a:pt x="137" y="50"/>
                </a:lnTo>
                <a:lnTo>
                  <a:pt x="137" y="50"/>
                </a:lnTo>
                <a:lnTo>
                  <a:pt x="137" y="47"/>
                </a:lnTo>
                <a:lnTo>
                  <a:pt x="137" y="47"/>
                </a:lnTo>
                <a:lnTo>
                  <a:pt x="137" y="44"/>
                </a:lnTo>
                <a:lnTo>
                  <a:pt x="137" y="41"/>
                </a:lnTo>
                <a:lnTo>
                  <a:pt x="137" y="38"/>
                </a:lnTo>
                <a:lnTo>
                  <a:pt x="137" y="35"/>
                </a:lnTo>
                <a:lnTo>
                  <a:pt x="141" y="35"/>
                </a:lnTo>
                <a:lnTo>
                  <a:pt x="141" y="31"/>
                </a:lnTo>
                <a:lnTo>
                  <a:pt x="137" y="31"/>
                </a:lnTo>
                <a:lnTo>
                  <a:pt x="134" y="28"/>
                </a:lnTo>
                <a:lnTo>
                  <a:pt x="134" y="25"/>
                </a:lnTo>
                <a:lnTo>
                  <a:pt x="144" y="9"/>
                </a:lnTo>
                <a:lnTo>
                  <a:pt x="175" y="0"/>
                </a:lnTo>
                <a:lnTo>
                  <a:pt x="184" y="6"/>
                </a:lnTo>
                <a:lnTo>
                  <a:pt x="187" y="6"/>
                </a:lnTo>
                <a:lnTo>
                  <a:pt x="191" y="6"/>
                </a:lnTo>
                <a:lnTo>
                  <a:pt x="191" y="6"/>
                </a:lnTo>
                <a:lnTo>
                  <a:pt x="194" y="9"/>
                </a:lnTo>
                <a:lnTo>
                  <a:pt x="194" y="9"/>
                </a:lnTo>
                <a:lnTo>
                  <a:pt x="197" y="13"/>
                </a:lnTo>
                <a:lnTo>
                  <a:pt x="200" y="13"/>
                </a:lnTo>
                <a:lnTo>
                  <a:pt x="209" y="16"/>
                </a:lnTo>
                <a:lnTo>
                  <a:pt x="212" y="16"/>
                </a:lnTo>
                <a:lnTo>
                  <a:pt x="212" y="19"/>
                </a:lnTo>
                <a:lnTo>
                  <a:pt x="216" y="19"/>
                </a:lnTo>
                <a:lnTo>
                  <a:pt x="219" y="22"/>
                </a:lnTo>
                <a:lnTo>
                  <a:pt x="222" y="25"/>
                </a:lnTo>
                <a:lnTo>
                  <a:pt x="222" y="25"/>
                </a:lnTo>
                <a:lnTo>
                  <a:pt x="225" y="28"/>
                </a:lnTo>
                <a:lnTo>
                  <a:pt x="225" y="28"/>
                </a:lnTo>
                <a:lnTo>
                  <a:pt x="225" y="31"/>
                </a:lnTo>
                <a:lnTo>
                  <a:pt x="228" y="35"/>
                </a:lnTo>
                <a:lnTo>
                  <a:pt x="231" y="35"/>
                </a:lnTo>
                <a:lnTo>
                  <a:pt x="231" y="35"/>
                </a:lnTo>
                <a:lnTo>
                  <a:pt x="228" y="41"/>
                </a:lnTo>
                <a:lnTo>
                  <a:pt x="228" y="44"/>
                </a:lnTo>
                <a:lnTo>
                  <a:pt x="231" y="44"/>
                </a:lnTo>
                <a:lnTo>
                  <a:pt x="234" y="47"/>
                </a:lnTo>
                <a:lnTo>
                  <a:pt x="234" y="53"/>
                </a:lnTo>
                <a:lnTo>
                  <a:pt x="234" y="53"/>
                </a:lnTo>
                <a:lnTo>
                  <a:pt x="234" y="53"/>
                </a:lnTo>
                <a:lnTo>
                  <a:pt x="228" y="60"/>
                </a:lnTo>
                <a:lnTo>
                  <a:pt x="228" y="63"/>
                </a:lnTo>
                <a:lnTo>
                  <a:pt x="228" y="66"/>
                </a:lnTo>
                <a:lnTo>
                  <a:pt x="228" y="69"/>
                </a:lnTo>
                <a:lnTo>
                  <a:pt x="231" y="72"/>
                </a:lnTo>
                <a:lnTo>
                  <a:pt x="228" y="72"/>
                </a:lnTo>
                <a:lnTo>
                  <a:pt x="231" y="75"/>
                </a:lnTo>
                <a:lnTo>
                  <a:pt x="228" y="78"/>
                </a:lnTo>
                <a:lnTo>
                  <a:pt x="228" y="78"/>
                </a:lnTo>
                <a:lnTo>
                  <a:pt x="228" y="81"/>
                </a:lnTo>
                <a:lnTo>
                  <a:pt x="231" y="85"/>
                </a:lnTo>
                <a:lnTo>
                  <a:pt x="231" y="85"/>
                </a:lnTo>
                <a:lnTo>
                  <a:pt x="231" y="88"/>
                </a:lnTo>
                <a:lnTo>
                  <a:pt x="231" y="88"/>
                </a:lnTo>
                <a:lnTo>
                  <a:pt x="228" y="88"/>
                </a:lnTo>
                <a:lnTo>
                  <a:pt x="225" y="91"/>
                </a:lnTo>
                <a:lnTo>
                  <a:pt x="222" y="94"/>
                </a:lnTo>
                <a:lnTo>
                  <a:pt x="222" y="94"/>
                </a:lnTo>
                <a:lnTo>
                  <a:pt x="222" y="97"/>
                </a:lnTo>
                <a:lnTo>
                  <a:pt x="222" y="100"/>
                </a:lnTo>
                <a:lnTo>
                  <a:pt x="222" y="100"/>
                </a:lnTo>
                <a:lnTo>
                  <a:pt x="222" y="103"/>
                </a:lnTo>
                <a:lnTo>
                  <a:pt x="219" y="106"/>
                </a:lnTo>
                <a:lnTo>
                  <a:pt x="216" y="110"/>
                </a:lnTo>
                <a:lnTo>
                  <a:pt x="216" y="110"/>
                </a:lnTo>
                <a:lnTo>
                  <a:pt x="219" y="113"/>
                </a:lnTo>
                <a:lnTo>
                  <a:pt x="222" y="119"/>
                </a:lnTo>
                <a:lnTo>
                  <a:pt x="222" y="119"/>
                </a:lnTo>
                <a:lnTo>
                  <a:pt x="222" y="119"/>
                </a:lnTo>
                <a:lnTo>
                  <a:pt x="216" y="122"/>
                </a:lnTo>
                <a:lnTo>
                  <a:pt x="203" y="125"/>
                </a:lnTo>
                <a:lnTo>
                  <a:pt x="200" y="128"/>
                </a:lnTo>
                <a:lnTo>
                  <a:pt x="181" y="135"/>
                </a:lnTo>
                <a:lnTo>
                  <a:pt x="178" y="135"/>
                </a:lnTo>
                <a:lnTo>
                  <a:pt x="169" y="141"/>
                </a:lnTo>
                <a:lnTo>
                  <a:pt x="169" y="144"/>
                </a:lnTo>
                <a:lnTo>
                  <a:pt x="169" y="147"/>
                </a:lnTo>
                <a:lnTo>
                  <a:pt x="169" y="150"/>
                </a:lnTo>
                <a:lnTo>
                  <a:pt x="169" y="150"/>
                </a:lnTo>
                <a:lnTo>
                  <a:pt x="166" y="150"/>
                </a:lnTo>
                <a:lnTo>
                  <a:pt x="162" y="150"/>
                </a:lnTo>
                <a:lnTo>
                  <a:pt x="159" y="150"/>
                </a:lnTo>
                <a:lnTo>
                  <a:pt x="159" y="150"/>
                </a:lnTo>
                <a:lnTo>
                  <a:pt x="153" y="150"/>
                </a:lnTo>
                <a:lnTo>
                  <a:pt x="150" y="150"/>
                </a:lnTo>
                <a:lnTo>
                  <a:pt x="147" y="153"/>
                </a:lnTo>
                <a:lnTo>
                  <a:pt x="144" y="153"/>
                </a:lnTo>
                <a:lnTo>
                  <a:pt x="137" y="157"/>
                </a:lnTo>
                <a:lnTo>
                  <a:pt x="137" y="160"/>
                </a:lnTo>
                <a:lnTo>
                  <a:pt x="137" y="160"/>
                </a:lnTo>
                <a:lnTo>
                  <a:pt x="137" y="163"/>
                </a:lnTo>
                <a:lnTo>
                  <a:pt x="137" y="166"/>
                </a:lnTo>
                <a:lnTo>
                  <a:pt x="137" y="166"/>
                </a:lnTo>
                <a:lnTo>
                  <a:pt x="134" y="166"/>
                </a:lnTo>
                <a:lnTo>
                  <a:pt x="128" y="169"/>
                </a:lnTo>
                <a:lnTo>
                  <a:pt x="116" y="178"/>
                </a:lnTo>
                <a:lnTo>
                  <a:pt x="109" y="188"/>
                </a:lnTo>
                <a:lnTo>
                  <a:pt x="103" y="197"/>
                </a:lnTo>
                <a:lnTo>
                  <a:pt x="97" y="200"/>
                </a:lnTo>
                <a:lnTo>
                  <a:pt x="94" y="197"/>
                </a:lnTo>
                <a:lnTo>
                  <a:pt x="91" y="197"/>
                </a:lnTo>
                <a:lnTo>
                  <a:pt x="91" y="194"/>
                </a:lnTo>
                <a:lnTo>
                  <a:pt x="87" y="194"/>
                </a:lnTo>
                <a:lnTo>
                  <a:pt x="87" y="194"/>
                </a:lnTo>
                <a:lnTo>
                  <a:pt x="84" y="194"/>
                </a:lnTo>
                <a:lnTo>
                  <a:pt x="81" y="194"/>
                </a:lnTo>
                <a:lnTo>
                  <a:pt x="78" y="197"/>
                </a:lnTo>
                <a:lnTo>
                  <a:pt x="75" y="197"/>
                </a:lnTo>
                <a:lnTo>
                  <a:pt x="75" y="194"/>
                </a:lnTo>
                <a:lnTo>
                  <a:pt x="72" y="194"/>
                </a:lnTo>
                <a:lnTo>
                  <a:pt x="66" y="194"/>
                </a:lnTo>
                <a:lnTo>
                  <a:pt x="62" y="194"/>
                </a:lnTo>
                <a:lnTo>
                  <a:pt x="59" y="191"/>
                </a:lnTo>
                <a:lnTo>
                  <a:pt x="59" y="188"/>
                </a:lnTo>
                <a:lnTo>
                  <a:pt x="59" y="188"/>
                </a:lnTo>
                <a:lnTo>
                  <a:pt x="56" y="188"/>
                </a:lnTo>
                <a:lnTo>
                  <a:pt x="56" y="188"/>
                </a:lnTo>
                <a:lnTo>
                  <a:pt x="53" y="188"/>
                </a:lnTo>
                <a:lnTo>
                  <a:pt x="53" y="188"/>
                </a:lnTo>
                <a:lnTo>
                  <a:pt x="50" y="188"/>
                </a:lnTo>
                <a:lnTo>
                  <a:pt x="47" y="188"/>
                </a:lnTo>
                <a:lnTo>
                  <a:pt x="28" y="191"/>
                </a:lnTo>
                <a:lnTo>
                  <a:pt x="28" y="188"/>
                </a:lnTo>
                <a:lnTo>
                  <a:pt x="25" y="188"/>
                </a:lnTo>
                <a:lnTo>
                  <a:pt x="22" y="185"/>
                </a:lnTo>
                <a:lnTo>
                  <a:pt x="22" y="182"/>
                </a:lnTo>
                <a:lnTo>
                  <a:pt x="19" y="182"/>
                </a:lnTo>
                <a:lnTo>
                  <a:pt x="16" y="178"/>
                </a:lnTo>
                <a:lnTo>
                  <a:pt x="12" y="175"/>
                </a:lnTo>
                <a:lnTo>
                  <a:pt x="9" y="172"/>
                </a:lnTo>
                <a:lnTo>
                  <a:pt x="6" y="172"/>
                </a:lnTo>
                <a:lnTo>
                  <a:pt x="6" y="169"/>
                </a:lnTo>
                <a:lnTo>
                  <a:pt x="3" y="166"/>
                </a:lnTo>
                <a:lnTo>
                  <a:pt x="0" y="163"/>
                </a:lnTo>
                <a:lnTo>
                  <a:pt x="3" y="97"/>
                </a:lnTo>
                <a:lnTo>
                  <a:pt x="44" y="97"/>
                </a:lnTo>
                <a:lnTo>
                  <a:pt x="44" y="97"/>
                </a:lnTo>
                <a:lnTo>
                  <a:pt x="44" y="91"/>
                </a:lnTo>
                <a:lnTo>
                  <a:pt x="47" y="88"/>
                </a:lnTo>
                <a:lnTo>
                  <a:pt x="47" y="85"/>
                </a:lnTo>
                <a:lnTo>
                  <a:pt x="44" y="81"/>
                </a:lnTo>
                <a:lnTo>
                  <a:pt x="44" y="78"/>
                </a:lnTo>
                <a:lnTo>
                  <a:pt x="44" y="69"/>
                </a:lnTo>
                <a:lnTo>
                  <a:pt x="44" y="63"/>
                </a:lnTo>
                <a:lnTo>
                  <a:pt x="44" y="60"/>
                </a:lnTo>
                <a:lnTo>
                  <a:pt x="44" y="60"/>
                </a:lnTo>
                <a:lnTo>
                  <a:pt x="44" y="6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8" name="Freeform 146">
            <a:extLst>
              <a:ext uri="{FF2B5EF4-FFF2-40B4-BE49-F238E27FC236}">
                <a16:creationId xmlns:a16="http://schemas.microsoft.com/office/drawing/2014/main" id="{D6EDE0DC-D76E-6D14-0EC8-E7C3BF75322C}"/>
              </a:ext>
            </a:extLst>
          </p:cNvPr>
          <p:cNvSpPr>
            <a:spLocks/>
          </p:cNvSpPr>
          <p:nvPr userDrawn="1"/>
        </p:nvSpPr>
        <p:spPr bwMode="auto">
          <a:xfrm>
            <a:off x="13873846" y="9752881"/>
            <a:ext cx="784175" cy="774702"/>
          </a:xfrm>
          <a:custGeom>
            <a:avLst/>
            <a:gdLst>
              <a:gd name="T0" fmla="*/ 222 w 247"/>
              <a:gd name="T1" fmla="*/ 229 h 244"/>
              <a:gd name="T2" fmla="*/ 212 w 247"/>
              <a:gd name="T3" fmla="*/ 219 h 244"/>
              <a:gd name="T4" fmla="*/ 203 w 247"/>
              <a:gd name="T5" fmla="*/ 210 h 244"/>
              <a:gd name="T6" fmla="*/ 244 w 247"/>
              <a:gd name="T7" fmla="*/ 141 h 244"/>
              <a:gd name="T8" fmla="*/ 244 w 247"/>
              <a:gd name="T9" fmla="*/ 125 h 244"/>
              <a:gd name="T10" fmla="*/ 244 w 247"/>
              <a:gd name="T11" fmla="*/ 104 h 244"/>
              <a:gd name="T12" fmla="*/ 237 w 247"/>
              <a:gd name="T13" fmla="*/ 104 h 244"/>
              <a:gd name="T14" fmla="*/ 228 w 247"/>
              <a:gd name="T15" fmla="*/ 107 h 244"/>
              <a:gd name="T16" fmla="*/ 216 w 247"/>
              <a:gd name="T17" fmla="*/ 104 h 244"/>
              <a:gd name="T18" fmla="*/ 209 w 247"/>
              <a:gd name="T19" fmla="*/ 107 h 244"/>
              <a:gd name="T20" fmla="*/ 209 w 247"/>
              <a:gd name="T21" fmla="*/ 97 h 244"/>
              <a:gd name="T22" fmla="*/ 209 w 247"/>
              <a:gd name="T23" fmla="*/ 88 h 244"/>
              <a:gd name="T24" fmla="*/ 209 w 247"/>
              <a:gd name="T25" fmla="*/ 79 h 244"/>
              <a:gd name="T26" fmla="*/ 203 w 247"/>
              <a:gd name="T27" fmla="*/ 72 h 244"/>
              <a:gd name="T28" fmla="*/ 200 w 247"/>
              <a:gd name="T29" fmla="*/ 66 h 244"/>
              <a:gd name="T30" fmla="*/ 200 w 247"/>
              <a:gd name="T31" fmla="*/ 50 h 244"/>
              <a:gd name="T32" fmla="*/ 200 w 247"/>
              <a:gd name="T33" fmla="*/ 41 h 244"/>
              <a:gd name="T34" fmla="*/ 203 w 247"/>
              <a:gd name="T35" fmla="*/ 28 h 244"/>
              <a:gd name="T36" fmla="*/ 181 w 247"/>
              <a:gd name="T37" fmla="*/ 19 h 244"/>
              <a:gd name="T38" fmla="*/ 153 w 247"/>
              <a:gd name="T39" fmla="*/ 28 h 244"/>
              <a:gd name="T40" fmla="*/ 153 w 247"/>
              <a:gd name="T41" fmla="*/ 41 h 244"/>
              <a:gd name="T42" fmla="*/ 125 w 247"/>
              <a:gd name="T43" fmla="*/ 41 h 244"/>
              <a:gd name="T44" fmla="*/ 112 w 247"/>
              <a:gd name="T45" fmla="*/ 35 h 244"/>
              <a:gd name="T46" fmla="*/ 106 w 247"/>
              <a:gd name="T47" fmla="*/ 25 h 244"/>
              <a:gd name="T48" fmla="*/ 103 w 247"/>
              <a:gd name="T49" fmla="*/ 13 h 244"/>
              <a:gd name="T50" fmla="*/ 103 w 247"/>
              <a:gd name="T51" fmla="*/ 3 h 244"/>
              <a:gd name="T52" fmla="*/ 69 w 247"/>
              <a:gd name="T53" fmla="*/ 0 h 244"/>
              <a:gd name="T54" fmla="*/ 47 w 247"/>
              <a:gd name="T55" fmla="*/ 0 h 244"/>
              <a:gd name="T56" fmla="*/ 31 w 247"/>
              <a:gd name="T57" fmla="*/ 0 h 244"/>
              <a:gd name="T58" fmla="*/ 22 w 247"/>
              <a:gd name="T59" fmla="*/ 3 h 244"/>
              <a:gd name="T60" fmla="*/ 16 w 247"/>
              <a:gd name="T61" fmla="*/ 7 h 244"/>
              <a:gd name="T62" fmla="*/ 28 w 247"/>
              <a:gd name="T63" fmla="*/ 38 h 244"/>
              <a:gd name="T64" fmla="*/ 31 w 247"/>
              <a:gd name="T65" fmla="*/ 66 h 244"/>
              <a:gd name="T66" fmla="*/ 41 w 247"/>
              <a:gd name="T67" fmla="*/ 94 h 244"/>
              <a:gd name="T68" fmla="*/ 37 w 247"/>
              <a:gd name="T69" fmla="*/ 132 h 244"/>
              <a:gd name="T70" fmla="*/ 16 w 247"/>
              <a:gd name="T71" fmla="*/ 154 h 244"/>
              <a:gd name="T72" fmla="*/ 6 w 247"/>
              <a:gd name="T73" fmla="*/ 182 h 244"/>
              <a:gd name="T74" fmla="*/ 0 w 247"/>
              <a:gd name="T75" fmla="*/ 210 h 244"/>
              <a:gd name="T76" fmla="*/ 0 w 247"/>
              <a:gd name="T77" fmla="*/ 229 h 244"/>
              <a:gd name="T78" fmla="*/ 6 w 247"/>
              <a:gd name="T79" fmla="*/ 226 h 244"/>
              <a:gd name="T80" fmla="*/ 16 w 247"/>
              <a:gd name="T81" fmla="*/ 226 h 244"/>
              <a:gd name="T82" fmla="*/ 28 w 247"/>
              <a:gd name="T83" fmla="*/ 222 h 244"/>
              <a:gd name="T84" fmla="*/ 34 w 247"/>
              <a:gd name="T85" fmla="*/ 222 h 244"/>
              <a:gd name="T86" fmla="*/ 37 w 247"/>
              <a:gd name="T87" fmla="*/ 226 h 244"/>
              <a:gd name="T88" fmla="*/ 50 w 247"/>
              <a:gd name="T89" fmla="*/ 229 h 244"/>
              <a:gd name="T90" fmla="*/ 131 w 247"/>
              <a:gd name="T91" fmla="*/ 229 h 244"/>
              <a:gd name="T92" fmla="*/ 137 w 247"/>
              <a:gd name="T93" fmla="*/ 238 h 244"/>
              <a:gd name="T94" fmla="*/ 147 w 247"/>
              <a:gd name="T95" fmla="*/ 238 h 244"/>
              <a:gd name="T96" fmla="*/ 162 w 247"/>
              <a:gd name="T97" fmla="*/ 238 h 244"/>
              <a:gd name="T98" fmla="*/ 169 w 247"/>
              <a:gd name="T99" fmla="*/ 238 h 244"/>
              <a:gd name="T100" fmla="*/ 181 w 247"/>
              <a:gd name="T101" fmla="*/ 241 h 244"/>
              <a:gd name="T102" fmla="*/ 187 w 247"/>
              <a:gd name="T103" fmla="*/ 241 h 244"/>
              <a:gd name="T104" fmla="*/ 194 w 247"/>
              <a:gd name="T105" fmla="*/ 244 h 244"/>
              <a:gd name="T106" fmla="*/ 228 w 247"/>
              <a:gd name="T107" fmla="*/ 23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7" h="244">
                <a:moveTo>
                  <a:pt x="228" y="235"/>
                </a:moveTo>
                <a:lnTo>
                  <a:pt x="228" y="232"/>
                </a:lnTo>
                <a:lnTo>
                  <a:pt x="225" y="232"/>
                </a:lnTo>
                <a:lnTo>
                  <a:pt x="222" y="229"/>
                </a:lnTo>
                <a:lnTo>
                  <a:pt x="222" y="226"/>
                </a:lnTo>
                <a:lnTo>
                  <a:pt x="219" y="226"/>
                </a:lnTo>
                <a:lnTo>
                  <a:pt x="216" y="222"/>
                </a:lnTo>
                <a:lnTo>
                  <a:pt x="212" y="219"/>
                </a:lnTo>
                <a:lnTo>
                  <a:pt x="209" y="216"/>
                </a:lnTo>
                <a:lnTo>
                  <a:pt x="206" y="216"/>
                </a:lnTo>
                <a:lnTo>
                  <a:pt x="206" y="213"/>
                </a:lnTo>
                <a:lnTo>
                  <a:pt x="203" y="210"/>
                </a:lnTo>
                <a:lnTo>
                  <a:pt x="200" y="207"/>
                </a:lnTo>
                <a:lnTo>
                  <a:pt x="203" y="141"/>
                </a:lnTo>
                <a:lnTo>
                  <a:pt x="244" y="141"/>
                </a:lnTo>
                <a:lnTo>
                  <a:pt x="244" y="141"/>
                </a:lnTo>
                <a:lnTo>
                  <a:pt x="244" y="135"/>
                </a:lnTo>
                <a:lnTo>
                  <a:pt x="247" y="132"/>
                </a:lnTo>
                <a:lnTo>
                  <a:pt x="247" y="129"/>
                </a:lnTo>
                <a:lnTo>
                  <a:pt x="244" y="125"/>
                </a:lnTo>
                <a:lnTo>
                  <a:pt x="244" y="122"/>
                </a:lnTo>
                <a:lnTo>
                  <a:pt x="244" y="113"/>
                </a:lnTo>
                <a:lnTo>
                  <a:pt x="244" y="107"/>
                </a:lnTo>
                <a:lnTo>
                  <a:pt x="244" y="104"/>
                </a:lnTo>
                <a:lnTo>
                  <a:pt x="244" y="104"/>
                </a:lnTo>
                <a:lnTo>
                  <a:pt x="244" y="104"/>
                </a:lnTo>
                <a:lnTo>
                  <a:pt x="241" y="104"/>
                </a:lnTo>
                <a:lnTo>
                  <a:pt x="237" y="104"/>
                </a:lnTo>
                <a:lnTo>
                  <a:pt x="234" y="107"/>
                </a:lnTo>
                <a:lnTo>
                  <a:pt x="231" y="107"/>
                </a:lnTo>
                <a:lnTo>
                  <a:pt x="231" y="107"/>
                </a:lnTo>
                <a:lnTo>
                  <a:pt x="228" y="107"/>
                </a:lnTo>
                <a:lnTo>
                  <a:pt x="222" y="107"/>
                </a:lnTo>
                <a:lnTo>
                  <a:pt x="222" y="107"/>
                </a:lnTo>
                <a:lnTo>
                  <a:pt x="219" y="104"/>
                </a:lnTo>
                <a:lnTo>
                  <a:pt x="216" y="104"/>
                </a:lnTo>
                <a:lnTo>
                  <a:pt x="216" y="104"/>
                </a:lnTo>
                <a:lnTo>
                  <a:pt x="212" y="104"/>
                </a:lnTo>
                <a:lnTo>
                  <a:pt x="212" y="107"/>
                </a:lnTo>
                <a:lnTo>
                  <a:pt x="209" y="107"/>
                </a:lnTo>
                <a:lnTo>
                  <a:pt x="209" y="104"/>
                </a:lnTo>
                <a:lnTo>
                  <a:pt x="209" y="100"/>
                </a:lnTo>
                <a:lnTo>
                  <a:pt x="209" y="100"/>
                </a:lnTo>
                <a:lnTo>
                  <a:pt x="209" y="97"/>
                </a:lnTo>
                <a:lnTo>
                  <a:pt x="212" y="97"/>
                </a:lnTo>
                <a:lnTo>
                  <a:pt x="209" y="94"/>
                </a:lnTo>
                <a:lnTo>
                  <a:pt x="209" y="91"/>
                </a:lnTo>
                <a:lnTo>
                  <a:pt x="209" y="88"/>
                </a:lnTo>
                <a:lnTo>
                  <a:pt x="209" y="88"/>
                </a:lnTo>
                <a:lnTo>
                  <a:pt x="206" y="85"/>
                </a:lnTo>
                <a:lnTo>
                  <a:pt x="206" y="82"/>
                </a:lnTo>
                <a:lnTo>
                  <a:pt x="209" y="79"/>
                </a:lnTo>
                <a:lnTo>
                  <a:pt x="206" y="79"/>
                </a:lnTo>
                <a:lnTo>
                  <a:pt x="206" y="75"/>
                </a:lnTo>
                <a:lnTo>
                  <a:pt x="206" y="75"/>
                </a:lnTo>
                <a:lnTo>
                  <a:pt x="203" y="72"/>
                </a:lnTo>
                <a:lnTo>
                  <a:pt x="203" y="72"/>
                </a:lnTo>
                <a:lnTo>
                  <a:pt x="203" y="69"/>
                </a:lnTo>
                <a:lnTo>
                  <a:pt x="203" y="66"/>
                </a:lnTo>
                <a:lnTo>
                  <a:pt x="200" y="66"/>
                </a:lnTo>
                <a:lnTo>
                  <a:pt x="203" y="63"/>
                </a:lnTo>
                <a:lnTo>
                  <a:pt x="203" y="53"/>
                </a:lnTo>
                <a:lnTo>
                  <a:pt x="200" y="50"/>
                </a:lnTo>
                <a:lnTo>
                  <a:pt x="200" y="50"/>
                </a:lnTo>
                <a:lnTo>
                  <a:pt x="203" y="50"/>
                </a:lnTo>
                <a:lnTo>
                  <a:pt x="203" y="47"/>
                </a:lnTo>
                <a:lnTo>
                  <a:pt x="200" y="44"/>
                </a:lnTo>
                <a:lnTo>
                  <a:pt x="200" y="41"/>
                </a:lnTo>
                <a:lnTo>
                  <a:pt x="203" y="38"/>
                </a:lnTo>
                <a:lnTo>
                  <a:pt x="203" y="35"/>
                </a:lnTo>
                <a:lnTo>
                  <a:pt x="203" y="32"/>
                </a:lnTo>
                <a:lnTo>
                  <a:pt x="203" y="28"/>
                </a:lnTo>
                <a:lnTo>
                  <a:pt x="178" y="25"/>
                </a:lnTo>
                <a:lnTo>
                  <a:pt x="178" y="25"/>
                </a:lnTo>
                <a:lnTo>
                  <a:pt x="181" y="22"/>
                </a:lnTo>
                <a:lnTo>
                  <a:pt x="181" y="19"/>
                </a:lnTo>
                <a:lnTo>
                  <a:pt x="175" y="19"/>
                </a:lnTo>
                <a:lnTo>
                  <a:pt x="175" y="22"/>
                </a:lnTo>
                <a:lnTo>
                  <a:pt x="156" y="22"/>
                </a:lnTo>
                <a:lnTo>
                  <a:pt x="153" y="28"/>
                </a:lnTo>
                <a:lnTo>
                  <a:pt x="153" y="32"/>
                </a:lnTo>
                <a:lnTo>
                  <a:pt x="150" y="32"/>
                </a:lnTo>
                <a:lnTo>
                  <a:pt x="153" y="35"/>
                </a:lnTo>
                <a:lnTo>
                  <a:pt x="153" y="41"/>
                </a:lnTo>
                <a:lnTo>
                  <a:pt x="137" y="41"/>
                </a:lnTo>
                <a:lnTo>
                  <a:pt x="134" y="44"/>
                </a:lnTo>
                <a:lnTo>
                  <a:pt x="128" y="44"/>
                </a:lnTo>
                <a:lnTo>
                  <a:pt x="125" y="41"/>
                </a:lnTo>
                <a:lnTo>
                  <a:pt x="122" y="44"/>
                </a:lnTo>
                <a:lnTo>
                  <a:pt x="116" y="44"/>
                </a:lnTo>
                <a:lnTo>
                  <a:pt x="116" y="41"/>
                </a:lnTo>
                <a:lnTo>
                  <a:pt x="112" y="35"/>
                </a:lnTo>
                <a:lnTo>
                  <a:pt x="112" y="32"/>
                </a:lnTo>
                <a:lnTo>
                  <a:pt x="109" y="28"/>
                </a:lnTo>
                <a:lnTo>
                  <a:pt x="106" y="28"/>
                </a:lnTo>
                <a:lnTo>
                  <a:pt x="106" y="25"/>
                </a:lnTo>
                <a:lnTo>
                  <a:pt x="106" y="22"/>
                </a:lnTo>
                <a:lnTo>
                  <a:pt x="106" y="19"/>
                </a:lnTo>
                <a:lnTo>
                  <a:pt x="103" y="16"/>
                </a:lnTo>
                <a:lnTo>
                  <a:pt x="103" y="13"/>
                </a:lnTo>
                <a:lnTo>
                  <a:pt x="106" y="10"/>
                </a:lnTo>
                <a:lnTo>
                  <a:pt x="103" y="7"/>
                </a:lnTo>
                <a:lnTo>
                  <a:pt x="103" y="7"/>
                </a:lnTo>
                <a:lnTo>
                  <a:pt x="103" y="3"/>
                </a:lnTo>
                <a:lnTo>
                  <a:pt x="103" y="3"/>
                </a:lnTo>
                <a:lnTo>
                  <a:pt x="103" y="0"/>
                </a:lnTo>
                <a:lnTo>
                  <a:pt x="81" y="0"/>
                </a:lnTo>
                <a:lnTo>
                  <a:pt x="69" y="0"/>
                </a:lnTo>
                <a:lnTo>
                  <a:pt x="62" y="0"/>
                </a:lnTo>
                <a:lnTo>
                  <a:pt x="56" y="0"/>
                </a:lnTo>
                <a:lnTo>
                  <a:pt x="53" y="0"/>
                </a:lnTo>
                <a:lnTo>
                  <a:pt x="47" y="0"/>
                </a:lnTo>
                <a:lnTo>
                  <a:pt x="41" y="0"/>
                </a:lnTo>
                <a:lnTo>
                  <a:pt x="37" y="0"/>
                </a:lnTo>
                <a:lnTo>
                  <a:pt x="34" y="0"/>
                </a:lnTo>
                <a:lnTo>
                  <a:pt x="31" y="0"/>
                </a:lnTo>
                <a:lnTo>
                  <a:pt x="28" y="0"/>
                </a:lnTo>
                <a:lnTo>
                  <a:pt x="25" y="0"/>
                </a:lnTo>
                <a:lnTo>
                  <a:pt x="25" y="3"/>
                </a:lnTo>
                <a:lnTo>
                  <a:pt x="22" y="3"/>
                </a:lnTo>
                <a:lnTo>
                  <a:pt x="22" y="3"/>
                </a:lnTo>
                <a:lnTo>
                  <a:pt x="22" y="3"/>
                </a:lnTo>
                <a:lnTo>
                  <a:pt x="22" y="3"/>
                </a:lnTo>
                <a:lnTo>
                  <a:pt x="16" y="7"/>
                </a:lnTo>
                <a:lnTo>
                  <a:pt x="19" y="10"/>
                </a:lnTo>
                <a:lnTo>
                  <a:pt x="19" y="13"/>
                </a:lnTo>
                <a:lnTo>
                  <a:pt x="28" y="22"/>
                </a:lnTo>
                <a:lnTo>
                  <a:pt x="28" y="38"/>
                </a:lnTo>
                <a:lnTo>
                  <a:pt x="34" y="47"/>
                </a:lnTo>
                <a:lnTo>
                  <a:pt x="34" y="57"/>
                </a:lnTo>
                <a:lnTo>
                  <a:pt x="28" y="63"/>
                </a:lnTo>
                <a:lnTo>
                  <a:pt x="31" y="66"/>
                </a:lnTo>
                <a:lnTo>
                  <a:pt x="31" y="72"/>
                </a:lnTo>
                <a:lnTo>
                  <a:pt x="34" y="75"/>
                </a:lnTo>
                <a:lnTo>
                  <a:pt x="34" y="82"/>
                </a:lnTo>
                <a:lnTo>
                  <a:pt x="41" y="94"/>
                </a:lnTo>
                <a:lnTo>
                  <a:pt x="41" y="97"/>
                </a:lnTo>
                <a:lnTo>
                  <a:pt x="44" y="100"/>
                </a:lnTo>
                <a:lnTo>
                  <a:pt x="44" y="116"/>
                </a:lnTo>
                <a:lnTo>
                  <a:pt x="37" y="132"/>
                </a:lnTo>
                <a:lnTo>
                  <a:pt x="34" y="132"/>
                </a:lnTo>
                <a:lnTo>
                  <a:pt x="25" y="138"/>
                </a:lnTo>
                <a:lnTo>
                  <a:pt x="25" y="144"/>
                </a:lnTo>
                <a:lnTo>
                  <a:pt x="16" y="154"/>
                </a:lnTo>
                <a:lnTo>
                  <a:pt x="12" y="160"/>
                </a:lnTo>
                <a:lnTo>
                  <a:pt x="12" y="160"/>
                </a:lnTo>
                <a:lnTo>
                  <a:pt x="12" y="175"/>
                </a:lnTo>
                <a:lnTo>
                  <a:pt x="6" y="182"/>
                </a:lnTo>
                <a:lnTo>
                  <a:pt x="6" y="191"/>
                </a:lnTo>
                <a:lnTo>
                  <a:pt x="0" y="197"/>
                </a:lnTo>
                <a:lnTo>
                  <a:pt x="0" y="204"/>
                </a:lnTo>
                <a:lnTo>
                  <a:pt x="0" y="210"/>
                </a:lnTo>
                <a:lnTo>
                  <a:pt x="0" y="219"/>
                </a:lnTo>
                <a:lnTo>
                  <a:pt x="0" y="226"/>
                </a:lnTo>
                <a:lnTo>
                  <a:pt x="0" y="229"/>
                </a:lnTo>
                <a:lnTo>
                  <a:pt x="0" y="229"/>
                </a:lnTo>
                <a:lnTo>
                  <a:pt x="3" y="229"/>
                </a:lnTo>
                <a:lnTo>
                  <a:pt x="3" y="229"/>
                </a:lnTo>
                <a:lnTo>
                  <a:pt x="6" y="229"/>
                </a:lnTo>
                <a:lnTo>
                  <a:pt x="6" y="226"/>
                </a:lnTo>
                <a:lnTo>
                  <a:pt x="6" y="226"/>
                </a:lnTo>
                <a:lnTo>
                  <a:pt x="12" y="226"/>
                </a:lnTo>
                <a:lnTo>
                  <a:pt x="16" y="229"/>
                </a:lnTo>
                <a:lnTo>
                  <a:pt x="16" y="226"/>
                </a:lnTo>
                <a:lnTo>
                  <a:pt x="16" y="226"/>
                </a:lnTo>
                <a:lnTo>
                  <a:pt x="22" y="219"/>
                </a:lnTo>
                <a:lnTo>
                  <a:pt x="25" y="219"/>
                </a:lnTo>
                <a:lnTo>
                  <a:pt x="28" y="222"/>
                </a:lnTo>
                <a:lnTo>
                  <a:pt x="28" y="222"/>
                </a:lnTo>
                <a:lnTo>
                  <a:pt x="31" y="222"/>
                </a:lnTo>
                <a:lnTo>
                  <a:pt x="31" y="219"/>
                </a:lnTo>
                <a:lnTo>
                  <a:pt x="34" y="222"/>
                </a:lnTo>
                <a:lnTo>
                  <a:pt x="34" y="222"/>
                </a:lnTo>
                <a:lnTo>
                  <a:pt x="37" y="222"/>
                </a:lnTo>
                <a:lnTo>
                  <a:pt x="37" y="226"/>
                </a:lnTo>
                <a:lnTo>
                  <a:pt x="37" y="226"/>
                </a:lnTo>
                <a:lnTo>
                  <a:pt x="41" y="229"/>
                </a:lnTo>
                <a:lnTo>
                  <a:pt x="47" y="232"/>
                </a:lnTo>
                <a:lnTo>
                  <a:pt x="50" y="229"/>
                </a:lnTo>
                <a:lnTo>
                  <a:pt x="50" y="229"/>
                </a:lnTo>
                <a:lnTo>
                  <a:pt x="53" y="229"/>
                </a:lnTo>
                <a:lnTo>
                  <a:pt x="56" y="229"/>
                </a:lnTo>
                <a:lnTo>
                  <a:pt x="56" y="229"/>
                </a:lnTo>
                <a:lnTo>
                  <a:pt x="131" y="229"/>
                </a:lnTo>
                <a:lnTo>
                  <a:pt x="131" y="229"/>
                </a:lnTo>
                <a:lnTo>
                  <a:pt x="134" y="235"/>
                </a:lnTo>
                <a:lnTo>
                  <a:pt x="134" y="235"/>
                </a:lnTo>
                <a:lnTo>
                  <a:pt x="137" y="238"/>
                </a:lnTo>
                <a:lnTo>
                  <a:pt x="144" y="238"/>
                </a:lnTo>
                <a:lnTo>
                  <a:pt x="147" y="238"/>
                </a:lnTo>
                <a:lnTo>
                  <a:pt x="147" y="238"/>
                </a:lnTo>
                <a:lnTo>
                  <a:pt x="147" y="238"/>
                </a:lnTo>
                <a:lnTo>
                  <a:pt x="150" y="241"/>
                </a:lnTo>
                <a:lnTo>
                  <a:pt x="153" y="238"/>
                </a:lnTo>
                <a:lnTo>
                  <a:pt x="156" y="238"/>
                </a:lnTo>
                <a:lnTo>
                  <a:pt x="162" y="238"/>
                </a:lnTo>
                <a:lnTo>
                  <a:pt x="166" y="238"/>
                </a:lnTo>
                <a:lnTo>
                  <a:pt x="166" y="235"/>
                </a:lnTo>
                <a:lnTo>
                  <a:pt x="166" y="238"/>
                </a:lnTo>
                <a:lnTo>
                  <a:pt x="169" y="238"/>
                </a:lnTo>
                <a:lnTo>
                  <a:pt x="172" y="241"/>
                </a:lnTo>
                <a:lnTo>
                  <a:pt x="175" y="241"/>
                </a:lnTo>
                <a:lnTo>
                  <a:pt x="181" y="241"/>
                </a:lnTo>
                <a:lnTo>
                  <a:pt x="181" y="241"/>
                </a:lnTo>
                <a:lnTo>
                  <a:pt x="181" y="241"/>
                </a:lnTo>
                <a:lnTo>
                  <a:pt x="184" y="241"/>
                </a:lnTo>
                <a:lnTo>
                  <a:pt x="187" y="241"/>
                </a:lnTo>
                <a:lnTo>
                  <a:pt x="187" y="241"/>
                </a:lnTo>
                <a:lnTo>
                  <a:pt x="191" y="241"/>
                </a:lnTo>
                <a:lnTo>
                  <a:pt x="191" y="241"/>
                </a:lnTo>
                <a:lnTo>
                  <a:pt x="191" y="241"/>
                </a:lnTo>
                <a:lnTo>
                  <a:pt x="194" y="244"/>
                </a:lnTo>
                <a:lnTo>
                  <a:pt x="194" y="244"/>
                </a:lnTo>
                <a:lnTo>
                  <a:pt x="197" y="244"/>
                </a:lnTo>
                <a:lnTo>
                  <a:pt x="197" y="244"/>
                </a:lnTo>
                <a:lnTo>
                  <a:pt x="228" y="235"/>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9" name="Freeform 147">
            <a:extLst>
              <a:ext uri="{FF2B5EF4-FFF2-40B4-BE49-F238E27FC236}">
                <a16:creationId xmlns:a16="http://schemas.microsoft.com/office/drawing/2014/main" id="{ACD36C35-7F4E-848C-D6E7-B5F419B9C54A}"/>
              </a:ext>
            </a:extLst>
          </p:cNvPr>
          <p:cNvSpPr>
            <a:spLocks/>
          </p:cNvSpPr>
          <p:nvPr userDrawn="1"/>
        </p:nvSpPr>
        <p:spPr bwMode="auto">
          <a:xfrm>
            <a:off x="14705640" y="10368831"/>
            <a:ext cx="498446" cy="447678"/>
          </a:xfrm>
          <a:custGeom>
            <a:avLst/>
            <a:gdLst>
              <a:gd name="T0" fmla="*/ 10 w 157"/>
              <a:gd name="T1" fmla="*/ 44 h 141"/>
              <a:gd name="T2" fmla="*/ 16 w 157"/>
              <a:gd name="T3" fmla="*/ 47 h 141"/>
              <a:gd name="T4" fmla="*/ 25 w 157"/>
              <a:gd name="T5" fmla="*/ 44 h 141"/>
              <a:gd name="T6" fmla="*/ 29 w 157"/>
              <a:gd name="T7" fmla="*/ 47 h 141"/>
              <a:gd name="T8" fmla="*/ 41 w 157"/>
              <a:gd name="T9" fmla="*/ 47 h 141"/>
              <a:gd name="T10" fmla="*/ 66 w 157"/>
              <a:gd name="T11" fmla="*/ 19 h 141"/>
              <a:gd name="T12" fmla="*/ 75 w 157"/>
              <a:gd name="T13" fmla="*/ 16 h 141"/>
              <a:gd name="T14" fmla="*/ 75 w 157"/>
              <a:gd name="T15" fmla="*/ 10 h 141"/>
              <a:gd name="T16" fmla="*/ 85 w 157"/>
              <a:gd name="T17" fmla="*/ 3 h 141"/>
              <a:gd name="T18" fmla="*/ 97 w 157"/>
              <a:gd name="T19" fmla="*/ 0 h 141"/>
              <a:gd name="T20" fmla="*/ 104 w 157"/>
              <a:gd name="T21" fmla="*/ 0 h 141"/>
              <a:gd name="T22" fmla="*/ 107 w 157"/>
              <a:gd name="T23" fmla="*/ 7 h 141"/>
              <a:gd name="T24" fmla="*/ 119 w 157"/>
              <a:gd name="T25" fmla="*/ 10 h 141"/>
              <a:gd name="T26" fmla="*/ 125 w 157"/>
              <a:gd name="T27" fmla="*/ 10 h 141"/>
              <a:gd name="T28" fmla="*/ 138 w 157"/>
              <a:gd name="T29" fmla="*/ 19 h 141"/>
              <a:gd name="T30" fmla="*/ 150 w 157"/>
              <a:gd name="T31" fmla="*/ 22 h 141"/>
              <a:gd name="T32" fmla="*/ 154 w 157"/>
              <a:gd name="T33" fmla="*/ 32 h 141"/>
              <a:gd name="T34" fmla="*/ 154 w 157"/>
              <a:gd name="T35" fmla="*/ 38 h 141"/>
              <a:gd name="T36" fmla="*/ 154 w 157"/>
              <a:gd name="T37" fmla="*/ 50 h 141"/>
              <a:gd name="T38" fmla="*/ 154 w 157"/>
              <a:gd name="T39" fmla="*/ 53 h 141"/>
              <a:gd name="T40" fmla="*/ 150 w 157"/>
              <a:gd name="T41" fmla="*/ 63 h 141"/>
              <a:gd name="T42" fmla="*/ 147 w 157"/>
              <a:gd name="T43" fmla="*/ 69 h 141"/>
              <a:gd name="T44" fmla="*/ 150 w 157"/>
              <a:gd name="T45" fmla="*/ 78 h 141"/>
              <a:gd name="T46" fmla="*/ 154 w 157"/>
              <a:gd name="T47" fmla="*/ 85 h 141"/>
              <a:gd name="T48" fmla="*/ 144 w 157"/>
              <a:gd name="T49" fmla="*/ 94 h 141"/>
              <a:gd name="T50" fmla="*/ 144 w 157"/>
              <a:gd name="T51" fmla="*/ 100 h 141"/>
              <a:gd name="T52" fmla="*/ 141 w 157"/>
              <a:gd name="T53" fmla="*/ 113 h 141"/>
              <a:gd name="T54" fmla="*/ 116 w 157"/>
              <a:gd name="T55" fmla="*/ 138 h 141"/>
              <a:gd name="T56" fmla="*/ 100 w 157"/>
              <a:gd name="T57" fmla="*/ 138 h 141"/>
              <a:gd name="T58" fmla="*/ 91 w 157"/>
              <a:gd name="T59" fmla="*/ 135 h 141"/>
              <a:gd name="T60" fmla="*/ 79 w 157"/>
              <a:gd name="T61" fmla="*/ 132 h 141"/>
              <a:gd name="T62" fmla="*/ 75 w 157"/>
              <a:gd name="T63" fmla="*/ 125 h 141"/>
              <a:gd name="T64" fmla="*/ 69 w 157"/>
              <a:gd name="T65" fmla="*/ 122 h 141"/>
              <a:gd name="T66" fmla="*/ 60 w 157"/>
              <a:gd name="T67" fmla="*/ 122 h 141"/>
              <a:gd name="T68" fmla="*/ 47 w 157"/>
              <a:gd name="T69" fmla="*/ 113 h 141"/>
              <a:gd name="T70" fmla="*/ 47 w 157"/>
              <a:gd name="T71" fmla="*/ 103 h 141"/>
              <a:gd name="T72" fmla="*/ 41 w 157"/>
              <a:gd name="T73" fmla="*/ 97 h 141"/>
              <a:gd name="T74" fmla="*/ 41 w 157"/>
              <a:gd name="T75" fmla="*/ 94 h 141"/>
              <a:gd name="T76" fmla="*/ 32 w 157"/>
              <a:gd name="T77" fmla="*/ 88 h 141"/>
              <a:gd name="T78" fmla="*/ 22 w 157"/>
              <a:gd name="T79" fmla="*/ 72 h 141"/>
              <a:gd name="T80" fmla="*/ 16 w 157"/>
              <a:gd name="T81" fmla="*/ 69 h 141"/>
              <a:gd name="T82" fmla="*/ 13 w 157"/>
              <a:gd name="T83" fmla="*/ 60 h 141"/>
              <a:gd name="T84" fmla="*/ 10 w 157"/>
              <a:gd name="T85" fmla="*/ 57 h 141"/>
              <a:gd name="T86" fmla="*/ 4 w 157"/>
              <a:gd name="T87" fmla="*/ 50 h 141"/>
              <a:gd name="T88" fmla="*/ 4 w 157"/>
              <a:gd name="T89" fmla="*/ 44 h 141"/>
              <a:gd name="T90" fmla="*/ 0 w 157"/>
              <a:gd name="T91" fmla="*/ 4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7" h="141">
                <a:moveTo>
                  <a:pt x="0" y="44"/>
                </a:moveTo>
                <a:lnTo>
                  <a:pt x="4" y="44"/>
                </a:lnTo>
                <a:lnTo>
                  <a:pt x="10" y="44"/>
                </a:lnTo>
                <a:lnTo>
                  <a:pt x="13" y="44"/>
                </a:lnTo>
                <a:lnTo>
                  <a:pt x="13" y="47"/>
                </a:lnTo>
                <a:lnTo>
                  <a:pt x="16" y="47"/>
                </a:lnTo>
                <a:lnTo>
                  <a:pt x="19" y="44"/>
                </a:lnTo>
                <a:lnTo>
                  <a:pt x="22" y="44"/>
                </a:lnTo>
                <a:lnTo>
                  <a:pt x="25" y="44"/>
                </a:lnTo>
                <a:lnTo>
                  <a:pt x="25" y="44"/>
                </a:lnTo>
                <a:lnTo>
                  <a:pt x="29" y="44"/>
                </a:lnTo>
                <a:lnTo>
                  <a:pt x="29" y="47"/>
                </a:lnTo>
                <a:lnTo>
                  <a:pt x="32" y="47"/>
                </a:lnTo>
                <a:lnTo>
                  <a:pt x="35" y="50"/>
                </a:lnTo>
                <a:lnTo>
                  <a:pt x="41" y="47"/>
                </a:lnTo>
                <a:lnTo>
                  <a:pt x="47" y="38"/>
                </a:lnTo>
                <a:lnTo>
                  <a:pt x="54" y="28"/>
                </a:lnTo>
                <a:lnTo>
                  <a:pt x="66" y="19"/>
                </a:lnTo>
                <a:lnTo>
                  <a:pt x="72" y="16"/>
                </a:lnTo>
                <a:lnTo>
                  <a:pt x="75" y="16"/>
                </a:lnTo>
                <a:lnTo>
                  <a:pt x="75" y="16"/>
                </a:lnTo>
                <a:lnTo>
                  <a:pt x="75" y="13"/>
                </a:lnTo>
                <a:lnTo>
                  <a:pt x="75" y="10"/>
                </a:lnTo>
                <a:lnTo>
                  <a:pt x="75" y="10"/>
                </a:lnTo>
                <a:lnTo>
                  <a:pt x="75" y="7"/>
                </a:lnTo>
                <a:lnTo>
                  <a:pt x="82" y="3"/>
                </a:lnTo>
                <a:lnTo>
                  <a:pt x="85" y="3"/>
                </a:lnTo>
                <a:lnTo>
                  <a:pt x="88" y="0"/>
                </a:lnTo>
                <a:lnTo>
                  <a:pt x="91" y="0"/>
                </a:lnTo>
                <a:lnTo>
                  <a:pt x="97" y="0"/>
                </a:lnTo>
                <a:lnTo>
                  <a:pt x="97" y="0"/>
                </a:lnTo>
                <a:lnTo>
                  <a:pt x="100" y="0"/>
                </a:lnTo>
                <a:lnTo>
                  <a:pt x="104" y="0"/>
                </a:lnTo>
                <a:lnTo>
                  <a:pt x="107" y="0"/>
                </a:lnTo>
                <a:lnTo>
                  <a:pt x="107" y="0"/>
                </a:lnTo>
                <a:lnTo>
                  <a:pt x="107" y="7"/>
                </a:lnTo>
                <a:lnTo>
                  <a:pt x="113" y="7"/>
                </a:lnTo>
                <a:lnTo>
                  <a:pt x="116" y="10"/>
                </a:lnTo>
                <a:lnTo>
                  <a:pt x="119" y="10"/>
                </a:lnTo>
                <a:lnTo>
                  <a:pt x="119" y="10"/>
                </a:lnTo>
                <a:lnTo>
                  <a:pt x="122" y="7"/>
                </a:lnTo>
                <a:lnTo>
                  <a:pt x="125" y="10"/>
                </a:lnTo>
                <a:lnTo>
                  <a:pt x="132" y="13"/>
                </a:lnTo>
                <a:lnTo>
                  <a:pt x="135" y="16"/>
                </a:lnTo>
                <a:lnTo>
                  <a:pt x="138" y="19"/>
                </a:lnTo>
                <a:lnTo>
                  <a:pt x="144" y="19"/>
                </a:lnTo>
                <a:lnTo>
                  <a:pt x="150" y="22"/>
                </a:lnTo>
                <a:lnTo>
                  <a:pt x="150" y="22"/>
                </a:lnTo>
                <a:lnTo>
                  <a:pt x="157" y="25"/>
                </a:lnTo>
                <a:lnTo>
                  <a:pt x="157" y="28"/>
                </a:lnTo>
                <a:lnTo>
                  <a:pt x="154" y="32"/>
                </a:lnTo>
                <a:lnTo>
                  <a:pt x="154" y="35"/>
                </a:lnTo>
                <a:lnTo>
                  <a:pt x="154" y="35"/>
                </a:lnTo>
                <a:lnTo>
                  <a:pt x="154" y="38"/>
                </a:lnTo>
                <a:lnTo>
                  <a:pt x="154" y="41"/>
                </a:lnTo>
                <a:lnTo>
                  <a:pt x="154" y="44"/>
                </a:lnTo>
                <a:lnTo>
                  <a:pt x="154" y="50"/>
                </a:lnTo>
                <a:lnTo>
                  <a:pt x="150" y="53"/>
                </a:lnTo>
                <a:lnTo>
                  <a:pt x="150" y="53"/>
                </a:lnTo>
                <a:lnTo>
                  <a:pt x="154" y="53"/>
                </a:lnTo>
                <a:lnTo>
                  <a:pt x="154" y="57"/>
                </a:lnTo>
                <a:lnTo>
                  <a:pt x="150" y="60"/>
                </a:lnTo>
                <a:lnTo>
                  <a:pt x="150" y="63"/>
                </a:lnTo>
                <a:lnTo>
                  <a:pt x="150" y="66"/>
                </a:lnTo>
                <a:lnTo>
                  <a:pt x="147" y="66"/>
                </a:lnTo>
                <a:lnTo>
                  <a:pt x="147" y="69"/>
                </a:lnTo>
                <a:lnTo>
                  <a:pt x="150" y="72"/>
                </a:lnTo>
                <a:lnTo>
                  <a:pt x="150" y="75"/>
                </a:lnTo>
                <a:lnTo>
                  <a:pt x="150" y="78"/>
                </a:lnTo>
                <a:lnTo>
                  <a:pt x="150" y="82"/>
                </a:lnTo>
                <a:lnTo>
                  <a:pt x="150" y="82"/>
                </a:lnTo>
                <a:lnTo>
                  <a:pt x="154" y="85"/>
                </a:lnTo>
                <a:lnTo>
                  <a:pt x="150" y="91"/>
                </a:lnTo>
                <a:lnTo>
                  <a:pt x="147" y="91"/>
                </a:lnTo>
                <a:lnTo>
                  <a:pt x="144" y="94"/>
                </a:lnTo>
                <a:lnTo>
                  <a:pt x="144" y="94"/>
                </a:lnTo>
                <a:lnTo>
                  <a:pt x="141" y="97"/>
                </a:lnTo>
                <a:lnTo>
                  <a:pt x="144" y="100"/>
                </a:lnTo>
                <a:lnTo>
                  <a:pt x="141" y="103"/>
                </a:lnTo>
                <a:lnTo>
                  <a:pt x="141" y="110"/>
                </a:lnTo>
                <a:lnTo>
                  <a:pt x="141" y="113"/>
                </a:lnTo>
                <a:lnTo>
                  <a:pt x="141" y="119"/>
                </a:lnTo>
                <a:lnTo>
                  <a:pt x="119" y="141"/>
                </a:lnTo>
                <a:lnTo>
                  <a:pt x="116" y="138"/>
                </a:lnTo>
                <a:lnTo>
                  <a:pt x="110" y="135"/>
                </a:lnTo>
                <a:lnTo>
                  <a:pt x="104" y="138"/>
                </a:lnTo>
                <a:lnTo>
                  <a:pt x="100" y="138"/>
                </a:lnTo>
                <a:lnTo>
                  <a:pt x="100" y="138"/>
                </a:lnTo>
                <a:lnTo>
                  <a:pt x="94" y="135"/>
                </a:lnTo>
                <a:lnTo>
                  <a:pt x="91" y="135"/>
                </a:lnTo>
                <a:lnTo>
                  <a:pt x="91" y="132"/>
                </a:lnTo>
                <a:lnTo>
                  <a:pt x="85" y="132"/>
                </a:lnTo>
                <a:lnTo>
                  <a:pt x="79" y="132"/>
                </a:lnTo>
                <a:lnTo>
                  <a:pt x="79" y="132"/>
                </a:lnTo>
                <a:lnTo>
                  <a:pt x="75" y="129"/>
                </a:lnTo>
                <a:lnTo>
                  <a:pt x="75" y="125"/>
                </a:lnTo>
                <a:lnTo>
                  <a:pt x="75" y="125"/>
                </a:lnTo>
                <a:lnTo>
                  <a:pt x="72" y="125"/>
                </a:lnTo>
                <a:lnTo>
                  <a:pt x="69" y="122"/>
                </a:lnTo>
                <a:lnTo>
                  <a:pt x="66" y="122"/>
                </a:lnTo>
                <a:lnTo>
                  <a:pt x="60" y="119"/>
                </a:lnTo>
                <a:lnTo>
                  <a:pt x="60" y="122"/>
                </a:lnTo>
                <a:lnTo>
                  <a:pt x="54" y="119"/>
                </a:lnTo>
                <a:lnTo>
                  <a:pt x="54" y="116"/>
                </a:lnTo>
                <a:lnTo>
                  <a:pt x="47" y="113"/>
                </a:lnTo>
                <a:lnTo>
                  <a:pt x="47" y="110"/>
                </a:lnTo>
                <a:lnTo>
                  <a:pt x="47" y="107"/>
                </a:lnTo>
                <a:lnTo>
                  <a:pt x="47" y="103"/>
                </a:lnTo>
                <a:lnTo>
                  <a:pt x="47" y="100"/>
                </a:lnTo>
                <a:lnTo>
                  <a:pt x="44" y="97"/>
                </a:lnTo>
                <a:lnTo>
                  <a:pt x="41" y="97"/>
                </a:lnTo>
                <a:lnTo>
                  <a:pt x="41" y="94"/>
                </a:lnTo>
                <a:lnTo>
                  <a:pt x="41" y="94"/>
                </a:lnTo>
                <a:lnTo>
                  <a:pt x="41" y="94"/>
                </a:lnTo>
                <a:lnTo>
                  <a:pt x="38" y="91"/>
                </a:lnTo>
                <a:lnTo>
                  <a:pt x="35" y="91"/>
                </a:lnTo>
                <a:lnTo>
                  <a:pt x="32" y="88"/>
                </a:lnTo>
                <a:lnTo>
                  <a:pt x="29" y="85"/>
                </a:lnTo>
                <a:lnTo>
                  <a:pt x="22" y="75"/>
                </a:lnTo>
                <a:lnTo>
                  <a:pt x="22" y="72"/>
                </a:lnTo>
                <a:lnTo>
                  <a:pt x="19" y="72"/>
                </a:lnTo>
                <a:lnTo>
                  <a:pt x="19" y="72"/>
                </a:lnTo>
                <a:lnTo>
                  <a:pt x="16" y="69"/>
                </a:lnTo>
                <a:lnTo>
                  <a:pt x="16" y="66"/>
                </a:lnTo>
                <a:lnTo>
                  <a:pt x="13" y="63"/>
                </a:lnTo>
                <a:lnTo>
                  <a:pt x="13" y="60"/>
                </a:lnTo>
                <a:lnTo>
                  <a:pt x="10" y="60"/>
                </a:lnTo>
                <a:lnTo>
                  <a:pt x="10" y="57"/>
                </a:lnTo>
                <a:lnTo>
                  <a:pt x="10" y="57"/>
                </a:lnTo>
                <a:lnTo>
                  <a:pt x="7" y="53"/>
                </a:lnTo>
                <a:lnTo>
                  <a:pt x="7" y="53"/>
                </a:lnTo>
                <a:lnTo>
                  <a:pt x="4" y="50"/>
                </a:lnTo>
                <a:lnTo>
                  <a:pt x="4" y="47"/>
                </a:lnTo>
                <a:lnTo>
                  <a:pt x="4" y="47"/>
                </a:lnTo>
                <a:lnTo>
                  <a:pt x="4" y="44"/>
                </a:lnTo>
                <a:lnTo>
                  <a:pt x="0" y="44"/>
                </a:lnTo>
                <a:lnTo>
                  <a:pt x="0" y="44"/>
                </a:lnTo>
                <a:lnTo>
                  <a:pt x="0" y="4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0" name="Freeform 148">
            <a:extLst>
              <a:ext uri="{FF2B5EF4-FFF2-40B4-BE49-F238E27FC236}">
                <a16:creationId xmlns:a16="http://schemas.microsoft.com/office/drawing/2014/main" id="{0AAD0F03-1EC6-4B27-6566-E2287E9D1BDF}"/>
              </a:ext>
            </a:extLst>
          </p:cNvPr>
          <p:cNvSpPr>
            <a:spLocks/>
          </p:cNvSpPr>
          <p:nvPr userDrawn="1"/>
        </p:nvSpPr>
        <p:spPr bwMode="auto">
          <a:xfrm>
            <a:off x="14369111" y="10508531"/>
            <a:ext cx="587338" cy="577850"/>
          </a:xfrm>
          <a:custGeom>
            <a:avLst/>
            <a:gdLst>
              <a:gd name="T0" fmla="*/ 110 w 185"/>
              <a:gd name="T1" fmla="*/ 3 h 182"/>
              <a:gd name="T2" fmla="*/ 113 w 185"/>
              <a:gd name="T3" fmla="*/ 9 h 182"/>
              <a:gd name="T4" fmla="*/ 116 w 185"/>
              <a:gd name="T5" fmla="*/ 13 h 182"/>
              <a:gd name="T6" fmla="*/ 119 w 185"/>
              <a:gd name="T7" fmla="*/ 19 h 182"/>
              <a:gd name="T8" fmla="*/ 125 w 185"/>
              <a:gd name="T9" fmla="*/ 28 h 182"/>
              <a:gd name="T10" fmla="*/ 128 w 185"/>
              <a:gd name="T11" fmla="*/ 31 h 182"/>
              <a:gd name="T12" fmla="*/ 141 w 185"/>
              <a:gd name="T13" fmla="*/ 47 h 182"/>
              <a:gd name="T14" fmla="*/ 147 w 185"/>
              <a:gd name="T15" fmla="*/ 50 h 182"/>
              <a:gd name="T16" fmla="*/ 150 w 185"/>
              <a:gd name="T17" fmla="*/ 53 h 182"/>
              <a:gd name="T18" fmla="*/ 153 w 185"/>
              <a:gd name="T19" fmla="*/ 63 h 182"/>
              <a:gd name="T20" fmla="*/ 160 w 185"/>
              <a:gd name="T21" fmla="*/ 72 h 182"/>
              <a:gd name="T22" fmla="*/ 166 w 185"/>
              <a:gd name="T23" fmla="*/ 75 h 182"/>
              <a:gd name="T24" fmla="*/ 178 w 185"/>
              <a:gd name="T25" fmla="*/ 81 h 182"/>
              <a:gd name="T26" fmla="*/ 181 w 185"/>
              <a:gd name="T27" fmla="*/ 85 h 182"/>
              <a:gd name="T28" fmla="*/ 185 w 185"/>
              <a:gd name="T29" fmla="*/ 88 h 182"/>
              <a:gd name="T30" fmla="*/ 175 w 185"/>
              <a:gd name="T31" fmla="*/ 91 h 182"/>
              <a:gd name="T32" fmla="*/ 172 w 185"/>
              <a:gd name="T33" fmla="*/ 97 h 182"/>
              <a:gd name="T34" fmla="*/ 166 w 185"/>
              <a:gd name="T35" fmla="*/ 100 h 182"/>
              <a:gd name="T36" fmla="*/ 156 w 185"/>
              <a:gd name="T37" fmla="*/ 103 h 182"/>
              <a:gd name="T38" fmla="*/ 150 w 185"/>
              <a:gd name="T39" fmla="*/ 110 h 182"/>
              <a:gd name="T40" fmla="*/ 144 w 185"/>
              <a:gd name="T41" fmla="*/ 113 h 182"/>
              <a:gd name="T42" fmla="*/ 135 w 185"/>
              <a:gd name="T43" fmla="*/ 125 h 182"/>
              <a:gd name="T44" fmla="*/ 135 w 185"/>
              <a:gd name="T45" fmla="*/ 131 h 182"/>
              <a:gd name="T46" fmla="*/ 128 w 185"/>
              <a:gd name="T47" fmla="*/ 135 h 182"/>
              <a:gd name="T48" fmla="*/ 125 w 185"/>
              <a:gd name="T49" fmla="*/ 141 h 182"/>
              <a:gd name="T50" fmla="*/ 113 w 185"/>
              <a:gd name="T51" fmla="*/ 144 h 182"/>
              <a:gd name="T52" fmla="*/ 110 w 185"/>
              <a:gd name="T53" fmla="*/ 153 h 182"/>
              <a:gd name="T54" fmla="*/ 110 w 185"/>
              <a:gd name="T55" fmla="*/ 163 h 182"/>
              <a:gd name="T56" fmla="*/ 103 w 185"/>
              <a:gd name="T57" fmla="*/ 163 h 182"/>
              <a:gd name="T58" fmla="*/ 91 w 185"/>
              <a:gd name="T59" fmla="*/ 163 h 182"/>
              <a:gd name="T60" fmla="*/ 78 w 185"/>
              <a:gd name="T61" fmla="*/ 160 h 182"/>
              <a:gd name="T62" fmla="*/ 66 w 185"/>
              <a:gd name="T63" fmla="*/ 153 h 182"/>
              <a:gd name="T64" fmla="*/ 53 w 185"/>
              <a:gd name="T65" fmla="*/ 169 h 182"/>
              <a:gd name="T66" fmla="*/ 41 w 185"/>
              <a:gd name="T67" fmla="*/ 175 h 182"/>
              <a:gd name="T68" fmla="*/ 31 w 185"/>
              <a:gd name="T69" fmla="*/ 182 h 182"/>
              <a:gd name="T70" fmla="*/ 19 w 185"/>
              <a:gd name="T71" fmla="*/ 182 h 182"/>
              <a:gd name="T72" fmla="*/ 16 w 185"/>
              <a:gd name="T73" fmla="*/ 172 h 182"/>
              <a:gd name="T74" fmla="*/ 10 w 185"/>
              <a:gd name="T75" fmla="*/ 150 h 182"/>
              <a:gd name="T76" fmla="*/ 0 w 185"/>
              <a:gd name="T77" fmla="*/ 147 h 182"/>
              <a:gd name="T78" fmla="*/ 22 w 185"/>
              <a:gd name="T79" fmla="*/ 85 h 182"/>
              <a:gd name="T80" fmla="*/ 60 w 185"/>
              <a:gd name="T81" fmla="*/ 9 h 182"/>
              <a:gd name="T82" fmla="*/ 69 w 185"/>
              <a:gd name="T83" fmla="*/ 6 h 182"/>
              <a:gd name="T84" fmla="*/ 72 w 185"/>
              <a:gd name="T85" fmla="*/ 13 h 182"/>
              <a:gd name="T86" fmla="*/ 72 w 185"/>
              <a:gd name="T87" fmla="*/ 16 h 182"/>
              <a:gd name="T88" fmla="*/ 88 w 185"/>
              <a:gd name="T89" fmla="*/ 3 h 182"/>
              <a:gd name="T90" fmla="*/ 94 w 185"/>
              <a:gd name="T91" fmla="*/ 3 h 182"/>
              <a:gd name="T92" fmla="*/ 106 w 185"/>
              <a:gd name="T9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5" h="182">
                <a:moveTo>
                  <a:pt x="106" y="0"/>
                </a:moveTo>
                <a:lnTo>
                  <a:pt x="110" y="0"/>
                </a:lnTo>
                <a:lnTo>
                  <a:pt x="110" y="3"/>
                </a:lnTo>
                <a:lnTo>
                  <a:pt x="110" y="3"/>
                </a:lnTo>
                <a:lnTo>
                  <a:pt x="110" y="6"/>
                </a:lnTo>
                <a:lnTo>
                  <a:pt x="113" y="9"/>
                </a:lnTo>
                <a:lnTo>
                  <a:pt x="113" y="9"/>
                </a:lnTo>
                <a:lnTo>
                  <a:pt x="116" y="13"/>
                </a:lnTo>
                <a:lnTo>
                  <a:pt x="116" y="13"/>
                </a:lnTo>
                <a:lnTo>
                  <a:pt x="116" y="16"/>
                </a:lnTo>
                <a:lnTo>
                  <a:pt x="119" y="16"/>
                </a:lnTo>
                <a:lnTo>
                  <a:pt x="119" y="19"/>
                </a:lnTo>
                <a:lnTo>
                  <a:pt x="122" y="22"/>
                </a:lnTo>
                <a:lnTo>
                  <a:pt x="122" y="25"/>
                </a:lnTo>
                <a:lnTo>
                  <a:pt x="125" y="28"/>
                </a:lnTo>
                <a:lnTo>
                  <a:pt x="125" y="28"/>
                </a:lnTo>
                <a:lnTo>
                  <a:pt x="128" y="28"/>
                </a:lnTo>
                <a:lnTo>
                  <a:pt x="128" y="31"/>
                </a:lnTo>
                <a:lnTo>
                  <a:pt x="135" y="41"/>
                </a:lnTo>
                <a:lnTo>
                  <a:pt x="138" y="44"/>
                </a:lnTo>
                <a:lnTo>
                  <a:pt x="141" y="47"/>
                </a:lnTo>
                <a:lnTo>
                  <a:pt x="144" y="47"/>
                </a:lnTo>
                <a:lnTo>
                  <a:pt x="147" y="50"/>
                </a:lnTo>
                <a:lnTo>
                  <a:pt x="147" y="50"/>
                </a:lnTo>
                <a:lnTo>
                  <a:pt x="147" y="50"/>
                </a:lnTo>
                <a:lnTo>
                  <a:pt x="147" y="53"/>
                </a:lnTo>
                <a:lnTo>
                  <a:pt x="150" y="53"/>
                </a:lnTo>
                <a:lnTo>
                  <a:pt x="153" y="56"/>
                </a:lnTo>
                <a:lnTo>
                  <a:pt x="153" y="59"/>
                </a:lnTo>
                <a:lnTo>
                  <a:pt x="153" y="63"/>
                </a:lnTo>
                <a:lnTo>
                  <a:pt x="153" y="66"/>
                </a:lnTo>
                <a:lnTo>
                  <a:pt x="153" y="69"/>
                </a:lnTo>
                <a:lnTo>
                  <a:pt x="160" y="72"/>
                </a:lnTo>
                <a:lnTo>
                  <a:pt x="160" y="75"/>
                </a:lnTo>
                <a:lnTo>
                  <a:pt x="166" y="78"/>
                </a:lnTo>
                <a:lnTo>
                  <a:pt x="166" y="75"/>
                </a:lnTo>
                <a:lnTo>
                  <a:pt x="172" y="78"/>
                </a:lnTo>
                <a:lnTo>
                  <a:pt x="175" y="78"/>
                </a:lnTo>
                <a:lnTo>
                  <a:pt x="178" y="81"/>
                </a:lnTo>
                <a:lnTo>
                  <a:pt x="181" y="81"/>
                </a:lnTo>
                <a:lnTo>
                  <a:pt x="181" y="81"/>
                </a:lnTo>
                <a:lnTo>
                  <a:pt x="181" y="85"/>
                </a:lnTo>
                <a:lnTo>
                  <a:pt x="185" y="88"/>
                </a:lnTo>
                <a:lnTo>
                  <a:pt x="185" y="88"/>
                </a:lnTo>
                <a:lnTo>
                  <a:pt x="185" y="88"/>
                </a:lnTo>
                <a:lnTo>
                  <a:pt x="181" y="91"/>
                </a:lnTo>
                <a:lnTo>
                  <a:pt x="178" y="91"/>
                </a:lnTo>
                <a:lnTo>
                  <a:pt x="175" y="91"/>
                </a:lnTo>
                <a:lnTo>
                  <a:pt x="175" y="94"/>
                </a:lnTo>
                <a:lnTo>
                  <a:pt x="175" y="97"/>
                </a:lnTo>
                <a:lnTo>
                  <a:pt x="172" y="97"/>
                </a:lnTo>
                <a:lnTo>
                  <a:pt x="169" y="100"/>
                </a:lnTo>
                <a:lnTo>
                  <a:pt x="166" y="100"/>
                </a:lnTo>
                <a:lnTo>
                  <a:pt x="166" y="100"/>
                </a:lnTo>
                <a:lnTo>
                  <a:pt x="163" y="100"/>
                </a:lnTo>
                <a:lnTo>
                  <a:pt x="160" y="100"/>
                </a:lnTo>
                <a:lnTo>
                  <a:pt x="156" y="103"/>
                </a:lnTo>
                <a:lnTo>
                  <a:pt x="153" y="106"/>
                </a:lnTo>
                <a:lnTo>
                  <a:pt x="150" y="106"/>
                </a:lnTo>
                <a:lnTo>
                  <a:pt x="150" y="110"/>
                </a:lnTo>
                <a:lnTo>
                  <a:pt x="147" y="110"/>
                </a:lnTo>
                <a:lnTo>
                  <a:pt x="147" y="113"/>
                </a:lnTo>
                <a:lnTo>
                  <a:pt x="144" y="113"/>
                </a:lnTo>
                <a:lnTo>
                  <a:pt x="141" y="113"/>
                </a:lnTo>
                <a:lnTo>
                  <a:pt x="135" y="122"/>
                </a:lnTo>
                <a:lnTo>
                  <a:pt x="135" y="125"/>
                </a:lnTo>
                <a:lnTo>
                  <a:pt x="135" y="128"/>
                </a:lnTo>
                <a:lnTo>
                  <a:pt x="135" y="131"/>
                </a:lnTo>
                <a:lnTo>
                  <a:pt x="135" y="131"/>
                </a:lnTo>
                <a:lnTo>
                  <a:pt x="131" y="131"/>
                </a:lnTo>
                <a:lnTo>
                  <a:pt x="128" y="135"/>
                </a:lnTo>
                <a:lnTo>
                  <a:pt x="128" y="135"/>
                </a:lnTo>
                <a:lnTo>
                  <a:pt x="125" y="138"/>
                </a:lnTo>
                <a:lnTo>
                  <a:pt x="125" y="138"/>
                </a:lnTo>
                <a:lnTo>
                  <a:pt x="125" y="141"/>
                </a:lnTo>
                <a:lnTo>
                  <a:pt x="122" y="141"/>
                </a:lnTo>
                <a:lnTo>
                  <a:pt x="119" y="144"/>
                </a:lnTo>
                <a:lnTo>
                  <a:pt x="113" y="144"/>
                </a:lnTo>
                <a:lnTo>
                  <a:pt x="113" y="147"/>
                </a:lnTo>
                <a:lnTo>
                  <a:pt x="113" y="153"/>
                </a:lnTo>
                <a:lnTo>
                  <a:pt x="110" y="153"/>
                </a:lnTo>
                <a:lnTo>
                  <a:pt x="110" y="156"/>
                </a:lnTo>
                <a:lnTo>
                  <a:pt x="110" y="160"/>
                </a:lnTo>
                <a:lnTo>
                  <a:pt x="110" y="163"/>
                </a:lnTo>
                <a:lnTo>
                  <a:pt x="106" y="166"/>
                </a:lnTo>
                <a:lnTo>
                  <a:pt x="103" y="163"/>
                </a:lnTo>
                <a:lnTo>
                  <a:pt x="103" y="163"/>
                </a:lnTo>
                <a:lnTo>
                  <a:pt x="100" y="163"/>
                </a:lnTo>
                <a:lnTo>
                  <a:pt x="94" y="163"/>
                </a:lnTo>
                <a:lnTo>
                  <a:pt x="91" y="163"/>
                </a:lnTo>
                <a:lnTo>
                  <a:pt x="88" y="163"/>
                </a:lnTo>
                <a:lnTo>
                  <a:pt x="85" y="163"/>
                </a:lnTo>
                <a:lnTo>
                  <a:pt x="78" y="160"/>
                </a:lnTo>
                <a:lnTo>
                  <a:pt x="75" y="156"/>
                </a:lnTo>
                <a:lnTo>
                  <a:pt x="72" y="156"/>
                </a:lnTo>
                <a:lnTo>
                  <a:pt x="66" y="153"/>
                </a:lnTo>
                <a:lnTo>
                  <a:pt x="63" y="156"/>
                </a:lnTo>
                <a:lnTo>
                  <a:pt x="56" y="160"/>
                </a:lnTo>
                <a:lnTo>
                  <a:pt x="53" y="169"/>
                </a:lnTo>
                <a:lnTo>
                  <a:pt x="50" y="172"/>
                </a:lnTo>
                <a:lnTo>
                  <a:pt x="44" y="175"/>
                </a:lnTo>
                <a:lnTo>
                  <a:pt x="41" y="175"/>
                </a:lnTo>
                <a:lnTo>
                  <a:pt x="38" y="178"/>
                </a:lnTo>
                <a:lnTo>
                  <a:pt x="35" y="182"/>
                </a:lnTo>
                <a:lnTo>
                  <a:pt x="31" y="182"/>
                </a:lnTo>
                <a:lnTo>
                  <a:pt x="25" y="182"/>
                </a:lnTo>
                <a:lnTo>
                  <a:pt x="22" y="182"/>
                </a:lnTo>
                <a:lnTo>
                  <a:pt x="19" y="182"/>
                </a:lnTo>
                <a:lnTo>
                  <a:pt x="13" y="182"/>
                </a:lnTo>
                <a:lnTo>
                  <a:pt x="13" y="178"/>
                </a:lnTo>
                <a:lnTo>
                  <a:pt x="16" y="172"/>
                </a:lnTo>
                <a:lnTo>
                  <a:pt x="16" y="166"/>
                </a:lnTo>
                <a:lnTo>
                  <a:pt x="10" y="156"/>
                </a:lnTo>
                <a:lnTo>
                  <a:pt x="10" y="150"/>
                </a:lnTo>
                <a:lnTo>
                  <a:pt x="3" y="147"/>
                </a:lnTo>
                <a:lnTo>
                  <a:pt x="3" y="147"/>
                </a:lnTo>
                <a:lnTo>
                  <a:pt x="0" y="147"/>
                </a:lnTo>
                <a:lnTo>
                  <a:pt x="0" y="147"/>
                </a:lnTo>
                <a:lnTo>
                  <a:pt x="6" y="85"/>
                </a:lnTo>
                <a:lnTo>
                  <a:pt x="22" y="85"/>
                </a:lnTo>
                <a:lnTo>
                  <a:pt x="25" y="13"/>
                </a:lnTo>
                <a:lnTo>
                  <a:pt x="41" y="13"/>
                </a:lnTo>
                <a:lnTo>
                  <a:pt x="60" y="9"/>
                </a:lnTo>
                <a:lnTo>
                  <a:pt x="66" y="6"/>
                </a:lnTo>
                <a:lnTo>
                  <a:pt x="69" y="6"/>
                </a:lnTo>
                <a:lnTo>
                  <a:pt x="69" y="6"/>
                </a:lnTo>
                <a:lnTo>
                  <a:pt x="69" y="6"/>
                </a:lnTo>
                <a:lnTo>
                  <a:pt x="72" y="9"/>
                </a:lnTo>
                <a:lnTo>
                  <a:pt x="72" y="13"/>
                </a:lnTo>
                <a:lnTo>
                  <a:pt x="72" y="13"/>
                </a:lnTo>
                <a:lnTo>
                  <a:pt x="72" y="16"/>
                </a:lnTo>
                <a:lnTo>
                  <a:pt x="72" y="16"/>
                </a:lnTo>
                <a:lnTo>
                  <a:pt x="78" y="13"/>
                </a:lnTo>
                <a:lnTo>
                  <a:pt x="85" y="6"/>
                </a:lnTo>
                <a:lnTo>
                  <a:pt x="88" y="3"/>
                </a:lnTo>
                <a:lnTo>
                  <a:pt x="91" y="3"/>
                </a:lnTo>
                <a:lnTo>
                  <a:pt x="91" y="3"/>
                </a:lnTo>
                <a:lnTo>
                  <a:pt x="94" y="3"/>
                </a:lnTo>
                <a:lnTo>
                  <a:pt x="97" y="3"/>
                </a:lnTo>
                <a:lnTo>
                  <a:pt x="103" y="0"/>
                </a:lnTo>
                <a:lnTo>
                  <a:pt x="106" y="0"/>
                </a:lnTo>
                <a:lnTo>
                  <a:pt x="106" y="0"/>
                </a:lnTo>
                <a:lnTo>
                  <a:pt x="106"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1" name="Freeform 149">
            <a:extLst>
              <a:ext uri="{FF2B5EF4-FFF2-40B4-BE49-F238E27FC236}">
                <a16:creationId xmlns:a16="http://schemas.microsoft.com/office/drawing/2014/main" id="{AA0C3FB0-CE55-293A-4248-75B5AEF92478}"/>
              </a:ext>
            </a:extLst>
          </p:cNvPr>
          <p:cNvSpPr>
            <a:spLocks/>
          </p:cNvSpPr>
          <p:nvPr userDrawn="1"/>
        </p:nvSpPr>
        <p:spPr bwMode="auto">
          <a:xfrm>
            <a:off x="13873846" y="10448209"/>
            <a:ext cx="831796" cy="796926"/>
          </a:xfrm>
          <a:custGeom>
            <a:avLst/>
            <a:gdLst>
              <a:gd name="T0" fmla="*/ 162 w 262"/>
              <a:gd name="T1" fmla="*/ 104 h 251"/>
              <a:gd name="T2" fmla="*/ 197 w 262"/>
              <a:gd name="T3" fmla="*/ 32 h 251"/>
              <a:gd name="T4" fmla="*/ 225 w 262"/>
              <a:gd name="T5" fmla="*/ 25 h 251"/>
              <a:gd name="T6" fmla="*/ 228 w 262"/>
              <a:gd name="T7" fmla="*/ 28 h 251"/>
              <a:gd name="T8" fmla="*/ 228 w 262"/>
              <a:gd name="T9" fmla="*/ 35 h 251"/>
              <a:gd name="T10" fmla="*/ 241 w 262"/>
              <a:gd name="T11" fmla="*/ 25 h 251"/>
              <a:gd name="T12" fmla="*/ 247 w 262"/>
              <a:gd name="T13" fmla="*/ 22 h 251"/>
              <a:gd name="T14" fmla="*/ 259 w 262"/>
              <a:gd name="T15" fmla="*/ 19 h 251"/>
              <a:gd name="T16" fmla="*/ 259 w 262"/>
              <a:gd name="T17" fmla="*/ 13 h 251"/>
              <a:gd name="T18" fmla="*/ 256 w 262"/>
              <a:gd name="T19" fmla="*/ 13 h 251"/>
              <a:gd name="T20" fmla="*/ 250 w 262"/>
              <a:gd name="T21" fmla="*/ 13 h 251"/>
              <a:gd name="T22" fmla="*/ 197 w 262"/>
              <a:gd name="T23" fmla="*/ 25 h 251"/>
              <a:gd name="T24" fmla="*/ 191 w 262"/>
              <a:gd name="T25" fmla="*/ 22 h 251"/>
              <a:gd name="T26" fmla="*/ 187 w 262"/>
              <a:gd name="T27" fmla="*/ 22 h 251"/>
              <a:gd name="T28" fmla="*/ 181 w 262"/>
              <a:gd name="T29" fmla="*/ 22 h 251"/>
              <a:gd name="T30" fmla="*/ 175 w 262"/>
              <a:gd name="T31" fmla="*/ 22 h 251"/>
              <a:gd name="T32" fmla="*/ 166 w 262"/>
              <a:gd name="T33" fmla="*/ 19 h 251"/>
              <a:gd name="T34" fmla="*/ 162 w 262"/>
              <a:gd name="T35" fmla="*/ 19 h 251"/>
              <a:gd name="T36" fmla="*/ 150 w 262"/>
              <a:gd name="T37" fmla="*/ 22 h 251"/>
              <a:gd name="T38" fmla="*/ 147 w 262"/>
              <a:gd name="T39" fmla="*/ 19 h 251"/>
              <a:gd name="T40" fmla="*/ 134 w 262"/>
              <a:gd name="T41" fmla="*/ 16 h 251"/>
              <a:gd name="T42" fmla="*/ 131 w 262"/>
              <a:gd name="T43" fmla="*/ 10 h 251"/>
              <a:gd name="T44" fmla="*/ 53 w 262"/>
              <a:gd name="T45" fmla="*/ 10 h 251"/>
              <a:gd name="T46" fmla="*/ 47 w 262"/>
              <a:gd name="T47" fmla="*/ 13 h 251"/>
              <a:gd name="T48" fmla="*/ 37 w 262"/>
              <a:gd name="T49" fmla="*/ 7 h 251"/>
              <a:gd name="T50" fmla="*/ 34 w 262"/>
              <a:gd name="T51" fmla="*/ 3 h 251"/>
              <a:gd name="T52" fmla="*/ 28 w 262"/>
              <a:gd name="T53" fmla="*/ 3 h 251"/>
              <a:gd name="T54" fmla="*/ 22 w 262"/>
              <a:gd name="T55" fmla="*/ 0 h 251"/>
              <a:gd name="T56" fmla="*/ 16 w 262"/>
              <a:gd name="T57" fmla="*/ 10 h 251"/>
              <a:gd name="T58" fmla="*/ 6 w 262"/>
              <a:gd name="T59" fmla="*/ 7 h 251"/>
              <a:gd name="T60" fmla="*/ 3 w 262"/>
              <a:gd name="T61" fmla="*/ 10 h 251"/>
              <a:gd name="T62" fmla="*/ 0 w 262"/>
              <a:gd name="T63" fmla="*/ 25 h 251"/>
              <a:gd name="T64" fmla="*/ 28 w 262"/>
              <a:gd name="T65" fmla="*/ 69 h 251"/>
              <a:gd name="T66" fmla="*/ 41 w 262"/>
              <a:gd name="T67" fmla="*/ 97 h 251"/>
              <a:gd name="T68" fmla="*/ 47 w 262"/>
              <a:gd name="T69" fmla="*/ 122 h 251"/>
              <a:gd name="T70" fmla="*/ 56 w 262"/>
              <a:gd name="T71" fmla="*/ 163 h 251"/>
              <a:gd name="T72" fmla="*/ 56 w 262"/>
              <a:gd name="T73" fmla="*/ 179 h 251"/>
              <a:gd name="T74" fmla="*/ 62 w 262"/>
              <a:gd name="T75" fmla="*/ 194 h 251"/>
              <a:gd name="T76" fmla="*/ 62 w 262"/>
              <a:gd name="T77" fmla="*/ 204 h 251"/>
              <a:gd name="T78" fmla="*/ 69 w 262"/>
              <a:gd name="T79" fmla="*/ 219 h 251"/>
              <a:gd name="T80" fmla="*/ 78 w 262"/>
              <a:gd name="T81" fmla="*/ 235 h 251"/>
              <a:gd name="T82" fmla="*/ 94 w 262"/>
              <a:gd name="T83" fmla="*/ 238 h 251"/>
              <a:gd name="T84" fmla="*/ 94 w 262"/>
              <a:gd name="T85" fmla="*/ 232 h 251"/>
              <a:gd name="T86" fmla="*/ 103 w 262"/>
              <a:gd name="T87" fmla="*/ 232 h 251"/>
              <a:gd name="T88" fmla="*/ 112 w 262"/>
              <a:gd name="T89" fmla="*/ 244 h 251"/>
              <a:gd name="T90" fmla="*/ 122 w 262"/>
              <a:gd name="T91" fmla="*/ 247 h 251"/>
              <a:gd name="T92" fmla="*/ 128 w 262"/>
              <a:gd name="T93" fmla="*/ 247 h 251"/>
              <a:gd name="T94" fmla="*/ 134 w 262"/>
              <a:gd name="T95" fmla="*/ 251 h 251"/>
              <a:gd name="T96" fmla="*/ 141 w 262"/>
              <a:gd name="T97" fmla="*/ 241 h 251"/>
              <a:gd name="T98" fmla="*/ 153 w 262"/>
              <a:gd name="T99" fmla="*/ 235 h 251"/>
              <a:gd name="T100" fmla="*/ 156 w 262"/>
              <a:gd name="T101" fmla="*/ 166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2" h="251">
                <a:moveTo>
                  <a:pt x="156" y="166"/>
                </a:moveTo>
                <a:lnTo>
                  <a:pt x="156" y="166"/>
                </a:lnTo>
                <a:lnTo>
                  <a:pt x="162" y="104"/>
                </a:lnTo>
                <a:lnTo>
                  <a:pt x="178" y="104"/>
                </a:lnTo>
                <a:lnTo>
                  <a:pt x="181" y="32"/>
                </a:lnTo>
                <a:lnTo>
                  <a:pt x="197" y="32"/>
                </a:lnTo>
                <a:lnTo>
                  <a:pt x="216" y="28"/>
                </a:lnTo>
                <a:lnTo>
                  <a:pt x="222" y="25"/>
                </a:lnTo>
                <a:lnTo>
                  <a:pt x="225" y="25"/>
                </a:lnTo>
                <a:lnTo>
                  <a:pt x="225" y="25"/>
                </a:lnTo>
                <a:lnTo>
                  <a:pt x="225" y="25"/>
                </a:lnTo>
                <a:lnTo>
                  <a:pt x="228" y="28"/>
                </a:lnTo>
                <a:lnTo>
                  <a:pt x="228" y="32"/>
                </a:lnTo>
                <a:lnTo>
                  <a:pt x="228" y="32"/>
                </a:lnTo>
                <a:lnTo>
                  <a:pt x="228" y="35"/>
                </a:lnTo>
                <a:lnTo>
                  <a:pt x="228" y="35"/>
                </a:lnTo>
                <a:lnTo>
                  <a:pt x="234" y="32"/>
                </a:lnTo>
                <a:lnTo>
                  <a:pt x="241" y="25"/>
                </a:lnTo>
                <a:lnTo>
                  <a:pt x="244" y="22"/>
                </a:lnTo>
                <a:lnTo>
                  <a:pt x="247" y="22"/>
                </a:lnTo>
                <a:lnTo>
                  <a:pt x="247" y="22"/>
                </a:lnTo>
                <a:lnTo>
                  <a:pt x="250" y="22"/>
                </a:lnTo>
                <a:lnTo>
                  <a:pt x="253" y="22"/>
                </a:lnTo>
                <a:lnTo>
                  <a:pt x="259" y="19"/>
                </a:lnTo>
                <a:lnTo>
                  <a:pt x="262" y="19"/>
                </a:lnTo>
                <a:lnTo>
                  <a:pt x="259" y="16"/>
                </a:lnTo>
                <a:lnTo>
                  <a:pt x="259" y="13"/>
                </a:lnTo>
                <a:lnTo>
                  <a:pt x="259" y="13"/>
                </a:lnTo>
                <a:lnTo>
                  <a:pt x="256" y="13"/>
                </a:lnTo>
                <a:lnTo>
                  <a:pt x="256" y="13"/>
                </a:lnTo>
                <a:lnTo>
                  <a:pt x="253" y="13"/>
                </a:lnTo>
                <a:lnTo>
                  <a:pt x="253" y="13"/>
                </a:lnTo>
                <a:lnTo>
                  <a:pt x="250" y="13"/>
                </a:lnTo>
                <a:lnTo>
                  <a:pt x="247" y="13"/>
                </a:lnTo>
                <a:lnTo>
                  <a:pt x="197" y="25"/>
                </a:lnTo>
                <a:lnTo>
                  <a:pt x="197" y="25"/>
                </a:lnTo>
                <a:lnTo>
                  <a:pt x="194" y="25"/>
                </a:lnTo>
                <a:lnTo>
                  <a:pt x="194" y="25"/>
                </a:lnTo>
                <a:lnTo>
                  <a:pt x="191" y="22"/>
                </a:lnTo>
                <a:lnTo>
                  <a:pt x="191" y="22"/>
                </a:lnTo>
                <a:lnTo>
                  <a:pt x="191" y="22"/>
                </a:lnTo>
                <a:lnTo>
                  <a:pt x="187" y="22"/>
                </a:lnTo>
                <a:lnTo>
                  <a:pt x="187" y="22"/>
                </a:lnTo>
                <a:lnTo>
                  <a:pt x="184" y="22"/>
                </a:lnTo>
                <a:lnTo>
                  <a:pt x="181" y="22"/>
                </a:lnTo>
                <a:lnTo>
                  <a:pt x="181" y="22"/>
                </a:lnTo>
                <a:lnTo>
                  <a:pt x="181" y="22"/>
                </a:lnTo>
                <a:lnTo>
                  <a:pt x="175" y="22"/>
                </a:lnTo>
                <a:lnTo>
                  <a:pt x="172" y="22"/>
                </a:lnTo>
                <a:lnTo>
                  <a:pt x="169" y="19"/>
                </a:lnTo>
                <a:lnTo>
                  <a:pt x="166" y="19"/>
                </a:lnTo>
                <a:lnTo>
                  <a:pt x="166" y="16"/>
                </a:lnTo>
                <a:lnTo>
                  <a:pt x="166" y="19"/>
                </a:lnTo>
                <a:lnTo>
                  <a:pt x="162" y="19"/>
                </a:lnTo>
                <a:lnTo>
                  <a:pt x="156" y="19"/>
                </a:lnTo>
                <a:lnTo>
                  <a:pt x="153" y="19"/>
                </a:lnTo>
                <a:lnTo>
                  <a:pt x="150" y="22"/>
                </a:lnTo>
                <a:lnTo>
                  <a:pt x="147" y="19"/>
                </a:lnTo>
                <a:lnTo>
                  <a:pt x="147" y="19"/>
                </a:lnTo>
                <a:lnTo>
                  <a:pt x="147" y="19"/>
                </a:lnTo>
                <a:lnTo>
                  <a:pt x="144" y="19"/>
                </a:lnTo>
                <a:lnTo>
                  <a:pt x="137" y="19"/>
                </a:lnTo>
                <a:lnTo>
                  <a:pt x="134" y="16"/>
                </a:lnTo>
                <a:lnTo>
                  <a:pt x="134" y="16"/>
                </a:lnTo>
                <a:lnTo>
                  <a:pt x="131" y="10"/>
                </a:lnTo>
                <a:lnTo>
                  <a:pt x="131" y="10"/>
                </a:lnTo>
                <a:lnTo>
                  <a:pt x="56" y="10"/>
                </a:lnTo>
                <a:lnTo>
                  <a:pt x="56" y="10"/>
                </a:lnTo>
                <a:lnTo>
                  <a:pt x="53" y="10"/>
                </a:lnTo>
                <a:lnTo>
                  <a:pt x="50" y="10"/>
                </a:lnTo>
                <a:lnTo>
                  <a:pt x="50" y="10"/>
                </a:lnTo>
                <a:lnTo>
                  <a:pt x="47" y="13"/>
                </a:lnTo>
                <a:lnTo>
                  <a:pt x="41" y="10"/>
                </a:lnTo>
                <a:lnTo>
                  <a:pt x="37" y="7"/>
                </a:lnTo>
                <a:lnTo>
                  <a:pt x="37" y="7"/>
                </a:lnTo>
                <a:lnTo>
                  <a:pt x="37" y="3"/>
                </a:lnTo>
                <a:lnTo>
                  <a:pt x="34" y="3"/>
                </a:lnTo>
                <a:lnTo>
                  <a:pt x="34" y="3"/>
                </a:lnTo>
                <a:lnTo>
                  <a:pt x="31" y="0"/>
                </a:lnTo>
                <a:lnTo>
                  <a:pt x="31" y="3"/>
                </a:lnTo>
                <a:lnTo>
                  <a:pt x="28" y="3"/>
                </a:lnTo>
                <a:lnTo>
                  <a:pt x="28" y="3"/>
                </a:lnTo>
                <a:lnTo>
                  <a:pt x="25" y="0"/>
                </a:lnTo>
                <a:lnTo>
                  <a:pt x="22" y="0"/>
                </a:lnTo>
                <a:lnTo>
                  <a:pt x="16" y="7"/>
                </a:lnTo>
                <a:lnTo>
                  <a:pt x="16" y="7"/>
                </a:lnTo>
                <a:lnTo>
                  <a:pt x="16" y="10"/>
                </a:lnTo>
                <a:lnTo>
                  <a:pt x="12" y="7"/>
                </a:lnTo>
                <a:lnTo>
                  <a:pt x="6" y="7"/>
                </a:lnTo>
                <a:lnTo>
                  <a:pt x="6" y="7"/>
                </a:lnTo>
                <a:lnTo>
                  <a:pt x="6" y="10"/>
                </a:lnTo>
                <a:lnTo>
                  <a:pt x="3" y="10"/>
                </a:lnTo>
                <a:lnTo>
                  <a:pt x="3" y="10"/>
                </a:lnTo>
                <a:lnTo>
                  <a:pt x="0" y="10"/>
                </a:lnTo>
                <a:lnTo>
                  <a:pt x="0" y="10"/>
                </a:lnTo>
                <a:lnTo>
                  <a:pt x="0" y="25"/>
                </a:lnTo>
                <a:lnTo>
                  <a:pt x="12" y="38"/>
                </a:lnTo>
                <a:lnTo>
                  <a:pt x="19" y="47"/>
                </a:lnTo>
                <a:lnTo>
                  <a:pt x="28" y="69"/>
                </a:lnTo>
                <a:lnTo>
                  <a:pt x="28" y="78"/>
                </a:lnTo>
                <a:lnTo>
                  <a:pt x="41" y="94"/>
                </a:lnTo>
                <a:lnTo>
                  <a:pt x="41" y="97"/>
                </a:lnTo>
                <a:lnTo>
                  <a:pt x="50" y="113"/>
                </a:lnTo>
                <a:lnTo>
                  <a:pt x="50" y="122"/>
                </a:lnTo>
                <a:lnTo>
                  <a:pt x="47" y="122"/>
                </a:lnTo>
                <a:lnTo>
                  <a:pt x="50" y="132"/>
                </a:lnTo>
                <a:lnTo>
                  <a:pt x="50" y="147"/>
                </a:lnTo>
                <a:lnTo>
                  <a:pt x="56" y="163"/>
                </a:lnTo>
                <a:lnTo>
                  <a:pt x="56" y="172"/>
                </a:lnTo>
                <a:lnTo>
                  <a:pt x="56" y="179"/>
                </a:lnTo>
                <a:lnTo>
                  <a:pt x="56" y="179"/>
                </a:lnTo>
                <a:lnTo>
                  <a:pt x="56" y="182"/>
                </a:lnTo>
                <a:lnTo>
                  <a:pt x="59" y="191"/>
                </a:lnTo>
                <a:lnTo>
                  <a:pt x="62" y="194"/>
                </a:lnTo>
                <a:lnTo>
                  <a:pt x="62" y="197"/>
                </a:lnTo>
                <a:lnTo>
                  <a:pt x="62" y="201"/>
                </a:lnTo>
                <a:lnTo>
                  <a:pt x="62" y="204"/>
                </a:lnTo>
                <a:lnTo>
                  <a:pt x="66" y="207"/>
                </a:lnTo>
                <a:lnTo>
                  <a:pt x="66" y="213"/>
                </a:lnTo>
                <a:lnTo>
                  <a:pt x="69" y="219"/>
                </a:lnTo>
                <a:lnTo>
                  <a:pt x="72" y="229"/>
                </a:lnTo>
                <a:lnTo>
                  <a:pt x="78" y="232"/>
                </a:lnTo>
                <a:lnTo>
                  <a:pt x="78" y="235"/>
                </a:lnTo>
                <a:lnTo>
                  <a:pt x="84" y="241"/>
                </a:lnTo>
                <a:lnTo>
                  <a:pt x="87" y="238"/>
                </a:lnTo>
                <a:lnTo>
                  <a:pt x="94" y="238"/>
                </a:lnTo>
                <a:lnTo>
                  <a:pt x="94" y="235"/>
                </a:lnTo>
                <a:lnTo>
                  <a:pt x="91" y="235"/>
                </a:lnTo>
                <a:lnTo>
                  <a:pt x="94" y="232"/>
                </a:lnTo>
                <a:lnTo>
                  <a:pt x="97" y="229"/>
                </a:lnTo>
                <a:lnTo>
                  <a:pt x="100" y="232"/>
                </a:lnTo>
                <a:lnTo>
                  <a:pt x="103" y="232"/>
                </a:lnTo>
                <a:lnTo>
                  <a:pt x="103" y="238"/>
                </a:lnTo>
                <a:lnTo>
                  <a:pt x="106" y="244"/>
                </a:lnTo>
                <a:lnTo>
                  <a:pt x="112" y="244"/>
                </a:lnTo>
                <a:lnTo>
                  <a:pt x="116" y="247"/>
                </a:lnTo>
                <a:lnTo>
                  <a:pt x="119" y="247"/>
                </a:lnTo>
                <a:lnTo>
                  <a:pt x="122" y="247"/>
                </a:lnTo>
                <a:lnTo>
                  <a:pt x="125" y="247"/>
                </a:lnTo>
                <a:lnTo>
                  <a:pt x="125" y="247"/>
                </a:lnTo>
                <a:lnTo>
                  <a:pt x="128" y="247"/>
                </a:lnTo>
                <a:lnTo>
                  <a:pt x="131" y="247"/>
                </a:lnTo>
                <a:lnTo>
                  <a:pt x="134" y="247"/>
                </a:lnTo>
                <a:lnTo>
                  <a:pt x="134" y="251"/>
                </a:lnTo>
                <a:lnTo>
                  <a:pt x="134" y="244"/>
                </a:lnTo>
                <a:lnTo>
                  <a:pt x="137" y="244"/>
                </a:lnTo>
                <a:lnTo>
                  <a:pt x="141" y="241"/>
                </a:lnTo>
                <a:lnTo>
                  <a:pt x="141" y="238"/>
                </a:lnTo>
                <a:lnTo>
                  <a:pt x="147" y="235"/>
                </a:lnTo>
                <a:lnTo>
                  <a:pt x="153" y="235"/>
                </a:lnTo>
                <a:lnTo>
                  <a:pt x="156" y="235"/>
                </a:lnTo>
                <a:lnTo>
                  <a:pt x="159" y="166"/>
                </a:lnTo>
                <a:lnTo>
                  <a:pt x="156" y="16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2" name="Freeform 150">
            <a:extLst>
              <a:ext uri="{FF2B5EF4-FFF2-40B4-BE49-F238E27FC236}">
                <a16:creationId xmlns:a16="http://schemas.microsoft.com/office/drawing/2014/main" id="{E00C24A3-F715-0591-7D07-404A407B531C}"/>
              </a:ext>
            </a:extLst>
          </p:cNvPr>
          <p:cNvSpPr>
            <a:spLocks noEditPoints="1"/>
          </p:cNvSpPr>
          <p:nvPr userDrawn="1"/>
        </p:nvSpPr>
        <p:spPr bwMode="auto">
          <a:xfrm>
            <a:off x="23360130" y="10778408"/>
            <a:ext cx="247634" cy="177800"/>
          </a:xfrm>
          <a:custGeom>
            <a:avLst/>
            <a:gdLst>
              <a:gd name="T0" fmla="*/ 6 w 78"/>
              <a:gd name="T1" fmla="*/ 6 h 56"/>
              <a:gd name="T2" fmla="*/ 9 w 78"/>
              <a:gd name="T3" fmla="*/ 6 h 56"/>
              <a:gd name="T4" fmla="*/ 16 w 78"/>
              <a:gd name="T5" fmla="*/ 12 h 56"/>
              <a:gd name="T6" fmla="*/ 19 w 78"/>
              <a:gd name="T7" fmla="*/ 15 h 56"/>
              <a:gd name="T8" fmla="*/ 31 w 78"/>
              <a:gd name="T9" fmla="*/ 34 h 56"/>
              <a:gd name="T10" fmla="*/ 34 w 78"/>
              <a:gd name="T11" fmla="*/ 34 h 56"/>
              <a:gd name="T12" fmla="*/ 47 w 78"/>
              <a:gd name="T13" fmla="*/ 50 h 56"/>
              <a:gd name="T14" fmla="*/ 50 w 78"/>
              <a:gd name="T15" fmla="*/ 56 h 56"/>
              <a:gd name="T16" fmla="*/ 47 w 78"/>
              <a:gd name="T17" fmla="*/ 56 h 56"/>
              <a:gd name="T18" fmla="*/ 38 w 78"/>
              <a:gd name="T19" fmla="*/ 53 h 56"/>
              <a:gd name="T20" fmla="*/ 34 w 78"/>
              <a:gd name="T21" fmla="*/ 46 h 56"/>
              <a:gd name="T22" fmla="*/ 28 w 78"/>
              <a:gd name="T23" fmla="*/ 40 h 56"/>
              <a:gd name="T24" fmla="*/ 25 w 78"/>
              <a:gd name="T25" fmla="*/ 40 h 56"/>
              <a:gd name="T26" fmla="*/ 16 w 78"/>
              <a:gd name="T27" fmla="*/ 31 h 56"/>
              <a:gd name="T28" fmla="*/ 13 w 78"/>
              <a:gd name="T29" fmla="*/ 28 h 56"/>
              <a:gd name="T30" fmla="*/ 9 w 78"/>
              <a:gd name="T31" fmla="*/ 21 h 56"/>
              <a:gd name="T32" fmla="*/ 0 w 78"/>
              <a:gd name="T33" fmla="*/ 9 h 56"/>
              <a:gd name="T34" fmla="*/ 0 w 78"/>
              <a:gd name="T35" fmla="*/ 3 h 56"/>
              <a:gd name="T36" fmla="*/ 0 w 78"/>
              <a:gd name="T37" fmla="*/ 0 h 56"/>
              <a:gd name="T38" fmla="*/ 75 w 78"/>
              <a:gd name="T39" fmla="*/ 31 h 56"/>
              <a:gd name="T40" fmla="*/ 75 w 78"/>
              <a:gd name="T41" fmla="*/ 37 h 56"/>
              <a:gd name="T42" fmla="*/ 72 w 78"/>
              <a:gd name="T43" fmla="*/ 40 h 56"/>
              <a:gd name="T44" fmla="*/ 69 w 78"/>
              <a:gd name="T45" fmla="*/ 34 h 56"/>
              <a:gd name="T46" fmla="*/ 59 w 78"/>
              <a:gd name="T47" fmla="*/ 12 h 56"/>
              <a:gd name="T48" fmla="*/ 56 w 78"/>
              <a:gd name="T49" fmla="*/ 18 h 56"/>
              <a:gd name="T50" fmla="*/ 59 w 78"/>
              <a:gd name="T51" fmla="*/ 25 h 56"/>
              <a:gd name="T52" fmla="*/ 66 w 78"/>
              <a:gd name="T53" fmla="*/ 25 h 56"/>
              <a:gd name="T54" fmla="*/ 63 w 78"/>
              <a:gd name="T55" fmla="*/ 18 h 56"/>
              <a:gd name="T56" fmla="*/ 59 w 78"/>
              <a:gd name="T57" fmla="*/ 12 h 56"/>
              <a:gd name="T58" fmla="*/ 47 w 78"/>
              <a:gd name="T59" fmla="*/ 9 h 56"/>
              <a:gd name="T60" fmla="*/ 44 w 78"/>
              <a:gd name="T61" fmla="*/ 15 h 56"/>
              <a:gd name="T62" fmla="*/ 50 w 78"/>
              <a:gd name="T63" fmla="*/ 12 h 56"/>
              <a:gd name="T64" fmla="*/ 47 w 78"/>
              <a:gd name="T65" fmla="*/ 9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56">
                <a:moveTo>
                  <a:pt x="0" y="0"/>
                </a:moveTo>
                <a:lnTo>
                  <a:pt x="6" y="6"/>
                </a:lnTo>
                <a:lnTo>
                  <a:pt x="6" y="3"/>
                </a:lnTo>
                <a:lnTo>
                  <a:pt x="9" y="6"/>
                </a:lnTo>
                <a:lnTo>
                  <a:pt x="9" y="9"/>
                </a:lnTo>
                <a:lnTo>
                  <a:pt x="16" y="12"/>
                </a:lnTo>
                <a:lnTo>
                  <a:pt x="16" y="15"/>
                </a:lnTo>
                <a:lnTo>
                  <a:pt x="19" y="15"/>
                </a:lnTo>
                <a:lnTo>
                  <a:pt x="25" y="28"/>
                </a:lnTo>
                <a:lnTo>
                  <a:pt x="31" y="34"/>
                </a:lnTo>
                <a:lnTo>
                  <a:pt x="31" y="34"/>
                </a:lnTo>
                <a:lnTo>
                  <a:pt x="34" y="34"/>
                </a:lnTo>
                <a:lnTo>
                  <a:pt x="41" y="43"/>
                </a:lnTo>
                <a:lnTo>
                  <a:pt x="47" y="50"/>
                </a:lnTo>
                <a:lnTo>
                  <a:pt x="50" y="50"/>
                </a:lnTo>
                <a:lnTo>
                  <a:pt x="50" y="56"/>
                </a:lnTo>
                <a:lnTo>
                  <a:pt x="47" y="53"/>
                </a:lnTo>
                <a:lnTo>
                  <a:pt x="47" y="56"/>
                </a:lnTo>
                <a:lnTo>
                  <a:pt x="44" y="53"/>
                </a:lnTo>
                <a:lnTo>
                  <a:pt x="38" y="53"/>
                </a:lnTo>
                <a:lnTo>
                  <a:pt x="34" y="50"/>
                </a:lnTo>
                <a:lnTo>
                  <a:pt x="34" y="46"/>
                </a:lnTo>
                <a:lnTo>
                  <a:pt x="28" y="46"/>
                </a:lnTo>
                <a:lnTo>
                  <a:pt x="28" y="40"/>
                </a:lnTo>
                <a:lnTo>
                  <a:pt x="25" y="40"/>
                </a:lnTo>
                <a:lnTo>
                  <a:pt x="25" y="40"/>
                </a:lnTo>
                <a:lnTo>
                  <a:pt x="22" y="34"/>
                </a:lnTo>
                <a:lnTo>
                  <a:pt x="16" y="31"/>
                </a:lnTo>
                <a:lnTo>
                  <a:pt x="16" y="28"/>
                </a:lnTo>
                <a:lnTo>
                  <a:pt x="13" y="28"/>
                </a:lnTo>
                <a:lnTo>
                  <a:pt x="9" y="25"/>
                </a:lnTo>
                <a:lnTo>
                  <a:pt x="9" y="21"/>
                </a:lnTo>
                <a:lnTo>
                  <a:pt x="6" y="18"/>
                </a:lnTo>
                <a:lnTo>
                  <a:pt x="0" y="9"/>
                </a:lnTo>
                <a:lnTo>
                  <a:pt x="0" y="6"/>
                </a:lnTo>
                <a:lnTo>
                  <a:pt x="0" y="3"/>
                </a:lnTo>
                <a:lnTo>
                  <a:pt x="0" y="0"/>
                </a:lnTo>
                <a:lnTo>
                  <a:pt x="0" y="0"/>
                </a:lnTo>
                <a:close/>
                <a:moveTo>
                  <a:pt x="69" y="34"/>
                </a:moveTo>
                <a:lnTo>
                  <a:pt x="75" y="31"/>
                </a:lnTo>
                <a:lnTo>
                  <a:pt x="78" y="34"/>
                </a:lnTo>
                <a:lnTo>
                  <a:pt x="75" y="37"/>
                </a:lnTo>
                <a:lnTo>
                  <a:pt x="75" y="37"/>
                </a:lnTo>
                <a:lnTo>
                  <a:pt x="72" y="40"/>
                </a:lnTo>
                <a:lnTo>
                  <a:pt x="69" y="37"/>
                </a:lnTo>
                <a:lnTo>
                  <a:pt x="69" y="34"/>
                </a:lnTo>
                <a:lnTo>
                  <a:pt x="69" y="34"/>
                </a:lnTo>
                <a:close/>
                <a:moveTo>
                  <a:pt x="59" y="12"/>
                </a:moveTo>
                <a:lnTo>
                  <a:pt x="56" y="15"/>
                </a:lnTo>
                <a:lnTo>
                  <a:pt x="56" y="18"/>
                </a:lnTo>
                <a:lnTo>
                  <a:pt x="56" y="21"/>
                </a:lnTo>
                <a:lnTo>
                  <a:pt x="59" y="25"/>
                </a:lnTo>
                <a:lnTo>
                  <a:pt x="63" y="25"/>
                </a:lnTo>
                <a:lnTo>
                  <a:pt x="66" y="25"/>
                </a:lnTo>
                <a:lnTo>
                  <a:pt x="63" y="21"/>
                </a:lnTo>
                <a:lnTo>
                  <a:pt x="63" y="18"/>
                </a:lnTo>
                <a:lnTo>
                  <a:pt x="63" y="15"/>
                </a:lnTo>
                <a:lnTo>
                  <a:pt x="59" y="12"/>
                </a:lnTo>
                <a:lnTo>
                  <a:pt x="59" y="12"/>
                </a:lnTo>
                <a:close/>
                <a:moveTo>
                  <a:pt x="47" y="9"/>
                </a:moveTo>
                <a:lnTo>
                  <a:pt x="47" y="12"/>
                </a:lnTo>
                <a:lnTo>
                  <a:pt x="44" y="15"/>
                </a:lnTo>
                <a:lnTo>
                  <a:pt x="50" y="15"/>
                </a:lnTo>
                <a:lnTo>
                  <a:pt x="50" y="12"/>
                </a:lnTo>
                <a:lnTo>
                  <a:pt x="50" y="9"/>
                </a:lnTo>
                <a:lnTo>
                  <a:pt x="47" y="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3" name="Freeform 151">
            <a:extLst>
              <a:ext uri="{FF2B5EF4-FFF2-40B4-BE49-F238E27FC236}">
                <a16:creationId xmlns:a16="http://schemas.microsoft.com/office/drawing/2014/main" id="{9D047B05-BA44-7A1D-86CC-F5816076D425}"/>
              </a:ext>
            </a:extLst>
          </p:cNvPr>
          <p:cNvSpPr>
            <a:spLocks/>
          </p:cNvSpPr>
          <p:nvPr userDrawn="1"/>
        </p:nvSpPr>
        <p:spPr bwMode="auto">
          <a:xfrm>
            <a:off x="17258174" y="13210456"/>
            <a:ext cx="19049" cy="28576"/>
          </a:xfrm>
          <a:custGeom>
            <a:avLst/>
            <a:gdLst>
              <a:gd name="T0" fmla="*/ 0 w 6"/>
              <a:gd name="T1" fmla="*/ 0 h 9"/>
              <a:gd name="T2" fmla="*/ 0 w 6"/>
              <a:gd name="T3" fmla="*/ 3 h 9"/>
              <a:gd name="T4" fmla="*/ 0 w 6"/>
              <a:gd name="T5" fmla="*/ 6 h 9"/>
              <a:gd name="T6" fmla="*/ 3 w 6"/>
              <a:gd name="T7" fmla="*/ 6 h 9"/>
              <a:gd name="T8" fmla="*/ 3 w 6"/>
              <a:gd name="T9" fmla="*/ 9 h 9"/>
              <a:gd name="T10" fmla="*/ 6 w 6"/>
              <a:gd name="T11" fmla="*/ 9 h 9"/>
              <a:gd name="T12" fmla="*/ 3 w 6"/>
              <a:gd name="T13" fmla="*/ 3 h 9"/>
              <a:gd name="T14" fmla="*/ 0 w 6"/>
              <a:gd name="T15" fmla="*/ 0 h 9"/>
              <a:gd name="T16" fmla="*/ 0 w 6"/>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9">
                <a:moveTo>
                  <a:pt x="0" y="0"/>
                </a:moveTo>
                <a:lnTo>
                  <a:pt x="0" y="3"/>
                </a:lnTo>
                <a:lnTo>
                  <a:pt x="0" y="6"/>
                </a:lnTo>
                <a:lnTo>
                  <a:pt x="3" y="6"/>
                </a:lnTo>
                <a:lnTo>
                  <a:pt x="3" y="9"/>
                </a:lnTo>
                <a:lnTo>
                  <a:pt x="6" y="9"/>
                </a:lnTo>
                <a:lnTo>
                  <a:pt x="3" y="3"/>
                </a:lnTo>
                <a:lnTo>
                  <a:pt x="0" y="0"/>
                </a:lnTo>
                <a:lnTo>
                  <a:pt x="0" y="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4" name="Freeform 152">
            <a:extLst>
              <a:ext uri="{FF2B5EF4-FFF2-40B4-BE49-F238E27FC236}">
                <a16:creationId xmlns:a16="http://schemas.microsoft.com/office/drawing/2014/main" id="{5FDA97F5-1B37-ED2D-9DF1-7910AA7EADA5}"/>
              </a:ext>
            </a:extLst>
          </p:cNvPr>
          <p:cNvSpPr>
            <a:spLocks noEditPoints="1"/>
          </p:cNvSpPr>
          <p:nvPr userDrawn="1"/>
        </p:nvSpPr>
        <p:spPr bwMode="auto">
          <a:xfrm>
            <a:off x="17067687" y="12823106"/>
            <a:ext cx="101593" cy="79376"/>
          </a:xfrm>
          <a:custGeom>
            <a:avLst/>
            <a:gdLst>
              <a:gd name="T0" fmla="*/ 13 w 32"/>
              <a:gd name="T1" fmla="*/ 6 h 25"/>
              <a:gd name="T2" fmla="*/ 13 w 32"/>
              <a:gd name="T3" fmla="*/ 3 h 25"/>
              <a:gd name="T4" fmla="*/ 16 w 32"/>
              <a:gd name="T5" fmla="*/ 3 h 25"/>
              <a:gd name="T6" fmla="*/ 16 w 32"/>
              <a:gd name="T7" fmla="*/ 6 h 25"/>
              <a:gd name="T8" fmla="*/ 13 w 32"/>
              <a:gd name="T9" fmla="*/ 6 h 25"/>
              <a:gd name="T10" fmla="*/ 13 w 32"/>
              <a:gd name="T11" fmla="*/ 6 h 25"/>
              <a:gd name="T12" fmla="*/ 13 w 32"/>
              <a:gd name="T13" fmla="*/ 6 h 25"/>
              <a:gd name="T14" fmla="*/ 13 w 32"/>
              <a:gd name="T15" fmla="*/ 6 h 25"/>
              <a:gd name="T16" fmla="*/ 0 w 32"/>
              <a:gd name="T17" fmla="*/ 22 h 25"/>
              <a:gd name="T18" fmla="*/ 3 w 32"/>
              <a:gd name="T19" fmla="*/ 22 h 25"/>
              <a:gd name="T20" fmla="*/ 7 w 32"/>
              <a:gd name="T21" fmla="*/ 19 h 25"/>
              <a:gd name="T22" fmla="*/ 10 w 32"/>
              <a:gd name="T23" fmla="*/ 19 h 25"/>
              <a:gd name="T24" fmla="*/ 13 w 32"/>
              <a:gd name="T25" fmla="*/ 22 h 25"/>
              <a:gd name="T26" fmla="*/ 16 w 32"/>
              <a:gd name="T27" fmla="*/ 22 h 25"/>
              <a:gd name="T28" fmla="*/ 16 w 32"/>
              <a:gd name="T29" fmla="*/ 22 h 25"/>
              <a:gd name="T30" fmla="*/ 19 w 32"/>
              <a:gd name="T31" fmla="*/ 19 h 25"/>
              <a:gd name="T32" fmla="*/ 19 w 32"/>
              <a:gd name="T33" fmla="*/ 22 h 25"/>
              <a:gd name="T34" fmla="*/ 19 w 32"/>
              <a:gd name="T35" fmla="*/ 22 h 25"/>
              <a:gd name="T36" fmla="*/ 22 w 32"/>
              <a:gd name="T37" fmla="*/ 25 h 25"/>
              <a:gd name="T38" fmla="*/ 25 w 32"/>
              <a:gd name="T39" fmla="*/ 25 h 25"/>
              <a:gd name="T40" fmla="*/ 28 w 32"/>
              <a:gd name="T41" fmla="*/ 22 h 25"/>
              <a:gd name="T42" fmla="*/ 28 w 32"/>
              <a:gd name="T43" fmla="*/ 22 h 25"/>
              <a:gd name="T44" fmla="*/ 25 w 32"/>
              <a:gd name="T45" fmla="*/ 22 h 25"/>
              <a:gd name="T46" fmla="*/ 22 w 32"/>
              <a:gd name="T47" fmla="*/ 19 h 25"/>
              <a:gd name="T48" fmla="*/ 25 w 32"/>
              <a:gd name="T49" fmla="*/ 16 h 25"/>
              <a:gd name="T50" fmla="*/ 28 w 32"/>
              <a:gd name="T51" fmla="*/ 16 h 25"/>
              <a:gd name="T52" fmla="*/ 32 w 32"/>
              <a:gd name="T53" fmla="*/ 16 h 25"/>
              <a:gd name="T54" fmla="*/ 32 w 32"/>
              <a:gd name="T55" fmla="*/ 12 h 25"/>
              <a:gd name="T56" fmla="*/ 32 w 32"/>
              <a:gd name="T57" fmla="*/ 9 h 25"/>
              <a:gd name="T58" fmla="*/ 28 w 32"/>
              <a:gd name="T59" fmla="*/ 12 h 25"/>
              <a:gd name="T60" fmla="*/ 25 w 32"/>
              <a:gd name="T61" fmla="*/ 9 h 25"/>
              <a:gd name="T62" fmla="*/ 22 w 32"/>
              <a:gd name="T63" fmla="*/ 16 h 25"/>
              <a:gd name="T64" fmla="*/ 19 w 32"/>
              <a:gd name="T65" fmla="*/ 16 h 25"/>
              <a:gd name="T66" fmla="*/ 19 w 32"/>
              <a:gd name="T67" fmla="*/ 9 h 25"/>
              <a:gd name="T68" fmla="*/ 19 w 32"/>
              <a:gd name="T69" fmla="*/ 9 h 25"/>
              <a:gd name="T70" fmla="*/ 19 w 32"/>
              <a:gd name="T71" fmla="*/ 3 h 25"/>
              <a:gd name="T72" fmla="*/ 19 w 32"/>
              <a:gd name="T73" fmla="*/ 6 h 25"/>
              <a:gd name="T74" fmla="*/ 16 w 32"/>
              <a:gd name="T75" fmla="*/ 9 h 25"/>
              <a:gd name="T76" fmla="*/ 16 w 32"/>
              <a:gd name="T77" fmla="*/ 12 h 25"/>
              <a:gd name="T78" fmla="*/ 13 w 32"/>
              <a:gd name="T79" fmla="*/ 9 h 25"/>
              <a:gd name="T80" fmla="*/ 10 w 32"/>
              <a:gd name="T81" fmla="*/ 9 h 25"/>
              <a:gd name="T82" fmla="*/ 7 w 32"/>
              <a:gd name="T83" fmla="*/ 6 h 25"/>
              <a:gd name="T84" fmla="*/ 7 w 32"/>
              <a:gd name="T85" fmla="*/ 3 h 25"/>
              <a:gd name="T86" fmla="*/ 7 w 32"/>
              <a:gd name="T87" fmla="*/ 3 h 25"/>
              <a:gd name="T88" fmla="*/ 10 w 32"/>
              <a:gd name="T89" fmla="*/ 0 h 25"/>
              <a:gd name="T90" fmla="*/ 10 w 32"/>
              <a:gd name="T91" fmla="*/ 0 h 25"/>
              <a:gd name="T92" fmla="*/ 7 w 32"/>
              <a:gd name="T93" fmla="*/ 0 h 25"/>
              <a:gd name="T94" fmla="*/ 3 w 32"/>
              <a:gd name="T95" fmla="*/ 3 h 25"/>
              <a:gd name="T96" fmla="*/ 7 w 32"/>
              <a:gd name="T97" fmla="*/ 6 h 25"/>
              <a:gd name="T98" fmla="*/ 7 w 32"/>
              <a:gd name="T99" fmla="*/ 9 h 25"/>
              <a:gd name="T100" fmla="*/ 7 w 32"/>
              <a:gd name="T101" fmla="*/ 9 h 25"/>
              <a:gd name="T102" fmla="*/ 7 w 32"/>
              <a:gd name="T103" fmla="*/ 12 h 25"/>
              <a:gd name="T104" fmla="*/ 3 w 32"/>
              <a:gd name="T105" fmla="*/ 16 h 25"/>
              <a:gd name="T106" fmla="*/ 0 w 32"/>
              <a:gd name="T107" fmla="*/ 19 h 25"/>
              <a:gd name="T108" fmla="*/ 0 w 32"/>
              <a:gd name="T109" fmla="*/ 2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 h="25">
                <a:moveTo>
                  <a:pt x="13" y="6"/>
                </a:moveTo>
                <a:lnTo>
                  <a:pt x="13" y="3"/>
                </a:lnTo>
                <a:lnTo>
                  <a:pt x="16" y="3"/>
                </a:lnTo>
                <a:lnTo>
                  <a:pt x="16" y="6"/>
                </a:lnTo>
                <a:lnTo>
                  <a:pt x="13" y="6"/>
                </a:lnTo>
                <a:lnTo>
                  <a:pt x="13" y="6"/>
                </a:lnTo>
                <a:lnTo>
                  <a:pt x="13" y="6"/>
                </a:lnTo>
                <a:lnTo>
                  <a:pt x="13" y="6"/>
                </a:lnTo>
                <a:close/>
                <a:moveTo>
                  <a:pt x="0" y="22"/>
                </a:moveTo>
                <a:lnTo>
                  <a:pt x="3" y="22"/>
                </a:lnTo>
                <a:lnTo>
                  <a:pt x="7" y="19"/>
                </a:lnTo>
                <a:lnTo>
                  <a:pt x="10" y="19"/>
                </a:lnTo>
                <a:lnTo>
                  <a:pt x="13" y="22"/>
                </a:lnTo>
                <a:lnTo>
                  <a:pt x="16" y="22"/>
                </a:lnTo>
                <a:lnTo>
                  <a:pt x="16" y="22"/>
                </a:lnTo>
                <a:lnTo>
                  <a:pt x="19" y="19"/>
                </a:lnTo>
                <a:lnTo>
                  <a:pt x="19" y="22"/>
                </a:lnTo>
                <a:lnTo>
                  <a:pt x="19" y="22"/>
                </a:lnTo>
                <a:lnTo>
                  <a:pt x="22" y="25"/>
                </a:lnTo>
                <a:lnTo>
                  <a:pt x="25" y="25"/>
                </a:lnTo>
                <a:lnTo>
                  <a:pt x="28" y="22"/>
                </a:lnTo>
                <a:lnTo>
                  <a:pt x="28" y="22"/>
                </a:lnTo>
                <a:lnTo>
                  <a:pt x="25" y="22"/>
                </a:lnTo>
                <a:lnTo>
                  <a:pt x="22" y="19"/>
                </a:lnTo>
                <a:lnTo>
                  <a:pt x="25" y="16"/>
                </a:lnTo>
                <a:lnTo>
                  <a:pt x="28" y="16"/>
                </a:lnTo>
                <a:lnTo>
                  <a:pt x="32" y="16"/>
                </a:lnTo>
                <a:lnTo>
                  <a:pt x="32" y="12"/>
                </a:lnTo>
                <a:lnTo>
                  <a:pt x="32" y="9"/>
                </a:lnTo>
                <a:lnTo>
                  <a:pt x="28" y="12"/>
                </a:lnTo>
                <a:lnTo>
                  <a:pt x="25" y="9"/>
                </a:lnTo>
                <a:lnTo>
                  <a:pt x="22" y="16"/>
                </a:lnTo>
                <a:lnTo>
                  <a:pt x="19" y="16"/>
                </a:lnTo>
                <a:lnTo>
                  <a:pt x="19" y="9"/>
                </a:lnTo>
                <a:lnTo>
                  <a:pt x="19" y="9"/>
                </a:lnTo>
                <a:lnTo>
                  <a:pt x="19" y="3"/>
                </a:lnTo>
                <a:lnTo>
                  <a:pt x="19" y="6"/>
                </a:lnTo>
                <a:lnTo>
                  <a:pt x="16" y="9"/>
                </a:lnTo>
                <a:lnTo>
                  <a:pt x="16" y="12"/>
                </a:lnTo>
                <a:lnTo>
                  <a:pt x="13" y="9"/>
                </a:lnTo>
                <a:lnTo>
                  <a:pt x="10" y="9"/>
                </a:lnTo>
                <a:lnTo>
                  <a:pt x="7" y="6"/>
                </a:lnTo>
                <a:lnTo>
                  <a:pt x="7" y="3"/>
                </a:lnTo>
                <a:lnTo>
                  <a:pt x="7" y="3"/>
                </a:lnTo>
                <a:lnTo>
                  <a:pt x="10" y="0"/>
                </a:lnTo>
                <a:lnTo>
                  <a:pt x="10" y="0"/>
                </a:lnTo>
                <a:lnTo>
                  <a:pt x="7" y="0"/>
                </a:lnTo>
                <a:lnTo>
                  <a:pt x="3" y="3"/>
                </a:lnTo>
                <a:lnTo>
                  <a:pt x="7" y="6"/>
                </a:lnTo>
                <a:lnTo>
                  <a:pt x="7" y="9"/>
                </a:lnTo>
                <a:lnTo>
                  <a:pt x="7" y="9"/>
                </a:lnTo>
                <a:lnTo>
                  <a:pt x="7" y="12"/>
                </a:lnTo>
                <a:lnTo>
                  <a:pt x="3" y="16"/>
                </a:lnTo>
                <a:lnTo>
                  <a:pt x="0" y="19"/>
                </a:lnTo>
                <a:lnTo>
                  <a:pt x="0" y="22"/>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5" name="Freeform 153">
            <a:extLst>
              <a:ext uri="{FF2B5EF4-FFF2-40B4-BE49-F238E27FC236}">
                <a16:creationId xmlns:a16="http://schemas.microsoft.com/office/drawing/2014/main" id="{9A72455C-AB54-1E50-E7AE-DEDDA99F9F32}"/>
              </a:ext>
            </a:extLst>
          </p:cNvPr>
          <p:cNvSpPr>
            <a:spLocks/>
          </p:cNvSpPr>
          <p:nvPr userDrawn="1"/>
        </p:nvSpPr>
        <p:spPr bwMode="auto">
          <a:xfrm>
            <a:off x="16702584" y="10657757"/>
            <a:ext cx="38100" cy="38102"/>
          </a:xfrm>
          <a:custGeom>
            <a:avLst/>
            <a:gdLst>
              <a:gd name="T0" fmla="*/ 3 w 12"/>
              <a:gd name="T1" fmla="*/ 0 h 12"/>
              <a:gd name="T2" fmla="*/ 3 w 12"/>
              <a:gd name="T3" fmla="*/ 6 h 12"/>
              <a:gd name="T4" fmla="*/ 0 w 12"/>
              <a:gd name="T5" fmla="*/ 9 h 12"/>
              <a:gd name="T6" fmla="*/ 6 w 12"/>
              <a:gd name="T7" fmla="*/ 12 h 12"/>
              <a:gd name="T8" fmla="*/ 9 w 12"/>
              <a:gd name="T9" fmla="*/ 9 h 12"/>
              <a:gd name="T10" fmla="*/ 9 w 12"/>
              <a:gd name="T11" fmla="*/ 6 h 12"/>
              <a:gd name="T12" fmla="*/ 12 w 12"/>
              <a:gd name="T13" fmla="*/ 6 h 12"/>
              <a:gd name="T14" fmla="*/ 12 w 12"/>
              <a:gd name="T15" fmla="*/ 3 h 12"/>
              <a:gd name="T16" fmla="*/ 9 w 12"/>
              <a:gd name="T17" fmla="*/ 0 h 12"/>
              <a:gd name="T18" fmla="*/ 6 w 12"/>
              <a:gd name="T19" fmla="*/ 3 h 12"/>
              <a:gd name="T20" fmla="*/ 3 w 12"/>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2">
                <a:moveTo>
                  <a:pt x="3" y="0"/>
                </a:moveTo>
                <a:lnTo>
                  <a:pt x="3" y="6"/>
                </a:lnTo>
                <a:lnTo>
                  <a:pt x="0" y="9"/>
                </a:lnTo>
                <a:lnTo>
                  <a:pt x="6" y="12"/>
                </a:lnTo>
                <a:lnTo>
                  <a:pt x="9" y="9"/>
                </a:lnTo>
                <a:lnTo>
                  <a:pt x="9" y="6"/>
                </a:lnTo>
                <a:lnTo>
                  <a:pt x="12" y="6"/>
                </a:lnTo>
                <a:lnTo>
                  <a:pt x="12" y="3"/>
                </a:lnTo>
                <a:lnTo>
                  <a:pt x="9" y="0"/>
                </a:lnTo>
                <a:lnTo>
                  <a:pt x="6" y="3"/>
                </a:lnTo>
                <a:lnTo>
                  <a:pt x="3" y="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6" name="Freeform 154">
            <a:extLst>
              <a:ext uri="{FF2B5EF4-FFF2-40B4-BE49-F238E27FC236}">
                <a16:creationId xmlns:a16="http://schemas.microsoft.com/office/drawing/2014/main" id="{F6E4B5D1-8F67-9B9D-E3EB-6B5E91A6B2AB}"/>
              </a:ext>
            </a:extLst>
          </p:cNvPr>
          <p:cNvSpPr>
            <a:spLocks/>
          </p:cNvSpPr>
          <p:nvPr userDrawn="1"/>
        </p:nvSpPr>
        <p:spPr bwMode="auto">
          <a:xfrm>
            <a:off x="16581944" y="10708557"/>
            <a:ext cx="31748" cy="38102"/>
          </a:xfrm>
          <a:custGeom>
            <a:avLst/>
            <a:gdLst>
              <a:gd name="T0" fmla="*/ 0 w 10"/>
              <a:gd name="T1" fmla="*/ 0 h 12"/>
              <a:gd name="T2" fmla="*/ 0 w 10"/>
              <a:gd name="T3" fmla="*/ 6 h 12"/>
              <a:gd name="T4" fmla="*/ 3 w 10"/>
              <a:gd name="T5" fmla="*/ 12 h 12"/>
              <a:gd name="T6" fmla="*/ 6 w 10"/>
              <a:gd name="T7" fmla="*/ 12 h 12"/>
              <a:gd name="T8" fmla="*/ 10 w 10"/>
              <a:gd name="T9" fmla="*/ 9 h 12"/>
              <a:gd name="T10" fmla="*/ 10 w 10"/>
              <a:gd name="T11" fmla="*/ 6 h 12"/>
              <a:gd name="T12" fmla="*/ 6 w 10"/>
              <a:gd name="T13" fmla="*/ 3 h 12"/>
              <a:gd name="T14" fmla="*/ 0 w 10"/>
              <a:gd name="T15" fmla="*/ 0 h 12"/>
              <a:gd name="T16" fmla="*/ 0 w 1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2">
                <a:moveTo>
                  <a:pt x="0" y="0"/>
                </a:moveTo>
                <a:lnTo>
                  <a:pt x="0" y="6"/>
                </a:lnTo>
                <a:lnTo>
                  <a:pt x="3" y="12"/>
                </a:lnTo>
                <a:lnTo>
                  <a:pt x="6" y="12"/>
                </a:lnTo>
                <a:lnTo>
                  <a:pt x="10" y="9"/>
                </a:lnTo>
                <a:lnTo>
                  <a:pt x="10" y="6"/>
                </a:lnTo>
                <a:lnTo>
                  <a:pt x="6" y="3"/>
                </a:lnTo>
                <a:lnTo>
                  <a:pt x="0" y="0"/>
                </a:lnTo>
                <a:lnTo>
                  <a:pt x="0" y="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7" name="Freeform 155">
            <a:extLst>
              <a:ext uri="{FF2B5EF4-FFF2-40B4-BE49-F238E27FC236}">
                <a16:creationId xmlns:a16="http://schemas.microsoft.com/office/drawing/2014/main" id="{304CC159-8AE5-052B-110C-511BA6C1B458}"/>
              </a:ext>
            </a:extLst>
          </p:cNvPr>
          <p:cNvSpPr>
            <a:spLocks noEditPoints="1"/>
          </p:cNvSpPr>
          <p:nvPr userDrawn="1"/>
        </p:nvSpPr>
        <p:spPr bwMode="auto">
          <a:xfrm>
            <a:off x="15807292" y="10140235"/>
            <a:ext cx="476219" cy="885826"/>
          </a:xfrm>
          <a:custGeom>
            <a:avLst/>
            <a:gdLst>
              <a:gd name="T0" fmla="*/ 44 w 150"/>
              <a:gd name="T1" fmla="*/ 276 h 279"/>
              <a:gd name="T2" fmla="*/ 69 w 150"/>
              <a:gd name="T3" fmla="*/ 266 h 279"/>
              <a:gd name="T4" fmla="*/ 79 w 150"/>
              <a:gd name="T5" fmla="*/ 254 h 279"/>
              <a:gd name="T6" fmla="*/ 82 w 150"/>
              <a:gd name="T7" fmla="*/ 238 h 279"/>
              <a:gd name="T8" fmla="*/ 88 w 150"/>
              <a:gd name="T9" fmla="*/ 229 h 279"/>
              <a:gd name="T10" fmla="*/ 100 w 150"/>
              <a:gd name="T11" fmla="*/ 201 h 279"/>
              <a:gd name="T12" fmla="*/ 116 w 150"/>
              <a:gd name="T13" fmla="*/ 163 h 279"/>
              <a:gd name="T14" fmla="*/ 125 w 150"/>
              <a:gd name="T15" fmla="*/ 138 h 279"/>
              <a:gd name="T16" fmla="*/ 132 w 150"/>
              <a:gd name="T17" fmla="*/ 110 h 279"/>
              <a:gd name="T18" fmla="*/ 135 w 150"/>
              <a:gd name="T19" fmla="*/ 94 h 279"/>
              <a:gd name="T20" fmla="*/ 138 w 150"/>
              <a:gd name="T21" fmla="*/ 82 h 279"/>
              <a:gd name="T22" fmla="*/ 138 w 150"/>
              <a:gd name="T23" fmla="*/ 69 h 279"/>
              <a:gd name="T24" fmla="*/ 147 w 150"/>
              <a:gd name="T25" fmla="*/ 82 h 279"/>
              <a:gd name="T26" fmla="*/ 150 w 150"/>
              <a:gd name="T27" fmla="*/ 69 h 279"/>
              <a:gd name="T28" fmla="*/ 144 w 150"/>
              <a:gd name="T29" fmla="*/ 57 h 279"/>
              <a:gd name="T30" fmla="*/ 147 w 150"/>
              <a:gd name="T31" fmla="*/ 41 h 279"/>
              <a:gd name="T32" fmla="*/ 141 w 150"/>
              <a:gd name="T33" fmla="*/ 16 h 279"/>
              <a:gd name="T34" fmla="*/ 132 w 150"/>
              <a:gd name="T35" fmla="*/ 7 h 279"/>
              <a:gd name="T36" fmla="*/ 129 w 150"/>
              <a:gd name="T37" fmla="*/ 7 h 279"/>
              <a:gd name="T38" fmla="*/ 125 w 150"/>
              <a:gd name="T39" fmla="*/ 10 h 279"/>
              <a:gd name="T40" fmla="*/ 122 w 150"/>
              <a:gd name="T41" fmla="*/ 22 h 279"/>
              <a:gd name="T42" fmla="*/ 113 w 150"/>
              <a:gd name="T43" fmla="*/ 35 h 279"/>
              <a:gd name="T44" fmla="*/ 110 w 150"/>
              <a:gd name="T45" fmla="*/ 32 h 279"/>
              <a:gd name="T46" fmla="*/ 107 w 150"/>
              <a:gd name="T47" fmla="*/ 44 h 279"/>
              <a:gd name="T48" fmla="*/ 100 w 150"/>
              <a:gd name="T49" fmla="*/ 47 h 279"/>
              <a:gd name="T50" fmla="*/ 104 w 150"/>
              <a:gd name="T51" fmla="*/ 57 h 279"/>
              <a:gd name="T52" fmla="*/ 94 w 150"/>
              <a:gd name="T53" fmla="*/ 63 h 279"/>
              <a:gd name="T54" fmla="*/ 91 w 150"/>
              <a:gd name="T55" fmla="*/ 57 h 279"/>
              <a:gd name="T56" fmla="*/ 88 w 150"/>
              <a:gd name="T57" fmla="*/ 66 h 279"/>
              <a:gd name="T58" fmla="*/ 85 w 150"/>
              <a:gd name="T59" fmla="*/ 72 h 279"/>
              <a:gd name="T60" fmla="*/ 82 w 150"/>
              <a:gd name="T61" fmla="*/ 66 h 279"/>
              <a:gd name="T62" fmla="*/ 75 w 150"/>
              <a:gd name="T63" fmla="*/ 82 h 279"/>
              <a:gd name="T64" fmla="*/ 69 w 150"/>
              <a:gd name="T65" fmla="*/ 72 h 279"/>
              <a:gd name="T66" fmla="*/ 57 w 150"/>
              <a:gd name="T67" fmla="*/ 75 h 279"/>
              <a:gd name="T68" fmla="*/ 54 w 150"/>
              <a:gd name="T69" fmla="*/ 79 h 279"/>
              <a:gd name="T70" fmla="*/ 41 w 150"/>
              <a:gd name="T71" fmla="*/ 85 h 279"/>
              <a:gd name="T72" fmla="*/ 32 w 150"/>
              <a:gd name="T73" fmla="*/ 88 h 279"/>
              <a:gd name="T74" fmla="*/ 19 w 150"/>
              <a:gd name="T75" fmla="*/ 110 h 279"/>
              <a:gd name="T76" fmla="*/ 22 w 150"/>
              <a:gd name="T77" fmla="*/ 125 h 279"/>
              <a:gd name="T78" fmla="*/ 32 w 150"/>
              <a:gd name="T79" fmla="*/ 147 h 279"/>
              <a:gd name="T80" fmla="*/ 29 w 150"/>
              <a:gd name="T81" fmla="*/ 163 h 279"/>
              <a:gd name="T82" fmla="*/ 19 w 150"/>
              <a:gd name="T83" fmla="*/ 175 h 279"/>
              <a:gd name="T84" fmla="*/ 7 w 150"/>
              <a:gd name="T85" fmla="*/ 188 h 279"/>
              <a:gd name="T86" fmla="*/ 0 w 150"/>
              <a:gd name="T87" fmla="*/ 207 h 279"/>
              <a:gd name="T88" fmla="*/ 7 w 150"/>
              <a:gd name="T89" fmla="*/ 226 h 279"/>
              <a:gd name="T90" fmla="*/ 10 w 150"/>
              <a:gd name="T91" fmla="*/ 232 h 279"/>
              <a:gd name="T92" fmla="*/ 7 w 150"/>
              <a:gd name="T93" fmla="*/ 244 h 279"/>
              <a:gd name="T94" fmla="*/ 10 w 150"/>
              <a:gd name="T95" fmla="*/ 260 h 279"/>
              <a:gd name="T96" fmla="*/ 19 w 150"/>
              <a:gd name="T97" fmla="*/ 269 h 279"/>
              <a:gd name="T98" fmla="*/ 29 w 150"/>
              <a:gd name="T99" fmla="*/ 276 h 279"/>
              <a:gd name="T100" fmla="*/ 32 w 150"/>
              <a:gd name="T101" fmla="*/ 279 h 279"/>
              <a:gd name="T102" fmla="*/ 119 w 150"/>
              <a:gd name="T103" fmla="*/ 16 h 279"/>
              <a:gd name="T104" fmla="*/ 116 w 150"/>
              <a:gd name="T105" fmla="*/ 25 h 279"/>
              <a:gd name="T106" fmla="*/ 116 w 150"/>
              <a:gd name="T107" fmla="*/ 25 h 279"/>
              <a:gd name="T108" fmla="*/ 113 w 150"/>
              <a:gd name="T109" fmla="*/ 25 h 279"/>
              <a:gd name="T110" fmla="*/ 110 w 150"/>
              <a:gd name="T111" fmla="*/ 25 h 279"/>
              <a:gd name="T112" fmla="*/ 138 w 150"/>
              <a:gd name="T113" fmla="*/ 97 h 279"/>
              <a:gd name="T114" fmla="*/ 141 w 150"/>
              <a:gd name="T115" fmla="*/ 9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279">
                <a:moveTo>
                  <a:pt x="32" y="279"/>
                </a:moveTo>
                <a:lnTo>
                  <a:pt x="35" y="276"/>
                </a:lnTo>
                <a:lnTo>
                  <a:pt x="38" y="279"/>
                </a:lnTo>
                <a:lnTo>
                  <a:pt x="44" y="276"/>
                </a:lnTo>
                <a:lnTo>
                  <a:pt x="47" y="269"/>
                </a:lnTo>
                <a:lnTo>
                  <a:pt x="60" y="269"/>
                </a:lnTo>
                <a:lnTo>
                  <a:pt x="63" y="269"/>
                </a:lnTo>
                <a:lnTo>
                  <a:pt x="69" y="266"/>
                </a:lnTo>
                <a:lnTo>
                  <a:pt x="72" y="263"/>
                </a:lnTo>
                <a:lnTo>
                  <a:pt x="75" y="263"/>
                </a:lnTo>
                <a:lnTo>
                  <a:pt x="75" y="257"/>
                </a:lnTo>
                <a:lnTo>
                  <a:pt x="79" y="254"/>
                </a:lnTo>
                <a:lnTo>
                  <a:pt x="82" y="247"/>
                </a:lnTo>
                <a:lnTo>
                  <a:pt x="85" y="247"/>
                </a:lnTo>
                <a:lnTo>
                  <a:pt x="85" y="241"/>
                </a:lnTo>
                <a:lnTo>
                  <a:pt x="82" y="238"/>
                </a:lnTo>
                <a:lnTo>
                  <a:pt x="85" y="238"/>
                </a:lnTo>
                <a:lnTo>
                  <a:pt x="88" y="232"/>
                </a:lnTo>
                <a:lnTo>
                  <a:pt x="88" y="229"/>
                </a:lnTo>
                <a:lnTo>
                  <a:pt x="88" y="229"/>
                </a:lnTo>
                <a:lnTo>
                  <a:pt x="91" y="226"/>
                </a:lnTo>
                <a:lnTo>
                  <a:pt x="94" y="210"/>
                </a:lnTo>
                <a:lnTo>
                  <a:pt x="97" y="204"/>
                </a:lnTo>
                <a:lnTo>
                  <a:pt x="100" y="201"/>
                </a:lnTo>
                <a:lnTo>
                  <a:pt x="100" y="191"/>
                </a:lnTo>
                <a:lnTo>
                  <a:pt x="107" y="182"/>
                </a:lnTo>
                <a:lnTo>
                  <a:pt x="113" y="166"/>
                </a:lnTo>
                <a:lnTo>
                  <a:pt x="116" y="163"/>
                </a:lnTo>
                <a:lnTo>
                  <a:pt x="116" y="154"/>
                </a:lnTo>
                <a:lnTo>
                  <a:pt x="119" y="147"/>
                </a:lnTo>
                <a:lnTo>
                  <a:pt x="119" y="144"/>
                </a:lnTo>
                <a:lnTo>
                  <a:pt x="125" y="138"/>
                </a:lnTo>
                <a:lnTo>
                  <a:pt x="125" y="125"/>
                </a:lnTo>
                <a:lnTo>
                  <a:pt x="129" y="119"/>
                </a:lnTo>
                <a:lnTo>
                  <a:pt x="132" y="116"/>
                </a:lnTo>
                <a:lnTo>
                  <a:pt x="132" y="110"/>
                </a:lnTo>
                <a:lnTo>
                  <a:pt x="129" y="107"/>
                </a:lnTo>
                <a:lnTo>
                  <a:pt x="132" y="104"/>
                </a:lnTo>
                <a:lnTo>
                  <a:pt x="135" y="97"/>
                </a:lnTo>
                <a:lnTo>
                  <a:pt x="135" y="94"/>
                </a:lnTo>
                <a:lnTo>
                  <a:pt x="138" y="91"/>
                </a:lnTo>
                <a:lnTo>
                  <a:pt x="138" y="88"/>
                </a:lnTo>
                <a:lnTo>
                  <a:pt x="135" y="85"/>
                </a:lnTo>
                <a:lnTo>
                  <a:pt x="138" y="82"/>
                </a:lnTo>
                <a:lnTo>
                  <a:pt x="135" y="75"/>
                </a:lnTo>
                <a:lnTo>
                  <a:pt x="135" y="75"/>
                </a:lnTo>
                <a:lnTo>
                  <a:pt x="135" y="72"/>
                </a:lnTo>
                <a:lnTo>
                  <a:pt x="138" y="69"/>
                </a:lnTo>
                <a:lnTo>
                  <a:pt x="138" y="72"/>
                </a:lnTo>
                <a:lnTo>
                  <a:pt x="141" y="75"/>
                </a:lnTo>
                <a:lnTo>
                  <a:pt x="144" y="79"/>
                </a:lnTo>
                <a:lnTo>
                  <a:pt x="147" y="82"/>
                </a:lnTo>
                <a:lnTo>
                  <a:pt x="147" y="79"/>
                </a:lnTo>
                <a:lnTo>
                  <a:pt x="147" y="75"/>
                </a:lnTo>
                <a:lnTo>
                  <a:pt x="147" y="72"/>
                </a:lnTo>
                <a:lnTo>
                  <a:pt x="150" y="69"/>
                </a:lnTo>
                <a:lnTo>
                  <a:pt x="150" y="69"/>
                </a:lnTo>
                <a:lnTo>
                  <a:pt x="150" y="66"/>
                </a:lnTo>
                <a:lnTo>
                  <a:pt x="147" y="60"/>
                </a:lnTo>
                <a:lnTo>
                  <a:pt x="144" y="57"/>
                </a:lnTo>
                <a:lnTo>
                  <a:pt x="147" y="53"/>
                </a:lnTo>
                <a:lnTo>
                  <a:pt x="147" y="50"/>
                </a:lnTo>
                <a:lnTo>
                  <a:pt x="144" y="44"/>
                </a:lnTo>
                <a:lnTo>
                  <a:pt x="147" y="41"/>
                </a:lnTo>
                <a:lnTo>
                  <a:pt x="147" y="32"/>
                </a:lnTo>
                <a:lnTo>
                  <a:pt x="144" y="28"/>
                </a:lnTo>
                <a:lnTo>
                  <a:pt x="144" y="19"/>
                </a:lnTo>
                <a:lnTo>
                  <a:pt x="141" y="16"/>
                </a:lnTo>
                <a:lnTo>
                  <a:pt x="141" y="16"/>
                </a:lnTo>
                <a:lnTo>
                  <a:pt x="138" y="13"/>
                </a:lnTo>
                <a:lnTo>
                  <a:pt x="135" y="10"/>
                </a:lnTo>
                <a:lnTo>
                  <a:pt x="132" y="7"/>
                </a:lnTo>
                <a:lnTo>
                  <a:pt x="135" y="3"/>
                </a:lnTo>
                <a:lnTo>
                  <a:pt x="135" y="0"/>
                </a:lnTo>
                <a:lnTo>
                  <a:pt x="129" y="3"/>
                </a:lnTo>
                <a:lnTo>
                  <a:pt x="129" y="7"/>
                </a:lnTo>
                <a:lnTo>
                  <a:pt x="125" y="10"/>
                </a:lnTo>
                <a:lnTo>
                  <a:pt x="122" y="7"/>
                </a:lnTo>
                <a:lnTo>
                  <a:pt x="122" y="7"/>
                </a:lnTo>
                <a:lnTo>
                  <a:pt x="125" y="10"/>
                </a:lnTo>
                <a:lnTo>
                  <a:pt x="125" y="13"/>
                </a:lnTo>
                <a:lnTo>
                  <a:pt x="125" y="16"/>
                </a:lnTo>
                <a:lnTo>
                  <a:pt x="125" y="16"/>
                </a:lnTo>
                <a:lnTo>
                  <a:pt x="122" y="22"/>
                </a:lnTo>
                <a:lnTo>
                  <a:pt x="122" y="25"/>
                </a:lnTo>
                <a:lnTo>
                  <a:pt x="119" y="32"/>
                </a:lnTo>
                <a:lnTo>
                  <a:pt x="116" y="28"/>
                </a:lnTo>
                <a:lnTo>
                  <a:pt x="113" y="35"/>
                </a:lnTo>
                <a:lnTo>
                  <a:pt x="113" y="38"/>
                </a:lnTo>
                <a:lnTo>
                  <a:pt x="110" y="38"/>
                </a:lnTo>
                <a:lnTo>
                  <a:pt x="110" y="38"/>
                </a:lnTo>
                <a:lnTo>
                  <a:pt x="110" y="32"/>
                </a:lnTo>
                <a:lnTo>
                  <a:pt x="107" y="32"/>
                </a:lnTo>
                <a:lnTo>
                  <a:pt x="104" y="35"/>
                </a:lnTo>
                <a:lnTo>
                  <a:pt x="104" y="38"/>
                </a:lnTo>
                <a:lnTo>
                  <a:pt x="107" y="44"/>
                </a:lnTo>
                <a:lnTo>
                  <a:pt x="110" y="44"/>
                </a:lnTo>
                <a:lnTo>
                  <a:pt x="107" y="47"/>
                </a:lnTo>
                <a:lnTo>
                  <a:pt x="107" y="44"/>
                </a:lnTo>
                <a:lnTo>
                  <a:pt x="100" y="47"/>
                </a:lnTo>
                <a:lnTo>
                  <a:pt x="104" y="50"/>
                </a:lnTo>
                <a:lnTo>
                  <a:pt x="107" y="50"/>
                </a:lnTo>
                <a:lnTo>
                  <a:pt x="107" y="53"/>
                </a:lnTo>
                <a:lnTo>
                  <a:pt x="104" y="57"/>
                </a:lnTo>
                <a:lnTo>
                  <a:pt x="104" y="53"/>
                </a:lnTo>
                <a:lnTo>
                  <a:pt x="100" y="53"/>
                </a:lnTo>
                <a:lnTo>
                  <a:pt x="100" y="57"/>
                </a:lnTo>
                <a:lnTo>
                  <a:pt x="94" y="63"/>
                </a:lnTo>
                <a:lnTo>
                  <a:pt x="94" y="57"/>
                </a:lnTo>
                <a:lnTo>
                  <a:pt x="94" y="57"/>
                </a:lnTo>
                <a:lnTo>
                  <a:pt x="94" y="53"/>
                </a:lnTo>
                <a:lnTo>
                  <a:pt x="91" y="57"/>
                </a:lnTo>
                <a:lnTo>
                  <a:pt x="91" y="60"/>
                </a:lnTo>
                <a:lnTo>
                  <a:pt x="91" y="60"/>
                </a:lnTo>
                <a:lnTo>
                  <a:pt x="88" y="63"/>
                </a:lnTo>
                <a:lnTo>
                  <a:pt x="88" y="66"/>
                </a:lnTo>
                <a:lnTo>
                  <a:pt x="91" y="66"/>
                </a:lnTo>
                <a:lnTo>
                  <a:pt x="91" y="69"/>
                </a:lnTo>
                <a:lnTo>
                  <a:pt x="88" y="69"/>
                </a:lnTo>
                <a:lnTo>
                  <a:pt x="85" y="72"/>
                </a:lnTo>
                <a:lnTo>
                  <a:pt x="85" y="69"/>
                </a:lnTo>
                <a:lnTo>
                  <a:pt x="82" y="69"/>
                </a:lnTo>
                <a:lnTo>
                  <a:pt x="85" y="66"/>
                </a:lnTo>
                <a:lnTo>
                  <a:pt x="82" y="66"/>
                </a:lnTo>
                <a:lnTo>
                  <a:pt x="75" y="72"/>
                </a:lnTo>
                <a:lnTo>
                  <a:pt x="75" y="75"/>
                </a:lnTo>
                <a:lnTo>
                  <a:pt x="75" y="79"/>
                </a:lnTo>
                <a:lnTo>
                  <a:pt x="75" y="82"/>
                </a:lnTo>
                <a:lnTo>
                  <a:pt x="72" y="82"/>
                </a:lnTo>
                <a:lnTo>
                  <a:pt x="69" y="79"/>
                </a:lnTo>
                <a:lnTo>
                  <a:pt x="69" y="75"/>
                </a:lnTo>
                <a:lnTo>
                  <a:pt x="69" y="72"/>
                </a:lnTo>
                <a:lnTo>
                  <a:pt x="63" y="79"/>
                </a:lnTo>
                <a:lnTo>
                  <a:pt x="60" y="75"/>
                </a:lnTo>
                <a:lnTo>
                  <a:pt x="57" y="75"/>
                </a:lnTo>
                <a:lnTo>
                  <a:pt x="57" y="75"/>
                </a:lnTo>
                <a:lnTo>
                  <a:pt x="57" y="82"/>
                </a:lnTo>
                <a:lnTo>
                  <a:pt x="57" y="82"/>
                </a:lnTo>
                <a:lnTo>
                  <a:pt x="54" y="82"/>
                </a:lnTo>
                <a:lnTo>
                  <a:pt x="54" y="79"/>
                </a:lnTo>
                <a:lnTo>
                  <a:pt x="50" y="79"/>
                </a:lnTo>
                <a:lnTo>
                  <a:pt x="50" y="82"/>
                </a:lnTo>
                <a:lnTo>
                  <a:pt x="47" y="79"/>
                </a:lnTo>
                <a:lnTo>
                  <a:pt x="41" y="85"/>
                </a:lnTo>
                <a:lnTo>
                  <a:pt x="38" y="85"/>
                </a:lnTo>
                <a:lnTo>
                  <a:pt x="35" y="85"/>
                </a:lnTo>
                <a:lnTo>
                  <a:pt x="32" y="85"/>
                </a:lnTo>
                <a:lnTo>
                  <a:pt x="32" y="88"/>
                </a:lnTo>
                <a:lnTo>
                  <a:pt x="32" y="94"/>
                </a:lnTo>
                <a:lnTo>
                  <a:pt x="25" y="104"/>
                </a:lnTo>
                <a:lnTo>
                  <a:pt x="25" y="104"/>
                </a:lnTo>
                <a:lnTo>
                  <a:pt x="19" y="110"/>
                </a:lnTo>
                <a:lnTo>
                  <a:pt x="19" y="113"/>
                </a:lnTo>
                <a:lnTo>
                  <a:pt x="22" y="116"/>
                </a:lnTo>
                <a:lnTo>
                  <a:pt x="19" y="119"/>
                </a:lnTo>
                <a:lnTo>
                  <a:pt x="22" y="125"/>
                </a:lnTo>
                <a:lnTo>
                  <a:pt x="22" y="129"/>
                </a:lnTo>
                <a:lnTo>
                  <a:pt x="29" y="141"/>
                </a:lnTo>
                <a:lnTo>
                  <a:pt x="29" y="144"/>
                </a:lnTo>
                <a:lnTo>
                  <a:pt x="32" y="147"/>
                </a:lnTo>
                <a:lnTo>
                  <a:pt x="32" y="147"/>
                </a:lnTo>
                <a:lnTo>
                  <a:pt x="29" y="150"/>
                </a:lnTo>
                <a:lnTo>
                  <a:pt x="29" y="154"/>
                </a:lnTo>
                <a:lnTo>
                  <a:pt x="29" y="163"/>
                </a:lnTo>
                <a:lnTo>
                  <a:pt x="22" y="166"/>
                </a:lnTo>
                <a:lnTo>
                  <a:pt x="22" y="169"/>
                </a:lnTo>
                <a:lnTo>
                  <a:pt x="19" y="169"/>
                </a:lnTo>
                <a:lnTo>
                  <a:pt x="19" y="175"/>
                </a:lnTo>
                <a:lnTo>
                  <a:pt x="16" y="175"/>
                </a:lnTo>
                <a:lnTo>
                  <a:pt x="16" y="185"/>
                </a:lnTo>
                <a:lnTo>
                  <a:pt x="13" y="188"/>
                </a:lnTo>
                <a:lnTo>
                  <a:pt x="7" y="188"/>
                </a:lnTo>
                <a:lnTo>
                  <a:pt x="7" y="191"/>
                </a:lnTo>
                <a:lnTo>
                  <a:pt x="7" y="197"/>
                </a:lnTo>
                <a:lnTo>
                  <a:pt x="0" y="201"/>
                </a:lnTo>
                <a:lnTo>
                  <a:pt x="0" y="207"/>
                </a:lnTo>
                <a:lnTo>
                  <a:pt x="0" y="210"/>
                </a:lnTo>
                <a:lnTo>
                  <a:pt x="0" y="213"/>
                </a:lnTo>
                <a:lnTo>
                  <a:pt x="0" y="219"/>
                </a:lnTo>
                <a:lnTo>
                  <a:pt x="7" y="226"/>
                </a:lnTo>
                <a:lnTo>
                  <a:pt x="7" y="229"/>
                </a:lnTo>
                <a:lnTo>
                  <a:pt x="7" y="232"/>
                </a:lnTo>
                <a:lnTo>
                  <a:pt x="10" y="232"/>
                </a:lnTo>
                <a:lnTo>
                  <a:pt x="10" y="232"/>
                </a:lnTo>
                <a:lnTo>
                  <a:pt x="10" y="235"/>
                </a:lnTo>
                <a:lnTo>
                  <a:pt x="7" y="235"/>
                </a:lnTo>
                <a:lnTo>
                  <a:pt x="7" y="238"/>
                </a:lnTo>
                <a:lnTo>
                  <a:pt x="7" y="244"/>
                </a:lnTo>
                <a:lnTo>
                  <a:pt x="7" y="254"/>
                </a:lnTo>
                <a:lnTo>
                  <a:pt x="7" y="254"/>
                </a:lnTo>
                <a:lnTo>
                  <a:pt x="7" y="257"/>
                </a:lnTo>
                <a:lnTo>
                  <a:pt x="10" y="260"/>
                </a:lnTo>
                <a:lnTo>
                  <a:pt x="13" y="263"/>
                </a:lnTo>
                <a:lnTo>
                  <a:pt x="13" y="263"/>
                </a:lnTo>
                <a:lnTo>
                  <a:pt x="16" y="266"/>
                </a:lnTo>
                <a:lnTo>
                  <a:pt x="19" y="269"/>
                </a:lnTo>
                <a:lnTo>
                  <a:pt x="22" y="269"/>
                </a:lnTo>
                <a:lnTo>
                  <a:pt x="22" y="269"/>
                </a:lnTo>
                <a:lnTo>
                  <a:pt x="25" y="272"/>
                </a:lnTo>
                <a:lnTo>
                  <a:pt x="29" y="276"/>
                </a:lnTo>
                <a:lnTo>
                  <a:pt x="32" y="276"/>
                </a:lnTo>
                <a:lnTo>
                  <a:pt x="32" y="279"/>
                </a:lnTo>
                <a:lnTo>
                  <a:pt x="32" y="279"/>
                </a:lnTo>
                <a:lnTo>
                  <a:pt x="32" y="279"/>
                </a:lnTo>
                <a:close/>
                <a:moveTo>
                  <a:pt x="119" y="19"/>
                </a:moveTo>
                <a:lnTo>
                  <a:pt x="116" y="19"/>
                </a:lnTo>
                <a:lnTo>
                  <a:pt x="119" y="16"/>
                </a:lnTo>
                <a:lnTo>
                  <a:pt x="119" y="16"/>
                </a:lnTo>
                <a:lnTo>
                  <a:pt x="119" y="19"/>
                </a:lnTo>
                <a:lnTo>
                  <a:pt x="119" y="19"/>
                </a:lnTo>
                <a:close/>
                <a:moveTo>
                  <a:pt x="116" y="25"/>
                </a:moveTo>
                <a:lnTo>
                  <a:pt x="116" y="25"/>
                </a:lnTo>
                <a:lnTo>
                  <a:pt x="119" y="25"/>
                </a:lnTo>
                <a:lnTo>
                  <a:pt x="116" y="28"/>
                </a:lnTo>
                <a:lnTo>
                  <a:pt x="116" y="25"/>
                </a:lnTo>
                <a:lnTo>
                  <a:pt x="116" y="25"/>
                </a:lnTo>
                <a:close/>
                <a:moveTo>
                  <a:pt x="110" y="25"/>
                </a:moveTo>
                <a:lnTo>
                  <a:pt x="110" y="25"/>
                </a:lnTo>
                <a:lnTo>
                  <a:pt x="113" y="25"/>
                </a:lnTo>
                <a:lnTo>
                  <a:pt x="113" y="25"/>
                </a:lnTo>
                <a:lnTo>
                  <a:pt x="113" y="28"/>
                </a:lnTo>
                <a:lnTo>
                  <a:pt x="110" y="28"/>
                </a:lnTo>
                <a:lnTo>
                  <a:pt x="110" y="28"/>
                </a:lnTo>
                <a:lnTo>
                  <a:pt x="110" y="25"/>
                </a:lnTo>
                <a:lnTo>
                  <a:pt x="110" y="25"/>
                </a:lnTo>
                <a:close/>
                <a:moveTo>
                  <a:pt x="138" y="104"/>
                </a:moveTo>
                <a:lnTo>
                  <a:pt x="138" y="100"/>
                </a:lnTo>
                <a:lnTo>
                  <a:pt x="138" y="97"/>
                </a:lnTo>
                <a:lnTo>
                  <a:pt x="138" y="97"/>
                </a:lnTo>
                <a:lnTo>
                  <a:pt x="141" y="97"/>
                </a:lnTo>
                <a:lnTo>
                  <a:pt x="141" y="94"/>
                </a:lnTo>
                <a:lnTo>
                  <a:pt x="141" y="97"/>
                </a:lnTo>
                <a:lnTo>
                  <a:pt x="138" y="100"/>
                </a:lnTo>
                <a:lnTo>
                  <a:pt x="138" y="10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8" name="Freeform 156">
            <a:extLst>
              <a:ext uri="{FF2B5EF4-FFF2-40B4-BE49-F238E27FC236}">
                <a16:creationId xmlns:a16="http://schemas.microsoft.com/office/drawing/2014/main" id="{73AFB262-E2F2-F8A6-EEF2-6243BEC4798F}"/>
              </a:ext>
            </a:extLst>
          </p:cNvPr>
          <p:cNvSpPr>
            <a:spLocks/>
          </p:cNvSpPr>
          <p:nvPr userDrawn="1"/>
        </p:nvSpPr>
        <p:spPr bwMode="auto">
          <a:xfrm>
            <a:off x="15045346" y="10041805"/>
            <a:ext cx="644484" cy="1054102"/>
          </a:xfrm>
          <a:custGeom>
            <a:avLst/>
            <a:gdLst>
              <a:gd name="T0" fmla="*/ 34 w 203"/>
              <a:gd name="T1" fmla="*/ 206 h 332"/>
              <a:gd name="T2" fmla="*/ 40 w 203"/>
              <a:gd name="T3" fmla="*/ 194 h 332"/>
              <a:gd name="T4" fmla="*/ 43 w 203"/>
              <a:gd name="T5" fmla="*/ 181 h 332"/>
              <a:gd name="T6" fmla="*/ 43 w 203"/>
              <a:gd name="T7" fmla="*/ 169 h 332"/>
              <a:gd name="T8" fmla="*/ 43 w 203"/>
              <a:gd name="T9" fmla="*/ 156 h 332"/>
              <a:gd name="T10" fmla="*/ 47 w 203"/>
              <a:gd name="T11" fmla="*/ 141 h 332"/>
              <a:gd name="T12" fmla="*/ 50 w 203"/>
              <a:gd name="T13" fmla="*/ 128 h 332"/>
              <a:gd name="T14" fmla="*/ 28 w 203"/>
              <a:gd name="T15" fmla="*/ 119 h 332"/>
              <a:gd name="T16" fmla="*/ 12 w 203"/>
              <a:gd name="T17" fmla="*/ 113 h 332"/>
              <a:gd name="T18" fmla="*/ 0 w 203"/>
              <a:gd name="T19" fmla="*/ 97 h 332"/>
              <a:gd name="T20" fmla="*/ 34 w 203"/>
              <a:gd name="T21" fmla="*/ 78 h 332"/>
              <a:gd name="T22" fmla="*/ 59 w 203"/>
              <a:gd name="T23" fmla="*/ 75 h 332"/>
              <a:gd name="T24" fmla="*/ 68 w 203"/>
              <a:gd name="T25" fmla="*/ 81 h 332"/>
              <a:gd name="T26" fmla="*/ 81 w 203"/>
              <a:gd name="T27" fmla="*/ 88 h 332"/>
              <a:gd name="T28" fmla="*/ 75 w 203"/>
              <a:gd name="T29" fmla="*/ 110 h 332"/>
              <a:gd name="T30" fmla="*/ 87 w 203"/>
              <a:gd name="T31" fmla="*/ 125 h 332"/>
              <a:gd name="T32" fmla="*/ 93 w 203"/>
              <a:gd name="T33" fmla="*/ 135 h 332"/>
              <a:gd name="T34" fmla="*/ 97 w 203"/>
              <a:gd name="T35" fmla="*/ 113 h 332"/>
              <a:gd name="T36" fmla="*/ 103 w 203"/>
              <a:gd name="T37" fmla="*/ 97 h 332"/>
              <a:gd name="T38" fmla="*/ 106 w 203"/>
              <a:gd name="T39" fmla="*/ 91 h 332"/>
              <a:gd name="T40" fmla="*/ 103 w 203"/>
              <a:gd name="T41" fmla="*/ 75 h 332"/>
              <a:gd name="T42" fmla="*/ 87 w 203"/>
              <a:gd name="T43" fmla="*/ 59 h 332"/>
              <a:gd name="T44" fmla="*/ 106 w 203"/>
              <a:gd name="T45" fmla="*/ 19 h 332"/>
              <a:gd name="T46" fmla="*/ 115 w 203"/>
              <a:gd name="T47" fmla="*/ 22 h 332"/>
              <a:gd name="T48" fmla="*/ 128 w 203"/>
              <a:gd name="T49" fmla="*/ 22 h 332"/>
              <a:gd name="T50" fmla="*/ 137 w 203"/>
              <a:gd name="T51" fmla="*/ 22 h 332"/>
              <a:gd name="T52" fmla="*/ 150 w 203"/>
              <a:gd name="T53" fmla="*/ 16 h 332"/>
              <a:gd name="T54" fmla="*/ 162 w 203"/>
              <a:gd name="T55" fmla="*/ 16 h 332"/>
              <a:gd name="T56" fmla="*/ 181 w 203"/>
              <a:gd name="T57" fmla="*/ 13 h 332"/>
              <a:gd name="T58" fmla="*/ 197 w 203"/>
              <a:gd name="T59" fmla="*/ 3 h 332"/>
              <a:gd name="T60" fmla="*/ 203 w 203"/>
              <a:gd name="T61" fmla="*/ 6 h 332"/>
              <a:gd name="T62" fmla="*/ 200 w 203"/>
              <a:gd name="T63" fmla="*/ 19 h 332"/>
              <a:gd name="T64" fmla="*/ 200 w 203"/>
              <a:gd name="T65" fmla="*/ 34 h 332"/>
              <a:gd name="T66" fmla="*/ 200 w 203"/>
              <a:gd name="T67" fmla="*/ 53 h 332"/>
              <a:gd name="T68" fmla="*/ 197 w 203"/>
              <a:gd name="T69" fmla="*/ 72 h 332"/>
              <a:gd name="T70" fmla="*/ 203 w 203"/>
              <a:gd name="T71" fmla="*/ 84 h 332"/>
              <a:gd name="T72" fmla="*/ 197 w 203"/>
              <a:gd name="T73" fmla="*/ 91 h 332"/>
              <a:gd name="T74" fmla="*/ 197 w 203"/>
              <a:gd name="T75" fmla="*/ 97 h 332"/>
              <a:gd name="T76" fmla="*/ 184 w 203"/>
              <a:gd name="T77" fmla="*/ 116 h 332"/>
              <a:gd name="T78" fmla="*/ 165 w 203"/>
              <a:gd name="T79" fmla="*/ 128 h 332"/>
              <a:gd name="T80" fmla="*/ 134 w 203"/>
              <a:gd name="T81" fmla="*/ 144 h 332"/>
              <a:gd name="T82" fmla="*/ 125 w 203"/>
              <a:gd name="T83" fmla="*/ 150 h 332"/>
              <a:gd name="T84" fmla="*/ 112 w 203"/>
              <a:gd name="T85" fmla="*/ 166 h 332"/>
              <a:gd name="T86" fmla="*/ 93 w 203"/>
              <a:gd name="T87" fmla="*/ 178 h 332"/>
              <a:gd name="T88" fmla="*/ 81 w 203"/>
              <a:gd name="T89" fmla="*/ 185 h 332"/>
              <a:gd name="T90" fmla="*/ 78 w 203"/>
              <a:gd name="T91" fmla="*/ 194 h 332"/>
              <a:gd name="T92" fmla="*/ 81 w 203"/>
              <a:gd name="T93" fmla="*/ 213 h 332"/>
              <a:gd name="T94" fmla="*/ 87 w 203"/>
              <a:gd name="T95" fmla="*/ 238 h 332"/>
              <a:gd name="T96" fmla="*/ 90 w 203"/>
              <a:gd name="T97" fmla="*/ 238 h 332"/>
              <a:gd name="T98" fmla="*/ 90 w 203"/>
              <a:gd name="T99" fmla="*/ 250 h 332"/>
              <a:gd name="T100" fmla="*/ 84 w 203"/>
              <a:gd name="T101" fmla="*/ 266 h 332"/>
              <a:gd name="T102" fmla="*/ 87 w 203"/>
              <a:gd name="T103" fmla="*/ 278 h 332"/>
              <a:gd name="T104" fmla="*/ 37 w 203"/>
              <a:gd name="T105" fmla="*/ 303 h 332"/>
              <a:gd name="T106" fmla="*/ 28 w 203"/>
              <a:gd name="T107" fmla="*/ 313 h 332"/>
              <a:gd name="T108" fmla="*/ 34 w 203"/>
              <a:gd name="T109" fmla="*/ 322 h 332"/>
              <a:gd name="T110" fmla="*/ 34 w 203"/>
              <a:gd name="T111" fmla="*/ 329 h 332"/>
              <a:gd name="T112" fmla="*/ 22 w 203"/>
              <a:gd name="T113" fmla="*/ 329 h 332"/>
              <a:gd name="T114" fmla="*/ 18 w 203"/>
              <a:gd name="T115" fmla="*/ 316 h 332"/>
              <a:gd name="T116" fmla="*/ 18 w 203"/>
              <a:gd name="T117" fmla="*/ 297 h 332"/>
              <a:gd name="T118" fmla="*/ 18 w 203"/>
              <a:gd name="T119" fmla="*/ 269 h 332"/>
              <a:gd name="T120" fmla="*/ 12 w 203"/>
              <a:gd name="T121" fmla="*/ 24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3" h="332">
                <a:moveTo>
                  <a:pt x="12" y="244"/>
                </a:moveTo>
                <a:lnTo>
                  <a:pt x="34" y="222"/>
                </a:lnTo>
                <a:lnTo>
                  <a:pt x="34" y="216"/>
                </a:lnTo>
                <a:lnTo>
                  <a:pt x="34" y="213"/>
                </a:lnTo>
                <a:lnTo>
                  <a:pt x="34" y="206"/>
                </a:lnTo>
                <a:lnTo>
                  <a:pt x="37" y="203"/>
                </a:lnTo>
                <a:lnTo>
                  <a:pt x="34" y="200"/>
                </a:lnTo>
                <a:lnTo>
                  <a:pt x="37" y="197"/>
                </a:lnTo>
                <a:lnTo>
                  <a:pt x="37" y="197"/>
                </a:lnTo>
                <a:lnTo>
                  <a:pt x="40" y="194"/>
                </a:lnTo>
                <a:lnTo>
                  <a:pt x="43" y="194"/>
                </a:lnTo>
                <a:lnTo>
                  <a:pt x="47" y="188"/>
                </a:lnTo>
                <a:lnTo>
                  <a:pt x="43" y="185"/>
                </a:lnTo>
                <a:lnTo>
                  <a:pt x="43" y="185"/>
                </a:lnTo>
                <a:lnTo>
                  <a:pt x="43" y="181"/>
                </a:lnTo>
                <a:lnTo>
                  <a:pt x="43" y="178"/>
                </a:lnTo>
                <a:lnTo>
                  <a:pt x="43" y="175"/>
                </a:lnTo>
                <a:lnTo>
                  <a:pt x="40" y="172"/>
                </a:lnTo>
                <a:lnTo>
                  <a:pt x="40" y="169"/>
                </a:lnTo>
                <a:lnTo>
                  <a:pt x="43" y="169"/>
                </a:lnTo>
                <a:lnTo>
                  <a:pt x="43" y="166"/>
                </a:lnTo>
                <a:lnTo>
                  <a:pt x="43" y="163"/>
                </a:lnTo>
                <a:lnTo>
                  <a:pt x="47" y="160"/>
                </a:lnTo>
                <a:lnTo>
                  <a:pt x="47" y="156"/>
                </a:lnTo>
                <a:lnTo>
                  <a:pt x="43" y="156"/>
                </a:lnTo>
                <a:lnTo>
                  <a:pt x="43" y="156"/>
                </a:lnTo>
                <a:lnTo>
                  <a:pt x="47" y="153"/>
                </a:lnTo>
                <a:lnTo>
                  <a:pt x="47" y="147"/>
                </a:lnTo>
                <a:lnTo>
                  <a:pt x="47" y="144"/>
                </a:lnTo>
                <a:lnTo>
                  <a:pt x="47" y="141"/>
                </a:lnTo>
                <a:lnTo>
                  <a:pt x="47" y="138"/>
                </a:lnTo>
                <a:lnTo>
                  <a:pt x="47" y="138"/>
                </a:lnTo>
                <a:lnTo>
                  <a:pt x="47" y="135"/>
                </a:lnTo>
                <a:lnTo>
                  <a:pt x="50" y="131"/>
                </a:lnTo>
                <a:lnTo>
                  <a:pt x="50" y="128"/>
                </a:lnTo>
                <a:lnTo>
                  <a:pt x="43" y="125"/>
                </a:lnTo>
                <a:lnTo>
                  <a:pt x="43" y="125"/>
                </a:lnTo>
                <a:lnTo>
                  <a:pt x="37" y="122"/>
                </a:lnTo>
                <a:lnTo>
                  <a:pt x="31" y="122"/>
                </a:lnTo>
                <a:lnTo>
                  <a:pt x="28" y="119"/>
                </a:lnTo>
                <a:lnTo>
                  <a:pt x="25" y="116"/>
                </a:lnTo>
                <a:lnTo>
                  <a:pt x="18" y="113"/>
                </a:lnTo>
                <a:lnTo>
                  <a:pt x="15" y="110"/>
                </a:lnTo>
                <a:lnTo>
                  <a:pt x="12" y="113"/>
                </a:lnTo>
                <a:lnTo>
                  <a:pt x="12" y="113"/>
                </a:lnTo>
                <a:lnTo>
                  <a:pt x="9" y="113"/>
                </a:lnTo>
                <a:lnTo>
                  <a:pt x="6" y="110"/>
                </a:lnTo>
                <a:lnTo>
                  <a:pt x="0" y="110"/>
                </a:lnTo>
                <a:lnTo>
                  <a:pt x="0" y="100"/>
                </a:lnTo>
                <a:lnTo>
                  <a:pt x="0" y="97"/>
                </a:lnTo>
                <a:lnTo>
                  <a:pt x="0" y="94"/>
                </a:lnTo>
                <a:lnTo>
                  <a:pt x="9" y="88"/>
                </a:lnTo>
                <a:lnTo>
                  <a:pt x="12" y="88"/>
                </a:lnTo>
                <a:lnTo>
                  <a:pt x="31" y="81"/>
                </a:lnTo>
                <a:lnTo>
                  <a:pt x="34" y="78"/>
                </a:lnTo>
                <a:lnTo>
                  <a:pt x="47" y="75"/>
                </a:lnTo>
                <a:lnTo>
                  <a:pt x="53" y="72"/>
                </a:lnTo>
                <a:lnTo>
                  <a:pt x="59" y="72"/>
                </a:lnTo>
                <a:lnTo>
                  <a:pt x="59" y="75"/>
                </a:lnTo>
                <a:lnTo>
                  <a:pt x="59" y="75"/>
                </a:lnTo>
                <a:lnTo>
                  <a:pt x="62" y="78"/>
                </a:lnTo>
                <a:lnTo>
                  <a:pt x="62" y="81"/>
                </a:lnTo>
                <a:lnTo>
                  <a:pt x="65" y="81"/>
                </a:lnTo>
                <a:lnTo>
                  <a:pt x="65" y="81"/>
                </a:lnTo>
                <a:lnTo>
                  <a:pt x="68" y="81"/>
                </a:lnTo>
                <a:lnTo>
                  <a:pt x="72" y="78"/>
                </a:lnTo>
                <a:lnTo>
                  <a:pt x="75" y="78"/>
                </a:lnTo>
                <a:lnTo>
                  <a:pt x="81" y="81"/>
                </a:lnTo>
                <a:lnTo>
                  <a:pt x="81" y="84"/>
                </a:lnTo>
                <a:lnTo>
                  <a:pt x="81" y="88"/>
                </a:lnTo>
                <a:lnTo>
                  <a:pt x="81" y="94"/>
                </a:lnTo>
                <a:lnTo>
                  <a:pt x="78" y="97"/>
                </a:lnTo>
                <a:lnTo>
                  <a:pt x="78" y="103"/>
                </a:lnTo>
                <a:lnTo>
                  <a:pt x="75" y="106"/>
                </a:lnTo>
                <a:lnTo>
                  <a:pt x="75" y="110"/>
                </a:lnTo>
                <a:lnTo>
                  <a:pt x="75" y="113"/>
                </a:lnTo>
                <a:lnTo>
                  <a:pt x="78" y="116"/>
                </a:lnTo>
                <a:lnTo>
                  <a:pt x="81" y="122"/>
                </a:lnTo>
                <a:lnTo>
                  <a:pt x="84" y="125"/>
                </a:lnTo>
                <a:lnTo>
                  <a:pt x="87" y="125"/>
                </a:lnTo>
                <a:lnTo>
                  <a:pt x="87" y="128"/>
                </a:lnTo>
                <a:lnTo>
                  <a:pt x="90" y="131"/>
                </a:lnTo>
                <a:lnTo>
                  <a:pt x="90" y="135"/>
                </a:lnTo>
                <a:lnTo>
                  <a:pt x="90" y="135"/>
                </a:lnTo>
                <a:lnTo>
                  <a:pt x="93" y="135"/>
                </a:lnTo>
                <a:lnTo>
                  <a:pt x="93" y="131"/>
                </a:lnTo>
                <a:lnTo>
                  <a:pt x="93" y="125"/>
                </a:lnTo>
                <a:lnTo>
                  <a:pt x="97" y="122"/>
                </a:lnTo>
                <a:lnTo>
                  <a:pt x="97" y="119"/>
                </a:lnTo>
                <a:lnTo>
                  <a:pt x="97" y="113"/>
                </a:lnTo>
                <a:lnTo>
                  <a:pt x="103" y="113"/>
                </a:lnTo>
                <a:lnTo>
                  <a:pt x="106" y="110"/>
                </a:lnTo>
                <a:lnTo>
                  <a:pt x="106" y="106"/>
                </a:lnTo>
                <a:lnTo>
                  <a:pt x="106" y="100"/>
                </a:lnTo>
                <a:lnTo>
                  <a:pt x="103" y="97"/>
                </a:lnTo>
                <a:lnTo>
                  <a:pt x="106" y="97"/>
                </a:lnTo>
                <a:lnTo>
                  <a:pt x="103" y="94"/>
                </a:lnTo>
                <a:lnTo>
                  <a:pt x="103" y="94"/>
                </a:lnTo>
                <a:lnTo>
                  <a:pt x="106" y="94"/>
                </a:lnTo>
                <a:lnTo>
                  <a:pt x="106" y="91"/>
                </a:lnTo>
                <a:lnTo>
                  <a:pt x="109" y="91"/>
                </a:lnTo>
                <a:lnTo>
                  <a:pt x="109" y="88"/>
                </a:lnTo>
                <a:lnTo>
                  <a:pt x="109" y="84"/>
                </a:lnTo>
                <a:lnTo>
                  <a:pt x="106" y="81"/>
                </a:lnTo>
                <a:lnTo>
                  <a:pt x="103" y="75"/>
                </a:lnTo>
                <a:lnTo>
                  <a:pt x="100" y="72"/>
                </a:lnTo>
                <a:lnTo>
                  <a:pt x="93" y="66"/>
                </a:lnTo>
                <a:lnTo>
                  <a:pt x="93" y="66"/>
                </a:lnTo>
                <a:lnTo>
                  <a:pt x="90" y="63"/>
                </a:lnTo>
                <a:lnTo>
                  <a:pt x="87" y="59"/>
                </a:lnTo>
                <a:lnTo>
                  <a:pt x="81" y="56"/>
                </a:lnTo>
                <a:lnTo>
                  <a:pt x="78" y="38"/>
                </a:lnTo>
                <a:lnTo>
                  <a:pt x="84" y="22"/>
                </a:lnTo>
                <a:lnTo>
                  <a:pt x="103" y="22"/>
                </a:lnTo>
                <a:lnTo>
                  <a:pt x="106" y="19"/>
                </a:lnTo>
                <a:lnTo>
                  <a:pt x="106" y="19"/>
                </a:lnTo>
                <a:lnTo>
                  <a:pt x="109" y="19"/>
                </a:lnTo>
                <a:lnTo>
                  <a:pt x="109" y="19"/>
                </a:lnTo>
                <a:lnTo>
                  <a:pt x="112" y="19"/>
                </a:lnTo>
                <a:lnTo>
                  <a:pt x="115" y="22"/>
                </a:lnTo>
                <a:lnTo>
                  <a:pt x="115" y="22"/>
                </a:lnTo>
                <a:lnTo>
                  <a:pt x="119" y="25"/>
                </a:lnTo>
                <a:lnTo>
                  <a:pt x="119" y="25"/>
                </a:lnTo>
                <a:lnTo>
                  <a:pt x="125" y="25"/>
                </a:lnTo>
                <a:lnTo>
                  <a:pt x="128" y="22"/>
                </a:lnTo>
                <a:lnTo>
                  <a:pt x="131" y="22"/>
                </a:lnTo>
                <a:lnTo>
                  <a:pt x="131" y="19"/>
                </a:lnTo>
                <a:lnTo>
                  <a:pt x="134" y="22"/>
                </a:lnTo>
                <a:lnTo>
                  <a:pt x="134" y="22"/>
                </a:lnTo>
                <a:lnTo>
                  <a:pt x="137" y="22"/>
                </a:lnTo>
                <a:lnTo>
                  <a:pt x="140" y="22"/>
                </a:lnTo>
                <a:lnTo>
                  <a:pt x="144" y="22"/>
                </a:lnTo>
                <a:lnTo>
                  <a:pt x="150" y="22"/>
                </a:lnTo>
                <a:lnTo>
                  <a:pt x="150" y="19"/>
                </a:lnTo>
                <a:lnTo>
                  <a:pt x="150" y="16"/>
                </a:lnTo>
                <a:lnTo>
                  <a:pt x="150" y="16"/>
                </a:lnTo>
                <a:lnTo>
                  <a:pt x="153" y="16"/>
                </a:lnTo>
                <a:lnTo>
                  <a:pt x="156" y="16"/>
                </a:lnTo>
                <a:lnTo>
                  <a:pt x="159" y="19"/>
                </a:lnTo>
                <a:lnTo>
                  <a:pt x="162" y="16"/>
                </a:lnTo>
                <a:lnTo>
                  <a:pt x="165" y="16"/>
                </a:lnTo>
                <a:lnTo>
                  <a:pt x="172" y="13"/>
                </a:lnTo>
                <a:lnTo>
                  <a:pt x="175" y="16"/>
                </a:lnTo>
                <a:lnTo>
                  <a:pt x="178" y="13"/>
                </a:lnTo>
                <a:lnTo>
                  <a:pt x="181" y="13"/>
                </a:lnTo>
                <a:lnTo>
                  <a:pt x="184" y="13"/>
                </a:lnTo>
                <a:lnTo>
                  <a:pt x="187" y="9"/>
                </a:lnTo>
                <a:lnTo>
                  <a:pt x="190" y="6"/>
                </a:lnTo>
                <a:lnTo>
                  <a:pt x="194" y="6"/>
                </a:lnTo>
                <a:lnTo>
                  <a:pt x="197" y="3"/>
                </a:lnTo>
                <a:lnTo>
                  <a:pt x="200" y="3"/>
                </a:lnTo>
                <a:lnTo>
                  <a:pt x="203" y="0"/>
                </a:lnTo>
                <a:lnTo>
                  <a:pt x="203" y="0"/>
                </a:lnTo>
                <a:lnTo>
                  <a:pt x="203" y="3"/>
                </a:lnTo>
                <a:lnTo>
                  <a:pt x="203" y="6"/>
                </a:lnTo>
                <a:lnTo>
                  <a:pt x="203" y="9"/>
                </a:lnTo>
                <a:lnTo>
                  <a:pt x="203" y="9"/>
                </a:lnTo>
                <a:lnTo>
                  <a:pt x="200" y="16"/>
                </a:lnTo>
                <a:lnTo>
                  <a:pt x="200" y="19"/>
                </a:lnTo>
                <a:lnTo>
                  <a:pt x="200" y="19"/>
                </a:lnTo>
                <a:lnTo>
                  <a:pt x="200" y="19"/>
                </a:lnTo>
                <a:lnTo>
                  <a:pt x="197" y="22"/>
                </a:lnTo>
                <a:lnTo>
                  <a:pt x="200" y="28"/>
                </a:lnTo>
                <a:lnTo>
                  <a:pt x="200" y="31"/>
                </a:lnTo>
                <a:lnTo>
                  <a:pt x="200" y="34"/>
                </a:lnTo>
                <a:lnTo>
                  <a:pt x="200" y="38"/>
                </a:lnTo>
                <a:lnTo>
                  <a:pt x="200" y="41"/>
                </a:lnTo>
                <a:lnTo>
                  <a:pt x="203" y="44"/>
                </a:lnTo>
                <a:lnTo>
                  <a:pt x="200" y="47"/>
                </a:lnTo>
                <a:lnTo>
                  <a:pt x="200" y="53"/>
                </a:lnTo>
                <a:lnTo>
                  <a:pt x="200" y="63"/>
                </a:lnTo>
                <a:lnTo>
                  <a:pt x="197" y="63"/>
                </a:lnTo>
                <a:lnTo>
                  <a:pt x="200" y="63"/>
                </a:lnTo>
                <a:lnTo>
                  <a:pt x="200" y="72"/>
                </a:lnTo>
                <a:lnTo>
                  <a:pt x="197" y="72"/>
                </a:lnTo>
                <a:lnTo>
                  <a:pt x="197" y="75"/>
                </a:lnTo>
                <a:lnTo>
                  <a:pt x="197" y="75"/>
                </a:lnTo>
                <a:lnTo>
                  <a:pt x="200" y="75"/>
                </a:lnTo>
                <a:lnTo>
                  <a:pt x="203" y="75"/>
                </a:lnTo>
                <a:lnTo>
                  <a:pt x="203" y="84"/>
                </a:lnTo>
                <a:lnTo>
                  <a:pt x="200" y="88"/>
                </a:lnTo>
                <a:lnTo>
                  <a:pt x="200" y="88"/>
                </a:lnTo>
                <a:lnTo>
                  <a:pt x="200" y="91"/>
                </a:lnTo>
                <a:lnTo>
                  <a:pt x="200" y="91"/>
                </a:lnTo>
                <a:lnTo>
                  <a:pt x="197" y="91"/>
                </a:lnTo>
                <a:lnTo>
                  <a:pt x="194" y="94"/>
                </a:lnTo>
                <a:lnTo>
                  <a:pt x="194" y="97"/>
                </a:lnTo>
                <a:lnTo>
                  <a:pt x="197" y="94"/>
                </a:lnTo>
                <a:lnTo>
                  <a:pt x="197" y="94"/>
                </a:lnTo>
                <a:lnTo>
                  <a:pt x="197" y="97"/>
                </a:lnTo>
                <a:lnTo>
                  <a:pt x="197" y="103"/>
                </a:lnTo>
                <a:lnTo>
                  <a:pt x="194" y="103"/>
                </a:lnTo>
                <a:lnTo>
                  <a:pt x="190" y="106"/>
                </a:lnTo>
                <a:lnTo>
                  <a:pt x="190" y="110"/>
                </a:lnTo>
                <a:lnTo>
                  <a:pt x="184" y="116"/>
                </a:lnTo>
                <a:lnTo>
                  <a:pt x="181" y="116"/>
                </a:lnTo>
                <a:lnTo>
                  <a:pt x="181" y="119"/>
                </a:lnTo>
                <a:lnTo>
                  <a:pt x="169" y="128"/>
                </a:lnTo>
                <a:lnTo>
                  <a:pt x="169" y="128"/>
                </a:lnTo>
                <a:lnTo>
                  <a:pt x="165" y="128"/>
                </a:lnTo>
                <a:lnTo>
                  <a:pt x="153" y="138"/>
                </a:lnTo>
                <a:lnTo>
                  <a:pt x="150" y="135"/>
                </a:lnTo>
                <a:lnTo>
                  <a:pt x="150" y="138"/>
                </a:lnTo>
                <a:lnTo>
                  <a:pt x="144" y="141"/>
                </a:lnTo>
                <a:lnTo>
                  <a:pt x="134" y="144"/>
                </a:lnTo>
                <a:lnTo>
                  <a:pt x="134" y="144"/>
                </a:lnTo>
                <a:lnTo>
                  <a:pt x="134" y="147"/>
                </a:lnTo>
                <a:lnTo>
                  <a:pt x="128" y="150"/>
                </a:lnTo>
                <a:lnTo>
                  <a:pt x="125" y="153"/>
                </a:lnTo>
                <a:lnTo>
                  <a:pt x="125" y="150"/>
                </a:lnTo>
                <a:lnTo>
                  <a:pt x="125" y="153"/>
                </a:lnTo>
                <a:lnTo>
                  <a:pt x="122" y="156"/>
                </a:lnTo>
                <a:lnTo>
                  <a:pt x="122" y="160"/>
                </a:lnTo>
                <a:lnTo>
                  <a:pt x="112" y="163"/>
                </a:lnTo>
                <a:lnTo>
                  <a:pt x="112" y="166"/>
                </a:lnTo>
                <a:lnTo>
                  <a:pt x="109" y="166"/>
                </a:lnTo>
                <a:lnTo>
                  <a:pt x="109" y="166"/>
                </a:lnTo>
                <a:lnTo>
                  <a:pt x="109" y="169"/>
                </a:lnTo>
                <a:lnTo>
                  <a:pt x="103" y="169"/>
                </a:lnTo>
                <a:lnTo>
                  <a:pt x="93" y="178"/>
                </a:lnTo>
                <a:lnTo>
                  <a:pt x="93" y="181"/>
                </a:lnTo>
                <a:lnTo>
                  <a:pt x="90" y="185"/>
                </a:lnTo>
                <a:lnTo>
                  <a:pt x="87" y="185"/>
                </a:lnTo>
                <a:lnTo>
                  <a:pt x="84" y="188"/>
                </a:lnTo>
                <a:lnTo>
                  <a:pt x="81" y="185"/>
                </a:lnTo>
                <a:lnTo>
                  <a:pt x="78" y="185"/>
                </a:lnTo>
                <a:lnTo>
                  <a:pt x="78" y="188"/>
                </a:lnTo>
                <a:lnTo>
                  <a:pt x="81" y="188"/>
                </a:lnTo>
                <a:lnTo>
                  <a:pt x="81" y="191"/>
                </a:lnTo>
                <a:lnTo>
                  <a:pt x="78" y="194"/>
                </a:lnTo>
                <a:lnTo>
                  <a:pt x="78" y="197"/>
                </a:lnTo>
                <a:lnTo>
                  <a:pt x="78" y="200"/>
                </a:lnTo>
                <a:lnTo>
                  <a:pt x="84" y="206"/>
                </a:lnTo>
                <a:lnTo>
                  <a:pt x="84" y="210"/>
                </a:lnTo>
                <a:lnTo>
                  <a:pt x="81" y="213"/>
                </a:lnTo>
                <a:lnTo>
                  <a:pt x="81" y="213"/>
                </a:lnTo>
                <a:lnTo>
                  <a:pt x="84" y="216"/>
                </a:lnTo>
                <a:lnTo>
                  <a:pt x="84" y="222"/>
                </a:lnTo>
                <a:lnTo>
                  <a:pt x="87" y="225"/>
                </a:lnTo>
                <a:lnTo>
                  <a:pt x="87" y="238"/>
                </a:lnTo>
                <a:lnTo>
                  <a:pt x="87" y="241"/>
                </a:lnTo>
                <a:lnTo>
                  <a:pt x="87" y="241"/>
                </a:lnTo>
                <a:lnTo>
                  <a:pt x="87" y="238"/>
                </a:lnTo>
                <a:lnTo>
                  <a:pt x="90" y="235"/>
                </a:lnTo>
                <a:lnTo>
                  <a:pt x="90" y="238"/>
                </a:lnTo>
                <a:lnTo>
                  <a:pt x="93" y="238"/>
                </a:lnTo>
                <a:lnTo>
                  <a:pt x="90" y="244"/>
                </a:lnTo>
                <a:lnTo>
                  <a:pt x="90" y="244"/>
                </a:lnTo>
                <a:lnTo>
                  <a:pt x="90" y="250"/>
                </a:lnTo>
                <a:lnTo>
                  <a:pt x="90" y="250"/>
                </a:lnTo>
                <a:lnTo>
                  <a:pt x="87" y="257"/>
                </a:lnTo>
                <a:lnTo>
                  <a:pt x="87" y="260"/>
                </a:lnTo>
                <a:lnTo>
                  <a:pt x="87" y="263"/>
                </a:lnTo>
                <a:lnTo>
                  <a:pt x="87" y="266"/>
                </a:lnTo>
                <a:lnTo>
                  <a:pt x="84" y="266"/>
                </a:lnTo>
                <a:lnTo>
                  <a:pt x="87" y="269"/>
                </a:lnTo>
                <a:lnTo>
                  <a:pt x="90" y="269"/>
                </a:lnTo>
                <a:lnTo>
                  <a:pt x="90" y="269"/>
                </a:lnTo>
                <a:lnTo>
                  <a:pt x="87" y="275"/>
                </a:lnTo>
                <a:lnTo>
                  <a:pt x="87" y="278"/>
                </a:lnTo>
                <a:lnTo>
                  <a:pt x="78" y="288"/>
                </a:lnTo>
                <a:lnTo>
                  <a:pt x="65" y="294"/>
                </a:lnTo>
                <a:lnTo>
                  <a:pt x="50" y="297"/>
                </a:lnTo>
                <a:lnTo>
                  <a:pt x="43" y="303"/>
                </a:lnTo>
                <a:lnTo>
                  <a:pt x="37" y="303"/>
                </a:lnTo>
                <a:lnTo>
                  <a:pt x="37" y="307"/>
                </a:lnTo>
                <a:lnTo>
                  <a:pt x="34" y="307"/>
                </a:lnTo>
                <a:lnTo>
                  <a:pt x="31" y="313"/>
                </a:lnTo>
                <a:lnTo>
                  <a:pt x="31" y="313"/>
                </a:lnTo>
                <a:lnTo>
                  <a:pt x="28" y="313"/>
                </a:lnTo>
                <a:lnTo>
                  <a:pt x="28" y="316"/>
                </a:lnTo>
                <a:lnTo>
                  <a:pt x="31" y="319"/>
                </a:lnTo>
                <a:lnTo>
                  <a:pt x="31" y="322"/>
                </a:lnTo>
                <a:lnTo>
                  <a:pt x="31" y="319"/>
                </a:lnTo>
                <a:lnTo>
                  <a:pt x="34" y="322"/>
                </a:lnTo>
                <a:lnTo>
                  <a:pt x="37" y="316"/>
                </a:lnTo>
                <a:lnTo>
                  <a:pt x="37" y="316"/>
                </a:lnTo>
                <a:lnTo>
                  <a:pt x="37" y="319"/>
                </a:lnTo>
                <a:lnTo>
                  <a:pt x="37" y="325"/>
                </a:lnTo>
                <a:lnTo>
                  <a:pt x="34" y="329"/>
                </a:lnTo>
                <a:lnTo>
                  <a:pt x="34" y="332"/>
                </a:lnTo>
                <a:lnTo>
                  <a:pt x="31" y="332"/>
                </a:lnTo>
                <a:lnTo>
                  <a:pt x="25" y="329"/>
                </a:lnTo>
                <a:lnTo>
                  <a:pt x="22" y="329"/>
                </a:lnTo>
                <a:lnTo>
                  <a:pt x="22" y="329"/>
                </a:lnTo>
                <a:lnTo>
                  <a:pt x="22" y="325"/>
                </a:lnTo>
                <a:lnTo>
                  <a:pt x="22" y="322"/>
                </a:lnTo>
                <a:lnTo>
                  <a:pt x="25" y="322"/>
                </a:lnTo>
                <a:lnTo>
                  <a:pt x="22" y="319"/>
                </a:lnTo>
                <a:lnTo>
                  <a:pt x="18" y="316"/>
                </a:lnTo>
                <a:lnTo>
                  <a:pt x="18" y="316"/>
                </a:lnTo>
                <a:lnTo>
                  <a:pt x="18" y="316"/>
                </a:lnTo>
                <a:lnTo>
                  <a:pt x="18" y="307"/>
                </a:lnTo>
                <a:lnTo>
                  <a:pt x="18" y="303"/>
                </a:lnTo>
                <a:lnTo>
                  <a:pt x="18" y="297"/>
                </a:lnTo>
                <a:lnTo>
                  <a:pt x="18" y="282"/>
                </a:lnTo>
                <a:lnTo>
                  <a:pt x="18" y="275"/>
                </a:lnTo>
                <a:lnTo>
                  <a:pt x="15" y="272"/>
                </a:lnTo>
                <a:lnTo>
                  <a:pt x="15" y="269"/>
                </a:lnTo>
                <a:lnTo>
                  <a:pt x="18" y="269"/>
                </a:lnTo>
                <a:lnTo>
                  <a:pt x="18" y="260"/>
                </a:lnTo>
                <a:lnTo>
                  <a:pt x="15" y="253"/>
                </a:lnTo>
                <a:lnTo>
                  <a:pt x="12" y="247"/>
                </a:lnTo>
                <a:lnTo>
                  <a:pt x="12" y="244"/>
                </a:lnTo>
                <a:lnTo>
                  <a:pt x="12" y="24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9" name="Freeform 157">
            <a:extLst>
              <a:ext uri="{FF2B5EF4-FFF2-40B4-BE49-F238E27FC236}">
                <a16:creationId xmlns:a16="http://schemas.microsoft.com/office/drawing/2014/main" id="{52C8BAFF-ABC4-6E30-EECF-786EC218382B}"/>
              </a:ext>
            </a:extLst>
          </p:cNvPr>
          <p:cNvSpPr>
            <a:spLocks/>
          </p:cNvSpPr>
          <p:nvPr userDrawn="1"/>
        </p:nvSpPr>
        <p:spPr bwMode="auto">
          <a:xfrm>
            <a:off x="15035816" y="11016531"/>
            <a:ext cx="88896" cy="98426"/>
          </a:xfrm>
          <a:custGeom>
            <a:avLst/>
            <a:gdLst>
              <a:gd name="T0" fmla="*/ 21 w 28"/>
              <a:gd name="T1" fmla="*/ 9 h 31"/>
              <a:gd name="T2" fmla="*/ 21 w 28"/>
              <a:gd name="T3" fmla="*/ 9 h 31"/>
              <a:gd name="T4" fmla="*/ 21 w 28"/>
              <a:gd name="T5" fmla="*/ 9 h 31"/>
              <a:gd name="T6" fmla="*/ 25 w 28"/>
              <a:gd name="T7" fmla="*/ 12 h 31"/>
              <a:gd name="T8" fmla="*/ 28 w 28"/>
              <a:gd name="T9" fmla="*/ 15 h 31"/>
              <a:gd name="T10" fmla="*/ 25 w 28"/>
              <a:gd name="T11" fmla="*/ 15 h 31"/>
              <a:gd name="T12" fmla="*/ 25 w 28"/>
              <a:gd name="T13" fmla="*/ 18 h 31"/>
              <a:gd name="T14" fmla="*/ 25 w 28"/>
              <a:gd name="T15" fmla="*/ 22 h 31"/>
              <a:gd name="T16" fmla="*/ 25 w 28"/>
              <a:gd name="T17" fmla="*/ 22 h 31"/>
              <a:gd name="T18" fmla="*/ 25 w 28"/>
              <a:gd name="T19" fmla="*/ 25 h 31"/>
              <a:gd name="T20" fmla="*/ 21 w 28"/>
              <a:gd name="T21" fmla="*/ 25 h 31"/>
              <a:gd name="T22" fmla="*/ 21 w 28"/>
              <a:gd name="T23" fmla="*/ 28 h 31"/>
              <a:gd name="T24" fmla="*/ 21 w 28"/>
              <a:gd name="T25" fmla="*/ 31 h 31"/>
              <a:gd name="T26" fmla="*/ 18 w 28"/>
              <a:gd name="T27" fmla="*/ 31 h 31"/>
              <a:gd name="T28" fmla="*/ 9 w 28"/>
              <a:gd name="T29" fmla="*/ 31 h 31"/>
              <a:gd name="T30" fmla="*/ 3 w 28"/>
              <a:gd name="T31" fmla="*/ 28 h 31"/>
              <a:gd name="T32" fmla="*/ 3 w 28"/>
              <a:gd name="T33" fmla="*/ 25 h 31"/>
              <a:gd name="T34" fmla="*/ 0 w 28"/>
              <a:gd name="T35" fmla="*/ 22 h 31"/>
              <a:gd name="T36" fmla="*/ 0 w 28"/>
              <a:gd name="T37" fmla="*/ 18 h 31"/>
              <a:gd name="T38" fmla="*/ 0 w 28"/>
              <a:gd name="T39" fmla="*/ 15 h 31"/>
              <a:gd name="T40" fmla="*/ 6 w 28"/>
              <a:gd name="T41" fmla="*/ 6 h 31"/>
              <a:gd name="T42" fmla="*/ 6 w 28"/>
              <a:gd name="T43" fmla="*/ 3 h 31"/>
              <a:gd name="T44" fmla="*/ 9 w 28"/>
              <a:gd name="T45" fmla="*/ 0 h 31"/>
              <a:gd name="T46" fmla="*/ 15 w 28"/>
              <a:gd name="T47" fmla="*/ 3 h 31"/>
              <a:gd name="T48" fmla="*/ 18 w 28"/>
              <a:gd name="T49" fmla="*/ 6 h 31"/>
              <a:gd name="T50" fmla="*/ 21 w 28"/>
              <a:gd name="T51" fmla="*/ 9 h 31"/>
              <a:gd name="T52" fmla="*/ 21 w 28"/>
              <a:gd name="T53"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31">
                <a:moveTo>
                  <a:pt x="21" y="9"/>
                </a:moveTo>
                <a:lnTo>
                  <a:pt x="21" y="9"/>
                </a:lnTo>
                <a:lnTo>
                  <a:pt x="21" y="9"/>
                </a:lnTo>
                <a:lnTo>
                  <a:pt x="25" y="12"/>
                </a:lnTo>
                <a:lnTo>
                  <a:pt x="28" y="15"/>
                </a:lnTo>
                <a:lnTo>
                  <a:pt x="25" y="15"/>
                </a:lnTo>
                <a:lnTo>
                  <a:pt x="25" y="18"/>
                </a:lnTo>
                <a:lnTo>
                  <a:pt x="25" y="22"/>
                </a:lnTo>
                <a:lnTo>
                  <a:pt x="25" y="22"/>
                </a:lnTo>
                <a:lnTo>
                  <a:pt x="25" y="25"/>
                </a:lnTo>
                <a:lnTo>
                  <a:pt x="21" y="25"/>
                </a:lnTo>
                <a:lnTo>
                  <a:pt x="21" y="28"/>
                </a:lnTo>
                <a:lnTo>
                  <a:pt x="21" y="31"/>
                </a:lnTo>
                <a:lnTo>
                  <a:pt x="18" y="31"/>
                </a:lnTo>
                <a:lnTo>
                  <a:pt x="9" y="31"/>
                </a:lnTo>
                <a:lnTo>
                  <a:pt x="3" y="28"/>
                </a:lnTo>
                <a:lnTo>
                  <a:pt x="3" y="25"/>
                </a:lnTo>
                <a:lnTo>
                  <a:pt x="0" y="22"/>
                </a:lnTo>
                <a:lnTo>
                  <a:pt x="0" y="18"/>
                </a:lnTo>
                <a:lnTo>
                  <a:pt x="0" y="15"/>
                </a:lnTo>
                <a:lnTo>
                  <a:pt x="6" y="6"/>
                </a:lnTo>
                <a:lnTo>
                  <a:pt x="6" y="3"/>
                </a:lnTo>
                <a:lnTo>
                  <a:pt x="9" y="0"/>
                </a:lnTo>
                <a:lnTo>
                  <a:pt x="15" y="3"/>
                </a:lnTo>
                <a:lnTo>
                  <a:pt x="18" y="6"/>
                </a:lnTo>
                <a:lnTo>
                  <a:pt x="21" y="9"/>
                </a:lnTo>
                <a:lnTo>
                  <a:pt x="21" y="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0" name="Freeform 158">
            <a:extLst>
              <a:ext uri="{FF2B5EF4-FFF2-40B4-BE49-F238E27FC236}">
                <a16:creationId xmlns:a16="http://schemas.microsoft.com/office/drawing/2014/main" id="{25217F5F-8652-3689-97A5-45743312DDE6}"/>
              </a:ext>
            </a:extLst>
          </p:cNvPr>
          <p:cNvSpPr>
            <a:spLocks noEditPoints="1"/>
          </p:cNvSpPr>
          <p:nvPr userDrawn="1"/>
        </p:nvSpPr>
        <p:spPr bwMode="auto">
          <a:xfrm>
            <a:off x="14140529" y="10787930"/>
            <a:ext cx="1012760" cy="863600"/>
          </a:xfrm>
          <a:custGeom>
            <a:avLst/>
            <a:gdLst>
              <a:gd name="T0" fmla="*/ 7 w 319"/>
              <a:gd name="T1" fmla="*/ 128 h 272"/>
              <a:gd name="T2" fmla="*/ 19 w 319"/>
              <a:gd name="T3" fmla="*/ 131 h 272"/>
              <a:gd name="T4" fmla="*/ 38 w 319"/>
              <a:gd name="T5" fmla="*/ 140 h 272"/>
              <a:gd name="T6" fmla="*/ 50 w 319"/>
              <a:gd name="T7" fmla="*/ 140 h 272"/>
              <a:gd name="T8" fmla="*/ 57 w 319"/>
              <a:gd name="T9" fmla="*/ 131 h 272"/>
              <a:gd name="T10" fmla="*/ 82 w 319"/>
              <a:gd name="T11" fmla="*/ 62 h 272"/>
              <a:gd name="T12" fmla="*/ 85 w 319"/>
              <a:gd name="T13" fmla="*/ 94 h 272"/>
              <a:gd name="T14" fmla="*/ 107 w 319"/>
              <a:gd name="T15" fmla="*/ 94 h 272"/>
              <a:gd name="T16" fmla="*/ 125 w 319"/>
              <a:gd name="T17" fmla="*/ 81 h 272"/>
              <a:gd name="T18" fmla="*/ 147 w 319"/>
              <a:gd name="T19" fmla="*/ 68 h 272"/>
              <a:gd name="T20" fmla="*/ 166 w 319"/>
              <a:gd name="T21" fmla="*/ 75 h 272"/>
              <a:gd name="T22" fmla="*/ 182 w 319"/>
              <a:gd name="T23" fmla="*/ 75 h 272"/>
              <a:gd name="T24" fmla="*/ 185 w 319"/>
              <a:gd name="T25" fmla="*/ 59 h 272"/>
              <a:gd name="T26" fmla="*/ 197 w 319"/>
              <a:gd name="T27" fmla="*/ 50 h 272"/>
              <a:gd name="T28" fmla="*/ 207 w 319"/>
              <a:gd name="T29" fmla="*/ 43 h 272"/>
              <a:gd name="T30" fmla="*/ 213 w 319"/>
              <a:gd name="T31" fmla="*/ 25 h 272"/>
              <a:gd name="T32" fmla="*/ 222 w 319"/>
              <a:gd name="T33" fmla="*/ 18 h 272"/>
              <a:gd name="T34" fmla="*/ 238 w 319"/>
              <a:gd name="T35" fmla="*/ 12 h 272"/>
              <a:gd name="T36" fmla="*/ 247 w 319"/>
              <a:gd name="T37" fmla="*/ 6 h 272"/>
              <a:gd name="T38" fmla="*/ 263 w 319"/>
              <a:gd name="T39" fmla="*/ 0 h 272"/>
              <a:gd name="T40" fmla="*/ 278 w 319"/>
              <a:gd name="T41" fmla="*/ 6 h 272"/>
              <a:gd name="T42" fmla="*/ 297 w 319"/>
              <a:gd name="T43" fmla="*/ 12 h 272"/>
              <a:gd name="T44" fmla="*/ 300 w 319"/>
              <a:gd name="T45" fmla="*/ 37 h 272"/>
              <a:gd name="T46" fmla="*/ 303 w 319"/>
              <a:gd name="T47" fmla="*/ 72 h 272"/>
              <a:gd name="T48" fmla="*/ 288 w 319"/>
              <a:gd name="T49" fmla="*/ 75 h 272"/>
              <a:gd name="T50" fmla="*/ 285 w 319"/>
              <a:gd name="T51" fmla="*/ 97 h 272"/>
              <a:gd name="T52" fmla="*/ 303 w 319"/>
              <a:gd name="T53" fmla="*/ 100 h 272"/>
              <a:gd name="T54" fmla="*/ 319 w 319"/>
              <a:gd name="T55" fmla="*/ 97 h 272"/>
              <a:gd name="T56" fmla="*/ 316 w 319"/>
              <a:gd name="T57" fmla="*/ 112 h 272"/>
              <a:gd name="T58" fmla="*/ 300 w 319"/>
              <a:gd name="T59" fmla="*/ 140 h 272"/>
              <a:gd name="T60" fmla="*/ 288 w 319"/>
              <a:gd name="T61" fmla="*/ 150 h 272"/>
              <a:gd name="T62" fmla="*/ 275 w 319"/>
              <a:gd name="T63" fmla="*/ 165 h 272"/>
              <a:gd name="T64" fmla="*/ 253 w 319"/>
              <a:gd name="T65" fmla="*/ 197 h 272"/>
              <a:gd name="T66" fmla="*/ 225 w 319"/>
              <a:gd name="T67" fmla="*/ 225 h 272"/>
              <a:gd name="T68" fmla="*/ 200 w 319"/>
              <a:gd name="T69" fmla="*/ 241 h 272"/>
              <a:gd name="T70" fmla="*/ 182 w 319"/>
              <a:gd name="T71" fmla="*/ 247 h 272"/>
              <a:gd name="T72" fmla="*/ 172 w 319"/>
              <a:gd name="T73" fmla="*/ 256 h 272"/>
              <a:gd name="T74" fmla="*/ 157 w 319"/>
              <a:gd name="T75" fmla="*/ 259 h 272"/>
              <a:gd name="T76" fmla="*/ 128 w 319"/>
              <a:gd name="T77" fmla="*/ 253 h 272"/>
              <a:gd name="T78" fmla="*/ 107 w 319"/>
              <a:gd name="T79" fmla="*/ 256 h 272"/>
              <a:gd name="T80" fmla="*/ 97 w 319"/>
              <a:gd name="T81" fmla="*/ 262 h 272"/>
              <a:gd name="T82" fmla="*/ 78 w 319"/>
              <a:gd name="T83" fmla="*/ 262 h 272"/>
              <a:gd name="T84" fmla="*/ 63 w 319"/>
              <a:gd name="T85" fmla="*/ 269 h 272"/>
              <a:gd name="T86" fmla="*/ 44 w 319"/>
              <a:gd name="T87" fmla="*/ 259 h 272"/>
              <a:gd name="T88" fmla="*/ 35 w 319"/>
              <a:gd name="T89" fmla="*/ 256 h 272"/>
              <a:gd name="T90" fmla="*/ 32 w 319"/>
              <a:gd name="T91" fmla="*/ 253 h 272"/>
              <a:gd name="T92" fmla="*/ 22 w 319"/>
              <a:gd name="T93" fmla="*/ 228 h 272"/>
              <a:gd name="T94" fmla="*/ 32 w 319"/>
              <a:gd name="T95" fmla="*/ 222 h 272"/>
              <a:gd name="T96" fmla="*/ 25 w 319"/>
              <a:gd name="T97" fmla="*/ 190 h 272"/>
              <a:gd name="T98" fmla="*/ 10 w 319"/>
              <a:gd name="T99" fmla="*/ 144 h 272"/>
              <a:gd name="T100" fmla="*/ 210 w 319"/>
              <a:gd name="T101" fmla="*/ 172 h 272"/>
              <a:gd name="T102" fmla="*/ 225 w 319"/>
              <a:gd name="T103" fmla="*/ 178 h 272"/>
              <a:gd name="T104" fmla="*/ 238 w 319"/>
              <a:gd name="T105" fmla="*/ 165 h 272"/>
              <a:gd name="T106" fmla="*/ 241 w 319"/>
              <a:gd name="T107" fmla="*/ 159 h 272"/>
              <a:gd name="T108" fmla="*/ 241 w 319"/>
              <a:gd name="T109" fmla="*/ 137 h 272"/>
              <a:gd name="T110" fmla="*/ 228 w 319"/>
              <a:gd name="T111" fmla="*/ 137 h 272"/>
              <a:gd name="T112" fmla="*/ 213 w 319"/>
              <a:gd name="T113" fmla="*/ 147 h 272"/>
              <a:gd name="T114" fmla="*/ 207 w 319"/>
              <a:gd name="T115" fmla="*/ 16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9" h="272">
                <a:moveTo>
                  <a:pt x="0" y="134"/>
                </a:moveTo>
                <a:lnTo>
                  <a:pt x="3" y="131"/>
                </a:lnTo>
                <a:lnTo>
                  <a:pt x="10" y="131"/>
                </a:lnTo>
                <a:lnTo>
                  <a:pt x="10" y="128"/>
                </a:lnTo>
                <a:lnTo>
                  <a:pt x="7" y="128"/>
                </a:lnTo>
                <a:lnTo>
                  <a:pt x="10" y="125"/>
                </a:lnTo>
                <a:lnTo>
                  <a:pt x="13" y="122"/>
                </a:lnTo>
                <a:lnTo>
                  <a:pt x="16" y="125"/>
                </a:lnTo>
                <a:lnTo>
                  <a:pt x="19" y="125"/>
                </a:lnTo>
                <a:lnTo>
                  <a:pt x="19" y="131"/>
                </a:lnTo>
                <a:lnTo>
                  <a:pt x="22" y="137"/>
                </a:lnTo>
                <a:lnTo>
                  <a:pt x="28" y="137"/>
                </a:lnTo>
                <a:lnTo>
                  <a:pt x="32" y="140"/>
                </a:lnTo>
                <a:lnTo>
                  <a:pt x="35" y="140"/>
                </a:lnTo>
                <a:lnTo>
                  <a:pt x="38" y="140"/>
                </a:lnTo>
                <a:lnTo>
                  <a:pt x="41" y="140"/>
                </a:lnTo>
                <a:lnTo>
                  <a:pt x="41" y="140"/>
                </a:lnTo>
                <a:lnTo>
                  <a:pt x="44" y="140"/>
                </a:lnTo>
                <a:lnTo>
                  <a:pt x="47" y="140"/>
                </a:lnTo>
                <a:lnTo>
                  <a:pt x="50" y="140"/>
                </a:lnTo>
                <a:lnTo>
                  <a:pt x="50" y="144"/>
                </a:lnTo>
                <a:lnTo>
                  <a:pt x="50" y="137"/>
                </a:lnTo>
                <a:lnTo>
                  <a:pt x="53" y="137"/>
                </a:lnTo>
                <a:lnTo>
                  <a:pt x="57" y="134"/>
                </a:lnTo>
                <a:lnTo>
                  <a:pt x="57" y="131"/>
                </a:lnTo>
                <a:lnTo>
                  <a:pt x="63" y="128"/>
                </a:lnTo>
                <a:lnTo>
                  <a:pt x="69" y="128"/>
                </a:lnTo>
                <a:lnTo>
                  <a:pt x="72" y="128"/>
                </a:lnTo>
                <a:lnTo>
                  <a:pt x="75" y="59"/>
                </a:lnTo>
                <a:lnTo>
                  <a:pt x="82" y="62"/>
                </a:lnTo>
                <a:lnTo>
                  <a:pt x="82" y="68"/>
                </a:lnTo>
                <a:lnTo>
                  <a:pt x="88" y="78"/>
                </a:lnTo>
                <a:lnTo>
                  <a:pt x="88" y="84"/>
                </a:lnTo>
                <a:lnTo>
                  <a:pt x="85" y="90"/>
                </a:lnTo>
                <a:lnTo>
                  <a:pt x="85" y="94"/>
                </a:lnTo>
                <a:lnTo>
                  <a:pt x="91" y="94"/>
                </a:lnTo>
                <a:lnTo>
                  <a:pt x="94" y="94"/>
                </a:lnTo>
                <a:lnTo>
                  <a:pt x="97" y="94"/>
                </a:lnTo>
                <a:lnTo>
                  <a:pt x="103" y="94"/>
                </a:lnTo>
                <a:lnTo>
                  <a:pt x="107" y="94"/>
                </a:lnTo>
                <a:lnTo>
                  <a:pt x="110" y="90"/>
                </a:lnTo>
                <a:lnTo>
                  <a:pt x="113" y="87"/>
                </a:lnTo>
                <a:lnTo>
                  <a:pt x="116" y="87"/>
                </a:lnTo>
                <a:lnTo>
                  <a:pt x="122" y="84"/>
                </a:lnTo>
                <a:lnTo>
                  <a:pt x="125" y="81"/>
                </a:lnTo>
                <a:lnTo>
                  <a:pt x="128" y="72"/>
                </a:lnTo>
                <a:lnTo>
                  <a:pt x="135" y="68"/>
                </a:lnTo>
                <a:lnTo>
                  <a:pt x="138" y="65"/>
                </a:lnTo>
                <a:lnTo>
                  <a:pt x="144" y="68"/>
                </a:lnTo>
                <a:lnTo>
                  <a:pt x="147" y="68"/>
                </a:lnTo>
                <a:lnTo>
                  <a:pt x="150" y="72"/>
                </a:lnTo>
                <a:lnTo>
                  <a:pt x="157" y="75"/>
                </a:lnTo>
                <a:lnTo>
                  <a:pt x="160" y="75"/>
                </a:lnTo>
                <a:lnTo>
                  <a:pt x="163" y="75"/>
                </a:lnTo>
                <a:lnTo>
                  <a:pt x="166" y="75"/>
                </a:lnTo>
                <a:lnTo>
                  <a:pt x="172" y="75"/>
                </a:lnTo>
                <a:lnTo>
                  <a:pt x="175" y="75"/>
                </a:lnTo>
                <a:lnTo>
                  <a:pt x="175" y="75"/>
                </a:lnTo>
                <a:lnTo>
                  <a:pt x="178" y="78"/>
                </a:lnTo>
                <a:lnTo>
                  <a:pt x="182" y="75"/>
                </a:lnTo>
                <a:lnTo>
                  <a:pt x="182" y="72"/>
                </a:lnTo>
                <a:lnTo>
                  <a:pt x="182" y="68"/>
                </a:lnTo>
                <a:lnTo>
                  <a:pt x="182" y="65"/>
                </a:lnTo>
                <a:lnTo>
                  <a:pt x="185" y="65"/>
                </a:lnTo>
                <a:lnTo>
                  <a:pt x="185" y="59"/>
                </a:lnTo>
                <a:lnTo>
                  <a:pt x="185" y="56"/>
                </a:lnTo>
                <a:lnTo>
                  <a:pt x="191" y="56"/>
                </a:lnTo>
                <a:lnTo>
                  <a:pt x="194" y="53"/>
                </a:lnTo>
                <a:lnTo>
                  <a:pt x="197" y="53"/>
                </a:lnTo>
                <a:lnTo>
                  <a:pt x="197" y="50"/>
                </a:lnTo>
                <a:lnTo>
                  <a:pt x="197" y="50"/>
                </a:lnTo>
                <a:lnTo>
                  <a:pt x="200" y="47"/>
                </a:lnTo>
                <a:lnTo>
                  <a:pt x="200" y="47"/>
                </a:lnTo>
                <a:lnTo>
                  <a:pt x="203" y="43"/>
                </a:lnTo>
                <a:lnTo>
                  <a:pt x="207" y="43"/>
                </a:lnTo>
                <a:lnTo>
                  <a:pt x="207" y="43"/>
                </a:lnTo>
                <a:lnTo>
                  <a:pt x="207" y="40"/>
                </a:lnTo>
                <a:lnTo>
                  <a:pt x="207" y="37"/>
                </a:lnTo>
                <a:lnTo>
                  <a:pt x="207" y="34"/>
                </a:lnTo>
                <a:lnTo>
                  <a:pt x="213" y="25"/>
                </a:lnTo>
                <a:lnTo>
                  <a:pt x="216" y="25"/>
                </a:lnTo>
                <a:lnTo>
                  <a:pt x="219" y="25"/>
                </a:lnTo>
                <a:lnTo>
                  <a:pt x="219" y="22"/>
                </a:lnTo>
                <a:lnTo>
                  <a:pt x="222" y="22"/>
                </a:lnTo>
                <a:lnTo>
                  <a:pt x="222" y="18"/>
                </a:lnTo>
                <a:lnTo>
                  <a:pt x="225" y="18"/>
                </a:lnTo>
                <a:lnTo>
                  <a:pt x="228" y="15"/>
                </a:lnTo>
                <a:lnTo>
                  <a:pt x="232" y="12"/>
                </a:lnTo>
                <a:lnTo>
                  <a:pt x="235" y="12"/>
                </a:lnTo>
                <a:lnTo>
                  <a:pt x="238" y="12"/>
                </a:lnTo>
                <a:lnTo>
                  <a:pt x="238" y="12"/>
                </a:lnTo>
                <a:lnTo>
                  <a:pt x="241" y="12"/>
                </a:lnTo>
                <a:lnTo>
                  <a:pt x="244" y="9"/>
                </a:lnTo>
                <a:lnTo>
                  <a:pt x="247" y="9"/>
                </a:lnTo>
                <a:lnTo>
                  <a:pt x="247" y="6"/>
                </a:lnTo>
                <a:lnTo>
                  <a:pt x="247" y="3"/>
                </a:lnTo>
                <a:lnTo>
                  <a:pt x="250" y="3"/>
                </a:lnTo>
                <a:lnTo>
                  <a:pt x="253" y="3"/>
                </a:lnTo>
                <a:lnTo>
                  <a:pt x="257" y="0"/>
                </a:lnTo>
                <a:lnTo>
                  <a:pt x="263" y="0"/>
                </a:lnTo>
                <a:lnTo>
                  <a:pt x="269" y="0"/>
                </a:lnTo>
                <a:lnTo>
                  <a:pt x="269" y="3"/>
                </a:lnTo>
                <a:lnTo>
                  <a:pt x="272" y="3"/>
                </a:lnTo>
                <a:lnTo>
                  <a:pt x="278" y="6"/>
                </a:lnTo>
                <a:lnTo>
                  <a:pt x="278" y="6"/>
                </a:lnTo>
                <a:lnTo>
                  <a:pt x="282" y="6"/>
                </a:lnTo>
                <a:lnTo>
                  <a:pt x="288" y="3"/>
                </a:lnTo>
                <a:lnTo>
                  <a:pt x="294" y="6"/>
                </a:lnTo>
                <a:lnTo>
                  <a:pt x="297" y="9"/>
                </a:lnTo>
                <a:lnTo>
                  <a:pt x="297" y="12"/>
                </a:lnTo>
                <a:lnTo>
                  <a:pt x="300" y="18"/>
                </a:lnTo>
                <a:lnTo>
                  <a:pt x="303" y="25"/>
                </a:lnTo>
                <a:lnTo>
                  <a:pt x="303" y="34"/>
                </a:lnTo>
                <a:lnTo>
                  <a:pt x="300" y="34"/>
                </a:lnTo>
                <a:lnTo>
                  <a:pt x="300" y="37"/>
                </a:lnTo>
                <a:lnTo>
                  <a:pt x="303" y="40"/>
                </a:lnTo>
                <a:lnTo>
                  <a:pt x="303" y="47"/>
                </a:lnTo>
                <a:lnTo>
                  <a:pt x="303" y="62"/>
                </a:lnTo>
                <a:lnTo>
                  <a:pt x="303" y="68"/>
                </a:lnTo>
                <a:lnTo>
                  <a:pt x="303" y="72"/>
                </a:lnTo>
                <a:lnTo>
                  <a:pt x="303" y="81"/>
                </a:lnTo>
                <a:lnTo>
                  <a:pt x="300" y="78"/>
                </a:lnTo>
                <a:lnTo>
                  <a:pt x="297" y="75"/>
                </a:lnTo>
                <a:lnTo>
                  <a:pt x="291" y="72"/>
                </a:lnTo>
                <a:lnTo>
                  <a:pt x="288" y="75"/>
                </a:lnTo>
                <a:lnTo>
                  <a:pt x="288" y="78"/>
                </a:lnTo>
                <a:lnTo>
                  <a:pt x="282" y="87"/>
                </a:lnTo>
                <a:lnTo>
                  <a:pt x="282" y="90"/>
                </a:lnTo>
                <a:lnTo>
                  <a:pt x="282" y="94"/>
                </a:lnTo>
                <a:lnTo>
                  <a:pt x="285" y="97"/>
                </a:lnTo>
                <a:lnTo>
                  <a:pt x="285" y="100"/>
                </a:lnTo>
                <a:lnTo>
                  <a:pt x="291" y="103"/>
                </a:lnTo>
                <a:lnTo>
                  <a:pt x="300" y="103"/>
                </a:lnTo>
                <a:lnTo>
                  <a:pt x="303" y="103"/>
                </a:lnTo>
                <a:lnTo>
                  <a:pt x="303" y="100"/>
                </a:lnTo>
                <a:lnTo>
                  <a:pt x="303" y="97"/>
                </a:lnTo>
                <a:lnTo>
                  <a:pt x="307" y="97"/>
                </a:lnTo>
                <a:lnTo>
                  <a:pt x="310" y="94"/>
                </a:lnTo>
                <a:lnTo>
                  <a:pt x="316" y="97"/>
                </a:lnTo>
                <a:lnTo>
                  <a:pt x="319" y="97"/>
                </a:lnTo>
                <a:lnTo>
                  <a:pt x="319" y="97"/>
                </a:lnTo>
                <a:lnTo>
                  <a:pt x="316" y="100"/>
                </a:lnTo>
                <a:lnTo>
                  <a:pt x="319" y="100"/>
                </a:lnTo>
                <a:lnTo>
                  <a:pt x="316" y="109"/>
                </a:lnTo>
                <a:lnTo>
                  <a:pt x="316" y="112"/>
                </a:lnTo>
                <a:lnTo>
                  <a:pt x="313" y="119"/>
                </a:lnTo>
                <a:lnTo>
                  <a:pt x="310" y="128"/>
                </a:lnTo>
                <a:lnTo>
                  <a:pt x="307" y="131"/>
                </a:lnTo>
                <a:lnTo>
                  <a:pt x="307" y="134"/>
                </a:lnTo>
                <a:lnTo>
                  <a:pt x="300" y="140"/>
                </a:lnTo>
                <a:lnTo>
                  <a:pt x="300" y="140"/>
                </a:lnTo>
                <a:lnTo>
                  <a:pt x="297" y="144"/>
                </a:lnTo>
                <a:lnTo>
                  <a:pt x="294" y="144"/>
                </a:lnTo>
                <a:lnTo>
                  <a:pt x="294" y="147"/>
                </a:lnTo>
                <a:lnTo>
                  <a:pt x="288" y="150"/>
                </a:lnTo>
                <a:lnTo>
                  <a:pt x="285" y="153"/>
                </a:lnTo>
                <a:lnTo>
                  <a:pt x="282" y="159"/>
                </a:lnTo>
                <a:lnTo>
                  <a:pt x="282" y="159"/>
                </a:lnTo>
                <a:lnTo>
                  <a:pt x="278" y="165"/>
                </a:lnTo>
                <a:lnTo>
                  <a:pt x="275" y="165"/>
                </a:lnTo>
                <a:lnTo>
                  <a:pt x="272" y="172"/>
                </a:lnTo>
                <a:lnTo>
                  <a:pt x="266" y="184"/>
                </a:lnTo>
                <a:lnTo>
                  <a:pt x="260" y="190"/>
                </a:lnTo>
                <a:lnTo>
                  <a:pt x="257" y="197"/>
                </a:lnTo>
                <a:lnTo>
                  <a:pt x="253" y="197"/>
                </a:lnTo>
                <a:lnTo>
                  <a:pt x="250" y="200"/>
                </a:lnTo>
                <a:lnTo>
                  <a:pt x="247" y="200"/>
                </a:lnTo>
                <a:lnTo>
                  <a:pt x="247" y="203"/>
                </a:lnTo>
                <a:lnTo>
                  <a:pt x="225" y="222"/>
                </a:lnTo>
                <a:lnTo>
                  <a:pt x="225" y="225"/>
                </a:lnTo>
                <a:lnTo>
                  <a:pt x="225" y="225"/>
                </a:lnTo>
                <a:lnTo>
                  <a:pt x="222" y="228"/>
                </a:lnTo>
                <a:lnTo>
                  <a:pt x="207" y="237"/>
                </a:lnTo>
                <a:lnTo>
                  <a:pt x="203" y="241"/>
                </a:lnTo>
                <a:lnTo>
                  <a:pt x="200" y="241"/>
                </a:lnTo>
                <a:lnTo>
                  <a:pt x="200" y="244"/>
                </a:lnTo>
                <a:lnTo>
                  <a:pt x="191" y="244"/>
                </a:lnTo>
                <a:lnTo>
                  <a:pt x="188" y="247"/>
                </a:lnTo>
                <a:lnTo>
                  <a:pt x="185" y="247"/>
                </a:lnTo>
                <a:lnTo>
                  <a:pt x="182" y="247"/>
                </a:lnTo>
                <a:lnTo>
                  <a:pt x="175" y="247"/>
                </a:lnTo>
                <a:lnTo>
                  <a:pt x="172" y="247"/>
                </a:lnTo>
                <a:lnTo>
                  <a:pt x="169" y="253"/>
                </a:lnTo>
                <a:lnTo>
                  <a:pt x="172" y="253"/>
                </a:lnTo>
                <a:lnTo>
                  <a:pt x="172" y="256"/>
                </a:lnTo>
                <a:lnTo>
                  <a:pt x="166" y="256"/>
                </a:lnTo>
                <a:lnTo>
                  <a:pt x="160" y="253"/>
                </a:lnTo>
                <a:lnTo>
                  <a:pt x="157" y="253"/>
                </a:lnTo>
                <a:lnTo>
                  <a:pt x="153" y="256"/>
                </a:lnTo>
                <a:lnTo>
                  <a:pt x="157" y="259"/>
                </a:lnTo>
                <a:lnTo>
                  <a:pt x="153" y="259"/>
                </a:lnTo>
                <a:lnTo>
                  <a:pt x="144" y="256"/>
                </a:lnTo>
                <a:lnTo>
                  <a:pt x="141" y="256"/>
                </a:lnTo>
                <a:lnTo>
                  <a:pt x="135" y="253"/>
                </a:lnTo>
                <a:lnTo>
                  <a:pt x="128" y="253"/>
                </a:lnTo>
                <a:lnTo>
                  <a:pt x="128" y="256"/>
                </a:lnTo>
                <a:lnTo>
                  <a:pt x="125" y="256"/>
                </a:lnTo>
                <a:lnTo>
                  <a:pt x="119" y="253"/>
                </a:lnTo>
                <a:lnTo>
                  <a:pt x="110" y="253"/>
                </a:lnTo>
                <a:lnTo>
                  <a:pt x="107" y="256"/>
                </a:lnTo>
                <a:lnTo>
                  <a:pt x="103" y="259"/>
                </a:lnTo>
                <a:lnTo>
                  <a:pt x="103" y="259"/>
                </a:lnTo>
                <a:lnTo>
                  <a:pt x="100" y="259"/>
                </a:lnTo>
                <a:lnTo>
                  <a:pt x="97" y="259"/>
                </a:lnTo>
                <a:lnTo>
                  <a:pt x="97" y="262"/>
                </a:lnTo>
                <a:lnTo>
                  <a:pt x="91" y="262"/>
                </a:lnTo>
                <a:lnTo>
                  <a:pt x="91" y="262"/>
                </a:lnTo>
                <a:lnTo>
                  <a:pt x="85" y="262"/>
                </a:lnTo>
                <a:lnTo>
                  <a:pt x="78" y="262"/>
                </a:lnTo>
                <a:lnTo>
                  <a:pt x="78" y="262"/>
                </a:lnTo>
                <a:lnTo>
                  <a:pt x="72" y="262"/>
                </a:lnTo>
                <a:lnTo>
                  <a:pt x="69" y="266"/>
                </a:lnTo>
                <a:lnTo>
                  <a:pt x="66" y="269"/>
                </a:lnTo>
                <a:lnTo>
                  <a:pt x="63" y="272"/>
                </a:lnTo>
                <a:lnTo>
                  <a:pt x="63" y="269"/>
                </a:lnTo>
                <a:lnTo>
                  <a:pt x="60" y="272"/>
                </a:lnTo>
                <a:lnTo>
                  <a:pt x="50" y="266"/>
                </a:lnTo>
                <a:lnTo>
                  <a:pt x="47" y="266"/>
                </a:lnTo>
                <a:lnTo>
                  <a:pt x="47" y="262"/>
                </a:lnTo>
                <a:lnTo>
                  <a:pt x="44" y="259"/>
                </a:lnTo>
                <a:lnTo>
                  <a:pt x="41" y="262"/>
                </a:lnTo>
                <a:lnTo>
                  <a:pt x="41" y="262"/>
                </a:lnTo>
                <a:lnTo>
                  <a:pt x="41" y="259"/>
                </a:lnTo>
                <a:lnTo>
                  <a:pt x="41" y="256"/>
                </a:lnTo>
                <a:lnTo>
                  <a:pt x="35" y="256"/>
                </a:lnTo>
                <a:lnTo>
                  <a:pt x="32" y="256"/>
                </a:lnTo>
                <a:lnTo>
                  <a:pt x="32" y="262"/>
                </a:lnTo>
                <a:lnTo>
                  <a:pt x="32" y="259"/>
                </a:lnTo>
                <a:lnTo>
                  <a:pt x="32" y="256"/>
                </a:lnTo>
                <a:lnTo>
                  <a:pt x="32" y="253"/>
                </a:lnTo>
                <a:lnTo>
                  <a:pt x="32" y="247"/>
                </a:lnTo>
                <a:lnTo>
                  <a:pt x="35" y="244"/>
                </a:lnTo>
                <a:lnTo>
                  <a:pt x="28" y="237"/>
                </a:lnTo>
                <a:lnTo>
                  <a:pt x="25" y="234"/>
                </a:lnTo>
                <a:lnTo>
                  <a:pt x="22" y="228"/>
                </a:lnTo>
                <a:lnTo>
                  <a:pt x="22" y="222"/>
                </a:lnTo>
                <a:lnTo>
                  <a:pt x="25" y="222"/>
                </a:lnTo>
                <a:lnTo>
                  <a:pt x="28" y="225"/>
                </a:lnTo>
                <a:lnTo>
                  <a:pt x="28" y="225"/>
                </a:lnTo>
                <a:lnTo>
                  <a:pt x="32" y="222"/>
                </a:lnTo>
                <a:lnTo>
                  <a:pt x="32" y="216"/>
                </a:lnTo>
                <a:lnTo>
                  <a:pt x="32" y="209"/>
                </a:lnTo>
                <a:lnTo>
                  <a:pt x="32" y="206"/>
                </a:lnTo>
                <a:lnTo>
                  <a:pt x="25" y="197"/>
                </a:lnTo>
                <a:lnTo>
                  <a:pt x="25" y="190"/>
                </a:lnTo>
                <a:lnTo>
                  <a:pt x="19" y="184"/>
                </a:lnTo>
                <a:lnTo>
                  <a:pt x="16" y="172"/>
                </a:lnTo>
                <a:lnTo>
                  <a:pt x="13" y="162"/>
                </a:lnTo>
                <a:lnTo>
                  <a:pt x="13" y="156"/>
                </a:lnTo>
                <a:lnTo>
                  <a:pt x="10" y="144"/>
                </a:lnTo>
                <a:lnTo>
                  <a:pt x="3" y="140"/>
                </a:lnTo>
                <a:lnTo>
                  <a:pt x="0" y="134"/>
                </a:lnTo>
                <a:lnTo>
                  <a:pt x="0" y="134"/>
                </a:lnTo>
                <a:lnTo>
                  <a:pt x="0" y="134"/>
                </a:lnTo>
                <a:close/>
                <a:moveTo>
                  <a:pt x="210" y="172"/>
                </a:moveTo>
                <a:lnTo>
                  <a:pt x="213" y="175"/>
                </a:lnTo>
                <a:lnTo>
                  <a:pt x="216" y="178"/>
                </a:lnTo>
                <a:lnTo>
                  <a:pt x="219" y="178"/>
                </a:lnTo>
                <a:lnTo>
                  <a:pt x="225" y="178"/>
                </a:lnTo>
                <a:lnTo>
                  <a:pt x="225" y="178"/>
                </a:lnTo>
                <a:lnTo>
                  <a:pt x="225" y="175"/>
                </a:lnTo>
                <a:lnTo>
                  <a:pt x="228" y="172"/>
                </a:lnTo>
                <a:lnTo>
                  <a:pt x="232" y="169"/>
                </a:lnTo>
                <a:lnTo>
                  <a:pt x="235" y="169"/>
                </a:lnTo>
                <a:lnTo>
                  <a:pt x="238" y="165"/>
                </a:lnTo>
                <a:lnTo>
                  <a:pt x="241" y="169"/>
                </a:lnTo>
                <a:lnTo>
                  <a:pt x="244" y="165"/>
                </a:lnTo>
                <a:lnTo>
                  <a:pt x="244" y="162"/>
                </a:lnTo>
                <a:lnTo>
                  <a:pt x="244" y="159"/>
                </a:lnTo>
                <a:lnTo>
                  <a:pt x="241" y="159"/>
                </a:lnTo>
                <a:lnTo>
                  <a:pt x="247" y="156"/>
                </a:lnTo>
                <a:lnTo>
                  <a:pt x="250" y="153"/>
                </a:lnTo>
                <a:lnTo>
                  <a:pt x="250" y="150"/>
                </a:lnTo>
                <a:lnTo>
                  <a:pt x="247" y="140"/>
                </a:lnTo>
                <a:lnTo>
                  <a:pt x="241" y="137"/>
                </a:lnTo>
                <a:lnTo>
                  <a:pt x="238" y="137"/>
                </a:lnTo>
                <a:lnTo>
                  <a:pt x="235" y="137"/>
                </a:lnTo>
                <a:lnTo>
                  <a:pt x="235" y="137"/>
                </a:lnTo>
                <a:lnTo>
                  <a:pt x="232" y="137"/>
                </a:lnTo>
                <a:lnTo>
                  <a:pt x="228" y="137"/>
                </a:lnTo>
                <a:lnTo>
                  <a:pt x="228" y="137"/>
                </a:lnTo>
                <a:lnTo>
                  <a:pt x="225" y="140"/>
                </a:lnTo>
                <a:lnTo>
                  <a:pt x="225" y="140"/>
                </a:lnTo>
                <a:lnTo>
                  <a:pt x="219" y="144"/>
                </a:lnTo>
                <a:lnTo>
                  <a:pt x="213" y="147"/>
                </a:lnTo>
                <a:lnTo>
                  <a:pt x="213" y="150"/>
                </a:lnTo>
                <a:lnTo>
                  <a:pt x="207" y="156"/>
                </a:lnTo>
                <a:lnTo>
                  <a:pt x="203" y="156"/>
                </a:lnTo>
                <a:lnTo>
                  <a:pt x="207" y="159"/>
                </a:lnTo>
                <a:lnTo>
                  <a:pt x="207" y="162"/>
                </a:lnTo>
                <a:lnTo>
                  <a:pt x="210" y="165"/>
                </a:lnTo>
                <a:lnTo>
                  <a:pt x="210" y="169"/>
                </a:lnTo>
                <a:lnTo>
                  <a:pt x="210" y="172"/>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1" name="Freeform 159">
            <a:extLst>
              <a:ext uri="{FF2B5EF4-FFF2-40B4-BE49-F238E27FC236}">
                <a16:creationId xmlns:a16="http://schemas.microsoft.com/office/drawing/2014/main" id="{10D1D9A2-A60C-1EC9-1EDC-B4203E4A3BDE}"/>
              </a:ext>
            </a:extLst>
          </p:cNvPr>
          <p:cNvSpPr>
            <a:spLocks/>
          </p:cNvSpPr>
          <p:nvPr userDrawn="1"/>
        </p:nvSpPr>
        <p:spPr bwMode="auto">
          <a:xfrm>
            <a:off x="14785011" y="11222906"/>
            <a:ext cx="149216" cy="130176"/>
          </a:xfrm>
          <a:custGeom>
            <a:avLst/>
            <a:gdLst>
              <a:gd name="T0" fmla="*/ 7 w 47"/>
              <a:gd name="T1" fmla="*/ 35 h 41"/>
              <a:gd name="T2" fmla="*/ 7 w 47"/>
              <a:gd name="T3" fmla="*/ 32 h 41"/>
              <a:gd name="T4" fmla="*/ 7 w 47"/>
              <a:gd name="T5" fmla="*/ 28 h 41"/>
              <a:gd name="T6" fmla="*/ 4 w 47"/>
              <a:gd name="T7" fmla="*/ 25 h 41"/>
              <a:gd name="T8" fmla="*/ 4 w 47"/>
              <a:gd name="T9" fmla="*/ 22 h 41"/>
              <a:gd name="T10" fmla="*/ 0 w 47"/>
              <a:gd name="T11" fmla="*/ 19 h 41"/>
              <a:gd name="T12" fmla="*/ 4 w 47"/>
              <a:gd name="T13" fmla="*/ 19 h 41"/>
              <a:gd name="T14" fmla="*/ 10 w 47"/>
              <a:gd name="T15" fmla="*/ 13 h 41"/>
              <a:gd name="T16" fmla="*/ 10 w 47"/>
              <a:gd name="T17" fmla="*/ 10 h 41"/>
              <a:gd name="T18" fmla="*/ 16 w 47"/>
              <a:gd name="T19" fmla="*/ 7 h 41"/>
              <a:gd name="T20" fmla="*/ 22 w 47"/>
              <a:gd name="T21" fmla="*/ 3 h 41"/>
              <a:gd name="T22" fmla="*/ 22 w 47"/>
              <a:gd name="T23" fmla="*/ 3 h 41"/>
              <a:gd name="T24" fmla="*/ 25 w 47"/>
              <a:gd name="T25" fmla="*/ 0 h 41"/>
              <a:gd name="T26" fmla="*/ 25 w 47"/>
              <a:gd name="T27" fmla="*/ 0 h 41"/>
              <a:gd name="T28" fmla="*/ 29 w 47"/>
              <a:gd name="T29" fmla="*/ 0 h 41"/>
              <a:gd name="T30" fmla="*/ 32 w 47"/>
              <a:gd name="T31" fmla="*/ 0 h 41"/>
              <a:gd name="T32" fmla="*/ 32 w 47"/>
              <a:gd name="T33" fmla="*/ 0 h 41"/>
              <a:gd name="T34" fmla="*/ 35 w 47"/>
              <a:gd name="T35" fmla="*/ 0 h 41"/>
              <a:gd name="T36" fmla="*/ 38 w 47"/>
              <a:gd name="T37" fmla="*/ 0 h 41"/>
              <a:gd name="T38" fmla="*/ 44 w 47"/>
              <a:gd name="T39" fmla="*/ 3 h 41"/>
              <a:gd name="T40" fmla="*/ 47 w 47"/>
              <a:gd name="T41" fmla="*/ 13 h 41"/>
              <a:gd name="T42" fmla="*/ 47 w 47"/>
              <a:gd name="T43" fmla="*/ 16 h 41"/>
              <a:gd name="T44" fmla="*/ 44 w 47"/>
              <a:gd name="T45" fmla="*/ 19 h 41"/>
              <a:gd name="T46" fmla="*/ 38 w 47"/>
              <a:gd name="T47" fmla="*/ 22 h 41"/>
              <a:gd name="T48" fmla="*/ 41 w 47"/>
              <a:gd name="T49" fmla="*/ 22 h 41"/>
              <a:gd name="T50" fmla="*/ 41 w 47"/>
              <a:gd name="T51" fmla="*/ 25 h 41"/>
              <a:gd name="T52" fmla="*/ 41 w 47"/>
              <a:gd name="T53" fmla="*/ 28 h 41"/>
              <a:gd name="T54" fmla="*/ 38 w 47"/>
              <a:gd name="T55" fmla="*/ 32 h 41"/>
              <a:gd name="T56" fmla="*/ 35 w 47"/>
              <a:gd name="T57" fmla="*/ 28 h 41"/>
              <a:gd name="T58" fmla="*/ 32 w 47"/>
              <a:gd name="T59" fmla="*/ 32 h 41"/>
              <a:gd name="T60" fmla="*/ 29 w 47"/>
              <a:gd name="T61" fmla="*/ 32 h 41"/>
              <a:gd name="T62" fmla="*/ 25 w 47"/>
              <a:gd name="T63" fmla="*/ 35 h 41"/>
              <a:gd name="T64" fmla="*/ 22 w 47"/>
              <a:gd name="T65" fmla="*/ 38 h 41"/>
              <a:gd name="T66" fmla="*/ 22 w 47"/>
              <a:gd name="T67" fmla="*/ 41 h 41"/>
              <a:gd name="T68" fmla="*/ 22 w 47"/>
              <a:gd name="T69" fmla="*/ 41 h 41"/>
              <a:gd name="T70" fmla="*/ 16 w 47"/>
              <a:gd name="T71" fmla="*/ 41 h 41"/>
              <a:gd name="T72" fmla="*/ 13 w 47"/>
              <a:gd name="T73" fmla="*/ 41 h 41"/>
              <a:gd name="T74" fmla="*/ 10 w 47"/>
              <a:gd name="T75" fmla="*/ 38 h 41"/>
              <a:gd name="T76" fmla="*/ 7 w 47"/>
              <a:gd name="T77" fmla="*/ 3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 h="41">
                <a:moveTo>
                  <a:pt x="7" y="35"/>
                </a:moveTo>
                <a:lnTo>
                  <a:pt x="7" y="32"/>
                </a:lnTo>
                <a:lnTo>
                  <a:pt x="7" y="28"/>
                </a:lnTo>
                <a:lnTo>
                  <a:pt x="4" y="25"/>
                </a:lnTo>
                <a:lnTo>
                  <a:pt x="4" y="22"/>
                </a:lnTo>
                <a:lnTo>
                  <a:pt x="0" y="19"/>
                </a:lnTo>
                <a:lnTo>
                  <a:pt x="4" y="19"/>
                </a:lnTo>
                <a:lnTo>
                  <a:pt x="10" y="13"/>
                </a:lnTo>
                <a:lnTo>
                  <a:pt x="10" y="10"/>
                </a:lnTo>
                <a:lnTo>
                  <a:pt x="16" y="7"/>
                </a:lnTo>
                <a:lnTo>
                  <a:pt x="22" y="3"/>
                </a:lnTo>
                <a:lnTo>
                  <a:pt x="22" y="3"/>
                </a:lnTo>
                <a:lnTo>
                  <a:pt x="25" y="0"/>
                </a:lnTo>
                <a:lnTo>
                  <a:pt x="25" y="0"/>
                </a:lnTo>
                <a:lnTo>
                  <a:pt x="29" y="0"/>
                </a:lnTo>
                <a:lnTo>
                  <a:pt x="32" y="0"/>
                </a:lnTo>
                <a:lnTo>
                  <a:pt x="32" y="0"/>
                </a:lnTo>
                <a:lnTo>
                  <a:pt x="35" y="0"/>
                </a:lnTo>
                <a:lnTo>
                  <a:pt x="38" y="0"/>
                </a:lnTo>
                <a:lnTo>
                  <a:pt x="44" y="3"/>
                </a:lnTo>
                <a:lnTo>
                  <a:pt x="47" y="13"/>
                </a:lnTo>
                <a:lnTo>
                  <a:pt x="47" y="16"/>
                </a:lnTo>
                <a:lnTo>
                  <a:pt x="44" y="19"/>
                </a:lnTo>
                <a:lnTo>
                  <a:pt x="38" y="22"/>
                </a:lnTo>
                <a:lnTo>
                  <a:pt x="41" y="22"/>
                </a:lnTo>
                <a:lnTo>
                  <a:pt x="41" y="25"/>
                </a:lnTo>
                <a:lnTo>
                  <a:pt x="41" y="28"/>
                </a:lnTo>
                <a:lnTo>
                  <a:pt x="38" y="32"/>
                </a:lnTo>
                <a:lnTo>
                  <a:pt x="35" y="28"/>
                </a:lnTo>
                <a:lnTo>
                  <a:pt x="32" y="32"/>
                </a:lnTo>
                <a:lnTo>
                  <a:pt x="29" y="32"/>
                </a:lnTo>
                <a:lnTo>
                  <a:pt x="25" y="35"/>
                </a:lnTo>
                <a:lnTo>
                  <a:pt x="22" y="38"/>
                </a:lnTo>
                <a:lnTo>
                  <a:pt x="22" y="41"/>
                </a:lnTo>
                <a:lnTo>
                  <a:pt x="22" y="41"/>
                </a:lnTo>
                <a:lnTo>
                  <a:pt x="16" y="41"/>
                </a:lnTo>
                <a:lnTo>
                  <a:pt x="13" y="41"/>
                </a:lnTo>
                <a:lnTo>
                  <a:pt x="10" y="38"/>
                </a:lnTo>
                <a:lnTo>
                  <a:pt x="7" y="35"/>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2" name="Freeform 160">
            <a:extLst>
              <a:ext uri="{FF2B5EF4-FFF2-40B4-BE49-F238E27FC236}">
                <a16:creationId xmlns:a16="http://schemas.microsoft.com/office/drawing/2014/main" id="{B8B0AD6F-52B0-69CD-CE2E-A3AB56BBB8FD}"/>
              </a:ext>
            </a:extLst>
          </p:cNvPr>
          <p:cNvSpPr>
            <a:spLocks noEditPoints="1"/>
          </p:cNvSpPr>
          <p:nvPr userDrawn="1"/>
        </p:nvSpPr>
        <p:spPr bwMode="auto">
          <a:xfrm>
            <a:off x="20115488" y="10051330"/>
            <a:ext cx="2530313" cy="2720976"/>
          </a:xfrm>
          <a:custGeom>
            <a:avLst/>
            <a:gdLst>
              <a:gd name="T0" fmla="*/ 252 w 255"/>
              <a:gd name="T1" fmla="*/ 115 h 274"/>
              <a:gd name="T2" fmla="*/ 217 w 255"/>
              <a:gd name="T3" fmla="*/ 59 h 274"/>
              <a:gd name="T4" fmla="*/ 174 w 255"/>
              <a:gd name="T5" fmla="*/ 47 h 274"/>
              <a:gd name="T6" fmla="*/ 156 w 255"/>
              <a:gd name="T7" fmla="*/ 26 h 274"/>
              <a:gd name="T8" fmla="*/ 158 w 255"/>
              <a:gd name="T9" fmla="*/ 28 h 274"/>
              <a:gd name="T10" fmla="*/ 154 w 255"/>
              <a:gd name="T11" fmla="*/ 11 h 274"/>
              <a:gd name="T12" fmla="*/ 121 w 255"/>
              <a:gd name="T13" fmla="*/ 8 h 274"/>
              <a:gd name="T14" fmla="*/ 120 w 255"/>
              <a:gd name="T15" fmla="*/ 8 h 274"/>
              <a:gd name="T16" fmla="*/ 82 w 255"/>
              <a:gd name="T17" fmla="*/ 36 h 274"/>
              <a:gd name="T18" fmla="*/ 1 w 255"/>
              <a:gd name="T19" fmla="*/ 103 h 274"/>
              <a:gd name="T20" fmla="*/ 138 w 255"/>
              <a:gd name="T21" fmla="*/ 196 h 274"/>
              <a:gd name="T22" fmla="*/ 187 w 255"/>
              <a:gd name="T23" fmla="*/ 226 h 274"/>
              <a:gd name="T24" fmla="*/ 172 w 255"/>
              <a:gd name="T25" fmla="*/ 241 h 274"/>
              <a:gd name="T26" fmla="*/ 192 w 255"/>
              <a:gd name="T27" fmla="*/ 237 h 274"/>
              <a:gd name="T28" fmla="*/ 186 w 255"/>
              <a:gd name="T29" fmla="*/ 265 h 274"/>
              <a:gd name="T30" fmla="*/ 169 w 255"/>
              <a:gd name="T31" fmla="*/ 263 h 274"/>
              <a:gd name="T32" fmla="*/ 173 w 255"/>
              <a:gd name="T33" fmla="*/ 245 h 274"/>
              <a:gd name="T34" fmla="*/ 191 w 255"/>
              <a:gd name="T35" fmla="*/ 247 h 274"/>
              <a:gd name="T36" fmla="*/ 184 w 255"/>
              <a:gd name="T37" fmla="*/ 266 h 274"/>
              <a:gd name="T38" fmla="*/ 176 w 255"/>
              <a:gd name="T39" fmla="*/ 272 h 274"/>
              <a:gd name="T40" fmla="*/ 12 w 255"/>
              <a:gd name="T41" fmla="*/ 181 h 274"/>
              <a:gd name="T42" fmla="*/ 30 w 255"/>
              <a:gd name="T43" fmla="*/ 175 h 274"/>
              <a:gd name="T44" fmla="*/ 53 w 255"/>
              <a:gd name="T45" fmla="*/ 173 h 274"/>
              <a:gd name="T46" fmla="*/ 82 w 255"/>
              <a:gd name="T47" fmla="*/ 161 h 274"/>
              <a:gd name="T48" fmla="*/ 117 w 255"/>
              <a:gd name="T49" fmla="*/ 160 h 274"/>
              <a:gd name="T50" fmla="*/ 128 w 255"/>
              <a:gd name="T51" fmla="*/ 182 h 274"/>
              <a:gd name="T52" fmla="*/ 139 w 255"/>
              <a:gd name="T53" fmla="*/ 176 h 274"/>
              <a:gd name="T54" fmla="*/ 141 w 255"/>
              <a:gd name="T55" fmla="*/ 183 h 274"/>
              <a:gd name="T56" fmla="*/ 143 w 255"/>
              <a:gd name="T57" fmla="*/ 193 h 274"/>
              <a:gd name="T58" fmla="*/ 149 w 255"/>
              <a:gd name="T59" fmla="*/ 209 h 274"/>
              <a:gd name="T60" fmla="*/ 170 w 255"/>
              <a:gd name="T61" fmla="*/ 225 h 274"/>
              <a:gd name="T62" fmla="*/ 183 w 255"/>
              <a:gd name="T63" fmla="*/ 223 h 274"/>
              <a:gd name="T64" fmla="*/ 196 w 255"/>
              <a:gd name="T65" fmla="*/ 220 h 274"/>
              <a:gd name="T66" fmla="*/ 215 w 255"/>
              <a:gd name="T67" fmla="*/ 203 h 274"/>
              <a:gd name="T68" fmla="*/ 236 w 255"/>
              <a:gd name="T69" fmla="*/ 173 h 274"/>
              <a:gd name="T70" fmla="*/ 248 w 255"/>
              <a:gd name="T71" fmla="*/ 145 h 274"/>
              <a:gd name="T72" fmla="*/ 251 w 255"/>
              <a:gd name="T73" fmla="*/ 113 h 274"/>
              <a:gd name="T74" fmla="*/ 240 w 255"/>
              <a:gd name="T75" fmla="*/ 94 h 274"/>
              <a:gd name="T76" fmla="*/ 234 w 255"/>
              <a:gd name="T77" fmla="*/ 83 h 274"/>
              <a:gd name="T78" fmla="*/ 224 w 255"/>
              <a:gd name="T79" fmla="*/ 69 h 274"/>
              <a:gd name="T80" fmla="*/ 215 w 255"/>
              <a:gd name="T81" fmla="*/ 49 h 274"/>
              <a:gd name="T82" fmla="*/ 206 w 255"/>
              <a:gd name="T83" fmla="*/ 29 h 274"/>
              <a:gd name="T84" fmla="*/ 199 w 255"/>
              <a:gd name="T85" fmla="*/ 9 h 274"/>
              <a:gd name="T86" fmla="*/ 191 w 255"/>
              <a:gd name="T87" fmla="*/ 21 h 274"/>
              <a:gd name="T88" fmla="*/ 183 w 255"/>
              <a:gd name="T89" fmla="*/ 52 h 274"/>
              <a:gd name="T90" fmla="*/ 160 w 255"/>
              <a:gd name="T91" fmla="*/ 40 h 274"/>
              <a:gd name="T92" fmla="*/ 155 w 255"/>
              <a:gd name="T93" fmla="*/ 22 h 274"/>
              <a:gd name="T94" fmla="*/ 157 w 255"/>
              <a:gd name="T95" fmla="*/ 15 h 274"/>
              <a:gd name="T96" fmla="*/ 148 w 255"/>
              <a:gd name="T97" fmla="*/ 13 h 274"/>
              <a:gd name="T98" fmla="*/ 131 w 255"/>
              <a:gd name="T99" fmla="*/ 8 h 274"/>
              <a:gd name="T100" fmla="*/ 124 w 255"/>
              <a:gd name="T101" fmla="*/ 16 h 274"/>
              <a:gd name="T102" fmla="*/ 115 w 255"/>
              <a:gd name="T103" fmla="*/ 25 h 274"/>
              <a:gd name="T104" fmla="*/ 111 w 255"/>
              <a:gd name="T105" fmla="*/ 33 h 274"/>
              <a:gd name="T106" fmla="*/ 103 w 255"/>
              <a:gd name="T107" fmla="*/ 35 h 274"/>
              <a:gd name="T108" fmla="*/ 91 w 255"/>
              <a:gd name="T109" fmla="*/ 27 h 274"/>
              <a:gd name="T110" fmla="*/ 83 w 255"/>
              <a:gd name="T111" fmla="*/ 35 h 274"/>
              <a:gd name="T112" fmla="*/ 78 w 255"/>
              <a:gd name="T113" fmla="*/ 43 h 274"/>
              <a:gd name="T114" fmla="*/ 71 w 255"/>
              <a:gd name="T115" fmla="*/ 45 h 274"/>
              <a:gd name="T116" fmla="*/ 60 w 255"/>
              <a:gd name="T117" fmla="*/ 59 h 274"/>
              <a:gd name="T118" fmla="*/ 29 w 255"/>
              <a:gd name="T119" fmla="*/ 72 h 274"/>
              <a:gd name="T120" fmla="*/ 9 w 255"/>
              <a:gd name="T121" fmla="*/ 82 h 274"/>
              <a:gd name="T122" fmla="*/ 5 w 255"/>
              <a:gd name="T123" fmla="*/ 110 h 274"/>
              <a:gd name="T124" fmla="*/ 8 w 255"/>
              <a:gd name="T125" fmla="*/ 145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5" h="274">
                <a:moveTo>
                  <a:pt x="252" y="131"/>
                </a:moveTo>
                <a:cubicBezTo>
                  <a:pt x="252" y="129"/>
                  <a:pt x="252" y="129"/>
                  <a:pt x="252" y="129"/>
                </a:cubicBezTo>
                <a:cubicBezTo>
                  <a:pt x="252" y="130"/>
                  <a:pt x="252" y="130"/>
                  <a:pt x="252" y="130"/>
                </a:cubicBezTo>
                <a:cubicBezTo>
                  <a:pt x="252" y="131"/>
                  <a:pt x="252" y="131"/>
                  <a:pt x="252" y="131"/>
                </a:cubicBezTo>
                <a:close/>
                <a:moveTo>
                  <a:pt x="252" y="115"/>
                </a:moveTo>
                <a:cubicBezTo>
                  <a:pt x="252" y="113"/>
                  <a:pt x="252" y="113"/>
                  <a:pt x="252" y="113"/>
                </a:cubicBezTo>
                <a:cubicBezTo>
                  <a:pt x="252" y="112"/>
                  <a:pt x="252" y="112"/>
                  <a:pt x="252" y="112"/>
                </a:cubicBezTo>
                <a:cubicBezTo>
                  <a:pt x="252" y="111"/>
                  <a:pt x="252" y="111"/>
                  <a:pt x="252" y="111"/>
                </a:cubicBezTo>
                <a:cubicBezTo>
                  <a:pt x="253" y="110"/>
                  <a:pt x="253" y="110"/>
                  <a:pt x="253" y="110"/>
                </a:cubicBezTo>
                <a:cubicBezTo>
                  <a:pt x="254" y="108"/>
                  <a:pt x="254" y="108"/>
                  <a:pt x="254" y="108"/>
                </a:cubicBezTo>
                <a:cubicBezTo>
                  <a:pt x="254" y="107"/>
                  <a:pt x="254" y="107"/>
                  <a:pt x="254" y="107"/>
                </a:cubicBezTo>
                <a:cubicBezTo>
                  <a:pt x="254" y="106"/>
                  <a:pt x="254" y="106"/>
                  <a:pt x="254" y="106"/>
                </a:cubicBezTo>
                <a:cubicBezTo>
                  <a:pt x="254" y="106"/>
                  <a:pt x="254" y="106"/>
                  <a:pt x="254" y="106"/>
                </a:cubicBezTo>
                <a:cubicBezTo>
                  <a:pt x="255" y="108"/>
                  <a:pt x="255" y="108"/>
                  <a:pt x="255" y="108"/>
                </a:cubicBezTo>
                <a:cubicBezTo>
                  <a:pt x="254" y="110"/>
                  <a:pt x="254" y="110"/>
                  <a:pt x="254" y="110"/>
                </a:cubicBezTo>
                <a:cubicBezTo>
                  <a:pt x="253" y="112"/>
                  <a:pt x="253" y="112"/>
                  <a:pt x="253" y="112"/>
                </a:cubicBezTo>
                <a:cubicBezTo>
                  <a:pt x="253" y="114"/>
                  <a:pt x="253" y="114"/>
                  <a:pt x="253" y="114"/>
                </a:cubicBezTo>
                <a:cubicBezTo>
                  <a:pt x="253" y="115"/>
                  <a:pt x="253" y="115"/>
                  <a:pt x="253" y="115"/>
                </a:cubicBezTo>
                <a:cubicBezTo>
                  <a:pt x="252" y="115"/>
                  <a:pt x="252" y="115"/>
                  <a:pt x="252" y="115"/>
                </a:cubicBezTo>
                <a:close/>
                <a:moveTo>
                  <a:pt x="242" y="97"/>
                </a:moveTo>
                <a:cubicBezTo>
                  <a:pt x="243" y="98"/>
                  <a:pt x="243" y="98"/>
                  <a:pt x="243" y="98"/>
                </a:cubicBezTo>
                <a:cubicBezTo>
                  <a:pt x="244" y="99"/>
                  <a:pt x="244" y="99"/>
                  <a:pt x="244" y="99"/>
                </a:cubicBezTo>
                <a:cubicBezTo>
                  <a:pt x="244" y="98"/>
                  <a:pt x="244" y="98"/>
                  <a:pt x="244" y="98"/>
                </a:cubicBezTo>
                <a:cubicBezTo>
                  <a:pt x="243" y="97"/>
                  <a:pt x="243" y="97"/>
                  <a:pt x="243" y="97"/>
                </a:cubicBezTo>
                <a:cubicBezTo>
                  <a:pt x="243" y="97"/>
                  <a:pt x="243" y="97"/>
                  <a:pt x="243" y="97"/>
                </a:cubicBezTo>
                <a:cubicBezTo>
                  <a:pt x="243" y="97"/>
                  <a:pt x="243" y="97"/>
                  <a:pt x="243" y="97"/>
                </a:cubicBezTo>
                <a:cubicBezTo>
                  <a:pt x="242" y="96"/>
                  <a:pt x="242" y="96"/>
                  <a:pt x="242" y="96"/>
                </a:cubicBezTo>
                <a:cubicBezTo>
                  <a:pt x="242" y="97"/>
                  <a:pt x="242" y="97"/>
                  <a:pt x="242" y="97"/>
                </a:cubicBezTo>
                <a:close/>
                <a:moveTo>
                  <a:pt x="240" y="88"/>
                </a:moveTo>
                <a:cubicBezTo>
                  <a:pt x="240" y="87"/>
                  <a:pt x="240" y="87"/>
                  <a:pt x="240" y="87"/>
                </a:cubicBezTo>
                <a:cubicBezTo>
                  <a:pt x="240" y="87"/>
                  <a:pt x="240" y="87"/>
                  <a:pt x="240" y="87"/>
                </a:cubicBezTo>
                <a:cubicBezTo>
                  <a:pt x="240" y="88"/>
                  <a:pt x="240" y="88"/>
                  <a:pt x="240" y="88"/>
                </a:cubicBezTo>
                <a:close/>
                <a:moveTo>
                  <a:pt x="216" y="60"/>
                </a:moveTo>
                <a:cubicBezTo>
                  <a:pt x="217" y="59"/>
                  <a:pt x="217" y="59"/>
                  <a:pt x="217" y="59"/>
                </a:cubicBezTo>
                <a:cubicBezTo>
                  <a:pt x="216" y="58"/>
                  <a:pt x="216" y="58"/>
                  <a:pt x="216" y="58"/>
                </a:cubicBezTo>
                <a:cubicBezTo>
                  <a:pt x="217" y="58"/>
                  <a:pt x="217" y="58"/>
                  <a:pt x="217" y="58"/>
                </a:cubicBezTo>
                <a:cubicBezTo>
                  <a:pt x="217" y="57"/>
                  <a:pt x="217" y="57"/>
                  <a:pt x="217" y="57"/>
                </a:cubicBezTo>
                <a:cubicBezTo>
                  <a:pt x="217" y="59"/>
                  <a:pt x="217" y="59"/>
                  <a:pt x="217" y="59"/>
                </a:cubicBezTo>
                <a:cubicBezTo>
                  <a:pt x="217" y="61"/>
                  <a:pt x="217" y="61"/>
                  <a:pt x="217" y="61"/>
                </a:cubicBezTo>
                <a:cubicBezTo>
                  <a:pt x="216" y="60"/>
                  <a:pt x="216" y="60"/>
                  <a:pt x="216" y="60"/>
                </a:cubicBezTo>
                <a:close/>
                <a:moveTo>
                  <a:pt x="196" y="0"/>
                </a:moveTo>
                <a:cubicBezTo>
                  <a:pt x="196" y="1"/>
                  <a:pt x="196" y="1"/>
                  <a:pt x="196" y="1"/>
                </a:cubicBezTo>
                <a:cubicBezTo>
                  <a:pt x="197" y="0"/>
                  <a:pt x="197" y="0"/>
                  <a:pt x="197" y="0"/>
                </a:cubicBezTo>
                <a:cubicBezTo>
                  <a:pt x="196" y="0"/>
                  <a:pt x="196" y="0"/>
                  <a:pt x="196" y="0"/>
                </a:cubicBezTo>
                <a:close/>
                <a:moveTo>
                  <a:pt x="195" y="3"/>
                </a:moveTo>
                <a:cubicBezTo>
                  <a:pt x="195" y="5"/>
                  <a:pt x="195" y="5"/>
                  <a:pt x="195" y="5"/>
                </a:cubicBezTo>
                <a:cubicBezTo>
                  <a:pt x="195" y="5"/>
                  <a:pt x="195" y="5"/>
                  <a:pt x="195" y="5"/>
                </a:cubicBezTo>
                <a:cubicBezTo>
                  <a:pt x="196" y="5"/>
                  <a:pt x="196" y="5"/>
                  <a:pt x="196" y="5"/>
                </a:cubicBezTo>
                <a:cubicBezTo>
                  <a:pt x="196" y="4"/>
                  <a:pt x="196" y="4"/>
                  <a:pt x="196" y="4"/>
                </a:cubicBezTo>
                <a:cubicBezTo>
                  <a:pt x="195" y="3"/>
                  <a:pt x="195" y="3"/>
                  <a:pt x="195" y="3"/>
                </a:cubicBezTo>
                <a:close/>
                <a:moveTo>
                  <a:pt x="175" y="49"/>
                </a:moveTo>
                <a:cubicBezTo>
                  <a:pt x="175" y="49"/>
                  <a:pt x="175" y="49"/>
                  <a:pt x="175" y="49"/>
                </a:cubicBezTo>
                <a:cubicBezTo>
                  <a:pt x="176" y="49"/>
                  <a:pt x="176" y="49"/>
                  <a:pt x="176" y="49"/>
                </a:cubicBezTo>
                <a:cubicBezTo>
                  <a:pt x="176" y="48"/>
                  <a:pt x="176" y="48"/>
                  <a:pt x="176" y="48"/>
                </a:cubicBezTo>
                <a:cubicBezTo>
                  <a:pt x="175" y="49"/>
                  <a:pt x="175" y="49"/>
                  <a:pt x="175" y="49"/>
                </a:cubicBezTo>
                <a:close/>
                <a:moveTo>
                  <a:pt x="173" y="46"/>
                </a:moveTo>
                <a:cubicBezTo>
                  <a:pt x="174" y="47"/>
                  <a:pt x="174" y="47"/>
                  <a:pt x="174" y="47"/>
                </a:cubicBezTo>
                <a:cubicBezTo>
                  <a:pt x="174" y="46"/>
                  <a:pt x="174" y="46"/>
                  <a:pt x="174" y="46"/>
                </a:cubicBezTo>
                <a:cubicBezTo>
                  <a:pt x="175" y="45"/>
                  <a:pt x="175" y="45"/>
                  <a:pt x="175" y="45"/>
                </a:cubicBezTo>
                <a:cubicBezTo>
                  <a:pt x="177" y="45"/>
                  <a:pt x="177" y="45"/>
                  <a:pt x="177" y="45"/>
                </a:cubicBezTo>
                <a:cubicBezTo>
                  <a:pt x="177" y="45"/>
                  <a:pt x="177" y="45"/>
                  <a:pt x="177" y="45"/>
                </a:cubicBezTo>
                <a:cubicBezTo>
                  <a:pt x="175" y="44"/>
                  <a:pt x="175" y="44"/>
                  <a:pt x="175" y="44"/>
                </a:cubicBezTo>
                <a:cubicBezTo>
                  <a:pt x="173" y="45"/>
                  <a:pt x="173" y="45"/>
                  <a:pt x="173" y="45"/>
                </a:cubicBezTo>
                <a:cubicBezTo>
                  <a:pt x="173" y="45"/>
                  <a:pt x="173" y="46"/>
                  <a:pt x="173" y="46"/>
                </a:cubicBezTo>
                <a:close/>
                <a:moveTo>
                  <a:pt x="160" y="40"/>
                </a:moveTo>
                <a:cubicBezTo>
                  <a:pt x="160" y="39"/>
                  <a:pt x="160" y="39"/>
                  <a:pt x="160" y="39"/>
                </a:cubicBezTo>
                <a:cubicBezTo>
                  <a:pt x="160" y="38"/>
                  <a:pt x="160" y="38"/>
                  <a:pt x="160" y="38"/>
                </a:cubicBezTo>
                <a:cubicBezTo>
                  <a:pt x="161" y="39"/>
                  <a:pt x="161" y="39"/>
                  <a:pt x="161" y="39"/>
                </a:cubicBezTo>
                <a:cubicBezTo>
                  <a:pt x="160" y="40"/>
                  <a:pt x="160" y="40"/>
                  <a:pt x="160" y="40"/>
                </a:cubicBezTo>
                <a:close/>
                <a:moveTo>
                  <a:pt x="156" y="26"/>
                </a:moveTo>
                <a:cubicBezTo>
                  <a:pt x="156" y="26"/>
                  <a:pt x="156" y="26"/>
                  <a:pt x="156" y="26"/>
                </a:cubicBezTo>
                <a:cubicBezTo>
                  <a:pt x="156" y="26"/>
                  <a:pt x="156" y="26"/>
                  <a:pt x="156" y="26"/>
                </a:cubicBezTo>
                <a:cubicBezTo>
                  <a:pt x="156" y="25"/>
                  <a:pt x="156" y="25"/>
                  <a:pt x="156" y="25"/>
                </a:cubicBezTo>
                <a:cubicBezTo>
                  <a:pt x="156" y="25"/>
                  <a:pt x="156" y="25"/>
                  <a:pt x="156" y="25"/>
                </a:cubicBezTo>
                <a:cubicBezTo>
                  <a:pt x="157" y="26"/>
                  <a:pt x="157" y="26"/>
                  <a:pt x="157" y="26"/>
                </a:cubicBezTo>
                <a:cubicBezTo>
                  <a:pt x="156" y="26"/>
                  <a:pt x="156" y="26"/>
                  <a:pt x="156" y="26"/>
                </a:cubicBezTo>
                <a:close/>
                <a:moveTo>
                  <a:pt x="158" y="28"/>
                </a:moveTo>
                <a:cubicBezTo>
                  <a:pt x="157" y="29"/>
                  <a:pt x="157" y="29"/>
                  <a:pt x="157" y="29"/>
                </a:cubicBezTo>
                <a:cubicBezTo>
                  <a:pt x="158" y="29"/>
                  <a:pt x="158" y="29"/>
                  <a:pt x="158" y="29"/>
                </a:cubicBezTo>
                <a:cubicBezTo>
                  <a:pt x="159" y="28"/>
                  <a:pt x="159" y="28"/>
                  <a:pt x="159" y="28"/>
                </a:cubicBezTo>
                <a:cubicBezTo>
                  <a:pt x="160" y="28"/>
                  <a:pt x="160" y="28"/>
                  <a:pt x="160" y="28"/>
                </a:cubicBezTo>
                <a:cubicBezTo>
                  <a:pt x="161" y="27"/>
                  <a:pt x="161" y="27"/>
                  <a:pt x="161" y="27"/>
                </a:cubicBezTo>
                <a:cubicBezTo>
                  <a:pt x="160" y="27"/>
                  <a:pt x="160" y="27"/>
                  <a:pt x="160" y="27"/>
                </a:cubicBezTo>
                <a:cubicBezTo>
                  <a:pt x="160" y="27"/>
                  <a:pt x="160" y="27"/>
                  <a:pt x="160" y="27"/>
                </a:cubicBezTo>
                <a:cubicBezTo>
                  <a:pt x="159" y="27"/>
                  <a:pt x="159" y="27"/>
                  <a:pt x="159" y="27"/>
                </a:cubicBezTo>
                <a:cubicBezTo>
                  <a:pt x="160" y="26"/>
                  <a:pt x="160" y="26"/>
                  <a:pt x="160" y="26"/>
                </a:cubicBezTo>
                <a:cubicBezTo>
                  <a:pt x="160" y="26"/>
                  <a:pt x="160" y="26"/>
                  <a:pt x="160" y="26"/>
                </a:cubicBezTo>
                <a:cubicBezTo>
                  <a:pt x="159" y="26"/>
                  <a:pt x="159" y="26"/>
                  <a:pt x="159" y="26"/>
                </a:cubicBezTo>
                <a:cubicBezTo>
                  <a:pt x="159" y="25"/>
                  <a:pt x="159" y="25"/>
                  <a:pt x="159" y="25"/>
                </a:cubicBezTo>
                <a:cubicBezTo>
                  <a:pt x="159" y="25"/>
                  <a:pt x="159" y="25"/>
                  <a:pt x="159" y="25"/>
                </a:cubicBezTo>
                <a:cubicBezTo>
                  <a:pt x="158" y="26"/>
                  <a:pt x="158" y="26"/>
                  <a:pt x="158" y="26"/>
                </a:cubicBezTo>
                <a:cubicBezTo>
                  <a:pt x="157" y="26"/>
                  <a:pt x="157" y="26"/>
                  <a:pt x="157" y="26"/>
                </a:cubicBezTo>
                <a:cubicBezTo>
                  <a:pt x="158" y="26"/>
                  <a:pt x="158" y="26"/>
                  <a:pt x="158" y="26"/>
                </a:cubicBezTo>
                <a:cubicBezTo>
                  <a:pt x="157" y="27"/>
                  <a:pt x="157" y="27"/>
                  <a:pt x="157" y="27"/>
                </a:cubicBezTo>
                <a:cubicBezTo>
                  <a:pt x="158" y="28"/>
                  <a:pt x="158" y="28"/>
                  <a:pt x="158" y="28"/>
                </a:cubicBezTo>
                <a:close/>
                <a:moveTo>
                  <a:pt x="159" y="9"/>
                </a:moveTo>
                <a:cubicBezTo>
                  <a:pt x="160" y="9"/>
                  <a:pt x="160" y="9"/>
                  <a:pt x="160" y="9"/>
                </a:cubicBezTo>
                <a:cubicBezTo>
                  <a:pt x="160" y="8"/>
                  <a:pt x="160" y="8"/>
                  <a:pt x="160" y="8"/>
                </a:cubicBezTo>
                <a:cubicBezTo>
                  <a:pt x="161" y="7"/>
                  <a:pt x="161" y="7"/>
                  <a:pt x="161" y="7"/>
                </a:cubicBezTo>
                <a:cubicBezTo>
                  <a:pt x="160" y="7"/>
                  <a:pt x="160" y="7"/>
                  <a:pt x="160" y="7"/>
                </a:cubicBezTo>
                <a:cubicBezTo>
                  <a:pt x="159" y="8"/>
                  <a:pt x="159" y="8"/>
                  <a:pt x="159" y="8"/>
                </a:cubicBezTo>
                <a:cubicBezTo>
                  <a:pt x="159" y="9"/>
                  <a:pt x="159" y="9"/>
                  <a:pt x="159" y="9"/>
                </a:cubicBezTo>
                <a:close/>
                <a:moveTo>
                  <a:pt x="157" y="10"/>
                </a:moveTo>
                <a:cubicBezTo>
                  <a:pt x="158" y="10"/>
                  <a:pt x="158" y="10"/>
                  <a:pt x="158" y="10"/>
                </a:cubicBezTo>
                <a:cubicBezTo>
                  <a:pt x="158" y="9"/>
                  <a:pt x="158" y="9"/>
                  <a:pt x="158" y="9"/>
                </a:cubicBezTo>
                <a:cubicBezTo>
                  <a:pt x="157" y="10"/>
                  <a:pt x="157" y="10"/>
                  <a:pt x="157" y="10"/>
                </a:cubicBezTo>
                <a:close/>
                <a:moveTo>
                  <a:pt x="156" y="10"/>
                </a:moveTo>
                <a:cubicBezTo>
                  <a:pt x="157" y="11"/>
                  <a:pt x="157" y="11"/>
                  <a:pt x="157" y="11"/>
                </a:cubicBezTo>
                <a:cubicBezTo>
                  <a:pt x="157" y="10"/>
                  <a:pt x="157" y="10"/>
                  <a:pt x="157" y="10"/>
                </a:cubicBezTo>
                <a:cubicBezTo>
                  <a:pt x="156" y="10"/>
                  <a:pt x="156" y="10"/>
                  <a:pt x="156" y="10"/>
                </a:cubicBezTo>
                <a:close/>
                <a:moveTo>
                  <a:pt x="154" y="11"/>
                </a:moveTo>
                <a:cubicBezTo>
                  <a:pt x="155" y="11"/>
                  <a:pt x="155" y="11"/>
                  <a:pt x="155" y="11"/>
                </a:cubicBezTo>
                <a:cubicBezTo>
                  <a:pt x="155" y="11"/>
                  <a:pt x="155" y="11"/>
                  <a:pt x="155" y="11"/>
                </a:cubicBezTo>
                <a:cubicBezTo>
                  <a:pt x="154" y="11"/>
                  <a:pt x="154" y="11"/>
                  <a:pt x="154" y="11"/>
                </a:cubicBezTo>
                <a:close/>
                <a:moveTo>
                  <a:pt x="153" y="13"/>
                </a:moveTo>
                <a:cubicBezTo>
                  <a:pt x="152" y="12"/>
                  <a:pt x="152" y="12"/>
                  <a:pt x="152" y="12"/>
                </a:cubicBezTo>
                <a:cubicBezTo>
                  <a:pt x="154" y="12"/>
                  <a:pt x="154" y="12"/>
                  <a:pt x="154" y="12"/>
                </a:cubicBezTo>
                <a:cubicBezTo>
                  <a:pt x="155" y="12"/>
                  <a:pt x="155" y="12"/>
                  <a:pt x="155" y="12"/>
                </a:cubicBezTo>
                <a:cubicBezTo>
                  <a:pt x="154" y="12"/>
                  <a:pt x="154" y="12"/>
                  <a:pt x="154" y="12"/>
                </a:cubicBezTo>
                <a:cubicBezTo>
                  <a:pt x="153" y="13"/>
                  <a:pt x="153" y="13"/>
                  <a:pt x="153" y="13"/>
                </a:cubicBezTo>
                <a:cubicBezTo>
                  <a:pt x="153" y="13"/>
                  <a:pt x="153" y="13"/>
                  <a:pt x="153" y="13"/>
                </a:cubicBezTo>
                <a:close/>
                <a:moveTo>
                  <a:pt x="151" y="14"/>
                </a:moveTo>
                <a:cubicBezTo>
                  <a:pt x="151" y="14"/>
                  <a:pt x="151" y="14"/>
                  <a:pt x="151" y="14"/>
                </a:cubicBezTo>
                <a:cubicBezTo>
                  <a:pt x="152" y="14"/>
                  <a:pt x="152" y="14"/>
                  <a:pt x="152" y="14"/>
                </a:cubicBezTo>
                <a:cubicBezTo>
                  <a:pt x="152" y="13"/>
                  <a:pt x="152" y="13"/>
                  <a:pt x="152" y="13"/>
                </a:cubicBezTo>
                <a:cubicBezTo>
                  <a:pt x="151" y="14"/>
                  <a:pt x="151" y="14"/>
                  <a:pt x="151" y="14"/>
                </a:cubicBezTo>
                <a:close/>
                <a:moveTo>
                  <a:pt x="135" y="9"/>
                </a:moveTo>
                <a:cubicBezTo>
                  <a:pt x="134" y="7"/>
                  <a:pt x="134" y="7"/>
                  <a:pt x="134" y="7"/>
                </a:cubicBezTo>
                <a:cubicBezTo>
                  <a:pt x="134" y="6"/>
                  <a:pt x="134" y="6"/>
                  <a:pt x="134" y="6"/>
                </a:cubicBezTo>
                <a:cubicBezTo>
                  <a:pt x="135" y="6"/>
                  <a:pt x="135" y="6"/>
                  <a:pt x="135" y="6"/>
                </a:cubicBezTo>
                <a:cubicBezTo>
                  <a:pt x="135" y="7"/>
                  <a:pt x="135" y="7"/>
                  <a:pt x="135" y="7"/>
                </a:cubicBezTo>
                <a:cubicBezTo>
                  <a:pt x="135" y="9"/>
                  <a:pt x="135" y="9"/>
                  <a:pt x="135" y="9"/>
                </a:cubicBezTo>
                <a:close/>
                <a:moveTo>
                  <a:pt x="121" y="8"/>
                </a:moveTo>
                <a:cubicBezTo>
                  <a:pt x="121" y="9"/>
                  <a:pt x="121" y="9"/>
                  <a:pt x="121" y="9"/>
                </a:cubicBezTo>
                <a:cubicBezTo>
                  <a:pt x="122" y="11"/>
                  <a:pt x="122" y="11"/>
                  <a:pt x="122" y="11"/>
                </a:cubicBezTo>
                <a:cubicBezTo>
                  <a:pt x="123" y="12"/>
                  <a:pt x="123" y="12"/>
                  <a:pt x="123" y="12"/>
                </a:cubicBezTo>
                <a:cubicBezTo>
                  <a:pt x="124" y="13"/>
                  <a:pt x="124" y="13"/>
                  <a:pt x="124" y="13"/>
                </a:cubicBezTo>
                <a:cubicBezTo>
                  <a:pt x="127" y="10"/>
                  <a:pt x="127" y="10"/>
                  <a:pt x="127" y="10"/>
                </a:cubicBezTo>
                <a:cubicBezTo>
                  <a:pt x="127" y="10"/>
                  <a:pt x="127" y="10"/>
                  <a:pt x="127" y="10"/>
                </a:cubicBezTo>
                <a:cubicBezTo>
                  <a:pt x="127" y="10"/>
                  <a:pt x="127" y="10"/>
                  <a:pt x="127" y="10"/>
                </a:cubicBezTo>
                <a:cubicBezTo>
                  <a:pt x="128" y="9"/>
                  <a:pt x="128" y="9"/>
                  <a:pt x="128" y="9"/>
                </a:cubicBezTo>
                <a:cubicBezTo>
                  <a:pt x="127" y="9"/>
                  <a:pt x="127" y="9"/>
                  <a:pt x="127" y="9"/>
                </a:cubicBezTo>
                <a:cubicBezTo>
                  <a:pt x="127" y="8"/>
                  <a:pt x="127" y="8"/>
                  <a:pt x="127" y="8"/>
                </a:cubicBezTo>
                <a:cubicBezTo>
                  <a:pt x="126" y="8"/>
                  <a:pt x="126" y="8"/>
                  <a:pt x="126" y="8"/>
                </a:cubicBezTo>
                <a:cubicBezTo>
                  <a:pt x="126" y="8"/>
                  <a:pt x="126" y="8"/>
                  <a:pt x="126" y="8"/>
                </a:cubicBezTo>
                <a:cubicBezTo>
                  <a:pt x="124" y="8"/>
                  <a:pt x="124" y="8"/>
                  <a:pt x="124" y="8"/>
                </a:cubicBezTo>
                <a:cubicBezTo>
                  <a:pt x="123" y="9"/>
                  <a:pt x="123" y="9"/>
                  <a:pt x="123" y="9"/>
                </a:cubicBezTo>
                <a:cubicBezTo>
                  <a:pt x="123" y="9"/>
                  <a:pt x="123" y="9"/>
                  <a:pt x="123" y="9"/>
                </a:cubicBezTo>
                <a:cubicBezTo>
                  <a:pt x="122" y="8"/>
                  <a:pt x="122" y="8"/>
                  <a:pt x="122" y="8"/>
                </a:cubicBezTo>
                <a:cubicBezTo>
                  <a:pt x="122" y="8"/>
                  <a:pt x="122" y="8"/>
                  <a:pt x="122" y="8"/>
                </a:cubicBezTo>
                <a:cubicBezTo>
                  <a:pt x="121" y="8"/>
                  <a:pt x="121" y="8"/>
                  <a:pt x="121" y="8"/>
                </a:cubicBezTo>
                <a:cubicBezTo>
                  <a:pt x="120" y="8"/>
                  <a:pt x="120" y="8"/>
                  <a:pt x="120" y="8"/>
                </a:cubicBezTo>
                <a:cubicBezTo>
                  <a:pt x="121" y="8"/>
                  <a:pt x="121" y="8"/>
                  <a:pt x="121" y="8"/>
                </a:cubicBezTo>
                <a:close/>
                <a:moveTo>
                  <a:pt x="120" y="8"/>
                </a:moveTo>
                <a:cubicBezTo>
                  <a:pt x="121" y="11"/>
                  <a:pt x="121" y="11"/>
                  <a:pt x="121" y="11"/>
                </a:cubicBezTo>
                <a:cubicBezTo>
                  <a:pt x="122" y="11"/>
                  <a:pt x="122" y="11"/>
                  <a:pt x="122" y="11"/>
                </a:cubicBezTo>
                <a:cubicBezTo>
                  <a:pt x="122" y="11"/>
                  <a:pt x="122" y="11"/>
                  <a:pt x="122" y="11"/>
                </a:cubicBezTo>
                <a:cubicBezTo>
                  <a:pt x="121" y="11"/>
                  <a:pt x="121" y="11"/>
                  <a:pt x="121" y="11"/>
                </a:cubicBezTo>
                <a:cubicBezTo>
                  <a:pt x="120" y="11"/>
                  <a:pt x="120" y="11"/>
                  <a:pt x="120" y="11"/>
                </a:cubicBezTo>
                <a:cubicBezTo>
                  <a:pt x="119" y="11"/>
                  <a:pt x="119" y="11"/>
                  <a:pt x="119" y="11"/>
                </a:cubicBezTo>
                <a:cubicBezTo>
                  <a:pt x="119" y="10"/>
                  <a:pt x="119" y="10"/>
                  <a:pt x="119" y="10"/>
                </a:cubicBezTo>
                <a:cubicBezTo>
                  <a:pt x="119" y="10"/>
                  <a:pt x="119" y="10"/>
                  <a:pt x="119" y="10"/>
                </a:cubicBezTo>
                <a:cubicBezTo>
                  <a:pt x="120" y="10"/>
                  <a:pt x="120" y="10"/>
                  <a:pt x="120" y="10"/>
                </a:cubicBezTo>
                <a:cubicBezTo>
                  <a:pt x="120" y="10"/>
                  <a:pt x="120" y="10"/>
                  <a:pt x="120" y="10"/>
                </a:cubicBezTo>
                <a:cubicBezTo>
                  <a:pt x="119" y="10"/>
                  <a:pt x="119" y="10"/>
                  <a:pt x="119" y="10"/>
                </a:cubicBezTo>
                <a:cubicBezTo>
                  <a:pt x="120" y="9"/>
                  <a:pt x="120" y="9"/>
                  <a:pt x="120" y="9"/>
                </a:cubicBezTo>
                <a:cubicBezTo>
                  <a:pt x="119" y="9"/>
                  <a:pt x="119" y="9"/>
                  <a:pt x="119" y="9"/>
                </a:cubicBezTo>
                <a:cubicBezTo>
                  <a:pt x="120" y="8"/>
                  <a:pt x="120" y="8"/>
                  <a:pt x="120" y="8"/>
                </a:cubicBezTo>
                <a:close/>
                <a:moveTo>
                  <a:pt x="80" y="35"/>
                </a:moveTo>
                <a:cubicBezTo>
                  <a:pt x="81" y="36"/>
                  <a:pt x="81" y="36"/>
                  <a:pt x="81" y="36"/>
                </a:cubicBezTo>
                <a:cubicBezTo>
                  <a:pt x="82" y="36"/>
                  <a:pt x="82" y="36"/>
                  <a:pt x="82" y="36"/>
                </a:cubicBezTo>
                <a:cubicBezTo>
                  <a:pt x="81" y="35"/>
                  <a:pt x="81" y="35"/>
                  <a:pt x="81" y="35"/>
                </a:cubicBezTo>
                <a:cubicBezTo>
                  <a:pt x="81" y="35"/>
                  <a:pt x="80" y="35"/>
                  <a:pt x="80" y="35"/>
                </a:cubicBezTo>
                <a:close/>
                <a:moveTo>
                  <a:pt x="80" y="40"/>
                </a:moveTo>
                <a:cubicBezTo>
                  <a:pt x="80" y="38"/>
                  <a:pt x="80" y="38"/>
                  <a:pt x="80" y="38"/>
                </a:cubicBezTo>
                <a:cubicBezTo>
                  <a:pt x="80" y="37"/>
                  <a:pt x="80" y="37"/>
                  <a:pt x="80" y="37"/>
                </a:cubicBezTo>
                <a:cubicBezTo>
                  <a:pt x="80" y="39"/>
                  <a:pt x="80" y="39"/>
                  <a:pt x="80" y="39"/>
                </a:cubicBezTo>
                <a:cubicBezTo>
                  <a:pt x="80" y="40"/>
                  <a:pt x="80" y="40"/>
                  <a:pt x="80" y="40"/>
                </a:cubicBezTo>
                <a:close/>
                <a:moveTo>
                  <a:pt x="86" y="30"/>
                </a:moveTo>
                <a:cubicBezTo>
                  <a:pt x="85" y="30"/>
                  <a:pt x="85" y="30"/>
                  <a:pt x="85" y="30"/>
                </a:cubicBezTo>
                <a:cubicBezTo>
                  <a:pt x="85" y="30"/>
                  <a:pt x="85" y="30"/>
                  <a:pt x="85" y="30"/>
                </a:cubicBezTo>
                <a:cubicBezTo>
                  <a:pt x="86" y="30"/>
                  <a:pt x="86" y="30"/>
                  <a:pt x="86" y="30"/>
                </a:cubicBezTo>
                <a:cubicBezTo>
                  <a:pt x="86" y="30"/>
                  <a:pt x="86" y="30"/>
                  <a:pt x="86" y="30"/>
                </a:cubicBezTo>
                <a:close/>
                <a:moveTo>
                  <a:pt x="19" y="74"/>
                </a:moveTo>
                <a:cubicBezTo>
                  <a:pt x="19" y="73"/>
                  <a:pt x="19" y="73"/>
                  <a:pt x="19" y="73"/>
                </a:cubicBezTo>
                <a:cubicBezTo>
                  <a:pt x="20" y="71"/>
                  <a:pt x="20" y="71"/>
                  <a:pt x="20" y="71"/>
                </a:cubicBezTo>
                <a:cubicBezTo>
                  <a:pt x="20" y="73"/>
                  <a:pt x="20" y="73"/>
                  <a:pt x="20" y="73"/>
                </a:cubicBezTo>
                <a:cubicBezTo>
                  <a:pt x="19" y="74"/>
                  <a:pt x="19" y="74"/>
                  <a:pt x="19" y="74"/>
                </a:cubicBezTo>
                <a:close/>
                <a:moveTo>
                  <a:pt x="0" y="106"/>
                </a:moveTo>
                <a:cubicBezTo>
                  <a:pt x="1" y="103"/>
                  <a:pt x="1" y="103"/>
                  <a:pt x="1" y="103"/>
                </a:cubicBezTo>
                <a:cubicBezTo>
                  <a:pt x="1" y="105"/>
                  <a:pt x="1" y="105"/>
                  <a:pt x="1" y="105"/>
                </a:cubicBezTo>
                <a:cubicBezTo>
                  <a:pt x="1" y="105"/>
                  <a:pt x="0" y="106"/>
                  <a:pt x="0" y="106"/>
                </a:cubicBezTo>
                <a:close/>
                <a:moveTo>
                  <a:pt x="0" y="111"/>
                </a:moveTo>
                <a:cubicBezTo>
                  <a:pt x="0" y="108"/>
                  <a:pt x="0" y="108"/>
                  <a:pt x="0" y="108"/>
                </a:cubicBezTo>
                <a:cubicBezTo>
                  <a:pt x="0" y="107"/>
                  <a:pt x="0" y="107"/>
                  <a:pt x="0" y="107"/>
                </a:cubicBezTo>
                <a:cubicBezTo>
                  <a:pt x="1" y="109"/>
                  <a:pt x="1" y="109"/>
                  <a:pt x="1" y="109"/>
                </a:cubicBezTo>
                <a:cubicBezTo>
                  <a:pt x="0" y="111"/>
                  <a:pt x="0" y="111"/>
                  <a:pt x="0" y="111"/>
                </a:cubicBezTo>
                <a:close/>
                <a:moveTo>
                  <a:pt x="139" y="192"/>
                </a:moveTo>
                <a:cubicBezTo>
                  <a:pt x="139" y="193"/>
                  <a:pt x="139" y="193"/>
                  <a:pt x="139" y="193"/>
                </a:cubicBezTo>
                <a:cubicBezTo>
                  <a:pt x="140" y="194"/>
                  <a:pt x="140" y="194"/>
                  <a:pt x="140" y="194"/>
                </a:cubicBezTo>
                <a:cubicBezTo>
                  <a:pt x="140" y="194"/>
                  <a:pt x="140" y="194"/>
                  <a:pt x="140" y="194"/>
                </a:cubicBezTo>
                <a:cubicBezTo>
                  <a:pt x="140" y="195"/>
                  <a:pt x="140" y="195"/>
                  <a:pt x="140" y="195"/>
                </a:cubicBezTo>
                <a:cubicBezTo>
                  <a:pt x="141" y="195"/>
                  <a:pt x="141" y="195"/>
                  <a:pt x="141" y="195"/>
                </a:cubicBezTo>
                <a:cubicBezTo>
                  <a:pt x="142" y="194"/>
                  <a:pt x="142" y="194"/>
                  <a:pt x="142" y="194"/>
                </a:cubicBezTo>
                <a:cubicBezTo>
                  <a:pt x="143" y="195"/>
                  <a:pt x="143" y="195"/>
                  <a:pt x="143" y="195"/>
                </a:cubicBezTo>
                <a:cubicBezTo>
                  <a:pt x="142" y="195"/>
                  <a:pt x="142" y="195"/>
                  <a:pt x="142" y="195"/>
                </a:cubicBezTo>
                <a:cubicBezTo>
                  <a:pt x="139" y="195"/>
                  <a:pt x="139" y="195"/>
                  <a:pt x="139" y="195"/>
                </a:cubicBezTo>
                <a:cubicBezTo>
                  <a:pt x="139" y="196"/>
                  <a:pt x="139" y="196"/>
                  <a:pt x="139" y="196"/>
                </a:cubicBezTo>
                <a:cubicBezTo>
                  <a:pt x="138" y="196"/>
                  <a:pt x="138" y="196"/>
                  <a:pt x="138" y="196"/>
                </a:cubicBezTo>
                <a:cubicBezTo>
                  <a:pt x="138" y="196"/>
                  <a:pt x="138" y="196"/>
                  <a:pt x="138" y="196"/>
                </a:cubicBezTo>
                <a:cubicBezTo>
                  <a:pt x="138" y="196"/>
                  <a:pt x="138" y="196"/>
                  <a:pt x="138" y="196"/>
                </a:cubicBezTo>
                <a:cubicBezTo>
                  <a:pt x="137" y="196"/>
                  <a:pt x="137" y="196"/>
                  <a:pt x="137" y="196"/>
                </a:cubicBezTo>
                <a:cubicBezTo>
                  <a:pt x="136" y="196"/>
                  <a:pt x="136" y="196"/>
                  <a:pt x="136" y="196"/>
                </a:cubicBezTo>
                <a:cubicBezTo>
                  <a:pt x="135" y="196"/>
                  <a:pt x="135" y="196"/>
                  <a:pt x="135" y="196"/>
                </a:cubicBezTo>
                <a:cubicBezTo>
                  <a:pt x="135" y="196"/>
                  <a:pt x="135" y="196"/>
                  <a:pt x="135" y="196"/>
                </a:cubicBezTo>
                <a:cubicBezTo>
                  <a:pt x="133" y="196"/>
                  <a:pt x="133" y="196"/>
                  <a:pt x="133" y="196"/>
                </a:cubicBezTo>
                <a:cubicBezTo>
                  <a:pt x="132" y="195"/>
                  <a:pt x="132" y="195"/>
                  <a:pt x="132" y="195"/>
                </a:cubicBezTo>
                <a:cubicBezTo>
                  <a:pt x="133" y="194"/>
                  <a:pt x="133" y="194"/>
                  <a:pt x="133" y="194"/>
                </a:cubicBezTo>
                <a:cubicBezTo>
                  <a:pt x="134" y="194"/>
                  <a:pt x="134" y="194"/>
                  <a:pt x="134" y="194"/>
                </a:cubicBezTo>
                <a:cubicBezTo>
                  <a:pt x="137" y="193"/>
                  <a:pt x="137" y="193"/>
                  <a:pt x="137" y="193"/>
                </a:cubicBezTo>
                <a:cubicBezTo>
                  <a:pt x="139" y="193"/>
                  <a:pt x="139" y="193"/>
                  <a:pt x="139" y="193"/>
                </a:cubicBezTo>
                <a:cubicBezTo>
                  <a:pt x="139" y="192"/>
                  <a:pt x="139" y="192"/>
                  <a:pt x="139" y="192"/>
                </a:cubicBezTo>
                <a:close/>
                <a:moveTo>
                  <a:pt x="180" y="222"/>
                </a:moveTo>
                <a:cubicBezTo>
                  <a:pt x="181" y="222"/>
                  <a:pt x="181" y="222"/>
                  <a:pt x="181" y="222"/>
                </a:cubicBezTo>
                <a:cubicBezTo>
                  <a:pt x="181" y="222"/>
                  <a:pt x="181" y="222"/>
                  <a:pt x="181" y="222"/>
                </a:cubicBezTo>
                <a:cubicBezTo>
                  <a:pt x="181" y="223"/>
                  <a:pt x="181" y="223"/>
                  <a:pt x="181" y="223"/>
                </a:cubicBezTo>
                <a:cubicBezTo>
                  <a:pt x="180" y="222"/>
                  <a:pt x="180" y="222"/>
                  <a:pt x="180" y="222"/>
                </a:cubicBezTo>
                <a:close/>
                <a:moveTo>
                  <a:pt x="187" y="226"/>
                </a:moveTo>
                <a:cubicBezTo>
                  <a:pt x="187" y="227"/>
                  <a:pt x="187" y="227"/>
                  <a:pt x="187" y="227"/>
                </a:cubicBezTo>
                <a:cubicBezTo>
                  <a:pt x="188" y="226"/>
                  <a:pt x="188" y="226"/>
                  <a:pt x="188" y="226"/>
                </a:cubicBezTo>
                <a:cubicBezTo>
                  <a:pt x="187" y="226"/>
                  <a:pt x="187" y="226"/>
                  <a:pt x="187" y="226"/>
                </a:cubicBezTo>
                <a:close/>
                <a:moveTo>
                  <a:pt x="172" y="243"/>
                </a:moveTo>
                <a:cubicBezTo>
                  <a:pt x="172" y="244"/>
                  <a:pt x="172" y="244"/>
                  <a:pt x="172" y="244"/>
                </a:cubicBezTo>
                <a:cubicBezTo>
                  <a:pt x="173" y="244"/>
                  <a:pt x="173" y="244"/>
                  <a:pt x="173" y="244"/>
                </a:cubicBezTo>
                <a:cubicBezTo>
                  <a:pt x="173" y="244"/>
                  <a:pt x="173" y="244"/>
                  <a:pt x="173" y="244"/>
                </a:cubicBezTo>
                <a:cubicBezTo>
                  <a:pt x="173" y="243"/>
                  <a:pt x="173" y="243"/>
                  <a:pt x="173" y="243"/>
                </a:cubicBezTo>
                <a:cubicBezTo>
                  <a:pt x="172" y="243"/>
                  <a:pt x="172" y="243"/>
                  <a:pt x="172" y="243"/>
                </a:cubicBezTo>
                <a:close/>
                <a:moveTo>
                  <a:pt x="172" y="241"/>
                </a:moveTo>
                <a:cubicBezTo>
                  <a:pt x="172" y="242"/>
                  <a:pt x="172" y="242"/>
                  <a:pt x="172" y="242"/>
                </a:cubicBezTo>
                <a:cubicBezTo>
                  <a:pt x="173" y="242"/>
                  <a:pt x="173" y="242"/>
                  <a:pt x="173" y="242"/>
                </a:cubicBezTo>
                <a:cubicBezTo>
                  <a:pt x="173" y="241"/>
                  <a:pt x="173" y="241"/>
                  <a:pt x="173" y="241"/>
                </a:cubicBezTo>
                <a:cubicBezTo>
                  <a:pt x="172" y="241"/>
                  <a:pt x="172" y="241"/>
                  <a:pt x="172" y="241"/>
                </a:cubicBezTo>
                <a:close/>
                <a:moveTo>
                  <a:pt x="171" y="242"/>
                </a:moveTo>
                <a:cubicBezTo>
                  <a:pt x="171" y="242"/>
                  <a:pt x="171" y="242"/>
                  <a:pt x="171" y="242"/>
                </a:cubicBezTo>
                <a:cubicBezTo>
                  <a:pt x="171" y="241"/>
                  <a:pt x="171" y="241"/>
                  <a:pt x="171" y="241"/>
                </a:cubicBezTo>
                <a:cubicBezTo>
                  <a:pt x="172" y="240"/>
                  <a:pt x="172" y="240"/>
                  <a:pt x="172" y="240"/>
                </a:cubicBezTo>
                <a:cubicBezTo>
                  <a:pt x="172" y="241"/>
                  <a:pt x="172" y="241"/>
                  <a:pt x="172" y="241"/>
                </a:cubicBezTo>
                <a:cubicBezTo>
                  <a:pt x="171" y="242"/>
                  <a:pt x="171" y="242"/>
                  <a:pt x="171" y="242"/>
                </a:cubicBezTo>
                <a:close/>
                <a:moveTo>
                  <a:pt x="167" y="238"/>
                </a:moveTo>
                <a:cubicBezTo>
                  <a:pt x="167" y="237"/>
                  <a:pt x="167" y="237"/>
                  <a:pt x="167" y="237"/>
                </a:cubicBezTo>
                <a:cubicBezTo>
                  <a:pt x="167" y="236"/>
                  <a:pt x="167" y="236"/>
                  <a:pt x="167" y="236"/>
                </a:cubicBezTo>
                <a:cubicBezTo>
                  <a:pt x="168" y="235"/>
                  <a:pt x="168" y="235"/>
                  <a:pt x="168" y="235"/>
                </a:cubicBezTo>
                <a:cubicBezTo>
                  <a:pt x="168" y="234"/>
                  <a:pt x="168" y="234"/>
                  <a:pt x="168" y="234"/>
                </a:cubicBezTo>
                <a:cubicBezTo>
                  <a:pt x="169" y="233"/>
                  <a:pt x="169" y="233"/>
                  <a:pt x="169" y="233"/>
                </a:cubicBezTo>
                <a:cubicBezTo>
                  <a:pt x="169" y="232"/>
                  <a:pt x="169" y="232"/>
                  <a:pt x="169" y="232"/>
                </a:cubicBezTo>
                <a:cubicBezTo>
                  <a:pt x="170" y="233"/>
                  <a:pt x="170" y="233"/>
                  <a:pt x="170" y="233"/>
                </a:cubicBezTo>
                <a:cubicBezTo>
                  <a:pt x="170" y="235"/>
                  <a:pt x="170" y="235"/>
                  <a:pt x="170" y="235"/>
                </a:cubicBezTo>
                <a:cubicBezTo>
                  <a:pt x="170" y="235"/>
                  <a:pt x="170" y="235"/>
                  <a:pt x="170" y="235"/>
                </a:cubicBezTo>
                <a:cubicBezTo>
                  <a:pt x="169" y="237"/>
                  <a:pt x="169" y="237"/>
                  <a:pt x="169" y="237"/>
                </a:cubicBezTo>
                <a:cubicBezTo>
                  <a:pt x="169" y="237"/>
                  <a:pt x="169" y="237"/>
                  <a:pt x="169" y="237"/>
                </a:cubicBezTo>
                <a:cubicBezTo>
                  <a:pt x="168" y="238"/>
                  <a:pt x="168" y="238"/>
                  <a:pt x="168" y="238"/>
                </a:cubicBezTo>
                <a:cubicBezTo>
                  <a:pt x="167" y="238"/>
                  <a:pt x="167" y="238"/>
                  <a:pt x="167" y="238"/>
                </a:cubicBezTo>
                <a:close/>
                <a:moveTo>
                  <a:pt x="192" y="241"/>
                </a:moveTo>
                <a:cubicBezTo>
                  <a:pt x="195" y="240"/>
                  <a:pt x="195" y="240"/>
                  <a:pt x="195" y="240"/>
                </a:cubicBezTo>
                <a:cubicBezTo>
                  <a:pt x="195" y="239"/>
                  <a:pt x="195" y="239"/>
                  <a:pt x="195" y="239"/>
                </a:cubicBezTo>
                <a:cubicBezTo>
                  <a:pt x="192" y="237"/>
                  <a:pt x="192" y="237"/>
                  <a:pt x="192" y="237"/>
                </a:cubicBezTo>
                <a:cubicBezTo>
                  <a:pt x="192" y="237"/>
                  <a:pt x="192" y="237"/>
                  <a:pt x="192" y="237"/>
                </a:cubicBezTo>
                <a:cubicBezTo>
                  <a:pt x="192" y="238"/>
                  <a:pt x="192" y="238"/>
                  <a:pt x="192" y="238"/>
                </a:cubicBezTo>
                <a:cubicBezTo>
                  <a:pt x="191" y="239"/>
                  <a:pt x="191" y="239"/>
                  <a:pt x="191" y="239"/>
                </a:cubicBezTo>
                <a:cubicBezTo>
                  <a:pt x="192" y="240"/>
                  <a:pt x="192" y="240"/>
                  <a:pt x="192" y="240"/>
                </a:cubicBezTo>
                <a:cubicBezTo>
                  <a:pt x="192" y="241"/>
                  <a:pt x="192" y="241"/>
                  <a:pt x="192" y="241"/>
                </a:cubicBezTo>
                <a:close/>
                <a:moveTo>
                  <a:pt x="191" y="242"/>
                </a:moveTo>
                <a:cubicBezTo>
                  <a:pt x="191" y="243"/>
                  <a:pt x="191" y="243"/>
                  <a:pt x="191" y="243"/>
                </a:cubicBezTo>
                <a:cubicBezTo>
                  <a:pt x="193" y="243"/>
                  <a:pt x="193" y="243"/>
                  <a:pt x="193" y="243"/>
                </a:cubicBezTo>
                <a:cubicBezTo>
                  <a:pt x="194" y="244"/>
                  <a:pt x="194" y="244"/>
                  <a:pt x="194" y="244"/>
                </a:cubicBezTo>
                <a:cubicBezTo>
                  <a:pt x="195" y="243"/>
                  <a:pt x="195" y="243"/>
                  <a:pt x="195" y="243"/>
                </a:cubicBezTo>
                <a:cubicBezTo>
                  <a:pt x="193" y="242"/>
                  <a:pt x="193" y="242"/>
                  <a:pt x="193" y="242"/>
                </a:cubicBezTo>
                <a:cubicBezTo>
                  <a:pt x="192" y="242"/>
                  <a:pt x="192" y="242"/>
                  <a:pt x="192" y="242"/>
                </a:cubicBezTo>
                <a:cubicBezTo>
                  <a:pt x="191" y="242"/>
                  <a:pt x="191" y="242"/>
                  <a:pt x="191" y="242"/>
                </a:cubicBezTo>
                <a:close/>
                <a:moveTo>
                  <a:pt x="192" y="245"/>
                </a:moveTo>
                <a:cubicBezTo>
                  <a:pt x="192" y="245"/>
                  <a:pt x="192" y="245"/>
                  <a:pt x="192" y="245"/>
                </a:cubicBezTo>
                <a:cubicBezTo>
                  <a:pt x="193" y="244"/>
                  <a:pt x="193" y="244"/>
                  <a:pt x="193" y="244"/>
                </a:cubicBezTo>
                <a:cubicBezTo>
                  <a:pt x="192" y="245"/>
                  <a:pt x="192" y="245"/>
                  <a:pt x="192" y="245"/>
                </a:cubicBezTo>
                <a:close/>
                <a:moveTo>
                  <a:pt x="186" y="266"/>
                </a:moveTo>
                <a:cubicBezTo>
                  <a:pt x="186" y="265"/>
                  <a:pt x="186" y="265"/>
                  <a:pt x="186" y="265"/>
                </a:cubicBezTo>
                <a:cubicBezTo>
                  <a:pt x="186" y="265"/>
                  <a:pt x="186" y="265"/>
                  <a:pt x="186" y="265"/>
                </a:cubicBezTo>
                <a:cubicBezTo>
                  <a:pt x="186" y="266"/>
                  <a:pt x="186" y="266"/>
                  <a:pt x="186" y="266"/>
                </a:cubicBezTo>
                <a:close/>
                <a:moveTo>
                  <a:pt x="178" y="273"/>
                </a:moveTo>
                <a:cubicBezTo>
                  <a:pt x="177" y="272"/>
                  <a:pt x="177" y="272"/>
                  <a:pt x="177" y="272"/>
                </a:cubicBezTo>
                <a:cubicBezTo>
                  <a:pt x="178" y="271"/>
                  <a:pt x="178" y="271"/>
                  <a:pt x="178" y="271"/>
                </a:cubicBezTo>
                <a:cubicBezTo>
                  <a:pt x="178" y="270"/>
                  <a:pt x="178" y="270"/>
                  <a:pt x="178" y="270"/>
                </a:cubicBezTo>
                <a:cubicBezTo>
                  <a:pt x="179" y="270"/>
                  <a:pt x="179" y="270"/>
                  <a:pt x="179" y="270"/>
                </a:cubicBezTo>
                <a:cubicBezTo>
                  <a:pt x="179" y="270"/>
                  <a:pt x="179" y="270"/>
                  <a:pt x="179" y="270"/>
                </a:cubicBezTo>
                <a:cubicBezTo>
                  <a:pt x="179" y="271"/>
                  <a:pt x="179" y="271"/>
                  <a:pt x="179" y="271"/>
                </a:cubicBezTo>
                <a:cubicBezTo>
                  <a:pt x="178" y="273"/>
                  <a:pt x="178" y="273"/>
                  <a:pt x="178" y="273"/>
                </a:cubicBezTo>
                <a:close/>
                <a:moveTo>
                  <a:pt x="170" y="272"/>
                </a:moveTo>
                <a:cubicBezTo>
                  <a:pt x="170" y="271"/>
                  <a:pt x="170" y="271"/>
                  <a:pt x="170" y="271"/>
                </a:cubicBezTo>
                <a:cubicBezTo>
                  <a:pt x="171" y="270"/>
                  <a:pt x="171" y="270"/>
                  <a:pt x="171" y="270"/>
                </a:cubicBezTo>
                <a:cubicBezTo>
                  <a:pt x="170" y="270"/>
                  <a:pt x="170" y="270"/>
                  <a:pt x="170" y="270"/>
                </a:cubicBezTo>
                <a:cubicBezTo>
                  <a:pt x="169" y="268"/>
                  <a:pt x="169" y="268"/>
                  <a:pt x="169" y="268"/>
                </a:cubicBezTo>
                <a:cubicBezTo>
                  <a:pt x="170" y="268"/>
                  <a:pt x="170" y="268"/>
                  <a:pt x="170" y="268"/>
                </a:cubicBezTo>
                <a:cubicBezTo>
                  <a:pt x="169" y="267"/>
                  <a:pt x="169" y="267"/>
                  <a:pt x="169" y="267"/>
                </a:cubicBezTo>
                <a:cubicBezTo>
                  <a:pt x="169" y="264"/>
                  <a:pt x="169" y="264"/>
                  <a:pt x="169" y="264"/>
                </a:cubicBezTo>
                <a:cubicBezTo>
                  <a:pt x="169" y="263"/>
                  <a:pt x="169" y="263"/>
                  <a:pt x="169" y="263"/>
                </a:cubicBezTo>
                <a:cubicBezTo>
                  <a:pt x="168" y="262"/>
                  <a:pt x="168" y="262"/>
                  <a:pt x="168" y="262"/>
                </a:cubicBezTo>
                <a:cubicBezTo>
                  <a:pt x="168" y="260"/>
                  <a:pt x="168" y="260"/>
                  <a:pt x="168" y="260"/>
                </a:cubicBezTo>
                <a:cubicBezTo>
                  <a:pt x="169" y="259"/>
                  <a:pt x="169" y="259"/>
                  <a:pt x="169" y="259"/>
                </a:cubicBezTo>
                <a:cubicBezTo>
                  <a:pt x="170" y="260"/>
                  <a:pt x="170" y="260"/>
                  <a:pt x="170" y="260"/>
                </a:cubicBezTo>
                <a:cubicBezTo>
                  <a:pt x="171" y="260"/>
                  <a:pt x="171" y="260"/>
                  <a:pt x="171" y="260"/>
                </a:cubicBezTo>
                <a:cubicBezTo>
                  <a:pt x="170" y="259"/>
                  <a:pt x="170" y="259"/>
                  <a:pt x="170" y="259"/>
                </a:cubicBezTo>
                <a:cubicBezTo>
                  <a:pt x="170" y="258"/>
                  <a:pt x="170" y="258"/>
                  <a:pt x="170" y="258"/>
                </a:cubicBezTo>
                <a:cubicBezTo>
                  <a:pt x="169" y="258"/>
                  <a:pt x="169" y="258"/>
                  <a:pt x="169" y="258"/>
                </a:cubicBezTo>
                <a:cubicBezTo>
                  <a:pt x="170" y="256"/>
                  <a:pt x="170" y="256"/>
                  <a:pt x="170" y="256"/>
                </a:cubicBezTo>
                <a:cubicBezTo>
                  <a:pt x="169" y="254"/>
                  <a:pt x="169" y="254"/>
                  <a:pt x="169" y="254"/>
                </a:cubicBezTo>
                <a:cubicBezTo>
                  <a:pt x="169" y="251"/>
                  <a:pt x="169" y="251"/>
                  <a:pt x="169" y="251"/>
                </a:cubicBezTo>
                <a:cubicBezTo>
                  <a:pt x="170" y="249"/>
                  <a:pt x="170" y="249"/>
                  <a:pt x="170" y="249"/>
                </a:cubicBezTo>
                <a:cubicBezTo>
                  <a:pt x="169" y="247"/>
                  <a:pt x="169" y="247"/>
                  <a:pt x="169" y="247"/>
                </a:cubicBezTo>
                <a:cubicBezTo>
                  <a:pt x="169" y="246"/>
                  <a:pt x="169" y="246"/>
                  <a:pt x="169" y="246"/>
                </a:cubicBezTo>
                <a:cubicBezTo>
                  <a:pt x="170" y="245"/>
                  <a:pt x="170" y="245"/>
                  <a:pt x="170" y="245"/>
                </a:cubicBezTo>
                <a:cubicBezTo>
                  <a:pt x="170" y="244"/>
                  <a:pt x="170" y="244"/>
                  <a:pt x="170" y="244"/>
                </a:cubicBezTo>
                <a:cubicBezTo>
                  <a:pt x="170" y="243"/>
                  <a:pt x="170" y="243"/>
                  <a:pt x="170" y="243"/>
                </a:cubicBezTo>
                <a:cubicBezTo>
                  <a:pt x="171" y="244"/>
                  <a:pt x="171" y="244"/>
                  <a:pt x="171" y="244"/>
                </a:cubicBezTo>
                <a:cubicBezTo>
                  <a:pt x="173" y="245"/>
                  <a:pt x="173" y="245"/>
                  <a:pt x="173" y="245"/>
                </a:cubicBezTo>
                <a:cubicBezTo>
                  <a:pt x="173" y="246"/>
                  <a:pt x="173" y="246"/>
                  <a:pt x="173" y="246"/>
                </a:cubicBezTo>
                <a:cubicBezTo>
                  <a:pt x="174" y="245"/>
                  <a:pt x="174" y="245"/>
                  <a:pt x="174" y="245"/>
                </a:cubicBezTo>
                <a:cubicBezTo>
                  <a:pt x="174" y="244"/>
                  <a:pt x="174" y="244"/>
                  <a:pt x="174" y="244"/>
                </a:cubicBezTo>
                <a:cubicBezTo>
                  <a:pt x="174" y="246"/>
                  <a:pt x="174" y="246"/>
                  <a:pt x="174" y="246"/>
                </a:cubicBezTo>
                <a:cubicBezTo>
                  <a:pt x="176" y="247"/>
                  <a:pt x="176" y="247"/>
                  <a:pt x="176" y="247"/>
                </a:cubicBezTo>
                <a:cubicBezTo>
                  <a:pt x="178" y="249"/>
                  <a:pt x="178" y="249"/>
                  <a:pt x="178" y="249"/>
                </a:cubicBezTo>
                <a:cubicBezTo>
                  <a:pt x="179" y="250"/>
                  <a:pt x="179" y="250"/>
                  <a:pt x="179" y="250"/>
                </a:cubicBezTo>
                <a:cubicBezTo>
                  <a:pt x="180" y="249"/>
                  <a:pt x="180" y="249"/>
                  <a:pt x="180" y="249"/>
                </a:cubicBezTo>
                <a:cubicBezTo>
                  <a:pt x="181" y="249"/>
                  <a:pt x="181" y="249"/>
                  <a:pt x="181" y="249"/>
                </a:cubicBezTo>
                <a:cubicBezTo>
                  <a:pt x="182" y="250"/>
                  <a:pt x="182" y="250"/>
                  <a:pt x="182" y="250"/>
                </a:cubicBezTo>
                <a:cubicBezTo>
                  <a:pt x="182" y="249"/>
                  <a:pt x="182" y="249"/>
                  <a:pt x="182" y="249"/>
                </a:cubicBezTo>
                <a:cubicBezTo>
                  <a:pt x="183" y="248"/>
                  <a:pt x="183" y="248"/>
                  <a:pt x="183" y="248"/>
                </a:cubicBezTo>
                <a:cubicBezTo>
                  <a:pt x="187" y="249"/>
                  <a:pt x="187" y="249"/>
                  <a:pt x="187" y="249"/>
                </a:cubicBezTo>
                <a:cubicBezTo>
                  <a:pt x="187" y="248"/>
                  <a:pt x="187" y="248"/>
                  <a:pt x="187" y="248"/>
                </a:cubicBezTo>
                <a:cubicBezTo>
                  <a:pt x="188" y="247"/>
                  <a:pt x="188" y="247"/>
                  <a:pt x="188" y="247"/>
                </a:cubicBezTo>
                <a:cubicBezTo>
                  <a:pt x="189" y="247"/>
                  <a:pt x="189" y="247"/>
                  <a:pt x="189" y="247"/>
                </a:cubicBezTo>
                <a:cubicBezTo>
                  <a:pt x="189" y="248"/>
                  <a:pt x="189" y="248"/>
                  <a:pt x="189" y="248"/>
                </a:cubicBezTo>
                <a:cubicBezTo>
                  <a:pt x="190" y="247"/>
                  <a:pt x="190" y="247"/>
                  <a:pt x="190" y="247"/>
                </a:cubicBezTo>
                <a:cubicBezTo>
                  <a:pt x="191" y="247"/>
                  <a:pt x="191" y="247"/>
                  <a:pt x="191" y="247"/>
                </a:cubicBezTo>
                <a:cubicBezTo>
                  <a:pt x="192" y="248"/>
                  <a:pt x="192" y="248"/>
                  <a:pt x="192" y="248"/>
                </a:cubicBezTo>
                <a:cubicBezTo>
                  <a:pt x="192" y="249"/>
                  <a:pt x="192" y="249"/>
                  <a:pt x="192" y="249"/>
                </a:cubicBezTo>
                <a:cubicBezTo>
                  <a:pt x="191" y="252"/>
                  <a:pt x="191" y="252"/>
                  <a:pt x="191" y="252"/>
                </a:cubicBezTo>
                <a:cubicBezTo>
                  <a:pt x="190" y="253"/>
                  <a:pt x="190" y="253"/>
                  <a:pt x="190" y="253"/>
                </a:cubicBezTo>
                <a:cubicBezTo>
                  <a:pt x="190" y="256"/>
                  <a:pt x="190" y="256"/>
                  <a:pt x="190" y="256"/>
                </a:cubicBezTo>
                <a:cubicBezTo>
                  <a:pt x="189" y="257"/>
                  <a:pt x="189" y="257"/>
                  <a:pt x="189" y="257"/>
                </a:cubicBezTo>
                <a:cubicBezTo>
                  <a:pt x="189" y="258"/>
                  <a:pt x="189" y="258"/>
                  <a:pt x="189" y="258"/>
                </a:cubicBezTo>
                <a:cubicBezTo>
                  <a:pt x="189" y="259"/>
                  <a:pt x="189" y="259"/>
                  <a:pt x="189" y="259"/>
                </a:cubicBezTo>
                <a:cubicBezTo>
                  <a:pt x="189" y="260"/>
                  <a:pt x="189" y="260"/>
                  <a:pt x="189" y="260"/>
                </a:cubicBezTo>
                <a:cubicBezTo>
                  <a:pt x="188" y="262"/>
                  <a:pt x="188" y="262"/>
                  <a:pt x="188" y="262"/>
                </a:cubicBezTo>
                <a:cubicBezTo>
                  <a:pt x="188" y="261"/>
                  <a:pt x="188" y="261"/>
                  <a:pt x="188" y="261"/>
                </a:cubicBezTo>
                <a:cubicBezTo>
                  <a:pt x="188" y="259"/>
                  <a:pt x="188" y="259"/>
                  <a:pt x="188" y="259"/>
                </a:cubicBezTo>
                <a:cubicBezTo>
                  <a:pt x="187" y="260"/>
                  <a:pt x="187" y="260"/>
                  <a:pt x="187" y="260"/>
                </a:cubicBezTo>
                <a:cubicBezTo>
                  <a:pt x="186" y="261"/>
                  <a:pt x="186" y="261"/>
                  <a:pt x="186" y="261"/>
                </a:cubicBezTo>
                <a:cubicBezTo>
                  <a:pt x="186" y="263"/>
                  <a:pt x="186" y="263"/>
                  <a:pt x="186" y="263"/>
                </a:cubicBezTo>
                <a:cubicBezTo>
                  <a:pt x="186" y="264"/>
                  <a:pt x="186" y="264"/>
                  <a:pt x="186" y="264"/>
                </a:cubicBezTo>
                <a:cubicBezTo>
                  <a:pt x="185" y="264"/>
                  <a:pt x="185" y="264"/>
                  <a:pt x="185" y="264"/>
                </a:cubicBezTo>
                <a:cubicBezTo>
                  <a:pt x="185" y="265"/>
                  <a:pt x="185" y="265"/>
                  <a:pt x="185" y="265"/>
                </a:cubicBezTo>
                <a:cubicBezTo>
                  <a:pt x="184" y="266"/>
                  <a:pt x="184" y="266"/>
                  <a:pt x="184" y="266"/>
                </a:cubicBezTo>
                <a:cubicBezTo>
                  <a:pt x="185" y="267"/>
                  <a:pt x="185" y="267"/>
                  <a:pt x="185" y="267"/>
                </a:cubicBezTo>
                <a:cubicBezTo>
                  <a:pt x="185" y="268"/>
                  <a:pt x="185" y="268"/>
                  <a:pt x="185" y="268"/>
                </a:cubicBezTo>
                <a:cubicBezTo>
                  <a:pt x="183" y="270"/>
                  <a:pt x="183" y="270"/>
                  <a:pt x="183" y="270"/>
                </a:cubicBezTo>
                <a:cubicBezTo>
                  <a:pt x="183" y="270"/>
                  <a:pt x="183" y="270"/>
                  <a:pt x="183" y="270"/>
                </a:cubicBezTo>
                <a:cubicBezTo>
                  <a:pt x="182" y="270"/>
                  <a:pt x="182" y="270"/>
                  <a:pt x="182" y="270"/>
                </a:cubicBezTo>
                <a:cubicBezTo>
                  <a:pt x="182" y="268"/>
                  <a:pt x="182" y="268"/>
                  <a:pt x="182" y="268"/>
                </a:cubicBezTo>
                <a:cubicBezTo>
                  <a:pt x="183" y="269"/>
                  <a:pt x="183" y="269"/>
                  <a:pt x="183" y="269"/>
                </a:cubicBezTo>
                <a:cubicBezTo>
                  <a:pt x="183" y="268"/>
                  <a:pt x="183" y="268"/>
                  <a:pt x="183" y="268"/>
                </a:cubicBezTo>
                <a:cubicBezTo>
                  <a:pt x="182" y="267"/>
                  <a:pt x="182" y="267"/>
                  <a:pt x="182" y="267"/>
                </a:cubicBezTo>
                <a:cubicBezTo>
                  <a:pt x="181" y="267"/>
                  <a:pt x="181" y="267"/>
                  <a:pt x="181" y="267"/>
                </a:cubicBezTo>
                <a:cubicBezTo>
                  <a:pt x="181" y="269"/>
                  <a:pt x="181" y="269"/>
                  <a:pt x="181" y="269"/>
                </a:cubicBezTo>
                <a:cubicBezTo>
                  <a:pt x="180" y="268"/>
                  <a:pt x="180" y="268"/>
                  <a:pt x="180" y="268"/>
                </a:cubicBezTo>
                <a:cubicBezTo>
                  <a:pt x="180" y="267"/>
                  <a:pt x="180" y="267"/>
                  <a:pt x="180" y="267"/>
                </a:cubicBezTo>
                <a:cubicBezTo>
                  <a:pt x="179" y="268"/>
                  <a:pt x="179" y="268"/>
                  <a:pt x="179" y="268"/>
                </a:cubicBezTo>
                <a:cubicBezTo>
                  <a:pt x="178" y="269"/>
                  <a:pt x="178" y="269"/>
                  <a:pt x="178" y="269"/>
                </a:cubicBezTo>
                <a:cubicBezTo>
                  <a:pt x="178" y="270"/>
                  <a:pt x="178" y="270"/>
                  <a:pt x="178" y="270"/>
                </a:cubicBezTo>
                <a:cubicBezTo>
                  <a:pt x="177" y="269"/>
                  <a:pt x="177" y="269"/>
                  <a:pt x="177" y="269"/>
                </a:cubicBezTo>
                <a:cubicBezTo>
                  <a:pt x="177" y="271"/>
                  <a:pt x="177" y="271"/>
                  <a:pt x="177" y="271"/>
                </a:cubicBezTo>
                <a:cubicBezTo>
                  <a:pt x="176" y="272"/>
                  <a:pt x="176" y="272"/>
                  <a:pt x="176" y="272"/>
                </a:cubicBezTo>
                <a:cubicBezTo>
                  <a:pt x="175" y="274"/>
                  <a:pt x="175" y="274"/>
                  <a:pt x="175" y="274"/>
                </a:cubicBezTo>
                <a:cubicBezTo>
                  <a:pt x="174" y="274"/>
                  <a:pt x="174" y="274"/>
                  <a:pt x="174" y="274"/>
                </a:cubicBezTo>
                <a:cubicBezTo>
                  <a:pt x="174" y="273"/>
                  <a:pt x="174" y="273"/>
                  <a:pt x="174" y="273"/>
                </a:cubicBezTo>
                <a:cubicBezTo>
                  <a:pt x="174" y="272"/>
                  <a:pt x="174" y="272"/>
                  <a:pt x="174" y="272"/>
                </a:cubicBezTo>
                <a:cubicBezTo>
                  <a:pt x="173" y="273"/>
                  <a:pt x="173" y="273"/>
                  <a:pt x="173" y="273"/>
                </a:cubicBezTo>
                <a:cubicBezTo>
                  <a:pt x="172" y="272"/>
                  <a:pt x="172" y="272"/>
                  <a:pt x="172" y="272"/>
                </a:cubicBezTo>
                <a:cubicBezTo>
                  <a:pt x="171" y="273"/>
                  <a:pt x="171" y="273"/>
                  <a:pt x="171" y="273"/>
                </a:cubicBezTo>
                <a:cubicBezTo>
                  <a:pt x="171" y="273"/>
                  <a:pt x="170" y="272"/>
                  <a:pt x="170" y="272"/>
                </a:cubicBezTo>
                <a:close/>
                <a:moveTo>
                  <a:pt x="2" y="174"/>
                </a:moveTo>
                <a:cubicBezTo>
                  <a:pt x="3" y="175"/>
                  <a:pt x="3" y="175"/>
                  <a:pt x="3" y="175"/>
                </a:cubicBezTo>
                <a:cubicBezTo>
                  <a:pt x="4" y="175"/>
                  <a:pt x="4" y="175"/>
                  <a:pt x="4" y="175"/>
                </a:cubicBezTo>
                <a:cubicBezTo>
                  <a:pt x="7" y="177"/>
                  <a:pt x="7" y="177"/>
                  <a:pt x="7" y="177"/>
                </a:cubicBezTo>
                <a:cubicBezTo>
                  <a:pt x="7" y="178"/>
                  <a:pt x="7" y="178"/>
                  <a:pt x="7" y="178"/>
                </a:cubicBezTo>
                <a:cubicBezTo>
                  <a:pt x="7" y="179"/>
                  <a:pt x="7" y="179"/>
                  <a:pt x="7" y="179"/>
                </a:cubicBezTo>
                <a:cubicBezTo>
                  <a:pt x="9" y="179"/>
                  <a:pt x="9" y="179"/>
                  <a:pt x="9" y="179"/>
                </a:cubicBezTo>
                <a:cubicBezTo>
                  <a:pt x="9" y="180"/>
                  <a:pt x="9" y="180"/>
                  <a:pt x="9" y="180"/>
                </a:cubicBezTo>
                <a:cubicBezTo>
                  <a:pt x="11" y="180"/>
                  <a:pt x="11" y="180"/>
                  <a:pt x="11" y="180"/>
                </a:cubicBezTo>
                <a:cubicBezTo>
                  <a:pt x="12" y="180"/>
                  <a:pt x="12" y="180"/>
                  <a:pt x="12" y="180"/>
                </a:cubicBezTo>
                <a:cubicBezTo>
                  <a:pt x="12" y="181"/>
                  <a:pt x="12" y="181"/>
                  <a:pt x="12" y="181"/>
                </a:cubicBezTo>
                <a:cubicBezTo>
                  <a:pt x="14" y="181"/>
                  <a:pt x="14" y="181"/>
                  <a:pt x="14" y="181"/>
                </a:cubicBezTo>
                <a:cubicBezTo>
                  <a:pt x="15" y="180"/>
                  <a:pt x="15" y="180"/>
                  <a:pt x="15" y="180"/>
                </a:cubicBezTo>
                <a:cubicBezTo>
                  <a:pt x="16" y="181"/>
                  <a:pt x="16" y="181"/>
                  <a:pt x="16" y="181"/>
                </a:cubicBezTo>
                <a:cubicBezTo>
                  <a:pt x="16" y="181"/>
                  <a:pt x="16" y="181"/>
                  <a:pt x="16" y="181"/>
                </a:cubicBezTo>
                <a:cubicBezTo>
                  <a:pt x="17" y="181"/>
                  <a:pt x="17" y="181"/>
                  <a:pt x="17" y="181"/>
                </a:cubicBezTo>
                <a:cubicBezTo>
                  <a:pt x="19" y="181"/>
                  <a:pt x="19" y="181"/>
                  <a:pt x="19" y="181"/>
                </a:cubicBezTo>
                <a:cubicBezTo>
                  <a:pt x="20" y="181"/>
                  <a:pt x="20" y="181"/>
                  <a:pt x="20" y="181"/>
                </a:cubicBezTo>
                <a:cubicBezTo>
                  <a:pt x="20" y="180"/>
                  <a:pt x="20" y="180"/>
                  <a:pt x="20" y="180"/>
                </a:cubicBezTo>
                <a:cubicBezTo>
                  <a:pt x="21" y="180"/>
                  <a:pt x="21" y="180"/>
                  <a:pt x="21" y="180"/>
                </a:cubicBezTo>
                <a:cubicBezTo>
                  <a:pt x="22" y="178"/>
                  <a:pt x="22" y="178"/>
                  <a:pt x="22" y="178"/>
                </a:cubicBezTo>
                <a:cubicBezTo>
                  <a:pt x="24" y="178"/>
                  <a:pt x="24" y="178"/>
                  <a:pt x="24" y="178"/>
                </a:cubicBezTo>
                <a:cubicBezTo>
                  <a:pt x="24" y="177"/>
                  <a:pt x="24" y="177"/>
                  <a:pt x="24" y="177"/>
                </a:cubicBezTo>
                <a:cubicBezTo>
                  <a:pt x="25" y="177"/>
                  <a:pt x="25" y="177"/>
                  <a:pt x="25" y="177"/>
                </a:cubicBezTo>
                <a:cubicBezTo>
                  <a:pt x="26" y="177"/>
                  <a:pt x="26" y="177"/>
                  <a:pt x="26" y="177"/>
                </a:cubicBezTo>
                <a:cubicBezTo>
                  <a:pt x="27" y="178"/>
                  <a:pt x="27" y="178"/>
                  <a:pt x="27" y="178"/>
                </a:cubicBezTo>
                <a:cubicBezTo>
                  <a:pt x="28" y="176"/>
                  <a:pt x="28" y="176"/>
                  <a:pt x="28" y="176"/>
                </a:cubicBezTo>
                <a:cubicBezTo>
                  <a:pt x="29" y="176"/>
                  <a:pt x="29" y="176"/>
                  <a:pt x="29" y="176"/>
                </a:cubicBezTo>
                <a:cubicBezTo>
                  <a:pt x="29" y="176"/>
                  <a:pt x="29" y="176"/>
                  <a:pt x="29" y="176"/>
                </a:cubicBezTo>
                <a:cubicBezTo>
                  <a:pt x="30" y="175"/>
                  <a:pt x="30" y="175"/>
                  <a:pt x="30" y="175"/>
                </a:cubicBezTo>
                <a:cubicBezTo>
                  <a:pt x="33" y="172"/>
                  <a:pt x="33" y="172"/>
                  <a:pt x="33" y="172"/>
                </a:cubicBezTo>
                <a:cubicBezTo>
                  <a:pt x="34" y="173"/>
                  <a:pt x="34" y="173"/>
                  <a:pt x="34" y="173"/>
                </a:cubicBezTo>
                <a:cubicBezTo>
                  <a:pt x="35" y="173"/>
                  <a:pt x="35" y="173"/>
                  <a:pt x="35" y="173"/>
                </a:cubicBezTo>
                <a:cubicBezTo>
                  <a:pt x="36" y="172"/>
                  <a:pt x="36" y="172"/>
                  <a:pt x="36" y="172"/>
                </a:cubicBezTo>
                <a:cubicBezTo>
                  <a:pt x="40" y="172"/>
                  <a:pt x="40" y="172"/>
                  <a:pt x="40" y="172"/>
                </a:cubicBezTo>
                <a:cubicBezTo>
                  <a:pt x="40" y="172"/>
                  <a:pt x="40" y="172"/>
                  <a:pt x="40" y="172"/>
                </a:cubicBezTo>
                <a:cubicBezTo>
                  <a:pt x="42" y="172"/>
                  <a:pt x="42" y="172"/>
                  <a:pt x="42" y="172"/>
                </a:cubicBezTo>
                <a:cubicBezTo>
                  <a:pt x="43" y="172"/>
                  <a:pt x="43" y="172"/>
                  <a:pt x="43" y="172"/>
                </a:cubicBezTo>
                <a:cubicBezTo>
                  <a:pt x="44" y="172"/>
                  <a:pt x="44" y="172"/>
                  <a:pt x="44" y="172"/>
                </a:cubicBezTo>
                <a:cubicBezTo>
                  <a:pt x="45" y="172"/>
                  <a:pt x="45" y="172"/>
                  <a:pt x="45" y="172"/>
                </a:cubicBezTo>
                <a:cubicBezTo>
                  <a:pt x="46" y="173"/>
                  <a:pt x="46" y="173"/>
                  <a:pt x="46" y="173"/>
                </a:cubicBezTo>
                <a:cubicBezTo>
                  <a:pt x="47" y="173"/>
                  <a:pt x="47" y="173"/>
                  <a:pt x="47" y="173"/>
                </a:cubicBezTo>
                <a:cubicBezTo>
                  <a:pt x="48" y="173"/>
                  <a:pt x="48" y="173"/>
                  <a:pt x="48" y="173"/>
                </a:cubicBezTo>
                <a:cubicBezTo>
                  <a:pt x="48" y="173"/>
                  <a:pt x="48" y="173"/>
                  <a:pt x="48" y="173"/>
                </a:cubicBezTo>
                <a:cubicBezTo>
                  <a:pt x="49" y="173"/>
                  <a:pt x="49" y="173"/>
                  <a:pt x="49" y="173"/>
                </a:cubicBezTo>
                <a:cubicBezTo>
                  <a:pt x="52" y="173"/>
                  <a:pt x="52" y="173"/>
                  <a:pt x="52" y="173"/>
                </a:cubicBezTo>
                <a:cubicBezTo>
                  <a:pt x="51" y="174"/>
                  <a:pt x="51" y="174"/>
                  <a:pt x="51" y="174"/>
                </a:cubicBezTo>
                <a:cubicBezTo>
                  <a:pt x="52" y="174"/>
                  <a:pt x="52" y="174"/>
                  <a:pt x="52" y="174"/>
                </a:cubicBezTo>
                <a:cubicBezTo>
                  <a:pt x="53" y="173"/>
                  <a:pt x="53" y="173"/>
                  <a:pt x="53" y="173"/>
                </a:cubicBezTo>
                <a:cubicBezTo>
                  <a:pt x="55" y="173"/>
                  <a:pt x="55" y="173"/>
                  <a:pt x="55" y="173"/>
                </a:cubicBezTo>
                <a:cubicBezTo>
                  <a:pt x="56" y="172"/>
                  <a:pt x="56" y="172"/>
                  <a:pt x="56" y="172"/>
                </a:cubicBezTo>
                <a:cubicBezTo>
                  <a:pt x="57" y="170"/>
                  <a:pt x="57" y="170"/>
                  <a:pt x="57" y="170"/>
                </a:cubicBezTo>
                <a:cubicBezTo>
                  <a:pt x="57" y="170"/>
                  <a:pt x="57" y="170"/>
                  <a:pt x="57" y="170"/>
                </a:cubicBezTo>
                <a:cubicBezTo>
                  <a:pt x="59" y="169"/>
                  <a:pt x="59" y="169"/>
                  <a:pt x="59" y="169"/>
                </a:cubicBezTo>
                <a:cubicBezTo>
                  <a:pt x="60" y="167"/>
                  <a:pt x="60" y="167"/>
                  <a:pt x="60" y="167"/>
                </a:cubicBezTo>
                <a:cubicBezTo>
                  <a:pt x="61" y="165"/>
                  <a:pt x="61" y="165"/>
                  <a:pt x="61" y="165"/>
                </a:cubicBezTo>
                <a:cubicBezTo>
                  <a:pt x="63" y="165"/>
                  <a:pt x="63" y="165"/>
                  <a:pt x="63" y="165"/>
                </a:cubicBezTo>
                <a:cubicBezTo>
                  <a:pt x="64" y="165"/>
                  <a:pt x="64" y="165"/>
                  <a:pt x="64" y="165"/>
                </a:cubicBezTo>
                <a:cubicBezTo>
                  <a:pt x="66" y="164"/>
                  <a:pt x="66" y="164"/>
                  <a:pt x="66" y="164"/>
                </a:cubicBezTo>
                <a:cubicBezTo>
                  <a:pt x="69" y="162"/>
                  <a:pt x="69" y="162"/>
                  <a:pt x="69" y="162"/>
                </a:cubicBezTo>
                <a:cubicBezTo>
                  <a:pt x="72" y="160"/>
                  <a:pt x="72" y="160"/>
                  <a:pt x="72" y="160"/>
                </a:cubicBezTo>
                <a:cubicBezTo>
                  <a:pt x="72" y="160"/>
                  <a:pt x="72" y="160"/>
                  <a:pt x="72" y="160"/>
                </a:cubicBezTo>
                <a:cubicBezTo>
                  <a:pt x="73" y="160"/>
                  <a:pt x="73" y="160"/>
                  <a:pt x="73" y="160"/>
                </a:cubicBezTo>
                <a:cubicBezTo>
                  <a:pt x="74" y="160"/>
                  <a:pt x="74" y="160"/>
                  <a:pt x="74" y="160"/>
                </a:cubicBezTo>
                <a:cubicBezTo>
                  <a:pt x="76" y="161"/>
                  <a:pt x="76" y="161"/>
                  <a:pt x="76" y="161"/>
                </a:cubicBezTo>
                <a:cubicBezTo>
                  <a:pt x="78" y="161"/>
                  <a:pt x="78" y="161"/>
                  <a:pt x="78" y="161"/>
                </a:cubicBezTo>
                <a:cubicBezTo>
                  <a:pt x="79" y="161"/>
                  <a:pt x="79" y="161"/>
                  <a:pt x="79" y="161"/>
                </a:cubicBezTo>
                <a:cubicBezTo>
                  <a:pt x="82" y="161"/>
                  <a:pt x="82" y="161"/>
                  <a:pt x="82" y="161"/>
                </a:cubicBezTo>
                <a:cubicBezTo>
                  <a:pt x="85" y="159"/>
                  <a:pt x="85" y="159"/>
                  <a:pt x="85" y="159"/>
                </a:cubicBezTo>
                <a:cubicBezTo>
                  <a:pt x="87" y="159"/>
                  <a:pt x="87" y="159"/>
                  <a:pt x="87" y="159"/>
                </a:cubicBezTo>
                <a:cubicBezTo>
                  <a:pt x="89" y="158"/>
                  <a:pt x="89" y="158"/>
                  <a:pt x="89" y="158"/>
                </a:cubicBezTo>
                <a:cubicBezTo>
                  <a:pt x="90" y="158"/>
                  <a:pt x="90" y="158"/>
                  <a:pt x="90" y="158"/>
                </a:cubicBezTo>
                <a:cubicBezTo>
                  <a:pt x="91" y="157"/>
                  <a:pt x="91" y="157"/>
                  <a:pt x="91" y="157"/>
                </a:cubicBezTo>
                <a:cubicBezTo>
                  <a:pt x="94" y="156"/>
                  <a:pt x="94" y="156"/>
                  <a:pt x="94" y="156"/>
                </a:cubicBezTo>
                <a:cubicBezTo>
                  <a:pt x="101" y="156"/>
                  <a:pt x="101" y="156"/>
                  <a:pt x="101" y="156"/>
                </a:cubicBezTo>
                <a:cubicBezTo>
                  <a:pt x="103" y="157"/>
                  <a:pt x="103" y="157"/>
                  <a:pt x="103" y="157"/>
                </a:cubicBezTo>
                <a:cubicBezTo>
                  <a:pt x="105" y="157"/>
                  <a:pt x="105" y="157"/>
                  <a:pt x="105" y="157"/>
                </a:cubicBezTo>
                <a:cubicBezTo>
                  <a:pt x="107" y="156"/>
                  <a:pt x="107" y="156"/>
                  <a:pt x="107" y="156"/>
                </a:cubicBezTo>
                <a:cubicBezTo>
                  <a:pt x="108" y="156"/>
                  <a:pt x="108" y="156"/>
                  <a:pt x="108" y="156"/>
                </a:cubicBezTo>
                <a:cubicBezTo>
                  <a:pt x="110" y="158"/>
                  <a:pt x="110" y="158"/>
                  <a:pt x="110" y="158"/>
                </a:cubicBezTo>
                <a:cubicBezTo>
                  <a:pt x="112" y="160"/>
                  <a:pt x="112" y="160"/>
                  <a:pt x="112" y="160"/>
                </a:cubicBezTo>
                <a:cubicBezTo>
                  <a:pt x="113" y="161"/>
                  <a:pt x="113" y="161"/>
                  <a:pt x="113" y="161"/>
                </a:cubicBezTo>
                <a:cubicBezTo>
                  <a:pt x="113" y="160"/>
                  <a:pt x="113" y="160"/>
                  <a:pt x="113" y="160"/>
                </a:cubicBezTo>
                <a:cubicBezTo>
                  <a:pt x="114" y="160"/>
                  <a:pt x="114" y="160"/>
                  <a:pt x="114" y="160"/>
                </a:cubicBezTo>
                <a:cubicBezTo>
                  <a:pt x="115" y="160"/>
                  <a:pt x="115" y="160"/>
                  <a:pt x="115" y="160"/>
                </a:cubicBezTo>
                <a:cubicBezTo>
                  <a:pt x="116" y="160"/>
                  <a:pt x="116" y="160"/>
                  <a:pt x="116" y="160"/>
                </a:cubicBezTo>
                <a:cubicBezTo>
                  <a:pt x="117" y="160"/>
                  <a:pt x="117" y="160"/>
                  <a:pt x="117" y="160"/>
                </a:cubicBezTo>
                <a:cubicBezTo>
                  <a:pt x="118" y="162"/>
                  <a:pt x="118" y="162"/>
                  <a:pt x="118" y="162"/>
                </a:cubicBezTo>
                <a:cubicBezTo>
                  <a:pt x="120" y="162"/>
                  <a:pt x="120" y="162"/>
                  <a:pt x="120" y="162"/>
                </a:cubicBezTo>
                <a:cubicBezTo>
                  <a:pt x="120" y="162"/>
                  <a:pt x="120" y="162"/>
                  <a:pt x="120" y="162"/>
                </a:cubicBezTo>
                <a:cubicBezTo>
                  <a:pt x="123" y="164"/>
                  <a:pt x="123" y="164"/>
                  <a:pt x="123" y="164"/>
                </a:cubicBezTo>
                <a:cubicBezTo>
                  <a:pt x="123" y="165"/>
                  <a:pt x="123" y="165"/>
                  <a:pt x="123" y="165"/>
                </a:cubicBezTo>
                <a:cubicBezTo>
                  <a:pt x="124" y="165"/>
                  <a:pt x="124" y="165"/>
                  <a:pt x="124" y="165"/>
                </a:cubicBezTo>
                <a:cubicBezTo>
                  <a:pt x="125" y="166"/>
                  <a:pt x="125" y="166"/>
                  <a:pt x="125" y="166"/>
                </a:cubicBezTo>
                <a:cubicBezTo>
                  <a:pt x="124" y="167"/>
                  <a:pt x="124" y="167"/>
                  <a:pt x="124" y="167"/>
                </a:cubicBezTo>
                <a:cubicBezTo>
                  <a:pt x="123" y="167"/>
                  <a:pt x="123" y="167"/>
                  <a:pt x="123" y="167"/>
                </a:cubicBezTo>
                <a:cubicBezTo>
                  <a:pt x="123" y="168"/>
                  <a:pt x="123" y="168"/>
                  <a:pt x="123" y="168"/>
                </a:cubicBezTo>
                <a:cubicBezTo>
                  <a:pt x="124" y="170"/>
                  <a:pt x="124" y="170"/>
                  <a:pt x="124" y="170"/>
                </a:cubicBezTo>
                <a:cubicBezTo>
                  <a:pt x="125" y="170"/>
                  <a:pt x="125" y="170"/>
                  <a:pt x="125" y="170"/>
                </a:cubicBezTo>
                <a:cubicBezTo>
                  <a:pt x="126" y="172"/>
                  <a:pt x="126" y="172"/>
                  <a:pt x="126" y="172"/>
                </a:cubicBezTo>
                <a:cubicBezTo>
                  <a:pt x="127" y="173"/>
                  <a:pt x="127" y="173"/>
                  <a:pt x="127" y="173"/>
                </a:cubicBezTo>
                <a:cubicBezTo>
                  <a:pt x="127" y="175"/>
                  <a:pt x="127" y="175"/>
                  <a:pt x="127" y="175"/>
                </a:cubicBezTo>
                <a:cubicBezTo>
                  <a:pt x="128" y="178"/>
                  <a:pt x="128" y="178"/>
                  <a:pt x="128" y="178"/>
                </a:cubicBezTo>
                <a:cubicBezTo>
                  <a:pt x="128" y="179"/>
                  <a:pt x="128" y="179"/>
                  <a:pt x="128" y="179"/>
                </a:cubicBezTo>
                <a:cubicBezTo>
                  <a:pt x="128" y="180"/>
                  <a:pt x="128" y="180"/>
                  <a:pt x="128" y="180"/>
                </a:cubicBezTo>
                <a:cubicBezTo>
                  <a:pt x="128" y="182"/>
                  <a:pt x="128" y="182"/>
                  <a:pt x="128" y="182"/>
                </a:cubicBezTo>
                <a:cubicBezTo>
                  <a:pt x="127" y="183"/>
                  <a:pt x="127" y="183"/>
                  <a:pt x="127" y="183"/>
                </a:cubicBezTo>
                <a:cubicBezTo>
                  <a:pt x="127" y="182"/>
                  <a:pt x="127" y="182"/>
                  <a:pt x="127" y="182"/>
                </a:cubicBezTo>
                <a:cubicBezTo>
                  <a:pt x="126" y="182"/>
                  <a:pt x="126" y="182"/>
                  <a:pt x="126" y="182"/>
                </a:cubicBezTo>
                <a:cubicBezTo>
                  <a:pt x="127" y="184"/>
                  <a:pt x="127" y="184"/>
                  <a:pt x="127" y="184"/>
                </a:cubicBezTo>
                <a:cubicBezTo>
                  <a:pt x="128" y="184"/>
                  <a:pt x="128" y="184"/>
                  <a:pt x="128" y="184"/>
                </a:cubicBezTo>
                <a:cubicBezTo>
                  <a:pt x="129" y="186"/>
                  <a:pt x="129" y="186"/>
                  <a:pt x="129" y="186"/>
                </a:cubicBezTo>
                <a:cubicBezTo>
                  <a:pt x="130" y="185"/>
                  <a:pt x="130" y="185"/>
                  <a:pt x="130" y="185"/>
                </a:cubicBezTo>
                <a:cubicBezTo>
                  <a:pt x="131" y="186"/>
                  <a:pt x="131" y="186"/>
                  <a:pt x="131" y="186"/>
                </a:cubicBezTo>
                <a:cubicBezTo>
                  <a:pt x="131" y="185"/>
                  <a:pt x="131" y="185"/>
                  <a:pt x="131" y="185"/>
                </a:cubicBezTo>
                <a:cubicBezTo>
                  <a:pt x="130" y="184"/>
                  <a:pt x="130" y="184"/>
                  <a:pt x="130" y="184"/>
                </a:cubicBezTo>
                <a:cubicBezTo>
                  <a:pt x="131" y="183"/>
                  <a:pt x="131" y="183"/>
                  <a:pt x="131" y="183"/>
                </a:cubicBezTo>
                <a:cubicBezTo>
                  <a:pt x="132" y="182"/>
                  <a:pt x="132" y="182"/>
                  <a:pt x="132" y="182"/>
                </a:cubicBezTo>
                <a:cubicBezTo>
                  <a:pt x="133" y="182"/>
                  <a:pt x="133" y="182"/>
                  <a:pt x="133" y="182"/>
                </a:cubicBezTo>
                <a:cubicBezTo>
                  <a:pt x="133" y="181"/>
                  <a:pt x="133" y="181"/>
                  <a:pt x="133" y="181"/>
                </a:cubicBezTo>
                <a:cubicBezTo>
                  <a:pt x="134" y="180"/>
                  <a:pt x="134" y="180"/>
                  <a:pt x="134" y="180"/>
                </a:cubicBezTo>
                <a:cubicBezTo>
                  <a:pt x="135" y="179"/>
                  <a:pt x="135" y="179"/>
                  <a:pt x="135" y="179"/>
                </a:cubicBezTo>
                <a:cubicBezTo>
                  <a:pt x="136" y="178"/>
                  <a:pt x="136" y="178"/>
                  <a:pt x="136" y="178"/>
                </a:cubicBezTo>
                <a:cubicBezTo>
                  <a:pt x="138" y="176"/>
                  <a:pt x="138" y="176"/>
                  <a:pt x="138" y="176"/>
                </a:cubicBezTo>
                <a:cubicBezTo>
                  <a:pt x="139" y="176"/>
                  <a:pt x="139" y="176"/>
                  <a:pt x="139" y="176"/>
                </a:cubicBezTo>
                <a:cubicBezTo>
                  <a:pt x="139" y="176"/>
                  <a:pt x="139" y="176"/>
                  <a:pt x="139" y="176"/>
                </a:cubicBezTo>
                <a:cubicBezTo>
                  <a:pt x="141" y="175"/>
                  <a:pt x="141" y="175"/>
                  <a:pt x="141" y="175"/>
                </a:cubicBezTo>
                <a:cubicBezTo>
                  <a:pt x="142" y="173"/>
                  <a:pt x="142" y="173"/>
                  <a:pt x="142" y="173"/>
                </a:cubicBezTo>
                <a:cubicBezTo>
                  <a:pt x="143" y="170"/>
                  <a:pt x="143" y="170"/>
                  <a:pt x="143" y="170"/>
                </a:cubicBezTo>
                <a:cubicBezTo>
                  <a:pt x="145" y="170"/>
                  <a:pt x="145" y="170"/>
                  <a:pt x="145" y="170"/>
                </a:cubicBezTo>
                <a:cubicBezTo>
                  <a:pt x="146" y="169"/>
                  <a:pt x="146" y="169"/>
                  <a:pt x="146" y="169"/>
                </a:cubicBezTo>
                <a:cubicBezTo>
                  <a:pt x="145" y="167"/>
                  <a:pt x="145" y="167"/>
                  <a:pt x="145" y="167"/>
                </a:cubicBezTo>
                <a:cubicBezTo>
                  <a:pt x="146" y="166"/>
                  <a:pt x="146" y="166"/>
                  <a:pt x="146" y="166"/>
                </a:cubicBezTo>
                <a:cubicBezTo>
                  <a:pt x="147" y="168"/>
                  <a:pt x="147" y="168"/>
                  <a:pt x="147" y="168"/>
                </a:cubicBezTo>
                <a:cubicBezTo>
                  <a:pt x="147" y="169"/>
                  <a:pt x="147" y="169"/>
                  <a:pt x="147" y="169"/>
                </a:cubicBezTo>
                <a:cubicBezTo>
                  <a:pt x="147" y="171"/>
                  <a:pt x="147" y="171"/>
                  <a:pt x="147" y="171"/>
                </a:cubicBezTo>
                <a:cubicBezTo>
                  <a:pt x="146" y="172"/>
                  <a:pt x="146" y="172"/>
                  <a:pt x="146" y="172"/>
                </a:cubicBezTo>
                <a:cubicBezTo>
                  <a:pt x="145" y="175"/>
                  <a:pt x="145" y="175"/>
                  <a:pt x="145" y="175"/>
                </a:cubicBezTo>
                <a:cubicBezTo>
                  <a:pt x="143" y="177"/>
                  <a:pt x="143" y="177"/>
                  <a:pt x="143" y="177"/>
                </a:cubicBezTo>
                <a:cubicBezTo>
                  <a:pt x="142" y="178"/>
                  <a:pt x="142" y="178"/>
                  <a:pt x="142" y="178"/>
                </a:cubicBezTo>
                <a:cubicBezTo>
                  <a:pt x="142" y="179"/>
                  <a:pt x="142" y="179"/>
                  <a:pt x="142" y="179"/>
                </a:cubicBezTo>
                <a:cubicBezTo>
                  <a:pt x="142" y="181"/>
                  <a:pt x="142" y="181"/>
                  <a:pt x="142" y="181"/>
                </a:cubicBezTo>
                <a:cubicBezTo>
                  <a:pt x="140" y="183"/>
                  <a:pt x="140" y="183"/>
                  <a:pt x="140" y="183"/>
                </a:cubicBezTo>
                <a:cubicBezTo>
                  <a:pt x="141" y="183"/>
                  <a:pt x="141" y="183"/>
                  <a:pt x="141" y="183"/>
                </a:cubicBezTo>
                <a:cubicBezTo>
                  <a:pt x="140" y="186"/>
                  <a:pt x="140" y="186"/>
                  <a:pt x="140" y="186"/>
                </a:cubicBezTo>
                <a:cubicBezTo>
                  <a:pt x="137" y="186"/>
                  <a:pt x="137" y="186"/>
                  <a:pt x="137" y="186"/>
                </a:cubicBezTo>
                <a:cubicBezTo>
                  <a:pt x="136" y="188"/>
                  <a:pt x="136" y="188"/>
                  <a:pt x="136" y="188"/>
                </a:cubicBezTo>
                <a:cubicBezTo>
                  <a:pt x="135" y="189"/>
                  <a:pt x="135" y="189"/>
                  <a:pt x="135" y="189"/>
                </a:cubicBezTo>
                <a:cubicBezTo>
                  <a:pt x="135" y="189"/>
                  <a:pt x="135" y="189"/>
                  <a:pt x="135" y="189"/>
                </a:cubicBezTo>
                <a:cubicBezTo>
                  <a:pt x="137" y="189"/>
                  <a:pt x="137" y="189"/>
                  <a:pt x="137" y="189"/>
                </a:cubicBezTo>
                <a:cubicBezTo>
                  <a:pt x="139" y="188"/>
                  <a:pt x="139" y="188"/>
                  <a:pt x="139" y="188"/>
                </a:cubicBezTo>
                <a:cubicBezTo>
                  <a:pt x="141" y="189"/>
                  <a:pt x="141" y="189"/>
                  <a:pt x="141" y="189"/>
                </a:cubicBezTo>
                <a:cubicBezTo>
                  <a:pt x="143" y="185"/>
                  <a:pt x="143" y="185"/>
                  <a:pt x="143" y="185"/>
                </a:cubicBezTo>
                <a:cubicBezTo>
                  <a:pt x="144" y="182"/>
                  <a:pt x="144" y="182"/>
                  <a:pt x="144" y="182"/>
                </a:cubicBezTo>
                <a:cubicBezTo>
                  <a:pt x="145" y="180"/>
                  <a:pt x="145" y="180"/>
                  <a:pt x="145" y="180"/>
                </a:cubicBezTo>
                <a:cubicBezTo>
                  <a:pt x="146" y="181"/>
                  <a:pt x="146" y="181"/>
                  <a:pt x="146" y="181"/>
                </a:cubicBezTo>
                <a:cubicBezTo>
                  <a:pt x="146" y="184"/>
                  <a:pt x="146" y="184"/>
                  <a:pt x="146" y="184"/>
                </a:cubicBezTo>
                <a:cubicBezTo>
                  <a:pt x="147" y="186"/>
                  <a:pt x="147" y="186"/>
                  <a:pt x="147" y="186"/>
                </a:cubicBezTo>
                <a:cubicBezTo>
                  <a:pt x="146" y="186"/>
                  <a:pt x="146" y="186"/>
                  <a:pt x="146" y="186"/>
                </a:cubicBezTo>
                <a:cubicBezTo>
                  <a:pt x="146" y="189"/>
                  <a:pt x="146" y="189"/>
                  <a:pt x="146" y="189"/>
                </a:cubicBezTo>
                <a:cubicBezTo>
                  <a:pt x="145" y="191"/>
                  <a:pt x="145" y="191"/>
                  <a:pt x="145" y="191"/>
                </a:cubicBezTo>
                <a:cubicBezTo>
                  <a:pt x="143" y="192"/>
                  <a:pt x="143" y="192"/>
                  <a:pt x="143" y="192"/>
                </a:cubicBezTo>
                <a:cubicBezTo>
                  <a:pt x="143" y="193"/>
                  <a:pt x="143" y="193"/>
                  <a:pt x="143" y="193"/>
                </a:cubicBezTo>
                <a:cubicBezTo>
                  <a:pt x="144" y="193"/>
                  <a:pt x="144" y="193"/>
                  <a:pt x="144" y="193"/>
                </a:cubicBezTo>
                <a:cubicBezTo>
                  <a:pt x="146" y="193"/>
                  <a:pt x="146" y="193"/>
                  <a:pt x="146" y="193"/>
                </a:cubicBezTo>
                <a:cubicBezTo>
                  <a:pt x="147" y="192"/>
                  <a:pt x="147" y="192"/>
                  <a:pt x="147" y="192"/>
                </a:cubicBezTo>
                <a:cubicBezTo>
                  <a:pt x="148" y="192"/>
                  <a:pt x="148" y="192"/>
                  <a:pt x="148" y="192"/>
                </a:cubicBezTo>
                <a:cubicBezTo>
                  <a:pt x="149" y="191"/>
                  <a:pt x="149" y="191"/>
                  <a:pt x="149" y="191"/>
                </a:cubicBezTo>
                <a:cubicBezTo>
                  <a:pt x="150" y="191"/>
                  <a:pt x="150" y="191"/>
                  <a:pt x="150" y="191"/>
                </a:cubicBezTo>
                <a:cubicBezTo>
                  <a:pt x="151" y="191"/>
                  <a:pt x="151" y="191"/>
                  <a:pt x="151" y="191"/>
                </a:cubicBezTo>
                <a:cubicBezTo>
                  <a:pt x="150" y="192"/>
                  <a:pt x="150" y="192"/>
                  <a:pt x="150" y="192"/>
                </a:cubicBezTo>
                <a:cubicBezTo>
                  <a:pt x="150" y="193"/>
                  <a:pt x="150" y="193"/>
                  <a:pt x="150" y="193"/>
                </a:cubicBezTo>
                <a:cubicBezTo>
                  <a:pt x="149" y="193"/>
                  <a:pt x="149" y="193"/>
                  <a:pt x="149" y="193"/>
                </a:cubicBezTo>
                <a:cubicBezTo>
                  <a:pt x="148" y="194"/>
                  <a:pt x="148" y="194"/>
                  <a:pt x="148" y="194"/>
                </a:cubicBezTo>
                <a:cubicBezTo>
                  <a:pt x="149" y="196"/>
                  <a:pt x="149" y="196"/>
                  <a:pt x="149" y="196"/>
                </a:cubicBezTo>
                <a:cubicBezTo>
                  <a:pt x="150" y="197"/>
                  <a:pt x="150" y="197"/>
                  <a:pt x="150" y="197"/>
                </a:cubicBezTo>
                <a:cubicBezTo>
                  <a:pt x="151" y="199"/>
                  <a:pt x="151" y="199"/>
                  <a:pt x="151" y="199"/>
                </a:cubicBezTo>
                <a:cubicBezTo>
                  <a:pt x="151" y="201"/>
                  <a:pt x="151" y="201"/>
                  <a:pt x="151" y="201"/>
                </a:cubicBezTo>
                <a:cubicBezTo>
                  <a:pt x="151" y="204"/>
                  <a:pt x="151" y="204"/>
                  <a:pt x="151" y="204"/>
                </a:cubicBezTo>
                <a:cubicBezTo>
                  <a:pt x="149" y="206"/>
                  <a:pt x="149" y="206"/>
                  <a:pt x="149" y="206"/>
                </a:cubicBezTo>
                <a:cubicBezTo>
                  <a:pt x="149" y="207"/>
                  <a:pt x="149" y="207"/>
                  <a:pt x="149" y="207"/>
                </a:cubicBezTo>
                <a:cubicBezTo>
                  <a:pt x="149" y="209"/>
                  <a:pt x="149" y="209"/>
                  <a:pt x="149" y="209"/>
                </a:cubicBezTo>
                <a:cubicBezTo>
                  <a:pt x="150" y="210"/>
                  <a:pt x="150" y="210"/>
                  <a:pt x="150" y="210"/>
                </a:cubicBezTo>
                <a:cubicBezTo>
                  <a:pt x="151" y="211"/>
                  <a:pt x="151" y="211"/>
                  <a:pt x="151" y="211"/>
                </a:cubicBezTo>
                <a:cubicBezTo>
                  <a:pt x="151" y="213"/>
                  <a:pt x="151" y="213"/>
                  <a:pt x="151" y="213"/>
                </a:cubicBezTo>
                <a:cubicBezTo>
                  <a:pt x="154" y="216"/>
                  <a:pt x="154" y="216"/>
                  <a:pt x="154" y="216"/>
                </a:cubicBezTo>
                <a:cubicBezTo>
                  <a:pt x="155" y="217"/>
                  <a:pt x="155" y="217"/>
                  <a:pt x="155" y="217"/>
                </a:cubicBezTo>
                <a:cubicBezTo>
                  <a:pt x="157" y="218"/>
                  <a:pt x="157" y="218"/>
                  <a:pt x="157" y="218"/>
                </a:cubicBezTo>
                <a:cubicBezTo>
                  <a:pt x="157" y="219"/>
                  <a:pt x="157" y="219"/>
                  <a:pt x="157" y="219"/>
                </a:cubicBezTo>
                <a:cubicBezTo>
                  <a:pt x="158" y="219"/>
                  <a:pt x="158" y="219"/>
                  <a:pt x="158" y="219"/>
                </a:cubicBezTo>
                <a:cubicBezTo>
                  <a:pt x="159" y="219"/>
                  <a:pt x="159" y="219"/>
                  <a:pt x="159" y="219"/>
                </a:cubicBezTo>
                <a:cubicBezTo>
                  <a:pt x="159" y="219"/>
                  <a:pt x="159" y="219"/>
                  <a:pt x="159" y="219"/>
                </a:cubicBezTo>
                <a:cubicBezTo>
                  <a:pt x="161" y="219"/>
                  <a:pt x="161" y="219"/>
                  <a:pt x="161" y="219"/>
                </a:cubicBezTo>
                <a:cubicBezTo>
                  <a:pt x="162" y="221"/>
                  <a:pt x="162" y="221"/>
                  <a:pt x="162" y="221"/>
                </a:cubicBezTo>
                <a:cubicBezTo>
                  <a:pt x="164" y="221"/>
                  <a:pt x="164" y="221"/>
                  <a:pt x="164" y="221"/>
                </a:cubicBezTo>
                <a:cubicBezTo>
                  <a:pt x="165" y="222"/>
                  <a:pt x="165" y="222"/>
                  <a:pt x="165" y="222"/>
                </a:cubicBezTo>
                <a:cubicBezTo>
                  <a:pt x="166" y="224"/>
                  <a:pt x="166" y="224"/>
                  <a:pt x="166" y="224"/>
                </a:cubicBezTo>
                <a:cubicBezTo>
                  <a:pt x="167" y="224"/>
                  <a:pt x="167" y="224"/>
                  <a:pt x="167" y="224"/>
                </a:cubicBezTo>
                <a:cubicBezTo>
                  <a:pt x="168" y="225"/>
                  <a:pt x="168" y="225"/>
                  <a:pt x="168" y="225"/>
                </a:cubicBezTo>
                <a:cubicBezTo>
                  <a:pt x="169" y="225"/>
                  <a:pt x="169" y="225"/>
                  <a:pt x="169" y="225"/>
                </a:cubicBezTo>
                <a:cubicBezTo>
                  <a:pt x="170" y="225"/>
                  <a:pt x="170" y="225"/>
                  <a:pt x="170" y="225"/>
                </a:cubicBezTo>
                <a:cubicBezTo>
                  <a:pt x="172" y="223"/>
                  <a:pt x="172" y="223"/>
                  <a:pt x="172" y="223"/>
                </a:cubicBezTo>
                <a:cubicBezTo>
                  <a:pt x="173" y="222"/>
                  <a:pt x="173" y="222"/>
                  <a:pt x="173" y="222"/>
                </a:cubicBezTo>
                <a:cubicBezTo>
                  <a:pt x="174" y="222"/>
                  <a:pt x="174" y="222"/>
                  <a:pt x="174" y="222"/>
                </a:cubicBezTo>
                <a:cubicBezTo>
                  <a:pt x="176" y="221"/>
                  <a:pt x="176" y="221"/>
                  <a:pt x="176" y="221"/>
                </a:cubicBezTo>
                <a:cubicBezTo>
                  <a:pt x="177" y="221"/>
                  <a:pt x="177" y="221"/>
                  <a:pt x="177" y="221"/>
                </a:cubicBezTo>
                <a:cubicBezTo>
                  <a:pt x="177" y="220"/>
                  <a:pt x="177" y="220"/>
                  <a:pt x="177" y="220"/>
                </a:cubicBezTo>
                <a:cubicBezTo>
                  <a:pt x="177" y="220"/>
                  <a:pt x="177" y="220"/>
                  <a:pt x="177" y="220"/>
                </a:cubicBezTo>
                <a:cubicBezTo>
                  <a:pt x="176" y="219"/>
                  <a:pt x="176" y="219"/>
                  <a:pt x="176" y="219"/>
                </a:cubicBezTo>
                <a:cubicBezTo>
                  <a:pt x="176" y="219"/>
                  <a:pt x="176" y="219"/>
                  <a:pt x="176" y="219"/>
                </a:cubicBezTo>
                <a:cubicBezTo>
                  <a:pt x="179" y="217"/>
                  <a:pt x="179" y="217"/>
                  <a:pt x="179" y="217"/>
                </a:cubicBezTo>
                <a:cubicBezTo>
                  <a:pt x="181" y="218"/>
                  <a:pt x="181" y="218"/>
                  <a:pt x="181" y="218"/>
                </a:cubicBezTo>
                <a:cubicBezTo>
                  <a:pt x="181" y="220"/>
                  <a:pt x="181" y="220"/>
                  <a:pt x="181" y="220"/>
                </a:cubicBezTo>
                <a:cubicBezTo>
                  <a:pt x="178" y="221"/>
                  <a:pt x="178" y="221"/>
                  <a:pt x="178" y="221"/>
                </a:cubicBezTo>
                <a:cubicBezTo>
                  <a:pt x="179" y="222"/>
                  <a:pt x="179" y="222"/>
                  <a:pt x="179" y="222"/>
                </a:cubicBezTo>
                <a:cubicBezTo>
                  <a:pt x="180" y="222"/>
                  <a:pt x="180" y="222"/>
                  <a:pt x="180" y="222"/>
                </a:cubicBezTo>
                <a:cubicBezTo>
                  <a:pt x="180" y="221"/>
                  <a:pt x="180" y="221"/>
                  <a:pt x="180" y="221"/>
                </a:cubicBezTo>
                <a:cubicBezTo>
                  <a:pt x="182" y="221"/>
                  <a:pt x="182" y="221"/>
                  <a:pt x="182" y="221"/>
                </a:cubicBezTo>
                <a:cubicBezTo>
                  <a:pt x="183" y="221"/>
                  <a:pt x="183" y="221"/>
                  <a:pt x="183" y="221"/>
                </a:cubicBezTo>
                <a:cubicBezTo>
                  <a:pt x="183" y="223"/>
                  <a:pt x="183" y="223"/>
                  <a:pt x="183" y="223"/>
                </a:cubicBezTo>
                <a:cubicBezTo>
                  <a:pt x="182" y="223"/>
                  <a:pt x="182" y="223"/>
                  <a:pt x="182" y="223"/>
                </a:cubicBezTo>
                <a:cubicBezTo>
                  <a:pt x="181" y="224"/>
                  <a:pt x="181" y="224"/>
                  <a:pt x="181" y="224"/>
                </a:cubicBezTo>
                <a:cubicBezTo>
                  <a:pt x="183" y="226"/>
                  <a:pt x="183" y="226"/>
                  <a:pt x="183" y="226"/>
                </a:cubicBezTo>
                <a:cubicBezTo>
                  <a:pt x="183" y="228"/>
                  <a:pt x="183" y="228"/>
                  <a:pt x="183" y="228"/>
                </a:cubicBezTo>
                <a:cubicBezTo>
                  <a:pt x="184" y="227"/>
                  <a:pt x="184" y="227"/>
                  <a:pt x="184" y="227"/>
                </a:cubicBezTo>
                <a:cubicBezTo>
                  <a:pt x="184" y="227"/>
                  <a:pt x="184" y="227"/>
                  <a:pt x="184" y="227"/>
                </a:cubicBezTo>
                <a:cubicBezTo>
                  <a:pt x="184" y="229"/>
                  <a:pt x="184" y="229"/>
                  <a:pt x="184" y="229"/>
                </a:cubicBezTo>
                <a:cubicBezTo>
                  <a:pt x="185" y="230"/>
                  <a:pt x="185" y="230"/>
                  <a:pt x="185" y="230"/>
                </a:cubicBezTo>
                <a:cubicBezTo>
                  <a:pt x="186" y="228"/>
                  <a:pt x="186" y="228"/>
                  <a:pt x="186" y="228"/>
                </a:cubicBezTo>
                <a:cubicBezTo>
                  <a:pt x="186" y="227"/>
                  <a:pt x="186" y="227"/>
                  <a:pt x="186" y="227"/>
                </a:cubicBezTo>
                <a:cubicBezTo>
                  <a:pt x="185" y="227"/>
                  <a:pt x="185" y="227"/>
                  <a:pt x="185" y="227"/>
                </a:cubicBezTo>
                <a:cubicBezTo>
                  <a:pt x="185" y="227"/>
                  <a:pt x="185" y="227"/>
                  <a:pt x="185" y="227"/>
                </a:cubicBezTo>
                <a:cubicBezTo>
                  <a:pt x="186" y="226"/>
                  <a:pt x="186" y="226"/>
                  <a:pt x="186" y="226"/>
                </a:cubicBezTo>
                <a:cubicBezTo>
                  <a:pt x="189" y="226"/>
                  <a:pt x="189" y="226"/>
                  <a:pt x="189" y="226"/>
                </a:cubicBezTo>
                <a:cubicBezTo>
                  <a:pt x="189" y="227"/>
                  <a:pt x="189" y="227"/>
                  <a:pt x="189" y="227"/>
                </a:cubicBezTo>
                <a:cubicBezTo>
                  <a:pt x="190" y="226"/>
                  <a:pt x="190" y="226"/>
                  <a:pt x="190" y="226"/>
                </a:cubicBezTo>
                <a:cubicBezTo>
                  <a:pt x="191" y="224"/>
                  <a:pt x="191" y="224"/>
                  <a:pt x="191" y="224"/>
                </a:cubicBezTo>
                <a:cubicBezTo>
                  <a:pt x="194" y="222"/>
                  <a:pt x="194" y="222"/>
                  <a:pt x="194" y="222"/>
                </a:cubicBezTo>
                <a:cubicBezTo>
                  <a:pt x="196" y="220"/>
                  <a:pt x="196" y="220"/>
                  <a:pt x="196" y="220"/>
                </a:cubicBezTo>
                <a:cubicBezTo>
                  <a:pt x="195" y="220"/>
                  <a:pt x="195" y="220"/>
                  <a:pt x="195" y="220"/>
                </a:cubicBezTo>
                <a:cubicBezTo>
                  <a:pt x="195" y="221"/>
                  <a:pt x="195" y="221"/>
                  <a:pt x="195" y="221"/>
                </a:cubicBezTo>
                <a:cubicBezTo>
                  <a:pt x="195" y="220"/>
                  <a:pt x="195" y="220"/>
                  <a:pt x="195" y="220"/>
                </a:cubicBezTo>
                <a:cubicBezTo>
                  <a:pt x="194" y="220"/>
                  <a:pt x="194" y="220"/>
                  <a:pt x="194" y="220"/>
                </a:cubicBezTo>
                <a:cubicBezTo>
                  <a:pt x="195" y="220"/>
                  <a:pt x="195" y="220"/>
                  <a:pt x="195" y="220"/>
                </a:cubicBezTo>
                <a:cubicBezTo>
                  <a:pt x="197" y="220"/>
                  <a:pt x="197" y="220"/>
                  <a:pt x="197" y="220"/>
                </a:cubicBezTo>
                <a:cubicBezTo>
                  <a:pt x="199" y="219"/>
                  <a:pt x="199" y="219"/>
                  <a:pt x="199" y="219"/>
                </a:cubicBezTo>
                <a:cubicBezTo>
                  <a:pt x="204" y="218"/>
                  <a:pt x="204" y="218"/>
                  <a:pt x="204" y="218"/>
                </a:cubicBezTo>
                <a:cubicBezTo>
                  <a:pt x="208" y="219"/>
                  <a:pt x="208" y="219"/>
                  <a:pt x="208" y="219"/>
                </a:cubicBezTo>
                <a:cubicBezTo>
                  <a:pt x="209" y="218"/>
                  <a:pt x="209" y="218"/>
                  <a:pt x="209" y="218"/>
                </a:cubicBezTo>
                <a:cubicBezTo>
                  <a:pt x="209" y="217"/>
                  <a:pt x="209" y="217"/>
                  <a:pt x="209" y="217"/>
                </a:cubicBezTo>
                <a:cubicBezTo>
                  <a:pt x="210" y="217"/>
                  <a:pt x="210" y="217"/>
                  <a:pt x="210" y="217"/>
                </a:cubicBezTo>
                <a:cubicBezTo>
                  <a:pt x="212" y="216"/>
                  <a:pt x="212" y="216"/>
                  <a:pt x="212" y="216"/>
                </a:cubicBezTo>
                <a:cubicBezTo>
                  <a:pt x="213" y="214"/>
                  <a:pt x="213" y="214"/>
                  <a:pt x="213" y="214"/>
                </a:cubicBezTo>
                <a:cubicBezTo>
                  <a:pt x="212" y="211"/>
                  <a:pt x="212" y="211"/>
                  <a:pt x="212" y="211"/>
                </a:cubicBezTo>
                <a:cubicBezTo>
                  <a:pt x="212" y="210"/>
                  <a:pt x="212" y="210"/>
                  <a:pt x="212" y="210"/>
                </a:cubicBezTo>
                <a:cubicBezTo>
                  <a:pt x="214" y="208"/>
                  <a:pt x="214" y="208"/>
                  <a:pt x="214" y="208"/>
                </a:cubicBezTo>
                <a:cubicBezTo>
                  <a:pt x="214" y="204"/>
                  <a:pt x="214" y="204"/>
                  <a:pt x="214" y="204"/>
                </a:cubicBezTo>
                <a:cubicBezTo>
                  <a:pt x="215" y="203"/>
                  <a:pt x="215" y="203"/>
                  <a:pt x="215" y="203"/>
                </a:cubicBezTo>
                <a:cubicBezTo>
                  <a:pt x="216" y="200"/>
                  <a:pt x="216" y="200"/>
                  <a:pt x="216" y="200"/>
                </a:cubicBezTo>
                <a:cubicBezTo>
                  <a:pt x="217" y="200"/>
                  <a:pt x="217" y="200"/>
                  <a:pt x="217" y="200"/>
                </a:cubicBezTo>
                <a:cubicBezTo>
                  <a:pt x="217" y="198"/>
                  <a:pt x="217" y="198"/>
                  <a:pt x="217" y="198"/>
                </a:cubicBezTo>
                <a:cubicBezTo>
                  <a:pt x="221" y="194"/>
                  <a:pt x="221" y="194"/>
                  <a:pt x="221" y="194"/>
                </a:cubicBezTo>
                <a:cubicBezTo>
                  <a:pt x="222" y="194"/>
                  <a:pt x="222" y="194"/>
                  <a:pt x="222" y="194"/>
                </a:cubicBezTo>
                <a:cubicBezTo>
                  <a:pt x="222" y="191"/>
                  <a:pt x="222" y="191"/>
                  <a:pt x="222" y="191"/>
                </a:cubicBezTo>
                <a:cubicBezTo>
                  <a:pt x="224" y="189"/>
                  <a:pt x="224" y="189"/>
                  <a:pt x="224" y="189"/>
                </a:cubicBezTo>
                <a:cubicBezTo>
                  <a:pt x="225" y="186"/>
                  <a:pt x="225" y="186"/>
                  <a:pt x="225" y="186"/>
                </a:cubicBezTo>
                <a:cubicBezTo>
                  <a:pt x="226" y="185"/>
                  <a:pt x="226" y="185"/>
                  <a:pt x="226" y="185"/>
                </a:cubicBezTo>
                <a:cubicBezTo>
                  <a:pt x="226" y="183"/>
                  <a:pt x="226" y="183"/>
                  <a:pt x="226" y="183"/>
                </a:cubicBezTo>
                <a:cubicBezTo>
                  <a:pt x="227" y="183"/>
                  <a:pt x="227" y="183"/>
                  <a:pt x="227" y="183"/>
                </a:cubicBezTo>
                <a:cubicBezTo>
                  <a:pt x="228" y="180"/>
                  <a:pt x="228" y="180"/>
                  <a:pt x="228" y="180"/>
                </a:cubicBezTo>
                <a:cubicBezTo>
                  <a:pt x="227" y="180"/>
                  <a:pt x="227" y="180"/>
                  <a:pt x="227" y="180"/>
                </a:cubicBezTo>
                <a:cubicBezTo>
                  <a:pt x="229" y="179"/>
                  <a:pt x="229" y="179"/>
                  <a:pt x="229" y="179"/>
                </a:cubicBezTo>
                <a:cubicBezTo>
                  <a:pt x="231" y="177"/>
                  <a:pt x="231" y="177"/>
                  <a:pt x="231" y="177"/>
                </a:cubicBezTo>
                <a:cubicBezTo>
                  <a:pt x="232" y="176"/>
                  <a:pt x="232" y="176"/>
                  <a:pt x="232" y="176"/>
                </a:cubicBezTo>
                <a:cubicBezTo>
                  <a:pt x="233" y="174"/>
                  <a:pt x="233" y="174"/>
                  <a:pt x="233" y="174"/>
                </a:cubicBezTo>
                <a:cubicBezTo>
                  <a:pt x="234" y="173"/>
                  <a:pt x="234" y="173"/>
                  <a:pt x="234" y="173"/>
                </a:cubicBezTo>
                <a:cubicBezTo>
                  <a:pt x="236" y="173"/>
                  <a:pt x="236" y="173"/>
                  <a:pt x="236" y="173"/>
                </a:cubicBezTo>
                <a:cubicBezTo>
                  <a:pt x="234" y="173"/>
                  <a:pt x="234" y="173"/>
                  <a:pt x="234" y="173"/>
                </a:cubicBezTo>
                <a:cubicBezTo>
                  <a:pt x="234" y="172"/>
                  <a:pt x="234" y="172"/>
                  <a:pt x="234" y="172"/>
                </a:cubicBezTo>
                <a:cubicBezTo>
                  <a:pt x="236" y="172"/>
                  <a:pt x="236" y="172"/>
                  <a:pt x="236" y="172"/>
                </a:cubicBezTo>
                <a:cubicBezTo>
                  <a:pt x="238" y="171"/>
                  <a:pt x="238" y="171"/>
                  <a:pt x="238" y="171"/>
                </a:cubicBezTo>
                <a:cubicBezTo>
                  <a:pt x="239" y="169"/>
                  <a:pt x="239" y="169"/>
                  <a:pt x="239" y="169"/>
                </a:cubicBezTo>
                <a:cubicBezTo>
                  <a:pt x="238" y="168"/>
                  <a:pt x="238" y="168"/>
                  <a:pt x="238" y="168"/>
                </a:cubicBezTo>
                <a:cubicBezTo>
                  <a:pt x="239" y="167"/>
                  <a:pt x="239" y="167"/>
                  <a:pt x="239" y="167"/>
                </a:cubicBezTo>
                <a:cubicBezTo>
                  <a:pt x="241" y="166"/>
                  <a:pt x="241" y="166"/>
                  <a:pt x="241" y="166"/>
                </a:cubicBezTo>
                <a:cubicBezTo>
                  <a:pt x="241" y="164"/>
                  <a:pt x="241" y="164"/>
                  <a:pt x="241" y="164"/>
                </a:cubicBezTo>
                <a:cubicBezTo>
                  <a:pt x="242" y="164"/>
                  <a:pt x="242" y="164"/>
                  <a:pt x="242" y="164"/>
                </a:cubicBezTo>
                <a:cubicBezTo>
                  <a:pt x="244" y="161"/>
                  <a:pt x="244" y="161"/>
                  <a:pt x="244" y="161"/>
                </a:cubicBezTo>
                <a:cubicBezTo>
                  <a:pt x="243" y="160"/>
                  <a:pt x="243" y="160"/>
                  <a:pt x="243" y="160"/>
                </a:cubicBezTo>
                <a:cubicBezTo>
                  <a:pt x="244" y="158"/>
                  <a:pt x="244" y="158"/>
                  <a:pt x="244" y="158"/>
                </a:cubicBezTo>
                <a:cubicBezTo>
                  <a:pt x="244" y="158"/>
                  <a:pt x="244" y="158"/>
                  <a:pt x="244" y="158"/>
                </a:cubicBezTo>
                <a:cubicBezTo>
                  <a:pt x="244" y="157"/>
                  <a:pt x="244" y="157"/>
                  <a:pt x="244" y="157"/>
                </a:cubicBezTo>
                <a:cubicBezTo>
                  <a:pt x="246" y="152"/>
                  <a:pt x="246" y="152"/>
                  <a:pt x="246" y="152"/>
                </a:cubicBezTo>
                <a:cubicBezTo>
                  <a:pt x="246" y="150"/>
                  <a:pt x="246" y="150"/>
                  <a:pt x="246" y="150"/>
                </a:cubicBezTo>
                <a:cubicBezTo>
                  <a:pt x="248" y="146"/>
                  <a:pt x="248" y="146"/>
                  <a:pt x="248" y="146"/>
                </a:cubicBezTo>
                <a:cubicBezTo>
                  <a:pt x="248" y="145"/>
                  <a:pt x="248" y="145"/>
                  <a:pt x="248" y="145"/>
                </a:cubicBezTo>
                <a:cubicBezTo>
                  <a:pt x="249" y="142"/>
                  <a:pt x="249" y="142"/>
                  <a:pt x="249" y="142"/>
                </a:cubicBezTo>
                <a:cubicBezTo>
                  <a:pt x="251" y="140"/>
                  <a:pt x="251" y="140"/>
                  <a:pt x="251" y="140"/>
                </a:cubicBezTo>
                <a:cubicBezTo>
                  <a:pt x="252" y="139"/>
                  <a:pt x="252" y="139"/>
                  <a:pt x="252" y="139"/>
                </a:cubicBezTo>
                <a:cubicBezTo>
                  <a:pt x="251" y="137"/>
                  <a:pt x="251" y="137"/>
                  <a:pt x="251" y="137"/>
                </a:cubicBezTo>
                <a:cubicBezTo>
                  <a:pt x="252" y="135"/>
                  <a:pt x="252" y="135"/>
                  <a:pt x="252" y="135"/>
                </a:cubicBezTo>
                <a:cubicBezTo>
                  <a:pt x="251" y="133"/>
                  <a:pt x="251" y="133"/>
                  <a:pt x="251" y="133"/>
                </a:cubicBezTo>
                <a:cubicBezTo>
                  <a:pt x="251" y="131"/>
                  <a:pt x="251" y="131"/>
                  <a:pt x="251" y="131"/>
                </a:cubicBezTo>
                <a:cubicBezTo>
                  <a:pt x="251" y="129"/>
                  <a:pt x="251" y="129"/>
                  <a:pt x="251" y="129"/>
                </a:cubicBezTo>
                <a:cubicBezTo>
                  <a:pt x="250" y="128"/>
                  <a:pt x="250" y="128"/>
                  <a:pt x="250" y="128"/>
                </a:cubicBezTo>
                <a:cubicBezTo>
                  <a:pt x="250" y="127"/>
                  <a:pt x="250" y="127"/>
                  <a:pt x="250" y="127"/>
                </a:cubicBezTo>
                <a:cubicBezTo>
                  <a:pt x="251" y="126"/>
                  <a:pt x="251" y="126"/>
                  <a:pt x="251" y="126"/>
                </a:cubicBezTo>
                <a:cubicBezTo>
                  <a:pt x="251" y="125"/>
                  <a:pt x="251" y="125"/>
                  <a:pt x="251" y="125"/>
                </a:cubicBezTo>
                <a:cubicBezTo>
                  <a:pt x="252" y="123"/>
                  <a:pt x="252" y="123"/>
                  <a:pt x="252" y="123"/>
                </a:cubicBezTo>
                <a:cubicBezTo>
                  <a:pt x="252" y="122"/>
                  <a:pt x="252" y="122"/>
                  <a:pt x="252" y="122"/>
                </a:cubicBezTo>
                <a:cubicBezTo>
                  <a:pt x="252" y="119"/>
                  <a:pt x="252" y="119"/>
                  <a:pt x="252" y="119"/>
                </a:cubicBezTo>
                <a:cubicBezTo>
                  <a:pt x="252" y="117"/>
                  <a:pt x="252" y="117"/>
                  <a:pt x="252" y="117"/>
                </a:cubicBezTo>
                <a:cubicBezTo>
                  <a:pt x="252" y="117"/>
                  <a:pt x="252" y="117"/>
                  <a:pt x="252" y="117"/>
                </a:cubicBezTo>
                <a:cubicBezTo>
                  <a:pt x="251" y="115"/>
                  <a:pt x="251" y="115"/>
                  <a:pt x="251" y="115"/>
                </a:cubicBezTo>
                <a:cubicBezTo>
                  <a:pt x="251" y="113"/>
                  <a:pt x="251" y="113"/>
                  <a:pt x="251" y="113"/>
                </a:cubicBezTo>
                <a:cubicBezTo>
                  <a:pt x="251" y="113"/>
                  <a:pt x="251" y="113"/>
                  <a:pt x="251" y="113"/>
                </a:cubicBezTo>
                <a:cubicBezTo>
                  <a:pt x="252" y="111"/>
                  <a:pt x="252" y="111"/>
                  <a:pt x="252" y="111"/>
                </a:cubicBezTo>
                <a:cubicBezTo>
                  <a:pt x="250" y="111"/>
                  <a:pt x="250" y="111"/>
                  <a:pt x="250" y="111"/>
                </a:cubicBezTo>
                <a:cubicBezTo>
                  <a:pt x="250" y="110"/>
                  <a:pt x="250" y="110"/>
                  <a:pt x="250" y="110"/>
                </a:cubicBezTo>
                <a:cubicBezTo>
                  <a:pt x="250" y="108"/>
                  <a:pt x="250" y="108"/>
                  <a:pt x="250" y="108"/>
                </a:cubicBezTo>
                <a:cubicBezTo>
                  <a:pt x="248" y="107"/>
                  <a:pt x="248" y="107"/>
                  <a:pt x="248" y="107"/>
                </a:cubicBezTo>
                <a:cubicBezTo>
                  <a:pt x="247" y="105"/>
                  <a:pt x="247" y="105"/>
                  <a:pt x="247" y="105"/>
                </a:cubicBezTo>
                <a:cubicBezTo>
                  <a:pt x="247" y="103"/>
                  <a:pt x="247" y="103"/>
                  <a:pt x="247" y="103"/>
                </a:cubicBezTo>
                <a:cubicBezTo>
                  <a:pt x="246" y="102"/>
                  <a:pt x="246" y="102"/>
                  <a:pt x="246" y="102"/>
                </a:cubicBezTo>
                <a:cubicBezTo>
                  <a:pt x="245" y="102"/>
                  <a:pt x="245" y="102"/>
                  <a:pt x="245" y="102"/>
                </a:cubicBezTo>
                <a:cubicBezTo>
                  <a:pt x="244" y="102"/>
                  <a:pt x="244" y="102"/>
                  <a:pt x="244" y="102"/>
                </a:cubicBezTo>
                <a:cubicBezTo>
                  <a:pt x="244" y="101"/>
                  <a:pt x="244" y="101"/>
                  <a:pt x="244" y="101"/>
                </a:cubicBezTo>
                <a:cubicBezTo>
                  <a:pt x="243" y="100"/>
                  <a:pt x="243" y="100"/>
                  <a:pt x="243" y="100"/>
                </a:cubicBezTo>
                <a:cubicBezTo>
                  <a:pt x="243" y="99"/>
                  <a:pt x="243" y="99"/>
                  <a:pt x="243" y="99"/>
                </a:cubicBezTo>
                <a:cubicBezTo>
                  <a:pt x="243" y="99"/>
                  <a:pt x="243" y="99"/>
                  <a:pt x="243" y="99"/>
                </a:cubicBezTo>
                <a:cubicBezTo>
                  <a:pt x="241" y="97"/>
                  <a:pt x="241" y="97"/>
                  <a:pt x="241" y="97"/>
                </a:cubicBezTo>
                <a:cubicBezTo>
                  <a:pt x="240" y="97"/>
                  <a:pt x="240" y="97"/>
                  <a:pt x="240" y="97"/>
                </a:cubicBezTo>
                <a:cubicBezTo>
                  <a:pt x="241" y="96"/>
                  <a:pt x="241" y="96"/>
                  <a:pt x="241" y="96"/>
                </a:cubicBezTo>
                <a:cubicBezTo>
                  <a:pt x="240" y="94"/>
                  <a:pt x="240" y="94"/>
                  <a:pt x="240" y="94"/>
                </a:cubicBezTo>
                <a:cubicBezTo>
                  <a:pt x="241" y="93"/>
                  <a:pt x="241" y="93"/>
                  <a:pt x="241" y="93"/>
                </a:cubicBezTo>
                <a:cubicBezTo>
                  <a:pt x="241" y="91"/>
                  <a:pt x="241" y="91"/>
                  <a:pt x="241" y="91"/>
                </a:cubicBezTo>
                <a:cubicBezTo>
                  <a:pt x="241" y="90"/>
                  <a:pt x="241" y="90"/>
                  <a:pt x="241" y="90"/>
                </a:cubicBezTo>
                <a:cubicBezTo>
                  <a:pt x="241" y="89"/>
                  <a:pt x="241" y="89"/>
                  <a:pt x="241" y="89"/>
                </a:cubicBezTo>
                <a:cubicBezTo>
                  <a:pt x="240" y="88"/>
                  <a:pt x="240" y="88"/>
                  <a:pt x="240" y="88"/>
                </a:cubicBezTo>
                <a:cubicBezTo>
                  <a:pt x="240" y="89"/>
                  <a:pt x="240" y="89"/>
                  <a:pt x="240" y="89"/>
                </a:cubicBezTo>
                <a:cubicBezTo>
                  <a:pt x="240" y="89"/>
                  <a:pt x="240" y="89"/>
                  <a:pt x="240" y="89"/>
                </a:cubicBezTo>
                <a:cubicBezTo>
                  <a:pt x="240" y="90"/>
                  <a:pt x="240" y="90"/>
                  <a:pt x="240" y="90"/>
                </a:cubicBezTo>
                <a:cubicBezTo>
                  <a:pt x="237" y="87"/>
                  <a:pt x="237" y="87"/>
                  <a:pt x="237" y="87"/>
                </a:cubicBezTo>
                <a:cubicBezTo>
                  <a:pt x="237" y="86"/>
                  <a:pt x="237" y="86"/>
                  <a:pt x="237" y="86"/>
                </a:cubicBezTo>
                <a:cubicBezTo>
                  <a:pt x="236" y="86"/>
                  <a:pt x="236" y="86"/>
                  <a:pt x="236" y="86"/>
                </a:cubicBezTo>
                <a:cubicBezTo>
                  <a:pt x="236" y="87"/>
                  <a:pt x="236" y="87"/>
                  <a:pt x="236" y="87"/>
                </a:cubicBezTo>
                <a:cubicBezTo>
                  <a:pt x="236" y="88"/>
                  <a:pt x="236" y="88"/>
                  <a:pt x="236" y="88"/>
                </a:cubicBezTo>
                <a:cubicBezTo>
                  <a:pt x="236" y="90"/>
                  <a:pt x="236" y="90"/>
                  <a:pt x="236" y="90"/>
                </a:cubicBezTo>
                <a:cubicBezTo>
                  <a:pt x="235" y="88"/>
                  <a:pt x="235" y="88"/>
                  <a:pt x="235" y="88"/>
                </a:cubicBezTo>
                <a:cubicBezTo>
                  <a:pt x="234" y="89"/>
                  <a:pt x="234" y="89"/>
                  <a:pt x="234" y="89"/>
                </a:cubicBezTo>
                <a:cubicBezTo>
                  <a:pt x="234" y="88"/>
                  <a:pt x="234" y="88"/>
                  <a:pt x="234" y="88"/>
                </a:cubicBezTo>
                <a:cubicBezTo>
                  <a:pt x="234" y="87"/>
                  <a:pt x="234" y="87"/>
                  <a:pt x="234" y="87"/>
                </a:cubicBezTo>
                <a:cubicBezTo>
                  <a:pt x="234" y="83"/>
                  <a:pt x="234" y="83"/>
                  <a:pt x="234" y="83"/>
                </a:cubicBezTo>
                <a:cubicBezTo>
                  <a:pt x="234" y="83"/>
                  <a:pt x="234" y="83"/>
                  <a:pt x="234" y="83"/>
                </a:cubicBezTo>
                <a:cubicBezTo>
                  <a:pt x="234" y="82"/>
                  <a:pt x="234" y="82"/>
                  <a:pt x="234" y="82"/>
                </a:cubicBezTo>
                <a:cubicBezTo>
                  <a:pt x="233" y="81"/>
                  <a:pt x="233" y="81"/>
                  <a:pt x="233" y="81"/>
                </a:cubicBezTo>
                <a:cubicBezTo>
                  <a:pt x="233" y="80"/>
                  <a:pt x="233" y="80"/>
                  <a:pt x="233" y="80"/>
                </a:cubicBezTo>
                <a:cubicBezTo>
                  <a:pt x="232" y="80"/>
                  <a:pt x="232" y="80"/>
                  <a:pt x="232" y="80"/>
                </a:cubicBezTo>
                <a:cubicBezTo>
                  <a:pt x="233" y="79"/>
                  <a:pt x="233" y="79"/>
                  <a:pt x="233" y="79"/>
                </a:cubicBezTo>
                <a:cubicBezTo>
                  <a:pt x="231" y="77"/>
                  <a:pt x="231" y="77"/>
                  <a:pt x="231" y="77"/>
                </a:cubicBezTo>
                <a:cubicBezTo>
                  <a:pt x="230" y="76"/>
                  <a:pt x="230" y="76"/>
                  <a:pt x="230" y="76"/>
                </a:cubicBezTo>
                <a:cubicBezTo>
                  <a:pt x="230" y="74"/>
                  <a:pt x="230" y="74"/>
                  <a:pt x="230" y="74"/>
                </a:cubicBezTo>
                <a:cubicBezTo>
                  <a:pt x="231" y="74"/>
                  <a:pt x="231" y="74"/>
                  <a:pt x="231" y="74"/>
                </a:cubicBezTo>
                <a:cubicBezTo>
                  <a:pt x="231" y="73"/>
                  <a:pt x="231" y="73"/>
                  <a:pt x="231" y="73"/>
                </a:cubicBezTo>
                <a:cubicBezTo>
                  <a:pt x="230" y="71"/>
                  <a:pt x="230" y="71"/>
                  <a:pt x="230" y="71"/>
                </a:cubicBezTo>
                <a:cubicBezTo>
                  <a:pt x="230" y="72"/>
                  <a:pt x="230" y="72"/>
                  <a:pt x="230" y="72"/>
                </a:cubicBezTo>
                <a:cubicBezTo>
                  <a:pt x="228" y="71"/>
                  <a:pt x="228" y="71"/>
                  <a:pt x="228" y="71"/>
                </a:cubicBezTo>
                <a:cubicBezTo>
                  <a:pt x="227" y="70"/>
                  <a:pt x="227" y="70"/>
                  <a:pt x="227" y="70"/>
                </a:cubicBezTo>
                <a:cubicBezTo>
                  <a:pt x="226" y="70"/>
                  <a:pt x="226" y="70"/>
                  <a:pt x="226" y="70"/>
                </a:cubicBezTo>
                <a:cubicBezTo>
                  <a:pt x="225" y="69"/>
                  <a:pt x="225" y="69"/>
                  <a:pt x="225" y="69"/>
                </a:cubicBezTo>
                <a:cubicBezTo>
                  <a:pt x="224" y="69"/>
                  <a:pt x="224" y="69"/>
                  <a:pt x="224" y="69"/>
                </a:cubicBezTo>
                <a:cubicBezTo>
                  <a:pt x="224" y="69"/>
                  <a:pt x="224" y="69"/>
                  <a:pt x="224" y="69"/>
                </a:cubicBezTo>
                <a:cubicBezTo>
                  <a:pt x="223" y="68"/>
                  <a:pt x="223" y="68"/>
                  <a:pt x="223" y="68"/>
                </a:cubicBezTo>
                <a:cubicBezTo>
                  <a:pt x="222" y="69"/>
                  <a:pt x="222" y="69"/>
                  <a:pt x="222" y="69"/>
                </a:cubicBezTo>
                <a:cubicBezTo>
                  <a:pt x="222" y="68"/>
                  <a:pt x="222" y="68"/>
                  <a:pt x="222" y="68"/>
                </a:cubicBezTo>
                <a:cubicBezTo>
                  <a:pt x="224" y="67"/>
                  <a:pt x="224" y="67"/>
                  <a:pt x="224" y="67"/>
                </a:cubicBezTo>
                <a:cubicBezTo>
                  <a:pt x="224" y="67"/>
                  <a:pt x="224" y="67"/>
                  <a:pt x="224" y="67"/>
                </a:cubicBezTo>
                <a:cubicBezTo>
                  <a:pt x="223" y="66"/>
                  <a:pt x="223" y="66"/>
                  <a:pt x="223" y="66"/>
                </a:cubicBezTo>
                <a:cubicBezTo>
                  <a:pt x="222" y="66"/>
                  <a:pt x="222" y="66"/>
                  <a:pt x="222" y="66"/>
                </a:cubicBezTo>
                <a:cubicBezTo>
                  <a:pt x="221" y="66"/>
                  <a:pt x="221" y="66"/>
                  <a:pt x="221" y="66"/>
                </a:cubicBezTo>
                <a:cubicBezTo>
                  <a:pt x="221" y="65"/>
                  <a:pt x="221" y="65"/>
                  <a:pt x="221" y="65"/>
                </a:cubicBezTo>
                <a:cubicBezTo>
                  <a:pt x="220" y="65"/>
                  <a:pt x="220" y="65"/>
                  <a:pt x="220" y="65"/>
                </a:cubicBezTo>
                <a:cubicBezTo>
                  <a:pt x="217" y="64"/>
                  <a:pt x="217" y="64"/>
                  <a:pt x="217" y="64"/>
                </a:cubicBezTo>
                <a:cubicBezTo>
                  <a:pt x="216" y="61"/>
                  <a:pt x="216" y="61"/>
                  <a:pt x="216" y="61"/>
                </a:cubicBezTo>
                <a:cubicBezTo>
                  <a:pt x="216" y="59"/>
                  <a:pt x="216" y="59"/>
                  <a:pt x="216" y="59"/>
                </a:cubicBezTo>
                <a:cubicBezTo>
                  <a:pt x="215" y="58"/>
                  <a:pt x="215" y="58"/>
                  <a:pt x="215" y="58"/>
                </a:cubicBezTo>
                <a:cubicBezTo>
                  <a:pt x="215" y="56"/>
                  <a:pt x="215" y="56"/>
                  <a:pt x="215" y="56"/>
                </a:cubicBezTo>
                <a:cubicBezTo>
                  <a:pt x="216" y="56"/>
                  <a:pt x="216" y="56"/>
                  <a:pt x="216" y="56"/>
                </a:cubicBezTo>
                <a:cubicBezTo>
                  <a:pt x="216" y="54"/>
                  <a:pt x="216" y="54"/>
                  <a:pt x="216" y="54"/>
                </a:cubicBezTo>
                <a:cubicBezTo>
                  <a:pt x="216" y="50"/>
                  <a:pt x="216" y="50"/>
                  <a:pt x="216" y="50"/>
                </a:cubicBezTo>
                <a:cubicBezTo>
                  <a:pt x="215" y="49"/>
                  <a:pt x="215" y="49"/>
                  <a:pt x="215" y="49"/>
                </a:cubicBezTo>
                <a:cubicBezTo>
                  <a:pt x="216" y="49"/>
                  <a:pt x="216" y="49"/>
                  <a:pt x="216" y="49"/>
                </a:cubicBezTo>
                <a:cubicBezTo>
                  <a:pt x="215" y="48"/>
                  <a:pt x="215" y="48"/>
                  <a:pt x="215" y="48"/>
                </a:cubicBezTo>
                <a:cubicBezTo>
                  <a:pt x="214" y="48"/>
                  <a:pt x="214" y="48"/>
                  <a:pt x="214" y="48"/>
                </a:cubicBezTo>
                <a:cubicBezTo>
                  <a:pt x="213" y="45"/>
                  <a:pt x="213" y="45"/>
                  <a:pt x="213" y="45"/>
                </a:cubicBezTo>
                <a:cubicBezTo>
                  <a:pt x="213" y="42"/>
                  <a:pt x="213" y="42"/>
                  <a:pt x="213" y="42"/>
                </a:cubicBezTo>
                <a:cubicBezTo>
                  <a:pt x="213" y="42"/>
                  <a:pt x="213" y="42"/>
                  <a:pt x="213" y="42"/>
                </a:cubicBezTo>
                <a:cubicBezTo>
                  <a:pt x="213" y="41"/>
                  <a:pt x="213" y="41"/>
                  <a:pt x="213" y="41"/>
                </a:cubicBezTo>
                <a:cubicBezTo>
                  <a:pt x="213" y="40"/>
                  <a:pt x="213" y="40"/>
                  <a:pt x="213" y="40"/>
                </a:cubicBezTo>
                <a:cubicBezTo>
                  <a:pt x="212" y="37"/>
                  <a:pt x="212" y="37"/>
                  <a:pt x="212" y="37"/>
                </a:cubicBezTo>
                <a:cubicBezTo>
                  <a:pt x="213" y="36"/>
                  <a:pt x="213" y="36"/>
                  <a:pt x="213" y="36"/>
                </a:cubicBezTo>
                <a:cubicBezTo>
                  <a:pt x="212" y="34"/>
                  <a:pt x="212" y="34"/>
                  <a:pt x="212" y="34"/>
                </a:cubicBezTo>
                <a:cubicBezTo>
                  <a:pt x="213" y="34"/>
                  <a:pt x="213" y="34"/>
                  <a:pt x="213" y="34"/>
                </a:cubicBezTo>
                <a:cubicBezTo>
                  <a:pt x="213" y="33"/>
                  <a:pt x="213" y="33"/>
                  <a:pt x="213" y="33"/>
                </a:cubicBezTo>
                <a:cubicBezTo>
                  <a:pt x="211" y="31"/>
                  <a:pt x="211" y="31"/>
                  <a:pt x="211" y="31"/>
                </a:cubicBezTo>
                <a:cubicBezTo>
                  <a:pt x="209" y="30"/>
                  <a:pt x="209" y="30"/>
                  <a:pt x="209" y="30"/>
                </a:cubicBezTo>
                <a:cubicBezTo>
                  <a:pt x="210" y="30"/>
                  <a:pt x="210" y="30"/>
                  <a:pt x="210" y="30"/>
                </a:cubicBezTo>
                <a:cubicBezTo>
                  <a:pt x="208" y="28"/>
                  <a:pt x="208" y="28"/>
                  <a:pt x="208" y="28"/>
                </a:cubicBezTo>
                <a:cubicBezTo>
                  <a:pt x="207" y="29"/>
                  <a:pt x="207" y="29"/>
                  <a:pt x="207" y="29"/>
                </a:cubicBezTo>
                <a:cubicBezTo>
                  <a:pt x="206" y="29"/>
                  <a:pt x="206" y="29"/>
                  <a:pt x="206" y="29"/>
                </a:cubicBezTo>
                <a:cubicBezTo>
                  <a:pt x="206" y="30"/>
                  <a:pt x="206" y="30"/>
                  <a:pt x="206" y="30"/>
                </a:cubicBezTo>
                <a:cubicBezTo>
                  <a:pt x="205" y="30"/>
                  <a:pt x="205" y="30"/>
                  <a:pt x="205" y="30"/>
                </a:cubicBezTo>
                <a:cubicBezTo>
                  <a:pt x="203" y="28"/>
                  <a:pt x="203" y="28"/>
                  <a:pt x="203" y="28"/>
                </a:cubicBezTo>
                <a:cubicBezTo>
                  <a:pt x="203" y="27"/>
                  <a:pt x="203" y="27"/>
                  <a:pt x="203" y="27"/>
                </a:cubicBezTo>
                <a:cubicBezTo>
                  <a:pt x="203" y="25"/>
                  <a:pt x="203" y="25"/>
                  <a:pt x="203" y="25"/>
                </a:cubicBezTo>
                <a:cubicBezTo>
                  <a:pt x="203" y="23"/>
                  <a:pt x="203" y="23"/>
                  <a:pt x="203" y="23"/>
                </a:cubicBezTo>
                <a:cubicBezTo>
                  <a:pt x="203" y="20"/>
                  <a:pt x="203" y="20"/>
                  <a:pt x="203" y="20"/>
                </a:cubicBezTo>
                <a:cubicBezTo>
                  <a:pt x="202" y="20"/>
                  <a:pt x="202" y="20"/>
                  <a:pt x="202" y="20"/>
                </a:cubicBezTo>
                <a:cubicBezTo>
                  <a:pt x="202" y="19"/>
                  <a:pt x="202" y="19"/>
                  <a:pt x="202" y="19"/>
                </a:cubicBezTo>
                <a:cubicBezTo>
                  <a:pt x="202" y="18"/>
                  <a:pt x="202" y="18"/>
                  <a:pt x="202" y="18"/>
                </a:cubicBezTo>
                <a:cubicBezTo>
                  <a:pt x="201" y="17"/>
                  <a:pt x="201" y="17"/>
                  <a:pt x="201" y="17"/>
                </a:cubicBezTo>
                <a:cubicBezTo>
                  <a:pt x="201" y="16"/>
                  <a:pt x="201" y="16"/>
                  <a:pt x="201" y="16"/>
                </a:cubicBezTo>
                <a:cubicBezTo>
                  <a:pt x="201" y="15"/>
                  <a:pt x="201" y="15"/>
                  <a:pt x="201" y="15"/>
                </a:cubicBezTo>
                <a:cubicBezTo>
                  <a:pt x="201" y="14"/>
                  <a:pt x="201" y="14"/>
                  <a:pt x="201" y="14"/>
                </a:cubicBezTo>
                <a:cubicBezTo>
                  <a:pt x="202" y="13"/>
                  <a:pt x="202" y="13"/>
                  <a:pt x="202" y="13"/>
                </a:cubicBezTo>
                <a:cubicBezTo>
                  <a:pt x="201" y="12"/>
                  <a:pt x="201" y="12"/>
                  <a:pt x="201" y="12"/>
                </a:cubicBezTo>
                <a:cubicBezTo>
                  <a:pt x="200" y="13"/>
                  <a:pt x="200" y="13"/>
                  <a:pt x="200" y="13"/>
                </a:cubicBezTo>
                <a:cubicBezTo>
                  <a:pt x="199" y="12"/>
                  <a:pt x="199" y="12"/>
                  <a:pt x="199" y="12"/>
                </a:cubicBezTo>
                <a:cubicBezTo>
                  <a:pt x="199" y="9"/>
                  <a:pt x="199" y="9"/>
                  <a:pt x="199" y="9"/>
                </a:cubicBezTo>
                <a:cubicBezTo>
                  <a:pt x="199" y="8"/>
                  <a:pt x="199" y="8"/>
                  <a:pt x="199" y="8"/>
                </a:cubicBezTo>
                <a:cubicBezTo>
                  <a:pt x="199" y="7"/>
                  <a:pt x="199" y="7"/>
                  <a:pt x="199" y="7"/>
                </a:cubicBezTo>
                <a:cubicBezTo>
                  <a:pt x="197" y="6"/>
                  <a:pt x="197" y="6"/>
                  <a:pt x="197" y="6"/>
                </a:cubicBezTo>
                <a:cubicBezTo>
                  <a:pt x="197" y="5"/>
                  <a:pt x="197" y="5"/>
                  <a:pt x="197" y="5"/>
                </a:cubicBezTo>
                <a:cubicBezTo>
                  <a:pt x="196" y="6"/>
                  <a:pt x="196" y="6"/>
                  <a:pt x="196" y="6"/>
                </a:cubicBezTo>
                <a:cubicBezTo>
                  <a:pt x="195" y="7"/>
                  <a:pt x="195" y="7"/>
                  <a:pt x="195" y="7"/>
                </a:cubicBezTo>
                <a:cubicBezTo>
                  <a:pt x="195" y="9"/>
                  <a:pt x="195" y="9"/>
                  <a:pt x="195" y="9"/>
                </a:cubicBezTo>
                <a:cubicBezTo>
                  <a:pt x="194" y="11"/>
                  <a:pt x="194" y="11"/>
                  <a:pt x="194" y="11"/>
                </a:cubicBezTo>
                <a:cubicBezTo>
                  <a:pt x="194" y="12"/>
                  <a:pt x="194" y="12"/>
                  <a:pt x="194" y="12"/>
                </a:cubicBezTo>
                <a:cubicBezTo>
                  <a:pt x="194" y="13"/>
                  <a:pt x="194" y="13"/>
                  <a:pt x="194" y="13"/>
                </a:cubicBezTo>
                <a:cubicBezTo>
                  <a:pt x="193" y="13"/>
                  <a:pt x="193" y="13"/>
                  <a:pt x="193" y="13"/>
                </a:cubicBezTo>
                <a:cubicBezTo>
                  <a:pt x="193" y="15"/>
                  <a:pt x="193" y="15"/>
                  <a:pt x="193" y="15"/>
                </a:cubicBezTo>
                <a:cubicBezTo>
                  <a:pt x="192" y="16"/>
                  <a:pt x="192" y="16"/>
                  <a:pt x="192" y="16"/>
                </a:cubicBezTo>
                <a:cubicBezTo>
                  <a:pt x="192" y="17"/>
                  <a:pt x="192" y="17"/>
                  <a:pt x="192" y="17"/>
                </a:cubicBezTo>
                <a:cubicBezTo>
                  <a:pt x="194" y="18"/>
                  <a:pt x="194" y="18"/>
                  <a:pt x="194" y="18"/>
                </a:cubicBezTo>
                <a:cubicBezTo>
                  <a:pt x="193" y="19"/>
                  <a:pt x="193" y="19"/>
                  <a:pt x="193" y="19"/>
                </a:cubicBezTo>
                <a:cubicBezTo>
                  <a:pt x="192" y="19"/>
                  <a:pt x="192" y="19"/>
                  <a:pt x="192" y="19"/>
                </a:cubicBezTo>
                <a:cubicBezTo>
                  <a:pt x="192" y="20"/>
                  <a:pt x="192" y="20"/>
                  <a:pt x="192" y="20"/>
                </a:cubicBezTo>
                <a:cubicBezTo>
                  <a:pt x="191" y="21"/>
                  <a:pt x="191" y="21"/>
                  <a:pt x="191" y="21"/>
                </a:cubicBezTo>
                <a:cubicBezTo>
                  <a:pt x="192" y="23"/>
                  <a:pt x="192" y="23"/>
                  <a:pt x="192" y="23"/>
                </a:cubicBezTo>
                <a:cubicBezTo>
                  <a:pt x="192" y="24"/>
                  <a:pt x="192" y="24"/>
                  <a:pt x="192" y="24"/>
                </a:cubicBezTo>
                <a:cubicBezTo>
                  <a:pt x="191" y="23"/>
                  <a:pt x="191" y="23"/>
                  <a:pt x="191" y="23"/>
                </a:cubicBezTo>
                <a:cubicBezTo>
                  <a:pt x="190" y="24"/>
                  <a:pt x="190" y="24"/>
                  <a:pt x="190" y="24"/>
                </a:cubicBezTo>
                <a:cubicBezTo>
                  <a:pt x="190" y="27"/>
                  <a:pt x="190" y="27"/>
                  <a:pt x="190" y="27"/>
                </a:cubicBezTo>
                <a:cubicBezTo>
                  <a:pt x="190" y="29"/>
                  <a:pt x="190" y="29"/>
                  <a:pt x="190" y="29"/>
                </a:cubicBezTo>
                <a:cubicBezTo>
                  <a:pt x="190" y="31"/>
                  <a:pt x="190" y="31"/>
                  <a:pt x="190" y="31"/>
                </a:cubicBezTo>
                <a:cubicBezTo>
                  <a:pt x="190" y="33"/>
                  <a:pt x="190" y="33"/>
                  <a:pt x="190" y="33"/>
                </a:cubicBezTo>
                <a:cubicBezTo>
                  <a:pt x="190" y="35"/>
                  <a:pt x="190" y="35"/>
                  <a:pt x="190" y="35"/>
                </a:cubicBezTo>
                <a:cubicBezTo>
                  <a:pt x="189" y="36"/>
                  <a:pt x="189" y="36"/>
                  <a:pt x="189" y="36"/>
                </a:cubicBezTo>
                <a:cubicBezTo>
                  <a:pt x="189" y="37"/>
                  <a:pt x="189" y="37"/>
                  <a:pt x="189" y="37"/>
                </a:cubicBezTo>
                <a:cubicBezTo>
                  <a:pt x="188" y="39"/>
                  <a:pt x="188" y="39"/>
                  <a:pt x="188" y="39"/>
                </a:cubicBezTo>
                <a:cubicBezTo>
                  <a:pt x="188" y="43"/>
                  <a:pt x="188" y="43"/>
                  <a:pt x="188" y="43"/>
                </a:cubicBezTo>
                <a:cubicBezTo>
                  <a:pt x="187" y="44"/>
                  <a:pt x="187" y="44"/>
                  <a:pt x="187" y="44"/>
                </a:cubicBezTo>
                <a:cubicBezTo>
                  <a:pt x="187" y="45"/>
                  <a:pt x="187" y="45"/>
                  <a:pt x="187" y="45"/>
                </a:cubicBezTo>
                <a:cubicBezTo>
                  <a:pt x="186" y="47"/>
                  <a:pt x="186" y="47"/>
                  <a:pt x="186" y="47"/>
                </a:cubicBezTo>
                <a:cubicBezTo>
                  <a:pt x="185" y="48"/>
                  <a:pt x="185" y="48"/>
                  <a:pt x="185" y="48"/>
                </a:cubicBezTo>
                <a:cubicBezTo>
                  <a:pt x="185" y="51"/>
                  <a:pt x="185" y="51"/>
                  <a:pt x="185" y="51"/>
                </a:cubicBezTo>
                <a:cubicBezTo>
                  <a:pt x="183" y="52"/>
                  <a:pt x="183" y="52"/>
                  <a:pt x="183" y="52"/>
                </a:cubicBezTo>
                <a:cubicBezTo>
                  <a:pt x="179" y="54"/>
                  <a:pt x="179" y="54"/>
                  <a:pt x="179" y="54"/>
                </a:cubicBezTo>
                <a:cubicBezTo>
                  <a:pt x="177" y="53"/>
                  <a:pt x="177" y="53"/>
                  <a:pt x="177" y="53"/>
                </a:cubicBezTo>
                <a:cubicBezTo>
                  <a:pt x="176" y="53"/>
                  <a:pt x="176" y="53"/>
                  <a:pt x="176" y="53"/>
                </a:cubicBezTo>
                <a:cubicBezTo>
                  <a:pt x="175" y="51"/>
                  <a:pt x="175" y="51"/>
                  <a:pt x="175" y="51"/>
                </a:cubicBezTo>
                <a:cubicBezTo>
                  <a:pt x="173" y="50"/>
                  <a:pt x="173" y="50"/>
                  <a:pt x="173" y="50"/>
                </a:cubicBezTo>
                <a:cubicBezTo>
                  <a:pt x="173" y="49"/>
                  <a:pt x="173" y="49"/>
                  <a:pt x="173" y="49"/>
                </a:cubicBezTo>
                <a:cubicBezTo>
                  <a:pt x="173" y="49"/>
                  <a:pt x="173" y="49"/>
                  <a:pt x="173" y="49"/>
                </a:cubicBezTo>
                <a:cubicBezTo>
                  <a:pt x="172" y="48"/>
                  <a:pt x="172" y="48"/>
                  <a:pt x="172" y="48"/>
                </a:cubicBezTo>
                <a:cubicBezTo>
                  <a:pt x="171" y="47"/>
                  <a:pt x="171" y="47"/>
                  <a:pt x="171" y="47"/>
                </a:cubicBezTo>
                <a:cubicBezTo>
                  <a:pt x="170" y="47"/>
                  <a:pt x="170" y="47"/>
                  <a:pt x="170" y="47"/>
                </a:cubicBezTo>
                <a:cubicBezTo>
                  <a:pt x="168" y="47"/>
                  <a:pt x="168" y="47"/>
                  <a:pt x="168" y="47"/>
                </a:cubicBezTo>
                <a:cubicBezTo>
                  <a:pt x="166" y="46"/>
                  <a:pt x="166" y="46"/>
                  <a:pt x="166" y="46"/>
                </a:cubicBezTo>
                <a:cubicBezTo>
                  <a:pt x="166" y="44"/>
                  <a:pt x="166" y="44"/>
                  <a:pt x="166" y="44"/>
                </a:cubicBezTo>
                <a:cubicBezTo>
                  <a:pt x="164" y="43"/>
                  <a:pt x="164" y="43"/>
                  <a:pt x="164" y="43"/>
                </a:cubicBezTo>
                <a:cubicBezTo>
                  <a:pt x="163" y="43"/>
                  <a:pt x="163" y="43"/>
                  <a:pt x="163" y="43"/>
                </a:cubicBezTo>
                <a:cubicBezTo>
                  <a:pt x="161" y="42"/>
                  <a:pt x="161" y="42"/>
                  <a:pt x="161" y="42"/>
                </a:cubicBezTo>
                <a:cubicBezTo>
                  <a:pt x="161" y="41"/>
                  <a:pt x="161" y="41"/>
                  <a:pt x="161" y="41"/>
                </a:cubicBezTo>
                <a:cubicBezTo>
                  <a:pt x="160" y="41"/>
                  <a:pt x="160" y="41"/>
                  <a:pt x="160" y="41"/>
                </a:cubicBezTo>
                <a:cubicBezTo>
                  <a:pt x="160" y="40"/>
                  <a:pt x="160" y="40"/>
                  <a:pt x="160" y="40"/>
                </a:cubicBezTo>
                <a:cubicBezTo>
                  <a:pt x="158" y="40"/>
                  <a:pt x="158" y="40"/>
                  <a:pt x="158" y="40"/>
                </a:cubicBezTo>
                <a:cubicBezTo>
                  <a:pt x="157" y="40"/>
                  <a:pt x="157" y="40"/>
                  <a:pt x="157" y="40"/>
                </a:cubicBezTo>
                <a:cubicBezTo>
                  <a:pt x="157" y="39"/>
                  <a:pt x="157" y="39"/>
                  <a:pt x="157" y="39"/>
                </a:cubicBezTo>
                <a:cubicBezTo>
                  <a:pt x="156" y="38"/>
                  <a:pt x="156" y="38"/>
                  <a:pt x="156" y="38"/>
                </a:cubicBezTo>
                <a:cubicBezTo>
                  <a:pt x="156" y="37"/>
                  <a:pt x="156" y="37"/>
                  <a:pt x="156" y="37"/>
                </a:cubicBezTo>
                <a:cubicBezTo>
                  <a:pt x="154" y="35"/>
                  <a:pt x="154" y="35"/>
                  <a:pt x="154" y="35"/>
                </a:cubicBezTo>
                <a:cubicBezTo>
                  <a:pt x="153" y="35"/>
                  <a:pt x="153" y="35"/>
                  <a:pt x="153" y="35"/>
                </a:cubicBezTo>
                <a:cubicBezTo>
                  <a:pt x="152" y="33"/>
                  <a:pt x="152" y="33"/>
                  <a:pt x="152" y="33"/>
                </a:cubicBezTo>
                <a:cubicBezTo>
                  <a:pt x="151" y="32"/>
                  <a:pt x="151" y="32"/>
                  <a:pt x="151" y="32"/>
                </a:cubicBezTo>
                <a:cubicBezTo>
                  <a:pt x="153" y="30"/>
                  <a:pt x="153" y="30"/>
                  <a:pt x="153" y="30"/>
                </a:cubicBezTo>
                <a:cubicBezTo>
                  <a:pt x="153" y="28"/>
                  <a:pt x="153" y="28"/>
                  <a:pt x="153" y="28"/>
                </a:cubicBezTo>
                <a:cubicBezTo>
                  <a:pt x="154" y="28"/>
                  <a:pt x="154" y="28"/>
                  <a:pt x="154" y="28"/>
                </a:cubicBezTo>
                <a:cubicBezTo>
                  <a:pt x="155" y="26"/>
                  <a:pt x="155" y="26"/>
                  <a:pt x="155" y="26"/>
                </a:cubicBezTo>
                <a:cubicBezTo>
                  <a:pt x="155" y="25"/>
                  <a:pt x="155" y="25"/>
                  <a:pt x="155" y="25"/>
                </a:cubicBezTo>
                <a:cubicBezTo>
                  <a:pt x="154" y="26"/>
                  <a:pt x="154" y="26"/>
                  <a:pt x="154" y="26"/>
                </a:cubicBezTo>
                <a:cubicBezTo>
                  <a:pt x="153" y="24"/>
                  <a:pt x="153" y="24"/>
                  <a:pt x="153" y="24"/>
                </a:cubicBezTo>
                <a:cubicBezTo>
                  <a:pt x="154" y="23"/>
                  <a:pt x="154" y="23"/>
                  <a:pt x="154" y="23"/>
                </a:cubicBezTo>
                <a:cubicBezTo>
                  <a:pt x="154" y="22"/>
                  <a:pt x="154" y="22"/>
                  <a:pt x="154" y="22"/>
                </a:cubicBezTo>
                <a:cubicBezTo>
                  <a:pt x="155" y="22"/>
                  <a:pt x="155" y="22"/>
                  <a:pt x="155" y="22"/>
                </a:cubicBezTo>
                <a:cubicBezTo>
                  <a:pt x="156" y="21"/>
                  <a:pt x="156" y="21"/>
                  <a:pt x="156" y="21"/>
                </a:cubicBezTo>
                <a:cubicBezTo>
                  <a:pt x="156" y="22"/>
                  <a:pt x="156" y="22"/>
                  <a:pt x="156" y="22"/>
                </a:cubicBezTo>
                <a:cubicBezTo>
                  <a:pt x="157" y="22"/>
                  <a:pt x="157" y="22"/>
                  <a:pt x="157" y="22"/>
                </a:cubicBezTo>
                <a:cubicBezTo>
                  <a:pt x="159" y="21"/>
                  <a:pt x="159" y="21"/>
                  <a:pt x="159" y="21"/>
                </a:cubicBezTo>
                <a:cubicBezTo>
                  <a:pt x="159" y="20"/>
                  <a:pt x="159" y="20"/>
                  <a:pt x="159" y="20"/>
                </a:cubicBezTo>
                <a:cubicBezTo>
                  <a:pt x="158" y="19"/>
                  <a:pt x="158" y="19"/>
                  <a:pt x="158" y="19"/>
                </a:cubicBezTo>
                <a:cubicBezTo>
                  <a:pt x="159" y="18"/>
                  <a:pt x="159" y="18"/>
                  <a:pt x="159" y="18"/>
                </a:cubicBezTo>
                <a:cubicBezTo>
                  <a:pt x="160" y="19"/>
                  <a:pt x="160" y="19"/>
                  <a:pt x="160" y="19"/>
                </a:cubicBezTo>
                <a:cubicBezTo>
                  <a:pt x="160" y="16"/>
                  <a:pt x="160" y="16"/>
                  <a:pt x="160" y="16"/>
                </a:cubicBezTo>
                <a:cubicBezTo>
                  <a:pt x="161" y="16"/>
                  <a:pt x="161" y="16"/>
                  <a:pt x="161" y="16"/>
                </a:cubicBezTo>
                <a:cubicBezTo>
                  <a:pt x="162" y="15"/>
                  <a:pt x="162" y="15"/>
                  <a:pt x="162" y="15"/>
                </a:cubicBezTo>
                <a:cubicBezTo>
                  <a:pt x="162" y="14"/>
                  <a:pt x="162" y="14"/>
                  <a:pt x="162" y="14"/>
                </a:cubicBezTo>
                <a:cubicBezTo>
                  <a:pt x="161" y="14"/>
                  <a:pt x="161" y="14"/>
                  <a:pt x="161" y="14"/>
                </a:cubicBezTo>
                <a:cubicBezTo>
                  <a:pt x="160" y="15"/>
                  <a:pt x="160" y="15"/>
                  <a:pt x="160" y="15"/>
                </a:cubicBezTo>
                <a:cubicBezTo>
                  <a:pt x="159" y="14"/>
                  <a:pt x="159" y="14"/>
                  <a:pt x="159" y="14"/>
                </a:cubicBezTo>
                <a:cubicBezTo>
                  <a:pt x="159" y="12"/>
                  <a:pt x="159" y="12"/>
                  <a:pt x="159" y="12"/>
                </a:cubicBezTo>
                <a:cubicBezTo>
                  <a:pt x="158" y="13"/>
                  <a:pt x="158" y="13"/>
                  <a:pt x="158" y="13"/>
                </a:cubicBezTo>
                <a:cubicBezTo>
                  <a:pt x="156" y="14"/>
                  <a:pt x="156" y="14"/>
                  <a:pt x="156" y="14"/>
                </a:cubicBezTo>
                <a:cubicBezTo>
                  <a:pt x="157" y="15"/>
                  <a:pt x="157" y="15"/>
                  <a:pt x="157" y="15"/>
                </a:cubicBezTo>
                <a:cubicBezTo>
                  <a:pt x="157" y="16"/>
                  <a:pt x="157" y="16"/>
                  <a:pt x="157" y="16"/>
                </a:cubicBezTo>
                <a:cubicBezTo>
                  <a:pt x="156" y="16"/>
                  <a:pt x="156" y="16"/>
                  <a:pt x="156" y="16"/>
                </a:cubicBezTo>
                <a:cubicBezTo>
                  <a:pt x="155" y="15"/>
                  <a:pt x="155" y="15"/>
                  <a:pt x="155" y="15"/>
                </a:cubicBezTo>
                <a:cubicBezTo>
                  <a:pt x="155" y="15"/>
                  <a:pt x="155" y="15"/>
                  <a:pt x="155" y="15"/>
                </a:cubicBezTo>
                <a:cubicBezTo>
                  <a:pt x="154" y="14"/>
                  <a:pt x="154" y="14"/>
                  <a:pt x="154" y="14"/>
                </a:cubicBezTo>
                <a:cubicBezTo>
                  <a:pt x="154" y="15"/>
                  <a:pt x="154" y="15"/>
                  <a:pt x="154" y="15"/>
                </a:cubicBezTo>
                <a:cubicBezTo>
                  <a:pt x="153" y="15"/>
                  <a:pt x="153" y="15"/>
                  <a:pt x="153" y="15"/>
                </a:cubicBezTo>
                <a:cubicBezTo>
                  <a:pt x="153" y="14"/>
                  <a:pt x="153" y="14"/>
                  <a:pt x="153" y="14"/>
                </a:cubicBezTo>
                <a:cubicBezTo>
                  <a:pt x="154" y="13"/>
                  <a:pt x="154" y="13"/>
                  <a:pt x="154" y="13"/>
                </a:cubicBezTo>
                <a:cubicBezTo>
                  <a:pt x="154" y="13"/>
                  <a:pt x="154" y="13"/>
                  <a:pt x="154" y="13"/>
                </a:cubicBezTo>
                <a:cubicBezTo>
                  <a:pt x="153" y="13"/>
                  <a:pt x="153" y="13"/>
                  <a:pt x="153" y="13"/>
                </a:cubicBezTo>
                <a:cubicBezTo>
                  <a:pt x="153" y="14"/>
                  <a:pt x="153" y="14"/>
                  <a:pt x="153" y="14"/>
                </a:cubicBezTo>
                <a:cubicBezTo>
                  <a:pt x="151" y="14"/>
                  <a:pt x="151" y="14"/>
                  <a:pt x="151" y="14"/>
                </a:cubicBezTo>
                <a:cubicBezTo>
                  <a:pt x="151" y="15"/>
                  <a:pt x="151" y="15"/>
                  <a:pt x="151" y="15"/>
                </a:cubicBezTo>
                <a:cubicBezTo>
                  <a:pt x="150" y="15"/>
                  <a:pt x="150" y="15"/>
                  <a:pt x="150" y="15"/>
                </a:cubicBezTo>
                <a:cubicBezTo>
                  <a:pt x="150" y="15"/>
                  <a:pt x="150" y="15"/>
                  <a:pt x="150" y="15"/>
                </a:cubicBezTo>
                <a:cubicBezTo>
                  <a:pt x="149" y="14"/>
                  <a:pt x="149" y="14"/>
                  <a:pt x="149" y="14"/>
                </a:cubicBezTo>
                <a:cubicBezTo>
                  <a:pt x="149" y="14"/>
                  <a:pt x="149" y="14"/>
                  <a:pt x="149" y="14"/>
                </a:cubicBezTo>
                <a:cubicBezTo>
                  <a:pt x="148" y="13"/>
                  <a:pt x="148" y="13"/>
                  <a:pt x="148" y="13"/>
                </a:cubicBezTo>
                <a:cubicBezTo>
                  <a:pt x="147" y="12"/>
                  <a:pt x="147" y="12"/>
                  <a:pt x="147" y="12"/>
                </a:cubicBezTo>
                <a:cubicBezTo>
                  <a:pt x="146" y="13"/>
                  <a:pt x="146" y="13"/>
                  <a:pt x="146" y="13"/>
                </a:cubicBezTo>
                <a:cubicBezTo>
                  <a:pt x="145" y="13"/>
                  <a:pt x="145" y="13"/>
                  <a:pt x="145" y="13"/>
                </a:cubicBezTo>
                <a:cubicBezTo>
                  <a:pt x="144" y="13"/>
                  <a:pt x="144" y="13"/>
                  <a:pt x="144" y="13"/>
                </a:cubicBezTo>
                <a:cubicBezTo>
                  <a:pt x="144" y="12"/>
                  <a:pt x="144" y="12"/>
                  <a:pt x="144" y="12"/>
                </a:cubicBezTo>
                <a:cubicBezTo>
                  <a:pt x="143" y="12"/>
                  <a:pt x="143" y="12"/>
                  <a:pt x="143" y="12"/>
                </a:cubicBezTo>
                <a:cubicBezTo>
                  <a:pt x="142" y="11"/>
                  <a:pt x="142" y="11"/>
                  <a:pt x="142" y="11"/>
                </a:cubicBezTo>
                <a:cubicBezTo>
                  <a:pt x="141" y="12"/>
                  <a:pt x="141" y="12"/>
                  <a:pt x="141" y="12"/>
                </a:cubicBezTo>
                <a:cubicBezTo>
                  <a:pt x="139" y="11"/>
                  <a:pt x="139" y="11"/>
                  <a:pt x="139" y="11"/>
                </a:cubicBezTo>
                <a:cubicBezTo>
                  <a:pt x="138" y="11"/>
                  <a:pt x="138" y="11"/>
                  <a:pt x="138" y="11"/>
                </a:cubicBezTo>
                <a:cubicBezTo>
                  <a:pt x="138" y="10"/>
                  <a:pt x="138" y="10"/>
                  <a:pt x="138" y="10"/>
                </a:cubicBezTo>
                <a:cubicBezTo>
                  <a:pt x="137" y="9"/>
                  <a:pt x="137" y="9"/>
                  <a:pt x="137" y="9"/>
                </a:cubicBezTo>
                <a:cubicBezTo>
                  <a:pt x="137" y="9"/>
                  <a:pt x="137" y="9"/>
                  <a:pt x="137" y="9"/>
                </a:cubicBezTo>
                <a:cubicBezTo>
                  <a:pt x="137" y="9"/>
                  <a:pt x="137" y="9"/>
                  <a:pt x="137" y="9"/>
                </a:cubicBezTo>
                <a:cubicBezTo>
                  <a:pt x="135" y="10"/>
                  <a:pt x="135" y="10"/>
                  <a:pt x="135" y="10"/>
                </a:cubicBezTo>
                <a:cubicBezTo>
                  <a:pt x="134" y="9"/>
                  <a:pt x="134" y="9"/>
                  <a:pt x="134" y="9"/>
                </a:cubicBezTo>
                <a:cubicBezTo>
                  <a:pt x="133" y="8"/>
                  <a:pt x="133" y="8"/>
                  <a:pt x="133" y="8"/>
                </a:cubicBezTo>
                <a:cubicBezTo>
                  <a:pt x="132" y="7"/>
                  <a:pt x="132" y="7"/>
                  <a:pt x="132" y="7"/>
                </a:cubicBezTo>
                <a:cubicBezTo>
                  <a:pt x="131" y="8"/>
                  <a:pt x="131" y="8"/>
                  <a:pt x="131" y="8"/>
                </a:cubicBezTo>
                <a:cubicBezTo>
                  <a:pt x="131" y="7"/>
                  <a:pt x="131" y="7"/>
                  <a:pt x="131" y="7"/>
                </a:cubicBezTo>
                <a:cubicBezTo>
                  <a:pt x="129" y="8"/>
                  <a:pt x="129" y="8"/>
                  <a:pt x="129" y="8"/>
                </a:cubicBezTo>
                <a:cubicBezTo>
                  <a:pt x="131" y="9"/>
                  <a:pt x="131" y="9"/>
                  <a:pt x="131" y="9"/>
                </a:cubicBezTo>
                <a:cubicBezTo>
                  <a:pt x="130" y="9"/>
                  <a:pt x="130" y="9"/>
                  <a:pt x="130" y="9"/>
                </a:cubicBezTo>
                <a:cubicBezTo>
                  <a:pt x="132" y="10"/>
                  <a:pt x="132" y="10"/>
                  <a:pt x="132" y="10"/>
                </a:cubicBezTo>
                <a:cubicBezTo>
                  <a:pt x="133" y="9"/>
                  <a:pt x="133" y="9"/>
                  <a:pt x="133" y="9"/>
                </a:cubicBezTo>
                <a:cubicBezTo>
                  <a:pt x="134" y="11"/>
                  <a:pt x="134" y="11"/>
                  <a:pt x="134" y="11"/>
                </a:cubicBezTo>
                <a:cubicBezTo>
                  <a:pt x="134" y="11"/>
                  <a:pt x="134" y="11"/>
                  <a:pt x="134" y="11"/>
                </a:cubicBezTo>
                <a:cubicBezTo>
                  <a:pt x="135" y="13"/>
                  <a:pt x="135" y="13"/>
                  <a:pt x="135" y="13"/>
                </a:cubicBezTo>
                <a:cubicBezTo>
                  <a:pt x="133" y="14"/>
                  <a:pt x="133" y="14"/>
                  <a:pt x="133" y="14"/>
                </a:cubicBezTo>
                <a:cubicBezTo>
                  <a:pt x="133" y="15"/>
                  <a:pt x="133" y="15"/>
                  <a:pt x="133" y="15"/>
                </a:cubicBezTo>
                <a:cubicBezTo>
                  <a:pt x="132" y="14"/>
                  <a:pt x="132" y="14"/>
                  <a:pt x="132" y="14"/>
                </a:cubicBezTo>
                <a:cubicBezTo>
                  <a:pt x="131" y="14"/>
                  <a:pt x="131" y="14"/>
                  <a:pt x="131" y="14"/>
                </a:cubicBezTo>
                <a:cubicBezTo>
                  <a:pt x="130" y="14"/>
                  <a:pt x="130" y="14"/>
                  <a:pt x="130" y="14"/>
                </a:cubicBezTo>
                <a:cubicBezTo>
                  <a:pt x="127" y="15"/>
                  <a:pt x="127" y="15"/>
                  <a:pt x="127" y="15"/>
                </a:cubicBezTo>
                <a:cubicBezTo>
                  <a:pt x="125" y="13"/>
                  <a:pt x="125" y="13"/>
                  <a:pt x="125" y="13"/>
                </a:cubicBezTo>
                <a:cubicBezTo>
                  <a:pt x="125" y="14"/>
                  <a:pt x="125" y="14"/>
                  <a:pt x="125" y="14"/>
                </a:cubicBezTo>
                <a:cubicBezTo>
                  <a:pt x="124" y="15"/>
                  <a:pt x="124" y="15"/>
                  <a:pt x="124" y="15"/>
                </a:cubicBezTo>
                <a:cubicBezTo>
                  <a:pt x="124" y="16"/>
                  <a:pt x="124" y="16"/>
                  <a:pt x="124" y="16"/>
                </a:cubicBezTo>
                <a:cubicBezTo>
                  <a:pt x="123" y="15"/>
                  <a:pt x="123" y="15"/>
                  <a:pt x="123" y="15"/>
                </a:cubicBezTo>
                <a:cubicBezTo>
                  <a:pt x="123" y="17"/>
                  <a:pt x="123" y="17"/>
                  <a:pt x="123" y="17"/>
                </a:cubicBezTo>
                <a:cubicBezTo>
                  <a:pt x="123" y="17"/>
                  <a:pt x="123" y="17"/>
                  <a:pt x="123" y="17"/>
                </a:cubicBezTo>
                <a:cubicBezTo>
                  <a:pt x="121" y="16"/>
                  <a:pt x="121" y="16"/>
                  <a:pt x="121" y="16"/>
                </a:cubicBezTo>
                <a:cubicBezTo>
                  <a:pt x="121" y="17"/>
                  <a:pt x="121" y="17"/>
                  <a:pt x="121" y="17"/>
                </a:cubicBezTo>
                <a:cubicBezTo>
                  <a:pt x="121" y="18"/>
                  <a:pt x="121" y="18"/>
                  <a:pt x="121" y="18"/>
                </a:cubicBezTo>
                <a:cubicBezTo>
                  <a:pt x="121" y="18"/>
                  <a:pt x="121" y="18"/>
                  <a:pt x="121" y="18"/>
                </a:cubicBezTo>
                <a:cubicBezTo>
                  <a:pt x="120" y="18"/>
                  <a:pt x="120" y="18"/>
                  <a:pt x="120" y="18"/>
                </a:cubicBezTo>
                <a:cubicBezTo>
                  <a:pt x="119" y="19"/>
                  <a:pt x="119" y="19"/>
                  <a:pt x="119" y="19"/>
                </a:cubicBezTo>
                <a:cubicBezTo>
                  <a:pt x="119" y="19"/>
                  <a:pt x="119" y="19"/>
                  <a:pt x="119" y="19"/>
                </a:cubicBezTo>
                <a:cubicBezTo>
                  <a:pt x="119" y="20"/>
                  <a:pt x="119" y="20"/>
                  <a:pt x="119" y="20"/>
                </a:cubicBezTo>
                <a:cubicBezTo>
                  <a:pt x="118" y="20"/>
                  <a:pt x="118" y="20"/>
                  <a:pt x="118" y="20"/>
                </a:cubicBezTo>
                <a:cubicBezTo>
                  <a:pt x="118" y="21"/>
                  <a:pt x="118" y="21"/>
                  <a:pt x="118" y="21"/>
                </a:cubicBezTo>
                <a:cubicBezTo>
                  <a:pt x="119" y="22"/>
                  <a:pt x="119" y="22"/>
                  <a:pt x="119" y="22"/>
                </a:cubicBezTo>
                <a:cubicBezTo>
                  <a:pt x="119" y="23"/>
                  <a:pt x="119" y="23"/>
                  <a:pt x="119" y="23"/>
                </a:cubicBezTo>
                <a:cubicBezTo>
                  <a:pt x="118" y="22"/>
                  <a:pt x="118" y="22"/>
                  <a:pt x="118" y="22"/>
                </a:cubicBezTo>
                <a:cubicBezTo>
                  <a:pt x="117" y="23"/>
                  <a:pt x="117" y="23"/>
                  <a:pt x="117" y="23"/>
                </a:cubicBezTo>
                <a:cubicBezTo>
                  <a:pt x="116" y="23"/>
                  <a:pt x="116" y="23"/>
                  <a:pt x="116" y="23"/>
                </a:cubicBezTo>
                <a:cubicBezTo>
                  <a:pt x="115" y="25"/>
                  <a:pt x="115" y="25"/>
                  <a:pt x="115" y="25"/>
                </a:cubicBezTo>
                <a:cubicBezTo>
                  <a:pt x="114" y="27"/>
                  <a:pt x="114" y="27"/>
                  <a:pt x="114" y="27"/>
                </a:cubicBezTo>
                <a:cubicBezTo>
                  <a:pt x="113" y="27"/>
                  <a:pt x="113" y="27"/>
                  <a:pt x="113" y="27"/>
                </a:cubicBezTo>
                <a:cubicBezTo>
                  <a:pt x="113" y="28"/>
                  <a:pt x="113" y="28"/>
                  <a:pt x="113" y="28"/>
                </a:cubicBezTo>
                <a:cubicBezTo>
                  <a:pt x="112" y="29"/>
                  <a:pt x="112" y="29"/>
                  <a:pt x="112" y="29"/>
                </a:cubicBezTo>
                <a:cubicBezTo>
                  <a:pt x="113" y="30"/>
                  <a:pt x="113" y="30"/>
                  <a:pt x="113" y="30"/>
                </a:cubicBezTo>
                <a:cubicBezTo>
                  <a:pt x="115" y="30"/>
                  <a:pt x="115" y="30"/>
                  <a:pt x="115" y="30"/>
                </a:cubicBezTo>
                <a:cubicBezTo>
                  <a:pt x="114" y="31"/>
                  <a:pt x="114" y="31"/>
                  <a:pt x="114" y="31"/>
                </a:cubicBezTo>
                <a:cubicBezTo>
                  <a:pt x="113" y="31"/>
                  <a:pt x="113" y="31"/>
                  <a:pt x="113" y="31"/>
                </a:cubicBezTo>
                <a:cubicBezTo>
                  <a:pt x="116" y="32"/>
                  <a:pt x="116" y="32"/>
                  <a:pt x="116" y="32"/>
                </a:cubicBezTo>
                <a:cubicBezTo>
                  <a:pt x="115" y="33"/>
                  <a:pt x="115" y="33"/>
                  <a:pt x="115" y="33"/>
                </a:cubicBezTo>
                <a:cubicBezTo>
                  <a:pt x="113" y="33"/>
                  <a:pt x="113" y="33"/>
                  <a:pt x="113" y="33"/>
                </a:cubicBezTo>
                <a:cubicBezTo>
                  <a:pt x="113" y="32"/>
                  <a:pt x="113" y="32"/>
                  <a:pt x="113" y="32"/>
                </a:cubicBezTo>
                <a:cubicBezTo>
                  <a:pt x="113" y="33"/>
                  <a:pt x="113" y="33"/>
                  <a:pt x="113" y="33"/>
                </a:cubicBezTo>
                <a:cubicBezTo>
                  <a:pt x="114" y="33"/>
                  <a:pt x="114" y="33"/>
                  <a:pt x="114" y="33"/>
                </a:cubicBezTo>
                <a:cubicBezTo>
                  <a:pt x="114" y="35"/>
                  <a:pt x="114" y="35"/>
                  <a:pt x="114" y="35"/>
                </a:cubicBezTo>
                <a:cubicBezTo>
                  <a:pt x="115" y="36"/>
                  <a:pt x="115" y="36"/>
                  <a:pt x="115" y="36"/>
                </a:cubicBezTo>
                <a:cubicBezTo>
                  <a:pt x="113" y="35"/>
                  <a:pt x="113" y="35"/>
                  <a:pt x="113" y="35"/>
                </a:cubicBezTo>
                <a:cubicBezTo>
                  <a:pt x="112" y="33"/>
                  <a:pt x="112" y="33"/>
                  <a:pt x="112" y="33"/>
                </a:cubicBezTo>
                <a:cubicBezTo>
                  <a:pt x="111" y="33"/>
                  <a:pt x="111" y="33"/>
                  <a:pt x="111" y="33"/>
                </a:cubicBezTo>
                <a:cubicBezTo>
                  <a:pt x="111" y="34"/>
                  <a:pt x="111" y="34"/>
                  <a:pt x="111" y="34"/>
                </a:cubicBezTo>
                <a:cubicBezTo>
                  <a:pt x="111" y="35"/>
                  <a:pt x="111" y="35"/>
                  <a:pt x="111" y="35"/>
                </a:cubicBezTo>
                <a:cubicBezTo>
                  <a:pt x="110" y="34"/>
                  <a:pt x="110" y="34"/>
                  <a:pt x="110" y="34"/>
                </a:cubicBezTo>
                <a:cubicBezTo>
                  <a:pt x="108" y="32"/>
                  <a:pt x="108" y="32"/>
                  <a:pt x="108" y="32"/>
                </a:cubicBezTo>
                <a:cubicBezTo>
                  <a:pt x="106" y="32"/>
                  <a:pt x="106" y="32"/>
                  <a:pt x="106" y="32"/>
                </a:cubicBezTo>
                <a:cubicBezTo>
                  <a:pt x="106" y="33"/>
                  <a:pt x="106" y="33"/>
                  <a:pt x="106" y="33"/>
                </a:cubicBezTo>
                <a:cubicBezTo>
                  <a:pt x="106" y="34"/>
                  <a:pt x="106" y="34"/>
                  <a:pt x="106" y="34"/>
                </a:cubicBezTo>
                <a:cubicBezTo>
                  <a:pt x="105" y="33"/>
                  <a:pt x="105" y="33"/>
                  <a:pt x="105" y="33"/>
                </a:cubicBezTo>
                <a:cubicBezTo>
                  <a:pt x="105" y="33"/>
                  <a:pt x="105" y="33"/>
                  <a:pt x="105" y="33"/>
                </a:cubicBezTo>
                <a:cubicBezTo>
                  <a:pt x="104" y="34"/>
                  <a:pt x="104" y="34"/>
                  <a:pt x="104" y="34"/>
                </a:cubicBezTo>
                <a:cubicBezTo>
                  <a:pt x="105" y="35"/>
                  <a:pt x="105" y="35"/>
                  <a:pt x="105" y="35"/>
                </a:cubicBezTo>
                <a:cubicBezTo>
                  <a:pt x="105" y="36"/>
                  <a:pt x="105" y="36"/>
                  <a:pt x="105" y="36"/>
                </a:cubicBezTo>
                <a:cubicBezTo>
                  <a:pt x="105" y="35"/>
                  <a:pt x="105" y="35"/>
                  <a:pt x="105" y="35"/>
                </a:cubicBezTo>
                <a:cubicBezTo>
                  <a:pt x="104" y="35"/>
                  <a:pt x="104" y="35"/>
                  <a:pt x="104" y="35"/>
                </a:cubicBezTo>
                <a:cubicBezTo>
                  <a:pt x="104" y="36"/>
                  <a:pt x="104" y="36"/>
                  <a:pt x="104" y="36"/>
                </a:cubicBezTo>
                <a:cubicBezTo>
                  <a:pt x="103" y="37"/>
                  <a:pt x="103" y="37"/>
                  <a:pt x="103" y="37"/>
                </a:cubicBezTo>
                <a:cubicBezTo>
                  <a:pt x="101" y="37"/>
                  <a:pt x="101" y="37"/>
                  <a:pt x="101" y="37"/>
                </a:cubicBezTo>
                <a:cubicBezTo>
                  <a:pt x="102" y="36"/>
                  <a:pt x="102" y="36"/>
                  <a:pt x="102" y="36"/>
                </a:cubicBezTo>
                <a:cubicBezTo>
                  <a:pt x="103" y="35"/>
                  <a:pt x="103" y="35"/>
                  <a:pt x="103" y="35"/>
                </a:cubicBezTo>
                <a:cubicBezTo>
                  <a:pt x="103" y="33"/>
                  <a:pt x="103" y="33"/>
                  <a:pt x="103" y="33"/>
                </a:cubicBezTo>
                <a:cubicBezTo>
                  <a:pt x="104" y="32"/>
                  <a:pt x="104" y="32"/>
                  <a:pt x="104" y="32"/>
                </a:cubicBezTo>
                <a:cubicBezTo>
                  <a:pt x="104" y="31"/>
                  <a:pt x="104" y="31"/>
                  <a:pt x="104" y="31"/>
                </a:cubicBezTo>
                <a:cubicBezTo>
                  <a:pt x="102" y="31"/>
                  <a:pt x="102" y="31"/>
                  <a:pt x="102" y="31"/>
                </a:cubicBezTo>
                <a:cubicBezTo>
                  <a:pt x="101" y="28"/>
                  <a:pt x="101" y="28"/>
                  <a:pt x="101" y="28"/>
                </a:cubicBezTo>
                <a:cubicBezTo>
                  <a:pt x="100" y="26"/>
                  <a:pt x="100" y="26"/>
                  <a:pt x="100" y="26"/>
                </a:cubicBezTo>
                <a:cubicBezTo>
                  <a:pt x="98" y="26"/>
                  <a:pt x="98" y="26"/>
                  <a:pt x="98" y="26"/>
                </a:cubicBezTo>
                <a:cubicBezTo>
                  <a:pt x="97" y="25"/>
                  <a:pt x="97" y="25"/>
                  <a:pt x="97" y="25"/>
                </a:cubicBezTo>
                <a:cubicBezTo>
                  <a:pt x="96" y="25"/>
                  <a:pt x="96" y="25"/>
                  <a:pt x="96" y="25"/>
                </a:cubicBezTo>
                <a:cubicBezTo>
                  <a:pt x="97" y="26"/>
                  <a:pt x="97" y="26"/>
                  <a:pt x="97" y="26"/>
                </a:cubicBezTo>
                <a:cubicBezTo>
                  <a:pt x="96" y="26"/>
                  <a:pt x="96" y="26"/>
                  <a:pt x="96" y="26"/>
                </a:cubicBezTo>
                <a:cubicBezTo>
                  <a:pt x="95" y="28"/>
                  <a:pt x="95" y="28"/>
                  <a:pt x="95" y="28"/>
                </a:cubicBezTo>
                <a:cubicBezTo>
                  <a:pt x="94" y="27"/>
                  <a:pt x="94" y="27"/>
                  <a:pt x="94" y="27"/>
                </a:cubicBezTo>
                <a:cubicBezTo>
                  <a:pt x="95" y="27"/>
                  <a:pt x="95" y="27"/>
                  <a:pt x="95" y="27"/>
                </a:cubicBezTo>
                <a:cubicBezTo>
                  <a:pt x="93" y="27"/>
                  <a:pt x="93" y="27"/>
                  <a:pt x="93" y="27"/>
                </a:cubicBezTo>
                <a:cubicBezTo>
                  <a:pt x="93" y="28"/>
                  <a:pt x="93" y="28"/>
                  <a:pt x="93" y="28"/>
                </a:cubicBezTo>
                <a:cubicBezTo>
                  <a:pt x="92" y="26"/>
                  <a:pt x="92" y="26"/>
                  <a:pt x="92" y="26"/>
                </a:cubicBezTo>
                <a:cubicBezTo>
                  <a:pt x="92" y="26"/>
                  <a:pt x="92" y="26"/>
                  <a:pt x="92" y="26"/>
                </a:cubicBezTo>
                <a:cubicBezTo>
                  <a:pt x="91" y="27"/>
                  <a:pt x="91" y="27"/>
                  <a:pt x="91" y="27"/>
                </a:cubicBezTo>
                <a:cubicBezTo>
                  <a:pt x="92" y="27"/>
                  <a:pt x="92" y="27"/>
                  <a:pt x="92" y="27"/>
                </a:cubicBezTo>
                <a:cubicBezTo>
                  <a:pt x="91" y="28"/>
                  <a:pt x="91" y="28"/>
                  <a:pt x="91" y="28"/>
                </a:cubicBezTo>
                <a:cubicBezTo>
                  <a:pt x="91" y="30"/>
                  <a:pt x="91" y="30"/>
                  <a:pt x="91" y="30"/>
                </a:cubicBezTo>
                <a:cubicBezTo>
                  <a:pt x="91" y="30"/>
                  <a:pt x="91" y="30"/>
                  <a:pt x="91" y="30"/>
                </a:cubicBezTo>
                <a:cubicBezTo>
                  <a:pt x="90" y="31"/>
                  <a:pt x="90" y="31"/>
                  <a:pt x="90" y="31"/>
                </a:cubicBezTo>
                <a:cubicBezTo>
                  <a:pt x="89" y="30"/>
                  <a:pt x="89" y="30"/>
                  <a:pt x="89" y="30"/>
                </a:cubicBezTo>
                <a:cubicBezTo>
                  <a:pt x="88" y="30"/>
                  <a:pt x="88" y="30"/>
                  <a:pt x="88" y="30"/>
                </a:cubicBezTo>
                <a:cubicBezTo>
                  <a:pt x="88" y="29"/>
                  <a:pt x="88" y="29"/>
                  <a:pt x="88" y="29"/>
                </a:cubicBezTo>
                <a:cubicBezTo>
                  <a:pt x="89" y="28"/>
                  <a:pt x="89" y="28"/>
                  <a:pt x="89" y="28"/>
                </a:cubicBezTo>
                <a:cubicBezTo>
                  <a:pt x="88" y="29"/>
                  <a:pt x="88" y="29"/>
                  <a:pt x="88" y="29"/>
                </a:cubicBezTo>
                <a:cubicBezTo>
                  <a:pt x="88" y="30"/>
                  <a:pt x="88" y="30"/>
                  <a:pt x="88" y="30"/>
                </a:cubicBezTo>
                <a:cubicBezTo>
                  <a:pt x="86" y="30"/>
                  <a:pt x="86" y="30"/>
                  <a:pt x="86" y="30"/>
                </a:cubicBezTo>
                <a:cubicBezTo>
                  <a:pt x="86" y="31"/>
                  <a:pt x="86" y="31"/>
                  <a:pt x="86" y="31"/>
                </a:cubicBezTo>
                <a:cubicBezTo>
                  <a:pt x="86" y="32"/>
                  <a:pt x="86" y="32"/>
                  <a:pt x="86" y="32"/>
                </a:cubicBezTo>
                <a:cubicBezTo>
                  <a:pt x="87" y="33"/>
                  <a:pt x="87" y="33"/>
                  <a:pt x="87" y="33"/>
                </a:cubicBezTo>
                <a:cubicBezTo>
                  <a:pt x="86" y="34"/>
                  <a:pt x="86" y="34"/>
                  <a:pt x="86" y="34"/>
                </a:cubicBezTo>
                <a:cubicBezTo>
                  <a:pt x="85" y="34"/>
                  <a:pt x="85" y="34"/>
                  <a:pt x="85" y="34"/>
                </a:cubicBezTo>
                <a:cubicBezTo>
                  <a:pt x="83" y="35"/>
                  <a:pt x="83" y="35"/>
                  <a:pt x="83" y="35"/>
                </a:cubicBezTo>
                <a:cubicBezTo>
                  <a:pt x="83" y="35"/>
                  <a:pt x="83" y="35"/>
                  <a:pt x="83" y="35"/>
                </a:cubicBezTo>
                <a:cubicBezTo>
                  <a:pt x="85" y="36"/>
                  <a:pt x="85" y="36"/>
                  <a:pt x="85" y="36"/>
                </a:cubicBezTo>
                <a:cubicBezTo>
                  <a:pt x="85" y="37"/>
                  <a:pt x="85" y="37"/>
                  <a:pt x="85" y="37"/>
                </a:cubicBezTo>
                <a:cubicBezTo>
                  <a:pt x="84" y="37"/>
                  <a:pt x="84" y="37"/>
                  <a:pt x="84" y="37"/>
                </a:cubicBezTo>
                <a:cubicBezTo>
                  <a:pt x="83" y="35"/>
                  <a:pt x="83" y="35"/>
                  <a:pt x="83" y="35"/>
                </a:cubicBezTo>
                <a:cubicBezTo>
                  <a:pt x="81" y="37"/>
                  <a:pt x="81" y="37"/>
                  <a:pt x="81" y="37"/>
                </a:cubicBezTo>
                <a:cubicBezTo>
                  <a:pt x="80" y="37"/>
                  <a:pt x="80" y="37"/>
                  <a:pt x="80" y="37"/>
                </a:cubicBezTo>
                <a:cubicBezTo>
                  <a:pt x="80" y="38"/>
                  <a:pt x="80" y="38"/>
                  <a:pt x="80" y="38"/>
                </a:cubicBezTo>
                <a:cubicBezTo>
                  <a:pt x="81" y="39"/>
                  <a:pt x="81" y="39"/>
                  <a:pt x="81" y="39"/>
                </a:cubicBezTo>
                <a:cubicBezTo>
                  <a:pt x="81" y="39"/>
                  <a:pt x="81" y="39"/>
                  <a:pt x="81" y="39"/>
                </a:cubicBezTo>
                <a:cubicBezTo>
                  <a:pt x="82" y="39"/>
                  <a:pt x="82" y="39"/>
                  <a:pt x="82" y="39"/>
                </a:cubicBezTo>
                <a:cubicBezTo>
                  <a:pt x="81" y="40"/>
                  <a:pt x="81" y="40"/>
                  <a:pt x="81" y="40"/>
                </a:cubicBezTo>
                <a:cubicBezTo>
                  <a:pt x="81" y="41"/>
                  <a:pt x="81" y="41"/>
                  <a:pt x="81" y="41"/>
                </a:cubicBezTo>
                <a:cubicBezTo>
                  <a:pt x="80" y="42"/>
                  <a:pt x="80" y="42"/>
                  <a:pt x="80" y="42"/>
                </a:cubicBezTo>
                <a:cubicBezTo>
                  <a:pt x="80" y="43"/>
                  <a:pt x="80" y="43"/>
                  <a:pt x="80" y="43"/>
                </a:cubicBezTo>
                <a:cubicBezTo>
                  <a:pt x="82" y="43"/>
                  <a:pt x="82" y="43"/>
                  <a:pt x="82" y="43"/>
                </a:cubicBezTo>
                <a:cubicBezTo>
                  <a:pt x="80" y="44"/>
                  <a:pt x="80" y="44"/>
                  <a:pt x="80" y="44"/>
                </a:cubicBezTo>
                <a:cubicBezTo>
                  <a:pt x="80" y="44"/>
                  <a:pt x="80" y="44"/>
                  <a:pt x="80" y="44"/>
                </a:cubicBezTo>
                <a:cubicBezTo>
                  <a:pt x="79" y="44"/>
                  <a:pt x="79" y="44"/>
                  <a:pt x="79" y="44"/>
                </a:cubicBezTo>
                <a:cubicBezTo>
                  <a:pt x="78" y="43"/>
                  <a:pt x="78" y="43"/>
                  <a:pt x="78" y="43"/>
                </a:cubicBezTo>
                <a:cubicBezTo>
                  <a:pt x="77" y="42"/>
                  <a:pt x="77" y="42"/>
                  <a:pt x="77" y="42"/>
                </a:cubicBezTo>
                <a:cubicBezTo>
                  <a:pt x="76" y="43"/>
                  <a:pt x="76" y="43"/>
                  <a:pt x="76" y="43"/>
                </a:cubicBezTo>
                <a:cubicBezTo>
                  <a:pt x="76" y="42"/>
                  <a:pt x="76" y="42"/>
                  <a:pt x="76" y="42"/>
                </a:cubicBezTo>
                <a:cubicBezTo>
                  <a:pt x="75" y="42"/>
                  <a:pt x="75" y="42"/>
                  <a:pt x="75" y="42"/>
                </a:cubicBezTo>
                <a:cubicBezTo>
                  <a:pt x="74" y="42"/>
                  <a:pt x="74" y="42"/>
                  <a:pt x="74" y="42"/>
                </a:cubicBezTo>
                <a:cubicBezTo>
                  <a:pt x="75" y="43"/>
                  <a:pt x="75" y="43"/>
                  <a:pt x="75" y="43"/>
                </a:cubicBezTo>
                <a:cubicBezTo>
                  <a:pt x="75" y="44"/>
                  <a:pt x="75" y="44"/>
                  <a:pt x="75" y="44"/>
                </a:cubicBezTo>
                <a:cubicBezTo>
                  <a:pt x="74" y="45"/>
                  <a:pt x="74" y="45"/>
                  <a:pt x="74" y="45"/>
                </a:cubicBezTo>
                <a:cubicBezTo>
                  <a:pt x="75" y="46"/>
                  <a:pt x="75" y="46"/>
                  <a:pt x="75" y="46"/>
                </a:cubicBezTo>
                <a:cubicBezTo>
                  <a:pt x="77" y="46"/>
                  <a:pt x="77" y="46"/>
                  <a:pt x="77" y="46"/>
                </a:cubicBezTo>
                <a:cubicBezTo>
                  <a:pt x="76" y="47"/>
                  <a:pt x="76" y="47"/>
                  <a:pt x="76" y="47"/>
                </a:cubicBezTo>
                <a:cubicBezTo>
                  <a:pt x="76" y="48"/>
                  <a:pt x="76" y="48"/>
                  <a:pt x="76" y="48"/>
                </a:cubicBezTo>
                <a:cubicBezTo>
                  <a:pt x="76" y="48"/>
                  <a:pt x="76" y="48"/>
                  <a:pt x="76" y="48"/>
                </a:cubicBezTo>
                <a:cubicBezTo>
                  <a:pt x="75" y="48"/>
                  <a:pt x="75" y="48"/>
                  <a:pt x="75" y="48"/>
                </a:cubicBezTo>
                <a:cubicBezTo>
                  <a:pt x="75" y="49"/>
                  <a:pt x="75" y="49"/>
                  <a:pt x="75" y="49"/>
                </a:cubicBezTo>
                <a:cubicBezTo>
                  <a:pt x="75" y="50"/>
                  <a:pt x="75" y="50"/>
                  <a:pt x="75" y="50"/>
                </a:cubicBezTo>
                <a:cubicBezTo>
                  <a:pt x="74" y="52"/>
                  <a:pt x="74" y="52"/>
                  <a:pt x="74" y="52"/>
                </a:cubicBezTo>
                <a:cubicBezTo>
                  <a:pt x="72" y="48"/>
                  <a:pt x="72" y="48"/>
                  <a:pt x="72" y="48"/>
                </a:cubicBezTo>
                <a:cubicBezTo>
                  <a:pt x="71" y="45"/>
                  <a:pt x="71" y="45"/>
                  <a:pt x="71" y="45"/>
                </a:cubicBezTo>
                <a:cubicBezTo>
                  <a:pt x="70" y="44"/>
                  <a:pt x="70" y="44"/>
                  <a:pt x="70" y="44"/>
                </a:cubicBezTo>
                <a:cubicBezTo>
                  <a:pt x="71" y="43"/>
                  <a:pt x="71" y="43"/>
                  <a:pt x="71" y="43"/>
                </a:cubicBezTo>
                <a:cubicBezTo>
                  <a:pt x="70" y="43"/>
                  <a:pt x="70" y="43"/>
                  <a:pt x="70" y="43"/>
                </a:cubicBezTo>
                <a:cubicBezTo>
                  <a:pt x="69" y="44"/>
                  <a:pt x="69" y="44"/>
                  <a:pt x="69" y="44"/>
                </a:cubicBezTo>
                <a:cubicBezTo>
                  <a:pt x="69" y="46"/>
                  <a:pt x="69" y="46"/>
                  <a:pt x="69" y="46"/>
                </a:cubicBezTo>
                <a:cubicBezTo>
                  <a:pt x="68" y="46"/>
                  <a:pt x="68" y="46"/>
                  <a:pt x="68" y="46"/>
                </a:cubicBezTo>
                <a:cubicBezTo>
                  <a:pt x="67" y="47"/>
                  <a:pt x="67" y="47"/>
                  <a:pt x="67" y="47"/>
                </a:cubicBezTo>
                <a:cubicBezTo>
                  <a:pt x="66" y="47"/>
                  <a:pt x="66" y="47"/>
                  <a:pt x="66" y="47"/>
                </a:cubicBezTo>
                <a:cubicBezTo>
                  <a:pt x="66" y="48"/>
                  <a:pt x="66" y="48"/>
                  <a:pt x="66" y="48"/>
                </a:cubicBezTo>
                <a:cubicBezTo>
                  <a:pt x="64" y="49"/>
                  <a:pt x="64" y="49"/>
                  <a:pt x="64" y="49"/>
                </a:cubicBezTo>
                <a:cubicBezTo>
                  <a:pt x="65" y="50"/>
                  <a:pt x="65" y="50"/>
                  <a:pt x="65" y="50"/>
                </a:cubicBezTo>
                <a:cubicBezTo>
                  <a:pt x="65" y="54"/>
                  <a:pt x="65" y="54"/>
                  <a:pt x="65" y="54"/>
                </a:cubicBezTo>
                <a:cubicBezTo>
                  <a:pt x="65" y="54"/>
                  <a:pt x="65" y="54"/>
                  <a:pt x="65" y="54"/>
                </a:cubicBezTo>
                <a:cubicBezTo>
                  <a:pt x="65" y="55"/>
                  <a:pt x="65" y="55"/>
                  <a:pt x="65" y="55"/>
                </a:cubicBezTo>
                <a:cubicBezTo>
                  <a:pt x="64" y="56"/>
                  <a:pt x="64" y="56"/>
                  <a:pt x="64" y="56"/>
                </a:cubicBezTo>
                <a:cubicBezTo>
                  <a:pt x="64" y="57"/>
                  <a:pt x="64" y="57"/>
                  <a:pt x="64" y="57"/>
                </a:cubicBezTo>
                <a:cubicBezTo>
                  <a:pt x="62" y="57"/>
                  <a:pt x="62" y="57"/>
                  <a:pt x="62" y="57"/>
                </a:cubicBezTo>
                <a:cubicBezTo>
                  <a:pt x="62" y="58"/>
                  <a:pt x="62" y="58"/>
                  <a:pt x="62" y="58"/>
                </a:cubicBezTo>
                <a:cubicBezTo>
                  <a:pt x="60" y="59"/>
                  <a:pt x="60" y="59"/>
                  <a:pt x="60" y="59"/>
                </a:cubicBezTo>
                <a:cubicBezTo>
                  <a:pt x="61" y="61"/>
                  <a:pt x="61" y="61"/>
                  <a:pt x="61" y="61"/>
                </a:cubicBezTo>
                <a:cubicBezTo>
                  <a:pt x="60" y="61"/>
                  <a:pt x="60" y="61"/>
                  <a:pt x="60" y="61"/>
                </a:cubicBezTo>
                <a:cubicBezTo>
                  <a:pt x="58" y="64"/>
                  <a:pt x="58" y="64"/>
                  <a:pt x="58" y="64"/>
                </a:cubicBezTo>
                <a:cubicBezTo>
                  <a:pt x="54" y="66"/>
                  <a:pt x="54" y="66"/>
                  <a:pt x="54" y="66"/>
                </a:cubicBezTo>
                <a:cubicBezTo>
                  <a:pt x="51" y="67"/>
                  <a:pt x="51" y="67"/>
                  <a:pt x="51" y="67"/>
                </a:cubicBezTo>
                <a:cubicBezTo>
                  <a:pt x="49" y="67"/>
                  <a:pt x="49" y="67"/>
                  <a:pt x="49" y="67"/>
                </a:cubicBezTo>
                <a:cubicBezTo>
                  <a:pt x="48" y="67"/>
                  <a:pt x="48" y="67"/>
                  <a:pt x="48" y="67"/>
                </a:cubicBezTo>
                <a:cubicBezTo>
                  <a:pt x="46" y="68"/>
                  <a:pt x="46" y="68"/>
                  <a:pt x="46" y="68"/>
                </a:cubicBezTo>
                <a:cubicBezTo>
                  <a:pt x="45" y="67"/>
                  <a:pt x="45" y="67"/>
                  <a:pt x="45" y="67"/>
                </a:cubicBezTo>
                <a:cubicBezTo>
                  <a:pt x="43" y="68"/>
                  <a:pt x="43" y="68"/>
                  <a:pt x="43" y="68"/>
                </a:cubicBezTo>
                <a:cubicBezTo>
                  <a:pt x="42" y="69"/>
                  <a:pt x="42" y="69"/>
                  <a:pt x="42" y="69"/>
                </a:cubicBezTo>
                <a:cubicBezTo>
                  <a:pt x="41" y="70"/>
                  <a:pt x="41" y="70"/>
                  <a:pt x="41" y="70"/>
                </a:cubicBezTo>
                <a:cubicBezTo>
                  <a:pt x="37" y="70"/>
                  <a:pt x="37" y="70"/>
                  <a:pt x="37" y="70"/>
                </a:cubicBezTo>
                <a:cubicBezTo>
                  <a:pt x="36" y="70"/>
                  <a:pt x="36" y="70"/>
                  <a:pt x="36" y="70"/>
                </a:cubicBezTo>
                <a:cubicBezTo>
                  <a:pt x="36" y="71"/>
                  <a:pt x="36" y="71"/>
                  <a:pt x="36" y="71"/>
                </a:cubicBezTo>
                <a:cubicBezTo>
                  <a:pt x="33" y="72"/>
                  <a:pt x="33" y="72"/>
                  <a:pt x="33" y="72"/>
                </a:cubicBezTo>
                <a:cubicBezTo>
                  <a:pt x="31" y="72"/>
                  <a:pt x="31" y="72"/>
                  <a:pt x="31" y="72"/>
                </a:cubicBezTo>
                <a:cubicBezTo>
                  <a:pt x="30" y="72"/>
                  <a:pt x="30" y="72"/>
                  <a:pt x="30" y="72"/>
                </a:cubicBezTo>
                <a:cubicBezTo>
                  <a:pt x="29" y="72"/>
                  <a:pt x="29" y="72"/>
                  <a:pt x="29" y="72"/>
                </a:cubicBezTo>
                <a:cubicBezTo>
                  <a:pt x="29" y="71"/>
                  <a:pt x="29" y="71"/>
                  <a:pt x="29" y="71"/>
                </a:cubicBezTo>
                <a:cubicBezTo>
                  <a:pt x="28" y="72"/>
                  <a:pt x="28" y="72"/>
                  <a:pt x="28" y="72"/>
                </a:cubicBezTo>
                <a:cubicBezTo>
                  <a:pt x="27" y="73"/>
                  <a:pt x="27" y="73"/>
                  <a:pt x="27" y="73"/>
                </a:cubicBezTo>
                <a:cubicBezTo>
                  <a:pt x="24" y="74"/>
                  <a:pt x="24" y="74"/>
                  <a:pt x="24" y="74"/>
                </a:cubicBezTo>
                <a:cubicBezTo>
                  <a:pt x="24" y="74"/>
                  <a:pt x="24" y="74"/>
                  <a:pt x="24" y="74"/>
                </a:cubicBezTo>
                <a:cubicBezTo>
                  <a:pt x="23" y="74"/>
                  <a:pt x="23" y="74"/>
                  <a:pt x="23" y="74"/>
                </a:cubicBezTo>
                <a:cubicBezTo>
                  <a:pt x="21" y="76"/>
                  <a:pt x="21" y="76"/>
                  <a:pt x="21" y="76"/>
                </a:cubicBezTo>
                <a:cubicBezTo>
                  <a:pt x="18" y="78"/>
                  <a:pt x="18" y="78"/>
                  <a:pt x="18" y="78"/>
                </a:cubicBezTo>
                <a:cubicBezTo>
                  <a:pt x="15" y="79"/>
                  <a:pt x="15" y="79"/>
                  <a:pt x="15" y="79"/>
                </a:cubicBezTo>
                <a:cubicBezTo>
                  <a:pt x="13" y="81"/>
                  <a:pt x="13" y="81"/>
                  <a:pt x="13" y="81"/>
                </a:cubicBezTo>
                <a:cubicBezTo>
                  <a:pt x="13" y="83"/>
                  <a:pt x="13" y="83"/>
                  <a:pt x="13" y="83"/>
                </a:cubicBezTo>
                <a:cubicBezTo>
                  <a:pt x="12" y="84"/>
                  <a:pt x="12" y="84"/>
                  <a:pt x="12" y="84"/>
                </a:cubicBezTo>
                <a:cubicBezTo>
                  <a:pt x="11" y="83"/>
                  <a:pt x="11" y="83"/>
                  <a:pt x="11" y="83"/>
                </a:cubicBezTo>
                <a:cubicBezTo>
                  <a:pt x="11" y="83"/>
                  <a:pt x="11" y="83"/>
                  <a:pt x="11" y="83"/>
                </a:cubicBezTo>
                <a:cubicBezTo>
                  <a:pt x="11" y="82"/>
                  <a:pt x="11" y="82"/>
                  <a:pt x="11" y="82"/>
                </a:cubicBezTo>
                <a:cubicBezTo>
                  <a:pt x="12" y="80"/>
                  <a:pt x="12" y="80"/>
                  <a:pt x="12" y="80"/>
                </a:cubicBezTo>
                <a:cubicBezTo>
                  <a:pt x="12" y="79"/>
                  <a:pt x="12" y="79"/>
                  <a:pt x="12" y="79"/>
                </a:cubicBezTo>
                <a:cubicBezTo>
                  <a:pt x="10" y="81"/>
                  <a:pt x="10" y="81"/>
                  <a:pt x="10" y="81"/>
                </a:cubicBezTo>
                <a:cubicBezTo>
                  <a:pt x="9" y="82"/>
                  <a:pt x="9" y="82"/>
                  <a:pt x="9" y="82"/>
                </a:cubicBezTo>
                <a:cubicBezTo>
                  <a:pt x="8" y="85"/>
                  <a:pt x="8" y="85"/>
                  <a:pt x="8" y="85"/>
                </a:cubicBezTo>
                <a:cubicBezTo>
                  <a:pt x="9" y="87"/>
                  <a:pt x="9" y="87"/>
                  <a:pt x="9" y="87"/>
                </a:cubicBezTo>
                <a:cubicBezTo>
                  <a:pt x="8" y="89"/>
                  <a:pt x="8" y="89"/>
                  <a:pt x="8" y="89"/>
                </a:cubicBezTo>
                <a:cubicBezTo>
                  <a:pt x="8" y="91"/>
                  <a:pt x="8" y="91"/>
                  <a:pt x="8" y="91"/>
                </a:cubicBezTo>
                <a:cubicBezTo>
                  <a:pt x="6" y="94"/>
                  <a:pt x="6" y="94"/>
                  <a:pt x="6" y="94"/>
                </a:cubicBezTo>
                <a:cubicBezTo>
                  <a:pt x="5" y="99"/>
                  <a:pt x="5" y="99"/>
                  <a:pt x="5" y="99"/>
                </a:cubicBezTo>
                <a:cubicBezTo>
                  <a:pt x="5" y="101"/>
                  <a:pt x="5" y="101"/>
                  <a:pt x="5" y="101"/>
                </a:cubicBezTo>
                <a:cubicBezTo>
                  <a:pt x="5" y="104"/>
                  <a:pt x="5" y="104"/>
                  <a:pt x="5" y="104"/>
                </a:cubicBezTo>
                <a:cubicBezTo>
                  <a:pt x="7" y="107"/>
                  <a:pt x="7" y="107"/>
                  <a:pt x="7" y="107"/>
                </a:cubicBezTo>
                <a:cubicBezTo>
                  <a:pt x="7" y="109"/>
                  <a:pt x="7" y="109"/>
                  <a:pt x="7" y="109"/>
                </a:cubicBezTo>
                <a:cubicBezTo>
                  <a:pt x="8" y="110"/>
                  <a:pt x="8" y="110"/>
                  <a:pt x="8" y="110"/>
                </a:cubicBezTo>
                <a:cubicBezTo>
                  <a:pt x="7" y="112"/>
                  <a:pt x="7" y="112"/>
                  <a:pt x="7" y="112"/>
                </a:cubicBezTo>
                <a:cubicBezTo>
                  <a:pt x="8" y="113"/>
                  <a:pt x="8" y="113"/>
                  <a:pt x="8" y="113"/>
                </a:cubicBezTo>
                <a:cubicBezTo>
                  <a:pt x="6" y="114"/>
                  <a:pt x="6" y="114"/>
                  <a:pt x="6" y="114"/>
                </a:cubicBezTo>
                <a:cubicBezTo>
                  <a:pt x="6" y="113"/>
                  <a:pt x="6" y="113"/>
                  <a:pt x="6" y="113"/>
                </a:cubicBezTo>
                <a:cubicBezTo>
                  <a:pt x="6" y="111"/>
                  <a:pt x="6" y="111"/>
                  <a:pt x="6" y="111"/>
                </a:cubicBezTo>
                <a:cubicBezTo>
                  <a:pt x="5" y="112"/>
                  <a:pt x="5" y="112"/>
                  <a:pt x="5" y="112"/>
                </a:cubicBezTo>
                <a:cubicBezTo>
                  <a:pt x="5" y="112"/>
                  <a:pt x="5" y="112"/>
                  <a:pt x="5" y="112"/>
                </a:cubicBezTo>
                <a:cubicBezTo>
                  <a:pt x="5" y="110"/>
                  <a:pt x="5" y="110"/>
                  <a:pt x="5" y="110"/>
                </a:cubicBezTo>
                <a:cubicBezTo>
                  <a:pt x="3" y="107"/>
                  <a:pt x="3" y="107"/>
                  <a:pt x="3" y="107"/>
                </a:cubicBezTo>
                <a:cubicBezTo>
                  <a:pt x="3" y="108"/>
                  <a:pt x="3" y="108"/>
                  <a:pt x="3" y="108"/>
                </a:cubicBezTo>
                <a:cubicBezTo>
                  <a:pt x="3" y="111"/>
                  <a:pt x="3" y="111"/>
                  <a:pt x="3" y="111"/>
                </a:cubicBezTo>
                <a:cubicBezTo>
                  <a:pt x="5" y="113"/>
                  <a:pt x="5" y="113"/>
                  <a:pt x="5" y="113"/>
                </a:cubicBezTo>
                <a:cubicBezTo>
                  <a:pt x="6" y="115"/>
                  <a:pt x="6" y="115"/>
                  <a:pt x="6" y="115"/>
                </a:cubicBezTo>
                <a:cubicBezTo>
                  <a:pt x="4" y="115"/>
                  <a:pt x="4" y="115"/>
                  <a:pt x="4" y="115"/>
                </a:cubicBezTo>
                <a:cubicBezTo>
                  <a:pt x="3" y="113"/>
                  <a:pt x="3" y="113"/>
                  <a:pt x="3" y="113"/>
                </a:cubicBezTo>
                <a:cubicBezTo>
                  <a:pt x="2" y="111"/>
                  <a:pt x="2" y="111"/>
                  <a:pt x="2" y="111"/>
                </a:cubicBezTo>
                <a:cubicBezTo>
                  <a:pt x="2" y="112"/>
                  <a:pt x="2" y="112"/>
                  <a:pt x="2" y="112"/>
                </a:cubicBezTo>
                <a:cubicBezTo>
                  <a:pt x="1" y="112"/>
                  <a:pt x="1" y="112"/>
                  <a:pt x="1" y="112"/>
                </a:cubicBezTo>
                <a:cubicBezTo>
                  <a:pt x="2" y="115"/>
                  <a:pt x="2" y="115"/>
                  <a:pt x="2" y="115"/>
                </a:cubicBezTo>
                <a:cubicBezTo>
                  <a:pt x="4" y="117"/>
                  <a:pt x="4" y="117"/>
                  <a:pt x="4" y="117"/>
                </a:cubicBezTo>
                <a:cubicBezTo>
                  <a:pt x="6" y="121"/>
                  <a:pt x="6" y="121"/>
                  <a:pt x="6" y="121"/>
                </a:cubicBezTo>
                <a:cubicBezTo>
                  <a:pt x="5" y="127"/>
                  <a:pt x="5" y="127"/>
                  <a:pt x="5" y="127"/>
                </a:cubicBezTo>
                <a:cubicBezTo>
                  <a:pt x="6" y="128"/>
                  <a:pt x="6" y="128"/>
                  <a:pt x="6" y="128"/>
                </a:cubicBezTo>
                <a:cubicBezTo>
                  <a:pt x="7" y="132"/>
                  <a:pt x="7" y="132"/>
                  <a:pt x="7" y="132"/>
                </a:cubicBezTo>
                <a:cubicBezTo>
                  <a:pt x="9" y="137"/>
                  <a:pt x="9" y="137"/>
                  <a:pt x="9" y="137"/>
                </a:cubicBezTo>
                <a:cubicBezTo>
                  <a:pt x="8" y="138"/>
                  <a:pt x="8" y="138"/>
                  <a:pt x="8" y="138"/>
                </a:cubicBezTo>
                <a:cubicBezTo>
                  <a:pt x="8" y="145"/>
                  <a:pt x="8" y="145"/>
                  <a:pt x="8" y="145"/>
                </a:cubicBezTo>
                <a:cubicBezTo>
                  <a:pt x="8" y="146"/>
                  <a:pt x="8" y="146"/>
                  <a:pt x="8" y="146"/>
                </a:cubicBezTo>
                <a:cubicBezTo>
                  <a:pt x="9" y="148"/>
                  <a:pt x="9" y="148"/>
                  <a:pt x="9" y="148"/>
                </a:cubicBezTo>
                <a:cubicBezTo>
                  <a:pt x="9" y="150"/>
                  <a:pt x="9" y="150"/>
                  <a:pt x="9" y="150"/>
                </a:cubicBezTo>
                <a:cubicBezTo>
                  <a:pt x="10" y="153"/>
                  <a:pt x="10" y="153"/>
                  <a:pt x="10" y="153"/>
                </a:cubicBezTo>
                <a:cubicBezTo>
                  <a:pt x="10" y="155"/>
                  <a:pt x="10" y="155"/>
                  <a:pt x="10" y="155"/>
                </a:cubicBezTo>
                <a:cubicBezTo>
                  <a:pt x="9" y="156"/>
                  <a:pt x="9" y="156"/>
                  <a:pt x="9" y="156"/>
                </a:cubicBezTo>
                <a:cubicBezTo>
                  <a:pt x="9" y="157"/>
                  <a:pt x="9" y="157"/>
                  <a:pt x="9" y="157"/>
                </a:cubicBezTo>
                <a:cubicBezTo>
                  <a:pt x="9" y="158"/>
                  <a:pt x="9" y="158"/>
                  <a:pt x="9" y="158"/>
                </a:cubicBezTo>
                <a:cubicBezTo>
                  <a:pt x="9" y="161"/>
                  <a:pt x="9" y="161"/>
                  <a:pt x="9" y="161"/>
                </a:cubicBezTo>
                <a:cubicBezTo>
                  <a:pt x="8" y="162"/>
                  <a:pt x="8" y="162"/>
                  <a:pt x="8" y="162"/>
                </a:cubicBezTo>
                <a:cubicBezTo>
                  <a:pt x="8" y="163"/>
                  <a:pt x="8" y="163"/>
                  <a:pt x="8" y="163"/>
                </a:cubicBezTo>
                <a:cubicBezTo>
                  <a:pt x="8" y="164"/>
                  <a:pt x="8" y="164"/>
                  <a:pt x="8" y="164"/>
                </a:cubicBezTo>
                <a:cubicBezTo>
                  <a:pt x="7" y="165"/>
                  <a:pt x="7" y="165"/>
                  <a:pt x="7" y="165"/>
                </a:cubicBezTo>
                <a:cubicBezTo>
                  <a:pt x="7" y="167"/>
                  <a:pt x="7" y="167"/>
                  <a:pt x="7" y="167"/>
                </a:cubicBezTo>
                <a:cubicBezTo>
                  <a:pt x="5" y="168"/>
                  <a:pt x="5" y="168"/>
                  <a:pt x="5" y="168"/>
                </a:cubicBezTo>
                <a:cubicBezTo>
                  <a:pt x="4" y="168"/>
                  <a:pt x="4" y="168"/>
                  <a:pt x="4" y="168"/>
                </a:cubicBezTo>
                <a:cubicBezTo>
                  <a:pt x="2" y="170"/>
                  <a:pt x="2" y="170"/>
                  <a:pt x="2" y="170"/>
                </a:cubicBezTo>
                <a:lnTo>
                  <a:pt x="2" y="17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3" name="Freeform 161">
            <a:extLst>
              <a:ext uri="{FF2B5EF4-FFF2-40B4-BE49-F238E27FC236}">
                <a16:creationId xmlns:a16="http://schemas.microsoft.com/office/drawing/2014/main" id="{589DC4A2-1BA4-8C73-EA8A-A92DAAC93AFA}"/>
              </a:ext>
            </a:extLst>
          </p:cNvPr>
          <p:cNvSpPr>
            <a:spLocks noEditPoints="1"/>
          </p:cNvSpPr>
          <p:nvPr userDrawn="1"/>
        </p:nvSpPr>
        <p:spPr bwMode="auto">
          <a:xfrm>
            <a:off x="22696594" y="12007131"/>
            <a:ext cx="1260396" cy="1927226"/>
          </a:xfrm>
          <a:custGeom>
            <a:avLst/>
            <a:gdLst>
              <a:gd name="T0" fmla="*/ 25 w 397"/>
              <a:gd name="T1" fmla="*/ 604 h 607"/>
              <a:gd name="T2" fmla="*/ 0 w 397"/>
              <a:gd name="T3" fmla="*/ 529 h 607"/>
              <a:gd name="T4" fmla="*/ 0 w 397"/>
              <a:gd name="T5" fmla="*/ 529 h 607"/>
              <a:gd name="T6" fmla="*/ 340 w 397"/>
              <a:gd name="T7" fmla="*/ 69 h 607"/>
              <a:gd name="T8" fmla="*/ 347 w 397"/>
              <a:gd name="T9" fmla="*/ 69 h 607"/>
              <a:gd name="T10" fmla="*/ 290 w 397"/>
              <a:gd name="T11" fmla="*/ 229 h 607"/>
              <a:gd name="T12" fmla="*/ 315 w 397"/>
              <a:gd name="T13" fmla="*/ 216 h 607"/>
              <a:gd name="T14" fmla="*/ 343 w 397"/>
              <a:gd name="T15" fmla="*/ 185 h 607"/>
              <a:gd name="T16" fmla="*/ 356 w 397"/>
              <a:gd name="T17" fmla="*/ 160 h 607"/>
              <a:gd name="T18" fmla="*/ 368 w 397"/>
              <a:gd name="T19" fmla="*/ 154 h 607"/>
              <a:gd name="T20" fmla="*/ 387 w 397"/>
              <a:gd name="T21" fmla="*/ 129 h 607"/>
              <a:gd name="T22" fmla="*/ 387 w 397"/>
              <a:gd name="T23" fmla="*/ 110 h 607"/>
              <a:gd name="T24" fmla="*/ 350 w 397"/>
              <a:gd name="T25" fmla="*/ 107 h 607"/>
              <a:gd name="T26" fmla="*/ 347 w 397"/>
              <a:gd name="T27" fmla="*/ 79 h 607"/>
              <a:gd name="T28" fmla="*/ 340 w 397"/>
              <a:gd name="T29" fmla="*/ 88 h 607"/>
              <a:gd name="T30" fmla="*/ 328 w 397"/>
              <a:gd name="T31" fmla="*/ 88 h 607"/>
              <a:gd name="T32" fmla="*/ 334 w 397"/>
              <a:gd name="T33" fmla="*/ 63 h 607"/>
              <a:gd name="T34" fmla="*/ 337 w 397"/>
              <a:gd name="T35" fmla="*/ 41 h 607"/>
              <a:gd name="T36" fmla="*/ 328 w 397"/>
              <a:gd name="T37" fmla="*/ 25 h 607"/>
              <a:gd name="T38" fmla="*/ 322 w 397"/>
              <a:gd name="T39" fmla="*/ 13 h 607"/>
              <a:gd name="T40" fmla="*/ 312 w 397"/>
              <a:gd name="T41" fmla="*/ 4 h 607"/>
              <a:gd name="T42" fmla="*/ 312 w 397"/>
              <a:gd name="T43" fmla="*/ 25 h 607"/>
              <a:gd name="T44" fmla="*/ 312 w 397"/>
              <a:gd name="T45" fmla="*/ 41 h 607"/>
              <a:gd name="T46" fmla="*/ 322 w 397"/>
              <a:gd name="T47" fmla="*/ 63 h 607"/>
              <a:gd name="T48" fmla="*/ 322 w 397"/>
              <a:gd name="T49" fmla="*/ 76 h 607"/>
              <a:gd name="T50" fmla="*/ 325 w 397"/>
              <a:gd name="T51" fmla="*/ 91 h 607"/>
              <a:gd name="T52" fmla="*/ 322 w 397"/>
              <a:gd name="T53" fmla="*/ 113 h 607"/>
              <a:gd name="T54" fmla="*/ 312 w 397"/>
              <a:gd name="T55" fmla="*/ 129 h 607"/>
              <a:gd name="T56" fmla="*/ 284 w 397"/>
              <a:gd name="T57" fmla="*/ 160 h 607"/>
              <a:gd name="T58" fmla="*/ 306 w 397"/>
              <a:gd name="T59" fmla="*/ 191 h 607"/>
              <a:gd name="T60" fmla="*/ 272 w 397"/>
              <a:gd name="T61" fmla="*/ 210 h 607"/>
              <a:gd name="T62" fmla="*/ 272 w 397"/>
              <a:gd name="T63" fmla="*/ 210 h 607"/>
              <a:gd name="T64" fmla="*/ 272 w 397"/>
              <a:gd name="T65" fmla="*/ 213 h 607"/>
              <a:gd name="T66" fmla="*/ 87 w 397"/>
              <a:gd name="T67" fmla="*/ 404 h 607"/>
              <a:gd name="T68" fmla="*/ 90 w 397"/>
              <a:gd name="T69" fmla="*/ 391 h 607"/>
              <a:gd name="T70" fmla="*/ 96 w 397"/>
              <a:gd name="T71" fmla="*/ 398 h 607"/>
              <a:gd name="T72" fmla="*/ 90 w 397"/>
              <a:gd name="T73" fmla="*/ 404 h 607"/>
              <a:gd name="T74" fmla="*/ 81 w 397"/>
              <a:gd name="T75" fmla="*/ 363 h 607"/>
              <a:gd name="T76" fmla="*/ 93 w 397"/>
              <a:gd name="T77" fmla="*/ 341 h 607"/>
              <a:gd name="T78" fmla="*/ 109 w 397"/>
              <a:gd name="T79" fmla="*/ 329 h 607"/>
              <a:gd name="T80" fmla="*/ 125 w 397"/>
              <a:gd name="T81" fmla="*/ 310 h 607"/>
              <a:gd name="T82" fmla="*/ 156 w 397"/>
              <a:gd name="T83" fmla="*/ 301 h 607"/>
              <a:gd name="T84" fmla="*/ 181 w 397"/>
              <a:gd name="T85" fmla="*/ 276 h 607"/>
              <a:gd name="T86" fmla="*/ 215 w 397"/>
              <a:gd name="T87" fmla="*/ 244 h 607"/>
              <a:gd name="T88" fmla="*/ 237 w 397"/>
              <a:gd name="T89" fmla="*/ 219 h 607"/>
              <a:gd name="T90" fmla="*/ 256 w 397"/>
              <a:gd name="T91" fmla="*/ 207 h 607"/>
              <a:gd name="T92" fmla="*/ 259 w 397"/>
              <a:gd name="T93" fmla="*/ 219 h 607"/>
              <a:gd name="T94" fmla="*/ 272 w 397"/>
              <a:gd name="T95" fmla="*/ 216 h 607"/>
              <a:gd name="T96" fmla="*/ 278 w 397"/>
              <a:gd name="T97" fmla="*/ 219 h 607"/>
              <a:gd name="T98" fmla="*/ 262 w 397"/>
              <a:gd name="T99" fmla="*/ 251 h 607"/>
              <a:gd name="T100" fmla="*/ 237 w 397"/>
              <a:gd name="T101" fmla="*/ 282 h 607"/>
              <a:gd name="T102" fmla="*/ 228 w 397"/>
              <a:gd name="T103" fmla="*/ 307 h 607"/>
              <a:gd name="T104" fmla="*/ 222 w 397"/>
              <a:gd name="T105" fmla="*/ 304 h 607"/>
              <a:gd name="T106" fmla="*/ 209 w 397"/>
              <a:gd name="T107" fmla="*/ 301 h 607"/>
              <a:gd name="T108" fmla="*/ 190 w 397"/>
              <a:gd name="T109" fmla="*/ 313 h 607"/>
              <a:gd name="T110" fmla="*/ 165 w 397"/>
              <a:gd name="T111" fmla="*/ 354 h 607"/>
              <a:gd name="T112" fmla="*/ 153 w 397"/>
              <a:gd name="T113" fmla="*/ 370 h 607"/>
              <a:gd name="T114" fmla="*/ 134 w 397"/>
              <a:gd name="T115" fmla="*/ 385 h 607"/>
              <a:gd name="T116" fmla="*/ 109 w 397"/>
              <a:gd name="T117" fmla="*/ 388 h 607"/>
              <a:gd name="T118" fmla="*/ 93 w 397"/>
              <a:gd name="T119" fmla="*/ 373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7" h="607">
                <a:moveTo>
                  <a:pt x="81" y="354"/>
                </a:moveTo>
                <a:lnTo>
                  <a:pt x="84" y="354"/>
                </a:lnTo>
                <a:lnTo>
                  <a:pt x="87" y="354"/>
                </a:lnTo>
                <a:lnTo>
                  <a:pt x="87" y="351"/>
                </a:lnTo>
                <a:lnTo>
                  <a:pt x="84" y="351"/>
                </a:lnTo>
                <a:lnTo>
                  <a:pt x="81" y="351"/>
                </a:lnTo>
                <a:lnTo>
                  <a:pt x="81" y="354"/>
                </a:lnTo>
                <a:lnTo>
                  <a:pt x="81" y="354"/>
                </a:lnTo>
                <a:close/>
                <a:moveTo>
                  <a:pt x="25" y="604"/>
                </a:moveTo>
                <a:lnTo>
                  <a:pt x="28" y="607"/>
                </a:lnTo>
                <a:lnTo>
                  <a:pt x="31" y="607"/>
                </a:lnTo>
                <a:lnTo>
                  <a:pt x="34" y="601"/>
                </a:lnTo>
                <a:lnTo>
                  <a:pt x="34" y="598"/>
                </a:lnTo>
                <a:lnTo>
                  <a:pt x="31" y="604"/>
                </a:lnTo>
                <a:lnTo>
                  <a:pt x="28" y="604"/>
                </a:lnTo>
                <a:lnTo>
                  <a:pt x="25" y="604"/>
                </a:lnTo>
                <a:lnTo>
                  <a:pt x="25" y="604"/>
                </a:lnTo>
                <a:close/>
                <a:moveTo>
                  <a:pt x="0" y="529"/>
                </a:moveTo>
                <a:lnTo>
                  <a:pt x="9" y="520"/>
                </a:lnTo>
                <a:lnTo>
                  <a:pt x="9" y="520"/>
                </a:lnTo>
                <a:lnTo>
                  <a:pt x="9" y="523"/>
                </a:lnTo>
                <a:lnTo>
                  <a:pt x="6" y="526"/>
                </a:lnTo>
                <a:lnTo>
                  <a:pt x="9" y="529"/>
                </a:lnTo>
                <a:lnTo>
                  <a:pt x="9" y="532"/>
                </a:lnTo>
                <a:lnTo>
                  <a:pt x="3" y="529"/>
                </a:lnTo>
                <a:lnTo>
                  <a:pt x="0" y="532"/>
                </a:lnTo>
                <a:lnTo>
                  <a:pt x="0" y="529"/>
                </a:lnTo>
                <a:lnTo>
                  <a:pt x="0" y="529"/>
                </a:lnTo>
                <a:close/>
                <a:moveTo>
                  <a:pt x="334" y="85"/>
                </a:moveTo>
                <a:lnTo>
                  <a:pt x="337" y="85"/>
                </a:lnTo>
                <a:lnTo>
                  <a:pt x="337" y="88"/>
                </a:lnTo>
                <a:lnTo>
                  <a:pt x="337" y="88"/>
                </a:lnTo>
                <a:lnTo>
                  <a:pt x="334" y="85"/>
                </a:lnTo>
                <a:lnTo>
                  <a:pt x="334" y="85"/>
                </a:lnTo>
                <a:close/>
                <a:moveTo>
                  <a:pt x="340" y="69"/>
                </a:moveTo>
                <a:lnTo>
                  <a:pt x="340" y="69"/>
                </a:lnTo>
                <a:lnTo>
                  <a:pt x="340" y="69"/>
                </a:lnTo>
                <a:lnTo>
                  <a:pt x="340" y="69"/>
                </a:lnTo>
                <a:lnTo>
                  <a:pt x="340" y="69"/>
                </a:lnTo>
                <a:close/>
                <a:moveTo>
                  <a:pt x="347" y="72"/>
                </a:moveTo>
                <a:lnTo>
                  <a:pt x="343" y="69"/>
                </a:lnTo>
                <a:lnTo>
                  <a:pt x="347" y="63"/>
                </a:lnTo>
                <a:lnTo>
                  <a:pt x="347" y="66"/>
                </a:lnTo>
                <a:lnTo>
                  <a:pt x="350" y="69"/>
                </a:lnTo>
                <a:lnTo>
                  <a:pt x="347" y="69"/>
                </a:lnTo>
                <a:lnTo>
                  <a:pt x="347" y="69"/>
                </a:lnTo>
                <a:lnTo>
                  <a:pt x="347" y="72"/>
                </a:lnTo>
                <a:lnTo>
                  <a:pt x="347" y="72"/>
                </a:lnTo>
                <a:close/>
                <a:moveTo>
                  <a:pt x="284" y="226"/>
                </a:moveTo>
                <a:lnTo>
                  <a:pt x="287" y="226"/>
                </a:lnTo>
                <a:lnTo>
                  <a:pt x="287" y="223"/>
                </a:lnTo>
                <a:lnTo>
                  <a:pt x="290" y="223"/>
                </a:lnTo>
                <a:lnTo>
                  <a:pt x="290" y="226"/>
                </a:lnTo>
                <a:lnTo>
                  <a:pt x="290" y="229"/>
                </a:lnTo>
                <a:lnTo>
                  <a:pt x="290" y="229"/>
                </a:lnTo>
                <a:lnTo>
                  <a:pt x="293" y="229"/>
                </a:lnTo>
                <a:lnTo>
                  <a:pt x="293" y="229"/>
                </a:lnTo>
                <a:lnTo>
                  <a:pt x="293" y="232"/>
                </a:lnTo>
                <a:lnTo>
                  <a:pt x="293" y="235"/>
                </a:lnTo>
                <a:lnTo>
                  <a:pt x="297" y="235"/>
                </a:lnTo>
                <a:lnTo>
                  <a:pt x="303" y="229"/>
                </a:lnTo>
                <a:lnTo>
                  <a:pt x="309" y="223"/>
                </a:lnTo>
                <a:lnTo>
                  <a:pt x="315" y="216"/>
                </a:lnTo>
                <a:lnTo>
                  <a:pt x="322" y="210"/>
                </a:lnTo>
                <a:lnTo>
                  <a:pt x="328" y="204"/>
                </a:lnTo>
                <a:lnTo>
                  <a:pt x="331" y="201"/>
                </a:lnTo>
                <a:lnTo>
                  <a:pt x="334" y="201"/>
                </a:lnTo>
                <a:lnTo>
                  <a:pt x="337" y="198"/>
                </a:lnTo>
                <a:lnTo>
                  <a:pt x="337" y="194"/>
                </a:lnTo>
                <a:lnTo>
                  <a:pt x="337" y="194"/>
                </a:lnTo>
                <a:lnTo>
                  <a:pt x="340" y="191"/>
                </a:lnTo>
                <a:lnTo>
                  <a:pt x="343" y="185"/>
                </a:lnTo>
                <a:lnTo>
                  <a:pt x="350" y="179"/>
                </a:lnTo>
                <a:lnTo>
                  <a:pt x="350" y="176"/>
                </a:lnTo>
                <a:lnTo>
                  <a:pt x="350" y="176"/>
                </a:lnTo>
                <a:lnTo>
                  <a:pt x="347" y="172"/>
                </a:lnTo>
                <a:lnTo>
                  <a:pt x="343" y="172"/>
                </a:lnTo>
                <a:lnTo>
                  <a:pt x="340" y="172"/>
                </a:lnTo>
                <a:lnTo>
                  <a:pt x="343" y="169"/>
                </a:lnTo>
                <a:lnTo>
                  <a:pt x="347" y="169"/>
                </a:lnTo>
                <a:lnTo>
                  <a:pt x="356" y="160"/>
                </a:lnTo>
                <a:lnTo>
                  <a:pt x="359" y="157"/>
                </a:lnTo>
                <a:lnTo>
                  <a:pt x="365" y="160"/>
                </a:lnTo>
                <a:lnTo>
                  <a:pt x="368" y="160"/>
                </a:lnTo>
                <a:lnTo>
                  <a:pt x="368" y="163"/>
                </a:lnTo>
                <a:lnTo>
                  <a:pt x="368" y="163"/>
                </a:lnTo>
                <a:lnTo>
                  <a:pt x="372" y="160"/>
                </a:lnTo>
                <a:lnTo>
                  <a:pt x="375" y="160"/>
                </a:lnTo>
                <a:lnTo>
                  <a:pt x="368" y="157"/>
                </a:lnTo>
                <a:lnTo>
                  <a:pt x="368" y="154"/>
                </a:lnTo>
                <a:lnTo>
                  <a:pt x="372" y="147"/>
                </a:lnTo>
                <a:lnTo>
                  <a:pt x="375" y="144"/>
                </a:lnTo>
                <a:lnTo>
                  <a:pt x="378" y="144"/>
                </a:lnTo>
                <a:lnTo>
                  <a:pt x="378" y="147"/>
                </a:lnTo>
                <a:lnTo>
                  <a:pt x="381" y="144"/>
                </a:lnTo>
                <a:lnTo>
                  <a:pt x="384" y="141"/>
                </a:lnTo>
                <a:lnTo>
                  <a:pt x="387" y="135"/>
                </a:lnTo>
                <a:lnTo>
                  <a:pt x="387" y="132"/>
                </a:lnTo>
                <a:lnTo>
                  <a:pt x="387" y="129"/>
                </a:lnTo>
                <a:lnTo>
                  <a:pt x="390" y="126"/>
                </a:lnTo>
                <a:lnTo>
                  <a:pt x="393" y="119"/>
                </a:lnTo>
                <a:lnTo>
                  <a:pt x="397" y="119"/>
                </a:lnTo>
                <a:lnTo>
                  <a:pt x="393" y="116"/>
                </a:lnTo>
                <a:lnTo>
                  <a:pt x="390" y="116"/>
                </a:lnTo>
                <a:lnTo>
                  <a:pt x="387" y="113"/>
                </a:lnTo>
                <a:lnTo>
                  <a:pt x="390" y="113"/>
                </a:lnTo>
                <a:lnTo>
                  <a:pt x="390" y="113"/>
                </a:lnTo>
                <a:lnTo>
                  <a:pt x="387" y="110"/>
                </a:lnTo>
                <a:lnTo>
                  <a:pt x="381" y="113"/>
                </a:lnTo>
                <a:lnTo>
                  <a:pt x="375" y="122"/>
                </a:lnTo>
                <a:lnTo>
                  <a:pt x="368" y="122"/>
                </a:lnTo>
                <a:lnTo>
                  <a:pt x="368" y="122"/>
                </a:lnTo>
                <a:lnTo>
                  <a:pt x="362" y="122"/>
                </a:lnTo>
                <a:lnTo>
                  <a:pt x="356" y="113"/>
                </a:lnTo>
                <a:lnTo>
                  <a:pt x="353" y="113"/>
                </a:lnTo>
                <a:lnTo>
                  <a:pt x="350" y="110"/>
                </a:lnTo>
                <a:lnTo>
                  <a:pt x="350" y="107"/>
                </a:lnTo>
                <a:lnTo>
                  <a:pt x="353" y="104"/>
                </a:lnTo>
                <a:lnTo>
                  <a:pt x="353" y="101"/>
                </a:lnTo>
                <a:lnTo>
                  <a:pt x="350" y="94"/>
                </a:lnTo>
                <a:lnTo>
                  <a:pt x="350" y="91"/>
                </a:lnTo>
                <a:lnTo>
                  <a:pt x="347" y="88"/>
                </a:lnTo>
                <a:lnTo>
                  <a:pt x="350" y="85"/>
                </a:lnTo>
                <a:lnTo>
                  <a:pt x="350" y="82"/>
                </a:lnTo>
                <a:lnTo>
                  <a:pt x="347" y="82"/>
                </a:lnTo>
                <a:lnTo>
                  <a:pt x="347" y="79"/>
                </a:lnTo>
                <a:lnTo>
                  <a:pt x="347" y="76"/>
                </a:lnTo>
                <a:lnTo>
                  <a:pt x="343" y="76"/>
                </a:lnTo>
                <a:lnTo>
                  <a:pt x="340" y="76"/>
                </a:lnTo>
                <a:lnTo>
                  <a:pt x="340" y="76"/>
                </a:lnTo>
                <a:lnTo>
                  <a:pt x="343" y="79"/>
                </a:lnTo>
                <a:lnTo>
                  <a:pt x="343" y="82"/>
                </a:lnTo>
                <a:lnTo>
                  <a:pt x="343" y="85"/>
                </a:lnTo>
                <a:lnTo>
                  <a:pt x="340" y="88"/>
                </a:lnTo>
                <a:lnTo>
                  <a:pt x="340" y="88"/>
                </a:lnTo>
                <a:lnTo>
                  <a:pt x="343" y="94"/>
                </a:lnTo>
                <a:lnTo>
                  <a:pt x="343" y="94"/>
                </a:lnTo>
                <a:lnTo>
                  <a:pt x="340" y="97"/>
                </a:lnTo>
                <a:lnTo>
                  <a:pt x="337" y="94"/>
                </a:lnTo>
                <a:lnTo>
                  <a:pt x="337" y="91"/>
                </a:lnTo>
                <a:lnTo>
                  <a:pt x="334" y="91"/>
                </a:lnTo>
                <a:lnTo>
                  <a:pt x="334" y="88"/>
                </a:lnTo>
                <a:lnTo>
                  <a:pt x="331" y="85"/>
                </a:lnTo>
                <a:lnTo>
                  <a:pt x="328" y="88"/>
                </a:lnTo>
                <a:lnTo>
                  <a:pt x="328" y="85"/>
                </a:lnTo>
                <a:lnTo>
                  <a:pt x="331" y="82"/>
                </a:lnTo>
                <a:lnTo>
                  <a:pt x="331" y="82"/>
                </a:lnTo>
                <a:lnTo>
                  <a:pt x="328" y="79"/>
                </a:lnTo>
                <a:lnTo>
                  <a:pt x="331" y="72"/>
                </a:lnTo>
                <a:lnTo>
                  <a:pt x="334" y="72"/>
                </a:lnTo>
                <a:lnTo>
                  <a:pt x="334" y="69"/>
                </a:lnTo>
                <a:lnTo>
                  <a:pt x="334" y="66"/>
                </a:lnTo>
                <a:lnTo>
                  <a:pt x="334" y="63"/>
                </a:lnTo>
                <a:lnTo>
                  <a:pt x="334" y="60"/>
                </a:lnTo>
                <a:lnTo>
                  <a:pt x="334" y="57"/>
                </a:lnTo>
                <a:lnTo>
                  <a:pt x="328" y="54"/>
                </a:lnTo>
                <a:lnTo>
                  <a:pt x="331" y="50"/>
                </a:lnTo>
                <a:lnTo>
                  <a:pt x="331" y="54"/>
                </a:lnTo>
                <a:lnTo>
                  <a:pt x="334" y="50"/>
                </a:lnTo>
                <a:lnTo>
                  <a:pt x="337" y="47"/>
                </a:lnTo>
                <a:lnTo>
                  <a:pt x="337" y="47"/>
                </a:lnTo>
                <a:lnTo>
                  <a:pt x="337" y="41"/>
                </a:lnTo>
                <a:lnTo>
                  <a:pt x="337" y="35"/>
                </a:lnTo>
                <a:lnTo>
                  <a:pt x="337" y="32"/>
                </a:lnTo>
                <a:lnTo>
                  <a:pt x="334" y="32"/>
                </a:lnTo>
                <a:lnTo>
                  <a:pt x="331" y="35"/>
                </a:lnTo>
                <a:lnTo>
                  <a:pt x="328" y="32"/>
                </a:lnTo>
                <a:lnTo>
                  <a:pt x="328" y="29"/>
                </a:lnTo>
                <a:lnTo>
                  <a:pt x="328" y="29"/>
                </a:lnTo>
                <a:lnTo>
                  <a:pt x="325" y="29"/>
                </a:lnTo>
                <a:lnTo>
                  <a:pt x="328" y="25"/>
                </a:lnTo>
                <a:lnTo>
                  <a:pt x="331" y="22"/>
                </a:lnTo>
                <a:lnTo>
                  <a:pt x="328" y="22"/>
                </a:lnTo>
                <a:lnTo>
                  <a:pt x="325" y="22"/>
                </a:lnTo>
                <a:lnTo>
                  <a:pt x="322" y="19"/>
                </a:lnTo>
                <a:lnTo>
                  <a:pt x="322" y="19"/>
                </a:lnTo>
                <a:lnTo>
                  <a:pt x="318" y="16"/>
                </a:lnTo>
                <a:lnTo>
                  <a:pt x="322" y="16"/>
                </a:lnTo>
                <a:lnTo>
                  <a:pt x="322" y="13"/>
                </a:lnTo>
                <a:lnTo>
                  <a:pt x="322" y="13"/>
                </a:lnTo>
                <a:lnTo>
                  <a:pt x="318" y="16"/>
                </a:lnTo>
                <a:lnTo>
                  <a:pt x="318" y="16"/>
                </a:lnTo>
                <a:lnTo>
                  <a:pt x="318" y="19"/>
                </a:lnTo>
                <a:lnTo>
                  <a:pt x="315" y="19"/>
                </a:lnTo>
                <a:lnTo>
                  <a:pt x="315" y="16"/>
                </a:lnTo>
                <a:lnTo>
                  <a:pt x="315" y="13"/>
                </a:lnTo>
                <a:lnTo>
                  <a:pt x="312" y="7"/>
                </a:lnTo>
                <a:lnTo>
                  <a:pt x="312" y="4"/>
                </a:lnTo>
                <a:lnTo>
                  <a:pt x="312" y="4"/>
                </a:lnTo>
                <a:lnTo>
                  <a:pt x="315" y="4"/>
                </a:lnTo>
                <a:lnTo>
                  <a:pt x="312" y="0"/>
                </a:lnTo>
                <a:lnTo>
                  <a:pt x="312" y="4"/>
                </a:lnTo>
                <a:lnTo>
                  <a:pt x="306" y="0"/>
                </a:lnTo>
                <a:lnTo>
                  <a:pt x="306" y="4"/>
                </a:lnTo>
                <a:lnTo>
                  <a:pt x="309" y="7"/>
                </a:lnTo>
                <a:lnTo>
                  <a:pt x="312" y="16"/>
                </a:lnTo>
                <a:lnTo>
                  <a:pt x="312" y="19"/>
                </a:lnTo>
                <a:lnTo>
                  <a:pt x="312" y="25"/>
                </a:lnTo>
                <a:lnTo>
                  <a:pt x="309" y="29"/>
                </a:lnTo>
                <a:lnTo>
                  <a:pt x="309" y="29"/>
                </a:lnTo>
                <a:lnTo>
                  <a:pt x="309" y="29"/>
                </a:lnTo>
                <a:lnTo>
                  <a:pt x="309" y="38"/>
                </a:lnTo>
                <a:lnTo>
                  <a:pt x="312" y="38"/>
                </a:lnTo>
                <a:lnTo>
                  <a:pt x="315" y="35"/>
                </a:lnTo>
                <a:lnTo>
                  <a:pt x="318" y="35"/>
                </a:lnTo>
                <a:lnTo>
                  <a:pt x="315" y="38"/>
                </a:lnTo>
                <a:lnTo>
                  <a:pt x="312" y="41"/>
                </a:lnTo>
                <a:lnTo>
                  <a:pt x="315" y="44"/>
                </a:lnTo>
                <a:lnTo>
                  <a:pt x="315" y="50"/>
                </a:lnTo>
                <a:lnTo>
                  <a:pt x="318" y="60"/>
                </a:lnTo>
                <a:lnTo>
                  <a:pt x="318" y="66"/>
                </a:lnTo>
                <a:lnTo>
                  <a:pt x="318" y="69"/>
                </a:lnTo>
                <a:lnTo>
                  <a:pt x="318" y="69"/>
                </a:lnTo>
                <a:lnTo>
                  <a:pt x="322" y="66"/>
                </a:lnTo>
                <a:lnTo>
                  <a:pt x="318" y="63"/>
                </a:lnTo>
                <a:lnTo>
                  <a:pt x="322" y="63"/>
                </a:lnTo>
                <a:lnTo>
                  <a:pt x="322" y="66"/>
                </a:lnTo>
                <a:lnTo>
                  <a:pt x="322" y="69"/>
                </a:lnTo>
                <a:lnTo>
                  <a:pt x="325" y="66"/>
                </a:lnTo>
                <a:lnTo>
                  <a:pt x="325" y="66"/>
                </a:lnTo>
                <a:lnTo>
                  <a:pt x="325" y="66"/>
                </a:lnTo>
                <a:lnTo>
                  <a:pt x="325" y="63"/>
                </a:lnTo>
                <a:lnTo>
                  <a:pt x="325" y="66"/>
                </a:lnTo>
                <a:lnTo>
                  <a:pt x="325" y="72"/>
                </a:lnTo>
                <a:lnTo>
                  <a:pt x="322" y="76"/>
                </a:lnTo>
                <a:lnTo>
                  <a:pt x="322" y="76"/>
                </a:lnTo>
                <a:lnTo>
                  <a:pt x="322" y="76"/>
                </a:lnTo>
                <a:lnTo>
                  <a:pt x="318" y="76"/>
                </a:lnTo>
                <a:lnTo>
                  <a:pt x="318" y="76"/>
                </a:lnTo>
                <a:lnTo>
                  <a:pt x="318" y="79"/>
                </a:lnTo>
                <a:lnTo>
                  <a:pt x="322" y="88"/>
                </a:lnTo>
                <a:lnTo>
                  <a:pt x="322" y="88"/>
                </a:lnTo>
                <a:lnTo>
                  <a:pt x="325" y="88"/>
                </a:lnTo>
                <a:lnTo>
                  <a:pt x="325" y="91"/>
                </a:lnTo>
                <a:lnTo>
                  <a:pt x="325" y="91"/>
                </a:lnTo>
                <a:lnTo>
                  <a:pt x="328" y="94"/>
                </a:lnTo>
                <a:lnTo>
                  <a:pt x="325" y="97"/>
                </a:lnTo>
                <a:lnTo>
                  <a:pt x="325" y="97"/>
                </a:lnTo>
                <a:lnTo>
                  <a:pt x="325" y="97"/>
                </a:lnTo>
                <a:lnTo>
                  <a:pt x="325" y="101"/>
                </a:lnTo>
                <a:lnTo>
                  <a:pt x="322" y="107"/>
                </a:lnTo>
                <a:lnTo>
                  <a:pt x="322" y="113"/>
                </a:lnTo>
                <a:lnTo>
                  <a:pt x="322" y="113"/>
                </a:lnTo>
                <a:lnTo>
                  <a:pt x="322" y="116"/>
                </a:lnTo>
                <a:lnTo>
                  <a:pt x="322" y="116"/>
                </a:lnTo>
                <a:lnTo>
                  <a:pt x="318" y="116"/>
                </a:lnTo>
                <a:lnTo>
                  <a:pt x="318" y="119"/>
                </a:lnTo>
                <a:lnTo>
                  <a:pt x="318" y="122"/>
                </a:lnTo>
                <a:lnTo>
                  <a:pt x="318" y="122"/>
                </a:lnTo>
                <a:lnTo>
                  <a:pt x="318" y="126"/>
                </a:lnTo>
                <a:lnTo>
                  <a:pt x="315" y="126"/>
                </a:lnTo>
                <a:lnTo>
                  <a:pt x="312" y="129"/>
                </a:lnTo>
                <a:lnTo>
                  <a:pt x="309" y="144"/>
                </a:lnTo>
                <a:lnTo>
                  <a:pt x="309" y="147"/>
                </a:lnTo>
                <a:lnTo>
                  <a:pt x="306" y="147"/>
                </a:lnTo>
                <a:lnTo>
                  <a:pt x="306" y="147"/>
                </a:lnTo>
                <a:lnTo>
                  <a:pt x="300" y="147"/>
                </a:lnTo>
                <a:lnTo>
                  <a:pt x="297" y="147"/>
                </a:lnTo>
                <a:lnTo>
                  <a:pt x="290" y="151"/>
                </a:lnTo>
                <a:lnTo>
                  <a:pt x="287" y="157"/>
                </a:lnTo>
                <a:lnTo>
                  <a:pt x="284" y="160"/>
                </a:lnTo>
                <a:lnTo>
                  <a:pt x="287" y="166"/>
                </a:lnTo>
                <a:lnTo>
                  <a:pt x="290" y="169"/>
                </a:lnTo>
                <a:lnTo>
                  <a:pt x="297" y="172"/>
                </a:lnTo>
                <a:lnTo>
                  <a:pt x="297" y="179"/>
                </a:lnTo>
                <a:lnTo>
                  <a:pt x="303" y="179"/>
                </a:lnTo>
                <a:lnTo>
                  <a:pt x="306" y="182"/>
                </a:lnTo>
                <a:lnTo>
                  <a:pt x="306" y="191"/>
                </a:lnTo>
                <a:lnTo>
                  <a:pt x="306" y="191"/>
                </a:lnTo>
                <a:lnTo>
                  <a:pt x="306" y="191"/>
                </a:lnTo>
                <a:lnTo>
                  <a:pt x="306" y="198"/>
                </a:lnTo>
                <a:lnTo>
                  <a:pt x="303" y="201"/>
                </a:lnTo>
                <a:lnTo>
                  <a:pt x="297" y="210"/>
                </a:lnTo>
                <a:lnTo>
                  <a:pt x="290" y="216"/>
                </a:lnTo>
                <a:lnTo>
                  <a:pt x="284" y="219"/>
                </a:lnTo>
                <a:lnTo>
                  <a:pt x="284" y="223"/>
                </a:lnTo>
                <a:lnTo>
                  <a:pt x="284" y="226"/>
                </a:lnTo>
                <a:lnTo>
                  <a:pt x="284" y="226"/>
                </a:lnTo>
                <a:close/>
                <a:moveTo>
                  <a:pt x="272" y="210"/>
                </a:moveTo>
                <a:lnTo>
                  <a:pt x="272" y="207"/>
                </a:lnTo>
                <a:lnTo>
                  <a:pt x="272" y="204"/>
                </a:lnTo>
                <a:lnTo>
                  <a:pt x="275" y="204"/>
                </a:lnTo>
                <a:lnTo>
                  <a:pt x="275" y="207"/>
                </a:lnTo>
                <a:lnTo>
                  <a:pt x="272" y="207"/>
                </a:lnTo>
                <a:lnTo>
                  <a:pt x="272" y="210"/>
                </a:lnTo>
                <a:lnTo>
                  <a:pt x="272" y="210"/>
                </a:lnTo>
                <a:lnTo>
                  <a:pt x="272" y="210"/>
                </a:lnTo>
                <a:lnTo>
                  <a:pt x="272" y="210"/>
                </a:lnTo>
                <a:close/>
                <a:moveTo>
                  <a:pt x="268" y="216"/>
                </a:moveTo>
                <a:lnTo>
                  <a:pt x="272" y="213"/>
                </a:lnTo>
                <a:lnTo>
                  <a:pt x="272" y="213"/>
                </a:lnTo>
                <a:lnTo>
                  <a:pt x="272" y="216"/>
                </a:lnTo>
                <a:lnTo>
                  <a:pt x="268" y="216"/>
                </a:lnTo>
                <a:lnTo>
                  <a:pt x="268" y="216"/>
                </a:lnTo>
                <a:close/>
                <a:moveTo>
                  <a:pt x="265" y="213"/>
                </a:moveTo>
                <a:lnTo>
                  <a:pt x="268" y="213"/>
                </a:lnTo>
                <a:lnTo>
                  <a:pt x="272" y="213"/>
                </a:lnTo>
                <a:lnTo>
                  <a:pt x="272" y="213"/>
                </a:lnTo>
                <a:lnTo>
                  <a:pt x="265" y="213"/>
                </a:lnTo>
                <a:lnTo>
                  <a:pt x="265" y="213"/>
                </a:lnTo>
                <a:close/>
                <a:moveTo>
                  <a:pt x="106" y="398"/>
                </a:moveTo>
                <a:lnTo>
                  <a:pt x="109" y="395"/>
                </a:lnTo>
                <a:lnTo>
                  <a:pt x="106" y="398"/>
                </a:lnTo>
                <a:lnTo>
                  <a:pt x="106" y="398"/>
                </a:lnTo>
                <a:lnTo>
                  <a:pt x="106" y="398"/>
                </a:lnTo>
                <a:close/>
                <a:moveTo>
                  <a:pt x="87" y="404"/>
                </a:moveTo>
                <a:lnTo>
                  <a:pt x="84" y="407"/>
                </a:lnTo>
                <a:lnTo>
                  <a:pt x="81" y="407"/>
                </a:lnTo>
                <a:lnTo>
                  <a:pt x="81" y="407"/>
                </a:lnTo>
                <a:lnTo>
                  <a:pt x="84" y="401"/>
                </a:lnTo>
                <a:lnTo>
                  <a:pt x="87" y="401"/>
                </a:lnTo>
                <a:lnTo>
                  <a:pt x="87" y="398"/>
                </a:lnTo>
                <a:lnTo>
                  <a:pt x="90" y="398"/>
                </a:lnTo>
                <a:lnTo>
                  <a:pt x="90" y="395"/>
                </a:lnTo>
                <a:lnTo>
                  <a:pt x="90" y="391"/>
                </a:lnTo>
                <a:lnTo>
                  <a:pt x="90" y="388"/>
                </a:lnTo>
                <a:lnTo>
                  <a:pt x="93" y="388"/>
                </a:lnTo>
                <a:lnTo>
                  <a:pt x="96" y="391"/>
                </a:lnTo>
                <a:lnTo>
                  <a:pt x="100" y="395"/>
                </a:lnTo>
                <a:lnTo>
                  <a:pt x="100" y="395"/>
                </a:lnTo>
                <a:lnTo>
                  <a:pt x="100" y="398"/>
                </a:lnTo>
                <a:lnTo>
                  <a:pt x="96" y="398"/>
                </a:lnTo>
                <a:lnTo>
                  <a:pt x="96" y="395"/>
                </a:lnTo>
                <a:lnTo>
                  <a:pt x="96" y="398"/>
                </a:lnTo>
                <a:lnTo>
                  <a:pt x="96" y="398"/>
                </a:lnTo>
                <a:lnTo>
                  <a:pt x="96" y="398"/>
                </a:lnTo>
                <a:lnTo>
                  <a:pt x="100" y="401"/>
                </a:lnTo>
                <a:lnTo>
                  <a:pt x="100" y="401"/>
                </a:lnTo>
                <a:lnTo>
                  <a:pt x="100" y="404"/>
                </a:lnTo>
                <a:lnTo>
                  <a:pt x="96" y="401"/>
                </a:lnTo>
                <a:lnTo>
                  <a:pt x="93" y="404"/>
                </a:lnTo>
                <a:lnTo>
                  <a:pt x="90" y="404"/>
                </a:lnTo>
                <a:lnTo>
                  <a:pt x="90" y="404"/>
                </a:lnTo>
                <a:lnTo>
                  <a:pt x="87" y="404"/>
                </a:lnTo>
                <a:lnTo>
                  <a:pt x="87" y="404"/>
                </a:lnTo>
                <a:lnTo>
                  <a:pt x="87" y="404"/>
                </a:lnTo>
                <a:close/>
                <a:moveTo>
                  <a:pt x="84" y="370"/>
                </a:moveTo>
                <a:lnTo>
                  <a:pt x="81" y="370"/>
                </a:lnTo>
                <a:lnTo>
                  <a:pt x="81" y="363"/>
                </a:lnTo>
                <a:lnTo>
                  <a:pt x="84" y="363"/>
                </a:lnTo>
                <a:lnTo>
                  <a:pt x="81" y="363"/>
                </a:lnTo>
                <a:lnTo>
                  <a:pt x="81" y="363"/>
                </a:lnTo>
                <a:lnTo>
                  <a:pt x="84" y="357"/>
                </a:lnTo>
                <a:lnTo>
                  <a:pt x="87" y="357"/>
                </a:lnTo>
                <a:lnTo>
                  <a:pt x="90" y="357"/>
                </a:lnTo>
                <a:lnTo>
                  <a:pt x="93" y="357"/>
                </a:lnTo>
                <a:lnTo>
                  <a:pt x="90" y="354"/>
                </a:lnTo>
                <a:lnTo>
                  <a:pt x="87" y="351"/>
                </a:lnTo>
                <a:lnTo>
                  <a:pt x="87" y="348"/>
                </a:lnTo>
                <a:lnTo>
                  <a:pt x="90" y="341"/>
                </a:lnTo>
                <a:lnTo>
                  <a:pt x="93" y="341"/>
                </a:lnTo>
                <a:lnTo>
                  <a:pt x="93" y="338"/>
                </a:lnTo>
                <a:lnTo>
                  <a:pt x="96" y="341"/>
                </a:lnTo>
                <a:lnTo>
                  <a:pt x="96" y="345"/>
                </a:lnTo>
                <a:lnTo>
                  <a:pt x="100" y="341"/>
                </a:lnTo>
                <a:lnTo>
                  <a:pt x="100" y="335"/>
                </a:lnTo>
                <a:lnTo>
                  <a:pt x="100" y="332"/>
                </a:lnTo>
                <a:lnTo>
                  <a:pt x="103" y="332"/>
                </a:lnTo>
                <a:lnTo>
                  <a:pt x="109" y="326"/>
                </a:lnTo>
                <a:lnTo>
                  <a:pt x="109" y="329"/>
                </a:lnTo>
                <a:lnTo>
                  <a:pt x="112" y="326"/>
                </a:lnTo>
                <a:lnTo>
                  <a:pt x="112" y="320"/>
                </a:lnTo>
                <a:lnTo>
                  <a:pt x="115" y="320"/>
                </a:lnTo>
                <a:lnTo>
                  <a:pt x="115" y="316"/>
                </a:lnTo>
                <a:lnTo>
                  <a:pt x="118" y="320"/>
                </a:lnTo>
                <a:lnTo>
                  <a:pt x="118" y="320"/>
                </a:lnTo>
                <a:lnTo>
                  <a:pt x="118" y="316"/>
                </a:lnTo>
                <a:lnTo>
                  <a:pt x="125" y="313"/>
                </a:lnTo>
                <a:lnTo>
                  <a:pt x="125" y="310"/>
                </a:lnTo>
                <a:lnTo>
                  <a:pt x="131" y="307"/>
                </a:lnTo>
                <a:lnTo>
                  <a:pt x="134" y="304"/>
                </a:lnTo>
                <a:lnTo>
                  <a:pt x="140" y="298"/>
                </a:lnTo>
                <a:lnTo>
                  <a:pt x="143" y="298"/>
                </a:lnTo>
                <a:lnTo>
                  <a:pt x="143" y="301"/>
                </a:lnTo>
                <a:lnTo>
                  <a:pt x="147" y="301"/>
                </a:lnTo>
                <a:lnTo>
                  <a:pt x="150" y="298"/>
                </a:lnTo>
                <a:lnTo>
                  <a:pt x="153" y="298"/>
                </a:lnTo>
                <a:lnTo>
                  <a:pt x="156" y="301"/>
                </a:lnTo>
                <a:lnTo>
                  <a:pt x="156" y="298"/>
                </a:lnTo>
                <a:lnTo>
                  <a:pt x="153" y="294"/>
                </a:lnTo>
                <a:lnTo>
                  <a:pt x="156" y="291"/>
                </a:lnTo>
                <a:lnTo>
                  <a:pt x="162" y="288"/>
                </a:lnTo>
                <a:lnTo>
                  <a:pt x="165" y="288"/>
                </a:lnTo>
                <a:lnTo>
                  <a:pt x="172" y="282"/>
                </a:lnTo>
                <a:lnTo>
                  <a:pt x="178" y="279"/>
                </a:lnTo>
                <a:lnTo>
                  <a:pt x="181" y="279"/>
                </a:lnTo>
                <a:lnTo>
                  <a:pt x="181" y="276"/>
                </a:lnTo>
                <a:lnTo>
                  <a:pt x="187" y="273"/>
                </a:lnTo>
                <a:lnTo>
                  <a:pt x="190" y="273"/>
                </a:lnTo>
                <a:lnTo>
                  <a:pt x="200" y="266"/>
                </a:lnTo>
                <a:lnTo>
                  <a:pt x="206" y="257"/>
                </a:lnTo>
                <a:lnTo>
                  <a:pt x="206" y="254"/>
                </a:lnTo>
                <a:lnTo>
                  <a:pt x="209" y="254"/>
                </a:lnTo>
                <a:lnTo>
                  <a:pt x="209" y="248"/>
                </a:lnTo>
                <a:lnTo>
                  <a:pt x="212" y="244"/>
                </a:lnTo>
                <a:lnTo>
                  <a:pt x="215" y="244"/>
                </a:lnTo>
                <a:lnTo>
                  <a:pt x="215" y="241"/>
                </a:lnTo>
                <a:lnTo>
                  <a:pt x="215" y="235"/>
                </a:lnTo>
                <a:lnTo>
                  <a:pt x="218" y="235"/>
                </a:lnTo>
                <a:lnTo>
                  <a:pt x="222" y="235"/>
                </a:lnTo>
                <a:lnTo>
                  <a:pt x="225" y="232"/>
                </a:lnTo>
                <a:lnTo>
                  <a:pt x="228" y="229"/>
                </a:lnTo>
                <a:lnTo>
                  <a:pt x="231" y="226"/>
                </a:lnTo>
                <a:lnTo>
                  <a:pt x="234" y="223"/>
                </a:lnTo>
                <a:lnTo>
                  <a:pt x="237" y="219"/>
                </a:lnTo>
                <a:lnTo>
                  <a:pt x="240" y="210"/>
                </a:lnTo>
                <a:lnTo>
                  <a:pt x="240" y="207"/>
                </a:lnTo>
                <a:lnTo>
                  <a:pt x="243" y="204"/>
                </a:lnTo>
                <a:lnTo>
                  <a:pt x="247" y="201"/>
                </a:lnTo>
                <a:lnTo>
                  <a:pt x="253" y="198"/>
                </a:lnTo>
                <a:lnTo>
                  <a:pt x="256" y="198"/>
                </a:lnTo>
                <a:lnTo>
                  <a:pt x="253" y="201"/>
                </a:lnTo>
                <a:lnTo>
                  <a:pt x="253" y="204"/>
                </a:lnTo>
                <a:lnTo>
                  <a:pt x="256" y="207"/>
                </a:lnTo>
                <a:lnTo>
                  <a:pt x="256" y="207"/>
                </a:lnTo>
                <a:lnTo>
                  <a:pt x="259" y="207"/>
                </a:lnTo>
                <a:lnTo>
                  <a:pt x="259" y="207"/>
                </a:lnTo>
                <a:lnTo>
                  <a:pt x="259" y="207"/>
                </a:lnTo>
                <a:lnTo>
                  <a:pt x="259" y="210"/>
                </a:lnTo>
                <a:lnTo>
                  <a:pt x="259" y="210"/>
                </a:lnTo>
                <a:lnTo>
                  <a:pt x="256" y="213"/>
                </a:lnTo>
                <a:lnTo>
                  <a:pt x="256" y="213"/>
                </a:lnTo>
                <a:lnTo>
                  <a:pt x="259" y="219"/>
                </a:lnTo>
                <a:lnTo>
                  <a:pt x="259" y="223"/>
                </a:lnTo>
                <a:lnTo>
                  <a:pt x="262" y="216"/>
                </a:lnTo>
                <a:lnTo>
                  <a:pt x="265" y="216"/>
                </a:lnTo>
                <a:lnTo>
                  <a:pt x="268" y="216"/>
                </a:lnTo>
                <a:lnTo>
                  <a:pt x="268" y="216"/>
                </a:lnTo>
                <a:lnTo>
                  <a:pt x="268" y="219"/>
                </a:lnTo>
                <a:lnTo>
                  <a:pt x="272" y="219"/>
                </a:lnTo>
                <a:lnTo>
                  <a:pt x="275" y="219"/>
                </a:lnTo>
                <a:lnTo>
                  <a:pt x="272" y="216"/>
                </a:lnTo>
                <a:lnTo>
                  <a:pt x="272" y="216"/>
                </a:lnTo>
                <a:lnTo>
                  <a:pt x="275" y="213"/>
                </a:lnTo>
                <a:lnTo>
                  <a:pt x="278" y="213"/>
                </a:lnTo>
                <a:lnTo>
                  <a:pt x="278" y="216"/>
                </a:lnTo>
                <a:lnTo>
                  <a:pt x="278" y="216"/>
                </a:lnTo>
                <a:lnTo>
                  <a:pt x="275" y="219"/>
                </a:lnTo>
                <a:lnTo>
                  <a:pt x="272" y="223"/>
                </a:lnTo>
                <a:lnTo>
                  <a:pt x="275" y="223"/>
                </a:lnTo>
                <a:lnTo>
                  <a:pt x="278" y="219"/>
                </a:lnTo>
                <a:lnTo>
                  <a:pt x="275" y="226"/>
                </a:lnTo>
                <a:lnTo>
                  <a:pt x="272" y="226"/>
                </a:lnTo>
                <a:lnTo>
                  <a:pt x="272" y="229"/>
                </a:lnTo>
                <a:lnTo>
                  <a:pt x="272" y="232"/>
                </a:lnTo>
                <a:lnTo>
                  <a:pt x="275" y="235"/>
                </a:lnTo>
                <a:lnTo>
                  <a:pt x="275" y="238"/>
                </a:lnTo>
                <a:lnTo>
                  <a:pt x="275" y="241"/>
                </a:lnTo>
                <a:lnTo>
                  <a:pt x="272" y="241"/>
                </a:lnTo>
                <a:lnTo>
                  <a:pt x="262" y="251"/>
                </a:lnTo>
                <a:lnTo>
                  <a:pt x="262" y="254"/>
                </a:lnTo>
                <a:lnTo>
                  <a:pt x="253" y="260"/>
                </a:lnTo>
                <a:lnTo>
                  <a:pt x="256" y="263"/>
                </a:lnTo>
                <a:lnTo>
                  <a:pt x="253" y="263"/>
                </a:lnTo>
                <a:lnTo>
                  <a:pt x="247" y="266"/>
                </a:lnTo>
                <a:lnTo>
                  <a:pt x="247" y="269"/>
                </a:lnTo>
                <a:lnTo>
                  <a:pt x="243" y="276"/>
                </a:lnTo>
                <a:lnTo>
                  <a:pt x="240" y="276"/>
                </a:lnTo>
                <a:lnTo>
                  <a:pt x="237" y="282"/>
                </a:lnTo>
                <a:lnTo>
                  <a:pt x="231" y="282"/>
                </a:lnTo>
                <a:lnTo>
                  <a:pt x="228" y="285"/>
                </a:lnTo>
                <a:lnTo>
                  <a:pt x="228" y="291"/>
                </a:lnTo>
                <a:lnTo>
                  <a:pt x="228" y="294"/>
                </a:lnTo>
                <a:lnTo>
                  <a:pt x="225" y="294"/>
                </a:lnTo>
                <a:lnTo>
                  <a:pt x="228" y="298"/>
                </a:lnTo>
                <a:lnTo>
                  <a:pt x="231" y="301"/>
                </a:lnTo>
                <a:lnTo>
                  <a:pt x="231" y="304"/>
                </a:lnTo>
                <a:lnTo>
                  <a:pt x="228" y="307"/>
                </a:lnTo>
                <a:lnTo>
                  <a:pt x="228" y="304"/>
                </a:lnTo>
                <a:lnTo>
                  <a:pt x="228" y="301"/>
                </a:lnTo>
                <a:lnTo>
                  <a:pt x="225" y="301"/>
                </a:lnTo>
                <a:lnTo>
                  <a:pt x="225" y="301"/>
                </a:lnTo>
                <a:lnTo>
                  <a:pt x="225" y="304"/>
                </a:lnTo>
                <a:lnTo>
                  <a:pt x="225" y="307"/>
                </a:lnTo>
                <a:lnTo>
                  <a:pt x="222" y="304"/>
                </a:lnTo>
                <a:lnTo>
                  <a:pt x="215" y="304"/>
                </a:lnTo>
                <a:lnTo>
                  <a:pt x="222" y="304"/>
                </a:lnTo>
                <a:lnTo>
                  <a:pt x="222" y="301"/>
                </a:lnTo>
                <a:lnTo>
                  <a:pt x="218" y="301"/>
                </a:lnTo>
                <a:lnTo>
                  <a:pt x="215" y="304"/>
                </a:lnTo>
                <a:lnTo>
                  <a:pt x="215" y="304"/>
                </a:lnTo>
                <a:lnTo>
                  <a:pt x="212" y="304"/>
                </a:lnTo>
                <a:lnTo>
                  <a:pt x="212" y="304"/>
                </a:lnTo>
                <a:lnTo>
                  <a:pt x="209" y="301"/>
                </a:lnTo>
                <a:lnTo>
                  <a:pt x="206" y="301"/>
                </a:lnTo>
                <a:lnTo>
                  <a:pt x="209" y="301"/>
                </a:lnTo>
                <a:lnTo>
                  <a:pt x="209" y="304"/>
                </a:lnTo>
                <a:lnTo>
                  <a:pt x="206" y="307"/>
                </a:lnTo>
                <a:lnTo>
                  <a:pt x="206" y="310"/>
                </a:lnTo>
                <a:lnTo>
                  <a:pt x="203" y="310"/>
                </a:lnTo>
                <a:lnTo>
                  <a:pt x="200" y="313"/>
                </a:lnTo>
                <a:lnTo>
                  <a:pt x="197" y="313"/>
                </a:lnTo>
                <a:lnTo>
                  <a:pt x="197" y="310"/>
                </a:lnTo>
                <a:lnTo>
                  <a:pt x="193" y="313"/>
                </a:lnTo>
                <a:lnTo>
                  <a:pt x="190" y="313"/>
                </a:lnTo>
                <a:lnTo>
                  <a:pt x="187" y="320"/>
                </a:lnTo>
                <a:lnTo>
                  <a:pt x="187" y="323"/>
                </a:lnTo>
                <a:lnTo>
                  <a:pt x="187" y="326"/>
                </a:lnTo>
                <a:lnTo>
                  <a:pt x="181" y="332"/>
                </a:lnTo>
                <a:lnTo>
                  <a:pt x="181" y="335"/>
                </a:lnTo>
                <a:lnTo>
                  <a:pt x="178" y="338"/>
                </a:lnTo>
                <a:lnTo>
                  <a:pt x="172" y="345"/>
                </a:lnTo>
                <a:lnTo>
                  <a:pt x="168" y="348"/>
                </a:lnTo>
                <a:lnTo>
                  <a:pt x="165" y="354"/>
                </a:lnTo>
                <a:lnTo>
                  <a:pt x="162" y="360"/>
                </a:lnTo>
                <a:lnTo>
                  <a:pt x="159" y="363"/>
                </a:lnTo>
                <a:lnTo>
                  <a:pt x="159" y="366"/>
                </a:lnTo>
                <a:lnTo>
                  <a:pt x="159" y="366"/>
                </a:lnTo>
                <a:lnTo>
                  <a:pt x="156" y="366"/>
                </a:lnTo>
                <a:lnTo>
                  <a:pt x="162" y="366"/>
                </a:lnTo>
                <a:lnTo>
                  <a:pt x="162" y="370"/>
                </a:lnTo>
                <a:lnTo>
                  <a:pt x="159" y="370"/>
                </a:lnTo>
                <a:lnTo>
                  <a:pt x="153" y="370"/>
                </a:lnTo>
                <a:lnTo>
                  <a:pt x="150" y="373"/>
                </a:lnTo>
                <a:lnTo>
                  <a:pt x="147" y="376"/>
                </a:lnTo>
                <a:lnTo>
                  <a:pt x="143" y="379"/>
                </a:lnTo>
                <a:lnTo>
                  <a:pt x="140" y="382"/>
                </a:lnTo>
                <a:lnTo>
                  <a:pt x="140" y="379"/>
                </a:lnTo>
                <a:lnTo>
                  <a:pt x="137" y="376"/>
                </a:lnTo>
                <a:lnTo>
                  <a:pt x="140" y="379"/>
                </a:lnTo>
                <a:lnTo>
                  <a:pt x="140" y="382"/>
                </a:lnTo>
                <a:lnTo>
                  <a:pt x="134" y="385"/>
                </a:lnTo>
                <a:lnTo>
                  <a:pt x="131" y="388"/>
                </a:lnTo>
                <a:lnTo>
                  <a:pt x="122" y="391"/>
                </a:lnTo>
                <a:lnTo>
                  <a:pt x="118" y="391"/>
                </a:lnTo>
                <a:lnTo>
                  <a:pt x="115" y="391"/>
                </a:lnTo>
                <a:lnTo>
                  <a:pt x="115" y="388"/>
                </a:lnTo>
                <a:lnTo>
                  <a:pt x="109" y="391"/>
                </a:lnTo>
                <a:lnTo>
                  <a:pt x="109" y="391"/>
                </a:lnTo>
                <a:lnTo>
                  <a:pt x="112" y="388"/>
                </a:lnTo>
                <a:lnTo>
                  <a:pt x="109" y="388"/>
                </a:lnTo>
                <a:lnTo>
                  <a:pt x="106" y="385"/>
                </a:lnTo>
                <a:lnTo>
                  <a:pt x="106" y="379"/>
                </a:lnTo>
                <a:lnTo>
                  <a:pt x="103" y="379"/>
                </a:lnTo>
                <a:lnTo>
                  <a:pt x="100" y="379"/>
                </a:lnTo>
                <a:lnTo>
                  <a:pt x="100" y="376"/>
                </a:lnTo>
                <a:lnTo>
                  <a:pt x="100" y="376"/>
                </a:lnTo>
                <a:lnTo>
                  <a:pt x="96" y="373"/>
                </a:lnTo>
                <a:lnTo>
                  <a:pt x="96" y="370"/>
                </a:lnTo>
                <a:lnTo>
                  <a:pt x="93" y="373"/>
                </a:lnTo>
                <a:lnTo>
                  <a:pt x="93" y="373"/>
                </a:lnTo>
                <a:lnTo>
                  <a:pt x="90" y="373"/>
                </a:lnTo>
                <a:lnTo>
                  <a:pt x="90" y="373"/>
                </a:lnTo>
                <a:lnTo>
                  <a:pt x="84" y="373"/>
                </a:lnTo>
                <a:lnTo>
                  <a:pt x="84" y="37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4" name="Freeform 162">
            <a:extLst>
              <a:ext uri="{FF2B5EF4-FFF2-40B4-BE49-F238E27FC236}">
                <a16:creationId xmlns:a16="http://schemas.microsoft.com/office/drawing/2014/main" id="{DA44F5AE-0928-64B0-2BF3-761BCB412123}"/>
              </a:ext>
            </a:extLst>
          </p:cNvPr>
          <p:cNvSpPr>
            <a:spLocks noEditPoints="1"/>
          </p:cNvSpPr>
          <p:nvPr userDrawn="1"/>
        </p:nvSpPr>
        <p:spPr bwMode="auto">
          <a:xfrm>
            <a:off x="11908648" y="4380783"/>
            <a:ext cx="555590" cy="346078"/>
          </a:xfrm>
          <a:custGeom>
            <a:avLst/>
            <a:gdLst>
              <a:gd name="T0" fmla="*/ 66 w 175"/>
              <a:gd name="T1" fmla="*/ 106 h 109"/>
              <a:gd name="T2" fmla="*/ 56 w 175"/>
              <a:gd name="T3" fmla="*/ 94 h 109"/>
              <a:gd name="T4" fmla="*/ 78 w 175"/>
              <a:gd name="T5" fmla="*/ 103 h 109"/>
              <a:gd name="T6" fmla="*/ 94 w 175"/>
              <a:gd name="T7" fmla="*/ 97 h 109"/>
              <a:gd name="T8" fmla="*/ 109 w 175"/>
              <a:gd name="T9" fmla="*/ 91 h 109"/>
              <a:gd name="T10" fmla="*/ 116 w 175"/>
              <a:gd name="T11" fmla="*/ 88 h 109"/>
              <a:gd name="T12" fmla="*/ 125 w 175"/>
              <a:gd name="T13" fmla="*/ 91 h 109"/>
              <a:gd name="T14" fmla="*/ 147 w 175"/>
              <a:gd name="T15" fmla="*/ 72 h 109"/>
              <a:gd name="T16" fmla="*/ 159 w 175"/>
              <a:gd name="T17" fmla="*/ 72 h 109"/>
              <a:gd name="T18" fmla="*/ 159 w 175"/>
              <a:gd name="T19" fmla="*/ 59 h 109"/>
              <a:gd name="T20" fmla="*/ 169 w 175"/>
              <a:gd name="T21" fmla="*/ 59 h 109"/>
              <a:gd name="T22" fmla="*/ 166 w 175"/>
              <a:gd name="T23" fmla="*/ 41 h 109"/>
              <a:gd name="T24" fmla="*/ 163 w 175"/>
              <a:gd name="T25" fmla="*/ 34 h 109"/>
              <a:gd name="T26" fmla="*/ 156 w 175"/>
              <a:gd name="T27" fmla="*/ 28 h 109"/>
              <a:gd name="T28" fmla="*/ 159 w 175"/>
              <a:gd name="T29" fmla="*/ 16 h 109"/>
              <a:gd name="T30" fmla="*/ 156 w 175"/>
              <a:gd name="T31" fmla="*/ 9 h 109"/>
              <a:gd name="T32" fmla="*/ 147 w 175"/>
              <a:gd name="T33" fmla="*/ 9 h 109"/>
              <a:gd name="T34" fmla="*/ 141 w 175"/>
              <a:gd name="T35" fmla="*/ 6 h 109"/>
              <a:gd name="T36" fmla="*/ 131 w 175"/>
              <a:gd name="T37" fmla="*/ 6 h 109"/>
              <a:gd name="T38" fmla="*/ 122 w 175"/>
              <a:gd name="T39" fmla="*/ 12 h 109"/>
              <a:gd name="T40" fmla="*/ 109 w 175"/>
              <a:gd name="T41" fmla="*/ 12 h 109"/>
              <a:gd name="T42" fmla="*/ 103 w 175"/>
              <a:gd name="T43" fmla="*/ 25 h 109"/>
              <a:gd name="T44" fmla="*/ 97 w 175"/>
              <a:gd name="T45" fmla="*/ 16 h 109"/>
              <a:gd name="T46" fmla="*/ 84 w 175"/>
              <a:gd name="T47" fmla="*/ 22 h 109"/>
              <a:gd name="T48" fmla="*/ 75 w 175"/>
              <a:gd name="T49" fmla="*/ 12 h 109"/>
              <a:gd name="T50" fmla="*/ 69 w 175"/>
              <a:gd name="T51" fmla="*/ 31 h 109"/>
              <a:gd name="T52" fmla="*/ 59 w 175"/>
              <a:gd name="T53" fmla="*/ 37 h 109"/>
              <a:gd name="T54" fmla="*/ 50 w 175"/>
              <a:gd name="T55" fmla="*/ 34 h 109"/>
              <a:gd name="T56" fmla="*/ 50 w 175"/>
              <a:gd name="T57" fmla="*/ 22 h 109"/>
              <a:gd name="T58" fmla="*/ 53 w 175"/>
              <a:gd name="T59" fmla="*/ 12 h 109"/>
              <a:gd name="T60" fmla="*/ 41 w 175"/>
              <a:gd name="T61" fmla="*/ 3 h 109"/>
              <a:gd name="T62" fmla="*/ 25 w 175"/>
              <a:gd name="T63" fmla="*/ 0 h 109"/>
              <a:gd name="T64" fmla="*/ 34 w 175"/>
              <a:gd name="T65" fmla="*/ 3 h 109"/>
              <a:gd name="T66" fmla="*/ 31 w 175"/>
              <a:gd name="T67" fmla="*/ 6 h 109"/>
              <a:gd name="T68" fmla="*/ 38 w 175"/>
              <a:gd name="T69" fmla="*/ 16 h 109"/>
              <a:gd name="T70" fmla="*/ 25 w 175"/>
              <a:gd name="T71" fmla="*/ 9 h 109"/>
              <a:gd name="T72" fmla="*/ 19 w 175"/>
              <a:gd name="T73" fmla="*/ 9 h 109"/>
              <a:gd name="T74" fmla="*/ 19 w 175"/>
              <a:gd name="T75" fmla="*/ 19 h 109"/>
              <a:gd name="T76" fmla="*/ 19 w 175"/>
              <a:gd name="T77" fmla="*/ 22 h 109"/>
              <a:gd name="T78" fmla="*/ 9 w 175"/>
              <a:gd name="T79" fmla="*/ 22 h 109"/>
              <a:gd name="T80" fmla="*/ 6 w 175"/>
              <a:gd name="T81" fmla="*/ 25 h 109"/>
              <a:gd name="T82" fmla="*/ 13 w 175"/>
              <a:gd name="T83" fmla="*/ 34 h 109"/>
              <a:gd name="T84" fmla="*/ 22 w 175"/>
              <a:gd name="T85" fmla="*/ 31 h 109"/>
              <a:gd name="T86" fmla="*/ 34 w 175"/>
              <a:gd name="T87" fmla="*/ 31 h 109"/>
              <a:gd name="T88" fmla="*/ 41 w 175"/>
              <a:gd name="T89" fmla="*/ 31 h 109"/>
              <a:gd name="T90" fmla="*/ 44 w 175"/>
              <a:gd name="T91" fmla="*/ 37 h 109"/>
              <a:gd name="T92" fmla="*/ 31 w 175"/>
              <a:gd name="T93" fmla="*/ 44 h 109"/>
              <a:gd name="T94" fmla="*/ 44 w 175"/>
              <a:gd name="T95" fmla="*/ 44 h 109"/>
              <a:gd name="T96" fmla="*/ 28 w 175"/>
              <a:gd name="T97" fmla="*/ 47 h 109"/>
              <a:gd name="T98" fmla="*/ 25 w 175"/>
              <a:gd name="T99" fmla="*/ 47 h 109"/>
              <a:gd name="T100" fmla="*/ 9 w 175"/>
              <a:gd name="T101" fmla="*/ 47 h 109"/>
              <a:gd name="T102" fmla="*/ 13 w 175"/>
              <a:gd name="T103" fmla="*/ 56 h 109"/>
              <a:gd name="T104" fmla="*/ 31 w 175"/>
              <a:gd name="T105" fmla="*/ 59 h 109"/>
              <a:gd name="T106" fmla="*/ 34 w 175"/>
              <a:gd name="T107" fmla="*/ 69 h 109"/>
              <a:gd name="T108" fmla="*/ 38 w 175"/>
              <a:gd name="T109" fmla="*/ 75 h 109"/>
              <a:gd name="T110" fmla="*/ 41 w 175"/>
              <a:gd name="T111" fmla="*/ 72 h 109"/>
              <a:gd name="T112" fmla="*/ 31 w 175"/>
              <a:gd name="T113" fmla="*/ 81 h 109"/>
              <a:gd name="T114" fmla="*/ 22 w 175"/>
              <a:gd name="T115" fmla="*/ 78 h 109"/>
              <a:gd name="T116" fmla="*/ 28 w 175"/>
              <a:gd name="T117" fmla="*/ 91 h 109"/>
              <a:gd name="T118" fmla="*/ 47 w 175"/>
              <a:gd name="T119" fmla="*/ 9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5" h="109">
                <a:moveTo>
                  <a:pt x="63" y="109"/>
                </a:moveTo>
                <a:lnTo>
                  <a:pt x="59" y="106"/>
                </a:lnTo>
                <a:lnTo>
                  <a:pt x="63" y="103"/>
                </a:lnTo>
                <a:lnTo>
                  <a:pt x="63" y="103"/>
                </a:lnTo>
                <a:lnTo>
                  <a:pt x="66" y="106"/>
                </a:lnTo>
                <a:lnTo>
                  <a:pt x="63" y="109"/>
                </a:lnTo>
                <a:lnTo>
                  <a:pt x="63" y="109"/>
                </a:lnTo>
                <a:close/>
                <a:moveTo>
                  <a:pt x="53" y="91"/>
                </a:moveTo>
                <a:lnTo>
                  <a:pt x="56" y="91"/>
                </a:lnTo>
                <a:lnTo>
                  <a:pt x="56" y="94"/>
                </a:lnTo>
                <a:lnTo>
                  <a:pt x="63" y="100"/>
                </a:lnTo>
                <a:lnTo>
                  <a:pt x="66" y="100"/>
                </a:lnTo>
                <a:lnTo>
                  <a:pt x="69" y="97"/>
                </a:lnTo>
                <a:lnTo>
                  <a:pt x="72" y="97"/>
                </a:lnTo>
                <a:lnTo>
                  <a:pt x="78" y="103"/>
                </a:lnTo>
                <a:lnTo>
                  <a:pt x="84" y="103"/>
                </a:lnTo>
                <a:lnTo>
                  <a:pt x="88" y="106"/>
                </a:lnTo>
                <a:lnTo>
                  <a:pt x="94" y="103"/>
                </a:lnTo>
                <a:lnTo>
                  <a:pt x="94" y="100"/>
                </a:lnTo>
                <a:lnTo>
                  <a:pt x="94" y="97"/>
                </a:lnTo>
                <a:lnTo>
                  <a:pt x="97" y="100"/>
                </a:lnTo>
                <a:lnTo>
                  <a:pt x="100" y="100"/>
                </a:lnTo>
                <a:lnTo>
                  <a:pt x="103" y="97"/>
                </a:lnTo>
                <a:lnTo>
                  <a:pt x="103" y="94"/>
                </a:lnTo>
                <a:lnTo>
                  <a:pt x="109" y="91"/>
                </a:lnTo>
                <a:lnTo>
                  <a:pt x="106" y="94"/>
                </a:lnTo>
                <a:lnTo>
                  <a:pt x="109" y="97"/>
                </a:lnTo>
                <a:lnTo>
                  <a:pt x="109" y="94"/>
                </a:lnTo>
                <a:lnTo>
                  <a:pt x="113" y="94"/>
                </a:lnTo>
                <a:lnTo>
                  <a:pt x="116" y="88"/>
                </a:lnTo>
                <a:lnTo>
                  <a:pt x="119" y="91"/>
                </a:lnTo>
                <a:lnTo>
                  <a:pt x="119" y="91"/>
                </a:lnTo>
                <a:lnTo>
                  <a:pt x="125" y="91"/>
                </a:lnTo>
                <a:lnTo>
                  <a:pt x="125" y="91"/>
                </a:lnTo>
                <a:lnTo>
                  <a:pt x="125" y="91"/>
                </a:lnTo>
                <a:lnTo>
                  <a:pt x="134" y="81"/>
                </a:lnTo>
                <a:lnTo>
                  <a:pt x="138" y="78"/>
                </a:lnTo>
                <a:lnTo>
                  <a:pt x="147" y="75"/>
                </a:lnTo>
                <a:lnTo>
                  <a:pt x="147" y="75"/>
                </a:lnTo>
                <a:lnTo>
                  <a:pt x="147" y="72"/>
                </a:lnTo>
                <a:lnTo>
                  <a:pt x="147" y="69"/>
                </a:lnTo>
                <a:lnTo>
                  <a:pt x="150" y="69"/>
                </a:lnTo>
                <a:lnTo>
                  <a:pt x="150" y="72"/>
                </a:lnTo>
                <a:lnTo>
                  <a:pt x="156" y="75"/>
                </a:lnTo>
                <a:lnTo>
                  <a:pt x="159" y="72"/>
                </a:lnTo>
                <a:lnTo>
                  <a:pt x="159" y="69"/>
                </a:lnTo>
                <a:lnTo>
                  <a:pt x="156" y="69"/>
                </a:lnTo>
                <a:lnTo>
                  <a:pt x="159" y="66"/>
                </a:lnTo>
                <a:lnTo>
                  <a:pt x="159" y="66"/>
                </a:lnTo>
                <a:lnTo>
                  <a:pt x="159" y="59"/>
                </a:lnTo>
                <a:lnTo>
                  <a:pt x="159" y="56"/>
                </a:lnTo>
                <a:lnTo>
                  <a:pt x="163" y="59"/>
                </a:lnTo>
                <a:lnTo>
                  <a:pt x="163" y="62"/>
                </a:lnTo>
                <a:lnTo>
                  <a:pt x="166" y="62"/>
                </a:lnTo>
                <a:lnTo>
                  <a:pt x="169" y="59"/>
                </a:lnTo>
                <a:lnTo>
                  <a:pt x="169" y="56"/>
                </a:lnTo>
                <a:lnTo>
                  <a:pt x="166" y="50"/>
                </a:lnTo>
                <a:lnTo>
                  <a:pt x="166" y="47"/>
                </a:lnTo>
                <a:lnTo>
                  <a:pt x="166" y="47"/>
                </a:lnTo>
                <a:lnTo>
                  <a:pt x="166" y="41"/>
                </a:lnTo>
                <a:lnTo>
                  <a:pt x="169" y="41"/>
                </a:lnTo>
                <a:lnTo>
                  <a:pt x="172" y="41"/>
                </a:lnTo>
                <a:lnTo>
                  <a:pt x="175" y="37"/>
                </a:lnTo>
                <a:lnTo>
                  <a:pt x="172" y="34"/>
                </a:lnTo>
                <a:lnTo>
                  <a:pt x="163" y="34"/>
                </a:lnTo>
                <a:lnTo>
                  <a:pt x="163" y="34"/>
                </a:lnTo>
                <a:lnTo>
                  <a:pt x="163" y="31"/>
                </a:lnTo>
                <a:lnTo>
                  <a:pt x="163" y="28"/>
                </a:lnTo>
                <a:lnTo>
                  <a:pt x="159" y="28"/>
                </a:lnTo>
                <a:lnTo>
                  <a:pt x="156" y="28"/>
                </a:lnTo>
                <a:lnTo>
                  <a:pt x="156" y="25"/>
                </a:lnTo>
                <a:lnTo>
                  <a:pt x="159" y="22"/>
                </a:lnTo>
                <a:lnTo>
                  <a:pt x="163" y="22"/>
                </a:lnTo>
                <a:lnTo>
                  <a:pt x="159" y="16"/>
                </a:lnTo>
                <a:lnTo>
                  <a:pt x="159" y="16"/>
                </a:lnTo>
                <a:lnTo>
                  <a:pt x="156" y="19"/>
                </a:lnTo>
                <a:lnTo>
                  <a:pt x="153" y="16"/>
                </a:lnTo>
                <a:lnTo>
                  <a:pt x="150" y="12"/>
                </a:lnTo>
                <a:lnTo>
                  <a:pt x="156" y="12"/>
                </a:lnTo>
                <a:lnTo>
                  <a:pt x="156" y="9"/>
                </a:lnTo>
                <a:lnTo>
                  <a:pt x="156" y="6"/>
                </a:lnTo>
                <a:lnTo>
                  <a:pt x="159" y="6"/>
                </a:lnTo>
                <a:lnTo>
                  <a:pt x="156" y="3"/>
                </a:lnTo>
                <a:lnTo>
                  <a:pt x="153" y="3"/>
                </a:lnTo>
                <a:lnTo>
                  <a:pt x="147" y="9"/>
                </a:lnTo>
                <a:lnTo>
                  <a:pt x="147" y="12"/>
                </a:lnTo>
                <a:lnTo>
                  <a:pt x="144" y="16"/>
                </a:lnTo>
                <a:lnTo>
                  <a:pt x="141" y="9"/>
                </a:lnTo>
                <a:lnTo>
                  <a:pt x="144" y="9"/>
                </a:lnTo>
                <a:lnTo>
                  <a:pt x="141" y="6"/>
                </a:lnTo>
                <a:lnTo>
                  <a:pt x="141" y="3"/>
                </a:lnTo>
                <a:lnTo>
                  <a:pt x="138" y="0"/>
                </a:lnTo>
                <a:lnTo>
                  <a:pt x="134" y="3"/>
                </a:lnTo>
                <a:lnTo>
                  <a:pt x="131" y="3"/>
                </a:lnTo>
                <a:lnTo>
                  <a:pt x="131" y="6"/>
                </a:lnTo>
                <a:lnTo>
                  <a:pt x="131" y="9"/>
                </a:lnTo>
                <a:lnTo>
                  <a:pt x="131" y="12"/>
                </a:lnTo>
                <a:lnTo>
                  <a:pt x="125" y="12"/>
                </a:lnTo>
                <a:lnTo>
                  <a:pt x="122" y="16"/>
                </a:lnTo>
                <a:lnTo>
                  <a:pt x="122" y="12"/>
                </a:lnTo>
                <a:lnTo>
                  <a:pt x="119" y="9"/>
                </a:lnTo>
                <a:lnTo>
                  <a:pt x="119" y="12"/>
                </a:lnTo>
                <a:lnTo>
                  <a:pt x="116" y="19"/>
                </a:lnTo>
                <a:lnTo>
                  <a:pt x="113" y="19"/>
                </a:lnTo>
                <a:lnTo>
                  <a:pt x="109" y="12"/>
                </a:lnTo>
                <a:lnTo>
                  <a:pt x="106" y="12"/>
                </a:lnTo>
                <a:lnTo>
                  <a:pt x="103" y="12"/>
                </a:lnTo>
                <a:lnTo>
                  <a:pt x="100" y="12"/>
                </a:lnTo>
                <a:lnTo>
                  <a:pt x="100" y="19"/>
                </a:lnTo>
                <a:lnTo>
                  <a:pt x="103" y="25"/>
                </a:lnTo>
                <a:lnTo>
                  <a:pt x="100" y="34"/>
                </a:lnTo>
                <a:lnTo>
                  <a:pt x="100" y="25"/>
                </a:lnTo>
                <a:lnTo>
                  <a:pt x="97" y="22"/>
                </a:lnTo>
                <a:lnTo>
                  <a:pt x="97" y="19"/>
                </a:lnTo>
                <a:lnTo>
                  <a:pt x="97" y="16"/>
                </a:lnTo>
                <a:lnTo>
                  <a:pt x="97" y="12"/>
                </a:lnTo>
                <a:lnTo>
                  <a:pt x="91" y="9"/>
                </a:lnTo>
                <a:lnTo>
                  <a:pt x="84" y="16"/>
                </a:lnTo>
                <a:lnTo>
                  <a:pt x="84" y="19"/>
                </a:lnTo>
                <a:lnTo>
                  <a:pt x="84" y="22"/>
                </a:lnTo>
                <a:lnTo>
                  <a:pt x="81" y="28"/>
                </a:lnTo>
                <a:lnTo>
                  <a:pt x="78" y="28"/>
                </a:lnTo>
                <a:lnTo>
                  <a:pt x="78" y="22"/>
                </a:lnTo>
                <a:lnTo>
                  <a:pt x="75" y="19"/>
                </a:lnTo>
                <a:lnTo>
                  <a:pt x="75" y="12"/>
                </a:lnTo>
                <a:lnTo>
                  <a:pt x="72" y="9"/>
                </a:lnTo>
                <a:lnTo>
                  <a:pt x="66" y="12"/>
                </a:lnTo>
                <a:lnTo>
                  <a:pt x="69" y="22"/>
                </a:lnTo>
                <a:lnTo>
                  <a:pt x="69" y="25"/>
                </a:lnTo>
                <a:lnTo>
                  <a:pt x="69" y="31"/>
                </a:lnTo>
                <a:lnTo>
                  <a:pt x="66" y="34"/>
                </a:lnTo>
                <a:lnTo>
                  <a:pt x="63" y="34"/>
                </a:lnTo>
                <a:lnTo>
                  <a:pt x="63" y="31"/>
                </a:lnTo>
                <a:lnTo>
                  <a:pt x="59" y="31"/>
                </a:lnTo>
                <a:lnTo>
                  <a:pt x="59" y="37"/>
                </a:lnTo>
                <a:lnTo>
                  <a:pt x="56" y="37"/>
                </a:lnTo>
                <a:lnTo>
                  <a:pt x="56" y="44"/>
                </a:lnTo>
                <a:lnTo>
                  <a:pt x="53" y="37"/>
                </a:lnTo>
                <a:lnTo>
                  <a:pt x="50" y="37"/>
                </a:lnTo>
                <a:lnTo>
                  <a:pt x="50" y="34"/>
                </a:lnTo>
                <a:lnTo>
                  <a:pt x="53" y="31"/>
                </a:lnTo>
                <a:lnTo>
                  <a:pt x="53" y="28"/>
                </a:lnTo>
                <a:lnTo>
                  <a:pt x="50" y="28"/>
                </a:lnTo>
                <a:lnTo>
                  <a:pt x="50" y="25"/>
                </a:lnTo>
                <a:lnTo>
                  <a:pt x="50" y="22"/>
                </a:lnTo>
                <a:lnTo>
                  <a:pt x="50" y="25"/>
                </a:lnTo>
                <a:lnTo>
                  <a:pt x="53" y="22"/>
                </a:lnTo>
                <a:lnTo>
                  <a:pt x="53" y="19"/>
                </a:lnTo>
                <a:lnTo>
                  <a:pt x="50" y="16"/>
                </a:lnTo>
                <a:lnTo>
                  <a:pt x="53" y="12"/>
                </a:lnTo>
                <a:lnTo>
                  <a:pt x="50" y="9"/>
                </a:lnTo>
                <a:lnTo>
                  <a:pt x="47" y="12"/>
                </a:lnTo>
                <a:lnTo>
                  <a:pt x="47" y="9"/>
                </a:lnTo>
                <a:lnTo>
                  <a:pt x="41" y="6"/>
                </a:lnTo>
                <a:lnTo>
                  <a:pt x="41" y="3"/>
                </a:lnTo>
                <a:lnTo>
                  <a:pt x="41" y="0"/>
                </a:lnTo>
                <a:lnTo>
                  <a:pt x="34" y="0"/>
                </a:lnTo>
                <a:lnTo>
                  <a:pt x="31" y="0"/>
                </a:lnTo>
                <a:lnTo>
                  <a:pt x="25" y="0"/>
                </a:lnTo>
                <a:lnTo>
                  <a:pt x="25" y="0"/>
                </a:lnTo>
                <a:lnTo>
                  <a:pt x="28" y="3"/>
                </a:lnTo>
                <a:lnTo>
                  <a:pt x="28" y="3"/>
                </a:lnTo>
                <a:lnTo>
                  <a:pt x="31" y="3"/>
                </a:lnTo>
                <a:lnTo>
                  <a:pt x="31" y="3"/>
                </a:lnTo>
                <a:lnTo>
                  <a:pt x="34" y="3"/>
                </a:lnTo>
                <a:lnTo>
                  <a:pt x="38" y="3"/>
                </a:lnTo>
                <a:lnTo>
                  <a:pt x="38" y="6"/>
                </a:lnTo>
                <a:lnTo>
                  <a:pt x="34" y="6"/>
                </a:lnTo>
                <a:lnTo>
                  <a:pt x="28" y="6"/>
                </a:lnTo>
                <a:lnTo>
                  <a:pt x="31" y="6"/>
                </a:lnTo>
                <a:lnTo>
                  <a:pt x="34" y="9"/>
                </a:lnTo>
                <a:lnTo>
                  <a:pt x="38" y="16"/>
                </a:lnTo>
                <a:lnTo>
                  <a:pt x="38" y="19"/>
                </a:lnTo>
                <a:lnTo>
                  <a:pt x="38" y="19"/>
                </a:lnTo>
                <a:lnTo>
                  <a:pt x="38" y="16"/>
                </a:lnTo>
                <a:lnTo>
                  <a:pt x="31" y="12"/>
                </a:lnTo>
                <a:lnTo>
                  <a:pt x="28" y="16"/>
                </a:lnTo>
                <a:lnTo>
                  <a:pt x="28" y="16"/>
                </a:lnTo>
                <a:lnTo>
                  <a:pt x="28" y="12"/>
                </a:lnTo>
                <a:lnTo>
                  <a:pt x="25" y="9"/>
                </a:lnTo>
                <a:lnTo>
                  <a:pt x="22" y="6"/>
                </a:lnTo>
                <a:lnTo>
                  <a:pt x="19" y="9"/>
                </a:lnTo>
                <a:lnTo>
                  <a:pt x="22" y="12"/>
                </a:lnTo>
                <a:lnTo>
                  <a:pt x="22" y="12"/>
                </a:lnTo>
                <a:lnTo>
                  <a:pt x="19" y="9"/>
                </a:lnTo>
                <a:lnTo>
                  <a:pt x="16" y="9"/>
                </a:lnTo>
                <a:lnTo>
                  <a:pt x="16" y="12"/>
                </a:lnTo>
                <a:lnTo>
                  <a:pt x="16" y="16"/>
                </a:lnTo>
                <a:lnTo>
                  <a:pt x="19" y="16"/>
                </a:lnTo>
                <a:lnTo>
                  <a:pt x="19" y="19"/>
                </a:lnTo>
                <a:lnTo>
                  <a:pt x="16" y="16"/>
                </a:lnTo>
                <a:lnTo>
                  <a:pt x="13" y="19"/>
                </a:lnTo>
                <a:lnTo>
                  <a:pt x="16" y="22"/>
                </a:lnTo>
                <a:lnTo>
                  <a:pt x="19" y="22"/>
                </a:lnTo>
                <a:lnTo>
                  <a:pt x="19" y="22"/>
                </a:lnTo>
                <a:lnTo>
                  <a:pt x="16" y="25"/>
                </a:lnTo>
                <a:lnTo>
                  <a:pt x="19" y="25"/>
                </a:lnTo>
                <a:lnTo>
                  <a:pt x="16" y="25"/>
                </a:lnTo>
                <a:lnTo>
                  <a:pt x="9" y="22"/>
                </a:lnTo>
                <a:lnTo>
                  <a:pt x="9" y="22"/>
                </a:lnTo>
                <a:lnTo>
                  <a:pt x="6" y="22"/>
                </a:lnTo>
                <a:lnTo>
                  <a:pt x="9" y="28"/>
                </a:lnTo>
                <a:lnTo>
                  <a:pt x="13" y="31"/>
                </a:lnTo>
                <a:lnTo>
                  <a:pt x="9" y="31"/>
                </a:lnTo>
                <a:lnTo>
                  <a:pt x="6" y="25"/>
                </a:lnTo>
                <a:lnTo>
                  <a:pt x="3" y="25"/>
                </a:lnTo>
                <a:lnTo>
                  <a:pt x="0" y="28"/>
                </a:lnTo>
                <a:lnTo>
                  <a:pt x="6" y="31"/>
                </a:lnTo>
                <a:lnTo>
                  <a:pt x="9" y="34"/>
                </a:lnTo>
                <a:lnTo>
                  <a:pt x="13" y="34"/>
                </a:lnTo>
                <a:lnTo>
                  <a:pt x="16" y="31"/>
                </a:lnTo>
                <a:lnTo>
                  <a:pt x="19" y="31"/>
                </a:lnTo>
                <a:lnTo>
                  <a:pt x="22" y="28"/>
                </a:lnTo>
                <a:lnTo>
                  <a:pt x="22" y="28"/>
                </a:lnTo>
                <a:lnTo>
                  <a:pt x="22" y="31"/>
                </a:lnTo>
                <a:lnTo>
                  <a:pt x="25" y="31"/>
                </a:lnTo>
                <a:lnTo>
                  <a:pt x="28" y="28"/>
                </a:lnTo>
                <a:lnTo>
                  <a:pt x="28" y="31"/>
                </a:lnTo>
                <a:lnTo>
                  <a:pt x="31" y="31"/>
                </a:lnTo>
                <a:lnTo>
                  <a:pt x="34" y="31"/>
                </a:lnTo>
                <a:lnTo>
                  <a:pt x="34" y="28"/>
                </a:lnTo>
                <a:lnTo>
                  <a:pt x="34" y="31"/>
                </a:lnTo>
                <a:lnTo>
                  <a:pt x="34" y="31"/>
                </a:lnTo>
                <a:lnTo>
                  <a:pt x="41" y="28"/>
                </a:lnTo>
                <a:lnTo>
                  <a:pt x="41" y="31"/>
                </a:lnTo>
                <a:lnTo>
                  <a:pt x="38" y="34"/>
                </a:lnTo>
                <a:lnTo>
                  <a:pt x="41" y="34"/>
                </a:lnTo>
                <a:lnTo>
                  <a:pt x="44" y="34"/>
                </a:lnTo>
                <a:lnTo>
                  <a:pt x="47" y="34"/>
                </a:lnTo>
                <a:lnTo>
                  <a:pt x="44" y="37"/>
                </a:lnTo>
                <a:lnTo>
                  <a:pt x="41" y="37"/>
                </a:lnTo>
                <a:lnTo>
                  <a:pt x="41" y="37"/>
                </a:lnTo>
                <a:lnTo>
                  <a:pt x="38" y="37"/>
                </a:lnTo>
                <a:lnTo>
                  <a:pt x="31" y="41"/>
                </a:lnTo>
                <a:lnTo>
                  <a:pt x="31" y="44"/>
                </a:lnTo>
                <a:lnTo>
                  <a:pt x="38" y="44"/>
                </a:lnTo>
                <a:lnTo>
                  <a:pt x="41" y="44"/>
                </a:lnTo>
                <a:lnTo>
                  <a:pt x="44" y="41"/>
                </a:lnTo>
                <a:lnTo>
                  <a:pt x="44" y="41"/>
                </a:lnTo>
                <a:lnTo>
                  <a:pt x="44" y="44"/>
                </a:lnTo>
                <a:lnTo>
                  <a:pt x="41" y="47"/>
                </a:lnTo>
                <a:lnTo>
                  <a:pt x="34" y="47"/>
                </a:lnTo>
                <a:lnTo>
                  <a:pt x="34" y="47"/>
                </a:lnTo>
                <a:lnTo>
                  <a:pt x="31" y="50"/>
                </a:lnTo>
                <a:lnTo>
                  <a:pt x="28" y="47"/>
                </a:lnTo>
                <a:lnTo>
                  <a:pt x="28" y="47"/>
                </a:lnTo>
                <a:lnTo>
                  <a:pt x="28" y="44"/>
                </a:lnTo>
                <a:lnTo>
                  <a:pt x="25" y="44"/>
                </a:lnTo>
                <a:lnTo>
                  <a:pt x="25" y="44"/>
                </a:lnTo>
                <a:lnTo>
                  <a:pt x="25" y="47"/>
                </a:lnTo>
                <a:lnTo>
                  <a:pt x="22" y="50"/>
                </a:lnTo>
                <a:lnTo>
                  <a:pt x="19" y="47"/>
                </a:lnTo>
                <a:lnTo>
                  <a:pt x="16" y="47"/>
                </a:lnTo>
                <a:lnTo>
                  <a:pt x="13" y="50"/>
                </a:lnTo>
                <a:lnTo>
                  <a:pt x="9" y="47"/>
                </a:lnTo>
                <a:lnTo>
                  <a:pt x="6" y="50"/>
                </a:lnTo>
                <a:lnTo>
                  <a:pt x="6" y="50"/>
                </a:lnTo>
                <a:lnTo>
                  <a:pt x="6" y="53"/>
                </a:lnTo>
                <a:lnTo>
                  <a:pt x="9" y="56"/>
                </a:lnTo>
                <a:lnTo>
                  <a:pt x="13" y="56"/>
                </a:lnTo>
                <a:lnTo>
                  <a:pt x="13" y="56"/>
                </a:lnTo>
                <a:lnTo>
                  <a:pt x="19" y="56"/>
                </a:lnTo>
                <a:lnTo>
                  <a:pt x="28" y="56"/>
                </a:lnTo>
                <a:lnTo>
                  <a:pt x="31" y="56"/>
                </a:lnTo>
                <a:lnTo>
                  <a:pt x="31" y="59"/>
                </a:lnTo>
                <a:lnTo>
                  <a:pt x="28" y="59"/>
                </a:lnTo>
                <a:lnTo>
                  <a:pt x="28" y="62"/>
                </a:lnTo>
                <a:lnTo>
                  <a:pt x="31" y="66"/>
                </a:lnTo>
                <a:lnTo>
                  <a:pt x="34" y="69"/>
                </a:lnTo>
                <a:lnTo>
                  <a:pt x="34" y="69"/>
                </a:lnTo>
                <a:lnTo>
                  <a:pt x="41" y="62"/>
                </a:lnTo>
                <a:lnTo>
                  <a:pt x="41" y="66"/>
                </a:lnTo>
                <a:lnTo>
                  <a:pt x="38" y="69"/>
                </a:lnTo>
                <a:lnTo>
                  <a:pt x="34" y="72"/>
                </a:lnTo>
                <a:lnTo>
                  <a:pt x="38" y="75"/>
                </a:lnTo>
                <a:lnTo>
                  <a:pt x="44" y="69"/>
                </a:lnTo>
                <a:lnTo>
                  <a:pt x="47" y="72"/>
                </a:lnTo>
                <a:lnTo>
                  <a:pt x="47" y="72"/>
                </a:lnTo>
                <a:lnTo>
                  <a:pt x="44" y="72"/>
                </a:lnTo>
                <a:lnTo>
                  <a:pt x="41" y="72"/>
                </a:lnTo>
                <a:lnTo>
                  <a:pt x="38" y="75"/>
                </a:lnTo>
                <a:lnTo>
                  <a:pt x="34" y="75"/>
                </a:lnTo>
                <a:lnTo>
                  <a:pt x="34" y="78"/>
                </a:lnTo>
                <a:lnTo>
                  <a:pt x="34" y="81"/>
                </a:lnTo>
                <a:lnTo>
                  <a:pt x="31" y="81"/>
                </a:lnTo>
                <a:lnTo>
                  <a:pt x="28" y="81"/>
                </a:lnTo>
                <a:lnTo>
                  <a:pt x="28" y="78"/>
                </a:lnTo>
                <a:lnTo>
                  <a:pt x="25" y="78"/>
                </a:lnTo>
                <a:lnTo>
                  <a:pt x="25" y="78"/>
                </a:lnTo>
                <a:lnTo>
                  <a:pt x="22" y="78"/>
                </a:lnTo>
                <a:lnTo>
                  <a:pt x="22" y="84"/>
                </a:lnTo>
                <a:lnTo>
                  <a:pt x="25" y="84"/>
                </a:lnTo>
                <a:lnTo>
                  <a:pt x="25" y="84"/>
                </a:lnTo>
                <a:lnTo>
                  <a:pt x="22" y="91"/>
                </a:lnTo>
                <a:lnTo>
                  <a:pt x="28" y="91"/>
                </a:lnTo>
                <a:lnTo>
                  <a:pt x="28" y="91"/>
                </a:lnTo>
                <a:lnTo>
                  <a:pt x="31" y="91"/>
                </a:lnTo>
                <a:lnTo>
                  <a:pt x="38" y="94"/>
                </a:lnTo>
                <a:lnTo>
                  <a:pt x="44" y="88"/>
                </a:lnTo>
                <a:lnTo>
                  <a:pt x="47" y="91"/>
                </a:lnTo>
                <a:lnTo>
                  <a:pt x="50" y="91"/>
                </a:lnTo>
                <a:lnTo>
                  <a:pt x="50" y="91"/>
                </a:lnTo>
                <a:lnTo>
                  <a:pt x="53" y="91"/>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5" name="Freeform 163">
            <a:extLst>
              <a:ext uri="{FF2B5EF4-FFF2-40B4-BE49-F238E27FC236}">
                <a16:creationId xmlns:a16="http://schemas.microsoft.com/office/drawing/2014/main" id="{F4961D79-4079-AD47-C138-3217006E9615}"/>
              </a:ext>
            </a:extLst>
          </p:cNvPr>
          <p:cNvSpPr>
            <a:spLocks noEditPoints="1"/>
          </p:cNvSpPr>
          <p:nvPr userDrawn="1"/>
        </p:nvSpPr>
        <p:spPr bwMode="auto">
          <a:xfrm>
            <a:off x="3295435" y="7885983"/>
            <a:ext cx="336528" cy="247650"/>
          </a:xfrm>
          <a:custGeom>
            <a:avLst/>
            <a:gdLst>
              <a:gd name="T0" fmla="*/ 3 w 106"/>
              <a:gd name="T1" fmla="*/ 10 h 78"/>
              <a:gd name="T2" fmla="*/ 6 w 106"/>
              <a:gd name="T3" fmla="*/ 6 h 78"/>
              <a:gd name="T4" fmla="*/ 3 w 106"/>
              <a:gd name="T5" fmla="*/ 3 h 78"/>
              <a:gd name="T6" fmla="*/ 0 w 106"/>
              <a:gd name="T7" fmla="*/ 6 h 78"/>
              <a:gd name="T8" fmla="*/ 3 w 106"/>
              <a:gd name="T9" fmla="*/ 10 h 78"/>
              <a:gd name="T10" fmla="*/ 3 w 106"/>
              <a:gd name="T11" fmla="*/ 10 h 78"/>
              <a:gd name="T12" fmla="*/ 22 w 106"/>
              <a:gd name="T13" fmla="*/ 6 h 78"/>
              <a:gd name="T14" fmla="*/ 22 w 106"/>
              <a:gd name="T15" fmla="*/ 0 h 78"/>
              <a:gd name="T16" fmla="*/ 22 w 106"/>
              <a:gd name="T17" fmla="*/ 0 h 78"/>
              <a:gd name="T18" fmla="*/ 19 w 106"/>
              <a:gd name="T19" fmla="*/ 0 h 78"/>
              <a:gd name="T20" fmla="*/ 16 w 106"/>
              <a:gd name="T21" fmla="*/ 3 h 78"/>
              <a:gd name="T22" fmla="*/ 19 w 106"/>
              <a:gd name="T23" fmla="*/ 6 h 78"/>
              <a:gd name="T24" fmla="*/ 22 w 106"/>
              <a:gd name="T25" fmla="*/ 6 h 78"/>
              <a:gd name="T26" fmla="*/ 22 w 106"/>
              <a:gd name="T27" fmla="*/ 6 h 78"/>
              <a:gd name="T28" fmla="*/ 53 w 106"/>
              <a:gd name="T29" fmla="*/ 19 h 78"/>
              <a:gd name="T30" fmla="*/ 50 w 106"/>
              <a:gd name="T31" fmla="*/ 16 h 78"/>
              <a:gd name="T32" fmla="*/ 47 w 106"/>
              <a:gd name="T33" fmla="*/ 13 h 78"/>
              <a:gd name="T34" fmla="*/ 44 w 106"/>
              <a:gd name="T35" fmla="*/ 13 h 78"/>
              <a:gd name="T36" fmla="*/ 44 w 106"/>
              <a:gd name="T37" fmla="*/ 16 h 78"/>
              <a:gd name="T38" fmla="*/ 47 w 106"/>
              <a:gd name="T39" fmla="*/ 22 h 78"/>
              <a:gd name="T40" fmla="*/ 53 w 106"/>
              <a:gd name="T41" fmla="*/ 22 h 78"/>
              <a:gd name="T42" fmla="*/ 53 w 106"/>
              <a:gd name="T43" fmla="*/ 19 h 78"/>
              <a:gd name="T44" fmla="*/ 53 w 106"/>
              <a:gd name="T45" fmla="*/ 19 h 78"/>
              <a:gd name="T46" fmla="*/ 69 w 106"/>
              <a:gd name="T47" fmla="*/ 25 h 78"/>
              <a:gd name="T48" fmla="*/ 66 w 106"/>
              <a:gd name="T49" fmla="*/ 25 h 78"/>
              <a:gd name="T50" fmla="*/ 66 w 106"/>
              <a:gd name="T51" fmla="*/ 25 h 78"/>
              <a:gd name="T52" fmla="*/ 62 w 106"/>
              <a:gd name="T53" fmla="*/ 25 h 78"/>
              <a:gd name="T54" fmla="*/ 66 w 106"/>
              <a:gd name="T55" fmla="*/ 25 h 78"/>
              <a:gd name="T56" fmla="*/ 72 w 106"/>
              <a:gd name="T57" fmla="*/ 22 h 78"/>
              <a:gd name="T58" fmla="*/ 69 w 106"/>
              <a:gd name="T59" fmla="*/ 25 h 78"/>
              <a:gd name="T60" fmla="*/ 69 w 106"/>
              <a:gd name="T61" fmla="*/ 25 h 78"/>
              <a:gd name="T62" fmla="*/ 78 w 106"/>
              <a:gd name="T63" fmla="*/ 35 h 78"/>
              <a:gd name="T64" fmla="*/ 75 w 106"/>
              <a:gd name="T65" fmla="*/ 31 h 78"/>
              <a:gd name="T66" fmla="*/ 72 w 106"/>
              <a:gd name="T67" fmla="*/ 31 h 78"/>
              <a:gd name="T68" fmla="*/ 72 w 106"/>
              <a:gd name="T69" fmla="*/ 28 h 78"/>
              <a:gd name="T70" fmla="*/ 72 w 106"/>
              <a:gd name="T71" fmla="*/ 28 h 78"/>
              <a:gd name="T72" fmla="*/ 75 w 106"/>
              <a:gd name="T73" fmla="*/ 28 h 78"/>
              <a:gd name="T74" fmla="*/ 81 w 106"/>
              <a:gd name="T75" fmla="*/ 31 h 78"/>
              <a:gd name="T76" fmla="*/ 84 w 106"/>
              <a:gd name="T77" fmla="*/ 35 h 78"/>
              <a:gd name="T78" fmla="*/ 81 w 106"/>
              <a:gd name="T79" fmla="*/ 35 h 78"/>
              <a:gd name="T80" fmla="*/ 78 w 106"/>
              <a:gd name="T81" fmla="*/ 35 h 78"/>
              <a:gd name="T82" fmla="*/ 78 w 106"/>
              <a:gd name="T83" fmla="*/ 35 h 78"/>
              <a:gd name="T84" fmla="*/ 84 w 106"/>
              <a:gd name="T85" fmla="*/ 60 h 78"/>
              <a:gd name="T86" fmla="*/ 84 w 106"/>
              <a:gd name="T87" fmla="*/ 66 h 78"/>
              <a:gd name="T88" fmla="*/ 84 w 106"/>
              <a:gd name="T89" fmla="*/ 75 h 78"/>
              <a:gd name="T90" fmla="*/ 91 w 106"/>
              <a:gd name="T91" fmla="*/ 78 h 78"/>
              <a:gd name="T92" fmla="*/ 97 w 106"/>
              <a:gd name="T93" fmla="*/ 69 h 78"/>
              <a:gd name="T94" fmla="*/ 103 w 106"/>
              <a:gd name="T95" fmla="*/ 66 h 78"/>
              <a:gd name="T96" fmla="*/ 106 w 106"/>
              <a:gd name="T97" fmla="*/ 63 h 78"/>
              <a:gd name="T98" fmla="*/ 103 w 106"/>
              <a:gd name="T99" fmla="*/ 60 h 78"/>
              <a:gd name="T100" fmla="*/ 100 w 106"/>
              <a:gd name="T101" fmla="*/ 60 h 78"/>
              <a:gd name="T102" fmla="*/ 103 w 106"/>
              <a:gd name="T103" fmla="*/ 57 h 78"/>
              <a:gd name="T104" fmla="*/ 97 w 106"/>
              <a:gd name="T105" fmla="*/ 50 h 78"/>
              <a:gd name="T106" fmla="*/ 94 w 106"/>
              <a:gd name="T107" fmla="*/ 50 h 78"/>
              <a:gd name="T108" fmla="*/ 91 w 106"/>
              <a:gd name="T109" fmla="*/ 47 h 78"/>
              <a:gd name="T110" fmla="*/ 87 w 106"/>
              <a:gd name="T111" fmla="*/ 44 h 78"/>
              <a:gd name="T112" fmla="*/ 84 w 106"/>
              <a:gd name="T113" fmla="*/ 47 h 78"/>
              <a:gd name="T114" fmla="*/ 87 w 106"/>
              <a:gd name="T115" fmla="*/ 50 h 78"/>
              <a:gd name="T116" fmla="*/ 84 w 106"/>
              <a:gd name="T117" fmla="*/ 53 h 78"/>
              <a:gd name="T118" fmla="*/ 84 w 106"/>
              <a:gd name="T119" fmla="*/ 57 h 78"/>
              <a:gd name="T120" fmla="*/ 84 w 106"/>
              <a:gd name="T121" fmla="*/ 6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6" h="78">
                <a:moveTo>
                  <a:pt x="3" y="10"/>
                </a:moveTo>
                <a:lnTo>
                  <a:pt x="6" y="6"/>
                </a:lnTo>
                <a:lnTo>
                  <a:pt x="3" y="3"/>
                </a:lnTo>
                <a:lnTo>
                  <a:pt x="0" y="6"/>
                </a:lnTo>
                <a:lnTo>
                  <a:pt x="3" y="10"/>
                </a:lnTo>
                <a:lnTo>
                  <a:pt x="3" y="10"/>
                </a:lnTo>
                <a:close/>
                <a:moveTo>
                  <a:pt x="22" y="6"/>
                </a:moveTo>
                <a:lnTo>
                  <a:pt x="22" y="0"/>
                </a:lnTo>
                <a:lnTo>
                  <a:pt x="22" y="0"/>
                </a:lnTo>
                <a:lnTo>
                  <a:pt x="19" y="0"/>
                </a:lnTo>
                <a:lnTo>
                  <a:pt x="16" y="3"/>
                </a:lnTo>
                <a:lnTo>
                  <a:pt x="19" y="6"/>
                </a:lnTo>
                <a:lnTo>
                  <a:pt x="22" y="6"/>
                </a:lnTo>
                <a:lnTo>
                  <a:pt x="22" y="6"/>
                </a:lnTo>
                <a:close/>
                <a:moveTo>
                  <a:pt x="53" y="19"/>
                </a:moveTo>
                <a:lnTo>
                  <a:pt x="50" y="16"/>
                </a:lnTo>
                <a:lnTo>
                  <a:pt x="47" y="13"/>
                </a:lnTo>
                <a:lnTo>
                  <a:pt x="44" y="13"/>
                </a:lnTo>
                <a:lnTo>
                  <a:pt x="44" y="16"/>
                </a:lnTo>
                <a:lnTo>
                  <a:pt x="47" y="22"/>
                </a:lnTo>
                <a:lnTo>
                  <a:pt x="53" y="22"/>
                </a:lnTo>
                <a:lnTo>
                  <a:pt x="53" y="19"/>
                </a:lnTo>
                <a:lnTo>
                  <a:pt x="53" y="19"/>
                </a:lnTo>
                <a:close/>
                <a:moveTo>
                  <a:pt x="69" y="25"/>
                </a:moveTo>
                <a:lnTo>
                  <a:pt x="66" y="25"/>
                </a:lnTo>
                <a:lnTo>
                  <a:pt x="66" y="25"/>
                </a:lnTo>
                <a:lnTo>
                  <a:pt x="62" y="25"/>
                </a:lnTo>
                <a:lnTo>
                  <a:pt x="66" y="25"/>
                </a:lnTo>
                <a:lnTo>
                  <a:pt x="72" y="22"/>
                </a:lnTo>
                <a:lnTo>
                  <a:pt x="69" y="25"/>
                </a:lnTo>
                <a:lnTo>
                  <a:pt x="69" y="25"/>
                </a:lnTo>
                <a:close/>
                <a:moveTo>
                  <a:pt x="78" y="35"/>
                </a:moveTo>
                <a:lnTo>
                  <a:pt x="75" y="31"/>
                </a:lnTo>
                <a:lnTo>
                  <a:pt x="72" y="31"/>
                </a:lnTo>
                <a:lnTo>
                  <a:pt x="72" y="28"/>
                </a:lnTo>
                <a:lnTo>
                  <a:pt x="72" y="28"/>
                </a:lnTo>
                <a:lnTo>
                  <a:pt x="75" y="28"/>
                </a:lnTo>
                <a:lnTo>
                  <a:pt x="81" y="31"/>
                </a:lnTo>
                <a:lnTo>
                  <a:pt x="84" y="35"/>
                </a:lnTo>
                <a:lnTo>
                  <a:pt x="81" y="35"/>
                </a:lnTo>
                <a:lnTo>
                  <a:pt x="78" y="35"/>
                </a:lnTo>
                <a:lnTo>
                  <a:pt x="78" y="35"/>
                </a:lnTo>
                <a:close/>
                <a:moveTo>
                  <a:pt x="84" y="60"/>
                </a:moveTo>
                <a:lnTo>
                  <a:pt x="84" y="66"/>
                </a:lnTo>
                <a:lnTo>
                  <a:pt x="84" y="75"/>
                </a:lnTo>
                <a:lnTo>
                  <a:pt x="91" y="78"/>
                </a:lnTo>
                <a:lnTo>
                  <a:pt x="97" y="69"/>
                </a:lnTo>
                <a:lnTo>
                  <a:pt x="103" y="66"/>
                </a:lnTo>
                <a:lnTo>
                  <a:pt x="106" y="63"/>
                </a:lnTo>
                <a:lnTo>
                  <a:pt x="103" y="60"/>
                </a:lnTo>
                <a:lnTo>
                  <a:pt x="100" y="60"/>
                </a:lnTo>
                <a:lnTo>
                  <a:pt x="103" y="57"/>
                </a:lnTo>
                <a:lnTo>
                  <a:pt x="97" y="50"/>
                </a:lnTo>
                <a:lnTo>
                  <a:pt x="94" y="50"/>
                </a:lnTo>
                <a:lnTo>
                  <a:pt x="91" y="47"/>
                </a:lnTo>
                <a:lnTo>
                  <a:pt x="87" y="44"/>
                </a:lnTo>
                <a:lnTo>
                  <a:pt x="84" y="47"/>
                </a:lnTo>
                <a:lnTo>
                  <a:pt x="87" y="50"/>
                </a:lnTo>
                <a:lnTo>
                  <a:pt x="84" y="53"/>
                </a:lnTo>
                <a:lnTo>
                  <a:pt x="84" y="57"/>
                </a:lnTo>
                <a:lnTo>
                  <a:pt x="84" y="6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6" name="Freeform 164">
            <a:extLst>
              <a:ext uri="{FF2B5EF4-FFF2-40B4-BE49-F238E27FC236}">
                <a16:creationId xmlns:a16="http://schemas.microsoft.com/office/drawing/2014/main" id="{76D2C372-3C2B-3DB4-DE79-56459AA5855B}"/>
              </a:ext>
            </a:extLst>
          </p:cNvPr>
          <p:cNvSpPr>
            <a:spLocks noEditPoints="1"/>
          </p:cNvSpPr>
          <p:nvPr userDrawn="1"/>
        </p:nvSpPr>
        <p:spPr bwMode="auto">
          <a:xfrm>
            <a:off x="7502031" y="9387757"/>
            <a:ext cx="130168" cy="88902"/>
          </a:xfrm>
          <a:custGeom>
            <a:avLst/>
            <a:gdLst>
              <a:gd name="T0" fmla="*/ 38 w 41"/>
              <a:gd name="T1" fmla="*/ 21 h 28"/>
              <a:gd name="T2" fmla="*/ 35 w 41"/>
              <a:gd name="T3" fmla="*/ 25 h 28"/>
              <a:gd name="T4" fmla="*/ 35 w 41"/>
              <a:gd name="T5" fmla="*/ 28 h 28"/>
              <a:gd name="T6" fmla="*/ 41 w 41"/>
              <a:gd name="T7" fmla="*/ 21 h 28"/>
              <a:gd name="T8" fmla="*/ 41 w 41"/>
              <a:gd name="T9" fmla="*/ 21 h 28"/>
              <a:gd name="T10" fmla="*/ 38 w 41"/>
              <a:gd name="T11" fmla="*/ 21 h 28"/>
              <a:gd name="T12" fmla="*/ 38 w 41"/>
              <a:gd name="T13" fmla="*/ 21 h 28"/>
              <a:gd name="T14" fmla="*/ 22 w 41"/>
              <a:gd name="T15" fmla="*/ 15 h 28"/>
              <a:gd name="T16" fmla="*/ 25 w 41"/>
              <a:gd name="T17" fmla="*/ 15 h 28"/>
              <a:gd name="T18" fmla="*/ 28 w 41"/>
              <a:gd name="T19" fmla="*/ 15 h 28"/>
              <a:gd name="T20" fmla="*/ 25 w 41"/>
              <a:gd name="T21" fmla="*/ 18 h 28"/>
              <a:gd name="T22" fmla="*/ 22 w 41"/>
              <a:gd name="T23" fmla="*/ 15 h 28"/>
              <a:gd name="T24" fmla="*/ 22 w 41"/>
              <a:gd name="T25" fmla="*/ 15 h 28"/>
              <a:gd name="T26" fmla="*/ 16 w 41"/>
              <a:gd name="T27" fmla="*/ 6 h 28"/>
              <a:gd name="T28" fmla="*/ 16 w 41"/>
              <a:gd name="T29" fmla="*/ 9 h 28"/>
              <a:gd name="T30" fmla="*/ 19 w 41"/>
              <a:gd name="T31" fmla="*/ 9 h 28"/>
              <a:gd name="T32" fmla="*/ 16 w 41"/>
              <a:gd name="T33" fmla="*/ 6 h 28"/>
              <a:gd name="T34" fmla="*/ 16 w 41"/>
              <a:gd name="T35" fmla="*/ 6 h 28"/>
              <a:gd name="T36" fmla="*/ 0 w 41"/>
              <a:gd name="T37" fmla="*/ 12 h 28"/>
              <a:gd name="T38" fmla="*/ 3 w 41"/>
              <a:gd name="T39" fmla="*/ 12 h 28"/>
              <a:gd name="T40" fmla="*/ 3 w 41"/>
              <a:gd name="T41" fmla="*/ 15 h 28"/>
              <a:gd name="T42" fmla="*/ 0 w 41"/>
              <a:gd name="T43" fmla="*/ 15 h 28"/>
              <a:gd name="T44" fmla="*/ 0 w 41"/>
              <a:gd name="T45" fmla="*/ 12 h 28"/>
              <a:gd name="T46" fmla="*/ 0 w 41"/>
              <a:gd name="T47" fmla="*/ 12 h 28"/>
              <a:gd name="T48" fmla="*/ 0 w 41"/>
              <a:gd name="T49" fmla="*/ 12 h 28"/>
              <a:gd name="T50" fmla="*/ 3 w 41"/>
              <a:gd name="T51" fmla="*/ 6 h 28"/>
              <a:gd name="T52" fmla="*/ 6 w 41"/>
              <a:gd name="T53" fmla="*/ 6 h 28"/>
              <a:gd name="T54" fmla="*/ 6 w 41"/>
              <a:gd name="T55" fmla="*/ 12 h 28"/>
              <a:gd name="T56" fmla="*/ 10 w 41"/>
              <a:gd name="T57" fmla="*/ 18 h 28"/>
              <a:gd name="T58" fmla="*/ 6 w 41"/>
              <a:gd name="T59" fmla="*/ 18 h 28"/>
              <a:gd name="T60" fmla="*/ 3 w 41"/>
              <a:gd name="T61" fmla="*/ 25 h 28"/>
              <a:gd name="T62" fmla="*/ 6 w 41"/>
              <a:gd name="T63" fmla="*/ 25 h 28"/>
              <a:gd name="T64" fmla="*/ 13 w 41"/>
              <a:gd name="T65" fmla="*/ 25 h 28"/>
              <a:gd name="T66" fmla="*/ 13 w 41"/>
              <a:gd name="T67" fmla="*/ 18 h 28"/>
              <a:gd name="T68" fmla="*/ 10 w 41"/>
              <a:gd name="T69" fmla="*/ 15 h 28"/>
              <a:gd name="T70" fmla="*/ 10 w 41"/>
              <a:gd name="T71" fmla="*/ 12 h 28"/>
              <a:gd name="T72" fmla="*/ 10 w 41"/>
              <a:gd name="T73" fmla="*/ 9 h 28"/>
              <a:gd name="T74" fmla="*/ 10 w 41"/>
              <a:gd name="T75" fmla="*/ 3 h 28"/>
              <a:gd name="T76" fmla="*/ 6 w 41"/>
              <a:gd name="T77" fmla="*/ 0 h 28"/>
              <a:gd name="T78" fmla="*/ 3 w 41"/>
              <a:gd name="T79" fmla="*/ 3 h 28"/>
              <a:gd name="T80" fmla="*/ 3 w 41"/>
              <a:gd name="T81"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 h="28">
                <a:moveTo>
                  <a:pt x="38" y="21"/>
                </a:moveTo>
                <a:lnTo>
                  <a:pt x="35" y="25"/>
                </a:lnTo>
                <a:lnTo>
                  <a:pt x="35" y="28"/>
                </a:lnTo>
                <a:lnTo>
                  <a:pt x="41" y="21"/>
                </a:lnTo>
                <a:lnTo>
                  <a:pt x="41" y="21"/>
                </a:lnTo>
                <a:lnTo>
                  <a:pt x="38" y="21"/>
                </a:lnTo>
                <a:lnTo>
                  <a:pt x="38" y="21"/>
                </a:lnTo>
                <a:close/>
                <a:moveTo>
                  <a:pt x="22" y="15"/>
                </a:moveTo>
                <a:lnTo>
                  <a:pt x="25" y="15"/>
                </a:lnTo>
                <a:lnTo>
                  <a:pt x="28" y="15"/>
                </a:lnTo>
                <a:lnTo>
                  <a:pt x="25" y="18"/>
                </a:lnTo>
                <a:lnTo>
                  <a:pt x="22" y="15"/>
                </a:lnTo>
                <a:lnTo>
                  <a:pt x="22" y="15"/>
                </a:lnTo>
                <a:close/>
                <a:moveTo>
                  <a:pt x="16" y="6"/>
                </a:moveTo>
                <a:lnTo>
                  <a:pt x="16" y="9"/>
                </a:lnTo>
                <a:lnTo>
                  <a:pt x="19" y="9"/>
                </a:lnTo>
                <a:lnTo>
                  <a:pt x="16" y="6"/>
                </a:lnTo>
                <a:lnTo>
                  <a:pt x="16" y="6"/>
                </a:lnTo>
                <a:close/>
                <a:moveTo>
                  <a:pt x="0" y="12"/>
                </a:moveTo>
                <a:lnTo>
                  <a:pt x="3" y="12"/>
                </a:lnTo>
                <a:lnTo>
                  <a:pt x="3" y="15"/>
                </a:lnTo>
                <a:lnTo>
                  <a:pt x="0" y="15"/>
                </a:lnTo>
                <a:lnTo>
                  <a:pt x="0" y="12"/>
                </a:lnTo>
                <a:lnTo>
                  <a:pt x="0" y="12"/>
                </a:lnTo>
                <a:lnTo>
                  <a:pt x="0" y="12"/>
                </a:lnTo>
                <a:close/>
                <a:moveTo>
                  <a:pt x="3" y="6"/>
                </a:moveTo>
                <a:lnTo>
                  <a:pt x="6" y="6"/>
                </a:lnTo>
                <a:lnTo>
                  <a:pt x="6" y="12"/>
                </a:lnTo>
                <a:lnTo>
                  <a:pt x="10" y="18"/>
                </a:lnTo>
                <a:lnTo>
                  <a:pt x="6" y="18"/>
                </a:lnTo>
                <a:lnTo>
                  <a:pt x="3" y="25"/>
                </a:lnTo>
                <a:lnTo>
                  <a:pt x="6" y="25"/>
                </a:lnTo>
                <a:lnTo>
                  <a:pt x="13" y="25"/>
                </a:lnTo>
                <a:lnTo>
                  <a:pt x="13" y="18"/>
                </a:lnTo>
                <a:lnTo>
                  <a:pt x="10" y="15"/>
                </a:lnTo>
                <a:lnTo>
                  <a:pt x="10" y="12"/>
                </a:lnTo>
                <a:lnTo>
                  <a:pt x="10" y="9"/>
                </a:lnTo>
                <a:lnTo>
                  <a:pt x="10" y="3"/>
                </a:lnTo>
                <a:lnTo>
                  <a:pt x="6" y="0"/>
                </a:lnTo>
                <a:lnTo>
                  <a:pt x="3" y="3"/>
                </a:lnTo>
                <a:lnTo>
                  <a:pt x="3" y="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7" name="Freeform 165">
            <a:extLst>
              <a:ext uri="{FF2B5EF4-FFF2-40B4-BE49-F238E27FC236}">
                <a16:creationId xmlns:a16="http://schemas.microsoft.com/office/drawing/2014/main" id="{87F6AE99-410E-8475-5607-DF12892BB47A}"/>
              </a:ext>
            </a:extLst>
          </p:cNvPr>
          <p:cNvSpPr>
            <a:spLocks noEditPoints="1"/>
          </p:cNvSpPr>
          <p:nvPr userDrawn="1"/>
        </p:nvSpPr>
        <p:spPr bwMode="auto">
          <a:xfrm>
            <a:off x="9191027" y="8203481"/>
            <a:ext cx="196837" cy="88902"/>
          </a:xfrm>
          <a:custGeom>
            <a:avLst/>
            <a:gdLst>
              <a:gd name="T0" fmla="*/ 56 w 62"/>
              <a:gd name="T1" fmla="*/ 22 h 28"/>
              <a:gd name="T2" fmla="*/ 62 w 62"/>
              <a:gd name="T3" fmla="*/ 25 h 28"/>
              <a:gd name="T4" fmla="*/ 59 w 62"/>
              <a:gd name="T5" fmla="*/ 28 h 28"/>
              <a:gd name="T6" fmla="*/ 56 w 62"/>
              <a:gd name="T7" fmla="*/ 25 h 28"/>
              <a:gd name="T8" fmla="*/ 56 w 62"/>
              <a:gd name="T9" fmla="*/ 22 h 28"/>
              <a:gd name="T10" fmla="*/ 56 w 62"/>
              <a:gd name="T11" fmla="*/ 22 h 28"/>
              <a:gd name="T12" fmla="*/ 59 w 62"/>
              <a:gd name="T13" fmla="*/ 10 h 28"/>
              <a:gd name="T14" fmla="*/ 56 w 62"/>
              <a:gd name="T15" fmla="*/ 13 h 28"/>
              <a:gd name="T16" fmla="*/ 59 w 62"/>
              <a:gd name="T17" fmla="*/ 16 h 28"/>
              <a:gd name="T18" fmla="*/ 62 w 62"/>
              <a:gd name="T19" fmla="*/ 13 h 28"/>
              <a:gd name="T20" fmla="*/ 59 w 62"/>
              <a:gd name="T21" fmla="*/ 10 h 28"/>
              <a:gd name="T22" fmla="*/ 59 w 62"/>
              <a:gd name="T23" fmla="*/ 10 h 28"/>
              <a:gd name="T24" fmla="*/ 40 w 62"/>
              <a:gd name="T25" fmla="*/ 16 h 28"/>
              <a:gd name="T26" fmla="*/ 37 w 62"/>
              <a:gd name="T27" fmla="*/ 19 h 28"/>
              <a:gd name="T28" fmla="*/ 40 w 62"/>
              <a:gd name="T29" fmla="*/ 22 h 28"/>
              <a:gd name="T30" fmla="*/ 43 w 62"/>
              <a:gd name="T31" fmla="*/ 22 h 28"/>
              <a:gd name="T32" fmla="*/ 40 w 62"/>
              <a:gd name="T33" fmla="*/ 16 h 28"/>
              <a:gd name="T34" fmla="*/ 40 w 62"/>
              <a:gd name="T35" fmla="*/ 16 h 28"/>
              <a:gd name="T36" fmla="*/ 31 w 62"/>
              <a:gd name="T37" fmla="*/ 3 h 28"/>
              <a:gd name="T38" fmla="*/ 34 w 62"/>
              <a:gd name="T39" fmla="*/ 0 h 28"/>
              <a:gd name="T40" fmla="*/ 40 w 62"/>
              <a:gd name="T41" fmla="*/ 0 h 28"/>
              <a:gd name="T42" fmla="*/ 37 w 62"/>
              <a:gd name="T43" fmla="*/ 7 h 28"/>
              <a:gd name="T44" fmla="*/ 37 w 62"/>
              <a:gd name="T45" fmla="*/ 10 h 28"/>
              <a:gd name="T46" fmla="*/ 31 w 62"/>
              <a:gd name="T47" fmla="*/ 7 h 28"/>
              <a:gd name="T48" fmla="*/ 31 w 62"/>
              <a:gd name="T49" fmla="*/ 3 h 28"/>
              <a:gd name="T50" fmla="*/ 31 w 62"/>
              <a:gd name="T51" fmla="*/ 3 h 28"/>
              <a:gd name="T52" fmla="*/ 6 w 62"/>
              <a:gd name="T53" fmla="*/ 10 h 28"/>
              <a:gd name="T54" fmla="*/ 6 w 62"/>
              <a:gd name="T55" fmla="*/ 13 h 28"/>
              <a:gd name="T56" fmla="*/ 0 w 62"/>
              <a:gd name="T57" fmla="*/ 13 h 28"/>
              <a:gd name="T58" fmla="*/ 6 w 62"/>
              <a:gd name="T59"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2" h="28">
                <a:moveTo>
                  <a:pt x="56" y="22"/>
                </a:moveTo>
                <a:lnTo>
                  <a:pt x="62" y="25"/>
                </a:lnTo>
                <a:lnTo>
                  <a:pt x="59" y="28"/>
                </a:lnTo>
                <a:lnTo>
                  <a:pt x="56" y="25"/>
                </a:lnTo>
                <a:lnTo>
                  <a:pt x="56" y="22"/>
                </a:lnTo>
                <a:lnTo>
                  <a:pt x="56" y="22"/>
                </a:lnTo>
                <a:close/>
                <a:moveTo>
                  <a:pt x="59" y="10"/>
                </a:moveTo>
                <a:lnTo>
                  <a:pt x="56" y="13"/>
                </a:lnTo>
                <a:lnTo>
                  <a:pt x="59" y="16"/>
                </a:lnTo>
                <a:lnTo>
                  <a:pt x="62" y="13"/>
                </a:lnTo>
                <a:lnTo>
                  <a:pt x="59" y="10"/>
                </a:lnTo>
                <a:lnTo>
                  <a:pt x="59" y="10"/>
                </a:lnTo>
                <a:close/>
                <a:moveTo>
                  <a:pt x="40" y="16"/>
                </a:moveTo>
                <a:lnTo>
                  <a:pt x="37" y="19"/>
                </a:lnTo>
                <a:lnTo>
                  <a:pt x="40" y="22"/>
                </a:lnTo>
                <a:lnTo>
                  <a:pt x="43" y="22"/>
                </a:lnTo>
                <a:lnTo>
                  <a:pt x="40" y="16"/>
                </a:lnTo>
                <a:lnTo>
                  <a:pt x="40" y="16"/>
                </a:lnTo>
                <a:close/>
                <a:moveTo>
                  <a:pt x="31" y="3"/>
                </a:moveTo>
                <a:lnTo>
                  <a:pt x="34" y="0"/>
                </a:lnTo>
                <a:lnTo>
                  <a:pt x="40" y="0"/>
                </a:lnTo>
                <a:lnTo>
                  <a:pt x="37" y="7"/>
                </a:lnTo>
                <a:lnTo>
                  <a:pt x="37" y="10"/>
                </a:lnTo>
                <a:lnTo>
                  <a:pt x="31" y="7"/>
                </a:lnTo>
                <a:lnTo>
                  <a:pt x="31" y="3"/>
                </a:lnTo>
                <a:lnTo>
                  <a:pt x="31" y="3"/>
                </a:lnTo>
                <a:close/>
                <a:moveTo>
                  <a:pt x="6" y="10"/>
                </a:moveTo>
                <a:lnTo>
                  <a:pt x="6" y="13"/>
                </a:lnTo>
                <a:lnTo>
                  <a:pt x="0" y="13"/>
                </a:lnTo>
                <a:lnTo>
                  <a:pt x="6" y="1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8" name="Freeform 166">
            <a:extLst>
              <a:ext uri="{FF2B5EF4-FFF2-40B4-BE49-F238E27FC236}">
                <a16:creationId xmlns:a16="http://schemas.microsoft.com/office/drawing/2014/main" id="{2A2FFDB4-C669-AB6B-DE0C-E275EFB27300}"/>
              </a:ext>
            </a:extLst>
          </p:cNvPr>
          <p:cNvSpPr>
            <a:spLocks noEditPoints="1"/>
          </p:cNvSpPr>
          <p:nvPr userDrawn="1"/>
        </p:nvSpPr>
        <p:spPr bwMode="auto">
          <a:xfrm>
            <a:off x="9041811" y="8193959"/>
            <a:ext cx="136517" cy="41278"/>
          </a:xfrm>
          <a:custGeom>
            <a:avLst/>
            <a:gdLst>
              <a:gd name="T0" fmla="*/ 34 w 43"/>
              <a:gd name="T1" fmla="*/ 13 h 13"/>
              <a:gd name="T2" fmla="*/ 37 w 43"/>
              <a:gd name="T3" fmla="*/ 10 h 13"/>
              <a:gd name="T4" fmla="*/ 43 w 43"/>
              <a:gd name="T5" fmla="*/ 10 h 13"/>
              <a:gd name="T6" fmla="*/ 40 w 43"/>
              <a:gd name="T7" fmla="*/ 10 h 13"/>
              <a:gd name="T8" fmla="*/ 34 w 43"/>
              <a:gd name="T9" fmla="*/ 13 h 13"/>
              <a:gd name="T10" fmla="*/ 34 w 43"/>
              <a:gd name="T11" fmla="*/ 13 h 13"/>
              <a:gd name="T12" fmla="*/ 31 w 43"/>
              <a:gd name="T13" fmla="*/ 0 h 13"/>
              <a:gd name="T14" fmla="*/ 28 w 43"/>
              <a:gd name="T15" fmla="*/ 0 h 13"/>
              <a:gd name="T16" fmla="*/ 22 w 43"/>
              <a:gd name="T17" fmla="*/ 0 h 13"/>
              <a:gd name="T18" fmla="*/ 6 w 43"/>
              <a:gd name="T19" fmla="*/ 0 h 13"/>
              <a:gd name="T20" fmla="*/ 6 w 43"/>
              <a:gd name="T21" fmla="*/ 3 h 13"/>
              <a:gd name="T22" fmla="*/ 0 w 43"/>
              <a:gd name="T23" fmla="*/ 3 h 13"/>
              <a:gd name="T24" fmla="*/ 3 w 43"/>
              <a:gd name="T25" fmla="*/ 6 h 13"/>
              <a:gd name="T26" fmla="*/ 0 w 43"/>
              <a:gd name="T27" fmla="*/ 10 h 13"/>
              <a:gd name="T28" fmla="*/ 3 w 43"/>
              <a:gd name="T29" fmla="*/ 13 h 13"/>
              <a:gd name="T30" fmla="*/ 12 w 43"/>
              <a:gd name="T31" fmla="*/ 13 h 13"/>
              <a:gd name="T32" fmla="*/ 15 w 43"/>
              <a:gd name="T33" fmla="*/ 13 h 13"/>
              <a:gd name="T34" fmla="*/ 22 w 43"/>
              <a:gd name="T35" fmla="*/ 13 h 13"/>
              <a:gd name="T36" fmla="*/ 25 w 43"/>
              <a:gd name="T37" fmla="*/ 13 h 13"/>
              <a:gd name="T38" fmla="*/ 31 w 43"/>
              <a:gd name="T39" fmla="*/ 10 h 13"/>
              <a:gd name="T40" fmla="*/ 34 w 43"/>
              <a:gd name="T41" fmla="*/ 6 h 13"/>
              <a:gd name="T42" fmla="*/ 31 w 43"/>
              <a:gd name="T43" fmla="*/ 3 h 13"/>
              <a:gd name="T44" fmla="*/ 31 w 43"/>
              <a:gd name="T4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 h="13">
                <a:moveTo>
                  <a:pt x="34" y="13"/>
                </a:moveTo>
                <a:lnTo>
                  <a:pt x="37" y="10"/>
                </a:lnTo>
                <a:lnTo>
                  <a:pt x="43" y="10"/>
                </a:lnTo>
                <a:lnTo>
                  <a:pt x="40" y="10"/>
                </a:lnTo>
                <a:lnTo>
                  <a:pt x="34" y="13"/>
                </a:lnTo>
                <a:lnTo>
                  <a:pt x="34" y="13"/>
                </a:lnTo>
                <a:close/>
                <a:moveTo>
                  <a:pt x="31" y="0"/>
                </a:moveTo>
                <a:lnTo>
                  <a:pt x="28" y="0"/>
                </a:lnTo>
                <a:lnTo>
                  <a:pt x="22" y="0"/>
                </a:lnTo>
                <a:lnTo>
                  <a:pt x="6" y="0"/>
                </a:lnTo>
                <a:lnTo>
                  <a:pt x="6" y="3"/>
                </a:lnTo>
                <a:lnTo>
                  <a:pt x="0" y="3"/>
                </a:lnTo>
                <a:lnTo>
                  <a:pt x="3" y="6"/>
                </a:lnTo>
                <a:lnTo>
                  <a:pt x="0" y="10"/>
                </a:lnTo>
                <a:lnTo>
                  <a:pt x="3" y="13"/>
                </a:lnTo>
                <a:lnTo>
                  <a:pt x="12" y="13"/>
                </a:lnTo>
                <a:lnTo>
                  <a:pt x="15" y="13"/>
                </a:lnTo>
                <a:lnTo>
                  <a:pt x="22" y="13"/>
                </a:lnTo>
                <a:lnTo>
                  <a:pt x="25" y="13"/>
                </a:lnTo>
                <a:lnTo>
                  <a:pt x="31" y="10"/>
                </a:lnTo>
                <a:lnTo>
                  <a:pt x="34" y="6"/>
                </a:lnTo>
                <a:lnTo>
                  <a:pt x="31" y="3"/>
                </a:lnTo>
                <a:lnTo>
                  <a:pt x="31"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9" name="Freeform 167">
            <a:extLst>
              <a:ext uri="{FF2B5EF4-FFF2-40B4-BE49-F238E27FC236}">
                <a16:creationId xmlns:a16="http://schemas.microsoft.com/office/drawing/2014/main" id="{37A4C95F-8893-8A0F-E96D-9C840062B54C}"/>
              </a:ext>
            </a:extLst>
          </p:cNvPr>
          <p:cNvSpPr>
            <a:spLocks noEditPoints="1"/>
          </p:cNvSpPr>
          <p:nvPr userDrawn="1"/>
        </p:nvSpPr>
        <p:spPr bwMode="auto">
          <a:xfrm>
            <a:off x="8752905" y="8095531"/>
            <a:ext cx="238111" cy="168278"/>
          </a:xfrm>
          <a:custGeom>
            <a:avLst/>
            <a:gdLst>
              <a:gd name="T0" fmla="*/ 69 w 75"/>
              <a:gd name="T1" fmla="*/ 37 h 53"/>
              <a:gd name="T2" fmla="*/ 69 w 75"/>
              <a:gd name="T3" fmla="*/ 41 h 53"/>
              <a:gd name="T4" fmla="*/ 66 w 75"/>
              <a:gd name="T5" fmla="*/ 37 h 53"/>
              <a:gd name="T6" fmla="*/ 66 w 75"/>
              <a:gd name="T7" fmla="*/ 37 h 53"/>
              <a:gd name="T8" fmla="*/ 6 w 75"/>
              <a:gd name="T9" fmla="*/ 9 h 53"/>
              <a:gd name="T10" fmla="*/ 6 w 75"/>
              <a:gd name="T11" fmla="*/ 16 h 53"/>
              <a:gd name="T12" fmla="*/ 3 w 75"/>
              <a:gd name="T13" fmla="*/ 22 h 53"/>
              <a:gd name="T14" fmla="*/ 3 w 75"/>
              <a:gd name="T15" fmla="*/ 25 h 53"/>
              <a:gd name="T16" fmla="*/ 3 w 75"/>
              <a:gd name="T17" fmla="*/ 31 h 53"/>
              <a:gd name="T18" fmla="*/ 0 w 75"/>
              <a:gd name="T19" fmla="*/ 41 h 53"/>
              <a:gd name="T20" fmla="*/ 3 w 75"/>
              <a:gd name="T21" fmla="*/ 44 h 53"/>
              <a:gd name="T22" fmla="*/ 6 w 75"/>
              <a:gd name="T23" fmla="*/ 47 h 53"/>
              <a:gd name="T24" fmla="*/ 9 w 75"/>
              <a:gd name="T25" fmla="*/ 53 h 53"/>
              <a:gd name="T26" fmla="*/ 16 w 75"/>
              <a:gd name="T27" fmla="*/ 41 h 53"/>
              <a:gd name="T28" fmla="*/ 19 w 75"/>
              <a:gd name="T29" fmla="*/ 34 h 53"/>
              <a:gd name="T30" fmla="*/ 22 w 75"/>
              <a:gd name="T31" fmla="*/ 37 h 53"/>
              <a:gd name="T32" fmla="*/ 28 w 75"/>
              <a:gd name="T33" fmla="*/ 34 h 53"/>
              <a:gd name="T34" fmla="*/ 31 w 75"/>
              <a:gd name="T35" fmla="*/ 41 h 53"/>
              <a:gd name="T36" fmla="*/ 41 w 75"/>
              <a:gd name="T37" fmla="*/ 34 h 53"/>
              <a:gd name="T38" fmla="*/ 53 w 75"/>
              <a:gd name="T39" fmla="*/ 34 h 53"/>
              <a:gd name="T40" fmla="*/ 59 w 75"/>
              <a:gd name="T41" fmla="*/ 34 h 53"/>
              <a:gd name="T42" fmla="*/ 69 w 75"/>
              <a:gd name="T43" fmla="*/ 34 h 53"/>
              <a:gd name="T44" fmla="*/ 72 w 75"/>
              <a:gd name="T45" fmla="*/ 31 h 53"/>
              <a:gd name="T46" fmla="*/ 72 w 75"/>
              <a:gd name="T47" fmla="*/ 25 h 53"/>
              <a:gd name="T48" fmla="*/ 63 w 75"/>
              <a:gd name="T49" fmla="*/ 22 h 53"/>
              <a:gd name="T50" fmla="*/ 53 w 75"/>
              <a:gd name="T51" fmla="*/ 22 h 53"/>
              <a:gd name="T52" fmla="*/ 44 w 75"/>
              <a:gd name="T53" fmla="*/ 16 h 53"/>
              <a:gd name="T54" fmla="*/ 41 w 75"/>
              <a:gd name="T55" fmla="*/ 12 h 53"/>
              <a:gd name="T56" fmla="*/ 56 w 75"/>
              <a:gd name="T57" fmla="*/ 16 h 53"/>
              <a:gd name="T58" fmla="*/ 56 w 75"/>
              <a:gd name="T59" fmla="*/ 12 h 53"/>
              <a:gd name="T60" fmla="*/ 47 w 75"/>
              <a:gd name="T61" fmla="*/ 12 h 53"/>
              <a:gd name="T62" fmla="*/ 41 w 75"/>
              <a:gd name="T63" fmla="*/ 6 h 53"/>
              <a:gd name="T64" fmla="*/ 38 w 75"/>
              <a:gd name="T65" fmla="*/ 6 h 53"/>
              <a:gd name="T66" fmla="*/ 19 w 75"/>
              <a:gd name="T67" fmla="*/ 3 h 53"/>
              <a:gd name="T68" fmla="*/ 9 w 75"/>
              <a:gd name="T69" fmla="*/ 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 h="53">
                <a:moveTo>
                  <a:pt x="66" y="37"/>
                </a:moveTo>
                <a:lnTo>
                  <a:pt x="69" y="37"/>
                </a:lnTo>
                <a:lnTo>
                  <a:pt x="72" y="41"/>
                </a:lnTo>
                <a:lnTo>
                  <a:pt x="69" y="41"/>
                </a:lnTo>
                <a:lnTo>
                  <a:pt x="66" y="41"/>
                </a:lnTo>
                <a:lnTo>
                  <a:pt x="66" y="37"/>
                </a:lnTo>
                <a:lnTo>
                  <a:pt x="66" y="37"/>
                </a:lnTo>
                <a:lnTo>
                  <a:pt x="66" y="37"/>
                </a:lnTo>
                <a:close/>
                <a:moveTo>
                  <a:pt x="6" y="6"/>
                </a:moveTo>
                <a:lnTo>
                  <a:pt x="6" y="9"/>
                </a:lnTo>
                <a:lnTo>
                  <a:pt x="6" y="12"/>
                </a:lnTo>
                <a:lnTo>
                  <a:pt x="6" y="16"/>
                </a:lnTo>
                <a:lnTo>
                  <a:pt x="6" y="19"/>
                </a:lnTo>
                <a:lnTo>
                  <a:pt x="3" y="22"/>
                </a:lnTo>
                <a:lnTo>
                  <a:pt x="3" y="22"/>
                </a:lnTo>
                <a:lnTo>
                  <a:pt x="3" y="25"/>
                </a:lnTo>
                <a:lnTo>
                  <a:pt x="3" y="28"/>
                </a:lnTo>
                <a:lnTo>
                  <a:pt x="3" y="31"/>
                </a:lnTo>
                <a:lnTo>
                  <a:pt x="0" y="37"/>
                </a:lnTo>
                <a:lnTo>
                  <a:pt x="0" y="41"/>
                </a:lnTo>
                <a:lnTo>
                  <a:pt x="0" y="41"/>
                </a:lnTo>
                <a:lnTo>
                  <a:pt x="3" y="44"/>
                </a:lnTo>
                <a:lnTo>
                  <a:pt x="3" y="47"/>
                </a:lnTo>
                <a:lnTo>
                  <a:pt x="6" y="47"/>
                </a:lnTo>
                <a:lnTo>
                  <a:pt x="6" y="50"/>
                </a:lnTo>
                <a:lnTo>
                  <a:pt x="9" y="53"/>
                </a:lnTo>
                <a:lnTo>
                  <a:pt x="13" y="47"/>
                </a:lnTo>
                <a:lnTo>
                  <a:pt x="16" y="41"/>
                </a:lnTo>
                <a:lnTo>
                  <a:pt x="16" y="37"/>
                </a:lnTo>
                <a:lnTo>
                  <a:pt x="19" y="34"/>
                </a:lnTo>
                <a:lnTo>
                  <a:pt x="19" y="37"/>
                </a:lnTo>
                <a:lnTo>
                  <a:pt x="22" y="37"/>
                </a:lnTo>
                <a:lnTo>
                  <a:pt x="25" y="31"/>
                </a:lnTo>
                <a:lnTo>
                  <a:pt x="28" y="34"/>
                </a:lnTo>
                <a:lnTo>
                  <a:pt x="28" y="37"/>
                </a:lnTo>
                <a:lnTo>
                  <a:pt x="31" y="41"/>
                </a:lnTo>
                <a:lnTo>
                  <a:pt x="34" y="37"/>
                </a:lnTo>
                <a:lnTo>
                  <a:pt x="41" y="34"/>
                </a:lnTo>
                <a:lnTo>
                  <a:pt x="47" y="31"/>
                </a:lnTo>
                <a:lnTo>
                  <a:pt x="53" y="34"/>
                </a:lnTo>
                <a:lnTo>
                  <a:pt x="56" y="31"/>
                </a:lnTo>
                <a:lnTo>
                  <a:pt x="59" y="34"/>
                </a:lnTo>
                <a:lnTo>
                  <a:pt x="63" y="34"/>
                </a:lnTo>
                <a:lnTo>
                  <a:pt x="69" y="34"/>
                </a:lnTo>
                <a:lnTo>
                  <a:pt x="69" y="31"/>
                </a:lnTo>
                <a:lnTo>
                  <a:pt x="72" y="31"/>
                </a:lnTo>
                <a:lnTo>
                  <a:pt x="75" y="28"/>
                </a:lnTo>
                <a:lnTo>
                  <a:pt x="72" y="25"/>
                </a:lnTo>
                <a:lnTo>
                  <a:pt x="66" y="22"/>
                </a:lnTo>
                <a:lnTo>
                  <a:pt x="63" y="22"/>
                </a:lnTo>
                <a:lnTo>
                  <a:pt x="56" y="19"/>
                </a:lnTo>
                <a:lnTo>
                  <a:pt x="53" y="22"/>
                </a:lnTo>
                <a:lnTo>
                  <a:pt x="50" y="19"/>
                </a:lnTo>
                <a:lnTo>
                  <a:pt x="44" y="16"/>
                </a:lnTo>
                <a:lnTo>
                  <a:pt x="41" y="16"/>
                </a:lnTo>
                <a:lnTo>
                  <a:pt x="41" y="12"/>
                </a:lnTo>
                <a:lnTo>
                  <a:pt x="47" y="16"/>
                </a:lnTo>
                <a:lnTo>
                  <a:pt x="56" y="16"/>
                </a:lnTo>
                <a:lnTo>
                  <a:pt x="59" y="16"/>
                </a:lnTo>
                <a:lnTo>
                  <a:pt x="56" y="12"/>
                </a:lnTo>
                <a:lnTo>
                  <a:pt x="53" y="12"/>
                </a:lnTo>
                <a:lnTo>
                  <a:pt x="47" y="12"/>
                </a:lnTo>
                <a:lnTo>
                  <a:pt x="44" y="6"/>
                </a:lnTo>
                <a:lnTo>
                  <a:pt x="41" y="6"/>
                </a:lnTo>
                <a:lnTo>
                  <a:pt x="41" y="6"/>
                </a:lnTo>
                <a:lnTo>
                  <a:pt x="38" y="6"/>
                </a:lnTo>
                <a:lnTo>
                  <a:pt x="22" y="0"/>
                </a:lnTo>
                <a:lnTo>
                  <a:pt x="19" y="3"/>
                </a:lnTo>
                <a:lnTo>
                  <a:pt x="16" y="0"/>
                </a:lnTo>
                <a:lnTo>
                  <a:pt x="9" y="3"/>
                </a:lnTo>
                <a:lnTo>
                  <a:pt x="6" y="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0" name="Freeform 168">
            <a:extLst>
              <a:ext uri="{FF2B5EF4-FFF2-40B4-BE49-F238E27FC236}">
                <a16:creationId xmlns:a16="http://schemas.microsoft.com/office/drawing/2014/main" id="{78976E8C-1A2E-1396-7CAD-6D09C335D10D}"/>
              </a:ext>
            </a:extLst>
          </p:cNvPr>
          <p:cNvSpPr>
            <a:spLocks noEditPoints="1"/>
          </p:cNvSpPr>
          <p:nvPr userDrawn="1"/>
        </p:nvSpPr>
        <p:spPr bwMode="auto">
          <a:xfrm>
            <a:off x="10064094" y="1628061"/>
            <a:ext cx="2638254" cy="3387726"/>
          </a:xfrm>
          <a:custGeom>
            <a:avLst/>
            <a:gdLst>
              <a:gd name="T0" fmla="*/ 67 w 266"/>
              <a:gd name="T1" fmla="*/ 327 h 341"/>
              <a:gd name="T2" fmla="*/ 52 w 266"/>
              <a:gd name="T3" fmla="*/ 314 h 341"/>
              <a:gd name="T4" fmla="*/ 45 w 266"/>
              <a:gd name="T5" fmla="*/ 297 h 341"/>
              <a:gd name="T6" fmla="*/ 42 w 266"/>
              <a:gd name="T7" fmla="*/ 289 h 341"/>
              <a:gd name="T8" fmla="*/ 47 w 266"/>
              <a:gd name="T9" fmla="*/ 270 h 341"/>
              <a:gd name="T10" fmla="*/ 44 w 266"/>
              <a:gd name="T11" fmla="*/ 261 h 341"/>
              <a:gd name="T12" fmla="*/ 55 w 266"/>
              <a:gd name="T13" fmla="*/ 251 h 341"/>
              <a:gd name="T14" fmla="*/ 58 w 266"/>
              <a:gd name="T15" fmla="*/ 248 h 341"/>
              <a:gd name="T16" fmla="*/ 62 w 266"/>
              <a:gd name="T17" fmla="*/ 233 h 341"/>
              <a:gd name="T18" fmla="*/ 64 w 266"/>
              <a:gd name="T19" fmla="*/ 220 h 341"/>
              <a:gd name="T20" fmla="*/ 63 w 266"/>
              <a:gd name="T21" fmla="*/ 202 h 341"/>
              <a:gd name="T22" fmla="*/ 48 w 266"/>
              <a:gd name="T23" fmla="*/ 198 h 341"/>
              <a:gd name="T24" fmla="*/ 54 w 266"/>
              <a:gd name="T25" fmla="*/ 169 h 341"/>
              <a:gd name="T26" fmla="*/ 42 w 266"/>
              <a:gd name="T27" fmla="*/ 132 h 341"/>
              <a:gd name="T28" fmla="*/ 9 w 266"/>
              <a:gd name="T29" fmla="*/ 116 h 341"/>
              <a:gd name="T30" fmla="*/ 27 w 266"/>
              <a:gd name="T31" fmla="*/ 100 h 341"/>
              <a:gd name="T32" fmla="*/ 10 w 266"/>
              <a:gd name="T33" fmla="*/ 78 h 341"/>
              <a:gd name="T34" fmla="*/ 53 w 266"/>
              <a:gd name="T35" fmla="*/ 58 h 341"/>
              <a:gd name="T36" fmla="*/ 69 w 266"/>
              <a:gd name="T37" fmla="*/ 39 h 341"/>
              <a:gd name="T38" fmla="*/ 104 w 266"/>
              <a:gd name="T39" fmla="*/ 20 h 341"/>
              <a:gd name="T40" fmla="*/ 122 w 266"/>
              <a:gd name="T41" fmla="*/ 36 h 341"/>
              <a:gd name="T42" fmla="*/ 143 w 266"/>
              <a:gd name="T43" fmla="*/ 36 h 341"/>
              <a:gd name="T44" fmla="*/ 152 w 266"/>
              <a:gd name="T45" fmla="*/ 14 h 341"/>
              <a:gd name="T46" fmla="*/ 179 w 266"/>
              <a:gd name="T47" fmla="*/ 2 h 341"/>
              <a:gd name="T48" fmla="*/ 197 w 266"/>
              <a:gd name="T49" fmla="*/ 13 h 341"/>
              <a:gd name="T50" fmla="*/ 210 w 266"/>
              <a:gd name="T51" fmla="*/ 17 h 341"/>
              <a:gd name="T52" fmla="*/ 235 w 266"/>
              <a:gd name="T53" fmla="*/ 35 h 341"/>
              <a:gd name="T54" fmla="*/ 184 w 266"/>
              <a:gd name="T55" fmla="*/ 44 h 341"/>
              <a:gd name="T56" fmla="*/ 223 w 266"/>
              <a:gd name="T57" fmla="*/ 47 h 341"/>
              <a:gd name="T58" fmla="*/ 232 w 266"/>
              <a:gd name="T59" fmla="*/ 59 h 341"/>
              <a:gd name="T60" fmla="*/ 256 w 266"/>
              <a:gd name="T61" fmla="*/ 66 h 341"/>
              <a:gd name="T62" fmla="*/ 232 w 266"/>
              <a:gd name="T63" fmla="*/ 80 h 341"/>
              <a:gd name="T64" fmla="*/ 222 w 266"/>
              <a:gd name="T65" fmla="*/ 121 h 341"/>
              <a:gd name="T66" fmla="*/ 221 w 266"/>
              <a:gd name="T67" fmla="*/ 138 h 341"/>
              <a:gd name="T68" fmla="*/ 222 w 266"/>
              <a:gd name="T69" fmla="*/ 154 h 341"/>
              <a:gd name="T70" fmla="*/ 216 w 266"/>
              <a:gd name="T71" fmla="*/ 166 h 341"/>
              <a:gd name="T72" fmla="*/ 215 w 266"/>
              <a:gd name="T73" fmla="*/ 183 h 341"/>
              <a:gd name="T74" fmla="*/ 196 w 266"/>
              <a:gd name="T75" fmla="*/ 186 h 341"/>
              <a:gd name="T76" fmla="*/ 187 w 266"/>
              <a:gd name="T77" fmla="*/ 196 h 341"/>
              <a:gd name="T78" fmla="*/ 207 w 266"/>
              <a:gd name="T79" fmla="*/ 213 h 341"/>
              <a:gd name="T80" fmla="*/ 195 w 266"/>
              <a:gd name="T81" fmla="*/ 223 h 341"/>
              <a:gd name="T82" fmla="*/ 178 w 266"/>
              <a:gd name="T83" fmla="*/ 221 h 341"/>
              <a:gd name="T84" fmla="*/ 191 w 266"/>
              <a:gd name="T85" fmla="*/ 230 h 341"/>
              <a:gd name="T86" fmla="*/ 180 w 266"/>
              <a:gd name="T87" fmla="*/ 249 h 341"/>
              <a:gd name="T88" fmla="*/ 151 w 266"/>
              <a:gd name="T89" fmla="*/ 253 h 341"/>
              <a:gd name="T90" fmla="*/ 126 w 266"/>
              <a:gd name="T91" fmla="*/ 278 h 341"/>
              <a:gd name="T92" fmla="*/ 106 w 266"/>
              <a:gd name="T93" fmla="*/ 283 h 341"/>
              <a:gd name="T94" fmla="*/ 93 w 266"/>
              <a:gd name="T95" fmla="*/ 302 h 341"/>
              <a:gd name="T96" fmla="*/ 88 w 266"/>
              <a:gd name="T97" fmla="*/ 318 h 341"/>
              <a:gd name="T98" fmla="*/ 77 w 266"/>
              <a:gd name="T99" fmla="*/ 332 h 341"/>
              <a:gd name="T100" fmla="*/ 89 w 266"/>
              <a:gd name="T101" fmla="*/ 312 h 341"/>
              <a:gd name="T102" fmla="*/ 198 w 266"/>
              <a:gd name="T103" fmla="*/ 239 h 341"/>
              <a:gd name="T104" fmla="*/ 201 w 266"/>
              <a:gd name="T105" fmla="*/ 197 h 341"/>
              <a:gd name="T106" fmla="*/ 213 w 266"/>
              <a:gd name="T107" fmla="*/ 175 h 341"/>
              <a:gd name="T108" fmla="*/ 219 w 266"/>
              <a:gd name="T109" fmla="*/ 147 h 341"/>
              <a:gd name="T110" fmla="*/ 246 w 266"/>
              <a:gd name="T111" fmla="*/ 45 h 341"/>
              <a:gd name="T112" fmla="*/ 151 w 266"/>
              <a:gd name="T113" fmla="*/ 13 h 341"/>
              <a:gd name="T114" fmla="*/ 120 w 266"/>
              <a:gd name="T115" fmla="*/ 26 h 341"/>
              <a:gd name="T116" fmla="*/ 50 w 266"/>
              <a:gd name="T117" fmla="*/ 158 h 341"/>
              <a:gd name="T118" fmla="*/ 50 w 266"/>
              <a:gd name="T119" fmla="*/ 185 h 341"/>
              <a:gd name="T120" fmla="*/ 54 w 266"/>
              <a:gd name="T121" fmla="*/ 330 h 341"/>
              <a:gd name="T122" fmla="*/ 49 w 266"/>
              <a:gd name="T123" fmla="*/ 241 h 341"/>
              <a:gd name="T124" fmla="*/ 62 w 266"/>
              <a:gd name="T125" fmla="*/ 226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6" h="341">
                <a:moveTo>
                  <a:pt x="79" y="338"/>
                </a:moveTo>
                <a:cubicBezTo>
                  <a:pt x="76" y="336"/>
                  <a:pt x="76" y="336"/>
                  <a:pt x="76" y="336"/>
                </a:cubicBezTo>
                <a:cubicBezTo>
                  <a:pt x="75" y="336"/>
                  <a:pt x="75" y="336"/>
                  <a:pt x="75" y="336"/>
                </a:cubicBezTo>
                <a:cubicBezTo>
                  <a:pt x="75" y="336"/>
                  <a:pt x="75" y="336"/>
                  <a:pt x="75" y="336"/>
                </a:cubicBezTo>
                <a:cubicBezTo>
                  <a:pt x="75" y="335"/>
                  <a:pt x="75" y="335"/>
                  <a:pt x="75" y="335"/>
                </a:cubicBezTo>
                <a:cubicBezTo>
                  <a:pt x="75" y="335"/>
                  <a:pt x="75" y="335"/>
                  <a:pt x="75" y="335"/>
                </a:cubicBezTo>
                <a:cubicBezTo>
                  <a:pt x="75" y="334"/>
                  <a:pt x="75" y="334"/>
                  <a:pt x="75" y="334"/>
                </a:cubicBezTo>
                <a:cubicBezTo>
                  <a:pt x="75" y="334"/>
                  <a:pt x="75" y="334"/>
                  <a:pt x="75" y="334"/>
                </a:cubicBezTo>
                <a:cubicBezTo>
                  <a:pt x="74" y="335"/>
                  <a:pt x="74" y="335"/>
                  <a:pt x="74" y="335"/>
                </a:cubicBezTo>
                <a:cubicBezTo>
                  <a:pt x="74" y="335"/>
                  <a:pt x="74" y="335"/>
                  <a:pt x="74" y="335"/>
                </a:cubicBezTo>
                <a:cubicBezTo>
                  <a:pt x="74" y="336"/>
                  <a:pt x="74" y="336"/>
                  <a:pt x="74" y="336"/>
                </a:cubicBezTo>
                <a:cubicBezTo>
                  <a:pt x="73" y="336"/>
                  <a:pt x="73" y="336"/>
                  <a:pt x="73" y="336"/>
                </a:cubicBezTo>
                <a:cubicBezTo>
                  <a:pt x="72" y="336"/>
                  <a:pt x="72" y="336"/>
                  <a:pt x="72" y="336"/>
                </a:cubicBezTo>
                <a:cubicBezTo>
                  <a:pt x="72" y="337"/>
                  <a:pt x="72" y="337"/>
                  <a:pt x="72" y="337"/>
                </a:cubicBezTo>
                <a:cubicBezTo>
                  <a:pt x="72" y="338"/>
                  <a:pt x="72" y="338"/>
                  <a:pt x="72" y="338"/>
                </a:cubicBezTo>
                <a:cubicBezTo>
                  <a:pt x="72" y="338"/>
                  <a:pt x="72" y="338"/>
                  <a:pt x="72" y="338"/>
                </a:cubicBezTo>
                <a:cubicBezTo>
                  <a:pt x="71" y="338"/>
                  <a:pt x="71" y="338"/>
                  <a:pt x="71" y="338"/>
                </a:cubicBezTo>
                <a:cubicBezTo>
                  <a:pt x="71" y="337"/>
                  <a:pt x="71" y="337"/>
                  <a:pt x="71" y="337"/>
                </a:cubicBezTo>
                <a:cubicBezTo>
                  <a:pt x="72" y="336"/>
                  <a:pt x="72" y="336"/>
                  <a:pt x="72" y="336"/>
                </a:cubicBezTo>
                <a:cubicBezTo>
                  <a:pt x="72" y="335"/>
                  <a:pt x="72" y="335"/>
                  <a:pt x="72" y="335"/>
                </a:cubicBezTo>
                <a:cubicBezTo>
                  <a:pt x="73" y="333"/>
                  <a:pt x="73" y="333"/>
                  <a:pt x="73" y="333"/>
                </a:cubicBezTo>
                <a:cubicBezTo>
                  <a:pt x="73" y="333"/>
                  <a:pt x="73" y="333"/>
                  <a:pt x="73" y="333"/>
                </a:cubicBezTo>
                <a:cubicBezTo>
                  <a:pt x="72" y="334"/>
                  <a:pt x="72" y="334"/>
                  <a:pt x="72" y="334"/>
                </a:cubicBezTo>
                <a:cubicBezTo>
                  <a:pt x="71" y="336"/>
                  <a:pt x="71" y="336"/>
                  <a:pt x="71" y="336"/>
                </a:cubicBezTo>
                <a:cubicBezTo>
                  <a:pt x="70" y="337"/>
                  <a:pt x="70" y="337"/>
                  <a:pt x="70" y="337"/>
                </a:cubicBezTo>
                <a:cubicBezTo>
                  <a:pt x="69" y="336"/>
                  <a:pt x="69" y="336"/>
                  <a:pt x="69" y="336"/>
                </a:cubicBezTo>
                <a:cubicBezTo>
                  <a:pt x="70" y="336"/>
                  <a:pt x="70" y="336"/>
                  <a:pt x="70" y="336"/>
                </a:cubicBezTo>
                <a:cubicBezTo>
                  <a:pt x="71" y="335"/>
                  <a:pt x="71" y="335"/>
                  <a:pt x="71" y="335"/>
                </a:cubicBezTo>
                <a:cubicBezTo>
                  <a:pt x="71" y="333"/>
                  <a:pt x="71" y="333"/>
                  <a:pt x="71" y="333"/>
                </a:cubicBezTo>
                <a:cubicBezTo>
                  <a:pt x="72" y="332"/>
                  <a:pt x="72" y="332"/>
                  <a:pt x="72" y="332"/>
                </a:cubicBezTo>
                <a:cubicBezTo>
                  <a:pt x="71" y="332"/>
                  <a:pt x="71" y="332"/>
                  <a:pt x="71" y="332"/>
                </a:cubicBezTo>
                <a:cubicBezTo>
                  <a:pt x="70" y="332"/>
                  <a:pt x="70" y="332"/>
                  <a:pt x="70" y="332"/>
                </a:cubicBezTo>
                <a:cubicBezTo>
                  <a:pt x="70" y="333"/>
                  <a:pt x="70" y="333"/>
                  <a:pt x="70" y="333"/>
                </a:cubicBezTo>
                <a:cubicBezTo>
                  <a:pt x="69" y="334"/>
                  <a:pt x="69" y="334"/>
                  <a:pt x="69" y="334"/>
                </a:cubicBezTo>
                <a:cubicBezTo>
                  <a:pt x="69" y="333"/>
                  <a:pt x="69" y="333"/>
                  <a:pt x="69" y="333"/>
                </a:cubicBezTo>
                <a:cubicBezTo>
                  <a:pt x="69" y="332"/>
                  <a:pt x="69" y="332"/>
                  <a:pt x="69" y="332"/>
                </a:cubicBezTo>
                <a:cubicBezTo>
                  <a:pt x="70" y="332"/>
                  <a:pt x="70" y="332"/>
                  <a:pt x="70" y="332"/>
                </a:cubicBezTo>
                <a:cubicBezTo>
                  <a:pt x="70" y="331"/>
                  <a:pt x="70" y="331"/>
                  <a:pt x="70" y="331"/>
                </a:cubicBezTo>
                <a:cubicBezTo>
                  <a:pt x="69" y="331"/>
                  <a:pt x="69" y="331"/>
                  <a:pt x="69" y="331"/>
                </a:cubicBezTo>
                <a:cubicBezTo>
                  <a:pt x="69" y="332"/>
                  <a:pt x="69" y="332"/>
                  <a:pt x="69" y="332"/>
                </a:cubicBezTo>
                <a:cubicBezTo>
                  <a:pt x="68" y="333"/>
                  <a:pt x="68" y="333"/>
                  <a:pt x="68" y="333"/>
                </a:cubicBezTo>
                <a:cubicBezTo>
                  <a:pt x="68" y="333"/>
                  <a:pt x="68" y="333"/>
                  <a:pt x="68" y="333"/>
                </a:cubicBezTo>
                <a:cubicBezTo>
                  <a:pt x="67" y="332"/>
                  <a:pt x="67" y="332"/>
                  <a:pt x="67" y="332"/>
                </a:cubicBezTo>
                <a:cubicBezTo>
                  <a:pt x="67" y="332"/>
                  <a:pt x="67" y="332"/>
                  <a:pt x="67" y="332"/>
                </a:cubicBezTo>
                <a:cubicBezTo>
                  <a:pt x="67" y="332"/>
                  <a:pt x="67" y="332"/>
                  <a:pt x="67" y="332"/>
                </a:cubicBezTo>
                <a:cubicBezTo>
                  <a:pt x="66" y="332"/>
                  <a:pt x="66" y="332"/>
                  <a:pt x="66" y="332"/>
                </a:cubicBezTo>
                <a:cubicBezTo>
                  <a:pt x="66" y="332"/>
                  <a:pt x="66" y="332"/>
                  <a:pt x="66" y="332"/>
                </a:cubicBezTo>
                <a:cubicBezTo>
                  <a:pt x="66" y="332"/>
                  <a:pt x="66" y="332"/>
                  <a:pt x="66" y="332"/>
                </a:cubicBezTo>
                <a:cubicBezTo>
                  <a:pt x="68" y="331"/>
                  <a:pt x="68" y="331"/>
                  <a:pt x="68" y="331"/>
                </a:cubicBezTo>
                <a:cubicBezTo>
                  <a:pt x="68" y="330"/>
                  <a:pt x="68" y="330"/>
                  <a:pt x="68" y="330"/>
                </a:cubicBezTo>
                <a:cubicBezTo>
                  <a:pt x="69" y="329"/>
                  <a:pt x="69" y="329"/>
                  <a:pt x="69" y="329"/>
                </a:cubicBezTo>
                <a:cubicBezTo>
                  <a:pt x="70" y="328"/>
                  <a:pt x="70" y="328"/>
                  <a:pt x="70" y="328"/>
                </a:cubicBezTo>
                <a:cubicBezTo>
                  <a:pt x="70" y="328"/>
                  <a:pt x="70" y="328"/>
                  <a:pt x="70" y="328"/>
                </a:cubicBezTo>
                <a:cubicBezTo>
                  <a:pt x="68" y="329"/>
                  <a:pt x="68" y="329"/>
                  <a:pt x="68" y="329"/>
                </a:cubicBezTo>
                <a:cubicBezTo>
                  <a:pt x="67" y="329"/>
                  <a:pt x="67" y="329"/>
                  <a:pt x="67" y="329"/>
                </a:cubicBezTo>
                <a:cubicBezTo>
                  <a:pt x="67" y="329"/>
                  <a:pt x="67" y="329"/>
                  <a:pt x="67" y="329"/>
                </a:cubicBezTo>
                <a:cubicBezTo>
                  <a:pt x="67" y="329"/>
                  <a:pt x="67" y="329"/>
                  <a:pt x="67" y="329"/>
                </a:cubicBezTo>
                <a:cubicBezTo>
                  <a:pt x="68" y="329"/>
                  <a:pt x="68" y="329"/>
                  <a:pt x="68" y="329"/>
                </a:cubicBezTo>
                <a:cubicBezTo>
                  <a:pt x="69" y="328"/>
                  <a:pt x="69" y="328"/>
                  <a:pt x="69" y="328"/>
                </a:cubicBezTo>
                <a:cubicBezTo>
                  <a:pt x="70" y="327"/>
                  <a:pt x="70" y="327"/>
                  <a:pt x="70" y="327"/>
                </a:cubicBezTo>
                <a:cubicBezTo>
                  <a:pt x="71" y="327"/>
                  <a:pt x="71" y="327"/>
                  <a:pt x="71" y="327"/>
                </a:cubicBezTo>
                <a:cubicBezTo>
                  <a:pt x="71" y="326"/>
                  <a:pt x="71" y="326"/>
                  <a:pt x="71" y="326"/>
                </a:cubicBezTo>
                <a:cubicBezTo>
                  <a:pt x="71" y="325"/>
                  <a:pt x="71" y="325"/>
                  <a:pt x="71" y="325"/>
                </a:cubicBezTo>
                <a:cubicBezTo>
                  <a:pt x="70" y="325"/>
                  <a:pt x="70" y="325"/>
                  <a:pt x="70" y="325"/>
                </a:cubicBezTo>
                <a:cubicBezTo>
                  <a:pt x="69" y="327"/>
                  <a:pt x="69" y="327"/>
                  <a:pt x="69" y="327"/>
                </a:cubicBezTo>
                <a:cubicBezTo>
                  <a:pt x="67" y="328"/>
                  <a:pt x="67" y="328"/>
                  <a:pt x="67" y="328"/>
                </a:cubicBezTo>
                <a:cubicBezTo>
                  <a:pt x="66" y="328"/>
                  <a:pt x="66" y="328"/>
                  <a:pt x="66" y="328"/>
                </a:cubicBezTo>
                <a:cubicBezTo>
                  <a:pt x="66" y="328"/>
                  <a:pt x="66" y="328"/>
                  <a:pt x="66" y="328"/>
                </a:cubicBezTo>
                <a:cubicBezTo>
                  <a:pt x="66" y="327"/>
                  <a:pt x="66" y="327"/>
                  <a:pt x="66" y="327"/>
                </a:cubicBezTo>
                <a:cubicBezTo>
                  <a:pt x="67" y="327"/>
                  <a:pt x="67" y="327"/>
                  <a:pt x="67" y="327"/>
                </a:cubicBezTo>
                <a:cubicBezTo>
                  <a:pt x="68" y="326"/>
                  <a:pt x="68" y="326"/>
                  <a:pt x="68" y="326"/>
                </a:cubicBezTo>
                <a:cubicBezTo>
                  <a:pt x="68" y="325"/>
                  <a:pt x="68" y="325"/>
                  <a:pt x="68" y="325"/>
                </a:cubicBezTo>
                <a:cubicBezTo>
                  <a:pt x="67" y="324"/>
                  <a:pt x="67" y="324"/>
                  <a:pt x="67" y="324"/>
                </a:cubicBezTo>
                <a:cubicBezTo>
                  <a:pt x="67" y="324"/>
                  <a:pt x="67" y="324"/>
                  <a:pt x="67" y="324"/>
                </a:cubicBezTo>
                <a:cubicBezTo>
                  <a:pt x="66" y="324"/>
                  <a:pt x="66" y="324"/>
                  <a:pt x="66" y="324"/>
                </a:cubicBezTo>
                <a:cubicBezTo>
                  <a:pt x="66" y="325"/>
                  <a:pt x="66" y="325"/>
                  <a:pt x="66" y="325"/>
                </a:cubicBezTo>
                <a:cubicBezTo>
                  <a:pt x="67" y="325"/>
                  <a:pt x="67" y="325"/>
                  <a:pt x="67" y="325"/>
                </a:cubicBezTo>
                <a:cubicBezTo>
                  <a:pt x="67" y="326"/>
                  <a:pt x="67" y="326"/>
                  <a:pt x="67" y="326"/>
                </a:cubicBezTo>
                <a:cubicBezTo>
                  <a:pt x="66" y="326"/>
                  <a:pt x="66" y="326"/>
                  <a:pt x="66" y="326"/>
                </a:cubicBezTo>
                <a:cubicBezTo>
                  <a:pt x="65" y="326"/>
                  <a:pt x="65" y="326"/>
                  <a:pt x="65" y="326"/>
                </a:cubicBezTo>
                <a:cubicBezTo>
                  <a:pt x="64" y="326"/>
                  <a:pt x="64" y="326"/>
                  <a:pt x="64" y="326"/>
                </a:cubicBezTo>
                <a:cubicBezTo>
                  <a:pt x="64" y="326"/>
                  <a:pt x="64" y="326"/>
                  <a:pt x="64" y="326"/>
                </a:cubicBezTo>
                <a:cubicBezTo>
                  <a:pt x="63" y="327"/>
                  <a:pt x="63" y="327"/>
                  <a:pt x="63" y="327"/>
                </a:cubicBezTo>
                <a:cubicBezTo>
                  <a:pt x="62" y="328"/>
                  <a:pt x="62" y="328"/>
                  <a:pt x="62" y="328"/>
                </a:cubicBezTo>
                <a:cubicBezTo>
                  <a:pt x="62" y="328"/>
                  <a:pt x="62" y="328"/>
                  <a:pt x="62" y="328"/>
                </a:cubicBezTo>
                <a:cubicBezTo>
                  <a:pt x="61" y="328"/>
                  <a:pt x="61" y="328"/>
                  <a:pt x="61" y="328"/>
                </a:cubicBezTo>
                <a:cubicBezTo>
                  <a:pt x="61" y="327"/>
                  <a:pt x="61" y="327"/>
                  <a:pt x="61" y="327"/>
                </a:cubicBezTo>
                <a:cubicBezTo>
                  <a:pt x="60" y="327"/>
                  <a:pt x="60" y="327"/>
                  <a:pt x="60" y="327"/>
                </a:cubicBezTo>
                <a:cubicBezTo>
                  <a:pt x="59" y="328"/>
                  <a:pt x="59" y="328"/>
                  <a:pt x="59" y="328"/>
                </a:cubicBezTo>
                <a:cubicBezTo>
                  <a:pt x="58" y="328"/>
                  <a:pt x="58" y="328"/>
                  <a:pt x="58" y="328"/>
                </a:cubicBezTo>
                <a:cubicBezTo>
                  <a:pt x="58" y="328"/>
                  <a:pt x="58" y="328"/>
                  <a:pt x="58" y="328"/>
                </a:cubicBezTo>
                <a:cubicBezTo>
                  <a:pt x="58" y="328"/>
                  <a:pt x="58" y="328"/>
                  <a:pt x="58" y="328"/>
                </a:cubicBezTo>
                <a:cubicBezTo>
                  <a:pt x="58" y="329"/>
                  <a:pt x="58" y="329"/>
                  <a:pt x="58" y="329"/>
                </a:cubicBezTo>
                <a:cubicBezTo>
                  <a:pt x="57" y="329"/>
                  <a:pt x="57" y="329"/>
                  <a:pt x="57" y="329"/>
                </a:cubicBezTo>
                <a:cubicBezTo>
                  <a:pt x="56" y="329"/>
                  <a:pt x="56" y="329"/>
                  <a:pt x="56" y="329"/>
                </a:cubicBezTo>
                <a:cubicBezTo>
                  <a:pt x="55" y="328"/>
                  <a:pt x="55" y="328"/>
                  <a:pt x="55" y="328"/>
                </a:cubicBezTo>
                <a:cubicBezTo>
                  <a:pt x="56" y="327"/>
                  <a:pt x="56" y="327"/>
                  <a:pt x="56" y="327"/>
                </a:cubicBezTo>
                <a:cubicBezTo>
                  <a:pt x="57" y="327"/>
                  <a:pt x="57" y="327"/>
                  <a:pt x="57" y="327"/>
                </a:cubicBezTo>
                <a:cubicBezTo>
                  <a:pt x="58" y="327"/>
                  <a:pt x="58" y="327"/>
                  <a:pt x="58" y="327"/>
                </a:cubicBezTo>
                <a:cubicBezTo>
                  <a:pt x="57" y="326"/>
                  <a:pt x="57" y="326"/>
                  <a:pt x="57" y="326"/>
                </a:cubicBezTo>
                <a:cubicBezTo>
                  <a:pt x="56" y="326"/>
                  <a:pt x="56" y="326"/>
                  <a:pt x="56" y="326"/>
                </a:cubicBezTo>
                <a:cubicBezTo>
                  <a:pt x="56" y="325"/>
                  <a:pt x="56" y="325"/>
                  <a:pt x="56" y="325"/>
                </a:cubicBezTo>
                <a:cubicBezTo>
                  <a:pt x="56" y="324"/>
                  <a:pt x="56" y="324"/>
                  <a:pt x="56" y="324"/>
                </a:cubicBezTo>
                <a:cubicBezTo>
                  <a:pt x="55" y="323"/>
                  <a:pt x="55" y="323"/>
                  <a:pt x="55" y="323"/>
                </a:cubicBezTo>
                <a:cubicBezTo>
                  <a:pt x="55" y="324"/>
                  <a:pt x="55" y="324"/>
                  <a:pt x="55" y="324"/>
                </a:cubicBezTo>
                <a:cubicBezTo>
                  <a:pt x="53" y="325"/>
                  <a:pt x="53" y="325"/>
                  <a:pt x="53" y="325"/>
                </a:cubicBezTo>
                <a:cubicBezTo>
                  <a:pt x="52" y="325"/>
                  <a:pt x="52" y="325"/>
                  <a:pt x="52" y="325"/>
                </a:cubicBezTo>
                <a:cubicBezTo>
                  <a:pt x="52" y="324"/>
                  <a:pt x="52" y="324"/>
                  <a:pt x="52" y="324"/>
                </a:cubicBezTo>
                <a:cubicBezTo>
                  <a:pt x="53" y="323"/>
                  <a:pt x="53" y="323"/>
                  <a:pt x="53" y="323"/>
                </a:cubicBezTo>
                <a:cubicBezTo>
                  <a:pt x="52" y="322"/>
                  <a:pt x="52" y="322"/>
                  <a:pt x="52" y="322"/>
                </a:cubicBezTo>
                <a:cubicBezTo>
                  <a:pt x="52" y="322"/>
                  <a:pt x="52" y="322"/>
                  <a:pt x="52" y="322"/>
                </a:cubicBezTo>
                <a:cubicBezTo>
                  <a:pt x="52" y="322"/>
                  <a:pt x="52" y="322"/>
                  <a:pt x="52" y="322"/>
                </a:cubicBezTo>
                <a:cubicBezTo>
                  <a:pt x="53" y="321"/>
                  <a:pt x="53" y="321"/>
                  <a:pt x="53" y="321"/>
                </a:cubicBezTo>
                <a:cubicBezTo>
                  <a:pt x="54" y="321"/>
                  <a:pt x="54" y="321"/>
                  <a:pt x="54" y="321"/>
                </a:cubicBezTo>
                <a:cubicBezTo>
                  <a:pt x="54" y="321"/>
                  <a:pt x="54" y="321"/>
                  <a:pt x="54" y="321"/>
                </a:cubicBezTo>
                <a:cubicBezTo>
                  <a:pt x="54" y="320"/>
                  <a:pt x="54" y="320"/>
                  <a:pt x="54" y="320"/>
                </a:cubicBezTo>
                <a:cubicBezTo>
                  <a:pt x="53" y="320"/>
                  <a:pt x="53" y="320"/>
                  <a:pt x="53" y="320"/>
                </a:cubicBezTo>
                <a:cubicBezTo>
                  <a:pt x="52" y="320"/>
                  <a:pt x="52" y="320"/>
                  <a:pt x="52" y="320"/>
                </a:cubicBezTo>
                <a:cubicBezTo>
                  <a:pt x="51" y="321"/>
                  <a:pt x="51" y="321"/>
                  <a:pt x="51" y="321"/>
                </a:cubicBezTo>
                <a:cubicBezTo>
                  <a:pt x="50" y="321"/>
                  <a:pt x="50" y="321"/>
                  <a:pt x="50" y="321"/>
                </a:cubicBezTo>
                <a:cubicBezTo>
                  <a:pt x="49" y="321"/>
                  <a:pt x="49" y="321"/>
                  <a:pt x="49" y="321"/>
                </a:cubicBezTo>
                <a:cubicBezTo>
                  <a:pt x="49" y="320"/>
                  <a:pt x="49" y="320"/>
                  <a:pt x="49" y="320"/>
                </a:cubicBezTo>
                <a:cubicBezTo>
                  <a:pt x="50" y="320"/>
                  <a:pt x="50" y="320"/>
                  <a:pt x="50" y="320"/>
                </a:cubicBezTo>
                <a:cubicBezTo>
                  <a:pt x="51" y="319"/>
                  <a:pt x="51" y="319"/>
                  <a:pt x="51" y="319"/>
                </a:cubicBezTo>
                <a:cubicBezTo>
                  <a:pt x="51" y="318"/>
                  <a:pt x="51" y="318"/>
                  <a:pt x="51" y="318"/>
                </a:cubicBezTo>
                <a:cubicBezTo>
                  <a:pt x="52" y="318"/>
                  <a:pt x="52" y="318"/>
                  <a:pt x="52" y="318"/>
                </a:cubicBezTo>
                <a:cubicBezTo>
                  <a:pt x="52" y="317"/>
                  <a:pt x="52" y="317"/>
                  <a:pt x="52" y="317"/>
                </a:cubicBezTo>
                <a:cubicBezTo>
                  <a:pt x="52" y="317"/>
                  <a:pt x="52" y="317"/>
                  <a:pt x="52" y="317"/>
                </a:cubicBezTo>
                <a:cubicBezTo>
                  <a:pt x="51" y="317"/>
                  <a:pt x="51" y="317"/>
                  <a:pt x="51" y="317"/>
                </a:cubicBezTo>
                <a:cubicBezTo>
                  <a:pt x="50" y="317"/>
                  <a:pt x="50" y="317"/>
                  <a:pt x="50" y="317"/>
                </a:cubicBezTo>
                <a:cubicBezTo>
                  <a:pt x="49" y="318"/>
                  <a:pt x="49" y="318"/>
                  <a:pt x="49" y="318"/>
                </a:cubicBezTo>
                <a:cubicBezTo>
                  <a:pt x="49" y="317"/>
                  <a:pt x="49" y="317"/>
                  <a:pt x="49" y="317"/>
                </a:cubicBezTo>
                <a:cubicBezTo>
                  <a:pt x="49" y="316"/>
                  <a:pt x="49" y="316"/>
                  <a:pt x="49" y="316"/>
                </a:cubicBezTo>
                <a:cubicBezTo>
                  <a:pt x="50" y="316"/>
                  <a:pt x="50" y="316"/>
                  <a:pt x="50" y="316"/>
                </a:cubicBezTo>
                <a:cubicBezTo>
                  <a:pt x="51" y="316"/>
                  <a:pt x="51" y="316"/>
                  <a:pt x="51" y="316"/>
                </a:cubicBezTo>
                <a:cubicBezTo>
                  <a:pt x="51" y="316"/>
                  <a:pt x="51" y="316"/>
                  <a:pt x="51" y="316"/>
                </a:cubicBezTo>
                <a:cubicBezTo>
                  <a:pt x="52" y="315"/>
                  <a:pt x="52" y="315"/>
                  <a:pt x="52" y="315"/>
                </a:cubicBezTo>
                <a:cubicBezTo>
                  <a:pt x="52" y="315"/>
                  <a:pt x="52" y="315"/>
                  <a:pt x="52" y="315"/>
                </a:cubicBezTo>
                <a:cubicBezTo>
                  <a:pt x="52" y="314"/>
                  <a:pt x="52" y="314"/>
                  <a:pt x="52" y="314"/>
                </a:cubicBezTo>
                <a:cubicBezTo>
                  <a:pt x="52" y="314"/>
                  <a:pt x="52" y="314"/>
                  <a:pt x="52" y="314"/>
                </a:cubicBezTo>
                <a:cubicBezTo>
                  <a:pt x="51" y="314"/>
                  <a:pt x="51" y="314"/>
                  <a:pt x="51" y="314"/>
                </a:cubicBezTo>
                <a:cubicBezTo>
                  <a:pt x="50" y="315"/>
                  <a:pt x="50" y="315"/>
                  <a:pt x="50" y="315"/>
                </a:cubicBezTo>
                <a:cubicBezTo>
                  <a:pt x="50" y="315"/>
                  <a:pt x="50" y="315"/>
                  <a:pt x="50" y="315"/>
                </a:cubicBezTo>
                <a:cubicBezTo>
                  <a:pt x="49" y="315"/>
                  <a:pt x="49" y="315"/>
                  <a:pt x="49" y="315"/>
                </a:cubicBezTo>
                <a:cubicBezTo>
                  <a:pt x="49" y="315"/>
                  <a:pt x="49" y="315"/>
                  <a:pt x="49" y="315"/>
                </a:cubicBezTo>
                <a:cubicBezTo>
                  <a:pt x="50" y="314"/>
                  <a:pt x="50" y="314"/>
                  <a:pt x="50" y="314"/>
                </a:cubicBezTo>
                <a:cubicBezTo>
                  <a:pt x="50" y="314"/>
                  <a:pt x="50" y="314"/>
                  <a:pt x="50" y="314"/>
                </a:cubicBezTo>
                <a:cubicBezTo>
                  <a:pt x="49" y="313"/>
                  <a:pt x="49" y="313"/>
                  <a:pt x="49" y="313"/>
                </a:cubicBezTo>
                <a:cubicBezTo>
                  <a:pt x="50" y="313"/>
                  <a:pt x="50" y="313"/>
                  <a:pt x="50" y="313"/>
                </a:cubicBezTo>
                <a:cubicBezTo>
                  <a:pt x="50" y="312"/>
                  <a:pt x="50" y="312"/>
                  <a:pt x="50" y="312"/>
                </a:cubicBezTo>
                <a:cubicBezTo>
                  <a:pt x="50" y="312"/>
                  <a:pt x="50" y="312"/>
                  <a:pt x="50" y="312"/>
                </a:cubicBezTo>
                <a:cubicBezTo>
                  <a:pt x="49" y="312"/>
                  <a:pt x="49" y="312"/>
                  <a:pt x="49" y="312"/>
                </a:cubicBezTo>
                <a:cubicBezTo>
                  <a:pt x="49" y="312"/>
                  <a:pt x="49" y="312"/>
                  <a:pt x="49" y="312"/>
                </a:cubicBezTo>
                <a:cubicBezTo>
                  <a:pt x="49" y="311"/>
                  <a:pt x="49" y="311"/>
                  <a:pt x="49" y="311"/>
                </a:cubicBezTo>
                <a:cubicBezTo>
                  <a:pt x="49" y="310"/>
                  <a:pt x="49" y="310"/>
                  <a:pt x="49" y="310"/>
                </a:cubicBezTo>
                <a:cubicBezTo>
                  <a:pt x="48" y="310"/>
                  <a:pt x="48" y="310"/>
                  <a:pt x="48" y="310"/>
                </a:cubicBezTo>
                <a:cubicBezTo>
                  <a:pt x="48" y="310"/>
                  <a:pt x="48" y="310"/>
                  <a:pt x="48" y="310"/>
                </a:cubicBezTo>
                <a:cubicBezTo>
                  <a:pt x="47" y="311"/>
                  <a:pt x="47" y="311"/>
                  <a:pt x="47" y="311"/>
                </a:cubicBezTo>
                <a:cubicBezTo>
                  <a:pt x="47" y="310"/>
                  <a:pt x="47" y="310"/>
                  <a:pt x="47" y="310"/>
                </a:cubicBezTo>
                <a:cubicBezTo>
                  <a:pt x="47" y="309"/>
                  <a:pt x="47" y="309"/>
                  <a:pt x="47" y="309"/>
                </a:cubicBezTo>
                <a:cubicBezTo>
                  <a:pt x="48" y="308"/>
                  <a:pt x="48" y="308"/>
                  <a:pt x="48" y="308"/>
                </a:cubicBezTo>
                <a:cubicBezTo>
                  <a:pt x="48" y="308"/>
                  <a:pt x="48" y="308"/>
                  <a:pt x="48" y="308"/>
                </a:cubicBezTo>
                <a:cubicBezTo>
                  <a:pt x="49" y="307"/>
                  <a:pt x="49" y="307"/>
                  <a:pt x="49" y="307"/>
                </a:cubicBezTo>
                <a:cubicBezTo>
                  <a:pt x="49" y="306"/>
                  <a:pt x="49" y="306"/>
                  <a:pt x="49" y="306"/>
                </a:cubicBezTo>
                <a:cubicBezTo>
                  <a:pt x="49" y="306"/>
                  <a:pt x="49" y="306"/>
                  <a:pt x="49" y="306"/>
                </a:cubicBezTo>
                <a:cubicBezTo>
                  <a:pt x="49" y="305"/>
                  <a:pt x="49" y="305"/>
                  <a:pt x="49" y="305"/>
                </a:cubicBezTo>
                <a:cubicBezTo>
                  <a:pt x="49" y="305"/>
                  <a:pt x="49" y="305"/>
                  <a:pt x="49" y="305"/>
                </a:cubicBezTo>
                <a:cubicBezTo>
                  <a:pt x="49" y="305"/>
                  <a:pt x="49" y="305"/>
                  <a:pt x="49" y="305"/>
                </a:cubicBezTo>
                <a:cubicBezTo>
                  <a:pt x="48" y="306"/>
                  <a:pt x="48" y="306"/>
                  <a:pt x="48" y="306"/>
                </a:cubicBezTo>
                <a:cubicBezTo>
                  <a:pt x="48" y="305"/>
                  <a:pt x="48" y="305"/>
                  <a:pt x="48" y="305"/>
                </a:cubicBezTo>
                <a:cubicBezTo>
                  <a:pt x="47" y="305"/>
                  <a:pt x="47" y="305"/>
                  <a:pt x="47" y="305"/>
                </a:cubicBezTo>
                <a:cubicBezTo>
                  <a:pt x="47" y="305"/>
                  <a:pt x="47" y="305"/>
                  <a:pt x="47" y="305"/>
                </a:cubicBezTo>
                <a:cubicBezTo>
                  <a:pt x="46" y="305"/>
                  <a:pt x="46" y="305"/>
                  <a:pt x="46" y="305"/>
                </a:cubicBezTo>
                <a:cubicBezTo>
                  <a:pt x="46" y="304"/>
                  <a:pt x="46" y="304"/>
                  <a:pt x="46" y="304"/>
                </a:cubicBezTo>
                <a:cubicBezTo>
                  <a:pt x="46" y="303"/>
                  <a:pt x="46" y="303"/>
                  <a:pt x="46" y="303"/>
                </a:cubicBezTo>
                <a:cubicBezTo>
                  <a:pt x="48" y="303"/>
                  <a:pt x="48" y="303"/>
                  <a:pt x="48" y="303"/>
                </a:cubicBezTo>
                <a:cubicBezTo>
                  <a:pt x="48" y="302"/>
                  <a:pt x="48" y="302"/>
                  <a:pt x="48" y="302"/>
                </a:cubicBezTo>
                <a:cubicBezTo>
                  <a:pt x="47" y="302"/>
                  <a:pt x="47" y="302"/>
                  <a:pt x="47" y="302"/>
                </a:cubicBezTo>
                <a:cubicBezTo>
                  <a:pt x="46" y="302"/>
                  <a:pt x="46" y="302"/>
                  <a:pt x="46" y="302"/>
                </a:cubicBezTo>
                <a:cubicBezTo>
                  <a:pt x="45" y="302"/>
                  <a:pt x="45" y="302"/>
                  <a:pt x="45" y="302"/>
                </a:cubicBezTo>
                <a:cubicBezTo>
                  <a:pt x="44" y="302"/>
                  <a:pt x="44" y="302"/>
                  <a:pt x="44" y="302"/>
                </a:cubicBezTo>
                <a:cubicBezTo>
                  <a:pt x="44" y="302"/>
                  <a:pt x="44" y="302"/>
                  <a:pt x="44" y="302"/>
                </a:cubicBezTo>
                <a:cubicBezTo>
                  <a:pt x="44" y="301"/>
                  <a:pt x="44" y="301"/>
                  <a:pt x="44" y="301"/>
                </a:cubicBezTo>
                <a:cubicBezTo>
                  <a:pt x="45" y="301"/>
                  <a:pt x="45" y="301"/>
                  <a:pt x="45" y="301"/>
                </a:cubicBezTo>
                <a:cubicBezTo>
                  <a:pt x="46" y="301"/>
                  <a:pt x="46" y="301"/>
                  <a:pt x="46" y="301"/>
                </a:cubicBezTo>
                <a:cubicBezTo>
                  <a:pt x="48" y="301"/>
                  <a:pt x="48" y="301"/>
                  <a:pt x="48" y="301"/>
                </a:cubicBezTo>
                <a:cubicBezTo>
                  <a:pt x="48" y="300"/>
                  <a:pt x="48" y="300"/>
                  <a:pt x="48" y="300"/>
                </a:cubicBezTo>
                <a:cubicBezTo>
                  <a:pt x="48" y="300"/>
                  <a:pt x="48" y="300"/>
                  <a:pt x="48" y="300"/>
                </a:cubicBezTo>
                <a:cubicBezTo>
                  <a:pt x="47" y="300"/>
                  <a:pt x="47" y="300"/>
                  <a:pt x="47" y="300"/>
                </a:cubicBezTo>
                <a:cubicBezTo>
                  <a:pt x="46" y="300"/>
                  <a:pt x="46" y="300"/>
                  <a:pt x="46" y="300"/>
                </a:cubicBezTo>
                <a:cubicBezTo>
                  <a:pt x="45" y="300"/>
                  <a:pt x="45" y="300"/>
                  <a:pt x="45" y="300"/>
                </a:cubicBezTo>
                <a:cubicBezTo>
                  <a:pt x="44" y="300"/>
                  <a:pt x="44" y="300"/>
                  <a:pt x="44" y="300"/>
                </a:cubicBezTo>
                <a:cubicBezTo>
                  <a:pt x="44" y="300"/>
                  <a:pt x="44" y="300"/>
                  <a:pt x="44" y="300"/>
                </a:cubicBezTo>
                <a:cubicBezTo>
                  <a:pt x="45" y="299"/>
                  <a:pt x="45" y="299"/>
                  <a:pt x="45" y="299"/>
                </a:cubicBezTo>
                <a:cubicBezTo>
                  <a:pt x="46" y="299"/>
                  <a:pt x="46" y="299"/>
                  <a:pt x="46" y="299"/>
                </a:cubicBezTo>
                <a:cubicBezTo>
                  <a:pt x="47" y="298"/>
                  <a:pt x="47" y="298"/>
                  <a:pt x="47" y="298"/>
                </a:cubicBezTo>
                <a:cubicBezTo>
                  <a:pt x="46" y="298"/>
                  <a:pt x="46" y="298"/>
                  <a:pt x="46" y="298"/>
                </a:cubicBezTo>
                <a:cubicBezTo>
                  <a:pt x="46" y="298"/>
                  <a:pt x="46" y="298"/>
                  <a:pt x="46" y="298"/>
                </a:cubicBezTo>
                <a:cubicBezTo>
                  <a:pt x="45" y="298"/>
                  <a:pt x="45" y="298"/>
                  <a:pt x="45" y="298"/>
                </a:cubicBezTo>
                <a:cubicBezTo>
                  <a:pt x="45" y="297"/>
                  <a:pt x="45" y="297"/>
                  <a:pt x="45" y="297"/>
                </a:cubicBezTo>
                <a:cubicBezTo>
                  <a:pt x="46" y="298"/>
                  <a:pt x="46" y="298"/>
                  <a:pt x="46" y="298"/>
                </a:cubicBezTo>
                <a:cubicBezTo>
                  <a:pt x="47" y="298"/>
                  <a:pt x="47" y="298"/>
                  <a:pt x="47" y="298"/>
                </a:cubicBezTo>
                <a:cubicBezTo>
                  <a:pt x="48" y="297"/>
                  <a:pt x="48" y="297"/>
                  <a:pt x="48" y="297"/>
                </a:cubicBezTo>
                <a:cubicBezTo>
                  <a:pt x="49" y="297"/>
                  <a:pt x="49" y="297"/>
                  <a:pt x="49" y="297"/>
                </a:cubicBezTo>
                <a:cubicBezTo>
                  <a:pt x="48" y="297"/>
                  <a:pt x="48" y="297"/>
                  <a:pt x="48" y="297"/>
                </a:cubicBezTo>
                <a:cubicBezTo>
                  <a:pt x="48" y="297"/>
                  <a:pt x="48" y="297"/>
                  <a:pt x="48" y="297"/>
                </a:cubicBezTo>
                <a:cubicBezTo>
                  <a:pt x="47" y="297"/>
                  <a:pt x="47" y="297"/>
                  <a:pt x="47" y="297"/>
                </a:cubicBezTo>
                <a:cubicBezTo>
                  <a:pt x="46" y="297"/>
                  <a:pt x="46" y="297"/>
                  <a:pt x="46" y="297"/>
                </a:cubicBezTo>
                <a:cubicBezTo>
                  <a:pt x="46" y="297"/>
                  <a:pt x="46" y="297"/>
                  <a:pt x="46" y="297"/>
                </a:cubicBezTo>
                <a:cubicBezTo>
                  <a:pt x="45" y="297"/>
                  <a:pt x="45" y="297"/>
                  <a:pt x="45" y="297"/>
                </a:cubicBezTo>
                <a:cubicBezTo>
                  <a:pt x="45" y="297"/>
                  <a:pt x="45" y="297"/>
                  <a:pt x="45" y="297"/>
                </a:cubicBezTo>
                <a:cubicBezTo>
                  <a:pt x="44" y="298"/>
                  <a:pt x="44" y="298"/>
                  <a:pt x="44" y="298"/>
                </a:cubicBezTo>
                <a:cubicBezTo>
                  <a:pt x="43" y="297"/>
                  <a:pt x="43" y="297"/>
                  <a:pt x="43" y="297"/>
                </a:cubicBezTo>
                <a:cubicBezTo>
                  <a:pt x="43" y="297"/>
                  <a:pt x="43" y="297"/>
                  <a:pt x="43" y="297"/>
                </a:cubicBezTo>
                <a:cubicBezTo>
                  <a:pt x="43" y="296"/>
                  <a:pt x="43" y="296"/>
                  <a:pt x="43" y="296"/>
                </a:cubicBezTo>
                <a:cubicBezTo>
                  <a:pt x="45" y="296"/>
                  <a:pt x="45" y="296"/>
                  <a:pt x="45" y="296"/>
                </a:cubicBezTo>
                <a:cubicBezTo>
                  <a:pt x="46" y="295"/>
                  <a:pt x="46" y="295"/>
                  <a:pt x="46" y="295"/>
                </a:cubicBezTo>
                <a:cubicBezTo>
                  <a:pt x="45" y="295"/>
                  <a:pt x="45" y="295"/>
                  <a:pt x="45" y="295"/>
                </a:cubicBezTo>
                <a:cubicBezTo>
                  <a:pt x="44" y="295"/>
                  <a:pt x="44" y="295"/>
                  <a:pt x="44" y="295"/>
                </a:cubicBezTo>
                <a:cubicBezTo>
                  <a:pt x="43" y="295"/>
                  <a:pt x="43" y="295"/>
                  <a:pt x="43" y="295"/>
                </a:cubicBezTo>
                <a:cubicBezTo>
                  <a:pt x="43" y="294"/>
                  <a:pt x="43" y="294"/>
                  <a:pt x="43" y="294"/>
                </a:cubicBezTo>
                <a:cubicBezTo>
                  <a:pt x="43" y="293"/>
                  <a:pt x="43" y="293"/>
                  <a:pt x="43" y="293"/>
                </a:cubicBezTo>
                <a:cubicBezTo>
                  <a:pt x="44" y="293"/>
                  <a:pt x="44" y="293"/>
                  <a:pt x="44" y="293"/>
                </a:cubicBezTo>
                <a:cubicBezTo>
                  <a:pt x="47" y="293"/>
                  <a:pt x="47" y="293"/>
                  <a:pt x="47" y="293"/>
                </a:cubicBezTo>
                <a:cubicBezTo>
                  <a:pt x="48" y="292"/>
                  <a:pt x="48" y="292"/>
                  <a:pt x="48" y="292"/>
                </a:cubicBezTo>
                <a:cubicBezTo>
                  <a:pt x="50" y="292"/>
                  <a:pt x="50" y="292"/>
                  <a:pt x="50" y="292"/>
                </a:cubicBezTo>
                <a:cubicBezTo>
                  <a:pt x="51" y="292"/>
                  <a:pt x="51" y="292"/>
                  <a:pt x="51" y="292"/>
                </a:cubicBezTo>
                <a:cubicBezTo>
                  <a:pt x="51" y="291"/>
                  <a:pt x="51" y="291"/>
                  <a:pt x="51" y="291"/>
                </a:cubicBezTo>
                <a:cubicBezTo>
                  <a:pt x="50" y="291"/>
                  <a:pt x="50" y="291"/>
                  <a:pt x="50" y="291"/>
                </a:cubicBezTo>
                <a:cubicBezTo>
                  <a:pt x="49" y="291"/>
                  <a:pt x="49" y="291"/>
                  <a:pt x="49" y="291"/>
                </a:cubicBezTo>
                <a:cubicBezTo>
                  <a:pt x="48" y="292"/>
                  <a:pt x="48" y="292"/>
                  <a:pt x="48" y="292"/>
                </a:cubicBezTo>
                <a:cubicBezTo>
                  <a:pt x="46" y="292"/>
                  <a:pt x="46" y="292"/>
                  <a:pt x="46" y="292"/>
                </a:cubicBezTo>
                <a:cubicBezTo>
                  <a:pt x="45" y="292"/>
                  <a:pt x="45" y="292"/>
                  <a:pt x="45" y="292"/>
                </a:cubicBezTo>
                <a:cubicBezTo>
                  <a:pt x="44" y="292"/>
                  <a:pt x="44" y="292"/>
                  <a:pt x="44" y="292"/>
                </a:cubicBezTo>
                <a:cubicBezTo>
                  <a:pt x="43" y="292"/>
                  <a:pt x="43" y="292"/>
                  <a:pt x="43" y="292"/>
                </a:cubicBezTo>
                <a:cubicBezTo>
                  <a:pt x="44" y="292"/>
                  <a:pt x="44" y="292"/>
                  <a:pt x="44" y="292"/>
                </a:cubicBezTo>
                <a:cubicBezTo>
                  <a:pt x="46" y="292"/>
                  <a:pt x="46" y="292"/>
                  <a:pt x="46" y="292"/>
                </a:cubicBezTo>
                <a:cubicBezTo>
                  <a:pt x="47" y="291"/>
                  <a:pt x="47" y="291"/>
                  <a:pt x="47" y="291"/>
                </a:cubicBezTo>
                <a:cubicBezTo>
                  <a:pt x="48" y="290"/>
                  <a:pt x="48" y="290"/>
                  <a:pt x="48" y="290"/>
                </a:cubicBezTo>
                <a:cubicBezTo>
                  <a:pt x="49" y="290"/>
                  <a:pt x="49" y="290"/>
                  <a:pt x="49" y="290"/>
                </a:cubicBezTo>
                <a:cubicBezTo>
                  <a:pt x="49" y="290"/>
                  <a:pt x="49" y="290"/>
                  <a:pt x="49" y="290"/>
                </a:cubicBezTo>
                <a:cubicBezTo>
                  <a:pt x="50" y="291"/>
                  <a:pt x="50" y="291"/>
                  <a:pt x="50" y="291"/>
                </a:cubicBezTo>
                <a:cubicBezTo>
                  <a:pt x="51" y="291"/>
                  <a:pt x="51" y="291"/>
                  <a:pt x="51" y="291"/>
                </a:cubicBezTo>
                <a:cubicBezTo>
                  <a:pt x="51" y="290"/>
                  <a:pt x="51" y="290"/>
                  <a:pt x="51" y="290"/>
                </a:cubicBezTo>
                <a:cubicBezTo>
                  <a:pt x="50" y="290"/>
                  <a:pt x="50" y="290"/>
                  <a:pt x="50" y="290"/>
                </a:cubicBezTo>
                <a:cubicBezTo>
                  <a:pt x="49" y="289"/>
                  <a:pt x="49" y="289"/>
                  <a:pt x="49" y="289"/>
                </a:cubicBezTo>
                <a:cubicBezTo>
                  <a:pt x="49" y="289"/>
                  <a:pt x="49" y="289"/>
                  <a:pt x="49" y="289"/>
                </a:cubicBezTo>
                <a:cubicBezTo>
                  <a:pt x="48" y="288"/>
                  <a:pt x="48" y="288"/>
                  <a:pt x="48" y="288"/>
                </a:cubicBezTo>
                <a:cubicBezTo>
                  <a:pt x="49" y="288"/>
                  <a:pt x="49" y="288"/>
                  <a:pt x="49" y="288"/>
                </a:cubicBezTo>
                <a:cubicBezTo>
                  <a:pt x="49" y="288"/>
                  <a:pt x="49" y="288"/>
                  <a:pt x="49" y="288"/>
                </a:cubicBezTo>
                <a:cubicBezTo>
                  <a:pt x="50" y="287"/>
                  <a:pt x="50" y="287"/>
                  <a:pt x="50" y="287"/>
                </a:cubicBezTo>
                <a:cubicBezTo>
                  <a:pt x="50" y="288"/>
                  <a:pt x="50" y="288"/>
                  <a:pt x="50" y="288"/>
                </a:cubicBezTo>
                <a:cubicBezTo>
                  <a:pt x="51" y="288"/>
                  <a:pt x="51" y="288"/>
                  <a:pt x="51" y="288"/>
                </a:cubicBezTo>
                <a:cubicBezTo>
                  <a:pt x="52" y="290"/>
                  <a:pt x="52" y="290"/>
                  <a:pt x="52" y="290"/>
                </a:cubicBezTo>
                <a:cubicBezTo>
                  <a:pt x="52" y="290"/>
                  <a:pt x="52" y="290"/>
                  <a:pt x="52" y="290"/>
                </a:cubicBezTo>
                <a:cubicBezTo>
                  <a:pt x="53" y="290"/>
                  <a:pt x="53" y="290"/>
                  <a:pt x="53" y="290"/>
                </a:cubicBezTo>
                <a:cubicBezTo>
                  <a:pt x="52" y="289"/>
                  <a:pt x="52" y="289"/>
                  <a:pt x="52" y="289"/>
                </a:cubicBezTo>
                <a:cubicBezTo>
                  <a:pt x="52" y="288"/>
                  <a:pt x="52" y="288"/>
                  <a:pt x="52" y="288"/>
                </a:cubicBezTo>
                <a:cubicBezTo>
                  <a:pt x="52" y="286"/>
                  <a:pt x="52" y="286"/>
                  <a:pt x="52" y="286"/>
                </a:cubicBezTo>
                <a:cubicBezTo>
                  <a:pt x="52" y="286"/>
                  <a:pt x="52" y="286"/>
                  <a:pt x="52" y="286"/>
                </a:cubicBezTo>
                <a:cubicBezTo>
                  <a:pt x="52" y="285"/>
                  <a:pt x="52" y="285"/>
                  <a:pt x="52" y="285"/>
                </a:cubicBezTo>
                <a:cubicBezTo>
                  <a:pt x="52" y="285"/>
                  <a:pt x="52" y="285"/>
                  <a:pt x="52" y="285"/>
                </a:cubicBezTo>
                <a:cubicBezTo>
                  <a:pt x="51" y="286"/>
                  <a:pt x="51" y="286"/>
                  <a:pt x="51" y="286"/>
                </a:cubicBezTo>
                <a:cubicBezTo>
                  <a:pt x="50" y="286"/>
                  <a:pt x="50" y="286"/>
                  <a:pt x="50" y="286"/>
                </a:cubicBezTo>
                <a:cubicBezTo>
                  <a:pt x="50" y="285"/>
                  <a:pt x="50" y="285"/>
                  <a:pt x="50" y="285"/>
                </a:cubicBezTo>
                <a:cubicBezTo>
                  <a:pt x="49" y="286"/>
                  <a:pt x="49" y="286"/>
                  <a:pt x="49" y="286"/>
                </a:cubicBezTo>
                <a:cubicBezTo>
                  <a:pt x="48" y="287"/>
                  <a:pt x="48" y="287"/>
                  <a:pt x="48" y="287"/>
                </a:cubicBezTo>
                <a:cubicBezTo>
                  <a:pt x="47" y="287"/>
                  <a:pt x="47" y="287"/>
                  <a:pt x="47" y="287"/>
                </a:cubicBezTo>
                <a:cubicBezTo>
                  <a:pt x="47" y="287"/>
                  <a:pt x="47" y="287"/>
                  <a:pt x="47" y="287"/>
                </a:cubicBezTo>
                <a:cubicBezTo>
                  <a:pt x="47" y="287"/>
                  <a:pt x="47" y="287"/>
                  <a:pt x="47" y="287"/>
                </a:cubicBezTo>
                <a:cubicBezTo>
                  <a:pt x="47" y="286"/>
                  <a:pt x="47" y="286"/>
                  <a:pt x="47" y="286"/>
                </a:cubicBezTo>
                <a:cubicBezTo>
                  <a:pt x="47" y="286"/>
                  <a:pt x="47" y="286"/>
                  <a:pt x="47" y="286"/>
                </a:cubicBezTo>
                <a:cubicBezTo>
                  <a:pt x="47" y="286"/>
                  <a:pt x="47" y="286"/>
                  <a:pt x="47" y="286"/>
                </a:cubicBezTo>
                <a:cubicBezTo>
                  <a:pt x="46" y="287"/>
                  <a:pt x="46" y="287"/>
                  <a:pt x="46" y="287"/>
                </a:cubicBezTo>
                <a:cubicBezTo>
                  <a:pt x="46" y="287"/>
                  <a:pt x="46" y="287"/>
                  <a:pt x="46" y="287"/>
                </a:cubicBezTo>
                <a:cubicBezTo>
                  <a:pt x="44" y="289"/>
                  <a:pt x="44" y="289"/>
                  <a:pt x="44" y="289"/>
                </a:cubicBezTo>
                <a:cubicBezTo>
                  <a:pt x="44" y="289"/>
                  <a:pt x="44" y="289"/>
                  <a:pt x="44" y="289"/>
                </a:cubicBezTo>
                <a:cubicBezTo>
                  <a:pt x="43" y="290"/>
                  <a:pt x="43" y="290"/>
                  <a:pt x="43" y="290"/>
                </a:cubicBezTo>
                <a:cubicBezTo>
                  <a:pt x="42" y="290"/>
                  <a:pt x="42" y="290"/>
                  <a:pt x="42" y="290"/>
                </a:cubicBezTo>
                <a:cubicBezTo>
                  <a:pt x="42" y="289"/>
                  <a:pt x="42" y="289"/>
                  <a:pt x="42" y="289"/>
                </a:cubicBezTo>
                <a:cubicBezTo>
                  <a:pt x="42" y="288"/>
                  <a:pt x="42" y="288"/>
                  <a:pt x="42" y="288"/>
                </a:cubicBezTo>
                <a:cubicBezTo>
                  <a:pt x="42" y="287"/>
                  <a:pt x="42" y="287"/>
                  <a:pt x="42" y="287"/>
                </a:cubicBezTo>
                <a:cubicBezTo>
                  <a:pt x="42" y="287"/>
                  <a:pt x="42" y="287"/>
                  <a:pt x="42" y="287"/>
                </a:cubicBezTo>
                <a:cubicBezTo>
                  <a:pt x="42" y="286"/>
                  <a:pt x="42" y="286"/>
                  <a:pt x="42" y="286"/>
                </a:cubicBezTo>
                <a:cubicBezTo>
                  <a:pt x="42" y="285"/>
                  <a:pt x="42" y="285"/>
                  <a:pt x="42" y="285"/>
                </a:cubicBezTo>
                <a:cubicBezTo>
                  <a:pt x="43" y="285"/>
                  <a:pt x="43" y="285"/>
                  <a:pt x="43" y="285"/>
                </a:cubicBezTo>
                <a:cubicBezTo>
                  <a:pt x="45" y="284"/>
                  <a:pt x="45" y="284"/>
                  <a:pt x="45" y="284"/>
                </a:cubicBezTo>
                <a:cubicBezTo>
                  <a:pt x="45" y="284"/>
                  <a:pt x="45" y="284"/>
                  <a:pt x="45" y="284"/>
                </a:cubicBezTo>
                <a:cubicBezTo>
                  <a:pt x="46" y="283"/>
                  <a:pt x="46" y="283"/>
                  <a:pt x="46" y="283"/>
                </a:cubicBezTo>
                <a:cubicBezTo>
                  <a:pt x="47" y="283"/>
                  <a:pt x="47" y="283"/>
                  <a:pt x="47" y="283"/>
                </a:cubicBezTo>
                <a:cubicBezTo>
                  <a:pt x="46" y="282"/>
                  <a:pt x="46" y="282"/>
                  <a:pt x="46" y="282"/>
                </a:cubicBezTo>
                <a:cubicBezTo>
                  <a:pt x="46" y="282"/>
                  <a:pt x="46" y="282"/>
                  <a:pt x="46" y="282"/>
                </a:cubicBezTo>
                <a:cubicBezTo>
                  <a:pt x="45" y="283"/>
                  <a:pt x="45" y="283"/>
                  <a:pt x="45" y="283"/>
                </a:cubicBezTo>
                <a:cubicBezTo>
                  <a:pt x="44" y="283"/>
                  <a:pt x="44" y="283"/>
                  <a:pt x="44" y="283"/>
                </a:cubicBezTo>
                <a:cubicBezTo>
                  <a:pt x="44" y="284"/>
                  <a:pt x="44" y="284"/>
                  <a:pt x="44" y="284"/>
                </a:cubicBezTo>
                <a:cubicBezTo>
                  <a:pt x="43" y="284"/>
                  <a:pt x="43" y="284"/>
                  <a:pt x="43" y="284"/>
                </a:cubicBezTo>
                <a:cubicBezTo>
                  <a:pt x="42" y="284"/>
                  <a:pt x="42" y="284"/>
                  <a:pt x="42" y="284"/>
                </a:cubicBezTo>
                <a:cubicBezTo>
                  <a:pt x="42" y="283"/>
                  <a:pt x="42" y="283"/>
                  <a:pt x="42" y="283"/>
                </a:cubicBezTo>
                <a:cubicBezTo>
                  <a:pt x="42" y="282"/>
                  <a:pt x="42" y="282"/>
                  <a:pt x="42" y="282"/>
                </a:cubicBezTo>
                <a:cubicBezTo>
                  <a:pt x="43" y="281"/>
                  <a:pt x="43" y="281"/>
                  <a:pt x="43" y="281"/>
                </a:cubicBezTo>
                <a:cubicBezTo>
                  <a:pt x="43" y="280"/>
                  <a:pt x="43" y="280"/>
                  <a:pt x="43" y="280"/>
                </a:cubicBezTo>
                <a:cubicBezTo>
                  <a:pt x="42" y="279"/>
                  <a:pt x="42" y="279"/>
                  <a:pt x="42" y="279"/>
                </a:cubicBezTo>
                <a:cubicBezTo>
                  <a:pt x="42" y="279"/>
                  <a:pt x="42" y="279"/>
                  <a:pt x="42" y="279"/>
                </a:cubicBezTo>
                <a:cubicBezTo>
                  <a:pt x="41" y="280"/>
                  <a:pt x="41" y="280"/>
                  <a:pt x="41" y="280"/>
                </a:cubicBezTo>
                <a:cubicBezTo>
                  <a:pt x="41" y="280"/>
                  <a:pt x="41" y="280"/>
                  <a:pt x="41" y="280"/>
                </a:cubicBezTo>
                <a:cubicBezTo>
                  <a:pt x="41" y="279"/>
                  <a:pt x="41" y="279"/>
                  <a:pt x="41" y="279"/>
                </a:cubicBezTo>
                <a:cubicBezTo>
                  <a:pt x="41" y="278"/>
                  <a:pt x="41" y="278"/>
                  <a:pt x="41" y="278"/>
                </a:cubicBezTo>
                <a:cubicBezTo>
                  <a:pt x="43" y="278"/>
                  <a:pt x="43" y="278"/>
                  <a:pt x="43" y="278"/>
                </a:cubicBezTo>
                <a:cubicBezTo>
                  <a:pt x="43" y="277"/>
                  <a:pt x="43" y="277"/>
                  <a:pt x="43" y="277"/>
                </a:cubicBezTo>
                <a:cubicBezTo>
                  <a:pt x="45" y="277"/>
                  <a:pt x="45" y="277"/>
                  <a:pt x="45" y="277"/>
                </a:cubicBezTo>
                <a:cubicBezTo>
                  <a:pt x="45" y="276"/>
                  <a:pt x="45" y="276"/>
                  <a:pt x="45" y="276"/>
                </a:cubicBezTo>
                <a:cubicBezTo>
                  <a:pt x="46" y="276"/>
                  <a:pt x="46" y="276"/>
                  <a:pt x="46" y="276"/>
                </a:cubicBezTo>
                <a:cubicBezTo>
                  <a:pt x="46" y="275"/>
                  <a:pt x="46" y="275"/>
                  <a:pt x="46" y="275"/>
                </a:cubicBezTo>
                <a:cubicBezTo>
                  <a:pt x="47" y="275"/>
                  <a:pt x="47" y="275"/>
                  <a:pt x="47" y="275"/>
                </a:cubicBezTo>
                <a:cubicBezTo>
                  <a:pt x="47" y="275"/>
                  <a:pt x="47" y="275"/>
                  <a:pt x="47" y="275"/>
                </a:cubicBezTo>
                <a:cubicBezTo>
                  <a:pt x="48" y="275"/>
                  <a:pt x="48" y="275"/>
                  <a:pt x="48" y="275"/>
                </a:cubicBezTo>
                <a:cubicBezTo>
                  <a:pt x="50" y="275"/>
                  <a:pt x="50" y="275"/>
                  <a:pt x="50" y="275"/>
                </a:cubicBezTo>
                <a:cubicBezTo>
                  <a:pt x="50" y="275"/>
                  <a:pt x="50" y="275"/>
                  <a:pt x="50" y="275"/>
                </a:cubicBezTo>
                <a:cubicBezTo>
                  <a:pt x="51" y="275"/>
                  <a:pt x="51" y="275"/>
                  <a:pt x="51" y="275"/>
                </a:cubicBezTo>
                <a:cubicBezTo>
                  <a:pt x="51" y="274"/>
                  <a:pt x="51" y="274"/>
                  <a:pt x="51" y="274"/>
                </a:cubicBezTo>
                <a:cubicBezTo>
                  <a:pt x="50" y="274"/>
                  <a:pt x="50" y="274"/>
                  <a:pt x="50" y="274"/>
                </a:cubicBezTo>
                <a:cubicBezTo>
                  <a:pt x="50" y="273"/>
                  <a:pt x="50" y="273"/>
                  <a:pt x="50" y="273"/>
                </a:cubicBezTo>
                <a:cubicBezTo>
                  <a:pt x="49" y="273"/>
                  <a:pt x="49" y="273"/>
                  <a:pt x="49" y="273"/>
                </a:cubicBezTo>
                <a:cubicBezTo>
                  <a:pt x="46" y="275"/>
                  <a:pt x="46" y="275"/>
                  <a:pt x="46" y="275"/>
                </a:cubicBezTo>
                <a:cubicBezTo>
                  <a:pt x="46" y="275"/>
                  <a:pt x="46" y="275"/>
                  <a:pt x="46" y="275"/>
                </a:cubicBezTo>
                <a:cubicBezTo>
                  <a:pt x="45" y="275"/>
                  <a:pt x="45" y="275"/>
                  <a:pt x="45" y="275"/>
                </a:cubicBezTo>
                <a:cubicBezTo>
                  <a:pt x="45" y="276"/>
                  <a:pt x="45" y="276"/>
                  <a:pt x="45" y="276"/>
                </a:cubicBezTo>
                <a:cubicBezTo>
                  <a:pt x="44" y="276"/>
                  <a:pt x="44" y="276"/>
                  <a:pt x="44" y="276"/>
                </a:cubicBezTo>
                <a:cubicBezTo>
                  <a:pt x="43" y="277"/>
                  <a:pt x="43" y="277"/>
                  <a:pt x="43" y="277"/>
                </a:cubicBezTo>
                <a:cubicBezTo>
                  <a:pt x="42" y="277"/>
                  <a:pt x="42" y="277"/>
                  <a:pt x="42" y="277"/>
                </a:cubicBezTo>
                <a:cubicBezTo>
                  <a:pt x="42" y="277"/>
                  <a:pt x="42" y="277"/>
                  <a:pt x="42" y="277"/>
                </a:cubicBezTo>
                <a:cubicBezTo>
                  <a:pt x="42" y="277"/>
                  <a:pt x="42" y="277"/>
                  <a:pt x="42" y="277"/>
                </a:cubicBezTo>
                <a:cubicBezTo>
                  <a:pt x="42" y="276"/>
                  <a:pt x="42" y="276"/>
                  <a:pt x="42" y="276"/>
                </a:cubicBezTo>
                <a:cubicBezTo>
                  <a:pt x="41" y="276"/>
                  <a:pt x="41" y="276"/>
                  <a:pt x="41" y="276"/>
                </a:cubicBezTo>
                <a:cubicBezTo>
                  <a:pt x="41" y="276"/>
                  <a:pt x="41" y="276"/>
                  <a:pt x="41" y="276"/>
                </a:cubicBezTo>
                <a:cubicBezTo>
                  <a:pt x="42" y="275"/>
                  <a:pt x="42" y="275"/>
                  <a:pt x="42" y="275"/>
                </a:cubicBezTo>
                <a:cubicBezTo>
                  <a:pt x="41" y="274"/>
                  <a:pt x="41" y="274"/>
                  <a:pt x="41" y="274"/>
                </a:cubicBezTo>
                <a:cubicBezTo>
                  <a:pt x="40" y="274"/>
                  <a:pt x="40" y="274"/>
                  <a:pt x="40" y="274"/>
                </a:cubicBezTo>
                <a:cubicBezTo>
                  <a:pt x="40" y="273"/>
                  <a:pt x="40" y="273"/>
                  <a:pt x="40" y="273"/>
                </a:cubicBezTo>
                <a:cubicBezTo>
                  <a:pt x="40" y="273"/>
                  <a:pt x="40" y="273"/>
                  <a:pt x="40" y="273"/>
                </a:cubicBezTo>
                <a:cubicBezTo>
                  <a:pt x="41" y="272"/>
                  <a:pt x="41" y="272"/>
                  <a:pt x="41" y="272"/>
                </a:cubicBezTo>
                <a:cubicBezTo>
                  <a:pt x="42" y="272"/>
                  <a:pt x="42" y="272"/>
                  <a:pt x="42" y="272"/>
                </a:cubicBezTo>
                <a:cubicBezTo>
                  <a:pt x="42" y="272"/>
                  <a:pt x="42" y="272"/>
                  <a:pt x="42" y="272"/>
                </a:cubicBezTo>
                <a:cubicBezTo>
                  <a:pt x="43" y="272"/>
                  <a:pt x="43" y="272"/>
                  <a:pt x="43" y="272"/>
                </a:cubicBezTo>
                <a:cubicBezTo>
                  <a:pt x="44" y="272"/>
                  <a:pt x="44" y="272"/>
                  <a:pt x="44" y="272"/>
                </a:cubicBezTo>
                <a:cubicBezTo>
                  <a:pt x="45" y="272"/>
                  <a:pt x="45" y="272"/>
                  <a:pt x="45" y="272"/>
                </a:cubicBezTo>
                <a:cubicBezTo>
                  <a:pt x="46" y="271"/>
                  <a:pt x="46" y="271"/>
                  <a:pt x="46" y="271"/>
                </a:cubicBezTo>
                <a:cubicBezTo>
                  <a:pt x="47" y="271"/>
                  <a:pt x="47" y="271"/>
                  <a:pt x="47" y="271"/>
                </a:cubicBezTo>
                <a:cubicBezTo>
                  <a:pt x="47" y="270"/>
                  <a:pt x="47" y="270"/>
                  <a:pt x="47" y="270"/>
                </a:cubicBezTo>
                <a:cubicBezTo>
                  <a:pt x="47" y="270"/>
                  <a:pt x="47" y="270"/>
                  <a:pt x="47" y="270"/>
                </a:cubicBezTo>
                <a:cubicBezTo>
                  <a:pt x="46" y="270"/>
                  <a:pt x="46" y="270"/>
                  <a:pt x="46" y="270"/>
                </a:cubicBezTo>
                <a:cubicBezTo>
                  <a:pt x="45" y="271"/>
                  <a:pt x="45" y="271"/>
                  <a:pt x="45" y="271"/>
                </a:cubicBezTo>
                <a:cubicBezTo>
                  <a:pt x="44" y="271"/>
                  <a:pt x="44" y="271"/>
                  <a:pt x="44" y="271"/>
                </a:cubicBezTo>
                <a:cubicBezTo>
                  <a:pt x="43" y="271"/>
                  <a:pt x="43" y="271"/>
                  <a:pt x="43" y="271"/>
                </a:cubicBezTo>
                <a:cubicBezTo>
                  <a:pt x="42" y="270"/>
                  <a:pt x="42" y="270"/>
                  <a:pt x="42" y="270"/>
                </a:cubicBezTo>
                <a:cubicBezTo>
                  <a:pt x="42" y="270"/>
                  <a:pt x="42" y="270"/>
                  <a:pt x="42" y="270"/>
                </a:cubicBezTo>
                <a:cubicBezTo>
                  <a:pt x="41" y="271"/>
                  <a:pt x="41" y="271"/>
                  <a:pt x="41" y="271"/>
                </a:cubicBezTo>
                <a:cubicBezTo>
                  <a:pt x="40" y="272"/>
                  <a:pt x="40" y="272"/>
                  <a:pt x="40" y="272"/>
                </a:cubicBezTo>
                <a:cubicBezTo>
                  <a:pt x="40" y="271"/>
                  <a:pt x="40" y="271"/>
                  <a:pt x="40" y="271"/>
                </a:cubicBezTo>
                <a:cubicBezTo>
                  <a:pt x="40" y="271"/>
                  <a:pt x="40" y="271"/>
                  <a:pt x="40" y="271"/>
                </a:cubicBezTo>
                <a:cubicBezTo>
                  <a:pt x="39" y="271"/>
                  <a:pt x="39" y="271"/>
                  <a:pt x="39" y="271"/>
                </a:cubicBezTo>
                <a:cubicBezTo>
                  <a:pt x="38" y="271"/>
                  <a:pt x="38" y="271"/>
                  <a:pt x="38" y="271"/>
                </a:cubicBezTo>
                <a:cubicBezTo>
                  <a:pt x="39" y="271"/>
                  <a:pt x="39" y="271"/>
                  <a:pt x="39" y="271"/>
                </a:cubicBezTo>
                <a:cubicBezTo>
                  <a:pt x="39" y="270"/>
                  <a:pt x="39" y="270"/>
                  <a:pt x="39" y="270"/>
                </a:cubicBezTo>
                <a:cubicBezTo>
                  <a:pt x="41" y="270"/>
                  <a:pt x="41" y="270"/>
                  <a:pt x="41" y="270"/>
                </a:cubicBezTo>
                <a:cubicBezTo>
                  <a:pt x="43" y="269"/>
                  <a:pt x="43" y="269"/>
                  <a:pt x="43" y="269"/>
                </a:cubicBezTo>
                <a:cubicBezTo>
                  <a:pt x="44" y="268"/>
                  <a:pt x="44" y="268"/>
                  <a:pt x="44" y="268"/>
                </a:cubicBezTo>
                <a:cubicBezTo>
                  <a:pt x="45" y="268"/>
                  <a:pt x="45" y="268"/>
                  <a:pt x="45" y="268"/>
                </a:cubicBezTo>
                <a:cubicBezTo>
                  <a:pt x="46" y="267"/>
                  <a:pt x="46" y="267"/>
                  <a:pt x="46" y="267"/>
                </a:cubicBezTo>
                <a:cubicBezTo>
                  <a:pt x="48" y="265"/>
                  <a:pt x="48" y="265"/>
                  <a:pt x="48" y="265"/>
                </a:cubicBezTo>
                <a:cubicBezTo>
                  <a:pt x="50" y="264"/>
                  <a:pt x="50" y="264"/>
                  <a:pt x="50" y="264"/>
                </a:cubicBezTo>
                <a:cubicBezTo>
                  <a:pt x="52" y="263"/>
                  <a:pt x="52" y="263"/>
                  <a:pt x="52" y="263"/>
                </a:cubicBezTo>
                <a:cubicBezTo>
                  <a:pt x="53" y="263"/>
                  <a:pt x="53" y="263"/>
                  <a:pt x="53" y="263"/>
                </a:cubicBezTo>
                <a:cubicBezTo>
                  <a:pt x="53" y="263"/>
                  <a:pt x="53" y="263"/>
                  <a:pt x="53" y="263"/>
                </a:cubicBezTo>
                <a:cubicBezTo>
                  <a:pt x="53" y="262"/>
                  <a:pt x="53" y="262"/>
                  <a:pt x="53" y="262"/>
                </a:cubicBezTo>
                <a:cubicBezTo>
                  <a:pt x="52" y="262"/>
                  <a:pt x="52" y="262"/>
                  <a:pt x="52" y="262"/>
                </a:cubicBezTo>
                <a:cubicBezTo>
                  <a:pt x="51" y="263"/>
                  <a:pt x="51" y="263"/>
                  <a:pt x="51" y="263"/>
                </a:cubicBezTo>
                <a:cubicBezTo>
                  <a:pt x="48" y="264"/>
                  <a:pt x="48" y="264"/>
                  <a:pt x="48" y="264"/>
                </a:cubicBezTo>
                <a:cubicBezTo>
                  <a:pt x="46" y="265"/>
                  <a:pt x="46" y="265"/>
                  <a:pt x="46" y="265"/>
                </a:cubicBezTo>
                <a:cubicBezTo>
                  <a:pt x="45" y="267"/>
                  <a:pt x="45" y="267"/>
                  <a:pt x="45" y="267"/>
                </a:cubicBezTo>
                <a:cubicBezTo>
                  <a:pt x="44" y="267"/>
                  <a:pt x="44" y="267"/>
                  <a:pt x="44" y="267"/>
                </a:cubicBezTo>
                <a:cubicBezTo>
                  <a:pt x="42" y="268"/>
                  <a:pt x="42" y="268"/>
                  <a:pt x="42" y="268"/>
                </a:cubicBezTo>
                <a:cubicBezTo>
                  <a:pt x="41" y="268"/>
                  <a:pt x="41" y="268"/>
                  <a:pt x="41" y="268"/>
                </a:cubicBezTo>
                <a:cubicBezTo>
                  <a:pt x="39" y="269"/>
                  <a:pt x="39" y="269"/>
                  <a:pt x="39" y="269"/>
                </a:cubicBezTo>
                <a:cubicBezTo>
                  <a:pt x="38" y="269"/>
                  <a:pt x="38" y="269"/>
                  <a:pt x="38" y="269"/>
                </a:cubicBezTo>
                <a:cubicBezTo>
                  <a:pt x="38" y="269"/>
                  <a:pt x="38" y="269"/>
                  <a:pt x="38" y="269"/>
                </a:cubicBezTo>
                <a:cubicBezTo>
                  <a:pt x="38" y="268"/>
                  <a:pt x="38" y="268"/>
                  <a:pt x="38" y="268"/>
                </a:cubicBezTo>
                <a:cubicBezTo>
                  <a:pt x="38" y="266"/>
                  <a:pt x="38" y="266"/>
                  <a:pt x="38" y="266"/>
                </a:cubicBezTo>
                <a:cubicBezTo>
                  <a:pt x="39" y="265"/>
                  <a:pt x="39" y="265"/>
                  <a:pt x="39" y="265"/>
                </a:cubicBezTo>
                <a:cubicBezTo>
                  <a:pt x="40" y="265"/>
                  <a:pt x="40" y="265"/>
                  <a:pt x="40" y="265"/>
                </a:cubicBezTo>
                <a:cubicBezTo>
                  <a:pt x="41" y="266"/>
                  <a:pt x="41" y="266"/>
                  <a:pt x="41" y="266"/>
                </a:cubicBezTo>
                <a:cubicBezTo>
                  <a:pt x="41" y="266"/>
                  <a:pt x="41" y="266"/>
                  <a:pt x="41" y="266"/>
                </a:cubicBezTo>
                <a:cubicBezTo>
                  <a:pt x="43" y="266"/>
                  <a:pt x="43" y="266"/>
                  <a:pt x="43" y="266"/>
                </a:cubicBezTo>
                <a:cubicBezTo>
                  <a:pt x="44" y="266"/>
                  <a:pt x="44" y="266"/>
                  <a:pt x="44" y="266"/>
                </a:cubicBezTo>
                <a:cubicBezTo>
                  <a:pt x="43" y="265"/>
                  <a:pt x="43" y="265"/>
                  <a:pt x="43" y="265"/>
                </a:cubicBezTo>
                <a:cubicBezTo>
                  <a:pt x="43" y="265"/>
                  <a:pt x="43" y="265"/>
                  <a:pt x="43" y="265"/>
                </a:cubicBezTo>
                <a:cubicBezTo>
                  <a:pt x="42" y="265"/>
                  <a:pt x="42" y="265"/>
                  <a:pt x="42" y="265"/>
                </a:cubicBezTo>
                <a:cubicBezTo>
                  <a:pt x="41" y="265"/>
                  <a:pt x="41" y="265"/>
                  <a:pt x="41" y="265"/>
                </a:cubicBezTo>
                <a:cubicBezTo>
                  <a:pt x="40" y="265"/>
                  <a:pt x="40" y="265"/>
                  <a:pt x="40" y="265"/>
                </a:cubicBezTo>
                <a:cubicBezTo>
                  <a:pt x="40" y="264"/>
                  <a:pt x="40" y="264"/>
                  <a:pt x="40" y="264"/>
                </a:cubicBezTo>
                <a:cubicBezTo>
                  <a:pt x="40" y="264"/>
                  <a:pt x="40" y="264"/>
                  <a:pt x="40" y="264"/>
                </a:cubicBezTo>
                <a:cubicBezTo>
                  <a:pt x="41" y="263"/>
                  <a:pt x="41" y="263"/>
                  <a:pt x="41" y="263"/>
                </a:cubicBezTo>
                <a:cubicBezTo>
                  <a:pt x="42" y="264"/>
                  <a:pt x="42" y="264"/>
                  <a:pt x="42" y="264"/>
                </a:cubicBezTo>
                <a:cubicBezTo>
                  <a:pt x="43" y="264"/>
                  <a:pt x="43" y="264"/>
                  <a:pt x="43" y="264"/>
                </a:cubicBezTo>
                <a:cubicBezTo>
                  <a:pt x="44" y="264"/>
                  <a:pt x="44" y="264"/>
                  <a:pt x="44" y="264"/>
                </a:cubicBezTo>
                <a:cubicBezTo>
                  <a:pt x="44" y="263"/>
                  <a:pt x="44" y="263"/>
                  <a:pt x="44" y="263"/>
                </a:cubicBezTo>
                <a:cubicBezTo>
                  <a:pt x="43" y="263"/>
                  <a:pt x="43" y="263"/>
                  <a:pt x="43" y="263"/>
                </a:cubicBezTo>
                <a:cubicBezTo>
                  <a:pt x="43" y="263"/>
                  <a:pt x="43" y="263"/>
                  <a:pt x="43" y="263"/>
                </a:cubicBezTo>
                <a:cubicBezTo>
                  <a:pt x="42" y="263"/>
                  <a:pt x="42" y="263"/>
                  <a:pt x="42" y="263"/>
                </a:cubicBezTo>
                <a:cubicBezTo>
                  <a:pt x="43" y="262"/>
                  <a:pt x="43" y="262"/>
                  <a:pt x="43" y="262"/>
                </a:cubicBezTo>
                <a:cubicBezTo>
                  <a:pt x="44" y="262"/>
                  <a:pt x="44" y="262"/>
                  <a:pt x="44" y="262"/>
                </a:cubicBezTo>
                <a:cubicBezTo>
                  <a:pt x="44" y="262"/>
                  <a:pt x="44" y="262"/>
                  <a:pt x="44" y="262"/>
                </a:cubicBezTo>
                <a:cubicBezTo>
                  <a:pt x="44" y="262"/>
                  <a:pt x="44" y="262"/>
                  <a:pt x="44" y="262"/>
                </a:cubicBezTo>
                <a:cubicBezTo>
                  <a:pt x="45" y="262"/>
                  <a:pt x="45" y="262"/>
                  <a:pt x="45" y="262"/>
                </a:cubicBezTo>
                <a:cubicBezTo>
                  <a:pt x="46" y="262"/>
                  <a:pt x="46" y="262"/>
                  <a:pt x="46" y="262"/>
                </a:cubicBezTo>
                <a:cubicBezTo>
                  <a:pt x="46" y="261"/>
                  <a:pt x="46" y="261"/>
                  <a:pt x="46" y="261"/>
                </a:cubicBezTo>
                <a:cubicBezTo>
                  <a:pt x="46" y="260"/>
                  <a:pt x="46" y="260"/>
                  <a:pt x="46" y="260"/>
                </a:cubicBezTo>
                <a:cubicBezTo>
                  <a:pt x="45" y="260"/>
                  <a:pt x="45" y="260"/>
                  <a:pt x="45" y="260"/>
                </a:cubicBezTo>
                <a:cubicBezTo>
                  <a:pt x="45" y="260"/>
                  <a:pt x="45" y="260"/>
                  <a:pt x="45" y="260"/>
                </a:cubicBezTo>
                <a:cubicBezTo>
                  <a:pt x="44" y="261"/>
                  <a:pt x="44" y="261"/>
                  <a:pt x="44" y="261"/>
                </a:cubicBezTo>
                <a:cubicBezTo>
                  <a:pt x="43" y="261"/>
                  <a:pt x="43" y="261"/>
                  <a:pt x="43" y="261"/>
                </a:cubicBezTo>
                <a:cubicBezTo>
                  <a:pt x="41" y="260"/>
                  <a:pt x="41" y="260"/>
                  <a:pt x="41" y="260"/>
                </a:cubicBezTo>
                <a:cubicBezTo>
                  <a:pt x="39" y="260"/>
                  <a:pt x="39" y="260"/>
                  <a:pt x="39" y="260"/>
                </a:cubicBezTo>
                <a:cubicBezTo>
                  <a:pt x="39" y="259"/>
                  <a:pt x="39" y="259"/>
                  <a:pt x="39" y="259"/>
                </a:cubicBezTo>
                <a:cubicBezTo>
                  <a:pt x="39" y="259"/>
                  <a:pt x="39" y="259"/>
                  <a:pt x="39" y="259"/>
                </a:cubicBezTo>
                <a:cubicBezTo>
                  <a:pt x="40" y="259"/>
                  <a:pt x="40" y="259"/>
                  <a:pt x="40" y="259"/>
                </a:cubicBezTo>
                <a:cubicBezTo>
                  <a:pt x="41" y="259"/>
                  <a:pt x="41" y="259"/>
                  <a:pt x="41" y="259"/>
                </a:cubicBezTo>
                <a:cubicBezTo>
                  <a:pt x="41" y="259"/>
                  <a:pt x="41" y="259"/>
                  <a:pt x="41" y="259"/>
                </a:cubicBezTo>
                <a:cubicBezTo>
                  <a:pt x="41" y="258"/>
                  <a:pt x="41" y="258"/>
                  <a:pt x="41" y="258"/>
                </a:cubicBezTo>
                <a:cubicBezTo>
                  <a:pt x="40" y="258"/>
                  <a:pt x="40" y="258"/>
                  <a:pt x="40" y="258"/>
                </a:cubicBezTo>
                <a:cubicBezTo>
                  <a:pt x="40" y="258"/>
                  <a:pt x="40" y="258"/>
                  <a:pt x="40" y="258"/>
                </a:cubicBezTo>
                <a:cubicBezTo>
                  <a:pt x="40" y="257"/>
                  <a:pt x="40" y="257"/>
                  <a:pt x="40" y="257"/>
                </a:cubicBezTo>
                <a:cubicBezTo>
                  <a:pt x="41" y="257"/>
                  <a:pt x="41" y="257"/>
                  <a:pt x="41" y="257"/>
                </a:cubicBezTo>
                <a:cubicBezTo>
                  <a:pt x="42" y="257"/>
                  <a:pt x="42" y="257"/>
                  <a:pt x="42" y="257"/>
                </a:cubicBezTo>
                <a:cubicBezTo>
                  <a:pt x="43" y="257"/>
                  <a:pt x="43" y="257"/>
                  <a:pt x="43" y="257"/>
                </a:cubicBezTo>
                <a:cubicBezTo>
                  <a:pt x="47" y="257"/>
                  <a:pt x="47" y="257"/>
                  <a:pt x="47" y="257"/>
                </a:cubicBezTo>
                <a:cubicBezTo>
                  <a:pt x="48" y="257"/>
                  <a:pt x="48" y="257"/>
                  <a:pt x="48" y="257"/>
                </a:cubicBezTo>
                <a:cubicBezTo>
                  <a:pt x="49" y="257"/>
                  <a:pt x="49" y="257"/>
                  <a:pt x="49" y="257"/>
                </a:cubicBezTo>
                <a:cubicBezTo>
                  <a:pt x="50" y="257"/>
                  <a:pt x="50" y="257"/>
                  <a:pt x="50" y="257"/>
                </a:cubicBezTo>
                <a:cubicBezTo>
                  <a:pt x="50" y="256"/>
                  <a:pt x="50" y="256"/>
                  <a:pt x="50" y="256"/>
                </a:cubicBezTo>
                <a:cubicBezTo>
                  <a:pt x="48" y="256"/>
                  <a:pt x="48" y="256"/>
                  <a:pt x="48" y="256"/>
                </a:cubicBezTo>
                <a:cubicBezTo>
                  <a:pt x="46" y="256"/>
                  <a:pt x="46" y="256"/>
                  <a:pt x="46" y="256"/>
                </a:cubicBezTo>
                <a:cubicBezTo>
                  <a:pt x="44" y="256"/>
                  <a:pt x="44" y="256"/>
                  <a:pt x="44" y="256"/>
                </a:cubicBezTo>
                <a:cubicBezTo>
                  <a:pt x="43" y="256"/>
                  <a:pt x="43" y="256"/>
                  <a:pt x="43" y="256"/>
                </a:cubicBezTo>
                <a:cubicBezTo>
                  <a:pt x="43" y="256"/>
                  <a:pt x="43" y="256"/>
                  <a:pt x="43" y="256"/>
                </a:cubicBezTo>
                <a:cubicBezTo>
                  <a:pt x="42" y="256"/>
                  <a:pt x="42" y="256"/>
                  <a:pt x="42" y="256"/>
                </a:cubicBezTo>
                <a:cubicBezTo>
                  <a:pt x="41" y="256"/>
                  <a:pt x="41" y="256"/>
                  <a:pt x="41" y="256"/>
                </a:cubicBezTo>
                <a:cubicBezTo>
                  <a:pt x="40" y="257"/>
                  <a:pt x="40" y="257"/>
                  <a:pt x="40" y="257"/>
                </a:cubicBezTo>
                <a:cubicBezTo>
                  <a:pt x="40" y="257"/>
                  <a:pt x="40" y="257"/>
                  <a:pt x="40" y="257"/>
                </a:cubicBezTo>
                <a:cubicBezTo>
                  <a:pt x="40" y="256"/>
                  <a:pt x="40" y="256"/>
                  <a:pt x="40" y="256"/>
                </a:cubicBezTo>
                <a:cubicBezTo>
                  <a:pt x="41" y="255"/>
                  <a:pt x="41" y="255"/>
                  <a:pt x="41" y="255"/>
                </a:cubicBezTo>
                <a:cubicBezTo>
                  <a:pt x="42" y="254"/>
                  <a:pt x="42" y="254"/>
                  <a:pt x="42" y="254"/>
                </a:cubicBezTo>
                <a:cubicBezTo>
                  <a:pt x="43" y="254"/>
                  <a:pt x="43" y="254"/>
                  <a:pt x="43" y="254"/>
                </a:cubicBezTo>
                <a:cubicBezTo>
                  <a:pt x="44" y="253"/>
                  <a:pt x="44" y="253"/>
                  <a:pt x="44" y="253"/>
                </a:cubicBezTo>
                <a:cubicBezTo>
                  <a:pt x="44" y="252"/>
                  <a:pt x="44" y="252"/>
                  <a:pt x="44" y="252"/>
                </a:cubicBezTo>
                <a:cubicBezTo>
                  <a:pt x="45" y="251"/>
                  <a:pt x="45" y="251"/>
                  <a:pt x="45" y="251"/>
                </a:cubicBezTo>
                <a:cubicBezTo>
                  <a:pt x="46" y="251"/>
                  <a:pt x="46" y="251"/>
                  <a:pt x="46" y="251"/>
                </a:cubicBezTo>
                <a:cubicBezTo>
                  <a:pt x="46" y="252"/>
                  <a:pt x="46" y="252"/>
                  <a:pt x="46" y="252"/>
                </a:cubicBezTo>
                <a:cubicBezTo>
                  <a:pt x="47" y="252"/>
                  <a:pt x="47" y="252"/>
                  <a:pt x="47" y="252"/>
                </a:cubicBezTo>
                <a:cubicBezTo>
                  <a:pt x="48" y="251"/>
                  <a:pt x="48" y="251"/>
                  <a:pt x="48" y="251"/>
                </a:cubicBezTo>
                <a:cubicBezTo>
                  <a:pt x="49" y="251"/>
                  <a:pt x="49" y="251"/>
                  <a:pt x="49" y="251"/>
                </a:cubicBezTo>
                <a:cubicBezTo>
                  <a:pt x="49" y="252"/>
                  <a:pt x="49" y="252"/>
                  <a:pt x="49" y="252"/>
                </a:cubicBezTo>
                <a:cubicBezTo>
                  <a:pt x="50" y="252"/>
                  <a:pt x="50" y="252"/>
                  <a:pt x="50" y="252"/>
                </a:cubicBezTo>
                <a:cubicBezTo>
                  <a:pt x="51" y="253"/>
                  <a:pt x="51" y="253"/>
                  <a:pt x="51" y="253"/>
                </a:cubicBezTo>
                <a:cubicBezTo>
                  <a:pt x="53" y="253"/>
                  <a:pt x="53" y="253"/>
                  <a:pt x="53" y="253"/>
                </a:cubicBezTo>
                <a:cubicBezTo>
                  <a:pt x="54" y="253"/>
                  <a:pt x="54" y="253"/>
                  <a:pt x="54" y="253"/>
                </a:cubicBezTo>
                <a:cubicBezTo>
                  <a:pt x="55" y="255"/>
                  <a:pt x="55" y="255"/>
                  <a:pt x="55" y="255"/>
                </a:cubicBezTo>
                <a:cubicBezTo>
                  <a:pt x="56" y="256"/>
                  <a:pt x="56" y="256"/>
                  <a:pt x="56" y="256"/>
                </a:cubicBezTo>
                <a:cubicBezTo>
                  <a:pt x="58" y="256"/>
                  <a:pt x="58" y="256"/>
                  <a:pt x="58" y="256"/>
                </a:cubicBezTo>
                <a:cubicBezTo>
                  <a:pt x="59" y="256"/>
                  <a:pt x="59" y="256"/>
                  <a:pt x="59" y="256"/>
                </a:cubicBezTo>
                <a:cubicBezTo>
                  <a:pt x="59" y="256"/>
                  <a:pt x="59" y="256"/>
                  <a:pt x="59" y="256"/>
                </a:cubicBezTo>
                <a:cubicBezTo>
                  <a:pt x="60" y="255"/>
                  <a:pt x="60" y="255"/>
                  <a:pt x="60" y="255"/>
                </a:cubicBezTo>
                <a:cubicBezTo>
                  <a:pt x="59" y="255"/>
                  <a:pt x="59" y="255"/>
                  <a:pt x="59" y="255"/>
                </a:cubicBezTo>
                <a:cubicBezTo>
                  <a:pt x="58" y="255"/>
                  <a:pt x="58" y="255"/>
                  <a:pt x="58" y="255"/>
                </a:cubicBezTo>
                <a:cubicBezTo>
                  <a:pt x="58" y="255"/>
                  <a:pt x="58" y="255"/>
                  <a:pt x="58" y="255"/>
                </a:cubicBezTo>
                <a:cubicBezTo>
                  <a:pt x="57" y="255"/>
                  <a:pt x="57" y="255"/>
                  <a:pt x="57" y="255"/>
                </a:cubicBezTo>
                <a:cubicBezTo>
                  <a:pt x="56" y="254"/>
                  <a:pt x="56" y="254"/>
                  <a:pt x="56" y="254"/>
                </a:cubicBezTo>
                <a:cubicBezTo>
                  <a:pt x="55" y="253"/>
                  <a:pt x="55" y="253"/>
                  <a:pt x="55" y="253"/>
                </a:cubicBezTo>
                <a:cubicBezTo>
                  <a:pt x="55" y="252"/>
                  <a:pt x="55" y="252"/>
                  <a:pt x="55" y="252"/>
                </a:cubicBezTo>
                <a:cubicBezTo>
                  <a:pt x="55" y="252"/>
                  <a:pt x="55" y="252"/>
                  <a:pt x="55" y="252"/>
                </a:cubicBezTo>
                <a:cubicBezTo>
                  <a:pt x="57" y="252"/>
                  <a:pt x="57" y="252"/>
                  <a:pt x="57" y="252"/>
                </a:cubicBezTo>
                <a:cubicBezTo>
                  <a:pt x="59" y="252"/>
                  <a:pt x="59" y="252"/>
                  <a:pt x="59" y="252"/>
                </a:cubicBezTo>
                <a:cubicBezTo>
                  <a:pt x="59" y="251"/>
                  <a:pt x="59" y="251"/>
                  <a:pt x="59" y="251"/>
                </a:cubicBezTo>
                <a:cubicBezTo>
                  <a:pt x="59" y="250"/>
                  <a:pt x="59" y="250"/>
                  <a:pt x="59" y="250"/>
                </a:cubicBezTo>
                <a:cubicBezTo>
                  <a:pt x="58" y="250"/>
                  <a:pt x="58" y="250"/>
                  <a:pt x="58" y="250"/>
                </a:cubicBezTo>
                <a:cubicBezTo>
                  <a:pt x="57" y="250"/>
                  <a:pt x="57" y="250"/>
                  <a:pt x="57" y="250"/>
                </a:cubicBezTo>
                <a:cubicBezTo>
                  <a:pt x="57" y="251"/>
                  <a:pt x="57" y="251"/>
                  <a:pt x="57" y="251"/>
                </a:cubicBezTo>
                <a:cubicBezTo>
                  <a:pt x="57" y="251"/>
                  <a:pt x="57" y="251"/>
                  <a:pt x="57" y="251"/>
                </a:cubicBezTo>
                <a:cubicBezTo>
                  <a:pt x="57" y="251"/>
                  <a:pt x="57" y="251"/>
                  <a:pt x="57" y="251"/>
                </a:cubicBezTo>
                <a:cubicBezTo>
                  <a:pt x="55" y="251"/>
                  <a:pt x="55" y="251"/>
                  <a:pt x="55" y="251"/>
                </a:cubicBezTo>
                <a:cubicBezTo>
                  <a:pt x="55" y="251"/>
                  <a:pt x="55" y="251"/>
                  <a:pt x="55" y="251"/>
                </a:cubicBezTo>
                <a:cubicBezTo>
                  <a:pt x="54" y="250"/>
                  <a:pt x="54" y="250"/>
                  <a:pt x="54" y="250"/>
                </a:cubicBezTo>
                <a:cubicBezTo>
                  <a:pt x="55" y="250"/>
                  <a:pt x="55" y="250"/>
                  <a:pt x="55" y="250"/>
                </a:cubicBezTo>
                <a:cubicBezTo>
                  <a:pt x="56" y="250"/>
                  <a:pt x="56" y="250"/>
                  <a:pt x="56" y="250"/>
                </a:cubicBezTo>
                <a:cubicBezTo>
                  <a:pt x="56" y="250"/>
                  <a:pt x="56" y="250"/>
                  <a:pt x="56" y="250"/>
                </a:cubicBezTo>
                <a:cubicBezTo>
                  <a:pt x="55" y="249"/>
                  <a:pt x="55" y="249"/>
                  <a:pt x="55" y="249"/>
                </a:cubicBezTo>
                <a:cubicBezTo>
                  <a:pt x="55" y="249"/>
                  <a:pt x="55" y="249"/>
                  <a:pt x="55" y="249"/>
                </a:cubicBezTo>
                <a:cubicBezTo>
                  <a:pt x="54" y="249"/>
                  <a:pt x="54" y="249"/>
                  <a:pt x="54" y="249"/>
                </a:cubicBezTo>
                <a:cubicBezTo>
                  <a:pt x="54" y="249"/>
                  <a:pt x="54" y="249"/>
                  <a:pt x="54" y="249"/>
                </a:cubicBezTo>
                <a:cubicBezTo>
                  <a:pt x="53" y="249"/>
                  <a:pt x="53" y="249"/>
                  <a:pt x="53" y="249"/>
                </a:cubicBezTo>
                <a:cubicBezTo>
                  <a:pt x="53" y="250"/>
                  <a:pt x="53" y="250"/>
                  <a:pt x="53" y="250"/>
                </a:cubicBezTo>
                <a:cubicBezTo>
                  <a:pt x="54" y="250"/>
                  <a:pt x="54" y="250"/>
                  <a:pt x="54" y="250"/>
                </a:cubicBezTo>
                <a:cubicBezTo>
                  <a:pt x="54" y="251"/>
                  <a:pt x="54" y="251"/>
                  <a:pt x="54" y="251"/>
                </a:cubicBezTo>
                <a:cubicBezTo>
                  <a:pt x="53" y="252"/>
                  <a:pt x="53" y="252"/>
                  <a:pt x="53" y="252"/>
                </a:cubicBezTo>
                <a:cubicBezTo>
                  <a:pt x="52" y="252"/>
                  <a:pt x="52" y="252"/>
                  <a:pt x="52" y="252"/>
                </a:cubicBezTo>
                <a:cubicBezTo>
                  <a:pt x="51" y="252"/>
                  <a:pt x="51" y="252"/>
                  <a:pt x="51" y="252"/>
                </a:cubicBezTo>
                <a:cubicBezTo>
                  <a:pt x="50" y="251"/>
                  <a:pt x="50" y="251"/>
                  <a:pt x="50" y="251"/>
                </a:cubicBezTo>
                <a:cubicBezTo>
                  <a:pt x="49" y="251"/>
                  <a:pt x="49" y="251"/>
                  <a:pt x="49" y="251"/>
                </a:cubicBezTo>
                <a:cubicBezTo>
                  <a:pt x="49" y="250"/>
                  <a:pt x="49" y="250"/>
                  <a:pt x="49" y="250"/>
                </a:cubicBezTo>
                <a:cubicBezTo>
                  <a:pt x="48" y="250"/>
                  <a:pt x="48" y="250"/>
                  <a:pt x="48" y="250"/>
                </a:cubicBezTo>
                <a:cubicBezTo>
                  <a:pt x="48" y="250"/>
                  <a:pt x="48" y="250"/>
                  <a:pt x="48" y="250"/>
                </a:cubicBezTo>
                <a:cubicBezTo>
                  <a:pt x="47" y="250"/>
                  <a:pt x="47" y="250"/>
                  <a:pt x="47" y="250"/>
                </a:cubicBezTo>
                <a:cubicBezTo>
                  <a:pt x="46" y="250"/>
                  <a:pt x="46" y="250"/>
                  <a:pt x="46" y="250"/>
                </a:cubicBezTo>
                <a:cubicBezTo>
                  <a:pt x="45" y="250"/>
                  <a:pt x="45" y="250"/>
                  <a:pt x="45" y="250"/>
                </a:cubicBezTo>
                <a:cubicBezTo>
                  <a:pt x="44" y="251"/>
                  <a:pt x="44" y="251"/>
                  <a:pt x="44" y="251"/>
                </a:cubicBezTo>
                <a:cubicBezTo>
                  <a:pt x="43" y="252"/>
                  <a:pt x="43" y="252"/>
                  <a:pt x="43" y="252"/>
                </a:cubicBezTo>
                <a:cubicBezTo>
                  <a:pt x="42" y="253"/>
                  <a:pt x="42" y="253"/>
                  <a:pt x="42" y="253"/>
                </a:cubicBezTo>
                <a:cubicBezTo>
                  <a:pt x="42" y="252"/>
                  <a:pt x="42" y="252"/>
                  <a:pt x="42" y="252"/>
                </a:cubicBezTo>
                <a:cubicBezTo>
                  <a:pt x="42" y="252"/>
                  <a:pt x="42" y="252"/>
                  <a:pt x="42" y="252"/>
                </a:cubicBezTo>
                <a:cubicBezTo>
                  <a:pt x="43" y="250"/>
                  <a:pt x="43" y="250"/>
                  <a:pt x="43" y="250"/>
                </a:cubicBezTo>
                <a:cubicBezTo>
                  <a:pt x="44" y="250"/>
                  <a:pt x="44" y="250"/>
                  <a:pt x="44" y="250"/>
                </a:cubicBezTo>
                <a:cubicBezTo>
                  <a:pt x="44" y="250"/>
                  <a:pt x="44" y="250"/>
                  <a:pt x="44" y="250"/>
                </a:cubicBezTo>
                <a:cubicBezTo>
                  <a:pt x="44" y="249"/>
                  <a:pt x="44" y="249"/>
                  <a:pt x="44" y="249"/>
                </a:cubicBezTo>
                <a:cubicBezTo>
                  <a:pt x="44" y="249"/>
                  <a:pt x="44" y="249"/>
                  <a:pt x="44" y="249"/>
                </a:cubicBezTo>
                <a:cubicBezTo>
                  <a:pt x="45" y="248"/>
                  <a:pt x="45" y="248"/>
                  <a:pt x="45" y="248"/>
                </a:cubicBezTo>
                <a:cubicBezTo>
                  <a:pt x="45" y="248"/>
                  <a:pt x="45" y="248"/>
                  <a:pt x="45" y="248"/>
                </a:cubicBezTo>
                <a:cubicBezTo>
                  <a:pt x="46" y="247"/>
                  <a:pt x="46" y="247"/>
                  <a:pt x="46" y="247"/>
                </a:cubicBezTo>
                <a:cubicBezTo>
                  <a:pt x="46" y="247"/>
                  <a:pt x="46" y="247"/>
                  <a:pt x="46" y="247"/>
                </a:cubicBezTo>
                <a:cubicBezTo>
                  <a:pt x="47" y="248"/>
                  <a:pt x="47" y="248"/>
                  <a:pt x="47" y="248"/>
                </a:cubicBezTo>
                <a:cubicBezTo>
                  <a:pt x="48" y="248"/>
                  <a:pt x="48" y="248"/>
                  <a:pt x="48" y="248"/>
                </a:cubicBezTo>
                <a:cubicBezTo>
                  <a:pt x="50" y="248"/>
                  <a:pt x="50" y="248"/>
                  <a:pt x="50" y="248"/>
                </a:cubicBezTo>
                <a:cubicBezTo>
                  <a:pt x="50" y="248"/>
                  <a:pt x="50" y="248"/>
                  <a:pt x="50" y="248"/>
                </a:cubicBezTo>
                <a:cubicBezTo>
                  <a:pt x="49" y="248"/>
                  <a:pt x="49" y="248"/>
                  <a:pt x="49" y="248"/>
                </a:cubicBezTo>
                <a:cubicBezTo>
                  <a:pt x="48" y="248"/>
                  <a:pt x="48" y="248"/>
                  <a:pt x="48" y="248"/>
                </a:cubicBezTo>
                <a:cubicBezTo>
                  <a:pt x="48" y="247"/>
                  <a:pt x="48" y="247"/>
                  <a:pt x="48" y="247"/>
                </a:cubicBezTo>
                <a:cubicBezTo>
                  <a:pt x="46" y="246"/>
                  <a:pt x="46" y="246"/>
                  <a:pt x="46" y="246"/>
                </a:cubicBezTo>
                <a:cubicBezTo>
                  <a:pt x="46" y="245"/>
                  <a:pt x="46" y="245"/>
                  <a:pt x="46" y="245"/>
                </a:cubicBezTo>
                <a:cubicBezTo>
                  <a:pt x="45" y="245"/>
                  <a:pt x="45" y="245"/>
                  <a:pt x="45" y="245"/>
                </a:cubicBezTo>
                <a:cubicBezTo>
                  <a:pt x="45" y="244"/>
                  <a:pt x="45" y="244"/>
                  <a:pt x="45" y="244"/>
                </a:cubicBezTo>
                <a:cubicBezTo>
                  <a:pt x="46" y="244"/>
                  <a:pt x="46" y="244"/>
                  <a:pt x="46" y="244"/>
                </a:cubicBezTo>
                <a:cubicBezTo>
                  <a:pt x="47" y="244"/>
                  <a:pt x="47" y="244"/>
                  <a:pt x="47" y="244"/>
                </a:cubicBezTo>
                <a:cubicBezTo>
                  <a:pt x="48" y="246"/>
                  <a:pt x="48" y="246"/>
                  <a:pt x="48" y="246"/>
                </a:cubicBezTo>
                <a:cubicBezTo>
                  <a:pt x="49" y="247"/>
                  <a:pt x="49" y="247"/>
                  <a:pt x="49" y="247"/>
                </a:cubicBezTo>
                <a:cubicBezTo>
                  <a:pt x="49" y="247"/>
                  <a:pt x="49" y="247"/>
                  <a:pt x="49" y="247"/>
                </a:cubicBezTo>
                <a:cubicBezTo>
                  <a:pt x="49" y="246"/>
                  <a:pt x="49" y="246"/>
                  <a:pt x="49" y="246"/>
                </a:cubicBezTo>
                <a:cubicBezTo>
                  <a:pt x="49" y="245"/>
                  <a:pt x="49" y="245"/>
                  <a:pt x="49" y="245"/>
                </a:cubicBezTo>
                <a:cubicBezTo>
                  <a:pt x="49" y="245"/>
                  <a:pt x="49" y="245"/>
                  <a:pt x="49" y="245"/>
                </a:cubicBezTo>
                <a:cubicBezTo>
                  <a:pt x="50" y="246"/>
                  <a:pt x="50" y="246"/>
                  <a:pt x="50" y="246"/>
                </a:cubicBezTo>
                <a:cubicBezTo>
                  <a:pt x="50" y="246"/>
                  <a:pt x="50" y="246"/>
                  <a:pt x="50" y="246"/>
                </a:cubicBezTo>
                <a:cubicBezTo>
                  <a:pt x="52" y="248"/>
                  <a:pt x="52" y="248"/>
                  <a:pt x="52" y="248"/>
                </a:cubicBezTo>
                <a:cubicBezTo>
                  <a:pt x="53" y="248"/>
                  <a:pt x="53" y="248"/>
                  <a:pt x="53" y="248"/>
                </a:cubicBezTo>
                <a:cubicBezTo>
                  <a:pt x="54" y="247"/>
                  <a:pt x="54" y="247"/>
                  <a:pt x="54" y="247"/>
                </a:cubicBezTo>
                <a:cubicBezTo>
                  <a:pt x="55" y="247"/>
                  <a:pt x="55" y="247"/>
                  <a:pt x="55" y="247"/>
                </a:cubicBezTo>
                <a:cubicBezTo>
                  <a:pt x="55" y="248"/>
                  <a:pt x="55" y="248"/>
                  <a:pt x="55" y="248"/>
                </a:cubicBezTo>
                <a:cubicBezTo>
                  <a:pt x="57" y="249"/>
                  <a:pt x="57" y="249"/>
                  <a:pt x="57" y="249"/>
                </a:cubicBezTo>
                <a:cubicBezTo>
                  <a:pt x="58" y="249"/>
                  <a:pt x="58" y="249"/>
                  <a:pt x="58" y="249"/>
                </a:cubicBezTo>
                <a:cubicBezTo>
                  <a:pt x="58" y="249"/>
                  <a:pt x="58" y="249"/>
                  <a:pt x="58" y="249"/>
                </a:cubicBezTo>
                <a:cubicBezTo>
                  <a:pt x="59" y="249"/>
                  <a:pt x="59" y="249"/>
                  <a:pt x="59" y="249"/>
                </a:cubicBezTo>
                <a:cubicBezTo>
                  <a:pt x="59" y="249"/>
                  <a:pt x="59" y="249"/>
                  <a:pt x="59" y="249"/>
                </a:cubicBezTo>
                <a:cubicBezTo>
                  <a:pt x="58" y="248"/>
                  <a:pt x="58" y="248"/>
                  <a:pt x="58" y="248"/>
                </a:cubicBezTo>
                <a:cubicBezTo>
                  <a:pt x="55" y="246"/>
                  <a:pt x="55" y="246"/>
                  <a:pt x="55" y="246"/>
                </a:cubicBezTo>
                <a:cubicBezTo>
                  <a:pt x="55" y="245"/>
                  <a:pt x="55" y="245"/>
                  <a:pt x="55" y="245"/>
                </a:cubicBezTo>
                <a:cubicBezTo>
                  <a:pt x="55" y="245"/>
                  <a:pt x="55" y="245"/>
                  <a:pt x="55" y="245"/>
                </a:cubicBezTo>
                <a:cubicBezTo>
                  <a:pt x="56" y="244"/>
                  <a:pt x="56" y="244"/>
                  <a:pt x="56" y="244"/>
                </a:cubicBezTo>
                <a:cubicBezTo>
                  <a:pt x="57" y="244"/>
                  <a:pt x="57" y="244"/>
                  <a:pt x="57" y="244"/>
                </a:cubicBezTo>
                <a:cubicBezTo>
                  <a:pt x="57" y="243"/>
                  <a:pt x="57" y="243"/>
                  <a:pt x="57" y="243"/>
                </a:cubicBezTo>
                <a:cubicBezTo>
                  <a:pt x="57" y="243"/>
                  <a:pt x="57" y="243"/>
                  <a:pt x="57" y="243"/>
                </a:cubicBezTo>
                <a:cubicBezTo>
                  <a:pt x="57" y="242"/>
                  <a:pt x="57" y="242"/>
                  <a:pt x="57" y="242"/>
                </a:cubicBezTo>
                <a:cubicBezTo>
                  <a:pt x="57" y="242"/>
                  <a:pt x="57" y="242"/>
                  <a:pt x="57" y="242"/>
                </a:cubicBezTo>
                <a:cubicBezTo>
                  <a:pt x="56" y="243"/>
                  <a:pt x="56" y="243"/>
                  <a:pt x="56" y="243"/>
                </a:cubicBezTo>
                <a:cubicBezTo>
                  <a:pt x="54" y="243"/>
                  <a:pt x="54" y="243"/>
                  <a:pt x="54" y="243"/>
                </a:cubicBezTo>
                <a:cubicBezTo>
                  <a:pt x="54" y="243"/>
                  <a:pt x="54" y="243"/>
                  <a:pt x="54" y="243"/>
                </a:cubicBezTo>
                <a:cubicBezTo>
                  <a:pt x="54" y="243"/>
                  <a:pt x="54" y="243"/>
                  <a:pt x="54" y="243"/>
                </a:cubicBezTo>
                <a:cubicBezTo>
                  <a:pt x="55" y="244"/>
                  <a:pt x="55" y="244"/>
                  <a:pt x="55" y="244"/>
                </a:cubicBezTo>
                <a:cubicBezTo>
                  <a:pt x="55" y="244"/>
                  <a:pt x="55" y="244"/>
                  <a:pt x="55" y="244"/>
                </a:cubicBezTo>
                <a:cubicBezTo>
                  <a:pt x="53" y="244"/>
                  <a:pt x="53" y="244"/>
                  <a:pt x="53" y="244"/>
                </a:cubicBezTo>
                <a:cubicBezTo>
                  <a:pt x="53" y="245"/>
                  <a:pt x="53" y="245"/>
                  <a:pt x="53" y="245"/>
                </a:cubicBezTo>
                <a:cubicBezTo>
                  <a:pt x="52" y="244"/>
                  <a:pt x="52" y="244"/>
                  <a:pt x="52" y="244"/>
                </a:cubicBezTo>
                <a:cubicBezTo>
                  <a:pt x="51" y="245"/>
                  <a:pt x="51" y="245"/>
                  <a:pt x="51" y="245"/>
                </a:cubicBezTo>
                <a:cubicBezTo>
                  <a:pt x="50" y="244"/>
                  <a:pt x="50" y="244"/>
                  <a:pt x="50" y="244"/>
                </a:cubicBezTo>
                <a:cubicBezTo>
                  <a:pt x="49" y="244"/>
                  <a:pt x="49" y="244"/>
                  <a:pt x="49" y="244"/>
                </a:cubicBezTo>
                <a:cubicBezTo>
                  <a:pt x="49" y="243"/>
                  <a:pt x="49" y="243"/>
                  <a:pt x="49" y="243"/>
                </a:cubicBezTo>
                <a:cubicBezTo>
                  <a:pt x="49" y="243"/>
                  <a:pt x="49" y="243"/>
                  <a:pt x="49" y="243"/>
                </a:cubicBezTo>
                <a:cubicBezTo>
                  <a:pt x="50" y="242"/>
                  <a:pt x="50" y="242"/>
                  <a:pt x="50" y="242"/>
                </a:cubicBezTo>
                <a:cubicBezTo>
                  <a:pt x="49" y="242"/>
                  <a:pt x="49" y="242"/>
                  <a:pt x="49" y="242"/>
                </a:cubicBezTo>
                <a:cubicBezTo>
                  <a:pt x="48" y="242"/>
                  <a:pt x="48" y="242"/>
                  <a:pt x="48" y="242"/>
                </a:cubicBezTo>
                <a:cubicBezTo>
                  <a:pt x="48" y="242"/>
                  <a:pt x="48" y="242"/>
                  <a:pt x="48" y="242"/>
                </a:cubicBezTo>
                <a:cubicBezTo>
                  <a:pt x="49" y="242"/>
                  <a:pt x="49" y="242"/>
                  <a:pt x="49" y="242"/>
                </a:cubicBezTo>
                <a:cubicBezTo>
                  <a:pt x="51" y="241"/>
                  <a:pt x="51" y="241"/>
                  <a:pt x="51" y="241"/>
                </a:cubicBezTo>
                <a:cubicBezTo>
                  <a:pt x="52" y="241"/>
                  <a:pt x="52" y="241"/>
                  <a:pt x="52" y="241"/>
                </a:cubicBezTo>
                <a:cubicBezTo>
                  <a:pt x="53" y="241"/>
                  <a:pt x="53" y="241"/>
                  <a:pt x="53" y="241"/>
                </a:cubicBezTo>
                <a:cubicBezTo>
                  <a:pt x="54" y="241"/>
                  <a:pt x="54" y="241"/>
                  <a:pt x="54" y="241"/>
                </a:cubicBezTo>
                <a:cubicBezTo>
                  <a:pt x="55" y="241"/>
                  <a:pt x="55" y="241"/>
                  <a:pt x="55" y="241"/>
                </a:cubicBezTo>
                <a:cubicBezTo>
                  <a:pt x="56" y="241"/>
                  <a:pt x="56" y="241"/>
                  <a:pt x="56" y="241"/>
                </a:cubicBezTo>
                <a:cubicBezTo>
                  <a:pt x="57" y="241"/>
                  <a:pt x="57" y="241"/>
                  <a:pt x="57" y="241"/>
                </a:cubicBezTo>
                <a:cubicBezTo>
                  <a:pt x="57" y="240"/>
                  <a:pt x="57" y="240"/>
                  <a:pt x="57" y="240"/>
                </a:cubicBezTo>
                <a:cubicBezTo>
                  <a:pt x="58" y="240"/>
                  <a:pt x="58" y="240"/>
                  <a:pt x="58" y="240"/>
                </a:cubicBezTo>
                <a:cubicBezTo>
                  <a:pt x="58" y="240"/>
                  <a:pt x="58" y="240"/>
                  <a:pt x="58" y="240"/>
                </a:cubicBezTo>
                <a:cubicBezTo>
                  <a:pt x="59" y="239"/>
                  <a:pt x="59" y="239"/>
                  <a:pt x="59" y="239"/>
                </a:cubicBezTo>
                <a:cubicBezTo>
                  <a:pt x="59" y="238"/>
                  <a:pt x="59" y="238"/>
                  <a:pt x="59" y="238"/>
                </a:cubicBezTo>
                <a:cubicBezTo>
                  <a:pt x="59" y="238"/>
                  <a:pt x="59" y="238"/>
                  <a:pt x="59" y="238"/>
                </a:cubicBezTo>
                <a:cubicBezTo>
                  <a:pt x="58" y="239"/>
                  <a:pt x="58" y="239"/>
                  <a:pt x="58" y="239"/>
                </a:cubicBezTo>
                <a:cubicBezTo>
                  <a:pt x="57" y="239"/>
                  <a:pt x="57" y="239"/>
                  <a:pt x="57" y="239"/>
                </a:cubicBezTo>
                <a:cubicBezTo>
                  <a:pt x="57" y="238"/>
                  <a:pt x="57" y="238"/>
                  <a:pt x="57" y="238"/>
                </a:cubicBezTo>
                <a:cubicBezTo>
                  <a:pt x="58" y="237"/>
                  <a:pt x="58" y="237"/>
                  <a:pt x="58" y="237"/>
                </a:cubicBezTo>
                <a:cubicBezTo>
                  <a:pt x="59" y="235"/>
                  <a:pt x="59" y="235"/>
                  <a:pt x="59" y="235"/>
                </a:cubicBezTo>
                <a:cubicBezTo>
                  <a:pt x="58" y="234"/>
                  <a:pt x="58" y="234"/>
                  <a:pt x="58" y="234"/>
                </a:cubicBezTo>
                <a:cubicBezTo>
                  <a:pt x="59" y="234"/>
                  <a:pt x="59" y="234"/>
                  <a:pt x="59" y="234"/>
                </a:cubicBezTo>
                <a:cubicBezTo>
                  <a:pt x="59" y="234"/>
                  <a:pt x="59" y="234"/>
                  <a:pt x="59" y="234"/>
                </a:cubicBezTo>
                <a:cubicBezTo>
                  <a:pt x="60" y="235"/>
                  <a:pt x="60" y="235"/>
                  <a:pt x="60" y="235"/>
                </a:cubicBezTo>
                <a:cubicBezTo>
                  <a:pt x="60" y="236"/>
                  <a:pt x="60" y="236"/>
                  <a:pt x="60" y="236"/>
                </a:cubicBezTo>
                <a:cubicBezTo>
                  <a:pt x="60" y="236"/>
                  <a:pt x="60" y="236"/>
                  <a:pt x="60" y="236"/>
                </a:cubicBezTo>
                <a:cubicBezTo>
                  <a:pt x="61" y="236"/>
                  <a:pt x="61" y="236"/>
                  <a:pt x="61" y="236"/>
                </a:cubicBezTo>
                <a:cubicBezTo>
                  <a:pt x="62" y="236"/>
                  <a:pt x="62" y="236"/>
                  <a:pt x="62" y="236"/>
                </a:cubicBezTo>
                <a:cubicBezTo>
                  <a:pt x="62" y="237"/>
                  <a:pt x="62" y="237"/>
                  <a:pt x="62" y="237"/>
                </a:cubicBezTo>
                <a:cubicBezTo>
                  <a:pt x="63" y="237"/>
                  <a:pt x="63" y="237"/>
                  <a:pt x="63" y="237"/>
                </a:cubicBezTo>
                <a:cubicBezTo>
                  <a:pt x="63" y="236"/>
                  <a:pt x="63" y="236"/>
                  <a:pt x="63" y="236"/>
                </a:cubicBezTo>
                <a:cubicBezTo>
                  <a:pt x="63" y="237"/>
                  <a:pt x="63" y="237"/>
                  <a:pt x="63" y="237"/>
                </a:cubicBezTo>
                <a:cubicBezTo>
                  <a:pt x="64" y="237"/>
                  <a:pt x="64" y="237"/>
                  <a:pt x="64" y="237"/>
                </a:cubicBezTo>
                <a:cubicBezTo>
                  <a:pt x="64" y="236"/>
                  <a:pt x="64" y="236"/>
                  <a:pt x="64" y="236"/>
                </a:cubicBezTo>
                <a:cubicBezTo>
                  <a:pt x="63" y="236"/>
                  <a:pt x="63" y="236"/>
                  <a:pt x="63" y="236"/>
                </a:cubicBezTo>
                <a:cubicBezTo>
                  <a:pt x="62" y="235"/>
                  <a:pt x="62" y="235"/>
                  <a:pt x="62" y="235"/>
                </a:cubicBezTo>
                <a:cubicBezTo>
                  <a:pt x="62" y="235"/>
                  <a:pt x="62" y="235"/>
                  <a:pt x="62" y="235"/>
                </a:cubicBezTo>
                <a:cubicBezTo>
                  <a:pt x="63" y="235"/>
                  <a:pt x="63" y="235"/>
                  <a:pt x="63" y="235"/>
                </a:cubicBezTo>
                <a:cubicBezTo>
                  <a:pt x="64" y="235"/>
                  <a:pt x="64" y="235"/>
                  <a:pt x="64" y="235"/>
                </a:cubicBezTo>
                <a:cubicBezTo>
                  <a:pt x="64" y="234"/>
                  <a:pt x="64" y="234"/>
                  <a:pt x="64" y="234"/>
                </a:cubicBezTo>
                <a:cubicBezTo>
                  <a:pt x="63" y="234"/>
                  <a:pt x="63" y="234"/>
                  <a:pt x="63" y="234"/>
                </a:cubicBezTo>
                <a:cubicBezTo>
                  <a:pt x="63" y="234"/>
                  <a:pt x="63" y="234"/>
                  <a:pt x="63" y="234"/>
                </a:cubicBezTo>
                <a:cubicBezTo>
                  <a:pt x="62" y="233"/>
                  <a:pt x="62" y="233"/>
                  <a:pt x="62" y="233"/>
                </a:cubicBezTo>
                <a:cubicBezTo>
                  <a:pt x="62" y="233"/>
                  <a:pt x="62" y="233"/>
                  <a:pt x="62" y="233"/>
                </a:cubicBezTo>
                <a:cubicBezTo>
                  <a:pt x="61" y="233"/>
                  <a:pt x="61" y="233"/>
                  <a:pt x="61" y="233"/>
                </a:cubicBezTo>
                <a:cubicBezTo>
                  <a:pt x="61" y="233"/>
                  <a:pt x="61" y="233"/>
                  <a:pt x="61" y="233"/>
                </a:cubicBezTo>
                <a:cubicBezTo>
                  <a:pt x="60" y="233"/>
                  <a:pt x="60" y="233"/>
                  <a:pt x="60" y="233"/>
                </a:cubicBezTo>
                <a:cubicBezTo>
                  <a:pt x="60" y="233"/>
                  <a:pt x="60" y="233"/>
                  <a:pt x="60" y="233"/>
                </a:cubicBezTo>
                <a:cubicBezTo>
                  <a:pt x="60" y="232"/>
                  <a:pt x="60" y="232"/>
                  <a:pt x="60" y="232"/>
                </a:cubicBezTo>
                <a:cubicBezTo>
                  <a:pt x="61" y="232"/>
                  <a:pt x="61" y="232"/>
                  <a:pt x="61" y="232"/>
                </a:cubicBezTo>
                <a:cubicBezTo>
                  <a:pt x="62" y="231"/>
                  <a:pt x="62" y="231"/>
                  <a:pt x="62" y="231"/>
                </a:cubicBezTo>
                <a:cubicBezTo>
                  <a:pt x="62" y="230"/>
                  <a:pt x="62" y="230"/>
                  <a:pt x="62" y="230"/>
                </a:cubicBezTo>
                <a:cubicBezTo>
                  <a:pt x="63" y="230"/>
                  <a:pt x="63" y="230"/>
                  <a:pt x="63" y="230"/>
                </a:cubicBezTo>
                <a:cubicBezTo>
                  <a:pt x="63" y="230"/>
                  <a:pt x="63" y="230"/>
                  <a:pt x="63" y="230"/>
                </a:cubicBezTo>
                <a:cubicBezTo>
                  <a:pt x="64" y="230"/>
                  <a:pt x="64" y="230"/>
                  <a:pt x="64" y="230"/>
                </a:cubicBezTo>
                <a:cubicBezTo>
                  <a:pt x="64" y="230"/>
                  <a:pt x="64" y="230"/>
                  <a:pt x="64" y="230"/>
                </a:cubicBezTo>
                <a:cubicBezTo>
                  <a:pt x="63" y="229"/>
                  <a:pt x="63" y="229"/>
                  <a:pt x="63" y="229"/>
                </a:cubicBezTo>
                <a:cubicBezTo>
                  <a:pt x="62" y="229"/>
                  <a:pt x="62" y="229"/>
                  <a:pt x="62" y="229"/>
                </a:cubicBezTo>
                <a:cubicBezTo>
                  <a:pt x="62" y="229"/>
                  <a:pt x="62" y="229"/>
                  <a:pt x="62" y="229"/>
                </a:cubicBezTo>
                <a:cubicBezTo>
                  <a:pt x="62" y="228"/>
                  <a:pt x="62" y="228"/>
                  <a:pt x="62" y="228"/>
                </a:cubicBezTo>
                <a:cubicBezTo>
                  <a:pt x="64" y="228"/>
                  <a:pt x="64" y="228"/>
                  <a:pt x="64" y="228"/>
                </a:cubicBezTo>
                <a:cubicBezTo>
                  <a:pt x="64" y="227"/>
                  <a:pt x="64" y="227"/>
                  <a:pt x="64" y="227"/>
                </a:cubicBezTo>
                <a:cubicBezTo>
                  <a:pt x="65" y="227"/>
                  <a:pt x="65" y="227"/>
                  <a:pt x="65" y="227"/>
                </a:cubicBezTo>
                <a:cubicBezTo>
                  <a:pt x="65" y="227"/>
                  <a:pt x="65" y="227"/>
                  <a:pt x="65" y="227"/>
                </a:cubicBezTo>
                <a:cubicBezTo>
                  <a:pt x="66" y="226"/>
                  <a:pt x="66" y="226"/>
                  <a:pt x="66" y="226"/>
                </a:cubicBezTo>
                <a:cubicBezTo>
                  <a:pt x="65" y="225"/>
                  <a:pt x="65" y="225"/>
                  <a:pt x="65" y="225"/>
                </a:cubicBezTo>
                <a:cubicBezTo>
                  <a:pt x="65" y="225"/>
                  <a:pt x="65" y="225"/>
                  <a:pt x="65" y="225"/>
                </a:cubicBezTo>
                <a:cubicBezTo>
                  <a:pt x="65" y="225"/>
                  <a:pt x="65" y="225"/>
                  <a:pt x="65" y="225"/>
                </a:cubicBezTo>
                <a:cubicBezTo>
                  <a:pt x="65" y="225"/>
                  <a:pt x="65" y="225"/>
                  <a:pt x="65" y="225"/>
                </a:cubicBezTo>
                <a:cubicBezTo>
                  <a:pt x="66" y="225"/>
                  <a:pt x="66" y="225"/>
                  <a:pt x="66" y="225"/>
                </a:cubicBezTo>
                <a:cubicBezTo>
                  <a:pt x="66" y="224"/>
                  <a:pt x="66" y="224"/>
                  <a:pt x="66" y="224"/>
                </a:cubicBezTo>
                <a:cubicBezTo>
                  <a:pt x="65" y="223"/>
                  <a:pt x="65" y="223"/>
                  <a:pt x="65" y="223"/>
                </a:cubicBezTo>
                <a:cubicBezTo>
                  <a:pt x="64" y="224"/>
                  <a:pt x="64" y="224"/>
                  <a:pt x="64" y="224"/>
                </a:cubicBezTo>
                <a:cubicBezTo>
                  <a:pt x="63" y="224"/>
                  <a:pt x="63" y="224"/>
                  <a:pt x="63" y="224"/>
                </a:cubicBezTo>
                <a:cubicBezTo>
                  <a:pt x="62" y="224"/>
                  <a:pt x="62" y="224"/>
                  <a:pt x="62" y="224"/>
                </a:cubicBezTo>
                <a:cubicBezTo>
                  <a:pt x="62" y="224"/>
                  <a:pt x="62" y="224"/>
                  <a:pt x="62" y="224"/>
                </a:cubicBezTo>
                <a:cubicBezTo>
                  <a:pt x="61" y="224"/>
                  <a:pt x="61" y="224"/>
                  <a:pt x="61" y="224"/>
                </a:cubicBezTo>
                <a:cubicBezTo>
                  <a:pt x="60" y="224"/>
                  <a:pt x="60" y="224"/>
                  <a:pt x="60" y="224"/>
                </a:cubicBezTo>
                <a:cubicBezTo>
                  <a:pt x="59" y="223"/>
                  <a:pt x="59" y="223"/>
                  <a:pt x="59" y="223"/>
                </a:cubicBezTo>
                <a:cubicBezTo>
                  <a:pt x="59" y="224"/>
                  <a:pt x="59" y="224"/>
                  <a:pt x="59" y="224"/>
                </a:cubicBezTo>
                <a:cubicBezTo>
                  <a:pt x="58" y="223"/>
                  <a:pt x="58" y="223"/>
                  <a:pt x="58" y="223"/>
                </a:cubicBezTo>
                <a:cubicBezTo>
                  <a:pt x="57" y="222"/>
                  <a:pt x="57" y="222"/>
                  <a:pt x="57" y="222"/>
                </a:cubicBezTo>
                <a:cubicBezTo>
                  <a:pt x="56" y="222"/>
                  <a:pt x="56" y="222"/>
                  <a:pt x="56" y="222"/>
                </a:cubicBezTo>
                <a:cubicBezTo>
                  <a:pt x="55" y="222"/>
                  <a:pt x="55" y="222"/>
                  <a:pt x="55" y="222"/>
                </a:cubicBezTo>
                <a:cubicBezTo>
                  <a:pt x="55" y="221"/>
                  <a:pt x="55" y="221"/>
                  <a:pt x="55" y="221"/>
                </a:cubicBezTo>
                <a:cubicBezTo>
                  <a:pt x="55" y="220"/>
                  <a:pt x="55" y="220"/>
                  <a:pt x="55" y="220"/>
                </a:cubicBezTo>
                <a:cubicBezTo>
                  <a:pt x="53" y="219"/>
                  <a:pt x="53" y="219"/>
                  <a:pt x="53" y="219"/>
                </a:cubicBezTo>
                <a:cubicBezTo>
                  <a:pt x="51" y="218"/>
                  <a:pt x="51" y="218"/>
                  <a:pt x="51" y="218"/>
                </a:cubicBezTo>
                <a:cubicBezTo>
                  <a:pt x="49" y="218"/>
                  <a:pt x="49" y="218"/>
                  <a:pt x="49" y="218"/>
                </a:cubicBezTo>
                <a:cubicBezTo>
                  <a:pt x="48" y="217"/>
                  <a:pt x="48" y="217"/>
                  <a:pt x="48" y="217"/>
                </a:cubicBezTo>
                <a:cubicBezTo>
                  <a:pt x="48" y="216"/>
                  <a:pt x="48" y="216"/>
                  <a:pt x="48" y="216"/>
                </a:cubicBezTo>
                <a:cubicBezTo>
                  <a:pt x="48" y="214"/>
                  <a:pt x="48" y="214"/>
                  <a:pt x="48" y="214"/>
                </a:cubicBezTo>
                <a:cubicBezTo>
                  <a:pt x="47" y="214"/>
                  <a:pt x="47" y="214"/>
                  <a:pt x="47" y="214"/>
                </a:cubicBezTo>
                <a:cubicBezTo>
                  <a:pt x="47" y="213"/>
                  <a:pt x="47" y="213"/>
                  <a:pt x="47" y="213"/>
                </a:cubicBezTo>
                <a:cubicBezTo>
                  <a:pt x="47" y="212"/>
                  <a:pt x="47" y="212"/>
                  <a:pt x="47" y="212"/>
                </a:cubicBezTo>
                <a:cubicBezTo>
                  <a:pt x="48" y="211"/>
                  <a:pt x="48" y="211"/>
                  <a:pt x="48" y="211"/>
                </a:cubicBezTo>
                <a:cubicBezTo>
                  <a:pt x="49" y="211"/>
                  <a:pt x="49" y="211"/>
                  <a:pt x="49" y="211"/>
                </a:cubicBezTo>
                <a:cubicBezTo>
                  <a:pt x="50" y="211"/>
                  <a:pt x="50" y="211"/>
                  <a:pt x="50" y="211"/>
                </a:cubicBezTo>
                <a:cubicBezTo>
                  <a:pt x="50" y="211"/>
                  <a:pt x="50" y="211"/>
                  <a:pt x="50" y="211"/>
                </a:cubicBezTo>
                <a:cubicBezTo>
                  <a:pt x="52" y="211"/>
                  <a:pt x="52" y="211"/>
                  <a:pt x="52" y="211"/>
                </a:cubicBezTo>
                <a:cubicBezTo>
                  <a:pt x="53" y="212"/>
                  <a:pt x="53" y="212"/>
                  <a:pt x="53" y="212"/>
                </a:cubicBezTo>
                <a:cubicBezTo>
                  <a:pt x="54" y="212"/>
                  <a:pt x="54" y="212"/>
                  <a:pt x="54" y="212"/>
                </a:cubicBezTo>
                <a:cubicBezTo>
                  <a:pt x="55" y="213"/>
                  <a:pt x="55" y="213"/>
                  <a:pt x="55" y="213"/>
                </a:cubicBezTo>
                <a:cubicBezTo>
                  <a:pt x="55" y="213"/>
                  <a:pt x="55" y="213"/>
                  <a:pt x="55" y="213"/>
                </a:cubicBezTo>
                <a:cubicBezTo>
                  <a:pt x="56" y="213"/>
                  <a:pt x="56" y="213"/>
                  <a:pt x="56" y="213"/>
                </a:cubicBezTo>
                <a:cubicBezTo>
                  <a:pt x="57" y="213"/>
                  <a:pt x="57" y="213"/>
                  <a:pt x="57" y="213"/>
                </a:cubicBezTo>
                <a:cubicBezTo>
                  <a:pt x="58" y="214"/>
                  <a:pt x="58" y="214"/>
                  <a:pt x="58" y="214"/>
                </a:cubicBezTo>
                <a:cubicBezTo>
                  <a:pt x="59" y="214"/>
                  <a:pt x="59" y="214"/>
                  <a:pt x="59" y="214"/>
                </a:cubicBezTo>
                <a:cubicBezTo>
                  <a:pt x="59" y="215"/>
                  <a:pt x="59" y="215"/>
                  <a:pt x="59" y="215"/>
                </a:cubicBezTo>
                <a:cubicBezTo>
                  <a:pt x="60" y="217"/>
                  <a:pt x="60" y="217"/>
                  <a:pt x="60" y="217"/>
                </a:cubicBezTo>
                <a:cubicBezTo>
                  <a:pt x="61" y="218"/>
                  <a:pt x="61" y="218"/>
                  <a:pt x="61" y="218"/>
                </a:cubicBezTo>
                <a:cubicBezTo>
                  <a:pt x="62" y="219"/>
                  <a:pt x="62" y="219"/>
                  <a:pt x="62" y="219"/>
                </a:cubicBezTo>
                <a:cubicBezTo>
                  <a:pt x="63" y="220"/>
                  <a:pt x="63" y="220"/>
                  <a:pt x="63" y="220"/>
                </a:cubicBezTo>
                <a:cubicBezTo>
                  <a:pt x="64" y="220"/>
                  <a:pt x="64" y="220"/>
                  <a:pt x="64" y="220"/>
                </a:cubicBezTo>
                <a:cubicBezTo>
                  <a:pt x="65" y="220"/>
                  <a:pt x="65" y="220"/>
                  <a:pt x="65" y="220"/>
                </a:cubicBezTo>
                <a:cubicBezTo>
                  <a:pt x="65" y="219"/>
                  <a:pt x="65" y="219"/>
                  <a:pt x="65" y="219"/>
                </a:cubicBezTo>
                <a:cubicBezTo>
                  <a:pt x="65" y="219"/>
                  <a:pt x="65" y="219"/>
                  <a:pt x="65" y="219"/>
                </a:cubicBezTo>
                <a:cubicBezTo>
                  <a:pt x="65" y="219"/>
                  <a:pt x="65" y="219"/>
                  <a:pt x="65" y="219"/>
                </a:cubicBezTo>
                <a:cubicBezTo>
                  <a:pt x="64" y="219"/>
                  <a:pt x="64" y="219"/>
                  <a:pt x="64" y="219"/>
                </a:cubicBezTo>
                <a:cubicBezTo>
                  <a:pt x="63" y="219"/>
                  <a:pt x="63" y="219"/>
                  <a:pt x="63" y="219"/>
                </a:cubicBezTo>
                <a:cubicBezTo>
                  <a:pt x="62" y="217"/>
                  <a:pt x="62" y="217"/>
                  <a:pt x="62" y="217"/>
                </a:cubicBezTo>
                <a:cubicBezTo>
                  <a:pt x="62" y="217"/>
                  <a:pt x="62" y="217"/>
                  <a:pt x="62" y="217"/>
                </a:cubicBezTo>
                <a:cubicBezTo>
                  <a:pt x="62" y="217"/>
                  <a:pt x="62" y="217"/>
                  <a:pt x="62" y="217"/>
                </a:cubicBezTo>
                <a:cubicBezTo>
                  <a:pt x="63" y="218"/>
                  <a:pt x="63" y="218"/>
                  <a:pt x="63" y="218"/>
                </a:cubicBezTo>
                <a:cubicBezTo>
                  <a:pt x="64" y="218"/>
                  <a:pt x="64" y="218"/>
                  <a:pt x="64" y="218"/>
                </a:cubicBezTo>
                <a:cubicBezTo>
                  <a:pt x="64" y="217"/>
                  <a:pt x="64" y="217"/>
                  <a:pt x="64" y="217"/>
                </a:cubicBezTo>
                <a:cubicBezTo>
                  <a:pt x="65" y="217"/>
                  <a:pt x="65" y="217"/>
                  <a:pt x="65" y="217"/>
                </a:cubicBezTo>
                <a:cubicBezTo>
                  <a:pt x="65" y="217"/>
                  <a:pt x="65" y="217"/>
                  <a:pt x="65" y="217"/>
                </a:cubicBezTo>
                <a:cubicBezTo>
                  <a:pt x="63" y="216"/>
                  <a:pt x="63" y="216"/>
                  <a:pt x="63" y="216"/>
                </a:cubicBezTo>
                <a:cubicBezTo>
                  <a:pt x="62" y="214"/>
                  <a:pt x="62" y="214"/>
                  <a:pt x="62" y="214"/>
                </a:cubicBezTo>
                <a:cubicBezTo>
                  <a:pt x="62" y="214"/>
                  <a:pt x="62" y="214"/>
                  <a:pt x="62" y="214"/>
                </a:cubicBezTo>
                <a:cubicBezTo>
                  <a:pt x="62" y="213"/>
                  <a:pt x="62" y="213"/>
                  <a:pt x="62" y="213"/>
                </a:cubicBezTo>
                <a:cubicBezTo>
                  <a:pt x="62" y="213"/>
                  <a:pt x="62" y="213"/>
                  <a:pt x="62" y="213"/>
                </a:cubicBezTo>
                <a:cubicBezTo>
                  <a:pt x="63" y="214"/>
                  <a:pt x="63" y="214"/>
                  <a:pt x="63" y="214"/>
                </a:cubicBezTo>
                <a:cubicBezTo>
                  <a:pt x="64" y="214"/>
                  <a:pt x="64" y="214"/>
                  <a:pt x="64" y="214"/>
                </a:cubicBezTo>
                <a:cubicBezTo>
                  <a:pt x="63" y="213"/>
                  <a:pt x="63" y="213"/>
                  <a:pt x="63" y="213"/>
                </a:cubicBezTo>
                <a:cubicBezTo>
                  <a:pt x="62" y="212"/>
                  <a:pt x="62" y="212"/>
                  <a:pt x="62" y="212"/>
                </a:cubicBezTo>
                <a:cubicBezTo>
                  <a:pt x="61" y="211"/>
                  <a:pt x="61" y="211"/>
                  <a:pt x="61" y="211"/>
                </a:cubicBezTo>
                <a:cubicBezTo>
                  <a:pt x="61" y="211"/>
                  <a:pt x="61" y="211"/>
                  <a:pt x="61" y="211"/>
                </a:cubicBezTo>
                <a:cubicBezTo>
                  <a:pt x="61" y="210"/>
                  <a:pt x="61" y="210"/>
                  <a:pt x="61" y="210"/>
                </a:cubicBezTo>
                <a:cubicBezTo>
                  <a:pt x="62" y="211"/>
                  <a:pt x="62" y="211"/>
                  <a:pt x="62" y="211"/>
                </a:cubicBezTo>
                <a:cubicBezTo>
                  <a:pt x="64" y="211"/>
                  <a:pt x="64" y="211"/>
                  <a:pt x="64" y="211"/>
                </a:cubicBezTo>
                <a:cubicBezTo>
                  <a:pt x="65" y="211"/>
                  <a:pt x="65" y="211"/>
                  <a:pt x="65" y="211"/>
                </a:cubicBezTo>
                <a:cubicBezTo>
                  <a:pt x="65" y="210"/>
                  <a:pt x="65" y="210"/>
                  <a:pt x="65" y="210"/>
                </a:cubicBezTo>
                <a:cubicBezTo>
                  <a:pt x="64" y="209"/>
                  <a:pt x="64" y="209"/>
                  <a:pt x="64" y="209"/>
                </a:cubicBezTo>
                <a:cubicBezTo>
                  <a:pt x="64" y="209"/>
                  <a:pt x="64" y="209"/>
                  <a:pt x="64" y="209"/>
                </a:cubicBezTo>
                <a:cubicBezTo>
                  <a:pt x="63" y="210"/>
                  <a:pt x="63" y="210"/>
                  <a:pt x="63" y="210"/>
                </a:cubicBezTo>
                <a:cubicBezTo>
                  <a:pt x="62" y="210"/>
                  <a:pt x="62" y="210"/>
                  <a:pt x="62" y="210"/>
                </a:cubicBezTo>
                <a:cubicBezTo>
                  <a:pt x="61" y="210"/>
                  <a:pt x="61" y="210"/>
                  <a:pt x="61" y="210"/>
                </a:cubicBezTo>
                <a:cubicBezTo>
                  <a:pt x="61" y="209"/>
                  <a:pt x="61" y="209"/>
                  <a:pt x="61" y="209"/>
                </a:cubicBezTo>
                <a:cubicBezTo>
                  <a:pt x="61" y="208"/>
                  <a:pt x="61" y="208"/>
                  <a:pt x="61" y="208"/>
                </a:cubicBezTo>
                <a:cubicBezTo>
                  <a:pt x="63" y="208"/>
                  <a:pt x="63" y="208"/>
                  <a:pt x="63" y="208"/>
                </a:cubicBezTo>
                <a:cubicBezTo>
                  <a:pt x="63" y="208"/>
                  <a:pt x="63" y="208"/>
                  <a:pt x="63" y="208"/>
                </a:cubicBezTo>
                <a:cubicBezTo>
                  <a:pt x="64" y="208"/>
                  <a:pt x="64" y="208"/>
                  <a:pt x="64" y="208"/>
                </a:cubicBezTo>
                <a:cubicBezTo>
                  <a:pt x="64" y="208"/>
                  <a:pt x="64" y="208"/>
                  <a:pt x="64" y="208"/>
                </a:cubicBezTo>
                <a:cubicBezTo>
                  <a:pt x="64" y="207"/>
                  <a:pt x="64" y="207"/>
                  <a:pt x="64" y="207"/>
                </a:cubicBezTo>
                <a:cubicBezTo>
                  <a:pt x="63" y="206"/>
                  <a:pt x="63" y="206"/>
                  <a:pt x="63" y="206"/>
                </a:cubicBezTo>
                <a:cubicBezTo>
                  <a:pt x="63" y="206"/>
                  <a:pt x="63" y="206"/>
                  <a:pt x="63" y="206"/>
                </a:cubicBezTo>
                <a:cubicBezTo>
                  <a:pt x="62" y="207"/>
                  <a:pt x="62" y="207"/>
                  <a:pt x="62" y="207"/>
                </a:cubicBezTo>
                <a:cubicBezTo>
                  <a:pt x="62" y="207"/>
                  <a:pt x="62" y="207"/>
                  <a:pt x="62" y="207"/>
                </a:cubicBezTo>
                <a:cubicBezTo>
                  <a:pt x="61" y="207"/>
                  <a:pt x="61" y="207"/>
                  <a:pt x="61" y="207"/>
                </a:cubicBezTo>
                <a:cubicBezTo>
                  <a:pt x="60" y="209"/>
                  <a:pt x="60" y="209"/>
                  <a:pt x="60" y="209"/>
                </a:cubicBezTo>
                <a:cubicBezTo>
                  <a:pt x="59" y="209"/>
                  <a:pt x="59" y="209"/>
                  <a:pt x="59" y="209"/>
                </a:cubicBezTo>
                <a:cubicBezTo>
                  <a:pt x="59" y="208"/>
                  <a:pt x="59" y="208"/>
                  <a:pt x="59" y="208"/>
                </a:cubicBezTo>
                <a:cubicBezTo>
                  <a:pt x="60" y="208"/>
                  <a:pt x="60" y="208"/>
                  <a:pt x="60" y="208"/>
                </a:cubicBezTo>
                <a:cubicBezTo>
                  <a:pt x="60" y="207"/>
                  <a:pt x="60" y="207"/>
                  <a:pt x="60" y="207"/>
                </a:cubicBezTo>
                <a:cubicBezTo>
                  <a:pt x="61" y="206"/>
                  <a:pt x="61" y="206"/>
                  <a:pt x="61" y="206"/>
                </a:cubicBezTo>
                <a:cubicBezTo>
                  <a:pt x="61" y="206"/>
                  <a:pt x="61" y="206"/>
                  <a:pt x="61" y="206"/>
                </a:cubicBezTo>
                <a:cubicBezTo>
                  <a:pt x="62" y="206"/>
                  <a:pt x="62" y="206"/>
                  <a:pt x="62" y="206"/>
                </a:cubicBezTo>
                <a:cubicBezTo>
                  <a:pt x="63" y="205"/>
                  <a:pt x="63" y="205"/>
                  <a:pt x="63" y="205"/>
                </a:cubicBezTo>
                <a:cubicBezTo>
                  <a:pt x="64" y="205"/>
                  <a:pt x="64" y="205"/>
                  <a:pt x="64" y="205"/>
                </a:cubicBezTo>
                <a:cubicBezTo>
                  <a:pt x="64" y="204"/>
                  <a:pt x="64" y="204"/>
                  <a:pt x="64" y="204"/>
                </a:cubicBezTo>
                <a:cubicBezTo>
                  <a:pt x="64" y="204"/>
                  <a:pt x="64" y="204"/>
                  <a:pt x="64" y="204"/>
                </a:cubicBezTo>
                <a:cubicBezTo>
                  <a:pt x="62" y="204"/>
                  <a:pt x="62" y="204"/>
                  <a:pt x="62" y="204"/>
                </a:cubicBezTo>
                <a:cubicBezTo>
                  <a:pt x="61" y="205"/>
                  <a:pt x="61" y="205"/>
                  <a:pt x="61" y="205"/>
                </a:cubicBezTo>
                <a:cubicBezTo>
                  <a:pt x="61" y="205"/>
                  <a:pt x="61" y="205"/>
                  <a:pt x="61" y="205"/>
                </a:cubicBezTo>
                <a:cubicBezTo>
                  <a:pt x="60" y="205"/>
                  <a:pt x="60" y="205"/>
                  <a:pt x="60" y="205"/>
                </a:cubicBezTo>
                <a:cubicBezTo>
                  <a:pt x="59" y="205"/>
                  <a:pt x="59" y="205"/>
                  <a:pt x="59" y="205"/>
                </a:cubicBezTo>
                <a:cubicBezTo>
                  <a:pt x="58" y="205"/>
                  <a:pt x="58" y="205"/>
                  <a:pt x="58" y="205"/>
                </a:cubicBezTo>
                <a:cubicBezTo>
                  <a:pt x="58" y="204"/>
                  <a:pt x="58" y="204"/>
                  <a:pt x="58" y="204"/>
                </a:cubicBezTo>
                <a:cubicBezTo>
                  <a:pt x="59" y="203"/>
                  <a:pt x="59" y="203"/>
                  <a:pt x="59" y="203"/>
                </a:cubicBezTo>
                <a:cubicBezTo>
                  <a:pt x="60" y="203"/>
                  <a:pt x="60" y="203"/>
                  <a:pt x="60" y="203"/>
                </a:cubicBezTo>
                <a:cubicBezTo>
                  <a:pt x="61" y="203"/>
                  <a:pt x="61" y="203"/>
                  <a:pt x="61" y="203"/>
                </a:cubicBezTo>
                <a:cubicBezTo>
                  <a:pt x="63" y="202"/>
                  <a:pt x="63" y="202"/>
                  <a:pt x="63" y="202"/>
                </a:cubicBezTo>
                <a:cubicBezTo>
                  <a:pt x="65" y="201"/>
                  <a:pt x="65" y="201"/>
                  <a:pt x="65" y="201"/>
                </a:cubicBezTo>
                <a:cubicBezTo>
                  <a:pt x="65" y="201"/>
                  <a:pt x="65" y="201"/>
                  <a:pt x="65" y="201"/>
                </a:cubicBezTo>
                <a:cubicBezTo>
                  <a:pt x="64" y="201"/>
                  <a:pt x="64" y="201"/>
                  <a:pt x="64" y="201"/>
                </a:cubicBezTo>
                <a:cubicBezTo>
                  <a:pt x="64" y="201"/>
                  <a:pt x="64" y="201"/>
                  <a:pt x="64" y="201"/>
                </a:cubicBezTo>
                <a:cubicBezTo>
                  <a:pt x="63" y="201"/>
                  <a:pt x="63" y="201"/>
                  <a:pt x="63" y="201"/>
                </a:cubicBezTo>
                <a:cubicBezTo>
                  <a:pt x="62" y="202"/>
                  <a:pt x="62" y="202"/>
                  <a:pt x="62" y="202"/>
                </a:cubicBezTo>
                <a:cubicBezTo>
                  <a:pt x="61" y="201"/>
                  <a:pt x="61" y="201"/>
                  <a:pt x="61" y="201"/>
                </a:cubicBezTo>
                <a:cubicBezTo>
                  <a:pt x="61" y="201"/>
                  <a:pt x="61" y="201"/>
                  <a:pt x="61" y="201"/>
                </a:cubicBezTo>
                <a:cubicBezTo>
                  <a:pt x="60" y="200"/>
                  <a:pt x="60" y="200"/>
                  <a:pt x="60" y="200"/>
                </a:cubicBezTo>
                <a:cubicBezTo>
                  <a:pt x="59" y="200"/>
                  <a:pt x="59" y="200"/>
                  <a:pt x="59" y="200"/>
                </a:cubicBezTo>
                <a:cubicBezTo>
                  <a:pt x="59" y="200"/>
                  <a:pt x="59" y="200"/>
                  <a:pt x="59" y="200"/>
                </a:cubicBezTo>
                <a:cubicBezTo>
                  <a:pt x="59" y="200"/>
                  <a:pt x="59" y="200"/>
                  <a:pt x="59" y="200"/>
                </a:cubicBezTo>
                <a:cubicBezTo>
                  <a:pt x="60" y="199"/>
                  <a:pt x="60" y="199"/>
                  <a:pt x="60" y="199"/>
                </a:cubicBezTo>
                <a:cubicBezTo>
                  <a:pt x="60" y="198"/>
                  <a:pt x="60" y="198"/>
                  <a:pt x="60" y="198"/>
                </a:cubicBezTo>
                <a:cubicBezTo>
                  <a:pt x="61" y="197"/>
                  <a:pt x="61" y="197"/>
                  <a:pt x="61" y="197"/>
                </a:cubicBezTo>
                <a:cubicBezTo>
                  <a:pt x="61" y="197"/>
                  <a:pt x="61" y="197"/>
                  <a:pt x="61" y="197"/>
                </a:cubicBezTo>
                <a:cubicBezTo>
                  <a:pt x="61" y="196"/>
                  <a:pt x="61" y="196"/>
                  <a:pt x="61" y="196"/>
                </a:cubicBezTo>
                <a:cubicBezTo>
                  <a:pt x="61" y="196"/>
                  <a:pt x="61" y="196"/>
                  <a:pt x="61" y="196"/>
                </a:cubicBezTo>
                <a:cubicBezTo>
                  <a:pt x="60" y="197"/>
                  <a:pt x="60" y="197"/>
                  <a:pt x="60" y="197"/>
                </a:cubicBezTo>
                <a:cubicBezTo>
                  <a:pt x="59" y="198"/>
                  <a:pt x="59" y="198"/>
                  <a:pt x="59" y="198"/>
                </a:cubicBezTo>
                <a:cubicBezTo>
                  <a:pt x="59" y="199"/>
                  <a:pt x="59" y="199"/>
                  <a:pt x="59" y="199"/>
                </a:cubicBezTo>
                <a:cubicBezTo>
                  <a:pt x="58" y="199"/>
                  <a:pt x="58" y="199"/>
                  <a:pt x="58" y="199"/>
                </a:cubicBezTo>
                <a:cubicBezTo>
                  <a:pt x="58" y="200"/>
                  <a:pt x="58" y="200"/>
                  <a:pt x="58" y="200"/>
                </a:cubicBezTo>
                <a:cubicBezTo>
                  <a:pt x="57" y="200"/>
                  <a:pt x="57" y="200"/>
                  <a:pt x="57" y="200"/>
                </a:cubicBezTo>
                <a:cubicBezTo>
                  <a:pt x="57" y="199"/>
                  <a:pt x="57" y="199"/>
                  <a:pt x="57" y="199"/>
                </a:cubicBezTo>
                <a:cubicBezTo>
                  <a:pt x="57" y="197"/>
                  <a:pt x="57" y="197"/>
                  <a:pt x="57" y="197"/>
                </a:cubicBezTo>
                <a:cubicBezTo>
                  <a:pt x="58" y="196"/>
                  <a:pt x="58" y="196"/>
                  <a:pt x="58" y="196"/>
                </a:cubicBezTo>
                <a:cubicBezTo>
                  <a:pt x="57" y="194"/>
                  <a:pt x="57" y="194"/>
                  <a:pt x="57" y="194"/>
                </a:cubicBezTo>
                <a:cubicBezTo>
                  <a:pt x="57" y="193"/>
                  <a:pt x="57" y="193"/>
                  <a:pt x="57" y="193"/>
                </a:cubicBezTo>
                <a:cubicBezTo>
                  <a:pt x="57" y="192"/>
                  <a:pt x="57" y="192"/>
                  <a:pt x="57" y="192"/>
                </a:cubicBezTo>
                <a:cubicBezTo>
                  <a:pt x="57" y="191"/>
                  <a:pt x="57" y="191"/>
                  <a:pt x="57" y="191"/>
                </a:cubicBezTo>
                <a:cubicBezTo>
                  <a:pt x="57" y="191"/>
                  <a:pt x="57" y="191"/>
                  <a:pt x="57" y="191"/>
                </a:cubicBezTo>
                <a:cubicBezTo>
                  <a:pt x="57" y="192"/>
                  <a:pt x="57" y="192"/>
                  <a:pt x="57" y="192"/>
                </a:cubicBezTo>
                <a:cubicBezTo>
                  <a:pt x="56" y="194"/>
                  <a:pt x="56" y="194"/>
                  <a:pt x="56" y="194"/>
                </a:cubicBezTo>
                <a:cubicBezTo>
                  <a:pt x="57" y="195"/>
                  <a:pt x="57" y="195"/>
                  <a:pt x="57" y="195"/>
                </a:cubicBezTo>
                <a:cubicBezTo>
                  <a:pt x="57" y="196"/>
                  <a:pt x="57" y="196"/>
                  <a:pt x="57" y="196"/>
                </a:cubicBezTo>
                <a:cubicBezTo>
                  <a:pt x="57" y="197"/>
                  <a:pt x="57" y="197"/>
                  <a:pt x="57" y="197"/>
                </a:cubicBezTo>
                <a:cubicBezTo>
                  <a:pt x="57" y="199"/>
                  <a:pt x="57" y="199"/>
                  <a:pt x="57" y="199"/>
                </a:cubicBezTo>
                <a:cubicBezTo>
                  <a:pt x="56" y="200"/>
                  <a:pt x="56" y="200"/>
                  <a:pt x="56" y="200"/>
                </a:cubicBezTo>
                <a:cubicBezTo>
                  <a:pt x="56" y="200"/>
                  <a:pt x="56" y="200"/>
                  <a:pt x="56" y="200"/>
                </a:cubicBezTo>
                <a:cubicBezTo>
                  <a:pt x="55" y="199"/>
                  <a:pt x="55" y="199"/>
                  <a:pt x="55" y="199"/>
                </a:cubicBezTo>
                <a:cubicBezTo>
                  <a:pt x="55" y="198"/>
                  <a:pt x="55" y="198"/>
                  <a:pt x="55" y="198"/>
                </a:cubicBezTo>
                <a:cubicBezTo>
                  <a:pt x="54" y="200"/>
                  <a:pt x="54" y="200"/>
                  <a:pt x="54" y="200"/>
                </a:cubicBezTo>
                <a:cubicBezTo>
                  <a:pt x="54" y="201"/>
                  <a:pt x="54" y="201"/>
                  <a:pt x="54" y="201"/>
                </a:cubicBezTo>
                <a:cubicBezTo>
                  <a:pt x="54" y="200"/>
                  <a:pt x="54" y="200"/>
                  <a:pt x="54" y="200"/>
                </a:cubicBezTo>
                <a:cubicBezTo>
                  <a:pt x="53" y="200"/>
                  <a:pt x="53" y="200"/>
                  <a:pt x="53" y="200"/>
                </a:cubicBezTo>
                <a:cubicBezTo>
                  <a:pt x="54" y="201"/>
                  <a:pt x="54" y="201"/>
                  <a:pt x="54" y="201"/>
                </a:cubicBezTo>
                <a:cubicBezTo>
                  <a:pt x="54" y="202"/>
                  <a:pt x="54" y="202"/>
                  <a:pt x="54" y="202"/>
                </a:cubicBezTo>
                <a:cubicBezTo>
                  <a:pt x="54" y="203"/>
                  <a:pt x="54" y="203"/>
                  <a:pt x="54" y="203"/>
                </a:cubicBezTo>
                <a:cubicBezTo>
                  <a:pt x="53" y="203"/>
                  <a:pt x="53" y="203"/>
                  <a:pt x="53" y="203"/>
                </a:cubicBezTo>
                <a:cubicBezTo>
                  <a:pt x="52" y="204"/>
                  <a:pt x="52" y="204"/>
                  <a:pt x="52" y="204"/>
                </a:cubicBezTo>
                <a:cubicBezTo>
                  <a:pt x="52" y="203"/>
                  <a:pt x="52" y="203"/>
                  <a:pt x="52" y="203"/>
                </a:cubicBezTo>
                <a:cubicBezTo>
                  <a:pt x="51" y="204"/>
                  <a:pt x="51" y="204"/>
                  <a:pt x="51" y="204"/>
                </a:cubicBezTo>
                <a:cubicBezTo>
                  <a:pt x="50" y="204"/>
                  <a:pt x="50" y="204"/>
                  <a:pt x="50" y="204"/>
                </a:cubicBezTo>
                <a:cubicBezTo>
                  <a:pt x="49" y="204"/>
                  <a:pt x="49" y="204"/>
                  <a:pt x="49" y="204"/>
                </a:cubicBezTo>
                <a:cubicBezTo>
                  <a:pt x="48" y="204"/>
                  <a:pt x="48" y="204"/>
                  <a:pt x="48" y="204"/>
                </a:cubicBezTo>
                <a:cubicBezTo>
                  <a:pt x="48" y="203"/>
                  <a:pt x="48" y="203"/>
                  <a:pt x="48" y="203"/>
                </a:cubicBezTo>
                <a:cubicBezTo>
                  <a:pt x="48" y="202"/>
                  <a:pt x="48" y="202"/>
                  <a:pt x="48" y="202"/>
                </a:cubicBezTo>
                <a:cubicBezTo>
                  <a:pt x="48" y="202"/>
                  <a:pt x="48" y="202"/>
                  <a:pt x="48" y="202"/>
                </a:cubicBezTo>
                <a:cubicBezTo>
                  <a:pt x="47" y="202"/>
                  <a:pt x="47" y="202"/>
                  <a:pt x="47" y="202"/>
                </a:cubicBezTo>
                <a:cubicBezTo>
                  <a:pt x="47" y="203"/>
                  <a:pt x="47" y="203"/>
                  <a:pt x="47" y="203"/>
                </a:cubicBezTo>
                <a:cubicBezTo>
                  <a:pt x="46" y="203"/>
                  <a:pt x="46" y="203"/>
                  <a:pt x="46" y="203"/>
                </a:cubicBezTo>
                <a:cubicBezTo>
                  <a:pt x="46" y="201"/>
                  <a:pt x="46" y="201"/>
                  <a:pt x="46" y="201"/>
                </a:cubicBezTo>
                <a:cubicBezTo>
                  <a:pt x="46" y="200"/>
                  <a:pt x="46" y="200"/>
                  <a:pt x="46" y="200"/>
                </a:cubicBezTo>
                <a:cubicBezTo>
                  <a:pt x="46" y="200"/>
                  <a:pt x="46" y="200"/>
                  <a:pt x="46" y="200"/>
                </a:cubicBezTo>
                <a:cubicBezTo>
                  <a:pt x="46" y="199"/>
                  <a:pt x="46" y="199"/>
                  <a:pt x="46" y="199"/>
                </a:cubicBezTo>
                <a:cubicBezTo>
                  <a:pt x="46" y="199"/>
                  <a:pt x="46" y="199"/>
                  <a:pt x="46" y="199"/>
                </a:cubicBezTo>
                <a:cubicBezTo>
                  <a:pt x="47" y="198"/>
                  <a:pt x="47" y="198"/>
                  <a:pt x="47" y="198"/>
                </a:cubicBezTo>
                <a:cubicBezTo>
                  <a:pt x="48" y="198"/>
                  <a:pt x="48" y="198"/>
                  <a:pt x="48" y="198"/>
                </a:cubicBezTo>
                <a:cubicBezTo>
                  <a:pt x="48" y="198"/>
                  <a:pt x="48" y="198"/>
                  <a:pt x="48" y="198"/>
                </a:cubicBezTo>
                <a:cubicBezTo>
                  <a:pt x="49" y="197"/>
                  <a:pt x="49" y="197"/>
                  <a:pt x="49" y="197"/>
                </a:cubicBezTo>
                <a:cubicBezTo>
                  <a:pt x="49" y="197"/>
                  <a:pt x="49" y="197"/>
                  <a:pt x="49" y="197"/>
                </a:cubicBezTo>
                <a:cubicBezTo>
                  <a:pt x="51" y="197"/>
                  <a:pt x="51" y="197"/>
                  <a:pt x="51" y="197"/>
                </a:cubicBezTo>
                <a:cubicBezTo>
                  <a:pt x="52" y="197"/>
                  <a:pt x="52" y="197"/>
                  <a:pt x="52" y="197"/>
                </a:cubicBezTo>
                <a:cubicBezTo>
                  <a:pt x="53" y="195"/>
                  <a:pt x="53" y="195"/>
                  <a:pt x="53" y="195"/>
                </a:cubicBezTo>
                <a:cubicBezTo>
                  <a:pt x="54" y="194"/>
                  <a:pt x="54" y="194"/>
                  <a:pt x="54" y="194"/>
                </a:cubicBezTo>
                <a:cubicBezTo>
                  <a:pt x="54" y="193"/>
                  <a:pt x="54" y="193"/>
                  <a:pt x="54" y="193"/>
                </a:cubicBezTo>
                <a:cubicBezTo>
                  <a:pt x="54" y="193"/>
                  <a:pt x="54" y="193"/>
                  <a:pt x="54" y="193"/>
                </a:cubicBezTo>
                <a:cubicBezTo>
                  <a:pt x="53" y="193"/>
                  <a:pt x="53" y="193"/>
                  <a:pt x="53" y="193"/>
                </a:cubicBezTo>
                <a:cubicBezTo>
                  <a:pt x="53" y="194"/>
                  <a:pt x="53" y="194"/>
                  <a:pt x="53" y="194"/>
                </a:cubicBezTo>
                <a:cubicBezTo>
                  <a:pt x="52" y="196"/>
                  <a:pt x="52" y="196"/>
                  <a:pt x="52" y="196"/>
                </a:cubicBezTo>
                <a:cubicBezTo>
                  <a:pt x="50" y="196"/>
                  <a:pt x="50" y="196"/>
                  <a:pt x="50" y="196"/>
                </a:cubicBezTo>
                <a:cubicBezTo>
                  <a:pt x="49" y="196"/>
                  <a:pt x="49" y="196"/>
                  <a:pt x="49" y="196"/>
                </a:cubicBezTo>
                <a:cubicBezTo>
                  <a:pt x="48" y="195"/>
                  <a:pt x="48" y="195"/>
                  <a:pt x="48" y="195"/>
                </a:cubicBezTo>
                <a:cubicBezTo>
                  <a:pt x="48" y="194"/>
                  <a:pt x="48" y="194"/>
                  <a:pt x="48" y="194"/>
                </a:cubicBezTo>
                <a:cubicBezTo>
                  <a:pt x="49" y="194"/>
                  <a:pt x="49" y="194"/>
                  <a:pt x="49" y="194"/>
                </a:cubicBezTo>
                <a:cubicBezTo>
                  <a:pt x="50" y="192"/>
                  <a:pt x="50" y="192"/>
                  <a:pt x="50" y="192"/>
                </a:cubicBezTo>
                <a:cubicBezTo>
                  <a:pt x="51" y="192"/>
                  <a:pt x="51" y="192"/>
                  <a:pt x="51" y="192"/>
                </a:cubicBezTo>
                <a:cubicBezTo>
                  <a:pt x="51" y="192"/>
                  <a:pt x="51" y="192"/>
                  <a:pt x="51" y="192"/>
                </a:cubicBezTo>
                <a:cubicBezTo>
                  <a:pt x="51" y="191"/>
                  <a:pt x="51" y="191"/>
                  <a:pt x="51" y="191"/>
                </a:cubicBezTo>
                <a:cubicBezTo>
                  <a:pt x="52" y="191"/>
                  <a:pt x="52" y="191"/>
                  <a:pt x="52" y="191"/>
                </a:cubicBezTo>
                <a:cubicBezTo>
                  <a:pt x="52" y="191"/>
                  <a:pt x="52" y="191"/>
                  <a:pt x="52" y="191"/>
                </a:cubicBezTo>
                <a:cubicBezTo>
                  <a:pt x="53" y="190"/>
                  <a:pt x="53" y="190"/>
                  <a:pt x="53" y="190"/>
                </a:cubicBezTo>
                <a:cubicBezTo>
                  <a:pt x="52" y="190"/>
                  <a:pt x="52" y="190"/>
                  <a:pt x="52" y="190"/>
                </a:cubicBezTo>
                <a:cubicBezTo>
                  <a:pt x="52" y="189"/>
                  <a:pt x="52" y="189"/>
                  <a:pt x="52" y="189"/>
                </a:cubicBezTo>
                <a:cubicBezTo>
                  <a:pt x="52" y="189"/>
                  <a:pt x="52" y="189"/>
                  <a:pt x="52" y="189"/>
                </a:cubicBezTo>
                <a:cubicBezTo>
                  <a:pt x="52" y="189"/>
                  <a:pt x="52" y="189"/>
                  <a:pt x="52" y="189"/>
                </a:cubicBezTo>
                <a:cubicBezTo>
                  <a:pt x="51" y="190"/>
                  <a:pt x="51" y="190"/>
                  <a:pt x="51" y="190"/>
                </a:cubicBezTo>
                <a:cubicBezTo>
                  <a:pt x="50" y="190"/>
                  <a:pt x="50" y="190"/>
                  <a:pt x="50" y="190"/>
                </a:cubicBezTo>
                <a:cubicBezTo>
                  <a:pt x="49" y="190"/>
                  <a:pt x="49" y="190"/>
                  <a:pt x="49" y="190"/>
                </a:cubicBezTo>
                <a:cubicBezTo>
                  <a:pt x="49" y="189"/>
                  <a:pt x="49" y="189"/>
                  <a:pt x="49" y="189"/>
                </a:cubicBezTo>
                <a:cubicBezTo>
                  <a:pt x="49" y="188"/>
                  <a:pt x="49" y="188"/>
                  <a:pt x="49" y="188"/>
                </a:cubicBezTo>
                <a:cubicBezTo>
                  <a:pt x="50" y="188"/>
                  <a:pt x="50" y="188"/>
                  <a:pt x="50" y="188"/>
                </a:cubicBezTo>
                <a:cubicBezTo>
                  <a:pt x="51" y="188"/>
                  <a:pt x="51" y="188"/>
                  <a:pt x="51" y="188"/>
                </a:cubicBezTo>
                <a:cubicBezTo>
                  <a:pt x="52" y="188"/>
                  <a:pt x="52" y="188"/>
                  <a:pt x="52" y="188"/>
                </a:cubicBezTo>
                <a:cubicBezTo>
                  <a:pt x="52" y="188"/>
                  <a:pt x="52" y="188"/>
                  <a:pt x="52" y="188"/>
                </a:cubicBezTo>
                <a:cubicBezTo>
                  <a:pt x="54" y="188"/>
                  <a:pt x="54" y="188"/>
                  <a:pt x="54" y="188"/>
                </a:cubicBezTo>
                <a:cubicBezTo>
                  <a:pt x="54" y="186"/>
                  <a:pt x="54" y="186"/>
                  <a:pt x="54" y="186"/>
                </a:cubicBezTo>
                <a:cubicBezTo>
                  <a:pt x="54" y="185"/>
                  <a:pt x="54" y="185"/>
                  <a:pt x="54" y="185"/>
                </a:cubicBezTo>
                <a:cubicBezTo>
                  <a:pt x="54" y="185"/>
                  <a:pt x="54" y="185"/>
                  <a:pt x="54" y="185"/>
                </a:cubicBezTo>
                <a:cubicBezTo>
                  <a:pt x="55" y="183"/>
                  <a:pt x="55" y="183"/>
                  <a:pt x="55" y="183"/>
                </a:cubicBezTo>
                <a:cubicBezTo>
                  <a:pt x="55" y="182"/>
                  <a:pt x="55" y="182"/>
                  <a:pt x="55" y="182"/>
                </a:cubicBezTo>
                <a:cubicBezTo>
                  <a:pt x="55" y="181"/>
                  <a:pt x="55" y="181"/>
                  <a:pt x="55" y="181"/>
                </a:cubicBezTo>
                <a:cubicBezTo>
                  <a:pt x="55" y="180"/>
                  <a:pt x="55" y="180"/>
                  <a:pt x="55" y="180"/>
                </a:cubicBezTo>
                <a:cubicBezTo>
                  <a:pt x="54" y="180"/>
                  <a:pt x="54" y="180"/>
                  <a:pt x="54" y="180"/>
                </a:cubicBezTo>
                <a:cubicBezTo>
                  <a:pt x="54" y="180"/>
                  <a:pt x="54" y="180"/>
                  <a:pt x="54" y="180"/>
                </a:cubicBezTo>
                <a:cubicBezTo>
                  <a:pt x="53" y="179"/>
                  <a:pt x="53" y="179"/>
                  <a:pt x="53" y="179"/>
                </a:cubicBezTo>
                <a:cubicBezTo>
                  <a:pt x="52" y="179"/>
                  <a:pt x="52" y="179"/>
                  <a:pt x="52" y="179"/>
                </a:cubicBezTo>
                <a:cubicBezTo>
                  <a:pt x="51" y="179"/>
                  <a:pt x="51" y="179"/>
                  <a:pt x="51" y="179"/>
                </a:cubicBezTo>
                <a:cubicBezTo>
                  <a:pt x="51" y="178"/>
                  <a:pt x="51" y="178"/>
                  <a:pt x="51" y="178"/>
                </a:cubicBezTo>
                <a:cubicBezTo>
                  <a:pt x="52" y="178"/>
                  <a:pt x="52" y="178"/>
                  <a:pt x="52" y="178"/>
                </a:cubicBezTo>
                <a:cubicBezTo>
                  <a:pt x="53" y="178"/>
                  <a:pt x="53" y="178"/>
                  <a:pt x="53" y="178"/>
                </a:cubicBezTo>
                <a:cubicBezTo>
                  <a:pt x="53" y="178"/>
                  <a:pt x="53" y="178"/>
                  <a:pt x="53" y="178"/>
                </a:cubicBezTo>
                <a:cubicBezTo>
                  <a:pt x="54" y="177"/>
                  <a:pt x="54" y="177"/>
                  <a:pt x="54" y="177"/>
                </a:cubicBezTo>
                <a:cubicBezTo>
                  <a:pt x="54" y="176"/>
                  <a:pt x="54" y="176"/>
                  <a:pt x="54" y="176"/>
                </a:cubicBezTo>
                <a:cubicBezTo>
                  <a:pt x="55" y="176"/>
                  <a:pt x="55" y="176"/>
                  <a:pt x="55" y="176"/>
                </a:cubicBezTo>
                <a:cubicBezTo>
                  <a:pt x="55" y="175"/>
                  <a:pt x="55" y="175"/>
                  <a:pt x="55" y="175"/>
                </a:cubicBezTo>
                <a:cubicBezTo>
                  <a:pt x="54" y="174"/>
                  <a:pt x="54" y="174"/>
                  <a:pt x="54" y="174"/>
                </a:cubicBezTo>
                <a:cubicBezTo>
                  <a:pt x="53" y="174"/>
                  <a:pt x="53" y="174"/>
                  <a:pt x="53" y="174"/>
                </a:cubicBezTo>
                <a:cubicBezTo>
                  <a:pt x="53" y="174"/>
                  <a:pt x="53" y="174"/>
                  <a:pt x="53" y="174"/>
                </a:cubicBezTo>
                <a:cubicBezTo>
                  <a:pt x="53" y="173"/>
                  <a:pt x="53" y="173"/>
                  <a:pt x="53" y="173"/>
                </a:cubicBezTo>
                <a:cubicBezTo>
                  <a:pt x="54" y="172"/>
                  <a:pt x="54" y="172"/>
                  <a:pt x="54" y="172"/>
                </a:cubicBezTo>
                <a:cubicBezTo>
                  <a:pt x="54" y="173"/>
                  <a:pt x="54" y="173"/>
                  <a:pt x="54" y="173"/>
                </a:cubicBezTo>
                <a:cubicBezTo>
                  <a:pt x="54" y="172"/>
                  <a:pt x="54" y="172"/>
                  <a:pt x="54" y="172"/>
                </a:cubicBezTo>
                <a:cubicBezTo>
                  <a:pt x="53" y="171"/>
                  <a:pt x="53" y="171"/>
                  <a:pt x="53" y="171"/>
                </a:cubicBezTo>
                <a:cubicBezTo>
                  <a:pt x="53" y="170"/>
                  <a:pt x="53" y="170"/>
                  <a:pt x="53" y="170"/>
                </a:cubicBezTo>
                <a:cubicBezTo>
                  <a:pt x="53" y="169"/>
                  <a:pt x="53" y="169"/>
                  <a:pt x="53" y="169"/>
                </a:cubicBezTo>
                <a:cubicBezTo>
                  <a:pt x="54" y="170"/>
                  <a:pt x="54" y="170"/>
                  <a:pt x="54" y="170"/>
                </a:cubicBezTo>
                <a:cubicBezTo>
                  <a:pt x="54" y="170"/>
                  <a:pt x="54" y="170"/>
                  <a:pt x="54" y="170"/>
                </a:cubicBezTo>
                <a:cubicBezTo>
                  <a:pt x="54" y="169"/>
                  <a:pt x="54" y="169"/>
                  <a:pt x="54" y="169"/>
                </a:cubicBezTo>
                <a:cubicBezTo>
                  <a:pt x="54" y="168"/>
                  <a:pt x="54" y="168"/>
                  <a:pt x="54" y="168"/>
                </a:cubicBezTo>
                <a:cubicBezTo>
                  <a:pt x="54" y="167"/>
                  <a:pt x="54" y="167"/>
                  <a:pt x="54" y="167"/>
                </a:cubicBezTo>
                <a:cubicBezTo>
                  <a:pt x="54" y="166"/>
                  <a:pt x="54" y="166"/>
                  <a:pt x="54" y="166"/>
                </a:cubicBezTo>
                <a:cubicBezTo>
                  <a:pt x="53" y="165"/>
                  <a:pt x="53" y="165"/>
                  <a:pt x="53" y="165"/>
                </a:cubicBezTo>
                <a:cubicBezTo>
                  <a:pt x="53" y="165"/>
                  <a:pt x="53" y="165"/>
                  <a:pt x="53" y="165"/>
                </a:cubicBezTo>
                <a:cubicBezTo>
                  <a:pt x="53" y="164"/>
                  <a:pt x="53" y="164"/>
                  <a:pt x="53" y="164"/>
                </a:cubicBezTo>
                <a:cubicBezTo>
                  <a:pt x="54" y="163"/>
                  <a:pt x="54" y="163"/>
                  <a:pt x="54" y="163"/>
                </a:cubicBezTo>
                <a:cubicBezTo>
                  <a:pt x="54" y="162"/>
                  <a:pt x="54" y="162"/>
                  <a:pt x="54" y="162"/>
                </a:cubicBezTo>
                <a:cubicBezTo>
                  <a:pt x="53" y="162"/>
                  <a:pt x="53" y="162"/>
                  <a:pt x="53" y="162"/>
                </a:cubicBezTo>
                <a:cubicBezTo>
                  <a:pt x="53" y="162"/>
                  <a:pt x="53" y="162"/>
                  <a:pt x="53" y="162"/>
                </a:cubicBezTo>
                <a:cubicBezTo>
                  <a:pt x="52" y="163"/>
                  <a:pt x="52" y="163"/>
                  <a:pt x="52" y="163"/>
                </a:cubicBezTo>
                <a:cubicBezTo>
                  <a:pt x="51" y="163"/>
                  <a:pt x="51" y="163"/>
                  <a:pt x="51" y="163"/>
                </a:cubicBezTo>
                <a:cubicBezTo>
                  <a:pt x="51" y="163"/>
                  <a:pt x="51" y="163"/>
                  <a:pt x="51" y="163"/>
                </a:cubicBezTo>
                <a:cubicBezTo>
                  <a:pt x="50" y="164"/>
                  <a:pt x="50" y="164"/>
                  <a:pt x="50" y="164"/>
                </a:cubicBezTo>
                <a:cubicBezTo>
                  <a:pt x="49" y="163"/>
                  <a:pt x="49" y="163"/>
                  <a:pt x="49" y="163"/>
                </a:cubicBezTo>
                <a:cubicBezTo>
                  <a:pt x="50" y="163"/>
                  <a:pt x="50" y="163"/>
                  <a:pt x="50" y="163"/>
                </a:cubicBezTo>
                <a:cubicBezTo>
                  <a:pt x="51" y="162"/>
                  <a:pt x="51" y="162"/>
                  <a:pt x="51" y="162"/>
                </a:cubicBezTo>
                <a:cubicBezTo>
                  <a:pt x="52" y="162"/>
                  <a:pt x="52" y="162"/>
                  <a:pt x="52" y="162"/>
                </a:cubicBezTo>
                <a:cubicBezTo>
                  <a:pt x="52" y="161"/>
                  <a:pt x="52" y="161"/>
                  <a:pt x="52" y="161"/>
                </a:cubicBezTo>
                <a:cubicBezTo>
                  <a:pt x="53" y="160"/>
                  <a:pt x="53" y="160"/>
                  <a:pt x="53" y="160"/>
                </a:cubicBezTo>
                <a:cubicBezTo>
                  <a:pt x="53" y="159"/>
                  <a:pt x="53" y="159"/>
                  <a:pt x="53" y="159"/>
                </a:cubicBezTo>
                <a:cubicBezTo>
                  <a:pt x="54" y="159"/>
                  <a:pt x="54" y="159"/>
                  <a:pt x="54" y="159"/>
                </a:cubicBezTo>
                <a:cubicBezTo>
                  <a:pt x="55" y="158"/>
                  <a:pt x="55" y="158"/>
                  <a:pt x="55" y="158"/>
                </a:cubicBezTo>
                <a:cubicBezTo>
                  <a:pt x="55" y="157"/>
                  <a:pt x="55" y="157"/>
                  <a:pt x="55" y="157"/>
                </a:cubicBezTo>
                <a:cubicBezTo>
                  <a:pt x="54" y="157"/>
                  <a:pt x="54" y="157"/>
                  <a:pt x="54" y="157"/>
                </a:cubicBezTo>
                <a:cubicBezTo>
                  <a:pt x="53" y="156"/>
                  <a:pt x="53" y="156"/>
                  <a:pt x="53" y="156"/>
                </a:cubicBezTo>
                <a:cubicBezTo>
                  <a:pt x="53" y="155"/>
                  <a:pt x="53" y="155"/>
                  <a:pt x="53" y="155"/>
                </a:cubicBezTo>
                <a:cubicBezTo>
                  <a:pt x="53" y="154"/>
                  <a:pt x="53" y="154"/>
                  <a:pt x="53" y="154"/>
                </a:cubicBezTo>
                <a:cubicBezTo>
                  <a:pt x="52" y="154"/>
                  <a:pt x="52" y="154"/>
                  <a:pt x="52" y="154"/>
                </a:cubicBezTo>
                <a:cubicBezTo>
                  <a:pt x="52" y="153"/>
                  <a:pt x="52" y="153"/>
                  <a:pt x="52" y="153"/>
                </a:cubicBezTo>
                <a:cubicBezTo>
                  <a:pt x="52" y="153"/>
                  <a:pt x="52" y="153"/>
                  <a:pt x="52" y="153"/>
                </a:cubicBezTo>
                <a:cubicBezTo>
                  <a:pt x="52" y="152"/>
                  <a:pt x="52" y="152"/>
                  <a:pt x="52" y="152"/>
                </a:cubicBezTo>
                <a:cubicBezTo>
                  <a:pt x="52" y="152"/>
                  <a:pt x="52" y="152"/>
                  <a:pt x="52" y="152"/>
                </a:cubicBezTo>
                <a:cubicBezTo>
                  <a:pt x="52" y="150"/>
                  <a:pt x="52" y="150"/>
                  <a:pt x="52" y="150"/>
                </a:cubicBezTo>
                <a:cubicBezTo>
                  <a:pt x="51" y="149"/>
                  <a:pt x="51" y="149"/>
                  <a:pt x="51" y="149"/>
                </a:cubicBezTo>
                <a:cubicBezTo>
                  <a:pt x="49" y="148"/>
                  <a:pt x="49" y="148"/>
                  <a:pt x="49" y="148"/>
                </a:cubicBezTo>
                <a:cubicBezTo>
                  <a:pt x="49" y="147"/>
                  <a:pt x="49" y="147"/>
                  <a:pt x="49" y="147"/>
                </a:cubicBezTo>
                <a:cubicBezTo>
                  <a:pt x="49" y="146"/>
                  <a:pt x="49" y="146"/>
                  <a:pt x="49" y="146"/>
                </a:cubicBezTo>
                <a:cubicBezTo>
                  <a:pt x="48" y="146"/>
                  <a:pt x="48" y="146"/>
                  <a:pt x="48" y="146"/>
                </a:cubicBezTo>
                <a:cubicBezTo>
                  <a:pt x="48" y="145"/>
                  <a:pt x="48" y="145"/>
                  <a:pt x="48" y="145"/>
                </a:cubicBezTo>
                <a:cubicBezTo>
                  <a:pt x="49" y="145"/>
                  <a:pt x="49" y="145"/>
                  <a:pt x="49" y="145"/>
                </a:cubicBezTo>
                <a:cubicBezTo>
                  <a:pt x="50" y="144"/>
                  <a:pt x="50" y="144"/>
                  <a:pt x="50" y="144"/>
                </a:cubicBezTo>
                <a:cubicBezTo>
                  <a:pt x="51" y="144"/>
                  <a:pt x="51" y="144"/>
                  <a:pt x="51" y="144"/>
                </a:cubicBezTo>
                <a:cubicBezTo>
                  <a:pt x="51" y="143"/>
                  <a:pt x="51" y="143"/>
                  <a:pt x="51" y="143"/>
                </a:cubicBezTo>
                <a:cubicBezTo>
                  <a:pt x="51" y="143"/>
                  <a:pt x="51" y="143"/>
                  <a:pt x="51" y="143"/>
                </a:cubicBezTo>
                <a:cubicBezTo>
                  <a:pt x="50" y="143"/>
                  <a:pt x="50" y="143"/>
                  <a:pt x="50" y="143"/>
                </a:cubicBezTo>
                <a:cubicBezTo>
                  <a:pt x="50" y="142"/>
                  <a:pt x="50" y="142"/>
                  <a:pt x="50" y="142"/>
                </a:cubicBezTo>
                <a:cubicBezTo>
                  <a:pt x="50" y="142"/>
                  <a:pt x="50" y="142"/>
                  <a:pt x="50" y="142"/>
                </a:cubicBezTo>
                <a:cubicBezTo>
                  <a:pt x="51" y="141"/>
                  <a:pt x="51" y="141"/>
                  <a:pt x="51" y="141"/>
                </a:cubicBezTo>
                <a:cubicBezTo>
                  <a:pt x="52" y="140"/>
                  <a:pt x="52" y="140"/>
                  <a:pt x="52" y="140"/>
                </a:cubicBezTo>
                <a:cubicBezTo>
                  <a:pt x="52" y="139"/>
                  <a:pt x="52" y="139"/>
                  <a:pt x="52" y="139"/>
                </a:cubicBezTo>
                <a:cubicBezTo>
                  <a:pt x="51" y="139"/>
                  <a:pt x="51" y="139"/>
                  <a:pt x="51" y="139"/>
                </a:cubicBezTo>
                <a:cubicBezTo>
                  <a:pt x="52" y="138"/>
                  <a:pt x="52" y="138"/>
                  <a:pt x="52" y="138"/>
                </a:cubicBezTo>
                <a:cubicBezTo>
                  <a:pt x="51" y="138"/>
                  <a:pt x="51" y="138"/>
                  <a:pt x="51" y="138"/>
                </a:cubicBezTo>
                <a:cubicBezTo>
                  <a:pt x="51" y="138"/>
                  <a:pt x="51" y="138"/>
                  <a:pt x="51" y="138"/>
                </a:cubicBezTo>
                <a:cubicBezTo>
                  <a:pt x="50" y="136"/>
                  <a:pt x="50" y="136"/>
                  <a:pt x="50" y="136"/>
                </a:cubicBezTo>
                <a:cubicBezTo>
                  <a:pt x="48" y="135"/>
                  <a:pt x="48" y="135"/>
                  <a:pt x="48" y="135"/>
                </a:cubicBezTo>
                <a:cubicBezTo>
                  <a:pt x="48" y="134"/>
                  <a:pt x="48" y="134"/>
                  <a:pt x="48" y="134"/>
                </a:cubicBezTo>
                <a:cubicBezTo>
                  <a:pt x="47" y="134"/>
                  <a:pt x="47" y="134"/>
                  <a:pt x="47" y="134"/>
                </a:cubicBezTo>
                <a:cubicBezTo>
                  <a:pt x="47" y="134"/>
                  <a:pt x="47" y="134"/>
                  <a:pt x="47" y="134"/>
                </a:cubicBezTo>
                <a:cubicBezTo>
                  <a:pt x="47" y="135"/>
                  <a:pt x="47" y="135"/>
                  <a:pt x="47" y="135"/>
                </a:cubicBezTo>
                <a:cubicBezTo>
                  <a:pt x="46" y="135"/>
                  <a:pt x="46" y="135"/>
                  <a:pt x="46" y="135"/>
                </a:cubicBezTo>
                <a:cubicBezTo>
                  <a:pt x="46" y="134"/>
                  <a:pt x="46" y="134"/>
                  <a:pt x="46" y="134"/>
                </a:cubicBezTo>
                <a:cubicBezTo>
                  <a:pt x="46" y="133"/>
                  <a:pt x="46" y="133"/>
                  <a:pt x="46" y="133"/>
                </a:cubicBezTo>
                <a:cubicBezTo>
                  <a:pt x="45" y="133"/>
                  <a:pt x="45" y="133"/>
                  <a:pt x="45" y="133"/>
                </a:cubicBezTo>
                <a:cubicBezTo>
                  <a:pt x="44" y="132"/>
                  <a:pt x="44" y="132"/>
                  <a:pt x="44" y="132"/>
                </a:cubicBezTo>
                <a:cubicBezTo>
                  <a:pt x="43" y="132"/>
                  <a:pt x="43" y="132"/>
                  <a:pt x="43" y="132"/>
                </a:cubicBezTo>
                <a:cubicBezTo>
                  <a:pt x="43" y="131"/>
                  <a:pt x="43" y="131"/>
                  <a:pt x="43" y="131"/>
                </a:cubicBezTo>
                <a:cubicBezTo>
                  <a:pt x="43" y="132"/>
                  <a:pt x="43" y="132"/>
                  <a:pt x="43" y="132"/>
                </a:cubicBezTo>
                <a:cubicBezTo>
                  <a:pt x="42" y="132"/>
                  <a:pt x="42" y="132"/>
                  <a:pt x="42" y="132"/>
                </a:cubicBezTo>
                <a:cubicBezTo>
                  <a:pt x="42" y="131"/>
                  <a:pt x="42" y="131"/>
                  <a:pt x="42" y="131"/>
                </a:cubicBezTo>
                <a:cubicBezTo>
                  <a:pt x="42" y="130"/>
                  <a:pt x="42" y="130"/>
                  <a:pt x="42" y="130"/>
                </a:cubicBezTo>
                <a:cubicBezTo>
                  <a:pt x="41" y="129"/>
                  <a:pt x="41" y="129"/>
                  <a:pt x="41" y="129"/>
                </a:cubicBezTo>
                <a:cubicBezTo>
                  <a:pt x="40" y="128"/>
                  <a:pt x="40" y="128"/>
                  <a:pt x="40" y="128"/>
                </a:cubicBezTo>
                <a:cubicBezTo>
                  <a:pt x="39" y="128"/>
                  <a:pt x="39" y="128"/>
                  <a:pt x="39" y="128"/>
                </a:cubicBezTo>
                <a:cubicBezTo>
                  <a:pt x="39" y="129"/>
                  <a:pt x="39" y="129"/>
                  <a:pt x="39" y="129"/>
                </a:cubicBezTo>
                <a:cubicBezTo>
                  <a:pt x="38" y="128"/>
                  <a:pt x="38" y="128"/>
                  <a:pt x="38" y="128"/>
                </a:cubicBezTo>
                <a:cubicBezTo>
                  <a:pt x="36" y="127"/>
                  <a:pt x="36" y="127"/>
                  <a:pt x="36" y="127"/>
                </a:cubicBezTo>
                <a:cubicBezTo>
                  <a:pt x="35" y="126"/>
                  <a:pt x="35" y="126"/>
                  <a:pt x="35" y="126"/>
                </a:cubicBezTo>
                <a:cubicBezTo>
                  <a:pt x="34" y="125"/>
                  <a:pt x="34" y="125"/>
                  <a:pt x="34" y="125"/>
                </a:cubicBezTo>
                <a:cubicBezTo>
                  <a:pt x="33" y="125"/>
                  <a:pt x="33" y="125"/>
                  <a:pt x="33" y="125"/>
                </a:cubicBezTo>
                <a:cubicBezTo>
                  <a:pt x="31" y="125"/>
                  <a:pt x="31" y="125"/>
                  <a:pt x="31" y="125"/>
                </a:cubicBezTo>
                <a:cubicBezTo>
                  <a:pt x="30" y="126"/>
                  <a:pt x="30" y="126"/>
                  <a:pt x="30" y="126"/>
                </a:cubicBezTo>
                <a:cubicBezTo>
                  <a:pt x="30" y="127"/>
                  <a:pt x="30" y="127"/>
                  <a:pt x="30" y="127"/>
                </a:cubicBezTo>
                <a:cubicBezTo>
                  <a:pt x="29" y="128"/>
                  <a:pt x="29" y="128"/>
                  <a:pt x="29" y="128"/>
                </a:cubicBezTo>
                <a:cubicBezTo>
                  <a:pt x="28" y="129"/>
                  <a:pt x="28" y="129"/>
                  <a:pt x="28" y="129"/>
                </a:cubicBezTo>
                <a:cubicBezTo>
                  <a:pt x="28" y="128"/>
                  <a:pt x="28" y="128"/>
                  <a:pt x="28" y="128"/>
                </a:cubicBezTo>
                <a:cubicBezTo>
                  <a:pt x="29" y="127"/>
                  <a:pt x="29" y="127"/>
                  <a:pt x="29" y="127"/>
                </a:cubicBezTo>
                <a:cubicBezTo>
                  <a:pt x="29" y="125"/>
                  <a:pt x="29" y="125"/>
                  <a:pt x="29" y="125"/>
                </a:cubicBezTo>
                <a:cubicBezTo>
                  <a:pt x="28" y="125"/>
                  <a:pt x="28" y="125"/>
                  <a:pt x="28" y="125"/>
                </a:cubicBezTo>
                <a:cubicBezTo>
                  <a:pt x="27" y="125"/>
                  <a:pt x="27" y="125"/>
                  <a:pt x="27" y="125"/>
                </a:cubicBezTo>
                <a:cubicBezTo>
                  <a:pt x="26" y="126"/>
                  <a:pt x="26" y="126"/>
                  <a:pt x="26" y="126"/>
                </a:cubicBezTo>
                <a:cubicBezTo>
                  <a:pt x="26" y="127"/>
                  <a:pt x="26" y="127"/>
                  <a:pt x="26" y="127"/>
                </a:cubicBezTo>
                <a:cubicBezTo>
                  <a:pt x="25" y="127"/>
                  <a:pt x="25" y="127"/>
                  <a:pt x="25" y="127"/>
                </a:cubicBezTo>
                <a:cubicBezTo>
                  <a:pt x="25" y="127"/>
                  <a:pt x="25" y="127"/>
                  <a:pt x="25" y="127"/>
                </a:cubicBezTo>
                <a:cubicBezTo>
                  <a:pt x="24" y="125"/>
                  <a:pt x="24" y="125"/>
                  <a:pt x="24" y="125"/>
                </a:cubicBezTo>
                <a:cubicBezTo>
                  <a:pt x="23" y="125"/>
                  <a:pt x="23" y="125"/>
                  <a:pt x="23" y="125"/>
                </a:cubicBezTo>
                <a:cubicBezTo>
                  <a:pt x="23" y="126"/>
                  <a:pt x="23" y="126"/>
                  <a:pt x="23" y="126"/>
                </a:cubicBezTo>
                <a:cubicBezTo>
                  <a:pt x="23" y="128"/>
                  <a:pt x="23" y="128"/>
                  <a:pt x="23" y="128"/>
                </a:cubicBezTo>
                <a:cubicBezTo>
                  <a:pt x="22" y="128"/>
                  <a:pt x="22" y="128"/>
                  <a:pt x="22" y="128"/>
                </a:cubicBezTo>
                <a:cubicBezTo>
                  <a:pt x="21" y="128"/>
                  <a:pt x="21" y="128"/>
                  <a:pt x="21" y="128"/>
                </a:cubicBezTo>
                <a:cubicBezTo>
                  <a:pt x="21" y="127"/>
                  <a:pt x="21" y="127"/>
                  <a:pt x="21" y="127"/>
                </a:cubicBezTo>
                <a:cubicBezTo>
                  <a:pt x="22" y="125"/>
                  <a:pt x="22" y="125"/>
                  <a:pt x="22" y="125"/>
                </a:cubicBezTo>
                <a:cubicBezTo>
                  <a:pt x="23" y="125"/>
                  <a:pt x="23" y="125"/>
                  <a:pt x="23" y="125"/>
                </a:cubicBezTo>
                <a:cubicBezTo>
                  <a:pt x="22" y="124"/>
                  <a:pt x="22" y="124"/>
                  <a:pt x="22" y="124"/>
                </a:cubicBezTo>
                <a:cubicBezTo>
                  <a:pt x="22" y="124"/>
                  <a:pt x="22" y="124"/>
                  <a:pt x="22" y="124"/>
                </a:cubicBezTo>
                <a:cubicBezTo>
                  <a:pt x="21" y="124"/>
                  <a:pt x="21" y="124"/>
                  <a:pt x="21" y="124"/>
                </a:cubicBezTo>
                <a:cubicBezTo>
                  <a:pt x="20" y="125"/>
                  <a:pt x="20" y="125"/>
                  <a:pt x="20" y="125"/>
                </a:cubicBezTo>
                <a:cubicBezTo>
                  <a:pt x="19" y="125"/>
                  <a:pt x="19" y="125"/>
                  <a:pt x="19" y="125"/>
                </a:cubicBezTo>
                <a:cubicBezTo>
                  <a:pt x="19" y="125"/>
                  <a:pt x="19" y="125"/>
                  <a:pt x="19" y="125"/>
                </a:cubicBezTo>
                <a:cubicBezTo>
                  <a:pt x="19" y="126"/>
                  <a:pt x="19" y="126"/>
                  <a:pt x="19" y="126"/>
                </a:cubicBezTo>
                <a:cubicBezTo>
                  <a:pt x="18" y="125"/>
                  <a:pt x="18" y="125"/>
                  <a:pt x="18" y="125"/>
                </a:cubicBezTo>
                <a:cubicBezTo>
                  <a:pt x="18" y="124"/>
                  <a:pt x="18" y="124"/>
                  <a:pt x="18" y="124"/>
                </a:cubicBezTo>
                <a:cubicBezTo>
                  <a:pt x="18" y="123"/>
                  <a:pt x="18" y="123"/>
                  <a:pt x="18" y="123"/>
                </a:cubicBezTo>
                <a:cubicBezTo>
                  <a:pt x="18" y="122"/>
                  <a:pt x="18" y="122"/>
                  <a:pt x="18" y="122"/>
                </a:cubicBezTo>
                <a:cubicBezTo>
                  <a:pt x="17" y="122"/>
                  <a:pt x="17" y="122"/>
                  <a:pt x="17" y="122"/>
                </a:cubicBezTo>
                <a:cubicBezTo>
                  <a:pt x="17" y="122"/>
                  <a:pt x="17" y="122"/>
                  <a:pt x="17" y="122"/>
                </a:cubicBezTo>
                <a:cubicBezTo>
                  <a:pt x="16" y="123"/>
                  <a:pt x="16" y="123"/>
                  <a:pt x="16" y="123"/>
                </a:cubicBezTo>
                <a:cubicBezTo>
                  <a:pt x="16" y="124"/>
                  <a:pt x="16" y="124"/>
                  <a:pt x="16" y="124"/>
                </a:cubicBezTo>
                <a:cubicBezTo>
                  <a:pt x="16" y="125"/>
                  <a:pt x="16" y="125"/>
                  <a:pt x="16" y="125"/>
                </a:cubicBezTo>
                <a:cubicBezTo>
                  <a:pt x="16" y="126"/>
                  <a:pt x="16" y="126"/>
                  <a:pt x="16" y="126"/>
                </a:cubicBezTo>
                <a:cubicBezTo>
                  <a:pt x="16" y="127"/>
                  <a:pt x="16" y="127"/>
                  <a:pt x="16" y="127"/>
                </a:cubicBezTo>
                <a:cubicBezTo>
                  <a:pt x="16" y="128"/>
                  <a:pt x="16" y="128"/>
                  <a:pt x="16" y="128"/>
                </a:cubicBezTo>
                <a:cubicBezTo>
                  <a:pt x="15" y="129"/>
                  <a:pt x="15" y="129"/>
                  <a:pt x="15" y="129"/>
                </a:cubicBezTo>
                <a:cubicBezTo>
                  <a:pt x="15" y="128"/>
                  <a:pt x="15" y="128"/>
                  <a:pt x="15" y="128"/>
                </a:cubicBezTo>
                <a:cubicBezTo>
                  <a:pt x="14" y="127"/>
                  <a:pt x="14" y="127"/>
                  <a:pt x="14" y="127"/>
                </a:cubicBezTo>
                <a:cubicBezTo>
                  <a:pt x="12" y="126"/>
                  <a:pt x="12" y="126"/>
                  <a:pt x="12" y="126"/>
                </a:cubicBezTo>
                <a:cubicBezTo>
                  <a:pt x="11" y="126"/>
                  <a:pt x="11" y="126"/>
                  <a:pt x="11" y="126"/>
                </a:cubicBezTo>
                <a:cubicBezTo>
                  <a:pt x="10" y="125"/>
                  <a:pt x="10" y="125"/>
                  <a:pt x="10" y="125"/>
                </a:cubicBezTo>
                <a:cubicBezTo>
                  <a:pt x="9" y="124"/>
                  <a:pt x="9" y="124"/>
                  <a:pt x="9" y="124"/>
                </a:cubicBezTo>
                <a:cubicBezTo>
                  <a:pt x="9" y="124"/>
                  <a:pt x="9" y="124"/>
                  <a:pt x="9" y="124"/>
                </a:cubicBezTo>
                <a:cubicBezTo>
                  <a:pt x="10" y="123"/>
                  <a:pt x="10" y="123"/>
                  <a:pt x="10" y="123"/>
                </a:cubicBezTo>
                <a:cubicBezTo>
                  <a:pt x="8" y="123"/>
                  <a:pt x="8" y="123"/>
                  <a:pt x="8" y="123"/>
                </a:cubicBezTo>
                <a:cubicBezTo>
                  <a:pt x="8" y="121"/>
                  <a:pt x="8" y="121"/>
                  <a:pt x="8" y="121"/>
                </a:cubicBezTo>
                <a:cubicBezTo>
                  <a:pt x="7" y="120"/>
                  <a:pt x="7" y="120"/>
                  <a:pt x="7" y="120"/>
                </a:cubicBezTo>
                <a:cubicBezTo>
                  <a:pt x="6" y="119"/>
                  <a:pt x="6" y="119"/>
                  <a:pt x="6" y="119"/>
                </a:cubicBezTo>
                <a:cubicBezTo>
                  <a:pt x="6" y="118"/>
                  <a:pt x="6" y="118"/>
                  <a:pt x="6" y="118"/>
                </a:cubicBezTo>
                <a:cubicBezTo>
                  <a:pt x="7" y="117"/>
                  <a:pt x="7" y="117"/>
                  <a:pt x="7" y="117"/>
                </a:cubicBezTo>
                <a:cubicBezTo>
                  <a:pt x="8" y="117"/>
                  <a:pt x="8" y="117"/>
                  <a:pt x="8" y="117"/>
                </a:cubicBezTo>
                <a:cubicBezTo>
                  <a:pt x="9" y="116"/>
                  <a:pt x="9" y="116"/>
                  <a:pt x="9" y="116"/>
                </a:cubicBezTo>
                <a:cubicBezTo>
                  <a:pt x="10" y="116"/>
                  <a:pt x="10" y="116"/>
                  <a:pt x="10" y="116"/>
                </a:cubicBezTo>
                <a:cubicBezTo>
                  <a:pt x="12" y="116"/>
                  <a:pt x="12" y="116"/>
                  <a:pt x="12" y="116"/>
                </a:cubicBezTo>
                <a:cubicBezTo>
                  <a:pt x="12" y="116"/>
                  <a:pt x="12" y="116"/>
                  <a:pt x="12" y="116"/>
                </a:cubicBezTo>
                <a:cubicBezTo>
                  <a:pt x="13" y="116"/>
                  <a:pt x="13" y="116"/>
                  <a:pt x="13" y="116"/>
                </a:cubicBezTo>
                <a:cubicBezTo>
                  <a:pt x="13" y="115"/>
                  <a:pt x="13" y="115"/>
                  <a:pt x="13" y="115"/>
                </a:cubicBezTo>
                <a:cubicBezTo>
                  <a:pt x="13" y="114"/>
                  <a:pt x="13" y="114"/>
                  <a:pt x="13" y="114"/>
                </a:cubicBezTo>
                <a:cubicBezTo>
                  <a:pt x="12" y="115"/>
                  <a:pt x="12" y="115"/>
                  <a:pt x="12" y="115"/>
                </a:cubicBezTo>
                <a:cubicBezTo>
                  <a:pt x="10" y="114"/>
                  <a:pt x="10" y="114"/>
                  <a:pt x="10" y="114"/>
                </a:cubicBezTo>
                <a:cubicBezTo>
                  <a:pt x="10" y="114"/>
                  <a:pt x="10" y="114"/>
                  <a:pt x="10" y="114"/>
                </a:cubicBezTo>
                <a:cubicBezTo>
                  <a:pt x="9" y="114"/>
                  <a:pt x="9" y="114"/>
                  <a:pt x="9" y="114"/>
                </a:cubicBezTo>
                <a:cubicBezTo>
                  <a:pt x="7" y="112"/>
                  <a:pt x="7" y="112"/>
                  <a:pt x="7" y="112"/>
                </a:cubicBezTo>
                <a:cubicBezTo>
                  <a:pt x="7" y="111"/>
                  <a:pt x="7" y="111"/>
                  <a:pt x="7" y="111"/>
                </a:cubicBezTo>
                <a:cubicBezTo>
                  <a:pt x="8" y="110"/>
                  <a:pt x="8" y="110"/>
                  <a:pt x="8" y="110"/>
                </a:cubicBezTo>
                <a:cubicBezTo>
                  <a:pt x="9" y="110"/>
                  <a:pt x="9" y="110"/>
                  <a:pt x="9" y="110"/>
                </a:cubicBezTo>
                <a:cubicBezTo>
                  <a:pt x="9" y="108"/>
                  <a:pt x="9" y="108"/>
                  <a:pt x="9" y="108"/>
                </a:cubicBezTo>
                <a:cubicBezTo>
                  <a:pt x="10" y="108"/>
                  <a:pt x="10" y="108"/>
                  <a:pt x="10" y="108"/>
                </a:cubicBezTo>
                <a:cubicBezTo>
                  <a:pt x="9" y="108"/>
                  <a:pt x="9" y="108"/>
                  <a:pt x="9" y="108"/>
                </a:cubicBezTo>
                <a:cubicBezTo>
                  <a:pt x="8" y="108"/>
                  <a:pt x="8" y="108"/>
                  <a:pt x="8" y="108"/>
                </a:cubicBezTo>
                <a:cubicBezTo>
                  <a:pt x="8" y="110"/>
                  <a:pt x="8" y="110"/>
                  <a:pt x="8" y="110"/>
                </a:cubicBezTo>
                <a:cubicBezTo>
                  <a:pt x="7" y="110"/>
                  <a:pt x="7" y="110"/>
                  <a:pt x="7" y="110"/>
                </a:cubicBezTo>
                <a:cubicBezTo>
                  <a:pt x="7" y="110"/>
                  <a:pt x="7" y="110"/>
                  <a:pt x="7" y="110"/>
                </a:cubicBezTo>
                <a:cubicBezTo>
                  <a:pt x="6" y="111"/>
                  <a:pt x="6" y="111"/>
                  <a:pt x="6" y="111"/>
                </a:cubicBezTo>
                <a:cubicBezTo>
                  <a:pt x="5" y="110"/>
                  <a:pt x="5" y="110"/>
                  <a:pt x="5" y="110"/>
                </a:cubicBezTo>
                <a:cubicBezTo>
                  <a:pt x="4" y="109"/>
                  <a:pt x="4" y="109"/>
                  <a:pt x="4" y="109"/>
                </a:cubicBezTo>
                <a:cubicBezTo>
                  <a:pt x="4" y="108"/>
                  <a:pt x="4" y="108"/>
                  <a:pt x="4" y="108"/>
                </a:cubicBezTo>
                <a:cubicBezTo>
                  <a:pt x="5" y="108"/>
                  <a:pt x="5" y="108"/>
                  <a:pt x="5" y="108"/>
                </a:cubicBezTo>
                <a:cubicBezTo>
                  <a:pt x="5" y="107"/>
                  <a:pt x="5" y="107"/>
                  <a:pt x="5" y="107"/>
                </a:cubicBezTo>
                <a:cubicBezTo>
                  <a:pt x="4" y="107"/>
                  <a:pt x="4" y="107"/>
                  <a:pt x="4" y="107"/>
                </a:cubicBezTo>
                <a:cubicBezTo>
                  <a:pt x="4" y="108"/>
                  <a:pt x="4" y="108"/>
                  <a:pt x="4" y="108"/>
                </a:cubicBezTo>
                <a:cubicBezTo>
                  <a:pt x="4" y="107"/>
                  <a:pt x="4" y="107"/>
                  <a:pt x="4" y="107"/>
                </a:cubicBezTo>
                <a:cubicBezTo>
                  <a:pt x="4" y="106"/>
                  <a:pt x="4" y="106"/>
                  <a:pt x="4" y="106"/>
                </a:cubicBezTo>
                <a:cubicBezTo>
                  <a:pt x="4" y="105"/>
                  <a:pt x="4" y="105"/>
                  <a:pt x="4" y="105"/>
                </a:cubicBezTo>
                <a:cubicBezTo>
                  <a:pt x="5" y="105"/>
                  <a:pt x="5" y="105"/>
                  <a:pt x="5" y="105"/>
                </a:cubicBezTo>
                <a:cubicBezTo>
                  <a:pt x="5" y="104"/>
                  <a:pt x="5" y="104"/>
                  <a:pt x="5" y="104"/>
                </a:cubicBezTo>
                <a:cubicBezTo>
                  <a:pt x="6" y="104"/>
                  <a:pt x="6" y="104"/>
                  <a:pt x="6" y="104"/>
                </a:cubicBezTo>
                <a:cubicBezTo>
                  <a:pt x="7" y="105"/>
                  <a:pt x="7" y="105"/>
                  <a:pt x="7" y="105"/>
                </a:cubicBezTo>
                <a:cubicBezTo>
                  <a:pt x="7" y="104"/>
                  <a:pt x="7" y="104"/>
                  <a:pt x="7" y="104"/>
                </a:cubicBezTo>
                <a:cubicBezTo>
                  <a:pt x="9" y="103"/>
                  <a:pt x="9" y="103"/>
                  <a:pt x="9" y="103"/>
                </a:cubicBezTo>
                <a:cubicBezTo>
                  <a:pt x="11" y="103"/>
                  <a:pt x="11" y="103"/>
                  <a:pt x="11" y="103"/>
                </a:cubicBezTo>
                <a:cubicBezTo>
                  <a:pt x="12" y="104"/>
                  <a:pt x="12" y="104"/>
                  <a:pt x="12" y="104"/>
                </a:cubicBezTo>
                <a:cubicBezTo>
                  <a:pt x="14" y="104"/>
                  <a:pt x="14" y="104"/>
                  <a:pt x="14" y="104"/>
                </a:cubicBezTo>
                <a:cubicBezTo>
                  <a:pt x="17" y="105"/>
                  <a:pt x="17" y="105"/>
                  <a:pt x="17" y="105"/>
                </a:cubicBezTo>
                <a:cubicBezTo>
                  <a:pt x="18" y="106"/>
                  <a:pt x="18" y="106"/>
                  <a:pt x="18" y="106"/>
                </a:cubicBezTo>
                <a:cubicBezTo>
                  <a:pt x="19" y="106"/>
                  <a:pt x="19" y="106"/>
                  <a:pt x="19" y="106"/>
                </a:cubicBezTo>
                <a:cubicBezTo>
                  <a:pt x="21" y="107"/>
                  <a:pt x="21" y="107"/>
                  <a:pt x="21" y="107"/>
                </a:cubicBezTo>
                <a:cubicBezTo>
                  <a:pt x="22" y="107"/>
                  <a:pt x="22" y="107"/>
                  <a:pt x="22" y="107"/>
                </a:cubicBezTo>
                <a:cubicBezTo>
                  <a:pt x="23" y="107"/>
                  <a:pt x="23" y="107"/>
                  <a:pt x="23" y="107"/>
                </a:cubicBezTo>
                <a:cubicBezTo>
                  <a:pt x="24" y="107"/>
                  <a:pt x="24" y="107"/>
                  <a:pt x="24" y="107"/>
                </a:cubicBezTo>
                <a:cubicBezTo>
                  <a:pt x="23" y="107"/>
                  <a:pt x="23" y="107"/>
                  <a:pt x="23" y="107"/>
                </a:cubicBezTo>
                <a:cubicBezTo>
                  <a:pt x="22" y="107"/>
                  <a:pt x="22" y="107"/>
                  <a:pt x="22" y="107"/>
                </a:cubicBezTo>
                <a:cubicBezTo>
                  <a:pt x="20" y="106"/>
                  <a:pt x="20" y="106"/>
                  <a:pt x="20" y="106"/>
                </a:cubicBezTo>
                <a:cubicBezTo>
                  <a:pt x="19" y="105"/>
                  <a:pt x="19" y="105"/>
                  <a:pt x="19" y="105"/>
                </a:cubicBezTo>
                <a:cubicBezTo>
                  <a:pt x="17" y="104"/>
                  <a:pt x="17" y="104"/>
                  <a:pt x="17" y="104"/>
                </a:cubicBezTo>
                <a:cubicBezTo>
                  <a:pt x="16" y="104"/>
                  <a:pt x="16" y="104"/>
                  <a:pt x="16" y="104"/>
                </a:cubicBezTo>
                <a:cubicBezTo>
                  <a:pt x="15" y="103"/>
                  <a:pt x="15" y="103"/>
                  <a:pt x="15" y="103"/>
                </a:cubicBezTo>
                <a:cubicBezTo>
                  <a:pt x="15" y="103"/>
                  <a:pt x="15" y="103"/>
                  <a:pt x="15" y="103"/>
                </a:cubicBezTo>
                <a:cubicBezTo>
                  <a:pt x="17" y="102"/>
                  <a:pt x="17" y="102"/>
                  <a:pt x="17" y="102"/>
                </a:cubicBezTo>
                <a:cubicBezTo>
                  <a:pt x="19" y="102"/>
                  <a:pt x="19" y="102"/>
                  <a:pt x="19" y="102"/>
                </a:cubicBezTo>
                <a:cubicBezTo>
                  <a:pt x="21" y="102"/>
                  <a:pt x="21" y="102"/>
                  <a:pt x="21" y="102"/>
                </a:cubicBezTo>
                <a:cubicBezTo>
                  <a:pt x="23" y="103"/>
                  <a:pt x="23" y="103"/>
                  <a:pt x="23" y="103"/>
                </a:cubicBezTo>
                <a:cubicBezTo>
                  <a:pt x="24" y="104"/>
                  <a:pt x="24" y="104"/>
                  <a:pt x="24" y="104"/>
                </a:cubicBezTo>
                <a:cubicBezTo>
                  <a:pt x="25" y="104"/>
                  <a:pt x="25" y="104"/>
                  <a:pt x="25" y="104"/>
                </a:cubicBezTo>
                <a:cubicBezTo>
                  <a:pt x="25" y="105"/>
                  <a:pt x="25" y="105"/>
                  <a:pt x="25" y="105"/>
                </a:cubicBezTo>
                <a:cubicBezTo>
                  <a:pt x="26" y="105"/>
                  <a:pt x="26" y="105"/>
                  <a:pt x="26" y="105"/>
                </a:cubicBezTo>
                <a:cubicBezTo>
                  <a:pt x="26" y="105"/>
                  <a:pt x="26" y="105"/>
                  <a:pt x="26" y="105"/>
                </a:cubicBezTo>
                <a:cubicBezTo>
                  <a:pt x="26" y="104"/>
                  <a:pt x="26" y="104"/>
                  <a:pt x="26" y="104"/>
                </a:cubicBezTo>
                <a:cubicBezTo>
                  <a:pt x="26" y="103"/>
                  <a:pt x="26" y="103"/>
                  <a:pt x="26" y="103"/>
                </a:cubicBezTo>
                <a:cubicBezTo>
                  <a:pt x="27" y="102"/>
                  <a:pt x="27" y="102"/>
                  <a:pt x="27" y="102"/>
                </a:cubicBezTo>
                <a:cubicBezTo>
                  <a:pt x="27" y="102"/>
                  <a:pt x="27" y="102"/>
                  <a:pt x="27" y="102"/>
                </a:cubicBezTo>
                <a:cubicBezTo>
                  <a:pt x="27" y="100"/>
                  <a:pt x="27" y="100"/>
                  <a:pt x="27" y="100"/>
                </a:cubicBezTo>
                <a:cubicBezTo>
                  <a:pt x="27" y="100"/>
                  <a:pt x="27" y="100"/>
                  <a:pt x="27" y="100"/>
                </a:cubicBezTo>
                <a:cubicBezTo>
                  <a:pt x="26" y="100"/>
                  <a:pt x="26" y="100"/>
                  <a:pt x="26" y="100"/>
                </a:cubicBezTo>
                <a:cubicBezTo>
                  <a:pt x="26" y="100"/>
                  <a:pt x="26" y="100"/>
                  <a:pt x="26" y="100"/>
                </a:cubicBezTo>
                <a:cubicBezTo>
                  <a:pt x="26" y="99"/>
                  <a:pt x="26" y="99"/>
                  <a:pt x="26" y="99"/>
                </a:cubicBezTo>
                <a:cubicBezTo>
                  <a:pt x="25" y="99"/>
                  <a:pt x="25" y="99"/>
                  <a:pt x="25" y="99"/>
                </a:cubicBezTo>
                <a:cubicBezTo>
                  <a:pt x="24" y="99"/>
                  <a:pt x="24" y="99"/>
                  <a:pt x="24" y="99"/>
                </a:cubicBezTo>
                <a:cubicBezTo>
                  <a:pt x="23" y="100"/>
                  <a:pt x="23" y="100"/>
                  <a:pt x="23" y="100"/>
                </a:cubicBezTo>
                <a:cubicBezTo>
                  <a:pt x="22" y="100"/>
                  <a:pt x="22" y="100"/>
                  <a:pt x="22" y="100"/>
                </a:cubicBezTo>
                <a:cubicBezTo>
                  <a:pt x="20" y="99"/>
                  <a:pt x="20" y="99"/>
                  <a:pt x="20" y="99"/>
                </a:cubicBezTo>
                <a:cubicBezTo>
                  <a:pt x="19" y="99"/>
                  <a:pt x="19" y="99"/>
                  <a:pt x="19" y="99"/>
                </a:cubicBezTo>
                <a:cubicBezTo>
                  <a:pt x="19" y="98"/>
                  <a:pt x="19" y="98"/>
                  <a:pt x="19" y="98"/>
                </a:cubicBezTo>
                <a:cubicBezTo>
                  <a:pt x="19" y="98"/>
                  <a:pt x="19" y="98"/>
                  <a:pt x="19" y="98"/>
                </a:cubicBezTo>
                <a:cubicBezTo>
                  <a:pt x="18" y="97"/>
                  <a:pt x="18" y="97"/>
                  <a:pt x="18" y="97"/>
                </a:cubicBezTo>
                <a:cubicBezTo>
                  <a:pt x="17" y="97"/>
                  <a:pt x="17" y="97"/>
                  <a:pt x="17" y="97"/>
                </a:cubicBezTo>
                <a:cubicBezTo>
                  <a:pt x="17" y="97"/>
                  <a:pt x="17" y="97"/>
                  <a:pt x="17" y="97"/>
                </a:cubicBezTo>
                <a:cubicBezTo>
                  <a:pt x="17" y="98"/>
                  <a:pt x="17" y="98"/>
                  <a:pt x="17" y="98"/>
                </a:cubicBezTo>
                <a:cubicBezTo>
                  <a:pt x="17" y="98"/>
                  <a:pt x="17" y="98"/>
                  <a:pt x="17" y="98"/>
                </a:cubicBezTo>
                <a:cubicBezTo>
                  <a:pt x="17" y="100"/>
                  <a:pt x="17" y="100"/>
                  <a:pt x="17" y="100"/>
                </a:cubicBezTo>
                <a:cubicBezTo>
                  <a:pt x="17" y="100"/>
                  <a:pt x="17" y="100"/>
                  <a:pt x="17" y="100"/>
                </a:cubicBezTo>
                <a:cubicBezTo>
                  <a:pt x="15" y="100"/>
                  <a:pt x="15" y="100"/>
                  <a:pt x="15" y="100"/>
                </a:cubicBezTo>
                <a:cubicBezTo>
                  <a:pt x="14" y="100"/>
                  <a:pt x="14" y="100"/>
                  <a:pt x="14" y="100"/>
                </a:cubicBezTo>
                <a:cubicBezTo>
                  <a:pt x="12" y="98"/>
                  <a:pt x="12" y="98"/>
                  <a:pt x="12" y="98"/>
                </a:cubicBezTo>
                <a:cubicBezTo>
                  <a:pt x="12" y="97"/>
                  <a:pt x="12" y="97"/>
                  <a:pt x="12" y="97"/>
                </a:cubicBezTo>
                <a:cubicBezTo>
                  <a:pt x="13" y="97"/>
                  <a:pt x="13" y="97"/>
                  <a:pt x="13" y="97"/>
                </a:cubicBezTo>
                <a:cubicBezTo>
                  <a:pt x="15" y="96"/>
                  <a:pt x="15" y="96"/>
                  <a:pt x="15" y="96"/>
                </a:cubicBezTo>
                <a:cubicBezTo>
                  <a:pt x="15" y="95"/>
                  <a:pt x="15" y="95"/>
                  <a:pt x="15" y="95"/>
                </a:cubicBezTo>
                <a:cubicBezTo>
                  <a:pt x="15" y="95"/>
                  <a:pt x="15" y="95"/>
                  <a:pt x="15" y="95"/>
                </a:cubicBezTo>
                <a:cubicBezTo>
                  <a:pt x="13" y="96"/>
                  <a:pt x="13" y="96"/>
                  <a:pt x="13" y="96"/>
                </a:cubicBezTo>
                <a:cubicBezTo>
                  <a:pt x="12" y="96"/>
                  <a:pt x="12" y="96"/>
                  <a:pt x="12" y="96"/>
                </a:cubicBezTo>
                <a:cubicBezTo>
                  <a:pt x="11" y="96"/>
                  <a:pt x="11" y="96"/>
                  <a:pt x="11" y="96"/>
                </a:cubicBezTo>
                <a:cubicBezTo>
                  <a:pt x="11" y="95"/>
                  <a:pt x="11" y="95"/>
                  <a:pt x="11" y="95"/>
                </a:cubicBezTo>
                <a:cubicBezTo>
                  <a:pt x="11" y="95"/>
                  <a:pt x="11" y="95"/>
                  <a:pt x="11" y="95"/>
                </a:cubicBezTo>
                <a:cubicBezTo>
                  <a:pt x="12" y="94"/>
                  <a:pt x="12" y="94"/>
                  <a:pt x="12" y="94"/>
                </a:cubicBezTo>
                <a:cubicBezTo>
                  <a:pt x="13" y="94"/>
                  <a:pt x="13" y="94"/>
                  <a:pt x="13" y="94"/>
                </a:cubicBezTo>
                <a:cubicBezTo>
                  <a:pt x="14" y="92"/>
                  <a:pt x="14" y="92"/>
                  <a:pt x="14" y="92"/>
                </a:cubicBezTo>
                <a:cubicBezTo>
                  <a:pt x="14" y="92"/>
                  <a:pt x="14" y="92"/>
                  <a:pt x="14" y="92"/>
                </a:cubicBezTo>
                <a:cubicBezTo>
                  <a:pt x="13" y="91"/>
                  <a:pt x="13" y="91"/>
                  <a:pt x="13" y="91"/>
                </a:cubicBezTo>
                <a:cubicBezTo>
                  <a:pt x="13" y="92"/>
                  <a:pt x="13" y="92"/>
                  <a:pt x="13" y="92"/>
                </a:cubicBezTo>
                <a:cubicBezTo>
                  <a:pt x="13" y="92"/>
                  <a:pt x="13" y="92"/>
                  <a:pt x="13" y="92"/>
                </a:cubicBezTo>
                <a:cubicBezTo>
                  <a:pt x="11" y="93"/>
                  <a:pt x="11" y="93"/>
                  <a:pt x="11" y="93"/>
                </a:cubicBezTo>
                <a:cubicBezTo>
                  <a:pt x="10" y="93"/>
                  <a:pt x="10" y="93"/>
                  <a:pt x="10" y="93"/>
                </a:cubicBezTo>
                <a:cubicBezTo>
                  <a:pt x="9" y="93"/>
                  <a:pt x="9" y="93"/>
                  <a:pt x="9" y="93"/>
                </a:cubicBezTo>
                <a:cubicBezTo>
                  <a:pt x="8" y="92"/>
                  <a:pt x="8" y="92"/>
                  <a:pt x="8" y="92"/>
                </a:cubicBezTo>
                <a:cubicBezTo>
                  <a:pt x="9" y="92"/>
                  <a:pt x="9" y="92"/>
                  <a:pt x="9" y="92"/>
                </a:cubicBezTo>
                <a:cubicBezTo>
                  <a:pt x="9" y="91"/>
                  <a:pt x="9" y="91"/>
                  <a:pt x="9" y="91"/>
                </a:cubicBezTo>
                <a:cubicBezTo>
                  <a:pt x="10" y="91"/>
                  <a:pt x="10" y="91"/>
                  <a:pt x="10" y="91"/>
                </a:cubicBezTo>
                <a:cubicBezTo>
                  <a:pt x="10" y="90"/>
                  <a:pt x="10" y="90"/>
                  <a:pt x="10" y="90"/>
                </a:cubicBezTo>
                <a:cubicBezTo>
                  <a:pt x="9" y="90"/>
                  <a:pt x="9" y="90"/>
                  <a:pt x="9" y="90"/>
                </a:cubicBezTo>
                <a:cubicBezTo>
                  <a:pt x="8" y="90"/>
                  <a:pt x="8" y="90"/>
                  <a:pt x="8" y="90"/>
                </a:cubicBezTo>
                <a:cubicBezTo>
                  <a:pt x="7" y="89"/>
                  <a:pt x="7" y="89"/>
                  <a:pt x="7" y="89"/>
                </a:cubicBezTo>
                <a:cubicBezTo>
                  <a:pt x="6" y="87"/>
                  <a:pt x="6" y="87"/>
                  <a:pt x="6" y="87"/>
                </a:cubicBezTo>
                <a:cubicBezTo>
                  <a:pt x="6" y="86"/>
                  <a:pt x="6" y="86"/>
                  <a:pt x="6" y="86"/>
                </a:cubicBezTo>
                <a:cubicBezTo>
                  <a:pt x="4" y="85"/>
                  <a:pt x="4" y="85"/>
                  <a:pt x="4" y="85"/>
                </a:cubicBezTo>
                <a:cubicBezTo>
                  <a:pt x="4" y="85"/>
                  <a:pt x="4" y="85"/>
                  <a:pt x="4" y="85"/>
                </a:cubicBezTo>
                <a:cubicBezTo>
                  <a:pt x="5" y="85"/>
                  <a:pt x="5" y="85"/>
                  <a:pt x="5" y="85"/>
                </a:cubicBezTo>
                <a:cubicBezTo>
                  <a:pt x="6" y="84"/>
                  <a:pt x="6" y="84"/>
                  <a:pt x="6" y="84"/>
                </a:cubicBezTo>
                <a:cubicBezTo>
                  <a:pt x="6" y="83"/>
                  <a:pt x="6" y="83"/>
                  <a:pt x="6" y="83"/>
                </a:cubicBezTo>
                <a:cubicBezTo>
                  <a:pt x="7" y="83"/>
                  <a:pt x="7" y="83"/>
                  <a:pt x="7" y="83"/>
                </a:cubicBezTo>
                <a:cubicBezTo>
                  <a:pt x="7" y="83"/>
                  <a:pt x="7" y="83"/>
                  <a:pt x="7" y="83"/>
                </a:cubicBezTo>
                <a:cubicBezTo>
                  <a:pt x="8" y="83"/>
                  <a:pt x="8" y="83"/>
                  <a:pt x="8" y="83"/>
                </a:cubicBezTo>
                <a:cubicBezTo>
                  <a:pt x="8" y="82"/>
                  <a:pt x="8" y="82"/>
                  <a:pt x="8" y="82"/>
                </a:cubicBezTo>
                <a:cubicBezTo>
                  <a:pt x="7" y="82"/>
                  <a:pt x="7" y="82"/>
                  <a:pt x="7" y="82"/>
                </a:cubicBezTo>
                <a:cubicBezTo>
                  <a:pt x="6" y="82"/>
                  <a:pt x="6" y="82"/>
                  <a:pt x="6" y="82"/>
                </a:cubicBezTo>
                <a:cubicBezTo>
                  <a:pt x="6" y="81"/>
                  <a:pt x="6" y="81"/>
                  <a:pt x="6" y="81"/>
                </a:cubicBezTo>
                <a:cubicBezTo>
                  <a:pt x="6" y="81"/>
                  <a:pt x="6" y="81"/>
                  <a:pt x="6" y="81"/>
                </a:cubicBezTo>
                <a:cubicBezTo>
                  <a:pt x="7" y="81"/>
                  <a:pt x="7" y="81"/>
                  <a:pt x="7" y="81"/>
                </a:cubicBezTo>
                <a:cubicBezTo>
                  <a:pt x="9" y="80"/>
                  <a:pt x="9" y="80"/>
                  <a:pt x="9" y="80"/>
                </a:cubicBezTo>
                <a:cubicBezTo>
                  <a:pt x="9" y="79"/>
                  <a:pt x="9" y="79"/>
                  <a:pt x="9" y="79"/>
                </a:cubicBezTo>
                <a:cubicBezTo>
                  <a:pt x="9" y="79"/>
                  <a:pt x="9" y="79"/>
                  <a:pt x="9" y="79"/>
                </a:cubicBezTo>
                <a:cubicBezTo>
                  <a:pt x="10" y="78"/>
                  <a:pt x="10" y="78"/>
                  <a:pt x="10" y="78"/>
                </a:cubicBezTo>
                <a:cubicBezTo>
                  <a:pt x="11" y="78"/>
                  <a:pt x="11" y="78"/>
                  <a:pt x="11" y="78"/>
                </a:cubicBezTo>
                <a:cubicBezTo>
                  <a:pt x="12" y="78"/>
                  <a:pt x="12" y="78"/>
                  <a:pt x="12" y="78"/>
                </a:cubicBezTo>
                <a:cubicBezTo>
                  <a:pt x="12" y="78"/>
                  <a:pt x="12" y="78"/>
                  <a:pt x="12" y="78"/>
                </a:cubicBezTo>
                <a:cubicBezTo>
                  <a:pt x="13" y="78"/>
                  <a:pt x="13" y="78"/>
                  <a:pt x="13" y="78"/>
                </a:cubicBezTo>
                <a:cubicBezTo>
                  <a:pt x="14" y="78"/>
                  <a:pt x="14" y="78"/>
                  <a:pt x="14" y="78"/>
                </a:cubicBezTo>
                <a:cubicBezTo>
                  <a:pt x="15" y="78"/>
                  <a:pt x="15" y="78"/>
                  <a:pt x="15" y="78"/>
                </a:cubicBezTo>
                <a:cubicBezTo>
                  <a:pt x="15" y="78"/>
                  <a:pt x="15" y="78"/>
                  <a:pt x="15" y="78"/>
                </a:cubicBezTo>
                <a:cubicBezTo>
                  <a:pt x="15" y="78"/>
                  <a:pt x="15" y="78"/>
                  <a:pt x="15" y="78"/>
                </a:cubicBezTo>
                <a:cubicBezTo>
                  <a:pt x="16" y="78"/>
                  <a:pt x="16" y="78"/>
                  <a:pt x="16" y="78"/>
                </a:cubicBezTo>
                <a:cubicBezTo>
                  <a:pt x="17" y="78"/>
                  <a:pt x="17" y="78"/>
                  <a:pt x="17" y="78"/>
                </a:cubicBezTo>
                <a:cubicBezTo>
                  <a:pt x="17" y="77"/>
                  <a:pt x="17" y="77"/>
                  <a:pt x="17" y="77"/>
                </a:cubicBezTo>
                <a:cubicBezTo>
                  <a:pt x="18" y="77"/>
                  <a:pt x="18" y="77"/>
                  <a:pt x="18" y="77"/>
                </a:cubicBezTo>
                <a:cubicBezTo>
                  <a:pt x="19" y="77"/>
                  <a:pt x="19" y="77"/>
                  <a:pt x="19" y="77"/>
                </a:cubicBezTo>
                <a:cubicBezTo>
                  <a:pt x="19" y="77"/>
                  <a:pt x="19" y="77"/>
                  <a:pt x="19" y="77"/>
                </a:cubicBezTo>
                <a:cubicBezTo>
                  <a:pt x="20" y="77"/>
                  <a:pt x="20" y="77"/>
                  <a:pt x="20" y="77"/>
                </a:cubicBezTo>
                <a:cubicBezTo>
                  <a:pt x="20" y="77"/>
                  <a:pt x="20" y="77"/>
                  <a:pt x="20" y="77"/>
                </a:cubicBezTo>
                <a:cubicBezTo>
                  <a:pt x="21" y="77"/>
                  <a:pt x="21" y="77"/>
                  <a:pt x="21" y="77"/>
                </a:cubicBezTo>
                <a:cubicBezTo>
                  <a:pt x="26" y="75"/>
                  <a:pt x="26" y="75"/>
                  <a:pt x="26" y="75"/>
                </a:cubicBezTo>
                <a:cubicBezTo>
                  <a:pt x="27" y="75"/>
                  <a:pt x="27" y="75"/>
                  <a:pt x="27" y="75"/>
                </a:cubicBezTo>
                <a:cubicBezTo>
                  <a:pt x="27" y="76"/>
                  <a:pt x="27" y="76"/>
                  <a:pt x="27" y="76"/>
                </a:cubicBezTo>
                <a:cubicBezTo>
                  <a:pt x="27" y="75"/>
                  <a:pt x="27" y="75"/>
                  <a:pt x="27" y="75"/>
                </a:cubicBezTo>
                <a:cubicBezTo>
                  <a:pt x="27" y="75"/>
                  <a:pt x="27" y="75"/>
                  <a:pt x="27" y="75"/>
                </a:cubicBezTo>
                <a:cubicBezTo>
                  <a:pt x="27" y="74"/>
                  <a:pt x="27" y="74"/>
                  <a:pt x="27" y="74"/>
                </a:cubicBezTo>
                <a:cubicBezTo>
                  <a:pt x="29" y="73"/>
                  <a:pt x="29" y="73"/>
                  <a:pt x="29" y="73"/>
                </a:cubicBezTo>
                <a:cubicBezTo>
                  <a:pt x="31" y="73"/>
                  <a:pt x="31" y="73"/>
                  <a:pt x="31" y="73"/>
                </a:cubicBezTo>
                <a:cubicBezTo>
                  <a:pt x="32" y="73"/>
                  <a:pt x="32" y="73"/>
                  <a:pt x="32" y="73"/>
                </a:cubicBezTo>
                <a:cubicBezTo>
                  <a:pt x="33" y="73"/>
                  <a:pt x="33" y="73"/>
                  <a:pt x="33" y="73"/>
                </a:cubicBezTo>
                <a:cubicBezTo>
                  <a:pt x="34" y="74"/>
                  <a:pt x="34" y="74"/>
                  <a:pt x="34" y="74"/>
                </a:cubicBezTo>
                <a:cubicBezTo>
                  <a:pt x="35" y="73"/>
                  <a:pt x="35" y="73"/>
                  <a:pt x="35" y="73"/>
                </a:cubicBezTo>
                <a:cubicBezTo>
                  <a:pt x="36" y="73"/>
                  <a:pt x="36" y="73"/>
                  <a:pt x="36" y="73"/>
                </a:cubicBezTo>
                <a:cubicBezTo>
                  <a:pt x="38" y="73"/>
                  <a:pt x="38" y="73"/>
                  <a:pt x="38" y="73"/>
                </a:cubicBezTo>
                <a:cubicBezTo>
                  <a:pt x="38" y="74"/>
                  <a:pt x="38" y="74"/>
                  <a:pt x="38" y="74"/>
                </a:cubicBezTo>
                <a:cubicBezTo>
                  <a:pt x="39" y="74"/>
                  <a:pt x="39" y="74"/>
                  <a:pt x="39" y="74"/>
                </a:cubicBezTo>
                <a:cubicBezTo>
                  <a:pt x="40" y="74"/>
                  <a:pt x="40" y="74"/>
                  <a:pt x="40" y="74"/>
                </a:cubicBezTo>
                <a:cubicBezTo>
                  <a:pt x="41" y="75"/>
                  <a:pt x="41" y="75"/>
                  <a:pt x="41" y="75"/>
                </a:cubicBezTo>
                <a:cubicBezTo>
                  <a:pt x="42" y="75"/>
                  <a:pt x="42" y="75"/>
                  <a:pt x="42" y="75"/>
                </a:cubicBezTo>
                <a:cubicBezTo>
                  <a:pt x="43" y="75"/>
                  <a:pt x="43" y="75"/>
                  <a:pt x="43" y="75"/>
                </a:cubicBezTo>
                <a:cubicBezTo>
                  <a:pt x="43" y="74"/>
                  <a:pt x="43" y="74"/>
                  <a:pt x="43" y="74"/>
                </a:cubicBezTo>
                <a:cubicBezTo>
                  <a:pt x="44" y="73"/>
                  <a:pt x="44" y="73"/>
                  <a:pt x="44" y="73"/>
                </a:cubicBezTo>
                <a:cubicBezTo>
                  <a:pt x="45" y="72"/>
                  <a:pt x="45" y="72"/>
                  <a:pt x="45" y="72"/>
                </a:cubicBezTo>
                <a:cubicBezTo>
                  <a:pt x="46" y="71"/>
                  <a:pt x="46" y="71"/>
                  <a:pt x="46" y="71"/>
                </a:cubicBezTo>
                <a:cubicBezTo>
                  <a:pt x="47" y="70"/>
                  <a:pt x="47" y="70"/>
                  <a:pt x="47" y="70"/>
                </a:cubicBezTo>
                <a:cubicBezTo>
                  <a:pt x="48" y="69"/>
                  <a:pt x="48" y="69"/>
                  <a:pt x="48" y="69"/>
                </a:cubicBezTo>
                <a:cubicBezTo>
                  <a:pt x="49" y="68"/>
                  <a:pt x="49" y="68"/>
                  <a:pt x="49" y="68"/>
                </a:cubicBezTo>
                <a:cubicBezTo>
                  <a:pt x="50" y="67"/>
                  <a:pt x="50" y="67"/>
                  <a:pt x="50" y="67"/>
                </a:cubicBezTo>
                <a:cubicBezTo>
                  <a:pt x="50" y="66"/>
                  <a:pt x="50" y="66"/>
                  <a:pt x="50" y="66"/>
                </a:cubicBezTo>
                <a:cubicBezTo>
                  <a:pt x="49" y="66"/>
                  <a:pt x="49" y="66"/>
                  <a:pt x="49" y="66"/>
                </a:cubicBezTo>
                <a:cubicBezTo>
                  <a:pt x="49" y="65"/>
                  <a:pt x="49" y="65"/>
                  <a:pt x="49" y="65"/>
                </a:cubicBezTo>
                <a:cubicBezTo>
                  <a:pt x="50" y="63"/>
                  <a:pt x="50" y="63"/>
                  <a:pt x="50" y="63"/>
                </a:cubicBezTo>
                <a:cubicBezTo>
                  <a:pt x="51" y="63"/>
                  <a:pt x="51" y="63"/>
                  <a:pt x="51" y="63"/>
                </a:cubicBezTo>
                <a:cubicBezTo>
                  <a:pt x="53" y="63"/>
                  <a:pt x="53" y="63"/>
                  <a:pt x="53" y="63"/>
                </a:cubicBezTo>
                <a:cubicBezTo>
                  <a:pt x="54" y="63"/>
                  <a:pt x="54" y="63"/>
                  <a:pt x="54" y="63"/>
                </a:cubicBezTo>
                <a:cubicBezTo>
                  <a:pt x="55" y="62"/>
                  <a:pt x="55" y="62"/>
                  <a:pt x="55" y="62"/>
                </a:cubicBezTo>
                <a:cubicBezTo>
                  <a:pt x="54" y="61"/>
                  <a:pt x="54" y="61"/>
                  <a:pt x="54" y="61"/>
                </a:cubicBezTo>
                <a:cubicBezTo>
                  <a:pt x="53" y="61"/>
                  <a:pt x="53" y="61"/>
                  <a:pt x="53" y="61"/>
                </a:cubicBezTo>
                <a:cubicBezTo>
                  <a:pt x="52" y="61"/>
                  <a:pt x="52" y="61"/>
                  <a:pt x="52" y="61"/>
                </a:cubicBezTo>
                <a:cubicBezTo>
                  <a:pt x="52" y="60"/>
                  <a:pt x="52" y="60"/>
                  <a:pt x="52" y="60"/>
                </a:cubicBezTo>
                <a:cubicBezTo>
                  <a:pt x="52" y="59"/>
                  <a:pt x="52" y="59"/>
                  <a:pt x="52" y="59"/>
                </a:cubicBezTo>
                <a:cubicBezTo>
                  <a:pt x="53" y="59"/>
                  <a:pt x="53" y="59"/>
                  <a:pt x="53" y="59"/>
                </a:cubicBezTo>
                <a:cubicBezTo>
                  <a:pt x="55" y="59"/>
                  <a:pt x="55" y="59"/>
                  <a:pt x="55" y="59"/>
                </a:cubicBezTo>
                <a:cubicBezTo>
                  <a:pt x="56" y="58"/>
                  <a:pt x="56" y="58"/>
                  <a:pt x="56" y="58"/>
                </a:cubicBezTo>
                <a:cubicBezTo>
                  <a:pt x="57" y="58"/>
                  <a:pt x="57" y="58"/>
                  <a:pt x="57" y="58"/>
                </a:cubicBezTo>
                <a:cubicBezTo>
                  <a:pt x="58" y="57"/>
                  <a:pt x="58" y="57"/>
                  <a:pt x="58" y="57"/>
                </a:cubicBezTo>
                <a:cubicBezTo>
                  <a:pt x="57" y="57"/>
                  <a:pt x="57" y="57"/>
                  <a:pt x="57" y="57"/>
                </a:cubicBezTo>
                <a:cubicBezTo>
                  <a:pt x="57" y="56"/>
                  <a:pt x="57" y="56"/>
                  <a:pt x="57" y="56"/>
                </a:cubicBezTo>
                <a:cubicBezTo>
                  <a:pt x="57" y="56"/>
                  <a:pt x="57" y="56"/>
                  <a:pt x="57" y="56"/>
                </a:cubicBezTo>
                <a:cubicBezTo>
                  <a:pt x="56" y="57"/>
                  <a:pt x="56" y="57"/>
                  <a:pt x="56" y="57"/>
                </a:cubicBezTo>
                <a:cubicBezTo>
                  <a:pt x="56" y="58"/>
                  <a:pt x="56" y="58"/>
                  <a:pt x="56" y="58"/>
                </a:cubicBezTo>
                <a:cubicBezTo>
                  <a:pt x="55" y="58"/>
                  <a:pt x="55" y="58"/>
                  <a:pt x="55" y="58"/>
                </a:cubicBezTo>
                <a:cubicBezTo>
                  <a:pt x="53" y="58"/>
                  <a:pt x="53" y="58"/>
                  <a:pt x="53" y="58"/>
                </a:cubicBezTo>
                <a:cubicBezTo>
                  <a:pt x="52" y="58"/>
                  <a:pt x="52" y="58"/>
                  <a:pt x="52" y="58"/>
                </a:cubicBezTo>
                <a:cubicBezTo>
                  <a:pt x="52" y="58"/>
                  <a:pt x="52" y="58"/>
                  <a:pt x="52" y="58"/>
                </a:cubicBezTo>
                <a:cubicBezTo>
                  <a:pt x="51" y="59"/>
                  <a:pt x="51" y="59"/>
                  <a:pt x="51" y="59"/>
                </a:cubicBezTo>
                <a:cubicBezTo>
                  <a:pt x="50" y="59"/>
                  <a:pt x="50" y="59"/>
                  <a:pt x="50" y="59"/>
                </a:cubicBezTo>
                <a:cubicBezTo>
                  <a:pt x="49" y="58"/>
                  <a:pt x="49" y="58"/>
                  <a:pt x="49" y="58"/>
                </a:cubicBezTo>
                <a:cubicBezTo>
                  <a:pt x="48" y="57"/>
                  <a:pt x="48" y="57"/>
                  <a:pt x="48" y="57"/>
                </a:cubicBezTo>
                <a:cubicBezTo>
                  <a:pt x="47" y="57"/>
                  <a:pt x="47" y="57"/>
                  <a:pt x="47" y="57"/>
                </a:cubicBezTo>
                <a:cubicBezTo>
                  <a:pt x="47" y="58"/>
                  <a:pt x="47" y="58"/>
                  <a:pt x="47" y="58"/>
                </a:cubicBezTo>
                <a:cubicBezTo>
                  <a:pt x="46" y="58"/>
                  <a:pt x="46" y="58"/>
                  <a:pt x="46" y="58"/>
                </a:cubicBezTo>
                <a:cubicBezTo>
                  <a:pt x="46" y="57"/>
                  <a:pt x="46" y="57"/>
                  <a:pt x="46" y="57"/>
                </a:cubicBezTo>
                <a:cubicBezTo>
                  <a:pt x="45" y="57"/>
                  <a:pt x="45" y="57"/>
                  <a:pt x="45" y="57"/>
                </a:cubicBezTo>
                <a:cubicBezTo>
                  <a:pt x="44" y="57"/>
                  <a:pt x="44" y="57"/>
                  <a:pt x="44" y="57"/>
                </a:cubicBezTo>
                <a:cubicBezTo>
                  <a:pt x="44" y="57"/>
                  <a:pt x="44" y="57"/>
                  <a:pt x="44" y="57"/>
                </a:cubicBezTo>
                <a:cubicBezTo>
                  <a:pt x="44" y="56"/>
                  <a:pt x="44" y="56"/>
                  <a:pt x="44" y="56"/>
                </a:cubicBezTo>
                <a:cubicBezTo>
                  <a:pt x="44" y="56"/>
                  <a:pt x="44" y="56"/>
                  <a:pt x="44" y="56"/>
                </a:cubicBezTo>
                <a:cubicBezTo>
                  <a:pt x="44" y="55"/>
                  <a:pt x="44" y="55"/>
                  <a:pt x="44" y="55"/>
                </a:cubicBezTo>
                <a:cubicBezTo>
                  <a:pt x="44" y="54"/>
                  <a:pt x="44" y="54"/>
                  <a:pt x="44" y="54"/>
                </a:cubicBezTo>
                <a:cubicBezTo>
                  <a:pt x="45" y="54"/>
                  <a:pt x="45" y="54"/>
                  <a:pt x="45" y="54"/>
                </a:cubicBezTo>
                <a:cubicBezTo>
                  <a:pt x="46" y="53"/>
                  <a:pt x="46" y="53"/>
                  <a:pt x="46" y="53"/>
                </a:cubicBezTo>
                <a:cubicBezTo>
                  <a:pt x="46" y="52"/>
                  <a:pt x="46" y="52"/>
                  <a:pt x="46" y="52"/>
                </a:cubicBezTo>
                <a:cubicBezTo>
                  <a:pt x="47" y="52"/>
                  <a:pt x="47" y="52"/>
                  <a:pt x="47" y="52"/>
                </a:cubicBezTo>
                <a:cubicBezTo>
                  <a:pt x="47" y="51"/>
                  <a:pt x="47" y="51"/>
                  <a:pt x="47" y="51"/>
                </a:cubicBezTo>
                <a:cubicBezTo>
                  <a:pt x="47" y="51"/>
                  <a:pt x="47" y="51"/>
                  <a:pt x="47" y="51"/>
                </a:cubicBezTo>
                <a:cubicBezTo>
                  <a:pt x="46" y="50"/>
                  <a:pt x="46" y="50"/>
                  <a:pt x="46" y="50"/>
                </a:cubicBezTo>
                <a:cubicBezTo>
                  <a:pt x="47" y="50"/>
                  <a:pt x="47" y="50"/>
                  <a:pt x="47" y="50"/>
                </a:cubicBezTo>
                <a:cubicBezTo>
                  <a:pt x="48" y="49"/>
                  <a:pt x="48" y="49"/>
                  <a:pt x="48" y="49"/>
                </a:cubicBezTo>
                <a:cubicBezTo>
                  <a:pt x="49" y="49"/>
                  <a:pt x="49" y="49"/>
                  <a:pt x="49" y="49"/>
                </a:cubicBezTo>
                <a:cubicBezTo>
                  <a:pt x="49" y="48"/>
                  <a:pt x="49" y="48"/>
                  <a:pt x="49" y="48"/>
                </a:cubicBezTo>
                <a:cubicBezTo>
                  <a:pt x="50" y="48"/>
                  <a:pt x="50" y="48"/>
                  <a:pt x="50" y="48"/>
                </a:cubicBezTo>
                <a:cubicBezTo>
                  <a:pt x="52" y="47"/>
                  <a:pt x="52" y="47"/>
                  <a:pt x="52" y="47"/>
                </a:cubicBezTo>
                <a:cubicBezTo>
                  <a:pt x="52" y="46"/>
                  <a:pt x="52" y="46"/>
                  <a:pt x="52" y="46"/>
                </a:cubicBezTo>
                <a:cubicBezTo>
                  <a:pt x="53" y="46"/>
                  <a:pt x="53" y="46"/>
                  <a:pt x="53" y="46"/>
                </a:cubicBezTo>
                <a:cubicBezTo>
                  <a:pt x="55" y="46"/>
                  <a:pt x="55" y="46"/>
                  <a:pt x="55" y="46"/>
                </a:cubicBezTo>
                <a:cubicBezTo>
                  <a:pt x="56" y="46"/>
                  <a:pt x="56" y="46"/>
                  <a:pt x="56" y="46"/>
                </a:cubicBezTo>
                <a:cubicBezTo>
                  <a:pt x="55" y="45"/>
                  <a:pt x="55" y="45"/>
                  <a:pt x="55" y="45"/>
                </a:cubicBezTo>
                <a:cubicBezTo>
                  <a:pt x="55" y="45"/>
                  <a:pt x="55" y="45"/>
                  <a:pt x="55" y="45"/>
                </a:cubicBezTo>
                <a:cubicBezTo>
                  <a:pt x="55" y="44"/>
                  <a:pt x="55" y="44"/>
                  <a:pt x="55" y="44"/>
                </a:cubicBezTo>
                <a:cubicBezTo>
                  <a:pt x="55" y="44"/>
                  <a:pt x="55" y="44"/>
                  <a:pt x="55" y="44"/>
                </a:cubicBezTo>
                <a:cubicBezTo>
                  <a:pt x="57" y="44"/>
                  <a:pt x="57" y="44"/>
                  <a:pt x="57" y="44"/>
                </a:cubicBezTo>
                <a:cubicBezTo>
                  <a:pt x="57" y="45"/>
                  <a:pt x="57" y="45"/>
                  <a:pt x="57" y="45"/>
                </a:cubicBezTo>
                <a:cubicBezTo>
                  <a:pt x="57" y="44"/>
                  <a:pt x="57" y="44"/>
                  <a:pt x="57" y="44"/>
                </a:cubicBezTo>
                <a:cubicBezTo>
                  <a:pt x="59" y="43"/>
                  <a:pt x="59" y="43"/>
                  <a:pt x="59" y="43"/>
                </a:cubicBezTo>
                <a:cubicBezTo>
                  <a:pt x="59" y="42"/>
                  <a:pt x="59" y="42"/>
                  <a:pt x="59" y="42"/>
                </a:cubicBezTo>
                <a:cubicBezTo>
                  <a:pt x="59" y="41"/>
                  <a:pt x="59" y="41"/>
                  <a:pt x="59" y="41"/>
                </a:cubicBezTo>
                <a:cubicBezTo>
                  <a:pt x="60" y="40"/>
                  <a:pt x="60" y="40"/>
                  <a:pt x="60" y="40"/>
                </a:cubicBezTo>
                <a:cubicBezTo>
                  <a:pt x="61" y="40"/>
                  <a:pt x="61" y="40"/>
                  <a:pt x="61" y="40"/>
                </a:cubicBezTo>
                <a:cubicBezTo>
                  <a:pt x="62" y="39"/>
                  <a:pt x="62" y="39"/>
                  <a:pt x="62" y="39"/>
                </a:cubicBezTo>
                <a:cubicBezTo>
                  <a:pt x="63" y="39"/>
                  <a:pt x="63" y="39"/>
                  <a:pt x="63" y="39"/>
                </a:cubicBezTo>
                <a:cubicBezTo>
                  <a:pt x="63" y="39"/>
                  <a:pt x="63" y="39"/>
                  <a:pt x="63" y="39"/>
                </a:cubicBezTo>
                <a:cubicBezTo>
                  <a:pt x="64" y="39"/>
                  <a:pt x="64" y="39"/>
                  <a:pt x="64" y="39"/>
                </a:cubicBezTo>
                <a:cubicBezTo>
                  <a:pt x="64" y="40"/>
                  <a:pt x="64" y="40"/>
                  <a:pt x="64" y="40"/>
                </a:cubicBezTo>
                <a:cubicBezTo>
                  <a:pt x="64" y="42"/>
                  <a:pt x="64" y="42"/>
                  <a:pt x="64" y="42"/>
                </a:cubicBezTo>
                <a:cubicBezTo>
                  <a:pt x="64" y="43"/>
                  <a:pt x="64" y="43"/>
                  <a:pt x="64" y="43"/>
                </a:cubicBezTo>
                <a:cubicBezTo>
                  <a:pt x="64" y="45"/>
                  <a:pt x="64" y="45"/>
                  <a:pt x="64" y="45"/>
                </a:cubicBezTo>
                <a:cubicBezTo>
                  <a:pt x="64" y="47"/>
                  <a:pt x="64" y="47"/>
                  <a:pt x="64" y="47"/>
                </a:cubicBezTo>
                <a:cubicBezTo>
                  <a:pt x="65" y="47"/>
                  <a:pt x="65" y="47"/>
                  <a:pt x="65" y="47"/>
                </a:cubicBezTo>
                <a:cubicBezTo>
                  <a:pt x="65" y="47"/>
                  <a:pt x="65" y="47"/>
                  <a:pt x="65" y="47"/>
                </a:cubicBezTo>
                <a:cubicBezTo>
                  <a:pt x="65" y="45"/>
                  <a:pt x="65" y="45"/>
                  <a:pt x="65" y="45"/>
                </a:cubicBezTo>
                <a:cubicBezTo>
                  <a:pt x="65" y="43"/>
                  <a:pt x="65" y="43"/>
                  <a:pt x="65" y="43"/>
                </a:cubicBezTo>
                <a:cubicBezTo>
                  <a:pt x="65" y="42"/>
                  <a:pt x="65" y="42"/>
                  <a:pt x="65" y="42"/>
                </a:cubicBezTo>
                <a:cubicBezTo>
                  <a:pt x="65" y="41"/>
                  <a:pt x="65" y="41"/>
                  <a:pt x="65" y="41"/>
                </a:cubicBezTo>
                <a:cubicBezTo>
                  <a:pt x="65" y="39"/>
                  <a:pt x="65" y="39"/>
                  <a:pt x="65" y="39"/>
                </a:cubicBezTo>
                <a:cubicBezTo>
                  <a:pt x="66" y="39"/>
                  <a:pt x="66" y="39"/>
                  <a:pt x="66" y="39"/>
                </a:cubicBezTo>
                <a:cubicBezTo>
                  <a:pt x="66" y="39"/>
                  <a:pt x="66" y="39"/>
                  <a:pt x="66" y="39"/>
                </a:cubicBezTo>
                <a:cubicBezTo>
                  <a:pt x="67" y="38"/>
                  <a:pt x="67" y="38"/>
                  <a:pt x="67" y="38"/>
                </a:cubicBezTo>
                <a:cubicBezTo>
                  <a:pt x="67" y="38"/>
                  <a:pt x="67" y="38"/>
                  <a:pt x="67" y="38"/>
                </a:cubicBezTo>
                <a:cubicBezTo>
                  <a:pt x="68" y="38"/>
                  <a:pt x="68" y="38"/>
                  <a:pt x="68" y="38"/>
                </a:cubicBezTo>
                <a:cubicBezTo>
                  <a:pt x="68" y="39"/>
                  <a:pt x="68" y="39"/>
                  <a:pt x="68" y="39"/>
                </a:cubicBezTo>
                <a:cubicBezTo>
                  <a:pt x="68" y="39"/>
                  <a:pt x="68" y="39"/>
                  <a:pt x="68" y="39"/>
                </a:cubicBezTo>
                <a:cubicBezTo>
                  <a:pt x="69" y="39"/>
                  <a:pt x="69" y="39"/>
                  <a:pt x="69" y="39"/>
                </a:cubicBezTo>
                <a:cubicBezTo>
                  <a:pt x="69" y="39"/>
                  <a:pt x="69" y="39"/>
                  <a:pt x="69" y="39"/>
                </a:cubicBezTo>
                <a:cubicBezTo>
                  <a:pt x="69" y="40"/>
                  <a:pt x="69" y="40"/>
                  <a:pt x="69" y="40"/>
                </a:cubicBezTo>
                <a:cubicBezTo>
                  <a:pt x="69" y="41"/>
                  <a:pt x="69" y="41"/>
                  <a:pt x="69" y="41"/>
                </a:cubicBezTo>
                <a:cubicBezTo>
                  <a:pt x="70" y="41"/>
                  <a:pt x="70" y="41"/>
                  <a:pt x="70" y="41"/>
                </a:cubicBezTo>
                <a:cubicBezTo>
                  <a:pt x="72" y="41"/>
                  <a:pt x="72" y="41"/>
                  <a:pt x="72" y="41"/>
                </a:cubicBezTo>
                <a:cubicBezTo>
                  <a:pt x="73" y="41"/>
                  <a:pt x="73" y="41"/>
                  <a:pt x="73" y="41"/>
                </a:cubicBezTo>
                <a:cubicBezTo>
                  <a:pt x="74" y="41"/>
                  <a:pt x="74" y="41"/>
                  <a:pt x="74" y="41"/>
                </a:cubicBezTo>
                <a:cubicBezTo>
                  <a:pt x="74" y="40"/>
                  <a:pt x="74" y="40"/>
                  <a:pt x="74" y="40"/>
                </a:cubicBezTo>
                <a:cubicBezTo>
                  <a:pt x="73" y="40"/>
                  <a:pt x="73" y="40"/>
                  <a:pt x="73" y="40"/>
                </a:cubicBezTo>
                <a:cubicBezTo>
                  <a:pt x="74" y="39"/>
                  <a:pt x="74" y="39"/>
                  <a:pt x="74" y="39"/>
                </a:cubicBezTo>
                <a:cubicBezTo>
                  <a:pt x="74" y="38"/>
                  <a:pt x="74" y="38"/>
                  <a:pt x="74" y="38"/>
                </a:cubicBezTo>
                <a:cubicBezTo>
                  <a:pt x="75" y="37"/>
                  <a:pt x="75" y="37"/>
                  <a:pt x="75" y="37"/>
                </a:cubicBezTo>
                <a:cubicBezTo>
                  <a:pt x="75" y="37"/>
                  <a:pt x="75" y="37"/>
                  <a:pt x="75" y="37"/>
                </a:cubicBezTo>
                <a:cubicBezTo>
                  <a:pt x="76" y="37"/>
                  <a:pt x="76" y="37"/>
                  <a:pt x="76" y="37"/>
                </a:cubicBezTo>
                <a:cubicBezTo>
                  <a:pt x="78" y="36"/>
                  <a:pt x="78" y="36"/>
                  <a:pt x="78" y="36"/>
                </a:cubicBezTo>
                <a:cubicBezTo>
                  <a:pt x="78" y="35"/>
                  <a:pt x="78" y="35"/>
                  <a:pt x="78" y="35"/>
                </a:cubicBezTo>
                <a:cubicBezTo>
                  <a:pt x="78" y="33"/>
                  <a:pt x="78" y="33"/>
                  <a:pt x="78" y="33"/>
                </a:cubicBezTo>
                <a:cubicBezTo>
                  <a:pt x="78" y="33"/>
                  <a:pt x="78" y="33"/>
                  <a:pt x="78" y="33"/>
                </a:cubicBezTo>
                <a:cubicBezTo>
                  <a:pt x="77" y="33"/>
                  <a:pt x="77" y="33"/>
                  <a:pt x="77" y="33"/>
                </a:cubicBezTo>
                <a:cubicBezTo>
                  <a:pt x="77" y="33"/>
                  <a:pt x="77" y="33"/>
                  <a:pt x="77" y="33"/>
                </a:cubicBezTo>
                <a:cubicBezTo>
                  <a:pt x="77" y="32"/>
                  <a:pt x="77" y="32"/>
                  <a:pt x="77" y="32"/>
                </a:cubicBezTo>
                <a:cubicBezTo>
                  <a:pt x="78" y="31"/>
                  <a:pt x="78" y="31"/>
                  <a:pt x="78" y="31"/>
                </a:cubicBezTo>
                <a:cubicBezTo>
                  <a:pt x="78" y="29"/>
                  <a:pt x="78" y="29"/>
                  <a:pt x="78" y="29"/>
                </a:cubicBezTo>
                <a:cubicBezTo>
                  <a:pt x="78" y="28"/>
                  <a:pt x="78" y="28"/>
                  <a:pt x="78" y="28"/>
                </a:cubicBezTo>
                <a:cubicBezTo>
                  <a:pt x="78" y="27"/>
                  <a:pt x="78" y="27"/>
                  <a:pt x="78" y="27"/>
                </a:cubicBezTo>
                <a:cubicBezTo>
                  <a:pt x="79" y="26"/>
                  <a:pt x="79" y="26"/>
                  <a:pt x="79" y="26"/>
                </a:cubicBezTo>
                <a:cubicBezTo>
                  <a:pt x="81" y="26"/>
                  <a:pt x="81" y="26"/>
                  <a:pt x="81" y="26"/>
                </a:cubicBezTo>
                <a:cubicBezTo>
                  <a:pt x="82" y="25"/>
                  <a:pt x="82" y="25"/>
                  <a:pt x="82" y="25"/>
                </a:cubicBezTo>
                <a:cubicBezTo>
                  <a:pt x="84" y="25"/>
                  <a:pt x="84" y="25"/>
                  <a:pt x="84" y="25"/>
                </a:cubicBezTo>
                <a:cubicBezTo>
                  <a:pt x="84" y="25"/>
                  <a:pt x="84" y="25"/>
                  <a:pt x="84" y="25"/>
                </a:cubicBezTo>
                <a:cubicBezTo>
                  <a:pt x="84" y="26"/>
                  <a:pt x="84" y="26"/>
                  <a:pt x="84" y="26"/>
                </a:cubicBezTo>
                <a:cubicBezTo>
                  <a:pt x="84" y="27"/>
                  <a:pt x="84" y="27"/>
                  <a:pt x="84" y="27"/>
                </a:cubicBezTo>
                <a:cubicBezTo>
                  <a:pt x="86" y="28"/>
                  <a:pt x="86" y="28"/>
                  <a:pt x="86" y="28"/>
                </a:cubicBezTo>
                <a:cubicBezTo>
                  <a:pt x="86" y="29"/>
                  <a:pt x="86" y="29"/>
                  <a:pt x="86" y="29"/>
                </a:cubicBezTo>
                <a:cubicBezTo>
                  <a:pt x="86" y="32"/>
                  <a:pt x="86" y="32"/>
                  <a:pt x="86" y="32"/>
                </a:cubicBezTo>
                <a:cubicBezTo>
                  <a:pt x="85" y="34"/>
                  <a:pt x="85" y="34"/>
                  <a:pt x="85" y="34"/>
                </a:cubicBezTo>
                <a:cubicBezTo>
                  <a:pt x="86" y="34"/>
                  <a:pt x="86" y="34"/>
                  <a:pt x="86" y="34"/>
                </a:cubicBezTo>
                <a:cubicBezTo>
                  <a:pt x="88" y="36"/>
                  <a:pt x="88" y="36"/>
                  <a:pt x="88" y="36"/>
                </a:cubicBezTo>
                <a:cubicBezTo>
                  <a:pt x="88" y="37"/>
                  <a:pt x="88" y="37"/>
                  <a:pt x="88" y="37"/>
                </a:cubicBezTo>
                <a:cubicBezTo>
                  <a:pt x="89" y="38"/>
                  <a:pt x="89" y="38"/>
                  <a:pt x="89" y="38"/>
                </a:cubicBezTo>
                <a:cubicBezTo>
                  <a:pt x="89" y="37"/>
                  <a:pt x="89" y="37"/>
                  <a:pt x="89" y="37"/>
                </a:cubicBezTo>
                <a:cubicBezTo>
                  <a:pt x="89" y="35"/>
                  <a:pt x="89" y="35"/>
                  <a:pt x="89" y="35"/>
                </a:cubicBezTo>
                <a:cubicBezTo>
                  <a:pt x="89" y="34"/>
                  <a:pt x="89" y="34"/>
                  <a:pt x="89" y="34"/>
                </a:cubicBezTo>
                <a:cubicBezTo>
                  <a:pt x="87" y="32"/>
                  <a:pt x="87" y="32"/>
                  <a:pt x="87" y="32"/>
                </a:cubicBezTo>
                <a:cubicBezTo>
                  <a:pt x="87" y="30"/>
                  <a:pt x="87" y="30"/>
                  <a:pt x="87" y="30"/>
                </a:cubicBezTo>
                <a:cubicBezTo>
                  <a:pt x="88" y="28"/>
                  <a:pt x="88" y="28"/>
                  <a:pt x="88" y="28"/>
                </a:cubicBezTo>
                <a:cubicBezTo>
                  <a:pt x="88" y="27"/>
                  <a:pt x="88" y="27"/>
                  <a:pt x="88" y="27"/>
                </a:cubicBezTo>
                <a:cubicBezTo>
                  <a:pt x="88" y="27"/>
                  <a:pt x="88" y="27"/>
                  <a:pt x="88" y="27"/>
                </a:cubicBezTo>
                <a:cubicBezTo>
                  <a:pt x="87" y="26"/>
                  <a:pt x="87" y="26"/>
                  <a:pt x="87" y="26"/>
                </a:cubicBezTo>
                <a:cubicBezTo>
                  <a:pt x="87" y="25"/>
                  <a:pt x="87" y="25"/>
                  <a:pt x="87" y="25"/>
                </a:cubicBezTo>
                <a:cubicBezTo>
                  <a:pt x="87" y="24"/>
                  <a:pt x="87" y="24"/>
                  <a:pt x="87" y="24"/>
                </a:cubicBezTo>
                <a:cubicBezTo>
                  <a:pt x="87" y="23"/>
                  <a:pt x="87" y="23"/>
                  <a:pt x="87" y="23"/>
                </a:cubicBezTo>
                <a:cubicBezTo>
                  <a:pt x="88" y="22"/>
                  <a:pt x="88" y="22"/>
                  <a:pt x="88" y="22"/>
                </a:cubicBezTo>
                <a:cubicBezTo>
                  <a:pt x="89" y="22"/>
                  <a:pt x="89" y="22"/>
                  <a:pt x="89" y="22"/>
                </a:cubicBezTo>
                <a:cubicBezTo>
                  <a:pt x="90" y="23"/>
                  <a:pt x="90" y="23"/>
                  <a:pt x="90" y="23"/>
                </a:cubicBezTo>
                <a:cubicBezTo>
                  <a:pt x="91" y="22"/>
                  <a:pt x="91" y="22"/>
                  <a:pt x="91" y="22"/>
                </a:cubicBezTo>
                <a:cubicBezTo>
                  <a:pt x="92" y="22"/>
                  <a:pt x="92" y="22"/>
                  <a:pt x="92" y="22"/>
                </a:cubicBezTo>
                <a:cubicBezTo>
                  <a:pt x="93" y="23"/>
                  <a:pt x="93" y="23"/>
                  <a:pt x="93" y="23"/>
                </a:cubicBezTo>
                <a:cubicBezTo>
                  <a:pt x="96" y="22"/>
                  <a:pt x="96" y="22"/>
                  <a:pt x="96" y="22"/>
                </a:cubicBezTo>
                <a:cubicBezTo>
                  <a:pt x="98" y="22"/>
                  <a:pt x="98" y="22"/>
                  <a:pt x="98" y="22"/>
                </a:cubicBezTo>
                <a:cubicBezTo>
                  <a:pt x="101" y="21"/>
                  <a:pt x="101" y="21"/>
                  <a:pt x="101" y="21"/>
                </a:cubicBezTo>
                <a:cubicBezTo>
                  <a:pt x="101" y="22"/>
                  <a:pt x="101" y="22"/>
                  <a:pt x="101" y="22"/>
                </a:cubicBezTo>
                <a:cubicBezTo>
                  <a:pt x="102" y="23"/>
                  <a:pt x="102" y="23"/>
                  <a:pt x="102" y="23"/>
                </a:cubicBezTo>
                <a:cubicBezTo>
                  <a:pt x="102" y="24"/>
                  <a:pt x="102" y="24"/>
                  <a:pt x="102" y="24"/>
                </a:cubicBezTo>
                <a:cubicBezTo>
                  <a:pt x="102" y="25"/>
                  <a:pt x="102" y="25"/>
                  <a:pt x="102" y="25"/>
                </a:cubicBezTo>
                <a:cubicBezTo>
                  <a:pt x="103" y="25"/>
                  <a:pt x="103" y="25"/>
                  <a:pt x="103" y="25"/>
                </a:cubicBezTo>
                <a:cubicBezTo>
                  <a:pt x="103" y="24"/>
                  <a:pt x="103" y="24"/>
                  <a:pt x="103" y="24"/>
                </a:cubicBezTo>
                <a:cubicBezTo>
                  <a:pt x="103" y="23"/>
                  <a:pt x="103" y="23"/>
                  <a:pt x="103" y="23"/>
                </a:cubicBezTo>
                <a:cubicBezTo>
                  <a:pt x="103" y="22"/>
                  <a:pt x="103" y="22"/>
                  <a:pt x="103" y="22"/>
                </a:cubicBezTo>
                <a:cubicBezTo>
                  <a:pt x="104" y="20"/>
                  <a:pt x="104" y="20"/>
                  <a:pt x="104" y="20"/>
                </a:cubicBezTo>
                <a:cubicBezTo>
                  <a:pt x="105" y="21"/>
                  <a:pt x="105" y="21"/>
                  <a:pt x="105" y="21"/>
                </a:cubicBezTo>
                <a:cubicBezTo>
                  <a:pt x="106" y="22"/>
                  <a:pt x="106" y="22"/>
                  <a:pt x="106" y="22"/>
                </a:cubicBezTo>
                <a:cubicBezTo>
                  <a:pt x="106" y="23"/>
                  <a:pt x="106" y="23"/>
                  <a:pt x="106" y="23"/>
                </a:cubicBezTo>
                <a:cubicBezTo>
                  <a:pt x="107" y="24"/>
                  <a:pt x="107" y="24"/>
                  <a:pt x="107" y="24"/>
                </a:cubicBezTo>
                <a:cubicBezTo>
                  <a:pt x="107" y="23"/>
                  <a:pt x="107" y="23"/>
                  <a:pt x="107" y="23"/>
                </a:cubicBezTo>
                <a:cubicBezTo>
                  <a:pt x="107" y="21"/>
                  <a:pt x="107" y="21"/>
                  <a:pt x="107" y="21"/>
                </a:cubicBezTo>
                <a:cubicBezTo>
                  <a:pt x="106" y="20"/>
                  <a:pt x="106" y="20"/>
                  <a:pt x="106" y="20"/>
                </a:cubicBezTo>
                <a:cubicBezTo>
                  <a:pt x="106" y="19"/>
                  <a:pt x="106" y="19"/>
                  <a:pt x="106" y="19"/>
                </a:cubicBezTo>
                <a:cubicBezTo>
                  <a:pt x="107" y="19"/>
                  <a:pt x="107" y="19"/>
                  <a:pt x="107" y="19"/>
                </a:cubicBezTo>
                <a:cubicBezTo>
                  <a:pt x="108" y="19"/>
                  <a:pt x="108" y="19"/>
                  <a:pt x="108" y="19"/>
                </a:cubicBezTo>
                <a:cubicBezTo>
                  <a:pt x="109" y="20"/>
                  <a:pt x="109" y="20"/>
                  <a:pt x="109" y="20"/>
                </a:cubicBezTo>
                <a:cubicBezTo>
                  <a:pt x="110" y="19"/>
                  <a:pt x="110" y="19"/>
                  <a:pt x="110" y="19"/>
                </a:cubicBezTo>
                <a:cubicBezTo>
                  <a:pt x="111" y="19"/>
                  <a:pt x="111" y="19"/>
                  <a:pt x="111" y="19"/>
                </a:cubicBezTo>
                <a:cubicBezTo>
                  <a:pt x="113" y="19"/>
                  <a:pt x="113" y="19"/>
                  <a:pt x="113" y="19"/>
                </a:cubicBezTo>
                <a:cubicBezTo>
                  <a:pt x="113" y="20"/>
                  <a:pt x="113" y="20"/>
                  <a:pt x="113" y="20"/>
                </a:cubicBezTo>
                <a:cubicBezTo>
                  <a:pt x="113" y="23"/>
                  <a:pt x="113" y="23"/>
                  <a:pt x="113" y="23"/>
                </a:cubicBezTo>
                <a:cubicBezTo>
                  <a:pt x="112" y="24"/>
                  <a:pt x="112" y="24"/>
                  <a:pt x="112" y="24"/>
                </a:cubicBezTo>
                <a:cubicBezTo>
                  <a:pt x="112" y="25"/>
                  <a:pt x="112" y="25"/>
                  <a:pt x="112" y="25"/>
                </a:cubicBezTo>
                <a:cubicBezTo>
                  <a:pt x="111" y="27"/>
                  <a:pt x="111" y="27"/>
                  <a:pt x="111" y="27"/>
                </a:cubicBezTo>
                <a:cubicBezTo>
                  <a:pt x="111" y="29"/>
                  <a:pt x="111" y="29"/>
                  <a:pt x="111" y="29"/>
                </a:cubicBezTo>
                <a:cubicBezTo>
                  <a:pt x="111" y="29"/>
                  <a:pt x="111" y="29"/>
                  <a:pt x="111" y="29"/>
                </a:cubicBezTo>
                <a:cubicBezTo>
                  <a:pt x="110" y="30"/>
                  <a:pt x="110" y="30"/>
                  <a:pt x="110" y="30"/>
                </a:cubicBezTo>
                <a:cubicBezTo>
                  <a:pt x="110" y="31"/>
                  <a:pt x="110" y="31"/>
                  <a:pt x="110" y="31"/>
                </a:cubicBezTo>
                <a:cubicBezTo>
                  <a:pt x="109" y="31"/>
                  <a:pt x="109" y="31"/>
                  <a:pt x="109" y="31"/>
                </a:cubicBezTo>
                <a:cubicBezTo>
                  <a:pt x="110" y="32"/>
                  <a:pt x="110" y="32"/>
                  <a:pt x="110" y="32"/>
                </a:cubicBezTo>
                <a:cubicBezTo>
                  <a:pt x="110" y="32"/>
                  <a:pt x="110" y="32"/>
                  <a:pt x="110" y="32"/>
                </a:cubicBezTo>
                <a:cubicBezTo>
                  <a:pt x="110" y="33"/>
                  <a:pt x="110" y="33"/>
                  <a:pt x="110" y="33"/>
                </a:cubicBezTo>
                <a:cubicBezTo>
                  <a:pt x="109" y="34"/>
                  <a:pt x="109" y="34"/>
                  <a:pt x="109" y="34"/>
                </a:cubicBezTo>
                <a:cubicBezTo>
                  <a:pt x="108" y="36"/>
                  <a:pt x="108" y="36"/>
                  <a:pt x="108" y="36"/>
                </a:cubicBezTo>
                <a:cubicBezTo>
                  <a:pt x="107" y="36"/>
                  <a:pt x="107" y="36"/>
                  <a:pt x="107" y="36"/>
                </a:cubicBezTo>
                <a:cubicBezTo>
                  <a:pt x="107" y="37"/>
                  <a:pt x="107" y="37"/>
                  <a:pt x="107" y="37"/>
                </a:cubicBezTo>
                <a:cubicBezTo>
                  <a:pt x="106" y="38"/>
                  <a:pt x="106" y="38"/>
                  <a:pt x="106" y="38"/>
                </a:cubicBezTo>
                <a:cubicBezTo>
                  <a:pt x="106" y="39"/>
                  <a:pt x="106" y="39"/>
                  <a:pt x="106" y="39"/>
                </a:cubicBezTo>
                <a:cubicBezTo>
                  <a:pt x="105" y="41"/>
                  <a:pt x="105" y="41"/>
                  <a:pt x="105" y="41"/>
                </a:cubicBezTo>
                <a:cubicBezTo>
                  <a:pt x="106" y="41"/>
                  <a:pt x="106" y="41"/>
                  <a:pt x="106" y="41"/>
                </a:cubicBezTo>
                <a:cubicBezTo>
                  <a:pt x="106" y="41"/>
                  <a:pt x="106" y="41"/>
                  <a:pt x="106" y="41"/>
                </a:cubicBezTo>
                <a:cubicBezTo>
                  <a:pt x="107" y="40"/>
                  <a:pt x="107" y="40"/>
                  <a:pt x="107" y="40"/>
                </a:cubicBezTo>
                <a:cubicBezTo>
                  <a:pt x="108" y="39"/>
                  <a:pt x="108" y="39"/>
                  <a:pt x="108" y="39"/>
                </a:cubicBezTo>
                <a:cubicBezTo>
                  <a:pt x="108" y="38"/>
                  <a:pt x="108" y="38"/>
                  <a:pt x="108" y="38"/>
                </a:cubicBezTo>
                <a:cubicBezTo>
                  <a:pt x="109" y="37"/>
                  <a:pt x="109" y="37"/>
                  <a:pt x="109" y="37"/>
                </a:cubicBezTo>
                <a:cubicBezTo>
                  <a:pt x="110" y="36"/>
                  <a:pt x="110" y="36"/>
                  <a:pt x="110" y="36"/>
                </a:cubicBezTo>
                <a:cubicBezTo>
                  <a:pt x="110" y="35"/>
                  <a:pt x="110" y="35"/>
                  <a:pt x="110" y="35"/>
                </a:cubicBezTo>
                <a:cubicBezTo>
                  <a:pt x="111" y="34"/>
                  <a:pt x="111" y="34"/>
                  <a:pt x="111" y="34"/>
                </a:cubicBezTo>
                <a:cubicBezTo>
                  <a:pt x="112" y="34"/>
                  <a:pt x="112" y="34"/>
                  <a:pt x="112" y="34"/>
                </a:cubicBezTo>
                <a:cubicBezTo>
                  <a:pt x="112" y="33"/>
                  <a:pt x="112" y="33"/>
                  <a:pt x="112" y="33"/>
                </a:cubicBezTo>
                <a:cubicBezTo>
                  <a:pt x="112" y="32"/>
                  <a:pt x="112" y="32"/>
                  <a:pt x="112" y="32"/>
                </a:cubicBezTo>
                <a:cubicBezTo>
                  <a:pt x="113" y="32"/>
                  <a:pt x="113" y="32"/>
                  <a:pt x="113" y="32"/>
                </a:cubicBezTo>
                <a:cubicBezTo>
                  <a:pt x="113" y="30"/>
                  <a:pt x="113" y="30"/>
                  <a:pt x="113" y="30"/>
                </a:cubicBezTo>
                <a:cubicBezTo>
                  <a:pt x="114" y="30"/>
                  <a:pt x="114" y="30"/>
                  <a:pt x="114" y="30"/>
                </a:cubicBezTo>
                <a:cubicBezTo>
                  <a:pt x="114" y="31"/>
                  <a:pt x="114" y="31"/>
                  <a:pt x="114" y="31"/>
                </a:cubicBezTo>
                <a:cubicBezTo>
                  <a:pt x="114" y="32"/>
                  <a:pt x="114" y="32"/>
                  <a:pt x="114" y="32"/>
                </a:cubicBezTo>
                <a:cubicBezTo>
                  <a:pt x="115" y="32"/>
                  <a:pt x="115" y="32"/>
                  <a:pt x="115" y="32"/>
                </a:cubicBezTo>
                <a:cubicBezTo>
                  <a:pt x="115" y="33"/>
                  <a:pt x="115" y="33"/>
                  <a:pt x="115" y="33"/>
                </a:cubicBezTo>
                <a:cubicBezTo>
                  <a:pt x="116" y="35"/>
                  <a:pt x="116" y="35"/>
                  <a:pt x="116" y="35"/>
                </a:cubicBezTo>
                <a:cubicBezTo>
                  <a:pt x="117" y="36"/>
                  <a:pt x="117" y="36"/>
                  <a:pt x="117" y="36"/>
                </a:cubicBezTo>
                <a:cubicBezTo>
                  <a:pt x="117" y="38"/>
                  <a:pt x="117" y="38"/>
                  <a:pt x="117" y="38"/>
                </a:cubicBezTo>
                <a:cubicBezTo>
                  <a:pt x="117" y="38"/>
                  <a:pt x="117" y="38"/>
                  <a:pt x="117" y="38"/>
                </a:cubicBezTo>
                <a:cubicBezTo>
                  <a:pt x="118" y="38"/>
                  <a:pt x="118" y="38"/>
                  <a:pt x="118" y="38"/>
                </a:cubicBezTo>
                <a:cubicBezTo>
                  <a:pt x="119" y="39"/>
                  <a:pt x="119" y="39"/>
                  <a:pt x="119" y="39"/>
                </a:cubicBezTo>
                <a:cubicBezTo>
                  <a:pt x="119" y="39"/>
                  <a:pt x="119" y="39"/>
                  <a:pt x="119" y="39"/>
                </a:cubicBezTo>
                <a:cubicBezTo>
                  <a:pt x="119" y="38"/>
                  <a:pt x="119" y="38"/>
                  <a:pt x="119" y="38"/>
                </a:cubicBezTo>
                <a:cubicBezTo>
                  <a:pt x="120" y="38"/>
                  <a:pt x="120" y="38"/>
                  <a:pt x="120" y="38"/>
                </a:cubicBezTo>
                <a:cubicBezTo>
                  <a:pt x="120" y="37"/>
                  <a:pt x="120" y="37"/>
                  <a:pt x="120" y="37"/>
                </a:cubicBezTo>
                <a:cubicBezTo>
                  <a:pt x="119" y="36"/>
                  <a:pt x="119" y="36"/>
                  <a:pt x="119" y="36"/>
                </a:cubicBezTo>
                <a:cubicBezTo>
                  <a:pt x="119" y="35"/>
                  <a:pt x="119" y="35"/>
                  <a:pt x="119" y="35"/>
                </a:cubicBezTo>
                <a:cubicBezTo>
                  <a:pt x="119" y="35"/>
                  <a:pt x="119" y="35"/>
                  <a:pt x="119" y="35"/>
                </a:cubicBezTo>
                <a:cubicBezTo>
                  <a:pt x="119" y="35"/>
                  <a:pt x="119" y="35"/>
                  <a:pt x="119" y="35"/>
                </a:cubicBezTo>
                <a:cubicBezTo>
                  <a:pt x="120" y="36"/>
                  <a:pt x="120" y="36"/>
                  <a:pt x="120" y="36"/>
                </a:cubicBezTo>
                <a:cubicBezTo>
                  <a:pt x="121" y="36"/>
                  <a:pt x="121" y="36"/>
                  <a:pt x="121" y="36"/>
                </a:cubicBezTo>
                <a:cubicBezTo>
                  <a:pt x="122" y="36"/>
                  <a:pt x="122" y="36"/>
                  <a:pt x="122" y="36"/>
                </a:cubicBezTo>
                <a:cubicBezTo>
                  <a:pt x="122" y="37"/>
                  <a:pt x="122" y="37"/>
                  <a:pt x="122" y="37"/>
                </a:cubicBezTo>
                <a:cubicBezTo>
                  <a:pt x="123" y="37"/>
                  <a:pt x="123" y="37"/>
                  <a:pt x="123" y="37"/>
                </a:cubicBezTo>
                <a:cubicBezTo>
                  <a:pt x="124" y="37"/>
                  <a:pt x="124" y="37"/>
                  <a:pt x="124" y="37"/>
                </a:cubicBezTo>
                <a:cubicBezTo>
                  <a:pt x="124" y="37"/>
                  <a:pt x="124" y="37"/>
                  <a:pt x="124" y="37"/>
                </a:cubicBezTo>
                <a:cubicBezTo>
                  <a:pt x="125" y="37"/>
                  <a:pt x="125" y="37"/>
                  <a:pt x="125" y="37"/>
                </a:cubicBezTo>
                <a:cubicBezTo>
                  <a:pt x="125" y="37"/>
                  <a:pt x="125" y="37"/>
                  <a:pt x="125" y="37"/>
                </a:cubicBezTo>
                <a:cubicBezTo>
                  <a:pt x="125" y="35"/>
                  <a:pt x="125" y="35"/>
                  <a:pt x="125" y="35"/>
                </a:cubicBezTo>
                <a:cubicBezTo>
                  <a:pt x="125" y="34"/>
                  <a:pt x="125" y="34"/>
                  <a:pt x="125" y="34"/>
                </a:cubicBezTo>
                <a:cubicBezTo>
                  <a:pt x="125" y="32"/>
                  <a:pt x="125" y="32"/>
                  <a:pt x="125" y="32"/>
                </a:cubicBezTo>
                <a:cubicBezTo>
                  <a:pt x="126" y="30"/>
                  <a:pt x="126" y="30"/>
                  <a:pt x="126" y="30"/>
                </a:cubicBezTo>
                <a:cubicBezTo>
                  <a:pt x="125" y="30"/>
                  <a:pt x="125" y="30"/>
                  <a:pt x="125" y="30"/>
                </a:cubicBezTo>
                <a:cubicBezTo>
                  <a:pt x="125" y="28"/>
                  <a:pt x="125" y="28"/>
                  <a:pt x="125" y="28"/>
                </a:cubicBezTo>
                <a:cubicBezTo>
                  <a:pt x="125" y="26"/>
                  <a:pt x="125" y="26"/>
                  <a:pt x="125" y="26"/>
                </a:cubicBezTo>
                <a:cubicBezTo>
                  <a:pt x="126" y="24"/>
                  <a:pt x="126" y="24"/>
                  <a:pt x="126" y="24"/>
                </a:cubicBezTo>
                <a:cubicBezTo>
                  <a:pt x="126" y="23"/>
                  <a:pt x="126" y="23"/>
                  <a:pt x="126" y="23"/>
                </a:cubicBezTo>
                <a:cubicBezTo>
                  <a:pt x="126" y="23"/>
                  <a:pt x="126" y="23"/>
                  <a:pt x="126" y="23"/>
                </a:cubicBezTo>
                <a:cubicBezTo>
                  <a:pt x="126" y="22"/>
                  <a:pt x="126" y="22"/>
                  <a:pt x="126" y="22"/>
                </a:cubicBezTo>
                <a:cubicBezTo>
                  <a:pt x="126" y="21"/>
                  <a:pt x="126" y="21"/>
                  <a:pt x="126" y="21"/>
                </a:cubicBezTo>
                <a:cubicBezTo>
                  <a:pt x="126" y="20"/>
                  <a:pt x="126" y="20"/>
                  <a:pt x="126" y="20"/>
                </a:cubicBezTo>
                <a:cubicBezTo>
                  <a:pt x="128" y="20"/>
                  <a:pt x="128" y="20"/>
                  <a:pt x="128" y="20"/>
                </a:cubicBezTo>
                <a:cubicBezTo>
                  <a:pt x="128" y="20"/>
                  <a:pt x="128" y="20"/>
                  <a:pt x="128" y="20"/>
                </a:cubicBezTo>
                <a:cubicBezTo>
                  <a:pt x="129" y="20"/>
                  <a:pt x="129" y="20"/>
                  <a:pt x="129" y="20"/>
                </a:cubicBezTo>
                <a:cubicBezTo>
                  <a:pt x="130" y="21"/>
                  <a:pt x="130" y="21"/>
                  <a:pt x="130" y="21"/>
                </a:cubicBezTo>
                <a:cubicBezTo>
                  <a:pt x="130" y="22"/>
                  <a:pt x="130" y="22"/>
                  <a:pt x="130" y="22"/>
                </a:cubicBezTo>
                <a:cubicBezTo>
                  <a:pt x="131" y="22"/>
                  <a:pt x="131" y="22"/>
                  <a:pt x="131" y="22"/>
                </a:cubicBezTo>
                <a:cubicBezTo>
                  <a:pt x="132" y="23"/>
                  <a:pt x="132" y="23"/>
                  <a:pt x="132" y="23"/>
                </a:cubicBezTo>
                <a:cubicBezTo>
                  <a:pt x="133" y="26"/>
                  <a:pt x="133" y="26"/>
                  <a:pt x="133" y="26"/>
                </a:cubicBezTo>
                <a:cubicBezTo>
                  <a:pt x="133" y="27"/>
                  <a:pt x="133" y="27"/>
                  <a:pt x="133" y="27"/>
                </a:cubicBezTo>
                <a:cubicBezTo>
                  <a:pt x="134" y="29"/>
                  <a:pt x="134" y="29"/>
                  <a:pt x="134" y="29"/>
                </a:cubicBezTo>
                <a:cubicBezTo>
                  <a:pt x="135" y="30"/>
                  <a:pt x="135" y="30"/>
                  <a:pt x="135" y="30"/>
                </a:cubicBezTo>
                <a:cubicBezTo>
                  <a:pt x="135" y="33"/>
                  <a:pt x="135" y="33"/>
                  <a:pt x="135" y="33"/>
                </a:cubicBezTo>
                <a:cubicBezTo>
                  <a:pt x="135" y="34"/>
                  <a:pt x="135" y="34"/>
                  <a:pt x="135" y="34"/>
                </a:cubicBezTo>
                <a:cubicBezTo>
                  <a:pt x="134" y="34"/>
                  <a:pt x="134" y="34"/>
                  <a:pt x="134" y="34"/>
                </a:cubicBezTo>
                <a:cubicBezTo>
                  <a:pt x="134" y="35"/>
                  <a:pt x="134" y="35"/>
                  <a:pt x="134" y="35"/>
                </a:cubicBezTo>
                <a:cubicBezTo>
                  <a:pt x="134" y="37"/>
                  <a:pt x="134" y="37"/>
                  <a:pt x="134" y="37"/>
                </a:cubicBezTo>
                <a:cubicBezTo>
                  <a:pt x="135" y="37"/>
                  <a:pt x="135" y="37"/>
                  <a:pt x="135" y="37"/>
                </a:cubicBezTo>
                <a:cubicBezTo>
                  <a:pt x="136" y="39"/>
                  <a:pt x="136" y="39"/>
                  <a:pt x="136" y="39"/>
                </a:cubicBezTo>
                <a:cubicBezTo>
                  <a:pt x="136" y="41"/>
                  <a:pt x="136" y="41"/>
                  <a:pt x="136" y="41"/>
                </a:cubicBezTo>
                <a:cubicBezTo>
                  <a:pt x="136" y="42"/>
                  <a:pt x="136" y="42"/>
                  <a:pt x="136" y="42"/>
                </a:cubicBezTo>
                <a:cubicBezTo>
                  <a:pt x="136" y="43"/>
                  <a:pt x="136" y="43"/>
                  <a:pt x="136" y="43"/>
                </a:cubicBezTo>
                <a:cubicBezTo>
                  <a:pt x="137" y="43"/>
                  <a:pt x="137" y="43"/>
                  <a:pt x="137" y="43"/>
                </a:cubicBezTo>
                <a:cubicBezTo>
                  <a:pt x="139" y="44"/>
                  <a:pt x="139" y="44"/>
                  <a:pt x="139" y="44"/>
                </a:cubicBezTo>
                <a:cubicBezTo>
                  <a:pt x="140" y="44"/>
                  <a:pt x="140" y="44"/>
                  <a:pt x="140" y="44"/>
                </a:cubicBezTo>
                <a:cubicBezTo>
                  <a:pt x="141" y="43"/>
                  <a:pt x="141" y="43"/>
                  <a:pt x="141" y="43"/>
                </a:cubicBezTo>
                <a:cubicBezTo>
                  <a:pt x="142" y="42"/>
                  <a:pt x="142" y="42"/>
                  <a:pt x="142" y="42"/>
                </a:cubicBezTo>
                <a:cubicBezTo>
                  <a:pt x="142" y="41"/>
                  <a:pt x="142" y="41"/>
                  <a:pt x="142" y="41"/>
                </a:cubicBezTo>
                <a:cubicBezTo>
                  <a:pt x="143" y="41"/>
                  <a:pt x="143" y="41"/>
                  <a:pt x="143" y="41"/>
                </a:cubicBezTo>
                <a:cubicBezTo>
                  <a:pt x="143" y="42"/>
                  <a:pt x="143" y="42"/>
                  <a:pt x="143" y="42"/>
                </a:cubicBezTo>
                <a:cubicBezTo>
                  <a:pt x="143" y="43"/>
                  <a:pt x="143" y="43"/>
                  <a:pt x="143" y="43"/>
                </a:cubicBezTo>
                <a:cubicBezTo>
                  <a:pt x="143" y="43"/>
                  <a:pt x="143" y="43"/>
                  <a:pt x="143" y="43"/>
                </a:cubicBezTo>
                <a:cubicBezTo>
                  <a:pt x="144" y="42"/>
                  <a:pt x="144" y="42"/>
                  <a:pt x="144" y="42"/>
                </a:cubicBezTo>
                <a:cubicBezTo>
                  <a:pt x="145" y="43"/>
                  <a:pt x="145" y="43"/>
                  <a:pt x="145" y="43"/>
                </a:cubicBezTo>
                <a:cubicBezTo>
                  <a:pt x="145" y="43"/>
                  <a:pt x="145" y="43"/>
                  <a:pt x="145" y="43"/>
                </a:cubicBezTo>
                <a:cubicBezTo>
                  <a:pt x="145" y="44"/>
                  <a:pt x="145" y="44"/>
                  <a:pt x="145" y="44"/>
                </a:cubicBezTo>
                <a:cubicBezTo>
                  <a:pt x="146" y="45"/>
                  <a:pt x="146" y="45"/>
                  <a:pt x="146" y="45"/>
                </a:cubicBezTo>
                <a:cubicBezTo>
                  <a:pt x="147" y="45"/>
                  <a:pt x="147" y="45"/>
                  <a:pt x="147" y="45"/>
                </a:cubicBezTo>
                <a:cubicBezTo>
                  <a:pt x="147" y="45"/>
                  <a:pt x="147" y="45"/>
                  <a:pt x="147" y="45"/>
                </a:cubicBezTo>
                <a:cubicBezTo>
                  <a:pt x="148" y="45"/>
                  <a:pt x="148" y="45"/>
                  <a:pt x="148" y="45"/>
                </a:cubicBezTo>
                <a:cubicBezTo>
                  <a:pt x="149" y="45"/>
                  <a:pt x="149" y="45"/>
                  <a:pt x="149" y="45"/>
                </a:cubicBezTo>
                <a:cubicBezTo>
                  <a:pt x="148" y="45"/>
                  <a:pt x="148" y="45"/>
                  <a:pt x="148" y="45"/>
                </a:cubicBezTo>
                <a:cubicBezTo>
                  <a:pt x="147" y="44"/>
                  <a:pt x="147" y="44"/>
                  <a:pt x="147" y="44"/>
                </a:cubicBezTo>
                <a:cubicBezTo>
                  <a:pt x="147" y="43"/>
                  <a:pt x="147" y="43"/>
                  <a:pt x="147" y="43"/>
                </a:cubicBezTo>
                <a:cubicBezTo>
                  <a:pt x="147" y="42"/>
                  <a:pt x="147" y="42"/>
                  <a:pt x="147" y="42"/>
                </a:cubicBezTo>
                <a:cubicBezTo>
                  <a:pt x="146" y="42"/>
                  <a:pt x="146" y="42"/>
                  <a:pt x="146" y="42"/>
                </a:cubicBezTo>
                <a:cubicBezTo>
                  <a:pt x="146" y="42"/>
                  <a:pt x="146" y="42"/>
                  <a:pt x="146" y="42"/>
                </a:cubicBezTo>
                <a:cubicBezTo>
                  <a:pt x="146" y="41"/>
                  <a:pt x="146" y="41"/>
                  <a:pt x="146" y="41"/>
                </a:cubicBezTo>
                <a:cubicBezTo>
                  <a:pt x="145" y="40"/>
                  <a:pt x="145" y="40"/>
                  <a:pt x="145" y="40"/>
                </a:cubicBezTo>
                <a:cubicBezTo>
                  <a:pt x="144" y="39"/>
                  <a:pt x="144" y="39"/>
                  <a:pt x="144" y="39"/>
                </a:cubicBezTo>
                <a:cubicBezTo>
                  <a:pt x="144" y="38"/>
                  <a:pt x="144" y="38"/>
                  <a:pt x="144" y="38"/>
                </a:cubicBezTo>
                <a:cubicBezTo>
                  <a:pt x="143" y="36"/>
                  <a:pt x="143" y="36"/>
                  <a:pt x="143" y="36"/>
                </a:cubicBezTo>
                <a:cubicBezTo>
                  <a:pt x="143" y="35"/>
                  <a:pt x="143" y="35"/>
                  <a:pt x="143" y="35"/>
                </a:cubicBezTo>
                <a:cubicBezTo>
                  <a:pt x="143" y="35"/>
                  <a:pt x="143" y="35"/>
                  <a:pt x="143" y="35"/>
                </a:cubicBezTo>
                <a:cubicBezTo>
                  <a:pt x="143" y="33"/>
                  <a:pt x="143" y="33"/>
                  <a:pt x="143" y="33"/>
                </a:cubicBezTo>
                <a:cubicBezTo>
                  <a:pt x="143" y="32"/>
                  <a:pt x="143" y="32"/>
                  <a:pt x="143" y="32"/>
                </a:cubicBezTo>
                <a:cubicBezTo>
                  <a:pt x="142" y="30"/>
                  <a:pt x="142" y="30"/>
                  <a:pt x="142" y="30"/>
                </a:cubicBezTo>
                <a:cubicBezTo>
                  <a:pt x="142" y="29"/>
                  <a:pt x="142" y="29"/>
                  <a:pt x="142" y="29"/>
                </a:cubicBezTo>
                <a:cubicBezTo>
                  <a:pt x="142" y="29"/>
                  <a:pt x="142" y="29"/>
                  <a:pt x="142" y="29"/>
                </a:cubicBezTo>
                <a:cubicBezTo>
                  <a:pt x="142" y="27"/>
                  <a:pt x="142" y="27"/>
                  <a:pt x="142" y="27"/>
                </a:cubicBezTo>
                <a:cubicBezTo>
                  <a:pt x="141" y="26"/>
                  <a:pt x="141" y="26"/>
                  <a:pt x="141" y="26"/>
                </a:cubicBezTo>
                <a:cubicBezTo>
                  <a:pt x="141" y="25"/>
                  <a:pt x="141" y="25"/>
                  <a:pt x="141" y="25"/>
                </a:cubicBezTo>
                <a:cubicBezTo>
                  <a:pt x="141" y="23"/>
                  <a:pt x="141" y="23"/>
                  <a:pt x="141" y="23"/>
                </a:cubicBezTo>
                <a:cubicBezTo>
                  <a:pt x="140" y="22"/>
                  <a:pt x="140" y="22"/>
                  <a:pt x="140" y="22"/>
                </a:cubicBezTo>
                <a:cubicBezTo>
                  <a:pt x="141" y="21"/>
                  <a:pt x="141" y="21"/>
                  <a:pt x="141" y="21"/>
                </a:cubicBezTo>
                <a:cubicBezTo>
                  <a:pt x="140" y="20"/>
                  <a:pt x="140" y="20"/>
                  <a:pt x="140" y="20"/>
                </a:cubicBezTo>
                <a:cubicBezTo>
                  <a:pt x="140" y="19"/>
                  <a:pt x="140" y="19"/>
                  <a:pt x="140" y="19"/>
                </a:cubicBezTo>
                <a:cubicBezTo>
                  <a:pt x="140" y="18"/>
                  <a:pt x="140" y="18"/>
                  <a:pt x="140" y="18"/>
                </a:cubicBezTo>
                <a:cubicBezTo>
                  <a:pt x="142" y="19"/>
                  <a:pt x="142" y="19"/>
                  <a:pt x="142" y="19"/>
                </a:cubicBezTo>
                <a:cubicBezTo>
                  <a:pt x="143" y="19"/>
                  <a:pt x="143" y="19"/>
                  <a:pt x="143" y="19"/>
                </a:cubicBezTo>
                <a:cubicBezTo>
                  <a:pt x="144" y="19"/>
                  <a:pt x="144" y="19"/>
                  <a:pt x="144" y="19"/>
                </a:cubicBezTo>
                <a:cubicBezTo>
                  <a:pt x="144" y="19"/>
                  <a:pt x="144" y="19"/>
                  <a:pt x="144" y="19"/>
                </a:cubicBezTo>
                <a:cubicBezTo>
                  <a:pt x="145" y="19"/>
                  <a:pt x="145" y="19"/>
                  <a:pt x="145" y="19"/>
                </a:cubicBezTo>
                <a:cubicBezTo>
                  <a:pt x="147" y="21"/>
                  <a:pt x="147" y="21"/>
                  <a:pt x="147" y="21"/>
                </a:cubicBezTo>
                <a:cubicBezTo>
                  <a:pt x="148" y="22"/>
                  <a:pt x="148" y="22"/>
                  <a:pt x="148" y="22"/>
                </a:cubicBezTo>
                <a:cubicBezTo>
                  <a:pt x="149" y="21"/>
                  <a:pt x="149" y="21"/>
                  <a:pt x="149" y="21"/>
                </a:cubicBezTo>
                <a:cubicBezTo>
                  <a:pt x="149" y="20"/>
                  <a:pt x="149" y="20"/>
                  <a:pt x="149" y="20"/>
                </a:cubicBezTo>
                <a:cubicBezTo>
                  <a:pt x="148" y="20"/>
                  <a:pt x="148" y="20"/>
                  <a:pt x="148" y="20"/>
                </a:cubicBezTo>
                <a:cubicBezTo>
                  <a:pt x="149" y="18"/>
                  <a:pt x="149" y="18"/>
                  <a:pt x="149" y="18"/>
                </a:cubicBezTo>
                <a:cubicBezTo>
                  <a:pt x="150" y="18"/>
                  <a:pt x="150" y="18"/>
                  <a:pt x="150" y="18"/>
                </a:cubicBezTo>
                <a:cubicBezTo>
                  <a:pt x="151" y="18"/>
                  <a:pt x="151" y="18"/>
                  <a:pt x="151" y="18"/>
                </a:cubicBezTo>
                <a:cubicBezTo>
                  <a:pt x="152" y="18"/>
                  <a:pt x="152" y="18"/>
                  <a:pt x="152" y="18"/>
                </a:cubicBezTo>
                <a:cubicBezTo>
                  <a:pt x="153" y="17"/>
                  <a:pt x="153" y="17"/>
                  <a:pt x="153" y="17"/>
                </a:cubicBezTo>
                <a:cubicBezTo>
                  <a:pt x="154" y="17"/>
                  <a:pt x="154" y="17"/>
                  <a:pt x="154" y="17"/>
                </a:cubicBezTo>
                <a:cubicBezTo>
                  <a:pt x="155" y="18"/>
                  <a:pt x="155" y="18"/>
                  <a:pt x="155" y="18"/>
                </a:cubicBezTo>
                <a:cubicBezTo>
                  <a:pt x="156" y="18"/>
                  <a:pt x="156" y="18"/>
                  <a:pt x="156" y="18"/>
                </a:cubicBezTo>
                <a:cubicBezTo>
                  <a:pt x="157" y="19"/>
                  <a:pt x="157" y="19"/>
                  <a:pt x="157" y="19"/>
                </a:cubicBezTo>
                <a:cubicBezTo>
                  <a:pt x="157" y="21"/>
                  <a:pt x="157" y="21"/>
                  <a:pt x="157" y="21"/>
                </a:cubicBezTo>
                <a:cubicBezTo>
                  <a:pt x="157" y="21"/>
                  <a:pt x="157" y="21"/>
                  <a:pt x="157" y="21"/>
                </a:cubicBezTo>
                <a:cubicBezTo>
                  <a:pt x="159" y="23"/>
                  <a:pt x="159" y="23"/>
                  <a:pt x="159" y="23"/>
                </a:cubicBezTo>
                <a:cubicBezTo>
                  <a:pt x="159" y="24"/>
                  <a:pt x="159" y="24"/>
                  <a:pt x="159" y="24"/>
                </a:cubicBezTo>
                <a:cubicBezTo>
                  <a:pt x="158" y="25"/>
                  <a:pt x="158" y="25"/>
                  <a:pt x="158" y="25"/>
                </a:cubicBezTo>
                <a:cubicBezTo>
                  <a:pt x="159" y="27"/>
                  <a:pt x="159" y="27"/>
                  <a:pt x="159" y="27"/>
                </a:cubicBezTo>
                <a:cubicBezTo>
                  <a:pt x="159" y="28"/>
                  <a:pt x="159" y="28"/>
                  <a:pt x="159" y="28"/>
                </a:cubicBezTo>
                <a:cubicBezTo>
                  <a:pt x="159" y="29"/>
                  <a:pt x="159" y="29"/>
                  <a:pt x="159" y="29"/>
                </a:cubicBezTo>
                <a:cubicBezTo>
                  <a:pt x="160" y="30"/>
                  <a:pt x="160" y="30"/>
                  <a:pt x="160" y="30"/>
                </a:cubicBezTo>
                <a:cubicBezTo>
                  <a:pt x="162" y="30"/>
                  <a:pt x="162" y="30"/>
                  <a:pt x="162" y="30"/>
                </a:cubicBezTo>
                <a:cubicBezTo>
                  <a:pt x="163" y="31"/>
                  <a:pt x="163" y="31"/>
                  <a:pt x="163" y="31"/>
                </a:cubicBezTo>
                <a:cubicBezTo>
                  <a:pt x="165" y="32"/>
                  <a:pt x="165" y="32"/>
                  <a:pt x="165" y="32"/>
                </a:cubicBezTo>
                <a:cubicBezTo>
                  <a:pt x="164" y="31"/>
                  <a:pt x="164" y="31"/>
                  <a:pt x="164" y="31"/>
                </a:cubicBezTo>
                <a:cubicBezTo>
                  <a:pt x="164" y="31"/>
                  <a:pt x="164" y="31"/>
                  <a:pt x="164" y="31"/>
                </a:cubicBezTo>
                <a:cubicBezTo>
                  <a:pt x="163" y="30"/>
                  <a:pt x="163" y="30"/>
                  <a:pt x="163" y="30"/>
                </a:cubicBezTo>
                <a:cubicBezTo>
                  <a:pt x="162" y="29"/>
                  <a:pt x="162" y="29"/>
                  <a:pt x="162" y="29"/>
                </a:cubicBezTo>
                <a:cubicBezTo>
                  <a:pt x="161" y="29"/>
                  <a:pt x="161" y="29"/>
                  <a:pt x="161" y="29"/>
                </a:cubicBezTo>
                <a:cubicBezTo>
                  <a:pt x="160" y="28"/>
                  <a:pt x="160" y="28"/>
                  <a:pt x="160" y="28"/>
                </a:cubicBezTo>
                <a:cubicBezTo>
                  <a:pt x="160" y="27"/>
                  <a:pt x="160" y="27"/>
                  <a:pt x="160" y="27"/>
                </a:cubicBezTo>
                <a:cubicBezTo>
                  <a:pt x="160" y="26"/>
                  <a:pt x="160" y="26"/>
                  <a:pt x="160" y="26"/>
                </a:cubicBezTo>
                <a:cubicBezTo>
                  <a:pt x="159" y="25"/>
                  <a:pt x="159" y="25"/>
                  <a:pt x="159" y="25"/>
                </a:cubicBezTo>
                <a:cubicBezTo>
                  <a:pt x="159" y="24"/>
                  <a:pt x="159" y="24"/>
                  <a:pt x="159" y="24"/>
                </a:cubicBezTo>
                <a:cubicBezTo>
                  <a:pt x="160" y="22"/>
                  <a:pt x="160" y="22"/>
                  <a:pt x="160" y="22"/>
                </a:cubicBezTo>
                <a:cubicBezTo>
                  <a:pt x="160" y="21"/>
                  <a:pt x="160" y="21"/>
                  <a:pt x="160" y="21"/>
                </a:cubicBezTo>
                <a:cubicBezTo>
                  <a:pt x="160" y="20"/>
                  <a:pt x="160" y="20"/>
                  <a:pt x="160" y="20"/>
                </a:cubicBezTo>
                <a:cubicBezTo>
                  <a:pt x="160" y="19"/>
                  <a:pt x="160" y="19"/>
                  <a:pt x="160" y="19"/>
                </a:cubicBezTo>
                <a:cubicBezTo>
                  <a:pt x="159" y="19"/>
                  <a:pt x="159" y="19"/>
                  <a:pt x="159" y="19"/>
                </a:cubicBezTo>
                <a:cubicBezTo>
                  <a:pt x="158" y="18"/>
                  <a:pt x="158" y="18"/>
                  <a:pt x="158" y="18"/>
                </a:cubicBezTo>
                <a:cubicBezTo>
                  <a:pt x="157" y="16"/>
                  <a:pt x="157" y="16"/>
                  <a:pt x="157" y="16"/>
                </a:cubicBezTo>
                <a:cubicBezTo>
                  <a:pt x="156" y="16"/>
                  <a:pt x="156" y="16"/>
                  <a:pt x="156" y="16"/>
                </a:cubicBezTo>
                <a:cubicBezTo>
                  <a:pt x="155" y="16"/>
                  <a:pt x="155" y="16"/>
                  <a:pt x="155" y="16"/>
                </a:cubicBezTo>
                <a:cubicBezTo>
                  <a:pt x="154" y="17"/>
                  <a:pt x="154" y="17"/>
                  <a:pt x="154" y="17"/>
                </a:cubicBezTo>
                <a:cubicBezTo>
                  <a:pt x="153" y="17"/>
                  <a:pt x="153" y="17"/>
                  <a:pt x="153" y="17"/>
                </a:cubicBezTo>
                <a:cubicBezTo>
                  <a:pt x="152" y="16"/>
                  <a:pt x="152" y="16"/>
                  <a:pt x="152" y="16"/>
                </a:cubicBezTo>
                <a:cubicBezTo>
                  <a:pt x="152" y="14"/>
                  <a:pt x="152" y="14"/>
                  <a:pt x="152" y="14"/>
                </a:cubicBezTo>
                <a:cubicBezTo>
                  <a:pt x="153" y="13"/>
                  <a:pt x="153" y="13"/>
                  <a:pt x="153" y="13"/>
                </a:cubicBezTo>
                <a:cubicBezTo>
                  <a:pt x="154" y="13"/>
                  <a:pt x="154" y="13"/>
                  <a:pt x="154" y="13"/>
                </a:cubicBezTo>
                <a:cubicBezTo>
                  <a:pt x="154" y="12"/>
                  <a:pt x="154" y="12"/>
                  <a:pt x="154" y="12"/>
                </a:cubicBezTo>
                <a:cubicBezTo>
                  <a:pt x="152" y="11"/>
                  <a:pt x="152" y="11"/>
                  <a:pt x="152" y="11"/>
                </a:cubicBezTo>
                <a:cubicBezTo>
                  <a:pt x="152" y="10"/>
                  <a:pt x="152" y="10"/>
                  <a:pt x="152" y="10"/>
                </a:cubicBezTo>
                <a:cubicBezTo>
                  <a:pt x="152" y="9"/>
                  <a:pt x="152" y="9"/>
                  <a:pt x="152" y="9"/>
                </a:cubicBezTo>
                <a:cubicBezTo>
                  <a:pt x="152" y="8"/>
                  <a:pt x="152" y="8"/>
                  <a:pt x="152" y="8"/>
                </a:cubicBezTo>
                <a:cubicBezTo>
                  <a:pt x="153" y="8"/>
                  <a:pt x="153" y="8"/>
                  <a:pt x="153" y="8"/>
                </a:cubicBezTo>
                <a:cubicBezTo>
                  <a:pt x="154" y="9"/>
                  <a:pt x="154" y="9"/>
                  <a:pt x="154" y="9"/>
                </a:cubicBezTo>
                <a:cubicBezTo>
                  <a:pt x="154" y="10"/>
                  <a:pt x="154" y="10"/>
                  <a:pt x="154" y="10"/>
                </a:cubicBezTo>
                <a:cubicBezTo>
                  <a:pt x="155" y="10"/>
                  <a:pt x="155" y="10"/>
                  <a:pt x="155" y="10"/>
                </a:cubicBezTo>
                <a:cubicBezTo>
                  <a:pt x="156" y="8"/>
                  <a:pt x="156" y="8"/>
                  <a:pt x="156" y="8"/>
                </a:cubicBezTo>
                <a:cubicBezTo>
                  <a:pt x="157" y="8"/>
                  <a:pt x="157" y="8"/>
                  <a:pt x="157" y="8"/>
                </a:cubicBezTo>
                <a:cubicBezTo>
                  <a:pt x="158" y="7"/>
                  <a:pt x="158" y="7"/>
                  <a:pt x="158" y="7"/>
                </a:cubicBezTo>
                <a:cubicBezTo>
                  <a:pt x="158" y="6"/>
                  <a:pt x="158" y="6"/>
                  <a:pt x="158" y="6"/>
                </a:cubicBezTo>
                <a:cubicBezTo>
                  <a:pt x="159" y="5"/>
                  <a:pt x="159" y="5"/>
                  <a:pt x="159" y="5"/>
                </a:cubicBezTo>
                <a:cubicBezTo>
                  <a:pt x="161" y="5"/>
                  <a:pt x="161" y="5"/>
                  <a:pt x="161" y="5"/>
                </a:cubicBezTo>
                <a:cubicBezTo>
                  <a:pt x="160" y="6"/>
                  <a:pt x="160" y="6"/>
                  <a:pt x="160" y="6"/>
                </a:cubicBezTo>
                <a:cubicBezTo>
                  <a:pt x="159" y="7"/>
                  <a:pt x="159" y="7"/>
                  <a:pt x="159" y="7"/>
                </a:cubicBezTo>
                <a:cubicBezTo>
                  <a:pt x="160" y="7"/>
                  <a:pt x="160" y="7"/>
                  <a:pt x="160" y="7"/>
                </a:cubicBezTo>
                <a:cubicBezTo>
                  <a:pt x="161" y="7"/>
                  <a:pt x="161" y="7"/>
                  <a:pt x="161" y="7"/>
                </a:cubicBezTo>
                <a:cubicBezTo>
                  <a:pt x="162" y="7"/>
                  <a:pt x="162" y="7"/>
                  <a:pt x="162" y="7"/>
                </a:cubicBezTo>
                <a:cubicBezTo>
                  <a:pt x="162" y="7"/>
                  <a:pt x="162" y="7"/>
                  <a:pt x="162" y="7"/>
                </a:cubicBezTo>
                <a:cubicBezTo>
                  <a:pt x="162" y="8"/>
                  <a:pt x="162" y="8"/>
                  <a:pt x="162" y="8"/>
                </a:cubicBezTo>
                <a:cubicBezTo>
                  <a:pt x="163" y="9"/>
                  <a:pt x="163" y="9"/>
                  <a:pt x="163" y="9"/>
                </a:cubicBezTo>
                <a:cubicBezTo>
                  <a:pt x="163" y="9"/>
                  <a:pt x="163" y="9"/>
                  <a:pt x="163" y="9"/>
                </a:cubicBezTo>
                <a:cubicBezTo>
                  <a:pt x="162" y="10"/>
                  <a:pt x="162" y="10"/>
                  <a:pt x="162" y="10"/>
                </a:cubicBezTo>
                <a:cubicBezTo>
                  <a:pt x="163" y="11"/>
                  <a:pt x="163" y="11"/>
                  <a:pt x="163" y="11"/>
                </a:cubicBezTo>
                <a:cubicBezTo>
                  <a:pt x="163" y="10"/>
                  <a:pt x="163" y="10"/>
                  <a:pt x="163" y="10"/>
                </a:cubicBezTo>
                <a:cubicBezTo>
                  <a:pt x="164" y="9"/>
                  <a:pt x="164" y="9"/>
                  <a:pt x="164" y="9"/>
                </a:cubicBezTo>
                <a:cubicBezTo>
                  <a:pt x="166" y="9"/>
                  <a:pt x="166" y="9"/>
                  <a:pt x="166" y="9"/>
                </a:cubicBezTo>
                <a:cubicBezTo>
                  <a:pt x="166" y="10"/>
                  <a:pt x="166" y="10"/>
                  <a:pt x="166" y="10"/>
                </a:cubicBezTo>
                <a:cubicBezTo>
                  <a:pt x="166" y="11"/>
                  <a:pt x="166" y="11"/>
                  <a:pt x="166" y="11"/>
                </a:cubicBezTo>
                <a:cubicBezTo>
                  <a:pt x="167" y="13"/>
                  <a:pt x="167" y="13"/>
                  <a:pt x="167" y="13"/>
                </a:cubicBezTo>
                <a:cubicBezTo>
                  <a:pt x="168" y="14"/>
                  <a:pt x="168" y="14"/>
                  <a:pt x="168" y="14"/>
                </a:cubicBezTo>
                <a:cubicBezTo>
                  <a:pt x="168" y="16"/>
                  <a:pt x="168" y="16"/>
                  <a:pt x="168" y="16"/>
                </a:cubicBezTo>
                <a:cubicBezTo>
                  <a:pt x="168" y="15"/>
                  <a:pt x="168" y="15"/>
                  <a:pt x="168" y="15"/>
                </a:cubicBezTo>
                <a:cubicBezTo>
                  <a:pt x="169" y="14"/>
                  <a:pt x="169" y="14"/>
                  <a:pt x="169" y="14"/>
                </a:cubicBezTo>
                <a:cubicBezTo>
                  <a:pt x="168" y="13"/>
                  <a:pt x="168" y="13"/>
                  <a:pt x="168" y="13"/>
                </a:cubicBezTo>
                <a:cubicBezTo>
                  <a:pt x="168" y="12"/>
                  <a:pt x="168" y="12"/>
                  <a:pt x="168" y="12"/>
                </a:cubicBezTo>
                <a:cubicBezTo>
                  <a:pt x="168" y="11"/>
                  <a:pt x="168" y="11"/>
                  <a:pt x="168" y="11"/>
                </a:cubicBezTo>
                <a:cubicBezTo>
                  <a:pt x="167" y="10"/>
                  <a:pt x="167" y="10"/>
                  <a:pt x="167" y="10"/>
                </a:cubicBezTo>
                <a:cubicBezTo>
                  <a:pt x="168" y="10"/>
                  <a:pt x="168" y="10"/>
                  <a:pt x="168" y="10"/>
                </a:cubicBezTo>
                <a:cubicBezTo>
                  <a:pt x="168" y="10"/>
                  <a:pt x="168" y="10"/>
                  <a:pt x="168" y="10"/>
                </a:cubicBezTo>
                <a:cubicBezTo>
                  <a:pt x="170" y="12"/>
                  <a:pt x="170" y="12"/>
                  <a:pt x="170" y="12"/>
                </a:cubicBezTo>
                <a:cubicBezTo>
                  <a:pt x="171" y="14"/>
                  <a:pt x="171" y="14"/>
                  <a:pt x="171" y="14"/>
                </a:cubicBezTo>
                <a:cubicBezTo>
                  <a:pt x="173" y="15"/>
                  <a:pt x="173" y="15"/>
                  <a:pt x="173" y="15"/>
                </a:cubicBezTo>
                <a:cubicBezTo>
                  <a:pt x="174" y="15"/>
                  <a:pt x="174" y="15"/>
                  <a:pt x="174" y="15"/>
                </a:cubicBezTo>
                <a:cubicBezTo>
                  <a:pt x="174" y="14"/>
                  <a:pt x="174" y="14"/>
                  <a:pt x="174" y="14"/>
                </a:cubicBezTo>
                <a:cubicBezTo>
                  <a:pt x="174" y="14"/>
                  <a:pt x="174" y="14"/>
                  <a:pt x="174" y="14"/>
                </a:cubicBezTo>
                <a:cubicBezTo>
                  <a:pt x="172" y="13"/>
                  <a:pt x="172" y="13"/>
                  <a:pt x="172" y="13"/>
                </a:cubicBezTo>
                <a:cubicBezTo>
                  <a:pt x="171" y="11"/>
                  <a:pt x="171" y="11"/>
                  <a:pt x="171" y="11"/>
                </a:cubicBezTo>
                <a:cubicBezTo>
                  <a:pt x="171" y="10"/>
                  <a:pt x="171" y="10"/>
                  <a:pt x="171" y="10"/>
                </a:cubicBezTo>
                <a:cubicBezTo>
                  <a:pt x="171" y="8"/>
                  <a:pt x="171" y="8"/>
                  <a:pt x="171" y="8"/>
                </a:cubicBezTo>
                <a:cubicBezTo>
                  <a:pt x="173" y="8"/>
                  <a:pt x="173" y="8"/>
                  <a:pt x="173" y="8"/>
                </a:cubicBezTo>
                <a:cubicBezTo>
                  <a:pt x="174" y="8"/>
                  <a:pt x="174" y="8"/>
                  <a:pt x="174" y="8"/>
                </a:cubicBezTo>
                <a:cubicBezTo>
                  <a:pt x="175" y="9"/>
                  <a:pt x="175" y="9"/>
                  <a:pt x="175" y="9"/>
                </a:cubicBezTo>
                <a:cubicBezTo>
                  <a:pt x="177" y="9"/>
                  <a:pt x="177" y="9"/>
                  <a:pt x="177" y="9"/>
                </a:cubicBezTo>
                <a:cubicBezTo>
                  <a:pt x="177" y="9"/>
                  <a:pt x="177" y="9"/>
                  <a:pt x="177" y="9"/>
                </a:cubicBezTo>
                <a:cubicBezTo>
                  <a:pt x="177" y="8"/>
                  <a:pt x="177" y="8"/>
                  <a:pt x="177" y="8"/>
                </a:cubicBezTo>
                <a:cubicBezTo>
                  <a:pt x="176" y="8"/>
                  <a:pt x="176" y="8"/>
                  <a:pt x="176" y="8"/>
                </a:cubicBezTo>
                <a:cubicBezTo>
                  <a:pt x="176" y="7"/>
                  <a:pt x="176" y="7"/>
                  <a:pt x="176" y="7"/>
                </a:cubicBezTo>
                <a:cubicBezTo>
                  <a:pt x="177" y="6"/>
                  <a:pt x="177" y="6"/>
                  <a:pt x="177" y="6"/>
                </a:cubicBezTo>
                <a:cubicBezTo>
                  <a:pt x="178" y="5"/>
                  <a:pt x="178" y="5"/>
                  <a:pt x="178" y="5"/>
                </a:cubicBezTo>
                <a:cubicBezTo>
                  <a:pt x="177" y="4"/>
                  <a:pt x="177" y="4"/>
                  <a:pt x="177" y="4"/>
                </a:cubicBezTo>
                <a:cubicBezTo>
                  <a:pt x="177" y="3"/>
                  <a:pt x="177" y="3"/>
                  <a:pt x="177" y="3"/>
                </a:cubicBezTo>
                <a:cubicBezTo>
                  <a:pt x="177" y="2"/>
                  <a:pt x="177" y="2"/>
                  <a:pt x="177" y="2"/>
                </a:cubicBezTo>
                <a:cubicBezTo>
                  <a:pt x="178" y="2"/>
                  <a:pt x="178" y="2"/>
                  <a:pt x="178" y="2"/>
                </a:cubicBezTo>
                <a:cubicBezTo>
                  <a:pt x="179" y="2"/>
                  <a:pt x="179" y="2"/>
                  <a:pt x="179" y="2"/>
                </a:cubicBezTo>
                <a:cubicBezTo>
                  <a:pt x="179" y="2"/>
                  <a:pt x="179" y="2"/>
                  <a:pt x="179" y="2"/>
                </a:cubicBezTo>
                <a:cubicBezTo>
                  <a:pt x="180" y="1"/>
                  <a:pt x="180" y="1"/>
                  <a:pt x="180" y="1"/>
                </a:cubicBezTo>
                <a:cubicBezTo>
                  <a:pt x="180" y="0"/>
                  <a:pt x="180" y="0"/>
                  <a:pt x="180" y="0"/>
                </a:cubicBezTo>
                <a:cubicBezTo>
                  <a:pt x="181" y="0"/>
                  <a:pt x="181" y="0"/>
                  <a:pt x="181" y="0"/>
                </a:cubicBezTo>
                <a:cubicBezTo>
                  <a:pt x="181" y="1"/>
                  <a:pt x="181" y="1"/>
                  <a:pt x="181" y="1"/>
                </a:cubicBezTo>
                <a:cubicBezTo>
                  <a:pt x="182" y="1"/>
                  <a:pt x="182" y="1"/>
                  <a:pt x="182" y="1"/>
                </a:cubicBezTo>
                <a:cubicBezTo>
                  <a:pt x="182" y="2"/>
                  <a:pt x="182" y="2"/>
                  <a:pt x="182" y="2"/>
                </a:cubicBezTo>
                <a:cubicBezTo>
                  <a:pt x="183" y="3"/>
                  <a:pt x="183" y="3"/>
                  <a:pt x="183" y="3"/>
                </a:cubicBezTo>
                <a:cubicBezTo>
                  <a:pt x="183" y="4"/>
                  <a:pt x="183" y="4"/>
                  <a:pt x="183" y="4"/>
                </a:cubicBezTo>
                <a:cubicBezTo>
                  <a:pt x="184" y="3"/>
                  <a:pt x="184" y="3"/>
                  <a:pt x="184" y="3"/>
                </a:cubicBezTo>
                <a:cubicBezTo>
                  <a:pt x="184" y="2"/>
                  <a:pt x="184" y="2"/>
                  <a:pt x="184" y="2"/>
                </a:cubicBezTo>
                <a:cubicBezTo>
                  <a:pt x="184" y="1"/>
                  <a:pt x="184" y="1"/>
                  <a:pt x="184" y="1"/>
                </a:cubicBezTo>
                <a:cubicBezTo>
                  <a:pt x="184" y="0"/>
                  <a:pt x="184" y="0"/>
                  <a:pt x="184" y="0"/>
                </a:cubicBezTo>
                <a:cubicBezTo>
                  <a:pt x="184" y="0"/>
                  <a:pt x="184" y="0"/>
                  <a:pt x="184" y="0"/>
                </a:cubicBezTo>
                <a:cubicBezTo>
                  <a:pt x="185" y="0"/>
                  <a:pt x="185" y="0"/>
                  <a:pt x="185" y="0"/>
                </a:cubicBezTo>
                <a:cubicBezTo>
                  <a:pt x="186" y="0"/>
                  <a:pt x="186" y="0"/>
                  <a:pt x="186" y="0"/>
                </a:cubicBezTo>
                <a:cubicBezTo>
                  <a:pt x="188" y="0"/>
                  <a:pt x="188" y="0"/>
                  <a:pt x="188" y="0"/>
                </a:cubicBezTo>
                <a:cubicBezTo>
                  <a:pt x="189" y="0"/>
                  <a:pt x="189" y="0"/>
                  <a:pt x="189" y="0"/>
                </a:cubicBezTo>
                <a:cubicBezTo>
                  <a:pt x="189" y="1"/>
                  <a:pt x="189" y="1"/>
                  <a:pt x="189" y="1"/>
                </a:cubicBezTo>
                <a:cubicBezTo>
                  <a:pt x="190" y="1"/>
                  <a:pt x="190" y="1"/>
                  <a:pt x="190" y="1"/>
                </a:cubicBezTo>
                <a:cubicBezTo>
                  <a:pt x="191" y="0"/>
                  <a:pt x="191" y="0"/>
                  <a:pt x="191" y="0"/>
                </a:cubicBezTo>
                <a:cubicBezTo>
                  <a:pt x="192" y="1"/>
                  <a:pt x="192" y="1"/>
                  <a:pt x="192" y="1"/>
                </a:cubicBezTo>
                <a:cubicBezTo>
                  <a:pt x="194" y="1"/>
                  <a:pt x="194" y="1"/>
                  <a:pt x="194" y="1"/>
                </a:cubicBezTo>
                <a:cubicBezTo>
                  <a:pt x="195" y="1"/>
                  <a:pt x="195" y="1"/>
                  <a:pt x="195" y="1"/>
                </a:cubicBezTo>
                <a:cubicBezTo>
                  <a:pt x="195" y="1"/>
                  <a:pt x="195" y="1"/>
                  <a:pt x="195" y="1"/>
                </a:cubicBezTo>
                <a:cubicBezTo>
                  <a:pt x="196" y="1"/>
                  <a:pt x="196" y="1"/>
                  <a:pt x="196" y="1"/>
                </a:cubicBezTo>
                <a:cubicBezTo>
                  <a:pt x="197" y="1"/>
                  <a:pt x="197" y="1"/>
                  <a:pt x="197" y="1"/>
                </a:cubicBezTo>
                <a:cubicBezTo>
                  <a:pt x="197" y="2"/>
                  <a:pt x="197" y="2"/>
                  <a:pt x="197" y="2"/>
                </a:cubicBezTo>
                <a:cubicBezTo>
                  <a:pt x="199" y="3"/>
                  <a:pt x="199" y="3"/>
                  <a:pt x="199" y="3"/>
                </a:cubicBezTo>
                <a:cubicBezTo>
                  <a:pt x="200" y="3"/>
                  <a:pt x="200" y="3"/>
                  <a:pt x="200" y="3"/>
                </a:cubicBezTo>
                <a:cubicBezTo>
                  <a:pt x="200" y="3"/>
                  <a:pt x="200" y="3"/>
                  <a:pt x="200" y="3"/>
                </a:cubicBezTo>
                <a:cubicBezTo>
                  <a:pt x="200" y="3"/>
                  <a:pt x="200" y="3"/>
                  <a:pt x="200" y="3"/>
                </a:cubicBezTo>
                <a:cubicBezTo>
                  <a:pt x="202" y="4"/>
                  <a:pt x="202" y="4"/>
                  <a:pt x="202" y="4"/>
                </a:cubicBezTo>
                <a:cubicBezTo>
                  <a:pt x="203" y="4"/>
                  <a:pt x="203" y="4"/>
                  <a:pt x="203" y="4"/>
                </a:cubicBezTo>
                <a:cubicBezTo>
                  <a:pt x="204" y="5"/>
                  <a:pt x="204" y="5"/>
                  <a:pt x="204" y="5"/>
                </a:cubicBezTo>
                <a:cubicBezTo>
                  <a:pt x="207" y="5"/>
                  <a:pt x="207" y="5"/>
                  <a:pt x="207" y="5"/>
                </a:cubicBezTo>
                <a:cubicBezTo>
                  <a:pt x="208" y="6"/>
                  <a:pt x="208" y="6"/>
                  <a:pt x="208" y="6"/>
                </a:cubicBezTo>
                <a:cubicBezTo>
                  <a:pt x="209" y="5"/>
                  <a:pt x="209" y="5"/>
                  <a:pt x="209" y="5"/>
                </a:cubicBezTo>
                <a:cubicBezTo>
                  <a:pt x="209" y="6"/>
                  <a:pt x="209" y="6"/>
                  <a:pt x="209" y="6"/>
                </a:cubicBezTo>
                <a:cubicBezTo>
                  <a:pt x="210" y="6"/>
                  <a:pt x="210" y="6"/>
                  <a:pt x="210" y="6"/>
                </a:cubicBezTo>
                <a:cubicBezTo>
                  <a:pt x="211" y="6"/>
                  <a:pt x="211" y="6"/>
                  <a:pt x="211" y="6"/>
                </a:cubicBezTo>
                <a:cubicBezTo>
                  <a:pt x="212" y="6"/>
                  <a:pt x="212" y="6"/>
                  <a:pt x="212" y="6"/>
                </a:cubicBezTo>
                <a:cubicBezTo>
                  <a:pt x="213" y="7"/>
                  <a:pt x="213" y="7"/>
                  <a:pt x="213" y="7"/>
                </a:cubicBezTo>
                <a:cubicBezTo>
                  <a:pt x="215" y="8"/>
                  <a:pt x="215" y="8"/>
                  <a:pt x="215" y="8"/>
                </a:cubicBezTo>
                <a:cubicBezTo>
                  <a:pt x="216" y="9"/>
                  <a:pt x="216" y="9"/>
                  <a:pt x="216" y="9"/>
                </a:cubicBezTo>
                <a:cubicBezTo>
                  <a:pt x="217" y="10"/>
                  <a:pt x="217" y="10"/>
                  <a:pt x="217" y="10"/>
                </a:cubicBezTo>
                <a:cubicBezTo>
                  <a:pt x="218" y="10"/>
                  <a:pt x="218" y="10"/>
                  <a:pt x="218" y="10"/>
                </a:cubicBezTo>
                <a:cubicBezTo>
                  <a:pt x="220" y="11"/>
                  <a:pt x="220" y="11"/>
                  <a:pt x="220" y="11"/>
                </a:cubicBezTo>
                <a:cubicBezTo>
                  <a:pt x="219" y="12"/>
                  <a:pt x="219" y="12"/>
                  <a:pt x="219" y="12"/>
                </a:cubicBezTo>
                <a:cubicBezTo>
                  <a:pt x="219" y="13"/>
                  <a:pt x="219" y="13"/>
                  <a:pt x="219" y="13"/>
                </a:cubicBezTo>
                <a:cubicBezTo>
                  <a:pt x="218" y="13"/>
                  <a:pt x="218" y="13"/>
                  <a:pt x="218" y="13"/>
                </a:cubicBezTo>
                <a:cubicBezTo>
                  <a:pt x="217" y="13"/>
                  <a:pt x="217" y="13"/>
                  <a:pt x="217" y="13"/>
                </a:cubicBezTo>
                <a:cubicBezTo>
                  <a:pt x="216" y="13"/>
                  <a:pt x="216" y="13"/>
                  <a:pt x="216" y="13"/>
                </a:cubicBezTo>
                <a:cubicBezTo>
                  <a:pt x="215" y="14"/>
                  <a:pt x="215" y="14"/>
                  <a:pt x="215" y="14"/>
                </a:cubicBezTo>
                <a:cubicBezTo>
                  <a:pt x="214" y="14"/>
                  <a:pt x="214" y="14"/>
                  <a:pt x="214" y="14"/>
                </a:cubicBezTo>
                <a:cubicBezTo>
                  <a:pt x="214" y="14"/>
                  <a:pt x="214" y="14"/>
                  <a:pt x="214" y="14"/>
                </a:cubicBezTo>
                <a:cubicBezTo>
                  <a:pt x="213" y="14"/>
                  <a:pt x="213" y="14"/>
                  <a:pt x="213" y="14"/>
                </a:cubicBezTo>
                <a:cubicBezTo>
                  <a:pt x="211" y="14"/>
                  <a:pt x="211" y="14"/>
                  <a:pt x="211" y="14"/>
                </a:cubicBezTo>
                <a:cubicBezTo>
                  <a:pt x="209" y="13"/>
                  <a:pt x="209" y="13"/>
                  <a:pt x="209" y="13"/>
                </a:cubicBezTo>
                <a:cubicBezTo>
                  <a:pt x="208" y="13"/>
                  <a:pt x="208" y="13"/>
                  <a:pt x="208" y="13"/>
                </a:cubicBezTo>
                <a:cubicBezTo>
                  <a:pt x="207" y="13"/>
                  <a:pt x="207" y="13"/>
                  <a:pt x="207" y="13"/>
                </a:cubicBezTo>
                <a:cubicBezTo>
                  <a:pt x="206" y="12"/>
                  <a:pt x="206" y="12"/>
                  <a:pt x="206" y="12"/>
                </a:cubicBezTo>
                <a:cubicBezTo>
                  <a:pt x="204" y="12"/>
                  <a:pt x="204" y="12"/>
                  <a:pt x="204" y="12"/>
                </a:cubicBezTo>
                <a:cubicBezTo>
                  <a:pt x="204" y="13"/>
                  <a:pt x="204" y="13"/>
                  <a:pt x="204" y="13"/>
                </a:cubicBezTo>
                <a:cubicBezTo>
                  <a:pt x="203" y="13"/>
                  <a:pt x="203" y="13"/>
                  <a:pt x="203" y="13"/>
                </a:cubicBezTo>
                <a:cubicBezTo>
                  <a:pt x="203" y="12"/>
                  <a:pt x="203" y="12"/>
                  <a:pt x="203" y="12"/>
                </a:cubicBezTo>
                <a:cubicBezTo>
                  <a:pt x="201" y="12"/>
                  <a:pt x="201" y="12"/>
                  <a:pt x="201" y="12"/>
                </a:cubicBezTo>
                <a:cubicBezTo>
                  <a:pt x="199" y="13"/>
                  <a:pt x="199" y="13"/>
                  <a:pt x="199" y="13"/>
                </a:cubicBezTo>
                <a:cubicBezTo>
                  <a:pt x="199" y="14"/>
                  <a:pt x="199" y="14"/>
                  <a:pt x="199" y="14"/>
                </a:cubicBezTo>
                <a:cubicBezTo>
                  <a:pt x="198" y="13"/>
                  <a:pt x="198" y="13"/>
                  <a:pt x="198" y="13"/>
                </a:cubicBezTo>
                <a:cubicBezTo>
                  <a:pt x="197" y="13"/>
                  <a:pt x="197" y="13"/>
                  <a:pt x="197" y="13"/>
                </a:cubicBezTo>
                <a:cubicBezTo>
                  <a:pt x="195" y="14"/>
                  <a:pt x="195" y="14"/>
                  <a:pt x="195" y="14"/>
                </a:cubicBezTo>
                <a:cubicBezTo>
                  <a:pt x="193" y="14"/>
                  <a:pt x="193" y="14"/>
                  <a:pt x="193" y="14"/>
                </a:cubicBezTo>
                <a:cubicBezTo>
                  <a:pt x="193" y="13"/>
                  <a:pt x="193" y="13"/>
                  <a:pt x="193" y="13"/>
                </a:cubicBezTo>
                <a:cubicBezTo>
                  <a:pt x="193" y="12"/>
                  <a:pt x="193" y="12"/>
                  <a:pt x="193" y="12"/>
                </a:cubicBezTo>
                <a:cubicBezTo>
                  <a:pt x="193" y="11"/>
                  <a:pt x="193" y="11"/>
                  <a:pt x="193" y="11"/>
                </a:cubicBezTo>
                <a:cubicBezTo>
                  <a:pt x="194" y="11"/>
                  <a:pt x="194" y="11"/>
                  <a:pt x="194" y="11"/>
                </a:cubicBezTo>
                <a:cubicBezTo>
                  <a:pt x="194" y="11"/>
                  <a:pt x="194" y="11"/>
                  <a:pt x="194" y="11"/>
                </a:cubicBezTo>
                <a:cubicBezTo>
                  <a:pt x="194" y="10"/>
                  <a:pt x="194" y="10"/>
                  <a:pt x="194" y="10"/>
                </a:cubicBezTo>
                <a:cubicBezTo>
                  <a:pt x="193" y="10"/>
                  <a:pt x="193" y="10"/>
                  <a:pt x="193" y="10"/>
                </a:cubicBezTo>
                <a:cubicBezTo>
                  <a:pt x="192" y="10"/>
                  <a:pt x="192" y="10"/>
                  <a:pt x="192" y="10"/>
                </a:cubicBezTo>
                <a:cubicBezTo>
                  <a:pt x="191" y="11"/>
                  <a:pt x="191" y="11"/>
                  <a:pt x="191" y="11"/>
                </a:cubicBezTo>
                <a:cubicBezTo>
                  <a:pt x="191" y="12"/>
                  <a:pt x="191" y="12"/>
                  <a:pt x="191" y="12"/>
                </a:cubicBezTo>
                <a:cubicBezTo>
                  <a:pt x="192" y="13"/>
                  <a:pt x="192" y="13"/>
                  <a:pt x="192" y="13"/>
                </a:cubicBezTo>
                <a:cubicBezTo>
                  <a:pt x="192" y="13"/>
                  <a:pt x="192" y="13"/>
                  <a:pt x="192" y="13"/>
                </a:cubicBezTo>
                <a:cubicBezTo>
                  <a:pt x="192" y="14"/>
                  <a:pt x="192" y="14"/>
                  <a:pt x="192" y="14"/>
                </a:cubicBezTo>
                <a:cubicBezTo>
                  <a:pt x="191" y="15"/>
                  <a:pt x="191" y="15"/>
                  <a:pt x="191" y="15"/>
                </a:cubicBezTo>
                <a:cubicBezTo>
                  <a:pt x="191" y="15"/>
                  <a:pt x="191" y="15"/>
                  <a:pt x="191" y="15"/>
                </a:cubicBezTo>
                <a:cubicBezTo>
                  <a:pt x="190" y="15"/>
                  <a:pt x="190" y="15"/>
                  <a:pt x="190" y="15"/>
                </a:cubicBezTo>
                <a:cubicBezTo>
                  <a:pt x="188" y="15"/>
                  <a:pt x="188" y="15"/>
                  <a:pt x="188" y="15"/>
                </a:cubicBezTo>
                <a:cubicBezTo>
                  <a:pt x="188" y="15"/>
                  <a:pt x="188" y="15"/>
                  <a:pt x="188" y="15"/>
                </a:cubicBezTo>
                <a:cubicBezTo>
                  <a:pt x="187" y="15"/>
                  <a:pt x="187" y="15"/>
                  <a:pt x="187" y="15"/>
                </a:cubicBezTo>
                <a:cubicBezTo>
                  <a:pt x="185" y="15"/>
                  <a:pt x="185" y="15"/>
                  <a:pt x="185" y="15"/>
                </a:cubicBezTo>
                <a:cubicBezTo>
                  <a:pt x="184" y="15"/>
                  <a:pt x="184" y="15"/>
                  <a:pt x="184" y="15"/>
                </a:cubicBezTo>
                <a:cubicBezTo>
                  <a:pt x="182" y="15"/>
                  <a:pt x="182" y="15"/>
                  <a:pt x="182" y="15"/>
                </a:cubicBezTo>
                <a:cubicBezTo>
                  <a:pt x="180" y="17"/>
                  <a:pt x="180" y="17"/>
                  <a:pt x="180" y="17"/>
                </a:cubicBezTo>
                <a:cubicBezTo>
                  <a:pt x="180" y="18"/>
                  <a:pt x="180" y="18"/>
                  <a:pt x="180" y="18"/>
                </a:cubicBezTo>
                <a:cubicBezTo>
                  <a:pt x="180" y="19"/>
                  <a:pt x="180" y="19"/>
                  <a:pt x="180" y="19"/>
                </a:cubicBezTo>
                <a:cubicBezTo>
                  <a:pt x="179" y="20"/>
                  <a:pt x="179" y="20"/>
                  <a:pt x="179" y="20"/>
                </a:cubicBezTo>
                <a:cubicBezTo>
                  <a:pt x="179" y="21"/>
                  <a:pt x="179" y="21"/>
                  <a:pt x="179" y="21"/>
                </a:cubicBezTo>
                <a:cubicBezTo>
                  <a:pt x="179" y="22"/>
                  <a:pt x="179" y="22"/>
                  <a:pt x="179" y="22"/>
                </a:cubicBezTo>
                <a:cubicBezTo>
                  <a:pt x="180" y="21"/>
                  <a:pt x="180" y="21"/>
                  <a:pt x="180" y="21"/>
                </a:cubicBezTo>
                <a:cubicBezTo>
                  <a:pt x="180" y="20"/>
                  <a:pt x="180" y="20"/>
                  <a:pt x="180" y="20"/>
                </a:cubicBezTo>
                <a:cubicBezTo>
                  <a:pt x="181" y="19"/>
                  <a:pt x="181" y="19"/>
                  <a:pt x="181" y="19"/>
                </a:cubicBezTo>
                <a:cubicBezTo>
                  <a:pt x="181" y="19"/>
                  <a:pt x="181" y="19"/>
                  <a:pt x="181" y="19"/>
                </a:cubicBezTo>
                <a:cubicBezTo>
                  <a:pt x="181" y="18"/>
                  <a:pt x="181" y="18"/>
                  <a:pt x="181" y="18"/>
                </a:cubicBezTo>
                <a:cubicBezTo>
                  <a:pt x="183" y="18"/>
                  <a:pt x="183" y="18"/>
                  <a:pt x="183" y="18"/>
                </a:cubicBezTo>
                <a:cubicBezTo>
                  <a:pt x="183" y="18"/>
                  <a:pt x="183" y="18"/>
                  <a:pt x="183" y="18"/>
                </a:cubicBezTo>
                <a:cubicBezTo>
                  <a:pt x="184" y="19"/>
                  <a:pt x="184" y="19"/>
                  <a:pt x="184" y="19"/>
                </a:cubicBezTo>
                <a:cubicBezTo>
                  <a:pt x="183" y="19"/>
                  <a:pt x="183" y="19"/>
                  <a:pt x="183" y="19"/>
                </a:cubicBezTo>
                <a:cubicBezTo>
                  <a:pt x="183" y="20"/>
                  <a:pt x="183" y="20"/>
                  <a:pt x="183" y="20"/>
                </a:cubicBezTo>
                <a:cubicBezTo>
                  <a:pt x="183" y="21"/>
                  <a:pt x="183" y="21"/>
                  <a:pt x="183" y="21"/>
                </a:cubicBezTo>
                <a:cubicBezTo>
                  <a:pt x="183" y="21"/>
                  <a:pt x="183" y="21"/>
                  <a:pt x="183" y="21"/>
                </a:cubicBezTo>
                <a:cubicBezTo>
                  <a:pt x="184" y="20"/>
                  <a:pt x="184" y="20"/>
                  <a:pt x="184" y="20"/>
                </a:cubicBezTo>
                <a:cubicBezTo>
                  <a:pt x="184" y="18"/>
                  <a:pt x="184" y="18"/>
                  <a:pt x="184" y="18"/>
                </a:cubicBezTo>
                <a:cubicBezTo>
                  <a:pt x="184" y="18"/>
                  <a:pt x="185" y="17"/>
                  <a:pt x="185" y="17"/>
                </a:cubicBezTo>
                <a:cubicBezTo>
                  <a:pt x="185" y="17"/>
                  <a:pt x="187" y="16"/>
                  <a:pt x="187" y="16"/>
                </a:cubicBezTo>
                <a:cubicBezTo>
                  <a:pt x="187" y="16"/>
                  <a:pt x="187" y="16"/>
                  <a:pt x="187" y="16"/>
                </a:cubicBezTo>
                <a:cubicBezTo>
                  <a:pt x="189" y="16"/>
                  <a:pt x="189" y="16"/>
                  <a:pt x="189" y="16"/>
                </a:cubicBezTo>
                <a:cubicBezTo>
                  <a:pt x="190" y="16"/>
                  <a:pt x="190" y="16"/>
                  <a:pt x="190" y="16"/>
                </a:cubicBezTo>
                <a:cubicBezTo>
                  <a:pt x="191" y="16"/>
                  <a:pt x="191" y="16"/>
                  <a:pt x="191" y="16"/>
                </a:cubicBezTo>
                <a:cubicBezTo>
                  <a:pt x="191" y="16"/>
                  <a:pt x="191" y="16"/>
                  <a:pt x="191" y="16"/>
                </a:cubicBezTo>
                <a:cubicBezTo>
                  <a:pt x="192" y="17"/>
                  <a:pt x="192" y="17"/>
                  <a:pt x="192" y="17"/>
                </a:cubicBezTo>
                <a:cubicBezTo>
                  <a:pt x="192" y="18"/>
                  <a:pt x="192" y="18"/>
                  <a:pt x="192" y="18"/>
                </a:cubicBezTo>
                <a:cubicBezTo>
                  <a:pt x="193" y="19"/>
                  <a:pt x="193" y="19"/>
                  <a:pt x="193" y="19"/>
                </a:cubicBezTo>
                <a:cubicBezTo>
                  <a:pt x="193" y="19"/>
                  <a:pt x="193" y="19"/>
                  <a:pt x="193" y="19"/>
                </a:cubicBezTo>
                <a:cubicBezTo>
                  <a:pt x="194" y="18"/>
                  <a:pt x="194" y="18"/>
                  <a:pt x="194" y="18"/>
                </a:cubicBezTo>
                <a:cubicBezTo>
                  <a:pt x="193" y="17"/>
                  <a:pt x="193" y="17"/>
                  <a:pt x="193" y="17"/>
                </a:cubicBezTo>
                <a:cubicBezTo>
                  <a:pt x="193" y="16"/>
                  <a:pt x="193" y="16"/>
                  <a:pt x="193" y="16"/>
                </a:cubicBezTo>
                <a:cubicBezTo>
                  <a:pt x="195" y="16"/>
                  <a:pt x="195" y="16"/>
                  <a:pt x="195" y="16"/>
                </a:cubicBezTo>
                <a:cubicBezTo>
                  <a:pt x="196" y="16"/>
                  <a:pt x="196" y="16"/>
                  <a:pt x="196" y="16"/>
                </a:cubicBezTo>
                <a:cubicBezTo>
                  <a:pt x="197" y="16"/>
                  <a:pt x="197" y="16"/>
                  <a:pt x="197" y="16"/>
                </a:cubicBezTo>
                <a:cubicBezTo>
                  <a:pt x="199" y="16"/>
                  <a:pt x="199" y="16"/>
                  <a:pt x="199" y="16"/>
                </a:cubicBezTo>
                <a:cubicBezTo>
                  <a:pt x="201" y="15"/>
                  <a:pt x="201" y="15"/>
                  <a:pt x="201" y="15"/>
                </a:cubicBezTo>
                <a:cubicBezTo>
                  <a:pt x="202" y="15"/>
                  <a:pt x="202" y="15"/>
                  <a:pt x="202" y="15"/>
                </a:cubicBezTo>
                <a:cubicBezTo>
                  <a:pt x="204" y="15"/>
                  <a:pt x="204" y="15"/>
                  <a:pt x="204" y="15"/>
                </a:cubicBezTo>
                <a:cubicBezTo>
                  <a:pt x="206" y="15"/>
                  <a:pt x="206" y="15"/>
                  <a:pt x="206" y="15"/>
                </a:cubicBezTo>
                <a:cubicBezTo>
                  <a:pt x="207" y="16"/>
                  <a:pt x="207" y="16"/>
                  <a:pt x="207" y="16"/>
                </a:cubicBezTo>
                <a:cubicBezTo>
                  <a:pt x="208" y="16"/>
                  <a:pt x="208" y="16"/>
                  <a:pt x="208" y="16"/>
                </a:cubicBezTo>
                <a:cubicBezTo>
                  <a:pt x="209" y="16"/>
                  <a:pt x="209" y="16"/>
                  <a:pt x="209" y="16"/>
                </a:cubicBezTo>
                <a:cubicBezTo>
                  <a:pt x="210" y="17"/>
                  <a:pt x="210" y="17"/>
                  <a:pt x="210" y="17"/>
                </a:cubicBezTo>
                <a:cubicBezTo>
                  <a:pt x="211" y="17"/>
                  <a:pt x="211" y="17"/>
                  <a:pt x="211" y="17"/>
                </a:cubicBezTo>
                <a:cubicBezTo>
                  <a:pt x="212" y="18"/>
                  <a:pt x="212" y="18"/>
                  <a:pt x="212" y="18"/>
                </a:cubicBezTo>
                <a:cubicBezTo>
                  <a:pt x="213" y="17"/>
                  <a:pt x="213" y="17"/>
                  <a:pt x="213" y="17"/>
                </a:cubicBezTo>
                <a:cubicBezTo>
                  <a:pt x="213" y="17"/>
                  <a:pt x="213" y="17"/>
                  <a:pt x="213" y="17"/>
                </a:cubicBezTo>
                <a:cubicBezTo>
                  <a:pt x="214" y="17"/>
                  <a:pt x="214" y="17"/>
                  <a:pt x="214" y="17"/>
                </a:cubicBezTo>
                <a:cubicBezTo>
                  <a:pt x="214" y="18"/>
                  <a:pt x="214" y="18"/>
                  <a:pt x="214" y="18"/>
                </a:cubicBezTo>
                <a:cubicBezTo>
                  <a:pt x="215" y="18"/>
                  <a:pt x="215" y="18"/>
                  <a:pt x="215" y="18"/>
                </a:cubicBezTo>
                <a:cubicBezTo>
                  <a:pt x="216" y="17"/>
                  <a:pt x="216" y="17"/>
                  <a:pt x="216" y="17"/>
                </a:cubicBezTo>
                <a:cubicBezTo>
                  <a:pt x="217" y="17"/>
                  <a:pt x="217" y="17"/>
                  <a:pt x="217" y="17"/>
                </a:cubicBezTo>
                <a:cubicBezTo>
                  <a:pt x="218" y="17"/>
                  <a:pt x="218" y="17"/>
                  <a:pt x="218" y="17"/>
                </a:cubicBezTo>
                <a:cubicBezTo>
                  <a:pt x="220" y="16"/>
                  <a:pt x="220" y="16"/>
                  <a:pt x="220" y="16"/>
                </a:cubicBezTo>
                <a:cubicBezTo>
                  <a:pt x="221" y="15"/>
                  <a:pt x="221" y="15"/>
                  <a:pt x="221" y="15"/>
                </a:cubicBezTo>
                <a:cubicBezTo>
                  <a:pt x="221" y="15"/>
                  <a:pt x="221" y="15"/>
                  <a:pt x="221" y="15"/>
                </a:cubicBezTo>
                <a:cubicBezTo>
                  <a:pt x="222" y="15"/>
                  <a:pt x="222" y="15"/>
                  <a:pt x="222" y="15"/>
                </a:cubicBezTo>
                <a:cubicBezTo>
                  <a:pt x="223" y="16"/>
                  <a:pt x="223" y="16"/>
                  <a:pt x="223" y="16"/>
                </a:cubicBezTo>
                <a:cubicBezTo>
                  <a:pt x="224" y="17"/>
                  <a:pt x="224" y="17"/>
                  <a:pt x="224" y="17"/>
                </a:cubicBezTo>
                <a:cubicBezTo>
                  <a:pt x="224" y="18"/>
                  <a:pt x="224" y="18"/>
                  <a:pt x="224" y="18"/>
                </a:cubicBezTo>
                <a:cubicBezTo>
                  <a:pt x="223" y="18"/>
                  <a:pt x="223" y="18"/>
                  <a:pt x="223" y="18"/>
                </a:cubicBezTo>
                <a:cubicBezTo>
                  <a:pt x="223" y="19"/>
                  <a:pt x="223" y="19"/>
                  <a:pt x="223" y="19"/>
                </a:cubicBezTo>
                <a:cubicBezTo>
                  <a:pt x="224" y="19"/>
                  <a:pt x="224" y="19"/>
                  <a:pt x="224" y="19"/>
                </a:cubicBezTo>
                <a:cubicBezTo>
                  <a:pt x="224" y="20"/>
                  <a:pt x="224" y="20"/>
                  <a:pt x="224" y="20"/>
                </a:cubicBezTo>
                <a:cubicBezTo>
                  <a:pt x="224" y="20"/>
                  <a:pt x="224" y="20"/>
                  <a:pt x="224" y="20"/>
                </a:cubicBezTo>
                <a:cubicBezTo>
                  <a:pt x="222" y="22"/>
                  <a:pt x="222" y="22"/>
                  <a:pt x="222" y="22"/>
                </a:cubicBezTo>
                <a:cubicBezTo>
                  <a:pt x="220" y="22"/>
                  <a:pt x="220" y="22"/>
                  <a:pt x="220" y="22"/>
                </a:cubicBezTo>
                <a:cubicBezTo>
                  <a:pt x="219" y="22"/>
                  <a:pt x="219" y="22"/>
                  <a:pt x="219" y="22"/>
                </a:cubicBezTo>
                <a:cubicBezTo>
                  <a:pt x="218" y="22"/>
                  <a:pt x="218" y="22"/>
                  <a:pt x="218" y="22"/>
                </a:cubicBezTo>
                <a:cubicBezTo>
                  <a:pt x="218" y="21"/>
                  <a:pt x="218" y="21"/>
                  <a:pt x="218" y="21"/>
                </a:cubicBezTo>
                <a:cubicBezTo>
                  <a:pt x="217" y="21"/>
                  <a:pt x="217" y="21"/>
                  <a:pt x="217" y="21"/>
                </a:cubicBezTo>
                <a:cubicBezTo>
                  <a:pt x="217" y="22"/>
                  <a:pt x="217" y="22"/>
                  <a:pt x="217" y="22"/>
                </a:cubicBezTo>
                <a:cubicBezTo>
                  <a:pt x="218" y="23"/>
                  <a:pt x="218" y="23"/>
                  <a:pt x="218" y="23"/>
                </a:cubicBezTo>
                <a:cubicBezTo>
                  <a:pt x="219" y="23"/>
                  <a:pt x="219" y="23"/>
                  <a:pt x="219" y="23"/>
                </a:cubicBezTo>
                <a:cubicBezTo>
                  <a:pt x="218" y="24"/>
                  <a:pt x="218" y="24"/>
                  <a:pt x="218" y="24"/>
                </a:cubicBezTo>
                <a:cubicBezTo>
                  <a:pt x="217" y="23"/>
                  <a:pt x="217" y="23"/>
                  <a:pt x="217" y="23"/>
                </a:cubicBezTo>
                <a:cubicBezTo>
                  <a:pt x="217" y="23"/>
                  <a:pt x="217" y="23"/>
                  <a:pt x="217" y="23"/>
                </a:cubicBezTo>
                <a:cubicBezTo>
                  <a:pt x="216" y="23"/>
                  <a:pt x="216" y="23"/>
                  <a:pt x="216" y="23"/>
                </a:cubicBezTo>
                <a:cubicBezTo>
                  <a:pt x="216" y="23"/>
                  <a:pt x="216" y="23"/>
                  <a:pt x="216" y="23"/>
                </a:cubicBezTo>
                <a:cubicBezTo>
                  <a:pt x="216" y="24"/>
                  <a:pt x="216" y="24"/>
                  <a:pt x="216" y="24"/>
                </a:cubicBezTo>
                <a:cubicBezTo>
                  <a:pt x="217" y="24"/>
                  <a:pt x="217" y="24"/>
                  <a:pt x="217" y="24"/>
                </a:cubicBezTo>
                <a:cubicBezTo>
                  <a:pt x="218" y="25"/>
                  <a:pt x="218" y="25"/>
                  <a:pt x="218" y="25"/>
                </a:cubicBezTo>
                <a:cubicBezTo>
                  <a:pt x="220" y="25"/>
                  <a:pt x="220" y="25"/>
                  <a:pt x="220" y="25"/>
                </a:cubicBezTo>
                <a:cubicBezTo>
                  <a:pt x="221" y="25"/>
                  <a:pt x="221" y="25"/>
                  <a:pt x="221" y="25"/>
                </a:cubicBezTo>
                <a:cubicBezTo>
                  <a:pt x="223" y="24"/>
                  <a:pt x="223" y="24"/>
                  <a:pt x="223" y="24"/>
                </a:cubicBezTo>
                <a:cubicBezTo>
                  <a:pt x="223" y="24"/>
                  <a:pt x="223" y="24"/>
                  <a:pt x="223" y="24"/>
                </a:cubicBezTo>
                <a:cubicBezTo>
                  <a:pt x="224" y="25"/>
                  <a:pt x="224" y="25"/>
                  <a:pt x="224" y="25"/>
                </a:cubicBezTo>
                <a:cubicBezTo>
                  <a:pt x="224" y="24"/>
                  <a:pt x="224" y="24"/>
                  <a:pt x="224" y="24"/>
                </a:cubicBezTo>
                <a:cubicBezTo>
                  <a:pt x="224" y="23"/>
                  <a:pt x="224" y="23"/>
                  <a:pt x="224" y="23"/>
                </a:cubicBezTo>
                <a:cubicBezTo>
                  <a:pt x="225" y="23"/>
                  <a:pt x="225" y="23"/>
                  <a:pt x="225" y="23"/>
                </a:cubicBezTo>
                <a:cubicBezTo>
                  <a:pt x="227" y="23"/>
                  <a:pt x="227" y="23"/>
                  <a:pt x="227" y="23"/>
                </a:cubicBezTo>
                <a:cubicBezTo>
                  <a:pt x="228" y="24"/>
                  <a:pt x="228" y="24"/>
                  <a:pt x="228" y="24"/>
                </a:cubicBezTo>
                <a:cubicBezTo>
                  <a:pt x="228" y="24"/>
                  <a:pt x="228" y="24"/>
                  <a:pt x="228" y="24"/>
                </a:cubicBezTo>
                <a:cubicBezTo>
                  <a:pt x="229" y="25"/>
                  <a:pt x="229" y="25"/>
                  <a:pt x="229" y="25"/>
                </a:cubicBezTo>
                <a:cubicBezTo>
                  <a:pt x="229" y="25"/>
                  <a:pt x="229" y="25"/>
                  <a:pt x="229" y="25"/>
                </a:cubicBezTo>
                <a:cubicBezTo>
                  <a:pt x="230" y="24"/>
                  <a:pt x="230" y="24"/>
                  <a:pt x="230" y="24"/>
                </a:cubicBezTo>
                <a:cubicBezTo>
                  <a:pt x="230" y="24"/>
                  <a:pt x="230" y="24"/>
                  <a:pt x="230" y="24"/>
                </a:cubicBezTo>
                <a:cubicBezTo>
                  <a:pt x="231" y="25"/>
                  <a:pt x="231" y="25"/>
                  <a:pt x="231" y="25"/>
                </a:cubicBezTo>
                <a:cubicBezTo>
                  <a:pt x="231" y="26"/>
                  <a:pt x="231" y="26"/>
                  <a:pt x="231" y="26"/>
                </a:cubicBezTo>
                <a:cubicBezTo>
                  <a:pt x="233" y="26"/>
                  <a:pt x="233" y="26"/>
                  <a:pt x="233" y="26"/>
                </a:cubicBezTo>
                <a:cubicBezTo>
                  <a:pt x="234" y="27"/>
                  <a:pt x="234" y="27"/>
                  <a:pt x="234" y="27"/>
                </a:cubicBezTo>
                <a:cubicBezTo>
                  <a:pt x="234" y="28"/>
                  <a:pt x="234" y="28"/>
                  <a:pt x="234" y="28"/>
                </a:cubicBezTo>
                <a:cubicBezTo>
                  <a:pt x="235" y="29"/>
                  <a:pt x="235" y="29"/>
                  <a:pt x="235" y="29"/>
                </a:cubicBezTo>
                <a:cubicBezTo>
                  <a:pt x="237" y="29"/>
                  <a:pt x="237" y="29"/>
                  <a:pt x="237" y="29"/>
                </a:cubicBezTo>
                <a:cubicBezTo>
                  <a:pt x="238" y="30"/>
                  <a:pt x="238" y="30"/>
                  <a:pt x="238" y="30"/>
                </a:cubicBezTo>
                <a:cubicBezTo>
                  <a:pt x="238" y="31"/>
                  <a:pt x="238" y="31"/>
                  <a:pt x="238" y="31"/>
                </a:cubicBezTo>
                <a:cubicBezTo>
                  <a:pt x="238" y="32"/>
                  <a:pt x="238" y="32"/>
                  <a:pt x="238" y="32"/>
                </a:cubicBezTo>
                <a:cubicBezTo>
                  <a:pt x="237" y="32"/>
                  <a:pt x="237" y="32"/>
                  <a:pt x="237" y="32"/>
                </a:cubicBezTo>
                <a:cubicBezTo>
                  <a:pt x="237" y="33"/>
                  <a:pt x="237" y="33"/>
                  <a:pt x="237" y="33"/>
                </a:cubicBezTo>
                <a:cubicBezTo>
                  <a:pt x="237" y="34"/>
                  <a:pt x="237" y="34"/>
                  <a:pt x="237" y="34"/>
                </a:cubicBezTo>
                <a:cubicBezTo>
                  <a:pt x="237" y="34"/>
                  <a:pt x="237" y="34"/>
                  <a:pt x="237" y="34"/>
                </a:cubicBezTo>
                <a:cubicBezTo>
                  <a:pt x="235" y="35"/>
                  <a:pt x="235" y="35"/>
                  <a:pt x="235" y="35"/>
                </a:cubicBezTo>
                <a:cubicBezTo>
                  <a:pt x="235" y="35"/>
                  <a:pt x="235" y="35"/>
                  <a:pt x="235" y="35"/>
                </a:cubicBezTo>
                <a:cubicBezTo>
                  <a:pt x="234" y="35"/>
                  <a:pt x="234" y="35"/>
                  <a:pt x="234" y="35"/>
                </a:cubicBezTo>
                <a:cubicBezTo>
                  <a:pt x="234" y="35"/>
                  <a:pt x="234" y="35"/>
                  <a:pt x="234" y="35"/>
                </a:cubicBezTo>
                <a:cubicBezTo>
                  <a:pt x="234" y="36"/>
                  <a:pt x="234" y="36"/>
                  <a:pt x="234" y="36"/>
                </a:cubicBezTo>
                <a:cubicBezTo>
                  <a:pt x="233" y="36"/>
                  <a:pt x="233" y="36"/>
                  <a:pt x="233" y="36"/>
                </a:cubicBezTo>
                <a:cubicBezTo>
                  <a:pt x="232" y="37"/>
                  <a:pt x="232" y="37"/>
                  <a:pt x="232" y="37"/>
                </a:cubicBezTo>
                <a:cubicBezTo>
                  <a:pt x="230" y="38"/>
                  <a:pt x="230" y="38"/>
                  <a:pt x="230" y="38"/>
                </a:cubicBezTo>
                <a:cubicBezTo>
                  <a:pt x="228" y="38"/>
                  <a:pt x="228" y="38"/>
                  <a:pt x="228" y="38"/>
                </a:cubicBezTo>
                <a:cubicBezTo>
                  <a:pt x="228" y="38"/>
                  <a:pt x="228" y="38"/>
                  <a:pt x="228" y="38"/>
                </a:cubicBezTo>
                <a:cubicBezTo>
                  <a:pt x="227" y="38"/>
                  <a:pt x="227" y="38"/>
                  <a:pt x="227" y="38"/>
                </a:cubicBezTo>
                <a:cubicBezTo>
                  <a:pt x="226" y="38"/>
                  <a:pt x="226" y="38"/>
                  <a:pt x="226" y="38"/>
                </a:cubicBezTo>
                <a:cubicBezTo>
                  <a:pt x="226" y="37"/>
                  <a:pt x="226" y="37"/>
                  <a:pt x="226" y="37"/>
                </a:cubicBezTo>
                <a:cubicBezTo>
                  <a:pt x="225" y="37"/>
                  <a:pt x="225" y="37"/>
                  <a:pt x="225" y="37"/>
                </a:cubicBezTo>
                <a:cubicBezTo>
                  <a:pt x="225" y="38"/>
                  <a:pt x="225" y="38"/>
                  <a:pt x="225" y="38"/>
                </a:cubicBezTo>
                <a:cubicBezTo>
                  <a:pt x="226" y="38"/>
                  <a:pt x="226" y="38"/>
                  <a:pt x="226" y="38"/>
                </a:cubicBezTo>
                <a:cubicBezTo>
                  <a:pt x="226" y="39"/>
                  <a:pt x="226" y="39"/>
                  <a:pt x="226" y="39"/>
                </a:cubicBezTo>
                <a:cubicBezTo>
                  <a:pt x="225" y="39"/>
                  <a:pt x="225" y="39"/>
                  <a:pt x="225" y="39"/>
                </a:cubicBezTo>
                <a:cubicBezTo>
                  <a:pt x="224" y="38"/>
                  <a:pt x="224" y="38"/>
                  <a:pt x="224" y="38"/>
                </a:cubicBezTo>
                <a:cubicBezTo>
                  <a:pt x="223" y="39"/>
                  <a:pt x="223" y="39"/>
                  <a:pt x="223" y="39"/>
                </a:cubicBezTo>
                <a:cubicBezTo>
                  <a:pt x="222" y="39"/>
                  <a:pt x="222" y="39"/>
                  <a:pt x="222" y="39"/>
                </a:cubicBezTo>
                <a:cubicBezTo>
                  <a:pt x="221" y="38"/>
                  <a:pt x="221" y="38"/>
                  <a:pt x="221" y="38"/>
                </a:cubicBezTo>
                <a:cubicBezTo>
                  <a:pt x="220" y="38"/>
                  <a:pt x="220" y="38"/>
                  <a:pt x="220" y="38"/>
                </a:cubicBezTo>
                <a:cubicBezTo>
                  <a:pt x="219" y="39"/>
                  <a:pt x="219" y="39"/>
                  <a:pt x="219" y="39"/>
                </a:cubicBezTo>
                <a:cubicBezTo>
                  <a:pt x="218" y="40"/>
                  <a:pt x="218" y="40"/>
                  <a:pt x="218" y="40"/>
                </a:cubicBezTo>
                <a:cubicBezTo>
                  <a:pt x="217" y="40"/>
                  <a:pt x="217" y="40"/>
                  <a:pt x="217" y="40"/>
                </a:cubicBezTo>
                <a:cubicBezTo>
                  <a:pt x="216" y="39"/>
                  <a:pt x="216" y="39"/>
                  <a:pt x="216" y="39"/>
                </a:cubicBezTo>
                <a:cubicBezTo>
                  <a:pt x="215" y="39"/>
                  <a:pt x="215" y="39"/>
                  <a:pt x="215" y="39"/>
                </a:cubicBezTo>
                <a:cubicBezTo>
                  <a:pt x="214" y="39"/>
                  <a:pt x="214" y="39"/>
                  <a:pt x="214" y="39"/>
                </a:cubicBezTo>
                <a:cubicBezTo>
                  <a:pt x="214" y="39"/>
                  <a:pt x="214" y="39"/>
                  <a:pt x="214" y="39"/>
                </a:cubicBezTo>
                <a:cubicBezTo>
                  <a:pt x="213" y="39"/>
                  <a:pt x="213" y="39"/>
                  <a:pt x="213" y="39"/>
                </a:cubicBezTo>
                <a:cubicBezTo>
                  <a:pt x="212" y="40"/>
                  <a:pt x="212" y="40"/>
                  <a:pt x="212" y="40"/>
                </a:cubicBezTo>
                <a:cubicBezTo>
                  <a:pt x="211" y="39"/>
                  <a:pt x="211" y="39"/>
                  <a:pt x="211" y="39"/>
                </a:cubicBezTo>
                <a:cubicBezTo>
                  <a:pt x="209" y="38"/>
                  <a:pt x="209" y="38"/>
                  <a:pt x="209" y="38"/>
                </a:cubicBezTo>
                <a:cubicBezTo>
                  <a:pt x="209" y="38"/>
                  <a:pt x="209" y="38"/>
                  <a:pt x="209" y="38"/>
                </a:cubicBezTo>
                <a:cubicBezTo>
                  <a:pt x="209" y="38"/>
                  <a:pt x="209" y="38"/>
                  <a:pt x="209" y="38"/>
                </a:cubicBezTo>
                <a:cubicBezTo>
                  <a:pt x="207" y="38"/>
                  <a:pt x="207" y="38"/>
                  <a:pt x="207" y="38"/>
                </a:cubicBezTo>
                <a:cubicBezTo>
                  <a:pt x="206" y="37"/>
                  <a:pt x="206" y="37"/>
                  <a:pt x="206" y="37"/>
                </a:cubicBezTo>
                <a:cubicBezTo>
                  <a:pt x="205" y="37"/>
                  <a:pt x="205" y="37"/>
                  <a:pt x="205" y="37"/>
                </a:cubicBezTo>
                <a:cubicBezTo>
                  <a:pt x="204" y="38"/>
                  <a:pt x="204" y="38"/>
                  <a:pt x="204" y="38"/>
                </a:cubicBezTo>
                <a:cubicBezTo>
                  <a:pt x="203" y="37"/>
                  <a:pt x="203" y="37"/>
                  <a:pt x="203" y="37"/>
                </a:cubicBezTo>
                <a:cubicBezTo>
                  <a:pt x="202" y="37"/>
                  <a:pt x="202" y="37"/>
                  <a:pt x="202" y="37"/>
                </a:cubicBezTo>
                <a:cubicBezTo>
                  <a:pt x="201" y="37"/>
                  <a:pt x="201" y="37"/>
                  <a:pt x="201" y="37"/>
                </a:cubicBezTo>
                <a:cubicBezTo>
                  <a:pt x="200" y="38"/>
                  <a:pt x="200" y="38"/>
                  <a:pt x="200" y="38"/>
                </a:cubicBezTo>
                <a:cubicBezTo>
                  <a:pt x="199" y="38"/>
                  <a:pt x="199" y="38"/>
                  <a:pt x="199" y="38"/>
                </a:cubicBezTo>
                <a:cubicBezTo>
                  <a:pt x="198" y="38"/>
                  <a:pt x="198" y="38"/>
                  <a:pt x="198" y="38"/>
                </a:cubicBezTo>
                <a:cubicBezTo>
                  <a:pt x="197" y="39"/>
                  <a:pt x="197" y="39"/>
                  <a:pt x="197" y="39"/>
                </a:cubicBezTo>
                <a:cubicBezTo>
                  <a:pt x="197" y="39"/>
                  <a:pt x="197" y="39"/>
                  <a:pt x="197" y="39"/>
                </a:cubicBezTo>
                <a:cubicBezTo>
                  <a:pt x="196" y="39"/>
                  <a:pt x="196" y="39"/>
                  <a:pt x="196" y="39"/>
                </a:cubicBezTo>
                <a:cubicBezTo>
                  <a:pt x="196" y="38"/>
                  <a:pt x="196" y="38"/>
                  <a:pt x="196" y="38"/>
                </a:cubicBezTo>
                <a:cubicBezTo>
                  <a:pt x="195" y="38"/>
                  <a:pt x="195" y="38"/>
                  <a:pt x="195" y="38"/>
                </a:cubicBezTo>
                <a:cubicBezTo>
                  <a:pt x="194" y="38"/>
                  <a:pt x="194" y="38"/>
                  <a:pt x="194" y="38"/>
                </a:cubicBezTo>
                <a:cubicBezTo>
                  <a:pt x="194" y="37"/>
                  <a:pt x="194" y="37"/>
                  <a:pt x="194" y="37"/>
                </a:cubicBezTo>
                <a:cubicBezTo>
                  <a:pt x="193" y="37"/>
                  <a:pt x="193" y="37"/>
                  <a:pt x="193" y="37"/>
                </a:cubicBezTo>
                <a:cubicBezTo>
                  <a:pt x="193" y="38"/>
                  <a:pt x="193" y="38"/>
                  <a:pt x="193" y="38"/>
                </a:cubicBezTo>
                <a:cubicBezTo>
                  <a:pt x="193" y="38"/>
                  <a:pt x="193" y="38"/>
                  <a:pt x="193" y="38"/>
                </a:cubicBezTo>
                <a:cubicBezTo>
                  <a:pt x="195" y="38"/>
                  <a:pt x="195" y="38"/>
                  <a:pt x="195" y="38"/>
                </a:cubicBezTo>
                <a:cubicBezTo>
                  <a:pt x="195" y="38"/>
                  <a:pt x="195" y="38"/>
                  <a:pt x="195" y="38"/>
                </a:cubicBezTo>
                <a:cubicBezTo>
                  <a:pt x="196" y="39"/>
                  <a:pt x="196" y="39"/>
                  <a:pt x="196" y="39"/>
                </a:cubicBezTo>
                <a:cubicBezTo>
                  <a:pt x="195" y="40"/>
                  <a:pt x="195" y="40"/>
                  <a:pt x="195" y="40"/>
                </a:cubicBezTo>
                <a:cubicBezTo>
                  <a:pt x="194" y="40"/>
                  <a:pt x="194" y="40"/>
                  <a:pt x="194" y="40"/>
                </a:cubicBezTo>
                <a:cubicBezTo>
                  <a:pt x="194" y="40"/>
                  <a:pt x="194" y="40"/>
                  <a:pt x="194" y="40"/>
                </a:cubicBezTo>
                <a:cubicBezTo>
                  <a:pt x="193" y="40"/>
                  <a:pt x="193" y="40"/>
                  <a:pt x="193" y="40"/>
                </a:cubicBezTo>
                <a:cubicBezTo>
                  <a:pt x="192" y="41"/>
                  <a:pt x="192" y="41"/>
                  <a:pt x="192" y="41"/>
                </a:cubicBezTo>
                <a:cubicBezTo>
                  <a:pt x="191" y="41"/>
                  <a:pt x="191" y="41"/>
                  <a:pt x="191" y="41"/>
                </a:cubicBezTo>
                <a:cubicBezTo>
                  <a:pt x="189" y="42"/>
                  <a:pt x="189" y="42"/>
                  <a:pt x="189" y="42"/>
                </a:cubicBezTo>
                <a:cubicBezTo>
                  <a:pt x="188" y="42"/>
                  <a:pt x="188" y="42"/>
                  <a:pt x="188" y="42"/>
                </a:cubicBezTo>
                <a:cubicBezTo>
                  <a:pt x="188" y="43"/>
                  <a:pt x="188" y="43"/>
                  <a:pt x="188" y="43"/>
                </a:cubicBezTo>
                <a:cubicBezTo>
                  <a:pt x="187" y="43"/>
                  <a:pt x="187" y="43"/>
                  <a:pt x="187" y="43"/>
                </a:cubicBezTo>
                <a:cubicBezTo>
                  <a:pt x="186" y="43"/>
                  <a:pt x="186" y="43"/>
                  <a:pt x="186" y="43"/>
                </a:cubicBezTo>
                <a:cubicBezTo>
                  <a:pt x="184" y="44"/>
                  <a:pt x="184" y="44"/>
                  <a:pt x="184" y="44"/>
                </a:cubicBezTo>
                <a:cubicBezTo>
                  <a:pt x="184" y="44"/>
                  <a:pt x="184" y="44"/>
                  <a:pt x="184" y="44"/>
                </a:cubicBezTo>
                <a:cubicBezTo>
                  <a:pt x="183" y="44"/>
                  <a:pt x="183" y="44"/>
                  <a:pt x="183" y="44"/>
                </a:cubicBezTo>
                <a:cubicBezTo>
                  <a:pt x="183" y="45"/>
                  <a:pt x="183" y="45"/>
                  <a:pt x="183" y="45"/>
                </a:cubicBezTo>
                <a:cubicBezTo>
                  <a:pt x="184" y="46"/>
                  <a:pt x="184" y="46"/>
                  <a:pt x="184" y="46"/>
                </a:cubicBezTo>
                <a:cubicBezTo>
                  <a:pt x="184" y="47"/>
                  <a:pt x="184" y="47"/>
                  <a:pt x="184" y="47"/>
                </a:cubicBezTo>
                <a:cubicBezTo>
                  <a:pt x="184" y="48"/>
                  <a:pt x="184" y="48"/>
                  <a:pt x="184" y="48"/>
                </a:cubicBezTo>
                <a:cubicBezTo>
                  <a:pt x="184" y="49"/>
                  <a:pt x="184" y="49"/>
                  <a:pt x="184" y="49"/>
                </a:cubicBezTo>
                <a:cubicBezTo>
                  <a:pt x="185" y="48"/>
                  <a:pt x="185" y="48"/>
                  <a:pt x="185" y="48"/>
                </a:cubicBezTo>
                <a:cubicBezTo>
                  <a:pt x="185" y="48"/>
                  <a:pt x="185" y="48"/>
                  <a:pt x="185" y="48"/>
                </a:cubicBezTo>
                <a:cubicBezTo>
                  <a:pt x="186" y="47"/>
                  <a:pt x="186" y="47"/>
                  <a:pt x="186" y="47"/>
                </a:cubicBezTo>
                <a:cubicBezTo>
                  <a:pt x="186" y="46"/>
                  <a:pt x="186" y="46"/>
                  <a:pt x="186" y="46"/>
                </a:cubicBezTo>
                <a:cubicBezTo>
                  <a:pt x="187" y="46"/>
                  <a:pt x="187" y="46"/>
                  <a:pt x="187" y="46"/>
                </a:cubicBezTo>
                <a:cubicBezTo>
                  <a:pt x="188" y="45"/>
                  <a:pt x="188" y="45"/>
                  <a:pt x="188" y="45"/>
                </a:cubicBezTo>
                <a:cubicBezTo>
                  <a:pt x="189" y="45"/>
                  <a:pt x="189" y="45"/>
                  <a:pt x="189" y="45"/>
                </a:cubicBezTo>
                <a:cubicBezTo>
                  <a:pt x="190" y="45"/>
                  <a:pt x="190" y="45"/>
                  <a:pt x="190" y="45"/>
                </a:cubicBezTo>
                <a:cubicBezTo>
                  <a:pt x="191" y="45"/>
                  <a:pt x="191" y="45"/>
                  <a:pt x="191" y="45"/>
                </a:cubicBezTo>
                <a:cubicBezTo>
                  <a:pt x="192" y="44"/>
                  <a:pt x="192" y="44"/>
                  <a:pt x="192" y="44"/>
                </a:cubicBezTo>
                <a:cubicBezTo>
                  <a:pt x="193" y="44"/>
                  <a:pt x="193" y="44"/>
                  <a:pt x="193" y="44"/>
                </a:cubicBezTo>
                <a:cubicBezTo>
                  <a:pt x="196" y="43"/>
                  <a:pt x="196" y="43"/>
                  <a:pt x="196" y="43"/>
                </a:cubicBezTo>
                <a:cubicBezTo>
                  <a:pt x="197" y="43"/>
                  <a:pt x="197" y="43"/>
                  <a:pt x="197" y="43"/>
                </a:cubicBezTo>
                <a:cubicBezTo>
                  <a:pt x="197" y="43"/>
                  <a:pt x="197" y="43"/>
                  <a:pt x="197" y="43"/>
                </a:cubicBezTo>
                <a:cubicBezTo>
                  <a:pt x="196" y="44"/>
                  <a:pt x="196" y="44"/>
                  <a:pt x="196" y="44"/>
                </a:cubicBezTo>
                <a:cubicBezTo>
                  <a:pt x="197" y="44"/>
                  <a:pt x="197" y="44"/>
                  <a:pt x="197" y="44"/>
                </a:cubicBezTo>
                <a:cubicBezTo>
                  <a:pt x="198" y="43"/>
                  <a:pt x="198" y="43"/>
                  <a:pt x="198" y="43"/>
                </a:cubicBezTo>
                <a:cubicBezTo>
                  <a:pt x="198" y="42"/>
                  <a:pt x="198" y="42"/>
                  <a:pt x="198" y="42"/>
                </a:cubicBezTo>
                <a:cubicBezTo>
                  <a:pt x="198" y="41"/>
                  <a:pt x="198" y="41"/>
                  <a:pt x="198" y="41"/>
                </a:cubicBezTo>
                <a:cubicBezTo>
                  <a:pt x="199" y="41"/>
                  <a:pt x="199" y="41"/>
                  <a:pt x="199" y="41"/>
                </a:cubicBezTo>
                <a:cubicBezTo>
                  <a:pt x="200" y="41"/>
                  <a:pt x="200" y="41"/>
                  <a:pt x="200" y="41"/>
                </a:cubicBezTo>
                <a:cubicBezTo>
                  <a:pt x="201" y="41"/>
                  <a:pt x="201" y="41"/>
                  <a:pt x="201" y="41"/>
                </a:cubicBezTo>
                <a:cubicBezTo>
                  <a:pt x="202" y="41"/>
                  <a:pt x="202" y="41"/>
                  <a:pt x="202" y="41"/>
                </a:cubicBezTo>
                <a:cubicBezTo>
                  <a:pt x="204" y="41"/>
                  <a:pt x="204" y="41"/>
                  <a:pt x="204" y="41"/>
                </a:cubicBezTo>
                <a:cubicBezTo>
                  <a:pt x="205" y="42"/>
                  <a:pt x="205" y="42"/>
                  <a:pt x="205" y="42"/>
                </a:cubicBezTo>
                <a:cubicBezTo>
                  <a:pt x="206" y="42"/>
                  <a:pt x="206" y="42"/>
                  <a:pt x="206" y="42"/>
                </a:cubicBezTo>
                <a:cubicBezTo>
                  <a:pt x="209" y="42"/>
                  <a:pt x="209" y="42"/>
                  <a:pt x="209" y="42"/>
                </a:cubicBezTo>
                <a:cubicBezTo>
                  <a:pt x="210" y="42"/>
                  <a:pt x="210" y="42"/>
                  <a:pt x="210" y="42"/>
                </a:cubicBezTo>
                <a:cubicBezTo>
                  <a:pt x="211" y="42"/>
                  <a:pt x="211" y="42"/>
                  <a:pt x="211" y="42"/>
                </a:cubicBezTo>
                <a:cubicBezTo>
                  <a:pt x="213" y="43"/>
                  <a:pt x="213" y="43"/>
                  <a:pt x="213" y="43"/>
                </a:cubicBezTo>
                <a:cubicBezTo>
                  <a:pt x="216" y="43"/>
                  <a:pt x="216" y="43"/>
                  <a:pt x="216" y="43"/>
                </a:cubicBezTo>
                <a:cubicBezTo>
                  <a:pt x="217" y="43"/>
                  <a:pt x="217" y="43"/>
                  <a:pt x="217" y="43"/>
                </a:cubicBezTo>
                <a:cubicBezTo>
                  <a:pt x="217" y="44"/>
                  <a:pt x="217" y="44"/>
                  <a:pt x="217" y="44"/>
                </a:cubicBezTo>
                <a:cubicBezTo>
                  <a:pt x="217" y="44"/>
                  <a:pt x="217" y="44"/>
                  <a:pt x="217" y="44"/>
                </a:cubicBezTo>
                <a:cubicBezTo>
                  <a:pt x="217" y="45"/>
                  <a:pt x="217" y="45"/>
                  <a:pt x="217" y="45"/>
                </a:cubicBezTo>
                <a:cubicBezTo>
                  <a:pt x="216" y="45"/>
                  <a:pt x="216" y="45"/>
                  <a:pt x="216" y="45"/>
                </a:cubicBezTo>
                <a:cubicBezTo>
                  <a:pt x="216" y="46"/>
                  <a:pt x="216" y="46"/>
                  <a:pt x="216" y="46"/>
                </a:cubicBezTo>
                <a:cubicBezTo>
                  <a:pt x="215" y="47"/>
                  <a:pt x="215" y="47"/>
                  <a:pt x="215" y="47"/>
                </a:cubicBezTo>
                <a:cubicBezTo>
                  <a:pt x="215" y="48"/>
                  <a:pt x="215" y="48"/>
                  <a:pt x="215" y="48"/>
                </a:cubicBezTo>
                <a:cubicBezTo>
                  <a:pt x="212" y="48"/>
                  <a:pt x="212" y="48"/>
                  <a:pt x="212" y="48"/>
                </a:cubicBezTo>
                <a:cubicBezTo>
                  <a:pt x="210" y="49"/>
                  <a:pt x="210" y="49"/>
                  <a:pt x="210" y="49"/>
                </a:cubicBezTo>
                <a:cubicBezTo>
                  <a:pt x="210" y="49"/>
                  <a:pt x="210" y="49"/>
                  <a:pt x="210" y="49"/>
                </a:cubicBezTo>
                <a:cubicBezTo>
                  <a:pt x="209" y="49"/>
                  <a:pt x="209" y="49"/>
                  <a:pt x="209" y="49"/>
                </a:cubicBezTo>
                <a:cubicBezTo>
                  <a:pt x="209" y="49"/>
                  <a:pt x="209" y="49"/>
                  <a:pt x="209" y="49"/>
                </a:cubicBezTo>
                <a:cubicBezTo>
                  <a:pt x="209" y="50"/>
                  <a:pt x="209" y="50"/>
                  <a:pt x="209" y="50"/>
                </a:cubicBezTo>
                <a:cubicBezTo>
                  <a:pt x="209" y="50"/>
                  <a:pt x="209" y="50"/>
                  <a:pt x="209" y="50"/>
                </a:cubicBezTo>
                <a:cubicBezTo>
                  <a:pt x="208" y="51"/>
                  <a:pt x="208" y="51"/>
                  <a:pt x="208" y="51"/>
                </a:cubicBezTo>
                <a:cubicBezTo>
                  <a:pt x="209" y="52"/>
                  <a:pt x="209" y="52"/>
                  <a:pt x="209" y="52"/>
                </a:cubicBezTo>
                <a:cubicBezTo>
                  <a:pt x="209" y="52"/>
                  <a:pt x="209" y="52"/>
                  <a:pt x="209" y="52"/>
                </a:cubicBezTo>
                <a:cubicBezTo>
                  <a:pt x="210" y="52"/>
                  <a:pt x="210" y="52"/>
                  <a:pt x="210" y="52"/>
                </a:cubicBezTo>
                <a:cubicBezTo>
                  <a:pt x="212" y="51"/>
                  <a:pt x="212" y="51"/>
                  <a:pt x="212" y="51"/>
                </a:cubicBezTo>
                <a:cubicBezTo>
                  <a:pt x="213" y="51"/>
                  <a:pt x="213" y="51"/>
                  <a:pt x="213" y="51"/>
                </a:cubicBezTo>
                <a:cubicBezTo>
                  <a:pt x="213" y="51"/>
                  <a:pt x="215" y="51"/>
                  <a:pt x="215" y="51"/>
                </a:cubicBezTo>
                <a:cubicBezTo>
                  <a:pt x="216" y="51"/>
                  <a:pt x="218" y="51"/>
                  <a:pt x="218" y="51"/>
                </a:cubicBezTo>
                <a:cubicBezTo>
                  <a:pt x="218" y="51"/>
                  <a:pt x="218" y="51"/>
                  <a:pt x="218" y="51"/>
                </a:cubicBezTo>
                <a:cubicBezTo>
                  <a:pt x="219" y="52"/>
                  <a:pt x="219" y="52"/>
                  <a:pt x="219" y="52"/>
                </a:cubicBezTo>
                <a:cubicBezTo>
                  <a:pt x="220" y="52"/>
                  <a:pt x="220" y="52"/>
                  <a:pt x="220" y="52"/>
                </a:cubicBezTo>
                <a:cubicBezTo>
                  <a:pt x="220" y="51"/>
                  <a:pt x="220" y="51"/>
                  <a:pt x="220" y="51"/>
                </a:cubicBezTo>
                <a:cubicBezTo>
                  <a:pt x="221" y="51"/>
                  <a:pt x="221" y="51"/>
                  <a:pt x="221" y="51"/>
                </a:cubicBezTo>
                <a:cubicBezTo>
                  <a:pt x="221" y="51"/>
                  <a:pt x="221" y="51"/>
                  <a:pt x="221" y="51"/>
                </a:cubicBezTo>
                <a:cubicBezTo>
                  <a:pt x="222" y="52"/>
                  <a:pt x="222" y="52"/>
                  <a:pt x="222" y="52"/>
                </a:cubicBezTo>
                <a:cubicBezTo>
                  <a:pt x="223" y="50"/>
                  <a:pt x="223" y="50"/>
                  <a:pt x="223" y="50"/>
                </a:cubicBezTo>
                <a:cubicBezTo>
                  <a:pt x="223" y="48"/>
                  <a:pt x="223" y="48"/>
                  <a:pt x="223" y="48"/>
                </a:cubicBezTo>
                <a:cubicBezTo>
                  <a:pt x="223" y="47"/>
                  <a:pt x="223" y="47"/>
                  <a:pt x="223" y="47"/>
                </a:cubicBezTo>
                <a:cubicBezTo>
                  <a:pt x="224" y="46"/>
                  <a:pt x="224" y="46"/>
                  <a:pt x="224" y="46"/>
                </a:cubicBezTo>
                <a:cubicBezTo>
                  <a:pt x="224" y="46"/>
                  <a:pt x="224" y="46"/>
                  <a:pt x="224" y="46"/>
                </a:cubicBezTo>
                <a:cubicBezTo>
                  <a:pt x="224" y="45"/>
                  <a:pt x="224" y="45"/>
                  <a:pt x="224" y="45"/>
                </a:cubicBezTo>
                <a:cubicBezTo>
                  <a:pt x="225" y="44"/>
                  <a:pt x="225" y="44"/>
                  <a:pt x="225" y="44"/>
                </a:cubicBezTo>
                <a:cubicBezTo>
                  <a:pt x="226" y="44"/>
                  <a:pt x="226" y="44"/>
                  <a:pt x="226" y="44"/>
                </a:cubicBezTo>
                <a:cubicBezTo>
                  <a:pt x="227" y="45"/>
                  <a:pt x="227" y="45"/>
                  <a:pt x="227" y="45"/>
                </a:cubicBezTo>
                <a:cubicBezTo>
                  <a:pt x="229" y="44"/>
                  <a:pt x="229" y="44"/>
                  <a:pt x="229" y="44"/>
                </a:cubicBezTo>
                <a:cubicBezTo>
                  <a:pt x="230" y="44"/>
                  <a:pt x="230" y="44"/>
                  <a:pt x="230" y="44"/>
                </a:cubicBezTo>
                <a:cubicBezTo>
                  <a:pt x="231" y="44"/>
                  <a:pt x="231" y="44"/>
                  <a:pt x="231" y="44"/>
                </a:cubicBezTo>
                <a:cubicBezTo>
                  <a:pt x="231" y="46"/>
                  <a:pt x="231" y="46"/>
                  <a:pt x="231" y="46"/>
                </a:cubicBezTo>
                <a:cubicBezTo>
                  <a:pt x="231" y="48"/>
                  <a:pt x="231" y="48"/>
                  <a:pt x="231" y="48"/>
                </a:cubicBezTo>
                <a:cubicBezTo>
                  <a:pt x="231" y="49"/>
                  <a:pt x="231" y="49"/>
                  <a:pt x="231" y="49"/>
                </a:cubicBezTo>
                <a:cubicBezTo>
                  <a:pt x="230" y="51"/>
                  <a:pt x="230" y="51"/>
                  <a:pt x="230" y="51"/>
                </a:cubicBezTo>
                <a:cubicBezTo>
                  <a:pt x="229" y="52"/>
                  <a:pt x="229" y="52"/>
                  <a:pt x="229" y="52"/>
                </a:cubicBezTo>
                <a:cubicBezTo>
                  <a:pt x="229" y="54"/>
                  <a:pt x="229" y="54"/>
                  <a:pt x="229" y="54"/>
                </a:cubicBezTo>
                <a:cubicBezTo>
                  <a:pt x="229" y="55"/>
                  <a:pt x="229" y="55"/>
                  <a:pt x="229" y="55"/>
                </a:cubicBezTo>
                <a:cubicBezTo>
                  <a:pt x="225" y="58"/>
                  <a:pt x="225" y="58"/>
                  <a:pt x="225" y="58"/>
                </a:cubicBezTo>
                <a:cubicBezTo>
                  <a:pt x="224" y="58"/>
                  <a:pt x="224" y="58"/>
                  <a:pt x="224" y="58"/>
                </a:cubicBezTo>
                <a:cubicBezTo>
                  <a:pt x="224" y="58"/>
                  <a:pt x="224" y="58"/>
                  <a:pt x="224" y="58"/>
                </a:cubicBezTo>
                <a:cubicBezTo>
                  <a:pt x="223" y="58"/>
                  <a:pt x="223" y="58"/>
                  <a:pt x="223" y="58"/>
                </a:cubicBezTo>
                <a:cubicBezTo>
                  <a:pt x="222" y="59"/>
                  <a:pt x="222" y="59"/>
                  <a:pt x="222" y="59"/>
                </a:cubicBezTo>
                <a:cubicBezTo>
                  <a:pt x="222" y="59"/>
                  <a:pt x="222" y="59"/>
                  <a:pt x="222" y="59"/>
                </a:cubicBezTo>
                <a:cubicBezTo>
                  <a:pt x="221" y="59"/>
                  <a:pt x="221" y="59"/>
                  <a:pt x="221" y="59"/>
                </a:cubicBezTo>
                <a:cubicBezTo>
                  <a:pt x="220" y="60"/>
                  <a:pt x="220" y="60"/>
                  <a:pt x="220" y="60"/>
                </a:cubicBezTo>
                <a:cubicBezTo>
                  <a:pt x="220" y="61"/>
                  <a:pt x="220" y="61"/>
                  <a:pt x="220" y="61"/>
                </a:cubicBezTo>
                <a:cubicBezTo>
                  <a:pt x="219" y="62"/>
                  <a:pt x="219" y="62"/>
                  <a:pt x="219" y="62"/>
                </a:cubicBezTo>
                <a:cubicBezTo>
                  <a:pt x="218" y="63"/>
                  <a:pt x="218" y="63"/>
                  <a:pt x="218" y="63"/>
                </a:cubicBezTo>
                <a:cubicBezTo>
                  <a:pt x="218" y="63"/>
                  <a:pt x="218" y="63"/>
                  <a:pt x="218" y="63"/>
                </a:cubicBezTo>
                <a:cubicBezTo>
                  <a:pt x="217" y="62"/>
                  <a:pt x="217" y="62"/>
                  <a:pt x="217" y="62"/>
                </a:cubicBezTo>
                <a:cubicBezTo>
                  <a:pt x="217" y="63"/>
                  <a:pt x="217" y="63"/>
                  <a:pt x="217" y="63"/>
                </a:cubicBezTo>
                <a:cubicBezTo>
                  <a:pt x="217" y="63"/>
                  <a:pt x="217" y="63"/>
                  <a:pt x="217" y="63"/>
                </a:cubicBezTo>
                <a:cubicBezTo>
                  <a:pt x="217" y="64"/>
                  <a:pt x="217" y="64"/>
                  <a:pt x="217" y="64"/>
                </a:cubicBezTo>
                <a:cubicBezTo>
                  <a:pt x="216" y="66"/>
                  <a:pt x="216" y="66"/>
                  <a:pt x="216" y="66"/>
                </a:cubicBezTo>
                <a:cubicBezTo>
                  <a:pt x="215" y="67"/>
                  <a:pt x="215" y="67"/>
                  <a:pt x="215" y="67"/>
                </a:cubicBezTo>
                <a:cubicBezTo>
                  <a:pt x="214" y="67"/>
                  <a:pt x="214" y="67"/>
                  <a:pt x="214" y="67"/>
                </a:cubicBezTo>
                <a:cubicBezTo>
                  <a:pt x="213" y="69"/>
                  <a:pt x="213" y="69"/>
                  <a:pt x="213" y="69"/>
                </a:cubicBezTo>
                <a:cubicBezTo>
                  <a:pt x="211" y="70"/>
                  <a:pt x="211" y="70"/>
                  <a:pt x="211" y="70"/>
                </a:cubicBezTo>
                <a:cubicBezTo>
                  <a:pt x="210" y="70"/>
                  <a:pt x="210" y="70"/>
                  <a:pt x="210" y="70"/>
                </a:cubicBezTo>
                <a:cubicBezTo>
                  <a:pt x="209" y="71"/>
                  <a:pt x="209" y="71"/>
                  <a:pt x="209" y="71"/>
                </a:cubicBezTo>
                <a:cubicBezTo>
                  <a:pt x="209" y="72"/>
                  <a:pt x="209" y="72"/>
                  <a:pt x="209" y="72"/>
                </a:cubicBezTo>
                <a:cubicBezTo>
                  <a:pt x="208" y="72"/>
                  <a:pt x="208" y="72"/>
                  <a:pt x="208" y="72"/>
                </a:cubicBezTo>
                <a:cubicBezTo>
                  <a:pt x="208" y="73"/>
                  <a:pt x="208" y="73"/>
                  <a:pt x="208" y="73"/>
                </a:cubicBezTo>
                <a:cubicBezTo>
                  <a:pt x="208" y="74"/>
                  <a:pt x="208" y="74"/>
                  <a:pt x="208" y="74"/>
                </a:cubicBezTo>
                <a:cubicBezTo>
                  <a:pt x="207" y="75"/>
                  <a:pt x="207" y="75"/>
                  <a:pt x="207" y="75"/>
                </a:cubicBezTo>
                <a:cubicBezTo>
                  <a:pt x="207" y="76"/>
                  <a:pt x="207" y="76"/>
                  <a:pt x="207" y="76"/>
                </a:cubicBezTo>
                <a:cubicBezTo>
                  <a:pt x="208" y="75"/>
                  <a:pt x="208" y="75"/>
                  <a:pt x="208" y="75"/>
                </a:cubicBezTo>
                <a:cubicBezTo>
                  <a:pt x="208" y="75"/>
                  <a:pt x="208" y="75"/>
                  <a:pt x="208" y="75"/>
                </a:cubicBezTo>
                <a:cubicBezTo>
                  <a:pt x="209" y="73"/>
                  <a:pt x="209" y="73"/>
                  <a:pt x="209" y="73"/>
                </a:cubicBezTo>
                <a:cubicBezTo>
                  <a:pt x="210" y="72"/>
                  <a:pt x="210" y="72"/>
                  <a:pt x="210" y="72"/>
                </a:cubicBezTo>
                <a:cubicBezTo>
                  <a:pt x="211" y="71"/>
                  <a:pt x="211" y="71"/>
                  <a:pt x="211" y="71"/>
                </a:cubicBezTo>
                <a:cubicBezTo>
                  <a:pt x="212" y="71"/>
                  <a:pt x="212" y="71"/>
                  <a:pt x="212" y="71"/>
                </a:cubicBezTo>
                <a:cubicBezTo>
                  <a:pt x="212" y="72"/>
                  <a:pt x="212" y="72"/>
                  <a:pt x="212" y="72"/>
                </a:cubicBezTo>
                <a:cubicBezTo>
                  <a:pt x="213" y="70"/>
                  <a:pt x="213" y="70"/>
                  <a:pt x="213" y="70"/>
                </a:cubicBezTo>
                <a:cubicBezTo>
                  <a:pt x="215" y="69"/>
                  <a:pt x="215" y="69"/>
                  <a:pt x="215" y="69"/>
                </a:cubicBezTo>
                <a:cubicBezTo>
                  <a:pt x="216" y="69"/>
                  <a:pt x="216" y="69"/>
                  <a:pt x="216" y="69"/>
                </a:cubicBezTo>
                <a:cubicBezTo>
                  <a:pt x="216" y="67"/>
                  <a:pt x="216" y="67"/>
                  <a:pt x="216" y="67"/>
                </a:cubicBezTo>
                <a:cubicBezTo>
                  <a:pt x="218" y="66"/>
                  <a:pt x="218" y="66"/>
                  <a:pt x="218" y="66"/>
                </a:cubicBezTo>
                <a:cubicBezTo>
                  <a:pt x="220" y="64"/>
                  <a:pt x="220" y="64"/>
                  <a:pt x="220" y="64"/>
                </a:cubicBezTo>
                <a:cubicBezTo>
                  <a:pt x="220" y="64"/>
                  <a:pt x="220" y="64"/>
                  <a:pt x="220" y="64"/>
                </a:cubicBezTo>
                <a:cubicBezTo>
                  <a:pt x="221" y="64"/>
                  <a:pt x="221" y="64"/>
                  <a:pt x="221" y="64"/>
                </a:cubicBezTo>
                <a:cubicBezTo>
                  <a:pt x="222" y="64"/>
                  <a:pt x="222" y="64"/>
                  <a:pt x="222" y="64"/>
                </a:cubicBezTo>
                <a:cubicBezTo>
                  <a:pt x="223" y="63"/>
                  <a:pt x="223" y="63"/>
                  <a:pt x="223" y="63"/>
                </a:cubicBezTo>
                <a:cubicBezTo>
                  <a:pt x="223" y="63"/>
                  <a:pt x="223" y="63"/>
                  <a:pt x="223" y="63"/>
                </a:cubicBezTo>
                <a:cubicBezTo>
                  <a:pt x="224" y="63"/>
                  <a:pt x="224" y="63"/>
                  <a:pt x="224" y="63"/>
                </a:cubicBezTo>
                <a:cubicBezTo>
                  <a:pt x="226" y="63"/>
                  <a:pt x="226" y="63"/>
                  <a:pt x="226" y="63"/>
                </a:cubicBezTo>
                <a:cubicBezTo>
                  <a:pt x="228" y="62"/>
                  <a:pt x="228" y="62"/>
                  <a:pt x="228" y="62"/>
                </a:cubicBezTo>
                <a:cubicBezTo>
                  <a:pt x="229" y="61"/>
                  <a:pt x="229" y="61"/>
                  <a:pt x="229" y="61"/>
                </a:cubicBezTo>
                <a:cubicBezTo>
                  <a:pt x="230" y="61"/>
                  <a:pt x="230" y="61"/>
                  <a:pt x="230" y="61"/>
                </a:cubicBezTo>
                <a:cubicBezTo>
                  <a:pt x="231" y="60"/>
                  <a:pt x="231" y="60"/>
                  <a:pt x="231" y="60"/>
                </a:cubicBezTo>
                <a:cubicBezTo>
                  <a:pt x="232" y="59"/>
                  <a:pt x="232" y="59"/>
                  <a:pt x="232" y="59"/>
                </a:cubicBezTo>
                <a:cubicBezTo>
                  <a:pt x="233" y="59"/>
                  <a:pt x="233" y="59"/>
                  <a:pt x="233" y="59"/>
                </a:cubicBezTo>
                <a:cubicBezTo>
                  <a:pt x="233" y="58"/>
                  <a:pt x="233" y="58"/>
                  <a:pt x="233" y="58"/>
                </a:cubicBezTo>
                <a:cubicBezTo>
                  <a:pt x="235" y="57"/>
                  <a:pt x="235" y="57"/>
                  <a:pt x="235" y="57"/>
                </a:cubicBezTo>
                <a:cubicBezTo>
                  <a:pt x="236" y="55"/>
                  <a:pt x="236" y="55"/>
                  <a:pt x="236" y="55"/>
                </a:cubicBezTo>
                <a:cubicBezTo>
                  <a:pt x="236" y="55"/>
                  <a:pt x="236" y="55"/>
                  <a:pt x="236" y="55"/>
                </a:cubicBezTo>
                <a:cubicBezTo>
                  <a:pt x="236" y="54"/>
                  <a:pt x="236" y="54"/>
                  <a:pt x="236" y="54"/>
                </a:cubicBezTo>
                <a:cubicBezTo>
                  <a:pt x="237" y="53"/>
                  <a:pt x="237" y="53"/>
                  <a:pt x="237" y="53"/>
                </a:cubicBezTo>
                <a:cubicBezTo>
                  <a:pt x="237" y="53"/>
                  <a:pt x="237" y="53"/>
                  <a:pt x="237" y="53"/>
                </a:cubicBezTo>
                <a:cubicBezTo>
                  <a:pt x="237" y="53"/>
                  <a:pt x="237" y="53"/>
                  <a:pt x="237" y="53"/>
                </a:cubicBezTo>
                <a:cubicBezTo>
                  <a:pt x="238" y="54"/>
                  <a:pt x="238" y="54"/>
                  <a:pt x="238" y="54"/>
                </a:cubicBezTo>
                <a:cubicBezTo>
                  <a:pt x="238" y="55"/>
                  <a:pt x="238" y="55"/>
                  <a:pt x="238" y="55"/>
                </a:cubicBezTo>
                <a:cubicBezTo>
                  <a:pt x="237" y="56"/>
                  <a:pt x="237" y="56"/>
                  <a:pt x="237" y="56"/>
                </a:cubicBezTo>
                <a:cubicBezTo>
                  <a:pt x="238" y="57"/>
                  <a:pt x="238" y="57"/>
                  <a:pt x="238" y="57"/>
                </a:cubicBezTo>
                <a:cubicBezTo>
                  <a:pt x="238" y="58"/>
                  <a:pt x="238" y="58"/>
                  <a:pt x="238" y="58"/>
                </a:cubicBezTo>
                <a:cubicBezTo>
                  <a:pt x="238" y="59"/>
                  <a:pt x="238" y="59"/>
                  <a:pt x="238" y="59"/>
                </a:cubicBezTo>
                <a:cubicBezTo>
                  <a:pt x="238" y="59"/>
                  <a:pt x="238" y="59"/>
                  <a:pt x="238" y="59"/>
                </a:cubicBezTo>
                <a:cubicBezTo>
                  <a:pt x="238" y="59"/>
                  <a:pt x="238" y="59"/>
                  <a:pt x="238" y="59"/>
                </a:cubicBezTo>
                <a:cubicBezTo>
                  <a:pt x="239" y="58"/>
                  <a:pt x="239" y="58"/>
                  <a:pt x="239" y="58"/>
                </a:cubicBezTo>
                <a:cubicBezTo>
                  <a:pt x="239" y="57"/>
                  <a:pt x="239" y="57"/>
                  <a:pt x="239" y="57"/>
                </a:cubicBezTo>
                <a:cubicBezTo>
                  <a:pt x="239" y="57"/>
                  <a:pt x="239" y="57"/>
                  <a:pt x="239" y="57"/>
                </a:cubicBezTo>
                <a:cubicBezTo>
                  <a:pt x="239" y="55"/>
                  <a:pt x="239" y="55"/>
                  <a:pt x="239" y="55"/>
                </a:cubicBezTo>
                <a:cubicBezTo>
                  <a:pt x="239" y="55"/>
                  <a:pt x="239" y="55"/>
                  <a:pt x="239" y="55"/>
                </a:cubicBezTo>
                <a:cubicBezTo>
                  <a:pt x="240" y="55"/>
                  <a:pt x="240" y="55"/>
                  <a:pt x="240" y="55"/>
                </a:cubicBezTo>
                <a:cubicBezTo>
                  <a:pt x="240" y="56"/>
                  <a:pt x="240" y="56"/>
                  <a:pt x="240" y="56"/>
                </a:cubicBezTo>
                <a:cubicBezTo>
                  <a:pt x="241" y="57"/>
                  <a:pt x="241" y="57"/>
                  <a:pt x="241" y="57"/>
                </a:cubicBezTo>
                <a:cubicBezTo>
                  <a:pt x="242" y="57"/>
                  <a:pt x="242" y="57"/>
                  <a:pt x="242" y="57"/>
                </a:cubicBezTo>
                <a:cubicBezTo>
                  <a:pt x="243" y="56"/>
                  <a:pt x="243" y="56"/>
                  <a:pt x="243" y="56"/>
                </a:cubicBezTo>
                <a:cubicBezTo>
                  <a:pt x="243" y="56"/>
                  <a:pt x="243" y="56"/>
                  <a:pt x="243" y="56"/>
                </a:cubicBezTo>
                <a:cubicBezTo>
                  <a:pt x="243" y="55"/>
                  <a:pt x="243" y="55"/>
                  <a:pt x="243" y="55"/>
                </a:cubicBezTo>
                <a:cubicBezTo>
                  <a:pt x="243" y="54"/>
                  <a:pt x="243" y="54"/>
                  <a:pt x="243" y="54"/>
                </a:cubicBezTo>
                <a:cubicBezTo>
                  <a:pt x="244" y="54"/>
                  <a:pt x="244" y="54"/>
                  <a:pt x="244" y="54"/>
                </a:cubicBezTo>
                <a:cubicBezTo>
                  <a:pt x="244" y="54"/>
                  <a:pt x="244" y="54"/>
                  <a:pt x="244" y="54"/>
                </a:cubicBezTo>
                <a:cubicBezTo>
                  <a:pt x="244" y="52"/>
                  <a:pt x="244" y="52"/>
                  <a:pt x="244" y="52"/>
                </a:cubicBezTo>
                <a:cubicBezTo>
                  <a:pt x="244" y="51"/>
                  <a:pt x="244" y="51"/>
                  <a:pt x="244" y="51"/>
                </a:cubicBezTo>
                <a:cubicBezTo>
                  <a:pt x="244" y="51"/>
                  <a:pt x="244" y="51"/>
                  <a:pt x="244" y="51"/>
                </a:cubicBezTo>
                <a:cubicBezTo>
                  <a:pt x="245" y="50"/>
                  <a:pt x="245" y="50"/>
                  <a:pt x="245" y="50"/>
                </a:cubicBezTo>
                <a:cubicBezTo>
                  <a:pt x="245" y="51"/>
                  <a:pt x="245" y="51"/>
                  <a:pt x="245" y="51"/>
                </a:cubicBezTo>
                <a:cubicBezTo>
                  <a:pt x="246" y="52"/>
                  <a:pt x="246" y="52"/>
                  <a:pt x="246" y="52"/>
                </a:cubicBezTo>
                <a:cubicBezTo>
                  <a:pt x="248" y="51"/>
                  <a:pt x="248" y="51"/>
                  <a:pt x="248" y="51"/>
                </a:cubicBezTo>
                <a:cubicBezTo>
                  <a:pt x="248" y="50"/>
                  <a:pt x="248" y="50"/>
                  <a:pt x="248" y="50"/>
                </a:cubicBezTo>
                <a:cubicBezTo>
                  <a:pt x="250" y="50"/>
                  <a:pt x="250" y="50"/>
                  <a:pt x="250" y="50"/>
                </a:cubicBezTo>
                <a:cubicBezTo>
                  <a:pt x="251" y="50"/>
                  <a:pt x="251" y="50"/>
                  <a:pt x="251" y="50"/>
                </a:cubicBezTo>
                <a:cubicBezTo>
                  <a:pt x="252" y="49"/>
                  <a:pt x="252" y="49"/>
                  <a:pt x="252" y="49"/>
                </a:cubicBezTo>
                <a:cubicBezTo>
                  <a:pt x="254" y="50"/>
                  <a:pt x="254" y="50"/>
                  <a:pt x="254" y="50"/>
                </a:cubicBezTo>
                <a:cubicBezTo>
                  <a:pt x="255" y="51"/>
                  <a:pt x="255" y="51"/>
                  <a:pt x="255" y="51"/>
                </a:cubicBezTo>
                <a:cubicBezTo>
                  <a:pt x="257" y="51"/>
                  <a:pt x="257" y="51"/>
                  <a:pt x="257" y="51"/>
                </a:cubicBezTo>
                <a:cubicBezTo>
                  <a:pt x="258" y="51"/>
                  <a:pt x="258" y="51"/>
                  <a:pt x="258" y="51"/>
                </a:cubicBezTo>
                <a:cubicBezTo>
                  <a:pt x="259" y="52"/>
                  <a:pt x="259" y="52"/>
                  <a:pt x="259" y="52"/>
                </a:cubicBezTo>
                <a:cubicBezTo>
                  <a:pt x="260" y="53"/>
                  <a:pt x="260" y="53"/>
                  <a:pt x="260" y="53"/>
                </a:cubicBezTo>
                <a:cubicBezTo>
                  <a:pt x="261" y="53"/>
                  <a:pt x="261" y="53"/>
                  <a:pt x="261" y="53"/>
                </a:cubicBezTo>
                <a:cubicBezTo>
                  <a:pt x="262" y="53"/>
                  <a:pt x="262" y="53"/>
                  <a:pt x="262" y="53"/>
                </a:cubicBezTo>
                <a:cubicBezTo>
                  <a:pt x="262" y="54"/>
                  <a:pt x="262" y="54"/>
                  <a:pt x="262" y="54"/>
                </a:cubicBezTo>
                <a:cubicBezTo>
                  <a:pt x="263" y="55"/>
                  <a:pt x="263" y="55"/>
                  <a:pt x="263" y="55"/>
                </a:cubicBezTo>
                <a:cubicBezTo>
                  <a:pt x="264" y="56"/>
                  <a:pt x="264" y="56"/>
                  <a:pt x="264" y="56"/>
                </a:cubicBezTo>
                <a:cubicBezTo>
                  <a:pt x="265" y="57"/>
                  <a:pt x="265" y="57"/>
                  <a:pt x="265" y="57"/>
                </a:cubicBezTo>
                <a:cubicBezTo>
                  <a:pt x="266" y="58"/>
                  <a:pt x="266" y="58"/>
                  <a:pt x="266" y="58"/>
                </a:cubicBezTo>
                <a:cubicBezTo>
                  <a:pt x="266" y="60"/>
                  <a:pt x="266" y="60"/>
                  <a:pt x="266" y="60"/>
                </a:cubicBezTo>
                <a:cubicBezTo>
                  <a:pt x="266" y="61"/>
                  <a:pt x="266" y="61"/>
                  <a:pt x="266" y="61"/>
                </a:cubicBezTo>
                <a:cubicBezTo>
                  <a:pt x="266" y="62"/>
                  <a:pt x="266" y="62"/>
                  <a:pt x="266" y="62"/>
                </a:cubicBezTo>
                <a:cubicBezTo>
                  <a:pt x="264" y="62"/>
                  <a:pt x="264" y="62"/>
                  <a:pt x="264" y="62"/>
                </a:cubicBezTo>
                <a:cubicBezTo>
                  <a:pt x="263" y="63"/>
                  <a:pt x="263" y="63"/>
                  <a:pt x="263" y="63"/>
                </a:cubicBezTo>
                <a:cubicBezTo>
                  <a:pt x="263" y="64"/>
                  <a:pt x="263" y="64"/>
                  <a:pt x="263" y="64"/>
                </a:cubicBezTo>
                <a:cubicBezTo>
                  <a:pt x="262" y="64"/>
                  <a:pt x="262" y="64"/>
                  <a:pt x="262" y="64"/>
                </a:cubicBezTo>
                <a:cubicBezTo>
                  <a:pt x="261" y="65"/>
                  <a:pt x="261" y="65"/>
                  <a:pt x="261" y="65"/>
                </a:cubicBezTo>
                <a:cubicBezTo>
                  <a:pt x="260" y="67"/>
                  <a:pt x="260" y="67"/>
                  <a:pt x="260" y="67"/>
                </a:cubicBezTo>
                <a:cubicBezTo>
                  <a:pt x="259" y="68"/>
                  <a:pt x="259" y="68"/>
                  <a:pt x="259" y="68"/>
                </a:cubicBezTo>
                <a:cubicBezTo>
                  <a:pt x="259" y="68"/>
                  <a:pt x="259" y="68"/>
                  <a:pt x="259" y="68"/>
                </a:cubicBezTo>
                <a:cubicBezTo>
                  <a:pt x="258" y="67"/>
                  <a:pt x="258" y="67"/>
                  <a:pt x="258" y="67"/>
                </a:cubicBezTo>
                <a:cubicBezTo>
                  <a:pt x="256" y="66"/>
                  <a:pt x="256" y="66"/>
                  <a:pt x="256" y="66"/>
                </a:cubicBezTo>
                <a:cubicBezTo>
                  <a:pt x="256" y="66"/>
                  <a:pt x="256" y="66"/>
                  <a:pt x="256" y="66"/>
                </a:cubicBezTo>
                <a:cubicBezTo>
                  <a:pt x="255" y="67"/>
                  <a:pt x="255" y="67"/>
                  <a:pt x="255" y="67"/>
                </a:cubicBezTo>
                <a:cubicBezTo>
                  <a:pt x="254" y="68"/>
                  <a:pt x="254" y="68"/>
                  <a:pt x="254" y="68"/>
                </a:cubicBezTo>
                <a:cubicBezTo>
                  <a:pt x="254" y="69"/>
                  <a:pt x="254" y="69"/>
                  <a:pt x="254" y="69"/>
                </a:cubicBezTo>
                <a:cubicBezTo>
                  <a:pt x="254" y="69"/>
                  <a:pt x="254" y="69"/>
                  <a:pt x="254" y="69"/>
                </a:cubicBezTo>
                <a:cubicBezTo>
                  <a:pt x="254" y="70"/>
                  <a:pt x="254" y="70"/>
                  <a:pt x="254" y="70"/>
                </a:cubicBezTo>
                <a:cubicBezTo>
                  <a:pt x="255" y="71"/>
                  <a:pt x="255" y="71"/>
                  <a:pt x="255" y="71"/>
                </a:cubicBezTo>
                <a:cubicBezTo>
                  <a:pt x="256" y="71"/>
                  <a:pt x="256" y="71"/>
                  <a:pt x="256" y="71"/>
                </a:cubicBezTo>
                <a:cubicBezTo>
                  <a:pt x="256" y="72"/>
                  <a:pt x="256" y="72"/>
                  <a:pt x="256" y="72"/>
                </a:cubicBezTo>
                <a:cubicBezTo>
                  <a:pt x="255" y="72"/>
                  <a:pt x="255" y="72"/>
                  <a:pt x="255" y="72"/>
                </a:cubicBezTo>
                <a:cubicBezTo>
                  <a:pt x="254" y="72"/>
                  <a:pt x="254" y="72"/>
                  <a:pt x="254" y="72"/>
                </a:cubicBezTo>
                <a:cubicBezTo>
                  <a:pt x="254" y="72"/>
                  <a:pt x="254" y="72"/>
                  <a:pt x="254" y="72"/>
                </a:cubicBezTo>
                <a:cubicBezTo>
                  <a:pt x="252" y="73"/>
                  <a:pt x="252" y="73"/>
                  <a:pt x="252" y="73"/>
                </a:cubicBezTo>
                <a:cubicBezTo>
                  <a:pt x="250" y="74"/>
                  <a:pt x="250" y="74"/>
                  <a:pt x="250" y="74"/>
                </a:cubicBezTo>
                <a:cubicBezTo>
                  <a:pt x="249" y="74"/>
                  <a:pt x="249" y="74"/>
                  <a:pt x="249" y="74"/>
                </a:cubicBezTo>
                <a:cubicBezTo>
                  <a:pt x="249" y="74"/>
                  <a:pt x="249" y="74"/>
                  <a:pt x="249" y="74"/>
                </a:cubicBezTo>
                <a:cubicBezTo>
                  <a:pt x="248" y="74"/>
                  <a:pt x="248" y="74"/>
                  <a:pt x="248" y="74"/>
                </a:cubicBezTo>
                <a:cubicBezTo>
                  <a:pt x="247" y="73"/>
                  <a:pt x="247" y="73"/>
                  <a:pt x="247" y="73"/>
                </a:cubicBezTo>
                <a:cubicBezTo>
                  <a:pt x="246" y="73"/>
                  <a:pt x="246" y="73"/>
                  <a:pt x="246" y="73"/>
                </a:cubicBezTo>
                <a:cubicBezTo>
                  <a:pt x="245" y="73"/>
                  <a:pt x="245" y="73"/>
                  <a:pt x="245" y="73"/>
                </a:cubicBezTo>
                <a:cubicBezTo>
                  <a:pt x="245" y="73"/>
                  <a:pt x="245" y="73"/>
                  <a:pt x="245" y="73"/>
                </a:cubicBezTo>
                <a:cubicBezTo>
                  <a:pt x="244" y="73"/>
                  <a:pt x="244" y="73"/>
                  <a:pt x="244" y="73"/>
                </a:cubicBezTo>
                <a:cubicBezTo>
                  <a:pt x="244" y="73"/>
                  <a:pt x="244" y="73"/>
                  <a:pt x="244" y="73"/>
                </a:cubicBezTo>
                <a:cubicBezTo>
                  <a:pt x="244" y="73"/>
                  <a:pt x="244" y="73"/>
                  <a:pt x="244" y="73"/>
                </a:cubicBezTo>
                <a:cubicBezTo>
                  <a:pt x="243" y="73"/>
                  <a:pt x="243" y="73"/>
                  <a:pt x="243" y="73"/>
                </a:cubicBezTo>
                <a:cubicBezTo>
                  <a:pt x="243" y="73"/>
                  <a:pt x="243" y="73"/>
                  <a:pt x="243" y="73"/>
                </a:cubicBezTo>
                <a:cubicBezTo>
                  <a:pt x="242" y="73"/>
                  <a:pt x="242" y="73"/>
                  <a:pt x="242" y="73"/>
                </a:cubicBezTo>
                <a:cubicBezTo>
                  <a:pt x="242" y="73"/>
                  <a:pt x="242" y="73"/>
                  <a:pt x="242" y="73"/>
                </a:cubicBezTo>
                <a:cubicBezTo>
                  <a:pt x="241" y="74"/>
                  <a:pt x="241" y="74"/>
                  <a:pt x="241" y="74"/>
                </a:cubicBezTo>
                <a:cubicBezTo>
                  <a:pt x="240" y="74"/>
                  <a:pt x="240" y="74"/>
                  <a:pt x="240" y="74"/>
                </a:cubicBezTo>
                <a:cubicBezTo>
                  <a:pt x="240" y="74"/>
                  <a:pt x="240" y="74"/>
                  <a:pt x="240" y="74"/>
                </a:cubicBezTo>
                <a:cubicBezTo>
                  <a:pt x="239" y="74"/>
                  <a:pt x="239" y="74"/>
                  <a:pt x="239" y="74"/>
                </a:cubicBezTo>
                <a:cubicBezTo>
                  <a:pt x="239" y="75"/>
                  <a:pt x="239" y="75"/>
                  <a:pt x="239" y="75"/>
                </a:cubicBezTo>
                <a:cubicBezTo>
                  <a:pt x="237" y="74"/>
                  <a:pt x="237" y="74"/>
                  <a:pt x="237" y="74"/>
                </a:cubicBezTo>
                <a:cubicBezTo>
                  <a:pt x="236" y="74"/>
                  <a:pt x="236" y="74"/>
                  <a:pt x="236" y="74"/>
                </a:cubicBezTo>
                <a:cubicBezTo>
                  <a:pt x="235" y="74"/>
                  <a:pt x="235" y="74"/>
                  <a:pt x="235" y="74"/>
                </a:cubicBezTo>
                <a:cubicBezTo>
                  <a:pt x="234" y="75"/>
                  <a:pt x="234" y="75"/>
                  <a:pt x="234" y="75"/>
                </a:cubicBezTo>
                <a:cubicBezTo>
                  <a:pt x="233" y="75"/>
                  <a:pt x="233" y="75"/>
                  <a:pt x="233" y="75"/>
                </a:cubicBezTo>
                <a:cubicBezTo>
                  <a:pt x="232" y="75"/>
                  <a:pt x="232" y="75"/>
                  <a:pt x="232" y="75"/>
                </a:cubicBezTo>
                <a:cubicBezTo>
                  <a:pt x="233" y="75"/>
                  <a:pt x="233" y="75"/>
                  <a:pt x="233" y="75"/>
                </a:cubicBezTo>
                <a:cubicBezTo>
                  <a:pt x="234" y="75"/>
                  <a:pt x="234" y="75"/>
                  <a:pt x="234" y="75"/>
                </a:cubicBezTo>
                <a:cubicBezTo>
                  <a:pt x="236" y="75"/>
                  <a:pt x="236" y="75"/>
                  <a:pt x="236" y="75"/>
                </a:cubicBezTo>
                <a:cubicBezTo>
                  <a:pt x="237" y="75"/>
                  <a:pt x="237" y="75"/>
                  <a:pt x="237" y="75"/>
                </a:cubicBezTo>
                <a:cubicBezTo>
                  <a:pt x="238" y="75"/>
                  <a:pt x="238" y="75"/>
                  <a:pt x="238" y="75"/>
                </a:cubicBezTo>
                <a:cubicBezTo>
                  <a:pt x="239" y="75"/>
                  <a:pt x="239" y="75"/>
                  <a:pt x="239" y="75"/>
                </a:cubicBezTo>
                <a:cubicBezTo>
                  <a:pt x="241" y="76"/>
                  <a:pt x="241" y="76"/>
                  <a:pt x="241" y="76"/>
                </a:cubicBezTo>
                <a:cubicBezTo>
                  <a:pt x="243" y="76"/>
                  <a:pt x="243" y="76"/>
                  <a:pt x="243" y="76"/>
                </a:cubicBezTo>
                <a:cubicBezTo>
                  <a:pt x="244" y="76"/>
                  <a:pt x="244" y="76"/>
                  <a:pt x="244" y="76"/>
                </a:cubicBezTo>
                <a:cubicBezTo>
                  <a:pt x="244" y="76"/>
                  <a:pt x="244" y="76"/>
                  <a:pt x="244" y="76"/>
                </a:cubicBezTo>
                <a:cubicBezTo>
                  <a:pt x="245" y="76"/>
                  <a:pt x="245" y="76"/>
                  <a:pt x="245" y="76"/>
                </a:cubicBezTo>
                <a:cubicBezTo>
                  <a:pt x="246" y="76"/>
                  <a:pt x="246" y="76"/>
                  <a:pt x="246" y="76"/>
                </a:cubicBezTo>
                <a:cubicBezTo>
                  <a:pt x="247" y="76"/>
                  <a:pt x="247" y="76"/>
                  <a:pt x="247" y="76"/>
                </a:cubicBezTo>
                <a:cubicBezTo>
                  <a:pt x="247" y="76"/>
                  <a:pt x="247" y="76"/>
                  <a:pt x="247" y="76"/>
                </a:cubicBezTo>
                <a:cubicBezTo>
                  <a:pt x="248" y="77"/>
                  <a:pt x="248" y="77"/>
                  <a:pt x="248" y="77"/>
                </a:cubicBezTo>
                <a:cubicBezTo>
                  <a:pt x="249" y="78"/>
                  <a:pt x="249" y="78"/>
                  <a:pt x="249" y="78"/>
                </a:cubicBezTo>
                <a:cubicBezTo>
                  <a:pt x="249" y="78"/>
                  <a:pt x="249" y="78"/>
                  <a:pt x="249" y="78"/>
                </a:cubicBezTo>
                <a:cubicBezTo>
                  <a:pt x="248" y="79"/>
                  <a:pt x="248" y="79"/>
                  <a:pt x="248" y="79"/>
                </a:cubicBezTo>
                <a:cubicBezTo>
                  <a:pt x="247" y="80"/>
                  <a:pt x="247" y="80"/>
                  <a:pt x="247" y="80"/>
                </a:cubicBezTo>
                <a:cubicBezTo>
                  <a:pt x="247" y="80"/>
                  <a:pt x="247" y="80"/>
                  <a:pt x="247" y="80"/>
                </a:cubicBezTo>
                <a:cubicBezTo>
                  <a:pt x="247" y="80"/>
                  <a:pt x="247" y="80"/>
                  <a:pt x="247" y="80"/>
                </a:cubicBezTo>
                <a:cubicBezTo>
                  <a:pt x="247" y="81"/>
                  <a:pt x="247" y="81"/>
                  <a:pt x="247" y="81"/>
                </a:cubicBezTo>
                <a:cubicBezTo>
                  <a:pt x="246" y="82"/>
                  <a:pt x="246" y="82"/>
                  <a:pt x="246" y="82"/>
                </a:cubicBezTo>
                <a:cubicBezTo>
                  <a:pt x="243" y="82"/>
                  <a:pt x="243" y="82"/>
                  <a:pt x="243" y="82"/>
                </a:cubicBezTo>
                <a:cubicBezTo>
                  <a:pt x="242" y="82"/>
                  <a:pt x="242" y="82"/>
                  <a:pt x="242" y="82"/>
                </a:cubicBezTo>
                <a:cubicBezTo>
                  <a:pt x="241" y="82"/>
                  <a:pt x="241" y="82"/>
                  <a:pt x="241" y="82"/>
                </a:cubicBezTo>
                <a:cubicBezTo>
                  <a:pt x="239" y="82"/>
                  <a:pt x="239" y="82"/>
                  <a:pt x="239" y="82"/>
                </a:cubicBezTo>
                <a:cubicBezTo>
                  <a:pt x="238" y="82"/>
                  <a:pt x="238" y="82"/>
                  <a:pt x="238" y="82"/>
                </a:cubicBezTo>
                <a:cubicBezTo>
                  <a:pt x="236" y="80"/>
                  <a:pt x="236" y="80"/>
                  <a:pt x="236" y="80"/>
                </a:cubicBezTo>
                <a:cubicBezTo>
                  <a:pt x="234" y="80"/>
                  <a:pt x="234" y="80"/>
                  <a:pt x="234" y="80"/>
                </a:cubicBezTo>
                <a:cubicBezTo>
                  <a:pt x="233" y="80"/>
                  <a:pt x="233" y="80"/>
                  <a:pt x="233" y="80"/>
                </a:cubicBezTo>
                <a:cubicBezTo>
                  <a:pt x="232" y="80"/>
                  <a:pt x="232" y="80"/>
                  <a:pt x="232" y="80"/>
                </a:cubicBezTo>
                <a:cubicBezTo>
                  <a:pt x="232" y="82"/>
                  <a:pt x="232" y="82"/>
                  <a:pt x="232" y="82"/>
                </a:cubicBezTo>
                <a:cubicBezTo>
                  <a:pt x="230" y="83"/>
                  <a:pt x="230" y="83"/>
                  <a:pt x="230" y="83"/>
                </a:cubicBezTo>
                <a:cubicBezTo>
                  <a:pt x="230" y="83"/>
                  <a:pt x="230" y="83"/>
                  <a:pt x="230" y="83"/>
                </a:cubicBezTo>
                <a:cubicBezTo>
                  <a:pt x="229" y="84"/>
                  <a:pt x="229" y="84"/>
                  <a:pt x="229" y="84"/>
                </a:cubicBezTo>
                <a:cubicBezTo>
                  <a:pt x="230" y="84"/>
                  <a:pt x="230" y="84"/>
                  <a:pt x="230" y="84"/>
                </a:cubicBezTo>
                <a:cubicBezTo>
                  <a:pt x="230" y="84"/>
                  <a:pt x="230" y="84"/>
                  <a:pt x="230" y="84"/>
                </a:cubicBezTo>
                <a:cubicBezTo>
                  <a:pt x="231" y="85"/>
                  <a:pt x="231" y="85"/>
                  <a:pt x="231" y="85"/>
                </a:cubicBezTo>
                <a:cubicBezTo>
                  <a:pt x="231" y="86"/>
                  <a:pt x="231" y="86"/>
                  <a:pt x="231" y="86"/>
                </a:cubicBezTo>
                <a:cubicBezTo>
                  <a:pt x="230" y="86"/>
                  <a:pt x="230" y="86"/>
                  <a:pt x="230" y="86"/>
                </a:cubicBezTo>
                <a:cubicBezTo>
                  <a:pt x="229" y="86"/>
                  <a:pt x="229" y="86"/>
                  <a:pt x="229" y="86"/>
                </a:cubicBezTo>
                <a:cubicBezTo>
                  <a:pt x="229" y="87"/>
                  <a:pt x="229" y="87"/>
                  <a:pt x="229" y="87"/>
                </a:cubicBezTo>
                <a:cubicBezTo>
                  <a:pt x="230" y="87"/>
                  <a:pt x="230" y="87"/>
                  <a:pt x="230" y="87"/>
                </a:cubicBezTo>
                <a:cubicBezTo>
                  <a:pt x="231" y="88"/>
                  <a:pt x="231" y="88"/>
                  <a:pt x="231" y="88"/>
                </a:cubicBezTo>
                <a:cubicBezTo>
                  <a:pt x="232" y="87"/>
                  <a:pt x="232" y="87"/>
                  <a:pt x="232" y="87"/>
                </a:cubicBezTo>
                <a:cubicBezTo>
                  <a:pt x="232" y="87"/>
                  <a:pt x="232" y="87"/>
                  <a:pt x="232" y="87"/>
                </a:cubicBezTo>
                <a:cubicBezTo>
                  <a:pt x="233" y="86"/>
                  <a:pt x="233" y="86"/>
                  <a:pt x="233" y="86"/>
                </a:cubicBezTo>
                <a:cubicBezTo>
                  <a:pt x="234" y="85"/>
                  <a:pt x="234" y="85"/>
                  <a:pt x="234" y="85"/>
                </a:cubicBezTo>
                <a:cubicBezTo>
                  <a:pt x="236" y="84"/>
                  <a:pt x="236" y="84"/>
                  <a:pt x="236" y="84"/>
                </a:cubicBezTo>
                <a:cubicBezTo>
                  <a:pt x="237" y="84"/>
                  <a:pt x="237" y="84"/>
                  <a:pt x="237" y="84"/>
                </a:cubicBezTo>
                <a:cubicBezTo>
                  <a:pt x="239" y="83"/>
                  <a:pt x="239" y="83"/>
                  <a:pt x="239" y="83"/>
                </a:cubicBezTo>
                <a:cubicBezTo>
                  <a:pt x="240" y="83"/>
                  <a:pt x="240" y="83"/>
                  <a:pt x="240" y="83"/>
                </a:cubicBezTo>
                <a:cubicBezTo>
                  <a:pt x="240" y="84"/>
                  <a:pt x="240" y="84"/>
                  <a:pt x="240" y="84"/>
                </a:cubicBezTo>
                <a:cubicBezTo>
                  <a:pt x="241" y="84"/>
                  <a:pt x="241" y="84"/>
                  <a:pt x="241" y="84"/>
                </a:cubicBezTo>
                <a:cubicBezTo>
                  <a:pt x="242" y="85"/>
                  <a:pt x="242" y="85"/>
                  <a:pt x="242" y="85"/>
                </a:cubicBezTo>
                <a:cubicBezTo>
                  <a:pt x="243" y="85"/>
                  <a:pt x="243" y="85"/>
                  <a:pt x="243" y="85"/>
                </a:cubicBezTo>
                <a:cubicBezTo>
                  <a:pt x="243" y="86"/>
                  <a:pt x="243" y="86"/>
                  <a:pt x="243" y="86"/>
                </a:cubicBezTo>
                <a:cubicBezTo>
                  <a:pt x="243" y="86"/>
                  <a:pt x="243" y="86"/>
                  <a:pt x="243" y="86"/>
                </a:cubicBezTo>
                <a:cubicBezTo>
                  <a:pt x="241" y="87"/>
                  <a:pt x="241" y="87"/>
                  <a:pt x="241" y="87"/>
                </a:cubicBezTo>
                <a:cubicBezTo>
                  <a:pt x="241" y="89"/>
                  <a:pt x="241" y="89"/>
                  <a:pt x="241" y="89"/>
                </a:cubicBezTo>
                <a:cubicBezTo>
                  <a:pt x="240" y="90"/>
                  <a:pt x="240" y="90"/>
                  <a:pt x="240" y="90"/>
                </a:cubicBezTo>
                <a:cubicBezTo>
                  <a:pt x="239" y="91"/>
                  <a:pt x="239" y="91"/>
                  <a:pt x="239" y="91"/>
                </a:cubicBezTo>
                <a:cubicBezTo>
                  <a:pt x="238" y="92"/>
                  <a:pt x="238" y="92"/>
                  <a:pt x="238" y="92"/>
                </a:cubicBezTo>
                <a:cubicBezTo>
                  <a:pt x="237" y="94"/>
                  <a:pt x="237" y="94"/>
                  <a:pt x="237" y="94"/>
                </a:cubicBezTo>
                <a:cubicBezTo>
                  <a:pt x="235" y="97"/>
                  <a:pt x="235" y="97"/>
                  <a:pt x="235" y="97"/>
                </a:cubicBezTo>
                <a:cubicBezTo>
                  <a:pt x="234" y="98"/>
                  <a:pt x="234" y="98"/>
                  <a:pt x="234" y="98"/>
                </a:cubicBezTo>
                <a:cubicBezTo>
                  <a:pt x="233" y="99"/>
                  <a:pt x="233" y="99"/>
                  <a:pt x="233" y="99"/>
                </a:cubicBezTo>
                <a:cubicBezTo>
                  <a:pt x="233" y="100"/>
                  <a:pt x="233" y="100"/>
                  <a:pt x="233" y="100"/>
                </a:cubicBezTo>
                <a:cubicBezTo>
                  <a:pt x="233" y="102"/>
                  <a:pt x="233" y="102"/>
                  <a:pt x="233" y="102"/>
                </a:cubicBezTo>
                <a:cubicBezTo>
                  <a:pt x="232" y="102"/>
                  <a:pt x="232" y="102"/>
                  <a:pt x="232" y="102"/>
                </a:cubicBezTo>
                <a:cubicBezTo>
                  <a:pt x="232" y="103"/>
                  <a:pt x="232" y="103"/>
                  <a:pt x="232" y="103"/>
                </a:cubicBezTo>
                <a:cubicBezTo>
                  <a:pt x="232" y="105"/>
                  <a:pt x="232" y="105"/>
                  <a:pt x="232" y="105"/>
                </a:cubicBezTo>
                <a:cubicBezTo>
                  <a:pt x="231" y="107"/>
                  <a:pt x="231" y="107"/>
                  <a:pt x="231" y="107"/>
                </a:cubicBezTo>
                <a:cubicBezTo>
                  <a:pt x="230" y="109"/>
                  <a:pt x="230" y="109"/>
                  <a:pt x="230" y="109"/>
                </a:cubicBezTo>
                <a:cubicBezTo>
                  <a:pt x="231" y="110"/>
                  <a:pt x="231" y="110"/>
                  <a:pt x="231" y="110"/>
                </a:cubicBezTo>
                <a:cubicBezTo>
                  <a:pt x="231" y="111"/>
                  <a:pt x="231" y="111"/>
                  <a:pt x="231" y="111"/>
                </a:cubicBezTo>
                <a:cubicBezTo>
                  <a:pt x="231" y="113"/>
                  <a:pt x="231" y="113"/>
                  <a:pt x="231" y="113"/>
                </a:cubicBezTo>
                <a:cubicBezTo>
                  <a:pt x="230" y="113"/>
                  <a:pt x="230" y="113"/>
                  <a:pt x="230" y="113"/>
                </a:cubicBezTo>
                <a:cubicBezTo>
                  <a:pt x="229" y="114"/>
                  <a:pt x="229" y="114"/>
                  <a:pt x="229" y="114"/>
                </a:cubicBezTo>
                <a:cubicBezTo>
                  <a:pt x="230" y="116"/>
                  <a:pt x="230" y="116"/>
                  <a:pt x="230" y="116"/>
                </a:cubicBezTo>
                <a:cubicBezTo>
                  <a:pt x="229" y="116"/>
                  <a:pt x="229" y="116"/>
                  <a:pt x="229" y="116"/>
                </a:cubicBezTo>
                <a:cubicBezTo>
                  <a:pt x="229" y="117"/>
                  <a:pt x="229" y="117"/>
                  <a:pt x="229" y="117"/>
                </a:cubicBezTo>
                <a:cubicBezTo>
                  <a:pt x="228" y="119"/>
                  <a:pt x="228" y="119"/>
                  <a:pt x="228" y="119"/>
                </a:cubicBezTo>
                <a:cubicBezTo>
                  <a:pt x="228" y="120"/>
                  <a:pt x="228" y="120"/>
                  <a:pt x="228" y="120"/>
                </a:cubicBezTo>
                <a:cubicBezTo>
                  <a:pt x="227" y="121"/>
                  <a:pt x="227" y="121"/>
                  <a:pt x="227" y="121"/>
                </a:cubicBezTo>
                <a:cubicBezTo>
                  <a:pt x="226" y="121"/>
                  <a:pt x="226" y="121"/>
                  <a:pt x="226" y="121"/>
                </a:cubicBezTo>
                <a:cubicBezTo>
                  <a:pt x="226" y="120"/>
                  <a:pt x="226" y="120"/>
                  <a:pt x="226" y="120"/>
                </a:cubicBezTo>
                <a:cubicBezTo>
                  <a:pt x="226" y="119"/>
                  <a:pt x="226" y="119"/>
                  <a:pt x="226" y="119"/>
                </a:cubicBezTo>
                <a:cubicBezTo>
                  <a:pt x="225" y="119"/>
                  <a:pt x="225" y="119"/>
                  <a:pt x="225" y="119"/>
                </a:cubicBezTo>
                <a:cubicBezTo>
                  <a:pt x="225" y="119"/>
                  <a:pt x="225" y="119"/>
                  <a:pt x="225" y="119"/>
                </a:cubicBezTo>
                <a:cubicBezTo>
                  <a:pt x="226" y="118"/>
                  <a:pt x="226" y="118"/>
                  <a:pt x="226" y="118"/>
                </a:cubicBezTo>
                <a:cubicBezTo>
                  <a:pt x="225" y="117"/>
                  <a:pt x="225" y="117"/>
                  <a:pt x="225" y="117"/>
                </a:cubicBezTo>
                <a:cubicBezTo>
                  <a:pt x="224" y="117"/>
                  <a:pt x="224" y="117"/>
                  <a:pt x="224" y="117"/>
                </a:cubicBezTo>
                <a:cubicBezTo>
                  <a:pt x="224" y="118"/>
                  <a:pt x="224" y="118"/>
                  <a:pt x="224" y="118"/>
                </a:cubicBezTo>
                <a:cubicBezTo>
                  <a:pt x="223" y="118"/>
                  <a:pt x="223" y="118"/>
                  <a:pt x="223" y="118"/>
                </a:cubicBezTo>
                <a:cubicBezTo>
                  <a:pt x="223" y="118"/>
                  <a:pt x="223" y="118"/>
                  <a:pt x="223" y="118"/>
                </a:cubicBezTo>
                <a:cubicBezTo>
                  <a:pt x="223" y="119"/>
                  <a:pt x="223" y="119"/>
                  <a:pt x="223" y="119"/>
                </a:cubicBezTo>
                <a:cubicBezTo>
                  <a:pt x="223" y="119"/>
                  <a:pt x="223" y="119"/>
                  <a:pt x="223" y="119"/>
                </a:cubicBezTo>
                <a:cubicBezTo>
                  <a:pt x="223" y="120"/>
                  <a:pt x="223" y="120"/>
                  <a:pt x="223" y="120"/>
                </a:cubicBezTo>
                <a:cubicBezTo>
                  <a:pt x="222" y="120"/>
                  <a:pt x="222" y="120"/>
                  <a:pt x="222" y="120"/>
                </a:cubicBezTo>
                <a:cubicBezTo>
                  <a:pt x="222" y="121"/>
                  <a:pt x="222" y="121"/>
                  <a:pt x="222" y="121"/>
                </a:cubicBezTo>
                <a:cubicBezTo>
                  <a:pt x="223" y="121"/>
                  <a:pt x="223" y="121"/>
                  <a:pt x="223" y="121"/>
                </a:cubicBezTo>
                <a:cubicBezTo>
                  <a:pt x="224" y="122"/>
                  <a:pt x="224" y="122"/>
                  <a:pt x="224" y="122"/>
                </a:cubicBezTo>
                <a:cubicBezTo>
                  <a:pt x="225" y="123"/>
                  <a:pt x="225" y="123"/>
                  <a:pt x="225" y="123"/>
                </a:cubicBezTo>
                <a:cubicBezTo>
                  <a:pt x="225" y="123"/>
                  <a:pt x="225" y="123"/>
                  <a:pt x="225" y="123"/>
                </a:cubicBezTo>
                <a:cubicBezTo>
                  <a:pt x="226" y="125"/>
                  <a:pt x="226" y="125"/>
                  <a:pt x="226" y="125"/>
                </a:cubicBezTo>
                <a:cubicBezTo>
                  <a:pt x="227" y="125"/>
                  <a:pt x="227" y="125"/>
                  <a:pt x="227" y="125"/>
                </a:cubicBezTo>
                <a:cubicBezTo>
                  <a:pt x="228" y="126"/>
                  <a:pt x="228" y="126"/>
                  <a:pt x="228" y="126"/>
                </a:cubicBezTo>
                <a:cubicBezTo>
                  <a:pt x="229" y="127"/>
                  <a:pt x="229" y="127"/>
                  <a:pt x="229" y="127"/>
                </a:cubicBezTo>
                <a:cubicBezTo>
                  <a:pt x="230" y="128"/>
                  <a:pt x="230" y="128"/>
                  <a:pt x="230" y="128"/>
                </a:cubicBezTo>
                <a:cubicBezTo>
                  <a:pt x="229" y="129"/>
                  <a:pt x="229" y="129"/>
                  <a:pt x="229" y="129"/>
                </a:cubicBezTo>
                <a:cubicBezTo>
                  <a:pt x="228" y="129"/>
                  <a:pt x="228" y="129"/>
                  <a:pt x="228" y="129"/>
                </a:cubicBezTo>
                <a:cubicBezTo>
                  <a:pt x="227" y="129"/>
                  <a:pt x="227" y="129"/>
                  <a:pt x="227" y="129"/>
                </a:cubicBezTo>
                <a:cubicBezTo>
                  <a:pt x="226" y="127"/>
                  <a:pt x="226" y="127"/>
                  <a:pt x="226" y="127"/>
                </a:cubicBezTo>
                <a:cubicBezTo>
                  <a:pt x="226" y="127"/>
                  <a:pt x="226" y="127"/>
                  <a:pt x="226" y="127"/>
                </a:cubicBezTo>
                <a:cubicBezTo>
                  <a:pt x="225" y="126"/>
                  <a:pt x="225" y="126"/>
                  <a:pt x="225" y="126"/>
                </a:cubicBezTo>
                <a:cubicBezTo>
                  <a:pt x="225" y="126"/>
                  <a:pt x="225" y="126"/>
                  <a:pt x="225" y="126"/>
                </a:cubicBezTo>
                <a:cubicBezTo>
                  <a:pt x="224" y="126"/>
                  <a:pt x="224" y="126"/>
                  <a:pt x="224" y="126"/>
                </a:cubicBezTo>
                <a:cubicBezTo>
                  <a:pt x="224" y="127"/>
                  <a:pt x="224" y="127"/>
                  <a:pt x="224" y="127"/>
                </a:cubicBezTo>
                <a:cubicBezTo>
                  <a:pt x="225" y="128"/>
                  <a:pt x="225" y="128"/>
                  <a:pt x="225" y="128"/>
                </a:cubicBezTo>
                <a:cubicBezTo>
                  <a:pt x="225" y="128"/>
                  <a:pt x="225" y="128"/>
                  <a:pt x="225" y="128"/>
                </a:cubicBezTo>
                <a:cubicBezTo>
                  <a:pt x="225" y="129"/>
                  <a:pt x="225" y="129"/>
                  <a:pt x="225" y="129"/>
                </a:cubicBezTo>
                <a:cubicBezTo>
                  <a:pt x="224" y="129"/>
                  <a:pt x="224" y="129"/>
                  <a:pt x="224" y="129"/>
                </a:cubicBezTo>
                <a:cubicBezTo>
                  <a:pt x="224" y="129"/>
                  <a:pt x="224" y="129"/>
                  <a:pt x="224" y="129"/>
                </a:cubicBezTo>
                <a:cubicBezTo>
                  <a:pt x="224" y="129"/>
                  <a:pt x="224" y="129"/>
                  <a:pt x="224" y="129"/>
                </a:cubicBezTo>
                <a:cubicBezTo>
                  <a:pt x="224" y="130"/>
                  <a:pt x="224" y="130"/>
                  <a:pt x="224" y="130"/>
                </a:cubicBezTo>
                <a:cubicBezTo>
                  <a:pt x="225" y="130"/>
                  <a:pt x="225" y="130"/>
                  <a:pt x="225" y="130"/>
                </a:cubicBezTo>
                <a:cubicBezTo>
                  <a:pt x="225" y="130"/>
                  <a:pt x="225" y="130"/>
                  <a:pt x="225" y="130"/>
                </a:cubicBezTo>
                <a:cubicBezTo>
                  <a:pt x="224" y="131"/>
                  <a:pt x="224" y="131"/>
                  <a:pt x="224" y="131"/>
                </a:cubicBezTo>
                <a:cubicBezTo>
                  <a:pt x="225" y="131"/>
                  <a:pt x="225" y="131"/>
                  <a:pt x="225" y="131"/>
                </a:cubicBezTo>
                <a:cubicBezTo>
                  <a:pt x="225" y="131"/>
                  <a:pt x="225" y="131"/>
                  <a:pt x="225" y="131"/>
                </a:cubicBezTo>
                <a:cubicBezTo>
                  <a:pt x="227" y="131"/>
                  <a:pt x="227" y="131"/>
                  <a:pt x="227" y="131"/>
                </a:cubicBezTo>
                <a:cubicBezTo>
                  <a:pt x="227" y="132"/>
                  <a:pt x="227" y="132"/>
                  <a:pt x="227" y="132"/>
                </a:cubicBezTo>
                <a:cubicBezTo>
                  <a:pt x="227" y="133"/>
                  <a:pt x="227" y="133"/>
                  <a:pt x="227" y="133"/>
                </a:cubicBezTo>
                <a:cubicBezTo>
                  <a:pt x="227" y="133"/>
                  <a:pt x="227" y="133"/>
                  <a:pt x="227" y="133"/>
                </a:cubicBezTo>
                <a:cubicBezTo>
                  <a:pt x="227" y="134"/>
                  <a:pt x="227" y="134"/>
                  <a:pt x="227" y="134"/>
                </a:cubicBezTo>
                <a:cubicBezTo>
                  <a:pt x="228" y="133"/>
                  <a:pt x="228" y="133"/>
                  <a:pt x="228" y="133"/>
                </a:cubicBezTo>
                <a:cubicBezTo>
                  <a:pt x="229" y="132"/>
                  <a:pt x="229" y="132"/>
                  <a:pt x="229" y="132"/>
                </a:cubicBezTo>
                <a:cubicBezTo>
                  <a:pt x="230" y="131"/>
                  <a:pt x="230" y="131"/>
                  <a:pt x="230" y="131"/>
                </a:cubicBezTo>
                <a:cubicBezTo>
                  <a:pt x="230" y="131"/>
                  <a:pt x="230" y="131"/>
                  <a:pt x="230" y="131"/>
                </a:cubicBezTo>
                <a:cubicBezTo>
                  <a:pt x="230" y="132"/>
                  <a:pt x="230" y="132"/>
                  <a:pt x="230" y="132"/>
                </a:cubicBezTo>
                <a:cubicBezTo>
                  <a:pt x="230" y="132"/>
                  <a:pt x="230" y="132"/>
                  <a:pt x="230" y="132"/>
                </a:cubicBezTo>
                <a:cubicBezTo>
                  <a:pt x="231" y="132"/>
                  <a:pt x="231" y="132"/>
                  <a:pt x="231" y="132"/>
                </a:cubicBezTo>
                <a:cubicBezTo>
                  <a:pt x="232" y="133"/>
                  <a:pt x="232" y="133"/>
                  <a:pt x="232" y="133"/>
                </a:cubicBezTo>
                <a:cubicBezTo>
                  <a:pt x="233" y="133"/>
                  <a:pt x="233" y="133"/>
                  <a:pt x="233" y="133"/>
                </a:cubicBezTo>
                <a:cubicBezTo>
                  <a:pt x="233" y="134"/>
                  <a:pt x="233" y="134"/>
                  <a:pt x="233" y="134"/>
                </a:cubicBezTo>
                <a:cubicBezTo>
                  <a:pt x="233" y="135"/>
                  <a:pt x="233" y="135"/>
                  <a:pt x="233" y="135"/>
                </a:cubicBezTo>
                <a:cubicBezTo>
                  <a:pt x="232" y="136"/>
                  <a:pt x="232" y="136"/>
                  <a:pt x="232" y="136"/>
                </a:cubicBezTo>
                <a:cubicBezTo>
                  <a:pt x="232" y="137"/>
                  <a:pt x="232" y="137"/>
                  <a:pt x="232" y="137"/>
                </a:cubicBezTo>
                <a:cubicBezTo>
                  <a:pt x="232" y="139"/>
                  <a:pt x="232" y="139"/>
                  <a:pt x="232" y="139"/>
                </a:cubicBezTo>
                <a:cubicBezTo>
                  <a:pt x="232" y="139"/>
                  <a:pt x="232" y="139"/>
                  <a:pt x="232" y="139"/>
                </a:cubicBezTo>
                <a:cubicBezTo>
                  <a:pt x="232" y="141"/>
                  <a:pt x="232" y="141"/>
                  <a:pt x="232" y="141"/>
                </a:cubicBezTo>
                <a:cubicBezTo>
                  <a:pt x="231" y="142"/>
                  <a:pt x="231" y="142"/>
                  <a:pt x="231" y="142"/>
                </a:cubicBezTo>
                <a:cubicBezTo>
                  <a:pt x="231" y="143"/>
                  <a:pt x="231" y="143"/>
                  <a:pt x="231" y="143"/>
                </a:cubicBezTo>
                <a:cubicBezTo>
                  <a:pt x="231" y="143"/>
                  <a:pt x="231" y="143"/>
                  <a:pt x="231" y="143"/>
                </a:cubicBezTo>
                <a:cubicBezTo>
                  <a:pt x="230" y="143"/>
                  <a:pt x="230" y="143"/>
                  <a:pt x="230" y="143"/>
                </a:cubicBezTo>
                <a:cubicBezTo>
                  <a:pt x="230" y="142"/>
                  <a:pt x="230" y="142"/>
                  <a:pt x="230" y="142"/>
                </a:cubicBezTo>
                <a:cubicBezTo>
                  <a:pt x="228" y="142"/>
                  <a:pt x="228" y="142"/>
                  <a:pt x="228" y="142"/>
                </a:cubicBezTo>
                <a:cubicBezTo>
                  <a:pt x="228" y="141"/>
                  <a:pt x="228" y="141"/>
                  <a:pt x="228" y="141"/>
                </a:cubicBezTo>
                <a:cubicBezTo>
                  <a:pt x="227" y="141"/>
                  <a:pt x="227" y="141"/>
                  <a:pt x="227" y="141"/>
                </a:cubicBezTo>
                <a:cubicBezTo>
                  <a:pt x="227" y="141"/>
                  <a:pt x="227" y="141"/>
                  <a:pt x="227" y="141"/>
                </a:cubicBezTo>
                <a:cubicBezTo>
                  <a:pt x="226" y="141"/>
                  <a:pt x="226" y="141"/>
                  <a:pt x="226" y="141"/>
                </a:cubicBezTo>
                <a:cubicBezTo>
                  <a:pt x="226" y="140"/>
                  <a:pt x="226" y="140"/>
                  <a:pt x="226" y="140"/>
                </a:cubicBezTo>
                <a:cubicBezTo>
                  <a:pt x="226" y="139"/>
                  <a:pt x="226" y="139"/>
                  <a:pt x="226" y="139"/>
                </a:cubicBezTo>
                <a:cubicBezTo>
                  <a:pt x="225" y="139"/>
                  <a:pt x="225" y="139"/>
                  <a:pt x="225" y="139"/>
                </a:cubicBezTo>
                <a:cubicBezTo>
                  <a:pt x="225" y="138"/>
                  <a:pt x="225" y="138"/>
                  <a:pt x="225" y="138"/>
                </a:cubicBezTo>
                <a:cubicBezTo>
                  <a:pt x="224" y="139"/>
                  <a:pt x="224" y="139"/>
                  <a:pt x="224" y="139"/>
                </a:cubicBezTo>
                <a:cubicBezTo>
                  <a:pt x="224" y="138"/>
                  <a:pt x="224" y="138"/>
                  <a:pt x="224" y="138"/>
                </a:cubicBezTo>
                <a:cubicBezTo>
                  <a:pt x="223" y="138"/>
                  <a:pt x="223" y="138"/>
                  <a:pt x="223" y="138"/>
                </a:cubicBezTo>
                <a:cubicBezTo>
                  <a:pt x="222" y="137"/>
                  <a:pt x="222" y="137"/>
                  <a:pt x="222" y="137"/>
                </a:cubicBezTo>
                <a:cubicBezTo>
                  <a:pt x="221" y="138"/>
                  <a:pt x="221" y="138"/>
                  <a:pt x="221" y="138"/>
                </a:cubicBezTo>
                <a:cubicBezTo>
                  <a:pt x="221" y="138"/>
                  <a:pt x="221" y="138"/>
                  <a:pt x="221" y="138"/>
                </a:cubicBezTo>
                <a:cubicBezTo>
                  <a:pt x="221" y="139"/>
                  <a:pt x="221" y="139"/>
                  <a:pt x="221" y="139"/>
                </a:cubicBezTo>
                <a:cubicBezTo>
                  <a:pt x="221" y="139"/>
                  <a:pt x="221" y="139"/>
                  <a:pt x="221" y="139"/>
                </a:cubicBezTo>
                <a:cubicBezTo>
                  <a:pt x="220" y="139"/>
                  <a:pt x="220" y="139"/>
                  <a:pt x="220" y="139"/>
                </a:cubicBezTo>
                <a:cubicBezTo>
                  <a:pt x="219" y="138"/>
                  <a:pt x="219" y="138"/>
                  <a:pt x="219" y="138"/>
                </a:cubicBezTo>
                <a:cubicBezTo>
                  <a:pt x="218" y="139"/>
                  <a:pt x="218" y="139"/>
                  <a:pt x="218" y="139"/>
                </a:cubicBezTo>
                <a:cubicBezTo>
                  <a:pt x="218" y="139"/>
                  <a:pt x="218" y="139"/>
                  <a:pt x="218" y="139"/>
                </a:cubicBezTo>
                <a:cubicBezTo>
                  <a:pt x="219" y="139"/>
                  <a:pt x="219" y="139"/>
                  <a:pt x="219" y="139"/>
                </a:cubicBezTo>
                <a:cubicBezTo>
                  <a:pt x="220" y="139"/>
                  <a:pt x="220" y="139"/>
                  <a:pt x="220" y="139"/>
                </a:cubicBezTo>
                <a:cubicBezTo>
                  <a:pt x="221" y="140"/>
                  <a:pt x="221" y="140"/>
                  <a:pt x="221" y="140"/>
                </a:cubicBezTo>
                <a:cubicBezTo>
                  <a:pt x="221" y="140"/>
                  <a:pt x="221" y="140"/>
                  <a:pt x="221" y="140"/>
                </a:cubicBezTo>
                <a:cubicBezTo>
                  <a:pt x="220" y="140"/>
                  <a:pt x="220" y="140"/>
                  <a:pt x="220" y="140"/>
                </a:cubicBezTo>
                <a:cubicBezTo>
                  <a:pt x="218" y="142"/>
                  <a:pt x="218" y="142"/>
                  <a:pt x="218" y="142"/>
                </a:cubicBezTo>
                <a:cubicBezTo>
                  <a:pt x="217" y="142"/>
                  <a:pt x="217" y="142"/>
                  <a:pt x="217" y="142"/>
                </a:cubicBezTo>
                <a:cubicBezTo>
                  <a:pt x="217" y="142"/>
                  <a:pt x="217" y="142"/>
                  <a:pt x="217" y="142"/>
                </a:cubicBezTo>
                <a:cubicBezTo>
                  <a:pt x="216" y="142"/>
                  <a:pt x="216" y="142"/>
                  <a:pt x="216" y="142"/>
                </a:cubicBezTo>
                <a:cubicBezTo>
                  <a:pt x="216" y="141"/>
                  <a:pt x="216" y="141"/>
                  <a:pt x="216" y="141"/>
                </a:cubicBezTo>
                <a:cubicBezTo>
                  <a:pt x="216" y="141"/>
                  <a:pt x="216" y="141"/>
                  <a:pt x="216" y="141"/>
                </a:cubicBezTo>
                <a:cubicBezTo>
                  <a:pt x="215" y="141"/>
                  <a:pt x="215" y="141"/>
                  <a:pt x="215" y="141"/>
                </a:cubicBezTo>
                <a:cubicBezTo>
                  <a:pt x="215" y="142"/>
                  <a:pt x="215" y="142"/>
                  <a:pt x="215" y="142"/>
                </a:cubicBezTo>
                <a:cubicBezTo>
                  <a:pt x="216" y="142"/>
                  <a:pt x="216" y="142"/>
                  <a:pt x="216" y="142"/>
                </a:cubicBezTo>
                <a:cubicBezTo>
                  <a:pt x="215" y="143"/>
                  <a:pt x="215" y="143"/>
                  <a:pt x="215" y="143"/>
                </a:cubicBezTo>
                <a:cubicBezTo>
                  <a:pt x="215" y="144"/>
                  <a:pt x="215" y="144"/>
                  <a:pt x="215" y="144"/>
                </a:cubicBezTo>
                <a:cubicBezTo>
                  <a:pt x="216" y="144"/>
                  <a:pt x="216" y="144"/>
                  <a:pt x="216" y="144"/>
                </a:cubicBezTo>
                <a:cubicBezTo>
                  <a:pt x="215" y="145"/>
                  <a:pt x="215" y="145"/>
                  <a:pt x="215" y="145"/>
                </a:cubicBezTo>
                <a:cubicBezTo>
                  <a:pt x="216" y="145"/>
                  <a:pt x="216" y="145"/>
                  <a:pt x="216" y="145"/>
                </a:cubicBezTo>
                <a:cubicBezTo>
                  <a:pt x="216" y="146"/>
                  <a:pt x="216" y="146"/>
                  <a:pt x="216" y="146"/>
                </a:cubicBezTo>
                <a:cubicBezTo>
                  <a:pt x="215" y="146"/>
                  <a:pt x="215" y="146"/>
                  <a:pt x="215" y="146"/>
                </a:cubicBezTo>
                <a:cubicBezTo>
                  <a:pt x="214" y="146"/>
                  <a:pt x="214" y="146"/>
                  <a:pt x="214" y="146"/>
                </a:cubicBezTo>
                <a:cubicBezTo>
                  <a:pt x="213" y="146"/>
                  <a:pt x="213" y="146"/>
                  <a:pt x="213" y="146"/>
                </a:cubicBezTo>
                <a:cubicBezTo>
                  <a:pt x="213" y="146"/>
                  <a:pt x="213" y="146"/>
                  <a:pt x="213" y="146"/>
                </a:cubicBezTo>
                <a:cubicBezTo>
                  <a:pt x="214" y="147"/>
                  <a:pt x="214" y="147"/>
                  <a:pt x="214" y="147"/>
                </a:cubicBezTo>
                <a:cubicBezTo>
                  <a:pt x="214" y="147"/>
                  <a:pt x="214" y="147"/>
                  <a:pt x="214" y="147"/>
                </a:cubicBezTo>
                <a:cubicBezTo>
                  <a:pt x="216" y="147"/>
                  <a:pt x="216" y="147"/>
                  <a:pt x="216" y="147"/>
                </a:cubicBezTo>
                <a:cubicBezTo>
                  <a:pt x="216" y="147"/>
                  <a:pt x="216" y="147"/>
                  <a:pt x="216" y="147"/>
                </a:cubicBezTo>
                <a:cubicBezTo>
                  <a:pt x="216" y="148"/>
                  <a:pt x="216" y="148"/>
                  <a:pt x="216" y="148"/>
                </a:cubicBezTo>
                <a:cubicBezTo>
                  <a:pt x="216" y="149"/>
                  <a:pt x="216" y="149"/>
                  <a:pt x="216" y="149"/>
                </a:cubicBezTo>
                <a:cubicBezTo>
                  <a:pt x="216" y="149"/>
                  <a:pt x="216" y="149"/>
                  <a:pt x="216" y="149"/>
                </a:cubicBezTo>
                <a:cubicBezTo>
                  <a:pt x="217" y="149"/>
                  <a:pt x="217" y="149"/>
                  <a:pt x="217" y="149"/>
                </a:cubicBezTo>
                <a:cubicBezTo>
                  <a:pt x="218" y="148"/>
                  <a:pt x="218" y="148"/>
                  <a:pt x="218" y="148"/>
                </a:cubicBezTo>
                <a:cubicBezTo>
                  <a:pt x="219" y="149"/>
                  <a:pt x="219" y="149"/>
                  <a:pt x="219" y="149"/>
                </a:cubicBezTo>
                <a:cubicBezTo>
                  <a:pt x="220" y="149"/>
                  <a:pt x="220" y="149"/>
                  <a:pt x="220" y="149"/>
                </a:cubicBezTo>
                <a:cubicBezTo>
                  <a:pt x="221" y="149"/>
                  <a:pt x="221" y="149"/>
                  <a:pt x="221" y="149"/>
                </a:cubicBezTo>
                <a:cubicBezTo>
                  <a:pt x="222" y="150"/>
                  <a:pt x="222" y="150"/>
                  <a:pt x="222" y="150"/>
                </a:cubicBezTo>
                <a:cubicBezTo>
                  <a:pt x="223" y="149"/>
                  <a:pt x="223" y="149"/>
                  <a:pt x="223" y="149"/>
                </a:cubicBezTo>
                <a:cubicBezTo>
                  <a:pt x="223" y="149"/>
                  <a:pt x="223" y="149"/>
                  <a:pt x="223" y="149"/>
                </a:cubicBezTo>
                <a:cubicBezTo>
                  <a:pt x="224" y="149"/>
                  <a:pt x="224" y="149"/>
                  <a:pt x="224" y="149"/>
                </a:cubicBezTo>
                <a:cubicBezTo>
                  <a:pt x="224" y="150"/>
                  <a:pt x="224" y="150"/>
                  <a:pt x="224" y="150"/>
                </a:cubicBezTo>
                <a:cubicBezTo>
                  <a:pt x="224" y="151"/>
                  <a:pt x="224" y="151"/>
                  <a:pt x="224" y="151"/>
                </a:cubicBezTo>
                <a:cubicBezTo>
                  <a:pt x="224" y="152"/>
                  <a:pt x="224" y="152"/>
                  <a:pt x="224" y="152"/>
                </a:cubicBezTo>
                <a:cubicBezTo>
                  <a:pt x="224" y="152"/>
                  <a:pt x="224" y="152"/>
                  <a:pt x="224" y="152"/>
                </a:cubicBezTo>
                <a:cubicBezTo>
                  <a:pt x="223" y="152"/>
                  <a:pt x="223" y="152"/>
                  <a:pt x="223" y="152"/>
                </a:cubicBezTo>
                <a:cubicBezTo>
                  <a:pt x="222" y="152"/>
                  <a:pt x="222" y="152"/>
                  <a:pt x="222" y="152"/>
                </a:cubicBezTo>
                <a:cubicBezTo>
                  <a:pt x="222" y="152"/>
                  <a:pt x="222" y="152"/>
                  <a:pt x="222" y="152"/>
                </a:cubicBezTo>
                <a:cubicBezTo>
                  <a:pt x="221" y="152"/>
                  <a:pt x="221" y="152"/>
                  <a:pt x="221" y="152"/>
                </a:cubicBezTo>
                <a:cubicBezTo>
                  <a:pt x="220" y="152"/>
                  <a:pt x="220" y="152"/>
                  <a:pt x="220" y="152"/>
                </a:cubicBezTo>
                <a:cubicBezTo>
                  <a:pt x="220" y="152"/>
                  <a:pt x="220" y="152"/>
                  <a:pt x="220" y="152"/>
                </a:cubicBezTo>
                <a:cubicBezTo>
                  <a:pt x="218" y="152"/>
                  <a:pt x="218" y="152"/>
                  <a:pt x="218" y="152"/>
                </a:cubicBezTo>
                <a:cubicBezTo>
                  <a:pt x="217" y="152"/>
                  <a:pt x="217" y="152"/>
                  <a:pt x="217" y="152"/>
                </a:cubicBezTo>
                <a:cubicBezTo>
                  <a:pt x="216" y="152"/>
                  <a:pt x="216" y="152"/>
                  <a:pt x="216" y="152"/>
                </a:cubicBezTo>
                <a:cubicBezTo>
                  <a:pt x="216" y="152"/>
                  <a:pt x="216" y="152"/>
                  <a:pt x="216" y="152"/>
                </a:cubicBezTo>
                <a:cubicBezTo>
                  <a:pt x="215" y="152"/>
                  <a:pt x="215" y="152"/>
                  <a:pt x="215" y="152"/>
                </a:cubicBezTo>
                <a:cubicBezTo>
                  <a:pt x="216" y="153"/>
                  <a:pt x="216" y="153"/>
                  <a:pt x="216" y="153"/>
                </a:cubicBezTo>
                <a:cubicBezTo>
                  <a:pt x="216" y="153"/>
                  <a:pt x="216" y="153"/>
                  <a:pt x="216" y="153"/>
                </a:cubicBezTo>
                <a:cubicBezTo>
                  <a:pt x="217" y="153"/>
                  <a:pt x="217" y="153"/>
                  <a:pt x="217" y="153"/>
                </a:cubicBezTo>
                <a:cubicBezTo>
                  <a:pt x="218" y="153"/>
                  <a:pt x="218" y="153"/>
                  <a:pt x="218" y="153"/>
                </a:cubicBezTo>
                <a:cubicBezTo>
                  <a:pt x="220" y="153"/>
                  <a:pt x="220" y="153"/>
                  <a:pt x="220" y="153"/>
                </a:cubicBezTo>
                <a:cubicBezTo>
                  <a:pt x="220" y="153"/>
                  <a:pt x="220" y="153"/>
                  <a:pt x="220" y="153"/>
                </a:cubicBezTo>
                <a:cubicBezTo>
                  <a:pt x="221" y="154"/>
                  <a:pt x="221" y="154"/>
                  <a:pt x="221" y="154"/>
                </a:cubicBezTo>
                <a:cubicBezTo>
                  <a:pt x="222" y="154"/>
                  <a:pt x="222" y="154"/>
                  <a:pt x="222" y="154"/>
                </a:cubicBezTo>
                <a:cubicBezTo>
                  <a:pt x="223" y="154"/>
                  <a:pt x="223" y="154"/>
                  <a:pt x="223" y="154"/>
                </a:cubicBezTo>
                <a:cubicBezTo>
                  <a:pt x="223" y="155"/>
                  <a:pt x="223" y="155"/>
                  <a:pt x="223" y="155"/>
                </a:cubicBezTo>
                <a:cubicBezTo>
                  <a:pt x="224" y="156"/>
                  <a:pt x="224" y="156"/>
                  <a:pt x="224" y="156"/>
                </a:cubicBezTo>
                <a:cubicBezTo>
                  <a:pt x="225" y="157"/>
                  <a:pt x="225" y="157"/>
                  <a:pt x="225" y="157"/>
                </a:cubicBezTo>
                <a:cubicBezTo>
                  <a:pt x="225" y="158"/>
                  <a:pt x="225" y="158"/>
                  <a:pt x="225" y="158"/>
                </a:cubicBezTo>
                <a:cubicBezTo>
                  <a:pt x="225" y="158"/>
                  <a:pt x="225" y="158"/>
                  <a:pt x="225" y="158"/>
                </a:cubicBezTo>
                <a:cubicBezTo>
                  <a:pt x="224" y="157"/>
                  <a:pt x="224" y="157"/>
                  <a:pt x="224" y="157"/>
                </a:cubicBezTo>
                <a:cubicBezTo>
                  <a:pt x="224" y="157"/>
                  <a:pt x="224" y="157"/>
                  <a:pt x="224" y="157"/>
                </a:cubicBezTo>
                <a:cubicBezTo>
                  <a:pt x="224" y="158"/>
                  <a:pt x="224" y="158"/>
                  <a:pt x="224" y="158"/>
                </a:cubicBezTo>
                <a:cubicBezTo>
                  <a:pt x="223" y="158"/>
                  <a:pt x="223" y="158"/>
                  <a:pt x="223" y="158"/>
                </a:cubicBezTo>
                <a:cubicBezTo>
                  <a:pt x="224" y="159"/>
                  <a:pt x="224" y="159"/>
                  <a:pt x="224" y="159"/>
                </a:cubicBezTo>
                <a:cubicBezTo>
                  <a:pt x="224" y="161"/>
                  <a:pt x="224" y="161"/>
                  <a:pt x="224" y="161"/>
                </a:cubicBezTo>
                <a:cubicBezTo>
                  <a:pt x="224" y="161"/>
                  <a:pt x="224" y="161"/>
                  <a:pt x="224" y="161"/>
                </a:cubicBezTo>
                <a:cubicBezTo>
                  <a:pt x="224" y="162"/>
                  <a:pt x="224" y="162"/>
                  <a:pt x="224" y="162"/>
                </a:cubicBezTo>
                <a:cubicBezTo>
                  <a:pt x="224" y="163"/>
                  <a:pt x="224" y="163"/>
                  <a:pt x="224" y="163"/>
                </a:cubicBezTo>
                <a:cubicBezTo>
                  <a:pt x="224" y="164"/>
                  <a:pt x="224" y="164"/>
                  <a:pt x="224" y="164"/>
                </a:cubicBezTo>
                <a:cubicBezTo>
                  <a:pt x="223" y="166"/>
                  <a:pt x="223" y="166"/>
                  <a:pt x="223" y="166"/>
                </a:cubicBezTo>
                <a:cubicBezTo>
                  <a:pt x="222" y="166"/>
                  <a:pt x="222" y="166"/>
                  <a:pt x="222" y="166"/>
                </a:cubicBezTo>
                <a:cubicBezTo>
                  <a:pt x="222" y="166"/>
                  <a:pt x="222" y="166"/>
                  <a:pt x="222" y="166"/>
                </a:cubicBezTo>
                <a:cubicBezTo>
                  <a:pt x="221" y="166"/>
                  <a:pt x="221" y="166"/>
                  <a:pt x="221" y="166"/>
                </a:cubicBezTo>
                <a:cubicBezTo>
                  <a:pt x="220" y="165"/>
                  <a:pt x="220" y="165"/>
                  <a:pt x="220" y="165"/>
                </a:cubicBezTo>
                <a:cubicBezTo>
                  <a:pt x="221" y="164"/>
                  <a:pt x="221" y="164"/>
                  <a:pt x="221" y="164"/>
                </a:cubicBezTo>
                <a:cubicBezTo>
                  <a:pt x="221" y="164"/>
                  <a:pt x="221" y="164"/>
                  <a:pt x="221" y="164"/>
                </a:cubicBezTo>
                <a:cubicBezTo>
                  <a:pt x="220" y="164"/>
                  <a:pt x="220" y="164"/>
                  <a:pt x="220" y="164"/>
                </a:cubicBezTo>
                <a:cubicBezTo>
                  <a:pt x="220" y="164"/>
                  <a:pt x="220" y="164"/>
                  <a:pt x="220" y="164"/>
                </a:cubicBezTo>
                <a:cubicBezTo>
                  <a:pt x="219" y="164"/>
                  <a:pt x="219" y="164"/>
                  <a:pt x="219" y="164"/>
                </a:cubicBezTo>
                <a:cubicBezTo>
                  <a:pt x="218" y="162"/>
                  <a:pt x="218" y="162"/>
                  <a:pt x="218" y="162"/>
                </a:cubicBezTo>
                <a:cubicBezTo>
                  <a:pt x="217" y="161"/>
                  <a:pt x="217" y="161"/>
                  <a:pt x="217" y="161"/>
                </a:cubicBezTo>
                <a:cubicBezTo>
                  <a:pt x="215" y="160"/>
                  <a:pt x="215" y="160"/>
                  <a:pt x="215" y="160"/>
                </a:cubicBezTo>
                <a:cubicBezTo>
                  <a:pt x="215" y="159"/>
                  <a:pt x="215" y="159"/>
                  <a:pt x="215" y="159"/>
                </a:cubicBezTo>
                <a:cubicBezTo>
                  <a:pt x="215" y="158"/>
                  <a:pt x="215" y="158"/>
                  <a:pt x="215" y="158"/>
                </a:cubicBezTo>
                <a:cubicBezTo>
                  <a:pt x="214" y="157"/>
                  <a:pt x="214" y="157"/>
                  <a:pt x="214" y="157"/>
                </a:cubicBezTo>
                <a:cubicBezTo>
                  <a:pt x="213" y="157"/>
                  <a:pt x="213" y="157"/>
                  <a:pt x="213" y="157"/>
                </a:cubicBezTo>
                <a:cubicBezTo>
                  <a:pt x="213" y="157"/>
                  <a:pt x="213" y="157"/>
                  <a:pt x="213" y="157"/>
                </a:cubicBezTo>
                <a:cubicBezTo>
                  <a:pt x="213" y="157"/>
                  <a:pt x="213" y="157"/>
                  <a:pt x="213" y="157"/>
                </a:cubicBezTo>
                <a:cubicBezTo>
                  <a:pt x="213" y="157"/>
                  <a:pt x="213" y="157"/>
                  <a:pt x="213" y="157"/>
                </a:cubicBezTo>
                <a:cubicBezTo>
                  <a:pt x="214" y="159"/>
                  <a:pt x="214" y="159"/>
                  <a:pt x="214" y="159"/>
                </a:cubicBezTo>
                <a:cubicBezTo>
                  <a:pt x="214" y="159"/>
                  <a:pt x="214" y="159"/>
                  <a:pt x="214" y="159"/>
                </a:cubicBezTo>
                <a:cubicBezTo>
                  <a:pt x="214" y="160"/>
                  <a:pt x="214" y="160"/>
                  <a:pt x="214" y="160"/>
                </a:cubicBezTo>
                <a:cubicBezTo>
                  <a:pt x="212" y="160"/>
                  <a:pt x="212" y="160"/>
                  <a:pt x="212" y="160"/>
                </a:cubicBezTo>
                <a:cubicBezTo>
                  <a:pt x="212" y="159"/>
                  <a:pt x="212" y="159"/>
                  <a:pt x="212" y="159"/>
                </a:cubicBezTo>
                <a:cubicBezTo>
                  <a:pt x="211" y="158"/>
                  <a:pt x="211" y="158"/>
                  <a:pt x="211" y="158"/>
                </a:cubicBezTo>
                <a:cubicBezTo>
                  <a:pt x="210" y="157"/>
                  <a:pt x="210" y="157"/>
                  <a:pt x="210" y="157"/>
                </a:cubicBezTo>
                <a:cubicBezTo>
                  <a:pt x="210" y="158"/>
                  <a:pt x="210" y="158"/>
                  <a:pt x="210" y="158"/>
                </a:cubicBezTo>
                <a:cubicBezTo>
                  <a:pt x="210" y="159"/>
                  <a:pt x="210" y="159"/>
                  <a:pt x="210" y="159"/>
                </a:cubicBezTo>
                <a:cubicBezTo>
                  <a:pt x="211" y="160"/>
                  <a:pt x="211" y="160"/>
                  <a:pt x="211" y="160"/>
                </a:cubicBezTo>
                <a:cubicBezTo>
                  <a:pt x="213" y="161"/>
                  <a:pt x="213" y="161"/>
                  <a:pt x="213" y="161"/>
                </a:cubicBezTo>
                <a:cubicBezTo>
                  <a:pt x="215" y="161"/>
                  <a:pt x="215" y="161"/>
                  <a:pt x="215" y="161"/>
                </a:cubicBezTo>
                <a:cubicBezTo>
                  <a:pt x="217" y="162"/>
                  <a:pt x="217" y="162"/>
                  <a:pt x="217" y="162"/>
                </a:cubicBezTo>
                <a:cubicBezTo>
                  <a:pt x="219" y="164"/>
                  <a:pt x="219" y="164"/>
                  <a:pt x="219" y="164"/>
                </a:cubicBezTo>
                <a:cubicBezTo>
                  <a:pt x="219" y="165"/>
                  <a:pt x="219" y="165"/>
                  <a:pt x="219" y="165"/>
                </a:cubicBezTo>
                <a:cubicBezTo>
                  <a:pt x="219" y="166"/>
                  <a:pt x="219" y="166"/>
                  <a:pt x="219" y="166"/>
                </a:cubicBezTo>
                <a:cubicBezTo>
                  <a:pt x="218" y="165"/>
                  <a:pt x="218" y="165"/>
                  <a:pt x="218" y="165"/>
                </a:cubicBezTo>
                <a:cubicBezTo>
                  <a:pt x="217" y="165"/>
                  <a:pt x="217" y="165"/>
                  <a:pt x="217" y="165"/>
                </a:cubicBezTo>
                <a:cubicBezTo>
                  <a:pt x="216" y="165"/>
                  <a:pt x="216" y="165"/>
                  <a:pt x="216" y="165"/>
                </a:cubicBezTo>
                <a:cubicBezTo>
                  <a:pt x="216" y="165"/>
                  <a:pt x="216" y="165"/>
                  <a:pt x="216" y="165"/>
                </a:cubicBezTo>
                <a:cubicBezTo>
                  <a:pt x="214" y="167"/>
                  <a:pt x="214" y="167"/>
                  <a:pt x="214" y="167"/>
                </a:cubicBezTo>
                <a:cubicBezTo>
                  <a:pt x="214" y="167"/>
                  <a:pt x="214" y="167"/>
                  <a:pt x="214" y="167"/>
                </a:cubicBezTo>
                <a:cubicBezTo>
                  <a:pt x="213" y="166"/>
                  <a:pt x="213" y="166"/>
                  <a:pt x="213" y="166"/>
                </a:cubicBezTo>
                <a:cubicBezTo>
                  <a:pt x="212" y="165"/>
                  <a:pt x="212" y="165"/>
                  <a:pt x="212" y="165"/>
                </a:cubicBezTo>
                <a:cubicBezTo>
                  <a:pt x="213" y="165"/>
                  <a:pt x="213" y="165"/>
                  <a:pt x="213" y="165"/>
                </a:cubicBezTo>
                <a:cubicBezTo>
                  <a:pt x="212" y="164"/>
                  <a:pt x="212" y="164"/>
                  <a:pt x="212" y="164"/>
                </a:cubicBezTo>
                <a:cubicBezTo>
                  <a:pt x="212" y="164"/>
                  <a:pt x="212" y="164"/>
                  <a:pt x="212" y="164"/>
                </a:cubicBezTo>
                <a:cubicBezTo>
                  <a:pt x="212" y="165"/>
                  <a:pt x="212" y="165"/>
                  <a:pt x="212" y="165"/>
                </a:cubicBezTo>
                <a:cubicBezTo>
                  <a:pt x="212" y="165"/>
                  <a:pt x="212" y="165"/>
                  <a:pt x="212" y="165"/>
                </a:cubicBezTo>
                <a:cubicBezTo>
                  <a:pt x="212" y="166"/>
                  <a:pt x="212" y="166"/>
                  <a:pt x="212" y="166"/>
                </a:cubicBezTo>
                <a:cubicBezTo>
                  <a:pt x="213" y="167"/>
                  <a:pt x="213" y="167"/>
                  <a:pt x="213" y="167"/>
                </a:cubicBezTo>
                <a:cubicBezTo>
                  <a:pt x="214" y="167"/>
                  <a:pt x="214" y="167"/>
                  <a:pt x="214" y="167"/>
                </a:cubicBezTo>
                <a:cubicBezTo>
                  <a:pt x="215" y="167"/>
                  <a:pt x="215" y="167"/>
                  <a:pt x="215" y="167"/>
                </a:cubicBezTo>
                <a:cubicBezTo>
                  <a:pt x="216" y="166"/>
                  <a:pt x="216" y="166"/>
                  <a:pt x="216" y="166"/>
                </a:cubicBezTo>
                <a:cubicBezTo>
                  <a:pt x="217" y="166"/>
                  <a:pt x="217" y="166"/>
                  <a:pt x="217" y="166"/>
                </a:cubicBezTo>
                <a:cubicBezTo>
                  <a:pt x="218" y="167"/>
                  <a:pt x="218" y="167"/>
                  <a:pt x="218" y="167"/>
                </a:cubicBezTo>
                <a:cubicBezTo>
                  <a:pt x="218" y="167"/>
                  <a:pt x="218" y="167"/>
                  <a:pt x="218" y="167"/>
                </a:cubicBezTo>
                <a:cubicBezTo>
                  <a:pt x="218" y="168"/>
                  <a:pt x="218" y="168"/>
                  <a:pt x="218" y="168"/>
                </a:cubicBezTo>
                <a:cubicBezTo>
                  <a:pt x="217" y="170"/>
                  <a:pt x="217" y="170"/>
                  <a:pt x="217" y="170"/>
                </a:cubicBezTo>
                <a:cubicBezTo>
                  <a:pt x="217" y="171"/>
                  <a:pt x="217" y="171"/>
                  <a:pt x="217" y="171"/>
                </a:cubicBezTo>
                <a:cubicBezTo>
                  <a:pt x="216" y="171"/>
                  <a:pt x="216" y="171"/>
                  <a:pt x="216" y="171"/>
                </a:cubicBezTo>
                <a:cubicBezTo>
                  <a:pt x="216" y="171"/>
                  <a:pt x="216" y="171"/>
                  <a:pt x="216" y="171"/>
                </a:cubicBezTo>
                <a:cubicBezTo>
                  <a:pt x="217" y="172"/>
                  <a:pt x="217" y="172"/>
                  <a:pt x="217" y="172"/>
                </a:cubicBezTo>
                <a:cubicBezTo>
                  <a:pt x="218" y="171"/>
                  <a:pt x="218" y="171"/>
                  <a:pt x="218" y="171"/>
                </a:cubicBezTo>
                <a:cubicBezTo>
                  <a:pt x="219" y="171"/>
                  <a:pt x="219" y="171"/>
                  <a:pt x="219" y="171"/>
                </a:cubicBezTo>
                <a:cubicBezTo>
                  <a:pt x="220" y="173"/>
                  <a:pt x="220" y="173"/>
                  <a:pt x="220" y="173"/>
                </a:cubicBezTo>
                <a:cubicBezTo>
                  <a:pt x="221" y="173"/>
                  <a:pt x="221" y="173"/>
                  <a:pt x="221" y="173"/>
                </a:cubicBezTo>
                <a:cubicBezTo>
                  <a:pt x="222" y="173"/>
                  <a:pt x="222" y="173"/>
                  <a:pt x="222" y="173"/>
                </a:cubicBezTo>
                <a:cubicBezTo>
                  <a:pt x="223" y="172"/>
                  <a:pt x="223" y="172"/>
                  <a:pt x="223" y="172"/>
                </a:cubicBezTo>
                <a:cubicBezTo>
                  <a:pt x="224" y="173"/>
                  <a:pt x="224" y="173"/>
                  <a:pt x="224" y="173"/>
                </a:cubicBezTo>
                <a:cubicBezTo>
                  <a:pt x="224" y="173"/>
                  <a:pt x="224" y="173"/>
                  <a:pt x="224" y="173"/>
                </a:cubicBezTo>
                <a:cubicBezTo>
                  <a:pt x="223" y="174"/>
                  <a:pt x="223" y="174"/>
                  <a:pt x="223" y="174"/>
                </a:cubicBezTo>
                <a:cubicBezTo>
                  <a:pt x="223" y="175"/>
                  <a:pt x="223" y="175"/>
                  <a:pt x="223" y="175"/>
                </a:cubicBezTo>
                <a:cubicBezTo>
                  <a:pt x="224" y="175"/>
                  <a:pt x="224" y="175"/>
                  <a:pt x="224" y="175"/>
                </a:cubicBezTo>
                <a:cubicBezTo>
                  <a:pt x="224" y="176"/>
                  <a:pt x="224" y="176"/>
                  <a:pt x="224" y="176"/>
                </a:cubicBezTo>
                <a:cubicBezTo>
                  <a:pt x="222" y="178"/>
                  <a:pt x="222" y="178"/>
                  <a:pt x="222" y="178"/>
                </a:cubicBezTo>
                <a:cubicBezTo>
                  <a:pt x="221" y="179"/>
                  <a:pt x="221" y="179"/>
                  <a:pt x="221" y="179"/>
                </a:cubicBezTo>
                <a:cubicBezTo>
                  <a:pt x="220" y="179"/>
                  <a:pt x="220" y="179"/>
                  <a:pt x="220" y="179"/>
                </a:cubicBezTo>
                <a:cubicBezTo>
                  <a:pt x="220" y="178"/>
                  <a:pt x="220" y="178"/>
                  <a:pt x="220" y="178"/>
                </a:cubicBezTo>
                <a:cubicBezTo>
                  <a:pt x="220" y="177"/>
                  <a:pt x="220" y="177"/>
                  <a:pt x="220" y="177"/>
                </a:cubicBezTo>
                <a:cubicBezTo>
                  <a:pt x="219" y="177"/>
                  <a:pt x="219" y="177"/>
                  <a:pt x="219" y="177"/>
                </a:cubicBezTo>
                <a:cubicBezTo>
                  <a:pt x="219" y="176"/>
                  <a:pt x="219" y="176"/>
                  <a:pt x="219" y="176"/>
                </a:cubicBezTo>
                <a:cubicBezTo>
                  <a:pt x="218" y="175"/>
                  <a:pt x="218" y="175"/>
                  <a:pt x="218" y="175"/>
                </a:cubicBezTo>
                <a:cubicBezTo>
                  <a:pt x="217" y="174"/>
                  <a:pt x="217" y="174"/>
                  <a:pt x="217" y="174"/>
                </a:cubicBezTo>
                <a:cubicBezTo>
                  <a:pt x="216" y="174"/>
                  <a:pt x="216" y="174"/>
                  <a:pt x="216" y="174"/>
                </a:cubicBezTo>
                <a:cubicBezTo>
                  <a:pt x="215" y="174"/>
                  <a:pt x="215" y="174"/>
                  <a:pt x="215" y="174"/>
                </a:cubicBezTo>
                <a:cubicBezTo>
                  <a:pt x="214" y="174"/>
                  <a:pt x="214" y="174"/>
                  <a:pt x="214" y="174"/>
                </a:cubicBezTo>
                <a:cubicBezTo>
                  <a:pt x="213" y="174"/>
                  <a:pt x="213" y="174"/>
                  <a:pt x="213" y="174"/>
                </a:cubicBezTo>
                <a:cubicBezTo>
                  <a:pt x="213" y="174"/>
                  <a:pt x="213" y="174"/>
                  <a:pt x="213" y="174"/>
                </a:cubicBezTo>
                <a:cubicBezTo>
                  <a:pt x="212" y="173"/>
                  <a:pt x="212" y="173"/>
                  <a:pt x="212" y="173"/>
                </a:cubicBezTo>
                <a:cubicBezTo>
                  <a:pt x="212" y="172"/>
                  <a:pt x="212" y="172"/>
                  <a:pt x="212" y="172"/>
                </a:cubicBezTo>
                <a:cubicBezTo>
                  <a:pt x="211" y="172"/>
                  <a:pt x="211" y="172"/>
                  <a:pt x="211" y="172"/>
                </a:cubicBezTo>
                <a:cubicBezTo>
                  <a:pt x="211" y="173"/>
                  <a:pt x="211" y="173"/>
                  <a:pt x="211" y="173"/>
                </a:cubicBezTo>
                <a:cubicBezTo>
                  <a:pt x="212" y="173"/>
                  <a:pt x="212" y="173"/>
                  <a:pt x="212" y="173"/>
                </a:cubicBezTo>
                <a:cubicBezTo>
                  <a:pt x="212" y="175"/>
                  <a:pt x="212" y="175"/>
                  <a:pt x="212" y="175"/>
                </a:cubicBezTo>
                <a:cubicBezTo>
                  <a:pt x="211" y="176"/>
                  <a:pt x="211" y="176"/>
                  <a:pt x="211" y="176"/>
                </a:cubicBezTo>
                <a:cubicBezTo>
                  <a:pt x="211" y="176"/>
                  <a:pt x="211" y="176"/>
                  <a:pt x="211" y="176"/>
                </a:cubicBezTo>
                <a:cubicBezTo>
                  <a:pt x="210" y="176"/>
                  <a:pt x="210" y="176"/>
                  <a:pt x="210" y="176"/>
                </a:cubicBezTo>
                <a:cubicBezTo>
                  <a:pt x="209" y="176"/>
                  <a:pt x="209" y="176"/>
                  <a:pt x="209" y="176"/>
                </a:cubicBezTo>
                <a:cubicBezTo>
                  <a:pt x="210" y="177"/>
                  <a:pt x="210" y="177"/>
                  <a:pt x="210" y="177"/>
                </a:cubicBezTo>
                <a:cubicBezTo>
                  <a:pt x="210" y="177"/>
                  <a:pt x="210" y="177"/>
                  <a:pt x="210" y="177"/>
                </a:cubicBezTo>
                <a:cubicBezTo>
                  <a:pt x="210" y="178"/>
                  <a:pt x="210" y="178"/>
                  <a:pt x="210" y="178"/>
                </a:cubicBezTo>
                <a:cubicBezTo>
                  <a:pt x="209" y="179"/>
                  <a:pt x="209" y="179"/>
                  <a:pt x="209" y="179"/>
                </a:cubicBezTo>
                <a:cubicBezTo>
                  <a:pt x="209" y="179"/>
                  <a:pt x="209" y="179"/>
                  <a:pt x="209" y="179"/>
                </a:cubicBezTo>
                <a:cubicBezTo>
                  <a:pt x="209" y="180"/>
                  <a:pt x="209" y="180"/>
                  <a:pt x="209" y="180"/>
                </a:cubicBezTo>
                <a:cubicBezTo>
                  <a:pt x="209" y="180"/>
                  <a:pt x="209" y="180"/>
                  <a:pt x="209" y="180"/>
                </a:cubicBezTo>
                <a:cubicBezTo>
                  <a:pt x="210" y="181"/>
                  <a:pt x="210" y="181"/>
                  <a:pt x="210" y="181"/>
                </a:cubicBezTo>
                <a:cubicBezTo>
                  <a:pt x="210" y="182"/>
                  <a:pt x="210" y="182"/>
                  <a:pt x="210" y="182"/>
                </a:cubicBezTo>
                <a:cubicBezTo>
                  <a:pt x="211" y="182"/>
                  <a:pt x="211" y="182"/>
                  <a:pt x="211" y="182"/>
                </a:cubicBezTo>
                <a:cubicBezTo>
                  <a:pt x="211" y="184"/>
                  <a:pt x="211" y="184"/>
                  <a:pt x="211" y="184"/>
                </a:cubicBezTo>
                <a:cubicBezTo>
                  <a:pt x="211" y="185"/>
                  <a:pt x="211" y="185"/>
                  <a:pt x="211" y="185"/>
                </a:cubicBezTo>
                <a:cubicBezTo>
                  <a:pt x="211" y="185"/>
                  <a:pt x="211" y="185"/>
                  <a:pt x="211" y="185"/>
                </a:cubicBezTo>
                <a:cubicBezTo>
                  <a:pt x="211" y="184"/>
                  <a:pt x="211" y="184"/>
                  <a:pt x="211" y="184"/>
                </a:cubicBezTo>
                <a:cubicBezTo>
                  <a:pt x="212" y="184"/>
                  <a:pt x="212" y="184"/>
                  <a:pt x="212" y="184"/>
                </a:cubicBezTo>
                <a:cubicBezTo>
                  <a:pt x="212" y="183"/>
                  <a:pt x="212" y="183"/>
                  <a:pt x="212" y="183"/>
                </a:cubicBezTo>
                <a:cubicBezTo>
                  <a:pt x="211" y="182"/>
                  <a:pt x="211" y="182"/>
                  <a:pt x="211" y="182"/>
                </a:cubicBezTo>
                <a:cubicBezTo>
                  <a:pt x="211" y="181"/>
                  <a:pt x="211" y="181"/>
                  <a:pt x="211" y="181"/>
                </a:cubicBezTo>
                <a:cubicBezTo>
                  <a:pt x="212" y="180"/>
                  <a:pt x="212" y="180"/>
                  <a:pt x="212" y="180"/>
                </a:cubicBezTo>
                <a:cubicBezTo>
                  <a:pt x="212" y="180"/>
                  <a:pt x="212" y="180"/>
                  <a:pt x="212" y="180"/>
                </a:cubicBezTo>
                <a:cubicBezTo>
                  <a:pt x="212" y="181"/>
                  <a:pt x="212" y="181"/>
                  <a:pt x="212" y="181"/>
                </a:cubicBezTo>
                <a:cubicBezTo>
                  <a:pt x="213" y="182"/>
                  <a:pt x="213" y="182"/>
                  <a:pt x="213" y="182"/>
                </a:cubicBezTo>
                <a:cubicBezTo>
                  <a:pt x="213" y="183"/>
                  <a:pt x="213" y="183"/>
                  <a:pt x="213" y="183"/>
                </a:cubicBezTo>
                <a:cubicBezTo>
                  <a:pt x="214" y="183"/>
                  <a:pt x="214" y="183"/>
                  <a:pt x="214" y="183"/>
                </a:cubicBezTo>
                <a:cubicBezTo>
                  <a:pt x="215" y="183"/>
                  <a:pt x="215" y="183"/>
                  <a:pt x="215" y="183"/>
                </a:cubicBezTo>
                <a:cubicBezTo>
                  <a:pt x="215" y="183"/>
                  <a:pt x="215" y="183"/>
                  <a:pt x="215" y="183"/>
                </a:cubicBezTo>
                <a:cubicBezTo>
                  <a:pt x="215" y="183"/>
                  <a:pt x="215" y="183"/>
                  <a:pt x="215" y="183"/>
                </a:cubicBezTo>
                <a:cubicBezTo>
                  <a:pt x="216" y="183"/>
                  <a:pt x="216" y="183"/>
                  <a:pt x="216" y="183"/>
                </a:cubicBezTo>
                <a:cubicBezTo>
                  <a:pt x="217" y="182"/>
                  <a:pt x="217" y="182"/>
                  <a:pt x="217" y="182"/>
                </a:cubicBezTo>
                <a:cubicBezTo>
                  <a:pt x="218" y="183"/>
                  <a:pt x="218" y="183"/>
                  <a:pt x="218" y="183"/>
                </a:cubicBezTo>
                <a:cubicBezTo>
                  <a:pt x="218" y="183"/>
                  <a:pt x="218" y="183"/>
                  <a:pt x="218" y="183"/>
                </a:cubicBezTo>
                <a:cubicBezTo>
                  <a:pt x="218" y="184"/>
                  <a:pt x="218" y="184"/>
                  <a:pt x="218" y="184"/>
                </a:cubicBezTo>
                <a:cubicBezTo>
                  <a:pt x="217" y="185"/>
                  <a:pt x="217" y="185"/>
                  <a:pt x="217" y="185"/>
                </a:cubicBezTo>
                <a:cubicBezTo>
                  <a:pt x="217" y="186"/>
                  <a:pt x="217" y="186"/>
                  <a:pt x="217" y="186"/>
                </a:cubicBezTo>
                <a:cubicBezTo>
                  <a:pt x="217" y="187"/>
                  <a:pt x="217" y="187"/>
                  <a:pt x="217" y="187"/>
                </a:cubicBezTo>
                <a:cubicBezTo>
                  <a:pt x="217" y="189"/>
                  <a:pt x="217" y="189"/>
                  <a:pt x="217" y="189"/>
                </a:cubicBezTo>
                <a:cubicBezTo>
                  <a:pt x="216" y="189"/>
                  <a:pt x="216" y="189"/>
                  <a:pt x="216" y="189"/>
                </a:cubicBezTo>
                <a:cubicBezTo>
                  <a:pt x="215" y="189"/>
                  <a:pt x="215" y="189"/>
                  <a:pt x="215" y="189"/>
                </a:cubicBezTo>
                <a:cubicBezTo>
                  <a:pt x="214" y="190"/>
                  <a:pt x="214" y="190"/>
                  <a:pt x="214" y="190"/>
                </a:cubicBezTo>
                <a:cubicBezTo>
                  <a:pt x="213" y="189"/>
                  <a:pt x="213" y="189"/>
                  <a:pt x="213" y="189"/>
                </a:cubicBezTo>
                <a:cubicBezTo>
                  <a:pt x="212" y="189"/>
                  <a:pt x="212" y="189"/>
                  <a:pt x="212" y="189"/>
                </a:cubicBezTo>
                <a:cubicBezTo>
                  <a:pt x="212" y="189"/>
                  <a:pt x="212" y="189"/>
                  <a:pt x="212" y="189"/>
                </a:cubicBezTo>
                <a:cubicBezTo>
                  <a:pt x="211" y="190"/>
                  <a:pt x="211" y="190"/>
                  <a:pt x="211" y="190"/>
                </a:cubicBezTo>
                <a:cubicBezTo>
                  <a:pt x="211" y="190"/>
                  <a:pt x="211" y="190"/>
                  <a:pt x="211" y="190"/>
                </a:cubicBezTo>
                <a:cubicBezTo>
                  <a:pt x="210" y="191"/>
                  <a:pt x="210" y="191"/>
                  <a:pt x="210" y="191"/>
                </a:cubicBezTo>
                <a:cubicBezTo>
                  <a:pt x="209" y="191"/>
                  <a:pt x="209" y="191"/>
                  <a:pt x="209" y="191"/>
                </a:cubicBezTo>
                <a:cubicBezTo>
                  <a:pt x="209" y="191"/>
                  <a:pt x="209" y="191"/>
                  <a:pt x="209" y="191"/>
                </a:cubicBezTo>
                <a:cubicBezTo>
                  <a:pt x="208" y="192"/>
                  <a:pt x="208" y="192"/>
                  <a:pt x="208" y="192"/>
                </a:cubicBezTo>
                <a:cubicBezTo>
                  <a:pt x="208" y="192"/>
                  <a:pt x="208" y="192"/>
                  <a:pt x="208" y="192"/>
                </a:cubicBezTo>
                <a:cubicBezTo>
                  <a:pt x="208" y="192"/>
                  <a:pt x="208" y="192"/>
                  <a:pt x="208" y="192"/>
                </a:cubicBezTo>
                <a:cubicBezTo>
                  <a:pt x="207" y="192"/>
                  <a:pt x="207" y="192"/>
                  <a:pt x="207" y="192"/>
                </a:cubicBezTo>
                <a:cubicBezTo>
                  <a:pt x="206" y="191"/>
                  <a:pt x="206" y="191"/>
                  <a:pt x="206" y="191"/>
                </a:cubicBezTo>
                <a:cubicBezTo>
                  <a:pt x="204" y="191"/>
                  <a:pt x="204" y="191"/>
                  <a:pt x="204" y="191"/>
                </a:cubicBezTo>
                <a:cubicBezTo>
                  <a:pt x="203" y="189"/>
                  <a:pt x="203" y="189"/>
                  <a:pt x="203" y="189"/>
                </a:cubicBezTo>
                <a:cubicBezTo>
                  <a:pt x="201" y="187"/>
                  <a:pt x="201" y="187"/>
                  <a:pt x="201" y="187"/>
                </a:cubicBezTo>
                <a:cubicBezTo>
                  <a:pt x="200" y="186"/>
                  <a:pt x="200" y="186"/>
                  <a:pt x="200" y="186"/>
                </a:cubicBezTo>
                <a:cubicBezTo>
                  <a:pt x="200" y="185"/>
                  <a:pt x="200" y="185"/>
                  <a:pt x="200" y="185"/>
                </a:cubicBezTo>
                <a:cubicBezTo>
                  <a:pt x="201" y="185"/>
                  <a:pt x="201" y="185"/>
                  <a:pt x="201" y="185"/>
                </a:cubicBezTo>
                <a:cubicBezTo>
                  <a:pt x="201" y="185"/>
                  <a:pt x="201" y="185"/>
                  <a:pt x="201" y="185"/>
                </a:cubicBezTo>
                <a:cubicBezTo>
                  <a:pt x="201" y="185"/>
                  <a:pt x="201" y="185"/>
                  <a:pt x="201" y="185"/>
                </a:cubicBezTo>
                <a:cubicBezTo>
                  <a:pt x="202" y="186"/>
                  <a:pt x="202" y="186"/>
                  <a:pt x="202" y="186"/>
                </a:cubicBezTo>
                <a:cubicBezTo>
                  <a:pt x="204" y="187"/>
                  <a:pt x="204" y="187"/>
                  <a:pt x="204" y="187"/>
                </a:cubicBezTo>
                <a:cubicBezTo>
                  <a:pt x="205" y="188"/>
                  <a:pt x="205" y="188"/>
                  <a:pt x="205" y="188"/>
                </a:cubicBezTo>
                <a:cubicBezTo>
                  <a:pt x="206" y="188"/>
                  <a:pt x="206" y="188"/>
                  <a:pt x="206" y="188"/>
                </a:cubicBezTo>
                <a:cubicBezTo>
                  <a:pt x="207" y="187"/>
                  <a:pt x="207" y="187"/>
                  <a:pt x="207" y="187"/>
                </a:cubicBezTo>
                <a:cubicBezTo>
                  <a:pt x="208" y="187"/>
                  <a:pt x="208" y="187"/>
                  <a:pt x="208" y="187"/>
                </a:cubicBezTo>
                <a:cubicBezTo>
                  <a:pt x="207" y="186"/>
                  <a:pt x="207" y="186"/>
                  <a:pt x="207" y="186"/>
                </a:cubicBezTo>
                <a:cubicBezTo>
                  <a:pt x="207" y="186"/>
                  <a:pt x="207" y="186"/>
                  <a:pt x="207" y="186"/>
                </a:cubicBezTo>
                <a:cubicBezTo>
                  <a:pt x="206" y="187"/>
                  <a:pt x="206" y="187"/>
                  <a:pt x="206" y="187"/>
                </a:cubicBezTo>
                <a:cubicBezTo>
                  <a:pt x="205" y="186"/>
                  <a:pt x="205" y="186"/>
                  <a:pt x="205" y="186"/>
                </a:cubicBezTo>
                <a:cubicBezTo>
                  <a:pt x="203" y="185"/>
                  <a:pt x="203" y="185"/>
                  <a:pt x="203" y="185"/>
                </a:cubicBezTo>
                <a:cubicBezTo>
                  <a:pt x="201" y="184"/>
                  <a:pt x="201" y="184"/>
                  <a:pt x="201" y="184"/>
                </a:cubicBezTo>
                <a:cubicBezTo>
                  <a:pt x="200" y="184"/>
                  <a:pt x="200" y="184"/>
                  <a:pt x="200" y="184"/>
                </a:cubicBezTo>
                <a:cubicBezTo>
                  <a:pt x="200" y="184"/>
                  <a:pt x="200" y="184"/>
                  <a:pt x="200" y="184"/>
                </a:cubicBezTo>
                <a:cubicBezTo>
                  <a:pt x="200" y="183"/>
                  <a:pt x="200" y="183"/>
                  <a:pt x="200" y="183"/>
                </a:cubicBezTo>
                <a:cubicBezTo>
                  <a:pt x="200" y="183"/>
                  <a:pt x="200" y="183"/>
                  <a:pt x="200" y="183"/>
                </a:cubicBezTo>
                <a:cubicBezTo>
                  <a:pt x="199" y="183"/>
                  <a:pt x="199" y="183"/>
                  <a:pt x="199" y="183"/>
                </a:cubicBezTo>
                <a:cubicBezTo>
                  <a:pt x="199" y="183"/>
                  <a:pt x="199" y="183"/>
                  <a:pt x="199" y="183"/>
                </a:cubicBezTo>
                <a:cubicBezTo>
                  <a:pt x="199" y="184"/>
                  <a:pt x="199" y="184"/>
                  <a:pt x="199" y="184"/>
                </a:cubicBezTo>
                <a:cubicBezTo>
                  <a:pt x="198" y="186"/>
                  <a:pt x="198" y="186"/>
                  <a:pt x="198" y="186"/>
                </a:cubicBezTo>
                <a:cubicBezTo>
                  <a:pt x="198" y="187"/>
                  <a:pt x="198" y="187"/>
                  <a:pt x="198" y="187"/>
                </a:cubicBezTo>
                <a:cubicBezTo>
                  <a:pt x="198" y="188"/>
                  <a:pt x="198" y="188"/>
                  <a:pt x="198" y="188"/>
                </a:cubicBezTo>
                <a:cubicBezTo>
                  <a:pt x="198" y="187"/>
                  <a:pt x="198" y="187"/>
                  <a:pt x="198" y="187"/>
                </a:cubicBezTo>
                <a:cubicBezTo>
                  <a:pt x="196" y="185"/>
                  <a:pt x="196" y="185"/>
                  <a:pt x="196" y="185"/>
                </a:cubicBezTo>
                <a:cubicBezTo>
                  <a:pt x="195" y="183"/>
                  <a:pt x="195" y="183"/>
                  <a:pt x="195" y="183"/>
                </a:cubicBezTo>
                <a:cubicBezTo>
                  <a:pt x="194" y="182"/>
                  <a:pt x="194" y="182"/>
                  <a:pt x="194" y="182"/>
                </a:cubicBezTo>
                <a:cubicBezTo>
                  <a:pt x="194" y="182"/>
                  <a:pt x="194" y="182"/>
                  <a:pt x="194" y="182"/>
                </a:cubicBezTo>
                <a:cubicBezTo>
                  <a:pt x="194" y="181"/>
                  <a:pt x="194" y="181"/>
                  <a:pt x="194" y="181"/>
                </a:cubicBezTo>
                <a:cubicBezTo>
                  <a:pt x="193" y="181"/>
                  <a:pt x="193" y="181"/>
                  <a:pt x="193" y="181"/>
                </a:cubicBezTo>
                <a:cubicBezTo>
                  <a:pt x="193" y="181"/>
                  <a:pt x="193" y="181"/>
                  <a:pt x="193" y="181"/>
                </a:cubicBezTo>
                <a:cubicBezTo>
                  <a:pt x="193" y="182"/>
                  <a:pt x="193" y="182"/>
                  <a:pt x="193" y="182"/>
                </a:cubicBezTo>
                <a:cubicBezTo>
                  <a:pt x="194" y="183"/>
                  <a:pt x="194" y="183"/>
                  <a:pt x="194" y="183"/>
                </a:cubicBezTo>
                <a:cubicBezTo>
                  <a:pt x="195" y="185"/>
                  <a:pt x="195" y="185"/>
                  <a:pt x="195" y="185"/>
                </a:cubicBezTo>
                <a:cubicBezTo>
                  <a:pt x="195" y="186"/>
                  <a:pt x="195" y="186"/>
                  <a:pt x="195" y="186"/>
                </a:cubicBezTo>
                <a:cubicBezTo>
                  <a:pt x="196" y="186"/>
                  <a:pt x="196" y="186"/>
                  <a:pt x="196" y="186"/>
                </a:cubicBezTo>
                <a:cubicBezTo>
                  <a:pt x="197" y="187"/>
                  <a:pt x="197" y="187"/>
                  <a:pt x="197" y="187"/>
                </a:cubicBezTo>
                <a:cubicBezTo>
                  <a:pt x="196" y="188"/>
                  <a:pt x="196" y="188"/>
                  <a:pt x="196" y="188"/>
                </a:cubicBezTo>
                <a:cubicBezTo>
                  <a:pt x="196" y="188"/>
                  <a:pt x="196" y="188"/>
                  <a:pt x="196" y="188"/>
                </a:cubicBezTo>
                <a:cubicBezTo>
                  <a:pt x="195" y="188"/>
                  <a:pt x="195" y="188"/>
                  <a:pt x="195" y="188"/>
                </a:cubicBezTo>
                <a:cubicBezTo>
                  <a:pt x="194" y="189"/>
                  <a:pt x="194" y="189"/>
                  <a:pt x="194" y="189"/>
                </a:cubicBezTo>
                <a:cubicBezTo>
                  <a:pt x="194" y="189"/>
                  <a:pt x="194" y="189"/>
                  <a:pt x="194" y="189"/>
                </a:cubicBezTo>
                <a:cubicBezTo>
                  <a:pt x="193" y="190"/>
                  <a:pt x="193" y="190"/>
                  <a:pt x="193" y="190"/>
                </a:cubicBezTo>
                <a:cubicBezTo>
                  <a:pt x="192" y="190"/>
                  <a:pt x="192" y="190"/>
                  <a:pt x="192" y="190"/>
                </a:cubicBezTo>
                <a:cubicBezTo>
                  <a:pt x="191" y="190"/>
                  <a:pt x="191" y="190"/>
                  <a:pt x="191" y="190"/>
                </a:cubicBezTo>
                <a:cubicBezTo>
                  <a:pt x="190" y="190"/>
                  <a:pt x="190" y="190"/>
                  <a:pt x="190" y="190"/>
                </a:cubicBezTo>
                <a:cubicBezTo>
                  <a:pt x="189" y="190"/>
                  <a:pt x="189" y="190"/>
                  <a:pt x="189" y="190"/>
                </a:cubicBezTo>
                <a:cubicBezTo>
                  <a:pt x="189" y="189"/>
                  <a:pt x="189" y="189"/>
                  <a:pt x="189" y="189"/>
                </a:cubicBezTo>
                <a:cubicBezTo>
                  <a:pt x="188" y="189"/>
                  <a:pt x="188" y="189"/>
                  <a:pt x="188" y="189"/>
                </a:cubicBezTo>
                <a:cubicBezTo>
                  <a:pt x="188" y="189"/>
                  <a:pt x="188" y="189"/>
                  <a:pt x="188" y="189"/>
                </a:cubicBezTo>
                <a:cubicBezTo>
                  <a:pt x="186" y="188"/>
                  <a:pt x="186" y="188"/>
                  <a:pt x="186" y="188"/>
                </a:cubicBezTo>
                <a:cubicBezTo>
                  <a:pt x="186" y="187"/>
                  <a:pt x="186" y="187"/>
                  <a:pt x="186" y="187"/>
                </a:cubicBezTo>
                <a:cubicBezTo>
                  <a:pt x="186" y="186"/>
                  <a:pt x="186" y="186"/>
                  <a:pt x="186" y="186"/>
                </a:cubicBezTo>
                <a:cubicBezTo>
                  <a:pt x="185" y="186"/>
                  <a:pt x="185" y="186"/>
                  <a:pt x="185" y="186"/>
                </a:cubicBezTo>
                <a:cubicBezTo>
                  <a:pt x="185" y="186"/>
                  <a:pt x="185" y="186"/>
                  <a:pt x="185" y="186"/>
                </a:cubicBezTo>
                <a:cubicBezTo>
                  <a:pt x="185" y="186"/>
                  <a:pt x="185" y="186"/>
                  <a:pt x="185" y="186"/>
                </a:cubicBezTo>
                <a:cubicBezTo>
                  <a:pt x="185" y="187"/>
                  <a:pt x="185" y="187"/>
                  <a:pt x="185" y="187"/>
                </a:cubicBezTo>
                <a:cubicBezTo>
                  <a:pt x="185" y="188"/>
                  <a:pt x="185" y="188"/>
                  <a:pt x="185" y="188"/>
                </a:cubicBezTo>
                <a:cubicBezTo>
                  <a:pt x="186" y="188"/>
                  <a:pt x="186" y="188"/>
                  <a:pt x="186" y="188"/>
                </a:cubicBezTo>
                <a:cubicBezTo>
                  <a:pt x="187" y="189"/>
                  <a:pt x="187" y="189"/>
                  <a:pt x="187" y="189"/>
                </a:cubicBezTo>
                <a:cubicBezTo>
                  <a:pt x="188" y="190"/>
                  <a:pt x="188" y="190"/>
                  <a:pt x="188" y="190"/>
                </a:cubicBezTo>
                <a:cubicBezTo>
                  <a:pt x="188" y="191"/>
                  <a:pt x="188" y="191"/>
                  <a:pt x="188" y="191"/>
                </a:cubicBezTo>
                <a:cubicBezTo>
                  <a:pt x="187" y="191"/>
                  <a:pt x="187" y="191"/>
                  <a:pt x="187" y="191"/>
                </a:cubicBezTo>
                <a:cubicBezTo>
                  <a:pt x="185" y="191"/>
                  <a:pt x="185" y="191"/>
                  <a:pt x="185" y="191"/>
                </a:cubicBezTo>
                <a:cubicBezTo>
                  <a:pt x="184" y="191"/>
                  <a:pt x="184" y="191"/>
                  <a:pt x="184" y="191"/>
                </a:cubicBezTo>
                <a:cubicBezTo>
                  <a:pt x="183" y="191"/>
                  <a:pt x="183" y="191"/>
                  <a:pt x="183" y="191"/>
                </a:cubicBezTo>
                <a:cubicBezTo>
                  <a:pt x="182" y="192"/>
                  <a:pt x="182" y="192"/>
                  <a:pt x="182" y="192"/>
                </a:cubicBezTo>
                <a:cubicBezTo>
                  <a:pt x="183" y="192"/>
                  <a:pt x="183" y="192"/>
                  <a:pt x="183" y="192"/>
                </a:cubicBezTo>
                <a:cubicBezTo>
                  <a:pt x="183" y="192"/>
                  <a:pt x="183" y="192"/>
                  <a:pt x="183" y="192"/>
                </a:cubicBezTo>
                <a:cubicBezTo>
                  <a:pt x="183" y="193"/>
                  <a:pt x="183" y="193"/>
                  <a:pt x="183" y="193"/>
                </a:cubicBezTo>
                <a:cubicBezTo>
                  <a:pt x="184" y="193"/>
                  <a:pt x="184" y="193"/>
                  <a:pt x="184" y="193"/>
                </a:cubicBezTo>
                <a:cubicBezTo>
                  <a:pt x="184" y="193"/>
                  <a:pt x="184" y="193"/>
                  <a:pt x="184" y="193"/>
                </a:cubicBezTo>
                <a:cubicBezTo>
                  <a:pt x="184" y="192"/>
                  <a:pt x="184" y="192"/>
                  <a:pt x="184" y="192"/>
                </a:cubicBezTo>
                <a:cubicBezTo>
                  <a:pt x="186" y="192"/>
                  <a:pt x="186" y="192"/>
                  <a:pt x="186" y="192"/>
                </a:cubicBezTo>
                <a:cubicBezTo>
                  <a:pt x="186" y="192"/>
                  <a:pt x="186" y="192"/>
                  <a:pt x="186" y="192"/>
                </a:cubicBezTo>
                <a:cubicBezTo>
                  <a:pt x="187" y="192"/>
                  <a:pt x="187" y="193"/>
                  <a:pt x="187" y="193"/>
                </a:cubicBezTo>
                <a:cubicBezTo>
                  <a:pt x="188" y="192"/>
                  <a:pt x="188" y="192"/>
                  <a:pt x="188" y="192"/>
                </a:cubicBezTo>
                <a:cubicBezTo>
                  <a:pt x="188" y="191"/>
                  <a:pt x="188" y="191"/>
                  <a:pt x="188" y="191"/>
                </a:cubicBezTo>
                <a:cubicBezTo>
                  <a:pt x="189" y="191"/>
                  <a:pt x="189" y="191"/>
                  <a:pt x="189" y="191"/>
                </a:cubicBezTo>
                <a:cubicBezTo>
                  <a:pt x="190" y="191"/>
                  <a:pt x="190" y="191"/>
                  <a:pt x="190" y="191"/>
                </a:cubicBezTo>
                <a:cubicBezTo>
                  <a:pt x="191" y="191"/>
                  <a:pt x="191" y="191"/>
                  <a:pt x="191" y="191"/>
                </a:cubicBezTo>
                <a:cubicBezTo>
                  <a:pt x="192" y="192"/>
                  <a:pt x="192" y="192"/>
                  <a:pt x="192" y="192"/>
                </a:cubicBezTo>
                <a:cubicBezTo>
                  <a:pt x="193" y="192"/>
                  <a:pt x="193" y="192"/>
                  <a:pt x="193" y="192"/>
                </a:cubicBezTo>
                <a:cubicBezTo>
                  <a:pt x="194" y="193"/>
                  <a:pt x="194" y="193"/>
                  <a:pt x="194" y="193"/>
                </a:cubicBezTo>
                <a:cubicBezTo>
                  <a:pt x="195" y="193"/>
                  <a:pt x="195" y="193"/>
                  <a:pt x="195" y="193"/>
                </a:cubicBezTo>
                <a:cubicBezTo>
                  <a:pt x="195" y="194"/>
                  <a:pt x="195" y="194"/>
                  <a:pt x="195" y="194"/>
                </a:cubicBezTo>
                <a:cubicBezTo>
                  <a:pt x="195" y="195"/>
                  <a:pt x="195" y="195"/>
                  <a:pt x="195" y="195"/>
                </a:cubicBezTo>
                <a:cubicBezTo>
                  <a:pt x="194" y="195"/>
                  <a:pt x="194" y="195"/>
                  <a:pt x="194" y="195"/>
                </a:cubicBezTo>
                <a:cubicBezTo>
                  <a:pt x="194" y="196"/>
                  <a:pt x="194" y="196"/>
                  <a:pt x="194" y="196"/>
                </a:cubicBezTo>
                <a:cubicBezTo>
                  <a:pt x="193" y="195"/>
                  <a:pt x="193" y="195"/>
                  <a:pt x="193" y="195"/>
                </a:cubicBezTo>
                <a:cubicBezTo>
                  <a:pt x="192" y="196"/>
                  <a:pt x="192" y="196"/>
                  <a:pt x="192" y="196"/>
                </a:cubicBezTo>
                <a:cubicBezTo>
                  <a:pt x="191" y="196"/>
                  <a:pt x="191" y="196"/>
                  <a:pt x="191" y="196"/>
                </a:cubicBezTo>
                <a:cubicBezTo>
                  <a:pt x="190" y="197"/>
                  <a:pt x="190" y="197"/>
                  <a:pt x="190" y="197"/>
                </a:cubicBezTo>
                <a:cubicBezTo>
                  <a:pt x="189" y="197"/>
                  <a:pt x="189" y="197"/>
                  <a:pt x="189" y="197"/>
                </a:cubicBezTo>
                <a:cubicBezTo>
                  <a:pt x="188" y="195"/>
                  <a:pt x="188" y="195"/>
                  <a:pt x="188" y="195"/>
                </a:cubicBezTo>
                <a:cubicBezTo>
                  <a:pt x="187" y="195"/>
                  <a:pt x="187" y="195"/>
                  <a:pt x="187" y="195"/>
                </a:cubicBezTo>
                <a:cubicBezTo>
                  <a:pt x="187" y="195"/>
                  <a:pt x="187" y="195"/>
                  <a:pt x="187" y="195"/>
                </a:cubicBezTo>
                <a:cubicBezTo>
                  <a:pt x="186" y="196"/>
                  <a:pt x="186" y="196"/>
                  <a:pt x="186" y="196"/>
                </a:cubicBezTo>
                <a:cubicBezTo>
                  <a:pt x="185" y="196"/>
                  <a:pt x="185" y="196"/>
                  <a:pt x="185" y="196"/>
                </a:cubicBezTo>
                <a:cubicBezTo>
                  <a:pt x="185" y="196"/>
                  <a:pt x="185" y="196"/>
                  <a:pt x="185" y="196"/>
                </a:cubicBezTo>
                <a:cubicBezTo>
                  <a:pt x="184" y="196"/>
                  <a:pt x="184" y="196"/>
                  <a:pt x="184" y="196"/>
                </a:cubicBezTo>
                <a:cubicBezTo>
                  <a:pt x="184" y="196"/>
                  <a:pt x="184" y="196"/>
                  <a:pt x="184" y="196"/>
                </a:cubicBezTo>
                <a:cubicBezTo>
                  <a:pt x="185" y="196"/>
                  <a:pt x="185" y="196"/>
                  <a:pt x="185" y="196"/>
                </a:cubicBezTo>
                <a:cubicBezTo>
                  <a:pt x="186" y="196"/>
                  <a:pt x="186" y="196"/>
                  <a:pt x="186" y="196"/>
                </a:cubicBezTo>
                <a:cubicBezTo>
                  <a:pt x="187" y="196"/>
                  <a:pt x="187" y="196"/>
                  <a:pt x="187" y="196"/>
                </a:cubicBezTo>
                <a:cubicBezTo>
                  <a:pt x="187" y="196"/>
                  <a:pt x="187" y="196"/>
                  <a:pt x="187" y="196"/>
                </a:cubicBezTo>
                <a:cubicBezTo>
                  <a:pt x="188" y="197"/>
                  <a:pt x="188" y="197"/>
                  <a:pt x="188" y="197"/>
                </a:cubicBezTo>
                <a:cubicBezTo>
                  <a:pt x="187" y="197"/>
                  <a:pt x="187" y="197"/>
                  <a:pt x="187" y="197"/>
                </a:cubicBezTo>
                <a:cubicBezTo>
                  <a:pt x="186" y="197"/>
                  <a:pt x="186" y="197"/>
                  <a:pt x="186" y="197"/>
                </a:cubicBezTo>
                <a:cubicBezTo>
                  <a:pt x="185" y="198"/>
                  <a:pt x="185" y="198"/>
                  <a:pt x="185" y="198"/>
                </a:cubicBezTo>
                <a:cubicBezTo>
                  <a:pt x="185" y="198"/>
                  <a:pt x="185" y="198"/>
                  <a:pt x="185" y="198"/>
                </a:cubicBezTo>
                <a:cubicBezTo>
                  <a:pt x="185" y="198"/>
                  <a:pt x="185" y="198"/>
                  <a:pt x="185" y="198"/>
                </a:cubicBezTo>
                <a:cubicBezTo>
                  <a:pt x="186" y="198"/>
                  <a:pt x="186" y="198"/>
                  <a:pt x="186" y="198"/>
                </a:cubicBezTo>
                <a:cubicBezTo>
                  <a:pt x="187" y="198"/>
                  <a:pt x="187" y="198"/>
                  <a:pt x="187" y="198"/>
                </a:cubicBezTo>
                <a:cubicBezTo>
                  <a:pt x="188" y="198"/>
                  <a:pt x="188" y="198"/>
                  <a:pt x="188" y="198"/>
                </a:cubicBezTo>
                <a:cubicBezTo>
                  <a:pt x="188" y="198"/>
                  <a:pt x="188" y="198"/>
                  <a:pt x="188" y="198"/>
                </a:cubicBezTo>
                <a:cubicBezTo>
                  <a:pt x="188" y="199"/>
                  <a:pt x="188" y="199"/>
                  <a:pt x="188" y="199"/>
                </a:cubicBezTo>
                <a:cubicBezTo>
                  <a:pt x="189" y="199"/>
                  <a:pt x="189" y="199"/>
                  <a:pt x="189" y="199"/>
                </a:cubicBezTo>
                <a:cubicBezTo>
                  <a:pt x="189" y="198"/>
                  <a:pt x="189" y="198"/>
                  <a:pt x="189" y="198"/>
                </a:cubicBezTo>
                <a:cubicBezTo>
                  <a:pt x="190" y="198"/>
                  <a:pt x="190" y="198"/>
                  <a:pt x="190" y="198"/>
                </a:cubicBezTo>
                <a:cubicBezTo>
                  <a:pt x="191" y="198"/>
                  <a:pt x="191" y="198"/>
                  <a:pt x="191" y="198"/>
                </a:cubicBezTo>
                <a:cubicBezTo>
                  <a:pt x="192" y="197"/>
                  <a:pt x="192" y="197"/>
                  <a:pt x="192" y="197"/>
                </a:cubicBezTo>
                <a:cubicBezTo>
                  <a:pt x="192" y="197"/>
                  <a:pt x="192" y="197"/>
                  <a:pt x="192" y="197"/>
                </a:cubicBezTo>
                <a:cubicBezTo>
                  <a:pt x="193" y="197"/>
                  <a:pt x="193" y="197"/>
                  <a:pt x="193" y="197"/>
                </a:cubicBezTo>
                <a:cubicBezTo>
                  <a:pt x="194" y="198"/>
                  <a:pt x="194" y="198"/>
                  <a:pt x="194" y="198"/>
                </a:cubicBezTo>
                <a:cubicBezTo>
                  <a:pt x="195" y="198"/>
                  <a:pt x="195" y="198"/>
                  <a:pt x="195" y="198"/>
                </a:cubicBezTo>
                <a:cubicBezTo>
                  <a:pt x="195" y="198"/>
                  <a:pt x="195" y="198"/>
                  <a:pt x="195" y="198"/>
                </a:cubicBezTo>
                <a:cubicBezTo>
                  <a:pt x="195" y="199"/>
                  <a:pt x="195" y="199"/>
                  <a:pt x="195" y="199"/>
                </a:cubicBezTo>
                <a:cubicBezTo>
                  <a:pt x="195" y="201"/>
                  <a:pt x="195" y="201"/>
                  <a:pt x="195" y="201"/>
                </a:cubicBezTo>
                <a:cubicBezTo>
                  <a:pt x="194" y="202"/>
                  <a:pt x="194" y="202"/>
                  <a:pt x="194" y="202"/>
                </a:cubicBezTo>
                <a:cubicBezTo>
                  <a:pt x="193" y="202"/>
                  <a:pt x="193" y="202"/>
                  <a:pt x="193" y="202"/>
                </a:cubicBezTo>
                <a:cubicBezTo>
                  <a:pt x="192" y="202"/>
                  <a:pt x="192" y="202"/>
                  <a:pt x="192" y="202"/>
                </a:cubicBezTo>
                <a:cubicBezTo>
                  <a:pt x="191" y="202"/>
                  <a:pt x="191" y="202"/>
                  <a:pt x="191" y="202"/>
                </a:cubicBezTo>
                <a:cubicBezTo>
                  <a:pt x="189" y="202"/>
                  <a:pt x="189" y="202"/>
                  <a:pt x="189" y="202"/>
                </a:cubicBezTo>
                <a:cubicBezTo>
                  <a:pt x="189" y="201"/>
                  <a:pt x="189" y="201"/>
                  <a:pt x="189" y="201"/>
                </a:cubicBezTo>
                <a:cubicBezTo>
                  <a:pt x="188" y="202"/>
                  <a:pt x="188" y="202"/>
                  <a:pt x="188" y="202"/>
                </a:cubicBezTo>
                <a:cubicBezTo>
                  <a:pt x="188" y="202"/>
                  <a:pt x="188" y="202"/>
                  <a:pt x="188" y="202"/>
                </a:cubicBezTo>
                <a:cubicBezTo>
                  <a:pt x="189" y="202"/>
                  <a:pt x="189" y="202"/>
                  <a:pt x="189" y="202"/>
                </a:cubicBezTo>
                <a:cubicBezTo>
                  <a:pt x="191" y="202"/>
                  <a:pt x="191" y="202"/>
                  <a:pt x="191" y="202"/>
                </a:cubicBezTo>
                <a:cubicBezTo>
                  <a:pt x="192" y="203"/>
                  <a:pt x="192" y="203"/>
                  <a:pt x="192" y="203"/>
                </a:cubicBezTo>
                <a:cubicBezTo>
                  <a:pt x="193" y="204"/>
                  <a:pt x="193" y="204"/>
                  <a:pt x="193" y="204"/>
                </a:cubicBezTo>
                <a:cubicBezTo>
                  <a:pt x="192" y="204"/>
                  <a:pt x="192" y="204"/>
                  <a:pt x="192" y="204"/>
                </a:cubicBezTo>
                <a:cubicBezTo>
                  <a:pt x="193" y="203"/>
                  <a:pt x="193" y="203"/>
                  <a:pt x="193" y="203"/>
                </a:cubicBezTo>
                <a:cubicBezTo>
                  <a:pt x="194" y="203"/>
                  <a:pt x="194" y="203"/>
                  <a:pt x="194" y="203"/>
                </a:cubicBezTo>
                <a:cubicBezTo>
                  <a:pt x="196" y="203"/>
                  <a:pt x="196" y="203"/>
                  <a:pt x="196" y="203"/>
                </a:cubicBezTo>
                <a:cubicBezTo>
                  <a:pt x="197" y="203"/>
                  <a:pt x="197" y="203"/>
                  <a:pt x="197" y="203"/>
                </a:cubicBezTo>
                <a:cubicBezTo>
                  <a:pt x="197" y="204"/>
                  <a:pt x="197" y="204"/>
                  <a:pt x="197" y="204"/>
                </a:cubicBezTo>
                <a:cubicBezTo>
                  <a:pt x="199" y="205"/>
                  <a:pt x="199" y="205"/>
                  <a:pt x="199" y="205"/>
                </a:cubicBezTo>
                <a:cubicBezTo>
                  <a:pt x="199" y="206"/>
                  <a:pt x="199" y="206"/>
                  <a:pt x="199" y="206"/>
                </a:cubicBezTo>
                <a:cubicBezTo>
                  <a:pt x="199" y="206"/>
                  <a:pt x="199" y="206"/>
                  <a:pt x="199" y="206"/>
                </a:cubicBezTo>
                <a:cubicBezTo>
                  <a:pt x="200" y="206"/>
                  <a:pt x="200" y="206"/>
                  <a:pt x="200" y="206"/>
                </a:cubicBezTo>
                <a:cubicBezTo>
                  <a:pt x="200" y="207"/>
                  <a:pt x="200" y="207"/>
                  <a:pt x="200" y="207"/>
                </a:cubicBezTo>
                <a:cubicBezTo>
                  <a:pt x="201" y="207"/>
                  <a:pt x="201" y="207"/>
                  <a:pt x="201" y="207"/>
                </a:cubicBezTo>
                <a:cubicBezTo>
                  <a:pt x="202" y="208"/>
                  <a:pt x="202" y="208"/>
                  <a:pt x="202" y="208"/>
                </a:cubicBezTo>
                <a:cubicBezTo>
                  <a:pt x="202" y="208"/>
                  <a:pt x="202" y="208"/>
                  <a:pt x="202" y="208"/>
                </a:cubicBezTo>
                <a:cubicBezTo>
                  <a:pt x="203" y="209"/>
                  <a:pt x="203" y="209"/>
                  <a:pt x="203" y="209"/>
                </a:cubicBezTo>
                <a:cubicBezTo>
                  <a:pt x="203" y="209"/>
                  <a:pt x="203" y="209"/>
                  <a:pt x="203" y="209"/>
                </a:cubicBezTo>
                <a:cubicBezTo>
                  <a:pt x="204" y="209"/>
                  <a:pt x="204" y="209"/>
                  <a:pt x="204" y="209"/>
                </a:cubicBezTo>
                <a:cubicBezTo>
                  <a:pt x="204" y="210"/>
                  <a:pt x="204" y="210"/>
                  <a:pt x="204" y="210"/>
                </a:cubicBezTo>
                <a:cubicBezTo>
                  <a:pt x="205" y="210"/>
                  <a:pt x="205" y="210"/>
                  <a:pt x="205" y="210"/>
                </a:cubicBezTo>
                <a:cubicBezTo>
                  <a:pt x="205" y="211"/>
                  <a:pt x="205" y="211"/>
                  <a:pt x="205" y="211"/>
                </a:cubicBezTo>
                <a:cubicBezTo>
                  <a:pt x="204" y="212"/>
                  <a:pt x="204" y="212"/>
                  <a:pt x="204" y="212"/>
                </a:cubicBezTo>
                <a:cubicBezTo>
                  <a:pt x="203" y="212"/>
                  <a:pt x="203" y="212"/>
                  <a:pt x="203" y="212"/>
                </a:cubicBezTo>
                <a:cubicBezTo>
                  <a:pt x="203" y="213"/>
                  <a:pt x="203" y="213"/>
                  <a:pt x="203" y="213"/>
                </a:cubicBezTo>
                <a:cubicBezTo>
                  <a:pt x="203" y="214"/>
                  <a:pt x="203" y="214"/>
                  <a:pt x="203" y="214"/>
                </a:cubicBezTo>
                <a:cubicBezTo>
                  <a:pt x="203" y="214"/>
                  <a:pt x="203" y="214"/>
                  <a:pt x="203" y="214"/>
                </a:cubicBezTo>
                <a:cubicBezTo>
                  <a:pt x="203" y="213"/>
                  <a:pt x="203" y="213"/>
                  <a:pt x="203" y="213"/>
                </a:cubicBezTo>
                <a:cubicBezTo>
                  <a:pt x="204" y="212"/>
                  <a:pt x="204" y="212"/>
                  <a:pt x="204" y="212"/>
                </a:cubicBezTo>
                <a:cubicBezTo>
                  <a:pt x="205" y="212"/>
                  <a:pt x="205" y="212"/>
                  <a:pt x="205" y="212"/>
                </a:cubicBezTo>
                <a:cubicBezTo>
                  <a:pt x="205" y="212"/>
                  <a:pt x="205" y="212"/>
                  <a:pt x="205" y="212"/>
                </a:cubicBezTo>
                <a:cubicBezTo>
                  <a:pt x="205" y="213"/>
                  <a:pt x="205" y="213"/>
                  <a:pt x="205" y="213"/>
                </a:cubicBezTo>
                <a:cubicBezTo>
                  <a:pt x="205" y="214"/>
                  <a:pt x="205" y="214"/>
                  <a:pt x="205" y="214"/>
                </a:cubicBezTo>
                <a:cubicBezTo>
                  <a:pt x="205" y="214"/>
                  <a:pt x="205" y="214"/>
                  <a:pt x="205" y="214"/>
                </a:cubicBezTo>
                <a:cubicBezTo>
                  <a:pt x="205" y="213"/>
                  <a:pt x="205" y="213"/>
                  <a:pt x="205" y="213"/>
                </a:cubicBezTo>
                <a:cubicBezTo>
                  <a:pt x="206" y="213"/>
                  <a:pt x="206" y="213"/>
                  <a:pt x="206" y="213"/>
                </a:cubicBezTo>
                <a:cubicBezTo>
                  <a:pt x="207" y="213"/>
                  <a:pt x="207" y="213"/>
                  <a:pt x="207" y="213"/>
                </a:cubicBezTo>
                <a:cubicBezTo>
                  <a:pt x="207" y="213"/>
                  <a:pt x="207" y="213"/>
                  <a:pt x="207" y="213"/>
                </a:cubicBezTo>
                <a:cubicBezTo>
                  <a:pt x="207" y="214"/>
                  <a:pt x="207" y="214"/>
                  <a:pt x="207" y="214"/>
                </a:cubicBezTo>
                <a:cubicBezTo>
                  <a:pt x="206" y="215"/>
                  <a:pt x="206" y="215"/>
                  <a:pt x="206" y="215"/>
                </a:cubicBezTo>
                <a:cubicBezTo>
                  <a:pt x="205" y="215"/>
                  <a:pt x="205" y="215"/>
                  <a:pt x="205" y="215"/>
                </a:cubicBezTo>
                <a:cubicBezTo>
                  <a:pt x="205" y="216"/>
                  <a:pt x="205" y="216"/>
                  <a:pt x="205" y="216"/>
                </a:cubicBezTo>
                <a:cubicBezTo>
                  <a:pt x="205" y="217"/>
                  <a:pt x="205" y="217"/>
                  <a:pt x="205" y="217"/>
                </a:cubicBezTo>
                <a:cubicBezTo>
                  <a:pt x="205" y="217"/>
                  <a:pt x="205" y="217"/>
                  <a:pt x="205" y="217"/>
                </a:cubicBezTo>
                <a:cubicBezTo>
                  <a:pt x="205" y="218"/>
                  <a:pt x="205" y="218"/>
                  <a:pt x="205" y="218"/>
                </a:cubicBezTo>
                <a:cubicBezTo>
                  <a:pt x="205" y="219"/>
                  <a:pt x="205" y="219"/>
                  <a:pt x="205" y="219"/>
                </a:cubicBezTo>
                <a:cubicBezTo>
                  <a:pt x="205" y="220"/>
                  <a:pt x="205" y="220"/>
                  <a:pt x="205" y="220"/>
                </a:cubicBezTo>
                <a:cubicBezTo>
                  <a:pt x="205" y="220"/>
                  <a:pt x="205" y="220"/>
                  <a:pt x="205" y="220"/>
                </a:cubicBezTo>
                <a:cubicBezTo>
                  <a:pt x="205" y="218"/>
                  <a:pt x="205" y="218"/>
                  <a:pt x="205" y="218"/>
                </a:cubicBezTo>
                <a:cubicBezTo>
                  <a:pt x="206" y="217"/>
                  <a:pt x="206" y="217"/>
                  <a:pt x="206" y="217"/>
                </a:cubicBezTo>
                <a:cubicBezTo>
                  <a:pt x="207" y="216"/>
                  <a:pt x="207" y="216"/>
                  <a:pt x="207" y="216"/>
                </a:cubicBezTo>
                <a:cubicBezTo>
                  <a:pt x="208" y="216"/>
                  <a:pt x="208" y="216"/>
                  <a:pt x="208" y="216"/>
                </a:cubicBezTo>
                <a:cubicBezTo>
                  <a:pt x="208" y="217"/>
                  <a:pt x="208" y="217"/>
                  <a:pt x="208" y="217"/>
                </a:cubicBezTo>
                <a:cubicBezTo>
                  <a:pt x="207" y="218"/>
                  <a:pt x="207" y="218"/>
                  <a:pt x="207" y="218"/>
                </a:cubicBezTo>
                <a:cubicBezTo>
                  <a:pt x="207" y="219"/>
                  <a:pt x="207" y="219"/>
                  <a:pt x="207" y="219"/>
                </a:cubicBezTo>
                <a:cubicBezTo>
                  <a:pt x="207" y="219"/>
                  <a:pt x="207" y="219"/>
                  <a:pt x="207" y="219"/>
                </a:cubicBezTo>
                <a:cubicBezTo>
                  <a:pt x="207" y="219"/>
                  <a:pt x="207" y="219"/>
                  <a:pt x="207" y="219"/>
                </a:cubicBezTo>
                <a:cubicBezTo>
                  <a:pt x="208" y="219"/>
                  <a:pt x="208" y="219"/>
                  <a:pt x="208" y="219"/>
                </a:cubicBezTo>
                <a:cubicBezTo>
                  <a:pt x="208" y="221"/>
                  <a:pt x="208" y="221"/>
                  <a:pt x="208" y="221"/>
                </a:cubicBezTo>
                <a:cubicBezTo>
                  <a:pt x="207" y="221"/>
                  <a:pt x="207" y="221"/>
                  <a:pt x="207" y="221"/>
                </a:cubicBezTo>
                <a:cubicBezTo>
                  <a:pt x="206" y="221"/>
                  <a:pt x="206" y="221"/>
                  <a:pt x="206" y="221"/>
                </a:cubicBezTo>
                <a:cubicBezTo>
                  <a:pt x="206" y="222"/>
                  <a:pt x="206" y="222"/>
                  <a:pt x="206" y="222"/>
                </a:cubicBezTo>
                <a:cubicBezTo>
                  <a:pt x="206" y="222"/>
                  <a:pt x="206" y="222"/>
                  <a:pt x="206" y="222"/>
                </a:cubicBezTo>
                <a:cubicBezTo>
                  <a:pt x="207" y="222"/>
                  <a:pt x="207" y="222"/>
                  <a:pt x="207" y="222"/>
                </a:cubicBezTo>
                <a:cubicBezTo>
                  <a:pt x="207" y="222"/>
                  <a:pt x="207" y="222"/>
                  <a:pt x="207" y="222"/>
                </a:cubicBezTo>
                <a:cubicBezTo>
                  <a:pt x="207" y="223"/>
                  <a:pt x="207" y="223"/>
                  <a:pt x="207" y="223"/>
                </a:cubicBezTo>
                <a:cubicBezTo>
                  <a:pt x="207" y="223"/>
                  <a:pt x="207" y="223"/>
                  <a:pt x="207" y="223"/>
                </a:cubicBezTo>
                <a:cubicBezTo>
                  <a:pt x="207" y="224"/>
                  <a:pt x="207" y="224"/>
                  <a:pt x="207" y="224"/>
                </a:cubicBezTo>
                <a:cubicBezTo>
                  <a:pt x="208" y="224"/>
                  <a:pt x="208" y="224"/>
                  <a:pt x="208" y="224"/>
                </a:cubicBezTo>
                <a:cubicBezTo>
                  <a:pt x="208" y="225"/>
                  <a:pt x="208" y="225"/>
                  <a:pt x="208" y="225"/>
                </a:cubicBezTo>
                <a:cubicBezTo>
                  <a:pt x="207" y="226"/>
                  <a:pt x="207" y="226"/>
                  <a:pt x="207" y="226"/>
                </a:cubicBezTo>
                <a:cubicBezTo>
                  <a:pt x="207" y="227"/>
                  <a:pt x="207" y="227"/>
                  <a:pt x="207" y="227"/>
                </a:cubicBezTo>
                <a:cubicBezTo>
                  <a:pt x="207" y="229"/>
                  <a:pt x="207" y="229"/>
                  <a:pt x="207" y="229"/>
                </a:cubicBezTo>
                <a:cubicBezTo>
                  <a:pt x="207" y="229"/>
                  <a:pt x="207" y="229"/>
                  <a:pt x="207" y="229"/>
                </a:cubicBezTo>
                <a:cubicBezTo>
                  <a:pt x="207" y="230"/>
                  <a:pt x="207" y="230"/>
                  <a:pt x="207" y="230"/>
                </a:cubicBezTo>
                <a:cubicBezTo>
                  <a:pt x="207" y="231"/>
                  <a:pt x="207" y="231"/>
                  <a:pt x="207" y="231"/>
                </a:cubicBezTo>
                <a:cubicBezTo>
                  <a:pt x="206" y="231"/>
                  <a:pt x="206" y="231"/>
                  <a:pt x="206" y="231"/>
                </a:cubicBezTo>
                <a:cubicBezTo>
                  <a:pt x="206" y="231"/>
                  <a:pt x="206" y="231"/>
                  <a:pt x="206" y="231"/>
                </a:cubicBezTo>
                <a:cubicBezTo>
                  <a:pt x="205" y="230"/>
                  <a:pt x="205" y="230"/>
                  <a:pt x="205" y="230"/>
                </a:cubicBezTo>
                <a:cubicBezTo>
                  <a:pt x="206" y="230"/>
                  <a:pt x="206" y="230"/>
                  <a:pt x="206" y="230"/>
                </a:cubicBezTo>
                <a:cubicBezTo>
                  <a:pt x="205" y="229"/>
                  <a:pt x="205" y="229"/>
                  <a:pt x="205" y="229"/>
                </a:cubicBezTo>
                <a:cubicBezTo>
                  <a:pt x="205" y="229"/>
                  <a:pt x="205" y="229"/>
                  <a:pt x="205" y="229"/>
                </a:cubicBezTo>
                <a:cubicBezTo>
                  <a:pt x="204" y="229"/>
                  <a:pt x="204" y="229"/>
                  <a:pt x="204" y="229"/>
                </a:cubicBezTo>
                <a:cubicBezTo>
                  <a:pt x="204" y="230"/>
                  <a:pt x="204" y="230"/>
                  <a:pt x="204" y="230"/>
                </a:cubicBezTo>
                <a:cubicBezTo>
                  <a:pt x="203" y="229"/>
                  <a:pt x="203" y="229"/>
                  <a:pt x="203" y="229"/>
                </a:cubicBezTo>
                <a:cubicBezTo>
                  <a:pt x="203" y="228"/>
                  <a:pt x="203" y="228"/>
                  <a:pt x="203" y="228"/>
                </a:cubicBezTo>
                <a:cubicBezTo>
                  <a:pt x="204" y="227"/>
                  <a:pt x="204" y="227"/>
                  <a:pt x="204" y="227"/>
                </a:cubicBezTo>
                <a:cubicBezTo>
                  <a:pt x="203" y="226"/>
                  <a:pt x="203" y="226"/>
                  <a:pt x="203" y="226"/>
                </a:cubicBezTo>
                <a:cubicBezTo>
                  <a:pt x="203" y="225"/>
                  <a:pt x="203" y="225"/>
                  <a:pt x="203" y="225"/>
                </a:cubicBezTo>
                <a:cubicBezTo>
                  <a:pt x="203" y="225"/>
                  <a:pt x="203" y="225"/>
                  <a:pt x="203" y="225"/>
                </a:cubicBezTo>
                <a:cubicBezTo>
                  <a:pt x="203" y="224"/>
                  <a:pt x="203" y="224"/>
                  <a:pt x="203" y="224"/>
                </a:cubicBezTo>
                <a:cubicBezTo>
                  <a:pt x="203" y="224"/>
                  <a:pt x="203" y="224"/>
                  <a:pt x="203" y="224"/>
                </a:cubicBezTo>
                <a:cubicBezTo>
                  <a:pt x="202" y="225"/>
                  <a:pt x="202" y="225"/>
                  <a:pt x="202" y="225"/>
                </a:cubicBezTo>
                <a:cubicBezTo>
                  <a:pt x="202" y="226"/>
                  <a:pt x="202" y="226"/>
                  <a:pt x="202" y="226"/>
                </a:cubicBezTo>
                <a:cubicBezTo>
                  <a:pt x="202" y="227"/>
                  <a:pt x="202" y="227"/>
                  <a:pt x="202" y="227"/>
                </a:cubicBezTo>
                <a:cubicBezTo>
                  <a:pt x="202" y="229"/>
                  <a:pt x="202" y="229"/>
                  <a:pt x="202" y="229"/>
                </a:cubicBezTo>
                <a:cubicBezTo>
                  <a:pt x="202" y="230"/>
                  <a:pt x="202" y="230"/>
                  <a:pt x="202" y="230"/>
                </a:cubicBezTo>
                <a:cubicBezTo>
                  <a:pt x="202" y="230"/>
                  <a:pt x="202" y="230"/>
                  <a:pt x="202" y="230"/>
                </a:cubicBezTo>
                <a:cubicBezTo>
                  <a:pt x="201" y="230"/>
                  <a:pt x="201" y="230"/>
                  <a:pt x="201" y="230"/>
                </a:cubicBezTo>
                <a:cubicBezTo>
                  <a:pt x="200" y="230"/>
                  <a:pt x="200" y="230"/>
                  <a:pt x="200" y="230"/>
                </a:cubicBezTo>
                <a:cubicBezTo>
                  <a:pt x="199" y="230"/>
                  <a:pt x="199" y="230"/>
                  <a:pt x="199" y="230"/>
                </a:cubicBezTo>
                <a:cubicBezTo>
                  <a:pt x="199" y="230"/>
                  <a:pt x="199" y="230"/>
                  <a:pt x="199" y="230"/>
                </a:cubicBezTo>
                <a:cubicBezTo>
                  <a:pt x="197" y="229"/>
                  <a:pt x="197" y="229"/>
                  <a:pt x="197" y="229"/>
                </a:cubicBezTo>
                <a:cubicBezTo>
                  <a:pt x="196" y="227"/>
                  <a:pt x="196" y="227"/>
                  <a:pt x="196" y="227"/>
                </a:cubicBezTo>
                <a:cubicBezTo>
                  <a:pt x="195" y="226"/>
                  <a:pt x="195" y="226"/>
                  <a:pt x="195" y="226"/>
                </a:cubicBezTo>
                <a:cubicBezTo>
                  <a:pt x="195" y="225"/>
                  <a:pt x="195" y="225"/>
                  <a:pt x="195" y="225"/>
                </a:cubicBezTo>
                <a:cubicBezTo>
                  <a:pt x="195" y="223"/>
                  <a:pt x="195" y="223"/>
                  <a:pt x="195" y="223"/>
                </a:cubicBezTo>
                <a:cubicBezTo>
                  <a:pt x="194" y="222"/>
                  <a:pt x="194" y="222"/>
                  <a:pt x="194" y="222"/>
                </a:cubicBezTo>
                <a:cubicBezTo>
                  <a:pt x="193" y="221"/>
                  <a:pt x="193" y="221"/>
                  <a:pt x="193" y="221"/>
                </a:cubicBezTo>
                <a:cubicBezTo>
                  <a:pt x="193" y="220"/>
                  <a:pt x="193" y="220"/>
                  <a:pt x="193" y="220"/>
                </a:cubicBezTo>
                <a:cubicBezTo>
                  <a:pt x="193" y="219"/>
                  <a:pt x="193" y="219"/>
                  <a:pt x="193" y="219"/>
                </a:cubicBezTo>
                <a:cubicBezTo>
                  <a:pt x="194" y="218"/>
                  <a:pt x="194" y="218"/>
                  <a:pt x="194" y="218"/>
                </a:cubicBezTo>
                <a:cubicBezTo>
                  <a:pt x="193" y="217"/>
                  <a:pt x="193" y="217"/>
                  <a:pt x="193" y="217"/>
                </a:cubicBezTo>
                <a:cubicBezTo>
                  <a:pt x="193" y="217"/>
                  <a:pt x="193" y="217"/>
                  <a:pt x="193" y="217"/>
                </a:cubicBezTo>
                <a:cubicBezTo>
                  <a:pt x="192" y="217"/>
                  <a:pt x="192" y="217"/>
                  <a:pt x="192" y="217"/>
                </a:cubicBezTo>
                <a:cubicBezTo>
                  <a:pt x="191" y="218"/>
                  <a:pt x="191" y="218"/>
                  <a:pt x="191" y="218"/>
                </a:cubicBezTo>
                <a:cubicBezTo>
                  <a:pt x="191" y="217"/>
                  <a:pt x="191" y="217"/>
                  <a:pt x="191" y="217"/>
                </a:cubicBezTo>
                <a:cubicBezTo>
                  <a:pt x="189" y="215"/>
                  <a:pt x="189" y="215"/>
                  <a:pt x="189" y="215"/>
                </a:cubicBezTo>
                <a:cubicBezTo>
                  <a:pt x="188" y="214"/>
                  <a:pt x="188" y="214"/>
                  <a:pt x="188" y="214"/>
                </a:cubicBezTo>
                <a:cubicBezTo>
                  <a:pt x="188" y="213"/>
                  <a:pt x="188" y="213"/>
                  <a:pt x="188" y="213"/>
                </a:cubicBezTo>
                <a:cubicBezTo>
                  <a:pt x="187" y="214"/>
                  <a:pt x="187" y="214"/>
                  <a:pt x="187" y="214"/>
                </a:cubicBezTo>
                <a:cubicBezTo>
                  <a:pt x="186" y="214"/>
                  <a:pt x="186" y="214"/>
                  <a:pt x="186" y="214"/>
                </a:cubicBezTo>
                <a:cubicBezTo>
                  <a:pt x="185" y="213"/>
                  <a:pt x="185" y="213"/>
                  <a:pt x="185" y="213"/>
                </a:cubicBezTo>
                <a:cubicBezTo>
                  <a:pt x="185" y="214"/>
                  <a:pt x="185" y="214"/>
                  <a:pt x="185" y="214"/>
                </a:cubicBezTo>
                <a:cubicBezTo>
                  <a:pt x="184" y="214"/>
                  <a:pt x="184" y="214"/>
                  <a:pt x="184" y="214"/>
                </a:cubicBezTo>
                <a:cubicBezTo>
                  <a:pt x="183" y="214"/>
                  <a:pt x="183" y="214"/>
                  <a:pt x="183" y="214"/>
                </a:cubicBezTo>
                <a:cubicBezTo>
                  <a:pt x="182" y="213"/>
                  <a:pt x="182" y="213"/>
                  <a:pt x="182" y="213"/>
                </a:cubicBezTo>
                <a:cubicBezTo>
                  <a:pt x="182" y="212"/>
                  <a:pt x="182" y="212"/>
                  <a:pt x="182" y="212"/>
                </a:cubicBezTo>
                <a:cubicBezTo>
                  <a:pt x="181" y="211"/>
                  <a:pt x="181" y="211"/>
                  <a:pt x="181" y="211"/>
                </a:cubicBezTo>
                <a:cubicBezTo>
                  <a:pt x="181" y="210"/>
                  <a:pt x="181" y="210"/>
                  <a:pt x="181" y="210"/>
                </a:cubicBezTo>
                <a:cubicBezTo>
                  <a:pt x="180" y="210"/>
                  <a:pt x="180" y="210"/>
                  <a:pt x="180" y="210"/>
                </a:cubicBezTo>
                <a:cubicBezTo>
                  <a:pt x="180" y="208"/>
                  <a:pt x="180" y="208"/>
                  <a:pt x="180" y="208"/>
                </a:cubicBezTo>
                <a:cubicBezTo>
                  <a:pt x="179" y="207"/>
                  <a:pt x="179" y="207"/>
                  <a:pt x="179" y="207"/>
                </a:cubicBezTo>
                <a:cubicBezTo>
                  <a:pt x="179" y="208"/>
                  <a:pt x="179" y="208"/>
                  <a:pt x="179" y="208"/>
                </a:cubicBezTo>
                <a:cubicBezTo>
                  <a:pt x="179" y="209"/>
                  <a:pt x="179" y="209"/>
                  <a:pt x="179" y="209"/>
                </a:cubicBezTo>
                <a:cubicBezTo>
                  <a:pt x="179" y="210"/>
                  <a:pt x="179" y="210"/>
                  <a:pt x="179" y="210"/>
                </a:cubicBezTo>
                <a:cubicBezTo>
                  <a:pt x="178" y="210"/>
                  <a:pt x="178" y="210"/>
                  <a:pt x="178" y="210"/>
                </a:cubicBezTo>
                <a:cubicBezTo>
                  <a:pt x="178" y="211"/>
                  <a:pt x="178" y="211"/>
                  <a:pt x="178" y="211"/>
                </a:cubicBezTo>
                <a:cubicBezTo>
                  <a:pt x="179" y="211"/>
                  <a:pt x="179" y="211"/>
                  <a:pt x="179" y="211"/>
                </a:cubicBezTo>
                <a:cubicBezTo>
                  <a:pt x="179" y="211"/>
                  <a:pt x="179" y="211"/>
                  <a:pt x="179" y="211"/>
                </a:cubicBezTo>
                <a:cubicBezTo>
                  <a:pt x="180" y="212"/>
                  <a:pt x="180" y="212"/>
                  <a:pt x="180" y="212"/>
                </a:cubicBezTo>
                <a:cubicBezTo>
                  <a:pt x="181" y="213"/>
                  <a:pt x="181" y="213"/>
                  <a:pt x="181" y="213"/>
                </a:cubicBezTo>
                <a:cubicBezTo>
                  <a:pt x="180" y="214"/>
                  <a:pt x="180" y="214"/>
                  <a:pt x="180" y="214"/>
                </a:cubicBezTo>
                <a:cubicBezTo>
                  <a:pt x="179" y="214"/>
                  <a:pt x="179" y="214"/>
                  <a:pt x="179" y="214"/>
                </a:cubicBezTo>
                <a:cubicBezTo>
                  <a:pt x="179" y="214"/>
                  <a:pt x="179" y="214"/>
                  <a:pt x="179" y="214"/>
                </a:cubicBezTo>
                <a:cubicBezTo>
                  <a:pt x="178" y="215"/>
                  <a:pt x="178" y="215"/>
                  <a:pt x="178" y="215"/>
                </a:cubicBezTo>
                <a:cubicBezTo>
                  <a:pt x="177" y="214"/>
                  <a:pt x="177" y="214"/>
                  <a:pt x="177" y="214"/>
                </a:cubicBezTo>
                <a:cubicBezTo>
                  <a:pt x="177" y="215"/>
                  <a:pt x="177" y="215"/>
                  <a:pt x="177" y="215"/>
                </a:cubicBezTo>
                <a:cubicBezTo>
                  <a:pt x="178" y="215"/>
                  <a:pt x="178" y="215"/>
                  <a:pt x="178" y="215"/>
                </a:cubicBezTo>
                <a:cubicBezTo>
                  <a:pt x="179" y="215"/>
                  <a:pt x="179" y="215"/>
                  <a:pt x="179" y="215"/>
                </a:cubicBezTo>
                <a:cubicBezTo>
                  <a:pt x="180" y="214"/>
                  <a:pt x="180" y="214"/>
                  <a:pt x="180" y="214"/>
                </a:cubicBezTo>
                <a:cubicBezTo>
                  <a:pt x="181" y="214"/>
                  <a:pt x="181" y="214"/>
                  <a:pt x="181" y="214"/>
                </a:cubicBezTo>
                <a:cubicBezTo>
                  <a:pt x="182" y="214"/>
                  <a:pt x="182" y="214"/>
                  <a:pt x="182" y="214"/>
                </a:cubicBezTo>
                <a:cubicBezTo>
                  <a:pt x="182" y="214"/>
                  <a:pt x="182" y="214"/>
                  <a:pt x="182" y="214"/>
                </a:cubicBezTo>
                <a:cubicBezTo>
                  <a:pt x="182" y="215"/>
                  <a:pt x="182" y="215"/>
                  <a:pt x="182" y="215"/>
                </a:cubicBezTo>
                <a:cubicBezTo>
                  <a:pt x="183" y="215"/>
                  <a:pt x="183" y="215"/>
                  <a:pt x="183" y="215"/>
                </a:cubicBezTo>
                <a:cubicBezTo>
                  <a:pt x="184" y="215"/>
                  <a:pt x="184" y="215"/>
                  <a:pt x="184" y="215"/>
                </a:cubicBezTo>
                <a:cubicBezTo>
                  <a:pt x="184" y="215"/>
                  <a:pt x="184" y="215"/>
                  <a:pt x="184" y="215"/>
                </a:cubicBezTo>
                <a:cubicBezTo>
                  <a:pt x="187" y="216"/>
                  <a:pt x="187" y="216"/>
                  <a:pt x="187" y="216"/>
                </a:cubicBezTo>
                <a:cubicBezTo>
                  <a:pt x="188" y="216"/>
                  <a:pt x="188" y="216"/>
                  <a:pt x="188" y="216"/>
                </a:cubicBezTo>
                <a:cubicBezTo>
                  <a:pt x="189" y="216"/>
                  <a:pt x="189" y="216"/>
                  <a:pt x="189" y="216"/>
                </a:cubicBezTo>
                <a:cubicBezTo>
                  <a:pt x="189" y="217"/>
                  <a:pt x="189" y="217"/>
                  <a:pt x="189" y="217"/>
                </a:cubicBezTo>
                <a:cubicBezTo>
                  <a:pt x="190" y="218"/>
                  <a:pt x="190" y="218"/>
                  <a:pt x="190" y="218"/>
                </a:cubicBezTo>
                <a:cubicBezTo>
                  <a:pt x="189" y="219"/>
                  <a:pt x="189" y="219"/>
                  <a:pt x="189" y="219"/>
                </a:cubicBezTo>
                <a:cubicBezTo>
                  <a:pt x="188" y="220"/>
                  <a:pt x="188" y="220"/>
                  <a:pt x="188" y="220"/>
                </a:cubicBezTo>
                <a:cubicBezTo>
                  <a:pt x="188" y="221"/>
                  <a:pt x="188" y="221"/>
                  <a:pt x="188" y="221"/>
                </a:cubicBezTo>
                <a:cubicBezTo>
                  <a:pt x="187" y="221"/>
                  <a:pt x="187" y="221"/>
                  <a:pt x="187" y="221"/>
                </a:cubicBezTo>
                <a:cubicBezTo>
                  <a:pt x="186" y="221"/>
                  <a:pt x="186" y="221"/>
                  <a:pt x="186" y="221"/>
                </a:cubicBezTo>
                <a:cubicBezTo>
                  <a:pt x="183" y="222"/>
                  <a:pt x="183" y="222"/>
                  <a:pt x="183" y="222"/>
                </a:cubicBezTo>
                <a:cubicBezTo>
                  <a:pt x="182" y="222"/>
                  <a:pt x="182" y="222"/>
                  <a:pt x="182" y="222"/>
                </a:cubicBezTo>
                <a:cubicBezTo>
                  <a:pt x="180" y="223"/>
                  <a:pt x="180" y="223"/>
                  <a:pt x="180" y="223"/>
                </a:cubicBezTo>
                <a:cubicBezTo>
                  <a:pt x="180" y="222"/>
                  <a:pt x="180" y="222"/>
                  <a:pt x="180" y="222"/>
                </a:cubicBezTo>
                <a:cubicBezTo>
                  <a:pt x="179" y="221"/>
                  <a:pt x="179" y="221"/>
                  <a:pt x="179" y="221"/>
                </a:cubicBezTo>
                <a:cubicBezTo>
                  <a:pt x="179" y="220"/>
                  <a:pt x="179" y="220"/>
                  <a:pt x="179" y="220"/>
                </a:cubicBezTo>
                <a:cubicBezTo>
                  <a:pt x="179" y="220"/>
                  <a:pt x="179" y="220"/>
                  <a:pt x="179" y="220"/>
                </a:cubicBezTo>
                <a:cubicBezTo>
                  <a:pt x="178" y="220"/>
                  <a:pt x="178" y="220"/>
                  <a:pt x="178" y="220"/>
                </a:cubicBezTo>
                <a:cubicBezTo>
                  <a:pt x="178" y="221"/>
                  <a:pt x="178" y="221"/>
                  <a:pt x="178" y="221"/>
                </a:cubicBezTo>
                <a:cubicBezTo>
                  <a:pt x="178" y="221"/>
                  <a:pt x="178" y="221"/>
                  <a:pt x="178" y="221"/>
                </a:cubicBezTo>
                <a:cubicBezTo>
                  <a:pt x="178" y="222"/>
                  <a:pt x="178" y="222"/>
                  <a:pt x="178" y="222"/>
                </a:cubicBezTo>
                <a:cubicBezTo>
                  <a:pt x="178" y="222"/>
                  <a:pt x="178" y="222"/>
                  <a:pt x="178" y="222"/>
                </a:cubicBezTo>
                <a:cubicBezTo>
                  <a:pt x="177" y="222"/>
                  <a:pt x="177" y="222"/>
                  <a:pt x="177" y="222"/>
                </a:cubicBezTo>
                <a:cubicBezTo>
                  <a:pt x="177" y="222"/>
                  <a:pt x="177" y="222"/>
                  <a:pt x="177" y="222"/>
                </a:cubicBezTo>
                <a:cubicBezTo>
                  <a:pt x="177" y="222"/>
                  <a:pt x="177" y="222"/>
                  <a:pt x="177" y="222"/>
                </a:cubicBezTo>
                <a:cubicBezTo>
                  <a:pt x="176" y="222"/>
                  <a:pt x="176" y="222"/>
                  <a:pt x="176" y="222"/>
                </a:cubicBezTo>
                <a:cubicBezTo>
                  <a:pt x="176" y="223"/>
                  <a:pt x="176" y="223"/>
                  <a:pt x="176" y="223"/>
                </a:cubicBezTo>
                <a:cubicBezTo>
                  <a:pt x="177" y="223"/>
                  <a:pt x="177" y="223"/>
                  <a:pt x="177" y="223"/>
                </a:cubicBezTo>
                <a:cubicBezTo>
                  <a:pt x="177" y="223"/>
                  <a:pt x="177" y="223"/>
                  <a:pt x="177" y="223"/>
                </a:cubicBezTo>
                <a:cubicBezTo>
                  <a:pt x="178" y="224"/>
                  <a:pt x="178" y="224"/>
                  <a:pt x="178" y="224"/>
                </a:cubicBezTo>
                <a:cubicBezTo>
                  <a:pt x="177" y="225"/>
                  <a:pt x="177" y="225"/>
                  <a:pt x="177" y="225"/>
                </a:cubicBezTo>
                <a:cubicBezTo>
                  <a:pt x="177" y="225"/>
                  <a:pt x="177" y="225"/>
                  <a:pt x="177" y="225"/>
                </a:cubicBezTo>
                <a:cubicBezTo>
                  <a:pt x="176" y="225"/>
                  <a:pt x="176" y="225"/>
                  <a:pt x="176" y="225"/>
                </a:cubicBezTo>
                <a:cubicBezTo>
                  <a:pt x="176" y="226"/>
                  <a:pt x="176" y="226"/>
                  <a:pt x="176" y="226"/>
                </a:cubicBezTo>
                <a:cubicBezTo>
                  <a:pt x="175" y="226"/>
                  <a:pt x="175" y="226"/>
                  <a:pt x="175" y="226"/>
                </a:cubicBezTo>
                <a:cubicBezTo>
                  <a:pt x="175" y="227"/>
                  <a:pt x="175" y="227"/>
                  <a:pt x="175" y="227"/>
                </a:cubicBezTo>
                <a:cubicBezTo>
                  <a:pt x="173" y="228"/>
                  <a:pt x="173" y="228"/>
                  <a:pt x="173" y="228"/>
                </a:cubicBezTo>
                <a:cubicBezTo>
                  <a:pt x="171" y="228"/>
                  <a:pt x="171" y="228"/>
                  <a:pt x="171" y="228"/>
                </a:cubicBezTo>
                <a:cubicBezTo>
                  <a:pt x="171" y="228"/>
                  <a:pt x="171" y="228"/>
                  <a:pt x="171" y="228"/>
                </a:cubicBezTo>
                <a:cubicBezTo>
                  <a:pt x="170" y="229"/>
                  <a:pt x="170" y="229"/>
                  <a:pt x="170" y="229"/>
                </a:cubicBezTo>
                <a:cubicBezTo>
                  <a:pt x="169" y="229"/>
                  <a:pt x="169" y="229"/>
                  <a:pt x="169" y="229"/>
                </a:cubicBezTo>
                <a:cubicBezTo>
                  <a:pt x="170" y="230"/>
                  <a:pt x="170" y="230"/>
                  <a:pt x="170" y="230"/>
                </a:cubicBezTo>
                <a:cubicBezTo>
                  <a:pt x="172" y="229"/>
                  <a:pt x="172" y="229"/>
                  <a:pt x="172" y="229"/>
                </a:cubicBezTo>
                <a:cubicBezTo>
                  <a:pt x="173" y="229"/>
                  <a:pt x="173" y="229"/>
                  <a:pt x="173" y="229"/>
                </a:cubicBezTo>
                <a:cubicBezTo>
                  <a:pt x="174" y="228"/>
                  <a:pt x="174" y="228"/>
                  <a:pt x="174" y="228"/>
                </a:cubicBezTo>
                <a:cubicBezTo>
                  <a:pt x="175" y="229"/>
                  <a:pt x="175" y="229"/>
                  <a:pt x="175" y="229"/>
                </a:cubicBezTo>
                <a:cubicBezTo>
                  <a:pt x="175" y="229"/>
                  <a:pt x="175" y="229"/>
                  <a:pt x="175" y="229"/>
                </a:cubicBezTo>
                <a:cubicBezTo>
                  <a:pt x="176" y="230"/>
                  <a:pt x="176" y="230"/>
                  <a:pt x="176" y="230"/>
                </a:cubicBezTo>
                <a:cubicBezTo>
                  <a:pt x="178" y="230"/>
                  <a:pt x="178" y="230"/>
                  <a:pt x="178" y="230"/>
                </a:cubicBezTo>
                <a:cubicBezTo>
                  <a:pt x="179" y="229"/>
                  <a:pt x="179" y="229"/>
                  <a:pt x="179" y="229"/>
                </a:cubicBezTo>
                <a:cubicBezTo>
                  <a:pt x="181" y="229"/>
                  <a:pt x="181" y="229"/>
                  <a:pt x="181" y="229"/>
                </a:cubicBezTo>
                <a:cubicBezTo>
                  <a:pt x="181" y="230"/>
                  <a:pt x="181" y="230"/>
                  <a:pt x="181" y="230"/>
                </a:cubicBezTo>
                <a:cubicBezTo>
                  <a:pt x="183" y="229"/>
                  <a:pt x="183" y="229"/>
                  <a:pt x="183" y="229"/>
                </a:cubicBezTo>
                <a:cubicBezTo>
                  <a:pt x="183" y="229"/>
                  <a:pt x="183" y="229"/>
                  <a:pt x="183" y="229"/>
                </a:cubicBezTo>
                <a:cubicBezTo>
                  <a:pt x="183" y="230"/>
                  <a:pt x="183" y="230"/>
                  <a:pt x="183" y="230"/>
                </a:cubicBezTo>
                <a:cubicBezTo>
                  <a:pt x="184" y="230"/>
                  <a:pt x="184" y="230"/>
                  <a:pt x="184" y="230"/>
                </a:cubicBezTo>
                <a:cubicBezTo>
                  <a:pt x="184" y="231"/>
                  <a:pt x="184" y="231"/>
                  <a:pt x="184" y="231"/>
                </a:cubicBezTo>
                <a:cubicBezTo>
                  <a:pt x="184" y="231"/>
                  <a:pt x="184" y="231"/>
                  <a:pt x="184" y="231"/>
                </a:cubicBezTo>
                <a:cubicBezTo>
                  <a:pt x="183" y="231"/>
                  <a:pt x="183" y="231"/>
                  <a:pt x="183" y="231"/>
                </a:cubicBezTo>
                <a:cubicBezTo>
                  <a:pt x="182" y="231"/>
                  <a:pt x="182" y="231"/>
                  <a:pt x="182" y="231"/>
                </a:cubicBezTo>
                <a:cubicBezTo>
                  <a:pt x="181" y="231"/>
                  <a:pt x="181" y="231"/>
                  <a:pt x="181" y="231"/>
                </a:cubicBezTo>
                <a:cubicBezTo>
                  <a:pt x="180" y="232"/>
                  <a:pt x="180" y="232"/>
                  <a:pt x="180" y="232"/>
                </a:cubicBezTo>
                <a:cubicBezTo>
                  <a:pt x="178" y="232"/>
                  <a:pt x="178" y="232"/>
                  <a:pt x="178" y="232"/>
                </a:cubicBezTo>
                <a:cubicBezTo>
                  <a:pt x="177" y="233"/>
                  <a:pt x="177" y="233"/>
                  <a:pt x="177" y="233"/>
                </a:cubicBezTo>
                <a:cubicBezTo>
                  <a:pt x="177" y="232"/>
                  <a:pt x="177" y="232"/>
                  <a:pt x="177" y="232"/>
                </a:cubicBezTo>
                <a:cubicBezTo>
                  <a:pt x="176" y="232"/>
                  <a:pt x="176" y="232"/>
                  <a:pt x="176" y="232"/>
                </a:cubicBezTo>
                <a:cubicBezTo>
                  <a:pt x="175" y="232"/>
                  <a:pt x="175" y="232"/>
                  <a:pt x="175" y="232"/>
                </a:cubicBezTo>
                <a:cubicBezTo>
                  <a:pt x="174" y="233"/>
                  <a:pt x="174" y="233"/>
                  <a:pt x="174" y="233"/>
                </a:cubicBezTo>
                <a:cubicBezTo>
                  <a:pt x="175" y="233"/>
                  <a:pt x="175" y="233"/>
                  <a:pt x="175" y="233"/>
                </a:cubicBezTo>
                <a:cubicBezTo>
                  <a:pt x="175" y="233"/>
                  <a:pt x="175" y="233"/>
                  <a:pt x="175" y="233"/>
                </a:cubicBezTo>
                <a:cubicBezTo>
                  <a:pt x="176" y="233"/>
                  <a:pt x="176" y="233"/>
                  <a:pt x="176" y="233"/>
                </a:cubicBezTo>
                <a:cubicBezTo>
                  <a:pt x="178" y="233"/>
                  <a:pt x="178" y="233"/>
                  <a:pt x="178" y="233"/>
                </a:cubicBezTo>
                <a:cubicBezTo>
                  <a:pt x="179" y="234"/>
                  <a:pt x="179" y="234"/>
                  <a:pt x="179" y="234"/>
                </a:cubicBezTo>
                <a:cubicBezTo>
                  <a:pt x="179" y="234"/>
                  <a:pt x="179" y="234"/>
                  <a:pt x="179" y="234"/>
                </a:cubicBezTo>
                <a:cubicBezTo>
                  <a:pt x="180" y="234"/>
                  <a:pt x="180" y="234"/>
                  <a:pt x="180" y="234"/>
                </a:cubicBezTo>
                <a:cubicBezTo>
                  <a:pt x="181" y="232"/>
                  <a:pt x="181" y="232"/>
                  <a:pt x="181" y="232"/>
                </a:cubicBezTo>
                <a:cubicBezTo>
                  <a:pt x="181" y="232"/>
                  <a:pt x="182" y="232"/>
                  <a:pt x="182" y="232"/>
                </a:cubicBezTo>
                <a:cubicBezTo>
                  <a:pt x="182" y="232"/>
                  <a:pt x="183" y="232"/>
                  <a:pt x="183" y="232"/>
                </a:cubicBezTo>
                <a:cubicBezTo>
                  <a:pt x="183" y="232"/>
                  <a:pt x="183" y="232"/>
                  <a:pt x="183" y="232"/>
                </a:cubicBezTo>
                <a:cubicBezTo>
                  <a:pt x="184" y="233"/>
                  <a:pt x="184" y="233"/>
                  <a:pt x="184" y="233"/>
                </a:cubicBezTo>
                <a:cubicBezTo>
                  <a:pt x="185" y="232"/>
                  <a:pt x="185" y="232"/>
                  <a:pt x="185" y="232"/>
                </a:cubicBezTo>
                <a:cubicBezTo>
                  <a:pt x="186" y="232"/>
                  <a:pt x="186" y="232"/>
                  <a:pt x="186" y="232"/>
                </a:cubicBezTo>
                <a:cubicBezTo>
                  <a:pt x="187" y="232"/>
                  <a:pt x="187" y="232"/>
                  <a:pt x="187" y="232"/>
                </a:cubicBezTo>
                <a:cubicBezTo>
                  <a:pt x="189" y="231"/>
                  <a:pt x="189" y="231"/>
                  <a:pt x="189" y="231"/>
                </a:cubicBezTo>
                <a:cubicBezTo>
                  <a:pt x="190" y="230"/>
                  <a:pt x="190" y="230"/>
                  <a:pt x="190" y="230"/>
                </a:cubicBezTo>
                <a:cubicBezTo>
                  <a:pt x="190" y="230"/>
                  <a:pt x="190" y="230"/>
                  <a:pt x="190" y="230"/>
                </a:cubicBezTo>
                <a:cubicBezTo>
                  <a:pt x="189" y="231"/>
                  <a:pt x="189" y="231"/>
                  <a:pt x="189" y="231"/>
                </a:cubicBezTo>
                <a:cubicBezTo>
                  <a:pt x="190" y="231"/>
                  <a:pt x="190" y="231"/>
                  <a:pt x="190" y="231"/>
                </a:cubicBezTo>
                <a:cubicBezTo>
                  <a:pt x="191" y="230"/>
                  <a:pt x="191" y="230"/>
                  <a:pt x="191" y="230"/>
                </a:cubicBezTo>
                <a:cubicBezTo>
                  <a:pt x="191" y="230"/>
                  <a:pt x="191" y="230"/>
                  <a:pt x="191" y="230"/>
                </a:cubicBezTo>
                <a:cubicBezTo>
                  <a:pt x="191" y="231"/>
                  <a:pt x="191" y="231"/>
                  <a:pt x="191" y="231"/>
                </a:cubicBezTo>
                <a:cubicBezTo>
                  <a:pt x="193" y="232"/>
                  <a:pt x="193" y="232"/>
                  <a:pt x="193" y="232"/>
                </a:cubicBezTo>
                <a:cubicBezTo>
                  <a:pt x="195" y="233"/>
                  <a:pt x="195" y="233"/>
                  <a:pt x="195" y="233"/>
                </a:cubicBezTo>
                <a:cubicBezTo>
                  <a:pt x="196" y="233"/>
                  <a:pt x="196" y="233"/>
                  <a:pt x="196" y="233"/>
                </a:cubicBezTo>
                <a:cubicBezTo>
                  <a:pt x="198" y="234"/>
                  <a:pt x="198" y="234"/>
                  <a:pt x="198" y="234"/>
                </a:cubicBezTo>
                <a:cubicBezTo>
                  <a:pt x="199" y="234"/>
                  <a:pt x="199" y="234"/>
                  <a:pt x="199" y="234"/>
                </a:cubicBezTo>
                <a:cubicBezTo>
                  <a:pt x="200" y="234"/>
                  <a:pt x="200" y="234"/>
                  <a:pt x="200" y="234"/>
                </a:cubicBezTo>
                <a:cubicBezTo>
                  <a:pt x="201" y="234"/>
                  <a:pt x="201" y="234"/>
                  <a:pt x="201" y="234"/>
                </a:cubicBezTo>
                <a:cubicBezTo>
                  <a:pt x="202" y="234"/>
                  <a:pt x="202" y="234"/>
                  <a:pt x="202" y="234"/>
                </a:cubicBezTo>
                <a:cubicBezTo>
                  <a:pt x="204" y="233"/>
                  <a:pt x="204" y="233"/>
                  <a:pt x="204" y="233"/>
                </a:cubicBezTo>
                <a:cubicBezTo>
                  <a:pt x="204" y="234"/>
                  <a:pt x="204" y="234"/>
                  <a:pt x="204" y="234"/>
                </a:cubicBezTo>
                <a:cubicBezTo>
                  <a:pt x="203" y="235"/>
                  <a:pt x="203" y="235"/>
                  <a:pt x="203" y="235"/>
                </a:cubicBezTo>
                <a:cubicBezTo>
                  <a:pt x="202" y="236"/>
                  <a:pt x="202" y="236"/>
                  <a:pt x="202" y="236"/>
                </a:cubicBezTo>
                <a:cubicBezTo>
                  <a:pt x="201" y="236"/>
                  <a:pt x="201" y="236"/>
                  <a:pt x="201" y="236"/>
                </a:cubicBezTo>
                <a:cubicBezTo>
                  <a:pt x="200" y="236"/>
                  <a:pt x="200" y="236"/>
                  <a:pt x="200" y="236"/>
                </a:cubicBezTo>
                <a:cubicBezTo>
                  <a:pt x="199" y="236"/>
                  <a:pt x="199" y="236"/>
                  <a:pt x="199" y="236"/>
                </a:cubicBezTo>
                <a:cubicBezTo>
                  <a:pt x="199" y="237"/>
                  <a:pt x="199" y="237"/>
                  <a:pt x="199" y="237"/>
                </a:cubicBezTo>
                <a:cubicBezTo>
                  <a:pt x="200" y="237"/>
                  <a:pt x="200" y="237"/>
                  <a:pt x="200" y="237"/>
                </a:cubicBezTo>
                <a:cubicBezTo>
                  <a:pt x="200" y="238"/>
                  <a:pt x="200" y="238"/>
                  <a:pt x="200" y="238"/>
                </a:cubicBezTo>
                <a:cubicBezTo>
                  <a:pt x="200" y="238"/>
                  <a:pt x="200" y="238"/>
                  <a:pt x="200" y="238"/>
                </a:cubicBezTo>
                <a:cubicBezTo>
                  <a:pt x="199" y="238"/>
                  <a:pt x="199" y="238"/>
                  <a:pt x="199" y="238"/>
                </a:cubicBezTo>
                <a:cubicBezTo>
                  <a:pt x="199" y="238"/>
                  <a:pt x="199" y="238"/>
                  <a:pt x="199" y="238"/>
                </a:cubicBezTo>
                <a:cubicBezTo>
                  <a:pt x="198" y="237"/>
                  <a:pt x="198" y="237"/>
                  <a:pt x="198" y="237"/>
                </a:cubicBezTo>
                <a:cubicBezTo>
                  <a:pt x="198" y="238"/>
                  <a:pt x="198" y="238"/>
                  <a:pt x="198" y="238"/>
                </a:cubicBezTo>
                <a:cubicBezTo>
                  <a:pt x="198" y="239"/>
                  <a:pt x="198" y="239"/>
                  <a:pt x="198" y="239"/>
                </a:cubicBezTo>
                <a:cubicBezTo>
                  <a:pt x="197" y="238"/>
                  <a:pt x="197" y="238"/>
                  <a:pt x="197" y="238"/>
                </a:cubicBezTo>
                <a:cubicBezTo>
                  <a:pt x="196" y="238"/>
                  <a:pt x="196" y="238"/>
                  <a:pt x="196" y="238"/>
                </a:cubicBezTo>
                <a:cubicBezTo>
                  <a:pt x="196" y="239"/>
                  <a:pt x="196" y="239"/>
                  <a:pt x="196" y="239"/>
                </a:cubicBezTo>
                <a:cubicBezTo>
                  <a:pt x="196" y="239"/>
                  <a:pt x="196" y="239"/>
                  <a:pt x="196" y="239"/>
                </a:cubicBezTo>
                <a:cubicBezTo>
                  <a:pt x="196" y="239"/>
                  <a:pt x="196" y="239"/>
                  <a:pt x="196" y="239"/>
                </a:cubicBezTo>
                <a:cubicBezTo>
                  <a:pt x="196" y="240"/>
                  <a:pt x="196" y="240"/>
                  <a:pt x="196" y="240"/>
                </a:cubicBezTo>
                <a:cubicBezTo>
                  <a:pt x="195" y="241"/>
                  <a:pt x="195" y="241"/>
                  <a:pt x="195" y="241"/>
                </a:cubicBezTo>
                <a:cubicBezTo>
                  <a:pt x="195" y="241"/>
                  <a:pt x="195" y="241"/>
                  <a:pt x="195" y="241"/>
                </a:cubicBezTo>
                <a:cubicBezTo>
                  <a:pt x="194" y="240"/>
                  <a:pt x="194" y="240"/>
                  <a:pt x="194" y="240"/>
                </a:cubicBezTo>
                <a:cubicBezTo>
                  <a:pt x="194" y="240"/>
                  <a:pt x="194" y="240"/>
                  <a:pt x="194" y="240"/>
                </a:cubicBezTo>
                <a:cubicBezTo>
                  <a:pt x="193" y="240"/>
                  <a:pt x="193" y="240"/>
                  <a:pt x="193" y="240"/>
                </a:cubicBezTo>
                <a:cubicBezTo>
                  <a:pt x="194" y="241"/>
                  <a:pt x="194" y="241"/>
                  <a:pt x="194" y="241"/>
                </a:cubicBezTo>
                <a:cubicBezTo>
                  <a:pt x="194" y="242"/>
                  <a:pt x="194" y="242"/>
                  <a:pt x="194" y="242"/>
                </a:cubicBezTo>
                <a:cubicBezTo>
                  <a:pt x="193" y="242"/>
                  <a:pt x="193" y="242"/>
                  <a:pt x="193" y="242"/>
                </a:cubicBezTo>
                <a:cubicBezTo>
                  <a:pt x="192" y="242"/>
                  <a:pt x="192" y="242"/>
                  <a:pt x="192" y="242"/>
                </a:cubicBezTo>
                <a:cubicBezTo>
                  <a:pt x="192" y="243"/>
                  <a:pt x="192" y="243"/>
                  <a:pt x="192" y="243"/>
                </a:cubicBezTo>
                <a:cubicBezTo>
                  <a:pt x="191" y="242"/>
                  <a:pt x="191" y="242"/>
                  <a:pt x="191" y="242"/>
                </a:cubicBezTo>
                <a:cubicBezTo>
                  <a:pt x="191" y="242"/>
                  <a:pt x="191" y="242"/>
                  <a:pt x="191" y="242"/>
                </a:cubicBezTo>
                <a:cubicBezTo>
                  <a:pt x="190" y="242"/>
                  <a:pt x="190" y="242"/>
                  <a:pt x="190" y="242"/>
                </a:cubicBezTo>
                <a:cubicBezTo>
                  <a:pt x="190" y="243"/>
                  <a:pt x="190" y="243"/>
                  <a:pt x="190" y="243"/>
                </a:cubicBezTo>
                <a:cubicBezTo>
                  <a:pt x="191" y="243"/>
                  <a:pt x="191" y="243"/>
                  <a:pt x="191" y="243"/>
                </a:cubicBezTo>
                <a:cubicBezTo>
                  <a:pt x="190" y="244"/>
                  <a:pt x="190" y="244"/>
                  <a:pt x="190" y="244"/>
                </a:cubicBezTo>
                <a:cubicBezTo>
                  <a:pt x="189" y="244"/>
                  <a:pt x="189" y="244"/>
                  <a:pt x="189" y="244"/>
                </a:cubicBezTo>
                <a:cubicBezTo>
                  <a:pt x="189" y="243"/>
                  <a:pt x="189" y="243"/>
                  <a:pt x="189" y="243"/>
                </a:cubicBezTo>
                <a:cubicBezTo>
                  <a:pt x="188" y="244"/>
                  <a:pt x="188" y="244"/>
                  <a:pt x="188" y="244"/>
                </a:cubicBezTo>
                <a:cubicBezTo>
                  <a:pt x="188" y="244"/>
                  <a:pt x="188" y="244"/>
                  <a:pt x="188" y="244"/>
                </a:cubicBezTo>
                <a:cubicBezTo>
                  <a:pt x="189" y="245"/>
                  <a:pt x="189" y="245"/>
                  <a:pt x="189" y="245"/>
                </a:cubicBezTo>
                <a:cubicBezTo>
                  <a:pt x="189" y="246"/>
                  <a:pt x="189" y="246"/>
                  <a:pt x="189" y="246"/>
                </a:cubicBezTo>
                <a:cubicBezTo>
                  <a:pt x="187" y="246"/>
                  <a:pt x="187" y="246"/>
                  <a:pt x="187" y="246"/>
                </a:cubicBezTo>
                <a:cubicBezTo>
                  <a:pt x="187" y="246"/>
                  <a:pt x="187" y="246"/>
                  <a:pt x="187" y="246"/>
                </a:cubicBezTo>
                <a:cubicBezTo>
                  <a:pt x="187" y="246"/>
                  <a:pt x="187" y="246"/>
                  <a:pt x="187" y="246"/>
                </a:cubicBezTo>
                <a:cubicBezTo>
                  <a:pt x="186" y="245"/>
                  <a:pt x="186" y="245"/>
                  <a:pt x="186" y="245"/>
                </a:cubicBezTo>
                <a:cubicBezTo>
                  <a:pt x="185" y="245"/>
                  <a:pt x="185" y="245"/>
                  <a:pt x="185" y="245"/>
                </a:cubicBezTo>
                <a:cubicBezTo>
                  <a:pt x="185" y="246"/>
                  <a:pt x="185" y="246"/>
                  <a:pt x="185" y="246"/>
                </a:cubicBezTo>
                <a:cubicBezTo>
                  <a:pt x="186" y="247"/>
                  <a:pt x="186" y="247"/>
                  <a:pt x="186" y="247"/>
                </a:cubicBezTo>
                <a:cubicBezTo>
                  <a:pt x="186" y="247"/>
                  <a:pt x="186" y="247"/>
                  <a:pt x="186" y="247"/>
                </a:cubicBezTo>
                <a:cubicBezTo>
                  <a:pt x="185" y="248"/>
                  <a:pt x="185" y="248"/>
                  <a:pt x="185" y="248"/>
                </a:cubicBezTo>
                <a:cubicBezTo>
                  <a:pt x="184" y="248"/>
                  <a:pt x="184" y="248"/>
                  <a:pt x="184" y="248"/>
                </a:cubicBezTo>
                <a:cubicBezTo>
                  <a:pt x="184" y="248"/>
                  <a:pt x="184" y="248"/>
                  <a:pt x="184" y="248"/>
                </a:cubicBezTo>
                <a:cubicBezTo>
                  <a:pt x="182" y="249"/>
                  <a:pt x="182" y="249"/>
                  <a:pt x="182" y="249"/>
                </a:cubicBezTo>
                <a:cubicBezTo>
                  <a:pt x="182" y="249"/>
                  <a:pt x="182" y="249"/>
                  <a:pt x="182" y="249"/>
                </a:cubicBezTo>
                <a:cubicBezTo>
                  <a:pt x="181" y="250"/>
                  <a:pt x="181" y="250"/>
                  <a:pt x="181" y="250"/>
                </a:cubicBezTo>
                <a:cubicBezTo>
                  <a:pt x="181" y="250"/>
                  <a:pt x="181" y="250"/>
                  <a:pt x="181" y="250"/>
                </a:cubicBezTo>
                <a:cubicBezTo>
                  <a:pt x="180" y="249"/>
                  <a:pt x="180" y="249"/>
                  <a:pt x="180" y="249"/>
                </a:cubicBezTo>
                <a:cubicBezTo>
                  <a:pt x="180" y="249"/>
                  <a:pt x="180" y="249"/>
                  <a:pt x="180" y="249"/>
                </a:cubicBezTo>
                <a:cubicBezTo>
                  <a:pt x="179" y="250"/>
                  <a:pt x="179" y="250"/>
                  <a:pt x="179" y="250"/>
                </a:cubicBezTo>
                <a:cubicBezTo>
                  <a:pt x="178" y="250"/>
                  <a:pt x="178" y="250"/>
                  <a:pt x="178" y="250"/>
                </a:cubicBezTo>
                <a:cubicBezTo>
                  <a:pt x="177" y="250"/>
                  <a:pt x="177" y="250"/>
                  <a:pt x="177" y="250"/>
                </a:cubicBezTo>
                <a:cubicBezTo>
                  <a:pt x="177" y="251"/>
                  <a:pt x="177" y="251"/>
                  <a:pt x="177" y="251"/>
                </a:cubicBezTo>
                <a:cubicBezTo>
                  <a:pt x="176" y="251"/>
                  <a:pt x="176" y="251"/>
                  <a:pt x="176" y="251"/>
                </a:cubicBezTo>
                <a:cubicBezTo>
                  <a:pt x="176" y="251"/>
                  <a:pt x="176" y="251"/>
                  <a:pt x="176" y="251"/>
                </a:cubicBezTo>
                <a:cubicBezTo>
                  <a:pt x="175" y="250"/>
                  <a:pt x="175" y="250"/>
                  <a:pt x="175" y="250"/>
                </a:cubicBezTo>
                <a:cubicBezTo>
                  <a:pt x="175" y="250"/>
                  <a:pt x="175" y="250"/>
                  <a:pt x="175" y="250"/>
                </a:cubicBezTo>
                <a:cubicBezTo>
                  <a:pt x="174" y="252"/>
                  <a:pt x="174" y="252"/>
                  <a:pt x="174" y="252"/>
                </a:cubicBezTo>
                <a:cubicBezTo>
                  <a:pt x="174" y="251"/>
                  <a:pt x="174" y="251"/>
                  <a:pt x="174" y="251"/>
                </a:cubicBezTo>
                <a:cubicBezTo>
                  <a:pt x="173" y="251"/>
                  <a:pt x="173" y="251"/>
                  <a:pt x="173" y="251"/>
                </a:cubicBezTo>
                <a:cubicBezTo>
                  <a:pt x="173" y="251"/>
                  <a:pt x="173" y="251"/>
                  <a:pt x="173" y="251"/>
                </a:cubicBezTo>
                <a:cubicBezTo>
                  <a:pt x="173" y="251"/>
                  <a:pt x="173" y="251"/>
                  <a:pt x="173" y="251"/>
                </a:cubicBezTo>
                <a:cubicBezTo>
                  <a:pt x="172" y="252"/>
                  <a:pt x="172" y="252"/>
                  <a:pt x="172" y="252"/>
                </a:cubicBezTo>
                <a:cubicBezTo>
                  <a:pt x="171" y="252"/>
                  <a:pt x="171" y="252"/>
                  <a:pt x="171" y="252"/>
                </a:cubicBezTo>
                <a:cubicBezTo>
                  <a:pt x="171" y="251"/>
                  <a:pt x="171" y="251"/>
                  <a:pt x="171" y="251"/>
                </a:cubicBezTo>
                <a:cubicBezTo>
                  <a:pt x="171" y="251"/>
                  <a:pt x="171" y="251"/>
                  <a:pt x="171" y="251"/>
                </a:cubicBezTo>
                <a:cubicBezTo>
                  <a:pt x="171" y="252"/>
                  <a:pt x="171" y="252"/>
                  <a:pt x="171" y="252"/>
                </a:cubicBezTo>
                <a:cubicBezTo>
                  <a:pt x="171" y="252"/>
                  <a:pt x="171" y="252"/>
                  <a:pt x="171" y="252"/>
                </a:cubicBezTo>
                <a:cubicBezTo>
                  <a:pt x="170" y="252"/>
                  <a:pt x="170" y="252"/>
                  <a:pt x="170" y="252"/>
                </a:cubicBezTo>
                <a:cubicBezTo>
                  <a:pt x="169" y="252"/>
                  <a:pt x="169" y="252"/>
                  <a:pt x="169" y="252"/>
                </a:cubicBezTo>
                <a:cubicBezTo>
                  <a:pt x="169" y="253"/>
                  <a:pt x="169" y="253"/>
                  <a:pt x="169" y="253"/>
                </a:cubicBezTo>
                <a:cubicBezTo>
                  <a:pt x="169" y="253"/>
                  <a:pt x="169" y="253"/>
                  <a:pt x="169" y="253"/>
                </a:cubicBezTo>
                <a:cubicBezTo>
                  <a:pt x="168" y="253"/>
                  <a:pt x="168" y="253"/>
                  <a:pt x="168" y="253"/>
                </a:cubicBezTo>
                <a:cubicBezTo>
                  <a:pt x="168" y="253"/>
                  <a:pt x="168" y="253"/>
                  <a:pt x="168" y="253"/>
                </a:cubicBezTo>
                <a:cubicBezTo>
                  <a:pt x="167" y="253"/>
                  <a:pt x="167" y="253"/>
                  <a:pt x="167" y="253"/>
                </a:cubicBezTo>
                <a:cubicBezTo>
                  <a:pt x="167" y="254"/>
                  <a:pt x="167" y="254"/>
                  <a:pt x="167" y="254"/>
                </a:cubicBezTo>
                <a:cubicBezTo>
                  <a:pt x="167" y="254"/>
                  <a:pt x="167" y="254"/>
                  <a:pt x="167" y="254"/>
                </a:cubicBezTo>
                <a:cubicBezTo>
                  <a:pt x="166" y="253"/>
                  <a:pt x="166" y="253"/>
                  <a:pt x="166" y="253"/>
                </a:cubicBezTo>
                <a:cubicBezTo>
                  <a:pt x="166" y="253"/>
                  <a:pt x="166" y="253"/>
                  <a:pt x="166" y="253"/>
                </a:cubicBezTo>
                <a:cubicBezTo>
                  <a:pt x="166" y="254"/>
                  <a:pt x="166" y="254"/>
                  <a:pt x="166" y="254"/>
                </a:cubicBezTo>
                <a:cubicBezTo>
                  <a:pt x="165" y="255"/>
                  <a:pt x="165" y="255"/>
                  <a:pt x="165" y="255"/>
                </a:cubicBezTo>
                <a:cubicBezTo>
                  <a:pt x="165" y="255"/>
                  <a:pt x="165" y="255"/>
                  <a:pt x="165" y="255"/>
                </a:cubicBezTo>
                <a:cubicBezTo>
                  <a:pt x="164" y="255"/>
                  <a:pt x="164" y="255"/>
                  <a:pt x="164" y="255"/>
                </a:cubicBezTo>
                <a:cubicBezTo>
                  <a:pt x="164" y="255"/>
                  <a:pt x="164" y="255"/>
                  <a:pt x="164" y="255"/>
                </a:cubicBezTo>
                <a:cubicBezTo>
                  <a:pt x="163" y="253"/>
                  <a:pt x="163" y="253"/>
                  <a:pt x="163" y="253"/>
                </a:cubicBezTo>
                <a:cubicBezTo>
                  <a:pt x="162" y="253"/>
                  <a:pt x="162" y="253"/>
                  <a:pt x="162" y="253"/>
                </a:cubicBezTo>
                <a:cubicBezTo>
                  <a:pt x="161" y="253"/>
                  <a:pt x="161" y="253"/>
                  <a:pt x="161" y="253"/>
                </a:cubicBezTo>
                <a:cubicBezTo>
                  <a:pt x="161" y="254"/>
                  <a:pt x="161" y="254"/>
                  <a:pt x="161" y="254"/>
                </a:cubicBezTo>
                <a:cubicBezTo>
                  <a:pt x="161" y="254"/>
                  <a:pt x="161" y="254"/>
                  <a:pt x="161" y="254"/>
                </a:cubicBezTo>
                <a:cubicBezTo>
                  <a:pt x="161" y="255"/>
                  <a:pt x="161" y="255"/>
                  <a:pt x="161" y="255"/>
                </a:cubicBezTo>
                <a:cubicBezTo>
                  <a:pt x="160" y="255"/>
                  <a:pt x="160" y="255"/>
                  <a:pt x="160" y="255"/>
                </a:cubicBezTo>
                <a:cubicBezTo>
                  <a:pt x="159" y="255"/>
                  <a:pt x="159" y="255"/>
                  <a:pt x="159" y="255"/>
                </a:cubicBezTo>
                <a:cubicBezTo>
                  <a:pt x="159" y="255"/>
                  <a:pt x="159" y="255"/>
                  <a:pt x="159" y="255"/>
                </a:cubicBezTo>
                <a:cubicBezTo>
                  <a:pt x="158" y="255"/>
                  <a:pt x="158" y="255"/>
                  <a:pt x="158" y="255"/>
                </a:cubicBezTo>
                <a:cubicBezTo>
                  <a:pt x="157" y="256"/>
                  <a:pt x="157" y="256"/>
                  <a:pt x="157" y="256"/>
                </a:cubicBezTo>
                <a:cubicBezTo>
                  <a:pt x="157" y="255"/>
                  <a:pt x="157" y="255"/>
                  <a:pt x="157" y="255"/>
                </a:cubicBezTo>
                <a:cubicBezTo>
                  <a:pt x="156" y="255"/>
                  <a:pt x="156" y="255"/>
                  <a:pt x="156" y="255"/>
                </a:cubicBezTo>
                <a:cubicBezTo>
                  <a:pt x="155" y="255"/>
                  <a:pt x="155" y="255"/>
                  <a:pt x="155" y="255"/>
                </a:cubicBezTo>
                <a:cubicBezTo>
                  <a:pt x="155" y="255"/>
                  <a:pt x="155" y="255"/>
                  <a:pt x="155" y="255"/>
                </a:cubicBezTo>
                <a:cubicBezTo>
                  <a:pt x="155" y="256"/>
                  <a:pt x="155" y="256"/>
                  <a:pt x="155" y="256"/>
                </a:cubicBezTo>
                <a:cubicBezTo>
                  <a:pt x="154" y="256"/>
                  <a:pt x="154" y="256"/>
                  <a:pt x="154" y="256"/>
                </a:cubicBezTo>
                <a:cubicBezTo>
                  <a:pt x="153" y="255"/>
                  <a:pt x="153" y="255"/>
                  <a:pt x="153" y="255"/>
                </a:cubicBezTo>
                <a:cubicBezTo>
                  <a:pt x="153" y="254"/>
                  <a:pt x="153" y="254"/>
                  <a:pt x="153" y="254"/>
                </a:cubicBezTo>
                <a:cubicBezTo>
                  <a:pt x="153" y="253"/>
                  <a:pt x="153" y="253"/>
                  <a:pt x="153" y="253"/>
                </a:cubicBezTo>
                <a:cubicBezTo>
                  <a:pt x="153" y="253"/>
                  <a:pt x="153" y="253"/>
                  <a:pt x="153" y="253"/>
                </a:cubicBezTo>
                <a:cubicBezTo>
                  <a:pt x="152" y="253"/>
                  <a:pt x="152" y="253"/>
                  <a:pt x="152" y="253"/>
                </a:cubicBezTo>
                <a:cubicBezTo>
                  <a:pt x="151" y="251"/>
                  <a:pt x="151" y="251"/>
                  <a:pt x="151" y="251"/>
                </a:cubicBezTo>
                <a:cubicBezTo>
                  <a:pt x="151" y="250"/>
                  <a:pt x="151" y="250"/>
                  <a:pt x="151" y="250"/>
                </a:cubicBezTo>
                <a:cubicBezTo>
                  <a:pt x="151" y="250"/>
                  <a:pt x="151" y="250"/>
                  <a:pt x="151" y="250"/>
                </a:cubicBezTo>
                <a:cubicBezTo>
                  <a:pt x="151" y="248"/>
                  <a:pt x="151" y="248"/>
                  <a:pt x="151" y="248"/>
                </a:cubicBezTo>
                <a:cubicBezTo>
                  <a:pt x="150" y="248"/>
                  <a:pt x="150" y="248"/>
                  <a:pt x="150" y="248"/>
                </a:cubicBezTo>
                <a:cubicBezTo>
                  <a:pt x="150" y="248"/>
                  <a:pt x="150" y="248"/>
                  <a:pt x="150" y="248"/>
                </a:cubicBezTo>
                <a:cubicBezTo>
                  <a:pt x="150" y="249"/>
                  <a:pt x="150" y="249"/>
                  <a:pt x="150" y="249"/>
                </a:cubicBezTo>
                <a:cubicBezTo>
                  <a:pt x="150" y="250"/>
                  <a:pt x="150" y="250"/>
                  <a:pt x="150" y="250"/>
                </a:cubicBezTo>
                <a:cubicBezTo>
                  <a:pt x="150" y="251"/>
                  <a:pt x="150" y="251"/>
                  <a:pt x="150" y="251"/>
                </a:cubicBezTo>
                <a:cubicBezTo>
                  <a:pt x="151" y="251"/>
                  <a:pt x="151" y="251"/>
                  <a:pt x="151" y="251"/>
                </a:cubicBezTo>
                <a:cubicBezTo>
                  <a:pt x="151" y="252"/>
                  <a:pt x="151" y="252"/>
                  <a:pt x="151" y="252"/>
                </a:cubicBezTo>
                <a:cubicBezTo>
                  <a:pt x="151" y="253"/>
                  <a:pt x="151" y="253"/>
                  <a:pt x="151" y="253"/>
                </a:cubicBezTo>
                <a:cubicBezTo>
                  <a:pt x="151" y="254"/>
                  <a:pt x="151" y="254"/>
                  <a:pt x="151" y="254"/>
                </a:cubicBezTo>
                <a:cubicBezTo>
                  <a:pt x="151" y="254"/>
                  <a:pt x="151" y="254"/>
                  <a:pt x="151" y="254"/>
                </a:cubicBezTo>
                <a:cubicBezTo>
                  <a:pt x="152" y="254"/>
                  <a:pt x="152" y="254"/>
                  <a:pt x="152" y="254"/>
                </a:cubicBezTo>
                <a:cubicBezTo>
                  <a:pt x="152" y="256"/>
                  <a:pt x="152" y="256"/>
                  <a:pt x="152" y="256"/>
                </a:cubicBezTo>
                <a:cubicBezTo>
                  <a:pt x="152" y="257"/>
                  <a:pt x="152" y="257"/>
                  <a:pt x="152" y="257"/>
                </a:cubicBezTo>
                <a:cubicBezTo>
                  <a:pt x="151" y="258"/>
                  <a:pt x="151" y="258"/>
                  <a:pt x="151" y="258"/>
                </a:cubicBezTo>
                <a:cubicBezTo>
                  <a:pt x="150" y="258"/>
                  <a:pt x="150" y="258"/>
                  <a:pt x="150" y="258"/>
                </a:cubicBezTo>
                <a:cubicBezTo>
                  <a:pt x="150" y="258"/>
                  <a:pt x="150" y="258"/>
                  <a:pt x="150" y="258"/>
                </a:cubicBezTo>
                <a:cubicBezTo>
                  <a:pt x="149" y="258"/>
                  <a:pt x="149" y="258"/>
                  <a:pt x="149" y="258"/>
                </a:cubicBezTo>
                <a:cubicBezTo>
                  <a:pt x="149" y="258"/>
                  <a:pt x="149" y="258"/>
                  <a:pt x="149" y="258"/>
                </a:cubicBezTo>
                <a:cubicBezTo>
                  <a:pt x="148" y="260"/>
                  <a:pt x="148" y="260"/>
                  <a:pt x="148" y="260"/>
                </a:cubicBezTo>
                <a:cubicBezTo>
                  <a:pt x="147" y="260"/>
                  <a:pt x="147" y="260"/>
                  <a:pt x="147" y="260"/>
                </a:cubicBezTo>
                <a:cubicBezTo>
                  <a:pt x="146" y="260"/>
                  <a:pt x="146" y="260"/>
                  <a:pt x="146" y="260"/>
                </a:cubicBezTo>
                <a:cubicBezTo>
                  <a:pt x="146" y="260"/>
                  <a:pt x="146" y="260"/>
                  <a:pt x="146" y="260"/>
                </a:cubicBezTo>
                <a:cubicBezTo>
                  <a:pt x="146" y="260"/>
                  <a:pt x="146" y="260"/>
                  <a:pt x="146" y="260"/>
                </a:cubicBezTo>
                <a:cubicBezTo>
                  <a:pt x="146" y="261"/>
                  <a:pt x="146" y="261"/>
                  <a:pt x="146" y="261"/>
                </a:cubicBezTo>
                <a:cubicBezTo>
                  <a:pt x="145" y="262"/>
                  <a:pt x="145" y="262"/>
                  <a:pt x="145" y="262"/>
                </a:cubicBezTo>
                <a:cubicBezTo>
                  <a:pt x="145" y="262"/>
                  <a:pt x="145" y="262"/>
                  <a:pt x="145" y="262"/>
                </a:cubicBezTo>
                <a:cubicBezTo>
                  <a:pt x="144" y="262"/>
                  <a:pt x="144" y="262"/>
                  <a:pt x="144" y="262"/>
                </a:cubicBezTo>
                <a:cubicBezTo>
                  <a:pt x="144" y="263"/>
                  <a:pt x="144" y="263"/>
                  <a:pt x="144" y="263"/>
                </a:cubicBezTo>
                <a:cubicBezTo>
                  <a:pt x="144" y="264"/>
                  <a:pt x="144" y="264"/>
                  <a:pt x="144" y="264"/>
                </a:cubicBezTo>
                <a:cubicBezTo>
                  <a:pt x="144" y="263"/>
                  <a:pt x="144" y="263"/>
                  <a:pt x="144" y="263"/>
                </a:cubicBezTo>
                <a:cubicBezTo>
                  <a:pt x="143" y="263"/>
                  <a:pt x="143" y="263"/>
                  <a:pt x="143" y="263"/>
                </a:cubicBezTo>
                <a:cubicBezTo>
                  <a:pt x="144" y="263"/>
                  <a:pt x="144" y="263"/>
                  <a:pt x="144" y="263"/>
                </a:cubicBezTo>
                <a:cubicBezTo>
                  <a:pt x="144" y="264"/>
                  <a:pt x="144" y="264"/>
                  <a:pt x="144" y="264"/>
                </a:cubicBezTo>
                <a:cubicBezTo>
                  <a:pt x="144" y="265"/>
                  <a:pt x="144" y="265"/>
                  <a:pt x="144" y="265"/>
                </a:cubicBezTo>
                <a:cubicBezTo>
                  <a:pt x="143" y="265"/>
                  <a:pt x="143" y="265"/>
                  <a:pt x="143" y="265"/>
                </a:cubicBezTo>
                <a:cubicBezTo>
                  <a:pt x="143" y="264"/>
                  <a:pt x="143" y="264"/>
                  <a:pt x="143" y="264"/>
                </a:cubicBezTo>
                <a:cubicBezTo>
                  <a:pt x="142" y="264"/>
                  <a:pt x="142" y="264"/>
                  <a:pt x="142" y="264"/>
                </a:cubicBezTo>
                <a:cubicBezTo>
                  <a:pt x="142" y="265"/>
                  <a:pt x="142" y="265"/>
                  <a:pt x="142" y="265"/>
                </a:cubicBezTo>
                <a:cubicBezTo>
                  <a:pt x="142" y="265"/>
                  <a:pt x="142" y="265"/>
                  <a:pt x="142" y="265"/>
                </a:cubicBezTo>
                <a:cubicBezTo>
                  <a:pt x="142" y="266"/>
                  <a:pt x="142" y="266"/>
                  <a:pt x="142" y="266"/>
                </a:cubicBezTo>
                <a:cubicBezTo>
                  <a:pt x="142" y="266"/>
                  <a:pt x="142" y="266"/>
                  <a:pt x="142" y="266"/>
                </a:cubicBezTo>
                <a:cubicBezTo>
                  <a:pt x="141" y="267"/>
                  <a:pt x="141" y="267"/>
                  <a:pt x="141" y="267"/>
                </a:cubicBezTo>
                <a:cubicBezTo>
                  <a:pt x="139" y="268"/>
                  <a:pt x="139" y="268"/>
                  <a:pt x="139" y="268"/>
                </a:cubicBezTo>
                <a:cubicBezTo>
                  <a:pt x="139" y="269"/>
                  <a:pt x="139" y="269"/>
                  <a:pt x="139" y="269"/>
                </a:cubicBezTo>
                <a:cubicBezTo>
                  <a:pt x="139" y="270"/>
                  <a:pt x="139" y="270"/>
                  <a:pt x="139" y="270"/>
                </a:cubicBezTo>
                <a:cubicBezTo>
                  <a:pt x="139" y="271"/>
                  <a:pt x="139" y="271"/>
                  <a:pt x="139" y="271"/>
                </a:cubicBezTo>
                <a:cubicBezTo>
                  <a:pt x="138" y="272"/>
                  <a:pt x="138" y="272"/>
                  <a:pt x="138" y="272"/>
                </a:cubicBezTo>
                <a:cubicBezTo>
                  <a:pt x="138" y="272"/>
                  <a:pt x="138" y="272"/>
                  <a:pt x="138" y="272"/>
                </a:cubicBezTo>
                <a:cubicBezTo>
                  <a:pt x="137" y="272"/>
                  <a:pt x="137" y="272"/>
                  <a:pt x="137" y="272"/>
                </a:cubicBezTo>
                <a:cubicBezTo>
                  <a:pt x="137" y="271"/>
                  <a:pt x="137" y="271"/>
                  <a:pt x="137" y="271"/>
                </a:cubicBezTo>
                <a:cubicBezTo>
                  <a:pt x="137" y="271"/>
                  <a:pt x="137" y="271"/>
                  <a:pt x="137" y="271"/>
                </a:cubicBezTo>
                <a:cubicBezTo>
                  <a:pt x="137" y="271"/>
                  <a:pt x="137" y="271"/>
                  <a:pt x="137" y="271"/>
                </a:cubicBezTo>
                <a:cubicBezTo>
                  <a:pt x="136" y="272"/>
                  <a:pt x="136" y="272"/>
                  <a:pt x="136" y="272"/>
                </a:cubicBezTo>
                <a:cubicBezTo>
                  <a:pt x="136" y="272"/>
                  <a:pt x="136" y="272"/>
                  <a:pt x="136" y="272"/>
                </a:cubicBezTo>
                <a:cubicBezTo>
                  <a:pt x="136" y="273"/>
                  <a:pt x="136" y="273"/>
                  <a:pt x="136" y="273"/>
                </a:cubicBezTo>
                <a:cubicBezTo>
                  <a:pt x="136" y="273"/>
                  <a:pt x="136" y="273"/>
                  <a:pt x="136" y="273"/>
                </a:cubicBezTo>
                <a:cubicBezTo>
                  <a:pt x="134" y="275"/>
                  <a:pt x="134" y="275"/>
                  <a:pt x="134" y="275"/>
                </a:cubicBezTo>
                <a:cubicBezTo>
                  <a:pt x="134" y="275"/>
                  <a:pt x="134" y="275"/>
                  <a:pt x="134" y="275"/>
                </a:cubicBezTo>
                <a:cubicBezTo>
                  <a:pt x="133" y="275"/>
                  <a:pt x="133" y="275"/>
                  <a:pt x="133" y="275"/>
                </a:cubicBezTo>
                <a:cubicBezTo>
                  <a:pt x="133" y="274"/>
                  <a:pt x="133" y="274"/>
                  <a:pt x="133" y="274"/>
                </a:cubicBezTo>
                <a:cubicBezTo>
                  <a:pt x="133" y="274"/>
                  <a:pt x="133" y="274"/>
                  <a:pt x="133" y="274"/>
                </a:cubicBezTo>
                <a:cubicBezTo>
                  <a:pt x="132" y="274"/>
                  <a:pt x="132" y="274"/>
                  <a:pt x="132" y="274"/>
                </a:cubicBezTo>
                <a:cubicBezTo>
                  <a:pt x="132" y="274"/>
                  <a:pt x="132" y="274"/>
                  <a:pt x="132" y="274"/>
                </a:cubicBezTo>
                <a:cubicBezTo>
                  <a:pt x="132" y="274"/>
                  <a:pt x="132" y="274"/>
                  <a:pt x="132" y="274"/>
                </a:cubicBezTo>
                <a:cubicBezTo>
                  <a:pt x="131" y="274"/>
                  <a:pt x="131" y="274"/>
                  <a:pt x="131" y="274"/>
                </a:cubicBezTo>
                <a:cubicBezTo>
                  <a:pt x="130" y="273"/>
                  <a:pt x="130" y="273"/>
                  <a:pt x="130" y="273"/>
                </a:cubicBezTo>
                <a:cubicBezTo>
                  <a:pt x="130" y="273"/>
                  <a:pt x="130" y="273"/>
                  <a:pt x="130" y="273"/>
                </a:cubicBezTo>
                <a:cubicBezTo>
                  <a:pt x="130" y="273"/>
                  <a:pt x="130" y="273"/>
                  <a:pt x="130" y="273"/>
                </a:cubicBezTo>
                <a:cubicBezTo>
                  <a:pt x="130" y="274"/>
                  <a:pt x="130" y="274"/>
                  <a:pt x="130" y="274"/>
                </a:cubicBezTo>
                <a:cubicBezTo>
                  <a:pt x="131" y="274"/>
                  <a:pt x="131" y="274"/>
                  <a:pt x="131" y="274"/>
                </a:cubicBezTo>
                <a:cubicBezTo>
                  <a:pt x="131" y="275"/>
                  <a:pt x="131" y="275"/>
                  <a:pt x="131" y="275"/>
                </a:cubicBezTo>
                <a:cubicBezTo>
                  <a:pt x="131" y="276"/>
                  <a:pt x="131" y="276"/>
                  <a:pt x="131" y="276"/>
                </a:cubicBezTo>
                <a:cubicBezTo>
                  <a:pt x="130" y="276"/>
                  <a:pt x="130" y="276"/>
                  <a:pt x="130" y="276"/>
                </a:cubicBezTo>
                <a:cubicBezTo>
                  <a:pt x="130" y="276"/>
                  <a:pt x="130" y="276"/>
                  <a:pt x="130" y="276"/>
                </a:cubicBezTo>
                <a:cubicBezTo>
                  <a:pt x="128" y="277"/>
                  <a:pt x="128" y="277"/>
                  <a:pt x="128" y="277"/>
                </a:cubicBezTo>
                <a:cubicBezTo>
                  <a:pt x="127" y="278"/>
                  <a:pt x="127" y="278"/>
                  <a:pt x="127" y="278"/>
                </a:cubicBezTo>
                <a:cubicBezTo>
                  <a:pt x="127" y="279"/>
                  <a:pt x="127" y="279"/>
                  <a:pt x="127" y="279"/>
                </a:cubicBezTo>
                <a:cubicBezTo>
                  <a:pt x="126" y="278"/>
                  <a:pt x="126" y="278"/>
                  <a:pt x="126" y="278"/>
                </a:cubicBezTo>
                <a:cubicBezTo>
                  <a:pt x="126" y="278"/>
                  <a:pt x="126" y="278"/>
                  <a:pt x="126" y="278"/>
                </a:cubicBezTo>
                <a:cubicBezTo>
                  <a:pt x="126" y="277"/>
                  <a:pt x="126" y="277"/>
                  <a:pt x="126" y="277"/>
                </a:cubicBezTo>
                <a:cubicBezTo>
                  <a:pt x="126" y="277"/>
                  <a:pt x="126" y="277"/>
                  <a:pt x="126" y="277"/>
                </a:cubicBezTo>
                <a:cubicBezTo>
                  <a:pt x="126" y="277"/>
                  <a:pt x="126" y="277"/>
                  <a:pt x="126" y="277"/>
                </a:cubicBezTo>
                <a:cubicBezTo>
                  <a:pt x="125" y="277"/>
                  <a:pt x="125" y="277"/>
                  <a:pt x="125" y="277"/>
                </a:cubicBezTo>
                <a:cubicBezTo>
                  <a:pt x="125" y="278"/>
                  <a:pt x="125" y="278"/>
                  <a:pt x="125" y="278"/>
                </a:cubicBezTo>
                <a:cubicBezTo>
                  <a:pt x="125" y="279"/>
                  <a:pt x="125" y="279"/>
                  <a:pt x="125" y="279"/>
                </a:cubicBezTo>
                <a:cubicBezTo>
                  <a:pt x="124" y="279"/>
                  <a:pt x="124" y="279"/>
                  <a:pt x="124" y="279"/>
                </a:cubicBezTo>
                <a:cubicBezTo>
                  <a:pt x="123" y="279"/>
                  <a:pt x="123" y="279"/>
                  <a:pt x="123" y="279"/>
                </a:cubicBezTo>
                <a:cubicBezTo>
                  <a:pt x="123" y="279"/>
                  <a:pt x="123" y="279"/>
                  <a:pt x="123" y="279"/>
                </a:cubicBezTo>
                <a:cubicBezTo>
                  <a:pt x="122" y="278"/>
                  <a:pt x="122" y="278"/>
                  <a:pt x="122" y="278"/>
                </a:cubicBezTo>
                <a:cubicBezTo>
                  <a:pt x="122" y="277"/>
                  <a:pt x="122" y="277"/>
                  <a:pt x="122" y="277"/>
                </a:cubicBezTo>
                <a:cubicBezTo>
                  <a:pt x="122" y="276"/>
                  <a:pt x="122" y="276"/>
                  <a:pt x="122" y="276"/>
                </a:cubicBezTo>
                <a:cubicBezTo>
                  <a:pt x="122" y="276"/>
                  <a:pt x="122" y="276"/>
                  <a:pt x="122" y="276"/>
                </a:cubicBezTo>
                <a:cubicBezTo>
                  <a:pt x="122" y="275"/>
                  <a:pt x="122" y="275"/>
                  <a:pt x="122" y="275"/>
                </a:cubicBezTo>
                <a:cubicBezTo>
                  <a:pt x="122" y="277"/>
                  <a:pt x="122" y="277"/>
                  <a:pt x="122" y="277"/>
                </a:cubicBezTo>
                <a:cubicBezTo>
                  <a:pt x="121" y="278"/>
                  <a:pt x="121" y="278"/>
                  <a:pt x="121" y="278"/>
                </a:cubicBezTo>
                <a:cubicBezTo>
                  <a:pt x="121" y="278"/>
                  <a:pt x="121" y="278"/>
                  <a:pt x="121" y="278"/>
                </a:cubicBezTo>
                <a:cubicBezTo>
                  <a:pt x="121" y="279"/>
                  <a:pt x="121" y="279"/>
                  <a:pt x="121" y="279"/>
                </a:cubicBezTo>
                <a:cubicBezTo>
                  <a:pt x="121" y="279"/>
                  <a:pt x="121" y="279"/>
                  <a:pt x="121" y="279"/>
                </a:cubicBezTo>
                <a:cubicBezTo>
                  <a:pt x="119" y="277"/>
                  <a:pt x="119" y="277"/>
                  <a:pt x="119" y="277"/>
                </a:cubicBezTo>
                <a:cubicBezTo>
                  <a:pt x="119" y="276"/>
                  <a:pt x="119" y="276"/>
                  <a:pt x="119" y="276"/>
                </a:cubicBezTo>
                <a:cubicBezTo>
                  <a:pt x="120" y="275"/>
                  <a:pt x="120" y="275"/>
                  <a:pt x="120" y="275"/>
                </a:cubicBezTo>
                <a:cubicBezTo>
                  <a:pt x="120" y="274"/>
                  <a:pt x="120" y="274"/>
                  <a:pt x="120" y="274"/>
                </a:cubicBezTo>
                <a:cubicBezTo>
                  <a:pt x="121" y="274"/>
                  <a:pt x="121" y="274"/>
                  <a:pt x="121" y="274"/>
                </a:cubicBezTo>
                <a:cubicBezTo>
                  <a:pt x="121" y="273"/>
                  <a:pt x="121" y="273"/>
                  <a:pt x="121" y="273"/>
                </a:cubicBezTo>
                <a:cubicBezTo>
                  <a:pt x="120" y="273"/>
                  <a:pt x="120" y="273"/>
                  <a:pt x="120" y="273"/>
                </a:cubicBezTo>
                <a:cubicBezTo>
                  <a:pt x="119" y="272"/>
                  <a:pt x="119" y="272"/>
                  <a:pt x="119" y="272"/>
                </a:cubicBezTo>
                <a:cubicBezTo>
                  <a:pt x="119" y="272"/>
                  <a:pt x="119" y="272"/>
                  <a:pt x="119" y="272"/>
                </a:cubicBezTo>
                <a:cubicBezTo>
                  <a:pt x="119" y="272"/>
                  <a:pt x="119" y="272"/>
                  <a:pt x="119" y="272"/>
                </a:cubicBezTo>
                <a:cubicBezTo>
                  <a:pt x="118" y="272"/>
                  <a:pt x="118" y="272"/>
                  <a:pt x="118" y="272"/>
                </a:cubicBezTo>
                <a:cubicBezTo>
                  <a:pt x="118" y="273"/>
                  <a:pt x="118" y="273"/>
                  <a:pt x="118" y="273"/>
                </a:cubicBezTo>
                <a:cubicBezTo>
                  <a:pt x="118" y="273"/>
                  <a:pt x="118" y="273"/>
                  <a:pt x="118" y="273"/>
                </a:cubicBezTo>
                <a:cubicBezTo>
                  <a:pt x="119" y="274"/>
                  <a:pt x="119" y="274"/>
                  <a:pt x="119" y="274"/>
                </a:cubicBezTo>
                <a:cubicBezTo>
                  <a:pt x="118" y="275"/>
                  <a:pt x="118" y="275"/>
                  <a:pt x="118" y="275"/>
                </a:cubicBezTo>
                <a:cubicBezTo>
                  <a:pt x="118" y="276"/>
                  <a:pt x="118" y="276"/>
                  <a:pt x="118" y="276"/>
                </a:cubicBezTo>
                <a:cubicBezTo>
                  <a:pt x="118" y="276"/>
                  <a:pt x="118" y="276"/>
                  <a:pt x="118" y="276"/>
                </a:cubicBezTo>
                <a:cubicBezTo>
                  <a:pt x="117" y="277"/>
                  <a:pt x="117" y="277"/>
                  <a:pt x="117" y="277"/>
                </a:cubicBezTo>
                <a:cubicBezTo>
                  <a:pt x="116" y="277"/>
                  <a:pt x="116" y="277"/>
                  <a:pt x="116" y="277"/>
                </a:cubicBezTo>
                <a:cubicBezTo>
                  <a:pt x="116" y="276"/>
                  <a:pt x="116" y="276"/>
                  <a:pt x="116" y="276"/>
                </a:cubicBezTo>
                <a:cubicBezTo>
                  <a:pt x="116" y="276"/>
                  <a:pt x="116" y="276"/>
                  <a:pt x="116" y="276"/>
                </a:cubicBezTo>
                <a:cubicBezTo>
                  <a:pt x="115" y="277"/>
                  <a:pt x="115" y="277"/>
                  <a:pt x="115" y="277"/>
                </a:cubicBezTo>
                <a:cubicBezTo>
                  <a:pt x="115" y="277"/>
                  <a:pt x="115" y="277"/>
                  <a:pt x="115" y="277"/>
                </a:cubicBezTo>
                <a:cubicBezTo>
                  <a:pt x="116" y="279"/>
                  <a:pt x="116" y="279"/>
                  <a:pt x="116" y="279"/>
                </a:cubicBezTo>
                <a:cubicBezTo>
                  <a:pt x="116" y="280"/>
                  <a:pt x="116" y="280"/>
                  <a:pt x="116" y="280"/>
                </a:cubicBezTo>
                <a:cubicBezTo>
                  <a:pt x="116" y="280"/>
                  <a:pt x="116" y="280"/>
                  <a:pt x="116" y="280"/>
                </a:cubicBezTo>
                <a:cubicBezTo>
                  <a:pt x="116" y="280"/>
                  <a:pt x="116" y="280"/>
                  <a:pt x="116" y="280"/>
                </a:cubicBezTo>
                <a:cubicBezTo>
                  <a:pt x="116" y="281"/>
                  <a:pt x="116" y="281"/>
                  <a:pt x="116" y="281"/>
                </a:cubicBezTo>
                <a:cubicBezTo>
                  <a:pt x="115" y="281"/>
                  <a:pt x="115" y="281"/>
                  <a:pt x="115" y="281"/>
                </a:cubicBezTo>
                <a:cubicBezTo>
                  <a:pt x="114" y="281"/>
                  <a:pt x="114" y="281"/>
                  <a:pt x="114" y="281"/>
                </a:cubicBezTo>
                <a:cubicBezTo>
                  <a:pt x="114" y="281"/>
                  <a:pt x="114" y="281"/>
                  <a:pt x="114" y="281"/>
                </a:cubicBezTo>
                <a:cubicBezTo>
                  <a:pt x="113" y="281"/>
                  <a:pt x="113" y="281"/>
                  <a:pt x="113" y="281"/>
                </a:cubicBezTo>
                <a:cubicBezTo>
                  <a:pt x="113" y="282"/>
                  <a:pt x="113" y="282"/>
                  <a:pt x="113" y="282"/>
                </a:cubicBezTo>
                <a:cubicBezTo>
                  <a:pt x="112" y="282"/>
                  <a:pt x="112" y="282"/>
                  <a:pt x="112" y="282"/>
                </a:cubicBezTo>
                <a:cubicBezTo>
                  <a:pt x="111" y="282"/>
                  <a:pt x="111" y="282"/>
                  <a:pt x="111" y="282"/>
                </a:cubicBezTo>
                <a:cubicBezTo>
                  <a:pt x="111" y="281"/>
                  <a:pt x="111" y="281"/>
                  <a:pt x="111" y="281"/>
                </a:cubicBezTo>
                <a:cubicBezTo>
                  <a:pt x="110" y="280"/>
                  <a:pt x="110" y="280"/>
                  <a:pt x="110" y="280"/>
                </a:cubicBezTo>
                <a:cubicBezTo>
                  <a:pt x="110" y="280"/>
                  <a:pt x="110" y="280"/>
                  <a:pt x="110" y="280"/>
                </a:cubicBezTo>
                <a:cubicBezTo>
                  <a:pt x="110" y="281"/>
                  <a:pt x="110" y="281"/>
                  <a:pt x="110" y="281"/>
                </a:cubicBezTo>
                <a:cubicBezTo>
                  <a:pt x="110" y="281"/>
                  <a:pt x="110" y="281"/>
                  <a:pt x="110" y="281"/>
                </a:cubicBezTo>
                <a:cubicBezTo>
                  <a:pt x="109" y="282"/>
                  <a:pt x="109" y="282"/>
                  <a:pt x="109" y="282"/>
                </a:cubicBezTo>
                <a:cubicBezTo>
                  <a:pt x="109" y="282"/>
                  <a:pt x="109" y="282"/>
                  <a:pt x="109" y="282"/>
                </a:cubicBezTo>
                <a:cubicBezTo>
                  <a:pt x="108" y="281"/>
                  <a:pt x="108" y="281"/>
                  <a:pt x="108" y="281"/>
                </a:cubicBezTo>
                <a:cubicBezTo>
                  <a:pt x="108" y="280"/>
                  <a:pt x="108" y="280"/>
                  <a:pt x="108" y="280"/>
                </a:cubicBezTo>
                <a:cubicBezTo>
                  <a:pt x="107" y="280"/>
                  <a:pt x="107" y="280"/>
                  <a:pt x="107" y="280"/>
                </a:cubicBezTo>
                <a:cubicBezTo>
                  <a:pt x="107" y="281"/>
                  <a:pt x="107" y="281"/>
                  <a:pt x="107" y="281"/>
                </a:cubicBezTo>
                <a:cubicBezTo>
                  <a:pt x="106" y="281"/>
                  <a:pt x="106" y="281"/>
                  <a:pt x="106" y="281"/>
                </a:cubicBezTo>
                <a:cubicBezTo>
                  <a:pt x="106" y="281"/>
                  <a:pt x="106" y="281"/>
                  <a:pt x="106" y="281"/>
                </a:cubicBezTo>
                <a:cubicBezTo>
                  <a:pt x="106" y="282"/>
                  <a:pt x="106" y="282"/>
                  <a:pt x="106" y="282"/>
                </a:cubicBezTo>
                <a:cubicBezTo>
                  <a:pt x="106" y="283"/>
                  <a:pt x="106" y="283"/>
                  <a:pt x="106" y="283"/>
                </a:cubicBezTo>
                <a:cubicBezTo>
                  <a:pt x="106" y="284"/>
                  <a:pt x="106" y="284"/>
                  <a:pt x="106" y="284"/>
                </a:cubicBezTo>
                <a:cubicBezTo>
                  <a:pt x="106" y="285"/>
                  <a:pt x="106" y="285"/>
                  <a:pt x="106" y="285"/>
                </a:cubicBezTo>
                <a:cubicBezTo>
                  <a:pt x="105" y="287"/>
                  <a:pt x="105" y="287"/>
                  <a:pt x="105" y="287"/>
                </a:cubicBezTo>
                <a:cubicBezTo>
                  <a:pt x="104" y="287"/>
                  <a:pt x="104" y="287"/>
                  <a:pt x="104" y="287"/>
                </a:cubicBezTo>
                <a:cubicBezTo>
                  <a:pt x="103" y="286"/>
                  <a:pt x="103" y="286"/>
                  <a:pt x="103" y="286"/>
                </a:cubicBezTo>
                <a:cubicBezTo>
                  <a:pt x="103" y="285"/>
                  <a:pt x="103" y="285"/>
                  <a:pt x="103" y="285"/>
                </a:cubicBezTo>
                <a:cubicBezTo>
                  <a:pt x="102" y="285"/>
                  <a:pt x="102" y="285"/>
                  <a:pt x="102" y="285"/>
                </a:cubicBezTo>
                <a:cubicBezTo>
                  <a:pt x="102" y="285"/>
                  <a:pt x="102" y="285"/>
                  <a:pt x="102" y="285"/>
                </a:cubicBezTo>
                <a:cubicBezTo>
                  <a:pt x="102" y="286"/>
                  <a:pt x="102" y="286"/>
                  <a:pt x="102" y="286"/>
                </a:cubicBezTo>
                <a:cubicBezTo>
                  <a:pt x="101" y="285"/>
                  <a:pt x="101" y="285"/>
                  <a:pt x="101" y="285"/>
                </a:cubicBezTo>
                <a:cubicBezTo>
                  <a:pt x="101" y="284"/>
                  <a:pt x="101" y="284"/>
                  <a:pt x="101" y="284"/>
                </a:cubicBezTo>
                <a:cubicBezTo>
                  <a:pt x="100" y="284"/>
                  <a:pt x="100" y="284"/>
                  <a:pt x="100" y="284"/>
                </a:cubicBezTo>
                <a:cubicBezTo>
                  <a:pt x="100" y="285"/>
                  <a:pt x="100" y="285"/>
                  <a:pt x="100" y="285"/>
                </a:cubicBezTo>
                <a:cubicBezTo>
                  <a:pt x="100" y="285"/>
                  <a:pt x="100" y="285"/>
                  <a:pt x="100" y="285"/>
                </a:cubicBezTo>
                <a:cubicBezTo>
                  <a:pt x="100" y="286"/>
                  <a:pt x="100" y="286"/>
                  <a:pt x="100" y="286"/>
                </a:cubicBezTo>
                <a:cubicBezTo>
                  <a:pt x="100" y="287"/>
                  <a:pt x="100" y="287"/>
                  <a:pt x="100" y="287"/>
                </a:cubicBezTo>
                <a:cubicBezTo>
                  <a:pt x="100" y="287"/>
                  <a:pt x="100" y="287"/>
                  <a:pt x="100" y="287"/>
                </a:cubicBezTo>
                <a:cubicBezTo>
                  <a:pt x="100" y="288"/>
                  <a:pt x="100" y="288"/>
                  <a:pt x="100" y="288"/>
                </a:cubicBezTo>
                <a:cubicBezTo>
                  <a:pt x="101" y="289"/>
                  <a:pt x="101" y="289"/>
                  <a:pt x="101" y="289"/>
                </a:cubicBezTo>
                <a:cubicBezTo>
                  <a:pt x="101" y="290"/>
                  <a:pt x="101" y="290"/>
                  <a:pt x="101" y="290"/>
                </a:cubicBezTo>
                <a:cubicBezTo>
                  <a:pt x="101" y="292"/>
                  <a:pt x="101" y="292"/>
                  <a:pt x="101" y="292"/>
                </a:cubicBezTo>
                <a:cubicBezTo>
                  <a:pt x="101" y="293"/>
                  <a:pt x="101" y="293"/>
                  <a:pt x="101" y="293"/>
                </a:cubicBezTo>
                <a:cubicBezTo>
                  <a:pt x="100" y="292"/>
                  <a:pt x="100" y="292"/>
                  <a:pt x="100" y="292"/>
                </a:cubicBezTo>
                <a:cubicBezTo>
                  <a:pt x="100" y="292"/>
                  <a:pt x="100" y="292"/>
                  <a:pt x="100" y="292"/>
                </a:cubicBezTo>
                <a:cubicBezTo>
                  <a:pt x="100" y="293"/>
                  <a:pt x="100" y="293"/>
                  <a:pt x="100" y="293"/>
                </a:cubicBezTo>
                <a:cubicBezTo>
                  <a:pt x="99" y="293"/>
                  <a:pt x="99" y="293"/>
                  <a:pt x="99" y="293"/>
                </a:cubicBezTo>
                <a:cubicBezTo>
                  <a:pt x="97" y="293"/>
                  <a:pt x="97" y="293"/>
                  <a:pt x="97" y="293"/>
                </a:cubicBezTo>
                <a:cubicBezTo>
                  <a:pt x="96" y="293"/>
                  <a:pt x="96" y="293"/>
                  <a:pt x="96" y="293"/>
                </a:cubicBezTo>
                <a:cubicBezTo>
                  <a:pt x="96" y="294"/>
                  <a:pt x="96" y="294"/>
                  <a:pt x="96" y="294"/>
                </a:cubicBezTo>
                <a:cubicBezTo>
                  <a:pt x="96" y="294"/>
                  <a:pt x="96" y="294"/>
                  <a:pt x="96" y="294"/>
                </a:cubicBezTo>
                <a:cubicBezTo>
                  <a:pt x="97" y="295"/>
                  <a:pt x="97" y="295"/>
                  <a:pt x="97" y="295"/>
                </a:cubicBezTo>
                <a:cubicBezTo>
                  <a:pt x="98" y="295"/>
                  <a:pt x="98" y="295"/>
                  <a:pt x="98" y="295"/>
                </a:cubicBezTo>
                <a:cubicBezTo>
                  <a:pt x="99" y="295"/>
                  <a:pt x="99" y="295"/>
                  <a:pt x="99" y="295"/>
                </a:cubicBezTo>
                <a:cubicBezTo>
                  <a:pt x="99" y="296"/>
                  <a:pt x="99" y="296"/>
                  <a:pt x="99" y="296"/>
                </a:cubicBezTo>
                <a:cubicBezTo>
                  <a:pt x="100" y="296"/>
                  <a:pt x="100" y="296"/>
                  <a:pt x="100" y="296"/>
                </a:cubicBezTo>
                <a:cubicBezTo>
                  <a:pt x="101" y="296"/>
                  <a:pt x="101" y="296"/>
                  <a:pt x="101" y="296"/>
                </a:cubicBezTo>
                <a:cubicBezTo>
                  <a:pt x="101" y="296"/>
                  <a:pt x="101" y="296"/>
                  <a:pt x="101" y="296"/>
                </a:cubicBezTo>
                <a:cubicBezTo>
                  <a:pt x="100" y="297"/>
                  <a:pt x="100" y="297"/>
                  <a:pt x="100" y="297"/>
                </a:cubicBezTo>
                <a:cubicBezTo>
                  <a:pt x="100" y="297"/>
                  <a:pt x="100" y="297"/>
                  <a:pt x="100" y="297"/>
                </a:cubicBezTo>
                <a:cubicBezTo>
                  <a:pt x="99" y="297"/>
                  <a:pt x="99" y="297"/>
                  <a:pt x="99" y="297"/>
                </a:cubicBezTo>
                <a:cubicBezTo>
                  <a:pt x="99" y="298"/>
                  <a:pt x="99" y="298"/>
                  <a:pt x="99" y="298"/>
                </a:cubicBezTo>
                <a:cubicBezTo>
                  <a:pt x="100" y="298"/>
                  <a:pt x="100" y="298"/>
                  <a:pt x="100" y="298"/>
                </a:cubicBezTo>
                <a:cubicBezTo>
                  <a:pt x="100" y="299"/>
                  <a:pt x="100" y="299"/>
                  <a:pt x="100" y="299"/>
                </a:cubicBezTo>
                <a:cubicBezTo>
                  <a:pt x="100" y="300"/>
                  <a:pt x="100" y="300"/>
                  <a:pt x="100" y="300"/>
                </a:cubicBezTo>
                <a:cubicBezTo>
                  <a:pt x="100" y="300"/>
                  <a:pt x="100" y="300"/>
                  <a:pt x="100" y="300"/>
                </a:cubicBezTo>
                <a:cubicBezTo>
                  <a:pt x="99" y="301"/>
                  <a:pt x="99" y="301"/>
                  <a:pt x="99" y="301"/>
                </a:cubicBezTo>
                <a:cubicBezTo>
                  <a:pt x="99" y="301"/>
                  <a:pt x="99" y="301"/>
                  <a:pt x="99" y="301"/>
                </a:cubicBezTo>
                <a:cubicBezTo>
                  <a:pt x="98" y="300"/>
                  <a:pt x="98" y="300"/>
                  <a:pt x="98" y="300"/>
                </a:cubicBezTo>
                <a:cubicBezTo>
                  <a:pt x="97" y="299"/>
                  <a:pt x="97" y="299"/>
                  <a:pt x="97" y="299"/>
                </a:cubicBezTo>
                <a:cubicBezTo>
                  <a:pt x="97" y="299"/>
                  <a:pt x="97" y="299"/>
                  <a:pt x="97" y="299"/>
                </a:cubicBezTo>
                <a:cubicBezTo>
                  <a:pt x="96" y="299"/>
                  <a:pt x="96" y="299"/>
                  <a:pt x="96" y="299"/>
                </a:cubicBezTo>
                <a:cubicBezTo>
                  <a:pt x="96" y="298"/>
                  <a:pt x="96" y="298"/>
                  <a:pt x="96" y="298"/>
                </a:cubicBezTo>
                <a:cubicBezTo>
                  <a:pt x="95" y="298"/>
                  <a:pt x="95" y="298"/>
                  <a:pt x="95" y="298"/>
                </a:cubicBezTo>
                <a:cubicBezTo>
                  <a:pt x="95" y="299"/>
                  <a:pt x="95" y="299"/>
                  <a:pt x="95" y="299"/>
                </a:cubicBezTo>
                <a:cubicBezTo>
                  <a:pt x="94" y="299"/>
                  <a:pt x="94" y="299"/>
                  <a:pt x="94" y="299"/>
                </a:cubicBezTo>
                <a:cubicBezTo>
                  <a:pt x="95" y="299"/>
                  <a:pt x="95" y="299"/>
                  <a:pt x="95" y="299"/>
                </a:cubicBezTo>
                <a:cubicBezTo>
                  <a:pt x="96" y="300"/>
                  <a:pt x="96" y="300"/>
                  <a:pt x="96" y="300"/>
                </a:cubicBezTo>
                <a:cubicBezTo>
                  <a:pt x="97" y="300"/>
                  <a:pt x="97" y="300"/>
                  <a:pt x="97" y="300"/>
                </a:cubicBezTo>
                <a:cubicBezTo>
                  <a:pt x="98" y="301"/>
                  <a:pt x="98" y="301"/>
                  <a:pt x="98" y="301"/>
                </a:cubicBezTo>
                <a:cubicBezTo>
                  <a:pt x="99" y="301"/>
                  <a:pt x="99" y="301"/>
                  <a:pt x="99" y="301"/>
                </a:cubicBezTo>
                <a:cubicBezTo>
                  <a:pt x="99" y="301"/>
                  <a:pt x="99" y="301"/>
                  <a:pt x="99" y="301"/>
                </a:cubicBezTo>
                <a:cubicBezTo>
                  <a:pt x="99" y="302"/>
                  <a:pt x="99" y="302"/>
                  <a:pt x="99" y="302"/>
                </a:cubicBezTo>
                <a:cubicBezTo>
                  <a:pt x="98" y="303"/>
                  <a:pt x="98" y="303"/>
                  <a:pt x="98" y="303"/>
                </a:cubicBezTo>
                <a:cubicBezTo>
                  <a:pt x="97" y="303"/>
                  <a:pt x="97" y="303"/>
                  <a:pt x="97" y="303"/>
                </a:cubicBezTo>
                <a:cubicBezTo>
                  <a:pt x="96" y="303"/>
                  <a:pt x="96" y="303"/>
                  <a:pt x="96" y="303"/>
                </a:cubicBezTo>
                <a:cubicBezTo>
                  <a:pt x="96" y="303"/>
                  <a:pt x="96" y="303"/>
                  <a:pt x="96" y="303"/>
                </a:cubicBezTo>
                <a:cubicBezTo>
                  <a:pt x="94" y="302"/>
                  <a:pt x="94" y="302"/>
                  <a:pt x="94" y="302"/>
                </a:cubicBezTo>
                <a:cubicBezTo>
                  <a:pt x="94" y="301"/>
                  <a:pt x="94" y="301"/>
                  <a:pt x="94" y="301"/>
                </a:cubicBezTo>
                <a:cubicBezTo>
                  <a:pt x="93" y="301"/>
                  <a:pt x="93" y="301"/>
                  <a:pt x="93" y="301"/>
                </a:cubicBezTo>
                <a:cubicBezTo>
                  <a:pt x="93" y="302"/>
                  <a:pt x="93" y="302"/>
                  <a:pt x="93" y="302"/>
                </a:cubicBezTo>
                <a:cubicBezTo>
                  <a:pt x="93" y="302"/>
                  <a:pt x="93" y="302"/>
                  <a:pt x="93" y="302"/>
                </a:cubicBezTo>
                <a:cubicBezTo>
                  <a:pt x="93" y="303"/>
                  <a:pt x="93" y="303"/>
                  <a:pt x="93" y="303"/>
                </a:cubicBezTo>
                <a:cubicBezTo>
                  <a:pt x="93" y="304"/>
                  <a:pt x="93" y="304"/>
                  <a:pt x="93" y="304"/>
                </a:cubicBezTo>
                <a:cubicBezTo>
                  <a:pt x="95" y="304"/>
                  <a:pt x="95" y="304"/>
                  <a:pt x="95" y="304"/>
                </a:cubicBezTo>
                <a:cubicBezTo>
                  <a:pt x="95" y="305"/>
                  <a:pt x="95" y="305"/>
                  <a:pt x="95" y="305"/>
                </a:cubicBezTo>
                <a:cubicBezTo>
                  <a:pt x="95" y="306"/>
                  <a:pt x="95" y="306"/>
                  <a:pt x="95" y="306"/>
                </a:cubicBezTo>
                <a:cubicBezTo>
                  <a:pt x="95" y="306"/>
                  <a:pt x="95" y="306"/>
                  <a:pt x="95" y="306"/>
                </a:cubicBezTo>
                <a:cubicBezTo>
                  <a:pt x="94" y="305"/>
                  <a:pt x="94" y="305"/>
                  <a:pt x="94" y="305"/>
                </a:cubicBezTo>
                <a:cubicBezTo>
                  <a:pt x="93" y="305"/>
                  <a:pt x="93" y="305"/>
                  <a:pt x="93" y="305"/>
                </a:cubicBezTo>
                <a:cubicBezTo>
                  <a:pt x="92" y="304"/>
                  <a:pt x="92" y="304"/>
                  <a:pt x="92" y="304"/>
                </a:cubicBezTo>
                <a:cubicBezTo>
                  <a:pt x="91" y="304"/>
                  <a:pt x="91" y="304"/>
                  <a:pt x="91" y="304"/>
                </a:cubicBezTo>
                <a:cubicBezTo>
                  <a:pt x="91" y="304"/>
                  <a:pt x="91" y="304"/>
                  <a:pt x="91" y="304"/>
                </a:cubicBezTo>
                <a:cubicBezTo>
                  <a:pt x="91" y="305"/>
                  <a:pt x="91" y="305"/>
                  <a:pt x="91" y="305"/>
                </a:cubicBezTo>
                <a:cubicBezTo>
                  <a:pt x="92" y="305"/>
                  <a:pt x="92" y="305"/>
                  <a:pt x="92" y="305"/>
                </a:cubicBezTo>
                <a:cubicBezTo>
                  <a:pt x="93" y="306"/>
                  <a:pt x="93" y="306"/>
                  <a:pt x="93" y="306"/>
                </a:cubicBezTo>
                <a:cubicBezTo>
                  <a:pt x="94" y="306"/>
                  <a:pt x="94" y="306"/>
                  <a:pt x="94" y="306"/>
                </a:cubicBezTo>
                <a:cubicBezTo>
                  <a:pt x="94" y="307"/>
                  <a:pt x="94" y="307"/>
                  <a:pt x="94" y="307"/>
                </a:cubicBezTo>
                <a:cubicBezTo>
                  <a:pt x="93" y="307"/>
                  <a:pt x="93" y="307"/>
                  <a:pt x="93" y="307"/>
                </a:cubicBezTo>
                <a:cubicBezTo>
                  <a:pt x="92" y="307"/>
                  <a:pt x="92" y="307"/>
                  <a:pt x="92" y="307"/>
                </a:cubicBezTo>
                <a:cubicBezTo>
                  <a:pt x="91" y="306"/>
                  <a:pt x="91" y="306"/>
                  <a:pt x="91" y="306"/>
                </a:cubicBezTo>
                <a:cubicBezTo>
                  <a:pt x="91" y="306"/>
                  <a:pt x="91" y="306"/>
                  <a:pt x="91" y="306"/>
                </a:cubicBezTo>
                <a:cubicBezTo>
                  <a:pt x="91" y="305"/>
                  <a:pt x="91" y="305"/>
                  <a:pt x="91" y="305"/>
                </a:cubicBezTo>
                <a:cubicBezTo>
                  <a:pt x="90" y="305"/>
                  <a:pt x="90" y="305"/>
                  <a:pt x="90" y="305"/>
                </a:cubicBezTo>
                <a:cubicBezTo>
                  <a:pt x="90" y="306"/>
                  <a:pt x="90" y="306"/>
                  <a:pt x="90" y="306"/>
                </a:cubicBezTo>
                <a:cubicBezTo>
                  <a:pt x="90" y="306"/>
                  <a:pt x="90" y="306"/>
                  <a:pt x="90" y="306"/>
                </a:cubicBezTo>
                <a:cubicBezTo>
                  <a:pt x="90" y="307"/>
                  <a:pt x="90" y="307"/>
                  <a:pt x="90" y="307"/>
                </a:cubicBezTo>
                <a:cubicBezTo>
                  <a:pt x="90" y="308"/>
                  <a:pt x="90" y="308"/>
                  <a:pt x="90" y="308"/>
                </a:cubicBezTo>
                <a:cubicBezTo>
                  <a:pt x="90" y="308"/>
                  <a:pt x="90" y="308"/>
                  <a:pt x="90" y="308"/>
                </a:cubicBezTo>
                <a:cubicBezTo>
                  <a:pt x="91" y="308"/>
                  <a:pt x="91" y="308"/>
                  <a:pt x="91" y="308"/>
                </a:cubicBezTo>
                <a:cubicBezTo>
                  <a:pt x="92" y="308"/>
                  <a:pt x="92" y="308"/>
                  <a:pt x="92" y="308"/>
                </a:cubicBezTo>
                <a:cubicBezTo>
                  <a:pt x="93" y="308"/>
                  <a:pt x="93" y="308"/>
                  <a:pt x="93" y="308"/>
                </a:cubicBezTo>
                <a:cubicBezTo>
                  <a:pt x="93" y="309"/>
                  <a:pt x="93" y="309"/>
                  <a:pt x="93" y="309"/>
                </a:cubicBezTo>
                <a:cubicBezTo>
                  <a:pt x="93" y="309"/>
                  <a:pt x="93" y="309"/>
                  <a:pt x="93" y="309"/>
                </a:cubicBezTo>
                <a:cubicBezTo>
                  <a:pt x="93" y="310"/>
                  <a:pt x="93" y="310"/>
                  <a:pt x="93" y="310"/>
                </a:cubicBezTo>
                <a:cubicBezTo>
                  <a:pt x="92" y="310"/>
                  <a:pt x="92" y="310"/>
                  <a:pt x="92" y="310"/>
                </a:cubicBezTo>
                <a:cubicBezTo>
                  <a:pt x="91" y="311"/>
                  <a:pt x="91" y="311"/>
                  <a:pt x="91" y="311"/>
                </a:cubicBezTo>
                <a:cubicBezTo>
                  <a:pt x="91" y="310"/>
                  <a:pt x="91" y="310"/>
                  <a:pt x="91" y="310"/>
                </a:cubicBezTo>
                <a:cubicBezTo>
                  <a:pt x="90" y="310"/>
                  <a:pt x="90" y="310"/>
                  <a:pt x="90" y="310"/>
                </a:cubicBezTo>
                <a:cubicBezTo>
                  <a:pt x="89" y="310"/>
                  <a:pt x="89" y="310"/>
                  <a:pt x="89" y="310"/>
                </a:cubicBezTo>
                <a:cubicBezTo>
                  <a:pt x="89" y="309"/>
                  <a:pt x="89" y="309"/>
                  <a:pt x="89" y="309"/>
                </a:cubicBezTo>
                <a:cubicBezTo>
                  <a:pt x="89" y="309"/>
                  <a:pt x="89" y="309"/>
                  <a:pt x="89" y="309"/>
                </a:cubicBezTo>
                <a:cubicBezTo>
                  <a:pt x="88" y="308"/>
                  <a:pt x="88" y="308"/>
                  <a:pt x="88" y="308"/>
                </a:cubicBezTo>
                <a:cubicBezTo>
                  <a:pt x="88" y="308"/>
                  <a:pt x="88" y="308"/>
                  <a:pt x="88" y="308"/>
                </a:cubicBezTo>
                <a:cubicBezTo>
                  <a:pt x="88" y="309"/>
                  <a:pt x="88" y="309"/>
                  <a:pt x="88" y="309"/>
                </a:cubicBezTo>
                <a:cubicBezTo>
                  <a:pt x="88" y="310"/>
                  <a:pt x="88" y="310"/>
                  <a:pt x="88" y="310"/>
                </a:cubicBezTo>
                <a:cubicBezTo>
                  <a:pt x="87" y="311"/>
                  <a:pt x="87" y="311"/>
                  <a:pt x="87" y="311"/>
                </a:cubicBezTo>
                <a:cubicBezTo>
                  <a:pt x="86" y="311"/>
                  <a:pt x="86" y="311"/>
                  <a:pt x="86" y="311"/>
                </a:cubicBezTo>
                <a:cubicBezTo>
                  <a:pt x="86" y="310"/>
                  <a:pt x="86" y="310"/>
                  <a:pt x="86" y="310"/>
                </a:cubicBezTo>
                <a:cubicBezTo>
                  <a:pt x="85" y="310"/>
                  <a:pt x="85" y="310"/>
                  <a:pt x="85" y="310"/>
                </a:cubicBezTo>
                <a:cubicBezTo>
                  <a:pt x="85" y="310"/>
                  <a:pt x="85" y="310"/>
                  <a:pt x="85" y="310"/>
                </a:cubicBezTo>
                <a:cubicBezTo>
                  <a:pt x="85" y="311"/>
                  <a:pt x="85" y="311"/>
                  <a:pt x="85" y="311"/>
                </a:cubicBezTo>
                <a:cubicBezTo>
                  <a:pt x="85" y="311"/>
                  <a:pt x="85" y="311"/>
                  <a:pt x="85" y="311"/>
                </a:cubicBezTo>
                <a:cubicBezTo>
                  <a:pt x="87" y="312"/>
                  <a:pt x="87" y="312"/>
                  <a:pt x="87" y="312"/>
                </a:cubicBezTo>
                <a:cubicBezTo>
                  <a:pt x="88" y="312"/>
                  <a:pt x="88" y="312"/>
                  <a:pt x="88" y="312"/>
                </a:cubicBezTo>
                <a:cubicBezTo>
                  <a:pt x="89" y="313"/>
                  <a:pt x="89" y="313"/>
                  <a:pt x="89" y="313"/>
                </a:cubicBezTo>
                <a:cubicBezTo>
                  <a:pt x="89" y="315"/>
                  <a:pt x="89" y="315"/>
                  <a:pt x="89" y="315"/>
                </a:cubicBezTo>
                <a:cubicBezTo>
                  <a:pt x="89" y="315"/>
                  <a:pt x="89" y="315"/>
                  <a:pt x="89" y="315"/>
                </a:cubicBezTo>
                <a:cubicBezTo>
                  <a:pt x="88" y="315"/>
                  <a:pt x="88" y="315"/>
                  <a:pt x="88" y="315"/>
                </a:cubicBezTo>
                <a:cubicBezTo>
                  <a:pt x="87" y="314"/>
                  <a:pt x="87" y="314"/>
                  <a:pt x="87" y="314"/>
                </a:cubicBezTo>
                <a:cubicBezTo>
                  <a:pt x="86" y="313"/>
                  <a:pt x="86" y="313"/>
                  <a:pt x="86" y="313"/>
                </a:cubicBezTo>
                <a:cubicBezTo>
                  <a:pt x="85" y="313"/>
                  <a:pt x="85" y="313"/>
                  <a:pt x="85" y="313"/>
                </a:cubicBezTo>
                <a:cubicBezTo>
                  <a:pt x="84" y="313"/>
                  <a:pt x="84" y="313"/>
                  <a:pt x="84" y="313"/>
                </a:cubicBezTo>
                <a:cubicBezTo>
                  <a:pt x="84" y="313"/>
                  <a:pt x="84" y="313"/>
                  <a:pt x="84" y="313"/>
                </a:cubicBezTo>
                <a:cubicBezTo>
                  <a:pt x="85" y="314"/>
                  <a:pt x="85" y="314"/>
                  <a:pt x="85" y="314"/>
                </a:cubicBezTo>
                <a:cubicBezTo>
                  <a:pt x="86" y="314"/>
                  <a:pt x="86" y="314"/>
                  <a:pt x="86" y="314"/>
                </a:cubicBezTo>
                <a:cubicBezTo>
                  <a:pt x="87" y="315"/>
                  <a:pt x="87" y="315"/>
                  <a:pt x="87" y="315"/>
                </a:cubicBezTo>
                <a:cubicBezTo>
                  <a:pt x="88" y="316"/>
                  <a:pt x="88" y="316"/>
                  <a:pt x="88" y="316"/>
                </a:cubicBezTo>
                <a:cubicBezTo>
                  <a:pt x="88" y="317"/>
                  <a:pt x="88" y="317"/>
                  <a:pt x="88" y="317"/>
                </a:cubicBezTo>
                <a:cubicBezTo>
                  <a:pt x="88" y="318"/>
                  <a:pt x="88" y="318"/>
                  <a:pt x="88" y="318"/>
                </a:cubicBezTo>
                <a:cubicBezTo>
                  <a:pt x="88" y="318"/>
                  <a:pt x="88" y="318"/>
                  <a:pt x="88" y="318"/>
                </a:cubicBezTo>
                <a:cubicBezTo>
                  <a:pt x="88" y="319"/>
                  <a:pt x="88" y="319"/>
                  <a:pt x="88" y="319"/>
                </a:cubicBezTo>
                <a:cubicBezTo>
                  <a:pt x="87" y="319"/>
                  <a:pt x="87" y="319"/>
                  <a:pt x="87" y="319"/>
                </a:cubicBezTo>
                <a:cubicBezTo>
                  <a:pt x="87" y="320"/>
                  <a:pt x="87" y="320"/>
                  <a:pt x="87" y="320"/>
                </a:cubicBezTo>
                <a:cubicBezTo>
                  <a:pt x="87" y="321"/>
                  <a:pt x="87" y="321"/>
                  <a:pt x="87" y="321"/>
                </a:cubicBezTo>
                <a:cubicBezTo>
                  <a:pt x="86" y="321"/>
                  <a:pt x="86" y="321"/>
                  <a:pt x="86" y="321"/>
                </a:cubicBezTo>
                <a:cubicBezTo>
                  <a:pt x="86" y="320"/>
                  <a:pt x="86" y="320"/>
                  <a:pt x="86" y="320"/>
                </a:cubicBezTo>
                <a:cubicBezTo>
                  <a:pt x="85" y="320"/>
                  <a:pt x="85" y="320"/>
                  <a:pt x="85" y="320"/>
                </a:cubicBezTo>
                <a:cubicBezTo>
                  <a:pt x="84" y="320"/>
                  <a:pt x="84" y="320"/>
                  <a:pt x="84" y="320"/>
                </a:cubicBezTo>
                <a:cubicBezTo>
                  <a:pt x="83" y="320"/>
                  <a:pt x="83" y="320"/>
                  <a:pt x="83" y="320"/>
                </a:cubicBezTo>
                <a:cubicBezTo>
                  <a:pt x="84" y="320"/>
                  <a:pt x="84" y="320"/>
                  <a:pt x="84" y="320"/>
                </a:cubicBezTo>
                <a:cubicBezTo>
                  <a:pt x="85" y="321"/>
                  <a:pt x="85" y="321"/>
                  <a:pt x="85" y="321"/>
                </a:cubicBezTo>
                <a:cubicBezTo>
                  <a:pt x="86" y="321"/>
                  <a:pt x="86" y="321"/>
                  <a:pt x="86" y="321"/>
                </a:cubicBezTo>
                <a:cubicBezTo>
                  <a:pt x="86" y="321"/>
                  <a:pt x="86" y="321"/>
                  <a:pt x="86" y="321"/>
                </a:cubicBezTo>
                <a:cubicBezTo>
                  <a:pt x="85" y="322"/>
                  <a:pt x="85" y="322"/>
                  <a:pt x="85" y="322"/>
                </a:cubicBezTo>
                <a:cubicBezTo>
                  <a:pt x="84" y="322"/>
                  <a:pt x="84" y="322"/>
                  <a:pt x="84" y="322"/>
                </a:cubicBezTo>
                <a:cubicBezTo>
                  <a:pt x="84" y="322"/>
                  <a:pt x="84" y="322"/>
                  <a:pt x="84" y="322"/>
                </a:cubicBezTo>
                <a:cubicBezTo>
                  <a:pt x="84" y="322"/>
                  <a:pt x="84" y="322"/>
                  <a:pt x="84" y="322"/>
                </a:cubicBezTo>
                <a:cubicBezTo>
                  <a:pt x="84" y="322"/>
                  <a:pt x="84" y="322"/>
                  <a:pt x="84" y="322"/>
                </a:cubicBezTo>
                <a:cubicBezTo>
                  <a:pt x="84" y="323"/>
                  <a:pt x="84" y="323"/>
                  <a:pt x="84" y="323"/>
                </a:cubicBezTo>
                <a:cubicBezTo>
                  <a:pt x="85" y="323"/>
                  <a:pt x="85" y="323"/>
                  <a:pt x="85" y="323"/>
                </a:cubicBezTo>
                <a:cubicBezTo>
                  <a:pt x="85" y="323"/>
                  <a:pt x="85" y="323"/>
                  <a:pt x="85" y="323"/>
                </a:cubicBezTo>
                <a:cubicBezTo>
                  <a:pt x="84" y="324"/>
                  <a:pt x="84" y="324"/>
                  <a:pt x="84" y="324"/>
                </a:cubicBezTo>
                <a:cubicBezTo>
                  <a:pt x="83" y="324"/>
                  <a:pt x="83" y="324"/>
                  <a:pt x="83" y="324"/>
                </a:cubicBezTo>
                <a:cubicBezTo>
                  <a:pt x="83" y="324"/>
                  <a:pt x="83" y="324"/>
                  <a:pt x="83" y="324"/>
                </a:cubicBezTo>
                <a:cubicBezTo>
                  <a:pt x="82" y="324"/>
                  <a:pt x="82" y="324"/>
                  <a:pt x="82" y="324"/>
                </a:cubicBezTo>
                <a:cubicBezTo>
                  <a:pt x="82" y="324"/>
                  <a:pt x="82" y="324"/>
                  <a:pt x="82" y="324"/>
                </a:cubicBezTo>
                <a:cubicBezTo>
                  <a:pt x="82" y="324"/>
                  <a:pt x="82" y="324"/>
                  <a:pt x="82" y="324"/>
                </a:cubicBezTo>
                <a:cubicBezTo>
                  <a:pt x="83" y="325"/>
                  <a:pt x="83" y="325"/>
                  <a:pt x="83" y="325"/>
                </a:cubicBezTo>
                <a:cubicBezTo>
                  <a:pt x="84" y="325"/>
                  <a:pt x="84" y="325"/>
                  <a:pt x="84" y="325"/>
                </a:cubicBezTo>
                <a:cubicBezTo>
                  <a:pt x="83" y="326"/>
                  <a:pt x="83" y="326"/>
                  <a:pt x="83" y="326"/>
                </a:cubicBezTo>
                <a:cubicBezTo>
                  <a:pt x="83" y="326"/>
                  <a:pt x="83" y="326"/>
                  <a:pt x="83" y="326"/>
                </a:cubicBezTo>
                <a:cubicBezTo>
                  <a:pt x="81" y="326"/>
                  <a:pt x="81" y="326"/>
                  <a:pt x="81" y="326"/>
                </a:cubicBezTo>
                <a:cubicBezTo>
                  <a:pt x="80" y="326"/>
                  <a:pt x="80" y="326"/>
                  <a:pt x="80" y="326"/>
                </a:cubicBezTo>
                <a:cubicBezTo>
                  <a:pt x="80" y="326"/>
                  <a:pt x="80" y="326"/>
                  <a:pt x="80" y="326"/>
                </a:cubicBezTo>
                <a:cubicBezTo>
                  <a:pt x="80" y="326"/>
                  <a:pt x="80" y="326"/>
                  <a:pt x="80" y="326"/>
                </a:cubicBezTo>
                <a:cubicBezTo>
                  <a:pt x="81" y="327"/>
                  <a:pt x="81" y="327"/>
                  <a:pt x="81" y="327"/>
                </a:cubicBezTo>
                <a:cubicBezTo>
                  <a:pt x="83" y="327"/>
                  <a:pt x="83" y="327"/>
                  <a:pt x="83" y="327"/>
                </a:cubicBezTo>
                <a:cubicBezTo>
                  <a:pt x="84" y="327"/>
                  <a:pt x="84" y="327"/>
                  <a:pt x="84" y="327"/>
                </a:cubicBezTo>
                <a:cubicBezTo>
                  <a:pt x="84" y="328"/>
                  <a:pt x="84" y="328"/>
                  <a:pt x="84" y="328"/>
                </a:cubicBezTo>
                <a:cubicBezTo>
                  <a:pt x="84" y="328"/>
                  <a:pt x="84" y="328"/>
                  <a:pt x="84" y="328"/>
                </a:cubicBezTo>
                <a:cubicBezTo>
                  <a:pt x="83" y="329"/>
                  <a:pt x="83" y="329"/>
                  <a:pt x="83" y="329"/>
                </a:cubicBezTo>
                <a:cubicBezTo>
                  <a:pt x="82" y="329"/>
                  <a:pt x="82" y="329"/>
                  <a:pt x="82" y="329"/>
                </a:cubicBezTo>
                <a:cubicBezTo>
                  <a:pt x="80" y="329"/>
                  <a:pt x="80" y="329"/>
                  <a:pt x="80" y="329"/>
                </a:cubicBezTo>
                <a:cubicBezTo>
                  <a:pt x="79" y="328"/>
                  <a:pt x="79" y="328"/>
                  <a:pt x="79" y="328"/>
                </a:cubicBezTo>
                <a:cubicBezTo>
                  <a:pt x="79" y="329"/>
                  <a:pt x="79" y="329"/>
                  <a:pt x="79" y="329"/>
                </a:cubicBezTo>
                <a:cubicBezTo>
                  <a:pt x="80" y="329"/>
                  <a:pt x="80" y="329"/>
                  <a:pt x="80" y="329"/>
                </a:cubicBezTo>
                <a:cubicBezTo>
                  <a:pt x="81" y="329"/>
                  <a:pt x="81" y="329"/>
                  <a:pt x="81" y="329"/>
                </a:cubicBezTo>
                <a:cubicBezTo>
                  <a:pt x="81" y="330"/>
                  <a:pt x="81" y="330"/>
                  <a:pt x="81" y="330"/>
                </a:cubicBezTo>
                <a:cubicBezTo>
                  <a:pt x="81" y="330"/>
                  <a:pt x="81" y="330"/>
                  <a:pt x="81" y="330"/>
                </a:cubicBezTo>
                <a:cubicBezTo>
                  <a:pt x="80" y="330"/>
                  <a:pt x="80" y="330"/>
                  <a:pt x="80" y="330"/>
                </a:cubicBezTo>
                <a:cubicBezTo>
                  <a:pt x="80" y="330"/>
                  <a:pt x="80" y="330"/>
                  <a:pt x="80" y="330"/>
                </a:cubicBezTo>
                <a:cubicBezTo>
                  <a:pt x="81" y="331"/>
                  <a:pt x="81" y="331"/>
                  <a:pt x="81" y="331"/>
                </a:cubicBezTo>
                <a:cubicBezTo>
                  <a:pt x="82" y="331"/>
                  <a:pt x="82" y="331"/>
                  <a:pt x="82" y="331"/>
                </a:cubicBezTo>
                <a:cubicBezTo>
                  <a:pt x="82" y="331"/>
                  <a:pt x="82" y="331"/>
                  <a:pt x="82" y="331"/>
                </a:cubicBezTo>
                <a:cubicBezTo>
                  <a:pt x="82" y="332"/>
                  <a:pt x="82" y="332"/>
                  <a:pt x="82" y="332"/>
                </a:cubicBezTo>
                <a:cubicBezTo>
                  <a:pt x="81" y="332"/>
                  <a:pt x="81" y="332"/>
                  <a:pt x="81" y="332"/>
                </a:cubicBezTo>
                <a:cubicBezTo>
                  <a:pt x="80" y="332"/>
                  <a:pt x="80" y="332"/>
                  <a:pt x="80" y="332"/>
                </a:cubicBezTo>
                <a:cubicBezTo>
                  <a:pt x="80" y="332"/>
                  <a:pt x="80" y="332"/>
                  <a:pt x="80" y="332"/>
                </a:cubicBezTo>
                <a:cubicBezTo>
                  <a:pt x="81" y="333"/>
                  <a:pt x="81" y="333"/>
                  <a:pt x="81" y="333"/>
                </a:cubicBezTo>
                <a:cubicBezTo>
                  <a:pt x="82" y="332"/>
                  <a:pt x="82" y="332"/>
                  <a:pt x="82" y="332"/>
                </a:cubicBezTo>
                <a:cubicBezTo>
                  <a:pt x="83" y="333"/>
                  <a:pt x="83" y="333"/>
                  <a:pt x="83" y="333"/>
                </a:cubicBezTo>
                <a:cubicBezTo>
                  <a:pt x="82" y="333"/>
                  <a:pt x="82" y="333"/>
                  <a:pt x="82" y="333"/>
                </a:cubicBezTo>
                <a:cubicBezTo>
                  <a:pt x="82" y="334"/>
                  <a:pt x="82" y="334"/>
                  <a:pt x="82" y="334"/>
                </a:cubicBezTo>
                <a:cubicBezTo>
                  <a:pt x="81" y="334"/>
                  <a:pt x="81" y="334"/>
                  <a:pt x="81" y="334"/>
                </a:cubicBezTo>
                <a:cubicBezTo>
                  <a:pt x="80" y="334"/>
                  <a:pt x="80" y="334"/>
                  <a:pt x="80" y="334"/>
                </a:cubicBezTo>
                <a:cubicBezTo>
                  <a:pt x="79" y="333"/>
                  <a:pt x="79" y="333"/>
                  <a:pt x="79" y="333"/>
                </a:cubicBezTo>
                <a:cubicBezTo>
                  <a:pt x="78" y="333"/>
                  <a:pt x="78" y="333"/>
                  <a:pt x="78" y="333"/>
                </a:cubicBezTo>
                <a:cubicBezTo>
                  <a:pt x="78" y="332"/>
                  <a:pt x="78" y="332"/>
                  <a:pt x="78" y="332"/>
                </a:cubicBezTo>
                <a:cubicBezTo>
                  <a:pt x="77" y="332"/>
                  <a:pt x="77" y="332"/>
                  <a:pt x="77" y="332"/>
                </a:cubicBezTo>
                <a:cubicBezTo>
                  <a:pt x="77" y="332"/>
                  <a:pt x="77" y="332"/>
                  <a:pt x="77" y="332"/>
                </a:cubicBezTo>
                <a:cubicBezTo>
                  <a:pt x="76" y="332"/>
                  <a:pt x="76" y="332"/>
                  <a:pt x="76" y="332"/>
                </a:cubicBezTo>
                <a:cubicBezTo>
                  <a:pt x="76" y="332"/>
                  <a:pt x="76" y="332"/>
                  <a:pt x="76" y="332"/>
                </a:cubicBezTo>
                <a:cubicBezTo>
                  <a:pt x="76" y="333"/>
                  <a:pt x="76" y="333"/>
                  <a:pt x="76" y="333"/>
                </a:cubicBezTo>
                <a:cubicBezTo>
                  <a:pt x="78" y="334"/>
                  <a:pt x="78" y="334"/>
                  <a:pt x="78" y="334"/>
                </a:cubicBezTo>
                <a:cubicBezTo>
                  <a:pt x="79" y="334"/>
                  <a:pt x="79" y="334"/>
                  <a:pt x="79" y="334"/>
                </a:cubicBezTo>
                <a:cubicBezTo>
                  <a:pt x="79" y="335"/>
                  <a:pt x="79" y="335"/>
                  <a:pt x="79" y="335"/>
                </a:cubicBezTo>
                <a:cubicBezTo>
                  <a:pt x="79" y="335"/>
                  <a:pt x="79" y="335"/>
                  <a:pt x="79" y="335"/>
                </a:cubicBezTo>
                <a:cubicBezTo>
                  <a:pt x="79" y="336"/>
                  <a:pt x="79" y="336"/>
                  <a:pt x="79" y="336"/>
                </a:cubicBezTo>
                <a:cubicBezTo>
                  <a:pt x="79" y="336"/>
                  <a:pt x="79" y="336"/>
                  <a:pt x="79" y="336"/>
                </a:cubicBezTo>
                <a:cubicBezTo>
                  <a:pt x="80" y="336"/>
                  <a:pt x="80" y="336"/>
                  <a:pt x="80" y="336"/>
                </a:cubicBezTo>
                <a:cubicBezTo>
                  <a:pt x="80" y="336"/>
                  <a:pt x="80" y="336"/>
                  <a:pt x="80" y="336"/>
                </a:cubicBezTo>
                <a:cubicBezTo>
                  <a:pt x="81" y="336"/>
                  <a:pt x="81" y="336"/>
                  <a:pt x="81" y="336"/>
                </a:cubicBezTo>
                <a:cubicBezTo>
                  <a:pt x="81" y="337"/>
                  <a:pt x="81" y="337"/>
                  <a:pt x="81" y="337"/>
                </a:cubicBezTo>
                <a:cubicBezTo>
                  <a:pt x="80" y="337"/>
                  <a:pt x="80" y="337"/>
                  <a:pt x="80" y="337"/>
                </a:cubicBezTo>
                <a:cubicBezTo>
                  <a:pt x="80" y="337"/>
                  <a:pt x="80" y="337"/>
                  <a:pt x="80" y="337"/>
                </a:cubicBezTo>
                <a:cubicBezTo>
                  <a:pt x="80" y="338"/>
                  <a:pt x="80" y="338"/>
                  <a:pt x="80" y="338"/>
                </a:cubicBezTo>
                <a:cubicBezTo>
                  <a:pt x="79" y="338"/>
                  <a:pt x="79" y="338"/>
                  <a:pt x="79" y="338"/>
                </a:cubicBezTo>
                <a:close/>
                <a:moveTo>
                  <a:pt x="78" y="338"/>
                </a:moveTo>
                <a:cubicBezTo>
                  <a:pt x="76" y="337"/>
                  <a:pt x="76" y="337"/>
                  <a:pt x="76" y="337"/>
                </a:cubicBezTo>
                <a:cubicBezTo>
                  <a:pt x="75" y="337"/>
                  <a:pt x="75" y="337"/>
                  <a:pt x="75" y="337"/>
                </a:cubicBezTo>
                <a:cubicBezTo>
                  <a:pt x="75" y="337"/>
                  <a:pt x="75" y="337"/>
                  <a:pt x="75" y="337"/>
                </a:cubicBezTo>
                <a:cubicBezTo>
                  <a:pt x="76" y="339"/>
                  <a:pt x="76" y="339"/>
                  <a:pt x="76" y="339"/>
                </a:cubicBezTo>
                <a:cubicBezTo>
                  <a:pt x="77" y="339"/>
                  <a:pt x="77" y="339"/>
                  <a:pt x="77" y="339"/>
                </a:cubicBezTo>
                <a:cubicBezTo>
                  <a:pt x="78" y="338"/>
                  <a:pt x="78" y="338"/>
                  <a:pt x="78" y="338"/>
                </a:cubicBezTo>
                <a:close/>
                <a:moveTo>
                  <a:pt x="176" y="228"/>
                </a:moveTo>
                <a:cubicBezTo>
                  <a:pt x="176" y="229"/>
                  <a:pt x="176" y="229"/>
                  <a:pt x="176" y="229"/>
                </a:cubicBezTo>
                <a:cubicBezTo>
                  <a:pt x="178" y="229"/>
                  <a:pt x="178" y="229"/>
                  <a:pt x="178" y="229"/>
                </a:cubicBezTo>
                <a:cubicBezTo>
                  <a:pt x="180" y="228"/>
                  <a:pt x="180" y="228"/>
                  <a:pt x="180" y="228"/>
                </a:cubicBezTo>
                <a:cubicBezTo>
                  <a:pt x="183" y="229"/>
                  <a:pt x="183" y="229"/>
                  <a:pt x="183" y="229"/>
                </a:cubicBezTo>
                <a:cubicBezTo>
                  <a:pt x="184" y="228"/>
                  <a:pt x="184" y="228"/>
                  <a:pt x="184" y="228"/>
                </a:cubicBezTo>
                <a:cubicBezTo>
                  <a:pt x="185" y="227"/>
                  <a:pt x="185" y="227"/>
                  <a:pt x="185" y="227"/>
                </a:cubicBezTo>
                <a:cubicBezTo>
                  <a:pt x="187" y="228"/>
                  <a:pt x="187" y="228"/>
                  <a:pt x="187" y="228"/>
                </a:cubicBezTo>
                <a:cubicBezTo>
                  <a:pt x="188" y="228"/>
                  <a:pt x="188" y="228"/>
                  <a:pt x="188" y="228"/>
                </a:cubicBezTo>
                <a:cubicBezTo>
                  <a:pt x="189" y="228"/>
                  <a:pt x="189" y="228"/>
                  <a:pt x="189" y="228"/>
                </a:cubicBezTo>
                <a:cubicBezTo>
                  <a:pt x="190" y="227"/>
                  <a:pt x="190" y="227"/>
                  <a:pt x="190" y="227"/>
                </a:cubicBezTo>
                <a:cubicBezTo>
                  <a:pt x="190" y="223"/>
                  <a:pt x="190" y="223"/>
                  <a:pt x="190" y="223"/>
                </a:cubicBezTo>
                <a:cubicBezTo>
                  <a:pt x="189" y="223"/>
                  <a:pt x="189" y="223"/>
                  <a:pt x="189" y="223"/>
                </a:cubicBezTo>
                <a:cubicBezTo>
                  <a:pt x="189" y="221"/>
                  <a:pt x="189" y="221"/>
                  <a:pt x="189" y="221"/>
                </a:cubicBezTo>
                <a:cubicBezTo>
                  <a:pt x="188" y="221"/>
                  <a:pt x="188" y="221"/>
                  <a:pt x="188" y="221"/>
                </a:cubicBezTo>
                <a:cubicBezTo>
                  <a:pt x="184" y="223"/>
                  <a:pt x="184" y="223"/>
                  <a:pt x="184" y="223"/>
                </a:cubicBezTo>
                <a:cubicBezTo>
                  <a:pt x="181" y="223"/>
                  <a:pt x="181" y="223"/>
                  <a:pt x="181" y="223"/>
                </a:cubicBezTo>
                <a:cubicBezTo>
                  <a:pt x="180" y="224"/>
                  <a:pt x="180" y="224"/>
                  <a:pt x="180" y="224"/>
                </a:cubicBezTo>
                <a:cubicBezTo>
                  <a:pt x="179" y="225"/>
                  <a:pt x="179" y="225"/>
                  <a:pt x="179" y="225"/>
                </a:cubicBezTo>
                <a:cubicBezTo>
                  <a:pt x="178" y="226"/>
                  <a:pt x="178" y="226"/>
                  <a:pt x="178" y="226"/>
                </a:cubicBezTo>
                <a:cubicBezTo>
                  <a:pt x="177" y="226"/>
                  <a:pt x="177" y="226"/>
                  <a:pt x="177" y="226"/>
                </a:cubicBezTo>
                <a:cubicBezTo>
                  <a:pt x="176" y="227"/>
                  <a:pt x="176" y="227"/>
                  <a:pt x="176" y="227"/>
                </a:cubicBezTo>
                <a:cubicBezTo>
                  <a:pt x="176" y="228"/>
                  <a:pt x="176" y="228"/>
                  <a:pt x="176" y="228"/>
                </a:cubicBezTo>
                <a:close/>
                <a:moveTo>
                  <a:pt x="82" y="330"/>
                </a:moveTo>
                <a:cubicBezTo>
                  <a:pt x="83" y="330"/>
                  <a:pt x="83" y="330"/>
                  <a:pt x="83" y="330"/>
                </a:cubicBezTo>
                <a:cubicBezTo>
                  <a:pt x="84" y="330"/>
                  <a:pt x="84" y="330"/>
                  <a:pt x="84" y="330"/>
                </a:cubicBezTo>
                <a:cubicBezTo>
                  <a:pt x="83" y="329"/>
                  <a:pt x="83" y="329"/>
                  <a:pt x="83" y="329"/>
                </a:cubicBezTo>
                <a:cubicBezTo>
                  <a:pt x="83" y="330"/>
                  <a:pt x="83" y="330"/>
                  <a:pt x="83" y="330"/>
                </a:cubicBezTo>
                <a:cubicBezTo>
                  <a:pt x="82" y="330"/>
                  <a:pt x="82" y="330"/>
                  <a:pt x="82" y="330"/>
                </a:cubicBezTo>
                <a:close/>
                <a:moveTo>
                  <a:pt x="88" y="317"/>
                </a:moveTo>
                <a:cubicBezTo>
                  <a:pt x="89" y="318"/>
                  <a:pt x="89" y="318"/>
                  <a:pt x="89" y="318"/>
                </a:cubicBezTo>
                <a:cubicBezTo>
                  <a:pt x="89" y="317"/>
                  <a:pt x="89" y="317"/>
                  <a:pt x="89" y="317"/>
                </a:cubicBezTo>
                <a:cubicBezTo>
                  <a:pt x="88" y="317"/>
                  <a:pt x="88" y="317"/>
                  <a:pt x="88" y="317"/>
                </a:cubicBezTo>
                <a:close/>
                <a:moveTo>
                  <a:pt x="89" y="316"/>
                </a:moveTo>
                <a:cubicBezTo>
                  <a:pt x="89" y="316"/>
                  <a:pt x="89" y="316"/>
                  <a:pt x="89" y="316"/>
                </a:cubicBezTo>
                <a:cubicBezTo>
                  <a:pt x="89" y="316"/>
                  <a:pt x="89" y="316"/>
                  <a:pt x="89" y="316"/>
                </a:cubicBezTo>
                <a:cubicBezTo>
                  <a:pt x="89" y="315"/>
                  <a:pt x="89" y="315"/>
                  <a:pt x="89" y="315"/>
                </a:cubicBezTo>
                <a:cubicBezTo>
                  <a:pt x="89" y="316"/>
                  <a:pt x="89" y="316"/>
                  <a:pt x="89" y="316"/>
                </a:cubicBezTo>
                <a:close/>
                <a:moveTo>
                  <a:pt x="90" y="313"/>
                </a:moveTo>
                <a:cubicBezTo>
                  <a:pt x="90" y="314"/>
                  <a:pt x="90" y="314"/>
                  <a:pt x="90" y="314"/>
                </a:cubicBezTo>
                <a:cubicBezTo>
                  <a:pt x="90" y="314"/>
                  <a:pt x="90" y="314"/>
                  <a:pt x="90" y="314"/>
                </a:cubicBezTo>
                <a:cubicBezTo>
                  <a:pt x="90" y="313"/>
                  <a:pt x="90" y="313"/>
                  <a:pt x="90" y="313"/>
                </a:cubicBezTo>
                <a:cubicBezTo>
                  <a:pt x="90" y="313"/>
                  <a:pt x="90" y="313"/>
                  <a:pt x="90" y="313"/>
                </a:cubicBezTo>
                <a:cubicBezTo>
                  <a:pt x="90" y="313"/>
                  <a:pt x="90" y="313"/>
                  <a:pt x="90" y="313"/>
                </a:cubicBezTo>
                <a:close/>
                <a:moveTo>
                  <a:pt x="89" y="311"/>
                </a:moveTo>
                <a:cubicBezTo>
                  <a:pt x="89" y="312"/>
                  <a:pt x="89" y="312"/>
                  <a:pt x="89" y="312"/>
                </a:cubicBezTo>
                <a:cubicBezTo>
                  <a:pt x="90" y="312"/>
                  <a:pt x="90" y="312"/>
                  <a:pt x="90" y="312"/>
                </a:cubicBezTo>
                <a:cubicBezTo>
                  <a:pt x="90" y="312"/>
                  <a:pt x="90" y="312"/>
                  <a:pt x="90" y="312"/>
                </a:cubicBezTo>
                <a:cubicBezTo>
                  <a:pt x="91" y="312"/>
                  <a:pt x="91" y="312"/>
                  <a:pt x="91" y="312"/>
                </a:cubicBezTo>
                <a:cubicBezTo>
                  <a:pt x="91" y="312"/>
                  <a:pt x="91" y="312"/>
                  <a:pt x="91" y="312"/>
                </a:cubicBezTo>
                <a:cubicBezTo>
                  <a:pt x="91" y="311"/>
                  <a:pt x="91" y="311"/>
                  <a:pt x="91" y="311"/>
                </a:cubicBezTo>
                <a:cubicBezTo>
                  <a:pt x="90" y="311"/>
                  <a:pt x="90" y="311"/>
                  <a:pt x="90" y="311"/>
                </a:cubicBezTo>
                <a:cubicBezTo>
                  <a:pt x="89" y="311"/>
                  <a:pt x="89" y="311"/>
                  <a:pt x="89" y="311"/>
                </a:cubicBezTo>
                <a:cubicBezTo>
                  <a:pt x="89" y="311"/>
                  <a:pt x="89" y="311"/>
                  <a:pt x="89" y="311"/>
                </a:cubicBezTo>
                <a:close/>
                <a:moveTo>
                  <a:pt x="94" y="310"/>
                </a:moveTo>
                <a:cubicBezTo>
                  <a:pt x="94" y="310"/>
                  <a:pt x="94" y="310"/>
                  <a:pt x="94" y="310"/>
                </a:cubicBezTo>
                <a:cubicBezTo>
                  <a:pt x="94" y="309"/>
                  <a:pt x="94" y="309"/>
                  <a:pt x="94" y="309"/>
                </a:cubicBezTo>
                <a:cubicBezTo>
                  <a:pt x="94" y="309"/>
                  <a:pt x="94" y="309"/>
                  <a:pt x="94" y="309"/>
                </a:cubicBezTo>
                <a:cubicBezTo>
                  <a:pt x="94" y="310"/>
                  <a:pt x="94" y="310"/>
                  <a:pt x="94" y="310"/>
                </a:cubicBezTo>
                <a:close/>
                <a:moveTo>
                  <a:pt x="93" y="302"/>
                </a:moveTo>
                <a:cubicBezTo>
                  <a:pt x="93" y="303"/>
                  <a:pt x="93" y="303"/>
                  <a:pt x="93" y="303"/>
                </a:cubicBezTo>
                <a:cubicBezTo>
                  <a:pt x="94" y="304"/>
                  <a:pt x="94" y="304"/>
                  <a:pt x="94" y="304"/>
                </a:cubicBezTo>
                <a:cubicBezTo>
                  <a:pt x="96" y="304"/>
                  <a:pt x="96" y="304"/>
                  <a:pt x="96" y="304"/>
                </a:cubicBezTo>
                <a:cubicBezTo>
                  <a:pt x="96" y="305"/>
                  <a:pt x="96" y="305"/>
                  <a:pt x="96" y="305"/>
                </a:cubicBezTo>
                <a:cubicBezTo>
                  <a:pt x="96" y="304"/>
                  <a:pt x="96" y="304"/>
                  <a:pt x="96" y="304"/>
                </a:cubicBezTo>
                <a:cubicBezTo>
                  <a:pt x="96" y="304"/>
                  <a:pt x="96" y="304"/>
                  <a:pt x="96" y="304"/>
                </a:cubicBezTo>
                <a:cubicBezTo>
                  <a:pt x="94" y="303"/>
                  <a:pt x="94" y="303"/>
                  <a:pt x="94" y="303"/>
                </a:cubicBezTo>
                <a:cubicBezTo>
                  <a:pt x="94" y="302"/>
                  <a:pt x="94" y="302"/>
                  <a:pt x="94" y="302"/>
                </a:cubicBezTo>
                <a:cubicBezTo>
                  <a:pt x="93" y="302"/>
                  <a:pt x="93" y="302"/>
                  <a:pt x="93" y="302"/>
                </a:cubicBezTo>
                <a:close/>
                <a:moveTo>
                  <a:pt x="101" y="288"/>
                </a:moveTo>
                <a:cubicBezTo>
                  <a:pt x="102" y="289"/>
                  <a:pt x="102" y="289"/>
                  <a:pt x="102" y="289"/>
                </a:cubicBezTo>
                <a:cubicBezTo>
                  <a:pt x="102" y="290"/>
                  <a:pt x="102" y="290"/>
                  <a:pt x="102" y="290"/>
                </a:cubicBezTo>
                <a:cubicBezTo>
                  <a:pt x="102" y="291"/>
                  <a:pt x="102" y="291"/>
                  <a:pt x="102" y="291"/>
                </a:cubicBezTo>
                <a:cubicBezTo>
                  <a:pt x="102" y="292"/>
                  <a:pt x="102" y="292"/>
                  <a:pt x="102" y="292"/>
                </a:cubicBezTo>
                <a:cubicBezTo>
                  <a:pt x="103" y="292"/>
                  <a:pt x="103" y="292"/>
                  <a:pt x="103" y="292"/>
                </a:cubicBezTo>
                <a:cubicBezTo>
                  <a:pt x="103" y="291"/>
                  <a:pt x="103" y="291"/>
                  <a:pt x="103" y="291"/>
                </a:cubicBezTo>
                <a:cubicBezTo>
                  <a:pt x="103" y="290"/>
                  <a:pt x="103" y="290"/>
                  <a:pt x="103" y="290"/>
                </a:cubicBezTo>
                <a:cubicBezTo>
                  <a:pt x="102" y="289"/>
                  <a:pt x="102" y="289"/>
                  <a:pt x="102" y="289"/>
                </a:cubicBezTo>
                <a:cubicBezTo>
                  <a:pt x="102" y="288"/>
                  <a:pt x="102" y="288"/>
                  <a:pt x="102" y="288"/>
                </a:cubicBezTo>
                <a:cubicBezTo>
                  <a:pt x="102" y="288"/>
                  <a:pt x="102" y="288"/>
                  <a:pt x="102" y="288"/>
                </a:cubicBezTo>
                <a:cubicBezTo>
                  <a:pt x="101" y="288"/>
                  <a:pt x="101" y="288"/>
                  <a:pt x="101" y="288"/>
                </a:cubicBezTo>
                <a:close/>
                <a:moveTo>
                  <a:pt x="107" y="284"/>
                </a:moveTo>
                <a:cubicBezTo>
                  <a:pt x="107" y="285"/>
                  <a:pt x="107" y="285"/>
                  <a:pt x="107" y="285"/>
                </a:cubicBezTo>
                <a:cubicBezTo>
                  <a:pt x="108" y="285"/>
                  <a:pt x="108" y="285"/>
                  <a:pt x="108" y="285"/>
                </a:cubicBezTo>
                <a:cubicBezTo>
                  <a:pt x="108" y="285"/>
                  <a:pt x="108" y="285"/>
                  <a:pt x="108" y="285"/>
                </a:cubicBezTo>
                <a:cubicBezTo>
                  <a:pt x="108" y="284"/>
                  <a:pt x="108" y="284"/>
                  <a:pt x="108" y="284"/>
                </a:cubicBezTo>
                <a:cubicBezTo>
                  <a:pt x="107" y="284"/>
                  <a:pt x="107" y="284"/>
                  <a:pt x="107" y="284"/>
                </a:cubicBezTo>
                <a:close/>
                <a:moveTo>
                  <a:pt x="109" y="283"/>
                </a:moveTo>
                <a:cubicBezTo>
                  <a:pt x="109" y="283"/>
                  <a:pt x="109" y="283"/>
                  <a:pt x="109" y="283"/>
                </a:cubicBezTo>
                <a:cubicBezTo>
                  <a:pt x="109" y="283"/>
                  <a:pt x="109" y="283"/>
                  <a:pt x="109" y="283"/>
                </a:cubicBezTo>
                <a:cubicBezTo>
                  <a:pt x="109" y="282"/>
                  <a:pt x="109" y="282"/>
                  <a:pt x="109" y="282"/>
                </a:cubicBezTo>
                <a:cubicBezTo>
                  <a:pt x="109" y="283"/>
                  <a:pt x="109" y="283"/>
                  <a:pt x="109" y="283"/>
                </a:cubicBezTo>
                <a:close/>
                <a:moveTo>
                  <a:pt x="119" y="282"/>
                </a:moveTo>
                <a:cubicBezTo>
                  <a:pt x="120" y="281"/>
                  <a:pt x="120" y="281"/>
                  <a:pt x="120" y="281"/>
                </a:cubicBezTo>
                <a:cubicBezTo>
                  <a:pt x="121" y="281"/>
                  <a:pt x="121" y="281"/>
                  <a:pt x="121" y="281"/>
                </a:cubicBezTo>
                <a:cubicBezTo>
                  <a:pt x="121" y="281"/>
                  <a:pt x="121" y="281"/>
                  <a:pt x="121" y="281"/>
                </a:cubicBezTo>
                <a:cubicBezTo>
                  <a:pt x="120" y="279"/>
                  <a:pt x="120" y="279"/>
                  <a:pt x="120" y="279"/>
                </a:cubicBezTo>
                <a:cubicBezTo>
                  <a:pt x="120" y="279"/>
                  <a:pt x="120" y="279"/>
                  <a:pt x="120" y="279"/>
                </a:cubicBezTo>
                <a:cubicBezTo>
                  <a:pt x="119" y="278"/>
                  <a:pt x="119" y="278"/>
                  <a:pt x="119" y="278"/>
                </a:cubicBezTo>
                <a:cubicBezTo>
                  <a:pt x="119" y="278"/>
                  <a:pt x="119" y="278"/>
                  <a:pt x="119" y="278"/>
                </a:cubicBezTo>
                <a:cubicBezTo>
                  <a:pt x="118" y="279"/>
                  <a:pt x="118" y="279"/>
                  <a:pt x="118" y="279"/>
                </a:cubicBezTo>
                <a:cubicBezTo>
                  <a:pt x="118" y="280"/>
                  <a:pt x="118" y="280"/>
                  <a:pt x="118" y="280"/>
                </a:cubicBezTo>
                <a:cubicBezTo>
                  <a:pt x="117" y="281"/>
                  <a:pt x="117" y="281"/>
                  <a:pt x="117" y="281"/>
                </a:cubicBezTo>
                <a:cubicBezTo>
                  <a:pt x="118" y="281"/>
                  <a:pt x="118" y="281"/>
                  <a:pt x="118" y="281"/>
                </a:cubicBezTo>
                <a:cubicBezTo>
                  <a:pt x="118" y="282"/>
                  <a:pt x="118" y="282"/>
                  <a:pt x="118" y="282"/>
                </a:cubicBezTo>
                <a:cubicBezTo>
                  <a:pt x="119" y="282"/>
                  <a:pt x="119" y="282"/>
                  <a:pt x="119" y="282"/>
                </a:cubicBezTo>
                <a:close/>
                <a:moveTo>
                  <a:pt x="123" y="281"/>
                </a:moveTo>
                <a:cubicBezTo>
                  <a:pt x="123" y="281"/>
                  <a:pt x="123" y="281"/>
                  <a:pt x="123" y="281"/>
                </a:cubicBezTo>
                <a:cubicBezTo>
                  <a:pt x="123" y="280"/>
                  <a:pt x="123" y="280"/>
                  <a:pt x="123" y="280"/>
                </a:cubicBezTo>
                <a:cubicBezTo>
                  <a:pt x="122" y="280"/>
                  <a:pt x="122" y="280"/>
                  <a:pt x="122" y="280"/>
                </a:cubicBezTo>
                <a:cubicBezTo>
                  <a:pt x="122" y="281"/>
                  <a:pt x="122" y="281"/>
                  <a:pt x="122" y="281"/>
                </a:cubicBezTo>
                <a:cubicBezTo>
                  <a:pt x="123" y="282"/>
                  <a:pt x="123" y="282"/>
                  <a:pt x="123" y="282"/>
                </a:cubicBezTo>
                <a:cubicBezTo>
                  <a:pt x="123" y="281"/>
                  <a:pt x="123" y="281"/>
                  <a:pt x="123" y="281"/>
                </a:cubicBezTo>
                <a:close/>
                <a:moveTo>
                  <a:pt x="197" y="240"/>
                </a:moveTo>
                <a:cubicBezTo>
                  <a:pt x="198" y="240"/>
                  <a:pt x="198" y="240"/>
                  <a:pt x="198" y="240"/>
                </a:cubicBezTo>
                <a:cubicBezTo>
                  <a:pt x="198" y="239"/>
                  <a:pt x="198" y="239"/>
                  <a:pt x="198" y="239"/>
                </a:cubicBezTo>
                <a:cubicBezTo>
                  <a:pt x="198" y="239"/>
                  <a:pt x="198" y="239"/>
                  <a:pt x="198" y="239"/>
                </a:cubicBezTo>
                <a:cubicBezTo>
                  <a:pt x="197" y="239"/>
                  <a:pt x="197" y="239"/>
                  <a:pt x="197" y="239"/>
                </a:cubicBezTo>
                <a:cubicBezTo>
                  <a:pt x="197" y="240"/>
                  <a:pt x="197" y="240"/>
                  <a:pt x="197" y="240"/>
                </a:cubicBezTo>
                <a:close/>
                <a:moveTo>
                  <a:pt x="184" y="229"/>
                </a:moveTo>
                <a:cubicBezTo>
                  <a:pt x="185" y="229"/>
                  <a:pt x="185" y="229"/>
                  <a:pt x="185" y="229"/>
                </a:cubicBezTo>
                <a:cubicBezTo>
                  <a:pt x="185" y="229"/>
                  <a:pt x="185" y="229"/>
                  <a:pt x="185" y="229"/>
                </a:cubicBezTo>
                <a:cubicBezTo>
                  <a:pt x="185" y="229"/>
                  <a:pt x="185" y="229"/>
                  <a:pt x="185" y="229"/>
                </a:cubicBezTo>
                <a:cubicBezTo>
                  <a:pt x="184" y="228"/>
                  <a:pt x="184" y="228"/>
                  <a:pt x="184" y="228"/>
                </a:cubicBezTo>
                <a:cubicBezTo>
                  <a:pt x="184" y="228"/>
                  <a:pt x="184" y="229"/>
                  <a:pt x="184" y="229"/>
                </a:cubicBezTo>
                <a:close/>
                <a:moveTo>
                  <a:pt x="178" y="224"/>
                </a:moveTo>
                <a:cubicBezTo>
                  <a:pt x="179" y="224"/>
                  <a:pt x="179" y="224"/>
                  <a:pt x="179" y="224"/>
                </a:cubicBezTo>
                <a:cubicBezTo>
                  <a:pt x="180" y="224"/>
                  <a:pt x="180" y="224"/>
                  <a:pt x="180" y="224"/>
                </a:cubicBezTo>
                <a:cubicBezTo>
                  <a:pt x="180" y="223"/>
                  <a:pt x="180" y="223"/>
                  <a:pt x="180" y="223"/>
                </a:cubicBezTo>
                <a:cubicBezTo>
                  <a:pt x="179" y="223"/>
                  <a:pt x="179" y="223"/>
                  <a:pt x="179" y="223"/>
                </a:cubicBezTo>
                <a:cubicBezTo>
                  <a:pt x="178" y="224"/>
                  <a:pt x="178" y="224"/>
                  <a:pt x="178" y="224"/>
                </a:cubicBezTo>
                <a:close/>
                <a:moveTo>
                  <a:pt x="190" y="221"/>
                </a:moveTo>
                <a:cubicBezTo>
                  <a:pt x="190" y="221"/>
                  <a:pt x="190" y="221"/>
                  <a:pt x="190" y="221"/>
                </a:cubicBezTo>
                <a:cubicBezTo>
                  <a:pt x="190" y="222"/>
                  <a:pt x="190" y="222"/>
                  <a:pt x="190" y="222"/>
                </a:cubicBezTo>
                <a:cubicBezTo>
                  <a:pt x="191" y="222"/>
                  <a:pt x="191" y="222"/>
                  <a:pt x="191" y="222"/>
                </a:cubicBezTo>
                <a:cubicBezTo>
                  <a:pt x="190" y="221"/>
                  <a:pt x="190" y="221"/>
                  <a:pt x="190" y="221"/>
                </a:cubicBezTo>
                <a:cubicBezTo>
                  <a:pt x="190" y="220"/>
                  <a:pt x="190" y="220"/>
                  <a:pt x="190" y="220"/>
                </a:cubicBezTo>
                <a:cubicBezTo>
                  <a:pt x="190" y="221"/>
                  <a:pt x="190" y="221"/>
                  <a:pt x="190" y="221"/>
                </a:cubicBezTo>
                <a:close/>
                <a:moveTo>
                  <a:pt x="197" y="197"/>
                </a:moveTo>
                <a:cubicBezTo>
                  <a:pt x="197" y="198"/>
                  <a:pt x="197" y="198"/>
                  <a:pt x="197" y="198"/>
                </a:cubicBezTo>
                <a:cubicBezTo>
                  <a:pt x="198" y="198"/>
                  <a:pt x="198" y="198"/>
                  <a:pt x="198" y="198"/>
                </a:cubicBezTo>
                <a:cubicBezTo>
                  <a:pt x="198" y="199"/>
                  <a:pt x="198" y="199"/>
                  <a:pt x="198" y="199"/>
                </a:cubicBezTo>
                <a:cubicBezTo>
                  <a:pt x="198" y="201"/>
                  <a:pt x="198" y="201"/>
                  <a:pt x="198" y="201"/>
                </a:cubicBezTo>
                <a:cubicBezTo>
                  <a:pt x="199" y="202"/>
                  <a:pt x="199" y="202"/>
                  <a:pt x="199" y="202"/>
                </a:cubicBezTo>
                <a:cubicBezTo>
                  <a:pt x="201" y="202"/>
                  <a:pt x="201" y="202"/>
                  <a:pt x="201" y="202"/>
                </a:cubicBezTo>
                <a:cubicBezTo>
                  <a:pt x="202" y="204"/>
                  <a:pt x="202" y="204"/>
                  <a:pt x="202" y="204"/>
                </a:cubicBezTo>
                <a:cubicBezTo>
                  <a:pt x="203" y="205"/>
                  <a:pt x="203" y="205"/>
                  <a:pt x="203" y="205"/>
                </a:cubicBezTo>
                <a:cubicBezTo>
                  <a:pt x="204" y="205"/>
                  <a:pt x="204" y="205"/>
                  <a:pt x="204" y="205"/>
                </a:cubicBezTo>
                <a:cubicBezTo>
                  <a:pt x="205" y="206"/>
                  <a:pt x="205" y="206"/>
                  <a:pt x="205" y="206"/>
                </a:cubicBezTo>
                <a:cubicBezTo>
                  <a:pt x="205" y="206"/>
                  <a:pt x="205" y="206"/>
                  <a:pt x="205" y="206"/>
                </a:cubicBezTo>
                <a:cubicBezTo>
                  <a:pt x="206" y="207"/>
                  <a:pt x="206" y="207"/>
                  <a:pt x="206" y="207"/>
                </a:cubicBezTo>
                <a:cubicBezTo>
                  <a:pt x="207" y="206"/>
                  <a:pt x="207" y="206"/>
                  <a:pt x="207" y="206"/>
                </a:cubicBezTo>
                <a:cubicBezTo>
                  <a:pt x="207" y="205"/>
                  <a:pt x="207" y="205"/>
                  <a:pt x="207" y="205"/>
                </a:cubicBezTo>
                <a:cubicBezTo>
                  <a:pt x="207" y="205"/>
                  <a:pt x="207" y="205"/>
                  <a:pt x="207" y="205"/>
                </a:cubicBezTo>
                <a:cubicBezTo>
                  <a:pt x="206" y="204"/>
                  <a:pt x="206" y="204"/>
                  <a:pt x="206" y="204"/>
                </a:cubicBezTo>
                <a:cubicBezTo>
                  <a:pt x="205" y="203"/>
                  <a:pt x="205" y="203"/>
                  <a:pt x="205" y="203"/>
                </a:cubicBezTo>
                <a:cubicBezTo>
                  <a:pt x="205" y="203"/>
                  <a:pt x="205" y="203"/>
                  <a:pt x="205" y="203"/>
                </a:cubicBezTo>
                <a:cubicBezTo>
                  <a:pt x="204" y="202"/>
                  <a:pt x="204" y="202"/>
                  <a:pt x="204" y="202"/>
                </a:cubicBezTo>
                <a:cubicBezTo>
                  <a:pt x="204" y="202"/>
                  <a:pt x="204" y="202"/>
                  <a:pt x="204" y="202"/>
                </a:cubicBezTo>
                <a:cubicBezTo>
                  <a:pt x="205" y="201"/>
                  <a:pt x="205" y="201"/>
                  <a:pt x="205" y="201"/>
                </a:cubicBezTo>
                <a:cubicBezTo>
                  <a:pt x="205" y="202"/>
                  <a:pt x="205" y="202"/>
                  <a:pt x="205" y="202"/>
                </a:cubicBezTo>
                <a:cubicBezTo>
                  <a:pt x="206" y="202"/>
                  <a:pt x="206" y="202"/>
                  <a:pt x="206" y="202"/>
                </a:cubicBezTo>
                <a:cubicBezTo>
                  <a:pt x="208" y="203"/>
                  <a:pt x="208" y="203"/>
                  <a:pt x="208" y="203"/>
                </a:cubicBezTo>
                <a:cubicBezTo>
                  <a:pt x="208" y="203"/>
                  <a:pt x="208" y="203"/>
                  <a:pt x="208" y="203"/>
                </a:cubicBezTo>
                <a:cubicBezTo>
                  <a:pt x="208" y="203"/>
                  <a:pt x="208" y="203"/>
                  <a:pt x="208" y="203"/>
                </a:cubicBezTo>
                <a:cubicBezTo>
                  <a:pt x="208" y="201"/>
                  <a:pt x="208" y="201"/>
                  <a:pt x="208" y="201"/>
                </a:cubicBezTo>
                <a:cubicBezTo>
                  <a:pt x="205" y="200"/>
                  <a:pt x="205" y="200"/>
                  <a:pt x="205" y="200"/>
                </a:cubicBezTo>
                <a:cubicBezTo>
                  <a:pt x="204" y="198"/>
                  <a:pt x="204" y="198"/>
                  <a:pt x="204" y="198"/>
                </a:cubicBezTo>
                <a:cubicBezTo>
                  <a:pt x="203" y="198"/>
                  <a:pt x="203" y="198"/>
                  <a:pt x="203" y="198"/>
                </a:cubicBezTo>
                <a:cubicBezTo>
                  <a:pt x="202" y="198"/>
                  <a:pt x="202" y="198"/>
                  <a:pt x="202" y="198"/>
                </a:cubicBezTo>
                <a:cubicBezTo>
                  <a:pt x="201" y="197"/>
                  <a:pt x="201" y="197"/>
                  <a:pt x="201" y="197"/>
                </a:cubicBezTo>
                <a:cubicBezTo>
                  <a:pt x="200" y="197"/>
                  <a:pt x="200" y="197"/>
                  <a:pt x="200" y="197"/>
                </a:cubicBezTo>
                <a:cubicBezTo>
                  <a:pt x="199" y="197"/>
                  <a:pt x="199" y="197"/>
                  <a:pt x="199" y="197"/>
                </a:cubicBezTo>
                <a:cubicBezTo>
                  <a:pt x="198" y="196"/>
                  <a:pt x="198" y="196"/>
                  <a:pt x="198" y="196"/>
                </a:cubicBezTo>
                <a:cubicBezTo>
                  <a:pt x="197" y="197"/>
                  <a:pt x="197" y="197"/>
                  <a:pt x="197" y="197"/>
                </a:cubicBezTo>
                <a:close/>
                <a:moveTo>
                  <a:pt x="194" y="198"/>
                </a:moveTo>
                <a:cubicBezTo>
                  <a:pt x="195" y="197"/>
                  <a:pt x="195" y="197"/>
                  <a:pt x="195" y="197"/>
                </a:cubicBezTo>
                <a:cubicBezTo>
                  <a:pt x="195" y="196"/>
                  <a:pt x="195" y="196"/>
                  <a:pt x="195" y="196"/>
                </a:cubicBezTo>
                <a:cubicBezTo>
                  <a:pt x="196" y="196"/>
                  <a:pt x="196" y="196"/>
                  <a:pt x="196" y="196"/>
                </a:cubicBezTo>
                <a:cubicBezTo>
                  <a:pt x="194" y="196"/>
                  <a:pt x="194" y="196"/>
                  <a:pt x="194" y="196"/>
                </a:cubicBezTo>
                <a:cubicBezTo>
                  <a:pt x="194" y="197"/>
                  <a:pt x="194" y="197"/>
                  <a:pt x="194" y="197"/>
                </a:cubicBezTo>
                <a:cubicBezTo>
                  <a:pt x="194" y="198"/>
                  <a:pt x="194" y="198"/>
                  <a:pt x="194" y="198"/>
                </a:cubicBezTo>
                <a:close/>
                <a:moveTo>
                  <a:pt x="197" y="195"/>
                </a:moveTo>
                <a:cubicBezTo>
                  <a:pt x="198" y="196"/>
                  <a:pt x="198" y="196"/>
                  <a:pt x="198" y="196"/>
                </a:cubicBezTo>
                <a:cubicBezTo>
                  <a:pt x="200" y="196"/>
                  <a:pt x="200" y="196"/>
                  <a:pt x="200" y="196"/>
                </a:cubicBezTo>
                <a:cubicBezTo>
                  <a:pt x="201" y="197"/>
                  <a:pt x="201" y="197"/>
                  <a:pt x="201" y="197"/>
                </a:cubicBezTo>
                <a:cubicBezTo>
                  <a:pt x="203" y="197"/>
                  <a:pt x="203" y="197"/>
                  <a:pt x="203" y="197"/>
                </a:cubicBezTo>
                <a:cubicBezTo>
                  <a:pt x="204" y="198"/>
                  <a:pt x="204" y="198"/>
                  <a:pt x="204" y="198"/>
                </a:cubicBezTo>
                <a:cubicBezTo>
                  <a:pt x="205" y="198"/>
                  <a:pt x="205" y="198"/>
                  <a:pt x="205" y="198"/>
                </a:cubicBezTo>
                <a:cubicBezTo>
                  <a:pt x="206" y="198"/>
                  <a:pt x="206" y="198"/>
                  <a:pt x="206" y="198"/>
                </a:cubicBezTo>
                <a:cubicBezTo>
                  <a:pt x="206" y="199"/>
                  <a:pt x="206" y="199"/>
                  <a:pt x="206" y="199"/>
                </a:cubicBezTo>
                <a:cubicBezTo>
                  <a:pt x="206" y="199"/>
                  <a:pt x="206" y="199"/>
                  <a:pt x="206" y="199"/>
                </a:cubicBezTo>
                <a:cubicBezTo>
                  <a:pt x="207" y="199"/>
                  <a:pt x="207" y="199"/>
                  <a:pt x="207" y="199"/>
                </a:cubicBezTo>
                <a:cubicBezTo>
                  <a:pt x="208" y="199"/>
                  <a:pt x="208" y="199"/>
                  <a:pt x="208" y="199"/>
                </a:cubicBezTo>
                <a:cubicBezTo>
                  <a:pt x="209" y="199"/>
                  <a:pt x="209" y="199"/>
                  <a:pt x="209" y="199"/>
                </a:cubicBezTo>
                <a:cubicBezTo>
                  <a:pt x="209" y="198"/>
                  <a:pt x="209" y="198"/>
                  <a:pt x="209" y="198"/>
                </a:cubicBezTo>
                <a:cubicBezTo>
                  <a:pt x="209" y="198"/>
                  <a:pt x="209" y="198"/>
                  <a:pt x="209" y="198"/>
                </a:cubicBezTo>
                <a:cubicBezTo>
                  <a:pt x="209" y="197"/>
                  <a:pt x="209" y="197"/>
                  <a:pt x="209" y="197"/>
                </a:cubicBezTo>
                <a:cubicBezTo>
                  <a:pt x="210" y="197"/>
                  <a:pt x="210" y="197"/>
                  <a:pt x="210" y="197"/>
                </a:cubicBezTo>
                <a:cubicBezTo>
                  <a:pt x="208" y="196"/>
                  <a:pt x="208" y="196"/>
                  <a:pt x="208" y="196"/>
                </a:cubicBezTo>
                <a:cubicBezTo>
                  <a:pt x="207" y="195"/>
                  <a:pt x="207" y="195"/>
                  <a:pt x="207" y="195"/>
                </a:cubicBezTo>
                <a:cubicBezTo>
                  <a:pt x="205" y="194"/>
                  <a:pt x="205" y="194"/>
                  <a:pt x="205" y="194"/>
                </a:cubicBezTo>
                <a:cubicBezTo>
                  <a:pt x="204" y="194"/>
                  <a:pt x="204" y="194"/>
                  <a:pt x="204" y="194"/>
                </a:cubicBezTo>
                <a:cubicBezTo>
                  <a:pt x="202" y="195"/>
                  <a:pt x="202" y="195"/>
                  <a:pt x="202" y="195"/>
                </a:cubicBezTo>
                <a:cubicBezTo>
                  <a:pt x="201" y="195"/>
                  <a:pt x="201" y="195"/>
                  <a:pt x="201" y="195"/>
                </a:cubicBezTo>
                <a:cubicBezTo>
                  <a:pt x="199" y="195"/>
                  <a:pt x="199" y="195"/>
                  <a:pt x="199" y="195"/>
                </a:cubicBezTo>
                <a:cubicBezTo>
                  <a:pt x="198" y="195"/>
                  <a:pt x="198" y="195"/>
                  <a:pt x="198" y="195"/>
                </a:cubicBezTo>
                <a:cubicBezTo>
                  <a:pt x="198" y="195"/>
                  <a:pt x="197" y="195"/>
                  <a:pt x="197" y="195"/>
                </a:cubicBezTo>
                <a:close/>
                <a:moveTo>
                  <a:pt x="192" y="191"/>
                </a:moveTo>
                <a:cubicBezTo>
                  <a:pt x="193" y="192"/>
                  <a:pt x="193" y="192"/>
                  <a:pt x="193" y="192"/>
                </a:cubicBezTo>
                <a:cubicBezTo>
                  <a:pt x="195" y="192"/>
                  <a:pt x="195" y="192"/>
                  <a:pt x="195" y="192"/>
                </a:cubicBezTo>
                <a:cubicBezTo>
                  <a:pt x="196" y="193"/>
                  <a:pt x="196" y="193"/>
                  <a:pt x="196" y="193"/>
                </a:cubicBezTo>
                <a:cubicBezTo>
                  <a:pt x="198" y="194"/>
                  <a:pt x="198" y="194"/>
                  <a:pt x="198" y="194"/>
                </a:cubicBezTo>
                <a:cubicBezTo>
                  <a:pt x="200" y="194"/>
                  <a:pt x="200" y="194"/>
                  <a:pt x="200" y="194"/>
                </a:cubicBezTo>
                <a:cubicBezTo>
                  <a:pt x="204" y="194"/>
                  <a:pt x="204" y="194"/>
                  <a:pt x="204" y="194"/>
                </a:cubicBezTo>
                <a:cubicBezTo>
                  <a:pt x="205" y="194"/>
                  <a:pt x="205" y="194"/>
                  <a:pt x="205" y="194"/>
                </a:cubicBezTo>
                <a:cubicBezTo>
                  <a:pt x="205" y="193"/>
                  <a:pt x="205" y="193"/>
                  <a:pt x="205" y="193"/>
                </a:cubicBezTo>
                <a:cubicBezTo>
                  <a:pt x="204" y="193"/>
                  <a:pt x="204" y="193"/>
                  <a:pt x="204" y="193"/>
                </a:cubicBezTo>
                <a:cubicBezTo>
                  <a:pt x="201" y="193"/>
                  <a:pt x="201" y="193"/>
                  <a:pt x="201" y="193"/>
                </a:cubicBezTo>
                <a:cubicBezTo>
                  <a:pt x="200" y="193"/>
                  <a:pt x="200" y="193"/>
                  <a:pt x="200" y="193"/>
                </a:cubicBezTo>
                <a:cubicBezTo>
                  <a:pt x="198" y="192"/>
                  <a:pt x="198" y="192"/>
                  <a:pt x="198" y="192"/>
                </a:cubicBezTo>
                <a:cubicBezTo>
                  <a:pt x="197" y="191"/>
                  <a:pt x="197" y="191"/>
                  <a:pt x="197" y="191"/>
                </a:cubicBezTo>
                <a:cubicBezTo>
                  <a:pt x="196" y="191"/>
                  <a:pt x="196" y="191"/>
                  <a:pt x="196" y="191"/>
                </a:cubicBezTo>
                <a:cubicBezTo>
                  <a:pt x="197" y="190"/>
                  <a:pt x="197" y="190"/>
                  <a:pt x="197" y="190"/>
                </a:cubicBezTo>
                <a:cubicBezTo>
                  <a:pt x="198" y="190"/>
                  <a:pt x="198" y="190"/>
                  <a:pt x="198" y="190"/>
                </a:cubicBezTo>
                <a:cubicBezTo>
                  <a:pt x="200" y="192"/>
                  <a:pt x="200" y="192"/>
                  <a:pt x="200" y="192"/>
                </a:cubicBezTo>
                <a:cubicBezTo>
                  <a:pt x="202" y="192"/>
                  <a:pt x="202" y="192"/>
                  <a:pt x="202" y="192"/>
                </a:cubicBezTo>
                <a:cubicBezTo>
                  <a:pt x="203" y="192"/>
                  <a:pt x="203" y="192"/>
                  <a:pt x="203" y="192"/>
                </a:cubicBezTo>
                <a:cubicBezTo>
                  <a:pt x="202" y="191"/>
                  <a:pt x="202" y="191"/>
                  <a:pt x="202" y="191"/>
                </a:cubicBezTo>
                <a:cubicBezTo>
                  <a:pt x="199" y="189"/>
                  <a:pt x="199" y="189"/>
                  <a:pt x="199" y="189"/>
                </a:cubicBezTo>
                <a:cubicBezTo>
                  <a:pt x="196" y="189"/>
                  <a:pt x="196" y="189"/>
                  <a:pt x="196" y="189"/>
                </a:cubicBezTo>
                <a:cubicBezTo>
                  <a:pt x="195" y="189"/>
                  <a:pt x="195" y="189"/>
                  <a:pt x="195" y="189"/>
                </a:cubicBezTo>
                <a:cubicBezTo>
                  <a:pt x="195" y="190"/>
                  <a:pt x="195" y="190"/>
                  <a:pt x="195" y="190"/>
                </a:cubicBezTo>
                <a:cubicBezTo>
                  <a:pt x="193" y="190"/>
                  <a:pt x="193" y="190"/>
                  <a:pt x="193" y="190"/>
                </a:cubicBezTo>
                <a:cubicBezTo>
                  <a:pt x="192" y="191"/>
                  <a:pt x="192" y="191"/>
                  <a:pt x="192" y="191"/>
                </a:cubicBezTo>
                <a:close/>
                <a:moveTo>
                  <a:pt x="211" y="194"/>
                </a:moveTo>
                <a:cubicBezTo>
                  <a:pt x="212" y="194"/>
                  <a:pt x="212" y="194"/>
                  <a:pt x="212" y="194"/>
                </a:cubicBezTo>
                <a:cubicBezTo>
                  <a:pt x="213" y="194"/>
                  <a:pt x="213" y="194"/>
                  <a:pt x="213" y="194"/>
                </a:cubicBezTo>
                <a:cubicBezTo>
                  <a:pt x="213" y="193"/>
                  <a:pt x="213" y="193"/>
                  <a:pt x="213" y="193"/>
                </a:cubicBezTo>
                <a:cubicBezTo>
                  <a:pt x="212" y="194"/>
                  <a:pt x="212" y="194"/>
                  <a:pt x="212" y="194"/>
                </a:cubicBezTo>
                <a:cubicBezTo>
                  <a:pt x="211" y="194"/>
                  <a:pt x="211" y="194"/>
                  <a:pt x="211" y="194"/>
                </a:cubicBezTo>
                <a:close/>
                <a:moveTo>
                  <a:pt x="213" y="175"/>
                </a:moveTo>
                <a:cubicBezTo>
                  <a:pt x="212" y="177"/>
                  <a:pt x="212" y="177"/>
                  <a:pt x="212" y="177"/>
                </a:cubicBezTo>
                <a:cubicBezTo>
                  <a:pt x="212" y="178"/>
                  <a:pt x="212" y="178"/>
                  <a:pt x="212" y="178"/>
                </a:cubicBezTo>
                <a:cubicBezTo>
                  <a:pt x="212" y="179"/>
                  <a:pt x="212" y="179"/>
                  <a:pt x="212" y="179"/>
                </a:cubicBezTo>
                <a:cubicBezTo>
                  <a:pt x="213" y="179"/>
                  <a:pt x="213" y="179"/>
                  <a:pt x="213" y="179"/>
                </a:cubicBezTo>
                <a:cubicBezTo>
                  <a:pt x="215" y="180"/>
                  <a:pt x="215" y="180"/>
                  <a:pt x="215" y="180"/>
                </a:cubicBezTo>
                <a:cubicBezTo>
                  <a:pt x="215" y="180"/>
                  <a:pt x="215" y="180"/>
                  <a:pt x="215" y="180"/>
                </a:cubicBezTo>
                <a:cubicBezTo>
                  <a:pt x="217" y="180"/>
                  <a:pt x="217" y="180"/>
                  <a:pt x="217" y="180"/>
                </a:cubicBezTo>
                <a:cubicBezTo>
                  <a:pt x="218" y="180"/>
                  <a:pt x="218" y="180"/>
                  <a:pt x="218" y="180"/>
                </a:cubicBezTo>
                <a:cubicBezTo>
                  <a:pt x="218" y="178"/>
                  <a:pt x="218" y="178"/>
                  <a:pt x="218" y="178"/>
                </a:cubicBezTo>
                <a:cubicBezTo>
                  <a:pt x="219" y="178"/>
                  <a:pt x="219" y="178"/>
                  <a:pt x="219" y="178"/>
                </a:cubicBezTo>
                <a:cubicBezTo>
                  <a:pt x="218" y="176"/>
                  <a:pt x="218" y="176"/>
                  <a:pt x="218" y="176"/>
                </a:cubicBezTo>
                <a:cubicBezTo>
                  <a:pt x="216" y="175"/>
                  <a:pt x="216" y="175"/>
                  <a:pt x="216" y="175"/>
                </a:cubicBezTo>
                <a:cubicBezTo>
                  <a:pt x="214" y="175"/>
                  <a:pt x="214" y="175"/>
                  <a:pt x="214" y="175"/>
                </a:cubicBezTo>
                <a:cubicBezTo>
                  <a:pt x="213" y="175"/>
                  <a:pt x="213" y="175"/>
                  <a:pt x="213" y="175"/>
                </a:cubicBezTo>
                <a:close/>
                <a:moveTo>
                  <a:pt x="224" y="174"/>
                </a:moveTo>
                <a:cubicBezTo>
                  <a:pt x="225" y="174"/>
                  <a:pt x="225" y="174"/>
                  <a:pt x="225" y="174"/>
                </a:cubicBezTo>
                <a:cubicBezTo>
                  <a:pt x="226" y="173"/>
                  <a:pt x="226" y="173"/>
                  <a:pt x="226" y="173"/>
                </a:cubicBezTo>
                <a:cubicBezTo>
                  <a:pt x="226" y="173"/>
                  <a:pt x="226" y="173"/>
                  <a:pt x="226" y="173"/>
                </a:cubicBezTo>
                <a:cubicBezTo>
                  <a:pt x="225" y="173"/>
                  <a:pt x="225" y="173"/>
                  <a:pt x="225" y="173"/>
                </a:cubicBezTo>
                <a:cubicBezTo>
                  <a:pt x="224" y="173"/>
                  <a:pt x="224" y="173"/>
                  <a:pt x="224" y="173"/>
                </a:cubicBezTo>
                <a:cubicBezTo>
                  <a:pt x="224" y="174"/>
                  <a:pt x="224" y="174"/>
                  <a:pt x="224" y="174"/>
                </a:cubicBezTo>
                <a:close/>
                <a:moveTo>
                  <a:pt x="219" y="167"/>
                </a:moveTo>
                <a:cubicBezTo>
                  <a:pt x="219" y="168"/>
                  <a:pt x="219" y="168"/>
                  <a:pt x="219" y="168"/>
                </a:cubicBezTo>
                <a:cubicBezTo>
                  <a:pt x="219" y="170"/>
                  <a:pt x="219" y="170"/>
                  <a:pt x="219" y="170"/>
                </a:cubicBezTo>
                <a:cubicBezTo>
                  <a:pt x="219" y="171"/>
                  <a:pt x="219" y="171"/>
                  <a:pt x="219" y="171"/>
                </a:cubicBezTo>
                <a:cubicBezTo>
                  <a:pt x="220" y="171"/>
                  <a:pt x="220" y="171"/>
                  <a:pt x="220" y="171"/>
                </a:cubicBezTo>
                <a:cubicBezTo>
                  <a:pt x="221" y="171"/>
                  <a:pt x="221" y="171"/>
                  <a:pt x="221" y="171"/>
                </a:cubicBezTo>
                <a:cubicBezTo>
                  <a:pt x="221" y="170"/>
                  <a:pt x="221" y="170"/>
                  <a:pt x="221" y="170"/>
                </a:cubicBezTo>
                <a:cubicBezTo>
                  <a:pt x="221" y="169"/>
                  <a:pt x="221" y="169"/>
                  <a:pt x="221" y="169"/>
                </a:cubicBezTo>
                <a:cubicBezTo>
                  <a:pt x="221" y="168"/>
                  <a:pt x="221" y="168"/>
                  <a:pt x="221" y="168"/>
                </a:cubicBezTo>
                <a:cubicBezTo>
                  <a:pt x="220" y="167"/>
                  <a:pt x="220" y="167"/>
                  <a:pt x="220" y="167"/>
                </a:cubicBezTo>
                <a:cubicBezTo>
                  <a:pt x="219" y="167"/>
                  <a:pt x="219" y="167"/>
                  <a:pt x="219" y="167"/>
                </a:cubicBezTo>
                <a:close/>
                <a:moveTo>
                  <a:pt x="227" y="162"/>
                </a:moveTo>
                <a:cubicBezTo>
                  <a:pt x="227" y="165"/>
                  <a:pt x="227" y="165"/>
                  <a:pt x="227" y="165"/>
                </a:cubicBezTo>
                <a:cubicBezTo>
                  <a:pt x="226" y="166"/>
                  <a:pt x="226" y="166"/>
                  <a:pt x="226" y="166"/>
                </a:cubicBezTo>
                <a:cubicBezTo>
                  <a:pt x="227" y="167"/>
                  <a:pt x="227" y="167"/>
                  <a:pt x="227" y="167"/>
                </a:cubicBezTo>
                <a:cubicBezTo>
                  <a:pt x="228" y="168"/>
                  <a:pt x="228" y="168"/>
                  <a:pt x="228" y="168"/>
                </a:cubicBezTo>
                <a:cubicBezTo>
                  <a:pt x="229" y="168"/>
                  <a:pt x="229" y="168"/>
                  <a:pt x="229" y="168"/>
                </a:cubicBezTo>
                <a:cubicBezTo>
                  <a:pt x="230" y="168"/>
                  <a:pt x="230" y="168"/>
                  <a:pt x="230" y="168"/>
                </a:cubicBezTo>
                <a:cubicBezTo>
                  <a:pt x="231" y="168"/>
                  <a:pt x="231" y="168"/>
                  <a:pt x="231" y="168"/>
                </a:cubicBezTo>
                <a:cubicBezTo>
                  <a:pt x="231" y="169"/>
                  <a:pt x="231" y="169"/>
                  <a:pt x="231" y="169"/>
                </a:cubicBezTo>
                <a:cubicBezTo>
                  <a:pt x="232" y="169"/>
                  <a:pt x="232" y="169"/>
                  <a:pt x="232" y="169"/>
                </a:cubicBezTo>
                <a:cubicBezTo>
                  <a:pt x="233" y="168"/>
                  <a:pt x="233" y="168"/>
                  <a:pt x="233" y="168"/>
                </a:cubicBezTo>
                <a:cubicBezTo>
                  <a:pt x="233" y="167"/>
                  <a:pt x="233" y="167"/>
                  <a:pt x="233" y="167"/>
                </a:cubicBezTo>
                <a:cubicBezTo>
                  <a:pt x="233" y="166"/>
                  <a:pt x="233" y="166"/>
                  <a:pt x="233" y="166"/>
                </a:cubicBezTo>
                <a:cubicBezTo>
                  <a:pt x="232" y="165"/>
                  <a:pt x="232" y="165"/>
                  <a:pt x="232" y="165"/>
                </a:cubicBezTo>
                <a:cubicBezTo>
                  <a:pt x="232" y="166"/>
                  <a:pt x="232" y="166"/>
                  <a:pt x="232" y="166"/>
                </a:cubicBezTo>
                <a:cubicBezTo>
                  <a:pt x="232" y="167"/>
                  <a:pt x="232" y="167"/>
                  <a:pt x="232" y="167"/>
                </a:cubicBezTo>
                <a:cubicBezTo>
                  <a:pt x="231" y="166"/>
                  <a:pt x="231" y="166"/>
                  <a:pt x="231" y="166"/>
                </a:cubicBezTo>
                <a:cubicBezTo>
                  <a:pt x="231" y="165"/>
                  <a:pt x="231" y="165"/>
                  <a:pt x="231" y="165"/>
                </a:cubicBezTo>
                <a:cubicBezTo>
                  <a:pt x="231" y="164"/>
                  <a:pt x="231" y="164"/>
                  <a:pt x="231" y="164"/>
                </a:cubicBezTo>
                <a:cubicBezTo>
                  <a:pt x="230" y="163"/>
                  <a:pt x="230" y="163"/>
                  <a:pt x="230" y="163"/>
                </a:cubicBezTo>
                <a:cubicBezTo>
                  <a:pt x="230" y="163"/>
                  <a:pt x="230" y="163"/>
                  <a:pt x="230" y="163"/>
                </a:cubicBezTo>
                <a:cubicBezTo>
                  <a:pt x="231" y="163"/>
                  <a:pt x="231" y="163"/>
                  <a:pt x="231" y="163"/>
                </a:cubicBezTo>
                <a:cubicBezTo>
                  <a:pt x="231" y="162"/>
                  <a:pt x="231" y="162"/>
                  <a:pt x="231" y="162"/>
                </a:cubicBezTo>
                <a:cubicBezTo>
                  <a:pt x="230" y="161"/>
                  <a:pt x="230" y="161"/>
                  <a:pt x="230" y="161"/>
                </a:cubicBezTo>
                <a:cubicBezTo>
                  <a:pt x="229" y="162"/>
                  <a:pt x="229" y="162"/>
                  <a:pt x="229" y="162"/>
                </a:cubicBezTo>
                <a:cubicBezTo>
                  <a:pt x="228" y="162"/>
                  <a:pt x="228" y="162"/>
                  <a:pt x="228" y="162"/>
                </a:cubicBezTo>
                <a:cubicBezTo>
                  <a:pt x="228" y="162"/>
                  <a:pt x="228" y="162"/>
                  <a:pt x="228" y="162"/>
                </a:cubicBezTo>
                <a:cubicBezTo>
                  <a:pt x="227" y="162"/>
                  <a:pt x="227" y="162"/>
                  <a:pt x="227" y="162"/>
                </a:cubicBezTo>
                <a:close/>
                <a:moveTo>
                  <a:pt x="228" y="142"/>
                </a:moveTo>
                <a:cubicBezTo>
                  <a:pt x="227" y="143"/>
                  <a:pt x="227" y="143"/>
                  <a:pt x="227" y="143"/>
                </a:cubicBezTo>
                <a:cubicBezTo>
                  <a:pt x="228" y="144"/>
                  <a:pt x="228" y="144"/>
                  <a:pt x="228" y="144"/>
                </a:cubicBezTo>
                <a:cubicBezTo>
                  <a:pt x="228" y="144"/>
                  <a:pt x="228" y="144"/>
                  <a:pt x="228" y="144"/>
                </a:cubicBezTo>
                <a:cubicBezTo>
                  <a:pt x="228" y="145"/>
                  <a:pt x="228" y="145"/>
                  <a:pt x="228" y="145"/>
                </a:cubicBezTo>
                <a:cubicBezTo>
                  <a:pt x="228" y="146"/>
                  <a:pt x="228" y="146"/>
                  <a:pt x="228" y="146"/>
                </a:cubicBezTo>
                <a:cubicBezTo>
                  <a:pt x="228" y="147"/>
                  <a:pt x="228" y="147"/>
                  <a:pt x="228" y="147"/>
                </a:cubicBezTo>
                <a:cubicBezTo>
                  <a:pt x="229" y="149"/>
                  <a:pt x="229" y="149"/>
                  <a:pt x="229" y="149"/>
                </a:cubicBezTo>
                <a:cubicBezTo>
                  <a:pt x="229" y="151"/>
                  <a:pt x="229" y="151"/>
                  <a:pt x="229" y="151"/>
                </a:cubicBezTo>
                <a:cubicBezTo>
                  <a:pt x="228" y="152"/>
                  <a:pt x="228" y="152"/>
                  <a:pt x="228" y="152"/>
                </a:cubicBezTo>
                <a:cubicBezTo>
                  <a:pt x="228" y="153"/>
                  <a:pt x="228" y="153"/>
                  <a:pt x="228" y="153"/>
                </a:cubicBezTo>
                <a:cubicBezTo>
                  <a:pt x="229" y="154"/>
                  <a:pt x="229" y="154"/>
                  <a:pt x="229" y="154"/>
                </a:cubicBezTo>
                <a:cubicBezTo>
                  <a:pt x="229" y="153"/>
                  <a:pt x="229" y="153"/>
                  <a:pt x="229" y="153"/>
                </a:cubicBezTo>
                <a:cubicBezTo>
                  <a:pt x="229" y="152"/>
                  <a:pt x="229" y="152"/>
                  <a:pt x="229" y="152"/>
                </a:cubicBezTo>
                <a:cubicBezTo>
                  <a:pt x="230" y="151"/>
                  <a:pt x="230" y="151"/>
                  <a:pt x="230" y="151"/>
                </a:cubicBezTo>
                <a:cubicBezTo>
                  <a:pt x="230" y="149"/>
                  <a:pt x="230" y="149"/>
                  <a:pt x="230" y="149"/>
                </a:cubicBezTo>
                <a:cubicBezTo>
                  <a:pt x="229" y="148"/>
                  <a:pt x="229" y="148"/>
                  <a:pt x="229" y="148"/>
                </a:cubicBezTo>
                <a:cubicBezTo>
                  <a:pt x="229" y="145"/>
                  <a:pt x="229" y="145"/>
                  <a:pt x="229" y="145"/>
                </a:cubicBezTo>
                <a:cubicBezTo>
                  <a:pt x="229" y="144"/>
                  <a:pt x="229" y="144"/>
                  <a:pt x="229" y="144"/>
                </a:cubicBezTo>
                <a:cubicBezTo>
                  <a:pt x="229" y="143"/>
                  <a:pt x="229" y="143"/>
                  <a:pt x="229" y="143"/>
                </a:cubicBezTo>
                <a:cubicBezTo>
                  <a:pt x="228" y="142"/>
                  <a:pt x="228" y="142"/>
                  <a:pt x="228" y="142"/>
                </a:cubicBezTo>
                <a:close/>
                <a:moveTo>
                  <a:pt x="219" y="146"/>
                </a:moveTo>
                <a:cubicBezTo>
                  <a:pt x="219" y="146"/>
                  <a:pt x="219" y="146"/>
                  <a:pt x="219" y="146"/>
                </a:cubicBezTo>
                <a:cubicBezTo>
                  <a:pt x="219" y="147"/>
                  <a:pt x="219" y="147"/>
                  <a:pt x="219" y="147"/>
                </a:cubicBezTo>
                <a:cubicBezTo>
                  <a:pt x="220" y="147"/>
                  <a:pt x="220" y="147"/>
                  <a:pt x="220" y="147"/>
                </a:cubicBezTo>
                <a:cubicBezTo>
                  <a:pt x="221" y="146"/>
                  <a:pt x="221" y="146"/>
                  <a:pt x="221" y="146"/>
                </a:cubicBezTo>
                <a:cubicBezTo>
                  <a:pt x="221" y="145"/>
                  <a:pt x="221" y="145"/>
                  <a:pt x="221" y="145"/>
                </a:cubicBezTo>
                <a:cubicBezTo>
                  <a:pt x="219" y="145"/>
                  <a:pt x="219" y="145"/>
                  <a:pt x="219" y="145"/>
                </a:cubicBezTo>
                <a:cubicBezTo>
                  <a:pt x="219" y="146"/>
                  <a:pt x="219" y="146"/>
                  <a:pt x="219" y="146"/>
                </a:cubicBezTo>
                <a:close/>
                <a:moveTo>
                  <a:pt x="217" y="143"/>
                </a:moveTo>
                <a:cubicBezTo>
                  <a:pt x="218" y="144"/>
                  <a:pt x="218" y="144"/>
                  <a:pt x="218" y="144"/>
                </a:cubicBezTo>
                <a:cubicBezTo>
                  <a:pt x="219" y="144"/>
                  <a:pt x="219" y="144"/>
                  <a:pt x="219" y="144"/>
                </a:cubicBezTo>
                <a:cubicBezTo>
                  <a:pt x="218" y="143"/>
                  <a:pt x="218" y="143"/>
                  <a:pt x="218" y="143"/>
                </a:cubicBezTo>
                <a:cubicBezTo>
                  <a:pt x="218" y="143"/>
                  <a:pt x="218" y="143"/>
                  <a:pt x="218" y="143"/>
                </a:cubicBezTo>
                <a:cubicBezTo>
                  <a:pt x="217" y="143"/>
                  <a:pt x="217" y="143"/>
                  <a:pt x="217" y="143"/>
                </a:cubicBezTo>
                <a:close/>
                <a:moveTo>
                  <a:pt x="226" y="123"/>
                </a:moveTo>
                <a:cubicBezTo>
                  <a:pt x="227" y="124"/>
                  <a:pt x="227" y="124"/>
                  <a:pt x="227" y="124"/>
                </a:cubicBezTo>
                <a:cubicBezTo>
                  <a:pt x="227" y="125"/>
                  <a:pt x="227" y="125"/>
                  <a:pt x="227" y="125"/>
                </a:cubicBezTo>
                <a:cubicBezTo>
                  <a:pt x="228" y="125"/>
                  <a:pt x="228" y="125"/>
                  <a:pt x="228" y="125"/>
                </a:cubicBezTo>
                <a:cubicBezTo>
                  <a:pt x="228" y="124"/>
                  <a:pt x="228" y="124"/>
                  <a:pt x="228" y="124"/>
                </a:cubicBezTo>
                <a:cubicBezTo>
                  <a:pt x="227" y="124"/>
                  <a:pt x="227" y="124"/>
                  <a:pt x="227" y="124"/>
                </a:cubicBezTo>
                <a:cubicBezTo>
                  <a:pt x="226" y="123"/>
                  <a:pt x="226" y="123"/>
                  <a:pt x="226" y="123"/>
                </a:cubicBezTo>
                <a:cubicBezTo>
                  <a:pt x="226" y="122"/>
                  <a:pt x="226" y="122"/>
                  <a:pt x="226" y="122"/>
                </a:cubicBezTo>
                <a:cubicBezTo>
                  <a:pt x="226" y="123"/>
                  <a:pt x="226" y="123"/>
                  <a:pt x="226" y="123"/>
                </a:cubicBezTo>
                <a:close/>
                <a:moveTo>
                  <a:pt x="234" y="128"/>
                </a:moveTo>
                <a:cubicBezTo>
                  <a:pt x="234" y="128"/>
                  <a:pt x="234" y="128"/>
                  <a:pt x="234" y="128"/>
                </a:cubicBezTo>
                <a:cubicBezTo>
                  <a:pt x="235" y="128"/>
                  <a:pt x="235" y="128"/>
                  <a:pt x="235" y="128"/>
                </a:cubicBezTo>
                <a:cubicBezTo>
                  <a:pt x="235" y="128"/>
                  <a:pt x="235" y="128"/>
                  <a:pt x="235" y="128"/>
                </a:cubicBezTo>
                <a:cubicBezTo>
                  <a:pt x="235" y="127"/>
                  <a:pt x="235" y="127"/>
                  <a:pt x="235" y="127"/>
                </a:cubicBezTo>
                <a:cubicBezTo>
                  <a:pt x="235" y="126"/>
                  <a:pt x="235" y="126"/>
                  <a:pt x="235" y="126"/>
                </a:cubicBezTo>
                <a:cubicBezTo>
                  <a:pt x="236" y="125"/>
                  <a:pt x="236" y="125"/>
                  <a:pt x="236" y="125"/>
                </a:cubicBezTo>
                <a:cubicBezTo>
                  <a:pt x="236" y="124"/>
                  <a:pt x="236" y="124"/>
                  <a:pt x="236" y="124"/>
                </a:cubicBezTo>
                <a:cubicBezTo>
                  <a:pt x="234" y="125"/>
                  <a:pt x="234" y="125"/>
                  <a:pt x="234" y="125"/>
                </a:cubicBezTo>
                <a:cubicBezTo>
                  <a:pt x="234" y="127"/>
                  <a:pt x="234" y="127"/>
                  <a:pt x="234" y="127"/>
                </a:cubicBezTo>
                <a:cubicBezTo>
                  <a:pt x="234" y="128"/>
                  <a:pt x="234" y="128"/>
                  <a:pt x="234" y="128"/>
                </a:cubicBezTo>
                <a:close/>
                <a:moveTo>
                  <a:pt x="230" y="120"/>
                </a:moveTo>
                <a:cubicBezTo>
                  <a:pt x="230" y="121"/>
                  <a:pt x="230" y="121"/>
                  <a:pt x="230" y="121"/>
                </a:cubicBezTo>
                <a:cubicBezTo>
                  <a:pt x="231" y="120"/>
                  <a:pt x="231" y="120"/>
                  <a:pt x="231" y="120"/>
                </a:cubicBezTo>
                <a:cubicBezTo>
                  <a:pt x="231" y="119"/>
                  <a:pt x="231" y="119"/>
                  <a:pt x="231" y="119"/>
                </a:cubicBezTo>
                <a:cubicBezTo>
                  <a:pt x="231" y="118"/>
                  <a:pt x="231" y="118"/>
                  <a:pt x="231" y="118"/>
                </a:cubicBezTo>
                <a:cubicBezTo>
                  <a:pt x="231" y="119"/>
                  <a:pt x="231" y="119"/>
                  <a:pt x="231" y="119"/>
                </a:cubicBezTo>
                <a:cubicBezTo>
                  <a:pt x="230" y="120"/>
                  <a:pt x="230" y="120"/>
                  <a:pt x="230" y="120"/>
                </a:cubicBezTo>
                <a:close/>
                <a:moveTo>
                  <a:pt x="231" y="116"/>
                </a:moveTo>
                <a:cubicBezTo>
                  <a:pt x="230" y="116"/>
                  <a:pt x="230" y="116"/>
                  <a:pt x="230" y="116"/>
                </a:cubicBezTo>
                <a:cubicBezTo>
                  <a:pt x="231" y="117"/>
                  <a:pt x="231" y="117"/>
                  <a:pt x="231" y="117"/>
                </a:cubicBezTo>
                <a:cubicBezTo>
                  <a:pt x="231" y="116"/>
                  <a:pt x="231" y="116"/>
                  <a:pt x="231" y="116"/>
                </a:cubicBezTo>
                <a:cubicBezTo>
                  <a:pt x="231" y="116"/>
                  <a:pt x="231" y="116"/>
                  <a:pt x="231" y="116"/>
                </a:cubicBezTo>
                <a:cubicBezTo>
                  <a:pt x="231" y="116"/>
                  <a:pt x="231" y="116"/>
                  <a:pt x="231" y="116"/>
                </a:cubicBezTo>
                <a:close/>
                <a:moveTo>
                  <a:pt x="236" y="102"/>
                </a:moveTo>
                <a:cubicBezTo>
                  <a:pt x="237" y="104"/>
                  <a:pt x="237" y="104"/>
                  <a:pt x="237" y="104"/>
                </a:cubicBezTo>
                <a:cubicBezTo>
                  <a:pt x="237" y="104"/>
                  <a:pt x="237" y="104"/>
                  <a:pt x="237" y="104"/>
                </a:cubicBezTo>
                <a:cubicBezTo>
                  <a:pt x="238" y="103"/>
                  <a:pt x="238" y="103"/>
                  <a:pt x="238" y="103"/>
                </a:cubicBezTo>
                <a:cubicBezTo>
                  <a:pt x="238" y="102"/>
                  <a:pt x="238" y="102"/>
                  <a:pt x="238" y="102"/>
                </a:cubicBezTo>
                <a:cubicBezTo>
                  <a:pt x="238" y="100"/>
                  <a:pt x="238" y="100"/>
                  <a:pt x="238" y="100"/>
                </a:cubicBezTo>
                <a:cubicBezTo>
                  <a:pt x="239" y="99"/>
                  <a:pt x="239" y="99"/>
                  <a:pt x="239" y="99"/>
                </a:cubicBezTo>
                <a:cubicBezTo>
                  <a:pt x="238" y="99"/>
                  <a:pt x="238" y="99"/>
                  <a:pt x="238" y="99"/>
                </a:cubicBezTo>
                <a:cubicBezTo>
                  <a:pt x="237" y="100"/>
                  <a:pt x="237" y="100"/>
                  <a:pt x="237" y="100"/>
                </a:cubicBezTo>
                <a:cubicBezTo>
                  <a:pt x="237" y="101"/>
                  <a:pt x="237" y="101"/>
                  <a:pt x="237" y="101"/>
                </a:cubicBezTo>
                <a:cubicBezTo>
                  <a:pt x="236" y="102"/>
                  <a:pt x="236" y="102"/>
                  <a:pt x="236" y="102"/>
                </a:cubicBezTo>
                <a:close/>
                <a:moveTo>
                  <a:pt x="233" y="84"/>
                </a:moveTo>
                <a:cubicBezTo>
                  <a:pt x="233" y="84"/>
                  <a:pt x="233" y="84"/>
                  <a:pt x="233" y="84"/>
                </a:cubicBezTo>
                <a:cubicBezTo>
                  <a:pt x="233" y="84"/>
                  <a:pt x="233" y="84"/>
                  <a:pt x="233" y="84"/>
                </a:cubicBezTo>
                <a:cubicBezTo>
                  <a:pt x="235" y="84"/>
                  <a:pt x="235" y="84"/>
                  <a:pt x="235" y="84"/>
                </a:cubicBezTo>
                <a:cubicBezTo>
                  <a:pt x="236" y="83"/>
                  <a:pt x="236" y="83"/>
                  <a:pt x="236" y="83"/>
                </a:cubicBezTo>
                <a:cubicBezTo>
                  <a:pt x="236" y="81"/>
                  <a:pt x="236" y="81"/>
                  <a:pt x="236" y="81"/>
                </a:cubicBezTo>
                <a:cubicBezTo>
                  <a:pt x="235" y="80"/>
                  <a:pt x="235" y="80"/>
                  <a:pt x="235" y="80"/>
                </a:cubicBezTo>
                <a:cubicBezTo>
                  <a:pt x="233" y="81"/>
                  <a:pt x="233" y="81"/>
                  <a:pt x="233" y="81"/>
                </a:cubicBezTo>
                <a:cubicBezTo>
                  <a:pt x="232" y="83"/>
                  <a:pt x="232" y="83"/>
                  <a:pt x="232" y="83"/>
                </a:cubicBezTo>
                <a:cubicBezTo>
                  <a:pt x="233" y="84"/>
                  <a:pt x="233" y="84"/>
                  <a:pt x="233" y="84"/>
                </a:cubicBezTo>
                <a:close/>
                <a:moveTo>
                  <a:pt x="245" y="49"/>
                </a:moveTo>
                <a:cubicBezTo>
                  <a:pt x="246" y="49"/>
                  <a:pt x="246" y="49"/>
                  <a:pt x="246" y="49"/>
                </a:cubicBezTo>
                <a:cubicBezTo>
                  <a:pt x="246" y="48"/>
                  <a:pt x="246" y="48"/>
                  <a:pt x="246" y="48"/>
                </a:cubicBezTo>
                <a:cubicBezTo>
                  <a:pt x="246" y="46"/>
                  <a:pt x="246" y="46"/>
                  <a:pt x="246" y="46"/>
                </a:cubicBezTo>
                <a:cubicBezTo>
                  <a:pt x="246" y="45"/>
                  <a:pt x="246" y="45"/>
                  <a:pt x="246" y="45"/>
                </a:cubicBezTo>
                <a:cubicBezTo>
                  <a:pt x="246" y="44"/>
                  <a:pt x="246" y="44"/>
                  <a:pt x="246" y="44"/>
                </a:cubicBezTo>
                <a:cubicBezTo>
                  <a:pt x="245" y="44"/>
                  <a:pt x="245" y="44"/>
                  <a:pt x="245" y="44"/>
                </a:cubicBezTo>
                <a:cubicBezTo>
                  <a:pt x="245" y="45"/>
                  <a:pt x="245" y="45"/>
                  <a:pt x="245" y="45"/>
                </a:cubicBezTo>
                <a:cubicBezTo>
                  <a:pt x="245" y="45"/>
                  <a:pt x="245" y="45"/>
                  <a:pt x="245" y="45"/>
                </a:cubicBezTo>
                <a:cubicBezTo>
                  <a:pt x="245" y="46"/>
                  <a:pt x="245" y="46"/>
                  <a:pt x="245" y="46"/>
                </a:cubicBezTo>
                <a:cubicBezTo>
                  <a:pt x="245" y="48"/>
                  <a:pt x="245" y="48"/>
                  <a:pt x="245" y="48"/>
                </a:cubicBezTo>
                <a:cubicBezTo>
                  <a:pt x="245" y="49"/>
                  <a:pt x="245" y="49"/>
                  <a:pt x="245" y="49"/>
                </a:cubicBezTo>
                <a:close/>
                <a:moveTo>
                  <a:pt x="242" y="53"/>
                </a:moveTo>
                <a:cubicBezTo>
                  <a:pt x="242" y="53"/>
                  <a:pt x="242" y="54"/>
                  <a:pt x="242" y="54"/>
                </a:cubicBezTo>
                <a:cubicBezTo>
                  <a:pt x="242" y="53"/>
                  <a:pt x="242" y="53"/>
                  <a:pt x="242" y="53"/>
                </a:cubicBezTo>
                <a:cubicBezTo>
                  <a:pt x="243" y="51"/>
                  <a:pt x="243" y="51"/>
                  <a:pt x="243" y="51"/>
                </a:cubicBezTo>
                <a:cubicBezTo>
                  <a:pt x="242" y="50"/>
                  <a:pt x="242" y="50"/>
                  <a:pt x="242" y="50"/>
                </a:cubicBezTo>
                <a:cubicBezTo>
                  <a:pt x="241" y="51"/>
                  <a:pt x="241" y="51"/>
                  <a:pt x="241" y="51"/>
                </a:cubicBezTo>
                <a:cubicBezTo>
                  <a:pt x="241" y="52"/>
                  <a:pt x="241" y="52"/>
                  <a:pt x="241" y="52"/>
                </a:cubicBezTo>
                <a:cubicBezTo>
                  <a:pt x="242" y="53"/>
                  <a:pt x="242" y="53"/>
                  <a:pt x="242" y="53"/>
                </a:cubicBezTo>
                <a:close/>
                <a:moveTo>
                  <a:pt x="239" y="50"/>
                </a:moveTo>
                <a:cubicBezTo>
                  <a:pt x="240" y="50"/>
                  <a:pt x="240" y="50"/>
                  <a:pt x="240" y="50"/>
                </a:cubicBezTo>
                <a:cubicBezTo>
                  <a:pt x="241" y="49"/>
                  <a:pt x="241" y="49"/>
                  <a:pt x="241" y="49"/>
                </a:cubicBezTo>
                <a:cubicBezTo>
                  <a:pt x="241" y="48"/>
                  <a:pt x="241" y="48"/>
                  <a:pt x="241" y="48"/>
                </a:cubicBezTo>
                <a:cubicBezTo>
                  <a:pt x="241" y="48"/>
                  <a:pt x="241" y="48"/>
                  <a:pt x="241" y="48"/>
                </a:cubicBezTo>
                <a:cubicBezTo>
                  <a:pt x="241" y="46"/>
                  <a:pt x="241" y="46"/>
                  <a:pt x="241" y="46"/>
                </a:cubicBezTo>
                <a:cubicBezTo>
                  <a:pt x="241" y="46"/>
                  <a:pt x="241" y="46"/>
                  <a:pt x="241" y="46"/>
                </a:cubicBezTo>
                <a:cubicBezTo>
                  <a:pt x="240" y="46"/>
                  <a:pt x="240" y="46"/>
                  <a:pt x="240" y="46"/>
                </a:cubicBezTo>
                <a:cubicBezTo>
                  <a:pt x="239" y="47"/>
                  <a:pt x="239" y="47"/>
                  <a:pt x="239" y="47"/>
                </a:cubicBezTo>
                <a:cubicBezTo>
                  <a:pt x="240" y="48"/>
                  <a:pt x="240" y="48"/>
                  <a:pt x="240" y="48"/>
                </a:cubicBezTo>
                <a:cubicBezTo>
                  <a:pt x="239" y="50"/>
                  <a:pt x="239" y="50"/>
                  <a:pt x="239" y="50"/>
                </a:cubicBezTo>
                <a:close/>
                <a:moveTo>
                  <a:pt x="174" y="4"/>
                </a:moveTo>
                <a:cubicBezTo>
                  <a:pt x="174" y="4"/>
                  <a:pt x="174" y="4"/>
                  <a:pt x="174" y="4"/>
                </a:cubicBezTo>
                <a:cubicBezTo>
                  <a:pt x="174" y="3"/>
                  <a:pt x="174" y="3"/>
                  <a:pt x="174" y="3"/>
                </a:cubicBezTo>
                <a:cubicBezTo>
                  <a:pt x="175" y="2"/>
                  <a:pt x="175" y="2"/>
                  <a:pt x="175" y="2"/>
                </a:cubicBezTo>
                <a:cubicBezTo>
                  <a:pt x="174" y="1"/>
                  <a:pt x="174" y="1"/>
                  <a:pt x="174" y="1"/>
                </a:cubicBezTo>
                <a:cubicBezTo>
                  <a:pt x="173" y="1"/>
                  <a:pt x="173" y="1"/>
                  <a:pt x="173" y="1"/>
                </a:cubicBezTo>
                <a:cubicBezTo>
                  <a:pt x="173" y="3"/>
                  <a:pt x="173" y="3"/>
                  <a:pt x="173" y="3"/>
                </a:cubicBezTo>
                <a:cubicBezTo>
                  <a:pt x="174" y="4"/>
                  <a:pt x="174" y="4"/>
                  <a:pt x="174" y="4"/>
                </a:cubicBezTo>
                <a:close/>
                <a:moveTo>
                  <a:pt x="174" y="6"/>
                </a:moveTo>
                <a:cubicBezTo>
                  <a:pt x="174" y="6"/>
                  <a:pt x="174" y="6"/>
                  <a:pt x="174" y="6"/>
                </a:cubicBezTo>
                <a:cubicBezTo>
                  <a:pt x="175" y="6"/>
                  <a:pt x="175" y="6"/>
                  <a:pt x="175" y="6"/>
                </a:cubicBezTo>
                <a:cubicBezTo>
                  <a:pt x="175" y="5"/>
                  <a:pt x="175" y="5"/>
                  <a:pt x="175" y="5"/>
                </a:cubicBezTo>
                <a:cubicBezTo>
                  <a:pt x="175" y="4"/>
                  <a:pt x="175" y="4"/>
                  <a:pt x="175" y="4"/>
                </a:cubicBezTo>
                <a:cubicBezTo>
                  <a:pt x="175" y="4"/>
                  <a:pt x="175" y="4"/>
                  <a:pt x="175" y="4"/>
                </a:cubicBezTo>
                <a:cubicBezTo>
                  <a:pt x="174" y="5"/>
                  <a:pt x="174" y="5"/>
                  <a:pt x="174" y="5"/>
                </a:cubicBezTo>
                <a:cubicBezTo>
                  <a:pt x="174" y="6"/>
                  <a:pt x="174" y="6"/>
                  <a:pt x="174" y="6"/>
                </a:cubicBezTo>
                <a:close/>
                <a:moveTo>
                  <a:pt x="168" y="6"/>
                </a:moveTo>
                <a:cubicBezTo>
                  <a:pt x="169" y="7"/>
                  <a:pt x="169" y="7"/>
                  <a:pt x="169" y="7"/>
                </a:cubicBezTo>
                <a:cubicBezTo>
                  <a:pt x="170" y="8"/>
                  <a:pt x="170" y="8"/>
                  <a:pt x="170" y="8"/>
                </a:cubicBezTo>
                <a:cubicBezTo>
                  <a:pt x="170" y="8"/>
                  <a:pt x="170" y="8"/>
                  <a:pt x="170" y="8"/>
                </a:cubicBezTo>
                <a:cubicBezTo>
                  <a:pt x="171" y="7"/>
                  <a:pt x="171" y="7"/>
                  <a:pt x="171" y="7"/>
                </a:cubicBezTo>
                <a:cubicBezTo>
                  <a:pt x="172" y="7"/>
                  <a:pt x="172" y="7"/>
                  <a:pt x="172" y="7"/>
                </a:cubicBezTo>
                <a:cubicBezTo>
                  <a:pt x="170" y="5"/>
                  <a:pt x="170" y="5"/>
                  <a:pt x="170" y="5"/>
                </a:cubicBezTo>
                <a:cubicBezTo>
                  <a:pt x="170" y="4"/>
                  <a:pt x="170" y="4"/>
                  <a:pt x="170" y="4"/>
                </a:cubicBezTo>
                <a:cubicBezTo>
                  <a:pt x="169" y="4"/>
                  <a:pt x="169" y="4"/>
                  <a:pt x="169" y="4"/>
                </a:cubicBezTo>
                <a:cubicBezTo>
                  <a:pt x="169" y="4"/>
                  <a:pt x="169" y="4"/>
                  <a:pt x="169" y="4"/>
                </a:cubicBezTo>
                <a:cubicBezTo>
                  <a:pt x="169" y="5"/>
                  <a:pt x="169" y="5"/>
                  <a:pt x="169" y="5"/>
                </a:cubicBezTo>
                <a:cubicBezTo>
                  <a:pt x="168" y="5"/>
                  <a:pt x="168" y="5"/>
                  <a:pt x="168" y="5"/>
                </a:cubicBezTo>
                <a:cubicBezTo>
                  <a:pt x="168" y="6"/>
                  <a:pt x="168" y="6"/>
                  <a:pt x="168" y="6"/>
                </a:cubicBezTo>
                <a:close/>
                <a:moveTo>
                  <a:pt x="165" y="7"/>
                </a:moveTo>
                <a:cubicBezTo>
                  <a:pt x="165" y="8"/>
                  <a:pt x="165" y="8"/>
                  <a:pt x="165" y="8"/>
                </a:cubicBezTo>
                <a:cubicBezTo>
                  <a:pt x="166" y="8"/>
                  <a:pt x="166" y="8"/>
                  <a:pt x="166" y="8"/>
                </a:cubicBezTo>
                <a:cubicBezTo>
                  <a:pt x="166" y="8"/>
                  <a:pt x="166" y="8"/>
                  <a:pt x="166" y="8"/>
                </a:cubicBezTo>
                <a:cubicBezTo>
                  <a:pt x="166" y="8"/>
                  <a:pt x="166" y="8"/>
                  <a:pt x="166" y="8"/>
                </a:cubicBezTo>
                <a:cubicBezTo>
                  <a:pt x="165" y="7"/>
                  <a:pt x="165" y="7"/>
                  <a:pt x="165" y="7"/>
                </a:cubicBezTo>
                <a:cubicBezTo>
                  <a:pt x="165" y="7"/>
                  <a:pt x="165" y="7"/>
                  <a:pt x="165" y="7"/>
                </a:cubicBezTo>
                <a:close/>
                <a:moveTo>
                  <a:pt x="146" y="12"/>
                </a:moveTo>
                <a:cubicBezTo>
                  <a:pt x="147" y="13"/>
                  <a:pt x="147" y="13"/>
                  <a:pt x="147" y="13"/>
                </a:cubicBezTo>
                <a:cubicBezTo>
                  <a:pt x="148" y="14"/>
                  <a:pt x="148" y="14"/>
                  <a:pt x="148" y="14"/>
                </a:cubicBezTo>
                <a:cubicBezTo>
                  <a:pt x="149" y="15"/>
                  <a:pt x="149" y="15"/>
                  <a:pt x="149" y="15"/>
                </a:cubicBezTo>
                <a:cubicBezTo>
                  <a:pt x="150" y="16"/>
                  <a:pt x="150" y="16"/>
                  <a:pt x="150" y="16"/>
                </a:cubicBezTo>
                <a:cubicBezTo>
                  <a:pt x="151" y="14"/>
                  <a:pt x="151" y="14"/>
                  <a:pt x="151" y="14"/>
                </a:cubicBezTo>
                <a:cubicBezTo>
                  <a:pt x="151" y="13"/>
                  <a:pt x="151" y="13"/>
                  <a:pt x="151" y="13"/>
                </a:cubicBezTo>
                <a:cubicBezTo>
                  <a:pt x="151" y="13"/>
                  <a:pt x="151" y="13"/>
                  <a:pt x="151" y="13"/>
                </a:cubicBezTo>
                <a:cubicBezTo>
                  <a:pt x="151" y="12"/>
                  <a:pt x="151" y="12"/>
                  <a:pt x="151" y="12"/>
                </a:cubicBezTo>
                <a:cubicBezTo>
                  <a:pt x="150" y="12"/>
                  <a:pt x="150" y="12"/>
                  <a:pt x="150" y="12"/>
                </a:cubicBezTo>
                <a:cubicBezTo>
                  <a:pt x="149" y="10"/>
                  <a:pt x="149" y="10"/>
                  <a:pt x="149" y="10"/>
                </a:cubicBezTo>
                <a:cubicBezTo>
                  <a:pt x="148" y="10"/>
                  <a:pt x="148" y="10"/>
                  <a:pt x="148" y="10"/>
                </a:cubicBezTo>
                <a:cubicBezTo>
                  <a:pt x="148" y="11"/>
                  <a:pt x="148" y="11"/>
                  <a:pt x="148" y="11"/>
                </a:cubicBezTo>
                <a:cubicBezTo>
                  <a:pt x="148" y="12"/>
                  <a:pt x="148" y="12"/>
                  <a:pt x="148" y="12"/>
                </a:cubicBezTo>
                <a:cubicBezTo>
                  <a:pt x="148" y="12"/>
                  <a:pt x="148" y="12"/>
                  <a:pt x="148" y="12"/>
                </a:cubicBezTo>
                <a:cubicBezTo>
                  <a:pt x="148" y="13"/>
                  <a:pt x="148" y="13"/>
                  <a:pt x="148" y="13"/>
                </a:cubicBezTo>
                <a:cubicBezTo>
                  <a:pt x="147" y="12"/>
                  <a:pt x="147" y="12"/>
                  <a:pt x="147" y="12"/>
                </a:cubicBezTo>
                <a:cubicBezTo>
                  <a:pt x="146" y="12"/>
                  <a:pt x="146" y="12"/>
                  <a:pt x="146" y="12"/>
                </a:cubicBezTo>
                <a:close/>
                <a:moveTo>
                  <a:pt x="145" y="13"/>
                </a:moveTo>
                <a:cubicBezTo>
                  <a:pt x="146" y="15"/>
                  <a:pt x="146" y="15"/>
                  <a:pt x="146" y="15"/>
                </a:cubicBezTo>
                <a:cubicBezTo>
                  <a:pt x="147" y="15"/>
                  <a:pt x="147" y="15"/>
                  <a:pt x="147" y="15"/>
                </a:cubicBezTo>
                <a:cubicBezTo>
                  <a:pt x="147" y="14"/>
                  <a:pt x="147" y="14"/>
                  <a:pt x="147" y="14"/>
                </a:cubicBezTo>
                <a:cubicBezTo>
                  <a:pt x="146" y="13"/>
                  <a:pt x="146" y="13"/>
                  <a:pt x="146" y="13"/>
                </a:cubicBezTo>
                <a:cubicBezTo>
                  <a:pt x="145" y="13"/>
                  <a:pt x="145" y="13"/>
                  <a:pt x="145" y="13"/>
                </a:cubicBezTo>
                <a:close/>
                <a:moveTo>
                  <a:pt x="139" y="13"/>
                </a:moveTo>
                <a:cubicBezTo>
                  <a:pt x="139" y="14"/>
                  <a:pt x="139" y="14"/>
                  <a:pt x="139" y="14"/>
                </a:cubicBezTo>
                <a:cubicBezTo>
                  <a:pt x="141" y="14"/>
                  <a:pt x="141" y="14"/>
                  <a:pt x="141" y="14"/>
                </a:cubicBezTo>
                <a:cubicBezTo>
                  <a:pt x="141" y="15"/>
                  <a:pt x="141" y="15"/>
                  <a:pt x="141" y="15"/>
                </a:cubicBezTo>
                <a:cubicBezTo>
                  <a:pt x="142" y="15"/>
                  <a:pt x="142" y="15"/>
                  <a:pt x="142" y="15"/>
                </a:cubicBezTo>
                <a:cubicBezTo>
                  <a:pt x="142" y="14"/>
                  <a:pt x="142" y="14"/>
                  <a:pt x="142" y="14"/>
                </a:cubicBezTo>
                <a:cubicBezTo>
                  <a:pt x="142" y="13"/>
                  <a:pt x="142" y="13"/>
                  <a:pt x="142" y="13"/>
                </a:cubicBezTo>
                <a:cubicBezTo>
                  <a:pt x="141" y="13"/>
                  <a:pt x="141" y="13"/>
                  <a:pt x="141" y="13"/>
                </a:cubicBezTo>
                <a:cubicBezTo>
                  <a:pt x="141" y="12"/>
                  <a:pt x="141" y="12"/>
                  <a:pt x="141" y="12"/>
                </a:cubicBezTo>
                <a:cubicBezTo>
                  <a:pt x="140" y="12"/>
                  <a:pt x="140" y="12"/>
                  <a:pt x="140" y="12"/>
                </a:cubicBezTo>
                <a:cubicBezTo>
                  <a:pt x="139" y="12"/>
                  <a:pt x="139" y="12"/>
                  <a:pt x="139" y="12"/>
                </a:cubicBezTo>
                <a:cubicBezTo>
                  <a:pt x="139" y="13"/>
                  <a:pt x="139" y="13"/>
                  <a:pt x="139" y="13"/>
                </a:cubicBezTo>
                <a:close/>
                <a:moveTo>
                  <a:pt x="135" y="25"/>
                </a:moveTo>
                <a:cubicBezTo>
                  <a:pt x="136" y="25"/>
                  <a:pt x="136" y="25"/>
                  <a:pt x="136" y="25"/>
                </a:cubicBezTo>
                <a:cubicBezTo>
                  <a:pt x="137" y="25"/>
                  <a:pt x="137" y="25"/>
                  <a:pt x="137" y="25"/>
                </a:cubicBezTo>
                <a:cubicBezTo>
                  <a:pt x="137" y="24"/>
                  <a:pt x="137" y="24"/>
                  <a:pt x="137" y="24"/>
                </a:cubicBezTo>
                <a:cubicBezTo>
                  <a:pt x="136" y="23"/>
                  <a:pt x="136" y="23"/>
                  <a:pt x="136" y="23"/>
                </a:cubicBezTo>
                <a:cubicBezTo>
                  <a:pt x="136" y="21"/>
                  <a:pt x="136" y="21"/>
                  <a:pt x="136" y="21"/>
                </a:cubicBezTo>
                <a:cubicBezTo>
                  <a:pt x="135" y="20"/>
                  <a:pt x="135" y="20"/>
                  <a:pt x="135" y="20"/>
                </a:cubicBezTo>
                <a:cubicBezTo>
                  <a:pt x="134" y="20"/>
                  <a:pt x="134" y="20"/>
                  <a:pt x="134" y="20"/>
                </a:cubicBezTo>
                <a:cubicBezTo>
                  <a:pt x="134" y="21"/>
                  <a:pt x="134" y="21"/>
                  <a:pt x="134" y="21"/>
                </a:cubicBezTo>
                <a:cubicBezTo>
                  <a:pt x="135" y="22"/>
                  <a:pt x="135" y="22"/>
                  <a:pt x="135" y="22"/>
                </a:cubicBezTo>
                <a:cubicBezTo>
                  <a:pt x="135" y="24"/>
                  <a:pt x="135" y="24"/>
                  <a:pt x="135" y="24"/>
                </a:cubicBezTo>
                <a:cubicBezTo>
                  <a:pt x="135" y="25"/>
                  <a:pt x="135" y="25"/>
                  <a:pt x="135" y="25"/>
                </a:cubicBezTo>
                <a:close/>
                <a:moveTo>
                  <a:pt x="137" y="37"/>
                </a:moveTo>
                <a:cubicBezTo>
                  <a:pt x="139" y="37"/>
                  <a:pt x="139" y="37"/>
                  <a:pt x="139" y="37"/>
                </a:cubicBezTo>
                <a:cubicBezTo>
                  <a:pt x="139" y="36"/>
                  <a:pt x="139" y="36"/>
                  <a:pt x="139" y="36"/>
                </a:cubicBezTo>
                <a:cubicBezTo>
                  <a:pt x="139" y="35"/>
                  <a:pt x="139" y="35"/>
                  <a:pt x="139" y="35"/>
                </a:cubicBezTo>
                <a:cubicBezTo>
                  <a:pt x="138" y="34"/>
                  <a:pt x="138" y="34"/>
                  <a:pt x="138" y="34"/>
                </a:cubicBezTo>
                <a:cubicBezTo>
                  <a:pt x="138" y="33"/>
                  <a:pt x="138" y="33"/>
                  <a:pt x="138" y="33"/>
                </a:cubicBezTo>
                <a:cubicBezTo>
                  <a:pt x="138" y="33"/>
                  <a:pt x="138" y="33"/>
                  <a:pt x="138" y="33"/>
                </a:cubicBezTo>
                <a:cubicBezTo>
                  <a:pt x="136" y="33"/>
                  <a:pt x="136" y="33"/>
                  <a:pt x="136" y="33"/>
                </a:cubicBezTo>
                <a:cubicBezTo>
                  <a:pt x="136" y="34"/>
                  <a:pt x="136" y="34"/>
                  <a:pt x="136" y="34"/>
                </a:cubicBezTo>
                <a:cubicBezTo>
                  <a:pt x="136" y="35"/>
                  <a:pt x="136" y="35"/>
                  <a:pt x="136" y="35"/>
                </a:cubicBezTo>
                <a:cubicBezTo>
                  <a:pt x="137" y="36"/>
                  <a:pt x="137" y="36"/>
                  <a:pt x="137" y="36"/>
                </a:cubicBezTo>
                <a:cubicBezTo>
                  <a:pt x="137" y="37"/>
                  <a:pt x="137" y="37"/>
                  <a:pt x="137" y="37"/>
                </a:cubicBezTo>
                <a:close/>
                <a:moveTo>
                  <a:pt x="137" y="38"/>
                </a:moveTo>
                <a:cubicBezTo>
                  <a:pt x="137" y="39"/>
                  <a:pt x="137" y="39"/>
                  <a:pt x="137" y="39"/>
                </a:cubicBezTo>
                <a:cubicBezTo>
                  <a:pt x="137" y="40"/>
                  <a:pt x="137" y="40"/>
                  <a:pt x="137" y="40"/>
                </a:cubicBezTo>
                <a:cubicBezTo>
                  <a:pt x="137" y="41"/>
                  <a:pt x="137" y="41"/>
                  <a:pt x="137" y="41"/>
                </a:cubicBezTo>
                <a:cubicBezTo>
                  <a:pt x="139" y="43"/>
                  <a:pt x="139" y="43"/>
                  <a:pt x="139" y="43"/>
                </a:cubicBezTo>
                <a:cubicBezTo>
                  <a:pt x="140" y="42"/>
                  <a:pt x="140" y="42"/>
                  <a:pt x="140" y="42"/>
                </a:cubicBezTo>
                <a:cubicBezTo>
                  <a:pt x="139" y="39"/>
                  <a:pt x="139" y="39"/>
                  <a:pt x="139" y="39"/>
                </a:cubicBezTo>
                <a:cubicBezTo>
                  <a:pt x="139" y="38"/>
                  <a:pt x="139" y="38"/>
                  <a:pt x="139" y="38"/>
                </a:cubicBezTo>
                <a:cubicBezTo>
                  <a:pt x="138" y="38"/>
                  <a:pt x="138" y="38"/>
                  <a:pt x="138" y="38"/>
                </a:cubicBezTo>
                <a:cubicBezTo>
                  <a:pt x="137" y="38"/>
                  <a:pt x="137" y="38"/>
                  <a:pt x="137" y="38"/>
                </a:cubicBezTo>
                <a:close/>
                <a:moveTo>
                  <a:pt x="120" y="26"/>
                </a:moveTo>
                <a:cubicBezTo>
                  <a:pt x="120" y="26"/>
                  <a:pt x="120" y="26"/>
                  <a:pt x="120" y="26"/>
                </a:cubicBezTo>
                <a:cubicBezTo>
                  <a:pt x="120" y="25"/>
                  <a:pt x="120" y="25"/>
                  <a:pt x="120" y="25"/>
                </a:cubicBezTo>
                <a:cubicBezTo>
                  <a:pt x="120" y="24"/>
                  <a:pt x="120" y="24"/>
                  <a:pt x="120" y="24"/>
                </a:cubicBezTo>
                <a:cubicBezTo>
                  <a:pt x="119" y="24"/>
                  <a:pt x="119" y="24"/>
                  <a:pt x="119" y="24"/>
                </a:cubicBezTo>
                <a:cubicBezTo>
                  <a:pt x="119" y="24"/>
                  <a:pt x="119" y="24"/>
                  <a:pt x="119" y="24"/>
                </a:cubicBezTo>
                <a:cubicBezTo>
                  <a:pt x="119" y="25"/>
                  <a:pt x="119" y="25"/>
                  <a:pt x="119" y="25"/>
                </a:cubicBezTo>
                <a:cubicBezTo>
                  <a:pt x="120" y="26"/>
                  <a:pt x="120" y="26"/>
                  <a:pt x="120" y="26"/>
                </a:cubicBezTo>
                <a:close/>
                <a:moveTo>
                  <a:pt x="117" y="34"/>
                </a:moveTo>
                <a:cubicBezTo>
                  <a:pt x="118" y="34"/>
                  <a:pt x="118" y="34"/>
                  <a:pt x="118" y="34"/>
                </a:cubicBezTo>
                <a:cubicBezTo>
                  <a:pt x="118" y="33"/>
                  <a:pt x="118" y="33"/>
                  <a:pt x="118" y="33"/>
                </a:cubicBezTo>
                <a:cubicBezTo>
                  <a:pt x="118" y="32"/>
                  <a:pt x="118" y="32"/>
                  <a:pt x="118" y="32"/>
                </a:cubicBezTo>
                <a:cubicBezTo>
                  <a:pt x="116" y="30"/>
                  <a:pt x="116" y="30"/>
                  <a:pt x="116" y="30"/>
                </a:cubicBezTo>
                <a:cubicBezTo>
                  <a:pt x="116" y="28"/>
                  <a:pt x="116" y="28"/>
                  <a:pt x="116" y="28"/>
                </a:cubicBezTo>
                <a:cubicBezTo>
                  <a:pt x="117" y="26"/>
                  <a:pt x="117" y="26"/>
                  <a:pt x="117" y="26"/>
                </a:cubicBezTo>
                <a:cubicBezTo>
                  <a:pt x="117" y="24"/>
                  <a:pt x="117" y="24"/>
                  <a:pt x="117" y="24"/>
                </a:cubicBezTo>
                <a:cubicBezTo>
                  <a:pt x="117" y="23"/>
                  <a:pt x="117" y="23"/>
                  <a:pt x="117" y="23"/>
                </a:cubicBezTo>
                <a:cubicBezTo>
                  <a:pt x="117" y="21"/>
                  <a:pt x="117" y="21"/>
                  <a:pt x="117" y="21"/>
                </a:cubicBezTo>
                <a:cubicBezTo>
                  <a:pt x="116" y="20"/>
                  <a:pt x="116" y="20"/>
                  <a:pt x="116" y="20"/>
                </a:cubicBezTo>
                <a:cubicBezTo>
                  <a:pt x="115" y="21"/>
                  <a:pt x="115" y="21"/>
                  <a:pt x="115" y="21"/>
                </a:cubicBezTo>
                <a:cubicBezTo>
                  <a:pt x="115" y="25"/>
                  <a:pt x="115" y="25"/>
                  <a:pt x="115" y="25"/>
                </a:cubicBezTo>
                <a:cubicBezTo>
                  <a:pt x="114" y="26"/>
                  <a:pt x="114" y="26"/>
                  <a:pt x="114" y="26"/>
                </a:cubicBezTo>
                <a:cubicBezTo>
                  <a:pt x="114" y="27"/>
                  <a:pt x="114" y="27"/>
                  <a:pt x="114" y="27"/>
                </a:cubicBezTo>
                <a:cubicBezTo>
                  <a:pt x="116" y="30"/>
                  <a:pt x="116" y="30"/>
                  <a:pt x="116" y="30"/>
                </a:cubicBezTo>
                <a:cubicBezTo>
                  <a:pt x="116" y="32"/>
                  <a:pt x="116" y="32"/>
                  <a:pt x="116" y="32"/>
                </a:cubicBezTo>
                <a:cubicBezTo>
                  <a:pt x="117" y="34"/>
                  <a:pt x="117" y="34"/>
                  <a:pt x="117" y="34"/>
                </a:cubicBezTo>
                <a:close/>
                <a:moveTo>
                  <a:pt x="49" y="44"/>
                </a:moveTo>
                <a:cubicBezTo>
                  <a:pt x="50" y="45"/>
                  <a:pt x="50" y="45"/>
                  <a:pt x="50" y="45"/>
                </a:cubicBezTo>
                <a:cubicBezTo>
                  <a:pt x="50" y="46"/>
                  <a:pt x="50" y="46"/>
                  <a:pt x="50" y="46"/>
                </a:cubicBezTo>
                <a:cubicBezTo>
                  <a:pt x="51" y="46"/>
                  <a:pt x="51" y="46"/>
                  <a:pt x="51" y="46"/>
                </a:cubicBezTo>
                <a:cubicBezTo>
                  <a:pt x="51" y="45"/>
                  <a:pt x="51" y="45"/>
                  <a:pt x="51" y="45"/>
                </a:cubicBezTo>
                <a:cubicBezTo>
                  <a:pt x="50" y="44"/>
                  <a:pt x="50" y="44"/>
                  <a:pt x="50" y="44"/>
                </a:cubicBezTo>
                <a:cubicBezTo>
                  <a:pt x="49" y="44"/>
                  <a:pt x="49" y="44"/>
                  <a:pt x="49" y="44"/>
                </a:cubicBezTo>
                <a:close/>
                <a:moveTo>
                  <a:pt x="6" y="99"/>
                </a:moveTo>
                <a:cubicBezTo>
                  <a:pt x="7" y="100"/>
                  <a:pt x="7" y="100"/>
                  <a:pt x="7" y="100"/>
                </a:cubicBezTo>
                <a:cubicBezTo>
                  <a:pt x="9" y="100"/>
                  <a:pt x="9" y="100"/>
                  <a:pt x="9" y="100"/>
                </a:cubicBezTo>
                <a:cubicBezTo>
                  <a:pt x="10" y="101"/>
                  <a:pt x="10" y="101"/>
                  <a:pt x="10" y="101"/>
                </a:cubicBezTo>
                <a:cubicBezTo>
                  <a:pt x="11" y="101"/>
                  <a:pt x="11" y="101"/>
                  <a:pt x="11" y="101"/>
                </a:cubicBezTo>
                <a:cubicBezTo>
                  <a:pt x="10" y="100"/>
                  <a:pt x="10" y="100"/>
                  <a:pt x="10" y="100"/>
                </a:cubicBezTo>
                <a:cubicBezTo>
                  <a:pt x="9" y="100"/>
                  <a:pt x="9" y="100"/>
                  <a:pt x="9" y="100"/>
                </a:cubicBezTo>
                <a:cubicBezTo>
                  <a:pt x="8" y="98"/>
                  <a:pt x="8" y="98"/>
                  <a:pt x="8" y="98"/>
                </a:cubicBezTo>
                <a:cubicBezTo>
                  <a:pt x="7" y="99"/>
                  <a:pt x="7" y="99"/>
                  <a:pt x="7" y="99"/>
                </a:cubicBezTo>
                <a:cubicBezTo>
                  <a:pt x="7" y="98"/>
                  <a:pt x="7" y="98"/>
                  <a:pt x="7" y="98"/>
                </a:cubicBezTo>
                <a:cubicBezTo>
                  <a:pt x="6" y="99"/>
                  <a:pt x="6" y="99"/>
                  <a:pt x="6" y="99"/>
                </a:cubicBezTo>
                <a:close/>
                <a:moveTo>
                  <a:pt x="0" y="99"/>
                </a:moveTo>
                <a:cubicBezTo>
                  <a:pt x="2" y="100"/>
                  <a:pt x="2" y="100"/>
                  <a:pt x="2" y="100"/>
                </a:cubicBezTo>
                <a:cubicBezTo>
                  <a:pt x="3" y="101"/>
                  <a:pt x="3" y="101"/>
                  <a:pt x="3" y="101"/>
                </a:cubicBezTo>
                <a:cubicBezTo>
                  <a:pt x="4" y="101"/>
                  <a:pt x="4" y="101"/>
                  <a:pt x="4" y="101"/>
                </a:cubicBezTo>
                <a:cubicBezTo>
                  <a:pt x="6" y="100"/>
                  <a:pt x="6" y="100"/>
                  <a:pt x="6" y="100"/>
                </a:cubicBezTo>
                <a:cubicBezTo>
                  <a:pt x="4" y="99"/>
                  <a:pt x="4" y="99"/>
                  <a:pt x="4" y="99"/>
                </a:cubicBezTo>
                <a:cubicBezTo>
                  <a:pt x="2" y="98"/>
                  <a:pt x="2" y="98"/>
                  <a:pt x="2" y="98"/>
                </a:cubicBezTo>
                <a:cubicBezTo>
                  <a:pt x="1" y="98"/>
                  <a:pt x="1" y="98"/>
                  <a:pt x="1" y="98"/>
                </a:cubicBezTo>
                <a:cubicBezTo>
                  <a:pt x="0" y="99"/>
                  <a:pt x="0" y="99"/>
                  <a:pt x="0" y="99"/>
                </a:cubicBezTo>
                <a:close/>
                <a:moveTo>
                  <a:pt x="48" y="151"/>
                </a:moveTo>
                <a:cubicBezTo>
                  <a:pt x="48" y="152"/>
                  <a:pt x="48" y="152"/>
                  <a:pt x="48" y="152"/>
                </a:cubicBezTo>
                <a:cubicBezTo>
                  <a:pt x="49" y="152"/>
                  <a:pt x="49" y="152"/>
                  <a:pt x="49" y="152"/>
                </a:cubicBezTo>
                <a:cubicBezTo>
                  <a:pt x="49" y="151"/>
                  <a:pt x="49" y="151"/>
                  <a:pt x="49" y="151"/>
                </a:cubicBezTo>
                <a:cubicBezTo>
                  <a:pt x="49" y="151"/>
                  <a:pt x="49" y="151"/>
                  <a:pt x="49" y="151"/>
                </a:cubicBezTo>
                <a:cubicBezTo>
                  <a:pt x="48" y="151"/>
                  <a:pt x="48" y="151"/>
                  <a:pt x="48" y="151"/>
                </a:cubicBezTo>
                <a:close/>
                <a:moveTo>
                  <a:pt x="49" y="157"/>
                </a:moveTo>
                <a:cubicBezTo>
                  <a:pt x="49" y="157"/>
                  <a:pt x="49" y="157"/>
                  <a:pt x="49" y="157"/>
                </a:cubicBezTo>
                <a:cubicBezTo>
                  <a:pt x="50" y="157"/>
                  <a:pt x="50" y="157"/>
                  <a:pt x="50" y="157"/>
                </a:cubicBezTo>
                <a:cubicBezTo>
                  <a:pt x="52" y="157"/>
                  <a:pt x="52" y="157"/>
                  <a:pt x="52" y="157"/>
                </a:cubicBezTo>
                <a:cubicBezTo>
                  <a:pt x="53" y="157"/>
                  <a:pt x="53" y="157"/>
                  <a:pt x="53" y="157"/>
                </a:cubicBezTo>
                <a:cubicBezTo>
                  <a:pt x="53" y="158"/>
                  <a:pt x="53" y="158"/>
                  <a:pt x="53" y="158"/>
                </a:cubicBezTo>
                <a:cubicBezTo>
                  <a:pt x="54" y="157"/>
                  <a:pt x="54" y="157"/>
                  <a:pt x="54" y="157"/>
                </a:cubicBezTo>
                <a:cubicBezTo>
                  <a:pt x="53" y="156"/>
                  <a:pt x="53" y="156"/>
                  <a:pt x="53" y="156"/>
                </a:cubicBezTo>
                <a:cubicBezTo>
                  <a:pt x="51" y="156"/>
                  <a:pt x="51" y="156"/>
                  <a:pt x="51" y="156"/>
                </a:cubicBezTo>
                <a:cubicBezTo>
                  <a:pt x="51" y="156"/>
                  <a:pt x="51" y="156"/>
                  <a:pt x="51" y="156"/>
                </a:cubicBezTo>
                <a:cubicBezTo>
                  <a:pt x="50" y="155"/>
                  <a:pt x="50" y="155"/>
                  <a:pt x="50" y="155"/>
                </a:cubicBezTo>
                <a:cubicBezTo>
                  <a:pt x="49" y="156"/>
                  <a:pt x="49" y="156"/>
                  <a:pt x="49" y="156"/>
                </a:cubicBezTo>
                <a:cubicBezTo>
                  <a:pt x="48" y="156"/>
                  <a:pt x="48" y="156"/>
                  <a:pt x="48" y="156"/>
                </a:cubicBezTo>
                <a:cubicBezTo>
                  <a:pt x="49" y="157"/>
                  <a:pt x="49" y="157"/>
                  <a:pt x="49" y="157"/>
                </a:cubicBezTo>
                <a:close/>
                <a:moveTo>
                  <a:pt x="50" y="158"/>
                </a:moveTo>
                <a:cubicBezTo>
                  <a:pt x="50" y="159"/>
                  <a:pt x="50" y="159"/>
                  <a:pt x="50" y="159"/>
                </a:cubicBezTo>
                <a:cubicBezTo>
                  <a:pt x="51" y="159"/>
                  <a:pt x="51" y="159"/>
                  <a:pt x="51" y="159"/>
                </a:cubicBezTo>
                <a:cubicBezTo>
                  <a:pt x="51" y="158"/>
                  <a:pt x="51" y="158"/>
                  <a:pt x="51" y="158"/>
                </a:cubicBezTo>
                <a:cubicBezTo>
                  <a:pt x="50" y="158"/>
                  <a:pt x="50" y="158"/>
                  <a:pt x="50" y="158"/>
                </a:cubicBezTo>
                <a:close/>
                <a:moveTo>
                  <a:pt x="50" y="166"/>
                </a:moveTo>
                <a:cubicBezTo>
                  <a:pt x="51" y="167"/>
                  <a:pt x="51" y="167"/>
                  <a:pt x="51" y="167"/>
                </a:cubicBezTo>
                <a:cubicBezTo>
                  <a:pt x="52" y="167"/>
                  <a:pt x="52" y="167"/>
                  <a:pt x="52" y="167"/>
                </a:cubicBezTo>
                <a:cubicBezTo>
                  <a:pt x="52" y="168"/>
                  <a:pt x="52" y="168"/>
                  <a:pt x="52" y="168"/>
                </a:cubicBezTo>
                <a:cubicBezTo>
                  <a:pt x="53" y="167"/>
                  <a:pt x="53" y="167"/>
                  <a:pt x="53" y="167"/>
                </a:cubicBezTo>
                <a:cubicBezTo>
                  <a:pt x="53" y="167"/>
                  <a:pt x="53" y="167"/>
                  <a:pt x="53" y="167"/>
                </a:cubicBezTo>
                <a:cubicBezTo>
                  <a:pt x="51" y="166"/>
                  <a:pt x="51" y="166"/>
                  <a:pt x="51" y="166"/>
                </a:cubicBezTo>
                <a:cubicBezTo>
                  <a:pt x="51" y="166"/>
                  <a:pt x="51" y="166"/>
                  <a:pt x="51" y="166"/>
                </a:cubicBezTo>
                <a:cubicBezTo>
                  <a:pt x="50" y="166"/>
                  <a:pt x="50" y="166"/>
                  <a:pt x="50" y="166"/>
                </a:cubicBezTo>
                <a:close/>
                <a:moveTo>
                  <a:pt x="49" y="169"/>
                </a:moveTo>
                <a:cubicBezTo>
                  <a:pt x="50" y="170"/>
                  <a:pt x="50" y="170"/>
                  <a:pt x="50" y="170"/>
                </a:cubicBezTo>
                <a:cubicBezTo>
                  <a:pt x="50" y="170"/>
                  <a:pt x="50" y="170"/>
                  <a:pt x="50" y="170"/>
                </a:cubicBezTo>
                <a:cubicBezTo>
                  <a:pt x="51" y="170"/>
                  <a:pt x="51" y="170"/>
                  <a:pt x="51" y="170"/>
                </a:cubicBezTo>
                <a:cubicBezTo>
                  <a:pt x="50" y="169"/>
                  <a:pt x="50" y="169"/>
                  <a:pt x="50" y="169"/>
                </a:cubicBezTo>
                <a:cubicBezTo>
                  <a:pt x="50" y="169"/>
                  <a:pt x="50" y="169"/>
                  <a:pt x="50" y="169"/>
                </a:cubicBezTo>
                <a:cubicBezTo>
                  <a:pt x="49" y="169"/>
                  <a:pt x="49" y="169"/>
                  <a:pt x="49" y="169"/>
                </a:cubicBezTo>
                <a:close/>
                <a:moveTo>
                  <a:pt x="51" y="174"/>
                </a:moveTo>
                <a:cubicBezTo>
                  <a:pt x="51" y="175"/>
                  <a:pt x="51" y="175"/>
                  <a:pt x="51" y="175"/>
                </a:cubicBezTo>
                <a:cubicBezTo>
                  <a:pt x="52" y="174"/>
                  <a:pt x="52" y="174"/>
                  <a:pt x="52" y="174"/>
                </a:cubicBezTo>
                <a:cubicBezTo>
                  <a:pt x="51" y="173"/>
                  <a:pt x="51" y="173"/>
                  <a:pt x="51" y="173"/>
                </a:cubicBezTo>
                <a:cubicBezTo>
                  <a:pt x="51" y="173"/>
                  <a:pt x="51" y="173"/>
                  <a:pt x="51" y="173"/>
                </a:cubicBezTo>
                <a:cubicBezTo>
                  <a:pt x="51" y="173"/>
                  <a:pt x="51" y="173"/>
                  <a:pt x="51" y="173"/>
                </a:cubicBezTo>
                <a:cubicBezTo>
                  <a:pt x="51" y="174"/>
                  <a:pt x="51" y="174"/>
                  <a:pt x="51" y="174"/>
                </a:cubicBezTo>
                <a:close/>
                <a:moveTo>
                  <a:pt x="53" y="176"/>
                </a:moveTo>
                <a:cubicBezTo>
                  <a:pt x="53" y="176"/>
                  <a:pt x="53" y="176"/>
                  <a:pt x="53" y="176"/>
                </a:cubicBezTo>
                <a:cubicBezTo>
                  <a:pt x="53" y="176"/>
                  <a:pt x="53" y="176"/>
                  <a:pt x="53" y="176"/>
                </a:cubicBezTo>
                <a:cubicBezTo>
                  <a:pt x="53" y="176"/>
                  <a:pt x="53" y="176"/>
                  <a:pt x="53" y="176"/>
                </a:cubicBezTo>
                <a:cubicBezTo>
                  <a:pt x="53" y="176"/>
                  <a:pt x="53" y="176"/>
                  <a:pt x="53" y="176"/>
                </a:cubicBezTo>
                <a:close/>
                <a:moveTo>
                  <a:pt x="49" y="177"/>
                </a:moveTo>
                <a:cubicBezTo>
                  <a:pt x="49" y="176"/>
                  <a:pt x="49" y="176"/>
                  <a:pt x="49" y="176"/>
                </a:cubicBezTo>
                <a:cubicBezTo>
                  <a:pt x="49" y="176"/>
                  <a:pt x="49" y="176"/>
                  <a:pt x="49" y="176"/>
                </a:cubicBezTo>
                <a:cubicBezTo>
                  <a:pt x="49" y="176"/>
                  <a:pt x="49" y="176"/>
                  <a:pt x="49" y="176"/>
                </a:cubicBezTo>
                <a:cubicBezTo>
                  <a:pt x="49" y="177"/>
                  <a:pt x="49" y="177"/>
                  <a:pt x="49" y="177"/>
                </a:cubicBezTo>
                <a:close/>
                <a:moveTo>
                  <a:pt x="51" y="176"/>
                </a:moveTo>
                <a:cubicBezTo>
                  <a:pt x="51" y="176"/>
                  <a:pt x="51" y="176"/>
                  <a:pt x="51" y="176"/>
                </a:cubicBezTo>
                <a:cubicBezTo>
                  <a:pt x="51" y="176"/>
                  <a:pt x="51" y="176"/>
                  <a:pt x="51" y="176"/>
                </a:cubicBezTo>
                <a:cubicBezTo>
                  <a:pt x="51" y="176"/>
                  <a:pt x="51" y="176"/>
                  <a:pt x="51" y="176"/>
                </a:cubicBezTo>
                <a:cubicBezTo>
                  <a:pt x="51" y="176"/>
                  <a:pt x="51" y="176"/>
                  <a:pt x="51" y="176"/>
                </a:cubicBezTo>
                <a:close/>
                <a:moveTo>
                  <a:pt x="50" y="178"/>
                </a:moveTo>
                <a:cubicBezTo>
                  <a:pt x="51" y="178"/>
                  <a:pt x="51" y="178"/>
                  <a:pt x="51" y="178"/>
                </a:cubicBezTo>
                <a:cubicBezTo>
                  <a:pt x="51" y="177"/>
                  <a:pt x="51" y="177"/>
                  <a:pt x="51" y="177"/>
                </a:cubicBezTo>
                <a:cubicBezTo>
                  <a:pt x="50" y="177"/>
                  <a:pt x="50" y="177"/>
                  <a:pt x="50" y="177"/>
                </a:cubicBezTo>
                <a:cubicBezTo>
                  <a:pt x="50" y="178"/>
                  <a:pt x="50" y="178"/>
                  <a:pt x="50" y="178"/>
                </a:cubicBezTo>
                <a:close/>
                <a:moveTo>
                  <a:pt x="51" y="180"/>
                </a:moveTo>
                <a:cubicBezTo>
                  <a:pt x="51" y="180"/>
                  <a:pt x="51" y="180"/>
                  <a:pt x="51" y="180"/>
                </a:cubicBezTo>
                <a:cubicBezTo>
                  <a:pt x="51" y="180"/>
                  <a:pt x="51" y="180"/>
                  <a:pt x="51" y="180"/>
                </a:cubicBezTo>
                <a:cubicBezTo>
                  <a:pt x="50" y="180"/>
                  <a:pt x="50" y="180"/>
                  <a:pt x="50" y="180"/>
                </a:cubicBezTo>
                <a:cubicBezTo>
                  <a:pt x="50" y="180"/>
                  <a:pt x="50" y="180"/>
                  <a:pt x="50" y="180"/>
                </a:cubicBezTo>
                <a:cubicBezTo>
                  <a:pt x="51" y="180"/>
                  <a:pt x="51" y="180"/>
                  <a:pt x="51" y="180"/>
                </a:cubicBezTo>
                <a:close/>
                <a:moveTo>
                  <a:pt x="52" y="181"/>
                </a:moveTo>
                <a:cubicBezTo>
                  <a:pt x="52" y="181"/>
                  <a:pt x="52" y="181"/>
                  <a:pt x="52" y="181"/>
                </a:cubicBezTo>
                <a:cubicBezTo>
                  <a:pt x="53" y="180"/>
                  <a:pt x="53" y="180"/>
                  <a:pt x="53" y="180"/>
                </a:cubicBezTo>
                <a:cubicBezTo>
                  <a:pt x="52" y="180"/>
                  <a:pt x="52" y="180"/>
                  <a:pt x="52" y="180"/>
                </a:cubicBezTo>
                <a:cubicBezTo>
                  <a:pt x="51" y="181"/>
                  <a:pt x="51" y="181"/>
                  <a:pt x="51" y="181"/>
                </a:cubicBezTo>
                <a:cubicBezTo>
                  <a:pt x="51" y="181"/>
                  <a:pt x="52" y="181"/>
                  <a:pt x="52" y="181"/>
                </a:cubicBezTo>
                <a:close/>
                <a:moveTo>
                  <a:pt x="48" y="184"/>
                </a:moveTo>
                <a:cubicBezTo>
                  <a:pt x="49" y="184"/>
                  <a:pt x="49" y="184"/>
                  <a:pt x="49" y="184"/>
                </a:cubicBezTo>
                <a:cubicBezTo>
                  <a:pt x="49" y="184"/>
                  <a:pt x="49" y="184"/>
                  <a:pt x="49" y="184"/>
                </a:cubicBezTo>
                <a:cubicBezTo>
                  <a:pt x="49" y="183"/>
                  <a:pt x="49" y="183"/>
                  <a:pt x="49" y="183"/>
                </a:cubicBezTo>
                <a:cubicBezTo>
                  <a:pt x="48" y="183"/>
                  <a:pt x="48" y="183"/>
                  <a:pt x="48" y="183"/>
                </a:cubicBezTo>
                <a:cubicBezTo>
                  <a:pt x="48" y="184"/>
                  <a:pt x="48" y="184"/>
                  <a:pt x="48" y="184"/>
                </a:cubicBezTo>
                <a:cubicBezTo>
                  <a:pt x="48" y="184"/>
                  <a:pt x="48" y="184"/>
                  <a:pt x="48" y="184"/>
                </a:cubicBezTo>
                <a:close/>
                <a:moveTo>
                  <a:pt x="50" y="186"/>
                </a:moveTo>
                <a:cubicBezTo>
                  <a:pt x="52" y="185"/>
                  <a:pt x="52" y="185"/>
                  <a:pt x="52" y="185"/>
                </a:cubicBezTo>
                <a:cubicBezTo>
                  <a:pt x="53" y="184"/>
                  <a:pt x="53" y="184"/>
                  <a:pt x="53" y="184"/>
                </a:cubicBezTo>
                <a:cubicBezTo>
                  <a:pt x="53" y="183"/>
                  <a:pt x="53" y="183"/>
                  <a:pt x="53" y="183"/>
                </a:cubicBezTo>
                <a:cubicBezTo>
                  <a:pt x="52" y="183"/>
                  <a:pt x="52" y="183"/>
                  <a:pt x="52" y="183"/>
                </a:cubicBezTo>
                <a:cubicBezTo>
                  <a:pt x="51" y="184"/>
                  <a:pt x="51" y="184"/>
                  <a:pt x="51" y="184"/>
                </a:cubicBezTo>
                <a:cubicBezTo>
                  <a:pt x="50" y="184"/>
                  <a:pt x="50" y="184"/>
                  <a:pt x="50" y="184"/>
                </a:cubicBezTo>
                <a:cubicBezTo>
                  <a:pt x="50" y="185"/>
                  <a:pt x="50" y="185"/>
                  <a:pt x="50" y="185"/>
                </a:cubicBezTo>
                <a:cubicBezTo>
                  <a:pt x="49" y="185"/>
                  <a:pt x="49" y="185"/>
                  <a:pt x="49" y="185"/>
                </a:cubicBezTo>
                <a:cubicBezTo>
                  <a:pt x="49" y="186"/>
                  <a:pt x="49" y="186"/>
                  <a:pt x="49" y="186"/>
                </a:cubicBezTo>
                <a:cubicBezTo>
                  <a:pt x="49" y="186"/>
                  <a:pt x="49" y="186"/>
                  <a:pt x="49" y="186"/>
                </a:cubicBezTo>
                <a:cubicBezTo>
                  <a:pt x="50" y="186"/>
                  <a:pt x="50" y="186"/>
                  <a:pt x="50" y="186"/>
                </a:cubicBezTo>
                <a:cubicBezTo>
                  <a:pt x="50" y="186"/>
                  <a:pt x="50" y="186"/>
                  <a:pt x="50" y="186"/>
                </a:cubicBezTo>
                <a:close/>
                <a:moveTo>
                  <a:pt x="52" y="186"/>
                </a:moveTo>
                <a:cubicBezTo>
                  <a:pt x="52" y="186"/>
                  <a:pt x="52" y="186"/>
                  <a:pt x="52" y="186"/>
                </a:cubicBezTo>
                <a:cubicBezTo>
                  <a:pt x="53" y="186"/>
                  <a:pt x="53" y="186"/>
                  <a:pt x="53" y="186"/>
                </a:cubicBezTo>
                <a:cubicBezTo>
                  <a:pt x="53" y="185"/>
                  <a:pt x="53" y="185"/>
                  <a:pt x="53" y="185"/>
                </a:cubicBezTo>
                <a:cubicBezTo>
                  <a:pt x="52" y="186"/>
                  <a:pt x="52" y="186"/>
                  <a:pt x="52" y="186"/>
                </a:cubicBezTo>
                <a:close/>
                <a:moveTo>
                  <a:pt x="51" y="187"/>
                </a:moveTo>
                <a:cubicBezTo>
                  <a:pt x="52" y="187"/>
                  <a:pt x="52" y="187"/>
                  <a:pt x="52" y="187"/>
                </a:cubicBezTo>
                <a:cubicBezTo>
                  <a:pt x="52" y="186"/>
                  <a:pt x="52" y="186"/>
                  <a:pt x="52" y="186"/>
                </a:cubicBezTo>
                <a:cubicBezTo>
                  <a:pt x="51" y="187"/>
                  <a:pt x="51" y="187"/>
                  <a:pt x="51" y="187"/>
                </a:cubicBezTo>
                <a:cubicBezTo>
                  <a:pt x="51" y="187"/>
                  <a:pt x="51" y="187"/>
                  <a:pt x="51" y="187"/>
                </a:cubicBezTo>
                <a:close/>
                <a:moveTo>
                  <a:pt x="49" y="188"/>
                </a:moveTo>
                <a:cubicBezTo>
                  <a:pt x="50" y="187"/>
                  <a:pt x="50" y="187"/>
                  <a:pt x="50" y="187"/>
                </a:cubicBezTo>
                <a:cubicBezTo>
                  <a:pt x="50" y="187"/>
                  <a:pt x="50" y="187"/>
                  <a:pt x="50" y="187"/>
                </a:cubicBezTo>
                <a:cubicBezTo>
                  <a:pt x="49" y="187"/>
                  <a:pt x="49" y="187"/>
                  <a:pt x="49" y="187"/>
                </a:cubicBezTo>
                <a:cubicBezTo>
                  <a:pt x="49" y="188"/>
                  <a:pt x="49" y="188"/>
                  <a:pt x="49" y="188"/>
                </a:cubicBezTo>
                <a:cubicBezTo>
                  <a:pt x="49" y="188"/>
                  <a:pt x="49" y="188"/>
                  <a:pt x="49" y="188"/>
                </a:cubicBezTo>
                <a:close/>
                <a:moveTo>
                  <a:pt x="47" y="192"/>
                </a:moveTo>
                <a:cubicBezTo>
                  <a:pt x="47" y="193"/>
                  <a:pt x="47" y="193"/>
                  <a:pt x="47" y="193"/>
                </a:cubicBezTo>
                <a:cubicBezTo>
                  <a:pt x="48" y="193"/>
                  <a:pt x="48" y="193"/>
                  <a:pt x="48" y="193"/>
                </a:cubicBezTo>
                <a:cubicBezTo>
                  <a:pt x="49" y="192"/>
                  <a:pt x="49" y="192"/>
                  <a:pt x="49" y="192"/>
                </a:cubicBezTo>
                <a:cubicBezTo>
                  <a:pt x="50" y="191"/>
                  <a:pt x="50" y="191"/>
                  <a:pt x="50" y="191"/>
                </a:cubicBezTo>
                <a:cubicBezTo>
                  <a:pt x="51" y="191"/>
                  <a:pt x="51" y="191"/>
                  <a:pt x="51" y="191"/>
                </a:cubicBezTo>
                <a:cubicBezTo>
                  <a:pt x="50" y="190"/>
                  <a:pt x="50" y="190"/>
                  <a:pt x="50" y="190"/>
                </a:cubicBezTo>
                <a:cubicBezTo>
                  <a:pt x="49" y="191"/>
                  <a:pt x="49" y="191"/>
                  <a:pt x="49" y="191"/>
                </a:cubicBezTo>
                <a:cubicBezTo>
                  <a:pt x="48" y="191"/>
                  <a:pt x="48" y="191"/>
                  <a:pt x="48" y="191"/>
                </a:cubicBezTo>
                <a:cubicBezTo>
                  <a:pt x="48" y="192"/>
                  <a:pt x="48" y="192"/>
                  <a:pt x="48" y="192"/>
                </a:cubicBezTo>
                <a:cubicBezTo>
                  <a:pt x="48" y="192"/>
                  <a:pt x="47" y="192"/>
                  <a:pt x="47" y="192"/>
                </a:cubicBezTo>
                <a:close/>
                <a:moveTo>
                  <a:pt x="46" y="196"/>
                </a:moveTo>
                <a:cubicBezTo>
                  <a:pt x="47" y="197"/>
                  <a:pt x="47" y="197"/>
                  <a:pt x="47" y="197"/>
                </a:cubicBezTo>
                <a:cubicBezTo>
                  <a:pt x="47" y="197"/>
                  <a:pt x="47" y="197"/>
                  <a:pt x="47" y="197"/>
                </a:cubicBezTo>
                <a:cubicBezTo>
                  <a:pt x="48" y="196"/>
                  <a:pt x="48" y="196"/>
                  <a:pt x="48" y="196"/>
                </a:cubicBezTo>
                <a:cubicBezTo>
                  <a:pt x="47" y="196"/>
                  <a:pt x="47" y="196"/>
                  <a:pt x="47" y="196"/>
                </a:cubicBezTo>
                <a:cubicBezTo>
                  <a:pt x="46" y="196"/>
                  <a:pt x="46" y="196"/>
                  <a:pt x="46" y="196"/>
                </a:cubicBezTo>
                <a:close/>
                <a:moveTo>
                  <a:pt x="74" y="341"/>
                </a:moveTo>
                <a:cubicBezTo>
                  <a:pt x="75" y="340"/>
                  <a:pt x="75" y="340"/>
                  <a:pt x="75" y="340"/>
                </a:cubicBezTo>
                <a:cubicBezTo>
                  <a:pt x="76" y="340"/>
                  <a:pt x="76" y="340"/>
                  <a:pt x="76" y="340"/>
                </a:cubicBezTo>
                <a:cubicBezTo>
                  <a:pt x="76" y="340"/>
                  <a:pt x="76" y="340"/>
                  <a:pt x="76" y="340"/>
                </a:cubicBezTo>
                <a:cubicBezTo>
                  <a:pt x="76" y="341"/>
                  <a:pt x="76" y="341"/>
                  <a:pt x="76" y="341"/>
                </a:cubicBezTo>
                <a:cubicBezTo>
                  <a:pt x="75" y="341"/>
                  <a:pt x="75" y="341"/>
                  <a:pt x="75" y="341"/>
                </a:cubicBezTo>
                <a:cubicBezTo>
                  <a:pt x="74" y="341"/>
                  <a:pt x="74" y="341"/>
                  <a:pt x="74" y="341"/>
                </a:cubicBezTo>
                <a:cubicBezTo>
                  <a:pt x="74" y="341"/>
                  <a:pt x="74" y="341"/>
                  <a:pt x="74" y="341"/>
                </a:cubicBezTo>
                <a:close/>
                <a:moveTo>
                  <a:pt x="67" y="337"/>
                </a:moveTo>
                <a:cubicBezTo>
                  <a:pt x="68" y="337"/>
                  <a:pt x="68" y="337"/>
                  <a:pt x="68" y="337"/>
                </a:cubicBezTo>
                <a:cubicBezTo>
                  <a:pt x="68" y="336"/>
                  <a:pt x="68" y="336"/>
                  <a:pt x="68" y="336"/>
                </a:cubicBezTo>
                <a:cubicBezTo>
                  <a:pt x="69" y="336"/>
                  <a:pt x="69" y="336"/>
                  <a:pt x="69" y="336"/>
                </a:cubicBezTo>
                <a:cubicBezTo>
                  <a:pt x="68" y="335"/>
                  <a:pt x="68" y="335"/>
                  <a:pt x="68" y="335"/>
                </a:cubicBezTo>
                <a:cubicBezTo>
                  <a:pt x="68" y="335"/>
                  <a:pt x="68" y="335"/>
                  <a:pt x="68" y="335"/>
                </a:cubicBezTo>
                <a:cubicBezTo>
                  <a:pt x="68" y="335"/>
                  <a:pt x="68" y="335"/>
                  <a:pt x="68" y="335"/>
                </a:cubicBezTo>
                <a:cubicBezTo>
                  <a:pt x="67" y="336"/>
                  <a:pt x="67" y="336"/>
                  <a:pt x="67" y="336"/>
                </a:cubicBezTo>
                <a:cubicBezTo>
                  <a:pt x="67" y="337"/>
                  <a:pt x="67" y="337"/>
                  <a:pt x="67" y="337"/>
                </a:cubicBezTo>
                <a:close/>
                <a:moveTo>
                  <a:pt x="63" y="329"/>
                </a:moveTo>
                <a:cubicBezTo>
                  <a:pt x="63" y="329"/>
                  <a:pt x="63" y="329"/>
                  <a:pt x="63" y="329"/>
                </a:cubicBezTo>
                <a:cubicBezTo>
                  <a:pt x="64" y="329"/>
                  <a:pt x="64" y="329"/>
                  <a:pt x="64" y="329"/>
                </a:cubicBezTo>
                <a:cubicBezTo>
                  <a:pt x="64" y="328"/>
                  <a:pt x="64" y="328"/>
                  <a:pt x="64" y="328"/>
                </a:cubicBezTo>
                <a:cubicBezTo>
                  <a:pt x="64" y="328"/>
                  <a:pt x="64" y="328"/>
                  <a:pt x="64" y="328"/>
                </a:cubicBezTo>
                <a:cubicBezTo>
                  <a:pt x="63" y="328"/>
                  <a:pt x="63" y="328"/>
                  <a:pt x="63" y="328"/>
                </a:cubicBezTo>
                <a:cubicBezTo>
                  <a:pt x="63" y="329"/>
                  <a:pt x="63" y="329"/>
                  <a:pt x="63" y="329"/>
                </a:cubicBezTo>
                <a:close/>
                <a:moveTo>
                  <a:pt x="60" y="328"/>
                </a:moveTo>
                <a:cubicBezTo>
                  <a:pt x="60" y="329"/>
                  <a:pt x="60" y="329"/>
                  <a:pt x="60" y="329"/>
                </a:cubicBezTo>
                <a:cubicBezTo>
                  <a:pt x="61" y="329"/>
                  <a:pt x="61" y="329"/>
                  <a:pt x="61" y="329"/>
                </a:cubicBezTo>
                <a:cubicBezTo>
                  <a:pt x="61" y="328"/>
                  <a:pt x="61" y="328"/>
                  <a:pt x="61" y="328"/>
                </a:cubicBezTo>
                <a:cubicBezTo>
                  <a:pt x="61" y="328"/>
                  <a:pt x="61" y="328"/>
                  <a:pt x="61" y="328"/>
                </a:cubicBezTo>
                <a:cubicBezTo>
                  <a:pt x="60" y="328"/>
                  <a:pt x="60" y="328"/>
                  <a:pt x="60" y="328"/>
                </a:cubicBezTo>
                <a:close/>
                <a:moveTo>
                  <a:pt x="54" y="329"/>
                </a:moveTo>
                <a:cubicBezTo>
                  <a:pt x="54" y="330"/>
                  <a:pt x="54" y="330"/>
                  <a:pt x="54" y="330"/>
                </a:cubicBezTo>
                <a:cubicBezTo>
                  <a:pt x="54" y="330"/>
                  <a:pt x="54" y="330"/>
                  <a:pt x="54" y="330"/>
                </a:cubicBezTo>
                <a:cubicBezTo>
                  <a:pt x="54" y="330"/>
                  <a:pt x="54" y="330"/>
                  <a:pt x="54" y="330"/>
                </a:cubicBezTo>
                <a:cubicBezTo>
                  <a:pt x="55" y="330"/>
                  <a:pt x="55" y="330"/>
                  <a:pt x="55" y="330"/>
                </a:cubicBezTo>
                <a:cubicBezTo>
                  <a:pt x="55" y="329"/>
                  <a:pt x="55" y="329"/>
                  <a:pt x="55" y="329"/>
                </a:cubicBezTo>
                <a:cubicBezTo>
                  <a:pt x="54" y="329"/>
                  <a:pt x="54" y="329"/>
                  <a:pt x="54" y="329"/>
                </a:cubicBezTo>
                <a:cubicBezTo>
                  <a:pt x="54" y="329"/>
                  <a:pt x="54" y="329"/>
                  <a:pt x="54" y="329"/>
                </a:cubicBezTo>
                <a:close/>
                <a:moveTo>
                  <a:pt x="45" y="291"/>
                </a:moveTo>
                <a:cubicBezTo>
                  <a:pt x="45" y="291"/>
                  <a:pt x="45" y="291"/>
                  <a:pt x="45" y="291"/>
                </a:cubicBezTo>
                <a:cubicBezTo>
                  <a:pt x="46" y="290"/>
                  <a:pt x="46" y="290"/>
                  <a:pt x="46" y="290"/>
                </a:cubicBezTo>
                <a:cubicBezTo>
                  <a:pt x="47" y="289"/>
                  <a:pt x="47" y="289"/>
                  <a:pt x="47" y="289"/>
                </a:cubicBezTo>
                <a:cubicBezTo>
                  <a:pt x="47" y="289"/>
                  <a:pt x="47" y="289"/>
                  <a:pt x="47" y="289"/>
                </a:cubicBezTo>
                <a:cubicBezTo>
                  <a:pt x="46" y="289"/>
                  <a:pt x="46" y="289"/>
                  <a:pt x="46" y="289"/>
                </a:cubicBezTo>
                <a:cubicBezTo>
                  <a:pt x="45" y="291"/>
                  <a:pt x="45" y="291"/>
                  <a:pt x="45" y="291"/>
                </a:cubicBezTo>
                <a:close/>
                <a:moveTo>
                  <a:pt x="45" y="289"/>
                </a:moveTo>
                <a:cubicBezTo>
                  <a:pt x="45" y="289"/>
                  <a:pt x="45" y="290"/>
                  <a:pt x="45" y="290"/>
                </a:cubicBezTo>
                <a:cubicBezTo>
                  <a:pt x="45" y="290"/>
                  <a:pt x="45" y="290"/>
                  <a:pt x="45" y="290"/>
                </a:cubicBezTo>
                <a:cubicBezTo>
                  <a:pt x="46" y="289"/>
                  <a:pt x="46" y="289"/>
                  <a:pt x="46" y="289"/>
                </a:cubicBezTo>
                <a:cubicBezTo>
                  <a:pt x="46" y="288"/>
                  <a:pt x="46" y="288"/>
                  <a:pt x="46" y="288"/>
                </a:cubicBezTo>
                <a:cubicBezTo>
                  <a:pt x="46" y="288"/>
                  <a:pt x="46" y="288"/>
                  <a:pt x="46" y="288"/>
                </a:cubicBezTo>
                <a:cubicBezTo>
                  <a:pt x="45" y="289"/>
                  <a:pt x="45" y="289"/>
                  <a:pt x="45" y="289"/>
                </a:cubicBezTo>
                <a:close/>
                <a:moveTo>
                  <a:pt x="40" y="276"/>
                </a:moveTo>
                <a:cubicBezTo>
                  <a:pt x="39" y="277"/>
                  <a:pt x="39" y="277"/>
                  <a:pt x="39" y="277"/>
                </a:cubicBezTo>
                <a:cubicBezTo>
                  <a:pt x="39" y="277"/>
                  <a:pt x="39" y="277"/>
                  <a:pt x="39" y="277"/>
                </a:cubicBezTo>
                <a:cubicBezTo>
                  <a:pt x="40" y="277"/>
                  <a:pt x="40" y="277"/>
                  <a:pt x="40" y="277"/>
                </a:cubicBezTo>
                <a:cubicBezTo>
                  <a:pt x="40" y="276"/>
                  <a:pt x="40" y="276"/>
                  <a:pt x="40" y="276"/>
                </a:cubicBezTo>
                <a:cubicBezTo>
                  <a:pt x="40" y="276"/>
                  <a:pt x="40" y="276"/>
                  <a:pt x="40" y="276"/>
                </a:cubicBezTo>
                <a:cubicBezTo>
                  <a:pt x="40" y="276"/>
                  <a:pt x="40" y="276"/>
                  <a:pt x="40" y="276"/>
                </a:cubicBezTo>
                <a:close/>
                <a:moveTo>
                  <a:pt x="39" y="275"/>
                </a:moveTo>
                <a:cubicBezTo>
                  <a:pt x="39" y="276"/>
                  <a:pt x="39" y="276"/>
                  <a:pt x="39" y="276"/>
                </a:cubicBezTo>
                <a:cubicBezTo>
                  <a:pt x="40" y="276"/>
                  <a:pt x="40" y="276"/>
                  <a:pt x="40" y="276"/>
                </a:cubicBezTo>
                <a:cubicBezTo>
                  <a:pt x="40" y="275"/>
                  <a:pt x="40" y="275"/>
                  <a:pt x="40" y="275"/>
                </a:cubicBezTo>
                <a:cubicBezTo>
                  <a:pt x="40" y="275"/>
                  <a:pt x="40" y="275"/>
                  <a:pt x="40" y="275"/>
                </a:cubicBezTo>
                <a:cubicBezTo>
                  <a:pt x="39" y="275"/>
                  <a:pt x="39" y="275"/>
                  <a:pt x="39" y="275"/>
                </a:cubicBezTo>
                <a:close/>
                <a:moveTo>
                  <a:pt x="40" y="263"/>
                </a:moveTo>
                <a:cubicBezTo>
                  <a:pt x="41" y="263"/>
                  <a:pt x="41" y="263"/>
                  <a:pt x="41" y="263"/>
                </a:cubicBezTo>
                <a:cubicBezTo>
                  <a:pt x="41" y="262"/>
                  <a:pt x="41" y="262"/>
                  <a:pt x="41" y="262"/>
                </a:cubicBezTo>
                <a:cubicBezTo>
                  <a:pt x="41" y="262"/>
                  <a:pt x="41" y="262"/>
                  <a:pt x="41" y="262"/>
                </a:cubicBezTo>
                <a:cubicBezTo>
                  <a:pt x="40" y="263"/>
                  <a:pt x="40" y="263"/>
                  <a:pt x="40" y="263"/>
                </a:cubicBezTo>
                <a:close/>
                <a:moveTo>
                  <a:pt x="40" y="261"/>
                </a:moveTo>
                <a:cubicBezTo>
                  <a:pt x="41" y="262"/>
                  <a:pt x="41" y="262"/>
                  <a:pt x="41" y="262"/>
                </a:cubicBezTo>
                <a:cubicBezTo>
                  <a:pt x="42" y="262"/>
                  <a:pt x="42" y="262"/>
                  <a:pt x="42" y="262"/>
                </a:cubicBezTo>
                <a:cubicBezTo>
                  <a:pt x="42" y="261"/>
                  <a:pt x="42" y="261"/>
                  <a:pt x="42" y="261"/>
                </a:cubicBezTo>
                <a:cubicBezTo>
                  <a:pt x="41" y="261"/>
                  <a:pt x="41" y="261"/>
                  <a:pt x="41" y="261"/>
                </a:cubicBezTo>
                <a:cubicBezTo>
                  <a:pt x="40" y="261"/>
                  <a:pt x="40" y="261"/>
                  <a:pt x="40" y="261"/>
                </a:cubicBezTo>
                <a:cubicBezTo>
                  <a:pt x="40" y="261"/>
                  <a:pt x="40" y="261"/>
                  <a:pt x="40" y="261"/>
                </a:cubicBezTo>
                <a:close/>
                <a:moveTo>
                  <a:pt x="38" y="261"/>
                </a:moveTo>
                <a:cubicBezTo>
                  <a:pt x="38" y="262"/>
                  <a:pt x="38" y="262"/>
                  <a:pt x="38" y="262"/>
                </a:cubicBezTo>
                <a:cubicBezTo>
                  <a:pt x="39" y="261"/>
                  <a:pt x="39" y="261"/>
                  <a:pt x="39" y="261"/>
                </a:cubicBezTo>
                <a:cubicBezTo>
                  <a:pt x="39" y="261"/>
                  <a:pt x="39" y="261"/>
                  <a:pt x="39" y="261"/>
                </a:cubicBezTo>
                <a:cubicBezTo>
                  <a:pt x="38" y="261"/>
                  <a:pt x="38" y="261"/>
                  <a:pt x="38" y="261"/>
                </a:cubicBezTo>
                <a:cubicBezTo>
                  <a:pt x="38" y="261"/>
                  <a:pt x="38" y="261"/>
                  <a:pt x="38" y="261"/>
                </a:cubicBezTo>
                <a:close/>
                <a:moveTo>
                  <a:pt x="41" y="250"/>
                </a:moveTo>
                <a:cubicBezTo>
                  <a:pt x="41" y="251"/>
                  <a:pt x="41" y="251"/>
                  <a:pt x="41" y="251"/>
                </a:cubicBezTo>
                <a:cubicBezTo>
                  <a:pt x="41" y="251"/>
                  <a:pt x="41" y="251"/>
                  <a:pt x="41" y="251"/>
                </a:cubicBezTo>
                <a:cubicBezTo>
                  <a:pt x="42" y="251"/>
                  <a:pt x="42" y="251"/>
                  <a:pt x="42" y="251"/>
                </a:cubicBezTo>
                <a:cubicBezTo>
                  <a:pt x="43" y="250"/>
                  <a:pt x="43" y="250"/>
                  <a:pt x="43" y="250"/>
                </a:cubicBezTo>
                <a:cubicBezTo>
                  <a:pt x="43" y="249"/>
                  <a:pt x="43" y="249"/>
                  <a:pt x="43" y="249"/>
                </a:cubicBezTo>
                <a:cubicBezTo>
                  <a:pt x="42" y="249"/>
                  <a:pt x="42" y="249"/>
                  <a:pt x="42" y="249"/>
                </a:cubicBezTo>
                <a:cubicBezTo>
                  <a:pt x="41" y="250"/>
                  <a:pt x="41" y="250"/>
                  <a:pt x="41" y="250"/>
                </a:cubicBezTo>
                <a:close/>
                <a:moveTo>
                  <a:pt x="51" y="246"/>
                </a:moveTo>
                <a:cubicBezTo>
                  <a:pt x="52" y="246"/>
                  <a:pt x="52" y="246"/>
                  <a:pt x="52" y="246"/>
                </a:cubicBezTo>
                <a:cubicBezTo>
                  <a:pt x="54" y="246"/>
                  <a:pt x="54" y="246"/>
                  <a:pt x="54" y="246"/>
                </a:cubicBezTo>
                <a:cubicBezTo>
                  <a:pt x="54" y="245"/>
                  <a:pt x="54" y="245"/>
                  <a:pt x="54" y="245"/>
                </a:cubicBezTo>
                <a:cubicBezTo>
                  <a:pt x="52" y="245"/>
                  <a:pt x="52" y="245"/>
                  <a:pt x="52" y="245"/>
                </a:cubicBezTo>
                <a:cubicBezTo>
                  <a:pt x="51" y="245"/>
                  <a:pt x="51" y="245"/>
                  <a:pt x="51" y="245"/>
                </a:cubicBezTo>
                <a:cubicBezTo>
                  <a:pt x="51" y="246"/>
                  <a:pt x="51" y="246"/>
                  <a:pt x="51" y="246"/>
                </a:cubicBezTo>
                <a:close/>
                <a:moveTo>
                  <a:pt x="47" y="240"/>
                </a:moveTo>
                <a:cubicBezTo>
                  <a:pt x="47" y="241"/>
                  <a:pt x="47" y="241"/>
                  <a:pt x="47" y="241"/>
                </a:cubicBezTo>
                <a:cubicBezTo>
                  <a:pt x="48" y="241"/>
                  <a:pt x="48" y="241"/>
                  <a:pt x="48" y="241"/>
                </a:cubicBezTo>
                <a:cubicBezTo>
                  <a:pt x="49" y="241"/>
                  <a:pt x="49" y="241"/>
                  <a:pt x="49" y="241"/>
                </a:cubicBezTo>
                <a:cubicBezTo>
                  <a:pt x="49" y="240"/>
                  <a:pt x="49" y="240"/>
                  <a:pt x="49" y="240"/>
                </a:cubicBezTo>
                <a:cubicBezTo>
                  <a:pt x="48" y="240"/>
                  <a:pt x="48" y="240"/>
                  <a:pt x="48" y="240"/>
                </a:cubicBezTo>
                <a:cubicBezTo>
                  <a:pt x="47" y="240"/>
                  <a:pt x="47" y="240"/>
                  <a:pt x="47" y="240"/>
                </a:cubicBezTo>
                <a:close/>
                <a:moveTo>
                  <a:pt x="52" y="240"/>
                </a:moveTo>
                <a:cubicBezTo>
                  <a:pt x="53" y="240"/>
                  <a:pt x="53" y="240"/>
                  <a:pt x="53" y="240"/>
                </a:cubicBezTo>
                <a:cubicBezTo>
                  <a:pt x="54" y="240"/>
                  <a:pt x="54" y="240"/>
                  <a:pt x="54" y="240"/>
                </a:cubicBezTo>
                <a:cubicBezTo>
                  <a:pt x="54" y="240"/>
                  <a:pt x="54" y="240"/>
                  <a:pt x="54" y="240"/>
                </a:cubicBezTo>
                <a:cubicBezTo>
                  <a:pt x="53" y="239"/>
                  <a:pt x="53" y="239"/>
                  <a:pt x="53" y="239"/>
                </a:cubicBezTo>
                <a:cubicBezTo>
                  <a:pt x="52" y="240"/>
                  <a:pt x="52" y="240"/>
                  <a:pt x="52" y="240"/>
                </a:cubicBezTo>
                <a:close/>
                <a:moveTo>
                  <a:pt x="49" y="239"/>
                </a:moveTo>
                <a:cubicBezTo>
                  <a:pt x="51" y="240"/>
                  <a:pt x="51" y="240"/>
                  <a:pt x="51" y="240"/>
                </a:cubicBezTo>
                <a:cubicBezTo>
                  <a:pt x="52" y="239"/>
                  <a:pt x="52" y="239"/>
                  <a:pt x="52" y="239"/>
                </a:cubicBezTo>
                <a:cubicBezTo>
                  <a:pt x="53" y="239"/>
                  <a:pt x="53" y="239"/>
                  <a:pt x="53" y="239"/>
                </a:cubicBezTo>
                <a:cubicBezTo>
                  <a:pt x="52" y="238"/>
                  <a:pt x="52" y="238"/>
                  <a:pt x="52" y="238"/>
                </a:cubicBezTo>
                <a:cubicBezTo>
                  <a:pt x="51" y="238"/>
                  <a:pt x="51" y="238"/>
                  <a:pt x="51" y="238"/>
                </a:cubicBezTo>
                <a:cubicBezTo>
                  <a:pt x="50" y="238"/>
                  <a:pt x="50" y="238"/>
                  <a:pt x="50" y="238"/>
                </a:cubicBezTo>
                <a:cubicBezTo>
                  <a:pt x="49" y="239"/>
                  <a:pt x="49" y="239"/>
                  <a:pt x="49" y="239"/>
                </a:cubicBezTo>
                <a:close/>
                <a:moveTo>
                  <a:pt x="60" y="214"/>
                </a:moveTo>
                <a:cubicBezTo>
                  <a:pt x="61" y="215"/>
                  <a:pt x="61" y="215"/>
                  <a:pt x="61" y="215"/>
                </a:cubicBezTo>
                <a:cubicBezTo>
                  <a:pt x="61" y="216"/>
                  <a:pt x="61" y="216"/>
                  <a:pt x="61" y="216"/>
                </a:cubicBezTo>
                <a:cubicBezTo>
                  <a:pt x="62" y="215"/>
                  <a:pt x="62" y="215"/>
                  <a:pt x="62" y="215"/>
                </a:cubicBezTo>
                <a:cubicBezTo>
                  <a:pt x="61" y="215"/>
                  <a:pt x="61" y="215"/>
                  <a:pt x="61" y="215"/>
                </a:cubicBezTo>
                <a:cubicBezTo>
                  <a:pt x="60" y="214"/>
                  <a:pt x="60" y="214"/>
                  <a:pt x="60" y="214"/>
                </a:cubicBezTo>
                <a:close/>
                <a:moveTo>
                  <a:pt x="60" y="211"/>
                </a:moveTo>
                <a:cubicBezTo>
                  <a:pt x="59" y="212"/>
                  <a:pt x="59" y="212"/>
                  <a:pt x="59" y="212"/>
                </a:cubicBezTo>
                <a:cubicBezTo>
                  <a:pt x="61" y="213"/>
                  <a:pt x="61" y="213"/>
                  <a:pt x="61" y="213"/>
                </a:cubicBezTo>
                <a:cubicBezTo>
                  <a:pt x="61" y="213"/>
                  <a:pt x="61" y="213"/>
                  <a:pt x="61" y="213"/>
                </a:cubicBezTo>
                <a:cubicBezTo>
                  <a:pt x="61" y="212"/>
                  <a:pt x="61" y="212"/>
                  <a:pt x="61" y="212"/>
                </a:cubicBezTo>
                <a:cubicBezTo>
                  <a:pt x="61" y="212"/>
                  <a:pt x="60" y="211"/>
                  <a:pt x="60" y="211"/>
                </a:cubicBezTo>
                <a:close/>
                <a:moveTo>
                  <a:pt x="56" y="203"/>
                </a:moveTo>
                <a:cubicBezTo>
                  <a:pt x="57" y="203"/>
                  <a:pt x="57" y="203"/>
                  <a:pt x="57" y="203"/>
                </a:cubicBezTo>
                <a:cubicBezTo>
                  <a:pt x="58" y="202"/>
                  <a:pt x="58" y="202"/>
                  <a:pt x="58" y="202"/>
                </a:cubicBezTo>
                <a:cubicBezTo>
                  <a:pt x="59" y="202"/>
                  <a:pt x="59" y="202"/>
                  <a:pt x="59" y="202"/>
                </a:cubicBezTo>
                <a:cubicBezTo>
                  <a:pt x="59" y="201"/>
                  <a:pt x="59" y="201"/>
                  <a:pt x="59" y="201"/>
                </a:cubicBezTo>
                <a:cubicBezTo>
                  <a:pt x="58" y="201"/>
                  <a:pt x="58" y="201"/>
                  <a:pt x="58" y="201"/>
                </a:cubicBezTo>
                <a:cubicBezTo>
                  <a:pt x="57" y="201"/>
                  <a:pt x="57" y="201"/>
                  <a:pt x="57" y="201"/>
                </a:cubicBezTo>
                <a:cubicBezTo>
                  <a:pt x="56" y="201"/>
                  <a:pt x="56" y="201"/>
                  <a:pt x="56" y="201"/>
                </a:cubicBezTo>
                <a:cubicBezTo>
                  <a:pt x="56" y="202"/>
                  <a:pt x="56" y="202"/>
                  <a:pt x="56" y="202"/>
                </a:cubicBezTo>
                <a:cubicBezTo>
                  <a:pt x="56" y="203"/>
                  <a:pt x="56" y="203"/>
                  <a:pt x="56" y="203"/>
                </a:cubicBezTo>
                <a:close/>
                <a:moveTo>
                  <a:pt x="56" y="208"/>
                </a:moveTo>
                <a:cubicBezTo>
                  <a:pt x="57" y="208"/>
                  <a:pt x="57" y="208"/>
                  <a:pt x="57" y="208"/>
                </a:cubicBezTo>
                <a:cubicBezTo>
                  <a:pt x="58" y="208"/>
                  <a:pt x="58" y="208"/>
                  <a:pt x="58" y="208"/>
                </a:cubicBezTo>
                <a:cubicBezTo>
                  <a:pt x="59" y="207"/>
                  <a:pt x="59" y="207"/>
                  <a:pt x="59" y="207"/>
                </a:cubicBezTo>
                <a:cubicBezTo>
                  <a:pt x="59" y="206"/>
                  <a:pt x="59" y="206"/>
                  <a:pt x="59" y="206"/>
                </a:cubicBezTo>
                <a:cubicBezTo>
                  <a:pt x="58" y="205"/>
                  <a:pt x="58" y="205"/>
                  <a:pt x="58" y="205"/>
                </a:cubicBezTo>
                <a:cubicBezTo>
                  <a:pt x="57" y="206"/>
                  <a:pt x="57" y="206"/>
                  <a:pt x="57" y="206"/>
                </a:cubicBezTo>
                <a:cubicBezTo>
                  <a:pt x="56" y="208"/>
                  <a:pt x="56" y="208"/>
                  <a:pt x="56" y="208"/>
                </a:cubicBezTo>
                <a:close/>
                <a:moveTo>
                  <a:pt x="52" y="208"/>
                </a:moveTo>
                <a:cubicBezTo>
                  <a:pt x="53" y="209"/>
                  <a:pt x="53" y="209"/>
                  <a:pt x="53" y="209"/>
                </a:cubicBezTo>
                <a:cubicBezTo>
                  <a:pt x="54" y="208"/>
                  <a:pt x="54" y="208"/>
                  <a:pt x="54" y="208"/>
                </a:cubicBezTo>
                <a:cubicBezTo>
                  <a:pt x="54" y="207"/>
                  <a:pt x="54" y="207"/>
                  <a:pt x="54" y="207"/>
                </a:cubicBezTo>
                <a:cubicBezTo>
                  <a:pt x="54" y="205"/>
                  <a:pt x="54" y="205"/>
                  <a:pt x="54" y="205"/>
                </a:cubicBezTo>
                <a:cubicBezTo>
                  <a:pt x="53" y="206"/>
                  <a:pt x="53" y="206"/>
                  <a:pt x="53" y="206"/>
                </a:cubicBezTo>
                <a:cubicBezTo>
                  <a:pt x="52" y="207"/>
                  <a:pt x="52" y="207"/>
                  <a:pt x="52" y="207"/>
                </a:cubicBezTo>
                <a:cubicBezTo>
                  <a:pt x="52" y="208"/>
                  <a:pt x="52" y="208"/>
                  <a:pt x="52" y="208"/>
                </a:cubicBezTo>
                <a:close/>
                <a:moveTo>
                  <a:pt x="45" y="214"/>
                </a:moveTo>
                <a:cubicBezTo>
                  <a:pt x="44" y="215"/>
                  <a:pt x="44" y="215"/>
                  <a:pt x="44" y="215"/>
                </a:cubicBezTo>
                <a:cubicBezTo>
                  <a:pt x="45" y="216"/>
                  <a:pt x="45" y="216"/>
                  <a:pt x="45" y="216"/>
                </a:cubicBezTo>
                <a:cubicBezTo>
                  <a:pt x="46" y="216"/>
                  <a:pt x="46" y="216"/>
                  <a:pt x="46" y="216"/>
                </a:cubicBezTo>
                <a:cubicBezTo>
                  <a:pt x="46" y="215"/>
                  <a:pt x="46" y="215"/>
                  <a:pt x="46" y="215"/>
                </a:cubicBezTo>
                <a:cubicBezTo>
                  <a:pt x="45" y="214"/>
                  <a:pt x="45" y="214"/>
                  <a:pt x="45" y="214"/>
                </a:cubicBezTo>
                <a:cubicBezTo>
                  <a:pt x="45" y="214"/>
                  <a:pt x="45" y="214"/>
                  <a:pt x="45" y="214"/>
                </a:cubicBezTo>
                <a:close/>
                <a:moveTo>
                  <a:pt x="60" y="226"/>
                </a:moveTo>
                <a:cubicBezTo>
                  <a:pt x="60" y="226"/>
                  <a:pt x="60" y="226"/>
                  <a:pt x="60" y="226"/>
                </a:cubicBezTo>
                <a:cubicBezTo>
                  <a:pt x="60" y="226"/>
                  <a:pt x="60" y="226"/>
                  <a:pt x="60" y="226"/>
                </a:cubicBezTo>
                <a:cubicBezTo>
                  <a:pt x="60" y="227"/>
                  <a:pt x="60" y="227"/>
                  <a:pt x="60" y="227"/>
                </a:cubicBezTo>
                <a:cubicBezTo>
                  <a:pt x="60" y="228"/>
                  <a:pt x="60" y="228"/>
                  <a:pt x="60" y="228"/>
                </a:cubicBezTo>
                <a:cubicBezTo>
                  <a:pt x="60" y="229"/>
                  <a:pt x="60" y="229"/>
                  <a:pt x="60" y="229"/>
                </a:cubicBezTo>
                <a:cubicBezTo>
                  <a:pt x="61" y="228"/>
                  <a:pt x="61" y="228"/>
                  <a:pt x="61" y="228"/>
                </a:cubicBezTo>
                <a:cubicBezTo>
                  <a:pt x="62" y="226"/>
                  <a:pt x="62" y="226"/>
                  <a:pt x="62" y="226"/>
                </a:cubicBezTo>
                <a:cubicBezTo>
                  <a:pt x="63" y="226"/>
                  <a:pt x="63" y="226"/>
                  <a:pt x="63" y="226"/>
                </a:cubicBezTo>
                <a:cubicBezTo>
                  <a:pt x="62" y="225"/>
                  <a:pt x="62" y="225"/>
                  <a:pt x="62" y="225"/>
                </a:cubicBezTo>
                <a:cubicBezTo>
                  <a:pt x="62" y="225"/>
                  <a:pt x="62" y="225"/>
                  <a:pt x="62" y="225"/>
                </a:cubicBezTo>
                <a:cubicBezTo>
                  <a:pt x="60" y="225"/>
                  <a:pt x="60" y="225"/>
                  <a:pt x="60" y="225"/>
                </a:cubicBezTo>
                <a:cubicBezTo>
                  <a:pt x="60" y="226"/>
                  <a:pt x="60" y="226"/>
                  <a:pt x="60" y="226"/>
                </a:cubicBezTo>
                <a:close/>
                <a:moveTo>
                  <a:pt x="45" y="230"/>
                </a:moveTo>
                <a:cubicBezTo>
                  <a:pt x="45" y="231"/>
                  <a:pt x="45" y="231"/>
                  <a:pt x="45" y="231"/>
                </a:cubicBezTo>
                <a:cubicBezTo>
                  <a:pt x="47" y="231"/>
                  <a:pt x="47" y="231"/>
                  <a:pt x="47" y="231"/>
                </a:cubicBezTo>
                <a:cubicBezTo>
                  <a:pt x="48" y="232"/>
                  <a:pt x="48" y="232"/>
                  <a:pt x="48" y="232"/>
                </a:cubicBezTo>
                <a:cubicBezTo>
                  <a:pt x="49" y="232"/>
                  <a:pt x="49" y="232"/>
                  <a:pt x="49" y="232"/>
                </a:cubicBezTo>
                <a:cubicBezTo>
                  <a:pt x="49" y="231"/>
                  <a:pt x="49" y="231"/>
                  <a:pt x="49" y="231"/>
                </a:cubicBezTo>
                <a:cubicBezTo>
                  <a:pt x="53" y="231"/>
                  <a:pt x="53" y="231"/>
                  <a:pt x="53" y="231"/>
                </a:cubicBezTo>
                <a:cubicBezTo>
                  <a:pt x="55" y="231"/>
                  <a:pt x="55" y="231"/>
                  <a:pt x="55" y="231"/>
                </a:cubicBezTo>
                <a:cubicBezTo>
                  <a:pt x="57" y="229"/>
                  <a:pt x="57" y="229"/>
                  <a:pt x="57" y="229"/>
                </a:cubicBezTo>
                <a:cubicBezTo>
                  <a:pt x="56" y="227"/>
                  <a:pt x="56" y="227"/>
                  <a:pt x="56" y="227"/>
                </a:cubicBezTo>
                <a:cubicBezTo>
                  <a:pt x="56" y="225"/>
                  <a:pt x="56" y="225"/>
                  <a:pt x="56" y="225"/>
                </a:cubicBezTo>
                <a:cubicBezTo>
                  <a:pt x="55" y="225"/>
                  <a:pt x="55" y="225"/>
                  <a:pt x="55" y="225"/>
                </a:cubicBezTo>
                <a:cubicBezTo>
                  <a:pt x="53" y="225"/>
                  <a:pt x="53" y="225"/>
                  <a:pt x="53" y="225"/>
                </a:cubicBezTo>
                <a:cubicBezTo>
                  <a:pt x="53" y="222"/>
                  <a:pt x="53" y="222"/>
                  <a:pt x="53" y="222"/>
                </a:cubicBezTo>
                <a:cubicBezTo>
                  <a:pt x="51" y="220"/>
                  <a:pt x="51" y="220"/>
                  <a:pt x="51" y="220"/>
                </a:cubicBezTo>
                <a:cubicBezTo>
                  <a:pt x="49" y="219"/>
                  <a:pt x="49" y="219"/>
                  <a:pt x="49" y="219"/>
                </a:cubicBezTo>
                <a:cubicBezTo>
                  <a:pt x="48" y="218"/>
                  <a:pt x="48" y="218"/>
                  <a:pt x="48" y="218"/>
                </a:cubicBezTo>
                <a:cubicBezTo>
                  <a:pt x="46" y="218"/>
                  <a:pt x="46" y="218"/>
                  <a:pt x="46" y="218"/>
                </a:cubicBezTo>
                <a:cubicBezTo>
                  <a:pt x="45" y="217"/>
                  <a:pt x="45" y="217"/>
                  <a:pt x="45" y="217"/>
                </a:cubicBezTo>
                <a:cubicBezTo>
                  <a:pt x="45" y="218"/>
                  <a:pt x="45" y="218"/>
                  <a:pt x="45" y="218"/>
                </a:cubicBezTo>
                <a:cubicBezTo>
                  <a:pt x="44" y="219"/>
                  <a:pt x="44" y="219"/>
                  <a:pt x="44" y="219"/>
                </a:cubicBezTo>
                <a:cubicBezTo>
                  <a:pt x="44" y="221"/>
                  <a:pt x="44" y="221"/>
                  <a:pt x="44" y="221"/>
                </a:cubicBezTo>
                <a:cubicBezTo>
                  <a:pt x="45" y="222"/>
                  <a:pt x="45" y="222"/>
                  <a:pt x="45" y="222"/>
                </a:cubicBezTo>
                <a:cubicBezTo>
                  <a:pt x="45" y="223"/>
                  <a:pt x="45" y="223"/>
                  <a:pt x="45" y="223"/>
                </a:cubicBezTo>
                <a:cubicBezTo>
                  <a:pt x="44" y="222"/>
                  <a:pt x="44" y="222"/>
                  <a:pt x="44" y="222"/>
                </a:cubicBezTo>
                <a:cubicBezTo>
                  <a:pt x="43" y="223"/>
                  <a:pt x="43" y="223"/>
                  <a:pt x="43" y="223"/>
                </a:cubicBezTo>
                <a:cubicBezTo>
                  <a:pt x="43" y="224"/>
                  <a:pt x="43" y="224"/>
                  <a:pt x="43" y="224"/>
                </a:cubicBezTo>
                <a:cubicBezTo>
                  <a:pt x="43" y="225"/>
                  <a:pt x="43" y="225"/>
                  <a:pt x="43" y="225"/>
                </a:cubicBezTo>
                <a:cubicBezTo>
                  <a:pt x="44" y="225"/>
                  <a:pt x="44" y="225"/>
                  <a:pt x="44" y="225"/>
                </a:cubicBezTo>
                <a:cubicBezTo>
                  <a:pt x="43" y="226"/>
                  <a:pt x="43" y="226"/>
                  <a:pt x="43" y="226"/>
                </a:cubicBezTo>
                <a:cubicBezTo>
                  <a:pt x="43" y="226"/>
                  <a:pt x="43" y="226"/>
                  <a:pt x="43" y="226"/>
                </a:cubicBezTo>
                <a:cubicBezTo>
                  <a:pt x="44" y="227"/>
                  <a:pt x="44" y="227"/>
                  <a:pt x="44" y="227"/>
                </a:cubicBezTo>
                <a:cubicBezTo>
                  <a:pt x="46" y="228"/>
                  <a:pt x="46" y="228"/>
                  <a:pt x="46" y="228"/>
                </a:cubicBezTo>
                <a:cubicBezTo>
                  <a:pt x="47" y="229"/>
                  <a:pt x="47" y="229"/>
                  <a:pt x="47" y="229"/>
                </a:cubicBezTo>
                <a:cubicBezTo>
                  <a:pt x="48" y="229"/>
                  <a:pt x="48" y="229"/>
                  <a:pt x="48" y="229"/>
                </a:cubicBezTo>
                <a:cubicBezTo>
                  <a:pt x="50" y="228"/>
                  <a:pt x="50" y="228"/>
                  <a:pt x="50" y="228"/>
                </a:cubicBezTo>
                <a:cubicBezTo>
                  <a:pt x="48" y="229"/>
                  <a:pt x="48" y="229"/>
                  <a:pt x="48" y="229"/>
                </a:cubicBezTo>
                <a:cubicBezTo>
                  <a:pt x="47" y="229"/>
                  <a:pt x="47" y="229"/>
                  <a:pt x="47" y="229"/>
                </a:cubicBezTo>
                <a:cubicBezTo>
                  <a:pt x="46" y="229"/>
                  <a:pt x="46" y="229"/>
                  <a:pt x="46" y="229"/>
                </a:cubicBezTo>
                <a:cubicBezTo>
                  <a:pt x="45" y="229"/>
                  <a:pt x="45" y="229"/>
                  <a:pt x="45" y="229"/>
                </a:cubicBezTo>
                <a:lnTo>
                  <a:pt x="45" y="23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1" name="Freeform 169">
            <a:extLst>
              <a:ext uri="{FF2B5EF4-FFF2-40B4-BE49-F238E27FC236}">
                <a16:creationId xmlns:a16="http://schemas.microsoft.com/office/drawing/2014/main" id="{C9243F8C-5BE6-D476-5C7C-74E2FBD47DAD}"/>
              </a:ext>
            </a:extLst>
          </p:cNvPr>
          <p:cNvSpPr>
            <a:spLocks noEditPoints="1"/>
          </p:cNvSpPr>
          <p:nvPr userDrawn="1"/>
        </p:nvSpPr>
        <p:spPr bwMode="auto">
          <a:xfrm>
            <a:off x="5527315" y="1440731"/>
            <a:ext cx="5419373" cy="5026026"/>
          </a:xfrm>
          <a:custGeom>
            <a:avLst/>
            <a:gdLst>
              <a:gd name="T0" fmla="*/ 399 w 546"/>
              <a:gd name="T1" fmla="*/ 36 h 506"/>
              <a:gd name="T2" fmla="*/ 400 w 546"/>
              <a:gd name="T3" fmla="*/ 86 h 506"/>
              <a:gd name="T4" fmla="*/ 399 w 546"/>
              <a:gd name="T5" fmla="*/ 95 h 506"/>
              <a:gd name="T6" fmla="*/ 426 w 546"/>
              <a:gd name="T7" fmla="*/ 59 h 506"/>
              <a:gd name="T8" fmla="*/ 427 w 546"/>
              <a:gd name="T9" fmla="*/ 34 h 506"/>
              <a:gd name="T10" fmla="*/ 461 w 546"/>
              <a:gd name="T11" fmla="*/ 15 h 506"/>
              <a:gd name="T12" fmla="*/ 537 w 546"/>
              <a:gd name="T13" fmla="*/ 20 h 506"/>
              <a:gd name="T14" fmla="*/ 468 w 546"/>
              <a:gd name="T15" fmla="*/ 73 h 506"/>
              <a:gd name="T16" fmla="*/ 420 w 546"/>
              <a:gd name="T17" fmla="*/ 106 h 506"/>
              <a:gd name="T18" fmla="*/ 436 w 546"/>
              <a:gd name="T19" fmla="*/ 236 h 506"/>
              <a:gd name="T20" fmla="*/ 382 w 546"/>
              <a:gd name="T21" fmla="*/ 98 h 506"/>
              <a:gd name="T22" fmla="*/ 341 w 546"/>
              <a:gd name="T23" fmla="*/ 68 h 506"/>
              <a:gd name="T24" fmla="*/ 285 w 546"/>
              <a:gd name="T25" fmla="*/ 62 h 506"/>
              <a:gd name="T26" fmla="*/ 372 w 546"/>
              <a:gd name="T27" fmla="*/ 112 h 506"/>
              <a:gd name="T28" fmla="*/ 387 w 546"/>
              <a:gd name="T29" fmla="*/ 154 h 506"/>
              <a:gd name="T30" fmla="*/ 235 w 546"/>
              <a:gd name="T31" fmla="*/ 82 h 506"/>
              <a:gd name="T32" fmla="*/ 339 w 546"/>
              <a:gd name="T33" fmla="*/ 127 h 506"/>
              <a:gd name="T34" fmla="*/ 315 w 546"/>
              <a:gd name="T35" fmla="*/ 112 h 506"/>
              <a:gd name="T36" fmla="*/ 303 w 546"/>
              <a:gd name="T37" fmla="*/ 116 h 506"/>
              <a:gd name="T38" fmla="*/ 285 w 546"/>
              <a:gd name="T39" fmla="*/ 99 h 506"/>
              <a:gd name="T40" fmla="*/ 206 w 546"/>
              <a:gd name="T41" fmla="*/ 110 h 506"/>
              <a:gd name="T42" fmla="*/ 293 w 546"/>
              <a:gd name="T43" fmla="*/ 158 h 506"/>
              <a:gd name="T44" fmla="*/ 314 w 546"/>
              <a:gd name="T45" fmla="*/ 166 h 506"/>
              <a:gd name="T46" fmla="*/ 393 w 546"/>
              <a:gd name="T47" fmla="*/ 176 h 506"/>
              <a:gd name="T48" fmla="*/ 377 w 546"/>
              <a:gd name="T49" fmla="*/ 228 h 506"/>
              <a:gd name="T50" fmla="*/ 271 w 546"/>
              <a:gd name="T51" fmla="*/ 231 h 506"/>
              <a:gd name="T52" fmla="*/ 267 w 546"/>
              <a:gd name="T53" fmla="*/ 171 h 506"/>
              <a:gd name="T54" fmla="*/ 229 w 546"/>
              <a:gd name="T55" fmla="*/ 137 h 506"/>
              <a:gd name="T56" fmla="*/ 201 w 546"/>
              <a:gd name="T57" fmla="*/ 203 h 506"/>
              <a:gd name="T58" fmla="*/ 258 w 546"/>
              <a:gd name="T59" fmla="*/ 218 h 506"/>
              <a:gd name="T60" fmla="*/ 392 w 546"/>
              <a:gd name="T61" fmla="*/ 305 h 506"/>
              <a:gd name="T62" fmla="*/ 398 w 546"/>
              <a:gd name="T63" fmla="*/ 241 h 506"/>
              <a:gd name="T64" fmla="*/ 343 w 546"/>
              <a:gd name="T65" fmla="*/ 212 h 506"/>
              <a:gd name="T66" fmla="*/ 366 w 546"/>
              <a:gd name="T67" fmla="*/ 188 h 506"/>
              <a:gd name="T68" fmla="*/ 407 w 546"/>
              <a:gd name="T69" fmla="*/ 188 h 506"/>
              <a:gd name="T70" fmla="*/ 420 w 546"/>
              <a:gd name="T71" fmla="*/ 224 h 506"/>
              <a:gd name="T72" fmla="*/ 432 w 546"/>
              <a:gd name="T73" fmla="*/ 247 h 506"/>
              <a:gd name="T74" fmla="*/ 453 w 546"/>
              <a:gd name="T75" fmla="*/ 277 h 506"/>
              <a:gd name="T76" fmla="*/ 434 w 546"/>
              <a:gd name="T77" fmla="*/ 279 h 506"/>
              <a:gd name="T78" fmla="*/ 422 w 546"/>
              <a:gd name="T79" fmla="*/ 317 h 506"/>
              <a:gd name="T80" fmla="*/ 342 w 546"/>
              <a:gd name="T81" fmla="*/ 290 h 506"/>
              <a:gd name="T82" fmla="*/ 401 w 546"/>
              <a:gd name="T83" fmla="*/ 345 h 506"/>
              <a:gd name="T84" fmla="*/ 325 w 546"/>
              <a:gd name="T85" fmla="*/ 383 h 506"/>
              <a:gd name="T86" fmla="*/ 432 w 546"/>
              <a:gd name="T87" fmla="*/ 465 h 506"/>
              <a:gd name="T88" fmla="*/ 462 w 546"/>
              <a:gd name="T89" fmla="*/ 465 h 506"/>
              <a:gd name="T90" fmla="*/ 450 w 546"/>
              <a:gd name="T91" fmla="*/ 435 h 506"/>
              <a:gd name="T92" fmla="*/ 50 w 546"/>
              <a:gd name="T93" fmla="*/ 419 h 506"/>
              <a:gd name="T94" fmla="*/ 29 w 546"/>
              <a:gd name="T95" fmla="*/ 376 h 506"/>
              <a:gd name="T96" fmla="*/ 93 w 546"/>
              <a:gd name="T97" fmla="*/ 175 h 506"/>
              <a:gd name="T98" fmla="*/ 39 w 546"/>
              <a:gd name="T99" fmla="*/ 383 h 506"/>
              <a:gd name="T100" fmla="*/ 96 w 546"/>
              <a:gd name="T101" fmla="*/ 181 h 506"/>
              <a:gd name="T102" fmla="*/ 159 w 546"/>
              <a:gd name="T103" fmla="*/ 183 h 506"/>
              <a:gd name="T104" fmla="*/ 240 w 546"/>
              <a:gd name="T105" fmla="*/ 215 h 506"/>
              <a:gd name="T106" fmla="*/ 285 w 546"/>
              <a:gd name="T107" fmla="*/ 245 h 506"/>
              <a:gd name="T108" fmla="*/ 319 w 546"/>
              <a:gd name="T109" fmla="*/ 207 h 506"/>
              <a:gd name="T110" fmla="*/ 366 w 546"/>
              <a:gd name="T111" fmla="*/ 232 h 506"/>
              <a:gd name="T112" fmla="*/ 306 w 546"/>
              <a:gd name="T113" fmla="*/ 289 h 506"/>
              <a:gd name="T114" fmla="*/ 253 w 546"/>
              <a:gd name="T115" fmla="*/ 367 h 506"/>
              <a:gd name="T116" fmla="*/ 349 w 546"/>
              <a:gd name="T117" fmla="*/ 347 h 506"/>
              <a:gd name="T118" fmla="*/ 416 w 546"/>
              <a:gd name="T119" fmla="*/ 351 h 506"/>
              <a:gd name="T120" fmla="*/ 443 w 546"/>
              <a:gd name="T121" fmla="*/ 404 h 506"/>
              <a:gd name="T122" fmla="*/ 389 w 546"/>
              <a:gd name="T123" fmla="*/ 441 h 506"/>
              <a:gd name="T124" fmla="*/ 398 w 546"/>
              <a:gd name="T125" fmla="*/ 483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506">
                <a:moveTo>
                  <a:pt x="395" y="89"/>
                </a:moveTo>
                <a:cubicBezTo>
                  <a:pt x="395" y="89"/>
                  <a:pt x="395" y="89"/>
                  <a:pt x="395" y="89"/>
                </a:cubicBezTo>
                <a:cubicBezTo>
                  <a:pt x="396" y="87"/>
                  <a:pt x="396" y="87"/>
                  <a:pt x="396" y="87"/>
                </a:cubicBezTo>
                <a:cubicBezTo>
                  <a:pt x="398" y="85"/>
                  <a:pt x="398" y="85"/>
                  <a:pt x="398" y="85"/>
                </a:cubicBezTo>
                <a:cubicBezTo>
                  <a:pt x="399" y="82"/>
                  <a:pt x="399" y="82"/>
                  <a:pt x="399" y="82"/>
                </a:cubicBezTo>
                <a:cubicBezTo>
                  <a:pt x="400" y="82"/>
                  <a:pt x="400" y="82"/>
                  <a:pt x="400" y="82"/>
                </a:cubicBezTo>
                <a:cubicBezTo>
                  <a:pt x="400" y="83"/>
                  <a:pt x="400" y="83"/>
                  <a:pt x="400" y="83"/>
                </a:cubicBezTo>
                <a:cubicBezTo>
                  <a:pt x="399" y="84"/>
                  <a:pt x="399" y="84"/>
                  <a:pt x="399" y="84"/>
                </a:cubicBezTo>
                <a:cubicBezTo>
                  <a:pt x="399" y="85"/>
                  <a:pt x="399" y="85"/>
                  <a:pt x="399" y="85"/>
                </a:cubicBezTo>
                <a:cubicBezTo>
                  <a:pt x="400" y="85"/>
                  <a:pt x="400" y="85"/>
                  <a:pt x="400" y="85"/>
                </a:cubicBezTo>
                <a:cubicBezTo>
                  <a:pt x="402" y="84"/>
                  <a:pt x="402" y="84"/>
                  <a:pt x="402" y="84"/>
                </a:cubicBezTo>
                <a:cubicBezTo>
                  <a:pt x="403" y="83"/>
                  <a:pt x="403" y="83"/>
                  <a:pt x="403" y="83"/>
                </a:cubicBezTo>
                <a:cubicBezTo>
                  <a:pt x="403" y="82"/>
                  <a:pt x="403" y="82"/>
                  <a:pt x="403" y="82"/>
                </a:cubicBezTo>
                <a:cubicBezTo>
                  <a:pt x="402" y="82"/>
                  <a:pt x="402" y="82"/>
                  <a:pt x="402" y="82"/>
                </a:cubicBezTo>
                <a:cubicBezTo>
                  <a:pt x="402" y="81"/>
                  <a:pt x="402" y="81"/>
                  <a:pt x="402" y="81"/>
                </a:cubicBezTo>
                <a:cubicBezTo>
                  <a:pt x="403" y="81"/>
                  <a:pt x="403" y="81"/>
                  <a:pt x="403" y="81"/>
                </a:cubicBezTo>
                <a:cubicBezTo>
                  <a:pt x="403" y="79"/>
                  <a:pt x="403" y="79"/>
                  <a:pt x="403" y="79"/>
                </a:cubicBezTo>
                <a:cubicBezTo>
                  <a:pt x="402" y="78"/>
                  <a:pt x="402" y="78"/>
                  <a:pt x="402" y="78"/>
                </a:cubicBezTo>
                <a:cubicBezTo>
                  <a:pt x="402" y="77"/>
                  <a:pt x="402" y="77"/>
                  <a:pt x="402" y="77"/>
                </a:cubicBezTo>
                <a:cubicBezTo>
                  <a:pt x="404" y="76"/>
                  <a:pt x="404" y="76"/>
                  <a:pt x="404" y="76"/>
                </a:cubicBezTo>
                <a:cubicBezTo>
                  <a:pt x="405" y="74"/>
                  <a:pt x="405" y="74"/>
                  <a:pt x="405" y="74"/>
                </a:cubicBezTo>
                <a:cubicBezTo>
                  <a:pt x="406" y="73"/>
                  <a:pt x="406" y="73"/>
                  <a:pt x="406" y="73"/>
                </a:cubicBezTo>
                <a:cubicBezTo>
                  <a:pt x="406" y="72"/>
                  <a:pt x="406" y="72"/>
                  <a:pt x="406" y="72"/>
                </a:cubicBezTo>
                <a:cubicBezTo>
                  <a:pt x="406" y="73"/>
                  <a:pt x="406" y="73"/>
                  <a:pt x="406" y="73"/>
                </a:cubicBezTo>
                <a:cubicBezTo>
                  <a:pt x="407" y="74"/>
                  <a:pt x="407" y="74"/>
                  <a:pt x="407" y="74"/>
                </a:cubicBezTo>
                <a:cubicBezTo>
                  <a:pt x="406" y="74"/>
                  <a:pt x="406" y="74"/>
                  <a:pt x="406" y="74"/>
                </a:cubicBezTo>
                <a:cubicBezTo>
                  <a:pt x="405" y="76"/>
                  <a:pt x="405" y="76"/>
                  <a:pt x="405" y="76"/>
                </a:cubicBezTo>
                <a:cubicBezTo>
                  <a:pt x="404" y="78"/>
                  <a:pt x="404" y="78"/>
                  <a:pt x="404" y="78"/>
                </a:cubicBezTo>
                <a:cubicBezTo>
                  <a:pt x="404" y="80"/>
                  <a:pt x="404" y="80"/>
                  <a:pt x="404" y="80"/>
                </a:cubicBezTo>
                <a:cubicBezTo>
                  <a:pt x="404" y="81"/>
                  <a:pt x="404" y="81"/>
                  <a:pt x="404" y="81"/>
                </a:cubicBezTo>
                <a:cubicBezTo>
                  <a:pt x="404" y="82"/>
                  <a:pt x="404" y="82"/>
                  <a:pt x="404" y="82"/>
                </a:cubicBezTo>
                <a:cubicBezTo>
                  <a:pt x="405" y="81"/>
                  <a:pt x="405" y="81"/>
                  <a:pt x="405" y="81"/>
                </a:cubicBezTo>
                <a:cubicBezTo>
                  <a:pt x="406" y="79"/>
                  <a:pt x="406" y="79"/>
                  <a:pt x="406" y="79"/>
                </a:cubicBezTo>
                <a:cubicBezTo>
                  <a:pt x="408" y="77"/>
                  <a:pt x="408" y="77"/>
                  <a:pt x="408" y="77"/>
                </a:cubicBezTo>
                <a:cubicBezTo>
                  <a:pt x="409" y="76"/>
                  <a:pt x="409" y="76"/>
                  <a:pt x="409" y="76"/>
                </a:cubicBezTo>
                <a:cubicBezTo>
                  <a:pt x="409" y="74"/>
                  <a:pt x="409" y="74"/>
                  <a:pt x="409" y="74"/>
                </a:cubicBezTo>
                <a:cubicBezTo>
                  <a:pt x="410" y="73"/>
                  <a:pt x="410" y="73"/>
                  <a:pt x="410" y="73"/>
                </a:cubicBezTo>
                <a:cubicBezTo>
                  <a:pt x="411" y="73"/>
                  <a:pt x="411" y="73"/>
                  <a:pt x="411" y="73"/>
                </a:cubicBezTo>
                <a:cubicBezTo>
                  <a:pt x="411" y="74"/>
                  <a:pt x="411" y="74"/>
                  <a:pt x="411" y="74"/>
                </a:cubicBezTo>
                <a:cubicBezTo>
                  <a:pt x="411" y="74"/>
                  <a:pt x="411" y="74"/>
                  <a:pt x="411" y="74"/>
                </a:cubicBezTo>
                <a:cubicBezTo>
                  <a:pt x="411" y="75"/>
                  <a:pt x="411" y="75"/>
                  <a:pt x="411" y="75"/>
                </a:cubicBezTo>
                <a:cubicBezTo>
                  <a:pt x="412" y="75"/>
                  <a:pt x="412" y="75"/>
                  <a:pt x="412" y="75"/>
                </a:cubicBezTo>
                <a:cubicBezTo>
                  <a:pt x="413" y="73"/>
                  <a:pt x="413" y="73"/>
                  <a:pt x="413" y="73"/>
                </a:cubicBezTo>
                <a:cubicBezTo>
                  <a:pt x="414" y="73"/>
                  <a:pt x="414" y="73"/>
                  <a:pt x="414" y="73"/>
                </a:cubicBezTo>
                <a:cubicBezTo>
                  <a:pt x="416" y="73"/>
                  <a:pt x="416" y="73"/>
                  <a:pt x="416" y="73"/>
                </a:cubicBezTo>
                <a:cubicBezTo>
                  <a:pt x="418" y="73"/>
                  <a:pt x="418" y="73"/>
                  <a:pt x="418" y="73"/>
                </a:cubicBezTo>
                <a:cubicBezTo>
                  <a:pt x="419" y="73"/>
                  <a:pt x="419" y="73"/>
                  <a:pt x="419" y="73"/>
                </a:cubicBezTo>
                <a:cubicBezTo>
                  <a:pt x="420" y="72"/>
                  <a:pt x="420" y="72"/>
                  <a:pt x="420" y="72"/>
                </a:cubicBezTo>
                <a:cubicBezTo>
                  <a:pt x="421" y="71"/>
                  <a:pt x="421" y="71"/>
                  <a:pt x="421" y="71"/>
                </a:cubicBezTo>
                <a:cubicBezTo>
                  <a:pt x="422" y="70"/>
                  <a:pt x="422" y="70"/>
                  <a:pt x="422" y="70"/>
                </a:cubicBezTo>
                <a:cubicBezTo>
                  <a:pt x="422" y="69"/>
                  <a:pt x="422" y="69"/>
                  <a:pt x="422" y="69"/>
                </a:cubicBezTo>
                <a:cubicBezTo>
                  <a:pt x="422" y="69"/>
                  <a:pt x="422" y="69"/>
                  <a:pt x="422" y="69"/>
                </a:cubicBezTo>
                <a:cubicBezTo>
                  <a:pt x="421" y="68"/>
                  <a:pt x="421" y="68"/>
                  <a:pt x="421" y="68"/>
                </a:cubicBezTo>
                <a:cubicBezTo>
                  <a:pt x="422" y="66"/>
                  <a:pt x="422" y="66"/>
                  <a:pt x="422" y="66"/>
                </a:cubicBezTo>
                <a:cubicBezTo>
                  <a:pt x="421" y="63"/>
                  <a:pt x="421" y="63"/>
                  <a:pt x="421" y="63"/>
                </a:cubicBezTo>
                <a:cubicBezTo>
                  <a:pt x="421" y="63"/>
                  <a:pt x="421" y="63"/>
                  <a:pt x="421" y="63"/>
                </a:cubicBezTo>
                <a:cubicBezTo>
                  <a:pt x="420" y="65"/>
                  <a:pt x="420" y="65"/>
                  <a:pt x="420" y="65"/>
                </a:cubicBezTo>
                <a:cubicBezTo>
                  <a:pt x="419" y="67"/>
                  <a:pt x="419" y="67"/>
                  <a:pt x="419" y="67"/>
                </a:cubicBezTo>
                <a:cubicBezTo>
                  <a:pt x="418" y="67"/>
                  <a:pt x="418" y="67"/>
                  <a:pt x="418" y="67"/>
                </a:cubicBezTo>
                <a:cubicBezTo>
                  <a:pt x="418" y="66"/>
                  <a:pt x="418" y="66"/>
                  <a:pt x="418" y="66"/>
                </a:cubicBezTo>
                <a:cubicBezTo>
                  <a:pt x="419" y="65"/>
                  <a:pt x="419" y="65"/>
                  <a:pt x="419" y="65"/>
                </a:cubicBezTo>
                <a:cubicBezTo>
                  <a:pt x="420" y="64"/>
                  <a:pt x="420" y="64"/>
                  <a:pt x="420" y="64"/>
                </a:cubicBezTo>
                <a:cubicBezTo>
                  <a:pt x="420" y="63"/>
                  <a:pt x="420" y="63"/>
                  <a:pt x="420" y="63"/>
                </a:cubicBezTo>
                <a:cubicBezTo>
                  <a:pt x="419" y="62"/>
                  <a:pt x="419" y="62"/>
                  <a:pt x="419" y="62"/>
                </a:cubicBezTo>
                <a:cubicBezTo>
                  <a:pt x="419" y="61"/>
                  <a:pt x="419" y="61"/>
                  <a:pt x="419" y="61"/>
                </a:cubicBezTo>
                <a:cubicBezTo>
                  <a:pt x="418" y="61"/>
                  <a:pt x="418" y="61"/>
                  <a:pt x="418" y="61"/>
                </a:cubicBezTo>
                <a:cubicBezTo>
                  <a:pt x="417" y="61"/>
                  <a:pt x="417" y="61"/>
                  <a:pt x="417" y="61"/>
                </a:cubicBezTo>
                <a:cubicBezTo>
                  <a:pt x="417" y="62"/>
                  <a:pt x="417" y="62"/>
                  <a:pt x="417" y="62"/>
                </a:cubicBezTo>
                <a:cubicBezTo>
                  <a:pt x="416" y="61"/>
                  <a:pt x="416" y="61"/>
                  <a:pt x="416" y="61"/>
                </a:cubicBezTo>
                <a:cubicBezTo>
                  <a:pt x="415" y="61"/>
                  <a:pt x="415" y="61"/>
                  <a:pt x="415" y="61"/>
                </a:cubicBezTo>
                <a:cubicBezTo>
                  <a:pt x="414" y="62"/>
                  <a:pt x="414" y="62"/>
                  <a:pt x="414" y="62"/>
                </a:cubicBezTo>
                <a:cubicBezTo>
                  <a:pt x="413" y="62"/>
                  <a:pt x="413" y="62"/>
                  <a:pt x="413" y="62"/>
                </a:cubicBezTo>
                <a:cubicBezTo>
                  <a:pt x="414" y="61"/>
                  <a:pt x="414" y="61"/>
                  <a:pt x="414" y="61"/>
                </a:cubicBezTo>
                <a:cubicBezTo>
                  <a:pt x="417" y="60"/>
                  <a:pt x="417" y="60"/>
                  <a:pt x="417" y="60"/>
                </a:cubicBezTo>
                <a:cubicBezTo>
                  <a:pt x="418" y="60"/>
                  <a:pt x="418" y="60"/>
                  <a:pt x="418" y="60"/>
                </a:cubicBezTo>
                <a:cubicBezTo>
                  <a:pt x="420" y="58"/>
                  <a:pt x="420" y="58"/>
                  <a:pt x="420" y="58"/>
                </a:cubicBezTo>
                <a:cubicBezTo>
                  <a:pt x="421" y="57"/>
                  <a:pt x="421" y="57"/>
                  <a:pt x="421" y="57"/>
                </a:cubicBezTo>
                <a:cubicBezTo>
                  <a:pt x="422" y="55"/>
                  <a:pt x="422" y="55"/>
                  <a:pt x="422" y="55"/>
                </a:cubicBezTo>
                <a:cubicBezTo>
                  <a:pt x="423" y="53"/>
                  <a:pt x="423" y="53"/>
                  <a:pt x="423" y="53"/>
                </a:cubicBezTo>
                <a:cubicBezTo>
                  <a:pt x="422" y="52"/>
                  <a:pt x="422" y="52"/>
                  <a:pt x="422" y="52"/>
                </a:cubicBezTo>
                <a:cubicBezTo>
                  <a:pt x="421" y="52"/>
                  <a:pt x="421" y="52"/>
                  <a:pt x="421" y="52"/>
                </a:cubicBezTo>
                <a:cubicBezTo>
                  <a:pt x="421" y="53"/>
                  <a:pt x="421" y="53"/>
                  <a:pt x="421" y="53"/>
                </a:cubicBezTo>
                <a:cubicBezTo>
                  <a:pt x="420" y="52"/>
                  <a:pt x="420" y="52"/>
                  <a:pt x="420" y="52"/>
                </a:cubicBezTo>
                <a:cubicBezTo>
                  <a:pt x="421" y="52"/>
                  <a:pt x="421" y="52"/>
                  <a:pt x="421" y="52"/>
                </a:cubicBezTo>
                <a:cubicBezTo>
                  <a:pt x="421" y="51"/>
                  <a:pt x="421" y="51"/>
                  <a:pt x="421" y="51"/>
                </a:cubicBezTo>
                <a:cubicBezTo>
                  <a:pt x="422" y="51"/>
                  <a:pt x="422" y="51"/>
                  <a:pt x="422" y="51"/>
                </a:cubicBezTo>
                <a:cubicBezTo>
                  <a:pt x="423" y="50"/>
                  <a:pt x="423" y="50"/>
                  <a:pt x="423" y="50"/>
                </a:cubicBezTo>
                <a:cubicBezTo>
                  <a:pt x="423" y="49"/>
                  <a:pt x="423" y="49"/>
                  <a:pt x="423" y="49"/>
                </a:cubicBezTo>
                <a:cubicBezTo>
                  <a:pt x="424" y="48"/>
                  <a:pt x="424" y="48"/>
                  <a:pt x="424" y="48"/>
                </a:cubicBezTo>
                <a:cubicBezTo>
                  <a:pt x="424" y="46"/>
                  <a:pt x="424" y="46"/>
                  <a:pt x="424" y="46"/>
                </a:cubicBezTo>
                <a:cubicBezTo>
                  <a:pt x="424" y="46"/>
                  <a:pt x="424" y="46"/>
                  <a:pt x="424" y="46"/>
                </a:cubicBezTo>
                <a:cubicBezTo>
                  <a:pt x="424" y="45"/>
                  <a:pt x="424" y="45"/>
                  <a:pt x="424" y="45"/>
                </a:cubicBezTo>
                <a:cubicBezTo>
                  <a:pt x="422" y="45"/>
                  <a:pt x="422" y="45"/>
                  <a:pt x="422" y="45"/>
                </a:cubicBezTo>
                <a:cubicBezTo>
                  <a:pt x="421" y="45"/>
                  <a:pt x="421" y="45"/>
                  <a:pt x="421" y="45"/>
                </a:cubicBezTo>
                <a:cubicBezTo>
                  <a:pt x="420" y="48"/>
                  <a:pt x="420" y="48"/>
                  <a:pt x="420" y="48"/>
                </a:cubicBezTo>
                <a:cubicBezTo>
                  <a:pt x="420" y="49"/>
                  <a:pt x="420" y="49"/>
                  <a:pt x="420" y="49"/>
                </a:cubicBezTo>
                <a:cubicBezTo>
                  <a:pt x="420" y="50"/>
                  <a:pt x="420" y="50"/>
                  <a:pt x="420" y="50"/>
                </a:cubicBezTo>
                <a:cubicBezTo>
                  <a:pt x="420" y="51"/>
                  <a:pt x="420" y="51"/>
                  <a:pt x="420" y="51"/>
                </a:cubicBezTo>
                <a:cubicBezTo>
                  <a:pt x="419" y="52"/>
                  <a:pt x="419" y="52"/>
                  <a:pt x="419" y="52"/>
                </a:cubicBezTo>
                <a:cubicBezTo>
                  <a:pt x="419" y="51"/>
                  <a:pt x="419" y="51"/>
                  <a:pt x="419" y="51"/>
                </a:cubicBezTo>
                <a:cubicBezTo>
                  <a:pt x="419" y="51"/>
                  <a:pt x="419" y="51"/>
                  <a:pt x="419" y="51"/>
                </a:cubicBezTo>
                <a:cubicBezTo>
                  <a:pt x="418" y="50"/>
                  <a:pt x="418" y="50"/>
                  <a:pt x="418" y="50"/>
                </a:cubicBezTo>
                <a:cubicBezTo>
                  <a:pt x="418" y="49"/>
                  <a:pt x="418" y="49"/>
                  <a:pt x="418" y="49"/>
                </a:cubicBezTo>
                <a:cubicBezTo>
                  <a:pt x="419" y="47"/>
                  <a:pt x="419" y="47"/>
                  <a:pt x="419" y="47"/>
                </a:cubicBezTo>
                <a:cubicBezTo>
                  <a:pt x="419" y="46"/>
                  <a:pt x="419" y="46"/>
                  <a:pt x="419" y="46"/>
                </a:cubicBezTo>
                <a:cubicBezTo>
                  <a:pt x="419" y="45"/>
                  <a:pt x="419" y="45"/>
                  <a:pt x="419" y="45"/>
                </a:cubicBezTo>
                <a:cubicBezTo>
                  <a:pt x="420" y="45"/>
                  <a:pt x="420" y="45"/>
                  <a:pt x="420" y="45"/>
                </a:cubicBezTo>
                <a:cubicBezTo>
                  <a:pt x="420" y="45"/>
                  <a:pt x="420" y="45"/>
                  <a:pt x="420" y="45"/>
                </a:cubicBezTo>
                <a:cubicBezTo>
                  <a:pt x="420" y="43"/>
                  <a:pt x="420" y="43"/>
                  <a:pt x="420" y="43"/>
                </a:cubicBezTo>
                <a:cubicBezTo>
                  <a:pt x="419" y="42"/>
                  <a:pt x="419" y="42"/>
                  <a:pt x="419" y="42"/>
                </a:cubicBezTo>
                <a:cubicBezTo>
                  <a:pt x="418" y="42"/>
                  <a:pt x="418" y="42"/>
                  <a:pt x="418" y="42"/>
                </a:cubicBezTo>
                <a:cubicBezTo>
                  <a:pt x="417" y="43"/>
                  <a:pt x="417" y="43"/>
                  <a:pt x="417" y="43"/>
                </a:cubicBezTo>
                <a:cubicBezTo>
                  <a:pt x="416" y="44"/>
                  <a:pt x="416" y="44"/>
                  <a:pt x="416" y="44"/>
                </a:cubicBezTo>
                <a:cubicBezTo>
                  <a:pt x="416" y="43"/>
                  <a:pt x="416" y="43"/>
                  <a:pt x="416" y="43"/>
                </a:cubicBezTo>
                <a:cubicBezTo>
                  <a:pt x="416" y="43"/>
                  <a:pt x="416" y="43"/>
                  <a:pt x="416" y="43"/>
                </a:cubicBezTo>
                <a:cubicBezTo>
                  <a:pt x="416" y="41"/>
                  <a:pt x="416" y="41"/>
                  <a:pt x="416" y="41"/>
                </a:cubicBezTo>
                <a:cubicBezTo>
                  <a:pt x="415" y="39"/>
                  <a:pt x="415" y="39"/>
                  <a:pt x="415" y="39"/>
                </a:cubicBezTo>
                <a:cubicBezTo>
                  <a:pt x="415" y="36"/>
                  <a:pt x="415" y="36"/>
                  <a:pt x="415" y="36"/>
                </a:cubicBezTo>
                <a:cubicBezTo>
                  <a:pt x="415" y="34"/>
                  <a:pt x="415" y="34"/>
                  <a:pt x="415" y="34"/>
                </a:cubicBezTo>
                <a:cubicBezTo>
                  <a:pt x="416" y="33"/>
                  <a:pt x="416" y="33"/>
                  <a:pt x="416" y="33"/>
                </a:cubicBezTo>
                <a:cubicBezTo>
                  <a:pt x="416" y="31"/>
                  <a:pt x="416" y="31"/>
                  <a:pt x="416" y="31"/>
                </a:cubicBezTo>
                <a:cubicBezTo>
                  <a:pt x="416" y="29"/>
                  <a:pt x="416" y="29"/>
                  <a:pt x="416" y="29"/>
                </a:cubicBezTo>
                <a:cubicBezTo>
                  <a:pt x="417" y="27"/>
                  <a:pt x="417" y="27"/>
                  <a:pt x="417" y="27"/>
                </a:cubicBezTo>
                <a:cubicBezTo>
                  <a:pt x="417" y="26"/>
                  <a:pt x="417" y="26"/>
                  <a:pt x="417" y="26"/>
                </a:cubicBezTo>
                <a:cubicBezTo>
                  <a:pt x="416" y="24"/>
                  <a:pt x="416" y="24"/>
                  <a:pt x="416" y="24"/>
                </a:cubicBezTo>
                <a:cubicBezTo>
                  <a:pt x="416" y="23"/>
                  <a:pt x="416" y="23"/>
                  <a:pt x="416" y="23"/>
                </a:cubicBezTo>
                <a:cubicBezTo>
                  <a:pt x="414" y="22"/>
                  <a:pt x="414" y="22"/>
                  <a:pt x="414" y="22"/>
                </a:cubicBezTo>
                <a:cubicBezTo>
                  <a:pt x="413" y="21"/>
                  <a:pt x="413" y="21"/>
                  <a:pt x="413" y="21"/>
                </a:cubicBezTo>
                <a:cubicBezTo>
                  <a:pt x="412" y="20"/>
                  <a:pt x="412" y="20"/>
                  <a:pt x="412" y="20"/>
                </a:cubicBezTo>
                <a:cubicBezTo>
                  <a:pt x="411" y="20"/>
                  <a:pt x="411" y="20"/>
                  <a:pt x="411" y="20"/>
                </a:cubicBezTo>
                <a:cubicBezTo>
                  <a:pt x="411" y="21"/>
                  <a:pt x="411" y="21"/>
                  <a:pt x="411" y="21"/>
                </a:cubicBezTo>
                <a:cubicBezTo>
                  <a:pt x="411" y="21"/>
                  <a:pt x="411" y="21"/>
                  <a:pt x="411" y="21"/>
                </a:cubicBezTo>
                <a:cubicBezTo>
                  <a:pt x="409" y="20"/>
                  <a:pt x="409" y="20"/>
                  <a:pt x="409" y="20"/>
                </a:cubicBezTo>
                <a:cubicBezTo>
                  <a:pt x="408" y="20"/>
                  <a:pt x="408" y="20"/>
                  <a:pt x="408" y="20"/>
                </a:cubicBezTo>
                <a:cubicBezTo>
                  <a:pt x="408" y="21"/>
                  <a:pt x="408" y="21"/>
                  <a:pt x="408" y="21"/>
                </a:cubicBezTo>
                <a:cubicBezTo>
                  <a:pt x="407" y="23"/>
                  <a:pt x="407" y="23"/>
                  <a:pt x="407" y="23"/>
                </a:cubicBezTo>
                <a:cubicBezTo>
                  <a:pt x="408" y="24"/>
                  <a:pt x="408" y="24"/>
                  <a:pt x="408" y="24"/>
                </a:cubicBezTo>
                <a:cubicBezTo>
                  <a:pt x="409" y="24"/>
                  <a:pt x="409" y="24"/>
                  <a:pt x="409" y="24"/>
                </a:cubicBezTo>
                <a:cubicBezTo>
                  <a:pt x="410" y="23"/>
                  <a:pt x="410" y="23"/>
                  <a:pt x="410" y="23"/>
                </a:cubicBezTo>
                <a:cubicBezTo>
                  <a:pt x="411" y="24"/>
                  <a:pt x="411" y="24"/>
                  <a:pt x="411" y="24"/>
                </a:cubicBezTo>
                <a:cubicBezTo>
                  <a:pt x="412" y="25"/>
                  <a:pt x="412" y="25"/>
                  <a:pt x="412" y="25"/>
                </a:cubicBezTo>
                <a:cubicBezTo>
                  <a:pt x="413" y="25"/>
                  <a:pt x="413" y="25"/>
                  <a:pt x="413" y="25"/>
                </a:cubicBezTo>
                <a:cubicBezTo>
                  <a:pt x="413" y="26"/>
                  <a:pt x="413" y="26"/>
                  <a:pt x="413" y="26"/>
                </a:cubicBezTo>
                <a:cubicBezTo>
                  <a:pt x="411" y="28"/>
                  <a:pt x="411" y="28"/>
                  <a:pt x="411" y="28"/>
                </a:cubicBezTo>
                <a:cubicBezTo>
                  <a:pt x="410" y="28"/>
                  <a:pt x="410" y="28"/>
                  <a:pt x="410" y="28"/>
                </a:cubicBezTo>
                <a:cubicBezTo>
                  <a:pt x="409" y="27"/>
                  <a:pt x="409" y="27"/>
                  <a:pt x="409" y="27"/>
                </a:cubicBezTo>
                <a:cubicBezTo>
                  <a:pt x="408" y="27"/>
                  <a:pt x="408" y="27"/>
                  <a:pt x="408" y="27"/>
                </a:cubicBezTo>
                <a:cubicBezTo>
                  <a:pt x="406" y="27"/>
                  <a:pt x="406" y="27"/>
                  <a:pt x="406" y="27"/>
                </a:cubicBezTo>
                <a:cubicBezTo>
                  <a:pt x="407" y="28"/>
                  <a:pt x="407" y="28"/>
                  <a:pt x="407" y="28"/>
                </a:cubicBezTo>
                <a:cubicBezTo>
                  <a:pt x="408" y="28"/>
                  <a:pt x="408" y="28"/>
                  <a:pt x="408" y="28"/>
                </a:cubicBezTo>
                <a:cubicBezTo>
                  <a:pt x="407" y="29"/>
                  <a:pt x="407" y="29"/>
                  <a:pt x="407" y="29"/>
                </a:cubicBezTo>
                <a:cubicBezTo>
                  <a:pt x="406" y="29"/>
                  <a:pt x="406" y="29"/>
                  <a:pt x="406" y="29"/>
                </a:cubicBezTo>
                <a:cubicBezTo>
                  <a:pt x="404" y="28"/>
                  <a:pt x="404" y="28"/>
                  <a:pt x="404" y="28"/>
                </a:cubicBezTo>
                <a:cubicBezTo>
                  <a:pt x="402" y="29"/>
                  <a:pt x="402" y="29"/>
                  <a:pt x="402" y="29"/>
                </a:cubicBezTo>
                <a:cubicBezTo>
                  <a:pt x="402" y="30"/>
                  <a:pt x="402" y="30"/>
                  <a:pt x="402" y="30"/>
                </a:cubicBezTo>
                <a:cubicBezTo>
                  <a:pt x="401" y="31"/>
                  <a:pt x="401" y="31"/>
                  <a:pt x="401" y="31"/>
                </a:cubicBezTo>
                <a:cubicBezTo>
                  <a:pt x="401" y="32"/>
                  <a:pt x="401" y="32"/>
                  <a:pt x="401" y="32"/>
                </a:cubicBezTo>
                <a:cubicBezTo>
                  <a:pt x="402" y="32"/>
                  <a:pt x="402" y="32"/>
                  <a:pt x="402" y="32"/>
                </a:cubicBezTo>
                <a:cubicBezTo>
                  <a:pt x="402" y="34"/>
                  <a:pt x="402" y="34"/>
                  <a:pt x="402" y="34"/>
                </a:cubicBezTo>
                <a:cubicBezTo>
                  <a:pt x="404" y="34"/>
                  <a:pt x="404" y="34"/>
                  <a:pt x="404" y="34"/>
                </a:cubicBezTo>
                <a:cubicBezTo>
                  <a:pt x="404" y="35"/>
                  <a:pt x="404" y="35"/>
                  <a:pt x="404" y="35"/>
                </a:cubicBezTo>
                <a:cubicBezTo>
                  <a:pt x="403" y="35"/>
                  <a:pt x="403" y="35"/>
                  <a:pt x="403" y="35"/>
                </a:cubicBezTo>
                <a:cubicBezTo>
                  <a:pt x="403" y="36"/>
                  <a:pt x="403" y="36"/>
                  <a:pt x="403" y="36"/>
                </a:cubicBezTo>
                <a:cubicBezTo>
                  <a:pt x="403" y="37"/>
                  <a:pt x="403" y="37"/>
                  <a:pt x="403" y="37"/>
                </a:cubicBezTo>
                <a:cubicBezTo>
                  <a:pt x="403" y="37"/>
                  <a:pt x="403" y="37"/>
                  <a:pt x="403" y="37"/>
                </a:cubicBezTo>
                <a:cubicBezTo>
                  <a:pt x="402" y="37"/>
                  <a:pt x="402" y="37"/>
                  <a:pt x="402" y="37"/>
                </a:cubicBezTo>
                <a:cubicBezTo>
                  <a:pt x="402" y="37"/>
                  <a:pt x="402" y="37"/>
                  <a:pt x="402" y="37"/>
                </a:cubicBezTo>
                <a:cubicBezTo>
                  <a:pt x="400" y="37"/>
                  <a:pt x="400" y="37"/>
                  <a:pt x="400" y="37"/>
                </a:cubicBezTo>
                <a:cubicBezTo>
                  <a:pt x="399" y="36"/>
                  <a:pt x="399" y="36"/>
                  <a:pt x="399" y="36"/>
                </a:cubicBezTo>
                <a:cubicBezTo>
                  <a:pt x="398" y="35"/>
                  <a:pt x="398" y="35"/>
                  <a:pt x="398" y="35"/>
                </a:cubicBezTo>
                <a:cubicBezTo>
                  <a:pt x="397" y="36"/>
                  <a:pt x="397" y="36"/>
                  <a:pt x="397" y="36"/>
                </a:cubicBezTo>
                <a:cubicBezTo>
                  <a:pt x="397" y="37"/>
                  <a:pt x="397" y="37"/>
                  <a:pt x="397" y="37"/>
                </a:cubicBezTo>
                <a:cubicBezTo>
                  <a:pt x="398" y="38"/>
                  <a:pt x="398" y="38"/>
                  <a:pt x="398" y="38"/>
                </a:cubicBezTo>
                <a:cubicBezTo>
                  <a:pt x="397" y="39"/>
                  <a:pt x="397" y="39"/>
                  <a:pt x="397" y="39"/>
                </a:cubicBezTo>
                <a:cubicBezTo>
                  <a:pt x="396" y="39"/>
                  <a:pt x="396" y="39"/>
                  <a:pt x="396" y="39"/>
                </a:cubicBezTo>
                <a:cubicBezTo>
                  <a:pt x="396" y="38"/>
                  <a:pt x="396" y="38"/>
                  <a:pt x="396" y="38"/>
                </a:cubicBezTo>
                <a:cubicBezTo>
                  <a:pt x="396" y="37"/>
                  <a:pt x="396" y="37"/>
                  <a:pt x="396" y="37"/>
                </a:cubicBezTo>
                <a:cubicBezTo>
                  <a:pt x="394" y="37"/>
                  <a:pt x="394" y="37"/>
                  <a:pt x="394" y="37"/>
                </a:cubicBezTo>
                <a:cubicBezTo>
                  <a:pt x="394" y="37"/>
                  <a:pt x="394" y="37"/>
                  <a:pt x="394" y="37"/>
                </a:cubicBezTo>
                <a:cubicBezTo>
                  <a:pt x="393" y="36"/>
                  <a:pt x="393" y="36"/>
                  <a:pt x="393" y="36"/>
                </a:cubicBezTo>
                <a:cubicBezTo>
                  <a:pt x="392" y="36"/>
                  <a:pt x="392" y="36"/>
                  <a:pt x="392" y="36"/>
                </a:cubicBezTo>
                <a:cubicBezTo>
                  <a:pt x="392" y="37"/>
                  <a:pt x="392" y="37"/>
                  <a:pt x="392" y="37"/>
                </a:cubicBezTo>
                <a:cubicBezTo>
                  <a:pt x="392" y="38"/>
                  <a:pt x="392" y="38"/>
                  <a:pt x="392" y="38"/>
                </a:cubicBezTo>
                <a:cubicBezTo>
                  <a:pt x="392" y="40"/>
                  <a:pt x="392" y="40"/>
                  <a:pt x="392" y="40"/>
                </a:cubicBezTo>
                <a:cubicBezTo>
                  <a:pt x="393" y="41"/>
                  <a:pt x="393" y="41"/>
                  <a:pt x="393" y="41"/>
                </a:cubicBezTo>
                <a:cubicBezTo>
                  <a:pt x="394" y="42"/>
                  <a:pt x="394" y="42"/>
                  <a:pt x="394" y="42"/>
                </a:cubicBezTo>
                <a:cubicBezTo>
                  <a:pt x="395" y="42"/>
                  <a:pt x="395" y="42"/>
                  <a:pt x="395" y="42"/>
                </a:cubicBezTo>
                <a:cubicBezTo>
                  <a:pt x="396" y="43"/>
                  <a:pt x="396" y="43"/>
                  <a:pt x="396" y="43"/>
                </a:cubicBezTo>
                <a:cubicBezTo>
                  <a:pt x="395" y="43"/>
                  <a:pt x="395" y="43"/>
                  <a:pt x="395" y="43"/>
                </a:cubicBezTo>
                <a:cubicBezTo>
                  <a:pt x="394" y="43"/>
                  <a:pt x="394" y="43"/>
                  <a:pt x="394" y="43"/>
                </a:cubicBezTo>
                <a:cubicBezTo>
                  <a:pt x="395" y="44"/>
                  <a:pt x="395" y="44"/>
                  <a:pt x="395" y="44"/>
                </a:cubicBezTo>
                <a:cubicBezTo>
                  <a:pt x="396" y="45"/>
                  <a:pt x="396" y="45"/>
                  <a:pt x="396" y="45"/>
                </a:cubicBezTo>
                <a:cubicBezTo>
                  <a:pt x="397" y="46"/>
                  <a:pt x="397" y="46"/>
                  <a:pt x="397" y="46"/>
                </a:cubicBezTo>
                <a:cubicBezTo>
                  <a:pt x="399" y="46"/>
                  <a:pt x="399" y="46"/>
                  <a:pt x="399" y="46"/>
                </a:cubicBezTo>
                <a:cubicBezTo>
                  <a:pt x="399" y="45"/>
                  <a:pt x="399" y="45"/>
                  <a:pt x="399" y="45"/>
                </a:cubicBezTo>
                <a:cubicBezTo>
                  <a:pt x="400" y="45"/>
                  <a:pt x="400" y="45"/>
                  <a:pt x="400" y="45"/>
                </a:cubicBezTo>
                <a:cubicBezTo>
                  <a:pt x="400" y="46"/>
                  <a:pt x="400" y="46"/>
                  <a:pt x="400" y="46"/>
                </a:cubicBezTo>
                <a:cubicBezTo>
                  <a:pt x="399" y="46"/>
                  <a:pt x="399" y="46"/>
                  <a:pt x="399" y="46"/>
                </a:cubicBezTo>
                <a:cubicBezTo>
                  <a:pt x="399" y="48"/>
                  <a:pt x="399" y="48"/>
                  <a:pt x="399" y="48"/>
                </a:cubicBezTo>
                <a:cubicBezTo>
                  <a:pt x="398" y="48"/>
                  <a:pt x="398" y="48"/>
                  <a:pt x="398" y="48"/>
                </a:cubicBezTo>
                <a:cubicBezTo>
                  <a:pt x="396" y="47"/>
                  <a:pt x="396" y="47"/>
                  <a:pt x="396" y="47"/>
                </a:cubicBezTo>
                <a:cubicBezTo>
                  <a:pt x="393" y="46"/>
                  <a:pt x="393" y="46"/>
                  <a:pt x="393" y="46"/>
                </a:cubicBezTo>
                <a:cubicBezTo>
                  <a:pt x="392" y="45"/>
                  <a:pt x="392" y="45"/>
                  <a:pt x="392" y="45"/>
                </a:cubicBezTo>
                <a:cubicBezTo>
                  <a:pt x="391" y="44"/>
                  <a:pt x="391" y="44"/>
                  <a:pt x="391" y="44"/>
                </a:cubicBezTo>
                <a:cubicBezTo>
                  <a:pt x="390" y="44"/>
                  <a:pt x="390" y="44"/>
                  <a:pt x="390" y="44"/>
                </a:cubicBezTo>
                <a:cubicBezTo>
                  <a:pt x="390" y="44"/>
                  <a:pt x="390" y="44"/>
                  <a:pt x="390" y="44"/>
                </a:cubicBezTo>
                <a:cubicBezTo>
                  <a:pt x="389" y="45"/>
                  <a:pt x="389" y="45"/>
                  <a:pt x="389" y="45"/>
                </a:cubicBezTo>
                <a:cubicBezTo>
                  <a:pt x="389" y="46"/>
                  <a:pt x="389" y="46"/>
                  <a:pt x="389" y="46"/>
                </a:cubicBezTo>
                <a:cubicBezTo>
                  <a:pt x="389" y="46"/>
                  <a:pt x="389" y="46"/>
                  <a:pt x="389" y="46"/>
                </a:cubicBezTo>
                <a:cubicBezTo>
                  <a:pt x="389" y="48"/>
                  <a:pt x="389" y="48"/>
                  <a:pt x="389" y="48"/>
                </a:cubicBezTo>
                <a:cubicBezTo>
                  <a:pt x="388" y="49"/>
                  <a:pt x="388" y="49"/>
                  <a:pt x="388" y="49"/>
                </a:cubicBezTo>
                <a:cubicBezTo>
                  <a:pt x="388" y="48"/>
                  <a:pt x="388" y="48"/>
                  <a:pt x="388" y="48"/>
                </a:cubicBezTo>
                <a:cubicBezTo>
                  <a:pt x="388" y="50"/>
                  <a:pt x="388" y="50"/>
                  <a:pt x="388" y="50"/>
                </a:cubicBezTo>
                <a:cubicBezTo>
                  <a:pt x="387" y="50"/>
                  <a:pt x="387" y="50"/>
                  <a:pt x="387" y="50"/>
                </a:cubicBezTo>
                <a:cubicBezTo>
                  <a:pt x="387" y="53"/>
                  <a:pt x="387" y="53"/>
                  <a:pt x="387" y="53"/>
                </a:cubicBezTo>
                <a:cubicBezTo>
                  <a:pt x="388" y="54"/>
                  <a:pt x="388" y="54"/>
                  <a:pt x="388" y="54"/>
                </a:cubicBezTo>
                <a:cubicBezTo>
                  <a:pt x="390" y="54"/>
                  <a:pt x="390" y="54"/>
                  <a:pt x="390" y="54"/>
                </a:cubicBezTo>
                <a:cubicBezTo>
                  <a:pt x="391" y="55"/>
                  <a:pt x="391" y="55"/>
                  <a:pt x="391" y="55"/>
                </a:cubicBezTo>
                <a:cubicBezTo>
                  <a:pt x="392" y="54"/>
                  <a:pt x="392" y="54"/>
                  <a:pt x="392" y="54"/>
                </a:cubicBezTo>
                <a:cubicBezTo>
                  <a:pt x="392" y="55"/>
                  <a:pt x="392" y="55"/>
                  <a:pt x="392" y="55"/>
                </a:cubicBezTo>
                <a:cubicBezTo>
                  <a:pt x="391" y="55"/>
                  <a:pt x="391" y="55"/>
                  <a:pt x="391" y="55"/>
                </a:cubicBezTo>
                <a:cubicBezTo>
                  <a:pt x="390" y="55"/>
                  <a:pt x="390" y="55"/>
                  <a:pt x="390" y="55"/>
                </a:cubicBezTo>
                <a:cubicBezTo>
                  <a:pt x="388" y="55"/>
                  <a:pt x="388" y="55"/>
                  <a:pt x="388" y="55"/>
                </a:cubicBezTo>
                <a:cubicBezTo>
                  <a:pt x="387" y="54"/>
                  <a:pt x="387" y="54"/>
                  <a:pt x="387" y="54"/>
                </a:cubicBezTo>
                <a:cubicBezTo>
                  <a:pt x="386" y="55"/>
                  <a:pt x="386" y="55"/>
                  <a:pt x="386" y="55"/>
                </a:cubicBezTo>
                <a:cubicBezTo>
                  <a:pt x="384" y="57"/>
                  <a:pt x="384" y="57"/>
                  <a:pt x="384" y="57"/>
                </a:cubicBezTo>
                <a:cubicBezTo>
                  <a:pt x="384" y="58"/>
                  <a:pt x="384" y="58"/>
                  <a:pt x="384" y="58"/>
                </a:cubicBezTo>
                <a:cubicBezTo>
                  <a:pt x="385" y="59"/>
                  <a:pt x="385" y="59"/>
                  <a:pt x="385" y="59"/>
                </a:cubicBezTo>
                <a:cubicBezTo>
                  <a:pt x="385" y="59"/>
                  <a:pt x="385" y="59"/>
                  <a:pt x="385" y="59"/>
                </a:cubicBezTo>
                <a:cubicBezTo>
                  <a:pt x="384" y="60"/>
                  <a:pt x="384" y="60"/>
                  <a:pt x="384" y="60"/>
                </a:cubicBezTo>
                <a:cubicBezTo>
                  <a:pt x="384" y="61"/>
                  <a:pt x="384" y="61"/>
                  <a:pt x="384" y="61"/>
                </a:cubicBezTo>
                <a:cubicBezTo>
                  <a:pt x="385" y="61"/>
                  <a:pt x="385" y="61"/>
                  <a:pt x="385" y="61"/>
                </a:cubicBezTo>
                <a:cubicBezTo>
                  <a:pt x="385" y="61"/>
                  <a:pt x="385" y="61"/>
                  <a:pt x="385" y="61"/>
                </a:cubicBezTo>
                <a:cubicBezTo>
                  <a:pt x="387" y="61"/>
                  <a:pt x="387" y="61"/>
                  <a:pt x="387" y="61"/>
                </a:cubicBezTo>
                <a:cubicBezTo>
                  <a:pt x="388" y="60"/>
                  <a:pt x="388" y="60"/>
                  <a:pt x="388" y="60"/>
                </a:cubicBezTo>
                <a:cubicBezTo>
                  <a:pt x="389" y="60"/>
                  <a:pt x="389" y="60"/>
                  <a:pt x="389" y="60"/>
                </a:cubicBezTo>
                <a:cubicBezTo>
                  <a:pt x="388" y="61"/>
                  <a:pt x="388" y="61"/>
                  <a:pt x="388" y="61"/>
                </a:cubicBezTo>
                <a:cubicBezTo>
                  <a:pt x="387" y="61"/>
                  <a:pt x="387" y="61"/>
                  <a:pt x="387" y="61"/>
                </a:cubicBezTo>
                <a:cubicBezTo>
                  <a:pt x="387" y="63"/>
                  <a:pt x="387" y="63"/>
                  <a:pt x="387" y="63"/>
                </a:cubicBezTo>
                <a:cubicBezTo>
                  <a:pt x="387" y="63"/>
                  <a:pt x="387" y="63"/>
                  <a:pt x="387" y="63"/>
                </a:cubicBezTo>
                <a:cubicBezTo>
                  <a:pt x="388" y="63"/>
                  <a:pt x="388" y="63"/>
                  <a:pt x="388" y="63"/>
                </a:cubicBezTo>
                <a:cubicBezTo>
                  <a:pt x="389" y="62"/>
                  <a:pt x="389" y="62"/>
                  <a:pt x="389" y="62"/>
                </a:cubicBezTo>
                <a:cubicBezTo>
                  <a:pt x="390" y="62"/>
                  <a:pt x="390" y="62"/>
                  <a:pt x="390" y="62"/>
                </a:cubicBezTo>
                <a:cubicBezTo>
                  <a:pt x="391" y="61"/>
                  <a:pt x="391" y="61"/>
                  <a:pt x="391" y="61"/>
                </a:cubicBezTo>
                <a:cubicBezTo>
                  <a:pt x="391" y="62"/>
                  <a:pt x="391" y="62"/>
                  <a:pt x="391" y="62"/>
                </a:cubicBezTo>
                <a:cubicBezTo>
                  <a:pt x="390" y="63"/>
                  <a:pt x="390" y="63"/>
                  <a:pt x="390" y="63"/>
                </a:cubicBezTo>
                <a:cubicBezTo>
                  <a:pt x="391" y="63"/>
                  <a:pt x="391" y="63"/>
                  <a:pt x="391" y="63"/>
                </a:cubicBezTo>
                <a:cubicBezTo>
                  <a:pt x="393" y="63"/>
                  <a:pt x="393" y="63"/>
                  <a:pt x="393" y="63"/>
                </a:cubicBezTo>
                <a:cubicBezTo>
                  <a:pt x="393" y="64"/>
                  <a:pt x="393" y="64"/>
                  <a:pt x="393" y="64"/>
                </a:cubicBezTo>
                <a:cubicBezTo>
                  <a:pt x="392" y="64"/>
                  <a:pt x="392" y="64"/>
                  <a:pt x="392" y="64"/>
                </a:cubicBezTo>
                <a:cubicBezTo>
                  <a:pt x="392" y="65"/>
                  <a:pt x="392" y="65"/>
                  <a:pt x="392" y="65"/>
                </a:cubicBezTo>
                <a:cubicBezTo>
                  <a:pt x="393" y="65"/>
                  <a:pt x="393" y="65"/>
                  <a:pt x="393" y="65"/>
                </a:cubicBezTo>
                <a:cubicBezTo>
                  <a:pt x="395" y="65"/>
                  <a:pt x="395" y="65"/>
                  <a:pt x="395" y="65"/>
                </a:cubicBezTo>
                <a:cubicBezTo>
                  <a:pt x="396" y="66"/>
                  <a:pt x="396" y="66"/>
                  <a:pt x="396" y="66"/>
                </a:cubicBezTo>
                <a:cubicBezTo>
                  <a:pt x="399" y="67"/>
                  <a:pt x="399" y="67"/>
                  <a:pt x="399" y="67"/>
                </a:cubicBezTo>
                <a:cubicBezTo>
                  <a:pt x="399" y="67"/>
                  <a:pt x="399" y="67"/>
                  <a:pt x="399" y="67"/>
                </a:cubicBezTo>
                <a:cubicBezTo>
                  <a:pt x="397" y="67"/>
                  <a:pt x="397" y="67"/>
                  <a:pt x="397" y="67"/>
                </a:cubicBezTo>
                <a:cubicBezTo>
                  <a:pt x="396" y="67"/>
                  <a:pt x="396" y="67"/>
                  <a:pt x="396" y="67"/>
                </a:cubicBezTo>
                <a:cubicBezTo>
                  <a:pt x="394" y="66"/>
                  <a:pt x="394" y="66"/>
                  <a:pt x="394" y="66"/>
                </a:cubicBezTo>
                <a:cubicBezTo>
                  <a:pt x="392" y="67"/>
                  <a:pt x="392" y="67"/>
                  <a:pt x="392" y="67"/>
                </a:cubicBezTo>
                <a:cubicBezTo>
                  <a:pt x="392" y="67"/>
                  <a:pt x="392" y="67"/>
                  <a:pt x="392" y="67"/>
                </a:cubicBezTo>
                <a:cubicBezTo>
                  <a:pt x="394" y="68"/>
                  <a:pt x="394" y="68"/>
                  <a:pt x="394" y="68"/>
                </a:cubicBezTo>
                <a:cubicBezTo>
                  <a:pt x="396" y="68"/>
                  <a:pt x="396" y="68"/>
                  <a:pt x="396" y="68"/>
                </a:cubicBezTo>
                <a:cubicBezTo>
                  <a:pt x="399" y="68"/>
                  <a:pt x="399" y="68"/>
                  <a:pt x="399" y="68"/>
                </a:cubicBezTo>
                <a:cubicBezTo>
                  <a:pt x="400" y="69"/>
                  <a:pt x="400" y="69"/>
                  <a:pt x="400" y="69"/>
                </a:cubicBezTo>
                <a:cubicBezTo>
                  <a:pt x="397" y="70"/>
                  <a:pt x="397" y="70"/>
                  <a:pt x="397" y="70"/>
                </a:cubicBezTo>
                <a:cubicBezTo>
                  <a:pt x="396" y="69"/>
                  <a:pt x="396" y="69"/>
                  <a:pt x="396" y="69"/>
                </a:cubicBezTo>
                <a:cubicBezTo>
                  <a:pt x="394" y="69"/>
                  <a:pt x="394" y="69"/>
                  <a:pt x="394" y="69"/>
                </a:cubicBezTo>
                <a:cubicBezTo>
                  <a:pt x="392" y="69"/>
                  <a:pt x="392" y="69"/>
                  <a:pt x="392" y="69"/>
                </a:cubicBezTo>
                <a:cubicBezTo>
                  <a:pt x="391" y="68"/>
                  <a:pt x="391" y="68"/>
                  <a:pt x="391" y="68"/>
                </a:cubicBezTo>
                <a:cubicBezTo>
                  <a:pt x="390" y="67"/>
                  <a:pt x="390" y="67"/>
                  <a:pt x="390" y="67"/>
                </a:cubicBezTo>
                <a:cubicBezTo>
                  <a:pt x="388" y="66"/>
                  <a:pt x="388" y="66"/>
                  <a:pt x="388" y="66"/>
                </a:cubicBezTo>
                <a:cubicBezTo>
                  <a:pt x="388" y="66"/>
                  <a:pt x="388" y="66"/>
                  <a:pt x="388" y="66"/>
                </a:cubicBezTo>
                <a:cubicBezTo>
                  <a:pt x="387" y="67"/>
                  <a:pt x="387" y="67"/>
                  <a:pt x="387" y="67"/>
                </a:cubicBezTo>
                <a:cubicBezTo>
                  <a:pt x="385" y="67"/>
                  <a:pt x="385" y="67"/>
                  <a:pt x="385" y="67"/>
                </a:cubicBezTo>
                <a:cubicBezTo>
                  <a:pt x="384" y="68"/>
                  <a:pt x="384" y="68"/>
                  <a:pt x="384" y="68"/>
                </a:cubicBezTo>
                <a:cubicBezTo>
                  <a:pt x="384" y="70"/>
                  <a:pt x="384" y="70"/>
                  <a:pt x="384" y="70"/>
                </a:cubicBezTo>
                <a:cubicBezTo>
                  <a:pt x="385" y="72"/>
                  <a:pt x="385" y="72"/>
                  <a:pt x="385" y="72"/>
                </a:cubicBezTo>
                <a:cubicBezTo>
                  <a:pt x="385" y="73"/>
                  <a:pt x="385" y="73"/>
                  <a:pt x="385" y="73"/>
                </a:cubicBezTo>
                <a:cubicBezTo>
                  <a:pt x="385" y="74"/>
                  <a:pt x="385" y="74"/>
                  <a:pt x="385" y="74"/>
                </a:cubicBezTo>
                <a:cubicBezTo>
                  <a:pt x="384" y="72"/>
                  <a:pt x="384" y="72"/>
                  <a:pt x="384" y="72"/>
                </a:cubicBezTo>
                <a:cubicBezTo>
                  <a:pt x="383" y="72"/>
                  <a:pt x="383" y="72"/>
                  <a:pt x="383" y="72"/>
                </a:cubicBezTo>
                <a:cubicBezTo>
                  <a:pt x="382" y="74"/>
                  <a:pt x="382" y="74"/>
                  <a:pt x="382" y="74"/>
                </a:cubicBezTo>
                <a:cubicBezTo>
                  <a:pt x="382" y="76"/>
                  <a:pt x="382" y="76"/>
                  <a:pt x="382" y="76"/>
                </a:cubicBezTo>
                <a:cubicBezTo>
                  <a:pt x="383" y="76"/>
                  <a:pt x="383" y="76"/>
                  <a:pt x="383" y="76"/>
                </a:cubicBezTo>
                <a:cubicBezTo>
                  <a:pt x="384" y="76"/>
                  <a:pt x="384" y="76"/>
                  <a:pt x="384" y="76"/>
                </a:cubicBezTo>
                <a:cubicBezTo>
                  <a:pt x="385" y="76"/>
                  <a:pt x="385" y="76"/>
                  <a:pt x="385" y="76"/>
                </a:cubicBezTo>
                <a:cubicBezTo>
                  <a:pt x="385" y="77"/>
                  <a:pt x="385" y="77"/>
                  <a:pt x="385" y="77"/>
                </a:cubicBezTo>
                <a:cubicBezTo>
                  <a:pt x="386" y="77"/>
                  <a:pt x="386" y="77"/>
                  <a:pt x="386" y="77"/>
                </a:cubicBezTo>
                <a:cubicBezTo>
                  <a:pt x="385" y="78"/>
                  <a:pt x="385" y="78"/>
                  <a:pt x="385" y="78"/>
                </a:cubicBezTo>
                <a:cubicBezTo>
                  <a:pt x="385" y="78"/>
                  <a:pt x="385" y="78"/>
                  <a:pt x="385" y="78"/>
                </a:cubicBezTo>
                <a:cubicBezTo>
                  <a:pt x="384" y="77"/>
                  <a:pt x="384" y="77"/>
                  <a:pt x="384" y="77"/>
                </a:cubicBezTo>
                <a:cubicBezTo>
                  <a:pt x="382" y="77"/>
                  <a:pt x="382" y="77"/>
                  <a:pt x="382" y="77"/>
                </a:cubicBezTo>
                <a:cubicBezTo>
                  <a:pt x="382" y="79"/>
                  <a:pt x="382" y="79"/>
                  <a:pt x="382" y="79"/>
                </a:cubicBezTo>
                <a:cubicBezTo>
                  <a:pt x="382" y="80"/>
                  <a:pt x="382" y="80"/>
                  <a:pt x="382" y="80"/>
                </a:cubicBezTo>
                <a:cubicBezTo>
                  <a:pt x="383" y="80"/>
                  <a:pt x="383" y="80"/>
                  <a:pt x="383" y="80"/>
                </a:cubicBezTo>
                <a:cubicBezTo>
                  <a:pt x="383" y="81"/>
                  <a:pt x="383" y="81"/>
                  <a:pt x="383" y="81"/>
                </a:cubicBezTo>
                <a:cubicBezTo>
                  <a:pt x="383" y="83"/>
                  <a:pt x="383" y="83"/>
                  <a:pt x="383" y="83"/>
                </a:cubicBezTo>
                <a:cubicBezTo>
                  <a:pt x="383" y="83"/>
                  <a:pt x="383" y="83"/>
                  <a:pt x="383" y="83"/>
                </a:cubicBezTo>
                <a:cubicBezTo>
                  <a:pt x="384" y="83"/>
                  <a:pt x="384" y="83"/>
                  <a:pt x="384" y="83"/>
                </a:cubicBezTo>
                <a:cubicBezTo>
                  <a:pt x="384" y="85"/>
                  <a:pt x="384" y="85"/>
                  <a:pt x="384" y="85"/>
                </a:cubicBezTo>
                <a:cubicBezTo>
                  <a:pt x="386" y="85"/>
                  <a:pt x="386" y="85"/>
                  <a:pt x="386" y="85"/>
                </a:cubicBezTo>
                <a:cubicBezTo>
                  <a:pt x="389" y="87"/>
                  <a:pt x="389" y="87"/>
                  <a:pt x="389" y="87"/>
                </a:cubicBezTo>
                <a:cubicBezTo>
                  <a:pt x="390" y="87"/>
                  <a:pt x="390" y="87"/>
                  <a:pt x="390" y="87"/>
                </a:cubicBezTo>
                <a:cubicBezTo>
                  <a:pt x="390" y="86"/>
                  <a:pt x="390" y="86"/>
                  <a:pt x="390" y="86"/>
                </a:cubicBezTo>
                <a:cubicBezTo>
                  <a:pt x="390" y="84"/>
                  <a:pt x="390" y="84"/>
                  <a:pt x="390" y="84"/>
                </a:cubicBezTo>
                <a:cubicBezTo>
                  <a:pt x="392" y="85"/>
                  <a:pt x="392" y="85"/>
                  <a:pt x="392" y="85"/>
                </a:cubicBezTo>
                <a:cubicBezTo>
                  <a:pt x="392" y="86"/>
                  <a:pt x="392" y="86"/>
                  <a:pt x="392" y="86"/>
                </a:cubicBezTo>
                <a:cubicBezTo>
                  <a:pt x="392" y="87"/>
                  <a:pt x="392" y="87"/>
                  <a:pt x="392" y="87"/>
                </a:cubicBezTo>
                <a:cubicBezTo>
                  <a:pt x="392" y="88"/>
                  <a:pt x="392" y="88"/>
                  <a:pt x="392" y="88"/>
                </a:cubicBezTo>
                <a:cubicBezTo>
                  <a:pt x="392" y="88"/>
                  <a:pt x="392" y="88"/>
                  <a:pt x="392" y="88"/>
                </a:cubicBezTo>
                <a:cubicBezTo>
                  <a:pt x="393" y="85"/>
                  <a:pt x="393" y="85"/>
                  <a:pt x="393" y="85"/>
                </a:cubicBezTo>
                <a:cubicBezTo>
                  <a:pt x="393" y="82"/>
                  <a:pt x="393" y="82"/>
                  <a:pt x="393" y="82"/>
                </a:cubicBezTo>
                <a:cubicBezTo>
                  <a:pt x="394" y="81"/>
                  <a:pt x="394" y="81"/>
                  <a:pt x="394" y="81"/>
                </a:cubicBezTo>
                <a:cubicBezTo>
                  <a:pt x="395" y="79"/>
                  <a:pt x="395" y="79"/>
                  <a:pt x="395" y="79"/>
                </a:cubicBezTo>
                <a:cubicBezTo>
                  <a:pt x="396" y="78"/>
                  <a:pt x="396" y="78"/>
                  <a:pt x="396" y="78"/>
                </a:cubicBezTo>
                <a:cubicBezTo>
                  <a:pt x="396" y="79"/>
                  <a:pt x="396" y="79"/>
                  <a:pt x="396" y="79"/>
                </a:cubicBezTo>
                <a:cubicBezTo>
                  <a:pt x="394" y="82"/>
                  <a:pt x="394" y="82"/>
                  <a:pt x="394" y="82"/>
                </a:cubicBezTo>
                <a:cubicBezTo>
                  <a:pt x="394" y="83"/>
                  <a:pt x="394" y="83"/>
                  <a:pt x="394" y="83"/>
                </a:cubicBezTo>
                <a:cubicBezTo>
                  <a:pt x="394" y="85"/>
                  <a:pt x="394" y="85"/>
                  <a:pt x="394" y="85"/>
                </a:cubicBezTo>
                <a:cubicBezTo>
                  <a:pt x="394" y="87"/>
                  <a:pt x="394" y="87"/>
                  <a:pt x="394" y="87"/>
                </a:cubicBezTo>
                <a:cubicBezTo>
                  <a:pt x="395" y="88"/>
                  <a:pt x="395" y="88"/>
                  <a:pt x="395" y="88"/>
                </a:cubicBezTo>
                <a:cubicBezTo>
                  <a:pt x="394" y="89"/>
                  <a:pt x="394" y="89"/>
                  <a:pt x="394" y="89"/>
                </a:cubicBezTo>
                <a:cubicBezTo>
                  <a:pt x="395" y="89"/>
                  <a:pt x="395" y="89"/>
                  <a:pt x="395" y="89"/>
                </a:cubicBezTo>
                <a:close/>
                <a:moveTo>
                  <a:pt x="398" y="34"/>
                </a:moveTo>
                <a:cubicBezTo>
                  <a:pt x="398" y="34"/>
                  <a:pt x="398" y="34"/>
                  <a:pt x="398" y="34"/>
                </a:cubicBezTo>
                <a:cubicBezTo>
                  <a:pt x="399" y="34"/>
                  <a:pt x="399" y="34"/>
                  <a:pt x="399" y="34"/>
                </a:cubicBezTo>
                <a:cubicBezTo>
                  <a:pt x="399" y="34"/>
                  <a:pt x="399" y="34"/>
                  <a:pt x="399" y="34"/>
                </a:cubicBezTo>
                <a:cubicBezTo>
                  <a:pt x="400" y="34"/>
                  <a:pt x="400" y="34"/>
                  <a:pt x="400" y="34"/>
                </a:cubicBezTo>
                <a:cubicBezTo>
                  <a:pt x="400" y="35"/>
                  <a:pt x="400" y="35"/>
                  <a:pt x="400" y="35"/>
                </a:cubicBezTo>
                <a:cubicBezTo>
                  <a:pt x="400" y="35"/>
                  <a:pt x="400" y="35"/>
                  <a:pt x="400" y="35"/>
                </a:cubicBezTo>
                <a:cubicBezTo>
                  <a:pt x="399" y="35"/>
                  <a:pt x="399" y="35"/>
                  <a:pt x="399" y="35"/>
                </a:cubicBezTo>
                <a:cubicBezTo>
                  <a:pt x="398" y="34"/>
                  <a:pt x="398" y="34"/>
                  <a:pt x="398" y="34"/>
                </a:cubicBezTo>
                <a:cubicBezTo>
                  <a:pt x="398" y="34"/>
                  <a:pt x="398" y="34"/>
                  <a:pt x="398" y="34"/>
                </a:cubicBezTo>
                <a:close/>
                <a:moveTo>
                  <a:pt x="399" y="89"/>
                </a:moveTo>
                <a:cubicBezTo>
                  <a:pt x="399" y="88"/>
                  <a:pt x="399" y="88"/>
                  <a:pt x="399" y="88"/>
                </a:cubicBezTo>
                <a:cubicBezTo>
                  <a:pt x="400" y="87"/>
                  <a:pt x="400" y="87"/>
                  <a:pt x="400" y="87"/>
                </a:cubicBezTo>
                <a:cubicBezTo>
                  <a:pt x="400" y="86"/>
                  <a:pt x="400" y="86"/>
                  <a:pt x="400" y="86"/>
                </a:cubicBezTo>
                <a:cubicBezTo>
                  <a:pt x="401" y="86"/>
                  <a:pt x="401" y="86"/>
                  <a:pt x="401" y="86"/>
                </a:cubicBezTo>
                <a:cubicBezTo>
                  <a:pt x="401" y="86"/>
                  <a:pt x="401" y="86"/>
                  <a:pt x="401" y="86"/>
                </a:cubicBezTo>
                <a:cubicBezTo>
                  <a:pt x="401" y="87"/>
                  <a:pt x="401" y="87"/>
                  <a:pt x="401" y="87"/>
                </a:cubicBezTo>
                <a:cubicBezTo>
                  <a:pt x="400" y="87"/>
                  <a:pt x="400" y="87"/>
                  <a:pt x="400" y="87"/>
                </a:cubicBezTo>
                <a:cubicBezTo>
                  <a:pt x="399" y="89"/>
                  <a:pt x="399" y="89"/>
                  <a:pt x="399" y="89"/>
                </a:cubicBezTo>
                <a:cubicBezTo>
                  <a:pt x="399" y="89"/>
                  <a:pt x="399" y="89"/>
                  <a:pt x="399" y="89"/>
                </a:cubicBezTo>
                <a:close/>
                <a:moveTo>
                  <a:pt x="412" y="77"/>
                </a:moveTo>
                <a:cubicBezTo>
                  <a:pt x="413" y="75"/>
                  <a:pt x="413" y="75"/>
                  <a:pt x="413" y="75"/>
                </a:cubicBezTo>
                <a:cubicBezTo>
                  <a:pt x="414" y="75"/>
                  <a:pt x="414" y="75"/>
                  <a:pt x="414" y="75"/>
                </a:cubicBezTo>
                <a:cubicBezTo>
                  <a:pt x="415" y="74"/>
                  <a:pt x="415" y="74"/>
                  <a:pt x="415" y="74"/>
                </a:cubicBezTo>
                <a:cubicBezTo>
                  <a:pt x="416" y="75"/>
                  <a:pt x="416" y="75"/>
                  <a:pt x="416" y="75"/>
                </a:cubicBezTo>
                <a:cubicBezTo>
                  <a:pt x="418" y="76"/>
                  <a:pt x="418" y="76"/>
                  <a:pt x="418" y="76"/>
                </a:cubicBezTo>
                <a:cubicBezTo>
                  <a:pt x="417" y="77"/>
                  <a:pt x="417" y="77"/>
                  <a:pt x="417" y="77"/>
                </a:cubicBezTo>
                <a:cubicBezTo>
                  <a:pt x="415" y="76"/>
                  <a:pt x="415" y="76"/>
                  <a:pt x="415" y="76"/>
                </a:cubicBezTo>
                <a:cubicBezTo>
                  <a:pt x="414" y="77"/>
                  <a:pt x="414" y="77"/>
                  <a:pt x="414" y="77"/>
                </a:cubicBezTo>
                <a:cubicBezTo>
                  <a:pt x="413" y="78"/>
                  <a:pt x="413" y="78"/>
                  <a:pt x="413" y="78"/>
                </a:cubicBezTo>
                <a:cubicBezTo>
                  <a:pt x="412" y="77"/>
                  <a:pt x="412" y="77"/>
                  <a:pt x="412" y="77"/>
                </a:cubicBezTo>
                <a:cubicBezTo>
                  <a:pt x="412" y="77"/>
                  <a:pt x="412" y="77"/>
                  <a:pt x="412" y="77"/>
                </a:cubicBezTo>
                <a:close/>
                <a:moveTo>
                  <a:pt x="506" y="3"/>
                </a:moveTo>
                <a:cubicBezTo>
                  <a:pt x="507" y="2"/>
                  <a:pt x="507" y="2"/>
                  <a:pt x="507" y="2"/>
                </a:cubicBezTo>
                <a:cubicBezTo>
                  <a:pt x="507" y="2"/>
                  <a:pt x="507" y="2"/>
                  <a:pt x="507" y="2"/>
                </a:cubicBezTo>
                <a:cubicBezTo>
                  <a:pt x="508" y="3"/>
                  <a:pt x="508" y="3"/>
                  <a:pt x="508" y="3"/>
                </a:cubicBezTo>
                <a:cubicBezTo>
                  <a:pt x="507" y="3"/>
                  <a:pt x="507" y="3"/>
                  <a:pt x="507" y="3"/>
                </a:cubicBezTo>
                <a:cubicBezTo>
                  <a:pt x="506" y="3"/>
                  <a:pt x="506" y="3"/>
                  <a:pt x="506" y="3"/>
                </a:cubicBezTo>
                <a:close/>
                <a:moveTo>
                  <a:pt x="461" y="91"/>
                </a:moveTo>
                <a:cubicBezTo>
                  <a:pt x="460" y="92"/>
                  <a:pt x="460" y="92"/>
                  <a:pt x="460" y="92"/>
                </a:cubicBezTo>
                <a:cubicBezTo>
                  <a:pt x="461" y="93"/>
                  <a:pt x="461" y="93"/>
                  <a:pt x="461" y="93"/>
                </a:cubicBezTo>
                <a:cubicBezTo>
                  <a:pt x="462" y="93"/>
                  <a:pt x="462" y="93"/>
                  <a:pt x="462" y="93"/>
                </a:cubicBezTo>
                <a:cubicBezTo>
                  <a:pt x="462" y="92"/>
                  <a:pt x="462" y="92"/>
                  <a:pt x="462" y="92"/>
                </a:cubicBezTo>
                <a:cubicBezTo>
                  <a:pt x="461" y="91"/>
                  <a:pt x="461" y="91"/>
                  <a:pt x="461" y="91"/>
                </a:cubicBezTo>
                <a:cubicBezTo>
                  <a:pt x="461" y="91"/>
                  <a:pt x="461" y="91"/>
                  <a:pt x="461" y="91"/>
                </a:cubicBezTo>
                <a:close/>
                <a:moveTo>
                  <a:pt x="438" y="105"/>
                </a:moveTo>
                <a:cubicBezTo>
                  <a:pt x="439" y="106"/>
                  <a:pt x="439" y="106"/>
                  <a:pt x="439" y="106"/>
                </a:cubicBezTo>
                <a:cubicBezTo>
                  <a:pt x="440" y="106"/>
                  <a:pt x="440" y="106"/>
                  <a:pt x="440" y="106"/>
                </a:cubicBezTo>
                <a:cubicBezTo>
                  <a:pt x="439" y="105"/>
                  <a:pt x="439" y="105"/>
                  <a:pt x="439" y="105"/>
                </a:cubicBezTo>
                <a:cubicBezTo>
                  <a:pt x="438" y="105"/>
                  <a:pt x="438" y="105"/>
                  <a:pt x="438" y="105"/>
                </a:cubicBezTo>
                <a:close/>
                <a:moveTo>
                  <a:pt x="406" y="105"/>
                </a:moveTo>
                <a:cubicBezTo>
                  <a:pt x="406" y="103"/>
                  <a:pt x="406" y="103"/>
                  <a:pt x="406" y="103"/>
                </a:cubicBezTo>
                <a:cubicBezTo>
                  <a:pt x="406" y="103"/>
                  <a:pt x="406" y="103"/>
                  <a:pt x="406" y="103"/>
                </a:cubicBezTo>
                <a:cubicBezTo>
                  <a:pt x="406" y="102"/>
                  <a:pt x="406" y="102"/>
                  <a:pt x="406" y="102"/>
                </a:cubicBezTo>
                <a:cubicBezTo>
                  <a:pt x="407" y="103"/>
                  <a:pt x="407" y="103"/>
                  <a:pt x="407" y="103"/>
                </a:cubicBezTo>
                <a:cubicBezTo>
                  <a:pt x="407" y="104"/>
                  <a:pt x="407" y="104"/>
                  <a:pt x="407" y="104"/>
                </a:cubicBezTo>
                <a:cubicBezTo>
                  <a:pt x="407" y="105"/>
                  <a:pt x="407" y="105"/>
                  <a:pt x="407" y="105"/>
                </a:cubicBezTo>
                <a:cubicBezTo>
                  <a:pt x="406" y="105"/>
                  <a:pt x="406" y="105"/>
                  <a:pt x="406" y="105"/>
                </a:cubicBezTo>
                <a:close/>
                <a:moveTo>
                  <a:pt x="397" y="124"/>
                </a:moveTo>
                <a:cubicBezTo>
                  <a:pt x="397" y="123"/>
                  <a:pt x="397" y="123"/>
                  <a:pt x="397" y="123"/>
                </a:cubicBezTo>
                <a:cubicBezTo>
                  <a:pt x="397" y="122"/>
                  <a:pt x="397" y="122"/>
                  <a:pt x="397" y="122"/>
                </a:cubicBezTo>
                <a:cubicBezTo>
                  <a:pt x="397" y="120"/>
                  <a:pt x="397" y="120"/>
                  <a:pt x="397" y="120"/>
                </a:cubicBezTo>
                <a:cubicBezTo>
                  <a:pt x="396" y="120"/>
                  <a:pt x="396" y="120"/>
                  <a:pt x="396" y="120"/>
                </a:cubicBezTo>
                <a:cubicBezTo>
                  <a:pt x="396" y="120"/>
                  <a:pt x="396" y="120"/>
                  <a:pt x="396" y="120"/>
                </a:cubicBezTo>
                <a:cubicBezTo>
                  <a:pt x="395" y="122"/>
                  <a:pt x="395" y="122"/>
                  <a:pt x="395" y="122"/>
                </a:cubicBezTo>
                <a:cubicBezTo>
                  <a:pt x="396" y="124"/>
                  <a:pt x="396" y="124"/>
                  <a:pt x="396" y="124"/>
                </a:cubicBezTo>
                <a:cubicBezTo>
                  <a:pt x="397" y="125"/>
                  <a:pt x="397" y="125"/>
                  <a:pt x="397" y="125"/>
                </a:cubicBezTo>
                <a:cubicBezTo>
                  <a:pt x="396" y="126"/>
                  <a:pt x="396" y="126"/>
                  <a:pt x="396" y="126"/>
                </a:cubicBezTo>
                <a:cubicBezTo>
                  <a:pt x="396" y="126"/>
                  <a:pt x="396" y="126"/>
                  <a:pt x="396" y="126"/>
                </a:cubicBezTo>
                <a:cubicBezTo>
                  <a:pt x="395" y="126"/>
                  <a:pt x="395" y="126"/>
                  <a:pt x="395" y="126"/>
                </a:cubicBezTo>
                <a:cubicBezTo>
                  <a:pt x="393" y="126"/>
                  <a:pt x="393" y="126"/>
                  <a:pt x="393" y="126"/>
                </a:cubicBezTo>
                <a:cubicBezTo>
                  <a:pt x="392" y="125"/>
                  <a:pt x="392" y="125"/>
                  <a:pt x="392" y="125"/>
                </a:cubicBezTo>
                <a:cubicBezTo>
                  <a:pt x="392" y="125"/>
                  <a:pt x="392" y="125"/>
                  <a:pt x="392" y="125"/>
                </a:cubicBezTo>
                <a:cubicBezTo>
                  <a:pt x="390" y="124"/>
                  <a:pt x="390" y="124"/>
                  <a:pt x="390" y="124"/>
                </a:cubicBezTo>
                <a:cubicBezTo>
                  <a:pt x="389" y="124"/>
                  <a:pt x="389" y="124"/>
                  <a:pt x="389" y="124"/>
                </a:cubicBezTo>
                <a:cubicBezTo>
                  <a:pt x="389" y="123"/>
                  <a:pt x="389" y="123"/>
                  <a:pt x="389" y="123"/>
                </a:cubicBezTo>
                <a:cubicBezTo>
                  <a:pt x="388" y="123"/>
                  <a:pt x="388" y="123"/>
                  <a:pt x="388" y="123"/>
                </a:cubicBezTo>
                <a:cubicBezTo>
                  <a:pt x="388" y="123"/>
                  <a:pt x="388" y="123"/>
                  <a:pt x="388" y="123"/>
                </a:cubicBezTo>
                <a:cubicBezTo>
                  <a:pt x="388" y="122"/>
                  <a:pt x="388" y="122"/>
                  <a:pt x="388" y="122"/>
                </a:cubicBezTo>
                <a:cubicBezTo>
                  <a:pt x="388" y="121"/>
                  <a:pt x="388" y="121"/>
                  <a:pt x="388" y="121"/>
                </a:cubicBezTo>
                <a:cubicBezTo>
                  <a:pt x="389" y="121"/>
                  <a:pt x="389" y="121"/>
                  <a:pt x="389" y="121"/>
                </a:cubicBezTo>
                <a:cubicBezTo>
                  <a:pt x="389" y="120"/>
                  <a:pt x="389" y="120"/>
                  <a:pt x="389" y="120"/>
                </a:cubicBezTo>
                <a:cubicBezTo>
                  <a:pt x="389" y="119"/>
                  <a:pt x="389" y="119"/>
                  <a:pt x="389" y="119"/>
                </a:cubicBezTo>
                <a:cubicBezTo>
                  <a:pt x="389" y="117"/>
                  <a:pt x="389" y="117"/>
                  <a:pt x="389" y="117"/>
                </a:cubicBezTo>
                <a:cubicBezTo>
                  <a:pt x="388" y="117"/>
                  <a:pt x="388" y="117"/>
                  <a:pt x="388" y="117"/>
                </a:cubicBezTo>
                <a:cubicBezTo>
                  <a:pt x="388" y="118"/>
                  <a:pt x="388" y="118"/>
                  <a:pt x="388" y="118"/>
                </a:cubicBezTo>
                <a:cubicBezTo>
                  <a:pt x="389" y="119"/>
                  <a:pt x="389" y="119"/>
                  <a:pt x="389" y="119"/>
                </a:cubicBezTo>
                <a:cubicBezTo>
                  <a:pt x="389" y="120"/>
                  <a:pt x="389" y="120"/>
                  <a:pt x="389" y="120"/>
                </a:cubicBezTo>
                <a:cubicBezTo>
                  <a:pt x="388" y="120"/>
                  <a:pt x="388" y="120"/>
                  <a:pt x="388" y="120"/>
                </a:cubicBezTo>
                <a:cubicBezTo>
                  <a:pt x="387" y="120"/>
                  <a:pt x="387" y="120"/>
                  <a:pt x="387" y="120"/>
                </a:cubicBezTo>
                <a:cubicBezTo>
                  <a:pt x="387" y="121"/>
                  <a:pt x="387" y="121"/>
                  <a:pt x="387" y="121"/>
                </a:cubicBezTo>
                <a:cubicBezTo>
                  <a:pt x="387" y="121"/>
                  <a:pt x="387" y="121"/>
                  <a:pt x="387" y="121"/>
                </a:cubicBezTo>
                <a:cubicBezTo>
                  <a:pt x="387" y="122"/>
                  <a:pt x="387" y="122"/>
                  <a:pt x="387" y="122"/>
                </a:cubicBezTo>
                <a:cubicBezTo>
                  <a:pt x="387" y="122"/>
                  <a:pt x="387" y="122"/>
                  <a:pt x="387" y="122"/>
                </a:cubicBezTo>
                <a:cubicBezTo>
                  <a:pt x="386" y="122"/>
                  <a:pt x="386" y="122"/>
                  <a:pt x="386" y="122"/>
                </a:cubicBezTo>
                <a:cubicBezTo>
                  <a:pt x="385" y="121"/>
                  <a:pt x="385" y="121"/>
                  <a:pt x="385" y="121"/>
                </a:cubicBezTo>
                <a:cubicBezTo>
                  <a:pt x="385" y="120"/>
                  <a:pt x="385" y="120"/>
                  <a:pt x="385" y="120"/>
                </a:cubicBezTo>
                <a:cubicBezTo>
                  <a:pt x="385" y="119"/>
                  <a:pt x="385" y="119"/>
                  <a:pt x="385" y="119"/>
                </a:cubicBezTo>
                <a:cubicBezTo>
                  <a:pt x="386" y="118"/>
                  <a:pt x="386" y="118"/>
                  <a:pt x="386" y="118"/>
                </a:cubicBezTo>
                <a:cubicBezTo>
                  <a:pt x="385" y="117"/>
                  <a:pt x="385" y="117"/>
                  <a:pt x="385" y="117"/>
                </a:cubicBezTo>
                <a:cubicBezTo>
                  <a:pt x="385" y="117"/>
                  <a:pt x="385" y="117"/>
                  <a:pt x="385" y="117"/>
                </a:cubicBezTo>
                <a:cubicBezTo>
                  <a:pt x="385" y="117"/>
                  <a:pt x="385" y="117"/>
                  <a:pt x="385" y="117"/>
                </a:cubicBezTo>
                <a:cubicBezTo>
                  <a:pt x="385" y="118"/>
                  <a:pt x="385" y="118"/>
                  <a:pt x="385" y="118"/>
                </a:cubicBezTo>
                <a:cubicBezTo>
                  <a:pt x="384" y="119"/>
                  <a:pt x="384" y="119"/>
                  <a:pt x="384" y="119"/>
                </a:cubicBezTo>
                <a:cubicBezTo>
                  <a:pt x="384" y="120"/>
                  <a:pt x="384" y="120"/>
                  <a:pt x="384" y="120"/>
                </a:cubicBezTo>
                <a:cubicBezTo>
                  <a:pt x="384" y="121"/>
                  <a:pt x="384" y="121"/>
                  <a:pt x="384" y="121"/>
                </a:cubicBezTo>
                <a:cubicBezTo>
                  <a:pt x="383" y="121"/>
                  <a:pt x="383" y="121"/>
                  <a:pt x="383" y="121"/>
                </a:cubicBezTo>
                <a:cubicBezTo>
                  <a:pt x="382" y="120"/>
                  <a:pt x="382" y="120"/>
                  <a:pt x="382" y="120"/>
                </a:cubicBezTo>
                <a:cubicBezTo>
                  <a:pt x="381" y="120"/>
                  <a:pt x="381" y="120"/>
                  <a:pt x="381" y="120"/>
                </a:cubicBezTo>
                <a:cubicBezTo>
                  <a:pt x="381" y="119"/>
                  <a:pt x="381" y="119"/>
                  <a:pt x="381" y="119"/>
                </a:cubicBezTo>
                <a:cubicBezTo>
                  <a:pt x="381" y="118"/>
                  <a:pt x="381" y="118"/>
                  <a:pt x="381" y="118"/>
                </a:cubicBezTo>
                <a:cubicBezTo>
                  <a:pt x="382" y="117"/>
                  <a:pt x="382" y="117"/>
                  <a:pt x="382" y="117"/>
                </a:cubicBezTo>
                <a:cubicBezTo>
                  <a:pt x="382" y="116"/>
                  <a:pt x="382" y="116"/>
                  <a:pt x="382" y="116"/>
                </a:cubicBezTo>
                <a:cubicBezTo>
                  <a:pt x="382" y="115"/>
                  <a:pt x="382" y="115"/>
                  <a:pt x="382" y="115"/>
                </a:cubicBezTo>
                <a:cubicBezTo>
                  <a:pt x="383" y="113"/>
                  <a:pt x="383" y="113"/>
                  <a:pt x="383" y="113"/>
                </a:cubicBezTo>
                <a:cubicBezTo>
                  <a:pt x="382" y="113"/>
                  <a:pt x="382" y="113"/>
                  <a:pt x="382" y="113"/>
                </a:cubicBezTo>
                <a:cubicBezTo>
                  <a:pt x="382" y="114"/>
                  <a:pt x="382" y="114"/>
                  <a:pt x="382" y="114"/>
                </a:cubicBezTo>
                <a:cubicBezTo>
                  <a:pt x="381" y="116"/>
                  <a:pt x="381" y="116"/>
                  <a:pt x="381" y="116"/>
                </a:cubicBezTo>
                <a:cubicBezTo>
                  <a:pt x="381" y="118"/>
                  <a:pt x="381" y="118"/>
                  <a:pt x="381" y="118"/>
                </a:cubicBezTo>
                <a:cubicBezTo>
                  <a:pt x="380" y="119"/>
                  <a:pt x="380" y="119"/>
                  <a:pt x="380" y="119"/>
                </a:cubicBezTo>
                <a:cubicBezTo>
                  <a:pt x="380" y="119"/>
                  <a:pt x="380" y="119"/>
                  <a:pt x="380" y="119"/>
                </a:cubicBezTo>
                <a:cubicBezTo>
                  <a:pt x="380" y="117"/>
                  <a:pt x="380" y="117"/>
                  <a:pt x="380" y="117"/>
                </a:cubicBezTo>
                <a:cubicBezTo>
                  <a:pt x="380" y="117"/>
                  <a:pt x="380" y="117"/>
                  <a:pt x="380" y="117"/>
                </a:cubicBezTo>
                <a:cubicBezTo>
                  <a:pt x="380" y="117"/>
                  <a:pt x="380" y="117"/>
                  <a:pt x="380" y="117"/>
                </a:cubicBezTo>
                <a:cubicBezTo>
                  <a:pt x="379" y="119"/>
                  <a:pt x="379" y="119"/>
                  <a:pt x="379" y="119"/>
                </a:cubicBezTo>
                <a:cubicBezTo>
                  <a:pt x="378" y="119"/>
                  <a:pt x="378" y="119"/>
                  <a:pt x="378" y="119"/>
                </a:cubicBezTo>
                <a:cubicBezTo>
                  <a:pt x="378" y="118"/>
                  <a:pt x="378" y="118"/>
                  <a:pt x="378" y="118"/>
                </a:cubicBezTo>
                <a:cubicBezTo>
                  <a:pt x="378" y="116"/>
                  <a:pt x="378" y="116"/>
                  <a:pt x="378" y="116"/>
                </a:cubicBezTo>
                <a:cubicBezTo>
                  <a:pt x="377" y="116"/>
                  <a:pt x="377" y="116"/>
                  <a:pt x="377" y="116"/>
                </a:cubicBezTo>
                <a:cubicBezTo>
                  <a:pt x="377" y="115"/>
                  <a:pt x="377" y="115"/>
                  <a:pt x="377" y="115"/>
                </a:cubicBezTo>
                <a:cubicBezTo>
                  <a:pt x="379" y="114"/>
                  <a:pt x="379" y="114"/>
                  <a:pt x="379" y="114"/>
                </a:cubicBezTo>
                <a:cubicBezTo>
                  <a:pt x="379" y="113"/>
                  <a:pt x="379" y="113"/>
                  <a:pt x="379" y="113"/>
                </a:cubicBezTo>
                <a:cubicBezTo>
                  <a:pt x="379" y="112"/>
                  <a:pt x="379" y="112"/>
                  <a:pt x="379" y="112"/>
                </a:cubicBezTo>
                <a:cubicBezTo>
                  <a:pt x="379" y="111"/>
                  <a:pt x="379" y="111"/>
                  <a:pt x="379" y="111"/>
                </a:cubicBezTo>
                <a:cubicBezTo>
                  <a:pt x="380" y="111"/>
                  <a:pt x="380" y="111"/>
                  <a:pt x="380" y="111"/>
                </a:cubicBezTo>
                <a:cubicBezTo>
                  <a:pt x="381" y="110"/>
                  <a:pt x="381" y="110"/>
                  <a:pt x="381" y="110"/>
                </a:cubicBezTo>
                <a:cubicBezTo>
                  <a:pt x="382" y="110"/>
                  <a:pt x="382" y="110"/>
                  <a:pt x="382" y="110"/>
                </a:cubicBezTo>
                <a:cubicBezTo>
                  <a:pt x="384" y="110"/>
                  <a:pt x="384" y="110"/>
                  <a:pt x="384" y="110"/>
                </a:cubicBezTo>
                <a:cubicBezTo>
                  <a:pt x="384" y="109"/>
                  <a:pt x="384" y="109"/>
                  <a:pt x="384" y="109"/>
                </a:cubicBezTo>
                <a:cubicBezTo>
                  <a:pt x="385" y="108"/>
                  <a:pt x="385" y="108"/>
                  <a:pt x="385" y="108"/>
                </a:cubicBezTo>
                <a:cubicBezTo>
                  <a:pt x="386" y="108"/>
                  <a:pt x="386" y="108"/>
                  <a:pt x="386" y="108"/>
                </a:cubicBezTo>
                <a:cubicBezTo>
                  <a:pt x="386" y="107"/>
                  <a:pt x="386" y="107"/>
                  <a:pt x="386" y="107"/>
                </a:cubicBezTo>
                <a:cubicBezTo>
                  <a:pt x="387" y="107"/>
                  <a:pt x="387" y="107"/>
                  <a:pt x="387" y="107"/>
                </a:cubicBezTo>
                <a:cubicBezTo>
                  <a:pt x="388" y="107"/>
                  <a:pt x="388" y="107"/>
                  <a:pt x="388" y="107"/>
                </a:cubicBezTo>
                <a:cubicBezTo>
                  <a:pt x="389" y="108"/>
                  <a:pt x="389" y="108"/>
                  <a:pt x="389" y="108"/>
                </a:cubicBezTo>
                <a:cubicBezTo>
                  <a:pt x="391" y="108"/>
                  <a:pt x="391" y="108"/>
                  <a:pt x="391" y="108"/>
                </a:cubicBezTo>
                <a:cubicBezTo>
                  <a:pt x="392" y="107"/>
                  <a:pt x="392" y="107"/>
                  <a:pt x="392" y="107"/>
                </a:cubicBezTo>
                <a:cubicBezTo>
                  <a:pt x="393" y="107"/>
                  <a:pt x="393" y="107"/>
                  <a:pt x="393" y="107"/>
                </a:cubicBezTo>
                <a:cubicBezTo>
                  <a:pt x="394" y="109"/>
                  <a:pt x="394" y="109"/>
                  <a:pt x="394" y="109"/>
                </a:cubicBezTo>
                <a:cubicBezTo>
                  <a:pt x="395" y="109"/>
                  <a:pt x="395" y="109"/>
                  <a:pt x="395" y="109"/>
                </a:cubicBezTo>
                <a:cubicBezTo>
                  <a:pt x="395" y="108"/>
                  <a:pt x="395" y="108"/>
                  <a:pt x="395" y="108"/>
                </a:cubicBezTo>
                <a:cubicBezTo>
                  <a:pt x="395" y="108"/>
                  <a:pt x="395" y="108"/>
                  <a:pt x="395" y="108"/>
                </a:cubicBezTo>
                <a:cubicBezTo>
                  <a:pt x="397" y="109"/>
                  <a:pt x="397" y="109"/>
                  <a:pt x="397" y="109"/>
                </a:cubicBezTo>
                <a:cubicBezTo>
                  <a:pt x="397" y="108"/>
                  <a:pt x="397" y="108"/>
                  <a:pt x="397" y="108"/>
                </a:cubicBezTo>
                <a:cubicBezTo>
                  <a:pt x="398" y="109"/>
                  <a:pt x="398" y="109"/>
                  <a:pt x="398" y="109"/>
                </a:cubicBezTo>
                <a:cubicBezTo>
                  <a:pt x="399" y="108"/>
                  <a:pt x="399" y="108"/>
                  <a:pt x="399" y="108"/>
                </a:cubicBezTo>
                <a:cubicBezTo>
                  <a:pt x="398" y="108"/>
                  <a:pt x="398" y="108"/>
                  <a:pt x="398" y="108"/>
                </a:cubicBezTo>
                <a:cubicBezTo>
                  <a:pt x="397" y="108"/>
                  <a:pt x="397" y="108"/>
                  <a:pt x="397" y="108"/>
                </a:cubicBezTo>
                <a:cubicBezTo>
                  <a:pt x="397" y="107"/>
                  <a:pt x="397" y="107"/>
                  <a:pt x="397" y="107"/>
                </a:cubicBezTo>
                <a:cubicBezTo>
                  <a:pt x="396" y="107"/>
                  <a:pt x="396" y="107"/>
                  <a:pt x="396" y="107"/>
                </a:cubicBezTo>
                <a:cubicBezTo>
                  <a:pt x="396" y="107"/>
                  <a:pt x="396" y="107"/>
                  <a:pt x="396" y="107"/>
                </a:cubicBezTo>
                <a:cubicBezTo>
                  <a:pt x="397" y="106"/>
                  <a:pt x="397" y="106"/>
                  <a:pt x="397" y="106"/>
                </a:cubicBezTo>
                <a:cubicBezTo>
                  <a:pt x="397" y="105"/>
                  <a:pt x="397" y="105"/>
                  <a:pt x="397" y="105"/>
                </a:cubicBezTo>
                <a:cubicBezTo>
                  <a:pt x="396" y="105"/>
                  <a:pt x="396" y="105"/>
                  <a:pt x="396" y="105"/>
                </a:cubicBezTo>
                <a:cubicBezTo>
                  <a:pt x="396" y="105"/>
                  <a:pt x="396" y="105"/>
                  <a:pt x="396" y="105"/>
                </a:cubicBezTo>
                <a:cubicBezTo>
                  <a:pt x="397" y="105"/>
                  <a:pt x="397" y="105"/>
                  <a:pt x="397" y="105"/>
                </a:cubicBezTo>
                <a:cubicBezTo>
                  <a:pt x="398" y="104"/>
                  <a:pt x="398" y="104"/>
                  <a:pt x="398" y="104"/>
                </a:cubicBezTo>
                <a:cubicBezTo>
                  <a:pt x="396" y="104"/>
                  <a:pt x="396" y="104"/>
                  <a:pt x="396" y="104"/>
                </a:cubicBezTo>
                <a:cubicBezTo>
                  <a:pt x="396" y="104"/>
                  <a:pt x="396" y="104"/>
                  <a:pt x="396" y="104"/>
                </a:cubicBezTo>
                <a:cubicBezTo>
                  <a:pt x="395" y="104"/>
                  <a:pt x="395" y="104"/>
                  <a:pt x="395" y="104"/>
                </a:cubicBezTo>
                <a:cubicBezTo>
                  <a:pt x="395" y="103"/>
                  <a:pt x="395" y="103"/>
                  <a:pt x="395" y="103"/>
                </a:cubicBezTo>
                <a:cubicBezTo>
                  <a:pt x="395" y="103"/>
                  <a:pt x="395" y="103"/>
                  <a:pt x="395" y="103"/>
                </a:cubicBezTo>
                <a:cubicBezTo>
                  <a:pt x="396" y="102"/>
                  <a:pt x="396" y="102"/>
                  <a:pt x="396" y="102"/>
                </a:cubicBezTo>
                <a:cubicBezTo>
                  <a:pt x="396" y="101"/>
                  <a:pt x="396" y="101"/>
                  <a:pt x="396" y="101"/>
                </a:cubicBezTo>
                <a:cubicBezTo>
                  <a:pt x="395" y="101"/>
                  <a:pt x="395" y="101"/>
                  <a:pt x="395" y="101"/>
                </a:cubicBezTo>
                <a:cubicBezTo>
                  <a:pt x="395" y="100"/>
                  <a:pt x="395" y="100"/>
                  <a:pt x="395" y="100"/>
                </a:cubicBezTo>
                <a:cubicBezTo>
                  <a:pt x="395" y="98"/>
                  <a:pt x="395" y="98"/>
                  <a:pt x="395" y="98"/>
                </a:cubicBezTo>
                <a:cubicBezTo>
                  <a:pt x="395" y="97"/>
                  <a:pt x="395" y="97"/>
                  <a:pt x="395" y="97"/>
                </a:cubicBezTo>
                <a:cubicBezTo>
                  <a:pt x="395" y="96"/>
                  <a:pt x="395" y="96"/>
                  <a:pt x="395" y="96"/>
                </a:cubicBezTo>
                <a:cubicBezTo>
                  <a:pt x="395" y="95"/>
                  <a:pt x="395" y="95"/>
                  <a:pt x="395" y="95"/>
                </a:cubicBezTo>
                <a:cubicBezTo>
                  <a:pt x="396" y="95"/>
                  <a:pt x="396" y="95"/>
                  <a:pt x="396" y="95"/>
                </a:cubicBezTo>
                <a:cubicBezTo>
                  <a:pt x="397" y="95"/>
                  <a:pt x="397" y="95"/>
                  <a:pt x="397" y="95"/>
                </a:cubicBezTo>
                <a:cubicBezTo>
                  <a:pt x="399" y="95"/>
                  <a:pt x="399" y="95"/>
                  <a:pt x="399" y="95"/>
                </a:cubicBezTo>
                <a:cubicBezTo>
                  <a:pt x="399" y="95"/>
                  <a:pt x="399" y="95"/>
                  <a:pt x="399" y="95"/>
                </a:cubicBezTo>
                <a:cubicBezTo>
                  <a:pt x="401" y="95"/>
                  <a:pt x="401" y="95"/>
                  <a:pt x="401" y="95"/>
                </a:cubicBezTo>
                <a:cubicBezTo>
                  <a:pt x="402" y="95"/>
                  <a:pt x="402" y="95"/>
                  <a:pt x="402" y="95"/>
                </a:cubicBezTo>
                <a:cubicBezTo>
                  <a:pt x="403" y="97"/>
                  <a:pt x="403" y="97"/>
                  <a:pt x="403" y="97"/>
                </a:cubicBezTo>
                <a:cubicBezTo>
                  <a:pt x="404" y="99"/>
                  <a:pt x="404" y="99"/>
                  <a:pt x="404" y="99"/>
                </a:cubicBezTo>
                <a:cubicBezTo>
                  <a:pt x="404" y="103"/>
                  <a:pt x="404" y="103"/>
                  <a:pt x="404" y="103"/>
                </a:cubicBezTo>
                <a:cubicBezTo>
                  <a:pt x="403" y="104"/>
                  <a:pt x="403" y="104"/>
                  <a:pt x="403" y="104"/>
                </a:cubicBezTo>
                <a:cubicBezTo>
                  <a:pt x="404" y="105"/>
                  <a:pt x="404" y="105"/>
                  <a:pt x="404" y="105"/>
                </a:cubicBezTo>
                <a:cubicBezTo>
                  <a:pt x="404" y="105"/>
                  <a:pt x="404" y="105"/>
                  <a:pt x="404" y="105"/>
                </a:cubicBezTo>
                <a:cubicBezTo>
                  <a:pt x="407" y="106"/>
                  <a:pt x="407" y="106"/>
                  <a:pt x="407" y="106"/>
                </a:cubicBezTo>
                <a:cubicBezTo>
                  <a:pt x="407" y="107"/>
                  <a:pt x="407" y="107"/>
                  <a:pt x="407" y="107"/>
                </a:cubicBezTo>
                <a:cubicBezTo>
                  <a:pt x="408" y="107"/>
                  <a:pt x="408" y="107"/>
                  <a:pt x="408" y="107"/>
                </a:cubicBezTo>
                <a:cubicBezTo>
                  <a:pt x="408" y="107"/>
                  <a:pt x="408" y="107"/>
                  <a:pt x="408" y="107"/>
                </a:cubicBezTo>
                <a:cubicBezTo>
                  <a:pt x="411" y="107"/>
                  <a:pt x="411" y="107"/>
                  <a:pt x="411" y="107"/>
                </a:cubicBezTo>
                <a:cubicBezTo>
                  <a:pt x="412" y="108"/>
                  <a:pt x="412" y="108"/>
                  <a:pt x="412" y="108"/>
                </a:cubicBezTo>
                <a:cubicBezTo>
                  <a:pt x="413" y="108"/>
                  <a:pt x="413" y="108"/>
                  <a:pt x="413" y="108"/>
                </a:cubicBezTo>
                <a:cubicBezTo>
                  <a:pt x="412" y="107"/>
                  <a:pt x="412" y="107"/>
                  <a:pt x="412" y="107"/>
                </a:cubicBezTo>
                <a:cubicBezTo>
                  <a:pt x="413" y="106"/>
                  <a:pt x="413" y="106"/>
                  <a:pt x="413" y="106"/>
                </a:cubicBezTo>
                <a:cubicBezTo>
                  <a:pt x="415" y="105"/>
                  <a:pt x="415" y="105"/>
                  <a:pt x="415" y="105"/>
                </a:cubicBezTo>
                <a:cubicBezTo>
                  <a:pt x="416" y="103"/>
                  <a:pt x="416" y="103"/>
                  <a:pt x="416" y="103"/>
                </a:cubicBezTo>
                <a:cubicBezTo>
                  <a:pt x="419" y="102"/>
                  <a:pt x="419" y="102"/>
                  <a:pt x="419" y="102"/>
                </a:cubicBezTo>
                <a:cubicBezTo>
                  <a:pt x="421" y="100"/>
                  <a:pt x="421" y="100"/>
                  <a:pt x="421" y="100"/>
                </a:cubicBezTo>
                <a:cubicBezTo>
                  <a:pt x="421" y="99"/>
                  <a:pt x="421" y="99"/>
                  <a:pt x="421" y="99"/>
                </a:cubicBezTo>
                <a:cubicBezTo>
                  <a:pt x="422" y="98"/>
                  <a:pt x="422" y="98"/>
                  <a:pt x="422" y="98"/>
                </a:cubicBezTo>
                <a:cubicBezTo>
                  <a:pt x="421" y="98"/>
                  <a:pt x="421" y="98"/>
                  <a:pt x="421" y="98"/>
                </a:cubicBezTo>
                <a:cubicBezTo>
                  <a:pt x="420" y="99"/>
                  <a:pt x="420" y="99"/>
                  <a:pt x="420" y="99"/>
                </a:cubicBezTo>
                <a:cubicBezTo>
                  <a:pt x="420" y="100"/>
                  <a:pt x="420" y="100"/>
                  <a:pt x="420" y="100"/>
                </a:cubicBezTo>
                <a:cubicBezTo>
                  <a:pt x="418" y="102"/>
                  <a:pt x="418" y="102"/>
                  <a:pt x="418" y="102"/>
                </a:cubicBezTo>
                <a:cubicBezTo>
                  <a:pt x="417" y="103"/>
                  <a:pt x="417" y="103"/>
                  <a:pt x="417" y="103"/>
                </a:cubicBezTo>
                <a:cubicBezTo>
                  <a:pt x="417" y="103"/>
                  <a:pt x="417" y="103"/>
                  <a:pt x="417" y="103"/>
                </a:cubicBezTo>
                <a:cubicBezTo>
                  <a:pt x="415" y="105"/>
                  <a:pt x="415" y="105"/>
                  <a:pt x="415" y="105"/>
                </a:cubicBezTo>
                <a:cubicBezTo>
                  <a:pt x="413" y="105"/>
                  <a:pt x="413" y="105"/>
                  <a:pt x="413" y="105"/>
                </a:cubicBezTo>
                <a:cubicBezTo>
                  <a:pt x="412" y="105"/>
                  <a:pt x="412" y="105"/>
                  <a:pt x="412" y="105"/>
                </a:cubicBezTo>
                <a:cubicBezTo>
                  <a:pt x="411" y="105"/>
                  <a:pt x="411" y="105"/>
                  <a:pt x="411" y="105"/>
                </a:cubicBezTo>
                <a:cubicBezTo>
                  <a:pt x="411" y="105"/>
                  <a:pt x="411" y="105"/>
                  <a:pt x="411" y="105"/>
                </a:cubicBezTo>
                <a:cubicBezTo>
                  <a:pt x="410" y="105"/>
                  <a:pt x="410" y="105"/>
                  <a:pt x="410" y="105"/>
                </a:cubicBezTo>
                <a:cubicBezTo>
                  <a:pt x="408" y="104"/>
                  <a:pt x="408" y="104"/>
                  <a:pt x="408" y="104"/>
                </a:cubicBezTo>
                <a:cubicBezTo>
                  <a:pt x="408" y="103"/>
                  <a:pt x="408" y="103"/>
                  <a:pt x="408" y="103"/>
                </a:cubicBezTo>
                <a:cubicBezTo>
                  <a:pt x="409" y="103"/>
                  <a:pt x="409" y="103"/>
                  <a:pt x="409" y="103"/>
                </a:cubicBezTo>
                <a:cubicBezTo>
                  <a:pt x="410" y="102"/>
                  <a:pt x="410" y="102"/>
                  <a:pt x="410" y="102"/>
                </a:cubicBezTo>
                <a:cubicBezTo>
                  <a:pt x="410" y="101"/>
                  <a:pt x="410" y="101"/>
                  <a:pt x="410" y="101"/>
                </a:cubicBezTo>
                <a:cubicBezTo>
                  <a:pt x="409" y="102"/>
                  <a:pt x="409" y="102"/>
                  <a:pt x="409" y="102"/>
                </a:cubicBezTo>
                <a:cubicBezTo>
                  <a:pt x="408" y="103"/>
                  <a:pt x="408" y="103"/>
                  <a:pt x="408" y="103"/>
                </a:cubicBezTo>
                <a:cubicBezTo>
                  <a:pt x="407" y="102"/>
                  <a:pt x="407" y="102"/>
                  <a:pt x="407" y="102"/>
                </a:cubicBezTo>
                <a:cubicBezTo>
                  <a:pt x="407" y="101"/>
                  <a:pt x="407" y="101"/>
                  <a:pt x="407" y="101"/>
                </a:cubicBezTo>
                <a:cubicBezTo>
                  <a:pt x="407" y="100"/>
                  <a:pt x="407" y="100"/>
                  <a:pt x="407" y="100"/>
                </a:cubicBezTo>
                <a:cubicBezTo>
                  <a:pt x="407" y="100"/>
                  <a:pt x="407" y="100"/>
                  <a:pt x="407" y="100"/>
                </a:cubicBezTo>
                <a:cubicBezTo>
                  <a:pt x="409" y="100"/>
                  <a:pt x="409" y="100"/>
                  <a:pt x="409" y="100"/>
                </a:cubicBezTo>
                <a:cubicBezTo>
                  <a:pt x="409" y="99"/>
                  <a:pt x="409" y="99"/>
                  <a:pt x="409" y="99"/>
                </a:cubicBezTo>
                <a:cubicBezTo>
                  <a:pt x="408" y="99"/>
                  <a:pt x="408" y="99"/>
                  <a:pt x="408" y="99"/>
                </a:cubicBezTo>
                <a:cubicBezTo>
                  <a:pt x="408" y="99"/>
                  <a:pt x="408" y="99"/>
                  <a:pt x="408" y="99"/>
                </a:cubicBezTo>
                <a:cubicBezTo>
                  <a:pt x="408" y="98"/>
                  <a:pt x="408" y="98"/>
                  <a:pt x="408" y="98"/>
                </a:cubicBezTo>
                <a:cubicBezTo>
                  <a:pt x="409" y="99"/>
                  <a:pt x="409" y="99"/>
                  <a:pt x="409" y="99"/>
                </a:cubicBezTo>
                <a:cubicBezTo>
                  <a:pt x="410" y="99"/>
                  <a:pt x="410" y="99"/>
                  <a:pt x="410" y="99"/>
                </a:cubicBezTo>
                <a:cubicBezTo>
                  <a:pt x="410" y="98"/>
                  <a:pt x="410" y="98"/>
                  <a:pt x="410" y="98"/>
                </a:cubicBezTo>
                <a:cubicBezTo>
                  <a:pt x="409" y="98"/>
                  <a:pt x="409" y="98"/>
                  <a:pt x="409" y="98"/>
                </a:cubicBezTo>
                <a:cubicBezTo>
                  <a:pt x="408" y="97"/>
                  <a:pt x="408" y="97"/>
                  <a:pt x="408" y="97"/>
                </a:cubicBezTo>
                <a:cubicBezTo>
                  <a:pt x="408" y="98"/>
                  <a:pt x="408" y="98"/>
                  <a:pt x="408" y="98"/>
                </a:cubicBezTo>
                <a:cubicBezTo>
                  <a:pt x="407" y="98"/>
                  <a:pt x="407" y="98"/>
                  <a:pt x="407" y="98"/>
                </a:cubicBezTo>
                <a:cubicBezTo>
                  <a:pt x="406" y="97"/>
                  <a:pt x="406" y="97"/>
                  <a:pt x="406" y="97"/>
                </a:cubicBezTo>
                <a:cubicBezTo>
                  <a:pt x="407" y="96"/>
                  <a:pt x="407" y="96"/>
                  <a:pt x="407" y="96"/>
                </a:cubicBezTo>
                <a:cubicBezTo>
                  <a:pt x="408" y="96"/>
                  <a:pt x="408" y="96"/>
                  <a:pt x="408" y="96"/>
                </a:cubicBezTo>
                <a:cubicBezTo>
                  <a:pt x="409" y="95"/>
                  <a:pt x="409" y="95"/>
                  <a:pt x="409" y="95"/>
                </a:cubicBezTo>
                <a:cubicBezTo>
                  <a:pt x="410" y="96"/>
                  <a:pt x="410" y="96"/>
                  <a:pt x="410" y="96"/>
                </a:cubicBezTo>
                <a:cubicBezTo>
                  <a:pt x="411" y="96"/>
                  <a:pt x="411" y="96"/>
                  <a:pt x="411" y="96"/>
                </a:cubicBezTo>
                <a:cubicBezTo>
                  <a:pt x="412" y="95"/>
                  <a:pt x="412" y="95"/>
                  <a:pt x="412" y="95"/>
                </a:cubicBezTo>
                <a:cubicBezTo>
                  <a:pt x="411" y="95"/>
                  <a:pt x="411" y="95"/>
                  <a:pt x="411" y="95"/>
                </a:cubicBezTo>
                <a:cubicBezTo>
                  <a:pt x="411" y="95"/>
                  <a:pt x="411" y="95"/>
                  <a:pt x="411" y="95"/>
                </a:cubicBezTo>
                <a:cubicBezTo>
                  <a:pt x="412" y="94"/>
                  <a:pt x="412" y="94"/>
                  <a:pt x="412" y="94"/>
                </a:cubicBezTo>
                <a:cubicBezTo>
                  <a:pt x="413" y="94"/>
                  <a:pt x="413" y="94"/>
                  <a:pt x="413" y="94"/>
                </a:cubicBezTo>
                <a:cubicBezTo>
                  <a:pt x="413" y="93"/>
                  <a:pt x="413" y="93"/>
                  <a:pt x="413" y="93"/>
                </a:cubicBezTo>
                <a:cubicBezTo>
                  <a:pt x="412" y="93"/>
                  <a:pt x="412" y="93"/>
                  <a:pt x="412" y="93"/>
                </a:cubicBezTo>
                <a:cubicBezTo>
                  <a:pt x="412" y="92"/>
                  <a:pt x="412" y="92"/>
                  <a:pt x="412" y="92"/>
                </a:cubicBezTo>
                <a:cubicBezTo>
                  <a:pt x="413" y="91"/>
                  <a:pt x="413" y="91"/>
                  <a:pt x="413" y="91"/>
                </a:cubicBezTo>
                <a:cubicBezTo>
                  <a:pt x="414" y="91"/>
                  <a:pt x="414" y="91"/>
                  <a:pt x="414" y="91"/>
                </a:cubicBezTo>
                <a:cubicBezTo>
                  <a:pt x="413" y="90"/>
                  <a:pt x="413" y="90"/>
                  <a:pt x="413" y="90"/>
                </a:cubicBezTo>
                <a:cubicBezTo>
                  <a:pt x="415" y="88"/>
                  <a:pt x="415" y="88"/>
                  <a:pt x="415" y="88"/>
                </a:cubicBezTo>
                <a:cubicBezTo>
                  <a:pt x="416" y="87"/>
                  <a:pt x="416" y="87"/>
                  <a:pt x="416" y="87"/>
                </a:cubicBezTo>
                <a:cubicBezTo>
                  <a:pt x="416" y="86"/>
                  <a:pt x="416" y="86"/>
                  <a:pt x="416" y="86"/>
                </a:cubicBezTo>
                <a:cubicBezTo>
                  <a:pt x="415" y="87"/>
                  <a:pt x="415" y="87"/>
                  <a:pt x="415" y="87"/>
                </a:cubicBezTo>
                <a:cubicBezTo>
                  <a:pt x="413" y="89"/>
                  <a:pt x="413" y="89"/>
                  <a:pt x="413" y="89"/>
                </a:cubicBezTo>
                <a:cubicBezTo>
                  <a:pt x="412" y="91"/>
                  <a:pt x="412" y="91"/>
                  <a:pt x="412" y="91"/>
                </a:cubicBezTo>
                <a:cubicBezTo>
                  <a:pt x="410" y="93"/>
                  <a:pt x="410" y="93"/>
                  <a:pt x="410" y="93"/>
                </a:cubicBezTo>
                <a:cubicBezTo>
                  <a:pt x="409" y="94"/>
                  <a:pt x="409" y="94"/>
                  <a:pt x="409" y="94"/>
                </a:cubicBezTo>
                <a:cubicBezTo>
                  <a:pt x="408" y="94"/>
                  <a:pt x="408" y="94"/>
                  <a:pt x="408" y="94"/>
                </a:cubicBezTo>
                <a:cubicBezTo>
                  <a:pt x="406" y="94"/>
                  <a:pt x="406" y="94"/>
                  <a:pt x="406" y="94"/>
                </a:cubicBezTo>
                <a:cubicBezTo>
                  <a:pt x="406" y="93"/>
                  <a:pt x="406" y="93"/>
                  <a:pt x="406" y="93"/>
                </a:cubicBezTo>
                <a:cubicBezTo>
                  <a:pt x="407" y="92"/>
                  <a:pt x="407" y="92"/>
                  <a:pt x="407" y="92"/>
                </a:cubicBezTo>
                <a:cubicBezTo>
                  <a:pt x="408" y="91"/>
                  <a:pt x="408" y="91"/>
                  <a:pt x="408" y="91"/>
                </a:cubicBezTo>
                <a:cubicBezTo>
                  <a:pt x="408" y="90"/>
                  <a:pt x="408" y="90"/>
                  <a:pt x="408" y="90"/>
                </a:cubicBezTo>
                <a:cubicBezTo>
                  <a:pt x="406" y="91"/>
                  <a:pt x="406" y="91"/>
                  <a:pt x="406" y="91"/>
                </a:cubicBezTo>
                <a:cubicBezTo>
                  <a:pt x="405" y="91"/>
                  <a:pt x="405" y="91"/>
                  <a:pt x="405" y="91"/>
                </a:cubicBezTo>
                <a:cubicBezTo>
                  <a:pt x="405" y="92"/>
                  <a:pt x="405" y="92"/>
                  <a:pt x="405" y="92"/>
                </a:cubicBezTo>
                <a:cubicBezTo>
                  <a:pt x="404" y="93"/>
                  <a:pt x="404" y="93"/>
                  <a:pt x="404" y="93"/>
                </a:cubicBezTo>
                <a:cubicBezTo>
                  <a:pt x="402" y="93"/>
                  <a:pt x="402" y="93"/>
                  <a:pt x="402" y="93"/>
                </a:cubicBezTo>
                <a:cubicBezTo>
                  <a:pt x="400" y="91"/>
                  <a:pt x="400" y="91"/>
                  <a:pt x="400" y="91"/>
                </a:cubicBezTo>
                <a:cubicBezTo>
                  <a:pt x="401" y="91"/>
                  <a:pt x="401" y="91"/>
                  <a:pt x="401" y="91"/>
                </a:cubicBezTo>
                <a:cubicBezTo>
                  <a:pt x="402" y="90"/>
                  <a:pt x="402" y="90"/>
                  <a:pt x="402" y="90"/>
                </a:cubicBezTo>
                <a:cubicBezTo>
                  <a:pt x="402" y="90"/>
                  <a:pt x="402" y="90"/>
                  <a:pt x="402" y="90"/>
                </a:cubicBezTo>
                <a:cubicBezTo>
                  <a:pt x="401" y="90"/>
                  <a:pt x="401" y="90"/>
                  <a:pt x="401" y="90"/>
                </a:cubicBezTo>
                <a:cubicBezTo>
                  <a:pt x="401" y="88"/>
                  <a:pt x="401" y="88"/>
                  <a:pt x="401" y="88"/>
                </a:cubicBezTo>
                <a:cubicBezTo>
                  <a:pt x="403" y="87"/>
                  <a:pt x="403" y="87"/>
                  <a:pt x="403" y="87"/>
                </a:cubicBezTo>
                <a:cubicBezTo>
                  <a:pt x="403" y="86"/>
                  <a:pt x="403" y="86"/>
                  <a:pt x="403" y="86"/>
                </a:cubicBezTo>
                <a:cubicBezTo>
                  <a:pt x="404" y="86"/>
                  <a:pt x="404" y="86"/>
                  <a:pt x="404" y="86"/>
                </a:cubicBezTo>
                <a:cubicBezTo>
                  <a:pt x="406" y="85"/>
                  <a:pt x="406" y="85"/>
                  <a:pt x="406" y="85"/>
                </a:cubicBezTo>
                <a:cubicBezTo>
                  <a:pt x="407" y="85"/>
                  <a:pt x="407" y="85"/>
                  <a:pt x="407" y="85"/>
                </a:cubicBezTo>
                <a:cubicBezTo>
                  <a:pt x="407" y="83"/>
                  <a:pt x="407" y="83"/>
                  <a:pt x="407" y="83"/>
                </a:cubicBezTo>
                <a:cubicBezTo>
                  <a:pt x="408" y="82"/>
                  <a:pt x="408" y="82"/>
                  <a:pt x="408" y="82"/>
                </a:cubicBezTo>
                <a:cubicBezTo>
                  <a:pt x="409" y="80"/>
                  <a:pt x="409" y="80"/>
                  <a:pt x="409" y="80"/>
                </a:cubicBezTo>
                <a:cubicBezTo>
                  <a:pt x="410" y="80"/>
                  <a:pt x="410" y="80"/>
                  <a:pt x="410" y="80"/>
                </a:cubicBezTo>
                <a:cubicBezTo>
                  <a:pt x="413" y="79"/>
                  <a:pt x="413" y="79"/>
                  <a:pt x="413" y="79"/>
                </a:cubicBezTo>
                <a:cubicBezTo>
                  <a:pt x="415" y="80"/>
                  <a:pt x="415" y="80"/>
                  <a:pt x="415" y="80"/>
                </a:cubicBezTo>
                <a:cubicBezTo>
                  <a:pt x="416" y="79"/>
                  <a:pt x="416" y="79"/>
                  <a:pt x="416" y="79"/>
                </a:cubicBezTo>
                <a:cubicBezTo>
                  <a:pt x="417" y="79"/>
                  <a:pt x="417" y="79"/>
                  <a:pt x="417" y="79"/>
                </a:cubicBezTo>
                <a:cubicBezTo>
                  <a:pt x="418" y="78"/>
                  <a:pt x="418" y="78"/>
                  <a:pt x="418" y="78"/>
                </a:cubicBezTo>
                <a:cubicBezTo>
                  <a:pt x="419" y="78"/>
                  <a:pt x="419" y="78"/>
                  <a:pt x="419" y="78"/>
                </a:cubicBezTo>
                <a:cubicBezTo>
                  <a:pt x="419" y="79"/>
                  <a:pt x="419" y="79"/>
                  <a:pt x="419" y="79"/>
                </a:cubicBezTo>
                <a:cubicBezTo>
                  <a:pt x="421" y="80"/>
                  <a:pt x="421" y="80"/>
                  <a:pt x="421" y="80"/>
                </a:cubicBezTo>
                <a:cubicBezTo>
                  <a:pt x="421" y="80"/>
                  <a:pt x="421" y="80"/>
                  <a:pt x="421" y="80"/>
                </a:cubicBezTo>
                <a:cubicBezTo>
                  <a:pt x="424" y="82"/>
                  <a:pt x="424" y="82"/>
                  <a:pt x="424" y="82"/>
                </a:cubicBezTo>
                <a:cubicBezTo>
                  <a:pt x="425" y="83"/>
                  <a:pt x="425" y="83"/>
                  <a:pt x="425" y="83"/>
                </a:cubicBezTo>
                <a:cubicBezTo>
                  <a:pt x="425" y="84"/>
                  <a:pt x="425" y="84"/>
                  <a:pt x="425" y="84"/>
                </a:cubicBezTo>
                <a:cubicBezTo>
                  <a:pt x="426" y="84"/>
                  <a:pt x="426" y="84"/>
                  <a:pt x="426" y="84"/>
                </a:cubicBezTo>
                <a:cubicBezTo>
                  <a:pt x="428" y="87"/>
                  <a:pt x="428" y="87"/>
                  <a:pt x="428" y="87"/>
                </a:cubicBezTo>
                <a:cubicBezTo>
                  <a:pt x="428" y="85"/>
                  <a:pt x="428" y="85"/>
                  <a:pt x="428" y="85"/>
                </a:cubicBezTo>
                <a:cubicBezTo>
                  <a:pt x="429" y="85"/>
                  <a:pt x="429" y="85"/>
                  <a:pt x="429" y="85"/>
                </a:cubicBezTo>
                <a:cubicBezTo>
                  <a:pt x="429" y="84"/>
                  <a:pt x="429" y="84"/>
                  <a:pt x="429" y="84"/>
                </a:cubicBezTo>
                <a:cubicBezTo>
                  <a:pt x="427" y="84"/>
                  <a:pt x="427" y="84"/>
                  <a:pt x="427" y="84"/>
                </a:cubicBezTo>
                <a:cubicBezTo>
                  <a:pt x="427" y="84"/>
                  <a:pt x="427" y="84"/>
                  <a:pt x="427" y="84"/>
                </a:cubicBezTo>
                <a:cubicBezTo>
                  <a:pt x="427" y="83"/>
                  <a:pt x="427" y="83"/>
                  <a:pt x="427" y="83"/>
                </a:cubicBezTo>
                <a:cubicBezTo>
                  <a:pt x="428" y="82"/>
                  <a:pt x="428" y="82"/>
                  <a:pt x="428" y="82"/>
                </a:cubicBezTo>
                <a:cubicBezTo>
                  <a:pt x="430" y="82"/>
                  <a:pt x="430" y="82"/>
                  <a:pt x="430" y="82"/>
                </a:cubicBezTo>
                <a:cubicBezTo>
                  <a:pt x="432" y="83"/>
                  <a:pt x="432" y="83"/>
                  <a:pt x="432" y="83"/>
                </a:cubicBezTo>
                <a:cubicBezTo>
                  <a:pt x="432" y="82"/>
                  <a:pt x="432" y="82"/>
                  <a:pt x="432" y="82"/>
                </a:cubicBezTo>
                <a:cubicBezTo>
                  <a:pt x="432" y="81"/>
                  <a:pt x="432" y="81"/>
                  <a:pt x="432" y="81"/>
                </a:cubicBezTo>
                <a:cubicBezTo>
                  <a:pt x="433" y="80"/>
                  <a:pt x="433" y="80"/>
                  <a:pt x="433" y="80"/>
                </a:cubicBezTo>
                <a:cubicBezTo>
                  <a:pt x="433" y="79"/>
                  <a:pt x="433" y="79"/>
                  <a:pt x="433" y="79"/>
                </a:cubicBezTo>
                <a:cubicBezTo>
                  <a:pt x="432" y="79"/>
                  <a:pt x="432" y="79"/>
                  <a:pt x="432" y="79"/>
                </a:cubicBezTo>
                <a:cubicBezTo>
                  <a:pt x="432" y="80"/>
                  <a:pt x="432" y="80"/>
                  <a:pt x="432" y="80"/>
                </a:cubicBezTo>
                <a:cubicBezTo>
                  <a:pt x="430" y="81"/>
                  <a:pt x="430" y="81"/>
                  <a:pt x="430" y="81"/>
                </a:cubicBezTo>
                <a:cubicBezTo>
                  <a:pt x="430" y="82"/>
                  <a:pt x="430" y="82"/>
                  <a:pt x="430" y="82"/>
                </a:cubicBezTo>
                <a:cubicBezTo>
                  <a:pt x="427" y="81"/>
                  <a:pt x="427" y="81"/>
                  <a:pt x="427" y="81"/>
                </a:cubicBezTo>
                <a:cubicBezTo>
                  <a:pt x="425" y="81"/>
                  <a:pt x="425" y="81"/>
                  <a:pt x="425" y="81"/>
                </a:cubicBezTo>
                <a:cubicBezTo>
                  <a:pt x="425" y="80"/>
                  <a:pt x="425" y="80"/>
                  <a:pt x="425" y="80"/>
                </a:cubicBezTo>
                <a:cubicBezTo>
                  <a:pt x="424" y="80"/>
                  <a:pt x="424" y="80"/>
                  <a:pt x="424" y="80"/>
                </a:cubicBezTo>
                <a:cubicBezTo>
                  <a:pt x="422" y="80"/>
                  <a:pt x="422" y="80"/>
                  <a:pt x="422" y="80"/>
                </a:cubicBezTo>
                <a:cubicBezTo>
                  <a:pt x="420" y="77"/>
                  <a:pt x="420" y="77"/>
                  <a:pt x="420" y="77"/>
                </a:cubicBezTo>
                <a:cubicBezTo>
                  <a:pt x="420" y="75"/>
                  <a:pt x="420" y="75"/>
                  <a:pt x="420" y="75"/>
                </a:cubicBezTo>
                <a:cubicBezTo>
                  <a:pt x="421" y="74"/>
                  <a:pt x="421" y="74"/>
                  <a:pt x="421" y="74"/>
                </a:cubicBezTo>
                <a:cubicBezTo>
                  <a:pt x="422" y="75"/>
                  <a:pt x="422" y="75"/>
                  <a:pt x="422" y="75"/>
                </a:cubicBezTo>
                <a:cubicBezTo>
                  <a:pt x="422" y="76"/>
                  <a:pt x="422" y="76"/>
                  <a:pt x="422" y="76"/>
                </a:cubicBezTo>
                <a:cubicBezTo>
                  <a:pt x="423" y="77"/>
                  <a:pt x="423" y="77"/>
                  <a:pt x="423" y="77"/>
                </a:cubicBezTo>
                <a:cubicBezTo>
                  <a:pt x="424" y="75"/>
                  <a:pt x="424" y="75"/>
                  <a:pt x="424" y="75"/>
                </a:cubicBezTo>
                <a:cubicBezTo>
                  <a:pt x="424" y="74"/>
                  <a:pt x="424" y="74"/>
                  <a:pt x="424" y="74"/>
                </a:cubicBezTo>
                <a:cubicBezTo>
                  <a:pt x="423" y="74"/>
                  <a:pt x="423" y="74"/>
                  <a:pt x="423" y="74"/>
                </a:cubicBezTo>
                <a:cubicBezTo>
                  <a:pt x="423" y="74"/>
                  <a:pt x="423" y="74"/>
                  <a:pt x="423" y="74"/>
                </a:cubicBezTo>
                <a:cubicBezTo>
                  <a:pt x="423" y="72"/>
                  <a:pt x="423" y="72"/>
                  <a:pt x="423" y="72"/>
                </a:cubicBezTo>
                <a:cubicBezTo>
                  <a:pt x="424" y="70"/>
                  <a:pt x="424" y="70"/>
                  <a:pt x="424" y="70"/>
                </a:cubicBezTo>
                <a:cubicBezTo>
                  <a:pt x="424" y="69"/>
                  <a:pt x="424" y="69"/>
                  <a:pt x="424" y="69"/>
                </a:cubicBezTo>
                <a:cubicBezTo>
                  <a:pt x="425" y="67"/>
                  <a:pt x="425" y="67"/>
                  <a:pt x="425" y="67"/>
                </a:cubicBezTo>
                <a:cubicBezTo>
                  <a:pt x="424" y="63"/>
                  <a:pt x="424" y="63"/>
                  <a:pt x="424" y="63"/>
                </a:cubicBezTo>
                <a:cubicBezTo>
                  <a:pt x="424" y="62"/>
                  <a:pt x="424" y="62"/>
                  <a:pt x="424" y="62"/>
                </a:cubicBezTo>
                <a:cubicBezTo>
                  <a:pt x="423" y="61"/>
                  <a:pt x="423" y="61"/>
                  <a:pt x="423" y="61"/>
                </a:cubicBezTo>
                <a:cubicBezTo>
                  <a:pt x="423" y="60"/>
                  <a:pt x="423" y="60"/>
                  <a:pt x="423" y="60"/>
                </a:cubicBezTo>
                <a:cubicBezTo>
                  <a:pt x="423" y="59"/>
                  <a:pt x="423" y="59"/>
                  <a:pt x="423" y="59"/>
                </a:cubicBezTo>
                <a:cubicBezTo>
                  <a:pt x="424" y="59"/>
                  <a:pt x="424" y="59"/>
                  <a:pt x="424" y="59"/>
                </a:cubicBezTo>
                <a:cubicBezTo>
                  <a:pt x="424" y="58"/>
                  <a:pt x="424" y="58"/>
                  <a:pt x="424" y="58"/>
                </a:cubicBezTo>
                <a:cubicBezTo>
                  <a:pt x="425" y="59"/>
                  <a:pt x="425" y="59"/>
                  <a:pt x="425" y="59"/>
                </a:cubicBezTo>
                <a:cubicBezTo>
                  <a:pt x="426" y="59"/>
                  <a:pt x="426" y="59"/>
                  <a:pt x="426" y="59"/>
                </a:cubicBezTo>
                <a:cubicBezTo>
                  <a:pt x="427" y="61"/>
                  <a:pt x="427" y="61"/>
                  <a:pt x="427" y="61"/>
                </a:cubicBezTo>
                <a:cubicBezTo>
                  <a:pt x="427" y="60"/>
                  <a:pt x="427" y="60"/>
                  <a:pt x="427" y="60"/>
                </a:cubicBezTo>
                <a:cubicBezTo>
                  <a:pt x="427" y="59"/>
                  <a:pt x="427" y="59"/>
                  <a:pt x="427" y="59"/>
                </a:cubicBezTo>
                <a:cubicBezTo>
                  <a:pt x="426" y="58"/>
                  <a:pt x="426" y="58"/>
                  <a:pt x="426" y="58"/>
                </a:cubicBezTo>
                <a:cubicBezTo>
                  <a:pt x="425" y="58"/>
                  <a:pt x="425" y="58"/>
                  <a:pt x="425" y="58"/>
                </a:cubicBezTo>
                <a:cubicBezTo>
                  <a:pt x="424" y="57"/>
                  <a:pt x="424" y="57"/>
                  <a:pt x="424" y="57"/>
                </a:cubicBezTo>
                <a:cubicBezTo>
                  <a:pt x="424" y="56"/>
                  <a:pt x="424" y="56"/>
                  <a:pt x="424" y="56"/>
                </a:cubicBezTo>
                <a:cubicBezTo>
                  <a:pt x="425" y="54"/>
                  <a:pt x="425" y="54"/>
                  <a:pt x="425" y="54"/>
                </a:cubicBezTo>
                <a:cubicBezTo>
                  <a:pt x="429" y="50"/>
                  <a:pt x="429" y="50"/>
                  <a:pt x="429" y="50"/>
                </a:cubicBezTo>
                <a:cubicBezTo>
                  <a:pt x="430" y="50"/>
                  <a:pt x="430" y="50"/>
                  <a:pt x="430" y="50"/>
                </a:cubicBezTo>
                <a:cubicBezTo>
                  <a:pt x="431" y="50"/>
                  <a:pt x="431" y="50"/>
                  <a:pt x="431" y="50"/>
                </a:cubicBezTo>
                <a:cubicBezTo>
                  <a:pt x="432" y="51"/>
                  <a:pt x="432" y="51"/>
                  <a:pt x="432" y="51"/>
                </a:cubicBezTo>
                <a:cubicBezTo>
                  <a:pt x="433" y="53"/>
                  <a:pt x="433" y="53"/>
                  <a:pt x="433" y="53"/>
                </a:cubicBezTo>
                <a:cubicBezTo>
                  <a:pt x="434" y="53"/>
                  <a:pt x="434" y="53"/>
                  <a:pt x="434" y="53"/>
                </a:cubicBezTo>
                <a:cubicBezTo>
                  <a:pt x="437" y="54"/>
                  <a:pt x="437" y="54"/>
                  <a:pt x="437" y="54"/>
                </a:cubicBezTo>
                <a:cubicBezTo>
                  <a:pt x="437" y="56"/>
                  <a:pt x="437" y="56"/>
                  <a:pt x="437" y="56"/>
                </a:cubicBezTo>
                <a:cubicBezTo>
                  <a:pt x="439" y="57"/>
                  <a:pt x="439" y="57"/>
                  <a:pt x="439" y="57"/>
                </a:cubicBezTo>
                <a:cubicBezTo>
                  <a:pt x="439" y="60"/>
                  <a:pt x="439" y="60"/>
                  <a:pt x="439" y="60"/>
                </a:cubicBezTo>
                <a:cubicBezTo>
                  <a:pt x="439" y="63"/>
                  <a:pt x="439" y="63"/>
                  <a:pt x="439" y="63"/>
                </a:cubicBezTo>
                <a:cubicBezTo>
                  <a:pt x="439" y="65"/>
                  <a:pt x="439" y="65"/>
                  <a:pt x="439" y="65"/>
                </a:cubicBezTo>
                <a:cubicBezTo>
                  <a:pt x="440" y="66"/>
                  <a:pt x="440" y="66"/>
                  <a:pt x="440" y="66"/>
                </a:cubicBezTo>
                <a:cubicBezTo>
                  <a:pt x="441" y="65"/>
                  <a:pt x="441" y="65"/>
                  <a:pt x="441" y="65"/>
                </a:cubicBezTo>
                <a:cubicBezTo>
                  <a:pt x="441" y="65"/>
                  <a:pt x="441" y="65"/>
                  <a:pt x="441" y="65"/>
                </a:cubicBezTo>
                <a:cubicBezTo>
                  <a:pt x="442" y="66"/>
                  <a:pt x="442" y="66"/>
                  <a:pt x="442" y="66"/>
                </a:cubicBezTo>
                <a:cubicBezTo>
                  <a:pt x="443" y="67"/>
                  <a:pt x="443" y="67"/>
                  <a:pt x="443" y="67"/>
                </a:cubicBezTo>
                <a:cubicBezTo>
                  <a:pt x="443" y="67"/>
                  <a:pt x="443" y="67"/>
                  <a:pt x="443" y="67"/>
                </a:cubicBezTo>
                <a:cubicBezTo>
                  <a:pt x="444" y="66"/>
                  <a:pt x="444" y="66"/>
                  <a:pt x="444" y="66"/>
                </a:cubicBezTo>
                <a:cubicBezTo>
                  <a:pt x="445" y="66"/>
                  <a:pt x="445" y="66"/>
                  <a:pt x="445" y="66"/>
                </a:cubicBezTo>
                <a:cubicBezTo>
                  <a:pt x="444" y="66"/>
                  <a:pt x="444" y="66"/>
                  <a:pt x="444" y="66"/>
                </a:cubicBezTo>
                <a:cubicBezTo>
                  <a:pt x="443" y="65"/>
                  <a:pt x="443" y="65"/>
                  <a:pt x="443" y="65"/>
                </a:cubicBezTo>
                <a:cubicBezTo>
                  <a:pt x="442" y="64"/>
                  <a:pt x="442" y="64"/>
                  <a:pt x="442" y="64"/>
                </a:cubicBezTo>
                <a:cubicBezTo>
                  <a:pt x="441" y="64"/>
                  <a:pt x="441" y="64"/>
                  <a:pt x="441" y="64"/>
                </a:cubicBezTo>
                <a:cubicBezTo>
                  <a:pt x="441" y="63"/>
                  <a:pt x="441" y="63"/>
                  <a:pt x="441" y="63"/>
                </a:cubicBezTo>
                <a:cubicBezTo>
                  <a:pt x="442" y="62"/>
                  <a:pt x="442" y="62"/>
                  <a:pt x="442" y="62"/>
                </a:cubicBezTo>
                <a:cubicBezTo>
                  <a:pt x="442" y="61"/>
                  <a:pt x="442" y="61"/>
                  <a:pt x="442" y="61"/>
                </a:cubicBezTo>
                <a:cubicBezTo>
                  <a:pt x="442" y="56"/>
                  <a:pt x="442" y="56"/>
                  <a:pt x="442" y="56"/>
                </a:cubicBezTo>
                <a:cubicBezTo>
                  <a:pt x="441" y="55"/>
                  <a:pt x="441" y="55"/>
                  <a:pt x="441" y="55"/>
                </a:cubicBezTo>
                <a:cubicBezTo>
                  <a:pt x="442" y="54"/>
                  <a:pt x="442" y="54"/>
                  <a:pt x="442" y="54"/>
                </a:cubicBezTo>
                <a:cubicBezTo>
                  <a:pt x="444" y="54"/>
                  <a:pt x="444" y="54"/>
                  <a:pt x="444" y="54"/>
                </a:cubicBezTo>
                <a:cubicBezTo>
                  <a:pt x="445" y="54"/>
                  <a:pt x="445" y="54"/>
                  <a:pt x="445" y="54"/>
                </a:cubicBezTo>
                <a:cubicBezTo>
                  <a:pt x="447" y="55"/>
                  <a:pt x="447" y="55"/>
                  <a:pt x="447" y="55"/>
                </a:cubicBezTo>
                <a:cubicBezTo>
                  <a:pt x="448" y="55"/>
                  <a:pt x="448" y="55"/>
                  <a:pt x="448" y="55"/>
                </a:cubicBezTo>
                <a:cubicBezTo>
                  <a:pt x="450" y="55"/>
                  <a:pt x="450" y="55"/>
                  <a:pt x="450" y="55"/>
                </a:cubicBezTo>
                <a:cubicBezTo>
                  <a:pt x="453" y="55"/>
                  <a:pt x="453" y="55"/>
                  <a:pt x="453" y="55"/>
                </a:cubicBezTo>
                <a:cubicBezTo>
                  <a:pt x="455" y="54"/>
                  <a:pt x="455" y="54"/>
                  <a:pt x="455" y="54"/>
                </a:cubicBezTo>
                <a:cubicBezTo>
                  <a:pt x="456" y="55"/>
                  <a:pt x="456" y="55"/>
                  <a:pt x="456" y="55"/>
                </a:cubicBezTo>
                <a:cubicBezTo>
                  <a:pt x="457" y="56"/>
                  <a:pt x="457" y="56"/>
                  <a:pt x="457" y="56"/>
                </a:cubicBezTo>
                <a:cubicBezTo>
                  <a:pt x="460" y="56"/>
                  <a:pt x="460" y="56"/>
                  <a:pt x="460" y="56"/>
                </a:cubicBezTo>
                <a:cubicBezTo>
                  <a:pt x="461" y="57"/>
                  <a:pt x="461" y="57"/>
                  <a:pt x="461" y="57"/>
                </a:cubicBezTo>
                <a:cubicBezTo>
                  <a:pt x="462" y="56"/>
                  <a:pt x="462" y="56"/>
                  <a:pt x="462" y="56"/>
                </a:cubicBezTo>
                <a:cubicBezTo>
                  <a:pt x="462" y="56"/>
                  <a:pt x="462" y="56"/>
                  <a:pt x="462" y="56"/>
                </a:cubicBezTo>
                <a:cubicBezTo>
                  <a:pt x="461" y="55"/>
                  <a:pt x="461" y="55"/>
                  <a:pt x="461" y="55"/>
                </a:cubicBezTo>
                <a:cubicBezTo>
                  <a:pt x="459" y="55"/>
                  <a:pt x="459" y="55"/>
                  <a:pt x="459" y="55"/>
                </a:cubicBezTo>
                <a:cubicBezTo>
                  <a:pt x="457" y="54"/>
                  <a:pt x="457" y="54"/>
                  <a:pt x="457" y="54"/>
                </a:cubicBezTo>
                <a:cubicBezTo>
                  <a:pt x="457" y="54"/>
                  <a:pt x="457" y="54"/>
                  <a:pt x="457" y="54"/>
                </a:cubicBezTo>
                <a:cubicBezTo>
                  <a:pt x="457" y="53"/>
                  <a:pt x="457" y="53"/>
                  <a:pt x="457" y="53"/>
                </a:cubicBezTo>
                <a:cubicBezTo>
                  <a:pt x="458" y="53"/>
                  <a:pt x="458" y="53"/>
                  <a:pt x="458" y="53"/>
                </a:cubicBezTo>
                <a:cubicBezTo>
                  <a:pt x="460" y="53"/>
                  <a:pt x="460" y="53"/>
                  <a:pt x="460" y="53"/>
                </a:cubicBezTo>
                <a:cubicBezTo>
                  <a:pt x="464" y="52"/>
                  <a:pt x="464" y="52"/>
                  <a:pt x="464" y="52"/>
                </a:cubicBezTo>
                <a:cubicBezTo>
                  <a:pt x="467" y="52"/>
                  <a:pt x="467" y="52"/>
                  <a:pt x="467" y="52"/>
                </a:cubicBezTo>
                <a:cubicBezTo>
                  <a:pt x="469" y="53"/>
                  <a:pt x="469" y="53"/>
                  <a:pt x="469" y="53"/>
                </a:cubicBezTo>
                <a:cubicBezTo>
                  <a:pt x="471" y="54"/>
                  <a:pt x="471" y="54"/>
                  <a:pt x="471" y="54"/>
                </a:cubicBezTo>
                <a:cubicBezTo>
                  <a:pt x="472" y="53"/>
                  <a:pt x="472" y="53"/>
                  <a:pt x="472" y="53"/>
                </a:cubicBezTo>
                <a:cubicBezTo>
                  <a:pt x="473" y="53"/>
                  <a:pt x="473" y="53"/>
                  <a:pt x="473" y="53"/>
                </a:cubicBezTo>
                <a:cubicBezTo>
                  <a:pt x="472" y="52"/>
                  <a:pt x="472" y="52"/>
                  <a:pt x="472" y="52"/>
                </a:cubicBezTo>
                <a:cubicBezTo>
                  <a:pt x="472" y="52"/>
                  <a:pt x="472" y="52"/>
                  <a:pt x="472" y="52"/>
                </a:cubicBezTo>
                <a:cubicBezTo>
                  <a:pt x="471" y="52"/>
                  <a:pt x="471" y="52"/>
                  <a:pt x="471" y="52"/>
                </a:cubicBezTo>
                <a:cubicBezTo>
                  <a:pt x="471" y="51"/>
                  <a:pt x="471" y="51"/>
                  <a:pt x="471" y="51"/>
                </a:cubicBezTo>
                <a:cubicBezTo>
                  <a:pt x="470" y="50"/>
                  <a:pt x="470" y="50"/>
                  <a:pt x="470" y="50"/>
                </a:cubicBezTo>
                <a:cubicBezTo>
                  <a:pt x="468" y="50"/>
                  <a:pt x="468" y="50"/>
                  <a:pt x="468" y="50"/>
                </a:cubicBezTo>
                <a:cubicBezTo>
                  <a:pt x="467" y="50"/>
                  <a:pt x="467" y="50"/>
                  <a:pt x="467" y="50"/>
                </a:cubicBezTo>
                <a:cubicBezTo>
                  <a:pt x="464" y="50"/>
                  <a:pt x="464" y="50"/>
                  <a:pt x="464" y="50"/>
                </a:cubicBezTo>
                <a:cubicBezTo>
                  <a:pt x="464" y="50"/>
                  <a:pt x="464" y="50"/>
                  <a:pt x="464" y="50"/>
                </a:cubicBezTo>
                <a:cubicBezTo>
                  <a:pt x="465" y="49"/>
                  <a:pt x="465" y="49"/>
                  <a:pt x="465" y="49"/>
                </a:cubicBezTo>
                <a:cubicBezTo>
                  <a:pt x="465" y="47"/>
                  <a:pt x="465" y="47"/>
                  <a:pt x="465" y="47"/>
                </a:cubicBezTo>
                <a:cubicBezTo>
                  <a:pt x="467" y="47"/>
                  <a:pt x="467" y="47"/>
                  <a:pt x="467" y="47"/>
                </a:cubicBezTo>
                <a:cubicBezTo>
                  <a:pt x="468" y="46"/>
                  <a:pt x="468" y="46"/>
                  <a:pt x="468" y="46"/>
                </a:cubicBezTo>
                <a:cubicBezTo>
                  <a:pt x="469" y="44"/>
                  <a:pt x="469" y="44"/>
                  <a:pt x="469" y="44"/>
                </a:cubicBezTo>
                <a:cubicBezTo>
                  <a:pt x="472" y="42"/>
                  <a:pt x="472" y="42"/>
                  <a:pt x="472" y="42"/>
                </a:cubicBezTo>
                <a:cubicBezTo>
                  <a:pt x="474" y="42"/>
                  <a:pt x="474" y="42"/>
                  <a:pt x="474" y="42"/>
                </a:cubicBezTo>
                <a:cubicBezTo>
                  <a:pt x="477" y="41"/>
                  <a:pt x="477" y="41"/>
                  <a:pt x="477" y="41"/>
                </a:cubicBezTo>
                <a:cubicBezTo>
                  <a:pt x="477" y="40"/>
                  <a:pt x="477" y="40"/>
                  <a:pt x="477" y="40"/>
                </a:cubicBezTo>
                <a:cubicBezTo>
                  <a:pt x="473" y="42"/>
                  <a:pt x="473" y="42"/>
                  <a:pt x="473" y="42"/>
                </a:cubicBezTo>
                <a:cubicBezTo>
                  <a:pt x="471" y="42"/>
                  <a:pt x="471" y="42"/>
                  <a:pt x="471" y="42"/>
                </a:cubicBezTo>
                <a:cubicBezTo>
                  <a:pt x="468" y="44"/>
                  <a:pt x="468" y="44"/>
                  <a:pt x="468" y="44"/>
                </a:cubicBezTo>
                <a:cubicBezTo>
                  <a:pt x="467" y="46"/>
                  <a:pt x="467" y="46"/>
                  <a:pt x="467" y="46"/>
                </a:cubicBezTo>
                <a:cubicBezTo>
                  <a:pt x="467" y="46"/>
                  <a:pt x="467" y="46"/>
                  <a:pt x="467" y="46"/>
                </a:cubicBezTo>
                <a:cubicBezTo>
                  <a:pt x="466" y="44"/>
                  <a:pt x="466" y="44"/>
                  <a:pt x="466" y="44"/>
                </a:cubicBezTo>
                <a:cubicBezTo>
                  <a:pt x="466" y="44"/>
                  <a:pt x="466" y="44"/>
                  <a:pt x="466" y="44"/>
                </a:cubicBezTo>
                <a:cubicBezTo>
                  <a:pt x="465" y="45"/>
                  <a:pt x="465" y="45"/>
                  <a:pt x="465" y="45"/>
                </a:cubicBezTo>
                <a:cubicBezTo>
                  <a:pt x="464" y="46"/>
                  <a:pt x="464" y="46"/>
                  <a:pt x="464" y="46"/>
                </a:cubicBezTo>
                <a:cubicBezTo>
                  <a:pt x="462" y="48"/>
                  <a:pt x="462" y="48"/>
                  <a:pt x="462" y="48"/>
                </a:cubicBezTo>
                <a:cubicBezTo>
                  <a:pt x="463" y="48"/>
                  <a:pt x="463" y="48"/>
                  <a:pt x="463" y="48"/>
                </a:cubicBezTo>
                <a:cubicBezTo>
                  <a:pt x="463" y="48"/>
                  <a:pt x="463" y="48"/>
                  <a:pt x="463" y="48"/>
                </a:cubicBezTo>
                <a:cubicBezTo>
                  <a:pt x="461" y="50"/>
                  <a:pt x="461" y="50"/>
                  <a:pt x="461" y="50"/>
                </a:cubicBezTo>
                <a:cubicBezTo>
                  <a:pt x="460" y="50"/>
                  <a:pt x="460" y="50"/>
                  <a:pt x="460" y="50"/>
                </a:cubicBezTo>
                <a:cubicBezTo>
                  <a:pt x="455" y="52"/>
                  <a:pt x="455" y="52"/>
                  <a:pt x="455" y="52"/>
                </a:cubicBezTo>
                <a:cubicBezTo>
                  <a:pt x="454" y="52"/>
                  <a:pt x="454" y="52"/>
                  <a:pt x="454" y="52"/>
                </a:cubicBezTo>
                <a:cubicBezTo>
                  <a:pt x="453" y="52"/>
                  <a:pt x="453" y="52"/>
                  <a:pt x="453" y="52"/>
                </a:cubicBezTo>
                <a:cubicBezTo>
                  <a:pt x="449" y="52"/>
                  <a:pt x="449" y="52"/>
                  <a:pt x="449" y="52"/>
                </a:cubicBezTo>
                <a:cubicBezTo>
                  <a:pt x="447" y="50"/>
                  <a:pt x="447" y="50"/>
                  <a:pt x="447" y="50"/>
                </a:cubicBezTo>
                <a:cubicBezTo>
                  <a:pt x="446" y="51"/>
                  <a:pt x="446" y="51"/>
                  <a:pt x="446" y="51"/>
                </a:cubicBezTo>
                <a:cubicBezTo>
                  <a:pt x="445" y="51"/>
                  <a:pt x="445" y="51"/>
                  <a:pt x="445" y="51"/>
                </a:cubicBezTo>
                <a:cubicBezTo>
                  <a:pt x="444" y="49"/>
                  <a:pt x="444" y="49"/>
                  <a:pt x="444" y="49"/>
                </a:cubicBezTo>
                <a:cubicBezTo>
                  <a:pt x="446" y="48"/>
                  <a:pt x="446" y="48"/>
                  <a:pt x="446" y="48"/>
                </a:cubicBezTo>
                <a:cubicBezTo>
                  <a:pt x="448" y="48"/>
                  <a:pt x="448" y="48"/>
                  <a:pt x="448" y="48"/>
                </a:cubicBezTo>
                <a:cubicBezTo>
                  <a:pt x="449" y="47"/>
                  <a:pt x="449" y="47"/>
                  <a:pt x="449" y="47"/>
                </a:cubicBezTo>
                <a:cubicBezTo>
                  <a:pt x="451" y="47"/>
                  <a:pt x="451" y="47"/>
                  <a:pt x="451" y="47"/>
                </a:cubicBezTo>
                <a:cubicBezTo>
                  <a:pt x="452" y="46"/>
                  <a:pt x="452" y="46"/>
                  <a:pt x="452" y="46"/>
                </a:cubicBezTo>
                <a:cubicBezTo>
                  <a:pt x="451" y="46"/>
                  <a:pt x="451" y="46"/>
                  <a:pt x="451" y="46"/>
                </a:cubicBezTo>
                <a:cubicBezTo>
                  <a:pt x="450" y="47"/>
                  <a:pt x="450" y="47"/>
                  <a:pt x="450" y="47"/>
                </a:cubicBezTo>
                <a:cubicBezTo>
                  <a:pt x="448" y="46"/>
                  <a:pt x="448" y="46"/>
                  <a:pt x="448" y="46"/>
                </a:cubicBezTo>
                <a:cubicBezTo>
                  <a:pt x="447" y="47"/>
                  <a:pt x="447" y="47"/>
                  <a:pt x="447" y="47"/>
                </a:cubicBezTo>
                <a:cubicBezTo>
                  <a:pt x="446" y="47"/>
                  <a:pt x="446" y="47"/>
                  <a:pt x="446" y="47"/>
                </a:cubicBezTo>
                <a:cubicBezTo>
                  <a:pt x="446" y="46"/>
                  <a:pt x="446" y="46"/>
                  <a:pt x="446" y="46"/>
                </a:cubicBezTo>
                <a:cubicBezTo>
                  <a:pt x="447" y="45"/>
                  <a:pt x="447" y="45"/>
                  <a:pt x="447" y="45"/>
                </a:cubicBezTo>
                <a:cubicBezTo>
                  <a:pt x="446" y="45"/>
                  <a:pt x="446" y="45"/>
                  <a:pt x="446" y="45"/>
                </a:cubicBezTo>
                <a:cubicBezTo>
                  <a:pt x="444" y="45"/>
                  <a:pt x="444" y="45"/>
                  <a:pt x="444" y="45"/>
                </a:cubicBezTo>
                <a:cubicBezTo>
                  <a:pt x="444" y="47"/>
                  <a:pt x="444" y="47"/>
                  <a:pt x="444" y="47"/>
                </a:cubicBezTo>
                <a:cubicBezTo>
                  <a:pt x="442" y="49"/>
                  <a:pt x="442" y="49"/>
                  <a:pt x="442" y="49"/>
                </a:cubicBezTo>
                <a:cubicBezTo>
                  <a:pt x="440" y="49"/>
                  <a:pt x="440" y="49"/>
                  <a:pt x="440" y="49"/>
                </a:cubicBezTo>
                <a:cubicBezTo>
                  <a:pt x="437" y="48"/>
                  <a:pt x="437" y="48"/>
                  <a:pt x="437" y="48"/>
                </a:cubicBezTo>
                <a:cubicBezTo>
                  <a:pt x="435" y="48"/>
                  <a:pt x="435" y="48"/>
                  <a:pt x="435" y="48"/>
                </a:cubicBezTo>
                <a:cubicBezTo>
                  <a:pt x="434" y="47"/>
                  <a:pt x="434" y="47"/>
                  <a:pt x="434" y="47"/>
                </a:cubicBezTo>
                <a:cubicBezTo>
                  <a:pt x="434" y="46"/>
                  <a:pt x="434" y="46"/>
                  <a:pt x="434" y="46"/>
                </a:cubicBezTo>
                <a:cubicBezTo>
                  <a:pt x="432" y="46"/>
                  <a:pt x="432" y="46"/>
                  <a:pt x="432" y="46"/>
                </a:cubicBezTo>
                <a:cubicBezTo>
                  <a:pt x="431" y="45"/>
                  <a:pt x="431" y="45"/>
                  <a:pt x="431" y="45"/>
                </a:cubicBezTo>
                <a:cubicBezTo>
                  <a:pt x="431" y="44"/>
                  <a:pt x="431" y="44"/>
                  <a:pt x="431" y="44"/>
                </a:cubicBezTo>
                <a:cubicBezTo>
                  <a:pt x="432" y="43"/>
                  <a:pt x="432" y="43"/>
                  <a:pt x="432" y="43"/>
                </a:cubicBezTo>
                <a:cubicBezTo>
                  <a:pt x="433" y="42"/>
                  <a:pt x="433" y="42"/>
                  <a:pt x="433" y="42"/>
                </a:cubicBezTo>
                <a:cubicBezTo>
                  <a:pt x="435" y="41"/>
                  <a:pt x="435" y="41"/>
                  <a:pt x="435" y="41"/>
                </a:cubicBezTo>
                <a:cubicBezTo>
                  <a:pt x="436" y="39"/>
                  <a:pt x="436" y="39"/>
                  <a:pt x="436" y="39"/>
                </a:cubicBezTo>
                <a:cubicBezTo>
                  <a:pt x="438" y="38"/>
                  <a:pt x="438" y="38"/>
                  <a:pt x="438" y="38"/>
                </a:cubicBezTo>
                <a:cubicBezTo>
                  <a:pt x="438" y="38"/>
                  <a:pt x="438" y="38"/>
                  <a:pt x="438" y="38"/>
                </a:cubicBezTo>
                <a:cubicBezTo>
                  <a:pt x="440" y="38"/>
                  <a:pt x="440" y="38"/>
                  <a:pt x="440" y="38"/>
                </a:cubicBezTo>
                <a:cubicBezTo>
                  <a:pt x="442" y="38"/>
                  <a:pt x="442" y="38"/>
                  <a:pt x="442" y="38"/>
                </a:cubicBezTo>
                <a:cubicBezTo>
                  <a:pt x="443" y="38"/>
                  <a:pt x="443" y="38"/>
                  <a:pt x="443" y="38"/>
                </a:cubicBezTo>
                <a:cubicBezTo>
                  <a:pt x="444" y="38"/>
                  <a:pt x="444" y="38"/>
                  <a:pt x="444" y="38"/>
                </a:cubicBezTo>
                <a:cubicBezTo>
                  <a:pt x="447" y="39"/>
                  <a:pt x="447" y="39"/>
                  <a:pt x="447" y="39"/>
                </a:cubicBezTo>
                <a:cubicBezTo>
                  <a:pt x="449" y="39"/>
                  <a:pt x="449" y="39"/>
                  <a:pt x="449" y="39"/>
                </a:cubicBezTo>
                <a:cubicBezTo>
                  <a:pt x="450" y="40"/>
                  <a:pt x="450" y="40"/>
                  <a:pt x="450" y="40"/>
                </a:cubicBezTo>
                <a:cubicBezTo>
                  <a:pt x="452" y="39"/>
                  <a:pt x="452" y="39"/>
                  <a:pt x="452" y="39"/>
                </a:cubicBezTo>
                <a:cubicBezTo>
                  <a:pt x="452" y="39"/>
                  <a:pt x="452" y="39"/>
                  <a:pt x="452" y="39"/>
                </a:cubicBezTo>
                <a:cubicBezTo>
                  <a:pt x="451" y="38"/>
                  <a:pt x="451" y="38"/>
                  <a:pt x="451" y="38"/>
                </a:cubicBezTo>
                <a:cubicBezTo>
                  <a:pt x="449" y="39"/>
                  <a:pt x="449" y="39"/>
                  <a:pt x="449" y="39"/>
                </a:cubicBezTo>
                <a:cubicBezTo>
                  <a:pt x="446" y="38"/>
                  <a:pt x="446" y="38"/>
                  <a:pt x="446" y="38"/>
                </a:cubicBezTo>
                <a:cubicBezTo>
                  <a:pt x="445" y="37"/>
                  <a:pt x="445" y="37"/>
                  <a:pt x="445" y="37"/>
                </a:cubicBezTo>
                <a:cubicBezTo>
                  <a:pt x="443" y="37"/>
                  <a:pt x="443" y="37"/>
                  <a:pt x="443" y="37"/>
                </a:cubicBezTo>
                <a:cubicBezTo>
                  <a:pt x="441" y="37"/>
                  <a:pt x="441" y="37"/>
                  <a:pt x="441" y="37"/>
                </a:cubicBezTo>
                <a:cubicBezTo>
                  <a:pt x="438" y="37"/>
                  <a:pt x="438" y="37"/>
                  <a:pt x="438" y="37"/>
                </a:cubicBezTo>
                <a:cubicBezTo>
                  <a:pt x="437" y="37"/>
                  <a:pt x="437" y="37"/>
                  <a:pt x="437" y="37"/>
                </a:cubicBezTo>
                <a:cubicBezTo>
                  <a:pt x="437" y="37"/>
                  <a:pt x="437" y="37"/>
                  <a:pt x="437" y="37"/>
                </a:cubicBezTo>
                <a:cubicBezTo>
                  <a:pt x="435" y="39"/>
                  <a:pt x="435" y="39"/>
                  <a:pt x="435" y="39"/>
                </a:cubicBezTo>
                <a:cubicBezTo>
                  <a:pt x="433" y="40"/>
                  <a:pt x="433" y="40"/>
                  <a:pt x="433" y="40"/>
                </a:cubicBezTo>
                <a:cubicBezTo>
                  <a:pt x="431" y="41"/>
                  <a:pt x="431" y="41"/>
                  <a:pt x="431" y="41"/>
                </a:cubicBezTo>
                <a:cubicBezTo>
                  <a:pt x="429" y="43"/>
                  <a:pt x="429" y="43"/>
                  <a:pt x="429" y="43"/>
                </a:cubicBezTo>
                <a:cubicBezTo>
                  <a:pt x="429" y="43"/>
                  <a:pt x="429" y="43"/>
                  <a:pt x="429" y="43"/>
                </a:cubicBezTo>
                <a:cubicBezTo>
                  <a:pt x="428" y="43"/>
                  <a:pt x="428" y="43"/>
                  <a:pt x="428" y="43"/>
                </a:cubicBezTo>
                <a:cubicBezTo>
                  <a:pt x="426" y="41"/>
                  <a:pt x="426" y="41"/>
                  <a:pt x="426" y="41"/>
                </a:cubicBezTo>
                <a:cubicBezTo>
                  <a:pt x="425" y="41"/>
                  <a:pt x="425" y="41"/>
                  <a:pt x="425" y="41"/>
                </a:cubicBezTo>
                <a:cubicBezTo>
                  <a:pt x="425" y="40"/>
                  <a:pt x="425" y="40"/>
                  <a:pt x="425" y="40"/>
                </a:cubicBezTo>
                <a:cubicBezTo>
                  <a:pt x="424" y="38"/>
                  <a:pt x="424" y="38"/>
                  <a:pt x="424" y="38"/>
                </a:cubicBezTo>
                <a:cubicBezTo>
                  <a:pt x="424" y="37"/>
                  <a:pt x="424" y="37"/>
                  <a:pt x="424" y="37"/>
                </a:cubicBezTo>
                <a:cubicBezTo>
                  <a:pt x="423" y="36"/>
                  <a:pt x="423" y="36"/>
                  <a:pt x="423" y="36"/>
                </a:cubicBezTo>
                <a:cubicBezTo>
                  <a:pt x="423" y="34"/>
                  <a:pt x="423" y="34"/>
                  <a:pt x="423" y="34"/>
                </a:cubicBezTo>
                <a:cubicBezTo>
                  <a:pt x="424" y="34"/>
                  <a:pt x="424" y="34"/>
                  <a:pt x="424" y="34"/>
                </a:cubicBezTo>
                <a:cubicBezTo>
                  <a:pt x="425" y="34"/>
                  <a:pt x="425" y="34"/>
                  <a:pt x="425" y="34"/>
                </a:cubicBezTo>
                <a:cubicBezTo>
                  <a:pt x="426" y="34"/>
                  <a:pt x="426" y="34"/>
                  <a:pt x="426" y="34"/>
                </a:cubicBezTo>
                <a:cubicBezTo>
                  <a:pt x="427" y="34"/>
                  <a:pt x="427" y="34"/>
                  <a:pt x="427" y="34"/>
                </a:cubicBezTo>
                <a:cubicBezTo>
                  <a:pt x="431" y="34"/>
                  <a:pt x="431" y="34"/>
                  <a:pt x="431" y="34"/>
                </a:cubicBezTo>
                <a:cubicBezTo>
                  <a:pt x="433" y="35"/>
                  <a:pt x="433" y="35"/>
                  <a:pt x="433" y="35"/>
                </a:cubicBezTo>
                <a:cubicBezTo>
                  <a:pt x="434" y="35"/>
                  <a:pt x="434" y="35"/>
                  <a:pt x="434" y="35"/>
                </a:cubicBezTo>
                <a:cubicBezTo>
                  <a:pt x="434" y="36"/>
                  <a:pt x="434" y="36"/>
                  <a:pt x="434" y="36"/>
                </a:cubicBezTo>
                <a:cubicBezTo>
                  <a:pt x="436" y="36"/>
                  <a:pt x="436" y="36"/>
                  <a:pt x="436" y="36"/>
                </a:cubicBezTo>
                <a:cubicBezTo>
                  <a:pt x="437" y="35"/>
                  <a:pt x="437" y="35"/>
                  <a:pt x="437" y="35"/>
                </a:cubicBezTo>
                <a:cubicBezTo>
                  <a:pt x="439" y="36"/>
                  <a:pt x="439" y="36"/>
                  <a:pt x="439" y="36"/>
                </a:cubicBezTo>
                <a:cubicBezTo>
                  <a:pt x="439" y="35"/>
                  <a:pt x="439" y="35"/>
                  <a:pt x="439" y="35"/>
                </a:cubicBezTo>
                <a:cubicBezTo>
                  <a:pt x="440" y="35"/>
                  <a:pt x="440" y="35"/>
                  <a:pt x="440" y="35"/>
                </a:cubicBezTo>
                <a:cubicBezTo>
                  <a:pt x="441" y="34"/>
                  <a:pt x="441" y="34"/>
                  <a:pt x="441" y="34"/>
                </a:cubicBezTo>
                <a:cubicBezTo>
                  <a:pt x="443" y="34"/>
                  <a:pt x="443" y="34"/>
                  <a:pt x="443" y="34"/>
                </a:cubicBezTo>
                <a:cubicBezTo>
                  <a:pt x="446" y="34"/>
                  <a:pt x="446" y="34"/>
                  <a:pt x="446" y="34"/>
                </a:cubicBezTo>
                <a:cubicBezTo>
                  <a:pt x="446" y="33"/>
                  <a:pt x="446" y="33"/>
                  <a:pt x="446" y="33"/>
                </a:cubicBezTo>
                <a:cubicBezTo>
                  <a:pt x="446" y="32"/>
                  <a:pt x="446" y="32"/>
                  <a:pt x="446" y="32"/>
                </a:cubicBezTo>
                <a:cubicBezTo>
                  <a:pt x="445" y="32"/>
                  <a:pt x="445" y="32"/>
                  <a:pt x="445" y="32"/>
                </a:cubicBezTo>
                <a:cubicBezTo>
                  <a:pt x="445" y="33"/>
                  <a:pt x="445" y="33"/>
                  <a:pt x="445" y="33"/>
                </a:cubicBezTo>
                <a:cubicBezTo>
                  <a:pt x="444" y="33"/>
                  <a:pt x="444" y="33"/>
                  <a:pt x="444" y="33"/>
                </a:cubicBezTo>
                <a:cubicBezTo>
                  <a:pt x="442" y="33"/>
                  <a:pt x="442" y="33"/>
                  <a:pt x="442" y="33"/>
                </a:cubicBezTo>
                <a:cubicBezTo>
                  <a:pt x="440" y="33"/>
                  <a:pt x="440" y="33"/>
                  <a:pt x="440" y="33"/>
                </a:cubicBezTo>
                <a:cubicBezTo>
                  <a:pt x="438" y="34"/>
                  <a:pt x="438" y="34"/>
                  <a:pt x="438" y="34"/>
                </a:cubicBezTo>
                <a:cubicBezTo>
                  <a:pt x="437" y="35"/>
                  <a:pt x="437" y="35"/>
                  <a:pt x="437" y="35"/>
                </a:cubicBezTo>
                <a:cubicBezTo>
                  <a:pt x="435" y="34"/>
                  <a:pt x="435" y="34"/>
                  <a:pt x="435" y="34"/>
                </a:cubicBezTo>
                <a:cubicBezTo>
                  <a:pt x="434" y="35"/>
                  <a:pt x="434" y="35"/>
                  <a:pt x="434" y="35"/>
                </a:cubicBezTo>
                <a:cubicBezTo>
                  <a:pt x="433" y="35"/>
                  <a:pt x="433" y="35"/>
                  <a:pt x="433" y="35"/>
                </a:cubicBezTo>
                <a:cubicBezTo>
                  <a:pt x="432" y="33"/>
                  <a:pt x="432" y="33"/>
                  <a:pt x="432" y="33"/>
                </a:cubicBezTo>
                <a:cubicBezTo>
                  <a:pt x="431" y="33"/>
                  <a:pt x="431" y="33"/>
                  <a:pt x="431" y="33"/>
                </a:cubicBezTo>
                <a:cubicBezTo>
                  <a:pt x="431" y="33"/>
                  <a:pt x="431" y="33"/>
                  <a:pt x="431" y="33"/>
                </a:cubicBezTo>
                <a:cubicBezTo>
                  <a:pt x="429" y="33"/>
                  <a:pt x="429" y="33"/>
                  <a:pt x="429" y="33"/>
                </a:cubicBezTo>
                <a:cubicBezTo>
                  <a:pt x="427" y="32"/>
                  <a:pt x="427" y="32"/>
                  <a:pt x="427" y="32"/>
                </a:cubicBezTo>
                <a:cubicBezTo>
                  <a:pt x="426" y="32"/>
                  <a:pt x="426" y="32"/>
                  <a:pt x="426" y="32"/>
                </a:cubicBezTo>
                <a:cubicBezTo>
                  <a:pt x="424" y="32"/>
                  <a:pt x="424" y="32"/>
                  <a:pt x="424" y="32"/>
                </a:cubicBezTo>
                <a:cubicBezTo>
                  <a:pt x="424" y="31"/>
                  <a:pt x="424" y="31"/>
                  <a:pt x="424" y="31"/>
                </a:cubicBezTo>
                <a:cubicBezTo>
                  <a:pt x="425" y="30"/>
                  <a:pt x="425" y="30"/>
                  <a:pt x="425" y="30"/>
                </a:cubicBezTo>
                <a:cubicBezTo>
                  <a:pt x="425" y="29"/>
                  <a:pt x="425" y="29"/>
                  <a:pt x="425" y="29"/>
                </a:cubicBezTo>
                <a:cubicBezTo>
                  <a:pt x="425" y="28"/>
                  <a:pt x="425" y="28"/>
                  <a:pt x="425" y="28"/>
                </a:cubicBezTo>
                <a:cubicBezTo>
                  <a:pt x="426" y="28"/>
                  <a:pt x="426" y="28"/>
                  <a:pt x="426" y="28"/>
                </a:cubicBezTo>
                <a:cubicBezTo>
                  <a:pt x="427" y="29"/>
                  <a:pt x="427" y="29"/>
                  <a:pt x="427" y="29"/>
                </a:cubicBezTo>
                <a:cubicBezTo>
                  <a:pt x="429" y="29"/>
                  <a:pt x="429" y="29"/>
                  <a:pt x="429" y="29"/>
                </a:cubicBezTo>
                <a:cubicBezTo>
                  <a:pt x="430" y="29"/>
                  <a:pt x="430" y="29"/>
                  <a:pt x="430" y="29"/>
                </a:cubicBezTo>
                <a:cubicBezTo>
                  <a:pt x="429" y="28"/>
                  <a:pt x="429" y="28"/>
                  <a:pt x="429" y="28"/>
                </a:cubicBezTo>
                <a:cubicBezTo>
                  <a:pt x="428" y="28"/>
                  <a:pt x="428" y="28"/>
                  <a:pt x="428" y="28"/>
                </a:cubicBezTo>
                <a:cubicBezTo>
                  <a:pt x="427" y="27"/>
                  <a:pt x="427" y="27"/>
                  <a:pt x="427" y="27"/>
                </a:cubicBezTo>
                <a:cubicBezTo>
                  <a:pt x="427" y="26"/>
                  <a:pt x="427" y="26"/>
                  <a:pt x="427" y="26"/>
                </a:cubicBezTo>
                <a:cubicBezTo>
                  <a:pt x="429" y="26"/>
                  <a:pt x="429" y="26"/>
                  <a:pt x="429" y="26"/>
                </a:cubicBezTo>
                <a:cubicBezTo>
                  <a:pt x="430" y="25"/>
                  <a:pt x="430" y="25"/>
                  <a:pt x="430" y="25"/>
                </a:cubicBezTo>
                <a:cubicBezTo>
                  <a:pt x="433" y="25"/>
                  <a:pt x="433" y="25"/>
                  <a:pt x="433" y="25"/>
                </a:cubicBezTo>
                <a:cubicBezTo>
                  <a:pt x="433" y="24"/>
                  <a:pt x="433" y="24"/>
                  <a:pt x="433" y="24"/>
                </a:cubicBezTo>
                <a:cubicBezTo>
                  <a:pt x="435" y="24"/>
                  <a:pt x="435" y="24"/>
                  <a:pt x="435" y="24"/>
                </a:cubicBezTo>
                <a:cubicBezTo>
                  <a:pt x="435" y="24"/>
                  <a:pt x="435" y="24"/>
                  <a:pt x="435" y="24"/>
                </a:cubicBezTo>
                <a:cubicBezTo>
                  <a:pt x="436" y="24"/>
                  <a:pt x="436" y="24"/>
                  <a:pt x="436" y="24"/>
                </a:cubicBezTo>
                <a:cubicBezTo>
                  <a:pt x="436" y="23"/>
                  <a:pt x="436" y="23"/>
                  <a:pt x="436" y="23"/>
                </a:cubicBezTo>
                <a:cubicBezTo>
                  <a:pt x="436" y="23"/>
                  <a:pt x="436" y="23"/>
                  <a:pt x="436" y="23"/>
                </a:cubicBezTo>
                <a:cubicBezTo>
                  <a:pt x="433" y="23"/>
                  <a:pt x="433" y="23"/>
                  <a:pt x="433" y="23"/>
                </a:cubicBezTo>
                <a:cubicBezTo>
                  <a:pt x="431" y="24"/>
                  <a:pt x="431" y="24"/>
                  <a:pt x="431" y="24"/>
                </a:cubicBezTo>
                <a:cubicBezTo>
                  <a:pt x="429" y="24"/>
                  <a:pt x="429" y="24"/>
                  <a:pt x="429" y="24"/>
                </a:cubicBezTo>
                <a:cubicBezTo>
                  <a:pt x="428" y="24"/>
                  <a:pt x="428" y="24"/>
                  <a:pt x="428" y="24"/>
                </a:cubicBezTo>
                <a:cubicBezTo>
                  <a:pt x="427" y="25"/>
                  <a:pt x="427" y="25"/>
                  <a:pt x="427" y="25"/>
                </a:cubicBezTo>
                <a:cubicBezTo>
                  <a:pt x="426" y="25"/>
                  <a:pt x="426" y="25"/>
                  <a:pt x="426" y="25"/>
                </a:cubicBezTo>
                <a:cubicBezTo>
                  <a:pt x="426" y="24"/>
                  <a:pt x="426" y="24"/>
                  <a:pt x="426" y="24"/>
                </a:cubicBezTo>
                <a:cubicBezTo>
                  <a:pt x="426" y="23"/>
                  <a:pt x="426" y="23"/>
                  <a:pt x="426" y="23"/>
                </a:cubicBezTo>
                <a:cubicBezTo>
                  <a:pt x="428" y="22"/>
                  <a:pt x="428" y="22"/>
                  <a:pt x="428" y="22"/>
                </a:cubicBezTo>
                <a:cubicBezTo>
                  <a:pt x="429" y="21"/>
                  <a:pt x="429" y="21"/>
                  <a:pt x="429" y="21"/>
                </a:cubicBezTo>
                <a:cubicBezTo>
                  <a:pt x="431" y="21"/>
                  <a:pt x="431" y="21"/>
                  <a:pt x="431" y="21"/>
                </a:cubicBezTo>
                <a:cubicBezTo>
                  <a:pt x="432" y="20"/>
                  <a:pt x="432" y="20"/>
                  <a:pt x="432" y="20"/>
                </a:cubicBezTo>
                <a:cubicBezTo>
                  <a:pt x="431" y="20"/>
                  <a:pt x="431" y="20"/>
                  <a:pt x="431" y="20"/>
                </a:cubicBezTo>
                <a:cubicBezTo>
                  <a:pt x="430" y="20"/>
                  <a:pt x="430" y="20"/>
                  <a:pt x="430" y="20"/>
                </a:cubicBezTo>
                <a:cubicBezTo>
                  <a:pt x="431" y="18"/>
                  <a:pt x="431" y="18"/>
                  <a:pt x="431" y="18"/>
                </a:cubicBezTo>
                <a:cubicBezTo>
                  <a:pt x="430" y="18"/>
                  <a:pt x="430" y="18"/>
                  <a:pt x="430" y="18"/>
                </a:cubicBezTo>
                <a:cubicBezTo>
                  <a:pt x="430" y="19"/>
                  <a:pt x="430" y="19"/>
                  <a:pt x="430" y="19"/>
                </a:cubicBezTo>
                <a:cubicBezTo>
                  <a:pt x="429" y="20"/>
                  <a:pt x="429" y="20"/>
                  <a:pt x="429" y="20"/>
                </a:cubicBezTo>
                <a:cubicBezTo>
                  <a:pt x="429" y="19"/>
                  <a:pt x="429" y="19"/>
                  <a:pt x="429" y="19"/>
                </a:cubicBezTo>
                <a:cubicBezTo>
                  <a:pt x="428" y="19"/>
                  <a:pt x="428" y="19"/>
                  <a:pt x="428" y="19"/>
                </a:cubicBezTo>
                <a:cubicBezTo>
                  <a:pt x="427" y="19"/>
                  <a:pt x="427" y="19"/>
                  <a:pt x="427" y="19"/>
                </a:cubicBezTo>
                <a:cubicBezTo>
                  <a:pt x="426" y="20"/>
                  <a:pt x="426" y="20"/>
                  <a:pt x="426" y="20"/>
                </a:cubicBezTo>
                <a:cubicBezTo>
                  <a:pt x="426" y="21"/>
                  <a:pt x="426" y="21"/>
                  <a:pt x="426" y="21"/>
                </a:cubicBezTo>
                <a:cubicBezTo>
                  <a:pt x="426" y="21"/>
                  <a:pt x="426" y="21"/>
                  <a:pt x="426" y="21"/>
                </a:cubicBezTo>
                <a:cubicBezTo>
                  <a:pt x="424" y="22"/>
                  <a:pt x="424" y="22"/>
                  <a:pt x="424" y="22"/>
                </a:cubicBezTo>
                <a:cubicBezTo>
                  <a:pt x="424" y="21"/>
                  <a:pt x="424" y="21"/>
                  <a:pt x="424" y="21"/>
                </a:cubicBezTo>
                <a:cubicBezTo>
                  <a:pt x="424" y="19"/>
                  <a:pt x="424" y="19"/>
                  <a:pt x="424" y="19"/>
                </a:cubicBezTo>
                <a:cubicBezTo>
                  <a:pt x="424" y="19"/>
                  <a:pt x="424" y="19"/>
                  <a:pt x="424" y="19"/>
                </a:cubicBezTo>
                <a:cubicBezTo>
                  <a:pt x="423" y="18"/>
                  <a:pt x="423" y="18"/>
                  <a:pt x="423" y="18"/>
                </a:cubicBezTo>
                <a:cubicBezTo>
                  <a:pt x="424" y="18"/>
                  <a:pt x="424" y="18"/>
                  <a:pt x="424" y="18"/>
                </a:cubicBezTo>
                <a:cubicBezTo>
                  <a:pt x="425" y="18"/>
                  <a:pt x="425" y="18"/>
                  <a:pt x="425" y="18"/>
                </a:cubicBezTo>
                <a:cubicBezTo>
                  <a:pt x="425" y="17"/>
                  <a:pt x="425" y="17"/>
                  <a:pt x="425" y="17"/>
                </a:cubicBezTo>
                <a:cubicBezTo>
                  <a:pt x="426" y="16"/>
                  <a:pt x="426" y="16"/>
                  <a:pt x="426" y="16"/>
                </a:cubicBezTo>
                <a:cubicBezTo>
                  <a:pt x="427" y="16"/>
                  <a:pt x="427" y="16"/>
                  <a:pt x="427" y="16"/>
                </a:cubicBezTo>
                <a:cubicBezTo>
                  <a:pt x="428" y="15"/>
                  <a:pt x="428" y="15"/>
                  <a:pt x="428" y="15"/>
                </a:cubicBezTo>
                <a:cubicBezTo>
                  <a:pt x="429" y="14"/>
                  <a:pt x="429" y="14"/>
                  <a:pt x="429" y="14"/>
                </a:cubicBezTo>
                <a:cubicBezTo>
                  <a:pt x="430" y="15"/>
                  <a:pt x="430" y="15"/>
                  <a:pt x="430" y="15"/>
                </a:cubicBezTo>
                <a:cubicBezTo>
                  <a:pt x="432" y="14"/>
                  <a:pt x="432" y="14"/>
                  <a:pt x="432" y="14"/>
                </a:cubicBezTo>
                <a:cubicBezTo>
                  <a:pt x="435" y="13"/>
                  <a:pt x="435" y="13"/>
                  <a:pt x="435" y="13"/>
                </a:cubicBezTo>
                <a:cubicBezTo>
                  <a:pt x="435" y="13"/>
                  <a:pt x="435" y="13"/>
                  <a:pt x="435" y="13"/>
                </a:cubicBezTo>
                <a:cubicBezTo>
                  <a:pt x="436" y="13"/>
                  <a:pt x="436" y="13"/>
                  <a:pt x="436" y="13"/>
                </a:cubicBezTo>
                <a:cubicBezTo>
                  <a:pt x="436" y="14"/>
                  <a:pt x="436" y="14"/>
                  <a:pt x="436" y="14"/>
                </a:cubicBezTo>
                <a:cubicBezTo>
                  <a:pt x="436" y="15"/>
                  <a:pt x="436" y="15"/>
                  <a:pt x="436" y="15"/>
                </a:cubicBezTo>
                <a:cubicBezTo>
                  <a:pt x="436" y="18"/>
                  <a:pt x="436" y="18"/>
                  <a:pt x="436" y="18"/>
                </a:cubicBezTo>
                <a:cubicBezTo>
                  <a:pt x="437" y="17"/>
                  <a:pt x="437" y="17"/>
                  <a:pt x="437" y="17"/>
                </a:cubicBezTo>
                <a:cubicBezTo>
                  <a:pt x="437" y="16"/>
                  <a:pt x="437" y="16"/>
                  <a:pt x="437" y="16"/>
                </a:cubicBezTo>
                <a:cubicBezTo>
                  <a:pt x="438" y="15"/>
                  <a:pt x="438" y="15"/>
                  <a:pt x="438" y="15"/>
                </a:cubicBezTo>
                <a:cubicBezTo>
                  <a:pt x="439" y="15"/>
                  <a:pt x="439" y="15"/>
                  <a:pt x="439" y="15"/>
                </a:cubicBezTo>
                <a:cubicBezTo>
                  <a:pt x="438" y="16"/>
                  <a:pt x="438" y="16"/>
                  <a:pt x="438" y="16"/>
                </a:cubicBezTo>
                <a:cubicBezTo>
                  <a:pt x="438" y="17"/>
                  <a:pt x="438" y="17"/>
                  <a:pt x="438" y="17"/>
                </a:cubicBezTo>
                <a:cubicBezTo>
                  <a:pt x="439" y="16"/>
                  <a:pt x="439" y="16"/>
                  <a:pt x="439" y="16"/>
                </a:cubicBezTo>
                <a:cubicBezTo>
                  <a:pt x="439" y="15"/>
                  <a:pt x="439" y="15"/>
                  <a:pt x="439" y="15"/>
                </a:cubicBezTo>
                <a:cubicBezTo>
                  <a:pt x="440" y="15"/>
                  <a:pt x="440" y="15"/>
                  <a:pt x="440" y="15"/>
                </a:cubicBezTo>
                <a:cubicBezTo>
                  <a:pt x="439" y="14"/>
                  <a:pt x="439" y="14"/>
                  <a:pt x="439" y="14"/>
                </a:cubicBezTo>
                <a:cubicBezTo>
                  <a:pt x="440" y="12"/>
                  <a:pt x="440" y="12"/>
                  <a:pt x="440" y="12"/>
                </a:cubicBezTo>
                <a:cubicBezTo>
                  <a:pt x="440" y="12"/>
                  <a:pt x="440" y="12"/>
                  <a:pt x="440" y="12"/>
                </a:cubicBezTo>
                <a:cubicBezTo>
                  <a:pt x="442" y="11"/>
                  <a:pt x="442" y="11"/>
                  <a:pt x="442" y="11"/>
                </a:cubicBezTo>
                <a:cubicBezTo>
                  <a:pt x="443" y="11"/>
                  <a:pt x="443" y="11"/>
                  <a:pt x="443" y="11"/>
                </a:cubicBezTo>
                <a:cubicBezTo>
                  <a:pt x="443" y="12"/>
                  <a:pt x="443" y="12"/>
                  <a:pt x="443" y="12"/>
                </a:cubicBezTo>
                <a:cubicBezTo>
                  <a:pt x="443" y="14"/>
                  <a:pt x="443" y="14"/>
                  <a:pt x="443" y="14"/>
                </a:cubicBezTo>
                <a:cubicBezTo>
                  <a:pt x="444" y="14"/>
                  <a:pt x="444" y="14"/>
                  <a:pt x="444" y="14"/>
                </a:cubicBezTo>
                <a:cubicBezTo>
                  <a:pt x="444" y="16"/>
                  <a:pt x="444" y="16"/>
                  <a:pt x="444" y="16"/>
                </a:cubicBezTo>
                <a:cubicBezTo>
                  <a:pt x="444" y="17"/>
                  <a:pt x="444" y="17"/>
                  <a:pt x="444" y="17"/>
                </a:cubicBezTo>
                <a:cubicBezTo>
                  <a:pt x="444" y="18"/>
                  <a:pt x="444" y="18"/>
                  <a:pt x="444" y="18"/>
                </a:cubicBezTo>
                <a:cubicBezTo>
                  <a:pt x="444" y="19"/>
                  <a:pt x="444" y="19"/>
                  <a:pt x="444" y="19"/>
                </a:cubicBezTo>
                <a:cubicBezTo>
                  <a:pt x="445" y="19"/>
                  <a:pt x="445" y="19"/>
                  <a:pt x="445" y="19"/>
                </a:cubicBezTo>
                <a:cubicBezTo>
                  <a:pt x="445" y="19"/>
                  <a:pt x="445" y="19"/>
                  <a:pt x="445" y="19"/>
                </a:cubicBezTo>
                <a:cubicBezTo>
                  <a:pt x="445" y="18"/>
                  <a:pt x="445" y="18"/>
                  <a:pt x="445" y="18"/>
                </a:cubicBezTo>
                <a:cubicBezTo>
                  <a:pt x="445" y="17"/>
                  <a:pt x="445" y="17"/>
                  <a:pt x="445" y="17"/>
                </a:cubicBezTo>
                <a:cubicBezTo>
                  <a:pt x="446" y="16"/>
                  <a:pt x="446" y="16"/>
                  <a:pt x="446" y="16"/>
                </a:cubicBezTo>
                <a:cubicBezTo>
                  <a:pt x="447" y="14"/>
                  <a:pt x="447" y="14"/>
                  <a:pt x="447" y="14"/>
                </a:cubicBezTo>
                <a:cubicBezTo>
                  <a:pt x="448" y="14"/>
                  <a:pt x="448" y="14"/>
                  <a:pt x="448" y="14"/>
                </a:cubicBezTo>
                <a:cubicBezTo>
                  <a:pt x="449" y="16"/>
                  <a:pt x="449" y="16"/>
                  <a:pt x="449" y="16"/>
                </a:cubicBezTo>
                <a:cubicBezTo>
                  <a:pt x="449" y="17"/>
                  <a:pt x="449" y="17"/>
                  <a:pt x="449" y="17"/>
                </a:cubicBezTo>
                <a:cubicBezTo>
                  <a:pt x="448" y="19"/>
                  <a:pt x="448" y="19"/>
                  <a:pt x="448" y="19"/>
                </a:cubicBezTo>
                <a:cubicBezTo>
                  <a:pt x="449" y="19"/>
                  <a:pt x="449" y="19"/>
                  <a:pt x="449" y="19"/>
                </a:cubicBezTo>
                <a:cubicBezTo>
                  <a:pt x="449" y="20"/>
                  <a:pt x="449" y="20"/>
                  <a:pt x="449" y="20"/>
                </a:cubicBezTo>
                <a:cubicBezTo>
                  <a:pt x="450" y="19"/>
                  <a:pt x="450" y="19"/>
                  <a:pt x="450" y="19"/>
                </a:cubicBezTo>
                <a:cubicBezTo>
                  <a:pt x="450" y="18"/>
                  <a:pt x="450" y="18"/>
                  <a:pt x="450" y="18"/>
                </a:cubicBezTo>
                <a:cubicBezTo>
                  <a:pt x="451" y="18"/>
                  <a:pt x="451" y="18"/>
                  <a:pt x="451" y="18"/>
                </a:cubicBezTo>
                <a:cubicBezTo>
                  <a:pt x="451" y="17"/>
                  <a:pt x="451" y="17"/>
                  <a:pt x="451" y="17"/>
                </a:cubicBezTo>
                <a:cubicBezTo>
                  <a:pt x="452" y="18"/>
                  <a:pt x="452" y="18"/>
                  <a:pt x="452" y="18"/>
                </a:cubicBezTo>
                <a:cubicBezTo>
                  <a:pt x="451" y="18"/>
                  <a:pt x="451" y="18"/>
                  <a:pt x="451" y="18"/>
                </a:cubicBezTo>
                <a:cubicBezTo>
                  <a:pt x="451" y="19"/>
                  <a:pt x="451" y="19"/>
                  <a:pt x="451" y="19"/>
                </a:cubicBezTo>
                <a:cubicBezTo>
                  <a:pt x="452" y="20"/>
                  <a:pt x="452" y="20"/>
                  <a:pt x="452" y="20"/>
                </a:cubicBezTo>
                <a:cubicBezTo>
                  <a:pt x="453" y="19"/>
                  <a:pt x="453" y="19"/>
                  <a:pt x="453" y="19"/>
                </a:cubicBezTo>
                <a:cubicBezTo>
                  <a:pt x="453" y="19"/>
                  <a:pt x="453" y="19"/>
                  <a:pt x="453" y="19"/>
                </a:cubicBezTo>
                <a:cubicBezTo>
                  <a:pt x="453" y="20"/>
                  <a:pt x="453" y="20"/>
                  <a:pt x="453" y="20"/>
                </a:cubicBezTo>
                <a:cubicBezTo>
                  <a:pt x="454" y="20"/>
                  <a:pt x="454" y="20"/>
                  <a:pt x="454" y="20"/>
                </a:cubicBezTo>
                <a:cubicBezTo>
                  <a:pt x="454" y="18"/>
                  <a:pt x="454" y="18"/>
                  <a:pt x="454" y="18"/>
                </a:cubicBezTo>
                <a:cubicBezTo>
                  <a:pt x="453" y="16"/>
                  <a:pt x="453" y="16"/>
                  <a:pt x="453" y="16"/>
                </a:cubicBezTo>
                <a:cubicBezTo>
                  <a:pt x="452" y="16"/>
                  <a:pt x="452" y="16"/>
                  <a:pt x="452" y="16"/>
                </a:cubicBezTo>
                <a:cubicBezTo>
                  <a:pt x="452" y="15"/>
                  <a:pt x="452" y="15"/>
                  <a:pt x="452" y="15"/>
                </a:cubicBezTo>
                <a:cubicBezTo>
                  <a:pt x="452" y="14"/>
                  <a:pt x="452" y="14"/>
                  <a:pt x="452" y="14"/>
                </a:cubicBezTo>
                <a:cubicBezTo>
                  <a:pt x="451" y="13"/>
                  <a:pt x="451" y="13"/>
                  <a:pt x="451" y="13"/>
                </a:cubicBezTo>
                <a:cubicBezTo>
                  <a:pt x="450" y="12"/>
                  <a:pt x="450" y="12"/>
                  <a:pt x="450" y="12"/>
                </a:cubicBezTo>
                <a:cubicBezTo>
                  <a:pt x="450" y="11"/>
                  <a:pt x="450" y="11"/>
                  <a:pt x="450" y="11"/>
                </a:cubicBezTo>
                <a:cubicBezTo>
                  <a:pt x="450" y="10"/>
                  <a:pt x="450" y="10"/>
                  <a:pt x="450" y="10"/>
                </a:cubicBezTo>
                <a:cubicBezTo>
                  <a:pt x="451" y="10"/>
                  <a:pt x="451" y="10"/>
                  <a:pt x="451" y="10"/>
                </a:cubicBezTo>
                <a:cubicBezTo>
                  <a:pt x="452" y="11"/>
                  <a:pt x="452" y="11"/>
                  <a:pt x="452" y="11"/>
                </a:cubicBezTo>
                <a:cubicBezTo>
                  <a:pt x="453" y="10"/>
                  <a:pt x="453" y="10"/>
                  <a:pt x="453" y="10"/>
                </a:cubicBezTo>
                <a:cubicBezTo>
                  <a:pt x="454" y="11"/>
                  <a:pt x="454" y="11"/>
                  <a:pt x="454" y="11"/>
                </a:cubicBezTo>
                <a:cubicBezTo>
                  <a:pt x="455" y="10"/>
                  <a:pt x="455" y="10"/>
                  <a:pt x="455" y="10"/>
                </a:cubicBezTo>
                <a:cubicBezTo>
                  <a:pt x="455" y="8"/>
                  <a:pt x="455" y="8"/>
                  <a:pt x="455" y="8"/>
                </a:cubicBezTo>
                <a:cubicBezTo>
                  <a:pt x="454" y="7"/>
                  <a:pt x="454" y="7"/>
                  <a:pt x="454" y="7"/>
                </a:cubicBezTo>
                <a:cubicBezTo>
                  <a:pt x="454" y="6"/>
                  <a:pt x="454" y="6"/>
                  <a:pt x="454" y="6"/>
                </a:cubicBezTo>
                <a:cubicBezTo>
                  <a:pt x="456" y="6"/>
                  <a:pt x="456" y="6"/>
                  <a:pt x="456" y="6"/>
                </a:cubicBezTo>
                <a:cubicBezTo>
                  <a:pt x="456" y="6"/>
                  <a:pt x="456" y="6"/>
                  <a:pt x="456" y="6"/>
                </a:cubicBezTo>
                <a:cubicBezTo>
                  <a:pt x="459" y="6"/>
                  <a:pt x="459" y="6"/>
                  <a:pt x="459" y="6"/>
                </a:cubicBezTo>
                <a:cubicBezTo>
                  <a:pt x="460" y="7"/>
                  <a:pt x="460" y="7"/>
                  <a:pt x="460" y="7"/>
                </a:cubicBezTo>
                <a:cubicBezTo>
                  <a:pt x="460" y="8"/>
                  <a:pt x="460" y="8"/>
                  <a:pt x="460" y="8"/>
                </a:cubicBezTo>
                <a:cubicBezTo>
                  <a:pt x="459" y="9"/>
                  <a:pt x="459" y="9"/>
                  <a:pt x="459" y="9"/>
                </a:cubicBezTo>
                <a:cubicBezTo>
                  <a:pt x="459" y="9"/>
                  <a:pt x="459" y="9"/>
                  <a:pt x="459" y="9"/>
                </a:cubicBezTo>
                <a:cubicBezTo>
                  <a:pt x="461" y="10"/>
                  <a:pt x="461" y="10"/>
                  <a:pt x="461" y="10"/>
                </a:cubicBezTo>
                <a:cubicBezTo>
                  <a:pt x="461" y="11"/>
                  <a:pt x="461" y="11"/>
                  <a:pt x="461" y="11"/>
                </a:cubicBezTo>
                <a:cubicBezTo>
                  <a:pt x="461" y="13"/>
                  <a:pt x="461" y="13"/>
                  <a:pt x="461" y="13"/>
                </a:cubicBezTo>
                <a:cubicBezTo>
                  <a:pt x="461" y="15"/>
                  <a:pt x="461" y="15"/>
                  <a:pt x="461" y="15"/>
                </a:cubicBezTo>
                <a:cubicBezTo>
                  <a:pt x="462" y="15"/>
                  <a:pt x="462" y="15"/>
                  <a:pt x="462" y="15"/>
                </a:cubicBezTo>
                <a:cubicBezTo>
                  <a:pt x="463" y="13"/>
                  <a:pt x="463" y="13"/>
                  <a:pt x="463" y="13"/>
                </a:cubicBezTo>
                <a:cubicBezTo>
                  <a:pt x="463" y="14"/>
                  <a:pt x="463" y="14"/>
                  <a:pt x="463" y="14"/>
                </a:cubicBezTo>
                <a:cubicBezTo>
                  <a:pt x="463" y="15"/>
                  <a:pt x="463" y="15"/>
                  <a:pt x="463" y="15"/>
                </a:cubicBezTo>
                <a:cubicBezTo>
                  <a:pt x="464" y="15"/>
                  <a:pt x="464" y="15"/>
                  <a:pt x="464" y="15"/>
                </a:cubicBezTo>
                <a:cubicBezTo>
                  <a:pt x="465" y="15"/>
                  <a:pt x="465" y="15"/>
                  <a:pt x="465" y="15"/>
                </a:cubicBezTo>
                <a:cubicBezTo>
                  <a:pt x="465" y="14"/>
                  <a:pt x="465" y="14"/>
                  <a:pt x="465" y="14"/>
                </a:cubicBezTo>
                <a:cubicBezTo>
                  <a:pt x="467" y="13"/>
                  <a:pt x="467" y="13"/>
                  <a:pt x="467" y="13"/>
                </a:cubicBezTo>
                <a:cubicBezTo>
                  <a:pt x="467" y="13"/>
                  <a:pt x="467" y="13"/>
                  <a:pt x="467" y="13"/>
                </a:cubicBezTo>
                <a:cubicBezTo>
                  <a:pt x="466" y="10"/>
                  <a:pt x="466" y="10"/>
                  <a:pt x="466" y="10"/>
                </a:cubicBezTo>
                <a:cubicBezTo>
                  <a:pt x="467" y="9"/>
                  <a:pt x="467" y="9"/>
                  <a:pt x="467" y="9"/>
                </a:cubicBezTo>
                <a:cubicBezTo>
                  <a:pt x="468" y="9"/>
                  <a:pt x="468" y="9"/>
                  <a:pt x="468" y="9"/>
                </a:cubicBezTo>
                <a:cubicBezTo>
                  <a:pt x="469" y="10"/>
                  <a:pt x="469" y="10"/>
                  <a:pt x="469" y="10"/>
                </a:cubicBezTo>
                <a:cubicBezTo>
                  <a:pt x="471" y="10"/>
                  <a:pt x="471" y="10"/>
                  <a:pt x="471" y="10"/>
                </a:cubicBezTo>
                <a:cubicBezTo>
                  <a:pt x="471" y="9"/>
                  <a:pt x="471" y="9"/>
                  <a:pt x="471" y="9"/>
                </a:cubicBezTo>
                <a:cubicBezTo>
                  <a:pt x="469" y="8"/>
                  <a:pt x="469" y="8"/>
                  <a:pt x="469" y="8"/>
                </a:cubicBezTo>
                <a:cubicBezTo>
                  <a:pt x="468" y="6"/>
                  <a:pt x="468" y="6"/>
                  <a:pt x="468" y="6"/>
                </a:cubicBezTo>
                <a:cubicBezTo>
                  <a:pt x="469" y="5"/>
                  <a:pt x="469" y="5"/>
                  <a:pt x="469" y="5"/>
                </a:cubicBezTo>
                <a:cubicBezTo>
                  <a:pt x="469" y="4"/>
                  <a:pt x="469" y="4"/>
                  <a:pt x="469" y="4"/>
                </a:cubicBezTo>
                <a:cubicBezTo>
                  <a:pt x="470" y="4"/>
                  <a:pt x="470" y="4"/>
                  <a:pt x="470" y="4"/>
                </a:cubicBezTo>
                <a:cubicBezTo>
                  <a:pt x="472" y="5"/>
                  <a:pt x="472" y="5"/>
                  <a:pt x="472" y="5"/>
                </a:cubicBezTo>
                <a:cubicBezTo>
                  <a:pt x="472" y="7"/>
                  <a:pt x="472" y="7"/>
                  <a:pt x="472" y="7"/>
                </a:cubicBezTo>
                <a:cubicBezTo>
                  <a:pt x="473" y="8"/>
                  <a:pt x="473" y="8"/>
                  <a:pt x="473" y="8"/>
                </a:cubicBezTo>
                <a:cubicBezTo>
                  <a:pt x="473" y="10"/>
                  <a:pt x="473" y="10"/>
                  <a:pt x="473" y="10"/>
                </a:cubicBezTo>
                <a:cubicBezTo>
                  <a:pt x="473" y="11"/>
                  <a:pt x="473" y="11"/>
                  <a:pt x="473" y="11"/>
                </a:cubicBezTo>
                <a:cubicBezTo>
                  <a:pt x="473" y="13"/>
                  <a:pt x="473" y="13"/>
                  <a:pt x="473" y="13"/>
                </a:cubicBezTo>
                <a:cubicBezTo>
                  <a:pt x="474" y="14"/>
                  <a:pt x="474" y="14"/>
                  <a:pt x="474" y="14"/>
                </a:cubicBezTo>
                <a:cubicBezTo>
                  <a:pt x="475" y="13"/>
                  <a:pt x="475" y="13"/>
                  <a:pt x="475" y="13"/>
                </a:cubicBezTo>
                <a:cubicBezTo>
                  <a:pt x="475" y="12"/>
                  <a:pt x="475" y="12"/>
                  <a:pt x="475" y="12"/>
                </a:cubicBezTo>
                <a:cubicBezTo>
                  <a:pt x="474" y="11"/>
                  <a:pt x="474" y="11"/>
                  <a:pt x="474" y="11"/>
                </a:cubicBezTo>
                <a:cubicBezTo>
                  <a:pt x="474" y="9"/>
                  <a:pt x="474" y="9"/>
                  <a:pt x="474" y="9"/>
                </a:cubicBezTo>
                <a:cubicBezTo>
                  <a:pt x="474" y="7"/>
                  <a:pt x="474" y="7"/>
                  <a:pt x="474" y="7"/>
                </a:cubicBezTo>
                <a:cubicBezTo>
                  <a:pt x="474" y="5"/>
                  <a:pt x="474" y="5"/>
                  <a:pt x="474" y="5"/>
                </a:cubicBezTo>
                <a:cubicBezTo>
                  <a:pt x="474" y="3"/>
                  <a:pt x="474" y="3"/>
                  <a:pt x="474" y="3"/>
                </a:cubicBezTo>
                <a:cubicBezTo>
                  <a:pt x="474" y="2"/>
                  <a:pt x="474" y="2"/>
                  <a:pt x="474" y="2"/>
                </a:cubicBezTo>
                <a:cubicBezTo>
                  <a:pt x="475" y="2"/>
                  <a:pt x="475" y="2"/>
                  <a:pt x="475" y="2"/>
                </a:cubicBezTo>
                <a:cubicBezTo>
                  <a:pt x="476" y="3"/>
                  <a:pt x="476" y="3"/>
                  <a:pt x="476" y="3"/>
                </a:cubicBezTo>
                <a:cubicBezTo>
                  <a:pt x="477" y="3"/>
                  <a:pt x="477" y="3"/>
                  <a:pt x="477" y="3"/>
                </a:cubicBezTo>
                <a:cubicBezTo>
                  <a:pt x="477" y="3"/>
                  <a:pt x="477" y="3"/>
                  <a:pt x="477" y="3"/>
                </a:cubicBezTo>
                <a:cubicBezTo>
                  <a:pt x="477" y="5"/>
                  <a:pt x="477" y="5"/>
                  <a:pt x="477" y="5"/>
                </a:cubicBezTo>
                <a:cubicBezTo>
                  <a:pt x="478" y="6"/>
                  <a:pt x="478" y="6"/>
                  <a:pt x="478" y="6"/>
                </a:cubicBezTo>
                <a:cubicBezTo>
                  <a:pt x="478" y="8"/>
                  <a:pt x="478" y="8"/>
                  <a:pt x="478" y="8"/>
                </a:cubicBezTo>
                <a:cubicBezTo>
                  <a:pt x="478" y="10"/>
                  <a:pt x="478" y="10"/>
                  <a:pt x="478" y="10"/>
                </a:cubicBezTo>
                <a:cubicBezTo>
                  <a:pt x="479" y="10"/>
                  <a:pt x="479" y="10"/>
                  <a:pt x="479" y="10"/>
                </a:cubicBezTo>
                <a:cubicBezTo>
                  <a:pt x="479" y="9"/>
                  <a:pt x="479" y="9"/>
                  <a:pt x="479" y="9"/>
                </a:cubicBezTo>
                <a:cubicBezTo>
                  <a:pt x="479" y="8"/>
                  <a:pt x="479" y="8"/>
                  <a:pt x="479" y="8"/>
                </a:cubicBezTo>
                <a:cubicBezTo>
                  <a:pt x="480" y="8"/>
                  <a:pt x="480" y="8"/>
                  <a:pt x="480" y="8"/>
                </a:cubicBezTo>
                <a:cubicBezTo>
                  <a:pt x="482" y="10"/>
                  <a:pt x="482" y="10"/>
                  <a:pt x="482" y="10"/>
                </a:cubicBezTo>
                <a:cubicBezTo>
                  <a:pt x="482" y="10"/>
                  <a:pt x="482" y="10"/>
                  <a:pt x="482" y="10"/>
                </a:cubicBezTo>
                <a:cubicBezTo>
                  <a:pt x="483" y="10"/>
                  <a:pt x="483" y="10"/>
                  <a:pt x="483" y="10"/>
                </a:cubicBezTo>
                <a:cubicBezTo>
                  <a:pt x="483" y="9"/>
                  <a:pt x="483" y="9"/>
                  <a:pt x="483" y="9"/>
                </a:cubicBezTo>
                <a:cubicBezTo>
                  <a:pt x="482" y="9"/>
                  <a:pt x="482" y="9"/>
                  <a:pt x="482" y="9"/>
                </a:cubicBezTo>
                <a:cubicBezTo>
                  <a:pt x="481" y="8"/>
                  <a:pt x="481" y="8"/>
                  <a:pt x="481" y="8"/>
                </a:cubicBezTo>
                <a:cubicBezTo>
                  <a:pt x="482" y="7"/>
                  <a:pt x="482" y="7"/>
                  <a:pt x="482" y="7"/>
                </a:cubicBezTo>
                <a:cubicBezTo>
                  <a:pt x="482" y="6"/>
                  <a:pt x="482" y="6"/>
                  <a:pt x="482" y="6"/>
                </a:cubicBezTo>
                <a:cubicBezTo>
                  <a:pt x="480" y="5"/>
                  <a:pt x="480" y="5"/>
                  <a:pt x="480" y="5"/>
                </a:cubicBezTo>
                <a:cubicBezTo>
                  <a:pt x="480" y="4"/>
                  <a:pt x="480" y="4"/>
                  <a:pt x="480" y="4"/>
                </a:cubicBezTo>
                <a:cubicBezTo>
                  <a:pt x="480" y="4"/>
                  <a:pt x="480" y="4"/>
                  <a:pt x="480" y="4"/>
                </a:cubicBezTo>
                <a:cubicBezTo>
                  <a:pt x="482" y="4"/>
                  <a:pt x="482" y="4"/>
                  <a:pt x="482" y="4"/>
                </a:cubicBezTo>
                <a:cubicBezTo>
                  <a:pt x="481" y="3"/>
                  <a:pt x="481" y="3"/>
                  <a:pt x="481" y="3"/>
                </a:cubicBezTo>
                <a:cubicBezTo>
                  <a:pt x="480" y="3"/>
                  <a:pt x="480" y="3"/>
                  <a:pt x="480" y="3"/>
                </a:cubicBezTo>
                <a:cubicBezTo>
                  <a:pt x="479" y="2"/>
                  <a:pt x="479" y="2"/>
                  <a:pt x="479" y="2"/>
                </a:cubicBezTo>
                <a:cubicBezTo>
                  <a:pt x="480" y="2"/>
                  <a:pt x="480" y="2"/>
                  <a:pt x="480" y="2"/>
                </a:cubicBezTo>
                <a:cubicBezTo>
                  <a:pt x="481" y="2"/>
                  <a:pt x="481" y="2"/>
                  <a:pt x="481" y="2"/>
                </a:cubicBezTo>
                <a:cubicBezTo>
                  <a:pt x="482" y="0"/>
                  <a:pt x="482" y="0"/>
                  <a:pt x="482" y="0"/>
                </a:cubicBezTo>
                <a:cubicBezTo>
                  <a:pt x="485" y="1"/>
                  <a:pt x="485" y="1"/>
                  <a:pt x="485" y="1"/>
                </a:cubicBezTo>
                <a:cubicBezTo>
                  <a:pt x="485" y="1"/>
                  <a:pt x="485" y="1"/>
                  <a:pt x="485" y="1"/>
                </a:cubicBezTo>
                <a:cubicBezTo>
                  <a:pt x="485" y="3"/>
                  <a:pt x="485" y="3"/>
                  <a:pt x="485" y="3"/>
                </a:cubicBezTo>
                <a:cubicBezTo>
                  <a:pt x="485" y="4"/>
                  <a:pt x="485" y="4"/>
                  <a:pt x="485" y="4"/>
                </a:cubicBezTo>
                <a:cubicBezTo>
                  <a:pt x="485" y="5"/>
                  <a:pt x="485" y="5"/>
                  <a:pt x="485" y="5"/>
                </a:cubicBezTo>
                <a:cubicBezTo>
                  <a:pt x="486" y="4"/>
                  <a:pt x="486" y="4"/>
                  <a:pt x="486" y="4"/>
                </a:cubicBezTo>
                <a:cubicBezTo>
                  <a:pt x="487" y="3"/>
                  <a:pt x="487" y="3"/>
                  <a:pt x="487" y="3"/>
                </a:cubicBezTo>
                <a:cubicBezTo>
                  <a:pt x="487" y="2"/>
                  <a:pt x="487" y="2"/>
                  <a:pt x="487" y="2"/>
                </a:cubicBezTo>
                <a:cubicBezTo>
                  <a:pt x="488" y="3"/>
                  <a:pt x="488" y="3"/>
                  <a:pt x="488" y="3"/>
                </a:cubicBezTo>
                <a:cubicBezTo>
                  <a:pt x="487" y="5"/>
                  <a:pt x="487" y="5"/>
                  <a:pt x="487" y="5"/>
                </a:cubicBezTo>
                <a:cubicBezTo>
                  <a:pt x="488" y="5"/>
                  <a:pt x="488" y="5"/>
                  <a:pt x="488" y="5"/>
                </a:cubicBezTo>
                <a:cubicBezTo>
                  <a:pt x="489" y="5"/>
                  <a:pt x="489" y="5"/>
                  <a:pt x="489" y="5"/>
                </a:cubicBezTo>
                <a:cubicBezTo>
                  <a:pt x="489" y="5"/>
                  <a:pt x="489" y="5"/>
                  <a:pt x="489" y="5"/>
                </a:cubicBezTo>
                <a:cubicBezTo>
                  <a:pt x="490" y="3"/>
                  <a:pt x="490" y="3"/>
                  <a:pt x="490" y="3"/>
                </a:cubicBezTo>
                <a:cubicBezTo>
                  <a:pt x="491" y="4"/>
                  <a:pt x="491" y="4"/>
                  <a:pt x="491" y="4"/>
                </a:cubicBezTo>
                <a:cubicBezTo>
                  <a:pt x="491" y="5"/>
                  <a:pt x="491" y="5"/>
                  <a:pt x="491" y="5"/>
                </a:cubicBezTo>
                <a:cubicBezTo>
                  <a:pt x="490" y="6"/>
                  <a:pt x="490" y="6"/>
                  <a:pt x="490" y="6"/>
                </a:cubicBezTo>
                <a:cubicBezTo>
                  <a:pt x="491" y="8"/>
                  <a:pt x="491" y="8"/>
                  <a:pt x="491" y="8"/>
                </a:cubicBezTo>
                <a:cubicBezTo>
                  <a:pt x="490" y="9"/>
                  <a:pt x="490" y="9"/>
                  <a:pt x="490" y="9"/>
                </a:cubicBezTo>
                <a:cubicBezTo>
                  <a:pt x="491" y="10"/>
                  <a:pt x="491" y="10"/>
                  <a:pt x="491" y="10"/>
                </a:cubicBezTo>
                <a:cubicBezTo>
                  <a:pt x="492" y="9"/>
                  <a:pt x="492" y="9"/>
                  <a:pt x="492" y="9"/>
                </a:cubicBezTo>
                <a:cubicBezTo>
                  <a:pt x="493" y="10"/>
                  <a:pt x="493" y="10"/>
                  <a:pt x="493" y="10"/>
                </a:cubicBezTo>
                <a:cubicBezTo>
                  <a:pt x="493" y="9"/>
                  <a:pt x="493" y="9"/>
                  <a:pt x="493" y="9"/>
                </a:cubicBezTo>
                <a:cubicBezTo>
                  <a:pt x="493" y="7"/>
                  <a:pt x="493" y="7"/>
                  <a:pt x="493" y="7"/>
                </a:cubicBezTo>
                <a:cubicBezTo>
                  <a:pt x="494" y="5"/>
                  <a:pt x="494" y="5"/>
                  <a:pt x="494" y="5"/>
                </a:cubicBezTo>
                <a:cubicBezTo>
                  <a:pt x="493" y="2"/>
                  <a:pt x="493" y="2"/>
                  <a:pt x="493" y="2"/>
                </a:cubicBezTo>
                <a:cubicBezTo>
                  <a:pt x="493" y="1"/>
                  <a:pt x="493" y="1"/>
                  <a:pt x="493" y="1"/>
                </a:cubicBezTo>
                <a:cubicBezTo>
                  <a:pt x="494" y="0"/>
                  <a:pt x="494" y="0"/>
                  <a:pt x="494" y="0"/>
                </a:cubicBezTo>
                <a:cubicBezTo>
                  <a:pt x="495" y="1"/>
                  <a:pt x="495" y="1"/>
                  <a:pt x="495" y="1"/>
                </a:cubicBezTo>
                <a:cubicBezTo>
                  <a:pt x="496" y="1"/>
                  <a:pt x="496" y="1"/>
                  <a:pt x="496" y="1"/>
                </a:cubicBezTo>
                <a:cubicBezTo>
                  <a:pt x="497" y="1"/>
                  <a:pt x="497" y="1"/>
                  <a:pt x="497" y="1"/>
                </a:cubicBezTo>
                <a:cubicBezTo>
                  <a:pt x="499" y="1"/>
                  <a:pt x="499" y="1"/>
                  <a:pt x="499" y="1"/>
                </a:cubicBezTo>
                <a:cubicBezTo>
                  <a:pt x="500" y="1"/>
                  <a:pt x="500" y="1"/>
                  <a:pt x="500" y="1"/>
                </a:cubicBezTo>
                <a:cubicBezTo>
                  <a:pt x="501" y="2"/>
                  <a:pt x="501" y="2"/>
                  <a:pt x="501" y="2"/>
                </a:cubicBezTo>
                <a:cubicBezTo>
                  <a:pt x="502" y="3"/>
                  <a:pt x="502" y="3"/>
                  <a:pt x="502" y="3"/>
                </a:cubicBezTo>
                <a:cubicBezTo>
                  <a:pt x="504" y="2"/>
                  <a:pt x="504" y="2"/>
                  <a:pt x="504" y="2"/>
                </a:cubicBezTo>
                <a:cubicBezTo>
                  <a:pt x="505" y="3"/>
                  <a:pt x="505" y="3"/>
                  <a:pt x="505" y="3"/>
                </a:cubicBezTo>
                <a:cubicBezTo>
                  <a:pt x="506" y="4"/>
                  <a:pt x="506" y="4"/>
                  <a:pt x="506" y="4"/>
                </a:cubicBezTo>
                <a:cubicBezTo>
                  <a:pt x="506" y="5"/>
                  <a:pt x="506" y="5"/>
                  <a:pt x="506" y="5"/>
                </a:cubicBezTo>
                <a:cubicBezTo>
                  <a:pt x="506" y="6"/>
                  <a:pt x="506" y="6"/>
                  <a:pt x="506" y="6"/>
                </a:cubicBezTo>
                <a:cubicBezTo>
                  <a:pt x="506" y="8"/>
                  <a:pt x="506" y="8"/>
                  <a:pt x="506" y="8"/>
                </a:cubicBezTo>
                <a:cubicBezTo>
                  <a:pt x="506" y="9"/>
                  <a:pt x="506" y="9"/>
                  <a:pt x="506" y="9"/>
                </a:cubicBezTo>
                <a:cubicBezTo>
                  <a:pt x="507" y="8"/>
                  <a:pt x="507" y="8"/>
                  <a:pt x="507" y="8"/>
                </a:cubicBezTo>
                <a:cubicBezTo>
                  <a:pt x="508" y="7"/>
                  <a:pt x="508" y="7"/>
                  <a:pt x="508" y="7"/>
                </a:cubicBezTo>
                <a:cubicBezTo>
                  <a:pt x="510" y="5"/>
                  <a:pt x="510" y="5"/>
                  <a:pt x="510" y="5"/>
                </a:cubicBezTo>
                <a:cubicBezTo>
                  <a:pt x="511" y="4"/>
                  <a:pt x="511" y="4"/>
                  <a:pt x="511" y="4"/>
                </a:cubicBezTo>
                <a:cubicBezTo>
                  <a:pt x="512" y="4"/>
                  <a:pt x="512" y="4"/>
                  <a:pt x="512" y="4"/>
                </a:cubicBezTo>
                <a:cubicBezTo>
                  <a:pt x="514" y="5"/>
                  <a:pt x="514" y="5"/>
                  <a:pt x="514" y="5"/>
                </a:cubicBezTo>
                <a:cubicBezTo>
                  <a:pt x="515" y="5"/>
                  <a:pt x="515" y="5"/>
                  <a:pt x="515" y="5"/>
                </a:cubicBezTo>
                <a:cubicBezTo>
                  <a:pt x="515" y="6"/>
                  <a:pt x="515" y="6"/>
                  <a:pt x="515" y="6"/>
                </a:cubicBezTo>
                <a:cubicBezTo>
                  <a:pt x="514" y="7"/>
                  <a:pt x="514" y="7"/>
                  <a:pt x="514" y="7"/>
                </a:cubicBezTo>
                <a:cubicBezTo>
                  <a:pt x="514" y="9"/>
                  <a:pt x="514" y="9"/>
                  <a:pt x="514" y="9"/>
                </a:cubicBezTo>
                <a:cubicBezTo>
                  <a:pt x="515" y="8"/>
                  <a:pt x="515" y="8"/>
                  <a:pt x="515" y="8"/>
                </a:cubicBezTo>
                <a:cubicBezTo>
                  <a:pt x="515" y="7"/>
                  <a:pt x="515" y="7"/>
                  <a:pt x="515" y="7"/>
                </a:cubicBezTo>
                <a:cubicBezTo>
                  <a:pt x="517" y="6"/>
                  <a:pt x="517" y="6"/>
                  <a:pt x="517" y="6"/>
                </a:cubicBezTo>
                <a:cubicBezTo>
                  <a:pt x="518" y="6"/>
                  <a:pt x="518" y="6"/>
                  <a:pt x="518" y="6"/>
                </a:cubicBezTo>
                <a:cubicBezTo>
                  <a:pt x="520" y="6"/>
                  <a:pt x="520" y="6"/>
                  <a:pt x="520" y="6"/>
                </a:cubicBezTo>
                <a:cubicBezTo>
                  <a:pt x="522" y="7"/>
                  <a:pt x="522" y="7"/>
                  <a:pt x="522" y="7"/>
                </a:cubicBezTo>
                <a:cubicBezTo>
                  <a:pt x="523" y="8"/>
                  <a:pt x="523" y="8"/>
                  <a:pt x="523" y="8"/>
                </a:cubicBezTo>
                <a:cubicBezTo>
                  <a:pt x="522" y="8"/>
                  <a:pt x="522" y="8"/>
                  <a:pt x="522" y="8"/>
                </a:cubicBezTo>
                <a:cubicBezTo>
                  <a:pt x="522" y="9"/>
                  <a:pt x="522" y="9"/>
                  <a:pt x="522" y="9"/>
                </a:cubicBezTo>
                <a:cubicBezTo>
                  <a:pt x="522" y="9"/>
                  <a:pt x="522" y="9"/>
                  <a:pt x="522" y="9"/>
                </a:cubicBezTo>
                <a:cubicBezTo>
                  <a:pt x="521" y="10"/>
                  <a:pt x="521" y="10"/>
                  <a:pt x="521" y="10"/>
                </a:cubicBezTo>
                <a:cubicBezTo>
                  <a:pt x="522" y="11"/>
                  <a:pt x="522" y="11"/>
                  <a:pt x="522" y="11"/>
                </a:cubicBezTo>
                <a:cubicBezTo>
                  <a:pt x="523" y="10"/>
                  <a:pt x="523" y="10"/>
                  <a:pt x="523" y="10"/>
                </a:cubicBezTo>
                <a:cubicBezTo>
                  <a:pt x="524" y="10"/>
                  <a:pt x="524" y="10"/>
                  <a:pt x="524" y="10"/>
                </a:cubicBezTo>
                <a:cubicBezTo>
                  <a:pt x="524" y="11"/>
                  <a:pt x="524" y="11"/>
                  <a:pt x="524" y="11"/>
                </a:cubicBezTo>
                <a:cubicBezTo>
                  <a:pt x="525" y="12"/>
                  <a:pt x="525" y="12"/>
                  <a:pt x="525" y="12"/>
                </a:cubicBezTo>
                <a:cubicBezTo>
                  <a:pt x="525" y="11"/>
                  <a:pt x="525" y="11"/>
                  <a:pt x="525" y="11"/>
                </a:cubicBezTo>
                <a:cubicBezTo>
                  <a:pt x="527" y="10"/>
                  <a:pt x="527" y="10"/>
                  <a:pt x="527" y="10"/>
                </a:cubicBezTo>
                <a:cubicBezTo>
                  <a:pt x="527" y="11"/>
                  <a:pt x="527" y="11"/>
                  <a:pt x="527" y="11"/>
                </a:cubicBezTo>
                <a:cubicBezTo>
                  <a:pt x="527" y="12"/>
                  <a:pt x="527" y="12"/>
                  <a:pt x="527" y="12"/>
                </a:cubicBezTo>
                <a:cubicBezTo>
                  <a:pt x="527" y="13"/>
                  <a:pt x="527" y="13"/>
                  <a:pt x="527" y="13"/>
                </a:cubicBezTo>
                <a:cubicBezTo>
                  <a:pt x="528" y="13"/>
                  <a:pt x="528" y="13"/>
                  <a:pt x="528" y="13"/>
                </a:cubicBezTo>
                <a:cubicBezTo>
                  <a:pt x="528" y="13"/>
                  <a:pt x="528" y="13"/>
                  <a:pt x="528" y="13"/>
                </a:cubicBezTo>
                <a:cubicBezTo>
                  <a:pt x="529" y="12"/>
                  <a:pt x="529" y="12"/>
                  <a:pt x="529" y="12"/>
                </a:cubicBezTo>
                <a:cubicBezTo>
                  <a:pt x="530" y="12"/>
                  <a:pt x="530" y="12"/>
                  <a:pt x="530" y="12"/>
                </a:cubicBezTo>
                <a:cubicBezTo>
                  <a:pt x="530" y="13"/>
                  <a:pt x="530" y="13"/>
                  <a:pt x="530" y="13"/>
                </a:cubicBezTo>
                <a:cubicBezTo>
                  <a:pt x="533" y="14"/>
                  <a:pt x="533" y="14"/>
                  <a:pt x="533" y="14"/>
                </a:cubicBezTo>
                <a:cubicBezTo>
                  <a:pt x="534" y="14"/>
                  <a:pt x="534" y="14"/>
                  <a:pt x="534" y="14"/>
                </a:cubicBezTo>
                <a:cubicBezTo>
                  <a:pt x="534" y="15"/>
                  <a:pt x="534" y="15"/>
                  <a:pt x="534" y="15"/>
                </a:cubicBezTo>
                <a:cubicBezTo>
                  <a:pt x="534" y="15"/>
                  <a:pt x="534" y="15"/>
                  <a:pt x="534" y="15"/>
                </a:cubicBezTo>
                <a:cubicBezTo>
                  <a:pt x="531" y="16"/>
                  <a:pt x="531" y="16"/>
                  <a:pt x="531" y="16"/>
                </a:cubicBezTo>
                <a:cubicBezTo>
                  <a:pt x="530" y="18"/>
                  <a:pt x="530" y="18"/>
                  <a:pt x="530" y="18"/>
                </a:cubicBezTo>
                <a:cubicBezTo>
                  <a:pt x="529" y="18"/>
                  <a:pt x="529" y="18"/>
                  <a:pt x="529" y="18"/>
                </a:cubicBezTo>
                <a:cubicBezTo>
                  <a:pt x="527" y="19"/>
                  <a:pt x="527" y="19"/>
                  <a:pt x="527" y="19"/>
                </a:cubicBezTo>
                <a:cubicBezTo>
                  <a:pt x="526" y="19"/>
                  <a:pt x="526" y="19"/>
                  <a:pt x="526" y="19"/>
                </a:cubicBezTo>
                <a:cubicBezTo>
                  <a:pt x="525" y="19"/>
                  <a:pt x="525" y="19"/>
                  <a:pt x="525" y="19"/>
                </a:cubicBezTo>
                <a:cubicBezTo>
                  <a:pt x="524" y="19"/>
                  <a:pt x="524" y="19"/>
                  <a:pt x="524" y="19"/>
                </a:cubicBezTo>
                <a:cubicBezTo>
                  <a:pt x="523" y="20"/>
                  <a:pt x="523" y="20"/>
                  <a:pt x="523" y="20"/>
                </a:cubicBezTo>
                <a:cubicBezTo>
                  <a:pt x="525" y="20"/>
                  <a:pt x="525" y="20"/>
                  <a:pt x="525" y="20"/>
                </a:cubicBezTo>
                <a:cubicBezTo>
                  <a:pt x="528" y="20"/>
                  <a:pt x="528" y="20"/>
                  <a:pt x="528" y="20"/>
                </a:cubicBezTo>
                <a:cubicBezTo>
                  <a:pt x="529" y="21"/>
                  <a:pt x="529" y="21"/>
                  <a:pt x="529" y="21"/>
                </a:cubicBezTo>
                <a:cubicBezTo>
                  <a:pt x="529" y="21"/>
                  <a:pt x="529" y="21"/>
                  <a:pt x="529" y="21"/>
                </a:cubicBezTo>
                <a:cubicBezTo>
                  <a:pt x="530" y="20"/>
                  <a:pt x="530" y="20"/>
                  <a:pt x="530" y="20"/>
                </a:cubicBezTo>
                <a:cubicBezTo>
                  <a:pt x="531" y="19"/>
                  <a:pt x="531" y="19"/>
                  <a:pt x="531" y="19"/>
                </a:cubicBezTo>
                <a:cubicBezTo>
                  <a:pt x="532" y="19"/>
                  <a:pt x="532" y="19"/>
                  <a:pt x="532" y="19"/>
                </a:cubicBezTo>
                <a:cubicBezTo>
                  <a:pt x="533" y="18"/>
                  <a:pt x="533" y="18"/>
                  <a:pt x="533" y="18"/>
                </a:cubicBezTo>
                <a:cubicBezTo>
                  <a:pt x="534" y="17"/>
                  <a:pt x="534" y="17"/>
                  <a:pt x="534" y="17"/>
                </a:cubicBezTo>
                <a:cubicBezTo>
                  <a:pt x="536" y="17"/>
                  <a:pt x="536" y="17"/>
                  <a:pt x="536" y="17"/>
                </a:cubicBezTo>
                <a:cubicBezTo>
                  <a:pt x="536" y="18"/>
                  <a:pt x="536" y="18"/>
                  <a:pt x="536" y="18"/>
                </a:cubicBezTo>
                <a:cubicBezTo>
                  <a:pt x="536" y="19"/>
                  <a:pt x="536" y="19"/>
                  <a:pt x="536" y="19"/>
                </a:cubicBezTo>
                <a:cubicBezTo>
                  <a:pt x="536" y="20"/>
                  <a:pt x="536" y="20"/>
                  <a:pt x="536" y="20"/>
                </a:cubicBezTo>
                <a:cubicBezTo>
                  <a:pt x="537" y="20"/>
                  <a:pt x="537" y="20"/>
                  <a:pt x="537" y="20"/>
                </a:cubicBezTo>
                <a:cubicBezTo>
                  <a:pt x="537" y="18"/>
                  <a:pt x="537" y="18"/>
                  <a:pt x="537" y="18"/>
                </a:cubicBezTo>
                <a:cubicBezTo>
                  <a:pt x="539" y="17"/>
                  <a:pt x="539" y="17"/>
                  <a:pt x="539" y="17"/>
                </a:cubicBezTo>
                <a:cubicBezTo>
                  <a:pt x="539" y="18"/>
                  <a:pt x="539" y="18"/>
                  <a:pt x="539" y="18"/>
                </a:cubicBezTo>
                <a:cubicBezTo>
                  <a:pt x="538" y="19"/>
                  <a:pt x="538" y="19"/>
                  <a:pt x="538" y="19"/>
                </a:cubicBezTo>
                <a:cubicBezTo>
                  <a:pt x="538" y="20"/>
                  <a:pt x="538" y="20"/>
                  <a:pt x="538" y="20"/>
                </a:cubicBezTo>
                <a:cubicBezTo>
                  <a:pt x="538" y="20"/>
                  <a:pt x="538" y="20"/>
                  <a:pt x="538" y="20"/>
                </a:cubicBezTo>
                <a:cubicBezTo>
                  <a:pt x="538" y="21"/>
                  <a:pt x="538" y="21"/>
                  <a:pt x="538" y="21"/>
                </a:cubicBezTo>
                <a:cubicBezTo>
                  <a:pt x="539" y="21"/>
                  <a:pt x="539" y="21"/>
                  <a:pt x="539" y="21"/>
                </a:cubicBezTo>
                <a:cubicBezTo>
                  <a:pt x="540" y="20"/>
                  <a:pt x="540" y="20"/>
                  <a:pt x="540" y="20"/>
                </a:cubicBezTo>
                <a:cubicBezTo>
                  <a:pt x="540" y="19"/>
                  <a:pt x="540" y="19"/>
                  <a:pt x="540" y="19"/>
                </a:cubicBezTo>
                <a:cubicBezTo>
                  <a:pt x="541" y="19"/>
                  <a:pt x="541" y="19"/>
                  <a:pt x="541" y="19"/>
                </a:cubicBezTo>
                <a:cubicBezTo>
                  <a:pt x="543" y="19"/>
                  <a:pt x="543" y="19"/>
                  <a:pt x="543" y="19"/>
                </a:cubicBezTo>
                <a:cubicBezTo>
                  <a:pt x="542" y="22"/>
                  <a:pt x="542" y="22"/>
                  <a:pt x="542" y="22"/>
                </a:cubicBezTo>
                <a:cubicBezTo>
                  <a:pt x="541" y="22"/>
                  <a:pt x="541" y="22"/>
                  <a:pt x="541" y="22"/>
                </a:cubicBezTo>
                <a:cubicBezTo>
                  <a:pt x="542" y="22"/>
                  <a:pt x="542" y="22"/>
                  <a:pt x="542" y="22"/>
                </a:cubicBezTo>
                <a:cubicBezTo>
                  <a:pt x="542" y="24"/>
                  <a:pt x="542" y="24"/>
                  <a:pt x="542" y="24"/>
                </a:cubicBezTo>
                <a:cubicBezTo>
                  <a:pt x="542" y="25"/>
                  <a:pt x="542" y="25"/>
                  <a:pt x="542" y="25"/>
                </a:cubicBezTo>
                <a:cubicBezTo>
                  <a:pt x="541" y="26"/>
                  <a:pt x="541" y="26"/>
                  <a:pt x="541" y="26"/>
                </a:cubicBezTo>
                <a:cubicBezTo>
                  <a:pt x="540" y="27"/>
                  <a:pt x="540" y="27"/>
                  <a:pt x="540" y="27"/>
                </a:cubicBezTo>
                <a:cubicBezTo>
                  <a:pt x="539" y="29"/>
                  <a:pt x="539" y="29"/>
                  <a:pt x="539" y="29"/>
                </a:cubicBezTo>
                <a:cubicBezTo>
                  <a:pt x="539" y="30"/>
                  <a:pt x="539" y="30"/>
                  <a:pt x="539" y="30"/>
                </a:cubicBezTo>
                <a:cubicBezTo>
                  <a:pt x="540" y="29"/>
                  <a:pt x="540" y="29"/>
                  <a:pt x="540" y="29"/>
                </a:cubicBezTo>
                <a:cubicBezTo>
                  <a:pt x="541" y="28"/>
                  <a:pt x="541" y="28"/>
                  <a:pt x="541" y="28"/>
                </a:cubicBezTo>
                <a:cubicBezTo>
                  <a:pt x="542" y="28"/>
                  <a:pt x="542" y="28"/>
                  <a:pt x="542" y="28"/>
                </a:cubicBezTo>
                <a:cubicBezTo>
                  <a:pt x="542" y="28"/>
                  <a:pt x="542" y="28"/>
                  <a:pt x="542" y="28"/>
                </a:cubicBezTo>
                <a:cubicBezTo>
                  <a:pt x="543" y="28"/>
                  <a:pt x="543" y="28"/>
                  <a:pt x="543" y="28"/>
                </a:cubicBezTo>
                <a:cubicBezTo>
                  <a:pt x="545" y="29"/>
                  <a:pt x="545" y="29"/>
                  <a:pt x="545" y="29"/>
                </a:cubicBezTo>
                <a:cubicBezTo>
                  <a:pt x="545" y="30"/>
                  <a:pt x="545" y="30"/>
                  <a:pt x="545" y="30"/>
                </a:cubicBezTo>
                <a:cubicBezTo>
                  <a:pt x="546" y="32"/>
                  <a:pt x="546" y="32"/>
                  <a:pt x="546" y="32"/>
                </a:cubicBezTo>
                <a:cubicBezTo>
                  <a:pt x="545" y="35"/>
                  <a:pt x="545" y="35"/>
                  <a:pt x="545" y="35"/>
                </a:cubicBezTo>
                <a:cubicBezTo>
                  <a:pt x="544" y="38"/>
                  <a:pt x="544" y="38"/>
                  <a:pt x="544" y="38"/>
                </a:cubicBezTo>
                <a:cubicBezTo>
                  <a:pt x="541" y="39"/>
                  <a:pt x="541" y="39"/>
                  <a:pt x="541" y="39"/>
                </a:cubicBezTo>
                <a:cubicBezTo>
                  <a:pt x="541" y="40"/>
                  <a:pt x="541" y="40"/>
                  <a:pt x="541" y="40"/>
                </a:cubicBezTo>
                <a:cubicBezTo>
                  <a:pt x="540" y="39"/>
                  <a:pt x="540" y="39"/>
                  <a:pt x="540" y="39"/>
                </a:cubicBezTo>
                <a:cubicBezTo>
                  <a:pt x="538" y="40"/>
                  <a:pt x="538" y="40"/>
                  <a:pt x="538" y="40"/>
                </a:cubicBezTo>
                <a:cubicBezTo>
                  <a:pt x="538" y="40"/>
                  <a:pt x="538" y="40"/>
                  <a:pt x="538" y="40"/>
                </a:cubicBezTo>
                <a:cubicBezTo>
                  <a:pt x="538" y="41"/>
                  <a:pt x="538" y="41"/>
                  <a:pt x="538" y="41"/>
                </a:cubicBezTo>
                <a:cubicBezTo>
                  <a:pt x="534" y="43"/>
                  <a:pt x="534" y="43"/>
                  <a:pt x="534" y="43"/>
                </a:cubicBezTo>
                <a:cubicBezTo>
                  <a:pt x="532" y="44"/>
                  <a:pt x="532" y="44"/>
                  <a:pt x="532" y="44"/>
                </a:cubicBezTo>
                <a:cubicBezTo>
                  <a:pt x="531" y="44"/>
                  <a:pt x="531" y="44"/>
                  <a:pt x="531" y="44"/>
                </a:cubicBezTo>
                <a:cubicBezTo>
                  <a:pt x="530" y="45"/>
                  <a:pt x="530" y="45"/>
                  <a:pt x="530" y="45"/>
                </a:cubicBezTo>
                <a:cubicBezTo>
                  <a:pt x="528" y="45"/>
                  <a:pt x="528" y="45"/>
                  <a:pt x="528" y="45"/>
                </a:cubicBezTo>
                <a:cubicBezTo>
                  <a:pt x="527" y="44"/>
                  <a:pt x="527" y="44"/>
                  <a:pt x="527" y="44"/>
                </a:cubicBezTo>
                <a:cubicBezTo>
                  <a:pt x="526" y="45"/>
                  <a:pt x="526" y="45"/>
                  <a:pt x="526" y="45"/>
                </a:cubicBezTo>
                <a:cubicBezTo>
                  <a:pt x="526" y="46"/>
                  <a:pt x="526" y="46"/>
                  <a:pt x="526" y="46"/>
                </a:cubicBezTo>
                <a:cubicBezTo>
                  <a:pt x="524" y="45"/>
                  <a:pt x="524" y="45"/>
                  <a:pt x="524" y="45"/>
                </a:cubicBezTo>
                <a:cubicBezTo>
                  <a:pt x="523" y="44"/>
                  <a:pt x="523" y="44"/>
                  <a:pt x="523" y="44"/>
                </a:cubicBezTo>
                <a:cubicBezTo>
                  <a:pt x="521" y="44"/>
                  <a:pt x="521" y="44"/>
                  <a:pt x="521" y="44"/>
                </a:cubicBezTo>
                <a:cubicBezTo>
                  <a:pt x="521" y="44"/>
                  <a:pt x="521" y="44"/>
                  <a:pt x="521" y="44"/>
                </a:cubicBezTo>
                <a:cubicBezTo>
                  <a:pt x="522" y="45"/>
                  <a:pt x="522" y="45"/>
                  <a:pt x="522" y="45"/>
                </a:cubicBezTo>
                <a:cubicBezTo>
                  <a:pt x="523" y="45"/>
                  <a:pt x="523" y="45"/>
                  <a:pt x="523" y="45"/>
                </a:cubicBezTo>
                <a:cubicBezTo>
                  <a:pt x="522" y="46"/>
                  <a:pt x="522" y="46"/>
                  <a:pt x="522" y="46"/>
                </a:cubicBezTo>
                <a:cubicBezTo>
                  <a:pt x="520" y="45"/>
                  <a:pt x="520" y="45"/>
                  <a:pt x="520" y="45"/>
                </a:cubicBezTo>
                <a:cubicBezTo>
                  <a:pt x="520" y="45"/>
                  <a:pt x="520" y="45"/>
                  <a:pt x="520" y="45"/>
                </a:cubicBezTo>
                <a:cubicBezTo>
                  <a:pt x="519" y="45"/>
                  <a:pt x="519" y="45"/>
                  <a:pt x="519" y="45"/>
                </a:cubicBezTo>
                <a:cubicBezTo>
                  <a:pt x="517" y="45"/>
                  <a:pt x="517" y="45"/>
                  <a:pt x="517" y="45"/>
                </a:cubicBezTo>
                <a:cubicBezTo>
                  <a:pt x="516" y="44"/>
                  <a:pt x="516" y="44"/>
                  <a:pt x="516" y="44"/>
                </a:cubicBezTo>
                <a:cubicBezTo>
                  <a:pt x="515" y="44"/>
                  <a:pt x="515" y="44"/>
                  <a:pt x="515" y="44"/>
                </a:cubicBezTo>
                <a:cubicBezTo>
                  <a:pt x="514" y="44"/>
                  <a:pt x="514" y="44"/>
                  <a:pt x="514" y="44"/>
                </a:cubicBezTo>
                <a:cubicBezTo>
                  <a:pt x="513" y="42"/>
                  <a:pt x="513" y="42"/>
                  <a:pt x="513" y="42"/>
                </a:cubicBezTo>
                <a:cubicBezTo>
                  <a:pt x="511" y="41"/>
                  <a:pt x="511" y="41"/>
                  <a:pt x="511" y="41"/>
                </a:cubicBezTo>
                <a:cubicBezTo>
                  <a:pt x="512" y="42"/>
                  <a:pt x="512" y="42"/>
                  <a:pt x="512" y="42"/>
                </a:cubicBezTo>
                <a:cubicBezTo>
                  <a:pt x="513" y="44"/>
                  <a:pt x="513" y="44"/>
                  <a:pt x="513" y="44"/>
                </a:cubicBezTo>
                <a:cubicBezTo>
                  <a:pt x="513" y="44"/>
                  <a:pt x="513" y="44"/>
                  <a:pt x="513" y="44"/>
                </a:cubicBezTo>
                <a:cubicBezTo>
                  <a:pt x="512" y="44"/>
                  <a:pt x="512" y="44"/>
                  <a:pt x="512" y="44"/>
                </a:cubicBezTo>
                <a:cubicBezTo>
                  <a:pt x="510" y="44"/>
                  <a:pt x="510" y="44"/>
                  <a:pt x="510" y="44"/>
                </a:cubicBezTo>
                <a:cubicBezTo>
                  <a:pt x="511" y="45"/>
                  <a:pt x="511" y="45"/>
                  <a:pt x="511" y="45"/>
                </a:cubicBezTo>
                <a:cubicBezTo>
                  <a:pt x="515" y="45"/>
                  <a:pt x="515" y="45"/>
                  <a:pt x="515" y="45"/>
                </a:cubicBezTo>
                <a:cubicBezTo>
                  <a:pt x="517" y="46"/>
                  <a:pt x="517" y="46"/>
                  <a:pt x="517" y="46"/>
                </a:cubicBezTo>
                <a:cubicBezTo>
                  <a:pt x="518" y="47"/>
                  <a:pt x="518" y="47"/>
                  <a:pt x="518" y="47"/>
                </a:cubicBezTo>
                <a:cubicBezTo>
                  <a:pt x="517" y="47"/>
                  <a:pt x="517" y="47"/>
                  <a:pt x="517" y="47"/>
                </a:cubicBezTo>
                <a:cubicBezTo>
                  <a:pt x="512" y="50"/>
                  <a:pt x="512" y="50"/>
                  <a:pt x="512" y="50"/>
                </a:cubicBezTo>
                <a:cubicBezTo>
                  <a:pt x="508" y="50"/>
                  <a:pt x="508" y="50"/>
                  <a:pt x="508" y="50"/>
                </a:cubicBezTo>
                <a:cubicBezTo>
                  <a:pt x="507" y="50"/>
                  <a:pt x="507" y="50"/>
                  <a:pt x="507" y="50"/>
                </a:cubicBezTo>
                <a:cubicBezTo>
                  <a:pt x="505" y="51"/>
                  <a:pt x="505" y="51"/>
                  <a:pt x="505" y="51"/>
                </a:cubicBezTo>
                <a:cubicBezTo>
                  <a:pt x="503" y="50"/>
                  <a:pt x="503" y="50"/>
                  <a:pt x="503" y="50"/>
                </a:cubicBezTo>
                <a:cubicBezTo>
                  <a:pt x="503" y="50"/>
                  <a:pt x="503" y="50"/>
                  <a:pt x="503" y="50"/>
                </a:cubicBezTo>
                <a:cubicBezTo>
                  <a:pt x="502" y="50"/>
                  <a:pt x="502" y="50"/>
                  <a:pt x="502" y="50"/>
                </a:cubicBezTo>
                <a:cubicBezTo>
                  <a:pt x="501" y="50"/>
                  <a:pt x="501" y="50"/>
                  <a:pt x="501" y="50"/>
                </a:cubicBezTo>
                <a:cubicBezTo>
                  <a:pt x="500" y="50"/>
                  <a:pt x="500" y="50"/>
                  <a:pt x="500" y="50"/>
                </a:cubicBezTo>
                <a:cubicBezTo>
                  <a:pt x="499" y="51"/>
                  <a:pt x="499" y="51"/>
                  <a:pt x="499" y="51"/>
                </a:cubicBezTo>
                <a:cubicBezTo>
                  <a:pt x="500" y="51"/>
                  <a:pt x="500" y="51"/>
                  <a:pt x="500" y="51"/>
                </a:cubicBezTo>
                <a:cubicBezTo>
                  <a:pt x="501" y="52"/>
                  <a:pt x="501" y="52"/>
                  <a:pt x="501" y="52"/>
                </a:cubicBezTo>
                <a:cubicBezTo>
                  <a:pt x="502" y="51"/>
                  <a:pt x="502" y="51"/>
                  <a:pt x="502" y="51"/>
                </a:cubicBezTo>
                <a:cubicBezTo>
                  <a:pt x="506" y="51"/>
                  <a:pt x="506" y="51"/>
                  <a:pt x="506" y="51"/>
                </a:cubicBezTo>
                <a:cubicBezTo>
                  <a:pt x="507" y="51"/>
                  <a:pt x="507" y="51"/>
                  <a:pt x="507" y="51"/>
                </a:cubicBezTo>
                <a:cubicBezTo>
                  <a:pt x="512" y="51"/>
                  <a:pt x="512" y="51"/>
                  <a:pt x="512" y="51"/>
                </a:cubicBezTo>
                <a:cubicBezTo>
                  <a:pt x="515" y="51"/>
                  <a:pt x="515" y="51"/>
                  <a:pt x="515" y="51"/>
                </a:cubicBezTo>
                <a:cubicBezTo>
                  <a:pt x="517" y="49"/>
                  <a:pt x="517" y="49"/>
                  <a:pt x="517" y="49"/>
                </a:cubicBezTo>
                <a:cubicBezTo>
                  <a:pt x="519" y="49"/>
                  <a:pt x="519" y="49"/>
                  <a:pt x="519" y="49"/>
                </a:cubicBezTo>
                <a:cubicBezTo>
                  <a:pt x="520" y="49"/>
                  <a:pt x="520" y="49"/>
                  <a:pt x="520" y="49"/>
                </a:cubicBezTo>
                <a:cubicBezTo>
                  <a:pt x="521" y="49"/>
                  <a:pt x="521" y="49"/>
                  <a:pt x="521" y="49"/>
                </a:cubicBezTo>
                <a:cubicBezTo>
                  <a:pt x="523" y="49"/>
                  <a:pt x="523" y="49"/>
                  <a:pt x="523" y="49"/>
                </a:cubicBezTo>
                <a:cubicBezTo>
                  <a:pt x="522" y="50"/>
                  <a:pt x="522" y="50"/>
                  <a:pt x="522" y="50"/>
                </a:cubicBezTo>
                <a:cubicBezTo>
                  <a:pt x="521" y="52"/>
                  <a:pt x="521" y="52"/>
                  <a:pt x="521" y="52"/>
                </a:cubicBezTo>
                <a:cubicBezTo>
                  <a:pt x="519" y="53"/>
                  <a:pt x="519" y="53"/>
                  <a:pt x="519" y="53"/>
                </a:cubicBezTo>
                <a:cubicBezTo>
                  <a:pt x="519" y="54"/>
                  <a:pt x="519" y="54"/>
                  <a:pt x="519" y="54"/>
                </a:cubicBezTo>
                <a:cubicBezTo>
                  <a:pt x="516" y="54"/>
                  <a:pt x="516" y="54"/>
                  <a:pt x="516" y="54"/>
                </a:cubicBezTo>
                <a:cubicBezTo>
                  <a:pt x="515" y="56"/>
                  <a:pt x="515" y="56"/>
                  <a:pt x="515" y="56"/>
                </a:cubicBezTo>
                <a:cubicBezTo>
                  <a:pt x="514" y="56"/>
                  <a:pt x="514" y="56"/>
                  <a:pt x="514" y="56"/>
                </a:cubicBezTo>
                <a:cubicBezTo>
                  <a:pt x="513" y="57"/>
                  <a:pt x="513" y="57"/>
                  <a:pt x="513" y="57"/>
                </a:cubicBezTo>
                <a:cubicBezTo>
                  <a:pt x="511" y="58"/>
                  <a:pt x="511" y="58"/>
                  <a:pt x="511" y="58"/>
                </a:cubicBezTo>
                <a:cubicBezTo>
                  <a:pt x="510" y="58"/>
                  <a:pt x="510" y="58"/>
                  <a:pt x="510" y="58"/>
                </a:cubicBezTo>
                <a:cubicBezTo>
                  <a:pt x="509" y="58"/>
                  <a:pt x="509" y="58"/>
                  <a:pt x="509" y="58"/>
                </a:cubicBezTo>
                <a:cubicBezTo>
                  <a:pt x="507" y="58"/>
                  <a:pt x="507" y="58"/>
                  <a:pt x="507" y="58"/>
                </a:cubicBezTo>
                <a:cubicBezTo>
                  <a:pt x="506" y="59"/>
                  <a:pt x="506" y="59"/>
                  <a:pt x="506" y="59"/>
                </a:cubicBezTo>
                <a:cubicBezTo>
                  <a:pt x="504" y="60"/>
                  <a:pt x="504" y="60"/>
                  <a:pt x="504" y="60"/>
                </a:cubicBezTo>
                <a:cubicBezTo>
                  <a:pt x="503" y="61"/>
                  <a:pt x="503" y="61"/>
                  <a:pt x="503" y="61"/>
                </a:cubicBezTo>
                <a:cubicBezTo>
                  <a:pt x="501" y="62"/>
                  <a:pt x="501" y="62"/>
                  <a:pt x="501" y="62"/>
                </a:cubicBezTo>
                <a:cubicBezTo>
                  <a:pt x="500" y="62"/>
                  <a:pt x="500" y="62"/>
                  <a:pt x="500" y="62"/>
                </a:cubicBezTo>
                <a:cubicBezTo>
                  <a:pt x="499" y="62"/>
                  <a:pt x="499" y="62"/>
                  <a:pt x="499" y="62"/>
                </a:cubicBezTo>
                <a:cubicBezTo>
                  <a:pt x="498" y="63"/>
                  <a:pt x="498" y="63"/>
                  <a:pt x="498" y="63"/>
                </a:cubicBezTo>
                <a:cubicBezTo>
                  <a:pt x="496" y="63"/>
                  <a:pt x="496" y="63"/>
                  <a:pt x="496" y="63"/>
                </a:cubicBezTo>
                <a:cubicBezTo>
                  <a:pt x="496" y="63"/>
                  <a:pt x="496" y="63"/>
                  <a:pt x="496" y="63"/>
                </a:cubicBezTo>
                <a:cubicBezTo>
                  <a:pt x="496" y="65"/>
                  <a:pt x="496" y="65"/>
                  <a:pt x="496" y="65"/>
                </a:cubicBezTo>
                <a:cubicBezTo>
                  <a:pt x="495" y="66"/>
                  <a:pt x="495" y="66"/>
                  <a:pt x="495" y="66"/>
                </a:cubicBezTo>
                <a:cubicBezTo>
                  <a:pt x="494" y="67"/>
                  <a:pt x="494" y="67"/>
                  <a:pt x="494" y="67"/>
                </a:cubicBezTo>
                <a:cubicBezTo>
                  <a:pt x="491" y="67"/>
                  <a:pt x="491" y="67"/>
                  <a:pt x="491" y="67"/>
                </a:cubicBezTo>
                <a:cubicBezTo>
                  <a:pt x="490" y="67"/>
                  <a:pt x="490" y="67"/>
                  <a:pt x="490" y="67"/>
                </a:cubicBezTo>
                <a:cubicBezTo>
                  <a:pt x="489" y="67"/>
                  <a:pt x="489" y="67"/>
                  <a:pt x="489" y="67"/>
                </a:cubicBezTo>
                <a:cubicBezTo>
                  <a:pt x="489" y="66"/>
                  <a:pt x="489" y="66"/>
                  <a:pt x="489" y="66"/>
                </a:cubicBezTo>
                <a:cubicBezTo>
                  <a:pt x="490" y="66"/>
                  <a:pt x="490" y="66"/>
                  <a:pt x="490" y="66"/>
                </a:cubicBezTo>
                <a:cubicBezTo>
                  <a:pt x="490" y="65"/>
                  <a:pt x="490" y="65"/>
                  <a:pt x="490" y="65"/>
                </a:cubicBezTo>
                <a:cubicBezTo>
                  <a:pt x="489" y="64"/>
                  <a:pt x="489" y="64"/>
                  <a:pt x="489" y="64"/>
                </a:cubicBezTo>
                <a:cubicBezTo>
                  <a:pt x="489" y="66"/>
                  <a:pt x="489" y="66"/>
                  <a:pt x="489" y="66"/>
                </a:cubicBezTo>
                <a:cubicBezTo>
                  <a:pt x="488" y="66"/>
                  <a:pt x="488" y="66"/>
                  <a:pt x="488" y="66"/>
                </a:cubicBezTo>
                <a:cubicBezTo>
                  <a:pt x="488" y="67"/>
                  <a:pt x="488" y="67"/>
                  <a:pt x="488" y="67"/>
                </a:cubicBezTo>
                <a:cubicBezTo>
                  <a:pt x="489" y="68"/>
                  <a:pt x="489" y="68"/>
                  <a:pt x="489" y="68"/>
                </a:cubicBezTo>
                <a:cubicBezTo>
                  <a:pt x="490" y="69"/>
                  <a:pt x="490" y="69"/>
                  <a:pt x="490" y="69"/>
                </a:cubicBezTo>
                <a:cubicBezTo>
                  <a:pt x="489" y="70"/>
                  <a:pt x="489" y="70"/>
                  <a:pt x="489" y="70"/>
                </a:cubicBezTo>
                <a:cubicBezTo>
                  <a:pt x="488" y="70"/>
                  <a:pt x="488" y="70"/>
                  <a:pt x="488" y="70"/>
                </a:cubicBezTo>
                <a:cubicBezTo>
                  <a:pt x="487" y="69"/>
                  <a:pt x="487" y="69"/>
                  <a:pt x="487" y="69"/>
                </a:cubicBezTo>
                <a:cubicBezTo>
                  <a:pt x="486" y="70"/>
                  <a:pt x="486" y="70"/>
                  <a:pt x="486" y="70"/>
                </a:cubicBezTo>
                <a:cubicBezTo>
                  <a:pt x="484" y="69"/>
                  <a:pt x="484" y="69"/>
                  <a:pt x="484" y="69"/>
                </a:cubicBezTo>
                <a:cubicBezTo>
                  <a:pt x="483" y="70"/>
                  <a:pt x="483" y="70"/>
                  <a:pt x="483" y="70"/>
                </a:cubicBezTo>
                <a:cubicBezTo>
                  <a:pt x="482" y="70"/>
                  <a:pt x="482" y="70"/>
                  <a:pt x="482" y="70"/>
                </a:cubicBezTo>
                <a:cubicBezTo>
                  <a:pt x="482" y="69"/>
                  <a:pt x="482" y="69"/>
                  <a:pt x="482" y="69"/>
                </a:cubicBezTo>
                <a:cubicBezTo>
                  <a:pt x="482" y="68"/>
                  <a:pt x="482" y="68"/>
                  <a:pt x="482" y="68"/>
                </a:cubicBezTo>
                <a:cubicBezTo>
                  <a:pt x="481" y="69"/>
                  <a:pt x="481" y="69"/>
                  <a:pt x="481" y="69"/>
                </a:cubicBezTo>
                <a:cubicBezTo>
                  <a:pt x="480" y="70"/>
                  <a:pt x="480" y="70"/>
                  <a:pt x="480" y="70"/>
                </a:cubicBezTo>
                <a:cubicBezTo>
                  <a:pt x="480" y="70"/>
                  <a:pt x="480" y="70"/>
                  <a:pt x="480" y="70"/>
                </a:cubicBezTo>
                <a:cubicBezTo>
                  <a:pt x="482" y="71"/>
                  <a:pt x="482" y="71"/>
                  <a:pt x="482" y="71"/>
                </a:cubicBezTo>
                <a:cubicBezTo>
                  <a:pt x="485" y="71"/>
                  <a:pt x="485" y="71"/>
                  <a:pt x="485" y="71"/>
                </a:cubicBezTo>
                <a:cubicBezTo>
                  <a:pt x="486" y="72"/>
                  <a:pt x="486" y="72"/>
                  <a:pt x="486" y="72"/>
                </a:cubicBezTo>
                <a:cubicBezTo>
                  <a:pt x="486" y="73"/>
                  <a:pt x="486" y="73"/>
                  <a:pt x="486" y="73"/>
                </a:cubicBezTo>
                <a:cubicBezTo>
                  <a:pt x="485" y="74"/>
                  <a:pt x="485" y="74"/>
                  <a:pt x="485" y="74"/>
                </a:cubicBezTo>
                <a:cubicBezTo>
                  <a:pt x="483" y="73"/>
                  <a:pt x="483" y="73"/>
                  <a:pt x="483" y="73"/>
                </a:cubicBezTo>
                <a:cubicBezTo>
                  <a:pt x="481" y="74"/>
                  <a:pt x="481" y="74"/>
                  <a:pt x="481" y="74"/>
                </a:cubicBezTo>
                <a:cubicBezTo>
                  <a:pt x="481" y="74"/>
                  <a:pt x="481" y="74"/>
                  <a:pt x="481" y="74"/>
                </a:cubicBezTo>
                <a:cubicBezTo>
                  <a:pt x="482" y="75"/>
                  <a:pt x="482" y="75"/>
                  <a:pt x="482" y="75"/>
                </a:cubicBezTo>
                <a:cubicBezTo>
                  <a:pt x="482" y="74"/>
                  <a:pt x="482" y="74"/>
                  <a:pt x="482" y="74"/>
                </a:cubicBezTo>
                <a:cubicBezTo>
                  <a:pt x="483" y="75"/>
                  <a:pt x="483" y="75"/>
                  <a:pt x="483" y="75"/>
                </a:cubicBezTo>
                <a:cubicBezTo>
                  <a:pt x="483" y="76"/>
                  <a:pt x="483" y="76"/>
                  <a:pt x="483" y="76"/>
                </a:cubicBezTo>
                <a:cubicBezTo>
                  <a:pt x="481" y="78"/>
                  <a:pt x="481" y="78"/>
                  <a:pt x="481" y="78"/>
                </a:cubicBezTo>
                <a:cubicBezTo>
                  <a:pt x="479" y="78"/>
                  <a:pt x="479" y="78"/>
                  <a:pt x="479" y="78"/>
                </a:cubicBezTo>
                <a:cubicBezTo>
                  <a:pt x="476" y="78"/>
                  <a:pt x="476" y="78"/>
                  <a:pt x="476" y="78"/>
                </a:cubicBezTo>
                <a:cubicBezTo>
                  <a:pt x="476" y="77"/>
                  <a:pt x="476" y="77"/>
                  <a:pt x="476" y="77"/>
                </a:cubicBezTo>
                <a:cubicBezTo>
                  <a:pt x="474" y="77"/>
                  <a:pt x="474" y="77"/>
                  <a:pt x="474" y="77"/>
                </a:cubicBezTo>
                <a:cubicBezTo>
                  <a:pt x="474" y="76"/>
                  <a:pt x="474" y="76"/>
                  <a:pt x="474" y="76"/>
                </a:cubicBezTo>
                <a:cubicBezTo>
                  <a:pt x="474" y="74"/>
                  <a:pt x="474" y="74"/>
                  <a:pt x="474" y="74"/>
                </a:cubicBezTo>
                <a:cubicBezTo>
                  <a:pt x="472" y="74"/>
                  <a:pt x="472" y="74"/>
                  <a:pt x="472" y="74"/>
                </a:cubicBezTo>
                <a:cubicBezTo>
                  <a:pt x="471" y="73"/>
                  <a:pt x="471" y="73"/>
                  <a:pt x="471" y="73"/>
                </a:cubicBezTo>
                <a:cubicBezTo>
                  <a:pt x="471" y="72"/>
                  <a:pt x="471" y="72"/>
                  <a:pt x="471" y="72"/>
                </a:cubicBezTo>
                <a:cubicBezTo>
                  <a:pt x="471" y="71"/>
                  <a:pt x="471" y="71"/>
                  <a:pt x="471" y="71"/>
                </a:cubicBezTo>
                <a:cubicBezTo>
                  <a:pt x="470" y="72"/>
                  <a:pt x="470" y="72"/>
                  <a:pt x="470" y="72"/>
                </a:cubicBezTo>
                <a:cubicBezTo>
                  <a:pt x="469" y="71"/>
                  <a:pt x="469" y="71"/>
                  <a:pt x="469" y="71"/>
                </a:cubicBezTo>
                <a:cubicBezTo>
                  <a:pt x="467" y="72"/>
                  <a:pt x="467" y="72"/>
                  <a:pt x="467" y="72"/>
                </a:cubicBezTo>
                <a:cubicBezTo>
                  <a:pt x="467" y="72"/>
                  <a:pt x="467" y="72"/>
                  <a:pt x="467" y="72"/>
                </a:cubicBezTo>
                <a:cubicBezTo>
                  <a:pt x="468" y="73"/>
                  <a:pt x="468" y="73"/>
                  <a:pt x="468" y="73"/>
                </a:cubicBezTo>
                <a:cubicBezTo>
                  <a:pt x="468" y="72"/>
                  <a:pt x="468" y="72"/>
                  <a:pt x="468" y="72"/>
                </a:cubicBezTo>
                <a:cubicBezTo>
                  <a:pt x="469" y="72"/>
                  <a:pt x="469" y="72"/>
                  <a:pt x="469" y="72"/>
                </a:cubicBezTo>
                <a:cubicBezTo>
                  <a:pt x="472" y="75"/>
                  <a:pt x="472" y="75"/>
                  <a:pt x="472" y="75"/>
                </a:cubicBezTo>
                <a:cubicBezTo>
                  <a:pt x="472" y="79"/>
                  <a:pt x="472" y="79"/>
                  <a:pt x="472" y="79"/>
                </a:cubicBezTo>
                <a:cubicBezTo>
                  <a:pt x="471" y="79"/>
                  <a:pt x="471" y="79"/>
                  <a:pt x="471" y="79"/>
                </a:cubicBezTo>
                <a:cubicBezTo>
                  <a:pt x="470" y="79"/>
                  <a:pt x="470" y="79"/>
                  <a:pt x="470" y="79"/>
                </a:cubicBezTo>
                <a:cubicBezTo>
                  <a:pt x="469" y="78"/>
                  <a:pt x="469" y="78"/>
                  <a:pt x="469" y="78"/>
                </a:cubicBezTo>
                <a:cubicBezTo>
                  <a:pt x="468" y="78"/>
                  <a:pt x="468" y="78"/>
                  <a:pt x="468" y="78"/>
                </a:cubicBezTo>
                <a:cubicBezTo>
                  <a:pt x="468" y="79"/>
                  <a:pt x="468" y="79"/>
                  <a:pt x="468" y="79"/>
                </a:cubicBezTo>
                <a:cubicBezTo>
                  <a:pt x="468" y="80"/>
                  <a:pt x="468" y="80"/>
                  <a:pt x="468" y="80"/>
                </a:cubicBezTo>
                <a:cubicBezTo>
                  <a:pt x="467" y="78"/>
                  <a:pt x="467" y="78"/>
                  <a:pt x="467" y="78"/>
                </a:cubicBezTo>
                <a:cubicBezTo>
                  <a:pt x="466" y="78"/>
                  <a:pt x="466" y="78"/>
                  <a:pt x="466" y="78"/>
                </a:cubicBezTo>
                <a:cubicBezTo>
                  <a:pt x="465" y="79"/>
                  <a:pt x="465" y="79"/>
                  <a:pt x="465" y="79"/>
                </a:cubicBezTo>
                <a:cubicBezTo>
                  <a:pt x="464" y="79"/>
                  <a:pt x="464" y="79"/>
                  <a:pt x="464" y="79"/>
                </a:cubicBezTo>
                <a:cubicBezTo>
                  <a:pt x="464" y="79"/>
                  <a:pt x="464" y="79"/>
                  <a:pt x="464" y="79"/>
                </a:cubicBezTo>
                <a:cubicBezTo>
                  <a:pt x="462" y="78"/>
                  <a:pt x="462" y="78"/>
                  <a:pt x="462" y="78"/>
                </a:cubicBezTo>
                <a:cubicBezTo>
                  <a:pt x="461" y="77"/>
                  <a:pt x="461" y="77"/>
                  <a:pt x="461" y="77"/>
                </a:cubicBezTo>
                <a:cubicBezTo>
                  <a:pt x="461" y="77"/>
                  <a:pt x="461" y="77"/>
                  <a:pt x="461" y="77"/>
                </a:cubicBezTo>
                <a:cubicBezTo>
                  <a:pt x="460" y="76"/>
                  <a:pt x="460" y="76"/>
                  <a:pt x="460" y="76"/>
                </a:cubicBezTo>
                <a:cubicBezTo>
                  <a:pt x="460" y="76"/>
                  <a:pt x="460" y="76"/>
                  <a:pt x="460" y="76"/>
                </a:cubicBezTo>
                <a:cubicBezTo>
                  <a:pt x="458" y="75"/>
                  <a:pt x="458" y="75"/>
                  <a:pt x="458" y="75"/>
                </a:cubicBezTo>
                <a:cubicBezTo>
                  <a:pt x="457" y="74"/>
                  <a:pt x="457" y="74"/>
                  <a:pt x="457" y="74"/>
                </a:cubicBezTo>
                <a:cubicBezTo>
                  <a:pt x="457" y="75"/>
                  <a:pt x="457" y="75"/>
                  <a:pt x="457" y="75"/>
                </a:cubicBezTo>
                <a:cubicBezTo>
                  <a:pt x="457" y="76"/>
                  <a:pt x="457" y="76"/>
                  <a:pt x="457" y="76"/>
                </a:cubicBezTo>
                <a:cubicBezTo>
                  <a:pt x="458" y="76"/>
                  <a:pt x="458" y="76"/>
                  <a:pt x="458" y="76"/>
                </a:cubicBezTo>
                <a:cubicBezTo>
                  <a:pt x="460" y="77"/>
                  <a:pt x="460" y="77"/>
                  <a:pt x="460" y="77"/>
                </a:cubicBezTo>
                <a:cubicBezTo>
                  <a:pt x="461" y="79"/>
                  <a:pt x="461" y="79"/>
                  <a:pt x="461" y="79"/>
                </a:cubicBezTo>
                <a:cubicBezTo>
                  <a:pt x="460" y="80"/>
                  <a:pt x="460" y="80"/>
                  <a:pt x="460" y="80"/>
                </a:cubicBezTo>
                <a:cubicBezTo>
                  <a:pt x="457" y="79"/>
                  <a:pt x="457" y="79"/>
                  <a:pt x="457" y="79"/>
                </a:cubicBezTo>
                <a:cubicBezTo>
                  <a:pt x="456" y="78"/>
                  <a:pt x="456" y="78"/>
                  <a:pt x="456" y="78"/>
                </a:cubicBezTo>
                <a:cubicBezTo>
                  <a:pt x="456" y="77"/>
                  <a:pt x="456" y="77"/>
                  <a:pt x="456" y="77"/>
                </a:cubicBezTo>
                <a:cubicBezTo>
                  <a:pt x="455" y="76"/>
                  <a:pt x="455" y="76"/>
                  <a:pt x="455" y="76"/>
                </a:cubicBezTo>
                <a:cubicBezTo>
                  <a:pt x="455" y="77"/>
                  <a:pt x="455" y="77"/>
                  <a:pt x="455" y="77"/>
                </a:cubicBezTo>
                <a:cubicBezTo>
                  <a:pt x="455" y="77"/>
                  <a:pt x="455" y="77"/>
                  <a:pt x="455" y="77"/>
                </a:cubicBezTo>
                <a:cubicBezTo>
                  <a:pt x="455" y="78"/>
                  <a:pt x="455" y="78"/>
                  <a:pt x="455" y="78"/>
                </a:cubicBezTo>
                <a:cubicBezTo>
                  <a:pt x="454" y="78"/>
                  <a:pt x="454" y="78"/>
                  <a:pt x="454" y="78"/>
                </a:cubicBezTo>
                <a:cubicBezTo>
                  <a:pt x="453" y="77"/>
                  <a:pt x="453" y="77"/>
                  <a:pt x="453" y="77"/>
                </a:cubicBezTo>
                <a:cubicBezTo>
                  <a:pt x="452" y="77"/>
                  <a:pt x="452" y="77"/>
                  <a:pt x="452" y="77"/>
                </a:cubicBezTo>
                <a:cubicBezTo>
                  <a:pt x="452" y="78"/>
                  <a:pt x="452" y="78"/>
                  <a:pt x="452" y="78"/>
                </a:cubicBezTo>
                <a:cubicBezTo>
                  <a:pt x="454" y="79"/>
                  <a:pt x="454" y="79"/>
                  <a:pt x="454" y="79"/>
                </a:cubicBezTo>
                <a:cubicBezTo>
                  <a:pt x="454" y="80"/>
                  <a:pt x="454" y="80"/>
                  <a:pt x="454" y="80"/>
                </a:cubicBezTo>
                <a:cubicBezTo>
                  <a:pt x="454" y="80"/>
                  <a:pt x="454" y="80"/>
                  <a:pt x="454" y="80"/>
                </a:cubicBezTo>
                <a:cubicBezTo>
                  <a:pt x="455" y="80"/>
                  <a:pt x="455" y="80"/>
                  <a:pt x="455" y="80"/>
                </a:cubicBezTo>
                <a:cubicBezTo>
                  <a:pt x="456" y="80"/>
                  <a:pt x="456" y="80"/>
                  <a:pt x="456" y="80"/>
                </a:cubicBezTo>
                <a:cubicBezTo>
                  <a:pt x="457" y="80"/>
                  <a:pt x="457" y="80"/>
                  <a:pt x="457" y="80"/>
                </a:cubicBezTo>
                <a:cubicBezTo>
                  <a:pt x="458" y="81"/>
                  <a:pt x="458" y="81"/>
                  <a:pt x="458" y="81"/>
                </a:cubicBezTo>
                <a:cubicBezTo>
                  <a:pt x="459" y="82"/>
                  <a:pt x="459" y="82"/>
                  <a:pt x="459" y="82"/>
                </a:cubicBezTo>
                <a:cubicBezTo>
                  <a:pt x="460" y="82"/>
                  <a:pt x="460" y="82"/>
                  <a:pt x="460" y="82"/>
                </a:cubicBezTo>
                <a:cubicBezTo>
                  <a:pt x="461" y="82"/>
                  <a:pt x="461" y="82"/>
                  <a:pt x="461" y="82"/>
                </a:cubicBezTo>
                <a:cubicBezTo>
                  <a:pt x="464" y="82"/>
                  <a:pt x="464" y="82"/>
                  <a:pt x="464" y="82"/>
                </a:cubicBezTo>
                <a:cubicBezTo>
                  <a:pt x="465" y="83"/>
                  <a:pt x="465" y="83"/>
                  <a:pt x="465" y="83"/>
                </a:cubicBezTo>
                <a:cubicBezTo>
                  <a:pt x="464" y="84"/>
                  <a:pt x="464" y="84"/>
                  <a:pt x="464" y="84"/>
                </a:cubicBezTo>
                <a:cubicBezTo>
                  <a:pt x="464" y="85"/>
                  <a:pt x="464" y="85"/>
                  <a:pt x="464" y="85"/>
                </a:cubicBezTo>
                <a:cubicBezTo>
                  <a:pt x="464" y="86"/>
                  <a:pt x="464" y="86"/>
                  <a:pt x="464" y="86"/>
                </a:cubicBezTo>
                <a:cubicBezTo>
                  <a:pt x="464" y="87"/>
                  <a:pt x="464" y="87"/>
                  <a:pt x="464" y="87"/>
                </a:cubicBezTo>
                <a:cubicBezTo>
                  <a:pt x="464" y="88"/>
                  <a:pt x="464" y="88"/>
                  <a:pt x="464" y="88"/>
                </a:cubicBezTo>
                <a:cubicBezTo>
                  <a:pt x="463" y="88"/>
                  <a:pt x="463" y="88"/>
                  <a:pt x="463" y="88"/>
                </a:cubicBezTo>
                <a:cubicBezTo>
                  <a:pt x="462" y="87"/>
                  <a:pt x="462" y="87"/>
                  <a:pt x="462" y="87"/>
                </a:cubicBezTo>
                <a:cubicBezTo>
                  <a:pt x="461" y="86"/>
                  <a:pt x="461" y="86"/>
                  <a:pt x="461" y="86"/>
                </a:cubicBezTo>
                <a:cubicBezTo>
                  <a:pt x="459" y="85"/>
                  <a:pt x="459" y="85"/>
                  <a:pt x="459" y="85"/>
                </a:cubicBezTo>
                <a:cubicBezTo>
                  <a:pt x="458" y="84"/>
                  <a:pt x="458" y="84"/>
                  <a:pt x="458" y="84"/>
                </a:cubicBezTo>
                <a:cubicBezTo>
                  <a:pt x="459" y="83"/>
                  <a:pt x="459" y="83"/>
                  <a:pt x="459" y="83"/>
                </a:cubicBezTo>
                <a:cubicBezTo>
                  <a:pt x="458" y="82"/>
                  <a:pt x="458" y="82"/>
                  <a:pt x="458" y="82"/>
                </a:cubicBezTo>
                <a:cubicBezTo>
                  <a:pt x="456" y="82"/>
                  <a:pt x="456" y="82"/>
                  <a:pt x="456" y="82"/>
                </a:cubicBezTo>
                <a:cubicBezTo>
                  <a:pt x="453" y="81"/>
                  <a:pt x="453" y="81"/>
                  <a:pt x="453" y="81"/>
                </a:cubicBezTo>
                <a:cubicBezTo>
                  <a:pt x="452" y="80"/>
                  <a:pt x="452" y="80"/>
                  <a:pt x="452" y="80"/>
                </a:cubicBezTo>
                <a:cubicBezTo>
                  <a:pt x="451" y="81"/>
                  <a:pt x="451" y="81"/>
                  <a:pt x="451" y="81"/>
                </a:cubicBezTo>
                <a:cubicBezTo>
                  <a:pt x="451" y="81"/>
                  <a:pt x="451" y="81"/>
                  <a:pt x="451" y="81"/>
                </a:cubicBezTo>
                <a:cubicBezTo>
                  <a:pt x="453" y="82"/>
                  <a:pt x="453" y="82"/>
                  <a:pt x="453" y="82"/>
                </a:cubicBezTo>
                <a:cubicBezTo>
                  <a:pt x="455" y="82"/>
                  <a:pt x="455" y="82"/>
                  <a:pt x="455" y="82"/>
                </a:cubicBezTo>
                <a:cubicBezTo>
                  <a:pt x="458" y="83"/>
                  <a:pt x="458" y="83"/>
                  <a:pt x="458" y="83"/>
                </a:cubicBezTo>
                <a:cubicBezTo>
                  <a:pt x="458" y="84"/>
                  <a:pt x="458" y="84"/>
                  <a:pt x="458" y="84"/>
                </a:cubicBezTo>
                <a:cubicBezTo>
                  <a:pt x="457" y="84"/>
                  <a:pt x="457" y="84"/>
                  <a:pt x="457" y="84"/>
                </a:cubicBezTo>
                <a:cubicBezTo>
                  <a:pt x="456" y="84"/>
                  <a:pt x="456" y="84"/>
                  <a:pt x="456" y="84"/>
                </a:cubicBezTo>
                <a:cubicBezTo>
                  <a:pt x="453" y="83"/>
                  <a:pt x="453" y="83"/>
                  <a:pt x="453" y="83"/>
                </a:cubicBezTo>
                <a:cubicBezTo>
                  <a:pt x="452" y="84"/>
                  <a:pt x="452" y="84"/>
                  <a:pt x="452" y="84"/>
                </a:cubicBezTo>
                <a:cubicBezTo>
                  <a:pt x="452" y="83"/>
                  <a:pt x="452" y="83"/>
                  <a:pt x="452" y="83"/>
                </a:cubicBezTo>
                <a:cubicBezTo>
                  <a:pt x="451" y="83"/>
                  <a:pt x="451" y="83"/>
                  <a:pt x="451" y="83"/>
                </a:cubicBezTo>
                <a:cubicBezTo>
                  <a:pt x="449" y="82"/>
                  <a:pt x="449" y="82"/>
                  <a:pt x="449" y="82"/>
                </a:cubicBezTo>
                <a:cubicBezTo>
                  <a:pt x="448" y="82"/>
                  <a:pt x="448" y="82"/>
                  <a:pt x="448" y="82"/>
                </a:cubicBezTo>
                <a:cubicBezTo>
                  <a:pt x="448" y="82"/>
                  <a:pt x="448" y="82"/>
                  <a:pt x="448" y="82"/>
                </a:cubicBezTo>
                <a:cubicBezTo>
                  <a:pt x="450" y="83"/>
                  <a:pt x="450" y="83"/>
                  <a:pt x="450" y="83"/>
                </a:cubicBezTo>
                <a:cubicBezTo>
                  <a:pt x="450" y="84"/>
                  <a:pt x="450" y="84"/>
                  <a:pt x="450" y="84"/>
                </a:cubicBezTo>
                <a:cubicBezTo>
                  <a:pt x="450" y="85"/>
                  <a:pt x="450" y="85"/>
                  <a:pt x="450" y="85"/>
                </a:cubicBezTo>
                <a:cubicBezTo>
                  <a:pt x="451" y="85"/>
                  <a:pt x="451" y="85"/>
                  <a:pt x="451" y="85"/>
                </a:cubicBezTo>
                <a:cubicBezTo>
                  <a:pt x="451" y="85"/>
                  <a:pt x="451" y="85"/>
                  <a:pt x="451" y="85"/>
                </a:cubicBezTo>
                <a:cubicBezTo>
                  <a:pt x="452" y="85"/>
                  <a:pt x="452" y="85"/>
                  <a:pt x="452" y="85"/>
                </a:cubicBezTo>
                <a:cubicBezTo>
                  <a:pt x="453" y="85"/>
                  <a:pt x="453" y="85"/>
                  <a:pt x="453" y="85"/>
                </a:cubicBezTo>
                <a:cubicBezTo>
                  <a:pt x="453" y="84"/>
                  <a:pt x="453" y="84"/>
                  <a:pt x="453" y="84"/>
                </a:cubicBezTo>
                <a:cubicBezTo>
                  <a:pt x="454" y="85"/>
                  <a:pt x="454" y="85"/>
                  <a:pt x="454" y="85"/>
                </a:cubicBezTo>
                <a:cubicBezTo>
                  <a:pt x="455" y="85"/>
                  <a:pt x="455" y="85"/>
                  <a:pt x="455" y="85"/>
                </a:cubicBezTo>
                <a:cubicBezTo>
                  <a:pt x="456" y="85"/>
                  <a:pt x="456" y="85"/>
                  <a:pt x="456" y="85"/>
                </a:cubicBezTo>
                <a:cubicBezTo>
                  <a:pt x="458" y="87"/>
                  <a:pt x="458" y="87"/>
                  <a:pt x="458" y="87"/>
                </a:cubicBezTo>
                <a:cubicBezTo>
                  <a:pt x="458" y="87"/>
                  <a:pt x="458" y="87"/>
                  <a:pt x="458" y="87"/>
                </a:cubicBezTo>
                <a:cubicBezTo>
                  <a:pt x="456" y="87"/>
                  <a:pt x="456" y="87"/>
                  <a:pt x="456" y="87"/>
                </a:cubicBezTo>
                <a:cubicBezTo>
                  <a:pt x="455" y="88"/>
                  <a:pt x="455" y="88"/>
                  <a:pt x="455" y="88"/>
                </a:cubicBezTo>
                <a:cubicBezTo>
                  <a:pt x="455" y="88"/>
                  <a:pt x="455" y="88"/>
                  <a:pt x="455" y="88"/>
                </a:cubicBezTo>
                <a:cubicBezTo>
                  <a:pt x="456" y="88"/>
                  <a:pt x="456" y="88"/>
                  <a:pt x="456" y="88"/>
                </a:cubicBezTo>
                <a:cubicBezTo>
                  <a:pt x="457" y="88"/>
                  <a:pt x="457" y="88"/>
                  <a:pt x="457" y="88"/>
                </a:cubicBezTo>
                <a:cubicBezTo>
                  <a:pt x="458" y="88"/>
                  <a:pt x="458" y="88"/>
                  <a:pt x="458" y="88"/>
                </a:cubicBezTo>
                <a:cubicBezTo>
                  <a:pt x="459" y="89"/>
                  <a:pt x="459" y="89"/>
                  <a:pt x="459" y="89"/>
                </a:cubicBezTo>
                <a:cubicBezTo>
                  <a:pt x="460" y="90"/>
                  <a:pt x="460" y="90"/>
                  <a:pt x="460" y="90"/>
                </a:cubicBezTo>
                <a:cubicBezTo>
                  <a:pt x="460" y="91"/>
                  <a:pt x="460" y="91"/>
                  <a:pt x="460" y="91"/>
                </a:cubicBezTo>
                <a:cubicBezTo>
                  <a:pt x="459" y="93"/>
                  <a:pt x="459" y="93"/>
                  <a:pt x="459" y="93"/>
                </a:cubicBezTo>
                <a:cubicBezTo>
                  <a:pt x="458" y="95"/>
                  <a:pt x="458" y="95"/>
                  <a:pt x="458" y="95"/>
                </a:cubicBezTo>
                <a:cubicBezTo>
                  <a:pt x="458" y="95"/>
                  <a:pt x="458" y="95"/>
                  <a:pt x="458" y="95"/>
                </a:cubicBezTo>
                <a:cubicBezTo>
                  <a:pt x="456" y="97"/>
                  <a:pt x="456" y="97"/>
                  <a:pt x="456" y="97"/>
                </a:cubicBezTo>
                <a:cubicBezTo>
                  <a:pt x="455" y="96"/>
                  <a:pt x="455" y="96"/>
                  <a:pt x="455" y="96"/>
                </a:cubicBezTo>
                <a:cubicBezTo>
                  <a:pt x="454" y="96"/>
                  <a:pt x="454" y="96"/>
                  <a:pt x="454" y="96"/>
                </a:cubicBezTo>
                <a:cubicBezTo>
                  <a:pt x="453" y="96"/>
                  <a:pt x="453" y="96"/>
                  <a:pt x="453" y="96"/>
                </a:cubicBezTo>
                <a:cubicBezTo>
                  <a:pt x="453" y="95"/>
                  <a:pt x="453" y="95"/>
                  <a:pt x="453" y="95"/>
                </a:cubicBezTo>
                <a:cubicBezTo>
                  <a:pt x="452" y="94"/>
                  <a:pt x="452" y="94"/>
                  <a:pt x="452" y="94"/>
                </a:cubicBezTo>
                <a:cubicBezTo>
                  <a:pt x="450" y="94"/>
                  <a:pt x="450" y="94"/>
                  <a:pt x="450" y="94"/>
                </a:cubicBezTo>
                <a:cubicBezTo>
                  <a:pt x="451" y="95"/>
                  <a:pt x="451" y="95"/>
                  <a:pt x="451" y="95"/>
                </a:cubicBezTo>
                <a:cubicBezTo>
                  <a:pt x="452" y="96"/>
                  <a:pt x="452" y="96"/>
                  <a:pt x="452" y="96"/>
                </a:cubicBezTo>
                <a:cubicBezTo>
                  <a:pt x="452" y="96"/>
                  <a:pt x="452" y="96"/>
                  <a:pt x="452" y="96"/>
                </a:cubicBezTo>
                <a:cubicBezTo>
                  <a:pt x="453" y="96"/>
                  <a:pt x="453" y="96"/>
                  <a:pt x="453" y="96"/>
                </a:cubicBezTo>
                <a:cubicBezTo>
                  <a:pt x="455" y="97"/>
                  <a:pt x="455" y="97"/>
                  <a:pt x="455" y="97"/>
                </a:cubicBezTo>
                <a:cubicBezTo>
                  <a:pt x="455" y="99"/>
                  <a:pt x="455" y="99"/>
                  <a:pt x="455" y="99"/>
                </a:cubicBezTo>
                <a:cubicBezTo>
                  <a:pt x="454" y="100"/>
                  <a:pt x="454" y="100"/>
                  <a:pt x="454" y="100"/>
                </a:cubicBezTo>
                <a:cubicBezTo>
                  <a:pt x="453" y="100"/>
                  <a:pt x="453" y="100"/>
                  <a:pt x="453" y="100"/>
                </a:cubicBezTo>
                <a:cubicBezTo>
                  <a:pt x="452" y="101"/>
                  <a:pt x="452" y="101"/>
                  <a:pt x="452" y="101"/>
                </a:cubicBezTo>
                <a:cubicBezTo>
                  <a:pt x="451" y="101"/>
                  <a:pt x="451" y="101"/>
                  <a:pt x="451" y="101"/>
                </a:cubicBezTo>
                <a:cubicBezTo>
                  <a:pt x="449" y="100"/>
                  <a:pt x="449" y="100"/>
                  <a:pt x="449" y="100"/>
                </a:cubicBezTo>
                <a:cubicBezTo>
                  <a:pt x="448" y="100"/>
                  <a:pt x="448" y="100"/>
                  <a:pt x="448" y="100"/>
                </a:cubicBezTo>
                <a:cubicBezTo>
                  <a:pt x="448" y="99"/>
                  <a:pt x="448" y="99"/>
                  <a:pt x="448" y="99"/>
                </a:cubicBezTo>
                <a:cubicBezTo>
                  <a:pt x="446" y="99"/>
                  <a:pt x="446" y="99"/>
                  <a:pt x="446" y="99"/>
                </a:cubicBezTo>
                <a:cubicBezTo>
                  <a:pt x="446" y="100"/>
                  <a:pt x="446" y="100"/>
                  <a:pt x="446" y="100"/>
                </a:cubicBezTo>
                <a:cubicBezTo>
                  <a:pt x="446" y="101"/>
                  <a:pt x="446" y="101"/>
                  <a:pt x="446" y="101"/>
                </a:cubicBezTo>
                <a:cubicBezTo>
                  <a:pt x="450" y="103"/>
                  <a:pt x="450" y="103"/>
                  <a:pt x="450" y="103"/>
                </a:cubicBezTo>
                <a:cubicBezTo>
                  <a:pt x="451" y="103"/>
                  <a:pt x="451" y="103"/>
                  <a:pt x="451" y="103"/>
                </a:cubicBezTo>
                <a:cubicBezTo>
                  <a:pt x="451" y="103"/>
                  <a:pt x="451" y="103"/>
                  <a:pt x="451" y="103"/>
                </a:cubicBezTo>
                <a:cubicBezTo>
                  <a:pt x="450" y="104"/>
                  <a:pt x="450" y="104"/>
                  <a:pt x="450" y="104"/>
                </a:cubicBezTo>
                <a:cubicBezTo>
                  <a:pt x="449" y="105"/>
                  <a:pt x="449" y="105"/>
                  <a:pt x="449" y="105"/>
                </a:cubicBezTo>
                <a:cubicBezTo>
                  <a:pt x="448" y="105"/>
                  <a:pt x="448" y="105"/>
                  <a:pt x="448" y="105"/>
                </a:cubicBezTo>
                <a:cubicBezTo>
                  <a:pt x="447" y="104"/>
                  <a:pt x="447" y="104"/>
                  <a:pt x="447" y="104"/>
                </a:cubicBezTo>
                <a:cubicBezTo>
                  <a:pt x="446" y="104"/>
                  <a:pt x="446" y="104"/>
                  <a:pt x="446" y="104"/>
                </a:cubicBezTo>
                <a:cubicBezTo>
                  <a:pt x="445" y="105"/>
                  <a:pt x="445" y="105"/>
                  <a:pt x="445" y="105"/>
                </a:cubicBezTo>
                <a:cubicBezTo>
                  <a:pt x="443" y="105"/>
                  <a:pt x="443" y="105"/>
                  <a:pt x="443" y="105"/>
                </a:cubicBezTo>
                <a:cubicBezTo>
                  <a:pt x="442" y="104"/>
                  <a:pt x="442" y="104"/>
                  <a:pt x="442" y="104"/>
                </a:cubicBezTo>
                <a:cubicBezTo>
                  <a:pt x="439" y="104"/>
                  <a:pt x="439" y="104"/>
                  <a:pt x="439" y="104"/>
                </a:cubicBezTo>
                <a:cubicBezTo>
                  <a:pt x="438" y="104"/>
                  <a:pt x="438" y="104"/>
                  <a:pt x="438" y="104"/>
                </a:cubicBezTo>
                <a:cubicBezTo>
                  <a:pt x="438" y="106"/>
                  <a:pt x="438" y="106"/>
                  <a:pt x="438" y="106"/>
                </a:cubicBezTo>
                <a:cubicBezTo>
                  <a:pt x="436" y="107"/>
                  <a:pt x="436" y="107"/>
                  <a:pt x="436" y="107"/>
                </a:cubicBezTo>
                <a:cubicBezTo>
                  <a:pt x="437" y="107"/>
                  <a:pt x="437" y="107"/>
                  <a:pt x="437" y="107"/>
                </a:cubicBezTo>
                <a:cubicBezTo>
                  <a:pt x="438" y="108"/>
                  <a:pt x="438" y="108"/>
                  <a:pt x="438" y="108"/>
                </a:cubicBezTo>
                <a:cubicBezTo>
                  <a:pt x="438" y="109"/>
                  <a:pt x="438" y="109"/>
                  <a:pt x="438" y="109"/>
                </a:cubicBezTo>
                <a:cubicBezTo>
                  <a:pt x="436" y="110"/>
                  <a:pt x="436" y="110"/>
                  <a:pt x="436" y="110"/>
                </a:cubicBezTo>
                <a:cubicBezTo>
                  <a:pt x="436" y="111"/>
                  <a:pt x="436" y="111"/>
                  <a:pt x="436" y="111"/>
                </a:cubicBezTo>
                <a:cubicBezTo>
                  <a:pt x="435" y="112"/>
                  <a:pt x="435" y="112"/>
                  <a:pt x="435" y="112"/>
                </a:cubicBezTo>
                <a:cubicBezTo>
                  <a:pt x="434" y="112"/>
                  <a:pt x="434" y="112"/>
                  <a:pt x="434" y="112"/>
                </a:cubicBezTo>
                <a:cubicBezTo>
                  <a:pt x="434" y="112"/>
                  <a:pt x="434" y="112"/>
                  <a:pt x="434" y="112"/>
                </a:cubicBezTo>
                <a:cubicBezTo>
                  <a:pt x="434" y="113"/>
                  <a:pt x="434" y="113"/>
                  <a:pt x="434" y="113"/>
                </a:cubicBezTo>
                <a:cubicBezTo>
                  <a:pt x="432" y="113"/>
                  <a:pt x="432" y="113"/>
                  <a:pt x="432" y="113"/>
                </a:cubicBezTo>
                <a:cubicBezTo>
                  <a:pt x="431" y="113"/>
                  <a:pt x="431" y="113"/>
                  <a:pt x="431" y="113"/>
                </a:cubicBezTo>
                <a:cubicBezTo>
                  <a:pt x="432" y="112"/>
                  <a:pt x="432" y="112"/>
                  <a:pt x="432" y="112"/>
                </a:cubicBezTo>
                <a:cubicBezTo>
                  <a:pt x="431" y="112"/>
                  <a:pt x="431" y="112"/>
                  <a:pt x="431" y="112"/>
                </a:cubicBezTo>
                <a:cubicBezTo>
                  <a:pt x="431" y="113"/>
                  <a:pt x="431" y="113"/>
                  <a:pt x="431" y="113"/>
                </a:cubicBezTo>
                <a:cubicBezTo>
                  <a:pt x="430" y="115"/>
                  <a:pt x="430" y="115"/>
                  <a:pt x="430" y="115"/>
                </a:cubicBezTo>
                <a:cubicBezTo>
                  <a:pt x="429" y="115"/>
                  <a:pt x="429" y="115"/>
                  <a:pt x="429" y="115"/>
                </a:cubicBezTo>
                <a:cubicBezTo>
                  <a:pt x="426" y="114"/>
                  <a:pt x="426" y="114"/>
                  <a:pt x="426" y="114"/>
                </a:cubicBezTo>
                <a:cubicBezTo>
                  <a:pt x="425" y="114"/>
                  <a:pt x="425" y="114"/>
                  <a:pt x="425" y="114"/>
                </a:cubicBezTo>
                <a:cubicBezTo>
                  <a:pt x="424" y="114"/>
                  <a:pt x="424" y="114"/>
                  <a:pt x="424" y="114"/>
                </a:cubicBezTo>
                <a:cubicBezTo>
                  <a:pt x="423" y="114"/>
                  <a:pt x="423" y="114"/>
                  <a:pt x="423" y="114"/>
                </a:cubicBezTo>
                <a:cubicBezTo>
                  <a:pt x="420" y="111"/>
                  <a:pt x="420" y="111"/>
                  <a:pt x="420" y="111"/>
                </a:cubicBezTo>
                <a:cubicBezTo>
                  <a:pt x="420" y="108"/>
                  <a:pt x="420" y="108"/>
                  <a:pt x="420" y="108"/>
                </a:cubicBezTo>
                <a:cubicBezTo>
                  <a:pt x="420" y="107"/>
                  <a:pt x="420" y="107"/>
                  <a:pt x="420" y="107"/>
                </a:cubicBezTo>
                <a:cubicBezTo>
                  <a:pt x="420" y="106"/>
                  <a:pt x="420" y="106"/>
                  <a:pt x="420" y="106"/>
                </a:cubicBezTo>
                <a:cubicBezTo>
                  <a:pt x="420" y="106"/>
                  <a:pt x="420" y="106"/>
                  <a:pt x="420" y="106"/>
                </a:cubicBezTo>
                <a:cubicBezTo>
                  <a:pt x="420" y="105"/>
                  <a:pt x="420" y="105"/>
                  <a:pt x="420" y="105"/>
                </a:cubicBezTo>
                <a:cubicBezTo>
                  <a:pt x="419" y="106"/>
                  <a:pt x="419" y="106"/>
                  <a:pt x="419" y="106"/>
                </a:cubicBezTo>
                <a:cubicBezTo>
                  <a:pt x="419" y="107"/>
                  <a:pt x="419" y="107"/>
                  <a:pt x="419" y="107"/>
                </a:cubicBezTo>
                <a:cubicBezTo>
                  <a:pt x="419" y="109"/>
                  <a:pt x="419" y="109"/>
                  <a:pt x="419" y="109"/>
                </a:cubicBezTo>
                <a:cubicBezTo>
                  <a:pt x="418" y="110"/>
                  <a:pt x="418" y="110"/>
                  <a:pt x="418" y="110"/>
                </a:cubicBezTo>
                <a:cubicBezTo>
                  <a:pt x="419" y="111"/>
                  <a:pt x="419" y="111"/>
                  <a:pt x="419" y="111"/>
                </a:cubicBezTo>
                <a:cubicBezTo>
                  <a:pt x="419" y="112"/>
                  <a:pt x="419" y="112"/>
                  <a:pt x="419" y="112"/>
                </a:cubicBezTo>
                <a:cubicBezTo>
                  <a:pt x="418" y="112"/>
                  <a:pt x="418" y="112"/>
                  <a:pt x="418" y="112"/>
                </a:cubicBezTo>
                <a:cubicBezTo>
                  <a:pt x="416" y="112"/>
                  <a:pt x="416" y="112"/>
                  <a:pt x="416" y="112"/>
                </a:cubicBezTo>
                <a:cubicBezTo>
                  <a:pt x="416" y="112"/>
                  <a:pt x="416" y="112"/>
                  <a:pt x="416" y="112"/>
                </a:cubicBezTo>
                <a:cubicBezTo>
                  <a:pt x="415" y="112"/>
                  <a:pt x="415" y="112"/>
                  <a:pt x="415" y="112"/>
                </a:cubicBezTo>
                <a:cubicBezTo>
                  <a:pt x="416" y="113"/>
                  <a:pt x="416" y="113"/>
                  <a:pt x="416" y="113"/>
                </a:cubicBezTo>
                <a:cubicBezTo>
                  <a:pt x="415" y="115"/>
                  <a:pt x="415" y="115"/>
                  <a:pt x="415" y="115"/>
                </a:cubicBezTo>
                <a:cubicBezTo>
                  <a:pt x="416" y="115"/>
                  <a:pt x="416" y="115"/>
                  <a:pt x="416" y="115"/>
                </a:cubicBezTo>
                <a:cubicBezTo>
                  <a:pt x="418" y="113"/>
                  <a:pt x="418" y="113"/>
                  <a:pt x="418" y="113"/>
                </a:cubicBezTo>
                <a:cubicBezTo>
                  <a:pt x="418" y="113"/>
                  <a:pt x="418" y="113"/>
                  <a:pt x="418" y="113"/>
                </a:cubicBezTo>
                <a:cubicBezTo>
                  <a:pt x="419" y="113"/>
                  <a:pt x="419" y="113"/>
                  <a:pt x="419" y="113"/>
                </a:cubicBezTo>
                <a:cubicBezTo>
                  <a:pt x="420" y="112"/>
                  <a:pt x="420" y="112"/>
                  <a:pt x="420" y="112"/>
                </a:cubicBezTo>
                <a:cubicBezTo>
                  <a:pt x="421" y="113"/>
                  <a:pt x="421" y="113"/>
                  <a:pt x="421" y="113"/>
                </a:cubicBezTo>
                <a:cubicBezTo>
                  <a:pt x="422" y="115"/>
                  <a:pt x="422" y="115"/>
                  <a:pt x="422" y="115"/>
                </a:cubicBezTo>
                <a:cubicBezTo>
                  <a:pt x="422" y="116"/>
                  <a:pt x="422" y="116"/>
                  <a:pt x="422" y="116"/>
                </a:cubicBezTo>
                <a:cubicBezTo>
                  <a:pt x="423" y="115"/>
                  <a:pt x="423" y="115"/>
                  <a:pt x="423" y="115"/>
                </a:cubicBezTo>
                <a:cubicBezTo>
                  <a:pt x="425" y="114"/>
                  <a:pt x="425" y="114"/>
                  <a:pt x="425" y="114"/>
                </a:cubicBezTo>
                <a:cubicBezTo>
                  <a:pt x="427" y="115"/>
                  <a:pt x="427" y="115"/>
                  <a:pt x="427" y="115"/>
                </a:cubicBezTo>
                <a:cubicBezTo>
                  <a:pt x="427" y="116"/>
                  <a:pt x="427" y="116"/>
                  <a:pt x="427" y="116"/>
                </a:cubicBezTo>
                <a:cubicBezTo>
                  <a:pt x="426" y="117"/>
                  <a:pt x="426" y="117"/>
                  <a:pt x="426" y="117"/>
                </a:cubicBezTo>
                <a:cubicBezTo>
                  <a:pt x="426" y="119"/>
                  <a:pt x="426" y="119"/>
                  <a:pt x="426" y="119"/>
                </a:cubicBezTo>
                <a:cubicBezTo>
                  <a:pt x="425" y="119"/>
                  <a:pt x="425" y="119"/>
                  <a:pt x="425" y="119"/>
                </a:cubicBezTo>
                <a:cubicBezTo>
                  <a:pt x="425" y="120"/>
                  <a:pt x="425" y="120"/>
                  <a:pt x="425" y="120"/>
                </a:cubicBezTo>
                <a:cubicBezTo>
                  <a:pt x="425" y="120"/>
                  <a:pt x="425" y="120"/>
                  <a:pt x="425" y="120"/>
                </a:cubicBezTo>
                <a:cubicBezTo>
                  <a:pt x="426" y="120"/>
                  <a:pt x="426" y="120"/>
                  <a:pt x="426" y="120"/>
                </a:cubicBezTo>
                <a:cubicBezTo>
                  <a:pt x="426" y="121"/>
                  <a:pt x="426" y="121"/>
                  <a:pt x="426" y="121"/>
                </a:cubicBezTo>
                <a:cubicBezTo>
                  <a:pt x="425" y="122"/>
                  <a:pt x="425" y="122"/>
                  <a:pt x="425" y="122"/>
                </a:cubicBezTo>
                <a:cubicBezTo>
                  <a:pt x="426" y="122"/>
                  <a:pt x="426" y="122"/>
                  <a:pt x="426" y="122"/>
                </a:cubicBezTo>
                <a:cubicBezTo>
                  <a:pt x="427" y="121"/>
                  <a:pt x="427" y="121"/>
                  <a:pt x="427" y="121"/>
                </a:cubicBezTo>
                <a:cubicBezTo>
                  <a:pt x="428" y="121"/>
                  <a:pt x="428" y="121"/>
                  <a:pt x="428" y="121"/>
                </a:cubicBezTo>
                <a:cubicBezTo>
                  <a:pt x="429" y="120"/>
                  <a:pt x="429" y="120"/>
                  <a:pt x="429" y="120"/>
                </a:cubicBezTo>
                <a:cubicBezTo>
                  <a:pt x="430" y="120"/>
                  <a:pt x="430" y="120"/>
                  <a:pt x="430" y="120"/>
                </a:cubicBezTo>
                <a:cubicBezTo>
                  <a:pt x="430" y="121"/>
                  <a:pt x="430" y="121"/>
                  <a:pt x="430" y="121"/>
                </a:cubicBezTo>
                <a:cubicBezTo>
                  <a:pt x="430" y="122"/>
                  <a:pt x="430" y="122"/>
                  <a:pt x="430" y="122"/>
                </a:cubicBezTo>
                <a:cubicBezTo>
                  <a:pt x="430" y="123"/>
                  <a:pt x="430" y="123"/>
                  <a:pt x="430" y="123"/>
                </a:cubicBezTo>
                <a:cubicBezTo>
                  <a:pt x="430" y="125"/>
                  <a:pt x="430" y="125"/>
                  <a:pt x="430" y="125"/>
                </a:cubicBezTo>
                <a:cubicBezTo>
                  <a:pt x="429" y="127"/>
                  <a:pt x="429" y="127"/>
                  <a:pt x="429" y="127"/>
                </a:cubicBezTo>
                <a:cubicBezTo>
                  <a:pt x="427" y="127"/>
                  <a:pt x="427" y="127"/>
                  <a:pt x="427" y="127"/>
                </a:cubicBezTo>
                <a:cubicBezTo>
                  <a:pt x="426" y="128"/>
                  <a:pt x="426" y="128"/>
                  <a:pt x="426" y="128"/>
                </a:cubicBezTo>
                <a:cubicBezTo>
                  <a:pt x="425" y="129"/>
                  <a:pt x="425" y="129"/>
                  <a:pt x="425" y="129"/>
                </a:cubicBezTo>
                <a:cubicBezTo>
                  <a:pt x="424" y="130"/>
                  <a:pt x="424" y="130"/>
                  <a:pt x="424" y="130"/>
                </a:cubicBezTo>
                <a:cubicBezTo>
                  <a:pt x="424" y="130"/>
                  <a:pt x="424" y="130"/>
                  <a:pt x="424" y="130"/>
                </a:cubicBezTo>
                <a:cubicBezTo>
                  <a:pt x="424" y="128"/>
                  <a:pt x="424" y="128"/>
                  <a:pt x="424" y="128"/>
                </a:cubicBezTo>
                <a:cubicBezTo>
                  <a:pt x="424" y="127"/>
                  <a:pt x="424" y="127"/>
                  <a:pt x="424" y="127"/>
                </a:cubicBezTo>
                <a:cubicBezTo>
                  <a:pt x="424" y="127"/>
                  <a:pt x="424" y="127"/>
                  <a:pt x="424" y="127"/>
                </a:cubicBezTo>
                <a:cubicBezTo>
                  <a:pt x="423" y="127"/>
                  <a:pt x="423" y="127"/>
                  <a:pt x="423" y="127"/>
                </a:cubicBezTo>
                <a:cubicBezTo>
                  <a:pt x="422" y="129"/>
                  <a:pt x="422" y="129"/>
                  <a:pt x="422" y="129"/>
                </a:cubicBezTo>
                <a:cubicBezTo>
                  <a:pt x="421" y="129"/>
                  <a:pt x="421" y="129"/>
                  <a:pt x="421" y="129"/>
                </a:cubicBezTo>
                <a:cubicBezTo>
                  <a:pt x="419" y="131"/>
                  <a:pt x="419" y="131"/>
                  <a:pt x="419" y="131"/>
                </a:cubicBezTo>
                <a:cubicBezTo>
                  <a:pt x="419" y="130"/>
                  <a:pt x="419" y="130"/>
                  <a:pt x="419" y="130"/>
                </a:cubicBezTo>
                <a:cubicBezTo>
                  <a:pt x="418" y="130"/>
                  <a:pt x="418" y="130"/>
                  <a:pt x="418" y="130"/>
                </a:cubicBezTo>
                <a:cubicBezTo>
                  <a:pt x="416" y="132"/>
                  <a:pt x="416" y="132"/>
                  <a:pt x="416" y="132"/>
                </a:cubicBezTo>
                <a:cubicBezTo>
                  <a:pt x="415" y="132"/>
                  <a:pt x="415" y="132"/>
                  <a:pt x="415" y="132"/>
                </a:cubicBezTo>
                <a:cubicBezTo>
                  <a:pt x="414" y="132"/>
                  <a:pt x="414" y="132"/>
                  <a:pt x="414" y="132"/>
                </a:cubicBezTo>
                <a:cubicBezTo>
                  <a:pt x="413" y="132"/>
                  <a:pt x="413" y="132"/>
                  <a:pt x="413" y="132"/>
                </a:cubicBezTo>
                <a:cubicBezTo>
                  <a:pt x="413" y="131"/>
                  <a:pt x="413" y="131"/>
                  <a:pt x="413" y="131"/>
                </a:cubicBezTo>
                <a:cubicBezTo>
                  <a:pt x="412" y="131"/>
                  <a:pt x="412" y="131"/>
                  <a:pt x="412" y="131"/>
                </a:cubicBezTo>
                <a:cubicBezTo>
                  <a:pt x="413" y="130"/>
                  <a:pt x="413" y="130"/>
                  <a:pt x="413" y="130"/>
                </a:cubicBezTo>
                <a:cubicBezTo>
                  <a:pt x="414" y="129"/>
                  <a:pt x="414" y="129"/>
                  <a:pt x="414" y="129"/>
                </a:cubicBezTo>
                <a:cubicBezTo>
                  <a:pt x="414" y="128"/>
                  <a:pt x="414" y="128"/>
                  <a:pt x="414" y="128"/>
                </a:cubicBezTo>
                <a:cubicBezTo>
                  <a:pt x="413" y="126"/>
                  <a:pt x="413" y="126"/>
                  <a:pt x="413" y="126"/>
                </a:cubicBezTo>
                <a:cubicBezTo>
                  <a:pt x="412" y="127"/>
                  <a:pt x="412" y="127"/>
                  <a:pt x="412" y="127"/>
                </a:cubicBezTo>
                <a:cubicBezTo>
                  <a:pt x="410" y="126"/>
                  <a:pt x="410" y="126"/>
                  <a:pt x="410" y="126"/>
                </a:cubicBezTo>
                <a:cubicBezTo>
                  <a:pt x="410" y="125"/>
                  <a:pt x="410" y="125"/>
                  <a:pt x="410" y="125"/>
                </a:cubicBezTo>
                <a:cubicBezTo>
                  <a:pt x="410" y="124"/>
                  <a:pt x="410" y="124"/>
                  <a:pt x="410" y="124"/>
                </a:cubicBezTo>
                <a:cubicBezTo>
                  <a:pt x="411" y="123"/>
                  <a:pt x="411" y="123"/>
                  <a:pt x="411" y="123"/>
                </a:cubicBezTo>
                <a:cubicBezTo>
                  <a:pt x="411" y="123"/>
                  <a:pt x="411" y="123"/>
                  <a:pt x="411" y="123"/>
                </a:cubicBezTo>
                <a:cubicBezTo>
                  <a:pt x="410" y="123"/>
                  <a:pt x="410" y="123"/>
                  <a:pt x="410" y="123"/>
                </a:cubicBezTo>
                <a:cubicBezTo>
                  <a:pt x="409" y="121"/>
                  <a:pt x="409" y="121"/>
                  <a:pt x="409" y="121"/>
                </a:cubicBezTo>
                <a:cubicBezTo>
                  <a:pt x="409" y="120"/>
                  <a:pt x="409" y="120"/>
                  <a:pt x="409" y="120"/>
                </a:cubicBezTo>
                <a:cubicBezTo>
                  <a:pt x="409" y="119"/>
                  <a:pt x="409" y="119"/>
                  <a:pt x="409" y="119"/>
                </a:cubicBezTo>
                <a:cubicBezTo>
                  <a:pt x="409" y="118"/>
                  <a:pt x="409" y="118"/>
                  <a:pt x="409" y="118"/>
                </a:cubicBezTo>
                <a:cubicBezTo>
                  <a:pt x="409" y="119"/>
                  <a:pt x="409" y="119"/>
                  <a:pt x="409" y="119"/>
                </a:cubicBezTo>
                <a:cubicBezTo>
                  <a:pt x="408" y="121"/>
                  <a:pt x="408" y="121"/>
                  <a:pt x="408" y="121"/>
                </a:cubicBezTo>
                <a:cubicBezTo>
                  <a:pt x="409" y="123"/>
                  <a:pt x="409" y="123"/>
                  <a:pt x="409" y="123"/>
                </a:cubicBezTo>
                <a:cubicBezTo>
                  <a:pt x="409" y="124"/>
                  <a:pt x="409" y="124"/>
                  <a:pt x="409" y="124"/>
                </a:cubicBezTo>
                <a:cubicBezTo>
                  <a:pt x="409" y="125"/>
                  <a:pt x="409" y="125"/>
                  <a:pt x="409" y="125"/>
                </a:cubicBezTo>
                <a:cubicBezTo>
                  <a:pt x="409" y="126"/>
                  <a:pt x="409" y="126"/>
                  <a:pt x="409" y="126"/>
                </a:cubicBezTo>
                <a:cubicBezTo>
                  <a:pt x="408" y="127"/>
                  <a:pt x="408" y="127"/>
                  <a:pt x="408" y="127"/>
                </a:cubicBezTo>
                <a:cubicBezTo>
                  <a:pt x="407" y="126"/>
                  <a:pt x="407" y="126"/>
                  <a:pt x="407" y="126"/>
                </a:cubicBezTo>
                <a:cubicBezTo>
                  <a:pt x="406" y="127"/>
                  <a:pt x="406" y="127"/>
                  <a:pt x="406" y="127"/>
                </a:cubicBezTo>
                <a:cubicBezTo>
                  <a:pt x="405" y="126"/>
                  <a:pt x="405" y="126"/>
                  <a:pt x="405" y="126"/>
                </a:cubicBezTo>
                <a:cubicBezTo>
                  <a:pt x="405" y="125"/>
                  <a:pt x="405" y="125"/>
                  <a:pt x="405" y="125"/>
                </a:cubicBezTo>
                <a:cubicBezTo>
                  <a:pt x="405" y="123"/>
                  <a:pt x="405" y="123"/>
                  <a:pt x="405" y="123"/>
                </a:cubicBezTo>
                <a:cubicBezTo>
                  <a:pt x="405" y="121"/>
                  <a:pt x="405" y="121"/>
                  <a:pt x="405" y="121"/>
                </a:cubicBezTo>
                <a:cubicBezTo>
                  <a:pt x="405" y="120"/>
                  <a:pt x="405" y="120"/>
                  <a:pt x="405" y="120"/>
                </a:cubicBezTo>
                <a:cubicBezTo>
                  <a:pt x="406" y="119"/>
                  <a:pt x="406" y="119"/>
                  <a:pt x="406" y="119"/>
                </a:cubicBezTo>
                <a:cubicBezTo>
                  <a:pt x="405" y="119"/>
                  <a:pt x="405" y="119"/>
                  <a:pt x="405" y="119"/>
                </a:cubicBezTo>
                <a:cubicBezTo>
                  <a:pt x="404" y="120"/>
                  <a:pt x="404" y="120"/>
                  <a:pt x="404" y="120"/>
                </a:cubicBezTo>
                <a:cubicBezTo>
                  <a:pt x="404" y="122"/>
                  <a:pt x="404" y="122"/>
                  <a:pt x="404" y="122"/>
                </a:cubicBezTo>
                <a:cubicBezTo>
                  <a:pt x="404" y="123"/>
                  <a:pt x="404" y="123"/>
                  <a:pt x="404" y="123"/>
                </a:cubicBezTo>
                <a:cubicBezTo>
                  <a:pt x="403" y="125"/>
                  <a:pt x="403" y="125"/>
                  <a:pt x="403" y="125"/>
                </a:cubicBezTo>
                <a:cubicBezTo>
                  <a:pt x="402" y="125"/>
                  <a:pt x="402" y="125"/>
                  <a:pt x="402" y="125"/>
                </a:cubicBezTo>
                <a:cubicBezTo>
                  <a:pt x="401" y="125"/>
                  <a:pt x="401" y="125"/>
                  <a:pt x="401" y="125"/>
                </a:cubicBezTo>
                <a:cubicBezTo>
                  <a:pt x="401" y="124"/>
                  <a:pt x="401" y="124"/>
                  <a:pt x="401" y="124"/>
                </a:cubicBezTo>
                <a:cubicBezTo>
                  <a:pt x="401" y="123"/>
                  <a:pt x="401" y="123"/>
                  <a:pt x="401" y="123"/>
                </a:cubicBezTo>
                <a:cubicBezTo>
                  <a:pt x="401" y="122"/>
                  <a:pt x="401" y="122"/>
                  <a:pt x="401" y="122"/>
                </a:cubicBezTo>
                <a:cubicBezTo>
                  <a:pt x="402" y="121"/>
                  <a:pt x="402" y="121"/>
                  <a:pt x="402" y="121"/>
                </a:cubicBezTo>
                <a:cubicBezTo>
                  <a:pt x="402" y="121"/>
                  <a:pt x="402" y="121"/>
                  <a:pt x="402" y="121"/>
                </a:cubicBezTo>
                <a:cubicBezTo>
                  <a:pt x="401" y="119"/>
                  <a:pt x="401" y="119"/>
                  <a:pt x="401" y="119"/>
                </a:cubicBezTo>
                <a:cubicBezTo>
                  <a:pt x="401" y="119"/>
                  <a:pt x="401" y="119"/>
                  <a:pt x="401" y="119"/>
                </a:cubicBezTo>
                <a:cubicBezTo>
                  <a:pt x="401" y="120"/>
                  <a:pt x="401" y="120"/>
                  <a:pt x="401" y="120"/>
                </a:cubicBezTo>
                <a:cubicBezTo>
                  <a:pt x="401" y="121"/>
                  <a:pt x="401" y="121"/>
                  <a:pt x="401" y="121"/>
                </a:cubicBezTo>
                <a:cubicBezTo>
                  <a:pt x="400" y="122"/>
                  <a:pt x="400" y="122"/>
                  <a:pt x="400" y="122"/>
                </a:cubicBezTo>
                <a:cubicBezTo>
                  <a:pt x="400" y="123"/>
                  <a:pt x="400" y="123"/>
                  <a:pt x="400" y="123"/>
                </a:cubicBezTo>
                <a:cubicBezTo>
                  <a:pt x="399" y="123"/>
                  <a:pt x="399" y="123"/>
                  <a:pt x="399" y="123"/>
                </a:cubicBezTo>
                <a:cubicBezTo>
                  <a:pt x="398" y="123"/>
                  <a:pt x="398" y="123"/>
                  <a:pt x="398" y="123"/>
                </a:cubicBezTo>
                <a:cubicBezTo>
                  <a:pt x="398" y="124"/>
                  <a:pt x="398" y="124"/>
                  <a:pt x="398" y="124"/>
                </a:cubicBezTo>
                <a:cubicBezTo>
                  <a:pt x="397" y="124"/>
                  <a:pt x="397" y="124"/>
                  <a:pt x="397" y="124"/>
                </a:cubicBezTo>
                <a:close/>
                <a:moveTo>
                  <a:pt x="431" y="310"/>
                </a:moveTo>
                <a:cubicBezTo>
                  <a:pt x="431" y="312"/>
                  <a:pt x="431" y="312"/>
                  <a:pt x="431" y="312"/>
                </a:cubicBezTo>
                <a:cubicBezTo>
                  <a:pt x="431" y="313"/>
                  <a:pt x="431" y="313"/>
                  <a:pt x="431" y="313"/>
                </a:cubicBezTo>
                <a:cubicBezTo>
                  <a:pt x="431" y="314"/>
                  <a:pt x="431" y="314"/>
                  <a:pt x="431" y="314"/>
                </a:cubicBezTo>
                <a:cubicBezTo>
                  <a:pt x="432" y="314"/>
                  <a:pt x="432" y="314"/>
                  <a:pt x="432" y="314"/>
                </a:cubicBezTo>
                <a:cubicBezTo>
                  <a:pt x="431" y="313"/>
                  <a:pt x="431" y="313"/>
                  <a:pt x="431" y="313"/>
                </a:cubicBezTo>
                <a:cubicBezTo>
                  <a:pt x="432" y="312"/>
                  <a:pt x="432" y="312"/>
                  <a:pt x="432" y="312"/>
                </a:cubicBezTo>
                <a:cubicBezTo>
                  <a:pt x="432" y="310"/>
                  <a:pt x="432" y="310"/>
                  <a:pt x="432" y="310"/>
                </a:cubicBezTo>
                <a:cubicBezTo>
                  <a:pt x="431" y="310"/>
                  <a:pt x="431" y="310"/>
                  <a:pt x="431" y="310"/>
                </a:cubicBezTo>
                <a:close/>
                <a:moveTo>
                  <a:pt x="430" y="303"/>
                </a:moveTo>
                <a:cubicBezTo>
                  <a:pt x="430" y="303"/>
                  <a:pt x="430" y="303"/>
                  <a:pt x="430" y="303"/>
                </a:cubicBezTo>
                <a:cubicBezTo>
                  <a:pt x="430" y="302"/>
                  <a:pt x="430" y="302"/>
                  <a:pt x="430" y="302"/>
                </a:cubicBezTo>
                <a:cubicBezTo>
                  <a:pt x="431" y="303"/>
                  <a:pt x="431" y="303"/>
                  <a:pt x="431" y="303"/>
                </a:cubicBezTo>
                <a:cubicBezTo>
                  <a:pt x="431" y="303"/>
                  <a:pt x="431" y="303"/>
                  <a:pt x="431" y="303"/>
                </a:cubicBezTo>
                <a:cubicBezTo>
                  <a:pt x="430" y="303"/>
                  <a:pt x="430" y="303"/>
                  <a:pt x="430" y="303"/>
                </a:cubicBezTo>
                <a:close/>
                <a:moveTo>
                  <a:pt x="428" y="299"/>
                </a:moveTo>
                <a:cubicBezTo>
                  <a:pt x="429" y="298"/>
                  <a:pt x="429" y="298"/>
                  <a:pt x="429" y="298"/>
                </a:cubicBezTo>
                <a:cubicBezTo>
                  <a:pt x="430" y="298"/>
                  <a:pt x="430" y="298"/>
                  <a:pt x="430" y="298"/>
                </a:cubicBezTo>
                <a:cubicBezTo>
                  <a:pt x="430" y="298"/>
                  <a:pt x="430" y="298"/>
                  <a:pt x="430" y="298"/>
                </a:cubicBezTo>
                <a:cubicBezTo>
                  <a:pt x="429" y="299"/>
                  <a:pt x="429" y="299"/>
                  <a:pt x="429" y="299"/>
                </a:cubicBezTo>
                <a:cubicBezTo>
                  <a:pt x="429" y="299"/>
                  <a:pt x="429" y="299"/>
                  <a:pt x="429" y="299"/>
                </a:cubicBezTo>
                <a:cubicBezTo>
                  <a:pt x="428" y="299"/>
                  <a:pt x="428" y="299"/>
                  <a:pt x="428" y="299"/>
                </a:cubicBezTo>
                <a:close/>
                <a:moveTo>
                  <a:pt x="418" y="206"/>
                </a:moveTo>
                <a:cubicBezTo>
                  <a:pt x="418" y="205"/>
                  <a:pt x="418" y="205"/>
                  <a:pt x="418" y="205"/>
                </a:cubicBezTo>
                <a:cubicBezTo>
                  <a:pt x="419" y="204"/>
                  <a:pt x="419" y="204"/>
                  <a:pt x="419" y="204"/>
                </a:cubicBezTo>
                <a:cubicBezTo>
                  <a:pt x="419" y="205"/>
                  <a:pt x="419" y="205"/>
                  <a:pt x="419" y="205"/>
                </a:cubicBezTo>
                <a:cubicBezTo>
                  <a:pt x="418" y="206"/>
                  <a:pt x="418" y="206"/>
                  <a:pt x="418" y="206"/>
                </a:cubicBezTo>
                <a:close/>
                <a:moveTo>
                  <a:pt x="420" y="207"/>
                </a:moveTo>
                <a:cubicBezTo>
                  <a:pt x="420" y="206"/>
                  <a:pt x="420" y="206"/>
                  <a:pt x="420" y="206"/>
                </a:cubicBezTo>
                <a:cubicBezTo>
                  <a:pt x="420" y="205"/>
                  <a:pt x="420" y="205"/>
                  <a:pt x="420" y="205"/>
                </a:cubicBezTo>
                <a:cubicBezTo>
                  <a:pt x="420" y="205"/>
                  <a:pt x="420" y="205"/>
                  <a:pt x="420" y="205"/>
                </a:cubicBezTo>
                <a:cubicBezTo>
                  <a:pt x="421" y="206"/>
                  <a:pt x="421" y="206"/>
                  <a:pt x="421" y="206"/>
                </a:cubicBezTo>
                <a:cubicBezTo>
                  <a:pt x="421" y="207"/>
                  <a:pt x="421" y="207"/>
                  <a:pt x="421" y="207"/>
                </a:cubicBezTo>
                <a:cubicBezTo>
                  <a:pt x="420" y="207"/>
                  <a:pt x="420" y="207"/>
                  <a:pt x="420" y="207"/>
                </a:cubicBezTo>
                <a:close/>
                <a:moveTo>
                  <a:pt x="418" y="210"/>
                </a:moveTo>
                <a:cubicBezTo>
                  <a:pt x="417" y="209"/>
                  <a:pt x="417" y="209"/>
                  <a:pt x="417" y="209"/>
                </a:cubicBezTo>
                <a:cubicBezTo>
                  <a:pt x="418" y="208"/>
                  <a:pt x="418" y="208"/>
                  <a:pt x="418" y="208"/>
                </a:cubicBezTo>
                <a:cubicBezTo>
                  <a:pt x="418" y="207"/>
                  <a:pt x="418" y="207"/>
                  <a:pt x="418" y="207"/>
                </a:cubicBezTo>
                <a:cubicBezTo>
                  <a:pt x="418" y="207"/>
                  <a:pt x="418" y="207"/>
                  <a:pt x="418" y="207"/>
                </a:cubicBezTo>
                <a:cubicBezTo>
                  <a:pt x="419" y="208"/>
                  <a:pt x="419" y="208"/>
                  <a:pt x="419" y="208"/>
                </a:cubicBezTo>
                <a:cubicBezTo>
                  <a:pt x="419" y="207"/>
                  <a:pt x="419" y="207"/>
                  <a:pt x="419" y="207"/>
                </a:cubicBezTo>
                <a:cubicBezTo>
                  <a:pt x="420" y="208"/>
                  <a:pt x="420" y="208"/>
                  <a:pt x="420" y="208"/>
                </a:cubicBezTo>
                <a:cubicBezTo>
                  <a:pt x="419" y="209"/>
                  <a:pt x="419" y="209"/>
                  <a:pt x="419" y="209"/>
                </a:cubicBezTo>
                <a:cubicBezTo>
                  <a:pt x="418" y="210"/>
                  <a:pt x="418" y="210"/>
                  <a:pt x="418" y="210"/>
                </a:cubicBezTo>
                <a:cubicBezTo>
                  <a:pt x="418" y="210"/>
                  <a:pt x="418" y="210"/>
                  <a:pt x="418" y="210"/>
                </a:cubicBezTo>
                <a:close/>
                <a:moveTo>
                  <a:pt x="437" y="238"/>
                </a:moveTo>
                <a:cubicBezTo>
                  <a:pt x="437" y="237"/>
                  <a:pt x="437" y="237"/>
                  <a:pt x="437" y="237"/>
                </a:cubicBezTo>
                <a:cubicBezTo>
                  <a:pt x="438" y="237"/>
                  <a:pt x="438" y="237"/>
                  <a:pt x="438" y="237"/>
                </a:cubicBezTo>
                <a:cubicBezTo>
                  <a:pt x="438" y="238"/>
                  <a:pt x="438" y="238"/>
                  <a:pt x="438" y="238"/>
                </a:cubicBezTo>
                <a:cubicBezTo>
                  <a:pt x="437" y="238"/>
                  <a:pt x="437" y="238"/>
                  <a:pt x="437" y="238"/>
                </a:cubicBezTo>
                <a:cubicBezTo>
                  <a:pt x="437" y="238"/>
                  <a:pt x="437" y="238"/>
                  <a:pt x="437" y="238"/>
                </a:cubicBezTo>
                <a:close/>
                <a:moveTo>
                  <a:pt x="435" y="237"/>
                </a:moveTo>
                <a:cubicBezTo>
                  <a:pt x="435" y="237"/>
                  <a:pt x="435" y="237"/>
                  <a:pt x="435" y="237"/>
                </a:cubicBezTo>
                <a:cubicBezTo>
                  <a:pt x="436" y="236"/>
                  <a:pt x="436" y="236"/>
                  <a:pt x="436" y="236"/>
                </a:cubicBezTo>
                <a:cubicBezTo>
                  <a:pt x="436" y="236"/>
                  <a:pt x="436" y="236"/>
                  <a:pt x="436" y="236"/>
                </a:cubicBezTo>
                <a:cubicBezTo>
                  <a:pt x="437" y="237"/>
                  <a:pt x="437" y="237"/>
                  <a:pt x="437" y="237"/>
                </a:cubicBezTo>
                <a:cubicBezTo>
                  <a:pt x="436" y="238"/>
                  <a:pt x="436" y="238"/>
                  <a:pt x="436" y="238"/>
                </a:cubicBezTo>
                <a:cubicBezTo>
                  <a:pt x="435" y="238"/>
                  <a:pt x="435" y="238"/>
                  <a:pt x="435" y="238"/>
                </a:cubicBezTo>
                <a:cubicBezTo>
                  <a:pt x="435" y="237"/>
                  <a:pt x="435" y="237"/>
                  <a:pt x="435" y="237"/>
                </a:cubicBezTo>
                <a:close/>
                <a:moveTo>
                  <a:pt x="431" y="250"/>
                </a:moveTo>
                <a:cubicBezTo>
                  <a:pt x="432" y="251"/>
                  <a:pt x="432" y="251"/>
                  <a:pt x="432" y="251"/>
                </a:cubicBezTo>
                <a:cubicBezTo>
                  <a:pt x="432" y="251"/>
                  <a:pt x="432" y="251"/>
                  <a:pt x="432" y="251"/>
                </a:cubicBezTo>
                <a:cubicBezTo>
                  <a:pt x="432" y="250"/>
                  <a:pt x="432" y="250"/>
                  <a:pt x="432" y="250"/>
                </a:cubicBezTo>
                <a:cubicBezTo>
                  <a:pt x="431" y="250"/>
                  <a:pt x="431" y="250"/>
                  <a:pt x="431" y="250"/>
                </a:cubicBezTo>
                <a:close/>
                <a:moveTo>
                  <a:pt x="436" y="256"/>
                </a:moveTo>
                <a:cubicBezTo>
                  <a:pt x="437" y="257"/>
                  <a:pt x="437" y="257"/>
                  <a:pt x="437" y="257"/>
                </a:cubicBezTo>
                <a:cubicBezTo>
                  <a:pt x="438" y="256"/>
                  <a:pt x="438" y="256"/>
                  <a:pt x="438" y="256"/>
                </a:cubicBezTo>
                <a:cubicBezTo>
                  <a:pt x="437" y="256"/>
                  <a:pt x="437" y="256"/>
                  <a:pt x="437" y="256"/>
                </a:cubicBezTo>
                <a:cubicBezTo>
                  <a:pt x="437" y="256"/>
                  <a:pt x="437" y="256"/>
                  <a:pt x="437" y="256"/>
                </a:cubicBezTo>
                <a:cubicBezTo>
                  <a:pt x="437" y="256"/>
                  <a:pt x="436" y="256"/>
                  <a:pt x="436" y="256"/>
                </a:cubicBezTo>
                <a:close/>
                <a:moveTo>
                  <a:pt x="446" y="266"/>
                </a:moveTo>
                <a:cubicBezTo>
                  <a:pt x="445" y="264"/>
                  <a:pt x="445" y="264"/>
                  <a:pt x="445" y="264"/>
                </a:cubicBezTo>
                <a:cubicBezTo>
                  <a:pt x="446" y="263"/>
                  <a:pt x="446" y="263"/>
                  <a:pt x="446" y="263"/>
                </a:cubicBezTo>
                <a:cubicBezTo>
                  <a:pt x="447" y="264"/>
                  <a:pt x="447" y="264"/>
                  <a:pt x="447" y="264"/>
                </a:cubicBezTo>
                <a:cubicBezTo>
                  <a:pt x="447" y="265"/>
                  <a:pt x="447" y="265"/>
                  <a:pt x="447" y="265"/>
                </a:cubicBezTo>
                <a:cubicBezTo>
                  <a:pt x="446" y="266"/>
                  <a:pt x="446" y="266"/>
                  <a:pt x="446" y="266"/>
                </a:cubicBezTo>
                <a:cubicBezTo>
                  <a:pt x="446" y="266"/>
                  <a:pt x="446" y="266"/>
                  <a:pt x="446" y="266"/>
                </a:cubicBezTo>
                <a:close/>
                <a:moveTo>
                  <a:pt x="451" y="272"/>
                </a:moveTo>
                <a:cubicBezTo>
                  <a:pt x="451" y="270"/>
                  <a:pt x="451" y="270"/>
                  <a:pt x="451" y="270"/>
                </a:cubicBezTo>
                <a:cubicBezTo>
                  <a:pt x="452" y="270"/>
                  <a:pt x="452" y="270"/>
                  <a:pt x="452" y="270"/>
                </a:cubicBezTo>
                <a:cubicBezTo>
                  <a:pt x="452" y="270"/>
                  <a:pt x="452" y="270"/>
                  <a:pt x="452" y="270"/>
                </a:cubicBezTo>
                <a:cubicBezTo>
                  <a:pt x="453" y="270"/>
                  <a:pt x="453" y="270"/>
                  <a:pt x="453" y="270"/>
                </a:cubicBezTo>
                <a:cubicBezTo>
                  <a:pt x="452" y="271"/>
                  <a:pt x="452" y="271"/>
                  <a:pt x="452" y="271"/>
                </a:cubicBezTo>
                <a:cubicBezTo>
                  <a:pt x="451" y="271"/>
                  <a:pt x="451" y="271"/>
                  <a:pt x="451" y="271"/>
                </a:cubicBezTo>
                <a:cubicBezTo>
                  <a:pt x="451" y="271"/>
                  <a:pt x="451" y="272"/>
                  <a:pt x="451" y="272"/>
                </a:cubicBezTo>
                <a:close/>
                <a:moveTo>
                  <a:pt x="416" y="138"/>
                </a:moveTo>
                <a:cubicBezTo>
                  <a:pt x="416" y="136"/>
                  <a:pt x="416" y="136"/>
                  <a:pt x="416" y="136"/>
                </a:cubicBezTo>
                <a:cubicBezTo>
                  <a:pt x="416" y="136"/>
                  <a:pt x="416" y="136"/>
                  <a:pt x="416" y="136"/>
                </a:cubicBezTo>
                <a:cubicBezTo>
                  <a:pt x="417" y="135"/>
                  <a:pt x="417" y="135"/>
                  <a:pt x="417" y="135"/>
                </a:cubicBezTo>
                <a:cubicBezTo>
                  <a:pt x="420" y="133"/>
                  <a:pt x="420" y="133"/>
                  <a:pt x="420" y="133"/>
                </a:cubicBezTo>
                <a:cubicBezTo>
                  <a:pt x="421" y="133"/>
                  <a:pt x="421" y="133"/>
                  <a:pt x="421" y="133"/>
                </a:cubicBezTo>
                <a:cubicBezTo>
                  <a:pt x="420" y="134"/>
                  <a:pt x="420" y="134"/>
                  <a:pt x="420" y="134"/>
                </a:cubicBezTo>
                <a:cubicBezTo>
                  <a:pt x="419" y="135"/>
                  <a:pt x="419" y="135"/>
                  <a:pt x="419" y="135"/>
                </a:cubicBezTo>
                <a:cubicBezTo>
                  <a:pt x="418" y="136"/>
                  <a:pt x="418" y="136"/>
                  <a:pt x="418" y="136"/>
                </a:cubicBezTo>
                <a:cubicBezTo>
                  <a:pt x="419" y="137"/>
                  <a:pt x="419" y="137"/>
                  <a:pt x="419" y="137"/>
                </a:cubicBezTo>
                <a:cubicBezTo>
                  <a:pt x="419" y="138"/>
                  <a:pt x="419" y="138"/>
                  <a:pt x="419" y="138"/>
                </a:cubicBezTo>
                <a:cubicBezTo>
                  <a:pt x="418" y="137"/>
                  <a:pt x="418" y="137"/>
                  <a:pt x="418" y="137"/>
                </a:cubicBezTo>
                <a:cubicBezTo>
                  <a:pt x="417" y="137"/>
                  <a:pt x="417" y="137"/>
                  <a:pt x="417" y="137"/>
                </a:cubicBezTo>
                <a:cubicBezTo>
                  <a:pt x="417" y="137"/>
                  <a:pt x="417" y="137"/>
                  <a:pt x="417" y="137"/>
                </a:cubicBezTo>
                <a:cubicBezTo>
                  <a:pt x="416" y="138"/>
                  <a:pt x="416" y="138"/>
                  <a:pt x="416" y="138"/>
                </a:cubicBezTo>
                <a:cubicBezTo>
                  <a:pt x="416" y="138"/>
                  <a:pt x="416" y="138"/>
                  <a:pt x="416" y="138"/>
                </a:cubicBezTo>
                <a:close/>
                <a:moveTo>
                  <a:pt x="410" y="132"/>
                </a:moveTo>
                <a:cubicBezTo>
                  <a:pt x="410" y="132"/>
                  <a:pt x="410" y="132"/>
                  <a:pt x="410" y="132"/>
                </a:cubicBezTo>
                <a:cubicBezTo>
                  <a:pt x="411" y="132"/>
                  <a:pt x="411" y="132"/>
                  <a:pt x="411" y="132"/>
                </a:cubicBezTo>
                <a:cubicBezTo>
                  <a:pt x="411" y="132"/>
                  <a:pt x="411" y="132"/>
                  <a:pt x="411" y="132"/>
                </a:cubicBezTo>
                <a:cubicBezTo>
                  <a:pt x="411" y="131"/>
                  <a:pt x="411" y="131"/>
                  <a:pt x="411" y="131"/>
                </a:cubicBezTo>
                <a:cubicBezTo>
                  <a:pt x="410" y="132"/>
                  <a:pt x="410" y="132"/>
                  <a:pt x="410" y="132"/>
                </a:cubicBezTo>
                <a:close/>
                <a:moveTo>
                  <a:pt x="376" y="117"/>
                </a:moveTo>
                <a:cubicBezTo>
                  <a:pt x="374" y="116"/>
                  <a:pt x="374" y="116"/>
                  <a:pt x="374" y="116"/>
                </a:cubicBezTo>
                <a:cubicBezTo>
                  <a:pt x="374" y="115"/>
                  <a:pt x="374" y="115"/>
                  <a:pt x="374" y="115"/>
                </a:cubicBezTo>
                <a:cubicBezTo>
                  <a:pt x="374" y="113"/>
                  <a:pt x="374" y="113"/>
                  <a:pt x="374" y="113"/>
                </a:cubicBezTo>
                <a:cubicBezTo>
                  <a:pt x="374" y="112"/>
                  <a:pt x="374" y="112"/>
                  <a:pt x="374" y="112"/>
                </a:cubicBezTo>
                <a:cubicBezTo>
                  <a:pt x="374" y="111"/>
                  <a:pt x="374" y="111"/>
                  <a:pt x="374" y="111"/>
                </a:cubicBezTo>
                <a:cubicBezTo>
                  <a:pt x="374" y="110"/>
                  <a:pt x="374" y="110"/>
                  <a:pt x="374" y="110"/>
                </a:cubicBezTo>
                <a:cubicBezTo>
                  <a:pt x="375" y="110"/>
                  <a:pt x="375" y="110"/>
                  <a:pt x="375" y="110"/>
                </a:cubicBezTo>
                <a:cubicBezTo>
                  <a:pt x="377" y="110"/>
                  <a:pt x="377" y="110"/>
                  <a:pt x="377" y="110"/>
                </a:cubicBezTo>
                <a:cubicBezTo>
                  <a:pt x="377" y="112"/>
                  <a:pt x="377" y="112"/>
                  <a:pt x="377" y="112"/>
                </a:cubicBezTo>
                <a:cubicBezTo>
                  <a:pt x="376" y="114"/>
                  <a:pt x="376" y="114"/>
                  <a:pt x="376" y="114"/>
                </a:cubicBezTo>
                <a:cubicBezTo>
                  <a:pt x="376" y="115"/>
                  <a:pt x="376" y="115"/>
                  <a:pt x="376" y="115"/>
                </a:cubicBezTo>
                <a:cubicBezTo>
                  <a:pt x="376" y="116"/>
                  <a:pt x="376" y="116"/>
                  <a:pt x="376" y="116"/>
                </a:cubicBezTo>
                <a:cubicBezTo>
                  <a:pt x="376" y="117"/>
                  <a:pt x="376" y="117"/>
                  <a:pt x="376" y="117"/>
                </a:cubicBezTo>
                <a:cubicBezTo>
                  <a:pt x="376" y="117"/>
                  <a:pt x="376" y="117"/>
                  <a:pt x="376" y="117"/>
                </a:cubicBezTo>
                <a:close/>
                <a:moveTo>
                  <a:pt x="375" y="47"/>
                </a:moveTo>
                <a:cubicBezTo>
                  <a:pt x="377" y="46"/>
                  <a:pt x="377" y="46"/>
                  <a:pt x="377" y="46"/>
                </a:cubicBezTo>
                <a:cubicBezTo>
                  <a:pt x="378" y="44"/>
                  <a:pt x="378" y="44"/>
                  <a:pt x="378" y="44"/>
                </a:cubicBezTo>
                <a:cubicBezTo>
                  <a:pt x="378" y="43"/>
                  <a:pt x="378" y="43"/>
                  <a:pt x="378" y="43"/>
                </a:cubicBezTo>
                <a:cubicBezTo>
                  <a:pt x="379" y="42"/>
                  <a:pt x="379" y="42"/>
                  <a:pt x="379" y="42"/>
                </a:cubicBezTo>
                <a:cubicBezTo>
                  <a:pt x="380" y="40"/>
                  <a:pt x="380" y="40"/>
                  <a:pt x="380" y="40"/>
                </a:cubicBezTo>
                <a:cubicBezTo>
                  <a:pt x="380" y="39"/>
                  <a:pt x="380" y="39"/>
                  <a:pt x="380" y="39"/>
                </a:cubicBezTo>
                <a:cubicBezTo>
                  <a:pt x="378" y="39"/>
                  <a:pt x="378" y="39"/>
                  <a:pt x="378" y="39"/>
                </a:cubicBezTo>
                <a:cubicBezTo>
                  <a:pt x="377" y="39"/>
                  <a:pt x="377" y="39"/>
                  <a:pt x="377" y="39"/>
                </a:cubicBezTo>
                <a:cubicBezTo>
                  <a:pt x="378" y="38"/>
                  <a:pt x="378" y="38"/>
                  <a:pt x="378" y="38"/>
                </a:cubicBezTo>
                <a:cubicBezTo>
                  <a:pt x="377" y="38"/>
                  <a:pt x="377" y="38"/>
                  <a:pt x="377" y="38"/>
                </a:cubicBezTo>
                <a:cubicBezTo>
                  <a:pt x="376" y="39"/>
                  <a:pt x="376" y="39"/>
                  <a:pt x="376" y="39"/>
                </a:cubicBezTo>
                <a:cubicBezTo>
                  <a:pt x="374" y="40"/>
                  <a:pt x="374" y="40"/>
                  <a:pt x="374" y="40"/>
                </a:cubicBezTo>
                <a:cubicBezTo>
                  <a:pt x="374" y="41"/>
                  <a:pt x="374" y="41"/>
                  <a:pt x="374" y="41"/>
                </a:cubicBezTo>
                <a:cubicBezTo>
                  <a:pt x="373" y="41"/>
                  <a:pt x="373" y="41"/>
                  <a:pt x="373" y="41"/>
                </a:cubicBezTo>
                <a:cubicBezTo>
                  <a:pt x="373" y="42"/>
                  <a:pt x="373" y="42"/>
                  <a:pt x="373" y="42"/>
                </a:cubicBezTo>
                <a:cubicBezTo>
                  <a:pt x="375" y="43"/>
                  <a:pt x="375" y="43"/>
                  <a:pt x="375" y="43"/>
                </a:cubicBezTo>
                <a:cubicBezTo>
                  <a:pt x="376" y="42"/>
                  <a:pt x="376" y="42"/>
                  <a:pt x="376" y="42"/>
                </a:cubicBezTo>
                <a:cubicBezTo>
                  <a:pt x="376" y="44"/>
                  <a:pt x="376" y="44"/>
                  <a:pt x="376" y="44"/>
                </a:cubicBezTo>
                <a:cubicBezTo>
                  <a:pt x="375" y="45"/>
                  <a:pt x="375" y="45"/>
                  <a:pt x="375" y="45"/>
                </a:cubicBezTo>
                <a:cubicBezTo>
                  <a:pt x="375" y="46"/>
                  <a:pt x="375" y="46"/>
                  <a:pt x="375" y="46"/>
                </a:cubicBezTo>
                <a:cubicBezTo>
                  <a:pt x="375" y="46"/>
                  <a:pt x="375" y="46"/>
                  <a:pt x="375" y="46"/>
                </a:cubicBezTo>
                <a:cubicBezTo>
                  <a:pt x="375" y="47"/>
                  <a:pt x="375" y="47"/>
                  <a:pt x="375" y="47"/>
                </a:cubicBezTo>
                <a:close/>
                <a:moveTo>
                  <a:pt x="359" y="85"/>
                </a:moveTo>
                <a:cubicBezTo>
                  <a:pt x="359" y="83"/>
                  <a:pt x="359" y="83"/>
                  <a:pt x="359" y="83"/>
                </a:cubicBezTo>
                <a:cubicBezTo>
                  <a:pt x="360" y="82"/>
                  <a:pt x="360" y="82"/>
                  <a:pt x="360" y="82"/>
                </a:cubicBezTo>
                <a:cubicBezTo>
                  <a:pt x="359" y="82"/>
                  <a:pt x="359" y="82"/>
                  <a:pt x="359" y="82"/>
                </a:cubicBezTo>
                <a:cubicBezTo>
                  <a:pt x="359" y="80"/>
                  <a:pt x="359" y="80"/>
                  <a:pt x="359" y="80"/>
                </a:cubicBezTo>
                <a:cubicBezTo>
                  <a:pt x="358" y="80"/>
                  <a:pt x="358" y="80"/>
                  <a:pt x="358" y="80"/>
                </a:cubicBezTo>
                <a:cubicBezTo>
                  <a:pt x="359" y="79"/>
                  <a:pt x="359" y="79"/>
                  <a:pt x="359" y="79"/>
                </a:cubicBezTo>
                <a:cubicBezTo>
                  <a:pt x="359" y="78"/>
                  <a:pt x="359" y="78"/>
                  <a:pt x="359" y="78"/>
                </a:cubicBezTo>
                <a:cubicBezTo>
                  <a:pt x="360" y="78"/>
                  <a:pt x="360" y="78"/>
                  <a:pt x="360" y="78"/>
                </a:cubicBezTo>
                <a:cubicBezTo>
                  <a:pt x="362" y="79"/>
                  <a:pt x="362" y="79"/>
                  <a:pt x="362" y="79"/>
                </a:cubicBezTo>
                <a:cubicBezTo>
                  <a:pt x="362" y="79"/>
                  <a:pt x="362" y="79"/>
                  <a:pt x="362" y="79"/>
                </a:cubicBezTo>
                <a:cubicBezTo>
                  <a:pt x="362" y="78"/>
                  <a:pt x="362" y="78"/>
                  <a:pt x="362" y="78"/>
                </a:cubicBezTo>
                <a:cubicBezTo>
                  <a:pt x="361" y="76"/>
                  <a:pt x="361" y="76"/>
                  <a:pt x="361" y="76"/>
                </a:cubicBezTo>
                <a:cubicBezTo>
                  <a:pt x="360" y="76"/>
                  <a:pt x="360" y="76"/>
                  <a:pt x="360" y="76"/>
                </a:cubicBezTo>
                <a:cubicBezTo>
                  <a:pt x="360" y="75"/>
                  <a:pt x="360" y="75"/>
                  <a:pt x="360" y="75"/>
                </a:cubicBezTo>
                <a:cubicBezTo>
                  <a:pt x="361" y="75"/>
                  <a:pt x="361" y="75"/>
                  <a:pt x="361" y="75"/>
                </a:cubicBezTo>
                <a:cubicBezTo>
                  <a:pt x="360" y="74"/>
                  <a:pt x="360" y="74"/>
                  <a:pt x="360" y="74"/>
                </a:cubicBezTo>
                <a:cubicBezTo>
                  <a:pt x="361" y="72"/>
                  <a:pt x="361" y="72"/>
                  <a:pt x="361" y="72"/>
                </a:cubicBezTo>
                <a:cubicBezTo>
                  <a:pt x="361" y="70"/>
                  <a:pt x="361" y="70"/>
                  <a:pt x="361" y="70"/>
                </a:cubicBezTo>
                <a:cubicBezTo>
                  <a:pt x="362" y="69"/>
                  <a:pt x="362" y="69"/>
                  <a:pt x="362" y="69"/>
                </a:cubicBezTo>
                <a:cubicBezTo>
                  <a:pt x="362" y="69"/>
                  <a:pt x="362" y="69"/>
                  <a:pt x="362" y="69"/>
                </a:cubicBezTo>
                <a:cubicBezTo>
                  <a:pt x="363" y="68"/>
                  <a:pt x="363" y="68"/>
                  <a:pt x="363" y="68"/>
                </a:cubicBezTo>
                <a:cubicBezTo>
                  <a:pt x="363" y="66"/>
                  <a:pt x="363" y="66"/>
                  <a:pt x="363" y="66"/>
                </a:cubicBezTo>
                <a:cubicBezTo>
                  <a:pt x="364" y="66"/>
                  <a:pt x="364" y="66"/>
                  <a:pt x="364" y="66"/>
                </a:cubicBezTo>
                <a:cubicBezTo>
                  <a:pt x="366" y="64"/>
                  <a:pt x="366" y="64"/>
                  <a:pt x="366" y="64"/>
                </a:cubicBezTo>
                <a:cubicBezTo>
                  <a:pt x="367" y="64"/>
                  <a:pt x="367" y="64"/>
                  <a:pt x="367" y="64"/>
                </a:cubicBezTo>
                <a:cubicBezTo>
                  <a:pt x="369" y="66"/>
                  <a:pt x="369" y="66"/>
                  <a:pt x="369" y="66"/>
                </a:cubicBezTo>
                <a:cubicBezTo>
                  <a:pt x="369" y="68"/>
                  <a:pt x="369" y="68"/>
                  <a:pt x="369" y="68"/>
                </a:cubicBezTo>
                <a:cubicBezTo>
                  <a:pt x="369" y="69"/>
                  <a:pt x="369" y="69"/>
                  <a:pt x="369" y="69"/>
                </a:cubicBezTo>
                <a:cubicBezTo>
                  <a:pt x="369" y="69"/>
                  <a:pt x="369" y="69"/>
                  <a:pt x="369" y="69"/>
                </a:cubicBezTo>
                <a:cubicBezTo>
                  <a:pt x="370" y="70"/>
                  <a:pt x="370" y="70"/>
                  <a:pt x="370" y="70"/>
                </a:cubicBezTo>
                <a:cubicBezTo>
                  <a:pt x="370" y="71"/>
                  <a:pt x="370" y="71"/>
                  <a:pt x="370" y="71"/>
                </a:cubicBezTo>
                <a:cubicBezTo>
                  <a:pt x="371" y="71"/>
                  <a:pt x="371" y="71"/>
                  <a:pt x="371" y="71"/>
                </a:cubicBezTo>
                <a:cubicBezTo>
                  <a:pt x="371" y="72"/>
                  <a:pt x="371" y="72"/>
                  <a:pt x="371" y="72"/>
                </a:cubicBezTo>
                <a:cubicBezTo>
                  <a:pt x="372" y="73"/>
                  <a:pt x="372" y="73"/>
                  <a:pt x="372" y="73"/>
                </a:cubicBezTo>
                <a:cubicBezTo>
                  <a:pt x="373" y="74"/>
                  <a:pt x="373" y="74"/>
                  <a:pt x="373" y="74"/>
                </a:cubicBezTo>
                <a:cubicBezTo>
                  <a:pt x="373" y="74"/>
                  <a:pt x="373" y="74"/>
                  <a:pt x="373" y="74"/>
                </a:cubicBezTo>
                <a:cubicBezTo>
                  <a:pt x="373" y="75"/>
                  <a:pt x="373" y="75"/>
                  <a:pt x="373" y="75"/>
                </a:cubicBezTo>
                <a:cubicBezTo>
                  <a:pt x="374" y="78"/>
                  <a:pt x="374" y="78"/>
                  <a:pt x="374" y="78"/>
                </a:cubicBezTo>
                <a:cubicBezTo>
                  <a:pt x="373" y="79"/>
                  <a:pt x="373" y="79"/>
                  <a:pt x="373" y="79"/>
                </a:cubicBezTo>
                <a:cubicBezTo>
                  <a:pt x="372" y="79"/>
                  <a:pt x="372" y="79"/>
                  <a:pt x="372" y="79"/>
                </a:cubicBezTo>
                <a:cubicBezTo>
                  <a:pt x="371" y="79"/>
                  <a:pt x="371" y="79"/>
                  <a:pt x="371" y="79"/>
                </a:cubicBezTo>
                <a:cubicBezTo>
                  <a:pt x="370" y="80"/>
                  <a:pt x="370" y="80"/>
                  <a:pt x="370" y="80"/>
                </a:cubicBezTo>
                <a:cubicBezTo>
                  <a:pt x="371" y="80"/>
                  <a:pt x="371" y="80"/>
                  <a:pt x="371" y="80"/>
                </a:cubicBezTo>
                <a:cubicBezTo>
                  <a:pt x="371" y="80"/>
                  <a:pt x="371" y="80"/>
                  <a:pt x="371" y="80"/>
                </a:cubicBezTo>
                <a:cubicBezTo>
                  <a:pt x="372" y="82"/>
                  <a:pt x="372" y="82"/>
                  <a:pt x="372" y="82"/>
                </a:cubicBezTo>
                <a:cubicBezTo>
                  <a:pt x="371" y="83"/>
                  <a:pt x="371" y="83"/>
                  <a:pt x="371" y="83"/>
                </a:cubicBezTo>
                <a:cubicBezTo>
                  <a:pt x="369" y="85"/>
                  <a:pt x="369" y="85"/>
                  <a:pt x="369" y="85"/>
                </a:cubicBezTo>
                <a:cubicBezTo>
                  <a:pt x="369" y="85"/>
                  <a:pt x="369" y="85"/>
                  <a:pt x="369" y="85"/>
                </a:cubicBezTo>
                <a:cubicBezTo>
                  <a:pt x="368" y="85"/>
                  <a:pt x="368" y="85"/>
                  <a:pt x="368" y="85"/>
                </a:cubicBezTo>
                <a:cubicBezTo>
                  <a:pt x="368" y="84"/>
                  <a:pt x="368" y="84"/>
                  <a:pt x="368" y="84"/>
                </a:cubicBezTo>
                <a:cubicBezTo>
                  <a:pt x="367" y="84"/>
                  <a:pt x="367" y="84"/>
                  <a:pt x="367" y="84"/>
                </a:cubicBezTo>
                <a:cubicBezTo>
                  <a:pt x="366" y="85"/>
                  <a:pt x="366" y="85"/>
                  <a:pt x="366" y="85"/>
                </a:cubicBezTo>
                <a:cubicBezTo>
                  <a:pt x="365" y="84"/>
                  <a:pt x="365" y="84"/>
                  <a:pt x="365" y="84"/>
                </a:cubicBezTo>
                <a:cubicBezTo>
                  <a:pt x="363" y="85"/>
                  <a:pt x="363" y="85"/>
                  <a:pt x="363" y="85"/>
                </a:cubicBezTo>
                <a:cubicBezTo>
                  <a:pt x="362" y="85"/>
                  <a:pt x="362" y="85"/>
                  <a:pt x="362" y="85"/>
                </a:cubicBezTo>
                <a:cubicBezTo>
                  <a:pt x="362" y="84"/>
                  <a:pt x="362" y="84"/>
                  <a:pt x="362" y="84"/>
                </a:cubicBezTo>
                <a:cubicBezTo>
                  <a:pt x="361" y="83"/>
                  <a:pt x="361" y="83"/>
                  <a:pt x="361" y="83"/>
                </a:cubicBezTo>
                <a:cubicBezTo>
                  <a:pt x="361" y="84"/>
                  <a:pt x="361" y="84"/>
                  <a:pt x="361" y="84"/>
                </a:cubicBezTo>
                <a:cubicBezTo>
                  <a:pt x="359" y="85"/>
                  <a:pt x="359" y="85"/>
                  <a:pt x="359" y="85"/>
                </a:cubicBezTo>
                <a:close/>
                <a:moveTo>
                  <a:pt x="374" y="83"/>
                </a:moveTo>
                <a:cubicBezTo>
                  <a:pt x="374" y="83"/>
                  <a:pt x="374" y="83"/>
                  <a:pt x="374" y="83"/>
                </a:cubicBezTo>
                <a:cubicBezTo>
                  <a:pt x="375" y="82"/>
                  <a:pt x="375" y="82"/>
                  <a:pt x="375" y="82"/>
                </a:cubicBezTo>
                <a:cubicBezTo>
                  <a:pt x="374" y="80"/>
                  <a:pt x="374" y="80"/>
                  <a:pt x="374" y="80"/>
                </a:cubicBezTo>
                <a:cubicBezTo>
                  <a:pt x="374" y="80"/>
                  <a:pt x="374" y="80"/>
                  <a:pt x="374" y="80"/>
                </a:cubicBezTo>
                <a:cubicBezTo>
                  <a:pt x="373" y="80"/>
                  <a:pt x="373" y="80"/>
                  <a:pt x="373" y="80"/>
                </a:cubicBezTo>
                <a:cubicBezTo>
                  <a:pt x="373" y="82"/>
                  <a:pt x="373" y="82"/>
                  <a:pt x="373" y="82"/>
                </a:cubicBezTo>
                <a:cubicBezTo>
                  <a:pt x="374" y="83"/>
                  <a:pt x="374" y="83"/>
                  <a:pt x="374" y="83"/>
                </a:cubicBezTo>
                <a:close/>
                <a:moveTo>
                  <a:pt x="378" y="102"/>
                </a:moveTo>
                <a:cubicBezTo>
                  <a:pt x="378" y="103"/>
                  <a:pt x="378" y="103"/>
                  <a:pt x="378" y="103"/>
                </a:cubicBezTo>
                <a:cubicBezTo>
                  <a:pt x="379" y="104"/>
                  <a:pt x="379" y="104"/>
                  <a:pt x="379" y="104"/>
                </a:cubicBezTo>
                <a:cubicBezTo>
                  <a:pt x="381" y="104"/>
                  <a:pt x="381" y="104"/>
                  <a:pt x="381" y="104"/>
                </a:cubicBezTo>
                <a:cubicBezTo>
                  <a:pt x="382" y="103"/>
                  <a:pt x="382" y="103"/>
                  <a:pt x="382" y="103"/>
                </a:cubicBezTo>
                <a:cubicBezTo>
                  <a:pt x="383" y="101"/>
                  <a:pt x="383" y="101"/>
                  <a:pt x="383" y="101"/>
                </a:cubicBezTo>
                <a:cubicBezTo>
                  <a:pt x="383" y="100"/>
                  <a:pt x="383" y="100"/>
                  <a:pt x="383" y="100"/>
                </a:cubicBezTo>
                <a:cubicBezTo>
                  <a:pt x="383" y="100"/>
                  <a:pt x="383" y="100"/>
                  <a:pt x="383" y="100"/>
                </a:cubicBezTo>
                <a:cubicBezTo>
                  <a:pt x="383" y="99"/>
                  <a:pt x="383" y="99"/>
                  <a:pt x="383" y="99"/>
                </a:cubicBezTo>
                <a:cubicBezTo>
                  <a:pt x="382" y="98"/>
                  <a:pt x="382" y="98"/>
                  <a:pt x="382" y="98"/>
                </a:cubicBezTo>
                <a:cubicBezTo>
                  <a:pt x="381" y="98"/>
                  <a:pt x="381" y="98"/>
                  <a:pt x="381" y="98"/>
                </a:cubicBezTo>
                <a:cubicBezTo>
                  <a:pt x="381" y="97"/>
                  <a:pt x="381" y="97"/>
                  <a:pt x="381" y="97"/>
                </a:cubicBezTo>
                <a:cubicBezTo>
                  <a:pt x="380" y="97"/>
                  <a:pt x="380" y="97"/>
                  <a:pt x="380" y="97"/>
                </a:cubicBezTo>
                <a:cubicBezTo>
                  <a:pt x="379" y="98"/>
                  <a:pt x="379" y="98"/>
                  <a:pt x="379" y="98"/>
                </a:cubicBezTo>
                <a:cubicBezTo>
                  <a:pt x="378" y="99"/>
                  <a:pt x="378" y="99"/>
                  <a:pt x="378" y="99"/>
                </a:cubicBezTo>
                <a:cubicBezTo>
                  <a:pt x="378" y="101"/>
                  <a:pt x="378" y="101"/>
                  <a:pt x="378" y="101"/>
                </a:cubicBezTo>
                <a:cubicBezTo>
                  <a:pt x="378" y="102"/>
                  <a:pt x="378" y="102"/>
                  <a:pt x="378" y="102"/>
                </a:cubicBezTo>
                <a:close/>
                <a:moveTo>
                  <a:pt x="377" y="102"/>
                </a:moveTo>
                <a:cubicBezTo>
                  <a:pt x="377" y="103"/>
                  <a:pt x="377" y="103"/>
                  <a:pt x="377" y="103"/>
                </a:cubicBezTo>
                <a:cubicBezTo>
                  <a:pt x="377" y="104"/>
                  <a:pt x="377" y="104"/>
                  <a:pt x="377" y="104"/>
                </a:cubicBezTo>
                <a:cubicBezTo>
                  <a:pt x="377" y="105"/>
                  <a:pt x="377" y="105"/>
                  <a:pt x="377" y="105"/>
                </a:cubicBezTo>
                <a:cubicBezTo>
                  <a:pt x="378" y="104"/>
                  <a:pt x="378" y="104"/>
                  <a:pt x="378" y="104"/>
                </a:cubicBezTo>
                <a:cubicBezTo>
                  <a:pt x="378" y="103"/>
                  <a:pt x="378" y="103"/>
                  <a:pt x="378" y="103"/>
                </a:cubicBezTo>
                <a:cubicBezTo>
                  <a:pt x="377" y="103"/>
                  <a:pt x="377" y="103"/>
                  <a:pt x="377" y="103"/>
                </a:cubicBezTo>
                <a:cubicBezTo>
                  <a:pt x="377" y="102"/>
                  <a:pt x="377" y="102"/>
                  <a:pt x="377" y="102"/>
                </a:cubicBezTo>
                <a:cubicBezTo>
                  <a:pt x="377" y="102"/>
                  <a:pt x="377" y="102"/>
                  <a:pt x="377" y="102"/>
                </a:cubicBezTo>
                <a:close/>
                <a:moveTo>
                  <a:pt x="358" y="93"/>
                </a:moveTo>
                <a:cubicBezTo>
                  <a:pt x="358" y="91"/>
                  <a:pt x="358" y="91"/>
                  <a:pt x="358" y="91"/>
                </a:cubicBezTo>
                <a:cubicBezTo>
                  <a:pt x="359" y="89"/>
                  <a:pt x="359" y="89"/>
                  <a:pt x="359" y="89"/>
                </a:cubicBezTo>
                <a:cubicBezTo>
                  <a:pt x="360" y="88"/>
                  <a:pt x="360" y="88"/>
                  <a:pt x="360" y="88"/>
                </a:cubicBezTo>
                <a:cubicBezTo>
                  <a:pt x="361" y="88"/>
                  <a:pt x="361" y="88"/>
                  <a:pt x="361" y="88"/>
                </a:cubicBezTo>
                <a:cubicBezTo>
                  <a:pt x="362" y="88"/>
                  <a:pt x="362" y="88"/>
                  <a:pt x="362" y="88"/>
                </a:cubicBezTo>
                <a:cubicBezTo>
                  <a:pt x="363" y="88"/>
                  <a:pt x="363" y="88"/>
                  <a:pt x="363" y="88"/>
                </a:cubicBezTo>
                <a:cubicBezTo>
                  <a:pt x="364" y="88"/>
                  <a:pt x="364" y="88"/>
                  <a:pt x="364" y="88"/>
                </a:cubicBezTo>
                <a:cubicBezTo>
                  <a:pt x="364" y="88"/>
                  <a:pt x="364" y="88"/>
                  <a:pt x="364" y="88"/>
                </a:cubicBezTo>
                <a:cubicBezTo>
                  <a:pt x="365" y="89"/>
                  <a:pt x="365" y="89"/>
                  <a:pt x="365" y="89"/>
                </a:cubicBezTo>
                <a:cubicBezTo>
                  <a:pt x="366" y="89"/>
                  <a:pt x="366" y="89"/>
                  <a:pt x="366" y="89"/>
                </a:cubicBezTo>
                <a:cubicBezTo>
                  <a:pt x="366" y="88"/>
                  <a:pt x="366" y="88"/>
                  <a:pt x="366" y="88"/>
                </a:cubicBezTo>
                <a:cubicBezTo>
                  <a:pt x="367" y="89"/>
                  <a:pt x="367" y="89"/>
                  <a:pt x="367" y="89"/>
                </a:cubicBezTo>
                <a:cubicBezTo>
                  <a:pt x="368" y="89"/>
                  <a:pt x="368" y="89"/>
                  <a:pt x="368" y="89"/>
                </a:cubicBezTo>
                <a:cubicBezTo>
                  <a:pt x="369" y="91"/>
                  <a:pt x="369" y="91"/>
                  <a:pt x="369" y="91"/>
                </a:cubicBezTo>
                <a:cubicBezTo>
                  <a:pt x="370" y="91"/>
                  <a:pt x="370" y="91"/>
                  <a:pt x="370" y="91"/>
                </a:cubicBezTo>
                <a:cubicBezTo>
                  <a:pt x="370" y="92"/>
                  <a:pt x="370" y="92"/>
                  <a:pt x="370" y="92"/>
                </a:cubicBezTo>
                <a:cubicBezTo>
                  <a:pt x="370" y="92"/>
                  <a:pt x="370" y="92"/>
                  <a:pt x="370" y="92"/>
                </a:cubicBezTo>
                <a:cubicBezTo>
                  <a:pt x="371" y="92"/>
                  <a:pt x="371" y="92"/>
                  <a:pt x="371" y="92"/>
                </a:cubicBezTo>
                <a:cubicBezTo>
                  <a:pt x="372" y="92"/>
                  <a:pt x="372" y="92"/>
                  <a:pt x="372" y="92"/>
                </a:cubicBezTo>
                <a:cubicBezTo>
                  <a:pt x="373" y="93"/>
                  <a:pt x="373" y="93"/>
                  <a:pt x="373" y="93"/>
                </a:cubicBezTo>
                <a:cubicBezTo>
                  <a:pt x="373" y="93"/>
                  <a:pt x="373" y="93"/>
                  <a:pt x="373" y="93"/>
                </a:cubicBezTo>
                <a:cubicBezTo>
                  <a:pt x="373" y="94"/>
                  <a:pt x="373" y="94"/>
                  <a:pt x="373" y="94"/>
                </a:cubicBezTo>
                <a:cubicBezTo>
                  <a:pt x="373" y="95"/>
                  <a:pt x="373" y="95"/>
                  <a:pt x="373" y="95"/>
                </a:cubicBezTo>
                <a:cubicBezTo>
                  <a:pt x="373" y="95"/>
                  <a:pt x="373" y="95"/>
                  <a:pt x="373" y="95"/>
                </a:cubicBezTo>
                <a:cubicBezTo>
                  <a:pt x="372" y="95"/>
                  <a:pt x="372" y="95"/>
                  <a:pt x="372" y="95"/>
                </a:cubicBezTo>
                <a:cubicBezTo>
                  <a:pt x="370" y="96"/>
                  <a:pt x="370" y="96"/>
                  <a:pt x="370" y="96"/>
                </a:cubicBezTo>
                <a:cubicBezTo>
                  <a:pt x="369" y="97"/>
                  <a:pt x="369" y="97"/>
                  <a:pt x="369" y="97"/>
                </a:cubicBezTo>
                <a:cubicBezTo>
                  <a:pt x="367" y="96"/>
                  <a:pt x="367" y="96"/>
                  <a:pt x="367" y="96"/>
                </a:cubicBezTo>
                <a:cubicBezTo>
                  <a:pt x="365" y="96"/>
                  <a:pt x="365" y="96"/>
                  <a:pt x="365" y="96"/>
                </a:cubicBezTo>
                <a:cubicBezTo>
                  <a:pt x="364" y="94"/>
                  <a:pt x="364" y="94"/>
                  <a:pt x="364" y="94"/>
                </a:cubicBezTo>
                <a:cubicBezTo>
                  <a:pt x="362" y="94"/>
                  <a:pt x="362" y="94"/>
                  <a:pt x="362" y="94"/>
                </a:cubicBezTo>
                <a:cubicBezTo>
                  <a:pt x="361" y="94"/>
                  <a:pt x="361" y="94"/>
                  <a:pt x="361" y="94"/>
                </a:cubicBezTo>
                <a:cubicBezTo>
                  <a:pt x="360" y="93"/>
                  <a:pt x="360" y="93"/>
                  <a:pt x="360" y="93"/>
                </a:cubicBezTo>
                <a:cubicBezTo>
                  <a:pt x="359" y="93"/>
                  <a:pt x="359" y="93"/>
                  <a:pt x="359" y="93"/>
                </a:cubicBezTo>
                <a:cubicBezTo>
                  <a:pt x="358" y="93"/>
                  <a:pt x="358" y="93"/>
                  <a:pt x="358" y="93"/>
                </a:cubicBezTo>
                <a:close/>
                <a:moveTo>
                  <a:pt x="343" y="72"/>
                </a:moveTo>
                <a:cubicBezTo>
                  <a:pt x="343" y="71"/>
                  <a:pt x="343" y="71"/>
                  <a:pt x="343" y="71"/>
                </a:cubicBezTo>
                <a:cubicBezTo>
                  <a:pt x="344" y="71"/>
                  <a:pt x="344" y="71"/>
                  <a:pt x="344" y="71"/>
                </a:cubicBezTo>
                <a:cubicBezTo>
                  <a:pt x="344" y="71"/>
                  <a:pt x="344" y="71"/>
                  <a:pt x="344" y="71"/>
                </a:cubicBezTo>
                <a:cubicBezTo>
                  <a:pt x="344" y="72"/>
                  <a:pt x="344" y="72"/>
                  <a:pt x="344" y="72"/>
                </a:cubicBezTo>
                <a:cubicBezTo>
                  <a:pt x="343" y="72"/>
                  <a:pt x="343" y="72"/>
                  <a:pt x="343" y="72"/>
                </a:cubicBezTo>
                <a:cubicBezTo>
                  <a:pt x="343" y="72"/>
                  <a:pt x="343" y="72"/>
                  <a:pt x="343" y="72"/>
                </a:cubicBezTo>
                <a:close/>
                <a:moveTo>
                  <a:pt x="344" y="79"/>
                </a:moveTo>
                <a:cubicBezTo>
                  <a:pt x="345" y="81"/>
                  <a:pt x="345" y="81"/>
                  <a:pt x="345" y="81"/>
                </a:cubicBezTo>
                <a:cubicBezTo>
                  <a:pt x="345" y="82"/>
                  <a:pt x="345" y="82"/>
                  <a:pt x="345" y="82"/>
                </a:cubicBezTo>
                <a:cubicBezTo>
                  <a:pt x="346" y="82"/>
                  <a:pt x="346" y="82"/>
                  <a:pt x="346" y="82"/>
                </a:cubicBezTo>
                <a:cubicBezTo>
                  <a:pt x="347" y="82"/>
                  <a:pt x="347" y="82"/>
                  <a:pt x="347" y="82"/>
                </a:cubicBezTo>
                <a:cubicBezTo>
                  <a:pt x="348" y="82"/>
                  <a:pt x="348" y="82"/>
                  <a:pt x="348" y="82"/>
                </a:cubicBezTo>
                <a:cubicBezTo>
                  <a:pt x="349" y="82"/>
                  <a:pt x="349" y="82"/>
                  <a:pt x="349" y="82"/>
                </a:cubicBezTo>
                <a:cubicBezTo>
                  <a:pt x="350" y="81"/>
                  <a:pt x="350" y="81"/>
                  <a:pt x="350" y="81"/>
                </a:cubicBezTo>
                <a:cubicBezTo>
                  <a:pt x="350" y="80"/>
                  <a:pt x="350" y="80"/>
                  <a:pt x="350" y="80"/>
                </a:cubicBezTo>
                <a:cubicBezTo>
                  <a:pt x="351" y="80"/>
                  <a:pt x="351" y="80"/>
                  <a:pt x="351" y="80"/>
                </a:cubicBezTo>
                <a:cubicBezTo>
                  <a:pt x="352" y="78"/>
                  <a:pt x="352" y="78"/>
                  <a:pt x="352" y="78"/>
                </a:cubicBezTo>
                <a:cubicBezTo>
                  <a:pt x="352" y="77"/>
                  <a:pt x="352" y="77"/>
                  <a:pt x="352" y="77"/>
                </a:cubicBezTo>
                <a:cubicBezTo>
                  <a:pt x="353" y="75"/>
                  <a:pt x="353" y="75"/>
                  <a:pt x="353" y="75"/>
                </a:cubicBezTo>
                <a:cubicBezTo>
                  <a:pt x="354" y="73"/>
                  <a:pt x="354" y="73"/>
                  <a:pt x="354" y="73"/>
                </a:cubicBezTo>
                <a:cubicBezTo>
                  <a:pt x="353" y="73"/>
                  <a:pt x="353" y="73"/>
                  <a:pt x="353" y="73"/>
                </a:cubicBezTo>
                <a:cubicBezTo>
                  <a:pt x="353" y="72"/>
                  <a:pt x="353" y="72"/>
                  <a:pt x="353" y="72"/>
                </a:cubicBezTo>
                <a:cubicBezTo>
                  <a:pt x="354" y="72"/>
                  <a:pt x="354" y="72"/>
                  <a:pt x="354" y="72"/>
                </a:cubicBezTo>
                <a:cubicBezTo>
                  <a:pt x="355" y="70"/>
                  <a:pt x="355" y="70"/>
                  <a:pt x="355" y="70"/>
                </a:cubicBezTo>
                <a:cubicBezTo>
                  <a:pt x="356" y="70"/>
                  <a:pt x="356" y="70"/>
                  <a:pt x="356" y="70"/>
                </a:cubicBezTo>
                <a:cubicBezTo>
                  <a:pt x="357" y="69"/>
                  <a:pt x="357" y="69"/>
                  <a:pt x="357" y="69"/>
                </a:cubicBezTo>
                <a:cubicBezTo>
                  <a:pt x="358" y="68"/>
                  <a:pt x="358" y="68"/>
                  <a:pt x="358" y="68"/>
                </a:cubicBezTo>
                <a:cubicBezTo>
                  <a:pt x="358" y="66"/>
                  <a:pt x="358" y="66"/>
                  <a:pt x="358" y="66"/>
                </a:cubicBezTo>
                <a:cubicBezTo>
                  <a:pt x="358" y="65"/>
                  <a:pt x="358" y="65"/>
                  <a:pt x="358" y="65"/>
                </a:cubicBezTo>
                <a:cubicBezTo>
                  <a:pt x="359" y="64"/>
                  <a:pt x="359" y="64"/>
                  <a:pt x="359" y="64"/>
                </a:cubicBezTo>
                <a:cubicBezTo>
                  <a:pt x="359" y="63"/>
                  <a:pt x="359" y="63"/>
                  <a:pt x="359" y="63"/>
                </a:cubicBezTo>
                <a:cubicBezTo>
                  <a:pt x="359" y="62"/>
                  <a:pt x="359" y="62"/>
                  <a:pt x="359" y="62"/>
                </a:cubicBezTo>
                <a:cubicBezTo>
                  <a:pt x="359" y="61"/>
                  <a:pt x="359" y="61"/>
                  <a:pt x="359" y="61"/>
                </a:cubicBezTo>
                <a:cubicBezTo>
                  <a:pt x="358" y="61"/>
                  <a:pt x="358" y="61"/>
                  <a:pt x="358" y="61"/>
                </a:cubicBezTo>
                <a:cubicBezTo>
                  <a:pt x="357" y="60"/>
                  <a:pt x="357" y="60"/>
                  <a:pt x="357" y="60"/>
                </a:cubicBezTo>
                <a:cubicBezTo>
                  <a:pt x="355" y="60"/>
                  <a:pt x="355" y="60"/>
                  <a:pt x="355" y="60"/>
                </a:cubicBezTo>
                <a:cubicBezTo>
                  <a:pt x="355" y="60"/>
                  <a:pt x="355" y="60"/>
                  <a:pt x="355" y="60"/>
                </a:cubicBezTo>
                <a:cubicBezTo>
                  <a:pt x="356" y="59"/>
                  <a:pt x="356" y="59"/>
                  <a:pt x="356" y="59"/>
                </a:cubicBezTo>
                <a:cubicBezTo>
                  <a:pt x="357" y="58"/>
                  <a:pt x="357" y="58"/>
                  <a:pt x="357" y="58"/>
                </a:cubicBezTo>
                <a:cubicBezTo>
                  <a:pt x="357" y="57"/>
                  <a:pt x="357" y="57"/>
                  <a:pt x="357" y="57"/>
                </a:cubicBezTo>
                <a:cubicBezTo>
                  <a:pt x="357" y="56"/>
                  <a:pt x="357" y="56"/>
                  <a:pt x="357" y="56"/>
                </a:cubicBezTo>
                <a:cubicBezTo>
                  <a:pt x="357" y="55"/>
                  <a:pt x="357" y="55"/>
                  <a:pt x="357" y="55"/>
                </a:cubicBezTo>
                <a:cubicBezTo>
                  <a:pt x="357" y="54"/>
                  <a:pt x="357" y="54"/>
                  <a:pt x="357" y="54"/>
                </a:cubicBezTo>
                <a:cubicBezTo>
                  <a:pt x="356" y="52"/>
                  <a:pt x="356" y="52"/>
                  <a:pt x="356" y="52"/>
                </a:cubicBezTo>
                <a:cubicBezTo>
                  <a:pt x="355" y="52"/>
                  <a:pt x="355" y="52"/>
                  <a:pt x="355" y="52"/>
                </a:cubicBezTo>
                <a:cubicBezTo>
                  <a:pt x="354" y="53"/>
                  <a:pt x="354" y="53"/>
                  <a:pt x="354" y="53"/>
                </a:cubicBezTo>
                <a:cubicBezTo>
                  <a:pt x="352" y="54"/>
                  <a:pt x="352" y="54"/>
                  <a:pt x="352" y="54"/>
                </a:cubicBezTo>
                <a:cubicBezTo>
                  <a:pt x="352" y="55"/>
                  <a:pt x="352" y="55"/>
                  <a:pt x="352" y="55"/>
                </a:cubicBezTo>
                <a:cubicBezTo>
                  <a:pt x="351" y="56"/>
                  <a:pt x="351" y="56"/>
                  <a:pt x="351" y="56"/>
                </a:cubicBezTo>
                <a:cubicBezTo>
                  <a:pt x="350" y="56"/>
                  <a:pt x="350" y="56"/>
                  <a:pt x="350" y="56"/>
                </a:cubicBezTo>
                <a:cubicBezTo>
                  <a:pt x="350" y="54"/>
                  <a:pt x="350" y="54"/>
                  <a:pt x="350" y="54"/>
                </a:cubicBezTo>
                <a:cubicBezTo>
                  <a:pt x="351" y="54"/>
                  <a:pt x="351" y="54"/>
                  <a:pt x="351" y="54"/>
                </a:cubicBezTo>
                <a:cubicBezTo>
                  <a:pt x="351" y="53"/>
                  <a:pt x="351" y="53"/>
                  <a:pt x="351" y="53"/>
                </a:cubicBezTo>
                <a:cubicBezTo>
                  <a:pt x="351" y="51"/>
                  <a:pt x="351" y="51"/>
                  <a:pt x="351" y="51"/>
                </a:cubicBezTo>
                <a:cubicBezTo>
                  <a:pt x="352" y="49"/>
                  <a:pt x="352" y="49"/>
                  <a:pt x="352" y="49"/>
                </a:cubicBezTo>
                <a:cubicBezTo>
                  <a:pt x="352" y="48"/>
                  <a:pt x="352" y="48"/>
                  <a:pt x="352" y="48"/>
                </a:cubicBezTo>
                <a:cubicBezTo>
                  <a:pt x="351" y="47"/>
                  <a:pt x="351" y="47"/>
                  <a:pt x="351" y="47"/>
                </a:cubicBezTo>
                <a:cubicBezTo>
                  <a:pt x="350" y="46"/>
                  <a:pt x="350" y="46"/>
                  <a:pt x="350" y="46"/>
                </a:cubicBezTo>
                <a:cubicBezTo>
                  <a:pt x="349" y="45"/>
                  <a:pt x="349" y="45"/>
                  <a:pt x="349" y="45"/>
                </a:cubicBezTo>
                <a:cubicBezTo>
                  <a:pt x="348" y="45"/>
                  <a:pt x="348" y="45"/>
                  <a:pt x="348" y="45"/>
                </a:cubicBezTo>
                <a:cubicBezTo>
                  <a:pt x="346" y="45"/>
                  <a:pt x="346" y="45"/>
                  <a:pt x="346" y="45"/>
                </a:cubicBezTo>
                <a:cubicBezTo>
                  <a:pt x="345" y="46"/>
                  <a:pt x="345" y="46"/>
                  <a:pt x="345" y="46"/>
                </a:cubicBezTo>
                <a:cubicBezTo>
                  <a:pt x="344" y="46"/>
                  <a:pt x="344" y="46"/>
                  <a:pt x="344" y="46"/>
                </a:cubicBezTo>
                <a:cubicBezTo>
                  <a:pt x="344" y="44"/>
                  <a:pt x="344" y="44"/>
                  <a:pt x="344" y="44"/>
                </a:cubicBezTo>
                <a:cubicBezTo>
                  <a:pt x="343" y="44"/>
                  <a:pt x="343" y="44"/>
                  <a:pt x="343" y="44"/>
                </a:cubicBezTo>
                <a:cubicBezTo>
                  <a:pt x="342" y="45"/>
                  <a:pt x="342" y="45"/>
                  <a:pt x="342" y="45"/>
                </a:cubicBezTo>
                <a:cubicBezTo>
                  <a:pt x="342" y="46"/>
                  <a:pt x="342" y="46"/>
                  <a:pt x="342" y="46"/>
                </a:cubicBezTo>
                <a:cubicBezTo>
                  <a:pt x="341" y="46"/>
                  <a:pt x="341" y="46"/>
                  <a:pt x="341" y="46"/>
                </a:cubicBezTo>
                <a:cubicBezTo>
                  <a:pt x="340" y="48"/>
                  <a:pt x="340" y="48"/>
                  <a:pt x="340" y="48"/>
                </a:cubicBezTo>
                <a:cubicBezTo>
                  <a:pt x="339" y="49"/>
                  <a:pt x="339" y="49"/>
                  <a:pt x="339" y="49"/>
                </a:cubicBezTo>
                <a:cubicBezTo>
                  <a:pt x="339" y="50"/>
                  <a:pt x="339" y="50"/>
                  <a:pt x="339" y="50"/>
                </a:cubicBezTo>
                <a:cubicBezTo>
                  <a:pt x="340" y="51"/>
                  <a:pt x="340" y="51"/>
                  <a:pt x="340" y="51"/>
                </a:cubicBezTo>
                <a:cubicBezTo>
                  <a:pt x="341" y="51"/>
                  <a:pt x="341" y="51"/>
                  <a:pt x="341" y="51"/>
                </a:cubicBezTo>
                <a:cubicBezTo>
                  <a:pt x="342" y="50"/>
                  <a:pt x="342" y="50"/>
                  <a:pt x="342" y="50"/>
                </a:cubicBezTo>
                <a:cubicBezTo>
                  <a:pt x="342" y="51"/>
                  <a:pt x="342" y="51"/>
                  <a:pt x="342" y="51"/>
                </a:cubicBezTo>
                <a:cubicBezTo>
                  <a:pt x="341" y="52"/>
                  <a:pt x="341" y="52"/>
                  <a:pt x="341" y="52"/>
                </a:cubicBezTo>
                <a:cubicBezTo>
                  <a:pt x="339" y="53"/>
                  <a:pt x="339" y="53"/>
                  <a:pt x="339" y="53"/>
                </a:cubicBezTo>
                <a:cubicBezTo>
                  <a:pt x="338" y="55"/>
                  <a:pt x="338" y="55"/>
                  <a:pt x="338" y="55"/>
                </a:cubicBezTo>
                <a:cubicBezTo>
                  <a:pt x="338" y="55"/>
                  <a:pt x="338" y="55"/>
                  <a:pt x="338" y="55"/>
                </a:cubicBezTo>
                <a:cubicBezTo>
                  <a:pt x="340" y="54"/>
                  <a:pt x="340" y="54"/>
                  <a:pt x="340" y="54"/>
                </a:cubicBezTo>
                <a:cubicBezTo>
                  <a:pt x="342" y="53"/>
                  <a:pt x="342" y="53"/>
                  <a:pt x="342" y="53"/>
                </a:cubicBezTo>
                <a:cubicBezTo>
                  <a:pt x="342" y="53"/>
                  <a:pt x="342" y="53"/>
                  <a:pt x="342" y="53"/>
                </a:cubicBezTo>
                <a:cubicBezTo>
                  <a:pt x="343" y="52"/>
                  <a:pt x="343" y="52"/>
                  <a:pt x="343" y="52"/>
                </a:cubicBezTo>
                <a:cubicBezTo>
                  <a:pt x="344" y="53"/>
                  <a:pt x="344" y="53"/>
                  <a:pt x="344" y="53"/>
                </a:cubicBezTo>
                <a:cubicBezTo>
                  <a:pt x="344" y="55"/>
                  <a:pt x="344" y="55"/>
                  <a:pt x="344" y="55"/>
                </a:cubicBezTo>
                <a:cubicBezTo>
                  <a:pt x="343" y="55"/>
                  <a:pt x="343" y="55"/>
                  <a:pt x="343" y="55"/>
                </a:cubicBezTo>
                <a:cubicBezTo>
                  <a:pt x="341" y="56"/>
                  <a:pt x="341" y="56"/>
                  <a:pt x="341" y="56"/>
                </a:cubicBezTo>
                <a:cubicBezTo>
                  <a:pt x="341" y="57"/>
                  <a:pt x="341" y="57"/>
                  <a:pt x="341" y="57"/>
                </a:cubicBezTo>
                <a:cubicBezTo>
                  <a:pt x="342" y="58"/>
                  <a:pt x="342" y="58"/>
                  <a:pt x="342" y="58"/>
                </a:cubicBezTo>
                <a:cubicBezTo>
                  <a:pt x="343" y="58"/>
                  <a:pt x="343" y="58"/>
                  <a:pt x="343" y="58"/>
                </a:cubicBezTo>
                <a:cubicBezTo>
                  <a:pt x="344" y="58"/>
                  <a:pt x="344" y="58"/>
                  <a:pt x="344" y="58"/>
                </a:cubicBezTo>
                <a:cubicBezTo>
                  <a:pt x="343" y="59"/>
                  <a:pt x="343" y="59"/>
                  <a:pt x="343" y="59"/>
                </a:cubicBezTo>
                <a:cubicBezTo>
                  <a:pt x="341" y="60"/>
                  <a:pt x="341" y="60"/>
                  <a:pt x="341" y="60"/>
                </a:cubicBezTo>
                <a:cubicBezTo>
                  <a:pt x="340" y="59"/>
                  <a:pt x="340" y="59"/>
                  <a:pt x="340" y="59"/>
                </a:cubicBezTo>
                <a:cubicBezTo>
                  <a:pt x="340" y="60"/>
                  <a:pt x="340" y="60"/>
                  <a:pt x="340" y="60"/>
                </a:cubicBezTo>
                <a:cubicBezTo>
                  <a:pt x="341" y="61"/>
                  <a:pt x="341" y="61"/>
                  <a:pt x="341" y="61"/>
                </a:cubicBezTo>
                <a:cubicBezTo>
                  <a:pt x="341" y="61"/>
                  <a:pt x="341" y="61"/>
                  <a:pt x="341" y="61"/>
                </a:cubicBezTo>
                <a:cubicBezTo>
                  <a:pt x="339" y="63"/>
                  <a:pt x="339" y="63"/>
                  <a:pt x="339" y="63"/>
                </a:cubicBezTo>
                <a:cubicBezTo>
                  <a:pt x="339" y="63"/>
                  <a:pt x="339" y="63"/>
                  <a:pt x="339" y="63"/>
                </a:cubicBezTo>
                <a:cubicBezTo>
                  <a:pt x="338" y="61"/>
                  <a:pt x="338" y="61"/>
                  <a:pt x="338" y="61"/>
                </a:cubicBezTo>
                <a:cubicBezTo>
                  <a:pt x="337" y="61"/>
                  <a:pt x="337" y="61"/>
                  <a:pt x="337" y="61"/>
                </a:cubicBezTo>
                <a:cubicBezTo>
                  <a:pt x="336" y="59"/>
                  <a:pt x="336" y="59"/>
                  <a:pt x="336" y="59"/>
                </a:cubicBezTo>
                <a:cubicBezTo>
                  <a:pt x="334" y="61"/>
                  <a:pt x="334" y="61"/>
                  <a:pt x="334" y="61"/>
                </a:cubicBezTo>
                <a:cubicBezTo>
                  <a:pt x="334" y="61"/>
                  <a:pt x="334" y="61"/>
                  <a:pt x="334" y="61"/>
                </a:cubicBezTo>
                <a:cubicBezTo>
                  <a:pt x="332" y="63"/>
                  <a:pt x="332" y="63"/>
                  <a:pt x="332" y="63"/>
                </a:cubicBezTo>
                <a:cubicBezTo>
                  <a:pt x="334" y="65"/>
                  <a:pt x="334" y="65"/>
                  <a:pt x="334" y="65"/>
                </a:cubicBezTo>
                <a:cubicBezTo>
                  <a:pt x="334" y="66"/>
                  <a:pt x="334" y="66"/>
                  <a:pt x="334" y="66"/>
                </a:cubicBezTo>
                <a:cubicBezTo>
                  <a:pt x="334" y="67"/>
                  <a:pt x="334" y="67"/>
                  <a:pt x="334" y="67"/>
                </a:cubicBezTo>
                <a:cubicBezTo>
                  <a:pt x="335" y="66"/>
                  <a:pt x="335" y="66"/>
                  <a:pt x="335" y="66"/>
                </a:cubicBezTo>
                <a:cubicBezTo>
                  <a:pt x="336" y="66"/>
                  <a:pt x="336" y="66"/>
                  <a:pt x="336" y="66"/>
                </a:cubicBezTo>
                <a:cubicBezTo>
                  <a:pt x="338" y="66"/>
                  <a:pt x="338" y="66"/>
                  <a:pt x="338" y="66"/>
                </a:cubicBezTo>
                <a:cubicBezTo>
                  <a:pt x="340" y="66"/>
                  <a:pt x="340" y="66"/>
                  <a:pt x="340" y="66"/>
                </a:cubicBezTo>
                <a:cubicBezTo>
                  <a:pt x="341" y="67"/>
                  <a:pt x="341" y="67"/>
                  <a:pt x="341" y="67"/>
                </a:cubicBezTo>
                <a:cubicBezTo>
                  <a:pt x="343" y="66"/>
                  <a:pt x="343" y="66"/>
                  <a:pt x="343" y="66"/>
                </a:cubicBezTo>
                <a:cubicBezTo>
                  <a:pt x="343" y="67"/>
                  <a:pt x="343" y="67"/>
                  <a:pt x="343" y="67"/>
                </a:cubicBezTo>
                <a:cubicBezTo>
                  <a:pt x="341" y="68"/>
                  <a:pt x="341" y="68"/>
                  <a:pt x="341" y="68"/>
                </a:cubicBezTo>
                <a:cubicBezTo>
                  <a:pt x="341" y="68"/>
                  <a:pt x="341" y="68"/>
                  <a:pt x="341" y="68"/>
                </a:cubicBezTo>
                <a:cubicBezTo>
                  <a:pt x="341" y="70"/>
                  <a:pt x="341" y="70"/>
                  <a:pt x="341" y="70"/>
                </a:cubicBezTo>
                <a:cubicBezTo>
                  <a:pt x="343" y="69"/>
                  <a:pt x="343" y="69"/>
                  <a:pt x="343" y="69"/>
                </a:cubicBezTo>
                <a:cubicBezTo>
                  <a:pt x="344" y="70"/>
                  <a:pt x="344" y="70"/>
                  <a:pt x="344" y="70"/>
                </a:cubicBezTo>
                <a:cubicBezTo>
                  <a:pt x="345" y="72"/>
                  <a:pt x="345" y="72"/>
                  <a:pt x="345" y="72"/>
                </a:cubicBezTo>
                <a:cubicBezTo>
                  <a:pt x="346" y="72"/>
                  <a:pt x="346" y="72"/>
                  <a:pt x="346" y="72"/>
                </a:cubicBezTo>
                <a:cubicBezTo>
                  <a:pt x="347" y="73"/>
                  <a:pt x="347" y="73"/>
                  <a:pt x="347" y="73"/>
                </a:cubicBezTo>
                <a:cubicBezTo>
                  <a:pt x="346" y="74"/>
                  <a:pt x="346" y="74"/>
                  <a:pt x="346" y="74"/>
                </a:cubicBezTo>
                <a:cubicBezTo>
                  <a:pt x="346" y="75"/>
                  <a:pt x="346" y="75"/>
                  <a:pt x="346" y="75"/>
                </a:cubicBezTo>
                <a:cubicBezTo>
                  <a:pt x="344" y="79"/>
                  <a:pt x="344" y="79"/>
                  <a:pt x="344" y="79"/>
                </a:cubicBezTo>
                <a:close/>
                <a:moveTo>
                  <a:pt x="337" y="70"/>
                </a:moveTo>
                <a:cubicBezTo>
                  <a:pt x="338" y="69"/>
                  <a:pt x="338" y="69"/>
                  <a:pt x="338" y="69"/>
                </a:cubicBezTo>
                <a:cubicBezTo>
                  <a:pt x="339" y="68"/>
                  <a:pt x="339" y="68"/>
                  <a:pt x="339" y="68"/>
                </a:cubicBezTo>
                <a:cubicBezTo>
                  <a:pt x="340" y="68"/>
                  <a:pt x="340" y="68"/>
                  <a:pt x="340" y="68"/>
                </a:cubicBezTo>
                <a:cubicBezTo>
                  <a:pt x="340" y="68"/>
                  <a:pt x="340" y="68"/>
                  <a:pt x="340" y="68"/>
                </a:cubicBezTo>
                <a:cubicBezTo>
                  <a:pt x="339" y="69"/>
                  <a:pt x="339" y="69"/>
                  <a:pt x="339" y="69"/>
                </a:cubicBezTo>
                <a:cubicBezTo>
                  <a:pt x="338" y="70"/>
                  <a:pt x="338" y="70"/>
                  <a:pt x="338" y="70"/>
                </a:cubicBezTo>
                <a:cubicBezTo>
                  <a:pt x="337" y="70"/>
                  <a:pt x="337" y="70"/>
                  <a:pt x="337" y="70"/>
                </a:cubicBezTo>
                <a:close/>
                <a:moveTo>
                  <a:pt x="335" y="77"/>
                </a:moveTo>
                <a:cubicBezTo>
                  <a:pt x="335" y="75"/>
                  <a:pt x="335" y="75"/>
                  <a:pt x="335" y="75"/>
                </a:cubicBezTo>
                <a:cubicBezTo>
                  <a:pt x="337" y="75"/>
                  <a:pt x="337" y="75"/>
                  <a:pt x="337" y="75"/>
                </a:cubicBezTo>
                <a:cubicBezTo>
                  <a:pt x="339" y="76"/>
                  <a:pt x="339" y="76"/>
                  <a:pt x="339" y="76"/>
                </a:cubicBezTo>
                <a:cubicBezTo>
                  <a:pt x="341" y="78"/>
                  <a:pt x="341" y="78"/>
                  <a:pt x="341" y="78"/>
                </a:cubicBezTo>
                <a:cubicBezTo>
                  <a:pt x="341" y="79"/>
                  <a:pt x="341" y="79"/>
                  <a:pt x="341" y="79"/>
                </a:cubicBezTo>
                <a:cubicBezTo>
                  <a:pt x="341" y="81"/>
                  <a:pt x="341" y="81"/>
                  <a:pt x="341" y="81"/>
                </a:cubicBezTo>
                <a:cubicBezTo>
                  <a:pt x="340" y="81"/>
                  <a:pt x="340" y="81"/>
                  <a:pt x="340" y="81"/>
                </a:cubicBezTo>
                <a:cubicBezTo>
                  <a:pt x="339" y="81"/>
                  <a:pt x="339" y="81"/>
                  <a:pt x="339" y="81"/>
                </a:cubicBezTo>
                <a:cubicBezTo>
                  <a:pt x="338" y="81"/>
                  <a:pt x="338" y="81"/>
                  <a:pt x="338" y="81"/>
                </a:cubicBezTo>
                <a:cubicBezTo>
                  <a:pt x="337" y="81"/>
                  <a:pt x="337" y="81"/>
                  <a:pt x="337" y="81"/>
                </a:cubicBezTo>
                <a:cubicBezTo>
                  <a:pt x="336" y="80"/>
                  <a:pt x="336" y="80"/>
                  <a:pt x="336" y="80"/>
                </a:cubicBezTo>
                <a:cubicBezTo>
                  <a:pt x="335" y="78"/>
                  <a:pt x="335" y="78"/>
                  <a:pt x="335" y="78"/>
                </a:cubicBezTo>
                <a:cubicBezTo>
                  <a:pt x="335" y="77"/>
                  <a:pt x="335" y="77"/>
                  <a:pt x="335" y="77"/>
                </a:cubicBezTo>
                <a:close/>
                <a:moveTo>
                  <a:pt x="319" y="87"/>
                </a:moveTo>
                <a:cubicBezTo>
                  <a:pt x="320" y="87"/>
                  <a:pt x="320" y="87"/>
                  <a:pt x="320" y="87"/>
                </a:cubicBezTo>
                <a:cubicBezTo>
                  <a:pt x="322" y="87"/>
                  <a:pt x="322" y="87"/>
                  <a:pt x="322" y="87"/>
                </a:cubicBezTo>
                <a:cubicBezTo>
                  <a:pt x="321" y="88"/>
                  <a:pt x="321" y="88"/>
                  <a:pt x="321" y="88"/>
                </a:cubicBezTo>
                <a:cubicBezTo>
                  <a:pt x="320" y="88"/>
                  <a:pt x="320" y="88"/>
                  <a:pt x="320" y="88"/>
                </a:cubicBezTo>
                <a:cubicBezTo>
                  <a:pt x="319" y="87"/>
                  <a:pt x="319" y="87"/>
                  <a:pt x="319" y="87"/>
                </a:cubicBezTo>
                <a:close/>
                <a:moveTo>
                  <a:pt x="318" y="86"/>
                </a:moveTo>
                <a:cubicBezTo>
                  <a:pt x="317" y="84"/>
                  <a:pt x="317" y="84"/>
                  <a:pt x="317" y="84"/>
                </a:cubicBezTo>
                <a:cubicBezTo>
                  <a:pt x="318" y="83"/>
                  <a:pt x="318" y="83"/>
                  <a:pt x="318" y="83"/>
                </a:cubicBezTo>
                <a:cubicBezTo>
                  <a:pt x="318" y="81"/>
                  <a:pt x="318" y="81"/>
                  <a:pt x="318" y="81"/>
                </a:cubicBezTo>
                <a:cubicBezTo>
                  <a:pt x="318" y="80"/>
                  <a:pt x="318" y="80"/>
                  <a:pt x="318" y="80"/>
                </a:cubicBezTo>
                <a:cubicBezTo>
                  <a:pt x="320" y="79"/>
                  <a:pt x="320" y="79"/>
                  <a:pt x="320" y="79"/>
                </a:cubicBezTo>
                <a:cubicBezTo>
                  <a:pt x="320" y="78"/>
                  <a:pt x="320" y="78"/>
                  <a:pt x="320" y="78"/>
                </a:cubicBezTo>
                <a:cubicBezTo>
                  <a:pt x="320" y="78"/>
                  <a:pt x="320" y="78"/>
                  <a:pt x="320" y="78"/>
                </a:cubicBezTo>
                <a:cubicBezTo>
                  <a:pt x="320" y="77"/>
                  <a:pt x="320" y="77"/>
                  <a:pt x="320" y="77"/>
                </a:cubicBezTo>
                <a:cubicBezTo>
                  <a:pt x="321" y="75"/>
                  <a:pt x="321" y="75"/>
                  <a:pt x="321" y="75"/>
                </a:cubicBezTo>
                <a:cubicBezTo>
                  <a:pt x="321" y="74"/>
                  <a:pt x="321" y="74"/>
                  <a:pt x="321" y="74"/>
                </a:cubicBezTo>
                <a:cubicBezTo>
                  <a:pt x="322" y="73"/>
                  <a:pt x="322" y="73"/>
                  <a:pt x="322" y="73"/>
                </a:cubicBezTo>
                <a:cubicBezTo>
                  <a:pt x="322" y="74"/>
                  <a:pt x="322" y="74"/>
                  <a:pt x="322" y="74"/>
                </a:cubicBezTo>
                <a:cubicBezTo>
                  <a:pt x="323" y="76"/>
                  <a:pt x="323" y="76"/>
                  <a:pt x="323" y="76"/>
                </a:cubicBezTo>
                <a:cubicBezTo>
                  <a:pt x="323" y="76"/>
                  <a:pt x="323" y="76"/>
                  <a:pt x="323" y="76"/>
                </a:cubicBezTo>
                <a:cubicBezTo>
                  <a:pt x="322" y="79"/>
                  <a:pt x="322" y="79"/>
                  <a:pt x="322" y="79"/>
                </a:cubicBezTo>
                <a:cubicBezTo>
                  <a:pt x="322" y="80"/>
                  <a:pt x="322" y="80"/>
                  <a:pt x="322" y="80"/>
                </a:cubicBezTo>
                <a:cubicBezTo>
                  <a:pt x="321" y="81"/>
                  <a:pt x="321" y="81"/>
                  <a:pt x="321" y="81"/>
                </a:cubicBezTo>
                <a:cubicBezTo>
                  <a:pt x="322" y="82"/>
                  <a:pt x="322" y="82"/>
                  <a:pt x="322" y="82"/>
                </a:cubicBezTo>
                <a:cubicBezTo>
                  <a:pt x="321" y="85"/>
                  <a:pt x="321" y="85"/>
                  <a:pt x="321" y="85"/>
                </a:cubicBezTo>
                <a:cubicBezTo>
                  <a:pt x="320" y="86"/>
                  <a:pt x="320" y="86"/>
                  <a:pt x="320" y="86"/>
                </a:cubicBezTo>
                <a:cubicBezTo>
                  <a:pt x="318" y="86"/>
                  <a:pt x="318" y="86"/>
                  <a:pt x="318" y="86"/>
                </a:cubicBezTo>
                <a:close/>
                <a:moveTo>
                  <a:pt x="304" y="57"/>
                </a:moveTo>
                <a:cubicBezTo>
                  <a:pt x="303" y="56"/>
                  <a:pt x="303" y="56"/>
                  <a:pt x="303" y="56"/>
                </a:cubicBezTo>
                <a:cubicBezTo>
                  <a:pt x="303" y="54"/>
                  <a:pt x="303" y="54"/>
                  <a:pt x="303" y="54"/>
                </a:cubicBezTo>
                <a:cubicBezTo>
                  <a:pt x="303" y="54"/>
                  <a:pt x="303" y="54"/>
                  <a:pt x="303" y="54"/>
                </a:cubicBezTo>
                <a:cubicBezTo>
                  <a:pt x="302" y="53"/>
                  <a:pt x="302" y="53"/>
                  <a:pt x="302" y="53"/>
                </a:cubicBezTo>
                <a:cubicBezTo>
                  <a:pt x="301" y="53"/>
                  <a:pt x="301" y="53"/>
                  <a:pt x="301" y="53"/>
                </a:cubicBezTo>
                <a:cubicBezTo>
                  <a:pt x="300" y="53"/>
                  <a:pt x="300" y="53"/>
                  <a:pt x="300" y="53"/>
                </a:cubicBezTo>
                <a:cubicBezTo>
                  <a:pt x="300" y="53"/>
                  <a:pt x="300" y="53"/>
                  <a:pt x="300" y="53"/>
                </a:cubicBezTo>
                <a:cubicBezTo>
                  <a:pt x="298" y="53"/>
                  <a:pt x="298" y="53"/>
                  <a:pt x="298" y="53"/>
                </a:cubicBezTo>
                <a:cubicBezTo>
                  <a:pt x="297" y="53"/>
                  <a:pt x="297" y="53"/>
                  <a:pt x="297" y="53"/>
                </a:cubicBezTo>
                <a:cubicBezTo>
                  <a:pt x="297" y="52"/>
                  <a:pt x="297" y="52"/>
                  <a:pt x="297" y="52"/>
                </a:cubicBezTo>
                <a:cubicBezTo>
                  <a:pt x="298" y="51"/>
                  <a:pt x="298" y="51"/>
                  <a:pt x="298" y="51"/>
                </a:cubicBezTo>
                <a:cubicBezTo>
                  <a:pt x="298" y="50"/>
                  <a:pt x="298" y="50"/>
                  <a:pt x="298" y="50"/>
                </a:cubicBezTo>
                <a:cubicBezTo>
                  <a:pt x="300" y="50"/>
                  <a:pt x="300" y="50"/>
                  <a:pt x="300" y="50"/>
                </a:cubicBezTo>
                <a:cubicBezTo>
                  <a:pt x="301" y="50"/>
                  <a:pt x="301" y="50"/>
                  <a:pt x="301" y="50"/>
                </a:cubicBezTo>
                <a:cubicBezTo>
                  <a:pt x="305" y="49"/>
                  <a:pt x="305" y="49"/>
                  <a:pt x="305" y="49"/>
                </a:cubicBezTo>
                <a:cubicBezTo>
                  <a:pt x="306" y="49"/>
                  <a:pt x="306" y="49"/>
                  <a:pt x="306" y="49"/>
                </a:cubicBezTo>
                <a:cubicBezTo>
                  <a:pt x="307" y="50"/>
                  <a:pt x="307" y="50"/>
                  <a:pt x="307" y="50"/>
                </a:cubicBezTo>
                <a:cubicBezTo>
                  <a:pt x="308" y="50"/>
                  <a:pt x="308" y="50"/>
                  <a:pt x="308" y="50"/>
                </a:cubicBezTo>
                <a:cubicBezTo>
                  <a:pt x="309" y="50"/>
                  <a:pt x="309" y="50"/>
                  <a:pt x="309" y="50"/>
                </a:cubicBezTo>
                <a:cubicBezTo>
                  <a:pt x="311" y="49"/>
                  <a:pt x="311" y="49"/>
                  <a:pt x="311" y="49"/>
                </a:cubicBezTo>
                <a:cubicBezTo>
                  <a:pt x="313" y="49"/>
                  <a:pt x="313" y="49"/>
                  <a:pt x="313" y="49"/>
                </a:cubicBezTo>
                <a:cubicBezTo>
                  <a:pt x="313" y="49"/>
                  <a:pt x="313" y="49"/>
                  <a:pt x="313" y="49"/>
                </a:cubicBezTo>
                <a:cubicBezTo>
                  <a:pt x="314" y="48"/>
                  <a:pt x="314" y="48"/>
                  <a:pt x="314" y="48"/>
                </a:cubicBezTo>
                <a:cubicBezTo>
                  <a:pt x="315" y="49"/>
                  <a:pt x="315" y="49"/>
                  <a:pt x="315" y="49"/>
                </a:cubicBezTo>
                <a:cubicBezTo>
                  <a:pt x="315" y="49"/>
                  <a:pt x="315" y="49"/>
                  <a:pt x="315" y="49"/>
                </a:cubicBezTo>
                <a:cubicBezTo>
                  <a:pt x="316" y="51"/>
                  <a:pt x="316" y="51"/>
                  <a:pt x="316" y="51"/>
                </a:cubicBezTo>
                <a:cubicBezTo>
                  <a:pt x="316" y="52"/>
                  <a:pt x="316" y="52"/>
                  <a:pt x="316" y="52"/>
                </a:cubicBezTo>
                <a:cubicBezTo>
                  <a:pt x="314" y="54"/>
                  <a:pt x="314" y="54"/>
                  <a:pt x="314" y="54"/>
                </a:cubicBezTo>
                <a:cubicBezTo>
                  <a:pt x="315" y="55"/>
                  <a:pt x="315" y="55"/>
                  <a:pt x="315" y="55"/>
                </a:cubicBezTo>
                <a:cubicBezTo>
                  <a:pt x="314" y="58"/>
                  <a:pt x="314" y="58"/>
                  <a:pt x="314" y="58"/>
                </a:cubicBezTo>
                <a:cubicBezTo>
                  <a:pt x="313" y="58"/>
                  <a:pt x="313" y="58"/>
                  <a:pt x="313" y="58"/>
                </a:cubicBezTo>
                <a:cubicBezTo>
                  <a:pt x="312" y="60"/>
                  <a:pt x="312" y="60"/>
                  <a:pt x="312" y="60"/>
                </a:cubicBezTo>
                <a:cubicBezTo>
                  <a:pt x="311" y="59"/>
                  <a:pt x="311" y="59"/>
                  <a:pt x="311" y="59"/>
                </a:cubicBezTo>
                <a:cubicBezTo>
                  <a:pt x="310" y="59"/>
                  <a:pt x="310" y="59"/>
                  <a:pt x="310" y="59"/>
                </a:cubicBezTo>
                <a:cubicBezTo>
                  <a:pt x="309" y="59"/>
                  <a:pt x="309" y="59"/>
                  <a:pt x="309" y="59"/>
                </a:cubicBezTo>
                <a:cubicBezTo>
                  <a:pt x="308" y="59"/>
                  <a:pt x="308" y="59"/>
                  <a:pt x="308" y="59"/>
                </a:cubicBezTo>
                <a:cubicBezTo>
                  <a:pt x="306" y="57"/>
                  <a:pt x="306" y="57"/>
                  <a:pt x="306" y="57"/>
                </a:cubicBezTo>
                <a:cubicBezTo>
                  <a:pt x="306" y="56"/>
                  <a:pt x="306" y="56"/>
                  <a:pt x="306" y="56"/>
                </a:cubicBezTo>
                <a:cubicBezTo>
                  <a:pt x="305" y="54"/>
                  <a:pt x="305" y="54"/>
                  <a:pt x="305" y="54"/>
                </a:cubicBezTo>
                <a:cubicBezTo>
                  <a:pt x="305" y="55"/>
                  <a:pt x="305" y="55"/>
                  <a:pt x="305" y="55"/>
                </a:cubicBezTo>
                <a:cubicBezTo>
                  <a:pt x="305" y="56"/>
                  <a:pt x="305" y="56"/>
                  <a:pt x="305" y="56"/>
                </a:cubicBezTo>
                <a:cubicBezTo>
                  <a:pt x="304" y="57"/>
                  <a:pt x="304" y="57"/>
                  <a:pt x="304" y="57"/>
                </a:cubicBezTo>
                <a:close/>
                <a:moveTo>
                  <a:pt x="286" y="67"/>
                </a:moveTo>
                <a:cubicBezTo>
                  <a:pt x="287" y="65"/>
                  <a:pt x="287" y="65"/>
                  <a:pt x="287" y="65"/>
                </a:cubicBezTo>
                <a:cubicBezTo>
                  <a:pt x="287" y="64"/>
                  <a:pt x="287" y="64"/>
                  <a:pt x="287" y="64"/>
                </a:cubicBezTo>
                <a:cubicBezTo>
                  <a:pt x="289" y="63"/>
                  <a:pt x="289" y="63"/>
                  <a:pt x="289" y="63"/>
                </a:cubicBezTo>
                <a:cubicBezTo>
                  <a:pt x="289" y="62"/>
                  <a:pt x="289" y="62"/>
                  <a:pt x="289" y="62"/>
                </a:cubicBezTo>
                <a:cubicBezTo>
                  <a:pt x="290" y="61"/>
                  <a:pt x="290" y="61"/>
                  <a:pt x="290" y="61"/>
                </a:cubicBezTo>
                <a:cubicBezTo>
                  <a:pt x="291" y="60"/>
                  <a:pt x="291" y="60"/>
                  <a:pt x="291" y="60"/>
                </a:cubicBezTo>
                <a:cubicBezTo>
                  <a:pt x="292" y="60"/>
                  <a:pt x="292" y="60"/>
                  <a:pt x="292" y="60"/>
                </a:cubicBezTo>
                <a:cubicBezTo>
                  <a:pt x="295" y="60"/>
                  <a:pt x="295" y="60"/>
                  <a:pt x="295" y="60"/>
                </a:cubicBezTo>
                <a:cubicBezTo>
                  <a:pt x="296" y="60"/>
                  <a:pt x="296" y="60"/>
                  <a:pt x="296" y="60"/>
                </a:cubicBezTo>
                <a:cubicBezTo>
                  <a:pt x="297" y="60"/>
                  <a:pt x="297" y="60"/>
                  <a:pt x="297" y="60"/>
                </a:cubicBezTo>
                <a:cubicBezTo>
                  <a:pt x="298" y="61"/>
                  <a:pt x="298" y="61"/>
                  <a:pt x="298" y="61"/>
                </a:cubicBezTo>
                <a:cubicBezTo>
                  <a:pt x="299" y="61"/>
                  <a:pt x="299" y="61"/>
                  <a:pt x="299" y="61"/>
                </a:cubicBezTo>
                <a:cubicBezTo>
                  <a:pt x="300" y="60"/>
                  <a:pt x="300" y="60"/>
                  <a:pt x="300" y="60"/>
                </a:cubicBezTo>
                <a:cubicBezTo>
                  <a:pt x="302" y="61"/>
                  <a:pt x="302" y="61"/>
                  <a:pt x="302" y="61"/>
                </a:cubicBezTo>
                <a:cubicBezTo>
                  <a:pt x="302" y="61"/>
                  <a:pt x="302" y="61"/>
                  <a:pt x="302" y="61"/>
                </a:cubicBezTo>
                <a:cubicBezTo>
                  <a:pt x="304" y="61"/>
                  <a:pt x="304" y="61"/>
                  <a:pt x="304" y="61"/>
                </a:cubicBezTo>
                <a:cubicBezTo>
                  <a:pt x="305" y="62"/>
                  <a:pt x="305" y="62"/>
                  <a:pt x="305" y="62"/>
                </a:cubicBezTo>
                <a:cubicBezTo>
                  <a:pt x="306" y="62"/>
                  <a:pt x="306" y="62"/>
                  <a:pt x="306" y="62"/>
                </a:cubicBezTo>
                <a:cubicBezTo>
                  <a:pt x="307" y="62"/>
                  <a:pt x="307" y="62"/>
                  <a:pt x="307" y="62"/>
                </a:cubicBezTo>
                <a:cubicBezTo>
                  <a:pt x="308" y="63"/>
                  <a:pt x="308" y="63"/>
                  <a:pt x="308" y="63"/>
                </a:cubicBezTo>
                <a:cubicBezTo>
                  <a:pt x="306" y="65"/>
                  <a:pt x="306" y="65"/>
                  <a:pt x="306" y="65"/>
                </a:cubicBezTo>
                <a:cubicBezTo>
                  <a:pt x="305" y="65"/>
                  <a:pt x="305" y="65"/>
                  <a:pt x="305" y="65"/>
                </a:cubicBezTo>
                <a:cubicBezTo>
                  <a:pt x="302" y="66"/>
                  <a:pt x="302" y="66"/>
                  <a:pt x="302" y="66"/>
                </a:cubicBezTo>
                <a:cubicBezTo>
                  <a:pt x="301" y="66"/>
                  <a:pt x="301" y="66"/>
                  <a:pt x="301" y="66"/>
                </a:cubicBezTo>
                <a:cubicBezTo>
                  <a:pt x="300" y="67"/>
                  <a:pt x="300" y="67"/>
                  <a:pt x="300" y="67"/>
                </a:cubicBezTo>
                <a:cubicBezTo>
                  <a:pt x="300" y="68"/>
                  <a:pt x="300" y="68"/>
                  <a:pt x="300" y="68"/>
                </a:cubicBezTo>
                <a:cubicBezTo>
                  <a:pt x="301" y="68"/>
                  <a:pt x="301" y="68"/>
                  <a:pt x="301" y="68"/>
                </a:cubicBezTo>
                <a:cubicBezTo>
                  <a:pt x="302" y="68"/>
                  <a:pt x="302" y="68"/>
                  <a:pt x="302" y="68"/>
                </a:cubicBezTo>
                <a:cubicBezTo>
                  <a:pt x="302" y="69"/>
                  <a:pt x="302" y="69"/>
                  <a:pt x="302" y="69"/>
                </a:cubicBezTo>
                <a:cubicBezTo>
                  <a:pt x="300" y="71"/>
                  <a:pt x="300" y="71"/>
                  <a:pt x="300" y="71"/>
                </a:cubicBezTo>
                <a:cubicBezTo>
                  <a:pt x="300" y="71"/>
                  <a:pt x="300" y="71"/>
                  <a:pt x="300" y="71"/>
                </a:cubicBezTo>
                <a:cubicBezTo>
                  <a:pt x="299" y="72"/>
                  <a:pt x="299" y="72"/>
                  <a:pt x="299" y="72"/>
                </a:cubicBezTo>
                <a:cubicBezTo>
                  <a:pt x="299" y="72"/>
                  <a:pt x="299" y="72"/>
                  <a:pt x="299" y="72"/>
                </a:cubicBezTo>
                <a:cubicBezTo>
                  <a:pt x="298" y="73"/>
                  <a:pt x="298" y="73"/>
                  <a:pt x="298" y="73"/>
                </a:cubicBezTo>
                <a:cubicBezTo>
                  <a:pt x="297" y="73"/>
                  <a:pt x="297" y="73"/>
                  <a:pt x="297" y="73"/>
                </a:cubicBezTo>
                <a:cubicBezTo>
                  <a:pt x="295" y="74"/>
                  <a:pt x="295" y="74"/>
                  <a:pt x="295" y="74"/>
                </a:cubicBezTo>
                <a:cubicBezTo>
                  <a:pt x="294" y="74"/>
                  <a:pt x="294" y="74"/>
                  <a:pt x="294" y="74"/>
                </a:cubicBezTo>
                <a:cubicBezTo>
                  <a:pt x="293" y="73"/>
                  <a:pt x="293" y="73"/>
                  <a:pt x="293" y="73"/>
                </a:cubicBezTo>
                <a:cubicBezTo>
                  <a:pt x="292" y="73"/>
                  <a:pt x="292" y="73"/>
                  <a:pt x="292" y="73"/>
                </a:cubicBezTo>
                <a:cubicBezTo>
                  <a:pt x="291" y="73"/>
                  <a:pt x="291" y="73"/>
                  <a:pt x="291" y="73"/>
                </a:cubicBezTo>
                <a:cubicBezTo>
                  <a:pt x="289" y="73"/>
                  <a:pt x="289" y="73"/>
                  <a:pt x="289" y="73"/>
                </a:cubicBezTo>
                <a:cubicBezTo>
                  <a:pt x="289" y="73"/>
                  <a:pt x="289" y="73"/>
                  <a:pt x="289" y="73"/>
                </a:cubicBezTo>
                <a:cubicBezTo>
                  <a:pt x="290" y="72"/>
                  <a:pt x="290" y="72"/>
                  <a:pt x="290" y="72"/>
                </a:cubicBezTo>
                <a:cubicBezTo>
                  <a:pt x="289" y="71"/>
                  <a:pt x="289" y="71"/>
                  <a:pt x="289" y="71"/>
                </a:cubicBezTo>
                <a:cubicBezTo>
                  <a:pt x="288" y="70"/>
                  <a:pt x="288" y="70"/>
                  <a:pt x="288" y="70"/>
                </a:cubicBezTo>
                <a:cubicBezTo>
                  <a:pt x="287" y="70"/>
                  <a:pt x="287" y="70"/>
                  <a:pt x="287" y="70"/>
                </a:cubicBezTo>
                <a:cubicBezTo>
                  <a:pt x="287" y="68"/>
                  <a:pt x="287" y="68"/>
                  <a:pt x="287" y="68"/>
                </a:cubicBezTo>
                <a:cubicBezTo>
                  <a:pt x="286" y="67"/>
                  <a:pt x="286" y="67"/>
                  <a:pt x="286" y="67"/>
                </a:cubicBezTo>
                <a:close/>
                <a:moveTo>
                  <a:pt x="285" y="62"/>
                </a:moveTo>
                <a:cubicBezTo>
                  <a:pt x="286" y="63"/>
                  <a:pt x="286" y="63"/>
                  <a:pt x="286" y="63"/>
                </a:cubicBezTo>
                <a:cubicBezTo>
                  <a:pt x="287" y="62"/>
                  <a:pt x="287" y="62"/>
                  <a:pt x="287" y="62"/>
                </a:cubicBezTo>
                <a:cubicBezTo>
                  <a:pt x="288" y="61"/>
                  <a:pt x="288" y="61"/>
                  <a:pt x="288" y="61"/>
                </a:cubicBezTo>
                <a:cubicBezTo>
                  <a:pt x="288" y="59"/>
                  <a:pt x="288" y="59"/>
                  <a:pt x="288" y="59"/>
                </a:cubicBezTo>
                <a:cubicBezTo>
                  <a:pt x="289" y="58"/>
                  <a:pt x="289" y="58"/>
                  <a:pt x="289" y="58"/>
                </a:cubicBezTo>
                <a:cubicBezTo>
                  <a:pt x="288" y="57"/>
                  <a:pt x="288" y="57"/>
                  <a:pt x="288" y="57"/>
                </a:cubicBezTo>
                <a:cubicBezTo>
                  <a:pt x="289" y="56"/>
                  <a:pt x="289" y="56"/>
                  <a:pt x="289" y="56"/>
                </a:cubicBezTo>
                <a:cubicBezTo>
                  <a:pt x="288" y="56"/>
                  <a:pt x="288" y="56"/>
                  <a:pt x="288" y="56"/>
                </a:cubicBezTo>
                <a:cubicBezTo>
                  <a:pt x="287" y="56"/>
                  <a:pt x="287" y="56"/>
                  <a:pt x="287" y="56"/>
                </a:cubicBezTo>
                <a:cubicBezTo>
                  <a:pt x="286" y="56"/>
                  <a:pt x="286" y="56"/>
                  <a:pt x="286" y="56"/>
                </a:cubicBezTo>
                <a:cubicBezTo>
                  <a:pt x="285" y="56"/>
                  <a:pt x="285" y="56"/>
                  <a:pt x="285" y="56"/>
                </a:cubicBezTo>
                <a:cubicBezTo>
                  <a:pt x="285" y="56"/>
                  <a:pt x="285" y="56"/>
                  <a:pt x="285" y="56"/>
                </a:cubicBezTo>
                <a:cubicBezTo>
                  <a:pt x="284" y="58"/>
                  <a:pt x="284" y="58"/>
                  <a:pt x="284" y="58"/>
                </a:cubicBezTo>
                <a:cubicBezTo>
                  <a:pt x="284" y="59"/>
                  <a:pt x="284" y="59"/>
                  <a:pt x="284" y="59"/>
                </a:cubicBezTo>
                <a:cubicBezTo>
                  <a:pt x="284" y="60"/>
                  <a:pt x="284" y="60"/>
                  <a:pt x="284" y="60"/>
                </a:cubicBezTo>
                <a:cubicBezTo>
                  <a:pt x="285" y="62"/>
                  <a:pt x="285" y="62"/>
                  <a:pt x="285" y="62"/>
                </a:cubicBezTo>
                <a:close/>
                <a:moveTo>
                  <a:pt x="391" y="155"/>
                </a:moveTo>
                <a:cubicBezTo>
                  <a:pt x="391" y="155"/>
                  <a:pt x="392" y="155"/>
                  <a:pt x="392" y="155"/>
                </a:cubicBezTo>
                <a:cubicBezTo>
                  <a:pt x="393" y="155"/>
                  <a:pt x="393" y="155"/>
                  <a:pt x="393" y="155"/>
                </a:cubicBezTo>
                <a:cubicBezTo>
                  <a:pt x="393" y="156"/>
                  <a:pt x="393" y="156"/>
                  <a:pt x="393" y="156"/>
                </a:cubicBezTo>
                <a:cubicBezTo>
                  <a:pt x="395" y="156"/>
                  <a:pt x="395" y="156"/>
                  <a:pt x="395" y="156"/>
                </a:cubicBezTo>
                <a:cubicBezTo>
                  <a:pt x="395" y="156"/>
                  <a:pt x="395" y="156"/>
                  <a:pt x="395" y="156"/>
                </a:cubicBezTo>
                <a:cubicBezTo>
                  <a:pt x="396" y="156"/>
                  <a:pt x="396" y="156"/>
                  <a:pt x="396" y="156"/>
                </a:cubicBezTo>
                <a:cubicBezTo>
                  <a:pt x="398" y="155"/>
                  <a:pt x="398" y="155"/>
                  <a:pt x="398" y="155"/>
                </a:cubicBezTo>
                <a:cubicBezTo>
                  <a:pt x="399" y="155"/>
                  <a:pt x="399" y="155"/>
                  <a:pt x="399" y="155"/>
                </a:cubicBezTo>
                <a:cubicBezTo>
                  <a:pt x="401" y="156"/>
                  <a:pt x="401" y="156"/>
                  <a:pt x="401" y="156"/>
                </a:cubicBezTo>
                <a:cubicBezTo>
                  <a:pt x="402" y="156"/>
                  <a:pt x="402" y="156"/>
                  <a:pt x="402" y="156"/>
                </a:cubicBezTo>
                <a:cubicBezTo>
                  <a:pt x="403" y="156"/>
                  <a:pt x="403" y="156"/>
                  <a:pt x="403" y="156"/>
                </a:cubicBezTo>
                <a:cubicBezTo>
                  <a:pt x="404" y="155"/>
                  <a:pt x="404" y="155"/>
                  <a:pt x="404" y="155"/>
                </a:cubicBezTo>
                <a:cubicBezTo>
                  <a:pt x="404" y="155"/>
                  <a:pt x="404" y="155"/>
                  <a:pt x="404" y="155"/>
                </a:cubicBezTo>
                <a:cubicBezTo>
                  <a:pt x="404" y="153"/>
                  <a:pt x="404" y="153"/>
                  <a:pt x="404" y="153"/>
                </a:cubicBezTo>
                <a:cubicBezTo>
                  <a:pt x="405" y="153"/>
                  <a:pt x="405" y="153"/>
                  <a:pt x="405" y="153"/>
                </a:cubicBezTo>
                <a:cubicBezTo>
                  <a:pt x="405" y="152"/>
                  <a:pt x="405" y="152"/>
                  <a:pt x="405" y="152"/>
                </a:cubicBezTo>
                <a:cubicBezTo>
                  <a:pt x="405" y="151"/>
                  <a:pt x="405" y="151"/>
                  <a:pt x="405" y="151"/>
                </a:cubicBezTo>
                <a:cubicBezTo>
                  <a:pt x="405" y="150"/>
                  <a:pt x="405" y="150"/>
                  <a:pt x="405" y="150"/>
                </a:cubicBezTo>
                <a:cubicBezTo>
                  <a:pt x="405" y="150"/>
                  <a:pt x="405" y="150"/>
                  <a:pt x="405" y="150"/>
                </a:cubicBezTo>
                <a:cubicBezTo>
                  <a:pt x="405" y="151"/>
                  <a:pt x="405" y="151"/>
                  <a:pt x="405" y="151"/>
                </a:cubicBezTo>
                <a:cubicBezTo>
                  <a:pt x="406" y="153"/>
                  <a:pt x="406" y="153"/>
                  <a:pt x="406" y="153"/>
                </a:cubicBezTo>
                <a:cubicBezTo>
                  <a:pt x="407" y="152"/>
                  <a:pt x="407" y="152"/>
                  <a:pt x="407" y="152"/>
                </a:cubicBezTo>
                <a:cubicBezTo>
                  <a:pt x="408" y="152"/>
                  <a:pt x="408" y="152"/>
                  <a:pt x="408" y="152"/>
                </a:cubicBezTo>
                <a:cubicBezTo>
                  <a:pt x="408" y="152"/>
                  <a:pt x="408" y="152"/>
                  <a:pt x="408" y="152"/>
                </a:cubicBezTo>
                <a:cubicBezTo>
                  <a:pt x="409" y="152"/>
                  <a:pt x="409" y="152"/>
                  <a:pt x="409" y="152"/>
                </a:cubicBezTo>
                <a:cubicBezTo>
                  <a:pt x="409" y="151"/>
                  <a:pt x="409" y="151"/>
                  <a:pt x="409" y="151"/>
                </a:cubicBezTo>
                <a:cubicBezTo>
                  <a:pt x="409" y="150"/>
                  <a:pt x="409" y="150"/>
                  <a:pt x="409" y="150"/>
                </a:cubicBezTo>
                <a:cubicBezTo>
                  <a:pt x="409" y="149"/>
                  <a:pt x="409" y="149"/>
                  <a:pt x="409" y="149"/>
                </a:cubicBezTo>
                <a:cubicBezTo>
                  <a:pt x="408" y="149"/>
                  <a:pt x="408" y="149"/>
                  <a:pt x="408" y="149"/>
                </a:cubicBezTo>
                <a:cubicBezTo>
                  <a:pt x="407" y="149"/>
                  <a:pt x="407" y="149"/>
                  <a:pt x="407" y="149"/>
                </a:cubicBezTo>
                <a:cubicBezTo>
                  <a:pt x="406" y="149"/>
                  <a:pt x="406" y="149"/>
                  <a:pt x="406" y="149"/>
                </a:cubicBezTo>
                <a:cubicBezTo>
                  <a:pt x="405" y="148"/>
                  <a:pt x="405" y="148"/>
                  <a:pt x="405" y="148"/>
                </a:cubicBezTo>
                <a:cubicBezTo>
                  <a:pt x="406" y="148"/>
                  <a:pt x="406" y="148"/>
                  <a:pt x="406" y="148"/>
                </a:cubicBezTo>
                <a:cubicBezTo>
                  <a:pt x="407" y="148"/>
                  <a:pt x="407" y="148"/>
                  <a:pt x="407" y="148"/>
                </a:cubicBezTo>
                <a:cubicBezTo>
                  <a:pt x="408" y="148"/>
                  <a:pt x="408" y="148"/>
                  <a:pt x="408" y="148"/>
                </a:cubicBezTo>
                <a:cubicBezTo>
                  <a:pt x="409" y="147"/>
                  <a:pt x="409" y="147"/>
                  <a:pt x="409" y="147"/>
                </a:cubicBezTo>
                <a:cubicBezTo>
                  <a:pt x="409" y="147"/>
                  <a:pt x="409" y="147"/>
                  <a:pt x="409" y="147"/>
                </a:cubicBezTo>
                <a:cubicBezTo>
                  <a:pt x="410" y="147"/>
                  <a:pt x="410" y="147"/>
                  <a:pt x="410" y="147"/>
                </a:cubicBezTo>
                <a:cubicBezTo>
                  <a:pt x="411" y="146"/>
                  <a:pt x="411" y="146"/>
                  <a:pt x="411" y="146"/>
                </a:cubicBezTo>
                <a:cubicBezTo>
                  <a:pt x="411" y="145"/>
                  <a:pt x="411" y="145"/>
                  <a:pt x="411" y="145"/>
                </a:cubicBezTo>
                <a:cubicBezTo>
                  <a:pt x="411" y="144"/>
                  <a:pt x="411" y="144"/>
                  <a:pt x="411" y="144"/>
                </a:cubicBezTo>
                <a:cubicBezTo>
                  <a:pt x="411" y="143"/>
                  <a:pt x="411" y="143"/>
                  <a:pt x="411" y="143"/>
                </a:cubicBezTo>
                <a:cubicBezTo>
                  <a:pt x="412" y="143"/>
                  <a:pt x="412" y="143"/>
                  <a:pt x="412" y="143"/>
                </a:cubicBezTo>
                <a:cubicBezTo>
                  <a:pt x="412" y="142"/>
                  <a:pt x="412" y="142"/>
                  <a:pt x="412" y="142"/>
                </a:cubicBezTo>
                <a:cubicBezTo>
                  <a:pt x="410" y="142"/>
                  <a:pt x="410" y="142"/>
                  <a:pt x="410" y="142"/>
                </a:cubicBezTo>
                <a:cubicBezTo>
                  <a:pt x="409" y="142"/>
                  <a:pt x="409" y="142"/>
                  <a:pt x="409" y="142"/>
                </a:cubicBezTo>
                <a:cubicBezTo>
                  <a:pt x="410" y="141"/>
                  <a:pt x="410" y="141"/>
                  <a:pt x="410" y="141"/>
                </a:cubicBezTo>
                <a:cubicBezTo>
                  <a:pt x="410" y="141"/>
                  <a:pt x="410" y="141"/>
                  <a:pt x="410" y="141"/>
                </a:cubicBezTo>
                <a:cubicBezTo>
                  <a:pt x="410" y="140"/>
                  <a:pt x="410" y="140"/>
                  <a:pt x="410" y="140"/>
                </a:cubicBezTo>
                <a:cubicBezTo>
                  <a:pt x="409" y="139"/>
                  <a:pt x="409" y="139"/>
                  <a:pt x="409" y="139"/>
                </a:cubicBezTo>
                <a:cubicBezTo>
                  <a:pt x="407" y="139"/>
                  <a:pt x="407" y="139"/>
                  <a:pt x="407" y="139"/>
                </a:cubicBezTo>
                <a:cubicBezTo>
                  <a:pt x="406" y="138"/>
                  <a:pt x="406" y="138"/>
                  <a:pt x="406" y="138"/>
                </a:cubicBezTo>
                <a:cubicBezTo>
                  <a:pt x="407" y="138"/>
                  <a:pt x="407" y="138"/>
                  <a:pt x="407" y="138"/>
                </a:cubicBezTo>
                <a:cubicBezTo>
                  <a:pt x="407" y="137"/>
                  <a:pt x="407" y="137"/>
                  <a:pt x="407" y="137"/>
                </a:cubicBezTo>
                <a:cubicBezTo>
                  <a:pt x="407" y="136"/>
                  <a:pt x="407" y="136"/>
                  <a:pt x="407" y="136"/>
                </a:cubicBezTo>
                <a:cubicBezTo>
                  <a:pt x="405" y="135"/>
                  <a:pt x="405" y="135"/>
                  <a:pt x="405" y="135"/>
                </a:cubicBezTo>
                <a:cubicBezTo>
                  <a:pt x="404" y="135"/>
                  <a:pt x="404" y="135"/>
                  <a:pt x="404" y="135"/>
                </a:cubicBezTo>
                <a:cubicBezTo>
                  <a:pt x="403" y="135"/>
                  <a:pt x="403" y="135"/>
                  <a:pt x="403" y="135"/>
                </a:cubicBezTo>
                <a:cubicBezTo>
                  <a:pt x="401" y="135"/>
                  <a:pt x="401" y="135"/>
                  <a:pt x="401" y="135"/>
                </a:cubicBezTo>
                <a:cubicBezTo>
                  <a:pt x="399" y="136"/>
                  <a:pt x="399" y="136"/>
                  <a:pt x="399" y="136"/>
                </a:cubicBezTo>
                <a:cubicBezTo>
                  <a:pt x="397" y="134"/>
                  <a:pt x="397" y="134"/>
                  <a:pt x="397" y="134"/>
                </a:cubicBezTo>
                <a:cubicBezTo>
                  <a:pt x="397" y="133"/>
                  <a:pt x="397" y="133"/>
                  <a:pt x="397" y="133"/>
                </a:cubicBezTo>
                <a:cubicBezTo>
                  <a:pt x="396" y="133"/>
                  <a:pt x="396" y="133"/>
                  <a:pt x="396" y="133"/>
                </a:cubicBezTo>
                <a:cubicBezTo>
                  <a:pt x="395" y="134"/>
                  <a:pt x="395" y="134"/>
                  <a:pt x="395" y="134"/>
                </a:cubicBezTo>
                <a:cubicBezTo>
                  <a:pt x="394" y="134"/>
                  <a:pt x="394" y="134"/>
                  <a:pt x="394" y="134"/>
                </a:cubicBezTo>
                <a:cubicBezTo>
                  <a:pt x="393" y="134"/>
                  <a:pt x="393" y="134"/>
                  <a:pt x="393" y="134"/>
                </a:cubicBezTo>
                <a:cubicBezTo>
                  <a:pt x="392" y="134"/>
                  <a:pt x="392" y="134"/>
                  <a:pt x="392" y="134"/>
                </a:cubicBezTo>
                <a:cubicBezTo>
                  <a:pt x="392" y="135"/>
                  <a:pt x="392" y="135"/>
                  <a:pt x="392" y="135"/>
                </a:cubicBezTo>
                <a:cubicBezTo>
                  <a:pt x="391" y="134"/>
                  <a:pt x="391" y="134"/>
                  <a:pt x="391" y="134"/>
                </a:cubicBezTo>
                <a:cubicBezTo>
                  <a:pt x="390" y="134"/>
                  <a:pt x="390" y="134"/>
                  <a:pt x="390" y="134"/>
                </a:cubicBezTo>
                <a:cubicBezTo>
                  <a:pt x="389" y="134"/>
                  <a:pt x="389" y="134"/>
                  <a:pt x="389" y="134"/>
                </a:cubicBezTo>
                <a:cubicBezTo>
                  <a:pt x="387" y="134"/>
                  <a:pt x="387" y="134"/>
                  <a:pt x="387" y="134"/>
                </a:cubicBezTo>
                <a:cubicBezTo>
                  <a:pt x="387" y="135"/>
                  <a:pt x="387" y="135"/>
                  <a:pt x="387" y="135"/>
                </a:cubicBezTo>
                <a:cubicBezTo>
                  <a:pt x="387" y="136"/>
                  <a:pt x="387" y="136"/>
                  <a:pt x="387" y="136"/>
                </a:cubicBezTo>
                <a:cubicBezTo>
                  <a:pt x="387" y="135"/>
                  <a:pt x="387" y="135"/>
                  <a:pt x="387" y="135"/>
                </a:cubicBezTo>
                <a:cubicBezTo>
                  <a:pt x="386" y="134"/>
                  <a:pt x="386" y="134"/>
                  <a:pt x="386" y="134"/>
                </a:cubicBezTo>
                <a:cubicBezTo>
                  <a:pt x="385" y="135"/>
                  <a:pt x="385" y="135"/>
                  <a:pt x="385" y="135"/>
                </a:cubicBezTo>
                <a:cubicBezTo>
                  <a:pt x="382" y="134"/>
                  <a:pt x="382" y="134"/>
                  <a:pt x="382" y="134"/>
                </a:cubicBezTo>
                <a:cubicBezTo>
                  <a:pt x="382" y="135"/>
                  <a:pt x="382" y="135"/>
                  <a:pt x="382" y="135"/>
                </a:cubicBezTo>
                <a:cubicBezTo>
                  <a:pt x="383" y="135"/>
                  <a:pt x="383" y="135"/>
                  <a:pt x="383" y="135"/>
                </a:cubicBezTo>
                <a:cubicBezTo>
                  <a:pt x="383" y="136"/>
                  <a:pt x="383" y="136"/>
                  <a:pt x="383" y="136"/>
                </a:cubicBezTo>
                <a:cubicBezTo>
                  <a:pt x="384" y="137"/>
                  <a:pt x="384" y="137"/>
                  <a:pt x="384" y="137"/>
                </a:cubicBezTo>
                <a:cubicBezTo>
                  <a:pt x="383" y="137"/>
                  <a:pt x="383" y="137"/>
                  <a:pt x="383" y="137"/>
                </a:cubicBezTo>
                <a:cubicBezTo>
                  <a:pt x="382" y="136"/>
                  <a:pt x="382" y="136"/>
                  <a:pt x="382" y="136"/>
                </a:cubicBezTo>
                <a:cubicBezTo>
                  <a:pt x="381" y="136"/>
                  <a:pt x="381" y="136"/>
                  <a:pt x="381" y="136"/>
                </a:cubicBezTo>
                <a:cubicBezTo>
                  <a:pt x="380" y="136"/>
                  <a:pt x="380" y="136"/>
                  <a:pt x="380" y="136"/>
                </a:cubicBezTo>
                <a:cubicBezTo>
                  <a:pt x="379" y="136"/>
                  <a:pt x="379" y="136"/>
                  <a:pt x="379" y="136"/>
                </a:cubicBezTo>
                <a:cubicBezTo>
                  <a:pt x="380" y="135"/>
                  <a:pt x="380" y="135"/>
                  <a:pt x="380" y="135"/>
                </a:cubicBezTo>
                <a:cubicBezTo>
                  <a:pt x="380" y="134"/>
                  <a:pt x="380" y="134"/>
                  <a:pt x="380" y="134"/>
                </a:cubicBezTo>
                <a:cubicBezTo>
                  <a:pt x="379" y="133"/>
                  <a:pt x="379" y="133"/>
                  <a:pt x="379" y="133"/>
                </a:cubicBezTo>
                <a:cubicBezTo>
                  <a:pt x="379" y="132"/>
                  <a:pt x="379" y="132"/>
                  <a:pt x="379" y="132"/>
                </a:cubicBezTo>
                <a:cubicBezTo>
                  <a:pt x="379" y="132"/>
                  <a:pt x="379" y="132"/>
                  <a:pt x="379" y="132"/>
                </a:cubicBezTo>
                <a:cubicBezTo>
                  <a:pt x="377" y="132"/>
                  <a:pt x="377" y="132"/>
                  <a:pt x="377" y="132"/>
                </a:cubicBezTo>
                <a:cubicBezTo>
                  <a:pt x="377" y="133"/>
                  <a:pt x="377" y="133"/>
                  <a:pt x="377" y="133"/>
                </a:cubicBezTo>
                <a:cubicBezTo>
                  <a:pt x="377" y="134"/>
                  <a:pt x="377" y="134"/>
                  <a:pt x="377" y="134"/>
                </a:cubicBezTo>
                <a:cubicBezTo>
                  <a:pt x="376" y="134"/>
                  <a:pt x="376" y="134"/>
                  <a:pt x="376" y="134"/>
                </a:cubicBezTo>
                <a:cubicBezTo>
                  <a:pt x="377" y="133"/>
                  <a:pt x="377" y="133"/>
                  <a:pt x="377" y="133"/>
                </a:cubicBezTo>
                <a:cubicBezTo>
                  <a:pt x="376" y="132"/>
                  <a:pt x="376" y="132"/>
                  <a:pt x="376" y="132"/>
                </a:cubicBezTo>
                <a:cubicBezTo>
                  <a:pt x="375" y="132"/>
                  <a:pt x="375" y="132"/>
                  <a:pt x="375" y="132"/>
                </a:cubicBezTo>
                <a:cubicBezTo>
                  <a:pt x="374" y="132"/>
                  <a:pt x="374" y="132"/>
                  <a:pt x="374" y="132"/>
                </a:cubicBezTo>
                <a:cubicBezTo>
                  <a:pt x="374" y="132"/>
                  <a:pt x="374" y="132"/>
                  <a:pt x="374" y="132"/>
                </a:cubicBezTo>
                <a:cubicBezTo>
                  <a:pt x="374" y="131"/>
                  <a:pt x="374" y="131"/>
                  <a:pt x="374" y="131"/>
                </a:cubicBezTo>
                <a:cubicBezTo>
                  <a:pt x="374" y="131"/>
                  <a:pt x="374" y="131"/>
                  <a:pt x="374" y="131"/>
                </a:cubicBezTo>
                <a:cubicBezTo>
                  <a:pt x="374" y="129"/>
                  <a:pt x="374" y="129"/>
                  <a:pt x="374" y="129"/>
                </a:cubicBezTo>
                <a:cubicBezTo>
                  <a:pt x="372" y="130"/>
                  <a:pt x="372" y="130"/>
                  <a:pt x="372" y="130"/>
                </a:cubicBezTo>
                <a:cubicBezTo>
                  <a:pt x="371" y="131"/>
                  <a:pt x="371" y="131"/>
                  <a:pt x="371" y="131"/>
                </a:cubicBezTo>
                <a:cubicBezTo>
                  <a:pt x="371" y="133"/>
                  <a:pt x="371" y="133"/>
                  <a:pt x="371" y="133"/>
                </a:cubicBezTo>
                <a:cubicBezTo>
                  <a:pt x="370" y="133"/>
                  <a:pt x="370" y="133"/>
                  <a:pt x="370" y="133"/>
                </a:cubicBezTo>
                <a:cubicBezTo>
                  <a:pt x="370" y="131"/>
                  <a:pt x="370" y="131"/>
                  <a:pt x="370" y="131"/>
                </a:cubicBezTo>
                <a:cubicBezTo>
                  <a:pt x="370" y="130"/>
                  <a:pt x="370" y="130"/>
                  <a:pt x="370" y="130"/>
                </a:cubicBezTo>
                <a:cubicBezTo>
                  <a:pt x="370" y="130"/>
                  <a:pt x="370" y="130"/>
                  <a:pt x="370" y="130"/>
                </a:cubicBezTo>
                <a:cubicBezTo>
                  <a:pt x="371" y="128"/>
                  <a:pt x="371" y="128"/>
                  <a:pt x="371" y="128"/>
                </a:cubicBezTo>
                <a:cubicBezTo>
                  <a:pt x="370" y="127"/>
                  <a:pt x="370" y="127"/>
                  <a:pt x="370" y="127"/>
                </a:cubicBezTo>
                <a:cubicBezTo>
                  <a:pt x="369" y="127"/>
                  <a:pt x="369" y="127"/>
                  <a:pt x="369" y="127"/>
                </a:cubicBezTo>
                <a:cubicBezTo>
                  <a:pt x="369" y="127"/>
                  <a:pt x="369" y="127"/>
                  <a:pt x="369" y="127"/>
                </a:cubicBezTo>
                <a:cubicBezTo>
                  <a:pt x="370" y="126"/>
                  <a:pt x="370" y="126"/>
                  <a:pt x="370" y="126"/>
                </a:cubicBezTo>
                <a:cubicBezTo>
                  <a:pt x="370" y="125"/>
                  <a:pt x="370" y="125"/>
                  <a:pt x="370" y="125"/>
                </a:cubicBezTo>
                <a:cubicBezTo>
                  <a:pt x="370" y="124"/>
                  <a:pt x="370" y="124"/>
                  <a:pt x="370" y="124"/>
                </a:cubicBezTo>
                <a:cubicBezTo>
                  <a:pt x="369" y="124"/>
                  <a:pt x="369" y="124"/>
                  <a:pt x="369" y="124"/>
                </a:cubicBezTo>
                <a:cubicBezTo>
                  <a:pt x="368" y="124"/>
                  <a:pt x="368" y="124"/>
                  <a:pt x="368" y="124"/>
                </a:cubicBezTo>
                <a:cubicBezTo>
                  <a:pt x="368" y="124"/>
                  <a:pt x="368" y="124"/>
                  <a:pt x="368" y="124"/>
                </a:cubicBezTo>
                <a:cubicBezTo>
                  <a:pt x="367" y="124"/>
                  <a:pt x="367" y="124"/>
                  <a:pt x="367" y="124"/>
                </a:cubicBezTo>
                <a:cubicBezTo>
                  <a:pt x="368" y="124"/>
                  <a:pt x="368" y="124"/>
                  <a:pt x="368" y="124"/>
                </a:cubicBezTo>
                <a:cubicBezTo>
                  <a:pt x="367" y="123"/>
                  <a:pt x="367" y="123"/>
                  <a:pt x="367" y="123"/>
                </a:cubicBezTo>
                <a:cubicBezTo>
                  <a:pt x="366" y="123"/>
                  <a:pt x="366" y="123"/>
                  <a:pt x="366" y="123"/>
                </a:cubicBezTo>
                <a:cubicBezTo>
                  <a:pt x="366" y="124"/>
                  <a:pt x="366" y="124"/>
                  <a:pt x="366" y="124"/>
                </a:cubicBezTo>
                <a:cubicBezTo>
                  <a:pt x="364" y="124"/>
                  <a:pt x="364" y="124"/>
                  <a:pt x="364" y="124"/>
                </a:cubicBezTo>
                <a:cubicBezTo>
                  <a:pt x="364" y="124"/>
                  <a:pt x="364" y="124"/>
                  <a:pt x="364" y="124"/>
                </a:cubicBezTo>
                <a:cubicBezTo>
                  <a:pt x="365" y="123"/>
                  <a:pt x="365" y="123"/>
                  <a:pt x="365" y="123"/>
                </a:cubicBezTo>
                <a:cubicBezTo>
                  <a:pt x="365" y="122"/>
                  <a:pt x="365" y="122"/>
                  <a:pt x="365" y="122"/>
                </a:cubicBezTo>
                <a:cubicBezTo>
                  <a:pt x="366" y="121"/>
                  <a:pt x="366" y="121"/>
                  <a:pt x="366" y="121"/>
                </a:cubicBezTo>
                <a:cubicBezTo>
                  <a:pt x="367" y="121"/>
                  <a:pt x="367" y="121"/>
                  <a:pt x="367" y="121"/>
                </a:cubicBezTo>
                <a:cubicBezTo>
                  <a:pt x="368" y="123"/>
                  <a:pt x="368" y="123"/>
                  <a:pt x="368" y="123"/>
                </a:cubicBezTo>
                <a:cubicBezTo>
                  <a:pt x="369" y="123"/>
                  <a:pt x="369" y="123"/>
                  <a:pt x="369" y="123"/>
                </a:cubicBezTo>
                <a:cubicBezTo>
                  <a:pt x="369" y="122"/>
                  <a:pt x="369" y="122"/>
                  <a:pt x="369" y="122"/>
                </a:cubicBezTo>
                <a:cubicBezTo>
                  <a:pt x="368" y="121"/>
                  <a:pt x="368" y="121"/>
                  <a:pt x="368" y="121"/>
                </a:cubicBezTo>
                <a:cubicBezTo>
                  <a:pt x="367" y="120"/>
                  <a:pt x="367" y="120"/>
                  <a:pt x="367" y="120"/>
                </a:cubicBezTo>
                <a:cubicBezTo>
                  <a:pt x="368" y="120"/>
                  <a:pt x="368" y="120"/>
                  <a:pt x="368" y="120"/>
                </a:cubicBezTo>
                <a:cubicBezTo>
                  <a:pt x="366" y="119"/>
                  <a:pt x="366" y="119"/>
                  <a:pt x="366" y="119"/>
                </a:cubicBezTo>
                <a:cubicBezTo>
                  <a:pt x="365" y="118"/>
                  <a:pt x="365" y="118"/>
                  <a:pt x="365" y="118"/>
                </a:cubicBezTo>
                <a:cubicBezTo>
                  <a:pt x="366" y="118"/>
                  <a:pt x="366" y="118"/>
                  <a:pt x="366" y="118"/>
                </a:cubicBezTo>
                <a:cubicBezTo>
                  <a:pt x="366" y="117"/>
                  <a:pt x="366" y="117"/>
                  <a:pt x="366" y="117"/>
                </a:cubicBezTo>
                <a:cubicBezTo>
                  <a:pt x="366" y="117"/>
                  <a:pt x="366" y="117"/>
                  <a:pt x="366" y="117"/>
                </a:cubicBezTo>
                <a:cubicBezTo>
                  <a:pt x="367" y="118"/>
                  <a:pt x="367" y="118"/>
                  <a:pt x="367" y="118"/>
                </a:cubicBezTo>
                <a:cubicBezTo>
                  <a:pt x="368" y="119"/>
                  <a:pt x="368" y="119"/>
                  <a:pt x="368" y="119"/>
                </a:cubicBezTo>
                <a:cubicBezTo>
                  <a:pt x="370" y="120"/>
                  <a:pt x="370" y="120"/>
                  <a:pt x="370" y="120"/>
                </a:cubicBezTo>
                <a:cubicBezTo>
                  <a:pt x="371" y="121"/>
                  <a:pt x="371" y="121"/>
                  <a:pt x="371" y="121"/>
                </a:cubicBezTo>
                <a:cubicBezTo>
                  <a:pt x="371" y="120"/>
                  <a:pt x="371" y="120"/>
                  <a:pt x="371" y="120"/>
                </a:cubicBezTo>
                <a:cubicBezTo>
                  <a:pt x="372" y="121"/>
                  <a:pt x="372" y="121"/>
                  <a:pt x="372" y="121"/>
                </a:cubicBezTo>
                <a:cubicBezTo>
                  <a:pt x="374" y="121"/>
                  <a:pt x="374" y="121"/>
                  <a:pt x="374" y="121"/>
                </a:cubicBezTo>
                <a:cubicBezTo>
                  <a:pt x="375" y="121"/>
                  <a:pt x="375" y="121"/>
                  <a:pt x="375" y="121"/>
                </a:cubicBezTo>
                <a:cubicBezTo>
                  <a:pt x="376" y="120"/>
                  <a:pt x="376" y="120"/>
                  <a:pt x="376" y="120"/>
                </a:cubicBezTo>
                <a:cubicBezTo>
                  <a:pt x="375" y="119"/>
                  <a:pt x="375" y="119"/>
                  <a:pt x="375" y="119"/>
                </a:cubicBezTo>
                <a:cubicBezTo>
                  <a:pt x="373" y="117"/>
                  <a:pt x="373" y="117"/>
                  <a:pt x="373" y="117"/>
                </a:cubicBezTo>
                <a:cubicBezTo>
                  <a:pt x="372" y="116"/>
                  <a:pt x="372" y="116"/>
                  <a:pt x="372" y="116"/>
                </a:cubicBezTo>
                <a:cubicBezTo>
                  <a:pt x="371" y="116"/>
                  <a:pt x="371" y="116"/>
                  <a:pt x="371" y="116"/>
                </a:cubicBezTo>
                <a:cubicBezTo>
                  <a:pt x="371" y="115"/>
                  <a:pt x="371" y="115"/>
                  <a:pt x="371" y="115"/>
                </a:cubicBezTo>
                <a:cubicBezTo>
                  <a:pt x="369" y="114"/>
                  <a:pt x="369" y="114"/>
                  <a:pt x="369" y="114"/>
                </a:cubicBezTo>
                <a:cubicBezTo>
                  <a:pt x="369" y="114"/>
                  <a:pt x="369" y="114"/>
                  <a:pt x="369" y="114"/>
                </a:cubicBezTo>
                <a:cubicBezTo>
                  <a:pt x="368" y="113"/>
                  <a:pt x="368" y="113"/>
                  <a:pt x="368" y="113"/>
                </a:cubicBezTo>
                <a:cubicBezTo>
                  <a:pt x="369" y="112"/>
                  <a:pt x="369" y="112"/>
                  <a:pt x="369" y="112"/>
                </a:cubicBezTo>
                <a:cubicBezTo>
                  <a:pt x="370" y="113"/>
                  <a:pt x="370" y="113"/>
                  <a:pt x="370" y="113"/>
                </a:cubicBezTo>
                <a:cubicBezTo>
                  <a:pt x="371" y="114"/>
                  <a:pt x="371" y="114"/>
                  <a:pt x="371" y="114"/>
                </a:cubicBezTo>
                <a:cubicBezTo>
                  <a:pt x="371" y="114"/>
                  <a:pt x="371" y="114"/>
                  <a:pt x="371" y="114"/>
                </a:cubicBezTo>
                <a:cubicBezTo>
                  <a:pt x="372" y="115"/>
                  <a:pt x="372" y="115"/>
                  <a:pt x="372" y="115"/>
                </a:cubicBezTo>
                <a:cubicBezTo>
                  <a:pt x="372" y="115"/>
                  <a:pt x="372" y="115"/>
                  <a:pt x="372" y="115"/>
                </a:cubicBezTo>
                <a:cubicBezTo>
                  <a:pt x="373" y="114"/>
                  <a:pt x="373" y="114"/>
                  <a:pt x="373" y="114"/>
                </a:cubicBezTo>
                <a:cubicBezTo>
                  <a:pt x="372" y="112"/>
                  <a:pt x="372" y="112"/>
                  <a:pt x="372" y="112"/>
                </a:cubicBezTo>
                <a:cubicBezTo>
                  <a:pt x="371" y="110"/>
                  <a:pt x="371" y="110"/>
                  <a:pt x="371" y="110"/>
                </a:cubicBezTo>
                <a:cubicBezTo>
                  <a:pt x="370" y="110"/>
                  <a:pt x="370" y="110"/>
                  <a:pt x="370" y="110"/>
                </a:cubicBezTo>
                <a:cubicBezTo>
                  <a:pt x="370" y="110"/>
                  <a:pt x="370" y="110"/>
                  <a:pt x="370" y="110"/>
                </a:cubicBezTo>
                <a:cubicBezTo>
                  <a:pt x="368" y="110"/>
                  <a:pt x="368" y="110"/>
                  <a:pt x="368" y="110"/>
                </a:cubicBezTo>
                <a:cubicBezTo>
                  <a:pt x="367" y="111"/>
                  <a:pt x="367" y="111"/>
                  <a:pt x="367" y="111"/>
                </a:cubicBezTo>
                <a:cubicBezTo>
                  <a:pt x="366" y="111"/>
                  <a:pt x="366" y="111"/>
                  <a:pt x="366" y="111"/>
                </a:cubicBezTo>
                <a:cubicBezTo>
                  <a:pt x="365" y="110"/>
                  <a:pt x="365" y="110"/>
                  <a:pt x="365" y="110"/>
                </a:cubicBezTo>
                <a:cubicBezTo>
                  <a:pt x="364" y="110"/>
                  <a:pt x="364" y="110"/>
                  <a:pt x="364" y="110"/>
                </a:cubicBezTo>
                <a:cubicBezTo>
                  <a:pt x="363" y="109"/>
                  <a:pt x="363" y="109"/>
                  <a:pt x="363" y="109"/>
                </a:cubicBezTo>
                <a:cubicBezTo>
                  <a:pt x="362" y="111"/>
                  <a:pt x="362" y="111"/>
                  <a:pt x="362" y="111"/>
                </a:cubicBezTo>
                <a:cubicBezTo>
                  <a:pt x="360" y="112"/>
                  <a:pt x="360" y="112"/>
                  <a:pt x="360" y="112"/>
                </a:cubicBezTo>
                <a:cubicBezTo>
                  <a:pt x="360" y="113"/>
                  <a:pt x="360" y="113"/>
                  <a:pt x="360" y="113"/>
                </a:cubicBezTo>
                <a:cubicBezTo>
                  <a:pt x="359" y="114"/>
                  <a:pt x="359" y="114"/>
                  <a:pt x="359" y="114"/>
                </a:cubicBezTo>
                <a:cubicBezTo>
                  <a:pt x="359" y="113"/>
                  <a:pt x="359" y="113"/>
                  <a:pt x="359" y="113"/>
                </a:cubicBezTo>
                <a:cubicBezTo>
                  <a:pt x="360" y="112"/>
                  <a:pt x="360" y="112"/>
                  <a:pt x="360" y="112"/>
                </a:cubicBezTo>
                <a:cubicBezTo>
                  <a:pt x="360" y="111"/>
                  <a:pt x="360" y="111"/>
                  <a:pt x="360" y="111"/>
                </a:cubicBezTo>
                <a:cubicBezTo>
                  <a:pt x="363" y="109"/>
                  <a:pt x="363" y="109"/>
                  <a:pt x="363" y="109"/>
                </a:cubicBezTo>
                <a:cubicBezTo>
                  <a:pt x="363" y="108"/>
                  <a:pt x="363" y="108"/>
                  <a:pt x="363" y="108"/>
                </a:cubicBezTo>
                <a:cubicBezTo>
                  <a:pt x="363" y="107"/>
                  <a:pt x="363" y="107"/>
                  <a:pt x="363" y="107"/>
                </a:cubicBezTo>
                <a:cubicBezTo>
                  <a:pt x="363" y="104"/>
                  <a:pt x="363" y="104"/>
                  <a:pt x="363" y="104"/>
                </a:cubicBezTo>
                <a:cubicBezTo>
                  <a:pt x="363" y="104"/>
                  <a:pt x="363" y="104"/>
                  <a:pt x="363" y="104"/>
                </a:cubicBezTo>
                <a:cubicBezTo>
                  <a:pt x="362" y="103"/>
                  <a:pt x="362" y="103"/>
                  <a:pt x="362" y="103"/>
                </a:cubicBezTo>
                <a:cubicBezTo>
                  <a:pt x="362" y="103"/>
                  <a:pt x="362" y="103"/>
                  <a:pt x="362" y="103"/>
                </a:cubicBezTo>
                <a:cubicBezTo>
                  <a:pt x="360" y="103"/>
                  <a:pt x="360" y="103"/>
                  <a:pt x="360" y="103"/>
                </a:cubicBezTo>
                <a:cubicBezTo>
                  <a:pt x="360" y="103"/>
                  <a:pt x="360" y="103"/>
                  <a:pt x="360" y="103"/>
                </a:cubicBezTo>
                <a:cubicBezTo>
                  <a:pt x="360" y="101"/>
                  <a:pt x="360" y="101"/>
                  <a:pt x="360" y="101"/>
                </a:cubicBezTo>
                <a:cubicBezTo>
                  <a:pt x="359" y="101"/>
                  <a:pt x="359" y="101"/>
                  <a:pt x="359" y="101"/>
                </a:cubicBezTo>
                <a:cubicBezTo>
                  <a:pt x="357" y="100"/>
                  <a:pt x="357" y="100"/>
                  <a:pt x="357" y="100"/>
                </a:cubicBezTo>
                <a:cubicBezTo>
                  <a:pt x="356" y="99"/>
                  <a:pt x="356" y="99"/>
                  <a:pt x="356" y="99"/>
                </a:cubicBezTo>
                <a:cubicBezTo>
                  <a:pt x="355" y="99"/>
                  <a:pt x="355" y="99"/>
                  <a:pt x="355" y="99"/>
                </a:cubicBezTo>
                <a:cubicBezTo>
                  <a:pt x="354" y="98"/>
                  <a:pt x="354" y="98"/>
                  <a:pt x="354" y="98"/>
                </a:cubicBezTo>
                <a:cubicBezTo>
                  <a:pt x="353" y="99"/>
                  <a:pt x="353" y="99"/>
                  <a:pt x="353" y="99"/>
                </a:cubicBezTo>
                <a:cubicBezTo>
                  <a:pt x="351" y="99"/>
                  <a:pt x="351" y="99"/>
                  <a:pt x="351" y="99"/>
                </a:cubicBezTo>
                <a:cubicBezTo>
                  <a:pt x="351" y="99"/>
                  <a:pt x="351" y="99"/>
                  <a:pt x="351" y="99"/>
                </a:cubicBezTo>
                <a:cubicBezTo>
                  <a:pt x="350" y="100"/>
                  <a:pt x="350" y="100"/>
                  <a:pt x="350" y="100"/>
                </a:cubicBezTo>
                <a:cubicBezTo>
                  <a:pt x="349" y="101"/>
                  <a:pt x="349" y="101"/>
                  <a:pt x="349" y="101"/>
                </a:cubicBezTo>
                <a:cubicBezTo>
                  <a:pt x="350" y="102"/>
                  <a:pt x="350" y="102"/>
                  <a:pt x="350" y="102"/>
                </a:cubicBezTo>
                <a:cubicBezTo>
                  <a:pt x="351" y="103"/>
                  <a:pt x="351" y="103"/>
                  <a:pt x="351" y="103"/>
                </a:cubicBezTo>
                <a:cubicBezTo>
                  <a:pt x="350" y="103"/>
                  <a:pt x="350" y="103"/>
                  <a:pt x="350" y="103"/>
                </a:cubicBezTo>
                <a:cubicBezTo>
                  <a:pt x="349" y="101"/>
                  <a:pt x="349" y="101"/>
                  <a:pt x="349" y="101"/>
                </a:cubicBezTo>
                <a:cubicBezTo>
                  <a:pt x="348" y="102"/>
                  <a:pt x="348" y="102"/>
                  <a:pt x="348" y="102"/>
                </a:cubicBezTo>
                <a:cubicBezTo>
                  <a:pt x="349" y="103"/>
                  <a:pt x="349" y="103"/>
                  <a:pt x="349" y="103"/>
                </a:cubicBezTo>
                <a:cubicBezTo>
                  <a:pt x="350" y="104"/>
                  <a:pt x="350" y="104"/>
                  <a:pt x="350" y="104"/>
                </a:cubicBezTo>
                <a:cubicBezTo>
                  <a:pt x="351" y="106"/>
                  <a:pt x="351" y="106"/>
                  <a:pt x="351" y="106"/>
                </a:cubicBezTo>
                <a:cubicBezTo>
                  <a:pt x="352" y="106"/>
                  <a:pt x="352" y="106"/>
                  <a:pt x="352" y="106"/>
                </a:cubicBezTo>
                <a:cubicBezTo>
                  <a:pt x="352" y="107"/>
                  <a:pt x="352" y="107"/>
                  <a:pt x="352" y="107"/>
                </a:cubicBezTo>
                <a:cubicBezTo>
                  <a:pt x="350" y="107"/>
                  <a:pt x="350" y="107"/>
                  <a:pt x="350" y="107"/>
                </a:cubicBezTo>
                <a:cubicBezTo>
                  <a:pt x="350" y="108"/>
                  <a:pt x="350" y="108"/>
                  <a:pt x="350" y="108"/>
                </a:cubicBezTo>
                <a:cubicBezTo>
                  <a:pt x="352" y="110"/>
                  <a:pt x="352" y="110"/>
                  <a:pt x="352" y="110"/>
                </a:cubicBezTo>
                <a:cubicBezTo>
                  <a:pt x="353" y="110"/>
                  <a:pt x="353" y="110"/>
                  <a:pt x="353" y="110"/>
                </a:cubicBezTo>
                <a:cubicBezTo>
                  <a:pt x="353" y="111"/>
                  <a:pt x="353" y="111"/>
                  <a:pt x="353" y="111"/>
                </a:cubicBezTo>
                <a:cubicBezTo>
                  <a:pt x="353" y="111"/>
                  <a:pt x="353" y="111"/>
                  <a:pt x="353" y="111"/>
                </a:cubicBezTo>
                <a:cubicBezTo>
                  <a:pt x="351" y="111"/>
                  <a:pt x="351" y="111"/>
                  <a:pt x="351" y="111"/>
                </a:cubicBezTo>
                <a:cubicBezTo>
                  <a:pt x="351" y="111"/>
                  <a:pt x="351" y="111"/>
                  <a:pt x="351" y="111"/>
                </a:cubicBezTo>
                <a:cubicBezTo>
                  <a:pt x="350" y="112"/>
                  <a:pt x="350" y="112"/>
                  <a:pt x="350" y="112"/>
                </a:cubicBezTo>
                <a:cubicBezTo>
                  <a:pt x="350" y="113"/>
                  <a:pt x="350" y="113"/>
                  <a:pt x="350" y="113"/>
                </a:cubicBezTo>
                <a:cubicBezTo>
                  <a:pt x="351" y="112"/>
                  <a:pt x="351" y="112"/>
                  <a:pt x="351" y="112"/>
                </a:cubicBezTo>
                <a:cubicBezTo>
                  <a:pt x="352" y="113"/>
                  <a:pt x="352" y="113"/>
                  <a:pt x="352" y="113"/>
                </a:cubicBezTo>
                <a:cubicBezTo>
                  <a:pt x="354" y="112"/>
                  <a:pt x="354" y="112"/>
                  <a:pt x="354" y="112"/>
                </a:cubicBezTo>
                <a:cubicBezTo>
                  <a:pt x="354" y="113"/>
                  <a:pt x="354" y="113"/>
                  <a:pt x="354" y="113"/>
                </a:cubicBezTo>
                <a:cubicBezTo>
                  <a:pt x="356" y="113"/>
                  <a:pt x="356" y="113"/>
                  <a:pt x="356" y="113"/>
                </a:cubicBezTo>
                <a:cubicBezTo>
                  <a:pt x="356" y="114"/>
                  <a:pt x="356" y="114"/>
                  <a:pt x="356" y="114"/>
                </a:cubicBezTo>
                <a:cubicBezTo>
                  <a:pt x="357" y="115"/>
                  <a:pt x="357" y="115"/>
                  <a:pt x="357" y="115"/>
                </a:cubicBezTo>
                <a:cubicBezTo>
                  <a:pt x="358" y="115"/>
                  <a:pt x="358" y="115"/>
                  <a:pt x="358" y="115"/>
                </a:cubicBezTo>
                <a:cubicBezTo>
                  <a:pt x="358" y="114"/>
                  <a:pt x="358" y="114"/>
                  <a:pt x="358" y="114"/>
                </a:cubicBezTo>
                <a:cubicBezTo>
                  <a:pt x="359" y="115"/>
                  <a:pt x="359" y="115"/>
                  <a:pt x="359" y="115"/>
                </a:cubicBezTo>
                <a:cubicBezTo>
                  <a:pt x="360" y="114"/>
                  <a:pt x="360" y="114"/>
                  <a:pt x="360" y="114"/>
                </a:cubicBezTo>
                <a:cubicBezTo>
                  <a:pt x="361" y="114"/>
                  <a:pt x="361" y="114"/>
                  <a:pt x="361" y="114"/>
                </a:cubicBezTo>
                <a:cubicBezTo>
                  <a:pt x="361" y="115"/>
                  <a:pt x="361" y="115"/>
                  <a:pt x="361" y="115"/>
                </a:cubicBezTo>
                <a:cubicBezTo>
                  <a:pt x="360" y="116"/>
                  <a:pt x="360" y="116"/>
                  <a:pt x="360" y="116"/>
                </a:cubicBezTo>
                <a:cubicBezTo>
                  <a:pt x="360" y="119"/>
                  <a:pt x="360" y="119"/>
                  <a:pt x="360" y="119"/>
                </a:cubicBezTo>
                <a:cubicBezTo>
                  <a:pt x="360" y="120"/>
                  <a:pt x="360" y="120"/>
                  <a:pt x="360" y="120"/>
                </a:cubicBezTo>
                <a:cubicBezTo>
                  <a:pt x="360" y="121"/>
                  <a:pt x="360" y="121"/>
                  <a:pt x="360" y="121"/>
                </a:cubicBezTo>
                <a:cubicBezTo>
                  <a:pt x="361" y="122"/>
                  <a:pt x="361" y="122"/>
                  <a:pt x="361" y="122"/>
                </a:cubicBezTo>
                <a:cubicBezTo>
                  <a:pt x="360" y="124"/>
                  <a:pt x="360" y="124"/>
                  <a:pt x="360" y="124"/>
                </a:cubicBezTo>
                <a:cubicBezTo>
                  <a:pt x="360" y="125"/>
                  <a:pt x="360" y="125"/>
                  <a:pt x="360" y="125"/>
                </a:cubicBezTo>
                <a:cubicBezTo>
                  <a:pt x="360" y="126"/>
                  <a:pt x="360" y="126"/>
                  <a:pt x="360" y="126"/>
                </a:cubicBezTo>
                <a:cubicBezTo>
                  <a:pt x="358" y="127"/>
                  <a:pt x="358" y="127"/>
                  <a:pt x="358" y="127"/>
                </a:cubicBezTo>
                <a:cubicBezTo>
                  <a:pt x="357" y="128"/>
                  <a:pt x="357" y="128"/>
                  <a:pt x="357" y="128"/>
                </a:cubicBezTo>
                <a:cubicBezTo>
                  <a:pt x="356" y="129"/>
                  <a:pt x="356" y="129"/>
                  <a:pt x="356" y="129"/>
                </a:cubicBezTo>
                <a:cubicBezTo>
                  <a:pt x="355" y="130"/>
                  <a:pt x="355" y="130"/>
                  <a:pt x="355" y="130"/>
                </a:cubicBezTo>
                <a:cubicBezTo>
                  <a:pt x="355" y="131"/>
                  <a:pt x="355" y="131"/>
                  <a:pt x="355" y="131"/>
                </a:cubicBezTo>
                <a:cubicBezTo>
                  <a:pt x="354" y="132"/>
                  <a:pt x="354" y="132"/>
                  <a:pt x="354" y="132"/>
                </a:cubicBezTo>
                <a:cubicBezTo>
                  <a:pt x="353" y="133"/>
                  <a:pt x="353" y="133"/>
                  <a:pt x="353" y="133"/>
                </a:cubicBezTo>
                <a:cubicBezTo>
                  <a:pt x="353" y="134"/>
                  <a:pt x="353" y="134"/>
                  <a:pt x="353" y="134"/>
                </a:cubicBezTo>
                <a:cubicBezTo>
                  <a:pt x="354" y="135"/>
                  <a:pt x="354" y="135"/>
                  <a:pt x="354" y="135"/>
                </a:cubicBezTo>
                <a:cubicBezTo>
                  <a:pt x="354" y="136"/>
                  <a:pt x="354" y="136"/>
                  <a:pt x="354" y="136"/>
                </a:cubicBezTo>
                <a:cubicBezTo>
                  <a:pt x="353" y="136"/>
                  <a:pt x="353" y="136"/>
                  <a:pt x="353" y="136"/>
                </a:cubicBezTo>
                <a:cubicBezTo>
                  <a:pt x="353" y="137"/>
                  <a:pt x="353" y="137"/>
                  <a:pt x="353" y="137"/>
                </a:cubicBezTo>
                <a:cubicBezTo>
                  <a:pt x="354" y="138"/>
                  <a:pt x="354" y="138"/>
                  <a:pt x="354" y="138"/>
                </a:cubicBezTo>
                <a:cubicBezTo>
                  <a:pt x="353" y="139"/>
                  <a:pt x="353" y="139"/>
                  <a:pt x="353" y="139"/>
                </a:cubicBezTo>
                <a:cubicBezTo>
                  <a:pt x="352" y="140"/>
                  <a:pt x="352" y="140"/>
                  <a:pt x="352" y="140"/>
                </a:cubicBezTo>
                <a:cubicBezTo>
                  <a:pt x="353" y="141"/>
                  <a:pt x="353" y="141"/>
                  <a:pt x="353" y="141"/>
                </a:cubicBezTo>
                <a:cubicBezTo>
                  <a:pt x="354" y="141"/>
                  <a:pt x="354" y="141"/>
                  <a:pt x="354" y="141"/>
                </a:cubicBezTo>
                <a:cubicBezTo>
                  <a:pt x="354" y="142"/>
                  <a:pt x="354" y="142"/>
                  <a:pt x="354" y="142"/>
                </a:cubicBezTo>
                <a:cubicBezTo>
                  <a:pt x="355" y="143"/>
                  <a:pt x="355" y="143"/>
                  <a:pt x="355" y="143"/>
                </a:cubicBezTo>
                <a:cubicBezTo>
                  <a:pt x="355" y="143"/>
                  <a:pt x="355" y="143"/>
                  <a:pt x="355" y="143"/>
                </a:cubicBezTo>
                <a:cubicBezTo>
                  <a:pt x="355" y="142"/>
                  <a:pt x="355" y="142"/>
                  <a:pt x="355" y="142"/>
                </a:cubicBezTo>
                <a:cubicBezTo>
                  <a:pt x="356" y="141"/>
                  <a:pt x="356" y="141"/>
                  <a:pt x="356" y="141"/>
                </a:cubicBezTo>
                <a:cubicBezTo>
                  <a:pt x="356" y="142"/>
                  <a:pt x="356" y="142"/>
                  <a:pt x="356" y="142"/>
                </a:cubicBezTo>
                <a:cubicBezTo>
                  <a:pt x="357" y="142"/>
                  <a:pt x="357" y="142"/>
                  <a:pt x="357" y="142"/>
                </a:cubicBezTo>
                <a:cubicBezTo>
                  <a:pt x="358" y="140"/>
                  <a:pt x="358" y="140"/>
                  <a:pt x="358" y="140"/>
                </a:cubicBezTo>
                <a:cubicBezTo>
                  <a:pt x="359" y="141"/>
                  <a:pt x="359" y="141"/>
                  <a:pt x="359" y="141"/>
                </a:cubicBezTo>
                <a:cubicBezTo>
                  <a:pt x="358" y="142"/>
                  <a:pt x="358" y="142"/>
                  <a:pt x="358" y="142"/>
                </a:cubicBezTo>
                <a:cubicBezTo>
                  <a:pt x="357" y="142"/>
                  <a:pt x="357" y="142"/>
                  <a:pt x="357" y="142"/>
                </a:cubicBezTo>
                <a:cubicBezTo>
                  <a:pt x="357" y="143"/>
                  <a:pt x="357" y="143"/>
                  <a:pt x="357" y="143"/>
                </a:cubicBezTo>
                <a:cubicBezTo>
                  <a:pt x="357" y="144"/>
                  <a:pt x="357" y="144"/>
                  <a:pt x="357" y="144"/>
                </a:cubicBezTo>
                <a:cubicBezTo>
                  <a:pt x="357" y="144"/>
                  <a:pt x="357" y="144"/>
                  <a:pt x="357" y="144"/>
                </a:cubicBezTo>
                <a:cubicBezTo>
                  <a:pt x="358" y="146"/>
                  <a:pt x="358" y="146"/>
                  <a:pt x="358" y="146"/>
                </a:cubicBezTo>
                <a:cubicBezTo>
                  <a:pt x="360" y="145"/>
                  <a:pt x="360" y="145"/>
                  <a:pt x="360" y="145"/>
                </a:cubicBezTo>
                <a:cubicBezTo>
                  <a:pt x="360" y="146"/>
                  <a:pt x="360" y="146"/>
                  <a:pt x="360" y="146"/>
                </a:cubicBezTo>
                <a:cubicBezTo>
                  <a:pt x="361" y="146"/>
                  <a:pt x="361" y="146"/>
                  <a:pt x="361" y="146"/>
                </a:cubicBezTo>
                <a:cubicBezTo>
                  <a:pt x="362" y="145"/>
                  <a:pt x="362" y="145"/>
                  <a:pt x="362" y="145"/>
                </a:cubicBezTo>
                <a:cubicBezTo>
                  <a:pt x="364" y="145"/>
                  <a:pt x="364" y="145"/>
                  <a:pt x="364" y="145"/>
                </a:cubicBezTo>
                <a:cubicBezTo>
                  <a:pt x="363" y="143"/>
                  <a:pt x="363" y="143"/>
                  <a:pt x="363" y="143"/>
                </a:cubicBezTo>
                <a:cubicBezTo>
                  <a:pt x="364" y="143"/>
                  <a:pt x="364" y="143"/>
                  <a:pt x="364" y="143"/>
                </a:cubicBezTo>
                <a:cubicBezTo>
                  <a:pt x="365" y="143"/>
                  <a:pt x="365" y="143"/>
                  <a:pt x="365" y="143"/>
                </a:cubicBezTo>
                <a:cubicBezTo>
                  <a:pt x="365" y="144"/>
                  <a:pt x="365" y="144"/>
                  <a:pt x="365" y="144"/>
                </a:cubicBezTo>
                <a:cubicBezTo>
                  <a:pt x="365" y="144"/>
                  <a:pt x="365" y="144"/>
                  <a:pt x="365" y="144"/>
                </a:cubicBezTo>
                <a:cubicBezTo>
                  <a:pt x="365" y="145"/>
                  <a:pt x="365" y="145"/>
                  <a:pt x="365" y="145"/>
                </a:cubicBezTo>
                <a:cubicBezTo>
                  <a:pt x="365" y="145"/>
                  <a:pt x="365" y="145"/>
                  <a:pt x="365" y="145"/>
                </a:cubicBezTo>
                <a:cubicBezTo>
                  <a:pt x="366" y="143"/>
                  <a:pt x="366" y="143"/>
                  <a:pt x="366" y="143"/>
                </a:cubicBezTo>
                <a:cubicBezTo>
                  <a:pt x="367" y="143"/>
                  <a:pt x="367" y="143"/>
                  <a:pt x="367" y="143"/>
                </a:cubicBezTo>
                <a:cubicBezTo>
                  <a:pt x="367" y="143"/>
                  <a:pt x="367" y="143"/>
                  <a:pt x="367" y="143"/>
                </a:cubicBezTo>
                <a:cubicBezTo>
                  <a:pt x="367" y="145"/>
                  <a:pt x="367" y="145"/>
                  <a:pt x="367" y="145"/>
                </a:cubicBezTo>
                <a:cubicBezTo>
                  <a:pt x="365" y="147"/>
                  <a:pt x="365" y="147"/>
                  <a:pt x="365" y="147"/>
                </a:cubicBezTo>
                <a:cubicBezTo>
                  <a:pt x="365" y="147"/>
                  <a:pt x="365" y="147"/>
                  <a:pt x="365" y="147"/>
                </a:cubicBezTo>
                <a:cubicBezTo>
                  <a:pt x="365" y="148"/>
                  <a:pt x="365" y="148"/>
                  <a:pt x="365" y="148"/>
                </a:cubicBezTo>
                <a:cubicBezTo>
                  <a:pt x="366" y="149"/>
                  <a:pt x="366" y="149"/>
                  <a:pt x="366" y="149"/>
                </a:cubicBezTo>
                <a:cubicBezTo>
                  <a:pt x="367" y="150"/>
                  <a:pt x="367" y="150"/>
                  <a:pt x="367" y="150"/>
                </a:cubicBezTo>
                <a:cubicBezTo>
                  <a:pt x="368" y="150"/>
                  <a:pt x="368" y="150"/>
                  <a:pt x="368" y="150"/>
                </a:cubicBezTo>
                <a:cubicBezTo>
                  <a:pt x="368" y="150"/>
                  <a:pt x="368" y="150"/>
                  <a:pt x="368" y="150"/>
                </a:cubicBezTo>
                <a:cubicBezTo>
                  <a:pt x="370" y="150"/>
                  <a:pt x="370" y="150"/>
                  <a:pt x="370" y="150"/>
                </a:cubicBezTo>
                <a:cubicBezTo>
                  <a:pt x="370" y="149"/>
                  <a:pt x="370" y="149"/>
                  <a:pt x="370" y="149"/>
                </a:cubicBezTo>
                <a:cubicBezTo>
                  <a:pt x="371" y="149"/>
                  <a:pt x="371" y="149"/>
                  <a:pt x="371" y="149"/>
                </a:cubicBezTo>
                <a:cubicBezTo>
                  <a:pt x="371" y="150"/>
                  <a:pt x="371" y="150"/>
                  <a:pt x="371" y="150"/>
                </a:cubicBezTo>
                <a:cubicBezTo>
                  <a:pt x="371" y="151"/>
                  <a:pt x="371" y="151"/>
                  <a:pt x="371" y="151"/>
                </a:cubicBezTo>
                <a:cubicBezTo>
                  <a:pt x="372" y="151"/>
                  <a:pt x="372" y="151"/>
                  <a:pt x="372" y="151"/>
                </a:cubicBezTo>
                <a:cubicBezTo>
                  <a:pt x="373" y="151"/>
                  <a:pt x="373" y="151"/>
                  <a:pt x="373" y="151"/>
                </a:cubicBezTo>
                <a:cubicBezTo>
                  <a:pt x="374" y="151"/>
                  <a:pt x="374" y="151"/>
                  <a:pt x="374" y="151"/>
                </a:cubicBezTo>
                <a:cubicBezTo>
                  <a:pt x="373" y="150"/>
                  <a:pt x="373" y="150"/>
                  <a:pt x="373" y="150"/>
                </a:cubicBezTo>
                <a:cubicBezTo>
                  <a:pt x="373" y="149"/>
                  <a:pt x="373" y="149"/>
                  <a:pt x="373" y="149"/>
                </a:cubicBezTo>
                <a:cubicBezTo>
                  <a:pt x="374" y="148"/>
                  <a:pt x="374" y="148"/>
                  <a:pt x="374" y="148"/>
                </a:cubicBezTo>
                <a:cubicBezTo>
                  <a:pt x="374" y="149"/>
                  <a:pt x="374" y="149"/>
                  <a:pt x="374" y="149"/>
                </a:cubicBezTo>
                <a:cubicBezTo>
                  <a:pt x="374" y="150"/>
                  <a:pt x="374" y="150"/>
                  <a:pt x="374" y="150"/>
                </a:cubicBezTo>
                <a:cubicBezTo>
                  <a:pt x="374" y="151"/>
                  <a:pt x="374" y="151"/>
                  <a:pt x="374" y="151"/>
                </a:cubicBezTo>
                <a:cubicBezTo>
                  <a:pt x="375" y="151"/>
                  <a:pt x="375" y="151"/>
                  <a:pt x="375" y="151"/>
                </a:cubicBezTo>
                <a:cubicBezTo>
                  <a:pt x="375" y="150"/>
                  <a:pt x="375" y="150"/>
                  <a:pt x="375" y="150"/>
                </a:cubicBezTo>
                <a:cubicBezTo>
                  <a:pt x="376" y="150"/>
                  <a:pt x="376" y="150"/>
                  <a:pt x="376" y="150"/>
                </a:cubicBezTo>
                <a:cubicBezTo>
                  <a:pt x="377" y="149"/>
                  <a:pt x="377" y="149"/>
                  <a:pt x="377" y="149"/>
                </a:cubicBezTo>
                <a:cubicBezTo>
                  <a:pt x="377" y="150"/>
                  <a:pt x="377" y="150"/>
                  <a:pt x="377" y="150"/>
                </a:cubicBezTo>
                <a:cubicBezTo>
                  <a:pt x="376" y="151"/>
                  <a:pt x="376" y="151"/>
                  <a:pt x="376" y="151"/>
                </a:cubicBezTo>
                <a:cubicBezTo>
                  <a:pt x="376" y="152"/>
                  <a:pt x="376" y="152"/>
                  <a:pt x="376" y="152"/>
                </a:cubicBezTo>
                <a:cubicBezTo>
                  <a:pt x="378" y="152"/>
                  <a:pt x="378" y="152"/>
                  <a:pt x="378" y="152"/>
                </a:cubicBezTo>
                <a:cubicBezTo>
                  <a:pt x="379" y="151"/>
                  <a:pt x="379" y="151"/>
                  <a:pt x="379" y="151"/>
                </a:cubicBezTo>
                <a:cubicBezTo>
                  <a:pt x="380" y="149"/>
                  <a:pt x="380" y="149"/>
                  <a:pt x="380" y="149"/>
                </a:cubicBezTo>
                <a:cubicBezTo>
                  <a:pt x="380" y="150"/>
                  <a:pt x="380" y="150"/>
                  <a:pt x="380" y="150"/>
                </a:cubicBezTo>
                <a:cubicBezTo>
                  <a:pt x="379" y="151"/>
                  <a:pt x="379" y="151"/>
                  <a:pt x="379" y="151"/>
                </a:cubicBezTo>
                <a:cubicBezTo>
                  <a:pt x="379" y="152"/>
                  <a:pt x="379" y="152"/>
                  <a:pt x="379" y="152"/>
                </a:cubicBezTo>
                <a:cubicBezTo>
                  <a:pt x="381" y="151"/>
                  <a:pt x="381" y="151"/>
                  <a:pt x="381" y="151"/>
                </a:cubicBezTo>
                <a:cubicBezTo>
                  <a:pt x="381" y="150"/>
                  <a:pt x="381" y="150"/>
                  <a:pt x="381" y="150"/>
                </a:cubicBezTo>
                <a:cubicBezTo>
                  <a:pt x="382" y="149"/>
                  <a:pt x="382" y="149"/>
                  <a:pt x="382" y="149"/>
                </a:cubicBezTo>
                <a:cubicBezTo>
                  <a:pt x="381" y="152"/>
                  <a:pt x="381" y="152"/>
                  <a:pt x="381" y="152"/>
                </a:cubicBezTo>
                <a:cubicBezTo>
                  <a:pt x="382" y="152"/>
                  <a:pt x="382" y="152"/>
                  <a:pt x="382" y="152"/>
                </a:cubicBezTo>
                <a:cubicBezTo>
                  <a:pt x="383" y="153"/>
                  <a:pt x="383" y="153"/>
                  <a:pt x="383" y="153"/>
                </a:cubicBezTo>
                <a:cubicBezTo>
                  <a:pt x="385" y="154"/>
                  <a:pt x="385" y="154"/>
                  <a:pt x="385" y="154"/>
                </a:cubicBezTo>
                <a:cubicBezTo>
                  <a:pt x="386" y="153"/>
                  <a:pt x="386" y="153"/>
                  <a:pt x="386" y="153"/>
                </a:cubicBezTo>
                <a:cubicBezTo>
                  <a:pt x="386" y="153"/>
                  <a:pt x="386" y="153"/>
                  <a:pt x="386" y="153"/>
                </a:cubicBezTo>
                <a:cubicBezTo>
                  <a:pt x="387" y="154"/>
                  <a:pt x="387" y="154"/>
                  <a:pt x="387" y="154"/>
                </a:cubicBezTo>
                <a:cubicBezTo>
                  <a:pt x="388" y="153"/>
                  <a:pt x="388" y="153"/>
                  <a:pt x="388" y="153"/>
                </a:cubicBezTo>
                <a:cubicBezTo>
                  <a:pt x="389" y="153"/>
                  <a:pt x="389" y="153"/>
                  <a:pt x="389" y="153"/>
                </a:cubicBezTo>
                <a:cubicBezTo>
                  <a:pt x="389" y="151"/>
                  <a:pt x="389" y="151"/>
                  <a:pt x="389" y="151"/>
                </a:cubicBezTo>
                <a:cubicBezTo>
                  <a:pt x="390" y="150"/>
                  <a:pt x="390" y="150"/>
                  <a:pt x="390" y="150"/>
                </a:cubicBezTo>
                <a:cubicBezTo>
                  <a:pt x="391" y="149"/>
                  <a:pt x="391" y="149"/>
                  <a:pt x="391" y="149"/>
                </a:cubicBezTo>
                <a:cubicBezTo>
                  <a:pt x="390" y="148"/>
                  <a:pt x="390" y="148"/>
                  <a:pt x="390" y="148"/>
                </a:cubicBezTo>
                <a:cubicBezTo>
                  <a:pt x="391" y="147"/>
                  <a:pt x="391" y="147"/>
                  <a:pt x="391" y="147"/>
                </a:cubicBezTo>
                <a:cubicBezTo>
                  <a:pt x="391" y="147"/>
                  <a:pt x="391" y="147"/>
                  <a:pt x="391" y="147"/>
                </a:cubicBezTo>
                <a:cubicBezTo>
                  <a:pt x="391" y="149"/>
                  <a:pt x="391" y="149"/>
                  <a:pt x="391" y="149"/>
                </a:cubicBezTo>
                <a:cubicBezTo>
                  <a:pt x="392" y="149"/>
                  <a:pt x="392" y="149"/>
                  <a:pt x="392" y="149"/>
                </a:cubicBezTo>
                <a:cubicBezTo>
                  <a:pt x="392" y="150"/>
                  <a:pt x="392" y="150"/>
                  <a:pt x="392" y="150"/>
                </a:cubicBezTo>
                <a:cubicBezTo>
                  <a:pt x="391" y="150"/>
                  <a:pt x="391" y="150"/>
                  <a:pt x="391" y="150"/>
                </a:cubicBezTo>
                <a:cubicBezTo>
                  <a:pt x="390" y="152"/>
                  <a:pt x="390" y="152"/>
                  <a:pt x="390" y="152"/>
                </a:cubicBezTo>
                <a:cubicBezTo>
                  <a:pt x="391" y="155"/>
                  <a:pt x="391" y="155"/>
                  <a:pt x="391" y="155"/>
                </a:cubicBezTo>
                <a:close/>
                <a:moveTo>
                  <a:pt x="348" y="98"/>
                </a:moveTo>
                <a:cubicBezTo>
                  <a:pt x="349" y="98"/>
                  <a:pt x="349" y="98"/>
                  <a:pt x="349" y="98"/>
                </a:cubicBezTo>
                <a:cubicBezTo>
                  <a:pt x="349" y="97"/>
                  <a:pt x="349" y="97"/>
                  <a:pt x="349" y="97"/>
                </a:cubicBezTo>
                <a:cubicBezTo>
                  <a:pt x="348" y="97"/>
                  <a:pt x="348" y="97"/>
                  <a:pt x="348" y="97"/>
                </a:cubicBezTo>
                <a:cubicBezTo>
                  <a:pt x="347" y="97"/>
                  <a:pt x="347" y="97"/>
                  <a:pt x="347" y="97"/>
                </a:cubicBezTo>
                <a:cubicBezTo>
                  <a:pt x="348" y="98"/>
                  <a:pt x="348" y="98"/>
                  <a:pt x="348" y="98"/>
                </a:cubicBezTo>
                <a:close/>
                <a:moveTo>
                  <a:pt x="345" y="106"/>
                </a:moveTo>
                <a:cubicBezTo>
                  <a:pt x="346" y="105"/>
                  <a:pt x="346" y="105"/>
                  <a:pt x="346" y="105"/>
                </a:cubicBezTo>
                <a:cubicBezTo>
                  <a:pt x="347" y="104"/>
                  <a:pt x="347" y="104"/>
                  <a:pt x="347" y="104"/>
                </a:cubicBezTo>
                <a:cubicBezTo>
                  <a:pt x="347" y="105"/>
                  <a:pt x="347" y="105"/>
                  <a:pt x="347" y="105"/>
                </a:cubicBezTo>
                <a:cubicBezTo>
                  <a:pt x="346" y="105"/>
                  <a:pt x="346" y="105"/>
                  <a:pt x="346" y="105"/>
                </a:cubicBezTo>
                <a:cubicBezTo>
                  <a:pt x="345" y="106"/>
                  <a:pt x="345" y="106"/>
                  <a:pt x="345" y="106"/>
                </a:cubicBezTo>
                <a:close/>
                <a:moveTo>
                  <a:pt x="315" y="116"/>
                </a:moveTo>
                <a:cubicBezTo>
                  <a:pt x="315" y="117"/>
                  <a:pt x="315" y="117"/>
                  <a:pt x="315" y="117"/>
                </a:cubicBezTo>
                <a:cubicBezTo>
                  <a:pt x="315" y="118"/>
                  <a:pt x="315" y="118"/>
                  <a:pt x="315" y="118"/>
                </a:cubicBezTo>
                <a:cubicBezTo>
                  <a:pt x="316" y="117"/>
                  <a:pt x="316" y="117"/>
                  <a:pt x="316" y="117"/>
                </a:cubicBezTo>
                <a:cubicBezTo>
                  <a:pt x="315" y="116"/>
                  <a:pt x="315" y="116"/>
                  <a:pt x="315" y="116"/>
                </a:cubicBezTo>
                <a:close/>
                <a:moveTo>
                  <a:pt x="335" y="97"/>
                </a:moveTo>
                <a:cubicBezTo>
                  <a:pt x="335" y="98"/>
                  <a:pt x="335" y="98"/>
                  <a:pt x="335" y="98"/>
                </a:cubicBezTo>
                <a:cubicBezTo>
                  <a:pt x="336" y="99"/>
                  <a:pt x="336" y="99"/>
                  <a:pt x="336" y="99"/>
                </a:cubicBezTo>
                <a:cubicBezTo>
                  <a:pt x="336" y="100"/>
                  <a:pt x="336" y="100"/>
                  <a:pt x="336" y="100"/>
                </a:cubicBezTo>
                <a:cubicBezTo>
                  <a:pt x="336" y="99"/>
                  <a:pt x="336" y="99"/>
                  <a:pt x="336" y="99"/>
                </a:cubicBezTo>
                <a:cubicBezTo>
                  <a:pt x="336" y="98"/>
                  <a:pt x="336" y="98"/>
                  <a:pt x="336" y="98"/>
                </a:cubicBezTo>
                <a:cubicBezTo>
                  <a:pt x="335" y="97"/>
                  <a:pt x="335" y="97"/>
                  <a:pt x="335" y="97"/>
                </a:cubicBezTo>
                <a:cubicBezTo>
                  <a:pt x="335" y="97"/>
                  <a:pt x="335" y="97"/>
                  <a:pt x="335" y="97"/>
                </a:cubicBezTo>
                <a:close/>
                <a:moveTo>
                  <a:pt x="325" y="98"/>
                </a:moveTo>
                <a:cubicBezTo>
                  <a:pt x="325" y="99"/>
                  <a:pt x="325" y="99"/>
                  <a:pt x="325" y="99"/>
                </a:cubicBezTo>
                <a:cubicBezTo>
                  <a:pt x="326" y="99"/>
                  <a:pt x="326" y="99"/>
                  <a:pt x="326" y="99"/>
                </a:cubicBezTo>
                <a:cubicBezTo>
                  <a:pt x="327" y="99"/>
                  <a:pt x="327" y="99"/>
                  <a:pt x="327" y="99"/>
                </a:cubicBezTo>
                <a:cubicBezTo>
                  <a:pt x="328" y="98"/>
                  <a:pt x="328" y="98"/>
                  <a:pt x="328" y="98"/>
                </a:cubicBezTo>
                <a:cubicBezTo>
                  <a:pt x="329" y="99"/>
                  <a:pt x="329" y="99"/>
                  <a:pt x="329" y="99"/>
                </a:cubicBezTo>
                <a:cubicBezTo>
                  <a:pt x="331" y="97"/>
                  <a:pt x="331" y="97"/>
                  <a:pt x="331" y="97"/>
                </a:cubicBezTo>
                <a:cubicBezTo>
                  <a:pt x="332" y="97"/>
                  <a:pt x="332" y="97"/>
                  <a:pt x="332" y="97"/>
                </a:cubicBezTo>
                <a:cubicBezTo>
                  <a:pt x="333" y="97"/>
                  <a:pt x="333" y="97"/>
                  <a:pt x="333" y="97"/>
                </a:cubicBezTo>
                <a:cubicBezTo>
                  <a:pt x="333" y="97"/>
                  <a:pt x="333" y="97"/>
                  <a:pt x="333" y="97"/>
                </a:cubicBezTo>
                <a:cubicBezTo>
                  <a:pt x="331" y="96"/>
                  <a:pt x="331" y="96"/>
                  <a:pt x="331" y="96"/>
                </a:cubicBezTo>
                <a:cubicBezTo>
                  <a:pt x="329" y="97"/>
                  <a:pt x="329" y="97"/>
                  <a:pt x="329" y="97"/>
                </a:cubicBezTo>
                <a:cubicBezTo>
                  <a:pt x="329" y="97"/>
                  <a:pt x="328" y="97"/>
                  <a:pt x="328" y="97"/>
                </a:cubicBezTo>
                <a:cubicBezTo>
                  <a:pt x="328" y="97"/>
                  <a:pt x="327" y="97"/>
                  <a:pt x="327" y="97"/>
                </a:cubicBezTo>
                <a:cubicBezTo>
                  <a:pt x="326" y="97"/>
                  <a:pt x="326" y="97"/>
                  <a:pt x="326" y="97"/>
                </a:cubicBezTo>
                <a:cubicBezTo>
                  <a:pt x="325" y="98"/>
                  <a:pt x="325" y="98"/>
                  <a:pt x="325" y="98"/>
                </a:cubicBezTo>
                <a:close/>
                <a:moveTo>
                  <a:pt x="316" y="101"/>
                </a:moveTo>
                <a:cubicBezTo>
                  <a:pt x="315" y="100"/>
                  <a:pt x="315" y="100"/>
                  <a:pt x="315" y="100"/>
                </a:cubicBezTo>
                <a:cubicBezTo>
                  <a:pt x="313" y="100"/>
                  <a:pt x="313" y="100"/>
                  <a:pt x="313" y="100"/>
                </a:cubicBezTo>
                <a:cubicBezTo>
                  <a:pt x="312" y="100"/>
                  <a:pt x="312" y="100"/>
                  <a:pt x="312" y="100"/>
                </a:cubicBezTo>
                <a:cubicBezTo>
                  <a:pt x="312" y="98"/>
                  <a:pt x="312" y="98"/>
                  <a:pt x="312" y="98"/>
                </a:cubicBezTo>
                <a:cubicBezTo>
                  <a:pt x="313" y="97"/>
                  <a:pt x="313" y="97"/>
                  <a:pt x="313" y="97"/>
                </a:cubicBezTo>
                <a:cubicBezTo>
                  <a:pt x="313" y="96"/>
                  <a:pt x="313" y="96"/>
                  <a:pt x="313" y="96"/>
                </a:cubicBezTo>
                <a:cubicBezTo>
                  <a:pt x="313" y="96"/>
                  <a:pt x="313" y="96"/>
                  <a:pt x="313" y="96"/>
                </a:cubicBezTo>
                <a:cubicBezTo>
                  <a:pt x="313" y="95"/>
                  <a:pt x="313" y="95"/>
                  <a:pt x="313" y="95"/>
                </a:cubicBezTo>
                <a:cubicBezTo>
                  <a:pt x="314" y="94"/>
                  <a:pt x="314" y="94"/>
                  <a:pt x="314" y="94"/>
                </a:cubicBezTo>
                <a:cubicBezTo>
                  <a:pt x="315" y="94"/>
                  <a:pt x="315" y="94"/>
                  <a:pt x="315" y="94"/>
                </a:cubicBezTo>
                <a:cubicBezTo>
                  <a:pt x="316" y="94"/>
                  <a:pt x="316" y="94"/>
                  <a:pt x="316" y="94"/>
                </a:cubicBezTo>
                <a:cubicBezTo>
                  <a:pt x="316" y="95"/>
                  <a:pt x="316" y="95"/>
                  <a:pt x="316" y="95"/>
                </a:cubicBezTo>
                <a:cubicBezTo>
                  <a:pt x="316" y="95"/>
                  <a:pt x="316" y="95"/>
                  <a:pt x="316" y="95"/>
                </a:cubicBezTo>
                <a:cubicBezTo>
                  <a:pt x="316" y="96"/>
                  <a:pt x="316" y="96"/>
                  <a:pt x="316" y="96"/>
                </a:cubicBezTo>
                <a:cubicBezTo>
                  <a:pt x="315" y="96"/>
                  <a:pt x="315" y="96"/>
                  <a:pt x="315" y="96"/>
                </a:cubicBezTo>
                <a:cubicBezTo>
                  <a:pt x="316" y="96"/>
                  <a:pt x="316" y="96"/>
                  <a:pt x="316" y="96"/>
                </a:cubicBezTo>
                <a:cubicBezTo>
                  <a:pt x="317" y="96"/>
                  <a:pt x="317" y="96"/>
                  <a:pt x="317" y="96"/>
                </a:cubicBezTo>
                <a:cubicBezTo>
                  <a:pt x="317" y="97"/>
                  <a:pt x="317" y="97"/>
                  <a:pt x="317" y="97"/>
                </a:cubicBezTo>
                <a:cubicBezTo>
                  <a:pt x="317" y="98"/>
                  <a:pt x="317" y="98"/>
                  <a:pt x="317" y="98"/>
                </a:cubicBezTo>
                <a:cubicBezTo>
                  <a:pt x="317" y="99"/>
                  <a:pt x="317" y="99"/>
                  <a:pt x="317" y="99"/>
                </a:cubicBezTo>
                <a:cubicBezTo>
                  <a:pt x="317" y="100"/>
                  <a:pt x="317" y="100"/>
                  <a:pt x="317" y="100"/>
                </a:cubicBezTo>
                <a:cubicBezTo>
                  <a:pt x="317" y="101"/>
                  <a:pt x="317" y="101"/>
                  <a:pt x="317" y="101"/>
                </a:cubicBezTo>
                <a:cubicBezTo>
                  <a:pt x="316" y="101"/>
                  <a:pt x="316" y="101"/>
                  <a:pt x="316" y="101"/>
                </a:cubicBezTo>
                <a:close/>
                <a:moveTo>
                  <a:pt x="314" y="106"/>
                </a:moveTo>
                <a:cubicBezTo>
                  <a:pt x="317" y="106"/>
                  <a:pt x="317" y="106"/>
                  <a:pt x="317" y="106"/>
                </a:cubicBezTo>
                <a:cubicBezTo>
                  <a:pt x="317" y="105"/>
                  <a:pt x="317" y="105"/>
                  <a:pt x="317" y="105"/>
                </a:cubicBezTo>
                <a:cubicBezTo>
                  <a:pt x="318" y="103"/>
                  <a:pt x="318" y="103"/>
                  <a:pt x="318" y="103"/>
                </a:cubicBezTo>
                <a:cubicBezTo>
                  <a:pt x="317" y="102"/>
                  <a:pt x="317" y="102"/>
                  <a:pt x="317" y="102"/>
                </a:cubicBezTo>
                <a:cubicBezTo>
                  <a:pt x="316" y="103"/>
                  <a:pt x="316" y="103"/>
                  <a:pt x="316" y="103"/>
                </a:cubicBezTo>
                <a:cubicBezTo>
                  <a:pt x="315" y="102"/>
                  <a:pt x="315" y="102"/>
                  <a:pt x="315" y="102"/>
                </a:cubicBezTo>
                <a:cubicBezTo>
                  <a:pt x="313" y="102"/>
                  <a:pt x="313" y="102"/>
                  <a:pt x="313" y="102"/>
                </a:cubicBezTo>
                <a:cubicBezTo>
                  <a:pt x="312" y="102"/>
                  <a:pt x="312" y="102"/>
                  <a:pt x="312" y="102"/>
                </a:cubicBezTo>
                <a:cubicBezTo>
                  <a:pt x="311" y="102"/>
                  <a:pt x="311" y="102"/>
                  <a:pt x="311" y="102"/>
                </a:cubicBezTo>
                <a:cubicBezTo>
                  <a:pt x="311" y="102"/>
                  <a:pt x="311" y="102"/>
                  <a:pt x="311" y="102"/>
                </a:cubicBezTo>
                <a:cubicBezTo>
                  <a:pt x="310" y="103"/>
                  <a:pt x="310" y="103"/>
                  <a:pt x="310" y="103"/>
                </a:cubicBezTo>
                <a:cubicBezTo>
                  <a:pt x="310" y="103"/>
                  <a:pt x="310" y="103"/>
                  <a:pt x="310" y="103"/>
                </a:cubicBezTo>
                <a:cubicBezTo>
                  <a:pt x="310" y="104"/>
                  <a:pt x="310" y="104"/>
                  <a:pt x="310" y="104"/>
                </a:cubicBezTo>
                <a:cubicBezTo>
                  <a:pt x="310" y="104"/>
                  <a:pt x="310" y="104"/>
                  <a:pt x="310" y="104"/>
                </a:cubicBezTo>
                <a:cubicBezTo>
                  <a:pt x="311" y="105"/>
                  <a:pt x="311" y="105"/>
                  <a:pt x="311" y="105"/>
                </a:cubicBezTo>
                <a:cubicBezTo>
                  <a:pt x="312" y="105"/>
                  <a:pt x="312" y="105"/>
                  <a:pt x="312" y="105"/>
                </a:cubicBezTo>
                <a:cubicBezTo>
                  <a:pt x="313" y="106"/>
                  <a:pt x="313" y="106"/>
                  <a:pt x="313" y="106"/>
                </a:cubicBezTo>
                <a:cubicBezTo>
                  <a:pt x="314" y="106"/>
                  <a:pt x="314" y="106"/>
                  <a:pt x="314" y="106"/>
                </a:cubicBezTo>
                <a:close/>
                <a:moveTo>
                  <a:pt x="310" y="108"/>
                </a:moveTo>
                <a:cubicBezTo>
                  <a:pt x="312" y="108"/>
                  <a:pt x="312" y="108"/>
                  <a:pt x="312" y="108"/>
                </a:cubicBezTo>
                <a:cubicBezTo>
                  <a:pt x="314" y="108"/>
                  <a:pt x="314" y="108"/>
                  <a:pt x="314" y="108"/>
                </a:cubicBezTo>
                <a:cubicBezTo>
                  <a:pt x="315" y="108"/>
                  <a:pt x="315" y="108"/>
                  <a:pt x="315" y="108"/>
                </a:cubicBezTo>
                <a:cubicBezTo>
                  <a:pt x="315" y="108"/>
                  <a:pt x="315" y="108"/>
                  <a:pt x="315" y="108"/>
                </a:cubicBezTo>
                <a:cubicBezTo>
                  <a:pt x="316" y="108"/>
                  <a:pt x="316" y="108"/>
                  <a:pt x="316" y="108"/>
                </a:cubicBezTo>
                <a:cubicBezTo>
                  <a:pt x="317" y="108"/>
                  <a:pt x="317" y="108"/>
                  <a:pt x="317" y="108"/>
                </a:cubicBezTo>
                <a:cubicBezTo>
                  <a:pt x="317" y="107"/>
                  <a:pt x="317" y="107"/>
                  <a:pt x="317" y="107"/>
                </a:cubicBezTo>
                <a:cubicBezTo>
                  <a:pt x="316" y="107"/>
                  <a:pt x="316" y="107"/>
                  <a:pt x="316" y="107"/>
                </a:cubicBezTo>
                <a:cubicBezTo>
                  <a:pt x="313" y="107"/>
                  <a:pt x="313" y="107"/>
                  <a:pt x="313" y="107"/>
                </a:cubicBezTo>
                <a:cubicBezTo>
                  <a:pt x="312" y="107"/>
                  <a:pt x="312" y="107"/>
                  <a:pt x="312" y="107"/>
                </a:cubicBezTo>
                <a:cubicBezTo>
                  <a:pt x="312" y="107"/>
                  <a:pt x="312" y="107"/>
                  <a:pt x="312" y="107"/>
                </a:cubicBezTo>
                <a:cubicBezTo>
                  <a:pt x="310" y="107"/>
                  <a:pt x="310" y="107"/>
                  <a:pt x="310" y="107"/>
                </a:cubicBezTo>
                <a:cubicBezTo>
                  <a:pt x="309" y="107"/>
                  <a:pt x="309" y="107"/>
                  <a:pt x="309" y="107"/>
                </a:cubicBezTo>
                <a:cubicBezTo>
                  <a:pt x="310" y="108"/>
                  <a:pt x="310" y="108"/>
                  <a:pt x="310" y="108"/>
                </a:cubicBezTo>
                <a:close/>
                <a:moveTo>
                  <a:pt x="309" y="111"/>
                </a:moveTo>
                <a:cubicBezTo>
                  <a:pt x="310" y="110"/>
                  <a:pt x="310" y="110"/>
                  <a:pt x="310" y="110"/>
                </a:cubicBezTo>
                <a:cubicBezTo>
                  <a:pt x="311" y="110"/>
                  <a:pt x="311" y="110"/>
                  <a:pt x="311" y="110"/>
                </a:cubicBezTo>
                <a:cubicBezTo>
                  <a:pt x="312" y="109"/>
                  <a:pt x="312" y="109"/>
                  <a:pt x="312" y="109"/>
                </a:cubicBezTo>
                <a:cubicBezTo>
                  <a:pt x="315" y="109"/>
                  <a:pt x="315" y="109"/>
                  <a:pt x="315" y="109"/>
                </a:cubicBezTo>
                <a:cubicBezTo>
                  <a:pt x="316" y="109"/>
                  <a:pt x="316" y="109"/>
                  <a:pt x="316" y="109"/>
                </a:cubicBezTo>
                <a:cubicBezTo>
                  <a:pt x="316" y="109"/>
                  <a:pt x="316" y="109"/>
                  <a:pt x="316" y="109"/>
                </a:cubicBezTo>
                <a:cubicBezTo>
                  <a:pt x="317" y="109"/>
                  <a:pt x="317" y="109"/>
                  <a:pt x="317" y="109"/>
                </a:cubicBezTo>
                <a:cubicBezTo>
                  <a:pt x="317" y="109"/>
                  <a:pt x="317" y="109"/>
                  <a:pt x="317" y="109"/>
                </a:cubicBezTo>
                <a:cubicBezTo>
                  <a:pt x="316" y="110"/>
                  <a:pt x="316" y="110"/>
                  <a:pt x="316" y="110"/>
                </a:cubicBezTo>
                <a:cubicBezTo>
                  <a:pt x="315" y="110"/>
                  <a:pt x="315" y="110"/>
                  <a:pt x="315" y="110"/>
                </a:cubicBezTo>
                <a:cubicBezTo>
                  <a:pt x="314" y="110"/>
                  <a:pt x="314" y="110"/>
                  <a:pt x="314" y="110"/>
                </a:cubicBezTo>
                <a:cubicBezTo>
                  <a:pt x="314" y="111"/>
                  <a:pt x="314" y="111"/>
                  <a:pt x="314" y="111"/>
                </a:cubicBezTo>
                <a:cubicBezTo>
                  <a:pt x="312" y="112"/>
                  <a:pt x="312" y="112"/>
                  <a:pt x="312" y="112"/>
                </a:cubicBezTo>
                <a:cubicBezTo>
                  <a:pt x="311" y="111"/>
                  <a:pt x="311" y="111"/>
                  <a:pt x="311" y="111"/>
                </a:cubicBezTo>
                <a:cubicBezTo>
                  <a:pt x="310" y="111"/>
                  <a:pt x="310" y="111"/>
                  <a:pt x="310" y="111"/>
                </a:cubicBezTo>
                <a:cubicBezTo>
                  <a:pt x="309" y="112"/>
                  <a:pt x="309" y="112"/>
                  <a:pt x="309" y="112"/>
                </a:cubicBezTo>
                <a:cubicBezTo>
                  <a:pt x="309" y="111"/>
                  <a:pt x="309" y="111"/>
                  <a:pt x="309" y="111"/>
                </a:cubicBezTo>
                <a:cubicBezTo>
                  <a:pt x="309" y="111"/>
                  <a:pt x="309" y="111"/>
                  <a:pt x="309" y="111"/>
                </a:cubicBezTo>
                <a:close/>
                <a:moveTo>
                  <a:pt x="280" y="73"/>
                </a:moveTo>
                <a:cubicBezTo>
                  <a:pt x="279" y="73"/>
                  <a:pt x="279" y="73"/>
                  <a:pt x="279" y="73"/>
                </a:cubicBezTo>
                <a:cubicBezTo>
                  <a:pt x="279" y="72"/>
                  <a:pt x="279" y="72"/>
                  <a:pt x="279" y="72"/>
                </a:cubicBezTo>
                <a:cubicBezTo>
                  <a:pt x="281" y="72"/>
                  <a:pt x="281" y="72"/>
                  <a:pt x="281" y="72"/>
                </a:cubicBezTo>
                <a:cubicBezTo>
                  <a:pt x="280" y="73"/>
                  <a:pt x="280" y="73"/>
                  <a:pt x="280" y="73"/>
                </a:cubicBezTo>
                <a:cubicBezTo>
                  <a:pt x="280" y="73"/>
                  <a:pt x="280" y="73"/>
                  <a:pt x="280" y="73"/>
                </a:cubicBezTo>
                <a:close/>
                <a:moveTo>
                  <a:pt x="271" y="77"/>
                </a:moveTo>
                <a:cubicBezTo>
                  <a:pt x="272" y="76"/>
                  <a:pt x="272" y="76"/>
                  <a:pt x="272" y="76"/>
                </a:cubicBezTo>
                <a:cubicBezTo>
                  <a:pt x="273" y="76"/>
                  <a:pt x="273" y="76"/>
                  <a:pt x="273" y="76"/>
                </a:cubicBezTo>
                <a:cubicBezTo>
                  <a:pt x="275" y="77"/>
                  <a:pt x="275" y="77"/>
                  <a:pt x="275" y="77"/>
                </a:cubicBezTo>
                <a:cubicBezTo>
                  <a:pt x="276" y="77"/>
                  <a:pt x="276" y="77"/>
                  <a:pt x="276" y="77"/>
                </a:cubicBezTo>
                <a:cubicBezTo>
                  <a:pt x="276" y="77"/>
                  <a:pt x="276" y="77"/>
                  <a:pt x="276" y="77"/>
                </a:cubicBezTo>
                <a:cubicBezTo>
                  <a:pt x="277" y="78"/>
                  <a:pt x="277" y="78"/>
                  <a:pt x="277" y="78"/>
                </a:cubicBezTo>
                <a:cubicBezTo>
                  <a:pt x="277" y="78"/>
                  <a:pt x="277" y="78"/>
                  <a:pt x="277" y="78"/>
                </a:cubicBezTo>
                <a:cubicBezTo>
                  <a:pt x="276" y="79"/>
                  <a:pt x="276" y="79"/>
                  <a:pt x="276" y="79"/>
                </a:cubicBezTo>
                <a:cubicBezTo>
                  <a:pt x="275" y="80"/>
                  <a:pt x="275" y="80"/>
                  <a:pt x="275" y="80"/>
                </a:cubicBezTo>
                <a:cubicBezTo>
                  <a:pt x="274" y="80"/>
                  <a:pt x="274" y="80"/>
                  <a:pt x="274" y="80"/>
                </a:cubicBezTo>
                <a:cubicBezTo>
                  <a:pt x="273" y="79"/>
                  <a:pt x="273" y="79"/>
                  <a:pt x="273" y="79"/>
                </a:cubicBezTo>
                <a:cubicBezTo>
                  <a:pt x="273" y="78"/>
                  <a:pt x="273" y="78"/>
                  <a:pt x="273" y="78"/>
                </a:cubicBezTo>
                <a:cubicBezTo>
                  <a:pt x="272" y="77"/>
                  <a:pt x="272" y="77"/>
                  <a:pt x="272" y="77"/>
                </a:cubicBezTo>
                <a:cubicBezTo>
                  <a:pt x="271" y="77"/>
                  <a:pt x="271" y="77"/>
                  <a:pt x="271" y="77"/>
                </a:cubicBezTo>
                <a:cubicBezTo>
                  <a:pt x="271" y="77"/>
                  <a:pt x="271" y="77"/>
                  <a:pt x="271" y="77"/>
                </a:cubicBezTo>
                <a:close/>
                <a:moveTo>
                  <a:pt x="227" y="79"/>
                </a:moveTo>
                <a:cubicBezTo>
                  <a:pt x="226" y="79"/>
                  <a:pt x="226" y="79"/>
                  <a:pt x="226" y="79"/>
                </a:cubicBezTo>
                <a:cubicBezTo>
                  <a:pt x="226" y="78"/>
                  <a:pt x="226" y="78"/>
                  <a:pt x="226" y="78"/>
                </a:cubicBezTo>
                <a:cubicBezTo>
                  <a:pt x="226" y="78"/>
                  <a:pt x="226" y="78"/>
                  <a:pt x="226" y="78"/>
                </a:cubicBezTo>
                <a:cubicBezTo>
                  <a:pt x="227" y="78"/>
                  <a:pt x="227" y="78"/>
                  <a:pt x="227" y="78"/>
                </a:cubicBezTo>
                <a:cubicBezTo>
                  <a:pt x="228" y="79"/>
                  <a:pt x="228" y="79"/>
                  <a:pt x="228" y="79"/>
                </a:cubicBezTo>
                <a:cubicBezTo>
                  <a:pt x="227" y="79"/>
                  <a:pt x="227" y="79"/>
                  <a:pt x="227" y="79"/>
                </a:cubicBezTo>
                <a:close/>
                <a:moveTo>
                  <a:pt x="232" y="85"/>
                </a:moveTo>
                <a:cubicBezTo>
                  <a:pt x="233" y="84"/>
                  <a:pt x="233" y="84"/>
                  <a:pt x="233" y="84"/>
                </a:cubicBezTo>
                <a:cubicBezTo>
                  <a:pt x="233" y="85"/>
                  <a:pt x="233" y="85"/>
                  <a:pt x="233" y="85"/>
                </a:cubicBezTo>
                <a:cubicBezTo>
                  <a:pt x="232" y="86"/>
                  <a:pt x="232" y="86"/>
                  <a:pt x="232" y="86"/>
                </a:cubicBezTo>
                <a:cubicBezTo>
                  <a:pt x="232" y="86"/>
                  <a:pt x="232" y="85"/>
                  <a:pt x="232" y="85"/>
                </a:cubicBezTo>
                <a:close/>
                <a:moveTo>
                  <a:pt x="234" y="83"/>
                </a:moveTo>
                <a:cubicBezTo>
                  <a:pt x="235" y="83"/>
                  <a:pt x="235" y="83"/>
                  <a:pt x="235" y="83"/>
                </a:cubicBezTo>
                <a:cubicBezTo>
                  <a:pt x="235" y="82"/>
                  <a:pt x="235" y="82"/>
                  <a:pt x="235" y="82"/>
                </a:cubicBezTo>
                <a:cubicBezTo>
                  <a:pt x="235" y="82"/>
                  <a:pt x="235" y="82"/>
                  <a:pt x="235" y="82"/>
                </a:cubicBezTo>
                <a:cubicBezTo>
                  <a:pt x="235" y="80"/>
                  <a:pt x="235" y="80"/>
                  <a:pt x="235" y="80"/>
                </a:cubicBezTo>
                <a:cubicBezTo>
                  <a:pt x="236" y="80"/>
                  <a:pt x="236" y="80"/>
                  <a:pt x="236" y="80"/>
                </a:cubicBezTo>
                <a:cubicBezTo>
                  <a:pt x="238" y="79"/>
                  <a:pt x="238" y="79"/>
                  <a:pt x="238" y="79"/>
                </a:cubicBezTo>
                <a:cubicBezTo>
                  <a:pt x="238" y="79"/>
                  <a:pt x="238" y="79"/>
                  <a:pt x="238" y="79"/>
                </a:cubicBezTo>
                <a:cubicBezTo>
                  <a:pt x="238" y="80"/>
                  <a:pt x="238" y="80"/>
                  <a:pt x="238" y="80"/>
                </a:cubicBezTo>
                <a:cubicBezTo>
                  <a:pt x="237" y="81"/>
                  <a:pt x="237" y="81"/>
                  <a:pt x="237" y="81"/>
                </a:cubicBezTo>
                <a:cubicBezTo>
                  <a:pt x="236" y="83"/>
                  <a:pt x="236" y="83"/>
                  <a:pt x="236" y="83"/>
                </a:cubicBezTo>
                <a:cubicBezTo>
                  <a:pt x="237" y="83"/>
                  <a:pt x="237" y="83"/>
                  <a:pt x="237" y="83"/>
                </a:cubicBezTo>
                <a:cubicBezTo>
                  <a:pt x="236" y="84"/>
                  <a:pt x="236" y="84"/>
                  <a:pt x="236" y="84"/>
                </a:cubicBezTo>
                <a:cubicBezTo>
                  <a:pt x="236" y="85"/>
                  <a:pt x="236" y="85"/>
                  <a:pt x="236" y="85"/>
                </a:cubicBezTo>
                <a:cubicBezTo>
                  <a:pt x="236" y="86"/>
                  <a:pt x="236" y="86"/>
                  <a:pt x="236" y="86"/>
                </a:cubicBezTo>
                <a:cubicBezTo>
                  <a:pt x="237" y="85"/>
                  <a:pt x="237" y="85"/>
                  <a:pt x="237" y="85"/>
                </a:cubicBezTo>
                <a:cubicBezTo>
                  <a:pt x="238" y="85"/>
                  <a:pt x="238" y="85"/>
                  <a:pt x="238" y="85"/>
                </a:cubicBezTo>
                <a:cubicBezTo>
                  <a:pt x="238" y="86"/>
                  <a:pt x="238" y="86"/>
                  <a:pt x="238" y="86"/>
                </a:cubicBezTo>
                <a:cubicBezTo>
                  <a:pt x="238" y="86"/>
                  <a:pt x="238" y="86"/>
                  <a:pt x="238" y="86"/>
                </a:cubicBezTo>
                <a:cubicBezTo>
                  <a:pt x="240" y="85"/>
                  <a:pt x="240" y="85"/>
                  <a:pt x="240" y="85"/>
                </a:cubicBezTo>
                <a:cubicBezTo>
                  <a:pt x="241" y="84"/>
                  <a:pt x="241" y="84"/>
                  <a:pt x="241" y="84"/>
                </a:cubicBezTo>
                <a:cubicBezTo>
                  <a:pt x="242" y="84"/>
                  <a:pt x="242" y="84"/>
                  <a:pt x="242" y="84"/>
                </a:cubicBezTo>
                <a:cubicBezTo>
                  <a:pt x="242" y="83"/>
                  <a:pt x="242" y="83"/>
                  <a:pt x="242" y="83"/>
                </a:cubicBezTo>
                <a:cubicBezTo>
                  <a:pt x="242" y="82"/>
                  <a:pt x="242" y="82"/>
                  <a:pt x="242" y="82"/>
                </a:cubicBezTo>
                <a:cubicBezTo>
                  <a:pt x="243" y="82"/>
                  <a:pt x="243" y="82"/>
                  <a:pt x="243" y="82"/>
                </a:cubicBezTo>
                <a:cubicBezTo>
                  <a:pt x="244" y="81"/>
                  <a:pt x="244" y="81"/>
                  <a:pt x="244" y="81"/>
                </a:cubicBezTo>
                <a:cubicBezTo>
                  <a:pt x="244" y="79"/>
                  <a:pt x="244" y="79"/>
                  <a:pt x="244" y="79"/>
                </a:cubicBezTo>
                <a:cubicBezTo>
                  <a:pt x="245" y="79"/>
                  <a:pt x="245" y="79"/>
                  <a:pt x="245" y="79"/>
                </a:cubicBezTo>
                <a:cubicBezTo>
                  <a:pt x="245" y="79"/>
                  <a:pt x="245" y="79"/>
                  <a:pt x="245" y="79"/>
                </a:cubicBezTo>
                <a:cubicBezTo>
                  <a:pt x="245" y="80"/>
                  <a:pt x="245" y="80"/>
                  <a:pt x="245" y="80"/>
                </a:cubicBezTo>
                <a:cubicBezTo>
                  <a:pt x="245" y="81"/>
                  <a:pt x="245" y="81"/>
                  <a:pt x="245" y="81"/>
                </a:cubicBezTo>
                <a:cubicBezTo>
                  <a:pt x="245" y="82"/>
                  <a:pt x="245" y="82"/>
                  <a:pt x="245" y="82"/>
                </a:cubicBezTo>
                <a:cubicBezTo>
                  <a:pt x="245" y="84"/>
                  <a:pt x="245" y="84"/>
                  <a:pt x="245" y="84"/>
                </a:cubicBezTo>
                <a:cubicBezTo>
                  <a:pt x="246" y="84"/>
                  <a:pt x="246" y="84"/>
                  <a:pt x="246" y="84"/>
                </a:cubicBezTo>
                <a:cubicBezTo>
                  <a:pt x="247" y="82"/>
                  <a:pt x="247" y="82"/>
                  <a:pt x="247" y="82"/>
                </a:cubicBezTo>
                <a:cubicBezTo>
                  <a:pt x="247" y="81"/>
                  <a:pt x="247" y="81"/>
                  <a:pt x="247" y="81"/>
                </a:cubicBezTo>
                <a:cubicBezTo>
                  <a:pt x="247" y="80"/>
                  <a:pt x="247" y="80"/>
                  <a:pt x="247" y="80"/>
                </a:cubicBezTo>
                <a:cubicBezTo>
                  <a:pt x="248" y="80"/>
                  <a:pt x="248" y="80"/>
                  <a:pt x="248" y="80"/>
                </a:cubicBezTo>
                <a:cubicBezTo>
                  <a:pt x="249" y="78"/>
                  <a:pt x="249" y="78"/>
                  <a:pt x="249" y="78"/>
                </a:cubicBezTo>
                <a:cubicBezTo>
                  <a:pt x="250" y="77"/>
                  <a:pt x="250" y="77"/>
                  <a:pt x="250" y="77"/>
                </a:cubicBezTo>
                <a:cubicBezTo>
                  <a:pt x="249" y="76"/>
                  <a:pt x="249" y="76"/>
                  <a:pt x="249" y="76"/>
                </a:cubicBezTo>
                <a:cubicBezTo>
                  <a:pt x="250" y="75"/>
                  <a:pt x="250" y="75"/>
                  <a:pt x="250" y="75"/>
                </a:cubicBezTo>
                <a:cubicBezTo>
                  <a:pt x="251" y="76"/>
                  <a:pt x="251" y="76"/>
                  <a:pt x="251" y="76"/>
                </a:cubicBezTo>
                <a:cubicBezTo>
                  <a:pt x="253" y="75"/>
                  <a:pt x="253" y="75"/>
                  <a:pt x="253" y="75"/>
                </a:cubicBezTo>
                <a:cubicBezTo>
                  <a:pt x="254" y="73"/>
                  <a:pt x="254" y="73"/>
                  <a:pt x="254" y="73"/>
                </a:cubicBezTo>
                <a:cubicBezTo>
                  <a:pt x="254" y="72"/>
                  <a:pt x="254" y="72"/>
                  <a:pt x="254" y="72"/>
                </a:cubicBezTo>
                <a:cubicBezTo>
                  <a:pt x="255" y="72"/>
                  <a:pt x="255" y="72"/>
                  <a:pt x="255" y="72"/>
                </a:cubicBezTo>
                <a:cubicBezTo>
                  <a:pt x="255" y="71"/>
                  <a:pt x="255" y="71"/>
                  <a:pt x="255" y="71"/>
                </a:cubicBezTo>
                <a:cubicBezTo>
                  <a:pt x="256" y="72"/>
                  <a:pt x="256" y="72"/>
                  <a:pt x="256" y="72"/>
                </a:cubicBezTo>
                <a:cubicBezTo>
                  <a:pt x="257" y="71"/>
                  <a:pt x="257" y="71"/>
                  <a:pt x="257" y="71"/>
                </a:cubicBezTo>
                <a:cubicBezTo>
                  <a:pt x="258" y="71"/>
                  <a:pt x="258" y="71"/>
                  <a:pt x="258" y="71"/>
                </a:cubicBezTo>
                <a:cubicBezTo>
                  <a:pt x="257" y="73"/>
                  <a:pt x="257" y="73"/>
                  <a:pt x="257" y="73"/>
                </a:cubicBezTo>
                <a:cubicBezTo>
                  <a:pt x="256" y="75"/>
                  <a:pt x="256" y="75"/>
                  <a:pt x="256" y="75"/>
                </a:cubicBezTo>
                <a:cubicBezTo>
                  <a:pt x="255" y="76"/>
                  <a:pt x="255" y="76"/>
                  <a:pt x="255" y="76"/>
                </a:cubicBezTo>
                <a:cubicBezTo>
                  <a:pt x="255" y="77"/>
                  <a:pt x="255" y="77"/>
                  <a:pt x="255" y="77"/>
                </a:cubicBezTo>
                <a:cubicBezTo>
                  <a:pt x="255" y="78"/>
                  <a:pt x="255" y="78"/>
                  <a:pt x="255" y="78"/>
                </a:cubicBezTo>
                <a:cubicBezTo>
                  <a:pt x="254" y="78"/>
                  <a:pt x="254" y="78"/>
                  <a:pt x="254" y="78"/>
                </a:cubicBezTo>
                <a:cubicBezTo>
                  <a:pt x="252" y="81"/>
                  <a:pt x="252" y="81"/>
                  <a:pt x="252" y="81"/>
                </a:cubicBezTo>
                <a:cubicBezTo>
                  <a:pt x="252" y="82"/>
                  <a:pt x="252" y="82"/>
                  <a:pt x="252" y="82"/>
                </a:cubicBezTo>
                <a:cubicBezTo>
                  <a:pt x="252" y="83"/>
                  <a:pt x="252" y="83"/>
                  <a:pt x="252" y="83"/>
                </a:cubicBezTo>
                <a:cubicBezTo>
                  <a:pt x="252" y="84"/>
                  <a:pt x="252" y="84"/>
                  <a:pt x="252" y="84"/>
                </a:cubicBezTo>
                <a:cubicBezTo>
                  <a:pt x="253" y="84"/>
                  <a:pt x="253" y="84"/>
                  <a:pt x="253" y="84"/>
                </a:cubicBezTo>
                <a:cubicBezTo>
                  <a:pt x="254" y="84"/>
                  <a:pt x="254" y="84"/>
                  <a:pt x="254" y="84"/>
                </a:cubicBezTo>
                <a:cubicBezTo>
                  <a:pt x="255" y="84"/>
                  <a:pt x="255" y="84"/>
                  <a:pt x="255" y="84"/>
                </a:cubicBezTo>
                <a:cubicBezTo>
                  <a:pt x="256" y="83"/>
                  <a:pt x="256" y="83"/>
                  <a:pt x="256" y="83"/>
                </a:cubicBezTo>
                <a:cubicBezTo>
                  <a:pt x="257" y="82"/>
                  <a:pt x="257" y="82"/>
                  <a:pt x="257" y="82"/>
                </a:cubicBezTo>
                <a:cubicBezTo>
                  <a:pt x="256" y="81"/>
                  <a:pt x="256" y="81"/>
                  <a:pt x="256" y="81"/>
                </a:cubicBezTo>
                <a:cubicBezTo>
                  <a:pt x="257" y="80"/>
                  <a:pt x="257" y="80"/>
                  <a:pt x="257" y="80"/>
                </a:cubicBezTo>
                <a:cubicBezTo>
                  <a:pt x="258" y="79"/>
                  <a:pt x="258" y="79"/>
                  <a:pt x="258" y="79"/>
                </a:cubicBezTo>
                <a:cubicBezTo>
                  <a:pt x="259" y="79"/>
                  <a:pt x="259" y="79"/>
                  <a:pt x="259" y="79"/>
                </a:cubicBezTo>
                <a:cubicBezTo>
                  <a:pt x="260" y="79"/>
                  <a:pt x="260" y="79"/>
                  <a:pt x="260" y="79"/>
                </a:cubicBezTo>
                <a:cubicBezTo>
                  <a:pt x="260" y="79"/>
                  <a:pt x="260" y="79"/>
                  <a:pt x="260" y="79"/>
                </a:cubicBezTo>
                <a:cubicBezTo>
                  <a:pt x="261" y="79"/>
                  <a:pt x="261" y="79"/>
                  <a:pt x="261" y="79"/>
                </a:cubicBezTo>
                <a:cubicBezTo>
                  <a:pt x="262" y="79"/>
                  <a:pt x="262" y="79"/>
                  <a:pt x="262" y="79"/>
                </a:cubicBezTo>
                <a:cubicBezTo>
                  <a:pt x="264" y="79"/>
                  <a:pt x="264" y="79"/>
                  <a:pt x="264" y="79"/>
                </a:cubicBezTo>
                <a:cubicBezTo>
                  <a:pt x="265" y="77"/>
                  <a:pt x="265" y="77"/>
                  <a:pt x="265" y="77"/>
                </a:cubicBezTo>
                <a:cubicBezTo>
                  <a:pt x="265" y="75"/>
                  <a:pt x="265" y="75"/>
                  <a:pt x="265" y="75"/>
                </a:cubicBezTo>
                <a:cubicBezTo>
                  <a:pt x="266" y="73"/>
                  <a:pt x="266" y="73"/>
                  <a:pt x="266" y="73"/>
                </a:cubicBezTo>
                <a:cubicBezTo>
                  <a:pt x="267" y="72"/>
                  <a:pt x="267" y="72"/>
                  <a:pt x="267" y="72"/>
                </a:cubicBezTo>
                <a:cubicBezTo>
                  <a:pt x="267" y="72"/>
                  <a:pt x="267" y="72"/>
                  <a:pt x="267" y="72"/>
                </a:cubicBezTo>
                <a:cubicBezTo>
                  <a:pt x="268" y="73"/>
                  <a:pt x="268" y="73"/>
                  <a:pt x="268" y="73"/>
                </a:cubicBezTo>
                <a:cubicBezTo>
                  <a:pt x="269" y="73"/>
                  <a:pt x="269" y="73"/>
                  <a:pt x="269" y="73"/>
                </a:cubicBezTo>
                <a:cubicBezTo>
                  <a:pt x="269" y="73"/>
                  <a:pt x="269" y="73"/>
                  <a:pt x="269" y="73"/>
                </a:cubicBezTo>
                <a:cubicBezTo>
                  <a:pt x="269" y="72"/>
                  <a:pt x="269" y="72"/>
                  <a:pt x="269" y="72"/>
                </a:cubicBezTo>
                <a:cubicBezTo>
                  <a:pt x="268" y="70"/>
                  <a:pt x="268" y="70"/>
                  <a:pt x="268" y="70"/>
                </a:cubicBezTo>
                <a:cubicBezTo>
                  <a:pt x="268" y="69"/>
                  <a:pt x="268" y="69"/>
                  <a:pt x="268" y="69"/>
                </a:cubicBezTo>
                <a:cubicBezTo>
                  <a:pt x="269" y="68"/>
                  <a:pt x="269" y="68"/>
                  <a:pt x="269" y="68"/>
                </a:cubicBezTo>
                <a:cubicBezTo>
                  <a:pt x="271" y="68"/>
                  <a:pt x="271" y="68"/>
                  <a:pt x="271" y="68"/>
                </a:cubicBezTo>
                <a:cubicBezTo>
                  <a:pt x="272" y="67"/>
                  <a:pt x="272" y="67"/>
                  <a:pt x="272" y="67"/>
                </a:cubicBezTo>
                <a:cubicBezTo>
                  <a:pt x="273" y="68"/>
                  <a:pt x="273" y="68"/>
                  <a:pt x="273" y="68"/>
                </a:cubicBezTo>
                <a:cubicBezTo>
                  <a:pt x="273" y="68"/>
                  <a:pt x="273" y="68"/>
                  <a:pt x="273" y="68"/>
                </a:cubicBezTo>
                <a:cubicBezTo>
                  <a:pt x="274" y="66"/>
                  <a:pt x="274" y="66"/>
                  <a:pt x="274" y="66"/>
                </a:cubicBezTo>
                <a:cubicBezTo>
                  <a:pt x="274" y="65"/>
                  <a:pt x="274" y="65"/>
                  <a:pt x="274" y="65"/>
                </a:cubicBezTo>
                <a:cubicBezTo>
                  <a:pt x="274" y="63"/>
                  <a:pt x="274" y="63"/>
                  <a:pt x="274" y="63"/>
                </a:cubicBezTo>
                <a:cubicBezTo>
                  <a:pt x="274" y="62"/>
                  <a:pt x="274" y="62"/>
                  <a:pt x="274" y="62"/>
                </a:cubicBezTo>
                <a:cubicBezTo>
                  <a:pt x="274" y="62"/>
                  <a:pt x="274" y="62"/>
                  <a:pt x="274" y="62"/>
                </a:cubicBezTo>
                <a:cubicBezTo>
                  <a:pt x="274" y="60"/>
                  <a:pt x="274" y="60"/>
                  <a:pt x="274" y="60"/>
                </a:cubicBezTo>
                <a:cubicBezTo>
                  <a:pt x="273" y="60"/>
                  <a:pt x="273" y="60"/>
                  <a:pt x="273" y="60"/>
                </a:cubicBezTo>
                <a:cubicBezTo>
                  <a:pt x="272" y="60"/>
                  <a:pt x="272" y="60"/>
                  <a:pt x="272" y="60"/>
                </a:cubicBezTo>
                <a:cubicBezTo>
                  <a:pt x="271" y="61"/>
                  <a:pt x="271" y="61"/>
                  <a:pt x="271" y="61"/>
                </a:cubicBezTo>
                <a:cubicBezTo>
                  <a:pt x="271" y="63"/>
                  <a:pt x="271" y="63"/>
                  <a:pt x="271" y="63"/>
                </a:cubicBezTo>
                <a:cubicBezTo>
                  <a:pt x="271" y="63"/>
                  <a:pt x="271" y="63"/>
                  <a:pt x="271" y="63"/>
                </a:cubicBezTo>
                <a:cubicBezTo>
                  <a:pt x="271" y="64"/>
                  <a:pt x="271" y="64"/>
                  <a:pt x="271" y="64"/>
                </a:cubicBezTo>
                <a:cubicBezTo>
                  <a:pt x="270" y="64"/>
                  <a:pt x="270" y="64"/>
                  <a:pt x="270" y="64"/>
                </a:cubicBezTo>
                <a:cubicBezTo>
                  <a:pt x="269" y="63"/>
                  <a:pt x="269" y="63"/>
                  <a:pt x="269" y="63"/>
                </a:cubicBezTo>
                <a:cubicBezTo>
                  <a:pt x="269" y="63"/>
                  <a:pt x="269" y="63"/>
                  <a:pt x="269" y="63"/>
                </a:cubicBezTo>
                <a:cubicBezTo>
                  <a:pt x="269" y="64"/>
                  <a:pt x="269" y="64"/>
                  <a:pt x="269" y="64"/>
                </a:cubicBezTo>
                <a:cubicBezTo>
                  <a:pt x="268" y="65"/>
                  <a:pt x="268" y="65"/>
                  <a:pt x="268" y="65"/>
                </a:cubicBezTo>
                <a:cubicBezTo>
                  <a:pt x="268" y="64"/>
                  <a:pt x="268" y="64"/>
                  <a:pt x="268" y="64"/>
                </a:cubicBezTo>
                <a:cubicBezTo>
                  <a:pt x="268" y="62"/>
                  <a:pt x="268" y="62"/>
                  <a:pt x="268" y="62"/>
                </a:cubicBezTo>
                <a:cubicBezTo>
                  <a:pt x="266" y="61"/>
                  <a:pt x="266" y="61"/>
                  <a:pt x="266" y="61"/>
                </a:cubicBezTo>
                <a:cubicBezTo>
                  <a:pt x="266" y="61"/>
                  <a:pt x="266" y="61"/>
                  <a:pt x="266" y="61"/>
                </a:cubicBezTo>
                <a:cubicBezTo>
                  <a:pt x="265" y="61"/>
                  <a:pt x="265" y="61"/>
                  <a:pt x="265" y="61"/>
                </a:cubicBezTo>
                <a:cubicBezTo>
                  <a:pt x="264" y="61"/>
                  <a:pt x="264" y="61"/>
                  <a:pt x="264" y="61"/>
                </a:cubicBezTo>
                <a:cubicBezTo>
                  <a:pt x="263" y="61"/>
                  <a:pt x="263" y="61"/>
                  <a:pt x="263" y="61"/>
                </a:cubicBezTo>
                <a:cubicBezTo>
                  <a:pt x="262" y="61"/>
                  <a:pt x="262" y="61"/>
                  <a:pt x="262" y="61"/>
                </a:cubicBezTo>
                <a:cubicBezTo>
                  <a:pt x="259" y="61"/>
                  <a:pt x="259" y="61"/>
                  <a:pt x="259" y="61"/>
                </a:cubicBezTo>
                <a:cubicBezTo>
                  <a:pt x="258" y="61"/>
                  <a:pt x="258" y="61"/>
                  <a:pt x="258" y="61"/>
                </a:cubicBezTo>
                <a:cubicBezTo>
                  <a:pt x="257" y="62"/>
                  <a:pt x="257" y="62"/>
                  <a:pt x="257" y="62"/>
                </a:cubicBezTo>
                <a:cubicBezTo>
                  <a:pt x="257" y="63"/>
                  <a:pt x="257" y="63"/>
                  <a:pt x="257" y="63"/>
                </a:cubicBezTo>
                <a:cubicBezTo>
                  <a:pt x="256" y="63"/>
                  <a:pt x="256" y="63"/>
                  <a:pt x="256" y="63"/>
                </a:cubicBezTo>
                <a:cubicBezTo>
                  <a:pt x="255" y="63"/>
                  <a:pt x="255" y="63"/>
                  <a:pt x="255" y="63"/>
                </a:cubicBezTo>
                <a:cubicBezTo>
                  <a:pt x="252" y="65"/>
                  <a:pt x="252" y="65"/>
                  <a:pt x="252" y="65"/>
                </a:cubicBezTo>
                <a:cubicBezTo>
                  <a:pt x="252" y="66"/>
                  <a:pt x="252" y="66"/>
                  <a:pt x="252" y="66"/>
                </a:cubicBezTo>
                <a:cubicBezTo>
                  <a:pt x="250" y="66"/>
                  <a:pt x="250" y="66"/>
                  <a:pt x="250" y="66"/>
                </a:cubicBezTo>
                <a:cubicBezTo>
                  <a:pt x="249" y="67"/>
                  <a:pt x="249" y="67"/>
                  <a:pt x="249" y="67"/>
                </a:cubicBezTo>
                <a:cubicBezTo>
                  <a:pt x="248" y="67"/>
                  <a:pt x="248" y="67"/>
                  <a:pt x="248" y="67"/>
                </a:cubicBezTo>
                <a:cubicBezTo>
                  <a:pt x="247" y="68"/>
                  <a:pt x="247" y="68"/>
                  <a:pt x="247" y="68"/>
                </a:cubicBezTo>
                <a:cubicBezTo>
                  <a:pt x="247" y="69"/>
                  <a:pt x="247" y="69"/>
                  <a:pt x="247" y="69"/>
                </a:cubicBezTo>
                <a:cubicBezTo>
                  <a:pt x="245" y="69"/>
                  <a:pt x="245" y="69"/>
                  <a:pt x="245" y="69"/>
                </a:cubicBezTo>
                <a:cubicBezTo>
                  <a:pt x="244" y="70"/>
                  <a:pt x="244" y="70"/>
                  <a:pt x="244" y="70"/>
                </a:cubicBezTo>
                <a:cubicBezTo>
                  <a:pt x="243" y="69"/>
                  <a:pt x="243" y="69"/>
                  <a:pt x="243" y="69"/>
                </a:cubicBezTo>
                <a:cubicBezTo>
                  <a:pt x="242" y="70"/>
                  <a:pt x="242" y="70"/>
                  <a:pt x="242" y="70"/>
                </a:cubicBezTo>
                <a:cubicBezTo>
                  <a:pt x="241" y="70"/>
                  <a:pt x="241" y="70"/>
                  <a:pt x="241" y="70"/>
                </a:cubicBezTo>
                <a:cubicBezTo>
                  <a:pt x="239" y="72"/>
                  <a:pt x="239" y="72"/>
                  <a:pt x="239" y="72"/>
                </a:cubicBezTo>
                <a:cubicBezTo>
                  <a:pt x="238" y="72"/>
                  <a:pt x="238" y="72"/>
                  <a:pt x="238" y="72"/>
                </a:cubicBezTo>
                <a:cubicBezTo>
                  <a:pt x="236" y="72"/>
                  <a:pt x="236" y="72"/>
                  <a:pt x="236" y="72"/>
                </a:cubicBezTo>
                <a:cubicBezTo>
                  <a:pt x="235" y="72"/>
                  <a:pt x="235" y="72"/>
                  <a:pt x="235" y="72"/>
                </a:cubicBezTo>
                <a:cubicBezTo>
                  <a:pt x="232" y="73"/>
                  <a:pt x="232" y="73"/>
                  <a:pt x="232" y="73"/>
                </a:cubicBezTo>
                <a:cubicBezTo>
                  <a:pt x="231" y="75"/>
                  <a:pt x="231" y="75"/>
                  <a:pt x="231" y="75"/>
                </a:cubicBezTo>
                <a:cubicBezTo>
                  <a:pt x="230" y="75"/>
                  <a:pt x="230" y="75"/>
                  <a:pt x="230" y="75"/>
                </a:cubicBezTo>
                <a:cubicBezTo>
                  <a:pt x="228" y="75"/>
                  <a:pt x="228" y="75"/>
                  <a:pt x="228" y="75"/>
                </a:cubicBezTo>
                <a:cubicBezTo>
                  <a:pt x="228" y="77"/>
                  <a:pt x="228" y="77"/>
                  <a:pt x="228" y="77"/>
                </a:cubicBezTo>
                <a:cubicBezTo>
                  <a:pt x="229" y="77"/>
                  <a:pt x="229" y="77"/>
                  <a:pt x="229" y="77"/>
                </a:cubicBezTo>
                <a:cubicBezTo>
                  <a:pt x="229" y="77"/>
                  <a:pt x="229" y="77"/>
                  <a:pt x="229" y="77"/>
                </a:cubicBezTo>
                <a:cubicBezTo>
                  <a:pt x="228" y="77"/>
                  <a:pt x="228" y="77"/>
                  <a:pt x="228" y="77"/>
                </a:cubicBezTo>
                <a:cubicBezTo>
                  <a:pt x="228" y="78"/>
                  <a:pt x="228" y="78"/>
                  <a:pt x="228" y="78"/>
                </a:cubicBezTo>
                <a:cubicBezTo>
                  <a:pt x="229" y="79"/>
                  <a:pt x="229" y="79"/>
                  <a:pt x="229" y="79"/>
                </a:cubicBezTo>
                <a:cubicBezTo>
                  <a:pt x="229" y="79"/>
                  <a:pt x="229" y="79"/>
                  <a:pt x="229" y="79"/>
                </a:cubicBezTo>
                <a:cubicBezTo>
                  <a:pt x="227" y="80"/>
                  <a:pt x="227" y="80"/>
                  <a:pt x="227" y="80"/>
                </a:cubicBezTo>
                <a:cubicBezTo>
                  <a:pt x="227" y="81"/>
                  <a:pt x="227" y="81"/>
                  <a:pt x="227" y="81"/>
                </a:cubicBezTo>
                <a:cubicBezTo>
                  <a:pt x="228" y="81"/>
                  <a:pt x="228" y="81"/>
                  <a:pt x="228" y="81"/>
                </a:cubicBezTo>
                <a:cubicBezTo>
                  <a:pt x="229" y="81"/>
                  <a:pt x="229" y="81"/>
                  <a:pt x="229" y="81"/>
                </a:cubicBezTo>
                <a:cubicBezTo>
                  <a:pt x="230" y="80"/>
                  <a:pt x="230" y="80"/>
                  <a:pt x="230" y="80"/>
                </a:cubicBezTo>
                <a:cubicBezTo>
                  <a:pt x="231" y="79"/>
                  <a:pt x="231" y="79"/>
                  <a:pt x="231" y="79"/>
                </a:cubicBezTo>
                <a:cubicBezTo>
                  <a:pt x="232" y="80"/>
                  <a:pt x="232" y="80"/>
                  <a:pt x="232" y="80"/>
                </a:cubicBezTo>
                <a:cubicBezTo>
                  <a:pt x="233" y="82"/>
                  <a:pt x="233" y="82"/>
                  <a:pt x="233" y="82"/>
                </a:cubicBezTo>
                <a:cubicBezTo>
                  <a:pt x="233" y="83"/>
                  <a:pt x="233" y="83"/>
                  <a:pt x="233" y="83"/>
                </a:cubicBezTo>
                <a:cubicBezTo>
                  <a:pt x="234" y="83"/>
                  <a:pt x="234" y="83"/>
                  <a:pt x="234" y="83"/>
                </a:cubicBezTo>
                <a:close/>
                <a:moveTo>
                  <a:pt x="354" y="154"/>
                </a:moveTo>
                <a:cubicBezTo>
                  <a:pt x="354" y="153"/>
                  <a:pt x="354" y="153"/>
                  <a:pt x="354" y="153"/>
                </a:cubicBezTo>
                <a:cubicBezTo>
                  <a:pt x="356" y="154"/>
                  <a:pt x="356" y="154"/>
                  <a:pt x="356" y="154"/>
                </a:cubicBezTo>
                <a:cubicBezTo>
                  <a:pt x="356" y="154"/>
                  <a:pt x="356" y="154"/>
                  <a:pt x="356" y="154"/>
                </a:cubicBezTo>
                <a:cubicBezTo>
                  <a:pt x="355" y="155"/>
                  <a:pt x="355" y="155"/>
                  <a:pt x="355" y="155"/>
                </a:cubicBezTo>
                <a:cubicBezTo>
                  <a:pt x="354" y="155"/>
                  <a:pt x="354" y="155"/>
                  <a:pt x="354" y="155"/>
                </a:cubicBezTo>
                <a:cubicBezTo>
                  <a:pt x="354" y="154"/>
                  <a:pt x="354" y="154"/>
                  <a:pt x="354" y="154"/>
                </a:cubicBezTo>
                <a:close/>
                <a:moveTo>
                  <a:pt x="340" y="126"/>
                </a:moveTo>
                <a:cubicBezTo>
                  <a:pt x="339" y="126"/>
                  <a:pt x="339" y="126"/>
                  <a:pt x="339" y="126"/>
                </a:cubicBezTo>
                <a:cubicBezTo>
                  <a:pt x="338" y="125"/>
                  <a:pt x="338" y="125"/>
                  <a:pt x="338" y="125"/>
                </a:cubicBezTo>
                <a:cubicBezTo>
                  <a:pt x="337" y="126"/>
                  <a:pt x="337" y="126"/>
                  <a:pt x="337" y="126"/>
                </a:cubicBezTo>
                <a:cubicBezTo>
                  <a:pt x="338" y="126"/>
                  <a:pt x="338" y="126"/>
                  <a:pt x="338" y="126"/>
                </a:cubicBezTo>
                <a:cubicBezTo>
                  <a:pt x="339" y="127"/>
                  <a:pt x="339" y="127"/>
                  <a:pt x="339" y="127"/>
                </a:cubicBezTo>
                <a:cubicBezTo>
                  <a:pt x="339" y="127"/>
                  <a:pt x="339" y="127"/>
                  <a:pt x="339" y="127"/>
                </a:cubicBezTo>
                <a:cubicBezTo>
                  <a:pt x="337" y="127"/>
                  <a:pt x="337" y="127"/>
                  <a:pt x="337" y="127"/>
                </a:cubicBezTo>
                <a:cubicBezTo>
                  <a:pt x="337" y="128"/>
                  <a:pt x="337" y="128"/>
                  <a:pt x="337" y="128"/>
                </a:cubicBezTo>
                <a:cubicBezTo>
                  <a:pt x="337" y="129"/>
                  <a:pt x="337" y="129"/>
                  <a:pt x="337" y="129"/>
                </a:cubicBezTo>
                <a:cubicBezTo>
                  <a:pt x="337" y="129"/>
                  <a:pt x="337" y="129"/>
                  <a:pt x="337" y="129"/>
                </a:cubicBezTo>
                <a:cubicBezTo>
                  <a:pt x="337" y="129"/>
                  <a:pt x="337" y="129"/>
                  <a:pt x="337" y="129"/>
                </a:cubicBezTo>
                <a:cubicBezTo>
                  <a:pt x="336" y="129"/>
                  <a:pt x="336" y="129"/>
                  <a:pt x="336" y="129"/>
                </a:cubicBezTo>
                <a:cubicBezTo>
                  <a:pt x="335" y="129"/>
                  <a:pt x="335" y="129"/>
                  <a:pt x="335" y="129"/>
                </a:cubicBezTo>
                <a:cubicBezTo>
                  <a:pt x="334" y="130"/>
                  <a:pt x="334" y="130"/>
                  <a:pt x="334" y="130"/>
                </a:cubicBezTo>
                <a:cubicBezTo>
                  <a:pt x="333" y="131"/>
                  <a:pt x="333" y="131"/>
                  <a:pt x="333" y="131"/>
                </a:cubicBezTo>
                <a:cubicBezTo>
                  <a:pt x="333" y="132"/>
                  <a:pt x="333" y="132"/>
                  <a:pt x="333" y="132"/>
                </a:cubicBezTo>
                <a:cubicBezTo>
                  <a:pt x="333" y="132"/>
                  <a:pt x="333" y="132"/>
                  <a:pt x="333" y="132"/>
                </a:cubicBezTo>
                <a:cubicBezTo>
                  <a:pt x="334" y="132"/>
                  <a:pt x="334" y="132"/>
                  <a:pt x="334" y="132"/>
                </a:cubicBezTo>
                <a:cubicBezTo>
                  <a:pt x="333" y="133"/>
                  <a:pt x="333" y="133"/>
                  <a:pt x="333" y="133"/>
                </a:cubicBezTo>
                <a:cubicBezTo>
                  <a:pt x="333" y="134"/>
                  <a:pt x="333" y="134"/>
                  <a:pt x="333" y="134"/>
                </a:cubicBezTo>
                <a:cubicBezTo>
                  <a:pt x="334" y="134"/>
                  <a:pt x="334" y="134"/>
                  <a:pt x="334" y="134"/>
                </a:cubicBezTo>
                <a:cubicBezTo>
                  <a:pt x="334" y="133"/>
                  <a:pt x="334" y="133"/>
                  <a:pt x="334" y="133"/>
                </a:cubicBezTo>
                <a:cubicBezTo>
                  <a:pt x="335" y="133"/>
                  <a:pt x="335" y="133"/>
                  <a:pt x="335" y="133"/>
                </a:cubicBezTo>
                <a:cubicBezTo>
                  <a:pt x="334" y="134"/>
                  <a:pt x="334" y="134"/>
                  <a:pt x="334" y="134"/>
                </a:cubicBezTo>
                <a:cubicBezTo>
                  <a:pt x="334" y="135"/>
                  <a:pt x="334" y="135"/>
                  <a:pt x="334" y="135"/>
                </a:cubicBezTo>
                <a:cubicBezTo>
                  <a:pt x="335" y="135"/>
                  <a:pt x="335" y="135"/>
                  <a:pt x="335" y="135"/>
                </a:cubicBezTo>
                <a:cubicBezTo>
                  <a:pt x="336" y="135"/>
                  <a:pt x="336" y="135"/>
                  <a:pt x="336" y="135"/>
                </a:cubicBezTo>
                <a:cubicBezTo>
                  <a:pt x="336" y="136"/>
                  <a:pt x="336" y="136"/>
                  <a:pt x="336" y="136"/>
                </a:cubicBezTo>
                <a:cubicBezTo>
                  <a:pt x="336" y="137"/>
                  <a:pt x="336" y="137"/>
                  <a:pt x="336" y="137"/>
                </a:cubicBezTo>
                <a:cubicBezTo>
                  <a:pt x="337" y="137"/>
                  <a:pt x="337" y="137"/>
                  <a:pt x="337" y="137"/>
                </a:cubicBezTo>
                <a:cubicBezTo>
                  <a:pt x="337" y="136"/>
                  <a:pt x="337" y="136"/>
                  <a:pt x="337" y="136"/>
                </a:cubicBezTo>
                <a:cubicBezTo>
                  <a:pt x="338" y="136"/>
                  <a:pt x="338" y="136"/>
                  <a:pt x="338" y="136"/>
                </a:cubicBezTo>
                <a:cubicBezTo>
                  <a:pt x="338" y="138"/>
                  <a:pt x="338" y="138"/>
                  <a:pt x="338" y="138"/>
                </a:cubicBezTo>
                <a:cubicBezTo>
                  <a:pt x="338" y="138"/>
                  <a:pt x="338" y="138"/>
                  <a:pt x="338" y="138"/>
                </a:cubicBezTo>
                <a:cubicBezTo>
                  <a:pt x="339" y="138"/>
                  <a:pt x="339" y="138"/>
                  <a:pt x="339" y="138"/>
                </a:cubicBezTo>
                <a:cubicBezTo>
                  <a:pt x="339" y="139"/>
                  <a:pt x="339" y="139"/>
                  <a:pt x="339" y="139"/>
                </a:cubicBezTo>
                <a:cubicBezTo>
                  <a:pt x="341" y="139"/>
                  <a:pt x="341" y="139"/>
                  <a:pt x="341" y="139"/>
                </a:cubicBezTo>
                <a:cubicBezTo>
                  <a:pt x="342" y="140"/>
                  <a:pt x="342" y="140"/>
                  <a:pt x="342" y="140"/>
                </a:cubicBezTo>
                <a:cubicBezTo>
                  <a:pt x="343" y="140"/>
                  <a:pt x="343" y="140"/>
                  <a:pt x="343" y="140"/>
                </a:cubicBezTo>
                <a:cubicBezTo>
                  <a:pt x="344" y="141"/>
                  <a:pt x="344" y="141"/>
                  <a:pt x="344" y="141"/>
                </a:cubicBezTo>
                <a:cubicBezTo>
                  <a:pt x="344" y="140"/>
                  <a:pt x="344" y="140"/>
                  <a:pt x="344" y="140"/>
                </a:cubicBezTo>
                <a:cubicBezTo>
                  <a:pt x="344" y="139"/>
                  <a:pt x="344" y="139"/>
                  <a:pt x="344" y="139"/>
                </a:cubicBezTo>
                <a:cubicBezTo>
                  <a:pt x="345" y="139"/>
                  <a:pt x="345" y="139"/>
                  <a:pt x="345" y="139"/>
                </a:cubicBezTo>
                <a:cubicBezTo>
                  <a:pt x="345" y="137"/>
                  <a:pt x="345" y="137"/>
                  <a:pt x="345" y="137"/>
                </a:cubicBezTo>
                <a:cubicBezTo>
                  <a:pt x="345" y="136"/>
                  <a:pt x="345" y="136"/>
                  <a:pt x="345" y="136"/>
                </a:cubicBezTo>
                <a:cubicBezTo>
                  <a:pt x="346" y="134"/>
                  <a:pt x="346" y="134"/>
                  <a:pt x="346" y="134"/>
                </a:cubicBezTo>
                <a:cubicBezTo>
                  <a:pt x="346" y="134"/>
                  <a:pt x="346" y="134"/>
                  <a:pt x="346" y="134"/>
                </a:cubicBezTo>
                <a:cubicBezTo>
                  <a:pt x="347" y="132"/>
                  <a:pt x="347" y="132"/>
                  <a:pt x="347" y="132"/>
                </a:cubicBezTo>
                <a:cubicBezTo>
                  <a:pt x="347" y="130"/>
                  <a:pt x="347" y="130"/>
                  <a:pt x="347" y="130"/>
                </a:cubicBezTo>
                <a:cubicBezTo>
                  <a:pt x="348" y="130"/>
                  <a:pt x="348" y="130"/>
                  <a:pt x="348" y="130"/>
                </a:cubicBezTo>
                <a:cubicBezTo>
                  <a:pt x="347" y="128"/>
                  <a:pt x="347" y="128"/>
                  <a:pt x="347" y="128"/>
                </a:cubicBezTo>
                <a:cubicBezTo>
                  <a:pt x="346" y="128"/>
                  <a:pt x="346" y="128"/>
                  <a:pt x="346" y="128"/>
                </a:cubicBezTo>
                <a:cubicBezTo>
                  <a:pt x="346" y="126"/>
                  <a:pt x="346" y="126"/>
                  <a:pt x="346" y="126"/>
                </a:cubicBezTo>
                <a:cubicBezTo>
                  <a:pt x="346" y="126"/>
                  <a:pt x="346" y="126"/>
                  <a:pt x="346" y="126"/>
                </a:cubicBezTo>
                <a:cubicBezTo>
                  <a:pt x="345" y="125"/>
                  <a:pt x="345" y="125"/>
                  <a:pt x="345" y="125"/>
                </a:cubicBezTo>
                <a:cubicBezTo>
                  <a:pt x="344" y="124"/>
                  <a:pt x="344" y="124"/>
                  <a:pt x="344" y="124"/>
                </a:cubicBezTo>
                <a:cubicBezTo>
                  <a:pt x="343" y="124"/>
                  <a:pt x="343" y="124"/>
                  <a:pt x="343" y="124"/>
                </a:cubicBezTo>
                <a:cubicBezTo>
                  <a:pt x="341" y="124"/>
                  <a:pt x="341" y="124"/>
                  <a:pt x="341" y="124"/>
                </a:cubicBezTo>
                <a:cubicBezTo>
                  <a:pt x="340" y="124"/>
                  <a:pt x="340" y="124"/>
                  <a:pt x="340" y="124"/>
                </a:cubicBezTo>
                <a:cubicBezTo>
                  <a:pt x="340" y="125"/>
                  <a:pt x="340" y="125"/>
                  <a:pt x="340" y="125"/>
                </a:cubicBezTo>
                <a:cubicBezTo>
                  <a:pt x="340" y="126"/>
                  <a:pt x="340" y="126"/>
                  <a:pt x="340" y="126"/>
                </a:cubicBezTo>
                <a:cubicBezTo>
                  <a:pt x="340" y="126"/>
                  <a:pt x="340" y="126"/>
                  <a:pt x="340" y="126"/>
                </a:cubicBezTo>
                <a:cubicBezTo>
                  <a:pt x="340" y="126"/>
                  <a:pt x="340" y="126"/>
                  <a:pt x="340" y="126"/>
                </a:cubicBezTo>
                <a:close/>
                <a:moveTo>
                  <a:pt x="348" y="116"/>
                </a:moveTo>
                <a:cubicBezTo>
                  <a:pt x="347" y="116"/>
                  <a:pt x="347" y="116"/>
                  <a:pt x="347" y="116"/>
                </a:cubicBezTo>
                <a:cubicBezTo>
                  <a:pt x="347" y="115"/>
                  <a:pt x="347" y="115"/>
                  <a:pt x="347" y="115"/>
                </a:cubicBezTo>
                <a:cubicBezTo>
                  <a:pt x="348" y="115"/>
                  <a:pt x="348" y="115"/>
                  <a:pt x="348" y="115"/>
                </a:cubicBezTo>
                <a:cubicBezTo>
                  <a:pt x="348" y="115"/>
                  <a:pt x="348" y="116"/>
                  <a:pt x="348" y="116"/>
                </a:cubicBezTo>
                <a:close/>
                <a:moveTo>
                  <a:pt x="346" y="123"/>
                </a:moveTo>
                <a:cubicBezTo>
                  <a:pt x="346" y="122"/>
                  <a:pt x="346" y="122"/>
                  <a:pt x="346" y="122"/>
                </a:cubicBezTo>
                <a:cubicBezTo>
                  <a:pt x="346" y="122"/>
                  <a:pt x="346" y="122"/>
                  <a:pt x="346" y="122"/>
                </a:cubicBezTo>
                <a:cubicBezTo>
                  <a:pt x="346" y="121"/>
                  <a:pt x="346" y="121"/>
                  <a:pt x="346" y="121"/>
                </a:cubicBezTo>
                <a:cubicBezTo>
                  <a:pt x="346" y="120"/>
                  <a:pt x="346" y="120"/>
                  <a:pt x="346" y="120"/>
                </a:cubicBezTo>
                <a:cubicBezTo>
                  <a:pt x="346" y="119"/>
                  <a:pt x="346" y="119"/>
                  <a:pt x="346" y="119"/>
                </a:cubicBezTo>
                <a:cubicBezTo>
                  <a:pt x="347" y="119"/>
                  <a:pt x="347" y="119"/>
                  <a:pt x="347" y="119"/>
                </a:cubicBezTo>
                <a:cubicBezTo>
                  <a:pt x="348" y="119"/>
                  <a:pt x="348" y="119"/>
                  <a:pt x="348" y="119"/>
                </a:cubicBezTo>
                <a:cubicBezTo>
                  <a:pt x="347" y="121"/>
                  <a:pt x="347" y="121"/>
                  <a:pt x="347" y="121"/>
                </a:cubicBezTo>
                <a:cubicBezTo>
                  <a:pt x="347" y="122"/>
                  <a:pt x="347" y="122"/>
                  <a:pt x="347" y="122"/>
                </a:cubicBezTo>
                <a:cubicBezTo>
                  <a:pt x="347" y="122"/>
                  <a:pt x="346" y="123"/>
                  <a:pt x="346" y="123"/>
                </a:cubicBezTo>
                <a:close/>
                <a:moveTo>
                  <a:pt x="338" y="120"/>
                </a:moveTo>
                <a:cubicBezTo>
                  <a:pt x="337" y="120"/>
                  <a:pt x="337" y="120"/>
                  <a:pt x="337" y="120"/>
                </a:cubicBezTo>
                <a:cubicBezTo>
                  <a:pt x="338" y="119"/>
                  <a:pt x="338" y="119"/>
                  <a:pt x="338" y="119"/>
                </a:cubicBezTo>
                <a:cubicBezTo>
                  <a:pt x="339" y="119"/>
                  <a:pt x="339" y="119"/>
                  <a:pt x="339" y="119"/>
                </a:cubicBezTo>
                <a:cubicBezTo>
                  <a:pt x="339" y="119"/>
                  <a:pt x="339" y="119"/>
                  <a:pt x="339" y="119"/>
                </a:cubicBezTo>
                <a:cubicBezTo>
                  <a:pt x="339" y="119"/>
                  <a:pt x="339" y="119"/>
                  <a:pt x="339" y="119"/>
                </a:cubicBezTo>
                <a:cubicBezTo>
                  <a:pt x="338" y="120"/>
                  <a:pt x="338" y="120"/>
                  <a:pt x="338" y="120"/>
                </a:cubicBezTo>
                <a:cubicBezTo>
                  <a:pt x="338" y="120"/>
                  <a:pt x="338" y="120"/>
                  <a:pt x="338" y="120"/>
                </a:cubicBezTo>
                <a:close/>
                <a:moveTo>
                  <a:pt x="336" y="122"/>
                </a:moveTo>
                <a:cubicBezTo>
                  <a:pt x="335" y="121"/>
                  <a:pt x="335" y="121"/>
                  <a:pt x="335" y="121"/>
                </a:cubicBezTo>
                <a:cubicBezTo>
                  <a:pt x="336" y="121"/>
                  <a:pt x="336" y="121"/>
                  <a:pt x="336" y="121"/>
                </a:cubicBezTo>
                <a:cubicBezTo>
                  <a:pt x="337" y="121"/>
                  <a:pt x="337" y="121"/>
                  <a:pt x="337" y="121"/>
                </a:cubicBezTo>
                <a:cubicBezTo>
                  <a:pt x="336" y="121"/>
                  <a:pt x="336" y="121"/>
                  <a:pt x="336" y="121"/>
                </a:cubicBezTo>
                <a:cubicBezTo>
                  <a:pt x="336" y="122"/>
                  <a:pt x="336" y="122"/>
                  <a:pt x="336" y="122"/>
                </a:cubicBezTo>
                <a:close/>
                <a:moveTo>
                  <a:pt x="337" y="124"/>
                </a:moveTo>
                <a:cubicBezTo>
                  <a:pt x="337" y="124"/>
                  <a:pt x="337" y="124"/>
                  <a:pt x="337" y="124"/>
                </a:cubicBezTo>
                <a:cubicBezTo>
                  <a:pt x="337" y="123"/>
                  <a:pt x="337" y="123"/>
                  <a:pt x="337" y="123"/>
                </a:cubicBezTo>
                <a:cubicBezTo>
                  <a:pt x="337" y="122"/>
                  <a:pt x="337" y="122"/>
                  <a:pt x="337" y="122"/>
                </a:cubicBezTo>
                <a:cubicBezTo>
                  <a:pt x="338" y="122"/>
                  <a:pt x="338" y="122"/>
                  <a:pt x="338" y="122"/>
                </a:cubicBezTo>
                <a:cubicBezTo>
                  <a:pt x="338" y="123"/>
                  <a:pt x="338" y="123"/>
                  <a:pt x="338" y="123"/>
                </a:cubicBezTo>
                <a:cubicBezTo>
                  <a:pt x="339" y="123"/>
                  <a:pt x="339" y="123"/>
                  <a:pt x="339" y="123"/>
                </a:cubicBezTo>
                <a:cubicBezTo>
                  <a:pt x="338" y="124"/>
                  <a:pt x="338" y="124"/>
                  <a:pt x="338" y="124"/>
                </a:cubicBezTo>
                <a:cubicBezTo>
                  <a:pt x="337" y="124"/>
                  <a:pt x="337" y="124"/>
                  <a:pt x="337" y="124"/>
                </a:cubicBezTo>
                <a:close/>
                <a:moveTo>
                  <a:pt x="335" y="126"/>
                </a:moveTo>
                <a:cubicBezTo>
                  <a:pt x="334" y="125"/>
                  <a:pt x="334" y="125"/>
                  <a:pt x="334" y="125"/>
                </a:cubicBezTo>
                <a:cubicBezTo>
                  <a:pt x="334" y="123"/>
                  <a:pt x="334" y="123"/>
                  <a:pt x="334" y="123"/>
                </a:cubicBezTo>
                <a:cubicBezTo>
                  <a:pt x="334" y="123"/>
                  <a:pt x="334" y="123"/>
                  <a:pt x="334" y="123"/>
                </a:cubicBezTo>
                <a:cubicBezTo>
                  <a:pt x="335" y="123"/>
                  <a:pt x="335" y="123"/>
                  <a:pt x="335" y="123"/>
                </a:cubicBezTo>
                <a:cubicBezTo>
                  <a:pt x="336" y="123"/>
                  <a:pt x="336" y="123"/>
                  <a:pt x="336" y="123"/>
                </a:cubicBezTo>
                <a:cubicBezTo>
                  <a:pt x="336" y="123"/>
                  <a:pt x="336" y="123"/>
                  <a:pt x="336" y="123"/>
                </a:cubicBezTo>
                <a:cubicBezTo>
                  <a:pt x="337" y="123"/>
                  <a:pt x="337" y="123"/>
                  <a:pt x="337" y="123"/>
                </a:cubicBezTo>
                <a:cubicBezTo>
                  <a:pt x="336" y="124"/>
                  <a:pt x="336" y="124"/>
                  <a:pt x="336" y="124"/>
                </a:cubicBezTo>
                <a:cubicBezTo>
                  <a:pt x="336" y="125"/>
                  <a:pt x="336" y="125"/>
                  <a:pt x="336" y="125"/>
                </a:cubicBezTo>
                <a:cubicBezTo>
                  <a:pt x="336" y="125"/>
                  <a:pt x="336" y="125"/>
                  <a:pt x="336" y="125"/>
                </a:cubicBezTo>
                <a:cubicBezTo>
                  <a:pt x="335" y="125"/>
                  <a:pt x="335" y="125"/>
                  <a:pt x="335" y="125"/>
                </a:cubicBezTo>
                <a:cubicBezTo>
                  <a:pt x="335" y="126"/>
                  <a:pt x="335" y="126"/>
                  <a:pt x="335" y="126"/>
                </a:cubicBezTo>
                <a:close/>
                <a:moveTo>
                  <a:pt x="331" y="126"/>
                </a:moveTo>
                <a:cubicBezTo>
                  <a:pt x="331" y="125"/>
                  <a:pt x="331" y="125"/>
                  <a:pt x="331" y="125"/>
                </a:cubicBezTo>
                <a:cubicBezTo>
                  <a:pt x="332" y="125"/>
                  <a:pt x="332" y="125"/>
                  <a:pt x="332" y="125"/>
                </a:cubicBezTo>
                <a:cubicBezTo>
                  <a:pt x="332" y="125"/>
                  <a:pt x="332" y="125"/>
                  <a:pt x="332" y="125"/>
                </a:cubicBezTo>
                <a:cubicBezTo>
                  <a:pt x="332" y="126"/>
                  <a:pt x="332" y="126"/>
                  <a:pt x="332" y="126"/>
                </a:cubicBezTo>
                <a:cubicBezTo>
                  <a:pt x="331" y="126"/>
                  <a:pt x="331" y="126"/>
                  <a:pt x="331" y="126"/>
                </a:cubicBezTo>
                <a:close/>
                <a:moveTo>
                  <a:pt x="319" y="128"/>
                </a:moveTo>
                <a:cubicBezTo>
                  <a:pt x="318" y="127"/>
                  <a:pt x="318" y="127"/>
                  <a:pt x="318" y="127"/>
                </a:cubicBezTo>
                <a:cubicBezTo>
                  <a:pt x="317" y="127"/>
                  <a:pt x="317" y="127"/>
                  <a:pt x="317" y="127"/>
                </a:cubicBezTo>
                <a:cubicBezTo>
                  <a:pt x="316" y="127"/>
                  <a:pt x="316" y="127"/>
                  <a:pt x="316" y="127"/>
                </a:cubicBezTo>
                <a:cubicBezTo>
                  <a:pt x="316" y="125"/>
                  <a:pt x="316" y="125"/>
                  <a:pt x="316" y="125"/>
                </a:cubicBezTo>
                <a:cubicBezTo>
                  <a:pt x="316" y="125"/>
                  <a:pt x="316" y="125"/>
                  <a:pt x="316" y="125"/>
                </a:cubicBezTo>
                <a:cubicBezTo>
                  <a:pt x="316" y="124"/>
                  <a:pt x="316" y="124"/>
                  <a:pt x="316" y="124"/>
                </a:cubicBezTo>
                <a:cubicBezTo>
                  <a:pt x="317" y="123"/>
                  <a:pt x="317" y="123"/>
                  <a:pt x="317" y="123"/>
                </a:cubicBezTo>
                <a:cubicBezTo>
                  <a:pt x="317" y="123"/>
                  <a:pt x="317" y="123"/>
                  <a:pt x="317" y="123"/>
                </a:cubicBezTo>
                <a:cubicBezTo>
                  <a:pt x="318" y="124"/>
                  <a:pt x="318" y="124"/>
                  <a:pt x="318" y="124"/>
                </a:cubicBezTo>
                <a:cubicBezTo>
                  <a:pt x="318" y="124"/>
                  <a:pt x="318" y="124"/>
                  <a:pt x="318" y="124"/>
                </a:cubicBezTo>
                <a:cubicBezTo>
                  <a:pt x="318" y="123"/>
                  <a:pt x="318" y="123"/>
                  <a:pt x="318" y="123"/>
                </a:cubicBezTo>
                <a:cubicBezTo>
                  <a:pt x="318" y="122"/>
                  <a:pt x="318" y="122"/>
                  <a:pt x="318" y="122"/>
                </a:cubicBezTo>
                <a:cubicBezTo>
                  <a:pt x="317" y="122"/>
                  <a:pt x="317" y="122"/>
                  <a:pt x="317" y="122"/>
                </a:cubicBezTo>
                <a:cubicBezTo>
                  <a:pt x="316" y="121"/>
                  <a:pt x="316" y="121"/>
                  <a:pt x="316" y="121"/>
                </a:cubicBezTo>
                <a:cubicBezTo>
                  <a:pt x="316" y="121"/>
                  <a:pt x="316" y="121"/>
                  <a:pt x="316" y="121"/>
                </a:cubicBezTo>
                <a:cubicBezTo>
                  <a:pt x="316" y="120"/>
                  <a:pt x="316" y="120"/>
                  <a:pt x="316" y="120"/>
                </a:cubicBezTo>
                <a:cubicBezTo>
                  <a:pt x="317" y="120"/>
                  <a:pt x="317" y="120"/>
                  <a:pt x="317" y="120"/>
                </a:cubicBezTo>
                <a:cubicBezTo>
                  <a:pt x="317" y="121"/>
                  <a:pt x="317" y="121"/>
                  <a:pt x="317" y="121"/>
                </a:cubicBezTo>
                <a:cubicBezTo>
                  <a:pt x="318" y="120"/>
                  <a:pt x="318" y="120"/>
                  <a:pt x="318" y="120"/>
                </a:cubicBezTo>
                <a:cubicBezTo>
                  <a:pt x="318" y="120"/>
                  <a:pt x="318" y="120"/>
                  <a:pt x="318" y="120"/>
                </a:cubicBezTo>
                <a:cubicBezTo>
                  <a:pt x="318" y="119"/>
                  <a:pt x="318" y="119"/>
                  <a:pt x="318" y="119"/>
                </a:cubicBezTo>
                <a:cubicBezTo>
                  <a:pt x="319" y="120"/>
                  <a:pt x="319" y="120"/>
                  <a:pt x="319" y="120"/>
                </a:cubicBezTo>
                <a:cubicBezTo>
                  <a:pt x="321" y="120"/>
                  <a:pt x="321" y="120"/>
                  <a:pt x="321" y="120"/>
                </a:cubicBezTo>
                <a:cubicBezTo>
                  <a:pt x="322" y="120"/>
                  <a:pt x="322" y="120"/>
                  <a:pt x="322" y="120"/>
                </a:cubicBezTo>
                <a:cubicBezTo>
                  <a:pt x="321" y="119"/>
                  <a:pt x="321" y="119"/>
                  <a:pt x="321" y="119"/>
                </a:cubicBezTo>
                <a:cubicBezTo>
                  <a:pt x="320" y="119"/>
                  <a:pt x="320" y="119"/>
                  <a:pt x="320" y="119"/>
                </a:cubicBezTo>
                <a:cubicBezTo>
                  <a:pt x="321" y="119"/>
                  <a:pt x="321" y="119"/>
                  <a:pt x="321" y="119"/>
                </a:cubicBezTo>
                <a:cubicBezTo>
                  <a:pt x="323" y="119"/>
                  <a:pt x="323" y="119"/>
                  <a:pt x="323" y="119"/>
                </a:cubicBezTo>
                <a:cubicBezTo>
                  <a:pt x="324" y="118"/>
                  <a:pt x="324" y="118"/>
                  <a:pt x="324" y="118"/>
                </a:cubicBezTo>
                <a:cubicBezTo>
                  <a:pt x="325" y="118"/>
                  <a:pt x="325" y="118"/>
                  <a:pt x="325" y="118"/>
                </a:cubicBezTo>
                <a:cubicBezTo>
                  <a:pt x="327" y="118"/>
                  <a:pt x="327" y="118"/>
                  <a:pt x="327" y="118"/>
                </a:cubicBezTo>
                <a:cubicBezTo>
                  <a:pt x="328" y="118"/>
                  <a:pt x="328" y="118"/>
                  <a:pt x="328" y="118"/>
                </a:cubicBezTo>
                <a:cubicBezTo>
                  <a:pt x="327" y="117"/>
                  <a:pt x="327" y="117"/>
                  <a:pt x="327" y="117"/>
                </a:cubicBezTo>
                <a:cubicBezTo>
                  <a:pt x="322" y="116"/>
                  <a:pt x="322" y="116"/>
                  <a:pt x="322" y="116"/>
                </a:cubicBezTo>
                <a:cubicBezTo>
                  <a:pt x="321" y="116"/>
                  <a:pt x="321" y="116"/>
                  <a:pt x="321" y="116"/>
                </a:cubicBezTo>
                <a:cubicBezTo>
                  <a:pt x="320" y="116"/>
                  <a:pt x="320" y="116"/>
                  <a:pt x="320" y="116"/>
                </a:cubicBezTo>
                <a:cubicBezTo>
                  <a:pt x="318" y="116"/>
                  <a:pt x="318" y="116"/>
                  <a:pt x="318" y="116"/>
                </a:cubicBezTo>
                <a:cubicBezTo>
                  <a:pt x="317" y="115"/>
                  <a:pt x="317" y="115"/>
                  <a:pt x="317" y="115"/>
                </a:cubicBezTo>
                <a:cubicBezTo>
                  <a:pt x="316" y="116"/>
                  <a:pt x="316" y="116"/>
                  <a:pt x="316" y="116"/>
                </a:cubicBezTo>
                <a:cubicBezTo>
                  <a:pt x="315" y="115"/>
                  <a:pt x="315" y="115"/>
                  <a:pt x="315" y="115"/>
                </a:cubicBezTo>
                <a:cubicBezTo>
                  <a:pt x="314" y="115"/>
                  <a:pt x="314" y="115"/>
                  <a:pt x="314" y="115"/>
                </a:cubicBezTo>
                <a:cubicBezTo>
                  <a:pt x="313" y="116"/>
                  <a:pt x="313" y="116"/>
                  <a:pt x="313" y="116"/>
                </a:cubicBezTo>
                <a:cubicBezTo>
                  <a:pt x="313" y="115"/>
                  <a:pt x="313" y="115"/>
                  <a:pt x="313" y="115"/>
                </a:cubicBezTo>
                <a:cubicBezTo>
                  <a:pt x="312" y="115"/>
                  <a:pt x="312" y="115"/>
                  <a:pt x="312" y="115"/>
                </a:cubicBezTo>
                <a:cubicBezTo>
                  <a:pt x="312" y="115"/>
                  <a:pt x="312" y="115"/>
                  <a:pt x="312" y="115"/>
                </a:cubicBezTo>
                <a:cubicBezTo>
                  <a:pt x="312" y="114"/>
                  <a:pt x="312" y="114"/>
                  <a:pt x="312" y="114"/>
                </a:cubicBezTo>
                <a:cubicBezTo>
                  <a:pt x="313" y="114"/>
                  <a:pt x="313" y="114"/>
                  <a:pt x="313" y="114"/>
                </a:cubicBezTo>
                <a:cubicBezTo>
                  <a:pt x="313" y="113"/>
                  <a:pt x="313" y="113"/>
                  <a:pt x="313" y="113"/>
                </a:cubicBezTo>
                <a:cubicBezTo>
                  <a:pt x="314" y="113"/>
                  <a:pt x="314" y="113"/>
                  <a:pt x="314" y="113"/>
                </a:cubicBezTo>
                <a:cubicBezTo>
                  <a:pt x="315" y="113"/>
                  <a:pt x="315" y="113"/>
                  <a:pt x="315" y="113"/>
                </a:cubicBezTo>
                <a:cubicBezTo>
                  <a:pt x="314" y="113"/>
                  <a:pt x="314" y="113"/>
                  <a:pt x="314" y="113"/>
                </a:cubicBezTo>
                <a:cubicBezTo>
                  <a:pt x="315" y="112"/>
                  <a:pt x="315" y="112"/>
                  <a:pt x="315" y="112"/>
                </a:cubicBezTo>
                <a:cubicBezTo>
                  <a:pt x="315" y="111"/>
                  <a:pt x="315" y="111"/>
                  <a:pt x="315" y="111"/>
                </a:cubicBezTo>
                <a:cubicBezTo>
                  <a:pt x="316" y="111"/>
                  <a:pt x="316" y="111"/>
                  <a:pt x="316" y="111"/>
                </a:cubicBezTo>
                <a:cubicBezTo>
                  <a:pt x="317" y="111"/>
                  <a:pt x="317" y="111"/>
                  <a:pt x="317" y="111"/>
                </a:cubicBezTo>
                <a:cubicBezTo>
                  <a:pt x="317" y="112"/>
                  <a:pt x="317" y="112"/>
                  <a:pt x="317" y="112"/>
                </a:cubicBezTo>
                <a:cubicBezTo>
                  <a:pt x="318" y="112"/>
                  <a:pt x="318" y="112"/>
                  <a:pt x="318" y="112"/>
                </a:cubicBezTo>
                <a:cubicBezTo>
                  <a:pt x="318" y="114"/>
                  <a:pt x="318" y="114"/>
                  <a:pt x="318" y="114"/>
                </a:cubicBezTo>
                <a:cubicBezTo>
                  <a:pt x="318" y="114"/>
                  <a:pt x="318" y="114"/>
                  <a:pt x="318" y="114"/>
                </a:cubicBezTo>
                <a:cubicBezTo>
                  <a:pt x="319" y="114"/>
                  <a:pt x="319" y="114"/>
                  <a:pt x="319" y="114"/>
                </a:cubicBezTo>
                <a:cubicBezTo>
                  <a:pt x="319" y="112"/>
                  <a:pt x="319" y="112"/>
                  <a:pt x="319" y="112"/>
                </a:cubicBezTo>
                <a:cubicBezTo>
                  <a:pt x="318" y="112"/>
                  <a:pt x="318" y="112"/>
                  <a:pt x="318" y="112"/>
                </a:cubicBezTo>
                <a:cubicBezTo>
                  <a:pt x="318" y="111"/>
                  <a:pt x="318" y="111"/>
                  <a:pt x="318" y="111"/>
                </a:cubicBezTo>
                <a:cubicBezTo>
                  <a:pt x="320" y="110"/>
                  <a:pt x="320" y="110"/>
                  <a:pt x="320" y="110"/>
                </a:cubicBezTo>
                <a:cubicBezTo>
                  <a:pt x="320" y="109"/>
                  <a:pt x="320" y="109"/>
                  <a:pt x="320" y="109"/>
                </a:cubicBezTo>
                <a:cubicBezTo>
                  <a:pt x="319" y="109"/>
                  <a:pt x="319" y="109"/>
                  <a:pt x="319" y="109"/>
                </a:cubicBezTo>
                <a:cubicBezTo>
                  <a:pt x="319" y="107"/>
                  <a:pt x="319" y="107"/>
                  <a:pt x="319" y="107"/>
                </a:cubicBezTo>
                <a:cubicBezTo>
                  <a:pt x="320" y="107"/>
                  <a:pt x="320" y="107"/>
                  <a:pt x="320" y="107"/>
                </a:cubicBezTo>
                <a:cubicBezTo>
                  <a:pt x="321" y="106"/>
                  <a:pt x="321" y="106"/>
                  <a:pt x="321" y="106"/>
                </a:cubicBezTo>
                <a:cubicBezTo>
                  <a:pt x="322" y="106"/>
                  <a:pt x="322" y="106"/>
                  <a:pt x="322" y="106"/>
                </a:cubicBezTo>
                <a:cubicBezTo>
                  <a:pt x="321" y="105"/>
                  <a:pt x="321" y="105"/>
                  <a:pt x="321" y="105"/>
                </a:cubicBezTo>
                <a:cubicBezTo>
                  <a:pt x="321" y="105"/>
                  <a:pt x="321" y="105"/>
                  <a:pt x="321" y="105"/>
                </a:cubicBezTo>
                <a:cubicBezTo>
                  <a:pt x="320" y="105"/>
                  <a:pt x="320" y="105"/>
                  <a:pt x="320" y="105"/>
                </a:cubicBezTo>
                <a:cubicBezTo>
                  <a:pt x="320" y="104"/>
                  <a:pt x="320" y="104"/>
                  <a:pt x="320" y="104"/>
                </a:cubicBezTo>
                <a:cubicBezTo>
                  <a:pt x="321" y="103"/>
                  <a:pt x="321" y="103"/>
                  <a:pt x="321" y="103"/>
                </a:cubicBezTo>
                <a:cubicBezTo>
                  <a:pt x="322" y="102"/>
                  <a:pt x="322" y="102"/>
                  <a:pt x="322" y="102"/>
                </a:cubicBezTo>
                <a:cubicBezTo>
                  <a:pt x="323" y="102"/>
                  <a:pt x="323" y="102"/>
                  <a:pt x="323" y="102"/>
                </a:cubicBezTo>
                <a:cubicBezTo>
                  <a:pt x="323" y="102"/>
                  <a:pt x="323" y="102"/>
                  <a:pt x="323" y="102"/>
                </a:cubicBezTo>
                <a:cubicBezTo>
                  <a:pt x="324" y="103"/>
                  <a:pt x="324" y="103"/>
                  <a:pt x="324" y="103"/>
                </a:cubicBezTo>
                <a:cubicBezTo>
                  <a:pt x="324" y="104"/>
                  <a:pt x="324" y="104"/>
                  <a:pt x="324" y="104"/>
                </a:cubicBezTo>
                <a:cubicBezTo>
                  <a:pt x="324" y="105"/>
                  <a:pt x="324" y="105"/>
                  <a:pt x="324" y="105"/>
                </a:cubicBezTo>
                <a:cubicBezTo>
                  <a:pt x="324" y="105"/>
                  <a:pt x="324" y="105"/>
                  <a:pt x="324" y="105"/>
                </a:cubicBezTo>
                <a:cubicBezTo>
                  <a:pt x="324" y="106"/>
                  <a:pt x="324" y="106"/>
                  <a:pt x="324" y="106"/>
                </a:cubicBezTo>
                <a:cubicBezTo>
                  <a:pt x="325" y="107"/>
                  <a:pt x="325" y="107"/>
                  <a:pt x="325" y="107"/>
                </a:cubicBezTo>
                <a:cubicBezTo>
                  <a:pt x="325" y="111"/>
                  <a:pt x="325" y="111"/>
                  <a:pt x="325" y="111"/>
                </a:cubicBezTo>
                <a:cubicBezTo>
                  <a:pt x="325" y="112"/>
                  <a:pt x="325" y="112"/>
                  <a:pt x="325" y="112"/>
                </a:cubicBezTo>
                <a:cubicBezTo>
                  <a:pt x="325" y="112"/>
                  <a:pt x="325" y="112"/>
                  <a:pt x="325" y="112"/>
                </a:cubicBezTo>
                <a:cubicBezTo>
                  <a:pt x="326" y="113"/>
                  <a:pt x="326" y="113"/>
                  <a:pt x="326" y="113"/>
                </a:cubicBezTo>
                <a:cubicBezTo>
                  <a:pt x="328" y="112"/>
                  <a:pt x="328" y="112"/>
                  <a:pt x="328" y="112"/>
                </a:cubicBezTo>
                <a:cubicBezTo>
                  <a:pt x="327" y="111"/>
                  <a:pt x="327" y="111"/>
                  <a:pt x="327" y="111"/>
                </a:cubicBezTo>
                <a:cubicBezTo>
                  <a:pt x="327" y="109"/>
                  <a:pt x="327" y="109"/>
                  <a:pt x="327" y="109"/>
                </a:cubicBezTo>
                <a:cubicBezTo>
                  <a:pt x="328" y="109"/>
                  <a:pt x="328" y="109"/>
                  <a:pt x="328" y="109"/>
                </a:cubicBezTo>
                <a:cubicBezTo>
                  <a:pt x="328" y="108"/>
                  <a:pt x="328" y="108"/>
                  <a:pt x="328" y="108"/>
                </a:cubicBezTo>
                <a:cubicBezTo>
                  <a:pt x="326" y="107"/>
                  <a:pt x="326" y="107"/>
                  <a:pt x="326" y="107"/>
                </a:cubicBezTo>
                <a:cubicBezTo>
                  <a:pt x="327" y="106"/>
                  <a:pt x="327" y="106"/>
                  <a:pt x="327" y="106"/>
                </a:cubicBezTo>
                <a:cubicBezTo>
                  <a:pt x="328" y="106"/>
                  <a:pt x="328" y="106"/>
                  <a:pt x="328" y="106"/>
                </a:cubicBezTo>
                <a:cubicBezTo>
                  <a:pt x="329" y="107"/>
                  <a:pt x="329" y="107"/>
                  <a:pt x="329" y="107"/>
                </a:cubicBezTo>
                <a:cubicBezTo>
                  <a:pt x="329" y="106"/>
                  <a:pt x="329" y="106"/>
                  <a:pt x="329" y="106"/>
                </a:cubicBezTo>
                <a:cubicBezTo>
                  <a:pt x="327" y="105"/>
                  <a:pt x="327" y="105"/>
                  <a:pt x="327" y="105"/>
                </a:cubicBezTo>
                <a:cubicBezTo>
                  <a:pt x="327" y="103"/>
                  <a:pt x="327" y="103"/>
                  <a:pt x="327" y="103"/>
                </a:cubicBezTo>
                <a:cubicBezTo>
                  <a:pt x="327" y="103"/>
                  <a:pt x="327" y="103"/>
                  <a:pt x="327" y="103"/>
                </a:cubicBezTo>
                <a:cubicBezTo>
                  <a:pt x="327" y="101"/>
                  <a:pt x="327" y="101"/>
                  <a:pt x="327" y="101"/>
                </a:cubicBezTo>
                <a:cubicBezTo>
                  <a:pt x="328" y="101"/>
                  <a:pt x="328" y="101"/>
                  <a:pt x="328" y="101"/>
                </a:cubicBezTo>
                <a:cubicBezTo>
                  <a:pt x="329" y="100"/>
                  <a:pt x="329" y="100"/>
                  <a:pt x="329" y="100"/>
                </a:cubicBezTo>
                <a:cubicBezTo>
                  <a:pt x="330" y="100"/>
                  <a:pt x="330" y="100"/>
                  <a:pt x="330" y="100"/>
                </a:cubicBezTo>
                <a:cubicBezTo>
                  <a:pt x="331" y="100"/>
                  <a:pt x="331" y="100"/>
                  <a:pt x="331" y="100"/>
                </a:cubicBezTo>
                <a:cubicBezTo>
                  <a:pt x="331" y="100"/>
                  <a:pt x="332" y="99"/>
                  <a:pt x="332" y="99"/>
                </a:cubicBezTo>
                <a:cubicBezTo>
                  <a:pt x="332" y="99"/>
                  <a:pt x="333" y="99"/>
                  <a:pt x="333" y="99"/>
                </a:cubicBezTo>
                <a:cubicBezTo>
                  <a:pt x="333" y="100"/>
                  <a:pt x="333" y="100"/>
                  <a:pt x="333" y="100"/>
                </a:cubicBezTo>
                <a:cubicBezTo>
                  <a:pt x="334" y="101"/>
                  <a:pt x="334" y="101"/>
                  <a:pt x="334" y="101"/>
                </a:cubicBezTo>
                <a:cubicBezTo>
                  <a:pt x="335" y="100"/>
                  <a:pt x="335" y="100"/>
                  <a:pt x="335" y="100"/>
                </a:cubicBezTo>
                <a:cubicBezTo>
                  <a:pt x="336" y="101"/>
                  <a:pt x="336" y="101"/>
                  <a:pt x="336" y="101"/>
                </a:cubicBezTo>
                <a:cubicBezTo>
                  <a:pt x="335" y="103"/>
                  <a:pt x="335" y="103"/>
                  <a:pt x="335" y="103"/>
                </a:cubicBezTo>
                <a:cubicBezTo>
                  <a:pt x="334" y="104"/>
                  <a:pt x="334" y="104"/>
                  <a:pt x="334" y="104"/>
                </a:cubicBezTo>
                <a:cubicBezTo>
                  <a:pt x="335" y="105"/>
                  <a:pt x="335" y="105"/>
                  <a:pt x="335" y="105"/>
                </a:cubicBezTo>
                <a:cubicBezTo>
                  <a:pt x="335" y="105"/>
                  <a:pt x="335" y="105"/>
                  <a:pt x="335" y="105"/>
                </a:cubicBezTo>
                <a:cubicBezTo>
                  <a:pt x="336" y="105"/>
                  <a:pt x="336" y="105"/>
                  <a:pt x="336" y="105"/>
                </a:cubicBezTo>
                <a:cubicBezTo>
                  <a:pt x="336" y="105"/>
                  <a:pt x="336" y="105"/>
                  <a:pt x="336" y="105"/>
                </a:cubicBezTo>
                <a:cubicBezTo>
                  <a:pt x="337" y="104"/>
                  <a:pt x="337" y="104"/>
                  <a:pt x="337" y="104"/>
                </a:cubicBezTo>
                <a:cubicBezTo>
                  <a:pt x="337" y="102"/>
                  <a:pt x="337" y="102"/>
                  <a:pt x="337" y="102"/>
                </a:cubicBezTo>
                <a:cubicBezTo>
                  <a:pt x="338" y="101"/>
                  <a:pt x="338" y="101"/>
                  <a:pt x="338" y="101"/>
                </a:cubicBezTo>
                <a:cubicBezTo>
                  <a:pt x="339" y="102"/>
                  <a:pt x="339" y="102"/>
                  <a:pt x="339" y="102"/>
                </a:cubicBezTo>
                <a:cubicBezTo>
                  <a:pt x="340" y="102"/>
                  <a:pt x="340" y="102"/>
                  <a:pt x="340" y="102"/>
                </a:cubicBezTo>
                <a:cubicBezTo>
                  <a:pt x="340" y="101"/>
                  <a:pt x="340" y="101"/>
                  <a:pt x="340" y="101"/>
                </a:cubicBezTo>
                <a:cubicBezTo>
                  <a:pt x="339" y="100"/>
                  <a:pt x="339" y="100"/>
                  <a:pt x="339" y="100"/>
                </a:cubicBezTo>
                <a:cubicBezTo>
                  <a:pt x="340" y="100"/>
                  <a:pt x="340" y="100"/>
                  <a:pt x="340" y="100"/>
                </a:cubicBezTo>
                <a:cubicBezTo>
                  <a:pt x="341" y="101"/>
                  <a:pt x="341" y="101"/>
                  <a:pt x="341" y="101"/>
                </a:cubicBezTo>
                <a:cubicBezTo>
                  <a:pt x="341" y="102"/>
                  <a:pt x="341" y="102"/>
                  <a:pt x="341" y="102"/>
                </a:cubicBezTo>
                <a:cubicBezTo>
                  <a:pt x="341" y="103"/>
                  <a:pt x="341" y="103"/>
                  <a:pt x="341" y="103"/>
                </a:cubicBezTo>
                <a:cubicBezTo>
                  <a:pt x="340" y="103"/>
                  <a:pt x="340" y="103"/>
                  <a:pt x="340" y="103"/>
                </a:cubicBezTo>
                <a:cubicBezTo>
                  <a:pt x="340" y="103"/>
                  <a:pt x="340" y="103"/>
                  <a:pt x="340" y="103"/>
                </a:cubicBezTo>
                <a:cubicBezTo>
                  <a:pt x="340" y="104"/>
                  <a:pt x="340" y="104"/>
                  <a:pt x="340" y="104"/>
                </a:cubicBezTo>
                <a:cubicBezTo>
                  <a:pt x="342" y="105"/>
                  <a:pt x="342" y="105"/>
                  <a:pt x="342" y="105"/>
                </a:cubicBezTo>
                <a:cubicBezTo>
                  <a:pt x="342" y="106"/>
                  <a:pt x="342" y="106"/>
                  <a:pt x="342" y="106"/>
                </a:cubicBezTo>
                <a:cubicBezTo>
                  <a:pt x="342" y="107"/>
                  <a:pt x="342" y="107"/>
                  <a:pt x="342" y="107"/>
                </a:cubicBezTo>
                <a:cubicBezTo>
                  <a:pt x="341" y="108"/>
                  <a:pt x="341" y="108"/>
                  <a:pt x="341" y="108"/>
                </a:cubicBezTo>
                <a:cubicBezTo>
                  <a:pt x="340" y="110"/>
                  <a:pt x="340" y="110"/>
                  <a:pt x="340" y="110"/>
                </a:cubicBezTo>
                <a:cubicBezTo>
                  <a:pt x="340" y="111"/>
                  <a:pt x="340" y="111"/>
                  <a:pt x="340" y="111"/>
                </a:cubicBezTo>
                <a:cubicBezTo>
                  <a:pt x="339" y="112"/>
                  <a:pt x="339" y="112"/>
                  <a:pt x="339" y="112"/>
                </a:cubicBezTo>
                <a:cubicBezTo>
                  <a:pt x="338" y="113"/>
                  <a:pt x="338" y="113"/>
                  <a:pt x="338" y="113"/>
                </a:cubicBezTo>
                <a:cubicBezTo>
                  <a:pt x="337" y="114"/>
                  <a:pt x="337" y="114"/>
                  <a:pt x="337" y="114"/>
                </a:cubicBezTo>
                <a:cubicBezTo>
                  <a:pt x="336" y="115"/>
                  <a:pt x="336" y="115"/>
                  <a:pt x="336" y="115"/>
                </a:cubicBezTo>
                <a:cubicBezTo>
                  <a:pt x="335" y="116"/>
                  <a:pt x="335" y="116"/>
                  <a:pt x="335" y="116"/>
                </a:cubicBezTo>
                <a:cubicBezTo>
                  <a:pt x="335" y="117"/>
                  <a:pt x="335" y="117"/>
                  <a:pt x="335" y="117"/>
                </a:cubicBezTo>
                <a:cubicBezTo>
                  <a:pt x="335" y="118"/>
                  <a:pt x="335" y="118"/>
                  <a:pt x="335" y="118"/>
                </a:cubicBezTo>
                <a:cubicBezTo>
                  <a:pt x="334" y="118"/>
                  <a:pt x="334" y="118"/>
                  <a:pt x="334" y="118"/>
                </a:cubicBezTo>
                <a:cubicBezTo>
                  <a:pt x="333" y="118"/>
                  <a:pt x="333" y="118"/>
                  <a:pt x="333" y="118"/>
                </a:cubicBezTo>
                <a:cubicBezTo>
                  <a:pt x="333" y="118"/>
                  <a:pt x="333" y="118"/>
                  <a:pt x="333" y="118"/>
                </a:cubicBezTo>
                <a:cubicBezTo>
                  <a:pt x="333" y="119"/>
                  <a:pt x="333" y="119"/>
                  <a:pt x="333" y="119"/>
                </a:cubicBezTo>
                <a:cubicBezTo>
                  <a:pt x="334" y="119"/>
                  <a:pt x="334" y="119"/>
                  <a:pt x="334" y="119"/>
                </a:cubicBezTo>
                <a:cubicBezTo>
                  <a:pt x="334" y="120"/>
                  <a:pt x="334" y="120"/>
                  <a:pt x="334" y="120"/>
                </a:cubicBezTo>
                <a:cubicBezTo>
                  <a:pt x="333" y="122"/>
                  <a:pt x="333" y="122"/>
                  <a:pt x="333" y="122"/>
                </a:cubicBezTo>
                <a:cubicBezTo>
                  <a:pt x="332" y="123"/>
                  <a:pt x="332" y="123"/>
                  <a:pt x="332" y="123"/>
                </a:cubicBezTo>
                <a:cubicBezTo>
                  <a:pt x="332" y="122"/>
                  <a:pt x="332" y="122"/>
                  <a:pt x="332" y="122"/>
                </a:cubicBezTo>
                <a:cubicBezTo>
                  <a:pt x="332" y="121"/>
                  <a:pt x="332" y="121"/>
                  <a:pt x="332" y="121"/>
                </a:cubicBezTo>
                <a:cubicBezTo>
                  <a:pt x="331" y="121"/>
                  <a:pt x="331" y="121"/>
                  <a:pt x="331" y="121"/>
                </a:cubicBezTo>
                <a:cubicBezTo>
                  <a:pt x="331" y="121"/>
                  <a:pt x="331" y="121"/>
                  <a:pt x="331" y="121"/>
                </a:cubicBezTo>
                <a:cubicBezTo>
                  <a:pt x="331" y="122"/>
                  <a:pt x="331" y="122"/>
                  <a:pt x="331" y="122"/>
                </a:cubicBezTo>
                <a:cubicBezTo>
                  <a:pt x="330" y="123"/>
                  <a:pt x="330" y="123"/>
                  <a:pt x="330" y="123"/>
                </a:cubicBezTo>
                <a:cubicBezTo>
                  <a:pt x="329" y="123"/>
                  <a:pt x="329" y="123"/>
                  <a:pt x="329" y="123"/>
                </a:cubicBezTo>
                <a:cubicBezTo>
                  <a:pt x="328" y="124"/>
                  <a:pt x="328" y="124"/>
                  <a:pt x="328" y="124"/>
                </a:cubicBezTo>
                <a:cubicBezTo>
                  <a:pt x="328" y="125"/>
                  <a:pt x="328" y="125"/>
                  <a:pt x="328" y="125"/>
                </a:cubicBezTo>
                <a:cubicBezTo>
                  <a:pt x="328" y="125"/>
                  <a:pt x="328" y="125"/>
                  <a:pt x="328" y="125"/>
                </a:cubicBezTo>
                <a:cubicBezTo>
                  <a:pt x="329" y="125"/>
                  <a:pt x="329" y="125"/>
                  <a:pt x="329" y="125"/>
                </a:cubicBezTo>
                <a:cubicBezTo>
                  <a:pt x="329" y="126"/>
                  <a:pt x="329" y="126"/>
                  <a:pt x="329" y="126"/>
                </a:cubicBezTo>
                <a:cubicBezTo>
                  <a:pt x="329" y="126"/>
                  <a:pt x="329" y="126"/>
                  <a:pt x="329" y="126"/>
                </a:cubicBezTo>
                <a:cubicBezTo>
                  <a:pt x="329" y="127"/>
                  <a:pt x="329" y="127"/>
                  <a:pt x="329" y="127"/>
                </a:cubicBezTo>
                <a:cubicBezTo>
                  <a:pt x="329" y="128"/>
                  <a:pt x="329" y="128"/>
                  <a:pt x="329" y="128"/>
                </a:cubicBezTo>
                <a:cubicBezTo>
                  <a:pt x="328" y="129"/>
                  <a:pt x="328" y="129"/>
                  <a:pt x="328" y="129"/>
                </a:cubicBezTo>
                <a:cubicBezTo>
                  <a:pt x="328" y="127"/>
                  <a:pt x="328" y="127"/>
                  <a:pt x="328" y="127"/>
                </a:cubicBezTo>
                <a:cubicBezTo>
                  <a:pt x="327" y="126"/>
                  <a:pt x="327" y="126"/>
                  <a:pt x="327" y="126"/>
                </a:cubicBezTo>
                <a:cubicBezTo>
                  <a:pt x="327" y="125"/>
                  <a:pt x="327" y="125"/>
                  <a:pt x="327" y="125"/>
                </a:cubicBezTo>
                <a:cubicBezTo>
                  <a:pt x="327" y="126"/>
                  <a:pt x="327" y="126"/>
                  <a:pt x="327" y="126"/>
                </a:cubicBezTo>
                <a:cubicBezTo>
                  <a:pt x="327" y="127"/>
                  <a:pt x="327" y="127"/>
                  <a:pt x="327" y="127"/>
                </a:cubicBezTo>
                <a:cubicBezTo>
                  <a:pt x="327" y="128"/>
                  <a:pt x="327" y="128"/>
                  <a:pt x="327" y="128"/>
                </a:cubicBezTo>
                <a:cubicBezTo>
                  <a:pt x="326" y="129"/>
                  <a:pt x="326" y="129"/>
                  <a:pt x="326" y="129"/>
                </a:cubicBezTo>
                <a:cubicBezTo>
                  <a:pt x="323" y="129"/>
                  <a:pt x="323" y="129"/>
                  <a:pt x="323" y="129"/>
                </a:cubicBezTo>
                <a:cubicBezTo>
                  <a:pt x="322" y="128"/>
                  <a:pt x="322" y="128"/>
                  <a:pt x="322" y="128"/>
                </a:cubicBezTo>
                <a:cubicBezTo>
                  <a:pt x="322" y="127"/>
                  <a:pt x="322" y="127"/>
                  <a:pt x="322" y="127"/>
                </a:cubicBezTo>
                <a:cubicBezTo>
                  <a:pt x="321" y="128"/>
                  <a:pt x="321" y="128"/>
                  <a:pt x="321" y="128"/>
                </a:cubicBezTo>
                <a:cubicBezTo>
                  <a:pt x="320" y="128"/>
                  <a:pt x="320" y="128"/>
                  <a:pt x="320" y="128"/>
                </a:cubicBezTo>
                <a:cubicBezTo>
                  <a:pt x="320" y="127"/>
                  <a:pt x="320" y="127"/>
                  <a:pt x="320" y="127"/>
                </a:cubicBezTo>
                <a:cubicBezTo>
                  <a:pt x="321" y="126"/>
                  <a:pt x="321" y="126"/>
                  <a:pt x="321" y="126"/>
                </a:cubicBezTo>
                <a:cubicBezTo>
                  <a:pt x="320" y="127"/>
                  <a:pt x="320" y="127"/>
                  <a:pt x="320" y="127"/>
                </a:cubicBezTo>
                <a:cubicBezTo>
                  <a:pt x="319" y="128"/>
                  <a:pt x="319" y="128"/>
                  <a:pt x="319" y="128"/>
                </a:cubicBezTo>
                <a:cubicBezTo>
                  <a:pt x="319" y="128"/>
                  <a:pt x="319" y="128"/>
                  <a:pt x="319" y="128"/>
                </a:cubicBezTo>
                <a:close/>
                <a:moveTo>
                  <a:pt x="237" y="93"/>
                </a:moveTo>
                <a:cubicBezTo>
                  <a:pt x="236" y="93"/>
                  <a:pt x="236" y="93"/>
                  <a:pt x="236" y="93"/>
                </a:cubicBezTo>
                <a:cubicBezTo>
                  <a:pt x="237" y="92"/>
                  <a:pt x="237" y="92"/>
                  <a:pt x="237" y="92"/>
                </a:cubicBezTo>
                <a:cubicBezTo>
                  <a:pt x="240" y="90"/>
                  <a:pt x="240" y="90"/>
                  <a:pt x="240" y="90"/>
                </a:cubicBezTo>
                <a:cubicBezTo>
                  <a:pt x="241" y="89"/>
                  <a:pt x="241" y="89"/>
                  <a:pt x="241" y="89"/>
                </a:cubicBezTo>
                <a:cubicBezTo>
                  <a:pt x="242" y="88"/>
                  <a:pt x="242" y="88"/>
                  <a:pt x="242" y="88"/>
                </a:cubicBezTo>
                <a:cubicBezTo>
                  <a:pt x="243" y="88"/>
                  <a:pt x="243" y="88"/>
                  <a:pt x="243" y="88"/>
                </a:cubicBezTo>
                <a:cubicBezTo>
                  <a:pt x="245" y="87"/>
                  <a:pt x="245" y="87"/>
                  <a:pt x="245" y="87"/>
                </a:cubicBezTo>
                <a:cubicBezTo>
                  <a:pt x="247" y="87"/>
                  <a:pt x="247" y="87"/>
                  <a:pt x="247" y="87"/>
                </a:cubicBezTo>
                <a:cubicBezTo>
                  <a:pt x="248" y="86"/>
                  <a:pt x="248" y="86"/>
                  <a:pt x="248" y="86"/>
                </a:cubicBezTo>
                <a:cubicBezTo>
                  <a:pt x="248" y="86"/>
                  <a:pt x="248" y="86"/>
                  <a:pt x="248" y="86"/>
                </a:cubicBezTo>
                <a:cubicBezTo>
                  <a:pt x="250" y="86"/>
                  <a:pt x="250" y="86"/>
                  <a:pt x="250" y="86"/>
                </a:cubicBezTo>
                <a:cubicBezTo>
                  <a:pt x="251" y="86"/>
                  <a:pt x="251" y="86"/>
                  <a:pt x="251" y="86"/>
                </a:cubicBezTo>
                <a:cubicBezTo>
                  <a:pt x="250" y="87"/>
                  <a:pt x="250" y="87"/>
                  <a:pt x="250" y="87"/>
                </a:cubicBezTo>
                <a:cubicBezTo>
                  <a:pt x="249" y="88"/>
                  <a:pt x="249" y="88"/>
                  <a:pt x="249" y="88"/>
                </a:cubicBezTo>
                <a:cubicBezTo>
                  <a:pt x="247" y="89"/>
                  <a:pt x="247" y="89"/>
                  <a:pt x="247" y="89"/>
                </a:cubicBezTo>
                <a:cubicBezTo>
                  <a:pt x="243" y="92"/>
                  <a:pt x="243" y="92"/>
                  <a:pt x="243" y="92"/>
                </a:cubicBezTo>
                <a:cubicBezTo>
                  <a:pt x="242" y="94"/>
                  <a:pt x="242" y="94"/>
                  <a:pt x="242" y="94"/>
                </a:cubicBezTo>
                <a:cubicBezTo>
                  <a:pt x="241" y="94"/>
                  <a:pt x="241" y="94"/>
                  <a:pt x="241" y="94"/>
                </a:cubicBezTo>
                <a:cubicBezTo>
                  <a:pt x="240" y="94"/>
                  <a:pt x="240" y="94"/>
                  <a:pt x="240" y="94"/>
                </a:cubicBezTo>
                <a:cubicBezTo>
                  <a:pt x="239" y="95"/>
                  <a:pt x="239" y="95"/>
                  <a:pt x="239" y="95"/>
                </a:cubicBezTo>
                <a:cubicBezTo>
                  <a:pt x="239" y="95"/>
                  <a:pt x="239" y="95"/>
                  <a:pt x="239" y="95"/>
                </a:cubicBezTo>
                <a:cubicBezTo>
                  <a:pt x="238" y="94"/>
                  <a:pt x="238" y="94"/>
                  <a:pt x="238" y="94"/>
                </a:cubicBezTo>
                <a:cubicBezTo>
                  <a:pt x="238" y="93"/>
                  <a:pt x="238" y="93"/>
                  <a:pt x="238" y="93"/>
                </a:cubicBezTo>
                <a:cubicBezTo>
                  <a:pt x="237" y="93"/>
                  <a:pt x="237" y="93"/>
                  <a:pt x="237" y="93"/>
                </a:cubicBezTo>
                <a:close/>
                <a:moveTo>
                  <a:pt x="297" y="119"/>
                </a:moveTo>
                <a:cubicBezTo>
                  <a:pt x="297" y="119"/>
                  <a:pt x="297" y="119"/>
                  <a:pt x="297" y="119"/>
                </a:cubicBezTo>
                <a:cubicBezTo>
                  <a:pt x="297" y="118"/>
                  <a:pt x="297" y="118"/>
                  <a:pt x="297" y="118"/>
                </a:cubicBezTo>
                <a:cubicBezTo>
                  <a:pt x="299" y="118"/>
                  <a:pt x="299" y="118"/>
                  <a:pt x="299" y="118"/>
                </a:cubicBezTo>
                <a:cubicBezTo>
                  <a:pt x="299" y="117"/>
                  <a:pt x="299" y="117"/>
                  <a:pt x="299" y="117"/>
                </a:cubicBezTo>
                <a:cubicBezTo>
                  <a:pt x="299" y="116"/>
                  <a:pt x="299" y="116"/>
                  <a:pt x="299" y="116"/>
                </a:cubicBezTo>
                <a:cubicBezTo>
                  <a:pt x="301" y="115"/>
                  <a:pt x="301" y="115"/>
                  <a:pt x="301" y="115"/>
                </a:cubicBezTo>
                <a:cubicBezTo>
                  <a:pt x="301" y="115"/>
                  <a:pt x="301" y="115"/>
                  <a:pt x="301" y="115"/>
                </a:cubicBezTo>
                <a:cubicBezTo>
                  <a:pt x="303" y="115"/>
                  <a:pt x="303" y="115"/>
                  <a:pt x="303" y="115"/>
                </a:cubicBezTo>
                <a:cubicBezTo>
                  <a:pt x="303" y="116"/>
                  <a:pt x="303" y="116"/>
                  <a:pt x="303" y="116"/>
                </a:cubicBezTo>
                <a:cubicBezTo>
                  <a:pt x="303" y="117"/>
                  <a:pt x="303" y="117"/>
                  <a:pt x="303" y="117"/>
                </a:cubicBezTo>
                <a:cubicBezTo>
                  <a:pt x="303" y="118"/>
                  <a:pt x="303" y="118"/>
                  <a:pt x="303" y="118"/>
                </a:cubicBezTo>
                <a:cubicBezTo>
                  <a:pt x="302" y="119"/>
                  <a:pt x="302" y="119"/>
                  <a:pt x="302" y="119"/>
                </a:cubicBezTo>
                <a:cubicBezTo>
                  <a:pt x="301" y="120"/>
                  <a:pt x="301" y="120"/>
                  <a:pt x="301" y="120"/>
                </a:cubicBezTo>
                <a:cubicBezTo>
                  <a:pt x="300" y="120"/>
                  <a:pt x="300" y="120"/>
                  <a:pt x="300" y="120"/>
                </a:cubicBezTo>
                <a:cubicBezTo>
                  <a:pt x="300" y="121"/>
                  <a:pt x="300" y="121"/>
                  <a:pt x="300" y="121"/>
                </a:cubicBezTo>
                <a:cubicBezTo>
                  <a:pt x="299" y="121"/>
                  <a:pt x="299" y="121"/>
                  <a:pt x="299" y="121"/>
                </a:cubicBezTo>
                <a:cubicBezTo>
                  <a:pt x="298" y="120"/>
                  <a:pt x="298" y="120"/>
                  <a:pt x="298" y="120"/>
                </a:cubicBezTo>
                <a:cubicBezTo>
                  <a:pt x="297" y="119"/>
                  <a:pt x="297" y="119"/>
                  <a:pt x="297" y="119"/>
                </a:cubicBezTo>
                <a:close/>
                <a:moveTo>
                  <a:pt x="249" y="117"/>
                </a:moveTo>
                <a:cubicBezTo>
                  <a:pt x="249" y="116"/>
                  <a:pt x="249" y="116"/>
                  <a:pt x="249" y="116"/>
                </a:cubicBezTo>
                <a:cubicBezTo>
                  <a:pt x="249" y="115"/>
                  <a:pt x="249" y="115"/>
                  <a:pt x="249" y="115"/>
                </a:cubicBezTo>
                <a:cubicBezTo>
                  <a:pt x="249" y="113"/>
                  <a:pt x="249" y="113"/>
                  <a:pt x="249" y="113"/>
                </a:cubicBezTo>
                <a:cubicBezTo>
                  <a:pt x="251" y="113"/>
                  <a:pt x="251" y="113"/>
                  <a:pt x="251" y="113"/>
                </a:cubicBezTo>
                <a:cubicBezTo>
                  <a:pt x="253" y="113"/>
                  <a:pt x="253" y="113"/>
                  <a:pt x="253" y="113"/>
                </a:cubicBezTo>
                <a:cubicBezTo>
                  <a:pt x="254" y="113"/>
                  <a:pt x="254" y="113"/>
                  <a:pt x="254" y="113"/>
                </a:cubicBezTo>
                <a:cubicBezTo>
                  <a:pt x="256" y="113"/>
                  <a:pt x="256" y="113"/>
                  <a:pt x="256" y="113"/>
                </a:cubicBezTo>
                <a:cubicBezTo>
                  <a:pt x="257" y="113"/>
                  <a:pt x="257" y="113"/>
                  <a:pt x="257" y="113"/>
                </a:cubicBezTo>
                <a:cubicBezTo>
                  <a:pt x="258" y="112"/>
                  <a:pt x="258" y="112"/>
                  <a:pt x="258" y="112"/>
                </a:cubicBezTo>
                <a:cubicBezTo>
                  <a:pt x="260" y="112"/>
                  <a:pt x="260" y="112"/>
                  <a:pt x="260" y="112"/>
                </a:cubicBezTo>
                <a:cubicBezTo>
                  <a:pt x="262" y="113"/>
                  <a:pt x="262" y="113"/>
                  <a:pt x="262" y="113"/>
                </a:cubicBezTo>
                <a:cubicBezTo>
                  <a:pt x="264" y="113"/>
                  <a:pt x="264" y="113"/>
                  <a:pt x="264" y="113"/>
                </a:cubicBezTo>
                <a:cubicBezTo>
                  <a:pt x="265" y="113"/>
                  <a:pt x="265" y="113"/>
                  <a:pt x="265" y="113"/>
                </a:cubicBezTo>
                <a:cubicBezTo>
                  <a:pt x="266" y="112"/>
                  <a:pt x="266" y="112"/>
                  <a:pt x="266" y="112"/>
                </a:cubicBezTo>
                <a:cubicBezTo>
                  <a:pt x="269" y="112"/>
                  <a:pt x="269" y="112"/>
                  <a:pt x="269" y="112"/>
                </a:cubicBezTo>
                <a:cubicBezTo>
                  <a:pt x="269" y="111"/>
                  <a:pt x="269" y="111"/>
                  <a:pt x="269" y="111"/>
                </a:cubicBezTo>
                <a:cubicBezTo>
                  <a:pt x="270" y="111"/>
                  <a:pt x="270" y="111"/>
                  <a:pt x="270" y="111"/>
                </a:cubicBezTo>
                <a:cubicBezTo>
                  <a:pt x="269" y="110"/>
                  <a:pt x="269" y="110"/>
                  <a:pt x="269" y="110"/>
                </a:cubicBezTo>
                <a:cubicBezTo>
                  <a:pt x="268" y="111"/>
                  <a:pt x="268" y="111"/>
                  <a:pt x="268" y="111"/>
                </a:cubicBezTo>
                <a:cubicBezTo>
                  <a:pt x="267" y="111"/>
                  <a:pt x="267" y="111"/>
                  <a:pt x="267" y="111"/>
                </a:cubicBezTo>
                <a:cubicBezTo>
                  <a:pt x="267" y="110"/>
                  <a:pt x="267" y="110"/>
                  <a:pt x="267" y="110"/>
                </a:cubicBezTo>
                <a:cubicBezTo>
                  <a:pt x="265" y="111"/>
                  <a:pt x="265" y="111"/>
                  <a:pt x="265" y="111"/>
                </a:cubicBezTo>
                <a:cubicBezTo>
                  <a:pt x="263" y="111"/>
                  <a:pt x="263" y="111"/>
                  <a:pt x="263" y="111"/>
                </a:cubicBezTo>
                <a:cubicBezTo>
                  <a:pt x="263" y="110"/>
                  <a:pt x="263" y="110"/>
                  <a:pt x="263" y="110"/>
                </a:cubicBezTo>
                <a:cubicBezTo>
                  <a:pt x="262" y="109"/>
                  <a:pt x="262" y="109"/>
                  <a:pt x="262" y="109"/>
                </a:cubicBezTo>
                <a:cubicBezTo>
                  <a:pt x="261" y="110"/>
                  <a:pt x="261" y="110"/>
                  <a:pt x="261" y="110"/>
                </a:cubicBezTo>
                <a:cubicBezTo>
                  <a:pt x="260" y="110"/>
                  <a:pt x="260" y="110"/>
                  <a:pt x="260" y="110"/>
                </a:cubicBezTo>
                <a:cubicBezTo>
                  <a:pt x="259" y="110"/>
                  <a:pt x="259" y="110"/>
                  <a:pt x="259" y="110"/>
                </a:cubicBezTo>
                <a:cubicBezTo>
                  <a:pt x="259" y="110"/>
                  <a:pt x="259" y="110"/>
                  <a:pt x="259" y="110"/>
                </a:cubicBezTo>
                <a:cubicBezTo>
                  <a:pt x="257" y="110"/>
                  <a:pt x="257" y="110"/>
                  <a:pt x="257" y="110"/>
                </a:cubicBezTo>
                <a:cubicBezTo>
                  <a:pt x="256" y="110"/>
                  <a:pt x="256" y="110"/>
                  <a:pt x="256" y="110"/>
                </a:cubicBezTo>
                <a:cubicBezTo>
                  <a:pt x="256" y="109"/>
                  <a:pt x="256" y="109"/>
                  <a:pt x="256" y="109"/>
                </a:cubicBezTo>
                <a:cubicBezTo>
                  <a:pt x="257" y="108"/>
                  <a:pt x="257" y="108"/>
                  <a:pt x="257" y="108"/>
                </a:cubicBezTo>
                <a:cubicBezTo>
                  <a:pt x="259" y="107"/>
                  <a:pt x="259" y="107"/>
                  <a:pt x="259" y="107"/>
                </a:cubicBezTo>
                <a:cubicBezTo>
                  <a:pt x="258" y="107"/>
                  <a:pt x="258" y="107"/>
                  <a:pt x="258" y="107"/>
                </a:cubicBezTo>
                <a:cubicBezTo>
                  <a:pt x="256" y="107"/>
                  <a:pt x="256" y="107"/>
                  <a:pt x="256" y="107"/>
                </a:cubicBezTo>
                <a:cubicBezTo>
                  <a:pt x="256" y="108"/>
                  <a:pt x="256" y="108"/>
                  <a:pt x="256" y="108"/>
                </a:cubicBezTo>
                <a:cubicBezTo>
                  <a:pt x="255" y="106"/>
                  <a:pt x="255" y="106"/>
                  <a:pt x="255" y="106"/>
                </a:cubicBezTo>
                <a:cubicBezTo>
                  <a:pt x="255" y="107"/>
                  <a:pt x="255" y="107"/>
                  <a:pt x="255" y="107"/>
                </a:cubicBezTo>
                <a:cubicBezTo>
                  <a:pt x="254" y="108"/>
                  <a:pt x="254" y="108"/>
                  <a:pt x="254" y="108"/>
                </a:cubicBezTo>
                <a:cubicBezTo>
                  <a:pt x="252" y="109"/>
                  <a:pt x="252" y="109"/>
                  <a:pt x="252" y="109"/>
                </a:cubicBezTo>
                <a:cubicBezTo>
                  <a:pt x="252" y="110"/>
                  <a:pt x="252" y="110"/>
                  <a:pt x="252" y="110"/>
                </a:cubicBezTo>
                <a:cubicBezTo>
                  <a:pt x="251" y="110"/>
                  <a:pt x="251" y="110"/>
                  <a:pt x="251" y="110"/>
                </a:cubicBezTo>
                <a:cubicBezTo>
                  <a:pt x="249" y="109"/>
                  <a:pt x="249" y="109"/>
                  <a:pt x="249" y="109"/>
                </a:cubicBezTo>
                <a:cubicBezTo>
                  <a:pt x="249" y="108"/>
                  <a:pt x="249" y="108"/>
                  <a:pt x="249" y="108"/>
                </a:cubicBezTo>
                <a:cubicBezTo>
                  <a:pt x="250" y="107"/>
                  <a:pt x="250" y="107"/>
                  <a:pt x="250" y="107"/>
                </a:cubicBezTo>
                <a:cubicBezTo>
                  <a:pt x="249" y="108"/>
                  <a:pt x="249" y="108"/>
                  <a:pt x="249" y="108"/>
                </a:cubicBezTo>
                <a:cubicBezTo>
                  <a:pt x="248" y="107"/>
                  <a:pt x="248" y="107"/>
                  <a:pt x="248" y="107"/>
                </a:cubicBezTo>
                <a:cubicBezTo>
                  <a:pt x="248" y="109"/>
                  <a:pt x="248" y="109"/>
                  <a:pt x="248" y="109"/>
                </a:cubicBezTo>
                <a:cubicBezTo>
                  <a:pt x="247" y="109"/>
                  <a:pt x="247" y="109"/>
                  <a:pt x="247" y="109"/>
                </a:cubicBezTo>
                <a:cubicBezTo>
                  <a:pt x="246" y="109"/>
                  <a:pt x="246" y="109"/>
                  <a:pt x="246" y="109"/>
                </a:cubicBezTo>
                <a:cubicBezTo>
                  <a:pt x="246" y="107"/>
                  <a:pt x="246" y="107"/>
                  <a:pt x="246" y="107"/>
                </a:cubicBezTo>
                <a:cubicBezTo>
                  <a:pt x="245" y="106"/>
                  <a:pt x="245" y="106"/>
                  <a:pt x="245" y="106"/>
                </a:cubicBezTo>
                <a:cubicBezTo>
                  <a:pt x="245" y="105"/>
                  <a:pt x="245" y="105"/>
                  <a:pt x="245" y="105"/>
                </a:cubicBezTo>
                <a:cubicBezTo>
                  <a:pt x="245" y="105"/>
                  <a:pt x="245" y="105"/>
                  <a:pt x="245" y="105"/>
                </a:cubicBezTo>
                <a:cubicBezTo>
                  <a:pt x="244" y="106"/>
                  <a:pt x="244" y="106"/>
                  <a:pt x="244" y="106"/>
                </a:cubicBezTo>
                <a:cubicBezTo>
                  <a:pt x="244" y="106"/>
                  <a:pt x="244" y="106"/>
                  <a:pt x="244" y="106"/>
                </a:cubicBezTo>
                <a:cubicBezTo>
                  <a:pt x="242" y="104"/>
                  <a:pt x="242" y="104"/>
                  <a:pt x="242" y="104"/>
                </a:cubicBezTo>
                <a:cubicBezTo>
                  <a:pt x="240" y="103"/>
                  <a:pt x="240" y="103"/>
                  <a:pt x="240" y="103"/>
                </a:cubicBezTo>
                <a:cubicBezTo>
                  <a:pt x="240" y="103"/>
                  <a:pt x="240" y="103"/>
                  <a:pt x="240" y="103"/>
                </a:cubicBezTo>
                <a:cubicBezTo>
                  <a:pt x="242" y="102"/>
                  <a:pt x="242" y="102"/>
                  <a:pt x="242" y="102"/>
                </a:cubicBezTo>
                <a:cubicBezTo>
                  <a:pt x="242" y="101"/>
                  <a:pt x="242" y="101"/>
                  <a:pt x="242" y="101"/>
                </a:cubicBezTo>
                <a:cubicBezTo>
                  <a:pt x="241" y="100"/>
                  <a:pt x="241" y="100"/>
                  <a:pt x="241" y="100"/>
                </a:cubicBezTo>
                <a:cubicBezTo>
                  <a:pt x="244" y="99"/>
                  <a:pt x="244" y="99"/>
                  <a:pt x="244" y="99"/>
                </a:cubicBezTo>
                <a:cubicBezTo>
                  <a:pt x="245" y="98"/>
                  <a:pt x="245" y="98"/>
                  <a:pt x="245" y="98"/>
                </a:cubicBezTo>
                <a:cubicBezTo>
                  <a:pt x="246" y="99"/>
                  <a:pt x="246" y="99"/>
                  <a:pt x="246" y="99"/>
                </a:cubicBezTo>
                <a:cubicBezTo>
                  <a:pt x="248" y="99"/>
                  <a:pt x="248" y="99"/>
                  <a:pt x="248" y="99"/>
                </a:cubicBezTo>
                <a:cubicBezTo>
                  <a:pt x="249" y="100"/>
                  <a:pt x="249" y="100"/>
                  <a:pt x="249" y="100"/>
                </a:cubicBezTo>
                <a:cubicBezTo>
                  <a:pt x="251" y="100"/>
                  <a:pt x="251" y="100"/>
                  <a:pt x="251" y="100"/>
                </a:cubicBezTo>
                <a:cubicBezTo>
                  <a:pt x="252" y="99"/>
                  <a:pt x="252" y="99"/>
                  <a:pt x="252" y="99"/>
                </a:cubicBezTo>
                <a:cubicBezTo>
                  <a:pt x="253" y="99"/>
                  <a:pt x="253" y="99"/>
                  <a:pt x="253" y="99"/>
                </a:cubicBezTo>
                <a:cubicBezTo>
                  <a:pt x="255" y="98"/>
                  <a:pt x="255" y="98"/>
                  <a:pt x="255" y="98"/>
                </a:cubicBezTo>
                <a:cubicBezTo>
                  <a:pt x="254" y="97"/>
                  <a:pt x="254" y="97"/>
                  <a:pt x="254" y="97"/>
                </a:cubicBezTo>
                <a:cubicBezTo>
                  <a:pt x="253" y="97"/>
                  <a:pt x="253" y="97"/>
                  <a:pt x="253" y="97"/>
                </a:cubicBezTo>
                <a:cubicBezTo>
                  <a:pt x="252" y="97"/>
                  <a:pt x="252" y="97"/>
                  <a:pt x="252" y="97"/>
                </a:cubicBezTo>
                <a:cubicBezTo>
                  <a:pt x="251" y="97"/>
                  <a:pt x="251" y="97"/>
                  <a:pt x="251" y="97"/>
                </a:cubicBezTo>
                <a:cubicBezTo>
                  <a:pt x="249" y="96"/>
                  <a:pt x="249" y="96"/>
                  <a:pt x="249" y="96"/>
                </a:cubicBezTo>
                <a:cubicBezTo>
                  <a:pt x="247" y="96"/>
                  <a:pt x="247" y="96"/>
                  <a:pt x="247" y="96"/>
                </a:cubicBezTo>
                <a:cubicBezTo>
                  <a:pt x="247" y="96"/>
                  <a:pt x="247" y="96"/>
                  <a:pt x="247" y="96"/>
                </a:cubicBezTo>
                <a:cubicBezTo>
                  <a:pt x="249" y="94"/>
                  <a:pt x="249" y="94"/>
                  <a:pt x="249" y="94"/>
                </a:cubicBezTo>
                <a:cubicBezTo>
                  <a:pt x="250" y="93"/>
                  <a:pt x="250" y="93"/>
                  <a:pt x="250" y="93"/>
                </a:cubicBezTo>
                <a:cubicBezTo>
                  <a:pt x="251" y="92"/>
                  <a:pt x="251" y="92"/>
                  <a:pt x="251" y="92"/>
                </a:cubicBezTo>
                <a:cubicBezTo>
                  <a:pt x="252" y="93"/>
                  <a:pt x="252" y="93"/>
                  <a:pt x="252" y="93"/>
                </a:cubicBezTo>
                <a:cubicBezTo>
                  <a:pt x="255" y="92"/>
                  <a:pt x="255" y="92"/>
                  <a:pt x="255" y="92"/>
                </a:cubicBezTo>
                <a:cubicBezTo>
                  <a:pt x="257" y="92"/>
                  <a:pt x="257" y="92"/>
                  <a:pt x="257" y="92"/>
                </a:cubicBezTo>
                <a:cubicBezTo>
                  <a:pt x="259" y="93"/>
                  <a:pt x="259" y="93"/>
                  <a:pt x="259" y="93"/>
                </a:cubicBezTo>
                <a:cubicBezTo>
                  <a:pt x="260" y="93"/>
                  <a:pt x="260" y="93"/>
                  <a:pt x="260" y="93"/>
                </a:cubicBezTo>
                <a:cubicBezTo>
                  <a:pt x="259" y="92"/>
                  <a:pt x="259" y="92"/>
                  <a:pt x="259" y="92"/>
                </a:cubicBezTo>
                <a:cubicBezTo>
                  <a:pt x="258" y="92"/>
                  <a:pt x="258" y="92"/>
                  <a:pt x="258" y="92"/>
                </a:cubicBezTo>
                <a:cubicBezTo>
                  <a:pt x="257" y="91"/>
                  <a:pt x="257" y="91"/>
                  <a:pt x="257" y="91"/>
                </a:cubicBezTo>
                <a:cubicBezTo>
                  <a:pt x="256" y="91"/>
                  <a:pt x="256" y="91"/>
                  <a:pt x="256" y="91"/>
                </a:cubicBezTo>
                <a:cubicBezTo>
                  <a:pt x="253" y="91"/>
                  <a:pt x="253" y="91"/>
                  <a:pt x="253" y="91"/>
                </a:cubicBezTo>
                <a:cubicBezTo>
                  <a:pt x="253" y="89"/>
                  <a:pt x="253" y="89"/>
                  <a:pt x="253" y="89"/>
                </a:cubicBezTo>
                <a:cubicBezTo>
                  <a:pt x="254" y="88"/>
                  <a:pt x="254" y="88"/>
                  <a:pt x="254" y="88"/>
                </a:cubicBezTo>
                <a:cubicBezTo>
                  <a:pt x="255" y="87"/>
                  <a:pt x="255" y="87"/>
                  <a:pt x="255" y="87"/>
                </a:cubicBezTo>
                <a:cubicBezTo>
                  <a:pt x="256" y="87"/>
                  <a:pt x="256" y="87"/>
                  <a:pt x="256" y="87"/>
                </a:cubicBezTo>
                <a:cubicBezTo>
                  <a:pt x="256" y="87"/>
                  <a:pt x="256" y="87"/>
                  <a:pt x="256" y="87"/>
                </a:cubicBezTo>
                <a:cubicBezTo>
                  <a:pt x="258" y="86"/>
                  <a:pt x="258" y="86"/>
                  <a:pt x="258" y="86"/>
                </a:cubicBezTo>
                <a:cubicBezTo>
                  <a:pt x="259" y="86"/>
                  <a:pt x="259" y="86"/>
                  <a:pt x="259" y="86"/>
                </a:cubicBezTo>
                <a:cubicBezTo>
                  <a:pt x="259" y="87"/>
                  <a:pt x="259" y="87"/>
                  <a:pt x="259" y="87"/>
                </a:cubicBezTo>
                <a:cubicBezTo>
                  <a:pt x="260" y="87"/>
                  <a:pt x="260" y="87"/>
                  <a:pt x="260" y="87"/>
                </a:cubicBezTo>
                <a:cubicBezTo>
                  <a:pt x="262" y="88"/>
                  <a:pt x="262" y="88"/>
                  <a:pt x="262" y="88"/>
                </a:cubicBezTo>
                <a:cubicBezTo>
                  <a:pt x="263" y="88"/>
                  <a:pt x="263" y="88"/>
                  <a:pt x="263" y="88"/>
                </a:cubicBezTo>
                <a:cubicBezTo>
                  <a:pt x="262" y="87"/>
                  <a:pt x="262" y="87"/>
                  <a:pt x="262" y="87"/>
                </a:cubicBezTo>
                <a:cubicBezTo>
                  <a:pt x="261" y="86"/>
                  <a:pt x="261" y="86"/>
                  <a:pt x="261" y="86"/>
                </a:cubicBezTo>
                <a:cubicBezTo>
                  <a:pt x="260" y="85"/>
                  <a:pt x="260" y="85"/>
                  <a:pt x="260" y="85"/>
                </a:cubicBezTo>
                <a:cubicBezTo>
                  <a:pt x="260" y="84"/>
                  <a:pt x="260" y="84"/>
                  <a:pt x="260" y="84"/>
                </a:cubicBezTo>
                <a:cubicBezTo>
                  <a:pt x="261" y="84"/>
                  <a:pt x="261" y="84"/>
                  <a:pt x="261" y="84"/>
                </a:cubicBezTo>
                <a:cubicBezTo>
                  <a:pt x="264" y="83"/>
                  <a:pt x="264" y="83"/>
                  <a:pt x="264" y="83"/>
                </a:cubicBezTo>
                <a:cubicBezTo>
                  <a:pt x="265" y="83"/>
                  <a:pt x="265" y="83"/>
                  <a:pt x="265" y="83"/>
                </a:cubicBezTo>
                <a:cubicBezTo>
                  <a:pt x="267" y="83"/>
                  <a:pt x="267" y="83"/>
                  <a:pt x="267" y="83"/>
                </a:cubicBezTo>
                <a:cubicBezTo>
                  <a:pt x="268" y="84"/>
                  <a:pt x="268" y="84"/>
                  <a:pt x="268" y="84"/>
                </a:cubicBezTo>
                <a:cubicBezTo>
                  <a:pt x="269" y="86"/>
                  <a:pt x="269" y="86"/>
                  <a:pt x="269" y="86"/>
                </a:cubicBezTo>
                <a:cubicBezTo>
                  <a:pt x="268" y="87"/>
                  <a:pt x="268" y="87"/>
                  <a:pt x="268" y="87"/>
                </a:cubicBezTo>
                <a:cubicBezTo>
                  <a:pt x="267" y="88"/>
                  <a:pt x="267" y="88"/>
                  <a:pt x="267" y="88"/>
                </a:cubicBezTo>
                <a:cubicBezTo>
                  <a:pt x="267" y="89"/>
                  <a:pt x="267" y="89"/>
                  <a:pt x="267" y="89"/>
                </a:cubicBezTo>
                <a:cubicBezTo>
                  <a:pt x="270" y="89"/>
                  <a:pt x="270" y="89"/>
                  <a:pt x="270" y="89"/>
                </a:cubicBezTo>
                <a:cubicBezTo>
                  <a:pt x="270" y="89"/>
                  <a:pt x="270" y="89"/>
                  <a:pt x="270" y="89"/>
                </a:cubicBezTo>
                <a:cubicBezTo>
                  <a:pt x="271" y="89"/>
                  <a:pt x="271" y="89"/>
                  <a:pt x="271" y="89"/>
                </a:cubicBezTo>
                <a:cubicBezTo>
                  <a:pt x="272" y="89"/>
                  <a:pt x="272" y="89"/>
                  <a:pt x="272" y="89"/>
                </a:cubicBezTo>
                <a:cubicBezTo>
                  <a:pt x="272" y="90"/>
                  <a:pt x="272" y="90"/>
                  <a:pt x="272" y="90"/>
                </a:cubicBezTo>
                <a:cubicBezTo>
                  <a:pt x="273" y="91"/>
                  <a:pt x="273" y="91"/>
                  <a:pt x="273" y="91"/>
                </a:cubicBezTo>
                <a:cubicBezTo>
                  <a:pt x="273" y="91"/>
                  <a:pt x="273" y="91"/>
                  <a:pt x="273" y="91"/>
                </a:cubicBezTo>
                <a:cubicBezTo>
                  <a:pt x="273" y="92"/>
                  <a:pt x="273" y="92"/>
                  <a:pt x="273" y="92"/>
                </a:cubicBezTo>
                <a:cubicBezTo>
                  <a:pt x="272" y="93"/>
                  <a:pt x="272" y="93"/>
                  <a:pt x="272" y="93"/>
                </a:cubicBezTo>
                <a:cubicBezTo>
                  <a:pt x="272" y="94"/>
                  <a:pt x="272" y="94"/>
                  <a:pt x="272" y="94"/>
                </a:cubicBezTo>
                <a:cubicBezTo>
                  <a:pt x="273" y="95"/>
                  <a:pt x="273" y="95"/>
                  <a:pt x="273" y="95"/>
                </a:cubicBezTo>
                <a:cubicBezTo>
                  <a:pt x="273" y="98"/>
                  <a:pt x="273" y="98"/>
                  <a:pt x="273" y="98"/>
                </a:cubicBezTo>
                <a:cubicBezTo>
                  <a:pt x="273" y="98"/>
                  <a:pt x="273" y="98"/>
                  <a:pt x="273" y="98"/>
                </a:cubicBezTo>
                <a:cubicBezTo>
                  <a:pt x="272" y="98"/>
                  <a:pt x="272" y="98"/>
                  <a:pt x="272" y="98"/>
                </a:cubicBezTo>
                <a:cubicBezTo>
                  <a:pt x="270" y="98"/>
                  <a:pt x="270" y="98"/>
                  <a:pt x="270" y="98"/>
                </a:cubicBezTo>
                <a:cubicBezTo>
                  <a:pt x="271" y="99"/>
                  <a:pt x="271" y="99"/>
                  <a:pt x="271" y="99"/>
                </a:cubicBezTo>
                <a:cubicBezTo>
                  <a:pt x="272" y="99"/>
                  <a:pt x="272" y="99"/>
                  <a:pt x="272" y="99"/>
                </a:cubicBezTo>
                <a:cubicBezTo>
                  <a:pt x="273" y="100"/>
                  <a:pt x="273" y="100"/>
                  <a:pt x="273" y="100"/>
                </a:cubicBezTo>
                <a:cubicBezTo>
                  <a:pt x="274" y="100"/>
                  <a:pt x="274" y="100"/>
                  <a:pt x="274" y="100"/>
                </a:cubicBezTo>
                <a:cubicBezTo>
                  <a:pt x="273" y="102"/>
                  <a:pt x="273" y="102"/>
                  <a:pt x="273" y="102"/>
                </a:cubicBezTo>
                <a:cubicBezTo>
                  <a:pt x="272" y="103"/>
                  <a:pt x="272" y="103"/>
                  <a:pt x="272" y="103"/>
                </a:cubicBezTo>
                <a:cubicBezTo>
                  <a:pt x="272" y="105"/>
                  <a:pt x="272" y="105"/>
                  <a:pt x="272" y="105"/>
                </a:cubicBezTo>
                <a:cubicBezTo>
                  <a:pt x="273" y="106"/>
                  <a:pt x="273" y="106"/>
                  <a:pt x="273" y="106"/>
                </a:cubicBezTo>
                <a:cubicBezTo>
                  <a:pt x="274" y="105"/>
                  <a:pt x="274" y="105"/>
                  <a:pt x="274" y="105"/>
                </a:cubicBezTo>
                <a:cubicBezTo>
                  <a:pt x="275" y="104"/>
                  <a:pt x="275" y="104"/>
                  <a:pt x="275" y="104"/>
                </a:cubicBezTo>
                <a:cubicBezTo>
                  <a:pt x="276" y="105"/>
                  <a:pt x="276" y="105"/>
                  <a:pt x="276" y="105"/>
                </a:cubicBezTo>
                <a:cubicBezTo>
                  <a:pt x="276" y="106"/>
                  <a:pt x="276" y="106"/>
                  <a:pt x="276" y="106"/>
                </a:cubicBezTo>
                <a:cubicBezTo>
                  <a:pt x="277" y="106"/>
                  <a:pt x="277" y="106"/>
                  <a:pt x="277" y="106"/>
                </a:cubicBezTo>
                <a:cubicBezTo>
                  <a:pt x="278" y="106"/>
                  <a:pt x="278" y="106"/>
                  <a:pt x="278" y="106"/>
                </a:cubicBezTo>
                <a:cubicBezTo>
                  <a:pt x="280" y="106"/>
                  <a:pt x="280" y="106"/>
                  <a:pt x="280" y="106"/>
                </a:cubicBezTo>
                <a:cubicBezTo>
                  <a:pt x="281" y="108"/>
                  <a:pt x="281" y="108"/>
                  <a:pt x="281" y="108"/>
                </a:cubicBezTo>
                <a:cubicBezTo>
                  <a:pt x="282" y="108"/>
                  <a:pt x="282" y="108"/>
                  <a:pt x="282" y="108"/>
                </a:cubicBezTo>
                <a:cubicBezTo>
                  <a:pt x="282" y="107"/>
                  <a:pt x="282" y="107"/>
                  <a:pt x="282" y="107"/>
                </a:cubicBezTo>
                <a:cubicBezTo>
                  <a:pt x="281" y="106"/>
                  <a:pt x="281" y="106"/>
                  <a:pt x="281" y="106"/>
                </a:cubicBezTo>
                <a:cubicBezTo>
                  <a:pt x="283" y="105"/>
                  <a:pt x="283" y="105"/>
                  <a:pt x="283" y="105"/>
                </a:cubicBezTo>
                <a:cubicBezTo>
                  <a:pt x="283" y="103"/>
                  <a:pt x="283" y="103"/>
                  <a:pt x="283" y="103"/>
                </a:cubicBezTo>
                <a:cubicBezTo>
                  <a:pt x="282" y="102"/>
                  <a:pt x="282" y="102"/>
                  <a:pt x="282" y="102"/>
                </a:cubicBezTo>
                <a:cubicBezTo>
                  <a:pt x="282" y="101"/>
                  <a:pt x="282" y="101"/>
                  <a:pt x="282" y="101"/>
                </a:cubicBezTo>
                <a:cubicBezTo>
                  <a:pt x="281" y="100"/>
                  <a:pt x="281" y="100"/>
                  <a:pt x="281" y="100"/>
                </a:cubicBezTo>
                <a:cubicBezTo>
                  <a:pt x="282" y="99"/>
                  <a:pt x="282" y="99"/>
                  <a:pt x="282" y="99"/>
                </a:cubicBezTo>
                <a:cubicBezTo>
                  <a:pt x="282" y="99"/>
                  <a:pt x="282" y="99"/>
                  <a:pt x="282" y="99"/>
                </a:cubicBezTo>
                <a:cubicBezTo>
                  <a:pt x="284" y="99"/>
                  <a:pt x="284" y="99"/>
                  <a:pt x="284" y="99"/>
                </a:cubicBezTo>
                <a:cubicBezTo>
                  <a:pt x="285" y="99"/>
                  <a:pt x="285" y="99"/>
                  <a:pt x="285" y="99"/>
                </a:cubicBezTo>
                <a:cubicBezTo>
                  <a:pt x="286" y="97"/>
                  <a:pt x="286" y="97"/>
                  <a:pt x="286" y="97"/>
                </a:cubicBezTo>
                <a:cubicBezTo>
                  <a:pt x="285" y="95"/>
                  <a:pt x="285" y="95"/>
                  <a:pt x="285" y="95"/>
                </a:cubicBezTo>
                <a:cubicBezTo>
                  <a:pt x="285" y="95"/>
                  <a:pt x="285" y="95"/>
                  <a:pt x="285" y="95"/>
                </a:cubicBezTo>
                <a:cubicBezTo>
                  <a:pt x="285" y="93"/>
                  <a:pt x="285" y="93"/>
                  <a:pt x="285" y="93"/>
                </a:cubicBezTo>
                <a:cubicBezTo>
                  <a:pt x="284" y="92"/>
                  <a:pt x="284" y="92"/>
                  <a:pt x="284" y="92"/>
                </a:cubicBezTo>
                <a:cubicBezTo>
                  <a:pt x="285" y="90"/>
                  <a:pt x="285" y="90"/>
                  <a:pt x="285" y="90"/>
                </a:cubicBezTo>
                <a:cubicBezTo>
                  <a:pt x="286" y="90"/>
                  <a:pt x="286" y="90"/>
                  <a:pt x="286" y="90"/>
                </a:cubicBezTo>
                <a:cubicBezTo>
                  <a:pt x="287" y="90"/>
                  <a:pt x="287" y="90"/>
                  <a:pt x="287" y="90"/>
                </a:cubicBezTo>
                <a:cubicBezTo>
                  <a:pt x="288" y="90"/>
                  <a:pt x="288" y="90"/>
                  <a:pt x="288" y="90"/>
                </a:cubicBezTo>
                <a:cubicBezTo>
                  <a:pt x="288" y="89"/>
                  <a:pt x="288" y="89"/>
                  <a:pt x="288" y="89"/>
                </a:cubicBezTo>
                <a:cubicBezTo>
                  <a:pt x="288" y="88"/>
                  <a:pt x="288" y="88"/>
                  <a:pt x="288" y="88"/>
                </a:cubicBezTo>
                <a:cubicBezTo>
                  <a:pt x="290" y="87"/>
                  <a:pt x="290" y="87"/>
                  <a:pt x="290" y="87"/>
                </a:cubicBezTo>
                <a:cubicBezTo>
                  <a:pt x="293" y="85"/>
                  <a:pt x="293" y="85"/>
                  <a:pt x="293" y="85"/>
                </a:cubicBezTo>
                <a:cubicBezTo>
                  <a:pt x="294" y="85"/>
                  <a:pt x="294" y="85"/>
                  <a:pt x="294" y="85"/>
                </a:cubicBezTo>
                <a:cubicBezTo>
                  <a:pt x="295" y="86"/>
                  <a:pt x="295" y="86"/>
                  <a:pt x="295" y="86"/>
                </a:cubicBezTo>
                <a:cubicBezTo>
                  <a:pt x="295" y="87"/>
                  <a:pt x="295" y="87"/>
                  <a:pt x="295" y="87"/>
                </a:cubicBezTo>
                <a:cubicBezTo>
                  <a:pt x="296" y="88"/>
                  <a:pt x="296" y="88"/>
                  <a:pt x="296" y="88"/>
                </a:cubicBezTo>
                <a:cubicBezTo>
                  <a:pt x="295" y="88"/>
                  <a:pt x="295" y="88"/>
                  <a:pt x="295" y="88"/>
                </a:cubicBezTo>
                <a:cubicBezTo>
                  <a:pt x="294" y="88"/>
                  <a:pt x="294" y="88"/>
                  <a:pt x="294" y="88"/>
                </a:cubicBezTo>
                <a:cubicBezTo>
                  <a:pt x="293" y="89"/>
                  <a:pt x="293" y="89"/>
                  <a:pt x="293" y="89"/>
                </a:cubicBezTo>
                <a:cubicBezTo>
                  <a:pt x="293" y="90"/>
                  <a:pt x="293" y="90"/>
                  <a:pt x="293" y="90"/>
                </a:cubicBezTo>
                <a:cubicBezTo>
                  <a:pt x="293" y="91"/>
                  <a:pt x="293" y="91"/>
                  <a:pt x="293" y="91"/>
                </a:cubicBezTo>
                <a:cubicBezTo>
                  <a:pt x="293" y="93"/>
                  <a:pt x="293" y="93"/>
                  <a:pt x="293" y="93"/>
                </a:cubicBezTo>
                <a:cubicBezTo>
                  <a:pt x="293" y="93"/>
                  <a:pt x="293" y="93"/>
                  <a:pt x="293" y="93"/>
                </a:cubicBezTo>
                <a:cubicBezTo>
                  <a:pt x="293" y="96"/>
                  <a:pt x="293" y="96"/>
                  <a:pt x="293" y="96"/>
                </a:cubicBezTo>
                <a:cubicBezTo>
                  <a:pt x="293" y="97"/>
                  <a:pt x="293" y="97"/>
                  <a:pt x="293" y="97"/>
                </a:cubicBezTo>
                <a:cubicBezTo>
                  <a:pt x="292" y="97"/>
                  <a:pt x="292" y="97"/>
                  <a:pt x="292" y="97"/>
                </a:cubicBezTo>
                <a:cubicBezTo>
                  <a:pt x="290" y="98"/>
                  <a:pt x="290" y="98"/>
                  <a:pt x="290" y="98"/>
                </a:cubicBezTo>
                <a:cubicBezTo>
                  <a:pt x="289" y="99"/>
                  <a:pt x="289" y="99"/>
                  <a:pt x="289" y="99"/>
                </a:cubicBezTo>
                <a:cubicBezTo>
                  <a:pt x="289" y="100"/>
                  <a:pt x="289" y="100"/>
                  <a:pt x="289" y="100"/>
                </a:cubicBezTo>
                <a:cubicBezTo>
                  <a:pt x="290" y="100"/>
                  <a:pt x="290" y="100"/>
                  <a:pt x="290" y="100"/>
                </a:cubicBezTo>
                <a:cubicBezTo>
                  <a:pt x="291" y="99"/>
                  <a:pt x="291" y="99"/>
                  <a:pt x="291" y="99"/>
                </a:cubicBezTo>
                <a:cubicBezTo>
                  <a:pt x="293" y="99"/>
                  <a:pt x="293" y="99"/>
                  <a:pt x="293" y="99"/>
                </a:cubicBezTo>
                <a:cubicBezTo>
                  <a:pt x="293" y="100"/>
                  <a:pt x="293" y="100"/>
                  <a:pt x="293" y="100"/>
                </a:cubicBezTo>
                <a:cubicBezTo>
                  <a:pt x="292" y="101"/>
                  <a:pt x="292" y="101"/>
                  <a:pt x="292" y="101"/>
                </a:cubicBezTo>
                <a:cubicBezTo>
                  <a:pt x="290" y="103"/>
                  <a:pt x="290" y="103"/>
                  <a:pt x="290" y="103"/>
                </a:cubicBezTo>
                <a:cubicBezTo>
                  <a:pt x="289" y="104"/>
                  <a:pt x="289" y="104"/>
                  <a:pt x="289" y="104"/>
                </a:cubicBezTo>
                <a:cubicBezTo>
                  <a:pt x="288" y="105"/>
                  <a:pt x="288" y="105"/>
                  <a:pt x="288" y="105"/>
                </a:cubicBezTo>
                <a:cubicBezTo>
                  <a:pt x="289" y="106"/>
                  <a:pt x="289" y="106"/>
                  <a:pt x="289" y="106"/>
                </a:cubicBezTo>
                <a:cubicBezTo>
                  <a:pt x="289" y="105"/>
                  <a:pt x="289" y="105"/>
                  <a:pt x="289" y="105"/>
                </a:cubicBezTo>
                <a:cubicBezTo>
                  <a:pt x="291" y="104"/>
                  <a:pt x="291" y="104"/>
                  <a:pt x="291" y="104"/>
                </a:cubicBezTo>
                <a:cubicBezTo>
                  <a:pt x="292" y="103"/>
                  <a:pt x="292" y="103"/>
                  <a:pt x="292" y="103"/>
                </a:cubicBezTo>
                <a:cubicBezTo>
                  <a:pt x="293" y="103"/>
                  <a:pt x="293" y="103"/>
                  <a:pt x="293" y="103"/>
                </a:cubicBezTo>
                <a:cubicBezTo>
                  <a:pt x="295" y="103"/>
                  <a:pt x="295" y="103"/>
                  <a:pt x="295" y="103"/>
                </a:cubicBezTo>
                <a:cubicBezTo>
                  <a:pt x="294" y="105"/>
                  <a:pt x="294" y="105"/>
                  <a:pt x="294" y="105"/>
                </a:cubicBezTo>
                <a:cubicBezTo>
                  <a:pt x="294" y="107"/>
                  <a:pt x="294" y="107"/>
                  <a:pt x="294" y="107"/>
                </a:cubicBezTo>
                <a:cubicBezTo>
                  <a:pt x="294" y="107"/>
                  <a:pt x="294" y="107"/>
                  <a:pt x="294" y="107"/>
                </a:cubicBezTo>
                <a:cubicBezTo>
                  <a:pt x="295" y="106"/>
                  <a:pt x="295" y="106"/>
                  <a:pt x="295" y="106"/>
                </a:cubicBezTo>
                <a:cubicBezTo>
                  <a:pt x="296" y="106"/>
                  <a:pt x="296" y="106"/>
                  <a:pt x="296" y="106"/>
                </a:cubicBezTo>
                <a:cubicBezTo>
                  <a:pt x="296" y="106"/>
                  <a:pt x="296" y="106"/>
                  <a:pt x="296" y="106"/>
                </a:cubicBezTo>
                <a:cubicBezTo>
                  <a:pt x="296" y="105"/>
                  <a:pt x="296" y="105"/>
                  <a:pt x="296" y="105"/>
                </a:cubicBezTo>
                <a:cubicBezTo>
                  <a:pt x="297" y="104"/>
                  <a:pt x="297" y="104"/>
                  <a:pt x="297" y="104"/>
                </a:cubicBezTo>
                <a:cubicBezTo>
                  <a:pt x="297" y="103"/>
                  <a:pt x="297" y="103"/>
                  <a:pt x="297" y="103"/>
                </a:cubicBezTo>
                <a:cubicBezTo>
                  <a:pt x="299" y="101"/>
                  <a:pt x="299" y="101"/>
                  <a:pt x="299" y="101"/>
                </a:cubicBezTo>
                <a:cubicBezTo>
                  <a:pt x="300" y="101"/>
                  <a:pt x="300" y="101"/>
                  <a:pt x="300" y="101"/>
                </a:cubicBezTo>
                <a:cubicBezTo>
                  <a:pt x="301" y="102"/>
                  <a:pt x="301" y="102"/>
                  <a:pt x="301" y="102"/>
                </a:cubicBezTo>
                <a:cubicBezTo>
                  <a:pt x="302" y="104"/>
                  <a:pt x="302" y="104"/>
                  <a:pt x="302" y="104"/>
                </a:cubicBezTo>
                <a:cubicBezTo>
                  <a:pt x="302" y="105"/>
                  <a:pt x="302" y="105"/>
                  <a:pt x="302" y="105"/>
                </a:cubicBezTo>
                <a:cubicBezTo>
                  <a:pt x="302" y="107"/>
                  <a:pt x="302" y="107"/>
                  <a:pt x="302" y="107"/>
                </a:cubicBezTo>
                <a:cubicBezTo>
                  <a:pt x="300" y="110"/>
                  <a:pt x="300" y="110"/>
                  <a:pt x="300" y="110"/>
                </a:cubicBezTo>
                <a:cubicBezTo>
                  <a:pt x="299" y="111"/>
                  <a:pt x="299" y="111"/>
                  <a:pt x="299" y="111"/>
                </a:cubicBezTo>
                <a:cubicBezTo>
                  <a:pt x="298" y="112"/>
                  <a:pt x="298" y="112"/>
                  <a:pt x="298" y="112"/>
                </a:cubicBezTo>
                <a:cubicBezTo>
                  <a:pt x="297" y="112"/>
                  <a:pt x="297" y="112"/>
                  <a:pt x="297" y="112"/>
                </a:cubicBezTo>
                <a:cubicBezTo>
                  <a:pt x="297" y="112"/>
                  <a:pt x="297" y="112"/>
                  <a:pt x="297" y="112"/>
                </a:cubicBezTo>
                <a:cubicBezTo>
                  <a:pt x="297" y="113"/>
                  <a:pt x="297" y="113"/>
                  <a:pt x="297" y="113"/>
                </a:cubicBezTo>
                <a:cubicBezTo>
                  <a:pt x="295" y="115"/>
                  <a:pt x="295" y="115"/>
                  <a:pt x="295" y="115"/>
                </a:cubicBezTo>
                <a:cubicBezTo>
                  <a:pt x="294" y="115"/>
                  <a:pt x="294" y="115"/>
                  <a:pt x="294" y="115"/>
                </a:cubicBezTo>
                <a:cubicBezTo>
                  <a:pt x="293" y="116"/>
                  <a:pt x="293" y="116"/>
                  <a:pt x="293" y="116"/>
                </a:cubicBezTo>
                <a:cubicBezTo>
                  <a:pt x="293" y="117"/>
                  <a:pt x="293" y="117"/>
                  <a:pt x="293" y="117"/>
                </a:cubicBezTo>
                <a:cubicBezTo>
                  <a:pt x="293" y="118"/>
                  <a:pt x="293" y="118"/>
                  <a:pt x="293" y="118"/>
                </a:cubicBezTo>
                <a:cubicBezTo>
                  <a:pt x="292" y="118"/>
                  <a:pt x="292" y="118"/>
                  <a:pt x="292" y="118"/>
                </a:cubicBezTo>
                <a:cubicBezTo>
                  <a:pt x="292" y="118"/>
                  <a:pt x="292" y="118"/>
                  <a:pt x="292" y="118"/>
                </a:cubicBezTo>
                <a:cubicBezTo>
                  <a:pt x="292" y="119"/>
                  <a:pt x="292" y="119"/>
                  <a:pt x="292" y="119"/>
                </a:cubicBezTo>
                <a:cubicBezTo>
                  <a:pt x="291" y="119"/>
                  <a:pt x="291" y="119"/>
                  <a:pt x="291" y="119"/>
                </a:cubicBezTo>
                <a:cubicBezTo>
                  <a:pt x="290" y="118"/>
                  <a:pt x="290" y="118"/>
                  <a:pt x="290" y="118"/>
                </a:cubicBezTo>
                <a:cubicBezTo>
                  <a:pt x="289" y="119"/>
                  <a:pt x="289" y="119"/>
                  <a:pt x="289" y="119"/>
                </a:cubicBezTo>
                <a:cubicBezTo>
                  <a:pt x="288" y="119"/>
                  <a:pt x="288" y="119"/>
                  <a:pt x="288" y="119"/>
                </a:cubicBezTo>
                <a:cubicBezTo>
                  <a:pt x="286" y="120"/>
                  <a:pt x="286" y="120"/>
                  <a:pt x="286" y="120"/>
                </a:cubicBezTo>
                <a:cubicBezTo>
                  <a:pt x="284" y="120"/>
                  <a:pt x="284" y="120"/>
                  <a:pt x="284" y="120"/>
                </a:cubicBezTo>
                <a:cubicBezTo>
                  <a:pt x="283" y="119"/>
                  <a:pt x="283" y="119"/>
                  <a:pt x="283" y="119"/>
                </a:cubicBezTo>
                <a:cubicBezTo>
                  <a:pt x="282" y="119"/>
                  <a:pt x="282" y="119"/>
                  <a:pt x="282" y="119"/>
                </a:cubicBezTo>
                <a:cubicBezTo>
                  <a:pt x="283" y="118"/>
                  <a:pt x="283" y="118"/>
                  <a:pt x="283" y="118"/>
                </a:cubicBezTo>
                <a:cubicBezTo>
                  <a:pt x="283" y="117"/>
                  <a:pt x="283" y="117"/>
                  <a:pt x="283" y="117"/>
                </a:cubicBezTo>
                <a:cubicBezTo>
                  <a:pt x="283" y="117"/>
                  <a:pt x="283" y="117"/>
                  <a:pt x="283" y="117"/>
                </a:cubicBezTo>
                <a:cubicBezTo>
                  <a:pt x="281" y="117"/>
                  <a:pt x="281" y="117"/>
                  <a:pt x="281" y="117"/>
                </a:cubicBezTo>
                <a:cubicBezTo>
                  <a:pt x="281" y="118"/>
                  <a:pt x="281" y="118"/>
                  <a:pt x="281" y="118"/>
                </a:cubicBezTo>
                <a:cubicBezTo>
                  <a:pt x="280" y="118"/>
                  <a:pt x="280" y="118"/>
                  <a:pt x="280" y="118"/>
                </a:cubicBezTo>
                <a:cubicBezTo>
                  <a:pt x="279" y="118"/>
                  <a:pt x="279" y="118"/>
                  <a:pt x="279" y="118"/>
                </a:cubicBezTo>
                <a:cubicBezTo>
                  <a:pt x="279" y="117"/>
                  <a:pt x="279" y="117"/>
                  <a:pt x="279" y="117"/>
                </a:cubicBezTo>
                <a:cubicBezTo>
                  <a:pt x="279" y="117"/>
                  <a:pt x="279" y="117"/>
                  <a:pt x="279" y="117"/>
                </a:cubicBezTo>
                <a:cubicBezTo>
                  <a:pt x="279" y="116"/>
                  <a:pt x="279" y="116"/>
                  <a:pt x="279" y="116"/>
                </a:cubicBezTo>
                <a:cubicBezTo>
                  <a:pt x="278" y="115"/>
                  <a:pt x="278" y="115"/>
                  <a:pt x="278" y="115"/>
                </a:cubicBezTo>
                <a:cubicBezTo>
                  <a:pt x="278" y="116"/>
                  <a:pt x="278" y="116"/>
                  <a:pt x="278" y="116"/>
                </a:cubicBezTo>
                <a:cubicBezTo>
                  <a:pt x="277" y="117"/>
                  <a:pt x="277" y="117"/>
                  <a:pt x="277" y="117"/>
                </a:cubicBezTo>
                <a:cubicBezTo>
                  <a:pt x="276" y="117"/>
                  <a:pt x="276" y="117"/>
                  <a:pt x="276" y="117"/>
                </a:cubicBezTo>
                <a:cubicBezTo>
                  <a:pt x="274" y="117"/>
                  <a:pt x="274" y="117"/>
                  <a:pt x="274" y="117"/>
                </a:cubicBezTo>
                <a:cubicBezTo>
                  <a:pt x="274" y="118"/>
                  <a:pt x="274" y="118"/>
                  <a:pt x="274" y="118"/>
                </a:cubicBezTo>
                <a:cubicBezTo>
                  <a:pt x="272" y="118"/>
                  <a:pt x="272" y="118"/>
                  <a:pt x="272" y="118"/>
                </a:cubicBezTo>
                <a:cubicBezTo>
                  <a:pt x="272" y="118"/>
                  <a:pt x="272" y="118"/>
                  <a:pt x="272" y="118"/>
                </a:cubicBezTo>
                <a:cubicBezTo>
                  <a:pt x="270" y="118"/>
                  <a:pt x="270" y="118"/>
                  <a:pt x="270" y="118"/>
                </a:cubicBezTo>
                <a:cubicBezTo>
                  <a:pt x="269" y="117"/>
                  <a:pt x="269" y="117"/>
                  <a:pt x="269" y="117"/>
                </a:cubicBezTo>
                <a:cubicBezTo>
                  <a:pt x="269" y="118"/>
                  <a:pt x="269" y="118"/>
                  <a:pt x="269" y="118"/>
                </a:cubicBezTo>
                <a:cubicBezTo>
                  <a:pt x="268" y="118"/>
                  <a:pt x="268" y="118"/>
                  <a:pt x="268" y="118"/>
                </a:cubicBezTo>
                <a:cubicBezTo>
                  <a:pt x="267" y="118"/>
                  <a:pt x="267" y="118"/>
                  <a:pt x="267" y="118"/>
                </a:cubicBezTo>
                <a:cubicBezTo>
                  <a:pt x="267" y="119"/>
                  <a:pt x="267" y="119"/>
                  <a:pt x="267" y="119"/>
                </a:cubicBezTo>
                <a:cubicBezTo>
                  <a:pt x="266" y="120"/>
                  <a:pt x="266" y="120"/>
                  <a:pt x="266" y="120"/>
                </a:cubicBezTo>
                <a:cubicBezTo>
                  <a:pt x="265" y="120"/>
                  <a:pt x="265" y="120"/>
                  <a:pt x="265" y="120"/>
                </a:cubicBezTo>
                <a:cubicBezTo>
                  <a:pt x="265" y="120"/>
                  <a:pt x="265" y="120"/>
                  <a:pt x="265" y="120"/>
                </a:cubicBezTo>
                <a:cubicBezTo>
                  <a:pt x="263" y="121"/>
                  <a:pt x="263" y="121"/>
                  <a:pt x="263" y="121"/>
                </a:cubicBezTo>
                <a:cubicBezTo>
                  <a:pt x="263" y="121"/>
                  <a:pt x="263" y="121"/>
                  <a:pt x="263" y="121"/>
                </a:cubicBezTo>
                <a:cubicBezTo>
                  <a:pt x="262" y="121"/>
                  <a:pt x="262" y="121"/>
                  <a:pt x="262" y="121"/>
                </a:cubicBezTo>
                <a:cubicBezTo>
                  <a:pt x="260" y="121"/>
                  <a:pt x="260" y="121"/>
                  <a:pt x="260" y="121"/>
                </a:cubicBezTo>
                <a:cubicBezTo>
                  <a:pt x="260" y="121"/>
                  <a:pt x="260" y="121"/>
                  <a:pt x="260" y="121"/>
                </a:cubicBezTo>
                <a:cubicBezTo>
                  <a:pt x="258" y="121"/>
                  <a:pt x="258" y="121"/>
                  <a:pt x="258" y="121"/>
                </a:cubicBezTo>
                <a:cubicBezTo>
                  <a:pt x="256" y="121"/>
                  <a:pt x="256" y="121"/>
                  <a:pt x="256" y="121"/>
                </a:cubicBezTo>
                <a:cubicBezTo>
                  <a:pt x="254" y="121"/>
                  <a:pt x="254" y="121"/>
                  <a:pt x="254" y="121"/>
                </a:cubicBezTo>
                <a:cubicBezTo>
                  <a:pt x="253" y="120"/>
                  <a:pt x="253" y="120"/>
                  <a:pt x="253" y="120"/>
                </a:cubicBezTo>
                <a:cubicBezTo>
                  <a:pt x="251" y="120"/>
                  <a:pt x="251" y="120"/>
                  <a:pt x="251" y="120"/>
                </a:cubicBezTo>
                <a:cubicBezTo>
                  <a:pt x="250" y="119"/>
                  <a:pt x="250" y="119"/>
                  <a:pt x="250" y="119"/>
                </a:cubicBezTo>
                <a:cubicBezTo>
                  <a:pt x="249" y="117"/>
                  <a:pt x="249" y="117"/>
                  <a:pt x="249" y="117"/>
                </a:cubicBezTo>
                <a:close/>
                <a:moveTo>
                  <a:pt x="174" y="157"/>
                </a:moveTo>
                <a:cubicBezTo>
                  <a:pt x="174" y="154"/>
                  <a:pt x="174" y="154"/>
                  <a:pt x="174" y="154"/>
                </a:cubicBezTo>
                <a:cubicBezTo>
                  <a:pt x="175" y="152"/>
                  <a:pt x="175" y="152"/>
                  <a:pt x="175" y="152"/>
                </a:cubicBezTo>
                <a:cubicBezTo>
                  <a:pt x="175" y="151"/>
                  <a:pt x="175" y="151"/>
                  <a:pt x="175" y="151"/>
                </a:cubicBezTo>
                <a:cubicBezTo>
                  <a:pt x="175" y="149"/>
                  <a:pt x="175" y="149"/>
                  <a:pt x="175" y="149"/>
                </a:cubicBezTo>
                <a:cubicBezTo>
                  <a:pt x="175" y="148"/>
                  <a:pt x="175" y="148"/>
                  <a:pt x="175" y="148"/>
                </a:cubicBezTo>
                <a:cubicBezTo>
                  <a:pt x="175" y="147"/>
                  <a:pt x="175" y="147"/>
                  <a:pt x="175" y="147"/>
                </a:cubicBezTo>
                <a:cubicBezTo>
                  <a:pt x="174" y="143"/>
                  <a:pt x="174" y="143"/>
                  <a:pt x="174" y="143"/>
                </a:cubicBezTo>
                <a:cubicBezTo>
                  <a:pt x="175" y="144"/>
                  <a:pt x="175" y="144"/>
                  <a:pt x="175" y="144"/>
                </a:cubicBezTo>
                <a:cubicBezTo>
                  <a:pt x="175" y="143"/>
                  <a:pt x="175" y="143"/>
                  <a:pt x="175" y="143"/>
                </a:cubicBezTo>
                <a:cubicBezTo>
                  <a:pt x="173" y="143"/>
                  <a:pt x="173" y="143"/>
                  <a:pt x="173" y="143"/>
                </a:cubicBezTo>
                <a:cubicBezTo>
                  <a:pt x="171" y="142"/>
                  <a:pt x="171" y="142"/>
                  <a:pt x="171" y="142"/>
                </a:cubicBezTo>
                <a:cubicBezTo>
                  <a:pt x="171" y="141"/>
                  <a:pt x="171" y="141"/>
                  <a:pt x="171" y="141"/>
                </a:cubicBezTo>
                <a:cubicBezTo>
                  <a:pt x="172" y="141"/>
                  <a:pt x="172" y="141"/>
                  <a:pt x="172" y="141"/>
                </a:cubicBezTo>
                <a:cubicBezTo>
                  <a:pt x="173" y="140"/>
                  <a:pt x="173" y="140"/>
                  <a:pt x="173" y="140"/>
                </a:cubicBezTo>
                <a:cubicBezTo>
                  <a:pt x="175" y="140"/>
                  <a:pt x="175" y="140"/>
                  <a:pt x="175" y="140"/>
                </a:cubicBezTo>
                <a:cubicBezTo>
                  <a:pt x="175" y="139"/>
                  <a:pt x="175" y="139"/>
                  <a:pt x="175" y="139"/>
                </a:cubicBezTo>
                <a:cubicBezTo>
                  <a:pt x="176" y="139"/>
                  <a:pt x="176" y="139"/>
                  <a:pt x="176" y="139"/>
                </a:cubicBezTo>
                <a:cubicBezTo>
                  <a:pt x="177" y="137"/>
                  <a:pt x="177" y="137"/>
                  <a:pt x="177" y="137"/>
                </a:cubicBezTo>
                <a:cubicBezTo>
                  <a:pt x="178" y="137"/>
                  <a:pt x="178" y="137"/>
                  <a:pt x="178" y="137"/>
                </a:cubicBezTo>
                <a:cubicBezTo>
                  <a:pt x="178" y="135"/>
                  <a:pt x="178" y="135"/>
                  <a:pt x="178" y="135"/>
                </a:cubicBezTo>
                <a:cubicBezTo>
                  <a:pt x="181" y="135"/>
                  <a:pt x="181" y="135"/>
                  <a:pt x="181" y="135"/>
                </a:cubicBezTo>
                <a:cubicBezTo>
                  <a:pt x="181" y="134"/>
                  <a:pt x="181" y="134"/>
                  <a:pt x="181" y="134"/>
                </a:cubicBezTo>
                <a:cubicBezTo>
                  <a:pt x="182" y="134"/>
                  <a:pt x="182" y="134"/>
                  <a:pt x="182" y="134"/>
                </a:cubicBezTo>
                <a:cubicBezTo>
                  <a:pt x="183" y="132"/>
                  <a:pt x="183" y="132"/>
                  <a:pt x="183" y="132"/>
                </a:cubicBezTo>
                <a:cubicBezTo>
                  <a:pt x="183" y="130"/>
                  <a:pt x="183" y="130"/>
                  <a:pt x="183" y="130"/>
                </a:cubicBezTo>
                <a:cubicBezTo>
                  <a:pt x="183" y="131"/>
                  <a:pt x="183" y="131"/>
                  <a:pt x="183" y="131"/>
                </a:cubicBezTo>
                <a:cubicBezTo>
                  <a:pt x="187" y="131"/>
                  <a:pt x="187" y="131"/>
                  <a:pt x="187" y="131"/>
                </a:cubicBezTo>
                <a:cubicBezTo>
                  <a:pt x="187" y="130"/>
                  <a:pt x="187" y="130"/>
                  <a:pt x="187" y="130"/>
                </a:cubicBezTo>
                <a:cubicBezTo>
                  <a:pt x="186" y="128"/>
                  <a:pt x="186" y="128"/>
                  <a:pt x="186" y="128"/>
                </a:cubicBezTo>
                <a:cubicBezTo>
                  <a:pt x="186" y="127"/>
                  <a:pt x="186" y="127"/>
                  <a:pt x="186" y="127"/>
                </a:cubicBezTo>
                <a:cubicBezTo>
                  <a:pt x="187" y="127"/>
                  <a:pt x="187" y="127"/>
                  <a:pt x="187" y="127"/>
                </a:cubicBezTo>
                <a:cubicBezTo>
                  <a:pt x="190" y="124"/>
                  <a:pt x="190" y="124"/>
                  <a:pt x="190" y="124"/>
                </a:cubicBezTo>
                <a:cubicBezTo>
                  <a:pt x="191" y="123"/>
                  <a:pt x="191" y="123"/>
                  <a:pt x="191" y="123"/>
                </a:cubicBezTo>
                <a:cubicBezTo>
                  <a:pt x="194" y="122"/>
                  <a:pt x="194" y="122"/>
                  <a:pt x="194" y="122"/>
                </a:cubicBezTo>
                <a:cubicBezTo>
                  <a:pt x="194" y="121"/>
                  <a:pt x="194" y="121"/>
                  <a:pt x="194" y="121"/>
                </a:cubicBezTo>
                <a:cubicBezTo>
                  <a:pt x="196" y="119"/>
                  <a:pt x="196" y="119"/>
                  <a:pt x="196" y="119"/>
                </a:cubicBezTo>
                <a:cubicBezTo>
                  <a:pt x="198" y="119"/>
                  <a:pt x="198" y="119"/>
                  <a:pt x="198" y="119"/>
                </a:cubicBezTo>
                <a:cubicBezTo>
                  <a:pt x="198" y="118"/>
                  <a:pt x="198" y="118"/>
                  <a:pt x="198" y="118"/>
                </a:cubicBezTo>
                <a:cubicBezTo>
                  <a:pt x="197" y="117"/>
                  <a:pt x="197" y="117"/>
                  <a:pt x="197" y="117"/>
                </a:cubicBezTo>
                <a:cubicBezTo>
                  <a:pt x="198" y="114"/>
                  <a:pt x="198" y="114"/>
                  <a:pt x="198" y="114"/>
                </a:cubicBezTo>
                <a:cubicBezTo>
                  <a:pt x="198" y="113"/>
                  <a:pt x="198" y="113"/>
                  <a:pt x="198" y="113"/>
                </a:cubicBezTo>
                <a:cubicBezTo>
                  <a:pt x="198" y="111"/>
                  <a:pt x="198" y="111"/>
                  <a:pt x="198" y="111"/>
                </a:cubicBezTo>
                <a:cubicBezTo>
                  <a:pt x="198" y="111"/>
                  <a:pt x="198" y="111"/>
                  <a:pt x="198" y="111"/>
                </a:cubicBezTo>
                <a:cubicBezTo>
                  <a:pt x="198" y="110"/>
                  <a:pt x="198" y="110"/>
                  <a:pt x="198" y="110"/>
                </a:cubicBezTo>
                <a:cubicBezTo>
                  <a:pt x="200" y="109"/>
                  <a:pt x="200" y="109"/>
                  <a:pt x="200" y="109"/>
                </a:cubicBezTo>
                <a:cubicBezTo>
                  <a:pt x="201" y="110"/>
                  <a:pt x="201" y="110"/>
                  <a:pt x="201" y="110"/>
                </a:cubicBezTo>
                <a:cubicBezTo>
                  <a:pt x="205" y="109"/>
                  <a:pt x="205" y="109"/>
                  <a:pt x="205" y="109"/>
                </a:cubicBezTo>
                <a:cubicBezTo>
                  <a:pt x="206" y="110"/>
                  <a:pt x="206" y="110"/>
                  <a:pt x="206" y="110"/>
                </a:cubicBezTo>
                <a:cubicBezTo>
                  <a:pt x="210" y="110"/>
                  <a:pt x="210" y="110"/>
                  <a:pt x="210" y="110"/>
                </a:cubicBezTo>
                <a:cubicBezTo>
                  <a:pt x="213" y="109"/>
                  <a:pt x="213" y="109"/>
                  <a:pt x="213" y="109"/>
                </a:cubicBezTo>
                <a:cubicBezTo>
                  <a:pt x="216" y="110"/>
                  <a:pt x="216" y="110"/>
                  <a:pt x="216" y="110"/>
                </a:cubicBezTo>
                <a:cubicBezTo>
                  <a:pt x="216" y="111"/>
                  <a:pt x="216" y="111"/>
                  <a:pt x="216" y="111"/>
                </a:cubicBezTo>
                <a:cubicBezTo>
                  <a:pt x="217" y="112"/>
                  <a:pt x="217" y="112"/>
                  <a:pt x="217" y="112"/>
                </a:cubicBezTo>
                <a:cubicBezTo>
                  <a:pt x="218" y="113"/>
                  <a:pt x="218" y="113"/>
                  <a:pt x="218" y="113"/>
                </a:cubicBezTo>
                <a:cubicBezTo>
                  <a:pt x="221" y="115"/>
                  <a:pt x="221" y="115"/>
                  <a:pt x="221" y="115"/>
                </a:cubicBezTo>
                <a:cubicBezTo>
                  <a:pt x="221" y="116"/>
                  <a:pt x="221" y="116"/>
                  <a:pt x="221" y="116"/>
                </a:cubicBezTo>
                <a:cubicBezTo>
                  <a:pt x="220" y="116"/>
                  <a:pt x="220" y="116"/>
                  <a:pt x="220" y="116"/>
                </a:cubicBezTo>
                <a:cubicBezTo>
                  <a:pt x="221" y="116"/>
                  <a:pt x="221" y="116"/>
                  <a:pt x="221" y="116"/>
                </a:cubicBezTo>
                <a:cubicBezTo>
                  <a:pt x="222" y="116"/>
                  <a:pt x="222" y="116"/>
                  <a:pt x="222" y="116"/>
                </a:cubicBezTo>
                <a:cubicBezTo>
                  <a:pt x="224" y="116"/>
                  <a:pt x="224" y="116"/>
                  <a:pt x="224" y="116"/>
                </a:cubicBezTo>
                <a:cubicBezTo>
                  <a:pt x="223" y="118"/>
                  <a:pt x="223" y="118"/>
                  <a:pt x="223" y="118"/>
                </a:cubicBezTo>
                <a:cubicBezTo>
                  <a:pt x="222" y="120"/>
                  <a:pt x="222" y="120"/>
                  <a:pt x="222" y="120"/>
                </a:cubicBezTo>
                <a:cubicBezTo>
                  <a:pt x="222" y="121"/>
                  <a:pt x="222" y="121"/>
                  <a:pt x="222" y="121"/>
                </a:cubicBezTo>
                <a:cubicBezTo>
                  <a:pt x="224" y="119"/>
                  <a:pt x="224" y="119"/>
                  <a:pt x="224" y="119"/>
                </a:cubicBezTo>
                <a:cubicBezTo>
                  <a:pt x="224" y="118"/>
                  <a:pt x="224" y="118"/>
                  <a:pt x="224" y="118"/>
                </a:cubicBezTo>
                <a:cubicBezTo>
                  <a:pt x="225" y="117"/>
                  <a:pt x="225" y="117"/>
                  <a:pt x="225" y="117"/>
                </a:cubicBezTo>
                <a:cubicBezTo>
                  <a:pt x="227" y="117"/>
                  <a:pt x="227" y="117"/>
                  <a:pt x="227" y="117"/>
                </a:cubicBezTo>
                <a:cubicBezTo>
                  <a:pt x="228" y="116"/>
                  <a:pt x="228" y="116"/>
                  <a:pt x="228" y="116"/>
                </a:cubicBezTo>
                <a:cubicBezTo>
                  <a:pt x="229" y="117"/>
                  <a:pt x="229" y="117"/>
                  <a:pt x="229" y="117"/>
                </a:cubicBezTo>
                <a:cubicBezTo>
                  <a:pt x="229" y="118"/>
                  <a:pt x="229" y="118"/>
                  <a:pt x="229" y="118"/>
                </a:cubicBezTo>
                <a:cubicBezTo>
                  <a:pt x="232" y="120"/>
                  <a:pt x="232" y="120"/>
                  <a:pt x="232" y="120"/>
                </a:cubicBezTo>
                <a:cubicBezTo>
                  <a:pt x="232" y="123"/>
                  <a:pt x="232" y="123"/>
                  <a:pt x="232" y="123"/>
                </a:cubicBezTo>
                <a:cubicBezTo>
                  <a:pt x="232" y="125"/>
                  <a:pt x="232" y="125"/>
                  <a:pt x="232" y="125"/>
                </a:cubicBezTo>
                <a:cubicBezTo>
                  <a:pt x="232" y="127"/>
                  <a:pt x="232" y="127"/>
                  <a:pt x="232" y="127"/>
                </a:cubicBezTo>
                <a:cubicBezTo>
                  <a:pt x="232" y="128"/>
                  <a:pt x="232" y="128"/>
                  <a:pt x="232" y="128"/>
                </a:cubicBezTo>
                <a:cubicBezTo>
                  <a:pt x="232" y="129"/>
                  <a:pt x="232" y="129"/>
                  <a:pt x="232" y="129"/>
                </a:cubicBezTo>
                <a:cubicBezTo>
                  <a:pt x="233" y="130"/>
                  <a:pt x="233" y="130"/>
                  <a:pt x="233" y="130"/>
                </a:cubicBezTo>
                <a:cubicBezTo>
                  <a:pt x="233" y="131"/>
                  <a:pt x="233" y="131"/>
                  <a:pt x="233" y="131"/>
                </a:cubicBezTo>
                <a:cubicBezTo>
                  <a:pt x="233" y="132"/>
                  <a:pt x="233" y="132"/>
                  <a:pt x="233" y="132"/>
                </a:cubicBezTo>
                <a:cubicBezTo>
                  <a:pt x="232" y="134"/>
                  <a:pt x="232" y="134"/>
                  <a:pt x="232" y="134"/>
                </a:cubicBezTo>
                <a:cubicBezTo>
                  <a:pt x="229" y="134"/>
                  <a:pt x="229" y="134"/>
                  <a:pt x="229" y="134"/>
                </a:cubicBezTo>
                <a:cubicBezTo>
                  <a:pt x="228" y="135"/>
                  <a:pt x="228" y="135"/>
                  <a:pt x="228" y="135"/>
                </a:cubicBezTo>
                <a:cubicBezTo>
                  <a:pt x="226" y="135"/>
                  <a:pt x="226" y="135"/>
                  <a:pt x="226" y="135"/>
                </a:cubicBezTo>
                <a:cubicBezTo>
                  <a:pt x="224" y="135"/>
                  <a:pt x="224" y="135"/>
                  <a:pt x="224" y="135"/>
                </a:cubicBezTo>
                <a:cubicBezTo>
                  <a:pt x="220" y="137"/>
                  <a:pt x="220" y="137"/>
                  <a:pt x="220" y="137"/>
                </a:cubicBezTo>
                <a:cubicBezTo>
                  <a:pt x="218" y="137"/>
                  <a:pt x="218" y="137"/>
                  <a:pt x="218" y="137"/>
                </a:cubicBezTo>
                <a:cubicBezTo>
                  <a:pt x="216" y="138"/>
                  <a:pt x="216" y="138"/>
                  <a:pt x="216" y="138"/>
                </a:cubicBezTo>
                <a:cubicBezTo>
                  <a:pt x="214" y="138"/>
                  <a:pt x="214" y="138"/>
                  <a:pt x="214" y="138"/>
                </a:cubicBezTo>
                <a:cubicBezTo>
                  <a:pt x="213" y="139"/>
                  <a:pt x="213" y="139"/>
                  <a:pt x="213" y="139"/>
                </a:cubicBezTo>
                <a:cubicBezTo>
                  <a:pt x="211" y="139"/>
                  <a:pt x="211" y="139"/>
                  <a:pt x="211" y="139"/>
                </a:cubicBezTo>
                <a:cubicBezTo>
                  <a:pt x="210" y="140"/>
                  <a:pt x="210" y="140"/>
                  <a:pt x="210" y="140"/>
                </a:cubicBezTo>
                <a:cubicBezTo>
                  <a:pt x="209" y="139"/>
                  <a:pt x="209" y="139"/>
                  <a:pt x="209" y="139"/>
                </a:cubicBezTo>
                <a:cubicBezTo>
                  <a:pt x="209" y="139"/>
                  <a:pt x="209" y="139"/>
                  <a:pt x="209" y="139"/>
                </a:cubicBezTo>
                <a:cubicBezTo>
                  <a:pt x="207" y="140"/>
                  <a:pt x="207" y="140"/>
                  <a:pt x="207" y="140"/>
                </a:cubicBezTo>
                <a:cubicBezTo>
                  <a:pt x="206" y="141"/>
                  <a:pt x="206" y="141"/>
                  <a:pt x="206" y="141"/>
                </a:cubicBezTo>
                <a:cubicBezTo>
                  <a:pt x="205" y="143"/>
                  <a:pt x="205" y="143"/>
                  <a:pt x="205" y="143"/>
                </a:cubicBezTo>
                <a:cubicBezTo>
                  <a:pt x="204" y="143"/>
                  <a:pt x="204" y="143"/>
                  <a:pt x="204" y="143"/>
                </a:cubicBezTo>
                <a:cubicBezTo>
                  <a:pt x="204" y="145"/>
                  <a:pt x="204" y="145"/>
                  <a:pt x="204" y="145"/>
                </a:cubicBezTo>
                <a:cubicBezTo>
                  <a:pt x="202" y="145"/>
                  <a:pt x="202" y="145"/>
                  <a:pt x="202" y="145"/>
                </a:cubicBezTo>
                <a:cubicBezTo>
                  <a:pt x="201" y="146"/>
                  <a:pt x="201" y="146"/>
                  <a:pt x="201" y="146"/>
                </a:cubicBezTo>
                <a:cubicBezTo>
                  <a:pt x="199" y="146"/>
                  <a:pt x="199" y="146"/>
                  <a:pt x="199" y="146"/>
                </a:cubicBezTo>
                <a:cubicBezTo>
                  <a:pt x="198" y="144"/>
                  <a:pt x="198" y="144"/>
                  <a:pt x="198" y="144"/>
                </a:cubicBezTo>
                <a:cubicBezTo>
                  <a:pt x="197" y="146"/>
                  <a:pt x="197" y="146"/>
                  <a:pt x="197" y="146"/>
                </a:cubicBezTo>
                <a:cubicBezTo>
                  <a:pt x="197" y="147"/>
                  <a:pt x="197" y="147"/>
                  <a:pt x="197" y="147"/>
                </a:cubicBezTo>
                <a:cubicBezTo>
                  <a:pt x="195" y="148"/>
                  <a:pt x="195" y="148"/>
                  <a:pt x="195" y="148"/>
                </a:cubicBezTo>
                <a:cubicBezTo>
                  <a:pt x="194" y="149"/>
                  <a:pt x="194" y="149"/>
                  <a:pt x="194" y="149"/>
                </a:cubicBezTo>
                <a:cubicBezTo>
                  <a:pt x="194" y="150"/>
                  <a:pt x="194" y="150"/>
                  <a:pt x="194" y="150"/>
                </a:cubicBezTo>
                <a:cubicBezTo>
                  <a:pt x="192" y="152"/>
                  <a:pt x="192" y="152"/>
                  <a:pt x="192" y="152"/>
                </a:cubicBezTo>
                <a:cubicBezTo>
                  <a:pt x="192" y="153"/>
                  <a:pt x="192" y="153"/>
                  <a:pt x="192" y="153"/>
                </a:cubicBezTo>
                <a:cubicBezTo>
                  <a:pt x="191" y="155"/>
                  <a:pt x="191" y="155"/>
                  <a:pt x="191" y="155"/>
                </a:cubicBezTo>
                <a:cubicBezTo>
                  <a:pt x="189" y="156"/>
                  <a:pt x="189" y="156"/>
                  <a:pt x="189" y="156"/>
                </a:cubicBezTo>
                <a:cubicBezTo>
                  <a:pt x="188" y="156"/>
                  <a:pt x="188" y="156"/>
                  <a:pt x="188" y="156"/>
                </a:cubicBezTo>
                <a:cubicBezTo>
                  <a:pt x="186" y="157"/>
                  <a:pt x="186" y="157"/>
                  <a:pt x="186" y="157"/>
                </a:cubicBezTo>
                <a:cubicBezTo>
                  <a:pt x="185" y="157"/>
                  <a:pt x="185" y="157"/>
                  <a:pt x="185" y="157"/>
                </a:cubicBezTo>
                <a:cubicBezTo>
                  <a:pt x="184" y="155"/>
                  <a:pt x="184" y="155"/>
                  <a:pt x="184" y="155"/>
                </a:cubicBezTo>
                <a:cubicBezTo>
                  <a:pt x="185" y="155"/>
                  <a:pt x="185" y="155"/>
                  <a:pt x="185" y="155"/>
                </a:cubicBezTo>
                <a:cubicBezTo>
                  <a:pt x="185" y="153"/>
                  <a:pt x="185" y="153"/>
                  <a:pt x="185" y="153"/>
                </a:cubicBezTo>
                <a:cubicBezTo>
                  <a:pt x="184" y="152"/>
                  <a:pt x="184" y="152"/>
                  <a:pt x="184" y="152"/>
                </a:cubicBezTo>
                <a:cubicBezTo>
                  <a:pt x="183" y="153"/>
                  <a:pt x="183" y="153"/>
                  <a:pt x="183" y="153"/>
                </a:cubicBezTo>
                <a:cubicBezTo>
                  <a:pt x="183" y="154"/>
                  <a:pt x="183" y="154"/>
                  <a:pt x="183" y="154"/>
                </a:cubicBezTo>
                <a:cubicBezTo>
                  <a:pt x="183" y="154"/>
                  <a:pt x="183" y="154"/>
                  <a:pt x="183" y="154"/>
                </a:cubicBezTo>
                <a:cubicBezTo>
                  <a:pt x="181" y="156"/>
                  <a:pt x="181" y="156"/>
                  <a:pt x="181" y="156"/>
                </a:cubicBezTo>
                <a:cubicBezTo>
                  <a:pt x="179" y="156"/>
                  <a:pt x="179" y="156"/>
                  <a:pt x="179" y="156"/>
                </a:cubicBezTo>
                <a:cubicBezTo>
                  <a:pt x="178" y="156"/>
                  <a:pt x="178" y="156"/>
                  <a:pt x="178" y="156"/>
                </a:cubicBezTo>
                <a:cubicBezTo>
                  <a:pt x="177" y="157"/>
                  <a:pt x="177" y="157"/>
                  <a:pt x="177" y="157"/>
                </a:cubicBezTo>
                <a:cubicBezTo>
                  <a:pt x="176" y="157"/>
                  <a:pt x="176" y="157"/>
                  <a:pt x="176" y="157"/>
                </a:cubicBezTo>
                <a:cubicBezTo>
                  <a:pt x="175" y="157"/>
                  <a:pt x="175" y="157"/>
                  <a:pt x="175" y="157"/>
                </a:cubicBezTo>
                <a:cubicBezTo>
                  <a:pt x="174" y="157"/>
                  <a:pt x="174" y="157"/>
                  <a:pt x="174" y="157"/>
                </a:cubicBezTo>
                <a:cubicBezTo>
                  <a:pt x="174" y="157"/>
                  <a:pt x="174" y="157"/>
                  <a:pt x="174" y="157"/>
                </a:cubicBezTo>
                <a:close/>
                <a:moveTo>
                  <a:pt x="334" y="138"/>
                </a:moveTo>
                <a:cubicBezTo>
                  <a:pt x="335" y="138"/>
                  <a:pt x="335" y="138"/>
                  <a:pt x="335" y="138"/>
                </a:cubicBezTo>
                <a:cubicBezTo>
                  <a:pt x="335" y="139"/>
                  <a:pt x="335" y="139"/>
                  <a:pt x="335" y="139"/>
                </a:cubicBezTo>
                <a:cubicBezTo>
                  <a:pt x="335" y="140"/>
                  <a:pt x="335" y="140"/>
                  <a:pt x="335" y="140"/>
                </a:cubicBezTo>
                <a:cubicBezTo>
                  <a:pt x="334" y="140"/>
                  <a:pt x="334" y="140"/>
                  <a:pt x="334" y="140"/>
                </a:cubicBezTo>
                <a:cubicBezTo>
                  <a:pt x="334" y="140"/>
                  <a:pt x="334" y="140"/>
                  <a:pt x="334" y="140"/>
                </a:cubicBezTo>
                <a:cubicBezTo>
                  <a:pt x="333" y="138"/>
                  <a:pt x="333" y="138"/>
                  <a:pt x="333" y="138"/>
                </a:cubicBezTo>
                <a:cubicBezTo>
                  <a:pt x="334" y="138"/>
                  <a:pt x="334" y="138"/>
                  <a:pt x="334" y="138"/>
                </a:cubicBezTo>
                <a:close/>
                <a:moveTo>
                  <a:pt x="322" y="138"/>
                </a:moveTo>
                <a:cubicBezTo>
                  <a:pt x="322" y="137"/>
                  <a:pt x="322" y="137"/>
                  <a:pt x="322" y="137"/>
                </a:cubicBezTo>
                <a:cubicBezTo>
                  <a:pt x="324" y="136"/>
                  <a:pt x="324" y="136"/>
                  <a:pt x="324" y="136"/>
                </a:cubicBezTo>
                <a:cubicBezTo>
                  <a:pt x="325" y="137"/>
                  <a:pt x="325" y="137"/>
                  <a:pt x="325" y="137"/>
                </a:cubicBezTo>
                <a:cubicBezTo>
                  <a:pt x="324" y="137"/>
                  <a:pt x="324" y="137"/>
                  <a:pt x="324" y="137"/>
                </a:cubicBezTo>
                <a:cubicBezTo>
                  <a:pt x="324" y="137"/>
                  <a:pt x="324" y="137"/>
                  <a:pt x="324" y="137"/>
                </a:cubicBezTo>
                <a:cubicBezTo>
                  <a:pt x="323" y="138"/>
                  <a:pt x="323" y="138"/>
                  <a:pt x="323" y="138"/>
                </a:cubicBezTo>
                <a:cubicBezTo>
                  <a:pt x="322" y="138"/>
                  <a:pt x="322" y="138"/>
                  <a:pt x="322" y="138"/>
                </a:cubicBezTo>
                <a:close/>
                <a:moveTo>
                  <a:pt x="310" y="145"/>
                </a:moveTo>
                <a:cubicBezTo>
                  <a:pt x="310" y="146"/>
                  <a:pt x="310" y="146"/>
                  <a:pt x="310" y="146"/>
                </a:cubicBezTo>
                <a:cubicBezTo>
                  <a:pt x="312" y="146"/>
                  <a:pt x="312" y="146"/>
                  <a:pt x="312" y="146"/>
                </a:cubicBezTo>
                <a:cubicBezTo>
                  <a:pt x="313" y="147"/>
                  <a:pt x="313" y="147"/>
                  <a:pt x="313" y="147"/>
                </a:cubicBezTo>
                <a:cubicBezTo>
                  <a:pt x="314" y="147"/>
                  <a:pt x="314" y="147"/>
                  <a:pt x="314" y="147"/>
                </a:cubicBezTo>
                <a:cubicBezTo>
                  <a:pt x="315" y="147"/>
                  <a:pt x="315" y="147"/>
                  <a:pt x="315" y="147"/>
                </a:cubicBezTo>
                <a:cubicBezTo>
                  <a:pt x="317" y="146"/>
                  <a:pt x="317" y="146"/>
                  <a:pt x="317" y="146"/>
                </a:cubicBezTo>
                <a:cubicBezTo>
                  <a:pt x="318" y="147"/>
                  <a:pt x="318" y="147"/>
                  <a:pt x="318" y="147"/>
                </a:cubicBezTo>
                <a:cubicBezTo>
                  <a:pt x="318" y="146"/>
                  <a:pt x="318" y="146"/>
                  <a:pt x="318" y="146"/>
                </a:cubicBezTo>
                <a:cubicBezTo>
                  <a:pt x="319" y="146"/>
                  <a:pt x="319" y="146"/>
                  <a:pt x="319" y="146"/>
                </a:cubicBezTo>
                <a:cubicBezTo>
                  <a:pt x="321" y="146"/>
                  <a:pt x="321" y="146"/>
                  <a:pt x="321" y="146"/>
                </a:cubicBezTo>
                <a:cubicBezTo>
                  <a:pt x="321" y="145"/>
                  <a:pt x="321" y="145"/>
                  <a:pt x="321" y="145"/>
                </a:cubicBezTo>
                <a:cubicBezTo>
                  <a:pt x="319" y="144"/>
                  <a:pt x="319" y="144"/>
                  <a:pt x="319" y="144"/>
                </a:cubicBezTo>
                <a:cubicBezTo>
                  <a:pt x="318" y="144"/>
                  <a:pt x="318" y="144"/>
                  <a:pt x="318" y="144"/>
                </a:cubicBezTo>
                <a:cubicBezTo>
                  <a:pt x="316" y="144"/>
                  <a:pt x="316" y="144"/>
                  <a:pt x="316" y="144"/>
                </a:cubicBezTo>
                <a:cubicBezTo>
                  <a:pt x="316" y="144"/>
                  <a:pt x="316" y="144"/>
                  <a:pt x="316" y="144"/>
                </a:cubicBezTo>
                <a:cubicBezTo>
                  <a:pt x="315" y="145"/>
                  <a:pt x="315" y="145"/>
                  <a:pt x="315" y="145"/>
                </a:cubicBezTo>
                <a:cubicBezTo>
                  <a:pt x="313" y="144"/>
                  <a:pt x="313" y="144"/>
                  <a:pt x="313" y="144"/>
                </a:cubicBezTo>
                <a:cubicBezTo>
                  <a:pt x="312" y="145"/>
                  <a:pt x="312" y="145"/>
                  <a:pt x="312" y="145"/>
                </a:cubicBezTo>
                <a:cubicBezTo>
                  <a:pt x="310" y="145"/>
                  <a:pt x="310" y="145"/>
                  <a:pt x="310" y="145"/>
                </a:cubicBezTo>
                <a:cubicBezTo>
                  <a:pt x="310" y="145"/>
                  <a:pt x="310" y="145"/>
                  <a:pt x="310" y="145"/>
                </a:cubicBezTo>
                <a:close/>
                <a:moveTo>
                  <a:pt x="303" y="189"/>
                </a:moveTo>
                <a:cubicBezTo>
                  <a:pt x="302" y="188"/>
                  <a:pt x="302" y="188"/>
                  <a:pt x="302" y="188"/>
                </a:cubicBezTo>
                <a:cubicBezTo>
                  <a:pt x="303" y="188"/>
                  <a:pt x="303" y="188"/>
                  <a:pt x="303" y="188"/>
                </a:cubicBezTo>
                <a:cubicBezTo>
                  <a:pt x="303" y="187"/>
                  <a:pt x="303" y="187"/>
                  <a:pt x="303" y="187"/>
                </a:cubicBezTo>
                <a:cubicBezTo>
                  <a:pt x="303" y="188"/>
                  <a:pt x="303" y="188"/>
                  <a:pt x="303" y="188"/>
                </a:cubicBezTo>
                <a:cubicBezTo>
                  <a:pt x="303" y="189"/>
                  <a:pt x="303" y="189"/>
                  <a:pt x="303" y="189"/>
                </a:cubicBezTo>
                <a:close/>
                <a:moveTo>
                  <a:pt x="295" y="187"/>
                </a:moveTo>
                <a:cubicBezTo>
                  <a:pt x="294" y="187"/>
                  <a:pt x="294" y="187"/>
                  <a:pt x="294" y="187"/>
                </a:cubicBezTo>
                <a:cubicBezTo>
                  <a:pt x="294" y="185"/>
                  <a:pt x="294" y="185"/>
                  <a:pt x="294" y="185"/>
                </a:cubicBezTo>
                <a:cubicBezTo>
                  <a:pt x="294" y="185"/>
                  <a:pt x="294" y="185"/>
                  <a:pt x="294" y="185"/>
                </a:cubicBezTo>
                <a:cubicBezTo>
                  <a:pt x="293" y="186"/>
                  <a:pt x="293" y="186"/>
                  <a:pt x="293" y="186"/>
                </a:cubicBezTo>
                <a:cubicBezTo>
                  <a:pt x="293" y="185"/>
                  <a:pt x="293" y="185"/>
                  <a:pt x="293" y="185"/>
                </a:cubicBezTo>
                <a:cubicBezTo>
                  <a:pt x="293" y="184"/>
                  <a:pt x="293" y="184"/>
                  <a:pt x="293" y="184"/>
                </a:cubicBezTo>
                <a:cubicBezTo>
                  <a:pt x="293" y="182"/>
                  <a:pt x="293" y="182"/>
                  <a:pt x="293" y="182"/>
                </a:cubicBezTo>
                <a:cubicBezTo>
                  <a:pt x="292" y="181"/>
                  <a:pt x="292" y="181"/>
                  <a:pt x="292" y="181"/>
                </a:cubicBezTo>
                <a:cubicBezTo>
                  <a:pt x="293" y="180"/>
                  <a:pt x="293" y="180"/>
                  <a:pt x="293" y="180"/>
                </a:cubicBezTo>
                <a:cubicBezTo>
                  <a:pt x="293" y="178"/>
                  <a:pt x="293" y="178"/>
                  <a:pt x="293" y="178"/>
                </a:cubicBezTo>
                <a:cubicBezTo>
                  <a:pt x="293" y="177"/>
                  <a:pt x="293" y="177"/>
                  <a:pt x="293" y="177"/>
                </a:cubicBezTo>
                <a:cubicBezTo>
                  <a:pt x="292" y="177"/>
                  <a:pt x="292" y="177"/>
                  <a:pt x="292" y="177"/>
                </a:cubicBezTo>
                <a:cubicBezTo>
                  <a:pt x="292" y="176"/>
                  <a:pt x="292" y="176"/>
                  <a:pt x="292" y="176"/>
                </a:cubicBezTo>
                <a:cubicBezTo>
                  <a:pt x="292" y="175"/>
                  <a:pt x="292" y="175"/>
                  <a:pt x="292" y="175"/>
                </a:cubicBezTo>
                <a:cubicBezTo>
                  <a:pt x="290" y="174"/>
                  <a:pt x="290" y="174"/>
                  <a:pt x="290" y="174"/>
                </a:cubicBezTo>
                <a:cubicBezTo>
                  <a:pt x="291" y="172"/>
                  <a:pt x="291" y="172"/>
                  <a:pt x="291" y="172"/>
                </a:cubicBezTo>
                <a:cubicBezTo>
                  <a:pt x="290" y="170"/>
                  <a:pt x="290" y="170"/>
                  <a:pt x="290" y="170"/>
                </a:cubicBezTo>
                <a:cubicBezTo>
                  <a:pt x="289" y="170"/>
                  <a:pt x="289" y="170"/>
                  <a:pt x="289" y="170"/>
                </a:cubicBezTo>
                <a:cubicBezTo>
                  <a:pt x="289" y="170"/>
                  <a:pt x="289" y="170"/>
                  <a:pt x="289" y="170"/>
                </a:cubicBezTo>
                <a:cubicBezTo>
                  <a:pt x="289" y="168"/>
                  <a:pt x="289" y="168"/>
                  <a:pt x="289" y="168"/>
                </a:cubicBezTo>
                <a:cubicBezTo>
                  <a:pt x="288" y="168"/>
                  <a:pt x="288" y="168"/>
                  <a:pt x="288" y="168"/>
                </a:cubicBezTo>
                <a:cubicBezTo>
                  <a:pt x="287" y="168"/>
                  <a:pt x="287" y="168"/>
                  <a:pt x="287" y="168"/>
                </a:cubicBezTo>
                <a:cubicBezTo>
                  <a:pt x="287" y="168"/>
                  <a:pt x="287" y="168"/>
                  <a:pt x="287" y="168"/>
                </a:cubicBezTo>
                <a:cubicBezTo>
                  <a:pt x="286" y="168"/>
                  <a:pt x="286" y="168"/>
                  <a:pt x="286" y="168"/>
                </a:cubicBezTo>
                <a:cubicBezTo>
                  <a:pt x="285" y="168"/>
                  <a:pt x="285" y="168"/>
                  <a:pt x="285" y="168"/>
                </a:cubicBezTo>
                <a:cubicBezTo>
                  <a:pt x="285" y="166"/>
                  <a:pt x="285" y="166"/>
                  <a:pt x="285" y="166"/>
                </a:cubicBezTo>
                <a:cubicBezTo>
                  <a:pt x="286" y="165"/>
                  <a:pt x="286" y="165"/>
                  <a:pt x="286" y="165"/>
                </a:cubicBezTo>
                <a:cubicBezTo>
                  <a:pt x="287" y="164"/>
                  <a:pt x="287" y="164"/>
                  <a:pt x="287" y="164"/>
                </a:cubicBezTo>
                <a:cubicBezTo>
                  <a:pt x="286" y="163"/>
                  <a:pt x="286" y="163"/>
                  <a:pt x="286" y="163"/>
                </a:cubicBezTo>
                <a:cubicBezTo>
                  <a:pt x="286" y="162"/>
                  <a:pt x="286" y="162"/>
                  <a:pt x="286" y="162"/>
                </a:cubicBezTo>
                <a:cubicBezTo>
                  <a:pt x="286" y="160"/>
                  <a:pt x="286" y="160"/>
                  <a:pt x="286" y="160"/>
                </a:cubicBezTo>
                <a:cubicBezTo>
                  <a:pt x="286" y="159"/>
                  <a:pt x="286" y="159"/>
                  <a:pt x="286" y="159"/>
                </a:cubicBezTo>
                <a:cubicBezTo>
                  <a:pt x="287" y="157"/>
                  <a:pt x="287" y="157"/>
                  <a:pt x="287" y="157"/>
                </a:cubicBezTo>
                <a:cubicBezTo>
                  <a:pt x="289" y="157"/>
                  <a:pt x="289" y="157"/>
                  <a:pt x="289" y="157"/>
                </a:cubicBezTo>
                <a:cubicBezTo>
                  <a:pt x="289" y="156"/>
                  <a:pt x="289" y="156"/>
                  <a:pt x="289" y="156"/>
                </a:cubicBezTo>
                <a:cubicBezTo>
                  <a:pt x="290" y="156"/>
                  <a:pt x="290" y="156"/>
                  <a:pt x="290" y="156"/>
                </a:cubicBezTo>
                <a:cubicBezTo>
                  <a:pt x="290" y="156"/>
                  <a:pt x="290" y="156"/>
                  <a:pt x="290" y="156"/>
                </a:cubicBezTo>
                <a:cubicBezTo>
                  <a:pt x="292" y="156"/>
                  <a:pt x="292" y="156"/>
                  <a:pt x="292" y="156"/>
                </a:cubicBezTo>
                <a:cubicBezTo>
                  <a:pt x="293" y="156"/>
                  <a:pt x="293" y="156"/>
                  <a:pt x="293" y="156"/>
                </a:cubicBezTo>
                <a:cubicBezTo>
                  <a:pt x="294" y="157"/>
                  <a:pt x="294" y="157"/>
                  <a:pt x="294" y="157"/>
                </a:cubicBezTo>
                <a:cubicBezTo>
                  <a:pt x="293" y="157"/>
                  <a:pt x="293" y="157"/>
                  <a:pt x="293" y="157"/>
                </a:cubicBezTo>
                <a:cubicBezTo>
                  <a:pt x="293" y="158"/>
                  <a:pt x="293" y="158"/>
                  <a:pt x="293" y="158"/>
                </a:cubicBezTo>
                <a:cubicBezTo>
                  <a:pt x="292" y="158"/>
                  <a:pt x="292" y="158"/>
                  <a:pt x="292" y="158"/>
                </a:cubicBezTo>
                <a:cubicBezTo>
                  <a:pt x="293" y="158"/>
                  <a:pt x="293" y="158"/>
                  <a:pt x="293" y="158"/>
                </a:cubicBezTo>
                <a:cubicBezTo>
                  <a:pt x="294" y="159"/>
                  <a:pt x="294" y="159"/>
                  <a:pt x="294" y="159"/>
                </a:cubicBezTo>
                <a:cubicBezTo>
                  <a:pt x="294" y="160"/>
                  <a:pt x="294" y="160"/>
                  <a:pt x="294" y="160"/>
                </a:cubicBezTo>
                <a:cubicBezTo>
                  <a:pt x="295" y="162"/>
                  <a:pt x="295" y="162"/>
                  <a:pt x="295" y="162"/>
                </a:cubicBezTo>
                <a:cubicBezTo>
                  <a:pt x="295" y="163"/>
                  <a:pt x="295" y="163"/>
                  <a:pt x="295" y="163"/>
                </a:cubicBezTo>
                <a:cubicBezTo>
                  <a:pt x="296" y="164"/>
                  <a:pt x="296" y="164"/>
                  <a:pt x="296" y="164"/>
                </a:cubicBezTo>
                <a:cubicBezTo>
                  <a:pt x="297" y="164"/>
                  <a:pt x="297" y="164"/>
                  <a:pt x="297" y="164"/>
                </a:cubicBezTo>
                <a:cubicBezTo>
                  <a:pt x="298" y="164"/>
                  <a:pt x="298" y="164"/>
                  <a:pt x="298" y="164"/>
                </a:cubicBezTo>
                <a:cubicBezTo>
                  <a:pt x="297" y="163"/>
                  <a:pt x="297" y="163"/>
                  <a:pt x="297" y="163"/>
                </a:cubicBezTo>
                <a:cubicBezTo>
                  <a:pt x="298" y="162"/>
                  <a:pt x="298" y="162"/>
                  <a:pt x="298" y="162"/>
                </a:cubicBezTo>
                <a:cubicBezTo>
                  <a:pt x="299" y="161"/>
                  <a:pt x="299" y="161"/>
                  <a:pt x="299" y="161"/>
                </a:cubicBezTo>
                <a:cubicBezTo>
                  <a:pt x="299" y="160"/>
                  <a:pt x="299" y="160"/>
                  <a:pt x="299" y="160"/>
                </a:cubicBezTo>
                <a:cubicBezTo>
                  <a:pt x="300" y="159"/>
                  <a:pt x="300" y="159"/>
                  <a:pt x="300" y="159"/>
                </a:cubicBezTo>
                <a:cubicBezTo>
                  <a:pt x="300" y="158"/>
                  <a:pt x="300" y="158"/>
                  <a:pt x="300" y="158"/>
                </a:cubicBezTo>
                <a:cubicBezTo>
                  <a:pt x="299" y="157"/>
                  <a:pt x="299" y="157"/>
                  <a:pt x="299" y="157"/>
                </a:cubicBezTo>
                <a:cubicBezTo>
                  <a:pt x="300" y="157"/>
                  <a:pt x="300" y="157"/>
                  <a:pt x="300" y="157"/>
                </a:cubicBezTo>
                <a:cubicBezTo>
                  <a:pt x="301" y="156"/>
                  <a:pt x="301" y="156"/>
                  <a:pt x="301" y="156"/>
                </a:cubicBezTo>
                <a:cubicBezTo>
                  <a:pt x="302" y="157"/>
                  <a:pt x="302" y="157"/>
                  <a:pt x="302" y="157"/>
                </a:cubicBezTo>
                <a:cubicBezTo>
                  <a:pt x="302" y="158"/>
                  <a:pt x="302" y="158"/>
                  <a:pt x="302" y="158"/>
                </a:cubicBezTo>
                <a:cubicBezTo>
                  <a:pt x="303" y="158"/>
                  <a:pt x="303" y="158"/>
                  <a:pt x="303" y="158"/>
                </a:cubicBezTo>
                <a:cubicBezTo>
                  <a:pt x="303" y="157"/>
                  <a:pt x="303" y="157"/>
                  <a:pt x="303" y="157"/>
                </a:cubicBezTo>
                <a:cubicBezTo>
                  <a:pt x="302" y="156"/>
                  <a:pt x="302" y="156"/>
                  <a:pt x="302" y="156"/>
                </a:cubicBezTo>
                <a:cubicBezTo>
                  <a:pt x="302" y="155"/>
                  <a:pt x="302" y="155"/>
                  <a:pt x="302" y="155"/>
                </a:cubicBezTo>
                <a:cubicBezTo>
                  <a:pt x="301" y="155"/>
                  <a:pt x="301" y="155"/>
                  <a:pt x="301" y="155"/>
                </a:cubicBezTo>
                <a:cubicBezTo>
                  <a:pt x="301" y="156"/>
                  <a:pt x="301" y="156"/>
                  <a:pt x="301" y="156"/>
                </a:cubicBezTo>
                <a:cubicBezTo>
                  <a:pt x="299" y="156"/>
                  <a:pt x="299" y="156"/>
                  <a:pt x="299" y="156"/>
                </a:cubicBezTo>
                <a:cubicBezTo>
                  <a:pt x="298" y="154"/>
                  <a:pt x="298" y="154"/>
                  <a:pt x="298" y="154"/>
                </a:cubicBezTo>
                <a:cubicBezTo>
                  <a:pt x="298" y="154"/>
                  <a:pt x="298" y="154"/>
                  <a:pt x="298" y="154"/>
                </a:cubicBezTo>
                <a:cubicBezTo>
                  <a:pt x="297" y="152"/>
                  <a:pt x="297" y="152"/>
                  <a:pt x="297" y="152"/>
                </a:cubicBezTo>
                <a:cubicBezTo>
                  <a:pt x="297" y="151"/>
                  <a:pt x="297" y="151"/>
                  <a:pt x="297" y="151"/>
                </a:cubicBezTo>
                <a:cubicBezTo>
                  <a:pt x="298" y="150"/>
                  <a:pt x="298" y="150"/>
                  <a:pt x="298" y="150"/>
                </a:cubicBezTo>
                <a:cubicBezTo>
                  <a:pt x="299" y="150"/>
                  <a:pt x="299" y="150"/>
                  <a:pt x="299" y="150"/>
                </a:cubicBezTo>
                <a:cubicBezTo>
                  <a:pt x="299" y="149"/>
                  <a:pt x="299" y="149"/>
                  <a:pt x="299" y="149"/>
                </a:cubicBezTo>
                <a:cubicBezTo>
                  <a:pt x="300" y="150"/>
                  <a:pt x="300" y="150"/>
                  <a:pt x="300" y="150"/>
                </a:cubicBezTo>
                <a:cubicBezTo>
                  <a:pt x="301" y="151"/>
                  <a:pt x="301" y="151"/>
                  <a:pt x="301" y="151"/>
                </a:cubicBezTo>
                <a:cubicBezTo>
                  <a:pt x="301" y="153"/>
                  <a:pt x="301" y="153"/>
                  <a:pt x="301" y="153"/>
                </a:cubicBezTo>
                <a:cubicBezTo>
                  <a:pt x="302" y="153"/>
                  <a:pt x="302" y="153"/>
                  <a:pt x="302" y="153"/>
                </a:cubicBezTo>
                <a:cubicBezTo>
                  <a:pt x="302" y="152"/>
                  <a:pt x="302" y="152"/>
                  <a:pt x="302" y="152"/>
                </a:cubicBezTo>
                <a:cubicBezTo>
                  <a:pt x="302" y="151"/>
                  <a:pt x="302" y="151"/>
                  <a:pt x="302" y="151"/>
                </a:cubicBezTo>
                <a:cubicBezTo>
                  <a:pt x="302" y="150"/>
                  <a:pt x="302" y="150"/>
                  <a:pt x="302" y="150"/>
                </a:cubicBezTo>
                <a:cubicBezTo>
                  <a:pt x="301" y="150"/>
                  <a:pt x="301" y="150"/>
                  <a:pt x="301" y="150"/>
                </a:cubicBezTo>
                <a:cubicBezTo>
                  <a:pt x="301" y="148"/>
                  <a:pt x="301" y="148"/>
                  <a:pt x="301" y="148"/>
                </a:cubicBezTo>
                <a:cubicBezTo>
                  <a:pt x="301" y="147"/>
                  <a:pt x="301" y="147"/>
                  <a:pt x="301" y="147"/>
                </a:cubicBezTo>
                <a:cubicBezTo>
                  <a:pt x="301" y="147"/>
                  <a:pt x="301" y="147"/>
                  <a:pt x="301" y="147"/>
                </a:cubicBezTo>
                <a:cubicBezTo>
                  <a:pt x="302" y="146"/>
                  <a:pt x="302" y="146"/>
                  <a:pt x="302" y="146"/>
                </a:cubicBezTo>
                <a:cubicBezTo>
                  <a:pt x="303" y="145"/>
                  <a:pt x="303" y="145"/>
                  <a:pt x="303" y="145"/>
                </a:cubicBezTo>
                <a:cubicBezTo>
                  <a:pt x="304" y="145"/>
                  <a:pt x="304" y="145"/>
                  <a:pt x="304" y="145"/>
                </a:cubicBezTo>
                <a:cubicBezTo>
                  <a:pt x="304" y="145"/>
                  <a:pt x="304" y="145"/>
                  <a:pt x="304" y="145"/>
                </a:cubicBezTo>
                <a:cubicBezTo>
                  <a:pt x="305" y="147"/>
                  <a:pt x="305" y="147"/>
                  <a:pt x="305" y="147"/>
                </a:cubicBezTo>
                <a:cubicBezTo>
                  <a:pt x="307" y="147"/>
                  <a:pt x="307" y="147"/>
                  <a:pt x="307" y="147"/>
                </a:cubicBezTo>
                <a:cubicBezTo>
                  <a:pt x="307" y="146"/>
                  <a:pt x="307" y="146"/>
                  <a:pt x="307" y="146"/>
                </a:cubicBezTo>
                <a:cubicBezTo>
                  <a:pt x="306" y="146"/>
                  <a:pt x="306" y="146"/>
                  <a:pt x="306" y="146"/>
                </a:cubicBezTo>
                <a:cubicBezTo>
                  <a:pt x="305" y="145"/>
                  <a:pt x="305" y="145"/>
                  <a:pt x="305" y="145"/>
                </a:cubicBezTo>
                <a:cubicBezTo>
                  <a:pt x="306" y="145"/>
                  <a:pt x="306" y="145"/>
                  <a:pt x="306" y="145"/>
                </a:cubicBezTo>
                <a:cubicBezTo>
                  <a:pt x="307" y="144"/>
                  <a:pt x="307" y="144"/>
                  <a:pt x="307" y="144"/>
                </a:cubicBezTo>
                <a:cubicBezTo>
                  <a:pt x="309" y="145"/>
                  <a:pt x="309" y="145"/>
                  <a:pt x="309" y="145"/>
                </a:cubicBezTo>
                <a:cubicBezTo>
                  <a:pt x="309" y="145"/>
                  <a:pt x="309" y="145"/>
                  <a:pt x="309" y="145"/>
                </a:cubicBezTo>
                <a:cubicBezTo>
                  <a:pt x="308" y="146"/>
                  <a:pt x="308" y="146"/>
                  <a:pt x="308" y="146"/>
                </a:cubicBezTo>
                <a:cubicBezTo>
                  <a:pt x="308" y="146"/>
                  <a:pt x="308" y="146"/>
                  <a:pt x="308" y="146"/>
                </a:cubicBezTo>
                <a:cubicBezTo>
                  <a:pt x="309" y="147"/>
                  <a:pt x="309" y="147"/>
                  <a:pt x="309" y="147"/>
                </a:cubicBezTo>
                <a:cubicBezTo>
                  <a:pt x="310" y="148"/>
                  <a:pt x="310" y="148"/>
                  <a:pt x="310" y="148"/>
                </a:cubicBezTo>
                <a:cubicBezTo>
                  <a:pt x="311" y="148"/>
                  <a:pt x="311" y="148"/>
                  <a:pt x="311" y="148"/>
                </a:cubicBezTo>
                <a:cubicBezTo>
                  <a:pt x="312" y="148"/>
                  <a:pt x="312" y="148"/>
                  <a:pt x="312" y="148"/>
                </a:cubicBezTo>
                <a:cubicBezTo>
                  <a:pt x="314" y="148"/>
                  <a:pt x="314" y="148"/>
                  <a:pt x="314" y="148"/>
                </a:cubicBezTo>
                <a:cubicBezTo>
                  <a:pt x="315" y="148"/>
                  <a:pt x="315" y="148"/>
                  <a:pt x="315" y="148"/>
                </a:cubicBezTo>
                <a:cubicBezTo>
                  <a:pt x="315" y="148"/>
                  <a:pt x="315" y="148"/>
                  <a:pt x="315" y="148"/>
                </a:cubicBezTo>
                <a:cubicBezTo>
                  <a:pt x="318" y="148"/>
                  <a:pt x="318" y="148"/>
                  <a:pt x="318" y="148"/>
                </a:cubicBezTo>
                <a:cubicBezTo>
                  <a:pt x="319" y="149"/>
                  <a:pt x="319" y="149"/>
                  <a:pt x="319" y="149"/>
                </a:cubicBezTo>
                <a:cubicBezTo>
                  <a:pt x="320" y="149"/>
                  <a:pt x="320" y="149"/>
                  <a:pt x="320" y="149"/>
                </a:cubicBezTo>
                <a:cubicBezTo>
                  <a:pt x="320" y="150"/>
                  <a:pt x="320" y="150"/>
                  <a:pt x="320" y="150"/>
                </a:cubicBezTo>
                <a:cubicBezTo>
                  <a:pt x="320" y="150"/>
                  <a:pt x="320" y="150"/>
                  <a:pt x="320" y="150"/>
                </a:cubicBezTo>
                <a:cubicBezTo>
                  <a:pt x="321" y="151"/>
                  <a:pt x="321" y="151"/>
                  <a:pt x="321" y="151"/>
                </a:cubicBezTo>
                <a:cubicBezTo>
                  <a:pt x="320" y="152"/>
                  <a:pt x="320" y="152"/>
                  <a:pt x="320" y="152"/>
                </a:cubicBezTo>
                <a:cubicBezTo>
                  <a:pt x="318" y="153"/>
                  <a:pt x="318" y="153"/>
                  <a:pt x="318" y="153"/>
                </a:cubicBezTo>
                <a:cubicBezTo>
                  <a:pt x="317" y="153"/>
                  <a:pt x="317" y="153"/>
                  <a:pt x="317" y="153"/>
                </a:cubicBezTo>
                <a:cubicBezTo>
                  <a:pt x="317" y="152"/>
                  <a:pt x="317" y="152"/>
                  <a:pt x="317" y="152"/>
                </a:cubicBezTo>
                <a:cubicBezTo>
                  <a:pt x="317" y="153"/>
                  <a:pt x="317" y="153"/>
                  <a:pt x="317" y="153"/>
                </a:cubicBezTo>
                <a:cubicBezTo>
                  <a:pt x="316" y="153"/>
                  <a:pt x="316" y="153"/>
                  <a:pt x="316" y="153"/>
                </a:cubicBezTo>
                <a:cubicBezTo>
                  <a:pt x="316" y="154"/>
                  <a:pt x="316" y="154"/>
                  <a:pt x="316" y="154"/>
                </a:cubicBezTo>
                <a:cubicBezTo>
                  <a:pt x="317" y="155"/>
                  <a:pt x="317" y="155"/>
                  <a:pt x="317" y="155"/>
                </a:cubicBezTo>
                <a:cubicBezTo>
                  <a:pt x="317" y="155"/>
                  <a:pt x="317" y="155"/>
                  <a:pt x="317" y="155"/>
                </a:cubicBezTo>
                <a:cubicBezTo>
                  <a:pt x="317" y="157"/>
                  <a:pt x="317" y="157"/>
                  <a:pt x="317" y="157"/>
                </a:cubicBezTo>
                <a:cubicBezTo>
                  <a:pt x="316" y="157"/>
                  <a:pt x="316" y="157"/>
                  <a:pt x="316" y="157"/>
                </a:cubicBezTo>
                <a:cubicBezTo>
                  <a:pt x="316" y="157"/>
                  <a:pt x="316" y="157"/>
                  <a:pt x="316" y="157"/>
                </a:cubicBezTo>
                <a:cubicBezTo>
                  <a:pt x="315" y="157"/>
                  <a:pt x="315" y="157"/>
                  <a:pt x="315" y="157"/>
                </a:cubicBezTo>
                <a:cubicBezTo>
                  <a:pt x="313" y="157"/>
                  <a:pt x="313" y="157"/>
                  <a:pt x="313" y="157"/>
                </a:cubicBezTo>
                <a:cubicBezTo>
                  <a:pt x="313" y="158"/>
                  <a:pt x="313" y="158"/>
                  <a:pt x="313" y="158"/>
                </a:cubicBezTo>
                <a:cubicBezTo>
                  <a:pt x="311" y="159"/>
                  <a:pt x="311" y="159"/>
                  <a:pt x="311" y="159"/>
                </a:cubicBezTo>
                <a:cubicBezTo>
                  <a:pt x="309" y="160"/>
                  <a:pt x="309" y="160"/>
                  <a:pt x="309" y="160"/>
                </a:cubicBezTo>
                <a:cubicBezTo>
                  <a:pt x="308" y="160"/>
                  <a:pt x="308" y="160"/>
                  <a:pt x="308" y="160"/>
                </a:cubicBezTo>
                <a:cubicBezTo>
                  <a:pt x="307" y="161"/>
                  <a:pt x="307" y="161"/>
                  <a:pt x="307" y="161"/>
                </a:cubicBezTo>
                <a:cubicBezTo>
                  <a:pt x="307" y="162"/>
                  <a:pt x="307" y="162"/>
                  <a:pt x="307" y="162"/>
                </a:cubicBezTo>
                <a:cubicBezTo>
                  <a:pt x="308" y="162"/>
                  <a:pt x="308" y="162"/>
                  <a:pt x="308" y="162"/>
                </a:cubicBezTo>
                <a:cubicBezTo>
                  <a:pt x="309" y="161"/>
                  <a:pt x="309" y="161"/>
                  <a:pt x="309" y="161"/>
                </a:cubicBezTo>
                <a:cubicBezTo>
                  <a:pt x="310" y="161"/>
                  <a:pt x="310" y="161"/>
                  <a:pt x="310" y="161"/>
                </a:cubicBezTo>
                <a:cubicBezTo>
                  <a:pt x="311" y="161"/>
                  <a:pt x="311" y="161"/>
                  <a:pt x="311" y="161"/>
                </a:cubicBezTo>
                <a:cubicBezTo>
                  <a:pt x="313" y="162"/>
                  <a:pt x="313" y="162"/>
                  <a:pt x="313" y="162"/>
                </a:cubicBezTo>
                <a:cubicBezTo>
                  <a:pt x="313" y="163"/>
                  <a:pt x="313" y="163"/>
                  <a:pt x="313" y="163"/>
                </a:cubicBezTo>
                <a:cubicBezTo>
                  <a:pt x="313" y="164"/>
                  <a:pt x="313" y="164"/>
                  <a:pt x="313" y="164"/>
                </a:cubicBezTo>
                <a:cubicBezTo>
                  <a:pt x="312" y="164"/>
                  <a:pt x="312" y="164"/>
                  <a:pt x="312" y="164"/>
                </a:cubicBezTo>
                <a:cubicBezTo>
                  <a:pt x="313" y="164"/>
                  <a:pt x="313" y="164"/>
                  <a:pt x="313" y="164"/>
                </a:cubicBezTo>
                <a:cubicBezTo>
                  <a:pt x="313" y="165"/>
                  <a:pt x="313" y="165"/>
                  <a:pt x="313" y="165"/>
                </a:cubicBezTo>
                <a:cubicBezTo>
                  <a:pt x="313" y="166"/>
                  <a:pt x="313" y="166"/>
                  <a:pt x="313" y="166"/>
                </a:cubicBezTo>
                <a:cubicBezTo>
                  <a:pt x="312" y="167"/>
                  <a:pt x="312" y="167"/>
                  <a:pt x="312" y="167"/>
                </a:cubicBezTo>
                <a:cubicBezTo>
                  <a:pt x="312" y="168"/>
                  <a:pt x="312" y="168"/>
                  <a:pt x="312" y="168"/>
                </a:cubicBezTo>
                <a:cubicBezTo>
                  <a:pt x="312" y="169"/>
                  <a:pt x="312" y="169"/>
                  <a:pt x="312" y="169"/>
                </a:cubicBezTo>
                <a:cubicBezTo>
                  <a:pt x="313" y="167"/>
                  <a:pt x="313" y="167"/>
                  <a:pt x="313" y="167"/>
                </a:cubicBezTo>
                <a:cubicBezTo>
                  <a:pt x="315" y="167"/>
                  <a:pt x="315" y="167"/>
                  <a:pt x="315" y="167"/>
                </a:cubicBezTo>
                <a:cubicBezTo>
                  <a:pt x="315" y="166"/>
                  <a:pt x="315" y="166"/>
                  <a:pt x="315" y="166"/>
                </a:cubicBezTo>
                <a:cubicBezTo>
                  <a:pt x="316" y="166"/>
                  <a:pt x="316" y="166"/>
                  <a:pt x="316" y="166"/>
                </a:cubicBezTo>
                <a:cubicBezTo>
                  <a:pt x="315" y="167"/>
                  <a:pt x="315" y="167"/>
                  <a:pt x="315" y="167"/>
                </a:cubicBezTo>
                <a:cubicBezTo>
                  <a:pt x="315" y="169"/>
                  <a:pt x="315" y="169"/>
                  <a:pt x="315" y="169"/>
                </a:cubicBezTo>
                <a:cubicBezTo>
                  <a:pt x="314" y="171"/>
                  <a:pt x="314" y="171"/>
                  <a:pt x="314" y="171"/>
                </a:cubicBezTo>
                <a:cubicBezTo>
                  <a:pt x="314" y="172"/>
                  <a:pt x="314" y="172"/>
                  <a:pt x="314" y="172"/>
                </a:cubicBezTo>
                <a:cubicBezTo>
                  <a:pt x="312" y="173"/>
                  <a:pt x="312" y="173"/>
                  <a:pt x="312" y="173"/>
                </a:cubicBezTo>
                <a:cubicBezTo>
                  <a:pt x="311" y="173"/>
                  <a:pt x="311" y="173"/>
                  <a:pt x="311" y="173"/>
                </a:cubicBezTo>
                <a:cubicBezTo>
                  <a:pt x="311" y="174"/>
                  <a:pt x="311" y="174"/>
                  <a:pt x="311" y="174"/>
                </a:cubicBezTo>
                <a:cubicBezTo>
                  <a:pt x="311" y="174"/>
                  <a:pt x="311" y="174"/>
                  <a:pt x="311" y="174"/>
                </a:cubicBezTo>
                <a:cubicBezTo>
                  <a:pt x="311" y="176"/>
                  <a:pt x="311" y="176"/>
                  <a:pt x="311" y="176"/>
                </a:cubicBezTo>
                <a:cubicBezTo>
                  <a:pt x="310" y="176"/>
                  <a:pt x="310" y="176"/>
                  <a:pt x="310" y="176"/>
                </a:cubicBezTo>
                <a:cubicBezTo>
                  <a:pt x="310" y="176"/>
                  <a:pt x="310" y="176"/>
                  <a:pt x="310" y="176"/>
                </a:cubicBezTo>
                <a:cubicBezTo>
                  <a:pt x="309" y="176"/>
                  <a:pt x="309" y="176"/>
                  <a:pt x="309" y="176"/>
                </a:cubicBezTo>
                <a:cubicBezTo>
                  <a:pt x="309" y="177"/>
                  <a:pt x="309" y="177"/>
                  <a:pt x="309" y="177"/>
                </a:cubicBezTo>
                <a:cubicBezTo>
                  <a:pt x="311" y="178"/>
                  <a:pt x="311" y="178"/>
                  <a:pt x="311" y="178"/>
                </a:cubicBezTo>
                <a:cubicBezTo>
                  <a:pt x="310" y="178"/>
                  <a:pt x="310" y="178"/>
                  <a:pt x="310" y="178"/>
                </a:cubicBezTo>
                <a:cubicBezTo>
                  <a:pt x="309" y="178"/>
                  <a:pt x="309" y="178"/>
                  <a:pt x="309" y="178"/>
                </a:cubicBezTo>
                <a:cubicBezTo>
                  <a:pt x="310" y="179"/>
                  <a:pt x="310" y="179"/>
                  <a:pt x="310" y="179"/>
                </a:cubicBezTo>
                <a:cubicBezTo>
                  <a:pt x="309" y="181"/>
                  <a:pt x="309" y="181"/>
                  <a:pt x="309" y="181"/>
                </a:cubicBezTo>
                <a:cubicBezTo>
                  <a:pt x="308" y="180"/>
                  <a:pt x="308" y="180"/>
                  <a:pt x="308" y="180"/>
                </a:cubicBezTo>
                <a:cubicBezTo>
                  <a:pt x="307" y="181"/>
                  <a:pt x="307" y="181"/>
                  <a:pt x="307" y="181"/>
                </a:cubicBezTo>
                <a:cubicBezTo>
                  <a:pt x="306" y="181"/>
                  <a:pt x="306" y="181"/>
                  <a:pt x="306" y="181"/>
                </a:cubicBezTo>
                <a:cubicBezTo>
                  <a:pt x="305" y="181"/>
                  <a:pt x="305" y="181"/>
                  <a:pt x="305" y="181"/>
                </a:cubicBezTo>
                <a:cubicBezTo>
                  <a:pt x="305" y="182"/>
                  <a:pt x="305" y="182"/>
                  <a:pt x="305" y="182"/>
                </a:cubicBezTo>
                <a:cubicBezTo>
                  <a:pt x="303" y="183"/>
                  <a:pt x="303" y="183"/>
                  <a:pt x="303" y="183"/>
                </a:cubicBezTo>
                <a:cubicBezTo>
                  <a:pt x="301" y="182"/>
                  <a:pt x="301" y="182"/>
                  <a:pt x="301" y="182"/>
                </a:cubicBezTo>
                <a:cubicBezTo>
                  <a:pt x="300" y="183"/>
                  <a:pt x="300" y="183"/>
                  <a:pt x="300" y="183"/>
                </a:cubicBezTo>
                <a:cubicBezTo>
                  <a:pt x="299" y="182"/>
                  <a:pt x="299" y="182"/>
                  <a:pt x="299" y="182"/>
                </a:cubicBezTo>
                <a:cubicBezTo>
                  <a:pt x="299" y="180"/>
                  <a:pt x="299" y="180"/>
                  <a:pt x="299" y="180"/>
                </a:cubicBezTo>
                <a:cubicBezTo>
                  <a:pt x="300" y="178"/>
                  <a:pt x="300" y="178"/>
                  <a:pt x="300" y="178"/>
                </a:cubicBezTo>
                <a:cubicBezTo>
                  <a:pt x="300" y="177"/>
                  <a:pt x="300" y="177"/>
                  <a:pt x="300" y="177"/>
                </a:cubicBezTo>
                <a:cubicBezTo>
                  <a:pt x="298" y="179"/>
                  <a:pt x="298" y="179"/>
                  <a:pt x="298" y="179"/>
                </a:cubicBezTo>
                <a:cubicBezTo>
                  <a:pt x="298" y="181"/>
                  <a:pt x="298" y="181"/>
                  <a:pt x="298" y="181"/>
                </a:cubicBezTo>
                <a:cubicBezTo>
                  <a:pt x="299" y="183"/>
                  <a:pt x="299" y="183"/>
                  <a:pt x="299" y="183"/>
                </a:cubicBezTo>
                <a:cubicBezTo>
                  <a:pt x="299" y="184"/>
                  <a:pt x="299" y="184"/>
                  <a:pt x="299" y="184"/>
                </a:cubicBezTo>
                <a:cubicBezTo>
                  <a:pt x="299" y="185"/>
                  <a:pt x="299" y="185"/>
                  <a:pt x="299" y="185"/>
                </a:cubicBezTo>
                <a:cubicBezTo>
                  <a:pt x="298" y="186"/>
                  <a:pt x="298" y="186"/>
                  <a:pt x="298" y="186"/>
                </a:cubicBezTo>
                <a:cubicBezTo>
                  <a:pt x="297" y="187"/>
                  <a:pt x="297" y="187"/>
                  <a:pt x="297" y="187"/>
                </a:cubicBezTo>
                <a:cubicBezTo>
                  <a:pt x="297" y="187"/>
                  <a:pt x="295" y="187"/>
                  <a:pt x="295" y="187"/>
                </a:cubicBezTo>
                <a:close/>
                <a:moveTo>
                  <a:pt x="316" y="158"/>
                </a:moveTo>
                <a:cubicBezTo>
                  <a:pt x="316" y="159"/>
                  <a:pt x="316" y="159"/>
                  <a:pt x="316" y="159"/>
                </a:cubicBezTo>
                <a:cubicBezTo>
                  <a:pt x="317" y="159"/>
                  <a:pt x="317" y="159"/>
                  <a:pt x="317" y="159"/>
                </a:cubicBezTo>
                <a:cubicBezTo>
                  <a:pt x="317" y="158"/>
                  <a:pt x="317" y="158"/>
                  <a:pt x="317" y="158"/>
                </a:cubicBezTo>
                <a:cubicBezTo>
                  <a:pt x="316" y="158"/>
                  <a:pt x="316" y="158"/>
                  <a:pt x="316" y="158"/>
                </a:cubicBezTo>
                <a:close/>
                <a:moveTo>
                  <a:pt x="315" y="163"/>
                </a:moveTo>
                <a:cubicBezTo>
                  <a:pt x="316" y="163"/>
                  <a:pt x="316" y="163"/>
                  <a:pt x="316" y="163"/>
                </a:cubicBezTo>
                <a:cubicBezTo>
                  <a:pt x="317" y="162"/>
                  <a:pt x="317" y="162"/>
                  <a:pt x="317" y="162"/>
                </a:cubicBezTo>
                <a:cubicBezTo>
                  <a:pt x="317" y="161"/>
                  <a:pt x="317" y="161"/>
                  <a:pt x="317" y="161"/>
                </a:cubicBezTo>
                <a:cubicBezTo>
                  <a:pt x="317" y="160"/>
                  <a:pt x="317" y="160"/>
                  <a:pt x="317" y="160"/>
                </a:cubicBezTo>
                <a:cubicBezTo>
                  <a:pt x="316" y="159"/>
                  <a:pt x="316" y="159"/>
                  <a:pt x="316" y="159"/>
                </a:cubicBezTo>
                <a:cubicBezTo>
                  <a:pt x="316" y="160"/>
                  <a:pt x="316" y="160"/>
                  <a:pt x="316" y="160"/>
                </a:cubicBezTo>
                <a:cubicBezTo>
                  <a:pt x="315" y="161"/>
                  <a:pt x="315" y="161"/>
                  <a:pt x="315" y="161"/>
                </a:cubicBezTo>
                <a:cubicBezTo>
                  <a:pt x="315" y="161"/>
                  <a:pt x="315" y="161"/>
                  <a:pt x="315" y="161"/>
                </a:cubicBezTo>
                <a:cubicBezTo>
                  <a:pt x="315" y="163"/>
                  <a:pt x="315" y="163"/>
                  <a:pt x="315" y="163"/>
                </a:cubicBezTo>
                <a:cubicBezTo>
                  <a:pt x="315" y="163"/>
                  <a:pt x="315" y="163"/>
                  <a:pt x="315" y="163"/>
                </a:cubicBezTo>
                <a:close/>
                <a:moveTo>
                  <a:pt x="315" y="166"/>
                </a:moveTo>
                <a:cubicBezTo>
                  <a:pt x="315" y="166"/>
                  <a:pt x="315" y="166"/>
                  <a:pt x="315" y="166"/>
                </a:cubicBezTo>
                <a:cubicBezTo>
                  <a:pt x="316" y="164"/>
                  <a:pt x="316" y="164"/>
                  <a:pt x="316" y="164"/>
                </a:cubicBezTo>
                <a:cubicBezTo>
                  <a:pt x="315" y="164"/>
                  <a:pt x="315" y="164"/>
                  <a:pt x="315" y="164"/>
                </a:cubicBezTo>
                <a:cubicBezTo>
                  <a:pt x="314" y="165"/>
                  <a:pt x="314" y="165"/>
                  <a:pt x="314" y="165"/>
                </a:cubicBezTo>
                <a:cubicBezTo>
                  <a:pt x="314" y="166"/>
                  <a:pt x="314" y="166"/>
                  <a:pt x="314" y="166"/>
                </a:cubicBezTo>
                <a:cubicBezTo>
                  <a:pt x="315" y="166"/>
                  <a:pt x="315" y="166"/>
                  <a:pt x="315" y="166"/>
                </a:cubicBezTo>
                <a:close/>
                <a:moveTo>
                  <a:pt x="267" y="139"/>
                </a:moveTo>
                <a:cubicBezTo>
                  <a:pt x="267" y="140"/>
                  <a:pt x="267" y="140"/>
                  <a:pt x="267" y="140"/>
                </a:cubicBezTo>
                <a:cubicBezTo>
                  <a:pt x="267" y="140"/>
                  <a:pt x="267" y="140"/>
                  <a:pt x="267" y="140"/>
                </a:cubicBezTo>
                <a:cubicBezTo>
                  <a:pt x="268" y="140"/>
                  <a:pt x="268" y="140"/>
                  <a:pt x="268" y="140"/>
                </a:cubicBezTo>
                <a:cubicBezTo>
                  <a:pt x="269" y="140"/>
                  <a:pt x="269" y="140"/>
                  <a:pt x="269" y="140"/>
                </a:cubicBezTo>
                <a:cubicBezTo>
                  <a:pt x="269" y="140"/>
                  <a:pt x="269" y="140"/>
                  <a:pt x="269" y="140"/>
                </a:cubicBezTo>
                <a:cubicBezTo>
                  <a:pt x="269" y="139"/>
                  <a:pt x="269" y="139"/>
                  <a:pt x="269" y="139"/>
                </a:cubicBezTo>
                <a:cubicBezTo>
                  <a:pt x="267" y="139"/>
                  <a:pt x="267" y="139"/>
                  <a:pt x="267" y="139"/>
                </a:cubicBezTo>
                <a:cubicBezTo>
                  <a:pt x="267" y="139"/>
                  <a:pt x="267" y="139"/>
                  <a:pt x="267" y="139"/>
                </a:cubicBezTo>
                <a:close/>
                <a:moveTo>
                  <a:pt x="275" y="155"/>
                </a:moveTo>
                <a:cubicBezTo>
                  <a:pt x="274" y="154"/>
                  <a:pt x="274" y="154"/>
                  <a:pt x="274" y="154"/>
                </a:cubicBezTo>
                <a:cubicBezTo>
                  <a:pt x="274" y="151"/>
                  <a:pt x="274" y="151"/>
                  <a:pt x="274" y="151"/>
                </a:cubicBezTo>
                <a:cubicBezTo>
                  <a:pt x="273" y="150"/>
                  <a:pt x="273" y="150"/>
                  <a:pt x="273" y="150"/>
                </a:cubicBezTo>
                <a:cubicBezTo>
                  <a:pt x="273" y="149"/>
                  <a:pt x="273" y="149"/>
                  <a:pt x="273" y="149"/>
                </a:cubicBezTo>
                <a:cubicBezTo>
                  <a:pt x="273" y="148"/>
                  <a:pt x="273" y="148"/>
                  <a:pt x="273" y="148"/>
                </a:cubicBezTo>
                <a:cubicBezTo>
                  <a:pt x="273" y="147"/>
                  <a:pt x="273" y="147"/>
                  <a:pt x="273" y="147"/>
                </a:cubicBezTo>
                <a:cubicBezTo>
                  <a:pt x="273" y="145"/>
                  <a:pt x="273" y="145"/>
                  <a:pt x="273" y="145"/>
                </a:cubicBezTo>
                <a:cubicBezTo>
                  <a:pt x="272" y="144"/>
                  <a:pt x="272" y="144"/>
                  <a:pt x="272" y="144"/>
                </a:cubicBezTo>
                <a:cubicBezTo>
                  <a:pt x="271" y="143"/>
                  <a:pt x="271" y="143"/>
                  <a:pt x="271" y="143"/>
                </a:cubicBezTo>
                <a:cubicBezTo>
                  <a:pt x="271" y="142"/>
                  <a:pt x="271" y="142"/>
                  <a:pt x="271" y="142"/>
                </a:cubicBezTo>
                <a:cubicBezTo>
                  <a:pt x="273" y="141"/>
                  <a:pt x="273" y="141"/>
                  <a:pt x="273" y="141"/>
                </a:cubicBezTo>
                <a:cubicBezTo>
                  <a:pt x="274" y="140"/>
                  <a:pt x="274" y="140"/>
                  <a:pt x="274" y="140"/>
                </a:cubicBezTo>
                <a:cubicBezTo>
                  <a:pt x="275" y="139"/>
                  <a:pt x="275" y="139"/>
                  <a:pt x="275" y="139"/>
                </a:cubicBezTo>
                <a:cubicBezTo>
                  <a:pt x="277" y="139"/>
                  <a:pt x="277" y="139"/>
                  <a:pt x="277" y="139"/>
                </a:cubicBezTo>
                <a:cubicBezTo>
                  <a:pt x="278" y="140"/>
                  <a:pt x="278" y="140"/>
                  <a:pt x="278" y="140"/>
                </a:cubicBezTo>
                <a:cubicBezTo>
                  <a:pt x="278" y="140"/>
                  <a:pt x="278" y="140"/>
                  <a:pt x="278" y="140"/>
                </a:cubicBezTo>
                <a:cubicBezTo>
                  <a:pt x="279" y="141"/>
                  <a:pt x="279" y="141"/>
                  <a:pt x="279" y="141"/>
                </a:cubicBezTo>
                <a:cubicBezTo>
                  <a:pt x="280" y="140"/>
                  <a:pt x="280" y="140"/>
                  <a:pt x="280" y="140"/>
                </a:cubicBezTo>
                <a:cubicBezTo>
                  <a:pt x="281" y="141"/>
                  <a:pt x="281" y="141"/>
                  <a:pt x="281" y="141"/>
                </a:cubicBezTo>
                <a:cubicBezTo>
                  <a:pt x="282" y="141"/>
                  <a:pt x="282" y="141"/>
                  <a:pt x="282" y="141"/>
                </a:cubicBezTo>
                <a:cubicBezTo>
                  <a:pt x="283" y="141"/>
                  <a:pt x="283" y="141"/>
                  <a:pt x="283" y="141"/>
                </a:cubicBezTo>
                <a:cubicBezTo>
                  <a:pt x="284" y="142"/>
                  <a:pt x="284" y="142"/>
                  <a:pt x="284" y="142"/>
                </a:cubicBezTo>
                <a:cubicBezTo>
                  <a:pt x="284" y="143"/>
                  <a:pt x="284" y="143"/>
                  <a:pt x="284" y="143"/>
                </a:cubicBezTo>
                <a:cubicBezTo>
                  <a:pt x="284" y="144"/>
                  <a:pt x="284" y="144"/>
                  <a:pt x="284" y="144"/>
                </a:cubicBezTo>
                <a:cubicBezTo>
                  <a:pt x="285" y="145"/>
                  <a:pt x="285" y="145"/>
                  <a:pt x="285" y="145"/>
                </a:cubicBezTo>
                <a:cubicBezTo>
                  <a:pt x="285" y="146"/>
                  <a:pt x="285" y="146"/>
                  <a:pt x="285" y="146"/>
                </a:cubicBezTo>
                <a:cubicBezTo>
                  <a:pt x="284" y="146"/>
                  <a:pt x="284" y="146"/>
                  <a:pt x="284" y="146"/>
                </a:cubicBezTo>
                <a:cubicBezTo>
                  <a:pt x="284" y="147"/>
                  <a:pt x="284" y="147"/>
                  <a:pt x="284" y="147"/>
                </a:cubicBezTo>
                <a:cubicBezTo>
                  <a:pt x="283" y="149"/>
                  <a:pt x="283" y="149"/>
                  <a:pt x="283" y="149"/>
                </a:cubicBezTo>
                <a:cubicBezTo>
                  <a:pt x="282" y="149"/>
                  <a:pt x="282" y="149"/>
                  <a:pt x="282" y="149"/>
                </a:cubicBezTo>
                <a:cubicBezTo>
                  <a:pt x="280" y="150"/>
                  <a:pt x="280" y="150"/>
                  <a:pt x="280" y="150"/>
                </a:cubicBezTo>
                <a:cubicBezTo>
                  <a:pt x="279" y="151"/>
                  <a:pt x="279" y="151"/>
                  <a:pt x="279" y="151"/>
                </a:cubicBezTo>
                <a:cubicBezTo>
                  <a:pt x="277" y="153"/>
                  <a:pt x="277" y="153"/>
                  <a:pt x="277" y="153"/>
                </a:cubicBezTo>
                <a:cubicBezTo>
                  <a:pt x="276" y="153"/>
                  <a:pt x="276" y="153"/>
                  <a:pt x="276" y="153"/>
                </a:cubicBezTo>
                <a:cubicBezTo>
                  <a:pt x="275" y="154"/>
                  <a:pt x="275" y="154"/>
                  <a:pt x="275" y="154"/>
                </a:cubicBezTo>
                <a:cubicBezTo>
                  <a:pt x="275" y="155"/>
                  <a:pt x="275" y="155"/>
                  <a:pt x="275" y="155"/>
                </a:cubicBezTo>
                <a:cubicBezTo>
                  <a:pt x="275" y="155"/>
                  <a:pt x="275" y="155"/>
                  <a:pt x="275" y="155"/>
                </a:cubicBezTo>
                <a:close/>
                <a:moveTo>
                  <a:pt x="320" y="181"/>
                </a:moveTo>
                <a:cubicBezTo>
                  <a:pt x="318" y="179"/>
                  <a:pt x="318" y="179"/>
                  <a:pt x="318" y="179"/>
                </a:cubicBezTo>
                <a:cubicBezTo>
                  <a:pt x="317" y="179"/>
                  <a:pt x="317" y="179"/>
                  <a:pt x="317" y="179"/>
                </a:cubicBezTo>
                <a:cubicBezTo>
                  <a:pt x="315" y="179"/>
                  <a:pt x="315" y="179"/>
                  <a:pt x="315" y="179"/>
                </a:cubicBezTo>
                <a:cubicBezTo>
                  <a:pt x="316" y="178"/>
                  <a:pt x="316" y="178"/>
                  <a:pt x="316" y="178"/>
                </a:cubicBezTo>
                <a:cubicBezTo>
                  <a:pt x="317" y="177"/>
                  <a:pt x="317" y="177"/>
                  <a:pt x="317" y="177"/>
                </a:cubicBezTo>
                <a:cubicBezTo>
                  <a:pt x="317" y="178"/>
                  <a:pt x="317" y="178"/>
                  <a:pt x="317" y="178"/>
                </a:cubicBezTo>
                <a:cubicBezTo>
                  <a:pt x="318" y="177"/>
                  <a:pt x="318" y="177"/>
                  <a:pt x="318" y="177"/>
                </a:cubicBezTo>
                <a:cubicBezTo>
                  <a:pt x="318" y="177"/>
                  <a:pt x="318" y="177"/>
                  <a:pt x="318" y="177"/>
                </a:cubicBezTo>
                <a:cubicBezTo>
                  <a:pt x="317" y="177"/>
                  <a:pt x="317" y="177"/>
                  <a:pt x="317" y="177"/>
                </a:cubicBezTo>
                <a:cubicBezTo>
                  <a:pt x="316" y="176"/>
                  <a:pt x="316" y="176"/>
                  <a:pt x="316" y="176"/>
                </a:cubicBezTo>
                <a:cubicBezTo>
                  <a:pt x="318" y="174"/>
                  <a:pt x="318" y="174"/>
                  <a:pt x="318" y="174"/>
                </a:cubicBezTo>
                <a:cubicBezTo>
                  <a:pt x="318" y="172"/>
                  <a:pt x="318" y="172"/>
                  <a:pt x="318" y="172"/>
                </a:cubicBezTo>
                <a:cubicBezTo>
                  <a:pt x="318" y="171"/>
                  <a:pt x="318" y="171"/>
                  <a:pt x="318" y="171"/>
                </a:cubicBezTo>
                <a:cubicBezTo>
                  <a:pt x="319" y="171"/>
                  <a:pt x="319" y="171"/>
                  <a:pt x="319" y="171"/>
                </a:cubicBezTo>
                <a:cubicBezTo>
                  <a:pt x="319" y="170"/>
                  <a:pt x="319" y="170"/>
                  <a:pt x="319" y="170"/>
                </a:cubicBezTo>
                <a:cubicBezTo>
                  <a:pt x="318" y="169"/>
                  <a:pt x="318" y="169"/>
                  <a:pt x="318" y="169"/>
                </a:cubicBezTo>
                <a:cubicBezTo>
                  <a:pt x="319" y="168"/>
                  <a:pt x="319" y="168"/>
                  <a:pt x="319" y="168"/>
                </a:cubicBezTo>
                <a:cubicBezTo>
                  <a:pt x="319" y="167"/>
                  <a:pt x="319" y="167"/>
                  <a:pt x="319" y="167"/>
                </a:cubicBezTo>
                <a:cubicBezTo>
                  <a:pt x="320" y="164"/>
                  <a:pt x="320" y="164"/>
                  <a:pt x="320" y="164"/>
                </a:cubicBezTo>
                <a:cubicBezTo>
                  <a:pt x="321" y="164"/>
                  <a:pt x="321" y="164"/>
                  <a:pt x="321" y="164"/>
                </a:cubicBezTo>
                <a:cubicBezTo>
                  <a:pt x="321" y="163"/>
                  <a:pt x="321" y="163"/>
                  <a:pt x="321" y="163"/>
                </a:cubicBezTo>
                <a:cubicBezTo>
                  <a:pt x="322" y="162"/>
                  <a:pt x="322" y="162"/>
                  <a:pt x="322" y="162"/>
                </a:cubicBezTo>
                <a:cubicBezTo>
                  <a:pt x="322" y="160"/>
                  <a:pt x="322" y="160"/>
                  <a:pt x="322" y="160"/>
                </a:cubicBezTo>
                <a:cubicBezTo>
                  <a:pt x="323" y="160"/>
                  <a:pt x="323" y="160"/>
                  <a:pt x="323" y="160"/>
                </a:cubicBezTo>
                <a:cubicBezTo>
                  <a:pt x="323" y="158"/>
                  <a:pt x="323" y="158"/>
                  <a:pt x="323" y="158"/>
                </a:cubicBezTo>
                <a:cubicBezTo>
                  <a:pt x="325" y="157"/>
                  <a:pt x="325" y="157"/>
                  <a:pt x="325" y="157"/>
                </a:cubicBezTo>
                <a:cubicBezTo>
                  <a:pt x="325" y="155"/>
                  <a:pt x="325" y="155"/>
                  <a:pt x="325" y="155"/>
                </a:cubicBezTo>
                <a:cubicBezTo>
                  <a:pt x="326" y="155"/>
                  <a:pt x="326" y="155"/>
                  <a:pt x="326" y="155"/>
                </a:cubicBezTo>
                <a:cubicBezTo>
                  <a:pt x="326" y="154"/>
                  <a:pt x="326" y="154"/>
                  <a:pt x="326" y="154"/>
                </a:cubicBezTo>
                <a:cubicBezTo>
                  <a:pt x="326" y="153"/>
                  <a:pt x="326" y="153"/>
                  <a:pt x="326" y="153"/>
                </a:cubicBezTo>
                <a:cubicBezTo>
                  <a:pt x="327" y="152"/>
                  <a:pt x="327" y="152"/>
                  <a:pt x="327" y="152"/>
                </a:cubicBezTo>
                <a:cubicBezTo>
                  <a:pt x="327" y="152"/>
                  <a:pt x="327" y="152"/>
                  <a:pt x="327" y="152"/>
                </a:cubicBezTo>
                <a:cubicBezTo>
                  <a:pt x="328" y="154"/>
                  <a:pt x="328" y="154"/>
                  <a:pt x="328" y="154"/>
                </a:cubicBezTo>
                <a:cubicBezTo>
                  <a:pt x="329" y="155"/>
                  <a:pt x="329" y="155"/>
                  <a:pt x="329" y="155"/>
                </a:cubicBezTo>
                <a:cubicBezTo>
                  <a:pt x="330" y="155"/>
                  <a:pt x="330" y="155"/>
                  <a:pt x="330" y="155"/>
                </a:cubicBezTo>
                <a:cubicBezTo>
                  <a:pt x="330" y="154"/>
                  <a:pt x="330" y="154"/>
                  <a:pt x="330" y="154"/>
                </a:cubicBezTo>
                <a:cubicBezTo>
                  <a:pt x="329" y="152"/>
                  <a:pt x="329" y="152"/>
                  <a:pt x="329" y="152"/>
                </a:cubicBezTo>
                <a:cubicBezTo>
                  <a:pt x="329" y="152"/>
                  <a:pt x="329" y="152"/>
                  <a:pt x="329" y="152"/>
                </a:cubicBezTo>
                <a:cubicBezTo>
                  <a:pt x="330" y="152"/>
                  <a:pt x="330" y="152"/>
                  <a:pt x="330" y="152"/>
                </a:cubicBezTo>
                <a:cubicBezTo>
                  <a:pt x="329" y="150"/>
                  <a:pt x="329" y="150"/>
                  <a:pt x="329" y="150"/>
                </a:cubicBezTo>
                <a:cubicBezTo>
                  <a:pt x="330" y="149"/>
                  <a:pt x="330" y="149"/>
                  <a:pt x="330" y="149"/>
                </a:cubicBezTo>
                <a:cubicBezTo>
                  <a:pt x="333" y="148"/>
                  <a:pt x="333" y="148"/>
                  <a:pt x="333" y="148"/>
                </a:cubicBezTo>
                <a:cubicBezTo>
                  <a:pt x="335" y="148"/>
                  <a:pt x="335" y="148"/>
                  <a:pt x="335" y="148"/>
                </a:cubicBezTo>
                <a:cubicBezTo>
                  <a:pt x="336" y="148"/>
                  <a:pt x="336" y="148"/>
                  <a:pt x="336" y="148"/>
                </a:cubicBezTo>
                <a:cubicBezTo>
                  <a:pt x="336" y="148"/>
                  <a:pt x="336" y="148"/>
                  <a:pt x="336" y="148"/>
                </a:cubicBezTo>
                <a:cubicBezTo>
                  <a:pt x="337" y="148"/>
                  <a:pt x="337" y="148"/>
                  <a:pt x="337" y="148"/>
                </a:cubicBezTo>
                <a:cubicBezTo>
                  <a:pt x="338" y="149"/>
                  <a:pt x="338" y="149"/>
                  <a:pt x="338" y="149"/>
                </a:cubicBezTo>
                <a:cubicBezTo>
                  <a:pt x="339" y="148"/>
                  <a:pt x="339" y="148"/>
                  <a:pt x="339" y="148"/>
                </a:cubicBezTo>
                <a:cubicBezTo>
                  <a:pt x="340" y="148"/>
                  <a:pt x="340" y="148"/>
                  <a:pt x="340" y="148"/>
                </a:cubicBezTo>
                <a:cubicBezTo>
                  <a:pt x="341" y="150"/>
                  <a:pt x="341" y="150"/>
                  <a:pt x="341" y="150"/>
                </a:cubicBezTo>
                <a:cubicBezTo>
                  <a:pt x="342" y="150"/>
                  <a:pt x="342" y="150"/>
                  <a:pt x="342" y="150"/>
                </a:cubicBezTo>
                <a:cubicBezTo>
                  <a:pt x="342" y="150"/>
                  <a:pt x="342" y="150"/>
                  <a:pt x="342" y="150"/>
                </a:cubicBezTo>
                <a:cubicBezTo>
                  <a:pt x="343" y="150"/>
                  <a:pt x="343" y="150"/>
                  <a:pt x="343" y="150"/>
                </a:cubicBezTo>
                <a:cubicBezTo>
                  <a:pt x="344" y="152"/>
                  <a:pt x="344" y="152"/>
                  <a:pt x="344" y="152"/>
                </a:cubicBezTo>
                <a:cubicBezTo>
                  <a:pt x="344" y="153"/>
                  <a:pt x="344" y="153"/>
                  <a:pt x="344" y="153"/>
                </a:cubicBezTo>
                <a:cubicBezTo>
                  <a:pt x="344" y="153"/>
                  <a:pt x="344" y="153"/>
                  <a:pt x="344" y="153"/>
                </a:cubicBezTo>
                <a:cubicBezTo>
                  <a:pt x="345" y="153"/>
                  <a:pt x="345" y="153"/>
                  <a:pt x="345" y="153"/>
                </a:cubicBezTo>
                <a:cubicBezTo>
                  <a:pt x="347" y="153"/>
                  <a:pt x="347" y="153"/>
                  <a:pt x="347" y="153"/>
                </a:cubicBezTo>
                <a:cubicBezTo>
                  <a:pt x="350" y="153"/>
                  <a:pt x="350" y="153"/>
                  <a:pt x="350" y="153"/>
                </a:cubicBezTo>
                <a:cubicBezTo>
                  <a:pt x="351" y="154"/>
                  <a:pt x="351" y="154"/>
                  <a:pt x="351" y="154"/>
                </a:cubicBezTo>
                <a:cubicBezTo>
                  <a:pt x="351" y="155"/>
                  <a:pt x="351" y="155"/>
                  <a:pt x="351" y="155"/>
                </a:cubicBezTo>
                <a:cubicBezTo>
                  <a:pt x="352" y="156"/>
                  <a:pt x="352" y="156"/>
                  <a:pt x="352" y="156"/>
                </a:cubicBezTo>
                <a:cubicBezTo>
                  <a:pt x="352" y="157"/>
                  <a:pt x="352" y="157"/>
                  <a:pt x="352" y="157"/>
                </a:cubicBezTo>
                <a:cubicBezTo>
                  <a:pt x="352" y="156"/>
                  <a:pt x="352" y="156"/>
                  <a:pt x="352" y="156"/>
                </a:cubicBezTo>
                <a:cubicBezTo>
                  <a:pt x="351" y="156"/>
                  <a:pt x="351" y="156"/>
                  <a:pt x="351" y="156"/>
                </a:cubicBezTo>
                <a:cubicBezTo>
                  <a:pt x="351" y="158"/>
                  <a:pt x="351" y="158"/>
                  <a:pt x="351" y="158"/>
                </a:cubicBezTo>
                <a:cubicBezTo>
                  <a:pt x="349" y="159"/>
                  <a:pt x="349" y="159"/>
                  <a:pt x="349" y="159"/>
                </a:cubicBezTo>
                <a:cubicBezTo>
                  <a:pt x="348" y="161"/>
                  <a:pt x="348" y="161"/>
                  <a:pt x="348" y="161"/>
                </a:cubicBezTo>
                <a:cubicBezTo>
                  <a:pt x="347" y="161"/>
                  <a:pt x="347" y="161"/>
                  <a:pt x="347" y="161"/>
                </a:cubicBezTo>
                <a:cubicBezTo>
                  <a:pt x="347" y="162"/>
                  <a:pt x="347" y="162"/>
                  <a:pt x="347" y="162"/>
                </a:cubicBezTo>
                <a:cubicBezTo>
                  <a:pt x="344" y="164"/>
                  <a:pt x="344" y="164"/>
                  <a:pt x="344" y="164"/>
                </a:cubicBezTo>
                <a:cubicBezTo>
                  <a:pt x="343" y="165"/>
                  <a:pt x="343" y="165"/>
                  <a:pt x="343" y="165"/>
                </a:cubicBezTo>
                <a:cubicBezTo>
                  <a:pt x="342" y="165"/>
                  <a:pt x="342" y="165"/>
                  <a:pt x="342" y="165"/>
                </a:cubicBezTo>
                <a:cubicBezTo>
                  <a:pt x="341" y="166"/>
                  <a:pt x="341" y="166"/>
                  <a:pt x="341" y="166"/>
                </a:cubicBezTo>
                <a:cubicBezTo>
                  <a:pt x="342" y="166"/>
                  <a:pt x="342" y="166"/>
                  <a:pt x="342" y="166"/>
                </a:cubicBezTo>
                <a:cubicBezTo>
                  <a:pt x="341" y="167"/>
                  <a:pt x="341" y="167"/>
                  <a:pt x="341" y="167"/>
                </a:cubicBezTo>
                <a:cubicBezTo>
                  <a:pt x="339" y="169"/>
                  <a:pt x="339" y="169"/>
                  <a:pt x="339" y="169"/>
                </a:cubicBezTo>
                <a:cubicBezTo>
                  <a:pt x="338" y="170"/>
                  <a:pt x="338" y="170"/>
                  <a:pt x="338" y="170"/>
                </a:cubicBezTo>
                <a:cubicBezTo>
                  <a:pt x="336" y="172"/>
                  <a:pt x="336" y="172"/>
                  <a:pt x="336" y="172"/>
                </a:cubicBezTo>
                <a:cubicBezTo>
                  <a:pt x="334" y="173"/>
                  <a:pt x="334" y="173"/>
                  <a:pt x="334" y="173"/>
                </a:cubicBezTo>
                <a:cubicBezTo>
                  <a:pt x="333" y="172"/>
                  <a:pt x="333" y="172"/>
                  <a:pt x="333" y="172"/>
                </a:cubicBezTo>
                <a:cubicBezTo>
                  <a:pt x="333" y="172"/>
                  <a:pt x="333" y="172"/>
                  <a:pt x="333" y="172"/>
                </a:cubicBezTo>
                <a:cubicBezTo>
                  <a:pt x="332" y="172"/>
                  <a:pt x="332" y="172"/>
                  <a:pt x="332" y="172"/>
                </a:cubicBezTo>
                <a:cubicBezTo>
                  <a:pt x="331" y="170"/>
                  <a:pt x="331" y="170"/>
                  <a:pt x="331" y="170"/>
                </a:cubicBezTo>
                <a:cubicBezTo>
                  <a:pt x="330" y="169"/>
                  <a:pt x="330" y="169"/>
                  <a:pt x="330" y="169"/>
                </a:cubicBezTo>
                <a:cubicBezTo>
                  <a:pt x="330" y="169"/>
                  <a:pt x="330" y="169"/>
                  <a:pt x="330" y="169"/>
                </a:cubicBezTo>
                <a:cubicBezTo>
                  <a:pt x="329" y="169"/>
                  <a:pt x="329" y="169"/>
                  <a:pt x="329" y="169"/>
                </a:cubicBezTo>
                <a:cubicBezTo>
                  <a:pt x="328" y="169"/>
                  <a:pt x="328" y="169"/>
                  <a:pt x="328" y="169"/>
                </a:cubicBezTo>
                <a:cubicBezTo>
                  <a:pt x="326" y="169"/>
                  <a:pt x="326" y="169"/>
                  <a:pt x="326" y="169"/>
                </a:cubicBezTo>
                <a:cubicBezTo>
                  <a:pt x="326" y="169"/>
                  <a:pt x="326" y="169"/>
                  <a:pt x="326" y="169"/>
                </a:cubicBezTo>
                <a:cubicBezTo>
                  <a:pt x="325" y="169"/>
                  <a:pt x="325" y="169"/>
                  <a:pt x="325" y="169"/>
                </a:cubicBezTo>
                <a:cubicBezTo>
                  <a:pt x="324" y="169"/>
                  <a:pt x="324" y="169"/>
                  <a:pt x="324" y="169"/>
                </a:cubicBezTo>
                <a:cubicBezTo>
                  <a:pt x="325" y="170"/>
                  <a:pt x="325" y="170"/>
                  <a:pt x="325" y="170"/>
                </a:cubicBezTo>
                <a:cubicBezTo>
                  <a:pt x="327" y="170"/>
                  <a:pt x="327" y="170"/>
                  <a:pt x="327" y="170"/>
                </a:cubicBezTo>
                <a:cubicBezTo>
                  <a:pt x="327" y="171"/>
                  <a:pt x="327" y="171"/>
                  <a:pt x="327" y="171"/>
                </a:cubicBezTo>
                <a:cubicBezTo>
                  <a:pt x="326" y="172"/>
                  <a:pt x="326" y="172"/>
                  <a:pt x="326" y="172"/>
                </a:cubicBezTo>
                <a:cubicBezTo>
                  <a:pt x="327" y="173"/>
                  <a:pt x="327" y="173"/>
                  <a:pt x="327" y="173"/>
                </a:cubicBezTo>
                <a:cubicBezTo>
                  <a:pt x="327" y="174"/>
                  <a:pt x="327" y="174"/>
                  <a:pt x="327" y="174"/>
                </a:cubicBezTo>
                <a:cubicBezTo>
                  <a:pt x="326" y="175"/>
                  <a:pt x="326" y="175"/>
                  <a:pt x="326" y="175"/>
                </a:cubicBezTo>
                <a:cubicBezTo>
                  <a:pt x="325" y="176"/>
                  <a:pt x="325" y="176"/>
                  <a:pt x="325" y="176"/>
                </a:cubicBezTo>
                <a:cubicBezTo>
                  <a:pt x="325" y="176"/>
                  <a:pt x="325" y="176"/>
                  <a:pt x="325" y="176"/>
                </a:cubicBezTo>
                <a:cubicBezTo>
                  <a:pt x="323" y="176"/>
                  <a:pt x="323" y="176"/>
                  <a:pt x="323" y="176"/>
                </a:cubicBezTo>
                <a:cubicBezTo>
                  <a:pt x="323" y="177"/>
                  <a:pt x="323" y="177"/>
                  <a:pt x="323" y="177"/>
                </a:cubicBezTo>
                <a:cubicBezTo>
                  <a:pt x="322" y="178"/>
                  <a:pt x="322" y="178"/>
                  <a:pt x="322" y="178"/>
                </a:cubicBezTo>
                <a:cubicBezTo>
                  <a:pt x="321" y="179"/>
                  <a:pt x="321" y="179"/>
                  <a:pt x="321" y="179"/>
                </a:cubicBezTo>
                <a:cubicBezTo>
                  <a:pt x="320" y="179"/>
                  <a:pt x="320" y="179"/>
                  <a:pt x="320" y="179"/>
                </a:cubicBezTo>
                <a:cubicBezTo>
                  <a:pt x="320" y="180"/>
                  <a:pt x="320" y="180"/>
                  <a:pt x="320" y="180"/>
                </a:cubicBezTo>
                <a:cubicBezTo>
                  <a:pt x="320" y="180"/>
                  <a:pt x="320" y="181"/>
                  <a:pt x="320" y="181"/>
                </a:cubicBezTo>
                <a:close/>
                <a:moveTo>
                  <a:pt x="397" y="186"/>
                </a:moveTo>
                <a:cubicBezTo>
                  <a:pt x="395" y="185"/>
                  <a:pt x="395" y="185"/>
                  <a:pt x="395" y="185"/>
                </a:cubicBezTo>
                <a:cubicBezTo>
                  <a:pt x="394" y="185"/>
                  <a:pt x="394" y="185"/>
                  <a:pt x="394" y="185"/>
                </a:cubicBezTo>
                <a:cubicBezTo>
                  <a:pt x="394" y="183"/>
                  <a:pt x="394" y="183"/>
                  <a:pt x="394" y="183"/>
                </a:cubicBezTo>
                <a:cubicBezTo>
                  <a:pt x="393" y="183"/>
                  <a:pt x="393" y="183"/>
                  <a:pt x="393" y="183"/>
                </a:cubicBezTo>
                <a:cubicBezTo>
                  <a:pt x="392" y="182"/>
                  <a:pt x="392" y="182"/>
                  <a:pt x="392" y="182"/>
                </a:cubicBezTo>
                <a:cubicBezTo>
                  <a:pt x="393" y="180"/>
                  <a:pt x="393" y="180"/>
                  <a:pt x="393" y="180"/>
                </a:cubicBezTo>
                <a:cubicBezTo>
                  <a:pt x="394" y="179"/>
                  <a:pt x="394" y="179"/>
                  <a:pt x="394" y="179"/>
                </a:cubicBezTo>
                <a:cubicBezTo>
                  <a:pt x="394" y="178"/>
                  <a:pt x="394" y="178"/>
                  <a:pt x="394" y="178"/>
                </a:cubicBezTo>
                <a:cubicBezTo>
                  <a:pt x="394" y="177"/>
                  <a:pt x="394" y="177"/>
                  <a:pt x="394" y="177"/>
                </a:cubicBezTo>
                <a:cubicBezTo>
                  <a:pt x="394" y="176"/>
                  <a:pt x="394" y="176"/>
                  <a:pt x="394" y="176"/>
                </a:cubicBezTo>
                <a:cubicBezTo>
                  <a:pt x="393" y="176"/>
                  <a:pt x="393" y="176"/>
                  <a:pt x="393" y="176"/>
                </a:cubicBezTo>
                <a:cubicBezTo>
                  <a:pt x="392" y="175"/>
                  <a:pt x="392" y="175"/>
                  <a:pt x="392" y="175"/>
                </a:cubicBezTo>
                <a:cubicBezTo>
                  <a:pt x="393" y="173"/>
                  <a:pt x="393" y="173"/>
                  <a:pt x="393" y="173"/>
                </a:cubicBezTo>
                <a:cubicBezTo>
                  <a:pt x="394" y="173"/>
                  <a:pt x="394" y="173"/>
                  <a:pt x="394" y="173"/>
                </a:cubicBezTo>
                <a:cubicBezTo>
                  <a:pt x="394" y="172"/>
                  <a:pt x="394" y="172"/>
                  <a:pt x="394" y="172"/>
                </a:cubicBezTo>
                <a:cubicBezTo>
                  <a:pt x="394" y="171"/>
                  <a:pt x="394" y="171"/>
                  <a:pt x="394" y="171"/>
                </a:cubicBezTo>
                <a:cubicBezTo>
                  <a:pt x="395" y="170"/>
                  <a:pt x="395" y="170"/>
                  <a:pt x="395" y="170"/>
                </a:cubicBezTo>
                <a:cubicBezTo>
                  <a:pt x="395" y="168"/>
                  <a:pt x="395" y="168"/>
                  <a:pt x="395" y="168"/>
                </a:cubicBezTo>
                <a:cubicBezTo>
                  <a:pt x="396" y="168"/>
                  <a:pt x="396" y="168"/>
                  <a:pt x="396" y="168"/>
                </a:cubicBezTo>
                <a:cubicBezTo>
                  <a:pt x="397" y="169"/>
                  <a:pt x="397" y="169"/>
                  <a:pt x="397" y="169"/>
                </a:cubicBezTo>
                <a:cubicBezTo>
                  <a:pt x="397" y="170"/>
                  <a:pt x="397" y="170"/>
                  <a:pt x="397" y="170"/>
                </a:cubicBezTo>
                <a:cubicBezTo>
                  <a:pt x="400" y="170"/>
                  <a:pt x="400" y="170"/>
                  <a:pt x="400" y="170"/>
                </a:cubicBezTo>
                <a:cubicBezTo>
                  <a:pt x="401" y="171"/>
                  <a:pt x="401" y="171"/>
                  <a:pt x="401" y="171"/>
                </a:cubicBezTo>
                <a:cubicBezTo>
                  <a:pt x="402" y="172"/>
                  <a:pt x="402" y="172"/>
                  <a:pt x="402" y="172"/>
                </a:cubicBezTo>
                <a:cubicBezTo>
                  <a:pt x="403" y="171"/>
                  <a:pt x="403" y="171"/>
                  <a:pt x="403" y="171"/>
                </a:cubicBezTo>
                <a:cubicBezTo>
                  <a:pt x="405" y="172"/>
                  <a:pt x="405" y="172"/>
                  <a:pt x="405" y="172"/>
                </a:cubicBezTo>
                <a:cubicBezTo>
                  <a:pt x="407" y="172"/>
                  <a:pt x="407" y="172"/>
                  <a:pt x="407" y="172"/>
                </a:cubicBezTo>
                <a:cubicBezTo>
                  <a:pt x="407" y="173"/>
                  <a:pt x="407" y="173"/>
                  <a:pt x="407" y="173"/>
                </a:cubicBezTo>
                <a:cubicBezTo>
                  <a:pt x="408" y="174"/>
                  <a:pt x="408" y="174"/>
                  <a:pt x="408" y="174"/>
                </a:cubicBezTo>
                <a:cubicBezTo>
                  <a:pt x="410" y="175"/>
                  <a:pt x="410" y="175"/>
                  <a:pt x="410" y="175"/>
                </a:cubicBezTo>
                <a:cubicBezTo>
                  <a:pt x="410" y="176"/>
                  <a:pt x="410" y="176"/>
                  <a:pt x="410" y="176"/>
                </a:cubicBezTo>
                <a:cubicBezTo>
                  <a:pt x="410" y="177"/>
                  <a:pt x="410" y="177"/>
                  <a:pt x="410" y="177"/>
                </a:cubicBezTo>
                <a:cubicBezTo>
                  <a:pt x="410" y="178"/>
                  <a:pt x="410" y="178"/>
                  <a:pt x="410" y="178"/>
                </a:cubicBezTo>
                <a:cubicBezTo>
                  <a:pt x="411" y="179"/>
                  <a:pt x="411" y="179"/>
                  <a:pt x="411" y="179"/>
                </a:cubicBezTo>
                <a:cubicBezTo>
                  <a:pt x="410" y="180"/>
                  <a:pt x="410" y="180"/>
                  <a:pt x="410" y="180"/>
                </a:cubicBezTo>
                <a:cubicBezTo>
                  <a:pt x="411" y="181"/>
                  <a:pt x="411" y="181"/>
                  <a:pt x="411" y="181"/>
                </a:cubicBezTo>
                <a:cubicBezTo>
                  <a:pt x="411" y="182"/>
                  <a:pt x="411" y="182"/>
                  <a:pt x="411" y="182"/>
                </a:cubicBezTo>
                <a:cubicBezTo>
                  <a:pt x="411" y="183"/>
                  <a:pt x="411" y="183"/>
                  <a:pt x="411" y="183"/>
                </a:cubicBezTo>
                <a:cubicBezTo>
                  <a:pt x="411" y="184"/>
                  <a:pt x="411" y="184"/>
                  <a:pt x="411" y="184"/>
                </a:cubicBezTo>
                <a:cubicBezTo>
                  <a:pt x="410" y="185"/>
                  <a:pt x="410" y="185"/>
                  <a:pt x="410" y="185"/>
                </a:cubicBezTo>
                <a:cubicBezTo>
                  <a:pt x="412" y="185"/>
                  <a:pt x="412" y="185"/>
                  <a:pt x="412" y="185"/>
                </a:cubicBezTo>
                <a:cubicBezTo>
                  <a:pt x="412" y="186"/>
                  <a:pt x="412" y="186"/>
                  <a:pt x="412" y="186"/>
                </a:cubicBezTo>
                <a:cubicBezTo>
                  <a:pt x="411" y="186"/>
                  <a:pt x="411" y="186"/>
                  <a:pt x="411" y="186"/>
                </a:cubicBezTo>
                <a:cubicBezTo>
                  <a:pt x="411" y="187"/>
                  <a:pt x="411" y="187"/>
                  <a:pt x="411" y="187"/>
                </a:cubicBezTo>
                <a:cubicBezTo>
                  <a:pt x="408" y="187"/>
                  <a:pt x="408" y="187"/>
                  <a:pt x="408" y="187"/>
                </a:cubicBezTo>
                <a:cubicBezTo>
                  <a:pt x="408" y="186"/>
                  <a:pt x="408" y="186"/>
                  <a:pt x="408" y="186"/>
                </a:cubicBezTo>
                <a:cubicBezTo>
                  <a:pt x="406" y="186"/>
                  <a:pt x="406" y="186"/>
                  <a:pt x="406" y="186"/>
                </a:cubicBezTo>
                <a:cubicBezTo>
                  <a:pt x="405" y="185"/>
                  <a:pt x="405" y="185"/>
                  <a:pt x="405" y="185"/>
                </a:cubicBezTo>
                <a:cubicBezTo>
                  <a:pt x="403" y="185"/>
                  <a:pt x="403" y="185"/>
                  <a:pt x="403" y="185"/>
                </a:cubicBezTo>
                <a:cubicBezTo>
                  <a:pt x="403" y="185"/>
                  <a:pt x="403" y="185"/>
                  <a:pt x="403" y="185"/>
                </a:cubicBezTo>
                <a:cubicBezTo>
                  <a:pt x="402" y="184"/>
                  <a:pt x="402" y="184"/>
                  <a:pt x="402" y="184"/>
                </a:cubicBezTo>
                <a:cubicBezTo>
                  <a:pt x="400" y="185"/>
                  <a:pt x="400" y="185"/>
                  <a:pt x="400" y="185"/>
                </a:cubicBezTo>
                <a:cubicBezTo>
                  <a:pt x="399" y="185"/>
                  <a:pt x="399" y="185"/>
                  <a:pt x="399" y="185"/>
                </a:cubicBezTo>
                <a:cubicBezTo>
                  <a:pt x="398" y="186"/>
                  <a:pt x="398" y="186"/>
                  <a:pt x="398" y="186"/>
                </a:cubicBezTo>
                <a:cubicBezTo>
                  <a:pt x="397" y="186"/>
                  <a:pt x="397" y="186"/>
                  <a:pt x="397" y="186"/>
                </a:cubicBezTo>
                <a:close/>
                <a:moveTo>
                  <a:pt x="390" y="188"/>
                </a:moveTo>
                <a:cubicBezTo>
                  <a:pt x="390" y="187"/>
                  <a:pt x="390" y="187"/>
                  <a:pt x="390" y="187"/>
                </a:cubicBezTo>
                <a:cubicBezTo>
                  <a:pt x="390" y="186"/>
                  <a:pt x="390" y="186"/>
                  <a:pt x="390" y="186"/>
                </a:cubicBezTo>
                <a:cubicBezTo>
                  <a:pt x="391" y="186"/>
                  <a:pt x="391" y="186"/>
                  <a:pt x="391" y="186"/>
                </a:cubicBezTo>
                <a:cubicBezTo>
                  <a:pt x="391" y="187"/>
                  <a:pt x="391" y="187"/>
                  <a:pt x="391" y="187"/>
                </a:cubicBezTo>
                <a:cubicBezTo>
                  <a:pt x="390" y="188"/>
                  <a:pt x="390" y="188"/>
                  <a:pt x="390" y="188"/>
                </a:cubicBezTo>
                <a:close/>
                <a:moveTo>
                  <a:pt x="392" y="189"/>
                </a:moveTo>
                <a:cubicBezTo>
                  <a:pt x="391" y="188"/>
                  <a:pt x="391" y="188"/>
                  <a:pt x="391" y="188"/>
                </a:cubicBezTo>
                <a:cubicBezTo>
                  <a:pt x="392" y="188"/>
                  <a:pt x="392" y="188"/>
                  <a:pt x="392" y="188"/>
                </a:cubicBezTo>
                <a:cubicBezTo>
                  <a:pt x="392" y="188"/>
                  <a:pt x="392" y="188"/>
                  <a:pt x="392" y="188"/>
                </a:cubicBezTo>
                <a:cubicBezTo>
                  <a:pt x="392" y="189"/>
                  <a:pt x="392" y="189"/>
                  <a:pt x="392" y="189"/>
                </a:cubicBezTo>
                <a:cubicBezTo>
                  <a:pt x="392" y="189"/>
                  <a:pt x="392" y="189"/>
                  <a:pt x="392" y="189"/>
                </a:cubicBezTo>
                <a:close/>
                <a:moveTo>
                  <a:pt x="395" y="189"/>
                </a:moveTo>
                <a:cubicBezTo>
                  <a:pt x="394" y="189"/>
                  <a:pt x="394" y="189"/>
                  <a:pt x="394" y="189"/>
                </a:cubicBezTo>
                <a:cubicBezTo>
                  <a:pt x="394" y="188"/>
                  <a:pt x="394" y="188"/>
                  <a:pt x="394" y="188"/>
                </a:cubicBezTo>
                <a:cubicBezTo>
                  <a:pt x="395" y="188"/>
                  <a:pt x="395" y="188"/>
                  <a:pt x="395" y="188"/>
                </a:cubicBezTo>
                <a:cubicBezTo>
                  <a:pt x="395" y="189"/>
                  <a:pt x="395" y="189"/>
                  <a:pt x="395" y="189"/>
                </a:cubicBezTo>
                <a:cubicBezTo>
                  <a:pt x="395" y="189"/>
                  <a:pt x="395" y="189"/>
                  <a:pt x="395" y="189"/>
                </a:cubicBezTo>
                <a:close/>
                <a:moveTo>
                  <a:pt x="317" y="216"/>
                </a:moveTo>
                <a:cubicBezTo>
                  <a:pt x="317" y="215"/>
                  <a:pt x="317" y="215"/>
                  <a:pt x="317" y="215"/>
                </a:cubicBezTo>
                <a:cubicBezTo>
                  <a:pt x="317" y="214"/>
                  <a:pt x="317" y="214"/>
                  <a:pt x="317" y="214"/>
                </a:cubicBezTo>
                <a:cubicBezTo>
                  <a:pt x="318" y="214"/>
                  <a:pt x="318" y="214"/>
                  <a:pt x="318" y="214"/>
                </a:cubicBezTo>
                <a:cubicBezTo>
                  <a:pt x="319" y="215"/>
                  <a:pt x="319" y="215"/>
                  <a:pt x="319" y="215"/>
                </a:cubicBezTo>
                <a:cubicBezTo>
                  <a:pt x="318" y="215"/>
                  <a:pt x="318" y="215"/>
                  <a:pt x="318" y="215"/>
                </a:cubicBezTo>
                <a:cubicBezTo>
                  <a:pt x="318" y="215"/>
                  <a:pt x="318" y="215"/>
                  <a:pt x="318" y="215"/>
                </a:cubicBezTo>
                <a:cubicBezTo>
                  <a:pt x="317" y="216"/>
                  <a:pt x="317" y="216"/>
                  <a:pt x="317" y="216"/>
                </a:cubicBezTo>
                <a:close/>
                <a:moveTo>
                  <a:pt x="321" y="222"/>
                </a:moveTo>
                <a:cubicBezTo>
                  <a:pt x="321" y="223"/>
                  <a:pt x="321" y="223"/>
                  <a:pt x="321" y="223"/>
                </a:cubicBezTo>
                <a:cubicBezTo>
                  <a:pt x="322" y="223"/>
                  <a:pt x="322" y="223"/>
                  <a:pt x="322" y="223"/>
                </a:cubicBezTo>
                <a:cubicBezTo>
                  <a:pt x="322" y="223"/>
                  <a:pt x="322" y="223"/>
                  <a:pt x="322" y="223"/>
                </a:cubicBezTo>
                <a:cubicBezTo>
                  <a:pt x="322" y="222"/>
                  <a:pt x="322" y="222"/>
                  <a:pt x="322" y="222"/>
                </a:cubicBezTo>
                <a:cubicBezTo>
                  <a:pt x="322" y="221"/>
                  <a:pt x="322" y="221"/>
                  <a:pt x="322" y="221"/>
                </a:cubicBezTo>
                <a:cubicBezTo>
                  <a:pt x="321" y="222"/>
                  <a:pt x="321" y="222"/>
                  <a:pt x="321" y="222"/>
                </a:cubicBezTo>
                <a:close/>
                <a:moveTo>
                  <a:pt x="320" y="222"/>
                </a:moveTo>
                <a:cubicBezTo>
                  <a:pt x="319" y="223"/>
                  <a:pt x="319" y="223"/>
                  <a:pt x="319" y="223"/>
                </a:cubicBezTo>
                <a:cubicBezTo>
                  <a:pt x="320" y="223"/>
                  <a:pt x="320" y="223"/>
                  <a:pt x="320" y="223"/>
                </a:cubicBezTo>
                <a:cubicBezTo>
                  <a:pt x="320" y="224"/>
                  <a:pt x="320" y="224"/>
                  <a:pt x="320" y="224"/>
                </a:cubicBezTo>
                <a:cubicBezTo>
                  <a:pt x="320" y="224"/>
                  <a:pt x="320" y="224"/>
                  <a:pt x="320" y="224"/>
                </a:cubicBezTo>
                <a:cubicBezTo>
                  <a:pt x="321" y="224"/>
                  <a:pt x="321" y="224"/>
                  <a:pt x="321" y="224"/>
                </a:cubicBezTo>
                <a:cubicBezTo>
                  <a:pt x="320" y="222"/>
                  <a:pt x="320" y="222"/>
                  <a:pt x="320" y="222"/>
                </a:cubicBezTo>
                <a:cubicBezTo>
                  <a:pt x="320" y="222"/>
                  <a:pt x="320" y="222"/>
                  <a:pt x="320" y="222"/>
                </a:cubicBezTo>
                <a:cubicBezTo>
                  <a:pt x="320" y="222"/>
                  <a:pt x="320" y="222"/>
                  <a:pt x="320" y="222"/>
                </a:cubicBezTo>
                <a:close/>
                <a:moveTo>
                  <a:pt x="344" y="218"/>
                </a:moveTo>
                <a:cubicBezTo>
                  <a:pt x="344" y="217"/>
                  <a:pt x="344" y="217"/>
                  <a:pt x="344" y="217"/>
                </a:cubicBezTo>
                <a:cubicBezTo>
                  <a:pt x="343" y="217"/>
                  <a:pt x="343" y="217"/>
                  <a:pt x="343" y="217"/>
                </a:cubicBezTo>
                <a:cubicBezTo>
                  <a:pt x="342" y="216"/>
                  <a:pt x="342" y="216"/>
                  <a:pt x="342" y="216"/>
                </a:cubicBezTo>
                <a:cubicBezTo>
                  <a:pt x="342" y="217"/>
                  <a:pt x="342" y="217"/>
                  <a:pt x="342" y="217"/>
                </a:cubicBezTo>
                <a:cubicBezTo>
                  <a:pt x="341" y="217"/>
                  <a:pt x="341" y="217"/>
                  <a:pt x="341" y="217"/>
                </a:cubicBezTo>
                <a:cubicBezTo>
                  <a:pt x="341" y="216"/>
                  <a:pt x="341" y="216"/>
                  <a:pt x="341" y="216"/>
                </a:cubicBezTo>
                <a:cubicBezTo>
                  <a:pt x="340" y="215"/>
                  <a:pt x="340" y="215"/>
                  <a:pt x="340" y="215"/>
                </a:cubicBezTo>
                <a:cubicBezTo>
                  <a:pt x="342" y="215"/>
                  <a:pt x="342" y="215"/>
                  <a:pt x="342" y="215"/>
                </a:cubicBezTo>
                <a:cubicBezTo>
                  <a:pt x="342" y="214"/>
                  <a:pt x="342" y="214"/>
                  <a:pt x="342" y="214"/>
                </a:cubicBezTo>
                <a:cubicBezTo>
                  <a:pt x="343" y="215"/>
                  <a:pt x="343" y="215"/>
                  <a:pt x="343" y="215"/>
                </a:cubicBezTo>
                <a:cubicBezTo>
                  <a:pt x="344" y="215"/>
                  <a:pt x="344" y="215"/>
                  <a:pt x="344" y="215"/>
                </a:cubicBezTo>
                <a:cubicBezTo>
                  <a:pt x="345" y="216"/>
                  <a:pt x="345" y="216"/>
                  <a:pt x="345" y="216"/>
                </a:cubicBezTo>
                <a:cubicBezTo>
                  <a:pt x="345" y="217"/>
                  <a:pt x="345" y="217"/>
                  <a:pt x="345" y="217"/>
                </a:cubicBezTo>
                <a:cubicBezTo>
                  <a:pt x="345" y="217"/>
                  <a:pt x="345" y="217"/>
                  <a:pt x="345" y="217"/>
                </a:cubicBezTo>
                <a:cubicBezTo>
                  <a:pt x="345" y="217"/>
                  <a:pt x="344" y="218"/>
                  <a:pt x="344" y="218"/>
                </a:cubicBezTo>
                <a:close/>
                <a:moveTo>
                  <a:pt x="358" y="223"/>
                </a:moveTo>
                <a:cubicBezTo>
                  <a:pt x="357" y="223"/>
                  <a:pt x="357" y="223"/>
                  <a:pt x="357" y="223"/>
                </a:cubicBezTo>
                <a:cubicBezTo>
                  <a:pt x="356" y="222"/>
                  <a:pt x="356" y="222"/>
                  <a:pt x="356" y="222"/>
                </a:cubicBezTo>
                <a:cubicBezTo>
                  <a:pt x="357" y="222"/>
                  <a:pt x="357" y="222"/>
                  <a:pt x="357" y="222"/>
                </a:cubicBezTo>
                <a:cubicBezTo>
                  <a:pt x="358" y="222"/>
                  <a:pt x="358" y="222"/>
                  <a:pt x="358" y="222"/>
                </a:cubicBezTo>
                <a:cubicBezTo>
                  <a:pt x="358" y="223"/>
                  <a:pt x="358" y="223"/>
                  <a:pt x="358" y="223"/>
                </a:cubicBezTo>
                <a:cubicBezTo>
                  <a:pt x="358" y="223"/>
                  <a:pt x="358" y="223"/>
                  <a:pt x="358" y="223"/>
                </a:cubicBezTo>
                <a:close/>
                <a:moveTo>
                  <a:pt x="359" y="223"/>
                </a:moveTo>
                <a:cubicBezTo>
                  <a:pt x="360" y="224"/>
                  <a:pt x="360" y="224"/>
                  <a:pt x="360" y="224"/>
                </a:cubicBezTo>
                <a:cubicBezTo>
                  <a:pt x="360" y="223"/>
                  <a:pt x="360" y="223"/>
                  <a:pt x="360" y="223"/>
                </a:cubicBezTo>
                <a:cubicBezTo>
                  <a:pt x="359" y="223"/>
                  <a:pt x="359" y="223"/>
                  <a:pt x="359" y="223"/>
                </a:cubicBezTo>
                <a:close/>
                <a:moveTo>
                  <a:pt x="361" y="224"/>
                </a:moveTo>
                <a:cubicBezTo>
                  <a:pt x="362" y="224"/>
                  <a:pt x="362" y="224"/>
                  <a:pt x="362" y="224"/>
                </a:cubicBezTo>
                <a:cubicBezTo>
                  <a:pt x="362" y="225"/>
                  <a:pt x="362" y="225"/>
                  <a:pt x="362" y="225"/>
                </a:cubicBezTo>
                <a:cubicBezTo>
                  <a:pt x="363" y="224"/>
                  <a:pt x="363" y="224"/>
                  <a:pt x="363" y="224"/>
                </a:cubicBezTo>
                <a:cubicBezTo>
                  <a:pt x="363" y="224"/>
                  <a:pt x="363" y="224"/>
                  <a:pt x="363" y="224"/>
                </a:cubicBezTo>
                <a:cubicBezTo>
                  <a:pt x="362" y="223"/>
                  <a:pt x="362" y="223"/>
                  <a:pt x="362" y="223"/>
                </a:cubicBezTo>
                <a:cubicBezTo>
                  <a:pt x="362" y="223"/>
                  <a:pt x="362" y="223"/>
                  <a:pt x="362" y="223"/>
                </a:cubicBezTo>
                <a:cubicBezTo>
                  <a:pt x="361" y="223"/>
                  <a:pt x="361" y="223"/>
                  <a:pt x="361" y="223"/>
                </a:cubicBezTo>
                <a:cubicBezTo>
                  <a:pt x="361" y="224"/>
                  <a:pt x="361" y="224"/>
                  <a:pt x="361" y="224"/>
                </a:cubicBezTo>
                <a:cubicBezTo>
                  <a:pt x="361" y="224"/>
                  <a:pt x="361" y="224"/>
                  <a:pt x="361" y="224"/>
                </a:cubicBezTo>
                <a:close/>
                <a:moveTo>
                  <a:pt x="376" y="244"/>
                </a:moveTo>
                <a:cubicBezTo>
                  <a:pt x="376" y="243"/>
                  <a:pt x="376" y="243"/>
                  <a:pt x="376" y="243"/>
                </a:cubicBezTo>
                <a:cubicBezTo>
                  <a:pt x="376" y="242"/>
                  <a:pt x="376" y="242"/>
                  <a:pt x="376" y="242"/>
                </a:cubicBezTo>
                <a:cubicBezTo>
                  <a:pt x="376" y="241"/>
                  <a:pt x="376" y="241"/>
                  <a:pt x="376" y="241"/>
                </a:cubicBezTo>
                <a:cubicBezTo>
                  <a:pt x="376" y="241"/>
                  <a:pt x="376" y="241"/>
                  <a:pt x="376" y="241"/>
                </a:cubicBezTo>
                <a:cubicBezTo>
                  <a:pt x="377" y="242"/>
                  <a:pt x="377" y="242"/>
                  <a:pt x="377" y="242"/>
                </a:cubicBezTo>
                <a:cubicBezTo>
                  <a:pt x="377" y="243"/>
                  <a:pt x="377" y="243"/>
                  <a:pt x="377" y="243"/>
                </a:cubicBezTo>
                <a:cubicBezTo>
                  <a:pt x="377" y="243"/>
                  <a:pt x="377" y="243"/>
                  <a:pt x="377" y="243"/>
                </a:cubicBezTo>
                <a:cubicBezTo>
                  <a:pt x="376" y="244"/>
                  <a:pt x="376" y="244"/>
                  <a:pt x="376" y="244"/>
                </a:cubicBezTo>
                <a:close/>
                <a:moveTo>
                  <a:pt x="374" y="247"/>
                </a:moveTo>
                <a:cubicBezTo>
                  <a:pt x="374" y="246"/>
                  <a:pt x="374" y="246"/>
                  <a:pt x="374" y="246"/>
                </a:cubicBezTo>
                <a:cubicBezTo>
                  <a:pt x="374" y="245"/>
                  <a:pt x="374" y="245"/>
                  <a:pt x="374" y="245"/>
                </a:cubicBezTo>
                <a:cubicBezTo>
                  <a:pt x="375" y="245"/>
                  <a:pt x="375" y="245"/>
                  <a:pt x="375" y="245"/>
                </a:cubicBezTo>
                <a:cubicBezTo>
                  <a:pt x="376" y="245"/>
                  <a:pt x="376" y="245"/>
                  <a:pt x="376" y="245"/>
                </a:cubicBezTo>
                <a:cubicBezTo>
                  <a:pt x="376" y="246"/>
                  <a:pt x="376" y="246"/>
                  <a:pt x="376" y="246"/>
                </a:cubicBezTo>
                <a:cubicBezTo>
                  <a:pt x="375" y="246"/>
                  <a:pt x="375" y="246"/>
                  <a:pt x="375" y="246"/>
                </a:cubicBezTo>
                <a:cubicBezTo>
                  <a:pt x="375" y="247"/>
                  <a:pt x="375" y="247"/>
                  <a:pt x="375" y="247"/>
                </a:cubicBezTo>
                <a:cubicBezTo>
                  <a:pt x="374" y="247"/>
                  <a:pt x="374" y="247"/>
                  <a:pt x="374" y="247"/>
                </a:cubicBezTo>
                <a:close/>
                <a:moveTo>
                  <a:pt x="366" y="228"/>
                </a:moveTo>
                <a:cubicBezTo>
                  <a:pt x="365" y="228"/>
                  <a:pt x="365" y="228"/>
                  <a:pt x="365" y="228"/>
                </a:cubicBezTo>
                <a:cubicBezTo>
                  <a:pt x="366" y="228"/>
                  <a:pt x="366" y="228"/>
                  <a:pt x="366" y="228"/>
                </a:cubicBezTo>
                <a:cubicBezTo>
                  <a:pt x="366" y="228"/>
                  <a:pt x="366" y="228"/>
                  <a:pt x="366" y="228"/>
                </a:cubicBezTo>
                <a:close/>
                <a:moveTo>
                  <a:pt x="364" y="229"/>
                </a:moveTo>
                <a:cubicBezTo>
                  <a:pt x="363" y="227"/>
                  <a:pt x="363" y="227"/>
                  <a:pt x="363" y="227"/>
                </a:cubicBezTo>
                <a:cubicBezTo>
                  <a:pt x="364" y="228"/>
                  <a:pt x="364" y="228"/>
                  <a:pt x="364" y="228"/>
                </a:cubicBezTo>
                <a:cubicBezTo>
                  <a:pt x="364" y="228"/>
                  <a:pt x="364" y="228"/>
                  <a:pt x="364" y="228"/>
                </a:cubicBezTo>
                <a:cubicBezTo>
                  <a:pt x="364" y="229"/>
                  <a:pt x="364" y="229"/>
                  <a:pt x="364" y="229"/>
                </a:cubicBezTo>
                <a:close/>
                <a:moveTo>
                  <a:pt x="364" y="229"/>
                </a:moveTo>
                <a:cubicBezTo>
                  <a:pt x="365" y="230"/>
                  <a:pt x="365" y="230"/>
                  <a:pt x="365" y="230"/>
                </a:cubicBezTo>
                <a:cubicBezTo>
                  <a:pt x="365" y="230"/>
                  <a:pt x="365" y="230"/>
                  <a:pt x="365" y="230"/>
                </a:cubicBezTo>
                <a:cubicBezTo>
                  <a:pt x="366" y="230"/>
                  <a:pt x="366" y="230"/>
                  <a:pt x="366" y="230"/>
                </a:cubicBezTo>
                <a:cubicBezTo>
                  <a:pt x="366" y="230"/>
                  <a:pt x="366" y="230"/>
                  <a:pt x="366" y="230"/>
                </a:cubicBezTo>
                <a:cubicBezTo>
                  <a:pt x="366" y="229"/>
                  <a:pt x="366" y="229"/>
                  <a:pt x="366" y="229"/>
                </a:cubicBezTo>
                <a:cubicBezTo>
                  <a:pt x="365" y="229"/>
                  <a:pt x="365" y="229"/>
                  <a:pt x="365" y="229"/>
                </a:cubicBezTo>
                <a:cubicBezTo>
                  <a:pt x="364" y="229"/>
                  <a:pt x="364" y="229"/>
                  <a:pt x="364" y="229"/>
                </a:cubicBezTo>
                <a:close/>
                <a:moveTo>
                  <a:pt x="372" y="226"/>
                </a:moveTo>
                <a:cubicBezTo>
                  <a:pt x="373" y="226"/>
                  <a:pt x="373" y="226"/>
                  <a:pt x="373" y="226"/>
                </a:cubicBezTo>
                <a:cubicBezTo>
                  <a:pt x="374" y="227"/>
                  <a:pt x="374" y="227"/>
                  <a:pt x="374" y="227"/>
                </a:cubicBezTo>
                <a:cubicBezTo>
                  <a:pt x="374" y="227"/>
                  <a:pt x="374" y="227"/>
                  <a:pt x="374" y="227"/>
                </a:cubicBezTo>
                <a:cubicBezTo>
                  <a:pt x="374" y="228"/>
                  <a:pt x="374" y="228"/>
                  <a:pt x="374" y="228"/>
                </a:cubicBezTo>
                <a:cubicBezTo>
                  <a:pt x="374" y="229"/>
                  <a:pt x="374" y="229"/>
                  <a:pt x="374" y="229"/>
                </a:cubicBezTo>
                <a:cubicBezTo>
                  <a:pt x="375" y="228"/>
                  <a:pt x="375" y="228"/>
                  <a:pt x="375" y="228"/>
                </a:cubicBezTo>
                <a:cubicBezTo>
                  <a:pt x="375" y="227"/>
                  <a:pt x="375" y="227"/>
                  <a:pt x="375" y="227"/>
                </a:cubicBezTo>
                <a:cubicBezTo>
                  <a:pt x="376" y="228"/>
                  <a:pt x="376" y="228"/>
                  <a:pt x="376" y="228"/>
                </a:cubicBezTo>
                <a:cubicBezTo>
                  <a:pt x="377" y="227"/>
                  <a:pt x="377" y="227"/>
                  <a:pt x="377" y="227"/>
                </a:cubicBezTo>
                <a:cubicBezTo>
                  <a:pt x="377" y="228"/>
                  <a:pt x="377" y="228"/>
                  <a:pt x="377" y="228"/>
                </a:cubicBezTo>
                <a:cubicBezTo>
                  <a:pt x="378" y="227"/>
                  <a:pt x="378" y="227"/>
                  <a:pt x="378" y="227"/>
                </a:cubicBezTo>
                <a:cubicBezTo>
                  <a:pt x="377" y="226"/>
                  <a:pt x="377" y="226"/>
                  <a:pt x="377" y="226"/>
                </a:cubicBezTo>
                <a:cubicBezTo>
                  <a:pt x="376" y="226"/>
                  <a:pt x="376" y="226"/>
                  <a:pt x="376" y="226"/>
                </a:cubicBezTo>
                <a:cubicBezTo>
                  <a:pt x="375" y="225"/>
                  <a:pt x="375" y="225"/>
                  <a:pt x="375" y="225"/>
                </a:cubicBezTo>
                <a:cubicBezTo>
                  <a:pt x="373" y="225"/>
                  <a:pt x="373" y="225"/>
                  <a:pt x="373" y="225"/>
                </a:cubicBezTo>
                <a:cubicBezTo>
                  <a:pt x="373" y="225"/>
                  <a:pt x="373" y="225"/>
                  <a:pt x="373" y="225"/>
                </a:cubicBezTo>
                <a:cubicBezTo>
                  <a:pt x="373" y="225"/>
                  <a:pt x="372" y="226"/>
                  <a:pt x="372" y="226"/>
                </a:cubicBezTo>
                <a:close/>
                <a:moveTo>
                  <a:pt x="387" y="225"/>
                </a:moveTo>
                <a:cubicBezTo>
                  <a:pt x="387" y="224"/>
                  <a:pt x="387" y="224"/>
                  <a:pt x="387" y="224"/>
                </a:cubicBezTo>
                <a:cubicBezTo>
                  <a:pt x="387" y="224"/>
                  <a:pt x="387" y="224"/>
                  <a:pt x="387" y="224"/>
                </a:cubicBezTo>
                <a:cubicBezTo>
                  <a:pt x="387" y="225"/>
                  <a:pt x="387" y="225"/>
                  <a:pt x="387" y="225"/>
                </a:cubicBezTo>
                <a:cubicBezTo>
                  <a:pt x="387" y="225"/>
                  <a:pt x="387" y="225"/>
                  <a:pt x="387" y="225"/>
                </a:cubicBezTo>
                <a:close/>
                <a:moveTo>
                  <a:pt x="382" y="231"/>
                </a:moveTo>
                <a:cubicBezTo>
                  <a:pt x="382" y="230"/>
                  <a:pt x="382" y="230"/>
                  <a:pt x="382" y="230"/>
                </a:cubicBezTo>
                <a:cubicBezTo>
                  <a:pt x="383" y="229"/>
                  <a:pt x="383" y="229"/>
                  <a:pt x="383" y="229"/>
                </a:cubicBezTo>
                <a:cubicBezTo>
                  <a:pt x="384" y="229"/>
                  <a:pt x="384" y="229"/>
                  <a:pt x="384" y="229"/>
                </a:cubicBezTo>
                <a:cubicBezTo>
                  <a:pt x="384" y="228"/>
                  <a:pt x="384" y="228"/>
                  <a:pt x="384" y="228"/>
                </a:cubicBezTo>
                <a:cubicBezTo>
                  <a:pt x="385" y="228"/>
                  <a:pt x="385" y="228"/>
                  <a:pt x="385" y="228"/>
                </a:cubicBezTo>
                <a:cubicBezTo>
                  <a:pt x="385" y="229"/>
                  <a:pt x="385" y="229"/>
                  <a:pt x="385" y="229"/>
                </a:cubicBezTo>
                <a:cubicBezTo>
                  <a:pt x="385" y="229"/>
                  <a:pt x="385" y="229"/>
                  <a:pt x="385" y="229"/>
                </a:cubicBezTo>
                <a:cubicBezTo>
                  <a:pt x="384" y="230"/>
                  <a:pt x="384" y="230"/>
                  <a:pt x="384" y="230"/>
                </a:cubicBezTo>
                <a:cubicBezTo>
                  <a:pt x="383" y="231"/>
                  <a:pt x="383" y="231"/>
                  <a:pt x="383" y="231"/>
                </a:cubicBezTo>
                <a:cubicBezTo>
                  <a:pt x="382" y="231"/>
                  <a:pt x="382" y="231"/>
                  <a:pt x="382" y="231"/>
                </a:cubicBezTo>
                <a:cubicBezTo>
                  <a:pt x="382" y="231"/>
                  <a:pt x="382" y="231"/>
                  <a:pt x="382" y="231"/>
                </a:cubicBezTo>
                <a:close/>
                <a:moveTo>
                  <a:pt x="377" y="239"/>
                </a:moveTo>
                <a:cubicBezTo>
                  <a:pt x="379" y="237"/>
                  <a:pt x="379" y="237"/>
                  <a:pt x="379" y="237"/>
                </a:cubicBezTo>
                <a:cubicBezTo>
                  <a:pt x="380" y="236"/>
                  <a:pt x="380" y="236"/>
                  <a:pt x="380" y="236"/>
                </a:cubicBezTo>
                <a:cubicBezTo>
                  <a:pt x="380" y="236"/>
                  <a:pt x="380" y="236"/>
                  <a:pt x="380" y="236"/>
                </a:cubicBezTo>
                <a:cubicBezTo>
                  <a:pt x="382" y="235"/>
                  <a:pt x="382" y="235"/>
                  <a:pt x="382" y="235"/>
                </a:cubicBezTo>
                <a:cubicBezTo>
                  <a:pt x="383" y="234"/>
                  <a:pt x="383" y="234"/>
                  <a:pt x="383" y="234"/>
                </a:cubicBezTo>
                <a:cubicBezTo>
                  <a:pt x="382" y="233"/>
                  <a:pt x="382" y="233"/>
                  <a:pt x="382" y="233"/>
                </a:cubicBezTo>
                <a:cubicBezTo>
                  <a:pt x="382" y="232"/>
                  <a:pt x="382" y="232"/>
                  <a:pt x="382" y="232"/>
                </a:cubicBezTo>
                <a:cubicBezTo>
                  <a:pt x="381" y="233"/>
                  <a:pt x="381" y="233"/>
                  <a:pt x="381" y="233"/>
                </a:cubicBezTo>
                <a:cubicBezTo>
                  <a:pt x="381" y="234"/>
                  <a:pt x="381" y="234"/>
                  <a:pt x="381" y="234"/>
                </a:cubicBezTo>
                <a:cubicBezTo>
                  <a:pt x="380" y="234"/>
                  <a:pt x="380" y="234"/>
                  <a:pt x="380" y="234"/>
                </a:cubicBezTo>
                <a:cubicBezTo>
                  <a:pt x="379" y="235"/>
                  <a:pt x="379" y="235"/>
                  <a:pt x="379" y="235"/>
                </a:cubicBezTo>
                <a:cubicBezTo>
                  <a:pt x="378" y="235"/>
                  <a:pt x="378" y="235"/>
                  <a:pt x="378" y="235"/>
                </a:cubicBezTo>
                <a:cubicBezTo>
                  <a:pt x="376" y="235"/>
                  <a:pt x="376" y="235"/>
                  <a:pt x="376" y="235"/>
                </a:cubicBezTo>
                <a:cubicBezTo>
                  <a:pt x="376" y="236"/>
                  <a:pt x="376" y="236"/>
                  <a:pt x="376" y="236"/>
                </a:cubicBezTo>
                <a:cubicBezTo>
                  <a:pt x="375" y="237"/>
                  <a:pt x="375" y="237"/>
                  <a:pt x="375" y="237"/>
                </a:cubicBezTo>
                <a:cubicBezTo>
                  <a:pt x="374" y="237"/>
                  <a:pt x="374" y="237"/>
                  <a:pt x="374" y="237"/>
                </a:cubicBezTo>
                <a:cubicBezTo>
                  <a:pt x="375" y="239"/>
                  <a:pt x="375" y="239"/>
                  <a:pt x="375" y="239"/>
                </a:cubicBezTo>
                <a:cubicBezTo>
                  <a:pt x="375" y="238"/>
                  <a:pt x="375" y="238"/>
                  <a:pt x="375" y="238"/>
                </a:cubicBezTo>
                <a:cubicBezTo>
                  <a:pt x="376" y="239"/>
                  <a:pt x="376" y="239"/>
                  <a:pt x="376" y="239"/>
                </a:cubicBezTo>
                <a:cubicBezTo>
                  <a:pt x="377" y="239"/>
                  <a:pt x="377" y="239"/>
                  <a:pt x="377" y="239"/>
                </a:cubicBezTo>
                <a:close/>
                <a:moveTo>
                  <a:pt x="387" y="237"/>
                </a:moveTo>
                <a:cubicBezTo>
                  <a:pt x="387" y="236"/>
                  <a:pt x="387" y="236"/>
                  <a:pt x="387" y="236"/>
                </a:cubicBezTo>
                <a:cubicBezTo>
                  <a:pt x="387" y="235"/>
                  <a:pt x="387" y="235"/>
                  <a:pt x="387" y="235"/>
                </a:cubicBezTo>
                <a:cubicBezTo>
                  <a:pt x="388" y="234"/>
                  <a:pt x="388" y="234"/>
                  <a:pt x="388" y="234"/>
                </a:cubicBezTo>
                <a:cubicBezTo>
                  <a:pt x="389" y="234"/>
                  <a:pt x="389" y="234"/>
                  <a:pt x="389" y="234"/>
                </a:cubicBezTo>
                <a:cubicBezTo>
                  <a:pt x="390" y="234"/>
                  <a:pt x="390" y="234"/>
                  <a:pt x="390" y="234"/>
                </a:cubicBezTo>
                <a:cubicBezTo>
                  <a:pt x="390" y="235"/>
                  <a:pt x="390" y="235"/>
                  <a:pt x="390" y="235"/>
                </a:cubicBezTo>
                <a:cubicBezTo>
                  <a:pt x="390" y="236"/>
                  <a:pt x="390" y="236"/>
                  <a:pt x="390" y="236"/>
                </a:cubicBezTo>
                <a:cubicBezTo>
                  <a:pt x="389" y="237"/>
                  <a:pt x="389" y="237"/>
                  <a:pt x="389" y="237"/>
                </a:cubicBezTo>
                <a:cubicBezTo>
                  <a:pt x="388" y="238"/>
                  <a:pt x="388" y="238"/>
                  <a:pt x="388" y="238"/>
                </a:cubicBezTo>
                <a:cubicBezTo>
                  <a:pt x="387" y="237"/>
                  <a:pt x="387" y="237"/>
                  <a:pt x="387" y="237"/>
                </a:cubicBezTo>
                <a:close/>
                <a:moveTo>
                  <a:pt x="395" y="248"/>
                </a:moveTo>
                <a:cubicBezTo>
                  <a:pt x="395" y="246"/>
                  <a:pt x="395" y="246"/>
                  <a:pt x="395" y="246"/>
                </a:cubicBezTo>
                <a:cubicBezTo>
                  <a:pt x="395" y="244"/>
                  <a:pt x="395" y="244"/>
                  <a:pt x="395" y="244"/>
                </a:cubicBezTo>
                <a:cubicBezTo>
                  <a:pt x="395" y="243"/>
                  <a:pt x="395" y="243"/>
                  <a:pt x="395" y="243"/>
                </a:cubicBezTo>
                <a:cubicBezTo>
                  <a:pt x="394" y="243"/>
                  <a:pt x="394" y="243"/>
                  <a:pt x="394" y="243"/>
                </a:cubicBezTo>
                <a:cubicBezTo>
                  <a:pt x="394" y="244"/>
                  <a:pt x="394" y="244"/>
                  <a:pt x="394" y="244"/>
                </a:cubicBezTo>
                <a:cubicBezTo>
                  <a:pt x="393" y="246"/>
                  <a:pt x="393" y="246"/>
                  <a:pt x="393" y="246"/>
                </a:cubicBezTo>
                <a:cubicBezTo>
                  <a:pt x="394" y="247"/>
                  <a:pt x="394" y="247"/>
                  <a:pt x="394" y="247"/>
                </a:cubicBezTo>
                <a:cubicBezTo>
                  <a:pt x="394" y="247"/>
                  <a:pt x="394" y="247"/>
                  <a:pt x="394" y="247"/>
                </a:cubicBezTo>
                <a:cubicBezTo>
                  <a:pt x="394" y="248"/>
                  <a:pt x="394" y="248"/>
                  <a:pt x="394" y="248"/>
                </a:cubicBezTo>
                <a:cubicBezTo>
                  <a:pt x="395" y="248"/>
                  <a:pt x="395" y="248"/>
                  <a:pt x="395" y="248"/>
                </a:cubicBezTo>
                <a:cubicBezTo>
                  <a:pt x="395" y="248"/>
                  <a:pt x="395" y="248"/>
                  <a:pt x="395" y="248"/>
                </a:cubicBezTo>
                <a:close/>
                <a:moveTo>
                  <a:pt x="396" y="247"/>
                </a:moveTo>
                <a:cubicBezTo>
                  <a:pt x="396" y="246"/>
                  <a:pt x="396" y="246"/>
                  <a:pt x="396" y="246"/>
                </a:cubicBezTo>
                <a:cubicBezTo>
                  <a:pt x="396" y="244"/>
                  <a:pt x="396" y="244"/>
                  <a:pt x="396" y="244"/>
                </a:cubicBezTo>
                <a:cubicBezTo>
                  <a:pt x="397" y="246"/>
                  <a:pt x="397" y="246"/>
                  <a:pt x="397" y="246"/>
                </a:cubicBezTo>
                <a:cubicBezTo>
                  <a:pt x="397" y="246"/>
                  <a:pt x="397" y="246"/>
                  <a:pt x="397" y="246"/>
                </a:cubicBezTo>
                <a:cubicBezTo>
                  <a:pt x="397" y="247"/>
                  <a:pt x="397" y="247"/>
                  <a:pt x="397" y="247"/>
                </a:cubicBezTo>
                <a:cubicBezTo>
                  <a:pt x="396" y="247"/>
                  <a:pt x="396" y="247"/>
                  <a:pt x="396" y="247"/>
                </a:cubicBezTo>
                <a:close/>
                <a:moveTo>
                  <a:pt x="398" y="249"/>
                </a:moveTo>
                <a:cubicBezTo>
                  <a:pt x="398" y="249"/>
                  <a:pt x="398" y="249"/>
                  <a:pt x="398" y="249"/>
                </a:cubicBezTo>
                <a:cubicBezTo>
                  <a:pt x="398" y="248"/>
                  <a:pt x="398" y="248"/>
                  <a:pt x="398" y="248"/>
                </a:cubicBezTo>
                <a:cubicBezTo>
                  <a:pt x="398" y="248"/>
                  <a:pt x="398" y="248"/>
                  <a:pt x="398" y="248"/>
                </a:cubicBezTo>
                <a:cubicBezTo>
                  <a:pt x="398" y="249"/>
                  <a:pt x="398" y="249"/>
                  <a:pt x="398" y="249"/>
                </a:cubicBezTo>
                <a:cubicBezTo>
                  <a:pt x="398" y="249"/>
                  <a:pt x="398" y="249"/>
                  <a:pt x="398" y="249"/>
                </a:cubicBezTo>
                <a:close/>
                <a:moveTo>
                  <a:pt x="394" y="252"/>
                </a:moveTo>
                <a:cubicBezTo>
                  <a:pt x="394" y="252"/>
                  <a:pt x="394" y="252"/>
                  <a:pt x="394" y="252"/>
                </a:cubicBezTo>
                <a:cubicBezTo>
                  <a:pt x="394" y="254"/>
                  <a:pt x="394" y="254"/>
                  <a:pt x="394" y="254"/>
                </a:cubicBezTo>
                <a:cubicBezTo>
                  <a:pt x="394" y="255"/>
                  <a:pt x="394" y="255"/>
                  <a:pt x="394" y="255"/>
                </a:cubicBezTo>
                <a:cubicBezTo>
                  <a:pt x="395" y="255"/>
                  <a:pt x="395" y="255"/>
                  <a:pt x="395" y="255"/>
                </a:cubicBezTo>
                <a:cubicBezTo>
                  <a:pt x="395" y="255"/>
                  <a:pt x="395" y="255"/>
                  <a:pt x="395" y="255"/>
                </a:cubicBezTo>
                <a:cubicBezTo>
                  <a:pt x="397" y="255"/>
                  <a:pt x="397" y="255"/>
                  <a:pt x="397" y="255"/>
                </a:cubicBezTo>
                <a:cubicBezTo>
                  <a:pt x="397" y="256"/>
                  <a:pt x="397" y="256"/>
                  <a:pt x="397" y="256"/>
                </a:cubicBezTo>
                <a:cubicBezTo>
                  <a:pt x="398" y="256"/>
                  <a:pt x="398" y="256"/>
                  <a:pt x="398" y="256"/>
                </a:cubicBezTo>
                <a:cubicBezTo>
                  <a:pt x="399" y="256"/>
                  <a:pt x="399" y="256"/>
                  <a:pt x="399" y="256"/>
                </a:cubicBezTo>
                <a:cubicBezTo>
                  <a:pt x="400" y="255"/>
                  <a:pt x="400" y="255"/>
                  <a:pt x="400" y="255"/>
                </a:cubicBezTo>
                <a:cubicBezTo>
                  <a:pt x="399" y="254"/>
                  <a:pt x="399" y="254"/>
                  <a:pt x="399" y="254"/>
                </a:cubicBezTo>
                <a:cubicBezTo>
                  <a:pt x="399" y="253"/>
                  <a:pt x="399" y="253"/>
                  <a:pt x="399" y="253"/>
                </a:cubicBezTo>
                <a:cubicBezTo>
                  <a:pt x="398" y="253"/>
                  <a:pt x="398" y="253"/>
                  <a:pt x="398" y="253"/>
                </a:cubicBezTo>
                <a:cubicBezTo>
                  <a:pt x="398" y="252"/>
                  <a:pt x="398" y="252"/>
                  <a:pt x="398" y="252"/>
                </a:cubicBezTo>
                <a:cubicBezTo>
                  <a:pt x="397" y="252"/>
                  <a:pt x="397" y="252"/>
                  <a:pt x="397" y="252"/>
                </a:cubicBezTo>
                <a:cubicBezTo>
                  <a:pt x="396" y="252"/>
                  <a:pt x="396" y="252"/>
                  <a:pt x="396" y="252"/>
                </a:cubicBezTo>
                <a:cubicBezTo>
                  <a:pt x="396" y="252"/>
                  <a:pt x="396" y="252"/>
                  <a:pt x="396" y="252"/>
                </a:cubicBezTo>
                <a:cubicBezTo>
                  <a:pt x="396" y="251"/>
                  <a:pt x="396" y="251"/>
                  <a:pt x="396" y="251"/>
                </a:cubicBezTo>
                <a:cubicBezTo>
                  <a:pt x="396" y="251"/>
                  <a:pt x="396" y="251"/>
                  <a:pt x="396" y="251"/>
                </a:cubicBezTo>
                <a:cubicBezTo>
                  <a:pt x="395" y="252"/>
                  <a:pt x="395" y="252"/>
                  <a:pt x="395" y="252"/>
                </a:cubicBezTo>
                <a:cubicBezTo>
                  <a:pt x="395" y="252"/>
                  <a:pt x="395" y="252"/>
                  <a:pt x="395" y="252"/>
                </a:cubicBezTo>
                <a:cubicBezTo>
                  <a:pt x="394" y="252"/>
                  <a:pt x="394" y="252"/>
                  <a:pt x="394" y="252"/>
                </a:cubicBezTo>
                <a:close/>
                <a:moveTo>
                  <a:pt x="361" y="298"/>
                </a:moveTo>
                <a:cubicBezTo>
                  <a:pt x="362" y="298"/>
                  <a:pt x="362" y="298"/>
                  <a:pt x="362" y="298"/>
                </a:cubicBezTo>
                <a:cubicBezTo>
                  <a:pt x="363" y="298"/>
                  <a:pt x="363" y="298"/>
                  <a:pt x="363" y="298"/>
                </a:cubicBezTo>
                <a:cubicBezTo>
                  <a:pt x="362" y="297"/>
                  <a:pt x="362" y="297"/>
                  <a:pt x="362" y="297"/>
                </a:cubicBezTo>
                <a:cubicBezTo>
                  <a:pt x="361" y="297"/>
                  <a:pt x="361" y="297"/>
                  <a:pt x="361" y="297"/>
                </a:cubicBezTo>
                <a:cubicBezTo>
                  <a:pt x="361" y="298"/>
                  <a:pt x="361" y="298"/>
                  <a:pt x="361" y="298"/>
                </a:cubicBezTo>
                <a:close/>
                <a:moveTo>
                  <a:pt x="343" y="267"/>
                </a:moveTo>
                <a:cubicBezTo>
                  <a:pt x="343" y="268"/>
                  <a:pt x="343" y="268"/>
                  <a:pt x="343" y="268"/>
                </a:cubicBezTo>
                <a:cubicBezTo>
                  <a:pt x="344" y="268"/>
                  <a:pt x="344" y="268"/>
                  <a:pt x="344" y="268"/>
                </a:cubicBezTo>
                <a:cubicBezTo>
                  <a:pt x="344" y="268"/>
                  <a:pt x="344" y="268"/>
                  <a:pt x="344" y="268"/>
                </a:cubicBezTo>
                <a:cubicBezTo>
                  <a:pt x="343" y="267"/>
                  <a:pt x="343" y="267"/>
                  <a:pt x="343" y="267"/>
                </a:cubicBezTo>
                <a:cubicBezTo>
                  <a:pt x="343" y="267"/>
                  <a:pt x="343" y="267"/>
                  <a:pt x="343" y="267"/>
                </a:cubicBezTo>
                <a:cubicBezTo>
                  <a:pt x="343" y="267"/>
                  <a:pt x="343" y="267"/>
                  <a:pt x="343" y="267"/>
                </a:cubicBezTo>
                <a:close/>
                <a:moveTo>
                  <a:pt x="338" y="274"/>
                </a:moveTo>
                <a:cubicBezTo>
                  <a:pt x="338" y="274"/>
                  <a:pt x="338" y="274"/>
                  <a:pt x="338" y="274"/>
                </a:cubicBezTo>
                <a:cubicBezTo>
                  <a:pt x="338" y="273"/>
                  <a:pt x="338" y="273"/>
                  <a:pt x="338" y="273"/>
                </a:cubicBezTo>
                <a:cubicBezTo>
                  <a:pt x="337" y="272"/>
                  <a:pt x="337" y="272"/>
                  <a:pt x="337" y="272"/>
                </a:cubicBezTo>
                <a:cubicBezTo>
                  <a:pt x="337" y="271"/>
                  <a:pt x="337" y="271"/>
                  <a:pt x="337" y="271"/>
                </a:cubicBezTo>
                <a:cubicBezTo>
                  <a:pt x="336" y="270"/>
                  <a:pt x="336" y="270"/>
                  <a:pt x="336" y="270"/>
                </a:cubicBezTo>
                <a:cubicBezTo>
                  <a:pt x="336" y="270"/>
                  <a:pt x="336" y="270"/>
                  <a:pt x="336" y="270"/>
                </a:cubicBezTo>
                <a:cubicBezTo>
                  <a:pt x="336" y="268"/>
                  <a:pt x="336" y="268"/>
                  <a:pt x="336" y="268"/>
                </a:cubicBezTo>
                <a:cubicBezTo>
                  <a:pt x="336" y="268"/>
                  <a:pt x="336" y="268"/>
                  <a:pt x="336" y="268"/>
                </a:cubicBezTo>
                <a:cubicBezTo>
                  <a:pt x="336" y="269"/>
                  <a:pt x="336" y="269"/>
                  <a:pt x="336" y="269"/>
                </a:cubicBezTo>
                <a:cubicBezTo>
                  <a:pt x="338" y="269"/>
                  <a:pt x="338" y="269"/>
                  <a:pt x="338" y="269"/>
                </a:cubicBezTo>
                <a:cubicBezTo>
                  <a:pt x="338" y="270"/>
                  <a:pt x="338" y="270"/>
                  <a:pt x="338" y="270"/>
                </a:cubicBezTo>
                <a:cubicBezTo>
                  <a:pt x="339" y="271"/>
                  <a:pt x="339" y="271"/>
                  <a:pt x="339" y="271"/>
                </a:cubicBezTo>
                <a:cubicBezTo>
                  <a:pt x="339" y="273"/>
                  <a:pt x="339" y="273"/>
                  <a:pt x="339" y="273"/>
                </a:cubicBezTo>
                <a:cubicBezTo>
                  <a:pt x="340" y="273"/>
                  <a:pt x="340" y="273"/>
                  <a:pt x="340" y="273"/>
                </a:cubicBezTo>
                <a:cubicBezTo>
                  <a:pt x="341" y="273"/>
                  <a:pt x="341" y="273"/>
                  <a:pt x="341" y="273"/>
                </a:cubicBezTo>
                <a:cubicBezTo>
                  <a:pt x="341" y="274"/>
                  <a:pt x="341" y="274"/>
                  <a:pt x="341" y="274"/>
                </a:cubicBezTo>
                <a:cubicBezTo>
                  <a:pt x="339" y="274"/>
                  <a:pt x="339" y="274"/>
                  <a:pt x="339" y="274"/>
                </a:cubicBezTo>
                <a:cubicBezTo>
                  <a:pt x="338" y="274"/>
                  <a:pt x="338" y="274"/>
                  <a:pt x="338" y="274"/>
                </a:cubicBezTo>
                <a:close/>
                <a:moveTo>
                  <a:pt x="331" y="274"/>
                </a:moveTo>
                <a:cubicBezTo>
                  <a:pt x="331" y="273"/>
                  <a:pt x="331" y="273"/>
                  <a:pt x="331" y="273"/>
                </a:cubicBezTo>
                <a:cubicBezTo>
                  <a:pt x="331" y="272"/>
                  <a:pt x="331" y="272"/>
                  <a:pt x="331" y="272"/>
                </a:cubicBezTo>
                <a:cubicBezTo>
                  <a:pt x="331" y="271"/>
                  <a:pt x="331" y="271"/>
                  <a:pt x="331" y="271"/>
                </a:cubicBezTo>
                <a:cubicBezTo>
                  <a:pt x="331" y="270"/>
                  <a:pt x="331" y="270"/>
                  <a:pt x="331" y="270"/>
                </a:cubicBezTo>
                <a:cubicBezTo>
                  <a:pt x="332" y="269"/>
                  <a:pt x="332" y="269"/>
                  <a:pt x="332" y="269"/>
                </a:cubicBezTo>
                <a:cubicBezTo>
                  <a:pt x="332" y="269"/>
                  <a:pt x="332" y="269"/>
                  <a:pt x="332" y="269"/>
                </a:cubicBezTo>
                <a:cubicBezTo>
                  <a:pt x="333" y="270"/>
                  <a:pt x="333" y="270"/>
                  <a:pt x="333" y="270"/>
                </a:cubicBezTo>
                <a:cubicBezTo>
                  <a:pt x="332" y="270"/>
                  <a:pt x="332" y="270"/>
                  <a:pt x="332" y="270"/>
                </a:cubicBezTo>
                <a:cubicBezTo>
                  <a:pt x="332" y="271"/>
                  <a:pt x="332" y="271"/>
                  <a:pt x="332" y="271"/>
                </a:cubicBezTo>
                <a:cubicBezTo>
                  <a:pt x="333" y="272"/>
                  <a:pt x="333" y="272"/>
                  <a:pt x="333" y="272"/>
                </a:cubicBezTo>
                <a:cubicBezTo>
                  <a:pt x="332" y="274"/>
                  <a:pt x="332" y="274"/>
                  <a:pt x="332" y="274"/>
                </a:cubicBezTo>
                <a:cubicBezTo>
                  <a:pt x="331" y="274"/>
                  <a:pt x="331" y="274"/>
                  <a:pt x="331" y="274"/>
                </a:cubicBezTo>
                <a:close/>
                <a:moveTo>
                  <a:pt x="331" y="244"/>
                </a:moveTo>
                <a:cubicBezTo>
                  <a:pt x="331" y="245"/>
                  <a:pt x="331" y="245"/>
                  <a:pt x="331" y="245"/>
                </a:cubicBezTo>
                <a:cubicBezTo>
                  <a:pt x="331" y="246"/>
                  <a:pt x="331" y="246"/>
                  <a:pt x="331" y="246"/>
                </a:cubicBezTo>
                <a:cubicBezTo>
                  <a:pt x="332" y="246"/>
                  <a:pt x="332" y="246"/>
                  <a:pt x="332" y="246"/>
                </a:cubicBezTo>
                <a:cubicBezTo>
                  <a:pt x="333" y="245"/>
                  <a:pt x="333" y="245"/>
                  <a:pt x="333" y="245"/>
                </a:cubicBezTo>
                <a:cubicBezTo>
                  <a:pt x="333" y="244"/>
                  <a:pt x="333" y="244"/>
                  <a:pt x="333" y="244"/>
                </a:cubicBezTo>
                <a:cubicBezTo>
                  <a:pt x="332" y="244"/>
                  <a:pt x="332" y="244"/>
                  <a:pt x="332" y="244"/>
                </a:cubicBezTo>
                <a:cubicBezTo>
                  <a:pt x="331" y="244"/>
                  <a:pt x="331" y="244"/>
                  <a:pt x="331" y="244"/>
                </a:cubicBezTo>
                <a:close/>
                <a:moveTo>
                  <a:pt x="331" y="244"/>
                </a:moveTo>
                <a:cubicBezTo>
                  <a:pt x="331" y="243"/>
                  <a:pt x="331" y="243"/>
                  <a:pt x="331" y="243"/>
                </a:cubicBezTo>
                <a:cubicBezTo>
                  <a:pt x="331" y="241"/>
                  <a:pt x="331" y="241"/>
                  <a:pt x="331" y="241"/>
                </a:cubicBezTo>
                <a:cubicBezTo>
                  <a:pt x="333" y="240"/>
                  <a:pt x="333" y="240"/>
                  <a:pt x="333" y="240"/>
                </a:cubicBezTo>
                <a:cubicBezTo>
                  <a:pt x="334" y="239"/>
                  <a:pt x="334" y="239"/>
                  <a:pt x="334" y="239"/>
                </a:cubicBezTo>
                <a:cubicBezTo>
                  <a:pt x="334" y="240"/>
                  <a:pt x="334" y="240"/>
                  <a:pt x="334" y="240"/>
                </a:cubicBezTo>
                <a:cubicBezTo>
                  <a:pt x="334" y="241"/>
                  <a:pt x="334" y="241"/>
                  <a:pt x="334" y="241"/>
                </a:cubicBezTo>
                <a:cubicBezTo>
                  <a:pt x="334" y="242"/>
                  <a:pt x="334" y="242"/>
                  <a:pt x="334" y="242"/>
                </a:cubicBezTo>
                <a:cubicBezTo>
                  <a:pt x="334" y="244"/>
                  <a:pt x="334" y="244"/>
                  <a:pt x="334" y="244"/>
                </a:cubicBezTo>
                <a:cubicBezTo>
                  <a:pt x="333" y="244"/>
                  <a:pt x="333" y="244"/>
                  <a:pt x="333" y="244"/>
                </a:cubicBezTo>
                <a:cubicBezTo>
                  <a:pt x="331" y="244"/>
                  <a:pt x="331" y="244"/>
                  <a:pt x="331" y="244"/>
                </a:cubicBezTo>
                <a:close/>
                <a:moveTo>
                  <a:pt x="271" y="231"/>
                </a:moveTo>
                <a:cubicBezTo>
                  <a:pt x="271" y="231"/>
                  <a:pt x="271" y="231"/>
                  <a:pt x="271" y="231"/>
                </a:cubicBezTo>
                <a:cubicBezTo>
                  <a:pt x="271" y="230"/>
                  <a:pt x="271" y="230"/>
                  <a:pt x="271" y="230"/>
                </a:cubicBezTo>
                <a:cubicBezTo>
                  <a:pt x="270" y="230"/>
                  <a:pt x="270" y="230"/>
                  <a:pt x="270" y="230"/>
                </a:cubicBezTo>
                <a:cubicBezTo>
                  <a:pt x="270" y="231"/>
                  <a:pt x="270" y="231"/>
                  <a:pt x="270" y="231"/>
                </a:cubicBezTo>
                <a:cubicBezTo>
                  <a:pt x="271" y="231"/>
                  <a:pt x="271" y="231"/>
                  <a:pt x="271" y="231"/>
                </a:cubicBezTo>
                <a:close/>
                <a:moveTo>
                  <a:pt x="219" y="217"/>
                </a:moveTo>
                <a:cubicBezTo>
                  <a:pt x="220" y="216"/>
                  <a:pt x="220" y="216"/>
                  <a:pt x="220" y="216"/>
                </a:cubicBezTo>
                <a:cubicBezTo>
                  <a:pt x="221" y="216"/>
                  <a:pt x="221" y="216"/>
                  <a:pt x="221" y="216"/>
                </a:cubicBezTo>
                <a:cubicBezTo>
                  <a:pt x="220" y="217"/>
                  <a:pt x="220" y="217"/>
                  <a:pt x="220" y="217"/>
                </a:cubicBezTo>
                <a:cubicBezTo>
                  <a:pt x="220" y="217"/>
                  <a:pt x="219" y="217"/>
                  <a:pt x="219" y="217"/>
                </a:cubicBezTo>
                <a:close/>
                <a:moveTo>
                  <a:pt x="215" y="219"/>
                </a:moveTo>
                <a:cubicBezTo>
                  <a:pt x="216" y="219"/>
                  <a:pt x="216" y="219"/>
                  <a:pt x="216" y="219"/>
                </a:cubicBezTo>
                <a:cubicBezTo>
                  <a:pt x="216" y="218"/>
                  <a:pt x="216" y="218"/>
                  <a:pt x="216" y="218"/>
                </a:cubicBezTo>
                <a:cubicBezTo>
                  <a:pt x="215" y="218"/>
                  <a:pt x="215" y="218"/>
                  <a:pt x="215" y="218"/>
                </a:cubicBezTo>
                <a:cubicBezTo>
                  <a:pt x="215" y="219"/>
                  <a:pt x="215" y="219"/>
                  <a:pt x="215" y="219"/>
                </a:cubicBezTo>
                <a:close/>
                <a:moveTo>
                  <a:pt x="217" y="223"/>
                </a:moveTo>
                <a:cubicBezTo>
                  <a:pt x="217" y="223"/>
                  <a:pt x="217" y="223"/>
                  <a:pt x="217" y="223"/>
                </a:cubicBezTo>
                <a:cubicBezTo>
                  <a:pt x="217" y="222"/>
                  <a:pt x="217" y="222"/>
                  <a:pt x="217" y="222"/>
                </a:cubicBezTo>
                <a:cubicBezTo>
                  <a:pt x="217" y="223"/>
                  <a:pt x="217" y="223"/>
                  <a:pt x="217" y="223"/>
                </a:cubicBezTo>
                <a:cubicBezTo>
                  <a:pt x="217" y="223"/>
                  <a:pt x="217" y="223"/>
                  <a:pt x="217" y="223"/>
                </a:cubicBezTo>
                <a:close/>
                <a:moveTo>
                  <a:pt x="217" y="224"/>
                </a:moveTo>
                <a:cubicBezTo>
                  <a:pt x="216" y="222"/>
                  <a:pt x="216" y="222"/>
                  <a:pt x="216" y="222"/>
                </a:cubicBezTo>
                <a:cubicBezTo>
                  <a:pt x="216" y="223"/>
                  <a:pt x="216" y="223"/>
                  <a:pt x="216" y="223"/>
                </a:cubicBezTo>
                <a:cubicBezTo>
                  <a:pt x="216" y="223"/>
                  <a:pt x="216" y="223"/>
                  <a:pt x="216" y="223"/>
                </a:cubicBezTo>
                <a:cubicBezTo>
                  <a:pt x="217" y="224"/>
                  <a:pt x="217" y="224"/>
                  <a:pt x="217" y="224"/>
                </a:cubicBezTo>
                <a:close/>
                <a:moveTo>
                  <a:pt x="219" y="227"/>
                </a:moveTo>
                <a:cubicBezTo>
                  <a:pt x="219" y="228"/>
                  <a:pt x="219" y="228"/>
                  <a:pt x="219" y="228"/>
                </a:cubicBezTo>
                <a:cubicBezTo>
                  <a:pt x="220" y="228"/>
                  <a:pt x="220" y="228"/>
                  <a:pt x="220" y="228"/>
                </a:cubicBezTo>
                <a:cubicBezTo>
                  <a:pt x="221" y="227"/>
                  <a:pt x="221" y="227"/>
                  <a:pt x="221" y="227"/>
                </a:cubicBezTo>
                <a:cubicBezTo>
                  <a:pt x="220" y="227"/>
                  <a:pt x="220" y="227"/>
                  <a:pt x="220" y="227"/>
                </a:cubicBezTo>
                <a:cubicBezTo>
                  <a:pt x="221" y="226"/>
                  <a:pt x="221" y="226"/>
                  <a:pt x="221" y="226"/>
                </a:cubicBezTo>
                <a:cubicBezTo>
                  <a:pt x="220" y="226"/>
                  <a:pt x="220" y="226"/>
                  <a:pt x="220" y="226"/>
                </a:cubicBezTo>
                <a:cubicBezTo>
                  <a:pt x="220" y="227"/>
                  <a:pt x="220" y="227"/>
                  <a:pt x="220" y="227"/>
                </a:cubicBezTo>
                <a:cubicBezTo>
                  <a:pt x="220" y="226"/>
                  <a:pt x="220" y="226"/>
                  <a:pt x="220" y="226"/>
                </a:cubicBezTo>
                <a:cubicBezTo>
                  <a:pt x="219" y="227"/>
                  <a:pt x="219" y="227"/>
                  <a:pt x="219" y="227"/>
                </a:cubicBezTo>
                <a:close/>
                <a:moveTo>
                  <a:pt x="217" y="234"/>
                </a:moveTo>
                <a:cubicBezTo>
                  <a:pt x="217" y="232"/>
                  <a:pt x="217" y="232"/>
                  <a:pt x="217" y="232"/>
                </a:cubicBezTo>
                <a:cubicBezTo>
                  <a:pt x="217" y="232"/>
                  <a:pt x="217" y="232"/>
                  <a:pt x="217" y="232"/>
                </a:cubicBezTo>
                <a:cubicBezTo>
                  <a:pt x="217" y="231"/>
                  <a:pt x="217" y="231"/>
                  <a:pt x="217" y="231"/>
                </a:cubicBezTo>
                <a:cubicBezTo>
                  <a:pt x="218" y="229"/>
                  <a:pt x="218" y="229"/>
                  <a:pt x="218" y="229"/>
                </a:cubicBezTo>
                <a:cubicBezTo>
                  <a:pt x="219" y="230"/>
                  <a:pt x="219" y="230"/>
                  <a:pt x="219" y="230"/>
                </a:cubicBezTo>
                <a:cubicBezTo>
                  <a:pt x="218" y="231"/>
                  <a:pt x="218" y="231"/>
                  <a:pt x="218" y="231"/>
                </a:cubicBezTo>
                <a:cubicBezTo>
                  <a:pt x="219" y="231"/>
                  <a:pt x="219" y="231"/>
                  <a:pt x="219" y="231"/>
                </a:cubicBezTo>
                <a:cubicBezTo>
                  <a:pt x="219" y="232"/>
                  <a:pt x="219" y="232"/>
                  <a:pt x="219" y="232"/>
                </a:cubicBezTo>
                <a:cubicBezTo>
                  <a:pt x="219" y="233"/>
                  <a:pt x="219" y="233"/>
                  <a:pt x="219" y="233"/>
                </a:cubicBezTo>
                <a:cubicBezTo>
                  <a:pt x="218" y="233"/>
                  <a:pt x="218" y="233"/>
                  <a:pt x="218" y="233"/>
                </a:cubicBezTo>
                <a:cubicBezTo>
                  <a:pt x="218" y="234"/>
                  <a:pt x="218" y="234"/>
                  <a:pt x="218" y="234"/>
                </a:cubicBezTo>
                <a:cubicBezTo>
                  <a:pt x="217" y="234"/>
                  <a:pt x="217" y="234"/>
                  <a:pt x="217" y="234"/>
                </a:cubicBezTo>
                <a:close/>
                <a:moveTo>
                  <a:pt x="264" y="206"/>
                </a:moveTo>
                <a:cubicBezTo>
                  <a:pt x="264" y="205"/>
                  <a:pt x="264" y="205"/>
                  <a:pt x="264" y="205"/>
                </a:cubicBezTo>
                <a:cubicBezTo>
                  <a:pt x="264" y="205"/>
                  <a:pt x="264" y="205"/>
                  <a:pt x="264" y="205"/>
                </a:cubicBezTo>
                <a:cubicBezTo>
                  <a:pt x="264" y="205"/>
                  <a:pt x="264" y="205"/>
                  <a:pt x="264" y="205"/>
                </a:cubicBezTo>
                <a:cubicBezTo>
                  <a:pt x="264" y="206"/>
                  <a:pt x="264" y="206"/>
                  <a:pt x="264" y="206"/>
                </a:cubicBezTo>
                <a:cubicBezTo>
                  <a:pt x="264" y="206"/>
                  <a:pt x="264" y="206"/>
                  <a:pt x="264" y="206"/>
                </a:cubicBezTo>
                <a:close/>
                <a:moveTo>
                  <a:pt x="279" y="196"/>
                </a:moveTo>
                <a:cubicBezTo>
                  <a:pt x="279" y="195"/>
                  <a:pt x="279" y="195"/>
                  <a:pt x="279" y="195"/>
                </a:cubicBezTo>
                <a:cubicBezTo>
                  <a:pt x="279" y="194"/>
                  <a:pt x="279" y="194"/>
                  <a:pt x="279" y="194"/>
                </a:cubicBezTo>
                <a:cubicBezTo>
                  <a:pt x="279" y="193"/>
                  <a:pt x="279" y="193"/>
                  <a:pt x="279" y="193"/>
                </a:cubicBezTo>
                <a:cubicBezTo>
                  <a:pt x="280" y="192"/>
                  <a:pt x="280" y="192"/>
                  <a:pt x="280" y="192"/>
                </a:cubicBezTo>
                <a:cubicBezTo>
                  <a:pt x="280" y="193"/>
                  <a:pt x="280" y="193"/>
                  <a:pt x="280" y="193"/>
                </a:cubicBezTo>
                <a:cubicBezTo>
                  <a:pt x="280" y="193"/>
                  <a:pt x="280" y="193"/>
                  <a:pt x="280" y="193"/>
                </a:cubicBezTo>
                <a:cubicBezTo>
                  <a:pt x="281" y="194"/>
                  <a:pt x="281" y="194"/>
                  <a:pt x="281" y="194"/>
                </a:cubicBezTo>
                <a:cubicBezTo>
                  <a:pt x="280" y="195"/>
                  <a:pt x="280" y="195"/>
                  <a:pt x="280" y="195"/>
                </a:cubicBezTo>
                <a:cubicBezTo>
                  <a:pt x="280" y="196"/>
                  <a:pt x="280" y="196"/>
                  <a:pt x="280" y="196"/>
                </a:cubicBezTo>
                <a:cubicBezTo>
                  <a:pt x="279" y="196"/>
                  <a:pt x="279" y="196"/>
                  <a:pt x="279" y="196"/>
                </a:cubicBezTo>
                <a:close/>
                <a:moveTo>
                  <a:pt x="262" y="215"/>
                </a:moveTo>
                <a:cubicBezTo>
                  <a:pt x="262" y="215"/>
                  <a:pt x="262" y="215"/>
                  <a:pt x="262" y="215"/>
                </a:cubicBezTo>
                <a:cubicBezTo>
                  <a:pt x="262" y="214"/>
                  <a:pt x="262" y="214"/>
                  <a:pt x="262" y="214"/>
                </a:cubicBezTo>
                <a:cubicBezTo>
                  <a:pt x="263" y="213"/>
                  <a:pt x="263" y="213"/>
                  <a:pt x="263" y="213"/>
                </a:cubicBezTo>
                <a:cubicBezTo>
                  <a:pt x="263" y="213"/>
                  <a:pt x="263" y="213"/>
                  <a:pt x="263" y="213"/>
                </a:cubicBezTo>
                <a:cubicBezTo>
                  <a:pt x="263" y="212"/>
                  <a:pt x="263" y="212"/>
                  <a:pt x="263" y="212"/>
                </a:cubicBezTo>
                <a:cubicBezTo>
                  <a:pt x="263" y="211"/>
                  <a:pt x="263" y="211"/>
                  <a:pt x="263" y="211"/>
                </a:cubicBezTo>
                <a:cubicBezTo>
                  <a:pt x="262" y="211"/>
                  <a:pt x="262" y="211"/>
                  <a:pt x="262" y="211"/>
                </a:cubicBezTo>
                <a:cubicBezTo>
                  <a:pt x="262" y="210"/>
                  <a:pt x="262" y="210"/>
                  <a:pt x="262" y="210"/>
                </a:cubicBezTo>
                <a:cubicBezTo>
                  <a:pt x="262" y="209"/>
                  <a:pt x="262" y="209"/>
                  <a:pt x="262" y="209"/>
                </a:cubicBezTo>
                <a:cubicBezTo>
                  <a:pt x="263" y="209"/>
                  <a:pt x="263" y="209"/>
                  <a:pt x="263" y="209"/>
                </a:cubicBezTo>
                <a:cubicBezTo>
                  <a:pt x="263" y="208"/>
                  <a:pt x="263" y="208"/>
                  <a:pt x="263" y="208"/>
                </a:cubicBezTo>
                <a:cubicBezTo>
                  <a:pt x="262" y="207"/>
                  <a:pt x="262" y="207"/>
                  <a:pt x="262" y="207"/>
                </a:cubicBezTo>
                <a:cubicBezTo>
                  <a:pt x="261" y="207"/>
                  <a:pt x="261" y="207"/>
                  <a:pt x="261" y="207"/>
                </a:cubicBezTo>
                <a:cubicBezTo>
                  <a:pt x="261" y="208"/>
                  <a:pt x="261" y="208"/>
                  <a:pt x="261" y="208"/>
                </a:cubicBezTo>
                <a:cubicBezTo>
                  <a:pt x="261" y="209"/>
                  <a:pt x="261" y="209"/>
                  <a:pt x="261" y="209"/>
                </a:cubicBezTo>
                <a:cubicBezTo>
                  <a:pt x="260" y="208"/>
                  <a:pt x="260" y="208"/>
                  <a:pt x="260" y="208"/>
                </a:cubicBezTo>
                <a:cubicBezTo>
                  <a:pt x="259" y="208"/>
                  <a:pt x="259" y="208"/>
                  <a:pt x="259" y="208"/>
                </a:cubicBezTo>
                <a:cubicBezTo>
                  <a:pt x="257" y="210"/>
                  <a:pt x="257" y="210"/>
                  <a:pt x="257" y="210"/>
                </a:cubicBezTo>
                <a:cubicBezTo>
                  <a:pt x="256" y="210"/>
                  <a:pt x="256" y="210"/>
                  <a:pt x="256" y="210"/>
                </a:cubicBezTo>
                <a:cubicBezTo>
                  <a:pt x="256" y="210"/>
                  <a:pt x="256" y="210"/>
                  <a:pt x="256" y="210"/>
                </a:cubicBezTo>
                <a:cubicBezTo>
                  <a:pt x="257" y="209"/>
                  <a:pt x="257" y="209"/>
                  <a:pt x="257" y="209"/>
                </a:cubicBezTo>
                <a:cubicBezTo>
                  <a:pt x="258" y="208"/>
                  <a:pt x="258" y="208"/>
                  <a:pt x="258" y="208"/>
                </a:cubicBezTo>
                <a:cubicBezTo>
                  <a:pt x="258" y="207"/>
                  <a:pt x="258" y="207"/>
                  <a:pt x="258" y="207"/>
                </a:cubicBezTo>
                <a:cubicBezTo>
                  <a:pt x="257" y="208"/>
                  <a:pt x="257" y="208"/>
                  <a:pt x="257" y="208"/>
                </a:cubicBezTo>
                <a:cubicBezTo>
                  <a:pt x="257" y="207"/>
                  <a:pt x="257" y="207"/>
                  <a:pt x="257" y="207"/>
                </a:cubicBezTo>
                <a:cubicBezTo>
                  <a:pt x="257" y="206"/>
                  <a:pt x="257" y="206"/>
                  <a:pt x="257" y="206"/>
                </a:cubicBezTo>
                <a:cubicBezTo>
                  <a:pt x="258" y="206"/>
                  <a:pt x="258" y="206"/>
                  <a:pt x="258" y="206"/>
                </a:cubicBezTo>
                <a:cubicBezTo>
                  <a:pt x="257" y="204"/>
                  <a:pt x="257" y="204"/>
                  <a:pt x="257" y="204"/>
                </a:cubicBezTo>
                <a:cubicBezTo>
                  <a:pt x="258" y="203"/>
                  <a:pt x="258" y="203"/>
                  <a:pt x="258" y="203"/>
                </a:cubicBezTo>
                <a:cubicBezTo>
                  <a:pt x="259" y="203"/>
                  <a:pt x="259" y="203"/>
                  <a:pt x="259" y="203"/>
                </a:cubicBezTo>
                <a:cubicBezTo>
                  <a:pt x="258" y="204"/>
                  <a:pt x="258" y="204"/>
                  <a:pt x="258" y="204"/>
                </a:cubicBezTo>
                <a:cubicBezTo>
                  <a:pt x="259" y="205"/>
                  <a:pt x="259" y="205"/>
                  <a:pt x="259" y="205"/>
                </a:cubicBezTo>
                <a:cubicBezTo>
                  <a:pt x="260" y="206"/>
                  <a:pt x="260" y="206"/>
                  <a:pt x="260" y="206"/>
                </a:cubicBezTo>
                <a:cubicBezTo>
                  <a:pt x="260" y="206"/>
                  <a:pt x="260" y="206"/>
                  <a:pt x="260" y="206"/>
                </a:cubicBezTo>
                <a:cubicBezTo>
                  <a:pt x="262" y="206"/>
                  <a:pt x="262" y="206"/>
                  <a:pt x="262" y="206"/>
                </a:cubicBezTo>
                <a:cubicBezTo>
                  <a:pt x="262" y="205"/>
                  <a:pt x="262" y="205"/>
                  <a:pt x="262" y="205"/>
                </a:cubicBezTo>
                <a:cubicBezTo>
                  <a:pt x="262" y="204"/>
                  <a:pt x="262" y="204"/>
                  <a:pt x="262" y="204"/>
                </a:cubicBezTo>
                <a:cubicBezTo>
                  <a:pt x="262" y="203"/>
                  <a:pt x="262" y="203"/>
                  <a:pt x="262" y="203"/>
                </a:cubicBezTo>
                <a:cubicBezTo>
                  <a:pt x="262" y="203"/>
                  <a:pt x="262" y="203"/>
                  <a:pt x="262" y="203"/>
                </a:cubicBezTo>
                <a:cubicBezTo>
                  <a:pt x="263" y="204"/>
                  <a:pt x="263" y="204"/>
                  <a:pt x="263" y="204"/>
                </a:cubicBezTo>
                <a:cubicBezTo>
                  <a:pt x="264" y="204"/>
                  <a:pt x="264" y="204"/>
                  <a:pt x="264" y="204"/>
                </a:cubicBezTo>
                <a:cubicBezTo>
                  <a:pt x="264" y="203"/>
                  <a:pt x="264" y="203"/>
                  <a:pt x="264" y="203"/>
                </a:cubicBezTo>
                <a:cubicBezTo>
                  <a:pt x="265" y="201"/>
                  <a:pt x="265" y="201"/>
                  <a:pt x="265" y="201"/>
                </a:cubicBezTo>
                <a:cubicBezTo>
                  <a:pt x="265" y="203"/>
                  <a:pt x="265" y="203"/>
                  <a:pt x="265" y="203"/>
                </a:cubicBezTo>
                <a:cubicBezTo>
                  <a:pt x="266" y="203"/>
                  <a:pt x="266" y="203"/>
                  <a:pt x="266" y="203"/>
                </a:cubicBezTo>
                <a:cubicBezTo>
                  <a:pt x="267" y="202"/>
                  <a:pt x="267" y="202"/>
                  <a:pt x="267" y="202"/>
                </a:cubicBezTo>
                <a:cubicBezTo>
                  <a:pt x="266" y="204"/>
                  <a:pt x="266" y="204"/>
                  <a:pt x="266" y="204"/>
                </a:cubicBezTo>
                <a:cubicBezTo>
                  <a:pt x="266" y="205"/>
                  <a:pt x="266" y="205"/>
                  <a:pt x="266" y="205"/>
                </a:cubicBezTo>
                <a:cubicBezTo>
                  <a:pt x="266" y="205"/>
                  <a:pt x="266" y="205"/>
                  <a:pt x="266" y="205"/>
                </a:cubicBezTo>
                <a:cubicBezTo>
                  <a:pt x="267" y="205"/>
                  <a:pt x="267" y="205"/>
                  <a:pt x="267" y="205"/>
                </a:cubicBezTo>
                <a:cubicBezTo>
                  <a:pt x="266" y="206"/>
                  <a:pt x="266" y="206"/>
                  <a:pt x="266" y="206"/>
                </a:cubicBezTo>
                <a:cubicBezTo>
                  <a:pt x="267" y="206"/>
                  <a:pt x="267" y="206"/>
                  <a:pt x="267" y="206"/>
                </a:cubicBezTo>
                <a:cubicBezTo>
                  <a:pt x="268" y="205"/>
                  <a:pt x="268" y="205"/>
                  <a:pt x="268" y="205"/>
                </a:cubicBezTo>
                <a:cubicBezTo>
                  <a:pt x="268" y="204"/>
                  <a:pt x="268" y="204"/>
                  <a:pt x="268" y="204"/>
                </a:cubicBezTo>
                <a:cubicBezTo>
                  <a:pt x="269" y="203"/>
                  <a:pt x="269" y="203"/>
                  <a:pt x="269" y="203"/>
                </a:cubicBezTo>
                <a:cubicBezTo>
                  <a:pt x="270" y="202"/>
                  <a:pt x="270" y="202"/>
                  <a:pt x="270" y="202"/>
                </a:cubicBezTo>
                <a:cubicBezTo>
                  <a:pt x="270" y="204"/>
                  <a:pt x="270" y="204"/>
                  <a:pt x="270" y="204"/>
                </a:cubicBezTo>
                <a:cubicBezTo>
                  <a:pt x="269" y="205"/>
                  <a:pt x="269" y="205"/>
                  <a:pt x="269" y="205"/>
                </a:cubicBezTo>
                <a:cubicBezTo>
                  <a:pt x="269" y="207"/>
                  <a:pt x="269" y="207"/>
                  <a:pt x="269" y="207"/>
                </a:cubicBezTo>
                <a:cubicBezTo>
                  <a:pt x="270" y="207"/>
                  <a:pt x="270" y="207"/>
                  <a:pt x="270" y="207"/>
                </a:cubicBezTo>
                <a:cubicBezTo>
                  <a:pt x="271" y="207"/>
                  <a:pt x="271" y="207"/>
                  <a:pt x="271" y="207"/>
                </a:cubicBezTo>
                <a:cubicBezTo>
                  <a:pt x="271" y="206"/>
                  <a:pt x="271" y="206"/>
                  <a:pt x="271" y="206"/>
                </a:cubicBezTo>
                <a:cubicBezTo>
                  <a:pt x="273" y="205"/>
                  <a:pt x="273" y="205"/>
                  <a:pt x="273" y="205"/>
                </a:cubicBezTo>
                <a:cubicBezTo>
                  <a:pt x="273" y="203"/>
                  <a:pt x="273" y="203"/>
                  <a:pt x="273" y="203"/>
                </a:cubicBezTo>
                <a:cubicBezTo>
                  <a:pt x="274" y="202"/>
                  <a:pt x="274" y="202"/>
                  <a:pt x="274" y="202"/>
                </a:cubicBezTo>
                <a:cubicBezTo>
                  <a:pt x="273" y="201"/>
                  <a:pt x="273" y="201"/>
                  <a:pt x="273" y="201"/>
                </a:cubicBezTo>
                <a:cubicBezTo>
                  <a:pt x="274" y="200"/>
                  <a:pt x="274" y="200"/>
                  <a:pt x="274" y="200"/>
                </a:cubicBezTo>
                <a:cubicBezTo>
                  <a:pt x="274" y="199"/>
                  <a:pt x="274" y="199"/>
                  <a:pt x="274" y="199"/>
                </a:cubicBezTo>
                <a:cubicBezTo>
                  <a:pt x="273" y="200"/>
                  <a:pt x="273" y="200"/>
                  <a:pt x="273" y="200"/>
                </a:cubicBezTo>
                <a:cubicBezTo>
                  <a:pt x="272" y="199"/>
                  <a:pt x="272" y="199"/>
                  <a:pt x="272" y="199"/>
                </a:cubicBezTo>
                <a:cubicBezTo>
                  <a:pt x="271" y="200"/>
                  <a:pt x="271" y="200"/>
                  <a:pt x="271" y="200"/>
                </a:cubicBezTo>
                <a:cubicBezTo>
                  <a:pt x="271" y="198"/>
                  <a:pt x="271" y="198"/>
                  <a:pt x="271" y="198"/>
                </a:cubicBezTo>
                <a:cubicBezTo>
                  <a:pt x="272" y="198"/>
                  <a:pt x="272" y="198"/>
                  <a:pt x="272" y="198"/>
                </a:cubicBezTo>
                <a:cubicBezTo>
                  <a:pt x="272" y="197"/>
                  <a:pt x="272" y="197"/>
                  <a:pt x="272" y="197"/>
                </a:cubicBezTo>
                <a:cubicBezTo>
                  <a:pt x="270" y="198"/>
                  <a:pt x="270" y="198"/>
                  <a:pt x="270" y="198"/>
                </a:cubicBezTo>
                <a:cubicBezTo>
                  <a:pt x="270" y="197"/>
                  <a:pt x="270" y="197"/>
                  <a:pt x="270" y="197"/>
                </a:cubicBezTo>
                <a:cubicBezTo>
                  <a:pt x="269" y="196"/>
                  <a:pt x="269" y="196"/>
                  <a:pt x="269" y="196"/>
                </a:cubicBezTo>
                <a:cubicBezTo>
                  <a:pt x="269" y="195"/>
                  <a:pt x="269" y="195"/>
                  <a:pt x="269" y="195"/>
                </a:cubicBezTo>
                <a:cubicBezTo>
                  <a:pt x="268" y="193"/>
                  <a:pt x="268" y="193"/>
                  <a:pt x="268" y="193"/>
                </a:cubicBezTo>
                <a:cubicBezTo>
                  <a:pt x="268" y="192"/>
                  <a:pt x="268" y="192"/>
                  <a:pt x="268" y="192"/>
                </a:cubicBezTo>
                <a:cubicBezTo>
                  <a:pt x="269" y="190"/>
                  <a:pt x="269" y="190"/>
                  <a:pt x="269" y="190"/>
                </a:cubicBezTo>
                <a:cubicBezTo>
                  <a:pt x="268" y="189"/>
                  <a:pt x="268" y="189"/>
                  <a:pt x="268" y="189"/>
                </a:cubicBezTo>
                <a:cubicBezTo>
                  <a:pt x="267" y="190"/>
                  <a:pt x="267" y="190"/>
                  <a:pt x="267" y="190"/>
                </a:cubicBezTo>
                <a:cubicBezTo>
                  <a:pt x="267" y="191"/>
                  <a:pt x="267" y="191"/>
                  <a:pt x="267" y="191"/>
                </a:cubicBezTo>
                <a:cubicBezTo>
                  <a:pt x="267" y="190"/>
                  <a:pt x="267" y="190"/>
                  <a:pt x="267" y="190"/>
                </a:cubicBezTo>
                <a:cubicBezTo>
                  <a:pt x="265" y="189"/>
                  <a:pt x="265" y="189"/>
                  <a:pt x="265" y="189"/>
                </a:cubicBezTo>
                <a:cubicBezTo>
                  <a:pt x="265" y="187"/>
                  <a:pt x="265" y="187"/>
                  <a:pt x="265" y="187"/>
                </a:cubicBezTo>
                <a:cubicBezTo>
                  <a:pt x="264" y="186"/>
                  <a:pt x="264" y="186"/>
                  <a:pt x="264" y="186"/>
                </a:cubicBezTo>
                <a:cubicBezTo>
                  <a:pt x="264" y="184"/>
                  <a:pt x="264" y="184"/>
                  <a:pt x="264" y="184"/>
                </a:cubicBezTo>
                <a:cubicBezTo>
                  <a:pt x="263" y="183"/>
                  <a:pt x="263" y="183"/>
                  <a:pt x="263" y="183"/>
                </a:cubicBezTo>
                <a:cubicBezTo>
                  <a:pt x="263" y="182"/>
                  <a:pt x="263" y="182"/>
                  <a:pt x="263" y="182"/>
                </a:cubicBezTo>
                <a:cubicBezTo>
                  <a:pt x="263" y="181"/>
                  <a:pt x="263" y="181"/>
                  <a:pt x="263" y="181"/>
                </a:cubicBezTo>
                <a:cubicBezTo>
                  <a:pt x="263" y="180"/>
                  <a:pt x="263" y="180"/>
                  <a:pt x="263" y="180"/>
                </a:cubicBezTo>
                <a:cubicBezTo>
                  <a:pt x="264" y="180"/>
                  <a:pt x="264" y="180"/>
                  <a:pt x="264" y="180"/>
                </a:cubicBezTo>
                <a:cubicBezTo>
                  <a:pt x="264" y="179"/>
                  <a:pt x="264" y="179"/>
                  <a:pt x="264" y="179"/>
                </a:cubicBezTo>
                <a:cubicBezTo>
                  <a:pt x="265" y="179"/>
                  <a:pt x="265" y="179"/>
                  <a:pt x="265" y="179"/>
                </a:cubicBezTo>
                <a:cubicBezTo>
                  <a:pt x="265" y="179"/>
                  <a:pt x="265" y="179"/>
                  <a:pt x="265" y="179"/>
                </a:cubicBezTo>
                <a:cubicBezTo>
                  <a:pt x="266" y="178"/>
                  <a:pt x="266" y="178"/>
                  <a:pt x="266" y="178"/>
                </a:cubicBezTo>
                <a:cubicBezTo>
                  <a:pt x="266" y="177"/>
                  <a:pt x="266" y="177"/>
                  <a:pt x="266" y="177"/>
                </a:cubicBezTo>
                <a:cubicBezTo>
                  <a:pt x="267" y="175"/>
                  <a:pt x="267" y="175"/>
                  <a:pt x="267" y="175"/>
                </a:cubicBezTo>
                <a:cubicBezTo>
                  <a:pt x="267" y="173"/>
                  <a:pt x="267" y="173"/>
                  <a:pt x="267" y="173"/>
                </a:cubicBezTo>
                <a:cubicBezTo>
                  <a:pt x="267" y="173"/>
                  <a:pt x="267" y="173"/>
                  <a:pt x="267" y="173"/>
                </a:cubicBezTo>
                <a:cubicBezTo>
                  <a:pt x="267" y="171"/>
                  <a:pt x="267" y="171"/>
                  <a:pt x="267" y="171"/>
                </a:cubicBezTo>
                <a:cubicBezTo>
                  <a:pt x="267" y="169"/>
                  <a:pt x="267" y="169"/>
                  <a:pt x="267" y="169"/>
                </a:cubicBezTo>
                <a:cubicBezTo>
                  <a:pt x="268" y="169"/>
                  <a:pt x="268" y="169"/>
                  <a:pt x="268" y="169"/>
                </a:cubicBezTo>
                <a:cubicBezTo>
                  <a:pt x="268" y="167"/>
                  <a:pt x="268" y="167"/>
                  <a:pt x="268" y="167"/>
                </a:cubicBezTo>
                <a:cubicBezTo>
                  <a:pt x="269" y="166"/>
                  <a:pt x="269" y="166"/>
                  <a:pt x="269" y="166"/>
                </a:cubicBezTo>
                <a:cubicBezTo>
                  <a:pt x="269" y="164"/>
                  <a:pt x="269" y="164"/>
                  <a:pt x="269" y="164"/>
                </a:cubicBezTo>
                <a:cubicBezTo>
                  <a:pt x="270" y="164"/>
                  <a:pt x="270" y="164"/>
                  <a:pt x="270" y="164"/>
                </a:cubicBezTo>
                <a:cubicBezTo>
                  <a:pt x="270" y="161"/>
                  <a:pt x="270" y="161"/>
                  <a:pt x="270" y="161"/>
                </a:cubicBezTo>
                <a:cubicBezTo>
                  <a:pt x="271" y="161"/>
                  <a:pt x="271" y="161"/>
                  <a:pt x="271" y="161"/>
                </a:cubicBezTo>
                <a:cubicBezTo>
                  <a:pt x="271" y="160"/>
                  <a:pt x="271" y="160"/>
                  <a:pt x="271" y="160"/>
                </a:cubicBezTo>
                <a:cubicBezTo>
                  <a:pt x="272" y="158"/>
                  <a:pt x="272" y="158"/>
                  <a:pt x="272" y="158"/>
                </a:cubicBezTo>
                <a:cubicBezTo>
                  <a:pt x="272" y="157"/>
                  <a:pt x="272" y="157"/>
                  <a:pt x="272" y="157"/>
                </a:cubicBezTo>
                <a:cubicBezTo>
                  <a:pt x="272" y="156"/>
                  <a:pt x="272" y="156"/>
                  <a:pt x="272" y="156"/>
                </a:cubicBezTo>
                <a:cubicBezTo>
                  <a:pt x="273" y="156"/>
                  <a:pt x="273" y="156"/>
                  <a:pt x="273" y="156"/>
                </a:cubicBezTo>
                <a:cubicBezTo>
                  <a:pt x="273" y="155"/>
                  <a:pt x="273" y="155"/>
                  <a:pt x="273" y="155"/>
                </a:cubicBezTo>
                <a:cubicBezTo>
                  <a:pt x="272" y="153"/>
                  <a:pt x="272" y="153"/>
                  <a:pt x="272" y="153"/>
                </a:cubicBezTo>
                <a:cubicBezTo>
                  <a:pt x="273" y="152"/>
                  <a:pt x="273" y="152"/>
                  <a:pt x="273" y="152"/>
                </a:cubicBezTo>
                <a:cubicBezTo>
                  <a:pt x="273" y="152"/>
                  <a:pt x="273" y="152"/>
                  <a:pt x="273" y="152"/>
                </a:cubicBezTo>
                <a:cubicBezTo>
                  <a:pt x="271" y="151"/>
                  <a:pt x="271" y="151"/>
                  <a:pt x="271" y="151"/>
                </a:cubicBezTo>
                <a:cubicBezTo>
                  <a:pt x="271" y="149"/>
                  <a:pt x="271" y="149"/>
                  <a:pt x="271" y="149"/>
                </a:cubicBezTo>
                <a:cubicBezTo>
                  <a:pt x="271" y="149"/>
                  <a:pt x="271" y="149"/>
                  <a:pt x="271" y="149"/>
                </a:cubicBezTo>
                <a:cubicBezTo>
                  <a:pt x="270" y="146"/>
                  <a:pt x="270" y="146"/>
                  <a:pt x="270" y="146"/>
                </a:cubicBezTo>
                <a:cubicBezTo>
                  <a:pt x="269" y="146"/>
                  <a:pt x="269" y="146"/>
                  <a:pt x="269" y="146"/>
                </a:cubicBezTo>
                <a:cubicBezTo>
                  <a:pt x="269" y="146"/>
                  <a:pt x="269" y="146"/>
                  <a:pt x="269" y="146"/>
                </a:cubicBezTo>
                <a:cubicBezTo>
                  <a:pt x="268" y="146"/>
                  <a:pt x="268" y="146"/>
                  <a:pt x="268" y="146"/>
                </a:cubicBezTo>
                <a:cubicBezTo>
                  <a:pt x="268" y="147"/>
                  <a:pt x="268" y="147"/>
                  <a:pt x="268" y="147"/>
                </a:cubicBezTo>
                <a:cubicBezTo>
                  <a:pt x="268" y="147"/>
                  <a:pt x="268" y="147"/>
                  <a:pt x="268" y="147"/>
                </a:cubicBezTo>
                <a:cubicBezTo>
                  <a:pt x="266" y="145"/>
                  <a:pt x="266" y="145"/>
                  <a:pt x="266" y="145"/>
                </a:cubicBezTo>
                <a:cubicBezTo>
                  <a:pt x="265" y="145"/>
                  <a:pt x="265" y="145"/>
                  <a:pt x="265" y="145"/>
                </a:cubicBezTo>
                <a:cubicBezTo>
                  <a:pt x="265" y="144"/>
                  <a:pt x="265" y="144"/>
                  <a:pt x="265" y="144"/>
                </a:cubicBezTo>
                <a:cubicBezTo>
                  <a:pt x="264" y="144"/>
                  <a:pt x="264" y="144"/>
                  <a:pt x="264" y="144"/>
                </a:cubicBezTo>
                <a:cubicBezTo>
                  <a:pt x="264" y="146"/>
                  <a:pt x="264" y="146"/>
                  <a:pt x="264" y="146"/>
                </a:cubicBezTo>
                <a:cubicBezTo>
                  <a:pt x="264" y="146"/>
                  <a:pt x="264" y="146"/>
                  <a:pt x="264" y="146"/>
                </a:cubicBezTo>
                <a:cubicBezTo>
                  <a:pt x="263" y="146"/>
                  <a:pt x="263" y="146"/>
                  <a:pt x="263" y="146"/>
                </a:cubicBezTo>
                <a:cubicBezTo>
                  <a:pt x="262" y="147"/>
                  <a:pt x="262" y="147"/>
                  <a:pt x="262" y="147"/>
                </a:cubicBezTo>
                <a:cubicBezTo>
                  <a:pt x="262" y="148"/>
                  <a:pt x="262" y="148"/>
                  <a:pt x="262" y="148"/>
                </a:cubicBezTo>
                <a:cubicBezTo>
                  <a:pt x="261" y="149"/>
                  <a:pt x="261" y="149"/>
                  <a:pt x="261" y="149"/>
                </a:cubicBezTo>
                <a:cubicBezTo>
                  <a:pt x="260" y="152"/>
                  <a:pt x="260" y="152"/>
                  <a:pt x="260" y="152"/>
                </a:cubicBezTo>
                <a:cubicBezTo>
                  <a:pt x="260" y="153"/>
                  <a:pt x="260" y="153"/>
                  <a:pt x="260" y="153"/>
                </a:cubicBezTo>
                <a:cubicBezTo>
                  <a:pt x="260" y="154"/>
                  <a:pt x="260" y="154"/>
                  <a:pt x="260" y="154"/>
                </a:cubicBezTo>
                <a:cubicBezTo>
                  <a:pt x="259" y="155"/>
                  <a:pt x="259" y="155"/>
                  <a:pt x="259" y="155"/>
                </a:cubicBezTo>
                <a:cubicBezTo>
                  <a:pt x="259" y="156"/>
                  <a:pt x="259" y="156"/>
                  <a:pt x="259" y="156"/>
                </a:cubicBezTo>
                <a:cubicBezTo>
                  <a:pt x="259" y="157"/>
                  <a:pt x="259" y="157"/>
                  <a:pt x="259" y="157"/>
                </a:cubicBezTo>
                <a:cubicBezTo>
                  <a:pt x="258" y="157"/>
                  <a:pt x="258" y="157"/>
                  <a:pt x="258" y="157"/>
                </a:cubicBezTo>
                <a:cubicBezTo>
                  <a:pt x="258" y="160"/>
                  <a:pt x="258" y="160"/>
                  <a:pt x="258" y="160"/>
                </a:cubicBezTo>
                <a:cubicBezTo>
                  <a:pt x="257" y="161"/>
                  <a:pt x="257" y="161"/>
                  <a:pt x="257" y="161"/>
                </a:cubicBezTo>
                <a:cubicBezTo>
                  <a:pt x="256" y="160"/>
                  <a:pt x="256" y="160"/>
                  <a:pt x="256" y="160"/>
                </a:cubicBezTo>
                <a:cubicBezTo>
                  <a:pt x="256" y="162"/>
                  <a:pt x="256" y="162"/>
                  <a:pt x="256" y="162"/>
                </a:cubicBezTo>
                <a:cubicBezTo>
                  <a:pt x="256" y="163"/>
                  <a:pt x="256" y="163"/>
                  <a:pt x="256" y="163"/>
                </a:cubicBezTo>
                <a:cubicBezTo>
                  <a:pt x="256" y="164"/>
                  <a:pt x="256" y="164"/>
                  <a:pt x="256" y="164"/>
                </a:cubicBezTo>
                <a:cubicBezTo>
                  <a:pt x="255" y="166"/>
                  <a:pt x="255" y="166"/>
                  <a:pt x="255" y="166"/>
                </a:cubicBezTo>
                <a:cubicBezTo>
                  <a:pt x="255" y="167"/>
                  <a:pt x="255" y="167"/>
                  <a:pt x="255" y="167"/>
                </a:cubicBezTo>
                <a:cubicBezTo>
                  <a:pt x="255" y="168"/>
                  <a:pt x="255" y="168"/>
                  <a:pt x="255" y="168"/>
                </a:cubicBezTo>
                <a:cubicBezTo>
                  <a:pt x="255" y="169"/>
                  <a:pt x="255" y="169"/>
                  <a:pt x="255" y="169"/>
                </a:cubicBezTo>
                <a:cubicBezTo>
                  <a:pt x="254" y="169"/>
                  <a:pt x="254" y="169"/>
                  <a:pt x="254" y="169"/>
                </a:cubicBezTo>
                <a:cubicBezTo>
                  <a:pt x="254" y="169"/>
                  <a:pt x="254" y="169"/>
                  <a:pt x="254" y="169"/>
                </a:cubicBezTo>
                <a:cubicBezTo>
                  <a:pt x="255" y="170"/>
                  <a:pt x="255" y="170"/>
                  <a:pt x="255" y="170"/>
                </a:cubicBezTo>
                <a:cubicBezTo>
                  <a:pt x="255" y="171"/>
                  <a:pt x="255" y="171"/>
                  <a:pt x="255" y="171"/>
                </a:cubicBezTo>
                <a:cubicBezTo>
                  <a:pt x="255" y="170"/>
                  <a:pt x="255" y="170"/>
                  <a:pt x="255" y="170"/>
                </a:cubicBezTo>
                <a:cubicBezTo>
                  <a:pt x="254" y="171"/>
                  <a:pt x="254" y="171"/>
                  <a:pt x="254" y="171"/>
                </a:cubicBezTo>
                <a:cubicBezTo>
                  <a:pt x="253" y="171"/>
                  <a:pt x="253" y="171"/>
                  <a:pt x="253" y="171"/>
                </a:cubicBezTo>
                <a:cubicBezTo>
                  <a:pt x="252" y="171"/>
                  <a:pt x="252" y="171"/>
                  <a:pt x="252" y="171"/>
                </a:cubicBezTo>
                <a:cubicBezTo>
                  <a:pt x="251" y="172"/>
                  <a:pt x="251" y="172"/>
                  <a:pt x="251" y="172"/>
                </a:cubicBezTo>
                <a:cubicBezTo>
                  <a:pt x="252" y="173"/>
                  <a:pt x="252" y="173"/>
                  <a:pt x="252" y="173"/>
                </a:cubicBezTo>
                <a:cubicBezTo>
                  <a:pt x="251" y="173"/>
                  <a:pt x="251" y="173"/>
                  <a:pt x="251" y="173"/>
                </a:cubicBezTo>
                <a:cubicBezTo>
                  <a:pt x="250" y="173"/>
                  <a:pt x="250" y="173"/>
                  <a:pt x="250" y="173"/>
                </a:cubicBezTo>
                <a:cubicBezTo>
                  <a:pt x="250" y="172"/>
                  <a:pt x="250" y="172"/>
                  <a:pt x="250" y="172"/>
                </a:cubicBezTo>
                <a:cubicBezTo>
                  <a:pt x="250" y="171"/>
                  <a:pt x="250" y="171"/>
                  <a:pt x="250" y="171"/>
                </a:cubicBezTo>
                <a:cubicBezTo>
                  <a:pt x="250" y="170"/>
                  <a:pt x="250" y="170"/>
                  <a:pt x="250" y="170"/>
                </a:cubicBezTo>
                <a:cubicBezTo>
                  <a:pt x="250" y="168"/>
                  <a:pt x="250" y="168"/>
                  <a:pt x="250" y="168"/>
                </a:cubicBezTo>
                <a:cubicBezTo>
                  <a:pt x="251" y="166"/>
                  <a:pt x="251" y="166"/>
                  <a:pt x="251" y="166"/>
                </a:cubicBezTo>
                <a:cubicBezTo>
                  <a:pt x="251" y="165"/>
                  <a:pt x="251" y="165"/>
                  <a:pt x="251" y="165"/>
                </a:cubicBezTo>
                <a:cubicBezTo>
                  <a:pt x="252" y="164"/>
                  <a:pt x="252" y="164"/>
                  <a:pt x="252" y="164"/>
                </a:cubicBezTo>
                <a:cubicBezTo>
                  <a:pt x="252" y="163"/>
                  <a:pt x="252" y="163"/>
                  <a:pt x="252" y="163"/>
                </a:cubicBezTo>
                <a:cubicBezTo>
                  <a:pt x="252" y="162"/>
                  <a:pt x="252" y="162"/>
                  <a:pt x="252" y="162"/>
                </a:cubicBezTo>
                <a:cubicBezTo>
                  <a:pt x="253" y="159"/>
                  <a:pt x="253" y="159"/>
                  <a:pt x="253" y="159"/>
                </a:cubicBezTo>
                <a:cubicBezTo>
                  <a:pt x="254" y="158"/>
                  <a:pt x="254" y="158"/>
                  <a:pt x="254" y="158"/>
                </a:cubicBezTo>
                <a:cubicBezTo>
                  <a:pt x="254" y="157"/>
                  <a:pt x="254" y="157"/>
                  <a:pt x="254" y="157"/>
                </a:cubicBezTo>
                <a:cubicBezTo>
                  <a:pt x="254" y="157"/>
                  <a:pt x="254" y="157"/>
                  <a:pt x="254" y="157"/>
                </a:cubicBezTo>
                <a:cubicBezTo>
                  <a:pt x="253" y="157"/>
                  <a:pt x="253" y="157"/>
                  <a:pt x="253" y="157"/>
                </a:cubicBezTo>
                <a:cubicBezTo>
                  <a:pt x="253" y="156"/>
                  <a:pt x="253" y="156"/>
                  <a:pt x="253" y="156"/>
                </a:cubicBezTo>
                <a:cubicBezTo>
                  <a:pt x="254" y="155"/>
                  <a:pt x="254" y="155"/>
                  <a:pt x="254" y="155"/>
                </a:cubicBezTo>
                <a:cubicBezTo>
                  <a:pt x="254" y="153"/>
                  <a:pt x="254" y="153"/>
                  <a:pt x="254" y="153"/>
                </a:cubicBezTo>
                <a:cubicBezTo>
                  <a:pt x="253" y="152"/>
                  <a:pt x="253" y="152"/>
                  <a:pt x="253" y="152"/>
                </a:cubicBezTo>
                <a:cubicBezTo>
                  <a:pt x="253" y="151"/>
                  <a:pt x="253" y="151"/>
                  <a:pt x="253" y="151"/>
                </a:cubicBezTo>
                <a:cubicBezTo>
                  <a:pt x="253" y="150"/>
                  <a:pt x="253" y="150"/>
                  <a:pt x="253" y="150"/>
                </a:cubicBezTo>
                <a:cubicBezTo>
                  <a:pt x="253" y="149"/>
                  <a:pt x="253" y="149"/>
                  <a:pt x="253" y="149"/>
                </a:cubicBezTo>
                <a:cubicBezTo>
                  <a:pt x="252" y="149"/>
                  <a:pt x="252" y="149"/>
                  <a:pt x="252" y="149"/>
                </a:cubicBezTo>
                <a:cubicBezTo>
                  <a:pt x="251" y="147"/>
                  <a:pt x="251" y="147"/>
                  <a:pt x="251" y="147"/>
                </a:cubicBezTo>
                <a:cubicBezTo>
                  <a:pt x="250" y="148"/>
                  <a:pt x="250" y="148"/>
                  <a:pt x="250" y="148"/>
                </a:cubicBezTo>
                <a:cubicBezTo>
                  <a:pt x="249" y="149"/>
                  <a:pt x="249" y="149"/>
                  <a:pt x="249" y="149"/>
                </a:cubicBezTo>
                <a:cubicBezTo>
                  <a:pt x="250" y="150"/>
                  <a:pt x="250" y="150"/>
                  <a:pt x="250" y="150"/>
                </a:cubicBezTo>
                <a:cubicBezTo>
                  <a:pt x="250" y="151"/>
                  <a:pt x="250" y="151"/>
                  <a:pt x="250" y="151"/>
                </a:cubicBezTo>
                <a:cubicBezTo>
                  <a:pt x="251" y="152"/>
                  <a:pt x="251" y="152"/>
                  <a:pt x="251" y="152"/>
                </a:cubicBezTo>
                <a:cubicBezTo>
                  <a:pt x="251" y="153"/>
                  <a:pt x="251" y="153"/>
                  <a:pt x="251" y="153"/>
                </a:cubicBezTo>
                <a:cubicBezTo>
                  <a:pt x="250" y="153"/>
                  <a:pt x="250" y="153"/>
                  <a:pt x="250" y="153"/>
                </a:cubicBezTo>
                <a:cubicBezTo>
                  <a:pt x="250" y="151"/>
                  <a:pt x="250" y="151"/>
                  <a:pt x="250" y="151"/>
                </a:cubicBezTo>
                <a:cubicBezTo>
                  <a:pt x="249" y="151"/>
                  <a:pt x="249" y="151"/>
                  <a:pt x="249" y="151"/>
                </a:cubicBezTo>
                <a:cubicBezTo>
                  <a:pt x="248" y="153"/>
                  <a:pt x="248" y="153"/>
                  <a:pt x="248" y="153"/>
                </a:cubicBezTo>
                <a:cubicBezTo>
                  <a:pt x="249" y="153"/>
                  <a:pt x="249" y="153"/>
                  <a:pt x="249" y="153"/>
                </a:cubicBezTo>
                <a:cubicBezTo>
                  <a:pt x="249" y="154"/>
                  <a:pt x="249" y="154"/>
                  <a:pt x="249" y="154"/>
                </a:cubicBezTo>
                <a:cubicBezTo>
                  <a:pt x="250" y="156"/>
                  <a:pt x="250" y="156"/>
                  <a:pt x="250" y="156"/>
                </a:cubicBezTo>
                <a:cubicBezTo>
                  <a:pt x="249" y="156"/>
                  <a:pt x="249" y="156"/>
                  <a:pt x="249" y="156"/>
                </a:cubicBezTo>
                <a:cubicBezTo>
                  <a:pt x="249" y="156"/>
                  <a:pt x="249" y="156"/>
                  <a:pt x="249" y="156"/>
                </a:cubicBezTo>
                <a:cubicBezTo>
                  <a:pt x="248" y="155"/>
                  <a:pt x="248" y="155"/>
                  <a:pt x="248" y="155"/>
                </a:cubicBezTo>
                <a:cubicBezTo>
                  <a:pt x="248" y="157"/>
                  <a:pt x="248" y="157"/>
                  <a:pt x="248" y="157"/>
                </a:cubicBezTo>
                <a:cubicBezTo>
                  <a:pt x="247" y="156"/>
                  <a:pt x="247" y="156"/>
                  <a:pt x="247" y="156"/>
                </a:cubicBezTo>
                <a:cubicBezTo>
                  <a:pt x="247" y="155"/>
                  <a:pt x="247" y="155"/>
                  <a:pt x="247" y="155"/>
                </a:cubicBezTo>
                <a:cubicBezTo>
                  <a:pt x="246" y="155"/>
                  <a:pt x="246" y="155"/>
                  <a:pt x="246" y="155"/>
                </a:cubicBezTo>
                <a:cubicBezTo>
                  <a:pt x="246" y="156"/>
                  <a:pt x="246" y="156"/>
                  <a:pt x="246" y="156"/>
                </a:cubicBezTo>
                <a:cubicBezTo>
                  <a:pt x="245" y="156"/>
                  <a:pt x="245" y="156"/>
                  <a:pt x="245" y="156"/>
                </a:cubicBezTo>
                <a:cubicBezTo>
                  <a:pt x="245" y="155"/>
                  <a:pt x="245" y="155"/>
                  <a:pt x="245" y="155"/>
                </a:cubicBezTo>
                <a:cubicBezTo>
                  <a:pt x="246" y="154"/>
                  <a:pt x="246" y="154"/>
                  <a:pt x="246" y="154"/>
                </a:cubicBezTo>
                <a:cubicBezTo>
                  <a:pt x="245" y="154"/>
                  <a:pt x="245" y="154"/>
                  <a:pt x="245" y="154"/>
                </a:cubicBezTo>
                <a:cubicBezTo>
                  <a:pt x="244" y="154"/>
                  <a:pt x="244" y="154"/>
                  <a:pt x="244" y="154"/>
                </a:cubicBezTo>
                <a:cubicBezTo>
                  <a:pt x="242" y="156"/>
                  <a:pt x="242" y="156"/>
                  <a:pt x="242" y="156"/>
                </a:cubicBezTo>
                <a:cubicBezTo>
                  <a:pt x="242" y="154"/>
                  <a:pt x="242" y="154"/>
                  <a:pt x="242" y="154"/>
                </a:cubicBezTo>
                <a:cubicBezTo>
                  <a:pt x="241" y="154"/>
                  <a:pt x="241" y="154"/>
                  <a:pt x="241" y="154"/>
                </a:cubicBezTo>
                <a:cubicBezTo>
                  <a:pt x="240" y="155"/>
                  <a:pt x="240" y="155"/>
                  <a:pt x="240" y="155"/>
                </a:cubicBezTo>
                <a:cubicBezTo>
                  <a:pt x="239" y="155"/>
                  <a:pt x="239" y="155"/>
                  <a:pt x="239" y="155"/>
                </a:cubicBezTo>
                <a:cubicBezTo>
                  <a:pt x="238" y="154"/>
                  <a:pt x="238" y="154"/>
                  <a:pt x="238" y="154"/>
                </a:cubicBezTo>
                <a:cubicBezTo>
                  <a:pt x="237" y="154"/>
                  <a:pt x="237" y="154"/>
                  <a:pt x="237" y="154"/>
                </a:cubicBezTo>
                <a:cubicBezTo>
                  <a:pt x="236" y="154"/>
                  <a:pt x="236" y="154"/>
                  <a:pt x="236" y="154"/>
                </a:cubicBezTo>
                <a:cubicBezTo>
                  <a:pt x="237" y="153"/>
                  <a:pt x="237" y="153"/>
                  <a:pt x="237" y="153"/>
                </a:cubicBezTo>
                <a:cubicBezTo>
                  <a:pt x="239" y="153"/>
                  <a:pt x="239" y="153"/>
                  <a:pt x="239" y="153"/>
                </a:cubicBezTo>
                <a:cubicBezTo>
                  <a:pt x="240" y="153"/>
                  <a:pt x="240" y="153"/>
                  <a:pt x="240" y="153"/>
                </a:cubicBezTo>
                <a:cubicBezTo>
                  <a:pt x="241" y="153"/>
                  <a:pt x="241" y="153"/>
                  <a:pt x="241" y="153"/>
                </a:cubicBezTo>
                <a:cubicBezTo>
                  <a:pt x="241" y="152"/>
                  <a:pt x="241" y="152"/>
                  <a:pt x="241" y="152"/>
                </a:cubicBezTo>
                <a:cubicBezTo>
                  <a:pt x="242" y="152"/>
                  <a:pt x="242" y="152"/>
                  <a:pt x="242" y="152"/>
                </a:cubicBezTo>
                <a:cubicBezTo>
                  <a:pt x="243" y="152"/>
                  <a:pt x="243" y="152"/>
                  <a:pt x="243" y="152"/>
                </a:cubicBezTo>
                <a:cubicBezTo>
                  <a:pt x="244" y="151"/>
                  <a:pt x="244" y="151"/>
                  <a:pt x="244" y="151"/>
                </a:cubicBezTo>
                <a:cubicBezTo>
                  <a:pt x="244" y="150"/>
                  <a:pt x="244" y="150"/>
                  <a:pt x="244" y="150"/>
                </a:cubicBezTo>
                <a:cubicBezTo>
                  <a:pt x="244" y="149"/>
                  <a:pt x="244" y="149"/>
                  <a:pt x="244" y="149"/>
                </a:cubicBezTo>
                <a:cubicBezTo>
                  <a:pt x="244" y="148"/>
                  <a:pt x="244" y="148"/>
                  <a:pt x="244" y="148"/>
                </a:cubicBezTo>
                <a:cubicBezTo>
                  <a:pt x="242" y="146"/>
                  <a:pt x="242" y="146"/>
                  <a:pt x="242" y="146"/>
                </a:cubicBezTo>
                <a:cubicBezTo>
                  <a:pt x="241" y="146"/>
                  <a:pt x="241" y="146"/>
                  <a:pt x="241" y="146"/>
                </a:cubicBezTo>
                <a:cubicBezTo>
                  <a:pt x="241" y="145"/>
                  <a:pt x="241" y="145"/>
                  <a:pt x="241" y="145"/>
                </a:cubicBezTo>
                <a:cubicBezTo>
                  <a:pt x="239" y="143"/>
                  <a:pt x="239" y="143"/>
                  <a:pt x="239" y="143"/>
                </a:cubicBezTo>
                <a:cubicBezTo>
                  <a:pt x="239" y="143"/>
                  <a:pt x="239" y="143"/>
                  <a:pt x="239" y="143"/>
                </a:cubicBezTo>
                <a:cubicBezTo>
                  <a:pt x="238" y="143"/>
                  <a:pt x="238" y="143"/>
                  <a:pt x="238" y="143"/>
                </a:cubicBezTo>
                <a:cubicBezTo>
                  <a:pt x="236" y="144"/>
                  <a:pt x="236" y="144"/>
                  <a:pt x="236" y="144"/>
                </a:cubicBezTo>
                <a:cubicBezTo>
                  <a:pt x="236" y="144"/>
                  <a:pt x="236" y="144"/>
                  <a:pt x="236" y="144"/>
                </a:cubicBezTo>
                <a:cubicBezTo>
                  <a:pt x="234" y="146"/>
                  <a:pt x="234" y="146"/>
                  <a:pt x="234" y="146"/>
                </a:cubicBezTo>
                <a:cubicBezTo>
                  <a:pt x="234" y="146"/>
                  <a:pt x="234" y="146"/>
                  <a:pt x="234" y="146"/>
                </a:cubicBezTo>
                <a:cubicBezTo>
                  <a:pt x="234" y="147"/>
                  <a:pt x="234" y="147"/>
                  <a:pt x="234" y="147"/>
                </a:cubicBezTo>
                <a:cubicBezTo>
                  <a:pt x="233" y="147"/>
                  <a:pt x="233" y="147"/>
                  <a:pt x="233" y="147"/>
                </a:cubicBezTo>
                <a:cubicBezTo>
                  <a:pt x="232" y="148"/>
                  <a:pt x="232" y="148"/>
                  <a:pt x="232" y="148"/>
                </a:cubicBezTo>
                <a:cubicBezTo>
                  <a:pt x="232" y="147"/>
                  <a:pt x="232" y="147"/>
                  <a:pt x="232" y="147"/>
                </a:cubicBezTo>
                <a:cubicBezTo>
                  <a:pt x="231" y="147"/>
                  <a:pt x="231" y="147"/>
                  <a:pt x="231" y="147"/>
                </a:cubicBezTo>
                <a:cubicBezTo>
                  <a:pt x="230" y="147"/>
                  <a:pt x="230" y="147"/>
                  <a:pt x="230" y="147"/>
                </a:cubicBezTo>
                <a:cubicBezTo>
                  <a:pt x="229" y="147"/>
                  <a:pt x="229" y="147"/>
                  <a:pt x="229" y="147"/>
                </a:cubicBezTo>
                <a:cubicBezTo>
                  <a:pt x="229" y="147"/>
                  <a:pt x="229" y="147"/>
                  <a:pt x="229" y="147"/>
                </a:cubicBezTo>
                <a:cubicBezTo>
                  <a:pt x="227" y="147"/>
                  <a:pt x="227" y="147"/>
                  <a:pt x="227" y="147"/>
                </a:cubicBezTo>
                <a:cubicBezTo>
                  <a:pt x="227" y="147"/>
                  <a:pt x="227" y="147"/>
                  <a:pt x="227" y="147"/>
                </a:cubicBezTo>
                <a:cubicBezTo>
                  <a:pt x="227" y="146"/>
                  <a:pt x="227" y="146"/>
                  <a:pt x="227" y="146"/>
                </a:cubicBezTo>
                <a:cubicBezTo>
                  <a:pt x="229" y="146"/>
                  <a:pt x="229" y="146"/>
                  <a:pt x="229" y="146"/>
                </a:cubicBezTo>
                <a:cubicBezTo>
                  <a:pt x="230" y="145"/>
                  <a:pt x="230" y="145"/>
                  <a:pt x="230" y="145"/>
                </a:cubicBezTo>
                <a:cubicBezTo>
                  <a:pt x="231" y="144"/>
                  <a:pt x="231" y="144"/>
                  <a:pt x="231" y="144"/>
                </a:cubicBezTo>
                <a:cubicBezTo>
                  <a:pt x="231" y="145"/>
                  <a:pt x="231" y="145"/>
                  <a:pt x="231" y="145"/>
                </a:cubicBezTo>
                <a:cubicBezTo>
                  <a:pt x="232" y="143"/>
                  <a:pt x="232" y="143"/>
                  <a:pt x="232" y="143"/>
                </a:cubicBezTo>
                <a:cubicBezTo>
                  <a:pt x="232" y="142"/>
                  <a:pt x="232" y="142"/>
                  <a:pt x="232" y="142"/>
                </a:cubicBezTo>
                <a:cubicBezTo>
                  <a:pt x="233" y="141"/>
                  <a:pt x="233" y="141"/>
                  <a:pt x="233" y="141"/>
                </a:cubicBezTo>
                <a:cubicBezTo>
                  <a:pt x="234" y="141"/>
                  <a:pt x="234" y="141"/>
                  <a:pt x="234" y="141"/>
                </a:cubicBezTo>
                <a:cubicBezTo>
                  <a:pt x="235" y="139"/>
                  <a:pt x="235" y="139"/>
                  <a:pt x="235" y="139"/>
                </a:cubicBezTo>
                <a:cubicBezTo>
                  <a:pt x="235" y="138"/>
                  <a:pt x="235" y="138"/>
                  <a:pt x="235" y="138"/>
                </a:cubicBezTo>
                <a:cubicBezTo>
                  <a:pt x="235" y="137"/>
                  <a:pt x="235" y="137"/>
                  <a:pt x="235" y="137"/>
                </a:cubicBezTo>
                <a:cubicBezTo>
                  <a:pt x="235" y="135"/>
                  <a:pt x="235" y="135"/>
                  <a:pt x="235" y="135"/>
                </a:cubicBezTo>
                <a:cubicBezTo>
                  <a:pt x="234" y="135"/>
                  <a:pt x="234" y="135"/>
                  <a:pt x="234" y="135"/>
                </a:cubicBezTo>
                <a:cubicBezTo>
                  <a:pt x="232" y="136"/>
                  <a:pt x="232" y="136"/>
                  <a:pt x="232" y="136"/>
                </a:cubicBezTo>
                <a:cubicBezTo>
                  <a:pt x="229" y="137"/>
                  <a:pt x="229" y="137"/>
                  <a:pt x="229" y="137"/>
                </a:cubicBezTo>
                <a:cubicBezTo>
                  <a:pt x="227" y="137"/>
                  <a:pt x="227" y="137"/>
                  <a:pt x="227" y="137"/>
                </a:cubicBezTo>
                <a:cubicBezTo>
                  <a:pt x="222" y="138"/>
                  <a:pt x="222" y="138"/>
                  <a:pt x="222" y="138"/>
                </a:cubicBezTo>
                <a:cubicBezTo>
                  <a:pt x="217" y="140"/>
                  <a:pt x="217" y="140"/>
                  <a:pt x="217" y="140"/>
                </a:cubicBezTo>
                <a:cubicBezTo>
                  <a:pt x="215" y="142"/>
                  <a:pt x="215" y="142"/>
                  <a:pt x="215" y="142"/>
                </a:cubicBezTo>
                <a:cubicBezTo>
                  <a:pt x="212" y="142"/>
                  <a:pt x="212" y="142"/>
                  <a:pt x="212" y="142"/>
                </a:cubicBezTo>
                <a:cubicBezTo>
                  <a:pt x="207" y="145"/>
                  <a:pt x="207" y="145"/>
                  <a:pt x="207" y="145"/>
                </a:cubicBezTo>
                <a:cubicBezTo>
                  <a:pt x="206" y="146"/>
                  <a:pt x="206" y="146"/>
                  <a:pt x="206" y="146"/>
                </a:cubicBezTo>
                <a:cubicBezTo>
                  <a:pt x="206" y="147"/>
                  <a:pt x="206" y="147"/>
                  <a:pt x="206" y="147"/>
                </a:cubicBezTo>
                <a:cubicBezTo>
                  <a:pt x="207" y="147"/>
                  <a:pt x="207" y="147"/>
                  <a:pt x="207" y="147"/>
                </a:cubicBezTo>
                <a:cubicBezTo>
                  <a:pt x="207" y="148"/>
                  <a:pt x="207" y="148"/>
                  <a:pt x="207" y="148"/>
                </a:cubicBezTo>
                <a:cubicBezTo>
                  <a:pt x="206" y="148"/>
                  <a:pt x="206" y="148"/>
                  <a:pt x="206" y="148"/>
                </a:cubicBezTo>
                <a:cubicBezTo>
                  <a:pt x="205" y="148"/>
                  <a:pt x="205" y="148"/>
                  <a:pt x="205" y="148"/>
                </a:cubicBezTo>
                <a:cubicBezTo>
                  <a:pt x="203" y="150"/>
                  <a:pt x="203" y="150"/>
                  <a:pt x="203" y="150"/>
                </a:cubicBezTo>
                <a:cubicBezTo>
                  <a:pt x="201" y="150"/>
                  <a:pt x="201" y="150"/>
                  <a:pt x="201" y="150"/>
                </a:cubicBezTo>
                <a:cubicBezTo>
                  <a:pt x="200" y="151"/>
                  <a:pt x="200" y="151"/>
                  <a:pt x="200" y="151"/>
                </a:cubicBezTo>
                <a:cubicBezTo>
                  <a:pt x="200" y="152"/>
                  <a:pt x="200" y="152"/>
                  <a:pt x="200" y="152"/>
                </a:cubicBezTo>
                <a:cubicBezTo>
                  <a:pt x="198" y="153"/>
                  <a:pt x="198" y="153"/>
                  <a:pt x="198" y="153"/>
                </a:cubicBezTo>
                <a:cubicBezTo>
                  <a:pt x="198" y="154"/>
                  <a:pt x="198" y="154"/>
                  <a:pt x="198" y="154"/>
                </a:cubicBezTo>
                <a:cubicBezTo>
                  <a:pt x="198" y="156"/>
                  <a:pt x="198" y="156"/>
                  <a:pt x="198" y="156"/>
                </a:cubicBezTo>
                <a:cubicBezTo>
                  <a:pt x="198" y="156"/>
                  <a:pt x="198" y="156"/>
                  <a:pt x="198" y="156"/>
                </a:cubicBezTo>
                <a:cubicBezTo>
                  <a:pt x="199" y="156"/>
                  <a:pt x="199" y="156"/>
                  <a:pt x="199" y="156"/>
                </a:cubicBezTo>
                <a:cubicBezTo>
                  <a:pt x="199" y="157"/>
                  <a:pt x="199" y="157"/>
                  <a:pt x="199" y="157"/>
                </a:cubicBezTo>
                <a:cubicBezTo>
                  <a:pt x="199" y="157"/>
                  <a:pt x="199" y="157"/>
                  <a:pt x="199" y="157"/>
                </a:cubicBezTo>
                <a:cubicBezTo>
                  <a:pt x="200" y="157"/>
                  <a:pt x="200" y="157"/>
                  <a:pt x="200" y="157"/>
                </a:cubicBezTo>
                <a:cubicBezTo>
                  <a:pt x="201" y="157"/>
                  <a:pt x="201" y="157"/>
                  <a:pt x="201" y="157"/>
                </a:cubicBezTo>
                <a:cubicBezTo>
                  <a:pt x="202" y="157"/>
                  <a:pt x="202" y="157"/>
                  <a:pt x="202" y="157"/>
                </a:cubicBezTo>
                <a:cubicBezTo>
                  <a:pt x="203" y="157"/>
                  <a:pt x="203" y="157"/>
                  <a:pt x="203" y="157"/>
                </a:cubicBezTo>
                <a:cubicBezTo>
                  <a:pt x="203" y="158"/>
                  <a:pt x="203" y="158"/>
                  <a:pt x="203" y="158"/>
                </a:cubicBezTo>
                <a:cubicBezTo>
                  <a:pt x="201" y="159"/>
                  <a:pt x="201" y="159"/>
                  <a:pt x="201" y="159"/>
                </a:cubicBezTo>
                <a:cubicBezTo>
                  <a:pt x="200" y="158"/>
                  <a:pt x="200" y="158"/>
                  <a:pt x="200" y="158"/>
                </a:cubicBezTo>
                <a:cubicBezTo>
                  <a:pt x="199" y="159"/>
                  <a:pt x="199" y="159"/>
                  <a:pt x="199" y="159"/>
                </a:cubicBezTo>
                <a:cubicBezTo>
                  <a:pt x="199" y="160"/>
                  <a:pt x="199" y="160"/>
                  <a:pt x="199" y="160"/>
                </a:cubicBezTo>
                <a:cubicBezTo>
                  <a:pt x="201" y="161"/>
                  <a:pt x="201" y="161"/>
                  <a:pt x="201" y="161"/>
                </a:cubicBezTo>
                <a:cubicBezTo>
                  <a:pt x="202" y="160"/>
                  <a:pt x="202" y="160"/>
                  <a:pt x="202" y="160"/>
                </a:cubicBezTo>
                <a:cubicBezTo>
                  <a:pt x="202" y="159"/>
                  <a:pt x="202" y="159"/>
                  <a:pt x="202" y="159"/>
                </a:cubicBezTo>
                <a:cubicBezTo>
                  <a:pt x="203" y="159"/>
                  <a:pt x="203" y="159"/>
                  <a:pt x="203" y="159"/>
                </a:cubicBezTo>
                <a:cubicBezTo>
                  <a:pt x="204" y="160"/>
                  <a:pt x="204" y="160"/>
                  <a:pt x="204" y="160"/>
                </a:cubicBezTo>
                <a:cubicBezTo>
                  <a:pt x="203" y="161"/>
                  <a:pt x="203" y="161"/>
                  <a:pt x="203" y="161"/>
                </a:cubicBezTo>
                <a:cubicBezTo>
                  <a:pt x="204" y="161"/>
                  <a:pt x="204" y="161"/>
                  <a:pt x="204" y="161"/>
                </a:cubicBezTo>
                <a:cubicBezTo>
                  <a:pt x="206" y="161"/>
                  <a:pt x="206" y="161"/>
                  <a:pt x="206" y="161"/>
                </a:cubicBezTo>
                <a:cubicBezTo>
                  <a:pt x="208" y="161"/>
                  <a:pt x="208" y="161"/>
                  <a:pt x="208" y="161"/>
                </a:cubicBezTo>
                <a:cubicBezTo>
                  <a:pt x="209" y="161"/>
                  <a:pt x="209" y="161"/>
                  <a:pt x="209" y="161"/>
                </a:cubicBezTo>
                <a:cubicBezTo>
                  <a:pt x="211" y="161"/>
                  <a:pt x="211" y="161"/>
                  <a:pt x="211" y="161"/>
                </a:cubicBezTo>
                <a:cubicBezTo>
                  <a:pt x="212" y="161"/>
                  <a:pt x="212" y="161"/>
                  <a:pt x="212" y="161"/>
                </a:cubicBezTo>
                <a:cubicBezTo>
                  <a:pt x="214" y="162"/>
                  <a:pt x="214" y="162"/>
                  <a:pt x="214" y="162"/>
                </a:cubicBezTo>
                <a:cubicBezTo>
                  <a:pt x="214" y="163"/>
                  <a:pt x="214" y="163"/>
                  <a:pt x="214" y="163"/>
                </a:cubicBezTo>
                <a:cubicBezTo>
                  <a:pt x="215" y="163"/>
                  <a:pt x="215" y="163"/>
                  <a:pt x="215" y="163"/>
                </a:cubicBezTo>
                <a:cubicBezTo>
                  <a:pt x="215" y="163"/>
                  <a:pt x="215" y="163"/>
                  <a:pt x="215" y="163"/>
                </a:cubicBezTo>
                <a:cubicBezTo>
                  <a:pt x="214" y="163"/>
                  <a:pt x="214" y="163"/>
                  <a:pt x="214" y="163"/>
                </a:cubicBezTo>
                <a:cubicBezTo>
                  <a:pt x="212" y="162"/>
                  <a:pt x="212" y="162"/>
                  <a:pt x="212" y="162"/>
                </a:cubicBezTo>
                <a:cubicBezTo>
                  <a:pt x="210" y="162"/>
                  <a:pt x="210" y="162"/>
                  <a:pt x="210" y="162"/>
                </a:cubicBezTo>
                <a:cubicBezTo>
                  <a:pt x="209" y="163"/>
                  <a:pt x="209" y="163"/>
                  <a:pt x="209" y="163"/>
                </a:cubicBezTo>
                <a:cubicBezTo>
                  <a:pt x="211" y="163"/>
                  <a:pt x="211" y="163"/>
                  <a:pt x="211" y="163"/>
                </a:cubicBezTo>
                <a:cubicBezTo>
                  <a:pt x="211" y="164"/>
                  <a:pt x="211" y="164"/>
                  <a:pt x="211" y="164"/>
                </a:cubicBezTo>
                <a:cubicBezTo>
                  <a:pt x="209" y="164"/>
                  <a:pt x="209" y="164"/>
                  <a:pt x="209" y="164"/>
                </a:cubicBezTo>
                <a:cubicBezTo>
                  <a:pt x="208" y="163"/>
                  <a:pt x="208" y="163"/>
                  <a:pt x="208" y="163"/>
                </a:cubicBezTo>
                <a:cubicBezTo>
                  <a:pt x="206" y="164"/>
                  <a:pt x="206" y="164"/>
                  <a:pt x="206" y="164"/>
                </a:cubicBezTo>
                <a:cubicBezTo>
                  <a:pt x="205" y="164"/>
                  <a:pt x="205" y="164"/>
                  <a:pt x="205" y="164"/>
                </a:cubicBezTo>
                <a:cubicBezTo>
                  <a:pt x="204" y="164"/>
                  <a:pt x="204" y="164"/>
                  <a:pt x="204" y="164"/>
                </a:cubicBezTo>
                <a:cubicBezTo>
                  <a:pt x="203" y="164"/>
                  <a:pt x="203" y="164"/>
                  <a:pt x="203" y="164"/>
                </a:cubicBezTo>
                <a:cubicBezTo>
                  <a:pt x="202" y="164"/>
                  <a:pt x="202" y="164"/>
                  <a:pt x="202" y="164"/>
                </a:cubicBezTo>
                <a:cubicBezTo>
                  <a:pt x="201" y="164"/>
                  <a:pt x="201" y="164"/>
                  <a:pt x="201" y="164"/>
                </a:cubicBezTo>
                <a:cubicBezTo>
                  <a:pt x="198" y="164"/>
                  <a:pt x="198" y="164"/>
                  <a:pt x="198" y="164"/>
                </a:cubicBezTo>
                <a:cubicBezTo>
                  <a:pt x="198" y="164"/>
                  <a:pt x="198" y="164"/>
                  <a:pt x="198" y="164"/>
                </a:cubicBezTo>
                <a:cubicBezTo>
                  <a:pt x="196" y="165"/>
                  <a:pt x="196" y="165"/>
                  <a:pt x="196" y="165"/>
                </a:cubicBezTo>
                <a:cubicBezTo>
                  <a:pt x="195" y="166"/>
                  <a:pt x="195" y="166"/>
                  <a:pt x="195" y="166"/>
                </a:cubicBezTo>
                <a:cubicBezTo>
                  <a:pt x="196" y="170"/>
                  <a:pt x="196" y="170"/>
                  <a:pt x="196" y="170"/>
                </a:cubicBezTo>
                <a:cubicBezTo>
                  <a:pt x="196" y="170"/>
                  <a:pt x="196" y="170"/>
                  <a:pt x="196" y="170"/>
                </a:cubicBezTo>
                <a:cubicBezTo>
                  <a:pt x="196" y="172"/>
                  <a:pt x="196" y="172"/>
                  <a:pt x="196" y="172"/>
                </a:cubicBezTo>
                <a:cubicBezTo>
                  <a:pt x="195" y="172"/>
                  <a:pt x="195" y="172"/>
                  <a:pt x="195" y="172"/>
                </a:cubicBezTo>
                <a:cubicBezTo>
                  <a:pt x="195" y="173"/>
                  <a:pt x="195" y="173"/>
                  <a:pt x="195" y="173"/>
                </a:cubicBezTo>
                <a:cubicBezTo>
                  <a:pt x="196" y="173"/>
                  <a:pt x="196" y="173"/>
                  <a:pt x="196" y="173"/>
                </a:cubicBezTo>
                <a:cubicBezTo>
                  <a:pt x="197" y="173"/>
                  <a:pt x="197" y="173"/>
                  <a:pt x="197" y="173"/>
                </a:cubicBezTo>
                <a:cubicBezTo>
                  <a:pt x="198" y="173"/>
                  <a:pt x="198" y="173"/>
                  <a:pt x="198" y="173"/>
                </a:cubicBezTo>
                <a:cubicBezTo>
                  <a:pt x="198" y="174"/>
                  <a:pt x="198" y="174"/>
                  <a:pt x="198" y="174"/>
                </a:cubicBezTo>
                <a:cubicBezTo>
                  <a:pt x="200" y="174"/>
                  <a:pt x="200" y="174"/>
                  <a:pt x="200" y="174"/>
                </a:cubicBezTo>
                <a:cubicBezTo>
                  <a:pt x="200" y="173"/>
                  <a:pt x="200" y="173"/>
                  <a:pt x="200" y="173"/>
                </a:cubicBezTo>
                <a:cubicBezTo>
                  <a:pt x="200" y="173"/>
                  <a:pt x="200" y="173"/>
                  <a:pt x="200" y="173"/>
                </a:cubicBezTo>
                <a:cubicBezTo>
                  <a:pt x="201" y="174"/>
                  <a:pt x="201" y="174"/>
                  <a:pt x="201" y="174"/>
                </a:cubicBezTo>
                <a:cubicBezTo>
                  <a:pt x="201" y="174"/>
                  <a:pt x="201" y="174"/>
                  <a:pt x="201" y="174"/>
                </a:cubicBezTo>
                <a:cubicBezTo>
                  <a:pt x="202" y="174"/>
                  <a:pt x="202" y="174"/>
                  <a:pt x="202" y="174"/>
                </a:cubicBezTo>
                <a:cubicBezTo>
                  <a:pt x="203" y="174"/>
                  <a:pt x="203" y="174"/>
                  <a:pt x="203" y="174"/>
                </a:cubicBezTo>
                <a:cubicBezTo>
                  <a:pt x="203" y="175"/>
                  <a:pt x="203" y="175"/>
                  <a:pt x="203" y="175"/>
                </a:cubicBezTo>
                <a:cubicBezTo>
                  <a:pt x="204" y="175"/>
                  <a:pt x="204" y="175"/>
                  <a:pt x="204" y="175"/>
                </a:cubicBezTo>
                <a:cubicBezTo>
                  <a:pt x="205" y="175"/>
                  <a:pt x="205" y="175"/>
                  <a:pt x="205" y="175"/>
                </a:cubicBezTo>
                <a:cubicBezTo>
                  <a:pt x="205" y="175"/>
                  <a:pt x="205" y="175"/>
                  <a:pt x="205" y="175"/>
                </a:cubicBezTo>
                <a:cubicBezTo>
                  <a:pt x="206" y="176"/>
                  <a:pt x="206" y="176"/>
                  <a:pt x="206" y="176"/>
                </a:cubicBezTo>
                <a:cubicBezTo>
                  <a:pt x="207" y="176"/>
                  <a:pt x="207" y="176"/>
                  <a:pt x="207" y="176"/>
                </a:cubicBezTo>
                <a:cubicBezTo>
                  <a:pt x="208" y="176"/>
                  <a:pt x="208" y="176"/>
                  <a:pt x="208" y="176"/>
                </a:cubicBezTo>
                <a:cubicBezTo>
                  <a:pt x="209" y="176"/>
                  <a:pt x="209" y="176"/>
                  <a:pt x="209" y="176"/>
                </a:cubicBezTo>
                <a:cubicBezTo>
                  <a:pt x="210" y="175"/>
                  <a:pt x="210" y="175"/>
                  <a:pt x="210" y="175"/>
                </a:cubicBezTo>
                <a:cubicBezTo>
                  <a:pt x="211" y="176"/>
                  <a:pt x="211" y="176"/>
                  <a:pt x="211" y="176"/>
                </a:cubicBezTo>
                <a:cubicBezTo>
                  <a:pt x="213" y="176"/>
                  <a:pt x="213" y="176"/>
                  <a:pt x="213" y="176"/>
                </a:cubicBezTo>
                <a:cubicBezTo>
                  <a:pt x="214" y="176"/>
                  <a:pt x="214" y="176"/>
                  <a:pt x="214" y="176"/>
                </a:cubicBezTo>
                <a:cubicBezTo>
                  <a:pt x="215" y="176"/>
                  <a:pt x="215" y="176"/>
                  <a:pt x="215" y="176"/>
                </a:cubicBezTo>
                <a:cubicBezTo>
                  <a:pt x="215" y="177"/>
                  <a:pt x="215" y="177"/>
                  <a:pt x="215" y="177"/>
                </a:cubicBezTo>
                <a:cubicBezTo>
                  <a:pt x="216" y="176"/>
                  <a:pt x="216" y="176"/>
                  <a:pt x="216" y="176"/>
                </a:cubicBezTo>
                <a:cubicBezTo>
                  <a:pt x="216" y="177"/>
                  <a:pt x="216" y="177"/>
                  <a:pt x="216" y="177"/>
                </a:cubicBezTo>
                <a:cubicBezTo>
                  <a:pt x="217" y="178"/>
                  <a:pt x="217" y="178"/>
                  <a:pt x="217" y="178"/>
                </a:cubicBezTo>
                <a:cubicBezTo>
                  <a:pt x="217" y="179"/>
                  <a:pt x="217" y="179"/>
                  <a:pt x="217" y="179"/>
                </a:cubicBezTo>
                <a:cubicBezTo>
                  <a:pt x="218" y="179"/>
                  <a:pt x="218" y="179"/>
                  <a:pt x="218" y="179"/>
                </a:cubicBezTo>
                <a:cubicBezTo>
                  <a:pt x="219" y="179"/>
                  <a:pt x="219" y="179"/>
                  <a:pt x="219" y="179"/>
                </a:cubicBezTo>
                <a:cubicBezTo>
                  <a:pt x="220" y="180"/>
                  <a:pt x="220" y="180"/>
                  <a:pt x="220" y="180"/>
                </a:cubicBezTo>
                <a:cubicBezTo>
                  <a:pt x="220" y="181"/>
                  <a:pt x="220" y="181"/>
                  <a:pt x="220" y="181"/>
                </a:cubicBezTo>
                <a:cubicBezTo>
                  <a:pt x="221" y="181"/>
                  <a:pt x="221" y="181"/>
                  <a:pt x="221" y="181"/>
                </a:cubicBezTo>
                <a:cubicBezTo>
                  <a:pt x="221" y="182"/>
                  <a:pt x="221" y="182"/>
                  <a:pt x="221" y="182"/>
                </a:cubicBezTo>
                <a:cubicBezTo>
                  <a:pt x="221" y="182"/>
                  <a:pt x="221" y="182"/>
                  <a:pt x="221" y="182"/>
                </a:cubicBezTo>
                <a:cubicBezTo>
                  <a:pt x="221" y="183"/>
                  <a:pt x="221" y="183"/>
                  <a:pt x="221" y="183"/>
                </a:cubicBezTo>
                <a:cubicBezTo>
                  <a:pt x="222" y="184"/>
                  <a:pt x="222" y="184"/>
                  <a:pt x="222" y="184"/>
                </a:cubicBezTo>
                <a:cubicBezTo>
                  <a:pt x="224" y="185"/>
                  <a:pt x="224" y="185"/>
                  <a:pt x="224" y="185"/>
                </a:cubicBezTo>
                <a:cubicBezTo>
                  <a:pt x="224" y="186"/>
                  <a:pt x="224" y="186"/>
                  <a:pt x="224" y="186"/>
                </a:cubicBezTo>
                <a:cubicBezTo>
                  <a:pt x="223" y="186"/>
                  <a:pt x="223" y="186"/>
                  <a:pt x="223" y="186"/>
                </a:cubicBezTo>
                <a:cubicBezTo>
                  <a:pt x="224" y="187"/>
                  <a:pt x="224" y="187"/>
                  <a:pt x="224" y="187"/>
                </a:cubicBezTo>
                <a:cubicBezTo>
                  <a:pt x="223" y="187"/>
                  <a:pt x="223" y="187"/>
                  <a:pt x="223" y="187"/>
                </a:cubicBezTo>
                <a:cubicBezTo>
                  <a:pt x="221" y="186"/>
                  <a:pt x="221" y="186"/>
                  <a:pt x="221" y="186"/>
                </a:cubicBezTo>
                <a:cubicBezTo>
                  <a:pt x="219" y="185"/>
                  <a:pt x="219" y="185"/>
                  <a:pt x="219" y="185"/>
                </a:cubicBezTo>
                <a:cubicBezTo>
                  <a:pt x="218" y="186"/>
                  <a:pt x="218" y="186"/>
                  <a:pt x="218" y="186"/>
                </a:cubicBezTo>
                <a:cubicBezTo>
                  <a:pt x="217" y="185"/>
                  <a:pt x="217" y="185"/>
                  <a:pt x="217" y="185"/>
                </a:cubicBezTo>
                <a:cubicBezTo>
                  <a:pt x="217" y="186"/>
                  <a:pt x="217" y="186"/>
                  <a:pt x="217" y="186"/>
                </a:cubicBezTo>
                <a:cubicBezTo>
                  <a:pt x="216" y="186"/>
                  <a:pt x="216" y="186"/>
                  <a:pt x="216" y="186"/>
                </a:cubicBezTo>
                <a:cubicBezTo>
                  <a:pt x="215" y="185"/>
                  <a:pt x="215" y="185"/>
                  <a:pt x="215" y="185"/>
                </a:cubicBezTo>
                <a:cubicBezTo>
                  <a:pt x="214" y="185"/>
                  <a:pt x="214" y="185"/>
                  <a:pt x="214" y="185"/>
                </a:cubicBezTo>
                <a:cubicBezTo>
                  <a:pt x="214" y="184"/>
                  <a:pt x="214" y="184"/>
                  <a:pt x="214" y="184"/>
                </a:cubicBezTo>
                <a:cubicBezTo>
                  <a:pt x="213" y="183"/>
                  <a:pt x="213" y="183"/>
                  <a:pt x="213" y="183"/>
                </a:cubicBezTo>
                <a:cubicBezTo>
                  <a:pt x="212" y="184"/>
                  <a:pt x="212" y="184"/>
                  <a:pt x="212" y="184"/>
                </a:cubicBezTo>
                <a:cubicBezTo>
                  <a:pt x="211" y="183"/>
                  <a:pt x="211" y="183"/>
                  <a:pt x="211" y="183"/>
                </a:cubicBezTo>
                <a:cubicBezTo>
                  <a:pt x="210" y="183"/>
                  <a:pt x="210" y="183"/>
                  <a:pt x="210" y="183"/>
                </a:cubicBezTo>
                <a:cubicBezTo>
                  <a:pt x="209" y="182"/>
                  <a:pt x="209" y="182"/>
                  <a:pt x="209" y="182"/>
                </a:cubicBezTo>
                <a:cubicBezTo>
                  <a:pt x="209" y="181"/>
                  <a:pt x="209" y="181"/>
                  <a:pt x="209" y="181"/>
                </a:cubicBezTo>
                <a:cubicBezTo>
                  <a:pt x="208" y="181"/>
                  <a:pt x="208" y="181"/>
                  <a:pt x="208" y="181"/>
                </a:cubicBezTo>
                <a:cubicBezTo>
                  <a:pt x="208" y="181"/>
                  <a:pt x="208" y="181"/>
                  <a:pt x="208" y="181"/>
                </a:cubicBezTo>
                <a:cubicBezTo>
                  <a:pt x="206" y="181"/>
                  <a:pt x="206" y="181"/>
                  <a:pt x="206" y="181"/>
                </a:cubicBezTo>
                <a:cubicBezTo>
                  <a:pt x="206" y="181"/>
                  <a:pt x="206" y="181"/>
                  <a:pt x="206" y="181"/>
                </a:cubicBezTo>
                <a:cubicBezTo>
                  <a:pt x="203" y="181"/>
                  <a:pt x="203" y="181"/>
                  <a:pt x="203" y="181"/>
                </a:cubicBezTo>
                <a:cubicBezTo>
                  <a:pt x="201" y="181"/>
                  <a:pt x="201" y="181"/>
                  <a:pt x="201" y="181"/>
                </a:cubicBezTo>
                <a:cubicBezTo>
                  <a:pt x="200" y="180"/>
                  <a:pt x="200" y="180"/>
                  <a:pt x="200" y="180"/>
                </a:cubicBezTo>
                <a:cubicBezTo>
                  <a:pt x="195" y="180"/>
                  <a:pt x="195" y="180"/>
                  <a:pt x="195" y="180"/>
                </a:cubicBezTo>
                <a:cubicBezTo>
                  <a:pt x="194" y="181"/>
                  <a:pt x="194" y="181"/>
                  <a:pt x="194" y="181"/>
                </a:cubicBezTo>
                <a:cubicBezTo>
                  <a:pt x="193" y="181"/>
                  <a:pt x="193" y="181"/>
                  <a:pt x="193" y="181"/>
                </a:cubicBezTo>
                <a:cubicBezTo>
                  <a:pt x="192" y="182"/>
                  <a:pt x="192" y="182"/>
                  <a:pt x="192" y="182"/>
                </a:cubicBezTo>
                <a:cubicBezTo>
                  <a:pt x="192" y="184"/>
                  <a:pt x="192" y="184"/>
                  <a:pt x="192" y="184"/>
                </a:cubicBezTo>
                <a:cubicBezTo>
                  <a:pt x="191" y="186"/>
                  <a:pt x="191" y="186"/>
                  <a:pt x="191" y="186"/>
                </a:cubicBezTo>
                <a:cubicBezTo>
                  <a:pt x="191" y="188"/>
                  <a:pt x="191" y="188"/>
                  <a:pt x="191" y="188"/>
                </a:cubicBezTo>
                <a:cubicBezTo>
                  <a:pt x="191" y="188"/>
                  <a:pt x="191" y="188"/>
                  <a:pt x="191" y="188"/>
                </a:cubicBezTo>
                <a:cubicBezTo>
                  <a:pt x="191" y="189"/>
                  <a:pt x="191" y="189"/>
                  <a:pt x="191" y="189"/>
                </a:cubicBezTo>
                <a:cubicBezTo>
                  <a:pt x="192" y="189"/>
                  <a:pt x="192" y="189"/>
                  <a:pt x="192" y="189"/>
                </a:cubicBezTo>
                <a:cubicBezTo>
                  <a:pt x="192" y="190"/>
                  <a:pt x="192" y="190"/>
                  <a:pt x="192" y="190"/>
                </a:cubicBezTo>
                <a:cubicBezTo>
                  <a:pt x="191" y="190"/>
                  <a:pt x="191" y="190"/>
                  <a:pt x="191" y="190"/>
                </a:cubicBezTo>
                <a:cubicBezTo>
                  <a:pt x="192" y="193"/>
                  <a:pt x="192" y="193"/>
                  <a:pt x="192" y="193"/>
                </a:cubicBezTo>
                <a:cubicBezTo>
                  <a:pt x="193" y="194"/>
                  <a:pt x="193" y="194"/>
                  <a:pt x="193" y="194"/>
                </a:cubicBezTo>
                <a:cubicBezTo>
                  <a:pt x="194" y="194"/>
                  <a:pt x="194" y="194"/>
                  <a:pt x="194" y="194"/>
                </a:cubicBezTo>
                <a:cubicBezTo>
                  <a:pt x="195" y="195"/>
                  <a:pt x="195" y="195"/>
                  <a:pt x="195" y="195"/>
                </a:cubicBezTo>
                <a:cubicBezTo>
                  <a:pt x="196" y="196"/>
                  <a:pt x="196" y="196"/>
                  <a:pt x="196" y="196"/>
                </a:cubicBezTo>
                <a:cubicBezTo>
                  <a:pt x="197" y="196"/>
                  <a:pt x="197" y="196"/>
                  <a:pt x="197" y="196"/>
                </a:cubicBezTo>
                <a:cubicBezTo>
                  <a:pt x="198" y="196"/>
                  <a:pt x="198" y="196"/>
                  <a:pt x="198" y="196"/>
                </a:cubicBezTo>
                <a:cubicBezTo>
                  <a:pt x="198" y="197"/>
                  <a:pt x="198" y="197"/>
                  <a:pt x="198" y="197"/>
                </a:cubicBezTo>
                <a:cubicBezTo>
                  <a:pt x="200" y="196"/>
                  <a:pt x="200" y="196"/>
                  <a:pt x="200" y="196"/>
                </a:cubicBezTo>
                <a:cubicBezTo>
                  <a:pt x="200" y="196"/>
                  <a:pt x="200" y="196"/>
                  <a:pt x="200" y="196"/>
                </a:cubicBezTo>
                <a:cubicBezTo>
                  <a:pt x="201" y="197"/>
                  <a:pt x="201" y="197"/>
                  <a:pt x="201" y="197"/>
                </a:cubicBezTo>
                <a:cubicBezTo>
                  <a:pt x="203" y="197"/>
                  <a:pt x="203" y="197"/>
                  <a:pt x="203" y="197"/>
                </a:cubicBezTo>
                <a:cubicBezTo>
                  <a:pt x="203" y="198"/>
                  <a:pt x="203" y="198"/>
                  <a:pt x="203" y="198"/>
                </a:cubicBezTo>
                <a:cubicBezTo>
                  <a:pt x="204" y="199"/>
                  <a:pt x="204" y="199"/>
                  <a:pt x="204" y="199"/>
                </a:cubicBezTo>
                <a:cubicBezTo>
                  <a:pt x="204" y="199"/>
                  <a:pt x="204" y="199"/>
                  <a:pt x="204" y="199"/>
                </a:cubicBezTo>
                <a:cubicBezTo>
                  <a:pt x="203" y="200"/>
                  <a:pt x="203" y="200"/>
                  <a:pt x="203" y="200"/>
                </a:cubicBezTo>
                <a:cubicBezTo>
                  <a:pt x="203" y="201"/>
                  <a:pt x="203" y="201"/>
                  <a:pt x="203" y="201"/>
                </a:cubicBezTo>
                <a:cubicBezTo>
                  <a:pt x="203" y="201"/>
                  <a:pt x="203" y="201"/>
                  <a:pt x="203" y="201"/>
                </a:cubicBezTo>
                <a:cubicBezTo>
                  <a:pt x="203" y="202"/>
                  <a:pt x="203" y="202"/>
                  <a:pt x="203" y="202"/>
                </a:cubicBezTo>
                <a:cubicBezTo>
                  <a:pt x="202" y="203"/>
                  <a:pt x="202" y="203"/>
                  <a:pt x="202" y="203"/>
                </a:cubicBezTo>
                <a:cubicBezTo>
                  <a:pt x="201" y="203"/>
                  <a:pt x="201" y="203"/>
                  <a:pt x="201" y="203"/>
                </a:cubicBezTo>
                <a:cubicBezTo>
                  <a:pt x="201" y="204"/>
                  <a:pt x="201" y="204"/>
                  <a:pt x="201" y="204"/>
                </a:cubicBezTo>
                <a:cubicBezTo>
                  <a:pt x="200" y="205"/>
                  <a:pt x="200" y="205"/>
                  <a:pt x="200" y="205"/>
                </a:cubicBezTo>
                <a:cubicBezTo>
                  <a:pt x="201" y="205"/>
                  <a:pt x="201" y="205"/>
                  <a:pt x="201" y="205"/>
                </a:cubicBezTo>
                <a:cubicBezTo>
                  <a:pt x="201" y="207"/>
                  <a:pt x="201" y="207"/>
                  <a:pt x="201" y="207"/>
                </a:cubicBezTo>
                <a:cubicBezTo>
                  <a:pt x="202" y="208"/>
                  <a:pt x="202" y="208"/>
                  <a:pt x="202" y="208"/>
                </a:cubicBezTo>
                <a:cubicBezTo>
                  <a:pt x="202" y="209"/>
                  <a:pt x="202" y="209"/>
                  <a:pt x="202" y="209"/>
                </a:cubicBezTo>
                <a:cubicBezTo>
                  <a:pt x="200" y="209"/>
                  <a:pt x="200" y="209"/>
                  <a:pt x="200" y="209"/>
                </a:cubicBezTo>
                <a:cubicBezTo>
                  <a:pt x="201" y="210"/>
                  <a:pt x="201" y="210"/>
                  <a:pt x="201" y="210"/>
                </a:cubicBezTo>
                <a:cubicBezTo>
                  <a:pt x="203" y="210"/>
                  <a:pt x="203" y="210"/>
                  <a:pt x="203" y="210"/>
                </a:cubicBezTo>
                <a:cubicBezTo>
                  <a:pt x="204" y="210"/>
                  <a:pt x="204" y="210"/>
                  <a:pt x="204" y="210"/>
                </a:cubicBezTo>
                <a:cubicBezTo>
                  <a:pt x="204" y="210"/>
                  <a:pt x="204" y="210"/>
                  <a:pt x="204" y="210"/>
                </a:cubicBezTo>
                <a:cubicBezTo>
                  <a:pt x="205" y="211"/>
                  <a:pt x="205" y="211"/>
                  <a:pt x="205" y="211"/>
                </a:cubicBezTo>
                <a:cubicBezTo>
                  <a:pt x="205" y="210"/>
                  <a:pt x="205" y="210"/>
                  <a:pt x="205" y="210"/>
                </a:cubicBezTo>
                <a:cubicBezTo>
                  <a:pt x="206" y="210"/>
                  <a:pt x="206" y="210"/>
                  <a:pt x="206" y="210"/>
                </a:cubicBezTo>
                <a:cubicBezTo>
                  <a:pt x="206" y="210"/>
                  <a:pt x="206" y="210"/>
                  <a:pt x="206" y="210"/>
                </a:cubicBezTo>
                <a:cubicBezTo>
                  <a:pt x="208" y="210"/>
                  <a:pt x="208" y="210"/>
                  <a:pt x="208" y="210"/>
                </a:cubicBezTo>
                <a:cubicBezTo>
                  <a:pt x="210" y="211"/>
                  <a:pt x="210" y="211"/>
                  <a:pt x="210" y="211"/>
                </a:cubicBezTo>
                <a:cubicBezTo>
                  <a:pt x="211" y="210"/>
                  <a:pt x="211" y="210"/>
                  <a:pt x="211" y="210"/>
                </a:cubicBezTo>
                <a:cubicBezTo>
                  <a:pt x="212" y="210"/>
                  <a:pt x="212" y="210"/>
                  <a:pt x="212" y="210"/>
                </a:cubicBezTo>
                <a:cubicBezTo>
                  <a:pt x="213" y="211"/>
                  <a:pt x="213" y="211"/>
                  <a:pt x="213" y="211"/>
                </a:cubicBezTo>
                <a:cubicBezTo>
                  <a:pt x="213" y="211"/>
                  <a:pt x="213" y="211"/>
                  <a:pt x="213" y="211"/>
                </a:cubicBezTo>
                <a:cubicBezTo>
                  <a:pt x="213" y="211"/>
                  <a:pt x="213" y="211"/>
                  <a:pt x="213" y="211"/>
                </a:cubicBezTo>
                <a:cubicBezTo>
                  <a:pt x="214" y="210"/>
                  <a:pt x="214" y="210"/>
                  <a:pt x="214" y="210"/>
                </a:cubicBezTo>
                <a:cubicBezTo>
                  <a:pt x="215" y="211"/>
                  <a:pt x="215" y="211"/>
                  <a:pt x="215" y="211"/>
                </a:cubicBezTo>
                <a:cubicBezTo>
                  <a:pt x="215" y="211"/>
                  <a:pt x="215" y="211"/>
                  <a:pt x="215" y="211"/>
                </a:cubicBezTo>
                <a:cubicBezTo>
                  <a:pt x="216" y="211"/>
                  <a:pt x="216" y="211"/>
                  <a:pt x="216" y="211"/>
                </a:cubicBezTo>
                <a:cubicBezTo>
                  <a:pt x="216" y="211"/>
                  <a:pt x="216" y="211"/>
                  <a:pt x="216" y="211"/>
                </a:cubicBezTo>
                <a:cubicBezTo>
                  <a:pt x="217" y="211"/>
                  <a:pt x="217" y="211"/>
                  <a:pt x="217" y="211"/>
                </a:cubicBezTo>
                <a:cubicBezTo>
                  <a:pt x="217" y="212"/>
                  <a:pt x="217" y="212"/>
                  <a:pt x="217" y="212"/>
                </a:cubicBezTo>
                <a:cubicBezTo>
                  <a:pt x="218" y="212"/>
                  <a:pt x="218" y="212"/>
                  <a:pt x="218" y="212"/>
                </a:cubicBezTo>
                <a:cubicBezTo>
                  <a:pt x="218" y="212"/>
                  <a:pt x="218" y="212"/>
                  <a:pt x="218" y="212"/>
                </a:cubicBezTo>
                <a:cubicBezTo>
                  <a:pt x="220" y="212"/>
                  <a:pt x="220" y="212"/>
                  <a:pt x="220" y="212"/>
                </a:cubicBezTo>
                <a:cubicBezTo>
                  <a:pt x="220" y="211"/>
                  <a:pt x="220" y="211"/>
                  <a:pt x="220" y="211"/>
                </a:cubicBezTo>
                <a:cubicBezTo>
                  <a:pt x="222" y="210"/>
                  <a:pt x="222" y="210"/>
                  <a:pt x="222" y="210"/>
                </a:cubicBezTo>
                <a:cubicBezTo>
                  <a:pt x="222" y="210"/>
                  <a:pt x="222" y="210"/>
                  <a:pt x="222" y="210"/>
                </a:cubicBezTo>
                <a:cubicBezTo>
                  <a:pt x="224" y="209"/>
                  <a:pt x="224" y="209"/>
                  <a:pt x="224" y="209"/>
                </a:cubicBezTo>
                <a:cubicBezTo>
                  <a:pt x="225" y="209"/>
                  <a:pt x="225" y="209"/>
                  <a:pt x="225" y="209"/>
                </a:cubicBezTo>
                <a:cubicBezTo>
                  <a:pt x="226" y="208"/>
                  <a:pt x="226" y="208"/>
                  <a:pt x="226" y="208"/>
                </a:cubicBezTo>
                <a:cubicBezTo>
                  <a:pt x="227" y="208"/>
                  <a:pt x="227" y="208"/>
                  <a:pt x="227" y="208"/>
                </a:cubicBezTo>
                <a:cubicBezTo>
                  <a:pt x="227" y="208"/>
                  <a:pt x="227" y="208"/>
                  <a:pt x="227" y="208"/>
                </a:cubicBezTo>
                <a:cubicBezTo>
                  <a:pt x="229" y="208"/>
                  <a:pt x="229" y="208"/>
                  <a:pt x="229" y="208"/>
                </a:cubicBezTo>
                <a:cubicBezTo>
                  <a:pt x="229" y="208"/>
                  <a:pt x="229" y="208"/>
                  <a:pt x="229" y="208"/>
                </a:cubicBezTo>
                <a:cubicBezTo>
                  <a:pt x="230" y="208"/>
                  <a:pt x="230" y="208"/>
                  <a:pt x="230" y="208"/>
                </a:cubicBezTo>
                <a:cubicBezTo>
                  <a:pt x="233" y="208"/>
                  <a:pt x="233" y="208"/>
                  <a:pt x="233" y="208"/>
                </a:cubicBezTo>
                <a:cubicBezTo>
                  <a:pt x="235" y="207"/>
                  <a:pt x="235" y="207"/>
                  <a:pt x="235" y="207"/>
                </a:cubicBezTo>
                <a:cubicBezTo>
                  <a:pt x="236" y="206"/>
                  <a:pt x="236" y="206"/>
                  <a:pt x="236" y="206"/>
                </a:cubicBezTo>
                <a:cubicBezTo>
                  <a:pt x="236" y="206"/>
                  <a:pt x="236" y="206"/>
                  <a:pt x="236" y="206"/>
                </a:cubicBezTo>
                <a:cubicBezTo>
                  <a:pt x="236" y="206"/>
                  <a:pt x="236" y="206"/>
                  <a:pt x="236" y="206"/>
                </a:cubicBezTo>
                <a:cubicBezTo>
                  <a:pt x="237" y="206"/>
                  <a:pt x="237" y="206"/>
                  <a:pt x="237" y="206"/>
                </a:cubicBezTo>
                <a:cubicBezTo>
                  <a:pt x="238" y="205"/>
                  <a:pt x="238" y="205"/>
                  <a:pt x="238" y="205"/>
                </a:cubicBezTo>
                <a:cubicBezTo>
                  <a:pt x="238" y="204"/>
                  <a:pt x="238" y="204"/>
                  <a:pt x="238" y="204"/>
                </a:cubicBezTo>
                <a:cubicBezTo>
                  <a:pt x="238" y="204"/>
                  <a:pt x="238" y="204"/>
                  <a:pt x="238" y="204"/>
                </a:cubicBezTo>
                <a:cubicBezTo>
                  <a:pt x="239" y="204"/>
                  <a:pt x="239" y="204"/>
                  <a:pt x="239" y="204"/>
                </a:cubicBezTo>
                <a:cubicBezTo>
                  <a:pt x="239" y="204"/>
                  <a:pt x="239" y="204"/>
                  <a:pt x="239" y="204"/>
                </a:cubicBezTo>
                <a:cubicBezTo>
                  <a:pt x="240" y="203"/>
                  <a:pt x="240" y="203"/>
                  <a:pt x="240" y="203"/>
                </a:cubicBezTo>
                <a:cubicBezTo>
                  <a:pt x="240" y="203"/>
                  <a:pt x="240" y="203"/>
                  <a:pt x="240" y="203"/>
                </a:cubicBezTo>
                <a:cubicBezTo>
                  <a:pt x="240" y="203"/>
                  <a:pt x="240" y="203"/>
                  <a:pt x="240" y="203"/>
                </a:cubicBezTo>
                <a:cubicBezTo>
                  <a:pt x="241" y="203"/>
                  <a:pt x="241" y="203"/>
                  <a:pt x="241" y="203"/>
                </a:cubicBezTo>
                <a:cubicBezTo>
                  <a:pt x="241" y="203"/>
                  <a:pt x="241" y="203"/>
                  <a:pt x="241" y="203"/>
                </a:cubicBezTo>
                <a:cubicBezTo>
                  <a:pt x="241" y="204"/>
                  <a:pt x="241" y="204"/>
                  <a:pt x="241" y="204"/>
                </a:cubicBezTo>
                <a:cubicBezTo>
                  <a:pt x="242" y="205"/>
                  <a:pt x="242" y="205"/>
                  <a:pt x="242" y="205"/>
                </a:cubicBezTo>
                <a:cubicBezTo>
                  <a:pt x="241" y="205"/>
                  <a:pt x="241" y="205"/>
                  <a:pt x="241" y="205"/>
                </a:cubicBezTo>
                <a:cubicBezTo>
                  <a:pt x="241" y="206"/>
                  <a:pt x="241" y="206"/>
                  <a:pt x="241" y="206"/>
                </a:cubicBezTo>
                <a:cubicBezTo>
                  <a:pt x="240" y="207"/>
                  <a:pt x="240" y="207"/>
                  <a:pt x="240" y="207"/>
                </a:cubicBezTo>
                <a:cubicBezTo>
                  <a:pt x="240" y="207"/>
                  <a:pt x="240" y="207"/>
                  <a:pt x="240" y="207"/>
                </a:cubicBezTo>
                <a:cubicBezTo>
                  <a:pt x="240" y="208"/>
                  <a:pt x="240" y="208"/>
                  <a:pt x="240" y="208"/>
                </a:cubicBezTo>
                <a:cubicBezTo>
                  <a:pt x="240" y="208"/>
                  <a:pt x="240" y="208"/>
                  <a:pt x="240" y="208"/>
                </a:cubicBezTo>
                <a:cubicBezTo>
                  <a:pt x="241" y="209"/>
                  <a:pt x="241" y="209"/>
                  <a:pt x="241" y="209"/>
                </a:cubicBezTo>
                <a:cubicBezTo>
                  <a:pt x="242" y="208"/>
                  <a:pt x="242" y="208"/>
                  <a:pt x="242" y="208"/>
                </a:cubicBezTo>
                <a:cubicBezTo>
                  <a:pt x="243" y="208"/>
                  <a:pt x="243" y="208"/>
                  <a:pt x="243" y="208"/>
                </a:cubicBezTo>
                <a:cubicBezTo>
                  <a:pt x="244" y="209"/>
                  <a:pt x="244" y="209"/>
                  <a:pt x="244" y="209"/>
                </a:cubicBezTo>
                <a:cubicBezTo>
                  <a:pt x="244" y="210"/>
                  <a:pt x="244" y="210"/>
                  <a:pt x="244" y="210"/>
                </a:cubicBezTo>
                <a:cubicBezTo>
                  <a:pt x="244" y="210"/>
                  <a:pt x="244" y="210"/>
                  <a:pt x="244" y="210"/>
                </a:cubicBezTo>
                <a:cubicBezTo>
                  <a:pt x="245" y="210"/>
                  <a:pt x="245" y="210"/>
                  <a:pt x="245" y="210"/>
                </a:cubicBezTo>
                <a:cubicBezTo>
                  <a:pt x="245" y="209"/>
                  <a:pt x="245" y="209"/>
                  <a:pt x="245" y="209"/>
                </a:cubicBezTo>
                <a:cubicBezTo>
                  <a:pt x="246" y="210"/>
                  <a:pt x="246" y="210"/>
                  <a:pt x="246" y="210"/>
                </a:cubicBezTo>
                <a:cubicBezTo>
                  <a:pt x="246" y="211"/>
                  <a:pt x="246" y="211"/>
                  <a:pt x="246" y="211"/>
                </a:cubicBezTo>
                <a:cubicBezTo>
                  <a:pt x="245" y="211"/>
                  <a:pt x="245" y="211"/>
                  <a:pt x="245" y="211"/>
                </a:cubicBezTo>
                <a:cubicBezTo>
                  <a:pt x="244" y="211"/>
                  <a:pt x="244" y="211"/>
                  <a:pt x="244" y="211"/>
                </a:cubicBezTo>
                <a:cubicBezTo>
                  <a:pt x="243" y="212"/>
                  <a:pt x="243" y="212"/>
                  <a:pt x="243" y="212"/>
                </a:cubicBezTo>
                <a:cubicBezTo>
                  <a:pt x="243" y="213"/>
                  <a:pt x="243" y="213"/>
                  <a:pt x="243" y="213"/>
                </a:cubicBezTo>
                <a:cubicBezTo>
                  <a:pt x="244" y="213"/>
                  <a:pt x="244" y="213"/>
                  <a:pt x="244" y="213"/>
                </a:cubicBezTo>
                <a:cubicBezTo>
                  <a:pt x="245" y="213"/>
                  <a:pt x="245" y="213"/>
                  <a:pt x="245" y="213"/>
                </a:cubicBezTo>
                <a:cubicBezTo>
                  <a:pt x="246" y="214"/>
                  <a:pt x="246" y="214"/>
                  <a:pt x="246" y="214"/>
                </a:cubicBezTo>
                <a:cubicBezTo>
                  <a:pt x="247" y="213"/>
                  <a:pt x="247" y="213"/>
                  <a:pt x="247" y="213"/>
                </a:cubicBezTo>
                <a:cubicBezTo>
                  <a:pt x="248" y="212"/>
                  <a:pt x="248" y="212"/>
                  <a:pt x="248" y="212"/>
                </a:cubicBezTo>
                <a:cubicBezTo>
                  <a:pt x="248" y="212"/>
                  <a:pt x="248" y="212"/>
                  <a:pt x="248" y="212"/>
                </a:cubicBezTo>
                <a:cubicBezTo>
                  <a:pt x="248" y="213"/>
                  <a:pt x="248" y="213"/>
                  <a:pt x="248" y="213"/>
                </a:cubicBezTo>
                <a:cubicBezTo>
                  <a:pt x="249" y="214"/>
                  <a:pt x="249" y="214"/>
                  <a:pt x="249" y="214"/>
                </a:cubicBezTo>
                <a:cubicBezTo>
                  <a:pt x="249" y="215"/>
                  <a:pt x="249" y="215"/>
                  <a:pt x="249" y="215"/>
                </a:cubicBezTo>
                <a:cubicBezTo>
                  <a:pt x="250" y="214"/>
                  <a:pt x="250" y="214"/>
                  <a:pt x="250" y="214"/>
                </a:cubicBezTo>
                <a:cubicBezTo>
                  <a:pt x="251" y="214"/>
                  <a:pt x="251" y="214"/>
                  <a:pt x="251" y="214"/>
                </a:cubicBezTo>
                <a:cubicBezTo>
                  <a:pt x="251" y="215"/>
                  <a:pt x="251" y="215"/>
                  <a:pt x="251" y="215"/>
                </a:cubicBezTo>
                <a:cubicBezTo>
                  <a:pt x="252" y="215"/>
                  <a:pt x="252" y="215"/>
                  <a:pt x="252" y="215"/>
                </a:cubicBezTo>
                <a:cubicBezTo>
                  <a:pt x="253" y="216"/>
                  <a:pt x="253" y="216"/>
                  <a:pt x="253" y="216"/>
                </a:cubicBezTo>
                <a:cubicBezTo>
                  <a:pt x="253" y="216"/>
                  <a:pt x="253" y="216"/>
                  <a:pt x="253" y="216"/>
                </a:cubicBezTo>
                <a:cubicBezTo>
                  <a:pt x="253" y="215"/>
                  <a:pt x="253" y="215"/>
                  <a:pt x="253" y="215"/>
                </a:cubicBezTo>
                <a:cubicBezTo>
                  <a:pt x="254" y="215"/>
                  <a:pt x="254" y="215"/>
                  <a:pt x="254" y="215"/>
                </a:cubicBezTo>
                <a:cubicBezTo>
                  <a:pt x="255" y="215"/>
                  <a:pt x="255" y="215"/>
                  <a:pt x="255" y="215"/>
                </a:cubicBezTo>
                <a:cubicBezTo>
                  <a:pt x="255" y="215"/>
                  <a:pt x="255" y="215"/>
                  <a:pt x="255" y="215"/>
                </a:cubicBezTo>
                <a:cubicBezTo>
                  <a:pt x="255" y="216"/>
                  <a:pt x="255" y="216"/>
                  <a:pt x="255" y="216"/>
                </a:cubicBezTo>
                <a:cubicBezTo>
                  <a:pt x="256" y="216"/>
                  <a:pt x="256" y="216"/>
                  <a:pt x="256" y="216"/>
                </a:cubicBezTo>
                <a:cubicBezTo>
                  <a:pt x="257" y="216"/>
                  <a:pt x="257" y="216"/>
                  <a:pt x="257" y="216"/>
                </a:cubicBezTo>
                <a:cubicBezTo>
                  <a:pt x="257" y="215"/>
                  <a:pt x="257" y="215"/>
                  <a:pt x="257" y="215"/>
                </a:cubicBezTo>
                <a:cubicBezTo>
                  <a:pt x="258" y="215"/>
                  <a:pt x="258" y="215"/>
                  <a:pt x="258" y="215"/>
                </a:cubicBezTo>
                <a:cubicBezTo>
                  <a:pt x="258" y="216"/>
                  <a:pt x="258" y="216"/>
                  <a:pt x="258" y="216"/>
                </a:cubicBezTo>
                <a:cubicBezTo>
                  <a:pt x="258" y="216"/>
                  <a:pt x="258" y="216"/>
                  <a:pt x="258" y="216"/>
                </a:cubicBezTo>
                <a:cubicBezTo>
                  <a:pt x="259" y="215"/>
                  <a:pt x="259" y="215"/>
                  <a:pt x="259" y="215"/>
                </a:cubicBezTo>
                <a:cubicBezTo>
                  <a:pt x="259" y="215"/>
                  <a:pt x="259" y="215"/>
                  <a:pt x="259" y="215"/>
                </a:cubicBezTo>
                <a:cubicBezTo>
                  <a:pt x="260" y="215"/>
                  <a:pt x="260" y="215"/>
                  <a:pt x="260" y="215"/>
                </a:cubicBezTo>
                <a:cubicBezTo>
                  <a:pt x="261" y="215"/>
                  <a:pt x="261" y="215"/>
                  <a:pt x="261" y="215"/>
                </a:cubicBezTo>
                <a:cubicBezTo>
                  <a:pt x="261" y="215"/>
                  <a:pt x="261" y="215"/>
                  <a:pt x="261" y="215"/>
                </a:cubicBezTo>
                <a:cubicBezTo>
                  <a:pt x="261" y="215"/>
                  <a:pt x="261" y="215"/>
                  <a:pt x="261" y="215"/>
                </a:cubicBezTo>
                <a:cubicBezTo>
                  <a:pt x="262" y="215"/>
                  <a:pt x="262" y="215"/>
                  <a:pt x="262" y="215"/>
                </a:cubicBezTo>
                <a:close/>
                <a:moveTo>
                  <a:pt x="379" y="259"/>
                </a:moveTo>
                <a:cubicBezTo>
                  <a:pt x="380" y="258"/>
                  <a:pt x="380" y="258"/>
                  <a:pt x="380" y="258"/>
                </a:cubicBezTo>
                <a:cubicBezTo>
                  <a:pt x="379" y="257"/>
                  <a:pt x="379" y="257"/>
                  <a:pt x="379" y="257"/>
                </a:cubicBezTo>
                <a:cubicBezTo>
                  <a:pt x="379" y="256"/>
                  <a:pt x="379" y="256"/>
                  <a:pt x="379" y="256"/>
                </a:cubicBezTo>
                <a:cubicBezTo>
                  <a:pt x="379" y="255"/>
                  <a:pt x="379" y="255"/>
                  <a:pt x="379" y="255"/>
                </a:cubicBezTo>
                <a:cubicBezTo>
                  <a:pt x="381" y="253"/>
                  <a:pt x="381" y="253"/>
                  <a:pt x="381" y="253"/>
                </a:cubicBezTo>
                <a:cubicBezTo>
                  <a:pt x="382" y="252"/>
                  <a:pt x="382" y="252"/>
                  <a:pt x="382" y="252"/>
                </a:cubicBezTo>
                <a:cubicBezTo>
                  <a:pt x="383" y="251"/>
                  <a:pt x="383" y="251"/>
                  <a:pt x="383" y="251"/>
                </a:cubicBezTo>
                <a:cubicBezTo>
                  <a:pt x="385" y="248"/>
                  <a:pt x="385" y="248"/>
                  <a:pt x="385" y="248"/>
                </a:cubicBezTo>
                <a:cubicBezTo>
                  <a:pt x="386" y="248"/>
                  <a:pt x="386" y="248"/>
                  <a:pt x="386" y="248"/>
                </a:cubicBezTo>
                <a:cubicBezTo>
                  <a:pt x="386" y="248"/>
                  <a:pt x="386" y="248"/>
                  <a:pt x="386" y="248"/>
                </a:cubicBezTo>
                <a:cubicBezTo>
                  <a:pt x="387" y="247"/>
                  <a:pt x="387" y="247"/>
                  <a:pt x="387" y="247"/>
                </a:cubicBezTo>
                <a:cubicBezTo>
                  <a:pt x="388" y="247"/>
                  <a:pt x="388" y="247"/>
                  <a:pt x="388" y="247"/>
                </a:cubicBezTo>
                <a:cubicBezTo>
                  <a:pt x="389" y="247"/>
                  <a:pt x="389" y="247"/>
                  <a:pt x="389" y="247"/>
                </a:cubicBezTo>
                <a:cubicBezTo>
                  <a:pt x="390" y="247"/>
                  <a:pt x="390" y="247"/>
                  <a:pt x="390" y="247"/>
                </a:cubicBezTo>
                <a:cubicBezTo>
                  <a:pt x="391" y="248"/>
                  <a:pt x="391" y="248"/>
                  <a:pt x="391" y="248"/>
                </a:cubicBezTo>
                <a:cubicBezTo>
                  <a:pt x="391" y="248"/>
                  <a:pt x="391" y="248"/>
                  <a:pt x="391" y="248"/>
                </a:cubicBezTo>
                <a:cubicBezTo>
                  <a:pt x="392" y="249"/>
                  <a:pt x="392" y="249"/>
                  <a:pt x="392" y="249"/>
                </a:cubicBezTo>
                <a:cubicBezTo>
                  <a:pt x="393" y="250"/>
                  <a:pt x="393" y="250"/>
                  <a:pt x="393" y="250"/>
                </a:cubicBezTo>
                <a:cubicBezTo>
                  <a:pt x="393" y="251"/>
                  <a:pt x="393" y="251"/>
                  <a:pt x="393" y="251"/>
                </a:cubicBezTo>
                <a:cubicBezTo>
                  <a:pt x="392" y="252"/>
                  <a:pt x="392" y="252"/>
                  <a:pt x="392" y="252"/>
                </a:cubicBezTo>
                <a:cubicBezTo>
                  <a:pt x="391" y="253"/>
                  <a:pt x="391" y="253"/>
                  <a:pt x="391" y="253"/>
                </a:cubicBezTo>
                <a:cubicBezTo>
                  <a:pt x="391" y="254"/>
                  <a:pt x="391" y="254"/>
                  <a:pt x="391" y="254"/>
                </a:cubicBezTo>
                <a:cubicBezTo>
                  <a:pt x="389" y="257"/>
                  <a:pt x="389" y="257"/>
                  <a:pt x="389" y="257"/>
                </a:cubicBezTo>
                <a:cubicBezTo>
                  <a:pt x="389" y="258"/>
                  <a:pt x="389" y="258"/>
                  <a:pt x="389" y="258"/>
                </a:cubicBezTo>
                <a:cubicBezTo>
                  <a:pt x="388" y="258"/>
                  <a:pt x="388" y="258"/>
                  <a:pt x="388" y="258"/>
                </a:cubicBezTo>
                <a:cubicBezTo>
                  <a:pt x="386" y="259"/>
                  <a:pt x="386" y="259"/>
                  <a:pt x="386" y="259"/>
                </a:cubicBezTo>
                <a:cubicBezTo>
                  <a:pt x="386" y="259"/>
                  <a:pt x="386" y="259"/>
                  <a:pt x="386" y="259"/>
                </a:cubicBezTo>
                <a:cubicBezTo>
                  <a:pt x="385" y="260"/>
                  <a:pt x="385" y="260"/>
                  <a:pt x="385" y="260"/>
                </a:cubicBezTo>
                <a:cubicBezTo>
                  <a:pt x="384" y="260"/>
                  <a:pt x="384" y="260"/>
                  <a:pt x="384" y="260"/>
                </a:cubicBezTo>
                <a:cubicBezTo>
                  <a:pt x="383" y="260"/>
                  <a:pt x="383" y="260"/>
                  <a:pt x="383" y="260"/>
                </a:cubicBezTo>
                <a:cubicBezTo>
                  <a:pt x="381" y="260"/>
                  <a:pt x="381" y="260"/>
                  <a:pt x="381" y="260"/>
                </a:cubicBezTo>
                <a:cubicBezTo>
                  <a:pt x="380" y="260"/>
                  <a:pt x="380" y="260"/>
                  <a:pt x="380" y="260"/>
                </a:cubicBezTo>
                <a:cubicBezTo>
                  <a:pt x="379" y="260"/>
                  <a:pt x="379" y="260"/>
                  <a:pt x="379" y="260"/>
                </a:cubicBezTo>
                <a:cubicBezTo>
                  <a:pt x="379" y="259"/>
                  <a:pt x="379" y="259"/>
                  <a:pt x="379" y="259"/>
                </a:cubicBezTo>
                <a:close/>
                <a:moveTo>
                  <a:pt x="268" y="211"/>
                </a:moveTo>
                <a:cubicBezTo>
                  <a:pt x="268" y="211"/>
                  <a:pt x="268" y="211"/>
                  <a:pt x="268" y="211"/>
                </a:cubicBezTo>
                <a:cubicBezTo>
                  <a:pt x="268" y="210"/>
                  <a:pt x="268" y="210"/>
                  <a:pt x="268" y="210"/>
                </a:cubicBezTo>
                <a:cubicBezTo>
                  <a:pt x="269" y="210"/>
                  <a:pt x="269" y="210"/>
                  <a:pt x="269" y="210"/>
                </a:cubicBezTo>
                <a:cubicBezTo>
                  <a:pt x="268" y="209"/>
                  <a:pt x="268" y="209"/>
                  <a:pt x="268" y="209"/>
                </a:cubicBezTo>
                <a:cubicBezTo>
                  <a:pt x="268" y="208"/>
                  <a:pt x="268" y="208"/>
                  <a:pt x="268" y="208"/>
                </a:cubicBezTo>
                <a:cubicBezTo>
                  <a:pt x="269" y="208"/>
                  <a:pt x="269" y="208"/>
                  <a:pt x="269" y="208"/>
                </a:cubicBezTo>
                <a:cubicBezTo>
                  <a:pt x="269" y="209"/>
                  <a:pt x="269" y="209"/>
                  <a:pt x="269" y="209"/>
                </a:cubicBezTo>
                <a:cubicBezTo>
                  <a:pt x="270" y="209"/>
                  <a:pt x="270" y="209"/>
                  <a:pt x="270" y="209"/>
                </a:cubicBezTo>
                <a:cubicBezTo>
                  <a:pt x="270" y="210"/>
                  <a:pt x="270" y="210"/>
                  <a:pt x="270" y="210"/>
                </a:cubicBezTo>
                <a:cubicBezTo>
                  <a:pt x="269" y="211"/>
                  <a:pt x="269" y="211"/>
                  <a:pt x="269" y="211"/>
                </a:cubicBezTo>
                <a:cubicBezTo>
                  <a:pt x="269" y="211"/>
                  <a:pt x="269" y="211"/>
                  <a:pt x="269" y="211"/>
                </a:cubicBezTo>
                <a:cubicBezTo>
                  <a:pt x="268" y="211"/>
                  <a:pt x="268" y="211"/>
                  <a:pt x="268" y="211"/>
                </a:cubicBezTo>
                <a:cubicBezTo>
                  <a:pt x="268" y="211"/>
                  <a:pt x="268" y="211"/>
                  <a:pt x="268" y="211"/>
                </a:cubicBezTo>
                <a:close/>
                <a:moveTo>
                  <a:pt x="257" y="221"/>
                </a:moveTo>
                <a:cubicBezTo>
                  <a:pt x="258" y="220"/>
                  <a:pt x="258" y="220"/>
                  <a:pt x="258" y="220"/>
                </a:cubicBezTo>
                <a:cubicBezTo>
                  <a:pt x="258" y="220"/>
                  <a:pt x="258" y="220"/>
                  <a:pt x="258" y="220"/>
                </a:cubicBezTo>
                <a:cubicBezTo>
                  <a:pt x="258" y="219"/>
                  <a:pt x="258" y="219"/>
                  <a:pt x="258" y="219"/>
                </a:cubicBezTo>
                <a:cubicBezTo>
                  <a:pt x="259" y="218"/>
                  <a:pt x="259" y="218"/>
                  <a:pt x="259" y="218"/>
                </a:cubicBezTo>
                <a:cubicBezTo>
                  <a:pt x="258" y="218"/>
                  <a:pt x="258" y="218"/>
                  <a:pt x="258" y="218"/>
                </a:cubicBezTo>
                <a:cubicBezTo>
                  <a:pt x="257" y="219"/>
                  <a:pt x="257" y="219"/>
                  <a:pt x="257" y="219"/>
                </a:cubicBezTo>
                <a:cubicBezTo>
                  <a:pt x="257" y="219"/>
                  <a:pt x="257" y="219"/>
                  <a:pt x="257" y="219"/>
                </a:cubicBezTo>
                <a:cubicBezTo>
                  <a:pt x="256" y="219"/>
                  <a:pt x="256" y="219"/>
                  <a:pt x="256" y="219"/>
                </a:cubicBezTo>
                <a:cubicBezTo>
                  <a:pt x="256" y="219"/>
                  <a:pt x="256" y="219"/>
                  <a:pt x="256" y="219"/>
                </a:cubicBezTo>
                <a:cubicBezTo>
                  <a:pt x="257" y="221"/>
                  <a:pt x="257" y="221"/>
                  <a:pt x="257" y="221"/>
                </a:cubicBezTo>
                <a:cubicBezTo>
                  <a:pt x="257" y="221"/>
                  <a:pt x="257" y="221"/>
                  <a:pt x="257" y="221"/>
                </a:cubicBezTo>
                <a:close/>
                <a:moveTo>
                  <a:pt x="270" y="219"/>
                </a:moveTo>
                <a:cubicBezTo>
                  <a:pt x="269" y="219"/>
                  <a:pt x="269" y="219"/>
                  <a:pt x="269" y="219"/>
                </a:cubicBezTo>
                <a:cubicBezTo>
                  <a:pt x="268" y="220"/>
                  <a:pt x="268" y="220"/>
                  <a:pt x="268" y="220"/>
                </a:cubicBezTo>
                <a:cubicBezTo>
                  <a:pt x="268" y="221"/>
                  <a:pt x="268" y="221"/>
                  <a:pt x="268" y="221"/>
                </a:cubicBezTo>
                <a:cubicBezTo>
                  <a:pt x="267" y="220"/>
                  <a:pt x="267" y="220"/>
                  <a:pt x="267" y="220"/>
                </a:cubicBezTo>
                <a:cubicBezTo>
                  <a:pt x="267" y="219"/>
                  <a:pt x="267" y="219"/>
                  <a:pt x="267" y="219"/>
                </a:cubicBezTo>
                <a:cubicBezTo>
                  <a:pt x="268" y="217"/>
                  <a:pt x="268" y="217"/>
                  <a:pt x="268" y="217"/>
                </a:cubicBezTo>
                <a:cubicBezTo>
                  <a:pt x="268" y="216"/>
                  <a:pt x="268" y="216"/>
                  <a:pt x="268" y="216"/>
                </a:cubicBezTo>
                <a:cubicBezTo>
                  <a:pt x="269" y="216"/>
                  <a:pt x="269" y="216"/>
                  <a:pt x="269" y="216"/>
                </a:cubicBezTo>
                <a:cubicBezTo>
                  <a:pt x="270" y="216"/>
                  <a:pt x="270" y="216"/>
                  <a:pt x="270" y="216"/>
                </a:cubicBezTo>
                <a:cubicBezTo>
                  <a:pt x="270" y="216"/>
                  <a:pt x="270" y="216"/>
                  <a:pt x="270" y="216"/>
                </a:cubicBezTo>
                <a:cubicBezTo>
                  <a:pt x="270" y="217"/>
                  <a:pt x="270" y="217"/>
                  <a:pt x="270" y="217"/>
                </a:cubicBezTo>
                <a:cubicBezTo>
                  <a:pt x="270" y="219"/>
                  <a:pt x="270" y="219"/>
                  <a:pt x="270" y="219"/>
                </a:cubicBezTo>
                <a:close/>
                <a:moveTo>
                  <a:pt x="271" y="217"/>
                </a:moveTo>
                <a:cubicBezTo>
                  <a:pt x="271" y="216"/>
                  <a:pt x="271" y="216"/>
                  <a:pt x="271" y="216"/>
                </a:cubicBezTo>
                <a:cubicBezTo>
                  <a:pt x="271" y="216"/>
                  <a:pt x="271" y="216"/>
                  <a:pt x="271" y="216"/>
                </a:cubicBezTo>
                <a:cubicBezTo>
                  <a:pt x="271" y="214"/>
                  <a:pt x="271" y="214"/>
                  <a:pt x="271" y="214"/>
                </a:cubicBezTo>
                <a:cubicBezTo>
                  <a:pt x="272" y="214"/>
                  <a:pt x="272" y="214"/>
                  <a:pt x="272" y="214"/>
                </a:cubicBezTo>
                <a:cubicBezTo>
                  <a:pt x="273" y="215"/>
                  <a:pt x="273" y="215"/>
                  <a:pt x="273" y="215"/>
                </a:cubicBezTo>
                <a:cubicBezTo>
                  <a:pt x="272" y="216"/>
                  <a:pt x="272" y="216"/>
                  <a:pt x="272" y="216"/>
                </a:cubicBezTo>
                <a:cubicBezTo>
                  <a:pt x="272" y="217"/>
                  <a:pt x="272" y="217"/>
                  <a:pt x="272" y="217"/>
                </a:cubicBezTo>
                <a:cubicBezTo>
                  <a:pt x="272" y="217"/>
                  <a:pt x="271" y="217"/>
                  <a:pt x="271" y="217"/>
                </a:cubicBezTo>
                <a:close/>
                <a:moveTo>
                  <a:pt x="294" y="217"/>
                </a:moveTo>
                <a:cubicBezTo>
                  <a:pt x="295" y="215"/>
                  <a:pt x="295" y="215"/>
                  <a:pt x="295" y="215"/>
                </a:cubicBezTo>
                <a:cubicBezTo>
                  <a:pt x="296" y="214"/>
                  <a:pt x="296" y="214"/>
                  <a:pt x="296" y="214"/>
                </a:cubicBezTo>
                <a:cubicBezTo>
                  <a:pt x="298" y="215"/>
                  <a:pt x="298" y="215"/>
                  <a:pt x="298" y="215"/>
                </a:cubicBezTo>
                <a:cubicBezTo>
                  <a:pt x="298" y="216"/>
                  <a:pt x="298" y="216"/>
                  <a:pt x="298" y="216"/>
                </a:cubicBezTo>
                <a:cubicBezTo>
                  <a:pt x="297" y="218"/>
                  <a:pt x="297" y="218"/>
                  <a:pt x="297" y="218"/>
                </a:cubicBezTo>
                <a:cubicBezTo>
                  <a:pt x="296" y="218"/>
                  <a:pt x="296" y="218"/>
                  <a:pt x="296" y="218"/>
                </a:cubicBezTo>
                <a:cubicBezTo>
                  <a:pt x="296" y="217"/>
                  <a:pt x="296" y="217"/>
                  <a:pt x="296" y="217"/>
                </a:cubicBezTo>
                <a:cubicBezTo>
                  <a:pt x="296" y="216"/>
                  <a:pt x="296" y="216"/>
                  <a:pt x="296" y="216"/>
                </a:cubicBezTo>
                <a:cubicBezTo>
                  <a:pt x="295" y="217"/>
                  <a:pt x="295" y="217"/>
                  <a:pt x="295" y="217"/>
                </a:cubicBezTo>
                <a:cubicBezTo>
                  <a:pt x="295" y="217"/>
                  <a:pt x="295" y="217"/>
                  <a:pt x="295" y="217"/>
                </a:cubicBezTo>
                <a:cubicBezTo>
                  <a:pt x="295" y="217"/>
                  <a:pt x="294" y="217"/>
                  <a:pt x="294" y="217"/>
                </a:cubicBezTo>
                <a:close/>
                <a:moveTo>
                  <a:pt x="293" y="216"/>
                </a:moveTo>
                <a:cubicBezTo>
                  <a:pt x="294" y="216"/>
                  <a:pt x="294" y="216"/>
                  <a:pt x="294" y="216"/>
                </a:cubicBezTo>
                <a:cubicBezTo>
                  <a:pt x="295" y="215"/>
                  <a:pt x="295" y="215"/>
                  <a:pt x="295" y="215"/>
                </a:cubicBezTo>
                <a:cubicBezTo>
                  <a:pt x="294" y="213"/>
                  <a:pt x="294" y="213"/>
                  <a:pt x="294" y="213"/>
                </a:cubicBezTo>
                <a:cubicBezTo>
                  <a:pt x="293" y="214"/>
                  <a:pt x="293" y="214"/>
                  <a:pt x="293" y="214"/>
                </a:cubicBezTo>
                <a:cubicBezTo>
                  <a:pt x="293" y="216"/>
                  <a:pt x="293" y="216"/>
                  <a:pt x="293" y="216"/>
                </a:cubicBezTo>
                <a:close/>
                <a:moveTo>
                  <a:pt x="293" y="227"/>
                </a:moveTo>
                <a:cubicBezTo>
                  <a:pt x="293" y="226"/>
                  <a:pt x="293" y="226"/>
                  <a:pt x="293" y="226"/>
                </a:cubicBezTo>
                <a:cubicBezTo>
                  <a:pt x="295" y="225"/>
                  <a:pt x="295" y="225"/>
                  <a:pt x="295" y="225"/>
                </a:cubicBezTo>
                <a:cubicBezTo>
                  <a:pt x="295" y="224"/>
                  <a:pt x="295" y="224"/>
                  <a:pt x="295" y="224"/>
                </a:cubicBezTo>
                <a:cubicBezTo>
                  <a:pt x="293" y="225"/>
                  <a:pt x="293" y="225"/>
                  <a:pt x="293" y="225"/>
                </a:cubicBezTo>
                <a:cubicBezTo>
                  <a:pt x="293" y="224"/>
                  <a:pt x="293" y="224"/>
                  <a:pt x="293" y="224"/>
                </a:cubicBezTo>
                <a:cubicBezTo>
                  <a:pt x="294" y="221"/>
                  <a:pt x="294" y="221"/>
                  <a:pt x="294" y="221"/>
                </a:cubicBezTo>
                <a:cubicBezTo>
                  <a:pt x="294" y="220"/>
                  <a:pt x="294" y="220"/>
                  <a:pt x="294" y="220"/>
                </a:cubicBezTo>
                <a:cubicBezTo>
                  <a:pt x="293" y="221"/>
                  <a:pt x="293" y="221"/>
                  <a:pt x="293" y="221"/>
                </a:cubicBezTo>
                <a:cubicBezTo>
                  <a:pt x="292" y="222"/>
                  <a:pt x="292" y="222"/>
                  <a:pt x="292" y="222"/>
                </a:cubicBezTo>
                <a:cubicBezTo>
                  <a:pt x="292" y="221"/>
                  <a:pt x="292" y="221"/>
                  <a:pt x="292" y="221"/>
                </a:cubicBezTo>
                <a:cubicBezTo>
                  <a:pt x="293" y="218"/>
                  <a:pt x="293" y="218"/>
                  <a:pt x="293" y="218"/>
                </a:cubicBezTo>
                <a:cubicBezTo>
                  <a:pt x="292" y="214"/>
                  <a:pt x="292" y="214"/>
                  <a:pt x="292" y="214"/>
                </a:cubicBezTo>
                <a:cubicBezTo>
                  <a:pt x="291" y="213"/>
                  <a:pt x="291" y="213"/>
                  <a:pt x="291" y="213"/>
                </a:cubicBezTo>
                <a:cubicBezTo>
                  <a:pt x="291" y="212"/>
                  <a:pt x="291" y="212"/>
                  <a:pt x="291" y="212"/>
                </a:cubicBezTo>
                <a:cubicBezTo>
                  <a:pt x="290" y="212"/>
                  <a:pt x="290" y="212"/>
                  <a:pt x="290" y="212"/>
                </a:cubicBezTo>
                <a:cubicBezTo>
                  <a:pt x="289" y="213"/>
                  <a:pt x="289" y="213"/>
                  <a:pt x="289" y="213"/>
                </a:cubicBezTo>
                <a:cubicBezTo>
                  <a:pt x="289" y="211"/>
                  <a:pt x="289" y="211"/>
                  <a:pt x="289" y="211"/>
                </a:cubicBezTo>
                <a:cubicBezTo>
                  <a:pt x="290" y="211"/>
                  <a:pt x="290" y="211"/>
                  <a:pt x="290" y="211"/>
                </a:cubicBezTo>
                <a:cubicBezTo>
                  <a:pt x="289" y="209"/>
                  <a:pt x="289" y="209"/>
                  <a:pt x="289" y="209"/>
                </a:cubicBezTo>
                <a:cubicBezTo>
                  <a:pt x="289" y="208"/>
                  <a:pt x="289" y="208"/>
                  <a:pt x="289" y="208"/>
                </a:cubicBezTo>
                <a:cubicBezTo>
                  <a:pt x="289" y="207"/>
                  <a:pt x="289" y="207"/>
                  <a:pt x="289" y="207"/>
                </a:cubicBezTo>
                <a:cubicBezTo>
                  <a:pt x="288" y="208"/>
                  <a:pt x="288" y="208"/>
                  <a:pt x="288" y="208"/>
                </a:cubicBezTo>
                <a:cubicBezTo>
                  <a:pt x="286" y="209"/>
                  <a:pt x="286" y="209"/>
                  <a:pt x="286" y="209"/>
                </a:cubicBezTo>
                <a:cubicBezTo>
                  <a:pt x="285" y="211"/>
                  <a:pt x="285" y="211"/>
                  <a:pt x="285" y="211"/>
                </a:cubicBezTo>
                <a:cubicBezTo>
                  <a:pt x="285" y="213"/>
                  <a:pt x="285" y="213"/>
                  <a:pt x="285" y="213"/>
                </a:cubicBezTo>
                <a:cubicBezTo>
                  <a:pt x="284" y="213"/>
                  <a:pt x="284" y="213"/>
                  <a:pt x="284" y="213"/>
                </a:cubicBezTo>
                <a:cubicBezTo>
                  <a:pt x="284" y="211"/>
                  <a:pt x="284" y="211"/>
                  <a:pt x="284" y="211"/>
                </a:cubicBezTo>
                <a:cubicBezTo>
                  <a:pt x="283" y="211"/>
                  <a:pt x="283" y="211"/>
                  <a:pt x="283" y="211"/>
                </a:cubicBezTo>
                <a:cubicBezTo>
                  <a:pt x="283" y="213"/>
                  <a:pt x="283" y="213"/>
                  <a:pt x="283" y="213"/>
                </a:cubicBezTo>
                <a:cubicBezTo>
                  <a:pt x="282" y="213"/>
                  <a:pt x="282" y="213"/>
                  <a:pt x="282" y="213"/>
                </a:cubicBezTo>
                <a:cubicBezTo>
                  <a:pt x="283" y="214"/>
                  <a:pt x="283" y="214"/>
                  <a:pt x="283" y="214"/>
                </a:cubicBezTo>
                <a:cubicBezTo>
                  <a:pt x="282" y="215"/>
                  <a:pt x="282" y="215"/>
                  <a:pt x="282" y="215"/>
                </a:cubicBezTo>
                <a:cubicBezTo>
                  <a:pt x="281" y="215"/>
                  <a:pt x="281" y="215"/>
                  <a:pt x="281" y="215"/>
                </a:cubicBezTo>
                <a:cubicBezTo>
                  <a:pt x="280" y="216"/>
                  <a:pt x="280" y="216"/>
                  <a:pt x="280" y="216"/>
                </a:cubicBezTo>
                <a:cubicBezTo>
                  <a:pt x="278" y="216"/>
                  <a:pt x="278" y="216"/>
                  <a:pt x="278" y="216"/>
                </a:cubicBezTo>
                <a:cubicBezTo>
                  <a:pt x="278" y="216"/>
                  <a:pt x="278" y="216"/>
                  <a:pt x="278" y="216"/>
                </a:cubicBezTo>
                <a:cubicBezTo>
                  <a:pt x="277" y="216"/>
                  <a:pt x="277" y="216"/>
                  <a:pt x="277" y="216"/>
                </a:cubicBezTo>
                <a:cubicBezTo>
                  <a:pt x="274" y="218"/>
                  <a:pt x="274" y="218"/>
                  <a:pt x="274" y="218"/>
                </a:cubicBezTo>
                <a:cubicBezTo>
                  <a:pt x="274" y="219"/>
                  <a:pt x="274" y="219"/>
                  <a:pt x="274" y="219"/>
                </a:cubicBezTo>
                <a:cubicBezTo>
                  <a:pt x="276" y="221"/>
                  <a:pt x="276" y="221"/>
                  <a:pt x="276" y="221"/>
                </a:cubicBezTo>
                <a:cubicBezTo>
                  <a:pt x="277" y="220"/>
                  <a:pt x="277" y="220"/>
                  <a:pt x="277" y="220"/>
                </a:cubicBezTo>
                <a:cubicBezTo>
                  <a:pt x="276" y="219"/>
                  <a:pt x="276" y="219"/>
                  <a:pt x="276" y="219"/>
                </a:cubicBezTo>
                <a:cubicBezTo>
                  <a:pt x="277" y="218"/>
                  <a:pt x="277" y="218"/>
                  <a:pt x="277" y="218"/>
                </a:cubicBezTo>
                <a:cubicBezTo>
                  <a:pt x="278" y="219"/>
                  <a:pt x="278" y="219"/>
                  <a:pt x="278" y="219"/>
                </a:cubicBezTo>
                <a:cubicBezTo>
                  <a:pt x="277" y="221"/>
                  <a:pt x="277" y="221"/>
                  <a:pt x="277" y="221"/>
                </a:cubicBezTo>
                <a:cubicBezTo>
                  <a:pt x="279" y="222"/>
                  <a:pt x="279" y="222"/>
                  <a:pt x="279" y="222"/>
                </a:cubicBezTo>
                <a:cubicBezTo>
                  <a:pt x="280" y="221"/>
                  <a:pt x="280" y="221"/>
                  <a:pt x="280" y="221"/>
                </a:cubicBezTo>
                <a:cubicBezTo>
                  <a:pt x="280" y="222"/>
                  <a:pt x="280" y="222"/>
                  <a:pt x="280" y="222"/>
                </a:cubicBezTo>
                <a:cubicBezTo>
                  <a:pt x="280" y="223"/>
                  <a:pt x="280" y="223"/>
                  <a:pt x="280" y="223"/>
                </a:cubicBezTo>
                <a:cubicBezTo>
                  <a:pt x="281" y="224"/>
                  <a:pt x="281" y="224"/>
                  <a:pt x="281" y="224"/>
                </a:cubicBezTo>
                <a:cubicBezTo>
                  <a:pt x="282" y="225"/>
                  <a:pt x="282" y="225"/>
                  <a:pt x="282" y="225"/>
                </a:cubicBezTo>
                <a:cubicBezTo>
                  <a:pt x="283" y="226"/>
                  <a:pt x="283" y="226"/>
                  <a:pt x="283" y="226"/>
                </a:cubicBezTo>
                <a:cubicBezTo>
                  <a:pt x="284" y="227"/>
                  <a:pt x="284" y="227"/>
                  <a:pt x="284" y="227"/>
                </a:cubicBezTo>
                <a:cubicBezTo>
                  <a:pt x="285" y="226"/>
                  <a:pt x="285" y="226"/>
                  <a:pt x="285" y="226"/>
                </a:cubicBezTo>
                <a:cubicBezTo>
                  <a:pt x="285" y="227"/>
                  <a:pt x="285" y="227"/>
                  <a:pt x="285" y="227"/>
                </a:cubicBezTo>
                <a:cubicBezTo>
                  <a:pt x="286" y="228"/>
                  <a:pt x="286" y="228"/>
                  <a:pt x="286" y="228"/>
                </a:cubicBezTo>
                <a:cubicBezTo>
                  <a:pt x="287" y="228"/>
                  <a:pt x="287" y="228"/>
                  <a:pt x="287" y="228"/>
                </a:cubicBezTo>
                <a:cubicBezTo>
                  <a:pt x="288" y="228"/>
                  <a:pt x="288" y="228"/>
                  <a:pt x="288" y="228"/>
                </a:cubicBezTo>
                <a:cubicBezTo>
                  <a:pt x="290" y="227"/>
                  <a:pt x="290" y="227"/>
                  <a:pt x="290" y="227"/>
                </a:cubicBezTo>
                <a:cubicBezTo>
                  <a:pt x="291" y="227"/>
                  <a:pt x="291" y="227"/>
                  <a:pt x="291" y="227"/>
                </a:cubicBezTo>
                <a:cubicBezTo>
                  <a:pt x="292" y="226"/>
                  <a:pt x="292" y="226"/>
                  <a:pt x="292" y="226"/>
                </a:cubicBezTo>
                <a:cubicBezTo>
                  <a:pt x="293" y="227"/>
                  <a:pt x="293" y="227"/>
                  <a:pt x="293" y="227"/>
                </a:cubicBezTo>
                <a:close/>
                <a:moveTo>
                  <a:pt x="421" y="218"/>
                </a:moveTo>
                <a:cubicBezTo>
                  <a:pt x="421" y="217"/>
                  <a:pt x="421" y="217"/>
                  <a:pt x="421" y="217"/>
                </a:cubicBezTo>
                <a:cubicBezTo>
                  <a:pt x="420" y="216"/>
                  <a:pt x="420" y="216"/>
                  <a:pt x="420" y="216"/>
                </a:cubicBezTo>
                <a:cubicBezTo>
                  <a:pt x="421" y="215"/>
                  <a:pt x="421" y="215"/>
                  <a:pt x="421" y="215"/>
                </a:cubicBezTo>
                <a:cubicBezTo>
                  <a:pt x="422" y="215"/>
                  <a:pt x="422" y="215"/>
                  <a:pt x="422" y="215"/>
                </a:cubicBezTo>
                <a:cubicBezTo>
                  <a:pt x="423" y="215"/>
                  <a:pt x="423" y="215"/>
                  <a:pt x="423" y="215"/>
                </a:cubicBezTo>
                <a:cubicBezTo>
                  <a:pt x="423" y="216"/>
                  <a:pt x="423" y="216"/>
                  <a:pt x="423" y="216"/>
                </a:cubicBezTo>
                <a:cubicBezTo>
                  <a:pt x="424" y="216"/>
                  <a:pt x="424" y="216"/>
                  <a:pt x="424" y="216"/>
                </a:cubicBezTo>
                <a:cubicBezTo>
                  <a:pt x="425" y="216"/>
                  <a:pt x="425" y="216"/>
                  <a:pt x="425" y="216"/>
                </a:cubicBezTo>
                <a:cubicBezTo>
                  <a:pt x="424" y="217"/>
                  <a:pt x="424" y="217"/>
                  <a:pt x="424" y="217"/>
                </a:cubicBezTo>
                <a:cubicBezTo>
                  <a:pt x="423" y="218"/>
                  <a:pt x="423" y="218"/>
                  <a:pt x="423" y="218"/>
                </a:cubicBezTo>
                <a:cubicBezTo>
                  <a:pt x="422" y="217"/>
                  <a:pt x="422" y="217"/>
                  <a:pt x="422" y="217"/>
                </a:cubicBezTo>
                <a:cubicBezTo>
                  <a:pt x="422" y="218"/>
                  <a:pt x="422" y="218"/>
                  <a:pt x="422" y="218"/>
                </a:cubicBezTo>
                <a:cubicBezTo>
                  <a:pt x="421" y="218"/>
                  <a:pt x="421" y="218"/>
                  <a:pt x="421" y="218"/>
                </a:cubicBezTo>
                <a:cubicBezTo>
                  <a:pt x="421" y="218"/>
                  <a:pt x="421" y="218"/>
                  <a:pt x="421" y="218"/>
                </a:cubicBezTo>
                <a:close/>
                <a:moveTo>
                  <a:pt x="418" y="328"/>
                </a:moveTo>
                <a:cubicBezTo>
                  <a:pt x="417" y="328"/>
                  <a:pt x="417" y="328"/>
                  <a:pt x="417" y="328"/>
                </a:cubicBezTo>
                <a:cubicBezTo>
                  <a:pt x="416" y="327"/>
                  <a:pt x="416" y="327"/>
                  <a:pt x="416" y="327"/>
                </a:cubicBezTo>
                <a:cubicBezTo>
                  <a:pt x="414" y="327"/>
                  <a:pt x="414" y="327"/>
                  <a:pt x="414" y="327"/>
                </a:cubicBezTo>
                <a:cubicBezTo>
                  <a:pt x="413" y="326"/>
                  <a:pt x="413" y="326"/>
                  <a:pt x="413" y="326"/>
                </a:cubicBezTo>
                <a:cubicBezTo>
                  <a:pt x="412" y="326"/>
                  <a:pt x="412" y="326"/>
                  <a:pt x="412" y="326"/>
                </a:cubicBezTo>
                <a:cubicBezTo>
                  <a:pt x="411" y="325"/>
                  <a:pt x="411" y="325"/>
                  <a:pt x="411" y="325"/>
                </a:cubicBezTo>
                <a:cubicBezTo>
                  <a:pt x="410" y="324"/>
                  <a:pt x="410" y="324"/>
                  <a:pt x="410" y="324"/>
                </a:cubicBezTo>
                <a:cubicBezTo>
                  <a:pt x="409" y="323"/>
                  <a:pt x="409" y="323"/>
                  <a:pt x="409" y="323"/>
                </a:cubicBezTo>
                <a:cubicBezTo>
                  <a:pt x="409" y="323"/>
                  <a:pt x="409" y="323"/>
                  <a:pt x="409" y="323"/>
                </a:cubicBezTo>
                <a:cubicBezTo>
                  <a:pt x="408" y="323"/>
                  <a:pt x="408" y="323"/>
                  <a:pt x="408" y="323"/>
                </a:cubicBezTo>
                <a:cubicBezTo>
                  <a:pt x="407" y="323"/>
                  <a:pt x="407" y="323"/>
                  <a:pt x="407" y="323"/>
                </a:cubicBezTo>
                <a:cubicBezTo>
                  <a:pt x="406" y="323"/>
                  <a:pt x="406" y="323"/>
                  <a:pt x="406" y="323"/>
                </a:cubicBezTo>
                <a:cubicBezTo>
                  <a:pt x="405" y="322"/>
                  <a:pt x="405" y="322"/>
                  <a:pt x="405" y="322"/>
                </a:cubicBezTo>
                <a:cubicBezTo>
                  <a:pt x="405" y="321"/>
                  <a:pt x="405" y="321"/>
                  <a:pt x="405" y="321"/>
                </a:cubicBezTo>
                <a:cubicBezTo>
                  <a:pt x="404" y="321"/>
                  <a:pt x="404" y="321"/>
                  <a:pt x="404" y="321"/>
                </a:cubicBezTo>
                <a:cubicBezTo>
                  <a:pt x="402" y="320"/>
                  <a:pt x="402" y="320"/>
                  <a:pt x="402" y="320"/>
                </a:cubicBezTo>
                <a:cubicBezTo>
                  <a:pt x="403" y="319"/>
                  <a:pt x="403" y="319"/>
                  <a:pt x="403" y="319"/>
                </a:cubicBezTo>
                <a:cubicBezTo>
                  <a:pt x="402" y="319"/>
                  <a:pt x="402" y="319"/>
                  <a:pt x="402" y="319"/>
                </a:cubicBezTo>
                <a:cubicBezTo>
                  <a:pt x="401" y="319"/>
                  <a:pt x="401" y="319"/>
                  <a:pt x="401" y="319"/>
                </a:cubicBezTo>
                <a:cubicBezTo>
                  <a:pt x="401" y="318"/>
                  <a:pt x="401" y="318"/>
                  <a:pt x="401" y="318"/>
                </a:cubicBezTo>
                <a:cubicBezTo>
                  <a:pt x="401" y="317"/>
                  <a:pt x="401" y="317"/>
                  <a:pt x="401" y="317"/>
                </a:cubicBezTo>
                <a:cubicBezTo>
                  <a:pt x="402" y="317"/>
                  <a:pt x="402" y="317"/>
                  <a:pt x="402" y="317"/>
                </a:cubicBezTo>
                <a:cubicBezTo>
                  <a:pt x="401" y="316"/>
                  <a:pt x="401" y="316"/>
                  <a:pt x="401" y="316"/>
                </a:cubicBezTo>
                <a:cubicBezTo>
                  <a:pt x="400" y="316"/>
                  <a:pt x="400" y="316"/>
                  <a:pt x="400" y="316"/>
                </a:cubicBezTo>
                <a:cubicBezTo>
                  <a:pt x="400" y="317"/>
                  <a:pt x="400" y="317"/>
                  <a:pt x="400" y="317"/>
                </a:cubicBezTo>
                <a:cubicBezTo>
                  <a:pt x="399" y="316"/>
                  <a:pt x="399" y="316"/>
                  <a:pt x="399" y="316"/>
                </a:cubicBezTo>
                <a:cubicBezTo>
                  <a:pt x="399" y="316"/>
                  <a:pt x="399" y="316"/>
                  <a:pt x="399" y="316"/>
                </a:cubicBezTo>
                <a:cubicBezTo>
                  <a:pt x="398" y="316"/>
                  <a:pt x="398" y="316"/>
                  <a:pt x="398" y="316"/>
                </a:cubicBezTo>
                <a:cubicBezTo>
                  <a:pt x="396" y="315"/>
                  <a:pt x="396" y="315"/>
                  <a:pt x="396" y="315"/>
                </a:cubicBezTo>
                <a:cubicBezTo>
                  <a:pt x="396" y="315"/>
                  <a:pt x="396" y="315"/>
                  <a:pt x="396" y="315"/>
                </a:cubicBezTo>
                <a:cubicBezTo>
                  <a:pt x="395" y="314"/>
                  <a:pt x="395" y="314"/>
                  <a:pt x="395" y="314"/>
                </a:cubicBezTo>
                <a:cubicBezTo>
                  <a:pt x="394" y="313"/>
                  <a:pt x="394" y="313"/>
                  <a:pt x="394" y="313"/>
                </a:cubicBezTo>
                <a:cubicBezTo>
                  <a:pt x="394" y="312"/>
                  <a:pt x="394" y="312"/>
                  <a:pt x="394" y="312"/>
                </a:cubicBezTo>
                <a:cubicBezTo>
                  <a:pt x="393" y="312"/>
                  <a:pt x="393" y="312"/>
                  <a:pt x="393" y="312"/>
                </a:cubicBezTo>
                <a:cubicBezTo>
                  <a:pt x="392" y="311"/>
                  <a:pt x="392" y="311"/>
                  <a:pt x="392" y="311"/>
                </a:cubicBezTo>
                <a:cubicBezTo>
                  <a:pt x="392" y="310"/>
                  <a:pt x="392" y="310"/>
                  <a:pt x="392" y="310"/>
                </a:cubicBezTo>
                <a:cubicBezTo>
                  <a:pt x="391" y="309"/>
                  <a:pt x="391" y="309"/>
                  <a:pt x="391" y="309"/>
                </a:cubicBezTo>
                <a:cubicBezTo>
                  <a:pt x="390" y="308"/>
                  <a:pt x="390" y="308"/>
                  <a:pt x="390" y="308"/>
                </a:cubicBezTo>
                <a:cubicBezTo>
                  <a:pt x="391" y="308"/>
                  <a:pt x="391" y="308"/>
                  <a:pt x="391" y="308"/>
                </a:cubicBezTo>
                <a:cubicBezTo>
                  <a:pt x="392" y="308"/>
                  <a:pt x="392" y="308"/>
                  <a:pt x="392" y="308"/>
                </a:cubicBezTo>
                <a:cubicBezTo>
                  <a:pt x="395" y="306"/>
                  <a:pt x="395" y="306"/>
                  <a:pt x="395" y="306"/>
                </a:cubicBezTo>
                <a:cubicBezTo>
                  <a:pt x="395" y="306"/>
                  <a:pt x="395" y="306"/>
                  <a:pt x="395" y="306"/>
                </a:cubicBezTo>
                <a:cubicBezTo>
                  <a:pt x="393" y="306"/>
                  <a:pt x="393" y="306"/>
                  <a:pt x="393" y="306"/>
                </a:cubicBezTo>
                <a:cubicBezTo>
                  <a:pt x="392" y="305"/>
                  <a:pt x="392" y="305"/>
                  <a:pt x="392" y="305"/>
                </a:cubicBezTo>
                <a:cubicBezTo>
                  <a:pt x="392" y="303"/>
                  <a:pt x="392" y="303"/>
                  <a:pt x="392" y="303"/>
                </a:cubicBezTo>
                <a:cubicBezTo>
                  <a:pt x="392" y="303"/>
                  <a:pt x="392" y="303"/>
                  <a:pt x="392" y="303"/>
                </a:cubicBezTo>
                <a:cubicBezTo>
                  <a:pt x="392" y="303"/>
                  <a:pt x="392" y="303"/>
                  <a:pt x="392" y="303"/>
                </a:cubicBezTo>
                <a:cubicBezTo>
                  <a:pt x="391" y="304"/>
                  <a:pt x="391" y="304"/>
                  <a:pt x="391" y="304"/>
                </a:cubicBezTo>
                <a:cubicBezTo>
                  <a:pt x="391" y="305"/>
                  <a:pt x="391" y="305"/>
                  <a:pt x="391" y="305"/>
                </a:cubicBezTo>
                <a:cubicBezTo>
                  <a:pt x="390" y="304"/>
                  <a:pt x="390" y="304"/>
                  <a:pt x="390" y="304"/>
                </a:cubicBezTo>
                <a:cubicBezTo>
                  <a:pt x="391" y="303"/>
                  <a:pt x="391" y="303"/>
                  <a:pt x="391" y="303"/>
                </a:cubicBezTo>
                <a:cubicBezTo>
                  <a:pt x="391" y="301"/>
                  <a:pt x="391" y="301"/>
                  <a:pt x="391" y="301"/>
                </a:cubicBezTo>
                <a:cubicBezTo>
                  <a:pt x="390" y="303"/>
                  <a:pt x="390" y="303"/>
                  <a:pt x="390" y="303"/>
                </a:cubicBezTo>
                <a:cubicBezTo>
                  <a:pt x="389" y="302"/>
                  <a:pt x="389" y="302"/>
                  <a:pt x="389" y="302"/>
                </a:cubicBezTo>
                <a:cubicBezTo>
                  <a:pt x="389" y="301"/>
                  <a:pt x="389" y="301"/>
                  <a:pt x="389" y="301"/>
                </a:cubicBezTo>
                <a:cubicBezTo>
                  <a:pt x="388" y="301"/>
                  <a:pt x="388" y="301"/>
                  <a:pt x="388" y="301"/>
                </a:cubicBezTo>
                <a:cubicBezTo>
                  <a:pt x="388" y="300"/>
                  <a:pt x="388" y="300"/>
                  <a:pt x="388" y="300"/>
                </a:cubicBezTo>
                <a:cubicBezTo>
                  <a:pt x="388" y="299"/>
                  <a:pt x="388" y="299"/>
                  <a:pt x="388" y="299"/>
                </a:cubicBezTo>
                <a:cubicBezTo>
                  <a:pt x="388" y="297"/>
                  <a:pt x="388" y="297"/>
                  <a:pt x="388" y="297"/>
                </a:cubicBezTo>
                <a:cubicBezTo>
                  <a:pt x="387" y="297"/>
                  <a:pt x="387" y="297"/>
                  <a:pt x="387" y="297"/>
                </a:cubicBezTo>
                <a:cubicBezTo>
                  <a:pt x="387" y="296"/>
                  <a:pt x="387" y="296"/>
                  <a:pt x="387" y="296"/>
                </a:cubicBezTo>
                <a:cubicBezTo>
                  <a:pt x="388" y="294"/>
                  <a:pt x="388" y="294"/>
                  <a:pt x="388" y="294"/>
                </a:cubicBezTo>
                <a:cubicBezTo>
                  <a:pt x="388" y="294"/>
                  <a:pt x="388" y="294"/>
                  <a:pt x="388" y="294"/>
                </a:cubicBezTo>
                <a:cubicBezTo>
                  <a:pt x="386" y="296"/>
                  <a:pt x="386" y="296"/>
                  <a:pt x="386" y="296"/>
                </a:cubicBezTo>
                <a:cubicBezTo>
                  <a:pt x="386" y="297"/>
                  <a:pt x="386" y="297"/>
                  <a:pt x="386" y="297"/>
                </a:cubicBezTo>
                <a:cubicBezTo>
                  <a:pt x="385" y="296"/>
                  <a:pt x="385" y="296"/>
                  <a:pt x="385" y="296"/>
                </a:cubicBezTo>
                <a:cubicBezTo>
                  <a:pt x="386" y="294"/>
                  <a:pt x="386" y="294"/>
                  <a:pt x="386" y="294"/>
                </a:cubicBezTo>
                <a:cubicBezTo>
                  <a:pt x="385" y="294"/>
                  <a:pt x="385" y="294"/>
                  <a:pt x="385" y="294"/>
                </a:cubicBezTo>
                <a:cubicBezTo>
                  <a:pt x="384" y="294"/>
                  <a:pt x="384" y="294"/>
                  <a:pt x="384" y="294"/>
                </a:cubicBezTo>
                <a:cubicBezTo>
                  <a:pt x="384" y="294"/>
                  <a:pt x="384" y="294"/>
                  <a:pt x="384" y="294"/>
                </a:cubicBezTo>
                <a:cubicBezTo>
                  <a:pt x="383" y="296"/>
                  <a:pt x="383" y="296"/>
                  <a:pt x="383" y="296"/>
                </a:cubicBezTo>
                <a:cubicBezTo>
                  <a:pt x="382" y="297"/>
                  <a:pt x="382" y="297"/>
                  <a:pt x="382" y="297"/>
                </a:cubicBezTo>
                <a:cubicBezTo>
                  <a:pt x="382" y="295"/>
                  <a:pt x="382" y="295"/>
                  <a:pt x="382" y="295"/>
                </a:cubicBezTo>
                <a:cubicBezTo>
                  <a:pt x="383" y="294"/>
                  <a:pt x="383" y="294"/>
                  <a:pt x="383" y="294"/>
                </a:cubicBezTo>
                <a:cubicBezTo>
                  <a:pt x="383" y="293"/>
                  <a:pt x="383" y="293"/>
                  <a:pt x="383" y="293"/>
                </a:cubicBezTo>
                <a:cubicBezTo>
                  <a:pt x="383" y="292"/>
                  <a:pt x="383" y="292"/>
                  <a:pt x="383" y="292"/>
                </a:cubicBezTo>
                <a:cubicBezTo>
                  <a:pt x="382" y="293"/>
                  <a:pt x="382" y="293"/>
                  <a:pt x="382" y="293"/>
                </a:cubicBezTo>
                <a:cubicBezTo>
                  <a:pt x="381" y="294"/>
                  <a:pt x="381" y="294"/>
                  <a:pt x="381" y="294"/>
                </a:cubicBezTo>
                <a:cubicBezTo>
                  <a:pt x="381" y="294"/>
                  <a:pt x="381" y="294"/>
                  <a:pt x="381" y="294"/>
                </a:cubicBezTo>
                <a:cubicBezTo>
                  <a:pt x="380" y="295"/>
                  <a:pt x="380" y="295"/>
                  <a:pt x="380" y="295"/>
                </a:cubicBezTo>
                <a:cubicBezTo>
                  <a:pt x="380" y="296"/>
                  <a:pt x="380" y="296"/>
                  <a:pt x="380" y="296"/>
                </a:cubicBezTo>
                <a:cubicBezTo>
                  <a:pt x="378" y="295"/>
                  <a:pt x="378" y="295"/>
                  <a:pt x="378" y="295"/>
                </a:cubicBezTo>
                <a:cubicBezTo>
                  <a:pt x="377" y="294"/>
                  <a:pt x="377" y="294"/>
                  <a:pt x="377" y="294"/>
                </a:cubicBezTo>
                <a:cubicBezTo>
                  <a:pt x="376" y="294"/>
                  <a:pt x="376" y="294"/>
                  <a:pt x="376" y="294"/>
                </a:cubicBezTo>
                <a:cubicBezTo>
                  <a:pt x="375" y="292"/>
                  <a:pt x="375" y="292"/>
                  <a:pt x="375" y="292"/>
                </a:cubicBezTo>
                <a:cubicBezTo>
                  <a:pt x="375" y="292"/>
                  <a:pt x="375" y="292"/>
                  <a:pt x="375" y="292"/>
                </a:cubicBezTo>
                <a:cubicBezTo>
                  <a:pt x="374" y="293"/>
                  <a:pt x="374" y="293"/>
                  <a:pt x="374" y="293"/>
                </a:cubicBezTo>
                <a:cubicBezTo>
                  <a:pt x="374" y="294"/>
                  <a:pt x="374" y="294"/>
                  <a:pt x="374" y="294"/>
                </a:cubicBezTo>
                <a:cubicBezTo>
                  <a:pt x="374" y="295"/>
                  <a:pt x="374" y="295"/>
                  <a:pt x="374" y="295"/>
                </a:cubicBezTo>
                <a:cubicBezTo>
                  <a:pt x="373" y="295"/>
                  <a:pt x="373" y="295"/>
                  <a:pt x="373" y="295"/>
                </a:cubicBezTo>
                <a:cubicBezTo>
                  <a:pt x="372" y="295"/>
                  <a:pt x="372" y="295"/>
                  <a:pt x="372" y="295"/>
                </a:cubicBezTo>
                <a:cubicBezTo>
                  <a:pt x="371" y="295"/>
                  <a:pt x="371" y="295"/>
                  <a:pt x="371" y="295"/>
                </a:cubicBezTo>
                <a:cubicBezTo>
                  <a:pt x="370" y="296"/>
                  <a:pt x="370" y="296"/>
                  <a:pt x="370" y="296"/>
                </a:cubicBezTo>
                <a:cubicBezTo>
                  <a:pt x="369" y="295"/>
                  <a:pt x="369" y="295"/>
                  <a:pt x="369" y="295"/>
                </a:cubicBezTo>
                <a:cubicBezTo>
                  <a:pt x="368" y="296"/>
                  <a:pt x="368" y="296"/>
                  <a:pt x="368" y="296"/>
                </a:cubicBezTo>
                <a:cubicBezTo>
                  <a:pt x="367" y="296"/>
                  <a:pt x="367" y="296"/>
                  <a:pt x="367" y="296"/>
                </a:cubicBezTo>
                <a:cubicBezTo>
                  <a:pt x="365" y="296"/>
                  <a:pt x="365" y="296"/>
                  <a:pt x="365" y="296"/>
                </a:cubicBezTo>
                <a:cubicBezTo>
                  <a:pt x="366" y="295"/>
                  <a:pt x="366" y="295"/>
                  <a:pt x="366" y="295"/>
                </a:cubicBezTo>
                <a:cubicBezTo>
                  <a:pt x="364" y="293"/>
                  <a:pt x="364" y="293"/>
                  <a:pt x="364" y="293"/>
                </a:cubicBezTo>
                <a:cubicBezTo>
                  <a:pt x="364" y="294"/>
                  <a:pt x="364" y="294"/>
                  <a:pt x="364" y="294"/>
                </a:cubicBezTo>
                <a:cubicBezTo>
                  <a:pt x="363" y="293"/>
                  <a:pt x="363" y="293"/>
                  <a:pt x="363" y="293"/>
                </a:cubicBezTo>
                <a:cubicBezTo>
                  <a:pt x="362" y="290"/>
                  <a:pt x="362" y="290"/>
                  <a:pt x="362" y="290"/>
                </a:cubicBezTo>
                <a:cubicBezTo>
                  <a:pt x="362" y="289"/>
                  <a:pt x="362" y="289"/>
                  <a:pt x="362" y="289"/>
                </a:cubicBezTo>
                <a:cubicBezTo>
                  <a:pt x="363" y="288"/>
                  <a:pt x="363" y="288"/>
                  <a:pt x="363" y="288"/>
                </a:cubicBezTo>
                <a:cubicBezTo>
                  <a:pt x="363" y="287"/>
                  <a:pt x="363" y="287"/>
                  <a:pt x="363" y="287"/>
                </a:cubicBezTo>
                <a:cubicBezTo>
                  <a:pt x="364" y="286"/>
                  <a:pt x="364" y="286"/>
                  <a:pt x="364" y="286"/>
                </a:cubicBezTo>
                <a:cubicBezTo>
                  <a:pt x="366" y="286"/>
                  <a:pt x="366" y="286"/>
                  <a:pt x="366" y="286"/>
                </a:cubicBezTo>
                <a:cubicBezTo>
                  <a:pt x="366" y="285"/>
                  <a:pt x="366" y="285"/>
                  <a:pt x="366" y="285"/>
                </a:cubicBezTo>
                <a:cubicBezTo>
                  <a:pt x="367" y="285"/>
                  <a:pt x="367" y="285"/>
                  <a:pt x="367" y="285"/>
                </a:cubicBezTo>
                <a:cubicBezTo>
                  <a:pt x="368" y="285"/>
                  <a:pt x="368" y="285"/>
                  <a:pt x="368" y="285"/>
                </a:cubicBezTo>
                <a:cubicBezTo>
                  <a:pt x="368" y="284"/>
                  <a:pt x="368" y="284"/>
                  <a:pt x="368" y="284"/>
                </a:cubicBezTo>
                <a:cubicBezTo>
                  <a:pt x="368" y="283"/>
                  <a:pt x="368" y="283"/>
                  <a:pt x="368" y="283"/>
                </a:cubicBezTo>
                <a:cubicBezTo>
                  <a:pt x="368" y="282"/>
                  <a:pt x="368" y="282"/>
                  <a:pt x="368" y="282"/>
                </a:cubicBezTo>
                <a:cubicBezTo>
                  <a:pt x="368" y="282"/>
                  <a:pt x="368" y="282"/>
                  <a:pt x="368" y="282"/>
                </a:cubicBezTo>
                <a:cubicBezTo>
                  <a:pt x="369" y="282"/>
                  <a:pt x="369" y="282"/>
                  <a:pt x="369" y="282"/>
                </a:cubicBezTo>
                <a:cubicBezTo>
                  <a:pt x="369" y="282"/>
                  <a:pt x="369" y="282"/>
                  <a:pt x="369" y="282"/>
                </a:cubicBezTo>
                <a:cubicBezTo>
                  <a:pt x="369" y="281"/>
                  <a:pt x="369" y="281"/>
                  <a:pt x="369" y="281"/>
                </a:cubicBezTo>
                <a:cubicBezTo>
                  <a:pt x="369" y="281"/>
                  <a:pt x="369" y="281"/>
                  <a:pt x="369" y="281"/>
                </a:cubicBezTo>
                <a:cubicBezTo>
                  <a:pt x="370" y="283"/>
                  <a:pt x="370" y="283"/>
                  <a:pt x="370" y="283"/>
                </a:cubicBezTo>
                <a:cubicBezTo>
                  <a:pt x="372" y="283"/>
                  <a:pt x="372" y="283"/>
                  <a:pt x="372" y="283"/>
                </a:cubicBezTo>
                <a:cubicBezTo>
                  <a:pt x="373" y="284"/>
                  <a:pt x="373" y="284"/>
                  <a:pt x="373" y="284"/>
                </a:cubicBezTo>
                <a:cubicBezTo>
                  <a:pt x="374" y="285"/>
                  <a:pt x="374" y="285"/>
                  <a:pt x="374" y="285"/>
                </a:cubicBezTo>
                <a:cubicBezTo>
                  <a:pt x="375" y="285"/>
                  <a:pt x="375" y="285"/>
                  <a:pt x="375" y="285"/>
                </a:cubicBezTo>
                <a:cubicBezTo>
                  <a:pt x="376" y="286"/>
                  <a:pt x="376" y="286"/>
                  <a:pt x="376" y="286"/>
                </a:cubicBezTo>
                <a:cubicBezTo>
                  <a:pt x="377" y="285"/>
                  <a:pt x="377" y="285"/>
                  <a:pt x="377" y="285"/>
                </a:cubicBezTo>
                <a:cubicBezTo>
                  <a:pt x="378" y="285"/>
                  <a:pt x="378" y="285"/>
                  <a:pt x="378" y="285"/>
                </a:cubicBezTo>
                <a:cubicBezTo>
                  <a:pt x="378" y="286"/>
                  <a:pt x="378" y="286"/>
                  <a:pt x="378" y="286"/>
                </a:cubicBezTo>
                <a:cubicBezTo>
                  <a:pt x="379" y="286"/>
                  <a:pt x="379" y="286"/>
                  <a:pt x="379" y="286"/>
                </a:cubicBezTo>
                <a:cubicBezTo>
                  <a:pt x="380" y="286"/>
                  <a:pt x="380" y="286"/>
                  <a:pt x="380" y="286"/>
                </a:cubicBezTo>
                <a:cubicBezTo>
                  <a:pt x="381" y="285"/>
                  <a:pt x="381" y="285"/>
                  <a:pt x="381" y="285"/>
                </a:cubicBezTo>
                <a:cubicBezTo>
                  <a:pt x="382" y="284"/>
                  <a:pt x="382" y="284"/>
                  <a:pt x="382" y="284"/>
                </a:cubicBezTo>
                <a:cubicBezTo>
                  <a:pt x="383" y="284"/>
                  <a:pt x="383" y="284"/>
                  <a:pt x="383" y="284"/>
                </a:cubicBezTo>
                <a:cubicBezTo>
                  <a:pt x="383" y="284"/>
                  <a:pt x="383" y="284"/>
                  <a:pt x="383" y="284"/>
                </a:cubicBezTo>
                <a:cubicBezTo>
                  <a:pt x="383" y="285"/>
                  <a:pt x="383" y="285"/>
                  <a:pt x="383" y="285"/>
                </a:cubicBezTo>
                <a:cubicBezTo>
                  <a:pt x="384" y="285"/>
                  <a:pt x="384" y="285"/>
                  <a:pt x="384" y="285"/>
                </a:cubicBezTo>
                <a:cubicBezTo>
                  <a:pt x="385" y="284"/>
                  <a:pt x="385" y="284"/>
                  <a:pt x="385" y="284"/>
                </a:cubicBezTo>
                <a:cubicBezTo>
                  <a:pt x="386" y="283"/>
                  <a:pt x="386" y="283"/>
                  <a:pt x="386" y="283"/>
                </a:cubicBezTo>
                <a:cubicBezTo>
                  <a:pt x="387" y="283"/>
                  <a:pt x="387" y="283"/>
                  <a:pt x="387" y="283"/>
                </a:cubicBezTo>
                <a:cubicBezTo>
                  <a:pt x="387" y="283"/>
                  <a:pt x="387" y="283"/>
                  <a:pt x="387" y="283"/>
                </a:cubicBezTo>
                <a:cubicBezTo>
                  <a:pt x="387" y="285"/>
                  <a:pt x="387" y="285"/>
                  <a:pt x="387" y="285"/>
                </a:cubicBezTo>
                <a:cubicBezTo>
                  <a:pt x="388" y="286"/>
                  <a:pt x="388" y="286"/>
                  <a:pt x="388" y="286"/>
                </a:cubicBezTo>
                <a:cubicBezTo>
                  <a:pt x="388" y="285"/>
                  <a:pt x="388" y="285"/>
                  <a:pt x="388" y="285"/>
                </a:cubicBezTo>
                <a:cubicBezTo>
                  <a:pt x="388" y="284"/>
                  <a:pt x="388" y="284"/>
                  <a:pt x="388" y="284"/>
                </a:cubicBezTo>
                <a:cubicBezTo>
                  <a:pt x="389" y="284"/>
                  <a:pt x="389" y="284"/>
                  <a:pt x="389" y="284"/>
                </a:cubicBezTo>
                <a:cubicBezTo>
                  <a:pt x="390" y="284"/>
                  <a:pt x="390" y="284"/>
                  <a:pt x="390" y="284"/>
                </a:cubicBezTo>
                <a:cubicBezTo>
                  <a:pt x="389" y="281"/>
                  <a:pt x="389" y="281"/>
                  <a:pt x="389" y="281"/>
                </a:cubicBezTo>
                <a:cubicBezTo>
                  <a:pt x="388" y="279"/>
                  <a:pt x="388" y="279"/>
                  <a:pt x="388" y="279"/>
                </a:cubicBezTo>
                <a:cubicBezTo>
                  <a:pt x="388" y="278"/>
                  <a:pt x="388" y="278"/>
                  <a:pt x="388" y="278"/>
                </a:cubicBezTo>
                <a:cubicBezTo>
                  <a:pt x="387" y="277"/>
                  <a:pt x="387" y="277"/>
                  <a:pt x="387" y="277"/>
                </a:cubicBezTo>
                <a:cubicBezTo>
                  <a:pt x="388" y="276"/>
                  <a:pt x="388" y="276"/>
                  <a:pt x="388" y="276"/>
                </a:cubicBezTo>
                <a:cubicBezTo>
                  <a:pt x="388" y="275"/>
                  <a:pt x="388" y="275"/>
                  <a:pt x="388" y="275"/>
                </a:cubicBezTo>
                <a:cubicBezTo>
                  <a:pt x="389" y="275"/>
                  <a:pt x="389" y="275"/>
                  <a:pt x="389" y="275"/>
                </a:cubicBezTo>
                <a:cubicBezTo>
                  <a:pt x="391" y="273"/>
                  <a:pt x="391" y="273"/>
                  <a:pt x="391" y="273"/>
                </a:cubicBezTo>
                <a:cubicBezTo>
                  <a:pt x="393" y="272"/>
                  <a:pt x="393" y="272"/>
                  <a:pt x="393" y="272"/>
                </a:cubicBezTo>
                <a:cubicBezTo>
                  <a:pt x="394" y="272"/>
                  <a:pt x="394" y="272"/>
                  <a:pt x="394" y="272"/>
                </a:cubicBezTo>
                <a:cubicBezTo>
                  <a:pt x="395" y="270"/>
                  <a:pt x="395" y="270"/>
                  <a:pt x="395" y="270"/>
                </a:cubicBezTo>
                <a:cubicBezTo>
                  <a:pt x="396" y="270"/>
                  <a:pt x="396" y="270"/>
                  <a:pt x="396" y="270"/>
                </a:cubicBezTo>
                <a:cubicBezTo>
                  <a:pt x="397" y="271"/>
                  <a:pt x="397" y="271"/>
                  <a:pt x="397" y="271"/>
                </a:cubicBezTo>
                <a:cubicBezTo>
                  <a:pt x="398" y="270"/>
                  <a:pt x="398" y="270"/>
                  <a:pt x="398" y="270"/>
                </a:cubicBezTo>
                <a:cubicBezTo>
                  <a:pt x="398" y="270"/>
                  <a:pt x="398" y="270"/>
                  <a:pt x="398" y="270"/>
                </a:cubicBezTo>
                <a:cubicBezTo>
                  <a:pt x="397" y="269"/>
                  <a:pt x="397" y="269"/>
                  <a:pt x="397" y="269"/>
                </a:cubicBezTo>
                <a:cubicBezTo>
                  <a:pt x="397" y="268"/>
                  <a:pt x="397" y="268"/>
                  <a:pt x="397" y="268"/>
                </a:cubicBezTo>
                <a:cubicBezTo>
                  <a:pt x="399" y="267"/>
                  <a:pt x="399" y="267"/>
                  <a:pt x="399" y="267"/>
                </a:cubicBezTo>
                <a:cubicBezTo>
                  <a:pt x="399" y="266"/>
                  <a:pt x="399" y="266"/>
                  <a:pt x="399" y="266"/>
                </a:cubicBezTo>
                <a:cubicBezTo>
                  <a:pt x="400" y="265"/>
                  <a:pt x="400" y="265"/>
                  <a:pt x="400" y="265"/>
                </a:cubicBezTo>
                <a:cubicBezTo>
                  <a:pt x="402" y="266"/>
                  <a:pt x="402" y="266"/>
                  <a:pt x="402" y="266"/>
                </a:cubicBezTo>
                <a:cubicBezTo>
                  <a:pt x="403" y="265"/>
                  <a:pt x="403" y="265"/>
                  <a:pt x="403" y="265"/>
                </a:cubicBezTo>
                <a:cubicBezTo>
                  <a:pt x="404" y="264"/>
                  <a:pt x="404" y="264"/>
                  <a:pt x="404" y="264"/>
                </a:cubicBezTo>
                <a:cubicBezTo>
                  <a:pt x="403" y="263"/>
                  <a:pt x="403" y="263"/>
                  <a:pt x="403" y="263"/>
                </a:cubicBezTo>
                <a:cubicBezTo>
                  <a:pt x="404" y="262"/>
                  <a:pt x="404" y="262"/>
                  <a:pt x="404" y="262"/>
                </a:cubicBezTo>
                <a:cubicBezTo>
                  <a:pt x="404" y="260"/>
                  <a:pt x="404" y="260"/>
                  <a:pt x="404" y="260"/>
                </a:cubicBezTo>
                <a:cubicBezTo>
                  <a:pt x="404" y="260"/>
                  <a:pt x="404" y="260"/>
                  <a:pt x="404" y="260"/>
                </a:cubicBezTo>
                <a:cubicBezTo>
                  <a:pt x="404" y="259"/>
                  <a:pt x="404" y="259"/>
                  <a:pt x="404" y="259"/>
                </a:cubicBezTo>
                <a:cubicBezTo>
                  <a:pt x="404" y="258"/>
                  <a:pt x="404" y="258"/>
                  <a:pt x="404" y="258"/>
                </a:cubicBezTo>
                <a:cubicBezTo>
                  <a:pt x="404" y="257"/>
                  <a:pt x="404" y="257"/>
                  <a:pt x="404" y="257"/>
                </a:cubicBezTo>
                <a:cubicBezTo>
                  <a:pt x="404" y="256"/>
                  <a:pt x="404" y="256"/>
                  <a:pt x="404" y="256"/>
                </a:cubicBezTo>
                <a:cubicBezTo>
                  <a:pt x="403" y="256"/>
                  <a:pt x="403" y="256"/>
                  <a:pt x="403" y="256"/>
                </a:cubicBezTo>
                <a:cubicBezTo>
                  <a:pt x="403" y="255"/>
                  <a:pt x="403" y="255"/>
                  <a:pt x="403" y="255"/>
                </a:cubicBezTo>
                <a:cubicBezTo>
                  <a:pt x="404" y="253"/>
                  <a:pt x="404" y="253"/>
                  <a:pt x="404" y="253"/>
                </a:cubicBezTo>
                <a:cubicBezTo>
                  <a:pt x="405" y="253"/>
                  <a:pt x="405" y="253"/>
                  <a:pt x="405" y="253"/>
                </a:cubicBezTo>
                <a:cubicBezTo>
                  <a:pt x="405" y="252"/>
                  <a:pt x="405" y="252"/>
                  <a:pt x="405" y="252"/>
                </a:cubicBezTo>
                <a:cubicBezTo>
                  <a:pt x="406" y="251"/>
                  <a:pt x="406" y="251"/>
                  <a:pt x="406" y="251"/>
                </a:cubicBezTo>
                <a:cubicBezTo>
                  <a:pt x="405" y="251"/>
                  <a:pt x="405" y="251"/>
                  <a:pt x="405" y="251"/>
                </a:cubicBezTo>
                <a:cubicBezTo>
                  <a:pt x="405" y="251"/>
                  <a:pt x="405" y="251"/>
                  <a:pt x="405" y="251"/>
                </a:cubicBezTo>
                <a:cubicBezTo>
                  <a:pt x="404" y="251"/>
                  <a:pt x="404" y="251"/>
                  <a:pt x="404" y="251"/>
                </a:cubicBezTo>
                <a:cubicBezTo>
                  <a:pt x="404" y="252"/>
                  <a:pt x="404" y="252"/>
                  <a:pt x="404" y="252"/>
                </a:cubicBezTo>
                <a:cubicBezTo>
                  <a:pt x="404" y="252"/>
                  <a:pt x="404" y="252"/>
                  <a:pt x="404" y="252"/>
                </a:cubicBezTo>
                <a:cubicBezTo>
                  <a:pt x="404" y="252"/>
                  <a:pt x="404" y="252"/>
                  <a:pt x="404" y="252"/>
                </a:cubicBezTo>
                <a:cubicBezTo>
                  <a:pt x="404" y="250"/>
                  <a:pt x="404" y="250"/>
                  <a:pt x="404" y="250"/>
                </a:cubicBezTo>
                <a:cubicBezTo>
                  <a:pt x="403" y="250"/>
                  <a:pt x="403" y="250"/>
                  <a:pt x="403" y="250"/>
                </a:cubicBezTo>
                <a:cubicBezTo>
                  <a:pt x="401" y="250"/>
                  <a:pt x="401" y="250"/>
                  <a:pt x="401" y="250"/>
                </a:cubicBezTo>
                <a:cubicBezTo>
                  <a:pt x="400" y="249"/>
                  <a:pt x="400" y="249"/>
                  <a:pt x="400" y="249"/>
                </a:cubicBezTo>
                <a:cubicBezTo>
                  <a:pt x="400" y="249"/>
                  <a:pt x="400" y="249"/>
                  <a:pt x="400" y="249"/>
                </a:cubicBezTo>
                <a:cubicBezTo>
                  <a:pt x="402" y="248"/>
                  <a:pt x="402" y="248"/>
                  <a:pt x="402" y="248"/>
                </a:cubicBezTo>
                <a:cubicBezTo>
                  <a:pt x="402" y="247"/>
                  <a:pt x="402" y="247"/>
                  <a:pt x="402" y="247"/>
                </a:cubicBezTo>
                <a:cubicBezTo>
                  <a:pt x="401" y="247"/>
                  <a:pt x="401" y="247"/>
                  <a:pt x="401" y="247"/>
                </a:cubicBezTo>
                <a:cubicBezTo>
                  <a:pt x="401" y="246"/>
                  <a:pt x="401" y="246"/>
                  <a:pt x="401" y="246"/>
                </a:cubicBezTo>
                <a:cubicBezTo>
                  <a:pt x="401" y="245"/>
                  <a:pt x="401" y="245"/>
                  <a:pt x="401" y="245"/>
                </a:cubicBezTo>
                <a:cubicBezTo>
                  <a:pt x="400" y="244"/>
                  <a:pt x="400" y="244"/>
                  <a:pt x="400" y="244"/>
                </a:cubicBezTo>
                <a:cubicBezTo>
                  <a:pt x="400" y="244"/>
                  <a:pt x="400" y="244"/>
                  <a:pt x="400" y="244"/>
                </a:cubicBezTo>
                <a:cubicBezTo>
                  <a:pt x="400" y="245"/>
                  <a:pt x="400" y="245"/>
                  <a:pt x="400" y="245"/>
                </a:cubicBezTo>
                <a:cubicBezTo>
                  <a:pt x="400" y="246"/>
                  <a:pt x="400" y="246"/>
                  <a:pt x="400" y="246"/>
                </a:cubicBezTo>
                <a:cubicBezTo>
                  <a:pt x="400" y="246"/>
                  <a:pt x="400" y="246"/>
                  <a:pt x="400" y="246"/>
                </a:cubicBezTo>
                <a:cubicBezTo>
                  <a:pt x="398" y="247"/>
                  <a:pt x="398" y="247"/>
                  <a:pt x="398" y="247"/>
                </a:cubicBezTo>
                <a:cubicBezTo>
                  <a:pt x="398" y="246"/>
                  <a:pt x="398" y="246"/>
                  <a:pt x="398" y="246"/>
                </a:cubicBezTo>
                <a:cubicBezTo>
                  <a:pt x="397" y="245"/>
                  <a:pt x="397" y="245"/>
                  <a:pt x="397" y="245"/>
                </a:cubicBezTo>
                <a:cubicBezTo>
                  <a:pt x="397" y="244"/>
                  <a:pt x="397" y="244"/>
                  <a:pt x="397" y="244"/>
                </a:cubicBezTo>
                <a:cubicBezTo>
                  <a:pt x="398" y="243"/>
                  <a:pt x="398" y="243"/>
                  <a:pt x="398" y="243"/>
                </a:cubicBezTo>
                <a:cubicBezTo>
                  <a:pt x="398" y="242"/>
                  <a:pt x="398" y="242"/>
                  <a:pt x="398" y="242"/>
                </a:cubicBezTo>
                <a:cubicBezTo>
                  <a:pt x="396" y="242"/>
                  <a:pt x="396" y="242"/>
                  <a:pt x="396" y="242"/>
                </a:cubicBezTo>
                <a:cubicBezTo>
                  <a:pt x="396" y="242"/>
                  <a:pt x="396" y="242"/>
                  <a:pt x="396" y="242"/>
                </a:cubicBezTo>
                <a:cubicBezTo>
                  <a:pt x="397" y="242"/>
                  <a:pt x="397" y="242"/>
                  <a:pt x="397" y="242"/>
                </a:cubicBezTo>
                <a:cubicBezTo>
                  <a:pt x="398" y="241"/>
                  <a:pt x="398" y="241"/>
                  <a:pt x="398" y="241"/>
                </a:cubicBezTo>
                <a:cubicBezTo>
                  <a:pt x="397" y="241"/>
                  <a:pt x="397" y="241"/>
                  <a:pt x="397" y="241"/>
                </a:cubicBezTo>
                <a:cubicBezTo>
                  <a:pt x="397" y="240"/>
                  <a:pt x="397" y="240"/>
                  <a:pt x="397" y="240"/>
                </a:cubicBezTo>
                <a:cubicBezTo>
                  <a:pt x="398" y="240"/>
                  <a:pt x="398" y="240"/>
                  <a:pt x="398" y="240"/>
                </a:cubicBezTo>
                <a:cubicBezTo>
                  <a:pt x="398" y="239"/>
                  <a:pt x="398" y="239"/>
                  <a:pt x="398" y="239"/>
                </a:cubicBezTo>
                <a:cubicBezTo>
                  <a:pt x="398" y="239"/>
                  <a:pt x="398" y="239"/>
                  <a:pt x="398" y="239"/>
                </a:cubicBezTo>
                <a:cubicBezTo>
                  <a:pt x="397" y="240"/>
                  <a:pt x="397" y="240"/>
                  <a:pt x="397" y="240"/>
                </a:cubicBezTo>
                <a:cubicBezTo>
                  <a:pt x="396" y="241"/>
                  <a:pt x="396" y="241"/>
                  <a:pt x="396" y="241"/>
                </a:cubicBezTo>
                <a:cubicBezTo>
                  <a:pt x="395" y="241"/>
                  <a:pt x="395" y="241"/>
                  <a:pt x="395" y="241"/>
                </a:cubicBezTo>
                <a:cubicBezTo>
                  <a:pt x="395" y="241"/>
                  <a:pt x="395" y="241"/>
                  <a:pt x="395" y="241"/>
                </a:cubicBezTo>
                <a:cubicBezTo>
                  <a:pt x="394" y="240"/>
                  <a:pt x="394" y="240"/>
                  <a:pt x="394" y="240"/>
                </a:cubicBezTo>
                <a:cubicBezTo>
                  <a:pt x="394" y="240"/>
                  <a:pt x="394" y="240"/>
                  <a:pt x="394" y="240"/>
                </a:cubicBezTo>
                <a:cubicBezTo>
                  <a:pt x="393" y="241"/>
                  <a:pt x="393" y="241"/>
                  <a:pt x="393" y="241"/>
                </a:cubicBezTo>
                <a:cubicBezTo>
                  <a:pt x="392" y="241"/>
                  <a:pt x="392" y="241"/>
                  <a:pt x="392" y="241"/>
                </a:cubicBezTo>
                <a:cubicBezTo>
                  <a:pt x="391" y="242"/>
                  <a:pt x="391" y="242"/>
                  <a:pt x="391" y="242"/>
                </a:cubicBezTo>
                <a:cubicBezTo>
                  <a:pt x="390" y="242"/>
                  <a:pt x="390" y="242"/>
                  <a:pt x="390" y="242"/>
                </a:cubicBezTo>
                <a:cubicBezTo>
                  <a:pt x="390" y="242"/>
                  <a:pt x="390" y="242"/>
                  <a:pt x="390" y="242"/>
                </a:cubicBezTo>
                <a:cubicBezTo>
                  <a:pt x="389" y="242"/>
                  <a:pt x="389" y="242"/>
                  <a:pt x="389" y="242"/>
                </a:cubicBezTo>
                <a:cubicBezTo>
                  <a:pt x="389" y="242"/>
                  <a:pt x="389" y="242"/>
                  <a:pt x="389" y="242"/>
                </a:cubicBezTo>
                <a:cubicBezTo>
                  <a:pt x="389" y="242"/>
                  <a:pt x="389" y="242"/>
                  <a:pt x="389" y="242"/>
                </a:cubicBezTo>
                <a:cubicBezTo>
                  <a:pt x="389" y="241"/>
                  <a:pt x="389" y="241"/>
                  <a:pt x="389" y="241"/>
                </a:cubicBezTo>
                <a:cubicBezTo>
                  <a:pt x="389" y="240"/>
                  <a:pt x="389" y="240"/>
                  <a:pt x="389" y="240"/>
                </a:cubicBezTo>
                <a:cubicBezTo>
                  <a:pt x="389" y="240"/>
                  <a:pt x="389" y="240"/>
                  <a:pt x="389" y="240"/>
                </a:cubicBezTo>
                <a:cubicBezTo>
                  <a:pt x="390" y="239"/>
                  <a:pt x="390" y="239"/>
                  <a:pt x="390" y="239"/>
                </a:cubicBezTo>
                <a:cubicBezTo>
                  <a:pt x="390" y="239"/>
                  <a:pt x="390" y="239"/>
                  <a:pt x="390" y="239"/>
                </a:cubicBezTo>
                <a:cubicBezTo>
                  <a:pt x="391" y="239"/>
                  <a:pt x="391" y="239"/>
                  <a:pt x="391" y="239"/>
                </a:cubicBezTo>
                <a:cubicBezTo>
                  <a:pt x="392" y="239"/>
                  <a:pt x="392" y="239"/>
                  <a:pt x="392" y="239"/>
                </a:cubicBezTo>
                <a:cubicBezTo>
                  <a:pt x="392" y="239"/>
                  <a:pt x="392" y="239"/>
                  <a:pt x="392" y="239"/>
                </a:cubicBezTo>
                <a:cubicBezTo>
                  <a:pt x="393" y="239"/>
                  <a:pt x="393" y="239"/>
                  <a:pt x="393" y="239"/>
                </a:cubicBezTo>
                <a:cubicBezTo>
                  <a:pt x="394" y="238"/>
                  <a:pt x="394" y="238"/>
                  <a:pt x="394" y="238"/>
                </a:cubicBezTo>
                <a:cubicBezTo>
                  <a:pt x="394" y="237"/>
                  <a:pt x="394" y="237"/>
                  <a:pt x="394" y="237"/>
                </a:cubicBezTo>
                <a:cubicBezTo>
                  <a:pt x="394" y="236"/>
                  <a:pt x="394" y="236"/>
                  <a:pt x="394" y="236"/>
                </a:cubicBezTo>
                <a:cubicBezTo>
                  <a:pt x="393" y="235"/>
                  <a:pt x="393" y="235"/>
                  <a:pt x="393" y="235"/>
                </a:cubicBezTo>
                <a:cubicBezTo>
                  <a:pt x="392" y="235"/>
                  <a:pt x="392" y="235"/>
                  <a:pt x="392" y="235"/>
                </a:cubicBezTo>
                <a:cubicBezTo>
                  <a:pt x="391" y="234"/>
                  <a:pt x="391" y="234"/>
                  <a:pt x="391" y="234"/>
                </a:cubicBezTo>
                <a:cubicBezTo>
                  <a:pt x="391" y="233"/>
                  <a:pt x="391" y="233"/>
                  <a:pt x="391" y="233"/>
                </a:cubicBezTo>
                <a:cubicBezTo>
                  <a:pt x="391" y="233"/>
                  <a:pt x="391" y="233"/>
                  <a:pt x="391" y="233"/>
                </a:cubicBezTo>
                <a:cubicBezTo>
                  <a:pt x="391" y="232"/>
                  <a:pt x="391" y="232"/>
                  <a:pt x="391" y="232"/>
                </a:cubicBezTo>
                <a:cubicBezTo>
                  <a:pt x="390" y="232"/>
                  <a:pt x="390" y="232"/>
                  <a:pt x="390" y="232"/>
                </a:cubicBezTo>
                <a:cubicBezTo>
                  <a:pt x="390" y="232"/>
                  <a:pt x="390" y="232"/>
                  <a:pt x="390" y="232"/>
                </a:cubicBezTo>
                <a:cubicBezTo>
                  <a:pt x="389" y="231"/>
                  <a:pt x="389" y="231"/>
                  <a:pt x="389" y="231"/>
                </a:cubicBezTo>
                <a:cubicBezTo>
                  <a:pt x="389" y="230"/>
                  <a:pt x="389" y="230"/>
                  <a:pt x="389" y="230"/>
                </a:cubicBezTo>
                <a:cubicBezTo>
                  <a:pt x="390" y="230"/>
                  <a:pt x="390" y="230"/>
                  <a:pt x="390" y="230"/>
                </a:cubicBezTo>
                <a:cubicBezTo>
                  <a:pt x="390" y="231"/>
                  <a:pt x="390" y="231"/>
                  <a:pt x="390" y="231"/>
                </a:cubicBezTo>
                <a:cubicBezTo>
                  <a:pt x="391" y="230"/>
                  <a:pt x="391" y="230"/>
                  <a:pt x="391" y="230"/>
                </a:cubicBezTo>
                <a:cubicBezTo>
                  <a:pt x="391" y="230"/>
                  <a:pt x="391" y="230"/>
                  <a:pt x="391" y="230"/>
                </a:cubicBezTo>
                <a:cubicBezTo>
                  <a:pt x="392" y="229"/>
                  <a:pt x="392" y="229"/>
                  <a:pt x="392" y="229"/>
                </a:cubicBezTo>
                <a:cubicBezTo>
                  <a:pt x="390" y="229"/>
                  <a:pt x="390" y="229"/>
                  <a:pt x="390" y="229"/>
                </a:cubicBezTo>
                <a:cubicBezTo>
                  <a:pt x="390" y="228"/>
                  <a:pt x="390" y="228"/>
                  <a:pt x="390" y="228"/>
                </a:cubicBezTo>
                <a:cubicBezTo>
                  <a:pt x="389" y="228"/>
                  <a:pt x="389" y="228"/>
                  <a:pt x="389" y="228"/>
                </a:cubicBezTo>
                <a:cubicBezTo>
                  <a:pt x="389" y="228"/>
                  <a:pt x="389" y="228"/>
                  <a:pt x="389" y="228"/>
                </a:cubicBezTo>
                <a:cubicBezTo>
                  <a:pt x="388" y="227"/>
                  <a:pt x="388" y="227"/>
                  <a:pt x="388" y="227"/>
                </a:cubicBezTo>
                <a:cubicBezTo>
                  <a:pt x="387" y="228"/>
                  <a:pt x="387" y="228"/>
                  <a:pt x="387" y="228"/>
                </a:cubicBezTo>
                <a:cubicBezTo>
                  <a:pt x="387" y="228"/>
                  <a:pt x="387" y="228"/>
                  <a:pt x="387" y="228"/>
                </a:cubicBezTo>
                <a:cubicBezTo>
                  <a:pt x="387" y="228"/>
                  <a:pt x="387" y="228"/>
                  <a:pt x="387" y="228"/>
                </a:cubicBezTo>
                <a:cubicBezTo>
                  <a:pt x="388" y="226"/>
                  <a:pt x="388" y="226"/>
                  <a:pt x="388" y="226"/>
                </a:cubicBezTo>
                <a:cubicBezTo>
                  <a:pt x="389" y="224"/>
                  <a:pt x="389" y="224"/>
                  <a:pt x="389" y="224"/>
                </a:cubicBezTo>
                <a:cubicBezTo>
                  <a:pt x="389" y="224"/>
                  <a:pt x="389" y="224"/>
                  <a:pt x="389" y="224"/>
                </a:cubicBezTo>
                <a:cubicBezTo>
                  <a:pt x="389" y="222"/>
                  <a:pt x="389" y="222"/>
                  <a:pt x="389" y="222"/>
                </a:cubicBezTo>
                <a:cubicBezTo>
                  <a:pt x="389" y="221"/>
                  <a:pt x="389" y="221"/>
                  <a:pt x="389" y="221"/>
                </a:cubicBezTo>
                <a:cubicBezTo>
                  <a:pt x="390" y="220"/>
                  <a:pt x="390" y="220"/>
                  <a:pt x="390" y="220"/>
                </a:cubicBezTo>
                <a:cubicBezTo>
                  <a:pt x="389" y="219"/>
                  <a:pt x="389" y="219"/>
                  <a:pt x="389" y="219"/>
                </a:cubicBezTo>
                <a:cubicBezTo>
                  <a:pt x="388" y="220"/>
                  <a:pt x="388" y="220"/>
                  <a:pt x="388" y="220"/>
                </a:cubicBezTo>
                <a:cubicBezTo>
                  <a:pt x="388" y="220"/>
                  <a:pt x="388" y="220"/>
                  <a:pt x="388" y="220"/>
                </a:cubicBezTo>
                <a:cubicBezTo>
                  <a:pt x="387" y="220"/>
                  <a:pt x="387" y="220"/>
                  <a:pt x="387" y="220"/>
                </a:cubicBezTo>
                <a:cubicBezTo>
                  <a:pt x="387" y="221"/>
                  <a:pt x="387" y="221"/>
                  <a:pt x="387" y="221"/>
                </a:cubicBezTo>
                <a:cubicBezTo>
                  <a:pt x="386" y="220"/>
                  <a:pt x="386" y="220"/>
                  <a:pt x="386" y="220"/>
                </a:cubicBezTo>
                <a:cubicBezTo>
                  <a:pt x="385" y="219"/>
                  <a:pt x="385" y="219"/>
                  <a:pt x="385" y="219"/>
                </a:cubicBezTo>
                <a:cubicBezTo>
                  <a:pt x="385" y="218"/>
                  <a:pt x="385" y="218"/>
                  <a:pt x="385" y="218"/>
                </a:cubicBezTo>
                <a:cubicBezTo>
                  <a:pt x="384" y="217"/>
                  <a:pt x="384" y="217"/>
                  <a:pt x="384" y="217"/>
                </a:cubicBezTo>
                <a:cubicBezTo>
                  <a:pt x="384" y="217"/>
                  <a:pt x="384" y="217"/>
                  <a:pt x="384" y="217"/>
                </a:cubicBezTo>
                <a:cubicBezTo>
                  <a:pt x="384" y="215"/>
                  <a:pt x="384" y="215"/>
                  <a:pt x="384" y="215"/>
                </a:cubicBezTo>
                <a:cubicBezTo>
                  <a:pt x="385" y="215"/>
                  <a:pt x="385" y="215"/>
                  <a:pt x="385" y="215"/>
                </a:cubicBezTo>
                <a:cubicBezTo>
                  <a:pt x="385" y="214"/>
                  <a:pt x="385" y="214"/>
                  <a:pt x="385" y="214"/>
                </a:cubicBezTo>
                <a:cubicBezTo>
                  <a:pt x="385" y="214"/>
                  <a:pt x="385" y="214"/>
                  <a:pt x="385" y="214"/>
                </a:cubicBezTo>
                <a:cubicBezTo>
                  <a:pt x="385" y="212"/>
                  <a:pt x="385" y="212"/>
                  <a:pt x="385" y="212"/>
                </a:cubicBezTo>
                <a:cubicBezTo>
                  <a:pt x="384" y="213"/>
                  <a:pt x="384" y="213"/>
                  <a:pt x="384" y="213"/>
                </a:cubicBezTo>
                <a:cubicBezTo>
                  <a:pt x="384" y="213"/>
                  <a:pt x="384" y="213"/>
                  <a:pt x="384" y="213"/>
                </a:cubicBezTo>
                <a:cubicBezTo>
                  <a:pt x="383" y="215"/>
                  <a:pt x="383" y="215"/>
                  <a:pt x="383" y="215"/>
                </a:cubicBezTo>
                <a:cubicBezTo>
                  <a:pt x="383" y="216"/>
                  <a:pt x="383" y="216"/>
                  <a:pt x="383" y="216"/>
                </a:cubicBezTo>
                <a:cubicBezTo>
                  <a:pt x="382" y="215"/>
                  <a:pt x="382" y="215"/>
                  <a:pt x="382" y="215"/>
                </a:cubicBezTo>
                <a:cubicBezTo>
                  <a:pt x="382" y="215"/>
                  <a:pt x="382" y="215"/>
                  <a:pt x="382" y="215"/>
                </a:cubicBezTo>
                <a:cubicBezTo>
                  <a:pt x="382" y="215"/>
                  <a:pt x="382" y="215"/>
                  <a:pt x="382" y="215"/>
                </a:cubicBezTo>
                <a:cubicBezTo>
                  <a:pt x="381" y="216"/>
                  <a:pt x="381" y="216"/>
                  <a:pt x="381" y="216"/>
                </a:cubicBezTo>
                <a:cubicBezTo>
                  <a:pt x="381" y="216"/>
                  <a:pt x="381" y="216"/>
                  <a:pt x="381" y="216"/>
                </a:cubicBezTo>
                <a:cubicBezTo>
                  <a:pt x="381" y="217"/>
                  <a:pt x="381" y="217"/>
                  <a:pt x="381" y="217"/>
                </a:cubicBezTo>
                <a:cubicBezTo>
                  <a:pt x="382" y="218"/>
                  <a:pt x="382" y="218"/>
                  <a:pt x="382" y="218"/>
                </a:cubicBezTo>
                <a:cubicBezTo>
                  <a:pt x="382" y="218"/>
                  <a:pt x="382" y="218"/>
                  <a:pt x="382" y="218"/>
                </a:cubicBezTo>
                <a:cubicBezTo>
                  <a:pt x="383" y="221"/>
                  <a:pt x="383" y="221"/>
                  <a:pt x="383" y="221"/>
                </a:cubicBezTo>
                <a:cubicBezTo>
                  <a:pt x="384" y="221"/>
                  <a:pt x="384" y="221"/>
                  <a:pt x="384" y="221"/>
                </a:cubicBezTo>
                <a:cubicBezTo>
                  <a:pt x="384" y="222"/>
                  <a:pt x="384" y="222"/>
                  <a:pt x="384" y="222"/>
                </a:cubicBezTo>
                <a:cubicBezTo>
                  <a:pt x="384" y="223"/>
                  <a:pt x="384" y="223"/>
                  <a:pt x="384" y="223"/>
                </a:cubicBezTo>
                <a:cubicBezTo>
                  <a:pt x="383" y="225"/>
                  <a:pt x="383" y="225"/>
                  <a:pt x="383" y="225"/>
                </a:cubicBezTo>
                <a:cubicBezTo>
                  <a:pt x="382" y="225"/>
                  <a:pt x="382" y="225"/>
                  <a:pt x="382" y="225"/>
                </a:cubicBezTo>
                <a:cubicBezTo>
                  <a:pt x="379" y="225"/>
                  <a:pt x="379" y="225"/>
                  <a:pt x="379" y="225"/>
                </a:cubicBezTo>
                <a:cubicBezTo>
                  <a:pt x="379" y="225"/>
                  <a:pt x="379" y="225"/>
                  <a:pt x="379" y="225"/>
                </a:cubicBezTo>
                <a:cubicBezTo>
                  <a:pt x="378" y="225"/>
                  <a:pt x="378" y="225"/>
                  <a:pt x="378" y="225"/>
                </a:cubicBezTo>
                <a:cubicBezTo>
                  <a:pt x="376" y="224"/>
                  <a:pt x="376" y="224"/>
                  <a:pt x="376" y="224"/>
                </a:cubicBezTo>
                <a:cubicBezTo>
                  <a:pt x="377" y="224"/>
                  <a:pt x="377" y="224"/>
                  <a:pt x="377" y="224"/>
                </a:cubicBezTo>
                <a:cubicBezTo>
                  <a:pt x="377" y="223"/>
                  <a:pt x="377" y="223"/>
                  <a:pt x="377" y="223"/>
                </a:cubicBezTo>
                <a:cubicBezTo>
                  <a:pt x="375" y="223"/>
                  <a:pt x="375" y="223"/>
                  <a:pt x="375" y="223"/>
                </a:cubicBezTo>
                <a:cubicBezTo>
                  <a:pt x="373" y="222"/>
                  <a:pt x="373" y="222"/>
                  <a:pt x="373" y="222"/>
                </a:cubicBezTo>
                <a:cubicBezTo>
                  <a:pt x="371" y="221"/>
                  <a:pt x="371" y="221"/>
                  <a:pt x="371" y="221"/>
                </a:cubicBezTo>
                <a:cubicBezTo>
                  <a:pt x="372" y="224"/>
                  <a:pt x="372" y="224"/>
                  <a:pt x="372" y="224"/>
                </a:cubicBezTo>
                <a:cubicBezTo>
                  <a:pt x="372" y="225"/>
                  <a:pt x="372" y="225"/>
                  <a:pt x="372" y="225"/>
                </a:cubicBezTo>
                <a:cubicBezTo>
                  <a:pt x="372" y="225"/>
                  <a:pt x="372" y="225"/>
                  <a:pt x="372" y="225"/>
                </a:cubicBezTo>
                <a:cubicBezTo>
                  <a:pt x="371" y="225"/>
                  <a:pt x="371" y="225"/>
                  <a:pt x="371" y="225"/>
                </a:cubicBezTo>
                <a:cubicBezTo>
                  <a:pt x="370" y="224"/>
                  <a:pt x="370" y="224"/>
                  <a:pt x="370" y="224"/>
                </a:cubicBezTo>
                <a:cubicBezTo>
                  <a:pt x="369" y="223"/>
                  <a:pt x="369" y="223"/>
                  <a:pt x="369" y="223"/>
                </a:cubicBezTo>
                <a:cubicBezTo>
                  <a:pt x="369" y="223"/>
                  <a:pt x="369" y="223"/>
                  <a:pt x="369" y="223"/>
                </a:cubicBezTo>
                <a:cubicBezTo>
                  <a:pt x="369" y="222"/>
                  <a:pt x="369" y="222"/>
                  <a:pt x="369" y="222"/>
                </a:cubicBezTo>
                <a:cubicBezTo>
                  <a:pt x="368" y="221"/>
                  <a:pt x="368" y="221"/>
                  <a:pt x="368" y="221"/>
                </a:cubicBezTo>
                <a:cubicBezTo>
                  <a:pt x="367" y="220"/>
                  <a:pt x="367" y="220"/>
                  <a:pt x="367" y="220"/>
                </a:cubicBezTo>
                <a:cubicBezTo>
                  <a:pt x="366" y="219"/>
                  <a:pt x="366" y="219"/>
                  <a:pt x="366" y="219"/>
                </a:cubicBezTo>
                <a:cubicBezTo>
                  <a:pt x="366" y="219"/>
                  <a:pt x="366" y="219"/>
                  <a:pt x="366" y="219"/>
                </a:cubicBezTo>
                <a:cubicBezTo>
                  <a:pt x="365" y="217"/>
                  <a:pt x="365" y="217"/>
                  <a:pt x="365" y="217"/>
                </a:cubicBezTo>
                <a:cubicBezTo>
                  <a:pt x="364" y="217"/>
                  <a:pt x="364" y="217"/>
                  <a:pt x="364" y="217"/>
                </a:cubicBezTo>
                <a:cubicBezTo>
                  <a:pt x="363" y="217"/>
                  <a:pt x="363" y="217"/>
                  <a:pt x="363" y="217"/>
                </a:cubicBezTo>
                <a:cubicBezTo>
                  <a:pt x="362" y="216"/>
                  <a:pt x="362" y="216"/>
                  <a:pt x="362" y="216"/>
                </a:cubicBezTo>
                <a:cubicBezTo>
                  <a:pt x="363" y="217"/>
                  <a:pt x="363" y="217"/>
                  <a:pt x="363" y="217"/>
                </a:cubicBezTo>
                <a:cubicBezTo>
                  <a:pt x="365" y="219"/>
                  <a:pt x="365" y="219"/>
                  <a:pt x="365" y="219"/>
                </a:cubicBezTo>
                <a:cubicBezTo>
                  <a:pt x="366" y="220"/>
                  <a:pt x="366" y="220"/>
                  <a:pt x="366" y="220"/>
                </a:cubicBezTo>
                <a:cubicBezTo>
                  <a:pt x="366" y="221"/>
                  <a:pt x="366" y="221"/>
                  <a:pt x="366" y="221"/>
                </a:cubicBezTo>
                <a:cubicBezTo>
                  <a:pt x="367" y="222"/>
                  <a:pt x="367" y="222"/>
                  <a:pt x="367" y="222"/>
                </a:cubicBezTo>
                <a:cubicBezTo>
                  <a:pt x="368" y="222"/>
                  <a:pt x="368" y="222"/>
                  <a:pt x="368" y="222"/>
                </a:cubicBezTo>
                <a:cubicBezTo>
                  <a:pt x="367" y="223"/>
                  <a:pt x="367" y="223"/>
                  <a:pt x="367" y="223"/>
                </a:cubicBezTo>
                <a:cubicBezTo>
                  <a:pt x="367" y="223"/>
                  <a:pt x="367" y="223"/>
                  <a:pt x="367" y="223"/>
                </a:cubicBezTo>
                <a:cubicBezTo>
                  <a:pt x="366" y="223"/>
                  <a:pt x="366" y="223"/>
                  <a:pt x="366" y="223"/>
                </a:cubicBezTo>
                <a:cubicBezTo>
                  <a:pt x="364" y="222"/>
                  <a:pt x="364" y="222"/>
                  <a:pt x="364" y="222"/>
                </a:cubicBezTo>
                <a:cubicBezTo>
                  <a:pt x="364" y="223"/>
                  <a:pt x="364" y="223"/>
                  <a:pt x="364" y="223"/>
                </a:cubicBezTo>
                <a:cubicBezTo>
                  <a:pt x="363" y="222"/>
                  <a:pt x="363" y="222"/>
                  <a:pt x="363" y="222"/>
                </a:cubicBezTo>
                <a:cubicBezTo>
                  <a:pt x="362" y="221"/>
                  <a:pt x="362" y="221"/>
                  <a:pt x="362" y="221"/>
                </a:cubicBezTo>
                <a:cubicBezTo>
                  <a:pt x="361" y="220"/>
                  <a:pt x="361" y="220"/>
                  <a:pt x="361" y="220"/>
                </a:cubicBezTo>
                <a:cubicBezTo>
                  <a:pt x="359" y="220"/>
                  <a:pt x="359" y="220"/>
                  <a:pt x="359" y="220"/>
                </a:cubicBezTo>
                <a:cubicBezTo>
                  <a:pt x="358" y="221"/>
                  <a:pt x="358" y="221"/>
                  <a:pt x="358" y="221"/>
                </a:cubicBezTo>
                <a:cubicBezTo>
                  <a:pt x="357" y="220"/>
                  <a:pt x="357" y="220"/>
                  <a:pt x="357" y="220"/>
                </a:cubicBezTo>
                <a:cubicBezTo>
                  <a:pt x="356" y="220"/>
                  <a:pt x="356" y="220"/>
                  <a:pt x="356" y="220"/>
                </a:cubicBezTo>
                <a:cubicBezTo>
                  <a:pt x="355" y="220"/>
                  <a:pt x="355" y="220"/>
                  <a:pt x="355" y="220"/>
                </a:cubicBezTo>
                <a:cubicBezTo>
                  <a:pt x="354" y="219"/>
                  <a:pt x="354" y="219"/>
                  <a:pt x="354" y="219"/>
                </a:cubicBezTo>
                <a:cubicBezTo>
                  <a:pt x="353" y="218"/>
                  <a:pt x="353" y="218"/>
                  <a:pt x="353" y="218"/>
                </a:cubicBezTo>
                <a:cubicBezTo>
                  <a:pt x="353" y="217"/>
                  <a:pt x="353" y="217"/>
                  <a:pt x="353" y="217"/>
                </a:cubicBezTo>
                <a:cubicBezTo>
                  <a:pt x="355" y="216"/>
                  <a:pt x="355" y="216"/>
                  <a:pt x="355" y="216"/>
                </a:cubicBezTo>
                <a:cubicBezTo>
                  <a:pt x="355" y="215"/>
                  <a:pt x="355" y="215"/>
                  <a:pt x="355" y="215"/>
                </a:cubicBezTo>
                <a:cubicBezTo>
                  <a:pt x="355" y="215"/>
                  <a:pt x="355" y="215"/>
                  <a:pt x="355" y="215"/>
                </a:cubicBezTo>
                <a:cubicBezTo>
                  <a:pt x="354" y="215"/>
                  <a:pt x="354" y="215"/>
                  <a:pt x="354" y="215"/>
                </a:cubicBezTo>
                <a:cubicBezTo>
                  <a:pt x="353" y="216"/>
                  <a:pt x="353" y="216"/>
                  <a:pt x="353" y="216"/>
                </a:cubicBezTo>
                <a:cubicBezTo>
                  <a:pt x="352" y="217"/>
                  <a:pt x="352" y="217"/>
                  <a:pt x="352" y="217"/>
                </a:cubicBezTo>
                <a:cubicBezTo>
                  <a:pt x="352" y="217"/>
                  <a:pt x="352" y="217"/>
                  <a:pt x="352" y="217"/>
                </a:cubicBezTo>
                <a:cubicBezTo>
                  <a:pt x="351" y="217"/>
                  <a:pt x="351" y="217"/>
                  <a:pt x="351" y="217"/>
                </a:cubicBezTo>
                <a:cubicBezTo>
                  <a:pt x="350" y="216"/>
                  <a:pt x="350" y="216"/>
                  <a:pt x="350" y="216"/>
                </a:cubicBezTo>
                <a:cubicBezTo>
                  <a:pt x="349" y="216"/>
                  <a:pt x="349" y="216"/>
                  <a:pt x="349" y="216"/>
                </a:cubicBezTo>
                <a:cubicBezTo>
                  <a:pt x="350" y="217"/>
                  <a:pt x="350" y="217"/>
                  <a:pt x="350" y="217"/>
                </a:cubicBezTo>
                <a:cubicBezTo>
                  <a:pt x="350" y="218"/>
                  <a:pt x="350" y="218"/>
                  <a:pt x="350" y="218"/>
                </a:cubicBezTo>
                <a:cubicBezTo>
                  <a:pt x="348" y="218"/>
                  <a:pt x="348" y="218"/>
                  <a:pt x="348" y="218"/>
                </a:cubicBezTo>
                <a:cubicBezTo>
                  <a:pt x="346" y="216"/>
                  <a:pt x="346" y="216"/>
                  <a:pt x="346" y="216"/>
                </a:cubicBezTo>
                <a:cubicBezTo>
                  <a:pt x="346" y="215"/>
                  <a:pt x="346" y="215"/>
                  <a:pt x="346" y="215"/>
                </a:cubicBezTo>
                <a:cubicBezTo>
                  <a:pt x="345" y="214"/>
                  <a:pt x="345" y="214"/>
                  <a:pt x="345" y="214"/>
                </a:cubicBezTo>
                <a:cubicBezTo>
                  <a:pt x="345" y="213"/>
                  <a:pt x="345" y="213"/>
                  <a:pt x="345" y="213"/>
                </a:cubicBezTo>
                <a:cubicBezTo>
                  <a:pt x="347" y="212"/>
                  <a:pt x="347" y="212"/>
                  <a:pt x="347" y="212"/>
                </a:cubicBezTo>
                <a:cubicBezTo>
                  <a:pt x="348" y="211"/>
                  <a:pt x="348" y="211"/>
                  <a:pt x="348" y="211"/>
                </a:cubicBezTo>
                <a:cubicBezTo>
                  <a:pt x="348" y="211"/>
                  <a:pt x="348" y="211"/>
                  <a:pt x="348" y="211"/>
                </a:cubicBezTo>
                <a:cubicBezTo>
                  <a:pt x="347" y="211"/>
                  <a:pt x="347" y="211"/>
                  <a:pt x="347" y="211"/>
                </a:cubicBezTo>
                <a:cubicBezTo>
                  <a:pt x="345" y="212"/>
                  <a:pt x="345" y="212"/>
                  <a:pt x="345" y="212"/>
                </a:cubicBezTo>
                <a:cubicBezTo>
                  <a:pt x="345" y="213"/>
                  <a:pt x="345" y="213"/>
                  <a:pt x="345" y="213"/>
                </a:cubicBezTo>
                <a:cubicBezTo>
                  <a:pt x="344" y="213"/>
                  <a:pt x="344" y="213"/>
                  <a:pt x="344" y="213"/>
                </a:cubicBezTo>
                <a:cubicBezTo>
                  <a:pt x="344" y="212"/>
                  <a:pt x="344" y="212"/>
                  <a:pt x="344" y="212"/>
                </a:cubicBezTo>
                <a:cubicBezTo>
                  <a:pt x="344" y="211"/>
                  <a:pt x="344" y="211"/>
                  <a:pt x="344" y="211"/>
                </a:cubicBezTo>
                <a:cubicBezTo>
                  <a:pt x="343" y="211"/>
                  <a:pt x="343" y="211"/>
                  <a:pt x="343" y="211"/>
                </a:cubicBezTo>
                <a:cubicBezTo>
                  <a:pt x="343" y="211"/>
                  <a:pt x="343" y="211"/>
                  <a:pt x="343" y="211"/>
                </a:cubicBezTo>
                <a:cubicBezTo>
                  <a:pt x="343" y="212"/>
                  <a:pt x="343" y="212"/>
                  <a:pt x="343" y="212"/>
                </a:cubicBezTo>
                <a:cubicBezTo>
                  <a:pt x="343" y="212"/>
                  <a:pt x="343" y="212"/>
                  <a:pt x="343" y="212"/>
                </a:cubicBezTo>
                <a:cubicBezTo>
                  <a:pt x="343" y="213"/>
                  <a:pt x="343" y="213"/>
                  <a:pt x="343" y="213"/>
                </a:cubicBezTo>
                <a:cubicBezTo>
                  <a:pt x="342" y="213"/>
                  <a:pt x="342" y="213"/>
                  <a:pt x="342" y="213"/>
                </a:cubicBezTo>
                <a:cubicBezTo>
                  <a:pt x="341" y="212"/>
                  <a:pt x="341" y="212"/>
                  <a:pt x="341" y="212"/>
                </a:cubicBezTo>
                <a:cubicBezTo>
                  <a:pt x="340" y="212"/>
                  <a:pt x="340" y="212"/>
                  <a:pt x="340" y="212"/>
                </a:cubicBezTo>
                <a:cubicBezTo>
                  <a:pt x="339" y="212"/>
                  <a:pt x="339" y="212"/>
                  <a:pt x="339" y="212"/>
                </a:cubicBezTo>
                <a:cubicBezTo>
                  <a:pt x="339" y="213"/>
                  <a:pt x="339" y="213"/>
                  <a:pt x="339" y="213"/>
                </a:cubicBezTo>
                <a:cubicBezTo>
                  <a:pt x="338" y="213"/>
                  <a:pt x="338" y="213"/>
                  <a:pt x="338" y="213"/>
                </a:cubicBezTo>
                <a:cubicBezTo>
                  <a:pt x="337" y="212"/>
                  <a:pt x="337" y="212"/>
                  <a:pt x="337" y="212"/>
                </a:cubicBezTo>
                <a:cubicBezTo>
                  <a:pt x="337" y="211"/>
                  <a:pt x="337" y="211"/>
                  <a:pt x="337" y="211"/>
                </a:cubicBezTo>
                <a:cubicBezTo>
                  <a:pt x="337" y="211"/>
                  <a:pt x="337" y="211"/>
                  <a:pt x="337" y="211"/>
                </a:cubicBezTo>
                <a:cubicBezTo>
                  <a:pt x="338" y="211"/>
                  <a:pt x="338" y="211"/>
                  <a:pt x="338" y="211"/>
                </a:cubicBezTo>
                <a:cubicBezTo>
                  <a:pt x="338" y="211"/>
                  <a:pt x="338" y="211"/>
                  <a:pt x="338" y="211"/>
                </a:cubicBezTo>
                <a:cubicBezTo>
                  <a:pt x="337" y="210"/>
                  <a:pt x="337" y="210"/>
                  <a:pt x="337" y="210"/>
                </a:cubicBezTo>
                <a:cubicBezTo>
                  <a:pt x="335" y="209"/>
                  <a:pt x="335" y="209"/>
                  <a:pt x="335" y="209"/>
                </a:cubicBezTo>
                <a:cubicBezTo>
                  <a:pt x="335" y="208"/>
                  <a:pt x="335" y="208"/>
                  <a:pt x="335" y="208"/>
                </a:cubicBezTo>
                <a:cubicBezTo>
                  <a:pt x="335" y="206"/>
                  <a:pt x="335" y="206"/>
                  <a:pt x="335" y="206"/>
                </a:cubicBezTo>
                <a:cubicBezTo>
                  <a:pt x="335" y="205"/>
                  <a:pt x="335" y="205"/>
                  <a:pt x="335" y="205"/>
                </a:cubicBezTo>
                <a:cubicBezTo>
                  <a:pt x="335" y="203"/>
                  <a:pt x="335" y="203"/>
                  <a:pt x="335" y="203"/>
                </a:cubicBezTo>
                <a:cubicBezTo>
                  <a:pt x="335" y="202"/>
                  <a:pt x="335" y="202"/>
                  <a:pt x="335" y="202"/>
                </a:cubicBezTo>
                <a:cubicBezTo>
                  <a:pt x="336" y="202"/>
                  <a:pt x="336" y="202"/>
                  <a:pt x="336" y="202"/>
                </a:cubicBezTo>
                <a:cubicBezTo>
                  <a:pt x="336" y="201"/>
                  <a:pt x="336" y="201"/>
                  <a:pt x="336" y="201"/>
                </a:cubicBezTo>
                <a:cubicBezTo>
                  <a:pt x="335" y="200"/>
                  <a:pt x="335" y="200"/>
                  <a:pt x="335" y="200"/>
                </a:cubicBezTo>
                <a:cubicBezTo>
                  <a:pt x="336" y="199"/>
                  <a:pt x="336" y="199"/>
                  <a:pt x="336" y="199"/>
                </a:cubicBezTo>
                <a:cubicBezTo>
                  <a:pt x="337" y="200"/>
                  <a:pt x="337" y="200"/>
                  <a:pt x="337" y="200"/>
                </a:cubicBezTo>
                <a:cubicBezTo>
                  <a:pt x="337" y="200"/>
                  <a:pt x="337" y="200"/>
                  <a:pt x="337" y="200"/>
                </a:cubicBezTo>
                <a:cubicBezTo>
                  <a:pt x="339" y="200"/>
                  <a:pt x="339" y="200"/>
                  <a:pt x="339" y="200"/>
                </a:cubicBezTo>
                <a:cubicBezTo>
                  <a:pt x="340" y="201"/>
                  <a:pt x="340" y="201"/>
                  <a:pt x="340" y="201"/>
                </a:cubicBezTo>
                <a:cubicBezTo>
                  <a:pt x="341" y="202"/>
                  <a:pt x="341" y="202"/>
                  <a:pt x="341" y="202"/>
                </a:cubicBezTo>
                <a:cubicBezTo>
                  <a:pt x="343" y="203"/>
                  <a:pt x="343" y="203"/>
                  <a:pt x="343" y="203"/>
                </a:cubicBezTo>
                <a:cubicBezTo>
                  <a:pt x="345" y="203"/>
                  <a:pt x="345" y="203"/>
                  <a:pt x="345" y="203"/>
                </a:cubicBezTo>
                <a:cubicBezTo>
                  <a:pt x="345" y="203"/>
                  <a:pt x="345" y="203"/>
                  <a:pt x="345" y="203"/>
                </a:cubicBezTo>
                <a:cubicBezTo>
                  <a:pt x="347" y="203"/>
                  <a:pt x="347" y="203"/>
                  <a:pt x="347" y="203"/>
                </a:cubicBezTo>
                <a:cubicBezTo>
                  <a:pt x="346" y="202"/>
                  <a:pt x="346" y="202"/>
                  <a:pt x="346" y="202"/>
                </a:cubicBezTo>
                <a:cubicBezTo>
                  <a:pt x="346" y="201"/>
                  <a:pt x="346" y="201"/>
                  <a:pt x="346" y="201"/>
                </a:cubicBezTo>
                <a:cubicBezTo>
                  <a:pt x="345" y="200"/>
                  <a:pt x="345" y="200"/>
                  <a:pt x="345" y="200"/>
                </a:cubicBezTo>
                <a:cubicBezTo>
                  <a:pt x="344" y="199"/>
                  <a:pt x="344" y="199"/>
                  <a:pt x="344" y="199"/>
                </a:cubicBezTo>
                <a:cubicBezTo>
                  <a:pt x="343" y="199"/>
                  <a:pt x="343" y="199"/>
                  <a:pt x="343" y="199"/>
                </a:cubicBezTo>
                <a:cubicBezTo>
                  <a:pt x="341" y="198"/>
                  <a:pt x="341" y="198"/>
                  <a:pt x="341" y="198"/>
                </a:cubicBezTo>
                <a:cubicBezTo>
                  <a:pt x="341" y="198"/>
                  <a:pt x="341" y="198"/>
                  <a:pt x="341" y="198"/>
                </a:cubicBezTo>
                <a:cubicBezTo>
                  <a:pt x="339" y="197"/>
                  <a:pt x="339" y="197"/>
                  <a:pt x="339" y="197"/>
                </a:cubicBezTo>
                <a:cubicBezTo>
                  <a:pt x="338" y="197"/>
                  <a:pt x="338" y="197"/>
                  <a:pt x="338" y="197"/>
                </a:cubicBezTo>
                <a:cubicBezTo>
                  <a:pt x="336" y="196"/>
                  <a:pt x="336" y="196"/>
                  <a:pt x="336" y="196"/>
                </a:cubicBezTo>
                <a:cubicBezTo>
                  <a:pt x="335" y="195"/>
                  <a:pt x="335" y="195"/>
                  <a:pt x="335" y="195"/>
                </a:cubicBezTo>
                <a:cubicBezTo>
                  <a:pt x="335" y="193"/>
                  <a:pt x="335" y="193"/>
                  <a:pt x="335" y="193"/>
                </a:cubicBezTo>
                <a:cubicBezTo>
                  <a:pt x="337" y="192"/>
                  <a:pt x="337" y="192"/>
                  <a:pt x="337" y="192"/>
                </a:cubicBezTo>
                <a:cubicBezTo>
                  <a:pt x="336" y="191"/>
                  <a:pt x="336" y="191"/>
                  <a:pt x="336" y="191"/>
                </a:cubicBezTo>
                <a:cubicBezTo>
                  <a:pt x="337" y="190"/>
                  <a:pt x="337" y="190"/>
                  <a:pt x="337" y="190"/>
                </a:cubicBezTo>
                <a:cubicBezTo>
                  <a:pt x="338" y="190"/>
                  <a:pt x="338" y="190"/>
                  <a:pt x="338" y="190"/>
                </a:cubicBezTo>
                <a:cubicBezTo>
                  <a:pt x="338" y="188"/>
                  <a:pt x="338" y="188"/>
                  <a:pt x="338" y="188"/>
                </a:cubicBezTo>
                <a:cubicBezTo>
                  <a:pt x="338" y="186"/>
                  <a:pt x="338" y="186"/>
                  <a:pt x="338" y="186"/>
                </a:cubicBezTo>
                <a:cubicBezTo>
                  <a:pt x="339" y="185"/>
                  <a:pt x="339" y="185"/>
                  <a:pt x="339" y="185"/>
                </a:cubicBezTo>
                <a:cubicBezTo>
                  <a:pt x="340" y="185"/>
                  <a:pt x="340" y="185"/>
                  <a:pt x="340" y="185"/>
                </a:cubicBezTo>
                <a:cubicBezTo>
                  <a:pt x="340" y="184"/>
                  <a:pt x="340" y="184"/>
                  <a:pt x="340" y="184"/>
                </a:cubicBezTo>
                <a:cubicBezTo>
                  <a:pt x="342" y="183"/>
                  <a:pt x="342" y="183"/>
                  <a:pt x="342" y="183"/>
                </a:cubicBezTo>
                <a:cubicBezTo>
                  <a:pt x="343" y="183"/>
                  <a:pt x="343" y="183"/>
                  <a:pt x="343" y="183"/>
                </a:cubicBezTo>
                <a:cubicBezTo>
                  <a:pt x="343" y="182"/>
                  <a:pt x="343" y="182"/>
                  <a:pt x="343" y="182"/>
                </a:cubicBezTo>
                <a:cubicBezTo>
                  <a:pt x="343" y="182"/>
                  <a:pt x="343" y="182"/>
                  <a:pt x="343" y="182"/>
                </a:cubicBezTo>
                <a:cubicBezTo>
                  <a:pt x="342" y="182"/>
                  <a:pt x="342" y="182"/>
                  <a:pt x="342" y="182"/>
                </a:cubicBezTo>
                <a:cubicBezTo>
                  <a:pt x="342" y="181"/>
                  <a:pt x="342" y="181"/>
                  <a:pt x="342" y="181"/>
                </a:cubicBezTo>
                <a:cubicBezTo>
                  <a:pt x="343" y="179"/>
                  <a:pt x="343" y="179"/>
                  <a:pt x="343" y="179"/>
                </a:cubicBezTo>
                <a:cubicBezTo>
                  <a:pt x="344" y="178"/>
                  <a:pt x="344" y="178"/>
                  <a:pt x="344" y="178"/>
                </a:cubicBezTo>
                <a:cubicBezTo>
                  <a:pt x="345" y="177"/>
                  <a:pt x="345" y="177"/>
                  <a:pt x="345" y="177"/>
                </a:cubicBezTo>
                <a:cubicBezTo>
                  <a:pt x="346" y="176"/>
                  <a:pt x="346" y="176"/>
                  <a:pt x="346" y="176"/>
                </a:cubicBezTo>
                <a:cubicBezTo>
                  <a:pt x="346" y="176"/>
                  <a:pt x="346" y="176"/>
                  <a:pt x="346" y="176"/>
                </a:cubicBezTo>
                <a:cubicBezTo>
                  <a:pt x="347" y="176"/>
                  <a:pt x="347" y="176"/>
                  <a:pt x="347" y="176"/>
                </a:cubicBezTo>
                <a:cubicBezTo>
                  <a:pt x="347" y="174"/>
                  <a:pt x="347" y="174"/>
                  <a:pt x="347" y="174"/>
                </a:cubicBezTo>
                <a:cubicBezTo>
                  <a:pt x="348" y="174"/>
                  <a:pt x="348" y="174"/>
                  <a:pt x="348" y="174"/>
                </a:cubicBezTo>
                <a:cubicBezTo>
                  <a:pt x="348" y="175"/>
                  <a:pt x="348" y="175"/>
                  <a:pt x="348" y="175"/>
                </a:cubicBezTo>
                <a:cubicBezTo>
                  <a:pt x="349" y="174"/>
                  <a:pt x="349" y="174"/>
                  <a:pt x="349" y="174"/>
                </a:cubicBezTo>
                <a:cubicBezTo>
                  <a:pt x="349" y="173"/>
                  <a:pt x="349" y="173"/>
                  <a:pt x="349" y="173"/>
                </a:cubicBezTo>
                <a:cubicBezTo>
                  <a:pt x="350" y="171"/>
                  <a:pt x="350" y="171"/>
                  <a:pt x="350" y="171"/>
                </a:cubicBezTo>
                <a:cubicBezTo>
                  <a:pt x="351" y="171"/>
                  <a:pt x="351" y="171"/>
                  <a:pt x="351" y="171"/>
                </a:cubicBezTo>
                <a:cubicBezTo>
                  <a:pt x="351" y="170"/>
                  <a:pt x="351" y="170"/>
                  <a:pt x="351" y="170"/>
                </a:cubicBezTo>
                <a:cubicBezTo>
                  <a:pt x="352" y="169"/>
                  <a:pt x="352" y="169"/>
                  <a:pt x="352" y="169"/>
                </a:cubicBezTo>
                <a:cubicBezTo>
                  <a:pt x="353" y="169"/>
                  <a:pt x="353" y="169"/>
                  <a:pt x="353" y="169"/>
                </a:cubicBezTo>
                <a:cubicBezTo>
                  <a:pt x="354" y="168"/>
                  <a:pt x="354" y="168"/>
                  <a:pt x="354" y="168"/>
                </a:cubicBezTo>
                <a:cubicBezTo>
                  <a:pt x="355" y="168"/>
                  <a:pt x="355" y="168"/>
                  <a:pt x="355" y="168"/>
                </a:cubicBezTo>
                <a:cubicBezTo>
                  <a:pt x="356" y="168"/>
                  <a:pt x="356" y="168"/>
                  <a:pt x="356" y="168"/>
                </a:cubicBezTo>
                <a:cubicBezTo>
                  <a:pt x="355" y="167"/>
                  <a:pt x="355" y="167"/>
                  <a:pt x="355" y="167"/>
                </a:cubicBezTo>
                <a:cubicBezTo>
                  <a:pt x="356" y="166"/>
                  <a:pt x="356" y="166"/>
                  <a:pt x="356" y="166"/>
                </a:cubicBezTo>
                <a:cubicBezTo>
                  <a:pt x="358" y="165"/>
                  <a:pt x="358" y="165"/>
                  <a:pt x="358" y="165"/>
                </a:cubicBezTo>
                <a:cubicBezTo>
                  <a:pt x="360" y="163"/>
                  <a:pt x="360" y="163"/>
                  <a:pt x="360" y="163"/>
                </a:cubicBezTo>
                <a:cubicBezTo>
                  <a:pt x="363" y="162"/>
                  <a:pt x="363" y="162"/>
                  <a:pt x="363" y="162"/>
                </a:cubicBezTo>
                <a:cubicBezTo>
                  <a:pt x="366" y="162"/>
                  <a:pt x="366" y="162"/>
                  <a:pt x="366" y="162"/>
                </a:cubicBezTo>
                <a:cubicBezTo>
                  <a:pt x="367" y="161"/>
                  <a:pt x="367" y="161"/>
                  <a:pt x="367" y="161"/>
                </a:cubicBezTo>
                <a:cubicBezTo>
                  <a:pt x="368" y="161"/>
                  <a:pt x="368" y="161"/>
                  <a:pt x="368" y="161"/>
                </a:cubicBezTo>
                <a:cubicBezTo>
                  <a:pt x="369" y="161"/>
                  <a:pt x="369" y="161"/>
                  <a:pt x="369" y="161"/>
                </a:cubicBezTo>
                <a:cubicBezTo>
                  <a:pt x="370" y="161"/>
                  <a:pt x="370" y="161"/>
                  <a:pt x="370" y="161"/>
                </a:cubicBezTo>
                <a:cubicBezTo>
                  <a:pt x="372" y="161"/>
                  <a:pt x="372" y="161"/>
                  <a:pt x="372" y="161"/>
                </a:cubicBezTo>
                <a:cubicBezTo>
                  <a:pt x="373" y="162"/>
                  <a:pt x="373" y="162"/>
                  <a:pt x="373" y="162"/>
                </a:cubicBezTo>
                <a:cubicBezTo>
                  <a:pt x="376" y="164"/>
                  <a:pt x="376" y="164"/>
                  <a:pt x="376" y="164"/>
                </a:cubicBezTo>
                <a:cubicBezTo>
                  <a:pt x="376" y="164"/>
                  <a:pt x="376" y="164"/>
                  <a:pt x="376" y="164"/>
                </a:cubicBezTo>
                <a:cubicBezTo>
                  <a:pt x="376" y="165"/>
                  <a:pt x="376" y="165"/>
                  <a:pt x="376" y="165"/>
                </a:cubicBezTo>
                <a:cubicBezTo>
                  <a:pt x="374" y="166"/>
                  <a:pt x="374" y="166"/>
                  <a:pt x="374" y="166"/>
                </a:cubicBezTo>
                <a:cubicBezTo>
                  <a:pt x="372" y="167"/>
                  <a:pt x="372" y="167"/>
                  <a:pt x="372" y="167"/>
                </a:cubicBezTo>
                <a:cubicBezTo>
                  <a:pt x="371" y="167"/>
                  <a:pt x="371" y="167"/>
                  <a:pt x="371" y="167"/>
                </a:cubicBezTo>
                <a:cubicBezTo>
                  <a:pt x="370" y="168"/>
                  <a:pt x="370" y="168"/>
                  <a:pt x="370" y="168"/>
                </a:cubicBezTo>
                <a:cubicBezTo>
                  <a:pt x="369" y="169"/>
                  <a:pt x="369" y="169"/>
                  <a:pt x="369" y="169"/>
                </a:cubicBezTo>
                <a:cubicBezTo>
                  <a:pt x="368" y="169"/>
                  <a:pt x="368" y="169"/>
                  <a:pt x="368" y="169"/>
                </a:cubicBezTo>
                <a:cubicBezTo>
                  <a:pt x="366" y="172"/>
                  <a:pt x="366" y="172"/>
                  <a:pt x="366" y="172"/>
                </a:cubicBezTo>
                <a:cubicBezTo>
                  <a:pt x="363" y="174"/>
                  <a:pt x="363" y="174"/>
                  <a:pt x="363" y="174"/>
                </a:cubicBezTo>
                <a:cubicBezTo>
                  <a:pt x="362" y="176"/>
                  <a:pt x="362" y="176"/>
                  <a:pt x="362" y="176"/>
                </a:cubicBezTo>
                <a:cubicBezTo>
                  <a:pt x="361" y="176"/>
                  <a:pt x="361" y="176"/>
                  <a:pt x="361" y="176"/>
                </a:cubicBezTo>
                <a:cubicBezTo>
                  <a:pt x="360" y="178"/>
                  <a:pt x="360" y="178"/>
                  <a:pt x="360" y="178"/>
                </a:cubicBezTo>
                <a:cubicBezTo>
                  <a:pt x="359" y="180"/>
                  <a:pt x="359" y="180"/>
                  <a:pt x="359" y="180"/>
                </a:cubicBezTo>
                <a:cubicBezTo>
                  <a:pt x="360" y="181"/>
                  <a:pt x="360" y="181"/>
                  <a:pt x="360" y="181"/>
                </a:cubicBezTo>
                <a:cubicBezTo>
                  <a:pt x="361" y="182"/>
                  <a:pt x="361" y="182"/>
                  <a:pt x="361" y="182"/>
                </a:cubicBezTo>
                <a:cubicBezTo>
                  <a:pt x="361" y="183"/>
                  <a:pt x="361" y="183"/>
                  <a:pt x="361" y="183"/>
                </a:cubicBezTo>
                <a:cubicBezTo>
                  <a:pt x="360" y="184"/>
                  <a:pt x="360" y="184"/>
                  <a:pt x="360" y="184"/>
                </a:cubicBezTo>
                <a:cubicBezTo>
                  <a:pt x="359" y="185"/>
                  <a:pt x="359" y="185"/>
                  <a:pt x="359" y="185"/>
                </a:cubicBezTo>
                <a:cubicBezTo>
                  <a:pt x="358" y="186"/>
                  <a:pt x="358" y="186"/>
                  <a:pt x="358" y="186"/>
                </a:cubicBezTo>
                <a:cubicBezTo>
                  <a:pt x="357" y="187"/>
                  <a:pt x="357" y="187"/>
                  <a:pt x="357" y="187"/>
                </a:cubicBezTo>
                <a:cubicBezTo>
                  <a:pt x="357" y="189"/>
                  <a:pt x="357" y="189"/>
                  <a:pt x="357" y="189"/>
                </a:cubicBezTo>
                <a:cubicBezTo>
                  <a:pt x="356" y="189"/>
                  <a:pt x="356" y="189"/>
                  <a:pt x="356" y="189"/>
                </a:cubicBezTo>
                <a:cubicBezTo>
                  <a:pt x="356" y="190"/>
                  <a:pt x="356" y="190"/>
                  <a:pt x="356" y="190"/>
                </a:cubicBezTo>
                <a:cubicBezTo>
                  <a:pt x="357" y="191"/>
                  <a:pt x="357" y="191"/>
                  <a:pt x="357" y="191"/>
                </a:cubicBezTo>
                <a:cubicBezTo>
                  <a:pt x="357" y="193"/>
                  <a:pt x="357" y="193"/>
                  <a:pt x="357" y="193"/>
                </a:cubicBezTo>
                <a:cubicBezTo>
                  <a:pt x="357" y="194"/>
                  <a:pt x="357" y="194"/>
                  <a:pt x="357" y="194"/>
                </a:cubicBezTo>
                <a:cubicBezTo>
                  <a:pt x="357" y="196"/>
                  <a:pt x="357" y="196"/>
                  <a:pt x="357" y="196"/>
                </a:cubicBezTo>
                <a:cubicBezTo>
                  <a:pt x="358" y="197"/>
                  <a:pt x="358" y="197"/>
                  <a:pt x="358" y="197"/>
                </a:cubicBezTo>
                <a:cubicBezTo>
                  <a:pt x="359" y="198"/>
                  <a:pt x="359" y="198"/>
                  <a:pt x="359" y="198"/>
                </a:cubicBezTo>
                <a:cubicBezTo>
                  <a:pt x="360" y="198"/>
                  <a:pt x="360" y="198"/>
                  <a:pt x="360" y="198"/>
                </a:cubicBezTo>
                <a:cubicBezTo>
                  <a:pt x="360" y="200"/>
                  <a:pt x="360" y="200"/>
                  <a:pt x="360" y="200"/>
                </a:cubicBezTo>
                <a:cubicBezTo>
                  <a:pt x="359" y="201"/>
                  <a:pt x="359" y="201"/>
                  <a:pt x="359" y="201"/>
                </a:cubicBezTo>
                <a:cubicBezTo>
                  <a:pt x="359" y="200"/>
                  <a:pt x="359" y="200"/>
                  <a:pt x="359" y="200"/>
                </a:cubicBezTo>
                <a:cubicBezTo>
                  <a:pt x="358" y="200"/>
                  <a:pt x="358" y="200"/>
                  <a:pt x="358" y="200"/>
                </a:cubicBezTo>
                <a:cubicBezTo>
                  <a:pt x="358" y="200"/>
                  <a:pt x="358" y="200"/>
                  <a:pt x="358" y="200"/>
                </a:cubicBezTo>
                <a:cubicBezTo>
                  <a:pt x="357" y="200"/>
                  <a:pt x="357" y="200"/>
                  <a:pt x="357" y="200"/>
                </a:cubicBezTo>
                <a:cubicBezTo>
                  <a:pt x="357" y="201"/>
                  <a:pt x="357" y="201"/>
                  <a:pt x="357" y="201"/>
                </a:cubicBezTo>
                <a:cubicBezTo>
                  <a:pt x="356" y="201"/>
                  <a:pt x="356" y="201"/>
                  <a:pt x="356" y="201"/>
                </a:cubicBezTo>
                <a:cubicBezTo>
                  <a:pt x="356" y="201"/>
                  <a:pt x="356" y="201"/>
                  <a:pt x="356" y="201"/>
                </a:cubicBezTo>
                <a:cubicBezTo>
                  <a:pt x="357" y="202"/>
                  <a:pt x="357" y="202"/>
                  <a:pt x="357" y="202"/>
                </a:cubicBezTo>
                <a:cubicBezTo>
                  <a:pt x="358" y="202"/>
                  <a:pt x="358" y="202"/>
                  <a:pt x="358" y="202"/>
                </a:cubicBezTo>
                <a:cubicBezTo>
                  <a:pt x="358" y="202"/>
                  <a:pt x="358" y="202"/>
                  <a:pt x="358" y="202"/>
                </a:cubicBezTo>
                <a:cubicBezTo>
                  <a:pt x="359" y="202"/>
                  <a:pt x="359" y="202"/>
                  <a:pt x="359" y="202"/>
                </a:cubicBezTo>
                <a:cubicBezTo>
                  <a:pt x="358" y="203"/>
                  <a:pt x="358" y="203"/>
                  <a:pt x="358" y="203"/>
                </a:cubicBezTo>
                <a:cubicBezTo>
                  <a:pt x="357" y="205"/>
                  <a:pt x="357" y="205"/>
                  <a:pt x="357" y="205"/>
                </a:cubicBezTo>
                <a:cubicBezTo>
                  <a:pt x="357" y="206"/>
                  <a:pt x="357" y="206"/>
                  <a:pt x="357" y="206"/>
                </a:cubicBezTo>
                <a:cubicBezTo>
                  <a:pt x="357" y="207"/>
                  <a:pt x="357" y="207"/>
                  <a:pt x="357" y="207"/>
                </a:cubicBezTo>
                <a:cubicBezTo>
                  <a:pt x="359" y="205"/>
                  <a:pt x="359" y="205"/>
                  <a:pt x="359" y="205"/>
                </a:cubicBezTo>
                <a:cubicBezTo>
                  <a:pt x="359" y="205"/>
                  <a:pt x="359" y="205"/>
                  <a:pt x="359" y="205"/>
                </a:cubicBezTo>
                <a:cubicBezTo>
                  <a:pt x="360" y="202"/>
                  <a:pt x="360" y="202"/>
                  <a:pt x="360" y="202"/>
                </a:cubicBezTo>
                <a:cubicBezTo>
                  <a:pt x="360" y="202"/>
                  <a:pt x="360" y="202"/>
                  <a:pt x="360" y="202"/>
                </a:cubicBezTo>
                <a:cubicBezTo>
                  <a:pt x="361" y="199"/>
                  <a:pt x="361" y="199"/>
                  <a:pt x="361" y="199"/>
                </a:cubicBezTo>
                <a:cubicBezTo>
                  <a:pt x="361" y="199"/>
                  <a:pt x="361" y="199"/>
                  <a:pt x="361" y="199"/>
                </a:cubicBezTo>
                <a:cubicBezTo>
                  <a:pt x="362" y="198"/>
                  <a:pt x="362" y="198"/>
                  <a:pt x="362" y="198"/>
                </a:cubicBezTo>
                <a:cubicBezTo>
                  <a:pt x="362" y="197"/>
                  <a:pt x="362" y="197"/>
                  <a:pt x="362" y="197"/>
                </a:cubicBezTo>
                <a:cubicBezTo>
                  <a:pt x="362" y="196"/>
                  <a:pt x="362" y="196"/>
                  <a:pt x="362" y="196"/>
                </a:cubicBezTo>
                <a:cubicBezTo>
                  <a:pt x="362" y="195"/>
                  <a:pt x="362" y="195"/>
                  <a:pt x="362" y="195"/>
                </a:cubicBezTo>
                <a:cubicBezTo>
                  <a:pt x="361" y="195"/>
                  <a:pt x="361" y="195"/>
                  <a:pt x="361" y="195"/>
                </a:cubicBezTo>
                <a:cubicBezTo>
                  <a:pt x="361" y="194"/>
                  <a:pt x="361" y="194"/>
                  <a:pt x="361" y="194"/>
                </a:cubicBezTo>
                <a:cubicBezTo>
                  <a:pt x="361" y="193"/>
                  <a:pt x="361" y="193"/>
                  <a:pt x="361" y="193"/>
                </a:cubicBezTo>
                <a:cubicBezTo>
                  <a:pt x="360" y="193"/>
                  <a:pt x="360" y="193"/>
                  <a:pt x="360" y="193"/>
                </a:cubicBezTo>
                <a:cubicBezTo>
                  <a:pt x="360" y="191"/>
                  <a:pt x="360" y="191"/>
                  <a:pt x="360" y="191"/>
                </a:cubicBezTo>
                <a:cubicBezTo>
                  <a:pt x="360" y="190"/>
                  <a:pt x="360" y="190"/>
                  <a:pt x="360" y="190"/>
                </a:cubicBezTo>
                <a:cubicBezTo>
                  <a:pt x="359" y="188"/>
                  <a:pt x="359" y="188"/>
                  <a:pt x="359" y="188"/>
                </a:cubicBezTo>
                <a:cubicBezTo>
                  <a:pt x="360" y="188"/>
                  <a:pt x="360" y="188"/>
                  <a:pt x="360" y="188"/>
                </a:cubicBezTo>
                <a:cubicBezTo>
                  <a:pt x="360" y="189"/>
                  <a:pt x="360" y="189"/>
                  <a:pt x="360" y="189"/>
                </a:cubicBezTo>
                <a:cubicBezTo>
                  <a:pt x="361" y="189"/>
                  <a:pt x="361" y="189"/>
                  <a:pt x="361" y="189"/>
                </a:cubicBezTo>
                <a:cubicBezTo>
                  <a:pt x="362" y="188"/>
                  <a:pt x="362" y="188"/>
                  <a:pt x="362" y="188"/>
                </a:cubicBezTo>
                <a:cubicBezTo>
                  <a:pt x="363" y="187"/>
                  <a:pt x="363" y="187"/>
                  <a:pt x="363" y="187"/>
                </a:cubicBezTo>
                <a:cubicBezTo>
                  <a:pt x="363" y="186"/>
                  <a:pt x="363" y="186"/>
                  <a:pt x="363" y="186"/>
                </a:cubicBezTo>
                <a:cubicBezTo>
                  <a:pt x="363" y="185"/>
                  <a:pt x="363" y="185"/>
                  <a:pt x="363" y="185"/>
                </a:cubicBezTo>
                <a:cubicBezTo>
                  <a:pt x="364" y="186"/>
                  <a:pt x="364" y="186"/>
                  <a:pt x="364" y="186"/>
                </a:cubicBezTo>
                <a:cubicBezTo>
                  <a:pt x="365" y="187"/>
                  <a:pt x="365" y="187"/>
                  <a:pt x="365" y="187"/>
                </a:cubicBezTo>
                <a:cubicBezTo>
                  <a:pt x="365" y="188"/>
                  <a:pt x="365" y="188"/>
                  <a:pt x="365" y="188"/>
                </a:cubicBezTo>
                <a:cubicBezTo>
                  <a:pt x="365" y="189"/>
                  <a:pt x="365" y="189"/>
                  <a:pt x="365" y="189"/>
                </a:cubicBezTo>
                <a:cubicBezTo>
                  <a:pt x="366" y="188"/>
                  <a:pt x="366" y="188"/>
                  <a:pt x="366" y="188"/>
                </a:cubicBezTo>
                <a:cubicBezTo>
                  <a:pt x="366" y="186"/>
                  <a:pt x="366" y="186"/>
                  <a:pt x="366" y="186"/>
                </a:cubicBezTo>
                <a:cubicBezTo>
                  <a:pt x="367" y="185"/>
                  <a:pt x="367" y="185"/>
                  <a:pt x="367" y="185"/>
                </a:cubicBezTo>
                <a:cubicBezTo>
                  <a:pt x="368" y="185"/>
                  <a:pt x="368" y="185"/>
                  <a:pt x="368" y="185"/>
                </a:cubicBezTo>
                <a:cubicBezTo>
                  <a:pt x="368" y="185"/>
                  <a:pt x="368" y="185"/>
                  <a:pt x="368" y="185"/>
                </a:cubicBezTo>
                <a:cubicBezTo>
                  <a:pt x="368" y="184"/>
                  <a:pt x="368" y="184"/>
                  <a:pt x="368" y="184"/>
                </a:cubicBezTo>
                <a:cubicBezTo>
                  <a:pt x="369" y="184"/>
                  <a:pt x="369" y="184"/>
                  <a:pt x="369" y="184"/>
                </a:cubicBezTo>
                <a:cubicBezTo>
                  <a:pt x="369" y="183"/>
                  <a:pt x="369" y="183"/>
                  <a:pt x="369" y="183"/>
                </a:cubicBezTo>
                <a:cubicBezTo>
                  <a:pt x="368" y="183"/>
                  <a:pt x="368" y="183"/>
                  <a:pt x="368" y="183"/>
                </a:cubicBezTo>
                <a:cubicBezTo>
                  <a:pt x="366" y="185"/>
                  <a:pt x="366" y="185"/>
                  <a:pt x="366" y="185"/>
                </a:cubicBezTo>
                <a:cubicBezTo>
                  <a:pt x="365" y="185"/>
                  <a:pt x="365" y="185"/>
                  <a:pt x="365" y="185"/>
                </a:cubicBezTo>
                <a:cubicBezTo>
                  <a:pt x="365" y="183"/>
                  <a:pt x="365" y="183"/>
                  <a:pt x="365" y="183"/>
                </a:cubicBezTo>
                <a:cubicBezTo>
                  <a:pt x="364" y="183"/>
                  <a:pt x="364" y="183"/>
                  <a:pt x="364" y="183"/>
                </a:cubicBezTo>
                <a:cubicBezTo>
                  <a:pt x="364" y="182"/>
                  <a:pt x="364" y="182"/>
                  <a:pt x="364" y="182"/>
                </a:cubicBezTo>
                <a:cubicBezTo>
                  <a:pt x="366" y="181"/>
                  <a:pt x="366" y="181"/>
                  <a:pt x="366" y="181"/>
                </a:cubicBezTo>
                <a:cubicBezTo>
                  <a:pt x="365" y="180"/>
                  <a:pt x="365" y="180"/>
                  <a:pt x="365" y="180"/>
                </a:cubicBezTo>
                <a:cubicBezTo>
                  <a:pt x="365" y="179"/>
                  <a:pt x="365" y="179"/>
                  <a:pt x="365" y="179"/>
                </a:cubicBezTo>
                <a:cubicBezTo>
                  <a:pt x="366" y="177"/>
                  <a:pt x="366" y="177"/>
                  <a:pt x="366" y="177"/>
                </a:cubicBezTo>
                <a:cubicBezTo>
                  <a:pt x="366" y="176"/>
                  <a:pt x="366" y="176"/>
                  <a:pt x="366" y="176"/>
                </a:cubicBezTo>
                <a:cubicBezTo>
                  <a:pt x="367" y="175"/>
                  <a:pt x="367" y="175"/>
                  <a:pt x="367" y="175"/>
                </a:cubicBezTo>
                <a:cubicBezTo>
                  <a:pt x="369" y="175"/>
                  <a:pt x="369" y="175"/>
                  <a:pt x="369" y="175"/>
                </a:cubicBezTo>
                <a:cubicBezTo>
                  <a:pt x="370" y="176"/>
                  <a:pt x="370" y="176"/>
                  <a:pt x="370" y="176"/>
                </a:cubicBezTo>
                <a:cubicBezTo>
                  <a:pt x="370" y="177"/>
                  <a:pt x="370" y="177"/>
                  <a:pt x="370" y="177"/>
                </a:cubicBezTo>
                <a:cubicBezTo>
                  <a:pt x="372" y="178"/>
                  <a:pt x="372" y="178"/>
                  <a:pt x="372" y="178"/>
                </a:cubicBezTo>
                <a:cubicBezTo>
                  <a:pt x="372" y="179"/>
                  <a:pt x="372" y="179"/>
                  <a:pt x="372" y="179"/>
                </a:cubicBezTo>
                <a:cubicBezTo>
                  <a:pt x="373" y="179"/>
                  <a:pt x="373" y="179"/>
                  <a:pt x="373" y="179"/>
                </a:cubicBezTo>
                <a:cubicBezTo>
                  <a:pt x="373" y="179"/>
                  <a:pt x="373" y="179"/>
                  <a:pt x="373" y="179"/>
                </a:cubicBezTo>
                <a:cubicBezTo>
                  <a:pt x="372" y="178"/>
                  <a:pt x="372" y="178"/>
                  <a:pt x="372" y="178"/>
                </a:cubicBezTo>
                <a:cubicBezTo>
                  <a:pt x="371" y="177"/>
                  <a:pt x="371" y="177"/>
                  <a:pt x="371" y="177"/>
                </a:cubicBezTo>
                <a:cubicBezTo>
                  <a:pt x="370" y="175"/>
                  <a:pt x="370" y="175"/>
                  <a:pt x="370" y="175"/>
                </a:cubicBezTo>
                <a:cubicBezTo>
                  <a:pt x="370" y="175"/>
                  <a:pt x="370" y="175"/>
                  <a:pt x="370" y="175"/>
                </a:cubicBezTo>
                <a:cubicBezTo>
                  <a:pt x="369" y="175"/>
                  <a:pt x="369" y="175"/>
                  <a:pt x="369" y="175"/>
                </a:cubicBezTo>
                <a:cubicBezTo>
                  <a:pt x="368" y="174"/>
                  <a:pt x="368" y="174"/>
                  <a:pt x="368" y="174"/>
                </a:cubicBezTo>
                <a:cubicBezTo>
                  <a:pt x="368" y="174"/>
                  <a:pt x="368" y="174"/>
                  <a:pt x="368" y="174"/>
                </a:cubicBezTo>
                <a:cubicBezTo>
                  <a:pt x="371" y="174"/>
                  <a:pt x="371" y="174"/>
                  <a:pt x="371" y="174"/>
                </a:cubicBezTo>
                <a:cubicBezTo>
                  <a:pt x="371" y="173"/>
                  <a:pt x="371" y="173"/>
                  <a:pt x="371" y="173"/>
                </a:cubicBezTo>
                <a:cubicBezTo>
                  <a:pt x="371" y="173"/>
                  <a:pt x="371" y="173"/>
                  <a:pt x="371" y="173"/>
                </a:cubicBezTo>
                <a:cubicBezTo>
                  <a:pt x="373" y="175"/>
                  <a:pt x="373" y="175"/>
                  <a:pt x="373" y="175"/>
                </a:cubicBezTo>
                <a:cubicBezTo>
                  <a:pt x="375" y="176"/>
                  <a:pt x="375" y="176"/>
                  <a:pt x="375" y="176"/>
                </a:cubicBezTo>
                <a:cubicBezTo>
                  <a:pt x="376" y="176"/>
                  <a:pt x="376" y="176"/>
                  <a:pt x="376" y="176"/>
                </a:cubicBezTo>
                <a:cubicBezTo>
                  <a:pt x="374" y="175"/>
                  <a:pt x="374" y="175"/>
                  <a:pt x="374" y="175"/>
                </a:cubicBezTo>
                <a:cubicBezTo>
                  <a:pt x="373" y="173"/>
                  <a:pt x="373" y="173"/>
                  <a:pt x="373" y="173"/>
                </a:cubicBezTo>
                <a:cubicBezTo>
                  <a:pt x="372" y="172"/>
                  <a:pt x="372" y="172"/>
                  <a:pt x="372" y="172"/>
                </a:cubicBezTo>
                <a:cubicBezTo>
                  <a:pt x="372" y="172"/>
                  <a:pt x="372" y="172"/>
                  <a:pt x="372" y="172"/>
                </a:cubicBezTo>
                <a:cubicBezTo>
                  <a:pt x="372" y="170"/>
                  <a:pt x="372" y="170"/>
                  <a:pt x="372" y="170"/>
                </a:cubicBezTo>
                <a:cubicBezTo>
                  <a:pt x="374" y="170"/>
                  <a:pt x="374" y="170"/>
                  <a:pt x="374" y="170"/>
                </a:cubicBezTo>
                <a:cubicBezTo>
                  <a:pt x="375" y="170"/>
                  <a:pt x="375" y="170"/>
                  <a:pt x="375" y="170"/>
                </a:cubicBezTo>
                <a:cubicBezTo>
                  <a:pt x="374" y="171"/>
                  <a:pt x="374" y="171"/>
                  <a:pt x="374" y="171"/>
                </a:cubicBezTo>
                <a:cubicBezTo>
                  <a:pt x="375" y="172"/>
                  <a:pt x="375" y="172"/>
                  <a:pt x="375" y="172"/>
                </a:cubicBezTo>
                <a:cubicBezTo>
                  <a:pt x="375" y="172"/>
                  <a:pt x="375" y="172"/>
                  <a:pt x="375" y="172"/>
                </a:cubicBezTo>
                <a:cubicBezTo>
                  <a:pt x="375" y="171"/>
                  <a:pt x="375" y="171"/>
                  <a:pt x="375" y="171"/>
                </a:cubicBezTo>
                <a:cubicBezTo>
                  <a:pt x="376" y="170"/>
                  <a:pt x="376" y="170"/>
                  <a:pt x="376" y="170"/>
                </a:cubicBezTo>
                <a:cubicBezTo>
                  <a:pt x="377" y="170"/>
                  <a:pt x="377" y="170"/>
                  <a:pt x="377" y="170"/>
                </a:cubicBezTo>
                <a:cubicBezTo>
                  <a:pt x="378" y="171"/>
                  <a:pt x="378" y="171"/>
                  <a:pt x="378" y="171"/>
                </a:cubicBezTo>
                <a:cubicBezTo>
                  <a:pt x="378" y="172"/>
                  <a:pt x="378" y="172"/>
                  <a:pt x="378" y="172"/>
                </a:cubicBezTo>
                <a:cubicBezTo>
                  <a:pt x="379" y="173"/>
                  <a:pt x="379" y="173"/>
                  <a:pt x="379" y="173"/>
                </a:cubicBezTo>
                <a:cubicBezTo>
                  <a:pt x="379" y="173"/>
                  <a:pt x="379" y="173"/>
                  <a:pt x="379" y="173"/>
                </a:cubicBezTo>
                <a:cubicBezTo>
                  <a:pt x="379" y="172"/>
                  <a:pt x="379" y="172"/>
                  <a:pt x="379" y="172"/>
                </a:cubicBezTo>
                <a:cubicBezTo>
                  <a:pt x="378" y="170"/>
                  <a:pt x="378" y="170"/>
                  <a:pt x="378" y="170"/>
                </a:cubicBezTo>
                <a:cubicBezTo>
                  <a:pt x="379" y="170"/>
                  <a:pt x="379" y="170"/>
                  <a:pt x="379" y="170"/>
                </a:cubicBezTo>
                <a:cubicBezTo>
                  <a:pt x="382" y="169"/>
                  <a:pt x="382" y="169"/>
                  <a:pt x="382" y="169"/>
                </a:cubicBezTo>
                <a:cubicBezTo>
                  <a:pt x="384" y="168"/>
                  <a:pt x="384" y="168"/>
                  <a:pt x="384" y="168"/>
                </a:cubicBezTo>
                <a:cubicBezTo>
                  <a:pt x="385" y="168"/>
                  <a:pt x="385" y="168"/>
                  <a:pt x="385" y="168"/>
                </a:cubicBezTo>
                <a:cubicBezTo>
                  <a:pt x="386" y="167"/>
                  <a:pt x="386" y="167"/>
                  <a:pt x="386" y="167"/>
                </a:cubicBezTo>
                <a:cubicBezTo>
                  <a:pt x="388" y="168"/>
                  <a:pt x="388" y="168"/>
                  <a:pt x="388" y="168"/>
                </a:cubicBezTo>
                <a:cubicBezTo>
                  <a:pt x="390" y="168"/>
                  <a:pt x="390" y="168"/>
                  <a:pt x="390" y="168"/>
                </a:cubicBezTo>
                <a:cubicBezTo>
                  <a:pt x="392" y="168"/>
                  <a:pt x="392" y="168"/>
                  <a:pt x="392" y="168"/>
                </a:cubicBezTo>
                <a:cubicBezTo>
                  <a:pt x="392" y="169"/>
                  <a:pt x="392" y="169"/>
                  <a:pt x="392" y="169"/>
                </a:cubicBezTo>
                <a:cubicBezTo>
                  <a:pt x="392" y="169"/>
                  <a:pt x="392" y="169"/>
                  <a:pt x="392" y="169"/>
                </a:cubicBezTo>
                <a:cubicBezTo>
                  <a:pt x="392" y="172"/>
                  <a:pt x="392" y="172"/>
                  <a:pt x="392" y="172"/>
                </a:cubicBezTo>
                <a:cubicBezTo>
                  <a:pt x="391" y="173"/>
                  <a:pt x="391" y="173"/>
                  <a:pt x="391" y="173"/>
                </a:cubicBezTo>
                <a:cubicBezTo>
                  <a:pt x="391" y="174"/>
                  <a:pt x="391" y="174"/>
                  <a:pt x="391" y="174"/>
                </a:cubicBezTo>
                <a:cubicBezTo>
                  <a:pt x="390" y="175"/>
                  <a:pt x="390" y="175"/>
                  <a:pt x="390" y="175"/>
                </a:cubicBezTo>
                <a:cubicBezTo>
                  <a:pt x="390" y="176"/>
                  <a:pt x="390" y="176"/>
                  <a:pt x="390" y="176"/>
                </a:cubicBezTo>
                <a:cubicBezTo>
                  <a:pt x="391" y="177"/>
                  <a:pt x="391" y="177"/>
                  <a:pt x="391" y="177"/>
                </a:cubicBezTo>
                <a:cubicBezTo>
                  <a:pt x="392" y="178"/>
                  <a:pt x="392" y="178"/>
                  <a:pt x="392" y="178"/>
                </a:cubicBezTo>
                <a:cubicBezTo>
                  <a:pt x="391" y="178"/>
                  <a:pt x="391" y="178"/>
                  <a:pt x="391" y="178"/>
                </a:cubicBezTo>
                <a:cubicBezTo>
                  <a:pt x="390" y="180"/>
                  <a:pt x="390" y="180"/>
                  <a:pt x="390" y="180"/>
                </a:cubicBezTo>
                <a:cubicBezTo>
                  <a:pt x="389" y="181"/>
                  <a:pt x="389" y="181"/>
                  <a:pt x="389" y="181"/>
                </a:cubicBezTo>
                <a:cubicBezTo>
                  <a:pt x="389" y="182"/>
                  <a:pt x="389" y="182"/>
                  <a:pt x="389" y="182"/>
                </a:cubicBezTo>
                <a:cubicBezTo>
                  <a:pt x="390" y="183"/>
                  <a:pt x="390" y="183"/>
                  <a:pt x="390" y="183"/>
                </a:cubicBezTo>
                <a:cubicBezTo>
                  <a:pt x="390" y="184"/>
                  <a:pt x="390" y="184"/>
                  <a:pt x="390" y="184"/>
                </a:cubicBezTo>
                <a:cubicBezTo>
                  <a:pt x="389" y="185"/>
                  <a:pt x="389" y="185"/>
                  <a:pt x="389" y="185"/>
                </a:cubicBezTo>
                <a:cubicBezTo>
                  <a:pt x="388" y="185"/>
                  <a:pt x="388" y="185"/>
                  <a:pt x="388" y="185"/>
                </a:cubicBezTo>
                <a:cubicBezTo>
                  <a:pt x="388" y="186"/>
                  <a:pt x="388" y="186"/>
                  <a:pt x="388" y="186"/>
                </a:cubicBezTo>
                <a:cubicBezTo>
                  <a:pt x="387" y="186"/>
                  <a:pt x="387" y="186"/>
                  <a:pt x="387" y="186"/>
                </a:cubicBezTo>
                <a:cubicBezTo>
                  <a:pt x="386" y="187"/>
                  <a:pt x="386" y="187"/>
                  <a:pt x="386" y="187"/>
                </a:cubicBezTo>
                <a:cubicBezTo>
                  <a:pt x="385" y="188"/>
                  <a:pt x="385" y="188"/>
                  <a:pt x="385" y="188"/>
                </a:cubicBezTo>
                <a:cubicBezTo>
                  <a:pt x="384" y="189"/>
                  <a:pt x="384" y="189"/>
                  <a:pt x="384" y="189"/>
                </a:cubicBezTo>
                <a:cubicBezTo>
                  <a:pt x="385" y="189"/>
                  <a:pt x="385" y="189"/>
                  <a:pt x="385" y="189"/>
                </a:cubicBezTo>
                <a:cubicBezTo>
                  <a:pt x="386" y="188"/>
                  <a:pt x="386" y="188"/>
                  <a:pt x="386" y="188"/>
                </a:cubicBezTo>
                <a:cubicBezTo>
                  <a:pt x="388" y="187"/>
                  <a:pt x="388" y="187"/>
                  <a:pt x="388" y="187"/>
                </a:cubicBezTo>
                <a:cubicBezTo>
                  <a:pt x="388" y="187"/>
                  <a:pt x="388" y="187"/>
                  <a:pt x="388" y="187"/>
                </a:cubicBezTo>
                <a:cubicBezTo>
                  <a:pt x="389" y="186"/>
                  <a:pt x="389" y="186"/>
                  <a:pt x="389" y="186"/>
                </a:cubicBezTo>
                <a:cubicBezTo>
                  <a:pt x="388" y="187"/>
                  <a:pt x="388" y="187"/>
                  <a:pt x="388" y="187"/>
                </a:cubicBezTo>
                <a:cubicBezTo>
                  <a:pt x="388" y="188"/>
                  <a:pt x="388" y="188"/>
                  <a:pt x="388" y="188"/>
                </a:cubicBezTo>
                <a:cubicBezTo>
                  <a:pt x="386" y="190"/>
                  <a:pt x="386" y="190"/>
                  <a:pt x="386" y="190"/>
                </a:cubicBezTo>
                <a:cubicBezTo>
                  <a:pt x="385" y="190"/>
                  <a:pt x="385" y="190"/>
                  <a:pt x="385" y="190"/>
                </a:cubicBezTo>
                <a:cubicBezTo>
                  <a:pt x="385" y="191"/>
                  <a:pt x="385" y="191"/>
                  <a:pt x="385" y="191"/>
                </a:cubicBezTo>
                <a:cubicBezTo>
                  <a:pt x="385" y="192"/>
                  <a:pt x="385" y="192"/>
                  <a:pt x="385" y="192"/>
                </a:cubicBezTo>
                <a:cubicBezTo>
                  <a:pt x="385" y="192"/>
                  <a:pt x="385" y="192"/>
                  <a:pt x="385" y="192"/>
                </a:cubicBezTo>
                <a:cubicBezTo>
                  <a:pt x="384" y="192"/>
                  <a:pt x="384" y="192"/>
                  <a:pt x="384" y="192"/>
                </a:cubicBezTo>
                <a:cubicBezTo>
                  <a:pt x="383" y="192"/>
                  <a:pt x="383" y="192"/>
                  <a:pt x="383" y="192"/>
                </a:cubicBezTo>
                <a:cubicBezTo>
                  <a:pt x="383" y="193"/>
                  <a:pt x="383" y="193"/>
                  <a:pt x="383" y="193"/>
                </a:cubicBezTo>
                <a:cubicBezTo>
                  <a:pt x="384" y="193"/>
                  <a:pt x="384" y="193"/>
                  <a:pt x="384" y="193"/>
                </a:cubicBezTo>
                <a:cubicBezTo>
                  <a:pt x="384" y="193"/>
                  <a:pt x="384" y="193"/>
                  <a:pt x="384" y="193"/>
                </a:cubicBezTo>
                <a:cubicBezTo>
                  <a:pt x="384" y="194"/>
                  <a:pt x="384" y="194"/>
                  <a:pt x="384" y="194"/>
                </a:cubicBezTo>
                <a:cubicBezTo>
                  <a:pt x="383" y="195"/>
                  <a:pt x="383" y="195"/>
                  <a:pt x="383" y="195"/>
                </a:cubicBezTo>
                <a:cubicBezTo>
                  <a:pt x="384" y="195"/>
                  <a:pt x="384" y="195"/>
                  <a:pt x="384" y="195"/>
                </a:cubicBezTo>
                <a:cubicBezTo>
                  <a:pt x="385" y="194"/>
                  <a:pt x="385" y="194"/>
                  <a:pt x="385" y="194"/>
                </a:cubicBezTo>
                <a:cubicBezTo>
                  <a:pt x="386" y="194"/>
                  <a:pt x="386" y="194"/>
                  <a:pt x="386" y="194"/>
                </a:cubicBezTo>
                <a:cubicBezTo>
                  <a:pt x="387" y="193"/>
                  <a:pt x="387" y="193"/>
                  <a:pt x="387" y="193"/>
                </a:cubicBezTo>
                <a:cubicBezTo>
                  <a:pt x="387" y="192"/>
                  <a:pt x="387" y="192"/>
                  <a:pt x="387" y="192"/>
                </a:cubicBezTo>
                <a:cubicBezTo>
                  <a:pt x="388" y="191"/>
                  <a:pt x="388" y="191"/>
                  <a:pt x="388" y="191"/>
                </a:cubicBezTo>
                <a:cubicBezTo>
                  <a:pt x="388" y="190"/>
                  <a:pt x="388" y="190"/>
                  <a:pt x="388" y="190"/>
                </a:cubicBezTo>
                <a:cubicBezTo>
                  <a:pt x="389" y="191"/>
                  <a:pt x="389" y="191"/>
                  <a:pt x="389" y="191"/>
                </a:cubicBezTo>
                <a:cubicBezTo>
                  <a:pt x="389" y="192"/>
                  <a:pt x="389" y="192"/>
                  <a:pt x="389" y="192"/>
                </a:cubicBezTo>
                <a:cubicBezTo>
                  <a:pt x="389" y="193"/>
                  <a:pt x="389" y="193"/>
                  <a:pt x="389" y="193"/>
                </a:cubicBezTo>
                <a:cubicBezTo>
                  <a:pt x="389" y="191"/>
                  <a:pt x="389" y="191"/>
                  <a:pt x="389" y="191"/>
                </a:cubicBezTo>
                <a:cubicBezTo>
                  <a:pt x="389" y="190"/>
                  <a:pt x="389" y="190"/>
                  <a:pt x="389" y="190"/>
                </a:cubicBezTo>
                <a:cubicBezTo>
                  <a:pt x="389" y="189"/>
                  <a:pt x="389" y="189"/>
                  <a:pt x="389" y="189"/>
                </a:cubicBezTo>
                <a:cubicBezTo>
                  <a:pt x="390" y="189"/>
                  <a:pt x="390" y="189"/>
                  <a:pt x="390" y="189"/>
                </a:cubicBezTo>
                <a:cubicBezTo>
                  <a:pt x="391" y="189"/>
                  <a:pt x="391" y="189"/>
                  <a:pt x="391" y="189"/>
                </a:cubicBezTo>
                <a:cubicBezTo>
                  <a:pt x="391" y="190"/>
                  <a:pt x="391" y="190"/>
                  <a:pt x="391" y="190"/>
                </a:cubicBezTo>
                <a:cubicBezTo>
                  <a:pt x="391" y="191"/>
                  <a:pt x="391" y="191"/>
                  <a:pt x="391" y="191"/>
                </a:cubicBezTo>
                <a:cubicBezTo>
                  <a:pt x="392" y="190"/>
                  <a:pt x="392" y="190"/>
                  <a:pt x="392" y="190"/>
                </a:cubicBezTo>
                <a:cubicBezTo>
                  <a:pt x="393" y="189"/>
                  <a:pt x="393" y="189"/>
                  <a:pt x="393" y="189"/>
                </a:cubicBezTo>
                <a:cubicBezTo>
                  <a:pt x="393" y="190"/>
                  <a:pt x="393" y="190"/>
                  <a:pt x="393" y="190"/>
                </a:cubicBezTo>
                <a:cubicBezTo>
                  <a:pt x="394" y="191"/>
                  <a:pt x="394" y="191"/>
                  <a:pt x="394" y="191"/>
                </a:cubicBezTo>
                <a:cubicBezTo>
                  <a:pt x="394" y="192"/>
                  <a:pt x="394" y="192"/>
                  <a:pt x="394" y="192"/>
                </a:cubicBezTo>
                <a:cubicBezTo>
                  <a:pt x="392" y="194"/>
                  <a:pt x="392" y="194"/>
                  <a:pt x="392" y="194"/>
                </a:cubicBezTo>
                <a:cubicBezTo>
                  <a:pt x="391" y="195"/>
                  <a:pt x="391" y="195"/>
                  <a:pt x="391" y="195"/>
                </a:cubicBezTo>
                <a:cubicBezTo>
                  <a:pt x="391" y="196"/>
                  <a:pt x="391" y="196"/>
                  <a:pt x="391" y="196"/>
                </a:cubicBezTo>
                <a:cubicBezTo>
                  <a:pt x="392" y="196"/>
                  <a:pt x="392" y="196"/>
                  <a:pt x="392" y="196"/>
                </a:cubicBezTo>
                <a:cubicBezTo>
                  <a:pt x="393" y="197"/>
                  <a:pt x="393" y="197"/>
                  <a:pt x="393" y="197"/>
                </a:cubicBezTo>
                <a:cubicBezTo>
                  <a:pt x="394" y="196"/>
                  <a:pt x="394" y="196"/>
                  <a:pt x="394" y="196"/>
                </a:cubicBezTo>
                <a:cubicBezTo>
                  <a:pt x="393" y="195"/>
                  <a:pt x="393" y="195"/>
                  <a:pt x="393" y="195"/>
                </a:cubicBezTo>
                <a:cubicBezTo>
                  <a:pt x="394" y="194"/>
                  <a:pt x="394" y="194"/>
                  <a:pt x="394" y="194"/>
                </a:cubicBezTo>
                <a:cubicBezTo>
                  <a:pt x="395" y="193"/>
                  <a:pt x="395" y="193"/>
                  <a:pt x="395" y="193"/>
                </a:cubicBezTo>
                <a:cubicBezTo>
                  <a:pt x="395" y="195"/>
                  <a:pt x="395" y="195"/>
                  <a:pt x="395" y="195"/>
                </a:cubicBezTo>
                <a:cubicBezTo>
                  <a:pt x="395" y="196"/>
                  <a:pt x="395" y="196"/>
                  <a:pt x="395" y="196"/>
                </a:cubicBezTo>
                <a:cubicBezTo>
                  <a:pt x="396" y="195"/>
                  <a:pt x="396" y="195"/>
                  <a:pt x="396" y="195"/>
                </a:cubicBezTo>
                <a:cubicBezTo>
                  <a:pt x="396" y="193"/>
                  <a:pt x="396" y="193"/>
                  <a:pt x="396" y="193"/>
                </a:cubicBezTo>
                <a:cubicBezTo>
                  <a:pt x="395" y="192"/>
                  <a:pt x="395" y="192"/>
                  <a:pt x="395" y="192"/>
                </a:cubicBezTo>
                <a:cubicBezTo>
                  <a:pt x="395" y="190"/>
                  <a:pt x="395" y="190"/>
                  <a:pt x="395" y="190"/>
                </a:cubicBezTo>
                <a:cubicBezTo>
                  <a:pt x="395" y="190"/>
                  <a:pt x="395" y="190"/>
                  <a:pt x="395" y="190"/>
                </a:cubicBezTo>
                <a:cubicBezTo>
                  <a:pt x="397" y="190"/>
                  <a:pt x="397" y="190"/>
                  <a:pt x="397" y="190"/>
                </a:cubicBezTo>
                <a:cubicBezTo>
                  <a:pt x="396" y="191"/>
                  <a:pt x="396" y="191"/>
                  <a:pt x="396" y="191"/>
                </a:cubicBezTo>
                <a:cubicBezTo>
                  <a:pt x="396" y="192"/>
                  <a:pt x="396" y="192"/>
                  <a:pt x="396" y="192"/>
                </a:cubicBezTo>
                <a:cubicBezTo>
                  <a:pt x="397" y="192"/>
                  <a:pt x="397" y="192"/>
                  <a:pt x="397" y="192"/>
                </a:cubicBezTo>
                <a:cubicBezTo>
                  <a:pt x="398" y="192"/>
                  <a:pt x="398" y="192"/>
                  <a:pt x="398" y="192"/>
                </a:cubicBezTo>
                <a:cubicBezTo>
                  <a:pt x="400" y="194"/>
                  <a:pt x="400" y="194"/>
                  <a:pt x="400" y="194"/>
                </a:cubicBezTo>
                <a:cubicBezTo>
                  <a:pt x="400" y="195"/>
                  <a:pt x="400" y="195"/>
                  <a:pt x="400" y="195"/>
                </a:cubicBezTo>
                <a:cubicBezTo>
                  <a:pt x="401" y="195"/>
                  <a:pt x="401" y="195"/>
                  <a:pt x="401" y="195"/>
                </a:cubicBezTo>
                <a:cubicBezTo>
                  <a:pt x="402" y="195"/>
                  <a:pt x="402" y="195"/>
                  <a:pt x="402" y="195"/>
                </a:cubicBezTo>
                <a:cubicBezTo>
                  <a:pt x="403" y="195"/>
                  <a:pt x="403" y="195"/>
                  <a:pt x="403" y="195"/>
                </a:cubicBezTo>
                <a:cubicBezTo>
                  <a:pt x="402" y="194"/>
                  <a:pt x="402" y="194"/>
                  <a:pt x="402" y="194"/>
                </a:cubicBezTo>
                <a:cubicBezTo>
                  <a:pt x="401" y="194"/>
                  <a:pt x="401" y="194"/>
                  <a:pt x="401" y="194"/>
                </a:cubicBezTo>
                <a:cubicBezTo>
                  <a:pt x="401" y="193"/>
                  <a:pt x="401" y="193"/>
                  <a:pt x="401" y="193"/>
                </a:cubicBezTo>
                <a:cubicBezTo>
                  <a:pt x="399" y="191"/>
                  <a:pt x="399" y="191"/>
                  <a:pt x="399" y="191"/>
                </a:cubicBezTo>
                <a:cubicBezTo>
                  <a:pt x="398" y="191"/>
                  <a:pt x="398" y="191"/>
                  <a:pt x="398" y="191"/>
                </a:cubicBezTo>
                <a:cubicBezTo>
                  <a:pt x="397" y="190"/>
                  <a:pt x="397" y="190"/>
                  <a:pt x="397" y="190"/>
                </a:cubicBezTo>
                <a:cubicBezTo>
                  <a:pt x="399" y="188"/>
                  <a:pt x="399" y="188"/>
                  <a:pt x="399" y="188"/>
                </a:cubicBezTo>
                <a:cubicBezTo>
                  <a:pt x="400" y="188"/>
                  <a:pt x="400" y="188"/>
                  <a:pt x="400" y="188"/>
                </a:cubicBezTo>
                <a:cubicBezTo>
                  <a:pt x="401" y="187"/>
                  <a:pt x="401" y="187"/>
                  <a:pt x="401" y="187"/>
                </a:cubicBezTo>
                <a:cubicBezTo>
                  <a:pt x="403" y="187"/>
                  <a:pt x="403" y="187"/>
                  <a:pt x="403" y="187"/>
                </a:cubicBezTo>
                <a:cubicBezTo>
                  <a:pt x="405" y="187"/>
                  <a:pt x="405" y="187"/>
                  <a:pt x="405" y="187"/>
                </a:cubicBezTo>
                <a:cubicBezTo>
                  <a:pt x="405" y="188"/>
                  <a:pt x="405" y="188"/>
                  <a:pt x="405" y="188"/>
                </a:cubicBezTo>
                <a:cubicBezTo>
                  <a:pt x="406" y="188"/>
                  <a:pt x="406" y="188"/>
                  <a:pt x="406" y="188"/>
                </a:cubicBezTo>
                <a:cubicBezTo>
                  <a:pt x="407" y="188"/>
                  <a:pt x="407" y="188"/>
                  <a:pt x="407" y="188"/>
                </a:cubicBezTo>
                <a:cubicBezTo>
                  <a:pt x="407" y="189"/>
                  <a:pt x="407" y="189"/>
                  <a:pt x="407" y="189"/>
                </a:cubicBezTo>
                <a:cubicBezTo>
                  <a:pt x="408" y="190"/>
                  <a:pt x="408" y="190"/>
                  <a:pt x="408" y="190"/>
                </a:cubicBezTo>
                <a:cubicBezTo>
                  <a:pt x="409" y="190"/>
                  <a:pt x="409" y="190"/>
                  <a:pt x="409" y="190"/>
                </a:cubicBezTo>
                <a:cubicBezTo>
                  <a:pt x="409" y="191"/>
                  <a:pt x="409" y="191"/>
                  <a:pt x="409" y="191"/>
                </a:cubicBezTo>
                <a:cubicBezTo>
                  <a:pt x="410" y="191"/>
                  <a:pt x="410" y="191"/>
                  <a:pt x="410" y="191"/>
                </a:cubicBezTo>
                <a:cubicBezTo>
                  <a:pt x="410" y="191"/>
                  <a:pt x="410" y="191"/>
                  <a:pt x="410" y="191"/>
                </a:cubicBezTo>
                <a:cubicBezTo>
                  <a:pt x="411" y="191"/>
                  <a:pt x="411" y="191"/>
                  <a:pt x="411" y="191"/>
                </a:cubicBezTo>
                <a:cubicBezTo>
                  <a:pt x="412" y="192"/>
                  <a:pt x="412" y="192"/>
                  <a:pt x="412" y="192"/>
                </a:cubicBezTo>
                <a:cubicBezTo>
                  <a:pt x="413" y="193"/>
                  <a:pt x="413" y="193"/>
                  <a:pt x="413" y="193"/>
                </a:cubicBezTo>
                <a:cubicBezTo>
                  <a:pt x="413" y="193"/>
                  <a:pt x="413" y="193"/>
                  <a:pt x="413" y="193"/>
                </a:cubicBezTo>
                <a:cubicBezTo>
                  <a:pt x="413" y="194"/>
                  <a:pt x="413" y="194"/>
                  <a:pt x="413" y="194"/>
                </a:cubicBezTo>
                <a:cubicBezTo>
                  <a:pt x="413" y="195"/>
                  <a:pt x="413" y="195"/>
                  <a:pt x="413" y="195"/>
                </a:cubicBezTo>
                <a:cubicBezTo>
                  <a:pt x="413" y="196"/>
                  <a:pt x="413" y="196"/>
                  <a:pt x="413" y="196"/>
                </a:cubicBezTo>
                <a:cubicBezTo>
                  <a:pt x="412" y="197"/>
                  <a:pt x="412" y="197"/>
                  <a:pt x="412" y="197"/>
                </a:cubicBezTo>
                <a:cubicBezTo>
                  <a:pt x="411" y="197"/>
                  <a:pt x="411" y="197"/>
                  <a:pt x="411" y="197"/>
                </a:cubicBezTo>
                <a:cubicBezTo>
                  <a:pt x="410" y="197"/>
                  <a:pt x="410" y="197"/>
                  <a:pt x="410" y="197"/>
                </a:cubicBezTo>
                <a:cubicBezTo>
                  <a:pt x="408" y="197"/>
                  <a:pt x="408" y="197"/>
                  <a:pt x="408" y="197"/>
                </a:cubicBezTo>
                <a:cubicBezTo>
                  <a:pt x="407" y="199"/>
                  <a:pt x="407" y="199"/>
                  <a:pt x="407" y="199"/>
                </a:cubicBezTo>
                <a:cubicBezTo>
                  <a:pt x="409" y="197"/>
                  <a:pt x="409" y="197"/>
                  <a:pt x="409" y="197"/>
                </a:cubicBezTo>
                <a:cubicBezTo>
                  <a:pt x="411" y="197"/>
                  <a:pt x="411" y="197"/>
                  <a:pt x="411" y="197"/>
                </a:cubicBezTo>
                <a:cubicBezTo>
                  <a:pt x="411" y="198"/>
                  <a:pt x="411" y="198"/>
                  <a:pt x="411" y="198"/>
                </a:cubicBezTo>
                <a:cubicBezTo>
                  <a:pt x="410" y="199"/>
                  <a:pt x="410" y="199"/>
                  <a:pt x="410" y="199"/>
                </a:cubicBezTo>
                <a:cubicBezTo>
                  <a:pt x="409" y="200"/>
                  <a:pt x="409" y="200"/>
                  <a:pt x="409" y="200"/>
                </a:cubicBezTo>
                <a:cubicBezTo>
                  <a:pt x="408" y="202"/>
                  <a:pt x="408" y="202"/>
                  <a:pt x="408" y="202"/>
                </a:cubicBezTo>
                <a:cubicBezTo>
                  <a:pt x="407" y="202"/>
                  <a:pt x="407" y="202"/>
                  <a:pt x="407" y="202"/>
                </a:cubicBezTo>
                <a:cubicBezTo>
                  <a:pt x="406" y="203"/>
                  <a:pt x="406" y="203"/>
                  <a:pt x="406" y="203"/>
                </a:cubicBezTo>
                <a:cubicBezTo>
                  <a:pt x="406" y="203"/>
                  <a:pt x="406" y="203"/>
                  <a:pt x="406" y="203"/>
                </a:cubicBezTo>
                <a:cubicBezTo>
                  <a:pt x="406" y="204"/>
                  <a:pt x="406" y="204"/>
                  <a:pt x="406" y="204"/>
                </a:cubicBezTo>
                <a:cubicBezTo>
                  <a:pt x="409" y="201"/>
                  <a:pt x="409" y="201"/>
                  <a:pt x="409" y="201"/>
                </a:cubicBezTo>
                <a:cubicBezTo>
                  <a:pt x="410" y="200"/>
                  <a:pt x="410" y="200"/>
                  <a:pt x="410" y="200"/>
                </a:cubicBezTo>
                <a:cubicBezTo>
                  <a:pt x="411" y="199"/>
                  <a:pt x="411" y="199"/>
                  <a:pt x="411" y="199"/>
                </a:cubicBezTo>
                <a:cubicBezTo>
                  <a:pt x="412" y="198"/>
                  <a:pt x="412" y="198"/>
                  <a:pt x="412" y="198"/>
                </a:cubicBezTo>
                <a:cubicBezTo>
                  <a:pt x="414" y="198"/>
                  <a:pt x="414" y="198"/>
                  <a:pt x="414" y="198"/>
                </a:cubicBezTo>
                <a:cubicBezTo>
                  <a:pt x="414" y="199"/>
                  <a:pt x="414" y="199"/>
                  <a:pt x="414" y="199"/>
                </a:cubicBezTo>
                <a:cubicBezTo>
                  <a:pt x="415" y="199"/>
                  <a:pt x="415" y="199"/>
                  <a:pt x="415" y="199"/>
                </a:cubicBezTo>
                <a:cubicBezTo>
                  <a:pt x="415" y="200"/>
                  <a:pt x="415" y="200"/>
                  <a:pt x="415" y="200"/>
                </a:cubicBezTo>
                <a:cubicBezTo>
                  <a:pt x="415" y="201"/>
                  <a:pt x="415" y="201"/>
                  <a:pt x="415" y="201"/>
                </a:cubicBezTo>
                <a:cubicBezTo>
                  <a:pt x="415" y="202"/>
                  <a:pt x="415" y="202"/>
                  <a:pt x="415" y="202"/>
                </a:cubicBezTo>
                <a:cubicBezTo>
                  <a:pt x="413" y="202"/>
                  <a:pt x="413" y="202"/>
                  <a:pt x="413" y="202"/>
                </a:cubicBezTo>
                <a:cubicBezTo>
                  <a:pt x="413" y="203"/>
                  <a:pt x="413" y="203"/>
                  <a:pt x="413" y="203"/>
                </a:cubicBezTo>
                <a:cubicBezTo>
                  <a:pt x="411" y="204"/>
                  <a:pt x="411" y="204"/>
                  <a:pt x="411" y="204"/>
                </a:cubicBezTo>
                <a:cubicBezTo>
                  <a:pt x="411" y="203"/>
                  <a:pt x="411" y="203"/>
                  <a:pt x="411" y="203"/>
                </a:cubicBezTo>
                <a:cubicBezTo>
                  <a:pt x="410" y="203"/>
                  <a:pt x="410" y="203"/>
                  <a:pt x="410" y="203"/>
                </a:cubicBezTo>
                <a:cubicBezTo>
                  <a:pt x="409" y="204"/>
                  <a:pt x="409" y="204"/>
                  <a:pt x="409" y="204"/>
                </a:cubicBezTo>
                <a:cubicBezTo>
                  <a:pt x="410" y="204"/>
                  <a:pt x="410" y="204"/>
                  <a:pt x="410" y="204"/>
                </a:cubicBezTo>
                <a:cubicBezTo>
                  <a:pt x="411" y="205"/>
                  <a:pt x="411" y="205"/>
                  <a:pt x="411" y="205"/>
                </a:cubicBezTo>
                <a:cubicBezTo>
                  <a:pt x="408" y="206"/>
                  <a:pt x="408" y="206"/>
                  <a:pt x="408" y="206"/>
                </a:cubicBezTo>
                <a:cubicBezTo>
                  <a:pt x="409" y="206"/>
                  <a:pt x="409" y="206"/>
                  <a:pt x="409" y="206"/>
                </a:cubicBezTo>
                <a:cubicBezTo>
                  <a:pt x="410" y="205"/>
                  <a:pt x="410" y="205"/>
                  <a:pt x="410" y="205"/>
                </a:cubicBezTo>
                <a:cubicBezTo>
                  <a:pt x="411" y="205"/>
                  <a:pt x="411" y="205"/>
                  <a:pt x="411" y="205"/>
                </a:cubicBezTo>
                <a:cubicBezTo>
                  <a:pt x="412" y="204"/>
                  <a:pt x="412" y="204"/>
                  <a:pt x="412" y="204"/>
                </a:cubicBezTo>
                <a:cubicBezTo>
                  <a:pt x="412" y="205"/>
                  <a:pt x="412" y="205"/>
                  <a:pt x="412" y="205"/>
                </a:cubicBezTo>
                <a:cubicBezTo>
                  <a:pt x="412" y="206"/>
                  <a:pt x="412" y="206"/>
                  <a:pt x="412" y="206"/>
                </a:cubicBezTo>
                <a:cubicBezTo>
                  <a:pt x="410" y="206"/>
                  <a:pt x="410" y="206"/>
                  <a:pt x="410" y="206"/>
                </a:cubicBezTo>
                <a:cubicBezTo>
                  <a:pt x="409" y="207"/>
                  <a:pt x="409" y="207"/>
                  <a:pt x="409" y="207"/>
                </a:cubicBezTo>
                <a:cubicBezTo>
                  <a:pt x="410" y="207"/>
                  <a:pt x="410" y="207"/>
                  <a:pt x="410" y="207"/>
                </a:cubicBezTo>
                <a:cubicBezTo>
                  <a:pt x="411" y="207"/>
                  <a:pt x="411" y="207"/>
                  <a:pt x="411" y="207"/>
                </a:cubicBezTo>
                <a:cubicBezTo>
                  <a:pt x="410" y="208"/>
                  <a:pt x="410" y="208"/>
                  <a:pt x="410" y="208"/>
                </a:cubicBezTo>
                <a:cubicBezTo>
                  <a:pt x="409" y="209"/>
                  <a:pt x="409" y="209"/>
                  <a:pt x="409" y="209"/>
                </a:cubicBezTo>
                <a:cubicBezTo>
                  <a:pt x="408" y="210"/>
                  <a:pt x="408" y="210"/>
                  <a:pt x="408" y="210"/>
                </a:cubicBezTo>
                <a:cubicBezTo>
                  <a:pt x="408" y="210"/>
                  <a:pt x="408" y="210"/>
                  <a:pt x="408" y="210"/>
                </a:cubicBezTo>
                <a:cubicBezTo>
                  <a:pt x="410" y="209"/>
                  <a:pt x="410" y="209"/>
                  <a:pt x="410" y="209"/>
                </a:cubicBezTo>
                <a:cubicBezTo>
                  <a:pt x="411" y="207"/>
                  <a:pt x="411" y="207"/>
                  <a:pt x="411" y="207"/>
                </a:cubicBezTo>
                <a:cubicBezTo>
                  <a:pt x="412" y="206"/>
                  <a:pt x="412" y="206"/>
                  <a:pt x="412" y="206"/>
                </a:cubicBezTo>
                <a:cubicBezTo>
                  <a:pt x="414" y="205"/>
                  <a:pt x="414" y="205"/>
                  <a:pt x="414" y="205"/>
                </a:cubicBezTo>
                <a:cubicBezTo>
                  <a:pt x="414" y="205"/>
                  <a:pt x="414" y="205"/>
                  <a:pt x="414" y="205"/>
                </a:cubicBezTo>
                <a:cubicBezTo>
                  <a:pt x="414" y="206"/>
                  <a:pt x="414" y="206"/>
                  <a:pt x="414" y="206"/>
                </a:cubicBezTo>
                <a:cubicBezTo>
                  <a:pt x="415" y="205"/>
                  <a:pt x="415" y="205"/>
                  <a:pt x="415" y="205"/>
                </a:cubicBezTo>
                <a:cubicBezTo>
                  <a:pt x="415" y="205"/>
                  <a:pt x="415" y="205"/>
                  <a:pt x="415" y="205"/>
                </a:cubicBezTo>
                <a:cubicBezTo>
                  <a:pt x="417" y="204"/>
                  <a:pt x="417" y="204"/>
                  <a:pt x="417" y="204"/>
                </a:cubicBezTo>
                <a:cubicBezTo>
                  <a:pt x="417" y="204"/>
                  <a:pt x="417" y="204"/>
                  <a:pt x="417" y="204"/>
                </a:cubicBezTo>
                <a:cubicBezTo>
                  <a:pt x="417" y="204"/>
                  <a:pt x="417" y="204"/>
                  <a:pt x="417" y="204"/>
                </a:cubicBezTo>
                <a:cubicBezTo>
                  <a:pt x="416" y="206"/>
                  <a:pt x="416" y="206"/>
                  <a:pt x="416" y="206"/>
                </a:cubicBezTo>
                <a:cubicBezTo>
                  <a:pt x="413" y="207"/>
                  <a:pt x="413" y="207"/>
                  <a:pt x="413" y="207"/>
                </a:cubicBezTo>
                <a:cubicBezTo>
                  <a:pt x="413" y="208"/>
                  <a:pt x="413" y="208"/>
                  <a:pt x="413" y="208"/>
                </a:cubicBezTo>
                <a:cubicBezTo>
                  <a:pt x="413" y="208"/>
                  <a:pt x="413" y="208"/>
                  <a:pt x="413" y="208"/>
                </a:cubicBezTo>
                <a:cubicBezTo>
                  <a:pt x="413" y="209"/>
                  <a:pt x="413" y="209"/>
                  <a:pt x="413" y="209"/>
                </a:cubicBezTo>
                <a:cubicBezTo>
                  <a:pt x="412" y="210"/>
                  <a:pt x="412" y="210"/>
                  <a:pt x="412" y="210"/>
                </a:cubicBezTo>
                <a:cubicBezTo>
                  <a:pt x="412" y="211"/>
                  <a:pt x="412" y="211"/>
                  <a:pt x="412" y="211"/>
                </a:cubicBezTo>
                <a:cubicBezTo>
                  <a:pt x="413" y="211"/>
                  <a:pt x="413" y="211"/>
                  <a:pt x="413" y="211"/>
                </a:cubicBezTo>
                <a:cubicBezTo>
                  <a:pt x="413" y="210"/>
                  <a:pt x="413" y="210"/>
                  <a:pt x="413" y="210"/>
                </a:cubicBezTo>
                <a:cubicBezTo>
                  <a:pt x="414" y="209"/>
                  <a:pt x="414" y="209"/>
                  <a:pt x="414" y="209"/>
                </a:cubicBezTo>
                <a:cubicBezTo>
                  <a:pt x="415" y="207"/>
                  <a:pt x="415" y="207"/>
                  <a:pt x="415" y="207"/>
                </a:cubicBezTo>
                <a:cubicBezTo>
                  <a:pt x="417" y="207"/>
                  <a:pt x="417" y="207"/>
                  <a:pt x="417" y="207"/>
                </a:cubicBezTo>
                <a:cubicBezTo>
                  <a:pt x="417" y="207"/>
                  <a:pt x="417" y="207"/>
                  <a:pt x="417" y="207"/>
                </a:cubicBezTo>
                <a:cubicBezTo>
                  <a:pt x="417" y="208"/>
                  <a:pt x="417" y="208"/>
                  <a:pt x="417" y="208"/>
                </a:cubicBezTo>
                <a:cubicBezTo>
                  <a:pt x="416" y="209"/>
                  <a:pt x="416" y="209"/>
                  <a:pt x="416" y="209"/>
                </a:cubicBezTo>
                <a:cubicBezTo>
                  <a:pt x="415" y="210"/>
                  <a:pt x="415" y="210"/>
                  <a:pt x="415" y="210"/>
                </a:cubicBezTo>
                <a:cubicBezTo>
                  <a:pt x="414" y="211"/>
                  <a:pt x="414" y="211"/>
                  <a:pt x="414" y="211"/>
                </a:cubicBezTo>
                <a:cubicBezTo>
                  <a:pt x="413" y="213"/>
                  <a:pt x="413" y="213"/>
                  <a:pt x="413" y="213"/>
                </a:cubicBezTo>
                <a:cubicBezTo>
                  <a:pt x="413" y="213"/>
                  <a:pt x="413" y="213"/>
                  <a:pt x="413" y="213"/>
                </a:cubicBezTo>
                <a:cubicBezTo>
                  <a:pt x="413" y="214"/>
                  <a:pt x="413" y="214"/>
                  <a:pt x="413" y="214"/>
                </a:cubicBezTo>
                <a:cubicBezTo>
                  <a:pt x="414" y="213"/>
                  <a:pt x="414" y="213"/>
                  <a:pt x="414" y="213"/>
                </a:cubicBezTo>
                <a:cubicBezTo>
                  <a:pt x="414" y="212"/>
                  <a:pt x="414" y="212"/>
                  <a:pt x="414" y="212"/>
                </a:cubicBezTo>
                <a:cubicBezTo>
                  <a:pt x="416" y="210"/>
                  <a:pt x="416" y="210"/>
                  <a:pt x="416" y="210"/>
                </a:cubicBezTo>
                <a:cubicBezTo>
                  <a:pt x="417" y="210"/>
                  <a:pt x="417" y="210"/>
                  <a:pt x="417" y="210"/>
                </a:cubicBezTo>
                <a:cubicBezTo>
                  <a:pt x="417" y="211"/>
                  <a:pt x="417" y="211"/>
                  <a:pt x="417" y="211"/>
                </a:cubicBezTo>
                <a:cubicBezTo>
                  <a:pt x="418" y="211"/>
                  <a:pt x="418" y="211"/>
                  <a:pt x="418" y="211"/>
                </a:cubicBezTo>
                <a:cubicBezTo>
                  <a:pt x="418" y="212"/>
                  <a:pt x="418" y="212"/>
                  <a:pt x="418" y="212"/>
                </a:cubicBezTo>
                <a:cubicBezTo>
                  <a:pt x="417" y="212"/>
                  <a:pt x="417" y="212"/>
                  <a:pt x="417" y="212"/>
                </a:cubicBezTo>
                <a:cubicBezTo>
                  <a:pt x="416" y="214"/>
                  <a:pt x="416" y="214"/>
                  <a:pt x="416" y="214"/>
                </a:cubicBezTo>
                <a:cubicBezTo>
                  <a:pt x="415" y="215"/>
                  <a:pt x="415" y="215"/>
                  <a:pt x="415" y="215"/>
                </a:cubicBezTo>
                <a:cubicBezTo>
                  <a:pt x="416" y="215"/>
                  <a:pt x="416" y="215"/>
                  <a:pt x="416" y="215"/>
                </a:cubicBezTo>
                <a:cubicBezTo>
                  <a:pt x="416" y="214"/>
                  <a:pt x="416" y="214"/>
                  <a:pt x="416" y="214"/>
                </a:cubicBezTo>
                <a:cubicBezTo>
                  <a:pt x="417" y="213"/>
                  <a:pt x="417" y="213"/>
                  <a:pt x="417" y="213"/>
                </a:cubicBezTo>
                <a:cubicBezTo>
                  <a:pt x="417" y="212"/>
                  <a:pt x="417" y="212"/>
                  <a:pt x="417" y="212"/>
                </a:cubicBezTo>
                <a:cubicBezTo>
                  <a:pt x="419" y="212"/>
                  <a:pt x="419" y="212"/>
                  <a:pt x="419" y="212"/>
                </a:cubicBezTo>
                <a:cubicBezTo>
                  <a:pt x="419" y="210"/>
                  <a:pt x="419" y="210"/>
                  <a:pt x="419" y="210"/>
                </a:cubicBezTo>
                <a:cubicBezTo>
                  <a:pt x="419" y="210"/>
                  <a:pt x="419" y="210"/>
                  <a:pt x="419" y="210"/>
                </a:cubicBezTo>
                <a:cubicBezTo>
                  <a:pt x="420" y="209"/>
                  <a:pt x="420" y="209"/>
                  <a:pt x="420" y="209"/>
                </a:cubicBezTo>
                <a:cubicBezTo>
                  <a:pt x="420" y="208"/>
                  <a:pt x="420" y="208"/>
                  <a:pt x="420" y="208"/>
                </a:cubicBezTo>
                <a:cubicBezTo>
                  <a:pt x="421" y="207"/>
                  <a:pt x="421" y="207"/>
                  <a:pt x="421" y="207"/>
                </a:cubicBezTo>
                <a:cubicBezTo>
                  <a:pt x="421" y="207"/>
                  <a:pt x="421" y="207"/>
                  <a:pt x="421" y="207"/>
                </a:cubicBezTo>
                <a:cubicBezTo>
                  <a:pt x="422" y="206"/>
                  <a:pt x="422" y="206"/>
                  <a:pt x="422" y="206"/>
                </a:cubicBezTo>
                <a:cubicBezTo>
                  <a:pt x="422" y="205"/>
                  <a:pt x="422" y="205"/>
                  <a:pt x="422" y="205"/>
                </a:cubicBezTo>
                <a:cubicBezTo>
                  <a:pt x="422" y="205"/>
                  <a:pt x="422" y="205"/>
                  <a:pt x="422" y="205"/>
                </a:cubicBezTo>
                <a:cubicBezTo>
                  <a:pt x="423" y="207"/>
                  <a:pt x="423" y="207"/>
                  <a:pt x="423" y="207"/>
                </a:cubicBezTo>
                <a:cubicBezTo>
                  <a:pt x="424" y="208"/>
                  <a:pt x="424" y="208"/>
                  <a:pt x="424" y="208"/>
                </a:cubicBezTo>
                <a:cubicBezTo>
                  <a:pt x="425" y="209"/>
                  <a:pt x="425" y="209"/>
                  <a:pt x="425" y="209"/>
                </a:cubicBezTo>
                <a:cubicBezTo>
                  <a:pt x="426" y="210"/>
                  <a:pt x="426" y="210"/>
                  <a:pt x="426" y="210"/>
                </a:cubicBezTo>
                <a:cubicBezTo>
                  <a:pt x="426" y="211"/>
                  <a:pt x="426" y="211"/>
                  <a:pt x="426" y="211"/>
                </a:cubicBezTo>
                <a:cubicBezTo>
                  <a:pt x="427" y="212"/>
                  <a:pt x="427" y="212"/>
                  <a:pt x="427" y="212"/>
                </a:cubicBezTo>
                <a:cubicBezTo>
                  <a:pt x="427" y="213"/>
                  <a:pt x="427" y="213"/>
                  <a:pt x="427" y="213"/>
                </a:cubicBezTo>
                <a:cubicBezTo>
                  <a:pt x="426" y="214"/>
                  <a:pt x="426" y="214"/>
                  <a:pt x="426" y="214"/>
                </a:cubicBezTo>
                <a:cubicBezTo>
                  <a:pt x="425" y="215"/>
                  <a:pt x="425" y="215"/>
                  <a:pt x="425" y="215"/>
                </a:cubicBezTo>
                <a:cubicBezTo>
                  <a:pt x="424" y="215"/>
                  <a:pt x="424" y="215"/>
                  <a:pt x="424" y="215"/>
                </a:cubicBezTo>
                <a:cubicBezTo>
                  <a:pt x="424" y="215"/>
                  <a:pt x="424" y="215"/>
                  <a:pt x="424" y="215"/>
                </a:cubicBezTo>
                <a:cubicBezTo>
                  <a:pt x="422" y="214"/>
                  <a:pt x="422" y="214"/>
                  <a:pt x="422" y="214"/>
                </a:cubicBezTo>
                <a:cubicBezTo>
                  <a:pt x="422" y="214"/>
                  <a:pt x="422" y="214"/>
                  <a:pt x="422" y="214"/>
                </a:cubicBezTo>
                <a:cubicBezTo>
                  <a:pt x="421" y="214"/>
                  <a:pt x="421" y="214"/>
                  <a:pt x="421" y="214"/>
                </a:cubicBezTo>
                <a:cubicBezTo>
                  <a:pt x="421" y="215"/>
                  <a:pt x="421" y="215"/>
                  <a:pt x="421" y="215"/>
                </a:cubicBezTo>
                <a:cubicBezTo>
                  <a:pt x="420" y="216"/>
                  <a:pt x="420" y="216"/>
                  <a:pt x="420" y="216"/>
                </a:cubicBezTo>
                <a:cubicBezTo>
                  <a:pt x="419" y="216"/>
                  <a:pt x="419" y="216"/>
                  <a:pt x="419" y="216"/>
                </a:cubicBezTo>
                <a:cubicBezTo>
                  <a:pt x="418" y="216"/>
                  <a:pt x="418" y="216"/>
                  <a:pt x="418" y="216"/>
                </a:cubicBezTo>
                <a:cubicBezTo>
                  <a:pt x="418" y="217"/>
                  <a:pt x="418" y="217"/>
                  <a:pt x="418" y="217"/>
                </a:cubicBezTo>
                <a:cubicBezTo>
                  <a:pt x="419" y="217"/>
                  <a:pt x="419" y="217"/>
                  <a:pt x="419" y="217"/>
                </a:cubicBezTo>
                <a:cubicBezTo>
                  <a:pt x="420" y="217"/>
                  <a:pt x="420" y="217"/>
                  <a:pt x="420" y="217"/>
                </a:cubicBezTo>
                <a:cubicBezTo>
                  <a:pt x="420" y="218"/>
                  <a:pt x="420" y="218"/>
                  <a:pt x="420" y="218"/>
                </a:cubicBezTo>
                <a:cubicBezTo>
                  <a:pt x="419" y="219"/>
                  <a:pt x="419" y="219"/>
                  <a:pt x="419" y="219"/>
                </a:cubicBezTo>
                <a:cubicBezTo>
                  <a:pt x="418" y="219"/>
                  <a:pt x="418" y="219"/>
                  <a:pt x="418" y="219"/>
                </a:cubicBezTo>
                <a:cubicBezTo>
                  <a:pt x="417" y="220"/>
                  <a:pt x="417" y="220"/>
                  <a:pt x="417" y="220"/>
                </a:cubicBezTo>
                <a:cubicBezTo>
                  <a:pt x="418" y="220"/>
                  <a:pt x="418" y="220"/>
                  <a:pt x="418" y="220"/>
                </a:cubicBezTo>
                <a:cubicBezTo>
                  <a:pt x="419" y="219"/>
                  <a:pt x="419" y="219"/>
                  <a:pt x="419" y="219"/>
                </a:cubicBezTo>
                <a:cubicBezTo>
                  <a:pt x="421" y="219"/>
                  <a:pt x="421" y="219"/>
                  <a:pt x="421" y="219"/>
                </a:cubicBezTo>
                <a:cubicBezTo>
                  <a:pt x="422" y="219"/>
                  <a:pt x="422" y="219"/>
                  <a:pt x="422" y="219"/>
                </a:cubicBezTo>
                <a:cubicBezTo>
                  <a:pt x="423" y="218"/>
                  <a:pt x="423" y="218"/>
                  <a:pt x="423" y="218"/>
                </a:cubicBezTo>
                <a:cubicBezTo>
                  <a:pt x="424" y="218"/>
                  <a:pt x="424" y="218"/>
                  <a:pt x="424" y="218"/>
                </a:cubicBezTo>
                <a:cubicBezTo>
                  <a:pt x="425" y="219"/>
                  <a:pt x="425" y="219"/>
                  <a:pt x="425" y="219"/>
                </a:cubicBezTo>
                <a:cubicBezTo>
                  <a:pt x="425" y="219"/>
                  <a:pt x="425" y="219"/>
                  <a:pt x="425" y="219"/>
                </a:cubicBezTo>
                <a:cubicBezTo>
                  <a:pt x="425" y="220"/>
                  <a:pt x="425" y="220"/>
                  <a:pt x="425" y="220"/>
                </a:cubicBezTo>
                <a:cubicBezTo>
                  <a:pt x="425" y="219"/>
                  <a:pt x="425" y="219"/>
                  <a:pt x="425" y="219"/>
                </a:cubicBezTo>
                <a:cubicBezTo>
                  <a:pt x="425" y="218"/>
                  <a:pt x="425" y="218"/>
                  <a:pt x="425" y="218"/>
                </a:cubicBezTo>
                <a:cubicBezTo>
                  <a:pt x="425" y="217"/>
                  <a:pt x="425" y="217"/>
                  <a:pt x="425" y="217"/>
                </a:cubicBezTo>
                <a:cubicBezTo>
                  <a:pt x="426" y="216"/>
                  <a:pt x="426" y="216"/>
                  <a:pt x="426" y="216"/>
                </a:cubicBezTo>
                <a:cubicBezTo>
                  <a:pt x="428" y="215"/>
                  <a:pt x="428" y="215"/>
                  <a:pt x="428" y="215"/>
                </a:cubicBezTo>
                <a:cubicBezTo>
                  <a:pt x="428" y="216"/>
                  <a:pt x="428" y="216"/>
                  <a:pt x="428" y="216"/>
                </a:cubicBezTo>
                <a:cubicBezTo>
                  <a:pt x="428" y="216"/>
                  <a:pt x="428" y="216"/>
                  <a:pt x="428" y="216"/>
                </a:cubicBezTo>
                <a:cubicBezTo>
                  <a:pt x="428" y="217"/>
                  <a:pt x="428" y="217"/>
                  <a:pt x="428" y="217"/>
                </a:cubicBezTo>
                <a:cubicBezTo>
                  <a:pt x="428" y="218"/>
                  <a:pt x="428" y="218"/>
                  <a:pt x="428" y="218"/>
                </a:cubicBezTo>
                <a:cubicBezTo>
                  <a:pt x="427" y="220"/>
                  <a:pt x="427" y="220"/>
                  <a:pt x="427" y="220"/>
                </a:cubicBezTo>
                <a:cubicBezTo>
                  <a:pt x="425" y="220"/>
                  <a:pt x="425" y="220"/>
                  <a:pt x="425" y="220"/>
                </a:cubicBezTo>
                <a:cubicBezTo>
                  <a:pt x="425" y="221"/>
                  <a:pt x="425" y="221"/>
                  <a:pt x="425" y="221"/>
                </a:cubicBezTo>
                <a:cubicBezTo>
                  <a:pt x="424" y="222"/>
                  <a:pt x="424" y="222"/>
                  <a:pt x="424" y="222"/>
                </a:cubicBezTo>
                <a:cubicBezTo>
                  <a:pt x="423" y="222"/>
                  <a:pt x="423" y="222"/>
                  <a:pt x="423" y="222"/>
                </a:cubicBezTo>
                <a:cubicBezTo>
                  <a:pt x="422" y="221"/>
                  <a:pt x="422" y="221"/>
                  <a:pt x="422" y="221"/>
                </a:cubicBezTo>
                <a:cubicBezTo>
                  <a:pt x="422" y="221"/>
                  <a:pt x="422" y="221"/>
                  <a:pt x="422" y="221"/>
                </a:cubicBezTo>
                <a:cubicBezTo>
                  <a:pt x="421" y="222"/>
                  <a:pt x="421" y="222"/>
                  <a:pt x="421" y="222"/>
                </a:cubicBezTo>
                <a:cubicBezTo>
                  <a:pt x="421" y="223"/>
                  <a:pt x="421" y="223"/>
                  <a:pt x="421" y="223"/>
                </a:cubicBezTo>
                <a:cubicBezTo>
                  <a:pt x="420" y="224"/>
                  <a:pt x="420" y="224"/>
                  <a:pt x="420" y="224"/>
                </a:cubicBezTo>
                <a:cubicBezTo>
                  <a:pt x="420" y="225"/>
                  <a:pt x="420" y="225"/>
                  <a:pt x="420" y="225"/>
                </a:cubicBezTo>
                <a:cubicBezTo>
                  <a:pt x="419" y="226"/>
                  <a:pt x="419" y="226"/>
                  <a:pt x="419" y="226"/>
                </a:cubicBezTo>
                <a:cubicBezTo>
                  <a:pt x="420" y="226"/>
                  <a:pt x="420" y="226"/>
                  <a:pt x="420" y="226"/>
                </a:cubicBezTo>
                <a:cubicBezTo>
                  <a:pt x="421" y="224"/>
                  <a:pt x="421" y="224"/>
                  <a:pt x="421" y="224"/>
                </a:cubicBezTo>
                <a:cubicBezTo>
                  <a:pt x="422" y="222"/>
                  <a:pt x="422" y="222"/>
                  <a:pt x="422" y="222"/>
                </a:cubicBezTo>
                <a:cubicBezTo>
                  <a:pt x="423" y="222"/>
                  <a:pt x="423" y="222"/>
                  <a:pt x="423" y="222"/>
                </a:cubicBezTo>
                <a:cubicBezTo>
                  <a:pt x="423" y="222"/>
                  <a:pt x="423" y="222"/>
                  <a:pt x="423" y="222"/>
                </a:cubicBezTo>
                <a:cubicBezTo>
                  <a:pt x="424" y="223"/>
                  <a:pt x="424" y="223"/>
                  <a:pt x="424" y="223"/>
                </a:cubicBezTo>
                <a:cubicBezTo>
                  <a:pt x="424" y="223"/>
                  <a:pt x="424" y="223"/>
                  <a:pt x="424" y="223"/>
                </a:cubicBezTo>
                <a:cubicBezTo>
                  <a:pt x="423" y="224"/>
                  <a:pt x="423" y="224"/>
                  <a:pt x="423" y="224"/>
                </a:cubicBezTo>
                <a:cubicBezTo>
                  <a:pt x="423" y="225"/>
                  <a:pt x="423" y="225"/>
                  <a:pt x="423" y="225"/>
                </a:cubicBezTo>
                <a:cubicBezTo>
                  <a:pt x="421" y="227"/>
                  <a:pt x="421" y="227"/>
                  <a:pt x="421" y="227"/>
                </a:cubicBezTo>
                <a:cubicBezTo>
                  <a:pt x="420" y="227"/>
                  <a:pt x="420" y="227"/>
                  <a:pt x="420" y="227"/>
                </a:cubicBezTo>
                <a:cubicBezTo>
                  <a:pt x="420" y="228"/>
                  <a:pt x="420" y="228"/>
                  <a:pt x="420" y="228"/>
                </a:cubicBezTo>
                <a:cubicBezTo>
                  <a:pt x="422" y="227"/>
                  <a:pt x="422" y="227"/>
                  <a:pt x="422" y="227"/>
                </a:cubicBezTo>
                <a:cubicBezTo>
                  <a:pt x="424" y="224"/>
                  <a:pt x="424" y="224"/>
                  <a:pt x="424" y="224"/>
                </a:cubicBezTo>
                <a:cubicBezTo>
                  <a:pt x="425" y="222"/>
                  <a:pt x="425" y="222"/>
                  <a:pt x="425" y="222"/>
                </a:cubicBezTo>
                <a:cubicBezTo>
                  <a:pt x="425" y="222"/>
                  <a:pt x="425" y="222"/>
                  <a:pt x="425" y="222"/>
                </a:cubicBezTo>
                <a:cubicBezTo>
                  <a:pt x="426" y="221"/>
                  <a:pt x="426" y="221"/>
                  <a:pt x="426" y="221"/>
                </a:cubicBezTo>
                <a:cubicBezTo>
                  <a:pt x="426" y="221"/>
                  <a:pt x="426" y="221"/>
                  <a:pt x="426" y="221"/>
                </a:cubicBezTo>
                <a:cubicBezTo>
                  <a:pt x="428" y="220"/>
                  <a:pt x="428" y="220"/>
                  <a:pt x="428" y="220"/>
                </a:cubicBezTo>
                <a:cubicBezTo>
                  <a:pt x="430" y="219"/>
                  <a:pt x="430" y="219"/>
                  <a:pt x="430" y="219"/>
                </a:cubicBezTo>
                <a:cubicBezTo>
                  <a:pt x="431" y="219"/>
                  <a:pt x="431" y="219"/>
                  <a:pt x="431" y="219"/>
                </a:cubicBezTo>
                <a:cubicBezTo>
                  <a:pt x="431" y="219"/>
                  <a:pt x="431" y="219"/>
                  <a:pt x="431" y="219"/>
                </a:cubicBezTo>
                <a:cubicBezTo>
                  <a:pt x="430" y="220"/>
                  <a:pt x="430" y="220"/>
                  <a:pt x="430" y="220"/>
                </a:cubicBezTo>
                <a:cubicBezTo>
                  <a:pt x="429" y="221"/>
                  <a:pt x="429" y="221"/>
                  <a:pt x="429" y="221"/>
                </a:cubicBezTo>
                <a:cubicBezTo>
                  <a:pt x="428" y="221"/>
                  <a:pt x="428" y="221"/>
                  <a:pt x="428" y="221"/>
                </a:cubicBezTo>
                <a:cubicBezTo>
                  <a:pt x="427" y="222"/>
                  <a:pt x="427" y="222"/>
                  <a:pt x="427" y="222"/>
                </a:cubicBezTo>
                <a:cubicBezTo>
                  <a:pt x="427" y="223"/>
                  <a:pt x="427" y="223"/>
                  <a:pt x="427" y="223"/>
                </a:cubicBezTo>
                <a:cubicBezTo>
                  <a:pt x="427" y="223"/>
                  <a:pt x="427" y="223"/>
                  <a:pt x="427" y="223"/>
                </a:cubicBezTo>
                <a:cubicBezTo>
                  <a:pt x="428" y="222"/>
                  <a:pt x="428" y="222"/>
                  <a:pt x="428" y="222"/>
                </a:cubicBezTo>
                <a:cubicBezTo>
                  <a:pt x="429" y="222"/>
                  <a:pt x="429" y="222"/>
                  <a:pt x="429" y="222"/>
                </a:cubicBezTo>
                <a:cubicBezTo>
                  <a:pt x="430" y="221"/>
                  <a:pt x="430" y="221"/>
                  <a:pt x="430" y="221"/>
                </a:cubicBezTo>
                <a:cubicBezTo>
                  <a:pt x="431" y="221"/>
                  <a:pt x="431" y="221"/>
                  <a:pt x="431" y="221"/>
                </a:cubicBezTo>
                <a:cubicBezTo>
                  <a:pt x="432" y="220"/>
                  <a:pt x="432" y="220"/>
                  <a:pt x="432" y="220"/>
                </a:cubicBezTo>
                <a:cubicBezTo>
                  <a:pt x="433" y="220"/>
                  <a:pt x="433" y="220"/>
                  <a:pt x="433" y="220"/>
                </a:cubicBezTo>
                <a:cubicBezTo>
                  <a:pt x="434" y="220"/>
                  <a:pt x="434" y="220"/>
                  <a:pt x="434" y="220"/>
                </a:cubicBezTo>
                <a:cubicBezTo>
                  <a:pt x="434" y="221"/>
                  <a:pt x="434" y="221"/>
                  <a:pt x="434" y="221"/>
                </a:cubicBezTo>
                <a:cubicBezTo>
                  <a:pt x="435" y="223"/>
                  <a:pt x="435" y="223"/>
                  <a:pt x="435" y="223"/>
                </a:cubicBezTo>
                <a:cubicBezTo>
                  <a:pt x="436" y="224"/>
                  <a:pt x="436" y="224"/>
                  <a:pt x="436" y="224"/>
                </a:cubicBezTo>
                <a:cubicBezTo>
                  <a:pt x="437" y="224"/>
                  <a:pt x="437" y="224"/>
                  <a:pt x="437" y="224"/>
                </a:cubicBezTo>
                <a:cubicBezTo>
                  <a:pt x="437" y="225"/>
                  <a:pt x="437" y="225"/>
                  <a:pt x="437" y="225"/>
                </a:cubicBezTo>
                <a:cubicBezTo>
                  <a:pt x="437" y="226"/>
                  <a:pt x="437" y="226"/>
                  <a:pt x="437" y="226"/>
                </a:cubicBezTo>
                <a:cubicBezTo>
                  <a:pt x="436" y="227"/>
                  <a:pt x="436" y="227"/>
                  <a:pt x="436" y="227"/>
                </a:cubicBezTo>
                <a:cubicBezTo>
                  <a:pt x="435" y="227"/>
                  <a:pt x="435" y="227"/>
                  <a:pt x="435" y="227"/>
                </a:cubicBezTo>
                <a:cubicBezTo>
                  <a:pt x="436" y="226"/>
                  <a:pt x="436" y="226"/>
                  <a:pt x="436" y="226"/>
                </a:cubicBezTo>
                <a:cubicBezTo>
                  <a:pt x="435" y="226"/>
                  <a:pt x="435" y="226"/>
                  <a:pt x="435" y="226"/>
                </a:cubicBezTo>
                <a:cubicBezTo>
                  <a:pt x="435" y="226"/>
                  <a:pt x="435" y="226"/>
                  <a:pt x="435" y="226"/>
                </a:cubicBezTo>
                <a:cubicBezTo>
                  <a:pt x="434" y="227"/>
                  <a:pt x="434" y="227"/>
                  <a:pt x="434" y="227"/>
                </a:cubicBezTo>
                <a:cubicBezTo>
                  <a:pt x="433" y="228"/>
                  <a:pt x="433" y="228"/>
                  <a:pt x="433" y="228"/>
                </a:cubicBezTo>
                <a:cubicBezTo>
                  <a:pt x="431" y="228"/>
                  <a:pt x="431" y="228"/>
                  <a:pt x="431" y="228"/>
                </a:cubicBezTo>
                <a:cubicBezTo>
                  <a:pt x="430" y="228"/>
                  <a:pt x="430" y="228"/>
                  <a:pt x="430" y="228"/>
                </a:cubicBezTo>
                <a:cubicBezTo>
                  <a:pt x="429" y="228"/>
                  <a:pt x="429" y="228"/>
                  <a:pt x="429" y="228"/>
                </a:cubicBezTo>
                <a:cubicBezTo>
                  <a:pt x="427" y="229"/>
                  <a:pt x="427" y="229"/>
                  <a:pt x="427" y="229"/>
                </a:cubicBezTo>
                <a:cubicBezTo>
                  <a:pt x="426" y="230"/>
                  <a:pt x="426" y="230"/>
                  <a:pt x="426" y="230"/>
                </a:cubicBezTo>
                <a:cubicBezTo>
                  <a:pt x="425" y="230"/>
                  <a:pt x="425" y="230"/>
                  <a:pt x="425" y="230"/>
                </a:cubicBezTo>
                <a:cubicBezTo>
                  <a:pt x="426" y="230"/>
                  <a:pt x="426" y="230"/>
                  <a:pt x="426" y="230"/>
                </a:cubicBezTo>
                <a:cubicBezTo>
                  <a:pt x="426" y="231"/>
                  <a:pt x="426" y="231"/>
                  <a:pt x="426" y="231"/>
                </a:cubicBezTo>
                <a:cubicBezTo>
                  <a:pt x="426" y="231"/>
                  <a:pt x="426" y="231"/>
                  <a:pt x="426" y="231"/>
                </a:cubicBezTo>
                <a:cubicBezTo>
                  <a:pt x="424" y="232"/>
                  <a:pt x="424" y="232"/>
                  <a:pt x="424" y="232"/>
                </a:cubicBezTo>
                <a:cubicBezTo>
                  <a:pt x="424" y="232"/>
                  <a:pt x="424" y="232"/>
                  <a:pt x="424" y="232"/>
                </a:cubicBezTo>
                <a:cubicBezTo>
                  <a:pt x="426" y="232"/>
                  <a:pt x="426" y="232"/>
                  <a:pt x="426" y="232"/>
                </a:cubicBezTo>
                <a:cubicBezTo>
                  <a:pt x="427" y="231"/>
                  <a:pt x="427" y="231"/>
                  <a:pt x="427" y="231"/>
                </a:cubicBezTo>
                <a:cubicBezTo>
                  <a:pt x="429" y="229"/>
                  <a:pt x="429" y="229"/>
                  <a:pt x="429" y="229"/>
                </a:cubicBezTo>
                <a:cubicBezTo>
                  <a:pt x="430" y="229"/>
                  <a:pt x="430" y="229"/>
                  <a:pt x="430" y="229"/>
                </a:cubicBezTo>
                <a:cubicBezTo>
                  <a:pt x="431" y="229"/>
                  <a:pt x="431" y="229"/>
                  <a:pt x="431" y="229"/>
                </a:cubicBezTo>
                <a:cubicBezTo>
                  <a:pt x="432" y="229"/>
                  <a:pt x="432" y="229"/>
                  <a:pt x="432" y="229"/>
                </a:cubicBezTo>
                <a:cubicBezTo>
                  <a:pt x="433" y="229"/>
                  <a:pt x="433" y="229"/>
                  <a:pt x="433" y="229"/>
                </a:cubicBezTo>
                <a:cubicBezTo>
                  <a:pt x="433" y="230"/>
                  <a:pt x="433" y="230"/>
                  <a:pt x="433" y="230"/>
                </a:cubicBezTo>
                <a:cubicBezTo>
                  <a:pt x="433" y="231"/>
                  <a:pt x="433" y="231"/>
                  <a:pt x="433" y="231"/>
                </a:cubicBezTo>
                <a:cubicBezTo>
                  <a:pt x="432" y="231"/>
                  <a:pt x="432" y="231"/>
                  <a:pt x="432" y="231"/>
                </a:cubicBezTo>
                <a:cubicBezTo>
                  <a:pt x="431" y="232"/>
                  <a:pt x="431" y="232"/>
                  <a:pt x="431" y="232"/>
                </a:cubicBezTo>
                <a:cubicBezTo>
                  <a:pt x="430" y="232"/>
                  <a:pt x="430" y="232"/>
                  <a:pt x="430" y="232"/>
                </a:cubicBezTo>
                <a:cubicBezTo>
                  <a:pt x="429" y="232"/>
                  <a:pt x="429" y="232"/>
                  <a:pt x="429" y="232"/>
                </a:cubicBezTo>
                <a:cubicBezTo>
                  <a:pt x="429" y="234"/>
                  <a:pt x="429" y="234"/>
                  <a:pt x="429" y="234"/>
                </a:cubicBezTo>
                <a:cubicBezTo>
                  <a:pt x="428" y="234"/>
                  <a:pt x="428" y="234"/>
                  <a:pt x="428" y="234"/>
                </a:cubicBezTo>
                <a:cubicBezTo>
                  <a:pt x="427" y="233"/>
                  <a:pt x="427" y="233"/>
                  <a:pt x="427" y="233"/>
                </a:cubicBezTo>
                <a:cubicBezTo>
                  <a:pt x="426" y="234"/>
                  <a:pt x="426" y="234"/>
                  <a:pt x="426" y="234"/>
                </a:cubicBezTo>
                <a:cubicBezTo>
                  <a:pt x="425" y="235"/>
                  <a:pt x="425" y="235"/>
                  <a:pt x="425" y="235"/>
                </a:cubicBezTo>
                <a:cubicBezTo>
                  <a:pt x="426" y="235"/>
                  <a:pt x="426" y="235"/>
                  <a:pt x="426" y="235"/>
                </a:cubicBezTo>
                <a:cubicBezTo>
                  <a:pt x="427" y="234"/>
                  <a:pt x="427" y="234"/>
                  <a:pt x="427" y="234"/>
                </a:cubicBezTo>
                <a:cubicBezTo>
                  <a:pt x="428" y="234"/>
                  <a:pt x="428" y="234"/>
                  <a:pt x="428" y="234"/>
                </a:cubicBezTo>
                <a:cubicBezTo>
                  <a:pt x="428" y="235"/>
                  <a:pt x="428" y="235"/>
                  <a:pt x="428" y="235"/>
                </a:cubicBezTo>
                <a:cubicBezTo>
                  <a:pt x="429" y="234"/>
                  <a:pt x="429" y="234"/>
                  <a:pt x="429" y="234"/>
                </a:cubicBezTo>
                <a:cubicBezTo>
                  <a:pt x="430" y="233"/>
                  <a:pt x="430" y="233"/>
                  <a:pt x="430" y="233"/>
                </a:cubicBezTo>
                <a:cubicBezTo>
                  <a:pt x="431" y="232"/>
                  <a:pt x="431" y="232"/>
                  <a:pt x="431" y="232"/>
                </a:cubicBezTo>
                <a:cubicBezTo>
                  <a:pt x="432" y="233"/>
                  <a:pt x="432" y="233"/>
                  <a:pt x="432" y="233"/>
                </a:cubicBezTo>
                <a:cubicBezTo>
                  <a:pt x="433" y="233"/>
                  <a:pt x="433" y="233"/>
                  <a:pt x="433" y="233"/>
                </a:cubicBezTo>
                <a:cubicBezTo>
                  <a:pt x="434" y="232"/>
                  <a:pt x="434" y="232"/>
                  <a:pt x="434" y="232"/>
                </a:cubicBezTo>
                <a:cubicBezTo>
                  <a:pt x="435" y="231"/>
                  <a:pt x="435" y="231"/>
                  <a:pt x="435" y="231"/>
                </a:cubicBezTo>
                <a:cubicBezTo>
                  <a:pt x="436" y="231"/>
                  <a:pt x="436" y="231"/>
                  <a:pt x="436" y="231"/>
                </a:cubicBezTo>
                <a:cubicBezTo>
                  <a:pt x="436" y="230"/>
                  <a:pt x="436" y="230"/>
                  <a:pt x="436" y="230"/>
                </a:cubicBezTo>
                <a:cubicBezTo>
                  <a:pt x="435" y="230"/>
                  <a:pt x="435" y="230"/>
                  <a:pt x="435" y="230"/>
                </a:cubicBezTo>
                <a:cubicBezTo>
                  <a:pt x="436" y="229"/>
                  <a:pt x="436" y="229"/>
                  <a:pt x="436" y="229"/>
                </a:cubicBezTo>
                <a:cubicBezTo>
                  <a:pt x="436" y="228"/>
                  <a:pt x="436" y="228"/>
                  <a:pt x="436" y="228"/>
                </a:cubicBezTo>
                <a:cubicBezTo>
                  <a:pt x="437" y="228"/>
                  <a:pt x="437" y="228"/>
                  <a:pt x="437" y="228"/>
                </a:cubicBezTo>
                <a:cubicBezTo>
                  <a:pt x="437" y="228"/>
                  <a:pt x="437" y="228"/>
                  <a:pt x="437" y="228"/>
                </a:cubicBezTo>
                <a:cubicBezTo>
                  <a:pt x="438" y="228"/>
                  <a:pt x="438" y="228"/>
                  <a:pt x="438" y="228"/>
                </a:cubicBezTo>
                <a:cubicBezTo>
                  <a:pt x="438" y="229"/>
                  <a:pt x="438" y="229"/>
                  <a:pt x="438" y="229"/>
                </a:cubicBezTo>
                <a:cubicBezTo>
                  <a:pt x="439" y="232"/>
                  <a:pt x="439" y="232"/>
                  <a:pt x="439" y="232"/>
                </a:cubicBezTo>
                <a:cubicBezTo>
                  <a:pt x="439" y="233"/>
                  <a:pt x="439" y="233"/>
                  <a:pt x="439" y="233"/>
                </a:cubicBezTo>
                <a:cubicBezTo>
                  <a:pt x="440" y="234"/>
                  <a:pt x="440" y="234"/>
                  <a:pt x="440" y="234"/>
                </a:cubicBezTo>
                <a:cubicBezTo>
                  <a:pt x="440" y="235"/>
                  <a:pt x="440" y="235"/>
                  <a:pt x="440" y="235"/>
                </a:cubicBezTo>
                <a:cubicBezTo>
                  <a:pt x="439" y="236"/>
                  <a:pt x="439" y="236"/>
                  <a:pt x="439" y="236"/>
                </a:cubicBezTo>
                <a:cubicBezTo>
                  <a:pt x="438" y="236"/>
                  <a:pt x="438" y="236"/>
                  <a:pt x="438" y="236"/>
                </a:cubicBezTo>
                <a:cubicBezTo>
                  <a:pt x="437" y="235"/>
                  <a:pt x="437" y="235"/>
                  <a:pt x="437" y="235"/>
                </a:cubicBezTo>
                <a:cubicBezTo>
                  <a:pt x="435" y="235"/>
                  <a:pt x="435" y="235"/>
                  <a:pt x="435" y="235"/>
                </a:cubicBezTo>
                <a:cubicBezTo>
                  <a:pt x="434" y="236"/>
                  <a:pt x="434" y="236"/>
                  <a:pt x="434" y="236"/>
                </a:cubicBezTo>
                <a:cubicBezTo>
                  <a:pt x="434" y="236"/>
                  <a:pt x="434" y="236"/>
                  <a:pt x="434" y="236"/>
                </a:cubicBezTo>
                <a:cubicBezTo>
                  <a:pt x="433" y="236"/>
                  <a:pt x="433" y="236"/>
                  <a:pt x="433" y="236"/>
                </a:cubicBezTo>
                <a:cubicBezTo>
                  <a:pt x="432" y="236"/>
                  <a:pt x="432" y="236"/>
                  <a:pt x="432" y="236"/>
                </a:cubicBezTo>
                <a:cubicBezTo>
                  <a:pt x="431" y="236"/>
                  <a:pt x="431" y="236"/>
                  <a:pt x="431" y="236"/>
                </a:cubicBezTo>
                <a:cubicBezTo>
                  <a:pt x="431" y="237"/>
                  <a:pt x="431" y="237"/>
                  <a:pt x="431" y="237"/>
                </a:cubicBezTo>
                <a:cubicBezTo>
                  <a:pt x="429" y="237"/>
                  <a:pt x="429" y="237"/>
                  <a:pt x="429" y="237"/>
                </a:cubicBezTo>
                <a:cubicBezTo>
                  <a:pt x="430" y="238"/>
                  <a:pt x="430" y="238"/>
                  <a:pt x="430" y="238"/>
                </a:cubicBezTo>
                <a:cubicBezTo>
                  <a:pt x="432" y="237"/>
                  <a:pt x="432" y="237"/>
                  <a:pt x="432" y="237"/>
                </a:cubicBezTo>
                <a:cubicBezTo>
                  <a:pt x="433" y="238"/>
                  <a:pt x="433" y="238"/>
                  <a:pt x="433" y="238"/>
                </a:cubicBezTo>
                <a:cubicBezTo>
                  <a:pt x="435" y="239"/>
                  <a:pt x="435" y="239"/>
                  <a:pt x="435" y="239"/>
                </a:cubicBezTo>
                <a:cubicBezTo>
                  <a:pt x="435" y="240"/>
                  <a:pt x="435" y="240"/>
                  <a:pt x="435" y="240"/>
                </a:cubicBezTo>
                <a:cubicBezTo>
                  <a:pt x="436" y="239"/>
                  <a:pt x="436" y="239"/>
                  <a:pt x="436" y="239"/>
                </a:cubicBezTo>
                <a:cubicBezTo>
                  <a:pt x="437" y="239"/>
                  <a:pt x="437" y="239"/>
                  <a:pt x="437" y="239"/>
                </a:cubicBezTo>
                <a:cubicBezTo>
                  <a:pt x="437" y="240"/>
                  <a:pt x="437" y="240"/>
                  <a:pt x="437" y="240"/>
                </a:cubicBezTo>
                <a:cubicBezTo>
                  <a:pt x="438" y="240"/>
                  <a:pt x="438" y="240"/>
                  <a:pt x="438" y="240"/>
                </a:cubicBezTo>
                <a:cubicBezTo>
                  <a:pt x="440" y="241"/>
                  <a:pt x="440" y="241"/>
                  <a:pt x="440" y="241"/>
                </a:cubicBezTo>
                <a:cubicBezTo>
                  <a:pt x="440" y="242"/>
                  <a:pt x="440" y="242"/>
                  <a:pt x="440" y="242"/>
                </a:cubicBezTo>
                <a:cubicBezTo>
                  <a:pt x="440" y="243"/>
                  <a:pt x="440" y="243"/>
                  <a:pt x="440" y="243"/>
                </a:cubicBezTo>
                <a:cubicBezTo>
                  <a:pt x="440" y="244"/>
                  <a:pt x="440" y="244"/>
                  <a:pt x="440" y="244"/>
                </a:cubicBezTo>
                <a:cubicBezTo>
                  <a:pt x="440" y="244"/>
                  <a:pt x="440" y="244"/>
                  <a:pt x="440" y="244"/>
                </a:cubicBezTo>
                <a:cubicBezTo>
                  <a:pt x="439" y="244"/>
                  <a:pt x="439" y="244"/>
                  <a:pt x="439" y="244"/>
                </a:cubicBezTo>
                <a:cubicBezTo>
                  <a:pt x="438" y="243"/>
                  <a:pt x="438" y="243"/>
                  <a:pt x="438" y="243"/>
                </a:cubicBezTo>
                <a:cubicBezTo>
                  <a:pt x="438" y="243"/>
                  <a:pt x="438" y="243"/>
                  <a:pt x="438" y="243"/>
                </a:cubicBezTo>
                <a:cubicBezTo>
                  <a:pt x="437" y="244"/>
                  <a:pt x="437" y="244"/>
                  <a:pt x="437" y="244"/>
                </a:cubicBezTo>
                <a:cubicBezTo>
                  <a:pt x="437" y="244"/>
                  <a:pt x="437" y="244"/>
                  <a:pt x="437" y="244"/>
                </a:cubicBezTo>
                <a:cubicBezTo>
                  <a:pt x="436" y="243"/>
                  <a:pt x="436" y="243"/>
                  <a:pt x="436" y="243"/>
                </a:cubicBezTo>
                <a:cubicBezTo>
                  <a:pt x="436" y="243"/>
                  <a:pt x="436" y="243"/>
                  <a:pt x="436" y="243"/>
                </a:cubicBezTo>
                <a:cubicBezTo>
                  <a:pt x="435" y="243"/>
                  <a:pt x="435" y="243"/>
                  <a:pt x="435" y="243"/>
                </a:cubicBezTo>
                <a:cubicBezTo>
                  <a:pt x="434" y="242"/>
                  <a:pt x="434" y="242"/>
                  <a:pt x="434" y="242"/>
                </a:cubicBezTo>
                <a:cubicBezTo>
                  <a:pt x="433" y="241"/>
                  <a:pt x="433" y="241"/>
                  <a:pt x="433" y="241"/>
                </a:cubicBezTo>
                <a:cubicBezTo>
                  <a:pt x="432" y="241"/>
                  <a:pt x="432" y="241"/>
                  <a:pt x="432" y="241"/>
                </a:cubicBezTo>
                <a:cubicBezTo>
                  <a:pt x="431" y="242"/>
                  <a:pt x="431" y="242"/>
                  <a:pt x="431" y="242"/>
                </a:cubicBezTo>
                <a:cubicBezTo>
                  <a:pt x="430" y="241"/>
                  <a:pt x="430" y="241"/>
                  <a:pt x="430" y="241"/>
                </a:cubicBezTo>
                <a:cubicBezTo>
                  <a:pt x="431" y="242"/>
                  <a:pt x="431" y="242"/>
                  <a:pt x="431" y="242"/>
                </a:cubicBezTo>
                <a:cubicBezTo>
                  <a:pt x="432" y="242"/>
                  <a:pt x="432" y="242"/>
                  <a:pt x="432" y="242"/>
                </a:cubicBezTo>
                <a:cubicBezTo>
                  <a:pt x="433" y="242"/>
                  <a:pt x="433" y="242"/>
                  <a:pt x="433" y="242"/>
                </a:cubicBezTo>
                <a:cubicBezTo>
                  <a:pt x="432" y="243"/>
                  <a:pt x="432" y="243"/>
                  <a:pt x="432" y="243"/>
                </a:cubicBezTo>
                <a:cubicBezTo>
                  <a:pt x="431" y="243"/>
                  <a:pt x="431" y="243"/>
                  <a:pt x="431" y="243"/>
                </a:cubicBezTo>
                <a:cubicBezTo>
                  <a:pt x="430" y="243"/>
                  <a:pt x="430" y="243"/>
                  <a:pt x="430" y="243"/>
                </a:cubicBezTo>
                <a:cubicBezTo>
                  <a:pt x="429" y="243"/>
                  <a:pt x="429" y="243"/>
                  <a:pt x="429" y="243"/>
                </a:cubicBezTo>
                <a:cubicBezTo>
                  <a:pt x="428" y="244"/>
                  <a:pt x="428" y="244"/>
                  <a:pt x="428" y="244"/>
                </a:cubicBezTo>
                <a:cubicBezTo>
                  <a:pt x="428" y="245"/>
                  <a:pt x="428" y="245"/>
                  <a:pt x="428" y="245"/>
                </a:cubicBezTo>
                <a:cubicBezTo>
                  <a:pt x="429" y="245"/>
                  <a:pt x="429" y="245"/>
                  <a:pt x="429" y="245"/>
                </a:cubicBezTo>
                <a:cubicBezTo>
                  <a:pt x="429" y="244"/>
                  <a:pt x="429" y="244"/>
                  <a:pt x="429" y="244"/>
                </a:cubicBezTo>
                <a:cubicBezTo>
                  <a:pt x="431" y="244"/>
                  <a:pt x="431" y="244"/>
                  <a:pt x="431" y="244"/>
                </a:cubicBezTo>
                <a:cubicBezTo>
                  <a:pt x="432" y="243"/>
                  <a:pt x="432" y="243"/>
                  <a:pt x="432" y="243"/>
                </a:cubicBezTo>
                <a:cubicBezTo>
                  <a:pt x="432" y="243"/>
                  <a:pt x="432" y="243"/>
                  <a:pt x="432" y="243"/>
                </a:cubicBezTo>
                <a:cubicBezTo>
                  <a:pt x="433" y="244"/>
                  <a:pt x="433" y="244"/>
                  <a:pt x="433" y="244"/>
                </a:cubicBezTo>
                <a:cubicBezTo>
                  <a:pt x="433" y="245"/>
                  <a:pt x="433" y="245"/>
                  <a:pt x="433" y="245"/>
                </a:cubicBezTo>
                <a:cubicBezTo>
                  <a:pt x="434" y="245"/>
                  <a:pt x="434" y="245"/>
                  <a:pt x="434" y="245"/>
                </a:cubicBezTo>
                <a:cubicBezTo>
                  <a:pt x="434" y="245"/>
                  <a:pt x="434" y="245"/>
                  <a:pt x="434" y="245"/>
                </a:cubicBezTo>
                <a:cubicBezTo>
                  <a:pt x="434" y="246"/>
                  <a:pt x="434" y="246"/>
                  <a:pt x="434" y="246"/>
                </a:cubicBezTo>
                <a:cubicBezTo>
                  <a:pt x="433" y="246"/>
                  <a:pt x="433" y="246"/>
                  <a:pt x="433" y="246"/>
                </a:cubicBezTo>
                <a:cubicBezTo>
                  <a:pt x="432" y="246"/>
                  <a:pt x="432" y="246"/>
                  <a:pt x="432" y="246"/>
                </a:cubicBezTo>
                <a:cubicBezTo>
                  <a:pt x="431" y="246"/>
                  <a:pt x="431" y="246"/>
                  <a:pt x="431" y="246"/>
                </a:cubicBezTo>
                <a:cubicBezTo>
                  <a:pt x="431" y="245"/>
                  <a:pt x="431" y="245"/>
                  <a:pt x="431" y="245"/>
                </a:cubicBezTo>
                <a:cubicBezTo>
                  <a:pt x="430" y="245"/>
                  <a:pt x="430" y="245"/>
                  <a:pt x="430" y="245"/>
                </a:cubicBezTo>
                <a:cubicBezTo>
                  <a:pt x="430" y="246"/>
                  <a:pt x="430" y="246"/>
                  <a:pt x="430" y="246"/>
                </a:cubicBezTo>
                <a:cubicBezTo>
                  <a:pt x="431" y="246"/>
                  <a:pt x="431" y="246"/>
                  <a:pt x="431" y="246"/>
                </a:cubicBezTo>
                <a:cubicBezTo>
                  <a:pt x="432" y="247"/>
                  <a:pt x="432" y="247"/>
                  <a:pt x="432" y="247"/>
                </a:cubicBezTo>
                <a:cubicBezTo>
                  <a:pt x="432" y="247"/>
                  <a:pt x="432" y="247"/>
                  <a:pt x="432" y="247"/>
                </a:cubicBezTo>
                <a:cubicBezTo>
                  <a:pt x="432" y="248"/>
                  <a:pt x="432" y="248"/>
                  <a:pt x="432" y="248"/>
                </a:cubicBezTo>
                <a:cubicBezTo>
                  <a:pt x="433" y="248"/>
                  <a:pt x="433" y="248"/>
                  <a:pt x="433" y="248"/>
                </a:cubicBezTo>
                <a:cubicBezTo>
                  <a:pt x="432" y="249"/>
                  <a:pt x="432" y="249"/>
                  <a:pt x="432" y="249"/>
                </a:cubicBezTo>
                <a:cubicBezTo>
                  <a:pt x="430" y="248"/>
                  <a:pt x="430" y="248"/>
                  <a:pt x="430" y="248"/>
                </a:cubicBezTo>
                <a:cubicBezTo>
                  <a:pt x="428" y="248"/>
                  <a:pt x="428" y="248"/>
                  <a:pt x="428" y="248"/>
                </a:cubicBezTo>
                <a:cubicBezTo>
                  <a:pt x="426" y="247"/>
                  <a:pt x="426" y="247"/>
                  <a:pt x="426" y="247"/>
                </a:cubicBezTo>
                <a:cubicBezTo>
                  <a:pt x="425" y="247"/>
                  <a:pt x="425" y="247"/>
                  <a:pt x="425" y="247"/>
                </a:cubicBezTo>
                <a:cubicBezTo>
                  <a:pt x="425" y="247"/>
                  <a:pt x="425" y="247"/>
                  <a:pt x="425" y="247"/>
                </a:cubicBezTo>
                <a:cubicBezTo>
                  <a:pt x="427" y="248"/>
                  <a:pt x="427" y="248"/>
                  <a:pt x="427" y="248"/>
                </a:cubicBezTo>
                <a:cubicBezTo>
                  <a:pt x="430" y="249"/>
                  <a:pt x="430" y="249"/>
                  <a:pt x="430" y="249"/>
                </a:cubicBezTo>
                <a:cubicBezTo>
                  <a:pt x="430" y="250"/>
                  <a:pt x="430" y="250"/>
                  <a:pt x="430" y="250"/>
                </a:cubicBezTo>
                <a:cubicBezTo>
                  <a:pt x="430" y="250"/>
                  <a:pt x="430" y="250"/>
                  <a:pt x="430" y="250"/>
                </a:cubicBezTo>
                <a:cubicBezTo>
                  <a:pt x="428" y="249"/>
                  <a:pt x="428" y="249"/>
                  <a:pt x="428" y="249"/>
                </a:cubicBezTo>
                <a:cubicBezTo>
                  <a:pt x="427" y="249"/>
                  <a:pt x="427" y="249"/>
                  <a:pt x="427" y="249"/>
                </a:cubicBezTo>
                <a:cubicBezTo>
                  <a:pt x="426" y="250"/>
                  <a:pt x="426" y="250"/>
                  <a:pt x="426" y="250"/>
                </a:cubicBezTo>
                <a:cubicBezTo>
                  <a:pt x="427" y="250"/>
                  <a:pt x="427" y="250"/>
                  <a:pt x="427" y="250"/>
                </a:cubicBezTo>
                <a:cubicBezTo>
                  <a:pt x="428" y="250"/>
                  <a:pt x="428" y="250"/>
                  <a:pt x="428" y="250"/>
                </a:cubicBezTo>
                <a:cubicBezTo>
                  <a:pt x="428" y="251"/>
                  <a:pt x="428" y="251"/>
                  <a:pt x="428" y="251"/>
                </a:cubicBezTo>
                <a:cubicBezTo>
                  <a:pt x="429" y="251"/>
                  <a:pt x="429" y="251"/>
                  <a:pt x="429" y="251"/>
                </a:cubicBezTo>
                <a:cubicBezTo>
                  <a:pt x="429" y="251"/>
                  <a:pt x="429" y="251"/>
                  <a:pt x="429" y="251"/>
                </a:cubicBezTo>
                <a:cubicBezTo>
                  <a:pt x="429" y="252"/>
                  <a:pt x="429" y="252"/>
                  <a:pt x="429" y="252"/>
                </a:cubicBezTo>
                <a:cubicBezTo>
                  <a:pt x="430" y="253"/>
                  <a:pt x="430" y="253"/>
                  <a:pt x="430" y="253"/>
                </a:cubicBezTo>
                <a:cubicBezTo>
                  <a:pt x="430" y="252"/>
                  <a:pt x="430" y="252"/>
                  <a:pt x="430" y="252"/>
                </a:cubicBezTo>
                <a:cubicBezTo>
                  <a:pt x="430" y="252"/>
                  <a:pt x="430" y="252"/>
                  <a:pt x="430" y="252"/>
                </a:cubicBezTo>
                <a:cubicBezTo>
                  <a:pt x="431" y="252"/>
                  <a:pt x="431" y="252"/>
                  <a:pt x="431" y="252"/>
                </a:cubicBezTo>
                <a:cubicBezTo>
                  <a:pt x="431" y="252"/>
                  <a:pt x="431" y="252"/>
                  <a:pt x="431" y="252"/>
                </a:cubicBezTo>
                <a:cubicBezTo>
                  <a:pt x="431" y="253"/>
                  <a:pt x="431" y="253"/>
                  <a:pt x="431" y="253"/>
                </a:cubicBezTo>
                <a:cubicBezTo>
                  <a:pt x="431" y="253"/>
                  <a:pt x="431" y="253"/>
                  <a:pt x="431" y="253"/>
                </a:cubicBezTo>
                <a:cubicBezTo>
                  <a:pt x="432" y="253"/>
                  <a:pt x="432" y="253"/>
                  <a:pt x="432" y="253"/>
                </a:cubicBezTo>
                <a:cubicBezTo>
                  <a:pt x="432" y="252"/>
                  <a:pt x="432" y="252"/>
                  <a:pt x="432" y="252"/>
                </a:cubicBezTo>
                <a:cubicBezTo>
                  <a:pt x="433" y="252"/>
                  <a:pt x="433" y="252"/>
                  <a:pt x="433" y="252"/>
                </a:cubicBezTo>
                <a:cubicBezTo>
                  <a:pt x="434" y="253"/>
                  <a:pt x="434" y="253"/>
                  <a:pt x="434" y="253"/>
                </a:cubicBezTo>
                <a:cubicBezTo>
                  <a:pt x="435" y="253"/>
                  <a:pt x="435" y="253"/>
                  <a:pt x="435" y="253"/>
                </a:cubicBezTo>
                <a:cubicBezTo>
                  <a:pt x="436" y="253"/>
                  <a:pt x="436" y="253"/>
                  <a:pt x="436" y="253"/>
                </a:cubicBezTo>
                <a:cubicBezTo>
                  <a:pt x="435" y="254"/>
                  <a:pt x="435" y="254"/>
                  <a:pt x="435" y="254"/>
                </a:cubicBezTo>
                <a:cubicBezTo>
                  <a:pt x="435" y="255"/>
                  <a:pt x="435" y="255"/>
                  <a:pt x="435" y="255"/>
                </a:cubicBezTo>
                <a:cubicBezTo>
                  <a:pt x="434" y="254"/>
                  <a:pt x="434" y="254"/>
                  <a:pt x="434" y="254"/>
                </a:cubicBezTo>
                <a:cubicBezTo>
                  <a:pt x="434" y="254"/>
                  <a:pt x="434" y="254"/>
                  <a:pt x="434" y="254"/>
                </a:cubicBezTo>
                <a:cubicBezTo>
                  <a:pt x="432" y="254"/>
                  <a:pt x="432" y="254"/>
                  <a:pt x="432" y="254"/>
                </a:cubicBezTo>
                <a:cubicBezTo>
                  <a:pt x="430" y="255"/>
                  <a:pt x="430" y="255"/>
                  <a:pt x="430" y="255"/>
                </a:cubicBezTo>
                <a:cubicBezTo>
                  <a:pt x="430" y="256"/>
                  <a:pt x="430" y="256"/>
                  <a:pt x="430" y="256"/>
                </a:cubicBezTo>
                <a:cubicBezTo>
                  <a:pt x="431" y="255"/>
                  <a:pt x="431" y="255"/>
                  <a:pt x="431" y="255"/>
                </a:cubicBezTo>
                <a:cubicBezTo>
                  <a:pt x="432" y="255"/>
                  <a:pt x="432" y="255"/>
                  <a:pt x="432" y="255"/>
                </a:cubicBezTo>
                <a:cubicBezTo>
                  <a:pt x="434" y="255"/>
                  <a:pt x="434" y="255"/>
                  <a:pt x="434" y="255"/>
                </a:cubicBezTo>
                <a:cubicBezTo>
                  <a:pt x="433" y="255"/>
                  <a:pt x="433" y="255"/>
                  <a:pt x="433" y="255"/>
                </a:cubicBezTo>
                <a:cubicBezTo>
                  <a:pt x="432" y="256"/>
                  <a:pt x="432" y="256"/>
                  <a:pt x="432" y="256"/>
                </a:cubicBezTo>
                <a:cubicBezTo>
                  <a:pt x="433" y="256"/>
                  <a:pt x="433" y="256"/>
                  <a:pt x="433" y="256"/>
                </a:cubicBezTo>
                <a:cubicBezTo>
                  <a:pt x="435" y="256"/>
                  <a:pt x="435" y="256"/>
                  <a:pt x="435" y="256"/>
                </a:cubicBezTo>
                <a:cubicBezTo>
                  <a:pt x="435" y="256"/>
                  <a:pt x="435" y="256"/>
                  <a:pt x="435" y="256"/>
                </a:cubicBezTo>
                <a:cubicBezTo>
                  <a:pt x="435" y="257"/>
                  <a:pt x="435" y="257"/>
                  <a:pt x="435" y="257"/>
                </a:cubicBezTo>
                <a:cubicBezTo>
                  <a:pt x="436" y="257"/>
                  <a:pt x="436" y="257"/>
                  <a:pt x="436" y="257"/>
                </a:cubicBezTo>
                <a:cubicBezTo>
                  <a:pt x="436" y="258"/>
                  <a:pt x="436" y="258"/>
                  <a:pt x="436" y="258"/>
                </a:cubicBezTo>
                <a:cubicBezTo>
                  <a:pt x="436" y="259"/>
                  <a:pt x="436" y="259"/>
                  <a:pt x="436" y="259"/>
                </a:cubicBezTo>
                <a:cubicBezTo>
                  <a:pt x="435" y="260"/>
                  <a:pt x="435" y="260"/>
                  <a:pt x="435" y="260"/>
                </a:cubicBezTo>
                <a:cubicBezTo>
                  <a:pt x="435" y="261"/>
                  <a:pt x="435" y="261"/>
                  <a:pt x="435" y="261"/>
                </a:cubicBezTo>
                <a:cubicBezTo>
                  <a:pt x="436" y="260"/>
                  <a:pt x="436" y="260"/>
                  <a:pt x="436" y="260"/>
                </a:cubicBezTo>
                <a:cubicBezTo>
                  <a:pt x="436" y="260"/>
                  <a:pt x="436" y="260"/>
                  <a:pt x="436" y="260"/>
                </a:cubicBezTo>
                <a:cubicBezTo>
                  <a:pt x="437" y="259"/>
                  <a:pt x="437" y="259"/>
                  <a:pt x="437" y="259"/>
                </a:cubicBezTo>
                <a:cubicBezTo>
                  <a:pt x="438" y="259"/>
                  <a:pt x="438" y="259"/>
                  <a:pt x="438" y="259"/>
                </a:cubicBezTo>
                <a:cubicBezTo>
                  <a:pt x="438" y="260"/>
                  <a:pt x="438" y="260"/>
                  <a:pt x="438" y="260"/>
                </a:cubicBezTo>
                <a:cubicBezTo>
                  <a:pt x="437" y="260"/>
                  <a:pt x="437" y="260"/>
                  <a:pt x="437" y="260"/>
                </a:cubicBezTo>
                <a:cubicBezTo>
                  <a:pt x="436" y="262"/>
                  <a:pt x="436" y="262"/>
                  <a:pt x="436" y="262"/>
                </a:cubicBezTo>
                <a:cubicBezTo>
                  <a:pt x="436" y="263"/>
                  <a:pt x="436" y="263"/>
                  <a:pt x="436" y="263"/>
                </a:cubicBezTo>
                <a:cubicBezTo>
                  <a:pt x="436" y="264"/>
                  <a:pt x="436" y="264"/>
                  <a:pt x="436" y="264"/>
                </a:cubicBezTo>
                <a:cubicBezTo>
                  <a:pt x="436" y="264"/>
                  <a:pt x="436" y="264"/>
                  <a:pt x="436" y="264"/>
                </a:cubicBezTo>
                <a:cubicBezTo>
                  <a:pt x="437" y="262"/>
                  <a:pt x="437" y="262"/>
                  <a:pt x="437" y="262"/>
                </a:cubicBezTo>
                <a:cubicBezTo>
                  <a:pt x="437" y="262"/>
                  <a:pt x="437" y="262"/>
                  <a:pt x="437" y="262"/>
                </a:cubicBezTo>
                <a:cubicBezTo>
                  <a:pt x="438" y="261"/>
                  <a:pt x="438" y="261"/>
                  <a:pt x="438" y="261"/>
                </a:cubicBezTo>
                <a:cubicBezTo>
                  <a:pt x="439" y="260"/>
                  <a:pt x="439" y="260"/>
                  <a:pt x="439" y="260"/>
                </a:cubicBezTo>
                <a:cubicBezTo>
                  <a:pt x="439" y="260"/>
                  <a:pt x="439" y="260"/>
                  <a:pt x="439" y="260"/>
                </a:cubicBezTo>
                <a:cubicBezTo>
                  <a:pt x="439" y="259"/>
                  <a:pt x="439" y="259"/>
                  <a:pt x="439" y="259"/>
                </a:cubicBezTo>
                <a:cubicBezTo>
                  <a:pt x="440" y="259"/>
                  <a:pt x="440" y="259"/>
                  <a:pt x="440" y="259"/>
                </a:cubicBezTo>
                <a:cubicBezTo>
                  <a:pt x="440" y="259"/>
                  <a:pt x="440" y="259"/>
                  <a:pt x="440" y="259"/>
                </a:cubicBezTo>
                <a:cubicBezTo>
                  <a:pt x="440" y="260"/>
                  <a:pt x="440" y="260"/>
                  <a:pt x="440" y="260"/>
                </a:cubicBezTo>
                <a:cubicBezTo>
                  <a:pt x="439" y="261"/>
                  <a:pt x="439" y="261"/>
                  <a:pt x="439" y="261"/>
                </a:cubicBezTo>
                <a:cubicBezTo>
                  <a:pt x="438" y="262"/>
                  <a:pt x="438" y="262"/>
                  <a:pt x="438" y="262"/>
                </a:cubicBezTo>
                <a:cubicBezTo>
                  <a:pt x="438" y="263"/>
                  <a:pt x="438" y="263"/>
                  <a:pt x="438" y="263"/>
                </a:cubicBezTo>
                <a:cubicBezTo>
                  <a:pt x="439" y="264"/>
                  <a:pt x="439" y="264"/>
                  <a:pt x="439" y="264"/>
                </a:cubicBezTo>
                <a:cubicBezTo>
                  <a:pt x="439" y="264"/>
                  <a:pt x="439" y="264"/>
                  <a:pt x="439" y="264"/>
                </a:cubicBezTo>
                <a:cubicBezTo>
                  <a:pt x="439" y="263"/>
                  <a:pt x="439" y="263"/>
                  <a:pt x="439" y="263"/>
                </a:cubicBezTo>
                <a:cubicBezTo>
                  <a:pt x="439" y="262"/>
                  <a:pt x="439" y="262"/>
                  <a:pt x="439" y="262"/>
                </a:cubicBezTo>
                <a:cubicBezTo>
                  <a:pt x="440" y="261"/>
                  <a:pt x="440" y="261"/>
                  <a:pt x="440" y="261"/>
                </a:cubicBezTo>
                <a:cubicBezTo>
                  <a:pt x="441" y="261"/>
                  <a:pt x="441" y="261"/>
                  <a:pt x="441" y="261"/>
                </a:cubicBezTo>
                <a:cubicBezTo>
                  <a:pt x="442" y="259"/>
                  <a:pt x="442" y="259"/>
                  <a:pt x="442" y="259"/>
                </a:cubicBezTo>
                <a:cubicBezTo>
                  <a:pt x="443" y="259"/>
                  <a:pt x="443" y="259"/>
                  <a:pt x="443" y="259"/>
                </a:cubicBezTo>
                <a:cubicBezTo>
                  <a:pt x="443" y="259"/>
                  <a:pt x="443" y="259"/>
                  <a:pt x="443" y="259"/>
                </a:cubicBezTo>
                <a:cubicBezTo>
                  <a:pt x="443" y="260"/>
                  <a:pt x="443" y="260"/>
                  <a:pt x="443" y="260"/>
                </a:cubicBezTo>
                <a:cubicBezTo>
                  <a:pt x="443" y="261"/>
                  <a:pt x="443" y="261"/>
                  <a:pt x="443" y="261"/>
                </a:cubicBezTo>
                <a:cubicBezTo>
                  <a:pt x="441" y="261"/>
                  <a:pt x="441" y="261"/>
                  <a:pt x="441" y="261"/>
                </a:cubicBezTo>
                <a:cubicBezTo>
                  <a:pt x="441" y="262"/>
                  <a:pt x="441" y="262"/>
                  <a:pt x="441" y="262"/>
                </a:cubicBezTo>
                <a:cubicBezTo>
                  <a:pt x="441" y="263"/>
                  <a:pt x="441" y="263"/>
                  <a:pt x="441" y="263"/>
                </a:cubicBezTo>
                <a:cubicBezTo>
                  <a:pt x="441" y="264"/>
                  <a:pt x="441" y="264"/>
                  <a:pt x="441" y="264"/>
                </a:cubicBezTo>
                <a:cubicBezTo>
                  <a:pt x="441" y="263"/>
                  <a:pt x="441" y="263"/>
                  <a:pt x="441" y="263"/>
                </a:cubicBezTo>
                <a:cubicBezTo>
                  <a:pt x="442" y="264"/>
                  <a:pt x="442" y="264"/>
                  <a:pt x="442" y="264"/>
                </a:cubicBezTo>
                <a:cubicBezTo>
                  <a:pt x="443" y="263"/>
                  <a:pt x="443" y="263"/>
                  <a:pt x="443" y="263"/>
                </a:cubicBezTo>
                <a:cubicBezTo>
                  <a:pt x="444" y="263"/>
                  <a:pt x="444" y="263"/>
                  <a:pt x="444" y="263"/>
                </a:cubicBezTo>
                <a:cubicBezTo>
                  <a:pt x="444" y="263"/>
                  <a:pt x="444" y="263"/>
                  <a:pt x="444" y="263"/>
                </a:cubicBezTo>
                <a:cubicBezTo>
                  <a:pt x="445" y="265"/>
                  <a:pt x="445" y="265"/>
                  <a:pt x="445" y="265"/>
                </a:cubicBezTo>
                <a:cubicBezTo>
                  <a:pt x="445" y="265"/>
                  <a:pt x="445" y="265"/>
                  <a:pt x="445" y="265"/>
                </a:cubicBezTo>
                <a:cubicBezTo>
                  <a:pt x="444" y="266"/>
                  <a:pt x="444" y="266"/>
                  <a:pt x="444" y="266"/>
                </a:cubicBezTo>
                <a:cubicBezTo>
                  <a:pt x="444" y="266"/>
                  <a:pt x="444" y="266"/>
                  <a:pt x="444" y="266"/>
                </a:cubicBezTo>
                <a:cubicBezTo>
                  <a:pt x="444" y="266"/>
                  <a:pt x="444" y="266"/>
                  <a:pt x="444" y="266"/>
                </a:cubicBezTo>
                <a:cubicBezTo>
                  <a:pt x="445" y="267"/>
                  <a:pt x="445" y="267"/>
                  <a:pt x="445" y="267"/>
                </a:cubicBezTo>
                <a:cubicBezTo>
                  <a:pt x="444" y="268"/>
                  <a:pt x="444" y="268"/>
                  <a:pt x="444" y="268"/>
                </a:cubicBezTo>
                <a:cubicBezTo>
                  <a:pt x="443" y="268"/>
                  <a:pt x="443" y="268"/>
                  <a:pt x="443" y="268"/>
                </a:cubicBezTo>
                <a:cubicBezTo>
                  <a:pt x="444" y="268"/>
                  <a:pt x="444" y="268"/>
                  <a:pt x="444" y="268"/>
                </a:cubicBezTo>
                <a:cubicBezTo>
                  <a:pt x="445" y="269"/>
                  <a:pt x="445" y="269"/>
                  <a:pt x="445" y="269"/>
                </a:cubicBezTo>
                <a:cubicBezTo>
                  <a:pt x="443" y="269"/>
                  <a:pt x="443" y="269"/>
                  <a:pt x="443" y="269"/>
                </a:cubicBezTo>
                <a:cubicBezTo>
                  <a:pt x="442" y="269"/>
                  <a:pt x="442" y="269"/>
                  <a:pt x="442" y="269"/>
                </a:cubicBezTo>
                <a:cubicBezTo>
                  <a:pt x="442" y="270"/>
                  <a:pt x="442" y="270"/>
                  <a:pt x="442" y="270"/>
                </a:cubicBezTo>
                <a:cubicBezTo>
                  <a:pt x="443" y="269"/>
                  <a:pt x="443" y="269"/>
                  <a:pt x="443" y="269"/>
                </a:cubicBezTo>
                <a:cubicBezTo>
                  <a:pt x="445" y="270"/>
                  <a:pt x="445" y="270"/>
                  <a:pt x="445" y="270"/>
                </a:cubicBezTo>
                <a:cubicBezTo>
                  <a:pt x="445" y="269"/>
                  <a:pt x="445" y="269"/>
                  <a:pt x="445" y="269"/>
                </a:cubicBezTo>
                <a:cubicBezTo>
                  <a:pt x="447" y="269"/>
                  <a:pt x="447" y="269"/>
                  <a:pt x="447" y="269"/>
                </a:cubicBezTo>
                <a:cubicBezTo>
                  <a:pt x="447" y="269"/>
                  <a:pt x="447" y="269"/>
                  <a:pt x="447" y="269"/>
                </a:cubicBezTo>
                <a:cubicBezTo>
                  <a:pt x="446" y="270"/>
                  <a:pt x="446" y="270"/>
                  <a:pt x="446" y="270"/>
                </a:cubicBezTo>
                <a:cubicBezTo>
                  <a:pt x="445" y="272"/>
                  <a:pt x="445" y="272"/>
                  <a:pt x="445" y="272"/>
                </a:cubicBezTo>
                <a:cubicBezTo>
                  <a:pt x="447" y="271"/>
                  <a:pt x="447" y="271"/>
                  <a:pt x="447" y="271"/>
                </a:cubicBezTo>
                <a:cubicBezTo>
                  <a:pt x="447" y="270"/>
                  <a:pt x="447" y="270"/>
                  <a:pt x="447" y="270"/>
                </a:cubicBezTo>
                <a:cubicBezTo>
                  <a:pt x="448" y="269"/>
                  <a:pt x="448" y="269"/>
                  <a:pt x="448" y="269"/>
                </a:cubicBezTo>
                <a:cubicBezTo>
                  <a:pt x="449" y="269"/>
                  <a:pt x="449" y="269"/>
                  <a:pt x="449" y="269"/>
                </a:cubicBezTo>
                <a:cubicBezTo>
                  <a:pt x="450" y="269"/>
                  <a:pt x="450" y="269"/>
                  <a:pt x="450" y="269"/>
                </a:cubicBezTo>
                <a:cubicBezTo>
                  <a:pt x="450" y="269"/>
                  <a:pt x="450" y="269"/>
                  <a:pt x="450" y="269"/>
                </a:cubicBezTo>
                <a:cubicBezTo>
                  <a:pt x="449" y="270"/>
                  <a:pt x="449" y="270"/>
                  <a:pt x="449" y="270"/>
                </a:cubicBezTo>
                <a:cubicBezTo>
                  <a:pt x="449" y="270"/>
                  <a:pt x="449" y="270"/>
                  <a:pt x="449" y="270"/>
                </a:cubicBezTo>
                <a:cubicBezTo>
                  <a:pt x="448" y="271"/>
                  <a:pt x="448" y="271"/>
                  <a:pt x="448" y="271"/>
                </a:cubicBezTo>
                <a:cubicBezTo>
                  <a:pt x="448" y="272"/>
                  <a:pt x="448" y="272"/>
                  <a:pt x="448" y="272"/>
                </a:cubicBezTo>
                <a:cubicBezTo>
                  <a:pt x="446" y="273"/>
                  <a:pt x="446" y="273"/>
                  <a:pt x="446" y="273"/>
                </a:cubicBezTo>
                <a:cubicBezTo>
                  <a:pt x="446" y="274"/>
                  <a:pt x="446" y="274"/>
                  <a:pt x="446" y="274"/>
                </a:cubicBezTo>
                <a:cubicBezTo>
                  <a:pt x="446" y="275"/>
                  <a:pt x="446" y="275"/>
                  <a:pt x="446" y="275"/>
                </a:cubicBezTo>
                <a:cubicBezTo>
                  <a:pt x="447" y="275"/>
                  <a:pt x="447" y="275"/>
                  <a:pt x="447" y="275"/>
                </a:cubicBezTo>
                <a:cubicBezTo>
                  <a:pt x="447" y="274"/>
                  <a:pt x="447" y="274"/>
                  <a:pt x="447" y="274"/>
                </a:cubicBezTo>
                <a:cubicBezTo>
                  <a:pt x="447" y="273"/>
                  <a:pt x="447" y="273"/>
                  <a:pt x="447" y="273"/>
                </a:cubicBezTo>
                <a:cubicBezTo>
                  <a:pt x="449" y="272"/>
                  <a:pt x="449" y="272"/>
                  <a:pt x="449" y="272"/>
                </a:cubicBezTo>
                <a:cubicBezTo>
                  <a:pt x="450" y="272"/>
                  <a:pt x="450" y="272"/>
                  <a:pt x="450" y="272"/>
                </a:cubicBezTo>
                <a:cubicBezTo>
                  <a:pt x="450" y="272"/>
                  <a:pt x="450" y="272"/>
                  <a:pt x="450" y="272"/>
                </a:cubicBezTo>
                <a:cubicBezTo>
                  <a:pt x="449" y="274"/>
                  <a:pt x="449" y="274"/>
                  <a:pt x="449" y="274"/>
                </a:cubicBezTo>
                <a:cubicBezTo>
                  <a:pt x="449" y="275"/>
                  <a:pt x="449" y="275"/>
                  <a:pt x="449" y="275"/>
                </a:cubicBezTo>
                <a:cubicBezTo>
                  <a:pt x="448" y="276"/>
                  <a:pt x="448" y="276"/>
                  <a:pt x="448" y="276"/>
                </a:cubicBezTo>
                <a:cubicBezTo>
                  <a:pt x="449" y="275"/>
                  <a:pt x="449" y="275"/>
                  <a:pt x="449" y="275"/>
                </a:cubicBezTo>
                <a:cubicBezTo>
                  <a:pt x="450" y="274"/>
                  <a:pt x="450" y="274"/>
                  <a:pt x="450" y="274"/>
                </a:cubicBezTo>
                <a:cubicBezTo>
                  <a:pt x="450" y="273"/>
                  <a:pt x="450" y="273"/>
                  <a:pt x="450" y="273"/>
                </a:cubicBezTo>
                <a:cubicBezTo>
                  <a:pt x="450" y="273"/>
                  <a:pt x="450" y="273"/>
                  <a:pt x="450" y="273"/>
                </a:cubicBezTo>
                <a:cubicBezTo>
                  <a:pt x="451" y="273"/>
                  <a:pt x="451" y="273"/>
                  <a:pt x="451" y="273"/>
                </a:cubicBezTo>
                <a:cubicBezTo>
                  <a:pt x="451" y="275"/>
                  <a:pt x="451" y="275"/>
                  <a:pt x="451" y="275"/>
                </a:cubicBezTo>
                <a:cubicBezTo>
                  <a:pt x="452" y="275"/>
                  <a:pt x="452" y="275"/>
                  <a:pt x="452" y="275"/>
                </a:cubicBezTo>
                <a:cubicBezTo>
                  <a:pt x="452" y="275"/>
                  <a:pt x="452" y="275"/>
                  <a:pt x="452" y="275"/>
                </a:cubicBezTo>
                <a:cubicBezTo>
                  <a:pt x="452" y="274"/>
                  <a:pt x="452" y="274"/>
                  <a:pt x="452" y="274"/>
                </a:cubicBezTo>
                <a:cubicBezTo>
                  <a:pt x="452" y="273"/>
                  <a:pt x="452" y="273"/>
                  <a:pt x="452" y="273"/>
                </a:cubicBezTo>
                <a:cubicBezTo>
                  <a:pt x="454" y="273"/>
                  <a:pt x="454" y="273"/>
                  <a:pt x="454" y="273"/>
                </a:cubicBezTo>
                <a:cubicBezTo>
                  <a:pt x="454" y="273"/>
                  <a:pt x="454" y="273"/>
                  <a:pt x="454" y="273"/>
                </a:cubicBezTo>
                <a:cubicBezTo>
                  <a:pt x="454" y="274"/>
                  <a:pt x="454" y="274"/>
                  <a:pt x="454" y="274"/>
                </a:cubicBezTo>
                <a:cubicBezTo>
                  <a:pt x="454" y="274"/>
                  <a:pt x="454" y="274"/>
                  <a:pt x="454" y="274"/>
                </a:cubicBezTo>
                <a:cubicBezTo>
                  <a:pt x="455" y="274"/>
                  <a:pt x="455" y="274"/>
                  <a:pt x="455" y="274"/>
                </a:cubicBezTo>
                <a:cubicBezTo>
                  <a:pt x="455" y="274"/>
                  <a:pt x="455" y="274"/>
                  <a:pt x="455" y="274"/>
                </a:cubicBezTo>
                <a:cubicBezTo>
                  <a:pt x="455" y="276"/>
                  <a:pt x="455" y="276"/>
                  <a:pt x="455" y="276"/>
                </a:cubicBezTo>
                <a:cubicBezTo>
                  <a:pt x="456" y="276"/>
                  <a:pt x="456" y="276"/>
                  <a:pt x="456" y="276"/>
                </a:cubicBezTo>
                <a:cubicBezTo>
                  <a:pt x="456" y="276"/>
                  <a:pt x="456" y="276"/>
                  <a:pt x="456" y="276"/>
                </a:cubicBezTo>
                <a:cubicBezTo>
                  <a:pt x="457" y="277"/>
                  <a:pt x="457" y="277"/>
                  <a:pt x="457" y="277"/>
                </a:cubicBezTo>
                <a:cubicBezTo>
                  <a:pt x="457" y="278"/>
                  <a:pt x="457" y="278"/>
                  <a:pt x="457" y="278"/>
                </a:cubicBezTo>
                <a:cubicBezTo>
                  <a:pt x="457" y="278"/>
                  <a:pt x="457" y="278"/>
                  <a:pt x="457" y="278"/>
                </a:cubicBezTo>
                <a:cubicBezTo>
                  <a:pt x="457" y="279"/>
                  <a:pt x="457" y="279"/>
                  <a:pt x="457" y="279"/>
                </a:cubicBezTo>
                <a:cubicBezTo>
                  <a:pt x="457" y="279"/>
                  <a:pt x="457" y="279"/>
                  <a:pt x="457" y="279"/>
                </a:cubicBezTo>
                <a:cubicBezTo>
                  <a:pt x="455" y="279"/>
                  <a:pt x="455" y="279"/>
                  <a:pt x="455" y="279"/>
                </a:cubicBezTo>
                <a:cubicBezTo>
                  <a:pt x="455" y="278"/>
                  <a:pt x="455" y="278"/>
                  <a:pt x="455" y="278"/>
                </a:cubicBezTo>
                <a:cubicBezTo>
                  <a:pt x="455" y="278"/>
                  <a:pt x="455" y="278"/>
                  <a:pt x="455" y="278"/>
                </a:cubicBezTo>
                <a:cubicBezTo>
                  <a:pt x="454" y="277"/>
                  <a:pt x="454" y="277"/>
                  <a:pt x="454" y="277"/>
                </a:cubicBezTo>
                <a:cubicBezTo>
                  <a:pt x="454" y="277"/>
                  <a:pt x="454" y="277"/>
                  <a:pt x="454" y="277"/>
                </a:cubicBezTo>
                <a:cubicBezTo>
                  <a:pt x="453" y="277"/>
                  <a:pt x="453" y="277"/>
                  <a:pt x="453" y="277"/>
                </a:cubicBezTo>
                <a:cubicBezTo>
                  <a:pt x="453" y="278"/>
                  <a:pt x="453" y="278"/>
                  <a:pt x="453" y="278"/>
                </a:cubicBezTo>
                <a:cubicBezTo>
                  <a:pt x="453" y="278"/>
                  <a:pt x="453" y="278"/>
                  <a:pt x="453" y="278"/>
                </a:cubicBezTo>
                <a:cubicBezTo>
                  <a:pt x="454" y="278"/>
                  <a:pt x="454" y="278"/>
                  <a:pt x="454" y="278"/>
                </a:cubicBezTo>
                <a:cubicBezTo>
                  <a:pt x="454" y="279"/>
                  <a:pt x="454" y="279"/>
                  <a:pt x="454" y="279"/>
                </a:cubicBezTo>
                <a:cubicBezTo>
                  <a:pt x="454" y="279"/>
                  <a:pt x="454" y="279"/>
                  <a:pt x="454" y="279"/>
                </a:cubicBezTo>
                <a:cubicBezTo>
                  <a:pt x="455" y="279"/>
                  <a:pt x="455" y="279"/>
                  <a:pt x="455" y="279"/>
                </a:cubicBezTo>
                <a:cubicBezTo>
                  <a:pt x="455" y="280"/>
                  <a:pt x="455" y="280"/>
                  <a:pt x="455" y="280"/>
                </a:cubicBezTo>
                <a:cubicBezTo>
                  <a:pt x="454" y="280"/>
                  <a:pt x="454" y="280"/>
                  <a:pt x="454" y="280"/>
                </a:cubicBezTo>
                <a:cubicBezTo>
                  <a:pt x="453" y="280"/>
                  <a:pt x="453" y="280"/>
                  <a:pt x="453" y="280"/>
                </a:cubicBezTo>
                <a:cubicBezTo>
                  <a:pt x="453" y="280"/>
                  <a:pt x="453" y="280"/>
                  <a:pt x="453" y="280"/>
                </a:cubicBezTo>
                <a:cubicBezTo>
                  <a:pt x="453" y="281"/>
                  <a:pt x="453" y="281"/>
                  <a:pt x="453" y="281"/>
                </a:cubicBezTo>
                <a:cubicBezTo>
                  <a:pt x="455" y="281"/>
                  <a:pt x="455" y="281"/>
                  <a:pt x="455" y="281"/>
                </a:cubicBezTo>
                <a:cubicBezTo>
                  <a:pt x="455" y="281"/>
                  <a:pt x="455" y="281"/>
                  <a:pt x="455" y="281"/>
                </a:cubicBezTo>
                <a:cubicBezTo>
                  <a:pt x="455" y="281"/>
                  <a:pt x="455" y="281"/>
                  <a:pt x="455" y="281"/>
                </a:cubicBezTo>
                <a:cubicBezTo>
                  <a:pt x="455" y="282"/>
                  <a:pt x="455" y="282"/>
                  <a:pt x="455" y="282"/>
                </a:cubicBezTo>
                <a:cubicBezTo>
                  <a:pt x="454" y="282"/>
                  <a:pt x="454" y="282"/>
                  <a:pt x="454" y="282"/>
                </a:cubicBezTo>
                <a:cubicBezTo>
                  <a:pt x="453" y="282"/>
                  <a:pt x="453" y="282"/>
                  <a:pt x="453" y="282"/>
                </a:cubicBezTo>
                <a:cubicBezTo>
                  <a:pt x="452" y="282"/>
                  <a:pt x="452" y="282"/>
                  <a:pt x="452" y="282"/>
                </a:cubicBezTo>
                <a:cubicBezTo>
                  <a:pt x="451" y="282"/>
                  <a:pt x="451" y="282"/>
                  <a:pt x="451" y="282"/>
                </a:cubicBezTo>
                <a:cubicBezTo>
                  <a:pt x="451" y="281"/>
                  <a:pt x="451" y="281"/>
                  <a:pt x="451" y="281"/>
                </a:cubicBezTo>
                <a:cubicBezTo>
                  <a:pt x="451" y="280"/>
                  <a:pt x="451" y="280"/>
                  <a:pt x="451" y="280"/>
                </a:cubicBezTo>
                <a:cubicBezTo>
                  <a:pt x="450" y="280"/>
                  <a:pt x="450" y="280"/>
                  <a:pt x="450" y="280"/>
                </a:cubicBezTo>
                <a:cubicBezTo>
                  <a:pt x="450" y="279"/>
                  <a:pt x="450" y="279"/>
                  <a:pt x="450" y="279"/>
                </a:cubicBezTo>
                <a:cubicBezTo>
                  <a:pt x="449" y="279"/>
                  <a:pt x="449" y="279"/>
                  <a:pt x="449" y="279"/>
                </a:cubicBezTo>
                <a:cubicBezTo>
                  <a:pt x="449" y="280"/>
                  <a:pt x="449" y="280"/>
                  <a:pt x="449" y="280"/>
                </a:cubicBezTo>
                <a:cubicBezTo>
                  <a:pt x="450" y="281"/>
                  <a:pt x="450" y="281"/>
                  <a:pt x="450" y="281"/>
                </a:cubicBezTo>
                <a:cubicBezTo>
                  <a:pt x="450" y="281"/>
                  <a:pt x="450" y="281"/>
                  <a:pt x="450" y="281"/>
                </a:cubicBezTo>
                <a:cubicBezTo>
                  <a:pt x="450" y="282"/>
                  <a:pt x="450" y="282"/>
                  <a:pt x="450" y="282"/>
                </a:cubicBezTo>
                <a:cubicBezTo>
                  <a:pt x="449" y="282"/>
                  <a:pt x="449" y="282"/>
                  <a:pt x="449" y="282"/>
                </a:cubicBezTo>
                <a:cubicBezTo>
                  <a:pt x="448" y="281"/>
                  <a:pt x="448" y="281"/>
                  <a:pt x="448" y="281"/>
                </a:cubicBezTo>
                <a:cubicBezTo>
                  <a:pt x="448" y="281"/>
                  <a:pt x="448" y="281"/>
                  <a:pt x="448" y="281"/>
                </a:cubicBezTo>
                <a:cubicBezTo>
                  <a:pt x="448" y="282"/>
                  <a:pt x="448" y="282"/>
                  <a:pt x="448" y="282"/>
                </a:cubicBezTo>
                <a:cubicBezTo>
                  <a:pt x="449" y="283"/>
                  <a:pt x="449" y="283"/>
                  <a:pt x="449" y="283"/>
                </a:cubicBezTo>
                <a:cubicBezTo>
                  <a:pt x="450" y="283"/>
                  <a:pt x="450" y="283"/>
                  <a:pt x="450" y="283"/>
                </a:cubicBezTo>
                <a:cubicBezTo>
                  <a:pt x="450" y="283"/>
                  <a:pt x="450" y="283"/>
                  <a:pt x="450" y="283"/>
                </a:cubicBezTo>
                <a:cubicBezTo>
                  <a:pt x="451" y="283"/>
                  <a:pt x="451" y="283"/>
                  <a:pt x="451" y="283"/>
                </a:cubicBezTo>
                <a:cubicBezTo>
                  <a:pt x="451" y="284"/>
                  <a:pt x="451" y="284"/>
                  <a:pt x="451" y="284"/>
                </a:cubicBezTo>
                <a:cubicBezTo>
                  <a:pt x="451" y="285"/>
                  <a:pt x="451" y="285"/>
                  <a:pt x="451" y="285"/>
                </a:cubicBezTo>
                <a:cubicBezTo>
                  <a:pt x="449" y="285"/>
                  <a:pt x="449" y="285"/>
                  <a:pt x="449" y="285"/>
                </a:cubicBezTo>
                <a:cubicBezTo>
                  <a:pt x="449" y="284"/>
                  <a:pt x="449" y="284"/>
                  <a:pt x="449" y="284"/>
                </a:cubicBezTo>
                <a:cubicBezTo>
                  <a:pt x="448" y="283"/>
                  <a:pt x="448" y="283"/>
                  <a:pt x="448" y="283"/>
                </a:cubicBezTo>
                <a:cubicBezTo>
                  <a:pt x="447" y="283"/>
                  <a:pt x="447" y="283"/>
                  <a:pt x="447" y="283"/>
                </a:cubicBezTo>
                <a:cubicBezTo>
                  <a:pt x="447" y="283"/>
                  <a:pt x="447" y="283"/>
                  <a:pt x="447" y="283"/>
                </a:cubicBezTo>
                <a:cubicBezTo>
                  <a:pt x="447" y="283"/>
                  <a:pt x="447" y="283"/>
                  <a:pt x="447" y="283"/>
                </a:cubicBezTo>
                <a:cubicBezTo>
                  <a:pt x="448" y="284"/>
                  <a:pt x="448" y="284"/>
                  <a:pt x="448" y="284"/>
                </a:cubicBezTo>
                <a:cubicBezTo>
                  <a:pt x="449" y="285"/>
                  <a:pt x="449" y="285"/>
                  <a:pt x="449" y="285"/>
                </a:cubicBezTo>
                <a:cubicBezTo>
                  <a:pt x="449" y="287"/>
                  <a:pt x="449" y="287"/>
                  <a:pt x="449" y="287"/>
                </a:cubicBezTo>
                <a:cubicBezTo>
                  <a:pt x="448" y="287"/>
                  <a:pt x="448" y="287"/>
                  <a:pt x="448" y="287"/>
                </a:cubicBezTo>
                <a:cubicBezTo>
                  <a:pt x="448" y="287"/>
                  <a:pt x="448" y="287"/>
                  <a:pt x="448" y="287"/>
                </a:cubicBezTo>
                <a:cubicBezTo>
                  <a:pt x="447" y="286"/>
                  <a:pt x="447" y="286"/>
                  <a:pt x="447" y="286"/>
                </a:cubicBezTo>
                <a:cubicBezTo>
                  <a:pt x="447" y="286"/>
                  <a:pt x="447" y="286"/>
                  <a:pt x="447" y="286"/>
                </a:cubicBezTo>
                <a:cubicBezTo>
                  <a:pt x="446" y="286"/>
                  <a:pt x="446" y="286"/>
                  <a:pt x="446" y="286"/>
                </a:cubicBezTo>
                <a:cubicBezTo>
                  <a:pt x="446" y="286"/>
                  <a:pt x="446" y="286"/>
                  <a:pt x="446" y="286"/>
                </a:cubicBezTo>
                <a:cubicBezTo>
                  <a:pt x="446" y="286"/>
                  <a:pt x="446" y="286"/>
                  <a:pt x="446" y="286"/>
                </a:cubicBezTo>
                <a:cubicBezTo>
                  <a:pt x="446" y="287"/>
                  <a:pt x="446" y="287"/>
                  <a:pt x="446" y="287"/>
                </a:cubicBezTo>
                <a:cubicBezTo>
                  <a:pt x="446" y="289"/>
                  <a:pt x="446" y="289"/>
                  <a:pt x="446" y="289"/>
                </a:cubicBezTo>
                <a:cubicBezTo>
                  <a:pt x="446" y="289"/>
                  <a:pt x="446" y="289"/>
                  <a:pt x="446" y="289"/>
                </a:cubicBezTo>
                <a:cubicBezTo>
                  <a:pt x="445" y="289"/>
                  <a:pt x="445" y="289"/>
                  <a:pt x="445" y="289"/>
                </a:cubicBezTo>
                <a:cubicBezTo>
                  <a:pt x="445" y="289"/>
                  <a:pt x="445" y="289"/>
                  <a:pt x="445" y="289"/>
                </a:cubicBezTo>
                <a:cubicBezTo>
                  <a:pt x="445" y="288"/>
                  <a:pt x="445" y="288"/>
                  <a:pt x="445" y="288"/>
                </a:cubicBezTo>
                <a:cubicBezTo>
                  <a:pt x="445" y="288"/>
                  <a:pt x="445" y="288"/>
                  <a:pt x="445" y="288"/>
                </a:cubicBezTo>
                <a:cubicBezTo>
                  <a:pt x="444" y="288"/>
                  <a:pt x="444" y="288"/>
                  <a:pt x="444" y="288"/>
                </a:cubicBezTo>
                <a:cubicBezTo>
                  <a:pt x="444" y="289"/>
                  <a:pt x="444" y="289"/>
                  <a:pt x="444" y="289"/>
                </a:cubicBezTo>
                <a:cubicBezTo>
                  <a:pt x="443" y="288"/>
                  <a:pt x="443" y="288"/>
                  <a:pt x="443" y="288"/>
                </a:cubicBezTo>
                <a:cubicBezTo>
                  <a:pt x="443" y="288"/>
                  <a:pt x="443" y="288"/>
                  <a:pt x="443" y="288"/>
                </a:cubicBezTo>
                <a:cubicBezTo>
                  <a:pt x="443" y="287"/>
                  <a:pt x="443" y="287"/>
                  <a:pt x="443" y="287"/>
                </a:cubicBezTo>
                <a:cubicBezTo>
                  <a:pt x="443" y="286"/>
                  <a:pt x="443" y="286"/>
                  <a:pt x="443" y="286"/>
                </a:cubicBezTo>
                <a:cubicBezTo>
                  <a:pt x="443" y="285"/>
                  <a:pt x="443" y="285"/>
                  <a:pt x="443" y="285"/>
                </a:cubicBezTo>
                <a:cubicBezTo>
                  <a:pt x="442" y="286"/>
                  <a:pt x="442" y="286"/>
                  <a:pt x="442" y="286"/>
                </a:cubicBezTo>
                <a:cubicBezTo>
                  <a:pt x="442" y="288"/>
                  <a:pt x="442" y="288"/>
                  <a:pt x="442" y="288"/>
                </a:cubicBezTo>
                <a:cubicBezTo>
                  <a:pt x="442" y="288"/>
                  <a:pt x="442" y="288"/>
                  <a:pt x="442" y="288"/>
                </a:cubicBezTo>
                <a:cubicBezTo>
                  <a:pt x="441" y="288"/>
                  <a:pt x="441" y="288"/>
                  <a:pt x="441" y="288"/>
                </a:cubicBezTo>
                <a:cubicBezTo>
                  <a:pt x="441" y="288"/>
                  <a:pt x="441" y="288"/>
                  <a:pt x="441" y="288"/>
                </a:cubicBezTo>
                <a:cubicBezTo>
                  <a:pt x="442" y="289"/>
                  <a:pt x="442" y="289"/>
                  <a:pt x="442" y="289"/>
                </a:cubicBezTo>
                <a:cubicBezTo>
                  <a:pt x="442" y="289"/>
                  <a:pt x="442" y="289"/>
                  <a:pt x="442" y="289"/>
                </a:cubicBezTo>
                <a:cubicBezTo>
                  <a:pt x="442" y="290"/>
                  <a:pt x="442" y="290"/>
                  <a:pt x="442" y="290"/>
                </a:cubicBezTo>
                <a:cubicBezTo>
                  <a:pt x="441" y="290"/>
                  <a:pt x="441" y="290"/>
                  <a:pt x="441" y="290"/>
                </a:cubicBezTo>
                <a:cubicBezTo>
                  <a:pt x="441" y="289"/>
                  <a:pt x="441" y="289"/>
                  <a:pt x="441" y="289"/>
                </a:cubicBezTo>
                <a:cubicBezTo>
                  <a:pt x="440" y="290"/>
                  <a:pt x="440" y="290"/>
                  <a:pt x="440" y="290"/>
                </a:cubicBezTo>
                <a:cubicBezTo>
                  <a:pt x="441" y="290"/>
                  <a:pt x="441" y="290"/>
                  <a:pt x="441" y="290"/>
                </a:cubicBezTo>
                <a:cubicBezTo>
                  <a:pt x="442" y="290"/>
                  <a:pt x="442" y="290"/>
                  <a:pt x="442" y="290"/>
                </a:cubicBezTo>
                <a:cubicBezTo>
                  <a:pt x="442" y="291"/>
                  <a:pt x="442" y="291"/>
                  <a:pt x="442" y="291"/>
                </a:cubicBezTo>
                <a:cubicBezTo>
                  <a:pt x="442" y="292"/>
                  <a:pt x="442" y="292"/>
                  <a:pt x="442" y="292"/>
                </a:cubicBezTo>
                <a:cubicBezTo>
                  <a:pt x="441" y="292"/>
                  <a:pt x="441" y="292"/>
                  <a:pt x="441" y="292"/>
                </a:cubicBezTo>
                <a:cubicBezTo>
                  <a:pt x="441" y="292"/>
                  <a:pt x="441" y="292"/>
                  <a:pt x="441" y="292"/>
                </a:cubicBezTo>
                <a:cubicBezTo>
                  <a:pt x="441" y="293"/>
                  <a:pt x="441" y="293"/>
                  <a:pt x="441" y="293"/>
                </a:cubicBezTo>
                <a:cubicBezTo>
                  <a:pt x="441" y="294"/>
                  <a:pt x="441" y="294"/>
                  <a:pt x="441" y="294"/>
                </a:cubicBezTo>
                <a:cubicBezTo>
                  <a:pt x="441" y="294"/>
                  <a:pt x="441" y="294"/>
                  <a:pt x="441" y="294"/>
                </a:cubicBezTo>
                <a:cubicBezTo>
                  <a:pt x="441" y="293"/>
                  <a:pt x="441" y="293"/>
                  <a:pt x="441" y="293"/>
                </a:cubicBezTo>
                <a:cubicBezTo>
                  <a:pt x="440" y="294"/>
                  <a:pt x="440" y="294"/>
                  <a:pt x="440" y="294"/>
                </a:cubicBezTo>
                <a:cubicBezTo>
                  <a:pt x="441" y="294"/>
                  <a:pt x="441" y="294"/>
                  <a:pt x="441" y="294"/>
                </a:cubicBezTo>
                <a:cubicBezTo>
                  <a:pt x="441" y="295"/>
                  <a:pt x="441" y="295"/>
                  <a:pt x="441" y="295"/>
                </a:cubicBezTo>
                <a:cubicBezTo>
                  <a:pt x="441" y="296"/>
                  <a:pt x="441" y="296"/>
                  <a:pt x="441" y="296"/>
                </a:cubicBezTo>
                <a:cubicBezTo>
                  <a:pt x="440" y="296"/>
                  <a:pt x="440" y="296"/>
                  <a:pt x="440" y="296"/>
                </a:cubicBezTo>
                <a:cubicBezTo>
                  <a:pt x="440" y="297"/>
                  <a:pt x="440" y="297"/>
                  <a:pt x="440" y="297"/>
                </a:cubicBezTo>
                <a:cubicBezTo>
                  <a:pt x="439" y="297"/>
                  <a:pt x="439" y="297"/>
                  <a:pt x="439" y="297"/>
                </a:cubicBezTo>
                <a:cubicBezTo>
                  <a:pt x="439" y="296"/>
                  <a:pt x="439" y="296"/>
                  <a:pt x="439" y="296"/>
                </a:cubicBezTo>
                <a:cubicBezTo>
                  <a:pt x="439" y="296"/>
                  <a:pt x="439" y="296"/>
                  <a:pt x="439" y="296"/>
                </a:cubicBezTo>
                <a:cubicBezTo>
                  <a:pt x="439" y="295"/>
                  <a:pt x="439" y="295"/>
                  <a:pt x="439" y="295"/>
                </a:cubicBezTo>
                <a:cubicBezTo>
                  <a:pt x="438" y="295"/>
                  <a:pt x="438" y="295"/>
                  <a:pt x="438" y="295"/>
                </a:cubicBezTo>
                <a:cubicBezTo>
                  <a:pt x="438" y="295"/>
                  <a:pt x="438" y="295"/>
                  <a:pt x="438" y="295"/>
                </a:cubicBezTo>
                <a:cubicBezTo>
                  <a:pt x="438" y="294"/>
                  <a:pt x="438" y="294"/>
                  <a:pt x="438" y="294"/>
                </a:cubicBezTo>
                <a:cubicBezTo>
                  <a:pt x="438" y="294"/>
                  <a:pt x="438" y="294"/>
                  <a:pt x="438" y="294"/>
                </a:cubicBezTo>
                <a:cubicBezTo>
                  <a:pt x="438" y="294"/>
                  <a:pt x="438" y="294"/>
                  <a:pt x="438" y="294"/>
                </a:cubicBezTo>
                <a:cubicBezTo>
                  <a:pt x="437" y="294"/>
                  <a:pt x="437" y="294"/>
                  <a:pt x="437" y="294"/>
                </a:cubicBezTo>
                <a:cubicBezTo>
                  <a:pt x="437" y="295"/>
                  <a:pt x="437" y="295"/>
                  <a:pt x="437" y="295"/>
                </a:cubicBezTo>
                <a:cubicBezTo>
                  <a:pt x="436" y="295"/>
                  <a:pt x="436" y="295"/>
                  <a:pt x="436" y="295"/>
                </a:cubicBezTo>
                <a:cubicBezTo>
                  <a:pt x="436" y="294"/>
                  <a:pt x="436" y="294"/>
                  <a:pt x="436" y="294"/>
                </a:cubicBezTo>
                <a:cubicBezTo>
                  <a:pt x="436" y="293"/>
                  <a:pt x="436" y="293"/>
                  <a:pt x="436" y="293"/>
                </a:cubicBezTo>
                <a:cubicBezTo>
                  <a:pt x="436" y="293"/>
                  <a:pt x="436" y="293"/>
                  <a:pt x="436" y="293"/>
                </a:cubicBezTo>
                <a:cubicBezTo>
                  <a:pt x="436" y="292"/>
                  <a:pt x="436" y="292"/>
                  <a:pt x="436" y="292"/>
                </a:cubicBezTo>
                <a:cubicBezTo>
                  <a:pt x="436" y="292"/>
                  <a:pt x="436" y="292"/>
                  <a:pt x="436" y="292"/>
                </a:cubicBezTo>
                <a:cubicBezTo>
                  <a:pt x="436" y="292"/>
                  <a:pt x="436" y="292"/>
                  <a:pt x="436" y="292"/>
                </a:cubicBezTo>
                <a:cubicBezTo>
                  <a:pt x="436" y="291"/>
                  <a:pt x="436" y="291"/>
                  <a:pt x="436" y="291"/>
                </a:cubicBezTo>
                <a:cubicBezTo>
                  <a:pt x="436" y="291"/>
                  <a:pt x="436" y="291"/>
                  <a:pt x="436" y="291"/>
                </a:cubicBezTo>
                <a:cubicBezTo>
                  <a:pt x="436" y="292"/>
                  <a:pt x="436" y="292"/>
                  <a:pt x="436" y="292"/>
                </a:cubicBezTo>
                <a:cubicBezTo>
                  <a:pt x="435" y="293"/>
                  <a:pt x="435" y="293"/>
                  <a:pt x="435" y="293"/>
                </a:cubicBezTo>
                <a:cubicBezTo>
                  <a:pt x="434" y="294"/>
                  <a:pt x="434" y="294"/>
                  <a:pt x="434" y="294"/>
                </a:cubicBezTo>
                <a:cubicBezTo>
                  <a:pt x="434" y="293"/>
                  <a:pt x="434" y="293"/>
                  <a:pt x="434" y="293"/>
                </a:cubicBezTo>
                <a:cubicBezTo>
                  <a:pt x="434" y="293"/>
                  <a:pt x="434" y="293"/>
                  <a:pt x="434" y="293"/>
                </a:cubicBezTo>
                <a:cubicBezTo>
                  <a:pt x="434" y="292"/>
                  <a:pt x="434" y="292"/>
                  <a:pt x="434" y="292"/>
                </a:cubicBezTo>
                <a:cubicBezTo>
                  <a:pt x="434" y="291"/>
                  <a:pt x="434" y="291"/>
                  <a:pt x="434" y="291"/>
                </a:cubicBezTo>
                <a:cubicBezTo>
                  <a:pt x="434" y="291"/>
                  <a:pt x="434" y="291"/>
                  <a:pt x="434" y="291"/>
                </a:cubicBezTo>
                <a:cubicBezTo>
                  <a:pt x="435" y="290"/>
                  <a:pt x="435" y="290"/>
                  <a:pt x="435" y="290"/>
                </a:cubicBezTo>
                <a:cubicBezTo>
                  <a:pt x="435" y="290"/>
                  <a:pt x="435" y="290"/>
                  <a:pt x="435" y="290"/>
                </a:cubicBezTo>
                <a:cubicBezTo>
                  <a:pt x="436" y="290"/>
                  <a:pt x="436" y="290"/>
                  <a:pt x="436" y="290"/>
                </a:cubicBezTo>
                <a:cubicBezTo>
                  <a:pt x="435" y="289"/>
                  <a:pt x="435" y="289"/>
                  <a:pt x="435" y="289"/>
                </a:cubicBezTo>
                <a:cubicBezTo>
                  <a:pt x="435" y="289"/>
                  <a:pt x="435" y="289"/>
                  <a:pt x="435" y="289"/>
                </a:cubicBezTo>
                <a:cubicBezTo>
                  <a:pt x="434" y="289"/>
                  <a:pt x="434" y="289"/>
                  <a:pt x="434" y="289"/>
                </a:cubicBezTo>
                <a:cubicBezTo>
                  <a:pt x="433" y="289"/>
                  <a:pt x="433" y="289"/>
                  <a:pt x="433" y="289"/>
                </a:cubicBezTo>
                <a:cubicBezTo>
                  <a:pt x="433" y="289"/>
                  <a:pt x="433" y="289"/>
                  <a:pt x="433" y="289"/>
                </a:cubicBezTo>
                <a:cubicBezTo>
                  <a:pt x="433" y="288"/>
                  <a:pt x="433" y="288"/>
                  <a:pt x="433" y="288"/>
                </a:cubicBezTo>
                <a:cubicBezTo>
                  <a:pt x="434" y="288"/>
                  <a:pt x="434" y="288"/>
                  <a:pt x="434" y="288"/>
                </a:cubicBezTo>
                <a:cubicBezTo>
                  <a:pt x="435" y="287"/>
                  <a:pt x="435" y="287"/>
                  <a:pt x="435" y="287"/>
                </a:cubicBezTo>
                <a:cubicBezTo>
                  <a:pt x="434" y="287"/>
                  <a:pt x="434" y="287"/>
                  <a:pt x="434" y="287"/>
                </a:cubicBezTo>
                <a:cubicBezTo>
                  <a:pt x="434" y="287"/>
                  <a:pt x="434" y="287"/>
                  <a:pt x="434" y="287"/>
                </a:cubicBezTo>
                <a:cubicBezTo>
                  <a:pt x="433" y="287"/>
                  <a:pt x="433" y="287"/>
                  <a:pt x="433" y="287"/>
                </a:cubicBezTo>
                <a:cubicBezTo>
                  <a:pt x="433" y="287"/>
                  <a:pt x="433" y="287"/>
                  <a:pt x="433" y="287"/>
                </a:cubicBezTo>
                <a:cubicBezTo>
                  <a:pt x="434" y="286"/>
                  <a:pt x="434" y="286"/>
                  <a:pt x="434" y="286"/>
                </a:cubicBezTo>
                <a:cubicBezTo>
                  <a:pt x="434" y="286"/>
                  <a:pt x="434" y="286"/>
                  <a:pt x="434" y="286"/>
                </a:cubicBezTo>
                <a:cubicBezTo>
                  <a:pt x="435" y="286"/>
                  <a:pt x="435" y="286"/>
                  <a:pt x="435" y="286"/>
                </a:cubicBezTo>
                <a:cubicBezTo>
                  <a:pt x="434" y="285"/>
                  <a:pt x="434" y="285"/>
                  <a:pt x="434" y="285"/>
                </a:cubicBezTo>
                <a:cubicBezTo>
                  <a:pt x="434" y="285"/>
                  <a:pt x="434" y="285"/>
                  <a:pt x="434" y="285"/>
                </a:cubicBezTo>
                <a:cubicBezTo>
                  <a:pt x="433" y="286"/>
                  <a:pt x="433" y="286"/>
                  <a:pt x="433" y="286"/>
                </a:cubicBezTo>
                <a:cubicBezTo>
                  <a:pt x="433" y="286"/>
                  <a:pt x="433" y="286"/>
                  <a:pt x="433" y="286"/>
                </a:cubicBezTo>
                <a:cubicBezTo>
                  <a:pt x="433" y="285"/>
                  <a:pt x="433" y="285"/>
                  <a:pt x="433" y="285"/>
                </a:cubicBezTo>
                <a:cubicBezTo>
                  <a:pt x="434" y="284"/>
                  <a:pt x="434" y="284"/>
                  <a:pt x="434" y="284"/>
                </a:cubicBezTo>
                <a:cubicBezTo>
                  <a:pt x="434" y="283"/>
                  <a:pt x="434" y="283"/>
                  <a:pt x="434" y="283"/>
                </a:cubicBezTo>
                <a:cubicBezTo>
                  <a:pt x="435" y="283"/>
                  <a:pt x="435" y="283"/>
                  <a:pt x="435" y="283"/>
                </a:cubicBezTo>
                <a:cubicBezTo>
                  <a:pt x="436" y="282"/>
                  <a:pt x="436" y="282"/>
                  <a:pt x="436" y="282"/>
                </a:cubicBezTo>
                <a:cubicBezTo>
                  <a:pt x="437" y="282"/>
                  <a:pt x="437" y="282"/>
                  <a:pt x="437" y="282"/>
                </a:cubicBezTo>
                <a:cubicBezTo>
                  <a:pt x="438" y="281"/>
                  <a:pt x="438" y="281"/>
                  <a:pt x="438" y="281"/>
                </a:cubicBezTo>
                <a:cubicBezTo>
                  <a:pt x="439" y="280"/>
                  <a:pt x="439" y="280"/>
                  <a:pt x="439" y="280"/>
                </a:cubicBezTo>
                <a:cubicBezTo>
                  <a:pt x="439" y="280"/>
                  <a:pt x="439" y="280"/>
                  <a:pt x="439" y="280"/>
                </a:cubicBezTo>
                <a:cubicBezTo>
                  <a:pt x="439" y="279"/>
                  <a:pt x="439" y="279"/>
                  <a:pt x="439" y="279"/>
                </a:cubicBezTo>
                <a:cubicBezTo>
                  <a:pt x="438" y="279"/>
                  <a:pt x="438" y="279"/>
                  <a:pt x="438" y="279"/>
                </a:cubicBezTo>
                <a:cubicBezTo>
                  <a:pt x="437" y="280"/>
                  <a:pt x="437" y="280"/>
                  <a:pt x="437" y="280"/>
                </a:cubicBezTo>
                <a:cubicBezTo>
                  <a:pt x="437" y="280"/>
                  <a:pt x="437" y="280"/>
                  <a:pt x="437" y="280"/>
                </a:cubicBezTo>
                <a:cubicBezTo>
                  <a:pt x="436" y="281"/>
                  <a:pt x="436" y="281"/>
                  <a:pt x="436" y="281"/>
                </a:cubicBezTo>
                <a:cubicBezTo>
                  <a:pt x="435" y="282"/>
                  <a:pt x="435" y="282"/>
                  <a:pt x="435" y="282"/>
                </a:cubicBezTo>
                <a:cubicBezTo>
                  <a:pt x="434" y="282"/>
                  <a:pt x="434" y="282"/>
                  <a:pt x="434" y="282"/>
                </a:cubicBezTo>
                <a:cubicBezTo>
                  <a:pt x="432" y="283"/>
                  <a:pt x="432" y="283"/>
                  <a:pt x="432" y="283"/>
                </a:cubicBezTo>
                <a:cubicBezTo>
                  <a:pt x="431" y="283"/>
                  <a:pt x="431" y="283"/>
                  <a:pt x="431" y="283"/>
                </a:cubicBezTo>
                <a:cubicBezTo>
                  <a:pt x="430" y="283"/>
                  <a:pt x="430" y="283"/>
                  <a:pt x="430" y="283"/>
                </a:cubicBezTo>
                <a:cubicBezTo>
                  <a:pt x="430" y="283"/>
                  <a:pt x="430" y="283"/>
                  <a:pt x="430" y="283"/>
                </a:cubicBezTo>
                <a:cubicBezTo>
                  <a:pt x="432" y="281"/>
                  <a:pt x="432" y="281"/>
                  <a:pt x="432" y="281"/>
                </a:cubicBezTo>
                <a:cubicBezTo>
                  <a:pt x="433" y="280"/>
                  <a:pt x="433" y="280"/>
                  <a:pt x="433" y="280"/>
                </a:cubicBezTo>
                <a:cubicBezTo>
                  <a:pt x="434" y="280"/>
                  <a:pt x="434" y="280"/>
                  <a:pt x="434" y="280"/>
                </a:cubicBezTo>
                <a:cubicBezTo>
                  <a:pt x="434" y="279"/>
                  <a:pt x="434" y="279"/>
                  <a:pt x="434" y="279"/>
                </a:cubicBezTo>
                <a:cubicBezTo>
                  <a:pt x="434" y="278"/>
                  <a:pt x="434" y="278"/>
                  <a:pt x="434" y="278"/>
                </a:cubicBezTo>
                <a:cubicBezTo>
                  <a:pt x="433" y="279"/>
                  <a:pt x="433" y="279"/>
                  <a:pt x="433" y="279"/>
                </a:cubicBezTo>
                <a:cubicBezTo>
                  <a:pt x="431" y="281"/>
                  <a:pt x="431" y="281"/>
                  <a:pt x="431" y="281"/>
                </a:cubicBezTo>
                <a:cubicBezTo>
                  <a:pt x="430" y="281"/>
                  <a:pt x="430" y="281"/>
                  <a:pt x="430" y="281"/>
                </a:cubicBezTo>
                <a:cubicBezTo>
                  <a:pt x="429" y="281"/>
                  <a:pt x="429" y="281"/>
                  <a:pt x="429" y="281"/>
                </a:cubicBezTo>
                <a:cubicBezTo>
                  <a:pt x="429" y="281"/>
                  <a:pt x="429" y="281"/>
                  <a:pt x="429" y="281"/>
                </a:cubicBezTo>
                <a:cubicBezTo>
                  <a:pt x="429" y="280"/>
                  <a:pt x="429" y="280"/>
                  <a:pt x="429" y="280"/>
                </a:cubicBezTo>
                <a:cubicBezTo>
                  <a:pt x="429" y="279"/>
                  <a:pt x="429" y="279"/>
                  <a:pt x="429" y="279"/>
                </a:cubicBezTo>
                <a:cubicBezTo>
                  <a:pt x="428" y="280"/>
                  <a:pt x="428" y="280"/>
                  <a:pt x="428" y="280"/>
                </a:cubicBezTo>
                <a:cubicBezTo>
                  <a:pt x="428" y="279"/>
                  <a:pt x="428" y="279"/>
                  <a:pt x="428" y="279"/>
                </a:cubicBezTo>
                <a:cubicBezTo>
                  <a:pt x="428" y="279"/>
                  <a:pt x="428" y="279"/>
                  <a:pt x="428" y="279"/>
                </a:cubicBezTo>
                <a:cubicBezTo>
                  <a:pt x="429" y="279"/>
                  <a:pt x="429" y="279"/>
                  <a:pt x="429" y="279"/>
                </a:cubicBezTo>
                <a:cubicBezTo>
                  <a:pt x="429" y="278"/>
                  <a:pt x="429" y="278"/>
                  <a:pt x="429" y="278"/>
                </a:cubicBezTo>
                <a:cubicBezTo>
                  <a:pt x="428" y="278"/>
                  <a:pt x="428" y="278"/>
                  <a:pt x="428" y="278"/>
                </a:cubicBezTo>
                <a:cubicBezTo>
                  <a:pt x="428" y="278"/>
                  <a:pt x="428" y="278"/>
                  <a:pt x="428" y="278"/>
                </a:cubicBezTo>
                <a:cubicBezTo>
                  <a:pt x="427" y="277"/>
                  <a:pt x="427" y="277"/>
                  <a:pt x="427" y="277"/>
                </a:cubicBezTo>
                <a:cubicBezTo>
                  <a:pt x="428" y="276"/>
                  <a:pt x="428" y="276"/>
                  <a:pt x="428" y="276"/>
                </a:cubicBezTo>
                <a:cubicBezTo>
                  <a:pt x="428" y="276"/>
                  <a:pt x="428" y="276"/>
                  <a:pt x="428" y="276"/>
                </a:cubicBezTo>
                <a:cubicBezTo>
                  <a:pt x="428" y="275"/>
                  <a:pt x="428" y="275"/>
                  <a:pt x="428" y="275"/>
                </a:cubicBezTo>
                <a:cubicBezTo>
                  <a:pt x="427" y="275"/>
                  <a:pt x="427" y="275"/>
                  <a:pt x="427" y="275"/>
                </a:cubicBezTo>
                <a:cubicBezTo>
                  <a:pt x="427" y="274"/>
                  <a:pt x="427" y="274"/>
                  <a:pt x="427" y="274"/>
                </a:cubicBezTo>
                <a:cubicBezTo>
                  <a:pt x="427" y="274"/>
                  <a:pt x="427" y="274"/>
                  <a:pt x="427" y="274"/>
                </a:cubicBezTo>
                <a:cubicBezTo>
                  <a:pt x="427" y="275"/>
                  <a:pt x="427" y="275"/>
                  <a:pt x="427" y="275"/>
                </a:cubicBezTo>
                <a:cubicBezTo>
                  <a:pt x="427" y="276"/>
                  <a:pt x="427" y="276"/>
                  <a:pt x="427" y="276"/>
                </a:cubicBezTo>
                <a:cubicBezTo>
                  <a:pt x="426" y="276"/>
                  <a:pt x="426" y="276"/>
                  <a:pt x="426" y="276"/>
                </a:cubicBezTo>
                <a:cubicBezTo>
                  <a:pt x="425" y="276"/>
                  <a:pt x="425" y="276"/>
                  <a:pt x="425" y="276"/>
                </a:cubicBezTo>
                <a:cubicBezTo>
                  <a:pt x="425" y="275"/>
                  <a:pt x="425" y="275"/>
                  <a:pt x="425" y="275"/>
                </a:cubicBezTo>
                <a:cubicBezTo>
                  <a:pt x="424" y="275"/>
                  <a:pt x="424" y="275"/>
                  <a:pt x="424" y="275"/>
                </a:cubicBezTo>
                <a:cubicBezTo>
                  <a:pt x="425" y="276"/>
                  <a:pt x="425" y="276"/>
                  <a:pt x="425" y="276"/>
                </a:cubicBezTo>
                <a:cubicBezTo>
                  <a:pt x="426" y="277"/>
                  <a:pt x="426" y="277"/>
                  <a:pt x="426" y="277"/>
                </a:cubicBezTo>
                <a:cubicBezTo>
                  <a:pt x="426" y="278"/>
                  <a:pt x="426" y="278"/>
                  <a:pt x="426" y="278"/>
                </a:cubicBezTo>
                <a:cubicBezTo>
                  <a:pt x="425" y="278"/>
                  <a:pt x="425" y="278"/>
                  <a:pt x="425" y="278"/>
                </a:cubicBezTo>
                <a:cubicBezTo>
                  <a:pt x="425" y="278"/>
                  <a:pt x="425" y="278"/>
                  <a:pt x="425" y="278"/>
                </a:cubicBezTo>
                <a:cubicBezTo>
                  <a:pt x="425" y="278"/>
                  <a:pt x="425" y="278"/>
                  <a:pt x="425" y="278"/>
                </a:cubicBezTo>
                <a:cubicBezTo>
                  <a:pt x="424" y="279"/>
                  <a:pt x="424" y="279"/>
                  <a:pt x="424" y="279"/>
                </a:cubicBezTo>
                <a:cubicBezTo>
                  <a:pt x="423" y="278"/>
                  <a:pt x="423" y="278"/>
                  <a:pt x="423" y="278"/>
                </a:cubicBezTo>
                <a:cubicBezTo>
                  <a:pt x="423" y="277"/>
                  <a:pt x="423" y="277"/>
                  <a:pt x="423" y="277"/>
                </a:cubicBezTo>
                <a:cubicBezTo>
                  <a:pt x="423" y="276"/>
                  <a:pt x="423" y="276"/>
                  <a:pt x="423" y="276"/>
                </a:cubicBezTo>
                <a:cubicBezTo>
                  <a:pt x="422" y="277"/>
                  <a:pt x="422" y="277"/>
                  <a:pt x="422" y="277"/>
                </a:cubicBezTo>
                <a:cubicBezTo>
                  <a:pt x="423" y="277"/>
                  <a:pt x="423" y="277"/>
                  <a:pt x="423" y="277"/>
                </a:cubicBezTo>
                <a:cubicBezTo>
                  <a:pt x="423" y="278"/>
                  <a:pt x="423" y="278"/>
                  <a:pt x="423" y="278"/>
                </a:cubicBezTo>
                <a:cubicBezTo>
                  <a:pt x="423" y="279"/>
                  <a:pt x="423" y="279"/>
                  <a:pt x="423" y="279"/>
                </a:cubicBezTo>
                <a:cubicBezTo>
                  <a:pt x="423" y="279"/>
                  <a:pt x="423" y="279"/>
                  <a:pt x="423" y="279"/>
                </a:cubicBezTo>
                <a:cubicBezTo>
                  <a:pt x="424" y="280"/>
                  <a:pt x="424" y="280"/>
                  <a:pt x="424" y="280"/>
                </a:cubicBezTo>
                <a:cubicBezTo>
                  <a:pt x="425" y="281"/>
                  <a:pt x="425" y="281"/>
                  <a:pt x="425" y="281"/>
                </a:cubicBezTo>
                <a:cubicBezTo>
                  <a:pt x="424" y="282"/>
                  <a:pt x="424" y="282"/>
                  <a:pt x="424" y="282"/>
                </a:cubicBezTo>
                <a:cubicBezTo>
                  <a:pt x="425" y="282"/>
                  <a:pt x="425" y="282"/>
                  <a:pt x="425" y="282"/>
                </a:cubicBezTo>
                <a:cubicBezTo>
                  <a:pt x="425" y="283"/>
                  <a:pt x="425" y="283"/>
                  <a:pt x="425" y="283"/>
                </a:cubicBezTo>
                <a:cubicBezTo>
                  <a:pt x="424" y="283"/>
                  <a:pt x="424" y="283"/>
                  <a:pt x="424" y="283"/>
                </a:cubicBezTo>
                <a:cubicBezTo>
                  <a:pt x="423" y="283"/>
                  <a:pt x="423" y="283"/>
                  <a:pt x="423" y="283"/>
                </a:cubicBezTo>
                <a:cubicBezTo>
                  <a:pt x="422" y="282"/>
                  <a:pt x="422" y="282"/>
                  <a:pt x="422" y="282"/>
                </a:cubicBezTo>
                <a:cubicBezTo>
                  <a:pt x="422" y="283"/>
                  <a:pt x="422" y="283"/>
                  <a:pt x="422" y="283"/>
                </a:cubicBezTo>
                <a:cubicBezTo>
                  <a:pt x="422" y="283"/>
                  <a:pt x="422" y="283"/>
                  <a:pt x="422" y="283"/>
                </a:cubicBezTo>
                <a:cubicBezTo>
                  <a:pt x="420" y="282"/>
                  <a:pt x="420" y="282"/>
                  <a:pt x="420" y="282"/>
                </a:cubicBezTo>
                <a:cubicBezTo>
                  <a:pt x="420" y="281"/>
                  <a:pt x="420" y="281"/>
                  <a:pt x="420" y="281"/>
                </a:cubicBezTo>
                <a:cubicBezTo>
                  <a:pt x="421" y="280"/>
                  <a:pt x="421" y="280"/>
                  <a:pt x="421" y="280"/>
                </a:cubicBezTo>
                <a:cubicBezTo>
                  <a:pt x="420" y="279"/>
                  <a:pt x="420" y="279"/>
                  <a:pt x="420" y="279"/>
                </a:cubicBezTo>
                <a:cubicBezTo>
                  <a:pt x="419" y="279"/>
                  <a:pt x="419" y="279"/>
                  <a:pt x="419" y="279"/>
                </a:cubicBezTo>
                <a:cubicBezTo>
                  <a:pt x="418" y="279"/>
                  <a:pt x="418" y="279"/>
                  <a:pt x="418" y="279"/>
                </a:cubicBezTo>
                <a:cubicBezTo>
                  <a:pt x="418" y="278"/>
                  <a:pt x="418" y="278"/>
                  <a:pt x="418" y="278"/>
                </a:cubicBezTo>
                <a:cubicBezTo>
                  <a:pt x="418" y="277"/>
                  <a:pt x="418" y="277"/>
                  <a:pt x="418" y="277"/>
                </a:cubicBezTo>
                <a:cubicBezTo>
                  <a:pt x="417" y="278"/>
                  <a:pt x="417" y="278"/>
                  <a:pt x="417" y="278"/>
                </a:cubicBezTo>
                <a:cubicBezTo>
                  <a:pt x="416" y="278"/>
                  <a:pt x="416" y="278"/>
                  <a:pt x="416" y="278"/>
                </a:cubicBezTo>
                <a:cubicBezTo>
                  <a:pt x="415" y="278"/>
                  <a:pt x="415" y="278"/>
                  <a:pt x="415" y="278"/>
                </a:cubicBezTo>
                <a:cubicBezTo>
                  <a:pt x="415" y="279"/>
                  <a:pt x="415" y="279"/>
                  <a:pt x="415" y="279"/>
                </a:cubicBezTo>
                <a:cubicBezTo>
                  <a:pt x="417" y="279"/>
                  <a:pt x="417" y="279"/>
                  <a:pt x="417" y="279"/>
                </a:cubicBezTo>
                <a:cubicBezTo>
                  <a:pt x="418" y="279"/>
                  <a:pt x="418" y="279"/>
                  <a:pt x="418" y="279"/>
                </a:cubicBezTo>
                <a:cubicBezTo>
                  <a:pt x="419" y="280"/>
                  <a:pt x="419" y="280"/>
                  <a:pt x="419" y="280"/>
                </a:cubicBezTo>
                <a:cubicBezTo>
                  <a:pt x="419" y="281"/>
                  <a:pt x="419" y="281"/>
                  <a:pt x="419" y="281"/>
                </a:cubicBezTo>
                <a:cubicBezTo>
                  <a:pt x="418" y="282"/>
                  <a:pt x="418" y="282"/>
                  <a:pt x="418" y="282"/>
                </a:cubicBezTo>
                <a:cubicBezTo>
                  <a:pt x="418" y="282"/>
                  <a:pt x="418" y="282"/>
                  <a:pt x="418" y="282"/>
                </a:cubicBezTo>
                <a:cubicBezTo>
                  <a:pt x="419" y="282"/>
                  <a:pt x="419" y="282"/>
                  <a:pt x="419" y="282"/>
                </a:cubicBezTo>
                <a:cubicBezTo>
                  <a:pt x="419" y="283"/>
                  <a:pt x="419" y="283"/>
                  <a:pt x="419" y="283"/>
                </a:cubicBezTo>
                <a:cubicBezTo>
                  <a:pt x="419" y="283"/>
                  <a:pt x="419" y="283"/>
                  <a:pt x="419" y="283"/>
                </a:cubicBezTo>
                <a:cubicBezTo>
                  <a:pt x="419" y="284"/>
                  <a:pt x="419" y="284"/>
                  <a:pt x="419" y="284"/>
                </a:cubicBezTo>
                <a:cubicBezTo>
                  <a:pt x="421" y="284"/>
                  <a:pt x="421" y="284"/>
                  <a:pt x="421" y="284"/>
                </a:cubicBezTo>
                <a:cubicBezTo>
                  <a:pt x="421" y="284"/>
                  <a:pt x="421" y="284"/>
                  <a:pt x="421" y="284"/>
                </a:cubicBezTo>
                <a:cubicBezTo>
                  <a:pt x="420" y="285"/>
                  <a:pt x="420" y="285"/>
                  <a:pt x="420" y="285"/>
                </a:cubicBezTo>
                <a:cubicBezTo>
                  <a:pt x="418" y="287"/>
                  <a:pt x="418" y="287"/>
                  <a:pt x="418" y="287"/>
                </a:cubicBezTo>
                <a:cubicBezTo>
                  <a:pt x="417" y="288"/>
                  <a:pt x="417" y="288"/>
                  <a:pt x="417" y="288"/>
                </a:cubicBezTo>
                <a:cubicBezTo>
                  <a:pt x="419" y="287"/>
                  <a:pt x="419" y="287"/>
                  <a:pt x="419" y="287"/>
                </a:cubicBezTo>
                <a:cubicBezTo>
                  <a:pt x="420" y="286"/>
                  <a:pt x="420" y="286"/>
                  <a:pt x="420" y="286"/>
                </a:cubicBezTo>
                <a:cubicBezTo>
                  <a:pt x="420" y="286"/>
                  <a:pt x="420" y="286"/>
                  <a:pt x="420" y="286"/>
                </a:cubicBezTo>
                <a:cubicBezTo>
                  <a:pt x="422" y="286"/>
                  <a:pt x="422" y="286"/>
                  <a:pt x="422" y="286"/>
                </a:cubicBezTo>
                <a:cubicBezTo>
                  <a:pt x="423" y="286"/>
                  <a:pt x="423" y="286"/>
                  <a:pt x="423" y="286"/>
                </a:cubicBezTo>
                <a:cubicBezTo>
                  <a:pt x="423" y="287"/>
                  <a:pt x="423" y="287"/>
                  <a:pt x="423" y="287"/>
                </a:cubicBezTo>
                <a:cubicBezTo>
                  <a:pt x="422" y="287"/>
                  <a:pt x="422" y="287"/>
                  <a:pt x="422" y="287"/>
                </a:cubicBezTo>
                <a:cubicBezTo>
                  <a:pt x="421" y="288"/>
                  <a:pt x="421" y="288"/>
                  <a:pt x="421" y="288"/>
                </a:cubicBezTo>
                <a:cubicBezTo>
                  <a:pt x="421" y="288"/>
                  <a:pt x="421" y="288"/>
                  <a:pt x="421" y="288"/>
                </a:cubicBezTo>
                <a:cubicBezTo>
                  <a:pt x="422" y="289"/>
                  <a:pt x="422" y="289"/>
                  <a:pt x="422" y="289"/>
                </a:cubicBezTo>
                <a:cubicBezTo>
                  <a:pt x="423" y="289"/>
                  <a:pt x="423" y="289"/>
                  <a:pt x="423" y="289"/>
                </a:cubicBezTo>
                <a:cubicBezTo>
                  <a:pt x="423" y="290"/>
                  <a:pt x="423" y="290"/>
                  <a:pt x="423" y="290"/>
                </a:cubicBezTo>
                <a:cubicBezTo>
                  <a:pt x="421" y="290"/>
                  <a:pt x="421" y="290"/>
                  <a:pt x="421" y="290"/>
                </a:cubicBezTo>
                <a:cubicBezTo>
                  <a:pt x="421" y="290"/>
                  <a:pt x="421" y="290"/>
                  <a:pt x="421" y="290"/>
                </a:cubicBezTo>
                <a:cubicBezTo>
                  <a:pt x="422" y="291"/>
                  <a:pt x="422" y="291"/>
                  <a:pt x="422" y="291"/>
                </a:cubicBezTo>
                <a:cubicBezTo>
                  <a:pt x="422" y="291"/>
                  <a:pt x="422" y="291"/>
                  <a:pt x="422" y="291"/>
                </a:cubicBezTo>
                <a:cubicBezTo>
                  <a:pt x="422" y="291"/>
                  <a:pt x="422" y="291"/>
                  <a:pt x="422" y="291"/>
                </a:cubicBezTo>
                <a:cubicBezTo>
                  <a:pt x="422" y="292"/>
                  <a:pt x="422" y="292"/>
                  <a:pt x="422" y="292"/>
                </a:cubicBezTo>
                <a:cubicBezTo>
                  <a:pt x="422" y="292"/>
                  <a:pt x="422" y="292"/>
                  <a:pt x="422" y="292"/>
                </a:cubicBezTo>
                <a:cubicBezTo>
                  <a:pt x="422" y="293"/>
                  <a:pt x="422" y="293"/>
                  <a:pt x="422" y="293"/>
                </a:cubicBezTo>
                <a:cubicBezTo>
                  <a:pt x="423" y="293"/>
                  <a:pt x="423" y="293"/>
                  <a:pt x="423" y="293"/>
                </a:cubicBezTo>
                <a:cubicBezTo>
                  <a:pt x="423" y="294"/>
                  <a:pt x="423" y="294"/>
                  <a:pt x="423" y="294"/>
                </a:cubicBezTo>
                <a:cubicBezTo>
                  <a:pt x="423" y="295"/>
                  <a:pt x="423" y="295"/>
                  <a:pt x="423" y="295"/>
                </a:cubicBezTo>
                <a:cubicBezTo>
                  <a:pt x="423" y="295"/>
                  <a:pt x="423" y="295"/>
                  <a:pt x="423" y="295"/>
                </a:cubicBezTo>
                <a:cubicBezTo>
                  <a:pt x="424" y="295"/>
                  <a:pt x="424" y="295"/>
                  <a:pt x="424" y="295"/>
                </a:cubicBezTo>
                <a:cubicBezTo>
                  <a:pt x="424" y="294"/>
                  <a:pt x="424" y="294"/>
                  <a:pt x="424" y="294"/>
                </a:cubicBezTo>
                <a:cubicBezTo>
                  <a:pt x="424" y="293"/>
                  <a:pt x="424" y="293"/>
                  <a:pt x="424" y="293"/>
                </a:cubicBezTo>
                <a:cubicBezTo>
                  <a:pt x="425" y="294"/>
                  <a:pt x="425" y="294"/>
                  <a:pt x="425" y="294"/>
                </a:cubicBezTo>
                <a:cubicBezTo>
                  <a:pt x="425" y="295"/>
                  <a:pt x="425" y="295"/>
                  <a:pt x="425" y="295"/>
                </a:cubicBezTo>
                <a:cubicBezTo>
                  <a:pt x="426" y="296"/>
                  <a:pt x="426" y="296"/>
                  <a:pt x="426" y="296"/>
                </a:cubicBezTo>
                <a:cubicBezTo>
                  <a:pt x="425" y="296"/>
                  <a:pt x="425" y="296"/>
                  <a:pt x="425" y="296"/>
                </a:cubicBezTo>
                <a:cubicBezTo>
                  <a:pt x="425" y="297"/>
                  <a:pt x="425" y="297"/>
                  <a:pt x="425" y="297"/>
                </a:cubicBezTo>
                <a:cubicBezTo>
                  <a:pt x="425" y="297"/>
                  <a:pt x="425" y="297"/>
                  <a:pt x="425" y="297"/>
                </a:cubicBezTo>
                <a:cubicBezTo>
                  <a:pt x="426" y="297"/>
                  <a:pt x="426" y="297"/>
                  <a:pt x="426" y="297"/>
                </a:cubicBezTo>
                <a:cubicBezTo>
                  <a:pt x="427" y="297"/>
                  <a:pt x="427" y="297"/>
                  <a:pt x="427" y="297"/>
                </a:cubicBezTo>
                <a:cubicBezTo>
                  <a:pt x="427" y="298"/>
                  <a:pt x="427" y="298"/>
                  <a:pt x="427" y="298"/>
                </a:cubicBezTo>
                <a:cubicBezTo>
                  <a:pt x="427" y="297"/>
                  <a:pt x="427" y="297"/>
                  <a:pt x="427" y="297"/>
                </a:cubicBezTo>
                <a:cubicBezTo>
                  <a:pt x="427" y="296"/>
                  <a:pt x="427" y="296"/>
                  <a:pt x="427" y="296"/>
                </a:cubicBezTo>
                <a:cubicBezTo>
                  <a:pt x="428" y="296"/>
                  <a:pt x="428" y="296"/>
                  <a:pt x="428" y="296"/>
                </a:cubicBezTo>
                <a:cubicBezTo>
                  <a:pt x="428" y="297"/>
                  <a:pt x="428" y="297"/>
                  <a:pt x="428" y="297"/>
                </a:cubicBezTo>
                <a:cubicBezTo>
                  <a:pt x="428" y="298"/>
                  <a:pt x="428" y="298"/>
                  <a:pt x="428" y="298"/>
                </a:cubicBezTo>
                <a:cubicBezTo>
                  <a:pt x="427" y="299"/>
                  <a:pt x="427" y="299"/>
                  <a:pt x="427" y="299"/>
                </a:cubicBezTo>
                <a:cubicBezTo>
                  <a:pt x="427" y="300"/>
                  <a:pt x="427" y="300"/>
                  <a:pt x="427" y="300"/>
                </a:cubicBezTo>
                <a:cubicBezTo>
                  <a:pt x="427" y="300"/>
                  <a:pt x="427" y="300"/>
                  <a:pt x="427" y="300"/>
                </a:cubicBezTo>
                <a:cubicBezTo>
                  <a:pt x="428" y="301"/>
                  <a:pt x="428" y="301"/>
                  <a:pt x="428" y="301"/>
                </a:cubicBezTo>
                <a:cubicBezTo>
                  <a:pt x="429" y="300"/>
                  <a:pt x="429" y="300"/>
                  <a:pt x="429" y="300"/>
                </a:cubicBezTo>
                <a:cubicBezTo>
                  <a:pt x="430" y="300"/>
                  <a:pt x="430" y="300"/>
                  <a:pt x="430" y="300"/>
                </a:cubicBezTo>
                <a:cubicBezTo>
                  <a:pt x="430" y="300"/>
                  <a:pt x="430" y="300"/>
                  <a:pt x="430" y="300"/>
                </a:cubicBezTo>
                <a:cubicBezTo>
                  <a:pt x="429" y="301"/>
                  <a:pt x="429" y="301"/>
                  <a:pt x="429" y="301"/>
                </a:cubicBezTo>
                <a:cubicBezTo>
                  <a:pt x="429" y="302"/>
                  <a:pt x="429" y="302"/>
                  <a:pt x="429" y="302"/>
                </a:cubicBezTo>
                <a:cubicBezTo>
                  <a:pt x="428" y="302"/>
                  <a:pt x="428" y="302"/>
                  <a:pt x="428" y="302"/>
                </a:cubicBezTo>
                <a:cubicBezTo>
                  <a:pt x="428" y="303"/>
                  <a:pt x="428" y="303"/>
                  <a:pt x="428" y="303"/>
                </a:cubicBezTo>
                <a:cubicBezTo>
                  <a:pt x="429" y="304"/>
                  <a:pt x="429" y="304"/>
                  <a:pt x="429" y="304"/>
                </a:cubicBezTo>
                <a:cubicBezTo>
                  <a:pt x="429" y="305"/>
                  <a:pt x="429" y="305"/>
                  <a:pt x="429" y="305"/>
                </a:cubicBezTo>
                <a:cubicBezTo>
                  <a:pt x="430" y="305"/>
                  <a:pt x="430" y="305"/>
                  <a:pt x="430" y="305"/>
                </a:cubicBezTo>
                <a:cubicBezTo>
                  <a:pt x="430" y="307"/>
                  <a:pt x="430" y="307"/>
                  <a:pt x="430" y="307"/>
                </a:cubicBezTo>
                <a:cubicBezTo>
                  <a:pt x="431" y="309"/>
                  <a:pt x="431" y="309"/>
                  <a:pt x="431" y="309"/>
                </a:cubicBezTo>
                <a:cubicBezTo>
                  <a:pt x="432" y="309"/>
                  <a:pt x="432" y="309"/>
                  <a:pt x="432" y="309"/>
                </a:cubicBezTo>
                <a:cubicBezTo>
                  <a:pt x="431" y="310"/>
                  <a:pt x="431" y="310"/>
                  <a:pt x="431" y="310"/>
                </a:cubicBezTo>
                <a:cubicBezTo>
                  <a:pt x="431" y="311"/>
                  <a:pt x="431" y="311"/>
                  <a:pt x="431" y="311"/>
                </a:cubicBezTo>
                <a:cubicBezTo>
                  <a:pt x="430" y="313"/>
                  <a:pt x="430" y="313"/>
                  <a:pt x="430" y="313"/>
                </a:cubicBezTo>
                <a:cubicBezTo>
                  <a:pt x="430" y="314"/>
                  <a:pt x="430" y="314"/>
                  <a:pt x="430" y="314"/>
                </a:cubicBezTo>
                <a:cubicBezTo>
                  <a:pt x="430" y="314"/>
                  <a:pt x="430" y="314"/>
                  <a:pt x="430" y="314"/>
                </a:cubicBezTo>
                <a:cubicBezTo>
                  <a:pt x="428" y="312"/>
                  <a:pt x="428" y="312"/>
                  <a:pt x="428" y="312"/>
                </a:cubicBezTo>
                <a:cubicBezTo>
                  <a:pt x="428" y="311"/>
                  <a:pt x="428" y="311"/>
                  <a:pt x="428" y="311"/>
                </a:cubicBezTo>
                <a:cubicBezTo>
                  <a:pt x="428" y="310"/>
                  <a:pt x="428" y="310"/>
                  <a:pt x="428" y="310"/>
                </a:cubicBezTo>
                <a:cubicBezTo>
                  <a:pt x="428" y="308"/>
                  <a:pt x="428" y="308"/>
                  <a:pt x="428" y="308"/>
                </a:cubicBezTo>
                <a:cubicBezTo>
                  <a:pt x="428" y="310"/>
                  <a:pt x="428" y="310"/>
                  <a:pt x="428" y="310"/>
                </a:cubicBezTo>
                <a:cubicBezTo>
                  <a:pt x="427" y="311"/>
                  <a:pt x="427" y="311"/>
                  <a:pt x="427" y="311"/>
                </a:cubicBezTo>
                <a:cubicBezTo>
                  <a:pt x="428" y="313"/>
                  <a:pt x="428" y="313"/>
                  <a:pt x="428" y="313"/>
                </a:cubicBezTo>
                <a:cubicBezTo>
                  <a:pt x="428" y="315"/>
                  <a:pt x="428" y="315"/>
                  <a:pt x="428" y="315"/>
                </a:cubicBezTo>
                <a:cubicBezTo>
                  <a:pt x="428" y="316"/>
                  <a:pt x="428" y="316"/>
                  <a:pt x="428" y="316"/>
                </a:cubicBezTo>
                <a:cubicBezTo>
                  <a:pt x="428" y="318"/>
                  <a:pt x="428" y="318"/>
                  <a:pt x="428" y="318"/>
                </a:cubicBezTo>
                <a:cubicBezTo>
                  <a:pt x="428" y="318"/>
                  <a:pt x="428" y="318"/>
                  <a:pt x="428" y="318"/>
                </a:cubicBezTo>
                <a:cubicBezTo>
                  <a:pt x="427" y="318"/>
                  <a:pt x="427" y="318"/>
                  <a:pt x="427" y="318"/>
                </a:cubicBezTo>
                <a:cubicBezTo>
                  <a:pt x="426" y="317"/>
                  <a:pt x="426" y="317"/>
                  <a:pt x="426" y="317"/>
                </a:cubicBezTo>
                <a:cubicBezTo>
                  <a:pt x="425" y="317"/>
                  <a:pt x="425" y="317"/>
                  <a:pt x="425" y="317"/>
                </a:cubicBezTo>
                <a:cubicBezTo>
                  <a:pt x="426" y="319"/>
                  <a:pt x="426" y="319"/>
                  <a:pt x="426" y="319"/>
                </a:cubicBezTo>
                <a:cubicBezTo>
                  <a:pt x="426" y="321"/>
                  <a:pt x="426" y="321"/>
                  <a:pt x="426" y="321"/>
                </a:cubicBezTo>
                <a:cubicBezTo>
                  <a:pt x="426" y="321"/>
                  <a:pt x="426" y="321"/>
                  <a:pt x="426" y="321"/>
                </a:cubicBezTo>
                <a:cubicBezTo>
                  <a:pt x="426" y="322"/>
                  <a:pt x="426" y="322"/>
                  <a:pt x="426" y="322"/>
                </a:cubicBezTo>
                <a:cubicBezTo>
                  <a:pt x="425" y="322"/>
                  <a:pt x="425" y="322"/>
                  <a:pt x="425" y="322"/>
                </a:cubicBezTo>
                <a:cubicBezTo>
                  <a:pt x="424" y="321"/>
                  <a:pt x="424" y="321"/>
                  <a:pt x="424" y="321"/>
                </a:cubicBezTo>
                <a:cubicBezTo>
                  <a:pt x="424" y="319"/>
                  <a:pt x="424" y="319"/>
                  <a:pt x="424" y="319"/>
                </a:cubicBezTo>
                <a:cubicBezTo>
                  <a:pt x="424" y="318"/>
                  <a:pt x="424" y="318"/>
                  <a:pt x="424" y="318"/>
                </a:cubicBezTo>
                <a:cubicBezTo>
                  <a:pt x="424" y="317"/>
                  <a:pt x="424" y="317"/>
                  <a:pt x="424" y="317"/>
                </a:cubicBezTo>
                <a:cubicBezTo>
                  <a:pt x="424" y="318"/>
                  <a:pt x="424" y="318"/>
                  <a:pt x="424" y="318"/>
                </a:cubicBezTo>
                <a:cubicBezTo>
                  <a:pt x="423" y="318"/>
                  <a:pt x="423" y="318"/>
                  <a:pt x="423" y="318"/>
                </a:cubicBezTo>
                <a:cubicBezTo>
                  <a:pt x="422" y="317"/>
                  <a:pt x="422" y="317"/>
                  <a:pt x="422" y="317"/>
                </a:cubicBezTo>
                <a:cubicBezTo>
                  <a:pt x="422" y="315"/>
                  <a:pt x="422" y="315"/>
                  <a:pt x="422" y="315"/>
                </a:cubicBezTo>
                <a:cubicBezTo>
                  <a:pt x="422" y="316"/>
                  <a:pt x="422" y="316"/>
                  <a:pt x="422" y="316"/>
                </a:cubicBezTo>
                <a:cubicBezTo>
                  <a:pt x="422" y="317"/>
                  <a:pt x="422" y="317"/>
                  <a:pt x="422" y="317"/>
                </a:cubicBezTo>
                <a:cubicBezTo>
                  <a:pt x="421" y="316"/>
                  <a:pt x="421" y="316"/>
                  <a:pt x="421" y="316"/>
                </a:cubicBezTo>
                <a:cubicBezTo>
                  <a:pt x="421" y="316"/>
                  <a:pt x="421" y="316"/>
                  <a:pt x="421" y="316"/>
                </a:cubicBezTo>
                <a:cubicBezTo>
                  <a:pt x="421" y="314"/>
                  <a:pt x="421" y="314"/>
                  <a:pt x="421" y="314"/>
                </a:cubicBezTo>
                <a:cubicBezTo>
                  <a:pt x="420" y="314"/>
                  <a:pt x="420" y="314"/>
                  <a:pt x="420" y="314"/>
                </a:cubicBezTo>
                <a:cubicBezTo>
                  <a:pt x="420" y="315"/>
                  <a:pt x="420" y="315"/>
                  <a:pt x="420" y="315"/>
                </a:cubicBezTo>
                <a:cubicBezTo>
                  <a:pt x="421" y="315"/>
                  <a:pt x="421" y="315"/>
                  <a:pt x="421" y="315"/>
                </a:cubicBezTo>
                <a:cubicBezTo>
                  <a:pt x="420" y="316"/>
                  <a:pt x="420" y="316"/>
                  <a:pt x="420" y="316"/>
                </a:cubicBezTo>
                <a:cubicBezTo>
                  <a:pt x="420" y="316"/>
                  <a:pt x="420" y="316"/>
                  <a:pt x="420" y="316"/>
                </a:cubicBezTo>
                <a:cubicBezTo>
                  <a:pt x="419" y="315"/>
                  <a:pt x="419" y="315"/>
                  <a:pt x="419" y="315"/>
                </a:cubicBezTo>
                <a:cubicBezTo>
                  <a:pt x="419" y="314"/>
                  <a:pt x="419" y="314"/>
                  <a:pt x="419" y="314"/>
                </a:cubicBezTo>
                <a:cubicBezTo>
                  <a:pt x="419" y="313"/>
                  <a:pt x="419" y="313"/>
                  <a:pt x="419" y="313"/>
                </a:cubicBezTo>
                <a:cubicBezTo>
                  <a:pt x="418" y="311"/>
                  <a:pt x="418" y="311"/>
                  <a:pt x="418" y="311"/>
                </a:cubicBezTo>
                <a:cubicBezTo>
                  <a:pt x="418" y="311"/>
                  <a:pt x="418" y="311"/>
                  <a:pt x="418" y="311"/>
                </a:cubicBezTo>
                <a:cubicBezTo>
                  <a:pt x="418" y="312"/>
                  <a:pt x="418" y="312"/>
                  <a:pt x="418" y="312"/>
                </a:cubicBezTo>
                <a:cubicBezTo>
                  <a:pt x="418" y="314"/>
                  <a:pt x="418" y="314"/>
                  <a:pt x="418" y="314"/>
                </a:cubicBezTo>
                <a:cubicBezTo>
                  <a:pt x="418" y="315"/>
                  <a:pt x="418" y="315"/>
                  <a:pt x="418" y="315"/>
                </a:cubicBezTo>
                <a:cubicBezTo>
                  <a:pt x="418" y="315"/>
                  <a:pt x="418" y="315"/>
                  <a:pt x="418" y="315"/>
                </a:cubicBezTo>
                <a:cubicBezTo>
                  <a:pt x="417" y="313"/>
                  <a:pt x="417" y="313"/>
                  <a:pt x="417" y="313"/>
                </a:cubicBezTo>
                <a:cubicBezTo>
                  <a:pt x="416" y="313"/>
                  <a:pt x="416" y="313"/>
                  <a:pt x="416" y="313"/>
                </a:cubicBezTo>
                <a:cubicBezTo>
                  <a:pt x="416" y="312"/>
                  <a:pt x="416" y="312"/>
                  <a:pt x="416" y="312"/>
                </a:cubicBezTo>
                <a:cubicBezTo>
                  <a:pt x="415" y="312"/>
                  <a:pt x="415" y="312"/>
                  <a:pt x="415" y="312"/>
                </a:cubicBezTo>
                <a:cubicBezTo>
                  <a:pt x="415" y="310"/>
                  <a:pt x="415" y="310"/>
                  <a:pt x="415" y="310"/>
                </a:cubicBezTo>
                <a:cubicBezTo>
                  <a:pt x="414" y="309"/>
                  <a:pt x="414" y="309"/>
                  <a:pt x="414" y="309"/>
                </a:cubicBezTo>
                <a:cubicBezTo>
                  <a:pt x="414" y="309"/>
                  <a:pt x="414" y="309"/>
                  <a:pt x="414" y="309"/>
                </a:cubicBezTo>
                <a:cubicBezTo>
                  <a:pt x="414" y="308"/>
                  <a:pt x="414" y="308"/>
                  <a:pt x="414" y="308"/>
                </a:cubicBezTo>
                <a:cubicBezTo>
                  <a:pt x="413" y="308"/>
                  <a:pt x="413" y="308"/>
                  <a:pt x="413" y="308"/>
                </a:cubicBezTo>
                <a:cubicBezTo>
                  <a:pt x="413" y="309"/>
                  <a:pt x="413" y="309"/>
                  <a:pt x="413" y="309"/>
                </a:cubicBezTo>
                <a:cubicBezTo>
                  <a:pt x="413" y="310"/>
                  <a:pt x="413" y="310"/>
                  <a:pt x="413" y="310"/>
                </a:cubicBezTo>
                <a:cubicBezTo>
                  <a:pt x="413" y="311"/>
                  <a:pt x="413" y="311"/>
                  <a:pt x="413" y="311"/>
                </a:cubicBezTo>
                <a:cubicBezTo>
                  <a:pt x="413" y="311"/>
                  <a:pt x="413" y="311"/>
                  <a:pt x="413" y="311"/>
                </a:cubicBezTo>
                <a:cubicBezTo>
                  <a:pt x="413" y="310"/>
                  <a:pt x="413" y="310"/>
                  <a:pt x="413" y="310"/>
                </a:cubicBezTo>
                <a:cubicBezTo>
                  <a:pt x="412" y="309"/>
                  <a:pt x="412" y="309"/>
                  <a:pt x="412" y="309"/>
                </a:cubicBezTo>
                <a:cubicBezTo>
                  <a:pt x="411" y="309"/>
                  <a:pt x="411" y="309"/>
                  <a:pt x="411" y="309"/>
                </a:cubicBezTo>
                <a:cubicBezTo>
                  <a:pt x="410" y="307"/>
                  <a:pt x="410" y="307"/>
                  <a:pt x="410" y="307"/>
                </a:cubicBezTo>
                <a:cubicBezTo>
                  <a:pt x="410" y="306"/>
                  <a:pt x="410" y="306"/>
                  <a:pt x="410" y="306"/>
                </a:cubicBezTo>
                <a:cubicBezTo>
                  <a:pt x="409" y="306"/>
                  <a:pt x="409" y="306"/>
                  <a:pt x="409" y="306"/>
                </a:cubicBezTo>
                <a:cubicBezTo>
                  <a:pt x="408" y="306"/>
                  <a:pt x="408" y="306"/>
                  <a:pt x="408" y="306"/>
                </a:cubicBezTo>
                <a:cubicBezTo>
                  <a:pt x="407" y="306"/>
                  <a:pt x="407" y="306"/>
                  <a:pt x="407" y="306"/>
                </a:cubicBezTo>
                <a:cubicBezTo>
                  <a:pt x="407" y="307"/>
                  <a:pt x="407" y="307"/>
                  <a:pt x="407" y="307"/>
                </a:cubicBezTo>
                <a:cubicBezTo>
                  <a:pt x="408" y="309"/>
                  <a:pt x="408" y="309"/>
                  <a:pt x="408" y="309"/>
                </a:cubicBezTo>
                <a:cubicBezTo>
                  <a:pt x="409" y="310"/>
                  <a:pt x="409" y="310"/>
                  <a:pt x="409" y="310"/>
                </a:cubicBezTo>
                <a:cubicBezTo>
                  <a:pt x="409" y="311"/>
                  <a:pt x="409" y="311"/>
                  <a:pt x="409" y="311"/>
                </a:cubicBezTo>
                <a:cubicBezTo>
                  <a:pt x="409" y="311"/>
                  <a:pt x="409" y="311"/>
                  <a:pt x="409" y="311"/>
                </a:cubicBezTo>
                <a:cubicBezTo>
                  <a:pt x="410" y="313"/>
                  <a:pt x="410" y="313"/>
                  <a:pt x="410" y="313"/>
                </a:cubicBezTo>
                <a:cubicBezTo>
                  <a:pt x="410" y="313"/>
                  <a:pt x="410" y="313"/>
                  <a:pt x="410" y="313"/>
                </a:cubicBezTo>
                <a:cubicBezTo>
                  <a:pt x="412" y="313"/>
                  <a:pt x="412" y="313"/>
                  <a:pt x="412" y="313"/>
                </a:cubicBezTo>
                <a:cubicBezTo>
                  <a:pt x="412" y="314"/>
                  <a:pt x="412" y="314"/>
                  <a:pt x="412" y="314"/>
                </a:cubicBezTo>
                <a:cubicBezTo>
                  <a:pt x="412" y="315"/>
                  <a:pt x="412" y="315"/>
                  <a:pt x="412" y="315"/>
                </a:cubicBezTo>
                <a:cubicBezTo>
                  <a:pt x="413" y="315"/>
                  <a:pt x="413" y="315"/>
                  <a:pt x="413" y="315"/>
                </a:cubicBezTo>
                <a:cubicBezTo>
                  <a:pt x="413" y="315"/>
                  <a:pt x="413" y="315"/>
                  <a:pt x="413" y="315"/>
                </a:cubicBezTo>
                <a:cubicBezTo>
                  <a:pt x="413" y="316"/>
                  <a:pt x="413" y="316"/>
                  <a:pt x="413" y="316"/>
                </a:cubicBezTo>
                <a:cubicBezTo>
                  <a:pt x="414" y="316"/>
                  <a:pt x="414" y="316"/>
                  <a:pt x="414" y="316"/>
                </a:cubicBezTo>
                <a:cubicBezTo>
                  <a:pt x="414" y="317"/>
                  <a:pt x="414" y="317"/>
                  <a:pt x="414" y="317"/>
                </a:cubicBezTo>
                <a:cubicBezTo>
                  <a:pt x="415" y="318"/>
                  <a:pt x="415" y="318"/>
                  <a:pt x="415" y="318"/>
                </a:cubicBezTo>
                <a:cubicBezTo>
                  <a:pt x="415" y="319"/>
                  <a:pt x="415" y="319"/>
                  <a:pt x="415" y="319"/>
                </a:cubicBezTo>
                <a:cubicBezTo>
                  <a:pt x="416" y="319"/>
                  <a:pt x="416" y="319"/>
                  <a:pt x="416" y="319"/>
                </a:cubicBezTo>
                <a:cubicBezTo>
                  <a:pt x="416" y="319"/>
                  <a:pt x="416" y="319"/>
                  <a:pt x="416" y="319"/>
                </a:cubicBezTo>
                <a:cubicBezTo>
                  <a:pt x="417" y="320"/>
                  <a:pt x="417" y="320"/>
                  <a:pt x="417" y="320"/>
                </a:cubicBezTo>
                <a:cubicBezTo>
                  <a:pt x="416" y="322"/>
                  <a:pt x="416" y="322"/>
                  <a:pt x="416" y="322"/>
                </a:cubicBezTo>
                <a:cubicBezTo>
                  <a:pt x="416" y="322"/>
                  <a:pt x="416" y="322"/>
                  <a:pt x="416" y="322"/>
                </a:cubicBezTo>
                <a:cubicBezTo>
                  <a:pt x="417" y="322"/>
                  <a:pt x="417" y="322"/>
                  <a:pt x="417" y="322"/>
                </a:cubicBezTo>
                <a:cubicBezTo>
                  <a:pt x="417" y="323"/>
                  <a:pt x="417" y="323"/>
                  <a:pt x="417" y="323"/>
                </a:cubicBezTo>
                <a:cubicBezTo>
                  <a:pt x="418" y="322"/>
                  <a:pt x="418" y="322"/>
                  <a:pt x="418" y="322"/>
                </a:cubicBezTo>
                <a:cubicBezTo>
                  <a:pt x="418" y="322"/>
                  <a:pt x="418" y="322"/>
                  <a:pt x="418" y="322"/>
                </a:cubicBezTo>
                <a:cubicBezTo>
                  <a:pt x="418" y="324"/>
                  <a:pt x="418" y="324"/>
                  <a:pt x="418" y="324"/>
                </a:cubicBezTo>
                <a:cubicBezTo>
                  <a:pt x="418" y="324"/>
                  <a:pt x="418" y="324"/>
                  <a:pt x="418" y="324"/>
                </a:cubicBezTo>
                <a:cubicBezTo>
                  <a:pt x="419" y="324"/>
                  <a:pt x="419" y="324"/>
                  <a:pt x="419" y="324"/>
                </a:cubicBezTo>
                <a:cubicBezTo>
                  <a:pt x="419" y="324"/>
                  <a:pt x="419" y="324"/>
                  <a:pt x="419" y="324"/>
                </a:cubicBezTo>
                <a:cubicBezTo>
                  <a:pt x="419" y="325"/>
                  <a:pt x="419" y="325"/>
                  <a:pt x="419" y="325"/>
                </a:cubicBezTo>
                <a:cubicBezTo>
                  <a:pt x="418" y="325"/>
                  <a:pt x="418" y="325"/>
                  <a:pt x="418" y="325"/>
                </a:cubicBezTo>
                <a:cubicBezTo>
                  <a:pt x="417" y="325"/>
                  <a:pt x="417" y="325"/>
                  <a:pt x="417" y="325"/>
                </a:cubicBezTo>
                <a:cubicBezTo>
                  <a:pt x="418" y="326"/>
                  <a:pt x="418" y="326"/>
                  <a:pt x="418" y="326"/>
                </a:cubicBezTo>
                <a:cubicBezTo>
                  <a:pt x="418" y="327"/>
                  <a:pt x="418" y="327"/>
                  <a:pt x="418" y="327"/>
                </a:cubicBezTo>
                <a:cubicBezTo>
                  <a:pt x="418" y="328"/>
                  <a:pt x="418" y="328"/>
                  <a:pt x="418" y="328"/>
                </a:cubicBezTo>
                <a:cubicBezTo>
                  <a:pt x="418" y="328"/>
                  <a:pt x="418" y="328"/>
                  <a:pt x="418" y="328"/>
                </a:cubicBezTo>
                <a:close/>
                <a:moveTo>
                  <a:pt x="313" y="297"/>
                </a:moveTo>
                <a:cubicBezTo>
                  <a:pt x="313" y="297"/>
                  <a:pt x="314" y="297"/>
                  <a:pt x="314" y="297"/>
                </a:cubicBezTo>
                <a:cubicBezTo>
                  <a:pt x="314" y="296"/>
                  <a:pt x="314" y="296"/>
                  <a:pt x="314" y="296"/>
                </a:cubicBezTo>
                <a:cubicBezTo>
                  <a:pt x="315" y="296"/>
                  <a:pt x="315" y="296"/>
                  <a:pt x="315" y="296"/>
                </a:cubicBezTo>
                <a:cubicBezTo>
                  <a:pt x="315" y="296"/>
                  <a:pt x="315" y="296"/>
                  <a:pt x="315" y="296"/>
                </a:cubicBezTo>
                <a:cubicBezTo>
                  <a:pt x="316" y="297"/>
                  <a:pt x="316" y="297"/>
                  <a:pt x="316" y="297"/>
                </a:cubicBezTo>
                <a:cubicBezTo>
                  <a:pt x="317" y="297"/>
                  <a:pt x="317" y="297"/>
                  <a:pt x="317" y="297"/>
                </a:cubicBezTo>
                <a:cubicBezTo>
                  <a:pt x="317" y="296"/>
                  <a:pt x="317" y="296"/>
                  <a:pt x="317" y="296"/>
                </a:cubicBezTo>
                <a:cubicBezTo>
                  <a:pt x="318" y="296"/>
                  <a:pt x="318" y="296"/>
                  <a:pt x="318" y="296"/>
                </a:cubicBezTo>
                <a:cubicBezTo>
                  <a:pt x="319" y="297"/>
                  <a:pt x="319" y="297"/>
                  <a:pt x="319" y="297"/>
                </a:cubicBezTo>
                <a:cubicBezTo>
                  <a:pt x="319" y="298"/>
                  <a:pt x="319" y="298"/>
                  <a:pt x="319" y="298"/>
                </a:cubicBezTo>
                <a:cubicBezTo>
                  <a:pt x="318" y="299"/>
                  <a:pt x="318" y="299"/>
                  <a:pt x="318" y="299"/>
                </a:cubicBezTo>
                <a:cubicBezTo>
                  <a:pt x="318" y="300"/>
                  <a:pt x="318" y="300"/>
                  <a:pt x="318" y="300"/>
                </a:cubicBezTo>
                <a:cubicBezTo>
                  <a:pt x="317" y="301"/>
                  <a:pt x="317" y="301"/>
                  <a:pt x="317" y="301"/>
                </a:cubicBezTo>
                <a:cubicBezTo>
                  <a:pt x="317" y="302"/>
                  <a:pt x="317" y="302"/>
                  <a:pt x="317" y="302"/>
                </a:cubicBezTo>
                <a:cubicBezTo>
                  <a:pt x="318" y="303"/>
                  <a:pt x="318" y="303"/>
                  <a:pt x="318" y="303"/>
                </a:cubicBezTo>
                <a:cubicBezTo>
                  <a:pt x="318" y="303"/>
                  <a:pt x="318" y="303"/>
                  <a:pt x="318" y="303"/>
                </a:cubicBezTo>
                <a:cubicBezTo>
                  <a:pt x="319" y="303"/>
                  <a:pt x="319" y="303"/>
                  <a:pt x="319" y="303"/>
                </a:cubicBezTo>
                <a:cubicBezTo>
                  <a:pt x="320" y="303"/>
                  <a:pt x="320" y="303"/>
                  <a:pt x="320" y="303"/>
                </a:cubicBezTo>
                <a:cubicBezTo>
                  <a:pt x="320" y="302"/>
                  <a:pt x="320" y="302"/>
                  <a:pt x="320" y="302"/>
                </a:cubicBezTo>
                <a:cubicBezTo>
                  <a:pt x="321" y="303"/>
                  <a:pt x="321" y="303"/>
                  <a:pt x="321" y="303"/>
                </a:cubicBezTo>
                <a:cubicBezTo>
                  <a:pt x="322" y="302"/>
                  <a:pt x="322" y="302"/>
                  <a:pt x="322" y="302"/>
                </a:cubicBezTo>
                <a:cubicBezTo>
                  <a:pt x="323" y="301"/>
                  <a:pt x="323" y="301"/>
                  <a:pt x="323" y="301"/>
                </a:cubicBezTo>
                <a:cubicBezTo>
                  <a:pt x="323" y="302"/>
                  <a:pt x="323" y="302"/>
                  <a:pt x="323" y="302"/>
                </a:cubicBezTo>
                <a:cubicBezTo>
                  <a:pt x="324" y="301"/>
                  <a:pt x="324" y="301"/>
                  <a:pt x="324" y="301"/>
                </a:cubicBezTo>
                <a:cubicBezTo>
                  <a:pt x="325" y="299"/>
                  <a:pt x="325" y="299"/>
                  <a:pt x="325" y="299"/>
                </a:cubicBezTo>
                <a:cubicBezTo>
                  <a:pt x="326" y="298"/>
                  <a:pt x="326" y="298"/>
                  <a:pt x="326" y="298"/>
                </a:cubicBezTo>
                <a:cubicBezTo>
                  <a:pt x="326" y="298"/>
                  <a:pt x="326" y="298"/>
                  <a:pt x="326" y="298"/>
                </a:cubicBezTo>
                <a:cubicBezTo>
                  <a:pt x="327" y="298"/>
                  <a:pt x="327" y="298"/>
                  <a:pt x="327" y="298"/>
                </a:cubicBezTo>
                <a:cubicBezTo>
                  <a:pt x="327" y="298"/>
                  <a:pt x="327" y="298"/>
                  <a:pt x="327" y="298"/>
                </a:cubicBezTo>
                <a:cubicBezTo>
                  <a:pt x="328" y="297"/>
                  <a:pt x="328" y="297"/>
                  <a:pt x="328" y="297"/>
                </a:cubicBezTo>
                <a:cubicBezTo>
                  <a:pt x="329" y="297"/>
                  <a:pt x="329" y="297"/>
                  <a:pt x="329" y="297"/>
                </a:cubicBezTo>
                <a:cubicBezTo>
                  <a:pt x="330" y="297"/>
                  <a:pt x="330" y="297"/>
                  <a:pt x="330" y="297"/>
                </a:cubicBezTo>
                <a:cubicBezTo>
                  <a:pt x="330" y="296"/>
                  <a:pt x="330" y="296"/>
                  <a:pt x="330" y="296"/>
                </a:cubicBezTo>
                <a:cubicBezTo>
                  <a:pt x="330" y="294"/>
                  <a:pt x="330" y="294"/>
                  <a:pt x="330" y="294"/>
                </a:cubicBezTo>
                <a:cubicBezTo>
                  <a:pt x="331" y="293"/>
                  <a:pt x="331" y="293"/>
                  <a:pt x="331" y="293"/>
                </a:cubicBezTo>
                <a:cubicBezTo>
                  <a:pt x="331" y="292"/>
                  <a:pt x="331" y="292"/>
                  <a:pt x="331" y="292"/>
                </a:cubicBezTo>
                <a:cubicBezTo>
                  <a:pt x="332" y="292"/>
                  <a:pt x="332" y="292"/>
                  <a:pt x="332" y="292"/>
                </a:cubicBezTo>
                <a:cubicBezTo>
                  <a:pt x="333" y="293"/>
                  <a:pt x="333" y="293"/>
                  <a:pt x="333" y="293"/>
                </a:cubicBezTo>
                <a:cubicBezTo>
                  <a:pt x="333" y="292"/>
                  <a:pt x="333" y="292"/>
                  <a:pt x="333" y="292"/>
                </a:cubicBezTo>
                <a:cubicBezTo>
                  <a:pt x="334" y="292"/>
                  <a:pt x="334" y="292"/>
                  <a:pt x="334" y="292"/>
                </a:cubicBezTo>
                <a:cubicBezTo>
                  <a:pt x="335" y="292"/>
                  <a:pt x="335" y="292"/>
                  <a:pt x="335" y="292"/>
                </a:cubicBezTo>
                <a:cubicBezTo>
                  <a:pt x="335" y="293"/>
                  <a:pt x="335" y="293"/>
                  <a:pt x="335" y="293"/>
                </a:cubicBezTo>
                <a:cubicBezTo>
                  <a:pt x="334" y="294"/>
                  <a:pt x="334" y="294"/>
                  <a:pt x="334" y="294"/>
                </a:cubicBezTo>
                <a:cubicBezTo>
                  <a:pt x="333" y="295"/>
                  <a:pt x="333" y="295"/>
                  <a:pt x="333" y="295"/>
                </a:cubicBezTo>
                <a:cubicBezTo>
                  <a:pt x="334" y="295"/>
                  <a:pt x="334" y="295"/>
                  <a:pt x="334" y="295"/>
                </a:cubicBezTo>
                <a:cubicBezTo>
                  <a:pt x="336" y="295"/>
                  <a:pt x="336" y="295"/>
                  <a:pt x="336" y="295"/>
                </a:cubicBezTo>
                <a:cubicBezTo>
                  <a:pt x="337" y="296"/>
                  <a:pt x="337" y="296"/>
                  <a:pt x="337" y="296"/>
                </a:cubicBezTo>
                <a:cubicBezTo>
                  <a:pt x="337" y="297"/>
                  <a:pt x="337" y="297"/>
                  <a:pt x="337" y="297"/>
                </a:cubicBezTo>
                <a:cubicBezTo>
                  <a:pt x="337" y="298"/>
                  <a:pt x="337" y="298"/>
                  <a:pt x="337" y="298"/>
                </a:cubicBezTo>
                <a:cubicBezTo>
                  <a:pt x="336" y="298"/>
                  <a:pt x="336" y="298"/>
                  <a:pt x="336" y="298"/>
                </a:cubicBezTo>
                <a:cubicBezTo>
                  <a:pt x="336" y="299"/>
                  <a:pt x="336" y="299"/>
                  <a:pt x="336" y="299"/>
                </a:cubicBezTo>
                <a:cubicBezTo>
                  <a:pt x="336" y="300"/>
                  <a:pt x="336" y="300"/>
                  <a:pt x="336" y="300"/>
                </a:cubicBezTo>
                <a:cubicBezTo>
                  <a:pt x="337" y="299"/>
                  <a:pt x="337" y="299"/>
                  <a:pt x="337" y="299"/>
                </a:cubicBezTo>
                <a:cubicBezTo>
                  <a:pt x="338" y="299"/>
                  <a:pt x="338" y="299"/>
                  <a:pt x="338" y="299"/>
                </a:cubicBezTo>
                <a:cubicBezTo>
                  <a:pt x="338" y="300"/>
                  <a:pt x="338" y="300"/>
                  <a:pt x="338" y="300"/>
                </a:cubicBezTo>
                <a:cubicBezTo>
                  <a:pt x="339" y="300"/>
                  <a:pt x="339" y="300"/>
                  <a:pt x="339" y="300"/>
                </a:cubicBezTo>
                <a:cubicBezTo>
                  <a:pt x="339" y="300"/>
                  <a:pt x="339" y="300"/>
                  <a:pt x="339" y="300"/>
                </a:cubicBezTo>
                <a:cubicBezTo>
                  <a:pt x="340" y="300"/>
                  <a:pt x="340" y="300"/>
                  <a:pt x="340" y="300"/>
                </a:cubicBezTo>
                <a:cubicBezTo>
                  <a:pt x="341" y="301"/>
                  <a:pt x="341" y="301"/>
                  <a:pt x="341" y="301"/>
                </a:cubicBezTo>
                <a:cubicBezTo>
                  <a:pt x="342" y="301"/>
                  <a:pt x="342" y="301"/>
                  <a:pt x="342" y="301"/>
                </a:cubicBezTo>
                <a:cubicBezTo>
                  <a:pt x="343" y="302"/>
                  <a:pt x="343" y="302"/>
                  <a:pt x="343" y="302"/>
                </a:cubicBezTo>
                <a:cubicBezTo>
                  <a:pt x="344" y="302"/>
                  <a:pt x="344" y="302"/>
                  <a:pt x="344" y="302"/>
                </a:cubicBezTo>
                <a:cubicBezTo>
                  <a:pt x="345" y="300"/>
                  <a:pt x="345" y="300"/>
                  <a:pt x="345" y="300"/>
                </a:cubicBezTo>
                <a:cubicBezTo>
                  <a:pt x="345" y="300"/>
                  <a:pt x="345" y="300"/>
                  <a:pt x="345" y="300"/>
                </a:cubicBezTo>
                <a:cubicBezTo>
                  <a:pt x="346" y="299"/>
                  <a:pt x="346" y="299"/>
                  <a:pt x="346" y="299"/>
                </a:cubicBezTo>
                <a:cubicBezTo>
                  <a:pt x="347" y="299"/>
                  <a:pt x="347" y="299"/>
                  <a:pt x="347" y="299"/>
                </a:cubicBezTo>
                <a:cubicBezTo>
                  <a:pt x="348" y="298"/>
                  <a:pt x="348" y="298"/>
                  <a:pt x="348" y="298"/>
                </a:cubicBezTo>
                <a:cubicBezTo>
                  <a:pt x="347" y="298"/>
                  <a:pt x="347" y="298"/>
                  <a:pt x="347" y="298"/>
                </a:cubicBezTo>
                <a:cubicBezTo>
                  <a:pt x="346" y="297"/>
                  <a:pt x="346" y="297"/>
                  <a:pt x="346" y="297"/>
                </a:cubicBezTo>
                <a:cubicBezTo>
                  <a:pt x="347" y="297"/>
                  <a:pt x="347" y="297"/>
                  <a:pt x="347" y="297"/>
                </a:cubicBezTo>
                <a:cubicBezTo>
                  <a:pt x="347" y="296"/>
                  <a:pt x="347" y="296"/>
                  <a:pt x="347" y="296"/>
                </a:cubicBezTo>
                <a:cubicBezTo>
                  <a:pt x="347" y="296"/>
                  <a:pt x="347" y="296"/>
                  <a:pt x="347" y="296"/>
                </a:cubicBezTo>
                <a:cubicBezTo>
                  <a:pt x="346" y="295"/>
                  <a:pt x="346" y="295"/>
                  <a:pt x="346" y="295"/>
                </a:cubicBezTo>
                <a:cubicBezTo>
                  <a:pt x="346" y="295"/>
                  <a:pt x="346" y="295"/>
                  <a:pt x="346" y="295"/>
                </a:cubicBezTo>
                <a:cubicBezTo>
                  <a:pt x="346" y="296"/>
                  <a:pt x="346" y="296"/>
                  <a:pt x="346" y="296"/>
                </a:cubicBezTo>
                <a:cubicBezTo>
                  <a:pt x="345" y="296"/>
                  <a:pt x="345" y="296"/>
                  <a:pt x="345" y="296"/>
                </a:cubicBezTo>
                <a:cubicBezTo>
                  <a:pt x="345" y="296"/>
                  <a:pt x="345" y="296"/>
                  <a:pt x="345" y="296"/>
                </a:cubicBezTo>
                <a:cubicBezTo>
                  <a:pt x="344" y="295"/>
                  <a:pt x="344" y="295"/>
                  <a:pt x="344" y="295"/>
                </a:cubicBezTo>
                <a:cubicBezTo>
                  <a:pt x="344" y="295"/>
                  <a:pt x="344" y="295"/>
                  <a:pt x="344" y="295"/>
                </a:cubicBezTo>
                <a:cubicBezTo>
                  <a:pt x="343" y="295"/>
                  <a:pt x="343" y="295"/>
                  <a:pt x="343" y="295"/>
                </a:cubicBezTo>
                <a:cubicBezTo>
                  <a:pt x="342" y="296"/>
                  <a:pt x="342" y="296"/>
                  <a:pt x="342" y="296"/>
                </a:cubicBezTo>
                <a:cubicBezTo>
                  <a:pt x="340" y="296"/>
                  <a:pt x="340" y="296"/>
                  <a:pt x="340" y="296"/>
                </a:cubicBezTo>
                <a:cubicBezTo>
                  <a:pt x="340" y="295"/>
                  <a:pt x="340" y="295"/>
                  <a:pt x="340" y="295"/>
                </a:cubicBezTo>
                <a:cubicBezTo>
                  <a:pt x="341" y="294"/>
                  <a:pt x="341" y="294"/>
                  <a:pt x="341" y="294"/>
                </a:cubicBezTo>
                <a:cubicBezTo>
                  <a:pt x="341" y="294"/>
                  <a:pt x="341" y="294"/>
                  <a:pt x="341" y="294"/>
                </a:cubicBezTo>
                <a:cubicBezTo>
                  <a:pt x="342" y="294"/>
                  <a:pt x="342" y="294"/>
                  <a:pt x="342" y="294"/>
                </a:cubicBezTo>
                <a:cubicBezTo>
                  <a:pt x="342" y="293"/>
                  <a:pt x="342" y="293"/>
                  <a:pt x="342" y="293"/>
                </a:cubicBezTo>
                <a:cubicBezTo>
                  <a:pt x="342" y="292"/>
                  <a:pt x="342" y="292"/>
                  <a:pt x="342" y="292"/>
                </a:cubicBezTo>
                <a:cubicBezTo>
                  <a:pt x="342" y="291"/>
                  <a:pt x="342" y="291"/>
                  <a:pt x="342" y="291"/>
                </a:cubicBezTo>
                <a:cubicBezTo>
                  <a:pt x="342" y="290"/>
                  <a:pt x="342" y="290"/>
                  <a:pt x="342" y="290"/>
                </a:cubicBezTo>
                <a:cubicBezTo>
                  <a:pt x="342" y="290"/>
                  <a:pt x="342" y="290"/>
                  <a:pt x="342" y="290"/>
                </a:cubicBezTo>
                <a:cubicBezTo>
                  <a:pt x="342" y="289"/>
                  <a:pt x="342" y="289"/>
                  <a:pt x="342" y="289"/>
                </a:cubicBezTo>
                <a:cubicBezTo>
                  <a:pt x="342" y="288"/>
                  <a:pt x="342" y="288"/>
                  <a:pt x="342" y="288"/>
                </a:cubicBezTo>
                <a:cubicBezTo>
                  <a:pt x="340" y="286"/>
                  <a:pt x="340" y="286"/>
                  <a:pt x="340" y="286"/>
                </a:cubicBezTo>
                <a:cubicBezTo>
                  <a:pt x="338" y="286"/>
                  <a:pt x="338" y="286"/>
                  <a:pt x="338" y="286"/>
                </a:cubicBezTo>
                <a:cubicBezTo>
                  <a:pt x="338" y="285"/>
                  <a:pt x="338" y="285"/>
                  <a:pt x="338" y="285"/>
                </a:cubicBezTo>
                <a:cubicBezTo>
                  <a:pt x="338" y="284"/>
                  <a:pt x="338" y="284"/>
                  <a:pt x="338" y="284"/>
                </a:cubicBezTo>
                <a:cubicBezTo>
                  <a:pt x="337" y="284"/>
                  <a:pt x="337" y="284"/>
                  <a:pt x="337" y="284"/>
                </a:cubicBezTo>
                <a:cubicBezTo>
                  <a:pt x="337" y="283"/>
                  <a:pt x="337" y="283"/>
                  <a:pt x="337" y="283"/>
                </a:cubicBezTo>
                <a:cubicBezTo>
                  <a:pt x="337" y="282"/>
                  <a:pt x="337" y="282"/>
                  <a:pt x="337" y="282"/>
                </a:cubicBezTo>
                <a:cubicBezTo>
                  <a:pt x="337" y="281"/>
                  <a:pt x="337" y="281"/>
                  <a:pt x="337" y="281"/>
                </a:cubicBezTo>
                <a:cubicBezTo>
                  <a:pt x="335" y="281"/>
                  <a:pt x="335" y="281"/>
                  <a:pt x="335" y="281"/>
                </a:cubicBezTo>
                <a:cubicBezTo>
                  <a:pt x="333" y="280"/>
                  <a:pt x="333" y="280"/>
                  <a:pt x="333" y="280"/>
                </a:cubicBezTo>
                <a:cubicBezTo>
                  <a:pt x="332" y="279"/>
                  <a:pt x="332" y="279"/>
                  <a:pt x="332" y="279"/>
                </a:cubicBezTo>
                <a:cubicBezTo>
                  <a:pt x="333" y="278"/>
                  <a:pt x="333" y="278"/>
                  <a:pt x="333" y="278"/>
                </a:cubicBezTo>
                <a:cubicBezTo>
                  <a:pt x="333" y="277"/>
                  <a:pt x="333" y="277"/>
                  <a:pt x="333" y="277"/>
                </a:cubicBezTo>
                <a:cubicBezTo>
                  <a:pt x="332" y="277"/>
                  <a:pt x="332" y="277"/>
                  <a:pt x="332" y="277"/>
                </a:cubicBezTo>
                <a:cubicBezTo>
                  <a:pt x="332" y="276"/>
                  <a:pt x="332" y="276"/>
                  <a:pt x="332" y="276"/>
                </a:cubicBezTo>
                <a:cubicBezTo>
                  <a:pt x="331" y="276"/>
                  <a:pt x="331" y="276"/>
                  <a:pt x="331" y="276"/>
                </a:cubicBezTo>
                <a:cubicBezTo>
                  <a:pt x="330" y="277"/>
                  <a:pt x="330" y="277"/>
                  <a:pt x="330" y="277"/>
                </a:cubicBezTo>
                <a:cubicBezTo>
                  <a:pt x="330" y="278"/>
                  <a:pt x="330" y="278"/>
                  <a:pt x="330" y="278"/>
                </a:cubicBezTo>
                <a:cubicBezTo>
                  <a:pt x="329" y="279"/>
                  <a:pt x="329" y="279"/>
                  <a:pt x="329" y="279"/>
                </a:cubicBezTo>
                <a:cubicBezTo>
                  <a:pt x="329" y="278"/>
                  <a:pt x="329" y="278"/>
                  <a:pt x="329" y="278"/>
                </a:cubicBezTo>
                <a:cubicBezTo>
                  <a:pt x="329" y="277"/>
                  <a:pt x="329" y="277"/>
                  <a:pt x="329" y="277"/>
                </a:cubicBezTo>
                <a:cubicBezTo>
                  <a:pt x="328" y="276"/>
                  <a:pt x="328" y="276"/>
                  <a:pt x="328" y="276"/>
                </a:cubicBezTo>
                <a:cubicBezTo>
                  <a:pt x="328" y="275"/>
                  <a:pt x="328" y="275"/>
                  <a:pt x="328" y="275"/>
                </a:cubicBezTo>
                <a:cubicBezTo>
                  <a:pt x="329" y="275"/>
                  <a:pt x="329" y="275"/>
                  <a:pt x="329" y="275"/>
                </a:cubicBezTo>
                <a:cubicBezTo>
                  <a:pt x="330" y="275"/>
                  <a:pt x="330" y="275"/>
                  <a:pt x="330" y="275"/>
                </a:cubicBezTo>
                <a:cubicBezTo>
                  <a:pt x="330" y="274"/>
                  <a:pt x="330" y="274"/>
                  <a:pt x="330" y="274"/>
                </a:cubicBezTo>
                <a:cubicBezTo>
                  <a:pt x="330" y="273"/>
                  <a:pt x="330" y="273"/>
                  <a:pt x="330" y="273"/>
                </a:cubicBezTo>
                <a:cubicBezTo>
                  <a:pt x="330" y="272"/>
                  <a:pt x="330" y="272"/>
                  <a:pt x="330" y="272"/>
                </a:cubicBezTo>
                <a:cubicBezTo>
                  <a:pt x="328" y="272"/>
                  <a:pt x="328" y="272"/>
                  <a:pt x="328" y="272"/>
                </a:cubicBezTo>
                <a:cubicBezTo>
                  <a:pt x="328" y="271"/>
                  <a:pt x="328" y="271"/>
                  <a:pt x="328" y="271"/>
                </a:cubicBezTo>
                <a:cubicBezTo>
                  <a:pt x="329" y="270"/>
                  <a:pt x="329" y="270"/>
                  <a:pt x="329" y="270"/>
                </a:cubicBezTo>
                <a:cubicBezTo>
                  <a:pt x="329" y="270"/>
                  <a:pt x="329" y="270"/>
                  <a:pt x="329" y="270"/>
                </a:cubicBezTo>
                <a:cubicBezTo>
                  <a:pt x="326" y="271"/>
                  <a:pt x="326" y="271"/>
                  <a:pt x="326" y="271"/>
                </a:cubicBezTo>
                <a:cubicBezTo>
                  <a:pt x="325" y="272"/>
                  <a:pt x="325" y="272"/>
                  <a:pt x="325" y="272"/>
                </a:cubicBezTo>
                <a:cubicBezTo>
                  <a:pt x="324" y="274"/>
                  <a:pt x="324" y="274"/>
                  <a:pt x="324" y="274"/>
                </a:cubicBezTo>
                <a:cubicBezTo>
                  <a:pt x="323" y="276"/>
                  <a:pt x="323" y="276"/>
                  <a:pt x="323" y="276"/>
                </a:cubicBezTo>
                <a:cubicBezTo>
                  <a:pt x="323" y="277"/>
                  <a:pt x="323" y="277"/>
                  <a:pt x="323" y="277"/>
                </a:cubicBezTo>
                <a:cubicBezTo>
                  <a:pt x="322" y="278"/>
                  <a:pt x="322" y="278"/>
                  <a:pt x="322" y="278"/>
                </a:cubicBezTo>
                <a:cubicBezTo>
                  <a:pt x="322" y="279"/>
                  <a:pt x="322" y="279"/>
                  <a:pt x="322" y="279"/>
                </a:cubicBezTo>
                <a:cubicBezTo>
                  <a:pt x="321" y="281"/>
                  <a:pt x="321" y="281"/>
                  <a:pt x="321" y="281"/>
                </a:cubicBezTo>
                <a:cubicBezTo>
                  <a:pt x="321" y="282"/>
                  <a:pt x="321" y="282"/>
                  <a:pt x="321" y="282"/>
                </a:cubicBezTo>
                <a:cubicBezTo>
                  <a:pt x="321" y="282"/>
                  <a:pt x="321" y="282"/>
                  <a:pt x="321" y="282"/>
                </a:cubicBezTo>
                <a:cubicBezTo>
                  <a:pt x="320" y="283"/>
                  <a:pt x="320" y="283"/>
                  <a:pt x="320" y="283"/>
                </a:cubicBezTo>
                <a:cubicBezTo>
                  <a:pt x="320" y="284"/>
                  <a:pt x="320" y="284"/>
                  <a:pt x="320" y="284"/>
                </a:cubicBezTo>
                <a:cubicBezTo>
                  <a:pt x="319" y="286"/>
                  <a:pt x="319" y="286"/>
                  <a:pt x="319" y="286"/>
                </a:cubicBezTo>
                <a:cubicBezTo>
                  <a:pt x="318" y="287"/>
                  <a:pt x="318" y="287"/>
                  <a:pt x="318" y="287"/>
                </a:cubicBezTo>
                <a:cubicBezTo>
                  <a:pt x="318" y="288"/>
                  <a:pt x="318" y="288"/>
                  <a:pt x="318" y="288"/>
                </a:cubicBezTo>
                <a:cubicBezTo>
                  <a:pt x="318" y="289"/>
                  <a:pt x="318" y="289"/>
                  <a:pt x="318" y="289"/>
                </a:cubicBezTo>
                <a:cubicBezTo>
                  <a:pt x="318" y="291"/>
                  <a:pt x="318" y="291"/>
                  <a:pt x="318" y="291"/>
                </a:cubicBezTo>
                <a:cubicBezTo>
                  <a:pt x="317" y="292"/>
                  <a:pt x="317" y="292"/>
                  <a:pt x="317" y="292"/>
                </a:cubicBezTo>
                <a:cubicBezTo>
                  <a:pt x="316" y="292"/>
                  <a:pt x="316" y="292"/>
                  <a:pt x="316" y="292"/>
                </a:cubicBezTo>
                <a:cubicBezTo>
                  <a:pt x="314" y="293"/>
                  <a:pt x="314" y="293"/>
                  <a:pt x="314" y="293"/>
                </a:cubicBezTo>
                <a:cubicBezTo>
                  <a:pt x="314" y="294"/>
                  <a:pt x="314" y="294"/>
                  <a:pt x="314" y="294"/>
                </a:cubicBezTo>
                <a:cubicBezTo>
                  <a:pt x="313" y="296"/>
                  <a:pt x="313" y="296"/>
                  <a:pt x="313" y="296"/>
                </a:cubicBezTo>
                <a:cubicBezTo>
                  <a:pt x="313" y="297"/>
                  <a:pt x="313" y="297"/>
                  <a:pt x="313" y="297"/>
                </a:cubicBezTo>
                <a:close/>
                <a:moveTo>
                  <a:pt x="323" y="315"/>
                </a:moveTo>
                <a:cubicBezTo>
                  <a:pt x="323" y="315"/>
                  <a:pt x="324" y="316"/>
                  <a:pt x="324" y="316"/>
                </a:cubicBezTo>
                <a:cubicBezTo>
                  <a:pt x="324" y="316"/>
                  <a:pt x="324" y="316"/>
                  <a:pt x="324" y="316"/>
                </a:cubicBezTo>
                <a:cubicBezTo>
                  <a:pt x="325" y="314"/>
                  <a:pt x="325" y="314"/>
                  <a:pt x="325" y="314"/>
                </a:cubicBezTo>
                <a:cubicBezTo>
                  <a:pt x="326" y="314"/>
                  <a:pt x="326" y="314"/>
                  <a:pt x="326" y="314"/>
                </a:cubicBezTo>
                <a:cubicBezTo>
                  <a:pt x="327" y="314"/>
                  <a:pt x="327" y="314"/>
                  <a:pt x="327" y="314"/>
                </a:cubicBezTo>
                <a:cubicBezTo>
                  <a:pt x="327" y="315"/>
                  <a:pt x="327" y="315"/>
                  <a:pt x="327" y="315"/>
                </a:cubicBezTo>
                <a:cubicBezTo>
                  <a:pt x="328" y="315"/>
                  <a:pt x="328" y="315"/>
                  <a:pt x="328" y="315"/>
                </a:cubicBezTo>
                <a:cubicBezTo>
                  <a:pt x="329" y="313"/>
                  <a:pt x="329" y="313"/>
                  <a:pt x="329" y="313"/>
                </a:cubicBezTo>
                <a:cubicBezTo>
                  <a:pt x="330" y="313"/>
                  <a:pt x="330" y="313"/>
                  <a:pt x="330" y="313"/>
                </a:cubicBezTo>
                <a:cubicBezTo>
                  <a:pt x="331" y="312"/>
                  <a:pt x="331" y="312"/>
                  <a:pt x="331" y="312"/>
                </a:cubicBezTo>
                <a:cubicBezTo>
                  <a:pt x="332" y="311"/>
                  <a:pt x="332" y="311"/>
                  <a:pt x="332" y="311"/>
                </a:cubicBezTo>
                <a:cubicBezTo>
                  <a:pt x="333" y="311"/>
                  <a:pt x="333" y="311"/>
                  <a:pt x="333" y="311"/>
                </a:cubicBezTo>
                <a:cubicBezTo>
                  <a:pt x="335" y="310"/>
                  <a:pt x="335" y="310"/>
                  <a:pt x="335" y="310"/>
                </a:cubicBezTo>
                <a:cubicBezTo>
                  <a:pt x="335" y="309"/>
                  <a:pt x="335" y="309"/>
                  <a:pt x="335" y="309"/>
                </a:cubicBezTo>
                <a:cubicBezTo>
                  <a:pt x="336" y="308"/>
                  <a:pt x="336" y="308"/>
                  <a:pt x="336" y="308"/>
                </a:cubicBezTo>
                <a:cubicBezTo>
                  <a:pt x="336" y="308"/>
                  <a:pt x="336" y="308"/>
                  <a:pt x="336" y="308"/>
                </a:cubicBezTo>
                <a:cubicBezTo>
                  <a:pt x="334" y="308"/>
                  <a:pt x="334" y="308"/>
                  <a:pt x="334" y="308"/>
                </a:cubicBezTo>
                <a:cubicBezTo>
                  <a:pt x="334" y="307"/>
                  <a:pt x="334" y="307"/>
                  <a:pt x="334" y="307"/>
                </a:cubicBezTo>
                <a:cubicBezTo>
                  <a:pt x="333" y="307"/>
                  <a:pt x="333" y="307"/>
                  <a:pt x="333" y="307"/>
                </a:cubicBezTo>
                <a:cubicBezTo>
                  <a:pt x="332" y="308"/>
                  <a:pt x="332" y="308"/>
                  <a:pt x="332" y="308"/>
                </a:cubicBezTo>
                <a:cubicBezTo>
                  <a:pt x="332" y="307"/>
                  <a:pt x="332" y="307"/>
                  <a:pt x="332" y="307"/>
                </a:cubicBezTo>
                <a:cubicBezTo>
                  <a:pt x="331" y="308"/>
                  <a:pt x="331" y="308"/>
                  <a:pt x="331" y="308"/>
                </a:cubicBezTo>
                <a:cubicBezTo>
                  <a:pt x="330" y="308"/>
                  <a:pt x="330" y="308"/>
                  <a:pt x="330" y="308"/>
                </a:cubicBezTo>
                <a:cubicBezTo>
                  <a:pt x="329" y="308"/>
                  <a:pt x="329" y="308"/>
                  <a:pt x="329" y="308"/>
                </a:cubicBezTo>
                <a:cubicBezTo>
                  <a:pt x="329" y="307"/>
                  <a:pt x="329" y="307"/>
                  <a:pt x="329" y="307"/>
                </a:cubicBezTo>
                <a:cubicBezTo>
                  <a:pt x="328" y="307"/>
                  <a:pt x="328" y="307"/>
                  <a:pt x="328" y="307"/>
                </a:cubicBezTo>
                <a:cubicBezTo>
                  <a:pt x="327" y="307"/>
                  <a:pt x="327" y="307"/>
                  <a:pt x="327" y="307"/>
                </a:cubicBezTo>
                <a:cubicBezTo>
                  <a:pt x="326" y="309"/>
                  <a:pt x="326" y="309"/>
                  <a:pt x="326" y="309"/>
                </a:cubicBezTo>
                <a:cubicBezTo>
                  <a:pt x="326" y="310"/>
                  <a:pt x="326" y="310"/>
                  <a:pt x="326" y="310"/>
                </a:cubicBezTo>
                <a:cubicBezTo>
                  <a:pt x="325" y="310"/>
                  <a:pt x="325" y="310"/>
                  <a:pt x="325" y="310"/>
                </a:cubicBezTo>
                <a:cubicBezTo>
                  <a:pt x="323" y="311"/>
                  <a:pt x="323" y="311"/>
                  <a:pt x="323" y="311"/>
                </a:cubicBezTo>
                <a:cubicBezTo>
                  <a:pt x="323" y="312"/>
                  <a:pt x="323" y="312"/>
                  <a:pt x="323" y="312"/>
                </a:cubicBezTo>
                <a:cubicBezTo>
                  <a:pt x="323" y="312"/>
                  <a:pt x="323" y="312"/>
                  <a:pt x="323" y="312"/>
                </a:cubicBezTo>
                <a:cubicBezTo>
                  <a:pt x="324" y="313"/>
                  <a:pt x="324" y="313"/>
                  <a:pt x="324" y="313"/>
                </a:cubicBezTo>
                <a:cubicBezTo>
                  <a:pt x="323" y="314"/>
                  <a:pt x="323" y="314"/>
                  <a:pt x="323" y="314"/>
                </a:cubicBezTo>
                <a:cubicBezTo>
                  <a:pt x="323" y="315"/>
                  <a:pt x="323" y="315"/>
                  <a:pt x="323" y="315"/>
                </a:cubicBezTo>
                <a:close/>
                <a:moveTo>
                  <a:pt x="425" y="324"/>
                </a:moveTo>
                <a:cubicBezTo>
                  <a:pt x="425" y="324"/>
                  <a:pt x="425" y="324"/>
                  <a:pt x="425" y="324"/>
                </a:cubicBezTo>
                <a:cubicBezTo>
                  <a:pt x="426" y="324"/>
                  <a:pt x="426" y="324"/>
                  <a:pt x="426" y="324"/>
                </a:cubicBezTo>
                <a:cubicBezTo>
                  <a:pt x="427" y="325"/>
                  <a:pt x="427" y="325"/>
                  <a:pt x="427" y="325"/>
                </a:cubicBezTo>
                <a:cubicBezTo>
                  <a:pt x="428" y="324"/>
                  <a:pt x="428" y="324"/>
                  <a:pt x="428" y="324"/>
                </a:cubicBezTo>
                <a:cubicBezTo>
                  <a:pt x="428" y="324"/>
                  <a:pt x="428" y="324"/>
                  <a:pt x="428" y="324"/>
                </a:cubicBezTo>
                <a:cubicBezTo>
                  <a:pt x="428" y="323"/>
                  <a:pt x="428" y="323"/>
                  <a:pt x="428" y="323"/>
                </a:cubicBezTo>
                <a:cubicBezTo>
                  <a:pt x="428" y="323"/>
                  <a:pt x="428" y="323"/>
                  <a:pt x="428" y="323"/>
                </a:cubicBezTo>
                <a:cubicBezTo>
                  <a:pt x="428" y="322"/>
                  <a:pt x="428" y="322"/>
                  <a:pt x="428" y="322"/>
                </a:cubicBezTo>
                <a:cubicBezTo>
                  <a:pt x="427" y="323"/>
                  <a:pt x="427" y="323"/>
                  <a:pt x="427" y="323"/>
                </a:cubicBezTo>
                <a:cubicBezTo>
                  <a:pt x="426" y="323"/>
                  <a:pt x="426" y="323"/>
                  <a:pt x="426" y="323"/>
                </a:cubicBezTo>
                <a:cubicBezTo>
                  <a:pt x="425" y="324"/>
                  <a:pt x="425" y="324"/>
                  <a:pt x="425" y="324"/>
                </a:cubicBezTo>
                <a:close/>
                <a:moveTo>
                  <a:pt x="393" y="315"/>
                </a:moveTo>
                <a:cubicBezTo>
                  <a:pt x="393" y="316"/>
                  <a:pt x="393" y="316"/>
                  <a:pt x="393" y="316"/>
                </a:cubicBezTo>
                <a:cubicBezTo>
                  <a:pt x="395" y="316"/>
                  <a:pt x="395" y="316"/>
                  <a:pt x="395" y="316"/>
                </a:cubicBezTo>
                <a:cubicBezTo>
                  <a:pt x="395" y="317"/>
                  <a:pt x="395" y="317"/>
                  <a:pt x="395" y="317"/>
                </a:cubicBezTo>
                <a:cubicBezTo>
                  <a:pt x="395" y="317"/>
                  <a:pt x="395" y="317"/>
                  <a:pt x="395" y="317"/>
                </a:cubicBezTo>
                <a:cubicBezTo>
                  <a:pt x="395" y="318"/>
                  <a:pt x="395" y="318"/>
                  <a:pt x="395" y="318"/>
                </a:cubicBezTo>
                <a:cubicBezTo>
                  <a:pt x="396" y="318"/>
                  <a:pt x="396" y="318"/>
                  <a:pt x="396" y="318"/>
                </a:cubicBezTo>
                <a:cubicBezTo>
                  <a:pt x="396" y="318"/>
                  <a:pt x="396" y="318"/>
                  <a:pt x="396" y="318"/>
                </a:cubicBezTo>
                <a:cubicBezTo>
                  <a:pt x="397" y="318"/>
                  <a:pt x="397" y="318"/>
                  <a:pt x="397" y="318"/>
                </a:cubicBezTo>
                <a:cubicBezTo>
                  <a:pt x="397" y="318"/>
                  <a:pt x="397" y="318"/>
                  <a:pt x="397" y="318"/>
                </a:cubicBezTo>
                <a:cubicBezTo>
                  <a:pt x="397" y="318"/>
                  <a:pt x="397" y="318"/>
                  <a:pt x="397" y="318"/>
                </a:cubicBezTo>
                <a:cubicBezTo>
                  <a:pt x="397" y="317"/>
                  <a:pt x="397" y="317"/>
                  <a:pt x="397" y="317"/>
                </a:cubicBezTo>
                <a:cubicBezTo>
                  <a:pt x="396" y="316"/>
                  <a:pt x="396" y="316"/>
                  <a:pt x="396" y="316"/>
                </a:cubicBezTo>
                <a:cubicBezTo>
                  <a:pt x="396" y="316"/>
                  <a:pt x="396" y="316"/>
                  <a:pt x="396" y="316"/>
                </a:cubicBezTo>
                <a:cubicBezTo>
                  <a:pt x="395" y="316"/>
                  <a:pt x="395" y="316"/>
                  <a:pt x="395" y="316"/>
                </a:cubicBezTo>
                <a:cubicBezTo>
                  <a:pt x="394" y="315"/>
                  <a:pt x="394" y="315"/>
                  <a:pt x="394" y="315"/>
                </a:cubicBezTo>
                <a:cubicBezTo>
                  <a:pt x="393" y="315"/>
                  <a:pt x="393" y="315"/>
                  <a:pt x="393" y="315"/>
                </a:cubicBezTo>
                <a:cubicBezTo>
                  <a:pt x="393" y="315"/>
                  <a:pt x="393" y="315"/>
                  <a:pt x="393" y="315"/>
                </a:cubicBezTo>
                <a:close/>
                <a:moveTo>
                  <a:pt x="423" y="332"/>
                </a:moveTo>
                <a:cubicBezTo>
                  <a:pt x="422" y="331"/>
                  <a:pt x="422" y="331"/>
                  <a:pt x="422" y="331"/>
                </a:cubicBezTo>
                <a:cubicBezTo>
                  <a:pt x="422" y="330"/>
                  <a:pt x="422" y="330"/>
                  <a:pt x="422" y="330"/>
                </a:cubicBezTo>
                <a:cubicBezTo>
                  <a:pt x="422" y="330"/>
                  <a:pt x="422" y="330"/>
                  <a:pt x="422" y="330"/>
                </a:cubicBezTo>
                <a:cubicBezTo>
                  <a:pt x="422" y="329"/>
                  <a:pt x="422" y="329"/>
                  <a:pt x="422" y="329"/>
                </a:cubicBezTo>
                <a:cubicBezTo>
                  <a:pt x="422" y="328"/>
                  <a:pt x="422" y="328"/>
                  <a:pt x="422" y="328"/>
                </a:cubicBezTo>
                <a:cubicBezTo>
                  <a:pt x="423" y="329"/>
                  <a:pt x="423" y="329"/>
                  <a:pt x="423" y="329"/>
                </a:cubicBezTo>
                <a:cubicBezTo>
                  <a:pt x="423" y="330"/>
                  <a:pt x="423" y="330"/>
                  <a:pt x="423" y="330"/>
                </a:cubicBezTo>
                <a:cubicBezTo>
                  <a:pt x="424" y="330"/>
                  <a:pt x="424" y="330"/>
                  <a:pt x="424" y="330"/>
                </a:cubicBezTo>
                <a:cubicBezTo>
                  <a:pt x="424" y="331"/>
                  <a:pt x="424" y="331"/>
                  <a:pt x="424" y="331"/>
                </a:cubicBezTo>
                <a:cubicBezTo>
                  <a:pt x="423" y="332"/>
                  <a:pt x="423" y="332"/>
                  <a:pt x="423" y="332"/>
                </a:cubicBezTo>
                <a:close/>
                <a:moveTo>
                  <a:pt x="422" y="335"/>
                </a:moveTo>
                <a:cubicBezTo>
                  <a:pt x="422" y="335"/>
                  <a:pt x="422" y="335"/>
                  <a:pt x="422" y="335"/>
                </a:cubicBezTo>
                <a:cubicBezTo>
                  <a:pt x="422" y="334"/>
                  <a:pt x="422" y="334"/>
                  <a:pt x="422" y="334"/>
                </a:cubicBezTo>
                <a:cubicBezTo>
                  <a:pt x="421" y="334"/>
                  <a:pt x="421" y="334"/>
                  <a:pt x="421" y="334"/>
                </a:cubicBezTo>
                <a:cubicBezTo>
                  <a:pt x="420" y="334"/>
                  <a:pt x="420" y="334"/>
                  <a:pt x="420" y="334"/>
                </a:cubicBezTo>
                <a:cubicBezTo>
                  <a:pt x="420" y="333"/>
                  <a:pt x="420" y="333"/>
                  <a:pt x="420" y="333"/>
                </a:cubicBezTo>
                <a:cubicBezTo>
                  <a:pt x="420" y="332"/>
                  <a:pt x="420" y="332"/>
                  <a:pt x="420" y="332"/>
                </a:cubicBezTo>
                <a:cubicBezTo>
                  <a:pt x="420" y="332"/>
                  <a:pt x="420" y="332"/>
                  <a:pt x="420" y="332"/>
                </a:cubicBezTo>
                <a:cubicBezTo>
                  <a:pt x="421" y="332"/>
                  <a:pt x="421" y="332"/>
                  <a:pt x="421" y="332"/>
                </a:cubicBezTo>
                <a:cubicBezTo>
                  <a:pt x="423" y="332"/>
                  <a:pt x="423" y="332"/>
                  <a:pt x="423" y="332"/>
                </a:cubicBezTo>
                <a:cubicBezTo>
                  <a:pt x="424" y="333"/>
                  <a:pt x="424" y="333"/>
                  <a:pt x="424" y="333"/>
                </a:cubicBezTo>
                <a:cubicBezTo>
                  <a:pt x="424" y="333"/>
                  <a:pt x="424" y="333"/>
                  <a:pt x="424" y="333"/>
                </a:cubicBezTo>
                <a:cubicBezTo>
                  <a:pt x="423" y="334"/>
                  <a:pt x="423" y="334"/>
                  <a:pt x="423" y="334"/>
                </a:cubicBezTo>
                <a:cubicBezTo>
                  <a:pt x="423" y="334"/>
                  <a:pt x="423" y="334"/>
                  <a:pt x="423" y="334"/>
                </a:cubicBezTo>
                <a:cubicBezTo>
                  <a:pt x="423" y="335"/>
                  <a:pt x="423" y="335"/>
                  <a:pt x="423" y="335"/>
                </a:cubicBezTo>
                <a:cubicBezTo>
                  <a:pt x="423" y="335"/>
                  <a:pt x="423" y="335"/>
                  <a:pt x="423" y="335"/>
                </a:cubicBezTo>
                <a:cubicBezTo>
                  <a:pt x="422" y="335"/>
                  <a:pt x="422" y="335"/>
                  <a:pt x="422" y="335"/>
                </a:cubicBezTo>
                <a:close/>
                <a:moveTo>
                  <a:pt x="391" y="354"/>
                </a:moveTo>
                <a:cubicBezTo>
                  <a:pt x="391" y="355"/>
                  <a:pt x="391" y="355"/>
                  <a:pt x="391" y="355"/>
                </a:cubicBezTo>
                <a:cubicBezTo>
                  <a:pt x="391" y="355"/>
                  <a:pt x="391" y="355"/>
                  <a:pt x="391" y="355"/>
                </a:cubicBezTo>
                <a:cubicBezTo>
                  <a:pt x="391" y="354"/>
                  <a:pt x="391" y="354"/>
                  <a:pt x="391" y="354"/>
                </a:cubicBezTo>
                <a:close/>
                <a:moveTo>
                  <a:pt x="392" y="355"/>
                </a:moveTo>
                <a:cubicBezTo>
                  <a:pt x="391" y="355"/>
                  <a:pt x="391" y="355"/>
                  <a:pt x="391" y="355"/>
                </a:cubicBezTo>
                <a:cubicBezTo>
                  <a:pt x="392" y="355"/>
                  <a:pt x="392" y="355"/>
                  <a:pt x="392" y="355"/>
                </a:cubicBezTo>
                <a:cubicBezTo>
                  <a:pt x="392" y="355"/>
                  <a:pt x="392" y="355"/>
                  <a:pt x="392" y="355"/>
                </a:cubicBezTo>
                <a:close/>
                <a:moveTo>
                  <a:pt x="392" y="354"/>
                </a:moveTo>
                <a:cubicBezTo>
                  <a:pt x="392" y="355"/>
                  <a:pt x="392" y="355"/>
                  <a:pt x="392" y="355"/>
                </a:cubicBezTo>
                <a:cubicBezTo>
                  <a:pt x="392" y="356"/>
                  <a:pt x="392" y="356"/>
                  <a:pt x="392" y="356"/>
                </a:cubicBezTo>
                <a:cubicBezTo>
                  <a:pt x="392" y="357"/>
                  <a:pt x="392" y="357"/>
                  <a:pt x="392" y="357"/>
                </a:cubicBezTo>
                <a:cubicBezTo>
                  <a:pt x="393" y="356"/>
                  <a:pt x="393" y="356"/>
                  <a:pt x="393" y="356"/>
                </a:cubicBezTo>
                <a:cubicBezTo>
                  <a:pt x="393" y="355"/>
                  <a:pt x="393" y="355"/>
                  <a:pt x="393" y="355"/>
                </a:cubicBezTo>
                <a:cubicBezTo>
                  <a:pt x="392" y="354"/>
                  <a:pt x="392" y="354"/>
                  <a:pt x="392" y="354"/>
                </a:cubicBezTo>
                <a:close/>
                <a:moveTo>
                  <a:pt x="401" y="345"/>
                </a:moveTo>
                <a:cubicBezTo>
                  <a:pt x="401" y="344"/>
                  <a:pt x="401" y="344"/>
                  <a:pt x="401" y="344"/>
                </a:cubicBezTo>
                <a:cubicBezTo>
                  <a:pt x="401" y="343"/>
                  <a:pt x="401" y="343"/>
                  <a:pt x="401" y="343"/>
                </a:cubicBezTo>
                <a:cubicBezTo>
                  <a:pt x="401" y="343"/>
                  <a:pt x="401" y="343"/>
                  <a:pt x="401" y="343"/>
                </a:cubicBezTo>
                <a:cubicBezTo>
                  <a:pt x="402" y="342"/>
                  <a:pt x="402" y="342"/>
                  <a:pt x="402" y="342"/>
                </a:cubicBezTo>
                <a:cubicBezTo>
                  <a:pt x="403" y="341"/>
                  <a:pt x="403" y="341"/>
                  <a:pt x="403" y="341"/>
                </a:cubicBezTo>
                <a:cubicBezTo>
                  <a:pt x="404" y="341"/>
                  <a:pt x="404" y="341"/>
                  <a:pt x="404" y="341"/>
                </a:cubicBezTo>
                <a:cubicBezTo>
                  <a:pt x="404" y="341"/>
                  <a:pt x="404" y="341"/>
                  <a:pt x="404" y="341"/>
                </a:cubicBezTo>
                <a:cubicBezTo>
                  <a:pt x="404" y="342"/>
                  <a:pt x="404" y="342"/>
                  <a:pt x="404" y="342"/>
                </a:cubicBezTo>
                <a:cubicBezTo>
                  <a:pt x="405" y="342"/>
                  <a:pt x="405" y="342"/>
                  <a:pt x="405" y="342"/>
                </a:cubicBezTo>
                <a:cubicBezTo>
                  <a:pt x="405" y="343"/>
                  <a:pt x="405" y="343"/>
                  <a:pt x="405" y="343"/>
                </a:cubicBezTo>
                <a:cubicBezTo>
                  <a:pt x="404" y="343"/>
                  <a:pt x="404" y="343"/>
                  <a:pt x="404" y="343"/>
                </a:cubicBezTo>
                <a:cubicBezTo>
                  <a:pt x="403" y="344"/>
                  <a:pt x="403" y="344"/>
                  <a:pt x="403" y="344"/>
                </a:cubicBezTo>
                <a:cubicBezTo>
                  <a:pt x="402" y="344"/>
                  <a:pt x="402" y="344"/>
                  <a:pt x="402" y="344"/>
                </a:cubicBezTo>
                <a:cubicBezTo>
                  <a:pt x="401" y="345"/>
                  <a:pt x="401" y="345"/>
                  <a:pt x="401" y="345"/>
                </a:cubicBezTo>
                <a:cubicBezTo>
                  <a:pt x="401" y="345"/>
                  <a:pt x="401" y="345"/>
                  <a:pt x="401" y="345"/>
                </a:cubicBezTo>
                <a:close/>
                <a:moveTo>
                  <a:pt x="373" y="314"/>
                </a:moveTo>
                <a:cubicBezTo>
                  <a:pt x="374" y="315"/>
                  <a:pt x="374" y="315"/>
                  <a:pt x="374" y="315"/>
                </a:cubicBezTo>
                <a:cubicBezTo>
                  <a:pt x="375" y="316"/>
                  <a:pt x="375" y="316"/>
                  <a:pt x="375" y="316"/>
                </a:cubicBezTo>
                <a:cubicBezTo>
                  <a:pt x="376" y="316"/>
                  <a:pt x="376" y="316"/>
                  <a:pt x="376" y="316"/>
                </a:cubicBezTo>
                <a:cubicBezTo>
                  <a:pt x="377" y="316"/>
                  <a:pt x="377" y="316"/>
                  <a:pt x="377" y="316"/>
                </a:cubicBezTo>
                <a:cubicBezTo>
                  <a:pt x="377" y="316"/>
                  <a:pt x="377" y="316"/>
                  <a:pt x="377" y="316"/>
                </a:cubicBezTo>
                <a:cubicBezTo>
                  <a:pt x="376" y="315"/>
                  <a:pt x="376" y="315"/>
                  <a:pt x="376" y="315"/>
                </a:cubicBezTo>
                <a:cubicBezTo>
                  <a:pt x="375" y="314"/>
                  <a:pt x="375" y="314"/>
                  <a:pt x="375" y="314"/>
                </a:cubicBezTo>
                <a:cubicBezTo>
                  <a:pt x="374" y="314"/>
                  <a:pt x="374" y="314"/>
                  <a:pt x="374" y="314"/>
                </a:cubicBezTo>
                <a:cubicBezTo>
                  <a:pt x="373" y="314"/>
                  <a:pt x="373" y="314"/>
                  <a:pt x="373" y="314"/>
                </a:cubicBezTo>
                <a:close/>
                <a:moveTo>
                  <a:pt x="364" y="305"/>
                </a:moveTo>
                <a:cubicBezTo>
                  <a:pt x="364" y="306"/>
                  <a:pt x="364" y="306"/>
                  <a:pt x="364" y="306"/>
                </a:cubicBezTo>
                <a:cubicBezTo>
                  <a:pt x="365" y="306"/>
                  <a:pt x="365" y="306"/>
                  <a:pt x="365" y="306"/>
                </a:cubicBezTo>
                <a:cubicBezTo>
                  <a:pt x="365" y="306"/>
                  <a:pt x="365" y="306"/>
                  <a:pt x="365" y="306"/>
                </a:cubicBezTo>
                <a:cubicBezTo>
                  <a:pt x="366" y="306"/>
                  <a:pt x="366" y="306"/>
                  <a:pt x="366" y="306"/>
                </a:cubicBezTo>
                <a:cubicBezTo>
                  <a:pt x="366" y="305"/>
                  <a:pt x="366" y="305"/>
                  <a:pt x="366" y="305"/>
                </a:cubicBezTo>
                <a:cubicBezTo>
                  <a:pt x="366" y="305"/>
                  <a:pt x="366" y="305"/>
                  <a:pt x="366" y="305"/>
                </a:cubicBezTo>
                <a:cubicBezTo>
                  <a:pt x="367" y="305"/>
                  <a:pt x="367" y="305"/>
                  <a:pt x="367" y="305"/>
                </a:cubicBezTo>
                <a:cubicBezTo>
                  <a:pt x="366" y="304"/>
                  <a:pt x="366" y="304"/>
                  <a:pt x="366" y="304"/>
                </a:cubicBezTo>
                <a:cubicBezTo>
                  <a:pt x="366" y="304"/>
                  <a:pt x="366" y="304"/>
                  <a:pt x="366" y="304"/>
                </a:cubicBezTo>
                <a:cubicBezTo>
                  <a:pt x="366" y="304"/>
                  <a:pt x="366" y="304"/>
                  <a:pt x="366" y="304"/>
                </a:cubicBezTo>
                <a:cubicBezTo>
                  <a:pt x="365" y="303"/>
                  <a:pt x="365" y="303"/>
                  <a:pt x="365" y="303"/>
                </a:cubicBezTo>
                <a:cubicBezTo>
                  <a:pt x="364" y="303"/>
                  <a:pt x="364" y="303"/>
                  <a:pt x="364" y="303"/>
                </a:cubicBezTo>
                <a:cubicBezTo>
                  <a:pt x="364" y="302"/>
                  <a:pt x="364" y="302"/>
                  <a:pt x="364" y="302"/>
                </a:cubicBezTo>
                <a:cubicBezTo>
                  <a:pt x="364" y="302"/>
                  <a:pt x="364" y="302"/>
                  <a:pt x="364" y="302"/>
                </a:cubicBezTo>
                <a:cubicBezTo>
                  <a:pt x="363" y="302"/>
                  <a:pt x="363" y="302"/>
                  <a:pt x="363" y="302"/>
                </a:cubicBezTo>
                <a:cubicBezTo>
                  <a:pt x="363" y="302"/>
                  <a:pt x="363" y="302"/>
                  <a:pt x="363" y="302"/>
                </a:cubicBezTo>
                <a:cubicBezTo>
                  <a:pt x="362" y="302"/>
                  <a:pt x="362" y="302"/>
                  <a:pt x="362" y="302"/>
                </a:cubicBezTo>
                <a:cubicBezTo>
                  <a:pt x="362" y="302"/>
                  <a:pt x="362" y="302"/>
                  <a:pt x="362" y="302"/>
                </a:cubicBezTo>
                <a:cubicBezTo>
                  <a:pt x="362" y="303"/>
                  <a:pt x="362" y="303"/>
                  <a:pt x="362" y="303"/>
                </a:cubicBezTo>
                <a:cubicBezTo>
                  <a:pt x="362" y="303"/>
                  <a:pt x="362" y="303"/>
                  <a:pt x="362" y="303"/>
                </a:cubicBezTo>
                <a:cubicBezTo>
                  <a:pt x="363" y="303"/>
                  <a:pt x="363" y="303"/>
                  <a:pt x="363" y="303"/>
                </a:cubicBezTo>
                <a:cubicBezTo>
                  <a:pt x="363" y="304"/>
                  <a:pt x="363" y="304"/>
                  <a:pt x="363" y="304"/>
                </a:cubicBezTo>
                <a:cubicBezTo>
                  <a:pt x="364" y="305"/>
                  <a:pt x="364" y="305"/>
                  <a:pt x="364" y="305"/>
                </a:cubicBezTo>
                <a:cubicBezTo>
                  <a:pt x="364" y="305"/>
                  <a:pt x="364" y="305"/>
                  <a:pt x="364" y="305"/>
                </a:cubicBezTo>
                <a:close/>
                <a:moveTo>
                  <a:pt x="357" y="309"/>
                </a:moveTo>
                <a:cubicBezTo>
                  <a:pt x="358" y="308"/>
                  <a:pt x="358" y="308"/>
                  <a:pt x="358" y="308"/>
                </a:cubicBezTo>
                <a:cubicBezTo>
                  <a:pt x="359" y="308"/>
                  <a:pt x="359" y="308"/>
                  <a:pt x="359" y="308"/>
                </a:cubicBezTo>
                <a:cubicBezTo>
                  <a:pt x="360" y="308"/>
                  <a:pt x="360" y="308"/>
                  <a:pt x="360" y="308"/>
                </a:cubicBezTo>
                <a:cubicBezTo>
                  <a:pt x="360" y="307"/>
                  <a:pt x="360" y="307"/>
                  <a:pt x="360" y="307"/>
                </a:cubicBezTo>
                <a:cubicBezTo>
                  <a:pt x="360" y="307"/>
                  <a:pt x="360" y="307"/>
                  <a:pt x="360" y="307"/>
                </a:cubicBezTo>
                <a:cubicBezTo>
                  <a:pt x="360" y="306"/>
                  <a:pt x="360" y="306"/>
                  <a:pt x="360" y="306"/>
                </a:cubicBezTo>
                <a:cubicBezTo>
                  <a:pt x="360" y="305"/>
                  <a:pt x="360" y="305"/>
                  <a:pt x="360" y="305"/>
                </a:cubicBezTo>
                <a:cubicBezTo>
                  <a:pt x="360" y="304"/>
                  <a:pt x="360" y="304"/>
                  <a:pt x="360" y="304"/>
                </a:cubicBezTo>
                <a:cubicBezTo>
                  <a:pt x="358" y="304"/>
                  <a:pt x="358" y="304"/>
                  <a:pt x="358" y="304"/>
                </a:cubicBezTo>
                <a:cubicBezTo>
                  <a:pt x="358" y="304"/>
                  <a:pt x="358" y="304"/>
                  <a:pt x="358" y="304"/>
                </a:cubicBezTo>
                <a:cubicBezTo>
                  <a:pt x="357" y="303"/>
                  <a:pt x="357" y="303"/>
                  <a:pt x="357" y="303"/>
                </a:cubicBezTo>
                <a:cubicBezTo>
                  <a:pt x="357" y="303"/>
                  <a:pt x="357" y="303"/>
                  <a:pt x="357" y="303"/>
                </a:cubicBezTo>
                <a:cubicBezTo>
                  <a:pt x="355" y="303"/>
                  <a:pt x="355" y="303"/>
                  <a:pt x="355" y="303"/>
                </a:cubicBezTo>
                <a:cubicBezTo>
                  <a:pt x="355" y="303"/>
                  <a:pt x="355" y="303"/>
                  <a:pt x="355" y="303"/>
                </a:cubicBezTo>
                <a:cubicBezTo>
                  <a:pt x="355" y="304"/>
                  <a:pt x="355" y="304"/>
                  <a:pt x="355" y="304"/>
                </a:cubicBezTo>
                <a:cubicBezTo>
                  <a:pt x="355" y="305"/>
                  <a:pt x="355" y="305"/>
                  <a:pt x="355" y="305"/>
                </a:cubicBezTo>
                <a:cubicBezTo>
                  <a:pt x="356" y="306"/>
                  <a:pt x="356" y="306"/>
                  <a:pt x="356" y="306"/>
                </a:cubicBezTo>
                <a:cubicBezTo>
                  <a:pt x="356" y="307"/>
                  <a:pt x="356" y="307"/>
                  <a:pt x="356" y="307"/>
                </a:cubicBezTo>
                <a:cubicBezTo>
                  <a:pt x="357" y="307"/>
                  <a:pt x="357" y="307"/>
                  <a:pt x="357" y="307"/>
                </a:cubicBezTo>
                <a:cubicBezTo>
                  <a:pt x="357" y="308"/>
                  <a:pt x="357" y="308"/>
                  <a:pt x="357" y="308"/>
                </a:cubicBezTo>
                <a:cubicBezTo>
                  <a:pt x="357" y="309"/>
                  <a:pt x="357" y="309"/>
                  <a:pt x="357" y="309"/>
                </a:cubicBezTo>
                <a:close/>
                <a:moveTo>
                  <a:pt x="356" y="314"/>
                </a:moveTo>
                <a:cubicBezTo>
                  <a:pt x="356" y="314"/>
                  <a:pt x="357" y="314"/>
                  <a:pt x="357" y="314"/>
                </a:cubicBezTo>
                <a:cubicBezTo>
                  <a:pt x="355" y="313"/>
                  <a:pt x="355" y="313"/>
                  <a:pt x="355" y="313"/>
                </a:cubicBezTo>
                <a:cubicBezTo>
                  <a:pt x="355" y="313"/>
                  <a:pt x="355" y="313"/>
                  <a:pt x="355" y="313"/>
                </a:cubicBezTo>
                <a:cubicBezTo>
                  <a:pt x="355" y="314"/>
                  <a:pt x="355" y="314"/>
                  <a:pt x="355" y="314"/>
                </a:cubicBezTo>
                <a:cubicBezTo>
                  <a:pt x="356" y="314"/>
                  <a:pt x="356" y="314"/>
                  <a:pt x="356" y="314"/>
                </a:cubicBezTo>
                <a:close/>
                <a:moveTo>
                  <a:pt x="342" y="324"/>
                </a:moveTo>
                <a:cubicBezTo>
                  <a:pt x="343" y="324"/>
                  <a:pt x="343" y="324"/>
                  <a:pt x="343" y="324"/>
                </a:cubicBezTo>
                <a:cubicBezTo>
                  <a:pt x="343" y="323"/>
                  <a:pt x="343" y="323"/>
                  <a:pt x="343" y="323"/>
                </a:cubicBezTo>
                <a:cubicBezTo>
                  <a:pt x="343" y="323"/>
                  <a:pt x="343" y="323"/>
                  <a:pt x="343" y="323"/>
                </a:cubicBezTo>
                <a:cubicBezTo>
                  <a:pt x="344" y="322"/>
                  <a:pt x="344" y="322"/>
                  <a:pt x="344" y="322"/>
                </a:cubicBezTo>
                <a:cubicBezTo>
                  <a:pt x="344" y="322"/>
                  <a:pt x="344" y="322"/>
                  <a:pt x="344" y="322"/>
                </a:cubicBezTo>
                <a:cubicBezTo>
                  <a:pt x="344" y="321"/>
                  <a:pt x="344" y="321"/>
                  <a:pt x="344" y="321"/>
                </a:cubicBezTo>
                <a:cubicBezTo>
                  <a:pt x="344" y="321"/>
                  <a:pt x="344" y="321"/>
                  <a:pt x="344" y="321"/>
                </a:cubicBezTo>
                <a:cubicBezTo>
                  <a:pt x="345" y="320"/>
                  <a:pt x="345" y="320"/>
                  <a:pt x="345" y="320"/>
                </a:cubicBezTo>
                <a:cubicBezTo>
                  <a:pt x="346" y="319"/>
                  <a:pt x="346" y="319"/>
                  <a:pt x="346" y="319"/>
                </a:cubicBezTo>
                <a:cubicBezTo>
                  <a:pt x="346" y="319"/>
                  <a:pt x="346" y="319"/>
                  <a:pt x="346" y="319"/>
                </a:cubicBezTo>
                <a:cubicBezTo>
                  <a:pt x="346" y="318"/>
                  <a:pt x="346" y="318"/>
                  <a:pt x="346" y="318"/>
                </a:cubicBezTo>
                <a:cubicBezTo>
                  <a:pt x="346" y="318"/>
                  <a:pt x="346" y="318"/>
                  <a:pt x="346" y="318"/>
                </a:cubicBezTo>
                <a:cubicBezTo>
                  <a:pt x="346" y="317"/>
                  <a:pt x="346" y="317"/>
                  <a:pt x="346" y="317"/>
                </a:cubicBezTo>
                <a:cubicBezTo>
                  <a:pt x="347" y="317"/>
                  <a:pt x="347" y="317"/>
                  <a:pt x="347" y="317"/>
                </a:cubicBezTo>
                <a:cubicBezTo>
                  <a:pt x="347" y="316"/>
                  <a:pt x="347" y="316"/>
                  <a:pt x="347" y="316"/>
                </a:cubicBezTo>
                <a:cubicBezTo>
                  <a:pt x="347" y="315"/>
                  <a:pt x="347" y="315"/>
                  <a:pt x="347" y="315"/>
                </a:cubicBezTo>
                <a:cubicBezTo>
                  <a:pt x="347" y="314"/>
                  <a:pt x="347" y="314"/>
                  <a:pt x="347" y="314"/>
                </a:cubicBezTo>
                <a:cubicBezTo>
                  <a:pt x="347" y="314"/>
                  <a:pt x="347" y="314"/>
                  <a:pt x="347" y="314"/>
                </a:cubicBezTo>
                <a:cubicBezTo>
                  <a:pt x="346" y="314"/>
                  <a:pt x="346" y="314"/>
                  <a:pt x="346" y="314"/>
                </a:cubicBezTo>
                <a:cubicBezTo>
                  <a:pt x="346" y="314"/>
                  <a:pt x="346" y="314"/>
                  <a:pt x="346" y="314"/>
                </a:cubicBezTo>
                <a:cubicBezTo>
                  <a:pt x="345" y="314"/>
                  <a:pt x="345" y="314"/>
                  <a:pt x="345" y="314"/>
                </a:cubicBezTo>
                <a:cubicBezTo>
                  <a:pt x="345" y="313"/>
                  <a:pt x="345" y="313"/>
                  <a:pt x="345" y="313"/>
                </a:cubicBezTo>
                <a:cubicBezTo>
                  <a:pt x="344" y="314"/>
                  <a:pt x="344" y="314"/>
                  <a:pt x="344" y="314"/>
                </a:cubicBezTo>
                <a:cubicBezTo>
                  <a:pt x="343" y="315"/>
                  <a:pt x="343" y="315"/>
                  <a:pt x="343" y="315"/>
                </a:cubicBezTo>
                <a:cubicBezTo>
                  <a:pt x="342" y="315"/>
                  <a:pt x="342" y="315"/>
                  <a:pt x="342" y="315"/>
                </a:cubicBezTo>
                <a:cubicBezTo>
                  <a:pt x="342" y="316"/>
                  <a:pt x="342" y="316"/>
                  <a:pt x="342" y="316"/>
                </a:cubicBezTo>
                <a:cubicBezTo>
                  <a:pt x="341" y="317"/>
                  <a:pt x="341" y="317"/>
                  <a:pt x="341" y="317"/>
                </a:cubicBezTo>
                <a:cubicBezTo>
                  <a:pt x="342" y="318"/>
                  <a:pt x="342" y="318"/>
                  <a:pt x="342" y="318"/>
                </a:cubicBezTo>
                <a:cubicBezTo>
                  <a:pt x="341" y="318"/>
                  <a:pt x="341" y="318"/>
                  <a:pt x="341" y="318"/>
                </a:cubicBezTo>
                <a:cubicBezTo>
                  <a:pt x="341" y="319"/>
                  <a:pt x="341" y="319"/>
                  <a:pt x="341" y="319"/>
                </a:cubicBezTo>
                <a:cubicBezTo>
                  <a:pt x="341" y="320"/>
                  <a:pt x="341" y="320"/>
                  <a:pt x="341" y="320"/>
                </a:cubicBezTo>
                <a:cubicBezTo>
                  <a:pt x="340" y="321"/>
                  <a:pt x="340" y="321"/>
                  <a:pt x="340" y="321"/>
                </a:cubicBezTo>
                <a:cubicBezTo>
                  <a:pt x="341" y="321"/>
                  <a:pt x="341" y="321"/>
                  <a:pt x="341" y="321"/>
                </a:cubicBezTo>
                <a:cubicBezTo>
                  <a:pt x="341" y="322"/>
                  <a:pt x="341" y="322"/>
                  <a:pt x="341" y="322"/>
                </a:cubicBezTo>
                <a:cubicBezTo>
                  <a:pt x="342" y="322"/>
                  <a:pt x="342" y="322"/>
                  <a:pt x="342" y="322"/>
                </a:cubicBezTo>
                <a:cubicBezTo>
                  <a:pt x="342" y="323"/>
                  <a:pt x="342" y="323"/>
                  <a:pt x="342" y="323"/>
                </a:cubicBezTo>
                <a:cubicBezTo>
                  <a:pt x="342" y="324"/>
                  <a:pt x="342" y="324"/>
                  <a:pt x="342" y="324"/>
                </a:cubicBezTo>
                <a:close/>
                <a:moveTo>
                  <a:pt x="330" y="376"/>
                </a:moveTo>
                <a:cubicBezTo>
                  <a:pt x="330" y="377"/>
                  <a:pt x="330" y="377"/>
                  <a:pt x="330" y="377"/>
                </a:cubicBezTo>
                <a:cubicBezTo>
                  <a:pt x="330" y="376"/>
                  <a:pt x="330" y="376"/>
                  <a:pt x="330" y="376"/>
                </a:cubicBezTo>
                <a:cubicBezTo>
                  <a:pt x="330" y="376"/>
                  <a:pt x="330" y="376"/>
                  <a:pt x="330" y="376"/>
                </a:cubicBezTo>
                <a:cubicBezTo>
                  <a:pt x="330" y="376"/>
                  <a:pt x="330" y="376"/>
                  <a:pt x="330" y="376"/>
                </a:cubicBezTo>
                <a:close/>
                <a:moveTo>
                  <a:pt x="331" y="381"/>
                </a:moveTo>
                <a:cubicBezTo>
                  <a:pt x="331" y="380"/>
                  <a:pt x="331" y="380"/>
                  <a:pt x="331" y="380"/>
                </a:cubicBezTo>
                <a:cubicBezTo>
                  <a:pt x="332" y="379"/>
                  <a:pt x="332" y="379"/>
                  <a:pt x="332" y="379"/>
                </a:cubicBezTo>
                <a:cubicBezTo>
                  <a:pt x="332" y="379"/>
                  <a:pt x="332" y="379"/>
                  <a:pt x="332" y="379"/>
                </a:cubicBezTo>
                <a:cubicBezTo>
                  <a:pt x="332" y="381"/>
                  <a:pt x="332" y="381"/>
                  <a:pt x="332" y="381"/>
                </a:cubicBezTo>
                <a:cubicBezTo>
                  <a:pt x="331" y="382"/>
                  <a:pt x="331" y="382"/>
                  <a:pt x="331" y="382"/>
                </a:cubicBezTo>
                <a:cubicBezTo>
                  <a:pt x="331" y="382"/>
                  <a:pt x="331" y="382"/>
                  <a:pt x="331" y="381"/>
                </a:cubicBezTo>
                <a:close/>
                <a:moveTo>
                  <a:pt x="323" y="380"/>
                </a:moveTo>
                <a:cubicBezTo>
                  <a:pt x="324" y="379"/>
                  <a:pt x="324" y="379"/>
                  <a:pt x="324" y="379"/>
                </a:cubicBezTo>
                <a:cubicBezTo>
                  <a:pt x="325" y="379"/>
                  <a:pt x="325" y="379"/>
                  <a:pt x="325" y="379"/>
                </a:cubicBezTo>
                <a:cubicBezTo>
                  <a:pt x="325" y="378"/>
                  <a:pt x="325" y="378"/>
                  <a:pt x="325" y="378"/>
                </a:cubicBezTo>
                <a:cubicBezTo>
                  <a:pt x="325" y="378"/>
                  <a:pt x="325" y="378"/>
                  <a:pt x="325" y="378"/>
                </a:cubicBezTo>
                <a:cubicBezTo>
                  <a:pt x="326" y="378"/>
                  <a:pt x="326" y="378"/>
                  <a:pt x="326" y="378"/>
                </a:cubicBezTo>
                <a:cubicBezTo>
                  <a:pt x="327" y="377"/>
                  <a:pt x="327" y="377"/>
                  <a:pt x="327" y="377"/>
                </a:cubicBezTo>
                <a:cubicBezTo>
                  <a:pt x="326" y="379"/>
                  <a:pt x="326" y="379"/>
                  <a:pt x="326" y="379"/>
                </a:cubicBezTo>
                <a:cubicBezTo>
                  <a:pt x="325" y="380"/>
                  <a:pt x="325" y="380"/>
                  <a:pt x="325" y="380"/>
                </a:cubicBezTo>
                <a:cubicBezTo>
                  <a:pt x="324" y="380"/>
                  <a:pt x="324" y="380"/>
                  <a:pt x="324" y="380"/>
                </a:cubicBezTo>
                <a:cubicBezTo>
                  <a:pt x="323" y="380"/>
                  <a:pt x="323" y="380"/>
                  <a:pt x="323" y="380"/>
                </a:cubicBezTo>
                <a:close/>
                <a:moveTo>
                  <a:pt x="328" y="382"/>
                </a:moveTo>
                <a:cubicBezTo>
                  <a:pt x="330" y="380"/>
                  <a:pt x="330" y="380"/>
                  <a:pt x="330" y="380"/>
                </a:cubicBezTo>
                <a:cubicBezTo>
                  <a:pt x="330" y="379"/>
                  <a:pt x="330" y="379"/>
                  <a:pt x="330" y="379"/>
                </a:cubicBezTo>
                <a:cubicBezTo>
                  <a:pt x="330" y="379"/>
                  <a:pt x="330" y="379"/>
                  <a:pt x="330" y="379"/>
                </a:cubicBezTo>
                <a:cubicBezTo>
                  <a:pt x="330" y="380"/>
                  <a:pt x="330" y="380"/>
                  <a:pt x="330" y="380"/>
                </a:cubicBezTo>
                <a:cubicBezTo>
                  <a:pt x="329" y="382"/>
                  <a:pt x="329" y="382"/>
                  <a:pt x="329" y="382"/>
                </a:cubicBezTo>
                <a:cubicBezTo>
                  <a:pt x="328" y="383"/>
                  <a:pt x="328" y="383"/>
                  <a:pt x="328" y="383"/>
                </a:cubicBezTo>
                <a:cubicBezTo>
                  <a:pt x="329" y="382"/>
                  <a:pt x="329" y="382"/>
                  <a:pt x="329" y="382"/>
                </a:cubicBezTo>
                <a:cubicBezTo>
                  <a:pt x="331" y="381"/>
                  <a:pt x="331" y="381"/>
                  <a:pt x="331" y="381"/>
                </a:cubicBezTo>
                <a:cubicBezTo>
                  <a:pt x="331" y="380"/>
                  <a:pt x="331" y="380"/>
                  <a:pt x="331" y="380"/>
                </a:cubicBezTo>
                <a:cubicBezTo>
                  <a:pt x="331" y="379"/>
                  <a:pt x="331" y="379"/>
                  <a:pt x="331" y="379"/>
                </a:cubicBezTo>
                <a:cubicBezTo>
                  <a:pt x="331" y="378"/>
                  <a:pt x="331" y="378"/>
                  <a:pt x="331" y="378"/>
                </a:cubicBezTo>
                <a:cubicBezTo>
                  <a:pt x="330" y="378"/>
                  <a:pt x="330" y="378"/>
                  <a:pt x="330" y="378"/>
                </a:cubicBezTo>
                <a:cubicBezTo>
                  <a:pt x="330" y="377"/>
                  <a:pt x="330" y="377"/>
                  <a:pt x="330" y="377"/>
                </a:cubicBezTo>
                <a:cubicBezTo>
                  <a:pt x="329" y="377"/>
                  <a:pt x="329" y="377"/>
                  <a:pt x="329" y="377"/>
                </a:cubicBezTo>
                <a:cubicBezTo>
                  <a:pt x="329" y="377"/>
                  <a:pt x="329" y="377"/>
                  <a:pt x="329" y="377"/>
                </a:cubicBezTo>
                <a:cubicBezTo>
                  <a:pt x="329" y="379"/>
                  <a:pt x="329" y="379"/>
                  <a:pt x="329" y="379"/>
                </a:cubicBezTo>
                <a:cubicBezTo>
                  <a:pt x="328" y="380"/>
                  <a:pt x="328" y="380"/>
                  <a:pt x="328" y="380"/>
                </a:cubicBezTo>
                <a:cubicBezTo>
                  <a:pt x="327" y="381"/>
                  <a:pt x="327" y="381"/>
                  <a:pt x="327" y="381"/>
                </a:cubicBezTo>
                <a:cubicBezTo>
                  <a:pt x="327" y="380"/>
                  <a:pt x="327" y="380"/>
                  <a:pt x="327" y="380"/>
                </a:cubicBezTo>
                <a:cubicBezTo>
                  <a:pt x="328" y="379"/>
                  <a:pt x="328" y="379"/>
                  <a:pt x="328" y="379"/>
                </a:cubicBezTo>
                <a:cubicBezTo>
                  <a:pt x="328" y="378"/>
                  <a:pt x="328" y="378"/>
                  <a:pt x="328" y="378"/>
                </a:cubicBezTo>
                <a:cubicBezTo>
                  <a:pt x="328" y="378"/>
                  <a:pt x="328" y="378"/>
                  <a:pt x="328" y="378"/>
                </a:cubicBezTo>
                <a:cubicBezTo>
                  <a:pt x="327" y="378"/>
                  <a:pt x="327" y="378"/>
                  <a:pt x="327" y="378"/>
                </a:cubicBezTo>
                <a:cubicBezTo>
                  <a:pt x="326" y="380"/>
                  <a:pt x="326" y="380"/>
                  <a:pt x="326" y="380"/>
                </a:cubicBezTo>
                <a:cubicBezTo>
                  <a:pt x="325" y="381"/>
                  <a:pt x="325" y="381"/>
                  <a:pt x="325" y="381"/>
                </a:cubicBezTo>
                <a:cubicBezTo>
                  <a:pt x="325" y="382"/>
                  <a:pt x="325" y="382"/>
                  <a:pt x="325" y="382"/>
                </a:cubicBezTo>
                <a:cubicBezTo>
                  <a:pt x="324" y="383"/>
                  <a:pt x="324" y="383"/>
                  <a:pt x="324" y="383"/>
                </a:cubicBezTo>
                <a:cubicBezTo>
                  <a:pt x="324" y="384"/>
                  <a:pt x="324" y="384"/>
                  <a:pt x="324" y="384"/>
                </a:cubicBezTo>
                <a:cubicBezTo>
                  <a:pt x="325" y="383"/>
                  <a:pt x="325" y="383"/>
                  <a:pt x="325" y="383"/>
                </a:cubicBezTo>
                <a:cubicBezTo>
                  <a:pt x="326" y="382"/>
                  <a:pt x="326" y="382"/>
                  <a:pt x="326" y="382"/>
                </a:cubicBezTo>
                <a:cubicBezTo>
                  <a:pt x="327" y="382"/>
                  <a:pt x="327" y="382"/>
                  <a:pt x="327" y="382"/>
                </a:cubicBezTo>
                <a:cubicBezTo>
                  <a:pt x="326" y="382"/>
                  <a:pt x="326" y="382"/>
                  <a:pt x="326" y="382"/>
                </a:cubicBezTo>
                <a:cubicBezTo>
                  <a:pt x="325" y="384"/>
                  <a:pt x="325" y="384"/>
                  <a:pt x="325" y="384"/>
                </a:cubicBezTo>
                <a:cubicBezTo>
                  <a:pt x="326" y="384"/>
                  <a:pt x="326" y="384"/>
                  <a:pt x="326" y="384"/>
                </a:cubicBezTo>
                <a:cubicBezTo>
                  <a:pt x="327" y="383"/>
                  <a:pt x="327" y="383"/>
                  <a:pt x="327" y="383"/>
                </a:cubicBezTo>
                <a:cubicBezTo>
                  <a:pt x="327" y="383"/>
                  <a:pt x="327" y="383"/>
                  <a:pt x="327" y="383"/>
                </a:cubicBezTo>
                <a:cubicBezTo>
                  <a:pt x="327" y="383"/>
                  <a:pt x="328" y="382"/>
                  <a:pt x="328" y="382"/>
                </a:cubicBezTo>
                <a:close/>
                <a:moveTo>
                  <a:pt x="327" y="382"/>
                </a:moveTo>
                <a:cubicBezTo>
                  <a:pt x="327" y="381"/>
                  <a:pt x="327" y="381"/>
                  <a:pt x="327" y="381"/>
                </a:cubicBezTo>
                <a:cubicBezTo>
                  <a:pt x="329" y="380"/>
                  <a:pt x="329" y="380"/>
                  <a:pt x="329" y="380"/>
                </a:cubicBezTo>
                <a:cubicBezTo>
                  <a:pt x="328" y="381"/>
                  <a:pt x="328" y="381"/>
                  <a:pt x="328" y="381"/>
                </a:cubicBezTo>
                <a:cubicBezTo>
                  <a:pt x="328" y="382"/>
                  <a:pt x="328" y="382"/>
                  <a:pt x="328" y="382"/>
                </a:cubicBezTo>
                <a:cubicBezTo>
                  <a:pt x="327" y="382"/>
                  <a:pt x="327" y="382"/>
                  <a:pt x="327" y="382"/>
                </a:cubicBezTo>
                <a:close/>
                <a:moveTo>
                  <a:pt x="412" y="468"/>
                </a:moveTo>
                <a:cubicBezTo>
                  <a:pt x="411" y="468"/>
                  <a:pt x="411" y="468"/>
                  <a:pt x="411" y="468"/>
                </a:cubicBezTo>
                <a:cubicBezTo>
                  <a:pt x="411" y="468"/>
                  <a:pt x="411" y="468"/>
                  <a:pt x="411" y="468"/>
                </a:cubicBezTo>
                <a:cubicBezTo>
                  <a:pt x="411" y="467"/>
                  <a:pt x="411" y="467"/>
                  <a:pt x="411" y="467"/>
                </a:cubicBezTo>
                <a:cubicBezTo>
                  <a:pt x="412" y="467"/>
                  <a:pt x="412" y="467"/>
                  <a:pt x="412" y="467"/>
                </a:cubicBezTo>
                <a:cubicBezTo>
                  <a:pt x="413" y="466"/>
                  <a:pt x="413" y="466"/>
                  <a:pt x="413" y="466"/>
                </a:cubicBezTo>
                <a:cubicBezTo>
                  <a:pt x="413" y="466"/>
                  <a:pt x="413" y="466"/>
                  <a:pt x="413" y="466"/>
                </a:cubicBezTo>
                <a:cubicBezTo>
                  <a:pt x="413" y="466"/>
                  <a:pt x="413" y="466"/>
                  <a:pt x="413" y="466"/>
                </a:cubicBezTo>
                <a:cubicBezTo>
                  <a:pt x="413" y="466"/>
                  <a:pt x="413" y="466"/>
                  <a:pt x="413" y="466"/>
                </a:cubicBezTo>
                <a:cubicBezTo>
                  <a:pt x="411" y="467"/>
                  <a:pt x="411" y="467"/>
                  <a:pt x="411" y="467"/>
                </a:cubicBezTo>
                <a:cubicBezTo>
                  <a:pt x="411" y="468"/>
                  <a:pt x="411" y="468"/>
                  <a:pt x="411" y="468"/>
                </a:cubicBezTo>
                <a:cubicBezTo>
                  <a:pt x="411" y="468"/>
                  <a:pt x="411" y="468"/>
                  <a:pt x="411" y="468"/>
                </a:cubicBezTo>
                <a:cubicBezTo>
                  <a:pt x="412" y="468"/>
                  <a:pt x="412" y="468"/>
                  <a:pt x="412" y="468"/>
                </a:cubicBezTo>
                <a:cubicBezTo>
                  <a:pt x="412" y="468"/>
                  <a:pt x="412" y="468"/>
                  <a:pt x="412" y="468"/>
                </a:cubicBezTo>
                <a:close/>
                <a:moveTo>
                  <a:pt x="443" y="474"/>
                </a:moveTo>
                <a:cubicBezTo>
                  <a:pt x="442" y="473"/>
                  <a:pt x="442" y="473"/>
                  <a:pt x="442" y="473"/>
                </a:cubicBezTo>
                <a:cubicBezTo>
                  <a:pt x="443" y="472"/>
                  <a:pt x="443" y="472"/>
                  <a:pt x="443" y="472"/>
                </a:cubicBezTo>
                <a:cubicBezTo>
                  <a:pt x="443" y="471"/>
                  <a:pt x="443" y="471"/>
                  <a:pt x="443" y="471"/>
                </a:cubicBezTo>
                <a:cubicBezTo>
                  <a:pt x="442" y="470"/>
                  <a:pt x="442" y="470"/>
                  <a:pt x="442" y="470"/>
                </a:cubicBezTo>
                <a:cubicBezTo>
                  <a:pt x="443" y="470"/>
                  <a:pt x="443" y="470"/>
                  <a:pt x="443" y="470"/>
                </a:cubicBezTo>
                <a:cubicBezTo>
                  <a:pt x="443" y="469"/>
                  <a:pt x="443" y="469"/>
                  <a:pt x="443" y="469"/>
                </a:cubicBezTo>
                <a:cubicBezTo>
                  <a:pt x="443" y="470"/>
                  <a:pt x="443" y="470"/>
                  <a:pt x="443" y="470"/>
                </a:cubicBezTo>
                <a:cubicBezTo>
                  <a:pt x="443" y="470"/>
                  <a:pt x="443" y="470"/>
                  <a:pt x="443" y="470"/>
                </a:cubicBezTo>
                <a:cubicBezTo>
                  <a:pt x="443" y="471"/>
                  <a:pt x="443" y="471"/>
                  <a:pt x="443" y="471"/>
                </a:cubicBezTo>
                <a:cubicBezTo>
                  <a:pt x="443" y="472"/>
                  <a:pt x="443" y="472"/>
                  <a:pt x="443" y="472"/>
                </a:cubicBezTo>
                <a:cubicBezTo>
                  <a:pt x="443" y="472"/>
                  <a:pt x="443" y="472"/>
                  <a:pt x="443" y="472"/>
                </a:cubicBezTo>
                <a:cubicBezTo>
                  <a:pt x="443" y="472"/>
                  <a:pt x="443" y="472"/>
                  <a:pt x="443" y="472"/>
                </a:cubicBezTo>
                <a:cubicBezTo>
                  <a:pt x="443" y="473"/>
                  <a:pt x="443" y="473"/>
                  <a:pt x="443" y="473"/>
                </a:cubicBezTo>
                <a:cubicBezTo>
                  <a:pt x="443" y="474"/>
                  <a:pt x="443" y="474"/>
                  <a:pt x="443" y="474"/>
                </a:cubicBezTo>
                <a:cubicBezTo>
                  <a:pt x="443" y="474"/>
                  <a:pt x="443" y="474"/>
                  <a:pt x="443" y="474"/>
                </a:cubicBezTo>
                <a:close/>
                <a:moveTo>
                  <a:pt x="444" y="474"/>
                </a:moveTo>
                <a:cubicBezTo>
                  <a:pt x="444" y="474"/>
                  <a:pt x="444" y="474"/>
                  <a:pt x="444" y="474"/>
                </a:cubicBezTo>
                <a:cubicBezTo>
                  <a:pt x="444" y="474"/>
                  <a:pt x="444" y="474"/>
                  <a:pt x="444" y="474"/>
                </a:cubicBezTo>
                <a:cubicBezTo>
                  <a:pt x="445" y="474"/>
                  <a:pt x="445" y="474"/>
                  <a:pt x="445" y="474"/>
                </a:cubicBezTo>
                <a:cubicBezTo>
                  <a:pt x="444" y="475"/>
                  <a:pt x="444" y="475"/>
                  <a:pt x="444" y="475"/>
                </a:cubicBezTo>
                <a:cubicBezTo>
                  <a:pt x="444" y="474"/>
                  <a:pt x="444" y="474"/>
                  <a:pt x="444" y="474"/>
                </a:cubicBezTo>
                <a:close/>
                <a:moveTo>
                  <a:pt x="456" y="430"/>
                </a:moveTo>
                <a:cubicBezTo>
                  <a:pt x="457" y="429"/>
                  <a:pt x="457" y="429"/>
                  <a:pt x="457" y="429"/>
                </a:cubicBezTo>
                <a:cubicBezTo>
                  <a:pt x="457" y="429"/>
                  <a:pt x="457" y="429"/>
                  <a:pt x="457" y="429"/>
                </a:cubicBezTo>
                <a:cubicBezTo>
                  <a:pt x="457" y="429"/>
                  <a:pt x="457" y="429"/>
                  <a:pt x="457" y="429"/>
                </a:cubicBezTo>
                <a:cubicBezTo>
                  <a:pt x="457" y="430"/>
                  <a:pt x="457" y="430"/>
                  <a:pt x="457" y="430"/>
                </a:cubicBezTo>
                <a:cubicBezTo>
                  <a:pt x="456" y="431"/>
                  <a:pt x="456" y="431"/>
                  <a:pt x="456" y="431"/>
                </a:cubicBezTo>
                <a:cubicBezTo>
                  <a:pt x="456" y="431"/>
                  <a:pt x="456" y="430"/>
                  <a:pt x="456" y="430"/>
                </a:cubicBezTo>
                <a:close/>
                <a:moveTo>
                  <a:pt x="452" y="439"/>
                </a:moveTo>
                <a:cubicBezTo>
                  <a:pt x="452" y="440"/>
                  <a:pt x="452" y="440"/>
                  <a:pt x="452" y="440"/>
                </a:cubicBezTo>
                <a:cubicBezTo>
                  <a:pt x="453" y="440"/>
                  <a:pt x="453" y="440"/>
                  <a:pt x="453" y="440"/>
                </a:cubicBezTo>
                <a:cubicBezTo>
                  <a:pt x="453" y="440"/>
                  <a:pt x="453" y="440"/>
                  <a:pt x="453" y="440"/>
                </a:cubicBezTo>
                <a:cubicBezTo>
                  <a:pt x="453" y="440"/>
                  <a:pt x="453" y="440"/>
                  <a:pt x="453" y="440"/>
                </a:cubicBezTo>
                <a:cubicBezTo>
                  <a:pt x="453" y="439"/>
                  <a:pt x="453" y="439"/>
                  <a:pt x="453" y="439"/>
                </a:cubicBezTo>
                <a:cubicBezTo>
                  <a:pt x="453" y="439"/>
                  <a:pt x="453" y="439"/>
                  <a:pt x="453" y="439"/>
                </a:cubicBezTo>
                <a:cubicBezTo>
                  <a:pt x="452" y="439"/>
                  <a:pt x="452" y="439"/>
                  <a:pt x="452" y="439"/>
                </a:cubicBezTo>
                <a:close/>
                <a:moveTo>
                  <a:pt x="459" y="450"/>
                </a:moveTo>
                <a:cubicBezTo>
                  <a:pt x="459" y="449"/>
                  <a:pt x="459" y="449"/>
                  <a:pt x="459" y="449"/>
                </a:cubicBezTo>
                <a:cubicBezTo>
                  <a:pt x="459" y="448"/>
                  <a:pt x="459" y="448"/>
                  <a:pt x="459" y="448"/>
                </a:cubicBezTo>
                <a:cubicBezTo>
                  <a:pt x="459" y="448"/>
                  <a:pt x="459" y="448"/>
                  <a:pt x="459" y="448"/>
                </a:cubicBezTo>
                <a:cubicBezTo>
                  <a:pt x="459" y="449"/>
                  <a:pt x="459" y="449"/>
                  <a:pt x="459" y="449"/>
                </a:cubicBezTo>
                <a:cubicBezTo>
                  <a:pt x="460" y="449"/>
                  <a:pt x="460" y="449"/>
                  <a:pt x="460" y="449"/>
                </a:cubicBezTo>
                <a:cubicBezTo>
                  <a:pt x="460" y="449"/>
                  <a:pt x="460" y="449"/>
                  <a:pt x="460" y="449"/>
                </a:cubicBezTo>
                <a:cubicBezTo>
                  <a:pt x="460" y="450"/>
                  <a:pt x="460" y="450"/>
                  <a:pt x="460" y="450"/>
                </a:cubicBezTo>
                <a:cubicBezTo>
                  <a:pt x="459" y="450"/>
                  <a:pt x="459" y="450"/>
                  <a:pt x="459" y="450"/>
                </a:cubicBezTo>
                <a:cubicBezTo>
                  <a:pt x="459" y="450"/>
                  <a:pt x="459" y="450"/>
                  <a:pt x="459" y="450"/>
                </a:cubicBezTo>
                <a:close/>
                <a:moveTo>
                  <a:pt x="456" y="450"/>
                </a:moveTo>
                <a:cubicBezTo>
                  <a:pt x="456" y="450"/>
                  <a:pt x="456" y="450"/>
                  <a:pt x="456" y="450"/>
                </a:cubicBezTo>
                <a:cubicBezTo>
                  <a:pt x="457" y="450"/>
                  <a:pt x="457" y="450"/>
                  <a:pt x="457" y="450"/>
                </a:cubicBezTo>
                <a:cubicBezTo>
                  <a:pt x="457" y="449"/>
                  <a:pt x="457" y="449"/>
                  <a:pt x="457" y="449"/>
                </a:cubicBezTo>
                <a:cubicBezTo>
                  <a:pt x="457" y="449"/>
                  <a:pt x="457" y="449"/>
                  <a:pt x="457" y="449"/>
                </a:cubicBezTo>
                <a:cubicBezTo>
                  <a:pt x="457" y="449"/>
                  <a:pt x="457" y="449"/>
                  <a:pt x="457" y="449"/>
                </a:cubicBezTo>
                <a:cubicBezTo>
                  <a:pt x="457" y="450"/>
                  <a:pt x="457" y="450"/>
                  <a:pt x="457" y="450"/>
                </a:cubicBezTo>
                <a:cubicBezTo>
                  <a:pt x="457" y="450"/>
                  <a:pt x="457" y="450"/>
                  <a:pt x="457" y="450"/>
                </a:cubicBezTo>
                <a:cubicBezTo>
                  <a:pt x="456" y="451"/>
                  <a:pt x="456" y="451"/>
                  <a:pt x="456" y="451"/>
                </a:cubicBezTo>
                <a:cubicBezTo>
                  <a:pt x="455" y="451"/>
                  <a:pt x="455" y="451"/>
                  <a:pt x="455" y="451"/>
                </a:cubicBezTo>
                <a:cubicBezTo>
                  <a:pt x="456" y="450"/>
                  <a:pt x="456" y="450"/>
                  <a:pt x="456" y="450"/>
                </a:cubicBezTo>
                <a:cubicBezTo>
                  <a:pt x="456" y="450"/>
                  <a:pt x="456" y="450"/>
                  <a:pt x="456" y="450"/>
                </a:cubicBezTo>
                <a:close/>
                <a:moveTo>
                  <a:pt x="446" y="466"/>
                </a:moveTo>
                <a:cubicBezTo>
                  <a:pt x="446" y="465"/>
                  <a:pt x="446" y="465"/>
                  <a:pt x="446" y="465"/>
                </a:cubicBezTo>
                <a:cubicBezTo>
                  <a:pt x="446" y="466"/>
                  <a:pt x="446" y="466"/>
                  <a:pt x="446" y="466"/>
                </a:cubicBezTo>
                <a:cubicBezTo>
                  <a:pt x="446" y="466"/>
                  <a:pt x="446" y="466"/>
                  <a:pt x="446" y="466"/>
                </a:cubicBezTo>
                <a:cubicBezTo>
                  <a:pt x="446" y="466"/>
                  <a:pt x="446" y="466"/>
                  <a:pt x="446" y="466"/>
                </a:cubicBezTo>
                <a:close/>
                <a:moveTo>
                  <a:pt x="459" y="462"/>
                </a:moveTo>
                <a:cubicBezTo>
                  <a:pt x="459" y="463"/>
                  <a:pt x="459" y="463"/>
                  <a:pt x="459" y="463"/>
                </a:cubicBezTo>
                <a:cubicBezTo>
                  <a:pt x="460" y="463"/>
                  <a:pt x="460" y="463"/>
                  <a:pt x="460" y="463"/>
                </a:cubicBezTo>
                <a:cubicBezTo>
                  <a:pt x="460" y="463"/>
                  <a:pt x="460" y="463"/>
                  <a:pt x="460" y="463"/>
                </a:cubicBezTo>
                <a:cubicBezTo>
                  <a:pt x="461" y="463"/>
                  <a:pt x="461" y="463"/>
                  <a:pt x="461" y="463"/>
                </a:cubicBezTo>
                <a:cubicBezTo>
                  <a:pt x="459" y="462"/>
                  <a:pt x="459" y="462"/>
                  <a:pt x="459" y="462"/>
                </a:cubicBezTo>
                <a:cubicBezTo>
                  <a:pt x="459" y="462"/>
                  <a:pt x="459" y="462"/>
                  <a:pt x="459" y="462"/>
                </a:cubicBezTo>
                <a:close/>
                <a:moveTo>
                  <a:pt x="445" y="438"/>
                </a:moveTo>
                <a:cubicBezTo>
                  <a:pt x="444" y="439"/>
                  <a:pt x="444" y="439"/>
                  <a:pt x="444" y="439"/>
                </a:cubicBezTo>
                <a:cubicBezTo>
                  <a:pt x="443" y="440"/>
                  <a:pt x="443" y="440"/>
                  <a:pt x="443" y="440"/>
                </a:cubicBezTo>
                <a:cubicBezTo>
                  <a:pt x="443" y="440"/>
                  <a:pt x="443" y="440"/>
                  <a:pt x="443" y="440"/>
                </a:cubicBezTo>
                <a:cubicBezTo>
                  <a:pt x="443" y="440"/>
                  <a:pt x="443" y="440"/>
                  <a:pt x="443" y="440"/>
                </a:cubicBezTo>
                <a:cubicBezTo>
                  <a:pt x="442" y="441"/>
                  <a:pt x="442" y="441"/>
                  <a:pt x="442" y="441"/>
                </a:cubicBezTo>
                <a:cubicBezTo>
                  <a:pt x="442" y="441"/>
                  <a:pt x="442" y="441"/>
                  <a:pt x="442" y="441"/>
                </a:cubicBezTo>
                <a:cubicBezTo>
                  <a:pt x="442" y="442"/>
                  <a:pt x="442" y="442"/>
                  <a:pt x="442" y="442"/>
                </a:cubicBezTo>
                <a:cubicBezTo>
                  <a:pt x="442" y="442"/>
                  <a:pt x="442" y="442"/>
                  <a:pt x="442" y="442"/>
                </a:cubicBezTo>
                <a:cubicBezTo>
                  <a:pt x="442" y="442"/>
                  <a:pt x="442" y="442"/>
                  <a:pt x="442" y="442"/>
                </a:cubicBezTo>
                <a:cubicBezTo>
                  <a:pt x="441" y="442"/>
                  <a:pt x="441" y="442"/>
                  <a:pt x="441" y="442"/>
                </a:cubicBezTo>
                <a:cubicBezTo>
                  <a:pt x="441" y="443"/>
                  <a:pt x="441" y="443"/>
                  <a:pt x="441" y="443"/>
                </a:cubicBezTo>
                <a:cubicBezTo>
                  <a:pt x="440" y="444"/>
                  <a:pt x="440" y="444"/>
                  <a:pt x="440" y="444"/>
                </a:cubicBezTo>
                <a:cubicBezTo>
                  <a:pt x="441" y="444"/>
                  <a:pt x="441" y="444"/>
                  <a:pt x="441" y="444"/>
                </a:cubicBezTo>
                <a:cubicBezTo>
                  <a:pt x="441" y="444"/>
                  <a:pt x="441" y="444"/>
                  <a:pt x="441" y="444"/>
                </a:cubicBezTo>
                <a:cubicBezTo>
                  <a:pt x="441" y="444"/>
                  <a:pt x="441" y="444"/>
                  <a:pt x="441" y="444"/>
                </a:cubicBezTo>
                <a:cubicBezTo>
                  <a:pt x="440" y="444"/>
                  <a:pt x="440" y="444"/>
                  <a:pt x="440" y="444"/>
                </a:cubicBezTo>
                <a:cubicBezTo>
                  <a:pt x="439" y="446"/>
                  <a:pt x="439" y="446"/>
                  <a:pt x="439" y="446"/>
                </a:cubicBezTo>
                <a:cubicBezTo>
                  <a:pt x="439" y="446"/>
                  <a:pt x="439" y="446"/>
                  <a:pt x="439" y="446"/>
                </a:cubicBezTo>
                <a:cubicBezTo>
                  <a:pt x="438" y="448"/>
                  <a:pt x="438" y="448"/>
                  <a:pt x="438" y="448"/>
                </a:cubicBezTo>
                <a:cubicBezTo>
                  <a:pt x="438" y="449"/>
                  <a:pt x="438" y="449"/>
                  <a:pt x="438" y="449"/>
                </a:cubicBezTo>
                <a:cubicBezTo>
                  <a:pt x="438" y="449"/>
                  <a:pt x="438" y="449"/>
                  <a:pt x="438" y="449"/>
                </a:cubicBezTo>
                <a:cubicBezTo>
                  <a:pt x="438" y="450"/>
                  <a:pt x="438" y="450"/>
                  <a:pt x="438" y="450"/>
                </a:cubicBezTo>
                <a:cubicBezTo>
                  <a:pt x="438" y="450"/>
                  <a:pt x="438" y="450"/>
                  <a:pt x="438" y="450"/>
                </a:cubicBezTo>
                <a:cubicBezTo>
                  <a:pt x="437" y="450"/>
                  <a:pt x="437" y="450"/>
                  <a:pt x="437" y="450"/>
                </a:cubicBezTo>
                <a:cubicBezTo>
                  <a:pt x="437" y="450"/>
                  <a:pt x="437" y="450"/>
                  <a:pt x="437" y="450"/>
                </a:cubicBezTo>
                <a:cubicBezTo>
                  <a:pt x="436" y="450"/>
                  <a:pt x="436" y="450"/>
                  <a:pt x="436" y="450"/>
                </a:cubicBezTo>
                <a:cubicBezTo>
                  <a:pt x="436" y="451"/>
                  <a:pt x="436" y="451"/>
                  <a:pt x="436" y="451"/>
                </a:cubicBezTo>
                <a:cubicBezTo>
                  <a:pt x="436" y="452"/>
                  <a:pt x="436" y="452"/>
                  <a:pt x="436" y="452"/>
                </a:cubicBezTo>
                <a:cubicBezTo>
                  <a:pt x="436" y="452"/>
                  <a:pt x="436" y="452"/>
                  <a:pt x="436" y="452"/>
                </a:cubicBezTo>
                <a:cubicBezTo>
                  <a:pt x="437" y="452"/>
                  <a:pt x="437" y="452"/>
                  <a:pt x="437" y="452"/>
                </a:cubicBezTo>
                <a:cubicBezTo>
                  <a:pt x="436" y="452"/>
                  <a:pt x="436" y="452"/>
                  <a:pt x="436" y="452"/>
                </a:cubicBezTo>
                <a:cubicBezTo>
                  <a:pt x="436" y="453"/>
                  <a:pt x="436" y="453"/>
                  <a:pt x="436" y="453"/>
                </a:cubicBezTo>
                <a:cubicBezTo>
                  <a:pt x="435" y="454"/>
                  <a:pt x="435" y="454"/>
                  <a:pt x="435" y="454"/>
                </a:cubicBezTo>
                <a:cubicBezTo>
                  <a:pt x="434" y="453"/>
                  <a:pt x="434" y="453"/>
                  <a:pt x="434" y="453"/>
                </a:cubicBezTo>
                <a:cubicBezTo>
                  <a:pt x="434" y="454"/>
                  <a:pt x="434" y="454"/>
                  <a:pt x="434" y="454"/>
                </a:cubicBezTo>
                <a:cubicBezTo>
                  <a:pt x="434" y="454"/>
                  <a:pt x="434" y="454"/>
                  <a:pt x="434" y="454"/>
                </a:cubicBezTo>
                <a:cubicBezTo>
                  <a:pt x="433" y="455"/>
                  <a:pt x="433" y="455"/>
                  <a:pt x="433" y="455"/>
                </a:cubicBezTo>
                <a:cubicBezTo>
                  <a:pt x="432" y="456"/>
                  <a:pt x="432" y="456"/>
                  <a:pt x="432" y="456"/>
                </a:cubicBezTo>
                <a:cubicBezTo>
                  <a:pt x="432" y="457"/>
                  <a:pt x="432" y="457"/>
                  <a:pt x="432" y="457"/>
                </a:cubicBezTo>
                <a:cubicBezTo>
                  <a:pt x="431" y="457"/>
                  <a:pt x="431" y="457"/>
                  <a:pt x="431" y="457"/>
                </a:cubicBezTo>
                <a:cubicBezTo>
                  <a:pt x="431" y="456"/>
                  <a:pt x="431" y="456"/>
                  <a:pt x="431" y="456"/>
                </a:cubicBezTo>
                <a:cubicBezTo>
                  <a:pt x="431" y="457"/>
                  <a:pt x="431" y="457"/>
                  <a:pt x="431" y="457"/>
                </a:cubicBezTo>
                <a:cubicBezTo>
                  <a:pt x="430" y="456"/>
                  <a:pt x="430" y="456"/>
                  <a:pt x="430" y="456"/>
                </a:cubicBezTo>
                <a:cubicBezTo>
                  <a:pt x="431" y="456"/>
                  <a:pt x="431" y="456"/>
                  <a:pt x="431" y="456"/>
                </a:cubicBezTo>
                <a:cubicBezTo>
                  <a:pt x="431" y="455"/>
                  <a:pt x="431" y="455"/>
                  <a:pt x="431" y="455"/>
                </a:cubicBezTo>
                <a:cubicBezTo>
                  <a:pt x="432" y="455"/>
                  <a:pt x="432" y="455"/>
                  <a:pt x="432" y="455"/>
                </a:cubicBezTo>
                <a:cubicBezTo>
                  <a:pt x="431" y="455"/>
                  <a:pt x="431" y="455"/>
                  <a:pt x="431" y="455"/>
                </a:cubicBezTo>
                <a:cubicBezTo>
                  <a:pt x="430" y="456"/>
                  <a:pt x="430" y="456"/>
                  <a:pt x="430" y="456"/>
                </a:cubicBezTo>
                <a:cubicBezTo>
                  <a:pt x="429" y="456"/>
                  <a:pt x="429" y="456"/>
                  <a:pt x="429" y="456"/>
                </a:cubicBezTo>
                <a:cubicBezTo>
                  <a:pt x="428" y="458"/>
                  <a:pt x="428" y="458"/>
                  <a:pt x="428" y="458"/>
                </a:cubicBezTo>
                <a:cubicBezTo>
                  <a:pt x="429" y="458"/>
                  <a:pt x="429" y="458"/>
                  <a:pt x="429" y="458"/>
                </a:cubicBezTo>
                <a:cubicBezTo>
                  <a:pt x="430" y="458"/>
                  <a:pt x="430" y="458"/>
                  <a:pt x="430" y="458"/>
                </a:cubicBezTo>
                <a:cubicBezTo>
                  <a:pt x="431" y="457"/>
                  <a:pt x="431" y="457"/>
                  <a:pt x="431" y="457"/>
                </a:cubicBezTo>
                <a:cubicBezTo>
                  <a:pt x="433" y="457"/>
                  <a:pt x="433" y="457"/>
                  <a:pt x="433" y="457"/>
                </a:cubicBezTo>
                <a:cubicBezTo>
                  <a:pt x="432" y="458"/>
                  <a:pt x="432" y="458"/>
                  <a:pt x="432" y="458"/>
                </a:cubicBezTo>
                <a:cubicBezTo>
                  <a:pt x="431" y="460"/>
                  <a:pt x="431" y="460"/>
                  <a:pt x="431" y="460"/>
                </a:cubicBezTo>
                <a:cubicBezTo>
                  <a:pt x="430" y="461"/>
                  <a:pt x="430" y="461"/>
                  <a:pt x="430" y="461"/>
                </a:cubicBezTo>
                <a:cubicBezTo>
                  <a:pt x="429" y="462"/>
                  <a:pt x="429" y="462"/>
                  <a:pt x="429" y="462"/>
                </a:cubicBezTo>
                <a:cubicBezTo>
                  <a:pt x="427" y="463"/>
                  <a:pt x="427" y="463"/>
                  <a:pt x="427" y="463"/>
                </a:cubicBezTo>
                <a:cubicBezTo>
                  <a:pt x="427" y="463"/>
                  <a:pt x="427" y="463"/>
                  <a:pt x="427" y="463"/>
                </a:cubicBezTo>
                <a:cubicBezTo>
                  <a:pt x="427" y="463"/>
                  <a:pt x="427" y="463"/>
                  <a:pt x="427" y="463"/>
                </a:cubicBezTo>
                <a:cubicBezTo>
                  <a:pt x="427" y="464"/>
                  <a:pt x="427" y="464"/>
                  <a:pt x="427" y="464"/>
                </a:cubicBezTo>
                <a:cubicBezTo>
                  <a:pt x="427" y="465"/>
                  <a:pt x="427" y="465"/>
                  <a:pt x="427" y="465"/>
                </a:cubicBezTo>
                <a:cubicBezTo>
                  <a:pt x="427" y="465"/>
                  <a:pt x="427" y="465"/>
                  <a:pt x="427" y="465"/>
                </a:cubicBezTo>
                <a:cubicBezTo>
                  <a:pt x="427" y="465"/>
                  <a:pt x="427" y="465"/>
                  <a:pt x="427" y="465"/>
                </a:cubicBezTo>
                <a:cubicBezTo>
                  <a:pt x="429" y="466"/>
                  <a:pt x="429" y="466"/>
                  <a:pt x="429" y="466"/>
                </a:cubicBezTo>
                <a:cubicBezTo>
                  <a:pt x="430" y="466"/>
                  <a:pt x="430" y="466"/>
                  <a:pt x="430" y="466"/>
                </a:cubicBezTo>
                <a:cubicBezTo>
                  <a:pt x="431" y="465"/>
                  <a:pt x="431" y="465"/>
                  <a:pt x="431" y="465"/>
                </a:cubicBezTo>
                <a:cubicBezTo>
                  <a:pt x="432" y="465"/>
                  <a:pt x="432" y="465"/>
                  <a:pt x="432" y="465"/>
                </a:cubicBezTo>
                <a:cubicBezTo>
                  <a:pt x="433" y="464"/>
                  <a:pt x="433" y="464"/>
                  <a:pt x="433" y="464"/>
                </a:cubicBezTo>
                <a:cubicBezTo>
                  <a:pt x="433" y="464"/>
                  <a:pt x="433" y="464"/>
                  <a:pt x="433" y="464"/>
                </a:cubicBezTo>
                <a:cubicBezTo>
                  <a:pt x="433" y="464"/>
                  <a:pt x="433" y="464"/>
                  <a:pt x="433" y="464"/>
                </a:cubicBezTo>
                <a:cubicBezTo>
                  <a:pt x="432" y="465"/>
                  <a:pt x="432" y="465"/>
                  <a:pt x="432" y="465"/>
                </a:cubicBezTo>
                <a:cubicBezTo>
                  <a:pt x="434" y="465"/>
                  <a:pt x="434" y="465"/>
                  <a:pt x="434" y="465"/>
                </a:cubicBezTo>
                <a:cubicBezTo>
                  <a:pt x="435" y="465"/>
                  <a:pt x="435" y="465"/>
                  <a:pt x="435" y="465"/>
                </a:cubicBezTo>
                <a:cubicBezTo>
                  <a:pt x="435" y="465"/>
                  <a:pt x="435" y="465"/>
                  <a:pt x="435" y="465"/>
                </a:cubicBezTo>
                <a:cubicBezTo>
                  <a:pt x="437" y="465"/>
                  <a:pt x="437" y="465"/>
                  <a:pt x="437" y="465"/>
                </a:cubicBezTo>
                <a:cubicBezTo>
                  <a:pt x="438" y="465"/>
                  <a:pt x="438" y="465"/>
                  <a:pt x="438" y="465"/>
                </a:cubicBezTo>
                <a:cubicBezTo>
                  <a:pt x="438" y="466"/>
                  <a:pt x="438" y="466"/>
                  <a:pt x="438" y="466"/>
                </a:cubicBezTo>
                <a:cubicBezTo>
                  <a:pt x="438" y="466"/>
                  <a:pt x="438" y="466"/>
                  <a:pt x="438" y="466"/>
                </a:cubicBezTo>
                <a:cubicBezTo>
                  <a:pt x="440" y="466"/>
                  <a:pt x="440" y="466"/>
                  <a:pt x="440" y="466"/>
                </a:cubicBezTo>
                <a:cubicBezTo>
                  <a:pt x="440" y="466"/>
                  <a:pt x="440" y="466"/>
                  <a:pt x="440" y="466"/>
                </a:cubicBezTo>
                <a:cubicBezTo>
                  <a:pt x="440" y="466"/>
                  <a:pt x="440" y="466"/>
                  <a:pt x="440" y="466"/>
                </a:cubicBezTo>
                <a:cubicBezTo>
                  <a:pt x="441" y="466"/>
                  <a:pt x="441" y="466"/>
                  <a:pt x="441" y="466"/>
                </a:cubicBezTo>
                <a:cubicBezTo>
                  <a:pt x="441" y="466"/>
                  <a:pt x="441" y="466"/>
                  <a:pt x="441" y="466"/>
                </a:cubicBezTo>
                <a:cubicBezTo>
                  <a:pt x="441" y="466"/>
                  <a:pt x="441" y="466"/>
                  <a:pt x="441" y="466"/>
                </a:cubicBezTo>
                <a:cubicBezTo>
                  <a:pt x="442" y="466"/>
                  <a:pt x="442" y="466"/>
                  <a:pt x="442" y="466"/>
                </a:cubicBezTo>
                <a:cubicBezTo>
                  <a:pt x="443" y="466"/>
                  <a:pt x="443" y="466"/>
                  <a:pt x="443" y="466"/>
                </a:cubicBezTo>
                <a:cubicBezTo>
                  <a:pt x="443" y="466"/>
                  <a:pt x="443" y="466"/>
                  <a:pt x="443" y="466"/>
                </a:cubicBezTo>
                <a:cubicBezTo>
                  <a:pt x="444" y="466"/>
                  <a:pt x="444" y="466"/>
                  <a:pt x="444" y="466"/>
                </a:cubicBezTo>
                <a:cubicBezTo>
                  <a:pt x="444" y="466"/>
                  <a:pt x="444" y="466"/>
                  <a:pt x="444" y="466"/>
                </a:cubicBezTo>
                <a:cubicBezTo>
                  <a:pt x="445" y="466"/>
                  <a:pt x="445" y="466"/>
                  <a:pt x="445" y="466"/>
                </a:cubicBezTo>
                <a:cubicBezTo>
                  <a:pt x="445" y="465"/>
                  <a:pt x="445" y="465"/>
                  <a:pt x="445" y="465"/>
                </a:cubicBezTo>
                <a:cubicBezTo>
                  <a:pt x="445" y="465"/>
                  <a:pt x="445" y="465"/>
                  <a:pt x="445" y="465"/>
                </a:cubicBezTo>
                <a:cubicBezTo>
                  <a:pt x="445" y="464"/>
                  <a:pt x="445" y="464"/>
                  <a:pt x="445" y="464"/>
                </a:cubicBezTo>
                <a:cubicBezTo>
                  <a:pt x="445" y="464"/>
                  <a:pt x="445" y="464"/>
                  <a:pt x="445" y="464"/>
                </a:cubicBezTo>
                <a:cubicBezTo>
                  <a:pt x="446" y="463"/>
                  <a:pt x="446" y="463"/>
                  <a:pt x="446" y="463"/>
                </a:cubicBezTo>
                <a:cubicBezTo>
                  <a:pt x="446" y="463"/>
                  <a:pt x="446" y="463"/>
                  <a:pt x="446" y="463"/>
                </a:cubicBezTo>
                <a:cubicBezTo>
                  <a:pt x="446" y="464"/>
                  <a:pt x="446" y="464"/>
                  <a:pt x="446" y="464"/>
                </a:cubicBezTo>
                <a:cubicBezTo>
                  <a:pt x="446" y="465"/>
                  <a:pt x="446" y="465"/>
                  <a:pt x="446" y="465"/>
                </a:cubicBezTo>
                <a:cubicBezTo>
                  <a:pt x="446" y="465"/>
                  <a:pt x="446" y="465"/>
                  <a:pt x="446" y="465"/>
                </a:cubicBezTo>
                <a:cubicBezTo>
                  <a:pt x="446" y="464"/>
                  <a:pt x="446" y="464"/>
                  <a:pt x="446" y="464"/>
                </a:cubicBezTo>
                <a:cubicBezTo>
                  <a:pt x="447" y="464"/>
                  <a:pt x="447" y="464"/>
                  <a:pt x="447" y="464"/>
                </a:cubicBezTo>
                <a:cubicBezTo>
                  <a:pt x="447" y="464"/>
                  <a:pt x="447" y="464"/>
                  <a:pt x="447" y="464"/>
                </a:cubicBezTo>
                <a:cubicBezTo>
                  <a:pt x="447" y="464"/>
                  <a:pt x="447" y="464"/>
                  <a:pt x="447" y="464"/>
                </a:cubicBezTo>
                <a:cubicBezTo>
                  <a:pt x="447" y="465"/>
                  <a:pt x="447" y="465"/>
                  <a:pt x="447" y="465"/>
                </a:cubicBezTo>
                <a:cubicBezTo>
                  <a:pt x="447" y="466"/>
                  <a:pt x="447" y="466"/>
                  <a:pt x="447" y="466"/>
                </a:cubicBezTo>
                <a:cubicBezTo>
                  <a:pt x="447" y="465"/>
                  <a:pt x="447" y="465"/>
                  <a:pt x="447" y="465"/>
                </a:cubicBezTo>
                <a:cubicBezTo>
                  <a:pt x="448" y="465"/>
                  <a:pt x="448" y="465"/>
                  <a:pt x="448" y="465"/>
                </a:cubicBezTo>
                <a:cubicBezTo>
                  <a:pt x="448" y="466"/>
                  <a:pt x="448" y="466"/>
                  <a:pt x="448" y="466"/>
                </a:cubicBezTo>
                <a:cubicBezTo>
                  <a:pt x="446" y="466"/>
                  <a:pt x="446" y="466"/>
                  <a:pt x="446" y="466"/>
                </a:cubicBezTo>
                <a:cubicBezTo>
                  <a:pt x="445" y="467"/>
                  <a:pt x="445" y="467"/>
                  <a:pt x="445" y="467"/>
                </a:cubicBezTo>
                <a:cubicBezTo>
                  <a:pt x="446" y="467"/>
                  <a:pt x="446" y="467"/>
                  <a:pt x="446" y="467"/>
                </a:cubicBezTo>
                <a:cubicBezTo>
                  <a:pt x="446" y="467"/>
                  <a:pt x="446" y="467"/>
                  <a:pt x="446" y="467"/>
                </a:cubicBezTo>
                <a:cubicBezTo>
                  <a:pt x="447" y="467"/>
                  <a:pt x="447" y="467"/>
                  <a:pt x="447" y="467"/>
                </a:cubicBezTo>
                <a:cubicBezTo>
                  <a:pt x="447" y="467"/>
                  <a:pt x="447" y="467"/>
                  <a:pt x="447" y="467"/>
                </a:cubicBezTo>
                <a:cubicBezTo>
                  <a:pt x="448" y="467"/>
                  <a:pt x="448" y="467"/>
                  <a:pt x="448" y="467"/>
                </a:cubicBezTo>
                <a:cubicBezTo>
                  <a:pt x="448" y="468"/>
                  <a:pt x="448" y="468"/>
                  <a:pt x="448" y="468"/>
                </a:cubicBezTo>
                <a:cubicBezTo>
                  <a:pt x="448" y="467"/>
                  <a:pt x="448" y="467"/>
                  <a:pt x="448" y="467"/>
                </a:cubicBezTo>
                <a:cubicBezTo>
                  <a:pt x="449" y="467"/>
                  <a:pt x="449" y="467"/>
                  <a:pt x="449" y="467"/>
                </a:cubicBezTo>
                <a:cubicBezTo>
                  <a:pt x="449" y="466"/>
                  <a:pt x="449" y="466"/>
                  <a:pt x="449" y="466"/>
                </a:cubicBezTo>
                <a:cubicBezTo>
                  <a:pt x="449" y="466"/>
                  <a:pt x="449" y="466"/>
                  <a:pt x="449" y="466"/>
                </a:cubicBezTo>
                <a:cubicBezTo>
                  <a:pt x="450" y="466"/>
                  <a:pt x="450" y="466"/>
                  <a:pt x="450" y="466"/>
                </a:cubicBezTo>
                <a:cubicBezTo>
                  <a:pt x="451" y="466"/>
                  <a:pt x="451" y="466"/>
                  <a:pt x="451" y="466"/>
                </a:cubicBezTo>
                <a:cubicBezTo>
                  <a:pt x="451" y="467"/>
                  <a:pt x="451" y="467"/>
                  <a:pt x="451" y="467"/>
                </a:cubicBezTo>
                <a:cubicBezTo>
                  <a:pt x="452" y="466"/>
                  <a:pt x="452" y="466"/>
                  <a:pt x="452" y="466"/>
                </a:cubicBezTo>
                <a:cubicBezTo>
                  <a:pt x="453" y="466"/>
                  <a:pt x="453" y="466"/>
                  <a:pt x="453" y="466"/>
                </a:cubicBezTo>
                <a:cubicBezTo>
                  <a:pt x="453" y="466"/>
                  <a:pt x="453" y="466"/>
                  <a:pt x="453" y="466"/>
                </a:cubicBezTo>
                <a:cubicBezTo>
                  <a:pt x="453" y="467"/>
                  <a:pt x="453" y="467"/>
                  <a:pt x="453" y="467"/>
                </a:cubicBezTo>
                <a:cubicBezTo>
                  <a:pt x="453" y="467"/>
                  <a:pt x="453" y="467"/>
                  <a:pt x="453" y="467"/>
                </a:cubicBezTo>
                <a:cubicBezTo>
                  <a:pt x="452" y="467"/>
                  <a:pt x="452" y="467"/>
                  <a:pt x="452" y="467"/>
                </a:cubicBezTo>
                <a:cubicBezTo>
                  <a:pt x="451" y="468"/>
                  <a:pt x="451" y="468"/>
                  <a:pt x="451" y="468"/>
                </a:cubicBezTo>
                <a:cubicBezTo>
                  <a:pt x="450" y="468"/>
                  <a:pt x="450" y="468"/>
                  <a:pt x="450" y="468"/>
                </a:cubicBezTo>
                <a:cubicBezTo>
                  <a:pt x="450" y="469"/>
                  <a:pt x="450" y="469"/>
                  <a:pt x="450" y="469"/>
                </a:cubicBezTo>
                <a:cubicBezTo>
                  <a:pt x="450" y="469"/>
                  <a:pt x="450" y="469"/>
                  <a:pt x="450" y="469"/>
                </a:cubicBezTo>
                <a:cubicBezTo>
                  <a:pt x="449" y="469"/>
                  <a:pt x="449" y="469"/>
                  <a:pt x="449" y="469"/>
                </a:cubicBezTo>
                <a:cubicBezTo>
                  <a:pt x="449" y="469"/>
                  <a:pt x="449" y="469"/>
                  <a:pt x="449" y="469"/>
                </a:cubicBezTo>
                <a:cubicBezTo>
                  <a:pt x="448" y="470"/>
                  <a:pt x="448" y="470"/>
                  <a:pt x="448" y="470"/>
                </a:cubicBezTo>
                <a:cubicBezTo>
                  <a:pt x="448" y="470"/>
                  <a:pt x="448" y="470"/>
                  <a:pt x="448" y="470"/>
                </a:cubicBezTo>
                <a:cubicBezTo>
                  <a:pt x="447" y="470"/>
                  <a:pt x="447" y="470"/>
                  <a:pt x="447" y="470"/>
                </a:cubicBezTo>
                <a:cubicBezTo>
                  <a:pt x="446" y="471"/>
                  <a:pt x="446" y="471"/>
                  <a:pt x="446" y="471"/>
                </a:cubicBezTo>
                <a:cubicBezTo>
                  <a:pt x="445" y="471"/>
                  <a:pt x="445" y="471"/>
                  <a:pt x="445" y="471"/>
                </a:cubicBezTo>
                <a:cubicBezTo>
                  <a:pt x="445" y="472"/>
                  <a:pt x="445" y="472"/>
                  <a:pt x="445" y="472"/>
                </a:cubicBezTo>
                <a:cubicBezTo>
                  <a:pt x="446" y="472"/>
                  <a:pt x="446" y="472"/>
                  <a:pt x="446" y="472"/>
                </a:cubicBezTo>
                <a:cubicBezTo>
                  <a:pt x="446" y="473"/>
                  <a:pt x="446" y="473"/>
                  <a:pt x="446" y="473"/>
                </a:cubicBezTo>
                <a:cubicBezTo>
                  <a:pt x="447" y="473"/>
                  <a:pt x="447" y="473"/>
                  <a:pt x="447" y="473"/>
                </a:cubicBezTo>
                <a:cubicBezTo>
                  <a:pt x="447" y="472"/>
                  <a:pt x="447" y="472"/>
                  <a:pt x="447" y="472"/>
                </a:cubicBezTo>
                <a:cubicBezTo>
                  <a:pt x="447" y="472"/>
                  <a:pt x="447" y="472"/>
                  <a:pt x="447" y="472"/>
                </a:cubicBezTo>
                <a:cubicBezTo>
                  <a:pt x="448" y="472"/>
                  <a:pt x="448" y="472"/>
                  <a:pt x="448" y="472"/>
                </a:cubicBezTo>
                <a:cubicBezTo>
                  <a:pt x="448" y="472"/>
                  <a:pt x="448" y="472"/>
                  <a:pt x="448" y="472"/>
                </a:cubicBezTo>
                <a:cubicBezTo>
                  <a:pt x="448" y="473"/>
                  <a:pt x="448" y="473"/>
                  <a:pt x="448" y="473"/>
                </a:cubicBezTo>
                <a:cubicBezTo>
                  <a:pt x="449" y="472"/>
                  <a:pt x="449" y="472"/>
                  <a:pt x="449" y="472"/>
                </a:cubicBezTo>
                <a:cubicBezTo>
                  <a:pt x="450" y="472"/>
                  <a:pt x="450" y="472"/>
                  <a:pt x="450" y="472"/>
                </a:cubicBezTo>
                <a:cubicBezTo>
                  <a:pt x="450" y="471"/>
                  <a:pt x="450" y="471"/>
                  <a:pt x="450" y="471"/>
                </a:cubicBezTo>
                <a:cubicBezTo>
                  <a:pt x="450" y="471"/>
                  <a:pt x="450" y="471"/>
                  <a:pt x="450" y="471"/>
                </a:cubicBezTo>
                <a:cubicBezTo>
                  <a:pt x="451" y="470"/>
                  <a:pt x="451" y="470"/>
                  <a:pt x="451" y="470"/>
                </a:cubicBezTo>
                <a:cubicBezTo>
                  <a:pt x="451" y="470"/>
                  <a:pt x="451" y="470"/>
                  <a:pt x="451" y="470"/>
                </a:cubicBezTo>
                <a:cubicBezTo>
                  <a:pt x="451" y="469"/>
                  <a:pt x="451" y="469"/>
                  <a:pt x="451" y="469"/>
                </a:cubicBezTo>
                <a:cubicBezTo>
                  <a:pt x="452" y="468"/>
                  <a:pt x="452" y="468"/>
                  <a:pt x="452" y="468"/>
                </a:cubicBezTo>
                <a:cubicBezTo>
                  <a:pt x="453" y="468"/>
                  <a:pt x="453" y="468"/>
                  <a:pt x="453" y="468"/>
                </a:cubicBezTo>
                <a:cubicBezTo>
                  <a:pt x="453" y="468"/>
                  <a:pt x="453" y="468"/>
                  <a:pt x="453" y="468"/>
                </a:cubicBezTo>
                <a:cubicBezTo>
                  <a:pt x="454" y="468"/>
                  <a:pt x="454" y="468"/>
                  <a:pt x="454" y="468"/>
                </a:cubicBezTo>
                <a:cubicBezTo>
                  <a:pt x="453" y="469"/>
                  <a:pt x="453" y="469"/>
                  <a:pt x="453" y="469"/>
                </a:cubicBezTo>
                <a:cubicBezTo>
                  <a:pt x="454" y="469"/>
                  <a:pt x="454" y="469"/>
                  <a:pt x="454" y="469"/>
                </a:cubicBezTo>
                <a:cubicBezTo>
                  <a:pt x="455" y="468"/>
                  <a:pt x="455" y="468"/>
                  <a:pt x="455" y="468"/>
                </a:cubicBezTo>
                <a:cubicBezTo>
                  <a:pt x="455" y="467"/>
                  <a:pt x="455" y="467"/>
                  <a:pt x="455" y="467"/>
                </a:cubicBezTo>
                <a:cubicBezTo>
                  <a:pt x="456" y="466"/>
                  <a:pt x="456" y="466"/>
                  <a:pt x="456" y="466"/>
                </a:cubicBezTo>
                <a:cubicBezTo>
                  <a:pt x="456" y="464"/>
                  <a:pt x="456" y="464"/>
                  <a:pt x="456" y="464"/>
                </a:cubicBezTo>
                <a:cubicBezTo>
                  <a:pt x="456" y="464"/>
                  <a:pt x="456" y="464"/>
                  <a:pt x="456" y="464"/>
                </a:cubicBezTo>
                <a:cubicBezTo>
                  <a:pt x="456" y="464"/>
                  <a:pt x="456" y="464"/>
                  <a:pt x="456" y="464"/>
                </a:cubicBezTo>
                <a:cubicBezTo>
                  <a:pt x="457" y="464"/>
                  <a:pt x="457" y="464"/>
                  <a:pt x="457" y="464"/>
                </a:cubicBezTo>
                <a:cubicBezTo>
                  <a:pt x="457" y="465"/>
                  <a:pt x="457" y="465"/>
                  <a:pt x="457" y="465"/>
                </a:cubicBezTo>
                <a:cubicBezTo>
                  <a:pt x="458" y="465"/>
                  <a:pt x="458" y="465"/>
                  <a:pt x="458" y="465"/>
                </a:cubicBezTo>
                <a:cubicBezTo>
                  <a:pt x="458" y="466"/>
                  <a:pt x="458" y="466"/>
                  <a:pt x="458" y="466"/>
                </a:cubicBezTo>
                <a:cubicBezTo>
                  <a:pt x="458" y="467"/>
                  <a:pt x="458" y="467"/>
                  <a:pt x="458" y="467"/>
                </a:cubicBezTo>
                <a:cubicBezTo>
                  <a:pt x="457" y="468"/>
                  <a:pt x="457" y="468"/>
                  <a:pt x="457" y="468"/>
                </a:cubicBezTo>
                <a:cubicBezTo>
                  <a:pt x="458" y="468"/>
                  <a:pt x="458" y="468"/>
                  <a:pt x="458" y="468"/>
                </a:cubicBezTo>
                <a:cubicBezTo>
                  <a:pt x="457" y="469"/>
                  <a:pt x="457" y="469"/>
                  <a:pt x="457" y="469"/>
                </a:cubicBezTo>
                <a:cubicBezTo>
                  <a:pt x="456" y="470"/>
                  <a:pt x="456" y="470"/>
                  <a:pt x="456" y="470"/>
                </a:cubicBezTo>
                <a:cubicBezTo>
                  <a:pt x="456" y="472"/>
                  <a:pt x="456" y="472"/>
                  <a:pt x="456" y="472"/>
                </a:cubicBezTo>
                <a:cubicBezTo>
                  <a:pt x="456" y="472"/>
                  <a:pt x="456" y="472"/>
                  <a:pt x="456" y="472"/>
                </a:cubicBezTo>
                <a:cubicBezTo>
                  <a:pt x="455" y="473"/>
                  <a:pt x="455" y="473"/>
                  <a:pt x="455" y="473"/>
                </a:cubicBezTo>
                <a:cubicBezTo>
                  <a:pt x="455" y="474"/>
                  <a:pt x="455" y="474"/>
                  <a:pt x="455" y="474"/>
                </a:cubicBezTo>
                <a:cubicBezTo>
                  <a:pt x="456" y="474"/>
                  <a:pt x="456" y="474"/>
                  <a:pt x="456" y="474"/>
                </a:cubicBezTo>
                <a:cubicBezTo>
                  <a:pt x="457" y="473"/>
                  <a:pt x="457" y="473"/>
                  <a:pt x="457" y="473"/>
                </a:cubicBezTo>
                <a:cubicBezTo>
                  <a:pt x="458" y="472"/>
                  <a:pt x="458" y="472"/>
                  <a:pt x="458" y="472"/>
                </a:cubicBezTo>
                <a:cubicBezTo>
                  <a:pt x="458" y="472"/>
                  <a:pt x="458" y="472"/>
                  <a:pt x="458" y="472"/>
                </a:cubicBezTo>
                <a:cubicBezTo>
                  <a:pt x="459" y="470"/>
                  <a:pt x="459" y="470"/>
                  <a:pt x="459" y="470"/>
                </a:cubicBezTo>
                <a:cubicBezTo>
                  <a:pt x="460" y="470"/>
                  <a:pt x="460" y="470"/>
                  <a:pt x="460" y="470"/>
                </a:cubicBezTo>
                <a:cubicBezTo>
                  <a:pt x="460" y="470"/>
                  <a:pt x="460" y="470"/>
                  <a:pt x="460" y="470"/>
                </a:cubicBezTo>
                <a:cubicBezTo>
                  <a:pt x="461" y="470"/>
                  <a:pt x="461" y="470"/>
                  <a:pt x="461" y="470"/>
                </a:cubicBezTo>
                <a:cubicBezTo>
                  <a:pt x="461" y="471"/>
                  <a:pt x="461" y="471"/>
                  <a:pt x="461" y="471"/>
                </a:cubicBezTo>
                <a:cubicBezTo>
                  <a:pt x="460" y="471"/>
                  <a:pt x="460" y="471"/>
                  <a:pt x="460" y="471"/>
                </a:cubicBezTo>
                <a:cubicBezTo>
                  <a:pt x="459" y="472"/>
                  <a:pt x="459" y="472"/>
                  <a:pt x="459" y="472"/>
                </a:cubicBezTo>
                <a:cubicBezTo>
                  <a:pt x="459" y="473"/>
                  <a:pt x="459" y="473"/>
                  <a:pt x="459" y="473"/>
                </a:cubicBezTo>
                <a:cubicBezTo>
                  <a:pt x="459" y="473"/>
                  <a:pt x="459" y="473"/>
                  <a:pt x="459" y="473"/>
                </a:cubicBezTo>
                <a:cubicBezTo>
                  <a:pt x="459" y="474"/>
                  <a:pt x="459" y="474"/>
                  <a:pt x="459" y="474"/>
                </a:cubicBezTo>
                <a:cubicBezTo>
                  <a:pt x="459" y="475"/>
                  <a:pt x="459" y="475"/>
                  <a:pt x="459" y="475"/>
                </a:cubicBezTo>
                <a:cubicBezTo>
                  <a:pt x="460" y="476"/>
                  <a:pt x="460" y="476"/>
                  <a:pt x="460" y="476"/>
                </a:cubicBezTo>
                <a:cubicBezTo>
                  <a:pt x="460" y="475"/>
                  <a:pt x="460" y="475"/>
                  <a:pt x="460" y="475"/>
                </a:cubicBezTo>
                <a:cubicBezTo>
                  <a:pt x="460" y="474"/>
                  <a:pt x="460" y="474"/>
                  <a:pt x="460" y="474"/>
                </a:cubicBezTo>
                <a:cubicBezTo>
                  <a:pt x="460" y="474"/>
                  <a:pt x="461" y="474"/>
                  <a:pt x="461" y="474"/>
                </a:cubicBezTo>
                <a:cubicBezTo>
                  <a:pt x="461" y="474"/>
                  <a:pt x="462" y="475"/>
                  <a:pt x="462" y="475"/>
                </a:cubicBezTo>
                <a:cubicBezTo>
                  <a:pt x="462" y="475"/>
                  <a:pt x="462" y="475"/>
                  <a:pt x="462" y="475"/>
                </a:cubicBezTo>
                <a:cubicBezTo>
                  <a:pt x="463" y="475"/>
                  <a:pt x="463" y="475"/>
                  <a:pt x="463" y="475"/>
                </a:cubicBezTo>
                <a:cubicBezTo>
                  <a:pt x="463" y="474"/>
                  <a:pt x="463" y="474"/>
                  <a:pt x="463" y="474"/>
                </a:cubicBezTo>
                <a:cubicBezTo>
                  <a:pt x="463" y="474"/>
                  <a:pt x="463" y="474"/>
                  <a:pt x="463" y="474"/>
                </a:cubicBezTo>
                <a:cubicBezTo>
                  <a:pt x="463" y="473"/>
                  <a:pt x="463" y="473"/>
                  <a:pt x="463" y="473"/>
                </a:cubicBezTo>
                <a:cubicBezTo>
                  <a:pt x="463" y="472"/>
                  <a:pt x="463" y="472"/>
                  <a:pt x="463" y="472"/>
                </a:cubicBezTo>
                <a:cubicBezTo>
                  <a:pt x="464" y="472"/>
                  <a:pt x="464" y="472"/>
                  <a:pt x="464" y="472"/>
                </a:cubicBezTo>
                <a:cubicBezTo>
                  <a:pt x="464" y="472"/>
                  <a:pt x="464" y="472"/>
                  <a:pt x="464" y="472"/>
                </a:cubicBezTo>
                <a:cubicBezTo>
                  <a:pt x="464" y="471"/>
                  <a:pt x="464" y="471"/>
                  <a:pt x="464" y="471"/>
                </a:cubicBezTo>
                <a:cubicBezTo>
                  <a:pt x="464" y="470"/>
                  <a:pt x="464" y="470"/>
                  <a:pt x="464" y="470"/>
                </a:cubicBezTo>
                <a:cubicBezTo>
                  <a:pt x="465" y="469"/>
                  <a:pt x="465" y="469"/>
                  <a:pt x="465" y="469"/>
                </a:cubicBezTo>
                <a:cubicBezTo>
                  <a:pt x="466" y="468"/>
                  <a:pt x="466" y="468"/>
                  <a:pt x="466" y="468"/>
                </a:cubicBezTo>
                <a:cubicBezTo>
                  <a:pt x="465" y="466"/>
                  <a:pt x="465" y="466"/>
                  <a:pt x="465" y="466"/>
                </a:cubicBezTo>
                <a:cubicBezTo>
                  <a:pt x="465" y="465"/>
                  <a:pt x="465" y="465"/>
                  <a:pt x="465" y="465"/>
                </a:cubicBezTo>
                <a:cubicBezTo>
                  <a:pt x="465" y="465"/>
                  <a:pt x="465" y="465"/>
                  <a:pt x="465" y="465"/>
                </a:cubicBezTo>
                <a:cubicBezTo>
                  <a:pt x="465" y="466"/>
                  <a:pt x="465" y="466"/>
                  <a:pt x="465" y="466"/>
                </a:cubicBezTo>
                <a:cubicBezTo>
                  <a:pt x="465" y="467"/>
                  <a:pt x="465" y="467"/>
                  <a:pt x="465" y="467"/>
                </a:cubicBezTo>
                <a:cubicBezTo>
                  <a:pt x="464" y="467"/>
                  <a:pt x="464" y="467"/>
                  <a:pt x="464" y="467"/>
                </a:cubicBezTo>
                <a:cubicBezTo>
                  <a:pt x="463" y="468"/>
                  <a:pt x="463" y="468"/>
                  <a:pt x="463" y="468"/>
                </a:cubicBezTo>
                <a:cubicBezTo>
                  <a:pt x="462" y="468"/>
                  <a:pt x="462" y="468"/>
                  <a:pt x="462" y="468"/>
                </a:cubicBezTo>
                <a:cubicBezTo>
                  <a:pt x="462" y="467"/>
                  <a:pt x="462" y="467"/>
                  <a:pt x="462" y="467"/>
                </a:cubicBezTo>
                <a:cubicBezTo>
                  <a:pt x="462" y="467"/>
                  <a:pt x="462" y="467"/>
                  <a:pt x="462" y="467"/>
                </a:cubicBezTo>
                <a:cubicBezTo>
                  <a:pt x="462" y="466"/>
                  <a:pt x="462" y="466"/>
                  <a:pt x="462" y="466"/>
                </a:cubicBezTo>
                <a:cubicBezTo>
                  <a:pt x="463" y="465"/>
                  <a:pt x="463" y="465"/>
                  <a:pt x="463" y="465"/>
                </a:cubicBezTo>
                <a:cubicBezTo>
                  <a:pt x="464" y="464"/>
                  <a:pt x="464" y="464"/>
                  <a:pt x="464" y="464"/>
                </a:cubicBezTo>
                <a:cubicBezTo>
                  <a:pt x="464" y="464"/>
                  <a:pt x="464" y="464"/>
                  <a:pt x="464" y="464"/>
                </a:cubicBezTo>
                <a:cubicBezTo>
                  <a:pt x="465" y="464"/>
                  <a:pt x="465" y="464"/>
                  <a:pt x="465" y="464"/>
                </a:cubicBezTo>
                <a:cubicBezTo>
                  <a:pt x="465" y="463"/>
                  <a:pt x="465" y="463"/>
                  <a:pt x="465" y="463"/>
                </a:cubicBezTo>
                <a:cubicBezTo>
                  <a:pt x="465" y="463"/>
                  <a:pt x="465" y="463"/>
                  <a:pt x="465" y="463"/>
                </a:cubicBezTo>
                <a:cubicBezTo>
                  <a:pt x="464" y="463"/>
                  <a:pt x="464" y="463"/>
                  <a:pt x="464" y="463"/>
                </a:cubicBezTo>
                <a:cubicBezTo>
                  <a:pt x="464" y="463"/>
                  <a:pt x="464" y="463"/>
                  <a:pt x="464" y="463"/>
                </a:cubicBezTo>
                <a:cubicBezTo>
                  <a:pt x="463" y="464"/>
                  <a:pt x="463" y="464"/>
                  <a:pt x="463" y="464"/>
                </a:cubicBezTo>
                <a:cubicBezTo>
                  <a:pt x="463" y="464"/>
                  <a:pt x="463" y="464"/>
                  <a:pt x="463" y="464"/>
                </a:cubicBezTo>
                <a:cubicBezTo>
                  <a:pt x="462" y="464"/>
                  <a:pt x="462" y="464"/>
                  <a:pt x="462" y="464"/>
                </a:cubicBezTo>
                <a:cubicBezTo>
                  <a:pt x="462" y="465"/>
                  <a:pt x="462" y="465"/>
                  <a:pt x="462" y="465"/>
                </a:cubicBezTo>
                <a:cubicBezTo>
                  <a:pt x="460" y="466"/>
                  <a:pt x="460" y="466"/>
                  <a:pt x="460" y="466"/>
                </a:cubicBezTo>
                <a:cubicBezTo>
                  <a:pt x="460" y="467"/>
                  <a:pt x="460" y="467"/>
                  <a:pt x="460" y="467"/>
                </a:cubicBezTo>
                <a:cubicBezTo>
                  <a:pt x="460" y="467"/>
                  <a:pt x="460" y="467"/>
                  <a:pt x="460" y="467"/>
                </a:cubicBezTo>
                <a:cubicBezTo>
                  <a:pt x="459" y="466"/>
                  <a:pt x="459" y="466"/>
                  <a:pt x="459" y="466"/>
                </a:cubicBezTo>
                <a:cubicBezTo>
                  <a:pt x="459" y="466"/>
                  <a:pt x="459" y="466"/>
                  <a:pt x="459" y="466"/>
                </a:cubicBezTo>
                <a:cubicBezTo>
                  <a:pt x="458" y="465"/>
                  <a:pt x="458" y="465"/>
                  <a:pt x="458" y="465"/>
                </a:cubicBezTo>
                <a:cubicBezTo>
                  <a:pt x="458" y="464"/>
                  <a:pt x="458" y="464"/>
                  <a:pt x="458" y="464"/>
                </a:cubicBezTo>
                <a:cubicBezTo>
                  <a:pt x="459" y="465"/>
                  <a:pt x="459" y="465"/>
                  <a:pt x="459" y="465"/>
                </a:cubicBezTo>
                <a:cubicBezTo>
                  <a:pt x="459" y="465"/>
                  <a:pt x="459" y="465"/>
                  <a:pt x="459" y="465"/>
                </a:cubicBezTo>
                <a:cubicBezTo>
                  <a:pt x="460" y="464"/>
                  <a:pt x="460" y="464"/>
                  <a:pt x="460" y="464"/>
                </a:cubicBezTo>
                <a:cubicBezTo>
                  <a:pt x="459" y="464"/>
                  <a:pt x="459" y="464"/>
                  <a:pt x="459" y="464"/>
                </a:cubicBezTo>
                <a:cubicBezTo>
                  <a:pt x="458" y="463"/>
                  <a:pt x="458" y="463"/>
                  <a:pt x="458" y="463"/>
                </a:cubicBezTo>
                <a:cubicBezTo>
                  <a:pt x="459" y="463"/>
                  <a:pt x="459" y="463"/>
                  <a:pt x="459" y="463"/>
                </a:cubicBezTo>
                <a:cubicBezTo>
                  <a:pt x="460" y="463"/>
                  <a:pt x="460" y="463"/>
                  <a:pt x="460" y="463"/>
                </a:cubicBezTo>
                <a:cubicBezTo>
                  <a:pt x="459" y="463"/>
                  <a:pt x="459" y="463"/>
                  <a:pt x="459" y="463"/>
                </a:cubicBezTo>
                <a:cubicBezTo>
                  <a:pt x="459" y="463"/>
                  <a:pt x="459" y="463"/>
                  <a:pt x="459" y="463"/>
                </a:cubicBezTo>
                <a:cubicBezTo>
                  <a:pt x="459" y="462"/>
                  <a:pt x="459" y="462"/>
                  <a:pt x="459" y="462"/>
                </a:cubicBezTo>
                <a:cubicBezTo>
                  <a:pt x="459" y="462"/>
                  <a:pt x="459" y="462"/>
                  <a:pt x="459" y="462"/>
                </a:cubicBezTo>
                <a:cubicBezTo>
                  <a:pt x="460" y="462"/>
                  <a:pt x="460" y="462"/>
                  <a:pt x="460" y="462"/>
                </a:cubicBezTo>
                <a:cubicBezTo>
                  <a:pt x="460" y="462"/>
                  <a:pt x="460" y="462"/>
                  <a:pt x="460" y="462"/>
                </a:cubicBezTo>
                <a:cubicBezTo>
                  <a:pt x="461" y="461"/>
                  <a:pt x="461" y="461"/>
                  <a:pt x="461" y="461"/>
                </a:cubicBezTo>
                <a:cubicBezTo>
                  <a:pt x="462" y="460"/>
                  <a:pt x="462" y="460"/>
                  <a:pt x="462" y="460"/>
                </a:cubicBezTo>
                <a:cubicBezTo>
                  <a:pt x="463" y="460"/>
                  <a:pt x="463" y="460"/>
                  <a:pt x="463" y="460"/>
                </a:cubicBezTo>
                <a:cubicBezTo>
                  <a:pt x="463" y="460"/>
                  <a:pt x="463" y="460"/>
                  <a:pt x="463" y="460"/>
                </a:cubicBezTo>
                <a:cubicBezTo>
                  <a:pt x="464" y="459"/>
                  <a:pt x="464" y="459"/>
                  <a:pt x="464" y="459"/>
                </a:cubicBezTo>
                <a:cubicBezTo>
                  <a:pt x="464" y="459"/>
                  <a:pt x="464" y="459"/>
                  <a:pt x="464" y="459"/>
                </a:cubicBezTo>
                <a:cubicBezTo>
                  <a:pt x="464" y="458"/>
                  <a:pt x="464" y="458"/>
                  <a:pt x="464" y="458"/>
                </a:cubicBezTo>
                <a:cubicBezTo>
                  <a:pt x="464" y="457"/>
                  <a:pt x="464" y="457"/>
                  <a:pt x="464" y="457"/>
                </a:cubicBezTo>
                <a:cubicBezTo>
                  <a:pt x="463" y="458"/>
                  <a:pt x="463" y="458"/>
                  <a:pt x="463" y="458"/>
                </a:cubicBezTo>
                <a:cubicBezTo>
                  <a:pt x="463" y="458"/>
                  <a:pt x="463" y="458"/>
                  <a:pt x="463" y="458"/>
                </a:cubicBezTo>
                <a:cubicBezTo>
                  <a:pt x="462" y="458"/>
                  <a:pt x="462" y="458"/>
                  <a:pt x="462" y="458"/>
                </a:cubicBezTo>
                <a:cubicBezTo>
                  <a:pt x="462" y="458"/>
                  <a:pt x="462" y="458"/>
                  <a:pt x="462" y="458"/>
                </a:cubicBezTo>
                <a:cubicBezTo>
                  <a:pt x="462" y="458"/>
                  <a:pt x="462" y="458"/>
                  <a:pt x="462" y="458"/>
                </a:cubicBezTo>
                <a:cubicBezTo>
                  <a:pt x="462" y="459"/>
                  <a:pt x="462" y="459"/>
                  <a:pt x="462" y="459"/>
                </a:cubicBezTo>
                <a:cubicBezTo>
                  <a:pt x="461" y="459"/>
                  <a:pt x="461" y="459"/>
                  <a:pt x="461" y="459"/>
                </a:cubicBezTo>
                <a:cubicBezTo>
                  <a:pt x="461" y="459"/>
                  <a:pt x="461" y="459"/>
                  <a:pt x="461" y="459"/>
                </a:cubicBezTo>
                <a:cubicBezTo>
                  <a:pt x="460" y="460"/>
                  <a:pt x="460" y="460"/>
                  <a:pt x="460" y="460"/>
                </a:cubicBezTo>
                <a:cubicBezTo>
                  <a:pt x="459" y="460"/>
                  <a:pt x="459" y="460"/>
                  <a:pt x="459" y="460"/>
                </a:cubicBezTo>
                <a:cubicBezTo>
                  <a:pt x="459" y="461"/>
                  <a:pt x="459" y="461"/>
                  <a:pt x="459" y="461"/>
                </a:cubicBezTo>
                <a:cubicBezTo>
                  <a:pt x="459" y="461"/>
                  <a:pt x="459" y="461"/>
                  <a:pt x="459" y="461"/>
                </a:cubicBezTo>
                <a:cubicBezTo>
                  <a:pt x="459" y="461"/>
                  <a:pt x="459" y="461"/>
                  <a:pt x="459" y="461"/>
                </a:cubicBezTo>
                <a:cubicBezTo>
                  <a:pt x="459" y="460"/>
                  <a:pt x="459" y="460"/>
                  <a:pt x="459" y="460"/>
                </a:cubicBezTo>
                <a:cubicBezTo>
                  <a:pt x="459" y="460"/>
                  <a:pt x="459" y="460"/>
                  <a:pt x="459" y="460"/>
                </a:cubicBezTo>
                <a:cubicBezTo>
                  <a:pt x="458" y="460"/>
                  <a:pt x="458" y="460"/>
                  <a:pt x="458" y="460"/>
                </a:cubicBezTo>
                <a:cubicBezTo>
                  <a:pt x="459" y="460"/>
                  <a:pt x="459" y="460"/>
                  <a:pt x="459" y="460"/>
                </a:cubicBezTo>
                <a:cubicBezTo>
                  <a:pt x="459" y="459"/>
                  <a:pt x="459" y="459"/>
                  <a:pt x="459" y="459"/>
                </a:cubicBezTo>
                <a:cubicBezTo>
                  <a:pt x="460" y="459"/>
                  <a:pt x="460" y="459"/>
                  <a:pt x="460" y="459"/>
                </a:cubicBezTo>
                <a:cubicBezTo>
                  <a:pt x="459" y="459"/>
                  <a:pt x="459" y="459"/>
                  <a:pt x="459" y="459"/>
                </a:cubicBezTo>
                <a:cubicBezTo>
                  <a:pt x="460" y="458"/>
                  <a:pt x="460" y="458"/>
                  <a:pt x="460" y="458"/>
                </a:cubicBezTo>
                <a:cubicBezTo>
                  <a:pt x="460" y="457"/>
                  <a:pt x="460" y="457"/>
                  <a:pt x="460" y="457"/>
                </a:cubicBezTo>
                <a:cubicBezTo>
                  <a:pt x="460" y="457"/>
                  <a:pt x="460" y="457"/>
                  <a:pt x="460" y="457"/>
                </a:cubicBezTo>
                <a:cubicBezTo>
                  <a:pt x="459" y="458"/>
                  <a:pt x="459" y="458"/>
                  <a:pt x="459" y="458"/>
                </a:cubicBezTo>
                <a:cubicBezTo>
                  <a:pt x="459" y="457"/>
                  <a:pt x="459" y="457"/>
                  <a:pt x="459" y="457"/>
                </a:cubicBezTo>
                <a:cubicBezTo>
                  <a:pt x="459" y="456"/>
                  <a:pt x="459" y="456"/>
                  <a:pt x="459" y="456"/>
                </a:cubicBezTo>
                <a:cubicBezTo>
                  <a:pt x="459" y="456"/>
                  <a:pt x="459" y="456"/>
                  <a:pt x="459" y="456"/>
                </a:cubicBezTo>
                <a:cubicBezTo>
                  <a:pt x="458" y="456"/>
                  <a:pt x="458" y="456"/>
                  <a:pt x="458" y="456"/>
                </a:cubicBezTo>
                <a:cubicBezTo>
                  <a:pt x="457" y="456"/>
                  <a:pt x="457" y="456"/>
                  <a:pt x="457" y="456"/>
                </a:cubicBezTo>
                <a:cubicBezTo>
                  <a:pt x="458" y="456"/>
                  <a:pt x="458" y="456"/>
                  <a:pt x="458" y="456"/>
                </a:cubicBezTo>
                <a:cubicBezTo>
                  <a:pt x="459" y="456"/>
                  <a:pt x="459" y="456"/>
                  <a:pt x="459" y="456"/>
                </a:cubicBezTo>
                <a:cubicBezTo>
                  <a:pt x="460" y="456"/>
                  <a:pt x="460" y="456"/>
                  <a:pt x="460" y="456"/>
                </a:cubicBezTo>
                <a:cubicBezTo>
                  <a:pt x="460" y="455"/>
                  <a:pt x="460" y="455"/>
                  <a:pt x="460" y="455"/>
                </a:cubicBezTo>
                <a:cubicBezTo>
                  <a:pt x="461" y="455"/>
                  <a:pt x="461" y="455"/>
                  <a:pt x="461" y="455"/>
                </a:cubicBezTo>
                <a:cubicBezTo>
                  <a:pt x="461" y="455"/>
                  <a:pt x="461" y="455"/>
                  <a:pt x="461" y="455"/>
                </a:cubicBezTo>
                <a:cubicBezTo>
                  <a:pt x="462" y="454"/>
                  <a:pt x="462" y="454"/>
                  <a:pt x="462" y="454"/>
                </a:cubicBezTo>
                <a:cubicBezTo>
                  <a:pt x="462" y="454"/>
                  <a:pt x="462" y="454"/>
                  <a:pt x="462" y="454"/>
                </a:cubicBezTo>
                <a:cubicBezTo>
                  <a:pt x="463" y="453"/>
                  <a:pt x="463" y="453"/>
                  <a:pt x="463" y="453"/>
                </a:cubicBezTo>
                <a:cubicBezTo>
                  <a:pt x="463" y="452"/>
                  <a:pt x="463" y="452"/>
                  <a:pt x="463" y="452"/>
                </a:cubicBezTo>
                <a:cubicBezTo>
                  <a:pt x="462" y="452"/>
                  <a:pt x="462" y="452"/>
                  <a:pt x="462" y="452"/>
                </a:cubicBezTo>
                <a:cubicBezTo>
                  <a:pt x="461" y="451"/>
                  <a:pt x="461" y="451"/>
                  <a:pt x="461" y="451"/>
                </a:cubicBezTo>
                <a:cubicBezTo>
                  <a:pt x="460" y="451"/>
                  <a:pt x="460" y="451"/>
                  <a:pt x="460" y="451"/>
                </a:cubicBezTo>
                <a:cubicBezTo>
                  <a:pt x="459" y="451"/>
                  <a:pt x="459" y="451"/>
                  <a:pt x="459" y="451"/>
                </a:cubicBezTo>
                <a:cubicBezTo>
                  <a:pt x="458" y="451"/>
                  <a:pt x="458" y="451"/>
                  <a:pt x="458" y="451"/>
                </a:cubicBezTo>
                <a:cubicBezTo>
                  <a:pt x="458" y="452"/>
                  <a:pt x="458" y="452"/>
                  <a:pt x="458" y="452"/>
                </a:cubicBezTo>
                <a:cubicBezTo>
                  <a:pt x="458" y="453"/>
                  <a:pt x="458" y="453"/>
                  <a:pt x="458" y="453"/>
                </a:cubicBezTo>
                <a:cubicBezTo>
                  <a:pt x="458" y="454"/>
                  <a:pt x="458" y="454"/>
                  <a:pt x="458" y="454"/>
                </a:cubicBezTo>
                <a:cubicBezTo>
                  <a:pt x="457" y="454"/>
                  <a:pt x="457" y="454"/>
                  <a:pt x="457" y="454"/>
                </a:cubicBezTo>
                <a:cubicBezTo>
                  <a:pt x="457" y="454"/>
                  <a:pt x="457" y="454"/>
                  <a:pt x="457" y="454"/>
                </a:cubicBezTo>
                <a:cubicBezTo>
                  <a:pt x="458" y="453"/>
                  <a:pt x="458" y="453"/>
                  <a:pt x="458" y="453"/>
                </a:cubicBezTo>
                <a:cubicBezTo>
                  <a:pt x="457" y="452"/>
                  <a:pt x="457" y="452"/>
                  <a:pt x="457" y="452"/>
                </a:cubicBezTo>
                <a:cubicBezTo>
                  <a:pt x="458" y="452"/>
                  <a:pt x="458" y="452"/>
                  <a:pt x="458" y="452"/>
                </a:cubicBezTo>
                <a:cubicBezTo>
                  <a:pt x="458" y="451"/>
                  <a:pt x="458" y="451"/>
                  <a:pt x="458" y="451"/>
                </a:cubicBezTo>
                <a:cubicBezTo>
                  <a:pt x="458" y="451"/>
                  <a:pt x="458" y="451"/>
                  <a:pt x="458" y="451"/>
                </a:cubicBezTo>
                <a:cubicBezTo>
                  <a:pt x="457" y="451"/>
                  <a:pt x="457" y="451"/>
                  <a:pt x="457" y="451"/>
                </a:cubicBezTo>
                <a:cubicBezTo>
                  <a:pt x="456" y="452"/>
                  <a:pt x="456" y="452"/>
                  <a:pt x="456" y="452"/>
                </a:cubicBezTo>
                <a:cubicBezTo>
                  <a:pt x="456" y="452"/>
                  <a:pt x="456" y="452"/>
                  <a:pt x="456" y="452"/>
                </a:cubicBezTo>
                <a:cubicBezTo>
                  <a:pt x="455" y="452"/>
                  <a:pt x="455" y="452"/>
                  <a:pt x="455" y="452"/>
                </a:cubicBezTo>
                <a:cubicBezTo>
                  <a:pt x="455" y="452"/>
                  <a:pt x="455" y="452"/>
                  <a:pt x="455" y="452"/>
                </a:cubicBezTo>
                <a:cubicBezTo>
                  <a:pt x="454" y="453"/>
                  <a:pt x="454" y="453"/>
                  <a:pt x="454" y="453"/>
                </a:cubicBezTo>
                <a:cubicBezTo>
                  <a:pt x="454" y="452"/>
                  <a:pt x="454" y="452"/>
                  <a:pt x="454" y="452"/>
                </a:cubicBezTo>
                <a:cubicBezTo>
                  <a:pt x="453" y="453"/>
                  <a:pt x="453" y="453"/>
                  <a:pt x="453" y="453"/>
                </a:cubicBezTo>
                <a:cubicBezTo>
                  <a:pt x="453" y="454"/>
                  <a:pt x="453" y="454"/>
                  <a:pt x="453" y="454"/>
                </a:cubicBezTo>
                <a:cubicBezTo>
                  <a:pt x="452" y="455"/>
                  <a:pt x="452" y="455"/>
                  <a:pt x="452" y="455"/>
                </a:cubicBezTo>
                <a:cubicBezTo>
                  <a:pt x="453" y="454"/>
                  <a:pt x="453" y="454"/>
                  <a:pt x="453" y="454"/>
                </a:cubicBezTo>
                <a:cubicBezTo>
                  <a:pt x="453" y="452"/>
                  <a:pt x="453" y="452"/>
                  <a:pt x="453" y="452"/>
                </a:cubicBezTo>
                <a:cubicBezTo>
                  <a:pt x="454" y="451"/>
                  <a:pt x="454" y="451"/>
                  <a:pt x="454" y="451"/>
                </a:cubicBezTo>
                <a:cubicBezTo>
                  <a:pt x="453" y="451"/>
                  <a:pt x="453" y="451"/>
                  <a:pt x="453" y="451"/>
                </a:cubicBezTo>
                <a:cubicBezTo>
                  <a:pt x="453" y="451"/>
                  <a:pt x="453" y="451"/>
                  <a:pt x="453" y="451"/>
                </a:cubicBezTo>
                <a:cubicBezTo>
                  <a:pt x="452" y="452"/>
                  <a:pt x="452" y="452"/>
                  <a:pt x="452" y="452"/>
                </a:cubicBezTo>
                <a:cubicBezTo>
                  <a:pt x="452" y="453"/>
                  <a:pt x="452" y="453"/>
                  <a:pt x="452" y="453"/>
                </a:cubicBezTo>
                <a:cubicBezTo>
                  <a:pt x="451" y="452"/>
                  <a:pt x="451" y="452"/>
                  <a:pt x="451" y="452"/>
                </a:cubicBezTo>
                <a:cubicBezTo>
                  <a:pt x="452" y="452"/>
                  <a:pt x="452" y="452"/>
                  <a:pt x="452" y="452"/>
                </a:cubicBezTo>
                <a:cubicBezTo>
                  <a:pt x="452" y="451"/>
                  <a:pt x="452" y="451"/>
                  <a:pt x="452" y="451"/>
                </a:cubicBezTo>
                <a:cubicBezTo>
                  <a:pt x="452" y="451"/>
                  <a:pt x="452" y="451"/>
                  <a:pt x="452" y="451"/>
                </a:cubicBezTo>
                <a:cubicBezTo>
                  <a:pt x="451" y="451"/>
                  <a:pt x="451" y="451"/>
                  <a:pt x="451" y="451"/>
                </a:cubicBezTo>
                <a:cubicBezTo>
                  <a:pt x="450" y="452"/>
                  <a:pt x="450" y="452"/>
                  <a:pt x="450" y="452"/>
                </a:cubicBezTo>
                <a:cubicBezTo>
                  <a:pt x="450" y="452"/>
                  <a:pt x="450" y="452"/>
                  <a:pt x="450" y="452"/>
                </a:cubicBezTo>
                <a:cubicBezTo>
                  <a:pt x="449" y="451"/>
                  <a:pt x="449" y="451"/>
                  <a:pt x="449" y="451"/>
                </a:cubicBezTo>
                <a:cubicBezTo>
                  <a:pt x="449" y="451"/>
                  <a:pt x="449" y="451"/>
                  <a:pt x="449" y="451"/>
                </a:cubicBezTo>
                <a:cubicBezTo>
                  <a:pt x="448" y="452"/>
                  <a:pt x="448" y="452"/>
                  <a:pt x="448" y="452"/>
                </a:cubicBezTo>
                <a:cubicBezTo>
                  <a:pt x="448" y="452"/>
                  <a:pt x="448" y="452"/>
                  <a:pt x="448" y="452"/>
                </a:cubicBezTo>
                <a:cubicBezTo>
                  <a:pt x="448" y="451"/>
                  <a:pt x="448" y="451"/>
                  <a:pt x="448" y="451"/>
                </a:cubicBezTo>
                <a:cubicBezTo>
                  <a:pt x="449" y="451"/>
                  <a:pt x="449" y="451"/>
                  <a:pt x="449" y="451"/>
                </a:cubicBezTo>
                <a:cubicBezTo>
                  <a:pt x="449" y="450"/>
                  <a:pt x="449" y="450"/>
                  <a:pt x="449" y="450"/>
                </a:cubicBezTo>
                <a:cubicBezTo>
                  <a:pt x="449" y="449"/>
                  <a:pt x="449" y="449"/>
                  <a:pt x="449" y="449"/>
                </a:cubicBezTo>
                <a:cubicBezTo>
                  <a:pt x="449" y="449"/>
                  <a:pt x="449" y="449"/>
                  <a:pt x="449" y="449"/>
                </a:cubicBezTo>
                <a:cubicBezTo>
                  <a:pt x="449" y="449"/>
                  <a:pt x="449" y="449"/>
                  <a:pt x="449" y="449"/>
                </a:cubicBezTo>
                <a:cubicBezTo>
                  <a:pt x="448" y="450"/>
                  <a:pt x="448" y="450"/>
                  <a:pt x="448" y="450"/>
                </a:cubicBezTo>
                <a:cubicBezTo>
                  <a:pt x="448" y="449"/>
                  <a:pt x="448" y="449"/>
                  <a:pt x="448" y="449"/>
                </a:cubicBezTo>
                <a:cubicBezTo>
                  <a:pt x="449" y="448"/>
                  <a:pt x="449" y="448"/>
                  <a:pt x="449" y="448"/>
                </a:cubicBezTo>
                <a:cubicBezTo>
                  <a:pt x="450" y="448"/>
                  <a:pt x="450" y="448"/>
                  <a:pt x="450" y="448"/>
                </a:cubicBezTo>
                <a:cubicBezTo>
                  <a:pt x="451" y="448"/>
                  <a:pt x="451" y="448"/>
                  <a:pt x="451" y="448"/>
                </a:cubicBezTo>
                <a:cubicBezTo>
                  <a:pt x="452" y="447"/>
                  <a:pt x="452" y="447"/>
                  <a:pt x="452" y="447"/>
                </a:cubicBezTo>
                <a:cubicBezTo>
                  <a:pt x="452" y="447"/>
                  <a:pt x="452" y="447"/>
                  <a:pt x="452" y="447"/>
                </a:cubicBezTo>
                <a:cubicBezTo>
                  <a:pt x="452" y="446"/>
                  <a:pt x="452" y="446"/>
                  <a:pt x="452" y="446"/>
                </a:cubicBezTo>
                <a:cubicBezTo>
                  <a:pt x="452" y="446"/>
                  <a:pt x="452" y="446"/>
                  <a:pt x="452" y="446"/>
                </a:cubicBezTo>
                <a:cubicBezTo>
                  <a:pt x="451" y="447"/>
                  <a:pt x="451" y="447"/>
                  <a:pt x="451" y="447"/>
                </a:cubicBezTo>
                <a:cubicBezTo>
                  <a:pt x="450" y="447"/>
                  <a:pt x="450" y="447"/>
                  <a:pt x="450" y="447"/>
                </a:cubicBezTo>
                <a:cubicBezTo>
                  <a:pt x="449" y="446"/>
                  <a:pt x="449" y="446"/>
                  <a:pt x="449" y="446"/>
                </a:cubicBezTo>
                <a:cubicBezTo>
                  <a:pt x="449" y="446"/>
                  <a:pt x="449" y="446"/>
                  <a:pt x="449" y="446"/>
                </a:cubicBezTo>
                <a:cubicBezTo>
                  <a:pt x="448" y="446"/>
                  <a:pt x="448" y="446"/>
                  <a:pt x="448" y="446"/>
                </a:cubicBezTo>
                <a:cubicBezTo>
                  <a:pt x="449" y="445"/>
                  <a:pt x="449" y="445"/>
                  <a:pt x="449" y="445"/>
                </a:cubicBezTo>
                <a:cubicBezTo>
                  <a:pt x="449" y="445"/>
                  <a:pt x="449" y="445"/>
                  <a:pt x="449" y="445"/>
                </a:cubicBezTo>
                <a:cubicBezTo>
                  <a:pt x="449" y="445"/>
                  <a:pt x="449" y="445"/>
                  <a:pt x="449" y="445"/>
                </a:cubicBezTo>
                <a:cubicBezTo>
                  <a:pt x="448" y="445"/>
                  <a:pt x="448" y="445"/>
                  <a:pt x="448" y="445"/>
                </a:cubicBezTo>
                <a:cubicBezTo>
                  <a:pt x="447" y="445"/>
                  <a:pt x="447" y="445"/>
                  <a:pt x="447" y="445"/>
                </a:cubicBezTo>
                <a:cubicBezTo>
                  <a:pt x="447" y="446"/>
                  <a:pt x="447" y="446"/>
                  <a:pt x="447" y="446"/>
                </a:cubicBezTo>
                <a:cubicBezTo>
                  <a:pt x="446" y="447"/>
                  <a:pt x="446" y="447"/>
                  <a:pt x="446" y="447"/>
                </a:cubicBezTo>
                <a:cubicBezTo>
                  <a:pt x="446" y="447"/>
                  <a:pt x="446" y="447"/>
                  <a:pt x="446" y="447"/>
                </a:cubicBezTo>
                <a:cubicBezTo>
                  <a:pt x="445" y="448"/>
                  <a:pt x="445" y="448"/>
                  <a:pt x="445" y="448"/>
                </a:cubicBezTo>
                <a:cubicBezTo>
                  <a:pt x="444" y="449"/>
                  <a:pt x="444" y="449"/>
                  <a:pt x="444" y="449"/>
                </a:cubicBezTo>
                <a:cubicBezTo>
                  <a:pt x="444" y="449"/>
                  <a:pt x="444" y="449"/>
                  <a:pt x="444" y="449"/>
                </a:cubicBezTo>
                <a:cubicBezTo>
                  <a:pt x="444" y="448"/>
                  <a:pt x="444" y="448"/>
                  <a:pt x="444" y="448"/>
                </a:cubicBezTo>
                <a:cubicBezTo>
                  <a:pt x="444" y="448"/>
                  <a:pt x="444" y="448"/>
                  <a:pt x="444" y="448"/>
                </a:cubicBezTo>
                <a:cubicBezTo>
                  <a:pt x="445" y="447"/>
                  <a:pt x="445" y="447"/>
                  <a:pt x="445" y="447"/>
                </a:cubicBezTo>
                <a:cubicBezTo>
                  <a:pt x="445" y="446"/>
                  <a:pt x="445" y="446"/>
                  <a:pt x="445" y="446"/>
                </a:cubicBezTo>
                <a:cubicBezTo>
                  <a:pt x="445" y="445"/>
                  <a:pt x="445" y="445"/>
                  <a:pt x="445" y="445"/>
                </a:cubicBezTo>
                <a:cubicBezTo>
                  <a:pt x="446" y="444"/>
                  <a:pt x="446" y="444"/>
                  <a:pt x="446" y="444"/>
                </a:cubicBezTo>
                <a:cubicBezTo>
                  <a:pt x="446" y="444"/>
                  <a:pt x="446" y="444"/>
                  <a:pt x="446" y="444"/>
                </a:cubicBezTo>
                <a:cubicBezTo>
                  <a:pt x="447" y="443"/>
                  <a:pt x="447" y="443"/>
                  <a:pt x="447" y="443"/>
                </a:cubicBezTo>
                <a:cubicBezTo>
                  <a:pt x="447" y="443"/>
                  <a:pt x="447" y="443"/>
                  <a:pt x="447" y="443"/>
                </a:cubicBezTo>
                <a:cubicBezTo>
                  <a:pt x="447" y="442"/>
                  <a:pt x="447" y="442"/>
                  <a:pt x="447" y="442"/>
                </a:cubicBezTo>
                <a:cubicBezTo>
                  <a:pt x="448" y="441"/>
                  <a:pt x="448" y="441"/>
                  <a:pt x="448" y="441"/>
                </a:cubicBezTo>
                <a:cubicBezTo>
                  <a:pt x="449" y="441"/>
                  <a:pt x="449" y="441"/>
                  <a:pt x="449" y="441"/>
                </a:cubicBezTo>
                <a:cubicBezTo>
                  <a:pt x="449" y="440"/>
                  <a:pt x="449" y="440"/>
                  <a:pt x="449" y="440"/>
                </a:cubicBezTo>
                <a:cubicBezTo>
                  <a:pt x="449" y="440"/>
                  <a:pt x="449" y="440"/>
                  <a:pt x="449" y="440"/>
                </a:cubicBezTo>
                <a:cubicBezTo>
                  <a:pt x="449" y="439"/>
                  <a:pt x="449" y="439"/>
                  <a:pt x="449" y="439"/>
                </a:cubicBezTo>
                <a:cubicBezTo>
                  <a:pt x="450" y="439"/>
                  <a:pt x="450" y="439"/>
                  <a:pt x="450" y="439"/>
                </a:cubicBezTo>
                <a:cubicBezTo>
                  <a:pt x="450" y="438"/>
                  <a:pt x="450" y="438"/>
                  <a:pt x="450" y="438"/>
                </a:cubicBezTo>
                <a:cubicBezTo>
                  <a:pt x="450" y="439"/>
                  <a:pt x="450" y="439"/>
                  <a:pt x="450" y="439"/>
                </a:cubicBezTo>
                <a:cubicBezTo>
                  <a:pt x="450" y="439"/>
                  <a:pt x="450" y="439"/>
                  <a:pt x="450" y="439"/>
                </a:cubicBezTo>
                <a:cubicBezTo>
                  <a:pt x="450" y="440"/>
                  <a:pt x="450" y="440"/>
                  <a:pt x="450" y="440"/>
                </a:cubicBezTo>
                <a:cubicBezTo>
                  <a:pt x="451" y="439"/>
                  <a:pt x="451" y="439"/>
                  <a:pt x="451" y="439"/>
                </a:cubicBezTo>
                <a:cubicBezTo>
                  <a:pt x="452" y="437"/>
                  <a:pt x="452" y="437"/>
                  <a:pt x="452" y="437"/>
                </a:cubicBezTo>
                <a:cubicBezTo>
                  <a:pt x="452" y="437"/>
                  <a:pt x="452" y="437"/>
                  <a:pt x="452" y="437"/>
                </a:cubicBezTo>
                <a:cubicBezTo>
                  <a:pt x="452" y="436"/>
                  <a:pt x="452" y="436"/>
                  <a:pt x="452" y="436"/>
                </a:cubicBezTo>
                <a:cubicBezTo>
                  <a:pt x="452" y="436"/>
                  <a:pt x="452" y="436"/>
                  <a:pt x="452" y="436"/>
                </a:cubicBezTo>
                <a:cubicBezTo>
                  <a:pt x="451" y="437"/>
                  <a:pt x="451" y="437"/>
                  <a:pt x="451" y="437"/>
                </a:cubicBezTo>
                <a:cubicBezTo>
                  <a:pt x="451" y="436"/>
                  <a:pt x="451" y="436"/>
                  <a:pt x="451" y="436"/>
                </a:cubicBezTo>
                <a:cubicBezTo>
                  <a:pt x="450" y="435"/>
                  <a:pt x="450" y="435"/>
                  <a:pt x="450" y="435"/>
                </a:cubicBezTo>
                <a:cubicBezTo>
                  <a:pt x="451" y="435"/>
                  <a:pt x="451" y="435"/>
                  <a:pt x="451" y="435"/>
                </a:cubicBezTo>
                <a:cubicBezTo>
                  <a:pt x="451" y="435"/>
                  <a:pt x="451" y="435"/>
                  <a:pt x="451" y="435"/>
                </a:cubicBezTo>
                <a:cubicBezTo>
                  <a:pt x="452" y="435"/>
                  <a:pt x="452" y="435"/>
                  <a:pt x="452" y="435"/>
                </a:cubicBezTo>
                <a:cubicBezTo>
                  <a:pt x="453" y="435"/>
                  <a:pt x="453" y="435"/>
                  <a:pt x="453" y="435"/>
                </a:cubicBezTo>
                <a:cubicBezTo>
                  <a:pt x="454" y="435"/>
                  <a:pt x="454" y="435"/>
                  <a:pt x="454" y="435"/>
                </a:cubicBezTo>
                <a:cubicBezTo>
                  <a:pt x="454" y="434"/>
                  <a:pt x="454" y="434"/>
                  <a:pt x="454" y="434"/>
                </a:cubicBezTo>
                <a:cubicBezTo>
                  <a:pt x="454" y="433"/>
                  <a:pt x="454" y="433"/>
                  <a:pt x="454" y="433"/>
                </a:cubicBezTo>
                <a:cubicBezTo>
                  <a:pt x="453" y="433"/>
                  <a:pt x="453" y="433"/>
                  <a:pt x="453" y="433"/>
                </a:cubicBezTo>
                <a:cubicBezTo>
                  <a:pt x="453" y="433"/>
                  <a:pt x="453" y="433"/>
                  <a:pt x="453" y="433"/>
                </a:cubicBezTo>
                <a:cubicBezTo>
                  <a:pt x="453" y="434"/>
                  <a:pt x="453" y="434"/>
                  <a:pt x="453" y="434"/>
                </a:cubicBezTo>
                <a:cubicBezTo>
                  <a:pt x="452" y="434"/>
                  <a:pt x="452" y="434"/>
                  <a:pt x="452" y="434"/>
                </a:cubicBezTo>
                <a:cubicBezTo>
                  <a:pt x="452" y="433"/>
                  <a:pt x="452" y="433"/>
                  <a:pt x="452" y="433"/>
                </a:cubicBezTo>
                <a:cubicBezTo>
                  <a:pt x="452" y="433"/>
                  <a:pt x="452" y="433"/>
                  <a:pt x="452" y="433"/>
                </a:cubicBezTo>
                <a:cubicBezTo>
                  <a:pt x="452" y="433"/>
                  <a:pt x="452" y="433"/>
                  <a:pt x="452" y="433"/>
                </a:cubicBezTo>
                <a:cubicBezTo>
                  <a:pt x="451" y="434"/>
                  <a:pt x="451" y="434"/>
                  <a:pt x="451" y="434"/>
                </a:cubicBezTo>
                <a:cubicBezTo>
                  <a:pt x="450" y="434"/>
                  <a:pt x="450" y="434"/>
                  <a:pt x="450" y="434"/>
                </a:cubicBezTo>
                <a:cubicBezTo>
                  <a:pt x="450" y="434"/>
                  <a:pt x="450" y="434"/>
                  <a:pt x="450" y="434"/>
                </a:cubicBezTo>
                <a:cubicBezTo>
                  <a:pt x="449" y="435"/>
                  <a:pt x="449" y="435"/>
                  <a:pt x="449" y="435"/>
                </a:cubicBezTo>
                <a:cubicBezTo>
                  <a:pt x="448" y="435"/>
                  <a:pt x="448" y="435"/>
                  <a:pt x="448" y="435"/>
                </a:cubicBezTo>
                <a:cubicBezTo>
                  <a:pt x="447" y="435"/>
                  <a:pt x="447" y="435"/>
                  <a:pt x="447" y="435"/>
                </a:cubicBezTo>
                <a:cubicBezTo>
                  <a:pt x="446" y="436"/>
                  <a:pt x="446" y="436"/>
                  <a:pt x="446" y="436"/>
                </a:cubicBezTo>
                <a:cubicBezTo>
                  <a:pt x="446" y="437"/>
                  <a:pt x="446" y="437"/>
                  <a:pt x="446" y="437"/>
                </a:cubicBezTo>
                <a:cubicBezTo>
                  <a:pt x="445" y="437"/>
                  <a:pt x="445" y="437"/>
                  <a:pt x="445" y="437"/>
                </a:cubicBezTo>
                <a:cubicBezTo>
                  <a:pt x="445" y="437"/>
                  <a:pt x="445" y="437"/>
                  <a:pt x="445" y="437"/>
                </a:cubicBezTo>
                <a:cubicBezTo>
                  <a:pt x="445" y="437"/>
                  <a:pt x="445" y="437"/>
                  <a:pt x="445" y="437"/>
                </a:cubicBezTo>
                <a:cubicBezTo>
                  <a:pt x="445" y="438"/>
                  <a:pt x="445" y="438"/>
                  <a:pt x="445" y="438"/>
                </a:cubicBezTo>
                <a:cubicBezTo>
                  <a:pt x="445" y="438"/>
                  <a:pt x="445" y="438"/>
                  <a:pt x="445" y="438"/>
                </a:cubicBezTo>
                <a:close/>
                <a:moveTo>
                  <a:pt x="405" y="450"/>
                </a:moveTo>
                <a:cubicBezTo>
                  <a:pt x="405" y="450"/>
                  <a:pt x="405" y="450"/>
                  <a:pt x="405" y="450"/>
                </a:cubicBezTo>
                <a:cubicBezTo>
                  <a:pt x="408" y="452"/>
                  <a:pt x="408" y="452"/>
                  <a:pt x="408" y="452"/>
                </a:cubicBezTo>
                <a:cubicBezTo>
                  <a:pt x="409" y="452"/>
                  <a:pt x="409" y="452"/>
                  <a:pt x="409" y="452"/>
                </a:cubicBezTo>
                <a:cubicBezTo>
                  <a:pt x="411" y="452"/>
                  <a:pt x="411" y="452"/>
                  <a:pt x="411" y="452"/>
                </a:cubicBezTo>
                <a:cubicBezTo>
                  <a:pt x="412" y="453"/>
                  <a:pt x="412" y="453"/>
                  <a:pt x="412" y="453"/>
                </a:cubicBezTo>
                <a:cubicBezTo>
                  <a:pt x="412" y="453"/>
                  <a:pt x="412" y="453"/>
                  <a:pt x="412" y="453"/>
                </a:cubicBezTo>
                <a:cubicBezTo>
                  <a:pt x="414" y="453"/>
                  <a:pt x="414" y="453"/>
                  <a:pt x="414" y="453"/>
                </a:cubicBezTo>
                <a:cubicBezTo>
                  <a:pt x="415" y="453"/>
                  <a:pt x="415" y="453"/>
                  <a:pt x="415" y="453"/>
                </a:cubicBezTo>
                <a:cubicBezTo>
                  <a:pt x="415" y="452"/>
                  <a:pt x="415" y="452"/>
                  <a:pt x="415" y="452"/>
                </a:cubicBezTo>
                <a:cubicBezTo>
                  <a:pt x="414" y="451"/>
                  <a:pt x="414" y="451"/>
                  <a:pt x="414" y="451"/>
                </a:cubicBezTo>
                <a:cubicBezTo>
                  <a:pt x="414" y="451"/>
                  <a:pt x="414" y="451"/>
                  <a:pt x="414" y="451"/>
                </a:cubicBezTo>
                <a:cubicBezTo>
                  <a:pt x="414" y="450"/>
                  <a:pt x="414" y="450"/>
                  <a:pt x="414" y="450"/>
                </a:cubicBezTo>
                <a:cubicBezTo>
                  <a:pt x="413" y="450"/>
                  <a:pt x="413" y="450"/>
                  <a:pt x="413" y="450"/>
                </a:cubicBezTo>
                <a:cubicBezTo>
                  <a:pt x="412" y="449"/>
                  <a:pt x="412" y="449"/>
                  <a:pt x="412" y="449"/>
                </a:cubicBezTo>
                <a:cubicBezTo>
                  <a:pt x="410" y="448"/>
                  <a:pt x="410" y="448"/>
                  <a:pt x="410" y="448"/>
                </a:cubicBezTo>
                <a:cubicBezTo>
                  <a:pt x="410" y="448"/>
                  <a:pt x="410" y="448"/>
                  <a:pt x="410" y="448"/>
                </a:cubicBezTo>
                <a:cubicBezTo>
                  <a:pt x="409" y="446"/>
                  <a:pt x="409" y="446"/>
                  <a:pt x="409" y="446"/>
                </a:cubicBezTo>
                <a:cubicBezTo>
                  <a:pt x="407" y="446"/>
                  <a:pt x="407" y="446"/>
                  <a:pt x="407" y="446"/>
                </a:cubicBezTo>
                <a:cubicBezTo>
                  <a:pt x="405" y="446"/>
                  <a:pt x="405" y="446"/>
                  <a:pt x="405" y="446"/>
                </a:cubicBezTo>
                <a:cubicBezTo>
                  <a:pt x="402" y="445"/>
                  <a:pt x="402" y="445"/>
                  <a:pt x="402" y="445"/>
                </a:cubicBezTo>
                <a:cubicBezTo>
                  <a:pt x="401" y="444"/>
                  <a:pt x="401" y="444"/>
                  <a:pt x="401" y="444"/>
                </a:cubicBezTo>
                <a:cubicBezTo>
                  <a:pt x="400" y="445"/>
                  <a:pt x="400" y="445"/>
                  <a:pt x="400" y="445"/>
                </a:cubicBezTo>
                <a:cubicBezTo>
                  <a:pt x="401" y="446"/>
                  <a:pt x="401" y="446"/>
                  <a:pt x="401" y="446"/>
                </a:cubicBezTo>
                <a:cubicBezTo>
                  <a:pt x="402" y="447"/>
                  <a:pt x="402" y="447"/>
                  <a:pt x="402" y="447"/>
                </a:cubicBezTo>
                <a:cubicBezTo>
                  <a:pt x="404" y="448"/>
                  <a:pt x="404" y="448"/>
                  <a:pt x="404" y="448"/>
                </a:cubicBezTo>
                <a:cubicBezTo>
                  <a:pt x="404" y="449"/>
                  <a:pt x="404" y="449"/>
                  <a:pt x="404" y="449"/>
                </a:cubicBezTo>
                <a:cubicBezTo>
                  <a:pt x="405" y="450"/>
                  <a:pt x="405" y="450"/>
                  <a:pt x="405" y="450"/>
                </a:cubicBezTo>
                <a:close/>
                <a:moveTo>
                  <a:pt x="405" y="479"/>
                </a:moveTo>
                <a:cubicBezTo>
                  <a:pt x="404" y="478"/>
                  <a:pt x="404" y="478"/>
                  <a:pt x="404" y="478"/>
                </a:cubicBezTo>
                <a:cubicBezTo>
                  <a:pt x="403" y="477"/>
                  <a:pt x="403" y="477"/>
                  <a:pt x="403" y="477"/>
                </a:cubicBezTo>
                <a:cubicBezTo>
                  <a:pt x="400" y="476"/>
                  <a:pt x="400" y="476"/>
                  <a:pt x="400" y="476"/>
                </a:cubicBezTo>
                <a:cubicBezTo>
                  <a:pt x="400" y="476"/>
                  <a:pt x="400" y="476"/>
                  <a:pt x="400" y="476"/>
                </a:cubicBezTo>
                <a:cubicBezTo>
                  <a:pt x="399" y="475"/>
                  <a:pt x="399" y="475"/>
                  <a:pt x="399" y="475"/>
                </a:cubicBezTo>
                <a:cubicBezTo>
                  <a:pt x="399" y="474"/>
                  <a:pt x="399" y="474"/>
                  <a:pt x="399" y="474"/>
                </a:cubicBezTo>
                <a:cubicBezTo>
                  <a:pt x="398" y="474"/>
                  <a:pt x="398" y="474"/>
                  <a:pt x="398" y="474"/>
                </a:cubicBezTo>
                <a:cubicBezTo>
                  <a:pt x="398" y="474"/>
                  <a:pt x="398" y="474"/>
                  <a:pt x="398" y="474"/>
                </a:cubicBezTo>
                <a:cubicBezTo>
                  <a:pt x="397" y="473"/>
                  <a:pt x="397" y="473"/>
                  <a:pt x="397" y="473"/>
                </a:cubicBezTo>
                <a:cubicBezTo>
                  <a:pt x="397" y="472"/>
                  <a:pt x="397" y="472"/>
                  <a:pt x="397" y="472"/>
                </a:cubicBezTo>
                <a:cubicBezTo>
                  <a:pt x="397" y="472"/>
                  <a:pt x="397" y="472"/>
                  <a:pt x="397" y="472"/>
                </a:cubicBezTo>
                <a:cubicBezTo>
                  <a:pt x="396" y="472"/>
                  <a:pt x="396" y="472"/>
                  <a:pt x="396" y="472"/>
                </a:cubicBezTo>
                <a:cubicBezTo>
                  <a:pt x="396" y="472"/>
                  <a:pt x="396" y="472"/>
                  <a:pt x="396" y="472"/>
                </a:cubicBezTo>
                <a:cubicBezTo>
                  <a:pt x="396" y="471"/>
                  <a:pt x="396" y="471"/>
                  <a:pt x="396" y="471"/>
                </a:cubicBezTo>
                <a:cubicBezTo>
                  <a:pt x="398" y="469"/>
                  <a:pt x="398" y="469"/>
                  <a:pt x="398" y="469"/>
                </a:cubicBezTo>
                <a:cubicBezTo>
                  <a:pt x="399" y="470"/>
                  <a:pt x="399" y="470"/>
                  <a:pt x="399" y="470"/>
                </a:cubicBezTo>
                <a:cubicBezTo>
                  <a:pt x="398" y="471"/>
                  <a:pt x="398" y="471"/>
                  <a:pt x="398" y="471"/>
                </a:cubicBezTo>
                <a:cubicBezTo>
                  <a:pt x="398" y="471"/>
                  <a:pt x="398" y="471"/>
                  <a:pt x="398" y="471"/>
                </a:cubicBezTo>
                <a:cubicBezTo>
                  <a:pt x="398" y="472"/>
                  <a:pt x="398" y="472"/>
                  <a:pt x="398" y="472"/>
                </a:cubicBezTo>
                <a:cubicBezTo>
                  <a:pt x="398" y="473"/>
                  <a:pt x="398" y="473"/>
                  <a:pt x="398" y="473"/>
                </a:cubicBezTo>
                <a:cubicBezTo>
                  <a:pt x="399" y="474"/>
                  <a:pt x="399" y="474"/>
                  <a:pt x="399" y="474"/>
                </a:cubicBezTo>
                <a:cubicBezTo>
                  <a:pt x="400" y="473"/>
                  <a:pt x="400" y="473"/>
                  <a:pt x="400" y="473"/>
                </a:cubicBezTo>
                <a:cubicBezTo>
                  <a:pt x="400" y="473"/>
                  <a:pt x="400" y="473"/>
                  <a:pt x="400" y="473"/>
                </a:cubicBezTo>
                <a:cubicBezTo>
                  <a:pt x="402" y="474"/>
                  <a:pt x="402" y="474"/>
                  <a:pt x="402" y="474"/>
                </a:cubicBezTo>
                <a:cubicBezTo>
                  <a:pt x="403" y="474"/>
                  <a:pt x="403" y="474"/>
                  <a:pt x="403" y="474"/>
                </a:cubicBezTo>
                <a:cubicBezTo>
                  <a:pt x="403" y="475"/>
                  <a:pt x="403" y="475"/>
                  <a:pt x="403" y="475"/>
                </a:cubicBezTo>
                <a:cubicBezTo>
                  <a:pt x="405" y="475"/>
                  <a:pt x="405" y="475"/>
                  <a:pt x="405" y="475"/>
                </a:cubicBezTo>
                <a:cubicBezTo>
                  <a:pt x="406" y="474"/>
                  <a:pt x="406" y="474"/>
                  <a:pt x="406" y="474"/>
                </a:cubicBezTo>
                <a:cubicBezTo>
                  <a:pt x="407" y="474"/>
                  <a:pt x="407" y="474"/>
                  <a:pt x="407" y="474"/>
                </a:cubicBezTo>
                <a:cubicBezTo>
                  <a:pt x="408" y="474"/>
                  <a:pt x="408" y="474"/>
                  <a:pt x="408" y="474"/>
                </a:cubicBezTo>
                <a:cubicBezTo>
                  <a:pt x="408" y="475"/>
                  <a:pt x="408" y="475"/>
                  <a:pt x="408" y="475"/>
                </a:cubicBezTo>
                <a:cubicBezTo>
                  <a:pt x="407" y="475"/>
                  <a:pt x="407" y="475"/>
                  <a:pt x="407" y="475"/>
                </a:cubicBezTo>
                <a:cubicBezTo>
                  <a:pt x="406" y="476"/>
                  <a:pt x="406" y="476"/>
                  <a:pt x="406" y="476"/>
                </a:cubicBezTo>
                <a:cubicBezTo>
                  <a:pt x="406" y="477"/>
                  <a:pt x="406" y="477"/>
                  <a:pt x="406" y="477"/>
                </a:cubicBezTo>
                <a:cubicBezTo>
                  <a:pt x="406" y="478"/>
                  <a:pt x="406" y="478"/>
                  <a:pt x="406" y="478"/>
                </a:cubicBezTo>
                <a:cubicBezTo>
                  <a:pt x="405" y="479"/>
                  <a:pt x="405" y="479"/>
                  <a:pt x="405" y="479"/>
                </a:cubicBezTo>
                <a:close/>
                <a:moveTo>
                  <a:pt x="414" y="483"/>
                </a:moveTo>
                <a:cubicBezTo>
                  <a:pt x="414" y="482"/>
                  <a:pt x="414" y="482"/>
                  <a:pt x="414" y="482"/>
                </a:cubicBezTo>
                <a:cubicBezTo>
                  <a:pt x="412" y="481"/>
                  <a:pt x="412" y="481"/>
                  <a:pt x="412" y="481"/>
                </a:cubicBezTo>
                <a:cubicBezTo>
                  <a:pt x="412" y="479"/>
                  <a:pt x="412" y="479"/>
                  <a:pt x="412" y="479"/>
                </a:cubicBezTo>
                <a:cubicBezTo>
                  <a:pt x="411" y="478"/>
                  <a:pt x="411" y="478"/>
                  <a:pt x="411" y="478"/>
                </a:cubicBezTo>
                <a:cubicBezTo>
                  <a:pt x="412" y="478"/>
                  <a:pt x="412" y="478"/>
                  <a:pt x="412" y="478"/>
                </a:cubicBezTo>
                <a:cubicBezTo>
                  <a:pt x="413" y="477"/>
                  <a:pt x="413" y="477"/>
                  <a:pt x="413" y="477"/>
                </a:cubicBezTo>
                <a:cubicBezTo>
                  <a:pt x="415" y="475"/>
                  <a:pt x="415" y="475"/>
                  <a:pt x="415" y="475"/>
                </a:cubicBezTo>
                <a:cubicBezTo>
                  <a:pt x="415" y="474"/>
                  <a:pt x="415" y="474"/>
                  <a:pt x="415" y="474"/>
                </a:cubicBezTo>
                <a:cubicBezTo>
                  <a:pt x="416" y="473"/>
                  <a:pt x="416" y="473"/>
                  <a:pt x="416" y="473"/>
                </a:cubicBezTo>
                <a:cubicBezTo>
                  <a:pt x="417" y="471"/>
                  <a:pt x="417" y="471"/>
                  <a:pt x="417" y="471"/>
                </a:cubicBezTo>
                <a:cubicBezTo>
                  <a:pt x="418" y="470"/>
                  <a:pt x="418" y="470"/>
                  <a:pt x="418" y="470"/>
                </a:cubicBezTo>
                <a:cubicBezTo>
                  <a:pt x="419" y="470"/>
                  <a:pt x="419" y="470"/>
                  <a:pt x="419" y="470"/>
                </a:cubicBezTo>
                <a:cubicBezTo>
                  <a:pt x="419" y="471"/>
                  <a:pt x="419" y="471"/>
                  <a:pt x="419" y="471"/>
                </a:cubicBezTo>
                <a:cubicBezTo>
                  <a:pt x="418" y="472"/>
                  <a:pt x="418" y="472"/>
                  <a:pt x="418" y="472"/>
                </a:cubicBezTo>
                <a:cubicBezTo>
                  <a:pt x="419" y="472"/>
                  <a:pt x="419" y="472"/>
                  <a:pt x="419" y="472"/>
                </a:cubicBezTo>
                <a:cubicBezTo>
                  <a:pt x="419" y="473"/>
                  <a:pt x="419" y="473"/>
                  <a:pt x="419" y="473"/>
                </a:cubicBezTo>
                <a:cubicBezTo>
                  <a:pt x="418" y="475"/>
                  <a:pt x="418" y="475"/>
                  <a:pt x="418" y="475"/>
                </a:cubicBezTo>
                <a:cubicBezTo>
                  <a:pt x="417" y="476"/>
                  <a:pt x="417" y="476"/>
                  <a:pt x="417" y="476"/>
                </a:cubicBezTo>
                <a:cubicBezTo>
                  <a:pt x="419" y="476"/>
                  <a:pt x="419" y="476"/>
                  <a:pt x="419" y="476"/>
                </a:cubicBezTo>
                <a:cubicBezTo>
                  <a:pt x="419" y="477"/>
                  <a:pt x="419" y="477"/>
                  <a:pt x="419" y="477"/>
                </a:cubicBezTo>
                <a:cubicBezTo>
                  <a:pt x="419" y="478"/>
                  <a:pt x="419" y="478"/>
                  <a:pt x="419" y="478"/>
                </a:cubicBezTo>
                <a:cubicBezTo>
                  <a:pt x="419" y="478"/>
                  <a:pt x="419" y="478"/>
                  <a:pt x="419" y="478"/>
                </a:cubicBezTo>
                <a:cubicBezTo>
                  <a:pt x="420" y="478"/>
                  <a:pt x="420" y="478"/>
                  <a:pt x="420" y="478"/>
                </a:cubicBezTo>
                <a:cubicBezTo>
                  <a:pt x="420" y="477"/>
                  <a:pt x="420" y="477"/>
                  <a:pt x="420" y="477"/>
                </a:cubicBezTo>
                <a:cubicBezTo>
                  <a:pt x="420" y="477"/>
                  <a:pt x="420" y="477"/>
                  <a:pt x="420" y="477"/>
                </a:cubicBezTo>
                <a:cubicBezTo>
                  <a:pt x="422" y="477"/>
                  <a:pt x="422" y="477"/>
                  <a:pt x="422" y="477"/>
                </a:cubicBezTo>
                <a:cubicBezTo>
                  <a:pt x="422" y="479"/>
                  <a:pt x="422" y="479"/>
                  <a:pt x="422" y="479"/>
                </a:cubicBezTo>
                <a:cubicBezTo>
                  <a:pt x="422" y="479"/>
                  <a:pt x="422" y="479"/>
                  <a:pt x="422" y="479"/>
                </a:cubicBezTo>
                <a:cubicBezTo>
                  <a:pt x="421" y="480"/>
                  <a:pt x="421" y="480"/>
                  <a:pt x="421" y="480"/>
                </a:cubicBezTo>
                <a:cubicBezTo>
                  <a:pt x="420" y="480"/>
                  <a:pt x="420" y="480"/>
                  <a:pt x="420" y="480"/>
                </a:cubicBezTo>
                <a:cubicBezTo>
                  <a:pt x="419" y="480"/>
                  <a:pt x="419" y="480"/>
                  <a:pt x="419" y="480"/>
                </a:cubicBezTo>
                <a:cubicBezTo>
                  <a:pt x="417" y="482"/>
                  <a:pt x="417" y="482"/>
                  <a:pt x="417" y="482"/>
                </a:cubicBezTo>
                <a:cubicBezTo>
                  <a:pt x="416" y="482"/>
                  <a:pt x="416" y="482"/>
                  <a:pt x="416" y="482"/>
                </a:cubicBezTo>
                <a:cubicBezTo>
                  <a:pt x="415" y="481"/>
                  <a:pt x="415" y="481"/>
                  <a:pt x="415" y="481"/>
                </a:cubicBezTo>
                <a:cubicBezTo>
                  <a:pt x="415" y="481"/>
                  <a:pt x="415" y="481"/>
                  <a:pt x="415" y="481"/>
                </a:cubicBezTo>
                <a:cubicBezTo>
                  <a:pt x="414" y="482"/>
                  <a:pt x="414" y="482"/>
                  <a:pt x="414" y="482"/>
                </a:cubicBezTo>
                <a:cubicBezTo>
                  <a:pt x="414" y="483"/>
                  <a:pt x="414" y="483"/>
                  <a:pt x="414" y="483"/>
                </a:cubicBezTo>
                <a:close/>
                <a:moveTo>
                  <a:pt x="317" y="407"/>
                </a:moveTo>
                <a:cubicBezTo>
                  <a:pt x="317" y="408"/>
                  <a:pt x="317" y="408"/>
                  <a:pt x="317" y="408"/>
                </a:cubicBezTo>
                <a:cubicBezTo>
                  <a:pt x="317" y="409"/>
                  <a:pt x="317" y="409"/>
                  <a:pt x="317" y="409"/>
                </a:cubicBezTo>
                <a:cubicBezTo>
                  <a:pt x="318" y="408"/>
                  <a:pt x="318" y="408"/>
                  <a:pt x="318" y="408"/>
                </a:cubicBezTo>
                <a:cubicBezTo>
                  <a:pt x="318" y="407"/>
                  <a:pt x="318" y="407"/>
                  <a:pt x="318" y="407"/>
                </a:cubicBezTo>
                <a:cubicBezTo>
                  <a:pt x="317" y="407"/>
                  <a:pt x="317" y="407"/>
                  <a:pt x="317" y="407"/>
                </a:cubicBezTo>
                <a:cubicBezTo>
                  <a:pt x="317" y="407"/>
                  <a:pt x="317" y="407"/>
                  <a:pt x="317" y="407"/>
                </a:cubicBezTo>
                <a:close/>
                <a:moveTo>
                  <a:pt x="317" y="421"/>
                </a:moveTo>
                <a:cubicBezTo>
                  <a:pt x="317" y="420"/>
                  <a:pt x="317" y="420"/>
                  <a:pt x="317" y="420"/>
                </a:cubicBezTo>
                <a:cubicBezTo>
                  <a:pt x="318" y="420"/>
                  <a:pt x="318" y="420"/>
                  <a:pt x="318" y="420"/>
                </a:cubicBezTo>
                <a:cubicBezTo>
                  <a:pt x="318" y="419"/>
                  <a:pt x="318" y="419"/>
                  <a:pt x="318" y="419"/>
                </a:cubicBezTo>
                <a:cubicBezTo>
                  <a:pt x="319" y="420"/>
                  <a:pt x="319" y="420"/>
                  <a:pt x="319" y="420"/>
                </a:cubicBezTo>
                <a:cubicBezTo>
                  <a:pt x="317" y="421"/>
                  <a:pt x="317" y="421"/>
                  <a:pt x="317" y="421"/>
                </a:cubicBezTo>
                <a:cubicBezTo>
                  <a:pt x="317" y="421"/>
                  <a:pt x="317" y="421"/>
                  <a:pt x="317" y="421"/>
                </a:cubicBezTo>
                <a:close/>
                <a:moveTo>
                  <a:pt x="305" y="411"/>
                </a:moveTo>
                <a:cubicBezTo>
                  <a:pt x="306" y="410"/>
                  <a:pt x="306" y="410"/>
                  <a:pt x="306" y="410"/>
                </a:cubicBezTo>
                <a:cubicBezTo>
                  <a:pt x="307" y="410"/>
                  <a:pt x="307" y="410"/>
                  <a:pt x="307" y="410"/>
                </a:cubicBezTo>
                <a:cubicBezTo>
                  <a:pt x="307" y="409"/>
                  <a:pt x="307" y="409"/>
                  <a:pt x="307" y="409"/>
                </a:cubicBezTo>
                <a:cubicBezTo>
                  <a:pt x="308" y="408"/>
                  <a:pt x="308" y="408"/>
                  <a:pt x="308" y="408"/>
                </a:cubicBezTo>
                <a:cubicBezTo>
                  <a:pt x="309" y="408"/>
                  <a:pt x="309" y="408"/>
                  <a:pt x="309" y="408"/>
                </a:cubicBezTo>
                <a:cubicBezTo>
                  <a:pt x="309" y="409"/>
                  <a:pt x="309" y="409"/>
                  <a:pt x="309" y="409"/>
                </a:cubicBezTo>
                <a:cubicBezTo>
                  <a:pt x="311" y="409"/>
                  <a:pt x="311" y="409"/>
                  <a:pt x="311" y="409"/>
                </a:cubicBezTo>
                <a:cubicBezTo>
                  <a:pt x="312" y="410"/>
                  <a:pt x="312" y="410"/>
                  <a:pt x="312" y="410"/>
                </a:cubicBezTo>
                <a:cubicBezTo>
                  <a:pt x="312" y="411"/>
                  <a:pt x="312" y="411"/>
                  <a:pt x="312" y="411"/>
                </a:cubicBezTo>
                <a:cubicBezTo>
                  <a:pt x="313" y="412"/>
                  <a:pt x="313" y="412"/>
                  <a:pt x="313" y="412"/>
                </a:cubicBezTo>
                <a:cubicBezTo>
                  <a:pt x="312" y="413"/>
                  <a:pt x="312" y="413"/>
                  <a:pt x="312" y="413"/>
                </a:cubicBezTo>
                <a:cubicBezTo>
                  <a:pt x="309" y="412"/>
                  <a:pt x="309" y="412"/>
                  <a:pt x="309" y="412"/>
                </a:cubicBezTo>
                <a:cubicBezTo>
                  <a:pt x="308" y="412"/>
                  <a:pt x="308" y="412"/>
                  <a:pt x="308" y="412"/>
                </a:cubicBezTo>
                <a:cubicBezTo>
                  <a:pt x="307" y="411"/>
                  <a:pt x="307" y="411"/>
                  <a:pt x="307" y="411"/>
                </a:cubicBezTo>
                <a:cubicBezTo>
                  <a:pt x="307" y="412"/>
                  <a:pt x="307" y="412"/>
                  <a:pt x="307" y="412"/>
                </a:cubicBezTo>
                <a:cubicBezTo>
                  <a:pt x="307" y="413"/>
                  <a:pt x="307" y="413"/>
                  <a:pt x="307" y="413"/>
                </a:cubicBezTo>
                <a:cubicBezTo>
                  <a:pt x="307" y="412"/>
                  <a:pt x="307" y="412"/>
                  <a:pt x="307" y="412"/>
                </a:cubicBezTo>
                <a:cubicBezTo>
                  <a:pt x="306" y="411"/>
                  <a:pt x="306" y="411"/>
                  <a:pt x="306" y="411"/>
                </a:cubicBezTo>
                <a:cubicBezTo>
                  <a:pt x="305" y="412"/>
                  <a:pt x="305" y="412"/>
                  <a:pt x="305" y="412"/>
                </a:cubicBezTo>
                <a:cubicBezTo>
                  <a:pt x="305" y="411"/>
                  <a:pt x="305" y="411"/>
                  <a:pt x="305" y="411"/>
                </a:cubicBezTo>
                <a:close/>
                <a:moveTo>
                  <a:pt x="48" y="416"/>
                </a:moveTo>
                <a:cubicBezTo>
                  <a:pt x="49" y="417"/>
                  <a:pt x="49" y="417"/>
                  <a:pt x="49" y="417"/>
                </a:cubicBezTo>
                <a:cubicBezTo>
                  <a:pt x="51" y="419"/>
                  <a:pt x="51" y="419"/>
                  <a:pt x="51" y="419"/>
                </a:cubicBezTo>
                <a:cubicBezTo>
                  <a:pt x="50" y="419"/>
                  <a:pt x="50" y="419"/>
                  <a:pt x="50" y="419"/>
                </a:cubicBezTo>
                <a:cubicBezTo>
                  <a:pt x="48" y="418"/>
                  <a:pt x="48" y="418"/>
                  <a:pt x="48" y="418"/>
                </a:cubicBezTo>
                <a:cubicBezTo>
                  <a:pt x="48" y="416"/>
                  <a:pt x="48" y="416"/>
                  <a:pt x="48" y="416"/>
                </a:cubicBezTo>
                <a:close/>
                <a:moveTo>
                  <a:pt x="46" y="413"/>
                </a:moveTo>
                <a:cubicBezTo>
                  <a:pt x="45" y="411"/>
                  <a:pt x="45" y="411"/>
                  <a:pt x="45" y="411"/>
                </a:cubicBezTo>
                <a:cubicBezTo>
                  <a:pt x="46" y="411"/>
                  <a:pt x="46" y="411"/>
                  <a:pt x="46" y="411"/>
                </a:cubicBezTo>
                <a:cubicBezTo>
                  <a:pt x="46" y="413"/>
                  <a:pt x="46" y="413"/>
                  <a:pt x="46" y="413"/>
                </a:cubicBezTo>
                <a:close/>
                <a:moveTo>
                  <a:pt x="39" y="407"/>
                </a:moveTo>
                <a:cubicBezTo>
                  <a:pt x="41" y="408"/>
                  <a:pt x="41" y="408"/>
                  <a:pt x="41" y="408"/>
                </a:cubicBezTo>
                <a:cubicBezTo>
                  <a:pt x="41" y="407"/>
                  <a:pt x="41" y="407"/>
                  <a:pt x="41" y="407"/>
                </a:cubicBezTo>
                <a:cubicBezTo>
                  <a:pt x="39" y="407"/>
                  <a:pt x="39" y="407"/>
                  <a:pt x="39" y="407"/>
                </a:cubicBezTo>
                <a:close/>
                <a:moveTo>
                  <a:pt x="28" y="403"/>
                </a:moveTo>
                <a:cubicBezTo>
                  <a:pt x="29" y="404"/>
                  <a:pt x="29" y="404"/>
                  <a:pt x="29" y="404"/>
                </a:cubicBezTo>
                <a:cubicBezTo>
                  <a:pt x="29" y="405"/>
                  <a:pt x="29" y="405"/>
                  <a:pt x="29" y="405"/>
                </a:cubicBezTo>
                <a:cubicBezTo>
                  <a:pt x="30" y="406"/>
                  <a:pt x="30" y="406"/>
                  <a:pt x="30" y="406"/>
                </a:cubicBezTo>
                <a:cubicBezTo>
                  <a:pt x="33" y="406"/>
                  <a:pt x="33" y="406"/>
                  <a:pt x="33" y="406"/>
                </a:cubicBezTo>
                <a:cubicBezTo>
                  <a:pt x="32" y="407"/>
                  <a:pt x="32" y="407"/>
                  <a:pt x="32" y="407"/>
                </a:cubicBezTo>
                <a:cubicBezTo>
                  <a:pt x="30" y="407"/>
                  <a:pt x="30" y="407"/>
                  <a:pt x="30" y="407"/>
                </a:cubicBezTo>
                <a:cubicBezTo>
                  <a:pt x="29" y="408"/>
                  <a:pt x="29" y="408"/>
                  <a:pt x="29" y="408"/>
                </a:cubicBezTo>
                <a:cubicBezTo>
                  <a:pt x="30" y="409"/>
                  <a:pt x="30" y="409"/>
                  <a:pt x="30" y="409"/>
                </a:cubicBezTo>
                <a:cubicBezTo>
                  <a:pt x="29" y="410"/>
                  <a:pt x="29" y="410"/>
                  <a:pt x="29" y="410"/>
                </a:cubicBezTo>
                <a:cubicBezTo>
                  <a:pt x="30" y="411"/>
                  <a:pt x="30" y="411"/>
                  <a:pt x="30" y="411"/>
                </a:cubicBezTo>
                <a:cubicBezTo>
                  <a:pt x="31" y="410"/>
                  <a:pt x="31" y="410"/>
                  <a:pt x="31" y="410"/>
                </a:cubicBezTo>
                <a:cubicBezTo>
                  <a:pt x="31" y="411"/>
                  <a:pt x="31" y="411"/>
                  <a:pt x="31" y="411"/>
                </a:cubicBezTo>
                <a:cubicBezTo>
                  <a:pt x="33" y="411"/>
                  <a:pt x="33" y="411"/>
                  <a:pt x="33" y="411"/>
                </a:cubicBezTo>
                <a:cubicBezTo>
                  <a:pt x="33" y="413"/>
                  <a:pt x="33" y="413"/>
                  <a:pt x="33" y="413"/>
                </a:cubicBezTo>
                <a:cubicBezTo>
                  <a:pt x="34" y="413"/>
                  <a:pt x="34" y="413"/>
                  <a:pt x="34" y="413"/>
                </a:cubicBezTo>
                <a:cubicBezTo>
                  <a:pt x="35" y="413"/>
                  <a:pt x="35" y="413"/>
                  <a:pt x="35" y="413"/>
                </a:cubicBezTo>
                <a:cubicBezTo>
                  <a:pt x="34" y="415"/>
                  <a:pt x="34" y="415"/>
                  <a:pt x="34" y="415"/>
                </a:cubicBezTo>
                <a:cubicBezTo>
                  <a:pt x="34" y="416"/>
                  <a:pt x="34" y="416"/>
                  <a:pt x="34" y="416"/>
                </a:cubicBezTo>
                <a:cubicBezTo>
                  <a:pt x="35" y="416"/>
                  <a:pt x="35" y="416"/>
                  <a:pt x="35" y="416"/>
                </a:cubicBezTo>
                <a:cubicBezTo>
                  <a:pt x="35" y="415"/>
                  <a:pt x="35" y="415"/>
                  <a:pt x="35" y="415"/>
                </a:cubicBezTo>
                <a:cubicBezTo>
                  <a:pt x="37" y="414"/>
                  <a:pt x="37" y="414"/>
                  <a:pt x="37" y="414"/>
                </a:cubicBezTo>
                <a:cubicBezTo>
                  <a:pt x="37" y="416"/>
                  <a:pt x="37" y="416"/>
                  <a:pt x="37" y="416"/>
                </a:cubicBezTo>
                <a:cubicBezTo>
                  <a:pt x="36" y="417"/>
                  <a:pt x="36" y="417"/>
                  <a:pt x="36" y="417"/>
                </a:cubicBezTo>
                <a:cubicBezTo>
                  <a:pt x="36" y="418"/>
                  <a:pt x="36" y="418"/>
                  <a:pt x="36" y="418"/>
                </a:cubicBezTo>
                <a:cubicBezTo>
                  <a:pt x="36" y="418"/>
                  <a:pt x="36" y="418"/>
                  <a:pt x="36" y="418"/>
                </a:cubicBezTo>
                <a:cubicBezTo>
                  <a:pt x="37" y="419"/>
                  <a:pt x="37" y="419"/>
                  <a:pt x="37" y="419"/>
                </a:cubicBezTo>
                <a:cubicBezTo>
                  <a:pt x="39" y="419"/>
                  <a:pt x="39" y="419"/>
                  <a:pt x="39" y="419"/>
                </a:cubicBezTo>
                <a:cubicBezTo>
                  <a:pt x="39" y="420"/>
                  <a:pt x="39" y="420"/>
                  <a:pt x="39" y="420"/>
                </a:cubicBezTo>
                <a:cubicBezTo>
                  <a:pt x="40" y="420"/>
                  <a:pt x="40" y="420"/>
                  <a:pt x="40" y="420"/>
                </a:cubicBezTo>
                <a:cubicBezTo>
                  <a:pt x="40" y="421"/>
                  <a:pt x="40" y="421"/>
                  <a:pt x="40" y="421"/>
                </a:cubicBezTo>
                <a:cubicBezTo>
                  <a:pt x="40" y="422"/>
                  <a:pt x="40" y="422"/>
                  <a:pt x="40" y="422"/>
                </a:cubicBezTo>
                <a:cubicBezTo>
                  <a:pt x="41" y="424"/>
                  <a:pt x="41" y="424"/>
                  <a:pt x="41" y="424"/>
                </a:cubicBezTo>
                <a:cubicBezTo>
                  <a:pt x="42" y="423"/>
                  <a:pt x="42" y="423"/>
                  <a:pt x="42" y="423"/>
                </a:cubicBezTo>
                <a:cubicBezTo>
                  <a:pt x="43" y="423"/>
                  <a:pt x="43" y="423"/>
                  <a:pt x="43" y="423"/>
                </a:cubicBezTo>
                <a:cubicBezTo>
                  <a:pt x="44" y="423"/>
                  <a:pt x="44" y="423"/>
                  <a:pt x="44" y="423"/>
                </a:cubicBezTo>
                <a:cubicBezTo>
                  <a:pt x="42" y="425"/>
                  <a:pt x="42" y="425"/>
                  <a:pt x="42" y="425"/>
                </a:cubicBezTo>
                <a:cubicBezTo>
                  <a:pt x="44" y="428"/>
                  <a:pt x="44" y="428"/>
                  <a:pt x="44" y="428"/>
                </a:cubicBezTo>
                <a:cubicBezTo>
                  <a:pt x="45" y="428"/>
                  <a:pt x="45" y="428"/>
                  <a:pt x="45" y="428"/>
                </a:cubicBezTo>
                <a:cubicBezTo>
                  <a:pt x="46" y="429"/>
                  <a:pt x="46" y="429"/>
                  <a:pt x="46" y="429"/>
                </a:cubicBezTo>
                <a:cubicBezTo>
                  <a:pt x="49" y="431"/>
                  <a:pt x="49" y="431"/>
                  <a:pt x="49" y="431"/>
                </a:cubicBezTo>
                <a:cubicBezTo>
                  <a:pt x="50" y="431"/>
                  <a:pt x="50" y="431"/>
                  <a:pt x="50" y="431"/>
                </a:cubicBezTo>
                <a:cubicBezTo>
                  <a:pt x="51" y="431"/>
                  <a:pt x="51" y="431"/>
                  <a:pt x="51" y="431"/>
                </a:cubicBezTo>
                <a:cubicBezTo>
                  <a:pt x="50" y="427"/>
                  <a:pt x="50" y="427"/>
                  <a:pt x="50" y="427"/>
                </a:cubicBezTo>
                <a:cubicBezTo>
                  <a:pt x="51" y="426"/>
                  <a:pt x="51" y="426"/>
                  <a:pt x="51" y="426"/>
                </a:cubicBezTo>
                <a:cubicBezTo>
                  <a:pt x="50" y="425"/>
                  <a:pt x="50" y="425"/>
                  <a:pt x="50" y="425"/>
                </a:cubicBezTo>
                <a:cubicBezTo>
                  <a:pt x="50" y="422"/>
                  <a:pt x="50" y="422"/>
                  <a:pt x="50" y="422"/>
                </a:cubicBezTo>
                <a:cubicBezTo>
                  <a:pt x="49" y="421"/>
                  <a:pt x="49" y="421"/>
                  <a:pt x="49" y="421"/>
                </a:cubicBezTo>
                <a:cubicBezTo>
                  <a:pt x="47" y="419"/>
                  <a:pt x="47" y="419"/>
                  <a:pt x="47" y="419"/>
                </a:cubicBezTo>
                <a:cubicBezTo>
                  <a:pt x="46" y="415"/>
                  <a:pt x="46" y="415"/>
                  <a:pt x="46" y="415"/>
                </a:cubicBezTo>
                <a:cubicBezTo>
                  <a:pt x="45" y="413"/>
                  <a:pt x="45" y="413"/>
                  <a:pt x="45" y="413"/>
                </a:cubicBezTo>
                <a:cubicBezTo>
                  <a:pt x="45" y="411"/>
                  <a:pt x="45" y="411"/>
                  <a:pt x="45" y="411"/>
                </a:cubicBezTo>
                <a:cubicBezTo>
                  <a:pt x="44" y="410"/>
                  <a:pt x="44" y="410"/>
                  <a:pt x="44" y="410"/>
                </a:cubicBezTo>
                <a:cubicBezTo>
                  <a:pt x="43" y="410"/>
                  <a:pt x="43" y="410"/>
                  <a:pt x="43" y="410"/>
                </a:cubicBezTo>
                <a:cubicBezTo>
                  <a:pt x="41" y="409"/>
                  <a:pt x="41" y="409"/>
                  <a:pt x="41" y="409"/>
                </a:cubicBezTo>
                <a:cubicBezTo>
                  <a:pt x="39" y="409"/>
                  <a:pt x="39" y="409"/>
                  <a:pt x="39" y="409"/>
                </a:cubicBezTo>
                <a:cubicBezTo>
                  <a:pt x="38" y="408"/>
                  <a:pt x="38" y="408"/>
                  <a:pt x="38" y="408"/>
                </a:cubicBezTo>
                <a:cubicBezTo>
                  <a:pt x="37" y="407"/>
                  <a:pt x="37" y="407"/>
                  <a:pt x="37" y="407"/>
                </a:cubicBezTo>
                <a:cubicBezTo>
                  <a:pt x="35" y="406"/>
                  <a:pt x="35" y="406"/>
                  <a:pt x="35" y="406"/>
                </a:cubicBezTo>
                <a:cubicBezTo>
                  <a:pt x="34" y="405"/>
                  <a:pt x="34" y="405"/>
                  <a:pt x="34" y="405"/>
                </a:cubicBezTo>
                <a:cubicBezTo>
                  <a:pt x="34" y="404"/>
                  <a:pt x="34" y="404"/>
                  <a:pt x="34" y="404"/>
                </a:cubicBezTo>
                <a:cubicBezTo>
                  <a:pt x="33" y="404"/>
                  <a:pt x="33" y="404"/>
                  <a:pt x="33" y="404"/>
                </a:cubicBezTo>
                <a:cubicBezTo>
                  <a:pt x="32" y="403"/>
                  <a:pt x="32" y="403"/>
                  <a:pt x="32" y="403"/>
                </a:cubicBezTo>
                <a:cubicBezTo>
                  <a:pt x="31" y="402"/>
                  <a:pt x="31" y="402"/>
                  <a:pt x="31" y="402"/>
                </a:cubicBezTo>
                <a:cubicBezTo>
                  <a:pt x="30" y="403"/>
                  <a:pt x="30" y="403"/>
                  <a:pt x="30" y="403"/>
                </a:cubicBezTo>
                <a:cubicBezTo>
                  <a:pt x="28" y="403"/>
                  <a:pt x="28" y="403"/>
                  <a:pt x="28" y="403"/>
                </a:cubicBezTo>
                <a:close/>
                <a:moveTo>
                  <a:pt x="40" y="405"/>
                </a:moveTo>
                <a:cubicBezTo>
                  <a:pt x="41" y="405"/>
                  <a:pt x="41" y="405"/>
                  <a:pt x="41" y="405"/>
                </a:cubicBezTo>
                <a:cubicBezTo>
                  <a:pt x="41" y="405"/>
                  <a:pt x="41" y="405"/>
                  <a:pt x="41" y="405"/>
                </a:cubicBezTo>
                <a:cubicBezTo>
                  <a:pt x="42" y="405"/>
                  <a:pt x="42" y="405"/>
                  <a:pt x="42" y="405"/>
                </a:cubicBezTo>
                <a:cubicBezTo>
                  <a:pt x="41" y="406"/>
                  <a:pt x="41" y="406"/>
                  <a:pt x="41" y="406"/>
                </a:cubicBezTo>
                <a:cubicBezTo>
                  <a:pt x="40" y="406"/>
                  <a:pt x="40" y="406"/>
                  <a:pt x="40" y="406"/>
                </a:cubicBezTo>
                <a:cubicBezTo>
                  <a:pt x="40" y="405"/>
                  <a:pt x="40" y="405"/>
                  <a:pt x="40" y="405"/>
                </a:cubicBezTo>
                <a:close/>
                <a:moveTo>
                  <a:pt x="39" y="404"/>
                </a:moveTo>
                <a:cubicBezTo>
                  <a:pt x="39" y="404"/>
                  <a:pt x="39" y="404"/>
                  <a:pt x="39" y="404"/>
                </a:cubicBezTo>
                <a:cubicBezTo>
                  <a:pt x="40" y="405"/>
                  <a:pt x="40" y="405"/>
                  <a:pt x="40" y="405"/>
                </a:cubicBezTo>
                <a:cubicBezTo>
                  <a:pt x="39" y="404"/>
                  <a:pt x="39" y="404"/>
                  <a:pt x="39" y="404"/>
                </a:cubicBezTo>
                <a:close/>
                <a:moveTo>
                  <a:pt x="31" y="377"/>
                </a:moveTo>
                <a:cubicBezTo>
                  <a:pt x="31" y="378"/>
                  <a:pt x="31" y="378"/>
                  <a:pt x="31" y="378"/>
                </a:cubicBezTo>
                <a:cubicBezTo>
                  <a:pt x="32" y="378"/>
                  <a:pt x="32" y="378"/>
                  <a:pt x="32" y="378"/>
                </a:cubicBezTo>
                <a:cubicBezTo>
                  <a:pt x="31" y="377"/>
                  <a:pt x="31" y="377"/>
                  <a:pt x="31" y="377"/>
                </a:cubicBezTo>
                <a:close/>
                <a:moveTo>
                  <a:pt x="35" y="390"/>
                </a:moveTo>
                <a:cubicBezTo>
                  <a:pt x="35" y="389"/>
                  <a:pt x="35" y="389"/>
                  <a:pt x="35" y="389"/>
                </a:cubicBezTo>
                <a:cubicBezTo>
                  <a:pt x="35" y="388"/>
                  <a:pt x="35" y="388"/>
                  <a:pt x="35" y="388"/>
                </a:cubicBezTo>
                <a:cubicBezTo>
                  <a:pt x="36" y="389"/>
                  <a:pt x="36" y="389"/>
                  <a:pt x="36" y="389"/>
                </a:cubicBezTo>
                <a:cubicBezTo>
                  <a:pt x="35" y="390"/>
                  <a:pt x="35" y="390"/>
                  <a:pt x="35" y="390"/>
                </a:cubicBezTo>
                <a:cubicBezTo>
                  <a:pt x="35" y="390"/>
                  <a:pt x="35" y="390"/>
                  <a:pt x="35" y="390"/>
                </a:cubicBezTo>
                <a:close/>
                <a:moveTo>
                  <a:pt x="34" y="394"/>
                </a:moveTo>
                <a:cubicBezTo>
                  <a:pt x="34" y="395"/>
                  <a:pt x="34" y="395"/>
                  <a:pt x="34" y="395"/>
                </a:cubicBezTo>
                <a:cubicBezTo>
                  <a:pt x="34" y="396"/>
                  <a:pt x="34" y="396"/>
                  <a:pt x="34" y="396"/>
                </a:cubicBezTo>
                <a:cubicBezTo>
                  <a:pt x="34" y="396"/>
                  <a:pt x="34" y="396"/>
                  <a:pt x="34" y="396"/>
                </a:cubicBezTo>
                <a:cubicBezTo>
                  <a:pt x="35" y="395"/>
                  <a:pt x="35" y="395"/>
                  <a:pt x="35" y="395"/>
                </a:cubicBezTo>
                <a:cubicBezTo>
                  <a:pt x="34" y="394"/>
                  <a:pt x="34" y="394"/>
                  <a:pt x="34" y="394"/>
                </a:cubicBezTo>
                <a:close/>
                <a:moveTo>
                  <a:pt x="35" y="392"/>
                </a:moveTo>
                <a:cubicBezTo>
                  <a:pt x="36" y="391"/>
                  <a:pt x="36" y="391"/>
                  <a:pt x="36" y="391"/>
                </a:cubicBezTo>
                <a:cubicBezTo>
                  <a:pt x="36" y="390"/>
                  <a:pt x="36" y="390"/>
                  <a:pt x="36" y="390"/>
                </a:cubicBezTo>
                <a:cubicBezTo>
                  <a:pt x="34" y="391"/>
                  <a:pt x="34" y="391"/>
                  <a:pt x="34" y="391"/>
                </a:cubicBezTo>
                <a:cubicBezTo>
                  <a:pt x="34" y="392"/>
                  <a:pt x="34" y="392"/>
                  <a:pt x="34" y="392"/>
                </a:cubicBezTo>
                <a:cubicBezTo>
                  <a:pt x="35" y="392"/>
                  <a:pt x="35" y="392"/>
                  <a:pt x="35" y="392"/>
                </a:cubicBezTo>
                <a:cubicBezTo>
                  <a:pt x="35" y="392"/>
                  <a:pt x="35" y="392"/>
                  <a:pt x="35" y="392"/>
                </a:cubicBezTo>
                <a:close/>
                <a:moveTo>
                  <a:pt x="37" y="391"/>
                </a:moveTo>
                <a:cubicBezTo>
                  <a:pt x="38" y="389"/>
                  <a:pt x="38" y="389"/>
                  <a:pt x="38" y="389"/>
                </a:cubicBezTo>
                <a:cubicBezTo>
                  <a:pt x="39" y="389"/>
                  <a:pt x="39" y="389"/>
                  <a:pt x="39" y="389"/>
                </a:cubicBezTo>
                <a:cubicBezTo>
                  <a:pt x="40" y="388"/>
                  <a:pt x="40" y="388"/>
                  <a:pt x="40" y="388"/>
                </a:cubicBezTo>
                <a:cubicBezTo>
                  <a:pt x="42" y="387"/>
                  <a:pt x="42" y="387"/>
                  <a:pt x="42" y="387"/>
                </a:cubicBezTo>
                <a:cubicBezTo>
                  <a:pt x="42" y="388"/>
                  <a:pt x="42" y="388"/>
                  <a:pt x="42" y="388"/>
                </a:cubicBezTo>
                <a:cubicBezTo>
                  <a:pt x="40" y="389"/>
                  <a:pt x="40" y="389"/>
                  <a:pt x="40" y="389"/>
                </a:cubicBezTo>
                <a:cubicBezTo>
                  <a:pt x="39" y="390"/>
                  <a:pt x="39" y="390"/>
                  <a:pt x="39" y="390"/>
                </a:cubicBezTo>
                <a:cubicBezTo>
                  <a:pt x="37" y="391"/>
                  <a:pt x="37" y="391"/>
                  <a:pt x="37" y="391"/>
                </a:cubicBezTo>
                <a:cubicBezTo>
                  <a:pt x="37" y="391"/>
                  <a:pt x="37" y="391"/>
                  <a:pt x="37" y="391"/>
                </a:cubicBezTo>
                <a:close/>
                <a:moveTo>
                  <a:pt x="36" y="384"/>
                </a:moveTo>
                <a:cubicBezTo>
                  <a:pt x="36" y="383"/>
                  <a:pt x="36" y="383"/>
                  <a:pt x="36" y="383"/>
                </a:cubicBezTo>
                <a:cubicBezTo>
                  <a:pt x="36" y="382"/>
                  <a:pt x="36" y="382"/>
                  <a:pt x="36" y="382"/>
                </a:cubicBezTo>
                <a:cubicBezTo>
                  <a:pt x="37" y="383"/>
                  <a:pt x="37" y="383"/>
                  <a:pt x="37" y="383"/>
                </a:cubicBezTo>
                <a:cubicBezTo>
                  <a:pt x="36" y="383"/>
                  <a:pt x="36" y="383"/>
                  <a:pt x="36" y="383"/>
                </a:cubicBezTo>
                <a:cubicBezTo>
                  <a:pt x="36" y="384"/>
                  <a:pt x="36" y="384"/>
                  <a:pt x="36" y="384"/>
                </a:cubicBezTo>
                <a:cubicBezTo>
                  <a:pt x="36" y="384"/>
                  <a:pt x="36" y="384"/>
                  <a:pt x="36" y="384"/>
                </a:cubicBezTo>
                <a:close/>
                <a:moveTo>
                  <a:pt x="33" y="384"/>
                </a:moveTo>
                <a:cubicBezTo>
                  <a:pt x="34" y="385"/>
                  <a:pt x="34" y="385"/>
                  <a:pt x="34" y="385"/>
                </a:cubicBezTo>
                <a:cubicBezTo>
                  <a:pt x="35" y="384"/>
                  <a:pt x="35" y="384"/>
                  <a:pt x="35" y="384"/>
                </a:cubicBezTo>
                <a:cubicBezTo>
                  <a:pt x="35" y="383"/>
                  <a:pt x="35" y="383"/>
                  <a:pt x="35" y="383"/>
                </a:cubicBezTo>
                <a:cubicBezTo>
                  <a:pt x="33" y="384"/>
                  <a:pt x="33" y="384"/>
                  <a:pt x="33" y="384"/>
                </a:cubicBezTo>
                <a:close/>
                <a:moveTo>
                  <a:pt x="31" y="380"/>
                </a:moveTo>
                <a:cubicBezTo>
                  <a:pt x="31" y="382"/>
                  <a:pt x="31" y="382"/>
                  <a:pt x="31" y="382"/>
                </a:cubicBezTo>
                <a:cubicBezTo>
                  <a:pt x="32" y="383"/>
                  <a:pt x="32" y="383"/>
                  <a:pt x="32" y="383"/>
                </a:cubicBezTo>
                <a:cubicBezTo>
                  <a:pt x="32" y="384"/>
                  <a:pt x="32" y="384"/>
                  <a:pt x="32" y="384"/>
                </a:cubicBezTo>
                <a:cubicBezTo>
                  <a:pt x="33" y="383"/>
                  <a:pt x="33" y="383"/>
                  <a:pt x="33" y="383"/>
                </a:cubicBezTo>
                <a:cubicBezTo>
                  <a:pt x="32" y="381"/>
                  <a:pt x="32" y="381"/>
                  <a:pt x="32" y="381"/>
                </a:cubicBezTo>
                <a:cubicBezTo>
                  <a:pt x="31" y="380"/>
                  <a:pt x="31" y="380"/>
                  <a:pt x="31" y="380"/>
                </a:cubicBezTo>
                <a:close/>
                <a:moveTo>
                  <a:pt x="32" y="379"/>
                </a:moveTo>
                <a:cubicBezTo>
                  <a:pt x="33" y="379"/>
                  <a:pt x="33" y="379"/>
                  <a:pt x="33" y="379"/>
                </a:cubicBezTo>
                <a:cubicBezTo>
                  <a:pt x="33" y="380"/>
                  <a:pt x="33" y="380"/>
                  <a:pt x="33" y="380"/>
                </a:cubicBezTo>
                <a:cubicBezTo>
                  <a:pt x="33" y="381"/>
                  <a:pt x="33" y="381"/>
                  <a:pt x="33" y="381"/>
                </a:cubicBezTo>
                <a:cubicBezTo>
                  <a:pt x="34" y="381"/>
                  <a:pt x="34" y="381"/>
                  <a:pt x="34" y="381"/>
                </a:cubicBezTo>
                <a:cubicBezTo>
                  <a:pt x="35" y="380"/>
                  <a:pt x="35" y="380"/>
                  <a:pt x="35" y="380"/>
                </a:cubicBezTo>
                <a:cubicBezTo>
                  <a:pt x="34" y="381"/>
                  <a:pt x="34" y="381"/>
                  <a:pt x="34" y="381"/>
                </a:cubicBezTo>
                <a:cubicBezTo>
                  <a:pt x="35" y="383"/>
                  <a:pt x="35" y="383"/>
                  <a:pt x="35" y="383"/>
                </a:cubicBezTo>
                <a:cubicBezTo>
                  <a:pt x="36" y="381"/>
                  <a:pt x="36" y="381"/>
                  <a:pt x="36" y="381"/>
                </a:cubicBezTo>
                <a:cubicBezTo>
                  <a:pt x="36" y="378"/>
                  <a:pt x="36" y="378"/>
                  <a:pt x="36" y="378"/>
                </a:cubicBezTo>
                <a:cubicBezTo>
                  <a:pt x="35" y="377"/>
                  <a:pt x="35" y="377"/>
                  <a:pt x="35" y="377"/>
                </a:cubicBezTo>
                <a:cubicBezTo>
                  <a:pt x="33" y="378"/>
                  <a:pt x="33" y="378"/>
                  <a:pt x="33" y="378"/>
                </a:cubicBezTo>
                <a:cubicBezTo>
                  <a:pt x="32" y="379"/>
                  <a:pt x="32" y="379"/>
                  <a:pt x="32" y="379"/>
                </a:cubicBezTo>
                <a:close/>
                <a:moveTo>
                  <a:pt x="32" y="376"/>
                </a:moveTo>
                <a:cubicBezTo>
                  <a:pt x="33" y="377"/>
                  <a:pt x="33" y="377"/>
                  <a:pt x="33" y="377"/>
                </a:cubicBezTo>
                <a:cubicBezTo>
                  <a:pt x="33" y="376"/>
                  <a:pt x="33" y="376"/>
                  <a:pt x="33" y="376"/>
                </a:cubicBezTo>
                <a:cubicBezTo>
                  <a:pt x="33" y="376"/>
                  <a:pt x="33" y="376"/>
                  <a:pt x="33" y="376"/>
                </a:cubicBezTo>
                <a:cubicBezTo>
                  <a:pt x="32" y="376"/>
                  <a:pt x="32" y="376"/>
                  <a:pt x="32" y="376"/>
                </a:cubicBezTo>
                <a:close/>
                <a:moveTo>
                  <a:pt x="35" y="374"/>
                </a:moveTo>
                <a:cubicBezTo>
                  <a:pt x="35" y="373"/>
                  <a:pt x="35" y="373"/>
                  <a:pt x="35" y="373"/>
                </a:cubicBezTo>
                <a:cubicBezTo>
                  <a:pt x="36" y="372"/>
                  <a:pt x="36" y="372"/>
                  <a:pt x="36" y="372"/>
                </a:cubicBezTo>
                <a:cubicBezTo>
                  <a:pt x="37" y="372"/>
                  <a:pt x="37" y="372"/>
                  <a:pt x="37" y="372"/>
                </a:cubicBezTo>
                <a:cubicBezTo>
                  <a:pt x="37" y="373"/>
                  <a:pt x="37" y="373"/>
                  <a:pt x="37" y="373"/>
                </a:cubicBezTo>
                <a:cubicBezTo>
                  <a:pt x="35" y="374"/>
                  <a:pt x="35" y="374"/>
                  <a:pt x="35" y="374"/>
                </a:cubicBezTo>
                <a:cubicBezTo>
                  <a:pt x="35" y="374"/>
                  <a:pt x="35" y="374"/>
                  <a:pt x="35" y="374"/>
                </a:cubicBezTo>
                <a:close/>
                <a:moveTo>
                  <a:pt x="27" y="371"/>
                </a:moveTo>
                <a:cubicBezTo>
                  <a:pt x="30" y="374"/>
                  <a:pt x="30" y="374"/>
                  <a:pt x="30" y="374"/>
                </a:cubicBezTo>
                <a:cubicBezTo>
                  <a:pt x="30" y="375"/>
                  <a:pt x="30" y="375"/>
                  <a:pt x="30" y="375"/>
                </a:cubicBezTo>
                <a:cubicBezTo>
                  <a:pt x="30" y="376"/>
                  <a:pt x="30" y="376"/>
                  <a:pt x="30" y="376"/>
                </a:cubicBezTo>
                <a:cubicBezTo>
                  <a:pt x="29" y="376"/>
                  <a:pt x="29" y="376"/>
                  <a:pt x="29" y="376"/>
                </a:cubicBezTo>
                <a:cubicBezTo>
                  <a:pt x="29" y="375"/>
                  <a:pt x="29" y="375"/>
                  <a:pt x="29" y="375"/>
                </a:cubicBezTo>
                <a:cubicBezTo>
                  <a:pt x="27" y="373"/>
                  <a:pt x="27" y="373"/>
                  <a:pt x="27" y="373"/>
                </a:cubicBezTo>
                <a:cubicBezTo>
                  <a:pt x="27" y="371"/>
                  <a:pt x="27" y="371"/>
                  <a:pt x="27" y="371"/>
                </a:cubicBezTo>
                <a:cubicBezTo>
                  <a:pt x="27" y="371"/>
                  <a:pt x="27" y="370"/>
                  <a:pt x="27" y="371"/>
                </a:cubicBezTo>
                <a:close/>
                <a:moveTo>
                  <a:pt x="29" y="369"/>
                </a:moveTo>
                <a:cubicBezTo>
                  <a:pt x="30" y="371"/>
                  <a:pt x="30" y="371"/>
                  <a:pt x="30" y="371"/>
                </a:cubicBezTo>
                <a:cubicBezTo>
                  <a:pt x="30" y="372"/>
                  <a:pt x="30" y="372"/>
                  <a:pt x="30" y="372"/>
                </a:cubicBezTo>
                <a:cubicBezTo>
                  <a:pt x="31" y="374"/>
                  <a:pt x="31" y="374"/>
                  <a:pt x="31" y="374"/>
                </a:cubicBezTo>
                <a:cubicBezTo>
                  <a:pt x="32" y="375"/>
                  <a:pt x="32" y="375"/>
                  <a:pt x="32" y="375"/>
                </a:cubicBezTo>
                <a:cubicBezTo>
                  <a:pt x="32" y="373"/>
                  <a:pt x="32" y="373"/>
                  <a:pt x="32" y="373"/>
                </a:cubicBezTo>
                <a:cubicBezTo>
                  <a:pt x="31" y="371"/>
                  <a:pt x="31" y="371"/>
                  <a:pt x="31" y="371"/>
                </a:cubicBezTo>
                <a:cubicBezTo>
                  <a:pt x="30" y="369"/>
                  <a:pt x="30" y="369"/>
                  <a:pt x="30" y="369"/>
                </a:cubicBezTo>
                <a:cubicBezTo>
                  <a:pt x="30" y="369"/>
                  <a:pt x="30" y="369"/>
                  <a:pt x="30" y="369"/>
                </a:cubicBezTo>
                <a:cubicBezTo>
                  <a:pt x="29" y="369"/>
                  <a:pt x="29" y="369"/>
                  <a:pt x="29" y="369"/>
                </a:cubicBezTo>
                <a:close/>
                <a:moveTo>
                  <a:pt x="27" y="368"/>
                </a:moveTo>
                <a:cubicBezTo>
                  <a:pt x="29" y="368"/>
                  <a:pt x="29" y="368"/>
                  <a:pt x="29" y="368"/>
                </a:cubicBezTo>
                <a:cubicBezTo>
                  <a:pt x="29" y="368"/>
                  <a:pt x="29" y="368"/>
                  <a:pt x="29" y="368"/>
                </a:cubicBezTo>
                <a:cubicBezTo>
                  <a:pt x="30" y="368"/>
                  <a:pt x="30" y="368"/>
                  <a:pt x="30" y="368"/>
                </a:cubicBezTo>
                <a:cubicBezTo>
                  <a:pt x="31" y="367"/>
                  <a:pt x="31" y="367"/>
                  <a:pt x="31" y="367"/>
                </a:cubicBezTo>
                <a:cubicBezTo>
                  <a:pt x="29" y="366"/>
                  <a:pt x="29" y="366"/>
                  <a:pt x="29" y="366"/>
                </a:cubicBezTo>
                <a:cubicBezTo>
                  <a:pt x="28" y="367"/>
                  <a:pt x="28" y="367"/>
                  <a:pt x="28" y="367"/>
                </a:cubicBezTo>
                <a:cubicBezTo>
                  <a:pt x="27" y="368"/>
                  <a:pt x="27" y="368"/>
                  <a:pt x="27" y="368"/>
                </a:cubicBezTo>
                <a:close/>
                <a:moveTo>
                  <a:pt x="14" y="368"/>
                </a:moveTo>
                <a:cubicBezTo>
                  <a:pt x="14" y="366"/>
                  <a:pt x="14" y="366"/>
                  <a:pt x="14" y="366"/>
                </a:cubicBezTo>
                <a:cubicBezTo>
                  <a:pt x="16" y="363"/>
                  <a:pt x="16" y="363"/>
                  <a:pt x="16" y="363"/>
                </a:cubicBezTo>
                <a:cubicBezTo>
                  <a:pt x="18" y="363"/>
                  <a:pt x="18" y="363"/>
                  <a:pt x="18" y="363"/>
                </a:cubicBezTo>
                <a:cubicBezTo>
                  <a:pt x="17" y="365"/>
                  <a:pt x="17" y="365"/>
                  <a:pt x="17" y="365"/>
                </a:cubicBezTo>
                <a:cubicBezTo>
                  <a:pt x="18" y="365"/>
                  <a:pt x="18" y="365"/>
                  <a:pt x="18" y="365"/>
                </a:cubicBezTo>
                <a:cubicBezTo>
                  <a:pt x="19" y="364"/>
                  <a:pt x="19" y="364"/>
                  <a:pt x="19" y="364"/>
                </a:cubicBezTo>
                <a:cubicBezTo>
                  <a:pt x="20" y="364"/>
                  <a:pt x="20" y="364"/>
                  <a:pt x="20" y="364"/>
                </a:cubicBezTo>
                <a:cubicBezTo>
                  <a:pt x="20" y="365"/>
                  <a:pt x="20" y="365"/>
                  <a:pt x="20" y="365"/>
                </a:cubicBezTo>
                <a:cubicBezTo>
                  <a:pt x="20" y="367"/>
                  <a:pt x="20" y="367"/>
                  <a:pt x="20" y="367"/>
                </a:cubicBezTo>
                <a:cubicBezTo>
                  <a:pt x="18" y="368"/>
                  <a:pt x="18" y="368"/>
                  <a:pt x="18" y="368"/>
                </a:cubicBezTo>
                <a:cubicBezTo>
                  <a:pt x="16" y="369"/>
                  <a:pt x="16" y="369"/>
                  <a:pt x="16" y="369"/>
                </a:cubicBezTo>
                <a:cubicBezTo>
                  <a:pt x="17" y="369"/>
                  <a:pt x="17" y="369"/>
                  <a:pt x="17" y="369"/>
                </a:cubicBezTo>
                <a:cubicBezTo>
                  <a:pt x="17" y="370"/>
                  <a:pt x="17" y="370"/>
                  <a:pt x="17" y="370"/>
                </a:cubicBezTo>
                <a:cubicBezTo>
                  <a:pt x="18" y="369"/>
                  <a:pt x="18" y="369"/>
                  <a:pt x="18" y="369"/>
                </a:cubicBezTo>
                <a:cubicBezTo>
                  <a:pt x="19" y="368"/>
                  <a:pt x="19" y="368"/>
                  <a:pt x="19" y="368"/>
                </a:cubicBezTo>
                <a:cubicBezTo>
                  <a:pt x="21" y="366"/>
                  <a:pt x="21" y="366"/>
                  <a:pt x="21" y="366"/>
                </a:cubicBezTo>
                <a:cubicBezTo>
                  <a:pt x="23" y="365"/>
                  <a:pt x="23" y="365"/>
                  <a:pt x="23" y="365"/>
                </a:cubicBezTo>
                <a:cubicBezTo>
                  <a:pt x="23" y="365"/>
                  <a:pt x="23" y="365"/>
                  <a:pt x="23" y="365"/>
                </a:cubicBezTo>
                <a:cubicBezTo>
                  <a:pt x="21" y="367"/>
                  <a:pt x="21" y="367"/>
                  <a:pt x="21" y="367"/>
                </a:cubicBezTo>
                <a:cubicBezTo>
                  <a:pt x="21" y="369"/>
                  <a:pt x="21" y="369"/>
                  <a:pt x="21" y="369"/>
                </a:cubicBezTo>
                <a:cubicBezTo>
                  <a:pt x="19" y="371"/>
                  <a:pt x="19" y="371"/>
                  <a:pt x="19" y="371"/>
                </a:cubicBezTo>
                <a:cubicBezTo>
                  <a:pt x="19" y="373"/>
                  <a:pt x="19" y="373"/>
                  <a:pt x="19" y="373"/>
                </a:cubicBezTo>
                <a:cubicBezTo>
                  <a:pt x="18" y="374"/>
                  <a:pt x="18" y="374"/>
                  <a:pt x="18" y="374"/>
                </a:cubicBezTo>
                <a:cubicBezTo>
                  <a:pt x="17" y="374"/>
                  <a:pt x="17" y="374"/>
                  <a:pt x="17" y="374"/>
                </a:cubicBezTo>
                <a:cubicBezTo>
                  <a:pt x="16" y="375"/>
                  <a:pt x="16" y="375"/>
                  <a:pt x="16" y="375"/>
                </a:cubicBezTo>
                <a:cubicBezTo>
                  <a:pt x="17" y="375"/>
                  <a:pt x="17" y="375"/>
                  <a:pt x="17" y="375"/>
                </a:cubicBezTo>
                <a:cubicBezTo>
                  <a:pt x="18" y="375"/>
                  <a:pt x="18" y="375"/>
                  <a:pt x="18" y="375"/>
                </a:cubicBezTo>
                <a:cubicBezTo>
                  <a:pt x="19" y="375"/>
                  <a:pt x="19" y="375"/>
                  <a:pt x="19" y="375"/>
                </a:cubicBezTo>
                <a:cubicBezTo>
                  <a:pt x="19" y="376"/>
                  <a:pt x="19" y="376"/>
                  <a:pt x="19" y="376"/>
                </a:cubicBezTo>
                <a:cubicBezTo>
                  <a:pt x="18" y="376"/>
                  <a:pt x="18" y="376"/>
                  <a:pt x="18" y="376"/>
                </a:cubicBezTo>
                <a:cubicBezTo>
                  <a:pt x="17" y="378"/>
                  <a:pt x="17" y="378"/>
                  <a:pt x="17" y="378"/>
                </a:cubicBezTo>
                <a:cubicBezTo>
                  <a:pt x="17" y="379"/>
                  <a:pt x="17" y="379"/>
                  <a:pt x="17" y="379"/>
                </a:cubicBezTo>
                <a:cubicBezTo>
                  <a:pt x="17" y="381"/>
                  <a:pt x="17" y="381"/>
                  <a:pt x="17" y="381"/>
                </a:cubicBezTo>
                <a:cubicBezTo>
                  <a:pt x="18" y="383"/>
                  <a:pt x="18" y="383"/>
                  <a:pt x="18" y="383"/>
                </a:cubicBezTo>
                <a:cubicBezTo>
                  <a:pt x="18" y="385"/>
                  <a:pt x="18" y="385"/>
                  <a:pt x="18" y="385"/>
                </a:cubicBezTo>
                <a:cubicBezTo>
                  <a:pt x="19" y="384"/>
                  <a:pt x="19" y="384"/>
                  <a:pt x="19" y="384"/>
                </a:cubicBezTo>
                <a:cubicBezTo>
                  <a:pt x="19" y="385"/>
                  <a:pt x="19" y="385"/>
                  <a:pt x="19" y="385"/>
                </a:cubicBezTo>
                <a:cubicBezTo>
                  <a:pt x="19" y="386"/>
                  <a:pt x="19" y="386"/>
                  <a:pt x="19" y="386"/>
                </a:cubicBezTo>
                <a:cubicBezTo>
                  <a:pt x="17" y="386"/>
                  <a:pt x="17" y="386"/>
                  <a:pt x="17" y="386"/>
                </a:cubicBezTo>
                <a:cubicBezTo>
                  <a:pt x="15" y="382"/>
                  <a:pt x="15" y="382"/>
                  <a:pt x="15" y="382"/>
                </a:cubicBezTo>
                <a:cubicBezTo>
                  <a:pt x="15" y="380"/>
                  <a:pt x="15" y="380"/>
                  <a:pt x="15" y="380"/>
                </a:cubicBezTo>
                <a:cubicBezTo>
                  <a:pt x="15" y="379"/>
                  <a:pt x="15" y="379"/>
                  <a:pt x="15" y="379"/>
                </a:cubicBezTo>
                <a:cubicBezTo>
                  <a:pt x="14" y="379"/>
                  <a:pt x="14" y="379"/>
                  <a:pt x="14" y="379"/>
                </a:cubicBezTo>
                <a:cubicBezTo>
                  <a:pt x="14" y="378"/>
                  <a:pt x="14" y="378"/>
                  <a:pt x="14" y="378"/>
                </a:cubicBezTo>
                <a:cubicBezTo>
                  <a:pt x="14" y="377"/>
                  <a:pt x="14" y="377"/>
                  <a:pt x="14" y="377"/>
                </a:cubicBezTo>
                <a:cubicBezTo>
                  <a:pt x="16" y="377"/>
                  <a:pt x="16" y="377"/>
                  <a:pt x="16" y="377"/>
                </a:cubicBezTo>
                <a:cubicBezTo>
                  <a:pt x="14" y="376"/>
                  <a:pt x="14" y="376"/>
                  <a:pt x="14" y="376"/>
                </a:cubicBezTo>
                <a:cubicBezTo>
                  <a:pt x="14" y="376"/>
                  <a:pt x="14" y="376"/>
                  <a:pt x="14" y="376"/>
                </a:cubicBezTo>
                <a:cubicBezTo>
                  <a:pt x="14" y="374"/>
                  <a:pt x="14" y="374"/>
                  <a:pt x="14" y="374"/>
                </a:cubicBezTo>
                <a:cubicBezTo>
                  <a:pt x="13" y="373"/>
                  <a:pt x="13" y="373"/>
                  <a:pt x="13" y="373"/>
                </a:cubicBezTo>
                <a:cubicBezTo>
                  <a:pt x="14" y="372"/>
                  <a:pt x="14" y="372"/>
                  <a:pt x="14" y="372"/>
                </a:cubicBezTo>
                <a:cubicBezTo>
                  <a:pt x="15" y="373"/>
                  <a:pt x="15" y="373"/>
                  <a:pt x="15" y="373"/>
                </a:cubicBezTo>
                <a:cubicBezTo>
                  <a:pt x="15" y="373"/>
                  <a:pt x="15" y="373"/>
                  <a:pt x="15" y="373"/>
                </a:cubicBezTo>
                <a:cubicBezTo>
                  <a:pt x="15" y="372"/>
                  <a:pt x="15" y="372"/>
                  <a:pt x="15" y="372"/>
                </a:cubicBezTo>
                <a:cubicBezTo>
                  <a:pt x="14" y="371"/>
                  <a:pt x="14" y="371"/>
                  <a:pt x="14" y="371"/>
                </a:cubicBezTo>
                <a:cubicBezTo>
                  <a:pt x="13" y="371"/>
                  <a:pt x="13" y="371"/>
                  <a:pt x="13" y="371"/>
                </a:cubicBezTo>
                <a:cubicBezTo>
                  <a:pt x="13" y="370"/>
                  <a:pt x="13" y="370"/>
                  <a:pt x="13" y="370"/>
                </a:cubicBezTo>
                <a:cubicBezTo>
                  <a:pt x="14" y="368"/>
                  <a:pt x="14" y="368"/>
                  <a:pt x="14" y="368"/>
                </a:cubicBezTo>
                <a:close/>
                <a:moveTo>
                  <a:pt x="29" y="362"/>
                </a:moveTo>
                <a:cubicBezTo>
                  <a:pt x="29" y="361"/>
                  <a:pt x="29" y="361"/>
                  <a:pt x="29" y="361"/>
                </a:cubicBezTo>
                <a:cubicBezTo>
                  <a:pt x="30" y="360"/>
                  <a:pt x="30" y="360"/>
                  <a:pt x="30" y="360"/>
                </a:cubicBezTo>
                <a:cubicBezTo>
                  <a:pt x="30" y="361"/>
                  <a:pt x="30" y="361"/>
                  <a:pt x="30" y="361"/>
                </a:cubicBezTo>
                <a:cubicBezTo>
                  <a:pt x="29" y="362"/>
                  <a:pt x="29" y="362"/>
                  <a:pt x="29" y="362"/>
                </a:cubicBezTo>
                <a:close/>
                <a:moveTo>
                  <a:pt x="157" y="170"/>
                </a:moveTo>
                <a:cubicBezTo>
                  <a:pt x="158" y="171"/>
                  <a:pt x="158" y="171"/>
                  <a:pt x="158" y="171"/>
                </a:cubicBezTo>
                <a:cubicBezTo>
                  <a:pt x="158" y="171"/>
                  <a:pt x="158" y="171"/>
                  <a:pt x="158" y="171"/>
                </a:cubicBezTo>
                <a:cubicBezTo>
                  <a:pt x="158" y="170"/>
                  <a:pt x="158" y="170"/>
                  <a:pt x="158" y="170"/>
                </a:cubicBezTo>
                <a:cubicBezTo>
                  <a:pt x="159" y="170"/>
                  <a:pt x="159" y="170"/>
                  <a:pt x="159" y="170"/>
                </a:cubicBezTo>
                <a:cubicBezTo>
                  <a:pt x="157" y="170"/>
                  <a:pt x="157" y="170"/>
                  <a:pt x="157" y="170"/>
                </a:cubicBezTo>
                <a:cubicBezTo>
                  <a:pt x="157" y="170"/>
                  <a:pt x="157" y="170"/>
                  <a:pt x="157" y="170"/>
                </a:cubicBezTo>
                <a:close/>
                <a:moveTo>
                  <a:pt x="145" y="158"/>
                </a:moveTo>
                <a:cubicBezTo>
                  <a:pt x="146" y="159"/>
                  <a:pt x="146" y="159"/>
                  <a:pt x="146" y="159"/>
                </a:cubicBezTo>
                <a:cubicBezTo>
                  <a:pt x="147" y="158"/>
                  <a:pt x="147" y="158"/>
                  <a:pt x="147" y="158"/>
                </a:cubicBezTo>
                <a:cubicBezTo>
                  <a:pt x="147" y="157"/>
                  <a:pt x="147" y="157"/>
                  <a:pt x="147" y="157"/>
                </a:cubicBezTo>
                <a:cubicBezTo>
                  <a:pt x="145" y="157"/>
                  <a:pt x="145" y="157"/>
                  <a:pt x="145" y="157"/>
                </a:cubicBezTo>
                <a:cubicBezTo>
                  <a:pt x="145" y="158"/>
                  <a:pt x="145" y="158"/>
                  <a:pt x="145" y="158"/>
                </a:cubicBezTo>
                <a:close/>
                <a:moveTo>
                  <a:pt x="101" y="162"/>
                </a:moveTo>
                <a:cubicBezTo>
                  <a:pt x="101" y="162"/>
                  <a:pt x="101" y="162"/>
                  <a:pt x="101" y="162"/>
                </a:cubicBezTo>
                <a:cubicBezTo>
                  <a:pt x="102" y="161"/>
                  <a:pt x="102" y="161"/>
                  <a:pt x="102" y="161"/>
                </a:cubicBezTo>
                <a:cubicBezTo>
                  <a:pt x="101" y="161"/>
                  <a:pt x="101" y="161"/>
                  <a:pt x="101" y="161"/>
                </a:cubicBezTo>
                <a:cubicBezTo>
                  <a:pt x="101" y="161"/>
                  <a:pt x="101" y="162"/>
                  <a:pt x="101" y="162"/>
                </a:cubicBezTo>
                <a:close/>
                <a:moveTo>
                  <a:pt x="100" y="164"/>
                </a:moveTo>
                <a:cubicBezTo>
                  <a:pt x="100" y="164"/>
                  <a:pt x="100" y="164"/>
                  <a:pt x="100" y="164"/>
                </a:cubicBezTo>
                <a:cubicBezTo>
                  <a:pt x="101" y="163"/>
                  <a:pt x="101" y="163"/>
                  <a:pt x="101" y="163"/>
                </a:cubicBezTo>
                <a:cubicBezTo>
                  <a:pt x="101" y="164"/>
                  <a:pt x="101" y="164"/>
                  <a:pt x="101" y="164"/>
                </a:cubicBezTo>
                <a:cubicBezTo>
                  <a:pt x="100" y="164"/>
                  <a:pt x="100" y="164"/>
                  <a:pt x="100" y="164"/>
                </a:cubicBezTo>
                <a:close/>
                <a:moveTo>
                  <a:pt x="98" y="168"/>
                </a:moveTo>
                <a:cubicBezTo>
                  <a:pt x="98" y="170"/>
                  <a:pt x="98" y="170"/>
                  <a:pt x="98" y="170"/>
                </a:cubicBezTo>
                <a:cubicBezTo>
                  <a:pt x="98" y="171"/>
                  <a:pt x="98" y="171"/>
                  <a:pt x="98" y="171"/>
                </a:cubicBezTo>
                <a:cubicBezTo>
                  <a:pt x="98" y="172"/>
                  <a:pt x="98" y="172"/>
                  <a:pt x="98" y="172"/>
                </a:cubicBezTo>
                <a:cubicBezTo>
                  <a:pt x="99" y="172"/>
                  <a:pt x="99" y="172"/>
                  <a:pt x="99" y="172"/>
                </a:cubicBezTo>
                <a:cubicBezTo>
                  <a:pt x="100" y="171"/>
                  <a:pt x="100" y="171"/>
                  <a:pt x="100" y="171"/>
                </a:cubicBezTo>
                <a:cubicBezTo>
                  <a:pt x="101" y="171"/>
                  <a:pt x="101" y="171"/>
                  <a:pt x="101" y="171"/>
                </a:cubicBezTo>
                <a:cubicBezTo>
                  <a:pt x="105" y="168"/>
                  <a:pt x="105" y="168"/>
                  <a:pt x="105" y="168"/>
                </a:cubicBezTo>
                <a:cubicBezTo>
                  <a:pt x="107" y="167"/>
                  <a:pt x="107" y="167"/>
                  <a:pt x="107" y="167"/>
                </a:cubicBezTo>
                <a:cubicBezTo>
                  <a:pt x="108" y="165"/>
                  <a:pt x="108" y="165"/>
                  <a:pt x="108" y="165"/>
                </a:cubicBezTo>
                <a:cubicBezTo>
                  <a:pt x="107" y="166"/>
                  <a:pt x="107" y="166"/>
                  <a:pt x="107" y="166"/>
                </a:cubicBezTo>
                <a:cubicBezTo>
                  <a:pt x="106" y="165"/>
                  <a:pt x="106" y="165"/>
                  <a:pt x="106" y="165"/>
                </a:cubicBezTo>
                <a:cubicBezTo>
                  <a:pt x="106" y="163"/>
                  <a:pt x="106" y="163"/>
                  <a:pt x="106" y="163"/>
                </a:cubicBezTo>
                <a:cubicBezTo>
                  <a:pt x="105" y="163"/>
                  <a:pt x="105" y="163"/>
                  <a:pt x="105" y="163"/>
                </a:cubicBezTo>
                <a:cubicBezTo>
                  <a:pt x="104" y="165"/>
                  <a:pt x="104" y="165"/>
                  <a:pt x="104" y="165"/>
                </a:cubicBezTo>
                <a:cubicBezTo>
                  <a:pt x="103" y="165"/>
                  <a:pt x="103" y="165"/>
                  <a:pt x="103" y="165"/>
                </a:cubicBezTo>
                <a:cubicBezTo>
                  <a:pt x="103" y="166"/>
                  <a:pt x="103" y="166"/>
                  <a:pt x="103" y="166"/>
                </a:cubicBezTo>
                <a:cubicBezTo>
                  <a:pt x="102" y="166"/>
                  <a:pt x="102" y="166"/>
                  <a:pt x="102" y="166"/>
                </a:cubicBezTo>
                <a:cubicBezTo>
                  <a:pt x="102" y="167"/>
                  <a:pt x="102" y="167"/>
                  <a:pt x="102" y="167"/>
                </a:cubicBezTo>
                <a:cubicBezTo>
                  <a:pt x="102" y="168"/>
                  <a:pt x="102" y="168"/>
                  <a:pt x="102" y="168"/>
                </a:cubicBezTo>
                <a:cubicBezTo>
                  <a:pt x="101" y="167"/>
                  <a:pt x="101" y="167"/>
                  <a:pt x="101" y="167"/>
                </a:cubicBezTo>
                <a:cubicBezTo>
                  <a:pt x="101" y="166"/>
                  <a:pt x="101" y="166"/>
                  <a:pt x="101" y="166"/>
                </a:cubicBezTo>
                <a:cubicBezTo>
                  <a:pt x="101" y="165"/>
                  <a:pt x="101" y="165"/>
                  <a:pt x="101" y="165"/>
                </a:cubicBezTo>
                <a:cubicBezTo>
                  <a:pt x="100" y="166"/>
                  <a:pt x="100" y="166"/>
                  <a:pt x="100" y="166"/>
                </a:cubicBezTo>
                <a:cubicBezTo>
                  <a:pt x="99" y="166"/>
                  <a:pt x="99" y="166"/>
                  <a:pt x="99" y="166"/>
                </a:cubicBezTo>
                <a:cubicBezTo>
                  <a:pt x="99" y="167"/>
                  <a:pt x="99" y="167"/>
                  <a:pt x="99" y="167"/>
                </a:cubicBezTo>
                <a:cubicBezTo>
                  <a:pt x="98" y="168"/>
                  <a:pt x="98" y="168"/>
                  <a:pt x="98" y="168"/>
                </a:cubicBezTo>
                <a:close/>
                <a:moveTo>
                  <a:pt x="94" y="172"/>
                </a:moveTo>
                <a:cubicBezTo>
                  <a:pt x="94" y="171"/>
                  <a:pt x="94" y="171"/>
                  <a:pt x="94" y="171"/>
                </a:cubicBezTo>
                <a:cubicBezTo>
                  <a:pt x="94" y="168"/>
                  <a:pt x="94" y="168"/>
                  <a:pt x="94" y="168"/>
                </a:cubicBezTo>
                <a:cubicBezTo>
                  <a:pt x="93" y="169"/>
                  <a:pt x="93" y="169"/>
                  <a:pt x="93" y="169"/>
                </a:cubicBezTo>
                <a:cubicBezTo>
                  <a:pt x="93" y="171"/>
                  <a:pt x="93" y="171"/>
                  <a:pt x="93" y="171"/>
                </a:cubicBezTo>
                <a:cubicBezTo>
                  <a:pt x="92" y="171"/>
                  <a:pt x="92" y="171"/>
                  <a:pt x="92" y="171"/>
                </a:cubicBezTo>
                <a:cubicBezTo>
                  <a:pt x="93" y="171"/>
                  <a:pt x="93" y="171"/>
                  <a:pt x="93" y="171"/>
                </a:cubicBezTo>
                <a:cubicBezTo>
                  <a:pt x="93" y="171"/>
                  <a:pt x="94" y="172"/>
                  <a:pt x="94" y="172"/>
                </a:cubicBezTo>
                <a:close/>
                <a:moveTo>
                  <a:pt x="94" y="173"/>
                </a:moveTo>
                <a:cubicBezTo>
                  <a:pt x="95" y="172"/>
                  <a:pt x="95" y="172"/>
                  <a:pt x="95" y="172"/>
                </a:cubicBezTo>
                <a:cubicBezTo>
                  <a:pt x="95" y="171"/>
                  <a:pt x="95" y="171"/>
                  <a:pt x="95" y="171"/>
                </a:cubicBezTo>
                <a:cubicBezTo>
                  <a:pt x="95" y="170"/>
                  <a:pt x="95" y="170"/>
                  <a:pt x="95" y="170"/>
                </a:cubicBezTo>
                <a:cubicBezTo>
                  <a:pt x="95" y="168"/>
                  <a:pt x="95" y="168"/>
                  <a:pt x="95" y="168"/>
                </a:cubicBezTo>
                <a:cubicBezTo>
                  <a:pt x="95" y="167"/>
                  <a:pt x="95" y="167"/>
                  <a:pt x="95" y="167"/>
                </a:cubicBezTo>
                <a:cubicBezTo>
                  <a:pt x="96" y="167"/>
                  <a:pt x="96" y="167"/>
                  <a:pt x="96" y="167"/>
                </a:cubicBezTo>
                <a:cubicBezTo>
                  <a:pt x="96" y="167"/>
                  <a:pt x="96" y="167"/>
                  <a:pt x="96" y="167"/>
                </a:cubicBezTo>
                <a:cubicBezTo>
                  <a:pt x="97" y="166"/>
                  <a:pt x="97" y="166"/>
                  <a:pt x="97" y="166"/>
                </a:cubicBezTo>
                <a:cubicBezTo>
                  <a:pt x="97" y="168"/>
                  <a:pt x="97" y="168"/>
                  <a:pt x="97" y="168"/>
                </a:cubicBezTo>
                <a:cubicBezTo>
                  <a:pt x="97" y="171"/>
                  <a:pt x="97" y="171"/>
                  <a:pt x="97" y="171"/>
                </a:cubicBezTo>
                <a:cubicBezTo>
                  <a:pt x="97" y="172"/>
                  <a:pt x="97" y="172"/>
                  <a:pt x="97" y="172"/>
                </a:cubicBezTo>
                <a:cubicBezTo>
                  <a:pt x="97" y="173"/>
                  <a:pt x="97" y="173"/>
                  <a:pt x="97" y="173"/>
                </a:cubicBezTo>
                <a:cubicBezTo>
                  <a:pt x="96" y="174"/>
                  <a:pt x="96" y="174"/>
                  <a:pt x="96" y="174"/>
                </a:cubicBezTo>
                <a:cubicBezTo>
                  <a:pt x="94" y="173"/>
                  <a:pt x="94" y="173"/>
                  <a:pt x="94" y="173"/>
                </a:cubicBezTo>
                <a:close/>
                <a:moveTo>
                  <a:pt x="96" y="179"/>
                </a:moveTo>
                <a:cubicBezTo>
                  <a:pt x="97" y="178"/>
                  <a:pt x="97" y="178"/>
                  <a:pt x="97" y="178"/>
                </a:cubicBezTo>
                <a:cubicBezTo>
                  <a:pt x="96" y="176"/>
                  <a:pt x="96" y="176"/>
                  <a:pt x="96" y="176"/>
                </a:cubicBezTo>
                <a:cubicBezTo>
                  <a:pt x="96" y="174"/>
                  <a:pt x="96" y="174"/>
                  <a:pt x="96" y="174"/>
                </a:cubicBezTo>
                <a:cubicBezTo>
                  <a:pt x="95" y="174"/>
                  <a:pt x="95" y="174"/>
                  <a:pt x="95" y="174"/>
                </a:cubicBezTo>
                <a:cubicBezTo>
                  <a:pt x="93" y="172"/>
                  <a:pt x="93" y="172"/>
                  <a:pt x="93" y="172"/>
                </a:cubicBezTo>
                <a:cubicBezTo>
                  <a:pt x="92" y="173"/>
                  <a:pt x="92" y="173"/>
                  <a:pt x="92" y="173"/>
                </a:cubicBezTo>
                <a:cubicBezTo>
                  <a:pt x="92" y="173"/>
                  <a:pt x="92" y="173"/>
                  <a:pt x="92" y="173"/>
                </a:cubicBezTo>
                <a:cubicBezTo>
                  <a:pt x="94" y="175"/>
                  <a:pt x="94" y="175"/>
                  <a:pt x="94" y="175"/>
                </a:cubicBezTo>
                <a:cubicBezTo>
                  <a:pt x="93" y="175"/>
                  <a:pt x="93" y="175"/>
                  <a:pt x="93" y="175"/>
                </a:cubicBezTo>
                <a:cubicBezTo>
                  <a:pt x="93" y="176"/>
                  <a:pt x="93" y="176"/>
                  <a:pt x="93" y="176"/>
                </a:cubicBezTo>
                <a:cubicBezTo>
                  <a:pt x="94" y="177"/>
                  <a:pt x="94" y="177"/>
                  <a:pt x="94" y="177"/>
                </a:cubicBezTo>
                <a:cubicBezTo>
                  <a:pt x="96" y="179"/>
                  <a:pt x="96" y="179"/>
                  <a:pt x="96" y="179"/>
                </a:cubicBezTo>
                <a:close/>
                <a:moveTo>
                  <a:pt x="82" y="156"/>
                </a:moveTo>
                <a:cubicBezTo>
                  <a:pt x="83" y="158"/>
                  <a:pt x="83" y="158"/>
                  <a:pt x="83" y="158"/>
                </a:cubicBezTo>
                <a:cubicBezTo>
                  <a:pt x="84" y="158"/>
                  <a:pt x="84" y="158"/>
                  <a:pt x="84" y="158"/>
                </a:cubicBezTo>
                <a:cubicBezTo>
                  <a:pt x="85" y="158"/>
                  <a:pt x="85" y="158"/>
                  <a:pt x="85" y="158"/>
                </a:cubicBezTo>
                <a:cubicBezTo>
                  <a:pt x="85" y="158"/>
                  <a:pt x="85" y="158"/>
                  <a:pt x="85" y="158"/>
                </a:cubicBezTo>
                <a:cubicBezTo>
                  <a:pt x="84" y="156"/>
                  <a:pt x="84" y="156"/>
                  <a:pt x="84" y="156"/>
                </a:cubicBezTo>
                <a:cubicBezTo>
                  <a:pt x="83" y="156"/>
                  <a:pt x="83" y="156"/>
                  <a:pt x="83" y="156"/>
                </a:cubicBezTo>
                <a:cubicBezTo>
                  <a:pt x="82" y="156"/>
                  <a:pt x="82" y="156"/>
                  <a:pt x="82" y="156"/>
                </a:cubicBezTo>
                <a:close/>
                <a:moveTo>
                  <a:pt x="56" y="425"/>
                </a:moveTo>
                <a:cubicBezTo>
                  <a:pt x="56" y="425"/>
                  <a:pt x="56" y="425"/>
                  <a:pt x="56" y="425"/>
                </a:cubicBezTo>
                <a:cubicBezTo>
                  <a:pt x="55" y="424"/>
                  <a:pt x="55" y="424"/>
                  <a:pt x="55" y="424"/>
                </a:cubicBezTo>
                <a:cubicBezTo>
                  <a:pt x="54" y="422"/>
                  <a:pt x="54" y="422"/>
                  <a:pt x="54" y="422"/>
                </a:cubicBezTo>
                <a:cubicBezTo>
                  <a:pt x="56" y="420"/>
                  <a:pt x="56" y="420"/>
                  <a:pt x="56" y="420"/>
                </a:cubicBezTo>
                <a:cubicBezTo>
                  <a:pt x="56" y="418"/>
                  <a:pt x="56" y="418"/>
                  <a:pt x="56" y="418"/>
                </a:cubicBezTo>
                <a:cubicBezTo>
                  <a:pt x="55" y="419"/>
                  <a:pt x="55" y="419"/>
                  <a:pt x="55" y="419"/>
                </a:cubicBezTo>
                <a:cubicBezTo>
                  <a:pt x="54" y="419"/>
                  <a:pt x="54" y="419"/>
                  <a:pt x="54" y="419"/>
                </a:cubicBezTo>
                <a:cubicBezTo>
                  <a:pt x="52" y="420"/>
                  <a:pt x="52" y="420"/>
                  <a:pt x="52" y="420"/>
                </a:cubicBezTo>
                <a:cubicBezTo>
                  <a:pt x="51" y="419"/>
                  <a:pt x="51" y="419"/>
                  <a:pt x="51" y="419"/>
                </a:cubicBezTo>
                <a:cubicBezTo>
                  <a:pt x="51" y="417"/>
                  <a:pt x="51" y="417"/>
                  <a:pt x="51" y="417"/>
                </a:cubicBezTo>
                <a:cubicBezTo>
                  <a:pt x="52" y="417"/>
                  <a:pt x="52" y="417"/>
                  <a:pt x="52" y="417"/>
                </a:cubicBezTo>
                <a:cubicBezTo>
                  <a:pt x="52" y="418"/>
                  <a:pt x="52" y="418"/>
                  <a:pt x="52" y="418"/>
                </a:cubicBezTo>
                <a:cubicBezTo>
                  <a:pt x="53" y="419"/>
                  <a:pt x="53" y="419"/>
                  <a:pt x="53" y="419"/>
                </a:cubicBezTo>
                <a:cubicBezTo>
                  <a:pt x="53" y="418"/>
                  <a:pt x="53" y="418"/>
                  <a:pt x="53" y="418"/>
                </a:cubicBezTo>
                <a:cubicBezTo>
                  <a:pt x="52" y="417"/>
                  <a:pt x="52" y="417"/>
                  <a:pt x="52" y="417"/>
                </a:cubicBezTo>
                <a:cubicBezTo>
                  <a:pt x="52" y="416"/>
                  <a:pt x="52" y="416"/>
                  <a:pt x="52" y="416"/>
                </a:cubicBezTo>
                <a:cubicBezTo>
                  <a:pt x="51" y="416"/>
                  <a:pt x="51" y="416"/>
                  <a:pt x="51" y="416"/>
                </a:cubicBezTo>
                <a:cubicBezTo>
                  <a:pt x="50" y="416"/>
                  <a:pt x="50" y="416"/>
                  <a:pt x="50" y="416"/>
                </a:cubicBezTo>
                <a:cubicBezTo>
                  <a:pt x="49" y="416"/>
                  <a:pt x="49" y="416"/>
                  <a:pt x="49" y="416"/>
                </a:cubicBezTo>
                <a:cubicBezTo>
                  <a:pt x="48" y="414"/>
                  <a:pt x="48" y="414"/>
                  <a:pt x="48" y="414"/>
                </a:cubicBezTo>
                <a:cubicBezTo>
                  <a:pt x="48" y="413"/>
                  <a:pt x="48" y="413"/>
                  <a:pt x="48" y="413"/>
                </a:cubicBezTo>
                <a:cubicBezTo>
                  <a:pt x="50" y="412"/>
                  <a:pt x="50" y="412"/>
                  <a:pt x="50" y="412"/>
                </a:cubicBezTo>
                <a:cubicBezTo>
                  <a:pt x="50" y="411"/>
                  <a:pt x="50" y="411"/>
                  <a:pt x="50" y="411"/>
                </a:cubicBezTo>
                <a:cubicBezTo>
                  <a:pt x="51" y="410"/>
                  <a:pt x="51" y="410"/>
                  <a:pt x="51" y="410"/>
                </a:cubicBezTo>
                <a:cubicBezTo>
                  <a:pt x="51" y="410"/>
                  <a:pt x="51" y="410"/>
                  <a:pt x="51" y="410"/>
                </a:cubicBezTo>
                <a:cubicBezTo>
                  <a:pt x="50" y="410"/>
                  <a:pt x="50" y="410"/>
                  <a:pt x="50" y="410"/>
                </a:cubicBezTo>
                <a:cubicBezTo>
                  <a:pt x="48" y="410"/>
                  <a:pt x="48" y="410"/>
                  <a:pt x="48" y="410"/>
                </a:cubicBezTo>
                <a:cubicBezTo>
                  <a:pt x="48" y="410"/>
                  <a:pt x="48" y="410"/>
                  <a:pt x="48" y="410"/>
                </a:cubicBezTo>
                <a:cubicBezTo>
                  <a:pt x="49" y="409"/>
                  <a:pt x="49" y="409"/>
                  <a:pt x="49" y="409"/>
                </a:cubicBezTo>
                <a:cubicBezTo>
                  <a:pt x="50" y="407"/>
                  <a:pt x="50" y="407"/>
                  <a:pt x="50" y="407"/>
                </a:cubicBezTo>
                <a:cubicBezTo>
                  <a:pt x="50" y="405"/>
                  <a:pt x="50" y="405"/>
                  <a:pt x="50" y="405"/>
                </a:cubicBezTo>
                <a:cubicBezTo>
                  <a:pt x="50" y="405"/>
                  <a:pt x="50" y="405"/>
                  <a:pt x="50" y="405"/>
                </a:cubicBezTo>
                <a:cubicBezTo>
                  <a:pt x="50" y="404"/>
                  <a:pt x="50" y="404"/>
                  <a:pt x="50" y="404"/>
                </a:cubicBezTo>
                <a:cubicBezTo>
                  <a:pt x="50" y="404"/>
                  <a:pt x="50" y="404"/>
                  <a:pt x="50" y="404"/>
                </a:cubicBezTo>
                <a:cubicBezTo>
                  <a:pt x="49" y="405"/>
                  <a:pt x="49" y="405"/>
                  <a:pt x="49" y="405"/>
                </a:cubicBezTo>
                <a:cubicBezTo>
                  <a:pt x="49" y="407"/>
                  <a:pt x="49" y="407"/>
                  <a:pt x="49" y="407"/>
                </a:cubicBezTo>
                <a:cubicBezTo>
                  <a:pt x="48" y="409"/>
                  <a:pt x="48" y="409"/>
                  <a:pt x="48" y="409"/>
                </a:cubicBezTo>
                <a:cubicBezTo>
                  <a:pt x="47" y="409"/>
                  <a:pt x="47" y="409"/>
                  <a:pt x="47" y="409"/>
                </a:cubicBezTo>
                <a:cubicBezTo>
                  <a:pt x="46" y="409"/>
                  <a:pt x="46" y="409"/>
                  <a:pt x="46" y="409"/>
                </a:cubicBezTo>
                <a:cubicBezTo>
                  <a:pt x="45" y="409"/>
                  <a:pt x="45" y="409"/>
                  <a:pt x="45" y="409"/>
                </a:cubicBezTo>
                <a:cubicBezTo>
                  <a:pt x="45" y="408"/>
                  <a:pt x="45" y="408"/>
                  <a:pt x="45" y="408"/>
                </a:cubicBezTo>
                <a:cubicBezTo>
                  <a:pt x="46" y="407"/>
                  <a:pt x="46" y="407"/>
                  <a:pt x="46" y="407"/>
                </a:cubicBezTo>
                <a:cubicBezTo>
                  <a:pt x="46" y="407"/>
                  <a:pt x="46" y="407"/>
                  <a:pt x="46" y="407"/>
                </a:cubicBezTo>
                <a:cubicBezTo>
                  <a:pt x="45" y="407"/>
                  <a:pt x="45" y="407"/>
                  <a:pt x="45" y="407"/>
                </a:cubicBezTo>
                <a:cubicBezTo>
                  <a:pt x="44" y="408"/>
                  <a:pt x="44" y="408"/>
                  <a:pt x="44" y="408"/>
                </a:cubicBezTo>
                <a:cubicBezTo>
                  <a:pt x="44" y="408"/>
                  <a:pt x="44" y="408"/>
                  <a:pt x="44" y="408"/>
                </a:cubicBezTo>
                <a:cubicBezTo>
                  <a:pt x="44" y="408"/>
                  <a:pt x="44" y="408"/>
                  <a:pt x="44" y="408"/>
                </a:cubicBezTo>
                <a:cubicBezTo>
                  <a:pt x="43" y="408"/>
                  <a:pt x="43" y="408"/>
                  <a:pt x="43" y="408"/>
                </a:cubicBezTo>
                <a:cubicBezTo>
                  <a:pt x="42" y="408"/>
                  <a:pt x="42" y="408"/>
                  <a:pt x="42" y="408"/>
                </a:cubicBezTo>
                <a:cubicBezTo>
                  <a:pt x="41" y="408"/>
                  <a:pt x="41" y="408"/>
                  <a:pt x="41" y="408"/>
                </a:cubicBezTo>
                <a:cubicBezTo>
                  <a:pt x="41" y="407"/>
                  <a:pt x="41" y="407"/>
                  <a:pt x="41" y="407"/>
                </a:cubicBezTo>
                <a:cubicBezTo>
                  <a:pt x="42" y="406"/>
                  <a:pt x="42" y="406"/>
                  <a:pt x="42" y="406"/>
                </a:cubicBezTo>
                <a:cubicBezTo>
                  <a:pt x="43" y="406"/>
                  <a:pt x="43" y="406"/>
                  <a:pt x="43" y="406"/>
                </a:cubicBezTo>
                <a:cubicBezTo>
                  <a:pt x="45" y="406"/>
                  <a:pt x="45" y="406"/>
                  <a:pt x="45" y="406"/>
                </a:cubicBezTo>
                <a:cubicBezTo>
                  <a:pt x="46" y="405"/>
                  <a:pt x="46" y="405"/>
                  <a:pt x="46" y="405"/>
                </a:cubicBezTo>
                <a:cubicBezTo>
                  <a:pt x="47" y="404"/>
                  <a:pt x="47" y="404"/>
                  <a:pt x="47" y="404"/>
                </a:cubicBezTo>
                <a:cubicBezTo>
                  <a:pt x="47" y="402"/>
                  <a:pt x="47" y="402"/>
                  <a:pt x="47" y="402"/>
                </a:cubicBezTo>
                <a:cubicBezTo>
                  <a:pt x="47" y="403"/>
                  <a:pt x="47" y="403"/>
                  <a:pt x="47" y="403"/>
                </a:cubicBezTo>
                <a:cubicBezTo>
                  <a:pt x="46" y="404"/>
                  <a:pt x="46" y="404"/>
                  <a:pt x="46" y="404"/>
                </a:cubicBezTo>
                <a:cubicBezTo>
                  <a:pt x="45" y="405"/>
                  <a:pt x="45" y="405"/>
                  <a:pt x="45" y="405"/>
                </a:cubicBezTo>
                <a:cubicBezTo>
                  <a:pt x="44" y="406"/>
                  <a:pt x="44" y="406"/>
                  <a:pt x="44" y="406"/>
                </a:cubicBezTo>
                <a:cubicBezTo>
                  <a:pt x="42" y="405"/>
                  <a:pt x="42" y="405"/>
                  <a:pt x="42" y="405"/>
                </a:cubicBezTo>
                <a:cubicBezTo>
                  <a:pt x="42" y="404"/>
                  <a:pt x="42" y="404"/>
                  <a:pt x="42" y="404"/>
                </a:cubicBezTo>
                <a:cubicBezTo>
                  <a:pt x="41" y="404"/>
                  <a:pt x="41" y="404"/>
                  <a:pt x="41" y="404"/>
                </a:cubicBezTo>
                <a:cubicBezTo>
                  <a:pt x="41" y="404"/>
                  <a:pt x="41" y="404"/>
                  <a:pt x="41" y="404"/>
                </a:cubicBezTo>
                <a:cubicBezTo>
                  <a:pt x="42" y="403"/>
                  <a:pt x="42" y="403"/>
                  <a:pt x="42" y="403"/>
                </a:cubicBezTo>
                <a:cubicBezTo>
                  <a:pt x="41" y="403"/>
                  <a:pt x="41" y="403"/>
                  <a:pt x="41" y="403"/>
                </a:cubicBezTo>
                <a:cubicBezTo>
                  <a:pt x="40" y="403"/>
                  <a:pt x="40" y="403"/>
                  <a:pt x="40" y="403"/>
                </a:cubicBezTo>
                <a:cubicBezTo>
                  <a:pt x="39" y="403"/>
                  <a:pt x="39" y="403"/>
                  <a:pt x="39" y="403"/>
                </a:cubicBezTo>
                <a:cubicBezTo>
                  <a:pt x="38" y="403"/>
                  <a:pt x="38" y="403"/>
                  <a:pt x="38" y="403"/>
                </a:cubicBezTo>
                <a:cubicBezTo>
                  <a:pt x="38" y="404"/>
                  <a:pt x="38" y="404"/>
                  <a:pt x="38" y="404"/>
                </a:cubicBezTo>
                <a:cubicBezTo>
                  <a:pt x="36" y="403"/>
                  <a:pt x="36" y="403"/>
                  <a:pt x="36" y="403"/>
                </a:cubicBezTo>
                <a:cubicBezTo>
                  <a:pt x="36" y="402"/>
                  <a:pt x="36" y="402"/>
                  <a:pt x="36" y="402"/>
                </a:cubicBezTo>
                <a:cubicBezTo>
                  <a:pt x="36" y="401"/>
                  <a:pt x="36" y="401"/>
                  <a:pt x="36" y="401"/>
                </a:cubicBezTo>
                <a:cubicBezTo>
                  <a:pt x="37" y="402"/>
                  <a:pt x="37" y="402"/>
                  <a:pt x="37" y="402"/>
                </a:cubicBezTo>
                <a:cubicBezTo>
                  <a:pt x="38" y="402"/>
                  <a:pt x="38" y="402"/>
                  <a:pt x="38" y="402"/>
                </a:cubicBezTo>
                <a:cubicBezTo>
                  <a:pt x="40" y="402"/>
                  <a:pt x="40" y="402"/>
                  <a:pt x="40" y="402"/>
                </a:cubicBezTo>
                <a:cubicBezTo>
                  <a:pt x="40" y="401"/>
                  <a:pt x="40" y="401"/>
                  <a:pt x="40" y="401"/>
                </a:cubicBezTo>
                <a:cubicBezTo>
                  <a:pt x="39" y="401"/>
                  <a:pt x="39" y="401"/>
                  <a:pt x="39" y="401"/>
                </a:cubicBezTo>
                <a:cubicBezTo>
                  <a:pt x="38" y="401"/>
                  <a:pt x="38" y="401"/>
                  <a:pt x="38" y="401"/>
                </a:cubicBezTo>
                <a:cubicBezTo>
                  <a:pt x="37" y="401"/>
                  <a:pt x="37" y="401"/>
                  <a:pt x="37" y="401"/>
                </a:cubicBezTo>
                <a:cubicBezTo>
                  <a:pt x="37" y="401"/>
                  <a:pt x="37" y="401"/>
                  <a:pt x="37" y="401"/>
                </a:cubicBezTo>
                <a:cubicBezTo>
                  <a:pt x="39" y="401"/>
                  <a:pt x="39" y="401"/>
                  <a:pt x="39" y="401"/>
                </a:cubicBezTo>
                <a:cubicBezTo>
                  <a:pt x="40" y="401"/>
                  <a:pt x="40" y="401"/>
                  <a:pt x="40" y="401"/>
                </a:cubicBezTo>
                <a:cubicBezTo>
                  <a:pt x="40" y="400"/>
                  <a:pt x="40" y="400"/>
                  <a:pt x="40" y="400"/>
                </a:cubicBezTo>
                <a:cubicBezTo>
                  <a:pt x="38" y="400"/>
                  <a:pt x="38" y="400"/>
                  <a:pt x="38" y="400"/>
                </a:cubicBezTo>
                <a:cubicBezTo>
                  <a:pt x="38" y="400"/>
                  <a:pt x="38" y="400"/>
                  <a:pt x="38" y="400"/>
                </a:cubicBezTo>
                <a:cubicBezTo>
                  <a:pt x="36" y="400"/>
                  <a:pt x="36" y="400"/>
                  <a:pt x="36" y="400"/>
                </a:cubicBezTo>
                <a:cubicBezTo>
                  <a:pt x="35" y="400"/>
                  <a:pt x="35" y="400"/>
                  <a:pt x="35" y="400"/>
                </a:cubicBezTo>
                <a:cubicBezTo>
                  <a:pt x="35" y="399"/>
                  <a:pt x="35" y="399"/>
                  <a:pt x="35" y="399"/>
                </a:cubicBezTo>
                <a:cubicBezTo>
                  <a:pt x="35" y="398"/>
                  <a:pt x="35" y="398"/>
                  <a:pt x="35" y="398"/>
                </a:cubicBezTo>
                <a:cubicBezTo>
                  <a:pt x="36" y="398"/>
                  <a:pt x="36" y="398"/>
                  <a:pt x="36" y="398"/>
                </a:cubicBezTo>
                <a:cubicBezTo>
                  <a:pt x="37" y="399"/>
                  <a:pt x="37" y="399"/>
                  <a:pt x="37" y="399"/>
                </a:cubicBezTo>
                <a:cubicBezTo>
                  <a:pt x="38" y="399"/>
                  <a:pt x="38" y="399"/>
                  <a:pt x="38" y="399"/>
                </a:cubicBezTo>
                <a:cubicBezTo>
                  <a:pt x="39" y="398"/>
                  <a:pt x="39" y="398"/>
                  <a:pt x="39" y="398"/>
                </a:cubicBezTo>
                <a:cubicBezTo>
                  <a:pt x="38" y="398"/>
                  <a:pt x="38" y="398"/>
                  <a:pt x="38" y="398"/>
                </a:cubicBezTo>
                <a:cubicBezTo>
                  <a:pt x="37" y="398"/>
                  <a:pt x="37" y="398"/>
                  <a:pt x="37" y="398"/>
                </a:cubicBezTo>
                <a:cubicBezTo>
                  <a:pt x="35" y="397"/>
                  <a:pt x="35" y="397"/>
                  <a:pt x="35" y="397"/>
                </a:cubicBezTo>
                <a:cubicBezTo>
                  <a:pt x="35" y="397"/>
                  <a:pt x="35" y="397"/>
                  <a:pt x="35" y="397"/>
                </a:cubicBezTo>
                <a:cubicBezTo>
                  <a:pt x="37" y="397"/>
                  <a:pt x="37" y="397"/>
                  <a:pt x="37" y="397"/>
                </a:cubicBezTo>
                <a:cubicBezTo>
                  <a:pt x="38" y="397"/>
                  <a:pt x="38" y="397"/>
                  <a:pt x="38" y="397"/>
                </a:cubicBezTo>
                <a:cubicBezTo>
                  <a:pt x="39" y="397"/>
                  <a:pt x="39" y="397"/>
                  <a:pt x="39" y="397"/>
                </a:cubicBezTo>
                <a:cubicBezTo>
                  <a:pt x="38" y="396"/>
                  <a:pt x="38" y="396"/>
                  <a:pt x="38" y="396"/>
                </a:cubicBezTo>
                <a:cubicBezTo>
                  <a:pt x="38" y="395"/>
                  <a:pt x="38" y="395"/>
                  <a:pt x="38" y="395"/>
                </a:cubicBezTo>
                <a:cubicBezTo>
                  <a:pt x="39" y="395"/>
                  <a:pt x="39" y="395"/>
                  <a:pt x="39" y="395"/>
                </a:cubicBezTo>
                <a:cubicBezTo>
                  <a:pt x="41" y="395"/>
                  <a:pt x="41" y="395"/>
                  <a:pt x="41" y="395"/>
                </a:cubicBezTo>
                <a:cubicBezTo>
                  <a:pt x="42" y="395"/>
                  <a:pt x="42" y="395"/>
                  <a:pt x="42" y="395"/>
                </a:cubicBezTo>
                <a:cubicBezTo>
                  <a:pt x="42" y="395"/>
                  <a:pt x="42" y="395"/>
                  <a:pt x="42" y="395"/>
                </a:cubicBezTo>
                <a:cubicBezTo>
                  <a:pt x="40" y="394"/>
                  <a:pt x="40" y="394"/>
                  <a:pt x="40" y="394"/>
                </a:cubicBezTo>
                <a:cubicBezTo>
                  <a:pt x="40" y="394"/>
                  <a:pt x="40" y="394"/>
                  <a:pt x="40" y="394"/>
                </a:cubicBezTo>
                <a:cubicBezTo>
                  <a:pt x="39" y="394"/>
                  <a:pt x="39" y="394"/>
                  <a:pt x="39" y="394"/>
                </a:cubicBezTo>
                <a:cubicBezTo>
                  <a:pt x="38" y="395"/>
                  <a:pt x="38" y="395"/>
                  <a:pt x="38" y="395"/>
                </a:cubicBezTo>
                <a:cubicBezTo>
                  <a:pt x="37" y="395"/>
                  <a:pt x="37" y="395"/>
                  <a:pt x="37" y="395"/>
                </a:cubicBezTo>
                <a:cubicBezTo>
                  <a:pt x="36" y="396"/>
                  <a:pt x="36" y="396"/>
                  <a:pt x="36" y="396"/>
                </a:cubicBezTo>
                <a:cubicBezTo>
                  <a:pt x="36" y="395"/>
                  <a:pt x="36" y="395"/>
                  <a:pt x="36" y="395"/>
                </a:cubicBezTo>
                <a:cubicBezTo>
                  <a:pt x="36" y="394"/>
                  <a:pt x="36" y="394"/>
                  <a:pt x="36" y="394"/>
                </a:cubicBezTo>
                <a:cubicBezTo>
                  <a:pt x="36" y="394"/>
                  <a:pt x="36" y="394"/>
                  <a:pt x="36" y="394"/>
                </a:cubicBezTo>
                <a:cubicBezTo>
                  <a:pt x="36" y="393"/>
                  <a:pt x="36" y="393"/>
                  <a:pt x="36" y="393"/>
                </a:cubicBezTo>
                <a:cubicBezTo>
                  <a:pt x="38" y="392"/>
                  <a:pt x="38" y="392"/>
                  <a:pt x="38" y="392"/>
                </a:cubicBezTo>
                <a:cubicBezTo>
                  <a:pt x="39" y="391"/>
                  <a:pt x="39" y="391"/>
                  <a:pt x="39" y="391"/>
                </a:cubicBezTo>
                <a:cubicBezTo>
                  <a:pt x="42" y="389"/>
                  <a:pt x="42" y="389"/>
                  <a:pt x="42" y="389"/>
                </a:cubicBezTo>
                <a:cubicBezTo>
                  <a:pt x="42" y="388"/>
                  <a:pt x="42" y="388"/>
                  <a:pt x="42" y="388"/>
                </a:cubicBezTo>
                <a:cubicBezTo>
                  <a:pt x="43" y="389"/>
                  <a:pt x="43" y="389"/>
                  <a:pt x="43" y="389"/>
                </a:cubicBezTo>
                <a:cubicBezTo>
                  <a:pt x="43" y="391"/>
                  <a:pt x="43" y="391"/>
                  <a:pt x="43" y="391"/>
                </a:cubicBezTo>
                <a:cubicBezTo>
                  <a:pt x="44" y="392"/>
                  <a:pt x="44" y="392"/>
                  <a:pt x="44" y="392"/>
                </a:cubicBezTo>
                <a:cubicBezTo>
                  <a:pt x="44" y="391"/>
                  <a:pt x="44" y="391"/>
                  <a:pt x="44" y="391"/>
                </a:cubicBezTo>
                <a:cubicBezTo>
                  <a:pt x="44" y="390"/>
                  <a:pt x="44" y="390"/>
                  <a:pt x="44" y="390"/>
                </a:cubicBezTo>
                <a:cubicBezTo>
                  <a:pt x="44" y="388"/>
                  <a:pt x="44" y="388"/>
                  <a:pt x="44" y="388"/>
                </a:cubicBezTo>
                <a:cubicBezTo>
                  <a:pt x="45" y="388"/>
                  <a:pt x="45" y="388"/>
                  <a:pt x="45" y="388"/>
                </a:cubicBezTo>
                <a:cubicBezTo>
                  <a:pt x="46" y="388"/>
                  <a:pt x="46" y="388"/>
                  <a:pt x="46" y="388"/>
                </a:cubicBezTo>
                <a:cubicBezTo>
                  <a:pt x="45" y="387"/>
                  <a:pt x="45" y="387"/>
                  <a:pt x="45" y="387"/>
                </a:cubicBezTo>
                <a:cubicBezTo>
                  <a:pt x="44" y="387"/>
                  <a:pt x="44" y="387"/>
                  <a:pt x="44" y="387"/>
                </a:cubicBezTo>
                <a:cubicBezTo>
                  <a:pt x="43" y="388"/>
                  <a:pt x="43" y="388"/>
                  <a:pt x="43" y="388"/>
                </a:cubicBezTo>
                <a:cubicBezTo>
                  <a:pt x="42" y="387"/>
                  <a:pt x="42" y="387"/>
                  <a:pt x="42" y="387"/>
                </a:cubicBezTo>
                <a:cubicBezTo>
                  <a:pt x="42" y="386"/>
                  <a:pt x="42" y="386"/>
                  <a:pt x="42" y="386"/>
                </a:cubicBezTo>
                <a:cubicBezTo>
                  <a:pt x="44" y="385"/>
                  <a:pt x="44" y="385"/>
                  <a:pt x="44" y="385"/>
                </a:cubicBezTo>
                <a:cubicBezTo>
                  <a:pt x="45" y="385"/>
                  <a:pt x="45" y="385"/>
                  <a:pt x="45" y="385"/>
                </a:cubicBezTo>
                <a:cubicBezTo>
                  <a:pt x="46" y="383"/>
                  <a:pt x="46" y="383"/>
                  <a:pt x="46" y="383"/>
                </a:cubicBezTo>
                <a:cubicBezTo>
                  <a:pt x="46" y="382"/>
                  <a:pt x="46" y="382"/>
                  <a:pt x="46" y="382"/>
                </a:cubicBezTo>
                <a:cubicBezTo>
                  <a:pt x="45" y="382"/>
                  <a:pt x="45" y="382"/>
                  <a:pt x="45" y="382"/>
                </a:cubicBezTo>
                <a:cubicBezTo>
                  <a:pt x="45" y="383"/>
                  <a:pt x="45" y="383"/>
                  <a:pt x="45" y="383"/>
                </a:cubicBezTo>
                <a:cubicBezTo>
                  <a:pt x="44" y="384"/>
                  <a:pt x="44" y="384"/>
                  <a:pt x="44" y="384"/>
                </a:cubicBezTo>
                <a:cubicBezTo>
                  <a:pt x="43" y="384"/>
                  <a:pt x="43" y="384"/>
                  <a:pt x="43" y="384"/>
                </a:cubicBezTo>
                <a:cubicBezTo>
                  <a:pt x="41" y="386"/>
                  <a:pt x="41" y="386"/>
                  <a:pt x="41" y="386"/>
                </a:cubicBezTo>
                <a:cubicBezTo>
                  <a:pt x="40" y="387"/>
                  <a:pt x="40" y="387"/>
                  <a:pt x="40" y="387"/>
                </a:cubicBezTo>
                <a:cubicBezTo>
                  <a:pt x="38" y="388"/>
                  <a:pt x="38" y="388"/>
                  <a:pt x="38" y="388"/>
                </a:cubicBezTo>
                <a:cubicBezTo>
                  <a:pt x="37" y="387"/>
                  <a:pt x="37" y="387"/>
                  <a:pt x="37" y="387"/>
                </a:cubicBezTo>
                <a:cubicBezTo>
                  <a:pt x="37" y="386"/>
                  <a:pt x="37" y="386"/>
                  <a:pt x="37" y="386"/>
                </a:cubicBezTo>
                <a:cubicBezTo>
                  <a:pt x="38" y="386"/>
                  <a:pt x="38" y="386"/>
                  <a:pt x="38" y="386"/>
                </a:cubicBezTo>
                <a:cubicBezTo>
                  <a:pt x="37" y="386"/>
                  <a:pt x="37" y="386"/>
                  <a:pt x="37" y="386"/>
                </a:cubicBezTo>
                <a:cubicBezTo>
                  <a:pt x="36" y="386"/>
                  <a:pt x="36" y="386"/>
                  <a:pt x="36" y="386"/>
                </a:cubicBezTo>
                <a:cubicBezTo>
                  <a:pt x="35" y="386"/>
                  <a:pt x="35" y="386"/>
                  <a:pt x="35" y="386"/>
                </a:cubicBezTo>
                <a:cubicBezTo>
                  <a:pt x="35" y="385"/>
                  <a:pt x="35" y="385"/>
                  <a:pt x="35" y="385"/>
                </a:cubicBezTo>
                <a:cubicBezTo>
                  <a:pt x="37" y="384"/>
                  <a:pt x="37" y="384"/>
                  <a:pt x="37" y="384"/>
                </a:cubicBezTo>
                <a:cubicBezTo>
                  <a:pt x="38" y="384"/>
                  <a:pt x="38" y="384"/>
                  <a:pt x="38" y="384"/>
                </a:cubicBezTo>
                <a:cubicBezTo>
                  <a:pt x="39" y="384"/>
                  <a:pt x="39" y="384"/>
                  <a:pt x="39" y="384"/>
                </a:cubicBezTo>
                <a:cubicBezTo>
                  <a:pt x="39" y="383"/>
                  <a:pt x="39" y="383"/>
                  <a:pt x="39" y="383"/>
                </a:cubicBezTo>
                <a:cubicBezTo>
                  <a:pt x="39" y="383"/>
                  <a:pt x="39" y="383"/>
                  <a:pt x="39" y="383"/>
                </a:cubicBezTo>
                <a:cubicBezTo>
                  <a:pt x="39" y="382"/>
                  <a:pt x="39" y="382"/>
                  <a:pt x="39" y="382"/>
                </a:cubicBezTo>
                <a:cubicBezTo>
                  <a:pt x="39" y="382"/>
                  <a:pt x="39" y="382"/>
                  <a:pt x="39" y="382"/>
                </a:cubicBezTo>
                <a:cubicBezTo>
                  <a:pt x="39" y="381"/>
                  <a:pt x="39" y="381"/>
                  <a:pt x="39" y="381"/>
                </a:cubicBezTo>
                <a:cubicBezTo>
                  <a:pt x="39" y="381"/>
                  <a:pt x="39" y="381"/>
                  <a:pt x="39" y="381"/>
                </a:cubicBezTo>
                <a:cubicBezTo>
                  <a:pt x="38" y="381"/>
                  <a:pt x="38" y="381"/>
                  <a:pt x="38" y="381"/>
                </a:cubicBezTo>
                <a:cubicBezTo>
                  <a:pt x="37" y="381"/>
                  <a:pt x="37" y="381"/>
                  <a:pt x="37" y="381"/>
                </a:cubicBezTo>
                <a:cubicBezTo>
                  <a:pt x="37" y="380"/>
                  <a:pt x="37" y="380"/>
                  <a:pt x="37" y="380"/>
                </a:cubicBezTo>
                <a:cubicBezTo>
                  <a:pt x="37" y="378"/>
                  <a:pt x="37" y="378"/>
                  <a:pt x="37" y="378"/>
                </a:cubicBezTo>
                <a:cubicBezTo>
                  <a:pt x="36" y="377"/>
                  <a:pt x="36" y="377"/>
                  <a:pt x="36" y="377"/>
                </a:cubicBezTo>
                <a:cubicBezTo>
                  <a:pt x="36" y="376"/>
                  <a:pt x="36" y="376"/>
                  <a:pt x="36" y="376"/>
                </a:cubicBezTo>
                <a:cubicBezTo>
                  <a:pt x="36" y="375"/>
                  <a:pt x="36" y="375"/>
                  <a:pt x="36" y="375"/>
                </a:cubicBezTo>
                <a:cubicBezTo>
                  <a:pt x="38" y="375"/>
                  <a:pt x="38" y="375"/>
                  <a:pt x="38" y="375"/>
                </a:cubicBezTo>
                <a:cubicBezTo>
                  <a:pt x="39" y="376"/>
                  <a:pt x="39" y="376"/>
                  <a:pt x="39" y="376"/>
                </a:cubicBezTo>
                <a:cubicBezTo>
                  <a:pt x="41" y="375"/>
                  <a:pt x="41" y="375"/>
                  <a:pt x="41" y="375"/>
                </a:cubicBezTo>
                <a:cubicBezTo>
                  <a:pt x="42" y="376"/>
                  <a:pt x="42" y="376"/>
                  <a:pt x="42" y="376"/>
                </a:cubicBezTo>
                <a:cubicBezTo>
                  <a:pt x="42" y="375"/>
                  <a:pt x="42" y="375"/>
                  <a:pt x="42" y="375"/>
                </a:cubicBezTo>
                <a:cubicBezTo>
                  <a:pt x="41" y="375"/>
                  <a:pt x="41" y="375"/>
                  <a:pt x="41" y="375"/>
                </a:cubicBezTo>
                <a:cubicBezTo>
                  <a:pt x="40" y="375"/>
                  <a:pt x="40" y="375"/>
                  <a:pt x="40" y="375"/>
                </a:cubicBezTo>
                <a:cubicBezTo>
                  <a:pt x="39" y="374"/>
                  <a:pt x="39" y="374"/>
                  <a:pt x="39" y="374"/>
                </a:cubicBezTo>
                <a:cubicBezTo>
                  <a:pt x="38" y="373"/>
                  <a:pt x="38" y="373"/>
                  <a:pt x="38" y="373"/>
                </a:cubicBezTo>
                <a:cubicBezTo>
                  <a:pt x="38" y="373"/>
                  <a:pt x="38" y="373"/>
                  <a:pt x="38" y="373"/>
                </a:cubicBezTo>
                <a:cubicBezTo>
                  <a:pt x="38" y="372"/>
                  <a:pt x="38" y="372"/>
                  <a:pt x="38" y="372"/>
                </a:cubicBezTo>
                <a:cubicBezTo>
                  <a:pt x="39" y="371"/>
                  <a:pt x="39" y="371"/>
                  <a:pt x="39" y="371"/>
                </a:cubicBezTo>
                <a:cubicBezTo>
                  <a:pt x="40" y="370"/>
                  <a:pt x="40" y="370"/>
                  <a:pt x="40" y="370"/>
                </a:cubicBezTo>
                <a:cubicBezTo>
                  <a:pt x="40" y="369"/>
                  <a:pt x="40" y="369"/>
                  <a:pt x="40" y="369"/>
                </a:cubicBezTo>
                <a:cubicBezTo>
                  <a:pt x="39" y="369"/>
                  <a:pt x="39" y="369"/>
                  <a:pt x="39" y="369"/>
                </a:cubicBezTo>
                <a:cubicBezTo>
                  <a:pt x="38" y="370"/>
                  <a:pt x="38" y="370"/>
                  <a:pt x="38" y="370"/>
                </a:cubicBezTo>
                <a:cubicBezTo>
                  <a:pt x="37" y="371"/>
                  <a:pt x="37" y="371"/>
                  <a:pt x="37" y="371"/>
                </a:cubicBezTo>
                <a:cubicBezTo>
                  <a:pt x="35" y="372"/>
                  <a:pt x="35" y="372"/>
                  <a:pt x="35" y="372"/>
                </a:cubicBezTo>
                <a:cubicBezTo>
                  <a:pt x="34" y="373"/>
                  <a:pt x="34" y="373"/>
                  <a:pt x="34" y="373"/>
                </a:cubicBezTo>
                <a:cubicBezTo>
                  <a:pt x="34" y="374"/>
                  <a:pt x="34" y="374"/>
                  <a:pt x="34" y="374"/>
                </a:cubicBezTo>
                <a:cubicBezTo>
                  <a:pt x="33" y="374"/>
                  <a:pt x="33" y="374"/>
                  <a:pt x="33" y="374"/>
                </a:cubicBezTo>
                <a:cubicBezTo>
                  <a:pt x="32" y="372"/>
                  <a:pt x="32" y="372"/>
                  <a:pt x="32" y="372"/>
                </a:cubicBezTo>
                <a:cubicBezTo>
                  <a:pt x="32" y="370"/>
                  <a:pt x="32" y="370"/>
                  <a:pt x="32" y="370"/>
                </a:cubicBezTo>
                <a:cubicBezTo>
                  <a:pt x="32" y="367"/>
                  <a:pt x="32" y="367"/>
                  <a:pt x="32" y="367"/>
                </a:cubicBezTo>
                <a:cubicBezTo>
                  <a:pt x="32" y="365"/>
                  <a:pt x="32" y="365"/>
                  <a:pt x="32" y="365"/>
                </a:cubicBezTo>
                <a:cubicBezTo>
                  <a:pt x="32" y="364"/>
                  <a:pt x="32" y="364"/>
                  <a:pt x="32" y="364"/>
                </a:cubicBezTo>
                <a:cubicBezTo>
                  <a:pt x="31" y="364"/>
                  <a:pt x="31" y="364"/>
                  <a:pt x="31" y="364"/>
                </a:cubicBezTo>
                <a:cubicBezTo>
                  <a:pt x="31" y="362"/>
                  <a:pt x="31" y="362"/>
                  <a:pt x="31" y="362"/>
                </a:cubicBezTo>
                <a:cubicBezTo>
                  <a:pt x="32" y="361"/>
                  <a:pt x="32" y="361"/>
                  <a:pt x="32" y="361"/>
                </a:cubicBezTo>
                <a:cubicBezTo>
                  <a:pt x="32" y="362"/>
                  <a:pt x="32" y="362"/>
                  <a:pt x="32" y="362"/>
                </a:cubicBezTo>
                <a:cubicBezTo>
                  <a:pt x="33" y="362"/>
                  <a:pt x="33" y="362"/>
                  <a:pt x="33" y="362"/>
                </a:cubicBezTo>
                <a:cubicBezTo>
                  <a:pt x="33" y="361"/>
                  <a:pt x="33" y="361"/>
                  <a:pt x="33" y="361"/>
                </a:cubicBezTo>
                <a:cubicBezTo>
                  <a:pt x="34" y="360"/>
                  <a:pt x="34" y="360"/>
                  <a:pt x="34" y="360"/>
                </a:cubicBezTo>
                <a:cubicBezTo>
                  <a:pt x="35" y="358"/>
                  <a:pt x="35" y="358"/>
                  <a:pt x="35" y="358"/>
                </a:cubicBezTo>
                <a:cubicBezTo>
                  <a:pt x="36" y="358"/>
                  <a:pt x="36" y="358"/>
                  <a:pt x="36" y="358"/>
                </a:cubicBezTo>
                <a:cubicBezTo>
                  <a:pt x="37" y="358"/>
                  <a:pt x="37" y="358"/>
                  <a:pt x="37" y="358"/>
                </a:cubicBezTo>
                <a:cubicBezTo>
                  <a:pt x="38" y="358"/>
                  <a:pt x="38" y="358"/>
                  <a:pt x="38" y="358"/>
                </a:cubicBezTo>
                <a:cubicBezTo>
                  <a:pt x="37" y="357"/>
                  <a:pt x="37" y="357"/>
                  <a:pt x="37" y="357"/>
                </a:cubicBezTo>
                <a:cubicBezTo>
                  <a:pt x="37" y="357"/>
                  <a:pt x="37" y="357"/>
                  <a:pt x="37" y="357"/>
                </a:cubicBezTo>
                <a:cubicBezTo>
                  <a:pt x="39" y="355"/>
                  <a:pt x="39" y="355"/>
                  <a:pt x="39" y="355"/>
                </a:cubicBezTo>
                <a:cubicBezTo>
                  <a:pt x="39" y="354"/>
                  <a:pt x="39" y="354"/>
                  <a:pt x="39" y="354"/>
                </a:cubicBezTo>
                <a:cubicBezTo>
                  <a:pt x="41" y="353"/>
                  <a:pt x="41" y="353"/>
                  <a:pt x="41" y="353"/>
                </a:cubicBezTo>
                <a:cubicBezTo>
                  <a:pt x="41" y="352"/>
                  <a:pt x="41" y="352"/>
                  <a:pt x="41" y="352"/>
                </a:cubicBezTo>
                <a:cubicBezTo>
                  <a:pt x="40" y="352"/>
                  <a:pt x="40" y="352"/>
                  <a:pt x="40" y="352"/>
                </a:cubicBezTo>
                <a:cubicBezTo>
                  <a:pt x="40" y="352"/>
                  <a:pt x="40" y="352"/>
                  <a:pt x="40" y="352"/>
                </a:cubicBezTo>
                <a:cubicBezTo>
                  <a:pt x="38" y="353"/>
                  <a:pt x="38" y="353"/>
                  <a:pt x="38" y="353"/>
                </a:cubicBezTo>
                <a:cubicBezTo>
                  <a:pt x="38" y="354"/>
                  <a:pt x="38" y="354"/>
                  <a:pt x="38" y="354"/>
                </a:cubicBezTo>
                <a:cubicBezTo>
                  <a:pt x="36" y="357"/>
                  <a:pt x="36" y="357"/>
                  <a:pt x="36" y="357"/>
                </a:cubicBezTo>
                <a:cubicBezTo>
                  <a:pt x="36" y="357"/>
                  <a:pt x="36" y="357"/>
                  <a:pt x="36" y="357"/>
                </a:cubicBezTo>
                <a:cubicBezTo>
                  <a:pt x="36" y="356"/>
                  <a:pt x="36" y="356"/>
                  <a:pt x="36" y="356"/>
                </a:cubicBezTo>
                <a:cubicBezTo>
                  <a:pt x="37" y="354"/>
                  <a:pt x="37" y="354"/>
                  <a:pt x="37" y="354"/>
                </a:cubicBezTo>
                <a:cubicBezTo>
                  <a:pt x="37" y="352"/>
                  <a:pt x="37" y="352"/>
                  <a:pt x="37" y="352"/>
                </a:cubicBezTo>
                <a:cubicBezTo>
                  <a:pt x="39" y="349"/>
                  <a:pt x="39" y="349"/>
                  <a:pt x="39" y="349"/>
                </a:cubicBezTo>
                <a:cubicBezTo>
                  <a:pt x="40" y="347"/>
                  <a:pt x="40" y="347"/>
                  <a:pt x="40" y="347"/>
                </a:cubicBezTo>
                <a:cubicBezTo>
                  <a:pt x="39" y="347"/>
                  <a:pt x="39" y="347"/>
                  <a:pt x="39" y="347"/>
                </a:cubicBezTo>
                <a:cubicBezTo>
                  <a:pt x="39" y="347"/>
                  <a:pt x="39" y="347"/>
                  <a:pt x="39" y="347"/>
                </a:cubicBezTo>
                <a:cubicBezTo>
                  <a:pt x="39" y="346"/>
                  <a:pt x="39" y="346"/>
                  <a:pt x="39" y="346"/>
                </a:cubicBezTo>
                <a:cubicBezTo>
                  <a:pt x="40" y="346"/>
                  <a:pt x="40" y="346"/>
                  <a:pt x="40" y="346"/>
                </a:cubicBezTo>
                <a:cubicBezTo>
                  <a:pt x="40" y="345"/>
                  <a:pt x="40" y="345"/>
                  <a:pt x="40" y="345"/>
                </a:cubicBezTo>
                <a:cubicBezTo>
                  <a:pt x="40" y="345"/>
                  <a:pt x="40" y="345"/>
                  <a:pt x="40" y="345"/>
                </a:cubicBezTo>
                <a:cubicBezTo>
                  <a:pt x="40" y="344"/>
                  <a:pt x="40" y="344"/>
                  <a:pt x="40" y="344"/>
                </a:cubicBezTo>
                <a:cubicBezTo>
                  <a:pt x="39" y="344"/>
                  <a:pt x="39" y="344"/>
                  <a:pt x="39" y="344"/>
                </a:cubicBezTo>
                <a:cubicBezTo>
                  <a:pt x="39" y="342"/>
                  <a:pt x="39" y="342"/>
                  <a:pt x="39" y="342"/>
                </a:cubicBezTo>
                <a:cubicBezTo>
                  <a:pt x="38" y="341"/>
                  <a:pt x="38" y="341"/>
                  <a:pt x="38" y="341"/>
                </a:cubicBezTo>
                <a:cubicBezTo>
                  <a:pt x="37" y="340"/>
                  <a:pt x="37" y="340"/>
                  <a:pt x="37" y="340"/>
                </a:cubicBezTo>
                <a:cubicBezTo>
                  <a:pt x="36" y="340"/>
                  <a:pt x="36" y="340"/>
                  <a:pt x="36" y="340"/>
                </a:cubicBezTo>
                <a:cubicBezTo>
                  <a:pt x="36" y="339"/>
                  <a:pt x="36" y="339"/>
                  <a:pt x="36" y="339"/>
                </a:cubicBezTo>
                <a:cubicBezTo>
                  <a:pt x="35" y="337"/>
                  <a:pt x="35" y="337"/>
                  <a:pt x="35" y="337"/>
                </a:cubicBezTo>
                <a:cubicBezTo>
                  <a:pt x="34" y="337"/>
                  <a:pt x="34" y="337"/>
                  <a:pt x="34" y="337"/>
                </a:cubicBezTo>
                <a:cubicBezTo>
                  <a:pt x="33" y="337"/>
                  <a:pt x="33" y="337"/>
                  <a:pt x="33" y="337"/>
                </a:cubicBezTo>
                <a:cubicBezTo>
                  <a:pt x="33" y="336"/>
                  <a:pt x="33" y="336"/>
                  <a:pt x="33" y="336"/>
                </a:cubicBezTo>
                <a:cubicBezTo>
                  <a:pt x="33" y="336"/>
                  <a:pt x="33" y="336"/>
                  <a:pt x="33" y="336"/>
                </a:cubicBezTo>
                <a:cubicBezTo>
                  <a:pt x="33" y="335"/>
                  <a:pt x="33" y="335"/>
                  <a:pt x="33" y="335"/>
                </a:cubicBezTo>
                <a:cubicBezTo>
                  <a:pt x="33" y="334"/>
                  <a:pt x="33" y="334"/>
                  <a:pt x="33" y="334"/>
                </a:cubicBezTo>
                <a:cubicBezTo>
                  <a:pt x="32" y="334"/>
                  <a:pt x="32" y="334"/>
                  <a:pt x="32" y="334"/>
                </a:cubicBezTo>
                <a:cubicBezTo>
                  <a:pt x="33" y="333"/>
                  <a:pt x="33" y="333"/>
                  <a:pt x="33" y="333"/>
                </a:cubicBezTo>
                <a:cubicBezTo>
                  <a:pt x="33" y="333"/>
                  <a:pt x="33" y="333"/>
                  <a:pt x="33" y="333"/>
                </a:cubicBezTo>
                <a:cubicBezTo>
                  <a:pt x="33" y="332"/>
                  <a:pt x="33" y="332"/>
                  <a:pt x="33" y="332"/>
                </a:cubicBezTo>
                <a:cubicBezTo>
                  <a:pt x="32" y="332"/>
                  <a:pt x="32" y="332"/>
                  <a:pt x="32" y="332"/>
                </a:cubicBezTo>
                <a:cubicBezTo>
                  <a:pt x="32" y="332"/>
                  <a:pt x="32" y="332"/>
                  <a:pt x="32" y="332"/>
                </a:cubicBezTo>
                <a:cubicBezTo>
                  <a:pt x="32" y="331"/>
                  <a:pt x="32" y="331"/>
                  <a:pt x="32" y="331"/>
                </a:cubicBezTo>
                <a:cubicBezTo>
                  <a:pt x="33" y="330"/>
                  <a:pt x="33" y="330"/>
                  <a:pt x="33" y="330"/>
                </a:cubicBezTo>
                <a:cubicBezTo>
                  <a:pt x="33" y="326"/>
                  <a:pt x="33" y="326"/>
                  <a:pt x="33" y="326"/>
                </a:cubicBezTo>
                <a:cubicBezTo>
                  <a:pt x="33" y="321"/>
                  <a:pt x="33" y="321"/>
                  <a:pt x="33" y="321"/>
                </a:cubicBezTo>
                <a:cubicBezTo>
                  <a:pt x="33" y="318"/>
                  <a:pt x="33" y="318"/>
                  <a:pt x="33" y="318"/>
                </a:cubicBezTo>
                <a:cubicBezTo>
                  <a:pt x="33" y="317"/>
                  <a:pt x="33" y="317"/>
                  <a:pt x="33" y="317"/>
                </a:cubicBezTo>
                <a:cubicBezTo>
                  <a:pt x="33" y="316"/>
                  <a:pt x="33" y="316"/>
                  <a:pt x="33" y="316"/>
                </a:cubicBezTo>
                <a:cubicBezTo>
                  <a:pt x="33" y="314"/>
                  <a:pt x="33" y="314"/>
                  <a:pt x="33" y="314"/>
                </a:cubicBezTo>
                <a:cubicBezTo>
                  <a:pt x="33" y="313"/>
                  <a:pt x="33" y="313"/>
                  <a:pt x="33" y="313"/>
                </a:cubicBezTo>
                <a:cubicBezTo>
                  <a:pt x="32" y="312"/>
                  <a:pt x="32" y="312"/>
                  <a:pt x="32" y="312"/>
                </a:cubicBezTo>
                <a:cubicBezTo>
                  <a:pt x="32" y="310"/>
                  <a:pt x="32" y="310"/>
                  <a:pt x="32" y="310"/>
                </a:cubicBezTo>
                <a:cubicBezTo>
                  <a:pt x="31" y="308"/>
                  <a:pt x="31" y="308"/>
                  <a:pt x="31" y="308"/>
                </a:cubicBezTo>
                <a:cubicBezTo>
                  <a:pt x="30" y="306"/>
                  <a:pt x="30" y="306"/>
                  <a:pt x="30" y="306"/>
                </a:cubicBezTo>
                <a:cubicBezTo>
                  <a:pt x="31" y="305"/>
                  <a:pt x="31" y="305"/>
                  <a:pt x="31" y="305"/>
                </a:cubicBezTo>
                <a:cubicBezTo>
                  <a:pt x="29" y="301"/>
                  <a:pt x="29" y="301"/>
                  <a:pt x="29" y="301"/>
                </a:cubicBezTo>
                <a:cubicBezTo>
                  <a:pt x="30" y="301"/>
                  <a:pt x="30" y="301"/>
                  <a:pt x="30" y="301"/>
                </a:cubicBezTo>
                <a:cubicBezTo>
                  <a:pt x="31" y="299"/>
                  <a:pt x="31" y="299"/>
                  <a:pt x="31" y="299"/>
                </a:cubicBezTo>
                <a:cubicBezTo>
                  <a:pt x="30" y="298"/>
                  <a:pt x="30" y="298"/>
                  <a:pt x="30" y="298"/>
                </a:cubicBezTo>
                <a:cubicBezTo>
                  <a:pt x="30" y="297"/>
                  <a:pt x="30" y="297"/>
                  <a:pt x="30" y="297"/>
                </a:cubicBezTo>
                <a:cubicBezTo>
                  <a:pt x="29" y="296"/>
                  <a:pt x="29" y="296"/>
                  <a:pt x="29" y="296"/>
                </a:cubicBezTo>
                <a:cubicBezTo>
                  <a:pt x="27" y="296"/>
                  <a:pt x="27" y="296"/>
                  <a:pt x="27" y="296"/>
                </a:cubicBezTo>
                <a:cubicBezTo>
                  <a:pt x="25" y="296"/>
                  <a:pt x="25" y="296"/>
                  <a:pt x="25" y="296"/>
                </a:cubicBezTo>
                <a:cubicBezTo>
                  <a:pt x="24" y="297"/>
                  <a:pt x="24" y="297"/>
                  <a:pt x="24" y="297"/>
                </a:cubicBezTo>
                <a:cubicBezTo>
                  <a:pt x="22" y="297"/>
                  <a:pt x="22" y="297"/>
                  <a:pt x="22" y="297"/>
                </a:cubicBezTo>
                <a:cubicBezTo>
                  <a:pt x="21" y="299"/>
                  <a:pt x="21" y="299"/>
                  <a:pt x="21" y="299"/>
                </a:cubicBezTo>
                <a:cubicBezTo>
                  <a:pt x="19" y="301"/>
                  <a:pt x="19" y="301"/>
                  <a:pt x="19" y="301"/>
                </a:cubicBezTo>
                <a:cubicBezTo>
                  <a:pt x="17" y="302"/>
                  <a:pt x="17" y="302"/>
                  <a:pt x="17" y="302"/>
                </a:cubicBezTo>
                <a:cubicBezTo>
                  <a:pt x="15" y="303"/>
                  <a:pt x="15" y="303"/>
                  <a:pt x="15" y="303"/>
                </a:cubicBezTo>
                <a:cubicBezTo>
                  <a:pt x="13" y="303"/>
                  <a:pt x="13" y="303"/>
                  <a:pt x="13" y="303"/>
                </a:cubicBezTo>
                <a:cubicBezTo>
                  <a:pt x="13" y="303"/>
                  <a:pt x="13" y="303"/>
                  <a:pt x="13" y="303"/>
                </a:cubicBezTo>
                <a:cubicBezTo>
                  <a:pt x="13" y="302"/>
                  <a:pt x="13" y="302"/>
                  <a:pt x="13" y="302"/>
                </a:cubicBezTo>
                <a:cubicBezTo>
                  <a:pt x="14" y="300"/>
                  <a:pt x="14" y="300"/>
                  <a:pt x="14" y="300"/>
                </a:cubicBezTo>
                <a:cubicBezTo>
                  <a:pt x="13" y="299"/>
                  <a:pt x="13" y="299"/>
                  <a:pt x="13" y="299"/>
                </a:cubicBezTo>
                <a:cubicBezTo>
                  <a:pt x="11" y="292"/>
                  <a:pt x="11" y="292"/>
                  <a:pt x="11" y="292"/>
                </a:cubicBezTo>
                <a:cubicBezTo>
                  <a:pt x="10" y="288"/>
                  <a:pt x="10" y="288"/>
                  <a:pt x="10" y="288"/>
                </a:cubicBezTo>
                <a:cubicBezTo>
                  <a:pt x="10" y="287"/>
                  <a:pt x="10" y="287"/>
                  <a:pt x="10" y="287"/>
                </a:cubicBezTo>
                <a:cubicBezTo>
                  <a:pt x="11" y="284"/>
                  <a:pt x="11" y="284"/>
                  <a:pt x="11" y="284"/>
                </a:cubicBezTo>
                <a:cubicBezTo>
                  <a:pt x="8" y="284"/>
                  <a:pt x="8" y="284"/>
                  <a:pt x="8" y="284"/>
                </a:cubicBezTo>
                <a:cubicBezTo>
                  <a:pt x="5" y="285"/>
                  <a:pt x="5" y="285"/>
                  <a:pt x="5" y="285"/>
                </a:cubicBezTo>
                <a:cubicBezTo>
                  <a:pt x="4" y="284"/>
                  <a:pt x="4" y="284"/>
                  <a:pt x="4" y="284"/>
                </a:cubicBezTo>
                <a:cubicBezTo>
                  <a:pt x="0" y="284"/>
                  <a:pt x="0" y="284"/>
                  <a:pt x="0" y="284"/>
                </a:cubicBezTo>
                <a:cubicBezTo>
                  <a:pt x="73" y="151"/>
                  <a:pt x="73" y="151"/>
                  <a:pt x="73" y="151"/>
                </a:cubicBezTo>
                <a:cubicBezTo>
                  <a:pt x="73" y="152"/>
                  <a:pt x="73" y="152"/>
                  <a:pt x="73" y="152"/>
                </a:cubicBezTo>
                <a:cubicBezTo>
                  <a:pt x="74" y="152"/>
                  <a:pt x="74" y="152"/>
                  <a:pt x="74" y="152"/>
                </a:cubicBezTo>
                <a:cubicBezTo>
                  <a:pt x="77" y="155"/>
                  <a:pt x="77" y="155"/>
                  <a:pt x="77" y="155"/>
                </a:cubicBezTo>
                <a:cubicBezTo>
                  <a:pt x="78" y="155"/>
                  <a:pt x="78" y="155"/>
                  <a:pt x="78" y="155"/>
                </a:cubicBezTo>
                <a:cubicBezTo>
                  <a:pt x="80" y="156"/>
                  <a:pt x="80" y="156"/>
                  <a:pt x="80" y="156"/>
                </a:cubicBezTo>
                <a:cubicBezTo>
                  <a:pt x="80" y="157"/>
                  <a:pt x="80" y="157"/>
                  <a:pt x="80" y="157"/>
                </a:cubicBezTo>
                <a:cubicBezTo>
                  <a:pt x="80" y="157"/>
                  <a:pt x="80" y="157"/>
                  <a:pt x="80" y="157"/>
                </a:cubicBezTo>
                <a:cubicBezTo>
                  <a:pt x="82" y="158"/>
                  <a:pt x="82" y="158"/>
                  <a:pt x="82" y="158"/>
                </a:cubicBezTo>
                <a:cubicBezTo>
                  <a:pt x="82" y="159"/>
                  <a:pt x="82" y="159"/>
                  <a:pt x="82" y="159"/>
                </a:cubicBezTo>
                <a:cubicBezTo>
                  <a:pt x="83" y="160"/>
                  <a:pt x="83" y="160"/>
                  <a:pt x="83" y="160"/>
                </a:cubicBezTo>
                <a:cubicBezTo>
                  <a:pt x="83" y="161"/>
                  <a:pt x="83" y="161"/>
                  <a:pt x="83" y="161"/>
                </a:cubicBezTo>
                <a:cubicBezTo>
                  <a:pt x="83" y="161"/>
                  <a:pt x="83" y="161"/>
                  <a:pt x="83" y="161"/>
                </a:cubicBezTo>
                <a:cubicBezTo>
                  <a:pt x="82" y="163"/>
                  <a:pt x="82" y="163"/>
                  <a:pt x="82" y="163"/>
                </a:cubicBezTo>
                <a:cubicBezTo>
                  <a:pt x="83" y="164"/>
                  <a:pt x="83" y="164"/>
                  <a:pt x="83" y="164"/>
                </a:cubicBezTo>
                <a:cubicBezTo>
                  <a:pt x="83" y="164"/>
                  <a:pt x="83" y="164"/>
                  <a:pt x="83" y="164"/>
                </a:cubicBezTo>
                <a:cubicBezTo>
                  <a:pt x="84" y="164"/>
                  <a:pt x="84" y="164"/>
                  <a:pt x="84" y="164"/>
                </a:cubicBezTo>
                <a:cubicBezTo>
                  <a:pt x="84" y="164"/>
                  <a:pt x="84" y="164"/>
                  <a:pt x="84" y="164"/>
                </a:cubicBezTo>
                <a:cubicBezTo>
                  <a:pt x="84" y="166"/>
                  <a:pt x="84" y="166"/>
                  <a:pt x="84" y="166"/>
                </a:cubicBezTo>
                <a:cubicBezTo>
                  <a:pt x="85" y="168"/>
                  <a:pt x="85" y="168"/>
                  <a:pt x="85" y="168"/>
                </a:cubicBezTo>
                <a:cubicBezTo>
                  <a:pt x="87" y="170"/>
                  <a:pt x="87" y="170"/>
                  <a:pt x="87" y="170"/>
                </a:cubicBezTo>
                <a:cubicBezTo>
                  <a:pt x="88" y="171"/>
                  <a:pt x="88" y="171"/>
                  <a:pt x="88" y="171"/>
                </a:cubicBezTo>
                <a:cubicBezTo>
                  <a:pt x="88" y="171"/>
                  <a:pt x="88" y="171"/>
                  <a:pt x="88" y="171"/>
                </a:cubicBezTo>
                <a:cubicBezTo>
                  <a:pt x="89" y="171"/>
                  <a:pt x="89" y="171"/>
                  <a:pt x="89" y="171"/>
                </a:cubicBezTo>
                <a:cubicBezTo>
                  <a:pt x="89" y="172"/>
                  <a:pt x="89" y="172"/>
                  <a:pt x="89" y="172"/>
                </a:cubicBezTo>
                <a:cubicBezTo>
                  <a:pt x="90" y="172"/>
                  <a:pt x="90" y="172"/>
                  <a:pt x="90" y="172"/>
                </a:cubicBezTo>
                <a:cubicBezTo>
                  <a:pt x="91" y="172"/>
                  <a:pt x="91" y="172"/>
                  <a:pt x="91" y="172"/>
                </a:cubicBezTo>
                <a:cubicBezTo>
                  <a:pt x="92" y="174"/>
                  <a:pt x="92" y="174"/>
                  <a:pt x="92" y="174"/>
                </a:cubicBezTo>
                <a:cubicBezTo>
                  <a:pt x="92" y="176"/>
                  <a:pt x="92" y="176"/>
                  <a:pt x="92" y="176"/>
                </a:cubicBezTo>
                <a:cubicBezTo>
                  <a:pt x="93" y="176"/>
                  <a:pt x="93" y="176"/>
                  <a:pt x="93" y="176"/>
                </a:cubicBezTo>
                <a:cubicBezTo>
                  <a:pt x="93" y="177"/>
                  <a:pt x="93" y="177"/>
                  <a:pt x="93" y="177"/>
                </a:cubicBezTo>
                <a:cubicBezTo>
                  <a:pt x="94" y="177"/>
                  <a:pt x="94" y="177"/>
                  <a:pt x="94" y="177"/>
                </a:cubicBezTo>
                <a:cubicBezTo>
                  <a:pt x="96" y="179"/>
                  <a:pt x="96" y="179"/>
                  <a:pt x="96" y="179"/>
                </a:cubicBezTo>
                <a:cubicBezTo>
                  <a:pt x="96" y="180"/>
                  <a:pt x="96" y="180"/>
                  <a:pt x="96" y="180"/>
                </a:cubicBezTo>
                <a:cubicBezTo>
                  <a:pt x="96" y="180"/>
                  <a:pt x="96" y="180"/>
                  <a:pt x="96" y="180"/>
                </a:cubicBezTo>
                <a:cubicBezTo>
                  <a:pt x="96" y="181"/>
                  <a:pt x="96" y="181"/>
                  <a:pt x="96" y="181"/>
                </a:cubicBezTo>
                <a:cubicBezTo>
                  <a:pt x="95" y="183"/>
                  <a:pt x="95" y="183"/>
                  <a:pt x="95" y="183"/>
                </a:cubicBezTo>
                <a:cubicBezTo>
                  <a:pt x="94" y="184"/>
                  <a:pt x="94" y="184"/>
                  <a:pt x="94" y="184"/>
                </a:cubicBezTo>
                <a:cubicBezTo>
                  <a:pt x="97" y="182"/>
                  <a:pt x="97" y="182"/>
                  <a:pt x="97" y="182"/>
                </a:cubicBezTo>
                <a:cubicBezTo>
                  <a:pt x="98" y="181"/>
                  <a:pt x="98" y="181"/>
                  <a:pt x="98" y="181"/>
                </a:cubicBezTo>
                <a:cubicBezTo>
                  <a:pt x="98" y="181"/>
                  <a:pt x="98" y="181"/>
                  <a:pt x="98" y="181"/>
                </a:cubicBezTo>
                <a:cubicBezTo>
                  <a:pt x="98" y="180"/>
                  <a:pt x="98" y="180"/>
                  <a:pt x="98" y="180"/>
                </a:cubicBezTo>
                <a:cubicBezTo>
                  <a:pt x="98" y="176"/>
                  <a:pt x="98" y="176"/>
                  <a:pt x="98" y="176"/>
                </a:cubicBezTo>
                <a:cubicBezTo>
                  <a:pt x="98" y="174"/>
                  <a:pt x="98" y="174"/>
                  <a:pt x="98" y="174"/>
                </a:cubicBezTo>
                <a:cubicBezTo>
                  <a:pt x="99" y="173"/>
                  <a:pt x="99" y="173"/>
                  <a:pt x="99" y="173"/>
                </a:cubicBezTo>
                <a:cubicBezTo>
                  <a:pt x="101" y="172"/>
                  <a:pt x="101" y="172"/>
                  <a:pt x="101" y="172"/>
                </a:cubicBezTo>
                <a:cubicBezTo>
                  <a:pt x="103" y="171"/>
                  <a:pt x="103" y="171"/>
                  <a:pt x="103" y="171"/>
                </a:cubicBezTo>
                <a:cubicBezTo>
                  <a:pt x="104" y="170"/>
                  <a:pt x="104" y="170"/>
                  <a:pt x="104" y="170"/>
                </a:cubicBezTo>
                <a:cubicBezTo>
                  <a:pt x="105" y="170"/>
                  <a:pt x="105" y="170"/>
                  <a:pt x="105" y="170"/>
                </a:cubicBezTo>
                <a:cubicBezTo>
                  <a:pt x="106" y="169"/>
                  <a:pt x="106" y="169"/>
                  <a:pt x="106" y="169"/>
                </a:cubicBezTo>
                <a:cubicBezTo>
                  <a:pt x="106" y="169"/>
                  <a:pt x="106" y="169"/>
                  <a:pt x="106" y="169"/>
                </a:cubicBezTo>
                <a:cubicBezTo>
                  <a:pt x="107" y="169"/>
                  <a:pt x="107" y="169"/>
                  <a:pt x="107" y="169"/>
                </a:cubicBezTo>
                <a:cubicBezTo>
                  <a:pt x="109" y="169"/>
                  <a:pt x="109" y="169"/>
                  <a:pt x="109" y="169"/>
                </a:cubicBezTo>
                <a:cubicBezTo>
                  <a:pt x="109" y="169"/>
                  <a:pt x="109" y="169"/>
                  <a:pt x="109" y="169"/>
                </a:cubicBezTo>
                <a:cubicBezTo>
                  <a:pt x="110" y="169"/>
                  <a:pt x="110" y="169"/>
                  <a:pt x="110" y="169"/>
                </a:cubicBezTo>
                <a:cubicBezTo>
                  <a:pt x="111" y="169"/>
                  <a:pt x="111" y="169"/>
                  <a:pt x="111" y="169"/>
                </a:cubicBezTo>
                <a:cubicBezTo>
                  <a:pt x="112" y="168"/>
                  <a:pt x="112" y="168"/>
                  <a:pt x="112" y="168"/>
                </a:cubicBezTo>
                <a:cubicBezTo>
                  <a:pt x="113" y="166"/>
                  <a:pt x="113" y="166"/>
                  <a:pt x="113" y="166"/>
                </a:cubicBezTo>
                <a:cubicBezTo>
                  <a:pt x="114" y="166"/>
                  <a:pt x="114" y="166"/>
                  <a:pt x="114" y="166"/>
                </a:cubicBezTo>
                <a:cubicBezTo>
                  <a:pt x="115" y="166"/>
                  <a:pt x="115" y="166"/>
                  <a:pt x="115" y="166"/>
                </a:cubicBezTo>
                <a:cubicBezTo>
                  <a:pt x="116" y="166"/>
                  <a:pt x="116" y="166"/>
                  <a:pt x="116" y="166"/>
                </a:cubicBezTo>
                <a:cubicBezTo>
                  <a:pt x="115" y="165"/>
                  <a:pt x="115" y="165"/>
                  <a:pt x="115" y="165"/>
                </a:cubicBezTo>
                <a:cubicBezTo>
                  <a:pt x="116" y="165"/>
                  <a:pt x="116" y="165"/>
                  <a:pt x="116" y="165"/>
                </a:cubicBezTo>
                <a:cubicBezTo>
                  <a:pt x="117" y="166"/>
                  <a:pt x="117" y="166"/>
                  <a:pt x="117" y="166"/>
                </a:cubicBezTo>
                <a:cubicBezTo>
                  <a:pt x="120" y="166"/>
                  <a:pt x="120" y="166"/>
                  <a:pt x="120" y="166"/>
                </a:cubicBezTo>
                <a:cubicBezTo>
                  <a:pt x="123" y="165"/>
                  <a:pt x="123" y="165"/>
                  <a:pt x="123" y="165"/>
                </a:cubicBezTo>
                <a:cubicBezTo>
                  <a:pt x="125" y="164"/>
                  <a:pt x="125" y="164"/>
                  <a:pt x="125" y="164"/>
                </a:cubicBezTo>
                <a:cubicBezTo>
                  <a:pt x="125" y="164"/>
                  <a:pt x="125" y="164"/>
                  <a:pt x="125" y="164"/>
                </a:cubicBezTo>
                <a:cubicBezTo>
                  <a:pt x="126" y="165"/>
                  <a:pt x="126" y="165"/>
                  <a:pt x="126" y="165"/>
                </a:cubicBezTo>
                <a:cubicBezTo>
                  <a:pt x="127" y="165"/>
                  <a:pt x="127" y="165"/>
                  <a:pt x="127" y="165"/>
                </a:cubicBezTo>
                <a:cubicBezTo>
                  <a:pt x="127" y="163"/>
                  <a:pt x="127" y="163"/>
                  <a:pt x="127" y="163"/>
                </a:cubicBezTo>
                <a:cubicBezTo>
                  <a:pt x="129" y="162"/>
                  <a:pt x="129" y="162"/>
                  <a:pt x="129" y="162"/>
                </a:cubicBezTo>
                <a:cubicBezTo>
                  <a:pt x="130" y="162"/>
                  <a:pt x="130" y="162"/>
                  <a:pt x="130" y="162"/>
                </a:cubicBezTo>
                <a:cubicBezTo>
                  <a:pt x="131" y="163"/>
                  <a:pt x="131" y="163"/>
                  <a:pt x="131" y="163"/>
                </a:cubicBezTo>
                <a:cubicBezTo>
                  <a:pt x="131" y="163"/>
                  <a:pt x="131" y="163"/>
                  <a:pt x="131" y="163"/>
                </a:cubicBezTo>
                <a:cubicBezTo>
                  <a:pt x="132" y="164"/>
                  <a:pt x="132" y="164"/>
                  <a:pt x="132" y="164"/>
                </a:cubicBezTo>
                <a:cubicBezTo>
                  <a:pt x="133" y="163"/>
                  <a:pt x="133" y="163"/>
                  <a:pt x="133" y="163"/>
                </a:cubicBezTo>
                <a:cubicBezTo>
                  <a:pt x="133" y="162"/>
                  <a:pt x="133" y="162"/>
                  <a:pt x="133" y="162"/>
                </a:cubicBezTo>
                <a:cubicBezTo>
                  <a:pt x="133" y="162"/>
                  <a:pt x="133" y="162"/>
                  <a:pt x="133" y="162"/>
                </a:cubicBezTo>
                <a:cubicBezTo>
                  <a:pt x="134" y="162"/>
                  <a:pt x="134" y="162"/>
                  <a:pt x="134" y="162"/>
                </a:cubicBezTo>
                <a:cubicBezTo>
                  <a:pt x="134" y="164"/>
                  <a:pt x="134" y="164"/>
                  <a:pt x="134" y="164"/>
                </a:cubicBezTo>
                <a:cubicBezTo>
                  <a:pt x="135" y="164"/>
                  <a:pt x="135" y="164"/>
                  <a:pt x="135" y="164"/>
                </a:cubicBezTo>
                <a:cubicBezTo>
                  <a:pt x="134" y="165"/>
                  <a:pt x="134" y="165"/>
                  <a:pt x="134" y="165"/>
                </a:cubicBezTo>
                <a:cubicBezTo>
                  <a:pt x="134" y="165"/>
                  <a:pt x="134" y="165"/>
                  <a:pt x="134" y="165"/>
                </a:cubicBezTo>
                <a:cubicBezTo>
                  <a:pt x="133" y="166"/>
                  <a:pt x="133" y="166"/>
                  <a:pt x="133" y="166"/>
                </a:cubicBezTo>
                <a:cubicBezTo>
                  <a:pt x="131" y="167"/>
                  <a:pt x="131" y="167"/>
                  <a:pt x="131" y="167"/>
                </a:cubicBezTo>
                <a:cubicBezTo>
                  <a:pt x="128" y="167"/>
                  <a:pt x="128" y="167"/>
                  <a:pt x="128" y="167"/>
                </a:cubicBezTo>
                <a:cubicBezTo>
                  <a:pt x="127" y="168"/>
                  <a:pt x="127" y="168"/>
                  <a:pt x="127" y="168"/>
                </a:cubicBezTo>
                <a:cubicBezTo>
                  <a:pt x="126" y="169"/>
                  <a:pt x="126" y="169"/>
                  <a:pt x="126" y="169"/>
                </a:cubicBezTo>
                <a:cubicBezTo>
                  <a:pt x="125" y="169"/>
                  <a:pt x="125" y="169"/>
                  <a:pt x="125" y="169"/>
                </a:cubicBezTo>
                <a:cubicBezTo>
                  <a:pt x="124" y="169"/>
                  <a:pt x="124" y="169"/>
                  <a:pt x="124" y="169"/>
                </a:cubicBezTo>
                <a:cubicBezTo>
                  <a:pt x="123" y="169"/>
                  <a:pt x="123" y="169"/>
                  <a:pt x="123" y="169"/>
                </a:cubicBezTo>
                <a:cubicBezTo>
                  <a:pt x="123" y="169"/>
                  <a:pt x="123" y="169"/>
                  <a:pt x="123" y="169"/>
                </a:cubicBezTo>
                <a:cubicBezTo>
                  <a:pt x="121" y="169"/>
                  <a:pt x="121" y="169"/>
                  <a:pt x="121" y="169"/>
                </a:cubicBezTo>
                <a:cubicBezTo>
                  <a:pt x="119" y="169"/>
                  <a:pt x="119" y="169"/>
                  <a:pt x="119" y="169"/>
                </a:cubicBezTo>
                <a:cubicBezTo>
                  <a:pt x="119" y="170"/>
                  <a:pt x="119" y="170"/>
                  <a:pt x="119" y="170"/>
                </a:cubicBezTo>
                <a:cubicBezTo>
                  <a:pt x="116" y="170"/>
                  <a:pt x="116" y="170"/>
                  <a:pt x="116" y="170"/>
                </a:cubicBezTo>
                <a:cubicBezTo>
                  <a:pt x="115" y="170"/>
                  <a:pt x="115" y="170"/>
                  <a:pt x="115" y="170"/>
                </a:cubicBezTo>
                <a:cubicBezTo>
                  <a:pt x="114" y="172"/>
                  <a:pt x="114" y="172"/>
                  <a:pt x="114" y="172"/>
                </a:cubicBezTo>
                <a:cubicBezTo>
                  <a:pt x="111" y="173"/>
                  <a:pt x="111" y="173"/>
                  <a:pt x="111" y="173"/>
                </a:cubicBezTo>
                <a:cubicBezTo>
                  <a:pt x="111" y="172"/>
                  <a:pt x="111" y="172"/>
                  <a:pt x="111" y="172"/>
                </a:cubicBezTo>
                <a:cubicBezTo>
                  <a:pt x="109" y="173"/>
                  <a:pt x="109" y="173"/>
                  <a:pt x="109" y="173"/>
                </a:cubicBezTo>
                <a:cubicBezTo>
                  <a:pt x="109" y="174"/>
                  <a:pt x="109" y="174"/>
                  <a:pt x="109" y="174"/>
                </a:cubicBezTo>
                <a:cubicBezTo>
                  <a:pt x="108" y="175"/>
                  <a:pt x="108" y="175"/>
                  <a:pt x="108" y="175"/>
                </a:cubicBezTo>
                <a:cubicBezTo>
                  <a:pt x="108" y="174"/>
                  <a:pt x="108" y="174"/>
                  <a:pt x="108" y="174"/>
                </a:cubicBezTo>
                <a:cubicBezTo>
                  <a:pt x="107" y="175"/>
                  <a:pt x="107" y="175"/>
                  <a:pt x="107" y="175"/>
                </a:cubicBezTo>
                <a:cubicBezTo>
                  <a:pt x="106" y="176"/>
                  <a:pt x="106" y="176"/>
                  <a:pt x="106" y="176"/>
                </a:cubicBezTo>
                <a:cubicBezTo>
                  <a:pt x="105" y="176"/>
                  <a:pt x="105" y="176"/>
                  <a:pt x="105" y="176"/>
                </a:cubicBezTo>
                <a:cubicBezTo>
                  <a:pt x="104" y="177"/>
                  <a:pt x="104" y="177"/>
                  <a:pt x="104" y="177"/>
                </a:cubicBezTo>
                <a:cubicBezTo>
                  <a:pt x="105" y="179"/>
                  <a:pt x="105" y="179"/>
                  <a:pt x="105" y="179"/>
                </a:cubicBezTo>
                <a:cubicBezTo>
                  <a:pt x="107" y="180"/>
                  <a:pt x="107" y="180"/>
                  <a:pt x="107" y="180"/>
                </a:cubicBezTo>
                <a:cubicBezTo>
                  <a:pt x="105" y="178"/>
                  <a:pt x="105" y="178"/>
                  <a:pt x="105" y="178"/>
                </a:cubicBezTo>
                <a:cubicBezTo>
                  <a:pt x="105" y="178"/>
                  <a:pt x="105" y="178"/>
                  <a:pt x="105" y="178"/>
                </a:cubicBezTo>
                <a:cubicBezTo>
                  <a:pt x="107" y="178"/>
                  <a:pt x="107" y="178"/>
                  <a:pt x="107" y="178"/>
                </a:cubicBezTo>
                <a:cubicBezTo>
                  <a:pt x="107" y="178"/>
                  <a:pt x="107" y="178"/>
                  <a:pt x="107" y="178"/>
                </a:cubicBezTo>
                <a:cubicBezTo>
                  <a:pt x="108" y="178"/>
                  <a:pt x="108" y="178"/>
                  <a:pt x="108" y="178"/>
                </a:cubicBezTo>
                <a:cubicBezTo>
                  <a:pt x="108" y="177"/>
                  <a:pt x="108" y="177"/>
                  <a:pt x="108" y="177"/>
                </a:cubicBezTo>
                <a:cubicBezTo>
                  <a:pt x="109" y="175"/>
                  <a:pt x="109" y="175"/>
                  <a:pt x="109" y="175"/>
                </a:cubicBezTo>
                <a:cubicBezTo>
                  <a:pt x="112" y="175"/>
                  <a:pt x="112" y="175"/>
                  <a:pt x="112" y="175"/>
                </a:cubicBezTo>
                <a:cubicBezTo>
                  <a:pt x="113" y="175"/>
                  <a:pt x="113" y="175"/>
                  <a:pt x="113" y="175"/>
                </a:cubicBezTo>
                <a:cubicBezTo>
                  <a:pt x="116" y="173"/>
                  <a:pt x="116" y="173"/>
                  <a:pt x="116" y="173"/>
                </a:cubicBezTo>
                <a:cubicBezTo>
                  <a:pt x="116" y="172"/>
                  <a:pt x="116" y="172"/>
                  <a:pt x="116" y="172"/>
                </a:cubicBezTo>
                <a:cubicBezTo>
                  <a:pt x="117" y="171"/>
                  <a:pt x="117" y="171"/>
                  <a:pt x="117" y="171"/>
                </a:cubicBezTo>
                <a:cubicBezTo>
                  <a:pt x="118" y="172"/>
                  <a:pt x="118" y="172"/>
                  <a:pt x="118" y="172"/>
                </a:cubicBezTo>
                <a:cubicBezTo>
                  <a:pt x="119" y="172"/>
                  <a:pt x="119" y="172"/>
                  <a:pt x="119" y="172"/>
                </a:cubicBezTo>
                <a:cubicBezTo>
                  <a:pt x="120" y="171"/>
                  <a:pt x="120" y="171"/>
                  <a:pt x="120" y="171"/>
                </a:cubicBezTo>
                <a:cubicBezTo>
                  <a:pt x="120" y="172"/>
                  <a:pt x="120" y="172"/>
                  <a:pt x="120" y="172"/>
                </a:cubicBezTo>
                <a:cubicBezTo>
                  <a:pt x="122" y="171"/>
                  <a:pt x="122" y="171"/>
                  <a:pt x="122" y="171"/>
                </a:cubicBezTo>
                <a:cubicBezTo>
                  <a:pt x="122" y="171"/>
                  <a:pt x="122" y="171"/>
                  <a:pt x="122" y="171"/>
                </a:cubicBezTo>
                <a:cubicBezTo>
                  <a:pt x="121" y="173"/>
                  <a:pt x="121" y="173"/>
                  <a:pt x="121" y="173"/>
                </a:cubicBezTo>
                <a:cubicBezTo>
                  <a:pt x="121" y="174"/>
                  <a:pt x="121" y="174"/>
                  <a:pt x="121" y="174"/>
                </a:cubicBezTo>
                <a:cubicBezTo>
                  <a:pt x="122" y="172"/>
                  <a:pt x="122" y="172"/>
                  <a:pt x="122" y="172"/>
                </a:cubicBezTo>
                <a:cubicBezTo>
                  <a:pt x="124" y="172"/>
                  <a:pt x="124" y="172"/>
                  <a:pt x="124" y="172"/>
                </a:cubicBezTo>
                <a:cubicBezTo>
                  <a:pt x="128" y="169"/>
                  <a:pt x="128" y="169"/>
                  <a:pt x="128" y="169"/>
                </a:cubicBezTo>
                <a:cubicBezTo>
                  <a:pt x="130" y="169"/>
                  <a:pt x="130" y="169"/>
                  <a:pt x="130" y="169"/>
                </a:cubicBezTo>
                <a:cubicBezTo>
                  <a:pt x="131" y="168"/>
                  <a:pt x="131" y="168"/>
                  <a:pt x="131" y="168"/>
                </a:cubicBezTo>
                <a:cubicBezTo>
                  <a:pt x="134" y="168"/>
                  <a:pt x="134" y="168"/>
                  <a:pt x="134" y="168"/>
                </a:cubicBezTo>
                <a:cubicBezTo>
                  <a:pt x="135" y="167"/>
                  <a:pt x="135" y="167"/>
                  <a:pt x="135" y="167"/>
                </a:cubicBezTo>
                <a:cubicBezTo>
                  <a:pt x="136" y="167"/>
                  <a:pt x="136" y="167"/>
                  <a:pt x="136" y="167"/>
                </a:cubicBezTo>
                <a:cubicBezTo>
                  <a:pt x="135" y="169"/>
                  <a:pt x="135" y="169"/>
                  <a:pt x="135" y="169"/>
                </a:cubicBezTo>
                <a:cubicBezTo>
                  <a:pt x="134" y="169"/>
                  <a:pt x="134" y="169"/>
                  <a:pt x="134" y="169"/>
                </a:cubicBezTo>
                <a:cubicBezTo>
                  <a:pt x="134" y="170"/>
                  <a:pt x="134" y="170"/>
                  <a:pt x="134" y="170"/>
                </a:cubicBezTo>
                <a:cubicBezTo>
                  <a:pt x="135" y="171"/>
                  <a:pt x="135" y="171"/>
                  <a:pt x="135" y="171"/>
                </a:cubicBezTo>
                <a:cubicBezTo>
                  <a:pt x="136" y="169"/>
                  <a:pt x="136" y="169"/>
                  <a:pt x="136" y="169"/>
                </a:cubicBezTo>
                <a:cubicBezTo>
                  <a:pt x="139" y="168"/>
                  <a:pt x="139" y="168"/>
                  <a:pt x="139" y="168"/>
                </a:cubicBezTo>
                <a:cubicBezTo>
                  <a:pt x="140" y="168"/>
                  <a:pt x="140" y="168"/>
                  <a:pt x="140" y="168"/>
                </a:cubicBezTo>
                <a:cubicBezTo>
                  <a:pt x="140" y="167"/>
                  <a:pt x="140" y="167"/>
                  <a:pt x="140" y="167"/>
                </a:cubicBezTo>
                <a:cubicBezTo>
                  <a:pt x="141" y="166"/>
                  <a:pt x="141" y="166"/>
                  <a:pt x="141" y="166"/>
                </a:cubicBezTo>
                <a:cubicBezTo>
                  <a:pt x="142" y="167"/>
                  <a:pt x="142" y="167"/>
                  <a:pt x="142" y="167"/>
                </a:cubicBezTo>
                <a:cubicBezTo>
                  <a:pt x="142" y="166"/>
                  <a:pt x="142" y="166"/>
                  <a:pt x="142" y="166"/>
                </a:cubicBezTo>
                <a:cubicBezTo>
                  <a:pt x="142" y="165"/>
                  <a:pt x="142" y="165"/>
                  <a:pt x="142" y="165"/>
                </a:cubicBezTo>
                <a:cubicBezTo>
                  <a:pt x="143" y="166"/>
                  <a:pt x="143" y="166"/>
                  <a:pt x="143" y="166"/>
                </a:cubicBezTo>
                <a:cubicBezTo>
                  <a:pt x="144" y="166"/>
                  <a:pt x="144" y="166"/>
                  <a:pt x="144" y="166"/>
                </a:cubicBezTo>
                <a:cubicBezTo>
                  <a:pt x="144" y="164"/>
                  <a:pt x="144" y="164"/>
                  <a:pt x="144" y="164"/>
                </a:cubicBezTo>
                <a:cubicBezTo>
                  <a:pt x="144" y="163"/>
                  <a:pt x="144" y="163"/>
                  <a:pt x="144" y="163"/>
                </a:cubicBezTo>
                <a:cubicBezTo>
                  <a:pt x="145" y="162"/>
                  <a:pt x="145" y="162"/>
                  <a:pt x="145" y="162"/>
                </a:cubicBezTo>
                <a:cubicBezTo>
                  <a:pt x="144" y="161"/>
                  <a:pt x="144" y="161"/>
                  <a:pt x="144" y="161"/>
                </a:cubicBezTo>
                <a:cubicBezTo>
                  <a:pt x="145" y="160"/>
                  <a:pt x="145" y="160"/>
                  <a:pt x="145" y="160"/>
                </a:cubicBezTo>
                <a:cubicBezTo>
                  <a:pt x="147" y="159"/>
                  <a:pt x="147" y="159"/>
                  <a:pt x="147" y="159"/>
                </a:cubicBezTo>
                <a:cubicBezTo>
                  <a:pt x="147" y="160"/>
                  <a:pt x="147" y="160"/>
                  <a:pt x="147" y="160"/>
                </a:cubicBezTo>
                <a:cubicBezTo>
                  <a:pt x="147" y="165"/>
                  <a:pt x="147" y="165"/>
                  <a:pt x="147" y="165"/>
                </a:cubicBezTo>
                <a:cubicBezTo>
                  <a:pt x="146" y="167"/>
                  <a:pt x="146" y="167"/>
                  <a:pt x="146" y="167"/>
                </a:cubicBezTo>
                <a:cubicBezTo>
                  <a:pt x="147" y="171"/>
                  <a:pt x="147" y="171"/>
                  <a:pt x="147" y="171"/>
                </a:cubicBezTo>
                <a:cubicBezTo>
                  <a:pt x="145" y="173"/>
                  <a:pt x="145" y="173"/>
                  <a:pt x="145" y="173"/>
                </a:cubicBezTo>
                <a:cubicBezTo>
                  <a:pt x="145" y="178"/>
                  <a:pt x="145" y="178"/>
                  <a:pt x="145" y="178"/>
                </a:cubicBezTo>
                <a:cubicBezTo>
                  <a:pt x="146" y="180"/>
                  <a:pt x="146" y="180"/>
                  <a:pt x="146" y="180"/>
                </a:cubicBezTo>
                <a:cubicBezTo>
                  <a:pt x="147" y="180"/>
                  <a:pt x="147" y="180"/>
                  <a:pt x="147" y="180"/>
                </a:cubicBezTo>
                <a:cubicBezTo>
                  <a:pt x="148" y="182"/>
                  <a:pt x="148" y="182"/>
                  <a:pt x="148" y="182"/>
                </a:cubicBezTo>
                <a:cubicBezTo>
                  <a:pt x="150" y="181"/>
                  <a:pt x="150" y="181"/>
                  <a:pt x="150" y="181"/>
                </a:cubicBezTo>
                <a:cubicBezTo>
                  <a:pt x="149" y="180"/>
                  <a:pt x="149" y="180"/>
                  <a:pt x="149" y="180"/>
                </a:cubicBezTo>
                <a:cubicBezTo>
                  <a:pt x="148" y="180"/>
                  <a:pt x="148" y="180"/>
                  <a:pt x="148" y="180"/>
                </a:cubicBezTo>
                <a:cubicBezTo>
                  <a:pt x="148" y="179"/>
                  <a:pt x="148" y="179"/>
                  <a:pt x="148" y="179"/>
                </a:cubicBezTo>
                <a:cubicBezTo>
                  <a:pt x="149" y="179"/>
                  <a:pt x="149" y="179"/>
                  <a:pt x="149" y="179"/>
                </a:cubicBezTo>
                <a:cubicBezTo>
                  <a:pt x="150" y="179"/>
                  <a:pt x="150" y="179"/>
                  <a:pt x="150" y="179"/>
                </a:cubicBezTo>
                <a:cubicBezTo>
                  <a:pt x="151" y="178"/>
                  <a:pt x="151" y="178"/>
                  <a:pt x="151" y="178"/>
                </a:cubicBezTo>
                <a:cubicBezTo>
                  <a:pt x="150" y="178"/>
                  <a:pt x="150" y="178"/>
                  <a:pt x="150" y="178"/>
                </a:cubicBezTo>
                <a:cubicBezTo>
                  <a:pt x="151" y="176"/>
                  <a:pt x="151" y="176"/>
                  <a:pt x="151" y="176"/>
                </a:cubicBezTo>
                <a:cubicBezTo>
                  <a:pt x="153" y="177"/>
                  <a:pt x="153" y="177"/>
                  <a:pt x="153" y="177"/>
                </a:cubicBezTo>
                <a:cubicBezTo>
                  <a:pt x="153" y="178"/>
                  <a:pt x="153" y="178"/>
                  <a:pt x="153" y="178"/>
                </a:cubicBezTo>
                <a:cubicBezTo>
                  <a:pt x="154" y="177"/>
                  <a:pt x="154" y="177"/>
                  <a:pt x="154" y="177"/>
                </a:cubicBezTo>
                <a:cubicBezTo>
                  <a:pt x="153" y="174"/>
                  <a:pt x="153" y="174"/>
                  <a:pt x="153" y="174"/>
                </a:cubicBezTo>
                <a:cubicBezTo>
                  <a:pt x="154" y="174"/>
                  <a:pt x="154" y="174"/>
                  <a:pt x="154" y="174"/>
                </a:cubicBezTo>
                <a:cubicBezTo>
                  <a:pt x="156" y="173"/>
                  <a:pt x="156" y="173"/>
                  <a:pt x="156" y="173"/>
                </a:cubicBezTo>
                <a:cubicBezTo>
                  <a:pt x="156" y="172"/>
                  <a:pt x="156" y="172"/>
                  <a:pt x="156" y="172"/>
                </a:cubicBezTo>
                <a:cubicBezTo>
                  <a:pt x="158" y="172"/>
                  <a:pt x="158" y="172"/>
                  <a:pt x="158" y="172"/>
                </a:cubicBezTo>
                <a:cubicBezTo>
                  <a:pt x="158" y="173"/>
                  <a:pt x="158" y="173"/>
                  <a:pt x="158" y="173"/>
                </a:cubicBezTo>
                <a:cubicBezTo>
                  <a:pt x="158" y="174"/>
                  <a:pt x="158" y="174"/>
                  <a:pt x="158" y="174"/>
                </a:cubicBezTo>
                <a:cubicBezTo>
                  <a:pt x="157" y="175"/>
                  <a:pt x="157" y="175"/>
                  <a:pt x="157" y="175"/>
                </a:cubicBezTo>
                <a:cubicBezTo>
                  <a:pt x="157" y="176"/>
                  <a:pt x="157" y="176"/>
                  <a:pt x="157" y="176"/>
                </a:cubicBezTo>
                <a:cubicBezTo>
                  <a:pt x="156" y="177"/>
                  <a:pt x="156" y="177"/>
                  <a:pt x="156" y="177"/>
                </a:cubicBezTo>
                <a:cubicBezTo>
                  <a:pt x="156" y="178"/>
                  <a:pt x="156" y="178"/>
                  <a:pt x="156" y="178"/>
                </a:cubicBezTo>
                <a:cubicBezTo>
                  <a:pt x="156" y="178"/>
                  <a:pt x="156" y="178"/>
                  <a:pt x="156" y="178"/>
                </a:cubicBezTo>
                <a:cubicBezTo>
                  <a:pt x="157" y="178"/>
                  <a:pt x="157" y="178"/>
                  <a:pt x="157" y="178"/>
                </a:cubicBezTo>
                <a:cubicBezTo>
                  <a:pt x="157" y="178"/>
                  <a:pt x="157" y="178"/>
                  <a:pt x="157" y="178"/>
                </a:cubicBezTo>
                <a:cubicBezTo>
                  <a:pt x="157" y="179"/>
                  <a:pt x="157" y="179"/>
                  <a:pt x="157" y="179"/>
                </a:cubicBezTo>
                <a:cubicBezTo>
                  <a:pt x="156" y="179"/>
                  <a:pt x="156" y="179"/>
                  <a:pt x="156" y="179"/>
                </a:cubicBezTo>
                <a:cubicBezTo>
                  <a:pt x="155" y="181"/>
                  <a:pt x="155" y="181"/>
                  <a:pt x="155" y="181"/>
                </a:cubicBezTo>
                <a:cubicBezTo>
                  <a:pt x="154" y="180"/>
                  <a:pt x="154" y="180"/>
                  <a:pt x="154" y="180"/>
                </a:cubicBezTo>
                <a:cubicBezTo>
                  <a:pt x="154" y="181"/>
                  <a:pt x="154" y="181"/>
                  <a:pt x="154" y="181"/>
                </a:cubicBezTo>
                <a:cubicBezTo>
                  <a:pt x="153" y="182"/>
                  <a:pt x="153" y="182"/>
                  <a:pt x="153" y="182"/>
                </a:cubicBezTo>
                <a:cubicBezTo>
                  <a:pt x="154" y="183"/>
                  <a:pt x="154" y="183"/>
                  <a:pt x="154" y="183"/>
                </a:cubicBezTo>
                <a:cubicBezTo>
                  <a:pt x="155" y="183"/>
                  <a:pt x="155" y="183"/>
                  <a:pt x="155" y="183"/>
                </a:cubicBezTo>
                <a:cubicBezTo>
                  <a:pt x="156" y="184"/>
                  <a:pt x="156" y="184"/>
                  <a:pt x="156" y="184"/>
                </a:cubicBezTo>
                <a:cubicBezTo>
                  <a:pt x="157" y="184"/>
                  <a:pt x="157" y="184"/>
                  <a:pt x="157" y="184"/>
                </a:cubicBezTo>
                <a:cubicBezTo>
                  <a:pt x="159" y="183"/>
                  <a:pt x="159" y="183"/>
                  <a:pt x="159" y="183"/>
                </a:cubicBezTo>
                <a:cubicBezTo>
                  <a:pt x="160" y="183"/>
                  <a:pt x="160" y="183"/>
                  <a:pt x="160" y="183"/>
                </a:cubicBezTo>
                <a:cubicBezTo>
                  <a:pt x="161" y="180"/>
                  <a:pt x="161" y="180"/>
                  <a:pt x="161" y="180"/>
                </a:cubicBezTo>
                <a:cubicBezTo>
                  <a:pt x="163" y="179"/>
                  <a:pt x="163" y="179"/>
                  <a:pt x="163" y="179"/>
                </a:cubicBezTo>
                <a:cubicBezTo>
                  <a:pt x="164" y="178"/>
                  <a:pt x="164" y="178"/>
                  <a:pt x="164" y="178"/>
                </a:cubicBezTo>
                <a:cubicBezTo>
                  <a:pt x="165" y="179"/>
                  <a:pt x="165" y="179"/>
                  <a:pt x="165" y="179"/>
                </a:cubicBezTo>
                <a:cubicBezTo>
                  <a:pt x="166" y="179"/>
                  <a:pt x="166" y="179"/>
                  <a:pt x="166" y="179"/>
                </a:cubicBezTo>
                <a:cubicBezTo>
                  <a:pt x="167" y="180"/>
                  <a:pt x="167" y="180"/>
                  <a:pt x="167" y="180"/>
                </a:cubicBezTo>
                <a:cubicBezTo>
                  <a:pt x="168" y="180"/>
                  <a:pt x="168" y="180"/>
                  <a:pt x="168" y="180"/>
                </a:cubicBezTo>
                <a:cubicBezTo>
                  <a:pt x="170" y="181"/>
                  <a:pt x="170" y="181"/>
                  <a:pt x="170" y="181"/>
                </a:cubicBezTo>
                <a:cubicBezTo>
                  <a:pt x="171" y="181"/>
                  <a:pt x="171" y="181"/>
                  <a:pt x="171" y="181"/>
                </a:cubicBezTo>
                <a:cubicBezTo>
                  <a:pt x="171" y="183"/>
                  <a:pt x="171" y="183"/>
                  <a:pt x="171" y="183"/>
                </a:cubicBezTo>
                <a:cubicBezTo>
                  <a:pt x="172" y="186"/>
                  <a:pt x="172" y="186"/>
                  <a:pt x="172" y="186"/>
                </a:cubicBezTo>
                <a:cubicBezTo>
                  <a:pt x="172" y="187"/>
                  <a:pt x="172" y="187"/>
                  <a:pt x="172" y="187"/>
                </a:cubicBezTo>
                <a:cubicBezTo>
                  <a:pt x="173" y="189"/>
                  <a:pt x="173" y="189"/>
                  <a:pt x="173" y="189"/>
                </a:cubicBezTo>
                <a:cubicBezTo>
                  <a:pt x="178" y="193"/>
                  <a:pt x="178" y="193"/>
                  <a:pt x="178" y="193"/>
                </a:cubicBezTo>
                <a:cubicBezTo>
                  <a:pt x="179" y="194"/>
                  <a:pt x="179" y="194"/>
                  <a:pt x="179" y="194"/>
                </a:cubicBezTo>
                <a:cubicBezTo>
                  <a:pt x="180" y="195"/>
                  <a:pt x="180" y="195"/>
                  <a:pt x="180" y="195"/>
                </a:cubicBezTo>
                <a:cubicBezTo>
                  <a:pt x="182" y="197"/>
                  <a:pt x="182" y="197"/>
                  <a:pt x="182" y="197"/>
                </a:cubicBezTo>
                <a:cubicBezTo>
                  <a:pt x="183" y="197"/>
                  <a:pt x="183" y="197"/>
                  <a:pt x="183" y="197"/>
                </a:cubicBezTo>
                <a:cubicBezTo>
                  <a:pt x="184" y="197"/>
                  <a:pt x="184" y="197"/>
                  <a:pt x="184" y="197"/>
                </a:cubicBezTo>
                <a:cubicBezTo>
                  <a:pt x="185" y="199"/>
                  <a:pt x="185" y="199"/>
                  <a:pt x="185" y="199"/>
                </a:cubicBezTo>
                <a:cubicBezTo>
                  <a:pt x="185" y="199"/>
                  <a:pt x="185" y="199"/>
                  <a:pt x="185" y="199"/>
                </a:cubicBezTo>
                <a:cubicBezTo>
                  <a:pt x="186" y="198"/>
                  <a:pt x="186" y="198"/>
                  <a:pt x="186" y="198"/>
                </a:cubicBezTo>
                <a:cubicBezTo>
                  <a:pt x="186" y="199"/>
                  <a:pt x="186" y="199"/>
                  <a:pt x="186" y="199"/>
                </a:cubicBezTo>
                <a:cubicBezTo>
                  <a:pt x="188" y="200"/>
                  <a:pt x="188" y="200"/>
                  <a:pt x="188" y="200"/>
                </a:cubicBezTo>
                <a:cubicBezTo>
                  <a:pt x="189" y="200"/>
                  <a:pt x="189" y="200"/>
                  <a:pt x="189" y="200"/>
                </a:cubicBezTo>
                <a:cubicBezTo>
                  <a:pt x="189" y="202"/>
                  <a:pt x="189" y="202"/>
                  <a:pt x="189" y="202"/>
                </a:cubicBezTo>
                <a:cubicBezTo>
                  <a:pt x="190" y="203"/>
                  <a:pt x="190" y="203"/>
                  <a:pt x="190" y="203"/>
                </a:cubicBezTo>
                <a:cubicBezTo>
                  <a:pt x="191" y="202"/>
                  <a:pt x="191" y="202"/>
                  <a:pt x="191" y="202"/>
                </a:cubicBezTo>
                <a:cubicBezTo>
                  <a:pt x="190" y="201"/>
                  <a:pt x="190" y="201"/>
                  <a:pt x="190" y="201"/>
                </a:cubicBezTo>
                <a:cubicBezTo>
                  <a:pt x="190" y="200"/>
                  <a:pt x="190" y="200"/>
                  <a:pt x="190" y="200"/>
                </a:cubicBezTo>
                <a:cubicBezTo>
                  <a:pt x="189" y="199"/>
                  <a:pt x="189" y="199"/>
                  <a:pt x="189" y="199"/>
                </a:cubicBezTo>
                <a:cubicBezTo>
                  <a:pt x="189" y="199"/>
                  <a:pt x="189" y="199"/>
                  <a:pt x="189" y="199"/>
                </a:cubicBezTo>
                <a:cubicBezTo>
                  <a:pt x="191" y="200"/>
                  <a:pt x="191" y="200"/>
                  <a:pt x="191" y="200"/>
                </a:cubicBezTo>
                <a:cubicBezTo>
                  <a:pt x="191" y="200"/>
                  <a:pt x="191" y="200"/>
                  <a:pt x="191" y="200"/>
                </a:cubicBezTo>
                <a:cubicBezTo>
                  <a:pt x="192" y="200"/>
                  <a:pt x="192" y="200"/>
                  <a:pt x="192" y="200"/>
                </a:cubicBezTo>
                <a:cubicBezTo>
                  <a:pt x="192" y="199"/>
                  <a:pt x="192" y="199"/>
                  <a:pt x="192" y="199"/>
                </a:cubicBezTo>
                <a:cubicBezTo>
                  <a:pt x="193" y="199"/>
                  <a:pt x="193" y="199"/>
                  <a:pt x="193" y="199"/>
                </a:cubicBezTo>
                <a:cubicBezTo>
                  <a:pt x="195" y="201"/>
                  <a:pt x="195" y="201"/>
                  <a:pt x="195" y="201"/>
                </a:cubicBezTo>
                <a:cubicBezTo>
                  <a:pt x="195" y="202"/>
                  <a:pt x="195" y="202"/>
                  <a:pt x="195" y="202"/>
                </a:cubicBezTo>
                <a:cubicBezTo>
                  <a:pt x="196" y="202"/>
                  <a:pt x="196" y="202"/>
                  <a:pt x="196" y="202"/>
                </a:cubicBezTo>
                <a:cubicBezTo>
                  <a:pt x="196" y="204"/>
                  <a:pt x="196" y="204"/>
                  <a:pt x="196" y="204"/>
                </a:cubicBezTo>
                <a:cubicBezTo>
                  <a:pt x="197" y="205"/>
                  <a:pt x="197" y="205"/>
                  <a:pt x="197" y="205"/>
                </a:cubicBezTo>
                <a:cubicBezTo>
                  <a:pt x="197" y="206"/>
                  <a:pt x="197" y="206"/>
                  <a:pt x="197" y="206"/>
                </a:cubicBezTo>
                <a:cubicBezTo>
                  <a:pt x="198" y="208"/>
                  <a:pt x="198" y="208"/>
                  <a:pt x="198" y="208"/>
                </a:cubicBezTo>
                <a:cubicBezTo>
                  <a:pt x="197" y="209"/>
                  <a:pt x="197" y="209"/>
                  <a:pt x="197" y="209"/>
                </a:cubicBezTo>
                <a:cubicBezTo>
                  <a:pt x="197" y="210"/>
                  <a:pt x="197" y="210"/>
                  <a:pt x="197" y="210"/>
                </a:cubicBezTo>
                <a:cubicBezTo>
                  <a:pt x="196" y="212"/>
                  <a:pt x="196" y="212"/>
                  <a:pt x="196" y="212"/>
                </a:cubicBezTo>
                <a:cubicBezTo>
                  <a:pt x="193" y="211"/>
                  <a:pt x="193" y="211"/>
                  <a:pt x="193" y="211"/>
                </a:cubicBezTo>
                <a:cubicBezTo>
                  <a:pt x="192" y="211"/>
                  <a:pt x="192" y="211"/>
                  <a:pt x="192" y="211"/>
                </a:cubicBezTo>
                <a:cubicBezTo>
                  <a:pt x="192" y="211"/>
                  <a:pt x="192" y="211"/>
                  <a:pt x="192" y="211"/>
                </a:cubicBezTo>
                <a:cubicBezTo>
                  <a:pt x="191" y="212"/>
                  <a:pt x="191" y="212"/>
                  <a:pt x="191" y="212"/>
                </a:cubicBezTo>
                <a:cubicBezTo>
                  <a:pt x="189" y="211"/>
                  <a:pt x="189" y="211"/>
                  <a:pt x="189" y="211"/>
                </a:cubicBezTo>
                <a:cubicBezTo>
                  <a:pt x="188" y="211"/>
                  <a:pt x="188" y="211"/>
                  <a:pt x="188" y="211"/>
                </a:cubicBezTo>
                <a:cubicBezTo>
                  <a:pt x="189" y="212"/>
                  <a:pt x="189" y="212"/>
                  <a:pt x="189" y="212"/>
                </a:cubicBezTo>
                <a:cubicBezTo>
                  <a:pt x="188" y="213"/>
                  <a:pt x="188" y="213"/>
                  <a:pt x="188" y="213"/>
                </a:cubicBezTo>
                <a:cubicBezTo>
                  <a:pt x="188" y="214"/>
                  <a:pt x="188" y="214"/>
                  <a:pt x="188" y="214"/>
                </a:cubicBezTo>
                <a:cubicBezTo>
                  <a:pt x="186" y="214"/>
                  <a:pt x="186" y="214"/>
                  <a:pt x="186" y="214"/>
                </a:cubicBezTo>
                <a:cubicBezTo>
                  <a:pt x="185" y="214"/>
                  <a:pt x="185" y="214"/>
                  <a:pt x="185" y="214"/>
                </a:cubicBezTo>
                <a:cubicBezTo>
                  <a:pt x="186" y="215"/>
                  <a:pt x="186" y="215"/>
                  <a:pt x="186" y="215"/>
                </a:cubicBezTo>
                <a:cubicBezTo>
                  <a:pt x="187" y="215"/>
                  <a:pt x="187" y="215"/>
                  <a:pt x="187" y="215"/>
                </a:cubicBezTo>
                <a:cubicBezTo>
                  <a:pt x="187" y="217"/>
                  <a:pt x="187" y="217"/>
                  <a:pt x="187" y="217"/>
                </a:cubicBezTo>
                <a:cubicBezTo>
                  <a:pt x="188" y="218"/>
                  <a:pt x="188" y="218"/>
                  <a:pt x="188" y="218"/>
                </a:cubicBezTo>
                <a:cubicBezTo>
                  <a:pt x="189" y="217"/>
                  <a:pt x="189" y="217"/>
                  <a:pt x="189" y="217"/>
                </a:cubicBezTo>
                <a:cubicBezTo>
                  <a:pt x="190" y="218"/>
                  <a:pt x="190" y="218"/>
                  <a:pt x="190" y="218"/>
                </a:cubicBezTo>
                <a:cubicBezTo>
                  <a:pt x="190" y="219"/>
                  <a:pt x="190" y="219"/>
                  <a:pt x="190" y="219"/>
                </a:cubicBezTo>
                <a:cubicBezTo>
                  <a:pt x="192" y="219"/>
                  <a:pt x="192" y="219"/>
                  <a:pt x="192" y="219"/>
                </a:cubicBezTo>
                <a:cubicBezTo>
                  <a:pt x="194" y="220"/>
                  <a:pt x="194" y="220"/>
                  <a:pt x="194" y="220"/>
                </a:cubicBezTo>
                <a:cubicBezTo>
                  <a:pt x="196" y="221"/>
                  <a:pt x="196" y="221"/>
                  <a:pt x="196" y="221"/>
                </a:cubicBezTo>
                <a:cubicBezTo>
                  <a:pt x="199" y="222"/>
                  <a:pt x="199" y="222"/>
                  <a:pt x="199" y="222"/>
                </a:cubicBezTo>
                <a:cubicBezTo>
                  <a:pt x="200" y="222"/>
                  <a:pt x="200" y="222"/>
                  <a:pt x="200" y="222"/>
                </a:cubicBezTo>
                <a:cubicBezTo>
                  <a:pt x="200" y="221"/>
                  <a:pt x="200" y="221"/>
                  <a:pt x="200" y="221"/>
                </a:cubicBezTo>
                <a:cubicBezTo>
                  <a:pt x="201" y="221"/>
                  <a:pt x="201" y="221"/>
                  <a:pt x="201" y="221"/>
                </a:cubicBezTo>
                <a:cubicBezTo>
                  <a:pt x="202" y="222"/>
                  <a:pt x="202" y="222"/>
                  <a:pt x="202" y="222"/>
                </a:cubicBezTo>
                <a:cubicBezTo>
                  <a:pt x="202" y="223"/>
                  <a:pt x="202" y="223"/>
                  <a:pt x="202" y="223"/>
                </a:cubicBezTo>
                <a:cubicBezTo>
                  <a:pt x="204" y="221"/>
                  <a:pt x="204" y="221"/>
                  <a:pt x="204" y="221"/>
                </a:cubicBezTo>
                <a:cubicBezTo>
                  <a:pt x="205" y="222"/>
                  <a:pt x="205" y="222"/>
                  <a:pt x="205" y="222"/>
                </a:cubicBezTo>
                <a:cubicBezTo>
                  <a:pt x="205" y="222"/>
                  <a:pt x="205" y="222"/>
                  <a:pt x="205" y="222"/>
                </a:cubicBezTo>
                <a:cubicBezTo>
                  <a:pt x="206" y="221"/>
                  <a:pt x="206" y="221"/>
                  <a:pt x="206" y="221"/>
                </a:cubicBezTo>
                <a:cubicBezTo>
                  <a:pt x="207" y="221"/>
                  <a:pt x="207" y="221"/>
                  <a:pt x="207" y="221"/>
                </a:cubicBezTo>
                <a:cubicBezTo>
                  <a:pt x="207" y="222"/>
                  <a:pt x="207" y="222"/>
                  <a:pt x="207" y="222"/>
                </a:cubicBezTo>
                <a:cubicBezTo>
                  <a:pt x="207" y="222"/>
                  <a:pt x="207" y="222"/>
                  <a:pt x="207" y="222"/>
                </a:cubicBezTo>
                <a:cubicBezTo>
                  <a:pt x="209" y="221"/>
                  <a:pt x="209" y="221"/>
                  <a:pt x="209" y="221"/>
                </a:cubicBezTo>
                <a:cubicBezTo>
                  <a:pt x="213" y="220"/>
                  <a:pt x="213" y="220"/>
                  <a:pt x="213" y="220"/>
                </a:cubicBezTo>
                <a:cubicBezTo>
                  <a:pt x="214" y="219"/>
                  <a:pt x="214" y="219"/>
                  <a:pt x="214" y="219"/>
                </a:cubicBezTo>
                <a:cubicBezTo>
                  <a:pt x="214" y="220"/>
                  <a:pt x="214" y="220"/>
                  <a:pt x="214" y="220"/>
                </a:cubicBezTo>
                <a:cubicBezTo>
                  <a:pt x="213" y="221"/>
                  <a:pt x="213" y="221"/>
                  <a:pt x="213" y="221"/>
                </a:cubicBezTo>
                <a:cubicBezTo>
                  <a:pt x="213" y="222"/>
                  <a:pt x="213" y="222"/>
                  <a:pt x="213" y="222"/>
                </a:cubicBezTo>
                <a:cubicBezTo>
                  <a:pt x="214" y="222"/>
                  <a:pt x="214" y="222"/>
                  <a:pt x="214" y="222"/>
                </a:cubicBezTo>
                <a:cubicBezTo>
                  <a:pt x="214" y="223"/>
                  <a:pt x="214" y="223"/>
                  <a:pt x="214" y="223"/>
                </a:cubicBezTo>
                <a:cubicBezTo>
                  <a:pt x="214" y="224"/>
                  <a:pt x="214" y="224"/>
                  <a:pt x="214" y="224"/>
                </a:cubicBezTo>
                <a:cubicBezTo>
                  <a:pt x="214" y="225"/>
                  <a:pt x="214" y="225"/>
                  <a:pt x="214" y="225"/>
                </a:cubicBezTo>
                <a:cubicBezTo>
                  <a:pt x="215" y="225"/>
                  <a:pt x="215" y="225"/>
                  <a:pt x="215" y="225"/>
                </a:cubicBezTo>
                <a:cubicBezTo>
                  <a:pt x="215" y="224"/>
                  <a:pt x="215" y="224"/>
                  <a:pt x="215" y="224"/>
                </a:cubicBezTo>
                <a:cubicBezTo>
                  <a:pt x="216" y="225"/>
                  <a:pt x="216" y="225"/>
                  <a:pt x="216" y="225"/>
                </a:cubicBezTo>
                <a:cubicBezTo>
                  <a:pt x="216" y="226"/>
                  <a:pt x="216" y="226"/>
                  <a:pt x="216" y="226"/>
                </a:cubicBezTo>
                <a:cubicBezTo>
                  <a:pt x="215" y="228"/>
                  <a:pt x="215" y="228"/>
                  <a:pt x="215" y="228"/>
                </a:cubicBezTo>
                <a:cubicBezTo>
                  <a:pt x="215" y="229"/>
                  <a:pt x="215" y="229"/>
                  <a:pt x="215" y="229"/>
                </a:cubicBezTo>
                <a:cubicBezTo>
                  <a:pt x="216" y="229"/>
                  <a:pt x="216" y="229"/>
                  <a:pt x="216" y="229"/>
                </a:cubicBezTo>
                <a:cubicBezTo>
                  <a:pt x="217" y="228"/>
                  <a:pt x="217" y="228"/>
                  <a:pt x="217" y="228"/>
                </a:cubicBezTo>
                <a:cubicBezTo>
                  <a:pt x="217" y="227"/>
                  <a:pt x="217" y="227"/>
                  <a:pt x="217" y="227"/>
                </a:cubicBezTo>
                <a:cubicBezTo>
                  <a:pt x="217" y="226"/>
                  <a:pt x="217" y="226"/>
                  <a:pt x="217" y="226"/>
                </a:cubicBezTo>
                <a:cubicBezTo>
                  <a:pt x="218" y="226"/>
                  <a:pt x="218" y="226"/>
                  <a:pt x="218" y="226"/>
                </a:cubicBezTo>
                <a:cubicBezTo>
                  <a:pt x="218" y="228"/>
                  <a:pt x="218" y="228"/>
                  <a:pt x="218" y="228"/>
                </a:cubicBezTo>
                <a:cubicBezTo>
                  <a:pt x="217" y="230"/>
                  <a:pt x="217" y="230"/>
                  <a:pt x="217" y="230"/>
                </a:cubicBezTo>
                <a:cubicBezTo>
                  <a:pt x="216" y="231"/>
                  <a:pt x="216" y="231"/>
                  <a:pt x="216" y="231"/>
                </a:cubicBezTo>
                <a:cubicBezTo>
                  <a:pt x="216" y="233"/>
                  <a:pt x="216" y="233"/>
                  <a:pt x="216" y="233"/>
                </a:cubicBezTo>
                <a:cubicBezTo>
                  <a:pt x="217" y="235"/>
                  <a:pt x="217" y="235"/>
                  <a:pt x="217" y="235"/>
                </a:cubicBezTo>
                <a:cubicBezTo>
                  <a:pt x="217" y="237"/>
                  <a:pt x="217" y="237"/>
                  <a:pt x="217" y="237"/>
                </a:cubicBezTo>
                <a:cubicBezTo>
                  <a:pt x="216" y="239"/>
                  <a:pt x="216" y="239"/>
                  <a:pt x="216" y="239"/>
                </a:cubicBezTo>
                <a:cubicBezTo>
                  <a:pt x="217" y="239"/>
                  <a:pt x="217" y="239"/>
                  <a:pt x="217" y="239"/>
                </a:cubicBezTo>
                <a:cubicBezTo>
                  <a:pt x="217" y="240"/>
                  <a:pt x="217" y="240"/>
                  <a:pt x="217" y="240"/>
                </a:cubicBezTo>
                <a:cubicBezTo>
                  <a:pt x="217" y="241"/>
                  <a:pt x="217" y="241"/>
                  <a:pt x="217" y="241"/>
                </a:cubicBezTo>
                <a:cubicBezTo>
                  <a:pt x="217" y="242"/>
                  <a:pt x="217" y="242"/>
                  <a:pt x="217" y="242"/>
                </a:cubicBezTo>
                <a:cubicBezTo>
                  <a:pt x="218" y="244"/>
                  <a:pt x="218" y="244"/>
                  <a:pt x="218" y="244"/>
                </a:cubicBezTo>
                <a:cubicBezTo>
                  <a:pt x="218" y="248"/>
                  <a:pt x="218" y="248"/>
                  <a:pt x="218" y="248"/>
                </a:cubicBezTo>
                <a:cubicBezTo>
                  <a:pt x="218" y="244"/>
                  <a:pt x="218" y="244"/>
                  <a:pt x="218" y="244"/>
                </a:cubicBezTo>
                <a:cubicBezTo>
                  <a:pt x="218" y="241"/>
                  <a:pt x="218" y="241"/>
                  <a:pt x="218" y="241"/>
                </a:cubicBezTo>
                <a:cubicBezTo>
                  <a:pt x="218" y="238"/>
                  <a:pt x="218" y="238"/>
                  <a:pt x="218" y="238"/>
                </a:cubicBezTo>
                <a:cubicBezTo>
                  <a:pt x="220" y="235"/>
                  <a:pt x="220" y="235"/>
                  <a:pt x="220" y="235"/>
                </a:cubicBezTo>
                <a:cubicBezTo>
                  <a:pt x="220" y="235"/>
                  <a:pt x="220" y="235"/>
                  <a:pt x="220" y="235"/>
                </a:cubicBezTo>
                <a:cubicBezTo>
                  <a:pt x="220" y="237"/>
                  <a:pt x="220" y="237"/>
                  <a:pt x="220" y="237"/>
                </a:cubicBezTo>
                <a:cubicBezTo>
                  <a:pt x="220" y="237"/>
                  <a:pt x="220" y="237"/>
                  <a:pt x="220" y="237"/>
                </a:cubicBezTo>
                <a:cubicBezTo>
                  <a:pt x="220" y="238"/>
                  <a:pt x="220" y="238"/>
                  <a:pt x="220" y="238"/>
                </a:cubicBezTo>
                <a:cubicBezTo>
                  <a:pt x="220" y="238"/>
                  <a:pt x="220" y="238"/>
                  <a:pt x="220" y="238"/>
                </a:cubicBezTo>
                <a:cubicBezTo>
                  <a:pt x="221" y="237"/>
                  <a:pt x="221" y="237"/>
                  <a:pt x="221" y="237"/>
                </a:cubicBezTo>
                <a:cubicBezTo>
                  <a:pt x="221" y="238"/>
                  <a:pt x="221" y="238"/>
                  <a:pt x="221" y="238"/>
                </a:cubicBezTo>
                <a:cubicBezTo>
                  <a:pt x="222" y="237"/>
                  <a:pt x="222" y="237"/>
                  <a:pt x="222" y="237"/>
                </a:cubicBezTo>
                <a:cubicBezTo>
                  <a:pt x="222" y="236"/>
                  <a:pt x="222" y="236"/>
                  <a:pt x="222" y="236"/>
                </a:cubicBezTo>
                <a:cubicBezTo>
                  <a:pt x="221" y="235"/>
                  <a:pt x="221" y="235"/>
                  <a:pt x="221" y="235"/>
                </a:cubicBezTo>
                <a:cubicBezTo>
                  <a:pt x="221" y="234"/>
                  <a:pt x="221" y="234"/>
                  <a:pt x="221" y="234"/>
                </a:cubicBezTo>
                <a:cubicBezTo>
                  <a:pt x="222" y="234"/>
                  <a:pt x="222" y="234"/>
                  <a:pt x="222" y="234"/>
                </a:cubicBezTo>
                <a:cubicBezTo>
                  <a:pt x="223" y="233"/>
                  <a:pt x="223" y="233"/>
                  <a:pt x="223" y="233"/>
                </a:cubicBezTo>
                <a:cubicBezTo>
                  <a:pt x="222" y="232"/>
                  <a:pt x="222" y="232"/>
                  <a:pt x="222" y="232"/>
                </a:cubicBezTo>
                <a:cubicBezTo>
                  <a:pt x="222" y="232"/>
                  <a:pt x="222" y="232"/>
                  <a:pt x="222" y="232"/>
                </a:cubicBezTo>
                <a:cubicBezTo>
                  <a:pt x="222" y="229"/>
                  <a:pt x="222" y="229"/>
                  <a:pt x="222" y="229"/>
                </a:cubicBezTo>
                <a:cubicBezTo>
                  <a:pt x="223" y="226"/>
                  <a:pt x="223" y="226"/>
                  <a:pt x="223" y="226"/>
                </a:cubicBezTo>
                <a:cubicBezTo>
                  <a:pt x="223" y="225"/>
                  <a:pt x="223" y="225"/>
                  <a:pt x="223" y="225"/>
                </a:cubicBezTo>
                <a:cubicBezTo>
                  <a:pt x="223" y="224"/>
                  <a:pt x="223" y="224"/>
                  <a:pt x="223" y="224"/>
                </a:cubicBezTo>
                <a:cubicBezTo>
                  <a:pt x="224" y="223"/>
                  <a:pt x="224" y="223"/>
                  <a:pt x="224" y="223"/>
                </a:cubicBezTo>
                <a:cubicBezTo>
                  <a:pt x="226" y="223"/>
                  <a:pt x="226" y="223"/>
                  <a:pt x="226" y="223"/>
                </a:cubicBezTo>
                <a:cubicBezTo>
                  <a:pt x="226" y="223"/>
                  <a:pt x="226" y="223"/>
                  <a:pt x="226" y="223"/>
                </a:cubicBezTo>
                <a:cubicBezTo>
                  <a:pt x="226" y="222"/>
                  <a:pt x="226" y="222"/>
                  <a:pt x="226" y="222"/>
                </a:cubicBezTo>
                <a:cubicBezTo>
                  <a:pt x="227" y="222"/>
                  <a:pt x="227" y="222"/>
                  <a:pt x="227" y="222"/>
                </a:cubicBezTo>
                <a:cubicBezTo>
                  <a:pt x="228" y="223"/>
                  <a:pt x="228" y="223"/>
                  <a:pt x="228" y="223"/>
                </a:cubicBezTo>
                <a:cubicBezTo>
                  <a:pt x="229" y="222"/>
                  <a:pt x="229" y="222"/>
                  <a:pt x="229" y="222"/>
                </a:cubicBezTo>
                <a:cubicBezTo>
                  <a:pt x="229" y="221"/>
                  <a:pt x="229" y="221"/>
                  <a:pt x="229" y="221"/>
                </a:cubicBezTo>
                <a:cubicBezTo>
                  <a:pt x="230" y="221"/>
                  <a:pt x="230" y="221"/>
                  <a:pt x="230" y="221"/>
                </a:cubicBezTo>
                <a:cubicBezTo>
                  <a:pt x="230" y="222"/>
                  <a:pt x="230" y="222"/>
                  <a:pt x="230" y="222"/>
                </a:cubicBezTo>
                <a:cubicBezTo>
                  <a:pt x="231" y="222"/>
                  <a:pt x="231" y="222"/>
                  <a:pt x="231" y="222"/>
                </a:cubicBezTo>
                <a:cubicBezTo>
                  <a:pt x="232" y="221"/>
                  <a:pt x="232" y="221"/>
                  <a:pt x="232" y="221"/>
                </a:cubicBezTo>
                <a:cubicBezTo>
                  <a:pt x="233" y="220"/>
                  <a:pt x="233" y="220"/>
                  <a:pt x="233" y="220"/>
                </a:cubicBezTo>
                <a:cubicBezTo>
                  <a:pt x="233" y="220"/>
                  <a:pt x="233" y="220"/>
                  <a:pt x="233" y="220"/>
                </a:cubicBezTo>
                <a:cubicBezTo>
                  <a:pt x="234" y="221"/>
                  <a:pt x="234" y="221"/>
                  <a:pt x="234" y="221"/>
                </a:cubicBezTo>
                <a:cubicBezTo>
                  <a:pt x="234" y="221"/>
                  <a:pt x="234" y="221"/>
                  <a:pt x="234" y="221"/>
                </a:cubicBezTo>
                <a:cubicBezTo>
                  <a:pt x="235" y="223"/>
                  <a:pt x="235" y="223"/>
                  <a:pt x="235" y="223"/>
                </a:cubicBezTo>
                <a:cubicBezTo>
                  <a:pt x="235" y="221"/>
                  <a:pt x="235" y="221"/>
                  <a:pt x="235" y="221"/>
                </a:cubicBezTo>
                <a:cubicBezTo>
                  <a:pt x="234" y="220"/>
                  <a:pt x="234" y="220"/>
                  <a:pt x="234" y="220"/>
                </a:cubicBezTo>
                <a:cubicBezTo>
                  <a:pt x="235" y="218"/>
                  <a:pt x="235" y="218"/>
                  <a:pt x="235" y="218"/>
                </a:cubicBezTo>
                <a:cubicBezTo>
                  <a:pt x="236" y="218"/>
                  <a:pt x="236" y="218"/>
                  <a:pt x="236" y="218"/>
                </a:cubicBezTo>
                <a:cubicBezTo>
                  <a:pt x="237" y="218"/>
                  <a:pt x="237" y="218"/>
                  <a:pt x="237" y="218"/>
                </a:cubicBezTo>
                <a:cubicBezTo>
                  <a:pt x="238" y="218"/>
                  <a:pt x="238" y="218"/>
                  <a:pt x="238" y="218"/>
                </a:cubicBezTo>
                <a:cubicBezTo>
                  <a:pt x="238" y="218"/>
                  <a:pt x="238" y="218"/>
                  <a:pt x="238" y="218"/>
                </a:cubicBezTo>
                <a:cubicBezTo>
                  <a:pt x="239" y="218"/>
                  <a:pt x="239" y="218"/>
                  <a:pt x="239" y="218"/>
                </a:cubicBezTo>
                <a:cubicBezTo>
                  <a:pt x="240" y="217"/>
                  <a:pt x="240" y="217"/>
                  <a:pt x="240" y="217"/>
                </a:cubicBezTo>
                <a:cubicBezTo>
                  <a:pt x="240" y="216"/>
                  <a:pt x="240" y="216"/>
                  <a:pt x="240" y="216"/>
                </a:cubicBezTo>
                <a:cubicBezTo>
                  <a:pt x="241" y="215"/>
                  <a:pt x="241" y="215"/>
                  <a:pt x="241" y="215"/>
                </a:cubicBezTo>
                <a:cubicBezTo>
                  <a:pt x="240" y="215"/>
                  <a:pt x="240" y="215"/>
                  <a:pt x="240" y="215"/>
                </a:cubicBezTo>
                <a:cubicBezTo>
                  <a:pt x="240" y="215"/>
                  <a:pt x="240" y="215"/>
                  <a:pt x="240" y="215"/>
                </a:cubicBezTo>
                <a:cubicBezTo>
                  <a:pt x="239" y="215"/>
                  <a:pt x="239" y="215"/>
                  <a:pt x="239" y="215"/>
                </a:cubicBezTo>
                <a:cubicBezTo>
                  <a:pt x="236" y="216"/>
                  <a:pt x="236" y="216"/>
                  <a:pt x="236" y="216"/>
                </a:cubicBezTo>
                <a:cubicBezTo>
                  <a:pt x="235" y="216"/>
                  <a:pt x="235" y="216"/>
                  <a:pt x="235" y="216"/>
                </a:cubicBezTo>
                <a:cubicBezTo>
                  <a:pt x="235" y="217"/>
                  <a:pt x="235" y="217"/>
                  <a:pt x="235" y="217"/>
                </a:cubicBezTo>
                <a:cubicBezTo>
                  <a:pt x="234" y="217"/>
                  <a:pt x="234" y="217"/>
                  <a:pt x="234" y="217"/>
                </a:cubicBezTo>
                <a:cubicBezTo>
                  <a:pt x="234" y="217"/>
                  <a:pt x="234" y="217"/>
                  <a:pt x="234" y="217"/>
                </a:cubicBezTo>
                <a:cubicBezTo>
                  <a:pt x="234" y="218"/>
                  <a:pt x="234" y="218"/>
                  <a:pt x="234" y="218"/>
                </a:cubicBezTo>
                <a:cubicBezTo>
                  <a:pt x="233" y="217"/>
                  <a:pt x="233" y="217"/>
                  <a:pt x="233" y="217"/>
                </a:cubicBezTo>
                <a:cubicBezTo>
                  <a:pt x="233" y="216"/>
                  <a:pt x="233" y="216"/>
                  <a:pt x="233" y="216"/>
                </a:cubicBezTo>
                <a:cubicBezTo>
                  <a:pt x="232" y="216"/>
                  <a:pt x="232" y="216"/>
                  <a:pt x="232" y="216"/>
                </a:cubicBezTo>
                <a:cubicBezTo>
                  <a:pt x="232" y="217"/>
                  <a:pt x="232" y="217"/>
                  <a:pt x="232" y="217"/>
                </a:cubicBezTo>
                <a:cubicBezTo>
                  <a:pt x="231" y="218"/>
                  <a:pt x="231" y="218"/>
                  <a:pt x="231" y="218"/>
                </a:cubicBezTo>
                <a:cubicBezTo>
                  <a:pt x="230" y="217"/>
                  <a:pt x="230" y="217"/>
                  <a:pt x="230" y="217"/>
                </a:cubicBezTo>
                <a:cubicBezTo>
                  <a:pt x="229" y="217"/>
                  <a:pt x="229" y="217"/>
                  <a:pt x="229" y="217"/>
                </a:cubicBezTo>
                <a:cubicBezTo>
                  <a:pt x="229" y="216"/>
                  <a:pt x="229" y="216"/>
                  <a:pt x="229" y="216"/>
                </a:cubicBezTo>
                <a:cubicBezTo>
                  <a:pt x="228" y="217"/>
                  <a:pt x="228" y="217"/>
                  <a:pt x="228" y="217"/>
                </a:cubicBezTo>
                <a:cubicBezTo>
                  <a:pt x="228" y="217"/>
                  <a:pt x="228" y="217"/>
                  <a:pt x="228" y="217"/>
                </a:cubicBezTo>
                <a:cubicBezTo>
                  <a:pt x="228" y="218"/>
                  <a:pt x="228" y="218"/>
                  <a:pt x="228" y="218"/>
                </a:cubicBezTo>
                <a:cubicBezTo>
                  <a:pt x="228" y="219"/>
                  <a:pt x="228" y="219"/>
                  <a:pt x="228" y="219"/>
                </a:cubicBezTo>
                <a:cubicBezTo>
                  <a:pt x="227" y="219"/>
                  <a:pt x="227" y="219"/>
                  <a:pt x="227" y="219"/>
                </a:cubicBezTo>
                <a:cubicBezTo>
                  <a:pt x="227" y="219"/>
                  <a:pt x="227" y="219"/>
                  <a:pt x="227" y="219"/>
                </a:cubicBezTo>
                <a:cubicBezTo>
                  <a:pt x="225" y="219"/>
                  <a:pt x="225" y="219"/>
                  <a:pt x="225" y="219"/>
                </a:cubicBezTo>
                <a:cubicBezTo>
                  <a:pt x="225" y="218"/>
                  <a:pt x="225" y="218"/>
                  <a:pt x="225" y="218"/>
                </a:cubicBezTo>
                <a:cubicBezTo>
                  <a:pt x="226" y="217"/>
                  <a:pt x="226" y="217"/>
                  <a:pt x="226" y="217"/>
                </a:cubicBezTo>
                <a:cubicBezTo>
                  <a:pt x="226" y="216"/>
                  <a:pt x="226" y="216"/>
                  <a:pt x="226" y="216"/>
                </a:cubicBezTo>
                <a:cubicBezTo>
                  <a:pt x="226" y="216"/>
                  <a:pt x="226" y="216"/>
                  <a:pt x="226" y="216"/>
                </a:cubicBezTo>
                <a:cubicBezTo>
                  <a:pt x="225" y="217"/>
                  <a:pt x="225" y="217"/>
                  <a:pt x="225" y="217"/>
                </a:cubicBezTo>
                <a:cubicBezTo>
                  <a:pt x="224" y="216"/>
                  <a:pt x="224" y="216"/>
                  <a:pt x="224" y="216"/>
                </a:cubicBezTo>
                <a:cubicBezTo>
                  <a:pt x="224" y="215"/>
                  <a:pt x="224" y="215"/>
                  <a:pt x="224" y="215"/>
                </a:cubicBezTo>
                <a:cubicBezTo>
                  <a:pt x="225" y="214"/>
                  <a:pt x="225" y="214"/>
                  <a:pt x="225" y="214"/>
                </a:cubicBezTo>
                <a:cubicBezTo>
                  <a:pt x="227" y="212"/>
                  <a:pt x="227" y="212"/>
                  <a:pt x="227" y="212"/>
                </a:cubicBezTo>
                <a:cubicBezTo>
                  <a:pt x="228" y="212"/>
                  <a:pt x="228" y="212"/>
                  <a:pt x="228" y="212"/>
                </a:cubicBezTo>
                <a:cubicBezTo>
                  <a:pt x="230" y="212"/>
                  <a:pt x="230" y="212"/>
                  <a:pt x="230" y="212"/>
                </a:cubicBezTo>
                <a:cubicBezTo>
                  <a:pt x="234" y="212"/>
                  <a:pt x="234" y="212"/>
                  <a:pt x="234" y="212"/>
                </a:cubicBezTo>
                <a:cubicBezTo>
                  <a:pt x="237" y="211"/>
                  <a:pt x="237" y="211"/>
                  <a:pt x="237" y="211"/>
                </a:cubicBezTo>
                <a:cubicBezTo>
                  <a:pt x="238" y="211"/>
                  <a:pt x="238" y="211"/>
                  <a:pt x="238" y="211"/>
                </a:cubicBezTo>
                <a:cubicBezTo>
                  <a:pt x="240" y="211"/>
                  <a:pt x="240" y="211"/>
                  <a:pt x="240" y="211"/>
                </a:cubicBezTo>
                <a:cubicBezTo>
                  <a:pt x="240" y="212"/>
                  <a:pt x="240" y="212"/>
                  <a:pt x="240" y="212"/>
                </a:cubicBezTo>
                <a:cubicBezTo>
                  <a:pt x="241" y="213"/>
                  <a:pt x="241" y="213"/>
                  <a:pt x="241" y="213"/>
                </a:cubicBezTo>
                <a:cubicBezTo>
                  <a:pt x="242" y="213"/>
                  <a:pt x="242" y="213"/>
                  <a:pt x="242" y="213"/>
                </a:cubicBezTo>
                <a:cubicBezTo>
                  <a:pt x="242" y="214"/>
                  <a:pt x="242" y="214"/>
                  <a:pt x="242" y="214"/>
                </a:cubicBezTo>
                <a:cubicBezTo>
                  <a:pt x="242" y="216"/>
                  <a:pt x="242" y="216"/>
                  <a:pt x="242" y="216"/>
                </a:cubicBezTo>
                <a:cubicBezTo>
                  <a:pt x="242" y="217"/>
                  <a:pt x="242" y="217"/>
                  <a:pt x="242" y="217"/>
                </a:cubicBezTo>
                <a:cubicBezTo>
                  <a:pt x="242" y="217"/>
                  <a:pt x="242" y="217"/>
                  <a:pt x="242" y="217"/>
                </a:cubicBezTo>
                <a:cubicBezTo>
                  <a:pt x="242" y="218"/>
                  <a:pt x="242" y="218"/>
                  <a:pt x="242" y="218"/>
                </a:cubicBezTo>
                <a:cubicBezTo>
                  <a:pt x="241" y="218"/>
                  <a:pt x="241" y="218"/>
                  <a:pt x="241" y="218"/>
                </a:cubicBezTo>
                <a:cubicBezTo>
                  <a:pt x="241" y="219"/>
                  <a:pt x="241" y="219"/>
                  <a:pt x="241" y="219"/>
                </a:cubicBezTo>
                <a:cubicBezTo>
                  <a:pt x="242" y="219"/>
                  <a:pt x="242" y="219"/>
                  <a:pt x="242" y="219"/>
                </a:cubicBezTo>
                <a:cubicBezTo>
                  <a:pt x="242" y="222"/>
                  <a:pt x="242" y="222"/>
                  <a:pt x="242" y="222"/>
                </a:cubicBezTo>
                <a:cubicBezTo>
                  <a:pt x="243" y="222"/>
                  <a:pt x="243" y="222"/>
                  <a:pt x="243" y="222"/>
                </a:cubicBezTo>
                <a:cubicBezTo>
                  <a:pt x="244" y="222"/>
                  <a:pt x="244" y="222"/>
                  <a:pt x="244" y="222"/>
                </a:cubicBezTo>
                <a:cubicBezTo>
                  <a:pt x="244" y="223"/>
                  <a:pt x="244" y="223"/>
                  <a:pt x="244" y="223"/>
                </a:cubicBezTo>
                <a:cubicBezTo>
                  <a:pt x="243" y="223"/>
                  <a:pt x="243" y="223"/>
                  <a:pt x="243" y="223"/>
                </a:cubicBezTo>
                <a:cubicBezTo>
                  <a:pt x="242" y="224"/>
                  <a:pt x="242" y="224"/>
                  <a:pt x="242" y="224"/>
                </a:cubicBezTo>
                <a:cubicBezTo>
                  <a:pt x="242" y="225"/>
                  <a:pt x="242" y="225"/>
                  <a:pt x="242" y="225"/>
                </a:cubicBezTo>
                <a:cubicBezTo>
                  <a:pt x="243" y="225"/>
                  <a:pt x="243" y="225"/>
                  <a:pt x="243" y="225"/>
                </a:cubicBezTo>
                <a:cubicBezTo>
                  <a:pt x="244" y="226"/>
                  <a:pt x="244" y="226"/>
                  <a:pt x="244" y="226"/>
                </a:cubicBezTo>
                <a:cubicBezTo>
                  <a:pt x="245" y="226"/>
                  <a:pt x="245" y="226"/>
                  <a:pt x="245" y="226"/>
                </a:cubicBezTo>
                <a:cubicBezTo>
                  <a:pt x="245" y="226"/>
                  <a:pt x="245" y="226"/>
                  <a:pt x="245" y="226"/>
                </a:cubicBezTo>
                <a:cubicBezTo>
                  <a:pt x="246" y="227"/>
                  <a:pt x="246" y="227"/>
                  <a:pt x="246" y="227"/>
                </a:cubicBezTo>
                <a:cubicBezTo>
                  <a:pt x="247" y="227"/>
                  <a:pt x="247" y="227"/>
                  <a:pt x="247" y="227"/>
                </a:cubicBezTo>
                <a:cubicBezTo>
                  <a:pt x="248" y="226"/>
                  <a:pt x="248" y="226"/>
                  <a:pt x="248" y="226"/>
                </a:cubicBezTo>
                <a:cubicBezTo>
                  <a:pt x="249" y="227"/>
                  <a:pt x="249" y="227"/>
                  <a:pt x="249" y="227"/>
                </a:cubicBezTo>
                <a:cubicBezTo>
                  <a:pt x="249" y="227"/>
                  <a:pt x="249" y="227"/>
                  <a:pt x="249" y="227"/>
                </a:cubicBezTo>
                <a:cubicBezTo>
                  <a:pt x="249" y="228"/>
                  <a:pt x="249" y="228"/>
                  <a:pt x="249" y="228"/>
                </a:cubicBezTo>
                <a:cubicBezTo>
                  <a:pt x="250" y="228"/>
                  <a:pt x="250" y="228"/>
                  <a:pt x="250" y="228"/>
                </a:cubicBezTo>
                <a:cubicBezTo>
                  <a:pt x="250" y="228"/>
                  <a:pt x="250" y="228"/>
                  <a:pt x="250" y="228"/>
                </a:cubicBezTo>
                <a:cubicBezTo>
                  <a:pt x="250" y="229"/>
                  <a:pt x="250" y="229"/>
                  <a:pt x="250" y="229"/>
                </a:cubicBezTo>
                <a:cubicBezTo>
                  <a:pt x="250" y="230"/>
                  <a:pt x="250" y="230"/>
                  <a:pt x="250" y="230"/>
                </a:cubicBezTo>
                <a:cubicBezTo>
                  <a:pt x="250" y="230"/>
                  <a:pt x="250" y="230"/>
                  <a:pt x="250" y="230"/>
                </a:cubicBezTo>
                <a:cubicBezTo>
                  <a:pt x="251" y="231"/>
                  <a:pt x="251" y="231"/>
                  <a:pt x="251" y="231"/>
                </a:cubicBezTo>
                <a:cubicBezTo>
                  <a:pt x="252" y="232"/>
                  <a:pt x="252" y="232"/>
                  <a:pt x="252" y="232"/>
                </a:cubicBezTo>
                <a:cubicBezTo>
                  <a:pt x="252" y="233"/>
                  <a:pt x="252" y="233"/>
                  <a:pt x="252" y="233"/>
                </a:cubicBezTo>
                <a:cubicBezTo>
                  <a:pt x="254" y="232"/>
                  <a:pt x="254" y="232"/>
                  <a:pt x="254" y="232"/>
                </a:cubicBezTo>
                <a:cubicBezTo>
                  <a:pt x="254" y="233"/>
                  <a:pt x="254" y="233"/>
                  <a:pt x="254" y="233"/>
                </a:cubicBezTo>
                <a:cubicBezTo>
                  <a:pt x="254" y="234"/>
                  <a:pt x="254" y="234"/>
                  <a:pt x="254" y="234"/>
                </a:cubicBezTo>
                <a:cubicBezTo>
                  <a:pt x="255" y="234"/>
                  <a:pt x="255" y="234"/>
                  <a:pt x="255" y="234"/>
                </a:cubicBezTo>
                <a:cubicBezTo>
                  <a:pt x="256" y="235"/>
                  <a:pt x="256" y="235"/>
                  <a:pt x="256" y="235"/>
                </a:cubicBezTo>
                <a:cubicBezTo>
                  <a:pt x="257" y="234"/>
                  <a:pt x="257" y="234"/>
                  <a:pt x="257" y="234"/>
                </a:cubicBezTo>
                <a:cubicBezTo>
                  <a:pt x="260" y="234"/>
                  <a:pt x="260" y="234"/>
                  <a:pt x="260" y="234"/>
                </a:cubicBezTo>
                <a:cubicBezTo>
                  <a:pt x="260" y="233"/>
                  <a:pt x="260" y="233"/>
                  <a:pt x="260" y="233"/>
                </a:cubicBezTo>
                <a:cubicBezTo>
                  <a:pt x="262" y="232"/>
                  <a:pt x="262" y="232"/>
                  <a:pt x="262" y="232"/>
                </a:cubicBezTo>
                <a:cubicBezTo>
                  <a:pt x="262" y="232"/>
                  <a:pt x="262" y="232"/>
                  <a:pt x="262" y="232"/>
                </a:cubicBezTo>
                <a:cubicBezTo>
                  <a:pt x="263" y="233"/>
                  <a:pt x="263" y="233"/>
                  <a:pt x="263" y="233"/>
                </a:cubicBezTo>
                <a:cubicBezTo>
                  <a:pt x="265" y="233"/>
                  <a:pt x="265" y="233"/>
                  <a:pt x="265" y="233"/>
                </a:cubicBezTo>
                <a:cubicBezTo>
                  <a:pt x="267" y="235"/>
                  <a:pt x="267" y="235"/>
                  <a:pt x="267" y="235"/>
                </a:cubicBezTo>
                <a:cubicBezTo>
                  <a:pt x="268" y="235"/>
                  <a:pt x="268" y="235"/>
                  <a:pt x="268" y="235"/>
                </a:cubicBezTo>
                <a:cubicBezTo>
                  <a:pt x="269" y="236"/>
                  <a:pt x="269" y="236"/>
                  <a:pt x="269" y="236"/>
                </a:cubicBezTo>
                <a:cubicBezTo>
                  <a:pt x="270" y="235"/>
                  <a:pt x="270" y="235"/>
                  <a:pt x="270" y="235"/>
                </a:cubicBezTo>
                <a:cubicBezTo>
                  <a:pt x="272" y="235"/>
                  <a:pt x="272" y="235"/>
                  <a:pt x="272" y="235"/>
                </a:cubicBezTo>
                <a:cubicBezTo>
                  <a:pt x="273" y="236"/>
                  <a:pt x="273" y="236"/>
                  <a:pt x="273" y="236"/>
                </a:cubicBezTo>
                <a:cubicBezTo>
                  <a:pt x="273" y="236"/>
                  <a:pt x="273" y="236"/>
                  <a:pt x="273" y="236"/>
                </a:cubicBezTo>
                <a:cubicBezTo>
                  <a:pt x="273" y="234"/>
                  <a:pt x="273" y="234"/>
                  <a:pt x="273" y="234"/>
                </a:cubicBezTo>
                <a:cubicBezTo>
                  <a:pt x="272" y="233"/>
                  <a:pt x="272" y="233"/>
                  <a:pt x="272" y="233"/>
                </a:cubicBezTo>
                <a:cubicBezTo>
                  <a:pt x="272" y="231"/>
                  <a:pt x="272" y="231"/>
                  <a:pt x="272" y="231"/>
                </a:cubicBezTo>
                <a:cubicBezTo>
                  <a:pt x="272" y="231"/>
                  <a:pt x="272" y="231"/>
                  <a:pt x="272" y="231"/>
                </a:cubicBezTo>
                <a:cubicBezTo>
                  <a:pt x="273" y="231"/>
                  <a:pt x="273" y="231"/>
                  <a:pt x="273" y="231"/>
                </a:cubicBezTo>
                <a:cubicBezTo>
                  <a:pt x="274" y="233"/>
                  <a:pt x="274" y="233"/>
                  <a:pt x="274" y="233"/>
                </a:cubicBezTo>
                <a:cubicBezTo>
                  <a:pt x="274" y="235"/>
                  <a:pt x="274" y="235"/>
                  <a:pt x="274" y="235"/>
                </a:cubicBezTo>
                <a:cubicBezTo>
                  <a:pt x="276" y="237"/>
                  <a:pt x="276" y="237"/>
                  <a:pt x="276" y="237"/>
                </a:cubicBezTo>
                <a:cubicBezTo>
                  <a:pt x="276" y="237"/>
                  <a:pt x="276" y="237"/>
                  <a:pt x="276" y="237"/>
                </a:cubicBezTo>
                <a:cubicBezTo>
                  <a:pt x="277" y="239"/>
                  <a:pt x="277" y="239"/>
                  <a:pt x="277" y="239"/>
                </a:cubicBezTo>
                <a:cubicBezTo>
                  <a:pt x="277" y="236"/>
                  <a:pt x="277" y="236"/>
                  <a:pt x="277" y="236"/>
                </a:cubicBezTo>
                <a:cubicBezTo>
                  <a:pt x="276" y="235"/>
                  <a:pt x="276" y="235"/>
                  <a:pt x="276" y="235"/>
                </a:cubicBezTo>
                <a:cubicBezTo>
                  <a:pt x="275" y="235"/>
                  <a:pt x="275" y="235"/>
                  <a:pt x="275" y="235"/>
                </a:cubicBezTo>
                <a:cubicBezTo>
                  <a:pt x="274" y="233"/>
                  <a:pt x="274" y="233"/>
                  <a:pt x="274" y="233"/>
                </a:cubicBezTo>
                <a:cubicBezTo>
                  <a:pt x="274" y="230"/>
                  <a:pt x="274" y="230"/>
                  <a:pt x="274" y="230"/>
                </a:cubicBezTo>
                <a:cubicBezTo>
                  <a:pt x="274" y="229"/>
                  <a:pt x="274" y="229"/>
                  <a:pt x="274" y="229"/>
                </a:cubicBezTo>
                <a:cubicBezTo>
                  <a:pt x="274" y="230"/>
                  <a:pt x="274" y="230"/>
                  <a:pt x="274" y="230"/>
                </a:cubicBezTo>
                <a:cubicBezTo>
                  <a:pt x="274" y="230"/>
                  <a:pt x="274" y="230"/>
                  <a:pt x="274" y="230"/>
                </a:cubicBezTo>
                <a:cubicBezTo>
                  <a:pt x="275" y="231"/>
                  <a:pt x="275" y="231"/>
                  <a:pt x="275" y="231"/>
                </a:cubicBezTo>
                <a:cubicBezTo>
                  <a:pt x="276" y="230"/>
                  <a:pt x="276" y="230"/>
                  <a:pt x="276" y="230"/>
                </a:cubicBezTo>
                <a:cubicBezTo>
                  <a:pt x="276" y="230"/>
                  <a:pt x="276" y="230"/>
                  <a:pt x="276" y="230"/>
                </a:cubicBezTo>
                <a:cubicBezTo>
                  <a:pt x="275" y="228"/>
                  <a:pt x="275" y="228"/>
                  <a:pt x="275" y="228"/>
                </a:cubicBezTo>
                <a:cubicBezTo>
                  <a:pt x="275" y="228"/>
                  <a:pt x="275" y="228"/>
                  <a:pt x="275" y="228"/>
                </a:cubicBezTo>
                <a:cubicBezTo>
                  <a:pt x="275" y="227"/>
                  <a:pt x="275" y="227"/>
                  <a:pt x="275" y="227"/>
                </a:cubicBezTo>
                <a:cubicBezTo>
                  <a:pt x="275" y="226"/>
                  <a:pt x="275" y="226"/>
                  <a:pt x="275" y="226"/>
                </a:cubicBezTo>
                <a:cubicBezTo>
                  <a:pt x="276" y="226"/>
                  <a:pt x="276" y="226"/>
                  <a:pt x="276" y="226"/>
                </a:cubicBezTo>
                <a:cubicBezTo>
                  <a:pt x="277" y="227"/>
                  <a:pt x="277" y="227"/>
                  <a:pt x="277" y="227"/>
                </a:cubicBezTo>
                <a:cubicBezTo>
                  <a:pt x="277" y="228"/>
                  <a:pt x="277" y="228"/>
                  <a:pt x="277" y="228"/>
                </a:cubicBezTo>
                <a:cubicBezTo>
                  <a:pt x="277" y="228"/>
                  <a:pt x="277" y="228"/>
                  <a:pt x="277" y="228"/>
                </a:cubicBezTo>
                <a:cubicBezTo>
                  <a:pt x="278" y="228"/>
                  <a:pt x="278" y="228"/>
                  <a:pt x="278" y="228"/>
                </a:cubicBezTo>
                <a:cubicBezTo>
                  <a:pt x="279" y="227"/>
                  <a:pt x="279" y="227"/>
                  <a:pt x="279" y="227"/>
                </a:cubicBezTo>
                <a:cubicBezTo>
                  <a:pt x="279" y="226"/>
                  <a:pt x="279" y="226"/>
                  <a:pt x="279" y="226"/>
                </a:cubicBezTo>
                <a:cubicBezTo>
                  <a:pt x="280" y="226"/>
                  <a:pt x="280" y="226"/>
                  <a:pt x="280" y="226"/>
                </a:cubicBezTo>
                <a:cubicBezTo>
                  <a:pt x="281" y="227"/>
                  <a:pt x="281" y="227"/>
                  <a:pt x="281" y="227"/>
                </a:cubicBezTo>
                <a:cubicBezTo>
                  <a:pt x="281" y="228"/>
                  <a:pt x="281" y="228"/>
                  <a:pt x="281" y="228"/>
                </a:cubicBezTo>
                <a:cubicBezTo>
                  <a:pt x="281" y="228"/>
                  <a:pt x="281" y="228"/>
                  <a:pt x="281" y="228"/>
                </a:cubicBezTo>
                <a:cubicBezTo>
                  <a:pt x="281" y="228"/>
                  <a:pt x="281" y="228"/>
                  <a:pt x="281" y="228"/>
                </a:cubicBezTo>
                <a:cubicBezTo>
                  <a:pt x="282" y="227"/>
                  <a:pt x="282" y="227"/>
                  <a:pt x="282" y="227"/>
                </a:cubicBezTo>
                <a:cubicBezTo>
                  <a:pt x="283" y="228"/>
                  <a:pt x="283" y="228"/>
                  <a:pt x="283" y="228"/>
                </a:cubicBezTo>
                <a:cubicBezTo>
                  <a:pt x="282" y="230"/>
                  <a:pt x="282" y="230"/>
                  <a:pt x="282" y="230"/>
                </a:cubicBezTo>
                <a:cubicBezTo>
                  <a:pt x="282" y="231"/>
                  <a:pt x="282" y="231"/>
                  <a:pt x="282" y="231"/>
                </a:cubicBezTo>
                <a:cubicBezTo>
                  <a:pt x="283" y="231"/>
                  <a:pt x="283" y="231"/>
                  <a:pt x="283" y="231"/>
                </a:cubicBezTo>
                <a:cubicBezTo>
                  <a:pt x="284" y="231"/>
                  <a:pt x="284" y="231"/>
                  <a:pt x="284" y="231"/>
                </a:cubicBezTo>
                <a:cubicBezTo>
                  <a:pt x="285" y="232"/>
                  <a:pt x="285" y="232"/>
                  <a:pt x="285" y="232"/>
                </a:cubicBezTo>
                <a:cubicBezTo>
                  <a:pt x="284" y="233"/>
                  <a:pt x="284" y="233"/>
                  <a:pt x="284" y="233"/>
                </a:cubicBezTo>
                <a:cubicBezTo>
                  <a:pt x="283" y="233"/>
                  <a:pt x="283" y="233"/>
                  <a:pt x="283" y="233"/>
                </a:cubicBezTo>
                <a:cubicBezTo>
                  <a:pt x="283" y="234"/>
                  <a:pt x="283" y="234"/>
                  <a:pt x="283" y="234"/>
                </a:cubicBezTo>
                <a:cubicBezTo>
                  <a:pt x="283" y="234"/>
                  <a:pt x="283" y="234"/>
                  <a:pt x="283" y="234"/>
                </a:cubicBezTo>
                <a:cubicBezTo>
                  <a:pt x="285" y="233"/>
                  <a:pt x="285" y="233"/>
                  <a:pt x="285" y="233"/>
                </a:cubicBezTo>
                <a:cubicBezTo>
                  <a:pt x="286" y="232"/>
                  <a:pt x="286" y="232"/>
                  <a:pt x="286" y="232"/>
                </a:cubicBezTo>
                <a:cubicBezTo>
                  <a:pt x="287" y="231"/>
                  <a:pt x="287" y="231"/>
                  <a:pt x="287" y="231"/>
                </a:cubicBezTo>
                <a:cubicBezTo>
                  <a:pt x="288" y="232"/>
                  <a:pt x="288" y="232"/>
                  <a:pt x="288" y="232"/>
                </a:cubicBezTo>
                <a:cubicBezTo>
                  <a:pt x="288" y="232"/>
                  <a:pt x="288" y="232"/>
                  <a:pt x="288" y="232"/>
                </a:cubicBezTo>
                <a:cubicBezTo>
                  <a:pt x="287" y="232"/>
                  <a:pt x="287" y="232"/>
                  <a:pt x="287" y="232"/>
                </a:cubicBezTo>
                <a:cubicBezTo>
                  <a:pt x="287" y="233"/>
                  <a:pt x="287" y="233"/>
                  <a:pt x="287" y="233"/>
                </a:cubicBezTo>
                <a:cubicBezTo>
                  <a:pt x="287" y="234"/>
                  <a:pt x="287" y="234"/>
                  <a:pt x="287" y="234"/>
                </a:cubicBezTo>
                <a:cubicBezTo>
                  <a:pt x="285" y="236"/>
                  <a:pt x="285" y="236"/>
                  <a:pt x="285" y="236"/>
                </a:cubicBezTo>
                <a:cubicBezTo>
                  <a:pt x="285" y="236"/>
                  <a:pt x="285" y="236"/>
                  <a:pt x="285" y="236"/>
                </a:cubicBezTo>
                <a:cubicBezTo>
                  <a:pt x="283" y="238"/>
                  <a:pt x="283" y="238"/>
                  <a:pt x="283" y="238"/>
                </a:cubicBezTo>
                <a:cubicBezTo>
                  <a:pt x="283" y="239"/>
                  <a:pt x="283" y="239"/>
                  <a:pt x="283" y="239"/>
                </a:cubicBezTo>
                <a:cubicBezTo>
                  <a:pt x="282" y="240"/>
                  <a:pt x="282" y="240"/>
                  <a:pt x="282" y="240"/>
                </a:cubicBezTo>
                <a:cubicBezTo>
                  <a:pt x="282" y="238"/>
                  <a:pt x="282" y="238"/>
                  <a:pt x="282" y="238"/>
                </a:cubicBezTo>
                <a:cubicBezTo>
                  <a:pt x="281" y="240"/>
                  <a:pt x="281" y="240"/>
                  <a:pt x="281" y="240"/>
                </a:cubicBezTo>
                <a:cubicBezTo>
                  <a:pt x="281" y="242"/>
                  <a:pt x="281" y="242"/>
                  <a:pt x="281" y="242"/>
                </a:cubicBezTo>
                <a:cubicBezTo>
                  <a:pt x="281" y="242"/>
                  <a:pt x="281" y="242"/>
                  <a:pt x="281" y="242"/>
                </a:cubicBezTo>
                <a:cubicBezTo>
                  <a:pt x="282" y="242"/>
                  <a:pt x="282" y="242"/>
                  <a:pt x="282" y="242"/>
                </a:cubicBezTo>
                <a:cubicBezTo>
                  <a:pt x="283" y="242"/>
                  <a:pt x="283" y="242"/>
                  <a:pt x="283" y="242"/>
                </a:cubicBezTo>
                <a:cubicBezTo>
                  <a:pt x="283" y="243"/>
                  <a:pt x="283" y="243"/>
                  <a:pt x="283" y="243"/>
                </a:cubicBezTo>
                <a:cubicBezTo>
                  <a:pt x="281" y="244"/>
                  <a:pt x="281" y="244"/>
                  <a:pt x="281" y="244"/>
                </a:cubicBezTo>
                <a:cubicBezTo>
                  <a:pt x="281" y="245"/>
                  <a:pt x="281" y="245"/>
                  <a:pt x="281" y="245"/>
                </a:cubicBezTo>
                <a:cubicBezTo>
                  <a:pt x="283" y="244"/>
                  <a:pt x="283" y="244"/>
                  <a:pt x="283" y="244"/>
                </a:cubicBezTo>
                <a:cubicBezTo>
                  <a:pt x="284" y="243"/>
                  <a:pt x="284" y="243"/>
                  <a:pt x="284" y="243"/>
                </a:cubicBezTo>
                <a:cubicBezTo>
                  <a:pt x="285" y="243"/>
                  <a:pt x="285" y="243"/>
                  <a:pt x="285" y="243"/>
                </a:cubicBezTo>
                <a:cubicBezTo>
                  <a:pt x="284" y="245"/>
                  <a:pt x="284" y="245"/>
                  <a:pt x="284" y="245"/>
                </a:cubicBezTo>
                <a:cubicBezTo>
                  <a:pt x="283" y="245"/>
                  <a:pt x="283" y="245"/>
                  <a:pt x="283" y="245"/>
                </a:cubicBezTo>
                <a:cubicBezTo>
                  <a:pt x="284" y="246"/>
                  <a:pt x="284" y="246"/>
                  <a:pt x="284" y="246"/>
                </a:cubicBezTo>
                <a:cubicBezTo>
                  <a:pt x="285" y="245"/>
                  <a:pt x="285" y="245"/>
                  <a:pt x="285" y="245"/>
                </a:cubicBezTo>
                <a:cubicBezTo>
                  <a:pt x="284" y="247"/>
                  <a:pt x="284" y="247"/>
                  <a:pt x="284" y="247"/>
                </a:cubicBezTo>
                <a:cubicBezTo>
                  <a:pt x="284" y="248"/>
                  <a:pt x="284" y="248"/>
                  <a:pt x="284" y="248"/>
                </a:cubicBezTo>
                <a:cubicBezTo>
                  <a:pt x="283" y="248"/>
                  <a:pt x="283" y="248"/>
                  <a:pt x="283" y="248"/>
                </a:cubicBezTo>
                <a:cubicBezTo>
                  <a:pt x="282" y="248"/>
                  <a:pt x="282" y="248"/>
                  <a:pt x="282" y="248"/>
                </a:cubicBezTo>
                <a:cubicBezTo>
                  <a:pt x="281" y="247"/>
                  <a:pt x="281" y="247"/>
                  <a:pt x="281" y="247"/>
                </a:cubicBezTo>
                <a:cubicBezTo>
                  <a:pt x="280" y="248"/>
                  <a:pt x="280" y="248"/>
                  <a:pt x="280" y="248"/>
                </a:cubicBezTo>
                <a:cubicBezTo>
                  <a:pt x="279" y="246"/>
                  <a:pt x="279" y="246"/>
                  <a:pt x="279" y="246"/>
                </a:cubicBezTo>
                <a:cubicBezTo>
                  <a:pt x="279" y="246"/>
                  <a:pt x="279" y="246"/>
                  <a:pt x="279" y="246"/>
                </a:cubicBezTo>
                <a:cubicBezTo>
                  <a:pt x="278" y="248"/>
                  <a:pt x="278" y="248"/>
                  <a:pt x="278" y="248"/>
                </a:cubicBezTo>
                <a:cubicBezTo>
                  <a:pt x="279" y="249"/>
                  <a:pt x="279" y="249"/>
                  <a:pt x="279" y="249"/>
                </a:cubicBezTo>
                <a:cubicBezTo>
                  <a:pt x="280" y="250"/>
                  <a:pt x="280" y="250"/>
                  <a:pt x="280" y="250"/>
                </a:cubicBezTo>
                <a:cubicBezTo>
                  <a:pt x="279" y="253"/>
                  <a:pt x="279" y="253"/>
                  <a:pt x="279" y="253"/>
                </a:cubicBezTo>
                <a:cubicBezTo>
                  <a:pt x="280" y="251"/>
                  <a:pt x="280" y="251"/>
                  <a:pt x="280" y="251"/>
                </a:cubicBezTo>
                <a:cubicBezTo>
                  <a:pt x="280" y="249"/>
                  <a:pt x="280" y="249"/>
                  <a:pt x="280" y="249"/>
                </a:cubicBezTo>
                <a:cubicBezTo>
                  <a:pt x="281" y="248"/>
                  <a:pt x="281" y="248"/>
                  <a:pt x="281" y="248"/>
                </a:cubicBezTo>
                <a:cubicBezTo>
                  <a:pt x="281" y="249"/>
                  <a:pt x="281" y="249"/>
                  <a:pt x="281" y="249"/>
                </a:cubicBezTo>
                <a:cubicBezTo>
                  <a:pt x="283" y="249"/>
                  <a:pt x="283" y="249"/>
                  <a:pt x="283" y="249"/>
                </a:cubicBezTo>
                <a:cubicBezTo>
                  <a:pt x="284" y="250"/>
                  <a:pt x="284" y="250"/>
                  <a:pt x="284" y="250"/>
                </a:cubicBezTo>
                <a:cubicBezTo>
                  <a:pt x="285" y="249"/>
                  <a:pt x="285" y="249"/>
                  <a:pt x="285" y="249"/>
                </a:cubicBezTo>
                <a:cubicBezTo>
                  <a:pt x="285" y="248"/>
                  <a:pt x="285" y="248"/>
                  <a:pt x="285" y="248"/>
                </a:cubicBezTo>
                <a:cubicBezTo>
                  <a:pt x="286" y="247"/>
                  <a:pt x="286" y="247"/>
                  <a:pt x="286" y="247"/>
                </a:cubicBezTo>
                <a:cubicBezTo>
                  <a:pt x="287" y="246"/>
                  <a:pt x="287" y="246"/>
                  <a:pt x="287" y="246"/>
                </a:cubicBezTo>
                <a:cubicBezTo>
                  <a:pt x="289" y="246"/>
                  <a:pt x="289" y="246"/>
                  <a:pt x="289" y="246"/>
                </a:cubicBezTo>
                <a:cubicBezTo>
                  <a:pt x="290" y="245"/>
                  <a:pt x="290" y="245"/>
                  <a:pt x="290" y="245"/>
                </a:cubicBezTo>
                <a:cubicBezTo>
                  <a:pt x="289" y="245"/>
                  <a:pt x="289" y="245"/>
                  <a:pt x="289" y="245"/>
                </a:cubicBezTo>
                <a:cubicBezTo>
                  <a:pt x="287" y="245"/>
                  <a:pt x="287" y="245"/>
                  <a:pt x="287" y="245"/>
                </a:cubicBezTo>
                <a:cubicBezTo>
                  <a:pt x="287" y="246"/>
                  <a:pt x="287" y="246"/>
                  <a:pt x="287" y="246"/>
                </a:cubicBezTo>
                <a:cubicBezTo>
                  <a:pt x="286" y="246"/>
                  <a:pt x="286" y="246"/>
                  <a:pt x="286" y="246"/>
                </a:cubicBezTo>
                <a:cubicBezTo>
                  <a:pt x="285" y="246"/>
                  <a:pt x="285" y="246"/>
                  <a:pt x="285" y="246"/>
                </a:cubicBezTo>
                <a:cubicBezTo>
                  <a:pt x="286" y="245"/>
                  <a:pt x="286" y="245"/>
                  <a:pt x="286" y="245"/>
                </a:cubicBezTo>
                <a:cubicBezTo>
                  <a:pt x="287" y="244"/>
                  <a:pt x="287" y="244"/>
                  <a:pt x="287" y="244"/>
                </a:cubicBezTo>
                <a:cubicBezTo>
                  <a:pt x="286" y="244"/>
                  <a:pt x="286" y="244"/>
                  <a:pt x="286" y="244"/>
                </a:cubicBezTo>
                <a:cubicBezTo>
                  <a:pt x="286" y="243"/>
                  <a:pt x="286" y="243"/>
                  <a:pt x="286" y="243"/>
                </a:cubicBezTo>
                <a:cubicBezTo>
                  <a:pt x="287" y="241"/>
                  <a:pt x="287" y="241"/>
                  <a:pt x="287" y="241"/>
                </a:cubicBezTo>
                <a:cubicBezTo>
                  <a:pt x="287" y="240"/>
                  <a:pt x="287" y="240"/>
                  <a:pt x="287" y="240"/>
                </a:cubicBezTo>
                <a:cubicBezTo>
                  <a:pt x="286" y="239"/>
                  <a:pt x="286" y="239"/>
                  <a:pt x="286" y="239"/>
                </a:cubicBezTo>
                <a:cubicBezTo>
                  <a:pt x="287" y="239"/>
                  <a:pt x="287" y="239"/>
                  <a:pt x="287" y="239"/>
                </a:cubicBezTo>
                <a:cubicBezTo>
                  <a:pt x="288" y="237"/>
                  <a:pt x="288" y="237"/>
                  <a:pt x="288" y="237"/>
                </a:cubicBezTo>
                <a:cubicBezTo>
                  <a:pt x="288" y="236"/>
                  <a:pt x="288" y="236"/>
                  <a:pt x="288" y="236"/>
                </a:cubicBezTo>
                <a:cubicBezTo>
                  <a:pt x="290" y="235"/>
                  <a:pt x="290" y="235"/>
                  <a:pt x="290" y="235"/>
                </a:cubicBezTo>
                <a:cubicBezTo>
                  <a:pt x="290" y="235"/>
                  <a:pt x="290" y="235"/>
                  <a:pt x="290" y="235"/>
                </a:cubicBezTo>
                <a:cubicBezTo>
                  <a:pt x="290" y="236"/>
                  <a:pt x="290" y="236"/>
                  <a:pt x="290" y="236"/>
                </a:cubicBezTo>
                <a:cubicBezTo>
                  <a:pt x="290" y="235"/>
                  <a:pt x="290" y="235"/>
                  <a:pt x="290" y="235"/>
                </a:cubicBezTo>
                <a:cubicBezTo>
                  <a:pt x="291" y="234"/>
                  <a:pt x="291" y="234"/>
                  <a:pt x="291" y="234"/>
                </a:cubicBezTo>
                <a:cubicBezTo>
                  <a:pt x="291" y="235"/>
                  <a:pt x="291" y="235"/>
                  <a:pt x="291" y="235"/>
                </a:cubicBezTo>
                <a:cubicBezTo>
                  <a:pt x="292" y="235"/>
                  <a:pt x="292" y="235"/>
                  <a:pt x="292" y="235"/>
                </a:cubicBezTo>
                <a:cubicBezTo>
                  <a:pt x="292" y="236"/>
                  <a:pt x="292" y="236"/>
                  <a:pt x="292" y="236"/>
                </a:cubicBezTo>
                <a:cubicBezTo>
                  <a:pt x="293" y="235"/>
                  <a:pt x="293" y="235"/>
                  <a:pt x="293" y="235"/>
                </a:cubicBezTo>
                <a:cubicBezTo>
                  <a:pt x="294" y="234"/>
                  <a:pt x="294" y="234"/>
                  <a:pt x="294" y="234"/>
                </a:cubicBezTo>
                <a:cubicBezTo>
                  <a:pt x="297" y="233"/>
                  <a:pt x="297" y="233"/>
                  <a:pt x="297" y="233"/>
                </a:cubicBezTo>
                <a:cubicBezTo>
                  <a:pt x="298" y="232"/>
                  <a:pt x="298" y="232"/>
                  <a:pt x="298" y="232"/>
                </a:cubicBezTo>
                <a:cubicBezTo>
                  <a:pt x="297" y="232"/>
                  <a:pt x="297" y="232"/>
                  <a:pt x="297" y="232"/>
                </a:cubicBezTo>
                <a:cubicBezTo>
                  <a:pt x="298" y="231"/>
                  <a:pt x="298" y="231"/>
                  <a:pt x="298" y="231"/>
                </a:cubicBezTo>
                <a:cubicBezTo>
                  <a:pt x="299" y="230"/>
                  <a:pt x="299" y="230"/>
                  <a:pt x="299" y="230"/>
                </a:cubicBezTo>
                <a:cubicBezTo>
                  <a:pt x="301" y="230"/>
                  <a:pt x="301" y="230"/>
                  <a:pt x="301" y="230"/>
                </a:cubicBezTo>
                <a:cubicBezTo>
                  <a:pt x="302" y="229"/>
                  <a:pt x="302" y="229"/>
                  <a:pt x="302" y="229"/>
                </a:cubicBezTo>
                <a:cubicBezTo>
                  <a:pt x="302" y="228"/>
                  <a:pt x="302" y="228"/>
                  <a:pt x="302" y="228"/>
                </a:cubicBezTo>
                <a:cubicBezTo>
                  <a:pt x="302" y="226"/>
                  <a:pt x="302" y="226"/>
                  <a:pt x="302" y="226"/>
                </a:cubicBezTo>
                <a:cubicBezTo>
                  <a:pt x="303" y="225"/>
                  <a:pt x="303" y="225"/>
                  <a:pt x="303" y="225"/>
                </a:cubicBezTo>
                <a:cubicBezTo>
                  <a:pt x="303" y="224"/>
                  <a:pt x="303" y="224"/>
                  <a:pt x="303" y="224"/>
                </a:cubicBezTo>
                <a:cubicBezTo>
                  <a:pt x="303" y="223"/>
                  <a:pt x="303" y="223"/>
                  <a:pt x="303" y="223"/>
                </a:cubicBezTo>
                <a:cubicBezTo>
                  <a:pt x="302" y="224"/>
                  <a:pt x="302" y="224"/>
                  <a:pt x="302" y="224"/>
                </a:cubicBezTo>
                <a:cubicBezTo>
                  <a:pt x="301" y="224"/>
                  <a:pt x="301" y="224"/>
                  <a:pt x="301" y="224"/>
                </a:cubicBezTo>
                <a:cubicBezTo>
                  <a:pt x="301" y="224"/>
                  <a:pt x="301" y="224"/>
                  <a:pt x="301" y="224"/>
                </a:cubicBezTo>
                <a:cubicBezTo>
                  <a:pt x="301" y="225"/>
                  <a:pt x="301" y="225"/>
                  <a:pt x="301" y="225"/>
                </a:cubicBezTo>
                <a:cubicBezTo>
                  <a:pt x="300" y="226"/>
                  <a:pt x="300" y="226"/>
                  <a:pt x="300" y="226"/>
                </a:cubicBezTo>
                <a:cubicBezTo>
                  <a:pt x="299" y="225"/>
                  <a:pt x="299" y="225"/>
                  <a:pt x="299" y="225"/>
                </a:cubicBezTo>
                <a:cubicBezTo>
                  <a:pt x="298" y="225"/>
                  <a:pt x="298" y="225"/>
                  <a:pt x="298" y="225"/>
                </a:cubicBezTo>
                <a:cubicBezTo>
                  <a:pt x="298" y="225"/>
                  <a:pt x="298" y="225"/>
                  <a:pt x="298" y="225"/>
                </a:cubicBezTo>
                <a:cubicBezTo>
                  <a:pt x="299" y="223"/>
                  <a:pt x="299" y="223"/>
                  <a:pt x="299" y="223"/>
                </a:cubicBezTo>
                <a:cubicBezTo>
                  <a:pt x="300" y="223"/>
                  <a:pt x="300" y="223"/>
                  <a:pt x="300" y="223"/>
                </a:cubicBezTo>
                <a:cubicBezTo>
                  <a:pt x="300" y="222"/>
                  <a:pt x="300" y="222"/>
                  <a:pt x="300" y="222"/>
                </a:cubicBezTo>
                <a:cubicBezTo>
                  <a:pt x="302" y="222"/>
                  <a:pt x="302" y="222"/>
                  <a:pt x="302" y="222"/>
                </a:cubicBezTo>
                <a:cubicBezTo>
                  <a:pt x="302" y="221"/>
                  <a:pt x="302" y="221"/>
                  <a:pt x="302" y="221"/>
                </a:cubicBezTo>
                <a:cubicBezTo>
                  <a:pt x="301" y="220"/>
                  <a:pt x="301" y="220"/>
                  <a:pt x="301" y="220"/>
                </a:cubicBezTo>
                <a:cubicBezTo>
                  <a:pt x="302" y="219"/>
                  <a:pt x="302" y="219"/>
                  <a:pt x="302" y="219"/>
                </a:cubicBezTo>
                <a:cubicBezTo>
                  <a:pt x="304" y="218"/>
                  <a:pt x="304" y="218"/>
                  <a:pt x="304" y="218"/>
                </a:cubicBezTo>
                <a:cubicBezTo>
                  <a:pt x="305" y="219"/>
                  <a:pt x="305" y="219"/>
                  <a:pt x="305" y="219"/>
                </a:cubicBezTo>
                <a:cubicBezTo>
                  <a:pt x="304" y="220"/>
                  <a:pt x="304" y="220"/>
                  <a:pt x="304" y="220"/>
                </a:cubicBezTo>
                <a:cubicBezTo>
                  <a:pt x="304" y="221"/>
                  <a:pt x="304" y="221"/>
                  <a:pt x="304" y="221"/>
                </a:cubicBezTo>
                <a:cubicBezTo>
                  <a:pt x="304" y="221"/>
                  <a:pt x="304" y="221"/>
                  <a:pt x="304" y="221"/>
                </a:cubicBezTo>
                <a:cubicBezTo>
                  <a:pt x="306" y="220"/>
                  <a:pt x="306" y="220"/>
                  <a:pt x="306" y="220"/>
                </a:cubicBezTo>
                <a:cubicBezTo>
                  <a:pt x="307" y="218"/>
                  <a:pt x="307" y="218"/>
                  <a:pt x="307" y="218"/>
                </a:cubicBezTo>
                <a:cubicBezTo>
                  <a:pt x="307" y="217"/>
                  <a:pt x="307" y="217"/>
                  <a:pt x="307" y="217"/>
                </a:cubicBezTo>
                <a:cubicBezTo>
                  <a:pt x="305" y="217"/>
                  <a:pt x="305" y="217"/>
                  <a:pt x="305" y="217"/>
                </a:cubicBezTo>
                <a:cubicBezTo>
                  <a:pt x="304" y="217"/>
                  <a:pt x="304" y="217"/>
                  <a:pt x="304" y="217"/>
                </a:cubicBezTo>
                <a:cubicBezTo>
                  <a:pt x="304" y="216"/>
                  <a:pt x="304" y="216"/>
                  <a:pt x="304" y="216"/>
                </a:cubicBezTo>
                <a:cubicBezTo>
                  <a:pt x="302" y="216"/>
                  <a:pt x="302" y="216"/>
                  <a:pt x="302" y="216"/>
                </a:cubicBezTo>
                <a:cubicBezTo>
                  <a:pt x="301" y="214"/>
                  <a:pt x="301" y="214"/>
                  <a:pt x="301" y="214"/>
                </a:cubicBezTo>
                <a:cubicBezTo>
                  <a:pt x="301" y="213"/>
                  <a:pt x="301" y="213"/>
                  <a:pt x="301" y="213"/>
                </a:cubicBezTo>
                <a:cubicBezTo>
                  <a:pt x="301" y="214"/>
                  <a:pt x="301" y="214"/>
                  <a:pt x="301" y="214"/>
                </a:cubicBezTo>
                <a:cubicBezTo>
                  <a:pt x="300" y="214"/>
                  <a:pt x="300" y="214"/>
                  <a:pt x="300" y="214"/>
                </a:cubicBezTo>
                <a:cubicBezTo>
                  <a:pt x="299" y="213"/>
                  <a:pt x="299" y="213"/>
                  <a:pt x="299" y="213"/>
                </a:cubicBezTo>
                <a:cubicBezTo>
                  <a:pt x="298" y="212"/>
                  <a:pt x="298" y="212"/>
                  <a:pt x="298" y="212"/>
                </a:cubicBezTo>
                <a:cubicBezTo>
                  <a:pt x="298" y="211"/>
                  <a:pt x="298" y="211"/>
                  <a:pt x="298" y="211"/>
                </a:cubicBezTo>
                <a:cubicBezTo>
                  <a:pt x="297" y="211"/>
                  <a:pt x="297" y="211"/>
                  <a:pt x="297" y="211"/>
                </a:cubicBezTo>
                <a:cubicBezTo>
                  <a:pt x="296" y="211"/>
                  <a:pt x="296" y="211"/>
                  <a:pt x="296" y="211"/>
                </a:cubicBezTo>
                <a:cubicBezTo>
                  <a:pt x="296" y="210"/>
                  <a:pt x="296" y="210"/>
                  <a:pt x="296" y="210"/>
                </a:cubicBezTo>
                <a:cubicBezTo>
                  <a:pt x="296" y="209"/>
                  <a:pt x="296" y="209"/>
                  <a:pt x="296" y="209"/>
                </a:cubicBezTo>
                <a:cubicBezTo>
                  <a:pt x="296" y="208"/>
                  <a:pt x="296" y="208"/>
                  <a:pt x="296" y="208"/>
                </a:cubicBezTo>
                <a:cubicBezTo>
                  <a:pt x="296" y="207"/>
                  <a:pt x="296" y="207"/>
                  <a:pt x="296" y="207"/>
                </a:cubicBezTo>
                <a:cubicBezTo>
                  <a:pt x="296" y="206"/>
                  <a:pt x="296" y="206"/>
                  <a:pt x="296" y="206"/>
                </a:cubicBezTo>
                <a:cubicBezTo>
                  <a:pt x="296" y="203"/>
                  <a:pt x="296" y="203"/>
                  <a:pt x="296" y="203"/>
                </a:cubicBezTo>
                <a:cubicBezTo>
                  <a:pt x="297" y="202"/>
                  <a:pt x="297" y="202"/>
                  <a:pt x="297" y="202"/>
                </a:cubicBezTo>
                <a:cubicBezTo>
                  <a:pt x="299" y="200"/>
                  <a:pt x="299" y="200"/>
                  <a:pt x="299" y="200"/>
                </a:cubicBezTo>
                <a:cubicBezTo>
                  <a:pt x="300" y="200"/>
                  <a:pt x="300" y="200"/>
                  <a:pt x="300" y="200"/>
                </a:cubicBezTo>
                <a:cubicBezTo>
                  <a:pt x="301" y="200"/>
                  <a:pt x="301" y="200"/>
                  <a:pt x="301" y="200"/>
                </a:cubicBezTo>
                <a:cubicBezTo>
                  <a:pt x="301" y="199"/>
                  <a:pt x="301" y="199"/>
                  <a:pt x="301" y="199"/>
                </a:cubicBezTo>
                <a:cubicBezTo>
                  <a:pt x="302" y="198"/>
                  <a:pt x="302" y="198"/>
                  <a:pt x="302" y="198"/>
                </a:cubicBezTo>
                <a:cubicBezTo>
                  <a:pt x="302" y="198"/>
                  <a:pt x="302" y="198"/>
                  <a:pt x="302" y="198"/>
                </a:cubicBezTo>
                <a:cubicBezTo>
                  <a:pt x="302" y="198"/>
                  <a:pt x="302" y="198"/>
                  <a:pt x="302" y="198"/>
                </a:cubicBezTo>
                <a:cubicBezTo>
                  <a:pt x="301" y="198"/>
                  <a:pt x="301" y="198"/>
                  <a:pt x="301" y="198"/>
                </a:cubicBezTo>
                <a:cubicBezTo>
                  <a:pt x="300" y="198"/>
                  <a:pt x="300" y="198"/>
                  <a:pt x="300" y="198"/>
                </a:cubicBezTo>
                <a:cubicBezTo>
                  <a:pt x="300" y="197"/>
                  <a:pt x="300" y="197"/>
                  <a:pt x="300" y="197"/>
                </a:cubicBezTo>
                <a:cubicBezTo>
                  <a:pt x="300" y="196"/>
                  <a:pt x="300" y="196"/>
                  <a:pt x="300" y="196"/>
                </a:cubicBezTo>
                <a:cubicBezTo>
                  <a:pt x="300" y="194"/>
                  <a:pt x="300" y="194"/>
                  <a:pt x="300" y="194"/>
                </a:cubicBezTo>
                <a:cubicBezTo>
                  <a:pt x="301" y="193"/>
                  <a:pt x="301" y="193"/>
                  <a:pt x="301" y="193"/>
                </a:cubicBezTo>
                <a:cubicBezTo>
                  <a:pt x="302" y="191"/>
                  <a:pt x="302" y="191"/>
                  <a:pt x="302" y="191"/>
                </a:cubicBezTo>
                <a:cubicBezTo>
                  <a:pt x="303" y="190"/>
                  <a:pt x="303" y="190"/>
                  <a:pt x="303" y="190"/>
                </a:cubicBezTo>
                <a:cubicBezTo>
                  <a:pt x="304" y="189"/>
                  <a:pt x="304" y="189"/>
                  <a:pt x="304" y="189"/>
                </a:cubicBezTo>
                <a:cubicBezTo>
                  <a:pt x="305" y="189"/>
                  <a:pt x="305" y="189"/>
                  <a:pt x="305" y="189"/>
                </a:cubicBezTo>
                <a:cubicBezTo>
                  <a:pt x="306" y="187"/>
                  <a:pt x="306" y="187"/>
                  <a:pt x="306" y="187"/>
                </a:cubicBezTo>
                <a:cubicBezTo>
                  <a:pt x="307" y="186"/>
                  <a:pt x="307" y="186"/>
                  <a:pt x="307" y="186"/>
                </a:cubicBezTo>
                <a:cubicBezTo>
                  <a:pt x="308" y="187"/>
                  <a:pt x="308" y="187"/>
                  <a:pt x="308" y="187"/>
                </a:cubicBezTo>
                <a:cubicBezTo>
                  <a:pt x="308" y="189"/>
                  <a:pt x="308" y="189"/>
                  <a:pt x="308" y="189"/>
                </a:cubicBezTo>
                <a:cubicBezTo>
                  <a:pt x="308" y="189"/>
                  <a:pt x="308" y="189"/>
                  <a:pt x="308" y="189"/>
                </a:cubicBezTo>
                <a:cubicBezTo>
                  <a:pt x="308" y="190"/>
                  <a:pt x="308" y="190"/>
                  <a:pt x="308" y="190"/>
                </a:cubicBezTo>
                <a:cubicBezTo>
                  <a:pt x="309" y="189"/>
                  <a:pt x="309" y="189"/>
                  <a:pt x="309" y="189"/>
                </a:cubicBezTo>
                <a:cubicBezTo>
                  <a:pt x="309" y="189"/>
                  <a:pt x="309" y="189"/>
                  <a:pt x="309" y="189"/>
                </a:cubicBezTo>
                <a:cubicBezTo>
                  <a:pt x="311" y="186"/>
                  <a:pt x="311" y="186"/>
                  <a:pt x="311" y="186"/>
                </a:cubicBezTo>
                <a:cubicBezTo>
                  <a:pt x="311" y="186"/>
                  <a:pt x="311" y="186"/>
                  <a:pt x="311" y="186"/>
                </a:cubicBezTo>
                <a:cubicBezTo>
                  <a:pt x="310" y="186"/>
                  <a:pt x="310" y="186"/>
                  <a:pt x="310" y="186"/>
                </a:cubicBezTo>
                <a:cubicBezTo>
                  <a:pt x="309" y="185"/>
                  <a:pt x="309" y="185"/>
                  <a:pt x="309" y="185"/>
                </a:cubicBezTo>
                <a:cubicBezTo>
                  <a:pt x="308" y="184"/>
                  <a:pt x="308" y="184"/>
                  <a:pt x="308" y="184"/>
                </a:cubicBezTo>
                <a:cubicBezTo>
                  <a:pt x="309" y="183"/>
                  <a:pt x="309" y="183"/>
                  <a:pt x="309" y="183"/>
                </a:cubicBezTo>
                <a:cubicBezTo>
                  <a:pt x="311" y="183"/>
                  <a:pt x="311" y="183"/>
                  <a:pt x="311" y="183"/>
                </a:cubicBezTo>
                <a:cubicBezTo>
                  <a:pt x="311" y="183"/>
                  <a:pt x="311" y="183"/>
                  <a:pt x="311" y="183"/>
                </a:cubicBezTo>
                <a:cubicBezTo>
                  <a:pt x="313" y="181"/>
                  <a:pt x="313" y="181"/>
                  <a:pt x="313" y="181"/>
                </a:cubicBezTo>
                <a:cubicBezTo>
                  <a:pt x="313" y="180"/>
                  <a:pt x="313" y="180"/>
                  <a:pt x="313" y="180"/>
                </a:cubicBezTo>
                <a:cubicBezTo>
                  <a:pt x="314" y="180"/>
                  <a:pt x="314" y="180"/>
                  <a:pt x="314" y="180"/>
                </a:cubicBezTo>
                <a:cubicBezTo>
                  <a:pt x="315" y="180"/>
                  <a:pt x="315" y="180"/>
                  <a:pt x="315" y="180"/>
                </a:cubicBezTo>
                <a:cubicBezTo>
                  <a:pt x="317" y="181"/>
                  <a:pt x="317" y="181"/>
                  <a:pt x="317" y="181"/>
                </a:cubicBezTo>
                <a:cubicBezTo>
                  <a:pt x="317" y="182"/>
                  <a:pt x="317" y="182"/>
                  <a:pt x="317" y="182"/>
                </a:cubicBezTo>
                <a:cubicBezTo>
                  <a:pt x="317" y="183"/>
                  <a:pt x="317" y="183"/>
                  <a:pt x="317" y="183"/>
                </a:cubicBezTo>
                <a:cubicBezTo>
                  <a:pt x="318" y="183"/>
                  <a:pt x="318" y="183"/>
                  <a:pt x="318" y="183"/>
                </a:cubicBezTo>
                <a:cubicBezTo>
                  <a:pt x="319" y="184"/>
                  <a:pt x="319" y="184"/>
                  <a:pt x="319" y="184"/>
                </a:cubicBezTo>
                <a:cubicBezTo>
                  <a:pt x="320" y="184"/>
                  <a:pt x="320" y="184"/>
                  <a:pt x="320" y="184"/>
                </a:cubicBezTo>
                <a:cubicBezTo>
                  <a:pt x="319" y="186"/>
                  <a:pt x="319" y="186"/>
                  <a:pt x="319" y="186"/>
                </a:cubicBezTo>
                <a:cubicBezTo>
                  <a:pt x="319" y="186"/>
                  <a:pt x="319" y="186"/>
                  <a:pt x="319" y="186"/>
                </a:cubicBezTo>
                <a:cubicBezTo>
                  <a:pt x="319" y="187"/>
                  <a:pt x="319" y="187"/>
                  <a:pt x="319" y="187"/>
                </a:cubicBezTo>
                <a:cubicBezTo>
                  <a:pt x="319" y="188"/>
                  <a:pt x="319" y="188"/>
                  <a:pt x="319" y="188"/>
                </a:cubicBezTo>
                <a:cubicBezTo>
                  <a:pt x="320" y="189"/>
                  <a:pt x="320" y="189"/>
                  <a:pt x="320" y="189"/>
                </a:cubicBezTo>
                <a:cubicBezTo>
                  <a:pt x="320" y="190"/>
                  <a:pt x="320" y="190"/>
                  <a:pt x="320" y="190"/>
                </a:cubicBezTo>
                <a:cubicBezTo>
                  <a:pt x="320" y="192"/>
                  <a:pt x="320" y="192"/>
                  <a:pt x="320" y="192"/>
                </a:cubicBezTo>
                <a:cubicBezTo>
                  <a:pt x="321" y="193"/>
                  <a:pt x="321" y="193"/>
                  <a:pt x="321" y="193"/>
                </a:cubicBezTo>
                <a:cubicBezTo>
                  <a:pt x="321" y="193"/>
                  <a:pt x="321" y="193"/>
                  <a:pt x="321" y="193"/>
                </a:cubicBezTo>
                <a:cubicBezTo>
                  <a:pt x="320" y="195"/>
                  <a:pt x="320" y="195"/>
                  <a:pt x="320" y="195"/>
                </a:cubicBezTo>
                <a:cubicBezTo>
                  <a:pt x="320" y="195"/>
                  <a:pt x="320" y="195"/>
                  <a:pt x="320" y="195"/>
                </a:cubicBezTo>
                <a:cubicBezTo>
                  <a:pt x="319" y="197"/>
                  <a:pt x="319" y="197"/>
                  <a:pt x="319" y="197"/>
                </a:cubicBezTo>
                <a:cubicBezTo>
                  <a:pt x="319" y="199"/>
                  <a:pt x="319" y="199"/>
                  <a:pt x="319" y="199"/>
                </a:cubicBezTo>
                <a:cubicBezTo>
                  <a:pt x="318" y="199"/>
                  <a:pt x="318" y="199"/>
                  <a:pt x="318" y="199"/>
                </a:cubicBezTo>
                <a:cubicBezTo>
                  <a:pt x="319" y="200"/>
                  <a:pt x="319" y="200"/>
                  <a:pt x="319" y="200"/>
                </a:cubicBezTo>
                <a:cubicBezTo>
                  <a:pt x="318" y="201"/>
                  <a:pt x="318" y="201"/>
                  <a:pt x="318" y="201"/>
                </a:cubicBezTo>
                <a:cubicBezTo>
                  <a:pt x="320" y="203"/>
                  <a:pt x="320" y="203"/>
                  <a:pt x="320" y="203"/>
                </a:cubicBezTo>
                <a:cubicBezTo>
                  <a:pt x="320" y="204"/>
                  <a:pt x="320" y="204"/>
                  <a:pt x="320" y="204"/>
                </a:cubicBezTo>
                <a:cubicBezTo>
                  <a:pt x="319" y="204"/>
                  <a:pt x="319" y="204"/>
                  <a:pt x="319" y="204"/>
                </a:cubicBezTo>
                <a:cubicBezTo>
                  <a:pt x="320" y="205"/>
                  <a:pt x="320" y="205"/>
                  <a:pt x="320" y="205"/>
                </a:cubicBezTo>
                <a:cubicBezTo>
                  <a:pt x="319" y="206"/>
                  <a:pt x="319" y="206"/>
                  <a:pt x="319" y="206"/>
                </a:cubicBezTo>
                <a:cubicBezTo>
                  <a:pt x="319" y="207"/>
                  <a:pt x="319" y="207"/>
                  <a:pt x="319" y="207"/>
                </a:cubicBezTo>
                <a:cubicBezTo>
                  <a:pt x="320" y="208"/>
                  <a:pt x="320" y="208"/>
                  <a:pt x="320" y="208"/>
                </a:cubicBezTo>
                <a:cubicBezTo>
                  <a:pt x="321" y="209"/>
                  <a:pt x="321" y="209"/>
                  <a:pt x="321" y="209"/>
                </a:cubicBezTo>
                <a:cubicBezTo>
                  <a:pt x="321" y="210"/>
                  <a:pt x="321" y="210"/>
                  <a:pt x="321" y="210"/>
                </a:cubicBezTo>
                <a:cubicBezTo>
                  <a:pt x="320" y="211"/>
                  <a:pt x="320" y="211"/>
                  <a:pt x="320" y="211"/>
                </a:cubicBezTo>
                <a:cubicBezTo>
                  <a:pt x="319" y="210"/>
                  <a:pt x="319" y="210"/>
                  <a:pt x="319" y="210"/>
                </a:cubicBezTo>
                <a:cubicBezTo>
                  <a:pt x="318" y="210"/>
                  <a:pt x="318" y="210"/>
                  <a:pt x="318" y="210"/>
                </a:cubicBezTo>
                <a:cubicBezTo>
                  <a:pt x="317" y="209"/>
                  <a:pt x="317" y="209"/>
                  <a:pt x="317" y="209"/>
                </a:cubicBezTo>
                <a:cubicBezTo>
                  <a:pt x="318" y="208"/>
                  <a:pt x="318" y="208"/>
                  <a:pt x="318" y="208"/>
                </a:cubicBezTo>
                <a:cubicBezTo>
                  <a:pt x="316" y="208"/>
                  <a:pt x="316" y="208"/>
                  <a:pt x="316" y="208"/>
                </a:cubicBezTo>
                <a:cubicBezTo>
                  <a:pt x="316" y="210"/>
                  <a:pt x="316" y="210"/>
                  <a:pt x="316" y="210"/>
                </a:cubicBezTo>
                <a:cubicBezTo>
                  <a:pt x="315" y="210"/>
                  <a:pt x="315" y="210"/>
                  <a:pt x="315" y="210"/>
                </a:cubicBezTo>
                <a:cubicBezTo>
                  <a:pt x="315" y="211"/>
                  <a:pt x="315" y="211"/>
                  <a:pt x="315" y="211"/>
                </a:cubicBezTo>
                <a:cubicBezTo>
                  <a:pt x="316" y="210"/>
                  <a:pt x="316" y="210"/>
                  <a:pt x="316" y="210"/>
                </a:cubicBezTo>
                <a:cubicBezTo>
                  <a:pt x="317" y="211"/>
                  <a:pt x="317" y="211"/>
                  <a:pt x="317" y="211"/>
                </a:cubicBezTo>
                <a:cubicBezTo>
                  <a:pt x="317" y="212"/>
                  <a:pt x="317" y="212"/>
                  <a:pt x="317" y="212"/>
                </a:cubicBezTo>
                <a:cubicBezTo>
                  <a:pt x="314" y="214"/>
                  <a:pt x="314" y="214"/>
                  <a:pt x="314" y="214"/>
                </a:cubicBezTo>
                <a:cubicBezTo>
                  <a:pt x="313" y="214"/>
                  <a:pt x="313" y="214"/>
                  <a:pt x="313" y="214"/>
                </a:cubicBezTo>
                <a:cubicBezTo>
                  <a:pt x="312" y="215"/>
                  <a:pt x="312" y="215"/>
                  <a:pt x="312" y="215"/>
                </a:cubicBezTo>
                <a:cubicBezTo>
                  <a:pt x="312" y="215"/>
                  <a:pt x="312" y="215"/>
                  <a:pt x="312" y="215"/>
                </a:cubicBezTo>
                <a:cubicBezTo>
                  <a:pt x="311" y="217"/>
                  <a:pt x="311" y="217"/>
                  <a:pt x="311" y="217"/>
                </a:cubicBezTo>
                <a:cubicBezTo>
                  <a:pt x="312" y="217"/>
                  <a:pt x="312" y="217"/>
                  <a:pt x="312" y="217"/>
                </a:cubicBezTo>
                <a:cubicBezTo>
                  <a:pt x="313" y="217"/>
                  <a:pt x="313" y="217"/>
                  <a:pt x="313" y="217"/>
                </a:cubicBezTo>
                <a:cubicBezTo>
                  <a:pt x="314" y="217"/>
                  <a:pt x="314" y="217"/>
                  <a:pt x="314" y="217"/>
                </a:cubicBezTo>
                <a:cubicBezTo>
                  <a:pt x="314" y="218"/>
                  <a:pt x="314" y="218"/>
                  <a:pt x="314" y="218"/>
                </a:cubicBezTo>
                <a:cubicBezTo>
                  <a:pt x="315" y="219"/>
                  <a:pt x="315" y="219"/>
                  <a:pt x="315" y="219"/>
                </a:cubicBezTo>
                <a:cubicBezTo>
                  <a:pt x="317" y="219"/>
                  <a:pt x="317" y="219"/>
                  <a:pt x="317" y="219"/>
                </a:cubicBezTo>
                <a:cubicBezTo>
                  <a:pt x="317" y="218"/>
                  <a:pt x="317" y="218"/>
                  <a:pt x="317" y="218"/>
                </a:cubicBezTo>
                <a:cubicBezTo>
                  <a:pt x="318" y="218"/>
                  <a:pt x="318" y="218"/>
                  <a:pt x="318" y="218"/>
                </a:cubicBezTo>
                <a:cubicBezTo>
                  <a:pt x="318" y="218"/>
                  <a:pt x="318" y="218"/>
                  <a:pt x="318" y="218"/>
                </a:cubicBezTo>
                <a:cubicBezTo>
                  <a:pt x="318" y="219"/>
                  <a:pt x="318" y="219"/>
                  <a:pt x="318" y="219"/>
                </a:cubicBezTo>
                <a:cubicBezTo>
                  <a:pt x="318" y="219"/>
                  <a:pt x="318" y="219"/>
                  <a:pt x="318" y="219"/>
                </a:cubicBezTo>
                <a:cubicBezTo>
                  <a:pt x="319" y="220"/>
                  <a:pt x="319" y="220"/>
                  <a:pt x="319" y="220"/>
                </a:cubicBezTo>
                <a:cubicBezTo>
                  <a:pt x="320" y="220"/>
                  <a:pt x="320" y="220"/>
                  <a:pt x="320" y="220"/>
                </a:cubicBezTo>
                <a:cubicBezTo>
                  <a:pt x="321" y="220"/>
                  <a:pt x="321" y="220"/>
                  <a:pt x="321" y="220"/>
                </a:cubicBezTo>
                <a:cubicBezTo>
                  <a:pt x="322" y="220"/>
                  <a:pt x="322" y="220"/>
                  <a:pt x="322" y="220"/>
                </a:cubicBezTo>
                <a:cubicBezTo>
                  <a:pt x="321" y="221"/>
                  <a:pt x="321" y="221"/>
                  <a:pt x="321" y="221"/>
                </a:cubicBezTo>
                <a:cubicBezTo>
                  <a:pt x="320" y="221"/>
                  <a:pt x="320" y="221"/>
                  <a:pt x="320" y="221"/>
                </a:cubicBezTo>
                <a:cubicBezTo>
                  <a:pt x="318" y="222"/>
                  <a:pt x="318" y="222"/>
                  <a:pt x="318" y="222"/>
                </a:cubicBezTo>
                <a:cubicBezTo>
                  <a:pt x="318" y="223"/>
                  <a:pt x="318" y="223"/>
                  <a:pt x="318" y="223"/>
                </a:cubicBezTo>
                <a:cubicBezTo>
                  <a:pt x="318" y="221"/>
                  <a:pt x="318" y="221"/>
                  <a:pt x="318" y="221"/>
                </a:cubicBezTo>
                <a:cubicBezTo>
                  <a:pt x="317" y="221"/>
                  <a:pt x="317" y="221"/>
                  <a:pt x="317" y="221"/>
                </a:cubicBezTo>
                <a:cubicBezTo>
                  <a:pt x="317" y="221"/>
                  <a:pt x="317" y="221"/>
                  <a:pt x="317" y="221"/>
                </a:cubicBezTo>
                <a:cubicBezTo>
                  <a:pt x="317" y="222"/>
                  <a:pt x="317" y="222"/>
                  <a:pt x="317" y="222"/>
                </a:cubicBezTo>
                <a:cubicBezTo>
                  <a:pt x="317" y="223"/>
                  <a:pt x="317" y="223"/>
                  <a:pt x="317" y="223"/>
                </a:cubicBezTo>
                <a:cubicBezTo>
                  <a:pt x="317" y="224"/>
                  <a:pt x="317" y="224"/>
                  <a:pt x="317" y="224"/>
                </a:cubicBezTo>
                <a:cubicBezTo>
                  <a:pt x="318" y="226"/>
                  <a:pt x="318" y="226"/>
                  <a:pt x="318" y="226"/>
                </a:cubicBezTo>
                <a:cubicBezTo>
                  <a:pt x="318" y="227"/>
                  <a:pt x="318" y="227"/>
                  <a:pt x="318" y="227"/>
                </a:cubicBezTo>
                <a:cubicBezTo>
                  <a:pt x="319" y="227"/>
                  <a:pt x="319" y="227"/>
                  <a:pt x="319" y="227"/>
                </a:cubicBezTo>
                <a:cubicBezTo>
                  <a:pt x="318" y="229"/>
                  <a:pt x="318" y="229"/>
                  <a:pt x="318" y="229"/>
                </a:cubicBezTo>
                <a:cubicBezTo>
                  <a:pt x="318" y="229"/>
                  <a:pt x="318" y="229"/>
                  <a:pt x="318" y="229"/>
                </a:cubicBezTo>
                <a:cubicBezTo>
                  <a:pt x="317" y="230"/>
                  <a:pt x="317" y="230"/>
                  <a:pt x="317" y="230"/>
                </a:cubicBezTo>
                <a:cubicBezTo>
                  <a:pt x="317" y="232"/>
                  <a:pt x="317" y="232"/>
                  <a:pt x="317" y="232"/>
                </a:cubicBezTo>
                <a:cubicBezTo>
                  <a:pt x="316" y="233"/>
                  <a:pt x="316" y="233"/>
                  <a:pt x="316" y="233"/>
                </a:cubicBezTo>
                <a:cubicBezTo>
                  <a:pt x="316" y="234"/>
                  <a:pt x="316" y="234"/>
                  <a:pt x="316" y="234"/>
                </a:cubicBezTo>
                <a:cubicBezTo>
                  <a:pt x="316" y="235"/>
                  <a:pt x="316" y="235"/>
                  <a:pt x="316" y="235"/>
                </a:cubicBezTo>
                <a:cubicBezTo>
                  <a:pt x="316" y="236"/>
                  <a:pt x="316" y="236"/>
                  <a:pt x="316" y="236"/>
                </a:cubicBezTo>
                <a:cubicBezTo>
                  <a:pt x="316" y="236"/>
                  <a:pt x="316" y="236"/>
                  <a:pt x="316" y="236"/>
                </a:cubicBezTo>
                <a:cubicBezTo>
                  <a:pt x="317" y="236"/>
                  <a:pt x="317" y="236"/>
                  <a:pt x="317" y="236"/>
                </a:cubicBezTo>
                <a:cubicBezTo>
                  <a:pt x="318" y="235"/>
                  <a:pt x="318" y="235"/>
                  <a:pt x="318" y="235"/>
                </a:cubicBezTo>
                <a:cubicBezTo>
                  <a:pt x="318" y="234"/>
                  <a:pt x="318" y="234"/>
                  <a:pt x="318" y="234"/>
                </a:cubicBezTo>
                <a:cubicBezTo>
                  <a:pt x="320" y="234"/>
                  <a:pt x="320" y="234"/>
                  <a:pt x="320" y="234"/>
                </a:cubicBezTo>
                <a:cubicBezTo>
                  <a:pt x="320" y="233"/>
                  <a:pt x="320" y="233"/>
                  <a:pt x="320" y="233"/>
                </a:cubicBezTo>
                <a:cubicBezTo>
                  <a:pt x="320" y="233"/>
                  <a:pt x="320" y="233"/>
                  <a:pt x="320" y="233"/>
                </a:cubicBezTo>
                <a:cubicBezTo>
                  <a:pt x="320" y="232"/>
                  <a:pt x="320" y="232"/>
                  <a:pt x="320" y="232"/>
                </a:cubicBezTo>
                <a:cubicBezTo>
                  <a:pt x="321" y="232"/>
                  <a:pt x="321" y="232"/>
                  <a:pt x="321" y="232"/>
                </a:cubicBezTo>
                <a:cubicBezTo>
                  <a:pt x="322" y="232"/>
                  <a:pt x="322" y="232"/>
                  <a:pt x="322" y="232"/>
                </a:cubicBezTo>
                <a:cubicBezTo>
                  <a:pt x="322" y="230"/>
                  <a:pt x="322" y="230"/>
                  <a:pt x="322" y="230"/>
                </a:cubicBezTo>
                <a:cubicBezTo>
                  <a:pt x="322" y="228"/>
                  <a:pt x="322" y="228"/>
                  <a:pt x="322" y="228"/>
                </a:cubicBezTo>
                <a:cubicBezTo>
                  <a:pt x="324" y="227"/>
                  <a:pt x="324" y="227"/>
                  <a:pt x="324" y="227"/>
                </a:cubicBezTo>
                <a:cubicBezTo>
                  <a:pt x="325" y="225"/>
                  <a:pt x="325" y="225"/>
                  <a:pt x="325" y="225"/>
                </a:cubicBezTo>
                <a:cubicBezTo>
                  <a:pt x="325" y="224"/>
                  <a:pt x="325" y="224"/>
                  <a:pt x="325" y="224"/>
                </a:cubicBezTo>
                <a:cubicBezTo>
                  <a:pt x="326" y="223"/>
                  <a:pt x="326" y="223"/>
                  <a:pt x="326" y="223"/>
                </a:cubicBezTo>
                <a:cubicBezTo>
                  <a:pt x="327" y="224"/>
                  <a:pt x="327" y="224"/>
                  <a:pt x="327" y="224"/>
                </a:cubicBezTo>
                <a:cubicBezTo>
                  <a:pt x="327" y="225"/>
                  <a:pt x="327" y="225"/>
                  <a:pt x="327" y="225"/>
                </a:cubicBezTo>
                <a:cubicBezTo>
                  <a:pt x="328" y="227"/>
                  <a:pt x="328" y="227"/>
                  <a:pt x="328" y="227"/>
                </a:cubicBezTo>
                <a:cubicBezTo>
                  <a:pt x="328" y="229"/>
                  <a:pt x="328" y="229"/>
                  <a:pt x="328" y="229"/>
                </a:cubicBezTo>
                <a:cubicBezTo>
                  <a:pt x="329" y="230"/>
                  <a:pt x="329" y="230"/>
                  <a:pt x="329" y="230"/>
                </a:cubicBezTo>
                <a:cubicBezTo>
                  <a:pt x="329" y="232"/>
                  <a:pt x="329" y="232"/>
                  <a:pt x="329" y="232"/>
                </a:cubicBezTo>
                <a:cubicBezTo>
                  <a:pt x="329" y="233"/>
                  <a:pt x="329" y="233"/>
                  <a:pt x="329" y="233"/>
                </a:cubicBezTo>
                <a:cubicBezTo>
                  <a:pt x="329" y="235"/>
                  <a:pt x="329" y="235"/>
                  <a:pt x="329" y="235"/>
                </a:cubicBezTo>
                <a:cubicBezTo>
                  <a:pt x="328" y="237"/>
                  <a:pt x="328" y="237"/>
                  <a:pt x="328" y="237"/>
                </a:cubicBezTo>
                <a:cubicBezTo>
                  <a:pt x="327" y="237"/>
                  <a:pt x="327" y="237"/>
                  <a:pt x="327" y="237"/>
                </a:cubicBezTo>
                <a:cubicBezTo>
                  <a:pt x="327" y="236"/>
                  <a:pt x="327" y="236"/>
                  <a:pt x="327" y="236"/>
                </a:cubicBezTo>
                <a:cubicBezTo>
                  <a:pt x="326" y="237"/>
                  <a:pt x="326" y="237"/>
                  <a:pt x="326" y="237"/>
                </a:cubicBezTo>
                <a:cubicBezTo>
                  <a:pt x="325" y="238"/>
                  <a:pt x="325" y="238"/>
                  <a:pt x="325" y="238"/>
                </a:cubicBezTo>
                <a:cubicBezTo>
                  <a:pt x="326" y="239"/>
                  <a:pt x="326" y="239"/>
                  <a:pt x="326" y="239"/>
                </a:cubicBezTo>
                <a:cubicBezTo>
                  <a:pt x="325" y="241"/>
                  <a:pt x="325" y="241"/>
                  <a:pt x="325" y="241"/>
                </a:cubicBezTo>
                <a:cubicBezTo>
                  <a:pt x="324" y="242"/>
                  <a:pt x="324" y="242"/>
                  <a:pt x="324" y="242"/>
                </a:cubicBezTo>
                <a:cubicBezTo>
                  <a:pt x="325" y="243"/>
                  <a:pt x="325" y="243"/>
                  <a:pt x="325" y="243"/>
                </a:cubicBezTo>
                <a:cubicBezTo>
                  <a:pt x="325" y="245"/>
                  <a:pt x="325" y="245"/>
                  <a:pt x="325" y="245"/>
                </a:cubicBezTo>
                <a:cubicBezTo>
                  <a:pt x="326" y="249"/>
                  <a:pt x="326" y="249"/>
                  <a:pt x="326" y="249"/>
                </a:cubicBezTo>
                <a:cubicBezTo>
                  <a:pt x="327" y="251"/>
                  <a:pt x="327" y="251"/>
                  <a:pt x="327" y="251"/>
                </a:cubicBezTo>
                <a:cubicBezTo>
                  <a:pt x="326" y="252"/>
                  <a:pt x="326" y="252"/>
                  <a:pt x="326" y="252"/>
                </a:cubicBezTo>
                <a:cubicBezTo>
                  <a:pt x="327" y="253"/>
                  <a:pt x="327" y="253"/>
                  <a:pt x="327" y="253"/>
                </a:cubicBezTo>
                <a:cubicBezTo>
                  <a:pt x="328" y="253"/>
                  <a:pt x="328" y="253"/>
                  <a:pt x="328" y="253"/>
                </a:cubicBezTo>
                <a:cubicBezTo>
                  <a:pt x="328" y="252"/>
                  <a:pt x="328" y="252"/>
                  <a:pt x="328" y="252"/>
                </a:cubicBezTo>
                <a:cubicBezTo>
                  <a:pt x="327" y="251"/>
                  <a:pt x="327" y="251"/>
                  <a:pt x="327" y="251"/>
                </a:cubicBezTo>
                <a:cubicBezTo>
                  <a:pt x="328" y="250"/>
                  <a:pt x="328" y="250"/>
                  <a:pt x="328" y="250"/>
                </a:cubicBezTo>
                <a:cubicBezTo>
                  <a:pt x="329" y="250"/>
                  <a:pt x="329" y="250"/>
                  <a:pt x="329" y="250"/>
                </a:cubicBezTo>
                <a:cubicBezTo>
                  <a:pt x="330" y="252"/>
                  <a:pt x="330" y="252"/>
                  <a:pt x="330" y="252"/>
                </a:cubicBezTo>
                <a:cubicBezTo>
                  <a:pt x="330" y="252"/>
                  <a:pt x="330" y="252"/>
                  <a:pt x="330" y="252"/>
                </a:cubicBezTo>
                <a:cubicBezTo>
                  <a:pt x="331" y="250"/>
                  <a:pt x="331" y="250"/>
                  <a:pt x="331" y="250"/>
                </a:cubicBezTo>
                <a:cubicBezTo>
                  <a:pt x="332" y="249"/>
                  <a:pt x="332" y="249"/>
                  <a:pt x="332" y="249"/>
                </a:cubicBezTo>
                <a:cubicBezTo>
                  <a:pt x="332" y="247"/>
                  <a:pt x="332" y="247"/>
                  <a:pt x="332" y="247"/>
                </a:cubicBezTo>
                <a:cubicBezTo>
                  <a:pt x="333" y="247"/>
                  <a:pt x="333" y="247"/>
                  <a:pt x="333" y="247"/>
                </a:cubicBezTo>
                <a:cubicBezTo>
                  <a:pt x="334" y="245"/>
                  <a:pt x="334" y="245"/>
                  <a:pt x="334" y="245"/>
                </a:cubicBezTo>
                <a:cubicBezTo>
                  <a:pt x="334" y="245"/>
                  <a:pt x="334" y="245"/>
                  <a:pt x="334" y="245"/>
                </a:cubicBezTo>
                <a:cubicBezTo>
                  <a:pt x="335" y="244"/>
                  <a:pt x="335" y="244"/>
                  <a:pt x="335" y="244"/>
                </a:cubicBezTo>
                <a:cubicBezTo>
                  <a:pt x="337" y="242"/>
                  <a:pt x="337" y="242"/>
                  <a:pt x="337" y="242"/>
                </a:cubicBezTo>
                <a:cubicBezTo>
                  <a:pt x="339" y="240"/>
                  <a:pt x="339" y="240"/>
                  <a:pt x="339" y="240"/>
                </a:cubicBezTo>
                <a:cubicBezTo>
                  <a:pt x="340" y="237"/>
                  <a:pt x="340" y="237"/>
                  <a:pt x="340" y="237"/>
                </a:cubicBezTo>
                <a:cubicBezTo>
                  <a:pt x="341" y="235"/>
                  <a:pt x="341" y="235"/>
                  <a:pt x="341" y="235"/>
                </a:cubicBezTo>
                <a:cubicBezTo>
                  <a:pt x="342" y="234"/>
                  <a:pt x="342" y="234"/>
                  <a:pt x="342" y="234"/>
                </a:cubicBezTo>
                <a:cubicBezTo>
                  <a:pt x="343" y="236"/>
                  <a:pt x="343" y="236"/>
                  <a:pt x="343" y="236"/>
                </a:cubicBezTo>
                <a:cubicBezTo>
                  <a:pt x="344" y="235"/>
                  <a:pt x="344" y="235"/>
                  <a:pt x="344" y="235"/>
                </a:cubicBezTo>
                <a:cubicBezTo>
                  <a:pt x="344" y="235"/>
                  <a:pt x="344" y="235"/>
                  <a:pt x="344" y="235"/>
                </a:cubicBezTo>
                <a:cubicBezTo>
                  <a:pt x="346" y="235"/>
                  <a:pt x="346" y="235"/>
                  <a:pt x="346" y="235"/>
                </a:cubicBezTo>
                <a:cubicBezTo>
                  <a:pt x="346" y="234"/>
                  <a:pt x="346" y="234"/>
                  <a:pt x="346" y="234"/>
                </a:cubicBezTo>
                <a:cubicBezTo>
                  <a:pt x="345" y="234"/>
                  <a:pt x="345" y="234"/>
                  <a:pt x="345" y="234"/>
                </a:cubicBezTo>
                <a:cubicBezTo>
                  <a:pt x="344" y="233"/>
                  <a:pt x="344" y="233"/>
                  <a:pt x="344" y="233"/>
                </a:cubicBezTo>
                <a:cubicBezTo>
                  <a:pt x="344" y="233"/>
                  <a:pt x="344" y="233"/>
                  <a:pt x="344" y="233"/>
                </a:cubicBezTo>
                <a:cubicBezTo>
                  <a:pt x="346" y="232"/>
                  <a:pt x="346" y="232"/>
                  <a:pt x="346" y="232"/>
                </a:cubicBezTo>
                <a:cubicBezTo>
                  <a:pt x="346" y="233"/>
                  <a:pt x="346" y="233"/>
                  <a:pt x="346" y="233"/>
                </a:cubicBezTo>
                <a:cubicBezTo>
                  <a:pt x="347" y="233"/>
                  <a:pt x="347" y="233"/>
                  <a:pt x="347" y="233"/>
                </a:cubicBezTo>
                <a:cubicBezTo>
                  <a:pt x="348" y="233"/>
                  <a:pt x="348" y="233"/>
                  <a:pt x="348" y="233"/>
                </a:cubicBezTo>
                <a:cubicBezTo>
                  <a:pt x="348" y="232"/>
                  <a:pt x="348" y="232"/>
                  <a:pt x="348" y="232"/>
                </a:cubicBezTo>
                <a:cubicBezTo>
                  <a:pt x="348" y="231"/>
                  <a:pt x="348" y="231"/>
                  <a:pt x="348" y="231"/>
                </a:cubicBezTo>
                <a:cubicBezTo>
                  <a:pt x="347" y="231"/>
                  <a:pt x="347" y="231"/>
                  <a:pt x="347" y="231"/>
                </a:cubicBezTo>
                <a:cubicBezTo>
                  <a:pt x="347" y="230"/>
                  <a:pt x="347" y="230"/>
                  <a:pt x="347" y="230"/>
                </a:cubicBezTo>
                <a:cubicBezTo>
                  <a:pt x="346" y="230"/>
                  <a:pt x="346" y="230"/>
                  <a:pt x="346" y="230"/>
                </a:cubicBezTo>
                <a:cubicBezTo>
                  <a:pt x="346" y="228"/>
                  <a:pt x="346" y="228"/>
                  <a:pt x="346" y="228"/>
                </a:cubicBezTo>
                <a:cubicBezTo>
                  <a:pt x="347" y="227"/>
                  <a:pt x="347" y="227"/>
                  <a:pt x="347" y="227"/>
                </a:cubicBezTo>
                <a:cubicBezTo>
                  <a:pt x="347" y="226"/>
                  <a:pt x="347" y="226"/>
                  <a:pt x="347" y="226"/>
                </a:cubicBezTo>
                <a:cubicBezTo>
                  <a:pt x="348" y="226"/>
                  <a:pt x="348" y="226"/>
                  <a:pt x="348" y="226"/>
                </a:cubicBezTo>
                <a:cubicBezTo>
                  <a:pt x="347" y="225"/>
                  <a:pt x="347" y="225"/>
                  <a:pt x="347" y="225"/>
                </a:cubicBezTo>
                <a:cubicBezTo>
                  <a:pt x="347" y="224"/>
                  <a:pt x="347" y="224"/>
                  <a:pt x="347" y="224"/>
                </a:cubicBezTo>
                <a:cubicBezTo>
                  <a:pt x="348" y="223"/>
                  <a:pt x="348" y="223"/>
                  <a:pt x="348" y="223"/>
                </a:cubicBezTo>
                <a:cubicBezTo>
                  <a:pt x="348" y="223"/>
                  <a:pt x="348" y="223"/>
                  <a:pt x="348" y="223"/>
                </a:cubicBezTo>
                <a:cubicBezTo>
                  <a:pt x="348" y="222"/>
                  <a:pt x="348" y="222"/>
                  <a:pt x="348" y="222"/>
                </a:cubicBezTo>
                <a:cubicBezTo>
                  <a:pt x="349" y="222"/>
                  <a:pt x="349" y="222"/>
                  <a:pt x="349" y="222"/>
                </a:cubicBezTo>
                <a:cubicBezTo>
                  <a:pt x="349" y="221"/>
                  <a:pt x="349" y="221"/>
                  <a:pt x="349" y="221"/>
                </a:cubicBezTo>
                <a:cubicBezTo>
                  <a:pt x="348" y="221"/>
                  <a:pt x="348" y="221"/>
                  <a:pt x="348" y="221"/>
                </a:cubicBezTo>
                <a:cubicBezTo>
                  <a:pt x="348" y="220"/>
                  <a:pt x="348" y="220"/>
                  <a:pt x="348" y="220"/>
                </a:cubicBezTo>
                <a:cubicBezTo>
                  <a:pt x="349" y="220"/>
                  <a:pt x="349" y="220"/>
                  <a:pt x="349" y="220"/>
                </a:cubicBezTo>
                <a:cubicBezTo>
                  <a:pt x="350" y="221"/>
                  <a:pt x="350" y="221"/>
                  <a:pt x="350" y="221"/>
                </a:cubicBezTo>
                <a:cubicBezTo>
                  <a:pt x="351" y="221"/>
                  <a:pt x="351" y="221"/>
                  <a:pt x="351" y="221"/>
                </a:cubicBezTo>
                <a:cubicBezTo>
                  <a:pt x="352" y="221"/>
                  <a:pt x="352" y="221"/>
                  <a:pt x="352" y="221"/>
                </a:cubicBezTo>
                <a:cubicBezTo>
                  <a:pt x="354" y="221"/>
                  <a:pt x="354" y="221"/>
                  <a:pt x="354" y="221"/>
                </a:cubicBezTo>
                <a:cubicBezTo>
                  <a:pt x="355" y="222"/>
                  <a:pt x="355" y="222"/>
                  <a:pt x="355" y="222"/>
                </a:cubicBezTo>
                <a:cubicBezTo>
                  <a:pt x="355" y="223"/>
                  <a:pt x="355" y="223"/>
                  <a:pt x="355" y="223"/>
                </a:cubicBezTo>
                <a:cubicBezTo>
                  <a:pt x="356" y="224"/>
                  <a:pt x="356" y="224"/>
                  <a:pt x="356" y="224"/>
                </a:cubicBezTo>
                <a:cubicBezTo>
                  <a:pt x="358" y="225"/>
                  <a:pt x="358" y="225"/>
                  <a:pt x="358" y="225"/>
                </a:cubicBezTo>
                <a:cubicBezTo>
                  <a:pt x="359" y="224"/>
                  <a:pt x="359" y="224"/>
                  <a:pt x="359" y="224"/>
                </a:cubicBezTo>
                <a:cubicBezTo>
                  <a:pt x="361" y="225"/>
                  <a:pt x="361" y="225"/>
                  <a:pt x="361" y="225"/>
                </a:cubicBezTo>
                <a:cubicBezTo>
                  <a:pt x="362" y="226"/>
                  <a:pt x="362" y="226"/>
                  <a:pt x="362" y="226"/>
                </a:cubicBezTo>
                <a:cubicBezTo>
                  <a:pt x="362" y="226"/>
                  <a:pt x="362" y="226"/>
                  <a:pt x="362" y="226"/>
                </a:cubicBezTo>
                <a:cubicBezTo>
                  <a:pt x="362" y="227"/>
                  <a:pt x="362" y="227"/>
                  <a:pt x="362" y="227"/>
                </a:cubicBezTo>
                <a:cubicBezTo>
                  <a:pt x="362" y="227"/>
                  <a:pt x="362" y="227"/>
                  <a:pt x="362" y="227"/>
                </a:cubicBezTo>
                <a:cubicBezTo>
                  <a:pt x="361" y="228"/>
                  <a:pt x="361" y="228"/>
                  <a:pt x="361" y="228"/>
                </a:cubicBezTo>
                <a:cubicBezTo>
                  <a:pt x="361" y="227"/>
                  <a:pt x="361" y="227"/>
                  <a:pt x="361" y="227"/>
                </a:cubicBezTo>
                <a:cubicBezTo>
                  <a:pt x="360" y="227"/>
                  <a:pt x="360" y="227"/>
                  <a:pt x="360" y="227"/>
                </a:cubicBezTo>
                <a:cubicBezTo>
                  <a:pt x="360" y="228"/>
                  <a:pt x="360" y="228"/>
                  <a:pt x="360" y="228"/>
                </a:cubicBezTo>
                <a:cubicBezTo>
                  <a:pt x="363" y="229"/>
                  <a:pt x="363" y="229"/>
                  <a:pt x="363" y="229"/>
                </a:cubicBezTo>
                <a:cubicBezTo>
                  <a:pt x="363" y="231"/>
                  <a:pt x="363" y="231"/>
                  <a:pt x="363" y="231"/>
                </a:cubicBezTo>
                <a:cubicBezTo>
                  <a:pt x="362" y="231"/>
                  <a:pt x="362" y="231"/>
                  <a:pt x="362" y="231"/>
                </a:cubicBezTo>
                <a:cubicBezTo>
                  <a:pt x="362" y="231"/>
                  <a:pt x="362" y="231"/>
                  <a:pt x="362" y="231"/>
                </a:cubicBezTo>
                <a:cubicBezTo>
                  <a:pt x="363" y="231"/>
                  <a:pt x="363" y="231"/>
                  <a:pt x="363" y="231"/>
                </a:cubicBezTo>
                <a:cubicBezTo>
                  <a:pt x="365" y="231"/>
                  <a:pt x="365" y="231"/>
                  <a:pt x="365" y="231"/>
                </a:cubicBezTo>
                <a:cubicBezTo>
                  <a:pt x="366" y="232"/>
                  <a:pt x="366" y="232"/>
                  <a:pt x="366" y="232"/>
                </a:cubicBezTo>
                <a:cubicBezTo>
                  <a:pt x="366" y="232"/>
                  <a:pt x="366" y="232"/>
                  <a:pt x="366" y="232"/>
                </a:cubicBezTo>
                <a:cubicBezTo>
                  <a:pt x="366" y="233"/>
                  <a:pt x="366" y="233"/>
                  <a:pt x="366" y="233"/>
                </a:cubicBezTo>
                <a:cubicBezTo>
                  <a:pt x="366" y="234"/>
                  <a:pt x="366" y="234"/>
                  <a:pt x="366" y="234"/>
                </a:cubicBezTo>
                <a:cubicBezTo>
                  <a:pt x="364" y="236"/>
                  <a:pt x="364" y="236"/>
                  <a:pt x="364" y="236"/>
                </a:cubicBezTo>
                <a:cubicBezTo>
                  <a:pt x="363" y="236"/>
                  <a:pt x="363" y="236"/>
                  <a:pt x="363" y="236"/>
                </a:cubicBezTo>
                <a:cubicBezTo>
                  <a:pt x="362" y="236"/>
                  <a:pt x="362" y="236"/>
                  <a:pt x="362" y="236"/>
                </a:cubicBezTo>
                <a:cubicBezTo>
                  <a:pt x="363" y="236"/>
                  <a:pt x="363" y="236"/>
                  <a:pt x="363" y="236"/>
                </a:cubicBezTo>
                <a:cubicBezTo>
                  <a:pt x="364" y="237"/>
                  <a:pt x="364" y="237"/>
                  <a:pt x="364" y="237"/>
                </a:cubicBezTo>
                <a:cubicBezTo>
                  <a:pt x="364" y="238"/>
                  <a:pt x="364" y="238"/>
                  <a:pt x="364" y="238"/>
                </a:cubicBezTo>
                <a:cubicBezTo>
                  <a:pt x="365" y="238"/>
                  <a:pt x="365" y="238"/>
                  <a:pt x="365" y="238"/>
                </a:cubicBezTo>
                <a:cubicBezTo>
                  <a:pt x="365" y="238"/>
                  <a:pt x="365" y="238"/>
                  <a:pt x="365" y="238"/>
                </a:cubicBezTo>
                <a:cubicBezTo>
                  <a:pt x="364" y="239"/>
                  <a:pt x="364" y="239"/>
                  <a:pt x="364" y="239"/>
                </a:cubicBezTo>
                <a:cubicBezTo>
                  <a:pt x="365" y="240"/>
                  <a:pt x="365" y="240"/>
                  <a:pt x="365" y="240"/>
                </a:cubicBezTo>
                <a:cubicBezTo>
                  <a:pt x="363" y="241"/>
                  <a:pt x="363" y="241"/>
                  <a:pt x="363" y="241"/>
                </a:cubicBezTo>
                <a:cubicBezTo>
                  <a:pt x="361" y="241"/>
                  <a:pt x="361" y="241"/>
                  <a:pt x="361" y="241"/>
                </a:cubicBezTo>
                <a:cubicBezTo>
                  <a:pt x="361" y="241"/>
                  <a:pt x="361" y="241"/>
                  <a:pt x="361" y="241"/>
                </a:cubicBezTo>
                <a:cubicBezTo>
                  <a:pt x="360" y="242"/>
                  <a:pt x="360" y="242"/>
                  <a:pt x="360" y="242"/>
                </a:cubicBezTo>
                <a:cubicBezTo>
                  <a:pt x="359" y="242"/>
                  <a:pt x="359" y="242"/>
                  <a:pt x="359" y="242"/>
                </a:cubicBezTo>
                <a:cubicBezTo>
                  <a:pt x="358" y="240"/>
                  <a:pt x="358" y="240"/>
                  <a:pt x="358" y="240"/>
                </a:cubicBezTo>
                <a:cubicBezTo>
                  <a:pt x="357" y="240"/>
                  <a:pt x="357" y="240"/>
                  <a:pt x="357" y="240"/>
                </a:cubicBezTo>
                <a:cubicBezTo>
                  <a:pt x="357" y="240"/>
                  <a:pt x="357" y="240"/>
                  <a:pt x="357" y="240"/>
                </a:cubicBezTo>
                <a:cubicBezTo>
                  <a:pt x="356" y="240"/>
                  <a:pt x="356" y="240"/>
                  <a:pt x="356" y="240"/>
                </a:cubicBezTo>
                <a:cubicBezTo>
                  <a:pt x="356" y="241"/>
                  <a:pt x="356" y="241"/>
                  <a:pt x="356" y="241"/>
                </a:cubicBezTo>
                <a:cubicBezTo>
                  <a:pt x="355" y="241"/>
                  <a:pt x="355" y="241"/>
                  <a:pt x="355" y="241"/>
                </a:cubicBezTo>
                <a:cubicBezTo>
                  <a:pt x="356" y="241"/>
                  <a:pt x="356" y="241"/>
                  <a:pt x="356" y="241"/>
                </a:cubicBezTo>
                <a:cubicBezTo>
                  <a:pt x="357" y="242"/>
                  <a:pt x="357" y="242"/>
                  <a:pt x="357" y="242"/>
                </a:cubicBezTo>
                <a:cubicBezTo>
                  <a:pt x="357" y="243"/>
                  <a:pt x="357" y="243"/>
                  <a:pt x="357" y="243"/>
                </a:cubicBezTo>
                <a:cubicBezTo>
                  <a:pt x="356" y="244"/>
                  <a:pt x="356" y="244"/>
                  <a:pt x="356" y="244"/>
                </a:cubicBezTo>
                <a:cubicBezTo>
                  <a:pt x="357" y="244"/>
                  <a:pt x="357" y="244"/>
                  <a:pt x="357" y="244"/>
                </a:cubicBezTo>
                <a:cubicBezTo>
                  <a:pt x="356" y="245"/>
                  <a:pt x="356" y="245"/>
                  <a:pt x="356" y="245"/>
                </a:cubicBezTo>
                <a:cubicBezTo>
                  <a:pt x="356" y="246"/>
                  <a:pt x="356" y="246"/>
                  <a:pt x="356" y="246"/>
                </a:cubicBezTo>
                <a:cubicBezTo>
                  <a:pt x="357" y="246"/>
                  <a:pt x="357" y="246"/>
                  <a:pt x="357" y="246"/>
                </a:cubicBezTo>
                <a:cubicBezTo>
                  <a:pt x="357" y="245"/>
                  <a:pt x="357" y="245"/>
                  <a:pt x="357" y="245"/>
                </a:cubicBezTo>
                <a:cubicBezTo>
                  <a:pt x="358" y="245"/>
                  <a:pt x="358" y="245"/>
                  <a:pt x="358" y="245"/>
                </a:cubicBezTo>
                <a:cubicBezTo>
                  <a:pt x="358" y="246"/>
                  <a:pt x="358" y="246"/>
                  <a:pt x="358" y="246"/>
                </a:cubicBezTo>
                <a:cubicBezTo>
                  <a:pt x="356" y="246"/>
                  <a:pt x="356" y="246"/>
                  <a:pt x="356" y="246"/>
                </a:cubicBezTo>
                <a:cubicBezTo>
                  <a:pt x="356" y="248"/>
                  <a:pt x="356" y="248"/>
                  <a:pt x="356" y="248"/>
                </a:cubicBezTo>
                <a:cubicBezTo>
                  <a:pt x="356" y="249"/>
                  <a:pt x="356" y="249"/>
                  <a:pt x="356" y="249"/>
                </a:cubicBezTo>
                <a:cubicBezTo>
                  <a:pt x="357" y="250"/>
                  <a:pt x="357" y="250"/>
                  <a:pt x="357" y="250"/>
                </a:cubicBezTo>
                <a:cubicBezTo>
                  <a:pt x="357" y="251"/>
                  <a:pt x="357" y="251"/>
                  <a:pt x="357" y="251"/>
                </a:cubicBezTo>
                <a:cubicBezTo>
                  <a:pt x="358" y="254"/>
                  <a:pt x="358" y="254"/>
                  <a:pt x="358" y="254"/>
                </a:cubicBezTo>
                <a:cubicBezTo>
                  <a:pt x="358" y="255"/>
                  <a:pt x="358" y="255"/>
                  <a:pt x="358" y="255"/>
                </a:cubicBezTo>
                <a:cubicBezTo>
                  <a:pt x="358" y="255"/>
                  <a:pt x="358" y="255"/>
                  <a:pt x="358" y="255"/>
                </a:cubicBezTo>
                <a:cubicBezTo>
                  <a:pt x="358" y="256"/>
                  <a:pt x="358" y="256"/>
                  <a:pt x="358" y="256"/>
                </a:cubicBezTo>
                <a:cubicBezTo>
                  <a:pt x="356" y="258"/>
                  <a:pt x="356" y="258"/>
                  <a:pt x="356" y="258"/>
                </a:cubicBezTo>
                <a:cubicBezTo>
                  <a:pt x="356" y="259"/>
                  <a:pt x="356" y="259"/>
                  <a:pt x="356" y="259"/>
                </a:cubicBezTo>
                <a:cubicBezTo>
                  <a:pt x="356" y="260"/>
                  <a:pt x="356" y="260"/>
                  <a:pt x="356" y="260"/>
                </a:cubicBezTo>
                <a:cubicBezTo>
                  <a:pt x="355" y="259"/>
                  <a:pt x="355" y="259"/>
                  <a:pt x="355" y="259"/>
                </a:cubicBezTo>
                <a:cubicBezTo>
                  <a:pt x="353" y="259"/>
                  <a:pt x="353" y="259"/>
                  <a:pt x="353" y="259"/>
                </a:cubicBezTo>
                <a:cubicBezTo>
                  <a:pt x="352" y="260"/>
                  <a:pt x="352" y="260"/>
                  <a:pt x="352" y="260"/>
                </a:cubicBezTo>
                <a:cubicBezTo>
                  <a:pt x="351" y="261"/>
                  <a:pt x="351" y="261"/>
                  <a:pt x="351" y="261"/>
                </a:cubicBezTo>
                <a:cubicBezTo>
                  <a:pt x="350" y="262"/>
                  <a:pt x="350" y="262"/>
                  <a:pt x="350" y="262"/>
                </a:cubicBezTo>
                <a:cubicBezTo>
                  <a:pt x="350" y="263"/>
                  <a:pt x="350" y="263"/>
                  <a:pt x="350" y="263"/>
                </a:cubicBezTo>
                <a:cubicBezTo>
                  <a:pt x="349" y="263"/>
                  <a:pt x="349" y="263"/>
                  <a:pt x="349" y="263"/>
                </a:cubicBezTo>
                <a:cubicBezTo>
                  <a:pt x="347" y="265"/>
                  <a:pt x="347" y="265"/>
                  <a:pt x="347" y="265"/>
                </a:cubicBezTo>
                <a:cubicBezTo>
                  <a:pt x="346" y="265"/>
                  <a:pt x="346" y="265"/>
                  <a:pt x="346" y="265"/>
                </a:cubicBezTo>
                <a:cubicBezTo>
                  <a:pt x="345" y="265"/>
                  <a:pt x="345" y="265"/>
                  <a:pt x="345" y="265"/>
                </a:cubicBezTo>
                <a:cubicBezTo>
                  <a:pt x="345" y="266"/>
                  <a:pt x="345" y="266"/>
                  <a:pt x="345" y="266"/>
                </a:cubicBezTo>
                <a:cubicBezTo>
                  <a:pt x="341" y="267"/>
                  <a:pt x="341" y="267"/>
                  <a:pt x="341" y="267"/>
                </a:cubicBezTo>
                <a:cubicBezTo>
                  <a:pt x="341" y="266"/>
                  <a:pt x="341" y="266"/>
                  <a:pt x="341" y="266"/>
                </a:cubicBezTo>
                <a:cubicBezTo>
                  <a:pt x="341" y="265"/>
                  <a:pt x="341" y="265"/>
                  <a:pt x="341" y="265"/>
                </a:cubicBezTo>
                <a:cubicBezTo>
                  <a:pt x="341" y="264"/>
                  <a:pt x="341" y="264"/>
                  <a:pt x="341" y="264"/>
                </a:cubicBezTo>
                <a:cubicBezTo>
                  <a:pt x="340" y="263"/>
                  <a:pt x="340" y="263"/>
                  <a:pt x="340" y="263"/>
                </a:cubicBezTo>
                <a:cubicBezTo>
                  <a:pt x="340" y="262"/>
                  <a:pt x="340" y="262"/>
                  <a:pt x="340" y="262"/>
                </a:cubicBezTo>
                <a:cubicBezTo>
                  <a:pt x="341" y="262"/>
                  <a:pt x="341" y="262"/>
                  <a:pt x="341" y="262"/>
                </a:cubicBezTo>
                <a:cubicBezTo>
                  <a:pt x="341" y="261"/>
                  <a:pt x="341" y="261"/>
                  <a:pt x="341" y="261"/>
                </a:cubicBezTo>
                <a:cubicBezTo>
                  <a:pt x="342" y="259"/>
                  <a:pt x="342" y="259"/>
                  <a:pt x="342" y="259"/>
                </a:cubicBezTo>
                <a:cubicBezTo>
                  <a:pt x="341" y="261"/>
                  <a:pt x="341" y="261"/>
                  <a:pt x="341" y="261"/>
                </a:cubicBezTo>
                <a:cubicBezTo>
                  <a:pt x="340" y="261"/>
                  <a:pt x="340" y="261"/>
                  <a:pt x="340" y="261"/>
                </a:cubicBezTo>
                <a:cubicBezTo>
                  <a:pt x="340" y="258"/>
                  <a:pt x="340" y="258"/>
                  <a:pt x="340" y="258"/>
                </a:cubicBezTo>
                <a:cubicBezTo>
                  <a:pt x="339" y="258"/>
                  <a:pt x="339" y="258"/>
                  <a:pt x="339" y="258"/>
                </a:cubicBezTo>
                <a:cubicBezTo>
                  <a:pt x="339" y="257"/>
                  <a:pt x="339" y="257"/>
                  <a:pt x="339" y="257"/>
                </a:cubicBezTo>
                <a:cubicBezTo>
                  <a:pt x="337" y="257"/>
                  <a:pt x="337" y="257"/>
                  <a:pt x="337" y="257"/>
                </a:cubicBezTo>
                <a:cubicBezTo>
                  <a:pt x="337" y="257"/>
                  <a:pt x="337" y="257"/>
                  <a:pt x="337" y="257"/>
                </a:cubicBezTo>
                <a:cubicBezTo>
                  <a:pt x="336" y="257"/>
                  <a:pt x="336" y="257"/>
                  <a:pt x="336" y="257"/>
                </a:cubicBezTo>
                <a:cubicBezTo>
                  <a:pt x="335" y="259"/>
                  <a:pt x="335" y="259"/>
                  <a:pt x="335" y="259"/>
                </a:cubicBezTo>
                <a:cubicBezTo>
                  <a:pt x="335" y="259"/>
                  <a:pt x="335" y="259"/>
                  <a:pt x="335" y="259"/>
                </a:cubicBezTo>
                <a:cubicBezTo>
                  <a:pt x="337" y="258"/>
                  <a:pt x="337" y="258"/>
                  <a:pt x="337" y="258"/>
                </a:cubicBezTo>
                <a:cubicBezTo>
                  <a:pt x="338" y="258"/>
                  <a:pt x="338" y="258"/>
                  <a:pt x="338" y="258"/>
                </a:cubicBezTo>
                <a:cubicBezTo>
                  <a:pt x="338" y="259"/>
                  <a:pt x="338" y="259"/>
                  <a:pt x="338" y="259"/>
                </a:cubicBezTo>
                <a:cubicBezTo>
                  <a:pt x="339" y="260"/>
                  <a:pt x="339" y="260"/>
                  <a:pt x="339" y="260"/>
                </a:cubicBezTo>
                <a:cubicBezTo>
                  <a:pt x="339" y="262"/>
                  <a:pt x="339" y="262"/>
                  <a:pt x="339" y="262"/>
                </a:cubicBezTo>
                <a:cubicBezTo>
                  <a:pt x="339" y="263"/>
                  <a:pt x="339" y="263"/>
                  <a:pt x="339" y="263"/>
                </a:cubicBezTo>
                <a:cubicBezTo>
                  <a:pt x="340" y="264"/>
                  <a:pt x="340" y="264"/>
                  <a:pt x="340" y="264"/>
                </a:cubicBezTo>
                <a:cubicBezTo>
                  <a:pt x="340" y="266"/>
                  <a:pt x="340" y="266"/>
                  <a:pt x="340" y="266"/>
                </a:cubicBezTo>
                <a:cubicBezTo>
                  <a:pt x="339" y="266"/>
                  <a:pt x="339" y="266"/>
                  <a:pt x="339" y="266"/>
                </a:cubicBezTo>
                <a:cubicBezTo>
                  <a:pt x="340" y="267"/>
                  <a:pt x="340" y="267"/>
                  <a:pt x="340" y="267"/>
                </a:cubicBezTo>
                <a:cubicBezTo>
                  <a:pt x="340" y="268"/>
                  <a:pt x="340" y="268"/>
                  <a:pt x="340" y="268"/>
                </a:cubicBezTo>
                <a:cubicBezTo>
                  <a:pt x="339" y="268"/>
                  <a:pt x="339" y="268"/>
                  <a:pt x="339" y="268"/>
                </a:cubicBezTo>
                <a:cubicBezTo>
                  <a:pt x="337" y="266"/>
                  <a:pt x="337" y="266"/>
                  <a:pt x="337" y="266"/>
                </a:cubicBezTo>
                <a:cubicBezTo>
                  <a:pt x="337" y="265"/>
                  <a:pt x="337" y="265"/>
                  <a:pt x="337" y="265"/>
                </a:cubicBezTo>
                <a:cubicBezTo>
                  <a:pt x="336" y="265"/>
                  <a:pt x="336" y="265"/>
                  <a:pt x="336" y="265"/>
                </a:cubicBezTo>
                <a:cubicBezTo>
                  <a:pt x="336" y="264"/>
                  <a:pt x="336" y="264"/>
                  <a:pt x="336" y="264"/>
                </a:cubicBezTo>
                <a:cubicBezTo>
                  <a:pt x="335" y="265"/>
                  <a:pt x="335" y="265"/>
                  <a:pt x="335" y="265"/>
                </a:cubicBezTo>
                <a:cubicBezTo>
                  <a:pt x="336" y="266"/>
                  <a:pt x="336" y="266"/>
                  <a:pt x="336" y="266"/>
                </a:cubicBezTo>
                <a:cubicBezTo>
                  <a:pt x="336" y="267"/>
                  <a:pt x="336" y="267"/>
                  <a:pt x="336" y="267"/>
                </a:cubicBezTo>
                <a:cubicBezTo>
                  <a:pt x="335" y="266"/>
                  <a:pt x="335" y="266"/>
                  <a:pt x="335" y="266"/>
                </a:cubicBezTo>
                <a:cubicBezTo>
                  <a:pt x="334" y="266"/>
                  <a:pt x="334" y="266"/>
                  <a:pt x="334" y="266"/>
                </a:cubicBezTo>
                <a:cubicBezTo>
                  <a:pt x="333" y="265"/>
                  <a:pt x="333" y="265"/>
                  <a:pt x="333" y="265"/>
                </a:cubicBezTo>
                <a:cubicBezTo>
                  <a:pt x="333" y="266"/>
                  <a:pt x="333" y="266"/>
                  <a:pt x="333" y="266"/>
                </a:cubicBezTo>
                <a:cubicBezTo>
                  <a:pt x="333" y="265"/>
                  <a:pt x="333" y="265"/>
                  <a:pt x="333" y="265"/>
                </a:cubicBezTo>
                <a:cubicBezTo>
                  <a:pt x="333" y="263"/>
                  <a:pt x="333" y="263"/>
                  <a:pt x="333" y="263"/>
                </a:cubicBezTo>
                <a:cubicBezTo>
                  <a:pt x="333" y="263"/>
                  <a:pt x="333" y="263"/>
                  <a:pt x="333" y="263"/>
                </a:cubicBezTo>
                <a:cubicBezTo>
                  <a:pt x="333" y="262"/>
                  <a:pt x="333" y="262"/>
                  <a:pt x="333" y="262"/>
                </a:cubicBezTo>
                <a:cubicBezTo>
                  <a:pt x="333" y="262"/>
                  <a:pt x="333" y="262"/>
                  <a:pt x="333" y="262"/>
                </a:cubicBezTo>
                <a:cubicBezTo>
                  <a:pt x="331" y="262"/>
                  <a:pt x="331" y="262"/>
                  <a:pt x="331" y="262"/>
                </a:cubicBezTo>
                <a:cubicBezTo>
                  <a:pt x="329" y="262"/>
                  <a:pt x="329" y="262"/>
                  <a:pt x="329" y="262"/>
                </a:cubicBezTo>
                <a:cubicBezTo>
                  <a:pt x="328" y="262"/>
                  <a:pt x="328" y="262"/>
                  <a:pt x="328" y="262"/>
                </a:cubicBezTo>
                <a:cubicBezTo>
                  <a:pt x="327" y="262"/>
                  <a:pt x="327" y="262"/>
                  <a:pt x="327" y="262"/>
                </a:cubicBezTo>
                <a:cubicBezTo>
                  <a:pt x="326" y="261"/>
                  <a:pt x="326" y="261"/>
                  <a:pt x="326" y="261"/>
                </a:cubicBezTo>
                <a:cubicBezTo>
                  <a:pt x="326" y="262"/>
                  <a:pt x="326" y="262"/>
                  <a:pt x="326" y="262"/>
                </a:cubicBezTo>
                <a:cubicBezTo>
                  <a:pt x="326" y="263"/>
                  <a:pt x="326" y="263"/>
                  <a:pt x="326" y="263"/>
                </a:cubicBezTo>
                <a:cubicBezTo>
                  <a:pt x="326" y="263"/>
                  <a:pt x="326" y="263"/>
                  <a:pt x="326" y="263"/>
                </a:cubicBezTo>
                <a:cubicBezTo>
                  <a:pt x="326" y="264"/>
                  <a:pt x="326" y="264"/>
                  <a:pt x="326" y="264"/>
                </a:cubicBezTo>
                <a:cubicBezTo>
                  <a:pt x="326" y="265"/>
                  <a:pt x="326" y="265"/>
                  <a:pt x="326" y="265"/>
                </a:cubicBezTo>
                <a:cubicBezTo>
                  <a:pt x="328" y="266"/>
                  <a:pt x="328" y="266"/>
                  <a:pt x="328" y="266"/>
                </a:cubicBezTo>
                <a:cubicBezTo>
                  <a:pt x="328" y="267"/>
                  <a:pt x="328" y="267"/>
                  <a:pt x="328" y="267"/>
                </a:cubicBezTo>
                <a:cubicBezTo>
                  <a:pt x="327" y="268"/>
                  <a:pt x="327" y="268"/>
                  <a:pt x="327" y="268"/>
                </a:cubicBezTo>
                <a:cubicBezTo>
                  <a:pt x="327" y="269"/>
                  <a:pt x="327" y="269"/>
                  <a:pt x="327" y="269"/>
                </a:cubicBezTo>
                <a:cubicBezTo>
                  <a:pt x="324" y="271"/>
                  <a:pt x="324" y="271"/>
                  <a:pt x="324" y="271"/>
                </a:cubicBezTo>
                <a:cubicBezTo>
                  <a:pt x="322" y="272"/>
                  <a:pt x="322" y="272"/>
                  <a:pt x="322" y="272"/>
                </a:cubicBezTo>
                <a:cubicBezTo>
                  <a:pt x="321" y="274"/>
                  <a:pt x="321" y="274"/>
                  <a:pt x="321" y="274"/>
                </a:cubicBezTo>
                <a:cubicBezTo>
                  <a:pt x="320" y="274"/>
                  <a:pt x="320" y="274"/>
                  <a:pt x="320" y="274"/>
                </a:cubicBezTo>
                <a:cubicBezTo>
                  <a:pt x="319" y="274"/>
                  <a:pt x="319" y="274"/>
                  <a:pt x="319" y="274"/>
                </a:cubicBezTo>
                <a:cubicBezTo>
                  <a:pt x="319" y="276"/>
                  <a:pt x="319" y="276"/>
                  <a:pt x="319" y="276"/>
                </a:cubicBezTo>
                <a:cubicBezTo>
                  <a:pt x="317" y="276"/>
                  <a:pt x="317" y="276"/>
                  <a:pt x="317" y="276"/>
                </a:cubicBezTo>
                <a:cubicBezTo>
                  <a:pt x="314" y="276"/>
                  <a:pt x="314" y="276"/>
                  <a:pt x="314" y="276"/>
                </a:cubicBezTo>
                <a:cubicBezTo>
                  <a:pt x="313" y="274"/>
                  <a:pt x="313" y="274"/>
                  <a:pt x="313" y="274"/>
                </a:cubicBezTo>
                <a:cubicBezTo>
                  <a:pt x="312" y="273"/>
                  <a:pt x="312" y="273"/>
                  <a:pt x="312" y="273"/>
                </a:cubicBezTo>
                <a:cubicBezTo>
                  <a:pt x="310" y="272"/>
                  <a:pt x="310" y="272"/>
                  <a:pt x="310" y="272"/>
                </a:cubicBezTo>
                <a:cubicBezTo>
                  <a:pt x="310" y="272"/>
                  <a:pt x="310" y="272"/>
                  <a:pt x="310" y="272"/>
                </a:cubicBezTo>
                <a:cubicBezTo>
                  <a:pt x="311" y="271"/>
                  <a:pt x="311" y="271"/>
                  <a:pt x="311" y="271"/>
                </a:cubicBezTo>
                <a:cubicBezTo>
                  <a:pt x="311" y="271"/>
                  <a:pt x="311" y="271"/>
                  <a:pt x="311" y="271"/>
                </a:cubicBezTo>
                <a:cubicBezTo>
                  <a:pt x="311" y="270"/>
                  <a:pt x="311" y="270"/>
                  <a:pt x="311" y="270"/>
                </a:cubicBezTo>
                <a:cubicBezTo>
                  <a:pt x="310" y="270"/>
                  <a:pt x="310" y="270"/>
                  <a:pt x="310" y="270"/>
                </a:cubicBezTo>
                <a:cubicBezTo>
                  <a:pt x="308" y="268"/>
                  <a:pt x="308" y="268"/>
                  <a:pt x="308" y="268"/>
                </a:cubicBezTo>
                <a:cubicBezTo>
                  <a:pt x="307" y="266"/>
                  <a:pt x="307" y="266"/>
                  <a:pt x="307" y="266"/>
                </a:cubicBezTo>
                <a:cubicBezTo>
                  <a:pt x="304" y="266"/>
                  <a:pt x="304" y="266"/>
                  <a:pt x="304" y="266"/>
                </a:cubicBezTo>
                <a:cubicBezTo>
                  <a:pt x="302" y="265"/>
                  <a:pt x="302" y="265"/>
                  <a:pt x="302" y="265"/>
                </a:cubicBezTo>
                <a:cubicBezTo>
                  <a:pt x="299" y="265"/>
                  <a:pt x="299" y="265"/>
                  <a:pt x="299" y="265"/>
                </a:cubicBezTo>
                <a:cubicBezTo>
                  <a:pt x="298" y="265"/>
                  <a:pt x="298" y="265"/>
                  <a:pt x="298" y="265"/>
                </a:cubicBezTo>
                <a:cubicBezTo>
                  <a:pt x="298" y="266"/>
                  <a:pt x="298" y="266"/>
                  <a:pt x="298" y="266"/>
                </a:cubicBezTo>
                <a:cubicBezTo>
                  <a:pt x="299" y="266"/>
                  <a:pt x="299" y="266"/>
                  <a:pt x="299" y="266"/>
                </a:cubicBezTo>
                <a:cubicBezTo>
                  <a:pt x="299" y="266"/>
                  <a:pt x="299" y="266"/>
                  <a:pt x="299" y="266"/>
                </a:cubicBezTo>
                <a:cubicBezTo>
                  <a:pt x="300" y="266"/>
                  <a:pt x="300" y="266"/>
                  <a:pt x="300" y="266"/>
                </a:cubicBezTo>
                <a:cubicBezTo>
                  <a:pt x="303" y="267"/>
                  <a:pt x="303" y="267"/>
                  <a:pt x="303" y="267"/>
                </a:cubicBezTo>
                <a:cubicBezTo>
                  <a:pt x="306" y="267"/>
                  <a:pt x="306" y="267"/>
                  <a:pt x="306" y="267"/>
                </a:cubicBezTo>
                <a:cubicBezTo>
                  <a:pt x="306" y="267"/>
                  <a:pt x="306" y="267"/>
                  <a:pt x="306" y="267"/>
                </a:cubicBezTo>
                <a:cubicBezTo>
                  <a:pt x="306" y="268"/>
                  <a:pt x="306" y="268"/>
                  <a:pt x="306" y="268"/>
                </a:cubicBezTo>
                <a:cubicBezTo>
                  <a:pt x="306" y="268"/>
                  <a:pt x="306" y="268"/>
                  <a:pt x="306" y="268"/>
                </a:cubicBezTo>
                <a:cubicBezTo>
                  <a:pt x="305" y="268"/>
                  <a:pt x="305" y="268"/>
                  <a:pt x="305" y="268"/>
                </a:cubicBezTo>
                <a:cubicBezTo>
                  <a:pt x="306" y="269"/>
                  <a:pt x="306" y="269"/>
                  <a:pt x="306" y="269"/>
                </a:cubicBezTo>
                <a:cubicBezTo>
                  <a:pt x="306" y="271"/>
                  <a:pt x="306" y="271"/>
                  <a:pt x="306" y="271"/>
                </a:cubicBezTo>
                <a:cubicBezTo>
                  <a:pt x="306" y="271"/>
                  <a:pt x="306" y="271"/>
                  <a:pt x="306" y="271"/>
                </a:cubicBezTo>
                <a:cubicBezTo>
                  <a:pt x="308" y="274"/>
                  <a:pt x="308" y="274"/>
                  <a:pt x="308" y="274"/>
                </a:cubicBezTo>
                <a:cubicBezTo>
                  <a:pt x="309" y="275"/>
                  <a:pt x="309" y="275"/>
                  <a:pt x="309" y="275"/>
                </a:cubicBezTo>
                <a:cubicBezTo>
                  <a:pt x="311" y="276"/>
                  <a:pt x="311" y="276"/>
                  <a:pt x="311" y="276"/>
                </a:cubicBezTo>
                <a:cubicBezTo>
                  <a:pt x="313" y="277"/>
                  <a:pt x="313" y="277"/>
                  <a:pt x="313" y="277"/>
                </a:cubicBezTo>
                <a:cubicBezTo>
                  <a:pt x="318" y="278"/>
                  <a:pt x="318" y="278"/>
                  <a:pt x="318" y="278"/>
                </a:cubicBezTo>
                <a:cubicBezTo>
                  <a:pt x="318" y="279"/>
                  <a:pt x="318" y="279"/>
                  <a:pt x="318" y="279"/>
                </a:cubicBezTo>
                <a:cubicBezTo>
                  <a:pt x="317" y="280"/>
                  <a:pt x="317" y="280"/>
                  <a:pt x="317" y="280"/>
                </a:cubicBezTo>
                <a:cubicBezTo>
                  <a:pt x="316" y="281"/>
                  <a:pt x="316" y="281"/>
                  <a:pt x="316" y="281"/>
                </a:cubicBezTo>
                <a:cubicBezTo>
                  <a:pt x="315" y="281"/>
                  <a:pt x="315" y="281"/>
                  <a:pt x="315" y="281"/>
                </a:cubicBezTo>
                <a:cubicBezTo>
                  <a:pt x="313" y="284"/>
                  <a:pt x="313" y="284"/>
                  <a:pt x="313" y="284"/>
                </a:cubicBezTo>
                <a:cubicBezTo>
                  <a:pt x="313" y="283"/>
                  <a:pt x="313" y="283"/>
                  <a:pt x="313" y="283"/>
                </a:cubicBezTo>
                <a:cubicBezTo>
                  <a:pt x="312" y="284"/>
                  <a:pt x="312" y="284"/>
                  <a:pt x="312" y="284"/>
                </a:cubicBezTo>
                <a:cubicBezTo>
                  <a:pt x="312" y="284"/>
                  <a:pt x="312" y="284"/>
                  <a:pt x="312" y="284"/>
                </a:cubicBezTo>
                <a:cubicBezTo>
                  <a:pt x="308" y="289"/>
                  <a:pt x="308" y="289"/>
                  <a:pt x="308" y="289"/>
                </a:cubicBezTo>
                <a:cubicBezTo>
                  <a:pt x="306" y="289"/>
                  <a:pt x="306" y="289"/>
                  <a:pt x="306" y="289"/>
                </a:cubicBezTo>
                <a:cubicBezTo>
                  <a:pt x="305" y="291"/>
                  <a:pt x="305" y="291"/>
                  <a:pt x="305" y="291"/>
                </a:cubicBezTo>
                <a:cubicBezTo>
                  <a:pt x="304" y="291"/>
                  <a:pt x="304" y="291"/>
                  <a:pt x="304" y="291"/>
                </a:cubicBezTo>
                <a:cubicBezTo>
                  <a:pt x="304" y="291"/>
                  <a:pt x="304" y="291"/>
                  <a:pt x="304" y="291"/>
                </a:cubicBezTo>
                <a:cubicBezTo>
                  <a:pt x="303" y="291"/>
                  <a:pt x="303" y="291"/>
                  <a:pt x="303" y="291"/>
                </a:cubicBezTo>
                <a:cubicBezTo>
                  <a:pt x="303" y="292"/>
                  <a:pt x="303" y="292"/>
                  <a:pt x="303" y="292"/>
                </a:cubicBezTo>
                <a:cubicBezTo>
                  <a:pt x="301" y="290"/>
                  <a:pt x="301" y="290"/>
                  <a:pt x="301" y="290"/>
                </a:cubicBezTo>
                <a:cubicBezTo>
                  <a:pt x="300" y="289"/>
                  <a:pt x="300" y="289"/>
                  <a:pt x="300" y="289"/>
                </a:cubicBezTo>
                <a:cubicBezTo>
                  <a:pt x="299" y="290"/>
                  <a:pt x="299" y="290"/>
                  <a:pt x="299" y="290"/>
                </a:cubicBezTo>
                <a:cubicBezTo>
                  <a:pt x="299" y="289"/>
                  <a:pt x="299" y="289"/>
                  <a:pt x="299" y="289"/>
                </a:cubicBezTo>
                <a:cubicBezTo>
                  <a:pt x="299" y="289"/>
                  <a:pt x="299" y="289"/>
                  <a:pt x="299" y="289"/>
                </a:cubicBezTo>
                <a:cubicBezTo>
                  <a:pt x="300" y="288"/>
                  <a:pt x="300" y="288"/>
                  <a:pt x="300" y="288"/>
                </a:cubicBezTo>
                <a:cubicBezTo>
                  <a:pt x="299" y="288"/>
                  <a:pt x="299" y="288"/>
                  <a:pt x="299" y="288"/>
                </a:cubicBezTo>
                <a:cubicBezTo>
                  <a:pt x="299" y="287"/>
                  <a:pt x="299" y="287"/>
                  <a:pt x="299" y="287"/>
                </a:cubicBezTo>
                <a:cubicBezTo>
                  <a:pt x="298" y="288"/>
                  <a:pt x="298" y="288"/>
                  <a:pt x="298" y="288"/>
                </a:cubicBezTo>
                <a:cubicBezTo>
                  <a:pt x="297" y="290"/>
                  <a:pt x="297" y="290"/>
                  <a:pt x="297" y="290"/>
                </a:cubicBezTo>
                <a:cubicBezTo>
                  <a:pt x="297" y="289"/>
                  <a:pt x="297" y="289"/>
                  <a:pt x="297" y="289"/>
                </a:cubicBezTo>
                <a:cubicBezTo>
                  <a:pt x="296" y="287"/>
                  <a:pt x="296" y="287"/>
                  <a:pt x="296" y="287"/>
                </a:cubicBezTo>
                <a:cubicBezTo>
                  <a:pt x="295" y="289"/>
                  <a:pt x="295" y="289"/>
                  <a:pt x="295" y="289"/>
                </a:cubicBezTo>
                <a:cubicBezTo>
                  <a:pt x="296" y="290"/>
                  <a:pt x="296" y="290"/>
                  <a:pt x="296" y="290"/>
                </a:cubicBezTo>
                <a:cubicBezTo>
                  <a:pt x="296" y="292"/>
                  <a:pt x="296" y="292"/>
                  <a:pt x="296" y="292"/>
                </a:cubicBezTo>
                <a:cubicBezTo>
                  <a:pt x="294" y="294"/>
                  <a:pt x="294" y="294"/>
                  <a:pt x="294" y="294"/>
                </a:cubicBezTo>
                <a:cubicBezTo>
                  <a:pt x="294" y="294"/>
                  <a:pt x="294" y="294"/>
                  <a:pt x="294" y="294"/>
                </a:cubicBezTo>
                <a:cubicBezTo>
                  <a:pt x="293" y="293"/>
                  <a:pt x="293" y="293"/>
                  <a:pt x="293" y="293"/>
                </a:cubicBezTo>
                <a:cubicBezTo>
                  <a:pt x="292" y="292"/>
                  <a:pt x="292" y="292"/>
                  <a:pt x="292" y="292"/>
                </a:cubicBezTo>
                <a:cubicBezTo>
                  <a:pt x="292" y="293"/>
                  <a:pt x="292" y="293"/>
                  <a:pt x="292" y="293"/>
                </a:cubicBezTo>
                <a:cubicBezTo>
                  <a:pt x="293" y="293"/>
                  <a:pt x="293" y="293"/>
                  <a:pt x="293" y="293"/>
                </a:cubicBezTo>
                <a:cubicBezTo>
                  <a:pt x="292" y="294"/>
                  <a:pt x="292" y="294"/>
                  <a:pt x="292" y="294"/>
                </a:cubicBezTo>
                <a:cubicBezTo>
                  <a:pt x="292" y="295"/>
                  <a:pt x="292" y="295"/>
                  <a:pt x="292" y="295"/>
                </a:cubicBezTo>
                <a:cubicBezTo>
                  <a:pt x="291" y="295"/>
                  <a:pt x="291" y="295"/>
                  <a:pt x="291" y="295"/>
                </a:cubicBezTo>
                <a:cubicBezTo>
                  <a:pt x="290" y="295"/>
                  <a:pt x="290" y="295"/>
                  <a:pt x="290" y="295"/>
                </a:cubicBezTo>
                <a:cubicBezTo>
                  <a:pt x="290" y="294"/>
                  <a:pt x="290" y="294"/>
                  <a:pt x="290" y="294"/>
                </a:cubicBezTo>
                <a:cubicBezTo>
                  <a:pt x="289" y="293"/>
                  <a:pt x="289" y="293"/>
                  <a:pt x="289" y="293"/>
                </a:cubicBezTo>
                <a:cubicBezTo>
                  <a:pt x="287" y="291"/>
                  <a:pt x="287" y="291"/>
                  <a:pt x="287" y="291"/>
                </a:cubicBezTo>
                <a:cubicBezTo>
                  <a:pt x="285" y="290"/>
                  <a:pt x="285" y="290"/>
                  <a:pt x="285" y="290"/>
                </a:cubicBezTo>
                <a:cubicBezTo>
                  <a:pt x="282" y="289"/>
                  <a:pt x="282" y="289"/>
                  <a:pt x="282" y="289"/>
                </a:cubicBezTo>
                <a:cubicBezTo>
                  <a:pt x="282" y="287"/>
                  <a:pt x="282" y="287"/>
                  <a:pt x="282" y="287"/>
                </a:cubicBezTo>
                <a:cubicBezTo>
                  <a:pt x="281" y="287"/>
                  <a:pt x="281" y="287"/>
                  <a:pt x="281" y="287"/>
                </a:cubicBezTo>
                <a:cubicBezTo>
                  <a:pt x="279" y="286"/>
                  <a:pt x="279" y="286"/>
                  <a:pt x="279" y="286"/>
                </a:cubicBezTo>
                <a:cubicBezTo>
                  <a:pt x="278" y="285"/>
                  <a:pt x="278" y="285"/>
                  <a:pt x="278" y="285"/>
                </a:cubicBezTo>
                <a:cubicBezTo>
                  <a:pt x="278" y="286"/>
                  <a:pt x="278" y="286"/>
                  <a:pt x="278" y="286"/>
                </a:cubicBezTo>
                <a:cubicBezTo>
                  <a:pt x="277" y="286"/>
                  <a:pt x="277" y="286"/>
                  <a:pt x="277" y="286"/>
                </a:cubicBezTo>
                <a:cubicBezTo>
                  <a:pt x="278" y="288"/>
                  <a:pt x="278" y="288"/>
                  <a:pt x="278" y="288"/>
                </a:cubicBezTo>
                <a:cubicBezTo>
                  <a:pt x="279" y="289"/>
                  <a:pt x="279" y="289"/>
                  <a:pt x="279" y="289"/>
                </a:cubicBezTo>
                <a:cubicBezTo>
                  <a:pt x="279" y="288"/>
                  <a:pt x="279" y="288"/>
                  <a:pt x="279" y="288"/>
                </a:cubicBezTo>
                <a:cubicBezTo>
                  <a:pt x="279" y="288"/>
                  <a:pt x="279" y="288"/>
                  <a:pt x="279" y="288"/>
                </a:cubicBezTo>
                <a:cubicBezTo>
                  <a:pt x="279" y="287"/>
                  <a:pt x="279" y="287"/>
                  <a:pt x="279" y="287"/>
                </a:cubicBezTo>
                <a:cubicBezTo>
                  <a:pt x="280" y="287"/>
                  <a:pt x="280" y="287"/>
                  <a:pt x="280" y="287"/>
                </a:cubicBezTo>
                <a:cubicBezTo>
                  <a:pt x="282" y="290"/>
                  <a:pt x="282" y="290"/>
                  <a:pt x="282" y="290"/>
                </a:cubicBezTo>
                <a:cubicBezTo>
                  <a:pt x="284" y="291"/>
                  <a:pt x="284" y="291"/>
                  <a:pt x="284" y="291"/>
                </a:cubicBezTo>
                <a:cubicBezTo>
                  <a:pt x="285" y="292"/>
                  <a:pt x="285" y="292"/>
                  <a:pt x="285" y="292"/>
                </a:cubicBezTo>
                <a:cubicBezTo>
                  <a:pt x="283" y="293"/>
                  <a:pt x="283" y="293"/>
                  <a:pt x="283" y="293"/>
                </a:cubicBezTo>
                <a:cubicBezTo>
                  <a:pt x="282" y="293"/>
                  <a:pt x="282" y="293"/>
                  <a:pt x="282" y="293"/>
                </a:cubicBezTo>
                <a:cubicBezTo>
                  <a:pt x="281" y="293"/>
                  <a:pt x="281" y="293"/>
                  <a:pt x="281" y="293"/>
                </a:cubicBezTo>
                <a:cubicBezTo>
                  <a:pt x="281" y="293"/>
                  <a:pt x="281" y="293"/>
                  <a:pt x="281" y="293"/>
                </a:cubicBezTo>
                <a:cubicBezTo>
                  <a:pt x="281" y="294"/>
                  <a:pt x="281" y="294"/>
                  <a:pt x="281" y="294"/>
                </a:cubicBezTo>
                <a:cubicBezTo>
                  <a:pt x="282" y="293"/>
                  <a:pt x="282" y="293"/>
                  <a:pt x="282" y="293"/>
                </a:cubicBezTo>
                <a:cubicBezTo>
                  <a:pt x="284" y="293"/>
                  <a:pt x="284" y="293"/>
                  <a:pt x="284" y="293"/>
                </a:cubicBezTo>
                <a:cubicBezTo>
                  <a:pt x="286" y="292"/>
                  <a:pt x="286" y="292"/>
                  <a:pt x="286" y="292"/>
                </a:cubicBezTo>
                <a:cubicBezTo>
                  <a:pt x="286" y="292"/>
                  <a:pt x="286" y="292"/>
                  <a:pt x="286" y="292"/>
                </a:cubicBezTo>
                <a:cubicBezTo>
                  <a:pt x="287" y="293"/>
                  <a:pt x="287" y="293"/>
                  <a:pt x="287" y="293"/>
                </a:cubicBezTo>
                <a:cubicBezTo>
                  <a:pt x="287" y="294"/>
                  <a:pt x="287" y="294"/>
                  <a:pt x="287" y="294"/>
                </a:cubicBezTo>
                <a:cubicBezTo>
                  <a:pt x="290" y="297"/>
                  <a:pt x="290" y="297"/>
                  <a:pt x="290" y="297"/>
                </a:cubicBezTo>
                <a:cubicBezTo>
                  <a:pt x="289" y="300"/>
                  <a:pt x="289" y="300"/>
                  <a:pt x="289" y="300"/>
                </a:cubicBezTo>
                <a:cubicBezTo>
                  <a:pt x="288" y="302"/>
                  <a:pt x="288" y="302"/>
                  <a:pt x="288" y="302"/>
                </a:cubicBezTo>
                <a:cubicBezTo>
                  <a:pt x="287" y="302"/>
                  <a:pt x="287" y="302"/>
                  <a:pt x="287" y="302"/>
                </a:cubicBezTo>
                <a:cubicBezTo>
                  <a:pt x="286" y="302"/>
                  <a:pt x="286" y="302"/>
                  <a:pt x="286" y="302"/>
                </a:cubicBezTo>
                <a:cubicBezTo>
                  <a:pt x="284" y="302"/>
                  <a:pt x="284" y="302"/>
                  <a:pt x="284" y="302"/>
                </a:cubicBezTo>
                <a:cubicBezTo>
                  <a:pt x="283" y="301"/>
                  <a:pt x="283" y="301"/>
                  <a:pt x="283" y="301"/>
                </a:cubicBezTo>
                <a:cubicBezTo>
                  <a:pt x="281" y="301"/>
                  <a:pt x="281" y="301"/>
                  <a:pt x="281" y="301"/>
                </a:cubicBezTo>
                <a:cubicBezTo>
                  <a:pt x="279" y="299"/>
                  <a:pt x="279" y="299"/>
                  <a:pt x="279" y="299"/>
                </a:cubicBezTo>
                <a:cubicBezTo>
                  <a:pt x="278" y="297"/>
                  <a:pt x="278" y="297"/>
                  <a:pt x="278" y="297"/>
                </a:cubicBezTo>
                <a:cubicBezTo>
                  <a:pt x="277" y="296"/>
                  <a:pt x="277" y="296"/>
                  <a:pt x="277" y="296"/>
                </a:cubicBezTo>
                <a:cubicBezTo>
                  <a:pt x="277" y="296"/>
                  <a:pt x="277" y="296"/>
                  <a:pt x="277" y="296"/>
                </a:cubicBezTo>
                <a:cubicBezTo>
                  <a:pt x="277" y="297"/>
                  <a:pt x="277" y="297"/>
                  <a:pt x="277" y="297"/>
                </a:cubicBezTo>
                <a:cubicBezTo>
                  <a:pt x="277" y="298"/>
                  <a:pt x="277" y="298"/>
                  <a:pt x="277" y="298"/>
                </a:cubicBezTo>
                <a:cubicBezTo>
                  <a:pt x="278" y="300"/>
                  <a:pt x="278" y="300"/>
                  <a:pt x="278" y="300"/>
                </a:cubicBezTo>
                <a:cubicBezTo>
                  <a:pt x="279" y="302"/>
                  <a:pt x="279" y="302"/>
                  <a:pt x="279" y="302"/>
                </a:cubicBezTo>
                <a:cubicBezTo>
                  <a:pt x="281" y="305"/>
                  <a:pt x="281" y="305"/>
                  <a:pt x="281" y="305"/>
                </a:cubicBezTo>
                <a:cubicBezTo>
                  <a:pt x="280" y="305"/>
                  <a:pt x="280" y="305"/>
                  <a:pt x="280" y="305"/>
                </a:cubicBezTo>
                <a:cubicBezTo>
                  <a:pt x="279" y="305"/>
                  <a:pt x="279" y="305"/>
                  <a:pt x="279" y="305"/>
                </a:cubicBezTo>
                <a:cubicBezTo>
                  <a:pt x="278" y="305"/>
                  <a:pt x="278" y="305"/>
                  <a:pt x="278" y="305"/>
                </a:cubicBezTo>
                <a:cubicBezTo>
                  <a:pt x="278" y="303"/>
                  <a:pt x="278" y="303"/>
                  <a:pt x="278" y="303"/>
                </a:cubicBezTo>
                <a:cubicBezTo>
                  <a:pt x="277" y="304"/>
                  <a:pt x="277" y="304"/>
                  <a:pt x="277" y="304"/>
                </a:cubicBezTo>
                <a:cubicBezTo>
                  <a:pt x="277" y="305"/>
                  <a:pt x="277" y="305"/>
                  <a:pt x="277" y="305"/>
                </a:cubicBezTo>
                <a:cubicBezTo>
                  <a:pt x="277" y="305"/>
                  <a:pt x="277" y="305"/>
                  <a:pt x="277" y="305"/>
                </a:cubicBezTo>
                <a:cubicBezTo>
                  <a:pt x="278" y="306"/>
                  <a:pt x="278" y="306"/>
                  <a:pt x="278" y="306"/>
                </a:cubicBezTo>
                <a:cubicBezTo>
                  <a:pt x="279" y="307"/>
                  <a:pt x="279" y="307"/>
                  <a:pt x="279" y="307"/>
                </a:cubicBezTo>
                <a:cubicBezTo>
                  <a:pt x="276" y="306"/>
                  <a:pt x="276" y="306"/>
                  <a:pt x="276" y="306"/>
                </a:cubicBezTo>
                <a:cubicBezTo>
                  <a:pt x="276" y="306"/>
                  <a:pt x="276" y="306"/>
                  <a:pt x="276" y="306"/>
                </a:cubicBezTo>
                <a:cubicBezTo>
                  <a:pt x="276" y="307"/>
                  <a:pt x="276" y="307"/>
                  <a:pt x="276" y="307"/>
                </a:cubicBezTo>
                <a:cubicBezTo>
                  <a:pt x="276" y="307"/>
                  <a:pt x="276" y="307"/>
                  <a:pt x="276" y="307"/>
                </a:cubicBezTo>
                <a:cubicBezTo>
                  <a:pt x="276" y="308"/>
                  <a:pt x="276" y="308"/>
                  <a:pt x="276" y="308"/>
                </a:cubicBezTo>
                <a:cubicBezTo>
                  <a:pt x="276" y="309"/>
                  <a:pt x="276" y="309"/>
                  <a:pt x="276" y="309"/>
                </a:cubicBezTo>
                <a:cubicBezTo>
                  <a:pt x="275" y="308"/>
                  <a:pt x="275" y="308"/>
                  <a:pt x="275" y="308"/>
                </a:cubicBezTo>
                <a:cubicBezTo>
                  <a:pt x="275" y="308"/>
                  <a:pt x="275" y="308"/>
                  <a:pt x="275" y="308"/>
                </a:cubicBezTo>
                <a:cubicBezTo>
                  <a:pt x="275" y="308"/>
                  <a:pt x="275" y="308"/>
                  <a:pt x="275" y="308"/>
                </a:cubicBezTo>
                <a:cubicBezTo>
                  <a:pt x="275" y="309"/>
                  <a:pt x="275" y="309"/>
                  <a:pt x="275" y="309"/>
                </a:cubicBezTo>
                <a:cubicBezTo>
                  <a:pt x="274" y="309"/>
                  <a:pt x="274" y="309"/>
                  <a:pt x="274" y="309"/>
                </a:cubicBezTo>
                <a:cubicBezTo>
                  <a:pt x="273" y="309"/>
                  <a:pt x="273" y="309"/>
                  <a:pt x="273" y="309"/>
                </a:cubicBezTo>
                <a:cubicBezTo>
                  <a:pt x="272" y="310"/>
                  <a:pt x="272" y="310"/>
                  <a:pt x="272" y="310"/>
                </a:cubicBezTo>
                <a:cubicBezTo>
                  <a:pt x="270" y="310"/>
                  <a:pt x="270" y="310"/>
                  <a:pt x="270" y="310"/>
                </a:cubicBezTo>
                <a:cubicBezTo>
                  <a:pt x="271" y="311"/>
                  <a:pt x="271" y="311"/>
                  <a:pt x="271" y="311"/>
                </a:cubicBezTo>
                <a:cubicBezTo>
                  <a:pt x="272" y="312"/>
                  <a:pt x="272" y="312"/>
                  <a:pt x="272" y="312"/>
                </a:cubicBezTo>
                <a:cubicBezTo>
                  <a:pt x="271" y="312"/>
                  <a:pt x="271" y="312"/>
                  <a:pt x="271" y="312"/>
                </a:cubicBezTo>
                <a:cubicBezTo>
                  <a:pt x="271" y="312"/>
                  <a:pt x="271" y="312"/>
                  <a:pt x="271" y="312"/>
                </a:cubicBezTo>
                <a:cubicBezTo>
                  <a:pt x="269" y="311"/>
                  <a:pt x="269" y="311"/>
                  <a:pt x="269" y="311"/>
                </a:cubicBezTo>
                <a:cubicBezTo>
                  <a:pt x="268" y="310"/>
                  <a:pt x="268" y="310"/>
                  <a:pt x="268" y="310"/>
                </a:cubicBezTo>
                <a:cubicBezTo>
                  <a:pt x="268" y="311"/>
                  <a:pt x="268" y="311"/>
                  <a:pt x="268" y="311"/>
                </a:cubicBezTo>
                <a:cubicBezTo>
                  <a:pt x="268" y="312"/>
                  <a:pt x="268" y="312"/>
                  <a:pt x="268" y="312"/>
                </a:cubicBezTo>
                <a:cubicBezTo>
                  <a:pt x="269" y="313"/>
                  <a:pt x="269" y="313"/>
                  <a:pt x="269" y="313"/>
                </a:cubicBezTo>
                <a:cubicBezTo>
                  <a:pt x="269" y="313"/>
                  <a:pt x="269" y="313"/>
                  <a:pt x="269" y="313"/>
                </a:cubicBezTo>
                <a:cubicBezTo>
                  <a:pt x="269" y="314"/>
                  <a:pt x="269" y="314"/>
                  <a:pt x="269" y="314"/>
                </a:cubicBezTo>
                <a:cubicBezTo>
                  <a:pt x="267" y="314"/>
                  <a:pt x="267" y="314"/>
                  <a:pt x="267" y="314"/>
                </a:cubicBezTo>
                <a:cubicBezTo>
                  <a:pt x="266" y="316"/>
                  <a:pt x="266" y="316"/>
                  <a:pt x="266" y="316"/>
                </a:cubicBezTo>
                <a:cubicBezTo>
                  <a:pt x="265" y="316"/>
                  <a:pt x="265" y="316"/>
                  <a:pt x="265" y="316"/>
                </a:cubicBezTo>
                <a:cubicBezTo>
                  <a:pt x="266" y="317"/>
                  <a:pt x="266" y="317"/>
                  <a:pt x="266" y="317"/>
                </a:cubicBezTo>
                <a:cubicBezTo>
                  <a:pt x="265" y="318"/>
                  <a:pt x="265" y="318"/>
                  <a:pt x="265" y="318"/>
                </a:cubicBezTo>
                <a:cubicBezTo>
                  <a:pt x="264" y="318"/>
                  <a:pt x="264" y="318"/>
                  <a:pt x="264" y="318"/>
                </a:cubicBezTo>
                <a:cubicBezTo>
                  <a:pt x="264" y="319"/>
                  <a:pt x="264" y="319"/>
                  <a:pt x="264" y="319"/>
                </a:cubicBezTo>
                <a:cubicBezTo>
                  <a:pt x="264" y="320"/>
                  <a:pt x="264" y="320"/>
                  <a:pt x="264" y="320"/>
                </a:cubicBezTo>
                <a:cubicBezTo>
                  <a:pt x="263" y="320"/>
                  <a:pt x="263" y="320"/>
                  <a:pt x="263" y="320"/>
                </a:cubicBezTo>
                <a:cubicBezTo>
                  <a:pt x="261" y="323"/>
                  <a:pt x="261" y="323"/>
                  <a:pt x="261" y="323"/>
                </a:cubicBezTo>
                <a:cubicBezTo>
                  <a:pt x="260" y="323"/>
                  <a:pt x="260" y="323"/>
                  <a:pt x="260" y="323"/>
                </a:cubicBezTo>
                <a:cubicBezTo>
                  <a:pt x="260" y="324"/>
                  <a:pt x="260" y="324"/>
                  <a:pt x="260" y="324"/>
                </a:cubicBezTo>
                <a:cubicBezTo>
                  <a:pt x="258" y="325"/>
                  <a:pt x="258" y="325"/>
                  <a:pt x="258" y="325"/>
                </a:cubicBezTo>
                <a:cubicBezTo>
                  <a:pt x="257" y="324"/>
                  <a:pt x="257" y="324"/>
                  <a:pt x="257" y="324"/>
                </a:cubicBezTo>
                <a:cubicBezTo>
                  <a:pt x="257" y="325"/>
                  <a:pt x="257" y="325"/>
                  <a:pt x="257" y="325"/>
                </a:cubicBezTo>
                <a:cubicBezTo>
                  <a:pt x="257" y="326"/>
                  <a:pt x="257" y="326"/>
                  <a:pt x="257" y="326"/>
                </a:cubicBezTo>
                <a:cubicBezTo>
                  <a:pt x="256" y="328"/>
                  <a:pt x="256" y="328"/>
                  <a:pt x="256" y="328"/>
                </a:cubicBezTo>
                <a:cubicBezTo>
                  <a:pt x="256" y="330"/>
                  <a:pt x="256" y="330"/>
                  <a:pt x="256" y="330"/>
                </a:cubicBezTo>
                <a:cubicBezTo>
                  <a:pt x="255" y="331"/>
                  <a:pt x="255" y="331"/>
                  <a:pt x="255" y="331"/>
                </a:cubicBezTo>
                <a:cubicBezTo>
                  <a:pt x="255" y="333"/>
                  <a:pt x="255" y="333"/>
                  <a:pt x="255" y="333"/>
                </a:cubicBezTo>
                <a:cubicBezTo>
                  <a:pt x="254" y="333"/>
                  <a:pt x="254" y="333"/>
                  <a:pt x="254" y="333"/>
                </a:cubicBezTo>
                <a:cubicBezTo>
                  <a:pt x="253" y="336"/>
                  <a:pt x="253" y="336"/>
                  <a:pt x="253" y="336"/>
                </a:cubicBezTo>
                <a:cubicBezTo>
                  <a:pt x="253" y="336"/>
                  <a:pt x="253" y="336"/>
                  <a:pt x="253" y="336"/>
                </a:cubicBezTo>
                <a:cubicBezTo>
                  <a:pt x="253" y="338"/>
                  <a:pt x="253" y="338"/>
                  <a:pt x="253" y="338"/>
                </a:cubicBezTo>
                <a:cubicBezTo>
                  <a:pt x="252" y="340"/>
                  <a:pt x="252" y="340"/>
                  <a:pt x="252" y="340"/>
                </a:cubicBezTo>
                <a:cubicBezTo>
                  <a:pt x="252" y="341"/>
                  <a:pt x="252" y="341"/>
                  <a:pt x="252" y="341"/>
                </a:cubicBezTo>
                <a:cubicBezTo>
                  <a:pt x="250" y="341"/>
                  <a:pt x="250" y="341"/>
                  <a:pt x="250" y="341"/>
                </a:cubicBezTo>
                <a:cubicBezTo>
                  <a:pt x="250" y="342"/>
                  <a:pt x="250" y="342"/>
                  <a:pt x="250" y="342"/>
                </a:cubicBezTo>
                <a:cubicBezTo>
                  <a:pt x="251" y="342"/>
                  <a:pt x="251" y="342"/>
                  <a:pt x="251" y="342"/>
                </a:cubicBezTo>
                <a:cubicBezTo>
                  <a:pt x="252" y="343"/>
                  <a:pt x="252" y="343"/>
                  <a:pt x="252" y="343"/>
                </a:cubicBezTo>
                <a:cubicBezTo>
                  <a:pt x="251" y="344"/>
                  <a:pt x="251" y="344"/>
                  <a:pt x="251" y="344"/>
                </a:cubicBezTo>
                <a:cubicBezTo>
                  <a:pt x="252" y="345"/>
                  <a:pt x="252" y="345"/>
                  <a:pt x="252" y="345"/>
                </a:cubicBezTo>
                <a:cubicBezTo>
                  <a:pt x="252" y="347"/>
                  <a:pt x="252" y="347"/>
                  <a:pt x="252" y="347"/>
                </a:cubicBezTo>
                <a:cubicBezTo>
                  <a:pt x="252" y="347"/>
                  <a:pt x="252" y="347"/>
                  <a:pt x="252" y="347"/>
                </a:cubicBezTo>
                <a:cubicBezTo>
                  <a:pt x="251" y="350"/>
                  <a:pt x="251" y="350"/>
                  <a:pt x="251" y="350"/>
                </a:cubicBezTo>
                <a:cubicBezTo>
                  <a:pt x="249" y="352"/>
                  <a:pt x="249" y="352"/>
                  <a:pt x="249" y="352"/>
                </a:cubicBezTo>
                <a:cubicBezTo>
                  <a:pt x="246" y="352"/>
                  <a:pt x="246" y="352"/>
                  <a:pt x="246" y="352"/>
                </a:cubicBezTo>
                <a:cubicBezTo>
                  <a:pt x="246" y="354"/>
                  <a:pt x="246" y="354"/>
                  <a:pt x="246" y="354"/>
                </a:cubicBezTo>
                <a:cubicBezTo>
                  <a:pt x="247" y="352"/>
                  <a:pt x="247" y="352"/>
                  <a:pt x="247" y="352"/>
                </a:cubicBezTo>
                <a:cubicBezTo>
                  <a:pt x="250" y="352"/>
                  <a:pt x="250" y="352"/>
                  <a:pt x="250" y="352"/>
                </a:cubicBezTo>
                <a:cubicBezTo>
                  <a:pt x="252" y="349"/>
                  <a:pt x="252" y="349"/>
                  <a:pt x="252" y="349"/>
                </a:cubicBezTo>
                <a:cubicBezTo>
                  <a:pt x="254" y="346"/>
                  <a:pt x="254" y="346"/>
                  <a:pt x="254" y="346"/>
                </a:cubicBezTo>
                <a:cubicBezTo>
                  <a:pt x="258" y="346"/>
                  <a:pt x="258" y="346"/>
                  <a:pt x="258" y="346"/>
                </a:cubicBezTo>
                <a:cubicBezTo>
                  <a:pt x="259" y="346"/>
                  <a:pt x="259" y="346"/>
                  <a:pt x="259" y="346"/>
                </a:cubicBezTo>
                <a:cubicBezTo>
                  <a:pt x="259" y="348"/>
                  <a:pt x="259" y="348"/>
                  <a:pt x="259" y="348"/>
                </a:cubicBezTo>
                <a:cubicBezTo>
                  <a:pt x="258" y="349"/>
                  <a:pt x="258" y="349"/>
                  <a:pt x="258" y="349"/>
                </a:cubicBezTo>
                <a:cubicBezTo>
                  <a:pt x="258" y="350"/>
                  <a:pt x="258" y="350"/>
                  <a:pt x="258" y="350"/>
                </a:cubicBezTo>
                <a:cubicBezTo>
                  <a:pt x="259" y="352"/>
                  <a:pt x="259" y="352"/>
                  <a:pt x="259" y="352"/>
                </a:cubicBezTo>
                <a:cubicBezTo>
                  <a:pt x="259" y="355"/>
                  <a:pt x="259" y="355"/>
                  <a:pt x="259" y="355"/>
                </a:cubicBezTo>
                <a:cubicBezTo>
                  <a:pt x="258" y="357"/>
                  <a:pt x="258" y="357"/>
                  <a:pt x="258" y="357"/>
                </a:cubicBezTo>
                <a:cubicBezTo>
                  <a:pt x="259" y="358"/>
                  <a:pt x="259" y="358"/>
                  <a:pt x="259" y="358"/>
                </a:cubicBezTo>
                <a:cubicBezTo>
                  <a:pt x="259" y="361"/>
                  <a:pt x="259" y="361"/>
                  <a:pt x="259" y="361"/>
                </a:cubicBezTo>
                <a:cubicBezTo>
                  <a:pt x="259" y="362"/>
                  <a:pt x="259" y="362"/>
                  <a:pt x="259" y="362"/>
                </a:cubicBezTo>
                <a:cubicBezTo>
                  <a:pt x="255" y="366"/>
                  <a:pt x="255" y="366"/>
                  <a:pt x="255" y="366"/>
                </a:cubicBezTo>
                <a:cubicBezTo>
                  <a:pt x="253" y="366"/>
                  <a:pt x="253" y="366"/>
                  <a:pt x="253" y="366"/>
                </a:cubicBezTo>
                <a:cubicBezTo>
                  <a:pt x="252" y="366"/>
                  <a:pt x="252" y="366"/>
                  <a:pt x="252" y="366"/>
                </a:cubicBezTo>
                <a:cubicBezTo>
                  <a:pt x="253" y="367"/>
                  <a:pt x="253" y="367"/>
                  <a:pt x="253" y="367"/>
                </a:cubicBezTo>
                <a:cubicBezTo>
                  <a:pt x="255" y="367"/>
                  <a:pt x="255" y="367"/>
                  <a:pt x="255" y="367"/>
                </a:cubicBezTo>
                <a:cubicBezTo>
                  <a:pt x="259" y="365"/>
                  <a:pt x="259" y="365"/>
                  <a:pt x="259" y="365"/>
                </a:cubicBezTo>
                <a:cubicBezTo>
                  <a:pt x="264" y="364"/>
                  <a:pt x="264" y="364"/>
                  <a:pt x="264" y="364"/>
                </a:cubicBezTo>
                <a:cubicBezTo>
                  <a:pt x="266" y="363"/>
                  <a:pt x="266" y="363"/>
                  <a:pt x="266" y="363"/>
                </a:cubicBezTo>
                <a:cubicBezTo>
                  <a:pt x="269" y="365"/>
                  <a:pt x="269" y="365"/>
                  <a:pt x="269" y="365"/>
                </a:cubicBezTo>
                <a:cubicBezTo>
                  <a:pt x="271" y="367"/>
                  <a:pt x="271" y="367"/>
                  <a:pt x="271" y="367"/>
                </a:cubicBezTo>
                <a:cubicBezTo>
                  <a:pt x="273" y="368"/>
                  <a:pt x="273" y="368"/>
                  <a:pt x="273" y="368"/>
                </a:cubicBezTo>
                <a:cubicBezTo>
                  <a:pt x="274" y="368"/>
                  <a:pt x="274" y="368"/>
                  <a:pt x="274" y="368"/>
                </a:cubicBezTo>
                <a:cubicBezTo>
                  <a:pt x="275" y="369"/>
                  <a:pt x="275" y="369"/>
                  <a:pt x="275" y="369"/>
                </a:cubicBezTo>
                <a:cubicBezTo>
                  <a:pt x="277" y="371"/>
                  <a:pt x="277" y="371"/>
                  <a:pt x="277" y="371"/>
                </a:cubicBezTo>
                <a:cubicBezTo>
                  <a:pt x="278" y="371"/>
                  <a:pt x="278" y="371"/>
                  <a:pt x="278" y="371"/>
                </a:cubicBezTo>
                <a:cubicBezTo>
                  <a:pt x="279" y="373"/>
                  <a:pt x="279" y="373"/>
                  <a:pt x="279" y="373"/>
                </a:cubicBezTo>
                <a:cubicBezTo>
                  <a:pt x="280" y="374"/>
                  <a:pt x="280" y="374"/>
                  <a:pt x="280" y="374"/>
                </a:cubicBezTo>
                <a:cubicBezTo>
                  <a:pt x="280" y="375"/>
                  <a:pt x="280" y="375"/>
                  <a:pt x="280" y="375"/>
                </a:cubicBezTo>
                <a:cubicBezTo>
                  <a:pt x="281" y="376"/>
                  <a:pt x="281" y="376"/>
                  <a:pt x="281" y="376"/>
                </a:cubicBezTo>
                <a:cubicBezTo>
                  <a:pt x="282" y="378"/>
                  <a:pt x="282" y="378"/>
                  <a:pt x="282" y="378"/>
                </a:cubicBezTo>
                <a:cubicBezTo>
                  <a:pt x="282" y="378"/>
                  <a:pt x="282" y="378"/>
                  <a:pt x="282" y="378"/>
                </a:cubicBezTo>
                <a:cubicBezTo>
                  <a:pt x="283" y="378"/>
                  <a:pt x="283" y="378"/>
                  <a:pt x="283" y="378"/>
                </a:cubicBezTo>
                <a:cubicBezTo>
                  <a:pt x="283" y="379"/>
                  <a:pt x="283" y="379"/>
                  <a:pt x="283" y="379"/>
                </a:cubicBezTo>
                <a:cubicBezTo>
                  <a:pt x="286" y="380"/>
                  <a:pt x="286" y="380"/>
                  <a:pt x="286" y="380"/>
                </a:cubicBezTo>
                <a:cubicBezTo>
                  <a:pt x="287" y="381"/>
                  <a:pt x="287" y="381"/>
                  <a:pt x="287" y="381"/>
                </a:cubicBezTo>
                <a:cubicBezTo>
                  <a:pt x="289" y="382"/>
                  <a:pt x="289" y="382"/>
                  <a:pt x="289" y="382"/>
                </a:cubicBezTo>
                <a:cubicBezTo>
                  <a:pt x="290" y="382"/>
                  <a:pt x="290" y="382"/>
                  <a:pt x="290" y="382"/>
                </a:cubicBezTo>
                <a:cubicBezTo>
                  <a:pt x="292" y="384"/>
                  <a:pt x="292" y="384"/>
                  <a:pt x="292" y="384"/>
                </a:cubicBezTo>
                <a:cubicBezTo>
                  <a:pt x="292" y="385"/>
                  <a:pt x="292" y="385"/>
                  <a:pt x="292" y="385"/>
                </a:cubicBezTo>
                <a:cubicBezTo>
                  <a:pt x="294" y="387"/>
                  <a:pt x="294" y="387"/>
                  <a:pt x="294" y="387"/>
                </a:cubicBezTo>
                <a:cubicBezTo>
                  <a:pt x="293" y="387"/>
                  <a:pt x="293" y="387"/>
                  <a:pt x="293" y="387"/>
                </a:cubicBezTo>
                <a:cubicBezTo>
                  <a:pt x="294" y="388"/>
                  <a:pt x="294" y="388"/>
                  <a:pt x="294" y="388"/>
                </a:cubicBezTo>
                <a:cubicBezTo>
                  <a:pt x="296" y="388"/>
                  <a:pt x="296" y="388"/>
                  <a:pt x="296" y="388"/>
                </a:cubicBezTo>
                <a:cubicBezTo>
                  <a:pt x="296" y="388"/>
                  <a:pt x="296" y="388"/>
                  <a:pt x="296" y="388"/>
                </a:cubicBezTo>
                <a:cubicBezTo>
                  <a:pt x="298" y="388"/>
                  <a:pt x="298" y="388"/>
                  <a:pt x="298" y="388"/>
                </a:cubicBezTo>
                <a:cubicBezTo>
                  <a:pt x="301" y="388"/>
                  <a:pt x="301" y="388"/>
                  <a:pt x="301" y="388"/>
                </a:cubicBezTo>
                <a:cubicBezTo>
                  <a:pt x="301" y="388"/>
                  <a:pt x="301" y="388"/>
                  <a:pt x="301" y="388"/>
                </a:cubicBezTo>
                <a:cubicBezTo>
                  <a:pt x="302" y="388"/>
                  <a:pt x="302" y="388"/>
                  <a:pt x="302" y="388"/>
                </a:cubicBezTo>
                <a:cubicBezTo>
                  <a:pt x="304" y="389"/>
                  <a:pt x="304" y="389"/>
                  <a:pt x="304" y="389"/>
                </a:cubicBezTo>
                <a:cubicBezTo>
                  <a:pt x="306" y="389"/>
                  <a:pt x="306" y="389"/>
                  <a:pt x="306" y="389"/>
                </a:cubicBezTo>
                <a:cubicBezTo>
                  <a:pt x="307" y="389"/>
                  <a:pt x="307" y="389"/>
                  <a:pt x="307" y="389"/>
                </a:cubicBezTo>
                <a:cubicBezTo>
                  <a:pt x="308" y="389"/>
                  <a:pt x="308" y="389"/>
                  <a:pt x="308" y="389"/>
                </a:cubicBezTo>
                <a:cubicBezTo>
                  <a:pt x="308" y="389"/>
                  <a:pt x="308" y="389"/>
                  <a:pt x="308" y="389"/>
                </a:cubicBezTo>
                <a:cubicBezTo>
                  <a:pt x="309" y="389"/>
                  <a:pt x="309" y="389"/>
                  <a:pt x="309" y="389"/>
                </a:cubicBezTo>
                <a:cubicBezTo>
                  <a:pt x="309" y="389"/>
                  <a:pt x="309" y="389"/>
                  <a:pt x="309" y="389"/>
                </a:cubicBezTo>
                <a:cubicBezTo>
                  <a:pt x="309" y="391"/>
                  <a:pt x="309" y="391"/>
                  <a:pt x="309" y="391"/>
                </a:cubicBezTo>
                <a:cubicBezTo>
                  <a:pt x="308" y="394"/>
                  <a:pt x="308" y="394"/>
                  <a:pt x="308" y="394"/>
                </a:cubicBezTo>
                <a:cubicBezTo>
                  <a:pt x="308" y="395"/>
                  <a:pt x="308" y="395"/>
                  <a:pt x="308" y="395"/>
                </a:cubicBezTo>
                <a:cubicBezTo>
                  <a:pt x="307" y="396"/>
                  <a:pt x="307" y="396"/>
                  <a:pt x="307" y="396"/>
                </a:cubicBezTo>
                <a:cubicBezTo>
                  <a:pt x="306" y="398"/>
                  <a:pt x="306" y="398"/>
                  <a:pt x="306" y="398"/>
                </a:cubicBezTo>
                <a:cubicBezTo>
                  <a:pt x="306" y="399"/>
                  <a:pt x="306" y="399"/>
                  <a:pt x="306" y="399"/>
                </a:cubicBezTo>
                <a:cubicBezTo>
                  <a:pt x="307" y="400"/>
                  <a:pt x="307" y="400"/>
                  <a:pt x="307" y="400"/>
                </a:cubicBezTo>
                <a:cubicBezTo>
                  <a:pt x="307" y="402"/>
                  <a:pt x="307" y="402"/>
                  <a:pt x="307" y="402"/>
                </a:cubicBezTo>
                <a:cubicBezTo>
                  <a:pt x="305" y="405"/>
                  <a:pt x="305" y="405"/>
                  <a:pt x="305" y="405"/>
                </a:cubicBezTo>
                <a:cubicBezTo>
                  <a:pt x="305" y="406"/>
                  <a:pt x="305" y="406"/>
                  <a:pt x="305" y="406"/>
                </a:cubicBezTo>
                <a:cubicBezTo>
                  <a:pt x="305" y="408"/>
                  <a:pt x="305" y="408"/>
                  <a:pt x="305" y="408"/>
                </a:cubicBezTo>
                <a:cubicBezTo>
                  <a:pt x="303" y="409"/>
                  <a:pt x="303" y="409"/>
                  <a:pt x="303" y="409"/>
                </a:cubicBezTo>
                <a:cubicBezTo>
                  <a:pt x="303" y="411"/>
                  <a:pt x="303" y="411"/>
                  <a:pt x="303" y="411"/>
                </a:cubicBezTo>
                <a:cubicBezTo>
                  <a:pt x="303" y="412"/>
                  <a:pt x="303" y="412"/>
                  <a:pt x="303" y="412"/>
                </a:cubicBezTo>
                <a:cubicBezTo>
                  <a:pt x="304" y="413"/>
                  <a:pt x="304" y="413"/>
                  <a:pt x="304" y="413"/>
                </a:cubicBezTo>
                <a:cubicBezTo>
                  <a:pt x="304" y="415"/>
                  <a:pt x="304" y="415"/>
                  <a:pt x="304" y="415"/>
                </a:cubicBezTo>
                <a:cubicBezTo>
                  <a:pt x="305" y="415"/>
                  <a:pt x="305" y="415"/>
                  <a:pt x="305" y="415"/>
                </a:cubicBezTo>
                <a:cubicBezTo>
                  <a:pt x="306" y="416"/>
                  <a:pt x="306" y="416"/>
                  <a:pt x="306" y="416"/>
                </a:cubicBezTo>
                <a:cubicBezTo>
                  <a:pt x="306" y="417"/>
                  <a:pt x="306" y="417"/>
                  <a:pt x="306" y="417"/>
                </a:cubicBezTo>
                <a:cubicBezTo>
                  <a:pt x="306" y="418"/>
                  <a:pt x="306" y="418"/>
                  <a:pt x="306" y="418"/>
                </a:cubicBezTo>
                <a:cubicBezTo>
                  <a:pt x="306" y="419"/>
                  <a:pt x="306" y="419"/>
                  <a:pt x="306" y="419"/>
                </a:cubicBezTo>
                <a:cubicBezTo>
                  <a:pt x="307" y="419"/>
                  <a:pt x="307" y="419"/>
                  <a:pt x="307" y="419"/>
                </a:cubicBezTo>
                <a:cubicBezTo>
                  <a:pt x="309" y="420"/>
                  <a:pt x="309" y="420"/>
                  <a:pt x="309" y="420"/>
                </a:cubicBezTo>
                <a:cubicBezTo>
                  <a:pt x="309" y="420"/>
                  <a:pt x="309" y="420"/>
                  <a:pt x="309" y="420"/>
                </a:cubicBezTo>
                <a:cubicBezTo>
                  <a:pt x="309" y="421"/>
                  <a:pt x="309" y="421"/>
                  <a:pt x="309" y="421"/>
                </a:cubicBezTo>
                <a:cubicBezTo>
                  <a:pt x="310" y="422"/>
                  <a:pt x="310" y="422"/>
                  <a:pt x="310" y="422"/>
                </a:cubicBezTo>
                <a:cubicBezTo>
                  <a:pt x="310" y="424"/>
                  <a:pt x="310" y="424"/>
                  <a:pt x="310" y="424"/>
                </a:cubicBezTo>
                <a:cubicBezTo>
                  <a:pt x="310" y="425"/>
                  <a:pt x="310" y="425"/>
                  <a:pt x="310" y="425"/>
                </a:cubicBezTo>
                <a:cubicBezTo>
                  <a:pt x="310" y="426"/>
                  <a:pt x="310" y="426"/>
                  <a:pt x="310" y="426"/>
                </a:cubicBezTo>
                <a:cubicBezTo>
                  <a:pt x="308" y="429"/>
                  <a:pt x="308" y="429"/>
                  <a:pt x="308" y="429"/>
                </a:cubicBezTo>
                <a:cubicBezTo>
                  <a:pt x="309" y="428"/>
                  <a:pt x="309" y="428"/>
                  <a:pt x="309" y="428"/>
                </a:cubicBezTo>
                <a:cubicBezTo>
                  <a:pt x="311" y="427"/>
                  <a:pt x="311" y="427"/>
                  <a:pt x="311" y="427"/>
                </a:cubicBezTo>
                <a:cubicBezTo>
                  <a:pt x="313" y="427"/>
                  <a:pt x="313" y="427"/>
                  <a:pt x="313" y="427"/>
                </a:cubicBezTo>
                <a:cubicBezTo>
                  <a:pt x="314" y="428"/>
                  <a:pt x="314" y="428"/>
                  <a:pt x="314" y="428"/>
                </a:cubicBezTo>
                <a:cubicBezTo>
                  <a:pt x="315" y="428"/>
                  <a:pt x="315" y="428"/>
                  <a:pt x="315" y="428"/>
                </a:cubicBezTo>
                <a:cubicBezTo>
                  <a:pt x="315" y="427"/>
                  <a:pt x="315" y="427"/>
                  <a:pt x="315" y="427"/>
                </a:cubicBezTo>
                <a:cubicBezTo>
                  <a:pt x="315" y="426"/>
                  <a:pt x="315" y="426"/>
                  <a:pt x="315" y="426"/>
                </a:cubicBezTo>
                <a:cubicBezTo>
                  <a:pt x="317" y="423"/>
                  <a:pt x="317" y="423"/>
                  <a:pt x="317" y="423"/>
                </a:cubicBezTo>
                <a:cubicBezTo>
                  <a:pt x="318" y="423"/>
                  <a:pt x="318" y="423"/>
                  <a:pt x="318" y="423"/>
                </a:cubicBezTo>
                <a:cubicBezTo>
                  <a:pt x="317" y="424"/>
                  <a:pt x="317" y="424"/>
                  <a:pt x="317" y="424"/>
                </a:cubicBezTo>
                <a:cubicBezTo>
                  <a:pt x="318" y="425"/>
                  <a:pt x="318" y="425"/>
                  <a:pt x="318" y="425"/>
                </a:cubicBezTo>
                <a:cubicBezTo>
                  <a:pt x="318" y="425"/>
                  <a:pt x="318" y="425"/>
                  <a:pt x="318" y="425"/>
                </a:cubicBezTo>
                <a:cubicBezTo>
                  <a:pt x="319" y="428"/>
                  <a:pt x="319" y="428"/>
                  <a:pt x="319" y="428"/>
                </a:cubicBezTo>
                <a:cubicBezTo>
                  <a:pt x="318" y="429"/>
                  <a:pt x="318" y="429"/>
                  <a:pt x="318" y="429"/>
                </a:cubicBezTo>
                <a:cubicBezTo>
                  <a:pt x="320" y="430"/>
                  <a:pt x="320" y="430"/>
                  <a:pt x="320" y="430"/>
                </a:cubicBezTo>
                <a:cubicBezTo>
                  <a:pt x="322" y="431"/>
                  <a:pt x="322" y="431"/>
                  <a:pt x="322" y="431"/>
                </a:cubicBezTo>
                <a:cubicBezTo>
                  <a:pt x="321" y="430"/>
                  <a:pt x="321" y="430"/>
                  <a:pt x="321" y="430"/>
                </a:cubicBezTo>
                <a:cubicBezTo>
                  <a:pt x="320" y="429"/>
                  <a:pt x="320" y="429"/>
                  <a:pt x="320" y="429"/>
                </a:cubicBezTo>
                <a:cubicBezTo>
                  <a:pt x="319" y="427"/>
                  <a:pt x="319" y="427"/>
                  <a:pt x="319" y="427"/>
                </a:cubicBezTo>
                <a:cubicBezTo>
                  <a:pt x="320" y="425"/>
                  <a:pt x="320" y="425"/>
                  <a:pt x="320" y="425"/>
                </a:cubicBezTo>
                <a:cubicBezTo>
                  <a:pt x="320" y="424"/>
                  <a:pt x="320" y="424"/>
                  <a:pt x="320" y="424"/>
                </a:cubicBezTo>
                <a:cubicBezTo>
                  <a:pt x="320" y="424"/>
                  <a:pt x="320" y="424"/>
                  <a:pt x="320" y="424"/>
                </a:cubicBezTo>
                <a:cubicBezTo>
                  <a:pt x="320" y="422"/>
                  <a:pt x="320" y="422"/>
                  <a:pt x="320" y="422"/>
                </a:cubicBezTo>
                <a:cubicBezTo>
                  <a:pt x="320" y="423"/>
                  <a:pt x="320" y="423"/>
                  <a:pt x="320" y="423"/>
                </a:cubicBezTo>
                <a:cubicBezTo>
                  <a:pt x="321" y="423"/>
                  <a:pt x="321" y="423"/>
                  <a:pt x="321" y="423"/>
                </a:cubicBezTo>
                <a:cubicBezTo>
                  <a:pt x="321" y="421"/>
                  <a:pt x="321" y="421"/>
                  <a:pt x="321" y="421"/>
                </a:cubicBezTo>
                <a:cubicBezTo>
                  <a:pt x="323" y="419"/>
                  <a:pt x="323" y="419"/>
                  <a:pt x="323" y="419"/>
                </a:cubicBezTo>
                <a:cubicBezTo>
                  <a:pt x="322" y="419"/>
                  <a:pt x="322" y="419"/>
                  <a:pt x="322" y="419"/>
                </a:cubicBezTo>
                <a:cubicBezTo>
                  <a:pt x="322" y="417"/>
                  <a:pt x="322" y="417"/>
                  <a:pt x="322" y="417"/>
                </a:cubicBezTo>
                <a:cubicBezTo>
                  <a:pt x="322" y="416"/>
                  <a:pt x="322" y="416"/>
                  <a:pt x="322" y="416"/>
                </a:cubicBezTo>
                <a:cubicBezTo>
                  <a:pt x="322" y="415"/>
                  <a:pt x="322" y="415"/>
                  <a:pt x="322" y="415"/>
                </a:cubicBezTo>
                <a:cubicBezTo>
                  <a:pt x="323" y="414"/>
                  <a:pt x="323" y="414"/>
                  <a:pt x="323" y="414"/>
                </a:cubicBezTo>
                <a:cubicBezTo>
                  <a:pt x="322" y="413"/>
                  <a:pt x="322" y="413"/>
                  <a:pt x="322" y="413"/>
                </a:cubicBezTo>
                <a:cubicBezTo>
                  <a:pt x="322" y="412"/>
                  <a:pt x="322" y="412"/>
                  <a:pt x="322" y="412"/>
                </a:cubicBezTo>
                <a:cubicBezTo>
                  <a:pt x="322" y="412"/>
                  <a:pt x="322" y="412"/>
                  <a:pt x="322" y="412"/>
                </a:cubicBezTo>
                <a:cubicBezTo>
                  <a:pt x="321" y="411"/>
                  <a:pt x="321" y="411"/>
                  <a:pt x="321" y="411"/>
                </a:cubicBezTo>
                <a:cubicBezTo>
                  <a:pt x="322" y="408"/>
                  <a:pt x="322" y="408"/>
                  <a:pt x="322" y="408"/>
                </a:cubicBezTo>
                <a:cubicBezTo>
                  <a:pt x="322" y="407"/>
                  <a:pt x="322" y="407"/>
                  <a:pt x="322" y="407"/>
                </a:cubicBezTo>
                <a:cubicBezTo>
                  <a:pt x="322" y="405"/>
                  <a:pt x="322" y="405"/>
                  <a:pt x="322" y="405"/>
                </a:cubicBezTo>
                <a:cubicBezTo>
                  <a:pt x="323" y="404"/>
                  <a:pt x="323" y="404"/>
                  <a:pt x="323" y="404"/>
                </a:cubicBezTo>
                <a:cubicBezTo>
                  <a:pt x="323" y="403"/>
                  <a:pt x="323" y="403"/>
                  <a:pt x="323" y="403"/>
                </a:cubicBezTo>
                <a:cubicBezTo>
                  <a:pt x="323" y="403"/>
                  <a:pt x="323" y="403"/>
                  <a:pt x="323" y="403"/>
                </a:cubicBezTo>
                <a:cubicBezTo>
                  <a:pt x="323" y="402"/>
                  <a:pt x="323" y="402"/>
                  <a:pt x="323" y="402"/>
                </a:cubicBezTo>
                <a:cubicBezTo>
                  <a:pt x="324" y="401"/>
                  <a:pt x="324" y="401"/>
                  <a:pt x="324" y="401"/>
                </a:cubicBezTo>
                <a:cubicBezTo>
                  <a:pt x="323" y="401"/>
                  <a:pt x="323" y="401"/>
                  <a:pt x="323" y="401"/>
                </a:cubicBezTo>
                <a:cubicBezTo>
                  <a:pt x="323" y="400"/>
                  <a:pt x="323" y="400"/>
                  <a:pt x="323" y="400"/>
                </a:cubicBezTo>
                <a:cubicBezTo>
                  <a:pt x="323" y="400"/>
                  <a:pt x="323" y="400"/>
                  <a:pt x="323" y="400"/>
                </a:cubicBezTo>
                <a:cubicBezTo>
                  <a:pt x="323" y="399"/>
                  <a:pt x="323" y="399"/>
                  <a:pt x="323" y="399"/>
                </a:cubicBezTo>
                <a:cubicBezTo>
                  <a:pt x="323" y="398"/>
                  <a:pt x="323" y="398"/>
                  <a:pt x="323" y="398"/>
                </a:cubicBezTo>
                <a:cubicBezTo>
                  <a:pt x="322" y="397"/>
                  <a:pt x="322" y="397"/>
                  <a:pt x="322" y="397"/>
                </a:cubicBezTo>
                <a:cubicBezTo>
                  <a:pt x="322" y="395"/>
                  <a:pt x="322" y="395"/>
                  <a:pt x="322" y="395"/>
                </a:cubicBezTo>
                <a:cubicBezTo>
                  <a:pt x="322" y="395"/>
                  <a:pt x="322" y="395"/>
                  <a:pt x="322" y="395"/>
                </a:cubicBezTo>
                <a:cubicBezTo>
                  <a:pt x="323" y="394"/>
                  <a:pt x="323" y="394"/>
                  <a:pt x="323" y="394"/>
                </a:cubicBezTo>
                <a:cubicBezTo>
                  <a:pt x="326" y="394"/>
                  <a:pt x="326" y="394"/>
                  <a:pt x="326" y="394"/>
                </a:cubicBezTo>
                <a:cubicBezTo>
                  <a:pt x="327" y="393"/>
                  <a:pt x="327" y="393"/>
                  <a:pt x="327" y="393"/>
                </a:cubicBezTo>
                <a:cubicBezTo>
                  <a:pt x="329" y="393"/>
                  <a:pt x="329" y="393"/>
                  <a:pt x="329" y="393"/>
                </a:cubicBezTo>
                <a:cubicBezTo>
                  <a:pt x="329" y="392"/>
                  <a:pt x="329" y="392"/>
                  <a:pt x="329" y="392"/>
                </a:cubicBezTo>
                <a:cubicBezTo>
                  <a:pt x="332" y="391"/>
                  <a:pt x="332" y="391"/>
                  <a:pt x="332" y="391"/>
                </a:cubicBezTo>
                <a:cubicBezTo>
                  <a:pt x="336" y="389"/>
                  <a:pt x="336" y="389"/>
                  <a:pt x="336" y="389"/>
                </a:cubicBezTo>
                <a:cubicBezTo>
                  <a:pt x="336" y="389"/>
                  <a:pt x="336" y="389"/>
                  <a:pt x="336" y="389"/>
                </a:cubicBezTo>
                <a:cubicBezTo>
                  <a:pt x="336" y="388"/>
                  <a:pt x="336" y="388"/>
                  <a:pt x="336" y="388"/>
                </a:cubicBezTo>
                <a:cubicBezTo>
                  <a:pt x="339" y="387"/>
                  <a:pt x="339" y="387"/>
                  <a:pt x="339" y="387"/>
                </a:cubicBezTo>
                <a:cubicBezTo>
                  <a:pt x="340" y="386"/>
                  <a:pt x="340" y="386"/>
                  <a:pt x="340" y="386"/>
                </a:cubicBezTo>
                <a:cubicBezTo>
                  <a:pt x="341" y="385"/>
                  <a:pt x="341" y="385"/>
                  <a:pt x="341" y="385"/>
                </a:cubicBezTo>
                <a:cubicBezTo>
                  <a:pt x="343" y="382"/>
                  <a:pt x="343" y="382"/>
                  <a:pt x="343" y="382"/>
                </a:cubicBezTo>
                <a:cubicBezTo>
                  <a:pt x="344" y="383"/>
                  <a:pt x="344" y="383"/>
                  <a:pt x="344" y="383"/>
                </a:cubicBezTo>
                <a:cubicBezTo>
                  <a:pt x="344" y="383"/>
                  <a:pt x="344" y="383"/>
                  <a:pt x="344" y="383"/>
                </a:cubicBezTo>
                <a:cubicBezTo>
                  <a:pt x="345" y="383"/>
                  <a:pt x="345" y="383"/>
                  <a:pt x="345" y="383"/>
                </a:cubicBezTo>
                <a:cubicBezTo>
                  <a:pt x="346" y="382"/>
                  <a:pt x="346" y="382"/>
                  <a:pt x="346" y="382"/>
                </a:cubicBezTo>
                <a:cubicBezTo>
                  <a:pt x="345" y="381"/>
                  <a:pt x="345" y="381"/>
                  <a:pt x="345" y="381"/>
                </a:cubicBezTo>
                <a:cubicBezTo>
                  <a:pt x="345" y="379"/>
                  <a:pt x="345" y="379"/>
                  <a:pt x="345" y="379"/>
                </a:cubicBezTo>
                <a:cubicBezTo>
                  <a:pt x="344" y="380"/>
                  <a:pt x="344" y="380"/>
                  <a:pt x="344" y="380"/>
                </a:cubicBezTo>
                <a:cubicBezTo>
                  <a:pt x="344" y="381"/>
                  <a:pt x="344" y="381"/>
                  <a:pt x="344" y="381"/>
                </a:cubicBezTo>
                <a:cubicBezTo>
                  <a:pt x="344" y="381"/>
                  <a:pt x="344" y="381"/>
                  <a:pt x="344" y="381"/>
                </a:cubicBezTo>
                <a:cubicBezTo>
                  <a:pt x="344" y="379"/>
                  <a:pt x="344" y="379"/>
                  <a:pt x="344" y="379"/>
                </a:cubicBezTo>
                <a:cubicBezTo>
                  <a:pt x="345" y="376"/>
                  <a:pt x="345" y="376"/>
                  <a:pt x="345" y="376"/>
                </a:cubicBezTo>
                <a:cubicBezTo>
                  <a:pt x="346" y="376"/>
                  <a:pt x="346" y="376"/>
                  <a:pt x="346" y="376"/>
                </a:cubicBezTo>
                <a:cubicBezTo>
                  <a:pt x="346" y="374"/>
                  <a:pt x="346" y="374"/>
                  <a:pt x="346" y="374"/>
                </a:cubicBezTo>
                <a:cubicBezTo>
                  <a:pt x="346" y="372"/>
                  <a:pt x="346" y="372"/>
                  <a:pt x="346" y="372"/>
                </a:cubicBezTo>
                <a:cubicBezTo>
                  <a:pt x="345" y="370"/>
                  <a:pt x="345" y="370"/>
                  <a:pt x="345" y="370"/>
                </a:cubicBezTo>
                <a:cubicBezTo>
                  <a:pt x="345" y="366"/>
                  <a:pt x="345" y="366"/>
                  <a:pt x="345" y="366"/>
                </a:cubicBezTo>
                <a:cubicBezTo>
                  <a:pt x="345" y="363"/>
                  <a:pt x="345" y="363"/>
                  <a:pt x="345" y="363"/>
                </a:cubicBezTo>
                <a:cubicBezTo>
                  <a:pt x="343" y="360"/>
                  <a:pt x="343" y="360"/>
                  <a:pt x="343" y="360"/>
                </a:cubicBezTo>
                <a:cubicBezTo>
                  <a:pt x="341" y="359"/>
                  <a:pt x="341" y="359"/>
                  <a:pt x="341" y="359"/>
                </a:cubicBezTo>
                <a:cubicBezTo>
                  <a:pt x="341" y="358"/>
                  <a:pt x="341" y="358"/>
                  <a:pt x="341" y="358"/>
                </a:cubicBezTo>
                <a:cubicBezTo>
                  <a:pt x="340" y="358"/>
                  <a:pt x="340" y="358"/>
                  <a:pt x="340" y="358"/>
                </a:cubicBezTo>
                <a:cubicBezTo>
                  <a:pt x="339" y="357"/>
                  <a:pt x="339" y="357"/>
                  <a:pt x="339" y="357"/>
                </a:cubicBezTo>
                <a:cubicBezTo>
                  <a:pt x="340" y="354"/>
                  <a:pt x="340" y="354"/>
                  <a:pt x="340" y="354"/>
                </a:cubicBezTo>
                <a:cubicBezTo>
                  <a:pt x="341" y="354"/>
                  <a:pt x="341" y="354"/>
                  <a:pt x="341" y="354"/>
                </a:cubicBezTo>
                <a:cubicBezTo>
                  <a:pt x="345" y="350"/>
                  <a:pt x="345" y="350"/>
                  <a:pt x="345" y="350"/>
                </a:cubicBezTo>
                <a:cubicBezTo>
                  <a:pt x="346" y="350"/>
                  <a:pt x="346" y="350"/>
                  <a:pt x="346" y="350"/>
                </a:cubicBezTo>
                <a:cubicBezTo>
                  <a:pt x="346" y="349"/>
                  <a:pt x="346" y="349"/>
                  <a:pt x="346" y="349"/>
                </a:cubicBezTo>
                <a:cubicBezTo>
                  <a:pt x="346" y="348"/>
                  <a:pt x="346" y="348"/>
                  <a:pt x="346" y="348"/>
                </a:cubicBezTo>
                <a:cubicBezTo>
                  <a:pt x="346" y="348"/>
                  <a:pt x="346" y="348"/>
                  <a:pt x="346" y="348"/>
                </a:cubicBezTo>
                <a:cubicBezTo>
                  <a:pt x="346" y="347"/>
                  <a:pt x="346" y="347"/>
                  <a:pt x="346" y="347"/>
                </a:cubicBezTo>
                <a:cubicBezTo>
                  <a:pt x="347" y="346"/>
                  <a:pt x="347" y="346"/>
                  <a:pt x="347" y="346"/>
                </a:cubicBezTo>
                <a:cubicBezTo>
                  <a:pt x="348" y="346"/>
                  <a:pt x="348" y="346"/>
                  <a:pt x="348" y="346"/>
                </a:cubicBezTo>
                <a:cubicBezTo>
                  <a:pt x="349" y="347"/>
                  <a:pt x="349" y="347"/>
                  <a:pt x="349" y="347"/>
                </a:cubicBezTo>
                <a:cubicBezTo>
                  <a:pt x="349" y="348"/>
                  <a:pt x="349" y="348"/>
                  <a:pt x="349" y="348"/>
                </a:cubicBezTo>
                <a:cubicBezTo>
                  <a:pt x="349" y="347"/>
                  <a:pt x="349" y="347"/>
                  <a:pt x="349" y="347"/>
                </a:cubicBezTo>
                <a:cubicBezTo>
                  <a:pt x="349" y="346"/>
                  <a:pt x="349" y="346"/>
                  <a:pt x="349" y="346"/>
                </a:cubicBezTo>
                <a:cubicBezTo>
                  <a:pt x="350" y="345"/>
                  <a:pt x="350" y="345"/>
                  <a:pt x="350" y="345"/>
                </a:cubicBezTo>
                <a:cubicBezTo>
                  <a:pt x="352" y="343"/>
                  <a:pt x="352" y="343"/>
                  <a:pt x="352" y="343"/>
                </a:cubicBezTo>
                <a:cubicBezTo>
                  <a:pt x="351" y="342"/>
                  <a:pt x="351" y="342"/>
                  <a:pt x="351" y="342"/>
                </a:cubicBezTo>
                <a:cubicBezTo>
                  <a:pt x="350" y="342"/>
                  <a:pt x="350" y="342"/>
                  <a:pt x="350" y="342"/>
                </a:cubicBezTo>
                <a:cubicBezTo>
                  <a:pt x="350" y="341"/>
                  <a:pt x="350" y="341"/>
                  <a:pt x="350" y="341"/>
                </a:cubicBezTo>
                <a:cubicBezTo>
                  <a:pt x="351" y="340"/>
                  <a:pt x="351" y="340"/>
                  <a:pt x="351" y="340"/>
                </a:cubicBezTo>
                <a:cubicBezTo>
                  <a:pt x="350" y="339"/>
                  <a:pt x="350" y="339"/>
                  <a:pt x="350" y="339"/>
                </a:cubicBezTo>
                <a:cubicBezTo>
                  <a:pt x="350" y="338"/>
                  <a:pt x="350" y="338"/>
                  <a:pt x="350" y="338"/>
                </a:cubicBezTo>
                <a:cubicBezTo>
                  <a:pt x="351" y="337"/>
                  <a:pt x="351" y="337"/>
                  <a:pt x="351" y="337"/>
                </a:cubicBezTo>
                <a:cubicBezTo>
                  <a:pt x="352" y="337"/>
                  <a:pt x="352" y="337"/>
                  <a:pt x="352" y="337"/>
                </a:cubicBezTo>
                <a:cubicBezTo>
                  <a:pt x="350" y="337"/>
                  <a:pt x="350" y="337"/>
                  <a:pt x="350" y="337"/>
                </a:cubicBezTo>
                <a:cubicBezTo>
                  <a:pt x="350" y="336"/>
                  <a:pt x="350" y="336"/>
                  <a:pt x="350" y="336"/>
                </a:cubicBezTo>
                <a:cubicBezTo>
                  <a:pt x="351" y="334"/>
                  <a:pt x="351" y="334"/>
                  <a:pt x="351" y="334"/>
                </a:cubicBezTo>
                <a:cubicBezTo>
                  <a:pt x="352" y="334"/>
                  <a:pt x="352" y="334"/>
                  <a:pt x="352" y="334"/>
                </a:cubicBezTo>
                <a:cubicBezTo>
                  <a:pt x="351" y="333"/>
                  <a:pt x="351" y="333"/>
                  <a:pt x="351" y="333"/>
                </a:cubicBezTo>
                <a:cubicBezTo>
                  <a:pt x="349" y="334"/>
                  <a:pt x="349" y="334"/>
                  <a:pt x="349" y="334"/>
                </a:cubicBezTo>
                <a:cubicBezTo>
                  <a:pt x="348" y="333"/>
                  <a:pt x="348" y="333"/>
                  <a:pt x="348" y="333"/>
                </a:cubicBezTo>
                <a:cubicBezTo>
                  <a:pt x="348" y="332"/>
                  <a:pt x="348" y="332"/>
                  <a:pt x="348" y="332"/>
                </a:cubicBezTo>
                <a:cubicBezTo>
                  <a:pt x="351" y="330"/>
                  <a:pt x="351" y="330"/>
                  <a:pt x="351" y="330"/>
                </a:cubicBezTo>
                <a:cubicBezTo>
                  <a:pt x="353" y="328"/>
                  <a:pt x="353" y="328"/>
                  <a:pt x="353" y="328"/>
                </a:cubicBezTo>
                <a:cubicBezTo>
                  <a:pt x="353" y="326"/>
                  <a:pt x="353" y="326"/>
                  <a:pt x="353" y="326"/>
                </a:cubicBezTo>
                <a:cubicBezTo>
                  <a:pt x="354" y="327"/>
                  <a:pt x="354" y="327"/>
                  <a:pt x="354" y="327"/>
                </a:cubicBezTo>
                <a:cubicBezTo>
                  <a:pt x="354" y="326"/>
                  <a:pt x="354" y="326"/>
                  <a:pt x="354" y="326"/>
                </a:cubicBezTo>
                <a:cubicBezTo>
                  <a:pt x="354" y="324"/>
                  <a:pt x="354" y="324"/>
                  <a:pt x="354" y="324"/>
                </a:cubicBezTo>
                <a:cubicBezTo>
                  <a:pt x="354" y="324"/>
                  <a:pt x="354" y="324"/>
                  <a:pt x="354" y="324"/>
                </a:cubicBezTo>
                <a:cubicBezTo>
                  <a:pt x="354" y="324"/>
                  <a:pt x="354" y="324"/>
                  <a:pt x="354" y="324"/>
                </a:cubicBezTo>
                <a:cubicBezTo>
                  <a:pt x="353" y="324"/>
                  <a:pt x="353" y="324"/>
                  <a:pt x="353" y="324"/>
                </a:cubicBezTo>
                <a:cubicBezTo>
                  <a:pt x="352" y="322"/>
                  <a:pt x="352" y="322"/>
                  <a:pt x="352" y="322"/>
                </a:cubicBezTo>
                <a:cubicBezTo>
                  <a:pt x="352" y="320"/>
                  <a:pt x="352" y="320"/>
                  <a:pt x="352" y="320"/>
                </a:cubicBezTo>
                <a:cubicBezTo>
                  <a:pt x="353" y="318"/>
                  <a:pt x="353" y="318"/>
                  <a:pt x="353" y="318"/>
                </a:cubicBezTo>
                <a:cubicBezTo>
                  <a:pt x="353" y="316"/>
                  <a:pt x="353" y="316"/>
                  <a:pt x="353" y="316"/>
                </a:cubicBezTo>
                <a:cubicBezTo>
                  <a:pt x="354" y="316"/>
                  <a:pt x="354" y="316"/>
                  <a:pt x="354" y="316"/>
                </a:cubicBezTo>
                <a:cubicBezTo>
                  <a:pt x="355" y="316"/>
                  <a:pt x="355" y="316"/>
                  <a:pt x="355" y="316"/>
                </a:cubicBezTo>
                <a:cubicBezTo>
                  <a:pt x="355" y="316"/>
                  <a:pt x="355" y="316"/>
                  <a:pt x="355" y="316"/>
                </a:cubicBezTo>
                <a:cubicBezTo>
                  <a:pt x="355" y="315"/>
                  <a:pt x="355" y="315"/>
                  <a:pt x="355" y="315"/>
                </a:cubicBezTo>
                <a:cubicBezTo>
                  <a:pt x="356" y="315"/>
                  <a:pt x="356" y="315"/>
                  <a:pt x="356" y="315"/>
                </a:cubicBezTo>
                <a:cubicBezTo>
                  <a:pt x="357" y="315"/>
                  <a:pt x="357" y="315"/>
                  <a:pt x="357" y="315"/>
                </a:cubicBezTo>
                <a:cubicBezTo>
                  <a:pt x="358" y="314"/>
                  <a:pt x="358" y="314"/>
                  <a:pt x="358" y="314"/>
                </a:cubicBezTo>
                <a:cubicBezTo>
                  <a:pt x="359" y="315"/>
                  <a:pt x="359" y="315"/>
                  <a:pt x="359" y="315"/>
                </a:cubicBezTo>
                <a:cubicBezTo>
                  <a:pt x="361" y="315"/>
                  <a:pt x="361" y="315"/>
                  <a:pt x="361" y="315"/>
                </a:cubicBezTo>
                <a:cubicBezTo>
                  <a:pt x="363" y="316"/>
                  <a:pt x="363" y="316"/>
                  <a:pt x="363" y="316"/>
                </a:cubicBezTo>
                <a:cubicBezTo>
                  <a:pt x="366" y="318"/>
                  <a:pt x="366" y="318"/>
                  <a:pt x="366" y="318"/>
                </a:cubicBezTo>
                <a:cubicBezTo>
                  <a:pt x="367" y="318"/>
                  <a:pt x="367" y="318"/>
                  <a:pt x="367" y="318"/>
                </a:cubicBezTo>
                <a:cubicBezTo>
                  <a:pt x="367" y="319"/>
                  <a:pt x="367" y="319"/>
                  <a:pt x="367" y="319"/>
                </a:cubicBezTo>
                <a:cubicBezTo>
                  <a:pt x="365" y="319"/>
                  <a:pt x="365" y="319"/>
                  <a:pt x="365" y="319"/>
                </a:cubicBezTo>
                <a:cubicBezTo>
                  <a:pt x="367" y="319"/>
                  <a:pt x="367" y="319"/>
                  <a:pt x="367" y="319"/>
                </a:cubicBezTo>
                <a:cubicBezTo>
                  <a:pt x="369" y="318"/>
                  <a:pt x="369" y="318"/>
                  <a:pt x="369" y="318"/>
                </a:cubicBezTo>
                <a:cubicBezTo>
                  <a:pt x="370" y="318"/>
                  <a:pt x="370" y="318"/>
                  <a:pt x="370" y="318"/>
                </a:cubicBezTo>
                <a:cubicBezTo>
                  <a:pt x="371" y="319"/>
                  <a:pt x="371" y="319"/>
                  <a:pt x="371" y="319"/>
                </a:cubicBezTo>
                <a:cubicBezTo>
                  <a:pt x="372" y="319"/>
                  <a:pt x="372" y="319"/>
                  <a:pt x="372" y="319"/>
                </a:cubicBezTo>
                <a:cubicBezTo>
                  <a:pt x="373" y="320"/>
                  <a:pt x="373" y="320"/>
                  <a:pt x="373" y="320"/>
                </a:cubicBezTo>
                <a:cubicBezTo>
                  <a:pt x="373" y="319"/>
                  <a:pt x="373" y="319"/>
                  <a:pt x="373" y="319"/>
                </a:cubicBezTo>
                <a:cubicBezTo>
                  <a:pt x="374" y="319"/>
                  <a:pt x="374" y="319"/>
                  <a:pt x="374" y="319"/>
                </a:cubicBezTo>
                <a:cubicBezTo>
                  <a:pt x="375" y="319"/>
                  <a:pt x="375" y="319"/>
                  <a:pt x="375" y="319"/>
                </a:cubicBezTo>
                <a:cubicBezTo>
                  <a:pt x="376" y="319"/>
                  <a:pt x="376" y="319"/>
                  <a:pt x="376" y="319"/>
                </a:cubicBezTo>
                <a:cubicBezTo>
                  <a:pt x="377" y="318"/>
                  <a:pt x="377" y="318"/>
                  <a:pt x="377" y="318"/>
                </a:cubicBezTo>
                <a:cubicBezTo>
                  <a:pt x="379" y="319"/>
                  <a:pt x="379" y="319"/>
                  <a:pt x="379" y="319"/>
                </a:cubicBezTo>
                <a:cubicBezTo>
                  <a:pt x="379" y="321"/>
                  <a:pt x="379" y="321"/>
                  <a:pt x="379" y="321"/>
                </a:cubicBezTo>
                <a:cubicBezTo>
                  <a:pt x="381" y="322"/>
                  <a:pt x="381" y="322"/>
                  <a:pt x="381" y="322"/>
                </a:cubicBezTo>
                <a:cubicBezTo>
                  <a:pt x="382" y="322"/>
                  <a:pt x="382" y="322"/>
                  <a:pt x="382" y="322"/>
                </a:cubicBezTo>
                <a:cubicBezTo>
                  <a:pt x="382" y="324"/>
                  <a:pt x="382" y="324"/>
                  <a:pt x="382" y="324"/>
                </a:cubicBezTo>
                <a:cubicBezTo>
                  <a:pt x="381" y="325"/>
                  <a:pt x="381" y="325"/>
                  <a:pt x="381" y="325"/>
                </a:cubicBezTo>
                <a:cubicBezTo>
                  <a:pt x="381" y="326"/>
                  <a:pt x="381" y="326"/>
                  <a:pt x="381" y="326"/>
                </a:cubicBezTo>
                <a:cubicBezTo>
                  <a:pt x="382" y="325"/>
                  <a:pt x="382" y="325"/>
                  <a:pt x="382" y="325"/>
                </a:cubicBezTo>
                <a:cubicBezTo>
                  <a:pt x="383" y="326"/>
                  <a:pt x="383" y="326"/>
                  <a:pt x="383" y="326"/>
                </a:cubicBezTo>
                <a:cubicBezTo>
                  <a:pt x="384" y="328"/>
                  <a:pt x="384" y="328"/>
                  <a:pt x="384" y="328"/>
                </a:cubicBezTo>
                <a:cubicBezTo>
                  <a:pt x="383" y="328"/>
                  <a:pt x="383" y="328"/>
                  <a:pt x="383" y="328"/>
                </a:cubicBezTo>
                <a:cubicBezTo>
                  <a:pt x="384" y="329"/>
                  <a:pt x="384" y="329"/>
                  <a:pt x="384" y="329"/>
                </a:cubicBezTo>
                <a:cubicBezTo>
                  <a:pt x="385" y="328"/>
                  <a:pt x="385" y="328"/>
                  <a:pt x="385" y="328"/>
                </a:cubicBezTo>
                <a:cubicBezTo>
                  <a:pt x="386" y="329"/>
                  <a:pt x="386" y="329"/>
                  <a:pt x="386" y="329"/>
                </a:cubicBezTo>
                <a:cubicBezTo>
                  <a:pt x="386" y="330"/>
                  <a:pt x="386" y="330"/>
                  <a:pt x="386" y="330"/>
                </a:cubicBezTo>
                <a:cubicBezTo>
                  <a:pt x="385" y="329"/>
                  <a:pt x="385" y="329"/>
                  <a:pt x="385" y="329"/>
                </a:cubicBezTo>
                <a:cubicBezTo>
                  <a:pt x="384" y="331"/>
                  <a:pt x="384" y="331"/>
                  <a:pt x="384" y="331"/>
                </a:cubicBezTo>
                <a:cubicBezTo>
                  <a:pt x="383" y="331"/>
                  <a:pt x="383" y="331"/>
                  <a:pt x="383" y="331"/>
                </a:cubicBezTo>
                <a:cubicBezTo>
                  <a:pt x="385" y="332"/>
                  <a:pt x="385" y="332"/>
                  <a:pt x="385" y="332"/>
                </a:cubicBezTo>
                <a:cubicBezTo>
                  <a:pt x="385" y="333"/>
                  <a:pt x="385" y="333"/>
                  <a:pt x="385" y="333"/>
                </a:cubicBezTo>
                <a:cubicBezTo>
                  <a:pt x="386" y="332"/>
                  <a:pt x="386" y="332"/>
                  <a:pt x="386" y="332"/>
                </a:cubicBezTo>
                <a:cubicBezTo>
                  <a:pt x="386" y="333"/>
                  <a:pt x="386" y="333"/>
                  <a:pt x="386" y="333"/>
                </a:cubicBezTo>
                <a:cubicBezTo>
                  <a:pt x="387" y="333"/>
                  <a:pt x="387" y="333"/>
                  <a:pt x="387" y="333"/>
                </a:cubicBezTo>
                <a:cubicBezTo>
                  <a:pt x="389" y="334"/>
                  <a:pt x="389" y="334"/>
                  <a:pt x="389" y="334"/>
                </a:cubicBezTo>
                <a:cubicBezTo>
                  <a:pt x="390" y="334"/>
                  <a:pt x="390" y="334"/>
                  <a:pt x="390" y="334"/>
                </a:cubicBezTo>
                <a:cubicBezTo>
                  <a:pt x="390" y="335"/>
                  <a:pt x="390" y="335"/>
                  <a:pt x="390" y="335"/>
                </a:cubicBezTo>
                <a:cubicBezTo>
                  <a:pt x="391" y="334"/>
                  <a:pt x="391" y="334"/>
                  <a:pt x="391" y="334"/>
                </a:cubicBezTo>
                <a:cubicBezTo>
                  <a:pt x="393" y="335"/>
                  <a:pt x="393" y="335"/>
                  <a:pt x="393" y="335"/>
                </a:cubicBezTo>
                <a:cubicBezTo>
                  <a:pt x="393" y="337"/>
                  <a:pt x="393" y="337"/>
                  <a:pt x="393" y="337"/>
                </a:cubicBezTo>
                <a:cubicBezTo>
                  <a:pt x="393" y="338"/>
                  <a:pt x="393" y="338"/>
                  <a:pt x="393" y="338"/>
                </a:cubicBezTo>
                <a:cubicBezTo>
                  <a:pt x="395" y="337"/>
                  <a:pt x="395" y="337"/>
                  <a:pt x="395" y="337"/>
                </a:cubicBezTo>
                <a:cubicBezTo>
                  <a:pt x="395" y="335"/>
                  <a:pt x="395" y="335"/>
                  <a:pt x="395" y="335"/>
                </a:cubicBezTo>
                <a:cubicBezTo>
                  <a:pt x="396" y="335"/>
                  <a:pt x="396" y="335"/>
                  <a:pt x="396" y="335"/>
                </a:cubicBezTo>
                <a:cubicBezTo>
                  <a:pt x="396" y="337"/>
                  <a:pt x="396" y="337"/>
                  <a:pt x="396" y="337"/>
                </a:cubicBezTo>
                <a:cubicBezTo>
                  <a:pt x="396" y="339"/>
                  <a:pt x="396" y="339"/>
                  <a:pt x="396" y="339"/>
                </a:cubicBezTo>
                <a:cubicBezTo>
                  <a:pt x="394" y="339"/>
                  <a:pt x="394" y="339"/>
                  <a:pt x="394" y="339"/>
                </a:cubicBezTo>
                <a:cubicBezTo>
                  <a:pt x="393" y="341"/>
                  <a:pt x="393" y="341"/>
                  <a:pt x="393" y="341"/>
                </a:cubicBezTo>
                <a:cubicBezTo>
                  <a:pt x="393" y="344"/>
                  <a:pt x="393" y="344"/>
                  <a:pt x="393" y="344"/>
                </a:cubicBezTo>
                <a:cubicBezTo>
                  <a:pt x="393" y="345"/>
                  <a:pt x="393" y="345"/>
                  <a:pt x="393" y="345"/>
                </a:cubicBezTo>
                <a:cubicBezTo>
                  <a:pt x="393" y="344"/>
                  <a:pt x="393" y="344"/>
                  <a:pt x="393" y="344"/>
                </a:cubicBezTo>
                <a:cubicBezTo>
                  <a:pt x="392" y="345"/>
                  <a:pt x="392" y="345"/>
                  <a:pt x="392" y="345"/>
                </a:cubicBezTo>
                <a:cubicBezTo>
                  <a:pt x="392" y="346"/>
                  <a:pt x="392" y="346"/>
                  <a:pt x="392" y="346"/>
                </a:cubicBezTo>
                <a:cubicBezTo>
                  <a:pt x="389" y="346"/>
                  <a:pt x="389" y="346"/>
                  <a:pt x="389" y="346"/>
                </a:cubicBezTo>
                <a:cubicBezTo>
                  <a:pt x="386" y="345"/>
                  <a:pt x="386" y="345"/>
                  <a:pt x="386" y="345"/>
                </a:cubicBezTo>
                <a:cubicBezTo>
                  <a:pt x="389" y="347"/>
                  <a:pt x="389" y="347"/>
                  <a:pt x="389" y="347"/>
                </a:cubicBezTo>
                <a:cubicBezTo>
                  <a:pt x="391" y="347"/>
                  <a:pt x="391" y="347"/>
                  <a:pt x="391" y="347"/>
                </a:cubicBezTo>
                <a:cubicBezTo>
                  <a:pt x="393" y="348"/>
                  <a:pt x="393" y="348"/>
                  <a:pt x="393" y="348"/>
                </a:cubicBezTo>
                <a:cubicBezTo>
                  <a:pt x="392" y="351"/>
                  <a:pt x="392" y="351"/>
                  <a:pt x="392" y="351"/>
                </a:cubicBezTo>
                <a:cubicBezTo>
                  <a:pt x="391" y="352"/>
                  <a:pt x="391" y="352"/>
                  <a:pt x="391" y="352"/>
                </a:cubicBezTo>
                <a:cubicBezTo>
                  <a:pt x="391" y="353"/>
                  <a:pt x="391" y="353"/>
                  <a:pt x="391" y="353"/>
                </a:cubicBezTo>
                <a:cubicBezTo>
                  <a:pt x="390" y="355"/>
                  <a:pt x="390" y="355"/>
                  <a:pt x="390" y="355"/>
                </a:cubicBezTo>
                <a:cubicBezTo>
                  <a:pt x="390" y="355"/>
                  <a:pt x="390" y="355"/>
                  <a:pt x="390" y="355"/>
                </a:cubicBezTo>
                <a:cubicBezTo>
                  <a:pt x="392" y="357"/>
                  <a:pt x="392" y="357"/>
                  <a:pt x="392" y="357"/>
                </a:cubicBezTo>
                <a:cubicBezTo>
                  <a:pt x="393" y="358"/>
                  <a:pt x="393" y="358"/>
                  <a:pt x="393" y="358"/>
                </a:cubicBezTo>
                <a:cubicBezTo>
                  <a:pt x="392" y="358"/>
                  <a:pt x="392" y="358"/>
                  <a:pt x="392" y="358"/>
                </a:cubicBezTo>
                <a:cubicBezTo>
                  <a:pt x="390" y="357"/>
                  <a:pt x="390" y="357"/>
                  <a:pt x="390" y="357"/>
                </a:cubicBezTo>
                <a:cubicBezTo>
                  <a:pt x="391" y="359"/>
                  <a:pt x="391" y="359"/>
                  <a:pt x="391" y="359"/>
                </a:cubicBezTo>
                <a:cubicBezTo>
                  <a:pt x="393" y="360"/>
                  <a:pt x="393" y="360"/>
                  <a:pt x="393" y="360"/>
                </a:cubicBezTo>
                <a:cubicBezTo>
                  <a:pt x="393" y="360"/>
                  <a:pt x="393" y="360"/>
                  <a:pt x="393" y="360"/>
                </a:cubicBezTo>
                <a:cubicBezTo>
                  <a:pt x="393" y="358"/>
                  <a:pt x="393" y="358"/>
                  <a:pt x="393" y="358"/>
                </a:cubicBezTo>
                <a:cubicBezTo>
                  <a:pt x="394" y="358"/>
                  <a:pt x="394" y="358"/>
                  <a:pt x="394" y="358"/>
                </a:cubicBezTo>
                <a:cubicBezTo>
                  <a:pt x="395" y="360"/>
                  <a:pt x="395" y="360"/>
                  <a:pt x="395" y="360"/>
                </a:cubicBezTo>
                <a:cubicBezTo>
                  <a:pt x="396" y="361"/>
                  <a:pt x="396" y="361"/>
                  <a:pt x="396" y="361"/>
                </a:cubicBezTo>
                <a:cubicBezTo>
                  <a:pt x="395" y="362"/>
                  <a:pt x="395" y="362"/>
                  <a:pt x="395" y="362"/>
                </a:cubicBezTo>
                <a:cubicBezTo>
                  <a:pt x="395" y="364"/>
                  <a:pt x="395" y="364"/>
                  <a:pt x="395" y="364"/>
                </a:cubicBezTo>
                <a:cubicBezTo>
                  <a:pt x="394" y="366"/>
                  <a:pt x="394" y="366"/>
                  <a:pt x="394" y="366"/>
                </a:cubicBezTo>
                <a:cubicBezTo>
                  <a:pt x="394" y="367"/>
                  <a:pt x="394" y="367"/>
                  <a:pt x="394" y="367"/>
                </a:cubicBezTo>
                <a:cubicBezTo>
                  <a:pt x="393" y="368"/>
                  <a:pt x="393" y="368"/>
                  <a:pt x="393" y="368"/>
                </a:cubicBezTo>
                <a:cubicBezTo>
                  <a:pt x="394" y="368"/>
                  <a:pt x="394" y="368"/>
                  <a:pt x="394" y="368"/>
                </a:cubicBezTo>
                <a:cubicBezTo>
                  <a:pt x="396" y="364"/>
                  <a:pt x="396" y="364"/>
                  <a:pt x="396" y="364"/>
                </a:cubicBezTo>
                <a:cubicBezTo>
                  <a:pt x="398" y="363"/>
                  <a:pt x="398" y="363"/>
                  <a:pt x="398" y="363"/>
                </a:cubicBezTo>
                <a:cubicBezTo>
                  <a:pt x="398" y="363"/>
                  <a:pt x="398" y="363"/>
                  <a:pt x="398" y="363"/>
                </a:cubicBezTo>
                <a:cubicBezTo>
                  <a:pt x="398" y="364"/>
                  <a:pt x="398" y="364"/>
                  <a:pt x="398" y="364"/>
                </a:cubicBezTo>
                <a:cubicBezTo>
                  <a:pt x="398" y="366"/>
                  <a:pt x="398" y="366"/>
                  <a:pt x="398" y="366"/>
                </a:cubicBezTo>
                <a:cubicBezTo>
                  <a:pt x="397" y="367"/>
                  <a:pt x="397" y="367"/>
                  <a:pt x="397" y="367"/>
                </a:cubicBezTo>
                <a:cubicBezTo>
                  <a:pt x="398" y="368"/>
                  <a:pt x="398" y="368"/>
                  <a:pt x="398" y="368"/>
                </a:cubicBezTo>
                <a:cubicBezTo>
                  <a:pt x="397" y="369"/>
                  <a:pt x="397" y="369"/>
                  <a:pt x="397" y="369"/>
                </a:cubicBezTo>
                <a:cubicBezTo>
                  <a:pt x="398" y="368"/>
                  <a:pt x="398" y="368"/>
                  <a:pt x="398" y="368"/>
                </a:cubicBezTo>
                <a:cubicBezTo>
                  <a:pt x="399" y="366"/>
                  <a:pt x="399" y="366"/>
                  <a:pt x="399" y="366"/>
                </a:cubicBezTo>
                <a:cubicBezTo>
                  <a:pt x="400" y="365"/>
                  <a:pt x="400" y="365"/>
                  <a:pt x="400" y="365"/>
                </a:cubicBezTo>
                <a:cubicBezTo>
                  <a:pt x="401" y="365"/>
                  <a:pt x="401" y="365"/>
                  <a:pt x="401" y="365"/>
                </a:cubicBezTo>
                <a:cubicBezTo>
                  <a:pt x="402" y="364"/>
                  <a:pt x="402" y="364"/>
                  <a:pt x="402" y="364"/>
                </a:cubicBezTo>
                <a:cubicBezTo>
                  <a:pt x="403" y="364"/>
                  <a:pt x="403" y="364"/>
                  <a:pt x="403" y="364"/>
                </a:cubicBezTo>
                <a:cubicBezTo>
                  <a:pt x="403" y="365"/>
                  <a:pt x="403" y="365"/>
                  <a:pt x="403" y="365"/>
                </a:cubicBezTo>
                <a:cubicBezTo>
                  <a:pt x="404" y="364"/>
                  <a:pt x="404" y="364"/>
                  <a:pt x="404" y="364"/>
                </a:cubicBezTo>
                <a:cubicBezTo>
                  <a:pt x="405" y="364"/>
                  <a:pt x="405" y="364"/>
                  <a:pt x="405" y="364"/>
                </a:cubicBezTo>
                <a:cubicBezTo>
                  <a:pt x="405" y="363"/>
                  <a:pt x="405" y="363"/>
                  <a:pt x="405" y="363"/>
                </a:cubicBezTo>
                <a:cubicBezTo>
                  <a:pt x="406" y="362"/>
                  <a:pt x="406" y="362"/>
                  <a:pt x="406" y="362"/>
                </a:cubicBezTo>
                <a:cubicBezTo>
                  <a:pt x="408" y="360"/>
                  <a:pt x="408" y="360"/>
                  <a:pt x="408" y="360"/>
                </a:cubicBezTo>
                <a:cubicBezTo>
                  <a:pt x="408" y="361"/>
                  <a:pt x="408" y="361"/>
                  <a:pt x="408" y="361"/>
                </a:cubicBezTo>
                <a:cubicBezTo>
                  <a:pt x="409" y="363"/>
                  <a:pt x="409" y="363"/>
                  <a:pt x="409" y="363"/>
                </a:cubicBezTo>
                <a:cubicBezTo>
                  <a:pt x="409" y="364"/>
                  <a:pt x="409" y="364"/>
                  <a:pt x="409" y="364"/>
                </a:cubicBezTo>
                <a:cubicBezTo>
                  <a:pt x="409" y="362"/>
                  <a:pt x="409" y="362"/>
                  <a:pt x="409" y="362"/>
                </a:cubicBezTo>
                <a:cubicBezTo>
                  <a:pt x="409" y="361"/>
                  <a:pt x="409" y="361"/>
                  <a:pt x="409" y="361"/>
                </a:cubicBezTo>
                <a:cubicBezTo>
                  <a:pt x="410" y="360"/>
                  <a:pt x="410" y="360"/>
                  <a:pt x="410" y="360"/>
                </a:cubicBezTo>
                <a:cubicBezTo>
                  <a:pt x="410" y="360"/>
                  <a:pt x="410" y="360"/>
                  <a:pt x="410" y="360"/>
                </a:cubicBezTo>
                <a:cubicBezTo>
                  <a:pt x="411" y="359"/>
                  <a:pt x="411" y="359"/>
                  <a:pt x="411" y="359"/>
                </a:cubicBezTo>
                <a:cubicBezTo>
                  <a:pt x="412" y="358"/>
                  <a:pt x="412" y="358"/>
                  <a:pt x="412" y="358"/>
                </a:cubicBezTo>
                <a:cubicBezTo>
                  <a:pt x="412" y="357"/>
                  <a:pt x="412" y="357"/>
                  <a:pt x="412" y="357"/>
                </a:cubicBezTo>
                <a:cubicBezTo>
                  <a:pt x="413" y="356"/>
                  <a:pt x="413" y="356"/>
                  <a:pt x="413" y="356"/>
                </a:cubicBezTo>
                <a:cubicBezTo>
                  <a:pt x="414" y="355"/>
                  <a:pt x="414" y="355"/>
                  <a:pt x="414" y="355"/>
                </a:cubicBezTo>
                <a:cubicBezTo>
                  <a:pt x="414" y="354"/>
                  <a:pt x="414" y="354"/>
                  <a:pt x="414" y="354"/>
                </a:cubicBezTo>
                <a:cubicBezTo>
                  <a:pt x="415" y="354"/>
                  <a:pt x="415" y="354"/>
                  <a:pt x="415" y="354"/>
                </a:cubicBezTo>
                <a:cubicBezTo>
                  <a:pt x="416" y="355"/>
                  <a:pt x="416" y="355"/>
                  <a:pt x="416" y="355"/>
                </a:cubicBezTo>
                <a:cubicBezTo>
                  <a:pt x="416" y="355"/>
                  <a:pt x="416" y="355"/>
                  <a:pt x="416" y="355"/>
                </a:cubicBezTo>
                <a:cubicBezTo>
                  <a:pt x="415" y="354"/>
                  <a:pt x="415" y="354"/>
                  <a:pt x="415" y="354"/>
                </a:cubicBezTo>
                <a:cubicBezTo>
                  <a:pt x="414" y="354"/>
                  <a:pt x="414" y="354"/>
                  <a:pt x="414" y="354"/>
                </a:cubicBezTo>
                <a:cubicBezTo>
                  <a:pt x="414" y="353"/>
                  <a:pt x="414" y="353"/>
                  <a:pt x="414" y="353"/>
                </a:cubicBezTo>
                <a:cubicBezTo>
                  <a:pt x="415" y="351"/>
                  <a:pt x="415" y="351"/>
                  <a:pt x="415" y="351"/>
                </a:cubicBezTo>
                <a:cubicBezTo>
                  <a:pt x="416" y="351"/>
                  <a:pt x="416" y="351"/>
                  <a:pt x="416" y="351"/>
                </a:cubicBezTo>
                <a:cubicBezTo>
                  <a:pt x="416" y="351"/>
                  <a:pt x="416" y="351"/>
                  <a:pt x="416" y="351"/>
                </a:cubicBezTo>
                <a:cubicBezTo>
                  <a:pt x="416" y="350"/>
                  <a:pt x="416" y="350"/>
                  <a:pt x="416" y="350"/>
                </a:cubicBezTo>
                <a:cubicBezTo>
                  <a:pt x="417" y="350"/>
                  <a:pt x="417" y="350"/>
                  <a:pt x="417" y="350"/>
                </a:cubicBezTo>
                <a:cubicBezTo>
                  <a:pt x="417" y="349"/>
                  <a:pt x="417" y="349"/>
                  <a:pt x="417" y="349"/>
                </a:cubicBezTo>
                <a:cubicBezTo>
                  <a:pt x="418" y="347"/>
                  <a:pt x="418" y="347"/>
                  <a:pt x="418" y="347"/>
                </a:cubicBezTo>
                <a:cubicBezTo>
                  <a:pt x="419" y="346"/>
                  <a:pt x="419" y="346"/>
                  <a:pt x="419" y="346"/>
                </a:cubicBezTo>
                <a:cubicBezTo>
                  <a:pt x="419" y="345"/>
                  <a:pt x="419" y="345"/>
                  <a:pt x="419" y="345"/>
                </a:cubicBezTo>
                <a:cubicBezTo>
                  <a:pt x="420" y="344"/>
                  <a:pt x="420" y="344"/>
                  <a:pt x="420" y="344"/>
                </a:cubicBezTo>
                <a:cubicBezTo>
                  <a:pt x="421" y="343"/>
                  <a:pt x="421" y="343"/>
                  <a:pt x="421" y="343"/>
                </a:cubicBezTo>
                <a:cubicBezTo>
                  <a:pt x="422" y="344"/>
                  <a:pt x="422" y="344"/>
                  <a:pt x="422" y="344"/>
                </a:cubicBezTo>
                <a:cubicBezTo>
                  <a:pt x="421" y="345"/>
                  <a:pt x="421" y="345"/>
                  <a:pt x="421" y="345"/>
                </a:cubicBezTo>
                <a:cubicBezTo>
                  <a:pt x="422" y="344"/>
                  <a:pt x="422" y="344"/>
                  <a:pt x="422" y="344"/>
                </a:cubicBezTo>
                <a:cubicBezTo>
                  <a:pt x="422" y="345"/>
                  <a:pt x="422" y="345"/>
                  <a:pt x="422" y="345"/>
                </a:cubicBezTo>
                <a:cubicBezTo>
                  <a:pt x="421" y="345"/>
                  <a:pt x="421" y="345"/>
                  <a:pt x="421" y="345"/>
                </a:cubicBezTo>
                <a:cubicBezTo>
                  <a:pt x="421" y="346"/>
                  <a:pt x="421" y="346"/>
                  <a:pt x="421" y="346"/>
                </a:cubicBezTo>
                <a:cubicBezTo>
                  <a:pt x="422" y="347"/>
                  <a:pt x="422" y="347"/>
                  <a:pt x="422" y="347"/>
                </a:cubicBezTo>
                <a:cubicBezTo>
                  <a:pt x="421" y="348"/>
                  <a:pt x="421" y="348"/>
                  <a:pt x="421" y="348"/>
                </a:cubicBezTo>
                <a:cubicBezTo>
                  <a:pt x="421" y="348"/>
                  <a:pt x="421" y="348"/>
                  <a:pt x="421" y="348"/>
                </a:cubicBezTo>
                <a:cubicBezTo>
                  <a:pt x="421" y="348"/>
                  <a:pt x="421" y="348"/>
                  <a:pt x="421" y="348"/>
                </a:cubicBezTo>
                <a:cubicBezTo>
                  <a:pt x="421" y="348"/>
                  <a:pt x="421" y="348"/>
                  <a:pt x="421" y="348"/>
                </a:cubicBezTo>
                <a:cubicBezTo>
                  <a:pt x="422" y="348"/>
                  <a:pt x="422" y="348"/>
                  <a:pt x="422" y="348"/>
                </a:cubicBezTo>
                <a:cubicBezTo>
                  <a:pt x="422" y="350"/>
                  <a:pt x="422" y="350"/>
                  <a:pt x="422" y="350"/>
                </a:cubicBezTo>
                <a:cubicBezTo>
                  <a:pt x="421" y="350"/>
                  <a:pt x="421" y="350"/>
                  <a:pt x="421" y="350"/>
                </a:cubicBezTo>
                <a:cubicBezTo>
                  <a:pt x="422" y="350"/>
                  <a:pt x="422" y="350"/>
                  <a:pt x="422" y="350"/>
                </a:cubicBezTo>
                <a:cubicBezTo>
                  <a:pt x="422" y="351"/>
                  <a:pt x="422" y="351"/>
                  <a:pt x="422" y="351"/>
                </a:cubicBezTo>
                <a:cubicBezTo>
                  <a:pt x="422" y="352"/>
                  <a:pt x="422" y="352"/>
                  <a:pt x="422" y="352"/>
                </a:cubicBezTo>
                <a:cubicBezTo>
                  <a:pt x="422" y="353"/>
                  <a:pt x="422" y="353"/>
                  <a:pt x="422" y="353"/>
                </a:cubicBezTo>
                <a:cubicBezTo>
                  <a:pt x="423" y="354"/>
                  <a:pt x="423" y="354"/>
                  <a:pt x="423" y="354"/>
                </a:cubicBezTo>
                <a:cubicBezTo>
                  <a:pt x="423" y="355"/>
                  <a:pt x="423" y="355"/>
                  <a:pt x="423" y="355"/>
                </a:cubicBezTo>
                <a:cubicBezTo>
                  <a:pt x="423" y="356"/>
                  <a:pt x="423" y="356"/>
                  <a:pt x="423" y="356"/>
                </a:cubicBezTo>
                <a:cubicBezTo>
                  <a:pt x="422" y="355"/>
                  <a:pt x="422" y="355"/>
                  <a:pt x="422" y="355"/>
                </a:cubicBezTo>
                <a:cubicBezTo>
                  <a:pt x="421" y="356"/>
                  <a:pt x="421" y="356"/>
                  <a:pt x="421" y="356"/>
                </a:cubicBezTo>
                <a:cubicBezTo>
                  <a:pt x="422" y="357"/>
                  <a:pt x="422" y="357"/>
                  <a:pt x="422" y="357"/>
                </a:cubicBezTo>
                <a:cubicBezTo>
                  <a:pt x="422" y="357"/>
                  <a:pt x="422" y="357"/>
                  <a:pt x="422" y="357"/>
                </a:cubicBezTo>
                <a:cubicBezTo>
                  <a:pt x="423" y="357"/>
                  <a:pt x="423" y="357"/>
                  <a:pt x="423" y="357"/>
                </a:cubicBezTo>
                <a:cubicBezTo>
                  <a:pt x="424" y="356"/>
                  <a:pt x="424" y="356"/>
                  <a:pt x="424" y="356"/>
                </a:cubicBezTo>
                <a:cubicBezTo>
                  <a:pt x="424" y="357"/>
                  <a:pt x="424" y="357"/>
                  <a:pt x="424" y="357"/>
                </a:cubicBezTo>
                <a:cubicBezTo>
                  <a:pt x="425" y="358"/>
                  <a:pt x="425" y="358"/>
                  <a:pt x="425" y="358"/>
                </a:cubicBezTo>
                <a:cubicBezTo>
                  <a:pt x="424" y="359"/>
                  <a:pt x="424" y="359"/>
                  <a:pt x="424" y="359"/>
                </a:cubicBezTo>
                <a:cubicBezTo>
                  <a:pt x="423" y="360"/>
                  <a:pt x="423" y="360"/>
                  <a:pt x="423" y="360"/>
                </a:cubicBezTo>
                <a:cubicBezTo>
                  <a:pt x="421" y="359"/>
                  <a:pt x="421" y="359"/>
                  <a:pt x="421" y="359"/>
                </a:cubicBezTo>
                <a:cubicBezTo>
                  <a:pt x="421" y="360"/>
                  <a:pt x="421" y="360"/>
                  <a:pt x="421" y="360"/>
                </a:cubicBezTo>
                <a:cubicBezTo>
                  <a:pt x="422" y="361"/>
                  <a:pt x="422" y="361"/>
                  <a:pt x="422" y="361"/>
                </a:cubicBezTo>
                <a:cubicBezTo>
                  <a:pt x="424" y="360"/>
                  <a:pt x="424" y="360"/>
                  <a:pt x="424" y="360"/>
                </a:cubicBezTo>
                <a:cubicBezTo>
                  <a:pt x="425" y="360"/>
                  <a:pt x="425" y="360"/>
                  <a:pt x="425" y="360"/>
                </a:cubicBezTo>
                <a:cubicBezTo>
                  <a:pt x="425" y="361"/>
                  <a:pt x="425" y="361"/>
                  <a:pt x="425" y="361"/>
                </a:cubicBezTo>
                <a:cubicBezTo>
                  <a:pt x="424" y="363"/>
                  <a:pt x="424" y="363"/>
                  <a:pt x="424" y="363"/>
                </a:cubicBezTo>
                <a:cubicBezTo>
                  <a:pt x="425" y="363"/>
                  <a:pt x="425" y="363"/>
                  <a:pt x="425" y="363"/>
                </a:cubicBezTo>
                <a:cubicBezTo>
                  <a:pt x="426" y="362"/>
                  <a:pt x="426" y="362"/>
                  <a:pt x="426" y="362"/>
                </a:cubicBezTo>
                <a:cubicBezTo>
                  <a:pt x="426" y="364"/>
                  <a:pt x="426" y="364"/>
                  <a:pt x="426" y="364"/>
                </a:cubicBezTo>
                <a:cubicBezTo>
                  <a:pt x="425" y="365"/>
                  <a:pt x="425" y="365"/>
                  <a:pt x="425" y="365"/>
                </a:cubicBezTo>
                <a:cubicBezTo>
                  <a:pt x="423" y="365"/>
                  <a:pt x="423" y="365"/>
                  <a:pt x="423" y="365"/>
                </a:cubicBezTo>
                <a:cubicBezTo>
                  <a:pt x="422" y="365"/>
                  <a:pt x="422" y="365"/>
                  <a:pt x="422" y="365"/>
                </a:cubicBezTo>
                <a:cubicBezTo>
                  <a:pt x="422" y="365"/>
                  <a:pt x="422" y="365"/>
                  <a:pt x="422" y="365"/>
                </a:cubicBezTo>
                <a:cubicBezTo>
                  <a:pt x="422" y="366"/>
                  <a:pt x="422" y="366"/>
                  <a:pt x="422" y="366"/>
                </a:cubicBezTo>
                <a:cubicBezTo>
                  <a:pt x="421" y="367"/>
                  <a:pt x="421" y="367"/>
                  <a:pt x="421" y="367"/>
                </a:cubicBezTo>
                <a:cubicBezTo>
                  <a:pt x="423" y="367"/>
                  <a:pt x="423" y="367"/>
                  <a:pt x="423" y="367"/>
                </a:cubicBezTo>
                <a:cubicBezTo>
                  <a:pt x="425" y="367"/>
                  <a:pt x="425" y="367"/>
                  <a:pt x="425" y="367"/>
                </a:cubicBezTo>
                <a:cubicBezTo>
                  <a:pt x="426" y="366"/>
                  <a:pt x="426" y="366"/>
                  <a:pt x="426" y="366"/>
                </a:cubicBezTo>
                <a:cubicBezTo>
                  <a:pt x="427" y="366"/>
                  <a:pt x="427" y="366"/>
                  <a:pt x="427" y="366"/>
                </a:cubicBezTo>
                <a:cubicBezTo>
                  <a:pt x="426" y="367"/>
                  <a:pt x="426" y="367"/>
                  <a:pt x="426" y="367"/>
                </a:cubicBezTo>
                <a:cubicBezTo>
                  <a:pt x="426" y="368"/>
                  <a:pt x="426" y="368"/>
                  <a:pt x="426" y="368"/>
                </a:cubicBezTo>
                <a:cubicBezTo>
                  <a:pt x="425" y="368"/>
                  <a:pt x="425" y="368"/>
                  <a:pt x="425" y="368"/>
                </a:cubicBezTo>
                <a:cubicBezTo>
                  <a:pt x="424" y="368"/>
                  <a:pt x="424" y="368"/>
                  <a:pt x="424" y="368"/>
                </a:cubicBezTo>
                <a:cubicBezTo>
                  <a:pt x="422" y="371"/>
                  <a:pt x="422" y="371"/>
                  <a:pt x="422" y="371"/>
                </a:cubicBezTo>
                <a:cubicBezTo>
                  <a:pt x="424" y="370"/>
                  <a:pt x="424" y="370"/>
                  <a:pt x="424" y="370"/>
                </a:cubicBezTo>
                <a:cubicBezTo>
                  <a:pt x="425" y="370"/>
                  <a:pt x="425" y="370"/>
                  <a:pt x="425" y="370"/>
                </a:cubicBezTo>
                <a:cubicBezTo>
                  <a:pt x="426" y="369"/>
                  <a:pt x="426" y="369"/>
                  <a:pt x="426" y="369"/>
                </a:cubicBezTo>
                <a:cubicBezTo>
                  <a:pt x="427" y="370"/>
                  <a:pt x="427" y="370"/>
                  <a:pt x="427" y="370"/>
                </a:cubicBezTo>
                <a:cubicBezTo>
                  <a:pt x="427" y="371"/>
                  <a:pt x="427" y="371"/>
                  <a:pt x="427" y="371"/>
                </a:cubicBezTo>
                <a:cubicBezTo>
                  <a:pt x="426" y="371"/>
                  <a:pt x="426" y="371"/>
                  <a:pt x="426" y="371"/>
                </a:cubicBezTo>
                <a:cubicBezTo>
                  <a:pt x="425" y="372"/>
                  <a:pt x="425" y="372"/>
                  <a:pt x="425" y="372"/>
                </a:cubicBezTo>
                <a:cubicBezTo>
                  <a:pt x="425" y="373"/>
                  <a:pt x="425" y="373"/>
                  <a:pt x="425" y="373"/>
                </a:cubicBezTo>
                <a:cubicBezTo>
                  <a:pt x="425" y="372"/>
                  <a:pt x="425" y="372"/>
                  <a:pt x="425" y="372"/>
                </a:cubicBezTo>
                <a:cubicBezTo>
                  <a:pt x="427" y="373"/>
                  <a:pt x="427" y="373"/>
                  <a:pt x="427" y="373"/>
                </a:cubicBezTo>
                <a:cubicBezTo>
                  <a:pt x="427" y="372"/>
                  <a:pt x="427" y="372"/>
                  <a:pt x="427" y="372"/>
                </a:cubicBezTo>
                <a:cubicBezTo>
                  <a:pt x="428" y="373"/>
                  <a:pt x="428" y="373"/>
                  <a:pt x="428" y="373"/>
                </a:cubicBezTo>
                <a:cubicBezTo>
                  <a:pt x="429" y="375"/>
                  <a:pt x="429" y="375"/>
                  <a:pt x="429" y="375"/>
                </a:cubicBezTo>
                <a:cubicBezTo>
                  <a:pt x="428" y="376"/>
                  <a:pt x="428" y="376"/>
                  <a:pt x="428" y="376"/>
                </a:cubicBezTo>
                <a:cubicBezTo>
                  <a:pt x="427" y="376"/>
                  <a:pt x="427" y="376"/>
                  <a:pt x="427" y="376"/>
                </a:cubicBezTo>
                <a:cubicBezTo>
                  <a:pt x="426" y="376"/>
                  <a:pt x="426" y="376"/>
                  <a:pt x="426" y="376"/>
                </a:cubicBezTo>
                <a:cubicBezTo>
                  <a:pt x="425" y="376"/>
                  <a:pt x="425" y="376"/>
                  <a:pt x="425" y="376"/>
                </a:cubicBezTo>
                <a:cubicBezTo>
                  <a:pt x="426" y="377"/>
                  <a:pt x="426" y="377"/>
                  <a:pt x="426" y="377"/>
                </a:cubicBezTo>
                <a:cubicBezTo>
                  <a:pt x="427" y="377"/>
                  <a:pt x="427" y="377"/>
                  <a:pt x="427" y="377"/>
                </a:cubicBezTo>
                <a:cubicBezTo>
                  <a:pt x="427" y="377"/>
                  <a:pt x="427" y="377"/>
                  <a:pt x="427" y="377"/>
                </a:cubicBezTo>
                <a:cubicBezTo>
                  <a:pt x="429" y="377"/>
                  <a:pt x="429" y="377"/>
                  <a:pt x="429" y="377"/>
                </a:cubicBezTo>
                <a:cubicBezTo>
                  <a:pt x="429" y="378"/>
                  <a:pt x="429" y="378"/>
                  <a:pt x="429" y="378"/>
                </a:cubicBezTo>
                <a:cubicBezTo>
                  <a:pt x="429" y="379"/>
                  <a:pt x="429" y="379"/>
                  <a:pt x="429" y="379"/>
                </a:cubicBezTo>
                <a:cubicBezTo>
                  <a:pt x="428" y="379"/>
                  <a:pt x="428" y="379"/>
                  <a:pt x="428" y="379"/>
                </a:cubicBezTo>
                <a:cubicBezTo>
                  <a:pt x="429" y="380"/>
                  <a:pt x="429" y="380"/>
                  <a:pt x="429" y="380"/>
                </a:cubicBezTo>
                <a:cubicBezTo>
                  <a:pt x="430" y="380"/>
                  <a:pt x="430" y="380"/>
                  <a:pt x="430" y="380"/>
                </a:cubicBezTo>
                <a:cubicBezTo>
                  <a:pt x="431" y="381"/>
                  <a:pt x="431" y="381"/>
                  <a:pt x="431" y="381"/>
                </a:cubicBezTo>
                <a:cubicBezTo>
                  <a:pt x="431" y="382"/>
                  <a:pt x="431" y="382"/>
                  <a:pt x="431" y="382"/>
                </a:cubicBezTo>
                <a:cubicBezTo>
                  <a:pt x="430" y="382"/>
                  <a:pt x="430" y="382"/>
                  <a:pt x="430" y="382"/>
                </a:cubicBezTo>
                <a:cubicBezTo>
                  <a:pt x="428" y="384"/>
                  <a:pt x="428" y="384"/>
                  <a:pt x="428" y="384"/>
                </a:cubicBezTo>
                <a:cubicBezTo>
                  <a:pt x="428" y="383"/>
                  <a:pt x="428" y="383"/>
                  <a:pt x="428" y="383"/>
                </a:cubicBezTo>
                <a:cubicBezTo>
                  <a:pt x="427" y="384"/>
                  <a:pt x="427" y="384"/>
                  <a:pt x="427" y="384"/>
                </a:cubicBezTo>
                <a:cubicBezTo>
                  <a:pt x="428" y="384"/>
                  <a:pt x="428" y="384"/>
                  <a:pt x="428" y="384"/>
                </a:cubicBezTo>
                <a:cubicBezTo>
                  <a:pt x="428" y="385"/>
                  <a:pt x="428" y="385"/>
                  <a:pt x="428" y="385"/>
                </a:cubicBezTo>
                <a:cubicBezTo>
                  <a:pt x="427" y="385"/>
                  <a:pt x="427" y="385"/>
                  <a:pt x="427" y="385"/>
                </a:cubicBezTo>
                <a:cubicBezTo>
                  <a:pt x="425" y="384"/>
                  <a:pt x="425" y="384"/>
                  <a:pt x="425" y="384"/>
                </a:cubicBezTo>
                <a:cubicBezTo>
                  <a:pt x="424" y="384"/>
                  <a:pt x="424" y="384"/>
                  <a:pt x="424" y="384"/>
                </a:cubicBezTo>
                <a:cubicBezTo>
                  <a:pt x="425" y="385"/>
                  <a:pt x="425" y="385"/>
                  <a:pt x="425" y="385"/>
                </a:cubicBezTo>
                <a:cubicBezTo>
                  <a:pt x="425" y="386"/>
                  <a:pt x="425" y="386"/>
                  <a:pt x="425" y="386"/>
                </a:cubicBezTo>
                <a:cubicBezTo>
                  <a:pt x="427" y="387"/>
                  <a:pt x="427" y="387"/>
                  <a:pt x="427" y="387"/>
                </a:cubicBezTo>
                <a:cubicBezTo>
                  <a:pt x="427" y="388"/>
                  <a:pt x="427" y="388"/>
                  <a:pt x="427" y="388"/>
                </a:cubicBezTo>
                <a:cubicBezTo>
                  <a:pt x="427" y="389"/>
                  <a:pt x="427" y="389"/>
                  <a:pt x="427" y="389"/>
                </a:cubicBezTo>
                <a:cubicBezTo>
                  <a:pt x="426" y="389"/>
                  <a:pt x="426" y="389"/>
                  <a:pt x="426" y="389"/>
                </a:cubicBezTo>
                <a:cubicBezTo>
                  <a:pt x="425" y="390"/>
                  <a:pt x="425" y="390"/>
                  <a:pt x="425" y="390"/>
                </a:cubicBezTo>
                <a:cubicBezTo>
                  <a:pt x="423" y="390"/>
                  <a:pt x="423" y="390"/>
                  <a:pt x="423" y="390"/>
                </a:cubicBezTo>
                <a:cubicBezTo>
                  <a:pt x="426" y="390"/>
                  <a:pt x="426" y="390"/>
                  <a:pt x="426" y="390"/>
                </a:cubicBezTo>
                <a:cubicBezTo>
                  <a:pt x="426" y="390"/>
                  <a:pt x="426" y="390"/>
                  <a:pt x="426" y="390"/>
                </a:cubicBezTo>
                <a:cubicBezTo>
                  <a:pt x="427" y="390"/>
                  <a:pt x="427" y="390"/>
                  <a:pt x="427" y="390"/>
                </a:cubicBezTo>
                <a:cubicBezTo>
                  <a:pt x="428" y="389"/>
                  <a:pt x="428" y="389"/>
                  <a:pt x="428" y="389"/>
                </a:cubicBezTo>
                <a:cubicBezTo>
                  <a:pt x="429" y="389"/>
                  <a:pt x="429" y="389"/>
                  <a:pt x="429" y="389"/>
                </a:cubicBezTo>
                <a:cubicBezTo>
                  <a:pt x="429" y="390"/>
                  <a:pt x="429" y="390"/>
                  <a:pt x="429" y="390"/>
                </a:cubicBezTo>
                <a:cubicBezTo>
                  <a:pt x="429" y="391"/>
                  <a:pt x="429" y="391"/>
                  <a:pt x="429" y="391"/>
                </a:cubicBezTo>
                <a:cubicBezTo>
                  <a:pt x="429" y="391"/>
                  <a:pt x="429" y="391"/>
                  <a:pt x="429" y="391"/>
                </a:cubicBezTo>
                <a:cubicBezTo>
                  <a:pt x="430" y="391"/>
                  <a:pt x="430" y="391"/>
                  <a:pt x="430" y="391"/>
                </a:cubicBezTo>
                <a:cubicBezTo>
                  <a:pt x="430" y="392"/>
                  <a:pt x="430" y="392"/>
                  <a:pt x="430" y="392"/>
                </a:cubicBezTo>
                <a:cubicBezTo>
                  <a:pt x="430" y="393"/>
                  <a:pt x="430" y="393"/>
                  <a:pt x="430" y="393"/>
                </a:cubicBezTo>
                <a:cubicBezTo>
                  <a:pt x="430" y="393"/>
                  <a:pt x="430" y="393"/>
                  <a:pt x="430" y="393"/>
                </a:cubicBezTo>
                <a:cubicBezTo>
                  <a:pt x="431" y="392"/>
                  <a:pt x="431" y="392"/>
                  <a:pt x="431" y="392"/>
                </a:cubicBezTo>
                <a:cubicBezTo>
                  <a:pt x="432" y="393"/>
                  <a:pt x="432" y="393"/>
                  <a:pt x="432" y="393"/>
                </a:cubicBezTo>
                <a:cubicBezTo>
                  <a:pt x="432" y="393"/>
                  <a:pt x="432" y="393"/>
                  <a:pt x="432" y="393"/>
                </a:cubicBezTo>
                <a:cubicBezTo>
                  <a:pt x="432" y="394"/>
                  <a:pt x="432" y="394"/>
                  <a:pt x="432" y="394"/>
                </a:cubicBezTo>
                <a:cubicBezTo>
                  <a:pt x="432" y="395"/>
                  <a:pt x="432" y="395"/>
                  <a:pt x="432" y="395"/>
                </a:cubicBezTo>
                <a:cubicBezTo>
                  <a:pt x="432" y="396"/>
                  <a:pt x="432" y="396"/>
                  <a:pt x="432" y="396"/>
                </a:cubicBezTo>
                <a:cubicBezTo>
                  <a:pt x="432" y="396"/>
                  <a:pt x="432" y="396"/>
                  <a:pt x="432" y="396"/>
                </a:cubicBezTo>
                <a:cubicBezTo>
                  <a:pt x="434" y="394"/>
                  <a:pt x="434" y="394"/>
                  <a:pt x="434" y="394"/>
                </a:cubicBezTo>
                <a:cubicBezTo>
                  <a:pt x="434" y="394"/>
                  <a:pt x="434" y="394"/>
                  <a:pt x="434" y="394"/>
                </a:cubicBezTo>
                <a:cubicBezTo>
                  <a:pt x="434" y="395"/>
                  <a:pt x="434" y="395"/>
                  <a:pt x="434" y="395"/>
                </a:cubicBezTo>
                <a:cubicBezTo>
                  <a:pt x="434" y="396"/>
                  <a:pt x="434" y="396"/>
                  <a:pt x="434" y="396"/>
                </a:cubicBezTo>
                <a:cubicBezTo>
                  <a:pt x="433" y="397"/>
                  <a:pt x="433" y="397"/>
                  <a:pt x="433" y="397"/>
                </a:cubicBezTo>
                <a:cubicBezTo>
                  <a:pt x="431" y="399"/>
                  <a:pt x="431" y="399"/>
                  <a:pt x="431" y="399"/>
                </a:cubicBezTo>
                <a:cubicBezTo>
                  <a:pt x="430" y="400"/>
                  <a:pt x="430" y="400"/>
                  <a:pt x="430" y="400"/>
                </a:cubicBezTo>
                <a:cubicBezTo>
                  <a:pt x="429" y="400"/>
                  <a:pt x="429" y="400"/>
                  <a:pt x="429" y="400"/>
                </a:cubicBezTo>
                <a:cubicBezTo>
                  <a:pt x="430" y="401"/>
                  <a:pt x="430" y="401"/>
                  <a:pt x="430" y="401"/>
                </a:cubicBezTo>
                <a:cubicBezTo>
                  <a:pt x="431" y="400"/>
                  <a:pt x="431" y="400"/>
                  <a:pt x="431" y="400"/>
                </a:cubicBezTo>
                <a:cubicBezTo>
                  <a:pt x="433" y="398"/>
                  <a:pt x="433" y="398"/>
                  <a:pt x="433" y="398"/>
                </a:cubicBezTo>
                <a:cubicBezTo>
                  <a:pt x="434" y="398"/>
                  <a:pt x="434" y="398"/>
                  <a:pt x="434" y="398"/>
                </a:cubicBezTo>
                <a:cubicBezTo>
                  <a:pt x="434" y="399"/>
                  <a:pt x="434" y="399"/>
                  <a:pt x="434" y="399"/>
                </a:cubicBezTo>
                <a:cubicBezTo>
                  <a:pt x="433" y="400"/>
                  <a:pt x="433" y="400"/>
                  <a:pt x="433" y="400"/>
                </a:cubicBezTo>
                <a:cubicBezTo>
                  <a:pt x="433" y="401"/>
                  <a:pt x="433" y="401"/>
                  <a:pt x="433" y="401"/>
                </a:cubicBezTo>
                <a:cubicBezTo>
                  <a:pt x="433" y="401"/>
                  <a:pt x="433" y="401"/>
                  <a:pt x="433" y="401"/>
                </a:cubicBezTo>
                <a:cubicBezTo>
                  <a:pt x="434" y="400"/>
                  <a:pt x="434" y="400"/>
                  <a:pt x="434" y="400"/>
                </a:cubicBezTo>
                <a:cubicBezTo>
                  <a:pt x="436" y="398"/>
                  <a:pt x="436" y="398"/>
                  <a:pt x="436" y="398"/>
                </a:cubicBezTo>
                <a:cubicBezTo>
                  <a:pt x="437" y="398"/>
                  <a:pt x="437" y="398"/>
                  <a:pt x="437" y="398"/>
                </a:cubicBezTo>
                <a:cubicBezTo>
                  <a:pt x="437" y="399"/>
                  <a:pt x="437" y="399"/>
                  <a:pt x="437" y="399"/>
                </a:cubicBezTo>
                <a:cubicBezTo>
                  <a:pt x="436" y="399"/>
                  <a:pt x="436" y="399"/>
                  <a:pt x="436" y="399"/>
                </a:cubicBezTo>
                <a:cubicBezTo>
                  <a:pt x="435" y="400"/>
                  <a:pt x="435" y="400"/>
                  <a:pt x="435" y="400"/>
                </a:cubicBezTo>
                <a:cubicBezTo>
                  <a:pt x="436" y="400"/>
                  <a:pt x="436" y="400"/>
                  <a:pt x="436" y="400"/>
                </a:cubicBezTo>
                <a:cubicBezTo>
                  <a:pt x="438" y="399"/>
                  <a:pt x="438" y="399"/>
                  <a:pt x="438" y="399"/>
                </a:cubicBezTo>
                <a:cubicBezTo>
                  <a:pt x="438" y="400"/>
                  <a:pt x="438" y="400"/>
                  <a:pt x="438" y="400"/>
                </a:cubicBezTo>
                <a:cubicBezTo>
                  <a:pt x="436" y="401"/>
                  <a:pt x="436" y="401"/>
                  <a:pt x="436" y="401"/>
                </a:cubicBezTo>
                <a:cubicBezTo>
                  <a:pt x="435" y="402"/>
                  <a:pt x="435" y="402"/>
                  <a:pt x="435" y="402"/>
                </a:cubicBezTo>
                <a:cubicBezTo>
                  <a:pt x="436" y="402"/>
                  <a:pt x="436" y="402"/>
                  <a:pt x="436" y="402"/>
                </a:cubicBezTo>
                <a:cubicBezTo>
                  <a:pt x="437" y="401"/>
                  <a:pt x="437" y="401"/>
                  <a:pt x="437" y="401"/>
                </a:cubicBezTo>
                <a:cubicBezTo>
                  <a:pt x="439" y="399"/>
                  <a:pt x="439" y="399"/>
                  <a:pt x="439" y="399"/>
                </a:cubicBezTo>
                <a:cubicBezTo>
                  <a:pt x="440" y="399"/>
                  <a:pt x="440" y="399"/>
                  <a:pt x="440" y="399"/>
                </a:cubicBezTo>
                <a:cubicBezTo>
                  <a:pt x="439" y="400"/>
                  <a:pt x="439" y="400"/>
                  <a:pt x="439" y="400"/>
                </a:cubicBezTo>
                <a:cubicBezTo>
                  <a:pt x="439" y="401"/>
                  <a:pt x="439" y="401"/>
                  <a:pt x="439" y="401"/>
                </a:cubicBezTo>
                <a:cubicBezTo>
                  <a:pt x="441" y="399"/>
                  <a:pt x="441" y="399"/>
                  <a:pt x="441" y="399"/>
                </a:cubicBezTo>
                <a:cubicBezTo>
                  <a:pt x="441" y="400"/>
                  <a:pt x="441" y="400"/>
                  <a:pt x="441" y="400"/>
                </a:cubicBezTo>
                <a:cubicBezTo>
                  <a:pt x="441" y="402"/>
                  <a:pt x="441" y="402"/>
                  <a:pt x="441" y="402"/>
                </a:cubicBezTo>
                <a:cubicBezTo>
                  <a:pt x="440" y="402"/>
                  <a:pt x="440" y="402"/>
                  <a:pt x="440" y="402"/>
                </a:cubicBezTo>
                <a:cubicBezTo>
                  <a:pt x="440" y="403"/>
                  <a:pt x="440" y="403"/>
                  <a:pt x="440" y="403"/>
                </a:cubicBezTo>
                <a:cubicBezTo>
                  <a:pt x="441" y="403"/>
                  <a:pt x="441" y="403"/>
                  <a:pt x="441" y="403"/>
                </a:cubicBezTo>
                <a:cubicBezTo>
                  <a:pt x="443" y="404"/>
                  <a:pt x="443" y="404"/>
                  <a:pt x="443" y="404"/>
                </a:cubicBezTo>
                <a:cubicBezTo>
                  <a:pt x="444" y="403"/>
                  <a:pt x="444" y="403"/>
                  <a:pt x="444" y="403"/>
                </a:cubicBezTo>
                <a:cubicBezTo>
                  <a:pt x="446" y="402"/>
                  <a:pt x="446" y="402"/>
                  <a:pt x="446" y="402"/>
                </a:cubicBezTo>
                <a:cubicBezTo>
                  <a:pt x="446" y="403"/>
                  <a:pt x="446" y="403"/>
                  <a:pt x="446" y="403"/>
                </a:cubicBezTo>
                <a:cubicBezTo>
                  <a:pt x="446" y="404"/>
                  <a:pt x="446" y="404"/>
                  <a:pt x="446" y="404"/>
                </a:cubicBezTo>
                <a:cubicBezTo>
                  <a:pt x="445" y="404"/>
                  <a:pt x="445" y="404"/>
                  <a:pt x="445" y="404"/>
                </a:cubicBezTo>
                <a:cubicBezTo>
                  <a:pt x="445" y="404"/>
                  <a:pt x="445" y="404"/>
                  <a:pt x="445" y="404"/>
                </a:cubicBezTo>
                <a:cubicBezTo>
                  <a:pt x="448" y="405"/>
                  <a:pt x="448" y="405"/>
                  <a:pt x="448" y="405"/>
                </a:cubicBezTo>
                <a:cubicBezTo>
                  <a:pt x="449" y="406"/>
                  <a:pt x="449" y="406"/>
                  <a:pt x="449" y="406"/>
                </a:cubicBezTo>
                <a:cubicBezTo>
                  <a:pt x="447" y="406"/>
                  <a:pt x="447" y="406"/>
                  <a:pt x="447" y="406"/>
                </a:cubicBezTo>
                <a:cubicBezTo>
                  <a:pt x="447" y="407"/>
                  <a:pt x="447" y="407"/>
                  <a:pt x="447" y="407"/>
                </a:cubicBezTo>
                <a:cubicBezTo>
                  <a:pt x="444" y="407"/>
                  <a:pt x="444" y="407"/>
                  <a:pt x="444" y="407"/>
                </a:cubicBezTo>
                <a:cubicBezTo>
                  <a:pt x="444" y="407"/>
                  <a:pt x="444" y="407"/>
                  <a:pt x="444" y="407"/>
                </a:cubicBezTo>
                <a:cubicBezTo>
                  <a:pt x="442" y="408"/>
                  <a:pt x="442" y="408"/>
                  <a:pt x="442" y="408"/>
                </a:cubicBezTo>
                <a:cubicBezTo>
                  <a:pt x="441" y="409"/>
                  <a:pt x="441" y="409"/>
                  <a:pt x="441" y="409"/>
                </a:cubicBezTo>
                <a:cubicBezTo>
                  <a:pt x="438" y="409"/>
                  <a:pt x="438" y="409"/>
                  <a:pt x="438" y="409"/>
                </a:cubicBezTo>
                <a:cubicBezTo>
                  <a:pt x="435" y="409"/>
                  <a:pt x="435" y="409"/>
                  <a:pt x="435" y="409"/>
                </a:cubicBezTo>
                <a:cubicBezTo>
                  <a:pt x="435" y="410"/>
                  <a:pt x="435" y="410"/>
                  <a:pt x="435" y="410"/>
                </a:cubicBezTo>
                <a:cubicBezTo>
                  <a:pt x="437" y="410"/>
                  <a:pt x="437" y="410"/>
                  <a:pt x="437" y="410"/>
                </a:cubicBezTo>
                <a:cubicBezTo>
                  <a:pt x="440" y="409"/>
                  <a:pt x="440" y="409"/>
                  <a:pt x="440" y="409"/>
                </a:cubicBezTo>
                <a:cubicBezTo>
                  <a:pt x="441" y="409"/>
                  <a:pt x="441" y="409"/>
                  <a:pt x="441" y="409"/>
                </a:cubicBezTo>
                <a:cubicBezTo>
                  <a:pt x="441" y="410"/>
                  <a:pt x="441" y="410"/>
                  <a:pt x="441" y="410"/>
                </a:cubicBezTo>
                <a:cubicBezTo>
                  <a:pt x="438" y="410"/>
                  <a:pt x="438" y="410"/>
                  <a:pt x="438" y="410"/>
                </a:cubicBezTo>
                <a:cubicBezTo>
                  <a:pt x="436" y="411"/>
                  <a:pt x="436" y="411"/>
                  <a:pt x="436" y="411"/>
                </a:cubicBezTo>
                <a:cubicBezTo>
                  <a:pt x="434" y="412"/>
                  <a:pt x="434" y="412"/>
                  <a:pt x="434" y="412"/>
                </a:cubicBezTo>
                <a:cubicBezTo>
                  <a:pt x="433" y="412"/>
                  <a:pt x="433" y="412"/>
                  <a:pt x="433" y="412"/>
                </a:cubicBezTo>
                <a:cubicBezTo>
                  <a:pt x="432" y="412"/>
                  <a:pt x="432" y="412"/>
                  <a:pt x="432" y="412"/>
                </a:cubicBezTo>
                <a:cubicBezTo>
                  <a:pt x="432" y="414"/>
                  <a:pt x="432" y="414"/>
                  <a:pt x="432" y="414"/>
                </a:cubicBezTo>
                <a:cubicBezTo>
                  <a:pt x="431" y="414"/>
                  <a:pt x="431" y="414"/>
                  <a:pt x="431" y="414"/>
                </a:cubicBezTo>
                <a:cubicBezTo>
                  <a:pt x="429" y="413"/>
                  <a:pt x="429" y="413"/>
                  <a:pt x="429" y="413"/>
                </a:cubicBezTo>
                <a:cubicBezTo>
                  <a:pt x="428" y="410"/>
                  <a:pt x="428" y="410"/>
                  <a:pt x="428" y="410"/>
                </a:cubicBezTo>
                <a:cubicBezTo>
                  <a:pt x="428" y="412"/>
                  <a:pt x="428" y="412"/>
                  <a:pt x="428" y="412"/>
                </a:cubicBezTo>
                <a:cubicBezTo>
                  <a:pt x="427" y="412"/>
                  <a:pt x="427" y="412"/>
                  <a:pt x="427" y="412"/>
                </a:cubicBezTo>
                <a:cubicBezTo>
                  <a:pt x="428" y="413"/>
                  <a:pt x="428" y="413"/>
                  <a:pt x="428" y="413"/>
                </a:cubicBezTo>
                <a:cubicBezTo>
                  <a:pt x="428" y="413"/>
                  <a:pt x="428" y="413"/>
                  <a:pt x="428" y="413"/>
                </a:cubicBezTo>
                <a:cubicBezTo>
                  <a:pt x="431" y="415"/>
                  <a:pt x="431" y="415"/>
                  <a:pt x="431" y="415"/>
                </a:cubicBezTo>
                <a:cubicBezTo>
                  <a:pt x="431" y="416"/>
                  <a:pt x="431" y="416"/>
                  <a:pt x="431" y="416"/>
                </a:cubicBezTo>
                <a:cubicBezTo>
                  <a:pt x="430" y="416"/>
                  <a:pt x="430" y="416"/>
                  <a:pt x="430" y="416"/>
                </a:cubicBezTo>
                <a:cubicBezTo>
                  <a:pt x="429" y="416"/>
                  <a:pt x="429" y="416"/>
                  <a:pt x="429" y="416"/>
                </a:cubicBezTo>
                <a:cubicBezTo>
                  <a:pt x="430" y="417"/>
                  <a:pt x="430" y="417"/>
                  <a:pt x="430" y="417"/>
                </a:cubicBezTo>
                <a:cubicBezTo>
                  <a:pt x="430" y="418"/>
                  <a:pt x="430" y="418"/>
                  <a:pt x="430" y="418"/>
                </a:cubicBezTo>
                <a:cubicBezTo>
                  <a:pt x="431" y="417"/>
                  <a:pt x="431" y="417"/>
                  <a:pt x="431" y="417"/>
                </a:cubicBezTo>
                <a:cubicBezTo>
                  <a:pt x="431" y="417"/>
                  <a:pt x="431" y="417"/>
                  <a:pt x="431" y="417"/>
                </a:cubicBezTo>
                <a:cubicBezTo>
                  <a:pt x="432" y="415"/>
                  <a:pt x="432" y="415"/>
                  <a:pt x="432" y="415"/>
                </a:cubicBezTo>
                <a:cubicBezTo>
                  <a:pt x="434" y="415"/>
                  <a:pt x="434" y="415"/>
                  <a:pt x="434" y="415"/>
                </a:cubicBezTo>
                <a:cubicBezTo>
                  <a:pt x="436" y="414"/>
                  <a:pt x="436" y="414"/>
                  <a:pt x="436" y="414"/>
                </a:cubicBezTo>
                <a:cubicBezTo>
                  <a:pt x="437" y="414"/>
                  <a:pt x="437" y="414"/>
                  <a:pt x="437" y="414"/>
                </a:cubicBezTo>
                <a:cubicBezTo>
                  <a:pt x="437" y="413"/>
                  <a:pt x="437" y="413"/>
                  <a:pt x="437" y="413"/>
                </a:cubicBezTo>
                <a:cubicBezTo>
                  <a:pt x="438" y="411"/>
                  <a:pt x="438" y="411"/>
                  <a:pt x="438" y="411"/>
                </a:cubicBezTo>
                <a:cubicBezTo>
                  <a:pt x="440" y="411"/>
                  <a:pt x="440" y="411"/>
                  <a:pt x="440" y="411"/>
                </a:cubicBezTo>
                <a:cubicBezTo>
                  <a:pt x="442" y="410"/>
                  <a:pt x="442" y="410"/>
                  <a:pt x="442" y="410"/>
                </a:cubicBezTo>
                <a:cubicBezTo>
                  <a:pt x="443" y="410"/>
                  <a:pt x="443" y="410"/>
                  <a:pt x="443" y="410"/>
                </a:cubicBezTo>
                <a:cubicBezTo>
                  <a:pt x="445" y="410"/>
                  <a:pt x="445" y="410"/>
                  <a:pt x="445" y="410"/>
                </a:cubicBezTo>
                <a:cubicBezTo>
                  <a:pt x="444" y="410"/>
                  <a:pt x="444" y="410"/>
                  <a:pt x="444" y="410"/>
                </a:cubicBezTo>
                <a:cubicBezTo>
                  <a:pt x="443" y="410"/>
                  <a:pt x="443" y="410"/>
                  <a:pt x="443" y="410"/>
                </a:cubicBezTo>
                <a:cubicBezTo>
                  <a:pt x="442" y="410"/>
                  <a:pt x="442" y="410"/>
                  <a:pt x="442" y="410"/>
                </a:cubicBezTo>
                <a:cubicBezTo>
                  <a:pt x="443" y="409"/>
                  <a:pt x="443" y="409"/>
                  <a:pt x="443" y="409"/>
                </a:cubicBezTo>
                <a:cubicBezTo>
                  <a:pt x="446" y="409"/>
                  <a:pt x="446" y="409"/>
                  <a:pt x="446" y="409"/>
                </a:cubicBezTo>
                <a:cubicBezTo>
                  <a:pt x="448" y="409"/>
                  <a:pt x="448" y="409"/>
                  <a:pt x="448" y="409"/>
                </a:cubicBezTo>
                <a:cubicBezTo>
                  <a:pt x="449" y="411"/>
                  <a:pt x="449" y="411"/>
                  <a:pt x="449" y="411"/>
                </a:cubicBezTo>
                <a:cubicBezTo>
                  <a:pt x="449" y="413"/>
                  <a:pt x="449" y="413"/>
                  <a:pt x="449" y="413"/>
                </a:cubicBezTo>
                <a:cubicBezTo>
                  <a:pt x="447" y="414"/>
                  <a:pt x="447" y="414"/>
                  <a:pt x="447" y="414"/>
                </a:cubicBezTo>
                <a:cubicBezTo>
                  <a:pt x="447" y="414"/>
                  <a:pt x="447" y="414"/>
                  <a:pt x="447" y="414"/>
                </a:cubicBezTo>
                <a:cubicBezTo>
                  <a:pt x="446" y="415"/>
                  <a:pt x="446" y="415"/>
                  <a:pt x="446" y="415"/>
                </a:cubicBezTo>
                <a:cubicBezTo>
                  <a:pt x="447" y="415"/>
                  <a:pt x="447" y="415"/>
                  <a:pt x="447" y="415"/>
                </a:cubicBezTo>
                <a:cubicBezTo>
                  <a:pt x="448" y="416"/>
                  <a:pt x="448" y="416"/>
                  <a:pt x="448" y="416"/>
                </a:cubicBezTo>
                <a:cubicBezTo>
                  <a:pt x="448" y="415"/>
                  <a:pt x="448" y="415"/>
                  <a:pt x="448" y="415"/>
                </a:cubicBezTo>
                <a:cubicBezTo>
                  <a:pt x="449" y="414"/>
                  <a:pt x="449" y="414"/>
                  <a:pt x="449" y="414"/>
                </a:cubicBezTo>
                <a:cubicBezTo>
                  <a:pt x="451" y="413"/>
                  <a:pt x="451" y="413"/>
                  <a:pt x="451" y="413"/>
                </a:cubicBezTo>
                <a:cubicBezTo>
                  <a:pt x="452" y="413"/>
                  <a:pt x="452" y="413"/>
                  <a:pt x="452" y="413"/>
                </a:cubicBezTo>
                <a:cubicBezTo>
                  <a:pt x="452" y="414"/>
                  <a:pt x="452" y="414"/>
                  <a:pt x="452" y="414"/>
                </a:cubicBezTo>
                <a:cubicBezTo>
                  <a:pt x="452" y="414"/>
                  <a:pt x="452" y="414"/>
                  <a:pt x="452" y="414"/>
                </a:cubicBezTo>
                <a:cubicBezTo>
                  <a:pt x="452" y="415"/>
                  <a:pt x="452" y="415"/>
                  <a:pt x="452" y="415"/>
                </a:cubicBezTo>
                <a:cubicBezTo>
                  <a:pt x="453" y="415"/>
                  <a:pt x="453" y="415"/>
                  <a:pt x="453" y="415"/>
                </a:cubicBezTo>
                <a:cubicBezTo>
                  <a:pt x="455" y="416"/>
                  <a:pt x="455" y="416"/>
                  <a:pt x="455" y="416"/>
                </a:cubicBezTo>
                <a:cubicBezTo>
                  <a:pt x="455" y="416"/>
                  <a:pt x="455" y="416"/>
                  <a:pt x="455" y="416"/>
                </a:cubicBezTo>
                <a:cubicBezTo>
                  <a:pt x="454" y="416"/>
                  <a:pt x="454" y="416"/>
                  <a:pt x="454" y="416"/>
                </a:cubicBezTo>
                <a:cubicBezTo>
                  <a:pt x="453" y="416"/>
                  <a:pt x="453" y="416"/>
                  <a:pt x="453" y="416"/>
                </a:cubicBezTo>
                <a:cubicBezTo>
                  <a:pt x="454" y="417"/>
                  <a:pt x="454" y="417"/>
                  <a:pt x="454" y="417"/>
                </a:cubicBezTo>
                <a:cubicBezTo>
                  <a:pt x="455" y="418"/>
                  <a:pt x="455" y="418"/>
                  <a:pt x="455" y="418"/>
                </a:cubicBezTo>
                <a:cubicBezTo>
                  <a:pt x="456" y="419"/>
                  <a:pt x="456" y="419"/>
                  <a:pt x="456" y="419"/>
                </a:cubicBezTo>
                <a:cubicBezTo>
                  <a:pt x="455" y="419"/>
                  <a:pt x="455" y="419"/>
                  <a:pt x="455" y="419"/>
                </a:cubicBezTo>
                <a:cubicBezTo>
                  <a:pt x="454" y="419"/>
                  <a:pt x="454" y="419"/>
                  <a:pt x="454" y="419"/>
                </a:cubicBezTo>
                <a:cubicBezTo>
                  <a:pt x="453" y="420"/>
                  <a:pt x="453" y="420"/>
                  <a:pt x="453" y="420"/>
                </a:cubicBezTo>
                <a:cubicBezTo>
                  <a:pt x="455" y="421"/>
                  <a:pt x="455" y="421"/>
                  <a:pt x="455" y="421"/>
                </a:cubicBezTo>
                <a:cubicBezTo>
                  <a:pt x="454" y="422"/>
                  <a:pt x="454" y="422"/>
                  <a:pt x="454" y="422"/>
                </a:cubicBezTo>
                <a:cubicBezTo>
                  <a:pt x="453" y="422"/>
                  <a:pt x="453" y="422"/>
                  <a:pt x="453" y="422"/>
                </a:cubicBezTo>
                <a:cubicBezTo>
                  <a:pt x="453" y="423"/>
                  <a:pt x="453" y="423"/>
                  <a:pt x="453" y="423"/>
                </a:cubicBezTo>
                <a:cubicBezTo>
                  <a:pt x="452" y="424"/>
                  <a:pt x="452" y="424"/>
                  <a:pt x="452" y="424"/>
                </a:cubicBezTo>
                <a:cubicBezTo>
                  <a:pt x="450" y="423"/>
                  <a:pt x="450" y="423"/>
                  <a:pt x="450" y="423"/>
                </a:cubicBezTo>
                <a:cubicBezTo>
                  <a:pt x="451" y="424"/>
                  <a:pt x="451" y="424"/>
                  <a:pt x="451" y="424"/>
                </a:cubicBezTo>
                <a:cubicBezTo>
                  <a:pt x="453" y="425"/>
                  <a:pt x="453" y="425"/>
                  <a:pt x="453" y="425"/>
                </a:cubicBezTo>
                <a:cubicBezTo>
                  <a:pt x="454" y="424"/>
                  <a:pt x="454" y="424"/>
                  <a:pt x="454" y="424"/>
                </a:cubicBezTo>
                <a:cubicBezTo>
                  <a:pt x="455" y="425"/>
                  <a:pt x="455" y="425"/>
                  <a:pt x="455" y="425"/>
                </a:cubicBezTo>
                <a:cubicBezTo>
                  <a:pt x="454" y="426"/>
                  <a:pt x="454" y="426"/>
                  <a:pt x="454" y="426"/>
                </a:cubicBezTo>
                <a:cubicBezTo>
                  <a:pt x="453" y="426"/>
                  <a:pt x="453" y="426"/>
                  <a:pt x="453" y="426"/>
                </a:cubicBezTo>
                <a:cubicBezTo>
                  <a:pt x="452" y="426"/>
                  <a:pt x="452" y="426"/>
                  <a:pt x="452" y="426"/>
                </a:cubicBezTo>
                <a:cubicBezTo>
                  <a:pt x="453" y="426"/>
                  <a:pt x="453" y="426"/>
                  <a:pt x="453" y="426"/>
                </a:cubicBezTo>
                <a:cubicBezTo>
                  <a:pt x="454" y="426"/>
                  <a:pt x="454" y="426"/>
                  <a:pt x="454" y="426"/>
                </a:cubicBezTo>
                <a:cubicBezTo>
                  <a:pt x="455" y="426"/>
                  <a:pt x="455" y="426"/>
                  <a:pt x="455" y="426"/>
                </a:cubicBezTo>
                <a:cubicBezTo>
                  <a:pt x="454" y="428"/>
                  <a:pt x="454" y="428"/>
                  <a:pt x="454" y="428"/>
                </a:cubicBezTo>
                <a:cubicBezTo>
                  <a:pt x="454" y="429"/>
                  <a:pt x="454" y="429"/>
                  <a:pt x="454" y="429"/>
                </a:cubicBezTo>
                <a:cubicBezTo>
                  <a:pt x="453" y="429"/>
                  <a:pt x="453" y="429"/>
                  <a:pt x="453" y="429"/>
                </a:cubicBezTo>
                <a:cubicBezTo>
                  <a:pt x="452" y="430"/>
                  <a:pt x="452" y="430"/>
                  <a:pt x="452" y="430"/>
                </a:cubicBezTo>
                <a:cubicBezTo>
                  <a:pt x="451" y="431"/>
                  <a:pt x="451" y="431"/>
                  <a:pt x="451" y="431"/>
                </a:cubicBezTo>
                <a:cubicBezTo>
                  <a:pt x="449" y="431"/>
                  <a:pt x="449" y="431"/>
                  <a:pt x="449" y="431"/>
                </a:cubicBezTo>
                <a:cubicBezTo>
                  <a:pt x="448" y="432"/>
                  <a:pt x="448" y="432"/>
                  <a:pt x="448" y="432"/>
                </a:cubicBezTo>
                <a:cubicBezTo>
                  <a:pt x="448" y="432"/>
                  <a:pt x="448" y="432"/>
                  <a:pt x="448" y="432"/>
                </a:cubicBezTo>
                <a:cubicBezTo>
                  <a:pt x="447" y="433"/>
                  <a:pt x="447" y="433"/>
                  <a:pt x="447" y="433"/>
                </a:cubicBezTo>
                <a:cubicBezTo>
                  <a:pt x="446" y="433"/>
                  <a:pt x="446" y="433"/>
                  <a:pt x="446" y="433"/>
                </a:cubicBezTo>
                <a:cubicBezTo>
                  <a:pt x="446" y="434"/>
                  <a:pt x="446" y="434"/>
                  <a:pt x="446" y="434"/>
                </a:cubicBezTo>
                <a:cubicBezTo>
                  <a:pt x="445" y="434"/>
                  <a:pt x="445" y="434"/>
                  <a:pt x="445" y="434"/>
                </a:cubicBezTo>
                <a:cubicBezTo>
                  <a:pt x="444" y="433"/>
                  <a:pt x="444" y="433"/>
                  <a:pt x="444" y="433"/>
                </a:cubicBezTo>
                <a:cubicBezTo>
                  <a:pt x="443" y="434"/>
                  <a:pt x="443" y="434"/>
                  <a:pt x="443" y="434"/>
                </a:cubicBezTo>
                <a:cubicBezTo>
                  <a:pt x="442" y="434"/>
                  <a:pt x="442" y="434"/>
                  <a:pt x="442" y="434"/>
                </a:cubicBezTo>
                <a:cubicBezTo>
                  <a:pt x="442" y="433"/>
                  <a:pt x="442" y="433"/>
                  <a:pt x="442" y="433"/>
                </a:cubicBezTo>
                <a:cubicBezTo>
                  <a:pt x="440" y="434"/>
                  <a:pt x="440" y="434"/>
                  <a:pt x="440" y="434"/>
                </a:cubicBezTo>
                <a:cubicBezTo>
                  <a:pt x="439" y="434"/>
                  <a:pt x="439" y="434"/>
                  <a:pt x="439" y="434"/>
                </a:cubicBezTo>
                <a:cubicBezTo>
                  <a:pt x="438" y="433"/>
                  <a:pt x="438" y="433"/>
                  <a:pt x="438" y="433"/>
                </a:cubicBezTo>
                <a:cubicBezTo>
                  <a:pt x="438" y="433"/>
                  <a:pt x="438" y="433"/>
                  <a:pt x="438" y="433"/>
                </a:cubicBezTo>
                <a:cubicBezTo>
                  <a:pt x="438" y="434"/>
                  <a:pt x="438" y="434"/>
                  <a:pt x="438" y="434"/>
                </a:cubicBezTo>
                <a:cubicBezTo>
                  <a:pt x="437" y="435"/>
                  <a:pt x="437" y="435"/>
                  <a:pt x="437" y="435"/>
                </a:cubicBezTo>
                <a:cubicBezTo>
                  <a:pt x="436" y="434"/>
                  <a:pt x="436" y="434"/>
                  <a:pt x="436" y="434"/>
                </a:cubicBezTo>
                <a:cubicBezTo>
                  <a:pt x="435" y="435"/>
                  <a:pt x="435" y="435"/>
                  <a:pt x="435" y="435"/>
                </a:cubicBezTo>
                <a:cubicBezTo>
                  <a:pt x="436" y="435"/>
                  <a:pt x="436" y="435"/>
                  <a:pt x="436" y="435"/>
                </a:cubicBezTo>
                <a:cubicBezTo>
                  <a:pt x="436" y="436"/>
                  <a:pt x="436" y="436"/>
                  <a:pt x="436" y="436"/>
                </a:cubicBezTo>
                <a:cubicBezTo>
                  <a:pt x="435" y="437"/>
                  <a:pt x="435" y="437"/>
                  <a:pt x="435" y="437"/>
                </a:cubicBezTo>
                <a:cubicBezTo>
                  <a:pt x="434" y="437"/>
                  <a:pt x="434" y="437"/>
                  <a:pt x="434" y="437"/>
                </a:cubicBezTo>
                <a:cubicBezTo>
                  <a:pt x="434" y="438"/>
                  <a:pt x="434" y="438"/>
                  <a:pt x="434" y="438"/>
                </a:cubicBezTo>
                <a:cubicBezTo>
                  <a:pt x="433" y="439"/>
                  <a:pt x="433" y="439"/>
                  <a:pt x="433" y="439"/>
                </a:cubicBezTo>
                <a:cubicBezTo>
                  <a:pt x="432" y="439"/>
                  <a:pt x="432" y="439"/>
                  <a:pt x="432" y="439"/>
                </a:cubicBezTo>
                <a:cubicBezTo>
                  <a:pt x="432" y="440"/>
                  <a:pt x="432" y="440"/>
                  <a:pt x="432" y="440"/>
                </a:cubicBezTo>
                <a:cubicBezTo>
                  <a:pt x="431" y="440"/>
                  <a:pt x="431" y="440"/>
                  <a:pt x="431" y="440"/>
                </a:cubicBezTo>
                <a:cubicBezTo>
                  <a:pt x="430" y="442"/>
                  <a:pt x="430" y="442"/>
                  <a:pt x="430" y="442"/>
                </a:cubicBezTo>
                <a:cubicBezTo>
                  <a:pt x="429" y="441"/>
                  <a:pt x="429" y="441"/>
                  <a:pt x="429" y="441"/>
                </a:cubicBezTo>
                <a:cubicBezTo>
                  <a:pt x="429" y="442"/>
                  <a:pt x="429" y="442"/>
                  <a:pt x="429" y="442"/>
                </a:cubicBezTo>
                <a:cubicBezTo>
                  <a:pt x="427" y="442"/>
                  <a:pt x="427" y="442"/>
                  <a:pt x="427" y="442"/>
                </a:cubicBezTo>
                <a:cubicBezTo>
                  <a:pt x="427" y="443"/>
                  <a:pt x="427" y="443"/>
                  <a:pt x="427" y="443"/>
                </a:cubicBezTo>
                <a:cubicBezTo>
                  <a:pt x="426" y="443"/>
                  <a:pt x="426" y="443"/>
                  <a:pt x="426" y="443"/>
                </a:cubicBezTo>
                <a:cubicBezTo>
                  <a:pt x="425" y="443"/>
                  <a:pt x="425" y="443"/>
                  <a:pt x="425" y="443"/>
                </a:cubicBezTo>
                <a:cubicBezTo>
                  <a:pt x="423" y="443"/>
                  <a:pt x="423" y="443"/>
                  <a:pt x="423" y="443"/>
                </a:cubicBezTo>
                <a:cubicBezTo>
                  <a:pt x="423" y="442"/>
                  <a:pt x="423" y="442"/>
                  <a:pt x="423" y="442"/>
                </a:cubicBezTo>
                <a:cubicBezTo>
                  <a:pt x="421" y="443"/>
                  <a:pt x="421" y="443"/>
                  <a:pt x="421" y="443"/>
                </a:cubicBezTo>
                <a:cubicBezTo>
                  <a:pt x="420" y="443"/>
                  <a:pt x="420" y="443"/>
                  <a:pt x="420" y="443"/>
                </a:cubicBezTo>
                <a:cubicBezTo>
                  <a:pt x="418" y="444"/>
                  <a:pt x="418" y="444"/>
                  <a:pt x="418" y="444"/>
                </a:cubicBezTo>
                <a:cubicBezTo>
                  <a:pt x="416" y="443"/>
                  <a:pt x="416" y="443"/>
                  <a:pt x="416" y="443"/>
                </a:cubicBezTo>
                <a:cubicBezTo>
                  <a:pt x="417" y="443"/>
                  <a:pt x="417" y="443"/>
                  <a:pt x="417" y="443"/>
                </a:cubicBezTo>
                <a:cubicBezTo>
                  <a:pt x="416" y="442"/>
                  <a:pt x="416" y="442"/>
                  <a:pt x="416" y="442"/>
                </a:cubicBezTo>
                <a:cubicBezTo>
                  <a:pt x="415" y="443"/>
                  <a:pt x="415" y="443"/>
                  <a:pt x="415" y="443"/>
                </a:cubicBezTo>
                <a:cubicBezTo>
                  <a:pt x="414" y="443"/>
                  <a:pt x="414" y="443"/>
                  <a:pt x="414" y="443"/>
                </a:cubicBezTo>
                <a:cubicBezTo>
                  <a:pt x="412" y="442"/>
                  <a:pt x="412" y="442"/>
                  <a:pt x="412" y="442"/>
                </a:cubicBezTo>
                <a:cubicBezTo>
                  <a:pt x="411" y="442"/>
                  <a:pt x="411" y="442"/>
                  <a:pt x="411" y="442"/>
                </a:cubicBezTo>
                <a:cubicBezTo>
                  <a:pt x="410" y="442"/>
                  <a:pt x="410" y="442"/>
                  <a:pt x="410" y="442"/>
                </a:cubicBezTo>
                <a:cubicBezTo>
                  <a:pt x="409" y="441"/>
                  <a:pt x="409" y="441"/>
                  <a:pt x="409" y="441"/>
                </a:cubicBezTo>
                <a:cubicBezTo>
                  <a:pt x="408" y="441"/>
                  <a:pt x="408" y="441"/>
                  <a:pt x="408" y="441"/>
                </a:cubicBezTo>
                <a:cubicBezTo>
                  <a:pt x="407" y="442"/>
                  <a:pt x="407" y="442"/>
                  <a:pt x="407" y="442"/>
                </a:cubicBezTo>
                <a:cubicBezTo>
                  <a:pt x="405" y="442"/>
                  <a:pt x="405" y="442"/>
                  <a:pt x="405" y="442"/>
                </a:cubicBezTo>
                <a:cubicBezTo>
                  <a:pt x="404" y="441"/>
                  <a:pt x="404" y="441"/>
                  <a:pt x="404" y="441"/>
                </a:cubicBezTo>
                <a:cubicBezTo>
                  <a:pt x="403" y="442"/>
                  <a:pt x="403" y="442"/>
                  <a:pt x="403" y="442"/>
                </a:cubicBezTo>
                <a:cubicBezTo>
                  <a:pt x="402" y="442"/>
                  <a:pt x="402" y="442"/>
                  <a:pt x="402" y="442"/>
                </a:cubicBezTo>
                <a:cubicBezTo>
                  <a:pt x="401" y="441"/>
                  <a:pt x="401" y="441"/>
                  <a:pt x="401" y="441"/>
                </a:cubicBezTo>
                <a:cubicBezTo>
                  <a:pt x="400" y="442"/>
                  <a:pt x="400" y="442"/>
                  <a:pt x="400" y="442"/>
                </a:cubicBezTo>
                <a:cubicBezTo>
                  <a:pt x="399" y="441"/>
                  <a:pt x="399" y="441"/>
                  <a:pt x="399" y="441"/>
                </a:cubicBezTo>
                <a:cubicBezTo>
                  <a:pt x="398" y="441"/>
                  <a:pt x="398" y="441"/>
                  <a:pt x="398" y="441"/>
                </a:cubicBezTo>
                <a:cubicBezTo>
                  <a:pt x="396" y="441"/>
                  <a:pt x="396" y="441"/>
                  <a:pt x="396" y="441"/>
                </a:cubicBezTo>
                <a:cubicBezTo>
                  <a:pt x="394" y="441"/>
                  <a:pt x="394" y="441"/>
                  <a:pt x="394" y="441"/>
                </a:cubicBezTo>
                <a:cubicBezTo>
                  <a:pt x="392" y="441"/>
                  <a:pt x="392" y="441"/>
                  <a:pt x="392" y="441"/>
                </a:cubicBezTo>
                <a:cubicBezTo>
                  <a:pt x="391" y="439"/>
                  <a:pt x="391" y="439"/>
                  <a:pt x="391" y="439"/>
                </a:cubicBezTo>
                <a:cubicBezTo>
                  <a:pt x="390" y="440"/>
                  <a:pt x="390" y="440"/>
                  <a:pt x="390" y="440"/>
                </a:cubicBezTo>
                <a:cubicBezTo>
                  <a:pt x="389" y="441"/>
                  <a:pt x="389" y="441"/>
                  <a:pt x="389" y="441"/>
                </a:cubicBezTo>
                <a:cubicBezTo>
                  <a:pt x="390" y="441"/>
                  <a:pt x="390" y="441"/>
                  <a:pt x="390" y="441"/>
                </a:cubicBezTo>
                <a:cubicBezTo>
                  <a:pt x="389" y="442"/>
                  <a:pt x="389" y="442"/>
                  <a:pt x="389" y="442"/>
                </a:cubicBezTo>
                <a:cubicBezTo>
                  <a:pt x="388" y="442"/>
                  <a:pt x="388" y="442"/>
                  <a:pt x="388" y="442"/>
                </a:cubicBezTo>
                <a:cubicBezTo>
                  <a:pt x="386" y="444"/>
                  <a:pt x="386" y="444"/>
                  <a:pt x="386" y="444"/>
                </a:cubicBezTo>
                <a:cubicBezTo>
                  <a:pt x="384" y="445"/>
                  <a:pt x="384" y="445"/>
                  <a:pt x="384" y="445"/>
                </a:cubicBezTo>
                <a:cubicBezTo>
                  <a:pt x="384" y="446"/>
                  <a:pt x="384" y="446"/>
                  <a:pt x="384" y="446"/>
                </a:cubicBezTo>
                <a:cubicBezTo>
                  <a:pt x="384" y="446"/>
                  <a:pt x="384" y="446"/>
                  <a:pt x="384" y="446"/>
                </a:cubicBezTo>
                <a:cubicBezTo>
                  <a:pt x="384" y="448"/>
                  <a:pt x="384" y="448"/>
                  <a:pt x="384" y="448"/>
                </a:cubicBezTo>
                <a:cubicBezTo>
                  <a:pt x="383" y="449"/>
                  <a:pt x="383" y="449"/>
                  <a:pt x="383" y="449"/>
                </a:cubicBezTo>
                <a:cubicBezTo>
                  <a:pt x="381" y="449"/>
                  <a:pt x="381" y="449"/>
                  <a:pt x="381" y="449"/>
                </a:cubicBezTo>
                <a:cubicBezTo>
                  <a:pt x="380" y="449"/>
                  <a:pt x="380" y="449"/>
                  <a:pt x="380" y="449"/>
                </a:cubicBezTo>
                <a:cubicBezTo>
                  <a:pt x="378" y="450"/>
                  <a:pt x="378" y="450"/>
                  <a:pt x="378" y="450"/>
                </a:cubicBezTo>
                <a:cubicBezTo>
                  <a:pt x="377" y="451"/>
                  <a:pt x="377" y="451"/>
                  <a:pt x="377" y="451"/>
                </a:cubicBezTo>
                <a:cubicBezTo>
                  <a:pt x="376" y="451"/>
                  <a:pt x="376" y="451"/>
                  <a:pt x="376" y="451"/>
                </a:cubicBezTo>
                <a:cubicBezTo>
                  <a:pt x="376" y="451"/>
                  <a:pt x="376" y="451"/>
                  <a:pt x="376" y="451"/>
                </a:cubicBezTo>
                <a:cubicBezTo>
                  <a:pt x="375" y="451"/>
                  <a:pt x="375" y="451"/>
                  <a:pt x="375" y="451"/>
                </a:cubicBezTo>
                <a:cubicBezTo>
                  <a:pt x="374" y="453"/>
                  <a:pt x="374" y="453"/>
                  <a:pt x="374" y="453"/>
                </a:cubicBezTo>
                <a:cubicBezTo>
                  <a:pt x="373" y="453"/>
                  <a:pt x="373" y="453"/>
                  <a:pt x="373" y="453"/>
                </a:cubicBezTo>
                <a:cubicBezTo>
                  <a:pt x="371" y="454"/>
                  <a:pt x="371" y="454"/>
                  <a:pt x="371" y="454"/>
                </a:cubicBezTo>
                <a:cubicBezTo>
                  <a:pt x="371" y="454"/>
                  <a:pt x="371" y="454"/>
                  <a:pt x="371" y="454"/>
                </a:cubicBezTo>
                <a:cubicBezTo>
                  <a:pt x="370" y="455"/>
                  <a:pt x="370" y="455"/>
                  <a:pt x="370" y="455"/>
                </a:cubicBezTo>
                <a:cubicBezTo>
                  <a:pt x="369" y="457"/>
                  <a:pt x="369" y="457"/>
                  <a:pt x="369" y="457"/>
                </a:cubicBezTo>
                <a:cubicBezTo>
                  <a:pt x="366" y="458"/>
                  <a:pt x="366" y="458"/>
                  <a:pt x="366" y="458"/>
                </a:cubicBezTo>
                <a:cubicBezTo>
                  <a:pt x="366" y="460"/>
                  <a:pt x="366" y="460"/>
                  <a:pt x="366" y="460"/>
                </a:cubicBezTo>
                <a:cubicBezTo>
                  <a:pt x="364" y="461"/>
                  <a:pt x="364" y="461"/>
                  <a:pt x="364" y="461"/>
                </a:cubicBezTo>
                <a:cubicBezTo>
                  <a:pt x="363" y="463"/>
                  <a:pt x="363" y="463"/>
                  <a:pt x="363" y="463"/>
                </a:cubicBezTo>
                <a:cubicBezTo>
                  <a:pt x="362" y="463"/>
                  <a:pt x="362" y="463"/>
                  <a:pt x="362" y="463"/>
                </a:cubicBezTo>
                <a:cubicBezTo>
                  <a:pt x="361" y="465"/>
                  <a:pt x="361" y="465"/>
                  <a:pt x="361" y="465"/>
                </a:cubicBezTo>
                <a:cubicBezTo>
                  <a:pt x="360" y="466"/>
                  <a:pt x="360" y="466"/>
                  <a:pt x="360" y="466"/>
                </a:cubicBezTo>
                <a:cubicBezTo>
                  <a:pt x="357" y="468"/>
                  <a:pt x="357" y="468"/>
                  <a:pt x="357" y="468"/>
                </a:cubicBezTo>
                <a:cubicBezTo>
                  <a:pt x="357" y="469"/>
                  <a:pt x="357" y="469"/>
                  <a:pt x="357" y="469"/>
                </a:cubicBezTo>
                <a:cubicBezTo>
                  <a:pt x="354" y="470"/>
                  <a:pt x="354" y="470"/>
                  <a:pt x="354" y="470"/>
                </a:cubicBezTo>
                <a:cubicBezTo>
                  <a:pt x="352" y="470"/>
                  <a:pt x="352" y="470"/>
                  <a:pt x="352" y="470"/>
                </a:cubicBezTo>
                <a:cubicBezTo>
                  <a:pt x="353" y="471"/>
                  <a:pt x="353" y="471"/>
                  <a:pt x="353" y="471"/>
                </a:cubicBezTo>
                <a:cubicBezTo>
                  <a:pt x="357" y="469"/>
                  <a:pt x="357" y="469"/>
                  <a:pt x="357" y="469"/>
                </a:cubicBezTo>
                <a:cubicBezTo>
                  <a:pt x="359" y="468"/>
                  <a:pt x="359" y="468"/>
                  <a:pt x="359" y="468"/>
                </a:cubicBezTo>
                <a:cubicBezTo>
                  <a:pt x="362" y="466"/>
                  <a:pt x="362" y="466"/>
                  <a:pt x="362" y="466"/>
                </a:cubicBezTo>
                <a:cubicBezTo>
                  <a:pt x="363" y="464"/>
                  <a:pt x="363" y="464"/>
                  <a:pt x="363" y="464"/>
                </a:cubicBezTo>
                <a:cubicBezTo>
                  <a:pt x="365" y="463"/>
                  <a:pt x="365" y="463"/>
                  <a:pt x="365" y="463"/>
                </a:cubicBezTo>
                <a:cubicBezTo>
                  <a:pt x="366" y="462"/>
                  <a:pt x="366" y="462"/>
                  <a:pt x="366" y="462"/>
                </a:cubicBezTo>
                <a:cubicBezTo>
                  <a:pt x="369" y="459"/>
                  <a:pt x="369" y="459"/>
                  <a:pt x="369" y="459"/>
                </a:cubicBezTo>
                <a:cubicBezTo>
                  <a:pt x="373" y="457"/>
                  <a:pt x="373" y="457"/>
                  <a:pt x="373" y="457"/>
                </a:cubicBezTo>
                <a:cubicBezTo>
                  <a:pt x="376" y="455"/>
                  <a:pt x="376" y="455"/>
                  <a:pt x="376" y="455"/>
                </a:cubicBezTo>
                <a:cubicBezTo>
                  <a:pt x="378" y="454"/>
                  <a:pt x="378" y="454"/>
                  <a:pt x="378" y="454"/>
                </a:cubicBezTo>
                <a:cubicBezTo>
                  <a:pt x="379" y="454"/>
                  <a:pt x="379" y="454"/>
                  <a:pt x="379" y="454"/>
                </a:cubicBezTo>
                <a:cubicBezTo>
                  <a:pt x="383" y="453"/>
                  <a:pt x="383" y="453"/>
                  <a:pt x="383" y="453"/>
                </a:cubicBezTo>
                <a:cubicBezTo>
                  <a:pt x="386" y="452"/>
                  <a:pt x="386" y="452"/>
                  <a:pt x="386" y="452"/>
                </a:cubicBezTo>
                <a:cubicBezTo>
                  <a:pt x="388" y="452"/>
                  <a:pt x="388" y="452"/>
                  <a:pt x="388" y="452"/>
                </a:cubicBezTo>
                <a:cubicBezTo>
                  <a:pt x="389" y="451"/>
                  <a:pt x="389" y="451"/>
                  <a:pt x="389" y="451"/>
                </a:cubicBezTo>
                <a:cubicBezTo>
                  <a:pt x="393" y="451"/>
                  <a:pt x="393" y="451"/>
                  <a:pt x="393" y="451"/>
                </a:cubicBezTo>
                <a:cubicBezTo>
                  <a:pt x="396" y="452"/>
                  <a:pt x="396" y="452"/>
                  <a:pt x="396" y="452"/>
                </a:cubicBezTo>
                <a:cubicBezTo>
                  <a:pt x="398" y="453"/>
                  <a:pt x="398" y="453"/>
                  <a:pt x="398" y="453"/>
                </a:cubicBezTo>
                <a:cubicBezTo>
                  <a:pt x="398" y="454"/>
                  <a:pt x="398" y="454"/>
                  <a:pt x="398" y="454"/>
                </a:cubicBezTo>
                <a:cubicBezTo>
                  <a:pt x="396" y="454"/>
                  <a:pt x="396" y="454"/>
                  <a:pt x="396" y="454"/>
                </a:cubicBezTo>
                <a:cubicBezTo>
                  <a:pt x="396" y="454"/>
                  <a:pt x="396" y="454"/>
                  <a:pt x="396" y="454"/>
                </a:cubicBezTo>
                <a:cubicBezTo>
                  <a:pt x="396" y="454"/>
                  <a:pt x="396" y="454"/>
                  <a:pt x="396" y="454"/>
                </a:cubicBezTo>
                <a:cubicBezTo>
                  <a:pt x="397" y="454"/>
                  <a:pt x="397" y="454"/>
                  <a:pt x="397" y="454"/>
                </a:cubicBezTo>
                <a:cubicBezTo>
                  <a:pt x="398" y="455"/>
                  <a:pt x="398" y="455"/>
                  <a:pt x="398" y="455"/>
                </a:cubicBezTo>
                <a:cubicBezTo>
                  <a:pt x="399" y="455"/>
                  <a:pt x="399" y="455"/>
                  <a:pt x="399" y="455"/>
                </a:cubicBezTo>
                <a:cubicBezTo>
                  <a:pt x="398" y="456"/>
                  <a:pt x="398" y="456"/>
                  <a:pt x="398" y="456"/>
                </a:cubicBezTo>
                <a:cubicBezTo>
                  <a:pt x="399" y="456"/>
                  <a:pt x="399" y="456"/>
                  <a:pt x="399" y="456"/>
                </a:cubicBezTo>
                <a:cubicBezTo>
                  <a:pt x="398" y="458"/>
                  <a:pt x="398" y="458"/>
                  <a:pt x="398" y="458"/>
                </a:cubicBezTo>
                <a:cubicBezTo>
                  <a:pt x="396" y="459"/>
                  <a:pt x="396" y="459"/>
                  <a:pt x="396" y="459"/>
                </a:cubicBezTo>
                <a:cubicBezTo>
                  <a:pt x="395" y="460"/>
                  <a:pt x="395" y="460"/>
                  <a:pt x="395" y="460"/>
                </a:cubicBezTo>
                <a:cubicBezTo>
                  <a:pt x="394" y="460"/>
                  <a:pt x="394" y="460"/>
                  <a:pt x="394" y="460"/>
                </a:cubicBezTo>
                <a:cubicBezTo>
                  <a:pt x="393" y="461"/>
                  <a:pt x="393" y="461"/>
                  <a:pt x="393" y="461"/>
                </a:cubicBezTo>
                <a:cubicBezTo>
                  <a:pt x="391" y="461"/>
                  <a:pt x="391" y="461"/>
                  <a:pt x="391" y="461"/>
                </a:cubicBezTo>
                <a:cubicBezTo>
                  <a:pt x="390" y="460"/>
                  <a:pt x="390" y="460"/>
                  <a:pt x="390" y="460"/>
                </a:cubicBezTo>
                <a:cubicBezTo>
                  <a:pt x="389" y="460"/>
                  <a:pt x="389" y="460"/>
                  <a:pt x="389" y="460"/>
                </a:cubicBezTo>
                <a:cubicBezTo>
                  <a:pt x="388" y="460"/>
                  <a:pt x="388" y="460"/>
                  <a:pt x="388" y="460"/>
                </a:cubicBezTo>
                <a:cubicBezTo>
                  <a:pt x="386" y="461"/>
                  <a:pt x="386" y="461"/>
                  <a:pt x="386" y="461"/>
                </a:cubicBezTo>
                <a:cubicBezTo>
                  <a:pt x="385" y="460"/>
                  <a:pt x="385" y="460"/>
                  <a:pt x="385" y="460"/>
                </a:cubicBezTo>
                <a:cubicBezTo>
                  <a:pt x="383" y="461"/>
                  <a:pt x="383" y="461"/>
                  <a:pt x="383" y="461"/>
                </a:cubicBezTo>
                <a:cubicBezTo>
                  <a:pt x="385" y="461"/>
                  <a:pt x="385" y="461"/>
                  <a:pt x="385" y="461"/>
                </a:cubicBezTo>
                <a:cubicBezTo>
                  <a:pt x="387" y="461"/>
                  <a:pt x="387" y="461"/>
                  <a:pt x="387" y="461"/>
                </a:cubicBezTo>
                <a:cubicBezTo>
                  <a:pt x="389" y="462"/>
                  <a:pt x="389" y="462"/>
                  <a:pt x="389" y="462"/>
                </a:cubicBezTo>
                <a:cubicBezTo>
                  <a:pt x="390" y="463"/>
                  <a:pt x="390" y="463"/>
                  <a:pt x="390" y="463"/>
                </a:cubicBezTo>
                <a:cubicBezTo>
                  <a:pt x="390" y="464"/>
                  <a:pt x="390" y="464"/>
                  <a:pt x="390" y="464"/>
                </a:cubicBezTo>
                <a:cubicBezTo>
                  <a:pt x="392" y="463"/>
                  <a:pt x="392" y="463"/>
                  <a:pt x="392" y="463"/>
                </a:cubicBezTo>
                <a:cubicBezTo>
                  <a:pt x="393" y="462"/>
                  <a:pt x="393" y="462"/>
                  <a:pt x="393" y="462"/>
                </a:cubicBezTo>
                <a:cubicBezTo>
                  <a:pt x="394" y="462"/>
                  <a:pt x="394" y="462"/>
                  <a:pt x="394" y="462"/>
                </a:cubicBezTo>
                <a:cubicBezTo>
                  <a:pt x="394" y="463"/>
                  <a:pt x="394" y="463"/>
                  <a:pt x="394" y="463"/>
                </a:cubicBezTo>
                <a:cubicBezTo>
                  <a:pt x="395" y="463"/>
                  <a:pt x="395" y="463"/>
                  <a:pt x="395" y="463"/>
                </a:cubicBezTo>
                <a:cubicBezTo>
                  <a:pt x="396" y="463"/>
                  <a:pt x="396" y="463"/>
                  <a:pt x="396" y="463"/>
                </a:cubicBezTo>
                <a:cubicBezTo>
                  <a:pt x="394" y="464"/>
                  <a:pt x="394" y="464"/>
                  <a:pt x="394" y="464"/>
                </a:cubicBezTo>
                <a:cubicBezTo>
                  <a:pt x="393" y="468"/>
                  <a:pt x="393" y="468"/>
                  <a:pt x="393" y="468"/>
                </a:cubicBezTo>
                <a:cubicBezTo>
                  <a:pt x="392" y="468"/>
                  <a:pt x="392" y="468"/>
                  <a:pt x="392" y="468"/>
                </a:cubicBezTo>
                <a:cubicBezTo>
                  <a:pt x="391" y="469"/>
                  <a:pt x="391" y="469"/>
                  <a:pt x="391" y="469"/>
                </a:cubicBezTo>
                <a:cubicBezTo>
                  <a:pt x="394" y="469"/>
                  <a:pt x="394" y="469"/>
                  <a:pt x="394" y="469"/>
                </a:cubicBezTo>
                <a:cubicBezTo>
                  <a:pt x="394" y="469"/>
                  <a:pt x="394" y="469"/>
                  <a:pt x="394" y="469"/>
                </a:cubicBezTo>
                <a:cubicBezTo>
                  <a:pt x="393" y="470"/>
                  <a:pt x="393" y="470"/>
                  <a:pt x="393" y="470"/>
                </a:cubicBezTo>
                <a:cubicBezTo>
                  <a:pt x="394" y="471"/>
                  <a:pt x="394" y="471"/>
                  <a:pt x="394" y="471"/>
                </a:cubicBezTo>
                <a:cubicBezTo>
                  <a:pt x="394" y="472"/>
                  <a:pt x="394" y="472"/>
                  <a:pt x="394" y="472"/>
                </a:cubicBezTo>
                <a:cubicBezTo>
                  <a:pt x="394" y="474"/>
                  <a:pt x="394" y="474"/>
                  <a:pt x="394" y="474"/>
                </a:cubicBezTo>
                <a:cubicBezTo>
                  <a:pt x="394" y="474"/>
                  <a:pt x="394" y="474"/>
                  <a:pt x="394" y="474"/>
                </a:cubicBezTo>
                <a:cubicBezTo>
                  <a:pt x="395" y="476"/>
                  <a:pt x="395" y="476"/>
                  <a:pt x="395" y="476"/>
                </a:cubicBezTo>
                <a:cubicBezTo>
                  <a:pt x="396" y="476"/>
                  <a:pt x="396" y="476"/>
                  <a:pt x="396" y="476"/>
                </a:cubicBezTo>
                <a:cubicBezTo>
                  <a:pt x="397" y="477"/>
                  <a:pt x="397" y="477"/>
                  <a:pt x="397" y="477"/>
                </a:cubicBezTo>
                <a:cubicBezTo>
                  <a:pt x="399" y="477"/>
                  <a:pt x="399" y="477"/>
                  <a:pt x="399" y="477"/>
                </a:cubicBezTo>
                <a:cubicBezTo>
                  <a:pt x="398" y="478"/>
                  <a:pt x="398" y="478"/>
                  <a:pt x="398" y="478"/>
                </a:cubicBezTo>
                <a:cubicBezTo>
                  <a:pt x="397" y="478"/>
                  <a:pt x="397" y="478"/>
                  <a:pt x="397" y="478"/>
                </a:cubicBezTo>
                <a:cubicBezTo>
                  <a:pt x="399" y="479"/>
                  <a:pt x="399" y="479"/>
                  <a:pt x="399" y="479"/>
                </a:cubicBezTo>
                <a:cubicBezTo>
                  <a:pt x="401" y="479"/>
                  <a:pt x="401" y="479"/>
                  <a:pt x="401" y="479"/>
                </a:cubicBezTo>
                <a:cubicBezTo>
                  <a:pt x="402" y="480"/>
                  <a:pt x="402" y="480"/>
                  <a:pt x="402" y="480"/>
                </a:cubicBezTo>
                <a:cubicBezTo>
                  <a:pt x="402" y="479"/>
                  <a:pt x="402" y="479"/>
                  <a:pt x="402" y="479"/>
                </a:cubicBezTo>
                <a:cubicBezTo>
                  <a:pt x="404" y="480"/>
                  <a:pt x="404" y="480"/>
                  <a:pt x="404" y="480"/>
                </a:cubicBezTo>
                <a:cubicBezTo>
                  <a:pt x="404" y="481"/>
                  <a:pt x="404" y="481"/>
                  <a:pt x="404" y="481"/>
                </a:cubicBezTo>
                <a:cubicBezTo>
                  <a:pt x="406" y="481"/>
                  <a:pt x="406" y="481"/>
                  <a:pt x="406" y="481"/>
                </a:cubicBezTo>
                <a:cubicBezTo>
                  <a:pt x="407" y="480"/>
                  <a:pt x="407" y="480"/>
                  <a:pt x="407" y="480"/>
                </a:cubicBezTo>
                <a:cubicBezTo>
                  <a:pt x="409" y="479"/>
                  <a:pt x="409" y="479"/>
                  <a:pt x="409" y="479"/>
                </a:cubicBezTo>
                <a:cubicBezTo>
                  <a:pt x="409" y="480"/>
                  <a:pt x="409" y="480"/>
                  <a:pt x="409" y="480"/>
                </a:cubicBezTo>
                <a:cubicBezTo>
                  <a:pt x="408" y="481"/>
                  <a:pt x="408" y="481"/>
                  <a:pt x="408" y="481"/>
                </a:cubicBezTo>
                <a:cubicBezTo>
                  <a:pt x="410" y="481"/>
                  <a:pt x="410" y="481"/>
                  <a:pt x="410" y="481"/>
                </a:cubicBezTo>
                <a:cubicBezTo>
                  <a:pt x="412" y="482"/>
                  <a:pt x="412" y="482"/>
                  <a:pt x="412" y="482"/>
                </a:cubicBezTo>
                <a:cubicBezTo>
                  <a:pt x="412" y="483"/>
                  <a:pt x="412" y="483"/>
                  <a:pt x="412" y="483"/>
                </a:cubicBezTo>
                <a:cubicBezTo>
                  <a:pt x="411" y="483"/>
                  <a:pt x="411" y="483"/>
                  <a:pt x="411" y="483"/>
                </a:cubicBezTo>
                <a:cubicBezTo>
                  <a:pt x="411" y="483"/>
                  <a:pt x="411" y="483"/>
                  <a:pt x="411" y="483"/>
                </a:cubicBezTo>
                <a:cubicBezTo>
                  <a:pt x="412" y="484"/>
                  <a:pt x="412" y="484"/>
                  <a:pt x="412" y="484"/>
                </a:cubicBezTo>
                <a:cubicBezTo>
                  <a:pt x="413" y="484"/>
                  <a:pt x="413" y="484"/>
                  <a:pt x="413" y="484"/>
                </a:cubicBezTo>
                <a:cubicBezTo>
                  <a:pt x="414" y="484"/>
                  <a:pt x="414" y="484"/>
                  <a:pt x="414" y="484"/>
                </a:cubicBezTo>
                <a:cubicBezTo>
                  <a:pt x="413" y="485"/>
                  <a:pt x="413" y="485"/>
                  <a:pt x="413" y="485"/>
                </a:cubicBezTo>
                <a:cubicBezTo>
                  <a:pt x="412" y="484"/>
                  <a:pt x="412" y="484"/>
                  <a:pt x="412" y="484"/>
                </a:cubicBezTo>
                <a:cubicBezTo>
                  <a:pt x="411" y="485"/>
                  <a:pt x="411" y="485"/>
                  <a:pt x="411" y="485"/>
                </a:cubicBezTo>
                <a:cubicBezTo>
                  <a:pt x="409" y="485"/>
                  <a:pt x="409" y="485"/>
                  <a:pt x="409" y="485"/>
                </a:cubicBezTo>
                <a:cubicBezTo>
                  <a:pt x="406" y="487"/>
                  <a:pt x="406" y="487"/>
                  <a:pt x="406" y="487"/>
                </a:cubicBezTo>
                <a:cubicBezTo>
                  <a:pt x="405" y="487"/>
                  <a:pt x="405" y="487"/>
                  <a:pt x="405" y="487"/>
                </a:cubicBezTo>
                <a:cubicBezTo>
                  <a:pt x="403" y="487"/>
                  <a:pt x="403" y="487"/>
                  <a:pt x="403" y="487"/>
                </a:cubicBezTo>
                <a:cubicBezTo>
                  <a:pt x="401" y="488"/>
                  <a:pt x="401" y="488"/>
                  <a:pt x="401" y="488"/>
                </a:cubicBezTo>
                <a:cubicBezTo>
                  <a:pt x="399" y="489"/>
                  <a:pt x="399" y="489"/>
                  <a:pt x="399" y="489"/>
                </a:cubicBezTo>
                <a:cubicBezTo>
                  <a:pt x="398" y="489"/>
                  <a:pt x="398" y="489"/>
                  <a:pt x="398" y="489"/>
                </a:cubicBezTo>
                <a:cubicBezTo>
                  <a:pt x="398" y="489"/>
                  <a:pt x="398" y="489"/>
                  <a:pt x="398" y="489"/>
                </a:cubicBezTo>
                <a:cubicBezTo>
                  <a:pt x="396" y="489"/>
                  <a:pt x="396" y="489"/>
                  <a:pt x="396" y="489"/>
                </a:cubicBezTo>
                <a:cubicBezTo>
                  <a:pt x="396" y="488"/>
                  <a:pt x="396" y="488"/>
                  <a:pt x="396" y="488"/>
                </a:cubicBezTo>
                <a:cubicBezTo>
                  <a:pt x="395" y="488"/>
                  <a:pt x="395" y="488"/>
                  <a:pt x="395" y="488"/>
                </a:cubicBezTo>
                <a:cubicBezTo>
                  <a:pt x="395" y="489"/>
                  <a:pt x="395" y="489"/>
                  <a:pt x="395" y="489"/>
                </a:cubicBezTo>
                <a:cubicBezTo>
                  <a:pt x="394" y="488"/>
                  <a:pt x="394" y="488"/>
                  <a:pt x="394" y="488"/>
                </a:cubicBezTo>
                <a:cubicBezTo>
                  <a:pt x="393" y="490"/>
                  <a:pt x="393" y="490"/>
                  <a:pt x="393" y="490"/>
                </a:cubicBezTo>
                <a:cubicBezTo>
                  <a:pt x="394" y="491"/>
                  <a:pt x="394" y="491"/>
                  <a:pt x="394" y="491"/>
                </a:cubicBezTo>
                <a:cubicBezTo>
                  <a:pt x="392" y="492"/>
                  <a:pt x="392" y="492"/>
                  <a:pt x="392" y="492"/>
                </a:cubicBezTo>
                <a:cubicBezTo>
                  <a:pt x="390" y="494"/>
                  <a:pt x="390" y="494"/>
                  <a:pt x="390" y="494"/>
                </a:cubicBezTo>
                <a:cubicBezTo>
                  <a:pt x="389" y="495"/>
                  <a:pt x="389" y="495"/>
                  <a:pt x="389" y="495"/>
                </a:cubicBezTo>
                <a:cubicBezTo>
                  <a:pt x="387" y="496"/>
                  <a:pt x="387" y="496"/>
                  <a:pt x="387" y="496"/>
                </a:cubicBezTo>
                <a:cubicBezTo>
                  <a:pt x="387" y="496"/>
                  <a:pt x="387" y="496"/>
                  <a:pt x="387" y="496"/>
                </a:cubicBezTo>
                <a:cubicBezTo>
                  <a:pt x="386" y="496"/>
                  <a:pt x="386" y="496"/>
                  <a:pt x="386" y="496"/>
                </a:cubicBezTo>
                <a:cubicBezTo>
                  <a:pt x="386" y="497"/>
                  <a:pt x="386" y="497"/>
                  <a:pt x="386" y="497"/>
                </a:cubicBezTo>
                <a:cubicBezTo>
                  <a:pt x="386" y="497"/>
                  <a:pt x="386" y="497"/>
                  <a:pt x="386" y="497"/>
                </a:cubicBezTo>
                <a:cubicBezTo>
                  <a:pt x="385" y="497"/>
                  <a:pt x="385" y="497"/>
                  <a:pt x="385" y="497"/>
                </a:cubicBezTo>
                <a:cubicBezTo>
                  <a:pt x="384" y="497"/>
                  <a:pt x="384" y="497"/>
                  <a:pt x="384" y="497"/>
                </a:cubicBezTo>
                <a:cubicBezTo>
                  <a:pt x="383" y="497"/>
                  <a:pt x="383" y="497"/>
                  <a:pt x="383" y="497"/>
                </a:cubicBezTo>
                <a:cubicBezTo>
                  <a:pt x="383" y="495"/>
                  <a:pt x="383" y="495"/>
                  <a:pt x="383" y="495"/>
                </a:cubicBezTo>
                <a:cubicBezTo>
                  <a:pt x="382" y="495"/>
                  <a:pt x="382" y="495"/>
                  <a:pt x="382" y="495"/>
                </a:cubicBezTo>
                <a:cubicBezTo>
                  <a:pt x="382" y="495"/>
                  <a:pt x="382" y="495"/>
                  <a:pt x="382" y="495"/>
                </a:cubicBezTo>
                <a:cubicBezTo>
                  <a:pt x="382" y="494"/>
                  <a:pt x="382" y="494"/>
                  <a:pt x="382" y="494"/>
                </a:cubicBezTo>
                <a:cubicBezTo>
                  <a:pt x="381" y="493"/>
                  <a:pt x="381" y="493"/>
                  <a:pt x="381" y="493"/>
                </a:cubicBezTo>
                <a:cubicBezTo>
                  <a:pt x="381" y="491"/>
                  <a:pt x="381" y="491"/>
                  <a:pt x="381" y="491"/>
                </a:cubicBezTo>
                <a:cubicBezTo>
                  <a:pt x="382" y="489"/>
                  <a:pt x="382" y="489"/>
                  <a:pt x="382" y="489"/>
                </a:cubicBezTo>
                <a:cubicBezTo>
                  <a:pt x="384" y="488"/>
                  <a:pt x="384" y="488"/>
                  <a:pt x="384" y="488"/>
                </a:cubicBezTo>
                <a:cubicBezTo>
                  <a:pt x="384" y="487"/>
                  <a:pt x="384" y="487"/>
                  <a:pt x="384" y="487"/>
                </a:cubicBezTo>
                <a:cubicBezTo>
                  <a:pt x="386" y="486"/>
                  <a:pt x="386" y="486"/>
                  <a:pt x="386" y="486"/>
                </a:cubicBezTo>
                <a:cubicBezTo>
                  <a:pt x="389" y="485"/>
                  <a:pt x="389" y="485"/>
                  <a:pt x="389" y="485"/>
                </a:cubicBezTo>
                <a:cubicBezTo>
                  <a:pt x="391" y="484"/>
                  <a:pt x="391" y="484"/>
                  <a:pt x="391" y="484"/>
                </a:cubicBezTo>
                <a:cubicBezTo>
                  <a:pt x="393" y="483"/>
                  <a:pt x="393" y="483"/>
                  <a:pt x="393" y="483"/>
                </a:cubicBezTo>
                <a:cubicBezTo>
                  <a:pt x="394" y="484"/>
                  <a:pt x="394" y="484"/>
                  <a:pt x="394" y="484"/>
                </a:cubicBezTo>
                <a:cubicBezTo>
                  <a:pt x="394" y="485"/>
                  <a:pt x="394" y="485"/>
                  <a:pt x="394" y="485"/>
                </a:cubicBezTo>
                <a:cubicBezTo>
                  <a:pt x="395" y="485"/>
                  <a:pt x="395" y="485"/>
                  <a:pt x="395" y="485"/>
                </a:cubicBezTo>
                <a:cubicBezTo>
                  <a:pt x="395" y="485"/>
                  <a:pt x="395" y="485"/>
                  <a:pt x="395" y="485"/>
                </a:cubicBezTo>
                <a:cubicBezTo>
                  <a:pt x="395" y="484"/>
                  <a:pt x="395" y="484"/>
                  <a:pt x="395" y="484"/>
                </a:cubicBezTo>
                <a:cubicBezTo>
                  <a:pt x="396" y="484"/>
                  <a:pt x="396" y="484"/>
                  <a:pt x="396" y="484"/>
                </a:cubicBezTo>
                <a:cubicBezTo>
                  <a:pt x="398" y="483"/>
                  <a:pt x="398" y="483"/>
                  <a:pt x="398" y="483"/>
                </a:cubicBezTo>
                <a:cubicBezTo>
                  <a:pt x="399" y="483"/>
                  <a:pt x="399" y="483"/>
                  <a:pt x="399" y="483"/>
                </a:cubicBezTo>
                <a:cubicBezTo>
                  <a:pt x="397" y="483"/>
                  <a:pt x="397" y="483"/>
                  <a:pt x="397" y="483"/>
                </a:cubicBezTo>
                <a:cubicBezTo>
                  <a:pt x="395" y="483"/>
                  <a:pt x="395" y="483"/>
                  <a:pt x="395" y="483"/>
                </a:cubicBezTo>
                <a:cubicBezTo>
                  <a:pt x="394" y="482"/>
                  <a:pt x="394" y="482"/>
                  <a:pt x="394" y="482"/>
                </a:cubicBezTo>
                <a:cubicBezTo>
                  <a:pt x="393" y="482"/>
                  <a:pt x="393" y="482"/>
                  <a:pt x="393" y="482"/>
                </a:cubicBezTo>
                <a:cubicBezTo>
                  <a:pt x="392" y="483"/>
                  <a:pt x="392" y="483"/>
                  <a:pt x="392" y="483"/>
                </a:cubicBezTo>
                <a:cubicBezTo>
                  <a:pt x="390" y="483"/>
                  <a:pt x="390" y="483"/>
                  <a:pt x="390" y="483"/>
                </a:cubicBezTo>
                <a:cubicBezTo>
                  <a:pt x="392" y="481"/>
                  <a:pt x="392" y="481"/>
                  <a:pt x="392" y="481"/>
                </a:cubicBezTo>
                <a:cubicBezTo>
                  <a:pt x="393" y="481"/>
                  <a:pt x="393" y="481"/>
                  <a:pt x="393" y="481"/>
                </a:cubicBezTo>
                <a:cubicBezTo>
                  <a:pt x="394" y="480"/>
                  <a:pt x="394" y="480"/>
                  <a:pt x="394" y="480"/>
                </a:cubicBezTo>
                <a:cubicBezTo>
                  <a:pt x="394" y="479"/>
                  <a:pt x="394" y="479"/>
                  <a:pt x="394" y="479"/>
                </a:cubicBezTo>
                <a:cubicBezTo>
                  <a:pt x="393" y="479"/>
                  <a:pt x="393" y="479"/>
                  <a:pt x="393" y="479"/>
                </a:cubicBezTo>
                <a:cubicBezTo>
                  <a:pt x="393" y="479"/>
                  <a:pt x="393" y="479"/>
                  <a:pt x="393" y="479"/>
                </a:cubicBezTo>
                <a:cubicBezTo>
                  <a:pt x="392" y="480"/>
                  <a:pt x="392" y="480"/>
                  <a:pt x="392" y="480"/>
                </a:cubicBezTo>
                <a:cubicBezTo>
                  <a:pt x="391" y="481"/>
                  <a:pt x="391" y="481"/>
                  <a:pt x="391" y="481"/>
                </a:cubicBezTo>
                <a:cubicBezTo>
                  <a:pt x="390" y="482"/>
                  <a:pt x="390" y="482"/>
                  <a:pt x="390" y="482"/>
                </a:cubicBezTo>
                <a:cubicBezTo>
                  <a:pt x="388" y="482"/>
                  <a:pt x="388" y="482"/>
                  <a:pt x="388" y="482"/>
                </a:cubicBezTo>
                <a:cubicBezTo>
                  <a:pt x="388" y="483"/>
                  <a:pt x="388" y="483"/>
                  <a:pt x="388" y="483"/>
                </a:cubicBezTo>
                <a:cubicBezTo>
                  <a:pt x="385" y="484"/>
                  <a:pt x="385" y="484"/>
                  <a:pt x="385" y="484"/>
                </a:cubicBezTo>
                <a:cubicBezTo>
                  <a:pt x="384" y="483"/>
                  <a:pt x="384" y="483"/>
                  <a:pt x="384" y="483"/>
                </a:cubicBezTo>
                <a:cubicBezTo>
                  <a:pt x="385" y="483"/>
                  <a:pt x="385" y="483"/>
                  <a:pt x="385" y="483"/>
                </a:cubicBezTo>
                <a:cubicBezTo>
                  <a:pt x="384" y="483"/>
                  <a:pt x="384" y="483"/>
                  <a:pt x="384" y="483"/>
                </a:cubicBezTo>
                <a:cubicBezTo>
                  <a:pt x="385" y="481"/>
                  <a:pt x="385" y="481"/>
                  <a:pt x="385" y="481"/>
                </a:cubicBezTo>
                <a:cubicBezTo>
                  <a:pt x="384" y="483"/>
                  <a:pt x="384" y="483"/>
                  <a:pt x="384" y="483"/>
                </a:cubicBezTo>
                <a:cubicBezTo>
                  <a:pt x="383" y="484"/>
                  <a:pt x="383" y="484"/>
                  <a:pt x="383" y="484"/>
                </a:cubicBezTo>
                <a:cubicBezTo>
                  <a:pt x="382" y="484"/>
                  <a:pt x="382" y="484"/>
                  <a:pt x="382" y="484"/>
                </a:cubicBezTo>
                <a:cubicBezTo>
                  <a:pt x="381" y="484"/>
                  <a:pt x="381" y="484"/>
                  <a:pt x="381" y="484"/>
                </a:cubicBezTo>
                <a:cubicBezTo>
                  <a:pt x="380" y="485"/>
                  <a:pt x="380" y="485"/>
                  <a:pt x="380" y="485"/>
                </a:cubicBezTo>
                <a:cubicBezTo>
                  <a:pt x="379" y="484"/>
                  <a:pt x="379" y="484"/>
                  <a:pt x="379" y="484"/>
                </a:cubicBezTo>
                <a:cubicBezTo>
                  <a:pt x="379" y="483"/>
                  <a:pt x="379" y="483"/>
                  <a:pt x="379" y="483"/>
                </a:cubicBezTo>
                <a:cubicBezTo>
                  <a:pt x="378" y="484"/>
                  <a:pt x="378" y="484"/>
                  <a:pt x="378" y="484"/>
                </a:cubicBezTo>
                <a:cubicBezTo>
                  <a:pt x="376" y="483"/>
                  <a:pt x="376" y="483"/>
                  <a:pt x="376" y="483"/>
                </a:cubicBezTo>
                <a:cubicBezTo>
                  <a:pt x="376" y="483"/>
                  <a:pt x="376" y="483"/>
                  <a:pt x="376" y="483"/>
                </a:cubicBezTo>
                <a:cubicBezTo>
                  <a:pt x="375" y="483"/>
                  <a:pt x="375" y="483"/>
                  <a:pt x="375" y="483"/>
                </a:cubicBezTo>
                <a:cubicBezTo>
                  <a:pt x="376" y="482"/>
                  <a:pt x="376" y="482"/>
                  <a:pt x="376" y="482"/>
                </a:cubicBezTo>
                <a:cubicBezTo>
                  <a:pt x="376" y="482"/>
                  <a:pt x="376" y="482"/>
                  <a:pt x="376" y="482"/>
                </a:cubicBezTo>
                <a:cubicBezTo>
                  <a:pt x="376" y="481"/>
                  <a:pt x="376" y="481"/>
                  <a:pt x="376" y="481"/>
                </a:cubicBezTo>
                <a:cubicBezTo>
                  <a:pt x="376" y="480"/>
                  <a:pt x="376" y="480"/>
                  <a:pt x="376" y="480"/>
                </a:cubicBezTo>
                <a:cubicBezTo>
                  <a:pt x="375" y="479"/>
                  <a:pt x="375" y="479"/>
                  <a:pt x="375" y="479"/>
                </a:cubicBezTo>
                <a:cubicBezTo>
                  <a:pt x="375" y="479"/>
                  <a:pt x="375" y="479"/>
                  <a:pt x="375" y="479"/>
                </a:cubicBezTo>
                <a:cubicBezTo>
                  <a:pt x="374" y="478"/>
                  <a:pt x="374" y="478"/>
                  <a:pt x="374" y="478"/>
                </a:cubicBezTo>
                <a:cubicBezTo>
                  <a:pt x="375" y="478"/>
                  <a:pt x="375" y="478"/>
                  <a:pt x="375" y="478"/>
                </a:cubicBezTo>
                <a:cubicBezTo>
                  <a:pt x="376" y="470"/>
                  <a:pt x="376" y="470"/>
                  <a:pt x="376" y="470"/>
                </a:cubicBezTo>
                <a:cubicBezTo>
                  <a:pt x="376" y="468"/>
                  <a:pt x="376" y="468"/>
                  <a:pt x="376" y="468"/>
                </a:cubicBezTo>
                <a:cubicBezTo>
                  <a:pt x="373" y="465"/>
                  <a:pt x="373" y="465"/>
                  <a:pt x="373" y="465"/>
                </a:cubicBezTo>
                <a:cubicBezTo>
                  <a:pt x="373" y="466"/>
                  <a:pt x="373" y="466"/>
                  <a:pt x="373" y="466"/>
                </a:cubicBezTo>
                <a:cubicBezTo>
                  <a:pt x="371" y="465"/>
                  <a:pt x="371" y="465"/>
                  <a:pt x="371" y="465"/>
                </a:cubicBezTo>
                <a:cubicBezTo>
                  <a:pt x="370" y="466"/>
                  <a:pt x="370" y="466"/>
                  <a:pt x="370" y="466"/>
                </a:cubicBezTo>
                <a:cubicBezTo>
                  <a:pt x="369" y="465"/>
                  <a:pt x="369" y="465"/>
                  <a:pt x="369" y="465"/>
                </a:cubicBezTo>
                <a:cubicBezTo>
                  <a:pt x="368" y="464"/>
                  <a:pt x="368" y="464"/>
                  <a:pt x="368" y="464"/>
                </a:cubicBezTo>
                <a:cubicBezTo>
                  <a:pt x="368" y="464"/>
                  <a:pt x="368" y="464"/>
                  <a:pt x="368" y="464"/>
                </a:cubicBezTo>
                <a:cubicBezTo>
                  <a:pt x="367" y="465"/>
                  <a:pt x="367" y="465"/>
                  <a:pt x="367" y="465"/>
                </a:cubicBezTo>
                <a:cubicBezTo>
                  <a:pt x="366" y="466"/>
                  <a:pt x="366" y="466"/>
                  <a:pt x="366" y="466"/>
                </a:cubicBezTo>
                <a:cubicBezTo>
                  <a:pt x="364" y="469"/>
                  <a:pt x="364" y="469"/>
                  <a:pt x="364" y="469"/>
                </a:cubicBezTo>
                <a:cubicBezTo>
                  <a:pt x="363" y="470"/>
                  <a:pt x="363" y="470"/>
                  <a:pt x="363" y="470"/>
                </a:cubicBezTo>
                <a:cubicBezTo>
                  <a:pt x="363" y="471"/>
                  <a:pt x="363" y="471"/>
                  <a:pt x="363" y="471"/>
                </a:cubicBezTo>
                <a:cubicBezTo>
                  <a:pt x="362" y="472"/>
                  <a:pt x="362" y="472"/>
                  <a:pt x="362" y="472"/>
                </a:cubicBezTo>
                <a:cubicBezTo>
                  <a:pt x="361" y="474"/>
                  <a:pt x="361" y="474"/>
                  <a:pt x="361" y="474"/>
                </a:cubicBezTo>
                <a:cubicBezTo>
                  <a:pt x="361" y="475"/>
                  <a:pt x="361" y="475"/>
                  <a:pt x="361" y="475"/>
                </a:cubicBezTo>
                <a:cubicBezTo>
                  <a:pt x="359" y="477"/>
                  <a:pt x="359" y="477"/>
                  <a:pt x="359" y="477"/>
                </a:cubicBezTo>
                <a:cubicBezTo>
                  <a:pt x="358" y="477"/>
                  <a:pt x="358" y="477"/>
                  <a:pt x="358" y="477"/>
                </a:cubicBezTo>
                <a:cubicBezTo>
                  <a:pt x="356" y="480"/>
                  <a:pt x="356" y="480"/>
                  <a:pt x="356" y="480"/>
                </a:cubicBezTo>
                <a:cubicBezTo>
                  <a:pt x="356" y="480"/>
                  <a:pt x="356" y="480"/>
                  <a:pt x="356" y="480"/>
                </a:cubicBezTo>
                <a:cubicBezTo>
                  <a:pt x="355" y="481"/>
                  <a:pt x="355" y="481"/>
                  <a:pt x="355" y="481"/>
                </a:cubicBezTo>
                <a:cubicBezTo>
                  <a:pt x="354" y="481"/>
                  <a:pt x="354" y="481"/>
                  <a:pt x="354" y="481"/>
                </a:cubicBezTo>
                <a:cubicBezTo>
                  <a:pt x="353" y="481"/>
                  <a:pt x="353" y="481"/>
                  <a:pt x="353" y="481"/>
                </a:cubicBezTo>
                <a:cubicBezTo>
                  <a:pt x="353" y="481"/>
                  <a:pt x="353" y="481"/>
                  <a:pt x="353" y="481"/>
                </a:cubicBezTo>
                <a:cubicBezTo>
                  <a:pt x="352" y="481"/>
                  <a:pt x="352" y="481"/>
                  <a:pt x="352" y="481"/>
                </a:cubicBezTo>
                <a:cubicBezTo>
                  <a:pt x="351" y="483"/>
                  <a:pt x="351" y="483"/>
                  <a:pt x="351" y="483"/>
                </a:cubicBezTo>
                <a:cubicBezTo>
                  <a:pt x="333" y="482"/>
                  <a:pt x="333" y="482"/>
                  <a:pt x="333" y="482"/>
                </a:cubicBezTo>
                <a:cubicBezTo>
                  <a:pt x="330" y="483"/>
                  <a:pt x="330" y="483"/>
                  <a:pt x="330" y="483"/>
                </a:cubicBezTo>
                <a:cubicBezTo>
                  <a:pt x="329" y="484"/>
                  <a:pt x="329" y="484"/>
                  <a:pt x="329" y="484"/>
                </a:cubicBezTo>
                <a:cubicBezTo>
                  <a:pt x="328" y="484"/>
                  <a:pt x="328" y="484"/>
                  <a:pt x="328" y="484"/>
                </a:cubicBezTo>
                <a:cubicBezTo>
                  <a:pt x="326" y="485"/>
                  <a:pt x="326" y="485"/>
                  <a:pt x="326" y="485"/>
                </a:cubicBezTo>
                <a:cubicBezTo>
                  <a:pt x="324" y="488"/>
                  <a:pt x="324" y="488"/>
                  <a:pt x="324" y="488"/>
                </a:cubicBezTo>
                <a:cubicBezTo>
                  <a:pt x="322" y="488"/>
                  <a:pt x="322" y="488"/>
                  <a:pt x="322" y="488"/>
                </a:cubicBezTo>
                <a:cubicBezTo>
                  <a:pt x="321" y="489"/>
                  <a:pt x="321" y="489"/>
                  <a:pt x="321" y="489"/>
                </a:cubicBezTo>
                <a:cubicBezTo>
                  <a:pt x="316" y="493"/>
                  <a:pt x="316" y="493"/>
                  <a:pt x="316" y="493"/>
                </a:cubicBezTo>
                <a:cubicBezTo>
                  <a:pt x="304" y="497"/>
                  <a:pt x="304" y="497"/>
                  <a:pt x="304" y="497"/>
                </a:cubicBezTo>
                <a:cubicBezTo>
                  <a:pt x="303" y="500"/>
                  <a:pt x="303" y="500"/>
                  <a:pt x="303" y="500"/>
                </a:cubicBezTo>
                <a:cubicBezTo>
                  <a:pt x="300" y="501"/>
                  <a:pt x="300" y="501"/>
                  <a:pt x="300" y="501"/>
                </a:cubicBezTo>
                <a:cubicBezTo>
                  <a:pt x="279" y="506"/>
                  <a:pt x="279" y="506"/>
                  <a:pt x="279" y="506"/>
                </a:cubicBezTo>
                <a:cubicBezTo>
                  <a:pt x="278" y="504"/>
                  <a:pt x="278" y="504"/>
                  <a:pt x="278" y="504"/>
                </a:cubicBezTo>
                <a:cubicBezTo>
                  <a:pt x="279" y="503"/>
                  <a:pt x="279" y="503"/>
                  <a:pt x="279" y="503"/>
                </a:cubicBezTo>
                <a:cubicBezTo>
                  <a:pt x="281" y="502"/>
                  <a:pt x="281" y="502"/>
                  <a:pt x="281" y="502"/>
                </a:cubicBezTo>
                <a:cubicBezTo>
                  <a:pt x="282" y="500"/>
                  <a:pt x="282" y="500"/>
                  <a:pt x="282" y="500"/>
                </a:cubicBezTo>
                <a:cubicBezTo>
                  <a:pt x="283" y="499"/>
                  <a:pt x="283" y="499"/>
                  <a:pt x="283" y="499"/>
                </a:cubicBezTo>
                <a:cubicBezTo>
                  <a:pt x="284" y="498"/>
                  <a:pt x="284" y="498"/>
                  <a:pt x="284" y="498"/>
                </a:cubicBezTo>
                <a:cubicBezTo>
                  <a:pt x="284" y="489"/>
                  <a:pt x="284" y="489"/>
                  <a:pt x="284" y="489"/>
                </a:cubicBezTo>
                <a:cubicBezTo>
                  <a:pt x="280" y="470"/>
                  <a:pt x="280" y="470"/>
                  <a:pt x="280" y="470"/>
                </a:cubicBezTo>
                <a:cubicBezTo>
                  <a:pt x="276" y="467"/>
                  <a:pt x="276" y="467"/>
                  <a:pt x="276" y="467"/>
                </a:cubicBezTo>
                <a:cubicBezTo>
                  <a:pt x="275" y="465"/>
                  <a:pt x="275" y="465"/>
                  <a:pt x="275" y="465"/>
                </a:cubicBezTo>
                <a:cubicBezTo>
                  <a:pt x="250" y="453"/>
                  <a:pt x="250" y="453"/>
                  <a:pt x="250" y="453"/>
                </a:cubicBezTo>
                <a:cubicBezTo>
                  <a:pt x="249" y="452"/>
                  <a:pt x="249" y="452"/>
                  <a:pt x="249" y="452"/>
                </a:cubicBezTo>
                <a:cubicBezTo>
                  <a:pt x="247" y="452"/>
                  <a:pt x="247" y="452"/>
                  <a:pt x="247" y="452"/>
                </a:cubicBezTo>
                <a:cubicBezTo>
                  <a:pt x="247" y="451"/>
                  <a:pt x="247" y="451"/>
                  <a:pt x="247" y="451"/>
                </a:cubicBezTo>
                <a:cubicBezTo>
                  <a:pt x="244" y="451"/>
                  <a:pt x="244" y="451"/>
                  <a:pt x="244" y="451"/>
                </a:cubicBezTo>
                <a:cubicBezTo>
                  <a:pt x="243" y="450"/>
                  <a:pt x="243" y="450"/>
                  <a:pt x="243" y="450"/>
                </a:cubicBezTo>
                <a:cubicBezTo>
                  <a:pt x="242" y="450"/>
                  <a:pt x="242" y="450"/>
                  <a:pt x="242" y="450"/>
                </a:cubicBezTo>
                <a:cubicBezTo>
                  <a:pt x="241" y="450"/>
                  <a:pt x="241" y="450"/>
                  <a:pt x="241" y="450"/>
                </a:cubicBezTo>
                <a:cubicBezTo>
                  <a:pt x="239" y="450"/>
                  <a:pt x="239" y="450"/>
                  <a:pt x="239" y="450"/>
                </a:cubicBezTo>
                <a:cubicBezTo>
                  <a:pt x="238" y="450"/>
                  <a:pt x="238" y="450"/>
                  <a:pt x="238" y="450"/>
                </a:cubicBezTo>
                <a:cubicBezTo>
                  <a:pt x="238" y="449"/>
                  <a:pt x="238" y="449"/>
                  <a:pt x="238" y="449"/>
                </a:cubicBezTo>
                <a:cubicBezTo>
                  <a:pt x="236" y="449"/>
                  <a:pt x="236" y="449"/>
                  <a:pt x="236" y="449"/>
                </a:cubicBezTo>
                <a:cubicBezTo>
                  <a:pt x="234" y="448"/>
                  <a:pt x="234" y="448"/>
                  <a:pt x="234" y="448"/>
                </a:cubicBezTo>
                <a:cubicBezTo>
                  <a:pt x="234" y="446"/>
                  <a:pt x="234" y="446"/>
                  <a:pt x="234" y="446"/>
                </a:cubicBezTo>
                <a:cubicBezTo>
                  <a:pt x="233" y="446"/>
                  <a:pt x="233" y="446"/>
                  <a:pt x="233" y="446"/>
                </a:cubicBezTo>
                <a:cubicBezTo>
                  <a:pt x="231" y="445"/>
                  <a:pt x="231" y="445"/>
                  <a:pt x="231" y="445"/>
                </a:cubicBezTo>
                <a:cubicBezTo>
                  <a:pt x="230" y="445"/>
                  <a:pt x="230" y="445"/>
                  <a:pt x="230" y="445"/>
                </a:cubicBezTo>
                <a:cubicBezTo>
                  <a:pt x="229" y="445"/>
                  <a:pt x="229" y="445"/>
                  <a:pt x="229" y="445"/>
                </a:cubicBezTo>
                <a:cubicBezTo>
                  <a:pt x="228" y="445"/>
                  <a:pt x="228" y="445"/>
                  <a:pt x="228" y="445"/>
                </a:cubicBezTo>
                <a:cubicBezTo>
                  <a:pt x="227" y="446"/>
                  <a:pt x="227" y="446"/>
                  <a:pt x="227" y="446"/>
                </a:cubicBezTo>
                <a:cubicBezTo>
                  <a:pt x="227" y="445"/>
                  <a:pt x="227" y="445"/>
                  <a:pt x="227" y="445"/>
                </a:cubicBezTo>
                <a:cubicBezTo>
                  <a:pt x="225" y="444"/>
                  <a:pt x="225" y="444"/>
                  <a:pt x="225" y="444"/>
                </a:cubicBezTo>
                <a:cubicBezTo>
                  <a:pt x="225" y="444"/>
                  <a:pt x="225" y="444"/>
                  <a:pt x="225" y="444"/>
                </a:cubicBezTo>
                <a:cubicBezTo>
                  <a:pt x="224" y="444"/>
                  <a:pt x="224" y="444"/>
                  <a:pt x="224" y="444"/>
                </a:cubicBezTo>
                <a:cubicBezTo>
                  <a:pt x="224" y="443"/>
                  <a:pt x="224" y="443"/>
                  <a:pt x="224" y="443"/>
                </a:cubicBezTo>
                <a:cubicBezTo>
                  <a:pt x="223" y="443"/>
                  <a:pt x="223" y="443"/>
                  <a:pt x="223" y="443"/>
                </a:cubicBezTo>
                <a:cubicBezTo>
                  <a:pt x="223" y="442"/>
                  <a:pt x="223" y="442"/>
                  <a:pt x="223" y="442"/>
                </a:cubicBezTo>
                <a:cubicBezTo>
                  <a:pt x="221" y="441"/>
                  <a:pt x="221" y="441"/>
                  <a:pt x="221" y="441"/>
                </a:cubicBezTo>
                <a:cubicBezTo>
                  <a:pt x="220" y="441"/>
                  <a:pt x="220" y="441"/>
                  <a:pt x="220" y="441"/>
                </a:cubicBezTo>
                <a:cubicBezTo>
                  <a:pt x="219" y="441"/>
                  <a:pt x="219" y="441"/>
                  <a:pt x="219" y="441"/>
                </a:cubicBezTo>
                <a:lnTo>
                  <a:pt x="56" y="425"/>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2" name="Freeform 170">
            <a:extLst>
              <a:ext uri="{FF2B5EF4-FFF2-40B4-BE49-F238E27FC236}">
                <a16:creationId xmlns:a16="http://schemas.microsoft.com/office/drawing/2014/main" id="{626C8DC7-A7DB-26E2-5246-0096D74C27AA}"/>
              </a:ext>
            </a:extLst>
          </p:cNvPr>
          <p:cNvSpPr>
            <a:spLocks noEditPoints="1"/>
          </p:cNvSpPr>
          <p:nvPr userDrawn="1"/>
        </p:nvSpPr>
        <p:spPr bwMode="auto">
          <a:xfrm>
            <a:off x="2898581" y="2444035"/>
            <a:ext cx="3352582" cy="2562226"/>
          </a:xfrm>
          <a:custGeom>
            <a:avLst/>
            <a:gdLst>
              <a:gd name="T0" fmla="*/ 296 w 338"/>
              <a:gd name="T1" fmla="*/ 207 h 258"/>
              <a:gd name="T2" fmla="*/ 332 w 338"/>
              <a:gd name="T3" fmla="*/ 43 h 258"/>
              <a:gd name="T4" fmla="*/ 311 w 338"/>
              <a:gd name="T5" fmla="*/ 33 h 258"/>
              <a:gd name="T6" fmla="*/ 296 w 338"/>
              <a:gd name="T7" fmla="*/ 16 h 258"/>
              <a:gd name="T8" fmla="*/ 280 w 338"/>
              <a:gd name="T9" fmla="*/ 10 h 258"/>
              <a:gd name="T10" fmla="*/ 265 w 338"/>
              <a:gd name="T11" fmla="*/ 3 h 258"/>
              <a:gd name="T12" fmla="*/ 238 w 338"/>
              <a:gd name="T13" fmla="*/ 13 h 258"/>
              <a:gd name="T14" fmla="*/ 206 w 338"/>
              <a:gd name="T15" fmla="*/ 57 h 258"/>
              <a:gd name="T16" fmla="*/ 202 w 338"/>
              <a:gd name="T17" fmla="*/ 69 h 258"/>
              <a:gd name="T18" fmla="*/ 192 w 338"/>
              <a:gd name="T19" fmla="*/ 62 h 258"/>
              <a:gd name="T20" fmla="*/ 170 w 338"/>
              <a:gd name="T21" fmla="*/ 79 h 258"/>
              <a:gd name="T22" fmla="*/ 180 w 338"/>
              <a:gd name="T23" fmla="*/ 93 h 258"/>
              <a:gd name="T24" fmla="*/ 184 w 338"/>
              <a:gd name="T25" fmla="*/ 110 h 258"/>
              <a:gd name="T26" fmla="*/ 148 w 338"/>
              <a:gd name="T27" fmla="*/ 122 h 258"/>
              <a:gd name="T28" fmla="*/ 148 w 338"/>
              <a:gd name="T29" fmla="*/ 139 h 258"/>
              <a:gd name="T30" fmla="*/ 143 w 338"/>
              <a:gd name="T31" fmla="*/ 158 h 258"/>
              <a:gd name="T32" fmla="*/ 147 w 338"/>
              <a:gd name="T33" fmla="*/ 171 h 258"/>
              <a:gd name="T34" fmla="*/ 159 w 338"/>
              <a:gd name="T35" fmla="*/ 177 h 258"/>
              <a:gd name="T36" fmla="*/ 156 w 338"/>
              <a:gd name="T37" fmla="*/ 195 h 258"/>
              <a:gd name="T38" fmla="*/ 127 w 338"/>
              <a:gd name="T39" fmla="*/ 211 h 258"/>
              <a:gd name="T40" fmla="*/ 120 w 338"/>
              <a:gd name="T41" fmla="*/ 220 h 258"/>
              <a:gd name="T42" fmla="*/ 138 w 338"/>
              <a:gd name="T43" fmla="*/ 214 h 258"/>
              <a:gd name="T44" fmla="*/ 157 w 338"/>
              <a:gd name="T45" fmla="*/ 205 h 258"/>
              <a:gd name="T46" fmla="*/ 180 w 338"/>
              <a:gd name="T47" fmla="*/ 191 h 258"/>
              <a:gd name="T48" fmla="*/ 196 w 338"/>
              <a:gd name="T49" fmla="*/ 174 h 258"/>
              <a:gd name="T50" fmla="*/ 226 w 338"/>
              <a:gd name="T51" fmla="*/ 156 h 258"/>
              <a:gd name="T52" fmla="*/ 203 w 338"/>
              <a:gd name="T53" fmla="*/ 179 h 258"/>
              <a:gd name="T54" fmla="*/ 218 w 338"/>
              <a:gd name="T55" fmla="*/ 176 h 258"/>
              <a:gd name="T56" fmla="*/ 233 w 338"/>
              <a:gd name="T57" fmla="*/ 168 h 258"/>
              <a:gd name="T58" fmla="*/ 240 w 338"/>
              <a:gd name="T59" fmla="*/ 173 h 258"/>
              <a:gd name="T60" fmla="*/ 261 w 338"/>
              <a:gd name="T61" fmla="*/ 185 h 258"/>
              <a:gd name="T62" fmla="*/ 276 w 338"/>
              <a:gd name="T63" fmla="*/ 197 h 258"/>
              <a:gd name="T64" fmla="*/ 282 w 338"/>
              <a:gd name="T65" fmla="*/ 203 h 258"/>
              <a:gd name="T66" fmla="*/ 291 w 338"/>
              <a:gd name="T67" fmla="*/ 206 h 258"/>
              <a:gd name="T68" fmla="*/ 293 w 338"/>
              <a:gd name="T69" fmla="*/ 229 h 258"/>
              <a:gd name="T70" fmla="*/ 299 w 338"/>
              <a:gd name="T71" fmla="*/ 244 h 258"/>
              <a:gd name="T72" fmla="*/ 286 w 338"/>
              <a:gd name="T73" fmla="*/ 253 h 258"/>
              <a:gd name="T74" fmla="*/ 283 w 338"/>
              <a:gd name="T75" fmla="*/ 253 h 258"/>
              <a:gd name="T76" fmla="*/ 286 w 338"/>
              <a:gd name="T77" fmla="*/ 241 h 258"/>
              <a:gd name="T78" fmla="*/ 287 w 338"/>
              <a:gd name="T79" fmla="*/ 256 h 258"/>
              <a:gd name="T80" fmla="*/ 293 w 338"/>
              <a:gd name="T81" fmla="*/ 243 h 258"/>
              <a:gd name="T82" fmla="*/ 291 w 338"/>
              <a:gd name="T83" fmla="*/ 235 h 258"/>
              <a:gd name="T84" fmla="*/ 285 w 338"/>
              <a:gd name="T85" fmla="*/ 236 h 258"/>
              <a:gd name="T86" fmla="*/ 282 w 338"/>
              <a:gd name="T87" fmla="*/ 226 h 258"/>
              <a:gd name="T88" fmla="*/ 289 w 338"/>
              <a:gd name="T89" fmla="*/ 225 h 258"/>
              <a:gd name="T90" fmla="*/ 279 w 338"/>
              <a:gd name="T91" fmla="*/ 222 h 258"/>
              <a:gd name="T92" fmla="*/ 156 w 338"/>
              <a:gd name="T93" fmla="*/ 117 h 258"/>
              <a:gd name="T94" fmla="*/ 245 w 338"/>
              <a:gd name="T95" fmla="*/ 182 h 258"/>
              <a:gd name="T96" fmla="*/ 227 w 338"/>
              <a:gd name="T97" fmla="*/ 180 h 258"/>
              <a:gd name="T98" fmla="*/ 128 w 338"/>
              <a:gd name="T99" fmla="*/ 97 h 258"/>
              <a:gd name="T100" fmla="*/ 130 w 338"/>
              <a:gd name="T101" fmla="*/ 148 h 258"/>
              <a:gd name="T102" fmla="*/ 190 w 338"/>
              <a:gd name="T103" fmla="*/ 189 h 258"/>
              <a:gd name="T104" fmla="*/ 180 w 338"/>
              <a:gd name="T105" fmla="*/ 197 h 258"/>
              <a:gd name="T106" fmla="*/ 184 w 338"/>
              <a:gd name="T107" fmla="*/ 200 h 258"/>
              <a:gd name="T108" fmla="*/ 171 w 338"/>
              <a:gd name="T109" fmla="*/ 211 h 258"/>
              <a:gd name="T110" fmla="*/ 132 w 338"/>
              <a:gd name="T111" fmla="*/ 222 h 258"/>
              <a:gd name="T112" fmla="*/ 4 w 338"/>
              <a:gd name="T113" fmla="*/ 243 h 258"/>
              <a:gd name="T114" fmla="*/ 31 w 338"/>
              <a:gd name="T115" fmla="*/ 243 h 258"/>
              <a:gd name="T116" fmla="*/ 59 w 338"/>
              <a:gd name="T117" fmla="*/ 241 h 258"/>
              <a:gd name="T118" fmla="*/ 85 w 338"/>
              <a:gd name="T119" fmla="*/ 232 h 258"/>
              <a:gd name="T120" fmla="*/ 97 w 338"/>
              <a:gd name="T121" fmla="*/ 230 h 258"/>
              <a:gd name="T122" fmla="*/ 102 w 338"/>
              <a:gd name="T123" fmla="*/ 22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8" h="258">
                <a:moveTo>
                  <a:pt x="304" y="246"/>
                </a:moveTo>
                <a:cubicBezTo>
                  <a:pt x="304" y="246"/>
                  <a:pt x="304" y="246"/>
                  <a:pt x="304" y="246"/>
                </a:cubicBezTo>
                <a:cubicBezTo>
                  <a:pt x="304" y="245"/>
                  <a:pt x="304" y="245"/>
                  <a:pt x="304" y="245"/>
                </a:cubicBezTo>
                <a:cubicBezTo>
                  <a:pt x="305" y="245"/>
                  <a:pt x="305" y="245"/>
                  <a:pt x="305" y="245"/>
                </a:cubicBezTo>
                <a:cubicBezTo>
                  <a:pt x="305" y="244"/>
                  <a:pt x="305" y="244"/>
                  <a:pt x="305" y="244"/>
                </a:cubicBezTo>
                <a:cubicBezTo>
                  <a:pt x="305" y="244"/>
                  <a:pt x="305" y="244"/>
                  <a:pt x="305" y="244"/>
                </a:cubicBezTo>
                <a:cubicBezTo>
                  <a:pt x="305" y="243"/>
                  <a:pt x="305" y="243"/>
                  <a:pt x="305" y="243"/>
                </a:cubicBezTo>
                <a:cubicBezTo>
                  <a:pt x="304" y="243"/>
                  <a:pt x="304" y="243"/>
                  <a:pt x="304" y="243"/>
                </a:cubicBezTo>
                <a:cubicBezTo>
                  <a:pt x="304" y="241"/>
                  <a:pt x="304" y="241"/>
                  <a:pt x="304" y="241"/>
                </a:cubicBezTo>
                <a:cubicBezTo>
                  <a:pt x="303" y="240"/>
                  <a:pt x="303" y="240"/>
                  <a:pt x="303" y="240"/>
                </a:cubicBezTo>
                <a:cubicBezTo>
                  <a:pt x="302" y="239"/>
                  <a:pt x="302" y="239"/>
                  <a:pt x="302" y="239"/>
                </a:cubicBezTo>
                <a:cubicBezTo>
                  <a:pt x="301" y="239"/>
                  <a:pt x="301" y="239"/>
                  <a:pt x="301" y="239"/>
                </a:cubicBezTo>
                <a:cubicBezTo>
                  <a:pt x="301" y="238"/>
                  <a:pt x="301" y="238"/>
                  <a:pt x="301" y="238"/>
                </a:cubicBezTo>
                <a:cubicBezTo>
                  <a:pt x="300" y="236"/>
                  <a:pt x="300" y="236"/>
                  <a:pt x="300" y="236"/>
                </a:cubicBezTo>
                <a:cubicBezTo>
                  <a:pt x="299" y="236"/>
                  <a:pt x="299" y="236"/>
                  <a:pt x="299" y="236"/>
                </a:cubicBezTo>
                <a:cubicBezTo>
                  <a:pt x="298" y="236"/>
                  <a:pt x="298" y="236"/>
                  <a:pt x="298" y="236"/>
                </a:cubicBezTo>
                <a:cubicBezTo>
                  <a:pt x="298" y="235"/>
                  <a:pt x="298" y="235"/>
                  <a:pt x="298" y="235"/>
                </a:cubicBezTo>
                <a:cubicBezTo>
                  <a:pt x="298" y="235"/>
                  <a:pt x="298" y="235"/>
                  <a:pt x="298" y="235"/>
                </a:cubicBezTo>
                <a:cubicBezTo>
                  <a:pt x="298" y="234"/>
                  <a:pt x="298" y="234"/>
                  <a:pt x="298" y="234"/>
                </a:cubicBezTo>
                <a:cubicBezTo>
                  <a:pt x="298" y="233"/>
                  <a:pt x="298" y="233"/>
                  <a:pt x="298" y="233"/>
                </a:cubicBezTo>
                <a:cubicBezTo>
                  <a:pt x="297" y="233"/>
                  <a:pt x="297" y="233"/>
                  <a:pt x="297" y="233"/>
                </a:cubicBezTo>
                <a:cubicBezTo>
                  <a:pt x="298" y="232"/>
                  <a:pt x="298" y="232"/>
                  <a:pt x="298" y="232"/>
                </a:cubicBezTo>
                <a:cubicBezTo>
                  <a:pt x="298" y="232"/>
                  <a:pt x="298" y="232"/>
                  <a:pt x="298" y="232"/>
                </a:cubicBezTo>
                <a:cubicBezTo>
                  <a:pt x="298" y="231"/>
                  <a:pt x="298" y="231"/>
                  <a:pt x="298" y="231"/>
                </a:cubicBezTo>
                <a:cubicBezTo>
                  <a:pt x="297" y="231"/>
                  <a:pt x="297" y="231"/>
                  <a:pt x="297" y="231"/>
                </a:cubicBezTo>
                <a:cubicBezTo>
                  <a:pt x="297" y="231"/>
                  <a:pt x="297" y="231"/>
                  <a:pt x="297" y="231"/>
                </a:cubicBezTo>
                <a:cubicBezTo>
                  <a:pt x="297" y="230"/>
                  <a:pt x="297" y="230"/>
                  <a:pt x="297" y="230"/>
                </a:cubicBezTo>
                <a:cubicBezTo>
                  <a:pt x="298" y="229"/>
                  <a:pt x="298" y="229"/>
                  <a:pt x="298" y="229"/>
                </a:cubicBezTo>
                <a:cubicBezTo>
                  <a:pt x="298" y="225"/>
                  <a:pt x="298" y="225"/>
                  <a:pt x="298" y="225"/>
                </a:cubicBezTo>
                <a:cubicBezTo>
                  <a:pt x="298" y="220"/>
                  <a:pt x="298" y="220"/>
                  <a:pt x="298" y="220"/>
                </a:cubicBezTo>
                <a:cubicBezTo>
                  <a:pt x="298" y="217"/>
                  <a:pt x="298" y="217"/>
                  <a:pt x="298" y="217"/>
                </a:cubicBezTo>
                <a:cubicBezTo>
                  <a:pt x="298" y="216"/>
                  <a:pt x="298" y="216"/>
                  <a:pt x="298" y="216"/>
                </a:cubicBezTo>
                <a:cubicBezTo>
                  <a:pt x="298" y="215"/>
                  <a:pt x="298" y="215"/>
                  <a:pt x="298" y="215"/>
                </a:cubicBezTo>
                <a:cubicBezTo>
                  <a:pt x="298" y="213"/>
                  <a:pt x="298" y="213"/>
                  <a:pt x="298" y="213"/>
                </a:cubicBezTo>
                <a:cubicBezTo>
                  <a:pt x="298" y="212"/>
                  <a:pt x="298" y="212"/>
                  <a:pt x="298" y="212"/>
                </a:cubicBezTo>
                <a:cubicBezTo>
                  <a:pt x="297" y="211"/>
                  <a:pt x="297" y="211"/>
                  <a:pt x="297" y="211"/>
                </a:cubicBezTo>
                <a:cubicBezTo>
                  <a:pt x="297" y="209"/>
                  <a:pt x="297" y="209"/>
                  <a:pt x="297" y="209"/>
                </a:cubicBezTo>
                <a:cubicBezTo>
                  <a:pt x="296" y="207"/>
                  <a:pt x="296" y="207"/>
                  <a:pt x="296" y="207"/>
                </a:cubicBezTo>
                <a:cubicBezTo>
                  <a:pt x="295" y="205"/>
                  <a:pt x="295" y="205"/>
                  <a:pt x="295" y="205"/>
                </a:cubicBezTo>
                <a:cubicBezTo>
                  <a:pt x="296" y="204"/>
                  <a:pt x="296" y="204"/>
                  <a:pt x="296" y="204"/>
                </a:cubicBezTo>
                <a:cubicBezTo>
                  <a:pt x="294" y="200"/>
                  <a:pt x="294" y="200"/>
                  <a:pt x="294" y="200"/>
                </a:cubicBezTo>
                <a:cubicBezTo>
                  <a:pt x="295" y="200"/>
                  <a:pt x="295" y="200"/>
                  <a:pt x="295" y="200"/>
                </a:cubicBezTo>
                <a:cubicBezTo>
                  <a:pt x="296" y="198"/>
                  <a:pt x="296" y="198"/>
                  <a:pt x="296" y="198"/>
                </a:cubicBezTo>
                <a:cubicBezTo>
                  <a:pt x="295" y="197"/>
                  <a:pt x="295" y="197"/>
                  <a:pt x="295" y="197"/>
                </a:cubicBezTo>
                <a:cubicBezTo>
                  <a:pt x="295" y="196"/>
                  <a:pt x="295" y="196"/>
                  <a:pt x="295" y="196"/>
                </a:cubicBezTo>
                <a:cubicBezTo>
                  <a:pt x="294" y="195"/>
                  <a:pt x="294" y="195"/>
                  <a:pt x="294" y="195"/>
                </a:cubicBezTo>
                <a:cubicBezTo>
                  <a:pt x="292" y="195"/>
                  <a:pt x="292" y="195"/>
                  <a:pt x="292" y="195"/>
                </a:cubicBezTo>
                <a:cubicBezTo>
                  <a:pt x="290" y="195"/>
                  <a:pt x="290" y="195"/>
                  <a:pt x="290" y="195"/>
                </a:cubicBezTo>
                <a:cubicBezTo>
                  <a:pt x="289" y="196"/>
                  <a:pt x="289" y="196"/>
                  <a:pt x="289" y="196"/>
                </a:cubicBezTo>
                <a:cubicBezTo>
                  <a:pt x="287" y="196"/>
                  <a:pt x="287" y="196"/>
                  <a:pt x="287" y="196"/>
                </a:cubicBezTo>
                <a:cubicBezTo>
                  <a:pt x="286" y="198"/>
                  <a:pt x="286" y="198"/>
                  <a:pt x="286" y="198"/>
                </a:cubicBezTo>
                <a:cubicBezTo>
                  <a:pt x="284" y="200"/>
                  <a:pt x="284" y="200"/>
                  <a:pt x="284" y="200"/>
                </a:cubicBezTo>
                <a:cubicBezTo>
                  <a:pt x="282" y="201"/>
                  <a:pt x="282" y="201"/>
                  <a:pt x="282" y="201"/>
                </a:cubicBezTo>
                <a:cubicBezTo>
                  <a:pt x="280" y="202"/>
                  <a:pt x="280" y="202"/>
                  <a:pt x="280" y="202"/>
                </a:cubicBezTo>
                <a:cubicBezTo>
                  <a:pt x="278" y="202"/>
                  <a:pt x="278" y="202"/>
                  <a:pt x="278" y="202"/>
                </a:cubicBezTo>
                <a:cubicBezTo>
                  <a:pt x="278" y="202"/>
                  <a:pt x="278" y="202"/>
                  <a:pt x="278" y="202"/>
                </a:cubicBezTo>
                <a:cubicBezTo>
                  <a:pt x="278" y="201"/>
                  <a:pt x="278" y="201"/>
                  <a:pt x="278" y="201"/>
                </a:cubicBezTo>
                <a:cubicBezTo>
                  <a:pt x="279" y="199"/>
                  <a:pt x="279" y="199"/>
                  <a:pt x="279" y="199"/>
                </a:cubicBezTo>
                <a:cubicBezTo>
                  <a:pt x="278" y="198"/>
                  <a:pt x="278" y="198"/>
                  <a:pt x="278" y="198"/>
                </a:cubicBezTo>
                <a:cubicBezTo>
                  <a:pt x="276" y="191"/>
                  <a:pt x="276" y="191"/>
                  <a:pt x="276" y="191"/>
                </a:cubicBezTo>
                <a:cubicBezTo>
                  <a:pt x="275" y="187"/>
                  <a:pt x="275" y="187"/>
                  <a:pt x="275" y="187"/>
                </a:cubicBezTo>
                <a:cubicBezTo>
                  <a:pt x="275" y="186"/>
                  <a:pt x="275" y="186"/>
                  <a:pt x="275" y="186"/>
                </a:cubicBezTo>
                <a:cubicBezTo>
                  <a:pt x="276" y="183"/>
                  <a:pt x="276" y="183"/>
                  <a:pt x="276" y="183"/>
                </a:cubicBezTo>
                <a:cubicBezTo>
                  <a:pt x="273" y="183"/>
                  <a:pt x="273" y="183"/>
                  <a:pt x="273" y="183"/>
                </a:cubicBezTo>
                <a:cubicBezTo>
                  <a:pt x="270" y="184"/>
                  <a:pt x="270" y="184"/>
                  <a:pt x="270" y="184"/>
                </a:cubicBezTo>
                <a:cubicBezTo>
                  <a:pt x="269" y="183"/>
                  <a:pt x="269" y="183"/>
                  <a:pt x="269" y="183"/>
                </a:cubicBezTo>
                <a:cubicBezTo>
                  <a:pt x="265" y="183"/>
                  <a:pt x="265" y="183"/>
                  <a:pt x="265" y="183"/>
                </a:cubicBezTo>
                <a:cubicBezTo>
                  <a:pt x="338" y="50"/>
                  <a:pt x="338" y="50"/>
                  <a:pt x="338" y="50"/>
                </a:cubicBezTo>
                <a:cubicBezTo>
                  <a:pt x="338" y="50"/>
                  <a:pt x="338" y="50"/>
                  <a:pt x="338" y="50"/>
                </a:cubicBezTo>
                <a:cubicBezTo>
                  <a:pt x="336" y="50"/>
                  <a:pt x="336" y="50"/>
                  <a:pt x="336" y="50"/>
                </a:cubicBezTo>
                <a:cubicBezTo>
                  <a:pt x="335" y="50"/>
                  <a:pt x="335" y="50"/>
                  <a:pt x="335" y="50"/>
                </a:cubicBezTo>
                <a:cubicBezTo>
                  <a:pt x="335" y="49"/>
                  <a:pt x="335" y="49"/>
                  <a:pt x="335" y="49"/>
                </a:cubicBezTo>
                <a:cubicBezTo>
                  <a:pt x="334" y="46"/>
                  <a:pt x="334" y="46"/>
                  <a:pt x="334" y="46"/>
                </a:cubicBezTo>
                <a:cubicBezTo>
                  <a:pt x="333" y="45"/>
                  <a:pt x="333" y="45"/>
                  <a:pt x="333" y="45"/>
                </a:cubicBezTo>
                <a:cubicBezTo>
                  <a:pt x="333" y="45"/>
                  <a:pt x="333" y="45"/>
                  <a:pt x="333" y="45"/>
                </a:cubicBezTo>
                <a:cubicBezTo>
                  <a:pt x="332" y="43"/>
                  <a:pt x="332" y="43"/>
                  <a:pt x="332" y="43"/>
                </a:cubicBezTo>
                <a:cubicBezTo>
                  <a:pt x="332" y="42"/>
                  <a:pt x="332" y="42"/>
                  <a:pt x="332" y="42"/>
                </a:cubicBezTo>
                <a:cubicBezTo>
                  <a:pt x="331" y="41"/>
                  <a:pt x="331" y="41"/>
                  <a:pt x="331" y="41"/>
                </a:cubicBezTo>
                <a:cubicBezTo>
                  <a:pt x="329" y="41"/>
                  <a:pt x="329" y="41"/>
                  <a:pt x="329" y="41"/>
                </a:cubicBezTo>
                <a:cubicBezTo>
                  <a:pt x="328" y="41"/>
                  <a:pt x="328" y="41"/>
                  <a:pt x="328" y="41"/>
                </a:cubicBezTo>
                <a:cubicBezTo>
                  <a:pt x="327" y="41"/>
                  <a:pt x="327" y="41"/>
                  <a:pt x="327" y="41"/>
                </a:cubicBezTo>
                <a:cubicBezTo>
                  <a:pt x="325" y="42"/>
                  <a:pt x="325" y="42"/>
                  <a:pt x="325" y="42"/>
                </a:cubicBezTo>
                <a:cubicBezTo>
                  <a:pt x="324" y="41"/>
                  <a:pt x="324" y="41"/>
                  <a:pt x="324" y="41"/>
                </a:cubicBezTo>
                <a:cubicBezTo>
                  <a:pt x="324" y="41"/>
                  <a:pt x="324" y="41"/>
                  <a:pt x="324" y="41"/>
                </a:cubicBezTo>
                <a:cubicBezTo>
                  <a:pt x="323" y="41"/>
                  <a:pt x="323" y="41"/>
                  <a:pt x="323" y="41"/>
                </a:cubicBezTo>
                <a:cubicBezTo>
                  <a:pt x="323" y="41"/>
                  <a:pt x="323" y="41"/>
                  <a:pt x="323" y="41"/>
                </a:cubicBezTo>
                <a:cubicBezTo>
                  <a:pt x="322" y="41"/>
                  <a:pt x="322" y="41"/>
                  <a:pt x="322" y="41"/>
                </a:cubicBezTo>
                <a:cubicBezTo>
                  <a:pt x="322" y="41"/>
                  <a:pt x="322" y="41"/>
                  <a:pt x="322" y="41"/>
                </a:cubicBezTo>
                <a:cubicBezTo>
                  <a:pt x="323" y="41"/>
                  <a:pt x="323" y="41"/>
                  <a:pt x="323" y="41"/>
                </a:cubicBezTo>
                <a:cubicBezTo>
                  <a:pt x="323" y="40"/>
                  <a:pt x="323" y="40"/>
                  <a:pt x="323" y="40"/>
                </a:cubicBezTo>
                <a:cubicBezTo>
                  <a:pt x="322" y="39"/>
                  <a:pt x="322" y="39"/>
                  <a:pt x="322" y="39"/>
                </a:cubicBezTo>
                <a:cubicBezTo>
                  <a:pt x="321" y="40"/>
                  <a:pt x="321" y="40"/>
                  <a:pt x="321" y="40"/>
                </a:cubicBezTo>
                <a:cubicBezTo>
                  <a:pt x="320" y="39"/>
                  <a:pt x="320" y="39"/>
                  <a:pt x="320" y="39"/>
                </a:cubicBezTo>
                <a:cubicBezTo>
                  <a:pt x="320" y="39"/>
                  <a:pt x="320" y="39"/>
                  <a:pt x="320" y="39"/>
                </a:cubicBezTo>
                <a:cubicBezTo>
                  <a:pt x="321" y="39"/>
                  <a:pt x="321" y="39"/>
                  <a:pt x="321" y="39"/>
                </a:cubicBezTo>
                <a:cubicBezTo>
                  <a:pt x="320" y="38"/>
                  <a:pt x="320" y="38"/>
                  <a:pt x="320" y="38"/>
                </a:cubicBezTo>
                <a:cubicBezTo>
                  <a:pt x="320" y="38"/>
                  <a:pt x="320" y="38"/>
                  <a:pt x="320" y="38"/>
                </a:cubicBezTo>
                <a:cubicBezTo>
                  <a:pt x="319" y="38"/>
                  <a:pt x="319" y="38"/>
                  <a:pt x="319" y="38"/>
                </a:cubicBezTo>
                <a:cubicBezTo>
                  <a:pt x="319" y="37"/>
                  <a:pt x="319" y="37"/>
                  <a:pt x="319" y="37"/>
                </a:cubicBezTo>
                <a:cubicBezTo>
                  <a:pt x="318" y="36"/>
                  <a:pt x="318" y="36"/>
                  <a:pt x="318" y="36"/>
                </a:cubicBezTo>
                <a:cubicBezTo>
                  <a:pt x="316" y="35"/>
                  <a:pt x="316" y="35"/>
                  <a:pt x="316" y="35"/>
                </a:cubicBezTo>
                <a:cubicBezTo>
                  <a:pt x="316" y="35"/>
                  <a:pt x="316" y="35"/>
                  <a:pt x="316" y="35"/>
                </a:cubicBezTo>
                <a:cubicBezTo>
                  <a:pt x="315" y="35"/>
                  <a:pt x="315" y="35"/>
                  <a:pt x="315" y="35"/>
                </a:cubicBezTo>
                <a:cubicBezTo>
                  <a:pt x="315" y="35"/>
                  <a:pt x="315" y="35"/>
                  <a:pt x="315" y="35"/>
                </a:cubicBezTo>
                <a:cubicBezTo>
                  <a:pt x="314" y="35"/>
                  <a:pt x="314" y="35"/>
                  <a:pt x="314" y="35"/>
                </a:cubicBezTo>
                <a:cubicBezTo>
                  <a:pt x="314" y="35"/>
                  <a:pt x="314" y="35"/>
                  <a:pt x="314" y="35"/>
                </a:cubicBezTo>
                <a:cubicBezTo>
                  <a:pt x="314" y="35"/>
                  <a:pt x="314" y="35"/>
                  <a:pt x="314" y="35"/>
                </a:cubicBezTo>
                <a:cubicBezTo>
                  <a:pt x="313" y="34"/>
                  <a:pt x="313" y="34"/>
                  <a:pt x="313" y="34"/>
                </a:cubicBezTo>
                <a:cubicBezTo>
                  <a:pt x="312" y="35"/>
                  <a:pt x="312" y="35"/>
                  <a:pt x="312" y="35"/>
                </a:cubicBezTo>
                <a:cubicBezTo>
                  <a:pt x="312" y="35"/>
                  <a:pt x="312" y="35"/>
                  <a:pt x="312" y="35"/>
                </a:cubicBezTo>
                <a:cubicBezTo>
                  <a:pt x="312" y="34"/>
                  <a:pt x="312" y="34"/>
                  <a:pt x="312" y="34"/>
                </a:cubicBezTo>
                <a:cubicBezTo>
                  <a:pt x="312" y="34"/>
                  <a:pt x="312" y="34"/>
                  <a:pt x="312" y="34"/>
                </a:cubicBezTo>
                <a:cubicBezTo>
                  <a:pt x="312" y="33"/>
                  <a:pt x="312" y="33"/>
                  <a:pt x="312" y="33"/>
                </a:cubicBezTo>
                <a:cubicBezTo>
                  <a:pt x="311" y="33"/>
                  <a:pt x="311" y="33"/>
                  <a:pt x="311" y="33"/>
                </a:cubicBezTo>
                <a:cubicBezTo>
                  <a:pt x="310" y="33"/>
                  <a:pt x="310" y="33"/>
                  <a:pt x="310" y="33"/>
                </a:cubicBezTo>
                <a:cubicBezTo>
                  <a:pt x="310" y="32"/>
                  <a:pt x="310" y="32"/>
                  <a:pt x="310" y="32"/>
                </a:cubicBezTo>
                <a:cubicBezTo>
                  <a:pt x="310" y="32"/>
                  <a:pt x="310" y="32"/>
                  <a:pt x="310" y="32"/>
                </a:cubicBezTo>
                <a:cubicBezTo>
                  <a:pt x="309" y="31"/>
                  <a:pt x="309" y="31"/>
                  <a:pt x="309" y="31"/>
                </a:cubicBezTo>
                <a:cubicBezTo>
                  <a:pt x="308" y="30"/>
                  <a:pt x="308" y="30"/>
                  <a:pt x="308" y="30"/>
                </a:cubicBezTo>
                <a:cubicBezTo>
                  <a:pt x="308" y="30"/>
                  <a:pt x="308" y="30"/>
                  <a:pt x="308" y="30"/>
                </a:cubicBezTo>
                <a:cubicBezTo>
                  <a:pt x="308" y="29"/>
                  <a:pt x="308" y="29"/>
                  <a:pt x="308" y="29"/>
                </a:cubicBezTo>
                <a:cubicBezTo>
                  <a:pt x="307" y="29"/>
                  <a:pt x="307" y="29"/>
                  <a:pt x="307" y="29"/>
                </a:cubicBezTo>
                <a:cubicBezTo>
                  <a:pt x="307" y="30"/>
                  <a:pt x="307" y="30"/>
                  <a:pt x="307" y="30"/>
                </a:cubicBezTo>
                <a:cubicBezTo>
                  <a:pt x="304" y="32"/>
                  <a:pt x="304" y="32"/>
                  <a:pt x="304" y="32"/>
                </a:cubicBezTo>
                <a:cubicBezTo>
                  <a:pt x="302" y="33"/>
                  <a:pt x="302" y="33"/>
                  <a:pt x="302" y="33"/>
                </a:cubicBezTo>
                <a:cubicBezTo>
                  <a:pt x="304" y="32"/>
                  <a:pt x="304" y="32"/>
                  <a:pt x="304" y="32"/>
                </a:cubicBezTo>
                <a:cubicBezTo>
                  <a:pt x="305" y="29"/>
                  <a:pt x="305" y="29"/>
                  <a:pt x="305" y="29"/>
                </a:cubicBezTo>
                <a:cubicBezTo>
                  <a:pt x="307" y="28"/>
                  <a:pt x="307" y="28"/>
                  <a:pt x="307" y="28"/>
                </a:cubicBezTo>
                <a:cubicBezTo>
                  <a:pt x="307" y="26"/>
                  <a:pt x="307" y="26"/>
                  <a:pt x="307" y="26"/>
                </a:cubicBezTo>
                <a:cubicBezTo>
                  <a:pt x="306" y="26"/>
                  <a:pt x="306" y="26"/>
                  <a:pt x="306" y="26"/>
                </a:cubicBezTo>
                <a:cubicBezTo>
                  <a:pt x="305" y="25"/>
                  <a:pt x="305" y="25"/>
                  <a:pt x="305" y="25"/>
                </a:cubicBezTo>
                <a:cubicBezTo>
                  <a:pt x="303" y="25"/>
                  <a:pt x="303" y="25"/>
                  <a:pt x="303" y="25"/>
                </a:cubicBezTo>
                <a:cubicBezTo>
                  <a:pt x="301" y="25"/>
                  <a:pt x="301" y="25"/>
                  <a:pt x="301" y="25"/>
                </a:cubicBezTo>
                <a:cubicBezTo>
                  <a:pt x="300" y="25"/>
                  <a:pt x="300" y="25"/>
                  <a:pt x="300" y="25"/>
                </a:cubicBezTo>
                <a:cubicBezTo>
                  <a:pt x="300" y="26"/>
                  <a:pt x="300" y="26"/>
                  <a:pt x="300" y="26"/>
                </a:cubicBezTo>
                <a:cubicBezTo>
                  <a:pt x="298" y="26"/>
                  <a:pt x="298" y="26"/>
                  <a:pt x="298" y="26"/>
                </a:cubicBezTo>
                <a:cubicBezTo>
                  <a:pt x="297" y="28"/>
                  <a:pt x="297" y="28"/>
                  <a:pt x="297" y="28"/>
                </a:cubicBezTo>
                <a:cubicBezTo>
                  <a:pt x="295" y="29"/>
                  <a:pt x="295" y="29"/>
                  <a:pt x="295" y="29"/>
                </a:cubicBezTo>
                <a:cubicBezTo>
                  <a:pt x="296" y="28"/>
                  <a:pt x="296" y="28"/>
                  <a:pt x="296" y="28"/>
                </a:cubicBezTo>
                <a:cubicBezTo>
                  <a:pt x="296" y="26"/>
                  <a:pt x="296" y="26"/>
                  <a:pt x="296" y="26"/>
                </a:cubicBezTo>
                <a:cubicBezTo>
                  <a:pt x="296" y="24"/>
                  <a:pt x="296" y="24"/>
                  <a:pt x="296" y="24"/>
                </a:cubicBezTo>
                <a:cubicBezTo>
                  <a:pt x="296" y="23"/>
                  <a:pt x="296" y="23"/>
                  <a:pt x="296" y="23"/>
                </a:cubicBezTo>
                <a:cubicBezTo>
                  <a:pt x="294" y="22"/>
                  <a:pt x="294" y="22"/>
                  <a:pt x="294" y="22"/>
                </a:cubicBezTo>
                <a:cubicBezTo>
                  <a:pt x="294" y="22"/>
                  <a:pt x="294" y="22"/>
                  <a:pt x="294" y="22"/>
                </a:cubicBezTo>
                <a:cubicBezTo>
                  <a:pt x="295" y="21"/>
                  <a:pt x="295" y="21"/>
                  <a:pt x="295" y="21"/>
                </a:cubicBezTo>
                <a:cubicBezTo>
                  <a:pt x="296" y="21"/>
                  <a:pt x="296" y="21"/>
                  <a:pt x="296" y="21"/>
                </a:cubicBezTo>
                <a:cubicBezTo>
                  <a:pt x="296" y="21"/>
                  <a:pt x="296" y="21"/>
                  <a:pt x="296" y="21"/>
                </a:cubicBezTo>
                <a:cubicBezTo>
                  <a:pt x="293" y="19"/>
                  <a:pt x="293" y="19"/>
                  <a:pt x="293" y="19"/>
                </a:cubicBezTo>
                <a:cubicBezTo>
                  <a:pt x="293" y="18"/>
                  <a:pt x="293" y="18"/>
                  <a:pt x="293" y="18"/>
                </a:cubicBezTo>
                <a:cubicBezTo>
                  <a:pt x="294" y="17"/>
                  <a:pt x="294" y="17"/>
                  <a:pt x="294" y="17"/>
                </a:cubicBezTo>
                <a:cubicBezTo>
                  <a:pt x="295" y="16"/>
                  <a:pt x="295" y="16"/>
                  <a:pt x="295" y="16"/>
                </a:cubicBezTo>
                <a:cubicBezTo>
                  <a:pt x="296" y="16"/>
                  <a:pt x="296" y="16"/>
                  <a:pt x="296" y="16"/>
                </a:cubicBezTo>
                <a:cubicBezTo>
                  <a:pt x="296" y="15"/>
                  <a:pt x="296" y="15"/>
                  <a:pt x="296" y="15"/>
                </a:cubicBezTo>
                <a:cubicBezTo>
                  <a:pt x="295" y="13"/>
                  <a:pt x="295" y="13"/>
                  <a:pt x="295" y="13"/>
                </a:cubicBezTo>
                <a:cubicBezTo>
                  <a:pt x="294" y="13"/>
                  <a:pt x="294" y="13"/>
                  <a:pt x="294" y="13"/>
                </a:cubicBezTo>
                <a:cubicBezTo>
                  <a:pt x="294" y="14"/>
                  <a:pt x="294" y="14"/>
                  <a:pt x="294" y="14"/>
                </a:cubicBezTo>
                <a:cubicBezTo>
                  <a:pt x="293" y="13"/>
                  <a:pt x="293" y="13"/>
                  <a:pt x="293" y="13"/>
                </a:cubicBezTo>
                <a:cubicBezTo>
                  <a:pt x="292" y="12"/>
                  <a:pt x="292" y="12"/>
                  <a:pt x="292" y="12"/>
                </a:cubicBezTo>
                <a:cubicBezTo>
                  <a:pt x="291" y="13"/>
                  <a:pt x="291" y="13"/>
                  <a:pt x="291" y="13"/>
                </a:cubicBezTo>
                <a:cubicBezTo>
                  <a:pt x="290" y="12"/>
                  <a:pt x="290" y="12"/>
                  <a:pt x="290" y="12"/>
                </a:cubicBezTo>
                <a:cubicBezTo>
                  <a:pt x="289" y="12"/>
                  <a:pt x="289" y="12"/>
                  <a:pt x="289" y="12"/>
                </a:cubicBezTo>
                <a:cubicBezTo>
                  <a:pt x="288" y="12"/>
                  <a:pt x="288" y="12"/>
                  <a:pt x="288" y="12"/>
                </a:cubicBezTo>
                <a:cubicBezTo>
                  <a:pt x="287" y="12"/>
                  <a:pt x="287" y="12"/>
                  <a:pt x="287" y="12"/>
                </a:cubicBezTo>
                <a:cubicBezTo>
                  <a:pt x="286" y="13"/>
                  <a:pt x="286" y="13"/>
                  <a:pt x="286" y="13"/>
                </a:cubicBezTo>
                <a:cubicBezTo>
                  <a:pt x="286" y="14"/>
                  <a:pt x="286" y="14"/>
                  <a:pt x="286" y="14"/>
                </a:cubicBezTo>
                <a:cubicBezTo>
                  <a:pt x="285" y="13"/>
                  <a:pt x="285" y="13"/>
                  <a:pt x="285" y="13"/>
                </a:cubicBezTo>
                <a:cubicBezTo>
                  <a:pt x="286" y="12"/>
                  <a:pt x="286" y="12"/>
                  <a:pt x="286" y="12"/>
                </a:cubicBezTo>
                <a:cubicBezTo>
                  <a:pt x="286" y="11"/>
                  <a:pt x="286" y="11"/>
                  <a:pt x="286" y="11"/>
                </a:cubicBezTo>
                <a:cubicBezTo>
                  <a:pt x="286" y="10"/>
                  <a:pt x="286" y="10"/>
                  <a:pt x="286" y="10"/>
                </a:cubicBezTo>
                <a:cubicBezTo>
                  <a:pt x="286" y="9"/>
                  <a:pt x="286" y="9"/>
                  <a:pt x="286" y="9"/>
                </a:cubicBezTo>
                <a:cubicBezTo>
                  <a:pt x="287" y="9"/>
                  <a:pt x="287" y="9"/>
                  <a:pt x="287" y="9"/>
                </a:cubicBezTo>
                <a:cubicBezTo>
                  <a:pt x="287" y="8"/>
                  <a:pt x="287" y="8"/>
                  <a:pt x="287" y="8"/>
                </a:cubicBezTo>
                <a:cubicBezTo>
                  <a:pt x="288" y="7"/>
                  <a:pt x="288" y="7"/>
                  <a:pt x="288" y="7"/>
                </a:cubicBezTo>
                <a:cubicBezTo>
                  <a:pt x="287" y="6"/>
                  <a:pt x="287" y="6"/>
                  <a:pt x="287" y="6"/>
                </a:cubicBezTo>
                <a:cubicBezTo>
                  <a:pt x="287" y="6"/>
                  <a:pt x="287" y="6"/>
                  <a:pt x="287" y="6"/>
                </a:cubicBezTo>
                <a:cubicBezTo>
                  <a:pt x="285" y="7"/>
                  <a:pt x="285" y="7"/>
                  <a:pt x="285" y="7"/>
                </a:cubicBezTo>
                <a:cubicBezTo>
                  <a:pt x="285" y="8"/>
                  <a:pt x="285" y="8"/>
                  <a:pt x="285" y="8"/>
                </a:cubicBezTo>
                <a:cubicBezTo>
                  <a:pt x="285" y="8"/>
                  <a:pt x="285" y="8"/>
                  <a:pt x="285" y="8"/>
                </a:cubicBezTo>
                <a:cubicBezTo>
                  <a:pt x="284" y="8"/>
                  <a:pt x="284" y="8"/>
                  <a:pt x="284" y="8"/>
                </a:cubicBezTo>
                <a:cubicBezTo>
                  <a:pt x="283" y="8"/>
                  <a:pt x="283" y="8"/>
                  <a:pt x="283" y="8"/>
                </a:cubicBezTo>
                <a:cubicBezTo>
                  <a:pt x="282" y="9"/>
                  <a:pt x="282" y="9"/>
                  <a:pt x="282" y="9"/>
                </a:cubicBezTo>
                <a:cubicBezTo>
                  <a:pt x="283" y="10"/>
                  <a:pt x="283" y="10"/>
                  <a:pt x="283" y="10"/>
                </a:cubicBezTo>
                <a:cubicBezTo>
                  <a:pt x="282" y="11"/>
                  <a:pt x="282" y="11"/>
                  <a:pt x="282" y="11"/>
                </a:cubicBezTo>
                <a:cubicBezTo>
                  <a:pt x="281" y="11"/>
                  <a:pt x="281" y="11"/>
                  <a:pt x="281" y="11"/>
                </a:cubicBezTo>
                <a:cubicBezTo>
                  <a:pt x="281" y="11"/>
                  <a:pt x="281" y="11"/>
                  <a:pt x="281" y="11"/>
                </a:cubicBezTo>
                <a:cubicBezTo>
                  <a:pt x="280" y="12"/>
                  <a:pt x="280" y="12"/>
                  <a:pt x="280" y="12"/>
                </a:cubicBezTo>
                <a:cubicBezTo>
                  <a:pt x="280" y="13"/>
                  <a:pt x="280" y="13"/>
                  <a:pt x="280" y="13"/>
                </a:cubicBezTo>
                <a:cubicBezTo>
                  <a:pt x="280" y="12"/>
                  <a:pt x="280" y="12"/>
                  <a:pt x="280" y="12"/>
                </a:cubicBezTo>
                <a:cubicBezTo>
                  <a:pt x="280" y="11"/>
                  <a:pt x="280" y="11"/>
                  <a:pt x="280" y="11"/>
                </a:cubicBezTo>
                <a:cubicBezTo>
                  <a:pt x="280" y="10"/>
                  <a:pt x="280" y="10"/>
                  <a:pt x="280" y="10"/>
                </a:cubicBezTo>
                <a:cubicBezTo>
                  <a:pt x="280" y="10"/>
                  <a:pt x="280" y="10"/>
                  <a:pt x="280" y="10"/>
                </a:cubicBezTo>
                <a:cubicBezTo>
                  <a:pt x="279" y="11"/>
                  <a:pt x="279" y="11"/>
                  <a:pt x="279" y="11"/>
                </a:cubicBezTo>
                <a:cubicBezTo>
                  <a:pt x="279" y="11"/>
                  <a:pt x="279" y="11"/>
                  <a:pt x="279" y="11"/>
                </a:cubicBezTo>
                <a:cubicBezTo>
                  <a:pt x="278" y="12"/>
                  <a:pt x="278" y="12"/>
                  <a:pt x="278" y="12"/>
                </a:cubicBezTo>
                <a:cubicBezTo>
                  <a:pt x="278" y="10"/>
                  <a:pt x="278" y="10"/>
                  <a:pt x="278" y="10"/>
                </a:cubicBezTo>
                <a:cubicBezTo>
                  <a:pt x="278" y="9"/>
                  <a:pt x="278" y="9"/>
                  <a:pt x="278" y="9"/>
                </a:cubicBezTo>
                <a:cubicBezTo>
                  <a:pt x="276" y="9"/>
                  <a:pt x="276" y="9"/>
                  <a:pt x="276" y="9"/>
                </a:cubicBezTo>
                <a:cubicBezTo>
                  <a:pt x="277" y="8"/>
                  <a:pt x="277" y="8"/>
                  <a:pt x="277" y="8"/>
                </a:cubicBezTo>
                <a:cubicBezTo>
                  <a:pt x="278" y="7"/>
                  <a:pt x="278" y="7"/>
                  <a:pt x="278" y="7"/>
                </a:cubicBezTo>
                <a:cubicBezTo>
                  <a:pt x="279" y="6"/>
                  <a:pt x="279" y="6"/>
                  <a:pt x="279" y="6"/>
                </a:cubicBezTo>
                <a:cubicBezTo>
                  <a:pt x="281" y="7"/>
                  <a:pt x="281" y="7"/>
                  <a:pt x="281" y="7"/>
                </a:cubicBezTo>
                <a:cubicBezTo>
                  <a:pt x="282" y="7"/>
                  <a:pt x="282" y="7"/>
                  <a:pt x="282" y="7"/>
                </a:cubicBezTo>
                <a:cubicBezTo>
                  <a:pt x="284" y="6"/>
                  <a:pt x="284" y="6"/>
                  <a:pt x="284" y="6"/>
                </a:cubicBezTo>
                <a:cubicBezTo>
                  <a:pt x="285" y="5"/>
                  <a:pt x="285" y="5"/>
                  <a:pt x="285" y="5"/>
                </a:cubicBezTo>
                <a:cubicBezTo>
                  <a:pt x="285" y="5"/>
                  <a:pt x="285" y="5"/>
                  <a:pt x="285" y="5"/>
                </a:cubicBezTo>
                <a:cubicBezTo>
                  <a:pt x="285" y="4"/>
                  <a:pt x="285" y="4"/>
                  <a:pt x="285" y="4"/>
                </a:cubicBezTo>
                <a:cubicBezTo>
                  <a:pt x="285" y="4"/>
                  <a:pt x="285" y="4"/>
                  <a:pt x="285" y="4"/>
                </a:cubicBezTo>
                <a:cubicBezTo>
                  <a:pt x="284" y="3"/>
                  <a:pt x="284" y="3"/>
                  <a:pt x="284" y="3"/>
                </a:cubicBezTo>
                <a:cubicBezTo>
                  <a:pt x="283" y="3"/>
                  <a:pt x="283" y="3"/>
                  <a:pt x="283" y="3"/>
                </a:cubicBezTo>
                <a:cubicBezTo>
                  <a:pt x="283" y="2"/>
                  <a:pt x="283" y="2"/>
                  <a:pt x="283" y="2"/>
                </a:cubicBezTo>
                <a:cubicBezTo>
                  <a:pt x="282" y="1"/>
                  <a:pt x="282" y="1"/>
                  <a:pt x="282" y="1"/>
                </a:cubicBezTo>
                <a:cubicBezTo>
                  <a:pt x="282" y="1"/>
                  <a:pt x="282" y="1"/>
                  <a:pt x="282" y="1"/>
                </a:cubicBezTo>
                <a:cubicBezTo>
                  <a:pt x="282" y="1"/>
                  <a:pt x="282" y="1"/>
                  <a:pt x="282" y="1"/>
                </a:cubicBezTo>
                <a:cubicBezTo>
                  <a:pt x="283" y="0"/>
                  <a:pt x="283" y="0"/>
                  <a:pt x="283" y="0"/>
                </a:cubicBezTo>
                <a:cubicBezTo>
                  <a:pt x="283" y="0"/>
                  <a:pt x="283" y="0"/>
                  <a:pt x="283" y="0"/>
                </a:cubicBezTo>
                <a:cubicBezTo>
                  <a:pt x="283" y="0"/>
                  <a:pt x="283" y="0"/>
                  <a:pt x="283" y="0"/>
                </a:cubicBezTo>
                <a:cubicBezTo>
                  <a:pt x="280" y="1"/>
                  <a:pt x="280" y="1"/>
                  <a:pt x="280" y="1"/>
                </a:cubicBezTo>
                <a:cubicBezTo>
                  <a:pt x="280" y="2"/>
                  <a:pt x="280" y="2"/>
                  <a:pt x="280" y="2"/>
                </a:cubicBezTo>
                <a:cubicBezTo>
                  <a:pt x="278" y="2"/>
                  <a:pt x="278" y="2"/>
                  <a:pt x="278" y="2"/>
                </a:cubicBezTo>
                <a:cubicBezTo>
                  <a:pt x="277" y="2"/>
                  <a:pt x="277" y="2"/>
                  <a:pt x="277" y="2"/>
                </a:cubicBezTo>
                <a:cubicBezTo>
                  <a:pt x="274" y="5"/>
                  <a:pt x="274" y="5"/>
                  <a:pt x="274" y="5"/>
                </a:cubicBezTo>
                <a:cubicBezTo>
                  <a:pt x="272" y="5"/>
                  <a:pt x="272" y="5"/>
                  <a:pt x="272" y="5"/>
                </a:cubicBezTo>
                <a:cubicBezTo>
                  <a:pt x="270" y="5"/>
                  <a:pt x="270" y="5"/>
                  <a:pt x="270" y="5"/>
                </a:cubicBezTo>
                <a:cubicBezTo>
                  <a:pt x="268" y="4"/>
                  <a:pt x="268" y="4"/>
                  <a:pt x="268" y="4"/>
                </a:cubicBezTo>
                <a:cubicBezTo>
                  <a:pt x="267" y="4"/>
                  <a:pt x="267" y="4"/>
                  <a:pt x="267" y="4"/>
                </a:cubicBezTo>
                <a:cubicBezTo>
                  <a:pt x="267" y="4"/>
                  <a:pt x="267" y="4"/>
                  <a:pt x="267" y="4"/>
                </a:cubicBezTo>
                <a:cubicBezTo>
                  <a:pt x="266" y="4"/>
                  <a:pt x="266" y="4"/>
                  <a:pt x="266" y="4"/>
                </a:cubicBezTo>
                <a:cubicBezTo>
                  <a:pt x="265" y="3"/>
                  <a:pt x="265" y="3"/>
                  <a:pt x="265" y="3"/>
                </a:cubicBezTo>
                <a:cubicBezTo>
                  <a:pt x="264" y="4"/>
                  <a:pt x="264" y="4"/>
                  <a:pt x="264" y="4"/>
                </a:cubicBezTo>
                <a:cubicBezTo>
                  <a:pt x="264" y="5"/>
                  <a:pt x="264" y="5"/>
                  <a:pt x="264" y="5"/>
                </a:cubicBezTo>
                <a:cubicBezTo>
                  <a:pt x="263" y="5"/>
                  <a:pt x="263" y="5"/>
                  <a:pt x="263" y="5"/>
                </a:cubicBezTo>
                <a:cubicBezTo>
                  <a:pt x="263" y="4"/>
                  <a:pt x="263" y="4"/>
                  <a:pt x="263" y="4"/>
                </a:cubicBezTo>
                <a:cubicBezTo>
                  <a:pt x="263" y="3"/>
                  <a:pt x="263" y="3"/>
                  <a:pt x="263" y="3"/>
                </a:cubicBezTo>
                <a:cubicBezTo>
                  <a:pt x="264" y="3"/>
                  <a:pt x="264" y="3"/>
                  <a:pt x="264" y="3"/>
                </a:cubicBezTo>
                <a:cubicBezTo>
                  <a:pt x="263" y="2"/>
                  <a:pt x="263" y="2"/>
                  <a:pt x="263" y="2"/>
                </a:cubicBezTo>
                <a:cubicBezTo>
                  <a:pt x="262" y="3"/>
                  <a:pt x="262" y="3"/>
                  <a:pt x="262" y="3"/>
                </a:cubicBezTo>
                <a:cubicBezTo>
                  <a:pt x="259" y="4"/>
                  <a:pt x="259" y="4"/>
                  <a:pt x="259" y="4"/>
                </a:cubicBezTo>
                <a:cubicBezTo>
                  <a:pt x="258" y="5"/>
                  <a:pt x="258" y="5"/>
                  <a:pt x="258" y="5"/>
                </a:cubicBezTo>
                <a:cubicBezTo>
                  <a:pt x="257" y="6"/>
                  <a:pt x="257" y="6"/>
                  <a:pt x="257" y="6"/>
                </a:cubicBezTo>
                <a:cubicBezTo>
                  <a:pt x="257" y="7"/>
                  <a:pt x="257" y="7"/>
                  <a:pt x="257" y="7"/>
                </a:cubicBezTo>
                <a:cubicBezTo>
                  <a:pt x="259" y="7"/>
                  <a:pt x="259" y="7"/>
                  <a:pt x="259" y="7"/>
                </a:cubicBezTo>
                <a:cubicBezTo>
                  <a:pt x="258" y="8"/>
                  <a:pt x="258" y="8"/>
                  <a:pt x="258" y="8"/>
                </a:cubicBezTo>
                <a:cubicBezTo>
                  <a:pt x="256" y="8"/>
                  <a:pt x="256" y="8"/>
                  <a:pt x="256" y="8"/>
                </a:cubicBezTo>
                <a:cubicBezTo>
                  <a:pt x="255" y="9"/>
                  <a:pt x="255" y="9"/>
                  <a:pt x="255" y="9"/>
                </a:cubicBezTo>
                <a:cubicBezTo>
                  <a:pt x="254" y="12"/>
                  <a:pt x="254" y="12"/>
                  <a:pt x="254" y="12"/>
                </a:cubicBezTo>
                <a:cubicBezTo>
                  <a:pt x="253" y="14"/>
                  <a:pt x="253" y="14"/>
                  <a:pt x="253" y="14"/>
                </a:cubicBezTo>
                <a:cubicBezTo>
                  <a:pt x="252" y="14"/>
                  <a:pt x="252" y="14"/>
                  <a:pt x="252" y="14"/>
                </a:cubicBezTo>
                <a:cubicBezTo>
                  <a:pt x="252" y="14"/>
                  <a:pt x="252" y="14"/>
                  <a:pt x="252" y="14"/>
                </a:cubicBezTo>
                <a:cubicBezTo>
                  <a:pt x="252" y="12"/>
                  <a:pt x="252" y="12"/>
                  <a:pt x="252" y="12"/>
                </a:cubicBezTo>
                <a:cubicBezTo>
                  <a:pt x="254" y="9"/>
                  <a:pt x="254" y="9"/>
                  <a:pt x="254" y="9"/>
                </a:cubicBezTo>
                <a:cubicBezTo>
                  <a:pt x="254" y="8"/>
                  <a:pt x="254" y="8"/>
                  <a:pt x="254" y="8"/>
                </a:cubicBezTo>
                <a:cubicBezTo>
                  <a:pt x="254" y="8"/>
                  <a:pt x="254" y="8"/>
                  <a:pt x="254" y="8"/>
                </a:cubicBezTo>
                <a:cubicBezTo>
                  <a:pt x="251" y="10"/>
                  <a:pt x="251" y="10"/>
                  <a:pt x="251" y="10"/>
                </a:cubicBezTo>
                <a:cubicBezTo>
                  <a:pt x="249" y="10"/>
                  <a:pt x="249" y="10"/>
                  <a:pt x="249" y="10"/>
                </a:cubicBezTo>
                <a:cubicBezTo>
                  <a:pt x="249" y="9"/>
                  <a:pt x="249" y="9"/>
                  <a:pt x="249" y="9"/>
                </a:cubicBezTo>
                <a:cubicBezTo>
                  <a:pt x="248" y="8"/>
                  <a:pt x="248" y="8"/>
                  <a:pt x="248" y="8"/>
                </a:cubicBezTo>
                <a:cubicBezTo>
                  <a:pt x="246" y="8"/>
                  <a:pt x="246" y="8"/>
                  <a:pt x="246" y="8"/>
                </a:cubicBezTo>
                <a:cubicBezTo>
                  <a:pt x="245" y="8"/>
                  <a:pt x="245" y="8"/>
                  <a:pt x="245" y="8"/>
                </a:cubicBezTo>
                <a:cubicBezTo>
                  <a:pt x="245" y="8"/>
                  <a:pt x="245" y="8"/>
                  <a:pt x="245" y="8"/>
                </a:cubicBezTo>
                <a:cubicBezTo>
                  <a:pt x="247" y="9"/>
                  <a:pt x="247" y="9"/>
                  <a:pt x="247" y="9"/>
                </a:cubicBezTo>
                <a:cubicBezTo>
                  <a:pt x="248" y="10"/>
                  <a:pt x="248" y="10"/>
                  <a:pt x="248" y="10"/>
                </a:cubicBezTo>
                <a:cubicBezTo>
                  <a:pt x="247" y="10"/>
                  <a:pt x="247" y="10"/>
                  <a:pt x="247" y="10"/>
                </a:cubicBezTo>
                <a:cubicBezTo>
                  <a:pt x="246" y="10"/>
                  <a:pt x="246" y="10"/>
                  <a:pt x="246" y="10"/>
                </a:cubicBezTo>
                <a:cubicBezTo>
                  <a:pt x="243" y="9"/>
                  <a:pt x="243" y="9"/>
                  <a:pt x="243" y="9"/>
                </a:cubicBezTo>
                <a:cubicBezTo>
                  <a:pt x="241" y="11"/>
                  <a:pt x="241" y="11"/>
                  <a:pt x="241" y="11"/>
                </a:cubicBezTo>
                <a:cubicBezTo>
                  <a:pt x="238" y="13"/>
                  <a:pt x="238" y="13"/>
                  <a:pt x="238" y="13"/>
                </a:cubicBezTo>
                <a:cubicBezTo>
                  <a:pt x="234" y="15"/>
                  <a:pt x="234" y="15"/>
                  <a:pt x="234" y="15"/>
                </a:cubicBezTo>
                <a:cubicBezTo>
                  <a:pt x="231" y="17"/>
                  <a:pt x="231" y="17"/>
                  <a:pt x="231" y="17"/>
                </a:cubicBezTo>
                <a:cubicBezTo>
                  <a:pt x="229" y="19"/>
                  <a:pt x="229" y="19"/>
                  <a:pt x="229" y="19"/>
                </a:cubicBezTo>
                <a:cubicBezTo>
                  <a:pt x="226" y="22"/>
                  <a:pt x="226" y="22"/>
                  <a:pt x="226" y="22"/>
                </a:cubicBezTo>
                <a:cubicBezTo>
                  <a:pt x="224" y="23"/>
                  <a:pt x="224" y="23"/>
                  <a:pt x="224" y="23"/>
                </a:cubicBezTo>
                <a:cubicBezTo>
                  <a:pt x="222" y="23"/>
                  <a:pt x="222" y="23"/>
                  <a:pt x="222" y="23"/>
                </a:cubicBezTo>
                <a:cubicBezTo>
                  <a:pt x="221" y="24"/>
                  <a:pt x="221" y="24"/>
                  <a:pt x="221" y="24"/>
                </a:cubicBezTo>
                <a:cubicBezTo>
                  <a:pt x="219" y="24"/>
                  <a:pt x="219" y="24"/>
                  <a:pt x="219" y="24"/>
                </a:cubicBezTo>
                <a:cubicBezTo>
                  <a:pt x="217" y="26"/>
                  <a:pt x="217" y="26"/>
                  <a:pt x="217" y="26"/>
                </a:cubicBezTo>
                <a:cubicBezTo>
                  <a:pt x="215" y="26"/>
                  <a:pt x="215" y="26"/>
                  <a:pt x="215" y="26"/>
                </a:cubicBezTo>
                <a:cubicBezTo>
                  <a:pt x="214" y="25"/>
                  <a:pt x="214" y="25"/>
                  <a:pt x="214" y="25"/>
                </a:cubicBezTo>
                <a:cubicBezTo>
                  <a:pt x="213" y="25"/>
                  <a:pt x="213" y="25"/>
                  <a:pt x="213" y="25"/>
                </a:cubicBezTo>
                <a:cubicBezTo>
                  <a:pt x="211" y="24"/>
                  <a:pt x="211" y="24"/>
                  <a:pt x="211" y="24"/>
                </a:cubicBezTo>
                <a:cubicBezTo>
                  <a:pt x="210" y="23"/>
                  <a:pt x="210" y="23"/>
                  <a:pt x="210" y="23"/>
                </a:cubicBezTo>
                <a:cubicBezTo>
                  <a:pt x="208" y="22"/>
                  <a:pt x="208" y="22"/>
                  <a:pt x="208" y="22"/>
                </a:cubicBezTo>
                <a:cubicBezTo>
                  <a:pt x="207" y="22"/>
                  <a:pt x="207" y="22"/>
                  <a:pt x="207" y="22"/>
                </a:cubicBezTo>
                <a:cubicBezTo>
                  <a:pt x="205" y="24"/>
                  <a:pt x="205" y="24"/>
                  <a:pt x="205" y="24"/>
                </a:cubicBezTo>
                <a:cubicBezTo>
                  <a:pt x="203" y="26"/>
                  <a:pt x="203" y="26"/>
                  <a:pt x="203" y="26"/>
                </a:cubicBezTo>
                <a:cubicBezTo>
                  <a:pt x="203" y="27"/>
                  <a:pt x="203" y="27"/>
                  <a:pt x="203" y="27"/>
                </a:cubicBezTo>
                <a:cubicBezTo>
                  <a:pt x="201" y="29"/>
                  <a:pt x="201" y="29"/>
                  <a:pt x="201" y="29"/>
                </a:cubicBezTo>
                <a:cubicBezTo>
                  <a:pt x="201" y="30"/>
                  <a:pt x="201" y="30"/>
                  <a:pt x="201" y="30"/>
                </a:cubicBezTo>
                <a:cubicBezTo>
                  <a:pt x="200" y="30"/>
                  <a:pt x="200" y="30"/>
                  <a:pt x="200" y="30"/>
                </a:cubicBezTo>
                <a:cubicBezTo>
                  <a:pt x="199" y="29"/>
                  <a:pt x="199" y="29"/>
                  <a:pt x="199" y="29"/>
                </a:cubicBezTo>
                <a:cubicBezTo>
                  <a:pt x="198" y="30"/>
                  <a:pt x="198" y="30"/>
                  <a:pt x="198" y="30"/>
                </a:cubicBezTo>
                <a:cubicBezTo>
                  <a:pt x="199" y="33"/>
                  <a:pt x="199" y="33"/>
                  <a:pt x="199" y="33"/>
                </a:cubicBezTo>
                <a:cubicBezTo>
                  <a:pt x="201" y="38"/>
                  <a:pt x="201" y="38"/>
                  <a:pt x="201" y="38"/>
                </a:cubicBezTo>
                <a:cubicBezTo>
                  <a:pt x="202" y="42"/>
                  <a:pt x="202" y="42"/>
                  <a:pt x="202" y="42"/>
                </a:cubicBezTo>
                <a:cubicBezTo>
                  <a:pt x="203" y="46"/>
                  <a:pt x="203" y="46"/>
                  <a:pt x="203" y="46"/>
                </a:cubicBezTo>
                <a:cubicBezTo>
                  <a:pt x="203" y="50"/>
                  <a:pt x="203" y="50"/>
                  <a:pt x="203" y="50"/>
                </a:cubicBezTo>
                <a:cubicBezTo>
                  <a:pt x="201" y="52"/>
                  <a:pt x="201" y="52"/>
                  <a:pt x="201" y="52"/>
                </a:cubicBezTo>
                <a:cubicBezTo>
                  <a:pt x="200" y="54"/>
                  <a:pt x="200" y="54"/>
                  <a:pt x="200" y="54"/>
                </a:cubicBezTo>
                <a:cubicBezTo>
                  <a:pt x="200" y="54"/>
                  <a:pt x="200" y="54"/>
                  <a:pt x="200" y="54"/>
                </a:cubicBezTo>
                <a:cubicBezTo>
                  <a:pt x="203" y="57"/>
                  <a:pt x="203" y="57"/>
                  <a:pt x="203" y="57"/>
                </a:cubicBezTo>
                <a:cubicBezTo>
                  <a:pt x="204" y="58"/>
                  <a:pt x="204" y="58"/>
                  <a:pt x="204" y="58"/>
                </a:cubicBezTo>
                <a:cubicBezTo>
                  <a:pt x="204" y="57"/>
                  <a:pt x="204" y="57"/>
                  <a:pt x="204" y="57"/>
                </a:cubicBezTo>
                <a:cubicBezTo>
                  <a:pt x="204" y="57"/>
                  <a:pt x="204" y="57"/>
                  <a:pt x="204" y="57"/>
                </a:cubicBezTo>
                <a:cubicBezTo>
                  <a:pt x="205" y="57"/>
                  <a:pt x="205" y="57"/>
                  <a:pt x="205" y="57"/>
                </a:cubicBezTo>
                <a:cubicBezTo>
                  <a:pt x="206" y="57"/>
                  <a:pt x="206" y="57"/>
                  <a:pt x="206" y="57"/>
                </a:cubicBezTo>
                <a:cubicBezTo>
                  <a:pt x="205" y="57"/>
                  <a:pt x="205" y="57"/>
                  <a:pt x="205" y="57"/>
                </a:cubicBezTo>
                <a:cubicBezTo>
                  <a:pt x="205" y="58"/>
                  <a:pt x="205" y="58"/>
                  <a:pt x="205" y="58"/>
                </a:cubicBezTo>
                <a:cubicBezTo>
                  <a:pt x="208" y="61"/>
                  <a:pt x="208" y="61"/>
                  <a:pt x="208" y="61"/>
                </a:cubicBezTo>
                <a:cubicBezTo>
                  <a:pt x="208" y="61"/>
                  <a:pt x="208" y="61"/>
                  <a:pt x="208" y="61"/>
                </a:cubicBezTo>
                <a:cubicBezTo>
                  <a:pt x="206" y="61"/>
                  <a:pt x="206" y="61"/>
                  <a:pt x="206" y="61"/>
                </a:cubicBezTo>
                <a:cubicBezTo>
                  <a:pt x="206" y="62"/>
                  <a:pt x="206" y="62"/>
                  <a:pt x="206" y="62"/>
                </a:cubicBezTo>
                <a:cubicBezTo>
                  <a:pt x="206" y="65"/>
                  <a:pt x="206" y="65"/>
                  <a:pt x="206" y="65"/>
                </a:cubicBezTo>
                <a:cubicBezTo>
                  <a:pt x="206" y="66"/>
                  <a:pt x="206" y="66"/>
                  <a:pt x="206" y="66"/>
                </a:cubicBezTo>
                <a:cubicBezTo>
                  <a:pt x="207" y="67"/>
                  <a:pt x="207" y="67"/>
                  <a:pt x="207" y="67"/>
                </a:cubicBezTo>
                <a:cubicBezTo>
                  <a:pt x="208" y="66"/>
                  <a:pt x="208" y="66"/>
                  <a:pt x="208" y="66"/>
                </a:cubicBezTo>
                <a:cubicBezTo>
                  <a:pt x="209" y="66"/>
                  <a:pt x="209" y="66"/>
                  <a:pt x="209" y="66"/>
                </a:cubicBezTo>
                <a:cubicBezTo>
                  <a:pt x="210" y="66"/>
                  <a:pt x="210" y="66"/>
                  <a:pt x="210" y="66"/>
                </a:cubicBezTo>
                <a:cubicBezTo>
                  <a:pt x="210" y="67"/>
                  <a:pt x="210" y="67"/>
                  <a:pt x="210" y="67"/>
                </a:cubicBezTo>
                <a:cubicBezTo>
                  <a:pt x="212" y="67"/>
                  <a:pt x="212" y="67"/>
                  <a:pt x="212" y="67"/>
                </a:cubicBezTo>
                <a:cubicBezTo>
                  <a:pt x="214" y="67"/>
                  <a:pt x="214" y="67"/>
                  <a:pt x="214" y="67"/>
                </a:cubicBezTo>
                <a:cubicBezTo>
                  <a:pt x="216" y="68"/>
                  <a:pt x="216" y="68"/>
                  <a:pt x="216" y="68"/>
                </a:cubicBezTo>
                <a:cubicBezTo>
                  <a:pt x="214" y="69"/>
                  <a:pt x="214" y="69"/>
                  <a:pt x="214" y="69"/>
                </a:cubicBezTo>
                <a:cubicBezTo>
                  <a:pt x="214" y="70"/>
                  <a:pt x="214" y="70"/>
                  <a:pt x="214" y="70"/>
                </a:cubicBezTo>
                <a:cubicBezTo>
                  <a:pt x="214" y="72"/>
                  <a:pt x="214" y="72"/>
                  <a:pt x="214" y="72"/>
                </a:cubicBezTo>
                <a:cubicBezTo>
                  <a:pt x="212" y="72"/>
                  <a:pt x="212" y="72"/>
                  <a:pt x="212" y="72"/>
                </a:cubicBezTo>
                <a:cubicBezTo>
                  <a:pt x="212" y="71"/>
                  <a:pt x="212" y="71"/>
                  <a:pt x="212" y="71"/>
                </a:cubicBezTo>
                <a:cubicBezTo>
                  <a:pt x="211" y="70"/>
                  <a:pt x="211" y="70"/>
                  <a:pt x="211" y="70"/>
                </a:cubicBezTo>
                <a:cubicBezTo>
                  <a:pt x="210" y="71"/>
                  <a:pt x="210" y="71"/>
                  <a:pt x="210" y="71"/>
                </a:cubicBezTo>
                <a:cubicBezTo>
                  <a:pt x="208" y="71"/>
                  <a:pt x="208" y="71"/>
                  <a:pt x="208" y="71"/>
                </a:cubicBezTo>
                <a:cubicBezTo>
                  <a:pt x="208" y="70"/>
                  <a:pt x="208" y="70"/>
                  <a:pt x="208" y="70"/>
                </a:cubicBezTo>
                <a:cubicBezTo>
                  <a:pt x="207" y="68"/>
                  <a:pt x="207" y="68"/>
                  <a:pt x="207" y="68"/>
                </a:cubicBezTo>
                <a:cubicBezTo>
                  <a:pt x="206" y="68"/>
                  <a:pt x="206" y="68"/>
                  <a:pt x="206" y="68"/>
                </a:cubicBezTo>
                <a:cubicBezTo>
                  <a:pt x="205" y="68"/>
                  <a:pt x="205" y="68"/>
                  <a:pt x="205" y="68"/>
                </a:cubicBezTo>
                <a:cubicBezTo>
                  <a:pt x="204" y="67"/>
                  <a:pt x="204" y="67"/>
                  <a:pt x="204" y="67"/>
                </a:cubicBezTo>
                <a:cubicBezTo>
                  <a:pt x="204" y="65"/>
                  <a:pt x="204" y="65"/>
                  <a:pt x="204" y="65"/>
                </a:cubicBezTo>
                <a:cubicBezTo>
                  <a:pt x="206" y="61"/>
                  <a:pt x="206" y="61"/>
                  <a:pt x="206" y="61"/>
                </a:cubicBezTo>
                <a:cubicBezTo>
                  <a:pt x="205" y="60"/>
                  <a:pt x="205" y="60"/>
                  <a:pt x="205" y="60"/>
                </a:cubicBezTo>
                <a:cubicBezTo>
                  <a:pt x="205" y="60"/>
                  <a:pt x="205" y="60"/>
                  <a:pt x="205" y="60"/>
                </a:cubicBezTo>
                <a:cubicBezTo>
                  <a:pt x="204" y="61"/>
                  <a:pt x="204" y="61"/>
                  <a:pt x="204" y="61"/>
                </a:cubicBezTo>
                <a:cubicBezTo>
                  <a:pt x="204" y="65"/>
                  <a:pt x="204" y="65"/>
                  <a:pt x="204" y="65"/>
                </a:cubicBezTo>
                <a:cubicBezTo>
                  <a:pt x="203" y="67"/>
                  <a:pt x="203" y="67"/>
                  <a:pt x="203" y="67"/>
                </a:cubicBezTo>
                <a:cubicBezTo>
                  <a:pt x="202" y="68"/>
                  <a:pt x="202" y="68"/>
                  <a:pt x="202" y="68"/>
                </a:cubicBezTo>
                <a:cubicBezTo>
                  <a:pt x="202" y="69"/>
                  <a:pt x="202" y="69"/>
                  <a:pt x="202" y="69"/>
                </a:cubicBezTo>
                <a:cubicBezTo>
                  <a:pt x="203" y="68"/>
                  <a:pt x="203" y="68"/>
                  <a:pt x="203" y="68"/>
                </a:cubicBezTo>
                <a:cubicBezTo>
                  <a:pt x="204" y="68"/>
                  <a:pt x="204" y="68"/>
                  <a:pt x="204" y="68"/>
                </a:cubicBezTo>
                <a:cubicBezTo>
                  <a:pt x="204" y="69"/>
                  <a:pt x="204" y="69"/>
                  <a:pt x="204" y="69"/>
                </a:cubicBezTo>
                <a:cubicBezTo>
                  <a:pt x="206" y="69"/>
                  <a:pt x="206" y="69"/>
                  <a:pt x="206" y="69"/>
                </a:cubicBezTo>
                <a:cubicBezTo>
                  <a:pt x="206" y="70"/>
                  <a:pt x="206" y="70"/>
                  <a:pt x="206" y="70"/>
                </a:cubicBezTo>
                <a:cubicBezTo>
                  <a:pt x="206" y="72"/>
                  <a:pt x="206" y="72"/>
                  <a:pt x="206" y="72"/>
                </a:cubicBezTo>
                <a:cubicBezTo>
                  <a:pt x="205" y="74"/>
                  <a:pt x="205" y="74"/>
                  <a:pt x="205" y="74"/>
                </a:cubicBezTo>
                <a:cubicBezTo>
                  <a:pt x="203" y="74"/>
                  <a:pt x="203" y="74"/>
                  <a:pt x="203" y="74"/>
                </a:cubicBezTo>
                <a:cubicBezTo>
                  <a:pt x="205" y="72"/>
                  <a:pt x="205" y="72"/>
                  <a:pt x="205" y="72"/>
                </a:cubicBezTo>
                <a:cubicBezTo>
                  <a:pt x="205" y="71"/>
                  <a:pt x="205" y="71"/>
                  <a:pt x="205" y="71"/>
                </a:cubicBezTo>
                <a:cubicBezTo>
                  <a:pt x="204" y="71"/>
                  <a:pt x="204" y="71"/>
                  <a:pt x="204" y="71"/>
                </a:cubicBezTo>
                <a:cubicBezTo>
                  <a:pt x="203" y="71"/>
                  <a:pt x="203" y="71"/>
                  <a:pt x="203" y="71"/>
                </a:cubicBezTo>
                <a:cubicBezTo>
                  <a:pt x="203" y="71"/>
                  <a:pt x="203" y="71"/>
                  <a:pt x="203" y="71"/>
                </a:cubicBezTo>
                <a:cubicBezTo>
                  <a:pt x="201" y="73"/>
                  <a:pt x="201" y="73"/>
                  <a:pt x="201" y="73"/>
                </a:cubicBezTo>
                <a:cubicBezTo>
                  <a:pt x="201" y="74"/>
                  <a:pt x="201" y="74"/>
                  <a:pt x="201" y="74"/>
                </a:cubicBezTo>
                <a:cubicBezTo>
                  <a:pt x="200" y="74"/>
                  <a:pt x="200" y="74"/>
                  <a:pt x="200" y="74"/>
                </a:cubicBezTo>
                <a:cubicBezTo>
                  <a:pt x="198" y="75"/>
                  <a:pt x="198" y="75"/>
                  <a:pt x="198" y="75"/>
                </a:cubicBezTo>
                <a:cubicBezTo>
                  <a:pt x="198" y="74"/>
                  <a:pt x="198" y="74"/>
                  <a:pt x="198" y="74"/>
                </a:cubicBezTo>
                <a:cubicBezTo>
                  <a:pt x="198" y="73"/>
                  <a:pt x="198" y="73"/>
                  <a:pt x="198" y="73"/>
                </a:cubicBezTo>
                <a:cubicBezTo>
                  <a:pt x="196" y="73"/>
                  <a:pt x="196" y="73"/>
                  <a:pt x="196" y="73"/>
                </a:cubicBezTo>
                <a:cubicBezTo>
                  <a:pt x="195" y="73"/>
                  <a:pt x="195" y="73"/>
                  <a:pt x="195" y="73"/>
                </a:cubicBezTo>
                <a:cubicBezTo>
                  <a:pt x="195" y="72"/>
                  <a:pt x="195" y="72"/>
                  <a:pt x="195" y="72"/>
                </a:cubicBezTo>
                <a:cubicBezTo>
                  <a:pt x="194" y="72"/>
                  <a:pt x="194" y="72"/>
                  <a:pt x="194" y="72"/>
                </a:cubicBezTo>
                <a:cubicBezTo>
                  <a:pt x="193" y="72"/>
                  <a:pt x="193" y="72"/>
                  <a:pt x="193" y="72"/>
                </a:cubicBezTo>
                <a:cubicBezTo>
                  <a:pt x="192" y="72"/>
                  <a:pt x="192" y="72"/>
                  <a:pt x="192" y="72"/>
                </a:cubicBezTo>
                <a:cubicBezTo>
                  <a:pt x="192" y="71"/>
                  <a:pt x="192" y="71"/>
                  <a:pt x="192" y="71"/>
                </a:cubicBezTo>
                <a:cubicBezTo>
                  <a:pt x="191" y="70"/>
                  <a:pt x="191" y="70"/>
                  <a:pt x="191" y="70"/>
                </a:cubicBezTo>
                <a:cubicBezTo>
                  <a:pt x="191" y="71"/>
                  <a:pt x="191" y="71"/>
                  <a:pt x="191" y="71"/>
                </a:cubicBezTo>
                <a:cubicBezTo>
                  <a:pt x="190" y="71"/>
                  <a:pt x="190" y="71"/>
                  <a:pt x="190" y="71"/>
                </a:cubicBezTo>
                <a:cubicBezTo>
                  <a:pt x="190" y="69"/>
                  <a:pt x="190" y="69"/>
                  <a:pt x="190" y="69"/>
                </a:cubicBezTo>
                <a:cubicBezTo>
                  <a:pt x="189" y="68"/>
                  <a:pt x="189" y="68"/>
                  <a:pt x="189" y="68"/>
                </a:cubicBezTo>
                <a:cubicBezTo>
                  <a:pt x="189" y="67"/>
                  <a:pt x="189" y="67"/>
                  <a:pt x="189" y="67"/>
                </a:cubicBezTo>
                <a:cubicBezTo>
                  <a:pt x="191" y="67"/>
                  <a:pt x="191" y="67"/>
                  <a:pt x="191" y="67"/>
                </a:cubicBezTo>
                <a:cubicBezTo>
                  <a:pt x="192" y="65"/>
                  <a:pt x="192" y="65"/>
                  <a:pt x="192" y="65"/>
                </a:cubicBezTo>
                <a:cubicBezTo>
                  <a:pt x="193" y="65"/>
                  <a:pt x="193" y="65"/>
                  <a:pt x="193" y="65"/>
                </a:cubicBezTo>
                <a:cubicBezTo>
                  <a:pt x="193" y="64"/>
                  <a:pt x="193" y="64"/>
                  <a:pt x="193" y="64"/>
                </a:cubicBezTo>
                <a:cubicBezTo>
                  <a:pt x="193" y="63"/>
                  <a:pt x="193" y="63"/>
                  <a:pt x="193" y="63"/>
                </a:cubicBezTo>
                <a:cubicBezTo>
                  <a:pt x="192" y="62"/>
                  <a:pt x="192" y="62"/>
                  <a:pt x="192" y="62"/>
                </a:cubicBezTo>
                <a:cubicBezTo>
                  <a:pt x="191" y="61"/>
                  <a:pt x="191" y="61"/>
                  <a:pt x="191" y="61"/>
                </a:cubicBezTo>
                <a:cubicBezTo>
                  <a:pt x="189" y="61"/>
                  <a:pt x="189" y="61"/>
                  <a:pt x="189" y="61"/>
                </a:cubicBezTo>
                <a:cubicBezTo>
                  <a:pt x="187" y="62"/>
                  <a:pt x="187" y="62"/>
                  <a:pt x="187" y="62"/>
                </a:cubicBezTo>
                <a:cubicBezTo>
                  <a:pt x="186" y="62"/>
                  <a:pt x="186" y="62"/>
                  <a:pt x="186" y="62"/>
                </a:cubicBezTo>
                <a:cubicBezTo>
                  <a:pt x="185" y="62"/>
                  <a:pt x="185" y="62"/>
                  <a:pt x="185" y="62"/>
                </a:cubicBezTo>
                <a:cubicBezTo>
                  <a:pt x="184" y="62"/>
                  <a:pt x="184" y="62"/>
                  <a:pt x="184" y="62"/>
                </a:cubicBezTo>
                <a:cubicBezTo>
                  <a:pt x="180" y="63"/>
                  <a:pt x="180" y="63"/>
                  <a:pt x="180" y="63"/>
                </a:cubicBezTo>
                <a:cubicBezTo>
                  <a:pt x="180" y="64"/>
                  <a:pt x="180" y="64"/>
                  <a:pt x="180" y="64"/>
                </a:cubicBezTo>
                <a:cubicBezTo>
                  <a:pt x="181" y="64"/>
                  <a:pt x="181" y="64"/>
                  <a:pt x="181" y="64"/>
                </a:cubicBezTo>
                <a:cubicBezTo>
                  <a:pt x="182" y="66"/>
                  <a:pt x="182" y="66"/>
                  <a:pt x="182" y="66"/>
                </a:cubicBezTo>
                <a:cubicBezTo>
                  <a:pt x="182" y="66"/>
                  <a:pt x="182" y="66"/>
                  <a:pt x="182" y="66"/>
                </a:cubicBezTo>
                <a:cubicBezTo>
                  <a:pt x="181" y="66"/>
                  <a:pt x="181" y="66"/>
                  <a:pt x="181" y="66"/>
                </a:cubicBezTo>
                <a:cubicBezTo>
                  <a:pt x="180" y="66"/>
                  <a:pt x="180" y="66"/>
                  <a:pt x="180" y="66"/>
                </a:cubicBezTo>
                <a:cubicBezTo>
                  <a:pt x="179" y="65"/>
                  <a:pt x="179" y="65"/>
                  <a:pt x="179" y="65"/>
                </a:cubicBezTo>
                <a:cubicBezTo>
                  <a:pt x="178" y="65"/>
                  <a:pt x="178" y="65"/>
                  <a:pt x="178" y="65"/>
                </a:cubicBezTo>
                <a:cubicBezTo>
                  <a:pt x="176" y="64"/>
                  <a:pt x="176" y="64"/>
                  <a:pt x="176" y="64"/>
                </a:cubicBezTo>
                <a:cubicBezTo>
                  <a:pt x="174" y="65"/>
                  <a:pt x="174" y="65"/>
                  <a:pt x="174" y="65"/>
                </a:cubicBezTo>
                <a:cubicBezTo>
                  <a:pt x="173" y="66"/>
                  <a:pt x="173" y="66"/>
                  <a:pt x="173" y="66"/>
                </a:cubicBezTo>
                <a:cubicBezTo>
                  <a:pt x="173" y="66"/>
                  <a:pt x="173" y="66"/>
                  <a:pt x="173" y="66"/>
                </a:cubicBezTo>
                <a:cubicBezTo>
                  <a:pt x="171" y="66"/>
                  <a:pt x="171" y="66"/>
                  <a:pt x="171" y="66"/>
                </a:cubicBezTo>
                <a:cubicBezTo>
                  <a:pt x="171" y="66"/>
                  <a:pt x="171" y="66"/>
                  <a:pt x="171" y="66"/>
                </a:cubicBezTo>
                <a:cubicBezTo>
                  <a:pt x="170" y="66"/>
                  <a:pt x="170" y="66"/>
                  <a:pt x="170" y="66"/>
                </a:cubicBezTo>
                <a:cubicBezTo>
                  <a:pt x="168" y="67"/>
                  <a:pt x="168" y="67"/>
                  <a:pt x="168" y="67"/>
                </a:cubicBezTo>
                <a:cubicBezTo>
                  <a:pt x="168" y="68"/>
                  <a:pt x="168" y="68"/>
                  <a:pt x="168" y="68"/>
                </a:cubicBezTo>
                <a:cubicBezTo>
                  <a:pt x="167" y="68"/>
                  <a:pt x="167" y="68"/>
                  <a:pt x="167" y="68"/>
                </a:cubicBezTo>
                <a:cubicBezTo>
                  <a:pt x="166" y="69"/>
                  <a:pt x="166" y="69"/>
                  <a:pt x="166" y="69"/>
                </a:cubicBezTo>
                <a:cubicBezTo>
                  <a:pt x="164" y="70"/>
                  <a:pt x="164" y="70"/>
                  <a:pt x="164" y="70"/>
                </a:cubicBezTo>
                <a:cubicBezTo>
                  <a:pt x="163" y="70"/>
                  <a:pt x="163" y="70"/>
                  <a:pt x="163" y="70"/>
                </a:cubicBezTo>
                <a:cubicBezTo>
                  <a:pt x="164" y="69"/>
                  <a:pt x="164" y="69"/>
                  <a:pt x="164" y="69"/>
                </a:cubicBezTo>
                <a:cubicBezTo>
                  <a:pt x="164" y="69"/>
                  <a:pt x="164" y="69"/>
                  <a:pt x="164" y="69"/>
                </a:cubicBezTo>
                <a:cubicBezTo>
                  <a:pt x="163" y="69"/>
                  <a:pt x="163" y="69"/>
                  <a:pt x="163" y="69"/>
                </a:cubicBezTo>
                <a:cubicBezTo>
                  <a:pt x="162" y="70"/>
                  <a:pt x="162" y="70"/>
                  <a:pt x="162" y="70"/>
                </a:cubicBezTo>
                <a:cubicBezTo>
                  <a:pt x="162" y="71"/>
                  <a:pt x="162" y="71"/>
                  <a:pt x="162" y="71"/>
                </a:cubicBezTo>
                <a:cubicBezTo>
                  <a:pt x="164" y="73"/>
                  <a:pt x="164" y="73"/>
                  <a:pt x="164" y="73"/>
                </a:cubicBezTo>
                <a:cubicBezTo>
                  <a:pt x="165" y="76"/>
                  <a:pt x="165" y="76"/>
                  <a:pt x="165" y="76"/>
                </a:cubicBezTo>
                <a:cubicBezTo>
                  <a:pt x="167" y="76"/>
                  <a:pt x="167" y="76"/>
                  <a:pt x="167" y="76"/>
                </a:cubicBezTo>
                <a:cubicBezTo>
                  <a:pt x="168" y="78"/>
                  <a:pt x="168" y="78"/>
                  <a:pt x="168" y="78"/>
                </a:cubicBezTo>
                <a:cubicBezTo>
                  <a:pt x="170" y="79"/>
                  <a:pt x="170" y="79"/>
                  <a:pt x="170" y="79"/>
                </a:cubicBezTo>
                <a:cubicBezTo>
                  <a:pt x="170" y="80"/>
                  <a:pt x="170" y="80"/>
                  <a:pt x="170" y="80"/>
                </a:cubicBezTo>
                <a:cubicBezTo>
                  <a:pt x="172" y="80"/>
                  <a:pt x="172" y="80"/>
                  <a:pt x="172" y="80"/>
                </a:cubicBezTo>
                <a:cubicBezTo>
                  <a:pt x="173" y="81"/>
                  <a:pt x="173" y="81"/>
                  <a:pt x="173" y="81"/>
                </a:cubicBezTo>
                <a:cubicBezTo>
                  <a:pt x="173" y="82"/>
                  <a:pt x="173" y="82"/>
                  <a:pt x="173" y="82"/>
                </a:cubicBezTo>
                <a:cubicBezTo>
                  <a:pt x="170" y="82"/>
                  <a:pt x="170" y="82"/>
                  <a:pt x="170" y="82"/>
                </a:cubicBezTo>
                <a:cubicBezTo>
                  <a:pt x="170" y="80"/>
                  <a:pt x="170" y="80"/>
                  <a:pt x="170" y="80"/>
                </a:cubicBezTo>
                <a:cubicBezTo>
                  <a:pt x="169" y="79"/>
                  <a:pt x="169" y="79"/>
                  <a:pt x="169" y="79"/>
                </a:cubicBezTo>
                <a:cubicBezTo>
                  <a:pt x="168" y="79"/>
                  <a:pt x="168" y="79"/>
                  <a:pt x="168" y="79"/>
                </a:cubicBezTo>
                <a:cubicBezTo>
                  <a:pt x="167" y="79"/>
                  <a:pt x="167" y="79"/>
                  <a:pt x="167" y="79"/>
                </a:cubicBezTo>
                <a:cubicBezTo>
                  <a:pt x="166" y="80"/>
                  <a:pt x="166" y="80"/>
                  <a:pt x="166" y="80"/>
                </a:cubicBezTo>
                <a:cubicBezTo>
                  <a:pt x="165" y="80"/>
                  <a:pt x="165" y="80"/>
                  <a:pt x="165" y="80"/>
                </a:cubicBezTo>
                <a:cubicBezTo>
                  <a:pt x="164" y="79"/>
                  <a:pt x="164" y="79"/>
                  <a:pt x="164" y="79"/>
                </a:cubicBezTo>
                <a:cubicBezTo>
                  <a:pt x="165" y="78"/>
                  <a:pt x="165" y="78"/>
                  <a:pt x="165" y="78"/>
                </a:cubicBezTo>
                <a:cubicBezTo>
                  <a:pt x="165" y="77"/>
                  <a:pt x="165" y="77"/>
                  <a:pt x="165" y="77"/>
                </a:cubicBezTo>
                <a:cubicBezTo>
                  <a:pt x="164" y="77"/>
                  <a:pt x="164" y="77"/>
                  <a:pt x="164" y="77"/>
                </a:cubicBezTo>
                <a:cubicBezTo>
                  <a:pt x="163" y="79"/>
                  <a:pt x="163" y="79"/>
                  <a:pt x="163" y="79"/>
                </a:cubicBezTo>
                <a:cubicBezTo>
                  <a:pt x="164" y="81"/>
                  <a:pt x="164" y="81"/>
                  <a:pt x="164" y="81"/>
                </a:cubicBezTo>
                <a:cubicBezTo>
                  <a:pt x="164" y="82"/>
                  <a:pt x="164" y="82"/>
                  <a:pt x="164" y="82"/>
                </a:cubicBezTo>
                <a:cubicBezTo>
                  <a:pt x="164" y="83"/>
                  <a:pt x="164" y="83"/>
                  <a:pt x="164" y="83"/>
                </a:cubicBezTo>
                <a:cubicBezTo>
                  <a:pt x="163" y="84"/>
                  <a:pt x="163" y="84"/>
                  <a:pt x="163" y="84"/>
                </a:cubicBezTo>
                <a:cubicBezTo>
                  <a:pt x="162" y="85"/>
                  <a:pt x="162" y="85"/>
                  <a:pt x="162" y="85"/>
                </a:cubicBezTo>
                <a:cubicBezTo>
                  <a:pt x="161" y="87"/>
                  <a:pt x="161" y="87"/>
                  <a:pt x="161" y="87"/>
                </a:cubicBezTo>
                <a:cubicBezTo>
                  <a:pt x="162" y="89"/>
                  <a:pt x="162" y="89"/>
                  <a:pt x="162" y="89"/>
                </a:cubicBezTo>
                <a:cubicBezTo>
                  <a:pt x="164" y="91"/>
                  <a:pt x="164" y="91"/>
                  <a:pt x="164" y="91"/>
                </a:cubicBezTo>
                <a:cubicBezTo>
                  <a:pt x="166" y="92"/>
                  <a:pt x="166" y="92"/>
                  <a:pt x="166" y="92"/>
                </a:cubicBezTo>
                <a:cubicBezTo>
                  <a:pt x="167" y="94"/>
                  <a:pt x="167" y="94"/>
                  <a:pt x="167" y="94"/>
                </a:cubicBezTo>
                <a:cubicBezTo>
                  <a:pt x="168" y="94"/>
                  <a:pt x="168" y="94"/>
                  <a:pt x="168" y="94"/>
                </a:cubicBezTo>
                <a:cubicBezTo>
                  <a:pt x="170" y="93"/>
                  <a:pt x="170" y="93"/>
                  <a:pt x="170" y="93"/>
                </a:cubicBezTo>
                <a:cubicBezTo>
                  <a:pt x="171" y="92"/>
                  <a:pt x="171" y="92"/>
                  <a:pt x="171" y="92"/>
                </a:cubicBezTo>
                <a:cubicBezTo>
                  <a:pt x="173" y="93"/>
                  <a:pt x="173" y="93"/>
                  <a:pt x="173" y="93"/>
                </a:cubicBezTo>
                <a:cubicBezTo>
                  <a:pt x="176" y="93"/>
                  <a:pt x="176" y="93"/>
                  <a:pt x="176" y="93"/>
                </a:cubicBezTo>
                <a:cubicBezTo>
                  <a:pt x="177" y="94"/>
                  <a:pt x="177" y="94"/>
                  <a:pt x="177" y="94"/>
                </a:cubicBezTo>
                <a:cubicBezTo>
                  <a:pt x="177" y="95"/>
                  <a:pt x="177" y="95"/>
                  <a:pt x="177" y="95"/>
                </a:cubicBezTo>
                <a:cubicBezTo>
                  <a:pt x="178" y="96"/>
                  <a:pt x="178" y="96"/>
                  <a:pt x="178" y="96"/>
                </a:cubicBezTo>
                <a:cubicBezTo>
                  <a:pt x="178" y="95"/>
                  <a:pt x="178" y="95"/>
                  <a:pt x="178" y="95"/>
                </a:cubicBezTo>
                <a:cubicBezTo>
                  <a:pt x="178" y="93"/>
                  <a:pt x="178" y="93"/>
                  <a:pt x="178" y="93"/>
                </a:cubicBezTo>
                <a:cubicBezTo>
                  <a:pt x="179" y="93"/>
                  <a:pt x="179" y="93"/>
                  <a:pt x="179" y="93"/>
                </a:cubicBezTo>
                <a:cubicBezTo>
                  <a:pt x="180" y="93"/>
                  <a:pt x="180" y="93"/>
                  <a:pt x="180" y="93"/>
                </a:cubicBezTo>
                <a:cubicBezTo>
                  <a:pt x="180" y="94"/>
                  <a:pt x="180" y="94"/>
                  <a:pt x="180" y="94"/>
                </a:cubicBezTo>
                <a:cubicBezTo>
                  <a:pt x="179" y="95"/>
                  <a:pt x="179" y="95"/>
                  <a:pt x="179" y="95"/>
                </a:cubicBezTo>
                <a:cubicBezTo>
                  <a:pt x="179" y="97"/>
                  <a:pt x="179" y="97"/>
                  <a:pt x="179" y="97"/>
                </a:cubicBezTo>
                <a:cubicBezTo>
                  <a:pt x="179" y="97"/>
                  <a:pt x="179" y="97"/>
                  <a:pt x="179" y="97"/>
                </a:cubicBezTo>
                <a:cubicBezTo>
                  <a:pt x="181" y="95"/>
                  <a:pt x="181" y="95"/>
                  <a:pt x="181" y="95"/>
                </a:cubicBezTo>
                <a:cubicBezTo>
                  <a:pt x="181" y="95"/>
                  <a:pt x="181" y="95"/>
                  <a:pt x="181" y="95"/>
                </a:cubicBezTo>
                <a:cubicBezTo>
                  <a:pt x="183" y="94"/>
                  <a:pt x="183" y="94"/>
                  <a:pt x="183" y="94"/>
                </a:cubicBezTo>
                <a:cubicBezTo>
                  <a:pt x="186" y="93"/>
                  <a:pt x="186" y="93"/>
                  <a:pt x="186" y="93"/>
                </a:cubicBezTo>
                <a:cubicBezTo>
                  <a:pt x="188" y="92"/>
                  <a:pt x="188" y="92"/>
                  <a:pt x="188" y="92"/>
                </a:cubicBezTo>
                <a:cubicBezTo>
                  <a:pt x="189" y="91"/>
                  <a:pt x="189" y="91"/>
                  <a:pt x="189" y="91"/>
                </a:cubicBezTo>
                <a:cubicBezTo>
                  <a:pt x="189" y="91"/>
                  <a:pt x="189" y="91"/>
                  <a:pt x="189" y="91"/>
                </a:cubicBezTo>
                <a:cubicBezTo>
                  <a:pt x="189" y="92"/>
                  <a:pt x="189" y="92"/>
                  <a:pt x="189" y="92"/>
                </a:cubicBezTo>
                <a:cubicBezTo>
                  <a:pt x="190" y="92"/>
                  <a:pt x="190" y="92"/>
                  <a:pt x="190" y="92"/>
                </a:cubicBezTo>
                <a:cubicBezTo>
                  <a:pt x="192" y="91"/>
                  <a:pt x="192" y="91"/>
                  <a:pt x="192" y="91"/>
                </a:cubicBezTo>
                <a:cubicBezTo>
                  <a:pt x="194" y="91"/>
                  <a:pt x="194" y="91"/>
                  <a:pt x="194" y="91"/>
                </a:cubicBezTo>
                <a:cubicBezTo>
                  <a:pt x="194" y="90"/>
                  <a:pt x="194" y="90"/>
                  <a:pt x="194" y="90"/>
                </a:cubicBezTo>
                <a:cubicBezTo>
                  <a:pt x="194" y="91"/>
                  <a:pt x="194" y="91"/>
                  <a:pt x="194" y="91"/>
                </a:cubicBezTo>
                <a:cubicBezTo>
                  <a:pt x="192" y="92"/>
                  <a:pt x="192" y="92"/>
                  <a:pt x="192" y="92"/>
                </a:cubicBezTo>
                <a:cubicBezTo>
                  <a:pt x="193" y="93"/>
                  <a:pt x="193" y="93"/>
                  <a:pt x="193" y="93"/>
                </a:cubicBezTo>
                <a:cubicBezTo>
                  <a:pt x="193" y="93"/>
                  <a:pt x="193" y="93"/>
                  <a:pt x="193" y="93"/>
                </a:cubicBezTo>
                <a:cubicBezTo>
                  <a:pt x="192" y="95"/>
                  <a:pt x="192" y="95"/>
                  <a:pt x="192" y="95"/>
                </a:cubicBezTo>
                <a:cubicBezTo>
                  <a:pt x="190" y="95"/>
                  <a:pt x="190" y="95"/>
                  <a:pt x="190" y="95"/>
                </a:cubicBezTo>
                <a:cubicBezTo>
                  <a:pt x="190" y="95"/>
                  <a:pt x="190" y="95"/>
                  <a:pt x="190" y="95"/>
                </a:cubicBezTo>
                <a:cubicBezTo>
                  <a:pt x="189" y="95"/>
                  <a:pt x="189" y="95"/>
                  <a:pt x="189" y="95"/>
                </a:cubicBezTo>
                <a:cubicBezTo>
                  <a:pt x="187" y="96"/>
                  <a:pt x="187" y="96"/>
                  <a:pt x="187" y="96"/>
                </a:cubicBezTo>
                <a:cubicBezTo>
                  <a:pt x="187" y="96"/>
                  <a:pt x="187" y="96"/>
                  <a:pt x="187" y="96"/>
                </a:cubicBezTo>
                <a:cubicBezTo>
                  <a:pt x="189" y="96"/>
                  <a:pt x="189" y="96"/>
                  <a:pt x="189" y="96"/>
                </a:cubicBezTo>
                <a:cubicBezTo>
                  <a:pt x="190" y="97"/>
                  <a:pt x="190" y="97"/>
                  <a:pt x="190" y="97"/>
                </a:cubicBezTo>
                <a:cubicBezTo>
                  <a:pt x="189" y="99"/>
                  <a:pt x="189" y="99"/>
                  <a:pt x="189" y="99"/>
                </a:cubicBezTo>
                <a:cubicBezTo>
                  <a:pt x="187" y="101"/>
                  <a:pt x="187" y="101"/>
                  <a:pt x="187" y="101"/>
                </a:cubicBezTo>
                <a:cubicBezTo>
                  <a:pt x="187" y="103"/>
                  <a:pt x="187" y="103"/>
                  <a:pt x="187" y="103"/>
                </a:cubicBezTo>
                <a:cubicBezTo>
                  <a:pt x="186" y="104"/>
                  <a:pt x="186" y="104"/>
                  <a:pt x="186" y="104"/>
                </a:cubicBezTo>
                <a:cubicBezTo>
                  <a:pt x="186" y="104"/>
                  <a:pt x="186" y="104"/>
                  <a:pt x="186" y="104"/>
                </a:cubicBezTo>
                <a:cubicBezTo>
                  <a:pt x="186" y="105"/>
                  <a:pt x="186" y="105"/>
                  <a:pt x="186" y="105"/>
                </a:cubicBezTo>
                <a:cubicBezTo>
                  <a:pt x="187" y="106"/>
                  <a:pt x="187" y="106"/>
                  <a:pt x="187" y="106"/>
                </a:cubicBezTo>
                <a:cubicBezTo>
                  <a:pt x="186" y="107"/>
                  <a:pt x="186" y="107"/>
                  <a:pt x="186" y="107"/>
                </a:cubicBezTo>
                <a:cubicBezTo>
                  <a:pt x="185" y="109"/>
                  <a:pt x="185" y="109"/>
                  <a:pt x="185" y="109"/>
                </a:cubicBezTo>
                <a:cubicBezTo>
                  <a:pt x="184" y="110"/>
                  <a:pt x="184" y="110"/>
                  <a:pt x="184" y="110"/>
                </a:cubicBezTo>
                <a:cubicBezTo>
                  <a:pt x="183" y="109"/>
                  <a:pt x="183" y="109"/>
                  <a:pt x="183" y="109"/>
                </a:cubicBezTo>
                <a:cubicBezTo>
                  <a:pt x="182" y="110"/>
                  <a:pt x="182" y="110"/>
                  <a:pt x="182" y="110"/>
                </a:cubicBezTo>
                <a:cubicBezTo>
                  <a:pt x="181" y="111"/>
                  <a:pt x="181" y="111"/>
                  <a:pt x="181" y="111"/>
                </a:cubicBezTo>
                <a:cubicBezTo>
                  <a:pt x="180" y="111"/>
                  <a:pt x="180" y="111"/>
                  <a:pt x="180" y="111"/>
                </a:cubicBezTo>
                <a:cubicBezTo>
                  <a:pt x="178" y="111"/>
                  <a:pt x="178" y="111"/>
                  <a:pt x="178" y="111"/>
                </a:cubicBezTo>
                <a:cubicBezTo>
                  <a:pt x="177" y="110"/>
                  <a:pt x="177" y="110"/>
                  <a:pt x="177" y="110"/>
                </a:cubicBezTo>
                <a:cubicBezTo>
                  <a:pt x="176" y="110"/>
                  <a:pt x="176" y="110"/>
                  <a:pt x="176" y="110"/>
                </a:cubicBezTo>
                <a:cubicBezTo>
                  <a:pt x="176" y="110"/>
                  <a:pt x="176" y="110"/>
                  <a:pt x="176" y="110"/>
                </a:cubicBezTo>
                <a:cubicBezTo>
                  <a:pt x="175" y="109"/>
                  <a:pt x="175" y="109"/>
                  <a:pt x="175" y="109"/>
                </a:cubicBezTo>
                <a:cubicBezTo>
                  <a:pt x="174" y="109"/>
                  <a:pt x="174" y="109"/>
                  <a:pt x="174" y="109"/>
                </a:cubicBezTo>
                <a:cubicBezTo>
                  <a:pt x="173" y="110"/>
                  <a:pt x="173" y="110"/>
                  <a:pt x="173" y="110"/>
                </a:cubicBezTo>
                <a:cubicBezTo>
                  <a:pt x="172" y="111"/>
                  <a:pt x="172" y="111"/>
                  <a:pt x="172" y="111"/>
                </a:cubicBezTo>
                <a:cubicBezTo>
                  <a:pt x="171" y="113"/>
                  <a:pt x="171" y="113"/>
                  <a:pt x="171" y="113"/>
                </a:cubicBezTo>
                <a:cubicBezTo>
                  <a:pt x="168" y="113"/>
                  <a:pt x="168" y="113"/>
                  <a:pt x="168" y="113"/>
                </a:cubicBezTo>
                <a:cubicBezTo>
                  <a:pt x="167" y="114"/>
                  <a:pt x="167" y="114"/>
                  <a:pt x="167" y="114"/>
                </a:cubicBezTo>
                <a:cubicBezTo>
                  <a:pt x="166" y="114"/>
                  <a:pt x="166" y="114"/>
                  <a:pt x="166" y="114"/>
                </a:cubicBezTo>
                <a:cubicBezTo>
                  <a:pt x="165" y="114"/>
                  <a:pt x="165" y="114"/>
                  <a:pt x="165" y="114"/>
                </a:cubicBezTo>
                <a:cubicBezTo>
                  <a:pt x="163" y="114"/>
                  <a:pt x="163" y="114"/>
                  <a:pt x="163" y="114"/>
                </a:cubicBezTo>
                <a:cubicBezTo>
                  <a:pt x="162" y="115"/>
                  <a:pt x="162" y="115"/>
                  <a:pt x="162" y="115"/>
                </a:cubicBezTo>
                <a:cubicBezTo>
                  <a:pt x="160" y="115"/>
                  <a:pt x="160" y="115"/>
                  <a:pt x="160" y="115"/>
                </a:cubicBezTo>
                <a:cubicBezTo>
                  <a:pt x="159" y="116"/>
                  <a:pt x="159" y="116"/>
                  <a:pt x="159" y="116"/>
                </a:cubicBezTo>
                <a:cubicBezTo>
                  <a:pt x="159" y="117"/>
                  <a:pt x="159" y="117"/>
                  <a:pt x="159" y="117"/>
                </a:cubicBezTo>
                <a:cubicBezTo>
                  <a:pt x="158" y="119"/>
                  <a:pt x="158" y="119"/>
                  <a:pt x="158" y="119"/>
                </a:cubicBezTo>
                <a:cubicBezTo>
                  <a:pt x="158" y="120"/>
                  <a:pt x="158" y="120"/>
                  <a:pt x="158" y="120"/>
                </a:cubicBezTo>
                <a:cubicBezTo>
                  <a:pt x="157" y="120"/>
                  <a:pt x="157" y="120"/>
                  <a:pt x="157" y="120"/>
                </a:cubicBezTo>
                <a:cubicBezTo>
                  <a:pt x="156" y="118"/>
                  <a:pt x="156" y="118"/>
                  <a:pt x="156" y="118"/>
                </a:cubicBezTo>
                <a:cubicBezTo>
                  <a:pt x="154" y="118"/>
                  <a:pt x="154" y="118"/>
                  <a:pt x="154" y="118"/>
                </a:cubicBezTo>
                <a:cubicBezTo>
                  <a:pt x="153" y="118"/>
                  <a:pt x="153" y="118"/>
                  <a:pt x="153" y="118"/>
                </a:cubicBezTo>
                <a:cubicBezTo>
                  <a:pt x="154" y="119"/>
                  <a:pt x="154" y="119"/>
                  <a:pt x="154" y="119"/>
                </a:cubicBezTo>
                <a:cubicBezTo>
                  <a:pt x="154" y="120"/>
                  <a:pt x="154" y="120"/>
                  <a:pt x="154" y="120"/>
                </a:cubicBezTo>
                <a:cubicBezTo>
                  <a:pt x="154" y="121"/>
                  <a:pt x="154" y="121"/>
                  <a:pt x="154" y="121"/>
                </a:cubicBezTo>
                <a:cubicBezTo>
                  <a:pt x="153" y="121"/>
                  <a:pt x="153" y="121"/>
                  <a:pt x="153" y="121"/>
                </a:cubicBezTo>
                <a:cubicBezTo>
                  <a:pt x="153" y="120"/>
                  <a:pt x="153" y="120"/>
                  <a:pt x="153" y="120"/>
                </a:cubicBezTo>
                <a:cubicBezTo>
                  <a:pt x="152" y="118"/>
                  <a:pt x="152" y="118"/>
                  <a:pt x="152" y="118"/>
                </a:cubicBezTo>
                <a:cubicBezTo>
                  <a:pt x="151" y="119"/>
                  <a:pt x="151" y="119"/>
                  <a:pt x="151" y="119"/>
                </a:cubicBezTo>
                <a:cubicBezTo>
                  <a:pt x="149" y="120"/>
                  <a:pt x="149" y="120"/>
                  <a:pt x="149" y="120"/>
                </a:cubicBezTo>
                <a:cubicBezTo>
                  <a:pt x="149" y="122"/>
                  <a:pt x="149" y="122"/>
                  <a:pt x="149" y="122"/>
                </a:cubicBezTo>
                <a:cubicBezTo>
                  <a:pt x="148" y="122"/>
                  <a:pt x="148" y="122"/>
                  <a:pt x="148" y="122"/>
                </a:cubicBezTo>
                <a:cubicBezTo>
                  <a:pt x="147" y="122"/>
                  <a:pt x="147" y="122"/>
                  <a:pt x="147" y="122"/>
                </a:cubicBezTo>
                <a:cubicBezTo>
                  <a:pt x="144" y="125"/>
                  <a:pt x="144" y="125"/>
                  <a:pt x="144" y="125"/>
                </a:cubicBezTo>
                <a:cubicBezTo>
                  <a:pt x="144" y="127"/>
                  <a:pt x="144" y="127"/>
                  <a:pt x="144" y="127"/>
                </a:cubicBezTo>
                <a:cubicBezTo>
                  <a:pt x="143" y="127"/>
                  <a:pt x="143" y="127"/>
                  <a:pt x="143" y="127"/>
                </a:cubicBezTo>
                <a:cubicBezTo>
                  <a:pt x="142" y="127"/>
                  <a:pt x="142" y="127"/>
                  <a:pt x="142" y="127"/>
                </a:cubicBezTo>
                <a:cubicBezTo>
                  <a:pt x="141" y="127"/>
                  <a:pt x="141" y="127"/>
                  <a:pt x="141" y="127"/>
                </a:cubicBezTo>
                <a:cubicBezTo>
                  <a:pt x="140" y="127"/>
                  <a:pt x="140" y="127"/>
                  <a:pt x="140" y="127"/>
                </a:cubicBezTo>
                <a:cubicBezTo>
                  <a:pt x="142" y="129"/>
                  <a:pt x="142" y="129"/>
                  <a:pt x="142" y="129"/>
                </a:cubicBezTo>
                <a:cubicBezTo>
                  <a:pt x="141" y="130"/>
                  <a:pt x="141" y="130"/>
                  <a:pt x="141" y="130"/>
                </a:cubicBezTo>
                <a:cubicBezTo>
                  <a:pt x="141" y="130"/>
                  <a:pt x="141" y="130"/>
                  <a:pt x="141" y="130"/>
                </a:cubicBezTo>
                <a:cubicBezTo>
                  <a:pt x="140" y="129"/>
                  <a:pt x="140" y="129"/>
                  <a:pt x="140" y="129"/>
                </a:cubicBezTo>
                <a:cubicBezTo>
                  <a:pt x="139" y="129"/>
                  <a:pt x="139" y="129"/>
                  <a:pt x="139" y="129"/>
                </a:cubicBezTo>
                <a:cubicBezTo>
                  <a:pt x="139" y="130"/>
                  <a:pt x="139" y="130"/>
                  <a:pt x="139" y="130"/>
                </a:cubicBezTo>
                <a:cubicBezTo>
                  <a:pt x="137" y="132"/>
                  <a:pt x="137" y="132"/>
                  <a:pt x="137" y="132"/>
                </a:cubicBezTo>
                <a:cubicBezTo>
                  <a:pt x="137" y="132"/>
                  <a:pt x="137" y="132"/>
                  <a:pt x="137" y="132"/>
                </a:cubicBezTo>
                <a:cubicBezTo>
                  <a:pt x="138" y="134"/>
                  <a:pt x="138" y="134"/>
                  <a:pt x="138" y="134"/>
                </a:cubicBezTo>
                <a:cubicBezTo>
                  <a:pt x="139" y="136"/>
                  <a:pt x="139" y="136"/>
                  <a:pt x="139" y="136"/>
                </a:cubicBezTo>
                <a:cubicBezTo>
                  <a:pt x="138" y="137"/>
                  <a:pt x="138" y="137"/>
                  <a:pt x="138" y="137"/>
                </a:cubicBezTo>
                <a:cubicBezTo>
                  <a:pt x="138" y="138"/>
                  <a:pt x="138" y="138"/>
                  <a:pt x="138" y="138"/>
                </a:cubicBezTo>
                <a:cubicBezTo>
                  <a:pt x="138" y="139"/>
                  <a:pt x="138" y="139"/>
                  <a:pt x="138" y="139"/>
                </a:cubicBezTo>
                <a:cubicBezTo>
                  <a:pt x="139" y="139"/>
                  <a:pt x="139" y="139"/>
                  <a:pt x="139" y="139"/>
                </a:cubicBezTo>
                <a:cubicBezTo>
                  <a:pt x="140" y="138"/>
                  <a:pt x="140" y="138"/>
                  <a:pt x="140" y="138"/>
                </a:cubicBezTo>
                <a:cubicBezTo>
                  <a:pt x="140" y="138"/>
                  <a:pt x="140" y="138"/>
                  <a:pt x="140" y="138"/>
                </a:cubicBezTo>
                <a:cubicBezTo>
                  <a:pt x="140" y="140"/>
                  <a:pt x="140" y="140"/>
                  <a:pt x="140" y="140"/>
                </a:cubicBezTo>
                <a:cubicBezTo>
                  <a:pt x="139" y="140"/>
                  <a:pt x="139" y="140"/>
                  <a:pt x="139" y="140"/>
                </a:cubicBezTo>
                <a:cubicBezTo>
                  <a:pt x="139" y="141"/>
                  <a:pt x="139" y="141"/>
                  <a:pt x="139" y="141"/>
                </a:cubicBezTo>
                <a:cubicBezTo>
                  <a:pt x="139" y="141"/>
                  <a:pt x="139" y="141"/>
                  <a:pt x="139" y="141"/>
                </a:cubicBezTo>
                <a:cubicBezTo>
                  <a:pt x="140" y="141"/>
                  <a:pt x="140" y="141"/>
                  <a:pt x="140" y="141"/>
                </a:cubicBezTo>
                <a:cubicBezTo>
                  <a:pt x="141" y="141"/>
                  <a:pt x="141" y="141"/>
                  <a:pt x="141" y="141"/>
                </a:cubicBezTo>
                <a:cubicBezTo>
                  <a:pt x="142" y="141"/>
                  <a:pt x="142" y="141"/>
                  <a:pt x="142" y="141"/>
                </a:cubicBezTo>
                <a:cubicBezTo>
                  <a:pt x="142" y="141"/>
                  <a:pt x="142" y="141"/>
                  <a:pt x="142" y="141"/>
                </a:cubicBezTo>
                <a:cubicBezTo>
                  <a:pt x="142" y="142"/>
                  <a:pt x="142" y="142"/>
                  <a:pt x="142" y="142"/>
                </a:cubicBezTo>
                <a:cubicBezTo>
                  <a:pt x="143" y="142"/>
                  <a:pt x="143" y="142"/>
                  <a:pt x="143" y="142"/>
                </a:cubicBezTo>
                <a:cubicBezTo>
                  <a:pt x="144" y="143"/>
                  <a:pt x="144" y="143"/>
                  <a:pt x="144" y="143"/>
                </a:cubicBezTo>
                <a:cubicBezTo>
                  <a:pt x="146" y="143"/>
                  <a:pt x="146" y="143"/>
                  <a:pt x="146" y="143"/>
                </a:cubicBezTo>
                <a:cubicBezTo>
                  <a:pt x="147" y="142"/>
                  <a:pt x="147" y="142"/>
                  <a:pt x="147" y="142"/>
                </a:cubicBezTo>
                <a:cubicBezTo>
                  <a:pt x="147" y="140"/>
                  <a:pt x="147" y="140"/>
                  <a:pt x="147" y="140"/>
                </a:cubicBezTo>
                <a:cubicBezTo>
                  <a:pt x="148" y="139"/>
                  <a:pt x="148" y="139"/>
                  <a:pt x="148" y="139"/>
                </a:cubicBezTo>
                <a:cubicBezTo>
                  <a:pt x="150" y="139"/>
                  <a:pt x="150" y="139"/>
                  <a:pt x="150" y="139"/>
                </a:cubicBezTo>
                <a:cubicBezTo>
                  <a:pt x="151" y="138"/>
                  <a:pt x="151" y="138"/>
                  <a:pt x="151" y="138"/>
                </a:cubicBezTo>
                <a:cubicBezTo>
                  <a:pt x="150" y="139"/>
                  <a:pt x="150" y="139"/>
                  <a:pt x="150" y="139"/>
                </a:cubicBezTo>
                <a:cubicBezTo>
                  <a:pt x="149" y="139"/>
                  <a:pt x="149" y="139"/>
                  <a:pt x="149" y="139"/>
                </a:cubicBezTo>
                <a:cubicBezTo>
                  <a:pt x="147" y="141"/>
                  <a:pt x="147" y="141"/>
                  <a:pt x="147" y="141"/>
                </a:cubicBezTo>
                <a:cubicBezTo>
                  <a:pt x="147" y="143"/>
                  <a:pt x="147" y="143"/>
                  <a:pt x="147" y="143"/>
                </a:cubicBezTo>
                <a:cubicBezTo>
                  <a:pt x="146" y="143"/>
                  <a:pt x="146" y="143"/>
                  <a:pt x="146" y="143"/>
                </a:cubicBezTo>
                <a:cubicBezTo>
                  <a:pt x="147" y="145"/>
                  <a:pt x="147" y="145"/>
                  <a:pt x="147" y="145"/>
                </a:cubicBezTo>
                <a:cubicBezTo>
                  <a:pt x="147" y="146"/>
                  <a:pt x="147" y="146"/>
                  <a:pt x="147" y="146"/>
                </a:cubicBezTo>
                <a:cubicBezTo>
                  <a:pt x="146" y="146"/>
                  <a:pt x="146" y="146"/>
                  <a:pt x="146" y="146"/>
                </a:cubicBezTo>
                <a:cubicBezTo>
                  <a:pt x="145" y="145"/>
                  <a:pt x="145" y="145"/>
                  <a:pt x="145" y="145"/>
                </a:cubicBezTo>
                <a:cubicBezTo>
                  <a:pt x="145" y="145"/>
                  <a:pt x="145" y="145"/>
                  <a:pt x="145" y="145"/>
                </a:cubicBezTo>
                <a:cubicBezTo>
                  <a:pt x="145" y="144"/>
                  <a:pt x="145" y="144"/>
                  <a:pt x="145" y="144"/>
                </a:cubicBezTo>
                <a:cubicBezTo>
                  <a:pt x="144" y="144"/>
                  <a:pt x="144" y="144"/>
                  <a:pt x="144" y="144"/>
                </a:cubicBezTo>
                <a:cubicBezTo>
                  <a:pt x="143" y="143"/>
                  <a:pt x="143" y="143"/>
                  <a:pt x="143" y="143"/>
                </a:cubicBezTo>
                <a:cubicBezTo>
                  <a:pt x="141" y="143"/>
                  <a:pt x="141" y="143"/>
                  <a:pt x="141" y="143"/>
                </a:cubicBezTo>
                <a:cubicBezTo>
                  <a:pt x="141" y="142"/>
                  <a:pt x="141" y="142"/>
                  <a:pt x="141" y="142"/>
                </a:cubicBezTo>
                <a:cubicBezTo>
                  <a:pt x="140" y="143"/>
                  <a:pt x="140" y="143"/>
                  <a:pt x="140" y="143"/>
                </a:cubicBezTo>
                <a:cubicBezTo>
                  <a:pt x="139" y="143"/>
                  <a:pt x="139" y="143"/>
                  <a:pt x="139" y="143"/>
                </a:cubicBezTo>
                <a:cubicBezTo>
                  <a:pt x="138" y="144"/>
                  <a:pt x="138" y="144"/>
                  <a:pt x="138" y="144"/>
                </a:cubicBezTo>
                <a:cubicBezTo>
                  <a:pt x="137" y="145"/>
                  <a:pt x="137" y="145"/>
                  <a:pt x="137" y="145"/>
                </a:cubicBezTo>
                <a:cubicBezTo>
                  <a:pt x="136" y="144"/>
                  <a:pt x="136" y="144"/>
                  <a:pt x="136" y="144"/>
                </a:cubicBezTo>
                <a:cubicBezTo>
                  <a:pt x="136" y="145"/>
                  <a:pt x="136" y="145"/>
                  <a:pt x="136" y="145"/>
                </a:cubicBezTo>
                <a:cubicBezTo>
                  <a:pt x="136" y="146"/>
                  <a:pt x="136" y="146"/>
                  <a:pt x="136" y="146"/>
                </a:cubicBezTo>
                <a:cubicBezTo>
                  <a:pt x="137" y="146"/>
                  <a:pt x="137" y="146"/>
                  <a:pt x="137" y="146"/>
                </a:cubicBezTo>
                <a:cubicBezTo>
                  <a:pt x="136" y="147"/>
                  <a:pt x="136" y="147"/>
                  <a:pt x="136" y="147"/>
                </a:cubicBezTo>
                <a:cubicBezTo>
                  <a:pt x="136" y="149"/>
                  <a:pt x="136" y="149"/>
                  <a:pt x="136" y="149"/>
                </a:cubicBezTo>
                <a:cubicBezTo>
                  <a:pt x="136" y="150"/>
                  <a:pt x="136" y="150"/>
                  <a:pt x="136" y="150"/>
                </a:cubicBezTo>
                <a:cubicBezTo>
                  <a:pt x="137" y="150"/>
                  <a:pt x="137" y="150"/>
                  <a:pt x="137" y="150"/>
                </a:cubicBezTo>
                <a:cubicBezTo>
                  <a:pt x="137" y="152"/>
                  <a:pt x="137" y="152"/>
                  <a:pt x="137" y="152"/>
                </a:cubicBezTo>
                <a:cubicBezTo>
                  <a:pt x="138" y="153"/>
                  <a:pt x="138" y="153"/>
                  <a:pt x="138" y="153"/>
                </a:cubicBezTo>
                <a:cubicBezTo>
                  <a:pt x="138" y="154"/>
                  <a:pt x="138" y="154"/>
                  <a:pt x="138" y="154"/>
                </a:cubicBezTo>
                <a:cubicBezTo>
                  <a:pt x="139" y="155"/>
                  <a:pt x="139" y="155"/>
                  <a:pt x="139" y="155"/>
                </a:cubicBezTo>
                <a:cubicBezTo>
                  <a:pt x="139" y="155"/>
                  <a:pt x="139" y="155"/>
                  <a:pt x="139" y="155"/>
                </a:cubicBezTo>
                <a:cubicBezTo>
                  <a:pt x="137" y="155"/>
                  <a:pt x="137" y="155"/>
                  <a:pt x="137" y="155"/>
                </a:cubicBezTo>
                <a:cubicBezTo>
                  <a:pt x="137" y="156"/>
                  <a:pt x="137" y="156"/>
                  <a:pt x="137" y="156"/>
                </a:cubicBezTo>
                <a:cubicBezTo>
                  <a:pt x="141" y="158"/>
                  <a:pt x="141" y="158"/>
                  <a:pt x="141" y="158"/>
                </a:cubicBezTo>
                <a:cubicBezTo>
                  <a:pt x="143" y="158"/>
                  <a:pt x="143" y="158"/>
                  <a:pt x="143" y="158"/>
                </a:cubicBezTo>
                <a:cubicBezTo>
                  <a:pt x="145" y="157"/>
                  <a:pt x="145" y="157"/>
                  <a:pt x="145" y="157"/>
                </a:cubicBezTo>
                <a:cubicBezTo>
                  <a:pt x="146" y="157"/>
                  <a:pt x="146" y="157"/>
                  <a:pt x="146" y="157"/>
                </a:cubicBezTo>
                <a:cubicBezTo>
                  <a:pt x="146" y="157"/>
                  <a:pt x="146" y="157"/>
                  <a:pt x="146" y="157"/>
                </a:cubicBezTo>
                <a:cubicBezTo>
                  <a:pt x="147" y="157"/>
                  <a:pt x="147" y="157"/>
                  <a:pt x="147" y="157"/>
                </a:cubicBezTo>
                <a:cubicBezTo>
                  <a:pt x="149" y="155"/>
                  <a:pt x="149" y="155"/>
                  <a:pt x="149" y="155"/>
                </a:cubicBezTo>
                <a:cubicBezTo>
                  <a:pt x="149" y="154"/>
                  <a:pt x="149" y="154"/>
                  <a:pt x="149" y="154"/>
                </a:cubicBezTo>
                <a:cubicBezTo>
                  <a:pt x="148" y="153"/>
                  <a:pt x="148" y="153"/>
                  <a:pt x="148" y="153"/>
                </a:cubicBezTo>
                <a:cubicBezTo>
                  <a:pt x="148" y="152"/>
                  <a:pt x="148" y="152"/>
                  <a:pt x="148" y="152"/>
                </a:cubicBezTo>
                <a:cubicBezTo>
                  <a:pt x="150" y="152"/>
                  <a:pt x="150" y="152"/>
                  <a:pt x="150" y="152"/>
                </a:cubicBezTo>
                <a:cubicBezTo>
                  <a:pt x="152" y="150"/>
                  <a:pt x="152" y="150"/>
                  <a:pt x="152" y="150"/>
                </a:cubicBezTo>
                <a:cubicBezTo>
                  <a:pt x="154" y="148"/>
                  <a:pt x="154" y="148"/>
                  <a:pt x="154" y="148"/>
                </a:cubicBezTo>
                <a:cubicBezTo>
                  <a:pt x="155" y="149"/>
                  <a:pt x="155" y="149"/>
                  <a:pt x="155" y="149"/>
                </a:cubicBezTo>
                <a:cubicBezTo>
                  <a:pt x="154" y="149"/>
                  <a:pt x="154" y="149"/>
                  <a:pt x="154" y="149"/>
                </a:cubicBezTo>
                <a:cubicBezTo>
                  <a:pt x="152" y="151"/>
                  <a:pt x="152" y="151"/>
                  <a:pt x="152" y="151"/>
                </a:cubicBezTo>
                <a:cubicBezTo>
                  <a:pt x="150" y="152"/>
                  <a:pt x="150" y="152"/>
                  <a:pt x="150" y="152"/>
                </a:cubicBezTo>
                <a:cubicBezTo>
                  <a:pt x="150" y="153"/>
                  <a:pt x="150" y="153"/>
                  <a:pt x="150" y="153"/>
                </a:cubicBezTo>
                <a:cubicBezTo>
                  <a:pt x="151" y="154"/>
                  <a:pt x="151" y="154"/>
                  <a:pt x="151" y="154"/>
                </a:cubicBezTo>
                <a:cubicBezTo>
                  <a:pt x="151" y="155"/>
                  <a:pt x="151" y="155"/>
                  <a:pt x="151" y="155"/>
                </a:cubicBezTo>
                <a:cubicBezTo>
                  <a:pt x="150" y="156"/>
                  <a:pt x="150" y="156"/>
                  <a:pt x="150" y="156"/>
                </a:cubicBezTo>
                <a:cubicBezTo>
                  <a:pt x="149" y="157"/>
                  <a:pt x="149" y="157"/>
                  <a:pt x="149" y="157"/>
                </a:cubicBezTo>
                <a:cubicBezTo>
                  <a:pt x="148" y="159"/>
                  <a:pt x="148" y="159"/>
                  <a:pt x="148" y="159"/>
                </a:cubicBezTo>
                <a:cubicBezTo>
                  <a:pt x="149" y="160"/>
                  <a:pt x="149" y="160"/>
                  <a:pt x="149" y="160"/>
                </a:cubicBezTo>
                <a:cubicBezTo>
                  <a:pt x="148" y="161"/>
                  <a:pt x="148" y="161"/>
                  <a:pt x="148" y="161"/>
                </a:cubicBezTo>
                <a:cubicBezTo>
                  <a:pt x="148" y="162"/>
                  <a:pt x="148" y="162"/>
                  <a:pt x="148" y="162"/>
                </a:cubicBezTo>
                <a:cubicBezTo>
                  <a:pt x="148" y="163"/>
                  <a:pt x="148" y="163"/>
                  <a:pt x="148" y="163"/>
                </a:cubicBezTo>
                <a:cubicBezTo>
                  <a:pt x="148" y="164"/>
                  <a:pt x="148" y="164"/>
                  <a:pt x="148" y="164"/>
                </a:cubicBezTo>
                <a:cubicBezTo>
                  <a:pt x="147" y="165"/>
                  <a:pt x="147" y="165"/>
                  <a:pt x="147" y="165"/>
                </a:cubicBezTo>
                <a:cubicBezTo>
                  <a:pt x="146" y="166"/>
                  <a:pt x="146" y="166"/>
                  <a:pt x="146" y="166"/>
                </a:cubicBezTo>
                <a:cubicBezTo>
                  <a:pt x="146" y="167"/>
                  <a:pt x="146" y="167"/>
                  <a:pt x="146" y="167"/>
                </a:cubicBezTo>
                <a:cubicBezTo>
                  <a:pt x="145" y="166"/>
                  <a:pt x="145" y="166"/>
                  <a:pt x="145" y="166"/>
                </a:cubicBezTo>
                <a:cubicBezTo>
                  <a:pt x="145" y="167"/>
                  <a:pt x="145" y="167"/>
                  <a:pt x="145" y="167"/>
                </a:cubicBezTo>
                <a:cubicBezTo>
                  <a:pt x="145" y="168"/>
                  <a:pt x="145" y="168"/>
                  <a:pt x="145" y="168"/>
                </a:cubicBezTo>
                <a:cubicBezTo>
                  <a:pt x="145" y="169"/>
                  <a:pt x="145" y="169"/>
                  <a:pt x="145" y="169"/>
                </a:cubicBezTo>
                <a:cubicBezTo>
                  <a:pt x="146" y="170"/>
                  <a:pt x="146" y="170"/>
                  <a:pt x="146" y="170"/>
                </a:cubicBezTo>
                <a:cubicBezTo>
                  <a:pt x="147" y="169"/>
                  <a:pt x="147" y="169"/>
                  <a:pt x="147" y="169"/>
                </a:cubicBezTo>
                <a:cubicBezTo>
                  <a:pt x="148" y="169"/>
                  <a:pt x="148" y="169"/>
                  <a:pt x="148" y="169"/>
                </a:cubicBezTo>
                <a:cubicBezTo>
                  <a:pt x="148" y="170"/>
                  <a:pt x="148" y="170"/>
                  <a:pt x="148" y="170"/>
                </a:cubicBezTo>
                <a:cubicBezTo>
                  <a:pt x="147" y="171"/>
                  <a:pt x="147" y="171"/>
                  <a:pt x="147" y="171"/>
                </a:cubicBezTo>
                <a:cubicBezTo>
                  <a:pt x="146" y="171"/>
                  <a:pt x="146" y="171"/>
                  <a:pt x="146" y="171"/>
                </a:cubicBezTo>
                <a:cubicBezTo>
                  <a:pt x="145" y="171"/>
                  <a:pt x="145" y="171"/>
                  <a:pt x="145" y="171"/>
                </a:cubicBezTo>
                <a:cubicBezTo>
                  <a:pt x="146" y="172"/>
                  <a:pt x="146" y="172"/>
                  <a:pt x="146" y="172"/>
                </a:cubicBezTo>
                <a:cubicBezTo>
                  <a:pt x="145" y="172"/>
                  <a:pt x="145" y="172"/>
                  <a:pt x="145" y="172"/>
                </a:cubicBezTo>
                <a:cubicBezTo>
                  <a:pt x="146" y="173"/>
                  <a:pt x="146" y="173"/>
                  <a:pt x="146" y="173"/>
                </a:cubicBezTo>
                <a:cubicBezTo>
                  <a:pt x="145" y="174"/>
                  <a:pt x="145" y="174"/>
                  <a:pt x="145" y="174"/>
                </a:cubicBezTo>
                <a:cubicBezTo>
                  <a:pt x="144" y="174"/>
                  <a:pt x="144" y="174"/>
                  <a:pt x="144" y="174"/>
                </a:cubicBezTo>
                <a:cubicBezTo>
                  <a:pt x="143" y="175"/>
                  <a:pt x="143" y="175"/>
                  <a:pt x="143" y="175"/>
                </a:cubicBezTo>
                <a:cubicBezTo>
                  <a:pt x="142" y="174"/>
                  <a:pt x="142" y="174"/>
                  <a:pt x="142" y="174"/>
                </a:cubicBezTo>
                <a:cubicBezTo>
                  <a:pt x="142" y="175"/>
                  <a:pt x="142" y="175"/>
                  <a:pt x="142" y="175"/>
                </a:cubicBezTo>
                <a:cubicBezTo>
                  <a:pt x="142" y="175"/>
                  <a:pt x="142" y="175"/>
                  <a:pt x="142" y="175"/>
                </a:cubicBezTo>
                <a:cubicBezTo>
                  <a:pt x="144" y="175"/>
                  <a:pt x="144" y="175"/>
                  <a:pt x="144" y="175"/>
                </a:cubicBezTo>
                <a:cubicBezTo>
                  <a:pt x="144" y="176"/>
                  <a:pt x="144" y="176"/>
                  <a:pt x="144" y="176"/>
                </a:cubicBezTo>
                <a:cubicBezTo>
                  <a:pt x="146" y="175"/>
                  <a:pt x="146" y="175"/>
                  <a:pt x="146" y="175"/>
                </a:cubicBezTo>
                <a:cubicBezTo>
                  <a:pt x="148" y="173"/>
                  <a:pt x="148" y="173"/>
                  <a:pt x="148" y="173"/>
                </a:cubicBezTo>
                <a:cubicBezTo>
                  <a:pt x="149" y="173"/>
                  <a:pt x="149" y="173"/>
                  <a:pt x="149" y="173"/>
                </a:cubicBezTo>
                <a:cubicBezTo>
                  <a:pt x="150" y="173"/>
                  <a:pt x="150" y="173"/>
                  <a:pt x="150" y="173"/>
                </a:cubicBezTo>
                <a:cubicBezTo>
                  <a:pt x="151" y="172"/>
                  <a:pt x="151" y="172"/>
                  <a:pt x="151" y="172"/>
                </a:cubicBezTo>
                <a:cubicBezTo>
                  <a:pt x="153" y="172"/>
                  <a:pt x="153" y="172"/>
                  <a:pt x="153" y="172"/>
                </a:cubicBezTo>
                <a:cubicBezTo>
                  <a:pt x="152" y="173"/>
                  <a:pt x="152" y="173"/>
                  <a:pt x="152" y="173"/>
                </a:cubicBezTo>
                <a:cubicBezTo>
                  <a:pt x="151" y="173"/>
                  <a:pt x="151" y="173"/>
                  <a:pt x="151" y="173"/>
                </a:cubicBezTo>
                <a:cubicBezTo>
                  <a:pt x="151" y="174"/>
                  <a:pt x="151" y="174"/>
                  <a:pt x="151" y="174"/>
                </a:cubicBezTo>
                <a:cubicBezTo>
                  <a:pt x="152" y="174"/>
                  <a:pt x="152" y="174"/>
                  <a:pt x="152" y="174"/>
                </a:cubicBezTo>
                <a:cubicBezTo>
                  <a:pt x="153" y="175"/>
                  <a:pt x="153" y="175"/>
                  <a:pt x="153" y="175"/>
                </a:cubicBezTo>
                <a:cubicBezTo>
                  <a:pt x="152" y="176"/>
                  <a:pt x="152" y="176"/>
                  <a:pt x="152" y="176"/>
                </a:cubicBezTo>
                <a:cubicBezTo>
                  <a:pt x="153" y="176"/>
                  <a:pt x="153" y="176"/>
                  <a:pt x="153" y="176"/>
                </a:cubicBezTo>
                <a:cubicBezTo>
                  <a:pt x="154" y="176"/>
                  <a:pt x="154" y="176"/>
                  <a:pt x="154" y="176"/>
                </a:cubicBezTo>
                <a:cubicBezTo>
                  <a:pt x="155" y="175"/>
                  <a:pt x="155" y="175"/>
                  <a:pt x="155" y="175"/>
                </a:cubicBezTo>
                <a:cubicBezTo>
                  <a:pt x="155" y="175"/>
                  <a:pt x="155" y="175"/>
                  <a:pt x="155" y="175"/>
                </a:cubicBezTo>
                <a:cubicBezTo>
                  <a:pt x="155" y="176"/>
                  <a:pt x="155" y="176"/>
                  <a:pt x="155" y="176"/>
                </a:cubicBezTo>
                <a:cubicBezTo>
                  <a:pt x="156" y="177"/>
                  <a:pt x="156" y="177"/>
                  <a:pt x="156" y="177"/>
                </a:cubicBezTo>
                <a:cubicBezTo>
                  <a:pt x="156" y="179"/>
                  <a:pt x="156" y="179"/>
                  <a:pt x="156" y="179"/>
                </a:cubicBezTo>
                <a:cubicBezTo>
                  <a:pt x="156" y="180"/>
                  <a:pt x="156" y="180"/>
                  <a:pt x="156" y="180"/>
                </a:cubicBezTo>
                <a:cubicBezTo>
                  <a:pt x="157" y="182"/>
                  <a:pt x="157" y="182"/>
                  <a:pt x="157" y="182"/>
                </a:cubicBezTo>
                <a:cubicBezTo>
                  <a:pt x="157" y="182"/>
                  <a:pt x="157" y="182"/>
                  <a:pt x="157" y="182"/>
                </a:cubicBezTo>
                <a:cubicBezTo>
                  <a:pt x="158" y="181"/>
                  <a:pt x="158" y="181"/>
                  <a:pt x="158" y="181"/>
                </a:cubicBezTo>
                <a:cubicBezTo>
                  <a:pt x="158" y="179"/>
                  <a:pt x="158" y="179"/>
                  <a:pt x="158" y="179"/>
                </a:cubicBezTo>
                <a:cubicBezTo>
                  <a:pt x="159" y="177"/>
                  <a:pt x="159" y="177"/>
                  <a:pt x="159" y="177"/>
                </a:cubicBezTo>
                <a:cubicBezTo>
                  <a:pt x="159" y="176"/>
                  <a:pt x="159" y="176"/>
                  <a:pt x="159" y="176"/>
                </a:cubicBezTo>
                <a:cubicBezTo>
                  <a:pt x="160" y="175"/>
                  <a:pt x="160" y="175"/>
                  <a:pt x="160" y="175"/>
                </a:cubicBezTo>
                <a:cubicBezTo>
                  <a:pt x="161" y="175"/>
                  <a:pt x="161" y="175"/>
                  <a:pt x="161" y="175"/>
                </a:cubicBezTo>
                <a:cubicBezTo>
                  <a:pt x="162" y="174"/>
                  <a:pt x="162" y="174"/>
                  <a:pt x="162" y="174"/>
                </a:cubicBezTo>
                <a:cubicBezTo>
                  <a:pt x="164" y="174"/>
                  <a:pt x="164" y="174"/>
                  <a:pt x="164" y="174"/>
                </a:cubicBezTo>
                <a:cubicBezTo>
                  <a:pt x="162" y="175"/>
                  <a:pt x="162" y="175"/>
                  <a:pt x="162" y="175"/>
                </a:cubicBezTo>
                <a:cubicBezTo>
                  <a:pt x="161" y="177"/>
                  <a:pt x="161" y="177"/>
                  <a:pt x="161" y="177"/>
                </a:cubicBezTo>
                <a:cubicBezTo>
                  <a:pt x="160" y="178"/>
                  <a:pt x="160" y="178"/>
                  <a:pt x="160" y="178"/>
                </a:cubicBezTo>
                <a:cubicBezTo>
                  <a:pt x="162" y="179"/>
                  <a:pt x="162" y="179"/>
                  <a:pt x="162" y="179"/>
                </a:cubicBezTo>
                <a:cubicBezTo>
                  <a:pt x="163" y="180"/>
                  <a:pt x="163" y="180"/>
                  <a:pt x="163" y="180"/>
                </a:cubicBezTo>
                <a:cubicBezTo>
                  <a:pt x="165" y="179"/>
                  <a:pt x="165" y="179"/>
                  <a:pt x="165" y="179"/>
                </a:cubicBezTo>
                <a:cubicBezTo>
                  <a:pt x="167" y="178"/>
                  <a:pt x="167" y="178"/>
                  <a:pt x="167" y="178"/>
                </a:cubicBezTo>
                <a:cubicBezTo>
                  <a:pt x="168" y="177"/>
                  <a:pt x="168" y="177"/>
                  <a:pt x="168" y="177"/>
                </a:cubicBezTo>
                <a:cubicBezTo>
                  <a:pt x="169" y="177"/>
                  <a:pt x="169" y="177"/>
                  <a:pt x="169" y="177"/>
                </a:cubicBezTo>
                <a:cubicBezTo>
                  <a:pt x="171" y="176"/>
                  <a:pt x="171" y="176"/>
                  <a:pt x="171" y="176"/>
                </a:cubicBezTo>
                <a:cubicBezTo>
                  <a:pt x="172" y="176"/>
                  <a:pt x="172" y="176"/>
                  <a:pt x="172" y="176"/>
                </a:cubicBezTo>
                <a:cubicBezTo>
                  <a:pt x="171" y="177"/>
                  <a:pt x="171" y="177"/>
                  <a:pt x="171" y="177"/>
                </a:cubicBezTo>
                <a:cubicBezTo>
                  <a:pt x="170" y="178"/>
                  <a:pt x="170" y="178"/>
                  <a:pt x="170" y="178"/>
                </a:cubicBezTo>
                <a:cubicBezTo>
                  <a:pt x="170" y="179"/>
                  <a:pt x="170" y="179"/>
                  <a:pt x="170" y="179"/>
                </a:cubicBezTo>
                <a:cubicBezTo>
                  <a:pt x="169" y="180"/>
                  <a:pt x="169" y="180"/>
                  <a:pt x="169" y="180"/>
                </a:cubicBezTo>
                <a:cubicBezTo>
                  <a:pt x="165" y="182"/>
                  <a:pt x="165" y="182"/>
                  <a:pt x="165" y="182"/>
                </a:cubicBezTo>
                <a:cubicBezTo>
                  <a:pt x="164" y="183"/>
                  <a:pt x="164" y="183"/>
                  <a:pt x="164" y="183"/>
                </a:cubicBezTo>
                <a:cubicBezTo>
                  <a:pt x="163" y="185"/>
                  <a:pt x="163" y="185"/>
                  <a:pt x="163" y="185"/>
                </a:cubicBezTo>
                <a:cubicBezTo>
                  <a:pt x="163" y="186"/>
                  <a:pt x="163" y="186"/>
                  <a:pt x="163" y="186"/>
                </a:cubicBezTo>
                <a:cubicBezTo>
                  <a:pt x="163" y="187"/>
                  <a:pt x="163" y="187"/>
                  <a:pt x="163" y="187"/>
                </a:cubicBezTo>
                <a:cubicBezTo>
                  <a:pt x="164" y="188"/>
                  <a:pt x="164" y="188"/>
                  <a:pt x="164" y="188"/>
                </a:cubicBezTo>
                <a:cubicBezTo>
                  <a:pt x="162" y="188"/>
                  <a:pt x="162" y="188"/>
                  <a:pt x="162" y="188"/>
                </a:cubicBezTo>
                <a:cubicBezTo>
                  <a:pt x="161" y="188"/>
                  <a:pt x="161" y="188"/>
                  <a:pt x="161" y="188"/>
                </a:cubicBezTo>
                <a:cubicBezTo>
                  <a:pt x="160" y="189"/>
                  <a:pt x="160" y="189"/>
                  <a:pt x="160" y="189"/>
                </a:cubicBezTo>
                <a:cubicBezTo>
                  <a:pt x="160" y="191"/>
                  <a:pt x="160" y="191"/>
                  <a:pt x="160" y="191"/>
                </a:cubicBezTo>
                <a:cubicBezTo>
                  <a:pt x="158" y="193"/>
                  <a:pt x="158" y="193"/>
                  <a:pt x="158" y="193"/>
                </a:cubicBezTo>
                <a:cubicBezTo>
                  <a:pt x="158" y="194"/>
                  <a:pt x="158" y="194"/>
                  <a:pt x="158" y="194"/>
                </a:cubicBezTo>
                <a:cubicBezTo>
                  <a:pt x="158" y="194"/>
                  <a:pt x="158" y="194"/>
                  <a:pt x="158" y="194"/>
                </a:cubicBezTo>
                <a:cubicBezTo>
                  <a:pt x="158" y="195"/>
                  <a:pt x="158" y="195"/>
                  <a:pt x="158" y="195"/>
                </a:cubicBezTo>
                <a:cubicBezTo>
                  <a:pt x="158" y="196"/>
                  <a:pt x="158" y="196"/>
                  <a:pt x="158" y="196"/>
                </a:cubicBezTo>
                <a:cubicBezTo>
                  <a:pt x="157" y="196"/>
                  <a:pt x="157" y="196"/>
                  <a:pt x="157" y="196"/>
                </a:cubicBezTo>
                <a:cubicBezTo>
                  <a:pt x="157" y="195"/>
                  <a:pt x="157" y="195"/>
                  <a:pt x="157" y="195"/>
                </a:cubicBezTo>
                <a:cubicBezTo>
                  <a:pt x="156" y="195"/>
                  <a:pt x="156" y="195"/>
                  <a:pt x="156" y="195"/>
                </a:cubicBezTo>
                <a:cubicBezTo>
                  <a:pt x="155" y="196"/>
                  <a:pt x="155" y="196"/>
                  <a:pt x="155" y="196"/>
                </a:cubicBezTo>
                <a:cubicBezTo>
                  <a:pt x="154" y="197"/>
                  <a:pt x="154" y="197"/>
                  <a:pt x="154" y="197"/>
                </a:cubicBezTo>
                <a:cubicBezTo>
                  <a:pt x="154" y="198"/>
                  <a:pt x="154" y="198"/>
                  <a:pt x="154" y="198"/>
                </a:cubicBezTo>
                <a:cubicBezTo>
                  <a:pt x="154" y="198"/>
                  <a:pt x="154" y="198"/>
                  <a:pt x="154" y="198"/>
                </a:cubicBezTo>
                <a:cubicBezTo>
                  <a:pt x="153" y="198"/>
                  <a:pt x="153" y="198"/>
                  <a:pt x="153" y="198"/>
                </a:cubicBezTo>
                <a:cubicBezTo>
                  <a:pt x="152" y="198"/>
                  <a:pt x="152" y="198"/>
                  <a:pt x="152" y="198"/>
                </a:cubicBezTo>
                <a:cubicBezTo>
                  <a:pt x="152" y="198"/>
                  <a:pt x="152" y="198"/>
                  <a:pt x="152" y="198"/>
                </a:cubicBezTo>
                <a:cubicBezTo>
                  <a:pt x="149" y="200"/>
                  <a:pt x="149" y="200"/>
                  <a:pt x="149" y="200"/>
                </a:cubicBezTo>
                <a:cubicBezTo>
                  <a:pt x="148" y="202"/>
                  <a:pt x="148" y="202"/>
                  <a:pt x="148" y="202"/>
                </a:cubicBezTo>
                <a:cubicBezTo>
                  <a:pt x="148" y="202"/>
                  <a:pt x="148" y="202"/>
                  <a:pt x="148" y="202"/>
                </a:cubicBezTo>
                <a:cubicBezTo>
                  <a:pt x="148" y="203"/>
                  <a:pt x="148" y="203"/>
                  <a:pt x="148" y="203"/>
                </a:cubicBezTo>
                <a:cubicBezTo>
                  <a:pt x="147" y="202"/>
                  <a:pt x="147" y="202"/>
                  <a:pt x="147" y="202"/>
                </a:cubicBezTo>
                <a:cubicBezTo>
                  <a:pt x="147" y="201"/>
                  <a:pt x="147" y="201"/>
                  <a:pt x="147" y="201"/>
                </a:cubicBezTo>
                <a:cubicBezTo>
                  <a:pt x="145" y="202"/>
                  <a:pt x="145" y="202"/>
                  <a:pt x="145" y="202"/>
                </a:cubicBezTo>
                <a:cubicBezTo>
                  <a:pt x="144" y="203"/>
                  <a:pt x="144" y="203"/>
                  <a:pt x="144" y="203"/>
                </a:cubicBezTo>
                <a:cubicBezTo>
                  <a:pt x="143" y="203"/>
                  <a:pt x="143" y="203"/>
                  <a:pt x="143" y="203"/>
                </a:cubicBezTo>
                <a:cubicBezTo>
                  <a:pt x="143" y="204"/>
                  <a:pt x="143" y="204"/>
                  <a:pt x="143" y="204"/>
                </a:cubicBezTo>
                <a:cubicBezTo>
                  <a:pt x="141" y="205"/>
                  <a:pt x="141" y="205"/>
                  <a:pt x="141" y="205"/>
                </a:cubicBezTo>
                <a:cubicBezTo>
                  <a:pt x="140" y="205"/>
                  <a:pt x="140" y="205"/>
                  <a:pt x="140" y="205"/>
                </a:cubicBezTo>
                <a:cubicBezTo>
                  <a:pt x="138" y="206"/>
                  <a:pt x="138" y="206"/>
                  <a:pt x="138" y="206"/>
                </a:cubicBezTo>
                <a:cubicBezTo>
                  <a:pt x="135" y="207"/>
                  <a:pt x="135" y="207"/>
                  <a:pt x="135" y="207"/>
                </a:cubicBezTo>
                <a:cubicBezTo>
                  <a:pt x="133" y="209"/>
                  <a:pt x="133" y="209"/>
                  <a:pt x="133" y="209"/>
                </a:cubicBezTo>
                <a:cubicBezTo>
                  <a:pt x="132" y="211"/>
                  <a:pt x="132" y="211"/>
                  <a:pt x="132" y="211"/>
                </a:cubicBezTo>
                <a:cubicBezTo>
                  <a:pt x="132" y="211"/>
                  <a:pt x="132" y="211"/>
                  <a:pt x="132" y="211"/>
                </a:cubicBezTo>
                <a:cubicBezTo>
                  <a:pt x="133" y="212"/>
                  <a:pt x="133" y="212"/>
                  <a:pt x="133" y="212"/>
                </a:cubicBezTo>
                <a:cubicBezTo>
                  <a:pt x="133" y="213"/>
                  <a:pt x="133" y="213"/>
                  <a:pt x="133" y="213"/>
                </a:cubicBezTo>
                <a:cubicBezTo>
                  <a:pt x="132" y="214"/>
                  <a:pt x="132" y="214"/>
                  <a:pt x="132" y="214"/>
                </a:cubicBezTo>
                <a:cubicBezTo>
                  <a:pt x="132" y="213"/>
                  <a:pt x="132" y="213"/>
                  <a:pt x="132" y="213"/>
                </a:cubicBezTo>
                <a:cubicBezTo>
                  <a:pt x="131" y="213"/>
                  <a:pt x="131" y="213"/>
                  <a:pt x="131" y="213"/>
                </a:cubicBezTo>
                <a:cubicBezTo>
                  <a:pt x="131" y="213"/>
                  <a:pt x="131" y="213"/>
                  <a:pt x="131" y="213"/>
                </a:cubicBezTo>
                <a:cubicBezTo>
                  <a:pt x="131" y="214"/>
                  <a:pt x="131" y="214"/>
                  <a:pt x="131" y="214"/>
                </a:cubicBezTo>
                <a:cubicBezTo>
                  <a:pt x="130" y="214"/>
                  <a:pt x="130" y="214"/>
                  <a:pt x="130" y="214"/>
                </a:cubicBezTo>
                <a:cubicBezTo>
                  <a:pt x="130" y="214"/>
                  <a:pt x="130" y="214"/>
                  <a:pt x="130" y="214"/>
                </a:cubicBezTo>
                <a:cubicBezTo>
                  <a:pt x="130" y="212"/>
                  <a:pt x="130" y="212"/>
                  <a:pt x="130" y="212"/>
                </a:cubicBezTo>
                <a:cubicBezTo>
                  <a:pt x="130" y="212"/>
                  <a:pt x="130" y="212"/>
                  <a:pt x="130" y="212"/>
                </a:cubicBezTo>
                <a:cubicBezTo>
                  <a:pt x="129" y="211"/>
                  <a:pt x="129" y="211"/>
                  <a:pt x="129" y="211"/>
                </a:cubicBezTo>
                <a:cubicBezTo>
                  <a:pt x="128" y="211"/>
                  <a:pt x="128" y="211"/>
                  <a:pt x="128" y="211"/>
                </a:cubicBezTo>
                <a:cubicBezTo>
                  <a:pt x="127" y="211"/>
                  <a:pt x="127" y="211"/>
                  <a:pt x="127" y="211"/>
                </a:cubicBezTo>
                <a:cubicBezTo>
                  <a:pt x="126" y="211"/>
                  <a:pt x="126" y="211"/>
                  <a:pt x="126" y="211"/>
                </a:cubicBezTo>
                <a:cubicBezTo>
                  <a:pt x="124" y="212"/>
                  <a:pt x="124" y="212"/>
                  <a:pt x="124" y="212"/>
                </a:cubicBezTo>
                <a:cubicBezTo>
                  <a:pt x="123" y="212"/>
                  <a:pt x="123" y="212"/>
                  <a:pt x="123" y="212"/>
                </a:cubicBezTo>
                <a:cubicBezTo>
                  <a:pt x="122" y="213"/>
                  <a:pt x="122" y="213"/>
                  <a:pt x="122" y="213"/>
                </a:cubicBezTo>
                <a:cubicBezTo>
                  <a:pt x="121" y="214"/>
                  <a:pt x="121" y="214"/>
                  <a:pt x="121" y="214"/>
                </a:cubicBezTo>
                <a:cubicBezTo>
                  <a:pt x="119" y="215"/>
                  <a:pt x="119" y="215"/>
                  <a:pt x="119" y="215"/>
                </a:cubicBezTo>
                <a:cubicBezTo>
                  <a:pt x="118" y="216"/>
                  <a:pt x="118" y="216"/>
                  <a:pt x="118" y="216"/>
                </a:cubicBezTo>
                <a:cubicBezTo>
                  <a:pt x="118" y="217"/>
                  <a:pt x="118" y="217"/>
                  <a:pt x="118" y="217"/>
                </a:cubicBezTo>
                <a:cubicBezTo>
                  <a:pt x="118" y="217"/>
                  <a:pt x="118" y="217"/>
                  <a:pt x="118" y="217"/>
                </a:cubicBezTo>
                <a:cubicBezTo>
                  <a:pt x="117" y="217"/>
                  <a:pt x="117" y="217"/>
                  <a:pt x="117" y="217"/>
                </a:cubicBezTo>
                <a:cubicBezTo>
                  <a:pt x="115" y="218"/>
                  <a:pt x="115" y="218"/>
                  <a:pt x="115" y="218"/>
                </a:cubicBezTo>
                <a:cubicBezTo>
                  <a:pt x="115" y="218"/>
                  <a:pt x="115" y="218"/>
                  <a:pt x="115" y="218"/>
                </a:cubicBezTo>
                <a:cubicBezTo>
                  <a:pt x="114" y="219"/>
                  <a:pt x="114" y="219"/>
                  <a:pt x="114" y="219"/>
                </a:cubicBezTo>
                <a:cubicBezTo>
                  <a:pt x="114" y="219"/>
                  <a:pt x="114" y="219"/>
                  <a:pt x="114" y="219"/>
                </a:cubicBezTo>
                <a:cubicBezTo>
                  <a:pt x="113" y="219"/>
                  <a:pt x="113" y="219"/>
                  <a:pt x="113" y="219"/>
                </a:cubicBezTo>
                <a:cubicBezTo>
                  <a:pt x="112" y="219"/>
                  <a:pt x="112" y="219"/>
                  <a:pt x="112" y="219"/>
                </a:cubicBezTo>
                <a:cubicBezTo>
                  <a:pt x="111" y="220"/>
                  <a:pt x="111" y="220"/>
                  <a:pt x="111" y="220"/>
                </a:cubicBezTo>
                <a:cubicBezTo>
                  <a:pt x="111" y="221"/>
                  <a:pt x="111" y="221"/>
                  <a:pt x="111" y="221"/>
                </a:cubicBezTo>
                <a:cubicBezTo>
                  <a:pt x="111" y="222"/>
                  <a:pt x="111" y="222"/>
                  <a:pt x="111" y="222"/>
                </a:cubicBezTo>
                <a:cubicBezTo>
                  <a:pt x="112" y="222"/>
                  <a:pt x="112" y="222"/>
                  <a:pt x="112" y="222"/>
                </a:cubicBezTo>
                <a:cubicBezTo>
                  <a:pt x="112" y="221"/>
                  <a:pt x="112" y="221"/>
                  <a:pt x="112" y="221"/>
                </a:cubicBezTo>
                <a:cubicBezTo>
                  <a:pt x="112" y="220"/>
                  <a:pt x="112" y="220"/>
                  <a:pt x="112" y="220"/>
                </a:cubicBezTo>
                <a:cubicBezTo>
                  <a:pt x="113" y="220"/>
                  <a:pt x="113" y="220"/>
                  <a:pt x="113" y="220"/>
                </a:cubicBezTo>
                <a:cubicBezTo>
                  <a:pt x="113" y="220"/>
                  <a:pt x="113" y="220"/>
                  <a:pt x="113" y="220"/>
                </a:cubicBezTo>
                <a:cubicBezTo>
                  <a:pt x="113" y="221"/>
                  <a:pt x="113" y="221"/>
                  <a:pt x="113" y="221"/>
                </a:cubicBezTo>
                <a:cubicBezTo>
                  <a:pt x="113" y="222"/>
                  <a:pt x="113" y="222"/>
                  <a:pt x="113" y="222"/>
                </a:cubicBezTo>
                <a:cubicBezTo>
                  <a:pt x="115" y="222"/>
                  <a:pt x="115" y="222"/>
                  <a:pt x="115" y="222"/>
                </a:cubicBezTo>
                <a:cubicBezTo>
                  <a:pt x="116" y="220"/>
                  <a:pt x="116" y="220"/>
                  <a:pt x="116" y="220"/>
                </a:cubicBezTo>
                <a:cubicBezTo>
                  <a:pt x="116" y="219"/>
                  <a:pt x="116" y="219"/>
                  <a:pt x="116" y="219"/>
                </a:cubicBezTo>
                <a:cubicBezTo>
                  <a:pt x="117" y="220"/>
                  <a:pt x="117" y="220"/>
                  <a:pt x="117" y="220"/>
                </a:cubicBezTo>
                <a:cubicBezTo>
                  <a:pt x="116" y="221"/>
                  <a:pt x="116" y="221"/>
                  <a:pt x="116" y="221"/>
                </a:cubicBezTo>
                <a:cubicBezTo>
                  <a:pt x="117" y="221"/>
                  <a:pt x="117" y="221"/>
                  <a:pt x="117" y="221"/>
                </a:cubicBezTo>
                <a:cubicBezTo>
                  <a:pt x="118" y="221"/>
                  <a:pt x="118" y="221"/>
                  <a:pt x="118" y="221"/>
                </a:cubicBezTo>
                <a:cubicBezTo>
                  <a:pt x="118" y="220"/>
                  <a:pt x="118" y="220"/>
                  <a:pt x="118" y="220"/>
                </a:cubicBezTo>
                <a:cubicBezTo>
                  <a:pt x="119" y="221"/>
                  <a:pt x="119" y="221"/>
                  <a:pt x="119" y="221"/>
                </a:cubicBezTo>
                <a:cubicBezTo>
                  <a:pt x="119" y="221"/>
                  <a:pt x="119" y="221"/>
                  <a:pt x="119" y="221"/>
                </a:cubicBezTo>
                <a:cubicBezTo>
                  <a:pt x="119" y="220"/>
                  <a:pt x="119" y="220"/>
                  <a:pt x="119" y="220"/>
                </a:cubicBezTo>
                <a:cubicBezTo>
                  <a:pt x="120" y="220"/>
                  <a:pt x="120" y="220"/>
                  <a:pt x="120" y="220"/>
                </a:cubicBezTo>
                <a:cubicBezTo>
                  <a:pt x="121" y="220"/>
                  <a:pt x="121" y="220"/>
                  <a:pt x="121" y="220"/>
                </a:cubicBezTo>
                <a:cubicBezTo>
                  <a:pt x="122" y="219"/>
                  <a:pt x="122" y="219"/>
                  <a:pt x="122" y="219"/>
                </a:cubicBezTo>
                <a:cubicBezTo>
                  <a:pt x="123" y="218"/>
                  <a:pt x="123" y="218"/>
                  <a:pt x="123" y="218"/>
                </a:cubicBezTo>
                <a:cubicBezTo>
                  <a:pt x="123" y="217"/>
                  <a:pt x="123" y="217"/>
                  <a:pt x="123" y="217"/>
                </a:cubicBezTo>
                <a:cubicBezTo>
                  <a:pt x="124" y="216"/>
                  <a:pt x="124" y="216"/>
                  <a:pt x="124" y="216"/>
                </a:cubicBezTo>
                <a:cubicBezTo>
                  <a:pt x="125" y="215"/>
                  <a:pt x="125" y="215"/>
                  <a:pt x="125" y="215"/>
                </a:cubicBezTo>
                <a:cubicBezTo>
                  <a:pt x="125" y="215"/>
                  <a:pt x="125" y="215"/>
                  <a:pt x="125" y="215"/>
                </a:cubicBezTo>
                <a:cubicBezTo>
                  <a:pt x="127" y="216"/>
                  <a:pt x="127" y="216"/>
                  <a:pt x="127" y="216"/>
                </a:cubicBezTo>
                <a:cubicBezTo>
                  <a:pt x="126" y="216"/>
                  <a:pt x="126" y="216"/>
                  <a:pt x="126" y="216"/>
                </a:cubicBezTo>
                <a:cubicBezTo>
                  <a:pt x="125" y="216"/>
                  <a:pt x="125" y="216"/>
                  <a:pt x="125" y="216"/>
                </a:cubicBezTo>
                <a:cubicBezTo>
                  <a:pt x="125" y="217"/>
                  <a:pt x="125" y="217"/>
                  <a:pt x="125" y="217"/>
                </a:cubicBezTo>
                <a:cubicBezTo>
                  <a:pt x="125" y="219"/>
                  <a:pt x="125" y="219"/>
                  <a:pt x="125" y="219"/>
                </a:cubicBezTo>
                <a:cubicBezTo>
                  <a:pt x="125" y="219"/>
                  <a:pt x="125" y="219"/>
                  <a:pt x="125" y="219"/>
                </a:cubicBezTo>
                <a:cubicBezTo>
                  <a:pt x="127" y="218"/>
                  <a:pt x="127" y="218"/>
                  <a:pt x="127" y="218"/>
                </a:cubicBezTo>
                <a:cubicBezTo>
                  <a:pt x="127" y="217"/>
                  <a:pt x="127" y="217"/>
                  <a:pt x="127" y="217"/>
                </a:cubicBezTo>
                <a:cubicBezTo>
                  <a:pt x="128" y="216"/>
                  <a:pt x="128" y="216"/>
                  <a:pt x="128" y="216"/>
                </a:cubicBezTo>
                <a:cubicBezTo>
                  <a:pt x="128" y="217"/>
                  <a:pt x="128" y="217"/>
                  <a:pt x="128" y="217"/>
                </a:cubicBezTo>
                <a:cubicBezTo>
                  <a:pt x="129" y="216"/>
                  <a:pt x="129" y="216"/>
                  <a:pt x="129" y="216"/>
                </a:cubicBezTo>
                <a:cubicBezTo>
                  <a:pt x="129" y="216"/>
                  <a:pt x="129" y="216"/>
                  <a:pt x="129" y="216"/>
                </a:cubicBezTo>
                <a:cubicBezTo>
                  <a:pt x="129" y="217"/>
                  <a:pt x="129" y="217"/>
                  <a:pt x="129" y="217"/>
                </a:cubicBezTo>
                <a:cubicBezTo>
                  <a:pt x="129" y="218"/>
                  <a:pt x="129" y="218"/>
                  <a:pt x="129" y="218"/>
                </a:cubicBezTo>
                <a:cubicBezTo>
                  <a:pt x="129" y="218"/>
                  <a:pt x="129" y="218"/>
                  <a:pt x="129" y="218"/>
                </a:cubicBezTo>
                <a:cubicBezTo>
                  <a:pt x="130" y="217"/>
                  <a:pt x="130" y="217"/>
                  <a:pt x="130" y="217"/>
                </a:cubicBezTo>
                <a:cubicBezTo>
                  <a:pt x="131" y="217"/>
                  <a:pt x="131" y="217"/>
                  <a:pt x="131" y="217"/>
                </a:cubicBezTo>
                <a:cubicBezTo>
                  <a:pt x="132" y="216"/>
                  <a:pt x="132" y="216"/>
                  <a:pt x="132" y="216"/>
                </a:cubicBezTo>
                <a:cubicBezTo>
                  <a:pt x="133" y="216"/>
                  <a:pt x="133" y="216"/>
                  <a:pt x="133" y="216"/>
                </a:cubicBezTo>
                <a:cubicBezTo>
                  <a:pt x="135" y="214"/>
                  <a:pt x="135" y="214"/>
                  <a:pt x="135" y="214"/>
                </a:cubicBezTo>
                <a:cubicBezTo>
                  <a:pt x="136" y="214"/>
                  <a:pt x="136" y="214"/>
                  <a:pt x="136" y="214"/>
                </a:cubicBezTo>
                <a:cubicBezTo>
                  <a:pt x="136" y="214"/>
                  <a:pt x="136" y="214"/>
                  <a:pt x="136" y="214"/>
                </a:cubicBezTo>
                <a:cubicBezTo>
                  <a:pt x="136" y="215"/>
                  <a:pt x="136" y="215"/>
                  <a:pt x="136" y="215"/>
                </a:cubicBezTo>
                <a:cubicBezTo>
                  <a:pt x="136" y="216"/>
                  <a:pt x="136" y="216"/>
                  <a:pt x="136" y="216"/>
                </a:cubicBezTo>
                <a:cubicBezTo>
                  <a:pt x="135" y="217"/>
                  <a:pt x="135" y="217"/>
                  <a:pt x="135" y="217"/>
                </a:cubicBezTo>
                <a:cubicBezTo>
                  <a:pt x="135" y="218"/>
                  <a:pt x="135" y="218"/>
                  <a:pt x="135" y="218"/>
                </a:cubicBezTo>
                <a:cubicBezTo>
                  <a:pt x="135" y="218"/>
                  <a:pt x="135" y="218"/>
                  <a:pt x="135" y="218"/>
                </a:cubicBezTo>
                <a:cubicBezTo>
                  <a:pt x="137" y="216"/>
                  <a:pt x="137" y="216"/>
                  <a:pt x="137" y="216"/>
                </a:cubicBezTo>
                <a:cubicBezTo>
                  <a:pt x="137" y="214"/>
                  <a:pt x="137" y="214"/>
                  <a:pt x="137" y="214"/>
                </a:cubicBezTo>
                <a:cubicBezTo>
                  <a:pt x="137" y="214"/>
                  <a:pt x="137" y="214"/>
                  <a:pt x="137" y="214"/>
                </a:cubicBezTo>
                <a:cubicBezTo>
                  <a:pt x="138" y="214"/>
                  <a:pt x="138" y="214"/>
                  <a:pt x="138" y="214"/>
                </a:cubicBezTo>
                <a:cubicBezTo>
                  <a:pt x="139" y="214"/>
                  <a:pt x="139" y="214"/>
                  <a:pt x="139" y="214"/>
                </a:cubicBezTo>
                <a:cubicBezTo>
                  <a:pt x="140" y="214"/>
                  <a:pt x="140" y="214"/>
                  <a:pt x="140" y="214"/>
                </a:cubicBezTo>
                <a:cubicBezTo>
                  <a:pt x="141" y="214"/>
                  <a:pt x="141" y="214"/>
                  <a:pt x="141" y="214"/>
                </a:cubicBezTo>
                <a:cubicBezTo>
                  <a:pt x="142" y="213"/>
                  <a:pt x="142" y="213"/>
                  <a:pt x="142" y="213"/>
                </a:cubicBezTo>
                <a:cubicBezTo>
                  <a:pt x="143" y="213"/>
                  <a:pt x="143" y="213"/>
                  <a:pt x="143" y="213"/>
                </a:cubicBezTo>
                <a:cubicBezTo>
                  <a:pt x="143" y="213"/>
                  <a:pt x="143" y="213"/>
                  <a:pt x="143" y="213"/>
                </a:cubicBezTo>
                <a:cubicBezTo>
                  <a:pt x="144" y="212"/>
                  <a:pt x="144" y="212"/>
                  <a:pt x="144" y="212"/>
                </a:cubicBezTo>
                <a:cubicBezTo>
                  <a:pt x="144" y="211"/>
                  <a:pt x="144" y="211"/>
                  <a:pt x="144" y="211"/>
                </a:cubicBezTo>
                <a:cubicBezTo>
                  <a:pt x="144" y="211"/>
                  <a:pt x="144" y="211"/>
                  <a:pt x="144" y="211"/>
                </a:cubicBezTo>
                <a:cubicBezTo>
                  <a:pt x="144" y="212"/>
                  <a:pt x="144" y="212"/>
                  <a:pt x="144" y="212"/>
                </a:cubicBezTo>
                <a:cubicBezTo>
                  <a:pt x="144" y="213"/>
                  <a:pt x="144" y="213"/>
                  <a:pt x="144" y="213"/>
                </a:cubicBezTo>
                <a:cubicBezTo>
                  <a:pt x="145" y="213"/>
                  <a:pt x="145" y="213"/>
                  <a:pt x="145" y="213"/>
                </a:cubicBezTo>
                <a:cubicBezTo>
                  <a:pt x="146" y="212"/>
                  <a:pt x="146" y="212"/>
                  <a:pt x="146" y="212"/>
                </a:cubicBezTo>
                <a:cubicBezTo>
                  <a:pt x="145" y="212"/>
                  <a:pt x="145" y="212"/>
                  <a:pt x="145" y="212"/>
                </a:cubicBezTo>
                <a:cubicBezTo>
                  <a:pt x="146" y="211"/>
                  <a:pt x="146" y="211"/>
                  <a:pt x="146" y="211"/>
                </a:cubicBezTo>
                <a:cubicBezTo>
                  <a:pt x="146" y="210"/>
                  <a:pt x="146" y="210"/>
                  <a:pt x="146" y="210"/>
                </a:cubicBezTo>
                <a:cubicBezTo>
                  <a:pt x="144" y="210"/>
                  <a:pt x="144" y="210"/>
                  <a:pt x="144" y="210"/>
                </a:cubicBezTo>
                <a:cubicBezTo>
                  <a:pt x="144" y="210"/>
                  <a:pt x="144" y="210"/>
                  <a:pt x="144" y="210"/>
                </a:cubicBezTo>
                <a:cubicBezTo>
                  <a:pt x="146" y="210"/>
                  <a:pt x="146" y="210"/>
                  <a:pt x="146" y="210"/>
                </a:cubicBezTo>
                <a:cubicBezTo>
                  <a:pt x="148" y="209"/>
                  <a:pt x="148" y="209"/>
                  <a:pt x="148" y="209"/>
                </a:cubicBezTo>
                <a:cubicBezTo>
                  <a:pt x="150" y="209"/>
                  <a:pt x="150" y="209"/>
                  <a:pt x="150" y="209"/>
                </a:cubicBezTo>
                <a:cubicBezTo>
                  <a:pt x="151" y="208"/>
                  <a:pt x="151" y="208"/>
                  <a:pt x="151" y="208"/>
                </a:cubicBezTo>
                <a:cubicBezTo>
                  <a:pt x="150" y="207"/>
                  <a:pt x="150" y="207"/>
                  <a:pt x="150" y="207"/>
                </a:cubicBezTo>
                <a:cubicBezTo>
                  <a:pt x="150" y="207"/>
                  <a:pt x="150" y="207"/>
                  <a:pt x="150" y="207"/>
                </a:cubicBezTo>
                <a:cubicBezTo>
                  <a:pt x="151" y="207"/>
                  <a:pt x="151" y="207"/>
                  <a:pt x="151" y="207"/>
                </a:cubicBezTo>
                <a:cubicBezTo>
                  <a:pt x="151" y="207"/>
                  <a:pt x="151" y="207"/>
                  <a:pt x="151" y="207"/>
                </a:cubicBezTo>
                <a:cubicBezTo>
                  <a:pt x="152" y="206"/>
                  <a:pt x="152" y="206"/>
                  <a:pt x="152" y="206"/>
                </a:cubicBezTo>
                <a:cubicBezTo>
                  <a:pt x="153" y="206"/>
                  <a:pt x="153" y="206"/>
                  <a:pt x="153" y="206"/>
                </a:cubicBezTo>
                <a:cubicBezTo>
                  <a:pt x="153" y="207"/>
                  <a:pt x="153" y="207"/>
                  <a:pt x="153" y="207"/>
                </a:cubicBezTo>
                <a:cubicBezTo>
                  <a:pt x="154" y="207"/>
                  <a:pt x="154" y="207"/>
                  <a:pt x="154" y="207"/>
                </a:cubicBezTo>
                <a:cubicBezTo>
                  <a:pt x="154" y="206"/>
                  <a:pt x="154" y="206"/>
                  <a:pt x="154" y="206"/>
                </a:cubicBezTo>
                <a:cubicBezTo>
                  <a:pt x="154" y="206"/>
                  <a:pt x="154" y="206"/>
                  <a:pt x="154" y="206"/>
                </a:cubicBezTo>
                <a:cubicBezTo>
                  <a:pt x="155" y="205"/>
                  <a:pt x="155" y="205"/>
                  <a:pt x="155" y="205"/>
                </a:cubicBezTo>
                <a:cubicBezTo>
                  <a:pt x="155" y="204"/>
                  <a:pt x="155" y="204"/>
                  <a:pt x="155" y="204"/>
                </a:cubicBezTo>
                <a:cubicBezTo>
                  <a:pt x="155" y="204"/>
                  <a:pt x="155" y="204"/>
                  <a:pt x="155" y="204"/>
                </a:cubicBezTo>
                <a:cubicBezTo>
                  <a:pt x="156" y="204"/>
                  <a:pt x="156" y="204"/>
                  <a:pt x="156" y="204"/>
                </a:cubicBezTo>
                <a:cubicBezTo>
                  <a:pt x="156" y="205"/>
                  <a:pt x="156" y="205"/>
                  <a:pt x="156" y="205"/>
                </a:cubicBezTo>
                <a:cubicBezTo>
                  <a:pt x="157" y="205"/>
                  <a:pt x="157" y="205"/>
                  <a:pt x="157" y="205"/>
                </a:cubicBezTo>
                <a:cubicBezTo>
                  <a:pt x="158" y="204"/>
                  <a:pt x="158" y="204"/>
                  <a:pt x="158" y="204"/>
                </a:cubicBezTo>
                <a:cubicBezTo>
                  <a:pt x="159" y="203"/>
                  <a:pt x="159" y="203"/>
                  <a:pt x="159" y="203"/>
                </a:cubicBezTo>
                <a:cubicBezTo>
                  <a:pt x="160" y="204"/>
                  <a:pt x="160" y="204"/>
                  <a:pt x="160" y="204"/>
                </a:cubicBezTo>
                <a:cubicBezTo>
                  <a:pt x="160" y="202"/>
                  <a:pt x="160" y="202"/>
                  <a:pt x="160" y="202"/>
                </a:cubicBezTo>
                <a:cubicBezTo>
                  <a:pt x="161" y="202"/>
                  <a:pt x="161" y="202"/>
                  <a:pt x="161" y="202"/>
                </a:cubicBezTo>
                <a:cubicBezTo>
                  <a:pt x="161" y="203"/>
                  <a:pt x="161" y="203"/>
                  <a:pt x="161" y="203"/>
                </a:cubicBezTo>
                <a:cubicBezTo>
                  <a:pt x="162" y="203"/>
                  <a:pt x="162" y="203"/>
                  <a:pt x="162" y="203"/>
                </a:cubicBezTo>
                <a:cubicBezTo>
                  <a:pt x="164" y="201"/>
                  <a:pt x="164" y="201"/>
                  <a:pt x="164" y="201"/>
                </a:cubicBezTo>
                <a:cubicBezTo>
                  <a:pt x="164" y="200"/>
                  <a:pt x="164" y="200"/>
                  <a:pt x="164" y="200"/>
                </a:cubicBezTo>
                <a:cubicBezTo>
                  <a:pt x="163" y="200"/>
                  <a:pt x="163" y="200"/>
                  <a:pt x="163" y="200"/>
                </a:cubicBezTo>
                <a:cubicBezTo>
                  <a:pt x="162" y="200"/>
                  <a:pt x="162" y="200"/>
                  <a:pt x="162" y="200"/>
                </a:cubicBezTo>
                <a:cubicBezTo>
                  <a:pt x="162" y="200"/>
                  <a:pt x="162" y="200"/>
                  <a:pt x="162" y="200"/>
                </a:cubicBezTo>
                <a:cubicBezTo>
                  <a:pt x="164" y="199"/>
                  <a:pt x="164" y="199"/>
                  <a:pt x="164" y="199"/>
                </a:cubicBezTo>
                <a:cubicBezTo>
                  <a:pt x="165" y="198"/>
                  <a:pt x="165" y="198"/>
                  <a:pt x="165" y="198"/>
                </a:cubicBezTo>
                <a:cubicBezTo>
                  <a:pt x="166" y="197"/>
                  <a:pt x="166" y="197"/>
                  <a:pt x="166" y="197"/>
                </a:cubicBezTo>
                <a:cubicBezTo>
                  <a:pt x="166" y="197"/>
                  <a:pt x="166" y="197"/>
                  <a:pt x="166" y="197"/>
                </a:cubicBezTo>
                <a:cubicBezTo>
                  <a:pt x="167" y="198"/>
                  <a:pt x="167" y="198"/>
                  <a:pt x="167" y="198"/>
                </a:cubicBezTo>
                <a:cubicBezTo>
                  <a:pt x="168" y="196"/>
                  <a:pt x="168" y="196"/>
                  <a:pt x="168" y="196"/>
                </a:cubicBezTo>
                <a:cubicBezTo>
                  <a:pt x="169" y="196"/>
                  <a:pt x="169" y="196"/>
                  <a:pt x="169" y="196"/>
                </a:cubicBezTo>
                <a:cubicBezTo>
                  <a:pt x="170" y="195"/>
                  <a:pt x="170" y="195"/>
                  <a:pt x="170" y="195"/>
                </a:cubicBezTo>
                <a:cubicBezTo>
                  <a:pt x="170" y="195"/>
                  <a:pt x="170" y="195"/>
                  <a:pt x="170" y="195"/>
                </a:cubicBezTo>
                <a:cubicBezTo>
                  <a:pt x="171" y="194"/>
                  <a:pt x="171" y="194"/>
                  <a:pt x="171" y="194"/>
                </a:cubicBezTo>
                <a:cubicBezTo>
                  <a:pt x="172" y="194"/>
                  <a:pt x="172" y="194"/>
                  <a:pt x="172" y="194"/>
                </a:cubicBezTo>
                <a:cubicBezTo>
                  <a:pt x="172" y="195"/>
                  <a:pt x="172" y="195"/>
                  <a:pt x="172" y="195"/>
                </a:cubicBezTo>
                <a:cubicBezTo>
                  <a:pt x="173" y="195"/>
                  <a:pt x="173" y="195"/>
                  <a:pt x="173" y="195"/>
                </a:cubicBezTo>
                <a:cubicBezTo>
                  <a:pt x="173" y="194"/>
                  <a:pt x="173" y="194"/>
                  <a:pt x="173" y="194"/>
                </a:cubicBezTo>
                <a:cubicBezTo>
                  <a:pt x="174" y="194"/>
                  <a:pt x="174" y="194"/>
                  <a:pt x="174" y="194"/>
                </a:cubicBezTo>
                <a:cubicBezTo>
                  <a:pt x="174" y="194"/>
                  <a:pt x="174" y="194"/>
                  <a:pt x="174" y="194"/>
                </a:cubicBezTo>
                <a:cubicBezTo>
                  <a:pt x="174" y="193"/>
                  <a:pt x="174" y="193"/>
                  <a:pt x="174" y="193"/>
                </a:cubicBezTo>
                <a:cubicBezTo>
                  <a:pt x="175" y="193"/>
                  <a:pt x="175" y="193"/>
                  <a:pt x="175" y="193"/>
                </a:cubicBezTo>
                <a:cubicBezTo>
                  <a:pt x="176" y="192"/>
                  <a:pt x="176" y="192"/>
                  <a:pt x="176" y="192"/>
                </a:cubicBezTo>
                <a:cubicBezTo>
                  <a:pt x="176" y="192"/>
                  <a:pt x="176" y="192"/>
                  <a:pt x="176" y="192"/>
                </a:cubicBezTo>
                <a:cubicBezTo>
                  <a:pt x="178" y="193"/>
                  <a:pt x="178" y="193"/>
                  <a:pt x="178" y="193"/>
                </a:cubicBezTo>
                <a:cubicBezTo>
                  <a:pt x="178" y="191"/>
                  <a:pt x="178" y="191"/>
                  <a:pt x="178" y="191"/>
                </a:cubicBezTo>
                <a:cubicBezTo>
                  <a:pt x="179" y="191"/>
                  <a:pt x="179" y="191"/>
                  <a:pt x="179" y="191"/>
                </a:cubicBezTo>
                <a:cubicBezTo>
                  <a:pt x="179" y="192"/>
                  <a:pt x="179" y="192"/>
                  <a:pt x="179" y="192"/>
                </a:cubicBezTo>
                <a:cubicBezTo>
                  <a:pt x="179" y="192"/>
                  <a:pt x="179" y="192"/>
                  <a:pt x="179" y="192"/>
                </a:cubicBezTo>
                <a:cubicBezTo>
                  <a:pt x="180" y="191"/>
                  <a:pt x="180" y="191"/>
                  <a:pt x="180" y="191"/>
                </a:cubicBezTo>
                <a:cubicBezTo>
                  <a:pt x="181" y="192"/>
                  <a:pt x="181" y="192"/>
                  <a:pt x="181" y="192"/>
                </a:cubicBezTo>
                <a:cubicBezTo>
                  <a:pt x="181" y="192"/>
                  <a:pt x="181" y="192"/>
                  <a:pt x="181" y="192"/>
                </a:cubicBezTo>
                <a:cubicBezTo>
                  <a:pt x="182" y="190"/>
                  <a:pt x="182" y="190"/>
                  <a:pt x="182" y="190"/>
                </a:cubicBezTo>
                <a:cubicBezTo>
                  <a:pt x="181" y="190"/>
                  <a:pt x="181" y="190"/>
                  <a:pt x="181" y="190"/>
                </a:cubicBezTo>
                <a:cubicBezTo>
                  <a:pt x="180" y="190"/>
                  <a:pt x="180" y="190"/>
                  <a:pt x="180" y="190"/>
                </a:cubicBezTo>
                <a:cubicBezTo>
                  <a:pt x="181" y="189"/>
                  <a:pt x="181" y="189"/>
                  <a:pt x="181" y="189"/>
                </a:cubicBezTo>
                <a:cubicBezTo>
                  <a:pt x="182" y="188"/>
                  <a:pt x="182" y="188"/>
                  <a:pt x="182" y="188"/>
                </a:cubicBezTo>
                <a:cubicBezTo>
                  <a:pt x="183" y="188"/>
                  <a:pt x="183" y="188"/>
                  <a:pt x="183" y="188"/>
                </a:cubicBezTo>
                <a:cubicBezTo>
                  <a:pt x="183" y="189"/>
                  <a:pt x="183" y="189"/>
                  <a:pt x="183" y="189"/>
                </a:cubicBezTo>
                <a:cubicBezTo>
                  <a:pt x="183" y="188"/>
                  <a:pt x="183" y="188"/>
                  <a:pt x="183" y="188"/>
                </a:cubicBezTo>
                <a:cubicBezTo>
                  <a:pt x="183" y="188"/>
                  <a:pt x="183" y="188"/>
                  <a:pt x="183" y="188"/>
                </a:cubicBezTo>
                <a:cubicBezTo>
                  <a:pt x="182" y="187"/>
                  <a:pt x="182" y="187"/>
                  <a:pt x="182" y="187"/>
                </a:cubicBezTo>
                <a:cubicBezTo>
                  <a:pt x="183" y="187"/>
                  <a:pt x="183" y="187"/>
                  <a:pt x="183" y="187"/>
                </a:cubicBezTo>
                <a:cubicBezTo>
                  <a:pt x="184" y="187"/>
                  <a:pt x="184" y="187"/>
                  <a:pt x="184" y="187"/>
                </a:cubicBezTo>
                <a:cubicBezTo>
                  <a:pt x="185" y="186"/>
                  <a:pt x="185" y="186"/>
                  <a:pt x="185" y="186"/>
                </a:cubicBezTo>
                <a:cubicBezTo>
                  <a:pt x="187" y="186"/>
                  <a:pt x="187" y="186"/>
                  <a:pt x="187" y="186"/>
                </a:cubicBezTo>
                <a:cubicBezTo>
                  <a:pt x="188" y="185"/>
                  <a:pt x="188" y="185"/>
                  <a:pt x="188" y="185"/>
                </a:cubicBezTo>
                <a:cubicBezTo>
                  <a:pt x="189" y="185"/>
                  <a:pt x="189" y="185"/>
                  <a:pt x="189" y="185"/>
                </a:cubicBezTo>
                <a:cubicBezTo>
                  <a:pt x="190" y="183"/>
                  <a:pt x="190" y="183"/>
                  <a:pt x="190" y="183"/>
                </a:cubicBezTo>
                <a:cubicBezTo>
                  <a:pt x="190" y="181"/>
                  <a:pt x="190" y="181"/>
                  <a:pt x="190" y="181"/>
                </a:cubicBezTo>
                <a:cubicBezTo>
                  <a:pt x="190" y="181"/>
                  <a:pt x="190" y="181"/>
                  <a:pt x="190" y="181"/>
                </a:cubicBezTo>
                <a:cubicBezTo>
                  <a:pt x="190" y="181"/>
                  <a:pt x="190" y="181"/>
                  <a:pt x="190" y="181"/>
                </a:cubicBezTo>
                <a:cubicBezTo>
                  <a:pt x="189" y="180"/>
                  <a:pt x="189" y="180"/>
                  <a:pt x="189" y="180"/>
                </a:cubicBezTo>
                <a:cubicBezTo>
                  <a:pt x="188" y="179"/>
                  <a:pt x="188" y="179"/>
                  <a:pt x="188" y="179"/>
                </a:cubicBezTo>
                <a:cubicBezTo>
                  <a:pt x="187" y="179"/>
                  <a:pt x="187" y="179"/>
                  <a:pt x="187" y="179"/>
                </a:cubicBezTo>
                <a:cubicBezTo>
                  <a:pt x="187" y="178"/>
                  <a:pt x="187" y="178"/>
                  <a:pt x="187" y="178"/>
                </a:cubicBezTo>
                <a:cubicBezTo>
                  <a:pt x="187" y="177"/>
                  <a:pt x="187" y="177"/>
                  <a:pt x="187" y="177"/>
                </a:cubicBezTo>
                <a:cubicBezTo>
                  <a:pt x="189" y="176"/>
                  <a:pt x="189" y="176"/>
                  <a:pt x="189" y="176"/>
                </a:cubicBezTo>
                <a:cubicBezTo>
                  <a:pt x="189" y="176"/>
                  <a:pt x="189" y="176"/>
                  <a:pt x="189" y="176"/>
                </a:cubicBezTo>
                <a:cubicBezTo>
                  <a:pt x="190" y="175"/>
                  <a:pt x="190" y="175"/>
                  <a:pt x="190" y="175"/>
                </a:cubicBezTo>
                <a:cubicBezTo>
                  <a:pt x="190" y="175"/>
                  <a:pt x="190" y="175"/>
                  <a:pt x="190" y="175"/>
                </a:cubicBezTo>
                <a:cubicBezTo>
                  <a:pt x="190" y="175"/>
                  <a:pt x="190" y="175"/>
                  <a:pt x="190" y="175"/>
                </a:cubicBezTo>
                <a:cubicBezTo>
                  <a:pt x="190" y="174"/>
                  <a:pt x="190" y="174"/>
                  <a:pt x="190" y="174"/>
                </a:cubicBezTo>
                <a:cubicBezTo>
                  <a:pt x="192" y="174"/>
                  <a:pt x="192" y="174"/>
                  <a:pt x="192" y="174"/>
                </a:cubicBezTo>
                <a:cubicBezTo>
                  <a:pt x="193" y="173"/>
                  <a:pt x="193" y="173"/>
                  <a:pt x="193" y="173"/>
                </a:cubicBezTo>
                <a:cubicBezTo>
                  <a:pt x="194" y="174"/>
                  <a:pt x="194" y="174"/>
                  <a:pt x="194" y="174"/>
                </a:cubicBezTo>
                <a:cubicBezTo>
                  <a:pt x="196" y="173"/>
                  <a:pt x="196" y="173"/>
                  <a:pt x="196" y="173"/>
                </a:cubicBezTo>
                <a:cubicBezTo>
                  <a:pt x="196" y="174"/>
                  <a:pt x="196" y="174"/>
                  <a:pt x="196" y="174"/>
                </a:cubicBezTo>
                <a:cubicBezTo>
                  <a:pt x="196" y="175"/>
                  <a:pt x="196" y="175"/>
                  <a:pt x="196" y="175"/>
                </a:cubicBezTo>
                <a:cubicBezTo>
                  <a:pt x="197" y="175"/>
                  <a:pt x="197" y="175"/>
                  <a:pt x="197" y="175"/>
                </a:cubicBezTo>
                <a:cubicBezTo>
                  <a:pt x="198" y="173"/>
                  <a:pt x="198" y="173"/>
                  <a:pt x="198" y="173"/>
                </a:cubicBezTo>
                <a:cubicBezTo>
                  <a:pt x="198" y="173"/>
                  <a:pt x="198" y="173"/>
                  <a:pt x="198" y="173"/>
                </a:cubicBezTo>
                <a:cubicBezTo>
                  <a:pt x="197" y="173"/>
                  <a:pt x="197" y="173"/>
                  <a:pt x="197" y="173"/>
                </a:cubicBezTo>
                <a:cubicBezTo>
                  <a:pt x="197" y="172"/>
                  <a:pt x="197" y="172"/>
                  <a:pt x="197" y="172"/>
                </a:cubicBezTo>
                <a:cubicBezTo>
                  <a:pt x="198" y="172"/>
                  <a:pt x="198" y="172"/>
                  <a:pt x="198" y="172"/>
                </a:cubicBezTo>
                <a:cubicBezTo>
                  <a:pt x="199" y="172"/>
                  <a:pt x="199" y="172"/>
                  <a:pt x="199" y="172"/>
                </a:cubicBezTo>
                <a:cubicBezTo>
                  <a:pt x="201" y="172"/>
                  <a:pt x="201" y="172"/>
                  <a:pt x="201" y="172"/>
                </a:cubicBezTo>
                <a:cubicBezTo>
                  <a:pt x="201" y="170"/>
                  <a:pt x="201" y="170"/>
                  <a:pt x="201" y="170"/>
                </a:cubicBezTo>
                <a:cubicBezTo>
                  <a:pt x="201" y="168"/>
                  <a:pt x="201" y="168"/>
                  <a:pt x="201" y="168"/>
                </a:cubicBezTo>
                <a:cubicBezTo>
                  <a:pt x="199" y="167"/>
                  <a:pt x="199" y="167"/>
                  <a:pt x="199" y="167"/>
                </a:cubicBezTo>
                <a:cubicBezTo>
                  <a:pt x="198" y="167"/>
                  <a:pt x="198" y="167"/>
                  <a:pt x="198" y="167"/>
                </a:cubicBezTo>
                <a:cubicBezTo>
                  <a:pt x="198" y="168"/>
                  <a:pt x="198" y="168"/>
                  <a:pt x="198" y="168"/>
                </a:cubicBezTo>
                <a:cubicBezTo>
                  <a:pt x="198" y="168"/>
                  <a:pt x="198" y="168"/>
                  <a:pt x="198" y="168"/>
                </a:cubicBezTo>
                <a:cubicBezTo>
                  <a:pt x="199" y="167"/>
                  <a:pt x="199" y="167"/>
                  <a:pt x="199" y="167"/>
                </a:cubicBezTo>
                <a:cubicBezTo>
                  <a:pt x="200" y="167"/>
                  <a:pt x="200" y="167"/>
                  <a:pt x="200" y="167"/>
                </a:cubicBezTo>
                <a:cubicBezTo>
                  <a:pt x="201" y="168"/>
                  <a:pt x="201" y="168"/>
                  <a:pt x="201" y="168"/>
                </a:cubicBezTo>
                <a:cubicBezTo>
                  <a:pt x="203" y="167"/>
                  <a:pt x="203" y="167"/>
                  <a:pt x="203" y="167"/>
                </a:cubicBezTo>
                <a:cubicBezTo>
                  <a:pt x="204" y="166"/>
                  <a:pt x="204" y="166"/>
                  <a:pt x="204" y="166"/>
                </a:cubicBezTo>
                <a:cubicBezTo>
                  <a:pt x="204" y="166"/>
                  <a:pt x="204" y="166"/>
                  <a:pt x="204" y="166"/>
                </a:cubicBezTo>
                <a:cubicBezTo>
                  <a:pt x="207" y="164"/>
                  <a:pt x="207" y="164"/>
                  <a:pt x="207" y="164"/>
                </a:cubicBezTo>
                <a:cubicBezTo>
                  <a:pt x="208" y="163"/>
                  <a:pt x="208" y="163"/>
                  <a:pt x="208" y="163"/>
                </a:cubicBezTo>
                <a:cubicBezTo>
                  <a:pt x="210" y="163"/>
                  <a:pt x="210" y="163"/>
                  <a:pt x="210" y="163"/>
                </a:cubicBezTo>
                <a:cubicBezTo>
                  <a:pt x="210" y="162"/>
                  <a:pt x="210" y="162"/>
                  <a:pt x="210" y="162"/>
                </a:cubicBezTo>
                <a:cubicBezTo>
                  <a:pt x="210" y="161"/>
                  <a:pt x="210" y="161"/>
                  <a:pt x="210" y="161"/>
                </a:cubicBezTo>
                <a:cubicBezTo>
                  <a:pt x="213" y="159"/>
                  <a:pt x="213" y="159"/>
                  <a:pt x="213" y="159"/>
                </a:cubicBezTo>
                <a:cubicBezTo>
                  <a:pt x="215" y="159"/>
                  <a:pt x="215" y="159"/>
                  <a:pt x="215" y="159"/>
                </a:cubicBezTo>
                <a:cubicBezTo>
                  <a:pt x="218" y="157"/>
                  <a:pt x="218" y="157"/>
                  <a:pt x="218" y="157"/>
                </a:cubicBezTo>
                <a:cubicBezTo>
                  <a:pt x="220" y="157"/>
                  <a:pt x="220" y="157"/>
                  <a:pt x="220" y="157"/>
                </a:cubicBezTo>
                <a:cubicBezTo>
                  <a:pt x="222" y="154"/>
                  <a:pt x="222" y="154"/>
                  <a:pt x="222" y="154"/>
                </a:cubicBezTo>
                <a:cubicBezTo>
                  <a:pt x="221" y="156"/>
                  <a:pt x="221" y="156"/>
                  <a:pt x="221" y="156"/>
                </a:cubicBezTo>
                <a:cubicBezTo>
                  <a:pt x="221" y="157"/>
                  <a:pt x="221" y="157"/>
                  <a:pt x="221" y="157"/>
                </a:cubicBezTo>
                <a:cubicBezTo>
                  <a:pt x="222" y="157"/>
                  <a:pt x="222" y="157"/>
                  <a:pt x="222" y="157"/>
                </a:cubicBezTo>
                <a:cubicBezTo>
                  <a:pt x="223" y="158"/>
                  <a:pt x="223" y="158"/>
                  <a:pt x="223" y="158"/>
                </a:cubicBezTo>
                <a:cubicBezTo>
                  <a:pt x="223" y="158"/>
                  <a:pt x="223" y="158"/>
                  <a:pt x="223" y="158"/>
                </a:cubicBezTo>
                <a:cubicBezTo>
                  <a:pt x="225" y="156"/>
                  <a:pt x="225" y="156"/>
                  <a:pt x="225" y="156"/>
                </a:cubicBezTo>
                <a:cubicBezTo>
                  <a:pt x="226" y="156"/>
                  <a:pt x="226" y="156"/>
                  <a:pt x="226" y="156"/>
                </a:cubicBezTo>
                <a:cubicBezTo>
                  <a:pt x="228" y="155"/>
                  <a:pt x="228" y="155"/>
                  <a:pt x="228" y="155"/>
                </a:cubicBezTo>
                <a:cubicBezTo>
                  <a:pt x="229" y="154"/>
                  <a:pt x="229" y="154"/>
                  <a:pt x="229" y="154"/>
                </a:cubicBezTo>
                <a:cubicBezTo>
                  <a:pt x="229" y="156"/>
                  <a:pt x="229" y="156"/>
                  <a:pt x="229" y="156"/>
                </a:cubicBezTo>
                <a:cubicBezTo>
                  <a:pt x="227" y="157"/>
                  <a:pt x="227" y="157"/>
                  <a:pt x="227" y="157"/>
                </a:cubicBezTo>
                <a:cubicBezTo>
                  <a:pt x="225" y="157"/>
                  <a:pt x="225" y="157"/>
                  <a:pt x="225" y="157"/>
                </a:cubicBezTo>
                <a:cubicBezTo>
                  <a:pt x="222" y="160"/>
                  <a:pt x="222" y="160"/>
                  <a:pt x="222" y="160"/>
                </a:cubicBezTo>
                <a:cubicBezTo>
                  <a:pt x="222" y="161"/>
                  <a:pt x="222" y="161"/>
                  <a:pt x="222" y="161"/>
                </a:cubicBezTo>
                <a:cubicBezTo>
                  <a:pt x="224" y="163"/>
                  <a:pt x="224" y="163"/>
                  <a:pt x="224" y="163"/>
                </a:cubicBezTo>
                <a:cubicBezTo>
                  <a:pt x="224" y="164"/>
                  <a:pt x="224" y="164"/>
                  <a:pt x="224" y="164"/>
                </a:cubicBezTo>
                <a:cubicBezTo>
                  <a:pt x="223" y="163"/>
                  <a:pt x="223" y="163"/>
                  <a:pt x="223" y="163"/>
                </a:cubicBezTo>
                <a:cubicBezTo>
                  <a:pt x="222" y="163"/>
                  <a:pt x="222" y="163"/>
                  <a:pt x="222" y="163"/>
                </a:cubicBezTo>
                <a:cubicBezTo>
                  <a:pt x="221" y="163"/>
                  <a:pt x="221" y="163"/>
                  <a:pt x="221" y="163"/>
                </a:cubicBezTo>
                <a:cubicBezTo>
                  <a:pt x="220" y="163"/>
                  <a:pt x="220" y="163"/>
                  <a:pt x="220" y="163"/>
                </a:cubicBezTo>
                <a:cubicBezTo>
                  <a:pt x="219" y="162"/>
                  <a:pt x="219" y="162"/>
                  <a:pt x="219" y="162"/>
                </a:cubicBezTo>
                <a:cubicBezTo>
                  <a:pt x="219" y="161"/>
                  <a:pt x="219" y="161"/>
                  <a:pt x="219" y="161"/>
                </a:cubicBezTo>
                <a:cubicBezTo>
                  <a:pt x="217" y="162"/>
                  <a:pt x="217" y="162"/>
                  <a:pt x="217" y="162"/>
                </a:cubicBezTo>
                <a:cubicBezTo>
                  <a:pt x="216" y="162"/>
                  <a:pt x="216" y="162"/>
                  <a:pt x="216" y="162"/>
                </a:cubicBezTo>
                <a:cubicBezTo>
                  <a:pt x="214" y="163"/>
                  <a:pt x="214" y="163"/>
                  <a:pt x="214" y="163"/>
                </a:cubicBezTo>
                <a:cubicBezTo>
                  <a:pt x="212" y="163"/>
                  <a:pt x="212" y="163"/>
                  <a:pt x="212" y="163"/>
                </a:cubicBezTo>
                <a:cubicBezTo>
                  <a:pt x="211" y="164"/>
                  <a:pt x="211" y="164"/>
                  <a:pt x="211" y="164"/>
                </a:cubicBezTo>
                <a:cubicBezTo>
                  <a:pt x="211" y="166"/>
                  <a:pt x="211" y="166"/>
                  <a:pt x="211" y="166"/>
                </a:cubicBezTo>
                <a:cubicBezTo>
                  <a:pt x="211" y="166"/>
                  <a:pt x="211" y="166"/>
                  <a:pt x="211" y="166"/>
                </a:cubicBezTo>
                <a:cubicBezTo>
                  <a:pt x="210" y="168"/>
                  <a:pt x="210" y="168"/>
                  <a:pt x="210" y="168"/>
                </a:cubicBezTo>
                <a:cubicBezTo>
                  <a:pt x="209" y="169"/>
                  <a:pt x="209" y="169"/>
                  <a:pt x="209" y="169"/>
                </a:cubicBezTo>
                <a:cubicBezTo>
                  <a:pt x="208" y="171"/>
                  <a:pt x="208" y="171"/>
                  <a:pt x="208" y="171"/>
                </a:cubicBezTo>
                <a:cubicBezTo>
                  <a:pt x="204" y="174"/>
                  <a:pt x="204" y="174"/>
                  <a:pt x="204" y="174"/>
                </a:cubicBezTo>
                <a:cubicBezTo>
                  <a:pt x="203" y="175"/>
                  <a:pt x="203" y="175"/>
                  <a:pt x="203" y="175"/>
                </a:cubicBezTo>
                <a:cubicBezTo>
                  <a:pt x="203" y="176"/>
                  <a:pt x="203" y="176"/>
                  <a:pt x="203" y="176"/>
                </a:cubicBezTo>
                <a:cubicBezTo>
                  <a:pt x="205" y="178"/>
                  <a:pt x="205" y="178"/>
                  <a:pt x="205" y="178"/>
                </a:cubicBezTo>
                <a:cubicBezTo>
                  <a:pt x="205" y="177"/>
                  <a:pt x="205" y="177"/>
                  <a:pt x="205" y="177"/>
                </a:cubicBezTo>
                <a:cubicBezTo>
                  <a:pt x="206" y="177"/>
                  <a:pt x="206" y="177"/>
                  <a:pt x="206" y="177"/>
                </a:cubicBezTo>
                <a:cubicBezTo>
                  <a:pt x="207" y="176"/>
                  <a:pt x="207" y="176"/>
                  <a:pt x="207" y="176"/>
                </a:cubicBezTo>
                <a:cubicBezTo>
                  <a:pt x="208" y="176"/>
                  <a:pt x="208" y="176"/>
                  <a:pt x="208" y="176"/>
                </a:cubicBezTo>
                <a:cubicBezTo>
                  <a:pt x="208" y="177"/>
                  <a:pt x="208" y="177"/>
                  <a:pt x="208" y="177"/>
                </a:cubicBezTo>
                <a:cubicBezTo>
                  <a:pt x="206" y="178"/>
                  <a:pt x="206" y="178"/>
                  <a:pt x="206" y="178"/>
                </a:cubicBezTo>
                <a:cubicBezTo>
                  <a:pt x="205" y="179"/>
                  <a:pt x="205" y="179"/>
                  <a:pt x="205" y="179"/>
                </a:cubicBezTo>
                <a:cubicBezTo>
                  <a:pt x="204" y="180"/>
                  <a:pt x="204" y="180"/>
                  <a:pt x="204" y="180"/>
                </a:cubicBezTo>
                <a:cubicBezTo>
                  <a:pt x="203" y="179"/>
                  <a:pt x="203" y="179"/>
                  <a:pt x="203" y="179"/>
                </a:cubicBezTo>
                <a:cubicBezTo>
                  <a:pt x="202" y="179"/>
                  <a:pt x="202" y="179"/>
                  <a:pt x="202" y="179"/>
                </a:cubicBezTo>
                <a:cubicBezTo>
                  <a:pt x="201" y="180"/>
                  <a:pt x="201" y="180"/>
                  <a:pt x="201" y="180"/>
                </a:cubicBezTo>
                <a:cubicBezTo>
                  <a:pt x="201" y="181"/>
                  <a:pt x="201" y="181"/>
                  <a:pt x="201" y="181"/>
                </a:cubicBezTo>
                <a:cubicBezTo>
                  <a:pt x="200" y="180"/>
                  <a:pt x="200" y="180"/>
                  <a:pt x="200" y="180"/>
                </a:cubicBezTo>
                <a:cubicBezTo>
                  <a:pt x="199" y="181"/>
                  <a:pt x="199" y="181"/>
                  <a:pt x="199" y="181"/>
                </a:cubicBezTo>
                <a:cubicBezTo>
                  <a:pt x="200" y="182"/>
                  <a:pt x="200" y="182"/>
                  <a:pt x="200" y="182"/>
                </a:cubicBezTo>
                <a:cubicBezTo>
                  <a:pt x="201" y="184"/>
                  <a:pt x="201" y="184"/>
                  <a:pt x="201" y="184"/>
                </a:cubicBezTo>
                <a:cubicBezTo>
                  <a:pt x="202" y="184"/>
                  <a:pt x="202" y="184"/>
                  <a:pt x="202" y="184"/>
                </a:cubicBezTo>
                <a:cubicBezTo>
                  <a:pt x="202" y="183"/>
                  <a:pt x="202" y="183"/>
                  <a:pt x="202" y="183"/>
                </a:cubicBezTo>
                <a:cubicBezTo>
                  <a:pt x="203" y="184"/>
                  <a:pt x="203" y="184"/>
                  <a:pt x="203" y="184"/>
                </a:cubicBezTo>
                <a:cubicBezTo>
                  <a:pt x="203" y="182"/>
                  <a:pt x="203" y="182"/>
                  <a:pt x="203" y="182"/>
                </a:cubicBezTo>
                <a:cubicBezTo>
                  <a:pt x="204" y="182"/>
                  <a:pt x="204" y="182"/>
                  <a:pt x="204" y="182"/>
                </a:cubicBezTo>
                <a:cubicBezTo>
                  <a:pt x="204" y="183"/>
                  <a:pt x="204" y="183"/>
                  <a:pt x="204" y="183"/>
                </a:cubicBezTo>
                <a:cubicBezTo>
                  <a:pt x="205" y="183"/>
                  <a:pt x="205" y="183"/>
                  <a:pt x="205" y="183"/>
                </a:cubicBezTo>
                <a:cubicBezTo>
                  <a:pt x="205" y="182"/>
                  <a:pt x="205" y="182"/>
                  <a:pt x="205" y="182"/>
                </a:cubicBezTo>
                <a:cubicBezTo>
                  <a:pt x="206" y="182"/>
                  <a:pt x="206" y="182"/>
                  <a:pt x="206" y="182"/>
                </a:cubicBezTo>
                <a:cubicBezTo>
                  <a:pt x="208" y="181"/>
                  <a:pt x="208" y="181"/>
                  <a:pt x="208" y="181"/>
                </a:cubicBezTo>
                <a:cubicBezTo>
                  <a:pt x="208" y="179"/>
                  <a:pt x="208" y="179"/>
                  <a:pt x="208" y="179"/>
                </a:cubicBezTo>
                <a:cubicBezTo>
                  <a:pt x="209" y="179"/>
                  <a:pt x="209" y="179"/>
                  <a:pt x="209" y="179"/>
                </a:cubicBezTo>
                <a:cubicBezTo>
                  <a:pt x="209" y="179"/>
                  <a:pt x="209" y="179"/>
                  <a:pt x="209" y="179"/>
                </a:cubicBezTo>
                <a:cubicBezTo>
                  <a:pt x="208" y="180"/>
                  <a:pt x="208" y="180"/>
                  <a:pt x="208" y="180"/>
                </a:cubicBezTo>
                <a:cubicBezTo>
                  <a:pt x="209" y="181"/>
                  <a:pt x="209" y="181"/>
                  <a:pt x="209" y="181"/>
                </a:cubicBezTo>
                <a:cubicBezTo>
                  <a:pt x="210" y="181"/>
                  <a:pt x="210" y="181"/>
                  <a:pt x="210" y="181"/>
                </a:cubicBezTo>
                <a:cubicBezTo>
                  <a:pt x="212" y="179"/>
                  <a:pt x="212" y="179"/>
                  <a:pt x="212" y="179"/>
                </a:cubicBezTo>
                <a:cubicBezTo>
                  <a:pt x="213" y="179"/>
                  <a:pt x="213" y="179"/>
                  <a:pt x="213" y="179"/>
                </a:cubicBezTo>
                <a:cubicBezTo>
                  <a:pt x="214" y="180"/>
                  <a:pt x="214" y="180"/>
                  <a:pt x="214" y="180"/>
                </a:cubicBezTo>
                <a:cubicBezTo>
                  <a:pt x="214" y="179"/>
                  <a:pt x="214" y="179"/>
                  <a:pt x="214" y="179"/>
                </a:cubicBezTo>
                <a:cubicBezTo>
                  <a:pt x="215" y="177"/>
                  <a:pt x="215" y="177"/>
                  <a:pt x="215" y="177"/>
                </a:cubicBezTo>
                <a:cubicBezTo>
                  <a:pt x="216" y="176"/>
                  <a:pt x="216" y="176"/>
                  <a:pt x="216" y="176"/>
                </a:cubicBezTo>
                <a:cubicBezTo>
                  <a:pt x="217" y="176"/>
                  <a:pt x="217" y="176"/>
                  <a:pt x="217" y="176"/>
                </a:cubicBezTo>
                <a:cubicBezTo>
                  <a:pt x="216" y="178"/>
                  <a:pt x="216" y="178"/>
                  <a:pt x="216" y="178"/>
                </a:cubicBezTo>
                <a:cubicBezTo>
                  <a:pt x="216" y="179"/>
                  <a:pt x="216" y="179"/>
                  <a:pt x="216" y="179"/>
                </a:cubicBezTo>
                <a:cubicBezTo>
                  <a:pt x="216" y="178"/>
                  <a:pt x="216" y="178"/>
                  <a:pt x="216" y="178"/>
                </a:cubicBezTo>
                <a:cubicBezTo>
                  <a:pt x="218" y="176"/>
                  <a:pt x="218" y="176"/>
                  <a:pt x="218" y="176"/>
                </a:cubicBezTo>
                <a:cubicBezTo>
                  <a:pt x="218" y="174"/>
                  <a:pt x="218" y="174"/>
                  <a:pt x="218" y="174"/>
                </a:cubicBezTo>
                <a:cubicBezTo>
                  <a:pt x="219" y="174"/>
                  <a:pt x="219" y="174"/>
                  <a:pt x="219" y="174"/>
                </a:cubicBezTo>
                <a:cubicBezTo>
                  <a:pt x="219" y="175"/>
                  <a:pt x="219" y="175"/>
                  <a:pt x="219" y="175"/>
                </a:cubicBezTo>
                <a:cubicBezTo>
                  <a:pt x="218" y="176"/>
                  <a:pt x="218" y="176"/>
                  <a:pt x="218" y="176"/>
                </a:cubicBezTo>
                <a:cubicBezTo>
                  <a:pt x="219" y="177"/>
                  <a:pt x="219" y="177"/>
                  <a:pt x="219" y="177"/>
                </a:cubicBezTo>
                <a:cubicBezTo>
                  <a:pt x="220" y="175"/>
                  <a:pt x="220" y="175"/>
                  <a:pt x="220" y="175"/>
                </a:cubicBezTo>
                <a:cubicBezTo>
                  <a:pt x="221" y="176"/>
                  <a:pt x="221" y="176"/>
                  <a:pt x="221" y="176"/>
                </a:cubicBezTo>
                <a:cubicBezTo>
                  <a:pt x="221" y="177"/>
                  <a:pt x="221" y="177"/>
                  <a:pt x="221" y="177"/>
                </a:cubicBezTo>
                <a:cubicBezTo>
                  <a:pt x="222" y="177"/>
                  <a:pt x="222" y="177"/>
                  <a:pt x="222" y="177"/>
                </a:cubicBezTo>
                <a:cubicBezTo>
                  <a:pt x="222" y="177"/>
                  <a:pt x="222" y="177"/>
                  <a:pt x="222" y="177"/>
                </a:cubicBezTo>
                <a:cubicBezTo>
                  <a:pt x="223" y="177"/>
                  <a:pt x="223" y="177"/>
                  <a:pt x="223" y="177"/>
                </a:cubicBezTo>
                <a:cubicBezTo>
                  <a:pt x="224" y="175"/>
                  <a:pt x="224" y="175"/>
                  <a:pt x="224" y="175"/>
                </a:cubicBezTo>
                <a:cubicBezTo>
                  <a:pt x="226" y="175"/>
                  <a:pt x="226" y="175"/>
                  <a:pt x="226" y="175"/>
                </a:cubicBezTo>
                <a:cubicBezTo>
                  <a:pt x="227" y="174"/>
                  <a:pt x="227" y="174"/>
                  <a:pt x="227" y="174"/>
                </a:cubicBezTo>
                <a:cubicBezTo>
                  <a:pt x="226" y="174"/>
                  <a:pt x="226" y="174"/>
                  <a:pt x="226" y="174"/>
                </a:cubicBezTo>
                <a:cubicBezTo>
                  <a:pt x="226" y="173"/>
                  <a:pt x="226" y="173"/>
                  <a:pt x="226" y="173"/>
                </a:cubicBezTo>
                <a:cubicBezTo>
                  <a:pt x="229" y="172"/>
                  <a:pt x="229" y="172"/>
                  <a:pt x="229" y="172"/>
                </a:cubicBezTo>
                <a:cubicBezTo>
                  <a:pt x="229" y="171"/>
                  <a:pt x="229" y="171"/>
                  <a:pt x="229" y="171"/>
                </a:cubicBezTo>
                <a:cubicBezTo>
                  <a:pt x="229" y="170"/>
                  <a:pt x="229" y="170"/>
                  <a:pt x="229" y="170"/>
                </a:cubicBezTo>
                <a:cubicBezTo>
                  <a:pt x="228" y="170"/>
                  <a:pt x="228" y="170"/>
                  <a:pt x="228" y="170"/>
                </a:cubicBezTo>
                <a:cubicBezTo>
                  <a:pt x="227" y="169"/>
                  <a:pt x="227" y="169"/>
                  <a:pt x="227" y="169"/>
                </a:cubicBezTo>
                <a:cubicBezTo>
                  <a:pt x="226" y="169"/>
                  <a:pt x="226" y="169"/>
                  <a:pt x="226" y="169"/>
                </a:cubicBezTo>
                <a:cubicBezTo>
                  <a:pt x="226" y="168"/>
                  <a:pt x="226" y="168"/>
                  <a:pt x="226" y="168"/>
                </a:cubicBezTo>
                <a:cubicBezTo>
                  <a:pt x="227" y="168"/>
                  <a:pt x="227" y="168"/>
                  <a:pt x="227" y="168"/>
                </a:cubicBezTo>
                <a:cubicBezTo>
                  <a:pt x="228" y="169"/>
                  <a:pt x="228" y="169"/>
                  <a:pt x="228" y="169"/>
                </a:cubicBezTo>
                <a:cubicBezTo>
                  <a:pt x="229" y="168"/>
                  <a:pt x="229" y="168"/>
                  <a:pt x="229" y="168"/>
                </a:cubicBezTo>
                <a:cubicBezTo>
                  <a:pt x="229" y="167"/>
                  <a:pt x="229" y="167"/>
                  <a:pt x="229" y="167"/>
                </a:cubicBezTo>
                <a:cubicBezTo>
                  <a:pt x="228" y="167"/>
                  <a:pt x="228" y="167"/>
                  <a:pt x="228" y="167"/>
                </a:cubicBezTo>
                <a:cubicBezTo>
                  <a:pt x="226" y="166"/>
                  <a:pt x="226" y="166"/>
                  <a:pt x="226" y="166"/>
                </a:cubicBezTo>
                <a:cubicBezTo>
                  <a:pt x="226" y="165"/>
                  <a:pt x="226" y="165"/>
                  <a:pt x="226" y="165"/>
                </a:cubicBezTo>
                <a:cubicBezTo>
                  <a:pt x="228" y="165"/>
                  <a:pt x="228" y="165"/>
                  <a:pt x="228" y="165"/>
                </a:cubicBezTo>
                <a:cubicBezTo>
                  <a:pt x="229" y="165"/>
                  <a:pt x="229" y="165"/>
                  <a:pt x="229" y="165"/>
                </a:cubicBezTo>
                <a:cubicBezTo>
                  <a:pt x="229" y="165"/>
                  <a:pt x="229" y="165"/>
                  <a:pt x="229" y="165"/>
                </a:cubicBezTo>
                <a:cubicBezTo>
                  <a:pt x="229" y="165"/>
                  <a:pt x="229" y="165"/>
                  <a:pt x="229" y="165"/>
                </a:cubicBezTo>
                <a:cubicBezTo>
                  <a:pt x="229" y="163"/>
                  <a:pt x="229" y="163"/>
                  <a:pt x="229" y="163"/>
                </a:cubicBezTo>
                <a:cubicBezTo>
                  <a:pt x="231" y="162"/>
                  <a:pt x="231" y="162"/>
                  <a:pt x="231" y="162"/>
                </a:cubicBezTo>
                <a:cubicBezTo>
                  <a:pt x="232" y="163"/>
                  <a:pt x="232" y="163"/>
                  <a:pt x="232" y="163"/>
                </a:cubicBezTo>
                <a:cubicBezTo>
                  <a:pt x="233" y="163"/>
                  <a:pt x="233" y="163"/>
                  <a:pt x="233" y="163"/>
                </a:cubicBezTo>
                <a:cubicBezTo>
                  <a:pt x="235" y="163"/>
                  <a:pt x="235" y="163"/>
                  <a:pt x="235" y="163"/>
                </a:cubicBezTo>
                <a:cubicBezTo>
                  <a:pt x="232" y="164"/>
                  <a:pt x="232" y="164"/>
                  <a:pt x="232" y="164"/>
                </a:cubicBezTo>
                <a:cubicBezTo>
                  <a:pt x="232" y="165"/>
                  <a:pt x="232" y="165"/>
                  <a:pt x="232" y="165"/>
                </a:cubicBezTo>
                <a:cubicBezTo>
                  <a:pt x="233" y="168"/>
                  <a:pt x="233" y="168"/>
                  <a:pt x="233" y="168"/>
                </a:cubicBezTo>
                <a:cubicBezTo>
                  <a:pt x="233" y="167"/>
                  <a:pt x="233" y="167"/>
                  <a:pt x="233" y="167"/>
                </a:cubicBezTo>
                <a:cubicBezTo>
                  <a:pt x="234" y="165"/>
                  <a:pt x="234" y="165"/>
                  <a:pt x="234" y="165"/>
                </a:cubicBezTo>
                <a:cubicBezTo>
                  <a:pt x="235" y="164"/>
                  <a:pt x="235" y="164"/>
                  <a:pt x="235" y="164"/>
                </a:cubicBezTo>
                <a:cubicBezTo>
                  <a:pt x="236" y="164"/>
                  <a:pt x="236" y="164"/>
                  <a:pt x="236" y="164"/>
                </a:cubicBezTo>
                <a:cubicBezTo>
                  <a:pt x="235" y="165"/>
                  <a:pt x="235" y="165"/>
                  <a:pt x="235" y="165"/>
                </a:cubicBezTo>
                <a:cubicBezTo>
                  <a:pt x="235" y="166"/>
                  <a:pt x="235" y="166"/>
                  <a:pt x="235" y="166"/>
                </a:cubicBezTo>
                <a:cubicBezTo>
                  <a:pt x="235" y="167"/>
                  <a:pt x="235" y="167"/>
                  <a:pt x="235" y="167"/>
                </a:cubicBezTo>
                <a:cubicBezTo>
                  <a:pt x="236" y="166"/>
                  <a:pt x="236" y="166"/>
                  <a:pt x="236" y="166"/>
                </a:cubicBezTo>
                <a:cubicBezTo>
                  <a:pt x="237" y="165"/>
                  <a:pt x="237" y="165"/>
                  <a:pt x="237" y="165"/>
                </a:cubicBezTo>
                <a:cubicBezTo>
                  <a:pt x="238" y="166"/>
                  <a:pt x="238" y="166"/>
                  <a:pt x="238" y="166"/>
                </a:cubicBezTo>
                <a:cubicBezTo>
                  <a:pt x="239" y="165"/>
                  <a:pt x="239" y="165"/>
                  <a:pt x="239" y="165"/>
                </a:cubicBezTo>
                <a:cubicBezTo>
                  <a:pt x="239" y="165"/>
                  <a:pt x="239" y="165"/>
                  <a:pt x="239" y="165"/>
                </a:cubicBezTo>
                <a:cubicBezTo>
                  <a:pt x="241" y="164"/>
                  <a:pt x="241" y="164"/>
                  <a:pt x="241" y="164"/>
                </a:cubicBezTo>
                <a:cubicBezTo>
                  <a:pt x="242" y="164"/>
                  <a:pt x="242" y="164"/>
                  <a:pt x="242" y="164"/>
                </a:cubicBezTo>
                <a:cubicBezTo>
                  <a:pt x="243" y="164"/>
                  <a:pt x="243" y="164"/>
                  <a:pt x="243" y="164"/>
                </a:cubicBezTo>
                <a:cubicBezTo>
                  <a:pt x="243" y="165"/>
                  <a:pt x="243" y="165"/>
                  <a:pt x="243" y="165"/>
                </a:cubicBezTo>
                <a:cubicBezTo>
                  <a:pt x="241" y="165"/>
                  <a:pt x="241" y="165"/>
                  <a:pt x="241" y="165"/>
                </a:cubicBezTo>
                <a:cubicBezTo>
                  <a:pt x="240" y="166"/>
                  <a:pt x="240" y="166"/>
                  <a:pt x="240" y="166"/>
                </a:cubicBezTo>
                <a:cubicBezTo>
                  <a:pt x="239" y="166"/>
                  <a:pt x="239" y="166"/>
                  <a:pt x="239" y="166"/>
                </a:cubicBezTo>
                <a:cubicBezTo>
                  <a:pt x="239" y="167"/>
                  <a:pt x="239" y="167"/>
                  <a:pt x="239" y="167"/>
                </a:cubicBezTo>
                <a:cubicBezTo>
                  <a:pt x="239" y="168"/>
                  <a:pt x="239" y="168"/>
                  <a:pt x="239" y="168"/>
                </a:cubicBezTo>
                <a:cubicBezTo>
                  <a:pt x="242" y="168"/>
                  <a:pt x="242" y="168"/>
                  <a:pt x="242" y="168"/>
                </a:cubicBezTo>
                <a:cubicBezTo>
                  <a:pt x="242" y="169"/>
                  <a:pt x="242" y="169"/>
                  <a:pt x="242" y="169"/>
                </a:cubicBezTo>
                <a:cubicBezTo>
                  <a:pt x="242" y="169"/>
                  <a:pt x="242" y="169"/>
                  <a:pt x="242" y="169"/>
                </a:cubicBezTo>
                <a:cubicBezTo>
                  <a:pt x="241" y="168"/>
                  <a:pt x="241" y="168"/>
                  <a:pt x="241" y="168"/>
                </a:cubicBezTo>
                <a:cubicBezTo>
                  <a:pt x="239" y="168"/>
                  <a:pt x="239" y="168"/>
                  <a:pt x="239" y="168"/>
                </a:cubicBezTo>
                <a:cubicBezTo>
                  <a:pt x="238" y="169"/>
                  <a:pt x="238" y="169"/>
                  <a:pt x="238" y="169"/>
                </a:cubicBezTo>
                <a:cubicBezTo>
                  <a:pt x="238" y="170"/>
                  <a:pt x="238" y="170"/>
                  <a:pt x="238" y="170"/>
                </a:cubicBezTo>
                <a:cubicBezTo>
                  <a:pt x="239" y="170"/>
                  <a:pt x="239" y="170"/>
                  <a:pt x="239" y="170"/>
                </a:cubicBezTo>
                <a:cubicBezTo>
                  <a:pt x="240" y="169"/>
                  <a:pt x="240" y="169"/>
                  <a:pt x="240" y="169"/>
                </a:cubicBezTo>
                <a:cubicBezTo>
                  <a:pt x="241" y="170"/>
                  <a:pt x="241" y="170"/>
                  <a:pt x="241" y="170"/>
                </a:cubicBezTo>
                <a:cubicBezTo>
                  <a:pt x="240" y="170"/>
                  <a:pt x="240" y="170"/>
                  <a:pt x="240" y="170"/>
                </a:cubicBezTo>
                <a:cubicBezTo>
                  <a:pt x="239" y="170"/>
                  <a:pt x="239" y="170"/>
                  <a:pt x="239" y="170"/>
                </a:cubicBezTo>
                <a:cubicBezTo>
                  <a:pt x="239" y="171"/>
                  <a:pt x="239" y="171"/>
                  <a:pt x="239" y="171"/>
                </a:cubicBezTo>
                <a:cubicBezTo>
                  <a:pt x="241" y="172"/>
                  <a:pt x="241" y="172"/>
                  <a:pt x="241" y="172"/>
                </a:cubicBezTo>
                <a:cubicBezTo>
                  <a:pt x="241" y="173"/>
                  <a:pt x="241" y="173"/>
                  <a:pt x="241" y="173"/>
                </a:cubicBezTo>
                <a:cubicBezTo>
                  <a:pt x="241" y="173"/>
                  <a:pt x="241" y="173"/>
                  <a:pt x="241" y="173"/>
                </a:cubicBezTo>
                <a:cubicBezTo>
                  <a:pt x="240" y="173"/>
                  <a:pt x="240" y="173"/>
                  <a:pt x="240" y="173"/>
                </a:cubicBezTo>
                <a:cubicBezTo>
                  <a:pt x="240" y="174"/>
                  <a:pt x="240" y="174"/>
                  <a:pt x="240" y="174"/>
                </a:cubicBezTo>
                <a:cubicBezTo>
                  <a:pt x="241" y="174"/>
                  <a:pt x="241" y="174"/>
                  <a:pt x="241" y="174"/>
                </a:cubicBezTo>
                <a:cubicBezTo>
                  <a:pt x="242" y="173"/>
                  <a:pt x="242" y="173"/>
                  <a:pt x="242" y="173"/>
                </a:cubicBezTo>
                <a:cubicBezTo>
                  <a:pt x="243" y="174"/>
                  <a:pt x="243" y="174"/>
                  <a:pt x="243" y="174"/>
                </a:cubicBezTo>
                <a:cubicBezTo>
                  <a:pt x="244" y="175"/>
                  <a:pt x="244" y="175"/>
                  <a:pt x="244" y="175"/>
                </a:cubicBezTo>
                <a:cubicBezTo>
                  <a:pt x="246" y="174"/>
                  <a:pt x="246" y="174"/>
                  <a:pt x="246" y="174"/>
                </a:cubicBezTo>
                <a:cubicBezTo>
                  <a:pt x="247" y="175"/>
                  <a:pt x="247" y="175"/>
                  <a:pt x="247" y="175"/>
                </a:cubicBezTo>
                <a:cubicBezTo>
                  <a:pt x="247" y="176"/>
                  <a:pt x="247" y="176"/>
                  <a:pt x="247" y="176"/>
                </a:cubicBezTo>
                <a:cubicBezTo>
                  <a:pt x="246" y="176"/>
                  <a:pt x="246" y="176"/>
                  <a:pt x="246" y="176"/>
                </a:cubicBezTo>
                <a:cubicBezTo>
                  <a:pt x="246" y="177"/>
                  <a:pt x="246" y="177"/>
                  <a:pt x="246" y="177"/>
                </a:cubicBezTo>
                <a:cubicBezTo>
                  <a:pt x="247" y="177"/>
                  <a:pt x="247" y="177"/>
                  <a:pt x="247" y="177"/>
                </a:cubicBezTo>
                <a:cubicBezTo>
                  <a:pt x="247" y="178"/>
                  <a:pt x="247" y="178"/>
                  <a:pt x="247" y="178"/>
                </a:cubicBezTo>
                <a:cubicBezTo>
                  <a:pt x="248" y="178"/>
                  <a:pt x="248" y="178"/>
                  <a:pt x="248" y="178"/>
                </a:cubicBezTo>
                <a:cubicBezTo>
                  <a:pt x="249" y="177"/>
                  <a:pt x="249" y="177"/>
                  <a:pt x="249" y="177"/>
                </a:cubicBezTo>
                <a:cubicBezTo>
                  <a:pt x="248" y="176"/>
                  <a:pt x="248" y="176"/>
                  <a:pt x="248" y="176"/>
                </a:cubicBezTo>
                <a:cubicBezTo>
                  <a:pt x="249" y="176"/>
                  <a:pt x="249" y="176"/>
                  <a:pt x="249" y="176"/>
                </a:cubicBezTo>
                <a:cubicBezTo>
                  <a:pt x="250" y="176"/>
                  <a:pt x="250" y="176"/>
                  <a:pt x="250" y="176"/>
                </a:cubicBezTo>
                <a:cubicBezTo>
                  <a:pt x="249" y="177"/>
                  <a:pt x="249" y="177"/>
                  <a:pt x="249" y="177"/>
                </a:cubicBezTo>
                <a:cubicBezTo>
                  <a:pt x="249" y="178"/>
                  <a:pt x="249" y="178"/>
                  <a:pt x="249" y="178"/>
                </a:cubicBezTo>
                <a:cubicBezTo>
                  <a:pt x="248" y="179"/>
                  <a:pt x="248" y="179"/>
                  <a:pt x="248" y="179"/>
                </a:cubicBezTo>
                <a:cubicBezTo>
                  <a:pt x="249" y="181"/>
                  <a:pt x="249" y="181"/>
                  <a:pt x="249" y="181"/>
                </a:cubicBezTo>
                <a:cubicBezTo>
                  <a:pt x="248" y="181"/>
                  <a:pt x="248" y="181"/>
                  <a:pt x="248" y="181"/>
                </a:cubicBezTo>
                <a:cubicBezTo>
                  <a:pt x="248" y="181"/>
                  <a:pt x="248" y="181"/>
                  <a:pt x="248" y="181"/>
                </a:cubicBezTo>
                <a:cubicBezTo>
                  <a:pt x="247" y="181"/>
                  <a:pt x="247" y="181"/>
                  <a:pt x="247" y="181"/>
                </a:cubicBezTo>
                <a:cubicBezTo>
                  <a:pt x="247" y="182"/>
                  <a:pt x="247" y="182"/>
                  <a:pt x="247" y="182"/>
                </a:cubicBezTo>
                <a:cubicBezTo>
                  <a:pt x="250" y="182"/>
                  <a:pt x="250" y="182"/>
                  <a:pt x="250" y="182"/>
                </a:cubicBezTo>
                <a:cubicBezTo>
                  <a:pt x="251" y="182"/>
                  <a:pt x="251" y="182"/>
                  <a:pt x="251" y="182"/>
                </a:cubicBezTo>
                <a:cubicBezTo>
                  <a:pt x="252" y="182"/>
                  <a:pt x="252" y="182"/>
                  <a:pt x="252" y="182"/>
                </a:cubicBezTo>
                <a:cubicBezTo>
                  <a:pt x="253" y="182"/>
                  <a:pt x="253" y="182"/>
                  <a:pt x="253" y="182"/>
                </a:cubicBezTo>
                <a:cubicBezTo>
                  <a:pt x="255" y="182"/>
                  <a:pt x="255" y="182"/>
                  <a:pt x="255" y="182"/>
                </a:cubicBezTo>
                <a:cubicBezTo>
                  <a:pt x="256" y="182"/>
                  <a:pt x="256" y="182"/>
                  <a:pt x="256" y="182"/>
                </a:cubicBezTo>
                <a:cubicBezTo>
                  <a:pt x="257" y="182"/>
                  <a:pt x="257" y="182"/>
                  <a:pt x="257" y="182"/>
                </a:cubicBezTo>
                <a:cubicBezTo>
                  <a:pt x="257" y="183"/>
                  <a:pt x="257" y="183"/>
                  <a:pt x="257" y="183"/>
                </a:cubicBezTo>
                <a:cubicBezTo>
                  <a:pt x="258" y="183"/>
                  <a:pt x="258" y="183"/>
                  <a:pt x="258" y="183"/>
                </a:cubicBezTo>
                <a:cubicBezTo>
                  <a:pt x="259" y="184"/>
                  <a:pt x="259" y="184"/>
                  <a:pt x="259" y="184"/>
                </a:cubicBezTo>
                <a:cubicBezTo>
                  <a:pt x="259" y="185"/>
                  <a:pt x="259" y="185"/>
                  <a:pt x="259" y="185"/>
                </a:cubicBezTo>
                <a:cubicBezTo>
                  <a:pt x="260" y="185"/>
                  <a:pt x="260" y="185"/>
                  <a:pt x="260" y="185"/>
                </a:cubicBezTo>
                <a:cubicBezTo>
                  <a:pt x="261" y="185"/>
                  <a:pt x="261" y="185"/>
                  <a:pt x="261" y="185"/>
                </a:cubicBezTo>
                <a:cubicBezTo>
                  <a:pt x="263" y="185"/>
                  <a:pt x="263" y="185"/>
                  <a:pt x="263" y="185"/>
                </a:cubicBezTo>
                <a:cubicBezTo>
                  <a:pt x="263" y="184"/>
                  <a:pt x="263" y="184"/>
                  <a:pt x="263" y="184"/>
                </a:cubicBezTo>
                <a:cubicBezTo>
                  <a:pt x="264" y="184"/>
                  <a:pt x="264" y="184"/>
                  <a:pt x="264" y="184"/>
                </a:cubicBezTo>
                <a:cubicBezTo>
                  <a:pt x="263" y="185"/>
                  <a:pt x="263" y="185"/>
                  <a:pt x="263" y="185"/>
                </a:cubicBezTo>
                <a:cubicBezTo>
                  <a:pt x="263" y="186"/>
                  <a:pt x="263" y="186"/>
                  <a:pt x="263" y="186"/>
                </a:cubicBezTo>
                <a:cubicBezTo>
                  <a:pt x="261" y="186"/>
                  <a:pt x="261" y="186"/>
                  <a:pt x="261" y="186"/>
                </a:cubicBezTo>
                <a:cubicBezTo>
                  <a:pt x="262" y="187"/>
                  <a:pt x="262" y="187"/>
                  <a:pt x="262" y="187"/>
                </a:cubicBezTo>
                <a:cubicBezTo>
                  <a:pt x="263" y="188"/>
                  <a:pt x="263" y="188"/>
                  <a:pt x="263" y="188"/>
                </a:cubicBezTo>
                <a:cubicBezTo>
                  <a:pt x="264" y="189"/>
                  <a:pt x="264" y="189"/>
                  <a:pt x="264" y="189"/>
                </a:cubicBezTo>
                <a:cubicBezTo>
                  <a:pt x="265" y="189"/>
                  <a:pt x="265" y="189"/>
                  <a:pt x="265" y="189"/>
                </a:cubicBezTo>
                <a:cubicBezTo>
                  <a:pt x="266" y="190"/>
                  <a:pt x="266" y="190"/>
                  <a:pt x="266" y="190"/>
                </a:cubicBezTo>
                <a:cubicBezTo>
                  <a:pt x="269" y="189"/>
                  <a:pt x="269" y="189"/>
                  <a:pt x="269" y="189"/>
                </a:cubicBezTo>
                <a:cubicBezTo>
                  <a:pt x="270" y="189"/>
                  <a:pt x="270" y="189"/>
                  <a:pt x="270" y="189"/>
                </a:cubicBezTo>
                <a:cubicBezTo>
                  <a:pt x="270" y="190"/>
                  <a:pt x="270" y="190"/>
                  <a:pt x="270" y="190"/>
                </a:cubicBezTo>
                <a:cubicBezTo>
                  <a:pt x="271" y="189"/>
                  <a:pt x="271" y="189"/>
                  <a:pt x="271" y="189"/>
                </a:cubicBezTo>
                <a:cubicBezTo>
                  <a:pt x="272" y="188"/>
                  <a:pt x="272" y="188"/>
                  <a:pt x="272" y="188"/>
                </a:cubicBezTo>
                <a:cubicBezTo>
                  <a:pt x="273" y="188"/>
                  <a:pt x="273" y="188"/>
                  <a:pt x="273" y="188"/>
                </a:cubicBezTo>
                <a:cubicBezTo>
                  <a:pt x="272" y="188"/>
                  <a:pt x="272" y="188"/>
                  <a:pt x="272" y="188"/>
                </a:cubicBezTo>
                <a:cubicBezTo>
                  <a:pt x="271" y="189"/>
                  <a:pt x="271" y="189"/>
                  <a:pt x="271" y="189"/>
                </a:cubicBezTo>
                <a:cubicBezTo>
                  <a:pt x="271" y="191"/>
                  <a:pt x="271" y="191"/>
                  <a:pt x="271" y="191"/>
                </a:cubicBezTo>
                <a:cubicBezTo>
                  <a:pt x="271" y="193"/>
                  <a:pt x="271" y="193"/>
                  <a:pt x="271" y="193"/>
                </a:cubicBezTo>
                <a:cubicBezTo>
                  <a:pt x="270" y="193"/>
                  <a:pt x="270" y="193"/>
                  <a:pt x="270" y="193"/>
                </a:cubicBezTo>
                <a:cubicBezTo>
                  <a:pt x="268" y="192"/>
                  <a:pt x="268" y="192"/>
                  <a:pt x="268" y="192"/>
                </a:cubicBezTo>
                <a:cubicBezTo>
                  <a:pt x="268" y="192"/>
                  <a:pt x="268" y="192"/>
                  <a:pt x="268" y="192"/>
                </a:cubicBezTo>
                <a:cubicBezTo>
                  <a:pt x="269" y="194"/>
                  <a:pt x="269" y="194"/>
                  <a:pt x="269" y="194"/>
                </a:cubicBezTo>
                <a:cubicBezTo>
                  <a:pt x="269" y="195"/>
                  <a:pt x="269" y="195"/>
                  <a:pt x="269" y="195"/>
                </a:cubicBezTo>
                <a:cubicBezTo>
                  <a:pt x="270" y="196"/>
                  <a:pt x="270" y="196"/>
                  <a:pt x="270" y="196"/>
                </a:cubicBezTo>
                <a:cubicBezTo>
                  <a:pt x="271" y="195"/>
                  <a:pt x="271" y="195"/>
                  <a:pt x="271" y="195"/>
                </a:cubicBezTo>
                <a:cubicBezTo>
                  <a:pt x="272" y="196"/>
                  <a:pt x="272" y="196"/>
                  <a:pt x="272" y="196"/>
                </a:cubicBezTo>
                <a:cubicBezTo>
                  <a:pt x="271" y="197"/>
                  <a:pt x="271" y="197"/>
                  <a:pt x="271" y="197"/>
                </a:cubicBezTo>
                <a:cubicBezTo>
                  <a:pt x="271" y="197"/>
                  <a:pt x="271" y="197"/>
                  <a:pt x="271" y="197"/>
                </a:cubicBezTo>
                <a:cubicBezTo>
                  <a:pt x="271" y="197"/>
                  <a:pt x="271" y="197"/>
                  <a:pt x="271" y="197"/>
                </a:cubicBezTo>
                <a:cubicBezTo>
                  <a:pt x="272" y="199"/>
                  <a:pt x="272" y="199"/>
                  <a:pt x="272" y="199"/>
                </a:cubicBezTo>
                <a:cubicBezTo>
                  <a:pt x="273" y="198"/>
                  <a:pt x="273" y="198"/>
                  <a:pt x="273" y="198"/>
                </a:cubicBezTo>
                <a:cubicBezTo>
                  <a:pt x="274" y="199"/>
                  <a:pt x="274" y="199"/>
                  <a:pt x="274" y="199"/>
                </a:cubicBezTo>
                <a:cubicBezTo>
                  <a:pt x="275" y="197"/>
                  <a:pt x="275" y="197"/>
                  <a:pt x="275" y="197"/>
                </a:cubicBezTo>
                <a:cubicBezTo>
                  <a:pt x="276" y="195"/>
                  <a:pt x="276" y="195"/>
                  <a:pt x="276" y="195"/>
                </a:cubicBezTo>
                <a:cubicBezTo>
                  <a:pt x="276" y="197"/>
                  <a:pt x="276" y="197"/>
                  <a:pt x="276" y="197"/>
                </a:cubicBezTo>
                <a:cubicBezTo>
                  <a:pt x="276" y="198"/>
                  <a:pt x="276" y="198"/>
                  <a:pt x="276" y="198"/>
                </a:cubicBezTo>
                <a:cubicBezTo>
                  <a:pt x="275" y="199"/>
                  <a:pt x="275" y="199"/>
                  <a:pt x="275" y="199"/>
                </a:cubicBezTo>
                <a:cubicBezTo>
                  <a:pt x="275" y="199"/>
                  <a:pt x="275" y="199"/>
                  <a:pt x="275" y="199"/>
                </a:cubicBezTo>
                <a:cubicBezTo>
                  <a:pt x="274" y="200"/>
                  <a:pt x="274" y="200"/>
                  <a:pt x="274" y="200"/>
                </a:cubicBezTo>
                <a:cubicBezTo>
                  <a:pt x="274" y="201"/>
                  <a:pt x="274" y="201"/>
                  <a:pt x="274" y="201"/>
                </a:cubicBezTo>
                <a:cubicBezTo>
                  <a:pt x="275" y="202"/>
                  <a:pt x="275" y="202"/>
                  <a:pt x="275" y="202"/>
                </a:cubicBezTo>
                <a:cubicBezTo>
                  <a:pt x="275" y="202"/>
                  <a:pt x="275" y="202"/>
                  <a:pt x="275" y="202"/>
                </a:cubicBezTo>
                <a:cubicBezTo>
                  <a:pt x="275" y="205"/>
                  <a:pt x="275" y="205"/>
                  <a:pt x="275" y="205"/>
                </a:cubicBezTo>
                <a:cubicBezTo>
                  <a:pt x="275" y="206"/>
                  <a:pt x="275" y="206"/>
                  <a:pt x="275" y="206"/>
                </a:cubicBezTo>
                <a:cubicBezTo>
                  <a:pt x="276" y="206"/>
                  <a:pt x="276" y="206"/>
                  <a:pt x="276" y="206"/>
                </a:cubicBezTo>
                <a:cubicBezTo>
                  <a:pt x="276" y="207"/>
                  <a:pt x="276" y="207"/>
                  <a:pt x="276" y="207"/>
                </a:cubicBezTo>
                <a:cubicBezTo>
                  <a:pt x="276" y="208"/>
                  <a:pt x="276" y="208"/>
                  <a:pt x="276" y="208"/>
                </a:cubicBezTo>
                <a:cubicBezTo>
                  <a:pt x="278" y="210"/>
                  <a:pt x="278" y="210"/>
                  <a:pt x="278" y="210"/>
                </a:cubicBezTo>
                <a:cubicBezTo>
                  <a:pt x="279" y="211"/>
                  <a:pt x="279" y="211"/>
                  <a:pt x="279" y="211"/>
                </a:cubicBezTo>
                <a:cubicBezTo>
                  <a:pt x="279" y="211"/>
                  <a:pt x="279" y="211"/>
                  <a:pt x="279" y="211"/>
                </a:cubicBezTo>
                <a:cubicBezTo>
                  <a:pt x="279" y="211"/>
                  <a:pt x="279" y="211"/>
                  <a:pt x="279" y="211"/>
                </a:cubicBezTo>
                <a:cubicBezTo>
                  <a:pt x="280" y="212"/>
                  <a:pt x="280" y="212"/>
                  <a:pt x="280" y="212"/>
                </a:cubicBezTo>
                <a:cubicBezTo>
                  <a:pt x="281" y="211"/>
                  <a:pt x="281" y="211"/>
                  <a:pt x="281" y="211"/>
                </a:cubicBezTo>
                <a:cubicBezTo>
                  <a:pt x="281" y="211"/>
                  <a:pt x="281" y="211"/>
                  <a:pt x="281" y="211"/>
                </a:cubicBezTo>
                <a:cubicBezTo>
                  <a:pt x="281" y="210"/>
                  <a:pt x="281" y="210"/>
                  <a:pt x="281" y="210"/>
                </a:cubicBezTo>
                <a:cubicBezTo>
                  <a:pt x="281" y="211"/>
                  <a:pt x="281" y="211"/>
                  <a:pt x="281" y="211"/>
                </a:cubicBezTo>
                <a:cubicBezTo>
                  <a:pt x="282" y="211"/>
                  <a:pt x="282" y="211"/>
                  <a:pt x="282" y="211"/>
                </a:cubicBezTo>
                <a:cubicBezTo>
                  <a:pt x="283" y="210"/>
                  <a:pt x="283" y="210"/>
                  <a:pt x="283" y="210"/>
                </a:cubicBezTo>
                <a:cubicBezTo>
                  <a:pt x="282" y="208"/>
                  <a:pt x="282" y="208"/>
                  <a:pt x="282" y="208"/>
                </a:cubicBezTo>
                <a:cubicBezTo>
                  <a:pt x="281" y="208"/>
                  <a:pt x="281" y="208"/>
                  <a:pt x="281" y="208"/>
                </a:cubicBezTo>
                <a:cubicBezTo>
                  <a:pt x="281" y="208"/>
                  <a:pt x="281" y="208"/>
                  <a:pt x="281" y="208"/>
                </a:cubicBezTo>
                <a:cubicBezTo>
                  <a:pt x="280" y="208"/>
                  <a:pt x="280" y="208"/>
                  <a:pt x="280" y="208"/>
                </a:cubicBezTo>
                <a:cubicBezTo>
                  <a:pt x="281" y="207"/>
                  <a:pt x="281" y="207"/>
                  <a:pt x="281" y="207"/>
                </a:cubicBezTo>
                <a:cubicBezTo>
                  <a:pt x="281" y="206"/>
                  <a:pt x="281" y="206"/>
                  <a:pt x="281" y="206"/>
                </a:cubicBezTo>
                <a:cubicBezTo>
                  <a:pt x="281" y="205"/>
                  <a:pt x="281" y="205"/>
                  <a:pt x="281" y="205"/>
                </a:cubicBezTo>
                <a:cubicBezTo>
                  <a:pt x="280" y="205"/>
                  <a:pt x="280" y="205"/>
                  <a:pt x="280" y="205"/>
                </a:cubicBezTo>
                <a:cubicBezTo>
                  <a:pt x="280" y="204"/>
                  <a:pt x="280" y="204"/>
                  <a:pt x="280" y="204"/>
                </a:cubicBezTo>
                <a:cubicBezTo>
                  <a:pt x="280" y="204"/>
                  <a:pt x="280" y="204"/>
                  <a:pt x="280" y="204"/>
                </a:cubicBezTo>
                <a:cubicBezTo>
                  <a:pt x="280" y="202"/>
                  <a:pt x="280" y="202"/>
                  <a:pt x="280" y="202"/>
                </a:cubicBezTo>
                <a:cubicBezTo>
                  <a:pt x="281" y="202"/>
                  <a:pt x="281" y="202"/>
                  <a:pt x="281" y="202"/>
                </a:cubicBezTo>
                <a:cubicBezTo>
                  <a:pt x="281" y="204"/>
                  <a:pt x="281" y="204"/>
                  <a:pt x="281" y="204"/>
                </a:cubicBezTo>
                <a:cubicBezTo>
                  <a:pt x="282" y="204"/>
                  <a:pt x="282" y="204"/>
                  <a:pt x="282" y="204"/>
                </a:cubicBezTo>
                <a:cubicBezTo>
                  <a:pt x="282" y="203"/>
                  <a:pt x="282" y="203"/>
                  <a:pt x="282" y="203"/>
                </a:cubicBezTo>
                <a:cubicBezTo>
                  <a:pt x="283" y="204"/>
                  <a:pt x="283" y="204"/>
                  <a:pt x="283" y="204"/>
                </a:cubicBezTo>
                <a:cubicBezTo>
                  <a:pt x="283" y="205"/>
                  <a:pt x="283" y="205"/>
                  <a:pt x="283" y="205"/>
                </a:cubicBezTo>
                <a:cubicBezTo>
                  <a:pt x="283" y="206"/>
                  <a:pt x="283" y="206"/>
                  <a:pt x="283" y="206"/>
                </a:cubicBezTo>
                <a:cubicBezTo>
                  <a:pt x="283" y="207"/>
                  <a:pt x="283" y="207"/>
                  <a:pt x="283" y="207"/>
                </a:cubicBezTo>
                <a:cubicBezTo>
                  <a:pt x="284" y="207"/>
                  <a:pt x="284" y="207"/>
                  <a:pt x="284" y="207"/>
                </a:cubicBezTo>
                <a:cubicBezTo>
                  <a:pt x="285" y="206"/>
                  <a:pt x="285" y="206"/>
                  <a:pt x="285" y="206"/>
                </a:cubicBezTo>
                <a:cubicBezTo>
                  <a:pt x="285" y="206"/>
                  <a:pt x="285" y="206"/>
                  <a:pt x="285" y="206"/>
                </a:cubicBezTo>
                <a:cubicBezTo>
                  <a:pt x="285" y="207"/>
                  <a:pt x="285" y="207"/>
                  <a:pt x="285" y="207"/>
                </a:cubicBezTo>
                <a:cubicBezTo>
                  <a:pt x="284" y="208"/>
                  <a:pt x="284" y="208"/>
                  <a:pt x="284" y="208"/>
                </a:cubicBezTo>
                <a:cubicBezTo>
                  <a:pt x="284" y="209"/>
                  <a:pt x="284" y="209"/>
                  <a:pt x="284" y="209"/>
                </a:cubicBezTo>
                <a:cubicBezTo>
                  <a:pt x="284" y="210"/>
                  <a:pt x="284" y="210"/>
                  <a:pt x="284" y="210"/>
                </a:cubicBezTo>
                <a:cubicBezTo>
                  <a:pt x="284" y="211"/>
                  <a:pt x="284" y="211"/>
                  <a:pt x="284" y="211"/>
                </a:cubicBezTo>
                <a:cubicBezTo>
                  <a:pt x="284" y="212"/>
                  <a:pt x="284" y="212"/>
                  <a:pt x="284" y="212"/>
                </a:cubicBezTo>
                <a:cubicBezTo>
                  <a:pt x="286" y="212"/>
                  <a:pt x="286" y="212"/>
                  <a:pt x="286" y="212"/>
                </a:cubicBezTo>
                <a:cubicBezTo>
                  <a:pt x="286" y="212"/>
                  <a:pt x="286" y="212"/>
                  <a:pt x="286" y="212"/>
                </a:cubicBezTo>
                <a:cubicBezTo>
                  <a:pt x="287" y="211"/>
                  <a:pt x="287" y="211"/>
                  <a:pt x="287" y="211"/>
                </a:cubicBezTo>
                <a:cubicBezTo>
                  <a:pt x="287" y="212"/>
                  <a:pt x="287" y="212"/>
                  <a:pt x="287" y="212"/>
                </a:cubicBezTo>
                <a:cubicBezTo>
                  <a:pt x="286" y="212"/>
                  <a:pt x="286" y="212"/>
                  <a:pt x="286" y="212"/>
                </a:cubicBezTo>
                <a:cubicBezTo>
                  <a:pt x="287" y="214"/>
                  <a:pt x="287" y="214"/>
                  <a:pt x="287" y="214"/>
                </a:cubicBezTo>
                <a:cubicBezTo>
                  <a:pt x="287" y="214"/>
                  <a:pt x="287" y="214"/>
                  <a:pt x="287" y="214"/>
                </a:cubicBezTo>
                <a:cubicBezTo>
                  <a:pt x="289" y="212"/>
                  <a:pt x="289" y="212"/>
                  <a:pt x="289" y="212"/>
                </a:cubicBezTo>
                <a:cubicBezTo>
                  <a:pt x="289" y="211"/>
                  <a:pt x="289" y="211"/>
                  <a:pt x="289" y="211"/>
                </a:cubicBezTo>
                <a:cubicBezTo>
                  <a:pt x="289" y="210"/>
                  <a:pt x="289" y="210"/>
                  <a:pt x="289" y="210"/>
                </a:cubicBezTo>
                <a:cubicBezTo>
                  <a:pt x="289" y="207"/>
                  <a:pt x="289" y="207"/>
                  <a:pt x="289" y="207"/>
                </a:cubicBezTo>
                <a:cubicBezTo>
                  <a:pt x="290" y="204"/>
                  <a:pt x="290" y="204"/>
                  <a:pt x="290" y="204"/>
                </a:cubicBezTo>
                <a:cubicBezTo>
                  <a:pt x="290" y="201"/>
                  <a:pt x="290" y="201"/>
                  <a:pt x="290" y="201"/>
                </a:cubicBezTo>
                <a:cubicBezTo>
                  <a:pt x="290" y="200"/>
                  <a:pt x="290" y="200"/>
                  <a:pt x="290" y="200"/>
                </a:cubicBezTo>
                <a:cubicBezTo>
                  <a:pt x="290" y="199"/>
                  <a:pt x="290" y="199"/>
                  <a:pt x="290" y="199"/>
                </a:cubicBezTo>
                <a:cubicBezTo>
                  <a:pt x="290" y="198"/>
                  <a:pt x="290" y="198"/>
                  <a:pt x="290" y="198"/>
                </a:cubicBezTo>
                <a:cubicBezTo>
                  <a:pt x="290" y="199"/>
                  <a:pt x="290" y="199"/>
                  <a:pt x="290" y="199"/>
                </a:cubicBezTo>
                <a:cubicBezTo>
                  <a:pt x="291" y="200"/>
                  <a:pt x="291" y="200"/>
                  <a:pt x="291" y="200"/>
                </a:cubicBezTo>
                <a:cubicBezTo>
                  <a:pt x="291" y="200"/>
                  <a:pt x="291" y="200"/>
                  <a:pt x="291" y="200"/>
                </a:cubicBezTo>
                <a:cubicBezTo>
                  <a:pt x="292" y="199"/>
                  <a:pt x="292" y="199"/>
                  <a:pt x="292" y="199"/>
                </a:cubicBezTo>
                <a:cubicBezTo>
                  <a:pt x="293" y="198"/>
                  <a:pt x="293" y="198"/>
                  <a:pt x="293" y="198"/>
                </a:cubicBezTo>
                <a:cubicBezTo>
                  <a:pt x="292" y="200"/>
                  <a:pt x="292" y="200"/>
                  <a:pt x="292" y="200"/>
                </a:cubicBezTo>
                <a:cubicBezTo>
                  <a:pt x="292" y="202"/>
                  <a:pt x="292" y="202"/>
                  <a:pt x="292" y="202"/>
                </a:cubicBezTo>
                <a:cubicBezTo>
                  <a:pt x="292" y="204"/>
                  <a:pt x="292" y="204"/>
                  <a:pt x="292" y="204"/>
                </a:cubicBezTo>
                <a:cubicBezTo>
                  <a:pt x="291" y="206"/>
                  <a:pt x="291" y="206"/>
                  <a:pt x="291" y="206"/>
                </a:cubicBezTo>
                <a:cubicBezTo>
                  <a:pt x="291" y="207"/>
                  <a:pt x="291" y="207"/>
                  <a:pt x="291" y="207"/>
                </a:cubicBezTo>
                <a:cubicBezTo>
                  <a:pt x="291" y="208"/>
                  <a:pt x="291" y="208"/>
                  <a:pt x="291" y="208"/>
                </a:cubicBezTo>
                <a:cubicBezTo>
                  <a:pt x="291" y="209"/>
                  <a:pt x="291" y="209"/>
                  <a:pt x="291" y="209"/>
                </a:cubicBezTo>
                <a:cubicBezTo>
                  <a:pt x="290" y="211"/>
                  <a:pt x="290" y="211"/>
                  <a:pt x="290" y="211"/>
                </a:cubicBezTo>
                <a:cubicBezTo>
                  <a:pt x="291" y="212"/>
                  <a:pt x="291" y="212"/>
                  <a:pt x="291" y="212"/>
                </a:cubicBezTo>
                <a:cubicBezTo>
                  <a:pt x="291" y="213"/>
                  <a:pt x="291" y="213"/>
                  <a:pt x="291" y="213"/>
                </a:cubicBezTo>
                <a:cubicBezTo>
                  <a:pt x="292" y="214"/>
                  <a:pt x="292" y="214"/>
                  <a:pt x="292" y="214"/>
                </a:cubicBezTo>
                <a:cubicBezTo>
                  <a:pt x="292" y="216"/>
                  <a:pt x="292" y="216"/>
                  <a:pt x="292" y="216"/>
                </a:cubicBezTo>
                <a:cubicBezTo>
                  <a:pt x="293" y="216"/>
                  <a:pt x="293" y="216"/>
                  <a:pt x="293" y="216"/>
                </a:cubicBezTo>
                <a:cubicBezTo>
                  <a:pt x="293" y="217"/>
                  <a:pt x="293" y="217"/>
                  <a:pt x="293" y="217"/>
                </a:cubicBezTo>
                <a:cubicBezTo>
                  <a:pt x="294" y="218"/>
                  <a:pt x="294" y="218"/>
                  <a:pt x="294" y="218"/>
                </a:cubicBezTo>
                <a:cubicBezTo>
                  <a:pt x="295" y="217"/>
                  <a:pt x="295" y="217"/>
                  <a:pt x="295" y="217"/>
                </a:cubicBezTo>
                <a:cubicBezTo>
                  <a:pt x="295" y="218"/>
                  <a:pt x="295" y="218"/>
                  <a:pt x="295" y="218"/>
                </a:cubicBezTo>
                <a:cubicBezTo>
                  <a:pt x="296" y="217"/>
                  <a:pt x="296" y="217"/>
                  <a:pt x="296" y="217"/>
                </a:cubicBezTo>
                <a:cubicBezTo>
                  <a:pt x="298" y="217"/>
                  <a:pt x="298" y="217"/>
                  <a:pt x="298" y="217"/>
                </a:cubicBezTo>
                <a:cubicBezTo>
                  <a:pt x="298" y="217"/>
                  <a:pt x="298" y="217"/>
                  <a:pt x="298" y="217"/>
                </a:cubicBezTo>
                <a:cubicBezTo>
                  <a:pt x="296" y="218"/>
                  <a:pt x="296" y="218"/>
                  <a:pt x="296" y="218"/>
                </a:cubicBezTo>
                <a:cubicBezTo>
                  <a:pt x="295" y="219"/>
                  <a:pt x="295" y="219"/>
                  <a:pt x="295" y="219"/>
                </a:cubicBezTo>
                <a:cubicBezTo>
                  <a:pt x="295" y="219"/>
                  <a:pt x="295" y="219"/>
                  <a:pt x="295" y="219"/>
                </a:cubicBezTo>
                <a:cubicBezTo>
                  <a:pt x="296" y="220"/>
                  <a:pt x="296" y="220"/>
                  <a:pt x="296" y="220"/>
                </a:cubicBezTo>
                <a:cubicBezTo>
                  <a:pt x="296" y="220"/>
                  <a:pt x="296" y="220"/>
                  <a:pt x="296" y="220"/>
                </a:cubicBezTo>
                <a:cubicBezTo>
                  <a:pt x="295" y="221"/>
                  <a:pt x="295" y="221"/>
                  <a:pt x="295" y="221"/>
                </a:cubicBezTo>
                <a:cubicBezTo>
                  <a:pt x="295" y="221"/>
                  <a:pt x="295" y="221"/>
                  <a:pt x="295" y="221"/>
                </a:cubicBezTo>
                <a:cubicBezTo>
                  <a:pt x="296" y="223"/>
                  <a:pt x="296" y="223"/>
                  <a:pt x="296" y="223"/>
                </a:cubicBezTo>
                <a:cubicBezTo>
                  <a:pt x="296" y="224"/>
                  <a:pt x="296" y="224"/>
                  <a:pt x="296" y="224"/>
                </a:cubicBezTo>
                <a:cubicBezTo>
                  <a:pt x="295" y="224"/>
                  <a:pt x="295" y="224"/>
                  <a:pt x="295" y="224"/>
                </a:cubicBezTo>
                <a:cubicBezTo>
                  <a:pt x="294" y="223"/>
                  <a:pt x="294" y="223"/>
                  <a:pt x="294" y="223"/>
                </a:cubicBezTo>
                <a:cubicBezTo>
                  <a:pt x="294" y="222"/>
                  <a:pt x="294" y="222"/>
                  <a:pt x="294" y="222"/>
                </a:cubicBezTo>
                <a:cubicBezTo>
                  <a:pt x="293" y="223"/>
                  <a:pt x="293" y="223"/>
                  <a:pt x="293" y="223"/>
                </a:cubicBezTo>
                <a:cubicBezTo>
                  <a:pt x="294" y="224"/>
                  <a:pt x="294" y="224"/>
                  <a:pt x="294" y="224"/>
                </a:cubicBezTo>
                <a:cubicBezTo>
                  <a:pt x="293" y="225"/>
                  <a:pt x="293" y="225"/>
                  <a:pt x="293" y="225"/>
                </a:cubicBezTo>
                <a:cubicBezTo>
                  <a:pt x="293" y="226"/>
                  <a:pt x="293" y="226"/>
                  <a:pt x="293" y="226"/>
                </a:cubicBezTo>
                <a:cubicBezTo>
                  <a:pt x="294" y="226"/>
                  <a:pt x="294" y="226"/>
                  <a:pt x="294" y="226"/>
                </a:cubicBezTo>
                <a:cubicBezTo>
                  <a:pt x="293" y="227"/>
                  <a:pt x="293" y="227"/>
                  <a:pt x="293" y="227"/>
                </a:cubicBezTo>
                <a:cubicBezTo>
                  <a:pt x="292" y="227"/>
                  <a:pt x="292" y="227"/>
                  <a:pt x="292" y="227"/>
                </a:cubicBezTo>
                <a:cubicBezTo>
                  <a:pt x="292" y="228"/>
                  <a:pt x="292" y="228"/>
                  <a:pt x="292" y="228"/>
                </a:cubicBezTo>
                <a:cubicBezTo>
                  <a:pt x="292" y="229"/>
                  <a:pt x="292" y="229"/>
                  <a:pt x="292" y="229"/>
                </a:cubicBezTo>
                <a:cubicBezTo>
                  <a:pt x="293" y="229"/>
                  <a:pt x="293" y="229"/>
                  <a:pt x="293" y="229"/>
                </a:cubicBezTo>
                <a:cubicBezTo>
                  <a:pt x="293" y="229"/>
                  <a:pt x="293" y="229"/>
                  <a:pt x="293" y="229"/>
                </a:cubicBezTo>
                <a:cubicBezTo>
                  <a:pt x="294" y="230"/>
                  <a:pt x="294" y="230"/>
                  <a:pt x="294" y="230"/>
                </a:cubicBezTo>
                <a:cubicBezTo>
                  <a:pt x="295" y="230"/>
                  <a:pt x="295" y="230"/>
                  <a:pt x="295" y="230"/>
                </a:cubicBezTo>
                <a:cubicBezTo>
                  <a:pt x="295" y="230"/>
                  <a:pt x="295" y="230"/>
                  <a:pt x="295" y="230"/>
                </a:cubicBezTo>
                <a:cubicBezTo>
                  <a:pt x="296" y="231"/>
                  <a:pt x="296" y="231"/>
                  <a:pt x="296" y="231"/>
                </a:cubicBezTo>
                <a:cubicBezTo>
                  <a:pt x="296" y="231"/>
                  <a:pt x="296" y="231"/>
                  <a:pt x="296" y="231"/>
                </a:cubicBezTo>
                <a:cubicBezTo>
                  <a:pt x="295" y="231"/>
                  <a:pt x="295" y="231"/>
                  <a:pt x="295" y="231"/>
                </a:cubicBezTo>
                <a:cubicBezTo>
                  <a:pt x="294" y="231"/>
                  <a:pt x="294" y="231"/>
                  <a:pt x="294" y="231"/>
                </a:cubicBezTo>
                <a:cubicBezTo>
                  <a:pt x="295" y="232"/>
                  <a:pt x="295" y="232"/>
                  <a:pt x="295" y="232"/>
                </a:cubicBezTo>
                <a:cubicBezTo>
                  <a:pt x="296" y="233"/>
                  <a:pt x="296" y="233"/>
                  <a:pt x="296" y="233"/>
                </a:cubicBezTo>
                <a:cubicBezTo>
                  <a:pt x="296" y="234"/>
                  <a:pt x="296" y="234"/>
                  <a:pt x="296" y="234"/>
                </a:cubicBezTo>
                <a:cubicBezTo>
                  <a:pt x="297" y="235"/>
                  <a:pt x="297" y="235"/>
                  <a:pt x="297" y="235"/>
                </a:cubicBezTo>
                <a:cubicBezTo>
                  <a:pt x="298" y="235"/>
                  <a:pt x="298" y="235"/>
                  <a:pt x="298" y="235"/>
                </a:cubicBezTo>
                <a:cubicBezTo>
                  <a:pt x="297" y="235"/>
                  <a:pt x="297" y="235"/>
                  <a:pt x="297" y="235"/>
                </a:cubicBezTo>
                <a:cubicBezTo>
                  <a:pt x="296" y="235"/>
                  <a:pt x="296" y="235"/>
                  <a:pt x="296" y="235"/>
                </a:cubicBezTo>
                <a:cubicBezTo>
                  <a:pt x="295" y="236"/>
                  <a:pt x="295" y="236"/>
                  <a:pt x="295" y="236"/>
                </a:cubicBezTo>
                <a:cubicBezTo>
                  <a:pt x="296" y="237"/>
                  <a:pt x="296" y="237"/>
                  <a:pt x="296" y="237"/>
                </a:cubicBezTo>
                <a:cubicBezTo>
                  <a:pt x="297" y="239"/>
                  <a:pt x="297" y="239"/>
                  <a:pt x="297" y="239"/>
                </a:cubicBezTo>
                <a:cubicBezTo>
                  <a:pt x="298" y="240"/>
                  <a:pt x="298" y="240"/>
                  <a:pt x="298" y="240"/>
                </a:cubicBezTo>
                <a:cubicBezTo>
                  <a:pt x="299" y="240"/>
                  <a:pt x="299" y="240"/>
                  <a:pt x="299" y="240"/>
                </a:cubicBezTo>
                <a:cubicBezTo>
                  <a:pt x="300" y="240"/>
                  <a:pt x="300" y="240"/>
                  <a:pt x="300" y="240"/>
                </a:cubicBezTo>
                <a:cubicBezTo>
                  <a:pt x="298" y="241"/>
                  <a:pt x="298" y="241"/>
                  <a:pt x="298" y="241"/>
                </a:cubicBezTo>
                <a:cubicBezTo>
                  <a:pt x="297" y="241"/>
                  <a:pt x="297" y="241"/>
                  <a:pt x="297" y="241"/>
                </a:cubicBezTo>
                <a:cubicBezTo>
                  <a:pt x="296" y="241"/>
                  <a:pt x="296" y="241"/>
                  <a:pt x="296" y="241"/>
                </a:cubicBezTo>
                <a:cubicBezTo>
                  <a:pt x="295" y="242"/>
                  <a:pt x="295" y="242"/>
                  <a:pt x="295" y="242"/>
                </a:cubicBezTo>
                <a:cubicBezTo>
                  <a:pt x="293" y="245"/>
                  <a:pt x="293" y="245"/>
                  <a:pt x="293" y="245"/>
                </a:cubicBezTo>
                <a:cubicBezTo>
                  <a:pt x="292" y="246"/>
                  <a:pt x="292" y="246"/>
                  <a:pt x="292" y="246"/>
                </a:cubicBezTo>
                <a:cubicBezTo>
                  <a:pt x="292" y="247"/>
                  <a:pt x="292" y="247"/>
                  <a:pt x="292" y="247"/>
                </a:cubicBezTo>
                <a:cubicBezTo>
                  <a:pt x="293" y="248"/>
                  <a:pt x="293" y="248"/>
                  <a:pt x="293" y="248"/>
                </a:cubicBezTo>
                <a:cubicBezTo>
                  <a:pt x="294" y="247"/>
                  <a:pt x="294" y="247"/>
                  <a:pt x="294" y="247"/>
                </a:cubicBezTo>
                <a:cubicBezTo>
                  <a:pt x="295" y="245"/>
                  <a:pt x="295" y="245"/>
                  <a:pt x="295" y="245"/>
                </a:cubicBezTo>
                <a:cubicBezTo>
                  <a:pt x="295" y="245"/>
                  <a:pt x="295" y="245"/>
                  <a:pt x="295" y="245"/>
                </a:cubicBezTo>
                <a:cubicBezTo>
                  <a:pt x="296" y="244"/>
                  <a:pt x="296" y="244"/>
                  <a:pt x="296" y="244"/>
                </a:cubicBezTo>
                <a:cubicBezTo>
                  <a:pt x="297" y="243"/>
                  <a:pt x="297" y="243"/>
                  <a:pt x="297" y="243"/>
                </a:cubicBezTo>
                <a:cubicBezTo>
                  <a:pt x="297" y="243"/>
                  <a:pt x="297" y="243"/>
                  <a:pt x="297" y="243"/>
                </a:cubicBezTo>
                <a:cubicBezTo>
                  <a:pt x="298" y="243"/>
                  <a:pt x="298" y="243"/>
                  <a:pt x="298" y="243"/>
                </a:cubicBezTo>
                <a:cubicBezTo>
                  <a:pt x="300" y="243"/>
                  <a:pt x="300" y="243"/>
                  <a:pt x="300" y="243"/>
                </a:cubicBezTo>
                <a:cubicBezTo>
                  <a:pt x="299" y="244"/>
                  <a:pt x="299" y="244"/>
                  <a:pt x="299" y="244"/>
                </a:cubicBezTo>
                <a:cubicBezTo>
                  <a:pt x="299" y="245"/>
                  <a:pt x="299" y="245"/>
                  <a:pt x="299" y="245"/>
                </a:cubicBezTo>
                <a:cubicBezTo>
                  <a:pt x="301" y="245"/>
                  <a:pt x="301" y="245"/>
                  <a:pt x="301" y="245"/>
                </a:cubicBezTo>
                <a:cubicBezTo>
                  <a:pt x="301" y="245"/>
                  <a:pt x="301" y="245"/>
                  <a:pt x="301" y="245"/>
                </a:cubicBezTo>
                <a:cubicBezTo>
                  <a:pt x="299" y="246"/>
                  <a:pt x="299" y="246"/>
                  <a:pt x="299" y="246"/>
                </a:cubicBezTo>
                <a:cubicBezTo>
                  <a:pt x="299" y="247"/>
                  <a:pt x="299" y="247"/>
                  <a:pt x="299" y="247"/>
                </a:cubicBezTo>
                <a:cubicBezTo>
                  <a:pt x="300" y="248"/>
                  <a:pt x="300" y="248"/>
                  <a:pt x="300" y="248"/>
                </a:cubicBezTo>
                <a:cubicBezTo>
                  <a:pt x="299" y="250"/>
                  <a:pt x="299" y="250"/>
                  <a:pt x="299" y="250"/>
                </a:cubicBezTo>
                <a:cubicBezTo>
                  <a:pt x="298" y="251"/>
                  <a:pt x="298" y="251"/>
                  <a:pt x="298" y="251"/>
                </a:cubicBezTo>
                <a:cubicBezTo>
                  <a:pt x="299" y="251"/>
                  <a:pt x="299" y="251"/>
                  <a:pt x="299" y="251"/>
                </a:cubicBezTo>
                <a:cubicBezTo>
                  <a:pt x="299" y="252"/>
                  <a:pt x="299" y="252"/>
                  <a:pt x="299" y="252"/>
                </a:cubicBezTo>
                <a:cubicBezTo>
                  <a:pt x="298" y="252"/>
                  <a:pt x="298" y="252"/>
                  <a:pt x="298" y="252"/>
                </a:cubicBezTo>
                <a:cubicBezTo>
                  <a:pt x="297" y="252"/>
                  <a:pt x="297" y="252"/>
                  <a:pt x="297" y="252"/>
                </a:cubicBezTo>
                <a:cubicBezTo>
                  <a:pt x="296" y="253"/>
                  <a:pt x="296" y="253"/>
                  <a:pt x="296" y="253"/>
                </a:cubicBezTo>
                <a:cubicBezTo>
                  <a:pt x="296" y="253"/>
                  <a:pt x="296" y="253"/>
                  <a:pt x="296" y="253"/>
                </a:cubicBezTo>
                <a:cubicBezTo>
                  <a:pt x="297" y="253"/>
                  <a:pt x="297" y="253"/>
                  <a:pt x="297" y="253"/>
                </a:cubicBezTo>
                <a:cubicBezTo>
                  <a:pt x="298" y="253"/>
                  <a:pt x="298" y="253"/>
                  <a:pt x="298" y="253"/>
                </a:cubicBezTo>
                <a:cubicBezTo>
                  <a:pt x="299" y="253"/>
                  <a:pt x="299" y="253"/>
                  <a:pt x="299" y="253"/>
                </a:cubicBezTo>
                <a:cubicBezTo>
                  <a:pt x="299" y="254"/>
                  <a:pt x="299" y="254"/>
                  <a:pt x="299" y="254"/>
                </a:cubicBezTo>
                <a:cubicBezTo>
                  <a:pt x="298" y="254"/>
                  <a:pt x="298" y="254"/>
                  <a:pt x="298" y="254"/>
                </a:cubicBezTo>
                <a:cubicBezTo>
                  <a:pt x="297" y="254"/>
                  <a:pt x="297" y="254"/>
                  <a:pt x="297" y="254"/>
                </a:cubicBezTo>
                <a:cubicBezTo>
                  <a:pt x="296" y="254"/>
                  <a:pt x="296" y="254"/>
                  <a:pt x="296" y="254"/>
                </a:cubicBezTo>
                <a:cubicBezTo>
                  <a:pt x="296" y="255"/>
                  <a:pt x="296" y="255"/>
                  <a:pt x="296" y="255"/>
                </a:cubicBezTo>
                <a:cubicBezTo>
                  <a:pt x="295" y="256"/>
                  <a:pt x="295" y="256"/>
                  <a:pt x="295" y="256"/>
                </a:cubicBezTo>
                <a:cubicBezTo>
                  <a:pt x="296" y="258"/>
                  <a:pt x="296" y="258"/>
                  <a:pt x="296" y="258"/>
                </a:cubicBezTo>
                <a:cubicBezTo>
                  <a:pt x="297" y="257"/>
                  <a:pt x="297" y="257"/>
                  <a:pt x="297" y="257"/>
                </a:cubicBezTo>
                <a:cubicBezTo>
                  <a:pt x="297" y="256"/>
                  <a:pt x="297" y="256"/>
                  <a:pt x="297" y="256"/>
                </a:cubicBezTo>
                <a:cubicBezTo>
                  <a:pt x="298" y="256"/>
                  <a:pt x="298" y="256"/>
                  <a:pt x="298" y="256"/>
                </a:cubicBezTo>
                <a:cubicBezTo>
                  <a:pt x="299" y="256"/>
                  <a:pt x="299" y="256"/>
                  <a:pt x="299" y="256"/>
                </a:cubicBezTo>
                <a:cubicBezTo>
                  <a:pt x="301" y="254"/>
                  <a:pt x="301" y="254"/>
                  <a:pt x="301" y="254"/>
                </a:cubicBezTo>
                <a:cubicBezTo>
                  <a:pt x="302" y="252"/>
                  <a:pt x="302" y="252"/>
                  <a:pt x="302" y="252"/>
                </a:cubicBezTo>
                <a:cubicBezTo>
                  <a:pt x="302" y="250"/>
                  <a:pt x="302" y="250"/>
                  <a:pt x="302" y="250"/>
                </a:cubicBezTo>
                <a:cubicBezTo>
                  <a:pt x="304" y="247"/>
                  <a:pt x="304" y="247"/>
                  <a:pt x="304" y="247"/>
                </a:cubicBezTo>
                <a:cubicBezTo>
                  <a:pt x="304" y="246"/>
                  <a:pt x="304" y="246"/>
                  <a:pt x="304" y="246"/>
                </a:cubicBezTo>
                <a:cubicBezTo>
                  <a:pt x="304" y="246"/>
                  <a:pt x="304" y="246"/>
                  <a:pt x="304" y="246"/>
                </a:cubicBezTo>
                <a:close/>
                <a:moveTo>
                  <a:pt x="286" y="253"/>
                </a:moveTo>
                <a:cubicBezTo>
                  <a:pt x="285" y="253"/>
                  <a:pt x="285" y="253"/>
                  <a:pt x="285" y="253"/>
                </a:cubicBezTo>
                <a:cubicBezTo>
                  <a:pt x="286" y="252"/>
                  <a:pt x="286" y="252"/>
                  <a:pt x="286" y="252"/>
                </a:cubicBezTo>
                <a:cubicBezTo>
                  <a:pt x="286" y="253"/>
                  <a:pt x="286" y="253"/>
                  <a:pt x="286" y="253"/>
                </a:cubicBezTo>
                <a:cubicBezTo>
                  <a:pt x="286" y="253"/>
                  <a:pt x="286" y="253"/>
                  <a:pt x="286" y="253"/>
                </a:cubicBezTo>
                <a:close/>
                <a:moveTo>
                  <a:pt x="293" y="255"/>
                </a:moveTo>
                <a:cubicBezTo>
                  <a:pt x="294" y="255"/>
                  <a:pt x="294" y="255"/>
                  <a:pt x="294" y="255"/>
                </a:cubicBezTo>
                <a:cubicBezTo>
                  <a:pt x="295" y="255"/>
                  <a:pt x="295" y="255"/>
                  <a:pt x="295" y="255"/>
                </a:cubicBezTo>
                <a:cubicBezTo>
                  <a:pt x="294" y="256"/>
                  <a:pt x="294" y="256"/>
                  <a:pt x="294" y="256"/>
                </a:cubicBezTo>
                <a:cubicBezTo>
                  <a:pt x="293" y="255"/>
                  <a:pt x="293" y="255"/>
                  <a:pt x="293" y="255"/>
                </a:cubicBezTo>
                <a:close/>
                <a:moveTo>
                  <a:pt x="293" y="252"/>
                </a:moveTo>
                <a:cubicBezTo>
                  <a:pt x="294" y="252"/>
                  <a:pt x="294" y="252"/>
                  <a:pt x="294" y="252"/>
                </a:cubicBezTo>
                <a:cubicBezTo>
                  <a:pt x="295" y="253"/>
                  <a:pt x="295" y="253"/>
                  <a:pt x="295" y="253"/>
                </a:cubicBezTo>
                <a:cubicBezTo>
                  <a:pt x="294" y="254"/>
                  <a:pt x="294" y="254"/>
                  <a:pt x="294" y="254"/>
                </a:cubicBezTo>
                <a:cubicBezTo>
                  <a:pt x="293" y="254"/>
                  <a:pt x="293" y="254"/>
                  <a:pt x="293" y="254"/>
                </a:cubicBezTo>
                <a:cubicBezTo>
                  <a:pt x="293" y="253"/>
                  <a:pt x="293" y="253"/>
                  <a:pt x="293" y="253"/>
                </a:cubicBezTo>
                <a:cubicBezTo>
                  <a:pt x="293" y="252"/>
                  <a:pt x="293" y="252"/>
                  <a:pt x="293" y="252"/>
                </a:cubicBezTo>
                <a:close/>
                <a:moveTo>
                  <a:pt x="293" y="249"/>
                </a:moveTo>
                <a:cubicBezTo>
                  <a:pt x="294" y="251"/>
                  <a:pt x="294" y="251"/>
                  <a:pt x="294" y="251"/>
                </a:cubicBezTo>
                <a:cubicBezTo>
                  <a:pt x="293" y="252"/>
                  <a:pt x="293" y="252"/>
                  <a:pt x="293" y="252"/>
                </a:cubicBezTo>
                <a:cubicBezTo>
                  <a:pt x="293" y="251"/>
                  <a:pt x="293" y="251"/>
                  <a:pt x="293" y="251"/>
                </a:cubicBezTo>
                <a:cubicBezTo>
                  <a:pt x="292" y="250"/>
                  <a:pt x="292" y="250"/>
                  <a:pt x="292" y="250"/>
                </a:cubicBezTo>
                <a:cubicBezTo>
                  <a:pt x="293" y="249"/>
                  <a:pt x="293" y="249"/>
                  <a:pt x="293" y="249"/>
                </a:cubicBezTo>
                <a:close/>
                <a:moveTo>
                  <a:pt x="294" y="249"/>
                </a:moveTo>
                <a:cubicBezTo>
                  <a:pt x="295" y="248"/>
                  <a:pt x="295" y="248"/>
                  <a:pt x="295" y="248"/>
                </a:cubicBezTo>
                <a:cubicBezTo>
                  <a:pt x="295" y="247"/>
                  <a:pt x="295" y="247"/>
                  <a:pt x="295" y="247"/>
                </a:cubicBezTo>
                <a:cubicBezTo>
                  <a:pt x="296" y="246"/>
                  <a:pt x="296" y="246"/>
                  <a:pt x="296" y="246"/>
                </a:cubicBezTo>
                <a:cubicBezTo>
                  <a:pt x="297" y="245"/>
                  <a:pt x="297" y="245"/>
                  <a:pt x="297" y="245"/>
                </a:cubicBezTo>
                <a:cubicBezTo>
                  <a:pt x="297" y="245"/>
                  <a:pt x="297" y="245"/>
                  <a:pt x="297" y="245"/>
                </a:cubicBezTo>
                <a:cubicBezTo>
                  <a:pt x="298" y="245"/>
                  <a:pt x="298" y="245"/>
                  <a:pt x="298" y="245"/>
                </a:cubicBezTo>
                <a:cubicBezTo>
                  <a:pt x="299" y="246"/>
                  <a:pt x="299" y="246"/>
                  <a:pt x="299" y="246"/>
                </a:cubicBezTo>
                <a:cubicBezTo>
                  <a:pt x="298" y="247"/>
                  <a:pt x="298" y="247"/>
                  <a:pt x="298" y="247"/>
                </a:cubicBezTo>
                <a:cubicBezTo>
                  <a:pt x="299" y="248"/>
                  <a:pt x="299" y="248"/>
                  <a:pt x="299" y="248"/>
                </a:cubicBezTo>
                <a:cubicBezTo>
                  <a:pt x="297" y="251"/>
                  <a:pt x="297" y="251"/>
                  <a:pt x="297" y="251"/>
                </a:cubicBezTo>
                <a:cubicBezTo>
                  <a:pt x="295" y="252"/>
                  <a:pt x="295" y="252"/>
                  <a:pt x="295" y="252"/>
                </a:cubicBezTo>
                <a:cubicBezTo>
                  <a:pt x="295" y="252"/>
                  <a:pt x="295" y="252"/>
                  <a:pt x="295" y="252"/>
                </a:cubicBezTo>
                <a:cubicBezTo>
                  <a:pt x="295" y="250"/>
                  <a:pt x="295" y="250"/>
                  <a:pt x="295" y="250"/>
                </a:cubicBezTo>
                <a:cubicBezTo>
                  <a:pt x="297" y="249"/>
                  <a:pt x="297" y="249"/>
                  <a:pt x="297" y="249"/>
                </a:cubicBezTo>
                <a:cubicBezTo>
                  <a:pt x="297" y="249"/>
                  <a:pt x="297" y="249"/>
                  <a:pt x="297" y="249"/>
                </a:cubicBezTo>
                <a:cubicBezTo>
                  <a:pt x="294" y="250"/>
                  <a:pt x="294" y="250"/>
                  <a:pt x="294" y="250"/>
                </a:cubicBezTo>
                <a:cubicBezTo>
                  <a:pt x="294" y="249"/>
                  <a:pt x="294" y="249"/>
                  <a:pt x="294" y="249"/>
                </a:cubicBezTo>
                <a:close/>
                <a:moveTo>
                  <a:pt x="283" y="253"/>
                </a:moveTo>
                <a:cubicBezTo>
                  <a:pt x="283" y="253"/>
                  <a:pt x="283" y="253"/>
                  <a:pt x="283" y="253"/>
                </a:cubicBezTo>
                <a:cubicBezTo>
                  <a:pt x="284" y="253"/>
                  <a:pt x="284" y="253"/>
                  <a:pt x="284" y="253"/>
                </a:cubicBezTo>
                <a:cubicBezTo>
                  <a:pt x="284" y="254"/>
                  <a:pt x="284" y="254"/>
                  <a:pt x="284" y="254"/>
                </a:cubicBezTo>
                <a:cubicBezTo>
                  <a:pt x="285" y="256"/>
                  <a:pt x="285" y="256"/>
                  <a:pt x="285" y="256"/>
                </a:cubicBezTo>
                <a:cubicBezTo>
                  <a:pt x="284" y="257"/>
                  <a:pt x="284" y="257"/>
                  <a:pt x="284" y="257"/>
                </a:cubicBezTo>
                <a:cubicBezTo>
                  <a:pt x="284" y="257"/>
                  <a:pt x="284" y="257"/>
                  <a:pt x="284" y="257"/>
                </a:cubicBezTo>
                <a:cubicBezTo>
                  <a:pt x="283" y="255"/>
                  <a:pt x="283" y="255"/>
                  <a:pt x="283" y="255"/>
                </a:cubicBezTo>
                <a:cubicBezTo>
                  <a:pt x="283" y="254"/>
                  <a:pt x="283" y="254"/>
                  <a:pt x="283" y="254"/>
                </a:cubicBezTo>
                <a:cubicBezTo>
                  <a:pt x="283" y="253"/>
                  <a:pt x="283" y="253"/>
                  <a:pt x="283" y="253"/>
                </a:cubicBezTo>
                <a:close/>
                <a:moveTo>
                  <a:pt x="283" y="251"/>
                </a:moveTo>
                <a:cubicBezTo>
                  <a:pt x="284" y="251"/>
                  <a:pt x="284" y="251"/>
                  <a:pt x="284" y="251"/>
                </a:cubicBezTo>
                <a:cubicBezTo>
                  <a:pt x="284" y="251"/>
                  <a:pt x="284" y="251"/>
                  <a:pt x="284" y="251"/>
                </a:cubicBezTo>
                <a:cubicBezTo>
                  <a:pt x="285" y="252"/>
                  <a:pt x="285" y="252"/>
                  <a:pt x="285" y="252"/>
                </a:cubicBezTo>
                <a:cubicBezTo>
                  <a:pt x="284" y="252"/>
                  <a:pt x="284" y="252"/>
                  <a:pt x="284" y="252"/>
                </a:cubicBezTo>
                <a:cubicBezTo>
                  <a:pt x="283" y="251"/>
                  <a:pt x="283" y="251"/>
                  <a:pt x="283" y="251"/>
                </a:cubicBezTo>
                <a:close/>
                <a:moveTo>
                  <a:pt x="283" y="250"/>
                </a:moveTo>
                <a:cubicBezTo>
                  <a:pt x="283" y="249"/>
                  <a:pt x="283" y="249"/>
                  <a:pt x="283" y="249"/>
                </a:cubicBezTo>
                <a:cubicBezTo>
                  <a:pt x="283" y="250"/>
                  <a:pt x="283" y="250"/>
                  <a:pt x="283" y="250"/>
                </a:cubicBezTo>
                <a:cubicBezTo>
                  <a:pt x="283" y="250"/>
                  <a:pt x="283" y="250"/>
                  <a:pt x="283" y="250"/>
                </a:cubicBezTo>
                <a:close/>
                <a:moveTo>
                  <a:pt x="282" y="248"/>
                </a:moveTo>
                <a:cubicBezTo>
                  <a:pt x="283" y="248"/>
                  <a:pt x="283" y="248"/>
                  <a:pt x="283" y="248"/>
                </a:cubicBezTo>
                <a:cubicBezTo>
                  <a:pt x="281" y="250"/>
                  <a:pt x="281" y="250"/>
                  <a:pt x="281" y="250"/>
                </a:cubicBezTo>
                <a:cubicBezTo>
                  <a:pt x="282" y="248"/>
                  <a:pt x="282" y="248"/>
                  <a:pt x="282" y="248"/>
                </a:cubicBezTo>
                <a:close/>
                <a:moveTo>
                  <a:pt x="281" y="242"/>
                </a:moveTo>
                <a:cubicBezTo>
                  <a:pt x="281" y="241"/>
                  <a:pt x="281" y="241"/>
                  <a:pt x="281" y="241"/>
                </a:cubicBezTo>
                <a:cubicBezTo>
                  <a:pt x="282" y="242"/>
                  <a:pt x="282" y="242"/>
                  <a:pt x="282" y="242"/>
                </a:cubicBezTo>
                <a:cubicBezTo>
                  <a:pt x="281" y="242"/>
                  <a:pt x="281" y="242"/>
                  <a:pt x="281" y="242"/>
                </a:cubicBezTo>
                <a:close/>
                <a:moveTo>
                  <a:pt x="284" y="244"/>
                </a:moveTo>
                <a:cubicBezTo>
                  <a:pt x="285" y="243"/>
                  <a:pt x="285" y="243"/>
                  <a:pt x="285" y="243"/>
                </a:cubicBezTo>
                <a:cubicBezTo>
                  <a:pt x="285" y="244"/>
                  <a:pt x="285" y="244"/>
                  <a:pt x="285" y="244"/>
                </a:cubicBezTo>
                <a:cubicBezTo>
                  <a:pt x="285" y="245"/>
                  <a:pt x="285" y="245"/>
                  <a:pt x="285" y="245"/>
                </a:cubicBezTo>
                <a:cubicBezTo>
                  <a:pt x="284" y="244"/>
                  <a:pt x="284" y="244"/>
                  <a:pt x="284" y="244"/>
                </a:cubicBezTo>
                <a:close/>
                <a:moveTo>
                  <a:pt x="285" y="242"/>
                </a:moveTo>
                <a:cubicBezTo>
                  <a:pt x="285" y="240"/>
                  <a:pt x="285" y="240"/>
                  <a:pt x="285" y="240"/>
                </a:cubicBezTo>
                <a:cubicBezTo>
                  <a:pt x="287" y="240"/>
                  <a:pt x="287" y="240"/>
                  <a:pt x="287" y="240"/>
                </a:cubicBezTo>
                <a:cubicBezTo>
                  <a:pt x="287" y="241"/>
                  <a:pt x="287" y="241"/>
                  <a:pt x="287" y="241"/>
                </a:cubicBezTo>
                <a:cubicBezTo>
                  <a:pt x="287" y="241"/>
                  <a:pt x="287" y="241"/>
                  <a:pt x="287" y="241"/>
                </a:cubicBezTo>
                <a:cubicBezTo>
                  <a:pt x="286" y="241"/>
                  <a:pt x="286" y="241"/>
                  <a:pt x="286" y="241"/>
                </a:cubicBezTo>
                <a:cubicBezTo>
                  <a:pt x="285" y="242"/>
                  <a:pt x="285" y="242"/>
                  <a:pt x="285" y="242"/>
                </a:cubicBezTo>
                <a:cubicBezTo>
                  <a:pt x="285" y="242"/>
                  <a:pt x="285" y="242"/>
                  <a:pt x="285" y="242"/>
                </a:cubicBezTo>
                <a:close/>
                <a:moveTo>
                  <a:pt x="287" y="243"/>
                </a:moveTo>
                <a:cubicBezTo>
                  <a:pt x="288" y="241"/>
                  <a:pt x="288" y="241"/>
                  <a:pt x="288" y="241"/>
                </a:cubicBezTo>
                <a:cubicBezTo>
                  <a:pt x="288" y="240"/>
                  <a:pt x="288" y="240"/>
                  <a:pt x="288" y="240"/>
                </a:cubicBezTo>
                <a:cubicBezTo>
                  <a:pt x="287" y="239"/>
                  <a:pt x="287" y="239"/>
                  <a:pt x="287" y="239"/>
                </a:cubicBezTo>
                <a:cubicBezTo>
                  <a:pt x="287" y="238"/>
                  <a:pt x="287" y="238"/>
                  <a:pt x="287" y="238"/>
                </a:cubicBezTo>
                <a:cubicBezTo>
                  <a:pt x="289" y="238"/>
                  <a:pt x="289" y="238"/>
                  <a:pt x="289" y="238"/>
                </a:cubicBezTo>
                <a:cubicBezTo>
                  <a:pt x="289" y="240"/>
                  <a:pt x="289" y="240"/>
                  <a:pt x="289" y="240"/>
                </a:cubicBezTo>
                <a:cubicBezTo>
                  <a:pt x="289" y="241"/>
                  <a:pt x="289" y="241"/>
                  <a:pt x="289" y="241"/>
                </a:cubicBezTo>
                <a:cubicBezTo>
                  <a:pt x="288" y="242"/>
                  <a:pt x="288" y="242"/>
                  <a:pt x="288" y="242"/>
                </a:cubicBezTo>
                <a:cubicBezTo>
                  <a:pt x="289" y="242"/>
                  <a:pt x="289" y="242"/>
                  <a:pt x="289" y="242"/>
                </a:cubicBezTo>
                <a:cubicBezTo>
                  <a:pt x="289" y="242"/>
                  <a:pt x="289" y="242"/>
                  <a:pt x="289" y="242"/>
                </a:cubicBezTo>
                <a:cubicBezTo>
                  <a:pt x="291" y="243"/>
                  <a:pt x="291" y="243"/>
                  <a:pt x="291" y="243"/>
                </a:cubicBezTo>
                <a:cubicBezTo>
                  <a:pt x="291" y="245"/>
                  <a:pt x="291" y="245"/>
                  <a:pt x="291" y="245"/>
                </a:cubicBezTo>
                <a:cubicBezTo>
                  <a:pt x="290" y="245"/>
                  <a:pt x="290" y="245"/>
                  <a:pt x="290" y="245"/>
                </a:cubicBezTo>
                <a:cubicBezTo>
                  <a:pt x="291" y="246"/>
                  <a:pt x="291" y="246"/>
                  <a:pt x="291" y="246"/>
                </a:cubicBezTo>
                <a:cubicBezTo>
                  <a:pt x="291" y="247"/>
                  <a:pt x="291" y="247"/>
                  <a:pt x="291" y="247"/>
                </a:cubicBezTo>
                <a:cubicBezTo>
                  <a:pt x="290" y="247"/>
                  <a:pt x="290" y="247"/>
                  <a:pt x="290" y="247"/>
                </a:cubicBezTo>
                <a:cubicBezTo>
                  <a:pt x="290" y="247"/>
                  <a:pt x="290" y="247"/>
                  <a:pt x="290" y="247"/>
                </a:cubicBezTo>
                <a:cubicBezTo>
                  <a:pt x="289" y="248"/>
                  <a:pt x="289" y="248"/>
                  <a:pt x="289" y="248"/>
                </a:cubicBezTo>
                <a:cubicBezTo>
                  <a:pt x="291" y="249"/>
                  <a:pt x="291" y="249"/>
                  <a:pt x="291" y="249"/>
                </a:cubicBezTo>
                <a:cubicBezTo>
                  <a:pt x="291" y="250"/>
                  <a:pt x="291" y="250"/>
                  <a:pt x="291" y="250"/>
                </a:cubicBezTo>
                <a:cubicBezTo>
                  <a:pt x="290" y="251"/>
                  <a:pt x="290" y="251"/>
                  <a:pt x="290" y="251"/>
                </a:cubicBezTo>
                <a:cubicBezTo>
                  <a:pt x="290" y="251"/>
                  <a:pt x="290" y="251"/>
                  <a:pt x="290" y="251"/>
                </a:cubicBezTo>
                <a:cubicBezTo>
                  <a:pt x="291" y="251"/>
                  <a:pt x="291" y="251"/>
                  <a:pt x="291" y="251"/>
                </a:cubicBezTo>
                <a:cubicBezTo>
                  <a:pt x="291" y="251"/>
                  <a:pt x="291" y="251"/>
                  <a:pt x="291" y="251"/>
                </a:cubicBezTo>
                <a:cubicBezTo>
                  <a:pt x="291" y="252"/>
                  <a:pt x="291" y="252"/>
                  <a:pt x="291" y="252"/>
                </a:cubicBezTo>
                <a:cubicBezTo>
                  <a:pt x="290" y="253"/>
                  <a:pt x="290" y="253"/>
                  <a:pt x="290" y="253"/>
                </a:cubicBezTo>
                <a:cubicBezTo>
                  <a:pt x="289" y="253"/>
                  <a:pt x="289" y="253"/>
                  <a:pt x="289" y="253"/>
                </a:cubicBezTo>
                <a:cubicBezTo>
                  <a:pt x="289" y="254"/>
                  <a:pt x="289" y="254"/>
                  <a:pt x="289" y="254"/>
                </a:cubicBezTo>
                <a:cubicBezTo>
                  <a:pt x="289" y="254"/>
                  <a:pt x="289" y="254"/>
                  <a:pt x="289" y="254"/>
                </a:cubicBezTo>
                <a:cubicBezTo>
                  <a:pt x="290" y="255"/>
                  <a:pt x="290" y="255"/>
                  <a:pt x="290" y="255"/>
                </a:cubicBezTo>
                <a:cubicBezTo>
                  <a:pt x="289" y="255"/>
                  <a:pt x="289" y="255"/>
                  <a:pt x="289" y="255"/>
                </a:cubicBezTo>
                <a:cubicBezTo>
                  <a:pt x="290" y="256"/>
                  <a:pt x="290" y="256"/>
                  <a:pt x="290" y="256"/>
                </a:cubicBezTo>
                <a:cubicBezTo>
                  <a:pt x="289" y="257"/>
                  <a:pt x="289" y="257"/>
                  <a:pt x="289" y="257"/>
                </a:cubicBezTo>
                <a:cubicBezTo>
                  <a:pt x="288" y="257"/>
                  <a:pt x="288" y="257"/>
                  <a:pt x="288" y="257"/>
                </a:cubicBezTo>
                <a:cubicBezTo>
                  <a:pt x="287" y="256"/>
                  <a:pt x="287" y="256"/>
                  <a:pt x="287" y="256"/>
                </a:cubicBezTo>
                <a:cubicBezTo>
                  <a:pt x="288" y="255"/>
                  <a:pt x="288" y="255"/>
                  <a:pt x="288" y="255"/>
                </a:cubicBezTo>
                <a:cubicBezTo>
                  <a:pt x="287" y="254"/>
                  <a:pt x="287" y="254"/>
                  <a:pt x="287" y="254"/>
                </a:cubicBezTo>
                <a:cubicBezTo>
                  <a:pt x="287" y="254"/>
                  <a:pt x="287" y="254"/>
                  <a:pt x="287" y="254"/>
                </a:cubicBezTo>
                <a:cubicBezTo>
                  <a:pt x="288" y="253"/>
                  <a:pt x="288" y="253"/>
                  <a:pt x="288" y="253"/>
                </a:cubicBezTo>
                <a:cubicBezTo>
                  <a:pt x="287" y="252"/>
                  <a:pt x="287" y="252"/>
                  <a:pt x="287" y="252"/>
                </a:cubicBezTo>
                <a:cubicBezTo>
                  <a:pt x="287" y="251"/>
                  <a:pt x="287" y="251"/>
                  <a:pt x="287" y="251"/>
                </a:cubicBezTo>
                <a:cubicBezTo>
                  <a:pt x="288" y="251"/>
                  <a:pt x="288" y="251"/>
                  <a:pt x="288" y="251"/>
                </a:cubicBezTo>
                <a:cubicBezTo>
                  <a:pt x="288" y="250"/>
                  <a:pt x="288" y="250"/>
                  <a:pt x="288" y="250"/>
                </a:cubicBezTo>
                <a:cubicBezTo>
                  <a:pt x="287" y="250"/>
                  <a:pt x="287" y="250"/>
                  <a:pt x="287" y="250"/>
                </a:cubicBezTo>
                <a:cubicBezTo>
                  <a:pt x="286" y="251"/>
                  <a:pt x="286" y="251"/>
                  <a:pt x="286" y="251"/>
                </a:cubicBezTo>
                <a:cubicBezTo>
                  <a:pt x="286" y="250"/>
                  <a:pt x="286" y="250"/>
                  <a:pt x="286" y="250"/>
                </a:cubicBezTo>
                <a:cubicBezTo>
                  <a:pt x="285" y="250"/>
                  <a:pt x="285" y="250"/>
                  <a:pt x="285" y="250"/>
                </a:cubicBezTo>
                <a:cubicBezTo>
                  <a:pt x="285" y="250"/>
                  <a:pt x="285" y="250"/>
                  <a:pt x="285" y="250"/>
                </a:cubicBezTo>
                <a:cubicBezTo>
                  <a:pt x="285" y="249"/>
                  <a:pt x="285" y="249"/>
                  <a:pt x="285" y="249"/>
                </a:cubicBezTo>
                <a:cubicBezTo>
                  <a:pt x="286" y="249"/>
                  <a:pt x="286" y="249"/>
                  <a:pt x="286" y="249"/>
                </a:cubicBezTo>
                <a:cubicBezTo>
                  <a:pt x="286" y="248"/>
                  <a:pt x="286" y="248"/>
                  <a:pt x="286" y="248"/>
                </a:cubicBezTo>
                <a:cubicBezTo>
                  <a:pt x="286" y="248"/>
                  <a:pt x="286" y="248"/>
                  <a:pt x="286" y="248"/>
                </a:cubicBezTo>
                <a:cubicBezTo>
                  <a:pt x="287" y="247"/>
                  <a:pt x="287" y="247"/>
                  <a:pt x="287" y="247"/>
                </a:cubicBezTo>
                <a:cubicBezTo>
                  <a:pt x="287" y="246"/>
                  <a:pt x="287" y="246"/>
                  <a:pt x="287" y="246"/>
                </a:cubicBezTo>
                <a:cubicBezTo>
                  <a:pt x="287" y="246"/>
                  <a:pt x="287" y="246"/>
                  <a:pt x="287" y="246"/>
                </a:cubicBezTo>
                <a:cubicBezTo>
                  <a:pt x="286" y="246"/>
                  <a:pt x="286" y="246"/>
                  <a:pt x="286" y="246"/>
                </a:cubicBezTo>
                <a:cubicBezTo>
                  <a:pt x="286" y="246"/>
                  <a:pt x="286" y="246"/>
                  <a:pt x="286" y="246"/>
                </a:cubicBezTo>
                <a:cubicBezTo>
                  <a:pt x="286" y="245"/>
                  <a:pt x="286" y="245"/>
                  <a:pt x="286" y="245"/>
                </a:cubicBezTo>
                <a:cubicBezTo>
                  <a:pt x="287" y="245"/>
                  <a:pt x="287" y="245"/>
                  <a:pt x="287" y="245"/>
                </a:cubicBezTo>
                <a:cubicBezTo>
                  <a:pt x="287" y="244"/>
                  <a:pt x="287" y="244"/>
                  <a:pt x="287" y="244"/>
                </a:cubicBezTo>
                <a:cubicBezTo>
                  <a:pt x="287" y="243"/>
                  <a:pt x="287" y="243"/>
                  <a:pt x="287" y="243"/>
                </a:cubicBezTo>
                <a:close/>
                <a:moveTo>
                  <a:pt x="295" y="242"/>
                </a:moveTo>
                <a:cubicBezTo>
                  <a:pt x="294" y="241"/>
                  <a:pt x="294" y="241"/>
                  <a:pt x="294" y="241"/>
                </a:cubicBezTo>
                <a:cubicBezTo>
                  <a:pt x="295" y="240"/>
                  <a:pt x="295" y="240"/>
                  <a:pt x="295" y="240"/>
                </a:cubicBezTo>
                <a:cubicBezTo>
                  <a:pt x="295" y="239"/>
                  <a:pt x="295" y="239"/>
                  <a:pt x="295" y="239"/>
                </a:cubicBezTo>
                <a:cubicBezTo>
                  <a:pt x="296" y="239"/>
                  <a:pt x="296" y="239"/>
                  <a:pt x="296" y="239"/>
                </a:cubicBezTo>
                <a:cubicBezTo>
                  <a:pt x="296" y="241"/>
                  <a:pt x="296" y="241"/>
                  <a:pt x="296" y="241"/>
                </a:cubicBezTo>
                <a:cubicBezTo>
                  <a:pt x="295" y="242"/>
                  <a:pt x="295" y="242"/>
                  <a:pt x="295" y="242"/>
                </a:cubicBezTo>
                <a:close/>
                <a:moveTo>
                  <a:pt x="292" y="243"/>
                </a:moveTo>
                <a:cubicBezTo>
                  <a:pt x="293" y="241"/>
                  <a:pt x="293" y="241"/>
                  <a:pt x="293" y="241"/>
                </a:cubicBezTo>
                <a:cubicBezTo>
                  <a:pt x="294" y="241"/>
                  <a:pt x="294" y="241"/>
                  <a:pt x="294" y="241"/>
                </a:cubicBezTo>
                <a:cubicBezTo>
                  <a:pt x="294" y="243"/>
                  <a:pt x="294" y="243"/>
                  <a:pt x="294" y="243"/>
                </a:cubicBezTo>
                <a:cubicBezTo>
                  <a:pt x="293" y="243"/>
                  <a:pt x="293" y="243"/>
                  <a:pt x="293" y="243"/>
                </a:cubicBezTo>
                <a:cubicBezTo>
                  <a:pt x="292" y="243"/>
                  <a:pt x="292" y="243"/>
                  <a:pt x="292" y="243"/>
                </a:cubicBezTo>
                <a:close/>
                <a:moveTo>
                  <a:pt x="292" y="242"/>
                </a:moveTo>
                <a:cubicBezTo>
                  <a:pt x="292" y="241"/>
                  <a:pt x="292" y="241"/>
                  <a:pt x="292" y="241"/>
                </a:cubicBezTo>
                <a:cubicBezTo>
                  <a:pt x="294" y="239"/>
                  <a:pt x="294" y="239"/>
                  <a:pt x="294" y="239"/>
                </a:cubicBezTo>
                <a:cubicBezTo>
                  <a:pt x="294" y="240"/>
                  <a:pt x="294" y="240"/>
                  <a:pt x="294" y="240"/>
                </a:cubicBezTo>
                <a:cubicBezTo>
                  <a:pt x="293" y="241"/>
                  <a:pt x="293" y="241"/>
                  <a:pt x="293" y="241"/>
                </a:cubicBezTo>
                <a:cubicBezTo>
                  <a:pt x="292" y="242"/>
                  <a:pt x="292" y="242"/>
                  <a:pt x="292" y="242"/>
                </a:cubicBezTo>
                <a:cubicBezTo>
                  <a:pt x="292" y="242"/>
                  <a:pt x="292" y="242"/>
                  <a:pt x="292" y="242"/>
                </a:cubicBezTo>
                <a:close/>
                <a:moveTo>
                  <a:pt x="290" y="239"/>
                </a:moveTo>
                <a:cubicBezTo>
                  <a:pt x="291" y="238"/>
                  <a:pt x="291" y="238"/>
                  <a:pt x="291" y="238"/>
                </a:cubicBezTo>
                <a:cubicBezTo>
                  <a:pt x="293" y="238"/>
                  <a:pt x="293" y="238"/>
                  <a:pt x="293" y="238"/>
                </a:cubicBezTo>
                <a:cubicBezTo>
                  <a:pt x="293" y="239"/>
                  <a:pt x="293" y="239"/>
                  <a:pt x="293" y="239"/>
                </a:cubicBezTo>
                <a:cubicBezTo>
                  <a:pt x="292" y="240"/>
                  <a:pt x="292" y="240"/>
                  <a:pt x="292" y="240"/>
                </a:cubicBezTo>
                <a:cubicBezTo>
                  <a:pt x="291" y="240"/>
                  <a:pt x="291" y="240"/>
                  <a:pt x="291" y="240"/>
                </a:cubicBezTo>
                <a:cubicBezTo>
                  <a:pt x="290" y="239"/>
                  <a:pt x="290" y="239"/>
                  <a:pt x="290" y="239"/>
                </a:cubicBezTo>
                <a:close/>
                <a:moveTo>
                  <a:pt x="292" y="236"/>
                </a:moveTo>
                <a:cubicBezTo>
                  <a:pt x="293" y="234"/>
                  <a:pt x="293" y="234"/>
                  <a:pt x="293" y="234"/>
                </a:cubicBezTo>
                <a:cubicBezTo>
                  <a:pt x="294" y="233"/>
                  <a:pt x="294" y="233"/>
                  <a:pt x="294" y="233"/>
                </a:cubicBezTo>
                <a:cubicBezTo>
                  <a:pt x="295" y="235"/>
                  <a:pt x="295" y="235"/>
                  <a:pt x="295" y="235"/>
                </a:cubicBezTo>
                <a:cubicBezTo>
                  <a:pt x="294" y="236"/>
                  <a:pt x="294" y="236"/>
                  <a:pt x="294" y="236"/>
                </a:cubicBezTo>
                <a:cubicBezTo>
                  <a:pt x="292" y="237"/>
                  <a:pt x="292" y="237"/>
                  <a:pt x="292" y="237"/>
                </a:cubicBezTo>
                <a:cubicBezTo>
                  <a:pt x="292" y="236"/>
                  <a:pt x="292" y="236"/>
                  <a:pt x="292" y="236"/>
                </a:cubicBezTo>
                <a:cubicBezTo>
                  <a:pt x="292" y="236"/>
                  <a:pt x="292" y="236"/>
                  <a:pt x="292" y="236"/>
                </a:cubicBezTo>
                <a:close/>
                <a:moveTo>
                  <a:pt x="288" y="237"/>
                </a:moveTo>
                <a:cubicBezTo>
                  <a:pt x="288" y="236"/>
                  <a:pt x="288" y="236"/>
                  <a:pt x="288" y="236"/>
                </a:cubicBezTo>
                <a:cubicBezTo>
                  <a:pt x="289" y="233"/>
                  <a:pt x="289" y="233"/>
                  <a:pt x="289" y="233"/>
                </a:cubicBezTo>
                <a:cubicBezTo>
                  <a:pt x="289" y="232"/>
                  <a:pt x="289" y="232"/>
                  <a:pt x="289" y="232"/>
                </a:cubicBezTo>
                <a:cubicBezTo>
                  <a:pt x="288" y="231"/>
                  <a:pt x="288" y="231"/>
                  <a:pt x="288" y="231"/>
                </a:cubicBezTo>
                <a:cubicBezTo>
                  <a:pt x="288" y="230"/>
                  <a:pt x="288" y="230"/>
                  <a:pt x="288" y="230"/>
                </a:cubicBezTo>
                <a:cubicBezTo>
                  <a:pt x="288" y="230"/>
                  <a:pt x="288" y="230"/>
                  <a:pt x="288" y="230"/>
                </a:cubicBezTo>
                <a:cubicBezTo>
                  <a:pt x="288" y="229"/>
                  <a:pt x="288" y="229"/>
                  <a:pt x="288" y="229"/>
                </a:cubicBezTo>
                <a:cubicBezTo>
                  <a:pt x="290" y="229"/>
                  <a:pt x="290" y="229"/>
                  <a:pt x="290" y="229"/>
                </a:cubicBezTo>
                <a:cubicBezTo>
                  <a:pt x="291" y="230"/>
                  <a:pt x="291" y="230"/>
                  <a:pt x="291" y="230"/>
                </a:cubicBezTo>
                <a:cubicBezTo>
                  <a:pt x="292" y="230"/>
                  <a:pt x="292" y="230"/>
                  <a:pt x="292" y="230"/>
                </a:cubicBezTo>
                <a:cubicBezTo>
                  <a:pt x="293" y="231"/>
                  <a:pt x="293" y="231"/>
                  <a:pt x="293" y="231"/>
                </a:cubicBezTo>
                <a:cubicBezTo>
                  <a:pt x="293" y="233"/>
                  <a:pt x="293" y="233"/>
                  <a:pt x="293" y="233"/>
                </a:cubicBezTo>
                <a:cubicBezTo>
                  <a:pt x="292" y="235"/>
                  <a:pt x="292" y="235"/>
                  <a:pt x="292" y="235"/>
                </a:cubicBezTo>
                <a:cubicBezTo>
                  <a:pt x="291" y="235"/>
                  <a:pt x="291" y="235"/>
                  <a:pt x="291" y="235"/>
                </a:cubicBezTo>
                <a:cubicBezTo>
                  <a:pt x="291" y="233"/>
                  <a:pt x="291" y="233"/>
                  <a:pt x="291" y="233"/>
                </a:cubicBezTo>
                <a:cubicBezTo>
                  <a:pt x="291" y="233"/>
                  <a:pt x="291" y="233"/>
                  <a:pt x="291" y="233"/>
                </a:cubicBezTo>
                <a:cubicBezTo>
                  <a:pt x="291" y="235"/>
                  <a:pt x="291" y="235"/>
                  <a:pt x="291" y="235"/>
                </a:cubicBezTo>
                <a:cubicBezTo>
                  <a:pt x="290" y="235"/>
                  <a:pt x="290" y="235"/>
                  <a:pt x="290" y="235"/>
                </a:cubicBezTo>
                <a:cubicBezTo>
                  <a:pt x="291" y="236"/>
                  <a:pt x="291" y="236"/>
                  <a:pt x="291" y="236"/>
                </a:cubicBezTo>
                <a:cubicBezTo>
                  <a:pt x="290" y="237"/>
                  <a:pt x="290" y="237"/>
                  <a:pt x="290" y="237"/>
                </a:cubicBezTo>
                <a:cubicBezTo>
                  <a:pt x="289" y="236"/>
                  <a:pt x="289" y="236"/>
                  <a:pt x="289" y="236"/>
                </a:cubicBezTo>
                <a:cubicBezTo>
                  <a:pt x="289" y="237"/>
                  <a:pt x="289" y="237"/>
                  <a:pt x="289" y="237"/>
                </a:cubicBezTo>
                <a:cubicBezTo>
                  <a:pt x="288" y="237"/>
                  <a:pt x="288" y="237"/>
                  <a:pt x="288" y="237"/>
                </a:cubicBezTo>
                <a:close/>
                <a:moveTo>
                  <a:pt x="285" y="235"/>
                </a:moveTo>
                <a:cubicBezTo>
                  <a:pt x="284" y="235"/>
                  <a:pt x="284" y="235"/>
                  <a:pt x="284" y="235"/>
                </a:cubicBezTo>
                <a:cubicBezTo>
                  <a:pt x="285" y="233"/>
                  <a:pt x="285" y="233"/>
                  <a:pt x="285" y="233"/>
                </a:cubicBezTo>
                <a:cubicBezTo>
                  <a:pt x="284" y="233"/>
                  <a:pt x="284" y="233"/>
                  <a:pt x="284" y="233"/>
                </a:cubicBezTo>
                <a:cubicBezTo>
                  <a:pt x="284" y="232"/>
                  <a:pt x="284" y="232"/>
                  <a:pt x="284" y="232"/>
                </a:cubicBezTo>
                <a:cubicBezTo>
                  <a:pt x="285" y="231"/>
                  <a:pt x="285" y="231"/>
                  <a:pt x="285" y="231"/>
                </a:cubicBezTo>
                <a:cubicBezTo>
                  <a:pt x="286" y="231"/>
                  <a:pt x="286" y="231"/>
                  <a:pt x="286" y="231"/>
                </a:cubicBezTo>
                <a:cubicBezTo>
                  <a:pt x="286" y="230"/>
                  <a:pt x="286" y="230"/>
                  <a:pt x="286" y="230"/>
                </a:cubicBezTo>
                <a:cubicBezTo>
                  <a:pt x="286" y="230"/>
                  <a:pt x="286" y="230"/>
                  <a:pt x="286" y="230"/>
                </a:cubicBezTo>
                <a:cubicBezTo>
                  <a:pt x="287" y="231"/>
                  <a:pt x="287" y="231"/>
                  <a:pt x="287" y="231"/>
                </a:cubicBezTo>
                <a:cubicBezTo>
                  <a:pt x="287" y="232"/>
                  <a:pt x="287" y="232"/>
                  <a:pt x="287" y="232"/>
                </a:cubicBezTo>
                <a:cubicBezTo>
                  <a:pt x="287" y="233"/>
                  <a:pt x="287" y="233"/>
                  <a:pt x="287" y="233"/>
                </a:cubicBezTo>
                <a:cubicBezTo>
                  <a:pt x="288" y="233"/>
                  <a:pt x="288" y="233"/>
                  <a:pt x="288" y="233"/>
                </a:cubicBezTo>
                <a:cubicBezTo>
                  <a:pt x="288" y="233"/>
                  <a:pt x="288" y="233"/>
                  <a:pt x="288" y="233"/>
                </a:cubicBezTo>
                <a:cubicBezTo>
                  <a:pt x="287" y="236"/>
                  <a:pt x="287" y="236"/>
                  <a:pt x="287" y="236"/>
                </a:cubicBezTo>
                <a:cubicBezTo>
                  <a:pt x="285" y="238"/>
                  <a:pt x="285" y="238"/>
                  <a:pt x="285" y="238"/>
                </a:cubicBezTo>
                <a:cubicBezTo>
                  <a:pt x="285" y="239"/>
                  <a:pt x="285" y="239"/>
                  <a:pt x="285" y="239"/>
                </a:cubicBezTo>
                <a:cubicBezTo>
                  <a:pt x="285" y="240"/>
                  <a:pt x="285" y="240"/>
                  <a:pt x="285" y="240"/>
                </a:cubicBezTo>
                <a:cubicBezTo>
                  <a:pt x="283" y="240"/>
                  <a:pt x="283" y="240"/>
                  <a:pt x="283" y="240"/>
                </a:cubicBezTo>
                <a:cubicBezTo>
                  <a:pt x="284" y="239"/>
                  <a:pt x="284" y="239"/>
                  <a:pt x="284" y="239"/>
                </a:cubicBezTo>
                <a:cubicBezTo>
                  <a:pt x="283" y="238"/>
                  <a:pt x="283" y="238"/>
                  <a:pt x="283" y="238"/>
                </a:cubicBezTo>
                <a:cubicBezTo>
                  <a:pt x="283" y="240"/>
                  <a:pt x="283" y="240"/>
                  <a:pt x="283" y="240"/>
                </a:cubicBezTo>
                <a:cubicBezTo>
                  <a:pt x="282" y="240"/>
                  <a:pt x="282" y="240"/>
                  <a:pt x="282" y="240"/>
                </a:cubicBezTo>
                <a:cubicBezTo>
                  <a:pt x="282" y="239"/>
                  <a:pt x="282" y="239"/>
                  <a:pt x="282" y="239"/>
                </a:cubicBezTo>
                <a:cubicBezTo>
                  <a:pt x="283" y="238"/>
                  <a:pt x="283" y="238"/>
                  <a:pt x="283" y="238"/>
                </a:cubicBezTo>
                <a:cubicBezTo>
                  <a:pt x="283" y="237"/>
                  <a:pt x="283" y="237"/>
                  <a:pt x="283" y="237"/>
                </a:cubicBezTo>
                <a:cubicBezTo>
                  <a:pt x="283" y="236"/>
                  <a:pt x="283" y="236"/>
                  <a:pt x="283" y="236"/>
                </a:cubicBezTo>
                <a:cubicBezTo>
                  <a:pt x="284" y="237"/>
                  <a:pt x="284" y="237"/>
                  <a:pt x="284" y="237"/>
                </a:cubicBezTo>
                <a:cubicBezTo>
                  <a:pt x="285" y="236"/>
                  <a:pt x="285" y="236"/>
                  <a:pt x="285" y="236"/>
                </a:cubicBezTo>
                <a:cubicBezTo>
                  <a:pt x="285" y="235"/>
                  <a:pt x="285" y="235"/>
                  <a:pt x="285" y="235"/>
                </a:cubicBezTo>
                <a:close/>
                <a:moveTo>
                  <a:pt x="284" y="224"/>
                </a:moveTo>
                <a:cubicBezTo>
                  <a:pt x="285" y="225"/>
                  <a:pt x="285" y="225"/>
                  <a:pt x="285" y="225"/>
                </a:cubicBezTo>
                <a:cubicBezTo>
                  <a:pt x="284" y="225"/>
                  <a:pt x="284" y="225"/>
                  <a:pt x="284" y="225"/>
                </a:cubicBezTo>
                <a:cubicBezTo>
                  <a:pt x="284" y="224"/>
                  <a:pt x="284" y="224"/>
                  <a:pt x="284" y="224"/>
                </a:cubicBezTo>
                <a:close/>
                <a:moveTo>
                  <a:pt x="281" y="225"/>
                </a:moveTo>
                <a:cubicBezTo>
                  <a:pt x="282" y="224"/>
                  <a:pt x="282" y="224"/>
                  <a:pt x="282" y="224"/>
                </a:cubicBezTo>
                <a:cubicBezTo>
                  <a:pt x="283" y="224"/>
                  <a:pt x="283" y="224"/>
                  <a:pt x="283" y="224"/>
                </a:cubicBezTo>
                <a:cubicBezTo>
                  <a:pt x="283" y="224"/>
                  <a:pt x="283" y="224"/>
                  <a:pt x="283" y="224"/>
                </a:cubicBezTo>
                <a:cubicBezTo>
                  <a:pt x="284" y="226"/>
                  <a:pt x="284" y="226"/>
                  <a:pt x="284" y="226"/>
                </a:cubicBezTo>
                <a:cubicBezTo>
                  <a:pt x="284" y="228"/>
                  <a:pt x="284" y="228"/>
                  <a:pt x="284" y="228"/>
                </a:cubicBezTo>
                <a:cubicBezTo>
                  <a:pt x="283" y="230"/>
                  <a:pt x="283" y="230"/>
                  <a:pt x="283" y="230"/>
                </a:cubicBezTo>
                <a:cubicBezTo>
                  <a:pt x="283" y="230"/>
                  <a:pt x="283" y="230"/>
                  <a:pt x="283" y="230"/>
                </a:cubicBezTo>
                <a:cubicBezTo>
                  <a:pt x="283" y="233"/>
                  <a:pt x="283" y="233"/>
                  <a:pt x="283" y="233"/>
                </a:cubicBezTo>
                <a:cubicBezTo>
                  <a:pt x="282" y="233"/>
                  <a:pt x="282" y="233"/>
                  <a:pt x="282" y="233"/>
                </a:cubicBezTo>
                <a:cubicBezTo>
                  <a:pt x="281" y="235"/>
                  <a:pt x="281" y="235"/>
                  <a:pt x="281" y="235"/>
                </a:cubicBezTo>
                <a:cubicBezTo>
                  <a:pt x="281" y="237"/>
                  <a:pt x="281" y="237"/>
                  <a:pt x="281" y="237"/>
                </a:cubicBezTo>
                <a:cubicBezTo>
                  <a:pt x="281" y="238"/>
                  <a:pt x="281" y="238"/>
                  <a:pt x="281" y="238"/>
                </a:cubicBezTo>
                <a:cubicBezTo>
                  <a:pt x="280" y="238"/>
                  <a:pt x="280" y="238"/>
                  <a:pt x="280" y="238"/>
                </a:cubicBezTo>
                <a:cubicBezTo>
                  <a:pt x="280" y="237"/>
                  <a:pt x="280" y="237"/>
                  <a:pt x="280" y="237"/>
                </a:cubicBezTo>
                <a:cubicBezTo>
                  <a:pt x="280" y="236"/>
                  <a:pt x="280" y="236"/>
                  <a:pt x="280" y="236"/>
                </a:cubicBezTo>
                <a:cubicBezTo>
                  <a:pt x="280" y="236"/>
                  <a:pt x="280" y="236"/>
                  <a:pt x="280" y="236"/>
                </a:cubicBezTo>
                <a:cubicBezTo>
                  <a:pt x="279" y="234"/>
                  <a:pt x="279" y="234"/>
                  <a:pt x="279" y="234"/>
                </a:cubicBezTo>
                <a:cubicBezTo>
                  <a:pt x="280" y="233"/>
                  <a:pt x="280" y="233"/>
                  <a:pt x="280" y="233"/>
                </a:cubicBezTo>
                <a:cubicBezTo>
                  <a:pt x="281" y="233"/>
                  <a:pt x="281" y="233"/>
                  <a:pt x="281" y="233"/>
                </a:cubicBezTo>
                <a:cubicBezTo>
                  <a:pt x="281" y="232"/>
                  <a:pt x="281" y="232"/>
                  <a:pt x="281" y="232"/>
                </a:cubicBezTo>
                <a:cubicBezTo>
                  <a:pt x="281" y="232"/>
                  <a:pt x="281" y="232"/>
                  <a:pt x="281" y="232"/>
                </a:cubicBezTo>
                <a:cubicBezTo>
                  <a:pt x="281" y="232"/>
                  <a:pt x="281" y="232"/>
                  <a:pt x="281" y="232"/>
                </a:cubicBezTo>
                <a:cubicBezTo>
                  <a:pt x="280" y="232"/>
                  <a:pt x="280" y="232"/>
                  <a:pt x="280" y="232"/>
                </a:cubicBezTo>
                <a:cubicBezTo>
                  <a:pt x="280" y="231"/>
                  <a:pt x="280" y="231"/>
                  <a:pt x="280" y="231"/>
                </a:cubicBezTo>
                <a:cubicBezTo>
                  <a:pt x="280" y="231"/>
                  <a:pt x="280" y="231"/>
                  <a:pt x="280" y="231"/>
                </a:cubicBezTo>
                <a:cubicBezTo>
                  <a:pt x="281" y="230"/>
                  <a:pt x="281" y="230"/>
                  <a:pt x="281" y="230"/>
                </a:cubicBezTo>
                <a:cubicBezTo>
                  <a:pt x="279" y="230"/>
                  <a:pt x="279" y="230"/>
                  <a:pt x="279" y="230"/>
                </a:cubicBezTo>
                <a:cubicBezTo>
                  <a:pt x="279" y="229"/>
                  <a:pt x="279" y="229"/>
                  <a:pt x="279" y="229"/>
                </a:cubicBezTo>
                <a:cubicBezTo>
                  <a:pt x="280" y="229"/>
                  <a:pt x="280" y="229"/>
                  <a:pt x="280" y="229"/>
                </a:cubicBezTo>
                <a:cubicBezTo>
                  <a:pt x="281" y="228"/>
                  <a:pt x="281" y="228"/>
                  <a:pt x="281" y="228"/>
                </a:cubicBezTo>
                <a:cubicBezTo>
                  <a:pt x="281" y="227"/>
                  <a:pt x="281" y="227"/>
                  <a:pt x="281" y="227"/>
                </a:cubicBezTo>
                <a:cubicBezTo>
                  <a:pt x="282" y="226"/>
                  <a:pt x="282" y="226"/>
                  <a:pt x="282" y="226"/>
                </a:cubicBezTo>
                <a:cubicBezTo>
                  <a:pt x="281" y="226"/>
                  <a:pt x="281" y="226"/>
                  <a:pt x="281" y="226"/>
                </a:cubicBezTo>
                <a:cubicBezTo>
                  <a:pt x="281" y="225"/>
                  <a:pt x="281" y="225"/>
                  <a:pt x="281" y="225"/>
                </a:cubicBezTo>
                <a:close/>
                <a:moveTo>
                  <a:pt x="279" y="225"/>
                </a:moveTo>
                <a:cubicBezTo>
                  <a:pt x="279" y="224"/>
                  <a:pt x="279" y="224"/>
                  <a:pt x="279" y="224"/>
                </a:cubicBezTo>
                <a:cubicBezTo>
                  <a:pt x="280" y="225"/>
                  <a:pt x="280" y="225"/>
                  <a:pt x="280" y="225"/>
                </a:cubicBezTo>
                <a:cubicBezTo>
                  <a:pt x="279" y="226"/>
                  <a:pt x="279" y="226"/>
                  <a:pt x="279" y="226"/>
                </a:cubicBezTo>
                <a:cubicBezTo>
                  <a:pt x="279" y="228"/>
                  <a:pt x="279" y="228"/>
                  <a:pt x="279" y="228"/>
                </a:cubicBezTo>
                <a:cubicBezTo>
                  <a:pt x="278" y="228"/>
                  <a:pt x="278" y="228"/>
                  <a:pt x="278" y="228"/>
                </a:cubicBezTo>
                <a:cubicBezTo>
                  <a:pt x="278" y="227"/>
                  <a:pt x="278" y="227"/>
                  <a:pt x="278" y="227"/>
                </a:cubicBezTo>
                <a:cubicBezTo>
                  <a:pt x="279" y="226"/>
                  <a:pt x="279" y="226"/>
                  <a:pt x="279" y="226"/>
                </a:cubicBezTo>
                <a:cubicBezTo>
                  <a:pt x="278" y="226"/>
                  <a:pt x="278" y="226"/>
                  <a:pt x="278" y="226"/>
                </a:cubicBezTo>
                <a:cubicBezTo>
                  <a:pt x="279" y="225"/>
                  <a:pt x="279" y="225"/>
                  <a:pt x="279" y="225"/>
                </a:cubicBezTo>
                <a:close/>
                <a:moveTo>
                  <a:pt x="285" y="228"/>
                </a:moveTo>
                <a:cubicBezTo>
                  <a:pt x="285" y="227"/>
                  <a:pt x="285" y="227"/>
                  <a:pt x="285" y="227"/>
                </a:cubicBezTo>
                <a:cubicBezTo>
                  <a:pt x="285" y="225"/>
                  <a:pt x="285" y="225"/>
                  <a:pt x="285" y="225"/>
                </a:cubicBezTo>
                <a:cubicBezTo>
                  <a:pt x="286" y="225"/>
                  <a:pt x="286" y="225"/>
                  <a:pt x="286" y="225"/>
                </a:cubicBezTo>
                <a:cubicBezTo>
                  <a:pt x="288" y="225"/>
                  <a:pt x="288" y="225"/>
                  <a:pt x="288" y="225"/>
                </a:cubicBezTo>
                <a:cubicBezTo>
                  <a:pt x="287" y="224"/>
                  <a:pt x="287" y="224"/>
                  <a:pt x="287" y="224"/>
                </a:cubicBezTo>
                <a:cubicBezTo>
                  <a:pt x="288" y="223"/>
                  <a:pt x="288" y="223"/>
                  <a:pt x="288" y="223"/>
                </a:cubicBezTo>
                <a:cubicBezTo>
                  <a:pt x="287" y="222"/>
                  <a:pt x="287" y="222"/>
                  <a:pt x="287" y="222"/>
                </a:cubicBezTo>
                <a:cubicBezTo>
                  <a:pt x="287" y="220"/>
                  <a:pt x="287" y="220"/>
                  <a:pt x="287" y="220"/>
                </a:cubicBezTo>
                <a:cubicBezTo>
                  <a:pt x="288" y="219"/>
                  <a:pt x="288" y="219"/>
                  <a:pt x="288" y="219"/>
                </a:cubicBezTo>
                <a:cubicBezTo>
                  <a:pt x="288" y="215"/>
                  <a:pt x="288" y="215"/>
                  <a:pt x="288" y="215"/>
                </a:cubicBezTo>
                <a:cubicBezTo>
                  <a:pt x="289" y="213"/>
                  <a:pt x="289" y="213"/>
                  <a:pt x="289" y="213"/>
                </a:cubicBezTo>
                <a:cubicBezTo>
                  <a:pt x="290" y="214"/>
                  <a:pt x="290" y="214"/>
                  <a:pt x="290" y="214"/>
                </a:cubicBezTo>
                <a:cubicBezTo>
                  <a:pt x="290" y="215"/>
                  <a:pt x="290" y="215"/>
                  <a:pt x="290" y="215"/>
                </a:cubicBezTo>
                <a:cubicBezTo>
                  <a:pt x="291" y="216"/>
                  <a:pt x="291" y="216"/>
                  <a:pt x="291" y="216"/>
                </a:cubicBezTo>
                <a:cubicBezTo>
                  <a:pt x="292" y="217"/>
                  <a:pt x="292" y="217"/>
                  <a:pt x="292" y="217"/>
                </a:cubicBezTo>
                <a:cubicBezTo>
                  <a:pt x="292" y="222"/>
                  <a:pt x="292" y="222"/>
                  <a:pt x="292" y="222"/>
                </a:cubicBezTo>
                <a:cubicBezTo>
                  <a:pt x="292" y="223"/>
                  <a:pt x="292" y="223"/>
                  <a:pt x="292" y="223"/>
                </a:cubicBezTo>
                <a:cubicBezTo>
                  <a:pt x="291" y="223"/>
                  <a:pt x="291" y="223"/>
                  <a:pt x="291" y="223"/>
                </a:cubicBezTo>
                <a:cubicBezTo>
                  <a:pt x="291" y="220"/>
                  <a:pt x="291" y="220"/>
                  <a:pt x="291" y="220"/>
                </a:cubicBezTo>
                <a:cubicBezTo>
                  <a:pt x="291" y="218"/>
                  <a:pt x="291" y="218"/>
                  <a:pt x="291" y="218"/>
                </a:cubicBezTo>
                <a:cubicBezTo>
                  <a:pt x="290" y="219"/>
                  <a:pt x="290" y="219"/>
                  <a:pt x="290" y="219"/>
                </a:cubicBezTo>
                <a:cubicBezTo>
                  <a:pt x="290" y="223"/>
                  <a:pt x="290" y="223"/>
                  <a:pt x="290" y="223"/>
                </a:cubicBezTo>
                <a:cubicBezTo>
                  <a:pt x="290" y="224"/>
                  <a:pt x="290" y="224"/>
                  <a:pt x="290" y="224"/>
                </a:cubicBezTo>
                <a:cubicBezTo>
                  <a:pt x="290" y="225"/>
                  <a:pt x="290" y="225"/>
                  <a:pt x="290" y="225"/>
                </a:cubicBezTo>
                <a:cubicBezTo>
                  <a:pt x="289" y="225"/>
                  <a:pt x="289" y="225"/>
                  <a:pt x="289" y="225"/>
                </a:cubicBezTo>
                <a:cubicBezTo>
                  <a:pt x="288" y="225"/>
                  <a:pt x="288" y="225"/>
                  <a:pt x="288" y="225"/>
                </a:cubicBezTo>
                <a:cubicBezTo>
                  <a:pt x="288" y="227"/>
                  <a:pt x="288" y="227"/>
                  <a:pt x="288" y="227"/>
                </a:cubicBezTo>
                <a:cubicBezTo>
                  <a:pt x="286" y="228"/>
                  <a:pt x="286" y="228"/>
                  <a:pt x="286" y="228"/>
                </a:cubicBezTo>
                <a:cubicBezTo>
                  <a:pt x="285" y="229"/>
                  <a:pt x="285" y="229"/>
                  <a:pt x="285" y="229"/>
                </a:cubicBezTo>
                <a:cubicBezTo>
                  <a:pt x="285" y="228"/>
                  <a:pt x="285" y="228"/>
                  <a:pt x="285" y="228"/>
                </a:cubicBezTo>
                <a:close/>
                <a:moveTo>
                  <a:pt x="281" y="214"/>
                </a:moveTo>
                <a:cubicBezTo>
                  <a:pt x="283" y="213"/>
                  <a:pt x="283" y="213"/>
                  <a:pt x="283" y="213"/>
                </a:cubicBezTo>
                <a:cubicBezTo>
                  <a:pt x="284" y="214"/>
                  <a:pt x="284" y="214"/>
                  <a:pt x="284" y="214"/>
                </a:cubicBezTo>
                <a:cubicBezTo>
                  <a:pt x="284" y="215"/>
                  <a:pt x="284" y="215"/>
                  <a:pt x="284" y="215"/>
                </a:cubicBezTo>
                <a:cubicBezTo>
                  <a:pt x="284" y="216"/>
                  <a:pt x="284" y="216"/>
                  <a:pt x="284" y="216"/>
                </a:cubicBezTo>
                <a:cubicBezTo>
                  <a:pt x="284" y="217"/>
                  <a:pt x="284" y="217"/>
                  <a:pt x="284" y="217"/>
                </a:cubicBezTo>
                <a:cubicBezTo>
                  <a:pt x="285" y="216"/>
                  <a:pt x="285" y="216"/>
                  <a:pt x="285" y="216"/>
                </a:cubicBezTo>
                <a:cubicBezTo>
                  <a:pt x="286" y="215"/>
                  <a:pt x="286" y="215"/>
                  <a:pt x="286" y="215"/>
                </a:cubicBezTo>
                <a:cubicBezTo>
                  <a:pt x="287" y="217"/>
                  <a:pt x="287" y="217"/>
                  <a:pt x="287" y="217"/>
                </a:cubicBezTo>
                <a:cubicBezTo>
                  <a:pt x="287" y="217"/>
                  <a:pt x="287" y="217"/>
                  <a:pt x="287" y="217"/>
                </a:cubicBezTo>
                <a:cubicBezTo>
                  <a:pt x="286" y="218"/>
                  <a:pt x="286" y="218"/>
                  <a:pt x="286" y="218"/>
                </a:cubicBezTo>
                <a:cubicBezTo>
                  <a:pt x="286" y="219"/>
                  <a:pt x="286" y="219"/>
                  <a:pt x="286" y="219"/>
                </a:cubicBezTo>
                <a:cubicBezTo>
                  <a:pt x="286" y="219"/>
                  <a:pt x="286" y="219"/>
                  <a:pt x="286" y="219"/>
                </a:cubicBezTo>
                <a:cubicBezTo>
                  <a:pt x="285" y="219"/>
                  <a:pt x="285" y="219"/>
                  <a:pt x="285" y="219"/>
                </a:cubicBezTo>
                <a:cubicBezTo>
                  <a:pt x="284" y="218"/>
                  <a:pt x="284" y="218"/>
                  <a:pt x="284" y="218"/>
                </a:cubicBezTo>
                <a:cubicBezTo>
                  <a:pt x="282" y="216"/>
                  <a:pt x="282" y="216"/>
                  <a:pt x="282" y="216"/>
                </a:cubicBezTo>
                <a:cubicBezTo>
                  <a:pt x="282" y="217"/>
                  <a:pt x="282" y="217"/>
                  <a:pt x="282" y="217"/>
                </a:cubicBezTo>
                <a:cubicBezTo>
                  <a:pt x="284" y="219"/>
                  <a:pt x="284" y="219"/>
                  <a:pt x="284" y="219"/>
                </a:cubicBezTo>
                <a:cubicBezTo>
                  <a:pt x="284" y="220"/>
                  <a:pt x="284" y="220"/>
                  <a:pt x="284" y="220"/>
                </a:cubicBezTo>
                <a:cubicBezTo>
                  <a:pt x="285" y="220"/>
                  <a:pt x="285" y="220"/>
                  <a:pt x="285" y="220"/>
                </a:cubicBezTo>
                <a:cubicBezTo>
                  <a:pt x="286" y="221"/>
                  <a:pt x="286" y="221"/>
                  <a:pt x="286" y="221"/>
                </a:cubicBezTo>
                <a:cubicBezTo>
                  <a:pt x="285" y="222"/>
                  <a:pt x="285" y="222"/>
                  <a:pt x="285" y="222"/>
                </a:cubicBezTo>
                <a:cubicBezTo>
                  <a:pt x="285" y="224"/>
                  <a:pt x="285" y="224"/>
                  <a:pt x="285" y="224"/>
                </a:cubicBezTo>
                <a:cubicBezTo>
                  <a:pt x="284" y="224"/>
                  <a:pt x="284" y="224"/>
                  <a:pt x="284" y="224"/>
                </a:cubicBezTo>
                <a:cubicBezTo>
                  <a:pt x="283" y="222"/>
                  <a:pt x="283" y="222"/>
                  <a:pt x="283" y="222"/>
                </a:cubicBezTo>
                <a:cubicBezTo>
                  <a:pt x="283" y="221"/>
                  <a:pt x="283" y="221"/>
                  <a:pt x="283" y="221"/>
                </a:cubicBezTo>
                <a:cubicBezTo>
                  <a:pt x="281" y="218"/>
                  <a:pt x="281" y="218"/>
                  <a:pt x="281" y="218"/>
                </a:cubicBezTo>
                <a:cubicBezTo>
                  <a:pt x="281" y="220"/>
                  <a:pt x="281" y="220"/>
                  <a:pt x="281" y="220"/>
                </a:cubicBezTo>
                <a:cubicBezTo>
                  <a:pt x="282" y="221"/>
                  <a:pt x="282" y="221"/>
                  <a:pt x="282" y="221"/>
                </a:cubicBezTo>
                <a:cubicBezTo>
                  <a:pt x="282" y="223"/>
                  <a:pt x="282" y="223"/>
                  <a:pt x="282" y="223"/>
                </a:cubicBezTo>
                <a:cubicBezTo>
                  <a:pt x="281" y="224"/>
                  <a:pt x="281" y="224"/>
                  <a:pt x="281" y="224"/>
                </a:cubicBezTo>
                <a:cubicBezTo>
                  <a:pt x="280" y="224"/>
                  <a:pt x="280" y="224"/>
                  <a:pt x="280" y="224"/>
                </a:cubicBezTo>
                <a:cubicBezTo>
                  <a:pt x="279" y="222"/>
                  <a:pt x="279" y="222"/>
                  <a:pt x="279" y="222"/>
                </a:cubicBezTo>
                <a:cubicBezTo>
                  <a:pt x="280" y="221"/>
                  <a:pt x="280" y="221"/>
                  <a:pt x="280" y="221"/>
                </a:cubicBezTo>
                <a:cubicBezTo>
                  <a:pt x="279" y="221"/>
                  <a:pt x="279" y="221"/>
                  <a:pt x="279" y="221"/>
                </a:cubicBezTo>
                <a:cubicBezTo>
                  <a:pt x="279" y="220"/>
                  <a:pt x="279" y="220"/>
                  <a:pt x="279" y="220"/>
                </a:cubicBezTo>
                <a:cubicBezTo>
                  <a:pt x="278" y="218"/>
                  <a:pt x="278" y="218"/>
                  <a:pt x="278" y="218"/>
                </a:cubicBezTo>
                <a:cubicBezTo>
                  <a:pt x="279" y="217"/>
                  <a:pt x="279" y="217"/>
                  <a:pt x="279" y="217"/>
                </a:cubicBezTo>
                <a:cubicBezTo>
                  <a:pt x="280" y="217"/>
                  <a:pt x="280" y="217"/>
                  <a:pt x="280" y="217"/>
                </a:cubicBezTo>
                <a:cubicBezTo>
                  <a:pt x="280" y="217"/>
                  <a:pt x="280" y="217"/>
                  <a:pt x="280" y="217"/>
                </a:cubicBezTo>
                <a:cubicBezTo>
                  <a:pt x="280" y="216"/>
                  <a:pt x="280" y="216"/>
                  <a:pt x="280" y="216"/>
                </a:cubicBezTo>
                <a:cubicBezTo>
                  <a:pt x="279" y="215"/>
                  <a:pt x="279" y="215"/>
                  <a:pt x="279" y="215"/>
                </a:cubicBezTo>
                <a:cubicBezTo>
                  <a:pt x="280" y="213"/>
                  <a:pt x="280" y="213"/>
                  <a:pt x="280" y="213"/>
                </a:cubicBezTo>
                <a:cubicBezTo>
                  <a:pt x="281" y="215"/>
                  <a:pt x="281" y="215"/>
                  <a:pt x="281" y="215"/>
                </a:cubicBezTo>
                <a:cubicBezTo>
                  <a:pt x="281" y="214"/>
                  <a:pt x="281" y="214"/>
                  <a:pt x="281" y="214"/>
                </a:cubicBezTo>
                <a:cubicBezTo>
                  <a:pt x="281" y="214"/>
                  <a:pt x="281" y="214"/>
                  <a:pt x="281" y="214"/>
                </a:cubicBezTo>
                <a:close/>
                <a:moveTo>
                  <a:pt x="282" y="212"/>
                </a:moveTo>
                <a:cubicBezTo>
                  <a:pt x="283" y="211"/>
                  <a:pt x="283" y="211"/>
                  <a:pt x="283" y="211"/>
                </a:cubicBezTo>
                <a:cubicBezTo>
                  <a:pt x="283" y="212"/>
                  <a:pt x="283" y="212"/>
                  <a:pt x="283" y="212"/>
                </a:cubicBezTo>
                <a:cubicBezTo>
                  <a:pt x="282" y="213"/>
                  <a:pt x="282" y="213"/>
                  <a:pt x="282" y="213"/>
                </a:cubicBezTo>
                <a:cubicBezTo>
                  <a:pt x="282" y="212"/>
                  <a:pt x="282" y="212"/>
                  <a:pt x="282" y="212"/>
                </a:cubicBezTo>
                <a:close/>
                <a:moveTo>
                  <a:pt x="94" y="135"/>
                </a:moveTo>
                <a:cubicBezTo>
                  <a:pt x="94" y="134"/>
                  <a:pt x="94" y="134"/>
                  <a:pt x="94" y="134"/>
                </a:cubicBezTo>
                <a:cubicBezTo>
                  <a:pt x="94" y="134"/>
                  <a:pt x="94" y="134"/>
                  <a:pt x="94" y="134"/>
                </a:cubicBezTo>
                <a:cubicBezTo>
                  <a:pt x="95" y="135"/>
                  <a:pt x="95" y="135"/>
                  <a:pt x="95" y="135"/>
                </a:cubicBezTo>
                <a:cubicBezTo>
                  <a:pt x="94" y="135"/>
                  <a:pt x="94" y="135"/>
                  <a:pt x="94" y="135"/>
                </a:cubicBezTo>
                <a:close/>
                <a:moveTo>
                  <a:pt x="94" y="136"/>
                </a:moveTo>
                <a:cubicBezTo>
                  <a:pt x="94" y="136"/>
                  <a:pt x="94" y="136"/>
                  <a:pt x="94" y="136"/>
                </a:cubicBezTo>
                <a:cubicBezTo>
                  <a:pt x="94" y="137"/>
                  <a:pt x="94" y="137"/>
                  <a:pt x="94" y="137"/>
                </a:cubicBezTo>
                <a:cubicBezTo>
                  <a:pt x="96" y="139"/>
                  <a:pt x="96" y="139"/>
                  <a:pt x="96" y="139"/>
                </a:cubicBezTo>
                <a:cubicBezTo>
                  <a:pt x="96" y="140"/>
                  <a:pt x="96" y="140"/>
                  <a:pt x="96" y="140"/>
                </a:cubicBezTo>
                <a:cubicBezTo>
                  <a:pt x="94" y="138"/>
                  <a:pt x="94" y="138"/>
                  <a:pt x="94" y="138"/>
                </a:cubicBezTo>
                <a:cubicBezTo>
                  <a:pt x="93" y="137"/>
                  <a:pt x="93" y="137"/>
                  <a:pt x="93" y="137"/>
                </a:cubicBezTo>
                <a:cubicBezTo>
                  <a:pt x="93" y="136"/>
                  <a:pt x="93" y="136"/>
                  <a:pt x="93" y="136"/>
                </a:cubicBezTo>
                <a:cubicBezTo>
                  <a:pt x="93" y="136"/>
                  <a:pt x="94" y="136"/>
                  <a:pt x="94" y="136"/>
                </a:cubicBezTo>
                <a:close/>
                <a:moveTo>
                  <a:pt x="159" y="114"/>
                </a:moveTo>
                <a:cubicBezTo>
                  <a:pt x="158" y="116"/>
                  <a:pt x="158" y="116"/>
                  <a:pt x="158" y="116"/>
                </a:cubicBezTo>
                <a:cubicBezTo>
                  <a:pt x="158" y="119"/>
                  <a:pt x="158" y="119"/>
                  <a:pt x="158" y="119"/>
                </a:cubicBezTo>
                <a:cubicBezTo>
                  <a:pt x="157" y="118"/>
                  <a:pt x="157" y="118"/>
                  <a:pt x="157" y="118"/>
                </a:cubicBezTo>
                <a:cubicBezTo>
                  <a:pt x="157" y="117"/>
                  <a:pt x="157" y="117"/>
                  <a:pt x="157" y="117"/>
                </a:cubicBezTo>
                <a:cubicBezTo>
                  <a:pt x="156" y="117"/>
                  <a:pt x="156" y="117"/>
                  <a:pt x="156" y="117"/>
                </a:cubicBezTo>
                <a:cubicBezTo>
                  <a:pt x="155" y="117"/>
                  <a:pt x="155" y="117"/>
                  <a:pt x="155" y="117"/>
                </a:cubicBezTo>
                <a:cubicBezTo>
                  <a:pt x="154" y="116"/>
                  <a:pt x="154" y="116"/>
                  <a:pt x="154" y="116"/>
                </a:cubicBezTo>
                <a:cubicBezTo>
                  <a:pt x="154" y="116"/>
                  <a:pt x="154" y="116"/>
                  <a:pt x="154" y="116"/>
                </a:cubicBezTo>
                <a:cubicBezTo>
                  <a:pt x="157" y="112"/>
                  <a:pt x="157" y="112"/>
                  <a:pt x="157" y="112"/>
                </a:cubicBezTo>
                <a:cubicBezTo>
                  <a:pt x="158" y="111"/>
                  <a:pt x="158" y="111"/>
                  <a:pt x="158" y="111"/>
                </a:cubicBezTo>
                <a:cubicBezTo>
                  <a:pt x="159" y="112"/>
                  <a:pt x="159" y="112"/>
                  <a:pt x="159" y="112"/>
                </a:cubicBezTo>
                <a:cubicBezTo>
                  <a:pt x="159" y="114"/>
                  <a:pt x="159" y="114"/>
                  <a:pt x="159" y="114"/>
                </a:cubicBezTo>
                <a:close/>
                <a:moveTo>
                  <a:pt x="160" y="114"/>
                </a:moveTo>
                <a:cubicBezTo>
                  <a:pt x="160" y="114"/>
                  <a:pt x="161" y="114"/>
                  <a:pt x="161" y="114"/>
                </a:cubicBezTo>
                <a:cubicBezTo>
                  <a:pt x="161" y="113"/>
                  <a:pt x="161" y="113"/>
                  <a:pt x="161" y="113"/>
                </a:cubicBezTo>
                <a:cubicBezTo>
                  <a:pt x="160" y="112"/>
                  <a:pt x="160" y="112"/>
                  <a:pt x="160" y="112"/>
                </a:cubicBezTo>
                <a:cubicBezTo>
                  <a:pt x="160" y="111"/>
                  <a:pt x="160" y="111"/>
                  <a:pt x="160" y="111"/>
                </a:cubicBezTo>
                <a:cubicBezTo>
                  <a:pt x="159" y="110"/>
                  <a:pt x="159" y="110"/>
                  <a:pt x="159" y="110"/>
                </a:cubicBezTo>
                <a:cubicBezTo>
                  <a:pt x="160" y="110"/>
                  <a:pt x="160" y="110"/>
                  <a:pt x="160" y="110"/>
                </a:cubicBezTo>
                <a:cubicBezTo>
                  <a:pt x="162" y="110"/>
                  <a:pt x="162" y="110"/>
                  <a:pt x="162" y="110"/>
                </a:cubicBezTo>
                <a:cubicBezTo>
                  <a:pt x="165" y="111"/>
                  <a:pt x="165" y="111"/>
                  <a:pt x="165" y="111"/>
                </a:cubicBezTo>
                <a:cubicBezTo>
                  <a:pt x="165" y="112"/>
                  <a:pt x="165" y="112"/>
                  <a:pt x="165" y="112"/>
                </a:cubicBezTo>
                <a:cubicBezTo>
                  <a:pt x="163" y="112"/>
                  <a:pt x="163" y="112"/>
                  <a:pt x="163" y="112"/>
                </a:cubicBezTo>
                <a:cubicBezTo>
                  <a:pt x="161" y="115"/>
                  <a:pt x="161" y="115"/>
                  <a:pt x="161" y="115"/>
                </a:cubicBezTo>
                <a:cubicBezTo>
                  <a:pt x="160" y="114"/>
                  <a:pt x="160" y="114"/>
                  <a:pt x="160" y="114"/>
                </a:cubicBezTo>
                <a:close/>
                <a:moveTo>
                  <a:pt x="172" y="106"/>
                </a:moveTo>
                <a:cubicBezTo>
                  <a:pt x="173" y="106"/>
                  <a:pt x="173" y="106"/>
                  <a:pt x="173" y="106"/>
                </a:cubicBezTo>
                <a:cubicBezTo>
                  <a:pt x="174" y="106"/>
                  <a:pt x="174" y="106"/>
                  <a:pt x="174" y="106"/>
                </a:cubicBezTo>
                <a:cubicBezTo>
                  <a:pt x="175" y="107"/>
                  <a:pt x="175" y="107"/>
                  <a:pt x="175" y="107"/>
                </a:cubicBezTo>
                <a:cubicBezTo>
                  <a:pt x="174" y="108"/>
                  <a:pt x="174" y="108"/>
                  <a:pt x="174" y="108"/>
                </a:cubicBezTo>
                <a:cubicBezTo>
                  <a:pt x="174" y="108"/>
                  <a:pt x="174" y="108"/>
                  <a:pt x="174" y="108"/>
                </a:cubicBezTo>
                <a:cubicBezTo>
                  <a:pt x="172" y="106"/>
                  <a:pt x="172" y="106"/>
                  <a:pt x="172" y="106"/>
                </a:cubicBezTo>
                <a:close/>
                <a:moveTo>
                  <a:pt x="236" y="167"/>
                </a:moveTo>
                <a:cubicBezTo>
                  <a:pt x="237" y="166"/>
                  <a:pt x="237" y="166"/>
                  <a:pt x="237" y="166"/>
                </a:cubicBezTo>
                <a:cubicBezTo>
                  <a:pt x="238" y="167"/>
                  <a:pt x="238" y="167"/>
                  <a:pt x="238" y="167"/>
                </a:cubicBezTo>
                <a:cubicBezTo>
                  <a:pt x="237" y="167"/>
                  <a:pt x="237" y="167"/>
                  <a:pt x="237" y="167"/>
                </a:cubicBezTo>
                <a:cubicBezTo>
                  <a:pt x="236" y="167"/>
                  <a:pt x="236" y="167"/>
                  <a:pt x="236" y="167"/>
                </a:cubicBezTo>
                <a:close/>
                <a:moveTo>
                  <a:pt x="230" y="186"/>
                </a:moveTo>
                <a:cubicBezTo>
                  <a:pt x="231" y="185"/>
                  <a:pt x="231" y="185"/>
                  <a:pt x="231" y="185"/>
                </a:cubicBezTo>
                <a:cubicBezTo>
                  <a:pt x="232" y="186"/>
                  <a:pt x="232" y="186"/>
                  <a:pt x="232" y="186"/>
                </a:cubicBezTo>
                <a:cubicBezTo>
                  <a:pt x="230" y="186"/>
                  <a:pt x="230" y="186"/>
                  <a:pt x="230" y="186"/>
                </a:cubicBezTo>
                <a:close/>
                <a:moveTo>
                  <a:pt x="244" y="182"/>
                </a:moveTo>
                <a:cubicBezTo>
                  <a:pt x="245" y="182"/>
                  <a:pt x="245" y="182"/>
                  <a:pt x="245" y="182"/>
                </a:cubicBezTo>
                <a:cubicBezTo>
                  <a:pt x="246" y="182"/>
                  <a:pt x="246" y="182"/>
                  <a:pt x="246" y="182"/>
                </a:cubicBezTo>
                <a:cubicBezTo>
                  <a:pt x="245" y="183"/>
                  <a:pt x="245" y="183"/>
                  <a:pt x="245" y="183"/>
                </a:cubicBezTo>
                <a:cubicBezTo>
                  <a:pt x="244" y="183"/>
                  <a:pt x="244" y="183"/>
                  <a:pt x="244" y="183"/>
                </a:cubicBezTo>
                <a:cubicBezTo>
                  <a:pt x="244" y="182"/>
                  <a:pt x="244" y="182"/>
                  <a:pt x="244" y="182"/>
                </a:cubicBezTo>
                <a:close/>
                <a:moveTo>
                  <a:pt x="234" y="170"/>
                </a:moveTo>
                <a:cubicBezTo>
                  <a:pt x="234" y="169"/>
                  <a:pt x="234" y="169"/>
                  <a:pt x="234" y="169"/>
                </a:cubicBezTo>
                <a:cubicBezTo>
                  <a:pt x="235" y="169"/>
                  <a:pt x="235" y="169"/>
                  <a:pt x="235" y="169"/>
                </a:cubicBezTo>
                <a:cubicBezTo>
                  <a:pt x="235" y="170"/>
                  <a:pt x="235" y="170"/>
                  <a:pt x="235" y="170"/>
                </a:cubicBezTo>
                <a:cubicBezTo>
                  <a:pt x="234" y="170"/>
                  <a:pt x="234" y="170"/>
                  <a:pt x="234" y="170"/>
                </a:cubicBezTo>
                <a:close/>
                <a:moveTo>
                  <a:pt x="235" y="175"/>
                </a:moveTo>
                <a:cubicBezTo>
                  <a:pt x="235" y="173"/>
                  <a:pt x="235" y="173"/>
                  <a:pt x="235" y="173"/>
                </a:cubicBezTo>
                <a:cubicBezTo>
                  <a:pt x="236" y="172"/>
                  <a:pt x="236" y="172"/>
                  <a:pt x="236" y="172"/>
                </a:cubicBezTo>
                <a:cubicBezTo>
                  <a:pt x="237" y="172"/>
                  <a:pt x="237" y="172"/>
                  <a:pt x="237" y="172"/>
                </a:cubicBezTo>
                <a:cubicBezTo>
                  <a:pt x="237" y="174"/>
                  <a:pt x="237" y="174"/>
                  <a:pt x="237" y="174"/>
                </a:cubicBezTo>
                <a:cubicBezTo>
                  <a:pt x="238" y="174"/>
                  <a:pt x="238" y="174"/>
                  <a:pt x="238" y="174"/>
                </a:cubicBezTo>
                <a:cubicBezTo>
                  <a:pt x="238" y="174"/>
                  <a:pt x="238" y="174"/>
                  <a:pt x="238" y="174"/>
                </a:cubicBezTo>
                <a:cubicBezTo>
                  <a:pt x="237" y="175"/>
                  <a:pt x="237" y="175"/>
                  <a:pt x="237" y="175"/>
                </a:cubicBezTo>
                <a:cubicBezTo>
                  <a:pt x="235" y="175"/>
                  <a:pt x="235" y="175"/>
                  <a:pt x="235" y="175"/>
                </a:cubicBezTo>
                <a:close/>
                <a:moveTo>
                  <a:pt x="225" y="180"/>
                </a:moveTo>
                <a:cubicBezTo>
                  <a:pt x="226" y="179"/>
                  <a:pt x="226" y="179"/>
                  <a:pt x="226" y="179"/>
                </a:cubicBezTo>
                <a:cubicBezTo>
                  <a:pt x="227" y="179"/>
                  <a:pt x="227" y="179"/>
                  <a:pt x="227" y="179"/>
                </a:cubicBezTo>
                <a:cubicBezTo>
                  <a:pt x="227" y="178"/>
                  <a:pt x="227" y="178"/>
                  <a:pt x="227" y="178"/>
                </a:cubicBezTo>
                <a:cubicBezTo>
                  <a:pt x="229" y="177"/>
                  <a:pt x="229" y="177"/>
                  <a:pt x="229" y="177"/>
                </a:cubicBezTo>
                <a:cubicBezTo>
                  <a:pt x="230" y="176"/>
                  <a:pt x="230" y="176"/>
                  <a:pt x="230" y="176"/>
                </a:cubicBezTo>
                <a:cubicBezTo>
                  <a:pt x="232" y="175"/>
                  <a:pt x="232" y="175"/>
                  <a:pt x="232" y="175"/>
                </a:cubicBezTo>
                <a:cubicBezTo>
                  <a:pt x="232" y="175"/>
                  <a:pt x="232" y="175"/>
                  <a:pt x="232" y="175"/>
                </a:cubicBezTo>
                <a:cubicBezTo>
                  <a:pt x="233" y="173"/>
                  <a:pt x="233" y="173"/>
                  <a:pt x="233" y="173"/>
                </a:cubicBezTo>
                <a:cubicBezTo>
                  <a:pt x="234" y="174"/>
                  <a:pt x="234" y="174"/>
                  <a:pt x="234" y="174"/>
                </a:cubicBezTo>
                <a:cubicBezTo>
                  <a:pt x="233" y="174"/>
                  <a:pt x="233" y="174"/>
                  <a:pt x="233" y="174"/>
                </a:cubicBezTo>
                <a:cubicBezTo>
                  <a:pt x="234" y="175"/>
                  <a:pt x="234" y="175"/>
                  <a:pt x="234" y="175"/>
                </a:cubicBezTo>
                <a:cubicBezTo>
                  <a:pt x="233" y="176"/>
                  <a:pt x="233" y="176"/>
                  <a:pt x="233" y="176"/>
                </a:cubicBezTo>
                <a:cubicBezTo>
                  <a:pt x="232" y="176"/>
                  <a:pt x="232" y="176"/>
                  <a:pt x="232" y="176"/>
                </a:cubicBezTo>
                <a:cubicBezTo>
                  <a:pt x="230" y="178"/>
                  <a:pt x="230" y="178"/>
                  <a:pt x="230" y="178"/>
                </a:cubicBezTo>
                <a:cubicBezTo>
                  <a:pt x="229" y="179"/>
                  <a:pt x="229" y="179"/>
                  <a:pt x="229" y="179"/>
                </a:cubicBezTo>
                <a:cubicBezTo>
                  <a:pt x="229" y="179"/>
                  <a:pt x="229" y="179"/>
                  <a:pt x="229" y="179"/>
                </a:cubicBezTo>
                <a:cubicBezTo>
                  <a:pt x="229" y="180"/>
                  <a:pt x="229" y="180"/>
                  <a:pt x="229" y="180"/>
                </a:cubicBezTo>
                <a:cubicBezTo>
                  <a:pt x="227" y="180"/>
                  <a:pt x="227" y="180"/>
                  <a:pt x="227" y="180"/>
                </a:cubicBezTo>
                <a:cubicBezTo>
                  <a:pt x="227" y="180"/>
                  <a:pt x="227" y="180"/>
                  <a:pt x="227" y="180"/>
                </a:cubicBezTo>
                <a:cubicBezTo>
                  <a:pt x="225" y="180"/>
                  <a:pt x="225" y="180"/>
                  <a:pt x="225" y="180"/>
                </a:cubicBezTo>
                <a:cubicBezTo>
                  <a:pt x="225" y="180"/>
                  <a:pt x="225" y="180"/>
                  <a:pt x="225" y="180"/>
                </a:cubicBezTo>
                <a:close/>
                <a:moveTo>
                  <a:pt x="225" y="177"/>
                </a:moveTo>
                <a:cubicBezTo>
                  <a:pt x="227" y="176"/>
                  <a:pt x="227" y="176"/>
                  <a:pt x="227" y="176"/>
                </a:cubicBezTo>
                <a:cubicBezTo>
                  <a:pt x="227" y="177"/>
                  <a:pt x="227" y="177"/>
                  <a:pt x="227" y="177"/>
                </a:cubicBezTo>
                <a:cubicBezTo>
                  <a:pt x="226" y="178"/>
                  <a:pt x="226" y="178"/>
                  <a:pt x="226" y="178"/>
                </a:cubicBezTo>
                <a:cubicBezTo>
                  <a:pt x="226" y="178"/>
                  <a:pt x="225" y="177"/>
                  <a:pt x="225" y="177"/>
                </a:cubicBezTo>
                <a:close/>
                <a:moveTo>
                  <a:pt x="228" y="174"/>
                </a:moveTo>
                <a:cubicBezTo>
                  <a:pt x="230" y="173"/>
                  <a:pt x="230" y="173"/>
                  <a:pt x="230" y="173"/>
                </a:cubicBezTo>
                <a:cubicBezTo>
                  <a:pt x="230" y="172"/>
                  <a:pt x="230" y="172"/>
                  <a:pt x="230" y="172"/>
                </a:cubicBezTo>
                <a:cubicBezTo>
                  <a:pt x="231" y="171"/>
                  <a:pt x="231" y="171"/>
                  <a:pt x="231" y="171"/>
                </a:cubicBezTo>
                <a:cubicBezTo>
                  <a:pt x="232" y="171"/>
                  <a:pt x="232" y="171"/>
                  <a:pt x="232" y="171"/>
                </a:cubicBezTo>
                <a:cubicBezTo>
                  <a:pt x="232" y="171"/>
                  <a:pt x="232" y="171"/>
                  <a:pt x="232" y="171"/>
                </a:cubicBezTo>
                <a:cubicBezTo>
                  <a:pt x="231" y="172"/>
                  <a:pt x="231" y="172"/>
                  <a:pt x="231" y="172"/>
                </a:cubicBezTo>
                <a:cubicBezTo>
                  <a:pt x="230" y="173"/>
                  <a:pt x="230" y="173"/>
                  <a:pt x="230" y="173"/>
                </a:cubicBezTo>
                <a:cubicBezTo>
                  <a:pt x="229" y="174"/>
                  <a:pt x="229" y="174"/>
                  <a:pt x="229" y="174"/>
                </a:cubicBezTo>
                <a:cubicBezTo>
                  <a:pt x="229" y="175"/>
                  <a:pt x="229" y="175"/>
                  <a:pt x="229" y="175"/>
                </a:cubicBezTo>
                <a:cubicBezTo>
                  <a:pt x="228" y="175"/>
                  <a:pt x="228" y="175"/>
                  <a:pt x="228" y="175"/>
                </a:cubicBezTo>
                <a:cubicBezTo>
                  <a:pt x="228" y="174"/>
                  <a:pt x="228" y="174"/>
                  <a:pt x="228" y="174"/>
                </a:cubicBezTo>
                <a:close/>
                <a:moveTo>
                  <a:pt x="230" y="166"/>
                </a:moveTo>
                <a:cubicBezTo>
                  <a:pt x="231" y="165"/>
                  <a:pt x="231" y="165"/>
                  <a:pt x="231" y="165"/>
                </a:cubicBezTo>
                <a:cubicBezTo>
                  <a:pt x="232" y="166"/>
                  <a:pt x="232" y="166"/>
                  <a:pt x="232" y="166"/>
                </a:cubicBezTo>
                <a:cubicBezTo>
                  <a:pt x="231" y="166"/>
                  <a:pt x="231" y="166"/>
                  <a:pt x="231" y="166"/>
                </a:cubicBezTo>
                <a:cubicBezTo>
                  <a:pt x="232" y="167"/>
                  <a:pt x="232" y="167"/>
                  <a:pt x="232" y="167"/>
                </a:cubicBezTo>
                <a:cubicBezTo>
                  <a:pt x="231" y="168"/>
                  <a:pt x="231" y="168"/>
                  <a:pt x="231" y="168"/>
                </a:cubicBezTo>
                <a:cubicBezTo>
                  <a:pt x="230" y="166"/>
                  <a:pt x="230" y="166"/>
                  <a:pt x="230" y="166"/>
                </a:cubicBezTo>
                <a:close/>
                <a:moveTo>
                  <a:pt x="154" y="79"/>
                </a:moveTo>
                <a:cubicBezTo>
                  <a:pt x="154" y="79"/>
                  <a:pt x="155" y="79"/>
                  <a:pt x="155" y="79"/>
                </a:cubicBezTo>
                <a:cubicBezTo>
                  <a:pt x="156" y="79"/>
                  <a:pt x="156" y="79"/>
                  <a:pt x="156" y="79"/>
                </a:cubicBezTo>
                <a:cubicBezTo>
                  <a:pt x="155" y="80"/>
                  <a:pt x="155" y="80"/>
                  <a:pt x="155" y="80"/>
                </a:cubicBezTo>
                <a:cubicBezTo>
                  <a:pt x="154" y="79"/>
                  <a:pt x="154" y="79"/>
                  <a:pt x="154" y="79"/>
                </a:cubicBezTo>
                <a:close/>
                <a:moveTo>
                  <a:pt x="130" y="105"/>
                </a:moveTo>
                <a:cubicBezTo>
                  <a:pt x="131" y="103"/>
                  <a:pt x="131" y="103"/>
                  <a:pt x="131" y="103"/>
                </a:cubicBezTo>
                <a:cubicBezTo>
                  <a:pt x="131" y="102"/>
                  <a:pt x="131" y="102"/>
                  <a:pt x="131" y="102"/>
                </a:cubicBezTo>
                <a:cubicBezTo>
                  <a:pt x="129" y="101"/>
                  <a:pt x="129" y="101"/>
                  <a:pt x="129" y="101"/>
                </a:cubicBezTo>
                <a:cubicBezTo>
                  <a:pt x="130" y="100"/>
                  <a:pt x="130" y="100"/>
                  <a:pt x="130" y="100"/>
                </a:cubicBezTo>
                <a:cubicBezTo>
                  <a:pt x="129" y="98"/>
                  <a:pt x="129" y="98"/>
                  <a:pt x="129" y="98"/>
                </a:cubicBezTo>
                <a:cubicBezTo>
                  <a:pt x="128" y="97"/>
                  <a:pt x="128" y="97"/>
                  <a:pt x="128" y="97"/>
                </a:cubicBezTo>
                <a:cubicBezTo>
                  <a:pt x="126" y="96"/>
                  <a:pt x="126" y="96"/>
                  <a:pt x="126" y="96"/>
                </a:cubicBezTo>
                <a:cubicBezTo>
                  <a:pt x="125" y="98"/>
                  <a:pt x="125" y="98"/>
                  <a:pt x="125" y="98"/>
                </a:cubicBezTo>
                <a:cubicBezTo>
                  <a:pt x="124" y="98"/>
                  <a:pt x="124" y="98"/>
                  <a:pt x="124" y="98"/>
                </a:cubicBezTo>
                <a:cubicBezTo>
                  <a:pt x="123" y="96"/>
                  <a:pt x="123" y="96"/>
                  <a:pt x="123" y="96"/>
                </a:cubicBezTo>
                <a:cubicBezTo>
                  <a:pt x="123" y="94"/>
                  <a:pt x="123" y="94"/>
                  <a:pt x="123" y="94"/>
                </a:cubicBezTo>
                <a:cubicBezTo>
                  <a:pt x="126" y="92"/>
                  <a:pt x="126" y="92"/>
                  <a:pt x="126" y="92"/>
                </a:cubicBezTo>
                <a:cubicBezTo>
                  <a:pt x="127" y="89"/>
                  <a:pt x="127" y="89"/>
                  <a:pt x="127" y="89"/>
                </a:cubicBezTo>
                <a:cubicBezTo>
                  <a:pt x="127" y="89"/>
                  <a:pt x="127" y="89"/>
                  <a:pt x="127" y="89"/>
                </a:cubicBezTo>
                <a:cubicBezTo>
                  <a:pt x="127" y="92"/>
                  <a:pt x="127" y="92"/>
                  <a:pt x="127" y="92"/>
                </a:cubicBezTo>
                <a:cubicBezTo>
                  <a:pt x="127" y="93"/>
                  <a:pt x="127" y="93"/>
                  <a:pt x="127" y="93"/>
                </a:cubicBezTo>
                <a:cubicBezTo>
                  <a:pt x="129" y="93"/>
                  <a:pt x="129" y="93"/>
                  <a:pt x="129" y="93"/>
                </a:cubicBezTo>
                <a:cubicBezTo>
                  <a:pt x="129" y="94"/>
                  <a:pt x="129" y="94"/>
                  <a:pt x="129" y="94"/>
                </a:cubicBezTo>
                <a:cubicBezTo>
                  <a:pt x="130" y="94"/>
                  <a:pt x="130" y="94"/>
                  <a:pt x="130" y="94"/>
                </a:cubicBezTo>
                <a:cubicBezTo>
                  <a:pt x="131" y="94"/>
                  <a:pt x="131" y="94"/>
                  <a:pt x="131" y="94"/>
                </a:cubicBezTo>
                <a:cubicBezTo>
                  <a:pt x="133" y="94"/>
                  <a:pt x="133" y="94"/>
                  <a:pt x="133" y="94"/>
                </a:cubicBezTo>
                <a:cubicBezTo>
                  <a:pt x="134" y="95"/>
                  <a:pt x="134" y="95"/>
                  <a:pt x="134" y="95"/>
                </a:cubicBezTo>
                <a:cubicBezTo>
                  <a:pt x="134" y="96"/>
                  <a:pt x="134" y="96"/>
                  <a:pt x="134" y="96"/>
                </a:cubicBezTo>
                <a:cubicBezTo>
                  <a:pt x="133" y="96"/>
                  <a:pt x="133" y="96"/>
                  <a:pt x="133" y="96"/>
                </a:cubicBezTo>
                <a:cubicBezTo>
                  <a:pt x="134" y="98"/>
                  <a:pt x="134" y="98"/>
                  <a:pt x="134" y="98"/>
                </a:cubicBezTo>
                <a:cubicBezTo>
                  <a:pt x="135" y="99"/>
                  <a:pt x="135" y="99"/>
                  <a:pt x="135" y="99"/>
                </a:cubicBezTo>
                <a:cubicBezTo>
                  <a:pt x="135" y="100"/>
                  <a:pt x="135" y="100"/>
                  <a:pt x="135" y="100"/>
                </a:cubicBezTo>
                <a:cubicBezTo>
                  <a:pt x="138" y="102"/>
                  <a:pt x="138" y="102"/>
                  <a:pt x="138" y="102"/>
                </a:cubicBezTo>
                <a:cubicBezTo>
                  <a:pt x="138" y="104"/>
                  <a:pt x="138" y="104"/>
                  <a:pt x="138" y="104"/>
                </a:cubicBezTo>
                <a:cubicBezTo>
                  <a:pt x="137" y="104"/>
                  <a:pt x="137" y="104"/>
                  <a:pt x="137" y="104"/>
                </a:cubicBezTo>
                <a:cubicBezTo>
                  <a:pt x="135" y="103"/>
                  <a:pt x="135" y="103"/>
                  <a:pt x="135" y="103"/>
                </a:cubicBezTo>
                <a:cubicBezTo>
                  <a:pt x="135" y="103"/>
                  <a:pt x="135" y="103"/>
                  <a:pt x="135" y="103"/>
                </a:cubicBezTo>
                <a:cubicBezTo>
                  <a:pt x="134" y="104"/>
                  <a:pt x="134" y="104"/>
                  <a:pt x="134" y="104"/>
                </a:cubicBezTo>
                <a:cubicBezTo>
                  <a:pt x="133" y="104"/>
                  <a:pt x="133" y="104"/>
                  <a:pt x="133" y="104"/>
                </a:cubicBezTo>
                <a:cubicBezTo>
                  <a:pt x="131" y="106"/>
                  <a:pt x="131" y="106"/>
                  <a:pt x="131" y="106"/>
                </a:cubicBezTo>
                <a:cubicBezTo>
                  <a:pt x="130" y="105"/>
                  <a:pt x="130" y="105"/>
                  <a:pt x="130" y="105"/>
                </a:cubicBezTo>
                <a:close/>
                <a:moveTo>
                  <a:pt x="122" y="148"/>
                </a:moveTo>
                <a:cubicBezTo>
                  <a:pt x="123" y="148"/>
                  <a:pt x="123" y="148"/>
                  <a:pt x="123" y="148"/>
                </a:cubicBezTo>
                <a:cubicBezTo>
                  <a:pt x="125" y="148"/>
                  <a:pt x="125" y="148"/>
                  <a:pt x="125" y="148"/>
                </a:cubicBezTo>
                <a:cubicBezTo>
                  <a:pt x="126" y="148"/>
                  <a:pt x="126" y="148"/>
                  <a:pt x="126" y="148"/>
                </a:cubicBezTo>
                <a:cubicBezTo>
                  <a:pt x="127" y="148"/>
                  <a:pt x="127" y="148"/>
                  <a:pt x="127" y="148"/>
                </a:cubicBezTo>
                <a:cubicBezTo>
                  <a:pt x="128" y="147"/>
                  <a:pt x="128" y="147"/>
                  <a:pt x="128" y="147"/>
                </a:cubicBezTo>
                <a:cubicBezTo>
                  <a:pt x="130" y="147"/>
                  <a:pt x="130" y="147"/>
                  <a:pt x="130" y="147"/>
                </a:cubicBezTo>
                <a:cubicBezTo>
                  <a:pt x="130" y="148"/>
                  <a:pt x="130" y="148"/>
                  <a:pt x="130" y="148"/>
                </a:cubicBezTo>
                <a:cubicBezTo>
                  <a:pt x="131" y="149"/>
                  <a:pt x="131" y="149"/>
                  <a:pt x="131" y="149"/>
                </a:cubicBezTo>
                <a:cubicBezTo>
                  <a:pt x="131" y="150"/>
                  <a:pt x="131" y="150"/>
                  <a:pt x="131" y="150"/>
                </a:cubicBezTo>
                <a:cubicBezTo>
                  <a:pt x="130" y="152"/>
                  <a:pt x="130" y="152"/>
                  <a:pt x="130" y="152"/>
                </a:cubicBezTo>
                <a:cubicBezTo>
                  <a:pt x="130" y="153"/>
                  <a:pt x="130" y="153"/>
                  <a:pt x="130" y="153"/>
                </a:cubicBezTo>
                <a:cubicBezTo>
                  <a:pt x="128" y="153"/>
                  <a:pt x="128" y="153"/>
                  <a:pt x="128" y="153"/>
                </a:cubicBezTo>
                <a:cubicBezTo>
                  <a:pt x="127" y="153"/>
                  <a:pt x="127" y="153"/>
                  <a:pt x="127" y="153"/>
                </a:cubicBezTo>
                <a:cubicBezTo>
                  <a:pt x="126" y="153"/>
                  <a:pt x="126" y="153"/>
                  <a:pt x="126" y="153"/>
                </a:cubicBezTo>
                <a:cubicBezTo>
                  <a:pt x="125" y="153"/>
                  <a:pt x="125" y="153"/>
                  <a:pt x="125" y="153"/>
                </a:cubicBezTo>
                <a:cubicBezTo>
                  <a:pt x="124" y="152"/>
                  <a:pt x="124" y="152"/>
                  <a:pt x="124" y="152"/>
                </a:cubicBezTo>
                <a:cubicBezTo>
                  <a:pt x="122" y="150"/>
                  <a:pt x="122" y="150"/>
                  <a:pt x="122" y="150"/>
                </a:cubicBezTo>
                <a:cubicBezTo>
                  <a:pt x="122" y="148"/>
                  <a:pt x="122" y="148"/>
                  <a:pt x="122" y="148"/>
                </a:cubicBezTo>
                <a:close/>
                <a:moveTo>
                  <a:pt x="205" y="167"/>
                </a:moveTo>
                <a:cubicBezTo>
                  <a:pt x="207" y="165"/>
                  <a:pt x="207" y="165"/>
                  <a:pt x="207" y="165"/>
                </a:cubicBezTo>
                <a:cubicBezTo>
                  <a:pt x="208" y="165"/>
                  <a:pt x="208" y="165"/>
                  <a:pt x="208" y="165"/>
                </a:cubicBezTo>
                <a:cubicBezTo>
                  <a:pt x="208" y="166"/>
                  <a:pt x="208" y="166"/>
                  <a:pt x="208" y="166"/>
                </a:cubicBezTo>
                <a:cubicBezTo>
                  <a:pt x="206" y="167"/>
                  <a:pt x="206" y="167"/>
                  <a:pt x="206" y="167"/>
                </a:cubicBezTo>
                <a:cubicBezTo>
                  <a:pt x="205" y="167"/>
                  <a:pt x="205" y="167"/>
                  <a:pt x="205" y="167"/>
                </a:cubicBezTo>
                <a:close/>
                <a:moveTo>
                  <a:pt x="192" y="176"/>
                </a:moveTo>
                <a:cubicBezTo>
                  <a:pt x="193" y="176"/>
                  <a:pt x="193" y="176"/>
                  <a:pt x="193" y="176"/>
                </a:cubicBezTo>
                <a:cubicBezTo>
                  <a:pt x="194" y="176"/>
                  <a:pt x="194" y="176"/>
                  <a:pt x="194" y="176"/>
                </a:cubicBezTo>
                <a:cubicBezTo>
                  <a:pt x="193" y="177"/>
                  <a:pt x="193" y="177"/>
                  <a:pt x="193" y="177"/>
                </a:cubicBezTo>
                <a:cubicBezTo>
                  <a:pt x="192" y="176"/>
                  <a:pt x="192" y="176"/>
                  <a:pt x="192" y="176"/>
                </a:cubicBezTo>
                <a:close/>
                <a:moveTo>
                  <a:pt x="192" y="187"/>
                </a:moveTo>
                <a:cubicBezTo>
                  <a:pt x="192" y="186"/>
                  <a:pt x="192" y="186"/>
                  <a:pt x="192" y="186"/>
                </a:cubicBezTo>
                <a:cubicBezTo>
                  <a:pt x="193" y="187"/>
                  <a:pt x="193" y="187"/>
                  <a:pt x="193" y="187"/>
                </a:cubicBezTo>
                <a:cubicBezTo>
                  <a:pt x="193" y="188"/>
                  <a:pt x="193" y="188"/>
                  <a:pt x="193" y="188"/>
                </a:cubicBezTo>
                <a:cubicBezTo>
                  <a:pt x="192" y="188"/>
                  <a:pt x="192" y="188"/>
                  <a:pt x="192" y="188"/>
                </a:cubicBezTo>
                <a:cubicBezTo>
                  <a:pt x="191" y="188"/>
                  <a:pt x="191" y="188"/>
                  <a:pt x="191" y="188"/>
                </a:cubicBezTo>
                <a:cubicBezTo>
                  <a:pt x="192" y="187"/>
                  <a:pt x="192" y="187"/>
                  <a:pt x="192" y="187"/>
                </a:cubicBezTo>
                <a:close/>
                <a:moveTo>
                  <a:pt x="187" y="193"/>
                </a:moveTo>
                <a:cubicBezTo>
                  <a:pt x="186" y="192"/>
                  <a:pt x="186" y="192"/>
                  <a:pt x="186" y="192"/>
                </a:cubicBezTo>
                <a:cubicBezTo>
                  <a:pt x="187" y="192"/>
                  <a:pt x="187" y="192"/>
                  <a:pt x="187" y="192"/>
                </a:cubicBezTo>
                <a:cubicBezTo>
                  <a:pt x="188" y="192"/>
                  <a:pt x="188" y="192"/>
                  <a:pt x="188" y="192"/>
                </a:cubicBezTo>
                <a:cubicBezTo>
                  <a:pt x="188" y="191"/>
                  <a:pt x="188" y="191"/>
                  <a:pt x="188" y="191"/>
                </a:cubicBezTo>
                <a:cubicBezTo>
                  <a:pt x="189" y="192"/>
                  <a:pt x="189" y="192"/>
                  <a:pt x="189" y="192"/>
                </a:cubicBezTo>
                <a:cubicBezTo>
                  <a:pt x="190" y="191"/>
                  <a:pt x="190" y="191"/>
                  <a:pt x="190" y="191"/>
                </a:cubicBezTo>
                <a:cubicBezTo>
                  <a:pt x="189" y="190"/>
                  <a:pt x="189" y="190"/>
                  <a:pt x="189" y="190"/>
                </a:cubicBezTo>
                <a:cubicBezTo>
                  <a:pt x="190" y="189"/>
                  <a:pt x="190" y="189"/>
                  <a:pt x="190" y="189"/>
                </a:cubicBezTo>
                <a:cubicBezTo>
                  <a:pt x="191" y="189"/>
                  <a:pt x="191" y="189"/>
                  <a:pt x="191" y="189"/>
                </a:cubicBezTo>
                <a:cubicBezTo>
                  <a:pt x="192" y="189"/>
                  <a:pt x="192" y="189"/>
                  <a:pt x="192" y="189"/>
                </a:cubicBezTo>
                <a:cubicBezTo>
                  <a:pt x="191" y="190"/>
                  <a:pt x="191" y="190"/>
                  <a:pt x="191" y="190"/>
                </a:cubicBezTo>
                <a:cubicBezTo>
                  <a:pt x="192" y="190"/>
                  <a:pt x="192" y="190"/>
                  <a:pt x="192" y="190"/>
                </a:cubicBezTo>
                <a:cubicBezTo>
                  <a:pt x="192" y="190"/>
                  <a:pt x="192" y="190"/>
                  <a:pt x="192" y="190"/>
                </a:cubicBezTo>
                <a:cubicBezTo>
                  <a:pt x="193" y="190"/>
                  <a:pt x="193" y="190"/>
                  <a:pt x="193" y="190"/>
                </a:cubicBezTo>
                <a:cubicBezTo>
                  <a:pt x="194" y="191"/>
                  <a:pt x="194" y="191"/>
                  <a:pt x="194" y="191"/>
                </a:cubicBezTo>
                <a:cubicBezTo>
                  <a:pt x="193" y="191"/>
                  <a:pt x="193" y="191"/>
                  <a:pt x="193" y="191"/>
                </a:cubicBezTo>
                <a:cubicBezTo>
                  <a:pt x="193" y="192"/>
                  <a:pt x="193" y="192"/>
                  <a:pt x="193" y="192"/>
                </a:cubicBezTo>
                <a:cubicBezTo>
                  <a:pt x="193" y="192"/>
                  <a:pt x="193" y="192"/>
                  <a:pt x="193" y="192"/>
                </a:cubicBezTo>
                <a:cubicBezTo>
                  <a:pt x="194" y="193"/>
                  <a:pt x="194" y="193"/>
                  <a:pt x="194" y="193"/>
                </a:cubicBezTo>
                <a:cubicBezTo>
                  <a:pt x="193" y="193"/>
                  <a:pt x="193" y="193"/>
                  <a:pt x="193" y="193"/>
                </a:cubicBezTo>
                <a:cubicBezTo>
                  <a:pt x="192" y="193"/>
                  <a:pt x="192" y="193"/>
                  <a:pt x="192" y="193"/>
                </a:cubicBezTo>
                <a:cubicBezTo>
                  <a:pt x="191" y="194"/>
                  <a:pt x="191" y="194"/>
                  <a:pt x="191" y="194"/>
                </a:cubicBezTo>
                <a:cubicBezTo>
                  <a:pt x="190" y="194"/>
                  <a:pt x="190" y="194"/>
                  <a:pt x="190" y="194"/>
                </a:cubicBezTo>
                <a:cubicBezTo>
                  <a:pt x="190" y="193"/>
                  <a:pt x="190" y="193"/>
                  <a:pt x="190" y="193"/>
                </a:cubicBezTo>
                <a:cubicBezTo>
                  <a:pt x="189" y="194"/>
                  <a:pt x="189" y="194"/>
                  <a:pt x="189" y="194"/>
                </a:cubicBezTo>
                <a:cubicBezTo>
                  <a:pt x="188" y="194"/>
                  <a:pt x="188" y="194"/>
                  <a:pt x="188" y="194"/>
                </a:cubicBezTo>
                <a:cubicBezTo>
                  <a:pt x="187" y="193"/>
                  <a:pt x="187" y="193"/>
                  <a:pt x="187" y="193"/>
                </a:cubicBezTo>
                <a:close/>
                <a:moveTo>
                  <a:pt x="174" y="206"/>
                </a:moveTo>
                <a:cubicBezTo>
                  <a:pt x="173" y="206"/>
                  <a:pt x="173" y="206"/>
                  <a:pt x="173" y="206"/>
                </a:cubicBezTo>
                <a:cubicBezTo>
                  <a:pt x="173" y="207"/>
                  <a:pt x="173" y="207"/>
                  <a:pt x="173" y="207"/>
                </a:cubicBezTo>
                <a:cubicBezTo>
                  <a:pt x="172" y="206"/>
                  <a:pt x="172" y="206"/>
                  <a:pt x="172" y="206"/>
                </a:cubicBezTo>
                <a:cubicBezTo>
                  <a:pt x="172" y="205"/>
                  <a:pt x="172" y="205"/>
                  <a:pt x="172" y="205"/>
                </a:cubicBezTo>
                <a:cubicBezTo>
                  <a:pt x="172" y="204"/>
                  <a:pt x="172" y="204"/>
                  <a:pt x="172" y="204"/>
                </a:cubicBezTo>
                <a:cubicBezTo>
                  <a:pt x="173" y="203"/>
                  <a:pt x="173" y="203"/>
                  <a:pt x="173" y="203"/>
                </a:cubicBezTo>
                <a:cubicBezTo>
                  <a:pt x="173" y="201"/>
                  <a:pt x="173" y="201"/>
                  <a:pt x="173" y="201"/>
                </a:cubicBezTo>
                <a:cubicBezTo>
                  <a:pt x="172" y="201"/>
                  <a:pt x="172" y="201"/>
                  <a:pt x="172" y="201"/>
                </a:cubicBezTo>
                <a:cubicBezTo>
                  <a:pt x="172" y="200"/>
                  <a:pt x="172" y="200"/>
                  <a:pt x="172" y="200"/>
                </a:cubicBezTo>
                <a:cubicBezTo>
                  <a:pt x="174" y="199"/>
                  <a:pt x="174" y="199"/>
                  <a:pt x="174" y="199"/>
                </a:cubicBezTo>
                <a:cubicBezTo>
                  <a:pt x="177" y="197"/>
                  <a:pt x="177" y="197"/>
                  <a:pt x="177" y="197"/>
                </a:cubicBezTo>
                <a:cubicBezTo>
                  <a:pt x="178" y="197"/>
                  <a:pt x="178" y="197"/>
                  <a:pt x="178" y="197"/>
                </a:cubicBezTo>
                <a:cubicBezTo>
                  <a:pt x="179" y="197"/>
                  <a:pt x="179" y="197"/>
                  <a:pt x="179" y="197"/>
                </a:cubicBezTo>
                <a:cubicBezTo>
                  <a:pt x="179" y="200"/>
                  <a:pt x="179" y="200"/>
                  <a:pt x="179" y="200"/>
                </a:cubicBezTo>
                <a:cubicBezTo>
                  <a:pt x="179" y="200"/>
                  <a:pt x="179" y="200"/>
                  <a:pt x="179" y="200"/>
                </a:cubicBezTo>
                <a:cubicBezTo>
                  <a:pt x="180" y="199"/>
                  <a:pt x="180" y="199"/>
                  <a:pt x="180" y="199"/>
                </a:cubicBezTo>
                <a:cubicBezTo>
                  <a:pt x="180" y="198"/>
                  <a:pt x="180" y="198"/>
                  <a:pt x="180" y="198"/>
                </a:cubicBezTo>
                <a:cubicBezTo>
                  <a:pt x="180" y="197"/>
                  <a:pt x="180" y="197"/>
                  <a:pt x="180" y="197"/>
                </a:cubicBezTo>
                <a:cubicBezTo>
                  <a:pt x="181" y="198"/>
                  <a:pt x="181" y="198"/>
                  <a:pt x="181" y="198"/>
                </a:cubicBezTo>
                <a:cubicBezTo>
                  <a:pt x="182" y="197"/>
                  <a:pt x="182" y="197"/>
                  <a:pt x="182" y="197"/>
                </a:cubicBezTo>
                <a:cubicBezTo>
                  <a:pt x="180" y="196"/>
                  <a:pt x="180" y="196"/>
                  <a:pt x="180" y="196"/>
                </a:cubicBezTo>
                <a:cubicBezTo>
                  <a:pt x="180" y="196"/>
                  <a:pt x="180" y="196"/>
                  <a:pt x="180" y="196"/>
                </a:cubicBezTo>
                <a:cubicBezTo>
                  <a:pt x="181" y="194"/>
                  <a:pt x="181" y="194"/>
                  <a:pt x="181" y="194"/>
                </a:cubicBezTo>
                <a:cubicBezTo>
                  <a:pt x="182" y="194"/>
                  <a:pt x="182" y="194"/>
                  <a:pt x="182" y="194"/>
                </a:cubicBezTo>
                <a:cubicBezTo>
                  <a:pt x="183" y="195"/>
                  <a:pt x="183" y="195"/>
                  <a:pt x="183" y="195"/>
                </a:cubicBezTo>
                <a:cubicBezTo>
                  <a:pt x="183" y="196"/>
                  <a:pt x="183" y="196"/>
                  <a:pt x="183" y="196"/>
                </a:cubicBezTo>
                <a:cubicBezTo>
                  <a:pt x="182" y="197"/>
                  <a:pt x="182" y="197"/>
                  <a:pt x="182" y="197"/>
                </a:cubicBezTo>
                <a:cubicBezTo>
                  <a:pt x="182" y="198"/>
                  <a:pt x="182" y="198"/>
                  <a:pt x="182" y="198"/>
                </a:cubicBezTo>
                <a:cubicBezTo>
                  <a:pt x="183" y="197"/>
                  <a:pt x="183" y="197"/>
                  <a:pt x="183" y="197"/>
                </a:cubicBezTo>
                <a:cubicBezTo>
                  <a:pt x="184" y="196"/>
                  <a:pt x="184" y="196"/>
                  <a:pt x="184" y="196"/>
                </a:cubicBezTo>
                <a:cubicBezTo>
                  <a:pt x="184" y="196"/>
                  <a:pt x="184" y="196"/>
                  <a:pt x="184" y="196"/>
                </a:cubicBezTo>
                <a:cubicBezTo>
                  <a:pt x="185" y="197"/>
                  <a:pt x="185" y="197"/>
                  <a:pt x="185" y="197"/>
                </a:cubicBezTo>
                <a:cubicBezTo>
                  <a:pt x="185" y="195"/>
                  <a:pt x="185" y="195"/>
                  <a:pt x="185" y="195"/>
                </a:cubicBezTo>
                <a:cubicBezTo>
                  <a:pt x="185" y="195"/>
                  <a:pt x="185" y="195"/>
                  <a:pt x="185" y="195"/>
                </a:cubicBezTo>
                <a:cubicBezTo>
                  <a:pt x="185" y="194"/>
                  <a:pt x="185" y="194"/>
                  <a:pt x="185" y="194"/>
                </a:cubicBezTo>
                <a:cubicBezTo>
                  <a:pt x="186" y="195"/>
                  <a:pt x="186" y="195"/>
                  <a:pt x="186" y="195"/>
                </a:cubicBezTo>
                <a:cubicBezTo>
                  <a:pt x="186" y="196"/>
                  <a:pt x="186" y="196"/>
                  <a:pt x="186" y="196"/>
                </a:cubicBezTo>
                <a:cubicBezTo>
                  <a:pt x="186" y="196"/>
                  <a:pt x="186" y="196"/>
                  <a:pt x="186" y="196"/>
                </a:cubicBezTo>
                <a:cubicBezTo>
                  <a:pt x="186" y="197"/>
                  <a:pt x="186" y="197"/>
                  <a:pt x="186" y="197"/>
                </a:cubicBezTo>
                <a:cubicBezTo>
                  <a:pt x="187" y="197"/>
                  <a:pt x="187" y="197"/>
                  <a:pt x="187" y="197"/>
                </a:cubicBezTo>
                <a:cubicBezTo>
                  <a:pt x="188" y="196"/>
                  <a:pt x="188" y="196"/>
                  <a:pt x="188" y="196"/>
                </a:cubicBezTo>
                <a:cubicBezTo>
                  <a:pt x="189" y="195"/>
                  <a:pt x="189" y="195"/>
                  <a:pt x="189" y="195"/>
                </a:cubicBezTo>
                <a:cubicBezTo>
                  <a:pt x="190" y="196"/>
                  <a:pt x="190" y="196"/>
                  <a:pt x="190" y="196"/>
                </a:cubicBezTo>
                <a:cubicBezTo>
                  <a:pt x="190" y="197"/>
                  <a:pt x="190" y="197"/>
                  <a:pt x="190" y="197"/>
                </a:cubicBezTo>
                <a:cubicBezTo>
                  <a:pt x="189" y="197"/>
                  <a:pt x="189" y="197"/>
                  <a:pt x="189" y="197"/>
                </a:cubicBezTo>
                <a:cubicBezTo>
                  <a:pt x="188" y="197"/>
                  <a:pt x="188" y="197"/>
                  <a:pt x="188" y="197"/>
                </a:cubicBezTo>
                <a:cubicBezTo>
                  <a:pt x="188" y="198"/>
                  <a:pt x="188" y="198"/>
                  <a:pt x="188" y="198"/>
                </a:cubicBezTo>
                <a:cubicBezTo>
                  <a:pt x="189" y="198"/>
                  <a:pt x="189" y="198"/>
                  <a:pt x="189" y="198"/>
                </a:cubicBezTo>
                <a:cubicBezTo>
                  <a:pt x="189" y="199"/>
                  <a:pt x="189" y="199"/>
                  <a:pt x="189" y="199"/>
                </a:cubicBezTo>
                <a:cubicBezTo>
                  <a:pt x="188" y="201"/>
                  <a:pt x="188" y="201"/>
                  <a:pt x="188" y="201"/>
                </a:cubicBezTo>
                <a:cubicBezTo>
                  <a:pt x="187" y="200"/>
                  <a:pt x="187" y="200"/>
                  <a:pt x="187" y="200"/>
                </a:cubicBezTo>
                <a:cubicBezTo>
                  <a:pt x="187" y="200"/>
                  <a:pt x="187" y="200"/>
                  <a:pt x="187" y="200"/>
                </a:cubicBezTo>
                <a:cubicBezTo>
                  <a:pt x="186" y="200"/>
                  <a:pt x="186" y="200"/>
                  <a:pt x="186" y="200"/>
                </a:cubicBezTo>
                <a:cubicBezTo>
                  <a:pt x="185" y="200"/>
                  <a:pt x="185" y="200"/>
                  <a:pt x="185" y="200"/>
                </a:cubicBezTo>
                <a:cubicBezTo>
                  <a:pt x="184" y="200"/>
                  <a:pt x="184" y="200"/>
                  <a:pt x="184" y="200"/>
                </a:cubicBezTo>
                <a:cubicBezTo>
                  <a:pt x="184" y="200"/>
                  <a:pt x="184" y="200"/>
                  <a:pt x="184" y="200"/>
                </a:cubicBezTo>
                <a:cubicBezTo>
                  <a:pt x="185" y="201"/>
                  <a:pt x="185" y="201"/>
                  <a:pt x="185" y="201"/>
                </a:cubicBezTo>
                <a:cubicBezTo>
                  <a:pt x="185" y="202"/>
                  <a:pt x="185" y="202"/>
                  <a:pt x="185" y="202"/>
                </a:cubicBezTo>
                <a:cubicBezTo>
                  <a:pt x="185" y="203"/>
                  <a:pt x="185" y="203"/>
                  <a:pt x="185" y="203"/>
                </a:cubicBezTo>
                <a:cubicBezTo>
                  <a:pt x="184" y="203"/>
                  <a:pt x="184" y="203"/>
                  <a:pt x="184" y="203"/>
                </a:cubicBezTo>
                <a:cubicBezTo>
                  <a:pt x="183" y="202"/>
                  <a:pt x="183" y="202"/>
                  <a:pt x="183" y="202"/>
                </a:cubicBezTo>
                <a:cubicBezTo>
                  <a:pt x="181" y="202"/>
                  <a:pt x="181" y="202"/>
                  <a:pt x="181" y="202"/>
                </a:cubicBezTo>
                <a:cubicBezTo>
                  <a:pt x="181" y="202"/>
                  <a:pt x="181" y="202"/>
                  <a:pt x="181" y="202"/>
                </a:cubicBezTo>
                <a:cubicBezTo>
                  <a:pt x="182" y="203"/>
                  <a:pt x="182" y="203"/>
                  <a:pt x="182" y="203"/>
                </a:cubicBezTo>
                <a:cubicBezTo>
                  <a:pt x="182" y="203"/>
                  <a:pt x="182" y="203"/>
                  <a:pt x="182" y="203"/>
                </a:cubicBezTo>
                <a:cubicBezTo>
                  <a:pt x="181" y="204"/>
                  <a:pt x="181" y="204"/>
                  <a:pt x="181" y="204"/>
                </a:cubicBezTo>
                <a:cubicBezTo>
                  <a:pt x="180" y="204"/>
                  <a:pt x="180" y="204"/>
                  <a:pt x="180" y="204"/>
                </a:cubicBezTo>
                <a:cubicBezTo>
                  <a:pt x="179" y="204"/>
                  <a:pt x="179" y="204"/>
                  <a:pt x="179" y="204"/>
                </a:cubicBezTo>
                <a:cubicBezTo>
                  <a:pt x="179" y="204"/>
                  <a:pt x="179" y="204"/>
                  <a:pt x="179" y="204"/>
                </a:cubicBezTo>
                <a:cubicBezTo>
                  <a:pt x="178" y="205"/>
                  <a:pt x="178" y="205"/>
                  <a:pt x="178" y="205"/>
                </a:cubicBezTo>
                <a:cubicBezTo>
                  <a:pt x="177" y="205"/>
                  <a:pt x="177" y="205"/>
                  <a:pt x="177" y="205"/>
                </a:cubicBezTo>
                <a:cubicBezTo>
                  <a:pt x="177" y="206"/>
                  <a:pt x="177" y="206"/>
                  <a:pt x="177" y="206"/>
                </a:cubicBezTo>
                <a:cubicBezTo>
                  <a:pt x="177" y="206"/>
                  <a:pt x="177" y="206"/>
                  <a:pt x="177" y="206"/>
                </a:cubicBezTo>
                <a:cubicBezTo>
                  <a:pt x="176" y="207"/>
                  <a:pt x="176" y="207"/>
                  <a:pt x="176" y="207"/>
                </a:cubicBezTo>
                <a:cubicBezTo>
                  <a:pt x="176" y="208"/>
                  <a:pt x="176" y="208"/>
                  <a:pt x="176" y="208"/>
                </a:cubicBezTo>
                <a:cubicBezTo>
                  <a:pt x="175" y="209"/>
                  <a:pt x="175" y="209"/>
                  <a:pt x="175" y="209"/>
                </a:cubicBezTo>
                <a:cubicBezTo>
                  <a:pt x="174" y="209"/>
                  <a:pt x="174" y="209"/>
                  <a:pt x="174" y="209"/>
                </a:cubicBezTo>
                <a:cubicBezTo>
                  <a:pt x="173" y="209"/>
                  <a:pt x="173" y="209"/>
                  <a:pt x="173" y="209"/>
                </a:cubicBezTo>
                <a:cubicBezTo>
                  <a:pt x="173" y="208"/>
                  <a:pt x="173" y="208"/>
                  <a:pt x="173" y="208"/>
                </a:cubicBezTo>
                <a:cubicBezTo>
                  <a:pt x="176" y="207"/>
                  <a:pt x="176" y="207"/>
                  <a:pt x="176" y="207"/>
                </a:cubicBezTo>
                <a:cubicBezTo>
                  <a:pt x="176" y="206"/>
                  <a:pt x="176" y="206"/>
                  <a:pt x="176" y="206"/>
                </a:cubicBezTo>
                <a:cubicBezTo>
                  <a:pt x="176" y="205"/>
                  <a:pt x="176" y="205"/>
                  <a:pt x="176" y="205"/>
                </a:cubicBezTo>
                <a:cubicBezTo>
                  <a:pt x="176" y="205"/>
                  <a:pt x="176" y="205"/>
                  <a:pt x="176" y="205"/>
                </a:cubicBezTo>
                <a:cubicBezTo>
                  <a:pt x="175" y="206"/>
                  <a:pt x="175" y="206"/>
                  <a:pt x="175" y="206"/>
                </a:cubicBezTo>
                <a:cubicBezTo>
                  <a:pt x="174" y="205"/>
                  <a:pt x="174" y="205"/>
                  <a:pt x="174" y="205"/>
                </a:cubicBezTo>
                <a:cubicBezTo>
                  <a:pt x="175" y="205"/>
                  <a:pt x="175" y="205"/>
                  <a:pt x="175" y="205"/>
                </a:cubicBezTo>
                <a:cubicBezTo>
                  <a:pt x="173" y="205"/>
                  <a:pt x="173" y="205"/>
                  <a:pt x="173" y="205"/>
                </a:cubicBezTo>
                <a:cubicBezTo>
                  <a:pt x="173" y="205"/>
                  <a:pt x="173" y="205"/>
                  <a:pt x="173" y="205"/>
                </a:cubicBezTo>
                <a:cubicBezTo>
                  <a:pt x="173" y="205"/>
                  <a:pt x="173" y="205"/>
                  <a:pt x="173" y="205"/>
                </a:cubicBezTo>
                <a:cubicBezTo>
                  <a:pt x="174" y="206"/>
                  <a:pt x="174" y="206"/>
                  <a:pt x="174" y="206"/>
                </a:cubicBezTo>
                <a:close/>
                <a:moveTo>
                  <a:pt x="171" y="211"/>
                </a:moveTo>
                <a:cubicBezTo>
                  <a:pt x="172" y="210"/>
                  <a:pt x="172" y="210"/>
                  <a:pt x="172" y="210"/>
                </a:cubicBezTo>
                <a:cubicBezTo>
                  <a:pt x="172" y="211"/>
                  <a:pt x="172" y="211"/>
                  <a:pt x="172" y="211"/>
                </a:cubicBezTo>
                <a:cubicBezTo>
                  <a:pt x="171" y="211"/>
                  <a:pt x="171" y="211"/>
                  <a:pt x="171" y="211"/>
                </a:cubicBezTo>
                <a:close/>
                <a:moveTo>
                  <a:pt x="168" y="212"/>
                </a:moveTo>
                <a:cubicBezTo>
                  <a:pt x="169" y="210"/>
                  <a:pt x="169" y="210"/>
                  <a:pt x="169" y="210"/>
                </a:cubicBezTo>
                <a:cubicBezTo>
                  <a:pt x="171" y="209"/>
                  <a:pt x="171" y="209"/>
                  <a:pt x="171" y="209"/>
                </a:cubicBezTo>
                <a:cubicBezTo>
                  <a:pt x="169" y="212"/>
                  <a:pt x="169" y="212"/>
                  <a:pt x="169" y="212"/>
                </a:cubicBezTo>
                <a:cubicBezTo>
                  <a:pt x="168" y="212"/>
                  <a:pt x="168" y="212"/>
                  <a:pt x="168" y="212"/>
                </a:cubicBezTo>
                <a:close/>
                <a:moveTo>
                  <a:pt x="159" y="219"/>
                </a:moveTo>
                <a:cubicBezTo>
                  <a:pt x="159" y="219"/>
                  <a:pt x="159" y="219"/>
                  <a:pt x="159" y="219"/>
                </a:cubicBezTo>
                <a:cubicBezTo>
                  <a:pt x="159" y="218"/>
                  <a:pt x="159" y="218"/>
                  <a:pt x="159" y="218"/>
                </a:cubicBezTo>
                <a:cubicBezTo>
                  <a:pt x="160" y="218"/>
                  <a:pt x="160" y="218"/>
                  <a:pt x="160" y="218"/>
                </a:cubicBezTo>
                <a:cubicBezTo>
                  <a:pt x="160" y="219"/>
                  <a:pt x="160" y="219"/>
                  <a:pt x="160" y="219"/>
                </a:cubicBezTo>
                <a:cubicBezTo>
                  <a:pt x="159" y="219"/>
                  <a:pt x="159" y="219"/>
                  <a:pt x="159" y="219"/>
                </a:cubicBezTo>
                <a:close/>
                <a:moveTo>
                  <a:pt x="154" y="208"/>
                </a:moveTo>
                <a:cubicBezTo>
                  <a:pt x="156" y="208"/>
                  <a:pt x="156" y="208"/>
                  <a:pt x="156" y="208"/>
                </a:cubicBezTo>
                <a:cubicBezTo>
                  <a:pt x="156" y="209"/>
                  <a:pt x="156" y="209"/>
                  <a:pt x="156" y="209"/>
                </a:cubicBezTo>
                <a:cubicBezTo>
                  <a:pt x="155" y="209"/>
                  <a:pt x="155" y="209"/>
                  <a:pt x="155" y="209"/>
                </a:cubicBezTo>
                <a:cubicBezTo>
                  <a:pt x="154" y="208"/>
                  <a:pt x="154" y="208"/>
                  <a:pt x="154" y="208"/>
                </a:cubicBezTo>
                <a:close/>
                <a:moveTo>
                  <a:pt x="130" y="219"/>
                </a:moveTo>
                <a:cubicBezTo>
                  <a:pt x="130" y="219"/>
                  <a:pt x="131" y="219"/>
                  <a:pt x="131" y="219"/>
                </a:cubicBezTo>
                <a:cubicBezTo>
                  <a:pt x="131" y="219"/>
                  <a:pt x="131" y="219"/>
                  <a:pt x="131" y="219"/>
                </a:cubicBezTo>
                <a:cubicBezTo>
                  <a:pt x="130" y="219"/>
                  <a:pt x="130" y="219"/>
                  <a:pt x="130" y="219"/>
                </a:cubicBezTo>
                <a:close/>
                <a:moveTo>
                  <a:pt x="129" y="219"/>
                </a:moveTo>
                <a:cubicBezTo>
                  <a:pt x="129" y="220"/>
                  <a:pt x="129" y="220"/>
                  <a:pt x="129" y="220"/>
                </a:cubicBezTo>
                <a:cubicBezTo>
                  <a:pt x="129" y="220"/>
                  <a:pt x="129" y="220"/>
                  <a:pt x="129" y="220"/>
                </a:cubicBezTo>
                <a:cubicBezTo>
                  <a:pt x="129" y="219"/>
                  <a:pt x="129" y="219"/>
                  <a:pt x="129" y="219"/>
                </a:cubicBezTo>
                <a:close/>
                <a:moveTo>
                  <a:pt x="134" y="224"/>
                </a:moveTo>
                <a:cubicBezTo>
                  <a:pt x="134" y="225"/>
                  <a:pt x="134" y="225"/>
                  <a:pt x="134" y="225"/>
                </a:cubicBezTo>
                <a:cubicBezTo>
                  <a:pt x="134" y="225"/>
                  <a:pt x="134" y="225"/>
                  <a:pt x="134" y="225"/>
                </a:cubicBezTo>
                <a:cubicBezTo>
                  <a:pt x="134" y="225"/>
                  <a:pt x="134" y="225"/>
                  <a:pt x="134" y="225"/>
                </a:cubicBezTo>
                <a:cubicBezTo>
                  <a:pt x="134" y="224"/>
                  <a:pt x="134" y="224"/>
                  <a:pt x="134" y="224"/>
                </a:cubicBezTo>
                <a:close/>
                <a:moveTo>
                  <a:pt x="133" y="224"/>
                </a:moveTo>
                <a:cubicBezTo>
                  <a:pt x="134" y="222"/>
                  <a:pt x="134" y="222"/>
                  <a:pt x="134" y="222"/>
                </a:cubicBezTo>
                <a:cubicBezTo>
                  <a:pt x="134" y="223"/>
                  <a:pt x="134" y="223"/>
                  <a:pt x="134" y="223"/>
                </a:cubicBezTo>
                <a:cubicBezTo>
                  <a:pt x="134" y="223"/>
                  <a:pt x="133" y="224"/>
                  <a:pt x="133" y="224"/>
                </a:cubicBezTo>
                <a:close/>
                <a:moveTo>
                  <a:pt x="128" y="225"/>
                </a:moveTo>
                <a:cubicBezTo>
                  <a:pt x="129" y="223"/>
                  <a:pt x="129" y="223"/>
                  <a:pt x="129" y="223"/>
                </a:cubicBezTo>
                <a:cubicBezTo>
                  <a:pt x="130" y="222"/>
                  <a:pt x="130" y="222"/>
                  <a:pt x="130" y="222"/>
                </a:cubicBezTo>
                <a:cubicBezTo>
                  <a:pt x="130" y="222"/>
                  <a:pt x="130" y="222"/>
                  <a:pt x="130" y="222"/>
                </a:cubicBezTo>
                <a:cubicBezTo>
                  <a:pt x="132" y="222"/>
                  <a:pt x="132" y="222"/>
                  <a:pt x="132" y="222"/>
                </a:cubicBezTo>
                <a:cubicBezTo>
                  <a:pt x="131" y="223"/>
                  <a:pt x="131" y="223"/>
                  <a:pt x="131" y="223"/>
                </a:cubicBezTo>
                <a:cubicBezTo>
                  <a:pt x="131" y="223"/>
                  <a:pt x="131" y="223"/>
                  <a:pt x="131" y="223"/>
                </a:cubicBezTo>
                <a:cubicBezTo>
                  <a:pt x="129" y="224"/>
                  <a:pt x="129" y="224"/>
                  <a:pt x="129" y="224"/>
                </a:cubicBezTo>
                <a:cubicBezTo>
                  <a:pt x="128" y="225"/>
                  <a:pt x="128" y="225"/>
                  <a:pt x="128" y="225"/>
                </a:cubicBezTo>
                <a:close/>
                <a:moveTo>
                  <a:pt x="126" y="221"/>
                </a:moveTo>
                <a:cubicBezTo>
                  <a:pt x="126" y="221"/>
                  <a:pt x="126" y="221"/>
                  <a:pt x="126" y="221"/>
                </a:cubicBezTo>
                <a:cubicBezTo>
                  <a:pt x="126" y="219"/>
                  <a:pt x="126" y="219"/>
                  <a:pt x="126" y="219"/>
                </a:cubicBezTo>
                <a:cubicBezTo>
                  <a:pt x="127" y="219"/>
                  <a:pt x="127" y="219"/>
                  <a:pt x="127" y="219"/>
                </a:cubicBezTo>
                <a:cubicBezTo>
                  <a:pt x="128" y="220"/>
                  <a:pt x="128" y="220"/>
                  <a:pt x="128" y="220"/>
                </a:cubicBezTo>
                <a:cubicBezTo>
                  <a:pt x="127" y="221"/>
                  <a:pt x="127" y="221"/>
                  <a:pt x="127" y="221"/>
                </a:cubicBezTo>
                <a:cubicBezTo>
                  <a:pt x="127" y="221"/>
                  <a:pt x="127" y="221"/>
                  <a:pt x="127" y="221"/>
                </a:cubicBezTo>
                <a:cubicBezTo>
                  <a:pt x="126" y="221"/>
                  <a:pt x="126" y="221"/>
                  <a:pt x="126" y="221"/>
                </a:cubicBezTo>
                <a:close/>
                <a:moveTo>
                  <a:pt x="120" y="221"/>
                </a:moveTo>
                <a:cubicBezTo>
                  <a:pt x="121" y="220"/>
                  <a:pt x="121" y="220"/>
                  <a:pt x="121" y="220"/>
                </a:cubicBezTo>
                <a:cubicBezTo>
                  <a:pt x="121" y="221"/>
                  <a:pt x="121" y="221"/>
                  <a:pt x="121" y="221"/>
                </a:cubicBezTo>
                <a:cubicBezTo>
                  <a:pt x="121" y="222"/>
                  <a:pt x="121" y="222"/>
                  <a:pt x="121" y="222"/>
                </a:cubicBezTo>
                <a:cubicBezTo>
                  <a:pt x="120" y="221"/>
                  <a:pt x="120" y="221"/>
                  <a:pt x="120" y="221"/>
                </a:cubicBezTo>
                <a:close/>
                <a:moveTo>
                  <a:pt x="116" y="224"/>
                </a:moveTo>
                <a:cubicBezTo>
                  <a:pt x="116" y="223"/>
                  <a:pt x="116" y="223"/>
                  <a:pt x="116" y="223"/>
                </a:cubicBezTo>
                <a:cubicBezTo>
                  <a:pt x="117" y="222"/>
                  <a:pt x="117" y="222"/>
                  <a:pt x="117" y="222"/>
                </a:cubicBezTo>
                <a:cubicBezTo>
                  <a:pt x="117" y="223"/>
                  <a:pt x="117" y="223"/>
                  <a:pt x="117" y="223"/>
                </a:cubicBezTo>
                <a:cubicBezTo>
                  <a:pt x="116" y="224"/>
                  <a:pt x="116" y="224"/>
                  <a:pt x="116" y="224"/>
                </a:cubicBezTo>
                <a:close/>
                <a:moveTo>
                  <a:pt x="112" y="227"/>
                </a:moveTo>
                <a:cubicBezTo>
                  <a:pt x="113" y="228"/>
                  <a:pt x="113" y="228"/>
                  <a:pt x="113" y="228"/>
                </a:cubicBezTo>
                <a:cubicBezTo>
                  <a:pt x="112" y="228"/>
                  <a:pt x="112" y="228"/>
                  <a:pt x="112" y="228"/>
                </a:cubicBezTo>
                <a:cubicBezTo>
                  <a:pt x="111" y="227"/>
                  <a:pt x="111" y="227"/>
                  <a:pt x="111" y="227"/>
                </a:cubicBezTo>
                <a:cubicBezTo>
                  <a:pt x="112" y="227"/>
                  <a:pt x="112" y="227"/>
                  <a:pt x="112" y="227"/>
                </a:cubicBezTo>
                <a:close/>
                <a:moveTo>
                  <a:pt x="1" y="248"/>
                </a:moveTo>
                <a:cubicBezTo>
                  <a:pt x="0" y="249"/>
                  <a:pt x="0" y="249"/>
                  <a:pt x="0" y="249"/>
                </a:cubicBezTo>
                <a:cubicBezTo>
                  <a:pt x="1" y="249"/>
                  <a:pt x="1" y="249"/>
                  <a:pt x="1" y="249"/>
                </a:cubicBezTo>
                <a:cubicBezTo>
                  <a:pt x="1" y="248"/>
                  <a:pt x="1" y="248"/>
                  <a:pt x="1" y="248"/>
                </a:cubicBezTo>
                <a:close/>
                <a:moveTo>
                  <a:pt x="2" y="245"/>
                </a:moveTo>
                <a:cubicBezTo>
                  <a:pt x="1" y="246"/>
                  <a:pt x="1" y="246"/>
                  <a:pt x="1" y="246"/>
                </a:cubicBezTo>
                <a:cubicBezTo>
                  <a:pt x="2" y="247"/>
                  <a:pt x="2" y="247"/>
                  <a:pt x="2" y="247"/>
                </a:cubicBezTo>
                <a:cubicBezTo>
                  <a:pt x="3" y="246"/>
                  <a:pt x="3" y="246"/>
                  <a:pt x="3" y="246"/>
                </a:cubicBezTo>
                <a:cubicBezTo>
                  <a:pt x="2" y="245"/>
                  <a:pt x="2" y="245"/>
                  <a:pt x="2" y="245"/>
                </a:cubicBezTo>
                <a:close/>
                <a:moveTo>
                  <a:pt x="3" y="243"/>
                </a:moveTo>
                <a:cubicBezTo>
                  <a:pt x="4" y="243"/>
                  <a:pt x="4" y="243"/>
                  <a:pt x="4" y="243"/>
                </a:cubicBezTo>
                <a:cubicBezTo>
                  <a:pt x="4" y="242"/>
                  <a:pt x="4" y="242"/>
                  <a:pt x="4" y="242"/>
                </a:cubicBezTo>
                <a:cubicBezTo>
                  <a:pt x="3" y="243"/>
                  <a:pt x="3" y="243"/>
                  <a:pt x="3" y="243"/>
                </a:cubicBezTo>
                <a:close/>
                <a:moveTo>
                  <a:pt x="11" y="244"/>
                </a:moveTo>
                <a:cubicBezTo>
                  <a:pt x="10" y="242"/>
                  <a:pt x="10" y="242"/>
                  <a:pt x="10" y="242"/>
                </a:cubicBezTo>
                <a:cubicBezTo>
                  <a:pt x="9" y="242"/>
                  <a:pt x="9" y="242"/>
                  <a:pt x="9" y="242"/>
                </a:cubicBezTo>
                <a:cubicBezTo>
                  <a:pt x="8" y="243"/>
                  <a:pt x="8" y="243"/>
                  <a:pt x="8" y="243"/>
                </a:cubicBezTo>
                <a:cubicBezTo>
                  <a:pt x="8" y="243"/>
                  <a:pt x="8" y="243"/>
                  <a:pt x="8" y="243"/>
                </a:cubicBezTo>
                <a:cubicBezTo>
                  <a:pt x="9" y="244"/>
                  <a:pt x="9" y="244"/>
                  <a:pt x="9" y="244"/>
                </a:cubicBezTo>
                <a:cubicBezTo>
                  <a:pt x="8" y="244"/>
                  <a:pt x="8" y="244"/>
                  <a:pt x="8" y="244"/>
                </a:cubicBezTo>
                <a:cubicBezTo>
                  <a:pt x="9" y="245"/>
                  <a:pt x="9" y="245"/>
                  <a:pt x="9" y="245"/>
                </a:cubicBezTo>
                <a:cubicBezTo>
                  <a:pt x="10" y="245"/>
                  <a:pt x="10" y="245"/>
                  <a:pt x="10" y="245"/>
                </a:cubicBezTo>
                <a:cubicBezTo>
                  <a:pt x="10" y="244"/>
                  <a:pt x="10" y="244"/>
                  <a:pt x="10" y="244"/>
                </a:cubicBezTo>
                <a:cubicBezTo>
                  <a:pt x="11" y="244"/>
                  <a:pt x="11" y="244"/>
                  <a:pt x="11" y="244"/>
                </a:cubicBezTo>
                <a:close/>
                <a:moveTo>
                  <a:pt x="12" y="246"/>
                </a:moveTo>
                <a:cubicBezTo>
                  <a:pt x="13" y="246"/>
                  <a:pt x="13" y="246"/>
                  <a:pt x="13" y="246"/>
                </a:cubicBezTo>
                <a:cubicBezTo>
                  <a:pt x="14" y="245"/>
                  <a:pt x="14" y="245"/>
                  <a:pt x="14" y="245"/>
                </a:cubicBezTo>
                <a:cubicBezTo>
                  <a:pt x="14" y="244"/>
                  <a:pt x="14" y="244"/>
                  <a:pt x="14" y="244"/>
                </a:cubicBezTo>
                <a:cubicBezTo>
                  <a:pt x="15" y="243"/>
                  <a:pt x="15" y="243"/>
                  <a:pt x="15" y="243"/>
                </a:cubicBezTo>
                <a:cubicBezTo>
                  <a:pt x="14" y="243"/>
                  <a:pt x="14" y="243"/>
                  <a:pt x="14" y="243"/>
                </a:cubicBezTo>
                <a:cubicBezTo>
                  <a:pt x="13" y="244"/>
                  <a:pt x="13" y="244"/>
                  <a:pt x="13" y="244"/>
                </a:cubicBezTo>
                <a:cubicBezTo>
                  <a:pt x="13" y="245"/>
                  <a:pt x="13" y="245"/>
                  <a:pt x="13" y="245"/>
                </a:cubicBezTo>
                <a:cubicBezTo>
                  <a:pt x="12" y="246"/>
                  <a:pt x="12" y="246"/>
                  <a:pt x="12" y="246"/>
                </a:cubicBezTo>
                <a:close/>
                <a:moveTo>
                  <a:pt x="18" y="245"/>
                </a:moveTo>
                <a:cubicBezTo>
                  <a:pt x="18" y="243"/>
                  <a:pt x="18" y="243"/>
                  <a:pt x="18" y="243"/>
                </a:cubicBezTo>
                <a:cubicBezTo>
                  <a:pt x="17" y="243"/>
                  <a:pt x="17" y="243"/>
                  <a:pt x="17" y="243"/>
                </a:cubicBezTo>
                <a:cubicBezTo>
                  <a:pt x="17" y="245"/>
                  <a:pt x="17" y="245"/>
                  <a:pt x="17" y="245"/>
                </a:cubicBezTo>
                <a:cubicBezTo>
                  <a:pt x="16" y="245"/>
                  <a:pt x="16" y="245"/>
                  <a:pt x="16" y="245"/>
                </a:cubicBezTo>
                <a:cubicBezTo>
                  <a:pt x="16" y="246"/>
                  <a:pt x="16" y="246"/>
                  <a:pt x="16" y="246"/>
                </a:cubicBezTo>
                <a:cubicBezTo>
                  <a:pt x="17" y="246"/>
                  <a:pt x="17" y="246"/>
                  <a:pt x="17" y="246"/>
                </a:cubicBezTo>
                <a:cubicBezTo>
                  <a:pt x="18" y="245"/>
                  <a:pt x="18" y="245"/>
                  <a:pt x="18" y="245"/>
                </a:cubicBezTo>
                <a:close/>
                <a:moveTo>
                  <a:pt x="33" y="245"/>
                </a:moveTo>
                <a:cubicBezTo>
                  <a:pt x="33" y="244"/>
                  <a:pt x="33" y="244"/>
                  <a:pt x="33" y="244"/>
                </a:cubicBezTo>
                <a:cubicBezTo>
                  <a:pt x="34" y="243"/>
                  <a:pt x="34" y="243"/>
                  <a:pt x="34" y="243"/>
                </a:cubicBezTo>
                <a:cubicBezTo>
                  <a:pt x="34" y="242"/>
                  <a:pt x="34" y="242"/>
                  <a:pt x="34" y="242"/>
                </a:cubicBezTo>
                <a:cubicBezTo>
                  <a:pt x="33" y="241"/>
                  <a:pt x="33" y="241"/>
                  <a:pt x="33" y="241"/>
                </a:cubicBezTo>
                <a:cubicBezTo>
                  <a:pt x="32" y="242"/>
                  <a:pt x="32" y="242"/>
                  <a:pt x="32" y="242"/>
                </a:cubicBezTo>
                <a:cubicBezTo>
                  <a:pt x="32" y="243"/>
                  <a:pt x="32" y="243"/>
                  <a:pt x="32" y="243"/>
                </a:cubicBezTo>
                <a:cubicBezTo>
                  <a:pt x="31" y="243"/>
                  <a:pt x="31" y="243"/>
                  <a:pt x="31" y="243"/>
                </a:cubicBezTo>
                <a:cubicBezTo>
                  <a:pt x="31" y="243"/>
                  <a:pt x="31" y="243"/>
                  <a:pt x="31" y="243"/>
                </a:cubicBezTo>
                <a:cubicBezTo>
                  <a:pt x="30" y="244"/>
                  <a:pt x="30" y="244"/>
                  <a:pt x="30" y="244"/>
                </a:cubicBezTo>
                <a:cubicBezTo>
                  <a:pt x="29" y="244"/>
                  <a:pt x="29" y="244"/>
                  <a:pt x="29" y="244"/>
                </a:cubicBezTo>
                <a:cubicBezTo>
                  <a:pt x="28" y="244"/>
                  <a:pt x="28" y="244"/>
                  <a:pt x="28" y="244"/>
                </a:cubicBezTo>
                <a:cubicBezTo>
                  <a:pt x="28" y="244"/>
                  <a:pt x="28" y="244"/>
                  <a:pt x="28" y="244"/>
                </a:cubicBezTo>
                <a:cubicBezTo>
                  <a:pt x="28" y="245"/>
                  <a:pt x="28" y="245"/>
                  <a:pt x="28" y="245"/>
                </a:cubicBezTo>
                <a:cubicBezTo>
                  <a:pt x="29" y="245"/>
                  <a:pt x="29" y="245"/>
                  <a:pt x="29" y="245"/>
                </a:cubicBezTo>
                <a:cubicBezTo>
                  <a:pt x="30" y="245"/>
                  <a:pt x="30" y="245"/>
                  <a:pt x="30" y="245"/>
                </a:cubicBezTo>
                <a:cubicBezTo>
                  <a:pt x="32" y="244"/>
                  <a:pt x="32" y="244"/>
                  <a:pt x="32" y="244"/>
                </a:cubicBezTo>
                <a:cubicBezTo>
                  <a:pt x="33" y="245"/>
                  <a:pt x="33" y="245"/>
                  <a:pt x="33" y="245"/>
                </a:cubicBezTo>
                <a:close/>
                <a:moveTo>
                  <a:pt x="36" y="245"/>
                </a:moveTo>
                <a:cubicBezTo>
                  <a:pt x="39" y="246"/>
                  <a:pt x="39" y="246"/>
                  <a:pt x="39" y="246"/>
                </a:cubicBezTo>
                <a:cubicBezTo>
                  <a:pt x="39" y="245"/>
                  <a:pt x="39" y="245"/>
                  <a:pt x="39" y="245"/>
                </a:cubicBezTo>
                <a:cubicBezTo>
                  <a:pt x="40" y="246"/>
                  <a:pt x="40" y="246"/>
                  <a:pt x="40" y="246"/>
                </a:cubicBezTo>
                <a:cubicBezTo>
                  <a:pt x="39" y="247"/>
                  <a:pt x="39" y="247"/>
                  <a:pt x="39" y="247"/>
                </a:cubicBezTo>
                <a:cubicBezTo>
                  <a:pt x="36" y="246"/>
                  <a:pt x="36" y="246"/>
                  <a:pt x="36" y="246"/>
                </a:cubicBezTo>
                <a:cubicBezTo>
                  <a:pt x="35" y="246"/>
                  <a:pt x="35" y="246"/>
                  <a:pt x="35" y="246"/>
                </a:cubicBezTo>
                <a:cubicBezTo>
                  <a:pt x="34" y="245"/>
                  <a:pt x="34" y="245"/>
                  <a:pt x="34" y="245"/>
                </a:cubicBezTo>
                <a:cubicBezTo>
                  <a:pt x="34" y="245"/>
                  <a:pt x="36" y="245"/>
                  <a:pt x="36" y="245"/>
                </a:cubicBezTo>
                <a:close/>
                <a:moveTo>
                  <a:pt x="46" y="244"/>
                </a:moveTo>
                <a:cubicBezTo>
                  <a:pt x="45" y="243"/>
                  <a:pt x="45" y="243"/>
                  <a:pt x="45" y="243"/>
                </a:cubicBezTo>
                <a:cubicBezTo>
                  <a:pt x="43" y="243"/>
                  <a:pt x="43" y="243"/>
                  <a:pt x="43" y="243"/>
                </a:cubicBezTo>
                <a:cubicBezTo>
                  <a:pt x="43" y="244"/>
                  <a:pt x="43" y="244"/>
                  <a:pt x="43" y="244"/>
                </a:cubicBezTo>
                <a:cubicBezTo>
                  <a:pt x="45" y="244"/>
                  <a:pt x="45" y="244"/>
                  <a:pt x="45" y="244"/>
                </a:cubicBezTo>
                <a:cubicBezTo>
                  <a:pt x="46" y="244"/>
                  <a:pt x="46" y="244"/>
                  <a:pt x="46" y="244"/>
                </a:cubicBezTo>
                <a:close/>
                <a:moveTo>
                  <a:pt x="53" y="243"/>
                </a:moveTo>
                <a:cubicBezTo>
                  <a:pt x="52" y="241"/>
                  <a:pt x="52" y="241"/>
                  <a:pt x="52" y="241"/>
                </a:cubicBezTo>
                <a:cubicBezTo>
                  <a:pt x="52" y="243"/>
                  <a:pt x="52" y="243"/>
                  <a:pt x="52" y="243"/>
                </a:cubicBezTo>
                <a:cubicBezTo>
                  <a:pt x="53" y="243"/>
                  <a:pt x="53" y="243"/>
                  <a:pt x="53" y="243"/>
                </a:cubicBezTo>
                <a:close/>
                <a:moveTo>
                  <a:pt x="58" y="241"/>
                </a:moveTo>
                <a:cubicBezTo>
                  <a:pt x="56" y="240"/>
                  <a:pt x="56" y="240"/>
                  <a:pt x="56" y="240"/>
                </a:cubicBezTo>
                <a:cubicBezTo>
                  <a:pt x="55" y="241"/>
                  <a:pt x="55" y="241"/>
                  <a:pt x="55" y="241"/>
                </a:cubicBezTo>
                <a:cubicBezTo>
                  <a:pt x="55" y="242"/>
                  <a:pt x="55" y="242"/>
                  <a:pt x="55" y="242"/>
                </a:cubicBezTo>
                <a:cubicBezTo>
                  <a:pt x="57" y="241"/>
                  <a:pt x="57" y="241"/>
                  <a:pt x="57" y="241"/>
                </a:cubicBezTo>
                <a:cubicBezTo>
                  <a:pt x="58" y="241"/>
                  <a:pt x="58" y="241"/>
                  <a:pt x="58" y="241"/>
                </a:cubicBezTo>
                <a:close/>
                <a:moveTo>
                  <a:pt x="61" y="241"/>
                </a:moveTo>
                <a:cubicBezTo>
                  <a:pt x="60" y="240"/>
                  <a:pt x="60" y="240"/>
                  <a:pt x="60" y="240"/>
                </a:cubicBezTo>
                <a:cubicBezTo>
                  <a:pt x="59" y="241"/>
                  <a:pt x="59" y="241"/>
                  <a:pt x="59" y="241"/>
                </a:cubicBezTo>
                <a:cubicBezTo>
                  <a:pt x="60" y="241"/>
                  <a:pt x="60" y="241"/>
                  <a:pt x="60" y="241"/>
                </a:cubicBezTo>
                <a:cubicBezTo>
                  <a:pt x="61" y="241"/>
                  <a:pt x="61" y="241"/>
                  <a:pt x="61" y="241"/>
                </a:cubicBezTo>
                <a:close/>
                <a:moveTo>
                  <a:pt x="61" y="239"/>
                </a:moveTo>
                <a:cubicBezTo>
                  <a:pt x="61" y="238"/>
                  <a:pt x="61" y="238"/>
                  <a:pt x="61" y="238"/>
                </a:cubicBezTo>
                <a:cubicBezTo>
                  <a:pt x="60" y="239"/>
                  <a:pt x="60" y="239"/>
                  <a:pt x="60" y="239"/>
                </a:cubicBezTo>
                <a:cubicBezTo>
                  <a:pt x="61" y="239"/>
                  <a:pt x="61" y="239"/>
                  <a:pt x="61" y="239"/>
                </a:cubicBezTo>
                <a:close/>
                <a:moveTo>
                  <a:pt x="61" y="240"/>
                </a:moveTo>
                <a:cubicBezTo>
                  <a:pt x="62" y="240"/>
                  <a:pt x="62" y="240"/>
                  <a:pt x="62" y="240"/>
                </a:cubicBezTo>
                <a:cubicBezTo>
                  <a:pt x="63" y="240"/>
                  <a:pt x="63" y="240"/>
                  <a:pt x="63" y="240"/>
                </a:cubicBezTo>
                <a:cubicBezTo>
                  <a:pt x="63" y="239"/>
                  <a:pt x="63" y="239"/>
                  <a:pt x="63" y="239"/>
                </a:cubicBezTo>
                <a:cubicBezTo>
                  <a:pt x="61" y="240"/>
                  <a:pt x="61" y="240"/>
                  <a:pt x="61" y="240"/>
                </a:cubicBezTo>
                <a:close/>
                <a:moveTo>
                  <a:pt x="76" y="233"/>
                </a:moveTo>
                <a:cubicBezTo>
                  <a:pt x="76" y="234"/>
                  <a:pt x="76" y="234"/>
                  <a:pt x="76" y="234"/>
                </a:cubicBezTo>
                <a:cubicBezTo>
                  <a:pt x="77" y="234"/>
                  <a:pt x="77" y="234"/>
                  <a:pt x="77" y="234"/>
                </a:cubicBezTo>
                <a:cubicBezTo>
                  <a:pt x="76" y="235"/>
                  <a:pt x="76" y="235"/>
                  <a:pt x="76" y="235"/>
                </a:cubicBezTo>
                <a:cubicBezTo>
                  <a:pt x="75" y="236"/>
                  <a:pt x="75" y="236"/>
                  <a:pt x="75" y="236"/>
                </a:cubicBezTo>
                <a:cubicBezTo>
                  <a:pt x="74" y="237"/>
                  <a:pt x="74" y="237"/>
                  <a:pt x="74" y="237"/>
                </a:cubicBezTo>
                <a:cubicBezTo>
                  <a:pt x="72" y="239"/>
                  <a:pt x="72" y="239"/>
                  <a:pt x="72" y="239"/>
                </a:cubicBezTo>
                <a:cubicBezTo>
                  <a:pt x="70" y="239"/>
                  <a:pt x="70" y="239"/>
                  <a:pt x="70" y="239"/>
                </a:cubicBezTo>
                <a:cubicBezTo>
                  <a:pt x="69" y="241"/>
                  <a:pt x="69" y="241"/>
                  <a:pt x="69" y="241"/>
                </a:cubicBezTo>
                <a:cubicBezTo>
                  <a:pt x="66" y="241"/>
                  <a:pt x="66" y="241"/>
                  <a:pt x="66" y="241"/>
                </a:cubicBezTo>
                <a:cubicBezTo>
                  <a:pt x="67" y="240"/>
                  <a:pt x="67" y="240"/>
                  <a:pt x="67" y="240"/>
                </a:cubicBezTo>
                <a:cubicBezTo>
                  <a:pt x="68" y="240"/>
                  <a:pt x="68" y="240"/>
                  <a:pt x="68" y="240"/>
                </a:cubicBezTo>
                <a:cubicBezTo>
                  <a:pt x="69" y="238"/>
                  <a:pt x="69" y="238"/>
                  <a:pt x="69" y="238"/>
                </a:cubicBezTo>
                <a:cubicBezTo>
                  <a:pt x="70" y="238"/>
                  <a:pt x="70" y="238"/>
                  <a:pt x="70" y="238"/>
                </a:cubicBezTo>
                <a:cubicBezTo>
                  <a:pt x="70" y="237"/>
                  <a:pt x="70" y="237"/>
                  <a:pt x="70" y="237"/>
                </a:cubicBezTo>
                <a:cubicBezTo>
                  <a:pt x="71" y="236"/>
                  <a:pt x="71" y="236"/>
                  <a:pt x="71" y="236"/>
                </a:cubicBezTo>
                <a:cubicBezTo>
                  <a:pt x="73" y="236"/>
                  <a:pt x="73" y="236"/>
                  <a:pt x="73" y="236"/>
                </a:cubicBezTo>
                <a:cubicBezTo>
                  <a:pt x="73" y="234"/>
                  <a:pt x="73" y="234"/>
                  <a:pt x="73" y="234"/>
                </a:cubicBezTo>
                <a:cubicBezTo>
                  <a:pt x="73" y="234"/>
                  <a:pt x="73" y="234"/>
                  <a:pt x="73" y="234"/>
                </a:cubicBezTo>
                <a:cubicBezTo>
                  <a:pt x="75" y="234"/>
                  <a:pt x="75" y="234"/>
                  <a:pt x="75" y="234"/>
                </a:cubicBezTo>
                <a:cubicBezTo>
                  <a:pt x="75" y="234"/>
                  <a:pt x="76" y="233"/>
                  <a:pt x="76" y="233"/>
                </a:cubicBezTo>
                <a:close/>
                <a:moveTo>
                  <a:pt x="86" y="229"/>
                </a:moveTo>
                <a:cubicBezTo>
                  <a:pt x="85" y="229"/>
                  <a:pt x="85" y="229"/>
                  <a:pt x="85" y="229"/>
                </a:cubicBezTo>
                <a:cubicBezTo>
                  <a:pt x="84" y="230"/>
                  <a:pt x="84" y="230"/>
                  <a:pt x="84" y="230"/>
                </a:cubicBezTo>
                <a:cubicBezTo>
                  <a:pt x="84" y="231"/>
                  <a:pt x="84" y="231"/>
                  <a:pt x="84" y="231"/>
                </a:cubicBezTo>
                <a:cubicBezTo>
                  <a:pt x="85" y="232"/>
                  <a:pt x="85" y="232"/>
                  <a:pt x="85" y="232"/>
                </a:cubicBezTo>
                <a:cubicBezTo>
                  <a:pt x="85" y="232"/>
                  <a:pt x="85" y="232"/>
                  <a:pt x="85" y="232"/>
                </a:cubicBezTo>
                <a:cubicBezTo>
                  <a:pt x="83" y="232"/>
                  <a:pt x="83" y="232"/>
                  <a:pt x="83" y="232"/>
                </a:cubicBezTo>
                <a:cubicBezTo>
                  <a:pt x="82" y="232"/>
                  <a:pt x="82" y="232"/>
                  <a:pt x="82" y="232"/>
                </a:cubicBezTo>
                <a:cubicBezTo>
                  <a:pt x="82" y="233"/>
                  <a:pt x="82" y="233"/>
                  <a:pt x="82" y="233"/>
                </a:cubicBezTo>
                <a:cubicBezTo>
                  <a:pt x="82" y="233"/>
                  <a:pt x="82" y="233"/>
                  <a:pt x="82" y="233"/>
                </a:cubicBezTo>
                <a:cubicBezTo>
                  <a:pt x="81" y="235"/>
                  <a:pt x="81" y="235"/>
                  <a:pt x="81" y="235"/>
                </a:cubicBezTo>
                <a:cubicBezTo>
                  <a:pt x="80" y="235"/>
                  <a:pt x="80" y="235"/>
                  <a:pt x="80" y="235"/>
                </a:cubicBezTo>
                <a:cubicBezTo>
                  <a:pt x="78" y="236"/>
                  <a:pt x="78" y="236"/>
                  <a:pt x="78" y="236"/>
                </a:cubicBezTo>
                <a:cubicBezTo>
                  <a:pt x="77" y="236"/>
                  <a:pt x="77" y="236"/>
                  <a:pt x="77" y="236"/>
                </a:cubicBezTo>
                <a:cubicBezTo>
                  <a:pt x="77" y="236"/>
                  <a:pt x="77" y="236"/>
                  <a:pt x="77" y="236"/>
                </a:cubicBezTo>
                <a:cubicBezTo>
                  <a:pt x="77" y="237"/>
                  <a:pt x="77" y="237"/>
                  <a:pt x="77" y="237"/>
                </a:cubicBezTo>
                <a:cubicBezTo>
                  <a:pt x="79" y="237"/>
                  <a:pt x="79" y="237"/>
                  <a:pt x="79" y="237"/>
                </a:cubicBezTo>
                <a:cubicBezTo>
                  <a:pt x="81" y="236"/>
                  <a:pt x="81" y="236"/>
                  <a:pt x="81" y="236"/>
                </a:cubicBezTo>
                <a:cubicBezTo>
                  <a:pt x="82" y="235"/>
                  <a:pt x="82" y="235"/>
                  <a:pt x="82" y="235"/>
                </a:cubicBezTo>
                <a:cubicBezTo>
                  <a:pt x="83" y="236"/>
                  <a:pt x="83" y="236"/>
                  <a:pt x="83" y="236"/>
                </a:cubicBezTo>
                <a:cubicBezTo>
                  <a:pt x="83" y="236"/>
                  <a:pt x="83" y="236"/>
                  <a:pt x="83" y="236"/>
                </a:cubicBezTo>
                <a:cubicBezTo>
                  <a:pt x="84" y="235"/>
                  <a:pt x="84" y="235"/>
                  <a:pt x="84" y="235"/>
                </a:cubicBezTo>
                <a:cubicBezTo>
                  <a:pt x="84" y="234"/>
                  <a:pt x="84" y="234"/>
                  <a:pt x="84" y="234"/>
                </a:cubicBezTo>
                <a:cubicBezTo>
                  <a:pt x="85" y="234"/>
                  <a:pt x="85" y="234"/>
                  <a:pt x="85" y="234"/>
                </a:cubicBezTo>
                <a:cubicBezTo>
                  <a:pt x="85" y="235"/>
                  <a:pt x="85" y="235"/>
                  <a:pt x="85" y="235"/>
                </a:cubicBezTo>
                <a:cubicBezTo>
                  <a:pt x="86" y="235"/>
                  <a:pt x="86" y="235"/>
                  <a:pt x="86" y="235"/>
                </a:cubicBezTo>
                <a:cubicBezTo>
                  <a:pt x="87" y="233"/>
                  <a:pt x="87" y="233"/>
                  <a:pt x="87" y="233"/>
                </a:cubicBezTo>
                <a:cubicBezTo>
                  <a:pt x="88" y="233"/>
                  <a:pt x="88" y="233"/>
                  <a:pt x="88" y="233"/>
                </a:cubicBezTo>
                <a:cubicBezTo>
                  <a:pt x="88" y="232"/>
                  <a:pt x="88" y="232"/>
                  <a:pt x="88" y="232"/>
                </a:cubicBezTo>
                <a:cubicBezTo>
                  <a:pt x="87" y="232"/>
                  <a:pt x="87" y="232"/>
                  <a:pt x="87" y="232"/>
                </a:cubicBezTo>
                <a:cubicBezTo>
                  <a:pt x="89" y="231"/>
                  <a:pt x="89" y="231"/>
                  <a:pt x="89" y="231"/>
                </a:cubicBezTo>
                <a:cubicBezTo>
                  <a:pt x="88" y="230"/>
                  <a:pt x="88" y="230"/>
                  <a:pt x="88" y="230"/>
                </a:cubicBezTo>
                <a:cubicBezTo>
                  <a:pt x="87" y="229"/>
                  <a:pt x="87" y="229"/>
                  <a:pt x="87" y="229"/>
                </a:cubicBezTo>
                <a:cubicBezTo>
                  <a:pt x="86" y="229"/>
                  <a:pt x="86" y="229"/>
                  <a:pt x="86" y="229"/>
                </a:cubicBezTo>
                <a:close/>
                <a:moveTo>
                  <a:pt x="90" y="230"/>
                </a:moveTo>
                <a:cubicBezTo>
                  <a:pt x="90" y="230"/>
                  <a:pt x="90" y="230"/>
                  <a:pt x="90" y="230"/>
                </a:cubicBezTo>
                <a:cubicBezTo>
                  <a:pt x="89" y="229"/>
                  <a:pt x="89" y="229"/>
                  <a:pt x="89" y="229"/>
                </a:cubicBezTo>
                <a:cubicBezTo>
                  <a:pt x="89" y="230"/>
                  <a:pt x="89" y="230"/>
                  <a:pt x="89" y="230"/>
                </a:cubicBezTo>
                <a:cubicBezTo>
                  <a:pt x="90" y="230"/>
                  <a:pt x="90" y="230"/>
                  <a:pt x="90" y="230"/>
                </a:cubicBezTo>
                <a:close/>
                <a:moveTo>
                  <a:pt x="97" y="229"/>
                </a:moveTo>
                <a:cubicBezTo>
                  <a:pt x="97" y="229"/>
                  <a:pt x="97" y="229"/>
                  <a:pt x="97" y="229"/>
                </a:cubicBezTo>
                <a:cubicBezTo>
                  <a:pt x="98" y="229"/>
                  <a:pt x="98" y="229"/>
                  <a:pt x="98" y="229"/>
                </a:cubicBezTo>
                <a:cubicBezTo>
                  <a:pt x="98" y="230"/>
                  <a:pt x="98" y="230"/>
                  <a:pt x="98" y="230"/>
                </a:cubicBezTo>
                <a:cubicBezTo>
                  <a:pt x="97" y="230"/>
                  <a:pt x="97" y="230"/>
                  <a:pt x="97" y="230"/>
                </a:cubicBezTo>
                <a:cubicBezTo>
                  <a:pt x="97" y="229"/>
                  <a:pt x="97" y="229"/>
                  <a:pt x="97" y="229"/>
                </a:cubicBezTo>
                <a:close/>
                <a:moveTo>
                  <a:pt x="95" y="230"/>
                </a:moveTo>
                <a:cubicBezTo>
                  <a:pt x="95" y="229"/>
                  <a:pt x="95" y="229"/>
                  <a:pt x="95" y="229"/>
                </a:cubicBezTo>
                <a:cubicBezTo>
                  <a:pt x="96" y="230"/>
                  <a:pt x="96" y="230"/>
                  <a:pt x="96" y="230"/>
                </a:cubicBezTo>
                <a:cubicBezTo>
                  <a:pt x="95" y="230"/>
                  <a:pt x="95" y="230"/>
                  <a:pt x="95" y="230"/>
                </a:cubicBezTo>
                <a:close/>
                <a:moveTo>
                  <a:pt x="94" y="229"/>
                </a:moveTo>
                <a:cubicBezTo>
                  <a:pt x="94" y="228"/>
                  <a:pt x="94" y="228"/>
                  <a:pt x="94" y="228"/>
                </a:cubicBezTo>
                <a:cubicBezTo>
                  <a:pt x="94" y="227"/>
                  <a:pt x="94" y="227"/>
                  <a:pt x="94" y="227"/>
                </a:cubicBezTo>
                <a:cubicBezTo>
                  <a:pt x="95" y="227"/>
                  <a:pt x="95" y="227"/>
                  <a:pt x="95" y="227"/>
                </a:cubicBezTo>
                <a:cubicBezTo>
                  <a:pt x="95" y="228"/>
                  <a:pt x="95" y="228"/>
                  <a:pt x="95" y="228"/>
                </a:cubicBezTo>
                <a:cubicBezTo>
                  <a:pt x="94" y="229"/>
                  <a:pt x="94" y="229"/>
                  <a:pt x="94" y="229"/>
                </a:cubicBezTo>
                <a:close/>
                <a:moveTo>
                  <a:pt x="92" y="227"/>
                </a:moveTo>
                <a:cubicBezTo>
                  <a:pt x="91" y="228"/>
                  <a:pt x="91" y="228"/>
                  <a:pt x="91" y="228"/>
                </a:cubicBezTo>
                <a:cubicBezTo>
                  <a:pt x="91" y="229"/>
                  <a:pt x="91" y="229"/>
                  <a:pt x="91" y="229"/>
                </a:cubicBezTo>
                <a:cubicBezTo>
                  <a:pt x="92" y="230"/>
                  <a:pt x="92" y="230"/>
                  <a:pt x="92" y="230"/>
                </a:cubicBezTo>
                <a:cubicBezTo>
                  <a:pt x="93" y="229"/>
                  <a:pt x="93" y="229"/>
                  <a:pt x="93" y="229"/>
                </a:cubicBezTo>
                <a:cubicBezTo>
                  <a:pt x="93" y="228"/>
                  <a:pt x="93" y="228"/>
                  <a:pt x="93" y="228"/>
                </a:cubicBezTo>
                <a:cubicBezTo>
                  <a:pt x="92" y="228"/>
                  <a:pt x="92" y="228"/>
                  <a:pt x="92" y="228"/>
                </a:cubicBezTo>
                <a:cubicBezTo>
                  <a:pt x="92" y="227"/>
                  <a:pt x="92" y="227"/>
                  <a:pt x="92" y="227"/>
                </a:cubicBezTo>
                <a:close/>
                <a:moveTo>
                  <a:pt x="150" y="176"/>
                </a:moveTo>
                <a:cubicBezTo>
                  <a:pt x="149" y="176"/>
                  <a:pt x="149" y="176"/>
                  <a:pt x="149" y="176"/>
                </a:cubicBezTo>
                <a:cubicBezTo>
                  <a:pt x="151" y="175"/>
                  <a:pt x="151" y="175"/>
                  <a:pt x="151" y="175"/>
                </a:cubicBezTo>
                <a:cubicBezTo>
                  <a:pt x="150" y="176"/>
                  <a:pt x="150" y="176"/>
                  <a:pt x="150" y="176"/>
                </a:cubicBezTo>
                <a:cubicBezTo>
                  <a:pt x="150" y="176"/>
                  <a:pt x="150" y="176"/>
                  <a:pt x="150" y="176"/>
                </a:cubicBezTo>
                <a:close/>
                <a:moveTo>
                  <a:pt x="147" y="177"/>
                </a:moveTo>
                <a:cubicBezTo>
                  <a:pt x="147" y="177"/>
                  <a:pt x="147" y="177"/>
                  <a:pt x="147" y="177"/>
                </a:cubicBezTo>
                <a:cubicBezTo>
                  <a:pt x="147" y="176"/>
                  <a:pt x="147" y="176"/>
                  <a:pt x="147" y="176"/>
                </a:cubicBezTo>
                <a:cubicBezTo>
                  <a:pt x="148" y="175"/>
                  <a:pt x="148" y="175"/>
                  <a:pt x="148" y="175"/>
                </a:cubicBezTo>
                <a:cubicBezTo>
                  <a:pt x="149" y="174"/>
                  <a:pt x="149" y="174"/>
                  <a:pt x="149" y="174"/>
                </a:cubicBezTo>
                <a:cubicBezTo>
                  <a:pt x="149" y="175"/>
                  <a:pt x="149" y="175"/>
                  <a:pt x="149" y="175"/>
                </a:cubicBezTo>
                <a:cubicBezTo>
                  <a:pt x="148" y="176"/>
                  <a:pt x="148" y="176"/>
                  <a:pt x="148" y="176"/>
                </a:cubicBezTo>
                <a:cubicBezTo>
                  <a:pt x="147" y="177"/>
                  <a:pt x="147" y="177"/>
                  <a:pt x="147" y="177"/>
                </a:cubicBezTo>
                <a:close/>
                <a:moveTo>
                  <a:pt x="99" y="225"/>
                </a:moveTo>
                <a:cubicBezTo>
                  <a:pt x="100" y="223"/>
                  <a:pt x="100" y="223"/>
                  <a:pt x="100" y="223"/>
                </a:cubicBezTo>
                <a:cubicBezTo>
                  <a:pt x="100" y="223"/>
                  <a:pt x="100" y="223"/>
                  <a:pt x="100" y="223"/>
                </a:cubicBezTo>
                <a:cubicBezTo>
                  <a:pt x="101" y="223"/>
                  <a:pt x="101" y="223"/>
                  <a:pt x="101" y="223"/>
                </a:cubicBezTo>
                <a:cubicBezTo>
                  <a:pt x="102" y="222"/>
                  <a:pt x="102" y="222"/>
                  <a:pt x="102" y="222"/>
                </a:cubicBezTo>
                <a:cubicBezTo>
                  <a:pt x="102" y="222"/>
                  <a:pt x="102" y="222"/>
                  <a:pt x="102" y="222"/>
                </a:cubicBezTo>
                <a:cubicBezTo>
                  <a:pt x="103" y="220"/>
                  <a:pt x="103" y="220"/>
                  <a:pt x="103" y="220"/>
                </a:cubicBezTo>
                <a:cubicBezTo>
                  <a:pt x="104" y="220"/>
                  <a:pt x="104" y="220"/>
                  <a:pt x="104" y="220"/>
                </a:cubicBezTo>
                <a:cubicBezTo>
                  <a:pt x="105" y="221"/>
                  <a:pt x="105" y="221"/>
                  <a:pt x="105" y="221"/>
                </a:cubicBezTo>
                <a:cubicBezTo>
                  <a:pt x="105" y="220"/>
                  <a:pt x="105" y="220"/>
                  <a:pt x="105" y="220"/>
                </a:cubicBezTo>
                <a:cubicBezTo>
                  <a:pt x="107" y="221"/>
                  <a:pt x="107" y="221"/>
                  <a:pt x="107" y="221"/>
                </a:cubicBezTo>
                <a:cubicBezTo>
                  <a:pt x="108" y="220"/>
                  <a:pt x="108" y="220"/>
                  <a:pt x="108" y="220"/>
                </a:cubicBezTo>
                <a:cubicBezTo>
                  <a:pt x="108" y="220"/>
                  <a:pt x="108" y="220"/>
                  <a:pt x="108" y="220"/>
                </a:cubicBezTo>
                <a:cubicBezTo>
                  <a:pt x="110" y="220"/>
                  <a:pt x="110" y="220"/>
                  <a:pt x="110" y="220"/>
                </a:cubicBezTo>
                <a:cubicBezTo>
                  <a:pt x="110" y="221"/>
                  <a:pt x="110" y="221"/>
                  <a:pt x="110" y="221"/>
                </a:cubicBezTo>
                <a:cubicBezTo>
                  <a:pt x="110" y="222"/>
                  <a:pt x="110" y="222"/>
                  <a:pt x="110" y="222"/>
                </a:cubicBezTo>
                <a:cubicBezTo>
                  <a:pt x="112" y="223"/>
                  <a:pt x="112" y="223"/>
                  <a:pt x="112" y="223"/>
                </a:cubicBezTo>
                <a:cubicBezTo>
                  <a:pt x="112" y="224"/>
                  <a:pt x="112" y="224"/>
                  <a:pt x="112" y="224"/>
                </a:cubicBezTo>
                <a:cubicBezTo>
                  <a:pt x="110" y="224"/>
                  <a:pt x="110" y="224"/>
                  <a:pt x="110" y="224"/>
                </a:cubicBezTo>
                <a:cubicBezTo>
                  <a:pt x="109" y="225"/>
                  <a:pt x="109" y="225"/>
                  <a:pt x="109" y="225"/>
                </a:cubicBezTo>
                <a:cubicBezTo>
                  <a:pt x="107" y="225"/>
                  <a:pt x="107" y="225"/>
                  <a:pt x="107" y="225"/>
                </a:cubicBezTo>
                <a:cubicBezTo>
                  <a:pt x="106" y="224"/>
                  <a:pt x="106" y="224"/>
                  <a:pt x="106" y="224"/>
                </a:cubicBezTo>
                <a:cubicBezTo>
                  <a:pt x="103" y="224"/>
                  <a:pt x="103" y="224"/>
                  <a:pt x="103" y="224"/>
                </a:cubicBezTo>
                <a:cubicBezTo>
                  <a:pt x="102" y="226"/>
                  <a:pt x="102" y="226"/>
                  <a:pt x="102" y="226"/>
                </a:cubicBezTo>
                <a:cubicBezTo>
                  <a:pt x="102" y="226"/>
                  <a:pt x="102" y="226"/>
                  <a:pt x="102" y="226"/>
                </a:cubicBezTo>
                <a:cubicBezTo>
                  <a:pt x="101" y="226"/>
                  <a:pt x="101" y="226"/>
                  <a:pt x="101" y="226"/>
                </a:cubicBezTo>
                <a:cubicBezTo>
                  <a:pt x="100" y="226"/>
                  <a:pt x="100" y="226"/>
                  <a:pt x="100" y="226"/>
                </a:cubicBezTo>
                <a:lnTo>
                  <a:pt x="99" y="225"/>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3" name="Freeform 171">
            <a:extLst>
              <a:ext uri="{FF2B5EF4-FFF2-40B4-BE49-F238E27FC236}">
                <a16:creationId xmlns:a16="http://schemas.microsoft.com/office/drawing/2014/main" id="{6E1BCBA6-4DC1-3C57-70CD-9D13C7A8245A}"/>
              </a:ext>
            </a:extLst>
          </p:cNvPr>
          <p:cNvSpPr>
            <a:spLocks/>
          </p:cNvSpPr>
          <p:nvPr userDrawn="1"/>
        </p:nvSpPr>
        <p:spPr bwMode="auto">
          <a:xfrm>
            <a:off x="8168741" y="8133631"/>
            <a:ext cx="19049" cy="12702"/>
          </a:xfrm>
          <a:custGeom>
            <a:avLst/>
            <a:gdLst>
              <a:gd name="T0" fmla="*/ 6 w 6"/>
              <a:gd name="T1" fmla="*/ 0 h 4"/>
              <a:gd name="T2" fmla="*/ 3 w 6"/>
              <a:gd name="T3" fmla="*/ 0 h 4"/>
              <a:gd name="T4" fmla="*/ 0 w 6"/>
              <a:gd name="T5" fmla="*/ 4 h 4"/>
              <a:gd name="T6" fmla="*/ 3 w 6"/>
              <a:gd name="T7" fmla="*/ 4 h 4"/>
              <a:gd name="T8" fmla="*/ 6 w 6"/>
              <a:gd name="T9" fmla="*/ 0 h 4"/>
            </a:gdLst>
            <a:ahLst/>
            <a:cxnLst>
              <a:cxn ang="0">
                <a:pos x="T0" y="T1"/>
              </a:cxn>
              <a:cxn ang="0">
                <a:pos x="T2" y="T3"/>
              </a:cxn>
              <a:cxn ang="0">
                <a:pos x="T4" y="T5"/>
              </a:cxn>
              <a:cxn ang="0">
                <a:pos x="T6" y="T7"/>
              </a:cxn>
              <a:cxn ang="0">
                <a:pos x="T8" y="T9"/>
              </a:cxn>
            </a:cxnLst>
            <a:rect l="0" t="0" r="r" b="b"/>
            <a:pathLst>
              <a:path w="6" h="4">
                <a:moveTo>
                  <a:pt x="6" y="0"/>
                </a:moveTo>
                <a:lnTo>
                  <a:pt x="3" y="0"/>
                </a:lnTo>
                <a:lnTo>
                  <a:pt x="0" y="4"/>
                </a:lnTo>
                <a:lnTo>
                  <a:pt x="3" y="4"/>
                </a:lnTo>
                <a:lnTo>
                  <a:pt x="6"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4" name="Freeform 172">
            <a:extLst>
              <a:ext uri="{FF2B5EF4-FFF2-40B4-BE49-F238E27FC236}">
                <a16:creationId xmlns:a16="http://schemas.microsoft.com/office/drawing/2014/main" id="{B30FBD93-DEBC-EF1E-658A-A3FB3C890D7B}"/>
              </a:ext>
            </a:extLst>
          </p:cNvPr>
          <p:cNvSpPr>
            <a:spLocks/>
          </p:cNvSpPr>
          <p:nvPr userDrawn="1"/>
        </p:nvSpPr>
        <p:spPr bwMode="auto">
          <a:xfrm>
            <a:off x="8356051" y="8193957"/>
            <a:ext cx="139693" cy="60326"/>
          </a:xfrm>
          <a:custGeom>
            <a:avLst/>
            <a:gdLst>
              <a:gd name="T0" fmla="*/ 6 w 44"/>
              <a:gd name="T1" fmla="*/ 0 h 19"/>
              <a:gd name="T2" fmla="*/ 9 w 44"/>
              <a:gd name="T3" fmla="*/ 0 h 19"/>
              <a:gd name="T4" fmla="*/ 16 w 44"/>
              <a:gd name="T5" fmla="*/ 0 h 19"/>
              <a:gd name="T6" fmla="*/ 31 w 44"/>
              <a:gd name="T7" fmla="*/ 0 h 19"/>
              <a:gd name="T8" fmla="*/ 34 w 44"/>
              <a:gd name="T9" fmla="*/ 6 h 19"/>
              <a:gd name="T10" fmla="*/ 41 w 44"/>
              <a:gd name="T11" fmla="*/ 6 h 19"/>
              <a:gd name="T12" fmla="*/ 44 w 44"/>
              <a:gd name="T13" fmla="*/ 10 h 19"/>
              <a:gd name="T14" fmla="*/ 44 w 44"/>
              <a:gd name="T15" fmla="*/ 13 h 19"/>
              <a:gd name="T16" fmla="*/ 38 w 44"/>
              <a:gd name="T17" fmla="*/ 13 h 19"/>
              <a:gd name="T18" fmla="*/ 34 w 44"/>
              <a:gd name="T19" fmla="*/ 13 h 19"/>
              <a:gd name="T20" fmla="*/ 31 w 44"/>
              <a:gd name="T21" fmla="*/ 16 h 19"/>
              <a:gd name="T22" fmla="*/ 31 w 44"/>
              <a:gd name="T23" fmla="*/ 16 h 19"/>
              <a:gd name="T24" fmla="*/ 28 w 44"/>
              <a:gd name="T25" fmla="*/ 13 h 19"/>
              <a:gd name="T26" fmla="*/ 25 w 44"/>
              <a:gd name="T27" fmla="*/ 13 h 19"/>
              <a:gd name="T28" fmla="*/ 25 w 44"/>
              <a:gd name="T29" fmla="*/ 19 h 19"/>
              <a:gd name="T30" fmla="*/ 22 w 44"/>
              <a:gd name="T31" fmla="*/ 16 h 19"/>
              <a:gd name="T32" fmla="*/ 19 w 44"/>
              <a:gd name="T33" fmla="*/ 16 h 19"/>
              <a:gd name="T34" fmla="*/ 13 w 44"/>
              <a:gd name="T35" fmla="*/ 16 h 19"/>
              <a:gd name="T36" fmla="*/ 9 w 44"/>
              <a:gd name="T37" fmla="*/ 13 h 19"/>
              <a:gd name="T38" fmla="*/ 9 w 44"/>
              <a:gd name="T39" fmla="*/ 6 h 19"/>
              <a:gd name="T40" fmla="*/ 6 w 44"/>
              <a:gd name="T41" fmla="*/ 6 h 19"/>
              <a:gd name="T42" fmla="*/ 3 w 44"/>
              <a:gd name="T43" fmla="*/ 6 h 19"/>
              <a:gd name="T44" fmla="*/ 0 w 44"/>
              <a:gd name="T45" fmla="*/ 3 h 19"/>
              <a:gd name="T46" fmla="*/ 3 w 44"/>
              <a:gd name="T47" fmla="*/ 0 h 19"/>
              <a:gd name="T48" fmla="*/ 6 w 44"/>
              <a:gd name="T4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19">
                <a:moveTo>
                  <a:pt x="6" y="0"/>
                </a:moveTo>
                <a:lnTo>
                  <a:pt x="9" y="0"/>
                </a:lnTo>
                <a:lnTo>
                  <a:pt x="16" y="0"/>
                </a:lnTo>
                <a:lnTo>
                  <a:pt x="31" y="0"/>
                </a:lnTo>
                <a:lnTo>
                  <a:pt x="34" y="6"/>
                </a:lnTo>
                <a:lnTo>
                  <a:pt x="41" y="6"/>
                </a:lnTo>
                <a:lnTo>
                  <a:pt x="44" y="10"/>
                </a:lnTo>
                <a:lnTo>
                  <a:pt x="44" y="13"/>
                </a:lnTo>
                <a:lnTo>
                  <a:pt x="38" y="13"/>
                </a:lnTo>
                <a:lnTo>
                  <a:pt x="34" y="13"/>
                </a:lnTo>
                <a:lnTo>
                  <a:pt x="31" y="16"/>
                </a:lnTo>
                <a:lnTo>
                  <a:pt x="31" y="16"/>
                </a:lnTo>
                <a:lnTo>
                  <a:pt x="28" y="13"/>
                </a:lnTo>
                <a:lnTo>
                  <a:pt x="25" y="13"/>
                </a:lnTo>
                <a:lnTo>
                  <a:pt x="25" y="19"/>
                </a:lnTo>
                <a:lnTo>
                  <a:pt x="22" y="16"/>
                </a:lnTo>
                <a:lnTo>
                  <a:pt x="19" y="16"/>
                </a:lnTo>
                <a:lnTo>
                  <a:pt x="13" y="16"/>
                </a:lnTo>
                <a:lnTo>
                  <a:pt x="9" y="13"/>
                </a:lnTo>
                <a:lnTo>
                  <a:pt x="9" y="6"/>
                </a:lnTo>
                <a:lnTo>
                  <a:pt x="6" y="6"/>
                </a:lnTo>
                <a:lnTo>
                  <a:pt x="3" y="6"/>
                </a:lnTo>
                <a:lnTo>
                  <a:pt x="0" y="3"/>
                </a:lnTo>
                <a:lnTo>
                  <a:pt x="3" y="0"/>
                </a:lnTo>
                <a:lnTo>
                  <a:pt x="6"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5" name="Freeform 173">
            <a:extLst>
              <a:ext uri="{FF2B5EF4-FFF2-40B4-BE49-F238E27FC236}">
                <a16:creationId xmlns:a16="http://schemas.microsoft.com/office/drawing/2014/main" id="{583C1B08-E6C0-599B-A719-1F568E64D1BC}"/>
              </a:ext>
            </a:extLst>
          </p:cNvPr>
          <p:cNvSpPr>
            <a:spLocks noEditPoints="1"/>
          </p:cNvSpPr>
          <p:nvPr userDrawn="1"/>
        </p:nvSpPr>
        <p:spPr bwMode="auto">
          <a:xfrm>
            <a:off x="8603687" y="8086005"/>
            <a:ext cx="168267" cy="139702"/>
          </a:xfrm>
          <a:custGeom>
            <a:avLst/>
            <a:gdLst>
              <a:gd name="T0" fmla="*/ 15 w 17"/>
              <a:gd name="T1" fmla="*/ 13 h 14"/>
              <a:gd name="T2" fmla="*/ 16 w 17"/>
              <a:gd name="T3" fmla="*/ 10 h 14"/>
              <a:gd name="T4" fmla="*/ 16 w 17"/>
              <a:gd name="T5" fmla="*/ 8 h 14"/>
              <a:gd name="T6" fmla="*/ 17 w 17"/>
              <a:gd name="T7" fmla="*/ 7 h 14"/>
              <a:gd name="T8" fmla="*/ 17 w 17"/>
              <a:gd name="T9" fmla="*/ 5 h 14"/>
              <a:gd name="T10" fmla="*/ 17 w 17"/>
              <a:gd name="T11" fmla="*/ 3 h 14"/>
              <a:gd name="T12" fmla="*/ 16 w 17"/>
              <a:gd name="T13" fmla="*/ 3 h 14"/>
              <a:gd name="T14" fmla="*/ 14 w 17"/>
              <a:gd name="T15" fmla="*/ 2 h 14"/>
              <a:gd name="T16" fmla="*/ 10 w 17"/>
              <a:gd name="T17" fmla="*/ 2 h 14"/>
              <a:gd name="T18" fmla="*/ 7 w 17"/>
              <a:gd name="T19" fmla="*/ 2 h 14"/>
              <a:gd name="T20" fmla="*/ 8 w 17"/>
              <a:gd name="T21" fmla="*/ 3 h 14"/>
              <a:gd name="T22" fmla="*/ 11 w 17"/>
              <a:gd name="T23" fmla="*/ 5 h 14"/>
              <a:gd name="T24" fmla="*/ 11 w 17"/>
              <a:gd name="T25" fmla="*/ 7 h 14"/>
              <a:gd name="T26" fmla="*/ 13 w 17"/>
              <a:gd name="T27" fmla="*/ 9 h 14"/>
              <a:gd name="T28" fmla="*/ 14 w 17"/>
              <a:gd name="T29" fmla="*/ 11 h 14"/>
              <a:gd name="T30" fmla="*/ 11 w 17"/>
              <a:gd name="T31" fmla="*/ 11 h 14"/>
              <a:gd name="T32" fmla="*/ 8 w 17"/>
              <a:gd name="T33" fmla="*/ 11 h 14"/>
              <a:gd name="T34" fmla="*/ 5 w 17"/>
              <a:gd name="T35" fmla="*/ 11 h 14"/>
              <a:gd name="T36" fmla="*/ 5 w 17"/>
              <a:gd name="T37" fmla="*/ 10 h 14"/>
              <a:gd name="T38" fmla="*/ 2 w 17"/>
              <a:gd name="T39" fmla="*/ 10 h 14"/>
              <a:gd name="T40" fmla="*/ 0 w 17"/>
              <a:gd name="T41" fmla="*/ 11 h 14"/>
              <a:gd name="T42" fmla="*/ 2 w 17"/>
              <a:gd name="T43" fmla="*/ 12 h 14"/>
              <a:gd name="T44" fmla="*/ 4 w 17"/>
              <a:gd name="T45" fmla="*/ 14 h 14"/>
              <a:gd name="T46" fmla="*/ 5 w 17"/>
              <a:gd name="T47" fmla="*/ 13 h 14"/>
              <a:gd name="T48" fmla="*/ 9 w 17"/>
              <a:gd name="T49" fmla="*/ 13 h 14"/>
              <a:gd name="T50" fmla="*/ 13 w 17"/>
              <a:gd name="T51" fmla="*/ 13 h 14"/>
              <a:gd name="T52" fmla="*/ 15 w 17"/>
              <a:gd name="T53" fmla="*/ 14 h 14"/>
              <a:gd name="T54" fmla="*/ 11 w 17"/>
              <a:gd name="T55" fmla="*/ 0 h 14"/>
              <a:gd name="T56" fmla="*/ 11 w 17"/>
              <a:gd name="T57" fmla="*/ 1 h 14"/>
              <a:gd name="T58" fmla="*/ 7 w 17"/>
              <a:gd name="T59" fmla="*/ 8 h 14"/>
              <a:gd name="T60" fmla="*/ 10 w 17"/>
              <a:gd name="T61" fmla="*/ 8 h 14"/>
              <a:gd name="T62" fmla="*/ 8 w 17"/>
              <a:gd name="T63"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14">
                <a:moveTo>
                  <a:pt x="15" y="14"/>
                </a:moveTo>
                <a:cubicBezTo>
                  <a:pt x="15" y="13"/>
                  <a:pt x="15" y="13"/>
                  <a:pt x="15" y="13"/>
                </a:cubicBezTo>
                <a:cubicBezTo>
                  <a:pt x="16" y="11"/>
                  <a:pt x="16" y="11"/>
                  <a:pt x="16" y="11"/>
                </a:cubicBezTo>
                <a:cubicBezTo>
                  <a:pt x="16" y="10"/>
                  <a:pt x="16" y="10"/>
                  <a:pt x="16" y="10"/>
                </a:cubicBezTo>
                <a:cubicBezTo>
                  <a:pt x="16" y="9"/>
                  <a:pt x="16" y="9"/>
                  <a:pt x="16" y="9"/>
                </a:cubicBezTo>
                <a:cubicBezTo>
                  <a:pt x="16" y="8"/>
                  <a:pt x="16" y="8"/>
                  <a:pt x="16" y="8"/>
                </a:cubicBezTo>
                <a:cubicBezTo>
                  <a:pt x="16" y="8"/>
                  <a:pt x="16" y="8"/>
                  <a:pt x="16" y="8"/>
                </a:cubicBezTo>
                <a:cubicBezTo>
                  <a:pt x="17" y="7"/>
                  <a:pt x="17" y="7"/>
                  <a:pt x="17" y="7"/>
                </a:cubicBezTo>
                <a:cubicBezTo>
                  <a:pt x="17" y="6"/>
                  <a:pt x="17" y="6"/>
                  <a:pt x="17" y="6"/>
                </a:cubicBezTo>
                <a:cubicBezTo>
                  <a:pt x="17" y="5"/>
                  <a:pt x="17" y="5"/>
                  <a:pt x="17" y="5"/>
                </a:cubicBezTo>
                <a:cubicBezTo>
                  <a:pt x="17" y="4"/>
                  <a:pt x="17" y="4"/>
                  <a:pt x="17" y="4"/>
                </a:cubicBezTo>
                <a:cubicBezTo>
                  <a:pt x="17" y="3"/>
                  <a:pt x="17" y="3"/>
                  <a:pt x="17" y="3"/>
                </a:cubicBezTo>
                <a:cubicBezTo>
                  <a:pt x="17" y="3"/>
                  <a:pt x="17" y="3"/>
                  <a:pt x="17" y="3"/>
                </a:cubicBezTo>
                <a:cubicBezTo>
                  <a:pt x="16" y="3"/>
                  <a:pt x="16" y="3"/>
                  <a:pt x="16" y="3"/>
                </a:cubicBezTo>
                <a:cubicBezTo>
                  <a:pt x="15" y="3"/>
                  <a:pt x="15" y="3"/>
                  <a:pt x="15" y="3"/>
                </a:cubicBezTo>
                <a:cubicBezTo>
                  <a:pt x="14" y="2"/>
                  <a:pt x="14" y="2"/>
                  <a:pt x="14" y="2"/>
                </a:cubicBezTo>
                <a:cubicBezTo>
                  <a:pt x="11" y="2"/>
                  <a:pt x="11" y="2"/>
                  <a:pt x="11" y="2"/>
                </a:cubicBezTo>
                <a:cubicBezTo>
                  <a:pt x="10" y="2"/>
                  <a:pt x="10" y="2"/>
                  <a:pt x="10" y="2"/>
                </a:cubicBezTo>
                <a:cubicBezTo>
                  <a:pt x="9" y="2"/>
                  <a:pt x="9" y="2"/>
                  <a:pt x="9" y="2"/>
                </a:cubicBezTo>
                <a:cubicBezTo>
                  <a:pt x="7" y="2"/>
                  <a:pt x="7" y="2"/>
                  <a:pt x="7" y="2"/>
                </a:cubicBezTo>
                <a:cubicBezTo>
                  <a:pt x="7" y="2"/>
                  <a:pt x="7" y="2"/>
                  <a:pt x="7" y="2"/>
                </a:cubicBezTo>
                <a:cubicBezTo>
                  <a:pt x="7" y="2"/>
                  <a:pt x="8" y="3"/>
                  <a:pt x="8" y="3"/>
                </a:cubicBezTo>
                <a:cubicBezTo>
                  <a:pt x="11" y="4"/>
                  <a:pt x="11" y="4"/>
                  <a:pt x="11" y="4"/>
                </a:cubicBezTo>
                <a:cubicBezTo>
                  <a:pt x="11" y="5"/>
                  <a:pt x="11" y="5"/>
                  <a:pt x="11" y="5"/>
                </a:cubicBezTo>
                <a:cubicBezTo>
                  <a:pt x="11" y="6"/>
                  <a:pt x="11" y="6"/>
                  <a:pt x="11" y="6"/>
                </a:cubicBezTo>
                <a:cubicBezTo>
                  <a:pt x="11" y="7"/>
                  <a:pt x="11" y="7"/>
                  <a:pt x="11" y="7"/>
                </a:cubicBezTo>
                <a:cubicBezTo>
                  <a:pt x="11" y="8"/>
                  <a:pt x="11" y="8"/>
                  <a:pt x="11" y="8"/>
                </a:cubicBezTo>
                <a:cubicBezTo>
                  <a:pt x="13" y="9"/>
                  <a:pt x="13" y="9"/>
                  <a:pt x="13" y="9"/>
                </a:cubicBezTo>
                <a:cubicBezTo>
                  <a:pt x="14" y="10"/>
                  <a:pt x="14" y="10"/>
                  <a:pt x="14" y="10"/>
                </a:cubicBezTo>
                <a:cubicBezTo>
                  <a:pt x="14" y="11"/>
                  <a:pt x="14" y="11"/>
                  <a:pt x="14" y="11"/>
                </a:cubicBezTo>
                <a:cubicBezTo>
                  <a:pt x="11" y="11"/>
                  <a:pt x="11" y="11"/>
                  <a:pt x="11" y="11"/>
                </a:cubicBezTo>
                <a:cubicBezTo>
                  <a:pt x="11" y="11"/>
                  <a:pt x="11" y="11"/>
                  <a:pt x="11" y="11"/>
                </a:cubicBezTo>
                <a:cubicBezTo>
                  <a:pt x="9" y="11"/>
                  <a:pt x="9" y="11"/>
                  <a:pt x="9" y="11"/>
                </a:cubicBezTo>
                <a:cubicBezTo>
                  <a:pt x="8" y="11"/>
                  <a:pt x="8" y="11"/>
                  <a:pt x="8" y="11"/>
                </a:cubicBezTo>
                <a:cubicBezTo>
                  <a:pt x="7" y="10"/>
                  <a:pt x="7" y="10"/>
                  <a:pt x="7" y="10"/>
                </a:cubicBezTo>
                <a:cubicBezTo>
                  <a:pt x="5" y="11"/>
                  <a:pt x="5" y="11"/>
                  <a:pt x="5" y="11"/>
                </a:cubicBezTo>
                <a:cubicBezTo>
                  <a:pt x="5" y="10"/>
                  <a:pt x="5" y="10"/>
                  <a:pt x="5" y="10"/>
                </a:cubicBezTo>
                <a:cubicBezTo>
                  <a:pt x="5" y="10"/>
                  <a:pt x="5" y="10"/>
                  <a:pt x="5" y="10"/>
                </a:cubicBezTo>
                <a:cubicBezTo>
                  <a:pt x="3" y="11"/>
                  <a:pt x="3" y="11"/>
                  <a:pt x="3" y="11"/>
                </a:cubicBezTo>
                <a:cubicBezTo>
                  <a:pt x="2" y="10"/>
                  <a:pt x="2" y="10"/>
                  <a:pt x="2" y="10"/>
                </a:cubicBezTo>
                <a:cubicBezTo>
                  <a:pt x="0" y="10"/>
                  <a:pt x="0" y="10"/>
                  <a:pt x="0" y="10"/>
                </a:cubicBezTo>
                <a:cubicBezTo>
                  <a:pt x="0" y="11"/>
                  <a:pt x="0" y="11"/>
                  <a:pt x="0" y="11"/>
                </a:cubicBezTo>
                <a:cubicBezTo>
                  <a:pt x="0" y="12"/>
                  <a:pt x="0" y="12"/>
                  <a:pt x="0" y="12"/>
                </a:cubicBezTo>
                <a:cubicBezTo>
                  <a:pt x="2" y="12"/>
                  <a:pt x="2" y="12"/>
                  <a:pt x="2" y="12"/>
                </a:cubicBezTo>
                <a:cubicBezTo>
                  <a:pt x="3" y="14"/>
                  <a:pt x="3" y="14"/>
                  <a:pt x="3" y="14"/>
                </a:cubicBezTo>
                <a:cubicBezTo>
                  <a:pt x="4" y="14"/>
                  <a:pt x="4" y="14"/>
                  <a:pt x="4" y="14"/>
                </a:cubicBezTo>
                <a:cubicBezTo>
                  <a:pt x="4" y="13"/>
                  <a:pt x="4" y="13"/>
                  <a:pt x="4" y="13"/>
                </a:cubicBezTo>
                <a:cubicBezTo>
                  <a:pt x="5" y="13"/>
                  <a:pt x="5" y="13"/>
                  <a:pt x="5" y="13"/>
                </a:cubicBezTo>
                <a:cubicBezTo>
                  <a:pt x="7" y="13"/>
                  <a:pt x="7" y="13"/>
                  <a:pt x="7" y="13"/>
                </a:cubicBezTo>
                <a:cubicBezTo>
                  <a:pt x="9" y="13"/>
                  <a:pt x="9" y="13"/>
                  <a:pt x="9" y="13"/>
                </a:cubicBezTo>
                <a:cubicBezTo>
                  <a:pt x="12" y="13"/>
                  <a:pt x="12" y="13"/>
                  <a:pt x="12" y="13"/>
                </a:cubicBezTo>
                <a:cubicBezTo>
                  <a:pt x="13" y="13"/>
                  <a:pt x="13" y="13"/>
                  <a:pt x="13" y="13"/>
                </a:cubicBezTo>
                <a:cubicBezTo>
                  <a:pt x="14" y="13"/>
                  <a:pt x="14" y="13"/>
                  <a:pt x="14" y="13"/>
                </a:cubicBezTo>
                <a:cubicBezTo>
                  <a:pt x="15" y="14"/>
                  <a:pt x="15" y="14"/>
                  <a:pt x="15" y="14"/>
                </a:cubicBezTo>
                <a:close/>
                <a:moveTo>
                  <a:pt x="10" y="0"/>
                </a:moveTo>
                <a:cubicBezTo>
                  <a:pt x="11" y="0"/>
                  <a:pt x="11" y="0"/>
                  <a:pt x="11" y="0"/>
                </a:cubicBezTo>
                <a:cubicBezTo>
                  <a:pt x="13" y="1"/>
                  <a:pt x="13" y="1"/>
                  <a:pt x="13" y="1"/>
                </a:cubicBezTo>
                <a:cubicBezTo>
                  <a:pt x="11" y="1"/>
                  <a:pt x="11" y="1"/>
                  <a:pt x="11" y="1"/>
                </a:cubicBezTo>
                <a:cubicBezTo>
                  <a:pt x="10" y="0"/>
                  <a:pt x="10" y="0"/>
                  <a:pt x="10" y="0"/>
                </a:cubicBezTo>
                <a:close/>
                <a:moveTo>
                  <a:pt x="7" y="8"/>
                </a:moveTo>
                <a:cubicBezTo>
                  <a:pt x="9" y="7"/>
                  <a:pt x="9" y="7"/>
                  <a:pt x="9" y="7"/>
                </a:cubicBezTo>
                <a:cubicBezTo>
                  <a:pt x="10" y="8"/>
                  <a:pt x="10" y="8"/>
                  <a:pt x="10" y="8"/>
                </a:cubicBezTo>
                <a:cubicBezTo>
                  <a:pt x="10" y="9"/>
                  <a:pt x="10" y="9"/>
                  <a:pt x="10" y="9"/>
                </a:cubicBezTo>
                <a:cubicBezTo>
                  <a:pt x="8" y="9"/>
                  <a:pt x="8" y="9"/>
                  <a:pt x="8" y="9"/>
                </a:cubicBezTo>
                <a:lnTo>
                  <a:pt x="7" y="8"/>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6" name="Freeform 174">
            <a:extLst>
              <a:ext uri="{FF2B5EF4-FFF2-40B4-BE49-F238E27FC236}">
                <a16:creationId xmlns:a16="http://schemas.microsoft.com/office/drawing/2014/main" id="{68F24B00-3D21-7270-2EA8-68ACA1209A96}"/>
              </a:ext>
            </a:extLst>
          </p:cNvPr>
          <p:cNvSpPr>
            <a:spLocks noEditPoints="1"/>
          </p:cNvSpPr>
          <p:nvPr userDrawn="1"/>
        </p:nvSpPr>
        <p:spPr bwMode="auto">
          <a:xfrm>
            <a:off x="7959204" y="7876461"/>
            <a:ext cx="663533" cy="238126"/>
          </a:xfrm>
          <a:custGeom>
            <a:avLst/>
            <a:gdLst>
              <a:gd name="T0" fmla="*/ 44 w 209"/>
              <a:gd name="T1" fmla="*/ 28 h 75"/>
              <a:gd name="T2" fmla="*/ 44 w 209"/>
              <a:gd name="T3" fmla="*/ 38 h 75"/>
              <a:gd name="T4" fmla="*/ 41 w 209"/>
              <a:gd name="T5" fmla="*/ 34 h 75"/>
              <a:gd name="T6" fmla="*/ 41 w 209"/>
              <a:gd name="T7" fmla="*/ 31 h 75"/>
              <a:gd name="T8" fmla="*/ 13 w 209"/>
              <a:gd name="T9" fmla="*/ 19 h 75"/>
              <a:gd name="T10" fmla="*/ 9 w 209"/>
              <a:gd name="T11" fmla="*/ 22 h 75"/>
              <a:gd name="T12" fmla="*/ 0 w 209"/>
              <a:gd name="T13" fmla="*/ 28 h 75"/>
              <a:gd name="T14" fmla="*/ 9 w 209"/>
              <a:gd name="T15" fmla="*/ 25 h 75"/>
              <a:gd name="T16" fmla="*/ 19 w 209"/>
              <a:gd name="T17" fmla="*/ 25 h 75"/>
              <a:gd name="T18" fmla="*/ 28 w 209"/>
              <a:gd name="T19" fmla="*/ 19 h 75"/>
              <a:gd name="T20" fmla="*/ 41 w 209"/>
              <a:gd name="T21" fmla="*/ 13 h 75"/>
              <a:gd name="T22" fmla="*/ 53 w 209"/>
              <a:gd name="T23" fmla="*/ 13 h 75"/>
              <a:gd name="T24" fmla="*/ 69 w 209"/>
              <a:gd name="T25" fmla="*/ 16 h 75"/>
              <a:gd name="T26" fmla="*/ 56 w 209"/>
              <a:gd name="T27" fmla="*/ 19 h 75"/>
              <a:gd name="T28" fmla="*/ 75 w 209"/>
              <a:gd name="T29" fmla="*/ 22 h 75"/>
              <a:gd name="T30" fmla="*/ 88 w 209"/>
              <a:gd name="T31" fmla="*/ 25 h 75"/>
              <a:gd name="T32" fmla="*/ 94 w 209"/>
              <a:gd name="T33" fmla="*/ 25 h 75"/>
              <a:gd name="T34" fmla="*/ 106 w 209"/>
              <a:gd name="T35" fmla="*/ 31 h 75"/>
              <a:gd name="T36" fmla="*/ 116 w 209"/>
              <a:gd name="T37" fmla="*/ 34 h 75"/>
              <a:gd name="T38" fmla="*/ 125 w 209"/>
              <a:gd name="T39" fmla="*/ 34 h 75"/>
              <a:gd name="T40" fmla="*/ 138 w 209"/>
              <a:gd name="T41" fmla="*/ 53 h 75"/>
              <a:gd name="T42" fmla="*/ 150 w 209"/>
              <a:gd name="T43" fmla="*/ 53 h 75"/>
              <a:gd name="T44" fmla="*/ 153 w 209"/>
              <a:gd name="T45" fmla="*/ 63 h 75"/>
              <a:gd name="T46" fmla="*/ 144 w 209"/>
              <a:gd name="T47" fmla="*/ 72 h 75"/>
              <a:gd name="T48" fmla="*/ 156 w 209"/>
              <a:gd name="T49" fmla="*/ 72 h 75"/>
              <a:gd name="T50" fmla="*/ 178 w 209"/>
              <a:gd name="T51" fmla="*/ 75 h 75"/>
              <a:gd name="T52" fmla="*/ 194 w 209"/>
              <a:gd name="T53" fmla="*/ 69 h 75"/>
              <a:gd name="T54" fmla="*/ 206 w 209"/>
              <a:gd name="T55" fmla="*/ 66 h 75"/>
              <a:gd name="T56" fmla="*/ 203 w 209"/>
              <a:gd name="T57" fmla="*/ 60 h 75"/>
              <a:gd name="T58" fmla="*/ 184 w 209"/>
              <a:gd name="T59" fmla="*/ 53 h 75"/>
              <a:gd name="T60" fmla="*/ 184 w 209"/>
              <a:gd name="T61" fmla="*/ 44 h 75"/>
              <a:gd name="T62" fmla="*/ 175 w 209"/>
              <a:gd name="T63" fmla="*/ 44 h 75"/>
              <a:gd name="T64" fmla="*/ 163 w 209"/>
              <a:gd name="T65" fmla="*/ 38 h 75"/>
              <a:gd name="T66" fmla="*/ 153 w 209"/>
              <a:gd name="T67" fmla="*/ 34 h 75"/>
              <a:gd name="T68" fmla="*/ 150 w 209"/>
              <a:gd name="T69" fmla="*/ 34 h 75"/>
              <a:gd name="T70" fmla="*/ 134 w 209"/>
              <a:gd name="T71" fmla="*/ 25 h 75"/>
              <a:gd name="T72" fmla="*/ 116 w 209"/>
              <a:gd name="T73" fmla="*/ 19 h 75"/>
              <a:gd name="T74" fmla="*/ 106 w 209"/>
              <a:gd name="T75" fmla="*/ 6 h 75"/>
              <a:gd name="T76" fmla="*/ 84 w 209"/>
              <a:gd name="T77" fmla="*/ 3 h 75"/>
              <a:gd name="T78" fmla="*/ 72 w 209"/>
              <a:gd name="T79" fmla="*/ 0 h 75"/>
              <a:gd name="T80" fmla="*/ 50 w 209"/>
              <a:gd name="T81" fmla="*/ 3 h 75"/>
              <a:gd name="T82" fmla="*/ 28 w 209"/>
              <a:gd name="T83" fmla="*/ 6 h 75"/>
              <a:gd name="T84" fmla="*/ 13 w 209"/>
              <a:gd name="T85" fmla="*/ 1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9" h="75">
                <a:moveTo>
                  <a:pt x="41" y="28"/>
                </a:moveTo>
                <a:lnTo>
                  <a:pt x="41" y="25"/>
                </a:lnTo>
                <a:lnTo>
                  <a:pt x="44" y="28"/>
                </a:lnTo>
                <a:lnTo>
                  <a:pt x="50" y="31"/>
                </a:lnTo>
                <a:lnTo>
                  <a:pt x="47" y="34"/>
                </a:lnTo>
                <a:lnTo>
                  <a:pt x="44" y="38"/>
                </a:lnTo>
                <a:lnTo>
                  <a:pt x="38" y="34"/>
                </a:lnTo>
                <a:lnTo>
                  <a:pt x="38" y="31"/>
                </a:lnTo>
                <a:lnTo>
                  <a:pt x="41" y="34"/>
                </a:lnTo>
                <a:lnTo>
                  <a:pt x="41" y="34"/>
                </a:lnTo>
                <a:lnTo>
                  <a:pt x="44" y="31"/>
                </a:lnTo>
                <a:lnTo>
                  <a:pt x="41" y="31"/>
                </a:lnTo>
                <a:lnTo>
                  <a:pt x="41" y="28"/>
                </a:lnTo>
                <a:lnTo>
                  <a:pt x="41" y="28"/>
                </a:lnTo>
                <a:close/>
                <a:moveTo>
                  <a:pt x="13" y="19"/>
                </a:moveTo>
                <a:lnTo>
                  <a:pt x="16" y="22"/>
                </a:lnTo>
                <a:lnTo>
                  <a:pt x="13" y="25"/>
                </a:lnTo>
                <a:lnTo>
                  <a:pt x="9" y="22"/>
                </a:lnTo>
                <a:lnTo>
                  <a:pt x="3" y="28"/>
                </a:lnTo>
                <a:lnTo>
                  <a:pt x="0" y="25"/>
                </a:lnTo>
                <a:lnTo>
                  <a:pt x="0" y="28"/>
                </a:lnTo>
                <a:lnTo>
                  <a:pt x="3" y="31"/>
                </a:lnTo>
                <a:lnTo>
                  <a:pt x="9" y="25"/>
                </a:lnTo>
                <a:lnTo>
                  <a:pt x="9" y="25"/>
                </a:lnTo>
                <a:lnTo>
                  <a:pt x="9" y="28"/>
                </a:lnTo>
                <a:lnTo>
                  <a:pt x="16" y="28"/>
                </a:lnTo>
                <a:lnTo>
                  <a:pt x="19" y="25"/>
                </a:lnTo>
                <a:lnTo>
                  <a:pt x="22" y="22"/>
                </a:lnTo>
                <a:lnTo>
                  <a:pt x="28" y="22"/>
                </a:lnTo>
                <a:lnTo>
                  <a:pt x="28" y="19"/>
                </a:lnTo>
                <a:lnTo>
                  <a:pt x="31" y="22"/>
                </a:lnTo>
                <a:lnTo>
                  <a:pt x="34" y="22"/>
                </a:lnTo>
                <a:lnTo>
                  <a:pt x="41" y="13"/>
                </a:lnTo>
                <a:lnTo>
                  <a:pt x="44" y="13"/>
                </a:lnTo>
                <a:lnTo>
                  <a:pt x="47" y="9"/>
                </a:lnTo>
                <a:lnTo>
                  <a:pt x="53" y="13"/>
                </a:lnTo>
                <a:lnTo>
                  <a:pt x="56" y="13"/>
                </a:lnTo>
                <a:lnTo>
                  <a:pt x="66" y="13"/>
                </a:lnTo>
                <a:lnTo>
                  <a:pt x="69" y="16"/>
                </a:lnTo>
                <a:lnTo>
                  <a:pt x="66" y="16"/>
                </a:lnTo>
                <a:lnTo>
                  <a:pt x="59" y="16"/>
                </a:lnTo>
                <a:lnTo>
                  <a:pt x="56" y="19"/>
                </a:lnTo>
                <a:lnTo>
                  <a:pt x="59" y="22"/>
                </a:lnTo>
                <a:lnTo>
                  <a:pt x="72" y="22"/>
                </a:lnTo>
                <a:lnTo>
                  <a:pt x="75" y="22"/>
                </a:lnTo>
                <a:lnTo>
                  <a:pt x="78" y="22"/>
                </a:lnTo>
                <a:lnTo>
                  <a:pt x="81" y="25"/>
                </a:lnTo>
                <a:lnTo>
                  <a:pt x="88" y="25"/>
                </a:lnTo>
                <a:lnTo>
                  <a:pt x="91" y="25"/>
                </a:lnTo>
                <a:lnTo>
                  <a:pt x="91" y="22"/>
                </a:lnTo>
                <a:lnTo>
                  <a:pt x="94" y="25"/>
                </a:lnTo>
                <a:lnTo>
                  <a:pt x="94" y="25"/>
                </a:lnTo>
                <a:lnTo>
                  <a:pt x="100" y="31"/>
                </a:lnTo>
                <a:lnTo>
                  <a:pt x="106" y="31"/>
                </a:lnTo>
                <a:lnTo>
                  <a:pt x="106" y="31"/>
                </a:lnTo>
                <a:lnTo>
                  <a:pt x="109" y="34"/>
                </a:lnTo>
                <a:lnTo>
                  <a:pt x="116" y="34"/>
                </a:lnTo>
                <a:lnTo>
                  <a:pt x="119" y="34"/>
                </a:lnTo>
                <a:lnTo>
                  <a:pt x="122" y="31"/>
                </a:lnTo>
                <a:lnTo>
                  <a:pt x="125" y="34"/>
                </a:lnTo>
                <a:lnTo>
                  <a:pt x="128" y="44"/>
                </a:lnTo>
                <a:lnTo>
                  <a:pt x="134" y="53"/>
                </a:lnTo>
                <a:lnTo>
                  <a:pt x="138" y="53"/>
                </a:lnTo>
                <a:lnTo>
                  <a:pt x="141" y="50"/>
                </a:lnTo>
                <a:lnTo>
                  <a:pt x="144" y="53"/>
                </a:lnTo>
                <a:lnTo>
                  <a:pt x="150" y="53"/>
                </a:lnTo>
                <a:lnTo>
                  <a:pt x="153" y="56"/>
                </a:lnTo>
                <a:lnTo>
                  <a:pt x="156" y="56"/>
                </a:lnTo>
                <a:lnTo>
                  <a:pt x="153" y="63"/>
                </a:lnTo>
                <a:lnTo>
                  <a:pt x="150" y="63"/>
                </a:lnTo>
                <a:lnTo>
                  <a:pt x="144" y="69"/>
                </a:lnTo>
                <a:lnTo>
                  <a:pt x="144" y="72"/>
                </a:lnTo>
                <a:lnTo>
                  <a:pt x="150" y="72"/>
                </a:lnTo>
                <a:lnTo>
                  <a:pt x="153" y="72"/>
                </a:lnTo>
                <a:lnTo>
                  <a:pt x="156" y="72"/>
                </a:lnTo>
                <a:lnTo>
                  <a:pt x="166" y="69"/>
                </a:lnTo>
                <a:lnTo>
                  <a:pt x="172" y="72"/>
                </a:lnTo>
                <a:lnTo>
                  <a:pt x="178" y="75"/>
                </a:lnTo>
                <a:lnTo>
                  <a:pt x="191" y="72"/>
                </a:lnTo>
                <a:lnTo>
                  <a:pt x="191" y="69"/>
                </a:lnTo>
                <a:lnTo>
                  <a:pt x="194" y="69"/>
                </a:lnTo>
                <a:lnTo>
                  <a:pt x="197" y="66"/>
                </a:lnTo>
                <a:lnTo>
                  <a:pt x="203" y="69"/>
                </a:lnTo>
                <a:lnTo>
                  <a:pt x="206" y="66"/>
                </a:lnTo>
                <a:lnTo>
                  <a:pt x="209" y="63"/>
                </a:lnTo>
                <a:lnTo>
                  <a:pt x="209" y="60"/>
                </a:lnTo>
                <a:lnTo>
                  <a:pt x="203" y="60"/>
                </a:lnTo>
                <a:lnTo>
                  <a:pt x="203" y="56"/>
                </a:lnTo>
                <a:lnTo>
                  <a:pt x="194" y="53"/>
                </a:lnTo>
                <a:lnTo>
                  <a:pt x="184" y="53"/>
                </a:lnTo>
                <a:lnTo>
                  <a:pt x="181" y="50"/>
                </a:lnTo>
                <a:lnTo>
                  <a:pt x="181" y="50"/>
                </a:lnTo>
                <a:lnTo>
                  <a:pt x="184" y="44"/>
                </a:lnTo>
                <a:lnTo>
                  <a:pt x="181" y="44"/>
                </a:lnTo>
                <a:lnTo>
                  <a:pt x="178" y="44"/>
                </a:lnTo>
                <a:lnTo>
                  <a:pt x="175" y="44"/>
                </a:lnTo>
                <a:lnTo>
                  <a:pt x="169" y="38"/>
                </a:lnTo>
                <a:lnTo>
                  <a:pt x="166" y="41"/>
                </a:lnTo>
                <a:lnTo>
                  <a:pt x="163" y="38"/>
                </a:lnTo>
                <a:lnTo>
                  <a:pt x="156" y="34"/>
                </a:lnTo>
                <a:lnTo>
                  <a:pt x="153" y="38"/>
                </a:lnTo>
                <a:lnTo>
                  <a:pt x="153" y="34"/>
                </a:lnTo>
                <a:lnTo>
                  <a:pt x="153" y="31"/>
                </a:lnTo>
                <a:lnTo>
                  <a:pt x="150" y="31"/>
                </a:lnTo>
                <a:lnTo>
                  <a:pt x="150" y="34"/>
                </a:lnTo>
                <a:lnTo>
                  <a:pt x="147" y="31"/>
                </a:lnTo>
                <a:lnTo>
                  <a:pt x="141" y="31"/>
                </a:lnTo>
                <a:lnTo>
                  <a:pt x="134" y="25"/>
                </a:lnTo>
                <a:lnTo>
                  <a:pt x="131" y="22"/>
                </a:lnTo>
                <a:lnTo>
                  <a:pt x="125" y="19"/>
                </a:lnTo>
                <a:lnTo>
                  <a:pt x="116" y="19"/>
                </a:lnTo>
                <a:lnTo>
                  <a:pt x="113" y="16"/>
                </a:lnTo>
                <a:lnTo>
                  <a:pt x="109" y="13"/>
                </a:lnTo>
                <a:lnTo>
                  <a:pt x="106" y="6"/>
                </a:lnTo>
                <a:lnTo>
                  <a:pt x="100" y="9"/>
                </a:lnTo>
                <a:lnTo>
                  <a:pt x="100" y="6"/>
                </a:lnTo>
                <a:lnTo>
                  <a:pt x="84" y="3"/>
                </a:lnTo>
                <a:lnTo>
                  <a:pt x="81" y="6"/>
                </a:lnTo>
                <a:lnTo>
                  <a:pt x="75" y="3"/>
                </a:lnTo>
                <a:lnTo>
                  <a:pt x="72" y="0"/>
                </a:lnTo>
                <a:lnTo>
                  <a:pt x="63" y="0"/>
                </a:lnTo>
                <a:lnTo>
                  <a:pt x="53" y="0"/>
                </a:lnTo>
                <a:lnTo>
                  <a:pt x="50" y="3"/>
                </a:lnTo>
                <a:lnTo>
                  <a:pt x="38" y="3"/>
                </a:lnTo>
                <a:lnTo>
                  <a:pt x="31" y="3"/>
                </a:lnTo>
                <a:lnTo>
                  <a:pt x="28" y="6"/>
                </a:lnTo>
                <a:lnTo>
                  <a:pt x="19" y="9"/>
                </a:lnTo>
                <a:lnTo>
                  <a:pt x="16" y="13"/>
                </a:lnTo>
                <a:lnTo>
                  <a:pt x="13" y="16"/>
                </a:lnTo>
                <a:lnTo>
                  <a:pt x="13" y="1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7" name="Freeform 175">
            <a:extLst>
              <a:ext uri="{FF2B5EF4-FFF2-40B4-BE49-F238E27FC236}">
                <a16:creationId xmlns:a16="http://schemas.microsoft.com/office/drawing/2014/main" id="{F6F02A16-5D98-A7A9-926E-EDF41F9E6314}"/>
              </a:ext>
            </a:extLst>
          </p:cNvPr>
          <p:cNvSpPr>
            <a:spLocks noEditPoints="1"/>
          </p:cNvSpPr>
          <p:nvPr userDrawn="1"/>
        </p:nvSpPr>
        <p:spPr bwMode="auto">
          <a:xfrm>
            <a:off x="8365577" y="7619283"/>
            <a:ext cx="358753" cy="415926"/>
          </a:xfrm>
          <a:custGeom>
            <a:avLst/>
            <a:gdLst>
              <a:gd name="T0" fmla="*/ 106 w 113"/>
              <a:gd name="T1" fmla="*/ 115 h 131"/>
              <a:gd name="T2" fmla="*/ 91 w 113"/>
              <a:gd name="T3" fmla="*/ 131 h 131"/>
              <a:gd name="T4" fmla="*/ 106 w 113"/>
              <a:gd name="T5" fmla="*/ 122 h 131"/>
              <a:gd name="T6" fmla="*/ 97 w 113"/>
              <a:gd name="T7" fmla="*/ 122 h 131"/>
              <a:gd name="T8" fmla="*/ 91 w 113"/>
              <a:gd name="T9" fmla="*/ 131 h 131"/>
              <a:gd name="T10" fmla="*/ 113 w 113"/>
              <a:gd name="T11" fmla="*/ 100 h 131"/>
              <a:gd name="T12" fmla="*/ 106 w 113"/>
              <a:gd name="T13" fmla="*/ 100 h 131"/>
              <a:gd name="T14" fmla="*/ 94 w 113"/>
              <a:gd name="T15" fmla="*/ 90 h 131"/>
              <a:gd name="T16" fmla="*/ 85 w 113"/>
              <a:gd name="T17" fmla="*/ 97 h 131"/>
              <a:gd name="T18" fmla="*/ 85 w 113"/>
              <a:gd name="T19" fmla="*/ 100 h 131"/>
              <a:gd name="T20" fmla="*/ 94 w 113"/>
              <a:gd name="T21" fmla="*/ 90 h 131"/>
              <a:gd name="T22" fmla="*/ 85 w 113"/>
              <a:gd name="T23" fmla="*/ 87 h 131"/>
              <a:gd name="T24" fmla="*/ 81 w 113"/>
              <a:gd name="T25" fmla="*/ 87 h 131"/>
              <a:gd name="T26" fmla="*/ 66 w 113"/>
              <a:gd name="T27" fmla="*/ 72 h 131"/>
              <a:gd name="T28" fmla="*/ 75 w 113"/>
              <a:gd name="T29" fmla="*/ 87 h 131"/>
              <a:gd name="T30" fmla="*/ 66 w 113"/>
              <a:gd name="T31" fmla="*/ 78 h 131"/>
              <a:gd name="T32" fmla="*/ 66 w 113"/>
              <a:gd name="T33" fmla="*/ 72 h 131"/>
              <a:gd name="T34" fmla="*/ 50 w 113"/>
              <a:gd name="T35" fmla="*/ 72 h 131"/>
              <a:gd name="T36" fmla="*/ 53 w 113"/>
              <a:gd name="T37" fmla="*/ 69 h 131"/>
              <a:gd name="T38" fmla="*/ 81 w 113"/>
              <a:gd name="T39" fmla="*/ 65 h 131"/>
              <a:gd name="T40" fmla="*/ 81 w 113"/>
              <a:gd name="T41" fmla="*/ 59 h 131"/>
              <a:gd name="T42" fmla="*/ 63 w 113"/>
              <a:gd name="T43" fmla="*/ 56 h 131"/>
              <a:gd name="T44" fmla="*/ 66 w 113"/>
              <a:gd name="T45" fmla="*/ 65 h 131"/>
              <a:gd name="T46" fmla="*/ 66 w 113"/>
              <a:gd name="T47" fmla="*/ 56 h 131"/>
              <a:gd name="T48" fmla="*/ 63 w 113"/>
              <a:gd name="T49" fmla="*/ 50 h 131"/>
              <a:gd name="T50" fmla="*/ 53 w 113"/>
              <a:gd name="T51" fmla="*/ 40 h 131"/>
              <a:gd name="T52" fmla="*/ 50 w 113"/>
              <a:gd name="T53" fmla="*/ 47 h 131"/>
              <a:gd name="T54" fmla="*/ 50 w 113"/>
              <a:gd name="T55" fmla="*/ 37 h 131"/>
              <a:gd name="T56" fmla="*/ 44 w 113"/>
              <a:gd name="T57" fmla="*/ 34 h 131"/>
              <a:gd name="T58" fmla="*/ 38 w 113"/>
              <a:gd name="T59" fmla="*/ 3 h 131"/>
              <a:gd name="T60" fmla="*/ 41 w 113"/>
              <a:gd name="T61" fmla="*/ 15 h 131"/>
              <a:gd name="T62" fmla="*/ 35 w 113"/>
              <a:gd name="T63" fmla="*/ 22 h 131"/>
              <a:gd name="T64" fmla="*/ 35 w 113"/>
              <a:gd name="T65" fmla="*/ 9 h 131"/>
              <a:gd name="T66" fmla="*/ 25 w 113"/>
              <a:gd name="T67" fmla="*/ 0 h 131"/>
              <a:gd name="T68" fmla="*/ 6 w 113"/>
              <a:gd name="T69" fmla="*/ 3 h 131"/>
              <a:gd name="T70" fmla="*/ 19 w 113"/>
              <a:gd name="T71" fmla="*/ 0 h 131"/>
              <a:gd name="T72" fmla="*/ 19 w 113"/>
              <a:gd name="T73" fmla="*/ 3 h 131"/>
              <a:gd name="T74" fmla="*/ 0 w 113"/>
              <a:gd name="T75" fmla="*/ 3 h 131"/>
              <a:gd name="T76" fmla="*/ 31 w 113"/>
              <a:gd name="T77" fmla="*/ 37 h 131"/>
              <a:gd name="T78" fmla="*/ 28 w 113"/>
              <a:gd name="T79" fmla="*/ 40 h 131"/>
              <a:gd name="T80" fmla="*/ 19 w 113"/>
              <a:gd name="T81" fmla="*/ 59 h 131"/>
              <a:gd name="T82" fmla="*/ 19 w 113"/>
              <a:gd name="T83" fmla="*/ 59 h 131"/>
              <a:gd name="T84" fmla="*/ 19 w 113"/>
              <a:gd name="T85" fmla="*/ 59 h 131"/>
              <a:gd name="T86" fmla="*/ 16 w 113"/>
              <a:gd name="T87" fmla="*/ 59 h 131"/>
              <a:gd name="T88" fmla="*/ 19 w 113"/>
              <a:gd name="T89" fmla="*/ 47 h 131"/>
              <a:gd name="T90" fmla="*/ 13 w 113"/>
              <a:gd name="T91" fmla="*/ 44 h 131"/>
              <a:gd name="T92" fmla="*/ 16 w 113"/>
              <a:gd name="T93" fmla="*/ 50 h 131"/>
              <a:gd name="T94" fmla="*/ 22 w 113"/>
              <a:gd name="T95" fmla="*/ 59 h 131"/>
              <a:gd name="T96" fmla="*/ 19 w 113"/>
              <a:gd name="T97" fmla="*/ 72 h 131"/>
              <a:gd name="T98" fmla="*/ 25 w 113"/>
              <a:gd name="T99" fmla="*/ 6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 h="131">
                <a:moveTo>
                  <a:pt x="106" y="119"/>
                </a:moveTo>
                <a:lnTo>
                  <a:pt x="106" y="119"/>
                </a:lnTo>
                <a:lnTo>
                  <a:pt x="106" y="115"/>
                </a:lnTo>
                <a:lnTo>
                  <a:pt x="106" y="119"/>
                </a:lnTo>
                <a:lnTo>
                  <a:pt x="106" y="119"/>
                </a:lnTo>
                <a:close/>
                <a:moveTo>
                  <a:pt x="91" y="131"/>
                </a:moveTo>
                <a:lnTo>
                  <a:pt x="103" y="131"/>
                </a:lnTo>
                <a:lnTo>
                  <a:pt x="106" y="125"/>
                </a:lnTo>
                <a:lnTo>
                  <a:pt x="106" y="122"/>
                </a:lnTo>
                <a:lnTo>
                  <a:pt x="103" y="122"/>
                </a:lnTo>
                <a:lnTo>
                  <a:pt x="103" y="125"/>
                </a:lnTo>
                <a:lnTo>
                  <a:pt x="97" y="122"/>
                </a:lnTo>
                <a:lnTo>
                  <a:pt x="94" y="125"/>
                </a:lnTo>
                <a:lnTo>
                  <a:pt x="91" y="131"/>
                </a:lnTo>
                <a:lnTo>
                  <a:pt x="91" y="131"/>
                </a:lnTo>
                <a:close/>
                <a:moveTo>
                  <a:pt x="103" y="100"/>
                </a:moveTo>
                <a:lnTo>
                  <a:pt x="106" y="97"/>
                </a:lnTo>
                <a:lnTo>
                  <a:pt x="113" y="100"/>
                </a:lnTo>
                <a:lnTo>
                  <a:pt x="113" y="103"/>
                </a:lnTo>
                <a:lnTo>
                  <a:pt x="110" y="100"/>
                </a:lnTo>
                <a:lnTo>
                  <a:pt x="106" y="100"/>
                </a:lnTo>
                <a:lnTo>
                  <a:pt x="103" y="100"/>
                </a:lnTo>
                <a:lnTo>
                  <a:pt x="103" y="100"/>
                </a:lnTo>
                <a:close/>
                <a:moveTo>
                  <a:pt x="94" y="90"/>
                </a:moveTo>
                <a:lnTo>
                  <a:pt x="88" y="90"/>
                </a:lnTo>
                <a:lnTo>
                  <a:pt x="88" y="94"/>
                </a:lnTo>
                <a:lnTo>
                  <a:pt x="85" y="97"/>
                </a:lnTo>
                <a:lnTo>
                  <a:pt x="85" y="100"/>
                </a:lnTo>
                <a:lnTo>
                  <a:pt x="81" y="100"/>
                </a:lnTo>
                <a:lnTo>
                  <a:pt x="85" y="100"/>
                </a:lnTo>
                <a:lnTo>
                  <a:pt x="94" y="97"/>
                </a:lnTo>
                <a:lnTo>
                  <a:pt x="94" y="90"/>
                </a:lnTo>
                <a:lnTo>
                  <a:pt x="94" y="90"/>
                </a:lnTo>
                <a:lnTo>
                  <a:pt x="94" y="90"/>
                </a:lnTo>
                <a:close/>
                <a:moveTo>
                  <a:pt x="81" y="87"/>
                </a:moveTo>
                <a:lnTo>
                  <a:pt x="85" y="87"/>
                </a:lnTo>
                <a:lnTo>
                  <a:pt x="88" y="90"/>
                </a:lnTo>
                <a:lnTo>
                  <a:pt x="85" y="90"/>
                </a:lnTo>
                <a:lnTo>
                  <a:pt x="81" y="87"/>
                </a:lnTo>
                <a:lnTo>
                  <a:pt x="81" y="87"/>
                </a:lnTo>
                <a:lnTo>
                  <a:pt x="81" y="87"/>
                </a:lnTo>
                <a:close/>
                <a:moveTo>
                  <a:pt x="66" y="72"/>
                </a:moveTo>
                <a:lnTo>
                  <a:pt x="69" y="78"/>
                </a:lnTo>
                <a:lnTo>
                  <a:pt x="72" y="81"/>
                </a:lnTo>
                <a:lnTo>
                  <a:pt x="75" y="87"/>
                </a:lnTo>
                <a:lnTo>
                  <a:pt x="72" y="87"/>
                </a:lnTo>
                <a:lnTo>
                  <a:pt x="69" y="84"/>
                </a:lnTo>
                <a:lnTo>
                  <a:pt x="66" y="78"/>
                </a:lnTo>
                <a:lnTo>
                  <a:pt x="69" y="78"/>
                </a:lnTo>
                <a:lnTo>
                  <a:pt x="66" y="72"/>
                </a:lnTo>
                <a:lnTo>
                  <a:pt x="66" y="72"/>
                </a:lnTo>
                <a:lnTo>
                  <a:pt x="66" y="72"/>
                </a:lnTo>
                <a:close/>
                <a:moveTo>
                  <a:pt x="53" y="69"/>
                </a:moveTo>
                <a:lnTo>
                  <a:pt x="50" y="72"/>
                </a:lnTo>
                <a:lnTo>
                  <a:pt x="53" y="72"/>
                </a:lnTo>
                <a:lnTo>
                  <a:pt x="53" y="69"/>
                </a:lnTo>
                <a:lnTo>
                  <a:pt x="53" y="69"/>
                </a:lnTo>
                <a:close/>
                <a:moveTo>
                  <a:pt x="81" y="59"/>
                </a:moveTo>
                <a:lnTo>
                  <a:pt x="81" y="65"/>
                </a:lnTo>
                <a:lnTo>
                  <a:pt x="81" y="65"/>
                </a:lnTo>
                <a:lnTo>
                  <a:pt x="85" y="62"/>
                </a:lnTo>
                <a:lnTo>
                  <a:pt x="81" y="59"/>
                </a:lnTo>
                <a:lnTo>
                  <a:pt x="81" y="59"/>
                </a:lnTo>
                <a:close/>
                <a:moveTo>
                  <a:pt x="63" y="50"/>
                </a:moveTo>
                <a:lnTo>
                  <a:pt x="60" y="53"/>
                </a:lnTo>
                <a:lnTo>
                  <a:pt x="63" y="56"/>
                </a:lnTo>
                <a:lnTo>
                  <a:pt x="66" y="62"/>
                </a:lnTo>
                <a:lnTo>
                  <a:pt x="63" y="62"/>
                </a:lnTo>
                <a:lnTo>
                  <a:pt x="66" y="65"/>
                </a:lnTo>
                <a:lnTo>
                  <a:pt x="69" y="65"/>
                </a:lnTo>
                <a:lnTo>
                  <a:pt x="69" y="62"/>
                </a:lnTo>
                <a:lnTo>
                  <a:pt x="66" y="56"/>
                </a:lnTo>
                <a:lnTo>
                  <a:pt x="66" y="53"/>
                </a:lnTo>
                <a:lnTo>
                  <a:pt x="63" y="50"/>
                </a:lnTo>
                <a:lnTo>
                  <a:pt x="63" y="50"/>
                </a:lnTo>
                <a:close/>
                <a:moveTo>
                  <a:pt x="44" y="34"/>
                </a:moveTo>
                <a:lnTo>
                  <a:pt x="50" y="37"/>
                </a:lnTo>
                <a:lnTo>
                  <a:pt x="53" y="40"/>
                </a:lnTo>
                <a:lnTo>
                  <a:pt x="53" y="47"/>
                </a:lnTo>
                <a:lnTo>
                  <a:pt x="50" y="47"/>
                </a:lnTo>
                <a:lnTo>
                  <a:pt x="50" y="47"/>
                </a:lnTo>
                <a:lnTo>
                  <a:pt x="50" y="44"/>
                </a:lnTo>
                <a:lnTo>
                  <a:pt x="53" y="40"/>
                </a:lnTo>
                <a:lnTo>
                  <a:pt x="50" y="37"/>
                </a:lnTo>
                <a:lnTo>
                  <a:pt x="44" y="37"/>
                </a:lnTo>
                <a:lnTo>
                  <a:pt x="44" y="34"/>
                </a:lnTo>
                <a:lnTo>
                  <a:pt x="44" y="34"/>
                </a:lnTo>
                <a:close/>
                <a:moveTo>
                  <a:pt x="25" y="0"/>
                </a:moveTo>
                <a:lnTo>
                  <a:pt x="31" y="0"/>
                </a:lnTo>
                <a:lnTo>
                  <a:pt x="38" y="3"/>
                </a:lnTo>
                <a:lnTo>
                  <a:pt x="38" y="6"/>
                </a:lnTo>
                <a:lnTo>
                  <a:pt x="41" y="9"/>
                </a:lnTo>
                <a:lnTo>
                  <a:pt x="41" y="15"/>
                </a:lnTo>
                <a:lnTo>
                  <a:pt x="38" y="15"/>
                </a:lnTo>
                <a:lnTo>
                  <a:pt x="38" y="19"/>
                </a:lnTo>
                <a:lnTo>
                  <a:pt x="35" y="22"/>
                </a:lnTo>
                <a:lnTo>
                  <a:pt x="35" y="15"/>
                </a:lnTo>
                <a:lnTo>
                  <a:pt x="35" y="12"/>
                </a:lnTo>
                <a:lnTo>
                  <a:pt x="35" y="9"/>
                </a:lnTo>
                <a:lnTo>
                  <a:pt x="31" y="6"/>
                </a:lnTo>
                <a:lnTo>
                  <a:pt x="31" y="0"/>
                </a:lnTo>
                <a:lnTo>
                  <a:pt x="25" y="0"/>
                </a:lnTo>
                <a:lnTo>
                  <a:pt x="25" y="0"/>
                </a:lnTo>
                <a:close/>
                <a:moveTo>
                  <a:pt x="0" y="3"/>
                </a:moveTo>
                <a:lnTo>
                  <a:pt x="6" y="3"/>
                </a:lnTo>
                <a:lnTo>
                  <a:pt x="10" y="6"/>
                </a:lnTo>
                <a:lnTo>
                  <a:pt x="16" y="0"/>
                </a:lnTo>
                <a:lnTo>
                  <a:pt x="19" y="0"/>
                </a:lnTo>
                <a:lnTo>
                  <a:pt x="25" y="6"/>
                </a:lnTo>
                <a:lnTo>
                  <a:pt x="22" y="6"/>
                </a:lnTo>
                <a:lnTo>
                  <a:pt x="19" y="3"/>
                </a:lnTo>
                <a:lnTo>
                  <a:pt x="10" y="9"/>
                </a:lnTo>
                <a:lnTo>
                  <a:pt x="6" y="9"/>
                </a:lnTo>
                <a:lnTo>
                  <a:pt x="0" y="3"/>
                </a:lnTo>
                <a:lnTo>
                  <a:pt x="0" y="3"/>
                </a:lnTo>
                <a:close/>
                <a:moveTo>
                  <a:pt x="25" y="40"/>
                </a:moveTo>
                <a:lnTo>
                  <a:pt x="31" y="37"/>
                </a:lnTo>
                <a:lnTo>
                  <a:pt x="35" y="37"/>
                </a:lnTo>
                <a:lnTo>
                  <a:pt x="35" y="40"/>
                </a:lnTo>
                <a:lnTo>
                  <a:pt x="28" y="40"/>
                </a:lnTo>
                <a:lnTo>
                  <a:pt x="25" y="40"/>
                </a:lnTo>
                <a:lnTo>
                  <a:pt x="25" y="40"/>
                </a:lnTo>
                <a:close/>
                <a:moveTo>
                  <a:pt x="19" y="59"/>
                </a:moveTo>
                <a:lnTo>
                  <a:pt x="19" y="56"/>
                </a:lnTo>
                <a:lnTo>
                  <a:pt x="22" y="56"/>
                </a:lnTo>
                <a:lnTo>
                  <a:pt x="19" y="59"/>
                </a:lnTo>
                <a:lnTo>
                  <a:pt x="19" y="59"/>
                </a:lnTo>
                <a:close/>
                <a:moveTo>
                  <a:pt x="16" y="59"/>
                </a:moveTo>
                <a:lnTo>
                  <a:pt x="19" y="59"/>
                </a:lnTo>
                <a:lnTo>
                  <a:pt x="19" y="62"/>
                </a:lnTo>
                <a:lnTo>
                  <a:pt x="16" y="59"/>
                </a:lnTo>
                <a:lnTo>
                  <a:pt x="16" y="59"/>
                </a:lnTo>
                <a:close/>
                <a:moveTo>
                  <a:pt x="16" y="56"/>
                </a:moveTo>
                <a:lnTo>
                  <a:pt x="22" y="53"/>
                </a:lnTo>
                <a:lnTo>
                  <a:pt x="19" y="47"/>
                </a:lnTo>
                <a:lnTo>
                  <a:pt x="19" y="40"/>
                </a:lnTo>
                <a:lnTo>
                  <a:pt x="16" y="40"/>
                </a:lnTo>
                <a:lnTo>
                  <a:pt x="13" y="44"/>
                </a:lnTo>
                <a:lnTo>
                  <a:pt x="10" y="50"/>
                </a:lnTo>
                <a:lnTo>
                  <a:pt x="13" y="53"/>
                </a:lnTo>
                <a:lnTo>
                  <a:pt x="16" y="50"/>
                </a:lnTo>
                <a:lnTo>
                  <a:pt x="16" y="56"/>
                </a:lnTo>
                <a:lnTo>
                  <a:pt x="16" y="56"/>
                </a:lnTo>
                <a:close/>
                <a:moveTo>
                  <a:pt x="22" y="59"/>
                </a:moveTo>
                <a:lnTo>
                  <a:pt x="19" y="62"/>
                </a:lnTo>
                <a:lnTo>
                  <a:pt x="19" y="65"/>
                </a:lnTo>
                <a:lnTo>
                  <a:pt x="19" y="72"/>
                </a:lnTo>
                <a:lnTo>
                  <a:pt x="22" y="72"/>
                </a:lnTo>
                <a:lnTo>
                  <a:pt x="25" y="65"/>
                </a:lnTo>
                <a:lnTo>
                  <a:pt x="25" y="65"/>
                </a:lnTo>
                <a:lnTo>
                  <a:pt x="25" y="62"/>
                </a:lnTo>
                <a:lnTo>
                  <a:pt x="22" y="5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8" name="Freeform 176">
            <a:extLst>
              <a:ext uri="{FF2B5EF4-FFF2-40B4-BE49-F238E27FC236}">
                <a16:creationId xmlns:a16="http://schemas.microsoft.com/office/drawing/2014/main" id="{2B5C1226-5034-C0ED-C1B7-C042AA27001C}"/>
              </a:ext>
            </a:extLst>
          </p:cNvPr>
          <p:cNvSpPr>
            <a:spLocks noEditPoints="1"/>
          </p:cNvSpPr>
          <p:nvPr userDrawn="1"/>
        </p:nvSpPr>
        <p:spPr bwMode="auto">
          <a:xfrm>
            <a:off x="5774945" y="5660309"/>
            <a:ext cx="3524021" cy="2076450"/>
          </a:xfrm>
          <a:custGeom>
            <a:avLst/>
            <a:gdLst>
              <a:gd name="T0" fmla="*/ 206 w 355"/>
              <a:gd name="T1" fmla="*/ 20 h 209"/>
              <a:gd name="T2" fmla="*/ 250 w 355"/>
              <a:gd name="T3" fmla="*/ 40 h 209"/>
              <a:gd name="T4" fmla="*/ 297 w 355"/>
              <a:gd name="T5" fmla="*/ 63 h 209"/>
              <a:gd name="T6" fmla="*/ 334 w 355"/>
              <a:gd name="T7" fmla="*/ 52 h 209"/>
              <a:gd name="T8" fmla="*/ 351 w 355"/>
              <a:gd name="T9" fmla="*/ 43 h 209"/>
              <a:gd name="T10" fmla="*/ 354 w 355"/>
              <a:gd name="T11" fmla="*/ 62 h 209"/>
              <a:gd name="T12" fmla="*/ 342 w 355"/>
              <a:gd name="T13" fmla="*/ 65 h 209"/>
              <a:gd name="T14" fmla="*/ 332 w 355"/>
              <a:gd name="T15" fmla="*/ 71 h 209"/>
              <a:gd name="T16" fmla="*/ 330 w 355"/>
              <a:gd name="T17" fmla="*/ 83 h 209"/>
              <a:gd name="T18" fmla="*/ 323 w 355"/>
              <a:gd name="T19" fmla="*/ 89 h 209"/>
              <a:gd name="T20" fmla="*/ 305 w 355"/>
              <a:gd name="T21" fmla="*/ 96 h 209"/>
              <a:gd name="T22" fmla="*/ 298 w 355"/>
              <a:gd name="T23" fmla="*/ 107 h 209"/>
              <a:gd name="T24" fmla="*/ 296 w 355"/>
              <a:gd name="T25" fmla="*/ 110 h 209"/>
              <a:gd name="T26" fmla="*/ 290 w 355"/>
              <a:gd name="T27" fmla="*/ 117 h 209"/>
              <a:gd name="T28" fmla="*/ 289 w 355"/>
              <a:gd name="T29" fmla="*/ 105 h 209"/>
              <a:gd name="T30" fmla="*/ 287 w 355"/>
              <a:gd name="T31" fmla="*/ 114 h 209"/>
              <a:gd name="T32" fmla="*/ 287 w 355"/>
              <a:gd name="T33" fmla="*/ 118 h 209"/>
              <a:gd name="T34" fmla="*/ 284 w 355"/>
              <a:gd name="T35" fmla="*/ 122 h 209"/>
              <a:gd name="T36" fmla="*/ 285 w 355"/>
              <a:gd name="T37" fmla="*/ 130 h 209"/>
              <a:gd name="T38" fmla="*/ 289 w 355"/>
              <a:gd name="T39" fmla="*/ 134 h 209"/>
              <a:gd name="T40" fmla="*/ 284 w 355"/>
              <a:gd name="T41" fmla="*/ 138 h 209"/>
              <a:gd name="T42" fmla="*/ 273 w 355"/>
              <a:gd name="T43" fmla="*/ 147 h 209"/>
              <a:gd name="T44" fmla="*/ 258 w 355"/>
              <a:gd name="T45" fmla="*/ 156 h 209"/>
              <a:gd name="T46" fmla="*/ 249 w 355"/>
              <a:gd name="T47" fmla="*/ 173 h 209"/>
              <a:gd name="T48" fmla="*/ 254 w 355"/>
              <a:gd name="T49" fmla="*/ 200 h 209"/>
              <a:gd name="T50" fmla="*/ 244 w 355"/>
              <a:gd name="T51" fmla="*/ 204 h 209"/>
              <a:gd name="T52" fmla="*/ 239 w 355"/>
              <a:gd name="T53" fmla="*/ 195 h 209"/>
              <a:gd name="T54" fmla="*/ 238 w 355"/>
              <a:gd name="T55" fmla="*/ 181 h 209"/>
              <a:gd name="T56" fmla="*/ 227 w 355"/>
              <a:gd name="T57" fmla="*/ 176 h 209"/>
              <a:gd name="T58" fmla="*/ 221 w 355"/>
              <a:gd name="T59" fmla="*/ 172 h 209"/>
              <a:gd name="T60" fmla="*/ 210 w 355"/>
              <a:gd name="T61" fmla="*/ 171 h 209"/>
              <a:gd name="T62" fmla="*/ 196 w 355"/>
              <a:gd name="T63" fmla="*/ 175 h 209"/>
              <a:gd name="T64" fmla="*/ 197 w 355"/>
              <a:gd name="T65" fmla="*/ 181 h 209"/>
              <a:gd name="T66" fmla="*/ 187 w 355"/>
              <a:gd name="T67" fmla="*/ 179 h 209"/>
              <a:gd name="T68" fmla="*/ 177 w 355"/>
              <a:gd name="T69" fmla="*/ 176 h 209"/>
              <a:gd name="T70" fmla="*/ 164 w 355"/>
              <a:gd name="T71" fmla="*/ 177 h 209"/>
              <a:gd name="T72" fmla="*/ 153 w 355"/>
              <a:gd name="T73" fmla="*/ 184 h 209"/>
              <a:gd name="T74" fmla="*/ 146 w 355"/>
              <a:gd name="T75" fmla="*/ 202 h 209"/>
              <a:gd name="T76" fmla="*/ 135 w 355"/>
              <a:gd name="T77" fmla="*/ 193 h 209"/>
              <a:gd name="T78" fmla="*/ 128 w 355"/>
              <a:gd name="T79" fmla="*/ 176 h 209"/>
              <a:gd name="T80" fmla="*/ 116 w 355"/>
              <a:gd name="T81" fmla="*/ 177 h 209"/>
              <a:gd name="T82" fmla="*/ 108 w 355"/>
              <a:gd name="T83" fmla="*/ 176 h 209"/>
              <a:gd name="T84" fmla="*/ 103 w 355"/>
              <a:gd name="T85" fmla="*/ 168 h 209"/>
              <a:gd name="T86" fmla="*/ 95 w 355"/>
              <a:gd name="T87" fmla="*/ 158 h 209"/>
              <a:gd name="T88" fmla="*/ 25 w 355"/>
              <a:gd name="T89" fmla="*/ 138 h 209"/>
              <a:gd name="T90" fmla="*/ 13 w 355"/>
              <a:gd name="T91" fmla="*/ 129 h 209"/>
              <a:gd name="T92" fmla="*/ 8 w 355"/>
              <a:gd name="T93" fmla="*/ 112 h 209"/>
              <a:gd name="T94" fmla="*/ 8 w 355"/>
              <a:gd name="T95" fmla="*/ 104 h 209"/>
              <a:gd name="T96" fmla="*/ 6 w 355"/>
              <a:gd name="T97" fmla="*/ 103 h 209"/>
              <a:gd name="T98" fmla="*/ 1 w 355"/>
              <a:gd name="T99" fmla="*/ 82 h 209"/>
              <a:gd name="T100" fmla="*/ 4 w 355"/>
              <a:gd name="T101" fmla="*/ 60 h 209"/>
              <a:gd name="T102" fmla="*/ 15 w 355"/>
              <a:gd name="T103" fmla="*/ 30 h 209"/>
              <a:gd name="T104" fmla="*/ 16 w 355"/>
              <a:gd name="T105" fmla="*/ 25 h 209"/>
              <a:gd name="T106" fmla="*/ 18 w 355"/>
              <a:gd name="T107" fmla="*/ 11 h 209"/>
              <a:gd name="T108" fmla="*/ 26 w 355"/>
              <a:gd name="T109" fmla="*/ 12 h 209"/>
              <a:gd name="T110" fmla="*/ 27 w 355"/>
              <a:gd name="T111" fmla="*/ 18 h 209"/>
              <a:gd name="T112" fmla="*/ 32 w 355"/>
              <a:gd name="T113" fmla="*/ 4 h 209"/>
              <a:gd name="T114" fmla="*/ 308 w 355"/>
              <a:gd name="T115" fmla="*/ 94 h 209"/>
              <a:gd name="T116" fmla="*/ 315 w 355"/>
              <a:gd name="T117" fmla="*/ 91 h 209"/>
              <a:gd name="T118" fmla="*/ 31 w 355"/>
              <a:gd name="T119" fmla="*/ 6 h 209"/>
              <a:gd name="T120" fmla="*/ 148 w 355"/>
              <a:gd name="T121" fmla="*/ 193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5" h="209">
                <a:moveTo>
                  <a:pt x="31" y="0"/>
                </a:moveTo>
                <a:cubicBezTo>
                  <a:pt x="194" y="16"/>
                  <a:pt x="194" y="16"/>
                  <a:pt x="194" y="16"/>
                </a:cubicBezTo>
                <a:cubicBezTo>
                  <a:pt x="195" y="16"/>
                  <a:pt x="195" y="16"/>
                  <a:pt x="195" y="16"/>
                </a:cubicBezTo>
                <a:cubicBezTo>
                  <a:pt x="196" y="16"/>
                  <a:pt x="196" y="16"/>
                  <a:pt x="196" y="16"/>
                </a:cubicBezTo>
                <a:cubicBezTo>
                  <a:pt x="198" y="17"/>
                  <a:pt x="198" y="17"/>
                  <a:pt x="198" y="17"/>
                </a:cubicBezTo>
                <a:cubicBezTo>
                  <a:pt x="198" y="18"/>
                  <a:pt x="198" y="18"/>
                  <a:pt x="198" y="18"/>
                </a:cubicBezTo>
                <a:cubicBezTo>
                  <a:pt x="199" y="18"/>
                  <a:pt x="199" y="18"/>
                  <a:pt x="199" y="18"/>
                </a:cubicBezTo>
                <a:cubicBezTo>
                  <a:pt x="199" y="19"/>
                  <a:pt x="199" y="19"/>
                  <a:pt x="199" y="19"/>
                </a:cubicBezTo>
                <a:cubicBezTo>
                  <a:pt x="200" y="19"/>
                  <a:pt x="200" y="19"/>
                  <a:pt x="200" y="19"/>
                </a:cubicBezTo>
                <a:cubicBezTo>
                  <a:pt x="200" y="19"/>
                  <a:pt x="200" y="19"/>
                  <a:pt x="200" y="19"/>
                </a:cubicBezTo>
                <a:cubicBezTo>
                  <a:pt x="202" y="20"/>
                  <a:pt x="202" y="20"/>
                  <a:pt x="202" y="20"/>
                </a:cubicBezTo>
                <a:cubicBezTo>
                  <a:pt x="202" y="21"/>
                  <a:pt x="202" y="21"/>
                  <a:pt x="202" y="21"/>
                </a:cubicBezTo>
                <a:cubicBezTo>
                  <a:pt x="203" y="20"/>
                  <a:pt x="203" y="20"/>
                  <a:pt x="203" y="20"/>
                </a:cubicBezTo>
                <a:cubicBezTo>
                  <a:pt x="204" y="20"/>
                  <a:pt x="204" y="20"/>
                  <a:pt x="204" y="20"/>
                </a:cubicBezTo>
                <a:cubicBezTo>
                  <a:pt x="205" y="20"/>
                  <a:pt x="205" y="20"/>
                  <a:pt x="205" y="20"/>
                </a:cubicBezTo>
                <a:cubicBezTo>
                  <a:pt x="206" y="20"/>
                  <a:pt x="206" y="20"/>
                  <a:pt x="206" y="20"/>
                </a:cubicBezTo>
                <a:cubicBezTo>
                  <a:pt x="208" y="21"/>
                  <a:pt x="208" y="21"/>
                  <a:pt x="208" y="21"/>
                </a:cubicBezTo>
                <a:cubicBezTo>
                  <a:pt x="209" y="21"/>
                  <a:pt x="209" y="21"/>
                  <a:pt x="209" y="21"/>
                </a:cubicBezTo>
                <a:cubicBezTo>
                  <a:pt x="209" y="23"/>
                  <a:pt x="209" y="23"/>
                  <a:pt x="209" y="23"/>
                </a:cubicBezTo>
                <a:cubicBezTo>
                  <a:pt x="211" y="24"/>
                  <a:pt x="211" y="24"/>
                  <a:pt x="211" y="24"/>
                </a:cubicBezTo>
                <a:cubicBezTo>
                  <a:pt x="213" y="24"/>
                  <a:pt x="213" y="24"/>
                  <a:pt x="213" y="24"/>
                </a:cubicBezTo>
                <a:cubicBezTo>
                  <a:pt x="213" y="25"/>
                  <a:pt x="213" y="25"/>
                  <a:pt x="213" y="25"/>
                </a:cubicBezTo>
                <a:cubicBezTo>
                  <a:pt x="214" y="25"/>
                  <a:pt x="214" y="25"/>
                  <a:pt x="214" y="25"/>
                </a:cubicBezTo>
                <a:cubicBezTo>
                  <a:pt x="216" y="25"/>
                  <a:pt x="216" y="25"/>
                  <a:pt x="216" y="25"/>
                </a:cubicBezTo>
                <a:cubicBezTo>
                  <a:pt x="217" y="25"/>
                  <a:pt x="217" y="25"/>
                  <a:pt x="217" y="25"/>
                </a:cubicBezTo>
                <a:cubicBezTo>
                  <a:pt x="218" y="25"/>
                  <a:pt x="218" y="25"/>
                  <a:pt x="218" y="25"/>
                </a:cubicBezTo>
                <a:cubicBezTo>
                  <a:pt x="219" y="26"/>
                  <a:pt x="219" y="26"/>
                  <a:pt x="219" y="26"/>
                </a:cubicBezTo>
                <a:cubicBezTo>
                  <a:pt x="222" y="26"/>
                  <a:pt x="222" y="26"/>
                  <a:pt x="222" y="26"/>
                </a:cubicBezTo>
                <a:cubicBezTo>
                  <a:pt x="222" y="27"/>
                  <a:pt x="222" y="27"/>
                  <a:pt x="222" y="27"/>
                </a:cubicBezTo>
                <a:cubicBezTo>
                  <a:pt x="224" y="27"/>
                  <a:pt x="224" y="27"/>
                  <a:pt x="224" y="27"/>
                </a:cubicBezTo>
                <a:cubicBezTo>
                  <a:pt x="225" y="28"/>
                  <a:pt x="225" y="28"/>
                  <a:pt x="225" y="28"/>
                </a:cubicBezTo>
                <a:cubicBezTo>
                  <a:pt x="250" y="40"/>
                  <a:pt x="250" y="40"/>
                  <a:pt x="250" y="40"/>
                </a:cubicBezTo>
                <a:cubicBezTo>
                  <a:pt x="251" y="42"/>
                  <a:pt x="251" y="42"/>
                  <a:pt x="251" y="42"/>
                </a:cubicBezTo>
                <a:cubicBezTo>
                  <a:pt x="255" y="45"/>
                  <a:pt x="255" y="45"/>
                  <a:pt x="255" y="45"/>
                </a:cubicBezTo>
                <a:cubicBezTo>
                  <a:pt x="259" y="64"/>
                  <a:pt x="259" y="64"/>
                  <a:pt x="259" y="64"/>
                </a:cubicBezTo>
                <a:cubicBezTo>
                  <a:pt x="259" y="73"/>
                  <a:pt x="259" y="73"/>
                  <a:pt x="259" y="73"/>
                </a:cubicBezTo>
                <a:cubicBezTo>
                  <a:pt x="258" y="74"/>
                  <a:pt x="258" y="74"/>
                  <a:pt x="258" y="74"/>
                </a:cubicBezTo>
                <a:cubicBezTo>
                  <a:pt x="257" y="75"/>
                  <a:pt x="257" y="75"/>
                  <a:pt x="257" y="75"/>
                </a:cubicBezTo>
                <a:cubicBezTo>
                  <a:pt x="256" y="77"/>
                  <a:pt x="256" y="77"/>
                  <a:pt x="256" y="77"/>
                </a:cubicBezTo>
                <a:cubicBezTo>
                  <a:pt x="254" y="78"/>
                  <a:pt x="254" y="78"/>
                  <a:pt x="254" y="78"/>
                </a:cubicBezTo>
                <a:cubicBezTo>
                  <a:pt x="253" y="79"/>
                  <a:pt x="253" y="79"/>
                  <a:pt x="253" y="79"/>
                </a:cubicBezTo>
                <a:cubicBezTo>
                  <a:pt x="254" y="81"/>
                  <a:pt x="254" y="81"/>
                  <a:pt x="254" y="81"/>
                </a:cubicBezTo>
                <a:cubicBezTo>
                  <a:pt x="275" y="76"/>
                  <a:pt x="275" y="76"/>
                  <a:pt x="275" y="76"/>
                </a:cubicBezTo>
                <a:cubicBezTo>
                  <a:pt x="278" y="75"/>
                  <a:pt x="278" y="75"/>
                  <a:pt x="278" y="75"/>
                </a:cubicBezTo>
                <a:cubicBezTo>
                  <a:pt x="279" y="72"/>
                  <a:pt x="279" y="72"/>
                  <a:pt x="279" y="72"/>
                </a:cubicBezTo>
                <a:cubicBezTo>
                  <a:pt x="291" y="68"/>
                  <a:pt x="291" y="68"/>
                  <a:pt x="291" y="68"/>
                </a:cubicBezTo>
                <a:cubicBezTo>
                  <a:pt x="296" y="64"/>
                  <a:pt x="296" y="64"/>
                  <a:pt x="296" y="64"/>
                </a:cubicBezTo>
                <a:cubicBezTo>
                  <a:pt x="297" y="63"/>
                  <a:pt x="297" y="63"/>
                  <a:pt x="297" y="63"/>
                </a:cubicBezTo>
                <a:cubicBezTo>
                  <a:pt x="299" y="63"/>
                  <a:pt x="299" y="63"/>
                  <a:pt x="299" y="63"/>
                </a:cubicBezTo>
                <a:cubicBezTo>
                  <a:pt x="301" y="60"/>
                  <a:pt x="301" y="60"/>
                  <a:pt x="301" y="60"/>
                </a:cubicBezTo>
                <a:cubicBezTo>
                  <a:pt x="303" y="59"/>
                  <a:pt x="303" y="59"/>
                  <a:pt x="303" y="59"/>
                </a:cubicBezTo>
                <a:cubicBezTo>
                  <a:pt x="304" y="59"/>
                  <a:pt x="304" y="59"/>
                  <a:pt x="304" y="59"/>
                </a:cubicBezTo>
                <a:cubicBezTo>
                  <a:pt x="305" y="58"/>
                  <a:pt x="305" y="58"/>
                  <a:pt x="305" y="58"/>
                </a:cubicBezTo>
                <a:cubicBezTo>
                  <a:pt x="308" y="57"/>
                  <a:pt x="308" y="57"/>
                  <a:pt x="308" y="57"/>
                </a:cubicBezTo>
                <a:cubicBezTo>
                  <a:pt x="326" y="58"/>
                  <a:pt x="326" y="58"/>
                  <a:pt x="326" y="58"/>
                </a:cubicBezTo>
                <a:cubicBezTo>
                  <a:pt x="327" y="56"/>
                  <a:pt x="327" y="56"/>
                  <a:pt x="327" y="56"/>
                </a:cubicBezTo>
                <a:cubicBezTo>
                  <a:pt x="328" y="56"/>
                  <a:pt x="328" y="56"/>
                  <a:pt x="328" y="56"/>
                </a:cubicBezTo>
                <a:cubicBezTo>
                  <a:pt x="328" y="56"/>
                  <a:pt x="328" y="56"/>
                  <a:pt x="328" y="56"/>
                </a:cubicBezTo>
                <a:cubicBezTo>
                  <a:pt x="329" y="56"/>
                  <a:pt x="329" y="56"/>
                  <a:pt x="329" y="56"/>
                </a:cubicBezTo>
                <a:cubicBezTo>
                  <a:pt x="330" y="56"/>
                  <a:pt x="330" y="56"/>
                  <a:pt x="330" y="56"/>
                </a:cubicBezTo>
                <a:cubicBezTo>
                  <a:pt x="331" y="55"/>
                  <a:pt x="331" y="55"/>
                  <a:pt x="331" y="55"/>
                </a:cubicBezTo>
                <a:cubicBezTo>
                  <a:pt x="331" y="55"/>
                  <a:pt x="331" y="55"/>
                  <a:pt x="331" y="55"/>
                </a:cubicBezTo>
                <a:cubicBezTo>
                  <a:pt x="333" y="52"/>
                  <a:pt x="333" y="52"/>
                  <a:pt x="333" y="52"/>
                </a:cubicBezTo>
                <a:cubicBezTo>
                  <a:pt x="334" y="52"/>
                  <a:pt x="334" y="52"/>
                  <a:pt x="334" y="52"/>
                </a:cubicBezTo>
                <a:cubicBezTo>
                  <a:pt x="336" y="50"/>
                  <a:pt x="336" y="50"/>
                  <a:pt x="336" y="50"/>
                </a:cubicBezTo>
                <a:cubicBezTo>
                  <a:pt x="336" y="49"/>
                  <a:pt x="336" y="49"/>
                  <a:pt x="336" y="49"/>
                </a:cubicBezTo>
                <a:cubicBezTo>
                  <a:pt x="337" y="47"/>
                  <a:pt x="337" y="47"/>
                  <a:pt x="337" y="47"/>
                </a:cubicBezTo>
                <a:cubicBezTo>
                  <a:pt x="338" y="46"/>
                  <a:pt x="338" y="46"/>
                  <a:pt x="338" y="46"/>
                </a:cubicBezTo>
                <a:cubicBezTo>
                  <a:pt x="338" y="45"/>
                  <a:pt x="338" y="45"/>
                  <a:pt x="338" y="45"/>
                </a:cubicBezTo>
                <a:cubicBezTo>
                  <a:pt x="339" y="44"/>
                  <a:pt x="339" y="44"/>
                  <a:pt x="339" y="44"/>
                </a:cubicBezTo>
                <a:cubicBezTo>
                  <a:pt x="341" y="41"/>
                  <a:pt x="341" y="41"/>
                  <a:pt x="341" y="41"/>
                </a:cubicBezTo>
                <a:cubicBezTo>
                  <a:pt x="342" y="40"/>
                  <a:pt x="342" y="40"/>
                  <a:pt x="342" y="40"/>
                </a:cubicBezTo>
                <a:cubicBezTo>
                  <a:pt x="343" y="39"/>
                  <a:pt x="343" y="39"/>
                  <a:pt x="343" y="39"/>
                </a:cubicBezTo>
                <a:cubicBezTo>
                  <a:pt x="343" y="39"/>
                  <a:pt x="343" y="39"/>
                  <a:pt x="343" y="39"/>
                </a:cubicBezTo>
                <a:cubicBezTo>
                  <a:pt x="344" y="40"/>
                  <a:pt x="344" y="40"/>
                  <a:pt x="344" y="40"/>
                </a:cubicBezTo>
                <a:cubicBezTo>
                  <a:pt x="345" y="41"/>
                  <a:pt x="345" y="41"/>
                  <a:pt x="345" y="41"/>
                </a:cubicBezTo>
                <a:cubicBezTo>
                  <a:pt x="346" y="40"/>
                  <a:pt x="346" y="40"/>
                  <a:pt x="346" y="40"/>
                </a:cubicBezTo>
                <a:cubicBezTo>
                  <a:pt x="348" y="41"/>
                  <a:pt x="348" y="41"/>
                  <a:pt x="348" y="41"/>
                </a:cubicBezTo>
                <a:cubicBezTo>
                  <a:pt x="348" y="40"/>
                  <a:pt x="348" y="40"/>
                  <a:pt x="348" y="40"/>
                </a:cubicBezTo>
                <a:cubicBezTo>
                  <a:pt x="351" y="43"/>
                  <a:pt x="351" y="43"/>
                  <a:pt x="351" y="43"/>
                </a:cubicBezTo>
                <a:cubicBezTo>
                  <a:pt x="351" y="45"/>
                  <a:pt x="351" y="45"/>
                  <a:pt x="351" y="45"/>
                </a:cubicBezTo>
                <a:cubicBezTo>
                  <a:pt x="350" y="53"/>
                  <a:pt x="350" y="53"/>
                  <a:pt x="350" y="53"/>
                </a:cubicBezTo>
                <a:cubicBezTo>
                  <a:pt x="349" y="53"/>
                  <a:pt x="349" y="53"/>
                  <a:pt x="349" y="53"/>
                </a:cubicBezTo>
                <a:cubicBezTo>
                  <a:pt x="350" y="54"/>
                  <a:pt x="350" y="54"/>
                  <a:pt x="350" y="54"/>
                </a:cubicBezTo>
                <a:cubicBezTo>
                  <a:pt x="350" y="54"/>
                  <a:pt x="350" y="54"/>
                  <a:pt x="350" y="54"/>
                </a:cubicBezTo>
                <a:cubicBezTo>
                  <a:pt x="351" y="55"/>
                  <a:pt x="351" y="55"/>
                  <a:pt x="351" y="55"/>
                </a:cubicBezTo>
                <a:cubicBezTo>
                  <a:pt x="351" y="56"/>
                  <a:pt x="351" y="56"/>
                  <a:pt x="351" y="56"/>
                </a:cubicBezTo>
                <a:cubicBezTo>
                  <a:pt x="351" y="57"/>
                  <a:pt x="351" y="57"/>
                  <a:pt x="351" y="57"/>
                </a:cubicBezTo>
                <a:cubicBezTo>
                  <a:pt x="351" y="57"/>
                  <a:pt x="351" y="57"/>
                  <a:pt x="351" y="57"/>
                </a:cubicBezTo>
                <a:cubicBezTo>
                  <a:pt x="350" y="58"/>
                  <a:pt x="350" y="58"/>
                  <a:pt x="350" y="58"/>
                </a:cubicBezTo>
                <a:cubicBezTo>
                  <a:pt x="351" y="58"/>
                  <a:pt x="351" y="58"/>
                  <a:pt x="351" y="58"/>
                </a:cubicBezTo>
                <a:cubicBezTo>
                  <a:pt x="351" y="58"/>
                  <a:pt x="351" y="58"/>
                  <a:pt x="351" y="58"/>
                </a:cubicBezTo>
                <a:cubicBezTo>
                  <a:pt x="351" y="58"/>
                  <a:pt x="351" y="58"/>
                  <a:pt x="351" y="58"/>
                </a:cubicBezTo>
                <a:cubicBezTo>
                  <a:pt x="353" y="60"/>
                  <a:pt x="353" y="60"/>
                  <a:pt x="353" y="60"/>
                </a:cubicBezTo>
                <a:cubicBezTo>
                  <a:pt x="353" y="61"/>
                  <a:pt x="353" y="61"/>
                  <a:pt x="353" y="61"/>
                </a:cubicBezTo>
                <a:cubicBezTo>
                  <a:pt x="354" y="62"/>
                  <a:pt x="354" y="62"/>
                  <a:pt x="354" y="62"/>
                </a:cubicBezTo>
                <a:cubicBezTo>
                  <a:pt x="354" y="61"/>
                  <a:pt x="354" y="61"/>
                  <a:pt x="354" y="61"/>
                </a:cubicBezTo>
                <a:cubicBezTo>
                  <a:pt x="355" y="62"/>
                  <a:pt x="355" y="62"/>
                  <a:pt x="355" y="62"/>
                </a:cubicBezTo>
                <a:cubicBezTo>
                  <a:pt x="355" y="63"/>
                  <a:pt x="355" y="63"/>
                  <a:pt x="355" y="63"/>
                </a:cubicBezTo>
                <a:cubicBezTo>
                  <a:pt x="353" y="63"/>
                  <a:pt x="353" y="63"/>
                  <a:pt x="353" y="63"/>
                </a:cubicBezTo>
                <a:cubicBezTo>
                  <a:pt x="353" y="62"/>
                  <a:pt x="353" y="62"/>
                  <a:pt x="353" y="62"/>
                </a:cubicBezTo>
                <a:cubicBezTo>
                  <a:pt x="351" y="63"/>
                  <a:pt x="351" y="63"/>
                  <a:pt x="351" y="63"/>
                </a:cubicBezTo>
                <a:cubicBezTo>
                  <a:pt x="350" y="63"/>
                  <a:pt x="350" y="63"/>
                  <a:pt x="350" y="63"/>
                </a:cubicBezTo>
                <a:cubicBezTo>
                  <a:pt x="349" y="64"/>
                  <a:pt x="349" y="64"/>
                  <a:pt x="349" y="64"/>
                </a:cubicBezTo>
                <a:cubicBezTo>
                  <a:pt x="349" y="64"/>
                  <a:pt x="349" y="64"/>
                  <a:pt x="349" y="64"/>
                </a:cubicBezTo>
                <a:cubicBezTo>
                  <a:pt x="348" y="64"/>
                  <a:pt x="348" y="64"/>
                  <a:pt x="348" y="64"/>
                </a:cubicBezTo>
                <a:cubicBezTo>
                  <a:pt x="347" y="65"/>
                  <a:pt x="347" y="65"/>
                  <a:pt x="347" y="65"/>
                </a:cubicBezTo>
                <a:cubicBezTo>
                  <a:pt x="346" y="65"/>
                  <a:pt x="346" y="65"/>
                  <a:pt x="346" y="65"/>
                </a:cubicBezTo>
                <a:cubicBezTo>
                  <a:pt x="345" y="64"/>
                  <a:pt x="345" y="64"/>
                  <a:pt x="345" y="64"/>
                </a:cubicBezTo>
                <a:cubicBezTo>
                  <a:pt x="344" y="64"/>
                  <a:pt x="344" y="64"/>
                  <a:pt x="344" y="64"/>
                </a:cubicBezTo>
                <a:cubicBezTo>
                  <a:pt x="343" y="65"/>
                  <a:pt x="343" y="65"/>
                  <a:pt x="343" y="65"/>
                </a:cubicBezTo>
                <a:cubicBezTo>
                  <a:pt x="342" y="65"/>
                  <a:pt x="342" y="65"/>
                  <a:pt x="342" y="65"/>
                </a:cubicBezTo>
                <a:cubicBezTo>
                  <a:pt x="341" y="64"/>
                  <a:pt x="341" y="64"/>
                  <a:pt x="341" y="64"/>
                </a:cubicBezTo>
                <a:cubicBezTo>
                  <a:pt x="342" y="63"/>
                  <a:pt x="342" y="63"/>
                  <a:pt x="342" y="63"/>
                </a:cubicBezTo>
                <a:cubicBezTo>
                  <a:pt x="340" y="65"/>
                  <a:pt x="340" y="65"/>
                  <a:pt x="340" y="65"/>
                </a:cubicBezTo>
                <a:cubicBezTo>
                  <a:pt x="339" y="67"/>
                  <a:pt x="339" y="67"/>
                  <a:pt x="339" y="67"/>
                </a:cubicBezTo>
                <a:cubicBezTo>
                  <a:pt x="338" y="67"/>
                  <a:pt x="338" y="67"/>
                  <a:pt x="338" y="67"/>
                </a:cubicBezTo>
                <a:cubicBezTo>
                  <a:pt x="338" y="67"/>
                  <a:pt x="338" y="67"/>
                  <a:pt x="338" y="67"/>
                </a:cubicBezTo>
                <a:cubicBezTo>
                  <a:pt x="337" y="68"/>
                  <a:pt x="337" y="68"/>
                  <a:pt x="337" y="68"/>
                </a:cubicBezTo>
                <a:cubicBezTo>
                  <a:pt x="337" y="68"/>
                  <a:pt x="337" y="68"/>
                  <a:pt x="337" y="68"/>
                </a:cubicBezTo>
                <a:cubicBezTo>
                  <a:pt x="336" y="67"/>
                  <a:pt x="336" y="67"/>
                  <a:pt x="336" y="67"/>
                </a:cubicBezTo>
                <a:cubicBezTo>
                  <a:pt x="336" y="68"/>
                  <a:pt x="336" y="68"/>
                  <a:pt x="336" y="68"/>
                </a:cubicBezTo>
                <a:cubicBezTo>
                  <a:pt x="335" y="69"/>
                  <a:pt x="335" y="69"/>
                  <a:pt x="335" y="69"/>
                </a:cubicBezTo>
                <a:cubicBezTo>
                  <a:pt x="334" y="69"/>
                  <a:pt x="334" y="69"/>
                  <a:pt x="334" y="69"/>
                </a:cubicBezTo>
                <a:cubicBezTo>
                  <a:pt x="334" y="68"/>
                  <a:pt x="334" y="68"/>
                  <a:pt x="334" y="68"/>
                </a:cubicBezTo>
                <a:cubicBezTo>
                  <a:pt x="333" y="69"/>
                  <a:pt x="333" y="69"/>
                  <a:pt x="333" y="69"/>
                </a:cubicBezTo>
                <a:cubicBezTo>
                  <a:pt x="333" y="69"/>
                  <a:pt x="333" y="69"/>
                  <a:pt x="333" y="69"/>
                </a:cubicBezTo>
                <a:cubicBezTo>
                  <a:pt x="332" y="71"/>
                  <a:pt x="332" y="71"/>
                  <a:pt x="332" y="71"/>
                </a:cubicBezTo>
                <a:cubicBezTo>
                  <a:pt x="330" y="72"/>
                  <a:pt x="330" y="72"/>
                  <a:pt x="330" y="72"/>
                </a:cubicBezTo>
                <a:cubicBezTo>
                  <a:pt x="329" y="75"/>
                  <a:pt x="329" y="75"/>
                  <a:pt x="329" y="75"/>
                </a:cubicBezTo>
                <a:cubicBezTo>
                  <a:pt x="328" y="76"/>
                  <a:pt x="328" y="76"/>
                  <a:pt x="328" y="76"/>
                </a:cubicBezTo>
                <a:cubicBezTo>
                  <a:pt x="328" y="77"/>
                  <a:pt x="328" y="77"/>
                  <a:pt x="328" y="77"/>
                </a:cubicBezTo>
                <a:cubicBezTo>
                  <a:pt x="327" y="77"/>
                  <a:pt x="327" y="77"/>
                  <a:pt x="327" y="77"/>
                </a:cubicBezTo>
                <a:cubicBezTo>
                  <a:pt x="327" y="78"/>
                  <a:pt x="327" y="78"/>
                  <a:pt x="327" y="78"/>
                </a:cubicBezTo>
                <a:cubicBezTo>
                  <a:pt x="328" y="78"/>
                  <a:pt x="328" y="78"/>
                  <a:pt x="328" y="78"/>
                </a:cubicBezTo>
                <a:cubicBezTo>
                  <a:pt x="328" y="79"/>
                  <a:pt x="328" y="79"/>
                  <a:pt x="328" y="79"/>
                </a:cubicBezTo>
                <a:cubicBezTo>
                  <a:pt x="326" y="81"/>
                  <a:pt x="326" y="81"/>
                  <a:pt x="326" y="81"/>
                </a:cubicBezTo>
                <a:cubicBezTo>
                  <a:pt x="326" y="81"/>
                  <a:pt x="326" y="81"/>
                  <a:pt x="326" y="81"/>
                </a:cubicBezTo>
                <a:cubicBezTo>
                  <a:pt x="327" y="82"/>
                  <a:pt x="327" y="82"/>
                  <a:pt x="327" y="82"/>
                </a:cubicBezTo>
                <a:cubicBezTo>
                  <a:pt x="328" y="84"/>
                  <a:pt x="328" y="84"/>
                  <a:pt x="328" y="84"/>
                </a:cubicBezTo>
                <a:cubicBezTo>
                  <a:pt x="328" y="85"/>
                  <a:pt x="328" y="85"/>
                  <a:pt x="328" y="85"/>
                </a:cubicBezTo>
                <a:cubicBezTo>
                  <a:pt x="330" y="85"/>
                  <a:pt x="330" y="85"/>
                  <a:pt x="330" y="85"/>
                </a:cubicBezTo>
                <a:cubicBezTo>
                  <a:pt x="330" y="84"/>
                  <a:pt x="330" y="84"/>
                  <a:pt x="330" y="84"/>
                </a:cubicBezTo>
                <a:cubicBezTo>
                  <a:pt x="330" y="83"/>
                  <a:pt x="330" y="83"/>
                  <a:pt x="330" y="83"/>
                </a:cubicBezTo>
                <a:cubicBezTo>
                  <a:pt x="331" y="83"/>
                  <a:pt x="331" y="83"/>
                  <a:pt x="331" y="83"/>
                </a:cubicBezTo>
                <a:cubicBezTo>
                  <a:pt x="331" y="85"/>
                  <a:pt x="331" y="85"/>
                  <a:pt x="331" y="85"/>
                </a:cubicBezTo>
                <a:cubicBezTo>
                  <a:pt x="331" y="86"/>
                  <a:pt x="331" y="86"/>
                  <a:pt x="331" y="86"/>
                </a:cubicBezTo>
                <a:cubicBezTo>
                  <a:pt x="328" y="87"/>
                  <a:pt x="328" y="87"/>
                  <a:pt x="328" y="87"/>
                </a:cubicBezTo>
                <a:cubicBezTo>
                  <a:pt x="327" y="87"/>
                  <a:pt x="327" y="87"/>
                  <a:pt x="327" y="87"/>
                </a:cubicBezTo>
                <a:cubicBezTo>
                  <a:pt x="327" y="86"/>
                  <a:pt x="327" y="86"/>
                  <a:pt x="327" y="86"/>
                </a:cubicBezTo>
                <a:cubicBezTo>
                  <a:pt x="326" y="85"/>
                  <a:pt x="326" y="85"/>
                  <a:pt x="326" y="85"/>
                </a:cubicBezTo>
                <a:cubicBezTo>
                  <a:pt x="325" y="87"/>
                  <a:pt x="325" y="87"/>
                  <a:pt x="325" y="87"/>
                </a:cubicBezTo>
                <a:cubicBezTo>
                  <a:pt x="324" y="89"/>
                  <a:pt x="324" y="89"/>
                  <a:pt x="324" y="89"/>
                </a:cubicBezTo>
                <a:cubicBezTo>
                  <a:pt x="323" y="88"/>
                  <a:pt x="323" y="88"/>
                  <a:pt x="323" y="88"/>
                </a:cubicBezTo>
                <a:cubicBezTo>
                  <a:pt x="323" y="88"/>
                  <a:pt x="323" y="88"/>
                  <a:pt x="323" y="88"/>
                </a:cubicBezTo>
                <a:cubicBezTo>
                  <a:pt x="323" y="86"/>
                  <a:pt x="323" y="86"/>
                  <a:pt x="323" y="86"/>
                </a:cubicBezTo>
                <a:cubicBezTo>
                  <a:pt x="322" y="85"/>
                  <a:pt x="322" y="85"/>
                  <a:pt x="322" y="85"/>
                </a:cubicBezTo>
                <a:cubicBezTo>
                  <a:pt x="322" y="86"/>
                  <a:pt x="322" y="86"/>
                  <a:pt x="322" y="86"/>
                </a:cubicBezTo>
                <a:cubicBezTo>
                  <a:pt x="322" y="88"/>
                  <a:pt x="322" y="88"/>
                  <a:pt x="322" y="88"/>
                </a:cubicBezTo>
                <a:cubicBezTo>
                  <a:pt x="323" y="89"/>
                  <a:pt x="323" y="89"/>
                  <a:pt x="323" y="89"/>
                </a:cubicBezTo>
                <a:cubicBezTo>
                  <a:pt x="322" y="89"/>
                  <a:pt x="322" y="89"/>
                  <a:pt x="322" y="89"/>
                </a:cubicBezTo>
                <a:cubicBezTo>
                  <a:pt x="319" y="89"/>
                  <a:pt x="319" y="89"/>
                  <a:pt x="319" y="89"/>
                </a:cubicBezTo>
                <a:cubicBezTo>
                  <a:pt x="318" y="89"/>
                  <a:pt x="318" y="89"/>
                  <a:pt x="318" y="89"/>
                </a:cubicBezTo>
                <a:cubicBezTo>
                  <a:pt x="316" y="89"/>
                  <a:pt x="316" y="89"/>
                  <a:pt x="316" y="89"/>
                </a:cubicBezTo>
                <a:cubicBezTo>
                  <a:pt x="314" y="89"/>
                  <a:pt x="314" y="89"/>
                  <a:pt x="314" y="89"/>
                </a:cubicBezTo>
                <a:cubicBezTo>
                  <a:pt x="313" y="89"/>
                  <a:pt x="313" y="89"/>
                  <a:pt x="313" y="89"/>
                </a:cubicBezTo>
                <a:cubicBezTo>
                  <a:pt x="313" y="89"/>
                  <a:pt x="313" y="89"/>
                  <a:pt x="313" y="89"/>
                </a:cubicBezTo>
                <a:cubicBezTo>
                  <a:pt x="311" y="90"/>
                  <a:pt x="311" y="90"/>
                  <a:pt x="311" y="90"/>
                </a:cubicBezTo>
                <a:cubicBezTo>
                  <a:pt x="309" y="90"/>
                  <a:pt x="309" y="90"/>
                  <a:pt x="309" y="90"/>
                </a:cubicBezTo>
                <a:cubicBezTo>
                  <a:pt x="307" y="91"/>
                  <a:pt x="307" y="91"/>
                  <a:pt x="307" y="91"/>
                </a:cubicBezTo>
                <a:cubicBezTo>
                  <a:pt x="306" y="92"/>
                  <a:pt x="306" y="92"/>
                  <a:pt x="306" y="92"/>
                </a:cubicBezTo>
                <a:cubicBezTo>
                  <a:pt x="305" y="93"/>
                  <a:pt x="305" y="93"/>
                  <a:pt x="305" y="93"/>
                </a:cubicBezTo>
                <a:cubicBezTo>
                  <a:pt x="305" y="94"/>
                  <a:pt x="305" y="94"/>
                  <a:pt x="305" y="94"/>
                </a:cubicBezTo>
                <a:cubicBezTo>
                  <a:pt x="304" y="94"/>
                  <a:pt x="304" y="94"/>
                  <a:pt x="304" y="94"/>
                </a:cubicBezTo>
                <a:cubicBezTo>
                  <a:pt x="304" y="95"/>
                  <a:pt x="304" y="95"/>
                  <a:pt x="304" y="95"/>
                </a:cubicBezTo>
                <a:cubicBezTo>
                  <a:pt x="305" y="96"/>
                  <a:pt x="305" y="96"/>
                  <a:pt x="305" y="96"/>
                </a:cubicBezTo>
                <a:cubicBezTo>
                  <a:pt x="305" y="97"/>
                  <a:pt x="305" y="97"/>
                  <a:pt x="305" y="97"/>
                </a:cubicBezTo>
                <a:cubicBezTo>
                  <a:pt x="304" y="98"/>
                  <a:pt x="304" y="98"/>
                  <a:pt x="304" y="98"/>
                </a:cubicBezTo>
                <a:cubicBezTo>
                  <a:pt x="304" y="98"/>
                  <a:pt x="304" y="98"/>
                  <a:pt x="304" y="98"/>
                </a:cubicBezTo>
                <a:cubicBezTo>
                  <a:pt x="304" y="99"/>
                  <a:pt x="304" y="99"/>
                  <a:pt x="304" y="99"/>
                </a:cubicBezTo>
                <a:cubicBezTo>
                  <a:pt x="304" y="100"/>
                  <a:pt x="304" y="100"/>
                  <a:pt x="304" y="100"/>
                </a:cubicBezTo>
                <a:cubicBezTo>
                  <a:pt x="304" y="101"/>
                  <a:pt x="304" y="101"/>
                  <a:pt x="304" y="101"/>
                </a:cubicBezTo>
                <a:cubicBezTo>
                  <a:pt x="303" y="102"/>
                  <a:pt x="303" y="102"/>
                  <a:pt x="303" y="102"/>
                </a:cubicBezTo>
                <a:cubicBezTo>
                  <a:pt x="303" y="102"/>
                  <a:pt x="303" y="102"/>
                  <a:pt x="303" y="102"/>
                </a:cubicBezTo>
                <a:cubicBezTo>
                  <a:pt x="302" y="103"/>
                  <a:pt x="302" y="103"/>
                  <a:pt x="302" y="103"/>
                </a:cubicBezTo>
                <a:cubicBezTo>
                  <a:pt x="301" y="105"/>
                  <a:pt x="301" y="105"/>
                  <a:pt x="301" y="105"/>
                </a:cubicBezTo>
                <a:cubicBezTo>
                  <a:pt x="301" y="105"/>
                  <a:pt x="301" y="105"/>
                  <a:pt x="301" y="105"/>
                </a:cubicBezTo>
                <a:cubicBezTo>
                  <a:pt x="300" y="106"/>
                  <a:pt x="300" y="106"/>
                  <a:pt x="300" y="106"/>
                </a:cubicBezTo>
                <a:cubicBezTo>
                  <a:pt x="300" y="105"/>
                  <a:pt x="300" y="105"/>
                  <a:pt x="300" y="105"/>
                </a:cubicBezTo>
                <a:cubicBezTo>
                  <a:pt x="299" y="106"/>
                  <a:pt x="299" y="106"/>
                  <a:pt x="299" y="106"/>
                </a:cubicBezTo>
                <a:cubicBezTo>
                  <a:pt x="298" y="108"/>
                  <a:pt x="298" y="108"/>
                  <a:pt x="298" y="108"/>
                </a:cubicBezTo>
                <a:cubicBezTo>
                  <a:pt x="298" y="107"/>
                  <a:pt x="298" y="107"/>
                  <a:pt x="298" y="107"/>
                </a:cubicBezTo>
                <a:cubicBezTo>
                  <a:pt x="297" y="108"/>
                  <a:pt x="297" y="108"/>
                  <a:pt x="297" y="108"/>
                </a:cubicBezTo>
                <a:cubicBezTo>
                  <a:pt x="298" y="106"/>
                  <a:pt x="298" y="106"/>
                  <a:pt x="298" y="106"/>
                </a:cubicBezTo>
                <a:cubicBezTo>
                  <a:pt x="298" y="106"/>
                  <a:pt x="298" y="106"/>
                  <a:pt x="298" y="106"/>
                </a:cubicBezTo>
                <a:cubicBezTo>
                  <a:pt x="297" y="106"/>
                  <a:pt x="297" y="106"/>
                  <a:pt x="297" y="106"/>
                </a:cubicBezTo>
                <a:cubicBezTo>
                  <a:pt x="295" y="104"/>
                  <a:pt x="295" y="104"/>
                  <a:pt x="295" y="104"/>
                </a:cubicBezTo>
                <a:cubicBezTo>
                  <a:pt x="295" y="103"/>
                  <a:pt x="295" y="103"/>
                  <a:pt x="295" y="103"/>
                </a:cubicBezTo>
                <a:cubicBezTo>
                  <a:pt x="295" y="103"/>
                  <a:pt x="295" y="103"/>
                  <a:pt x="295" y="103"/>
                </a:cubicBezTo>
                <a:cubicBezTo>
                  <a:pt x="297" y="100"/>
                  <a:pt x="297" y="100"/>
                  <a:pt x="297" y="100"/>
                </a:cubicBezTo>
                <a:cubicBezTo>
                  <a:pt x="296" y="101"/>
                  <a:pt x="296" y="101"/>
                  <a:pt x="296" y="101"/>
                </a:cubicBezTo>
                <a:cubicBezTo>
                  <a:pt x="295" y="102"/>
                  <a:pt x="295" y="102"/>
                  <a:pt x="295" y="102"/>
                </a:cubicBezTo>
                <a:cubicBezTo>
                  <a:pt x="294" y="103"/>
                  <a:pt x="294" y="103"/>
                  <a:pt x="294" y="103"/>
                </a:cubicBezTo>
                <a:cubicBezTo>
                  <a:pt x="294" y="105"/>
                  <a:pt x="294" y="105"/>
                  <a:pt x="294" y="105"/>
                </a:cubicBezTo>
                <a:cubicBezTo>
                  <a:pt x="295" y="105"/>
                  <a:pt x="295" y="105"/>
                  <a:pt x="295" y="105"/>
                </a:cubicBezTo>
                <a:cubicBezTo>
                  <a:pt x="295" y="107"/>
                  <a:pt x="295" y="107"/>
                  <a:pt x="295" y="107"/>
                </a:cubicBezTo>
                <a:cubicBezTo>
                  <a:pt x="295" y="108"/>
                  <a:pt x="295" y="108"/>
                  <a:pt x="295" y="108"/>
                </a:cubicBezTo>
                <a:cubicBezTo>
                  <a:pt x="296" y="110"/>
                  <a:pt x="296" y="110"/>
                  <a:pt x="296" y="110"/>
                </a:cubicBezTo>
                <a:cubicBezTo>
                  <a:pt x="296" y="111"/>
                  <a:pt x="296" y="111"/>
                  <a:pt x="296" y="111"/>
                </a:cubicBezTo>
                <a:cubicBezTo>
                  <a:pt x="295" y="114"/>
                  <a:pt x="295" y="114"/>
                  <a:pt x="295" y="114"/>
                </a:cubicBezTo>
                <a:cubicBezTo>
                  <a:pt x="294" y="114"/>
                  <a:pt x="294" y="114"/>
                  <a:pt x="294" y="114"/>
                </a:cubicBezTo>
                <a:cubicBezTo>
                  <a:pt x="293" y="117"/>
                  <a:pt x="293" y="117"/>
                  <a:pt x="293" y="117"/>
                </a:cubicBezTo>
                <a:cubicBezTo>
                  <a:pt x="292" y="118"/>
                  <a:pt x="292" y="118"/>
                  <a:pt x="292" y="118"/>
                </a:cubicBezTo>
                <a:cubicBezTo>
                  <a:pt x="292" y="119"/>
                  <a:pt x="292" y="119"/>
                  <a:pt x="292" y="119"/>
                </a:cubicBezTo>
                <a:cubicBezTo>
                  <a:pt x="292" y="119"/>
                  <a:pt x="292" y="119"/>
                  <a:pt x="292" y="119"/>
                </a:cubicBezTo>
                <a:cubicBezTo>
                  <a:pt x="292" y="119"/>
                  <a:pt x="292" y="119"/>
                  <a:pt x="292" y="119"/>
                </a:cubicBezTo>
                <a:cubicBezTo>
                  <a:pt x="291" y="118"/>
                  <a:pt x="291" y="118"/>
                  <a:pt x="291" y="118"/>
                </a:cubicBezTo>
                <a:cubicBezTo>
                  <a:pt x="290" y="121"/>
                  <a:pt x="290" y="121"/>
                  <a:pt x="290" y="121"/>
                </a:cubicBezTo>
                <a:cubicBezTo>
                  <a:pt x="290" y="121"/>
                  <a:pt x="290" y="121"/>
                  <a:pt x="290" y="121"/>
                </a:cubicBezTo>
                <a:cubicBezTo>
                  <a:pt x="290" y="122"/>
                  <a:pt x="290" y="122"/>
                  <a:pt x="290" y="122"/>
                </a:cubicBezTo>
                <a:cubicBezTo>
                  <a:pt x="290" y="121"/>
                  <a:pt x="290" y="121"/>
                  <a:pt x="290" y="121"/>
                </a:cubicBezTo>
                <a:cubicBezTo>
                  <a:pt x="290" y="119"/>
                  <a:pt x="290" y="119"/>
                  <a:pt x="290" y="119"/>
                </a:cubicBezTo>
                <a:cubicBezTo>
                  <a:pt x="291" y="118"/>
                  <a:pt x="291" y="118"/>
                  <a:pt x="291" y="118"/>
                </a:cubicBezTo>
                <a:cubicBezTo>
                  <a:pt x="290" y="117"/>
                  <a:pt x="290" y="117"/>
                  <a:pt x="290" y="117"/>
                </a:cubicBezTo>
                <a:cubicBezTo>
                  <a:pt x="291" y="116"/>
                  <a:pt x="291" y="116"/>
                  <a:pt x="291" y="116"/>
                </a:cubicBezTo>
                <a:cubicBezTo>
                  <a:pt x="291" y="116"/>
                  <a:pt x="291" y="116"/>
                  <a:pt x="291" y="116"/>
                </a:cubicBezTo>
                <a:cubicBezTo>
                  <a:pt x="292" y="115"/>
                  <a:pt x="292" y="115"/>
                  <a:pt x="292" y="115"/>
                </a:cubicBezTo>
                <a:cubicBezTo>
                  <a:pt x="291" y="115"/>
                  <a:pt x="291" y="115"/>
                  <a:pt x="291" y="115"/>
                </a:cubicBezTo>
                <a:cubicBezTo>
                  <a:pt x="290" y="114"/>
                  <a:pt x="290" y="114"/>
                  <a:pt x="290" y="114"/>
                </a:cubicBezTo>
                <a:cubicBezTo>
                  <a:pt x="291" y="114"/>
                  <a:pt x="291" y="114"/>
                  <a:pt x="291" y="114"/>
                </a:cubicBezTo>
                <a:cubicBezTo>
                  <a:pt x="291" y="114"/>
                  <a:pt x="291" y="114"/>
                  <a:pt x="291" y="114"/>
                </a:cubicBezTo>
                <a:cubicBezTo>
                  <a:pt x="290" y="114"/>
                  <a:pt x="290" y="114"/>
                  <a:pt x="290" y="114"/>
                </a:cubicBezTo>
                <a:cubicBezTo>
                  <a:pt x="290" y="113"/>
                  <a:pt x="290" y="113"/>
                  <a:pt x="290" y="113"/>
                </a:cubicBezTo>
                <a:cubicBezTo>
                  <a:pt x="289" y="114"/>
                  <a:pt x="289" y="114"/>
                  <a:pt x="289" y="114"/>
                </a:cubicBezTo>
                <a:cubicBezTo>
                  <a:pt x="288" y="112"/>
                  <a:pt x="288" y="112"/>
                  <a:pt x="288" y="112"/>
                </a:cubicBezTo>
                <a:cubicBezTo>
                  <a:pt x="288" y="111"/>
                  <a:pt x="288" y="111"/>
                  <a:pt x="288" y="111"/>
                </a:cubicBezTo>
                <a:cubicBezTo>
                  <a:pt x="289" y="110"/>
                  <a:pt x="289" y="110"/>
                  <a:pt x="289" y="110"/>
                </a:cubicBezTo>
                <a:cubicBezTo>
                  <a:pt x="290" y="108"/>
                  <a:pt x="290" y="108"/>
                  <a:pt x="290" y="108"/>
                </a:cubicBezTo>
                <a:cubicBezTo>
                  <a:pt x="289" y="106"/>
                  <a:pt x="289" y="106"/>
                  <a:pt x="289" y="106"/>
                </a:cubicBezTo>
                <a:cubicBezTo>
                  <a:pt x="289" y="105"/>
                  <a:pt x="289" y="105"/>
                  <a:pt x="289" y="105"/>
                </a:cubicBezTo>
                <a:cubicBezTo>
                  <a:pt x="290" y="104"/>
                  <a:pt x="290" y="104"/>
                  <a:pt x="290" y="104"/>
                </a:cubicBezTo>
                <a:cubicBezTo>
                  <a:pt x="290" y="104"/>
                  <a:pt x="290" y="104"/>
                  <a:pt x="290" y="104"/>
                </a:cubicBezTo>
                <a:cubicBezTo>
                  <a:pt x="290" y="103"/>
                  <a:pt x="290" y="103"/>
                  <a:pt x="290" y="103"/>
                </a:cubicBezTo>
                <a:cubicBezTo>
                  <a:pt x="290" y="102"/>
                  <a:pt x="290" y="102"/>
                  <a:pt x="290" y="102"/>
                </a:cubicBezTo>
                <a:cubicBezTo>
                  <a:pt x="290" y="103"/>
                  <a:pt x="290" y="103"/>
                  <a:pt x="290" y="103"/>
                </a:cubicBezTo>
                <a:cubicBezTo>
                  <a:pt x="290" y="104"/>
                  <a:pt x="290" y="104"/>
                  <a:pt x="290" y="104"/>
                </a:cubicBezTo>
                <a:cubicBezTo>
                  <a:pt x="288" y="105"/>
                  <a:pt x="288" y="105"/>
                  <a:pt x="288" y="105"/>
                </a:cubicBezTo>
                <a:cubicBezTo>
                  <a:pt x="288" y="105"/>
                  <a:pt x="288" y="105"/>
                  <a:pt x="288" y="105"/>
                </a:cubicBezTo>
                <a:cubicBezTo>
                  <a:pt x="287" y="105"/>
                  <a:pt x="287" y="105"/>
                  <a:pt x="287" y="105"/>
                </a:cubicBezTo>
                <a:cubicBezTo>
                  <a:pt x="288" y="106"/>
                  <a:pt x="288" y="106"/>
                  <a:pt x="288" y="106"/>
                </a:cubicBezTo>
                <a:cubicBezTo>
                  <a:pt x="287" y="107"/>
                  <a:pt x="287" y="107"/>
                  <a:pt x="287" y="107"/>
                </a:cubicBezTo>
                <a:cubicBezTo>
                  <a:pt x="287" y="109"/>
                  <a:pt x="287" y="109"/>
                  <a:pt x="287" y="109"/>
                </a:cubicBezTo>
                <a:cubicBezTo>
                  <a:pt x="287" y="110"/>
                  <a:pt x="287" y="110"/>
                  <a:pt x="287" y="110"/>
                </a:cubicBezTo>
                <a:cubicBezTo>
                  <a:pt x="287" y="110"/>
                  <a:pt x="287" y="110"/>
                  <a:pt x="287" y="110"/>
                </a:cubicBezTo>
                <a:cubicBezTo>
                  <a:pt x="287" y="112"/>
                  <a:pt x="287" y="112"/>
                  <a:pt x="287" y="112"/>
                </a:cubicBezTo>
                <a:cubicBezTo>
                  <a:pt x="287" y="114"/>
                  <a:pt x="287" y="114"/>
                  <a:pt x="287" y="114"/>
                </a:cubicBezTo>
                <a:cubicBezTo>
                  <a:pt x="287" y="114"/>
                  <a:pt x="287" y="114"/>
                  <a:pt x="287" y="114"/>
                </a:cubicBezTo>
                <a:cubicBezTo>
                  <a:pt x="285" y="112"/>
                  <a:pt x="285" y="112"/>
                  <a:pt x="285" y="112"/>
                </a:cubicBezTo>
                <a:cubicBezTo>
                  <a:pt x="284" y="112"/>
                  <a:pt x="284" y="112"/>
                  <a:pt x="284" y="112"/>
                </a:cubicBezTo>
                <a:cubicBezTo>
                  <a:pt x="283" y="111"/>
                  <a:pt x="283" y="111"/>
                  <a:pt x="283" y="111"/>
                </a:cubicBezTo>
                <a:cubicBezTo>
                  <a:pt x="283" y="111"/>
                  <a:pt x="283" y="111"/>
                  <a:pt x="283" y="111"/>
                </a:cubicBezTo>
                <a:cubicBezTo>
                  <a:pt x="283" y="110"/>
                  <a:pt x="283" y="110"/>
                  <a:pt x="283" y="110"/>
                </a:cubicBezTo>
                <a:cubicBezTo>
                  <a:pt x="283" y="109"/>
                  <a:pt x="283" y="109"/>
                  <a:pt x="283" y="109"/>
                </a:cubicBezTo>
                <a:cubicBezTo>
                  <a:pt x="282" y="110"/>
                  <a:pt x="282" y="110"/>
                  <a:pt x="282" y="110"/>
                </a:cubicBezTo>
                <a:cubicBezTo>
                  <a:pt x="282" y="111"/>
                  <a:pt x="282" y="111"/>
                  <a:pt x="282" y="111"/>
                </a:cubicBezTo>
                <a:cubicBezTo>
                  <a:pt x="283" y="112"/>
                  <a:pt x="283" y="112"/>
                  <a:pt x="283" y="112"/>
                </a:cubicBezTo>
                <a:cubicBezTo>
                  <a:pt x="284" y="113"/>
                  <a:pt x="284" y="113"/>
                  <a:pt x="284" y="113"/>
                </a:cubicBezTo>
                <a:cubicBezTo>
                  <a:pt x="285" y="113"/>
                  <a:pt x="285" y="113"/>
                  <a:pt x="285" y="113"/>
                </a:cubicBezTo>
                <a:cubicBezTo>
                  <a:pt x="287" y="115"/>
                  <a:pt x="287" y="115"/>
                  <a:pt x="287" y="115"/>
                </a:cubicBezTo>
                <a:cubicBezTo>
                  <a:pt x="288" y="116"/>
                  <a:pt x="288" y="116"/>
                  <a:pt x="288" y="116"/>
                </a:cubicBezTo>
                <a:cubicBezTo>
                  <a:pt x="288" y="117"/>
                  <a:pt x="288" y="117"/>
                  <a:pt x="288" y="117"/>
                </a:cubicBezTo>
                <a:cubicBezTo>
                  <a:pt x="287" y="118"/>
                  <a:pt x="287" y="118"/>
                  <a:pt x="287" y="118"/>
                </a:cubicBezTo>
                <a:cubicBezTo>
                  <a:pt x="286" y="118"/>
                  <a:pt x="286" y="118"/>
                  <a:pt x="286" y="118"/>
                </a:cubicBezTo>
                <a:cubicBezTo>
                  <a:pt x="286" y="117"/>
                  <a:pt x="286" y="117"/>
                  <a:pt x="286" y="117"/>
                </a:cubicBezTo>
                <a:cubicBezTo>
                  <a:pt x="285" y="116"/>
                  <a:pt x="285" y="116"/>
                  <a:pt x="285" y="116"/>
                </a:cubicBezTo>
                <a:cubicBezTo>
                  <a:pt x="286" y="118"/>
                  <a:pt x="286" y="118"/>
                  <a:pt x="286" y="118"/>
                </a:cubicBezTo>
                <a:cubicBezTo>
                  <a:pt x="287" y="119"/>
                  <a:pt x="287" y="119"/>
                  <a:pt x="287" y="119"/>
                </a:cubicBezTo>
                <a:cubicBezTo>
                  <a:pt x="288" y="120"/>
                  <a:pt x="288" y="120"/>
                  <a:pt x="288" y="120"/>
                </a:cubicBezTo>
                <a:cubicBezTo>
                  <a:pt x="287" y="120"/>
                  <a:pt x="287" y="120"/>
                  <a:pt x="287" y="120"/>
                </a:cubicBezTo>
                <a:cubicBezTo>
                  <a:pt x="287" y="121"/>
                  <a:pt x="287" y="121"/>
                  <a:pt x="287" y="121"/>
                </a:cubicBezTo>
                <a:cubicBezTo>
                  <a:pt x="286" y="120"/>
                  <a:pt x="286" y="120"/>
                  <a:pt x="286" y="120"/>
                </a:cubicBezTo>
                <a:cubicBezTo>
                  <a:pt x="288" y="122"/>
                  <a:pt x="288" y="122"/>
                  <a:pt x="288" y="122"/>
                </a:cubicBezTo>
                <a:cubicBezTo>
                  <a:pt x="287" y="123"/>
                  <a:pt x="287" y="123"/>
                  <a:pt x="287" y="123"/>
                </a:cubicBezTo>
                <a:cubicBezTo>
                  <a:pt x="286" y="122"/>
                  <a:pt x="286" y="122"/>
                  <a:pt x="286" y="122"/>
                </a:cubicBezTo>
                <a:cubicBezTo>
                  <a:pt x="286" y="121"/>
                  <a:pt x="286" y="121"/>
                  <a:pt x="286" y="121"/>
                </a:cubicBezTo>
                <a:cubicBezTo>
                  <a:pt x="284" y="121"/>
                  <a:pt x="284" y="121"/>
                  <a:pt x="284" y="121"/>
                </a:cubicBezTo>
                <a:cubicBezTo>
                  <a:pt x="283" y="121"/>
                  <a:pt x="283" y="121"/>
                  <a:pt x="283" y="121"/>
                </a:cubicBezTo>
                <a:cubicBezTo>
                  <a:pt x="284" y="122"/>
                  <a:pt x="284" y="122"/>
                  <a:pt x="284" y="122"/>
                </a:cubicBezTo>
                <a:cubicBezTo>
                  <a:pt x="285" y="122"/>
                  <a:pt x="285" y="122"/>
                  <a:pt x="285" y="122"/>
                </a:cubicBezTo>
                <a:cubicBezTo>
                  <a:pt x="286" y="122"/>
                  <a:pt x="286" y="122"/>
                  <a:pt x="286" y="122"/>
                </a:cubicBezTo>
                <a:cubicBezTo>
                  <a:pt x="286" y="124"/>
                  <a:pt x="286" y="124"/>
                  <a:pt x="286" y="124"/>
                </a:cubicBezTo>
                <a:cubicBezTo>
                  <a:pt x="287" y="124"/>
                  <a:pt x="287" y="124"/>
                  <a:pt x="287" y="124"/>
                </a:cubicBezTo>
                <a:cubicBezTo>
                  <a:pt x="288" y="124"/>
                  <a:pt x="288" y="124"/>
                  <a:pt x="288" y="124"/>
                </a:cubicBezTo>
                <a:cubicBezTo>
                  <a:pt x="289" y="124"/>
                  <a:pt x="289" y="124"/>
                  <a:pt x="289" y="124"/>
                </a:cubicBezTo>
                <a:cubicBezTo>
                  <a:pt x="289" y="125"/>
                  <a:pt x="289" y="125"/>
                  <a:pt x="289" y="125"/>
                </a:cubicBezTo>
                <a:cubicBezTo>
                  <a:pt x="289" y="126"/>
                  <a:pt x="289" y="126"/>
                  <a:pt x="289" y="126"/>
                </a:cubicBezTo>
                <a:cubicBezTo>
                  <a:pt x="288" y="126"/>
                  <a:pt x="288" y="126"/>
                  <a:pt x="288" y="126"/>
                </a:cubicBezTo>
                <a:cubicBezTo>
                  <a:pt x="288" y="127"/>
                  <a:pt x="288" y="127"/>
                  <a:pt x="288" y="127"/>
                </a:cubicBezTo>
                <a:cubicBezTo>
                  <a:pt x="288" y="127"/>
                  <a:pt x="288" y="127"/>
                  <a:pt x="288" y="127"/>
                </a:cubicBezTo>
                <a:cubicBezTo>
                  <a:pt x="289" y="129"/>
                  <a:pt x="289" y="129"/>
                  <a:pt x="289" y="129"/>
                </a:cubicBezTo>
                <a:cubicBezTo>
                  <a:pt x="288" y="129"/>
                  <a:pt x="288" y="129"/>
                  <a:pt x="288" y="129"/>
                </a:cubicBezTo>
                <a:cubicBezTo>
                  <a:pt x="287" y="129"/>
                  <a:pt x="287" y="129"/>
                  <a:pt x="287" y="129"/>
                </a:cubicBezTo>
                <a:cubicBezTo>
                  <a:pt x="287" y="130"/>
                  <a:pt x="287" y="130"/>
                  <a:pt x="287" y="130"/>
                </a:cubicBezTo>
                <a:cubicBezTo>
                  <a:pt x="285" y="130"/>
                  <a:pt x="285" y="130"/>
                  <a:pt x="285" y="130"/>
                </a:cubicBezTo>
                <a:cubicBezTo>
                  <a:pt x="285" y="131"/>
                  <a:pt x="285" y="131"/>
                  <a:pt x="285" y="131"/>
                </a:cubicBezTo>
                <a:cubicBezTo>
                  <a:pt x="284" y="130"/>
                  <a:pt x="284" y="130"/>
                  <a:pt x="284" y="130"/>
                </a:cubicBezTo>
                <a:cubicBezTo>
                  <a:pt x="283" y="129"/>
                  <a:pt x="283" y="129"/>
                  <a:pt x="283" y="129"/>
                </a:cubicBezTo>
                <a:cubicBezTo>
                  <a:pt x="283" y="129"/>
                  <a:pt x="283" y="129"/>
                  <a:pt x="283" y="129"/>
                </a:cubicBezTo>
                <a:cubicBezTo>
                  <a:pt x="283" y="131"/>
                  <a:pt x="283" y="131"/>
                  <a:pt x="283" y="131"/>
                </a:cubicBezTo>
                <a:cubicBezTo>
                  <a:pt x="283" y="132"/>
                  <a:pt x="283" y="132"/>
                  <a:pt x="283" y="132"/>
                </a:cubicBezTo>
                <a:cubicBezTo>
                  <a:pt x="284" y="132"/>
                  <a:pt x="284" y="132"/>
                  <a:pt x="284" y="132"/>
                </a:cubicBezTo>
                <a:cubicBezTo>
                  <a:pt x="286" y="131"/>
                  <a:pt x="286" y="131"/>
                  <a:pt x="286" y="131"/>
                </a:cubicBezTo>
                <a:cubicBezTo>
                  <a:pt x="287" y="131"/>
                  <a:pt x="287" y="131"/>
                  <a:pt x="287" y="131"/>
                </a:cubicBezTo>
                <a:cubicBezTo>
                  <a:pt x="287" y="133"/>
                  <a:pt x="287" y="133"/>
                  <a:pt x="287" y="133"/>
                </a:cubicBezTo>
                <a:cubicBezTo>
                  <a:pt x="288" y="134"/>
                  <a:pt x="288" y="134"/>
                  <a:pt x="288" y="134"/>
                </a:cubicBezTo>
                <a:cubicBezTo>
                  <a:pt x="288" y="133"/>
                  <a:pt x="288" y="133"/>
                  <a:pt x="288" y="133"/>
                </a:cubicBezTo>
                <a:cubicBezTo>
                  <a:pt x="288" y="132"/>
                  <a:pt x="288" y="132"/>
                  <a:pt x="288" y="132"/>
                </a:cubicBezTo>
                <a:cubicBezTo>
                  <a:pt x="289" y="131"/>
                  <a:pt x="289" y="131"/>
                  <a:pt x="289" y="131"/>
                </a:cubicBezTo>
                <a:cubicBezTo>
                  <a:pt x="289" y="132"/>
                  <a:pt x="289" y="132"/>
                  <a:pt x="289" y="132"/>
                </a:cubicBezTo>
                <a:cubicBezTo>
                  <a:pt x="289" y="134"/>
                  <a:pt x="289" y="134"/>
                  <a:pt x="289" y="134"/>
                </a:cubicBezTo>
                <a:cubicBezTo>
                  <a:pt x="289" y="134"/>
                  <a:pt x="289" y="134"/>
                  <a:pt x="289" y="134"/>
                </a:cubicBezTo>
                <a:cubicBezTo>
                  <a:pt x="287" y="135"/>
                  <a:pt x="287" y="135"/>
                  <a:pt x="287" y="135"/>
                </a:cubicBezTo>
                <a:cubicBezTo>
                  <a:pt x="287" y="136"/>
                  <a:pt x="287" y="136"/>
                  <a:pt x="287" y="136"/>
                </a:cubicBezTo>
                <a:cubicBezTo>
                  <a:pt x="286" y="136"/>
                  <a:pt x="286" y="136"/>
                  <a:pt x="286" y="136"/>
                </a:cubicBezTo>
                <a:cubicBezTo>
                  <a:pt x="285" y="136"/>
                  <a:pt x="285" y="136"/>
                  <a:pt x="285" y="136"/>
                </a:cubicBezTo>
                <a:cubicBezTo>
                  <a:pt x="285" y="136"/>
                  <a:pt x="285" y="136"/>
                  <a:pt x="285" y="136"/>
                </a:cubicBezTo>
                <a:cubicBezTo>
                  <a:pt x="284" y="135"/>
                  <a:pt x="284" y="135"/>
                  <a:pt x="284" y="135"/>
                </a:cubicBezTo>
                <a:cubicBezTo>
                  <a:pt x="284" y="135"/>
                  <a:pt x="284" y="135"/>
                  <a:pt x="284" y="135"/>
                </a:cubicBezTo>
                <a:cubicBezTo>
                  <a:pt x="283" y="136"/>
                  <a:pt x="283" y="136"/>
                  <a:pt x="283" y="136"/>
                </a:cubicBezTo>
                <a:cubicBezTo>
                  <a:pt x="282" y="135"/>
                  <a:pt x="282" y="135"/>
                  <a:pt x="282" y="135"/>
                </a:cubicBezTo>
                <a:cubicBezTo>
                  <a:pt x="281" y="135"/>
                  <a:pt x="281" y="135"/>
                  <a:pt x="281" y="135"/>
                </a:cubicBezTo>
                <a:cubicBezTo>
                  <a:pt x="282" y="136"/>
                  <a:pt x="282" y="136"/>
                  <a:pt x="282" y="136"/>
                </a:cubicBezTo>
                <a:cubicBezTo>
                  <a:pt x="284" y="136"/>
                  <a:pt x="284" y="136"/>
                  <a:pt x="284" y="136"/>
                </a:cubicBezTo>
                <a:cubicBezTo>
                  <a:pt x="284" y="137"/>
                  <a:pt x="284" y="137"/>
                  <a:pt x="284" y="137"/>
                </a:cubicBezTo>
                <a:cubicBezTo>
                  <a:pt x="283" y="138"/>
                  <a:pt x="283" y="138"/>
                  <a:pt x="283" y="138"/>
                </a:cubicBezTo>
                <a:cubicBezTo>
                  <a:pt x="284" y="138"/>
                  <a:pt x="284" y="138"/>
                  <a:pt x="284" y="138"/>
                </a:cubicBezTo>
                <a:cubicBezTo>
                  <a:pt x="282" y="139"/>
                  <a:pt x="282" y="139"/>
                  <a:pt x="282" y="139"/>
                </a:cubicBezTo>
                <a:cubicBezTo>
                  <a:pt x="281" y="138"/>
                  <a:pt x="281" y="138"/>
                  <a:pt x="281" y="138"/>
                </a:cubicBezTo>
                <a:cubicBezTo>
                  <a:pt x="282" y="139"/>
                  <a:pt x="282" y="139"/>
                  <a:pt x="282" y="139"/>
                </a:cubicBezTo>
                <a:cubicBezTo>
                  <a:pt x="283" y="139"/>
                  <a:pt x="283" y="139"/>
                  <a:pt x="283" y="139"/>
                </a:cubicBezTo>
                <a:cubicBezTo>
                  <a:pt x="284" y="138"/>
                  <a:pt x="284" y="138"/>
                  <a:pt x="284" y="138"/>
                </a:cubicBezTo>
                <a:cubicBezTo>
                  <a:pt x="285" y="139"/>
                  <a:pt x="285" y="139"/>
                  <a:pt x="285" y="139"/>
                </a:cubicBezTo>
                <a:cubicBezTo>
                  <a:pt x="285" y="139"/>
                  <a:pt x="285" y="139"/>
                  <a:pt x="285" y="139"/>
                </a:cubicBezTo>
                <a:cubicBezTo>
                  <a:pt x="284" y="140"/>
                  <a:pt x="284" y="140"/>
                  <a:pt x="284" y="140"/>
                </a:cubicBezTo>
                <a:cubicBezTo>
                  <a:pt x="283" y="140"/>
                  <a:pt x="283" y="140"/>
                  <a:pt x="283" y="140"/>
                </a:cubicBezTo>
                <a:cubicBezTo>
                  <a:pt x="283" y="140"/>
                  <a:pt x="283" y="140"/>
                  <a:pt x="283" y="140"/>
                </a:cubicBezTo>
                <a:cubicBezTo>
                  <a:pt x="282" y="140"/>
                  <a:pt x="282" y="140"/>
                  <a:pt x="282" y="140"/>
                </a:cubicBezTo>
                <a:cubicBezTo>
                  <a:pt x="282" y="140"/>
                  <a:pt x="282" y="140"/>
                  <a:pt x="282" y="140"/>
                </a:cubicBezTo>
                <a:cubicBezTo>
                  <a:pt x="280" y="141"/>
                  <a:pt x="280" y="141"/>
                  <a:pt x="280" y="141"/>
                </a:cubicBezTo>
                <a:cubicBezTo>
                  <a:pt x="277" y="142"/>
                  <a:pt x="277" y="142"/>
                  <a:pt x="277" y="142"/>
                </a:cubicBezTo>
                <a:cubicBezTo>
                  <a:pt x="274" y="145"/>
                  <a:pt x="274" y="145"/>
                  <a:pt x="274" y="145"/>
                </a:cubicBezTo>
                <a:cubicBezTo>
                  <a:pt x="273" y="147"/>
                  <a:pt x="273" y="147"/>
                  <a:pt x="273" y="147"/>
                </a:cubicBezTo>
                <a:cubicBezTo>
                  <a:pt x="272" y="147"/>
                  <a:pt x="272" y="147"/>
                  <a:pt x="272" y="147"/>
                </a:cubicBezTo>
                <a:cubicBezTo>
                  <a:pt x="272" y="146"/>
                  <a:pt x="272" y="146"/>
                  <a:pt x="272" y="146"/>
                </a:cubicBezTo>
                <a:cubicBezTo>
                  <a:pt x="270" y="147"/>
                  <a:pt x="270" y="147"/>
                  <a:pt x="270" y="147"/>
                </a:cubicBezTo>
                <a:cubicBezTo>
                  <a:pt x="269" y="148"/>
                  <a:pt x="269" y="148"/>
                  <a:pt x="269" y="148"/>
                </a:cubicBezTo>
                <a:cubicBezTo>
                  <a:pt x="266" y="151"/>
                  <a:pt x="266" y="151"/>
                  <a:pt x="266" y="151"/>
                </a:cubicBezTo>
                <a:cubicBezTo>
                  <a:pt x="266" y="152"/>
                  <a:pt x="266" y="152"/>
                  <a:pt x="266" y="152"/>
                </a:cubicBezTo>
                <a:cubicBezTo>
                  <a:pt x="265" y="152"/>
                  <a:pt x="265" y="152"/>
                  <a:pt x="265" y="152"/>
                </a:cubicBezTo>
                <a:cubicBezTo>
                  <a:pt x="265" y="152"/>
                  <a:pt x="265" y="152"/>
                  <a:pt x="265" y="152"/>
                </a:cubicBezTo>
                <a:cubicBezTo>
                  <a:pt x="265" y="153"/>
                  <a:pt x="265" y="153"/>
                  <a:pt x="265" y="153"/>
                </a:cubicBezTo>
                <a:cubicBezTo>
                  <a:pt x="264" y="154"/>
                  <a:pt x="264" y="154"/>
                  <a:pt x="264" y="154"/>
                </a:cubicBezTo>
                <a:cubicBezTo>
                  <a:pt x="263" y="154"/>
                  <a:pt x="263" y="154"/>
                  <a:pt x="263" y="154"/>
                </a:cubicBezTo>
                <a:cubicBezTo>
                  <a:pt x="262" y="154"/>
                  <a:pt x="262" y="154"/>
                  <a:pt x="262" y="154"/>
                </a:cubicBezTo>
                <a:cubicBezTo>
                  <a:pt x="262" y="155"/>
                  <a:pt x="262" y="155"/>
                  <a:pt x="262" y="155"/>
                </a:cubicBezTo>
                <a:cubicBezTo>
                  <a:pt x="260" y="155"/>
                  <a:pt x="260" y="155"/>
                  <a:pt x="260" y="155"/>
                </a:cubicBezTo>
                <a:cubicBezTo>
                  <a:pt x="260" y="156"/>
                  <a:pt x="260" y="156"/>
                  <a:pt x="260" y="156"/>
                </a:cubicBezTo>
                <a:cubicBezTo>
                  <a:pt x="258" y="156"/>
                  <a:pt x="258" y="156"/>
                  <a:pt x="258" y="156"/>
                </a:cubicBezTo>
                <a:cubicBezTo>
                  <a:pt x="258" y="157"/>
                  <a:pt x="258" y="157"/>
                  <a:pt x="258" y="157"/>
                </a:cubicBezTo>
                <a:cubicBezTo>
                  <a:pt x="256" y="157"/>
                  <a:pt x="256" y="157"/>
                  <a:pt x="256" y="157"/>
                </a:cubicBezTo>
                <a:cubicBezTo>
                  <a:pt x="256" y="157"/>
                  <a:pt x="256" y="157"/>
                  <a:pt x="256" y="157"/>
                </a:cubicBezTo>
                <a:cubicBezTo>
                  <a:pt x="255" y="157"/>
                  <a:pt x="255" y="157"/>
                  <a:pt x="255" y="157"/>
                </a:cubicBezTo>
                <a:cubicBezTo>
                  <a:pt x="254" y="158"/>
                  <a:pt x="254" y="158"/>
                  <a:pt x="254" y="158"/>
                </a:cubicBezTo>
                <a:cubicBezTo>
                  <a:pt x="255" y="158"/>
                  <a:pt x="255" y="158"/>
                  <a:pt x="255" y="158"/>
                </a:cubicBezTo>
                <a:cubicBezTo>
                  <a:pt x="255" y="159"/>
                  <a:pt x="255" y="159"/>
                  <a:pt x="255" y="159"/>
                </a:cubicBezTo>
                <a:cubicBezTo>
                  <a:pt x="254" y="160"/>
                  <a:pt x="254" y="160"/>
                  <a:pt x="254" y="160"/>
                </a:cubicBezTo>
                <a:cubicBezTo>
                  <a:pt x="253" y="160"/>
                  <a:pt x="253" y="160"/>
                  <a:pt x="253" y="160"/>
                </a:cubicBezTo>
                <a:cubicBezTo>
                  <a:pt x="253" y="161"/>
                  <a:pt x="253" y="161"/>
                  <a:pt x="253" y="161"/>
                </a:cubicBezTo>
                <a:cubicBezTo>
                  <a:pt x="252" y="161"/>
                  <a:pt x="252" y="161"/>
                  <a:pt x="252" y="161"/>
                </a:cubicBezTo>
                <a:cubicBezTo>
                  <a:pt x="251" y="163"/>
                  <a:pt x="251" y="163"/>
                  <a:pt x="251" y="163"/>
                </a:cubicBezTo>
                <a:cubicBezTo>
                  <a:pt x="250" y="165"/>
                  <a:pt x="250" y="165"/>
                  <a:pt x="250" y="165"/>
                </a:cubicBezTo>
                <a:cubicBezTo>
                  <a:pt x="250" y="167"/>
                  <a:pt x="250" y="167"/>
                  <a:pt x="250" y="167"/>
                </a:cubicBezTo>
                <a:cubicBezTo>
                  <a:pt x="249" y="171"/>
                  <a:pt x="249" y="171"/>
                  <a:pt x="249" y="171"/>
                </a:cubicBezTo>
                <a:cubicBezTo>
                  <a:pt x="249" y="173"/>
                  <a:pt x="249" y="173"/>
                  <a:pt x="249" y="173"/>
                </a:cubicBezTo>
                <a:cubicBezTo>
                  <a:pt x="249" y="175"/>
                  <a:pt x="249" y="175"/>
                  <a:pt x="249" y="175"/>
                </a:cubicBezTo>
                <a:cubicBezTo>
                  <a:pt x="250" y="177"/>
                  <a:pt x="250" y="177"/>
                  <a:pt x="250" y="177"/>
                </a:cubicBezTo>
                <a:cubicBezTo>
                  <a:pt x="250" y="180"/>
                  <a:pt x="250" y="180"/>
                  <a:pt x="250" y="180"/>
                </a:cubicBezTo>
                <a:cubicBezTo>
                  <a:pt x="251" y="181"/>
                  <a:pt x="251" y="181"/>
                  <a:pt x="251" y="181"/>
                </a:cubicBezTo>
                <a:cubicBezTo>
                  <a:pt x="251" y="184"/>
                  <a:pt x="251" y="184"/>
                  <a:pt x="251" y="184"/>
                </a:cubicBezTo>
                <a:cubicBezTo>
                  <a:pt x="252" y="185"/>
                  <a:pt x="252" y="185"/>
                  <a:pt x="252" y="185"/>
                </a:cubicBezTo>
                <a:cubicBezTo>
                  <a:pt x="253" y="186"/>
                  <a:pt x="253" y="186"/>
                  <a:pt x="253" y="186"/>
                </a:cubicBezTo>
                <a:cubicBezTo>
                  <a:pt x="252" y="188"/>
                  <a:pt x="252" y="188"/>
                  <a:pt x="252" y="188"/>
                </a:cubicBezTo>
                <a:cubicBezTo>
                  <a:pt x="252" y="190"/>
                  <a:pt x="252" y="190"/>
                  <a:pt x="252" y="190"/>
                </a:cubicBezTo>
                <a:cubicBezTo>
                  <a:pt x="252" y="190"/>
                  <a:pt x="252" y="190"/>
                  <a:pt x="252" y="190"/>
                </a:cubicBezTo>
                <a:cubicBezTo>
                  <a:pt x="253" y="194"/>
                  <a:pt x="253" y="194"/>
                  <a:pt x="253" y="194"/>
                </a:cubicBezTo>
                <a:cubicBezTo>
                  <a:pt x="254" y="195"/>
                  <a:pt x="254" y="195"/>
                  <a:pt x="254" y="195"/>
                </a:cubicBezTo>
                <a:cubicBezTo>
                  <a:pt x="255" y="197"/>
                  <a:pt x="255" y="197"/>
                  <a:pt x="255" y="197"/>
                </a:cubicBezTo>
                <a:cubicBezTo>
                  <a:pt x="254" y="198"/>
                  <a:pt x="254" y="198"/>
                  <a:pt x="254" y="198"/>
                </a:cubicBezTo>
                <a:cubicBezTo>
                  <a:pt x="254" y="198"/>
                  <a:pt x="254" y="198"/>
                  <a:pt x="254" y="198"/>
                </a:cubicBezTo>
                <a:cubicBezTo>
                  <a:pt x="254" y="200"/>
                  <a:pt x="254" y="200"/>
                  <a:pt x="254" y="200"/>
                </a:cubicBezTo>
                <a:cubicBezTo>
                  <a:pt x="254" y="201"/>
                  <a:pt x="254" y="201"/>
                  <a:pt x="254" y="201"/>
                </a:cubicBezTo>
                <a:cubicBezTo>
                  <a:pt x="254" y="202"/>
                  <a:pt x="254" y="202"/>
                  <a:pt x="254" y="202"/>
                </a:cubicBezTo>
                <a:cubicBezTo>
                  <a:pt x="253" y="204"/>
                  <a:pt x="253" y="204"/>
                  <a:pt x="253" y="204"/>
                </a:cubicBezTo>
                <a:cubicBezTo>
                  <a:pt x="252" y="206"/>
                  <a:pt x="252" y="206"/>
                  <a:pt x="252" y="206"/>
                </a:cubicBezTo>
                <a:cubicBezTo>
                  <a:pt x="251" y="207"/>
                  <a:pt x="251" y="207"/>
                  <a:pt x="251" y="207"/>
                </a:cubicBezTo>
                <a:cubicBezTo>
                  <a:pt x="251" y="208"/>
                  <a:pt x="251" y="208"/>
                  <a:pt x="251" y="208"/>
                </a:cubicBezTo>
                <a:cubicBezTo>
                  <a:pt x="250" y="209"/>
                  <a:pt x="250" y="209"/>
                  <a:pt x="250" y="209"/>
                </a:cubicBezTo>
                <a:cubicBezTo>
                  <a:pt x="249" y="209"/>
                  <a:pt x="249" y="209"/>
                  <a:pt x="249" y="209"/>
                </a:cubicBezTo>
                <a:cubicBezTo>
                  <a:pt x="248" y="209"/>
                  <a:pt x="248" y="209"/>
                  <a:pt x="248" y="209"/>
                </a:cubicBezTo>
                <a:cubicBezTo>
                  <a:pt x="247" y="208"/>
                  <a:pt x="247" y="208"/>
                  <a:pt x="247" y="208"/>
                </a:cubicBezTo>
                <a:cubicBezTo>
                  <a:pt x="246" y="208"/>
                  <a:pt x="246" y="208"/>
                  <a:pt x="246" y="208"/>
                </a:cubicBezTo>
                <a:cubicBezTo>
                  <a:pt x="247" y="207"/>
                  <a:pt x="247" y="207"/>
                  <a:pt x="247" y="207"/>
                </a:cubicBezTo>
                <a:cubicBezTo>
                  <a:pt x="245" y="206"/>
                  <a:pt x="245" y="206"/>
                  <a:pt x="245" y="206"/>
                </a:cubicBezTo>
                <a:cubicBezTo>
                  <a:pt x="245" y="205"/>
                  <a:pt x="245" y="205"/>
                  <a:pt x="245" y="205"/>
                </a:cubicBezTo>
                <a:cubicBezTo>
                  <a:pt x="245" y="204"/>
                  <a:pt x="245" y="204"/>
                  <a:pt x="245" y="204"/>
                </a:cubicBezTo>
                <a:cubicBezTo>
                  <a:pt x="244" y="204"/>
                  <a:pt x="244" y="204"/>
                  <a:pt x="244" y="204"/>
                </a:cubicBezTo>
                <a:cubicBezTo>
                  <a:pt x="243" y="204"/>
                  <a:pt x="243" y="204"/>
                  <a:pt x="243" y="204"/>
                </a:cubicBezTo>
                <a:cubicBezTo>
                  <a:pt x="243" y="202"/>
                  <a:pt x="243" y="202"/>
                  <a:pt x="243" y="202"/>
                </a:cubicBezTo>
                <a:cubicBezTo>
                  <a:pt x="243" y="201"/>
                  <a:pt x="243" y="201"/>
                  <a:pt x="243" y="201"/>
                </a:cubicBezTo>
                <a:cubicBezTo>
                  <a:pt x="242" y="200"/>
                  <a:pt x="242" y="200"/>
                  <a:pt x="242" y="200"/>
                </a:cubicBezTo>
                <a:cubicBezTo>
                  <a:pt x="241" y="199"/>
                  <a:pt x="241" y="199"/>
                  <a:pt x="241" y="199"/>
                </a:cubicBezTo>
                <a:cubicBezTo>
                  <a:pt x="242" y="198"/>
                  <a:pt x="242" y="198"/>
                  <a:pt x="242" y="198"/>
                </a:cubicBezTo>
                <a:cubicBezTo>
                  <a:pt x="242" y="197"/>
                  <a:pt x="242" y="197"/>
                  <a:pt x="242" y="197"/>
                </a:cubicBezTo>
                <a:cubicBezTo>
                  <a:pt x="243" y="196"/>
                  <a:pt x="243" y="196"/>
                  <a:pt x="243" y="196"/>
                </a:cubicBezTo>
                <a:cubicBezTo>
                  <a:pt x="242" y="197"/>
                  <a:pt x="242" y="197"/>
                  <a:pt x="242" y="197"/>
                </a:cubicBezTo>
                <a:cubicBezTo>
                  <a:pt x="241" y="196"/>
                  <a:pt x="241" y="196"/>
                  <a:pt x="241" y="196"/>
                </a:cubicBezTo>
                <a:cubicBezTo>
                  <a:pt x="241" y="197"/>
                  <a:pt x="241" y="197"/>
                  <a:pt x="241" y="197"/>
                </a:cubicBezTo>
                <a:cubicBezTo>
                  <a:pt x="241" y="197"/>
                  <a:pt x="241" y="197"/>
                  <a:pt x="241" y="197"/>
                </a:cubicBezTo>
                <a:cubicBezTo>
                  <a:pt x="241" y="196"/>
                  <a:pt x="241" y="196"/>
                  <a:pt x="241" y="196"/>
                </a:cubicBezTo>
                <a:cubicBezTo>
                  <a:pt x="240" y="196"/>
                  <a:pt x="240" y="196"/>
                  <a:pt x="240" y="196"/>
                </a:cubicBezTo>
                <a:cubicBezTo>
                  <a:pt x="240" y="196"/>
                  <a:pt x="240" y="196"/>
                  <a:pt x="240" y="196"/>
                </a:cubicBezTo>
                <a:cubicBezTo>
                  <a:pt x="239" y="195"/>
                  <a:pt x="239" y="195"/>
                  <a:pt x="239" y="195"/>
                </a:cubicBezTo>
                <a:cubicBezTo>
                  <a:pt x="239" y="194"/>
                  <a:pt x="239" y="194"/>
                  <a:pt x="239" y="194"/>
                </a:cubicBezTo>
                <a:cubicBezTo>
                  <a:pt x="239" y="193"/>
                  <a:pt x="239" y="193"/>
                  <a:pt x="239" y="193"/>
                </a:cubicBezTo>
                <a:cubicBezTo>
                  <a:pt x="240" y="191"/>
                  <a:pt x="240" y="191"/>
                  <a:pt x="240" y="191"/>
                </a:cubicBezTo>
                <a:cubicBezTo>
                  <a:pt x="240" y="190"/>
                  <a:pt x="240" y="190"/>
                  <a:pt x="240" y="190"/>
                </a:cubicBezTo>
                <a:cubicBezTo>
                  <a:pt x="239" y="189"/>
                  <a:pt x="239" y="189"/>
                  <a:pt x="239" y="189"/>
                </a:cubicBezTo>
                <a:cubicBezTo>
                  <a:pt x="239" y="190"/>
                  <a:pt x="239" y="190"/>
                  <a:pt x="239" y="190"/>
                </a:cubicBezTo>
                <a:cubicBezTo>
                  <a:pt x="239" y="190"/>
                  <a:pt x="239" y="190"/>
                  <a:pt x="239" y="190"/>
                </a:cubicBezTo>
                <a:cubicBezTo>
                  <a:pt x="238" y="191"/>
                  <a:pt x="238" y="191"/>
                  <a:pt x="238" y="191"/>
                </a:cubicBezTo>
                <a:cubicBezTo>
                  <a:pt x="238" y="191"/>
                  <a:pt x="238" y="191"/>
                  <a:pt x="238" y="191"/>
                </a:cubicBezTo>
                <a:cubicBezTo>
                  <a:pt x="237" y="190"/>
                  <a:pt x="237" y="190"/>
                  <a:pt x="237" y="190"/>
                </a:cubicBezTo>
                <a:cubicBezTo>
                  <a:pt x="237" y="189"/>
                  <a:pt x="237" y="189"/>
                  <a:pt x="237" y="189"/>
                </a:cubicBezTo>
                <a:cubicBezTo>
                  <a:pt x="239" y="187"/>
                  <a:pt x="239" y="187"/>
                  <a:pt x="239" y="187"/>
                </a:cubicBezTo>
                <a:cubicBezTo>
                  <a:pt x="239" y="184"/>
                  <a:pt x="239" y="184"/>
                  <a:pt x="239" y="184"/>
                </a:cubicBezTo>
                <a:cubicBezTo>
                  <a:pt x="239" y="183"/>
                  <a:pt x="239" y="183"/>
                  <a:pt x="239" y="183"/>
                </a:cubicBezTo>
                <a:cubicBezTo>
                  <a:pt x="239" y="181"/>
                  <a:pt x="239" y="181"/>
                  <a:pt x="239" y="181"/>
                </a:cubicBezTo>
                <a:cubicBezTo>
                  <a:pt x="238" y="181"/>
                  <a:pt x="238" y="181"/>
                  <a:pt x="238" y="181"/>
                </a:cubicBezTo>
                <a:cubicBezTo>
                  <a:pt x="237" y="180"/>
                  <a:pt x="237" y="180"/>
                  <a:pt x="237" y="180"/>
                </a:cubicBezTo>
                <a:cubicBezTo>
                  <a:pt x="237" y="179"/>
                  <a:pt x="237" y="179"/>
                  <a:pt x="237" y="179"/>
                </a:cubicBezTo>
                <a:cubicBezTo>
                  <a:pt x="237" y="179"/>
                  <a:pt x="237" y="179"/>
                  <a:pt x="237" y="179"/>
                </a:cubicBezTo>
                <a:cubicBezTo>
                  <a:pt x="236" y="179"/>
                  <a:pt x="236" y="179"/>
                  <a:pt x="236" y="179"/>
                </a:cubicBezTo>
                <a:cubicBezTo>
                  <a:pt x="236" y="177"/>
                  <a:pt x="236" y="177"/>
                  <a:pt x="236" y="177"/>
                </a:cubicBezTo>
                <a:cubicBezTo>
                  <a:pt x="235" y="177"/>
                  <a:pt x="235" y="177"/>
                  <a:pt x="235" y="177"/>
                </a:cubicBezTo>
                <a:cubicBezTo>
                  <a:pt x="235" y="177"/>
                  <a:pt x="235" y="177"/>
                  <a:pt x="235" y="177"/>
                </a:cubicBezTo>
                <a:cubicBezTo>
                  <a:pt x="234" y="174"/>
                  <a:pt x="234" y="174"/>
                  <a:pt x="234" y="174"/>
                </a:cubicBezTo>
                <a:cubicBezTo>
                  <a:pt x="232" y="174"/>
                  <a:pt x="232" y="174"/>
                  <a:pt x="232" y="174"/>
                </a:cubicBezTo>
                <a:cubicBezTo>
                  <a:pt x="232" y="174"/>
                  <a:pt x="232" y="174"/>
                  <a:pt x="232" y="174"/>
                </a:cubicBezTo>
                <a:cubicBezTo>
                  <a:pt x="230" y="174"/>
                  <a:pt x="230" y="174"/>
                  <a:pt x="230" y="174"/>
                </a:cubicBezTo>
                <a:cubicBezTo>
                  <a:pt x="230" y="174"/>
                  <a:pt x="230" y="174"/>
                  <a:pt x="230" y="174"/>
                </a:cubicBezTo>
                <a:cubicBezTo>
                  <a:pt x="230" y="175"/>
                  <a:pt x="230" y="175"/>
                  <a:pt x="230" y="175"/>
                </a:cubicBezTo>
                <a:cubicBezTo>
                  <a:pt x="229" y="175"/>
                  <a:pt x="229" y="175"/>
                  <a:pt x="229" y="175"/>
                </a:cubicBezTo>
                <a:cubicBezTo>
                  <a:pt x="229" y="175"/>
                  <a:pt x="229" y="175"/>
                  <a:pt x="229" y="175"/>
                </a:cubicBezTo>
                <a:cubicBezTo>
                  <a:pt x="227" y="176"/>
                  <a:pt x="227" y="176"/>
                  <a:pt x="227" y="176"/>
                </a:cubicBezTo>
                <a:cubicBezTo>
                  <a:pt x="226" y="176"/>
                  <a:pt x="226" y="176"/>
                  <a:pt x="226" y="176"/>
                </a:cubicBezTo>
                <a:cubicBezTo>
                  <a:pt x="224" y="177"/>
                  <a:pt x="224" y="177"/>
                  <a:pt x="224" y="177"/>
                </a:cubicBezTo>
                <a:cubicBezTo>
                  <a:pt x="224" y="176"/>
                  <a:pt x="224" y="176"/>
                  <a:pt x="224" y="176"/>
                </a:cubicBezTo>
                <a:cubicBezTo>
                  <a:pt x="224" y="176"/>
                  <a:pt x="224" y="176"/>
                  <a:pt x="224" y="176"/>
                </a:cubicBezTo>
                <a:cubicBezTo>
                  <a:pt x="224" y="176"/>
                  <a:pt x="224" y="176"/>
                  <a:pt x="224" y="176"/>
                </a:cubicBezTo>
                <a:cubicBezTo>
                  <a:pt x="225" y="176"/>
                  <a:pt x="225" y="176"/>
                  <a:pt x="225" y="176"/>
                </a:cubicBezTo>
                <a:cubicBezTo>
                  <a:pt x="224" y="175"/>
                  <a:pt x="224" y="175"/>
                  <a:pt x="224" y="175"/>
                </a:cubicBezTo>
                <a:cubicBezTo>
                  <a:pt x="224" y="175"/>
                  <a:pt x="224" y="175"/>
                  <a:pt x="224" y="175"/>
                </a:cubicBezTo>
                <a:cubicBezTo>
                  <a:pt x="222" y="174"/>
                  <a:pt x="222" y="174"/>
                  <a:pt x="222" y="174"/>
                </a:cubicBezTo>
                <a:cubicBezTo>
                  <a:pt x="222" y="173"/>
                  <a:pt x="222" y="173"/>
                  <a:pt x="222" y="173"/>
                </a:cubicBezTo>
                <a:cubicBezTo>
                  <a:pt x="223" y="174"/>
                  <a:pt x="223" y="174"/>
                  <a:pt x="223" y="174"/>
                </a:cubicBezTo>
                <a:cubicBezTo>
                  <a:pt x="223" y="173"/>
                  <a:pt x="223" y="173"/>
                  <a:pt x="223" y="173"/>
                </a:cubicBezTo>
                <a:cubicBezTo>
                  <a:pt x="222" y="173"/>
                  <a:pt x="222" y="173"/>
                  <a:pt x="222" y="173"/>
                </a:cubicBezTo>
                <a:cubicBezTo>
                  <a:pt x="222" y="172"/>
                  <a:pt x="222" y="172"/>
                  <a:pt x="222" y="172"/>
                </a:cubicBezTo>
                <a:cubicBezTo>
                  <a:pt x="221" y="172"/>
                  <a:pt x="221" y="172"/>
                  <a:pt x="221" y="172"/>
                </a:cubicBezTo>
                <a:cubicBezTo>
                  <a:pt x="221" y="172"/>
                  <a:pt x="221" y="172"/>
                  <a:pt x="221" y="172"/>
                </a:cubicBezTo>
                <a:cubicBezTo>
                  <a:pt x="222" y="173"/>
                  <a:pt x="222" y="173"/>
                  <a:pt x="222" y="173"/>
                </a:cubicBezTo>
                <a:cubicBezTo>
                  <a:pt x="221" y="173"/>
                  <a:pt x="221" y="173"/>
                  <a:pt x="221" y="173"/>
                </a:cubicBezTo>
                <a:cubicBezTo>
                  <a:pt x="220" y="172"/>
                  <a:pt x="220" y="172"/>
                  <a:pt x="220" y="172"/>
                </a:cubicBezTo>
                <a:cubicBezTo>
                  <a:pt x="218" y="172"/>
                  <a:pt x="218" y="172"/>
                  <a:pt x="218" y="172"/>
                </a:cubicBezTo>
                <a:cubicBezTo>
                  <a:pt x="217" y="172"/>
                  <a:pt x="217" y="172"/>
                  <a:pt x="217" y="172"/>
                </a:cubicBezTo>
                <a:cubicBezTo>
                  <a:pt x="217" y="171"/>
                  <a:pt x="217" y="171"/>
                  <a:pt x="217" y="171"/>
                </a:cubicBezTo>
                <a:cubicBezTo>
                  <a:pt x="218" y="171"/>
                  <a:pt x="218" y="171"/>
                  <a:pt x="218" y="171"/>
                </a:cubicBezTo>
                <a:cubicBezTo>
                  <a:pt x="219" y="171"/>
                  <a:pt x="219" y="171"/>
                  <a:pt x="219" y="171"/>
                </a:cubicBezTo>
                <a:cubicBezTo>
                  <a:pt x="219" y="171"/>
                  <a:pt x="219" y="171"/>
                  <a:pt x="219" y="171"/>
                </a:cubicBezTo>
                <a:cubicBezTo>
                  <a:pt x="217" y="171"/>
                  <a:pt x="217" y="171"/>
                  <a:pt x="217" y="171"/>
                </a:cubicBezTo>
                <a:cubicBezTo>
                  <a:pt x="216" y="172"/>
                  <a:pt x="216" y="172"/>
                  <a:pt x="216" y="172"/>
                </a:cubicBezTo>
                <a:cubicBezTo>
                  <a:pt x="216" y="171"/>
                  <a:pt x="216" y="171"/>
                  <a:pt x="216" y="171"/>
                </a:cubicBezTo>
                <a:cubicBezTo>
                  <a:pt x="214" y="172"/>
                  <a:pt x="214" y="172"/>
                  <a:pt x="214" y="172"/>
                </a:cubicBezTo>
                <a:cubicBezTo>
                  <a:pt x="213" y="171"/>
                  <a:pt x="213" y="171"/>
                  <a:pt x="213" y="171"/>
                </a:cubicBezTo>
                <a:cubicBezTo>
                  <a:pt x="212" y="171"/>
                  <a:pt x="212" y="171"/>
                  <a:pt x="212" y="171"/>
                </a:cubicBezTo>
                <a:cubicBezTo>
                  <a:pt x="210" y="171"/>
                  <a:pt x="210" y="171"/>
                  <a:pt x="210" y="171"/>
                </a:cubicBezTo>
                <a:cubicBezTo>
                  <a:pt x="209" y="172"/>
                  <a:pt x="209" y="172"/>
                  <a:pt x="209" y="172"/>
                </a:cubicBezTo>
                <a:cubicBezTo>
                  <a:pt x="208" y="171"/>
                  <a:pt x="208" y="171"/>
                  <a:pt x="208" y="171"/>
                </a:cubicBezTo>
                <a:cubicBezTo>
                  <a:pt x="208" y="170"/>
                  <a:pt x="208" y="170"/>
                  <a:pt x="208" y="170"/>
                </a:cubicBezTo>
                <a:cubicBezTo>
                  <a:pt x="208" y="169"/>
                  <a:pt x="208" y="169"/>
                  <a:pt x="208" y="169"/>
                </a:cubicBezTo>
                <a:cubicBezTo>
                  <a:pt x="207" y="169"/>
                  <a:pt x="207" y="169"/>
                  <a:pt x="207" y="169"/>
                </a:cubicBezTo>
                <a:cubicBezTo>
                  <a:pt x="207" y="170"/>
                  <a:pt x="207" y="170"/>
                  <a:pt x="207" y="170"/>
                </a:cubicBezTo>
                <a:cubicBezTo>
                  <a:pt x="206" y="171"/>
                  <a:pt x="206" y="171"/>
                  <a:pt x="206" y="171"/>
                </a:cubicBezTo>
                <a:cubicBezTo>
                  <a:pt x="205" y="171"/>
                  <a:pt x="205" y="171"/>
                  <a:pt x="205" y="171"/>
                </a:cubicBezTo>
                <a:cubicBezTo>
                  <a:pt x="205" y="171"/>
                  <a:pt x="205" y="171"/>
                  <a:pt x="205" y="171"/>
                </a:cubicBezTo>
                <a:cubicBezTo>
                  <a:pt x="203" y="171"/>
                  <a:pt x="203" y="171"/>
                  <a:pt x="203" y="171"/>
                </a:cubicBezTo>
                <a:cubicBezTo>
                  <a:pt x="199" y="172"/>
                  <a:pt x="199" y="172"/>
                  <a:pt x="199" y="172"/>
                </a:cubicBezTo>
                <a:cubicBezTo>
                  <a:pt x="198" y="173"/>
                  <a:pt x="198" y="173"/>
                  <a:pt x="198" y="173"/>
                </a:cubicBezTo>
                <a:cubicBezTo>
                  <a:pt x="196" y="173"/>
                  <a:pt x="196" y="173"/>
                  <a:pt x="196" y="173"/>
                </a:cubicBezTo>
                <a:cubicBezTo>
                  <a:pt x="195" y="175"/>
                  <a:pt x="195" y="175"/>
                  <a:pt x="195" y="175"/>
                </a:cubicBezTo>
                <a:cubicBezTo>
                  <a:pt x="195" y="176"/>
                  <a:pt x="195" y="176"/>
                  <a:pt x="195" y="176"/>
                </a:cubicBezTo>
                <a:cubicBezTo>
                  <a:pt x="196" y="175"/>
                  <a:pt x="196" y="175"/>
                  <a:pt x="196" y="175"/>
                </a:cubicBezTo>
                <a:cubicBezTo>
                  <a:pt x="197" y="174"/>
                  <a:pt x="197" y="174"/>
                  <a:pt x="197" y="174"/>
                </a:cubicBezTo>
                <a:cubicBezTo>
                  <a:pt x="197" y="175"/>
                  <a:pt x="197" y="175"/>
                  <a:pt x="197" y="175"/>
                </a:cubicBezTo>
                <a:cubicBezTo>
                  <a:pt x="198" y="175"/>
                  <a:pt x="198" y="175"/>
                  <a:pt x="198" y="175"/>
                </a:cubicBezTo>
                <a:cubicBezTo>
                  <a:pt x="199" y="176"/>
                  <a:pt x="199" y="176"/>
                  <a:pt x="199" y="176"/>
                </a:cubicBezTo>
                <a:cubicBezTo>
                  <a:pt x="198" y="176"/>
                  <a:pt x="198" y="176"/>
                  <a:pt x="198" y="176"/>
                </a:cubicBezTo>
                <a:cubicBezTo>
                  <a:pt x="196" y="177"/>
                  <a:pt x="196" y="177"/>
                  <a:pt x="196" y="177"/>
                </a:cubicBezTo>
                <a:cubicBezTo>
                  <a:pt x="196" y="178"/>
                  <a:pt x="196" y="178"/>
                  <a:pt x="196" y="178"/>
                </a:cubicBezTo>
                <a:cubicBezTo>
                  <a:pt x="197" y="179"/>
                  <a:pt x="197" y="179"/>
                  <a:pt x="197" y="179"/>
                </a:cubicBezTo>
                <a:cubicBezTo>
                  <a:pt x="199" y="179"/>
                  <a:pt x="199" y="179"/>
                  <a:pt x="199" y="179"/>
                </a:cubicBezTo>
                <a:cubicBezTo>
                  <a:pt x="200" y="181"/>
                  <a:pt x="200" y="181"/>
                  <a:pt x="200" y="181"/>
                </a:cubicBezTo>
                <a:cubicBezTo>
                  <a:pt x="200" y="181"/>
                  <a:pt x="200" y="181"/>
                  <a:pt x="200" y="181"/>
                </a:cubicBezTo>
                <a:cubicBezTo>
                  <a:pt x="199" y="181"/>
                  <a:pt x="199" y="181"/>
                  <a:pt x="199" y="181"/>
                </a:cubicBezTo>
                <a:cubicBezTo>
                  <a:pt x="199" y="182"/>
                  <a:pt x="199" y="182"/>
                  <a:pt x="199" y="182"/>
                </a:cubicBezTo>
                <a:cubicBezTo>
                  <a:pt x="199" y="181"/>
                  <a:pt x="199" y="181"/>
                  <a:pt x="199" y="181"/>
                </a:cubicBezTo>
                <a:cubicBezTo>
                  <a:pt x="198" y="180"/>
                  <a:pt x="198" y="180"/>
                  <a:pt x="198" y="180"/>
                </a:cubicBezTo>
                <a:cubicBezTo>
                  <a:pt x="197" y="181"/>
                  <a:pt x="197" y="181"/>
                  <a:pt x="197" y="181"/>
                </a:cubicBezTo>
                <a:cubicBezTo>
                  <a:pt x="197" y="180"/>
                  <a:pt x="197" y="180"/>
                  <a:pt x="197" y="180"/>
                </a:cubicBezTo>
                <a:cubicBezTo>
                  <a:pt x="196" y="179"/>
                  <a:pt x="196" y="179"/>
                  <a:pt x="196" y="179"/>
                </a:cubicBezTo>
                <a:cubicBezTo>
                  <a:pt x="195" y="178"/>
                  <a:pt x="195" y="178"/>
                  <a:pt x="195" y="178"/>
                </a:cubicBezTo>
                <a:cubicBezTo>
                  <a:pt x="194" y="178"/>
                  <a:pt x="194" y="178"/>
                  <a:pt x="194" y="178"/>
                </a:cubicBezTo>
                <a:cubicBezTo>
                  <a:pt x="194" y="179"/>
                  <a:pt x="194" y="179"/>
                  <a:pt x="194" y="179"/>
                </a:cubicBezTo>
                <a:cubicBezTo>
                  <a:pt x="194" y="181"/>
                  <a:pt x="194" y="181"/>
                  <a:pt x="194" y="181"/>
                </a:cubicBezTo>
                <a:cubicBezTo>
                  <a:pt x="193" y="181"/>
                  <a:pt x="193" y="181"/>
                  <a:pt x="193" y="181"/>
                </a:cubicBezTo>
                <a:cubicBezTo>
                  <a:pt x="193" y="180"/>
                  <a:pt x="193" y="180"/>
                  <a:pt x="193" y="180"/>
                </a:cubicBezTo>
                <a:cubicBezTo>
                  <a:pt x="192" y="180"/>
                  <a:pt x="192" y="180"/>
                  <a:pt x="192" y="180"/>
                </a:cubicBezTo>
                <a:cubicBezTo>
                  <a:pt x="191" y="180"/>
                  <a:pt x="191" y="180"/>
                  <a:pt x="191" y="180"/>
                </a:cubicBezTo>
                <a:cubicBezTo>
                  <a:pt x="190" y="181"/>
                  <a:pt x="190" y="181"/>
                  <a:pt x="190" y="181"/>
                </a:cubicBezTo>
                <a:cubicBezTo>
                  <a:pt x="189" y="181"/>
                  <a:pt x="189" y="181"/>
                  <a:pt x="189" y="181"/>
                </a:cubicBezTo>
                <a:cubicBezTo>
                  <a:pt x="188" y="180"/>
                  <a:pt x="188" y="180"/>
                  <a:pt x="188" y="180"/>
                </a:cubicBezTo>
                <a:cubicBezTo>
                  <a:pt x="187" y="180"/>
                  <a:pt x="187" y="180"/>
                  <a:pt x="187" y="180"/>
                </a:cubicBezTo>
                <a:cubicBezTo>
                  <a:pt x="186" y="180"/>
                  <a:pt x="186" y="180"/>
                  <a:pt x="186" y="180"/>
                </a:cubicBezTo>
                <a:cubicBezTo>
                  <a:pt x="187" y="179"/>
                  <a:pt x="187" y="179"/>
                  <a:pt x="187" y="179"/>
                </a:cubicBezTo>
                <a:cubicBezTo>
                  <a:pt x="187" y="179"/>
                  <a:pt x="187" y="179"/>
                  <a:pt x="187" y="179"/>
                </a:cubicBezTo>
                <a:cubicBezTo>
                  <a:pt x="187" y="178"/>
                  <a:pt x="187" y="178"/>
                  <a:pt x="187" y="178"/>
                </a:cubicBezTo>
                <a:cubicBezTo>
                  <a:pt x="186" y="178"/>
                  <a:pt x="186" y="178"/>
                  <a:pt x="186" y="178"/>
                </a:cubicBezTo>
                <a:cubicBezTo>
                  <a:pt x="185" y="178"/>
                  <a:pt x="185" y="178"/>
                  <a:pt x="185" y="178"/>
                </a:cubicBezTo>
                <a:cubicBezTo>
                  <a:pt x="185" y="177"/>
                  <a:pt x="185" y="177"/>
                  <a:pt x="185" y="177"/>
                </a:cubicBezTo>
                <a:cubicBezTo>
                  <a:pt x="185" y="176"/>
                  <a:pt x="185" y="176"/>
                  <a:pt x="185" y="176"/>
                </a:cubicBezTo>
                <a:cubicBezTo>
                  <a:pt x="184" y="177"/>
                  <a:pt x="184" y="177"/>
                  <a:pt x="184" y="177"/>
                </a:cubicBezTo>
                <a:cubicBezTo>
                  <a:pt x="183" y="176"/>
                  <a:pt x="183" y="176"/>
                  <a:pt x="183" y="176"/>
                </a:cubicBezTo>
                <a:cubicBezTo>
                  <a:pt x="184" y="176"/>
                  <a:pt x="184" y="176"/>
                  <a:pt x="184" y="176"/>
                </a:cubicBezTo>
                <a:cubicBezTo>
                  <a:pt x="183" y="175"/>
                  <a:pt x="183" y="175"/>
                  <a:pt x="183" y="175"/>
                </a:cubicBezTo>
                <a:cubicBezTo>
                  <a:pt x="182" y="176"/>
                  <a:pt x="182" y="176"/>
                  <a:pt x="182" y="176"/>
                </a:cubicBezTo>
                <a:cubicBezTo>
                  <a:pt x="182" y="176"/>
                  <a:pt x="182" y="176"/>
                  <a:pt x="182" y="176"/>
                </a:cubicBezTo>
                <a:cubicBezTo>
                  <a:pt x="182" y="177"/>
                  <a:pt x="182" y="177"/>
                  <a:pt x="182" y="177"/>
                </a:cubicBezTo>
                <a:cubicBezTo>
                  <a:pt x="181" y="177"/>
                  <a:pt x="181" y="177"/>
                  <a:pt x="181" y="177"/>
                </a:cubicBezTo>
                <a:cubicBezTo>
                  <a:pt x="177" y="177"/>
                  <a:pt x="177" y="177"/>
                  <a:pt x="177" y="177"/>
                </a:cubicBezTo>
                <a:cubicBezTo>
                  <a:pt x="177" y="176"/>
                  <a:pt x="177" y="176"/>
                  <a:pt x="177" y="176"/>
                </a:cubicBezTo>
                <a:cubicBezTo>
                  <a:pt x="174" y="176"/>
                  <a:pt x="174" y="176"/>
                  <a:pt x="174" y="176"/>
                </a:cubicBezTo>
                <a:cubicBezTo>
                  <a:pt x="172" y="176"/>
                  <a:pt x="172" y="176"/>
                  <a:pt x="172" y="176"/>
                </a:cubicBezTo>
                <a:cubicBezTo>
                  <a:pt x="170" y="176"/>
                  <a:pt x="170" y="176"/>
                  <a:pt x="170" y="176"/>
                </a:cubicBezTo>
                <a:cubicBezTo>
                  <a:pt x="169" y="177"/>
                  <a:pt x="169" y="177"/>
                  <a:pt x="169" y="177"/>
                </a:cubicBezTo>
                <a:cubicBezTo>
                  <a:pt x="168" y="177"/>
                  <a:pt x="168" y="177"/>
                  <a:pt x="168" y="177"/>
                </a:cubicBezTo>
                <a:cubicBezTo>
                  <a:pt x="167" y="178"/>
                  <a:pt x="167" y="178"/>
                  <a:pt x="167" y="178"/>
                </a:cubicBezTo>
                <a:cubicBezTo>
                  <a:pt x="166" y="178"/>
                  <a:pt x="166" y="178"/>
                  <a:pt x="166" y="178"/>
                </a:cubicBezTo>
                <a:cubicBezTo>
                  <a:pt x="166" y="177"/>
                  <a:pt x="166" y="177"/>
                  <a:pt x="166" y="177"/>
                </a:cubicBezTo>
                <a:cubicBezTo>
                  <a:pt x="166" y="176"/>
                  <a:pt x="166" y="176"/>
                  <a:pt x="166" y="176"/>
                </a:cubicBezTo>
                <a:cubicBezTo>
                  <a:pt x="167" y="175"/>
                  <a:pt x="167" y="175"/>
                  <a:pt x="167" y="175"/>
                </a:cubicBezTo>
                <a:cubicBezTo>
                  <a:pt x="166" y="174"/>
                  <a:pt x="166" y="174"/>
                  <a:pt x="166" y="174"/>
                </a:cubicBezTo>
                <a:cubicBezTo>
                  <a:pt x="166" y="175"/>
                  <a:pt x="166" y="175"/>
                  <a:pt x="166" y="175"/>
                </a:cubicBezTo>
                <a:cubicBezTo>
                  <a:pt x="165" y="176"/>
                  <a:pt x="165" y="176"/>
                  <a:pt x="165" y="176"/>
                </a:cubicBezTo>
                <a:cubicBezTo>
                  <a:pt x="164" y="176"/>
                  <a:pt x="164" y="176"/>
                  <a:pt x="164" y="176"/>
                </a:cubicBezTo>
                <a:cubicBezTo>
                  <a:pt x="163" y="175"/>
                  <a:pt x="163" y="175"/>
                  <a:pt x="163" y="175"/>
                </a:cubicBezTo>
                <a:cubicBezTo>
                  <a:pt x="164" y="177"/>
                  <a:pt x="164" y="177"/>
                  <a:pt x="164" y="177"/>
                </a:cubicBezTo>
                <a:cubicBezTo>
                  <a:pt x="164" y="178"/>
                  <a:pt x="164" y="178"/>
                  <a:pt x="164" y="178"/>
                </a:cubicBezTo>
                <a:cubicBezTo>
                  <a:pt x="164" y="179"/>
                  <a:pt x="164" y="179"/>
                  <a:pt x="164" y="179"/>
                </a:cubicBezTo>
                <a:cubicBezTo>
                  <a:pt x="164" y="180"/>
                  <a:pt x="164" y="180"/>
                  <a:pt x="164" y="180"/>
                </a:cubicBezTo>
                <a:cubicBezTo>
                  <a:pt x="163" y="180"/>
                  <a:pt x="163" y="180"/>
                  <a:pt x="163" y="180"/>
                </a:cubicBezTo>
                <a:cubicBezTo>
                  <a:pt x="161" y="182"/>
                  <a:pt x="161" y="182"/>
                  <a:pt x="161" y="182"/>
                </a:cubicBezTo>
                <a:cubicBezTo>
                  <a:pt x="158" y="183"/>
                  <a:pt x="158" y="183"/>
                  <a:pt x="158" y="183"/>
                </a:cubicBezTo>
                <a:cubicBezTo>
                  <a:pt x="157" y="183"/>
                  <a:pt x="157" y="183"/>
                  <a:pt x="157" y="183"/>
                </a:cubicBezTo>
                <a:cubicBezTo>
                  <a:pt x="156" y="184"/>
                  <a:pt x="156" y="184"/>
                  <a:pt x="156" y="184"/>
                </a:cubicBezTo>
                <a:cubicBezTo>
                  <a:pt x="155" y="184"/>
                  <a:pt x="155" y="184"/>
                  <a:pt x="155" y="184"/>
                </a:cubicBezTo>
                <a:cubicBezTo>
                  <a:pt x="156" y="183"/>
                  <a:pt x="156" y="183"/>
                  <a:pt x="156" y="183"/>
                </a:cubicBezTo>
                <a:cubicBezTo>
                  <a:pt x="155" y="183"/>
                  <a:pt x="155" y="183"/>
                  <a:pt x="155" y="183"/>
                </a:cubicBezTo>
                <a:cubicBezTo>
                  <a:pt x="155" y="183"/>
                  <a:pt x="155" y="183"/>
                  <a:pt x="155" y="183"/>
                </a:cubicBezTo>
                <a:cubicBezTo>
                  <a:pt x="154" y="183"/>
                  <a:pt x="154" y="183"/>
                  <a:pt x="154" y="183"/>
                </a:cubicBezTo>
                <a:cubicBezTo>
                  <a:pt x="153" y="183"/>
                  <a:pt x="153" y="183"/>
                  <a:pt x="153" y="183"/>
                </a:cubicBezTo>
                <a:cubicBezTo>
                  <a:pt x="154" y="184"/>
                  <a:pt x="154" y="184"/>
                  <a:pt x="154" y="184"/>
                </a:cubicBezTo>
                <a:cubicBezTo>
                  <a:pt x="153" y="184"/>
                  <a:pt x="153" y="184"/>
                  <a:pt x="153" y="184"/>
                </a:cubicBezTo>
                <a:cubicBezTo>
                  <a:pt x="152" y="184"/>
                  <a:pt x="152" y="184"/>
                  <a:pt x="152" y="184"/>
                </a:cubicBezTo>
                <a:cubicBezTo>
                  <a:pt x="152" y="185"/>
                  <a:pt x="152" y="185"/>
                  <a:pt x="152" y="185"/>
                </a:cubicBezTo>
                <a:cubicBezTo>
                  <a:pt x="151" y="186"/>
                  <a:pt x="151" y="186"/>
                  <a:pt x="151" y="186"/>
                </a:cubicBezTo>
                <a:cubicBezTo>
                  <a:pt x="150" y="186"/>
                  <a:pt x="150" y="186"/>
                  <a:pt x="150" y="186"/>
                </a:cubicBezTo>
                <a:cubicBezTo>
                  <a:pt x="149" y="187"/>
                  <a:pt x="149" y="187"/>
                  <a:pt x="149" y="187"/>
                </a:cubicBezTo>
                <a:cubicBezTo>
                  <a:pt x="150" y="188"/>
                  <a:pt x="150" y="188"/>
                  <a:pt x="150" y="188"/>
                </a:cubicBezTo>
                <a:cubicBezTo>
                  <a:pt x="149" y="189"/>
                  <a:pt x="149" y="189"/>
                  <a:pt x="149" y="189"/>
                </a:cubicBezTo>
                <a:cubicBezTo>
                  <a:pt x="148" y="189"/>
                  <a:pt x="148" y="189"/>
                  <a:pt x="148" y="189"/>
                </a:cubicBezTo>
                <a:cubicBezTo>
                  <a:pt x="148" y="192"/>
                  <a:pt x="148" y="192"/>
                  <a:pt x="148" y="192"/>
                </a:cubicBezTo>
                <a:cubicBezTo>
                  <a:pt x="147" y="193"/>
                  <a:pt x="147" y="193"/>
                  <a:pt x="147" y="193"/>
                </a:cubicBezTo>
                <a:cubicBezTo>
                  <a:pt x="147" y="195"/>
                  <a:pt x="147" y="195"/>
                  <a:pt x="147" y="195"/>
                </a:cubicBezTo>
                <a:cubicBezTo>
                  <a:pt x="146" y="196"/>
                  <a:pt x="146" y="196"/>
                  <a:pt x="146" y="196"/>
                </a:cubicBezTo>
                <a:cubicBezTo>
                  <a:pt x="146" y="197"/>
                  <a:pt x="146" y="197"/>
                  <a:pt x="146" y="197"/>
                </a:cubicBezTo>
                <a:cubicBezTo>
                  <a:pt x="146" y="200"/>
                  <a:pt x="146" y="200"/>
                  <a:pt x="146" y="200"/>
                </a:cubicBezTo>
                <a:cubicBezTo>
                  <a:pt x="147" y="201"/>
                  <a:pt x="147" y="201"/>
                  <a:pt x="147" y="201"/>
                </a:cubicBezTo>
                <a:cubicBezTo>
                  <a:pt x="146" y="202"/>
                  <a:pt x="146" y="202"/>
                  <a:pt x="146" y="202"/>
                </a:cubicBezTo>
                <a:cubicBezTo>
                  <a:pt x="146" y="204"/>
                  <a:pt x="146" y="204"/>
                  <a:pt x="146" y="204"/>
                </a:cubicBezTo>
                <a:cubicBezTo>
                  <a:pt x="145" y="204"/>
                  <a:pt x="145" y="204"/>
                  <a:pt x="145" y="204"/>
                </a:cubicBezTo>
                <a:cubicBezTo>
                  <a:pt x="145" y="203"/>
                  <a:pt x="145" y="203"/>
                  <a:pt x="145" y="203"/>
                </a:cubicBezTo>
                <a:cubicBezTo>
                  <a:pt x="144" y="203"/>
                  <a:pt x="144" y="203"/>
                  <a:pt x="144" y="203"/>
                </a:cubicBezTo>
                <a:cubicBezTo>
                  <a:pt x="142" y="202"/>
                  <a:pt x="142" y="202"/>
                  <a:pt x="142" y="202"/>
                </a:cubicBezTo>
                <a:cubicBezTo>
                  <a:pt x="140" y="201"/>
                  <a:pt x="140" y="201"/>
                  <a:pt x="140" y="201"/>
                </a:cubicBezTo>
                <a:cubicBezTo>
                  <a:pt x="139" y="200"/>
                  <a:pt x="139" y="200"/>
                  <a:pt x="139" y="200"/>
                </a:cubicBezTo>
                <a:cubicBezTo>
                  <a:pt x="138" y="200"/>
                  <a:pt x="138" y="200"/>
                  <a:pt x="138" y="200"/>
                </a:cubicBezTo>
                <a:cubicBezTo>
                  <a:pt x="138" y="200"/>
                  <a:pt x="138" y="200"/>
                  <a:pt x="138" y="200"/>
                </a:cubicBezTo>
                <a:cubicBezTo>
                  <a:pt x="137" y="200"/>
                  <a:pt x="137" y="200"/>
                  <a:pt x="137" y="200"/>
                </a:cubicBezTo>
                <a:cubicBezTo>
                  <a:pt x="137" y="200"/>
                  <a:pt x="137" y="200"/>
                  <a:pt x="137" y="200"/>
                </a:cubicBezTo>
                <a:cubicBezTo>
                  <a:pt x="136" y="199"/>
                  <a:pt x="136" y="199"/>
                  <a:pt x="136" y="199"/>
                </a:cubicBezTo>
                <a:cubicBezTo>
                  <a:pt x="136" y="197"/>
                  <a:pt x="136" y="197"/>
                  <a:pt x="136" y="197"/>
                </a:cubicBezTo>
                <a:cubicBezTo>
                  <a:pt x="135" y="194"/>
                  <a:pt x="135" y="194"/>
                  <a:pt x="135" y="194"/>
                </a:cubicBezTo>
                <a:cubicBezTo>
                  <a:pt x="135" y="193"/>
                  <a:pt x="135" y="193"/>
                  <a:pt x="135" y="193"/>
                </a:cubicBezTo>
                <a:cubicBezTo>
                  <a:pt x="135" y="193"/>
                  <a:pt x="135" y="193"/>
                  <a:pt x="135" y="193"/>
                </a:cubicBezTo>
                <a:cubicBezTo>
                  <a:pt x="135" y="192"/>
                  <a:pt x="135" y="192"/>
                  <a:pt x="135" y="192"/>
                </a:cubicBezTo>
                <a:cubicBezTo>
                  <a:pt x="135" y="191"/>
                  <a:pt x="135" y="191"/>
                  <a:pt x="135" y="191"/>
                </a:cubicBezTo>
                <a:cubicBezTo>
                  <a:pt x="134" y="189"/>
                  <a:pt x="134" y="189"/>
                  <a:pt x="134" y="189"/>
                </a:cubicBezTo>
                <a:cubicBezTo>
                  <a:pt x="134" y="188"/>
                  <a:pt x="134" y="188"/>
                  <a:pt x="134" y="188"/>
                </a:cubicBezTo>
                <a:cubicBezTo>
                  <a:pt x="133" y="187"/>
                  <a:pt x="133" y="187"/>
                  <a:pt x="133" y="187"/>
                </a:cubicBezTo>
                <a:cubicBezTo>
                  <a:pt x="132" y="187"/>
                  <a:pt x="132" y="187"/>
                  <a:pt x="132" y="187"/>
                </a:cubicBezTo>
                <a:cubicBezTo>
                  <a:pt x="132" y="186"/>
                  <a:pt x="132" y="186"/>
                  <a:pt x="132" y="186"/>
                </a:cubicBezTo>
                <a:cubicBezTo>
                  <a:pt x="132" y="186"/>
                  <a:pt x="132" y="186"/>
                  <a:pt x="132" y="186"/>
                </a:cubicBezTo>
                <a:cubicBezTo>
                  <a:pt x="131" y="183"/>
                  <a:pt x="131" y="183"/>
                  <a:pt x="131" y="183"/>
                </a:cubicBezTo>
                <a:cubicBezTo>
                  <a:pt x="130" y="182"/>
                  <a:pt x="130" y="182"/>
                  <a:pt x="130" y="182"/>
                </a:cubicBezTo>
                <a:cubicBezTo>
                  <a:pt x="130" y="182"/>
                  <a:pt x="130" y="182"/>
                  <a:pt x="130" y="182"/>
                </a:cubicBezTo>
                <a:cubicBezTo>
                  <a:pt x="130" y="181"/>
                  <a:pt x="130" y="181"/>
                  <a:pt x="130" y="181"/>
                </a:cubicBezTo>
                <a:cubicBezTo>
                  <a:pt x="129" y="180"/>
                  <a:pt x="129" y="180"/>
                  <a:pt x="129" y="180"/>
                </a:cubicBezTo>
                <a:cubicBezTo>
                  <a:pt x="129" y="179"/>
                  <a:pt x="129" y="179"/>
                  <a:pt x="129" y="179"/>
                </a:cubicBezTo>
                <a:cubicBezTo>
                  <a:pt x="129" y="178"/>
                  <a:pt x="129" y="178"/>
                  <a:pt x="129" y="178"/>
                </a:cubicBezTo>
                <a:cubicBezTo>
                  <a:pt x="128" y="176"/>
                  <a:pt x="128" y="176"/>
                  <a:pt x="128" y="176"/>
                </a:cubicBezTo>
                <a:cubicBezTo>
                  <a:pt x="126" y="175"/>
                  <a:pt x="126" y="175"/>
                  <a:pt x="126" y="175"/>
                </a:cubicBezTo>
                <a:cubicBezTo>
                  <a:pt x="126" y="174"/>
                  <a:pt x="126" y="174"/>
                  <a:pt x="126" y="174"/>
                </a:cubicBezTo>
                <a:cubicBezTo>
                  <a:pt x="125" y="174"/>
                  <a:pt x="125" y="174"/>
                  <a:pt x="125" y="174"/>
                </a:cubicBezTo>
                <a:cubicBezTo>
                  <a:pt x="124" y="174"/>
                  <a:pt x="124" y="174"/>
                  <a:pt x="124" y="174"/>
                </a:cubicBezTo>
                <a:cubicBezTo>
                  <a:pt x="124" y="174"/>
                  <a:pt x="124" y="174"/>
                  <a:pt x="124" y="174"/>
                </a:cubicBezTo>
                <a:cubicBezTo>
                  <a:pt x="123" y="173"/>
                  <a:pt x="123" y="173"/>
                  <a:pt x="123" y="173"/>
                </a:cubicBezTo>
                <a:cubicBezTo>
                  <a:pt x="122" y="174"/>
                  <a:pt x="122" y="174"/>
                  <a:pt x="122" y="174"/>
                </a:cubicBezTo>
                <a:cubicBezTo>
                  <a:pt x="121" y="173"/>
                  <a:pt x="121" y="173"/>
                  <a:pt x="121" y="173"/>
                </a:cubicBezTo>
                <a:cubicBezTo>
                  <a:pt x="120" y="173"/>
                  <a:pt x="120" y="173"/>
                  <a:pt x="120" y="173"/>
                </a:cubicBezTo>
                <a:cubicBezTo>
                  <a:pt x="120" y="174"/>
                  <a:pt x="120" y="174"/>
                  <a:pt x="120" y="174"/>
                </a:cubicBezTo>
                <a:cubicBezTo>
                  <a:pt x="119" y="174"/>
                  <a:pt x="119" y="174"/>
                  <a:pt x="119" y="174"/>
                </a:cubicBezTo>
                <a:cubicBezTo>
                  <a:pt x="119" y="174"/>
                  <a:pt x="119" y="174"/>
                  <a:pt x="119" y="174"/>
                </a:cubicBezTo>
                <a:cubicBezTo>
                  <a:pt x="119" y="174"/>
                  <a:pt x="119" y="174"/>
                  <a:pt x="119" y="174"/>
                </a:cubicBezTo>
                <a:cubicBezTo>
                  <a:pt x="118" y="174"/>
                  <a:pt x="118" y="174"/>
                  <a:pt x="118" y="174"/>
                </a:cubicBezTo>
                <a:cubicBezTo>
                  <a:pt x="117" y="175"/>
                  <a:pt x="117" y="175"/>
                  <a:pt x="117" y="175"/>
                </a:cubicBezTo>
                <a:cubicBezTo>
                  <a:pt x="116" y="177"/>
                  <a:pt x="116" y="177"/>
                  <a:pt x="116" y="177"/>
                </a:cubicBezTo>
                <a:cubicBezTo>
                  <a:pt x="116" y="177"/>
                  <a:pt x="116" y="177"/>
                  <a:pt x="116" y="177"/>
                </a:cubicBezTo>
                <a:cubicBezTo>
                  <a:pt x="116" y="178"/>
                  <a:pt x="116" y="178"/>
                  <a:pt x="116" y="178"/>
                </a:cubicBezTo>
                <a:cubicBezTo>
                  <a:pt x="116" y="178"/>
                  <a:pt x="116" y="178"/>
                  <a:pt x="116" y="178"/>
                </a:cubicBezTo>
                <a:cubicBezTo>
                  <a:pt x="115" y="178"/>
                  <a:pt x="115" y="178"/>
                  <a:pt x="115" y="178"/>
                </a:cubicBezTo>
                <a:cubicBezTo>
                  <a:pt x="114" y="179"/>
                  <a:pt x="114" y="179"/>
                  <a:pt x="114" y="179"/>
                </a:cubicBezTo>
                <a:cubicBezTo>
                  <a:pt x="114" y="179"/>
                  <a:pt x="114" y="179"/>
                  <a:pt x="114" y="179"/>
                </a:cubicBezTo>
                <a:cubicBezTo>
                  <a:pt x="114" y="180"/>
                  <a:pt x="114" y="180"/>
                  <a:pt x="114" y="180"/>
                </a:cubicBezTo>
                <a:cubicBezTo>
                  <a:pt x="113" y="180"/>
                  <a:pt x="113" y="180"/>
                  <a:pt x="113" y="180"/>
                </a:cubicBezTo>
                <a:cubicBezTo>
                  <a:pt x="113" y="179"/>
                  <a:pt x="113" y="179"/>
                  <a:pt x="113" y="179"/>
                </a:cubicBezTo>
                <a:cubicBezTo>
                  <a:pt x="111" y="178"/>
                  <a:pt x="111" y="178"/>
                  <a:pt x="111" y="178"/>
                </a:cubicBezTo>
                <a:cubicBezTo>
                  <a:pt x="110" y="178"/>
                  <a:pt x="110" y="178"/>
                  <a:pt x="110" y="178"/>
                </a:cubicBezTo>
                <a:cubicBezTo>
                  <a:pt x="110" y="178"/>
                  <a:pt x="110" y="178"/>
                  <a:pt x="110" y="178"/>
                </a:cubicBezTo>
                <a:cubicBezTo>
                  <a:pt x="109" y="177"/>
                  <a:pt x="109" y="177"/>
                  <a:pt x="109" y="177"/>
                </a:cubicBezTo>
                <a:cubicBezTo>
                  <a:pt x="108" y="177"/>
                  <a:pt x="108" y="177"/>
                  <a:pt x="108" y="177"/>
                </a:cubicBezTo>
                <a:cubicBezTo>
                  <a:pt x="108" y="177"/>
                  <a:pt x="108" y="177"/>
                  <a:pt x="108" y="177"/>
                </a:cubicBezTo>
                <a:cubicBezTo>
                  <a:pt x="108" y="176"/>
                  <a:pt x="108" y="176"/>
                  <a:pt x="108" y="176"/>
                </a:cubicBezTo>
                <a:cubicBezTo>
                  <a:pt x="107" y="176"/>
                  <a:pt x="107" y="176"/>
                  <a:pt x="107" y="176"/>
                </a:cubicBezTo>
                <a:cubicBezTo>
                  <a:pt x="107" y="175"/>
                  <a:pt x="107" y="175"/>
                  <a:pt x="107" y="175"/>
                </a:cubicBezTo>
                <a:cubicBezTo>
                  <a:pt x="106" y="175"/>
                  <a:pt x="106" y="175"/>
                  <a:pt x="106" y="175"/>
                </a:cubicBezTo>
                <a:cubicBezTo>
                  <a:pt x="106" y="175"/>
                  <a:pt x="106" y="175"/>
                  <a:pt x="106" y="175"/>
                </a:cubicBezTo>
                <a:cubicBezTo>
                  <a:pt x="106" y="175"/>
                  <a:pt x="106" y="175"/>
                  <a:pt x="106" y="175"/>
                </a:cubicBezTo>
                <a:cubicBezTo>
                  <a:pt x="106" y="175"/>
                  <a:pt x="106" y="175"/>
                  <a:pt x="106" y="175"/>
                </a:cubicBezTo>
                <a:cubicBezTo>
                  <a:pt x="105" y="174"/>
                  <a:pt x="105" y="174"/>
                  <a:pt x="105" y="174"/>
                </a:cubicBezTo>
                <a:cubicBezTo>
                  <a:pt x="104" y="173"/>
                  <a:pt x="104" y="173"/>
                  <a:pt x="104" y="173"/>
                </a:cubicBezTo>
                <a:cubicBezTo>
                  <a:pt x="103" y="171"/>
                  <a:pt x="103" y="171"/>
                  <a:pt x="103" y="171"/>
                </a:cubicBezTo>
                <a:cubicBezTo>
                  <a:pt x="103" y="171"/>
                  <a:pt x="103" y="171"/>
                  <a:pt x="103" y="171"/>
                </a:cubicBezTo>
                <a:cubicBezTo>
                  <a:pt x="104" y="171"/>
                  <a:pt x="104" y="171"/>
                  <a:pt x="104" y="171"/>
                </a:cubicBezTo>
                <a:cubicBezTo>
                  <a:pt x="104" y="171"/>
                  <a:pt x="104" y="171"/>
                  <a:pt x="104" y="171"/>
                </a:cubicBezTo>
                <a:cubicBezTo>
                  <a:pt x="104" y="170"/>
                  <a:pt x="104" y="170"/>
                  <a:pt x="104" y="170"/>
                </a:cubicBezTo>
                <a:cubicBezTo>
                  <a:pt x="104" y="169"/>
                  <a:pt x="104" y="169"/>
                  <a:pt x="104" y="169"/>
                </a:cubicBezTo>
                <a:cubicBezTo>
                  <a:pt x="103" y="168"/>
                  <a:pt x="103" y="168"/>
                  <a:pt x="103" y="168"/>
                </a:cubicBezTo>
                <a:cubicBezTo>
                  <a:pt x="103" y="168"/>
                  <a:pt x="103" y="168"/>
                  <a:pt x="103" y="168"/>
                </a:cubicBezTo>
                <a:cubicBezTo>
                  <a:pt x="103" y="168"/>
                  <a:pt x="103" y="168"/>
                  <a:pt x="103" y="168"/>
                </a:cubicBezTo>
                <a:cubicBezTo>
                  <a:pt x="103" y="166"/>
                  <a:pt x="103" y="166"/>
                  <a:pt x="103" y="166"/>
                </a:cubicBezTo>
                <a:cubicBezTo>
                  <a:pt x="102" y="166"/>
                  <a:pt x="102" y="166"/>
                  <a:pt x="102" y="166"/>
                </a:cubicBezTo>
                <a:cubicBezTo>
                  <a:pt x="101" y="165"/>
                  <a:pt x="101" y="165"/>
                  <a:pt x="101" y="165"/>
                </a:cubicBezTo>
                <a:cubicBezTo>
                  <a:pt x="100" y="165"/>
                  <a:pt x="100" y="165"/>
                  <a:pt x="100" y="165"/>
                </a:cubicBezTo>
                <a:cubicBezTo>
                  <a:pt x="101" y="164"/>
                  <a:pt x="101" y="164"/>
                  <a:pt x="101" y="164"/>
                </a:cubicBezTo>
                <a:cubicBezTo>
                  <a:pt x="101" y="164"/>
                  <a:pt x="101" y="164"/>
                  <a:pt x="101" y="164"/>
                </a:cubicBezTo>
                <a:cubicBezTo>
                  <a:pt x="100" y="163"/>
                  <a:pt x="100" y="163"/>
                  <a:pt x="100" y="163"/>
                </a:cubicBezTo>
                <a:cubicBezTo>
                  <a:pt x="99" y="163"/>
                  <a:pt x="99" y="163"/>
                  <a:pt x="99" y="163"/>
                </a:cubicBezTo>
                <a:cubicBezTo>
                  <a:pt x="99" y="162"/>
                  <a:pt x="99" y="162"/>
                  <a:pt x="99" y="162"/>
                </a:cubicBezTo>
                <a:cubicBezTo>
                  <a:pt x="98" y="161"/>
                  <a:pt x="98" y="161"/>
                  <a:pt x="98" y="161"/>
                </a:cubicBezTo>
                <a:cubicBezTo>
                  <a:pt x="98" y="161"/>
                  <a:pt x="98" y="161"/>
                  <a:pt x="98" y="161"/>
                </a:cubicBezTo>
                <a:cubicBezTo>
                  <a:pt x="98" y="161"/>
                  <a:pt x="98" y="161"/>
                  <a:pt x="98" y="161"/>
                </a:cubicBezTo>
                <a:cubicBezTo>
                  <a:pt x="97" y="160"/>
                  <a:pt x="97" y="160"/>
                  <a:pt x="97" y="160"/>
                </a:cubicBezTo>
                <a:cubicBezTo>
                  <a:pt x="96" y="158"/>
                  <a:pt x="96" y="158"/>
                  <a:pt x="96" y="158"/>
                </a:cubicBezTo>
                <a:cubicBezTo>
                  <a:pt x="95" y="158"/>
                  <a:pt x="95" y="158"/>
                  <a:pt x="95" y="158"/>
                </a:cubicBezTo>
                <a:cubicBezTo>
                  <a:pt x="85" y="157"/>
                  <a:pt x="85" y="157"/>
                  <a:pt x="85" y="157"/>
                </a:cubicBezTo>
                <a:cubicBezTo>
                  <a:pt x="85" y="160"/>
                  <a:pt x="85" y="160"/>
                  <a:pt x="85" y="160"/>
                </a:cubicBezTo>
                <a:cubicBezTo>
                  <a:pt x="67" y="159"/>
                  <a:pt x="67" y="159"/>
                  <a:pt x="67" y="159"/>
                </a:cubicBezTo>
                <a:cubicBezTo>
                  <a:pt x="45" y="149"/>
                  <a:pt x="45" y="149"/>
                  <a:pt x="45" y="149"/>
                </a:cubicBezTo>
                <a:cubicBezTo>
                  <a:pt x="46" y="149"/>
                  <a:pt x="46" y="149"/>
                  <a:pt x="46" y="149"/>
                </a:cubicBezTo>
                <a:cubicBezTo>
                  <a:pt x="45" y="148"/>
                  <a:pt x="45" y="148"/>
                  <a:pt x="45" y="148"/>
                </a:cubicBezTo>
                <a:cubicBezTo>
                  <a:pt x="30" y="149"/>
                  <a:pt x="30" y="149"/>
                  <a:pt x="30" y="149"/>
                </a:cubicBezTo>
                <a:cubicBezTo>
                  <a:pt x="30" y="148"/>
                  <a:pt x="30" y="148"/>
                  <a:pt x="30" y="148"/>
                </a:cubicBezTo>
                <a:cubicBezTo>
                  <a:pt x="30" y="146"/>
                  <a:pt x="30" y="146"/>
                  <a:pt x="30" y="146"/>
                </a:cubicBezTo>
                <a:cubicBezTo>
                  <a:pt x="30" y="144"/>
                  <a:pt x="30" y="144"/>
                  <a:pt x="30" y="144"/>
                </a:cubicBezTo>
                <a:cubicBezTo>
                  <a:pt x="28" y="141"/>
                  <a:pt x="28" y="141"/>
                  <a:pt x="28" y="141"/>
                </a:cubicBezTo>
                <a:cubicBezTo>
                  <a:pt x="27" y="139"/>
                  <a:pt x="27" y="139"/>
                  <a:pt x="27" y="139"/>
                </a:cubicBezTo>
                <a:cubicBezTo>
                  <a:pt x="26" y="140"/>
                  <a:pt x="26" y="140"/>
                  <a:pt x="26" y="140"/>
                </a:cubicBezTo>
                <a:cubicBezTo>
                  <a:pt x="25" y="140"/>
                  <a:pt x="25" y="140"/>
                  <a:pt x="25" y="140"/>
                </a:cubicBezTo>
                <a:cubicBezTo>
                  <a:pt x="25" y="139"/>
                  <a:pt x="25" y="139"/>
                  <a:pt x="25" y="139"/>
                </a:cubicBezTo>
                <a:cubicBezTo>
                  <a:pt x="25" y="138"/>
                  <a:pt x="25" y="138"/>
                  <a:pt x="25" y="138"/>
                </a:cubicBezTo>
                <a:cubicBezTo>
                  <a:pt x="25" y="138"/>
                  <a:pt x="25" y="138"/>
                  <a:pt x="25" y="138"/>
                </a:cubicBezTo>
                <a:cubicBezTo>
                  <a:pt x="23" y="137"/>
                  <a:pt x="23" y="137"/>
                  <a:pt x="23" y="137"/>
                </a:cubicBezTo>
                <a:cubicBezTo>
                  <a:pt x="22" y="137"/>
                  <a:pt x="22" y="137"/>
                  <a:pt x="22" y="137"/>
                </a:cubicBezTo>
                <a:cubicBezTo>
                  <a:pt x="20" y="136"/>
                  <a:pt x="20" y="136"/>
                  <a:pt x="20" y="136"/>
                </a:cubicBezTo>
                <a:cubicBezTo>
                  <a:pt x="20" y="135"/>
                  <a:pt x="20" y="135"/>
                  <a:pt x="20" y="135"/>
                </a:cubicBezTo>
                <a:cubicBezTo>
                  <a:pt x="19" y="134"/>
                  <a:pt x="19" y="134"/>
                  <a:pt x="19" y="134"/>
                </a:cubicBezTo>
                <a:cubicBezTo>
                  <a:pt x="18" y="134"/>
                  <a:pt x="18" y="134"/>
                  <a:pt x="18" y="134"/>
                </a:cubicBezTo>
                <a:cubicBezTo>
                  <a:pt x="17" y="134"/>
                  <a:pt x="17" y="134"/>
                  <a:pt x="17" y="134"/>
                </a:cubicBezTo>
                <a:cubicBezTo>
                  <a:pt x="16" y="133"/>
                  <a:pt x="16" y="133"/>
                  <a:pt x="16" y="133"/>
                </a:cubicBezTo>
                <a:cubicBezTo>
                  <a:pt x="15" y="133"/>
                  <a:pt x="15" y="133"/>
                  <a:pt x="15" y="133"/>
                </a:cubicBezTo>
                <a:cubicBezTo>
                  <a:pt x="12" y="133"/>
                  <a:pt x="12" y="133"/>
                  <a:pt x="12" y="133"/>
                </a:cubicBezTo>
                <a:cubicBezTo>
                  <a:pt x="12" y="133"/>
                  <a:pt x="12" y="133"/>
                  <a:pt x="12" y="133"/>
                </a:cubicBezTo>
                <a:cubicBezTo>
                  <a:pt x="11" y="132"/>
                  <a:pt x="11" y="132"/>
                  <a:pt x="11" y="132"/>
                </a:cubicBezTo>
                <a:cubicBezTo>
                  <a:pt x="12" y="131"/>
                  <a:pt x="12" y="131"/>
                  <a:pt x="12" y="131"/>
                </a:cubicBezTo>
                <a:cubicBezTo>
                  <a:pt x="12" y="130"/>
                  <a:pt x="12" y="130"/>
                  <a:pt x="12" y="130"/>
                </a:cubicBezTo>
                <a:cubicBezTo>
                  <a:pt x="13" y="129"/>
                  <a:pt x="13" y="129"/>
                  <a:pt x="13" y="129"/>
                </a:cubicBezTo>
                <a:cubicBezTo>
                  <a:pt x="12" y="127"/>
                  <a:pt x="12" y="127"/>
                  <a:pt x="12" y="127"/>
                </a:cubicBezTo>
                <a:cubicBezTo>
                  <a:pt x="11" y="126"/>
                  <a:pt x="11" y="126"/>
                  <a:pt x="11" y="126"/>
                </a:cubicBezTo>
                <a:cubicBezTo>
                  <a:pt x="11" y="126"/>
                  <a:pt x="11" y="126"/>
                  <a:pt x="11" y="126"/>
                </a:cubicBezTo>
                <a:cubicBezTo>
                  <a:pt x="11" y="125"/>
                  <a:pt x="11" y="125"/>
                  <a:pt x="11" y="125"/>
                </a:cubicBezTo>
                <a:cubicBezTo>
                  <a:pt x="11" y="125"/>
                  <a:pt x="11" y="125"/>
                  <a:pt x="11" y="125"/>
                </a:cubicBezTo>
                <a:cubicBezTo>
                  <a:pt x="10" y="124"/>
                  <a:pt x="10" y="124"/>
                  <a:pt x="10" y="124"/>
                </a:cubicBezTo>
                <a:cubicBezTo>
                  <a:pt x="8" y="121"/>
                  <a:pt x="8" y="121"/>
                  <a:pt x="8" y="121"/>
                </a:cubicBezTo>
                <a:cubicBezTo>
                  <a:pt x="8" y="119"/>
                  <a:pt x="8" y="119"/>
                  <a:pt x="8" y="119"/>
                </a:cubicBezTo>
                <a:cubicBezTo>
                  <a:pt x="7" y="118"/>
                  <a:pt x="7" y="118"/>
                  <a:pt x="7" y="118"/>
                </a:cubicBezTo>
                <a:cubicBezTo>
                  <a:pt x="7" y="117"/>
                  <a:pt x="7" y="117"/>
                  <a:pt x="7" y="117"/>
                </a:cubicBezTo>
                <a:cubicBezTo>
                  <a:pt x="7" y="116"/>
                  <a:pt x="7" y="116"/>
                  <a:pt x="7" y="116"/>
                </a:cubicBezTo>
                <a:cubicBezTo>
                  <a:pt x="7" y="115"/>
                  <a:pt x="7" y="115"/>
                  <a:pt x="7" y="115"/>
                </a:cubicBezTo>
                <a:cubicBezTo>
                  <a:pt x="7" y="114"/>
                  <a:pt x="7" y="114"/>
                  <a:pt x="7" y="114"/>
                </a:cubicBezTo>
                <a:cubicBezTo>
                  <a:pt x="7" y="114"/>
                  <a:pt x="7" y="114"/>
                  <a:pt x="7" y="114"/>
                </a:cubicBezTo>
                <a:cubicBezTo>
                  <a:pt x="8" y="113"/>
                  <a:pt x="8" y="113"/>
                  <a:pt x="8" y="113"/>
                </a:cubicBezTo>
                <a:cubicBezTo>
                  <a:pt x="8" y="112"/>
                  <a:pt x="8" y="112"/>
                  <a:pt x="8" y="112"/>
                </a:cubicBezTo>
                <a:cubicBezTo>
                  <a:pt x="7" y="112"/>
                  <a:pt x="7" y="112"/>
                  <a:pt x="7" y="112"/>
                </a:cubicBezTo>
                <a:cubicBezTo>
                  <a:pt x="7" y="111"/>
                  <a:pt x="7" y="111"/>
                  <a:pt x="7" y="111"/>
                </a:cubicBezTo>
                <a:cubicBezTo>
                  <a:pt x="6" y="110"/>
                  <a:pt x="6" y="110"/>
                  <a:pt x="6" y="110"/>
                </a:cubicBezTo>
                <a:cubicBezTo>
                  <a:pt x="6" y="109"/>
                  <a:pt x="6" y="109"/>
                  <a:pt x="6" y="109"/>
                </a:cubicBezTo>
                <a:cubicBezTo>
                  <a:pt x="6" y="108"/>
                  <a:pt x="6" y="108"/>
                  <a:pt x="6" y="108"/>
                </a:cubicBezTo>
                <a:cubicBezTo>
                  <a:pt x="6" y="107"/>
                  <a:pt x="6" y="107"/>
                  <a:pt x="6" y="107"/>
                </a:cubicBezTo>
                <a:cubicBezTo>
                  <a:pt x="6" y="107"/>
                  <a:pt x="6" y="107"/>
                  <a:pt x="6" y="107"/>
                </a:cubicBezTo>
                <a:cubicBezTo>
                  <a:pt x="6" y="106"/>
                  <a:pt x="6" y="106"/>
                  <a:pt x="6" y="106"/>
                </a:cubicBezTo>
                <a:cubicBezTo>
                  <a:pt x="6" y="105"/>
                  <a:pt x="6" y="105"/>
                  <a:pt x="6" y="105"/>
                </a:cubicBezTo>
                <a:cubicBezTo>
                  <a:pt x="7" y="105"/>
                  <a:pt x="7" y="105"/>
                  <a:pt x="7" y="105"/>
                </a:cubicBezTo>
                <a:cubicBezTo>
                  <a:pt x="7" y="105"/>
                  <a:pt x="7" y="105"/>
                  <a:pt x="7" y="105"/>
                </a:cubicBezTo>
                <a:cubicBezTo>
                  <a:pt x="8" y="106"/>
                  <a:pt x="8" y="106"/>
                  <a:pt x="8" y="106"/>
                </a:cubicBezTo>
                <a:cubicBezTo>
                  <a:pt x="9" y="107"/>
                  <a:pt x="9" y="107"/>
                  <a:pt x="9" y="107"/>
                </a:cubicBezTo>
                <a:cubicBezTo>
                  <a:pt x="8" y="106"/>
                  <a:pt x="8" y="106"/>
                  <a:pt x="8" y="106"/>
                </a:cubicBezTo>
                <a:cubicBezTo>
                  <a:pt x="8" y="105"/>
                  <a:pt x="8" y="105"/>
                  <a:pt x="8" y="105"/>
                </a:cubicBezTo>
                <a:cubicBezTo>
                  <a:pt x="8" y="104"/>
                  <a:pt x="8" y="104"/>
                  <a:pt x="8" y="104"/>
                </a:cubicBezTo>
                <a:cubicBezTo>
                  <a:pt x="7" y="103"/>
                  <a:pt x="7" y="103"/>
                  <a:pt x="7" y="103"/>
                </a:cubicBezTo>
                <a:cubicBezTo>
                  <a:pt x="7" y="102"/>
                  <a:pt x="7" y="102"/>
                  <a:pt x="7" y="102"/>
                </a:cubicBezTo>
                <a:cubicBezTo>
                  <a:pt x="8" y="102"/>
                  <a:pt x="8" y="102"/>
                  <a:pt x="8" y="102"/>
                </a:cubicBezTo>
                <a:cubicBezTo>
                  <a:pt x="8" y="103"/>
                  <a:pt x="8" y="103"/>
                  <a:pt x="8" y="103"/>
                </a:cubicBezTo>
                <a:cubicBezTo>
                  <a:pt x="9" y="103"/>
                  <a:pt x="9" y="103"/>
                  <a:pt x="9" y="103"/>
                </a:cubicBezTo>
                <a:cubicBezTo>
                  <a:pt x="11" y="102"/>
                  <a:pt x="11" y="102"/>
                  <a:pt x="11" y="102"/>
                </a:cubicBezTo>
                <a:cubicBezTo>
                  <a:pt x="9" y="102"/>
                  <a:pt x="9" y="102"/>
                  <a:pt x="9" y="102"/>
                </a:cubicBezTo>
                <a:cubicBezTo>
                  <a:pt x="9" y="102"/>
                  <a:pt x="9" y="102"/>
                  <a:pt x="9" y="102"/>
                </a:cubicBezTo>
                <a:cubicBezTo>
                  <a:pt x="8" y="102"/>
                  <a:pt x="8" y="102"/>
                  <a:pt x="8" y="102"/>
                </a:cubicBezTo>
                <a:cubicBezTo>
                  <a:pt x="8" y="101"/>
                  <a:pt x="8" y="101"/>
                  <a:pt x="8" y="101"/>
                </a:cubicBezTo>
                <a:cubicBezTo>
                  <a:pt x="7" y="101"/>
                  <a:pt x="7" y="101"/>
                  <a:pt x="7" y="101"/>
                </a:cubicBezTo>
                <a:cubicBezTo>
                  <a:pt x="6" y="101"/>
                  <a:pt x="6" y="101"/>
                  <a:pt x="6" y="101"/>
                </a:cubicBezTo>
                <a:cubicBezTo>
                  <a:pt x="6" y="102"/>
                  <a:pt x="6" y="102"/>
                  <a:pt x="6" y="102"/>
                </a:cubicBezTo>
                <a:cubicBezTo>
                  <a:pt x="6" y="104"/>
                  <a:pt x="6" y="104"/>
                  <a:pt x="6" y="104"/>
                </a:cubicBezTo>
                <a:cubicBezTo>
                  <a:pt x="6" y="103"/>
                  <a:pt x="6" y="103"/>
                  <a:pt x="6" y="103"/>
                </a:cubicBezTo>
                <a:cubicBezTo>
                  <a:pt x="6" y="103"/>
                  <a:pt x="6" y="103"/>
                  <a:pt x="6" y="103"/>
                </a:cubicBezTo>
                <a:cubicBezTo>
                  <a:pt x="5" y="103"/>
                  <a:pt x="5" y="103"/>
                  <a:pt x="5" y="103"/>
                </a:cubicBezTo>
                <a:cubicBezTo>
                  <a:pt x="4" y="102"/>
                  <a:pt x="4" y="102"/>
                  <a:pt x="4" y="102"/>
                </a:cubicBezTo>
                <a:cubicBezTo>
                  <a:pt x="4" y="101"/>
                  <a:pt x="4" y="101"/>
                  <a:pt x="4" y="101"/>
                </a:cubicBezTo>
                <a:cubicBezTo>
                  <a:pt x="4" y="100"/>
                  <a:pt x="4" y="100"/>
                  <a:pt x="4" y="100"/>
                </a:cubicBezTo>
                <a:cubicBezTo>
                  <a:pt x="4" y="99"/>
                  <a:pt x="4" y="99"/>
                  <a:pt x="4" y="99"/>
                </a:cubicBezTo>
                <a:cubicBezTo>
                  <a:pt x="1" y="95"/>
                  <a:pt x="1" y="95"/>
                  <a:pt x="1" y="95"/>
                </a:cubicBezTo>
                <a:cubicBezTo>
                  <a:pt x="1" y="94"/>
                  <a:pt x="1" y="94"/>
                  <a:pt x="1" y="94"/>
                </a:cubicBezTo>
                <a:cubicBezTo>
                  <a:pt x="1" y="93"/>
                  <a:pt x="1" y="93"/>
                  <a:pt x="1" y="93"/>
                </a:cubicBezTo>
                <a:cubicBezTo>
                  <a:pt x="2" y="92"/>
                  <a:pt x="2" y="92"/>
                  <a:pt x="2" y="92"/>
                </a:cubicBezTo>
                <a:cubicBezTo>
                  <a:pt x="1" y="91"/>
                  <a:pt x="1" y="91"/>
                  <a:pt x="1" y="91"/>
                </a:cubicBezTo>
                <a:cubicBezTo>
                  <a:pt x="1" y="90"/>
                  <a:pt x="1" y="90"/>
                  <a:pt x="1" y="90"/>
                </a:cubicBezTo>
                <a:cubicBezTo>
                  <a:pt x="1" y="89"/>
                  <a:pt x="1" y="89"/>
                  <a:pt x="1" y="89"/>
                </a:cubicBezTo>
                <a:cubicBezTo>
                  <a:pt x="2" y="88"/>
                  <a:pt x="2" y="88"/>
                  <a:pt x="2" y="88"/>
                </a:cubicBezTo>
                <a:cubicBezTo>
                  <a:pt x="2" y="87"/>
                  <a:pt x="2" y="87"/>
                  <a:pt x="2" y="87"/>
                </a:cubicBezTo>
                <a:cubicBezTo>
                  <a:pt x="2" y="84"/>
                  <a:pt x="2" y="84"/>
                  <a:pt x="2" y="84"/>
                </a:cubicBezTo>
                <a:cubicBezTo>
                  <a:pt x="1" y="82"/>
                  <a:pt x="1" y="82"/>
                  <a:pt x="1" y="82"/>
                </a:cubicBezTo>
                <a:cubicBezTo>
                  <a:pt x="0" y="80"/>
                  <a:pt x="0" y="80"/>
                  <a:pt x="0" y="80"/>
                </a:cubicBezTo>
                <a:cubicBezTo>
                  <a:pt x="0" y="79"/>
                  <a:pt x="0" y="79"/>
                  <a:pt x="0" y="79"/>
                </a:cubicBezTo>
                <a:cubicBezTo>
                  <a:pt x="0" y="77"/>
                  <a:pt x="0" y="77"/>
                  <a:pt x="0" y="77"/>
                </a:cubicBezTo>
                <a:cubicBezTo>
                  <a:pt x="2" y="76"/>
                  <a:pt x="2" y="76"/>
                  <a:pt x="2" y="76"/>
                </a:cubicBezTo>
                <a:cubicBezTo>
                  <a:pt x="3" y="74"/>
                  <a:pt x="3" y="74"/>
                  <a:pt x="3" y="74"/>
                </a:cubicBezTo>
                <a:cubicBezTo>
                  <a:pt x="2" y="74"/>
                  <a:pt x="2" y="74"/>
                  <a:pt x="2" y="74"/>
                </a:cubicBezTo>
                <a:cubicBezTo>
                  <a:pt x="2" y="73"/>
                  <a:pt x="2" y="73"/>
                  <a:pt x="2" y="73"/>
                </a:cubicBezTo>
                <a:cubicBezTo>
                  <a:pt x="3" y="73"/>
                  <a:pt x="3" y="73"/>
                  <a:pt x="3" y="73"/>
                </a:cubicBezTo>
                <a:cubicBezTo>
                  <a:pt x="4" y="71"/>
                  <a:pt x="4" y="71"/>
                  <a:pt x="4" y="71"/>
                </a:cubicBezTo>
                <a:cubicBezTo>
                  <a:pt x="4" y="69"/>
                  <a:pt x="4" y="69"/>
                  <a:pt x="4" y="69"/>
                </a:cubicBezTo>
                <a:cubicBezTo>
                  <a:pt x="3" y="67"/>
                  <a:pt x="3" y="67"/>
                  <a:pt x="3" y="67"/>
                </a:cubicBezTo>
                <a:cubicBezTo>
                  <a:pt x="4" y="66"/>
                  <a:pt x="4" y="66"/>
                  <a:pt x="4" y="66"/>
                </a:cubicBezTo>
                <a:cubicBezTo>
                  <a:pt x="4" y="65"/>
                  <a:pt x="4" y="65"/>
                  <a:pt x="4" y="65"/>
                </a:cubicBezTo>
                <a:cubicBezTo>
                  <a:pt x="3" y="64"/>
                  <a:pt x="3" y="64"/>
                  <a:pt x="3" y="64"/>
                </a:cubicBezTo>
                <a:cubicBezTo>
                  <a:pt x="3" y="63"/>
                  <a:pt x="3" y="63"/>
                  <a:pt x="3" y="63"/>
                </a:cubicBezTo>
                <a:cubicBezTo>
                  <a:pt x="4" y="60"/>
                  <a:pt x="4" y="60"/>
                  <a:pt x="4" y="60"/>
                </a:cubicBezTo>
                <a:cubicBezTo>
                  <a:pt x="4" y="58"/>
                  <a:pt x="4" y="58"/>
                  <a:pt x="4" y="58"/>
                </a:cubicBezTo>
                <a:cubicBezTo>
                  <a:pt x="4" y="57"/>
                  <a:pt x="4" y="57"/>
                  <a:pt x="4" y="57"/>
                </a:cubicBezTo>
                <a:cubicBezTo>
                  <a:pt x="6" y="55"/>
                  <a:pt x="6" y="55"/>
                  <a:pt x="6" y="55"/>
                </a:cubicBezTo>
                <a:cubicBezTo>
                  <a:pt x="6" y="53"/>
                  <a:pt x="6" y="53"/>
                  <a:pt x="6" y="53"/>
                </a:cubicBezTo>
                <a:cubicBezTo>
                  <a:pt x="7" y="53"/>
                  <a:pt x="7" y="53"/>
                  <a:pt x="7" y="53"/>
                </a:cubicBezTo>
                <a:cubicBezTo>
                  <a:pt x="8" y="51"/>
                  <a:pt x="8" y="51"/>
                  <a:pt x="8" y="51"/>
                </a:cubicBezTo>
                <a:cubicBezTo>
                  <a:pt x="9" y="49"/>
                  <a:pt x="9" y="49"/>
                  <a:pt x="9" y="49"/>
                </a:cubicBezTo>
                <a:cubicBezTo>
                  <a:pt x="10" y="48"/>
                  <a:pt x="10" y="48"/>
                  <a:pt x="10" y="48"/>
                </a:cubicBezTo>
                <a:cubicBezTo>
                  <a:pt x="10" y="44"/>
                  <a:pt x="10" y="44"/>
                  <a:pt x="10" y="44"/>
                </a:cubicBezTo>
                <a:cubicBezTo>
                  <a:pt x="12" y="41"/>
                  <a:pt x="12" y="41"/>
                  <a:pt x="12" y="41"/>
                </a:cubicBezTo>
                <a:cubicBezTo>
                  <a:pt x="12" y="38"/>
                  <a:pt x="12" y="38"/>
                  <a:pt x="12" y="38"/>
                </a:cubicBezTo>
                <a:cubicBezTo>
                  <a:pt x="14" y="35"/>
                  <a:pt x="14" y="35"/>
                  <a:pt x="14" y="35"/>
                </a:cubicBezTo>
                <a:cubicBezTo>
                  <a:pt x="14" y="33"/>
                  <a:pt x="14" y="33"/>
                  <a:pt x="14" y="33"/>
                </a:cubicBezTo>
                <a:cubicBezTo>
                  <a:pt x="15" y="32"/>
                  <a:pt x="15" y="32"/>
                  <a:pt x="15" y="32"/>
                </a:cubicBezTo>
                <a:cubicBezTo>
                  <a:pt x="15" y="31"/>
                  <a:pt x="15" y="31"/>
                  <a:pt x="15" y="31"/>
                </a:cubicBezTo>
                <a:cubicBezTo>
                  <a:pt x="15" y="30"/>
                  <a:pt x="15" y="30"/>
                  <a:pt x="15" y="30"/>
                </a:cubicBezTo>
                <a:cubicBezTo>
                  <a:pt x="16" y="28"/>
                  <a:pt x="16" y="28"/>
                  <a:pt x="16" y="28"/>
                </a:cubicBezTo>
                <a:cubicBezTo>
                  <a:pt x="16" y="27"/>
                  <a:pt x="16" y="27"/>
                  <a:pt x="16" y="27"/>
                </a:cubicBezTo>
                <a:cubicBezTo>
                  <a:pt x="17" y="27"/>
                  <a:pt x="17" y="27"/>
                  <a:pt x="17" y="27"/>
                </a:cubicBezTo>
                <a:cubicBezTo>
                  <a:pt x="17" y="27"/>
                  <a:pt x="17" y="27"/>
                  <a:pt x="17" y="27"/>
                </a:cubicBezTo>
                <a:cubicBezTo>
                  <a:pt x="19" y="27"/>
                  <a:pt x="19" y="27"/>
                  <a:pt x="19" y="27"/>
                </a:cubicBezTo>
                <a:cubicBezTo>
                  <a:pt x="20" y="28"/>
                  <a:pt x="20" y="28"/>
                  <a:pt x="20" y="28"/>
                </a:cubicBezTo>
                <a:cubicBezTo>
                  <a:pt x="21" y="28"/>
                  <a:pt x="21" y="28"/>
                  <a:pt x="21" y="28"/>
                </a:cubicBezTo>
                <a:cubicBezTo>
                  <a:pt x="22" y="29"/>
                  <a:pt x="22" y="29"/>
                  <a:pt x="22" y="29"/>
                </a:cubicBezTo>
                <a:cubicBezTo>
                  <a:pt x="23" y="30"/>
                  <a:pt x="23" y="30"/>
                  <a:pt x="23" y="30"/>
                </a:cubicBezTo>
                <a:cubicBezTo>
                  <a:pt x="23" y="28"/>
                  <a:pt x="23" y="28"/>
                  <a:pt x="23" y="28"/>
                </a:cubicBezTo>
                <a:cubicBezTo>
                  <a:pt x="22" y="28"/>
                  <a:pt x="22" y="28"/>
                  <a:pt x="22" y="28"/>
                </a:cubicBezTo>
                <a:cubicBezTo>
                  <a:pt x="21" y="27"/>
                  <a:pt x="21" y="27"/>
                  <a:pt x="21" y="27"/>
                </a:cubicBezTo>
                <a:cubicBezTo>
                  <a:pt x="20" y="26"/>
                  <a:pt x="20" y="26"/>
                  <a:pt x="20" y="26"/>
                </a:cubicBezTo>
                <a:cubicBezTo>
                  <a:pt x="18" y="26"/>
                  <a:pt x="18" y="26"/>
                  <a:pt x="18" y="26"/>
                </a:cubicBezTo>
                <a:cubicBezTo>
                  <a:pt x="16" y="26"/>
                  <a:pt x="16" y="26"/>
                  <a:pt x="16" y="26"/>
                </a:cubicBezTo>
                <a:cubicBezTo>
                  <a:pt x="16" y="25"/>
                  <a:pt x="16" y="25"/>
                  <a:pt x="16" y="25"/>
                </a:cubicBezTo>
                <a:cubicBezTo>
                  <a:pt x="17" y="25"/>
                  <a:pt x="17" y="25"/>
                  <a:pt x="17" y="25"/>
                </a:cubicBezTo>
                <a:cubicBezTo>
                  <a:pt x="17" y="25"/>
                  <a:pt x="17" y="25"/>
                  <a:pt x="17" y="25"/>
                </a:cubicBezTo>
                <a:cubicBezTo>
                  <a:pt x="18" y="24"/>
                  <a:pt x="18" y="24"/>
                  <a:pt x="18" y="24"/>
                </a:cubicBezTo>
                <a:cubicBezTo>
                  <a:pt x="18" y="23"/>
                  <a:pt x="18" y="23"/>
                  <a:pt x="18" y="23"/>
                </a:cubicBezTo>
                <a:cubicBezTo>
                  <a:pt x="18" y="22"/>
                  <a:pt x="18" y="22"/>
                  <a:pt x="18" y="22"/>
                </a:cubicBezTo>
                <a:cubicBezTo>
                  <a:pt x="17" y="21"/>
                  <a:pt x="17" y="21"/>
                  <a:pt x="17" y="21"/>
                </a:cubicBezTo>
                <a:cubicBezTo>
                  <a:pt x="17" y="21"/>
                  <a:pt x="17" y="21"/>
                  <a:pt x="17" y="21"/>
                </a:cubicBezTo>
                <a:cubicBezTo>
                  <a:pt x="17" y="20"/>
                  <a:pt x="17" y="20"/>
                  <a:pt x="17" y="20"/>
                </a:cubicBezTo>
                <a:cubicBezTo>
                  <a:pt x="18" y="20"/>
                  <a:pt x="18" y="20"/>
                  <a:pt x="18" y="20"/>
                </a:cubicBezTo>
                <a:cubicBezTo>
                  <a:pt x="18" y="19"/>
                  <a:pt x="18" y="19"/>
                  <a:pt x="18" y="19"/>
                </a:cubicBezTo>
                <a:cubicBezTo>
                  <a:pt x="18" y="19"/>
                  <a:pt x="18" y="19"/>
                  <a:pt x="18" y="19"/>
                </a:cubicBezTo>
                <a:cubicBezTo>
                  <a:pt x="17" y="19"/>
                  <a:pt x="17" y="19"/>
                  <a:pt x="17" y="19"/>
                </a:cubicBezTo>
                <a:cubicBezTo>
                  <a:pt x="17" y="18"/>
                  <a:pt x="17" y="18"/>
                  <a:pt x="17" y="18"/>
                </a:cubicBezTo>
                <a:cubicBezTo>
                  <a:pt x="17" y="16"/>
                  <a:pt x="17" y="16"/>
                  <a:pt x="17" y="16"/>
                </a:cubicBezTo>
                <a:cubicBezTo>
                  <a:pt x="17" y="15"/>
                  <a:pt x="17" y="15"/>
                  <a:pt x="17" y="15"/>
                </a:cubicBezTo>
                <a:cubicBezTo>
                  <a:pt x="18" y="11"/>
                  <a:pt x="18" y="11"/>
                  <a:pt x="18" y="11"/>
                </a:cubicBezTo>
                <a:cubicBezTo>
                  <a:pt x="17" y="9"/>
                  <a:pt x="17" y="9"/>
                  <a:pt x="17" y="9"/>
                </a:cubicBezTo>
                <a:cubicBezTo>
                  <a:pt x="17" y="8"/>
                  <a:pt x="17" y="8"/>
                  <a:pt x="17" y="8"/>
                </a:cubicBezTo>
                <a:cubicBezTo>
                  <a:pt x="18" y="6"/>
                  <a:pt x="18" y="6"/>
                  <a:pt x="18" y="6"/>
                </a:cubicBezTo>
                <a:cubicBezTo>
                  <a:pt x="18" y="4"/>
                  <a:pt x="18" y="4"/>
                  <a:pt x="18" y="4"/>
                </a:cubicBezTo>
                <a:cubicBezTo>
                  <a:pt x="19" y="4"/>
                  <a:pt x="19" y="4"/>
                  <a:pt x="19" y="4"/>
                </a:cubicBezTo>
                <a:cubicBezTo>
                  <a:pt x="21" y="7"/>
                  <a:pt x="21" y="7"/>
                  <a:pt x="21" y="7"/>
                </a:cubicBezTo>
                <a:cubicBezTo>
                  <a:pt x="23" y="8"/>
                  <a:pt x="23" y="8"/>
                  <a:pt x="23" y="8"/>
                </a:cubicBezTo>
                <a:cubicBezTo>
                  <a:pt x="26" y="8"/>
                  <a:pt x="26" y="8"/>
                  <a:pt x="26" y="8"/>
                </a:cubicBezTo>
                <a:cubicBezTo>
                  <a:pt x="27" y="8"/>
                  <a:pt x="27" y="8"/>
                  <a:pt x="27" y="8"/>
                </a:cubicBezTo>
                <a:cubicBezTo>
                  <a:pt x="27" y="9"/>
                  <a:pt x="27" y="9"/>
                  <a:pt x="27" y="9"/>
                </a:cubicBezTo>
                <a:cubicBezTo>
                  <a:pt x="28" y="9"/>
                  <a:pt x="28" y="9"/>
                  <a:pt x="28" y="9"/>
                </a:cubicBezTo>
                <a:cubicBezTo>
                  <a:pt x="29" y="9"/>
                  <a:pt x="29" y="9"/>
                  <a:pt x="29" y="9"/>
                </a:cubicBezTo>
                <a:cubicBezTo>
                  <a:pt x="29" y="10"/>
                  <a:pt x="29" y="10"/>
                  <a:pt x="29" y="10"/>
                </a:cubicBezTo>
                <a:cubicBezTo>
                  <a:pt x="29" y="11"/>
                  <a:pt x="29" y="11"/>
                  <a:pt x="29" y="11"/>
                </a:cubicBezTo>
                <a:cubicBezTo>
                  <a:pt x="27" y="11"/>
                  <a:pt x="27" y="11"/>
                  <a:pt x="27" y="11"/>
                </a:cubicBezTo>
                <a:cubicBezTo>
                  <a:pt x="26" y="12"/>
                  <a:pt x="26" y="12"/>
                  <a:pt x="26" y="12"/>
                </a:cubicBezTo>
                <a:cubicBezTo>
                  <a:pt x="26" y="13"/>
                  <a:pt x="26" y="13"/>
                  <a:pt x="26" y="13"/>
                </a:cubicBezTo>
                <a:cubicBezTo>
                  <a:pt x="27" y="13"/>
                  <a:pt x="27" y="13"/>
                  <a:pt x="27" y="13"/>
                </a:cubicBezTo>
                <a:cubicBezTo>
                  <a:pt x="28" y="12"/>
                  <a:pt x="28" y="12"/>
                  <a:pt x="28" y="12"/>
                </a:cubicBezTo>
                <a:cubicBezTo>
                  <a:pt x="29" y="11"/>
                  <a:pt x="29" y="11"/>
                  <a:pt x="29" y="11"/>
                </a:cubicBezTo>
                <a:cubicBezTo>
                  <a:pt x="29" y="11"/>
                  <a:pt x="29" y="11"/>
                  <a:pt x="29" y="11"/>
                </a:cubicBezTo>
                <a:cubicBezTo>
                  <a:pt x="30" y="12"/>
                  <a:pt x="30" y="12"/>
                  <a:pt x="30" y="12"/>
                </a:cubicBezTo>
                <a:cubicBezTo>
                  <a:pt x="29" y="13"/>
                  <a:pt x="29" y="13"/>
                  <a:pt x="29" y="13"/>
                </a:cubicBezTo>
                <a:cubicBezTo>
                  <a:pt x="28" y="14"/>
                  <a:pt x="28" y="14"/>
                  <a:pt x="28" y="14"/>
                </a:cubicBezTo>
                <a:cubicBezTo>
                  <a:pt x="28" y="16"/>
                  <a:pt x="28" y="16"/>
                  <a:pt x="28" y="16"/>
                </a:cubicBezTo>
                <a:cubicBezTo>
                  <a:pt x="27" y="16"/>
                  <a:pt x="27" y="16"/>
                  <a:pt x="27" y="16"/>
                </a:cubicBezTo>
                <a:cubicBezTo>
                  <a:pt x="27" y="15"/>
                  <a:pt x="27" y="15"/>
                  <a:pt x="27" y="15"/>
                </a:cubicBezTo>
                <a:cubicBezTo>
                  <a:pt x="26" y="16"/>
                  <a:pt x="26" y="16"/>
                  <a:pt x="26" y="16"/>
                </a:cubicBezTo>
                <a:cubicBezTo>
                  <a:pt x="26" y="16"/>
                  <a:pt x="26" y="16"/>
                  <a:pt x="26" y="16"/>
                </a:cubicBezTo>
                <a:cubicBezTo>
                  <a:pt x="25" y="17"/>
                  <a:pt x="25" y="17"/>
                  <a:pt x="25" y="17"/>
                </a:cubicBezTo>
                <a:cubicBezTo>
                  <a:pt x="26" y="17"/>
                  <a:pt x="26" y="17"/>
                  <a:pt x="26" y="17"/>
                </a:cubicBezTo>
                <a:cubicBezTo>
                  <a:pt x="27" y="18"/>
                  <a:pt x="27" y="18"/>
                  <a:pt x="27" y="18"/>
                </a:cubicBezTo>
                <a:cubicBezTo>
                  <a:pt x="28" y="17"/>
                  <a:pt x="28" y="17"/>
                  <a:pt x="28" y="17"/>
                </a:cubicBezTo>
                <a:cubicBezTo>
                  <a:pt x="28" y="16"/>
                  <a:pt x="28" y="16"/>
                  <a:pt x="28" y="16"/>
                </a:cubicBezTo>
                <a:cubicBezTo>
                  <a:pt x="29" y="15"/>
                  <a:pt x="29" y="15"/>
                  <a:pt x="29" y="15"/>
                </a:cubicBezTo>
                <a:cubicBezTo>
                  <a:pt x="29" y="14"/>
                  <a:pt x="29" y="14"/>
                  <a:pt x="29" y="14"/>
                </a:cubicBezTo>
                <a:cubicBezTo>
                  <a:pt x="30" y="13"/>
                  <a:pt x="30" y="13"/>
                  <a:pt x="30" y="13"/>
                </a:cubicBezTo>
                <a:cubicBezTo>
                  <a:pt x="30" y="12"/>
                  <a:pt x="30" y="12"/>
                  <a:pt x="30" y="12"/>
                </a:cubicBezTo>
                <a:cubicBezTo>
                  <a:pt x="31" y="11"/>
                  <a:pt x="31" y="11"/>
                  <a:pt x="31" y="11"/>
                </a:cubicBezTo>
                <a:cubicBezTo>
                  <a:pt x="32" y="10"/>
                  <a:pt x="32" y="10"/>
                  <a:pt x="32" y="10"/>
                </a:cubicBezTo>
                <a:cubicBezTo>
                  <a:pt x="32" y="9"/>
                  <a:pt x="32" y="9"/>
                  <a:pt x="32" y="9"/>
                </a:cubicBezTo>
                <a:cubicBezTo>
                  <a:pt x="32" y="8"/>
                  <a:pt x="32" y="8"/>
                  <a:pt x="32" y="8"/>
                </a:cubicBezTo>
                <a:cubicBezTo>
                  <a:pt x="31" y="8"/>
                  <a:pt x="31" y="8"/>
                  <a:pt x="31" y="8"/>
                </a:cubicBezTo>
                <a:cubicBezTo>
                  <a:pt x="32" y="7"/>
                  <a:pt x="32" y="7"/>
                  <a:pt x="32" y="7"/>
                </a:cubicBezTo>
                <a:cubicBezTo>
                  <a:pt x="32" y="6"/>
                  <a:pt x="32" y="6"/>
                  <a:pt x="32" y="6"/>
                </a:cubicBezTo>
                <a:cubicBezTo>
                  <a:pt x="32" y="6"/>
                  <a:pt x="32" y="6"/>
                  <a:pt x="32" y="6"/>
                </a:cubicBezTo>
                <a:cubicBezTo>
                  <a:pt x="31" y="4"/>
                  <a:pt x="31" y="4"/>
                  <a:pt x="31" y="4"/>
                </a:cubicBezTo>
                <a:cubicBezTo>
                  <a:pt x="32" y="4"/>
                  <a:pt x="32" y="4"/>
                  <a:pt x="32" y="4"/>
                </a:cubicBezTo>
                <a:cubicBezTo>
                  <a:pt x="33" y="3"/>
                  <a:pt x="33" y="3"/>
                  <a:pt x="33" y="3"/>
                </a:cubicBezTo>
                <a:cubicBezTo>
                  <a:pt x="31" y="2"/>
                  <a:pt x="31" y="2"/>
                  <a:pt x="31" y="2"/>
                </a:cubicBezTo>
                <a:cubicBezTo>
                  <a:pt x="31" y="0"/>
                  <a:pt x="31" y="0"/>
                  <a:pt x="31" y="0"/>
                </a:cubicBezTo>
                <a:close/>
                <a:moveTo>
                  <a:pt x="326" y="89"/>
                </a:moveTo>
                <a:cubicBezTo>
                  <a:pt x="326" y="89"/>
                  <a:pt x="326" y="89"/>
                  <a:pt x="326" y="89"/>
                </a:cubicBezTo>
                <a:cubicBezTo>
                  <a:pt x="327" y="89"/>
                  <a:pt x="327" y="89"/>
                  <a:pt x="327" y="89"/>
                </a:cubicBezTo>
                <a:cubicBezTo>
                  <a:pt x="327" y="89"/>
                  <a:pt x="327" y="89"/>
                  <a:pt x="327" y="89"/>
                </a:cubicBezTo>
                <a:cubicBezTo>
                  <a:pt x="328" y="89"/>
                  <a:pt x="328" y="89"/>
                  <a:pt x="328" y="89"/>
                </a:cubicBezTo>
                <a:cubicBezTo>
                  <a:pt x="328" y="88"/>
                  <a:pt x="328" y="88"/>
                  <a:pt x="328" y="88"/>
                </a:cubicBezTo>
                <a:cubicBezTo>
                  <a:pt x="327" y="88"/>
                  <a:pt x="327" y="88"/>
                  <a:pt x="327" y="88"/>
                </a:cubicBezTo>
                <a:cubicBezTo>
                  <a:pt x="326" y="88"/>
                  <a:pt x="326" y="88"/>
                  <a:pt x="326" y="88"/>
                </a:cubicBezTo>
                <a:cubicBezTo>
                  <a:pt x="326" y="89"/>
                  <a:pt x="326" y="89"/>
                  <a:pt x="326" y="89"/>
                </a:cubicBezTo>
                <a:close/>
                <a:moveTo>
                  <a:pt x="307" y="94"/>
                </a:moveTo>
                <a:cubicBezTo>
                  <a:pt x="306" y="94"/>
                  <a:pt x="306" y="94"/>
                  <a:pt x="306" y="94"/>
                </a:cubicBezTo>
                <a:cubicBezTo>
                  <a:pt x="307" y="94"/>
                  <a:pt x="307" y="94"/>
                  <a:pt x="307" y="94"/>
                </a:cubicBezTo>
                <a:cubicBezTo>
                  <a:pt x="308" y="94"/>
                  <a:pt x="308" y="94"/>
                  <a:pt x="308" y="94"/>
                </a:cubicBezTo>
                <a:cubicBezTo>
                  <a:pt x="309" y="94"/>
                  <a:pt x="309" y="94"/>
                  <a:pt x="309" y="94"/>
                </a:cubicBezTo>
                <a:cubicBezTo>
                  <a:pt x="310" y="93"/>
                  <a:pt x="310" y="93"/>
                  <a:pt x="310" y="93"/>
                </a:cubicBezTo>
                <a:cubicBezTo>
                  <a:pt x="312" y="93"/>
                  <a:pt x="312" y="93"/>
                  <a:pt x="312" y="93"/>
                </a:cubicBezTo>
                <a:cubicBezTo>
                  <a:pt x="313" y="93"/>
                  <a:pt x="313" y="93"/>
                  <a:pt x="313" y="93"/>
                </a:cubicBezTo>
                <a:cubicBezTo>
                  <a:pt x="315" y="93"/>
                  <a:pt x="315" y="93"/>
                  <a:pt x="315" y="93"/>
                </a:cubicBezTo>
                <a:cubicBezTo>
                  <a:pt x="316" y="92"/>
                  <a:pt x="316" y="92"/>
                  <a:pt x="316" y="92"/>
                </a:cubicBezTo>
                <a:cubicBezTo>
                  <a:pt x="316" y="92"/>
                  <a:pt x="316" y="92"/>
                  <a:pt x="316" y="92"/>
                </a:cubicBezTo>
                <a:cubicBezTo>
                  <a:pt x="318" y="92"/>
                  <a:pt x="318" y="92"/>
                  <a:pt x="318" y="92"/>
                </a:cubicBezTo>
                <a:cubicBezTo>
                  <a:pt x="318" y="91"/>
                  <a:pt x="318" y="91"/>
                  <a:pt x="318" y="91"/>
                </a:cubicBezTo>
                <a:cubicBezTo>
                  <a:pt x="317" y="92"/>
                  <a:pt x="317" y="92"/>
                  <a:pt x="317" y="92"/>
                </a:cubicBezTo>
                <a:cubicBezTo>
                  <a:pt x="317" y="91"/>
                  <a:pt x="317" y="91"/>
                  <a:pt x="317" y="91"/>
                </a:cubicBezTo>
                <a:cubicBezTo>
                  <a:pt x="316" y="92"/>
                  <a:pt x="316" y="92"/>
                  <a:pt x="316" y="92"/>
                </a:cubicBezTo>
                <a:cubicBezTo>
                  <a:pt x="316" y="91"/>
                  <a:pt x="316" y="91"/>
                  <a:pt x="316" y="91"/>
                </a:cubicBezTo>
                <a:cubicBezTo>
                  <a:pt x="316" y="91"/>
                  <a:pt x="316" y="91"/>
                  <a:pt x="316" y="91"/>
                </a:cubicBezTo>
                <a:cubicBezTo>
                  <a:pt x="316" y="90"/>
                  <a:pt x="316" y="90"/>
                  <a:pt x="316" y="90"/>
                </a:cubicBezTo>
                <a:cubicBezTo>
                  <a:pt x="315" y="91"/>
                  <a:pt x="315" y="91"/>
                  <a:pt x="315" y="91"/>
                </a:cubicBezTo>
                <a:cubicBezTo>
                  <a:pt x="313" y="91"/>
                  <a:pt x="313" y="91"/>
                  <a:pt x="313" y="91"/>
                </a:cubicBezTo>
                <a:cubicBezTo>
                  <a:pt x="311" y="92"/>
                  <a:pt x="311" y="92"/>
                  <a:pt x="311" y="92"/>
                </a:cubicBezTo>
                <a:cubicBezTo>
                  <a:pt x="310" y="92"/>
                  <a:pt x="310" y="92"/>
                  <a:pt x="310" y="92"/>
                </a:cubicBezTo>
                <a:cubicBezTo>
                  <a:pt x="308" y="92"/>
                  <a:pt x="308" y="92"/>
                  <a:pt x="308" y="92"/>
                </a:cubicBezTo>
                <a:cubicBezTo>
                  <a:pt x="307" y="93"/>
                  <a:pt x="307" y="93"/>
                  <a:pt x="307" y="93"/>
                </a:cubicBezTo>
                <a:cubicBezTo>
                  <a:pt x="306" y="93"/>
                  <a:pt x="306" y="93"/>
                  <a:pt x="306" y="93"/>
                </a:cubicBezTo>
                <a:cubicBezTo>
                  <a:pt x="306" y="94"/>
                  <a:pt x="306" y="94"/>
                  <a:pt x="306" y="94"/>
                </a:cubicBezTo>
                <a:cubicBezTo>
                  <a:pt x="307" y="94"/>
                  <a:pt x="307" y="94"/>
                  <a:pt x="307" y="94"/>
                </a:cubicBezTo>
                <a:close/>
                <a:moveTo>
                  <a:pt x="31" y="6"/>
                </a:moveTo>
                <a:cubicBezTo>
                  <a:pt x="30" y="7"/>
                  <a:pt x="30" y="7"/>
                  <a:pt x="30" y="7"/>
                </a:cubicBezTo>
                <a:cubicBezTo>
                  <a:pt x="30" y="9"/>
                  <a:pt x="30" y="9"/>
                  <a:pt x="30" y="9"/>
                </a:cubicBezTo>
                <a:cubicBezTo>
                  <a:pt x="30" y="10"/>
                  <a:pt x="30" y="10"/>
                  <a:pt x="30" y="10"/>
                </a:cubicBezTo>
                <a:cubicBezTo>
                  <a:pt x="31" y="10"/>
                  <a:pt x="31" y="10"/>
                  <a:pt x="31" y="10"/>
                </a:cubicBezTo>
                <a:cubicBezTo>
                  <a:pt x="30" y="8"/>
                  <a:pt x="30" y="8"/>
                  <a:pt x="30" y="8"/>
                </a:cubicBezTo>
                <a:cubicBezTo>
                  <a:pt x="30" y="7"/>
                  <a:pt x="30" y="7"/>
                  <a:pt x="30" y="7"/>
                </a:cubicBezTo>
                <a:cubicBezTo>
                  <a:pt x="31" y="6"/>
                  <a:pt x="31" y="6"/>
                  <a:pt x="31" y="6"/>
                </a:cubicBezTo>
                <a:cubicBezTo>
                  <a:pt x="31" y="6"/>
                  <a:pt x="31" y="6"/>
                  <a:pt x="31" y="6"/>
                </a:cubicBezTo>
                <a:close/>
                <a:moveTo>
                  <a:pt x="150" y="189"/>
                </a:moveTo>
                <a:cubicBezTo>
                  <a:pt x="150" y="189"/>
                  <a:pt x="150" y="189"/>
                  <a:pt x="150" y="189"/>
                </a:cubicBezTo>
                <a:cubicBezTo>
                  <a:pt x="152" y="187"/>
                  <a:pt x="152" y="187"/>
                  <a:pt x="152" y="187"/>
                </a:cubicBezTo>
                <a:cubicBezTo>
                  <a:pt x="153" y="186"/>
                  <a:pt x="153" y="186"/>
                  <a:pt x="153" y="186"/>
                </a:cubicBezTo>
                <a:cubicBezTo>
                  <a:pt x="151" y="187"/>
                  <a:pt x="151" y="187"/>
                  <a:pt x="151" y="187"/>
                </a:cubicBezTo>
                <a:cubicBezTo>
                  <a:pt x="150" y="189"/>
                  <a:pt x="150" y="189"/>
                  <a:pt x="150" y="189"/>
                </a:cubicBezTo>
                <a:close/>
                <a:moveTo>
                  <a:pt x="148" y="192"/>
                </a:moveTo>
                <a:cubicBezTo>
                  <a:pt x="149" y="192"/>
                  <a:pt x="149" y="192"/>
                  <a:pt x="149" y="192"/>
                </a:cubicBezTo>
                <a:cubicBezTo>
                  <a:pt x="149" y="190"/>
                  <a:pt x="149" y="190"/>
                  <a:pt x="149" y="190"/>
                </a:cubicBezTo>
                <a:cubicBezTo>
                  <a:pt x="149" y="190"/>
                  <a:pt x="149" y="190"/>
                  <a:pt x="149" y="190"/>
                </a:cubicBezTo>
                <a:cubicBezTo>
                  <a:pt x="148" y="192"/>
                  <a:pt x="148" y="192"/>
                  <a:pt x="148" y="192"/>
                </a:cubicBezTo>
                <a:close/>
                <a:moveTo>
                  <a:pt x="148" y="201"/>
                </a:moveTo>
                <a:cubicBezTo>
                  <a:pt x="147" y="199"/>
                  <a:pt x="147" y="199"/>
                  <a:pt x="147" y="199"/>
                </a:cubicBezTo>
                <a:cubicBezTo>
                  <a:pt x="147" y="196"/>
                  <a:pt x="147" y="196"/>
                  <a:pt x="147" y="196"/>
                </a:cubicBezTo>
                <a:cubicBezTo>
                  <a:pt x="148" y="193"/>
                  <a:pt x="148" y="193"/>
                  <a:pt x="148" y="193"/>
                </a:cubicBezTo>
                <a:cubicBezTo>
                  <a:pt x="147" y="196"/>
                  <a:pt x="147" y="196"/>
                  <a:pt x="147" y="196"/>
                </a:cubicBezTo>
                <a:cubicBezTo>
                  <a:pt x="147" y="199"/>
                  <a:pt x="147" y="199"/>
                  <a:pt x="147" y="199"/>
                </a:cubicBezTo>
                <a:cubicBezTo>
                  <a:pt x="147" y="199"/>
                  <a:pt x="148" y="201"/>
                  <a:pt x="148" y="201"/>
                </a:cubicBez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9" name="Freeform 177">
            <a:extLst>
              <a:ext uri="{FF2B5EF4-FFF2-40B4-BE49-F238E27FC236}">
                <a16:creationId xmlns:a16="http://schemas.microsoft.com/office/drawing/2014/main" id="{CFF70BC5-D379-357D-B8DF-61A944CA94A3}"/>
              </a:ext>
            </a:extLst>
          </p:cNvPr>
          <p:cNvSpPr>
            <a:spLocks noEditPoints="1"/>
          </p:cNvSpPr>
          <p:nvPr userDrawn="1"/>
        </p:nvSpPr>
        <p:spPr bwMode="auto">
          <a:xfrm>
            <a:off x="9737087" y="13010433"/>
            <a:ext cx="1438184" cy="260350"/>
          </a:xfrm>
          <a:custGeom>
            <a:avLst/>
            <a:gdLst>
              <a:gd name="T0" fmla="*/ 142 w 145"/>
              <a:gd name="T1" fmla="*/ 24 h 26"/>
              <a:gd name="T2" fmla="*/ 141 w 145"/>
              <a:gd name="T3" fmla="*/ 22 h 26"/>
              <a:gd name="T4" fmla="*/ 139 w 145"/>
              <a:gd name="T5" fmla="*/ 21 h 26"/>
              <a:gd name="T6" fmla="*/ 138 w 145"/>
              <a:gd name="T7" fmla="*/ 20 h 26"/>
              <a:gd name="T8" fmla="*/ 141 w 145"/>
              <a:gd name="T9" fmla="*/ 21 h 26"/>
              <a:gd name="T10" fmla="*/ 141 w 145"/>
              <a:gd name="T11" fmla="*/ 21 h 26"/>
              <a:gd name="T12" fmla="*/ 143 w 145"/>
              <a:gd name="T13" fmla="*/ 23 h 26"/>
              <a:gd name="T14" fmla="*/ 144 w 145"/>
              <a:gd name="T15" fmla="*/ 24 h 26"/>
              <a:gd name="T16" fmla="*/ 145 w 145"/>
              <a:gd name="T17" fmla="*/ 25 h 26"/>
              <a:gd name="T18" fmla="*/ 143 w 145"/>
              <a:gd name="T19" fmla="*/ 26 h 26"/>
              <a:gd name="T20" fmla="*/ 142 w 145"/>
              <a:gd name="T21" fmla="*/ 25 h 26"/>
              <a:gd name="T22" fmla="*/ 8 w 145"/>
              <a:gd name="T23" fmla="*/ 0 h 26"/>
              <a:gd name="T24" fmla="*/ 7 w 145"/>
              <a:gd name="T25" fmla="*/ 0 h 26"/>
              <a:gd name="T26" fmla="*/ 5 w 145"/>
              <a:gd name="T27" fmla="*/ 1 h 26"/>
              <a:gd name="T28" fmla="*/ 5 w 145"/>
              <a:gd name="T29" fmla="*/ 0 h 26"/>
              <a:gd name="T30" fmla="*/ 1 w 145"/>
              <a:gd name="T31" fmla="*/ 5 h 26"/>
              <a:gd name="T32" fmla="*/ 2 w 145"/>
              <a:gd name="T33" fmla="*/ 6 h 26"/>
              <a:gd name="T34" fmla="*/ 0 w 145"/>
              <a:gd name="T35" fmla="*/ 6 h 26"/>
              <a:gd name="T36" fmla="*/ 10 w 145"/>
              <a:gd name="T37" fmla="*/ 8 h 26"/>
              <a:gd name="T38" fmla="*/ 12 w 145"/>
              <a:gd name="T39" fmla="*/ 9 h 26"/>
              <a:gd name="T40" fmla="*/ 11 w 145"/>
              <a:gd name="T41" fmla="*/ 8 h 26"/>
              <a:gd name="T42" fmla="*/ 13 w 145"/>
              <a:gd name="T43" fmla="*/ 8 h 26"/>
              <a:gd name="T44" fmla="*/ 13 w 145"/>
              <a:gd name="T45" fmla="*/ 7 h 26"/>
              <a:gd name="T46" fmla="*/ 14 w 145"/>
              <a:gd name="T47" fmla="*/ 7 h 26"/>
              <a:gd name="T48" fmla="*/ 15 w 145"/>
              <a:gd name="T49" fmla="*/ 6 h 26"/>
              <a:gd name="T50" fmla="*/ 13 w 145"/>
              <a:gd name="T51" fmla="*/ 6 h 26"/>
              <a:gd name="T52" fmla="*/ 15 w 145"/>
              <a:gd name="T53" fmla="*/ 5 h 26"/>
              <a:gd name="T54" fmla="*/ 18 w 145"/>
              <a:gd name="T55" fmla="*/ 4 h 26"/>
              <a:gd name="T56" fmla="*/ 19 w 145"/>
              <a:gd name="T57" fmla="*/ 3 h 26"/>
              <a:gd name="T58" fmla="*/ 18 w 145"/>
              <a:gd name="T59" fmla="*/ 3 h 26"/>
              <a:gd name="T60" fmla="*/ 19 w 145"/>
              <a:gd name="T61" fmla="*/ 2 h 26"/>
              <a:gd name="T62" fmla="*/ 17 w 145"/>
              <a:gd name="T63" fmla="*/ 1 h 26"/>
              <a:gd name="T64" fmla="*/ 17 w 145"/>
              <a:gd name="T65" fmla="*/ 2 h 26"/>
              <a:gd name="T66" fmla="*/ 15 w 145"/>
              <a:gd name="T67" fmla="*/ 1 h 26"/>
              <a:gd name="T68" fmla="*/ 13 w 145"/>
              <a:gd name="T69" fmla="*/ 0 h 26"/>
              <a:gd name="T70" fmla="*/ 12 w 145"/>
              <a:gd name="T71" fmla="*/ 1 h 26"/>
              <a:gd name="T72" fmla="*/ 12 w 145"/>
              <a:gd name="T73" fmla="*/ 3 h 26"/>
              <a:gd name="T74" fmla="*/ 13 w 145"/>
              <a:gd name="T75" fmla="*/ 5 h 26"/>
              <a:gd name="T76" fmla="*/ 11 w 145"/>
              <a:gd name="T77" fmla="*/ 5 h 26"/>
              <a:gd name="T78" fmla="*/ 8 w 145"/>
              <a:gd name="T79" fmla="*/ 1 h 26"/>
              <a:gd name="T80" fmla="*/ 9 w 145"/>
              <a:gd name="T81" fmla="*/ 2 h 26"/>
              <a:gd name="T82" fmla="*/ 10 w 145"/>
              <a:gd name="T83" fmla="*/ 1 h 26"/>
              <a:gd name="T84" fmla="*/ 10 w 145"/>
              <a:gd name="T85" fmla="*/ 3 h 26"/>
              <a:gd name="T86" fmla="*/ 9 w 145"/>
              <a:gd name="T87" fmla="*/ 6 h 26"/>
              <a:gd name="T88" fmla="*/ 6 w 145"/>
              <a:gd name="T89" fmla="*/ 6 h 26"/>
              <a:gd name="T90" fmla="*/ 6 w 145"/>
              <a:gd name="T91" fmla="*/ 8 h 26"/>
              <a:gd name="T92" fmla="*/ 4 w 145"/>
              <a:gd name="T93" fmla="*/ 8 h 26"/>
              <a:gd name="T94" fmla="*/ 2 w 145"/>
              <a:gd name="T95" fmla="*/ 8 h 26"/>
              <a:gd name="T96" fmla="*/ 3 w 145"/>
              <a:gd name="T97" fmla="*/ 7 h 26"/>
              <a:gd name="T98" fmla="*/ 4 w 145"/>
              <a:gd name="T99" fmla="*/ 5 h 26"/>
              <a:gd name="T100" fmla="*/ 6 w 145"/>
              <a:gd name="T101" fmla="*/ 5 h 26"/>
              <a:gd name="T102" fmla="*/ 5 w 145"/>
              <a:gd name="T103" fmla="*/ 4 h 26"/>
              <a:gd name="T104" fmla="*/ 4 w 145"/>
              <a:gd name="T105" fmla="*/ 2 h 26"/>
              <a:gd name="T106" fmla="*/ 6 w 145"/>
              <a:gd name="T107" fmla="*/ 3 h 26"/>
              <a:gd name="T108" fmla="*/ 8 w 145"/>
              <a:gd name="T109"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5" h="26">
                <a:moveTo>
                  <a:pt x="142" y="25"/>
                </a:moveTo>
                <a:cubicBezTo>
                  <a:pt x="142" y="24"/>
                  <a:pt x="142" y="24"/>
                  <a:pt x="142" y="24"/>
                </a:cubicBezTo>
                <a:cubicBezTo>
                  <a:pt x="141" y="23"/>
                  <a:pt x="141" y="23"/>
                  <a:pt x="141" y="23"/>
                </a:cubicBezTo>
                <a:cubicBezTo>
                  <a:pt x="141" y="22"/>
                  <a:pt x="141" y="22"/>
                  <a:pt x="141" y="22"/>
                </a:cubicBezTo>
                <a:cubicBezTo>
                  <a:pt x="140" y="22"/>
                  <a:pt x="140" y="22"/>
                  <a:pt x="140" y="22"/>
                </a:cubicBezTo>
                <a:cubicBezTo>
                  <a:pt x="139" y="21"/>
                  <a:pt x="139" y="21"/>
                  <a:pt x="139" y="21"/>
                </a:cubicBezTo>
                <a:cubicBezTo>
                  <a:pt x="138" y="21"/>
                  <a:pt x="138" y="21"/>
                  <a:pt x="138" y="21"/>
                </a:cubicBezTo>
                <a:cubicBezTo>
                  <a:pt x="138" y="20"/>
                  <a:pt x="138" y="20"/>
                  <a:pt x="138" y="20"/>
                </a:cubicBezTo>
                <a:cubicBezTo>
                  <a:pt x="139" y="20"/>
                  <a:pt x="139" y="20"/>
                  <a:pt x="139" y="20"/>
                </a:cubicBezTo>
                <a:cubicBezTo>
                  <a:pt x="141" y="21"/>
                  <a:pt x="141" y="21"/>
                  <a:pt x="141" y="21"/>
                </a:cubicBezTo>
                <a:cubicBezTo>
                  <a:pt x="141" y="21"/>
                  <a:pt x="141" y="21"/>
                  <a:pt x="141" y="21"/>
                </a:cubicBezTo>
                <a:cubicBezTo>
                  <a:pt x="141" y="21"/>
                  <a:pt x="141" y="21"/>
                  <a:pt x="141" y="21"/>
                </a:cubicBezTo>
                <a:cubicBezTo>
                  <a:pt x="142" y="22"/>
                  <a:pt x="143" y="22"/>
                  <a:pt x="143" y="22"/>
                </a:cubicBezTo>
                <a:cubicBezTo>
                  <a:pt x="143" y="23"/>
                  <a:pt x="143" y="23"/>
                  <a:pt x="143" y="23"/>
                </a:cubicBezTo>
                <a:cubicBezTo>
                  <a:pt x="143" y="24"/>
                  <a:pt x="143" y="24"/>
                  <a:pt x="143" y="24"/>
                </a:cubicBezTo>
                <a:cubicBezTo>
                  <a:pt x="144" y="24"/>
                  <a:pt x="144" y="24"/>
                  <a:pt x="144" y="24"/>
                </a:cubicBezTo>
                <a:cubicBezTo>
                  <a:pt x="145" y="24"/>
                  <a:pt x="145" y="24"/>
                  <a:pt x="145" y="24"/>
                </a:cubicBezTo>
                <a:cubicBezTo>
                  <a:pt x="145" y="25"/>
                  <a:pt x="145" y="25"/>
                  <a:pt x="145" y="25"/>
                </a:cubicBezTo>
                <a:cubicBezTo>
                  <a:pt x="144" y="25"/>
                  <a:pt x="144" y="25"/>
                  <a:pt x="144" y="25"/>
                </a:cubicBezTo>
                <a:cubicBezTo>
                  <a:pt x="143" y="26"/>
                  <a:pt x="143" y="26"/>
                  <a:pt x="143" y="26"/>
                </a:cubicBezTo>
                <a:cubicBezTo>
                  <a:pt x="142" y="26"/>
                  <a:pt x="142" y="26"/>
                  <a:pt x="142" y="26"/>
                </a:cubicBezTo>
                <a:cubicBezTo>
                  <a:pt x="142" y="25"/>
                  <a:pt x="142" y="25"/>
                  <a:pt x="142" y="25"/>
                </a:cubicBezTo>
                <a:close/>
                <a:moveTo>
                  <a:pt x="7" y="0"/>
                </a:moveTo>
                <a:cubicBezTo>
                  <a:pt x="8" y="0"/>
                  <a:pt x="8" y="0"/>
                  <a:pt x="8" y="0"/>
                </a:cubicBezTo>
                <a:cubicBezTo>
                  <a:pt x="9" y="0"/>
                  <a:pt x="9" y="0"/>
                  <a:pt x="9" y="0"/>
                </a:cubicBezTo>
                <a:cubicBezTo>
                  <a:pt x="7" y="0"/>
                  <a:pt x="7" y="0"/>
                  <a:pt x="7" y="0"/>
                </a:cubicBezTo>
                <a:close/>
                <a:moveTo>
                  <a:pt x="5" y="0"/>
                </a:moveTo>
                <a:cubicBezTo>
                  <a:pt x="5" y="1"/>
                  <a:pt x="5" y="1"/>
                  <a:pt x="5" y="1"/>
                </a:cubicBezTo>
                <a:cubicBezTo>
                  <a:pt x="6" y="1"/>
                  <a:pt x="6" y="1"/>
                  <a:pt x="6" y="1"/>
                </a:cubicBezTo>
                <a:cubicBezTo>
                  <a:pt x="5" y="0"/>
                  <a:pt x="5" y="0"/>
                  <a:pt x="5" y="0"/>
                </a:cubicBezTo>
                <a:close/>
                <a:moveTo>
                  <a:pt x="0" y="6"/>
                </a:moveTo>
                <a:cubicBezTo>
                  <a:pt x="1" y="5"/>
                  <a:pt x="1" y="5"/>
                  <a:pt x="1" y="5"/>
                </a:cubicBezTo>
                <a:cubicBezTo>
                  <a:pt x="2" y="6"/>
                  <a:pt x="2" y="6"/>
                  <a:pt x="2" y="6"/>
                </a:cubicBezTo>
                <a:cubicBezTo>
                  <a:pt x="2" y="6"/>
                  <a:pt x="2" y="6"/>
                  <a:pt x="2" y="6"/>
                </a:cubicBezTo>
                <a:cubicBezTo>
                  <a:pt x="1" y="6"/>
                  <a:pt x="1" y="6"/>
                  <a:pt x="1" y="6"/>
                </a:cubicBezTo>
                <a:cubicBezTo>
                  <a:pt x="0" y="6"/>
                  <a:pt x="0" y="6"/>
                  <a:pt x="0" y="6"/>
                </a:cubicBezTo>
                <a:close/>
                <a:moveTo>
                  <a:pt x="9" y="8"/>
                </a:moveTo>
                <a:cubicBezTo>
                  <a:pt x="10" y="8"/>
                  <a:pt x="10" y="8"/>
                  <a:pt x="10" y="8"/>
                </a:cubicBezTo>
                <a:cubicBezTo>
                  <a:pt x="11" y="9"/>
                  <a:pt x="11" y="9"/>
                  <a:pt x="11" y="9"/>
                </a:cubicBezTo>
                <a:cubicBezTo>
                  <a:pt x="12" y="9"/>
                  <a:pt x="12" y="9"/>
                  <a:pt x="12" y="9"/>
                </a:cubicBezTo>
                <a:cubicBezTo>
                  <a:pt x="12" y="9"/>
                  <a:pt x="12" y="9"/>
                  <a:pt x="12" y="9"/>
                </a:cubicBezTo>
                <a:cubicBezTo>
                  <a:pt x="11" y="8"/>
                  <a:pt x="11" y="8"/>
                  <a:pt x="11" y="8"/>
                </a:cubicBezTo>
                <a:cubicBezTo>
                  <a:pt x="12" y="7"/>
                  <a:pt x="12" y="7"/>
                  <a:pt x="12" y="7"/>
                </a:cubicBezTo>
                <a:cubicBezTo>
                  <a:pt x="13" y="8"/>
                  <a:pt x="13" y="8"/>
                  <a:pt x="13" y="8"/>
                </a:cubicBezTo>
                <a:cubicBezTo>
                  <a:pt x="13" y="8"/>
                  <a:pt x="13" y="8"/>
                  <a:pt x="13" y="8"/>
                </a:cubicBezTo>
                <a:cubicBezTo>
                  <a:pt x="13" y="7"/>
                  <a:pt x="13" y="7"/>
                  <a:pt x="13" y="7"/>
                </a:cubicBezTo>
                <a:cubicBezTo>
                  <a:pt x="13" y="6"/>
                  <a:pt x="13" y="6"/>
                  <a:pt x="13" y="6"/>
                </a:cubicBezTo>
                <a:cubicBezTo>
                  <a:pt x="14" y="7"/>
                  <a:pt x="14" y="7"/>
                  <a:pt x="14" y="7"/>
                </a:cubicBezTo>
                <a:cubicBezTo>
                  <a:pt x="15" y="6"/>
                  <a:pt x="15" y="6"/>
                  <a:pt x="15" y="6"/>
                </a:cubicBezTo>
                <a:cubicBezTo>
                  <a:pt x="15" y="6"/>
                  <a:pt x="15" y="6"/>
                  <a:pt x="15" y="6"/>
                </a:cubicBezTo>
                <a:cubicBezTo>
                  <a:pt x="14" y="6"/>
                  <a:pt x="14" y="6"/>
                  <a:pt x="14" y="6"/>
                </a:cubicBezTo>
                <a:cubicBezTo>
                  <a:pt x="13" y="6"/>
                  <a:pt x="13" y="6"/>
                  <a:pt x="13" y="6"/>
                </a:cubicBezTo>
                <a:cubicBezTo>
                  <a:pt x="14" y="5"/>
                  <a:pt x="14" y="5"/>
                  <a:pt x="14" y="5"/>
                </a:cubicBezTo>
                <a:cubicBezTo>
                  <a:pt x="15" y="5"/>
                  <a:pt x="15" y="5"/>
                  <a:pt x="15" y="5"/>
                </a:cubicBezTo>
                <a:cubicBezTo>
                  <a:pt x="17" y="5"/>
                  <a:pt x="17" y="5"/>
                  <a:pt x="17" y="5"/>
                </a:cubicBezTo>
                <a:cubicBezTo>
                  <a:pt x="18" y="4"/>
                  <a:pt x="18" y="4"/>
                  <a:pt x="18" y="4"/>
                </a:cubicBezTo>
                <a:cubicBezTo>
                  <a:pt x="19" y="4"/>
                  <a:pt x="19" y="4"/>
                  <a:pt x="19" y="4"/>
                </a:cubicBezTo>
                <a:cubicBezTo>
                  <a:pt x="19" y="3"/>
                  <a:pt x="19" y="3"/>
                  <a:pt x="19" y="3"/>
                </a:cubicBezTo>
                <a:cubicBezTo>
                  <a:pt x="18" y="3"/>
                  <a:pt x="18" y="3"/>
                  <a:pt x="18" y="3"/>
                </a:cubicBezTo>
                <a:cubicBezTo>
                  <a:pt x="18" y="3"/>
                  <a:pt x="18" y="3"/>
                  <a:pt x="18" y="3"/>
                </a:cubicBezTo>
                <a:cubicBezTo>
                  <a:pt x="18" y="2"/>
                  <a:pt x="18" y="2"/>
                  <a:pt x="18" y="2"/>
                </a:cubicBezTo>
                <a:cubicBezTo>
                  <a:pt x="19" y="2"/>
                  <a:pt x="19" y="2"/>
                  <a:pt x="19" y="2"/>
                </a:cubicBezTo>
                <a:cubicBezTo>
                  <a:pt x="19" y="2"/>
                  <a:pt x="19" y="2"/>
                  <a:pt x="19" y="2"/>
                </a:cubicBezTo>
                <a:cubicBezTo>
                  <a:pt x="17" y="1"/>
                  <a:pt x="17" y="1"/>
                  <a:pt x="17" y="1"/>
                </a:cubicBezTo>
                <a:cubicBezTo>
                  <a:pt x="16" y="1"/>
                  <a:pt x="16" y="1"/>
                  <a:pt x="16" y="1"/>
                </a:cubicBezTo>
                <a:cubicBezTo>
                  <a:pt x="17" y="2"/>
                  <a:pt x="17" y="2"/>
                  <a:pt x="17" y="2"/>
                </a:cubicBezTo>
                <a:cubicBezTo>
                  <a:pt x="16" y="3"/>
                  <a:pt x="16" y="3"/>
                  <a:pt x="16" y="3"/>
                </a:cubicBezTo>
                <a:cubicBezTo>
                  <a:pt x="15" y="1"/>
                  <a:pt x="15" y="1"/>
                  <a:pt x="15" y="1"/>
                </a:cubicBezTo>
                <a:cubicBezTo>
                  <a:pt x="15" y="0"/>
                  <a:pt x="15" y="0"/>
                  <a:pt x="15" y="0"/>
                </a:cubicBezTo>
                <a:cubicBezTo>
                  <a:pt x="13" y="0"/>
                  <a:pt x="13" y="0"/>
                  <a:pt x="13" y="0"/>
                </a:cubicBezTo>
                <a:cubicBezTo>
                  <a:pt x="13" y="1"/>
                  <a:pt x="13" y="1"/>
                  <a:pt x="13" y="1"/>
                </a:cubicBezTo>
                <a:cubicBezTo>
                  <a:pt x="12" y="1"/>
                  <a:pt x="12" y="1"/>
                  <a:pt x="12" y="1"/>
                </a:cubicBezTo>
                <a:cubicBezTo>
                  <a:pt x="12" y="2"/>
                  <a:pt x="12" y="2"/>
                  <a:pt x="12" y="2"/>
                </a:cubicBezTo>
                <a:cubicBezTo>
                  <a:pt x="12" y="3"/>
                  <a:pt x="12" y="3"/>
                  <a:pt x="12" y="3"/>
                </a:cubicBezTo>
                <a:cubicBezTo>
                  <a:pt x="13" y="4"/>
                  <a:pt x="13" y="4"/>
                  <a:pt x="13" y="4"/>
                </a:cubicBezTo>
                <a:cubicBezTo>
                  <a:pt x="13" y="5"/>
                  <a:pt x="13" y="5"/>
                  <a:pt x="13" y="5"/>
                </a:cubicBezTo>
                <a:cubicBezTo>
                  <a:pt x="12" y="4"/>
                  <a:pt x="12" y="4"/>
                  <a:pt x="12" y="4"/>
                </a:cubicBezTo>
                <a:cubicBezTo>
                  <a:pt x="11" y="5"/>
                  <a:pt x="11" y="5"/>
                  <a:pt x="11" y="5"/>
                </a:cubicBezTo>
                <a:cubicBezTo>
                  <a:pt x="9" y="8"/>
                  <a:pt x="9" y="8"/>
                  <a:pt x="9" y="8"/>
                </a:cubicBezTo>
                <a:close/>
                <a:moveTo>
                  <a:pt x="8" y="1"/>
                </a:moveTo>
                <a:cubicBezTo>
                  <a:pt x="9" y="2"/>
                  <a:pt x="9" y="2"/>
                  <a:pt x="9" y="2"/>
                </a:cubicBezTo>
                <a:cubicBezTo>
                  <a:pt x="9" y="2"/>
                  <a:pt x="9" y="2"/>
                  <a:pt x="9" y="2"/>
                </a:cubicBezTo>
                <a:cubicBezTo>
                  <a:pt x="10" y="1"/>
                  <a:pt x="10" y="1"/>
                  <a:pt x="10" y="1"/>
                </a:cubicBezTo>
                <a:cubicBezTo>
                  <a:pt x="10" y="1"/>
                  <a:pt x="10" y="1"/>
                  <a:pt x="10" y="1"/>
                </a:cubicBezTo>
                <a:cubicBezTo>
                  <a:pt x="11" y="2"/>
                  <a:pt x="11" y="2"/>
                  <a:pt x="11" y="2"/>
                </a:cubicBezTo>
                <a:cubicBezTo>
                  <a:pt x="10" y="3"/>
                  <a:pt x="10" y="3"/>
                  <a:pt x="10" y="3"/>
                </a:cubicBezTo>
                <a:cubicBezTo>
                  <a:pt x="9" y="5"/>
                  <a:pt x="9" y="5"/>
                  <a:pt x="9" y="5"/>
                </a:cubicBezTo>
                <a:cubicBezTo>
                  <a:pt x="9" y="6"/>
                  <a:pt x="9" y="6"/>
                  <a:pt x="9" y="6"/>
                </a:cubicBezTo>
                <a:cubicBezTo>
                  <a:pt x="7" y="7"/>
                  <a:pt x="7" y="7"/>
                  <a:pt x="7" y="7"/>
                </a:cubicBezTo>
                <a:cubicBezTo>
                  <a:pt x="6" y="6"/>
                  <a:pt x="6" y="6"/>
                  <a:pt x="6" y="6"/>
                </a:cubicBezTo>
                <a:cubicBezTo>
                  <a:pt x="5" y="7"/>
                  <a:pt x="5" y="7"/>
                  <a:pt x="5" y="7"/>
                </a:cubicBezTo>
                <a:cubicBezTo>
                  <a:pt x="6" y="8"/>
                  <a:pt x="6" y="8"/>
                  <a:pt x="6" y="8"/>
                </a:cubicBezTo>
                <a:cubicBezTo>
                  <a:pt x="5" y="9"/>
                  <a:pt x="5" y="9"/>
                  <a:pt x="5" y="9"/>
                </a:cubicBezTo>
                <a:cubicBezTo>
                  <a:pt x="4" y="8"/>
                  <a:pt x="4" y="8"/>
                  <a:pt x="4" y="8"/>
                </a:cubicBezTo>
                <a:cubicBezTo>
                  <a:pt x="3" y="9"/>
                  <a:pt x="3" y="9"/>
                  <a:pt x="3" y="9"/>
                </a:cubicBezTo>
                <a:cubicBezTo>
                  <a:pt x="2" y="8"/>
                  <a:pt x="2" y="8"/>
                  <a:pt x="2" y="8"/>
                </a:cubicBezTo>
                <a:cubicBezTo>
                  <a:pt x="2" y="7"/>
                  <a:pt x="2" y="7"/>
                  <a:pt x="2" y="7"/>
                </a:cubicBezTo>
                <a:cubicBezTo>
                  <a:pt x="3" y="7"/>
                  <a:pt x="3" y="7"/>
                  <a:pt x="3" y="7"/>
                </a:cubicBezTo>
                <a:cubicBezTo>
                  <a:pt x="4" y="6"/>
                  <a:pt x="4" y="6"/>
                  <a:pt x="4" y="6"/>
                </a:cubicBezTo>
                <a:cubicBezTo>
                  <a:pt x="4" y="5"/>
                  <a:pt x="4" y="5"/>
                  <a:pt x="4" y="5"/>
                </a:cubicBezTo>
                <a:cubicBezTo>
                  <a:pt x="5" y="5"/>
                  <a:pt x="5" y="5"/>
                  <a:pt x="5" y="5"/>
                </a:cubicBezTo>
                <a:cubicBezTo>
                  <a:pt x="6" y="5"/>
                  <a:pt x="6" y="5"/>
                  <a:pt x="6" y="5"/>
                </a:cubicBezTo>
                <a:cubicBezTo>
                  <a:pt x="6" y="4"/>
                  <a:pt x="6" y="4"/>
                  <a:pt x="6" y="4"/>
                </a:cubicBezTo>
                <a:cubicBezTo>
                  <a:pt x="5" y="4"/>
                  <a:pt x="5" y="4"/>
                  <a:pt x="5" y="4"/>
                </a:cubicBezTo>
                <a:cubicBezTo>
                  <a:pt x="3" y="2"/>
                  <a:pt x="3" y="2"/>
                  <a:pt x="3" y="2"/>
                </a:cubicBezTo>
                <a:cubicBezTo>
                  <a:pt x="4" y="2"/>
                  <a:pt x="4" y="2"/>
                  <a:pt x="4" y="2"/>
                </a:cubicBezTo>
                <a:cubicBezTo>
                  <a:pt x="5" y="3"/>
                  <a:pt x="5" y="3"/>
                  <a:pt x="5" y="3"/>
                </a:cubicBezTo>
                <a:cubicBezTo>
                  <a:pt x="6" y="3"/>
                  <a:pt x="6" y="3"/>
                  <a:pt x="6" y="3"/>
                </a:cubicBezTo>
                <a:cubicBezTo>
                  <a:pt x="7" y="1"/>
                  <a:pt x="7" y="1"/>
                  <a:pt x="7" y="1"/>
                </a:cubicBezTo>
                <a:lnTo>
                  <a:pt x="8" y="1"/>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0" name="Freeform 178">
            <a:extLst>
              <a:ext uri="{FF2B5EF4-FFF2-40B4-BE49-F238E27FC236}">
                <a16:creationId xmlns:a16="http://schemas.microsoft.com/office/drawing/2014/main" id="{C9036A10-C271-105B-72A7-E19633EBB030}"/>
              </a:ext>
            </a:extLst>
          </p:cNvPr>
          <p:cNvSpPr>
            <a:spLocks/>
          </p:cNvSpPr>
          <p:nvPr userDrawn="1"/>
        </p:nvSpPr>
        <p:spPr bwMode="auto">
          <a:xfrm>
            <a:off x="8048101" y="8771809"/>
            <a:ext cx="349227" cy="158750"/>
          </a:xfrm>
          <a:custGeom>
            <a:avLst/>
            <a:gdLst>
              <a:gd name="T0" fmla="*/ 94 w 110"/>
              <a:gd name="T1" fmla="*/ 43 h 50"/>
              <a:gd name="T2" fmla="*/ 88 w 110"/>
              <a:gd name="T3" fmla="*/ 31 h 50"/>
              <a:gd name="T4" fmla="*/ 94 w 110"/>
              <a:gd name="T5" fmla="*/ 25 h 50"/>
              <a:gd name="T6" fmla="*/ 97 w 110"/>
              <a:gd name="T7" fmla="*/ 25 h 50"/>
              <a:gd name="T8" fmla="*/ 94 w 110"/>
              <a:gd name="T9" fmla="*/ 22 h 50"/>
              <a:gd name="T10" fmla="*/ 91 w 110"/>
              <a:gd name="T11" fmla="*/ 25 h 50"/>
              <a:gd name="T12" fmla="*/ 88 w 110"/>
              <a:gd name="T13" fmla="*/ 18 h 50"/>
              <a:gd name="T14" fmla="*/ 81 w 110"/>
              <a:gd name="T15" fmla="*/ 15 h 50"/>
              <a:gd name="T16" fmla="*/ 75 w 110"/>
              <a:gd name="T17" fmla="*/ 9 h 50"/>
              <a:gd name="T18" fmla="*/ 66 w 110"/>
              <a:gd name="T19" fmla="*/ 12 h 50"/>
              <a:gd name="T20" fmla="*/ 66 w 110"/>
              <a:gd name="T21" fmla="*/ 18 h 50"/>
              <a:gd name="T22" fmla="*/ 60 w 110"/>
              <a:gd name="T23" fmla="*/ 25 h 50"/>
              <a:gd name="T24" fmla="*/ 50 w 110"/>
              <a:gd name="T25" fmla="*/ 28 h 50"/>
              <a:gd name="T26" fmla="*/ 50 w 110"/>
              <a:gd name="T27" fmla="*/ 34 h 50"/>
              <a:gd name="T28" fmla="*/ 56 w 110"/>
              <a:gd name="T29" fmla="*/ 37 h 50"/>
              <a:gd name="T30" fmla="*/ 56 w 110"/>
              <a:gd name="T31" fmla="*/ 43 h 50"/>
              <a:gd name="T32" fmla="*/ 50 w 110"/>
              <a:gd name="T33" fmla="*/ 47 h 50"/>
              <a:gd name="T34" fmla="*/ 41 w 110"/>
              <a:gd name="T35" fmla="*/ 47 h 50"/>
              <a:gd name="T36" fmla="*/ 41 w 110"/>
              <a:gd name="T37" fmla="*/ 43 h 50"/>
              <a:gd name="T38" fmla="*/ 41 w 110"/>
              <a:gd name="T39" fmla="*/ 37 h 50"/>
              <a:gd name="T40" fmla="*/ 38 w 110"/>
              <a:gd name="T41" fmla="*/ 34 h 50"/>
              <a:gd name="T42" fmla="*/ 38 w 110"/>
              <a:gd name="T43" fmla="*/ 37 h 50"/>
              <a:gd name="T44" fmla="*/ 31 w 110"/>
              <a:gd name="T45" fmla="*/ 40 h 50"/>
              <a:gd name="T46" fmla="*/ 25 w 110"/>
              <a:gd name="T47" fmla="*/ 34 h 50"/>
              <a:gd name="T48" fmla="*/ 19 w 110"/>
              <a:gd name="T49" fmla="*/ 28 h 50"/>
              <a:gd name="T50" fmla="*/ 16 w 110"/>
              <a:gd name="T51" fmla="*/ 25 h 50"/>
              <a:gd name="T52" fmla="*/ 13 w 110"/>
              <a:gd name="T53" fmla="*/ 25 h 50"/>
              <a:gd name="T54" fmla="*/ 6 w 110"/>
              <a:gd name="T55" fmla="*/ 25 h 50"/>
              <a:gd name="T56" fmla="*/ 3 w 110"/>
              <a:gd name="T57" fmla="*/ 25 h 50"/>
              <a:gd name="T58" fmla="*/ 3 w 110"/>
              <a:gd name="T59" fmla="*/ 18 h 50"/>
              <a:gd name="T60" fmla="*/ 3 w 110"/>
              <a:gd name="T61" fmla="*/ 12 h 50"/>
              <a:gd name="T62" fmla="*/ 3 w 110"/>
              <a:gd name="T63" fmla="*/ 9 h 50"/>
              <a:gd name="T64" fmla="*/ 3 w 110"/>
              <a:gd name="T65" fmla="*/ 3 h 50"/>
              <a:gd name="T66" fmla="*/ 10 w 110"/>
              <a:gd name="T67" fmla="*/ 3 h 50"/>
              <a:gd name="T68" fmla="*/ 13 w 110"/>
              <a:gd name="T69" fmla="*/ 6 h 50"/>
              <a:gd name="T70" fmla="*/ 16 w 110"/>
              <a:gd name="T71" fmla="*/ 6 h 50"/>
              <a:gd name="T72" fmla="*/ 16 w 110"/>
              <a:gd name="T73" fmla="*/ 9 h 50"/>
              <a:gd name="T74" fmla="*/ 16 w 110"/>
              <a:gd name="T75" fmla="*/ 12 h 50"/>
              <a:gd name="T76" fmla="*/ 22 w 110"/>
              <a:gd name="T77" fmla="*/ 12 h 50"/>
              <a:gd name="T78" fmla="*/ 19 w 110"/>
              <a:gd name="T79" fmla="*/ 9 h 50"/>
              <a:gd name="T80" fmla="*/ 25 w 110"/>
              <a:gd name="T81" fmla="*/ 9 h 50"/>
              <a:gd name="T82" fmla="*/ 38 w 110"/>
              <a:gd name="T83" fmla="*/ 15 h 50"/>
              <a:gd name="T84" fmla="*/ 47 w 110"/>
              <a:gd name="T85" fmla="*/ 12 h 50"/>
              <a:gd name="T86" fmla="*/ 63 w 110"/>
              <a:gd name="T87" fmla="*/ 3 h 50"/>
              <a:gd name="T88" fmla="*/ 72 w 110"/>
              <a:gd name="T89" fmla="*/ 0 h 50"/>
              <a:gd name="T90" fmla="*/ 75 w 110"/>
              <a:gd name="T91" fmla="*/ 3 h 50"/>
              <a:gd name="T92" fmla="*/ 88 w 110"/>
              <a:gd name="T93" fmla="*/ 3 h 50"/>
              <a:gd name="T94" fmla="*/ 100 w 110"/>
              <a:gd name="T95" fmla="*/ 9 h 50"/>
              <a:gd name="T96" fmla="*/ 103 w 110"/>
              <a:gd name="T97" fmla="*/ 15 h 50"/>
              <a:gd name="T98" fmla="*/ 110 w 110"/>
              <a:gd name="T99" fmla="*/ 18 h 50"/>
              <a:gd name="T100" fmla="*/ 110 w 110"/>
              <a:gd name="T101" fmla="*/ 25 h 50"/>
              <a:gd name="T102" fmla="*/ 106 w 110"/>
              <a:gd name="T103" fmla="*/ 34 h 50"/>
              <a:gd name="T104" fmla="*/ 103 w 110"/>
              <a:gd name="T105" fmla="*/ 40 h 50"/>
              <a:gd name="T106" fmla="*/ 100 w 110"/>
              <a:gd name="T107" fmla="*/ 4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 h="50">
                <a:moveTo>
                  <a:pt x="100" y="47"/>
                </a:moveTo>
                <a:lnTo>
                  <a:pt x="94" y="43"/>
                </a:lnTo>
                <a:lnTo>
                  <a:pt x="91" y="37"/>
                </a:lnTo>
                <a:lnTo>
                  <a:pt x="88" y="31"/>
                </a:lnTo>
                <a:lnTo>
                  <a:pt x="91" y="31"/>
                </a:lnTo>
                <a:lnTo>
                  <a:pt x="94" y="25"/>
                </a:lnTo>
                <a:lnTo>
                  <a:pt x="97" y="25"/>
                </a:lnTo>
                <a:lnTo>
                  <a:pt x="97" y="25"/>
                </a:lnTo>
                <a:lnTo>
                  <a:pt x="97" y="22"/>
                </a:lnTo>
                <a:lnTo>
                  <a:pt x="94" y="22"/>
                </a:lnTo>
                <a:lnTo>
                  <a:pt x="91" y="25"/>
                </a:lnTo>
                <a:lnTo>
                  <a:pt x="91" y="25"/>
                </a:lnTo>
                <a:lnTo>
                  <a:pt x="88" y="25"/>
                </a:lnTo>
                <a:lnTo>
                  <a:pt x="88" y="18"/>
                </a:lnTo>
                <a:lnTo>
                  <a:pt x="85" y="15"/>
                </a:lnTo>
                <a:lnTo>
                  <a:pt x="81" y="15"/>
                </a:lnTo>
                <a:lnTo>
                  <a:pt x="78" y="12"/>
                </a:lnTo>
                <a:lnTo>
                  <a:pt x="75" y="9"/>
                </a:lnTo>
                <a:lnTo>
                  <a:pt x="69" y="9"/>
                </a:lnTo>
                <a:lnTo>
                  <a:pt x="66" y="12"/>
                </a:lnTo>
                <a:lnTo>
                  <a:pt x="63" y="18"/>
                </a:lnTo>
                <a:lnTo>
                  <a:pt x="66" y="18"/>
                </a:lnTo>
                <a:lnTo>
                  <a:pt x="66" y="18"/>
                </a:lnTo>
                <a:lnTo>
                  <a:pt x="60" y="25"/>
                </a:lnTo>
                <a:lnTo>
                  <a:pt x="53" y="25"/>
                </a:lnTo>
                <a:lnTo>
                  <a:pt x="50" y="28"/>
                </a:lnTo>
                <a:lnTo>
                  <a:pt x="50" y="31"/>
                </a:lnTo>
                <a:lnTo>
                  <a:pt x="50" y="34"/>
                </a:lnTo>
                <a:lnTo>
                  <a:pt x="53" y="34"/>
                </a:lnTo>
                <a:lnTo>
                  <a:pt x="56" y="37"/>
                </a:lnTo>
                <a:lnTo>
                  <a:pt x="56" y="43"/>
                </a:lnTo>
                <a:lnTo>
                  <a:pt x="56" y="43"/>
                </a:lnTo>
                <a:lnTo>
                  <a:pt x="53" y="43"/>
                </a:lnTo>
                <a:lnTo>
                  <a:pt x="50" y="47"/>
                </a:lnTo>
                <a:lnTo>
                  <a:pt x="47" y="50"/>
                </a:lnTo>
                <a:lnTo>
                  <a:pt x="41" y="47"/>
                </a:lnTo>
                <a:lnTo>
                  <a:pt x="41" y="47"/>
                </a:lnTo>
                <a:lnTo>
                  <a:pt x="41" y="43"/>
                </a:lnTo>
                <a:lnTo>
                  <a:pt x="41" y="40"/>
                </a:lnTo>
                <a:lnTo>
                  <a:pt x="41" y="37"/>
                </a:lnTo>
                <a:lnTo>
                  <a:pt x="38" y="34"/>
                </a:lnTo>
                <a:lnTo>
                  <a:pt x="38" y="34"/>
                </a:lnTo>
                <a:lnTo>
                  <a:pt x="35" y="37"/>
                </a:lnTo>
                <a:lnTo>
                  <a:pt x="38" y="37"/>
                </a:lnTo>
                <a:lnTo>
                  <a:pt x="35" y="40"/>
                </a:lnTo>
                <a:lnTo>
                  <a:pt x="31" y="40"/>
                </a:lnTo>
                <a:lnTo>
                  <a:pt x="28" y="40"/>
                </a:lnTo>
                <a:lnTo>
                  <a:pt x="25" y="34"/>
                </a:lnTo>
                <a:lnTo>
                  <a:pt x="25" y="28"/>
                </a:lnTo>
                <a:lnTo>
                  <a:pt x="19" y="28"/>
                </a:lnTo>
                <a:lnTo>
                  <a:pt x="16" y="28"/>
                </a:lnTo>
                <a:lnTo>
                  <a:pt x="16" y="25"/>
                </a:lnTo>
                <a:lnTo>
                  <a:pt x="16" y="25"/>
                </a:lnTo>
                <a:lnTo>
                  <a:pt x="13" y="25"/>
                </a:lnTo>
                <a:lnTo>
                  <a:pt x="10" y="25"/>
                </a:lnTo>
                <a:lnTo>
                  <a:pt x="6" y="25"/>
                </a:lnTo>
                <a:lnTo>
                  <a:pt x="3" y="25"/>
                </a:lnTo>
                <a:lnTo>
                  <a:pt x="3" y="25"/>
                </a:lnTo>
                <a:lnTo>
                  <a:pt x="3" y="22"/>
                </a:lnTo>
                <a:lnTo>
                  <a:pt x="3" y="18"/>
                </a:lnTo>
                <a:lnTo>
                  <a:pt x="6" y="15"/>
                </a:lnTo>
                <a:lnTo>
                  <a:pt x="3" y="12"/>
                </a:lnTo>
                <a:lnTo>
                  <a:pt x="0" y="12"/>
                </a:lnTo>
                <a:lnTo>
                  <a:pt x="3" y="9"/>
                </a:lnTo>
                <a:lnTo>
                  <a:pt x="3" y="6"/>
                </a:lnTo>
                <a:lnTo>
                  <a:pt x="3" y="3"/>
                </a:lnTo>
                <a:lnTo>
                  <a:pt x="6" y="3"/>
                </a:lnTo>
                <a:lnTo>
                  <a:pt x="10" y="3"/>
                </a:lnTo>
                <a:lnTo>
                  <a:pt x="10" y="3"/>
                </a:lnTo>
                <a:lnTo>
                  <a:pt x="13" y="6"/>
                </a:lnTo>
                <a:lnTo>
                  <a:pt x="16" y="6"/>
                </a:lnTo>
                <a:lnTo>
                  <a:pt x="16" y="6"/>
                </a:lnTo>
                <a:lnTo>
                  <a:pt x="16" y="9"/>
                </a:lnTo>
                <a:lnTo>
                  <a:pt x="16" y="9"/>
                </a:lnTo>
                <a:lnTo>
                  <a:pt x="16" y="9"/>
                </a:lnTo>
                <a:lnTo>
                  <a:pt x="16" y="12"/>
                </a:lnTo>
                <a:lnTo>
                  <a:pt x="19" y="12"/>
                </a:lnTo>
                <a:lnTo>
                  <a:pt x="22" y="12"/>
                </a:lnTo>
                <a:lnTo>
                  <a:pt x="22" y="9"/>
                </a:lnTo>
                <a:lnTo>
                  <a:pt x="19" y="9"/>
                </a:lnTo>
                <a:lnTo>
                  <a:pt x="22" y="9"/>
                </a:lnTo>
                <a:lnTo>
                  <a:pt x="25" y="9"/>
                </a:lnTo>
                <a:lnTo>
                  <a:pt x="31" y="15"/>
                </a:lnTo>
                <a:lnTo>
                  <a:pt x="38" y="15"/>
                </a:lnTo>
                <a:lnTo>
                  <a:pt x="44" y="15"/>
                </a:lnTo>
                <a:lnTo>
                  <a:pt x="47" y="12"/>
                </a:lnTo>
                <a:lnTo>
                  <a:pt x="56" y="6"/>
                </a:lnTo>
                <a:lnTo>
                  <a:pt x="63" y="3"/>
                </a:lnTo>
                <a:lnTo>
                  <a:pt x="69" y="0"/>
                </a:lnTo>
                <a:lnTo>
                  <a:pt x="72" y="0"/>
                </a:lnTo>
                <a:lnTo>
                  <a:pt x="75" y="0"/>
                </a:lnTo>
                <a:lnTo>
                  <a:pt x="75" y="3"/>
                </a:lnTo>
                <a:lnTo>
                  <a:pt x="78" y="3"/>
                </a:lnTo>
                <a:lnTo>
                  <a:pt x="88" y="3"/>
                </a:lnTo>
                <a:lnTo>
                  <a:pt x="91" y="3"/>
                </a:lnTo>
                <a:lnTo>
                  <a:pt x="100" y="9"/>
                </a:lnTo>
                <a:lnTo>
                  <a:pt x="103" y="12"/>
                </a:lnTo>
                <a:lnTo>
                  <a:pt x="103" y="15"/>
                </a:lnTo>
                <a:lnTo>
                  <a:pt x="106" y="15"/>
                </a:lnTo>
                <a:lnTo>
                  <a:pt x="110" y="18"/>
                </a:lnTo>
                <a:lnTo>
                  <a:pt x="106" y="22"/>
                </a:lnTo>
                <a:lnTo>
                  <a:pt x="110" y="25"/>
                </a:lnTo>
                <a:lnTo>
                  <a:pt x="110" y="28"/>
                </a:lnTo>
                <a:lnTo>
                  <a:pt x="106" y="34"/>
                </a:lnTo>
                <a:lnTo>
                  <a:pt x="106" y="37"/>
                </a:lnTo>
                <a:lnTo>
                  <a:pt x="103" y="40"/>
                </a:lnTo>
                <a:lnTo>
                  <a:pt x="100" y="40"/>
                </a:lnTo>
                <a:lnTo>
                  <a:pt x="100" y="47"/>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1" name="Freeform 179">
            <a:extLst>
              <a:ext uri="{FF2B5EF4-FFF2-40B4-BE49-F238E27FC236}">
                <a16:creationId xmlns:a16="http://schemas.microsoft.com/office/drawing/2014/main" id="{0AF6BB0E-7B6A-5016-6E7B-AA9B7488B2CC}"/>
              </a:ext>
            </a:extLst>
          </p:cNvPr>
          <p:cNvSpPr>
            <a:spLocks/>
          </p:cNvSpPr>
          <p:nvPr userDrawn="1"/>
        </p:nvSpPr>
        <p:spPr bwMode="auto">
          <a:xfrm>
            <a:off x="7870311" y="8670209"/>
            <a:ext cx="209536" cy="200026"/>
          </a:xfrm>
          <a:custGeom>
            <a:avLst/>
            <a:gdLst>
              <a:gd name="T0" fmla="*/ 59 w 66"/>
              <a:gd name="T1" fmla="*/ 57 h 63"/>
              <a:gd name="T2" fmla="*/ 59 w 66"/>
              <a:gd name="T3" fmla="*/ 57 h 63"/>
              <a:gd name="T4" fmla="*/ 59 w 66"/>
              <a:gd name="T5" fmla="*/ 63 h 63"/>
              <a:gd name="T6" fmla="*/ 53 w 66"/>
              <a:gd name="T7" fmla="*/ 60 h 63"/>
              <a:gd name="T8" fmla="*/ 53 w 66"/>
              <a:gd name="T9" fmla="*/ 60 h 63"/>
              <a:gd name="T10" fmla="*/ 50 w 66"/>
              <a:gd name="T11" fmla="*/ 50 h 63"/>
              <a:gd name="T12" fmla="*/ 47 w 66"/>
              <a:gd name="T13" fmla="*/ 50 h 63"/>
              <a:gd name="T14" fmla="*/ 50 w 66"/>
              <a:gd name="T15" fmla="*/ 54 h 63"/>
              <a:gd name="T16" fmla="*/ 50 w 66"/>
              <a:gd name="T17" fmla="*/ 60 h 63"/>
              <a:gd name="T18" fmla="*/ 47 w 66"/>
              <a:gd name="T19" fmla="*/ 57 h 63"/>
              <a:gd name="T20" fmla="*/ 41 w 66"/>
              <a:gd name="T21" fmla="*/ 54 h 63"/>
              <a:gd name="T22" fmla="*/ 41 w 66"/>
              <a:gd name="T23" fmla="*/ 47 h 63"/>
              <a:gd name="T24" fmla="*/ 37 w 66"/>
              <a:gd name="T25" fmla="*/ 41 h 63"/>
              <a:gd name="T26" fmla="*/ 31 w 66"/>
              <a:gd name="T27" fmla="*/ 35 h 63"/>
              <a:gd name="T28" fmla="*/ 25 w 66"/>
              <a:gd name="T29" fmla="*/ 28 h 63"/>
              <a:gd name="T30" fmla="*/ 22 w 66"/>
              <a:gd name="T31" fmla="*/ 22 h 63"/>
              <a:gd name="T32" fmla="*/ 12 w 66"/>
              <a:gd name="T33" fmla="*/ 19 h 63"/>
              <a:gd name="T34" fmla="*/ 12 w 66"/>
              <a:gd name="T35" fmla="*/ 22 h 63"/>
              <a:gd name="T36" fmla="*/ 19 w 66"/>
              <a:gd name="T37" fmla="*/ 28 h 63"/>
              <a:gd name="T38" fmla="*/ 16 w 66"/>
              <a:gd name="T39" fmla="*/ 35 h 63"/>
              <a:gd name="T40" fmla="*/ 9 w 66"/>
              <a:gd name="T41" fmla="*/ 28 h 63"/>
              <a:gd name="T42" fmla="*/ 0 w 66"/>
              <a:gd name="T43" fmla="*/ 22 h 63"/>
              <a:gd name="T44" fmla="*/ 0 w 66"/>
              <a:gd name="T45" fmla="*/ 16 h 63"/>
              <a:gd name="T46" fmla="*/ 3 w 66"/>
              <a:gd name="T47" fmla="*/ 10 h 63"/>
              <a:gd name="T48" fmla="*/ 0 w 66"/>
              <a:gd name="T49" fmla="*/ 7 h 63"/>
              <a:gd name="T50" fmla="*/ 3 w 66"/>
              <a:gd name="T51" fmla="*/ 3 h 63"/>
              <a:gd name="T52" fmla="*/ 3 w 66"/>
              <a:gd name="T53" fmla="*/ 0 h 63"/>
              <a:gd name="T54" fmla="*/ 9 w 66"/>
              <a:gd name="T55" fmla="*/ 0 h 63"/>
              <a:gd name="T56" fmla="*/ 25 w 66"/>
              <a:gd name="T57" fmla="*/ 0 h 63"/>
              <a:gd name="T58" fmla="*/ 31 w 66"/>
              <a:gd name="T59" fmla="*/ 3 h 63"/>
              <a:gd name="T60" fmla="*/ 34 w 66"/>
              <a:gd name="T61" fmla="*/ 7 h 63"/>
              <a:gd name="T62" fmla="*/ 41 w 66"/>
              <a:gd name="T63" fmla="*/ 10 h 63"/>
              <a:gd name="T64" fmla="*/ 41 w 66"/>
              <a:gd name="T65" fmla="*/ 10 h 63"/>
              <a:gd name="T66" fmla="*/ 47 w 66"/>
              <a:gd name="T67" fmla="*/ 10 h 63"/>
              <a:gd name="T68" fmla="*/ 50 w 66"/>
              <a:gd name="T69" fmla="*/ 13 h 63"/>
              <a:gd name="T70" fmla="*/ 53 w 66"/>
              <a:gd name="T71" fmla="*/ 19 h 63"/>
              <a:gd name="T72" fmla="*/ 56 w 66"/>
              <a:gd name="T73" fmla="*/ 28 h 63"/>
              <a:gd name="T74" fmla="*/ 62 w 66"/>
              <a:gd name="T75" fmla="*/ 32 h 63"/>
              <a:gd name="T76" fmla="*/ 66 w 66"/>
              <a:gd name="T77" fmla="*/ 35 h 63"/>
              <a:gd name="T78" fmla="*/ 59 w 66"/>
              <a:gd name="T79" fmla="*/ 35 h 63"/>
              <a:gd name="T80" fmla="*/ 59 w 66"/>
              <a:gd name="T81" fmla="*/ 41 h 63"/>
              <a:gd name="T82" fmla="*/ 59 w 66"/>
              <a:gd name="T83" fmla="*/ 44 h 63"/>
              <a:gd name="T84" fmla="*/ 59 w 66"/>
              <a:gd name="T85" fmla="*/ 50 h 63"/>
              <a:gd name="T86" fmla="*/ 59 w 66"/>
              <a:gd name="T87" fmla="*/ 57 h 63"/>
              <a:gd name="T88" fmla="*/ 59 w 66"/>
              <a:gd name="T89" fmla="*/ 5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 h="63">
                <a:moveTo>
                  <a:pt x="59" y="57"/>
                </a:moveTo>
                <a:lnTo>
                  <a:pt x="59" y="57"/>
                </a:lnTo>
                <a:lnTo>
                  <a:pt x="59" y="57"/>
                </a:lnTo>
                <a:lnTo>
                  <a:pt x="59" y="57"/>
                </a:lnTo>
                <a:lnTo>
                  <a:pt x="59" y="60"/>
                </a:lnTo>
                <a:lnTo>
                  <a:pt x="59" y="63"/>
                </a:lnTo>
                <a:lnTo>
                  <a:pt x="56" y="63"/>
                </a:lnTo>
                <a:lnTo>
                  <a:pt x="53" y="60"/>
                </a:lnTo>
                <a:lnTo>
                  <a:pt x="53" y="60"/>
                </a:lnTo>
                <a:lnTo>
                  <a:pt x="53" y="60"/>
                </a:lnTo>
                <a:lnTo>
                  <a:pt x="53" y="57"/>
                </a:lnTo>
                <a:lnTo>
                  <a:pt x="50" y="50"/>
                </a:lnTo>
                <a:lnTo>
                  <a:pt x="47" y="50"/>
                </a:lnTo>
                <a:lnTo>
                  <a:pt x="47" y="50"/>
                </a:lnTo>
                <a:lnTo>
                  <a:pt x="47" y="50"/>
                </a:lnTo>
                <a:lnTo>
                  <a:pt x="50" y="54"/>
                </a:lnTo>
                <a:lnTo>
                  <a:pt x="50" y="57"/>
                </a:lnTo>
                <a:lnTo>
                  <a:pt x="50" y="60"/>
                </a:lnTo>
                <a:lnTo>
                  <a:pt x="50" y="60"/>
                </a:lnTo>
                <a:lnTo>
                  <a:pt x="47" y="57"/>
                </a:lnTo>
                <a:lnTo>
                  <a:pt x="41" y="57"/>
                </a:lnTo>
                <a:lnTo>
                  <a:pt x="41" y="54"/>
                </a:lnTo>
                <a:lnTo>
                  <a:pt x="41" y="50"/>
                </a:lnTo>
                <a:lnTo>
                  <a:pt x="41" y="47"/>
                </a:lnTo>
                <a:lnTo>
                  <a:pt x="41" y="44"/>
                </a:lnTo>
                <a:lnTo>
                  <a:pt x="37" y="41"/>
                </a:lnTo>
                <a:lnTo>
                  <a:pt x="34" y="38"/>
                </a:lnTo>
                <a:lnTo>
                  <a:pt x="31" y="35"/>
                </a:lnTo>
                <a:lnTo>
                  <a:pt x="25" y="32"/>
                </a:lnTo>
                <a:lnTo>
                  <a:pt x="25" y="28"/>
                </a:lnTo>
                <a:lnTo>
                  <a:pt x="22" y="25"/>
                </a:lnTo>
                <a:lnTo>
                  <a:pt x="22" y="22"/>
                </a:lnTo>
                <a:lnTo>
                  <a:pt x="19" y="22"/>
                </a:lnTo>
                <a:lnTo>
                  <a:pt x="12" y="19"/>
                </a:lnTo>
                <a:lnTo>
                  <a:pt x="12" y="19"/>
                </a:lnTo>
                <a:lnTo>
                  <a:pt x="12" y="22"/>
                </a:lnTo>
                <a:lnTo>
                  <a:pt x="19" y="25"/>
                </a:lnTo>
                <a:lnTo>
                  <a:pt x="19" y="28"/>
                </a:lnTo>
                <a:lnTo>
                  <a:pt x="19" y="35"/>
                </a:lnTo>
                <a:lnTo>
                  <a:pt x="16" y="35"/>
                </a:lnTo>
                <a:lnTo>
                  <a:pt x="12" y="32"/>
                </a:lnTo>
                <a:lnTo>
                  <a:pt x="9" y="28"/>
                </a:lnTo>
                <a:lnTo>
                  <a:pt x="6" y="28"/>
                </a:lnTo>
                <a:lnTo>
                  <a:pt x="0" y="22"/>
                </a:lnTo>
                <a:lnTo>
                  <a:pt x="0" y="19"/>
                </a:lnTo>
                <a:lnTo>
                  <a:pt x="0" y="16"/>
                </a:lnTo>
                <a:lnTo>
                  <a:pt x="3" y="13"/>
                </a:lnTo>
                <a:lnTo>
                  <a:pt x="3" y="10"/>
                </a:lnTo>
                <a:lnTo>
                  <a:pt x="0" y="10"/>
                </a:lnTo>
                <a:lnTo>
                  <a:pt x="0" y="7"/>
                </a:lnTo>
                <a:lnTo>
                  <a:pt x="0" y="7"/>
                </a:lnTo>
                <a:lnTo>
                  <a:pt x="3" y="3"/>
                </a:lnTo>
                <a:lnTo>
                  <a:pt x="0" y="0"/>
                </a:lnTo>
                <a:lnTo>
                  <a:pt x="3" y="0"/>
                </a:lnTo>
                <a:lnTo>
                  <a:pt x="3" y="0"/>
                </a:lnTo>
                <a:lnTo>
                  <a:pt x="9" y="0"/>
                </a:lnTo>
                <a:lnTo>
                  <a:pt x="19" y="3"/>
                </a:lnTo>
                <a:lnTo>
                  <a:pt x="25" y="0"/>
                </a:lnTo>
                <a:lnTo>
                  <a:pt x="28" y="0"/>
                </a:lnTo>
                <a:lnTo>
                  <a:pt x="31" y="3"/>
                </a:lnTo>
                <a:lnTo>
                  <a:pt x="34" y="7"/>
                </a:lnTo>
                <a:lnTo>
                  <a:pt x="34" y="7"/>
                </a:lnTo>
                <a:lnTo>
                  <a:pt x="37" y="10"/>
                </a:lnTo>
                <a:lnTo>
                  <a:pt x="41" y="10"/>
                </a:lnTo>
                <a:lnTo>
                  <a:pt x="41" y="10"/>
                </a:lnTo>
                <a:lnTo>
                  <a:pt x="41" y="10"/>
                </a:lnTo>
                <a:lnTo>
                  <a:pt x="44" y="10"/>
                </a:lnTo>
                <a:lnTo>
                  <a:pt x="47" y="10"/>
                </a:lnTo>
                <a:lnTo>
                  <a:pt x="47" y="10"/>
                </a:lnTo>
                <a:lnTo>
                  <a:pt x="50" y="13"/>
                </a:lnTo>
                <a:lnTo>
                  <a:pt x="50" y="16"/>
                </a:lnTo>
                <a:lnTo>
                  <a:pt x="53" y="19"/>
                </a:lnTo>
                <a:lnTo>
                  <a:pt x="56" y="25"/>
                </a:lnTo>
                <a:lnTo>
                  <a:pt x="56" y="28"/>
                </a:lnTo>
                <a:lnTo>
                  <a:pt x="59" y="28"/>
                </a:lnTo>
                <a:lnTo>
                  <a:pt x="62" y="32"/>
                </a:lnTo>
                <a:lnTo>
                  <a:pt x="66" y="32"/>
                </a:lnTo>
                <a:lnTo>
                  <a:pt x="66" y="35"/>
                </a:lnTo>
                <a:lnTo>
                  <a:pt x="62" y="35"/>
                </a:lnTo>
                <a:lnTo>
                  <a:pt x="59" y="35"/>
                </a:lnTo>
                <a:lnTo>
                  <a:pt x="59" y="38"/>
                </a:lnTo>
                <a:lnTo>
                  <a:pt x="59" y="41"/>
                </a:lnTo>
                <a:lnTo>
                  <a:pt x="56" y="44"/>
                </a:lnTo>
                <a:lnTo>
                  <a:pt x="59" y="44"/>
                </a:lnTo>
                <a:lnTo>
                  <a:pt x="62" y="47"/>
                </a:lnTo>
                <a:lnTo>
                  <a:pt x="59" y="50"/>
                </a:lnTo>
                <a:lnTo>
                  <a:pt x="59" y="54"/>
                </a:lnTo>
                <a:lnTo>
                  <a:pt x="59" y="57"/>
                </a:lnTo>
                <a:lnTo>
                  <a:pt x="59" y="57"/>
                </a:lnTo>
                <a:lnTo>
                  <a:pt x="59" y="57"/>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2" name="Freeform 180">
            <a:extLst>
              <a:ext uri="{FF2B5EF4-FFF2-40B4-BE49-F238E27FC236}">
                <a16:creationId xmlns:a16="http://schemas.microsoft.com/office/drawing/2014/main" id="{754DBB29-E5B2-DD9D-8970-4F521F668BAA}"/>
              </a:ext>
            </a:extLst>
          </p:cNvPr>
          <p:cNvSpPr>
            <a:spLocks/>
          </p:cNvSpPr>
          <p:nvPr userDrawn="1"/>
        </p:nvSpPr>
        <p:spPr bwMode="auto">
          <a:xfrm>
            <a:off x="7771893" y="8422558"/>
            <a:ext cx="285731" cy="279400"/>
          </a:xfrm>
          <a:custGeom>
            <a:avLst/>
            <a:gdLst>
              <a:gd name="T0" fmla="*/ 11 w 29"/>
              <a:gd name="T1" fmla="*/ 25 h 28"/>
              <a:gd name="T2" fmla="*/ 13 w 29"/>
              <a:gd name="T3" fmla="*/ 25 h 28"/>
              <a:gd name="T4" fmla="*/ 18 w 29"/>
              <a:gd name="T5" fmla="*/ 25 h 28"/>
              <a:gd name="T6" fmla="*/ 20 w 29"/>
              <a:gd name="T7" fmla="*/ 26 h 28"/>
              <a:gd name="T8" fmla="*/ 21 w 29"/>
              <a:gd name="T9" fmla="*/ 27 h 28"/>
              <a:gd name="T10" fmla="*/ 23 w 29"/>
              <a:gd name="T11" fmla="*/ 28 h 28"/>
              <a:gd name="T12" fmla="*/ 23 w 29"/>
              <a:gd name="T13" fmla="*/ 28 h 28"/>
              <a:gd name="T14" fmla="*/ 24 w 29"/>
              <a:gd name="T15" fmla="*/ 26 h 28"/>
              <a:gd name="T16" fmla="*/ 23 w 29"/>
              <a:gd name="T17" fmla="*/ 24 h 28"/>
              <a:gd name="T18" fmla="*/ 24 w 29"/>
              <a:gd name="T19" fmla="*/ 22 h 28"/>
              <a:gd name="T20" fmla="*/ 24 w 29"/>
              <a:gd name="T21" fmla="*/ 21 h 28"/>
              <a:gd name="T22" fmla="*/ 23 w 29"/>
              <a:gd name="T23" fmla="*/ 22 h 28"/>
              <a:gd name="T24" fmla="*/ 23 w 29"/>
              <a:gd name="T25" fmla="*/ 20 h 28"/>
              <a:gd name="T26" fmla="*/ 24 w 29"/>
              <a:gd name="T27" fmla="*/ 18 h 28"/>
              <a:gd name="T28" fmla="*/ 24 w 29"/>
              <a:gd name="T29" fmla="*/ 15 h 28"/>
              <a:gd name="T30" fmla="*/ 25 w 29"/>
              <a:gd name="T31" fmla="*/ 16 h 28"/>
              <a:gd name="T32" fmla="*/ 25 w 29"/>
              <a:gd name="T33" fmla="*/ 18 h 28"/>
              <a:gd name="T34" fmla="*/ 26 w 29"/>
              <a:gd name="T35" fmla="*/ 18 h 28"/>
              <a:gd name="T36" fmla="*/ 26 w 29"/>
              <a:gd name="T37" fmla="*/ 12 h 28"/>
              <a:gd name="T38" fmla="*/ 26 w 29"/>
              <a:gd name="T39" fmla="*/ 11 h 28"/>
              <a:gd name="T40" fmla="*/ 25 w 29"/>
              <a:gd name="T41" fmla="*/ 10 h 28"/>
              <a:gd name="T42" fmla="*/ 26 w 29"/>
              <a:gd name="T43" fmla="*/ 10 h 28"/>
              <a:gd name="T44" fmla="*/ 27 w 29"/>
              <a:gd name="T45" fmla="*/ 8 h 28"/>
              <a:gd name="T46" fmla="*/ 28 w 29"/>
              <a:gd name="T47" fmla="*/ 6 h 28"/>
              <a:gd name="T48" fmla="*/ 28 w 29"/>
              <a:gd name="T49" fmla="*/ 5 h 28"/>
              <a:gd name="T50" fmla="*/ 28 w 29"/>
              <a:gd name="T51" fmla="*/ 4 h 28"/>
              <a:gd name="T52" fmla="*/ 28 w 29"/>
              <a:gd name="T53" fmla="*/ 1 h 28"/>
              <a:gd name="T54" fmla="*/ 29 w 29"/>
              <a:gd name="T55" fmla="*/ 0 h 28"/>
              <a:gd name="T56" fmla="*/ 27 w 29"/>
              <a:gd name="T57" fmla="*/ 0 h 28"/>
              <a:gd name="T58" fmla="*/ 26 w 29"/>
              <a:gd name="T59" fmla="*/ 0 h 28"/>
              <a:gd name="T60" fmla="*/ 25 w 29"/>
              <a:gd name="T61" fmla="*/ 1 h 28"/>
              <a:gd name="T62" fmla="*/ 23 w 29"/>
              <a:gd name="T63" fmla="*/ 2 h 28"/>
              <a:gd name="T64" fmla="*/ 22 w 29"/>
              <a:gd name="T65" fmla="*/ 3 h 28"/>
              <a:gd name="T66" fmla="*/ 20 w 29"/>
              <a:gd name="T67" fmla="*/ 3 h 28"/>
              <a:gd name="T68" fmla="*/ 19 w 29"/>
              <a:gd name="T69" fmla="*/ 2 h 28"/>
              <a:gd name="T70" fmla="*/ 18 w 29"/>
              <a:gd name="T71" fmla="*/ 3 h 28"/>
              <a:gd name="T72" fmla="*/ 16 w 29"/>
              <a:gd name="T73" fmla="*/ 4 h 28"/>
              <a:gd name="T74" fmla="*/ 15 w 29"/>
              <a:gd name="T75" fmla="*/ 5 h 28"/>
              <a:gd name="T76" fmla="*/ 13 w 29"/>
              <a:gd name="T77" fmla="*/ 7 h 28"/>
              <a:gd name="T78" fmla="*/ 11 w 29"/>
              <a:gd name="T79" fmla="*/ 8 h 28"/>
              <a:gd name="T80" fmla="*/ 10 w 29"/>
              <a:gd name="T81" fmla="*/ 7 h 28"/>
              <a:gd name="T82" fmla="*/ 7 w 29"/>
              <a:gd name="T83" fmla="*/ 8 h 28"/>
              <a:gd name="T84" fmla="*/ 5 w 29"/>
              <a:gd name="T85" fmla="*/ 9 h 28"/>
              <a:gd name="T86" fmla="*/ 5 w 29"/>
              <a:gd name="T87" fmla="*/ 12 h 28"/>
              <a:gd name="T88" fmla="*/ 3 w 29"/>
              <a:gd name="T89" fmla="*/ 13 h 28"/>
              <a:gd name="T90" fmla="*/ 1 w 29"/>
              <a:gd name="T91" fmla="*/ 14 h 28"/>
              <a:gd name="T92" fmla="*/ 0 w 29"/>
              <a:gd name="T93" fmla="*/ 13 h 28"/>
              <a:gd name="T94" fmla="*/ 2 w 29"/>
              <a:gd name="T95" fmla="*/ 17 h 28"/>
              <a:gd name="T96" fmla="*/ 3 w 29"/>
              <a:gd name="T97" fmla="*/ 18 h 28"/>
              <a:gd name="T98" fmla="*/ 6 w 29"/>
              <a:gd name="T99" fmla="*/ 22 h 28"/>
              <a:gd name="T100" fmla="*/ 10 w 29"/>
              <a:gd name="T10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 h="28">
                <a:moveTo>
                  <a:pt x="10" y="25"/>
                </a:moveTo>
                <a:cubicBezTo>
                  <a:pt x="11" y="25"/>
                  <a:pt x="11" y="25"/>
                  <a:pt x="11" y="25"/>
                </a:cubicBezTo>
                <a:cubicBezTo>
                  <a:pt x="11" y="25"/>
                  <a:pt x="11" y="25"/>
                  <a:pt x="11" y="25"/>
                </a:cubicBezTo>
                <a:cubicBezTo>
                  <a:pt x="13" y="25"/>
                  <a:pt x="13" y="25"/>
                  <a:pt x="13" y="25"/>
                </a:cubicBezTo>
                <a:cubicBezTo>
                  <a:pt x="16" y="26"/>
                  <a:pt x="16" y="26"/>
                  <a:pt x="16" y="26"/>
                </a:cubicBezTo>
                <a:cubicBezTo>
                  <a:pt x="18" y="25"/>
                  <a:pt x="18" y="25"/>
                  <a:pt x="18" y="25"/>
                </a:cubicBezTo>
                <a:cubicBezTo>
                  <a:pt x="19" y="25"/>
                  <a:pt x="19" y="25"/>
                  <a:pt x="19" y="25"/>
                </a:cubicBezTo>
                <a:cubicBezTo>
                  <a:pt x="20" y="26"/>
                  <a:pt x="20" y="26"/>
                  <a:pt x="20" y="26"/>
                </a:cubicBezTo>
                <a:cubicBezTo>
                  <a:pt x="21" y="27"/>
                  <a:pt x="21" y="27"/>
                  <a:pt x="21" y="27"/>
                </a:cubicBezTo>
                <a:cubicBezTo>
                  <a:pt x="21" y="27"/>
                  <a:pt x="21" y="27"/>
                  <a:pt x="21" y="27"/>
                </a:cubicBezTo>
                <a:cubicBezTo>
                  <a:pt x="22" y="28"/>
                  <a:pt x="22" y="28"/>
                  <a:pt x="22" y="28"/>
                </a:cubicBezTo>
                <a:cubicBezTo>
                  <a:pt x="23" y="28"/>
                  <a:pt x="23" y="28"/>
                  <a:pt x="23" y="28"/>
                </a:cubicBezTo>
                <a:cubicBezTo>
                  <a:pt x="23" y="28"/>
                  <a:pt x="23" y="28"/>
                  <a:pt x="23" y="28"/>
                </a:cubicBezTo>
                <a:cubicBezTo>
                  <a:pt x="23" y="28"/>
                  <a:pt x="23" y="28"/>
                  <a:pt x="23" y="28"/>
                </a:cubicBezTo>
                <a:cubicBezTo>
                  <a:pt x="24" y="27"/>
                  <a:pt x="24" y="27"/>
                  <a:pt x="24" y="27"/>
                </a:cubicBezTo>
                <a:cubicBezTo>
                  <a:pt x="24" y="26"/>
                  <a:pt x="24" y="26"/>
                  <a:pt x="24" y="26"/>
                </a:cubicBezTo>
                <a:cubicBezTo>
                  <a:pt x="23" y="26"/>
                  <a:pt x="23" y="26"/>
                  <a:pt x="23" y="26"/>
                </a:cubicBezTo>
                <a:cubicBezTo>
                  <a:pt x="23" y="24"/>
                  <a:pt x="23" y="24"/>
                  <a:pt x="23" y="24"/>
                </a:cubicBezTo>
                <a:cubicBezTo>
                  <a:pt x="24" y="23"/>
                  <a:pt x="24" y="23"/>
                  <a:pt x="24" y="23"/>
                </a:cubicBezTo>
                <a:cubicBezTo>
                  <a:pt x="24" y="22"/>
                  <a:pt x="24" y="22"/>
                  <a:pt x="24" y="22"/>
                </a:cubicBezTo>
                <a:cubicBezTo>
                  <a:pt x="24" y="20"/>
                  <a:pt x="24" y="20"/>
                  <a:pt x="24" y="20"/>
                </a:cubicBezTo>
                <a:cubicBezTo>
                  <a:pt x="24" y="21"/>
                  <a:pt x="24" y="21"/>
                  <a:pt x="24" y="21"/>
                </a:cubicBezTo>
                <a:cubicBezTo>
                  <a:pt x="24" y="22"/>
                  <a:pt x="24" y="22"/>
                  <a:pt x="24" y="22"/>
                </a:cubicBezTo>
                <a:cubicBezTo>
                  <a:pt x="23" y="22"/>
                  <a:pt x="23" y="22"/>
                  <a:pt x="23" y="22"/>
                </a:cubicBezTo>
                <a:cubicBezTo>
                  <a:pt x="23" y="21"/>
                  <a:pt x="23" y="21"/>
                  <a:pt x="23" y="21"/>
                </a:cubicBezTo>
                <a:cubicBezTo>
                  <a:pt x="23" y="20"/>
                  <a:pt x="23" y="20"/>
                  <a:pt x="23" y="20"/>
                </a:cubicBezTo>
                <a:cubicBezTo>
                  <a:pt x="24" y="19"/>
                  <a:pt x="24" y="19"/>
                  <a:pt x="24" y="19"/>
                </a:cubicBezTo>
                <a:cubicBezTo>
                  <a:pt x="24" y="18"/>
                  <a:pt x="24" y="18"/>
                  <a:pt x="24" y="18"/>
                </a:cubicBezTo>
                <a:cubicBezTo>
                  <a:pt x="24" y="17"/>
                  <a:pt x="24" y="17"/>
                  <a:pt x="24" y="17"/>
                </a:cubicBezTo>
                <a:cubicBezTo>
                  <a:pt x="24" y="15"/>
                  <a:pt x="24" y="15"/>
                  <a:pt x="24" y="15"/>
                </a:cubicBezTo>
                <a:cubicBezTo>
                  <a:pt x="25" y="15"/>
                  <a:pt x="25" y="15"/>
                  <a:pt x="25" y="15"/>
                </a:cubicBezTo>
                <a:cubicBezTo>
                  <a:pt x="25" y="16"/>
                  <a:pt x="25" y="16"/>
                  <a:pt x="25" y="16"/>
                </a:cubicBezTo>
                <a:cubicBezTo>
                  <a:pt x="25" y="16"/>
                  <a:pt x="25" y="17"/>
                  <a:pt x="25" y="17"/>
                </a:cubicBezTo>
                <a:cubicBezTo>
                  <a:pt x="25" y="17"/>
                  <a:pt x="25" y="18"/>
                  <a:pt x="25" y="18"/>
                </a:cubicBezTo>
                <a:cubicBezTo>
                  <a:pt x="25" y="18"/>
                  <a:pt x="25" y="18"/>
                  <a:pt x="25" y="18"/>
                </a:cubicBezTo>
                <a:cubicBezTo>
                  <a:pt x="26" y="18"/>
                  <a:pt x="26" y="18"/>
                  <a:pt x="26" y="18"/>
                </a:cubicBezTo>
                <a:cubicBezTo>
                  <a:pt x="26" y="15"/>
                  <a:pt x="26" y="15"/>
                  <a:pt x="26" y="15"/>
                </a:cubicBezTo>
                <a:cubicBezTo>
                  <a:pt x="26" y="12"/>
                  <a:pt x="26" y="12"/>
                  <a:pt x="26" y="12"/>
                </a:cubicBezTo>
                <a:cubicBezTo>
                  <a:pt x="26" y="12"/>
                  <a:pt x="26" y="12"/>
                  <a:pt x="26" y="12"/>
                </a:cubicBezTo>
                <a:cubicBezTo>
                  <a:pt x="26" y="11"/>
                  <a:pt x="26" y="11"/>
                  <a:pt x="26" y="11"/>
                </a:cubicBezTo>
                <a:cubicBezTo>
                  <a:pt x="25" y="11"/>
                  <a:pt x="25" y="11"/>
                  <a:pt x="25" y="11"/>
                </a:cubicBezTo>
                <a:cubicBezTo>
                  <a:pt x="25" y="10"/>
                  <a:pt x="25" y="10"/>
                  <a:pt x="25" y="10"/>
                </a:cubicBezTo>
                <a:cubicBezTo>
                  <a:pt x="26" y="10"/>
                  <a:pt x="26" y="10"/>
                  <a:pt x="26" y="10"/>
                </a:cubicBezTo>
                <a:cubicBezTo>
                  <a:pt x="26" y="10"/>
                  <a:pt x="26" y="10"/>
                  <a:pt x="26" y="10"/>
                </a:cubicBezTo>
                <a:cubicBezTo>
                  <a:pt x="26" y="10"/>
                  <a:pt x="26" y="10"/>
                  <a:pt x="26" y="10"/>
                </a:cubicBezTo>
                <a:cubicBezTo>
                  <a:pt x="27" y="8"/>
                  <a:pt x="27" y="8"/>
                  <a:pt x="27" y="8"/>
                </a:cubicBezTo>
                <a:cubicBezTo>
                  <a:pt x="28" y="7"/>
                  <a:pt x="28" y="7"/>
                  <a:pt x="28" y="7"/>
                </a:cubicBezTo>
                <a:cubicBezTo>
                  <a:pt x="28" y="6"/>
                  <a:pt x="28" y="6"/>
                  <a:pt x="28" y="6"/>
                </a:cubicBezTo>
                <a:cubicBezTo>
                  <a:pt x="28" y="6"/>
                  <a:pt x="28" y="6"/>
                  <a:pt x="28" y="6"/>
                </a:cubicBezTo>
                <a:cubicBezTo>
                  <a:pt x="28" y="5"/>
                  <a:pt x="28" y="5"/>
                  <a:pt x="28" y="5"/>
                </a:cubicBezTo>
                <a:cubicBezTo>
                  <a:pt x="28" y="5"/>
                  <a:pt x="28" y="5"/>
                  <a:pt x="28" y="5"/>
                </a:cubicBezTo>
                <a:cubicBezTo>
                  <a:pt x="28" y="4"/>
                  <a:pt x="28" y="4"/>
                  <a:pt x="28" y="4"/>
                </a:cubicBezTo>
                <a:cubicBezTo>
                  <a:pt x="28" y="3"/>
                  <a:pt x="28" y="3"/>
                  <a:pt x="28" y="3"/>
                </a:cubicBezTo>
                <a:cubicBezTo>
                  <a:pt x="28" y="1"/>
                  <a:pt x="28" y="1"/>
                  <a:pt x="28" y="1"/>
                </a:cubicBezTo>
                <a:cubicBezTo>
                  <a:pt x="28" y="0"/>
                  <a:pt x="28" y="0"/>
                  <a:pt x="28" y="0"/>
                </a:cubicBezTo>
                <a:cubicBezTo>
                  <a:pt x="29" y="0"/>
                  <a:pt x="29" y="0"/>
                  <a:pt x="29" y="0"/>
                </a:cubicBezTo>
                <a:cubicBezTo>
                  <a:pt x="28" y="0"/>
                  <a:pt x="28" y="0"/>
                  <a:pt x="28" y="0"/>
                </a:cubicBezTo>
                <a:cubicBezTo>
                  <a:pt x="27" y="0"/>
                  <a:pt x="27" y="0"/>
                  <a:pt x="27" y="0"/>
                </a:cubicBezTo>
                <a:cubicBezTo>
                  <a:pt x="27" y="0"/>
                  <a:pt x="27" y="0"/>
                  <a:pt x="27" y="0"/>
                </a:cubicBezTo>
                <a:cubicBezTo>
                  <a:pt x="26" y="0"/>
                  <a:pt x="26" y="0"/>
                  <a:pt x="26" y="0"/>
                </a:cubicBezTo>
                <a:cubicBezTo>
                  <a:pt x="25" y="0"/>
                  <a:pt x="25" y="0"/>
                  <a:pt x="25" y="0"/>
                </a:cubicBezTo>
                <a:cubicBezTo>
                  <a:pt x="25" y="1"/>
                  <a:pt x="25" y="1"/>
                  <a:pt x="25" y="1"/>
                </a:cubicBezTo>
                <a:cubicBezTo>
                  <a:pt x="24" y="1"/>
                  <a:pt x="24" y="1"/>
                  <a:pt x="24" y="1"/>
                </a:cubicBezTo>
                <a:cubicBezTo>
                  <a:pt x="23" y="2"/>
                  <a:pt x="23" y="2"/>
                  <a:pt x="23" y="2"/>
                </a:cubicBezTo>
                <a:cubicBezTo>
                  <a:pt x="22" y="2"/>
                  <a:pt x="22" y="2"/>
                  <a:pt x="22" y="2"/>
                </a:cubicBezTo>
                <a:cubicBezTo>
                  <a:pt x="22" y="3"/>
                  <a:pt x="22" y="3"/>
                  <a:pt x="22" y="3"/>
                </a:cubicBezTo>
                <a:cubicBezTo>
                  <a:pt x="21" y="3"/>
                  <a:pt x="21" y="3"/>
                  <a:pt x="21" y="3"/>
                </a:cubicBezTo>
                <a:cubicBezTo>
                  <a:pt x="20" y="3"/>
                  <a:pt x="20" y="3"/>
                  <a:pt x="20" y="3"/>
                </a:cubicBezTo>
                <a:cubicBezTo>
                  <a:pt x="20" y="2"/>
                  <a:pt x="20" y="2"/>
                  <a:pt x="20" y="2"/>
                </a:cubicBezTo>
                <a:cubicBezTo>
                  <a:pt x="19" y="2"/>
                  <a:pt x="19" y="2"/>
                  <a:pt x="19" y="2"/>
                </a:cubicBezTo>
                <a:cubicBezTo>
                  <a:pt x="18" y="2"/>
                  <a:pt x="18" y="2"/>
                  <a:pt x="18" y="2"/>
                </a:cubicBezTo>
                <a:cubicBezTo>
                  <a:pt x="18" y="3"/>
                  <a:pt x="18" y="3"/>
                  <a:pt x="18" y="3"/>
                </a:cubicBezTo>
                <a:cubicBezTo>
                  <a:pt x="17" y="3"/>
                  <a:pt x="17" y="3"/>
                  <a:pt x="17" y="3"/>
                </a:cubicBezTo>
                <a:cubicBezTo>
                  <a:pt x="16" y="4"/>
                  <a:pt x="16" y="4"/>
                  <a:pt x="16" y="4"/>
                </a:cubicBezTo>
                <a:cubicBezTo>
                  <a:pt x="16" y="5"/>
                  <a:pt x="16" y="5"/>
                  <a:pt x="16" y="5"/>
                </a:cubicBezTo>
                <a:cubicBezTo>
                  <a:pt x="15" y="5"/>
                  <a:pt x="15" y="5"/>
                  <a:pt x="15" y="5"/>
                </a:cubicBezTo>
                <a:cubicBezTo>
                  <a:pt x="14" y="7"/>
                  <a:pt x="14" y="7"/>
                  <a:pt x="14" y="7"/>
                </a:cubicBezTo>
                <a:cubicBezTo>
                  <a:pt x="13" y="7"/>
                  <a:pt x="13" y="7"/>
                  <a:pt x="13" y="7"/>
                </a:cubicBezTo>
                <a:cubicBezTo>
                  <a:pt x="12" y="8"/>
                  <a:pt x="12" y="8"/>
                  <a:pt x="12" y="8"/>
                </a:cubicBezTo>
                <a:cubicBezTo>
                  <a:pt x="11" y="8"/>
                  <a:pt x="11" y="8"/>
                  <a:pt x="11" y="8"/>
                </a:cubicBezTo>
                <a:cubicBezTo>
                  <a:pt x="11" y="8"/>
                  <a:pt x="11" y="8"/>
                  <a:pt x="11" y="8"/>
                </a:cubicBezTo>
                <a:cubicBezTo>
                  <a:pt x="10" y="7"/>
                  <a:pt x="10" y="7"/>
                  <a:pt x="10" y="7"/>
                </a:cubicBezTo>
                <a:cubicBezTo>
                  <a:pt x="9" y="7"/>
                  <a:pt x="9" y="7"/>
                  <a:pt x="9" y="7"/>
                </a:cubicBezTo>
                <a:cubicBezTo>
                  <a:pt x="7" y="8"/>
                  <a:pt x="7" y="8"/>
                  <a:pt x="7" y="8"/>
                </a:cubicBezTo>
                <a:cubicBezTo>
                  <a:pt x="5" y="8"/>
                  <a:pt x="5" y="8"/>
                  <a:pt x="5" y="8"/>
                </a:cubicBezTo>
                <a:cubicBezTo>
                  <a:pt x="5" y="9"/>
                  <a:pt x="5" y="9"/>
                  <a:pt x="5" y="9"/>
                </a:cubicBezTo>
                <a:cubicBezTo>
                  <a:pt x="5" y="10"/>
                  <a:pt x="5" y="10"/>
                  <a:pt x="5" y="10"/>
                </a:cubicBezTo>
                <a:cubicBezTo>
                  <a:pt x="5" y="12"/>
                  <a:pt x="5" y="12"/>
                  <a:pt x="5" y="12"/>
                </a:cubicBezTo>
                <a:cubicBezTo>
                  <a:pt x="4" y="13"/>
                  <a:pt x="4" y="13"/>
                  <a:pt x="4" y="13"/>
                </a:cubicBezTo>
                <a:cubicBezTo>
                  <a:pt x="3" y="13"/>
                  <a:pt x="3" y="13"/>
                  <a:pt x="3" y="13"/>
                </a:cubicBezTo>
                <a:cubicBezTo>
                  <a:pt x="2" y="13"/>
                  <a:pt x="2" y="13"/>
                  <a:pt x="2" y="13"/>
                </a:cubicBezTo>
                <a:cubicBezTo>
                  <a:pt x="1" y="14"/>
                  <a:pt x="1" y="14"/>
                  <a:pt x="1" y="14"/>
                </a:cubicBezTo>
                <a:cubicBezTo>
                  <a:pt x="1" y="14"/>
                  <a:pt x="1" y="14"/>
                  <a:pt x="1" y="14"/>
                </a:cubicBezTo>
                <a:cubicBezTo>
                  <a:pt x="0" y="13"/>
                  <a:pt x="0" y="13"/>
                  <a:pt x="0" y="13"/>
                </a:cubicBezTo>
                <a:cubicBezTo>
                  <a:pt x="0" y="14"/>
                  <a:pt x="0" y="14"/>
                  <a:pt x="0" y="14"/>
                </a:cubicBezTo>
                <a:cubicBezTo>
                  <a:pt x="2" y="17"/>
                  <a:pt x="2" y="17"/>
                  <a:pt x="2" y="17"/>
                </a:cubicBezTo>
                <a:cubicBezTo>
                  <a:pt x="3" y="17"/>
                  <a:pt x="3" y="17"/>
                  <a:pt x="3" y="17"/>
                </a:cubicBezTo>
                <a:cubicBezTo>
                  <a:pt x="3" y="18"/>
                  <a:pt x="3" y="18"/>
                  <a:pt x="3" y="18"/>
                </a:cubicBezTo>
                <a:cubicBezTo>
                  <a:pt x="5" y="20"/>
                  <a:pt x="5" y="20"/>
                  <a:pt x="5" y="20"/>
                </a:cubicBezTo>
                <a:cubicBezTo>
                  <a:pt x="6" y="22"/>
                  <a:pt x="6" y="22"/>
                  <a:pt x="6" y="22"/>
                </a:cubicBezTo>
                <a:cubicBezTo>
                  <a:pt x="9" y="25"/>
                  <a:pt x="9" y="25"/>
                  <a:pt x="9" y="25"/>
                </a:cubicBezTo>
                <a:cubicBezTo>
                  <a:pt x="10" y="25"/>
                  <a:pt x="10" y="25"/>
                  <a:pt x="10" y="25"/>
                </a:cubicBez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3" name="Freeform 181">
            <a:extLst>
              <a:ext uri="{FF2B5EF4-FFF2-40B4-BE49-F238E27FC236}">
                <a16:creationId xmlns:a16="http://schemas.microsoft.com/office/drawing/2014/main" id="{F1C238C5-1AD8-4C15-E7A1-86C875AC8613}"/>
              </a:ext>
            </a:extLst>
          </p:cNvPr>
          <p:cNvSpPr>
            <a:spLocks/>
          </p:cNvSpPr>
          <p:nvPr userDrawn="1"/>
        </p:nvSpPr>
        <p:spPr bwMode="auto">
          <a:xfrm>
            <a:off x="7641726" y="8352707"/>
            <a:ext cx="415899" cy="200026"/>
          </a:xfrm>
          <a:custGeom>
            <a:avLst/>
            <a:gdLst>
              <a:gd name="T0" fmla="*/ 50 w 131"/>
              <a:gd name="T1" fmla="*/ 63 h 63"/>
              <a:gd name="T2" fmla="*/ 56 w 131"/>
              <a:gd name="T3" fmla="*/ 60 h 63"/>
              <a:gd name="T4" fmla="*/ 56 w 131"/>
              <a:gd name="T5" fmla="*/ 50 h 63"/>
              <a:gd name="T6" fmla="*/ 63 w 131"/>
              <a:gd name="T7" fmla="*/ 47 h 63"/>
              <a:gd name="T8" fmla="*/ 72 w 131"/>
              <a:gd name="T9" fmla="*/ 44 h 63"/>
              <a:gd name="T10" fmla="*/ 75 w 131"/>
              <a:gd name="T11" fmla="*/ 47 h 63"/>
              <a:gd name="T12" fmla="*/ 81 w 131"/>
              <a:gd name="T13" fmla="*/ 44 h 63"/>
              <a:gd name="T14" fmla="*/ 88 w 131"/>
              <a:gd name="T15" fmla="*/ 38 h 63"/>
              <a:gd name="T16" fmla="*/ 91 w 131"/>
              <a:gd name="T17" fmla="*/ 35 h 63"/>
              <a:gd name="T18" fmla="*/ 97 w 131"/>
              <a:gd name="T19" fmla="*/ 32 h 63"/>
              <a:gd name="T20" fmla="*/ 100 w 131"/>
              <a:gd name="T21" fmla="*/ 28 h 63"/>
              <a:gd name="T22" fmla="*/ 103 w 131"/>
              <a:gd name="T23" fmla="*/ 32 h 63"/>
              <a:gd name="T24" fmla="*/ 109 w 131"/>
              <a:gd name="T25" fmla="*/ 32 h 63"/>
              <a:gd name="T26" fmla="*/ 113 w 131"/>
              <a:gd name="T27" fmla="*/ 28 h 63"/>
              <a:gd name="T28" fmla="*/ 119 w 131"/>
              <a:gd name="T29" fmla="*/ 25 h 63"/>
              <a:gd name="T30" fmla="*/ 122 w 131"/>
              <a:gd name="T31" fmla="*/ 22 h 63"/>
              <a:gd name="T32" fmla="*/ 125 w 131"/>
              <a:gd name="T33" fmla="*/ 22 h 63"/>
              <a:gd name="T34" fmla="*/ 131 w 131"/>
              <a:gd name="T35" fmla="*/ 22 h 63"/>
              <a:gd name="T36" fmla="*/ 131 w 131"/>
              <a:gd name="T37" fmla="*/ 19 h 63"/>
              <a:gd name="T38" fmla="*/ 122 w 131"/>
              <a:gd name="T39" fmla="*/ 13 h 63"/>
              <a:gd name="T40" fmla="*/ 122 w 131"/>
              <a:gd name="T41" fmla="*/ 19 h 63"/>
              <a:gd name="T42" fmla="*/ 113 w 131"/>
              <a:gd name="T43" fmla="*/ 16 h 63"/>
              <a:gd name="T44" fmla="*/ 106 w 131"/>
              <a:gd name="T45" fmla="*/ 16 h 63"/>
              <a:gd name="T46" fmla="*/ 106 w 131"/>
              <a:gd name="T47" fmla="*/ 13 h 63"/>
              <a:gd name="T48" fmla="*/ 106 w 131"/>
              <a:gd name="T49" fmla="*/ 10 h 63"/>
              <a:gd name="T50" fmla="*/ 113 w 131"/>
              <a:gd name="T51" fmla="*/ 10 h 63"/>
              <a:gd name="T52" fmla="*/ 119 w 131"/>
              <a:gd name="T53" fmla="*/ 13 h 63"/>
              <a:gd name="T54" fmla="*/ 109 w 131"/>
              <a:gd name="T55" fmla="*/ 6 h 63"/>
              <a:gd name="T56" fmla="*/ 103 w 131"/>
              <a:gd name="T57" fmla="*/ 6 h 63"/>
              <a:gd name="T58" fmla="*/ 100 w 131"/>
              <a:gd name="T59" fmla="*/ 10 h 63"/>
              <a:gd name="T60" fmla="*/ 91 w 131"/>
              <a:gd name="T61" fmla="*/ 6 h 63"/>
              <a:gd name="T62" fmla="*/ 75 w 131"/>
              <a:gd name="T63" fmla="*/ 0 h 63"/>
              <a:gd name="T64" fmla="*/ 72 w 131"/>
              <a:gd name="T65" fmla="*/ 3 h 63"/>
              <a:gd name="T66" fmla="*/ 69 w 131"/>
              <a:gd name="T67" fmla="*/ 3 h 63"/>
              <a:gd name="T68" fmla="*/ 66 w 131"/>
              <a:gd name="T69" fmla="*/ 3 h 63"/>
              <a:gd name="T70" fmla="*/ 50 w 131"/>
              <a:gd name="T71" fmla="*/ 6 h 63"/>
              <a:gd name="T72" fmla="*/ 34 w 131"/>
              <a:gd name="T73" fmla="*/ 10 h 63"/>
              <a:gd name="T74" fmla="*/ 31 w 131"/>
              <a:gd name="T75" fmla="*/ 10 h 63"/>
              <a:gd name="T76" fmla="*/ 25 w 131"/>
              <a:gd name="T77" fmla="*/ 13 h 63"/>
              <a:gd name="T78" fmla="*/ 19 w 131"/>
              <a:gd name="T79" fmla="*/ 16 h 63"/>
              <a:gd name="T80" fmla="*/ 9 w 131"/>
              <a:gd name="T81" fmla="*/ 25 h 63"/>
              <a:gd name="T82" fmla="*/ 9 w 131"/>
              <a:gd name="T83" fmla="*/ 35 h 63"/>
              <a:gd name="T84" fmla="*/ 3 w 131"/>
              <a:gd name="T85" fmla="*/ 38 h 63"/>
              <a:gd name="T86" fmla="*/ 3 w 131"/>
              <a:gd name="T87" fmla="*/ 41 h 63"/>
              <a:gd name="T88" fmla="*/ 3 w 131"/>
              <a:gd name="T89" fmla="*/ 53 h 63"/>
              <a:gd name="T90" fmla="*/ 12 w 131"/>
              <a:gd name="T91" fmla="*/ 57 h 63"/>
              <a:gd name="T92" fmla="*/ 19 w 131"/>
              <a:gd name="T93" fmla="*/ 60 h 63"/>
              <a:gd name="T94" fmla="*/ 16 w 131"/>
              <a:gd name="T95" fmla="*/ 57 h 63"/>
              <a:gd name="T96" fmla="*/ 25 w 131"/>
              <a:gd name="T97" fmla="*/ 60 h 63"/>
              <a:gd name="T98" fmla="*/ 34 w 131"/>
              <a:gd name="T99" fmla="*/ 63 h 63"/>
              <a:gd name="T100" fmla="*/ 38 w 131"/>
              <a:gd name="T101" fmla="*/ 57 h 63"/>
              <a:gd name="T102" fmla="*/ 41 w 131"/>
              <a:gd name="T103" fmla="*/ 57 h 63"/>
              <a:gd name="T104" fmla="*/ 41 w 131"/>
              <a:gd name="T105" fmla="*/ 60 h 63"/>
              <a:gd name="T106" fmla="*/ 44 w 131"/>
              <a:gd name="T107" fmla="*/ 60 h 63"/>
              <a:gd name="T108" fmla="*/ 47 w 131"/>
              <a:gd name="T109"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1" h="63">
                <a:moveTo>
                  <a:pt x="47" y="63"/>
                </a:moveTo>
                <a:lnTo>
                  <a:pt x="50" y="63"/>
                </a:lnTo>
                <a:lnTo>
                  <a:pt x="53" y="63"/>
                </a:lnTo>
                <a:lnTo>
                  <a:pt x="56" y="60"/>
                </a:lnTo>
                <a:lnTo>
                  <a:pt x="56" y="53"/>
                </a:lnTo>
                <a:lnTo>
                  <a:pt x="56" y="50"/>
                </a:lnTo>
                <a:lnTo>
                  <a:pt x="56" y="47"/>
                </a:lnTo>
                <a:lnTo>
                  <a:pt x="63" y="47"/>
                </a:lnTo>
                <a:lnTo>
                  <a:pt x="69" y="44"/>
                </a:lnTo>
                <a:lnTo>
                  <a:pt x="72" y="44"/>
                </a:lnTo>
                <a:lnTo>
                  <a:pt x="75" y="47"/>
                </a:lnTo>
                <a:lnTo>
                  <a:pt x="75" y="47"/>
                </a:lnTo>
                <a:lnTo>
                  <a:pt x="78" y="47"/>
                </a:lnTo>
                <a:lnTo>
                  <a:pt x="81" y="44"/>
                </a:lnTo>
                <a:lnTo>
                  <a:pt x="84" y="44"/>
                </a:lnTo>
                <a:lnTo>
                  <a:pt x="88" y="38"/>
                </a:lnTo>
                <a:lnTo>
                  <a:pt x="91" y="38"/>
                </a:lnTo>
                <a:lnTo>
                  <a:pt x="91" y="35"/>
                </a:lnTo>
                <a:lnTo>
                  <a:pt x="94" y="32"/>
                </a:lnTo>
                <a:lnTo>
                  <a:pt x="97" y="32"/>
                </a:lnTo>
                <a:lnTo>
                  <a:pt x="97" y="28"/>
                </a:lnTo>
                <a:lnTo>
                  <a:pt x="100" y="28"/>
                </a:lnTo>
                <a:lnTo>
                  <a:pt x="103" y="28"/>
                </a:lnTo>
                <a:lnTo>
                  <a:pt x="103" y="32"/>
                </a:lnTo>
                <a:lnTo>
                  <a:pt x="106" y="32"/>
                </a:lnTo>
                <a:lnTo>
                  <a:pt x="109" y="32"/>
                </a:lnTo>
                <a:lnTo>
                  <a:pt x="109" y="28"/>
                </a:lnTo>
                <a:lnTo>
                  <a:pt x="113" y="28"/>
                </a:lnTo>
                <a:lnTo>
                  <a:pt x="116" y="25"/>
                </a:lnTo>
                <a:lnTo>
                  <a:pt x="119" y="25"/>
                </a:lnTo>
                <a:lnTo>
                  <a:pt x="119" y="22"/>
                </a:lnTo>
                <a:lnTo>
                  <a:pt x="122" y="22"/>
                </a:lnTo>
                <a:lnTo>
                  <a:pt x="125" y="22"/>
                </a:lnTo>
                <a:lnTo>
                  <a:pt x="125" y="22"/>
                </a:lnTo>
                <a:lnTo>
                  <a:pt x="128" y="22"/>
                </a:lnTo>
                <a:lnTo>
                  <a:pt x="131" y="22"/>
                </a:lnTo>
                <a:lnTo>
                  <a:pt x="131" y="22"/>
                </a:lnTo>
                <a:lnTo>
                  <a:pt x="131" y="19"/>
                </a:lnTo>
                <a:lnTo>
                  <a:pt x="125" y="16"/>
                </a:lnTo>
                <a:lnTo>
                  <a:pt x="122" y="13"/>
                </a:lnTo>
                <a:lnTo>
                  <a:pt x="122" y="13"/>
                </a:lnTo>
                <a:lnTo>
                  <a:pt x="122" y="19"/>
                </a:lnTo>
                <a:lnTo>
                  <a:pt x="119" y="16"/>
                </a:lnTo>
                <a:lnTo>
                  <a:pt x="113" y="16"/>
                </a:lnTo>
                <a:lnTo>
                  <a:pt x="113" y="16"/>
                </a:lnTo>
                <a:lnTo>
                  <a:pt x="106" y="16"/>
                </a:lnTo>
                <a:lnTo>
                  <a:pt x="103" y="16"/>
                </a:lnTo>
                <a:lnTo>
                  <a:pt x="106" y="13"/>
                </a:lnTo>
                <a:lnTo>
                  <a:pt x="106" y="13"/>
                </a:lnTo>
                <a:lnTo>
                  <a:pt x="106" y="10"/>
                </a:lnTo>
                <a:lnTo>
                  <a:pt x="109" y="10"/>
                </a:lnTo>
                <a:lnTo>
                  <a:pt x="113" y="10"/>
                </a:lnTo>
                <a:lnTo>
                  <a:pt x="119" y="13"/>
                </a:lnTo>
                <a:lnTo>
                  <a:pt x="119" y="13"/>
                </a:lnTo>
                <a:lnTo>
                  <a:pt x="116" y="10"/>
                </a:lnTo>
                <a:lnTo>
                  <a:pt x="109" y="6"/>
                </a:lnTo>
                <a:lnTo>
                  <a:pt x="106" y="6"/>
                </a:lnTo>
                <a:lnTo>
                  <a:pt x="103" y="6"/>
                </a:lnTo>
                <a:lnTo>
                  <a:pt x="100" y="6"/>
                </a:lnTo>
                <a:lnTo>
                  <a:pt x="100" y="10"/>
                </a:lnTo>
                <a:lnTo>
                  <a:pt x="97" y="6"/>
                </a:lnTo>
                <a:lnTo>
                  <a:pt x="91" y="6"/>
                </a:lnTo>
                <a:lnTo>
                  <a:pt x="81" y="6"/>
                </a:lnTo>
                <a:lnTo>
                  <a:pt x="75" y="0"/>
                </a:lnTo>
                <a:lnTo>
                  <a:pt x="72" y="0"/>
                </a:lnTo>
                <a:lnTo>
                  <a:pt x="72" y="3"/>
                </a:lnTo>
                <a:lnTo>
                  <a:pt x="72" y="3"/>
                </a:lnTo>
                <a:lnTo>
                  <a:pt x="69" y="3"/>
                </a:lnTo>
                <a:lnTo>
                  <a:pt x="69" y="6"/>
                </a:lnTo>
                <a:lnTo>
                  <a:pt x="66" y="3"/>
                </a:lnTo>
                <a:lnTo>
                  <a:pt x="59" y="6"/>
                </a:lnTo>
                <a:lnTo>
                  <a:pt x="50" y="6"/>
                </a:lnTo>
                <a:lnTo>
                  <a:pt x="38" y="6"/>
                </a:lnTo>
                <a:lnTo>
                  <a:pt x="34" y="10"/>
                </a:lnTo>
                <a:lnTo>
                  <a:pt x="31" y="6"/>
                </a:lnTo>
                <a:lnTo>
                  <a:pt x="31" y="10"/>
                </a:lnTo>
                <a:lnTo>
                  <a:pt x="28" y="10"/>
                </a:lnTo>
                <a:lnTo>
                  <a:pt x="25" y="13"/>
                </a:lnTo>
                <a:lnTo>
                  <a:pt x="22" y="16"/>
                </a:lnTo>
                <a:lnTo>
                  <a:pt x="19" y="16"/>
                </a:lnTo>
                <a:lnTo>
                  <a:pt x="12" y="22"/>
                </a:lnTo>
                <a:lnTo>
                  <a:pt x="9" y="25"/>
                </a:lnTo>
                <a:lnTo>
                  <a:pt x="9" y="28"/>
                </a:lnTo>
                <a:lnTo>
                  <a:pt x="9" y="35"/>
                </a:lnTo>
                <a:lnTo>
                  <a:pt x="3" y="38"/>
                </a:lnTo>
                <a:lnTo>
                  <a:pt x="3" y="38"/>
                </a:lnTo>
                <a:lnTo>
                  <a:pt x="3" y="41"/>
                </a:lnTo>
                <a:lnTo>
                  <a:pt x="3" y="41"/>
                </a:lnTo>
                <a:lnTo>
                  <a:pt x="0" y="50"/>
                </a:lnTo>
                <a:lnTo>
                  <a:pt x="3" y="53"/>
                </a:lnTo>
                <a:lnTo>
                  <a:pt x="3" y="53"/>
                </a:lnTo>
                <a:lnTo>
                  <a:pt x="12" y="57"/>
                </a:lnTo>
                <a:lnTo>
                  <a:pt x="19" y="60"/>
                </a:lnTo>
                <a:lnTo>
                  <a:pt x="19" y="60"/>
                </a:lnTo>
                <a:lnTo>
                  <a:pt x="16" y="57"/>
                </a:lnTo>
                <a:lnTo>
                  <a:pt x="16" y="57"/>
                </a:lnTo>
                <a:lnTo>
                  <a:pt x="22" y="57"/>
                </a:lnTo>
                <a:lnTo>
                  <a:pt x="25" y="60"/>
                </a:lnTo>
                <a:lnTo>
                  <a:pt x="25" y="63"/>
                </a:lnTo>
                <a:lnTo>
                  <a:pt x="34" y="63"/>
                </a:lnTo>
                <a:lnTo>
                  <a:pt x="38" y="60"/>
                </a:lnTo>
                <a:lnTo>
                  <a:pt x="38" y="57"/>
                </a:lnTo>
                <a:lnTo>
                  <a:pt x="38" y="57"/>
                </a:lnTo>
                <a:lnTo>
                  <a:pt x="41" y="57"/>
                </a:lnTo>
                <a:lnTo>
                  <a:pt x="41" y="60"/>
                </a:lnTo>
                <a:lnTo>
                  <a:pt x="41" y="60"/>
                </a:lnTo>
                <a:lnTo>
                  <a:pt x="44" y="57"/>
                </a:lnTo>
                <a:lnTo>
                  <a:pt x="44" y="60"/>
                </a:lnTo>
                <a:lnTo>
                  <a:pt x="44" y="60"/>
                </a:lnTo>
                <a:lnTo>
                  <a:pt x="47" y="63"/>
                </a:lnTo>
                <a:lnTo>
                  <a:pt x="47" y="63"/>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4" name="Freeform 182">
            <a:extLst>
              <a:ext uri="{FF2B5EF4-FFF2-40B4-BE49-F238E27FC236}">
                <a16:creationId xmlns:a16="http://schemas.microsoft.com/office/drawing/2014/main" id="{136970D4-DDC5-8DE8-F723-3FC854B763D5}"/>
              </a:ext>
            </a:extLst>
          </p:cNvPr>
          <p:cNvSpPr>
            <a:spLocks/>
          </p:cNvSpPr>
          <p:nvPr userDrawn="1"/>
        </p:nvSpPr>
        <p:spPr bwMode="auto">
          <a:xfrm>
            <a:off x="7613154" y="8463829"/>
            <a:ext cx="149216" cy="88902"/>
          </a:xfrm>
          <a:custGeom>
            <a:avLst/>
            <a:gdLst>
              <a:gd name="T0" fmla="*/ 15 w 47"/>
              <a:gd name="T1" fmla="*/ 0 h 28"/>
              <a:gd name="T2" fmla="*/ 18 w 47"/>
              <a:gd name="T3" fmla="*/ 0 h 28"/>
              <a:gd name="T4" fmla="*/ 21 w 47"/>
              <a:gd name="T5" fmla="*/ 0 h 28"/>
              <a:gd name="T6" fmla="*/ 21 w 47"/>
              <a:gd name="T7" fmla="*/ 3 h 28"/>
              <a:gd name="T8" fmla="*/ 25 w 47"/>
              <a:gd name="T9" fmla="*/ 3 h 28"/>
              <a:gd name="T10" fmla="*/ 28 w 47"/>
              <a:gd name="T11" fmla="*/ 3 h 28"/>
              <a:gd name="T12" fmla="*/ 31 w 47"/>
              <a:gd name="T13" fmla="*/ 3 h 28"/>
              <a:gd name="T14" fmla="*/ 34 w 47"/>
              <a:gd name="T15" fmla="*/ 6 h 28"/>
              <a:gd name="T16" fmla="*/ 34 w 47"/>
              <a:gd name="T17" fmla="*/ 9 h 28"/>
              <a:gd name="T18" fmla="*/ 37 w 47"/>
              <a:gd name="T19" fmla="*/ 12 h 28"/>
              <a:gd name="T20" fmla="*/ 37 w 47"/>
              <a:gd name="T21" fmla="*/ 9 h 28"/>
              <a:gd name="T22" fmla="*/ 40 w 47"/>
              <a:gd name="T23" fmla="*/ 6 h 28"/>
              <a:gd name="T24" fmla="*/ 43 w 47"/>
              <a:gd name="T25" fmla="*/ 6 h 28"/>
              <a:gd name="T26" fmla="*/ 43 w 47"/>
              <a:gd name="T27" fmla="*/ 6 h 28"/>
              <a:gd name="T28" fmla="*/ 47 w 47"/>
              <a:gd name="T29" fmla="*/ 9 h 28"/>
              <a:gd name="T30" fmla="*/ 47 w 47"/>
              <a:gd name="T31" fmla="*/ 12 h 28"/>
              <a:gd name="T32" fmla="*/ 47 w 47"/>
              <a:gd name="T33" fmla="*/ 15 h 28"/>
              <a:gd name="T34" fmla="*/ 47 w 47"/>
              <a:gd name="T35" fmla="*/ 15 h 28"/>
              <a:gd name="T36" fmla="*/ 47 w 47"/>
              <a:gd name="T37" fmla="*/ 18 h 28"/>
              <a:gd name="T38" fmla="*/ 47 w 47"/>
              <a:gd name="T39" fmla="*/ 22 h 28"/>
              <a:gd name="T40" fmla="*/ 47 w 47"/>
              <a:gd name="T41" fmla="*/ 22 h 28"/>
              <a:gd name="T42" fmla="*/ 47 w 47"/>
              <a:gd name="T43" fmla="*/ 25 h 28"/>
              <a:gd name="T44" fmla="*/ 43 w 47"/>
              <a:gd name="T45" fmla="*/ 28 h 28"/>
              <a:gd name="T46" fmla="*/ 34 w 47"/>
              <a:gd name="T47" fmla="*/ 28 h 28"/>
              <a:gd name="T48" fmla="*/ 34 w 47"/>
              <a:gd name="T49" fmla="*/ 25 h 28"/>
              <a:gd name="T50" fmla="*/ 31 w 47"/>
              <a:gd name="T51" fmla="*/ 22 h 28"/>
              <a:gd name="T52" fmla="*/ 25 w 47"/>
              <a:gd name="T53" fmla="*/ 22 h 28"/>
              <a:gd name="T54" fmla="*/ 25 w 47"/>
              <a:gd name="T55" fmla="*/ 22 h 28"/>
              <a:gd name="T56" fmla="*/ 28 w 47"/>
              <a:gd name="T57" fmla="*/ 25 h 28"/>
              <a:gd name="T58" fmla="*/ 28 w 47"/>
              <a:gd name="T59" fmla="*/ 25 h 28"/>
              <a:gd name="T60" fmla="*/ 21 w 47"/>
              <a:gd name="T61" fmla="*/ 22 h 28"/>
              <a:gd name="T62" fmla="*/ 12 w 47"/>
              <a:gd name="T63" fmla="*/ 18 h 28"/>
              <a:gd name="T64" fmla="*/ 12 w 47"/>
              <a:gd name="T65" fmla="*/ 18 h 28"/>
              <a:gd name="T66" fmla="*/ 6 w 47"/>
              <a:gd name="T67" fmla="*/ 18 h 28"/>
              <a:gd name="T68" fmla="*/ 3 w 47"/>
              <a:gd name="T69" fmla="*/ 15 h 28"/>
              <a:gd name="T70" fmla="*/ 0 w 47"/>
              <a:gd name="T71" fmla="*/ 15 h 28"/>
              <a:gd name="T72" fmla="*/ 0 w 47"/>
              <a:gd name="T73" fmla="*/ 15 h 28"/>
              <a:gd name="T74" fmla="*/ 0 w 47"/>
              <a:gd name="T75" fmla="*/ 12 h 28"/>
              <a:gd name="T76" fmla="*/ 0 w 47"/>
              <a:gd name="T77" fmla="*/ 12 h 28"/>
              <a:gd name="T78" fmla="*/ 3 w 47"/>
              <a:gd name="T79" fmla="*/ 6 h 28"/>
              <a:gd name="T80" fmla="*/ 9 w 47"/>
              <a:gd name="T81" fmla="*/ 6 h 28"/>
              <a:gd name="T82" fmla="*/ 12 w 47"/>
              <a:gd name="T83" fmla="*/ 6 h 28"/>
              <a:gd name="T84" fmla="*/ 12 w 47"/>
              <a:gd name="T85" fmla="*/ 3 h 28"/>
              <a:gd name="T86" fmla="*/ 15 w 47"/>
              <a:gd name="T8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 h="28">
                <a:moveTo>
                  <a:pt x="15" y="0"/>
                </a:moveTo>
                <a:lnTo>
                  <a:pt x="18" y="0"/>
                </a:lnTo>
                <a:lnTo>
                  <a:pt x="21" y="0"/>
                </a:lnTo>
                <a:lnTo>
                  <a:pt x="21" y="3"/>
                </a:lnTo>
                <a:lnTo>
                  <a:pt x="25" y="3"/>
                </a:lnTo>
                <a:lnTo>
                  <a:pt x="28" y="3"/>
                </a:lnTo>
                <a:lnTo>
                  <a:pt x="31" y="3"/>
                </a:lnTo>
                <a:lnTo>
                  <a:pt x="34" y="6"/>
                </a:lnTo>
                <a:lnTo>
                  <a:pt x="34" y="9"/>
                </a:lnTo>
                <a:lnTo>
                  <a:pt x="37" y="12"/>
                </a:lnTo>
                <a:lnTo>
                  <a:pt x="37" y="9"/>
                </a:lnTo>
                <a:lnTo>
                  <a:pt x="40" y="6"/>
                </a:lnTo>
                <a:lnTo>
                  <a:pt x="43" y="6"/>
                </a:lnTo>
                <a:lnTo>
                  <a:pt x="43" y="6"/>
                </a:lnTo>
                <a:lnTo>
                  <a:pt x="47" y="9"/>
                </a:lnTo>
                <a:lnTo>
                  <a:pt x="47" y="12"/>
                </a:lnTo>
                <a:lnTo>
                  <a:pt x="47" y="15"/>
                </a:lnTo>
                <a:lnTo>
                  <a:pt x="47" y="15"/>
                </a:lnTo>
                <a:lnTo>
                  <a:pt x="47" y="18"/>
                </a:lnTo>
                <a:lnTo>
                  <a:pt x="47" y="22"/>
                </a:lnTo>
                <a:lnTo>
                  <a:pt x="47" y="22"/>
                </a:lnTo>
                <a:lnTo>
                  <a:pt x="47" y="25"/>
                </a:lnTo>
                <a:lnTo>
                  <a:pt x="43" y="28"/>
                </a:lnTo>
                <a:lnTo>
                  <a:pt x="34" y="28"/>
                </a:lnTo>
                <a:lnTo>
                  <a:pt x="34" y="25"/>
                </a:lnTo>
                <a:lnTo>
                  <a:pt x="31" y="22"/>
                </a:lnTo>
                <a:lnTo>
                  <a:pt x="25" y="22"/>
                </a:lnTo>
                <a:lnTo>
                  <a:pt x="25" y="22"/>
                </a:lnTo>
                <a:lnTo>
                  <a:pt x="28" y="25"/>
                </a:lnTo>
                <a:lnTo>
                  <a:pt x="28" y="25"/>
                </a:lnTo>
                <a:lnTo>
                  <a:pt x="21" y="22"/>
                </a:lnTo>
                <a:lnTo>
                  <a:pt x="12" y="18"/>
                </a:lnTo>
                <a:lnTo>
                  <a:pt x="12" y="18"/>
                </a:lnTo>
                <a:lnTo>
                  <a:pt x="6" y="18"/>
                </a:lnTo>
                <a:lnTo>
                  <a:pt x="3" y="15"/>
                </a:lnTo>
                <a:lnTo>
                  <a:pt x="0" y="15"/>
                </a:lnTo>
                <a:lnTo>
                  <a:pt x="0" y="15"/>
                </a:lnTo>
                <a:lnTo>
                  <a:pt x="0" y="12"/>
                </a:lnTo>
                <a:lnTo>
                  <a:pt x="0" y="12"/>
                </a:lnTo>
                <a:lnTo>
                  <a:pt x="3" y="6"/>
                </a:lnTo>
                <a:lnTo>
                  <a:pt x="9" y="6"/>
                </a:lnTo>
                <a:lnTo>
                  <a:pt x="12" y="6"/>
                </a:lnTo>
                <a:lnTo>
                  <a:pt x="12" y="3"/>
                </a:lnTo>
                <a:lnTo>
                  <a:pt x="15"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5" name="Freeform 183">
            <a:extLst>
              <a:ext uri="{FF2B5EF4-FFF2-40B4-BE49-F238E27FC236}">
                <a16:creationId xmlns:a16="http://schemas.microsoft.com/office/drawing/2014/main" id="{842829A1-0C84-FE0B-C144-7F4FC36884E2}"/>
              </a:ext>
            </a:extLst>
          </p:cNvPr>
          <p:cNvSpPr>
            <a:spLocks/>
          </p:cNvSpPr>
          <p:nvPr userDrawn="1"/>
        </p:nvSpPr>
        <p:spPr bwMode="auto">
          <a:xfrm>
            <a:off x="7679821" y="8203485"/>
            <a:ext cx="69845" cy="158750"/>
          </a:xfrm>
          <a:custGeom>
            <a:avLst/>
            <a:gdLst>
              <a:gd name="T0" fmla="*/ 0 w 22"/>
              <a:gd name="T1" fmla="*/ 13 h 50"/>
              <a:gd name="T2" fmla="*/ 0 w 22"/>
              <a:gd name="T3" fmla="*/ 13 h 50"/>
              <a:gd name="T4" fmla="*/ 0 w 22"/>
              <a:gd name="T5" fmla="*/ 10 h 50"/>
              <a:gd name="T6" fmla="*/ 4 w 22"/>
              <a:gd name="T7" fmla="*/ 10 h 50"/>
              <a:gd name="T8" fmla="*/ 4 w 22"/>
              <a:gd name="T9" fmla="*/ 10 h 50"/>
              <a:gd name="T10" fmla="*/ 4 w 22"/>
              <a:gd name="T11" fmla="*/ 10 h 50"/>
              <a:gd name="T12" fmla="*/ 7 w 22"/>
              <a:gd name="T13" fmla="*/ 10 h 50"/>
              <a:gd name="T14" fmla="*/ 7 w 22"/>
              <a:gd name="T15" fmla="*/ 10 h 50"/>
              <a:gd name="T16" fmla="*/ 7 w 22"/>
              <a:gd name="T17" fmla="*/ 10 h 50"/>
              <a:gd name="T18" fmla="*/ 10 w 22"/>
              <a:gd name="T19" fmla="*/ 10 h 50"/>
              <a:gd name="T20" fmla="*/ 10 w 22"/>
              <a:gd name="T21" fmla="*/ 7 h 50"/>
              <a:gd name="T22" fmla="*/ 13 w 22"/>
              <a:gd name="T23" fmla="*/ 3 h 50"/>
              <a:gd name="T24" fmla="*/ 13 w 22"/>
              <a:gd name="T25" fmla="*/ 0 h 50"/>
              <a:gd name="T26" fmla="*/ 16 w 22"/>
              <a:gd name="T27" fmla="*/ 0 h 50"/>
              <a:gd name="T28" fmla="*/ 16 w 22"/>
              <a:gd name="T29" fmla="*/ 0 h 50"/>
              <a:gd name="T30" fmla="*/ 16 w 22"/>
              <a:gd name="T31" fmla="*/ 0 h 50"/>
              <a:gd name="T32" fmla="*/ 19 w 22"/>
              <a:gd name="T33" fmla="*/ 0 h 50"/>
              <a:gd name="T34" fmla="*/ 22 w 22"/>
              <a:gd name="T35" fmla="*/ 0 h 50"/>
              <a:gd name="T36" fmla="*/ 22 w 22"/>
              <a:gd name="T37" fmla="*/ 3 h 50"/>
              <a:gd name="T38" fmla="*/ 22 w 22"/>
              <a:gd name="T39" fmla="*/ 3 h 50"/>
              <a:gd name="T40" fmla="*/ 22 w 22"/>
              <a:gd name="T41" fmla="*/ 13 h 50"/>
              <a:gd name="T42" fmla="*/ 19 w 22"/>
              <a:gd name="T43" fmla="*/ 16 h 50"/>
              <a:gd name="T44" fmla="*/ 19 w 22"/>
              <a:gd name="T45" fmla="*/ 22 h 50"/>
              <a:gd name="T46" fmla="*/ 19 w 22"/>
              <a:gd name="T47" fmla="*/ 25 h 50"/>
              <a:gd name="T48" fmla="*/ 19 w 22"/>
              <a:gd name="T49" fmla="*/ 32 h 50"/>
              <a:gd name="T50" fmla="*/ 19 w 22"/>
              <a:gd name="T51" fmla="*/ 38 h 50"/>
              <a:gd name="T52" fmla="*/ 13 w 22"/>
              <a:gd name="T53" fmla="*/ 44 h 50"/>
              <a:gd name="T54" fmla="*/ 10 w 22"/>
              <a:gd name="T55" fmla="*/ 44 h 50"/>
              <a:gd name="T56" fmla="*/ 7 w 22"/>
              <a:gd name="T57" fmla="*/ 47 h 50"/>
              <a:gd name="T58" fmla="*/ 7 w 22"/>
              <a:gd name="T59" fmla="*/ 50 h 50"/>
              <a:gd name="T60" fmla="*/ 7 w 22"/>
              <a:gd name="T61" fmla="*/ 50 h 50"/>
              <a:gd name="T62" fmla="*/ 4 w 22"/>
              <a:gd name="T63" fmla="*/ 50 h 50"/>
              <a:gd name="T64" fmla="*/ 0 w 22"/>
              <a:gd name="T65" fmla="*/ 50 h 50"/>
              <a:gd name="T66" fmla="*/ 0 w 22"/>
              <a:gd name="T67" fmla="*/ 50 h 50"/>
              <a:gd name="T68" fmla="*/ 0 w 22"/>
              <a:gd name="T69" fmla="*/ 13 h 50"/>
              <a:gd name="T70" fmla="*/ 0 w 22"/>
              <a:gd name="T71" fmla="*/ 1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 h="50">
                <a:moveTo>
                  <a:pt x="0" y="13"/>
                </a:moveTo>
                <a:lnTo>
                  <a:pt x="0" y="13"/>
                </a:lnTo>
                <a:lnTo>
                  <a:pt x="0" y="10"/>
                </a:lnTo>
                <a:lnTo>
                  <a:pt x="4" y="10"/>
                </a:lnTo>
                <a:lnTo>
                  <a:pt x="4" y="10"/>
                </a:lnTo>
                <a:lnTo>
                  <a:pt x="4" y="10"/>
                </a:lnTo>
                <a:lnTo>
                  <a:pt x="7" y="10"/>
                </a:lnTo>
                <a:lnTo>
                  <a:pt x="7" y="10"/>
                </a:lnTo>
                <a:lnTo>
                  <a:pt x="7" y="10"/>
                </a:lnTo>
                <a:lnTo>
                  <a:pt x="10" y="10"/>
                </a:lnTo>
                <a:lnTo>
                  <a:pt x="10" y="7"/>
                </a:lnTo>
                <a:lnTo>
                  <a:pt x="13" y="3"/>
                </a:lnTo>
                <a:lnTo>
                  <a:pt x="13" y="0"/>
                </a:lnTo>
                <a:lnTo>
                  <a:pt x="16" y="0"/>
                </a:lnTo>
                <a:lnTo>
                  <a:pt x="16" y="0"/>
                </a:lnTo>
                <a:lnTo>
                  <a:pt x="16" y="0"/>
                </a:lnTo>
                <a:lnTo>
                  <a:pt x="19" y="0"/>
                </a:lnTo>
                <a:lnTo>
                  <a:pt x="22" y="0"/>
                </a:lnTo>
                <a:lnTo>
                  <a:pt x="22" y="3"/>
                </a:lnTo>
                <a:lnTo>
                  <a:pt x="22" y="3"/>
                </a:lnTo>
                <a:lnTo>
                  <a:pt x="22" y="13"/>
                </a:lnTo>
                <a:lnTo>
                  <a:pt x="19" y="16"/>
                </a:lnTo>
                <a:lnTo>
                  <a:pt x="19" y="22"/>
                </a:lnTo>
                <a:lnTo>
                  <a:pt x="19" y="25"/>
                </a:lnTo>
                <a:lnTo>
                  <a:pt x="19" y="32"/>
                </a:lnTo>
                <a:lnTo>
                  <a:pt x="19" y="38"/>
                </a:lnTo>
                <a:lnTo>
                  <a:pt x="13" y="44"/>
                </a:lnTo>
                <a:lnTo>
                  <a:pt x="10" y="44"/>
                </a:lnTo>
                <a:lnTo>
                  <a:pt x="7" y="47"/>
                </a:lnTo>
                <a:lnTo>
                  <a:pt x="7" y="50"/>
                </a:lnTo>
                <a:lnTo>
                  <a:pt x="7" y="50"/>
                </a:lnTo>
                <a:lnTo>
                  <a:pt x="4" y="50"/>
                </a:lnTo>
                <a:lnTo>
                  <a:pt x="0" y="50"/>
                </a:lnTo>
                <a:lnTo>
                  <a:pt x="0" y="50"/>
                </a:lnTo>
                <a:lnTo>
                  <a:pt x="0" y="13"/>
                </a:lnTo>
                <a:lnTo>
                  <a:pt x="0" y="13"/>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6" name="Freeform 184">
            <a:extLst>
              <a:ext uri="{FF2B5EF4-FFF2-40B4-BE49-F238E27FC236}">
                <a16:creationId xmlns:a16="http://schemas.microsoft.com/office/drawing/2014/main" id="{093E5B98-960C-44A8-A13C-9269B6DFAD16}"/>
              </a:ext>
            </a:extLst>
          </p:cNvPr>
          <p:cNvSpPr>
            <a:spLocks/>
          </p:cNvSpPr>
          <p:nvPr userDrawn="1"/>
        </p:nvSpPr>
        <p:spPr bwMode="auto">
          <a:xfrm>
            <a:off x="7482983" y="8244759"/>
            <a:ext cx="257159" cy="266702"/>
          </a:xfrm>
          <a:custGeom>
            <a:avLst/>
            <a:gdLst>
              <a:gd name="T0" fmla="*/ 41 w 81"/>
              <a:gd name="T1" fmla="*/ 84 h 84"/>
              <a:gd name="T2" fmla="*/ 41 w 81"/>
              <a:gd name="T3" fmla="*/ 81 h 84"/>
              <a:gd name="T4" fmla="*/ 41 w 81"/>
              <a:gd name="T5" fmla="*/ 81 h 84"/>
              <a:gd name="T6" fmla="*/ 44 w 81"/>
              <a:gd name="T7" fmla="*/ 75 h 84"/>
              <a:gd name="T8" fmla="*/ 50 w 81"/>
              <a:gd name="T9" fmla="*/ 75 h 84"/>
              <a:gd name="T10" fmla="*/ 53 w 81"/>
              <a:gd name="T11" fmla="*/ 75 h 84"/>
              <a:gd name="T12" fmla="*/ 53 w 81"/>
              <a:gd name="T13" fmla="*/ 72 h 84"/>
              <a:gd name="T14" fmla="*/ 59 w 81"/>
              <a:gd name="T15" fmla="*/ 69 h 84"/>
              <a:gd name="T16" fmla="*/ 59 w 81"/>
              <a:gd name="T17" fmla="*/ 62 h 84"/>
              <a:gd name="T18" fmla="*/ 59 w 81"/>
              <a:gd name="T19" fmla="*/ 59 h 84"/>
              <a:gd name="T20" fmla="*/ 62 w 81"/>
              <a:gd name="T21" fmla="*/ 56 h 84"/>
              <a:gd name="T22" fmla="*/ 69 w 81"/>
              <a:gd name="T23" fmla="*/ 50 h 84"/>
              <a:gd name="T24" fmla="*/ 72 w 81"/>
              <a:gd name="T25" fmla="*/ 50 h 84"/>
              <a:gd name="T26" fmla="*/ 75 w 81"/>
              <a:gd name="T27" fmla="*/ 47 h 84"/>
              <a:gd name="T28" fmla="*/ 78 w 81"/>
              <a:gd name="T29" fmla="*/ 44 h 84"/>
              <a:gd name="T30" fmla="*/ 81 w 81"/>
              <a:gd name="T31" fmla="*/ 44 h 84"/>
              <a:gd name="T32" fmla="*/ 81 w 81"/>
              <a:gd name="T33" fmla="*/ 40 h 84"/>
              <a:gd name="T34" fmla="*/ 78 w 81"/>
              <a:gd name="T35" fmla="*/ 40 h 84"/>
              <a:gd name="T36" fmla="*/ 75 w 81"/>
              <a:gd name="T37" fmla="*/ 40 h 84"/>
              <a:gd name="T38" fmla="*/ 75 w 81"/>
              <a:gd name="T39" fmla="*/ 40 h 84"/>
              <a:gd name="T40" fmla="*/ 72 w 81"/>
              <a:gd name="T41" fmla="*/ 40 h 84"/>
              <a:gd name="T42" fmla="*/ 69 w 81"/>
              <a:gd name="T43" fmla="*/ 40 h 84"/>
              <a:gd name="T44" fmla="*/ 69 w 81"/>
              <a:gd name="T45" fmla="*/ 37 h 84"/>
              <a:gd name="T46" fmla="*/ 66 w 81"/>
              <a:gd name="T47" fmla="*/ 37 h 84"/>
              <a:gd name="T48" fmla="*/ 62 w 81"/>
              <a:gd name="T49" fmla="*/ 37 h 84"/>
              <a:gd name="T50" fmla="*/ 62 w 81"/>
              <a:gd name="T51" fmla="*/ 37 h 84"/>
              <a:gd name="T52" fmla="*/ 62 w 81"/>
              <a:gd name="T53" fmla="*/ 0 h 84"/>
              <a:gd name="T54" fmla="*/ 62 w 81"/>
              <a:gd name="T55" fmla="*/ 0 h 84"/>
              <a:gd name="T56" fmla="*/ 28 w 81"/>
              <a:gd name="T57" fmla="*/ 0 h 84"/>
              <a:gd name="T58" fmla="*/ 28 w 81"/>
              <a:gd name="T59" fmla="*/ 9 h 84"/>
              <a:gd name="T60" fmla="*/ 19 w 81"/>
              <a:gd name="T61" fmla="*/ 9 h 84"/>
              <a:gd name="T62" fmla="*/ 22 w 81"/>
              <a:gd name="T63" fmla="*/ 12 h 84"/>
              <a:gd name="T64" fmla="*/ 22 w 81"/>
              <a:gd name="T65" fmla="*/ 15 h 84"/>
              <a:gd name="T66" fmla="*/ 25 w 81"/>
              <a:gd name="T67" fmla="*/ 19 h 84"/>
              <a:gd name="T68" fmla="*/ 28 w 81"/>
              <a:gd name="T69" fmla="*/ 22 h 84"/>
              <a:gd name="T70" fmla="*/ 31 w 81"/>
              <a:gd name="T71" fmla="*/ 22 h 84"/>
              <a:gd name="T72" fmla="*/ 31 w 81"/>
              <a:gd name="T73" fmla="*/ 25 h 84"/>
              <a:gd name="T74" fmla="*/ 34 w 81"/>
              <a:gd name="T75" fmla="*/ 25 h 84"/>
              <a:gd name="T76" fmla="*/ 34 w 81"/>
              <a:gd name="T77" fmla="*/ 28 h 84"/>
              <a:gd name="T78" fmla="*/ 37 w 81"/>
              <a:gd name="T79" fmla="*/ 28 h 84"/>
              <a:gd name="T80" fmla="*/ 41 w 81"/>
              <a:gd name="T81" fmla="*/ 28 h 84"/>
              <a:gd name="T82" fmla="*/ 41 w 81"/>
              <a:gd name="T83" fmla="*/ 31 h 84"/>
              <a:gd name="T84" fmla="*/ 37 w 81"/>
              <a:gd name="T85" fmla="*/ 34 h 84"/>
              <a:gd name="T86" fmla="*/ 12 w 81"/>
              <a:gd name="T87" fmla="*/ 34 h 84"/>
              <a:gd name="T88" fmla="*/ 0 w 81"/>
              <a:gd name="T89" fmla="*/ 53 h 84"/>
              <a:gd name="T90" fmla="*/ 0 w 81"/>
              <a:gd name="T91" fmla="*/ 56 h 84"/>
              <a:gd name="T92" fmla="*/ 3 w 81"/>
              <a:gd name="T93" fmla="*/ 56 h 84"/>
              <a:gd name="T94" fmla="*/ 0 w 81"/>
              <a:gd name="T95" fmla="*/ 59 h 84"/>
              <a:gd name="T96" fmla="*/ 3 w 81"/>
              <a:gd name="T97" fmla="*/ 59 h 84"/>
              <a:gd name="T98" fmla="*/ 3 w 81"/>
              <a:gd name="T99" fmla="*/ 62 h 84"/>
              <a:gd name="T100" fmla="*/ 3 w 81"/>
              <a:gd name="T101" fmla="*/ 62 h 84"/>
              <a:gd name="T102" fmla="*/ 0 w 81"/>
              <a:gd name="T103" fmla="*/ 66 h 84"/>
              <a:gd name="T104" fmla="*/ 0 w 81"/>
              <a:gd name="T105" fmla="*/ 66 h 84"/>
              <a:gd name="T106" fmla="*/ 0 w 81"/>
              <a:gd name="T107" fmla="*/ 66 h 84"/>
              <a:gd name="T108" fmla="*/ 3 w 81"/>
              <a:gd name="T109" fmla="*/ 72 h 84"/>
              <a:gd name="T110" fmla="*/ 6 w 81"/>
              <a:gd name="T111" fmla="*/ 75 h 84"/>
              <a:gd name="T112" fmla="*/ 9 w 81"/>
              <a:gd name="T113" fmla="*/ 75 h 84"/>
              <a:gd name="T114" fmla="*/ 9 w 81"/>
              <a:gd name="T115" fmla="*/ 78 h 84"/>
              <a:gd name="T116" fmla="*/ 22 w 81"/>
              <a:gd name="T117" fmla="*/ 81 h 84"/>
              <a:gd name="T118" fmla="*/ 28 w 81"/>
              <a:gd name="T119" fmla="*/ 81 h 84"/>
              <a:gd name="T120" fmla="*/ 31 w 81"/>
              <a:gd name="T121" fmla="*/ 81 h 84"/>
              <a:gd name="T122" fmla="*/ 41 w 81"/>
              <a:gd name="T12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 h="84">
                <a:moveTo>
                  <a:pt x="41" y="84"/>
                </a:moveTo>
                <a:lnTo>
                  <a:pt x="41" y="81"/>
                </a:lnTo>
                <a:lnTo>
                  <a:pt x="41" y="81"/>
                </a:lnTo>
                <a:lnTo>
                  <a:pt x="44" y="75"/>
                </a:lnTo>
                <a:lnTo>
                  <a:pt x="50" y="75"/>
                </a:lnTo>
                <a:lnTo>
                  <a:pt x="53" y="75"/>
                </a:lnTo>
                <a:lnTo>
                  <a:pt x="53" y="72"/>
                </a:lnTo>
                <a:lnTo>
                  <a:pt x="59" y="69"/>
                </a:lnTo>
                <a:lnTo>
                  <a:pt x="59" y="62"/>
                </a:lnTo>
                <a:lnTo>
                  <a:pt x="59" y="59"/>
                </a:lnTo>
                <a:lnTo>
                  <a:pt x="62" y="56"/>
                </a:lnTo>
                <a:lnTo>
                  <a:pt x="69" y="50"/>
                </a:lnTo>
                <a:lnTo>
                  <a:pt x="72" y="50"/>
                </a:lnTo>
                <a:lnTo>
                  <a:pt x="75" y="47"/>
                </a:lnTo>
                <a:lnTo>
                  <a:pt x="78" y="44"/>
                </a:lnTo>
                <a:lnTo>
                  <a:pt x="81" y="44"/>
                </a:lnTo>
                <a:lnTo>
                  <a:pt x="81" y="40"/>
                </a:lnTo>
                <a:lnTo>
                  <a:pt x="78" y="40"/>
                </a:lnTo>
                <a:lnTo>
                  <a:pt x="75" y="40"/>
                </a:lnTo>
                <a:lnTo>
                  <a:pt x="75" y="40"/>
                </a:lnTo>
                <a:lnTo>
                  <a:pt x="72" y="40"/>
                </a:lnTo>
                <a:lnTo>
                  <a:pt x="69" y="40"/>
                </a:lnTo>
                <a:lnTo>
                  <a:pt x="69" y="37"/>
                </a:lnTo>
                <a:lnTo>
                  <a:pt x="66" y="37"/>
                </a:lnTo>
                <a:lnTo>
                  <a:pt x="62" y="37"/>
                </a:lnTo>
                <a:lnTo>
                  <a:pt x="62" y="37"/>
                </a:lnTo>
                <a:lnTo>
                  <a:pt x="62" y="0"/>
                </a:lnTo>
                <a:lnTo>
                  <a:pt x="62" y="0"/>
                </a:lnTo>
                <a:lnTo>
                  <a:pt x="28" y="0"/>
                </a:lnTo>
                <a:lnTo>
                  <a:pt x="28" y="9"/>
                </a:lnTo>
                <a:lnTo>
                  <a:pt x="19" y="9"/>
                </a:lnTo>
                <a:lnTo>
                  <a:pt x="22" y="12"/>
                </a:lnTo>
                <a:lnTo>
                  <a:pt x="22" y="15"/>
                </a:lnTo>
                <a:lnTo>
                  <a:pt x="25" y="19"/>
                </a:lnTo>
                <a:lnTo>
                  <a:pt x="28" y="22"/>
                </a:lnTo>
                <a:lnTo>
                  <a:pt x="31" y="22"/>
                </a:lnTo>
                <a:lnTo>
                  <a:pt x="31" y="25"/>
                </a:lnTo>
                <a:lnTo>
                  <a:pt x="34" y="25"/>
                </a:lnTo>
                <a:lnTo>
                  <a:pt x="34" y="28"/>
                </a:lnTo>
                <a:lnTo>
                  <a:pt x="37" y="28"/>
                </a:lnTo>
                <a:lnTo>
                  <a:pt x="41" y="28"/>
                </a:lnTo>
                <a:lnTo>
                  <a:pt x="41" y="31"/>
                </a:lnTo>
                <a:lnTo>
                  <a:pt x="37" y="34"/>
                </a:lnTo>
                <a:lnTo>
                  <a:pt x="12" y="34"/>
                </a:lnTo>
                <a:lnTo>
                  <a:pt x="0" y="53"/>
                </a:lnTo>
                <a:lnTo>
                  <a:pt x="0" y="56"/>
                </a:lnTo>
                <a:lnTo>
                  <a:pt x="3" y="56"/>
                </a:lnTo>
                <a:lnTo>
                  <a:pt x="0" y="59"/>
                </a:lnTo>
                <a:lnTo>
                  <a:pt x="3" y="59"/>
                </a:lnTo>
                <a:lnTo>
                  <a:pt x="3" y="62"/>
                </a:lnTo>
                <a:lnTo>
                  <a:pt x="3" y="62"/>
                </a:lnTo>
                <a:lnTo>
                  <a:pt x="0" y="66"/>
                </a:lnTo>
                <a:lnTo>
                  <a:pt x="0" y="66"/>
                </a:lnTo>
                <a:lnTo>
                  <a:pt x="0" y="66"/>
                </a:lnTo>
                <a:lnTo>
                  <a:pt x="3" y="72"/>
                </a:lnTo>
                <a:lnTo>
                  <a:pt x="6" y="75"/>
                </a:lnTo>
                <a:lnTo>
                  <a:pt x="9" y="75"/>
                </a:lnTo>
                <a:lnTo>
                  <a:pt x="9" y="78"/>
                </a:lnTo>
                <a:lnTo>
                  <a:pt x="22" y="81"/>
                </a:lnTo>
                <a:lnTo>
                  <a:pt x="28" y="81"/>
                </a:lnTo>
                <a:lnTo>
                  <a:pt x="31" y="81"/>
                </a:lnTo>
                <a:lnTo>
                  <a:pt x="41" y="8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7" name="Freeform 185">
            <a:extLst>
              <a:ext uri="{FF2B5EF4-FFF2-40B4-BE49-F238E27FC236}">
                <a16:creationId xmlns:a16="http://schemas.microsoft.com/office/drawing/2014/main" id="{2FA0F238-30F0-6052-AD94-219AC3ED2BDC}"/>
              </a:ext>
            </a:extLst>
          </p:cNvPr>
          <p:cNvSpPr>
            <a:spLocks noEditPoints="1"/>
          </p:cNvSpPr>
          <p:nvPr userDrawn="1"/>
        </p:nvSpPr>
        <p:spPr bwMode="auto">
          <a:xfrm>
            <a:off x="6073376" y="7130332"/>
            <a:ext cx="1787410" cy="1323976"/>
          </a:xfrm>
          <a:custGeom>
            <a:avLst/>
            <a:gdLst>
              <a:gd name="T0" fmla="*/ 213 w 563"/>
              <a:gd name="T1" fmla="*/ 41 h 417"/>
              <a:gd name="T2" fmla="*/ 228 w 563"/>
              <a:gd name="T3" fmla="*/ 57 h 417"/>
              <a:gd name="T4" fmla="*/ 235 w 563"/>
              <a:gd name="T5" fmla="*/ 82 h 417"/>
              <a:gd name="T6" fmla="*/ 250 w 563"/>
              <a:gd name="T7" fmla="*/ 94 h 417"/>
              <a:gd name="T8" fmla="*/ 269 w 563"/>
              <a:gd name="T9" fmla="*/ 91 h 417"/>
              <a:gd name="T10" fmla="*/ 291 w 563"/>
              <a:gd name="T11" fmla="*/ 79 h 417"/>
              <a:gd name="T12" fmla="*/ 313 w 563"/>
              <a:gd name="T13" fmla="*/ 107 h 417"/>
              <a:gd name="T14" fmla="*/ 328 w 563"/>
              <a:gd name="T15" fmla="*/ 141 h 417"/>
              <a:gd name="T16" fmla="*/ 350 w 563"/>
              <a:gd name="T17" fmla="*/ 169 h 417"/>
              <a:gd name="T18" fmla="*/ 366 w 563"/>
              <a:gd name="T19" fmla="*/ 176 h 417"/>
              <a:gd name="T20" fmla="*/ 356 w 563"/>
              <a:gd name="T21" fmla="*/ 194 h 417"/>
              <a:gd name="T22" fmla="*/ 347 w 563"/>
              <a:gd name="T23" fmla="*/ 248 h 417"/>
              <a:gd name="T24" fmla="*/ 353 w 563"/>
              <a:gd name="T25" fmla="*/ 279 h 417"/>
              <a:gd name="T26" fmla="*/ 385 w 563"/>
              <a:gd name="T27" fmla="*/ 329 h 417"/>
              <a:gd name="T28" fmla="*/ 428 w 563"/>
              <a:gd name="T29" fmla="*/ 335 h 417"/>
              <a:gd name="T30" fmla="*/ 463 w 563"/>
              <a:gd name="T31" fmla="*/ 341 h 417"/>
              <a:gd name="T32" fmla="*/ 481 w 563"/>
              <a:gd name="T33" fmla="*/ 310 h 417"/>
              <a:gd name="T34" fmla="*/ 532 w 563"/>
              <a:gd name="T35" fmla="*/ 273 h 417"/>
              <a:gd name="T36" fmla="*/ 557 w 563"/>
              <a:gd name="T37" fmla="*/ 291 h 417"/>
              <a:gd name="T38" fmla="*/ 541 w 563"/>
              <a:gd name="T39" fmla="*/ 323 h 417"/>
              <a:gd name="T40" fmla="*/ 532 w 563"/>
              <a:gd name="T41" fmla="*/ 329 h 417"/>
              <a:gd name="T42" fmla="*/ 513 w 563"/>
              <a:gd name="T43" fmla="*/ 348 h 417"/>
              <a:gd name="T44" fmla="*/ 466 w 563"/>
              <a:gd name="T45" fmla="*/ 366 h 417"/>
              <a:gd name="T46" fmla="*/ 456 w 563"/>
              <a:gd name="T47" fmla="*/ 385 h 417"/>
              <a:gd name="T48" fmla="*/ 441 w 563"/>
              <a:gd name="T49" fmla="*/ 413 h 417"/>
              <a:gd name="T50" fmla="*/ 403 w 563"/>
              <a:gd name="T51" fmla="*/ 382 h 417"/>
              <a:gd name="T52" fmla="*/ 400 w 563"/>
              <a:gd name="T53" fmla="*/ 382 h 417"/>
              <a:gd name="T54" fmla="*/ 394 w 563"/>
              <a:gd name="T55" fmla="*/ 385 h 417"/>
              <a:gd name="T56" fmla="*/ 328 w 563"/>
              <a:gd name="T57" fmla="*/ 382 h 417"/>
              <a:gd name="T58" fmla="*/ 285 w 563"/>
              <a:gd name="T59" fmla="*/ 366 h 417"/>
              <a:gd name="T60" fmla="*/ 238 w 563"/>
              <a:gd name="T61" fmla="*/ 341 h 417"/>
              <a:gd name="T62" fmla="*/ 203 w 563"/>
              <a:gd name="T63" fmla="*/ 320 h 417"/>
              <a:gd name="T64" fmla="*/ 194 w 563"/>
              <a:gd name="T65" fmla="*/ 291 h 417"/>
              <a:gd name="T66" fmla="*/ 194 w 563"/>
              <a:gd name="T67" fmla="*/ 251 h 417"/>
              <a:gd name="T68" fmla="*/ 150 w 563"/>
              <a:gd name="T69" fmla="*/ 198 h 417"/>
              <a:gd name="T70" fmla="*/ 131 w 563"/>
              <a:gd name="T71" fmla="*/ 176 h 417"/>
              <a:gd name="T72" fmla="*/ 131 w 563"/>
              <a:gd name="T73" fmla="*/ 154 h 417"/>
              <a:gd name="T74" fmla="*/ 110 w 563"/>
              <a:gd name="T75" fmla="*/ 126 h 417"/>
              <a:gd name="T76" fmla="*/ 91 w 563"/>
              <a:gd name="T77" fmla="*/ 104 h 417"/>
              <a:gd name="T78" fmla="*/ 75 w 563"/>
              <a:gd name="T79" fmla="*/ 69 h 417"/>
              <a:gd name="T80" fmla="*/ 66 w 563"/>
              <a:gd name="T81" fmla="*/ 35 h 417"/>
              <a:gd name="T82" fmla="*/ 41 w 563"/>
              <a:gd name="T83" fmla="*/ 38 h 417"/>
              <a:gd name="T84" fmla="*/ 56 w 563"/>
              <a:gd name="T85" fmla="*/ 91 h 417"/>
              <a:gd name="T86" fmla="*/ 75 w 563"/>
              <a:gd name="T87" fmla="*/ 122 h 417"/>
              <a:gd name="T88" fmla="*/ 88 w 563"/>
              <a:gd name="T89" fmla="*/ 144 h 417"/>
              <a:gd name="T90" fmla="*/ 97 w 563"/>
              <a:gd name="T91" fmla="*/ 182 h 417"/>
              <a:gd name="T92" fmla="*/ 106 w 563"/>
              <a:gd name="T93" fmla="*/ 204 h 417"/>
              <a:gd name="T94" fmla="*/ 113 w 563"/>
              <a:gd name="T95" fmla="*/ 235 h 417"/>
              <a:gd name="T96" fmla="*/ 85 w 563"/>
              <a:gd name="T97" fmla="*/ 201 h 417"/>
              <a:gd name="T98" fmla="*/ 72 w 563"/>
              <a:gd name="T99" fmla="*/ 157 h 417"/>
              <a:gd name="T100" fmla="*/ 47 w 563"/>
              <a:gd name="T101" fmla="*/ 141 h 417"/>
              <a:gd name="T102" fmla="*/ 31 w 563"/>
              <a:gd name="T103" fmla="*/ 119 h 417"/>
              <a:gd name="T104" fmla="*/ 44 w 563"/>
              <a:gd name="T105" fmla="*/ 110 h 417"/>
              <a:gd name="T106" fmla="*/ 22 w 563"/>
              <a:gd name="T107" fmla="*/ 72 h 417"/>
              <a:gd name="T108" fmla="*/ 13 w 563"/>
              <a:gd name="T109" fmla="*/ 38 h 417"/>
              <a:gd name="T110" fmla="*/ 103 w 563"/>
              <a:gd name="T111" fmla="*/ 188 h 417"/>
              <a:gd name="T112" fmla="*/ 106 w 563"/>
              <a:gd name="T113" fmla="*/ 201 h 417"/>
              <a:gd name="T114" fmla="*/ 356 w 563"/>
              <a:gd name="T115" fmla="*/ 194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63" h="417">
                <a:moveTo>
                  <a:pt x="0" y="4"/>
                </a:moveTo>
                <a:lnTo>
                  <a:pt x="47" y="0"/>
                </a:lnTo>
                <a:lnTo>
                  <a:pt x="50" y="4"/>
                </a:lnTo>
                <a:lnTo>
                  <a:pt x="47" y="4"/>
                </a:lnTo>
                <a:lnTo>
                  <a:pt x="116" y="35"/>
                </a:lnTo>
                <a:lnTo>
                  <a:pt x="172" y="38"/>
                </a:lnTo>
                <a:lnTo>
                  <a:pt x="172" y="29"/>
                </a:lnTo>
                <a:lnTo>
                  <a:pt x="203" y="32"/>
                </a:lnTo>
                <a:lnTo>
                  <a:pt x="206" y="32"/>
                </a:lnTo>
                <a:lnTo>
                  <a:pt x="210" y="38"/>
                </a:lnTo>
                <a:lnTo>
                  <a:pt x="213" y="41"/>
                </a:lnTo>
                <a:lnTo>
                  <a:pt x="213" y="41"/>
                </a:lnTo>
                <a:lnTo>
                  <a:pt x="213" y="41"/>
                </a:lnTo>
                <a:lnTo>
                  <a:pt x="216" y="44"/>
                </a:lnTo>
                <a:lnTo>
                  <a:pt x="216" y="47"/>
                </a:lnTo>
                <a:lnTo>
                  <a:pt x="219" y="47"/>
                </a:lnTo>
                <a:lnTo>
                  <a:pt x="222" y="51"/>
                </a:lnTo>
                <a:lnTo>
                  <a:pt x="222" y="51"/>
                </a:lnTo>
                <a:lnTo>
                  <a:pt x="219" y="54"/>
                </a:lnTo>
                <a:lnTo>
                  <a:pt x="222" y="54"/>
                </a:lnTo>
                <a:lnTo>
                  <a:pt x="225" y="57"/>
                </a:lnTo>
                <a:lnTo>
                  <a:pt x="228" y="57"/>
                </a:lnTo>
                <a:lnTo>
                  <a:pt x="228" y="63"/>
                </a:lnTo>
                <a:lnTo>
                  <a:pt x="228" y="63"/>
                </a:lnTo>
                <a:lnTo>
                  <a:pt x="228" y="63"/>
                </a:lnTo>
                <a:lnTo>
                  <a:pt x="231" y="66"/>
                </a:lnTo>
                <a:lnTo>
                  <a:pt x="231" y="69"/>
                </a:lnTo>
                <a:lnTo>
                  <a:pt x="231" y="72"/>
                </a:lnTo>
                <a:lnTo>
                  <a:pt x="231" y="72"/>
                </a:lnTo>
                <a:lnTo>
                  <a:pt x="228" y="72"/>
                </a:lnTo>
                <a:lnTo>
                  <a:pt x="228" y="72"/>
                </a:lnTo>
                <a:lnTo>
                  <a:pt x="231" y="79"/>
                </a:lnTo>
                <a:lnTo>
                  <a:pt x="235" y="82"/>
                </a:lnTo>
                <a:lnTo>
                  <a:pt x="238" y="85"/>
                </a:lnTo>
                <a:lnTo>
                  <a:pt x="238" y="85"/>
                </a:lnTo>
                <a:lnTo>
                  <a:pt x="238" y="85"/>
                </a:lnTo>
                <a:lnTo>
                  <a:pt x="238" y="85"/>
                </a:lnTo>
                <a:lnTo>
                  <a:pt x="241" y="85"/>
                </a:lnTo>
                <a:lnTo>
                  <a:pt x="241" y="88"/>
                </a:lnTo>
                <a:lnTo>
                  <a:pt x="244" y="88"/>
                </a:lnTo>
                <a:lnTo>
                  <a:pt x="244" y="91"/>
                </a:lnTo>
                <a:lnTo>
                  <a:pt x="244" y="91"/>
                </a:lnTo>
                <a:lnTo>
                  <a:pt x="247" y="91"/>
                </a:lnTo>
                <a:lnTo>
                  <a:pt x="250" y="94"/>
                </a:lnTo>
                <a:lnTo>
                  <a:pt x="250" y="94"/>
                </a:lnTo>
                <a:lnTo>
                  <a:pt x="253" y="94"/>
                </a:lnTo>
                <a:lnTo>
                  <a:pt x="260" y="97"/>
                </a:lnTo>
                <a:lnTo>
                  <a:pt x="260" y="101"/>
                </a:lnTo>
                <a:lnTo>
                  <a:pt x="263" y="101"/>
                </a:lnTo>
                <a:lnTo>
                  <a:pt x="263" y="97"/>
                </a:lnTo>
                <a:lnTo>
                  <a:pt x="263" y="97"/>
                </a:lnTo>
                <a:lnTo>
                  <a:pt x="266" y="94"/>
                </a:lnTo>
                <a:lnTo>
                  <a:pt x="269" y="94"/>
                </a:lnTo>
                <a:lnTo>
                  <a:pt x="269" y="94"/>
                </a:lnTo>
                <a:lnTo>
                  <a:pt x="269" y="91"/>
                </a:lnTo>
                <a:lnTo>
                  <a:pt x="269" y="91"/>
                </a:lnTo>
                <a:lnTo>
                  <a:pt x="272" y="85"/>
                </a:lnTo>
                <a:lnTo>
                  <a:pt x="275" y="82"/>
                </a:lnTo>
                <a:lnTo>
                  <a:pt x="278" y="82"/>
                </a:lnTo>
                <a:lnTo>
                  <a:pt x="278" y="82"/>
                </a:lnTo>
                <a:lnTo>
                  <a:pt x="278" y="82"/>
                </a:lnTo>
                <a:lnTo>
                  <a:pt x="281" y="82"/>
                </a:lnTo>
                <a:lnTo>
                  <a:pt x="281" y="79"/>
                </a:lnTo>
                <a:lnTo>
                  <a:pt x="285" y="79"/>
                </a:lnTo>
                <a:lnTo>
                  <a:pt x="288" y="82"/>
                </a:lnTo>
                <a:lnTo>
                  <a:pt x="291" y="79"/>
                </a:lnTo>
                <a:lnTo>
                  <a:pt x="294" y="82"/>
                </a:lnTo>
                <a:lnTo>
                  <a:pt x="294" y="82"/>
                </a:lnTo>
                <a:lnTo>
                  <a:pt x="297" y="82"/>
                </a:lnTo>
                <a:lnTo>
                  <a:pt x="300" y="82"/>
                </a:lnTo>
                <a:lnTo>
                  <a:pt x="300" y="85"/>
                </a:lnTo>
                <a:lnTo>
                  <a:pt x="306" y="88"/>
                </a:lnTo>
                <a:lnTo>
                  <a:pt x="310" y="94"/>
                </a:lnTo>
                <a:lnTo>
                  <a:pt x="310" y="97"/>
                </a:lnTo>
                <a:lnTo>
                  <a:pt x="310" y="101"/>
                </a:lnTo>
                <a:lnTo>
                  <a:pt x="313" y="104"/>
                </a:lnTo>
                <a:lnTo>
                  <a:pt x="313" y="107"/>
                </a:lnTo>
                <a:lnTo>
                  <a:pt x="313" y="107"/>
                </a:lnTo>
                <a:lnTo>
                  <a:pt x="316" y="110"/>
                </a:lnTo>
                <a:lnTo>
                  <a:pt x="319" y="119"/>
                </a:lnTo>
                <a:lnTo>
                  <a:pt x="319" y="119"/>
                </a:lnTo>
                <a:lnTo>
                  <a:pt x="319" y="122"/>
                </a:lnTo>
                <a:lnTo>
                  <a:pt x="322" y="122"/>
                </a:lnTo>
                <a:lnTo>
                  <a:pt x="325" y="126"/>
                </a:lnTo>
                <a:lnTo>
                  <a:pt x="325" y="129"/>
                </a:lnTo>
                <a:lnTo>
                  <a:pt x="328" y="135"/>
                </a:lnTo>
                <a:lnTo>
                  <a:pt x="328" y="138"/>
                </a:lnTo>
                <a:lnTo>
                  <a:pt x="328" y="141"/>
                </a:lnTo>
                <a:lnTo>
                  <a:pt x="328" y="141"/>
                </a:lnTo>
                <a:lnTo>
                  <a:pt x="328" y="144"/>
                </a:lnTo>
                <a:lnTo>
                  <a:pt x="331" y="154"/>
                </a:lnTo>
                <a:lnTo>
                  <a:pt x="331" y="160"/>
                </a:lnTo>
                <a:lnTo>
                  <a:pt x="335" y="163"/>
                </a:lnTo>
                <a:lnTo>
                  <a:pt x="335" y="163"/>
                </a:lnTo>
                <a:lnTo>
                  <a:pt x="338" y="163"/>
                </a:lnTo>
                <a:lnTo>
                  <a:pt x="338" y="163"/>
                </a:lnTo>
                <a:lnTo>
                  <a:pt x="341" y="163"/>
                </a:lnTo>
                <a:lnTo>
                  <a:pt x="344" y="166"/>
                </a:lnTo>
                <a:lnTo>
                  <a:pt x="350" y="169"/>
                </a:lnTo>
                <a:lnTo>
                  <a:pt x="356" y="173"/>
                </a:lnTo>
                <a:lnTo>
                  <a:pt x="360" y="173"/>
                </a:lnTo>
                <a:lnTo>
                  <a:pt x="360" y="176"/>
                </a:lnTo>
                <a:lnTo>
                  <a:pt x="363" y="176"/>
                </a:lnTo>
                <a:lnTo>
                  <a:pt x="360" y="179"/>
                </a:lnTo>
                <a:lnTo>
                  <a:pt x="363" y="176"/>
                </a:lnTo>
                <a:lnTo>
                  <a:pt x="366" y="169"/>
                </a:lnTo>
                <a:lnTo>
                  <a:pt x="369" y="169"/>
                </a:lnTo>
                <a:lnTo>
                  <a:pt x="366" y="169"/>
                </a:lnTo>
                <a:lnTo>
                  <a:pt x="366" y="176"/>
                </a:lnTo>
                <a:lnTo>
                  <a:pt x="366" y="176"/>
                </a:lnTo>
                <a:lnTo>
                  <a:pt x="363" y="182"/>
                </a:lnTo>
                <a:lnTo>
                  <a:pt x="360" y="185"/>
                </a:lnTo>
                <a:lnTo>
                  <a:pt x="360" y="188"/>
                </a:lnTo>
                <a:lnTo>
                  <a:pt x="360" y="188"/>
                </a:lnTo>
                <a:lnTo>
                  <a:pt x="360" y="188"/>
                </a:lnTo>
                <a:lnTo>
                  <a:pt x="360" y="185"/>
                </a:lnTo>
                <a:lnTo>
                  <a:pt x="356" y="182"/>
                </a:lnTo>
                <a:lnTo>
                  <a:pt x="356" y="188"/>
                </a:lnTo>
                <a:lnTo>
                  <a:pt x="353" y="191"/>
                </a:lnTo>
                <a:lnTo>
                  <a:pt x="356" y="194"/>
                </a:lnTo>
                <a:lnTo>
                  <a:pt x="356" y="194"/>
                </a:lnTo>
                <a:lnTo>
                  <a:pt x="353" y="201"/>
                </a:lnTo>
                <a:lnTo>
                  <a:pt x="353" y="204"/>
                </a:lnTo>
                <a:lnTo>
                  <a:pt x="353" y="207"/>
                </a:lnTo>
                <a:lnTo>
                  <a:pt x="353" y="210"/>
                </a:lnTo>
                <a:lnTo>
                  <a:pt x="353" y="213"/>
                </a:lnTo>
                <a:lnTo>
                  <a:pt x="353" y="216"/>
                </a:lnTo>
                <a:lnTo>
                  <a:pt x="350" y="226"/>
                </a:lnTo>
                <a:lnTo>
                  <a:pt x="350" y="232"/>
                </a:lnTo>
                <a:lnTo>
                  <a:pt x="350" y="241"/>
                </a:lnTo>
                <a:lnTo>
                  <a:pt x="347" y="244"/>
                </a:lnTo>
                <a:lnTo>
                  <a:pt x="347" y="248"/>
                </a:lnTo>
                <a:lnTo>
                  <a:pt x="350" y="254"/>
                </a:lnTo>
                <a:lnTo>
                  <a:pt x="347" y="260"/>
                </a:lnTo>
                <a:lnTo>
                  <a:pt x="353" y="266"/>
                </a:lnTo>
                <a:lnTo>
                  <a:pt x="353" y="273"/>
                </a:lnTo>
                <a:lnTo>
                  <a:pt x="353" y="273"/>
                </a:lnTo>
                <a:lnTo>
                  <a:pt x="353" y="266"/>
                </a:lnTo>
                <a:lnTo>
                  <a:pt x="347" y="260"/>
                </a:lnTo>
                <a:lnTo>
                  <a:pt x="347" y="266"/>
                </a:lnTo>
                <a:lnTo>
                  <a:pt x="350" y="269"/>
                </a:lnTo>
                <a:lnTo>
                  <a:pt x="353" y="276"/>
                </a:lnTo>
                <a:lnTo>
                  <a:pt x="353" y="279"/>
                </a:lnTo>
                <a:lnTo>
                  <a:pt x="353" y="282"/>
                </a:lnTo>
                <a:lnTo>
                  <a:pt x="353" y="285"/>
                </a:lnTo>
                <a:lnTo>
                  <a:pt x="356" y="288"/>
                </a:lnTo>
                <a:lnTo>
                  <a:pt x="366" y="301"/>
                </a:lnTo>
                <a:lnTo>
                  <a:pt x="369" y="304"/>
                </a:lnTo>
                <a:lnTo>
                  <a:pt x="372" y="310"/>
                </a:lnTo>
                <a:lnTo>
                  <a:pt x="372" y="313"/>
                </a:lnTo>
                <a:lnTo>
                  <a:pt x="372" y="316"/>
                </a:lnTo>
                <a:lnTo>
                  <a:pt x="381" y="326"/>
                </a:lnTo>
                <a:lnTo>
                  <a:pt x="381" y="329"/>
                </a:lnTo>
                <a:lnTo>
                  <a:pt x="385" y="329"/>
                </a:lnTo>
                <a:lnTo>
                  <a:pt x="391" y="329"/>
                </a:lnTo>
                <a:lnTo>
                  <a:pt x="391" y="329"/>
                </a:lnTo>
                <a:lnTo>
                  <a:pt x="397" y="332"/>
                </a:lnTo>
                <a:lnTo>
                  <a:pt x="400" y="338"/>
                </a:lnTo>
                <a:lnTo>
                  <a:pt x="403" y="345"/>
                </a:lnTo>
                <a:lnTo>
                  <a:pt x="406" y="341"/>
                </a:lnTo>
                <a:lnTo>
                  <a:pt x="413" y="341"/>
                </a:lnTo>
                <a:lnTo>
                  <a:pt x="416" y="341"/>
                </a:lnTo>
                <a:lnTo>
                  <a:pt x="419" y="341"/>
                </a:lnTo>
                <a:lnTo>
                  <a:pt x="425" y="338"/>
                </a:lnTo>
                <a:lnTo>
                  <a:pt x="428" y="335"/>
                </a:lnTo>
                <a:lnTo>
                  <a:pt x="435" y="335"/>
                </a:lnTo>
                <a:lnTo>
                  <a:pt x="438" y="335"/>
                </a:lnTo>
                <a:lnTo>
                  <a:pt x="444" y="332"/>
                </a:lnTo>
                <a:lnTo>
                  <a:pt x="447" y="332"/>
                </a:lnTo>
                <a:lnTo>
                  <a:pt x="453" y="332"/>
                </a:lnTo>
                <a:lnTo>
                  <a:pt x="453" y="332"/>
                </a:lnTo>
                <a:lnTo>
                  <a:pt x="460" y="332"/>
                </a:lnTo>
                <a:lnTo>
                  <a:pt x="456" y="335"/>
                </a:lnTo>
                <a:lnTo>
                  <a:pt x="453" y="338"/>
                </a:lnTo>
                <a:lnTo>
                  <a:pt x="460" y="338"/>
                </a:lnTo>
                <a:lnTo>
                  <a:pt x="463" y="341"/>
                </a:lnTo>
                <a:lnTo>
                  <a:pt x="463" y="338"/>
                </a:lnTo>
                <a:lnTo>
                  <a:pt x="466" y="338"/>
                </a:lnTo>
                <a:lnTo>
                  <a:pt x="469" y="335"/>
                </a:lnTo>
                <a:lnTo>
                  <a:pt x="469" y="329"/>
                </a:lnTo>
                <a:lnTo>
                  <a:pt x="469" y="326"/>
                </a:lnTo>
                <a:lnTo>
                  <a:pt x="466" y="329"/>
                </a:lnTo>
                <a:lnTo>
                  <a:pt x="466" y="326"/>
                </a:lnTo>
                <a:lnTo>
                  <a:pt x="472" y="323"/>
                </a:lnTo>
                <a:lnTo>
                  <a:pt x="475" y="323"/>
                </a:lnTo>
                <a:lnTo>
                  <a:pt x="481" y="316"/>
                </a:lnTo>
                <a:lnTo>
                  <a:pt x="481" y="310"/>
                </a:lnTo>
                <a:lnTo>
                  <a:pt x="488" y="304"/>
                </a:lnTo>
                <a:lnTo>
                  <a:pt x="488" y="301"/>
                </a:lnTo>
                <a:lnTo>
                  <a:pt x="488" y="288"/>
                </a:lnTo>
                <a:lnTo>
                  <a:pt x="494" y="282"/>
                </a:lnTo>
                <a:lnTo>
                  <a:pt x="491" y="282"/>
                </a:lnTo>
                <a:lnTo>
                  <a:pt x="491" y="279"/>
                </a:lnTo>
                <a:lnTo>
                  <a:pt x="503" y="276"/>
                </a:lnTo>
                <a:lnTo>
                  <a:pt x="522" y="276"/>
                </a:lnTo>
                <a:lnTo>
                  <a:pt x="525" y="269"/>
                </a:lnTo>
                <a:lnTo>
                  <a:pt x="528" y="269"/>
                </a:lnTo>
                <a:lnTo>
                  <a:pt x="532" y="273"/>
                </a:lnTo>
                <a:lnTo>
                  <a:pt x="535" y="269"/>
                </a:lnTo>
                <a:lnTo>
                  <a:pt x="535" y="266"/>
                </a:lnTo>
                <a:lnTo>
                  <a:pt x="544" y="266"/>
                </a:lnTo>
                <a:lnTo>
                  <a:pt x="550" y="269"/>
                </a:lnTo>
                <a:lnTo>
                  <a:pt x="553" y="269"/>
                </a:lnTo>
                <a:lnTo>
                  <a:pt x="553" y="266"/>
                </a:lnTo>
                <a:lnTo>
                  <a:pt x="557" y="266"/>
                </a:lnTo>
                <a:lnTo>
                  <a:pt x="563" y="273"/>
                </a:lnTo>
                <a:lnTo>
                  <a:pt x="563" y="279"/>
                </a:lnTo>
                <a:lnTo>
                  <a:pt x="560" y="282"/>
                </a:lnTo>
                <a:lnTo>
                  <a:pt x="557" y="291"/>
                </a:lnTo>
                <a:lnTo>
                  <a:pt x="547" y="298"/>
                </a:lnTo>
                <a:lnTo>
                  <a:pt x="544" y="301"/>
                </a:lnTo>
                <a:lnTo>
                  <a:pt x="544" y="307"/>
                </a:lnTo>
                <a:lnTo>
                  <a:pt x="541" y="307"/>
                </a:lnTo>
                <a:lnTo>
                  <a:pt x="541" y="310"/>
                </a:lnTo>
                <a:lnTo>
                  <a:pt x="541" y="313"/>
                </a:lnTo>
                <a:lnTo>
                  <a:pt x="544" y="313"/>
                </a:lnTo>
                <a:lnTo>
                  <a:pt x="544" y="316"/>
                </a:lnTo>
                <a:lnTo>
                  <a:pt x="541" y="320"/>
                </a:lnTo>
                <a:lnTo>
                  <a:pt x="541" y="323"/>
                </a:lnTo>
                <a:lnTo>
                  <a:pt x="541" y="323"/>
                </a:lnTo>
                <a:lnTo>
                  <a:pt x="544" y="320"/>
                </a:lnTo>
                <a:lnTo>
                  <a:pt x="547" y="320"/>
                </a:lnTo>
                <a:lnTo>
                  <a:pt x="544" y="323"/>
                </a:lnTo>
                <a:lnTo>
                  <a:pt x="541" y="335"/>
                </a:lnTo>
                <a:lnTo>
                  <a:pt x="538" y="341"/>
                </a:lnTo>
                <a:lnTo>
                  <a:pt x="535" y="341"/>
                </a:lnTo>
                <a:lnTo>
                  <a:pt x="535" y="338"/>
                </a:lnTo>
                <a:lnTo>
                  <a:pt x="532" y="335"/>
                </a:lnTo>
                <a:lnTo>
                  <a:pt x="528" y="335"/>
                </a:lnTo>
                <a:lnTo>
                  <a:pt x="532" y="332"/>
                </a:lnTo>
                <a:lnTo>
                  <a:pt x="532" y="329"/>
                </a:lnTo>
                <a:lnTo>
                  <a:pt x="528" y="329"/>
                </a:lnTo>
                <a:lnTo>
                  <a:pt x="525" y="335"/>
                </a:lnTo>
                <a:lnTo>
                  <a:pt x="522" y="338"/>
                </a:lnTo>
                <a:lnTo>
                  <a:pt x="522" y="338"/>
                </a:lnTo>
                <a:lnTo>
                  <a:pt x="522" y="338"/>
                </a:lnTo>
                <a:lnTo>
                  <a:pt x="519" y="338"/>
                </a:lnTo>
                <a:lnTo>
                  <a:pt x="519" y="341"/>
                </a:lnTo>
                <a:lnTo>
                  <a:pt x="516" y="345"/>
                </a:lnTo>
                <a:lnTo>
                  <a:pt x="516" y="348"/>
                </a:lnTo>
                <a:lnTo>
                  <a:pt x="513" y="348"/>
                </a:lnTo>
                <a:lnTo>
                  <a:pt x="513" y="348"/>
                </a:lnTo>
                <a:lnTo>
                  <a:pt x="513" y="348"/>
                </a:lnTo>
                <a:lnTo>
                  <a:pt x="510" y="348"/>
                </a:lnTo>
                <a:lnTo>
                  <a:pt x="510" y="348"/>
                </a:lnTo>
                <a:lnTo>
                  <a:pt x="510" y="348"/>
                </a:lnTo>
                <a:lnTo>
                  <a:pt x="506" y="348"/>
                </a:lnTo>
                <a:lnTo>
                  <a:pt x="506" y="351"/>
                </a:lnTo>
                <a:lnTo>
                  <a:pt x="472" y="351"/>
                </a:lnTo>
                <a:lnTo>
                  <a:pt x="472" y="360"/>
                </a:lnTo>
                <a:lnTo>
                  <a:pt x="463" y="360"/>
                </a:lnTo>
                <a:lnTo>
                  <a:pt x="466" y="363"/>
                </a:lnTo>
                <a:lnTo>
                  <a:pt x="466" y="366"/>
                </a:lnTo>
                <a:lnTo>
                  <a:pt x="469" y="370"/>
                </a:lnTo>
                <a:lnTo>
                  <a:pt x="472" y="373"/>
                </a:lnTo>
                <a:lnTo>
                  <a:pt x="475" y="373"/>
                </a:lnTo>
                <a:lnTo>
                  <a:pt x="475" y="376"/>
                </a:lnTo>
                <a:lnTo>
                  <a:pt x="478" y="376"/>
                </a:lnTo>
                <a:lnTo>
                  <a:pt x="478" y="379"/>
                </a:lnTo>
                <a:lnTo>
                  <a:pt x="481" y="379"/>
                </a:lnTo>
                <a:lnTo>
                  <a:pt x="485" y="379"/>
                </a:lnTo>
                <a:lnTo>
                  <a:pt x="485" y="382"/>
                </a:lnTo>
                <a:lnTo>
                  <a:pt x="481" y="385"/>
                </a:lnTo>
                <a:lnTo>
                  <a:pt x="456" y="385"/>
                </a:lnTo>
                <a:lnTo>
                  <a:pt x="444" y="404"/>
                </a:lnTo>
                <a:lnTo>
                  <a:pt x="444" y="407"/>
                </a:lnTo>
                <a:lnTo>
                  <a:pt x="447" y="407"/>
                </a:lnTo>
                <a:lnTo>
                  <a:pt x="444" y="410"/>
                </a:lnTo>
                <a:lnTo>
                  <a:pt x="447" y="410"/>
                </a:lnTo>
                <a:lnTo>
                  <a:pt x="447" y="413"/>
                </a:lnTo>
                <a:lnTo>
                  <a:pt x="447" y="413"/>
                </a:lnTo>
                <a:lnTo>
                  <a:pt x="444" y="417"/>
                </a:lnTo>
                <a:lnTo>
                  <a:pt x="444" y="417"/>
                </a:lnTo>
                <a:lnTo>
                  <a:pt x="444" y="417"/>
                </a:lnTo>
                <a:lnTo>
                  <a:pt x="441" y="413"/>
                </a:lnTo>
                <a:lnTo>
                  <a:pt x="435" y="410"/>
                </a:lnTo>
                <a:lnTo>
                  <a:pt x="435" y="407"/>
                </a:lnTo>
                <a:lnTo>
                  <a:pt x="431" y="407"/>
                </a:lnTo>
                <a:lnTo>
                  <a:pt x="416" y="395"/>
                </a:lnTo>
                <a:lnTo>
                  <a:pt x="416" y="391"/>
                </a:lnTo>
                <a:lnTo>
                  <a:pt x="416" y="391"/>
                </a:lnTo>
                <a:lnTo>
                  <a:pt x="413" y="385"/>
                </a:lnTo>
                <a:lnTo>
                  <a:pt x="406" y="382"/>
                </a:lnTo>
                <a:lnTo>
                  <a:pt x="403" y="382"/>
                </a:lnTo>
                <a:lnTo>
                  <a:pt x="403" y="382"/>
                </a:lnTo>
                <a:lnTo>
                  <a:pt x="403" y="382"/>
                </a:lnTo>
                <a:lnTo>
                  <a:pt x="403" y="382"/>
                </a:lnTo>
                <a:lnTo>
                  <a:pt x="410" y="385"/>
                </a:lnTo>
                <a:lnTo>
                  <a:pt x="413" y="391"/>
                </a:lnTo>
                <a:lnTo>
                  <a:pt x="413" y="391"/>
                </a:lnTo>
                <a:lnTo>
                  <a:pt x="410" y="388"/>
                </a:lnTo>
                <a:lnTo>
                  <a:pt x="403" y="385"/>
                </a:lnTo>
                <a:lnTo>
                  <a:pt x="400" y="385"/>
                </a:lnTo>
                <a:lnTo>
                  <a:pt x="397" y="385"/>
                </a:lnTo>
                <a:lnTo>
                  <a:pt x="397" y="385"/>
                </a:lnTo>
                <a:lnTo>
                  <a:pt x="397" y="382"/>
                </a:lnTo>
                <a:lnTo>
                  <a:pt x="400" y="382"/>
                </a:lnTo>
                <a:lnTo>
                  <a:pt x="400" y="382"/>
                </a:lnTo>
                <a:lnTo>
                  <a:pt x="397" y="382"/>
                </a:lnTo>
                <a:lnTo>
                  <a:pt x="394" y="382"/>
                </a:lnTo>
                <a:lnTo>
                  <a:pt x="394" y="379"/>
                </a:lnTo>
                <a:lnTo>
                  <a:pt x="394" y="379"/>
                </a:lnTo>
                <a:lnTo>
                  <a:pt x="388" y="382"/>
                </a:lnTo>
                <a:lnTo>
                  <a:pt x="388" y="385"/>
                </a:lnTo>
                <a:lnTo>
                  <a:pt x="391" y="385"/>
                </a:lnTo>
                <a:lnTo>
                  <a:pt x="397" y="385"/>
                </a:lnTo>
                <a:lnTo>
                  <a:pt x="397" y="385"/>
                </a:lnTo>
                <a:lnTo>
                  <a:pt x="394" y="385"/>
                </a:lnTo>
                <a:lnTo>
                  <a:pt x="388" y="385"/>
                </a:lnTo>
                <a:lnTo>
                  <a:pt x="385" y="385"/>
                </a:lnTo>
                <a:lnTo>
                  <a:pt x="378" y="391"/>
                </a:lnTo>
                <a:lnTo>
                  <a:pt x="375" y="391"/>
                </a:lnTo>
                <a:lnTo>
                  <a:pt x="366" y="395"/>
                </a:lnTo>
                <a:lnTo>
                  <a:pt x="363" y="395"/>
                </a:lnTo>
                <a:lnTo>
                  <a:pt x="350" y="391"/>
                </a:lnTo>
                <a:lnTo>
                  <a:pt x="347" y="388"/>
                </a:lnTo>
                <a:lnTo>
                  <a:pt x="341" y="388"/>
                </a:lnTo>
                <a:lnTo>
                  <a:pt x="331" y="385"/>
                </a:lnTo>
                <a:lnTo>
                  <a:pt x="328" y="382"/>
                </a:lnTo>
                <a:lnTo>
                  <a:pt x="328" y="385"/>
                </a:lnTo>
                <a:lnTo>
                  <a:pt x="325" y="382"/>
                </a:lnTo>
                <a:lnTo>
                  <a:pt x="319" y="382"/>
                </a:lnTo>
                <a:lnTo>
                  <a:pt x="316" y="376"/>
                </a:lnTo>
                <a:lnTo>
                  <a:pt x="316" y="376"/>
                </a:lnTo>
                <a:lnTo>
                  <a:pt x="313" y="376"/>
                </a:lnTo>
                <a:lnTo>
                  <a:pt x="306" y="376"/>
                </a:lnTo>
                <a:lnTo>
                  <a:pt x="300" y="376"/>
                </a:lnTo>
                <a:lnTo>
                  <a:pt x="300" y="370"/>
                </a:lnTo>
                <a:lnTo>
                  <a:pt x="294" y="366"/>
                </a:lnTo>
                <a:lnTo>
                  <a:pt x="285" y="366"/>
                </a:lnTo>
                <a:lnTo>
                  <a:pt x="275" y="363"/>
                </a:lnTo>
                <a:lnTo>
                  <a:pt x="272" y="357"/>
                </a:lnTo>
                <a:lnTo>
                  <a:pt x="269" y="357"/>
                </a:lnTo>
                <a:lnTo>
                  <a:pt x="260" y="348"/>
                </a:lnTo>
                <a:lnTo>
                  <a:pt x="256" y="345"/>
                </a:lnTo>
                <a:lnTo>
                  <a:pt x="253" y="345"/>
                </a:lnTo>
                <a:lnTo>
                  <a:pt x="253" y="348"/>
                </a:lnTo>
                <a:lnTo>
                  <a:pt x="250" y="348"/>
                </a:lnTo>
                <a:lnTo>
                  <a:pt x="244" y="345"/>
                </a:lnTo>
                <a:lnTo>
                  <a:pt x="241" y="345"/>
                </a:lnTo>
                <a:lnTo>
                  <a:pt x="238" y="341"/>
                </a:lnTo>
                <a:lnTo>
                  <a:pt x="235" y="341"/>
                </a:lnTo>
                <a:lnTo>
                  <a:pt x="231" y="341"/>
                </a:lnTo>
                <a:lnTo>
                  <a:pt x="228" y="335"/>
                </a:lnTo>
                <a:lnTo>
                  <a:pt x="225" y="332"/>
                </a:lnTo>
                <a:lnTo>
                  <a:pt x="219" y="326"/>
                </a:lnTo>
                <a:lnTo>
                  <a:pt x="216" y="326"/>
                </a:lnTo>
                <a:lnTo>
                  <a:pt x="216" y="323"/>
                </a:lnTo>
                <a:lnTo>
                  <a:pt x="216" y="320"/>
                </a:lnTo>
                <a:lnTo>
                  <a:pt x="216" y="320"/>
                </a:lnTo>
                <a:lnTo>
                  <a:pt x="210" y="323"/>
                </a:lnTo>
                <a:lnTo>
                  <a:pt x="203" y="320"/>
                </a:lnTo>
                <a:lnTo>
                  <a:pt x="203" y="316"/>
                </a:lnTo>
                <a:lnTo>
                  <a:pt x="200" y="316"/>
                </a:lnTo>
                <a:lnTo>
                  <a:pt x="197" y="316"/>
                </a:lnTo>
                <a:lnTo>
                  <a:pt x="197" y="310"/>
                </a:lnTo>
                <a:lnTo>
                  <a:pt x="194" y="307"/>
                </a:lnTo>
                <a:lnTo>
                  <a:pt x="194" y="304"/>
                </a:lnTo>
                <a:lnTo>
                  <a:pt x="191" y="301"/>
                </a:lnTo>
                <a:lnTo>
                  <a:pt x="188" y="295"/>
                </a:lnTo>
                <a:lnTo>
                  <a:pt x="188" y="291"/>
                </a:lnTo>
                <a:lnTo>
                  <a:pt x="191" y="291"/>
                </a:lnTo>
                <a:lnTo>
                  <a:pt x="194" y="291"/>
                </a:lnTo>
                <a:lnTo>
                  <a:pt x="197" y="288"/>
                </a:lnTo>
                <a:lnTo>
                  <a:pt x="194" y="288"/>
                </a:lnTo>
                <a:lnTo>
                  <a:pt x="191" y="285"/>
                </a:lnTo>
                <a:lnTo>
                  <a:pt x="194" y="285"/>
                </a:lnTo>
                <a:lnTo>
                  <a:pt x="197" y="279"/>
                </a:lnTo>
                <a:lnTo>
                  <a:pt x="200" y="276"/>
                </a:lnTo>
                <a:lnTo>
                  <a:pt x="200" y="273"/>
                </a:lnTo>
                <a:lnTo>
                  <a:pt x="194" y="260"/>
                </a:lnTo>
                <a:lnTo>
                  <a:pt x="194" y="257"/>
                </a:lnTo>
                <a:lnTo>
                  <a:pt x="191" y="254"/>
                </a:lnTo>
                <a:lnTo>
                  <a:pt x="194" y="251"/>
                </a:lnTo>
                <a:lnTo>
                  <a:pt x="191" y="244"/>
                </a:lnTo>
                <a:lnTo>
                  <a:pt x="185" y="238"/>
                </a:lnTo>
                <a:lnTo>
                  <a:pt x="185" y="232"/>
                </a:lnTo>
                <a:lnTo>
                  <a:pt x="178" y="226"/>
                </a:lnTo>
                <a:lnTo>
                  <a:pt x="175" y="219"/>
                </a:lnTo>
                <a:lnTo>
                  <a:pt x="169" y="210"/>
                </a:lnTo>
                <a:lnTo>
                  <a:pt x="163" y="207"/>
                </a:lnTo>
                <a:lnTo>
                  <a:pt x="160" y="204"/>
                </a:lnTo>
                <a:lnTo>
                  <a:pt x="160" y="201"/>
                </a:lnTo>
                <a:lnTo>
                  <a:pt x="153" y="201"/>
                </a:lnTo>
                <a:lnTo>
                  <a:pt x="150" y="198"/>
                </a:lnTo>
                <a:lnTo>
                  <a:pt x="150" y="198"/>
                </a:lnTo>
                <a:lnTo>
                  <a:pt x="153" y="194"/>
                </a:lnTo>
                <a:lnTo>
                  <a:pt x="156" y="191"/>
                </a:lnTo>
                <a:lnTo>
                  <a:pt x="153" y="188"/>
                </a:lnTo>
                <a:lnTo>
                  <a:pt x="153" y="185"/>
                </a:lnTo>
                <a:lnTo>
                  <a:pt x="150" y="185"/>
                </a:lnTo>
                <a:lnTo>
                  <a:pt x="150" y="185"/>
                </a:lnTo>
                <a:lnTo>
                  <a:pt x="144" y="182"/>
                </a:lnTo>
                <a:lnTo>
                  <a:pt x="138" y="176"/>
                </a:lnTo>
                <a:lnTo>
                  <a:pt x="135" y="176"/>
                </a:lnTo>
                <a:lnTo>
                  <a:pt x="131" y="176"/>
                </a:lnTo>
                <a:lnTo>
                  <a:pt x="128" y="173"/>
                </a:lnTo>
                <a:lnTo>
                  <a:pt x="128" y="169"/>
                </a:lnTo>
                <a:lnTo>
                  <a:pt x="128" y="163"/>
                </a:lnTo>
                <a:lnTo>
                  <a:pt x="131" y="160"/>
                </a:lnTo>
                <a:lnTo>
                  <a:pt x="135" y="157"/>
                </a:lnTo>
                <a:lnTo>
                  <a:pt x="138" y="160"/>
                </a:lnTo>
                <a:lnTo>
                  <a:pt x="138" y="157"/>
                </a:lnTo>
                <a:lnTo>
                  <a:pt x="138" y="157"/>
                </a:lnTo>
                <a:lnTo>
                  <a:pt x="138" y="154"/>
                </a:lnTo>
                <a:lnTo>
                  <a:pt x="135" y="157"/>
                </a:lnTo>
                <a:lnTo>
                  <a:pt x="131" y="154"/>
                </a:lnTo>
                <a:lnTo>
                  <a:pt x="131" y="151"/>
                </a:lnTo>
                <a:lnTo>
                  <a:pt x="128" y="147"/>
                </a:lnTo>
                <a:lnTo>
                  <a:pt x="125" y="147"/>
                </a:lnTo>
                <a:lnTo>
                  <a:pt x="122" y="147"/>
                </a:lnTo>
                <a:lnTo>
                  <a:pt x="122" y="144"/>
                </a:lnTo>
                <a:lnTo>
                  <a:pt x="122" y="141"/>
                </a:lnTo>
                <a:lnTo>
                  <a:pt x="119" y="138"/>
                </a:lnTo>
                <a:lnTo>
                  <a:pt x="116" y="138"/>
                </a:lnTo>
                <a:lnTo>
                  <a:pt x="110" y="132"/>
                </a:lnTo>
                <a:lnTo>
                  <a:pt x="110" y="129"/>
                </a:lnTo>
                <a:lnTo>
                  <a:pt x="110" y="126"/>
                </a:lnTo>
                <a:lnTo>
                  <a:pt x="110" y="122"/>
                </a:lnTo>
                <a:lnTo>
                  <a:pt x="110" y="119"/>
                </a:lnTo>
                <a:lnTo>
                  <a:pt x="106" y="119"/>
                </a:lnTo>
                <a:lnTo>
                  <a:pt x="103" y="119"/>
                </a:lnTo>
                <a:lnTo>
                  <a:pt x="103" y="119"/>
                </a:lnTo>
                <a:lnTo>
                  <a:pt x="100" y="116"/>
                </a:lnTo>
                <a:lnTo>
                  <a:pt x="100" y="116"/>
                </a:lnTo>
                <a:lnTo>
                  <a:pt x="97" y="113"/>
                </a:lnTo>
                <a:lnTo>
                  <a:pt x="97" y="107"/>
                </a:lnTo>
                <a:lnTo>
                  <a:pt x="94" y="107"/>
                </a:lnTo>
                <a:lnTo>
                  <a:pt x="91" y="104"/>
                </a:lnTo>
                <a:lnTo>
                  <a:pt x="91" y="101"/>
                </a:lnTo>
                <a:lnTo>
                  <a:pt x="91" y="97"/>
                </a:lnTo>
                <a:lnTo>
                  <a:pt x="88" y="97"/>
                </a:lnTo>
                <a:lnTo>
                  <a:pt x="85" y="88"/>
                </a:lnTo>
                <a:lnTo>
                  <a:pt x="85" y="88"/>
                </a:lnTo>
                <a:lnTo>
                  <a:pt x="81" y="88"/>
                </a:lnTo>
                <a:lnTo>
                  <a:pt x="81" y="85"/>
                </a:lnTo>
                <a:lnTo>
                  <a:pt x="81" y="82"/>
                </a:lnTo>
                <a:lnTo>
                  <a:pt x="81" y="82"/>
                </a:lnTo>
                <a:lnTo>
                  <a:pt x="78" y="76"/>
                </a:lnTo>
                <a:lnTo>
                  <a:pt x="75" y="69"/>
                </a:lnTo>
                <a:lnTo>
                  <a:pt x="78" y="69"/>
                </a:lnTo>
                <a:lnTo>
                  <a:pt x="75" y="63"/>
                </a:lnTo>
                <a:lnTo>
                  <a:pt x="75" y="60"/>
                </a:lnTo>
                <a:lnTo>
                  <a:pt x="75" y="54"/>
                </a:lnTo>
                <a:lnTo>
                  <a:pt x="72" y="47"/>
                </a:lnTo>
                <a:lnTo>
                  <a:pt x="72" y="44"/>
                </a:lnTo>
                <a:lnTo>
                  <a:pt x="75" y="41"/>
                </a:lnTo>
                <a:lnTo>
                  <a:pt x="75" y="41"/>
                </a:lnTo>
                <a:lnTo>
                  <a:pt x="69" y="38"/>
                </a:lnTo>
                <a:lnTo>
                  <a:pt x="66" y="38"/>
                </a:lnTo>
                <a:lnTo>
                  <a:pt x="66" y="35"/>
                </a:lnTo>
                <a:lnTo>
                  <a:pt x="63" y="32"/>
                </a:lnTo>
                <a:lnTo>
                  <a:pt x="60" y="35"/>
                </a:lnTo>
                <a:lnTo>
                  <a:pt x="56" y="35"/>
                </a:lnTo>
                <a:lnTo>
                  <a:pt x="53" y="32"/>
                </a:lnTo>
                <a:lnTo>
                  <a:pt x="50" y="29"/>
                </a:lnTo>
                <a:lnTo>
                  <a:pt x="47" y="25"/>
                </a:lnTo>
                <a:lnTo>
                  <a:pt x="44" y="19"/>
                </a:lnTo>
                <a:lnTo>
                  <a:pt x="44" y="25"/>
                </a:lnTo>
                <a:lnTo>
                  <a:pt x="44" y="29"/>
                </a:lnTo>
                <a:lnTo>
                  <a:pt x="44" y="35"/>
                </a:lnTo>
                <a:lnTo>
                  <a:pt x="41" y="38"/>
                </a:lnTo>
                <a:lnTo>
                  <a:pt x="44" y="47"/>
                </a:lnTo>
                <a:lnTo>
                  <a:pt x="44" y="63"/>
                </a:lnTo>
                <a:lnTo>
                  <a:pt x="41" y="66"/>
                </a:lnTo>
                <a:lnTo>
                  <a:pt x="44" y="66"/>
                </a:lnTo>
                <a:lnTo>
                  <a:pt x="47" y="72"/>
                </a:lnTo>
                <a:lnTo>
                  <a:pt x="47" y="76"/>
                </a:lnTo>
                <a:lnTo>
                  <a:pt x="47" y="76"/>
                </a:lnTo>
                <a:lnTo>
                  <a:pt x="50" y="79"/>
                </a:lnTo>
                <a:lnTo>
                  <a:pt x="56" y="82"/>
                </a:lnTo>
                <a:lnTo>
                  <a:pt x="56" y="88"/>
                </a:lnTo>
                <a:lnTo>
                  <a:pt x="56" y="91"/>
                </a:lnTo>
                <a:lnTo>
                  <a:pt x="56" y="94"/>
                </a:lnTo>
                <a:lnTo>
                  <a:pt x="60" y="97"/>
                </a:lnTo>
                <a:lnTo>
                  <a:pt x="63" y="97"/>
                </a:lnTo>
                <a:lnTo>
                  <a:pt x="63" y="104"/>
                </a:lnTo>
                <a:lnTo>
                  <a:pt x="66" y="104"/>
                </a:lnTo>
                <a:lnTo>
                  <a:pt x="66" y="107"/>
                </a:lnTo>
                <a:lnTo>
                  <a:pt x="72" y="110"/>
                </a:lnTo>
                <a:lnTo>
                  <a:pt x="69" y="113"/>
                </a:lnTo>
                <a:lnTo>
                  <a:pt x="69" y="119"/>
                </a:lnTo>
                <a:lnTo>
                  <a:pt x="75" y="122"/>
                </a:lnTo>
                <a:lnTo>
                  <a:pt x="75" y="122"/>
                </a:lnTo>
                <a:lnTo>
                  <a:pt x="78" y="129"/>
                </a:lnTo>
                <a:lnTo>
                  <a:pt x="78" y="135"/>
                </a:lnTo>
                <a:lnTo>
                  <a:pt x="81" y="135"/>
                </a:lnTo>
                <a:lnTo>
                  <a:pt x="81" y="138"/>
                </a:lnTo>
                <a:lnTo>
                  <a:pt x="81" y="141"/>
                </a:lnTo>
                <a:lnTo>
                  <a:pt x="81" y="144"/>
                </a:lnTo>
                <a:lnTo>
                  <a:pt x="85" y="151"/>
                </a:lnTo>
                <a:lnTo>
                  <a:pt x="88" y="147"/>
                </a:lnTo>
                <a:lnTo>
                  <a:pt x="88" y="144"/>
                </a:lnTo>
                <a:lnTo>
                  <a:pt x="88" y="144"/>
                </a:lnTo>
                <a:lnTo>
                  <a:pt x="88" y="144"/>
                </a:lnTo>
                <a:lnTo>
                  <a:pt x="88" y="147"/>
                </a:lnTo>
                <a:lnTo>
                  <a:pt x="91" y="151"/>
                </a:lnTo>
                <a:lnTo>
                  <a:pt x="94" y="157"/>
                </a:lnTo>
                <a:lnTo>
                  <a:pt x="91" y="160"/>
                </a:lnTo>
                <a:lnTo>
                  <a:pt x="91" y="166"/>
                </a:lnTo>
                <a:lnTo>
                  <a:pt x="94" y="169"/>
                </a:lnTo>
                <a:lnTo>
                  <a:pt x="94" y="173"/>
                </a:lnTo>
                <a:lnTo>
                  <a:pt x="97" y="176"/>
                </a:lnTo>
                <a:lnTo>
                  <a:pt x="97" y="179"/>
                </a:lnTo>
                <a:lnTo>
                  <a:pt x="97" y="179"/>
                </a:lnTo>
                <a:lnTo>
                  <a:pt x="97" y="182"/>
                </a:lnTo>
                <a:lnTo>
                  <a:pt x="97" y="185"/>
                </a:lnTo>
                <a:lnTo>
                  <a:pt x="100" y="188"/>
                </a:lnTo>
                <a:lnTo>
                  <a:pt x="100" y="191"/>
                </a:lnTo>
                <a:lnTo>
                  <a:pt x="97" y="198"/>
                </a:lnTo>
                <a:lnTo>
                  <a:pt x="97" y="201"/>
                </a:lnTo>
                <a:lnTo>
                  <a:pt x="100" y="204"/>
                </a:lnTo>
                <a:lnTo>
                  <a:pt x="103" y="207"/>
                </a:lnTo>
                <a:lnTo>
                  <a:pt x="106" y="207"/>
                </a:lnTo>
                <a:lnTo>
                  <a:pt x="106" y="207"/>
                </a:lnTo>
                <a:lnTo>
                  <a:pt x="106" y="204"/>
                </a:lnTo>
                <a:lnTo>
                  <a:pt x="106" y="204"/>
                </a:lnTo>
                <a:lnTo>
                  <a:pt x="110" y="204"/>
                </a:lnTo>
                <a:lnTo>
                  <a:pt x="113" y="207"/>
                </a:lnTo>
                <a:lnTo>
                  <a:pt x="113" y="210"/>
                </a:lnTo>
                <a:lnTo>
                  <a:pt x="116" y="210"/>
                </a:lnTo>
                <a:lnTo>
                  <a:pt x="116" y="216"/>
                </a:lnTo>
                <a:lnTo>
                  <a:pt x="119" y="216"/>
                </a:lnTo>
                <a:lnTo>
                  <a:pt x="119" y="219"/>
                </a:lnTo>
                <a:lnTo>
                  <a:pt x="122" y="223"/>
                </a:lnTo>
                <a:lnTo>
                  <a:pt x="122" y="226"/>
                </a:lnTo>
                <a:lnTo>
                  <a:pt x="119" y="232"/>
                </a:lnTo>
                <a:lnTo>
                  <a:pt x="113" y="235"/>
                </a:lnTo>
                <a:lnTo>
                  <a:pt x="110" y="235"/>
                </a:lnTo>
                <a:lnTo>
                  <a:pt x="110" y="229"/>
                </a:lnTo>
                <a:lnTo>
                  <a:pt x="110" y="229"/>
                </a:lnTo>
                <a:lnTo>
                  <a:pt x="106" y="226"/>
                </a:lnTo>
                <a:lnTo>
                  <a:pt x="106" y="219"/>
                </a:lnTo>
                <a:lnTo>
                  <a:pt x="103" y="216"/>
                </a:lnTo>
                <a:lnTo>
                  <a:pt x="100" y="216"/>
                </a:lnTo>
                <a:lnTo>
                  <a:pt x="97" y="213"/>
                </a:lnTo>
                <a:lnTo>
                  <a:pt x="94" y="210"/>
                </a:lnTo>
                <a:lnTo>
                  <a:pt x="91" y="210"/>
                </a:lnTo>
                <a:lnTo>
                  <a:pt x="85" y="201"/>
                </a:lnTo>
                <a:lnTo>
                  <a:pt x="81" y="198"/>
                </a:lnTo>
                <a:lnTo>
                  <a:pt x="78" y="198"/>
                </a:lnTo>
                <a:lnTo>
                  <a:pt x="78" y="194"/>
                </a:lnTo>
                <a:lnTo>
                  <a:pt x="75" y="194"/>
                </a:lnTo>
                <a:lnTo>
                  <a:pt x="72" y="191"/>
                </a:lnTo>
                <a:lnTo>
                  <a:pt x="72" y="188"/>
                </a:lnTo>
                <a:lnTo>
                  <a:pt x="75" y="182"/>
                </a:lnTo>
                <a:lnTo>
                  <a:pt x="75" y="176"/>
                </a:lnTo>
                <a:lnTo>
                  <a:pt x="75" y="166"/>
                </a:lnTo>
                <a:lnTo>
                  <a:pt x="72" y="160"/>
                </a:lnTo>
                <a:lnTo>
                  <a:pt x="72" y="157"/>
                </a:lnTo>
                <a:lnTo>
                  <a:pt x="69" y="157"/>
                </a:lnTo>
                <a:lnTo>
                  <a:pt x="66" y="157"/>
                </a:lnTo>
                <a:lnTo>
                  <a:pt x="60" y="151"/>
                </a:lnTo>
                <a:lnTo>
                  <a:pt x="60" y="144"/>
                </a:lnTo>
                <a:lnTo>
                  <a:pt x="60" y="141"/>
                </a:lnTo>
                <a:lnTo>
                  <a:pt x="56" y="141"/>
                </a:lnTo>
                <a:lnTo>
                  <a:pt x="53" y="144"/>
                </a:lnTo>
                <a:lnTo>
                  <a:pt x="53" y="144"/>
                </a:lnTo>
                <a:lnTo>
                  <a:pt x="50" y="144"/>
                </a:lnTo>
                <a:lnTo>
                  <a:pt x="47" y="141"/>
                </a:lnTo>
                <a:lnTo>
                  <a:pt x="47" y="141"/>
                </a:lnTo>
                <a:lnTo>
                  <a:pt x="47" y="141"/>
                </a:lnTo>
                <a:lnTo>
                  <a:pt x="44" y="141"/>
                </a:lnTo>
                <a:lnTo>
                  <a:pt x="44" y="138"/>
                </a:lnTo>
                <a:lnTo>
                  <a:pt x="38" y="135"/>
                </a:lnTo>
                <a:lnTo>
                  <a:pt x="35" y="135"/>
                </a:lnTo>
                <a:lnTo>
                  <a:pt x="35" y="132"/>
                </a:lnTo>
                <a:lnTo>
                  <a:pt x="35" y="129"/>
                </a:lnTo>
                <a:lnTo>
                  <a:pt x="28" y="126"/>
                </a:lnTo>
                <a:lnTo>
                  <a:pt x="25" y="119"/>
                </a:lnTo>
                <a:lnTo>
                  <a:pt x="28" y="119"/>
                </a:lnTo>
                <a:lnTo>
                  <a:pt x="31" y="119"/>
                </a:lnTo>
                <a:lnTo>
                  <a:pt x="35" y="119"/>
                </a:lnTo>
                <a:lnTo>
                  <a:pt x="41" y="122"/>
                </a:lnTo>
                <a:lnTo>
                  <a:pt x="44" y="122"/>
                </a:lnTo>
                <a:lnTo>
                  <a:pt x="44" y="122"/>
                </a:lnTo>
                <a:lnTo>
                  <a:pt x="44" y="119"/>
                </a:lnTo>
                <a:lnTo>
                  <a:pt x="41" y="119"/>
                </a:lnTo>
                <a:lnTo>
                  <a:pt x="41" y="116"/>
                </a:lnTo>
                <a:lnTo>
                  <a:pt x="44" y="116"/>
                </a:lnTo>
                <a:lnTo>
                  <a:pt x="44" y="116"/>
                </a:lnTo>
                <a:lnTo>
                  <a:pt x="47" y="113"/>
                </a:lnTo>
                <a:lnTo>
                  <a:pt x="44" y="110"/>
                </a:lnTo>
                <a:lnTo>
                  <a:pt x="44" y="107"/>
                </a:lnTo>
                <a:lnTo>
                  <a:pt x="47" y="107"/>
                </a:lnTo>
                <a:lnTo>
                  <a:pt x="44" y="101"/>
                </a:lnTo>
                <a:lnTo>
                  <a:pt x="44" y="101"/>
                </a:lnTo>
                <a:lnTo>
                  <a:pt x="41" y="94"/>
                </a:lnTo>
                <a:lnTo>
                  <a:pt x="35" y="91"/>
                </a:lnTo>
                <a:lnTo>
                  <a:pt x="35" y="88"/>
                </a:lnTo>
                <a:lnTo>
                  <a:pt x="31" y="82"/>
                </a:lnTo>
                <a:lnTo>
                  <a:pt x="25" y="76"/>
                </a:lnTo>
                <a:lnTo>
                  <a:pt x="25" y="79"/>
                </a:lnTo>
                <a:lnTo>
                  <a:pt x="22" y="72"/>
                </a:lnTo>
                <a:lnTo>
                  <a:pt x="19" y="69"/>
                </a:lnTo>
                <a:lnTo>
                  <a:pt x="19" y="63"/>
                </a:lnTo>
                <a:lnTo>
                  <a:pt x="19" y="60"/>
                </a:lnTo>
                <a:lnTo>
                  <a:pt x="16" y="57"/>
                </a:lnTo>
                <a:lnTo>
                  <a:pt x="16" y="54"/>
                </a:lnTo>
                <a:lnTo>
                  <a:pt x="16" y="51"/>
                </a:lnTo>
                <a:lnTo>
                  <a:pt x="16" y="47"/>
                </a:lnTo>
                <a:lnTo>
                  <a:pt x="13" y="44"/>
                </a:lnTo>
                <a:lnTo>
                  <a:pt x="13" y="41"/>
                </a:lnTo>
                <a:lnTo>
                  <a:pt x="13" y="41"/>
                </a:lnTo>
                <a:lnTo>
                  <a:pt x="13" y="38"/>
                </a:lnTo>
                <a:lnTo>
                  <a:pt x="6" y="32"/>
                </a:lnTo>
                <a:lnTo>
                  <a:pt x="6" y="29"/>
                </a:lnTo>
                <a:lnTo>
                  <a:pt x="6" y="25"/>
                </a:lnTo>
                <a:lnTo>
                  <a:pt x="10" y="25"/>
                </a:lnTo>
                <a:lnTo>
                  <a:pt x="6" y="22"/>
                </a:lnTo>
                <a:lnTo>
                  <a:pt x="3" y="16"/>
                </a:lnTo>
                <a:lnTo>
                  <a:pt x="0" y="7"/>
                </a:lnTo>
                <a:lnTo>
                  <a:pt x="0" y="4"/>
                </a:lnTo>
                <a:lnTo>
                  <a:pt x="0" y="4"/>
                </a:lnTo>
                <a:close/>
                <a:moveTo>
                  <a:pt x="103" y="191"/>
                </a:moveTo>
                <a:lnTo>
                  <a:pt x="103" y="188"/>
                </a:lnTo>
                <a:lnTo>
                  <a:pt x="103" y="188"/>
                </a:lnTo>
                <a:lnTo>
                  <a:pt x="103" y="185"/>
                </a:lnTo>
                <a:lnTo>
                  <a:pt x="100" y="185"/>
                </a:lnTo>
                <a:lnTo>
                  <a:pt x="103" y="188"/>
                </a:lnTo>
                <a:lnTo>
                  <a:pt x="103" y="191"/>
                </a:lnTo>
                <a:lnTo>
                  <a:pt x="103" y="191"/>
                </a:lnTo>
                <a:close/>
                <a:moveTo>
                  <a:pt x="106" y="201"/>
                </a:moveTo>
                <a:lnTo>
                  <a:pt x="106" y="201"/>
                </a:lnTo>
                <a:lnTo>
                  <a:pt x="106" y="201"/>
                </a:lnTo>
                <a:lnTo>
                  <a:pt x="110" y="201"/>
                </a:lnTo>
                <a:lnTo>
                  <a:pt x="106" y="201"/>
                </a:lnTo>
                <a:lnTo>
                  <a:pt x="106" y="201"/>
                </a:lnTo>
                <a:close/>
                <a:moveTo>
                  <a:pt x="356" y="194"/>
                </a:moveTo>
                <a:lnTo>
                  <a:pt x="360" y="194"/>
                </a:lnTo>
                <a:lnTo>
                  <a:pt x="360" y="191"/>
                </a:lnTo>
                <a:lnTo>
                  <a:pt x="356" y="191"/>
                </a:lnTo>
                <a:lnTo>
                  <a:pt x="356" y="194"/>
                </a:lnTo>
                <a:lnTo>
                  <a:pt x="356" y="194"/>
                </a:lnTo>
                <a:close/>
                <a:moveTo>
                  <a:pt x="356" y="198"/>
                </a:moveTo>
                <a:lnTo>
                  <a:pt x="356" y="198"/>
                </a:lnTo>
                <a:lnTo>
                  <a:pt x="356" y="194"/>
                </a:lnTo>
                <a:lnTo>
                  <a:pt x="356" y="194"/>
                </a:lnTo>
                <a:lnTo>
                  <a:pt x="356" y="198"/>
                </a:lnTo>
                <a:lnTo>
                  <a:pt x="356" y="198"/>
                </a:lnTo>
                <a:close/>
                <a:moveTo>
                  <a:pt x="353" y="207"/>
                </a:moveTo>
                <a:lnTo>
                  <a:pt x="356" y="204"/>
                </a:lnTo>
                <a:lnTo>
                  <a:pt x="356" y="201"/>
                </a:lnTo>
                <a:lnTo>
                  <a:pt x="353" y="20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8" name="Freeform 186">
            <a:extLst>
              <a:ext uri="{FF2B5EF4-FFF2-40B4-BE49-F238E27FC236}">
                <a16:creationId xmlns:a16="http://schemas.microsoft.com/office/drawing/2014/main" id="{99A70323-1BE6-74D2-CAFB-2866B1FDE2E7}"/>
              </a:ext>
            </a:extLst>
          </p:cNvPr>
          <p:cNvSpPr>
            <a:spLocks noEditPoints="1"/>
          </p:cNvSpPr>
          <p:nvPr userDrawn="1"/>
        </p:nvSpPr>
        <p:spPr bwMode="auto">
          <a:xfrm>
            <a:off x="8613212" y="9048035"/>
            <a:ext cx="2431892" cy="2562226"/>
          </a:xfrm>
          <a:custGeom>
            <a:avLst/>
            <a:gdLst>
              <a:gd name="T0" fmla="*/ 146 w 245"/>
              <a:gd name="T1" fmla="*/ 35 h 258"/>
              <a:gd name="T2" fmla="*/ 148 w 245"/>
              <a:gd name="T3" fmla="*/ 34 h 258"/>
              <a:gd name="T4" fmla="*/ 150 w 245"/>
              <a:gd name="T5" fmla="*/ 34 h 258"/>
              <a:gd name="T6" fmla="*/ 154 w 245"/>
              <a:gd name="T7" fmla="*/ 35 h 258"/>
              <a:gd name="T8" fmla="*/ 141 w 245"/>
              <a:gd name="T9" fmla="*/ 7 h 258"/>
              <a:gd name="T10" fmla="*/ 133 w 245"/>
              <a:gd name="T11" fmla="*/ 19 h 258"/>
              <a:gd name="T12" fmla="*/ 124 w 245"/>
              <a:gd name="T13" fmla="*/ 21 h 258"/>
              <a:gd name="T14" fmla="*/ 112 w 245"/>
              <a:gd name="T15" fmla="*/ 19 h 258"/>
              <a:gd name="T16" fmla="*/ 106 w 245"/>
              <a:gd name="T17" fmla="*/ 21 h 258"/>
              <a:gd name="T18" fmla="*/ 91 w 245"/>
              <a:gd name="T19" fmla="*/ 24 h 258"/>
              <a:gd name="T20" fmla="*/ 90 w 245"/>
              <a:gd name="T21" fmla="*/ 8 h 258"/>
              <a:gd name="T22" fmla="*/ 83 w 245"/>
              <a:gd name="T23" fmla="*/ 0 h 258"/>
              <a:gd name="T24" fmla="*/ 62 w 245"/>
              <a:gd name="T25" fmla="*/ 9 h 258"/>
              <a:gd name="T26" fmla="*/ 65 w 245"/>
              <a:gd name="T27" fmla="*/ 18 h 258"/>
              <a:gd name="T28" fmla="*/ 43 w 245"/>
              <a:gd name="T29" fmla="*/ 26 h 258"/>
              <a:gd name="T30" fmla="*/ 25 w 245"/>
              <a:gd name="T31" fmla="*/ 25 h 258"/>
              <a:gd name="T32" fmla="*/ 28 w 245"/>
              <a:gd name="T33" fmla="*/ 44 h 258"/>
              <a:gd name="T34" fmla="*/ 14 w 245"/>
              <a:gd name="T35" fmla="*/ 63 h 258"/>
              <a:gd name="T36" fmla="*/ 3 w 245"/>
              <a:gd name="T37" fmla="*/ 77 h 258"/>
              <a:gd name="T38" fmla="*/ 7 w 245"/>
              <a:gd name="T39" fmla="*/ 94 h 258"/>
              <a:gd name="T40" fmla="*/ 22 w 245"/>
              <a:gd name="T41" fmla="*/ 105 h 258"/>
              <a:gd name="T42" fmla="*/ 38 w 245"/>
              <a:gd name="T43" fmla="*/ 103 h 258"/>
              <a:gd name="T44" fmla="*/ 53 w 245"/>
              <a:gd name="T45" fmla="*/ 103 h 258"/>
              <a:gd name="T46" fmla="*/ 71 w 245"/>
              <a:gd name="T47" fmla="*/ 118 h 258"/>
              <a:gd name="T48" fmla="*/ 88 w 245"/>
              <a:gd name="T49" fmla="*/ 135 h 258"/>
              <a:gd name="T50" fmla="*/ 104 w 245"/>
              <a:gd name="T51" fmla="*/ 166 h 258"/>
              <a:gd name="T52" fmla="*/ 119 w 245"/>
              <a:gd name="T53" fmla="*/ 179 h 258"/>
              <a:gd name="T54" fmla="*/ 127 w 245"/>
              <a:gd name="T55" fmla="*/ 199 h 258"/>
              <a:gd name="T56" fmla="*/ 130 w 245"/>
              <a:gd name="T57" fmla="*/ 213 h 258"/>
              <a:gd name="T58" fmla="*/ 117 w 245"/>
              <a:gd name="T59" fmla="*/ 225 h 258"/>
              <a:gd name="T60" fmla="*/ 119 w 245"/>
              <a:gd name="T61" fmla="*/ 235 h 258"/>
              <a:gd name="T62" fmla="*/ 135 w 245"/>
              <a:gd name="T63" fmla="*/ 246 h 258"/>
              <a:gd name="T64" fmla="*/ 144 w 245"/>
              <a:gd name="T65" fmla="*/ 250 h 258"/>
              <a:gd name="T66" fmla="*/ 149 w 245"/>
              <a:gd name="T67" fmla="*/ 238 h 258"/>
              <a:gd name="T68" fmla="*/ 153 w 245"/>
              <a:gd name="T69" fmla="*/ 233 h 258"/>
              <a:gd name="T70" fmla="*/ 147 w 245"/>
              <a:gd name="T71" fmla="*/ 244 h 258"/>
              <a:gd name="T72" fmla="*/ 164 w 245"/>
              <a:gd name="T73" fmla="*/ 219 h 258"/>
              <a:gd name="T74" fmla="*/ 164 w 245"/>
              <a:gd name="T75" fmla="*/ 208 h 258"/>
              <a:gd name="T76" fmla="*/ 168 w 245"/>
              <a:gd name="T77" fmla="*/ 197 h 258"/>
              <a:gd name="T78" fmla="*/ 184 w 245"/>
              <a:gd name="T79" fmla="*/ 186 h 258"/>
              <a:gd name="T80" fmla="*/ 193 w 245"/>
              <a:gd name="T81" fmla="*/ 181 h 258"/>
              <a:gd name="T82" fmla="*/ 199 w 245"/>
              <a:gd name="T83" fmla="*/ 181 h 258"/>
              <a:gd name="T84" fmla="*/ 210 w 245"/>
              <a:gd name="T85" fmla="*/ 170 h 258"/>
              <a:gd name="T86" fmla="*/ 217 w 245"/>
              <a:gd name="T87" fmla="*/ 150 h 258"/>
              <a:gd name="T88" fmla="*/ 221 w 245"/>
              <a:gd name="T89" fmla="*/ 123 h 258"/>
              <a:gd name="T90" fmla="*/ 219 w 245"/>
              <a:gd name="T91" fmla="*/ 114 h 258"/>
              <a:gd name="T92" fmla="*/ 227 w 245"/>
              <a:gd name="T93" fmla="*/ 112 h 258"/>
              <a:gd name="T94" fmla="*/ 244 w 245"/>
              <a:gd name="T95" fmla="*/ 88 h 258"/>
              <a:gd name="T96" fmla="*/ 238 w 245"/>
              <a:gd name="T97" fmla="*/ 66 h 258"/>
              <a:gd name="T98" fmla="*/ 214 w 245"/>
              <a:gd name="T99" fmla="*/ 52 h 258"/>
              <a:gd name="T100" fmla="*/ 201 w 245"/>
              <a:gd name="T101" fmla="*/ 52 h 258"/>
              <a:gd name="T102" fmla="*/ 190 w 245"/>
              <a:gd name="T103" fmla="*/ 50 h 258"/>
              <a:gd name="T104" fmla="*/ 184 w 245"/>
              <a:gd name="T105" fmla="*/ 55 h 258"/>
              <a:gd name="T106" fmla="*/ 178 w 245"/>
              <a:gd name="T107" fmla="*/ 45 h 258"/>
              <a:gd name="T108" fmla="*/ 170 w 245"/>
              <a:gd name="T109" fmla="*/ 40 h 258"/>
              <a:gd name="T110" fmla="*/ 160 w 245"/>
              <a:gd name="T111" fmla="*/ 43 h 258"/>
              <a:gd name="T112" fmla="*/ 151 w 245"/>
              <a:gd name="T113" fmla="*/ 52 h 258"/>
              <a:gd name="T114" fmla="*/ 148 w 245"/>
              <a:gd name="T115" fmla="*/ 46 h 258"/>
              <a:gd name="T116" fmla="*/ 160 w 245"/>
              <a:gd name="T117" fmla="*/ 37 h 258"/>
              <a:gd name="T118" fmla="*/ 146 w 245"/>
              <a:gd name="T119" fmla="*/ 39 h 258"/>
              <a:gd name="T120" fmla="*/ 139 w 245"/>
              <a:gd name="T121" fmla="*/ 40 h 258"/>
              <a:gd name="T122" fmla="*/ 149 w 245"/>
              <a:gd name="T123" fmla="*/ 28 h 258"/>
              <a:gd name="T124" fmla="*/ 143 w 245"/>
              <a:gd name="T125" fmla="*/ 1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5" h="258">
                <a:moveTo>
                  <a:pt x="143" y="38"/>
                </a:moveTo>
                <a:cubicBezTo>
                  <a:pt x="144" y="37"/>
                  <a:pt x="144" y="37"/>
                  <a:pt x="144" y="37"/>
                </a:cubicBezTo>
                <a:cubicBezTo>
                  <a:pt x="145" y="37"/>
                  <a:pt x="145" y="37"/>
                  <a:pt x="145" y="37"/>
                </a:cubicBezTo>
                <a:cubicBezTo>
                  <a:pt x="145" y="37"/>
                  <a:pt x="145" y="37"/>
                  <a:pt x="145" y="37"/>
                </a:cubicBezTo>
                <a:cubicBezTo>
                  <a:pt x="145" y="38"/>
                  <a:pt x="145" y="38"/>
                  <a:pt x="145" y="38"/>
                </a:cubicBezTo>
                <a:cubicBezTo>
                  <a:pt x="144" y="38"/>
                  <a:pt x="144" y="38"/>
                  <a:pt x="144" y="38"/>
                </a:cubicBezTo>
                <a:cubicBezTo>
                  <a:pt x="143" y="38"/>
                  <a:pt x="143" y="38"/>
                  <a:pt x="143" y="38"/>
                </a:cubicBezTo>
                <a:close/>
                <a:moveTo>
                  <a:pt x="142" y="38"/>
                </a:moveTo>
                <a:cubicBezTo>
                  <a:pt x="143" y="38"/>
                  <a:pt x="143" y="38"/>
                  <a:pt x="143" y="38"/>
                </a:cubicBezTo>
                <a:cubicBezTo>
                  <a:pt x="143" y="37"/>
                  <a:pt x="143" y="37"/>
                  <a:pt x="143" y="37"/>
                </a:cubicBezTo>
                <a:cubicBezTo>
                  <a:pt x="144" y="36"/>
                  <a:pt x="144" y="36"/>
                  <a:pt x="144" y="36"/>
                </a:cubicBezTo>
                <a:cubicBezTo>
                  <a:pt x="145" y="36"/>
                  <a:pt x="145" y="36"/>
                  <a:pt x="145" y="36"/>
                </a:cubicBezTo>
                <a:cubicBezTo>
                  <a:pt x="146" y="35"/>
                  <a:pt x="146" y="35"/>
                  <a:pt x="146" y="35"/>
                </a:cubicBezTo>
                <a:cubicBezTo>
                  <a:pt x="146" y="35"/>
                  <a:pt x="146" y="35"/>
                  <a:pt x="146" y="35"/>
                </a:cubicBezTo>
                <a:cubicBezTo>
                  <a:pt x="145" y="35"/>
                  <a:pt x="145" y="35"/>
                  <a:pt x="145" y="35"/>
                </a:cubicBezTo>
                <a:cubicBezTo>
                  <a:pt x="145" y="35"/>
                  <a:pt x="145" y="35"/>
                  <a:pt x="145" y="35"/>
                </a:cubicBezTo>
                <a:cubicBezTo>
                  <a:pt x="144" y="35"/>
                  <a:pt x="144" y="35"/>
                  <a:pt x="144" y="35"/>
                </a:cubicBezTo>
                <a:cubicBezTo>
                  <a:pt x="143" y="36"/>
                  <a:pt x="143" y="36"/>
                  <a:pt x="143" y="36"/>
                </a:cubicBezTo>
                <a:cubicBezTo>
                  <a:pt x="142" y="38"/>
                  <a:pt x="142" y="38"/>
                  <a:pt x="142" y="38"/>
                </a:cubicBezTo>
                <a:close/>
                <a:moveTo>
                  <a:pt x="148" y="34"/>
                </a:moveTo>
                <a:cubicBezTo>
                  <a:pt x="147" y="33"/>
                  <a:pt x="147" y="33"/>
                  <a:pt x="147" y="33"/>
                </a:cubicBezTo>
                <a:cubicBezTo>
                  <a:pt x="147" y="33"/>
                  <a:pt x="147" y="33"/>
                  <a:pt x="147" y="33"/>
                </a:cubicBezTo>
                <a:cubicBezTo>
                  <a:pt x="147" y="33"/>
                  <a:pt x="147" y="33"/>
                  <a:pt x="147" y="33"/>
                </a:cubicBezTo>
                <a:cubicBezTo>
                  <a:pt x="147" y="34"/>
                  <a:pt x="147" y="34"/>
                  <a:pt x="147" y="34"/>
                </a:cubicBezTo>
                <a:cubicBezTo>
                  <a:pt x="148" y="34"/>
                  <a:pt x="148" y="34"/>
                  <a:pt x="148" y="34"/>
                </a:cubicBezTo>
                <a:cubicBezTo>
                  <a:pt x="148" y="34"/>
                  <a:pt x="148" y="34"/>
                  <a:pt x="148" y="34"/>
                </a:cubicBezTo>
                <a:close/>
                <a:moveTo>
                  <a:pt x="148" y="32"/>
                </a:moveTo>
                <a:cubicBezTo>
                  <a:pt x="147" y="31"/>
                  <a:pt x="147" y="31"/>
                  <a:pt x="147" y="31"/>
                </a:cubicBezTo>
                <a:cubicBezTo>
                  <a:pt x="148" y="30"/>
                  <a:pt x="148" y="30"/>
                  <a:pt x="148" y="30"/>
                </a:cubicBezTo>
                <a:cubicBezTo>
                  <a:pt x="149" y="30"/>
                  <a:pt x="149" y="30"/>
                  <a:pt x="149" y="30"/>
                </a:cubicBezTo>
                <a:cubicBezTo>
                  <a:pt x="150" y="29"/>
                  <a:pt x="150" y="29"/>
                  <a:pt x="150" y="29"/>
                </a:cubicBezTo>
                <a:cubicBezTo>
                  <a:pt x="150" y="30"/>
                  <a:pt x="150" y="30"/>
                  <a:pt x="150" y="30"/>
                </a:cubicBezTo>
                <a:cubicBezTo>
                  <a:pt x="150" y="30"/>
                  <a:pt x="150" y="30"/>
                  <a:pt x="150" y="30"/>
                </a:cubicBezTo>
                <a:cubicBezTo>
                  <a:pt x="149" y="31"/>
                  <a:pt x="149" y="31"/>
                  <a:pt x="149" y="31"/>
                </a:cubicBezTo>
                <a:cubicBezTo>
                  <a:pt x="148" y="32"/>
                  <a:pt x="148" y="32"/>
                  <a:pt x="148" y="32"/>
                </a:cubicBezTo>
                <a:cubicBezTo>
                  <a:pt x="148" y="32"/>
                  <a:pt x="148" y="32"/>
                  <a:pt x="148" y="32"/>
                </a:cubicBezTo>
                <a:close/>
                <a:moveTo>
                  <a:pt x="148" y="33"/>
                </a:moveTo>
                <a:cubicBezTo>
                  <a:pt x="149" y="33"/>
                  <a:pt x="149" y="33"/>
                  <a:pt x="149" y="33"/>
                </a:cubicBezTo>
                <a:cubicBezTo>
                  <a:pt x="150" y="34"/>
                  <a:pt x="150" y="34"/>
                  <a:pt x="150" y="34"/>
                </a:cubicBezTo>
                <a:cubicBezTo>
                  <a:pt x="151" y="34"/>
                  <a:pt x="151" y="34"/>
                  <a:pt x="151" y="34"/>
                </a:cubicBezTo>
                <a:cubicBezTo>
                  <a:pt x="151" y="33"/>
                  <a:pt x="151" y="33"/>
                  <a:pt x="151" y="33"/>
                </a:cubicBezTo>
                <a:cubicBezTo>
                  <a:pt x="152" y="33"/>
                  <a:pt x="152" y="33"/>
                  <a:pt x="152" y="33"/>
                </a:cubicBezTo>
                <a:cubicBezTo>
                  <a:pt x="151" y="32"/>
                  <a:pt x="151" y="32"/>
                  <a:pt x="151" y="32"/>
                </a:cubicBezTo>
                <a:cubicBezTo>
                  <a:pt x="149" y="33"/>
                  <a:pt x="149" y="33"/>
                  <a:pt x="149" y="33"/>
                </a:cubicBezTo>
                <a:cubicBezTo>
                  <a:pt x="148" y="33"/>
                  <a:pt x="148" y="33"/>
                  <a:pt x="148" y="33"/>
                </a:cubicBezTo>
                <a:cubicBezTo>
                  <a:pt x="148" y="33"/>
                  <a:pt x="148" y="33"/>
                  <a:pt x="148" y="33"/>
                </a:cubicBezTo>
                <a:close/>
                <a:moveTo>
                  <a:pt x="152" y="35"/>
                </a:moveTo>
                <a:cubicBezTo>
                  <a:pt x="153" y="34"/>
                  <a:pt x="153" y="34"/>
                  <a:pt x="153" y="34"/>
                </a:cubicBezTo>
                <a:cubicBezTo>
                  <a:pt x="153" y="34"/>
                  <a:pt x="153" y="34"/>
                  <a:pt x="153" y="34"/>
                </a:cubicBezTo>
                <a:cubicBezTo>
                  <a:pt x="154" y="34"/>
                  <a:pt x="154" y="34"/>
                  <a:pt x="154" y="34"/>
                </a:cubicBezTo>
                <a:cubicBezTo>
                  <a:pt x="154" y="34"/>
                  <a:pt x="154" y="34"/>
                  <a:pt x="154" y="34"/>
                </a:cubicBezTo>
                <a:cubicBezTo>
                  <a:pt x="154" y="35"/>
                  <a:pt x="154" y="35"/>
                  <a:pt x="154" y="35"/>
                </a:cubicBezTo>
                <a:cubicBezTo>
                  <a:pt x="153" y="35"/>
                  <a:pt x="153" y="35"/>
                  <a:pt x="153" y="35"/>
                </a:cubicBezTo>
                <a:cubicBezTo>
                  <a:pt x="152" y="35"/>
                  <a:pt x="152" y="35"/>
                  <a:pt x="152" y="35"/>
                </a:cubicBezTo>
                <a:close/>
                <a:moveTo>
                  <a:pt x="148" y="22"/>
                </a:moveTo>
                <a:cubicBezTo>
                  <a:pt x="147" y="21"/>
                  <a:pt x="147" y="21"/>
                  <a:pt x="147" y="21"/>
                </a:cubicBezTo>
                <a:cubicBezTo>
                  <a:pt x="147" y="19"/>
                  <a:pt x="147" y="19"/>
                  <a:pt x="147" y="19"/>
                </a:cubicBezTo>
                <a:cubicBezTo>
                  <a:pt x="147" y="19"/>
                  <a:pt x="147" y="19"/>
                  <a:pt x="147" y="19"/>
                </a:cubicBezTo>
                <a:cubicBezTo>
                  <a:pt x="148" y="19"/>
                  <a:pt x="148" y="19"/>
                  <a:pt x="148" y="19"/>
                </a:cubicBezTo>
                <a:cubicBezTo>
                  <a:pt x="149" y="21"/>
                  <a:pt x="149" y="21"/>
                  <a:pt x="149" y="21"/>
                </a:cubicBezTo>
                <a:cubicBezTo>
                  <a:pt x="148" y="22"/>
                  <a:pt x="148" y="22"/>
                  <a:pt x="148" y="22"/>
                </a:cubicBezTo>
                <a:cubicBezTo>
                  <a:pt x="148" y="22"/>
                  <a:pt x="148" y="22"/>
                  <a:pt x="148" y="22"/>
                </a:cubicBezTo>
                <a:close/>
                <a:moveTo>
                  <a:pt x="142" y="9"/>
                </a:moveTo>
                <a:cubicBezTo>
                  <a:pt x="142" y="9"/>
                  <a:pt x="142" y="9"/>
                  <a:pt x="142" y="9"/>
                </a:cubicBezTo>
                <a:cubicBezTo>
                  <a:pt x="141" y="7"/>
                  <a:pt x="141" y="7"/>
                  <a:pt x="141" y="7"/>
                </a:cubicBezTo>
                <a:cubicBezTo>
                  <a:pt x="141" y="6"/>
                  <a:pt x="141" y="6"/>
                  <a:pt x="141" y="6"/>
                </a:cubicBezTo>
                <a:cubicBezTo>
                  <a:pt x="140" y="6"/>
                  <a:pt x="140" y="6"/>
                  <a:pt x="140" y="6"/>
                </a:cubicBezTo>
                <a:cubicBezTo>
                  <a:pt x="140" y="7"/>
                  <a:pt x="140" y="7"/>
                  <a:pt x="140" y="7"/>
                </a:cubicBezTo>
                <a:cubicBezTo>
                  <a:pt x="140" y="8"/>
                  <a:pt x="140" y="8"/>
                  <a:pt x="140" y="8"/>
                </a:cubicBezTo>
                <a:cubicBezTo>
                  <a:pt x="138" y="9"/>
                  <a:pt x="138" y="9"/>
                  <a:pt x="138" y="9"/>
                </a:cubicBezTo>
                <a:cubicBezTo>
                  <a:pt x="138" y="9"/>
                  <a:pt x="138" y="9"/>
                  <a:pt x="138" y="9"/>
                </a:cubicBezTo>
                <a:cubicBezTo>
                  <a:pt x="138" y="9"/>
                  <a:pt x="138" y="9"/>
                  <a:pt x="138" y="9"/>
                </a:cubicBezTo>
                <a:cubicBezTo>
                  <a:pt x="138" y="10"/>
                  <a:pt x="138" y="10"/>
                  <a:pt x="138" y="10"/>
                </a:cubicBezTo>
                <a:cubicBezTo>
                  <a:pt x="136" y="12"/>
                  <a:pt x="136" y="12"/>
                  <a:pt x="136" y="12"/>
                </a:cubicBezTo>
                <a:cubicBezTo>
                  <a:pt x="135" y="14"/>
                  <a:pt x="135" y="14"/>
                  <a:pt x="135" y="14"/>
                </a:cubicBezTo>
                <a:cubicBezTo>
                  <a:pt x="135" y="15"/>
                  <a:pt x="135" y="15"/>
                  <a:pt x="135" y="15"/>
                </a:cubicBezTo>
                <a:cubicBezTo>
                  <a:pt x="134" y="17"/>
                  <a:pt x="134" y="17"/>
                  <a:pt x="134" y="17"/>
                </a:cubicBezTo>
                <a:cubicBezTo>
                  <a:pt x="133" y="19"/>
                  <a:pt x="133" y="19"/>
                  <a:pt x="133" y="19"/>
                </a:cubicBezTo>
                <a:cubicBezTo>
                  <a:pt x="132" y="21"/>
                  <a:pt x="132" y="21"/>
                  <a:pt x="132" y="21"/>
                </a:cubicBezTo>
                <a:cubicBezTo>
                  <a:pt x="131" y="21"/>
                  <a:pt x="131" y="21"/>
                  <a:pt x="131" y="21"/>
                </a:cubicBezTo>
                <a:cubicBezTo>
                  <a:pt x="130" y="21"/>
                  <a:pt x="130" y="21"/>
                  <a:pt x="130" y="21"/>
                </a:cubicBezTo>
                <a:cubicBezTo>
                  <a:pt x="130" y="22"/>
                  <a:pt x="130" y="22"/>
                  <a:pt x="130" y="22"/>
                </a:cubicBezTo>
                <a:cubicBezTo>
                  <a:pt x="129" y="23"/>
                  <a:pt x="129" y="23"/>
                  <a:pt x="129" y="23"/>
                </a:cubicBezTo>
                <a:cubicBezTo>
                  <a:pt x="128" y="23"/>
                  <a:pt x="128" y="23"/>
                  <a:pt x="128" y="23"/>
                </a:cubicBezTo>
                <a:cubicBezTo>
                  <a:pt x="128" y="21"/>
                  <a:pt x="128" y="21"/>
                  <a:pt x="128" y="21"/>
                </a:cubicBezTo>
                <a:cubicBezTo>
                  <a:pt x="127" y="21"/>
                  <a:pt x="127" y="21"/>
                  <a:pt x="127" y="21"/>
                </a:cubicBezTo>
                <a:cubicBezTo>
                  <a:pt x="127" y="20"/>
                  <a:pt x="127" y="20"/>
                  <a:pt x="127" y="20"/>
                </a:cubicBezTo>
                <a:cubicBezTo>
                  <a:pt x="127" y="20"/>
                  <a:pt x="127" y="20"/>
                  <a:pt x="127" y="20"/>
                </a:cubicBezTo>
                <a:cubicBezTo>
                  <a:pt x="126" y="21"/>
                  <a:pt x="126" y="21"/>
                  <a:pt x="126" y="21"/>
                </a:cubicBezTo>
                <a:cubicBezTo>
                  <a:pt x="125" y="21"/>
                  <a:pt x="125" y="21"/>
                  <a:pt x="125" y="21"/>
                </a:cubicBezTo>
                <a:cubicBezTo>
                  <a:pt x="124" y="21"/>
                  <a:pt x="124" y="21"/>
                  <a:pt x="124" y="21"/>
                </a:cubicBezTo>
                <a:cubicBezTo>
                  <a:pt x="123" y="20"/>
                  <a:pt x="123" y="20"/>
                  <a:pt x="123" y="20"/>
                </a:cubicBezTo>
                <a:cubicBezTo>
                  <a:pt x="123" y="20"/>
                  <a:pt x="123" y="20"/>
                  <a:pt x="123" y="20"/>
                </a:cubicBezTo>
                <a:cubicBezTo>
                  <a:pt x="123" y="19"/>
                  <a:pt x="123" y="19"/>
                  <a:pt x="123" y="19"/>
                </a:cubicBezTo>
                <a:cubicBezTo>
                  <a:pt x="122" y="18"/>
                  <a:pt x="122" y="18"/>
                  <a:pt x="122" y="18"/>
                </a:cubicBezTo>
                <a:cubicBezTo>
                  <a:pt x="122" y="18"/>
                  <a:pt x="122" y="18"/>
                  <a:pt x="122" y="18"/>
                </a:cubicBezTo>
                <a:cubicBezTo>
                  <a:pt x="121" y="18"/>
                  <a:pt x="121" y="18"/>
                  <a:pt x="121" y="18"/>
                </a:cubicBezTo>
                <a:cubicBezTo>
                  <a:pt x="120" y="16"/>
                  <a:pt x="120" y="16"/>
                  <a:pt x="120" y="16"/>
                </a:cubicBezTo>
                <a:cubicBezTo>
                  <a:pt x="118" y="16"/>
                  <a:pt x="118" y="16"/>
                  <a:pt x="118" y="16"/>
                </a:cubicBezTo>
                <a:cubicBezTo>
                  <a:pt x="117" y="17"/>
                  <a:pt x="117" y="17"/>
                  <a:pt x="117" y="17"/>
                </a:cubicBezTo>
                <a:cubicBezTo>
                  <a:pt x="115" y="17"/>
                  <a:pt x="115" y="17"/>
                  <a:pt x="115" y="17"/>
                </a:cubicBezTo>
                <a:cubicBezTo>
                  <a:pt x="113" y="17"/>
                  <a:pt x="113" y="17"/>
                  <a:pt x="113" y="17"/>
                </a:cubicBezTo>
                <a:cubicBezTo>
                  <a:pt x="112" y="17"/>
                  <a:pt x="112" y="17"/>
                  <a:pt x="112" y="17"/>
                </a:cubicBezTo>
                <a:cubicBezTo>
                  <a:pt x="112" y="19"/>
                  <a:pt x="112" y="19"/>
                  <a:pt x="112" y="19"/>
                </a:cubicBezTo>
                <a:cubicBezTo>
                  <a:pt x="113" y="20"/>
                  <a:pt x="113" y="20"/>
                  <a:pt x="113" y="20"/>
                </a:cubicBezTo>
                <a:cubicBezTo>
                  <a:pt x="113" y="20"/>
                  <a:pt x="113" y="20"/>
                  <a:pt x="113" y="20"/>
                </a:cubicBezTo>
                <a:cubicBezTo>
                  <a:pt x="114" y="22"/>
                  <a:pt x="114" y="22"/>
                  <a:pt x="114" y="22"/>
                </a:cubicBezTo>
                <a:cubicBezTo>
                  <a:pt x="114" y="22"/>
                  <a:pt x="114" y="22"/>
                  <a:pt x="114" y="22"/>
                </a:cubicBezTo>
                <a:cubicBezTo>
                  <a:pt x="112" y="22"/>
                  <a:pt x="112" y="22"/>
                  <a:pt x="112" y="22"/>
                </a:cubicBezTo>
                <a:cubicBezTo>
                  <a:pt x="111" y="22"/>
                  <a:pt x="111" y="22"/>
                  <a:pt x="111" y="22"/>
                </a:cubicBezTo>
                <a:cubicBezTo>
                  <a:pt x="111" y="22"/>
                  <a:pt x="111" y="22"/>
                  <a:pt x="111" y="22"/>
                </a:cubicBezTo>
                <a:cubicBezTo>
                  <a:pt x="110" y="22"/>
                  <a:pt x="110" y="22"/>
                  <a:pt x="110" y="22"/>
                </a:cubicBezTo>
                <a:cubicBezTo>
                  <a:pt x="110" y="22"/>
                  <a:pt x="110" y="22"/>
                  <a:pt x="110" y="22"/>
                </a:cubicBezTo>
                <a:cubicBezTo>
                  <a:pt x="110" y="22"/>
                  <a:pt x="110" y="22"/>
                  <a:pt x="110" y="22"/>
                </a:cubicBezTo>
                <a:cubicBezTo>
                  <a:pt x="108" y="22"/>
                  <a:pt x="108" y="22"/>
                  <a:pt x="108" y="22"/>
                </a:cubicBezTo>
                <a:cubicBezTo>
                  <a:pt x="107" y="22"/>
                  <a:pt x="107" y="22"/>
                  <a:pt x="107" y="22"/>
                </a:cubicBezTo>
                <a:cubicBezTo>
                  <a:pt x="106" y="21"/>
                  <a:pt x="106" y="21"/>
                  <a:pt x="106" y="21"/>
                </a:cubicBezTo>
                <a:cubicBezTo>
                  <a:pt x="104" y="21"/>
                  <a:pt x="104" y="21"/>
                  <a:pt x="104" y="21"/>
                </a:cubicBezTo>
                <a:cubicBezTo>
                  <a:pt x="103" y="22"/>
                  <a:pt x="103" y="22"/>
                  <a:pt x="103" y="22"/>
                </a:cubicBezTo>
                <a:cubicBezTo>
                  <a:pt x="102" y="24"/>
                  <a:pt x="102" y="24"/>
                  <a:pt x="102" y="24"/>
                </a:cubicBezTo>
                <a:cubicBezTo>
                  <a:pt x="100" y="24"/>
                  <a:pt x="100" y="24"/>
                  <a:pt x="100" y="24"/>
                </a:cubicBezTo>
                <a:cubicBezTo>
                  <a:pt x="98" y="24"/>
                  <a:pt x="98" y="24"/>
                  <a:pt x="98" y="24"/>
                </a:cubicBezTo>
                <a:cubicBezTo>
                  <a:pt x="98" y="25"/>
                  <a:pt x="98" y="25"/>
                  <a:pt x="98" y="25"/>
                </a:cubicBezTo>
                <a:cubicBezTo>
                  <a:pt x="97" y="26"/>
                  <a:pt x="97" y="26"/>
                  <a:pt x="97" y="26"/>
                </a:cubicBezTo>
                <a:cubicBezTo>
                  <a:pt x="96" y="26"/>
                  <a:pt x="96" y="26"/>
                  <a:pt x="96" y="26"/>
                </a:cubicBezTo>
                <a:cubicBezTo>
                  <a:pt x="96" y="26"/>
                  <a:pt x="96" y="26"/>
                  <a:pt x="96" y="26"/>
                </a:cubicBezTo>
                <a:cubicBezTo>
                  <a:pt x="95" y="26"/>
                  <a:pt x="95" y="26"/>
                  <a:pt x="95" y="26"/>
                </a:cubicBezTo>
                <a:cubicBezTo>
                  <a:pt x="94" y="27"/>
                  <a:pt x="94" y="27"/>
                  <a:pt x="94" y="27"/>
                </a:cubicBezTo>
                <a:cubicBezTo>
                  <a:pt x="93" y="26"/>
                  <a:pt x="93" y="26"/>
                  <a:pt x="93" y="26"/>
                </a:cubicBezTo>
                <a:cubicBezTo>
                  <a:pt x="91" y="24"/>
                  <a:pt x="91" y="24"/>
                  <a:pt x="91" y="24"/>
                </a:cubicBezTo>
                <a:cubicBezTo>
                  <a:pt x="90" y="23"/>
                  <a:pt x="90" y="23"/>
                  <a:pt x="90" y="23"/>
                </a:cubicBezTo>
                <a:cubicBezTo>
                  <a:pt x="90" y="22"/>
                  <a:pt x="90" y="22"/>
                  <a:pt x="90" y="22"/>
                </a:cubicBezTo>
                <a:cubicBezTo>
                  <a:pt x="88" y="21"/>
                  <a:pt x="88" y="21"/>
                  <a:pt x="88" y="21"/>
                </a:cubicBezTo>
                <a:cubicBezTo>
                  <a:pt x="87" y="20"/>
                  <a:pt x="87" y="20"/>
                  <a:pt x="87" y="20"/>
                </a:cubicBezTo>
                <a:cubicBezTo>
                  <a:pt x="87" y="18"/>
                  <a:pt x="87" y="18"/>
                  <a:pt x="87" y="18"/>
                </a:cubicBezTo>
                <a:cubicBezTo>
                  <a:pt x="87" y="18"/>
                  <a:pt x="87" y="18"/>
                  <a:pt x="87" y="18"/>
                </a:cubicBezTo>
                <a:cubicBezTo>
                  <a:pt x="87" y="17"/>
                  <a:pt x="87" y="17"/>
                  <a:pt x="87" y="17"/>
                </a:cubicBezTo>
                <a:cubicBezTo>
                  <a:pt x="87" y="16"/>
                  <a:pt x="87" y="16"/>
                  <a:pt x="87" y="16"/>
                </a:cubicBezTo>
                <a:cubicBezTo>
                  <a:pt x="88" y="15"/>
                  <a:pt x="88" y="15"/>
                  <a:pt x="88" y="15"/>
                </a:cubicBezTo>
                <a:cubicBezTo>
                  <a:pt x="88" y="13"/>
                  <a:pt x="88" y="13"/>
                  <a:pt x="88" y="13"/>
                </a:cubicBezTo>
                <a:cubicBezTo>
                  <a:pt x="89" y="11"/>
                  <a:pt x="89" y="11"/>
                  <a:pt x="89" y="11"/>
                </a:cubicBezTo>
                <a:cubicBezTo>
                  <a:pt x="89" y="10"/>
                  <a:pt x="89" y="10"/>
                  <a:pt x="89" y="10"/>
                </a:cubicBezTo>
                <a:cubicBezTo>
                  <a:pt x="90" y="8"/>
                  <a:pt x="90" y="8"/>
                  <a:pt x="90" y="8"/>
                </a:cubicBezTo>
                <a:cubicBezTo>
                  <a:pt x="90" y="8"/>
                  <a:pt x="90" y="8"/>
                  <a:pt x="90" y="8"/>
                </a:cubicBezTo>
                <a:cubicBezTo>
                  <a:pt x="89" y="8"/>
                  <a:pt x="89" y="8"/>
                  <a:pt x="89" y="8"/>
                </a:cubicBezTo>
                <a:cubicBezTo>
                  <a:pt x="89" y="7"/>
                  <a:pt x="89" y="7"/>
                  <a:pt x="89" y="7"/>
                </a:cubicBezTo>
                <a:cubicBezTo>
                  <a:pt x="88" y="6"/>
                  <a:pt x="88" y="6"/>
                  <a:pt x="88" y="6"/>
                </a:cubicBezTo>
                <a:cubicBezTo>
                  <a:pt x="87" y="6"/>
                  <a:pt x="87" y="6"/>
                  <a:pt x="87" y="6"/>
                </a:cubicBezTo>
                <a:cubicBezTo>
                  <a:pt x="86" y="5"/>
                  <a:pt x="86" y="5"/>
                  <a:pt x="86" y="5"/>
                </a:cubicBezTo>
                <a:cubicBezTo>
                  <a:pt x="86" y="5"/>
                  <a:pt x="86" y="5"/>
                  <a:pt x="86" y="5"/>
                </a:cubicBezTo>
                <a:cubicBezTo>
                  <a:pt x="87" y="3"/>
                  <a:pt x="87" y="3"/>
                  <a:pt x="87" y="3"/>
                </a:cubicBezTo>
                <a:cubicBezTo>
                  <a:pt x="87" y="2"/>
                  <a:pt x="87" y="2"/>
                  <a:pt x="87" y="2"/>
                </a:cubicBezTo>
                <a:cubicBezTo>
                  <a:pt x="86" y="0"/>
                  <a:pt x="86" y="0"/>
                  <a:pt x="86" y="0"/>
                </a:cubicBezTo>
                <a:cubicBezTo>
                  <a:pt x="85" y="0"/>
                  <a:pt x="85" y="0"/>
                  <a:pt x="85" y="0"/>
                </a:cubicBezTo>
                <a:cubicBezTo>
                  <a:pt x="84" y="1"/>
                  <a:pt x="84" y="1"/>
                  <a:pt x="84" y="1"/>
                </a:cubicBezTo>
                <a:cubicBezTo>
                  <a:pt x="83" y="0"/>
                  <a:pt x="83" y="0"/>
                  <a:pt x="83" y="0"/>
                </a:cubicBezTo>
                <a:cubicBezTo>
                  <a:pt x="83" y="0"/>
                  <a:pt x="83" y="0"/>
                  <a:pt x="83" y="0"/>
                </a:cubicBezTo>
                <a:cubicBezTo>
                  <a:pt x="83" y="1"/>
                  <a:pt x="83" y="1"/>
                  <a:pt x="83" y="1"/>
                </a:cubicBezTo>
                <a:cubicBezTo>
                  <a:pt x="82" y="3"/>
                  <a:pt x="82" y="3"/>
                  <a:pt x="82" y="3"/>
                </a:cubicBezTo>
                <a:cubicBezTo>
                  <a:pt x="79" y="5"/>
                  <a:pt x="79" y="5"/>
                  <a:pt x="79" y="5"/>
                </a:cubicBezTo>
                <a:cubicBezTo>
                  <a:pt x="77" y="5"/>
                  <a:pt x="77" y="5"/>
                  <a:pt x="77" y="5"/>
                </a:cubicBezTo>
                <a:cubicBezTo>
                  <a:pt x="74" y="7"/>
                  <a:pt x="74" y="7"/>
                  <a:pt x="74" y="7"/>
                </a:cubicBezTo>
                <a:cubicBezTo>
                  <a:pt x="73" y="6"/>
                  <a:pt x="73" y="6"/>
                  <a:pt x="73" y="6"/>
                </a:cubicBezTo>
                <a:cubicBezTo>
                  <a:pt x="71" y="6"/>
                  <a:pt x="71" y="6"/>
                  <a:pt x="71" y="6"/>
                </a:cubicBezTo>
                <a:cubicBezTo>
                  <a:pt x="69" y="8"/>
                  <a:pt x="69" y="8"/>
                  <a:pt x="69" y="8"/>
                </a:cubicBezTo>
                <a:cubicBezTo>
                  <a:pt x="67" y="9"/>
                  <a:pt x="67" y="9"/>
                  <a:pt x="67" y="9"/>
                </a:cubicBezTo>
                <a:cubicBezTo>
                  <a:pt x="67" y="8"/>
                  <a:pt x="67" y="8"/>
                  <a:pt x="67" y="8"/>
                </a:cubicBezTo>
                <a:cubicBezTo>
                  <a:pt x="64" y="9"/>
                  <a:pt x="64" y="9"/>
                  <a:pt x="64" y="9"/>
                </a:cubicBezTo>
                <a:cubicBezTo>
                  <a:pt x="62" y="9"/>
                  <a:pt x="62" y="9"/>
                  <a:pt x="62" y="9"/>
                </a:cubicBezTo>
                <a:cubicBezTo>
                  <a:pt x="60" y="8"/>
                  <a:pt x="60" y="8"/>
                  <a:pt x="60" y="8"/>
                </a:cubicBezTo>
                <a:cubicBezTo>
                  <a:pt x="58" y="7"/>
                  <a:pt x="58" y="7"/>
                  <a:pt x="58" y="7"/>
                </a:cubicBezTo>
                <a:cubicBezTo>
                  <a:pt x="56" y="7"/>
                  <a:pt x="56" y="7"/>
                  <a:pt x="56" y="7"/>
                </a:cubicBezTo>
                <a:cubicBezTo>
                  <a:pt x="57" y="8"/>
                  <a:pt x="57" y="8"/>
                  <a:pt x="57" y="8"/>
                </a:cubicBezTo>
                <a:cubicBezTo>
                  <a:pt x="58" y="9"/>
                  <a:pt x="58" y="9"/>
                  <a:pt x="58" y="9"/>
                </a:cubicBezTo>
                <a:cubicBezTo>
                  <a:pt x="60" y="10"/>
                  <a:pt x="60" y="10"/>
                  <a:pt x="60" y="10"/>
                </a:cubicBezTo>
                <a:cubicBezTo>
                  <a:pt x="60" y="11"/>
                  <a:pt x="60" y="11"/>
                  <a:pt x="60" y="11"/>
                </a:cubicBezTo>
                <a:cubicBezTo>
                  <a:pt x="58" y="14"/>
                  <a:pt x="58" y="14"/>
                  <a:pt x="58" y="14"/>
                </a:cubicBezTo>
                <a:cubicBezTo>
                  <a:pt x="59" y="15"/>
                  <a:pt x="59" y="15"/>
                  <a:pt x="59" y="15"/>
                </a:cubicBezTo>
                <a:cubicBezTo>
                  <a:pt x="59" y="17"/>
                  <a:pt x="59" y="17"/>
                  <a:pt x="59" y="17"/>
                </a:cubicBezTo>
                <a:cubicBezTo>
                  <a:pt x="61" y="18"/>
                  <a:pt x="61" y="18"/>
                  <a:pt x="61" y="18"/>
                </a:cubicBezTo>
                <a:cubicBezTo>
                  <a:pt x="63" y="18"/>
                  <a:pt x="63" y="18"/>
                  <a:pt x="63" y="18"/>
                </a:cubicBezTo>
                <a:cubicBezTo>
                  <a:pt x="65" y="18"/>
                  <a:pt x="65" y="18"/>
                  <a:pt x="65" y="18"/>
                </a:cubicBezTo>
                <a:cubicBezTo>
                  <a:pt x="65" y="20"/>
                  <a:pt x="65" y="20"/>
                  <a:pt x="65" y="20"/>
                </a:cubicBezTo>
                <a:cubicBezTo>
                  <a:pt x="64" y="20"/>
                  <a:pt x="64" y="20"/>
                  <a:pt x="64" y="20"/>
                </a:cubicBezTo>
                <a:cubicBezTo>
                  <a:pt x="61" y="21"/>
                  <a:pt x="61" y="21"/>
                  <a:pt x="61" y="21"/>
                </a:cubicBezTo>
                <a:cubicBezTo>
                  <a:pt x="60" y="22"/>
                  <a:pt x="60" y="22"/>
                  <a:pt x="60" y="22"/>
                </a:cubicBezTo>
                <a:cubicBezTo>
                  <a:pt x="59" y="24"/>
                  <a:pt x="59" y="24"/>
                  <a:pt x="59" y="24"/>
                </a:cubicBezTo>
                <a:cubicBezTo>
                  <a:pt x="56" y="25"/>
                  <a:pt x="56" y="25"/>
                  <a:pt x="56" y="25"/>
                </a:cubicBezTo>
                <a:cubicBezTo>
                  <a:pt x="55" y="27"/>
                  <a:pt x="55" y="27"/>
                  <a:pt x="55" y="27"/>
                </a:cubicBezTo>
                <a:cubicBezTo>
                  <a:pt x="53" y="28"/>
                  <a:pt x="53" y="28"/>
                  <a:pt x="53" y="28"/>
                </a:cubicBezTo>
                <a:cubicBezTo>
                  <a:pt x="52" y="30"/>
                  <a:pt x="52" y="30"/>
                  <a:pt x="52" y="30"/>
                </a:cubicBezTo>
                <a:cubicBezTo>
                  <a:pt x="49" y="30"/>
                  <a:pt x="49" y="30"/>
                  <a:pt x="49" y="30"/>
                </a:cubicBezTo>
                <a:cubicBezTo>
                  <a:pt x="48" y="30"/>
                  <a:pt x="48" y="30"/>
                  <a:pt x="48" y="30"/>
                </a:cubicBezTo>
                <a:cubicBezTo>
                  <a:pt x="45" y="28"/>
                  <a:pt x="45" y="28"/>
                  <a:pt x="45" y="28"/>
                </a:cubicBezTo>
                <a:cubicBezTo>
                  <a:pt x="43" y="26"/>
                  <a:pt x="43" y="26"/>
                  <a:pt x="43" y="26"/>
                </a:cubicBezTo>
                <a:cubicBezTo>
                  <a:pt x="41" y="26"/>
                  <a:pt x="41" y="26"/>
                  <a:pt x="41" y="26"/>
                </a:cubicBezTo>
                <a:cubicBezTo>
                  <a:pt x="41" y="25"/>
                  <a:pt x="41" y="25"/>
                  <a:pt x="41" y="25"/>
                </a:cubicBezTo>
                <a:cubicBezTo>
                  <a:pt x="41" y="23"/>
                  <a:pt x="41" y="23"/>
                  <a:pt x="41" y="23"/>
                </a:cubicBezTo>
                <a:cubicBezTo>
                  <a:pt x="40" y="22"/>
                  <a:pt x="40" y="22"/>
                  <a:pt x="40" y="22"/>
                </a:cubicBezTo>
                <a:cubicBezTo>
                  <a:pt x="39" y="21"/>
                  <a:pt x="39" y="21"/>
                  <a:pt x="39" y="21"/>
                </a:cubicBezTo>
                <a:cubicBezTo>
                  <a:pt x="38" y="22"/>
                  <a:pt x="38" y="22"/>
                  <a:pt x="38" y="22"/>
                </a:cubicBezTo>
                <a:cubicBezTo>
                  <a:pt x="36" y="23"/>
                  <a:pt x="36" y="23"/>
                  <a:pt x="36" y="23"/>
                </a:cubicBezTo>
                <a:cubicBezTo>
                  <a:pt x="36" y="23"/>
                  <a:pt x="36" y="23"/>
                  <a:pt x="36" y="23"/>
                </a:cubicBezTo>
                <a:cubicBezTo>
                  <a:pt x="35" y="22"/>
                  <a:pt x="35" y="22"/>
                  <a:pt x="35" y="22"/>
                </a:cubicBezTo>
                <a:cubicBezTo>
                  <a:pt x="34" y="22"/>
                  <a:pt x="34" y="22"/>
                  <a:pt x="34" y="22"/>
                </a:cubicBezTo>
                <a:cubicBezTo>
                  <a:pt x="33" y="23"/>
                  <a:pt x="33" y="23"/>
                  <a:pt x="33" y="23"/>
                </a:cubicBezTo>
                <a:cubicBezTo>
                  <a:pt x="26" y="23"/>
                  <a:pt x="26" y="23"/>
                  <a:pt x="26" y="23"/>
                </a:cubicBezTo>
                <a:cubicBezTo>
                  <a:pt x="25" y="25"/>
                  <a:pt x="25" y="25"/>
                  <a:pt x="25" y="25"/>
                </a:cubicBezTo>
                <a:cubicBezTo>
                  <a:pt x="26" y="27"/>
                  <a:pt x="26" y="27"/>
                  <a:pt x="26" y="27"/>
                </a:cubicBezTo>
                <a:cubicBezTo>
                  <a:pt x="28" y="27"/>
                  <a:pt x="28" y="27"/>
                  <a:pt x="28" y="27"/>
                </a:cubicBezTo>
                <a:cubicBezTo>
                  <a:pt x="29" y="29"/>
                  <a:pt x="29" y="29"/>
                  <a:pt x="29" y="29"/>
                </a:cubicBezTo>
                <a:cubicBezTo>
                  <a:pt x="29" y="30"/>
                  <a:pt x="29" y="30"/>
                  <a:pt x="29" y="30"/>
                </a:cubicBezTo>
                <a:cubicBezTo>
                  <a:pt x="29" y="31"/>
                  <a:pt x="29" y="31"/>
                  <a:pt x="29" y="31"/>
                </a:cubicBezTo>
                <a:cubicBezTo>
                  <a:pt x="29" y="32"/>
                  <a:pt x="29" y="32"/>
                  <a:pt x="29" y="32"/>
                </a:cubicBezTo>
                <a:cubicBezTo>
                  <a:pt x="28" y="31"/>
                  <a:pt x="28" y="31"/>
                  <a:pt x="28" y="31"/>
                </a:cubicBezTo>
                <a:cubicBezTo>
                  <a:pt x="23" y="32"/>
                  <a:pt x="23" y="32"/>
                  <a:pt x="23" y="32"/>
                </a:cubicBezTo>
                <a:cubicBezTo>
                  <a:pt x="24" y="36"/>
                  <a:pt x="24" y="36"/>
                  <a:pt x="24" y="36"/>
                </a:cubicBezTo>
                <a:cubicBezTo>
                  <a:pt x="25" y="37"/>
                  <a:pt x="25" y="37"/>
                  <a:pt x="25" y="37"/>
                </a:cubicBezTo>
                <a:cubicBezTo>
                  <a:pt x="27" y="39"/>
                  <a:pt x="27" y="39"/>
                  <a:pt x="27" y="39"/>
                </a:cubicBezTo>
                <a:cubicBezTo>
                  <a:pt x="29" y="42"/>
                  <a:pt x="29" y="42"/>
                  <a:pt x="29" y="42"/>
                </a:cubicBezTo>
                <a:cubicBezTo>
                  <a:pt x="28" y="44"/>
                  <a:pt x="28" y="44"/>
                  <a:pt x="28" y="44"/>
                </a:cubicBezTo>
                <a:cubicBezTo>
                  <a:pt x="28" y="45"/>
                  <a:pt x="28" y="45"/>
                  <a:pt x="28" y="45"/>
                </a:cubicBezTo>
                <a:cubicBezTo>
                  <a:pt x="25" y="58"/>
                  <a:pt x="25" y="58"/>
                  <a:pt x="25" y="58"/>
                </a:cubicBezTo>
                <a:cubicBezTo>
                  <a:pt x="24" y="61"/>
                  <a:pt x="24" y="61"/>
                  <a:pt x="24" y="61"/>
                </a:cubicBezTo>
                <a:cubicBezTo>
                  <a:pt x="24" y="62"/>
                  <a:pt x="24" y="62"/>
                  <a:pt x="24" y="62"/>
                </a:cubicBezTo>
                <a:cubicBezTo>
                  <a:pt x="23" y="63"/>
                  <a:pt x="23" y="63"/>
                  <a:pt x="23" y="63"/>
                </a:cubicBezTo>
                <a:cubicBezTo>
                  <a:pt x="22" y="62"/>
                  <a:pt x="22" y="62"/>
                  <a:pt x="22" y="62"/>
                </a:cubicBezTo>
                <a:cubicBezTo>
                  <a:pt x="22" y="62"/>
                  <a:pt x="22" y="62"/>
                  <a:pt x="22" y="62"/>
                </a:cubicBezTo>
                <a:cubicBezTo>
                  <a:pt x="21" y="61"/>
                  <a:pt x="21" y="61"/>
                  <a:pt x="21" y="61"/>
                </a:cubicBezTo>
                <a:cubicBezTo>
                  <a:pt x="20" y="61"/>
                  <a:pt x="20" y="61"/>
                  <a:pt x="20" y="61"/>
                </a:cubicBezTo>
                <a:cubicBezTo>
                  <a:pt x="19" y="61"/>
                  <a:pt x="19" y="61"/>
                  <a:pt x="19" y="61"/>
                </a:cubicBezTo>
                <a:cubicBezTo>
                  <a:pt x="19" y="61"/>
                  <a:pt x="19" y="61"/>
                  <a:pt x="19" y="61"/>
                </a:cubicBezTo>
                <a:cubicBezTo>
                  <a:pt x="18" y="62"/>
                  <a:pt x="18" y="62"/>
                  <a:pt x="18" y="62"/>
                </a:cubicBezTo>
                <a:cubicBezTo>
                  <a:pt x="14" y="63"/>
                  <a:pt x="14" y="63"/>
                  <a:pt x="14" y="63"/>
                </a:cubicBezTo>
                <a:cubicBezTo>
                  <a:pt x="11" y="64"/>
                  <a:pt x="11" y="64"/>
                  <a:pt x="11" y="64"/>
                </a:cubicBezTo>
                <a:cubicBezTo>
                  <a:pt x="10" y="65"/>
                  <a:pt x="10" y="65"/>
                  <a:pt x="10" y="65"/>
                </a:cubicBezTo>
                <a:cubicBezTo>
                  <a:pt x="9" y="65"/>
                  <a:pt x="9" y="65"/>
                  <a:pt x="9" y="65"/>
                </a:cubicBezTo>
                <a:cubicBezTo>
                  <a:pt x="8" y="66"/>
                  <a:pt x="8" y="66"/>
                  <a:pt x="8" y="66"/>
                </a:cubicBezTo>
                <a:cubicBezTo>
                  <a:pt x="6" y="67"/>
                  <a:pt x="6" y="67"/>
                  <a:pt x="6" y="67"/>
                </a:cubicBezTo>
                <a:cubicBezTo>
                  <a:pt x="5" y="68"/>
                  <a:pt x="5" y="68"/>
                  <a:pt x="5" y="68"/>
                </a:cubicBezTo>
                <a:cubicBezTo>
                  <a:pt x="5" y="69"/>
                  <a:pt x="5" y="69"/>
                  <a:pt x="5" y="69"/>
                </a:cubicBezTo>
                <a:cubicBezTo>
                  <a:pt x="5" y="70"/>
                  <a:pt x="5" y="70"/>
                  <a:pt x="5" y="70"/>
                </a:cubicBezTo>
                <a:cubicBezTo>
                  <a:pt x="5" y="71"/>
                  <a:pt x="5" y="71"/>
                  <a:pt x="5" y="71"/>
                </a:cubicBezTo>
                <a:cubicBezTo>
                  <a:pt x="3" y="73"/>
                  <a:pt x="3" y="73"/>
                  <a:pt x="3" y="73"/>
                </a:cubicBezTo>
                <a:cubicBezTo>
                  <a:pt x="4" y="75"/>
                  <a:pt x="4" y="75"/>
                  <a:pt x="4" y="75"/>
                </a:cubicBezTo>
                <a:cubicBezTo>
                  <a:pt x="4" y="76"/>
                  <a:pt x="4" y="76"/>
                  <a:pt x="4" y="76"/>
                </a:cubicBezTo>
                <a:cubicBezTo>
                  <a:pt x="3" y="77"/>
                  <a:pt x="3" y="77"/>
                  <a:pt x="3" y="77"/>
                </a:cubicBezTo>
                <a:cubicBezTo>
                  <a:pt x="2" y="77"/>
                  <a:pt x="2" y="77"/>
                  <a:pt x="2" y="77"/>
                </a:cubicBezTo>
                <a:cubicBezTo>
                  <a:pt x="1" y="78"/>
                  <a:pt x="1" y="78"/>
                  <a:pt x="1" y="78"/>
                </a:cubicBezTo>
                <a:cubicBezTo>
                  <a:pt x="1" y="80"/>
                  <a:pt x="1" y="80"/>
                  <a:pt x="1" y="80"/>
                </a:cubicBezTo>
                <a:cubicBezTo>
                  <a:pt x="0" y="80"/>
                  <a:pt x="0" y="80"/>
                  <a:pt x="0" y="80"/>
                </a:cubicBezTo>
                <a:cubicBezTo>
                  <a:pt x="0" y="81"/>
                  <a:pt x="0" y="81"/>
                  <a:pt x="0" y="81"/>
                </a:cubicBezTo>
                <a:cubicBezTo>
                  <a:pt x="0" y="83"/>
                  <a:pt x="0" y="83"/>
                  <a:pt x="0" y="83"/>
                </a:cubicBezTo>
                <a:cubicBezTo>
                  <a:pt x="0" y="84"/>
                  <a:pt x="0" y="84"/>
                  <a:pt x="0" y="84"/>
                </a:cubicBezTo>
                <a:cubicBezTo>
                  <a:pt x="0" y="85"/>
                  <a:pt x="0" y="85"/>
                  <a:pt x="0" y="85"/>
                </a:cubicBezTo>
                <a:cubicBezTo>
                  <a:pt x="0" y="86"/>
                  <a:pt x="0" y="86"/>
                  <a:pt x="0" y="86"/>
                </a:cubicBezTo>
                <a:cubicBezTo>
                  <a:pt x="2" y="87"/>
                  <a:pt x="2" y="87"/>
                  <a:pt x="2" y="87"/>
                </a:cubicBezTo>
                <a:cubicBezTo>
                  <a:pt x="5" y="92"/>
                  <a:pt x="5" y="92"/>
                  <a:pt x="5" y="92"/>
                </a:cubicBezTo>
                <a:cubicBezTo>
                  <a:pt x="3" y="94"/>
                  <a:pt x="3" y="94"/>
                  <a:pt x="3" y="94"/>
                </a:cubicBezTo>
                <a:cubicBezTo>
                  <a:pt x="7" y="94"/>
                  <a:pt x="7" y="94"/>
                  <a:pt x="7" y="94"/>
                </a:cubicBezTo>
                <a:cubicBezTo>
                  <a:pt x="9" y="94"/>
                  <a:pt x="9" y="94"/>
                  <a:pt x="9" y="94"/>
                </a:cubicBezTo>
                <a:cubicBezTo>
                  <a:pt x="10" y="96"/>
                  <a:pt x="10" y="96"/>
                  <a:pt x="10" y="96"/>
                </a:cubicBezTo>
                <a:cubicBezTo>
                  <a:pt x="11" y="98"/>
                  <a:pt x="11" y="98"/>
                  <a:pt x="11" y="98"/>
                </a:cubicBezTo>
                <a:cubicBezTo>
                  <a:pt x="13" y="98"/>
                  <a:pt x="13" y="98"/>
                  <a:pt x="13" y="98"/>
                </a:cubicBezTo>
                <a:cubicBezTo>
                  <a:pt x="16" y="98"/>
                  <a:pt x="16" y="98"/>
                  <a:pt x="16" y="98"/>
                </a:cubicBezTo>
                <a:cubicBezTo>
                  <a:pt x="19" y="96"/>
                  <a:pt x="19" y="96"/>
                  <a:pt x="19" y="96"/>
                </a:cubicBezTo>
                <a:cubicBezTo>
                  <a:pt x="21" y="95"/>
                  <a:pt x="21" y="95"/>
                  <a:pt x="21" y="95"/>
                </a:cubicBezTo>
                <a:cubicBezTo>
                  <a:pt x="22" y="95"/>
                  <a:pt x="22" y="95"/>
                  <a:pt x="22" y="95"/>
                </a:cubicBezTo>
                <a:cubicBezTo>
                  <a:pt x="22" y="97"/>
                  <a:pt x="22" y="97"/>
                  <a:pt x="22" y="97"/>
                </a:cubicBezTo>
                <a:cubicBezTo>
                  <a:pt x="21" y="97"/>
                  <a:pt x="21" y="97"/>
                  <a:pt x="21" y="97"/>
                </a:cubicBezTo>
                <a:cubicBezTo>
                  <a:pt x="21" y="99"/>
                  <a:pt x="21" y="99"/>
                  <a:pt x="21" y="99"/>
                </a:cubicBezTo>
                <a:cubicBezTo>
                  <a:pt x="21" y="103"/>
                  <a:pt x="21" y="103"/>
                  <a:pt x="21" y="103"/>
                </a:cubicBezTo>
                <a:cubicBezTo>
                  <a:pt x="22" y="105"/>
                  <a:pt x="22" y="105"/>
                  <a:pt x="22" y="105"/>
                </a:cubicBezTo>
                <a:cubicBezTo>
                  <a:pt x="22" y="105"/>
                  <a:pt x="22" y="105"/>
                  <a:pt x="22" y="105"/>
                </a:cubicBezTo>
                <a:cubicBezTo>
                  <a:pt x="24" y="105"/>
                  <a:pt x="24" y="105"/>
                  <a:pt x="24" y="105"/>
                </a:cubicBezTo>
                <a:cubicBezTo>
                  <a:pt x="25" y="105"/>
                  <a:pt x="25" y="105"/>
                  <a:pt x="25" y="105"/>
                </a:cubicBezTo>
                <a:cubicBezTo>
                  <a:pt x="26" y="105"/>
                  <a:pt x="26" y="105"/>
                  <a:pt x="26" y="105"/>
                </a:cubicBezTo>
                <a:cubicBezTo>
                  <a:pt x="27" y="105"/>
                  <a:pt x="27" y="105"/>
                  <a:pt x="27" y="105"/>
                </a:cubicBezTo>
                <a:cubicBezTo>
                  <a:pt x="27" y="105"/>
                  <a:pt x="27" y="105"/>
                  <a:pt x="27" y="105"/>
                </a:cubicBezTo>
                <a:cubicBezTo>
                  <a:pt x="28" y="105"/>
                  <a:pt x="28" y="105"/>
                  <a:pt x="28" y="105"/>
                </a:cubicBezTo>
                <a:cubicBezTo>
                  <a:pt x="28" y="105"/>
                  <a:pt x="28" y="105"/>
                  <a:pt x="28" y="105"/>
                </a:cubicBezTo>
                <a:cubicBezTo>
                  <a:pt x="32" y="105"/>
                  <a:pt x="32" y="105"/>
                  <a:pt x="32" y="105"/>
                </a:cubicBezTo>
                <a:cubicBezTo>
                  <a:pt x="33" y="105"/>
                  <a:pt x="33" y="105"/>
                  <a:pt x="33" y="105"/>
                </a:cubicBezTo>
                <a:cubicBezTo>
                  <a:pt x="35" y="104"/>
                  <a:pt x="35" y="104"/>
                  <a:pt x="35" y="104"/>
                </a:cubicBezTo>
                <a:cubicBezTo>
                  <a:pt x="36" y="104"/>
                  <a:pt x="36" y="104"/>
                  <a:pt x="36" y="104"/>
                </a:cubicBezTo>
                <a:cubicBezTo>
                  <a:pt x="38" y="103"/>
                  <a:pt x="38" y="103"/>
                  <a:pt x="38" y="103"/>
                </a:cubicBezTo>
                <a:cubicBezTo>
                  <a:pt x="39" y="103"/>
                  <a:pt x="39" y="103"/>
                  <a:pt x="39" y="103"/>
                </a:cubicBezTo>
                <a:cubicBezTo>
                  <a:pt x="41" y="103"/>
                  <a:pt x="41" y="103"/>
                  <a:pt x="41" y="103"/>
                </a:cubicBezTo>
                <a:cubicBezTo>
                  <a:pt x="42" y="100"/>
                  <a:pt x="42" y="100"/>
                  <a:pt x="42" y="100"/>
                </a:cubicBezTo>
                <a:cubicBezTo>
                  <a:pt x="45" y="98"/>
                  <a:pt x="45" y="98"/>
                  <a:pt x="45" y="98"/>
                </a:cubicBezTo>
                <a:cubicBezTo>
                  <a:pt x="47" y="97"/>
                  <a:pt x="47" y="97"/>
                  <a:pt x="47" y="97"/>
                </a:cubicBezTo>
                <a:cubicBezTo>
                  <a:pt x="49" y="96"/>
                  <a:pt x="49" y="96"/>
                  <a:pt x="49" y="96"/>
                </a:cubicBezTo>
                <a:cubicBezTo>
                  <a:pt x="50" y="96"/>
                  <a:pt x="50" y="96"/>
                  <a:pt x="50" y="96"/>
                </a:cubicBezTo>
                <a:cubicBezTo>
                  <a:pt x="52" y="97"/>
                  <a:pt x="52" y="97"/>
                  <a:pt x="52" y="97"/>
                </a:cubicBezTo>
                <a:cubicBezTo>
                  <a:pt x="53" y="96"/>
                  <a:pt x="53" y="96"/>
                  <a:pt x="53" y="96"/>
                </a:cubicBezTo>
                <a:cubicBezTo>
                  <a:pt x="54" y="97"/>
                  <a:pt x="54" y="97"/>
                  <a:pt x="54" y="97"/>
                </a:cubicBezTo>
                <a:cubicBezTo>
                  <a:pt x="54" y="99"/>
                  <a:pt x="54" y="99"/>
                  <a:pt x="54" y="99"/>
                </a:cubicBezTo>
                <a:cubicBezTo>
                  <a:pt x="54" y="101"/>
                  <a:pt x="54" y="101"/>
                  <a:pt x="54" y="101"/>
                </a:cubicBezTo>
                <a:cubicBezTo>
                  <a:pt x="53" y="103"/>
                  <a:pt x="53" y="103"/>
                  <a:pt x="53" y="103"/>
                </a:cubicBezTo>
                <a:cubicBezTo>
                  <a:pt x="54" y="105"/>
                  <a:pt x="54" y="105"/>
                  <a:pt x="54" y="105"/>
                </a:cubicBezTo>
                <a:cubicBezTo>
                  <a:pt x="54" y="107"/>
                  <a:pt x="54" y="107"/>
                  <a:pt x="54" y="107"/>
                </a:cubicBezTo>
                <a:cubicBezTo>
                  <a:pt x="55" y="109"/>
                  <a:pt x="55" y="109"/>
                  <a:pt x="55" y="109"/>
                </a:cubicBezTo>
                <a:cubicBezTo>
                  <a:pt x="56" y="110"/>
                  <a:pt x="56" y="110"/>
                  <a:pt x="56" y="110"/>
                </a:cubicBezTo>
                <a:cubicBezTo>
                  <a:pt x="57" y="112"/>
                  <a:pt x="57" y="112"/>
                  <a:pt x="57" y="112"/>
                </a:cubicBezTo>
                <a:cubicBezTo>
                  <a:pt x="58" y="112"/>
                  <a:pt x="58" y="112"/>
                  <a:pt x="58" y="112"/>
                </a:cubicBezTo>
                <a:cubicBezTo>
                  <a:pt x="60" y="114"/>
                  <a:pt x="60" y="114"/>
                  <a:pt x="60" y="114"/>
                </a:cubicBezTo>
                <a:cubicBezTo>
                  <a:pt x="62" y="115"/>
                  <a:pt x="62" y="115"/>
                  <a:pt x="62" y="115"/>
                </a:cubicBezTo>
                <a:cubicBezTo>
                  <a:pt x="62" y="114"/>
                  <a:pt x="62" y="114"/>
                  <a:pt x="62" y="114"/>
                </a:cubicBezTo>
                <a:cubicBezTo>
                  <a:pt x="65" y="114"/>
                  <a:pt x="65" y="114"/>
                  <a:pt x="65" y="114"/>
                </a:cubicBezTo>
                <a:cubicBezTo>
                  <a:pt x="67" y="116"/>
                  <a:pt x="67" y="116"/>
                  <a:pt x="67" y="116"/>
                </a:cubicBezTo>
                <a:cubicBezTo>
                  <a:pt x="68" y="115"/>
                  <a:pt x="68" y="115"/>
                  <a:pt x="68" y="115"/>
                </a:cubicBezTo>
                <a:cubicBezTo>
                  <a:pt x="71" y="118"/>
                  <a:pt x="71" y="118"/>
                  <a:pt x="71" y="118"/>
                </a:cubicBezTo>
                <a:cubicBezTo>
                  <a:pt x="72" y="118"/>
                  <a:pt x="72" y="118"/>
                  <a:pt x="72" y="118"/>
                </a:cubicBezTo>
                <a:cubicBezTo>
                  <a:pt x="74" y="119"/>
                  <a:pt x="74" y="119"/>
                  <a:pt x="74" y="119"/>
                </a:cubicBezTo>
                <a:cubicBezTo>
                  <a:pt x="76" y="119"/>
                  <a:pt x="76" y="119"/>
                  <a:pt x="76" y="119"/>
                </a:cubicBezTo>
                <a:cubicBezTo>
                  <a:pt x="77" y="121"/>
                  <a:pt x="77" y="121"/>
                  <a:pt x="77" y="121"/>
                </a:cubicBezTo>
                <a:cubicBezTo>
                  <a:pt x="78" y="121"/>
                  <a:pt x="78" y="121"/>
                  <a:pt x="78" y="121"/>
                </a:cubicBezTo>
                <a:cubicBezTo>
                  <a:pt x="79" y="122"/>
                  <a:pt x="79" y="122"/>
                  <a:pt x="79" y="122"/>
                </a:cubicBezTo>
                <a:cubicBezTo>
                  <a:pt x="83" y="122"/>
                  <a:pt x="83" y="122"/>
                  <a:pt x="83" y="122"/>
                </a:cubicBezTo>
                <a:cubicBezTo>
                  <a:pt x="86" y="123"/>
                  <a:pt x="86" y="123"/>
                  <a:pt x="86" y="123"/>
                </a:cubicBezTo>
                <a:cubicBezTo>
                  <a:pt x="86" y="125"/>
                  <a:pt x="86" y="125"/>
                  <a:pt x="86" y="125"/>
                </a:cubicBezTo>
                <a:cubicBezTo>
                  <a:pt x="86" y="127"/>
                  <a:pt x="86" y="127"/>
                  <a:pt x="86" y="127"/>
                </a:cubicBezTo>
                <a:cubicBezTo>
                  <a:pt x="86" y="130"/>
                  <a:pt x="86" y="130"/>
                  <a:pt x="86" y="130"/>
                </a:cubicBezTo>
                <a:cubicBezTo>
                  <a:pt x="86" y="131"/>
                  <a:pt x="86" y="131"/>
                  <a:pt x="86" y="131"/>
                </a:cubicBezTo>
                <a:cubicBezTo>
                  <a:pt x="88" y="135"/>
                  <a:pt x="88" y="135"/>
                  <a:pt x="88" y="135"/>
                </a:cubicBezTo>
                <a:cubicBezTo>
                  <a:pt x="88" y="138"/>
                  <a:pt x="88" y="138"/>
                  <a:pt x="88" y="138"/>
                </a:cubicBezTo>
                <a:cubicBezTo>
                  <a:pt x="99" y="138"/>
                  <a:pt x="99" y="138"/>
                  <a:pt x="99" y="138"/>
                </a:cubicBezTo>
                <a:cubicBezTo>
                  <a:pt x="99" y="142"/>
                  <a:pt x="99" y="142"/>
                  <a:pt x="99" y="142"/>
                </a:cubicBezTo>
                <a:cubicBezTo>
                  <a:pt x="99" y="145"/>
                  <a:pt x="99" y="145"/>
                  <a:pt x="99" y="145"/>
                </a:cubicBezTo>
                <a:cubicBezTo>
                  <a:pt x="102" y="146"/>
                  <a:pt x="102" y="146"/>
                  <a:pt x="102" y="146"/>
                </a:cubicBezTo>
                <a:cubicBezTo>
                  <a:pt x="106" y="151"/>
                  <a:pt x="106" y="151"/>
                  <a:pt x="106" y="151"/>
                </a:cubicBezTo>
                <a:cubicBezTo>
                  <a:pt x="106" y="154"/>
                  <a:pt x="106" y="154"/>
                  <a:pt x="106" y="154"/>
                </a:cubicBezTo>
                <a:cubicBezTo>
                  <a:pt x="103" y="161"/>
                  <a:pt x="103" y="161"/>
                  <a:pt x="103" y="161"/>
                </a:cubicBezTo>
                <a:cubicBezTo>
                  <a:pt x="103" y="161"/>
                  <a:pt x="103" y="161"/>
                  <a:pt x="103" y="161"/>
                </a:cubicBezTo>
                <a:cubicBezTo>
                  <a:pt x="102" y="163"/>
                  <a:pt x="102" y="163"/>
                  <a:pt x="102" y="163"/>
                </a:cubicBezTo>
                <a:cubicBezTo>
                  <a:pt x="103" y="163"/>
                  <a:pt x="103" y="163"/>
                  <a:pt x="103" y="163"/>
                </a:cubicBezTo>
                <a:cubicBezTo>
                  <a:pt x="102" y="165"/>
                  <a:pt x="102" y="165"/>
                  <a:pt x="102" y="165"/>
                </a:cubicBezTo>
                <a:cubicBezTo>
                  <a:pt x="104" y="166"/>
                  <a:pt x="104" y="166"/>
                  <a:pt x="104" y="166"/>
                </a:cubicBezTo>
                <a:cubicBezTo>
                  <a:pt x="104" y="168"/>
                  <a:pt x="104" y="168"/>
                  <a:pt x="104" y="168"/>
                </a:cubicBezTo>
                <a:cubicBezTo>
                  <a:pt x="105" y="170"/>
                  <a:pt x="105" y="170"/>
                  <a:pt x="105" y="170"/>
                </a:cubicBezTo>
                <a:cubicBezTo>
                  <a:pt x="105" y="173"/>
                  <a:pt x="105" y="173"/>
                  <a:pt x="105" y="173"/>
                </a:cubicBezTo>
                <a:cubicBezTo>
                  <a:pt x="105" y="175"/>
                  <a:pt x="105" y="175"/>
                  <a:pt x="105" y="175"/>
                </a:cubicBezTo>
                <a:cubicBezTo>
                  <a:pt x="105" y="176"/>
                  <a:pt x="105" y="176"/>
                  <a:pt x="105" y="176"/>
                </a:cubicBezTo>
                <a:cubicBezTo>
                  <a:pt x="105" y="178"/>
                  <a:pt x="105" y="178"/>
                  <a:pt x="105" y="178"/>
                </a:cubicBezTo>
                <a:cubicBezTo>
                  <a:pt x="107" y="178"/>
                  <a:pt x="107" y="178"/>
                  <a:pt x="107" y="178"/>
                </a:cubicBezTo>
                <a:cubicBezTo>
                  <a:pt x="108" y="178"/>
                  <a:pt x="108" y="178"/>
                  <a:pt x="108" y="178"/>
                </a:cubicBezTo>
                <a:cubicBezTo>
                  <a:pt x="111" y="178"/>
                  <a:pt x="111" y="178"/>
                  <a:pt x="111" y="178"/>
                </a:cubicBezTo>
                <a:cubicBezTo>
                  <a:pt x="113" y="178"/>
                  <a:pt x="113" y="178"/>
                  <a:pt x="113" y="178"/>
                </a:cubicBezTo>
                <a:cubicBezTo>
                  <a:pt x="116" y="177"/>
                  <a:pt x="116" y="177"/>
                  <a:pt x="116" y="177"/>
                </a:cubicBezTo>
                <a:cubicBezTo>
                  <a:pt x="118" y="178"/>
                  <a:pt x="118" y="178"/>
                  <a:pt x="118" y="178"/>
                </a:cubicBezTo>
                <a:cubicBezTo>
                  <a:pt x="119" y="179"/>
                  <a:pt x="119" y="179"/>
                  <a:pt x="119" y="179"/>
                </a:cubicBezTo>
                <a:cubicBezTo>
                  <a:pt x="119" y="180"/>
                  <a:pt x="119" y="180"/>
                  <a:pt x="119" y="180"/>
                </a:cubicBezTo>
                <a:cubicBezTo>
                  <a:pt x="121" y="187"/>
                  <a:pt x="121" y="187"/>
                  <a:pt x="121" y="187"/>
                </a:cubicBezTo>
                <a:cubicBezTo>
                  <a:pt x="122" y="189"/>
                  <a:pt x="122" y="189"/>
                  <a:pt x="122" y="189"/>
                </a:cubicBezTo>
                <a:cubicBezTo>
                  <a:pt x="123" y="190"/>
                  <a:pt x="123" y="190"/>
                  <a:pt x="123" y="190"/>
                </a:cubicBezTo>
                <a:cubicBezTo>
                  <a:pt x="125" y="188"/>
                  <a:pt x="125" y="188"/>
                  <a:pt x="125" y="188"/>
                </a:cubicBezTo>
                <a:cubicBezTo>
                  <a:pt x="127" y="189"/>
                  <a:pt x="127" y="189"/>
                  <a:pt x="127" y="189"/>
                </a:cubicBezTo>
                <a:cubicBezTo>
                  <a:pt x="128" y="190"/>
                  <a:pt x="128" y="190"/>
                  <a:pt x="128" y="190"/>
                </a:cubicBezTo>
                <a:cubicBezTo>
                  <a:pt x="129" y="190"/>
                  <a:pt x="129" y="190"/>
                  <a:pt x="129" y="190"/>
                </a:cubicBezTo>
                <a:cubicBezTo>
                  <a:pt x="128" y="191"/>
                  <a:pt x="128" y="191"/>
                  <a:pt x="128" y="191"/>
                </a:cubicBezTo>
                <a:cubicBezTo>
                  <a:pt x="128" y="197"/>
                  <a:pt x="128" y="197"/>
                  <a:pt x="128" y="197"/>
                </a:cubicBezTo>
                <a:cubicBezTo>
                  <a:pt x="128" y="198"/>
                  <a:pt x="128" y="198"/>
                  <a:pt x="128" y="198"/>
                </a:cubicBezTo>
                <a:cubicBezTo>
                  <a:pt x="127" y="198"/>
                  <a:pt x="127" y="198"/>
                  <a:pt x="127" y="198"/>
                </a:cubicBezTo>
                <a:cubicBezTo>
                  <a:pt x="127" y="199"/>
                  <a:pt x="127" y="199"/>
                  <a:pt x="127" y="199"/>
                </a:cubicBezTo>
                <a:cubicBezTo>
                  <a:pt x="127" y="199"/>
                  <a:pt x="127" y="199"/>
                  <a:pt x="127" y="199"/>
                </a:cubicBezTo>
                <a:cubicBezTo>
                  <a:pt x="127" y="200"/>
                  <a:pt x="127" y="200"/>
                  <a:pt x="127" y="200"/>
                </a:cubicBezTo>
                <a:cubicBezTo>
                  <a:pt x="128" y="199"/>
                  <a:pt x="128" y="199"/>
                  <a:pt x="128" y="199"/>
                </a:cubicBezTo>
                <a:cubicBezTo>
                  <a:pt x="131" y="200"/>
                  <a:pt x="131" y="200"/>
                  <a:pt x="131" y="200"/>
                </a:cubicBezTo>
                <a:cubicBezTo>
                  <a:pt x="131" y="201"/>
                  <a:pt x="131" y="201"/>
                  <a:pt x="131" y="201"/>
                </a:cubicBezTo>
                <a:cubicBezTo>
                  <a:pt x="133" y="204"/>
                  <a:pt x="133" y="204"/>
                  <a:pt x="133" y="204"/>
                </a:cubicBezTo>
                <a:cubicBezTo>
                  <a:pt x="132" y="206"/>
                  <a:pt x="132" y="206"/>
                  <a:pt x="132" y="206"/>
                </a:cubicBezTo>
                <a:cubicBezTo>
                  <a:pt x="133" y="208"/>
                  <a:pt x="133" y="208"/>
                  <a:pt x="133" y="208"/>
                </a:cubicBezTo>
                <a:cubicBezTo>
                  <a:pt x="133" y="210"/>
                  <a:pt x="133" y="210"/>
                  <a:pt x="133" y="210"/>
                </a:cubicBezTo>
                <a:cubicBezTo>
                  <a:pt x="133" y="211"/>
                  <a:pt x="133" y="211"/>
                  <a:pt x="133" y="211"/>
                </a:cubicBezTo>
                <a:cubicBezTo>
                  <a:pt x="131" y="211"/>
                  <a:pt x="131" y="211"/>
                  <a:pt x="131" y="211"/>
                </a:cubicBezTo>
                <a:cubicBezTo>
                  <a:pt x="130" y="212"/>
                  <a:pt x="130" y="212"/>
                  <a:pt x="130" y="212"/>
                </a:cubicBezTo>
                <a:cubicBezTo>
                  <a:pt x="130" y="213"/>
                  <a:pt x="130" y="213"/>
                  <a:pt x="130" y="213"/>
                </a:cubicBezTo>
                <a:cubicBezTo>
                  <a:pt x="129" y="213"/>
                  <a:pt x="129" y="213"/>
                  <a:pt x="129" y="213"/>
                </a:cubicBezTo>
                <a:cubicBezTo>
                  <a:pt x="128" y="213"/>
                  <a:pt x="128" y="213"/>
                  <a:pt x="128" y="213"/>
                </a:cubicBezTo>
                <a:cubicBezTo>
                  <a:pt x="126" y="215"/>
                  <a:pt x="126" y="215"/>
                  <a:pt x="126" y="215"/>
                </a:cubicBezTo>
                <a:cubicBezTo>
                  <a:pt x="125" y="216"/>
                  <a:pt x="125" y="216"/>
                  <a:pt x="125" y="216"/>
                </a:cubicBezTo>
                <a:cubicBezTo>
                  <a:pt x="124" y="216"/>
                  <a:pt x="124" y="216"/>
                  <a:pt x="124" y="216"/>
                </a:cubicBezTo>
                <a:cubicBezTo>
                  <a:pt x="122" y="218"/>
                  <a:pt x="122" y="218"/>
                  <a:pt x="122" y="218"/>
                </a:cubicBezTo>
                <a:cubicBezTo>
                  <a:pt x="121" y="218"/>
                  <a:pt x="121" y="218"/>
                  <a:pt x="121" y="218"/>
                </a:cubicBezTo>
                <a:cubicBezTo>
                  <a:pt x="121" y="220"/>
                  <a:pt x="121" y="220"/>
                  <a:pt x="121" y="220"/>
                </a:cubicBezTo>
                <a:cubicBezTo>
                  <a:pt x="120" y="220"/>
                  <a:pt x="120" y="220"/>
                  <a:pt x="120" y="220"/>
                </a:cubicBezTo>
                <a:cubicBezTo>
                  <a:pt x="119" y="220"/>
                  <a:pt x="119" y="220"/>
                  <a:pt x="119" y="220"/>
                </a:cubicBezTo>
                <a:cubicBezTo>
                  <a:pt x="117" y="222"/>
                  <a:pt x="117" y="222"/>
                  <a:pt x="117" y="222"/>
                </a:cubicBezTo>
                <a:cubicBezTo>
                  <a:pt x="117" y="223"/>
                  <a:pt x="117" y="223"/>
                  <a:pt x="117" y="223"/>
                </a:cubicBezTo>
                <a:cubicBezTo>
                  <a:pt x="117" y="225"/>
                  <a:pt x="117" y="225"/>
                  <a:pt x="117" y="225"/>
                </a:cubicBezTo>
                <a:cubicBezTo>
                  <a:pt x="116" y="225"/>
                  <a:pt x="116" y="225"/>
                  <a:pt x="116" y="225"/>
                </a:cubicBezTo>
                <a:cubicBezTo>
                  <a:pt x="116" y="226"/>
                  <a:pt x="116" y="226"/>
                  <a:pt x="116" y="226"/>
                </a:cubicBezTo>
                <a:cubicBezTo>
                  <a:pt x="114" y="228"/>
                  <a:pt x="114" y="228"/>
                  <a:pt x="114" y="228"/>
                </a:cubicBezTo>
                <a:cubicBezTo>
                  <a:pt x="113" y="229"/>
                  <a:pt x="113" y="229"/>
                  <a:pt x="113" y="229"/>
                </a:cubicBezTo>
                <a:cubicBezTo>
                  <a:pt x="112" y="231"/>
                  <a:pt x="112" y="231"/>
                  <a:pt x="112" y="231"/>
                </a:cubicBezTo>
                <a:cubicBezTo>
                  <a:pt x="112" y="231"/>
                  <a:pt x="112" y="231"/>
                  <a:pt x="112" y="231"/>
                </a:cubicBezTo>
                <a:cubicBezTo>
                  <a:pt x="111" y="232"/>
                  <a:pt x="111" y="232"/>
                  <a:pt x="111" y="232"/>
                </a:cubicBezTo>
                <a:cubicBezTo>
                  <a:pt x="111" y="233"/>
                  <a:pt x="111" y="233"/>
                  <a:pt x="111" y="233"/>
                </a:cubicBezTo>
                <a:cubicBezTo>
                  <a:pt x="112" y="233"/>
                  <a:pt x="112" y="233"/>
                  <a:pt x="112" y="233"/>
                </a:cubicBezTo>
                <a:cubicBezTo>
                  <a:pt x="113" y="233"/>
                  <a:pt x="113" y="233"/>
                  <a:pt x="113" y="233"/>
                </a:cubicBezTo>
                <a:cubicBezTo>
                  <a:pt x="116" y="232"/>
                  <a:pt x="116" y="232"/>
                  <a:pt x="116" y="232"/>
                </a:cubicBezTo>
                <a:cubicBezTo>
                  <a:pt x="117" y="233"/>
                  <a:pt x="117" y="233"/>
                  <a:pt x="117" y="233"/>
                </a:cubicBezTo>
                <a:cubicBezTo>
                  <a:pt x="119" y="235"/>
                  <a:pt x="119" y="235"/>
                  <a:pt x="119" y="235"/>
                </a:cubicBezTo>
                <a:cubicBezTo>
                  <a:pt x="120" y="235"/>
                  <a:pt x="120" y="235"/>
                  <a:pt x="120" y="235"/>
                </a:cubicBezTo>
                <a:cubicBezTo>
                  <a:pt x="121" y="237"/>
                  <a:pt x="121" y="237"/>
                  <a:pt x="121" y="237"/>
                </a:cubicBezTo>
                <a:cubicBezTo>
                  <a:pt x="122" y="240"/>
                  <a:pt x="122" y="240"/>
                  <a:pt x="122" y="240"/>
                </a:cubicBezTo>
                <a:cubicBezTo>
                  <a:pt x="123" y="240"/>
                  <a:pt x="123" y="240"/>
                  <a:pt x="123" y="240"/>
                </a:cubicBezTo>
                <a:cubicBezTo>
                  <a:pt x="124" y="238"/>
                  <a:pt x="124" y="238"/>
                  <a:pt x="124" y="238"/>
                </a:cubicBezTo>
                <a:cubicBezTo>
                  <a:pt x="125" y="238"/>
                  <a:pt x="125" y="238"/>
                  <a:pt x="125" y="238"/>
                </a:cubicBezTo>
                <a:cubicBezTo>
                  <a:pt x="126" y="241"/>
                  <a:pt x="126" y="241"/>
                  <a:pt x="126" y="241"/>
                </a:cubicBezTo>
                <a:cubicBezTo>
                  <a:pt x="128" y="241"/>
                  <a:pt x="128" y="241"/>
                  <a:pt x="128" y="241"/>
                </a:cubicBezTo>
                <a:cubicBezTo>
                  <a:pt x="129" y="242"/>
                  <a:pt x="129" y="242"/>
                  <a:pt x="129" y="242"/>
                </a:cubicBezTo>
                <a:cubicBezTo>
                  <a:pt x="131" y="243"/>
                  <a:pt x="131" y="243"/>
                  <a:pt x="131" y="243"/>
                </a:cubicBezTo>
                <a:cubicBezTo>
                  <a:pt x="131" y="245"/>
                  <a:pt x="131" y="245"/>
                  <a:pt x="131" y="245"/>
                </a:cubicBezTo>
                <a:cubicBezTo>
                  <a:pt x="132" y="245"/>
                  <a:pt x="132" y="245"/>
                  <a:pt x="132" y="245"/>
                </a:cubicBezTo>
                <a:cubicBezTo>
                  <a:pt x="135" y="246"/>
                  <a:pt x="135" y="246"/>
                  <a:pt x="135" y="246"/>
                </a:cubicBezTo>
                <a:cubicBezTo>
                  <a:pt x="136" y="248"/>
                  <a:pt x="136" y="248"/>
                  <a:pt x="136" y="248"/>
                </a:cubicBezTo>
                <a:cubicBezTo>
                  <a:pt x="138" y="250"/>
                  <a:pt x="138" y="250"/>
                  <a:pt x="138" y="250"/>
                </a:cubicBezTo>
                <a:cubicBezTo>
                  <a:pt x="139" y="251"/>
                  <a:pt x="139" y="251"/>
                  <a:pt x="139" y="251"/>
                </a:cubicBezTo>
                <a:cubicBezTo>
                  <a:pt x="139" y="253"/>
                  <a:pt x="139" y="253"/>
                  <a:pt x="139" y="253"/>
                </a:cubicBezTo>
                <a:cubicBezTo>
                  <a:pt x="138" y="254"/>
                  <a:pt x="138" y="254"/>
                  <a:pt x="138" y="254"/>
                </a:cubicBezTo>
                <a:cubicBezTo>
                  <a:pt x="138" y="256"/>
                  <a:pt x="138" y="256"/>
                  <a:pt x="138" y="256"/>
                </a:cubicBezTo>
                <a:cubicBezTo>
                  <a:pt x="138" y="257"/>
                  <a:pt x="138" y="257"/>
                  <a:pt x="138" y="257"/>
                </a:cubicBezTo>
                <a:cubicBezTo>
                  <a:pt x="138" y="257"/>
                  <a:pt x="138" y="257"/>
                  <a:pt x="138" y="257"/>
                </a:cubicBezTo>
                <a:cubicBezTo>
                  <a:pt x="139" y="258"/>
                  <a:pt x="139" y="258"/>
                  <a:pt x="139" y="258"/>
                </a:cubicBezTo>
                <a:cubicBezTo>
                  <a:pt x="140" y="258"/>
                  <a:pt x="140" y="258"/>
                  <a:pt x="140" y="258"/>
                </a:cubicBezTo>
                <a:cubicBezTo>
                  <a:pt x="142" y="256"/>
                  <a:pt x="142" y="256"/>
                  <a:pt x="142" y="256"/>
                </a:cubicBezTo>
                <a:cubicBezTo>
                  <a:pt x="143" y="254"/>
                  <a:pt x="143" y="254"/>
                  <a:pt x="143" y="254"/>
                </a:cubicBezTo>
                <a:cubicBezTo>
                  <a:pt x="144" y="250"/>
                  <a:pt x="144" y="250"/>
                  <a:pt x="144" y="250"/>
                </a:cubicBezTo>
                <a:cubicBezTo>
                  <a:pt x="145" y="247"/>
                  <a:pt x="145" y="247"/>
                  <a:pt x="145" y="247"/>
                </a:cubicBezTo>
                <a:cubicBezTo>
                  <a:pt x="145" y="246"/>
                  <a:pt x="145" y="246"/>
                  <a:pt x="145" y="246"/>
                </a:cubicBezTo>
                <a:cubicBezTo>
                  <a:pt x="145" y="246"/>
                  <a:pt x="145" y="246"/>
                  <a:pt x="145" y="246"/>
                </a:cubicBezTo>
                <a:cubicBezTo>
                  <a:pt x="144" y="244"/>
                  <a:pt x="144" y="244"/>
                  <a:pt x="144" y="244"/>
                </a:cubicBezTo>
                <a:cubicBezTo>
                  <a:pt x="144" y="243"/>
                  <a:pt x="144" y="243"/>
                  <a:pt x="144" y="243"/>
                </a:cubicBezTo>
                <a:cubicBezTo>
                  <a:pt x="145" y="243"/>
                  <a:pt x="145" y="243"/>
                  <a:pt x="145" y="243"/>
                </a:cubicBezTo>
                <a:cubicBezTo>
                  <a:pt x="145" y="242"/>
                  <a:pt x="145" y="242"/>
                  <a:pt x="145" y="242"/>
                </a:cubicBezTo>
                <a:cubicBezTo>
                  <a:pt x="146" y="241"/>
                  <a:pt x="146" y="241"/>
                  <a:pt x="146" y="241"/>
                </a:cubicBezTo>
                <a:cubicBezTo>
                  <a:pt x="146" y="240"/>
                  <a:pt x="146" y="240"/>
                  <a:pt x="146" y="240"/>
                </a:cubicBezTo>
                <a:cubicBezTo>
                  <a:pt x="147" y="240"/>
                  <a:pt x="147" y="240"/>
                  <a:pt x="147" y="240"/>
                </a:cubicBezTo>
                <a:cubicBezTo>
                  <a:pt x="148" y="240"/>
                  <a:pt x="148" y="240"/>
                  <a:pt x="148" y="240"/>
                </a:cubicBezTo>
                <a:cubicBezTo>
                  <a:pt x="149" y="239"/>
                  <a:pt x="149" y="239"/>
                  <a:pt x="149" y="239"/>
                </a:cubicBezTo>
                <a:cubicBezTo>
                  <a:pt x="149" y="238"/>
                  <a:pt x="149" y="238"/>
                  <a:pt x="149" y="238"/>
                </a:cubicBezTo>
                <a:cubicBezTo>
                  <a:pt x="149" y="237"/>
                  <a:pt x="149" y="237"/>
                  <a:pt x="149" y="237"/>
                </a:cubicBezTo>
                <a:cubicBezTo>
                  <a:pt x="149" y="236"/>
                  <a:pt x="149" y="236"/>
                  <a:pt x="149" y="236"/>
                </a:cubicBezTo>
                <a:cubicBezTo>
                  <a:pt x="150" y="235"/>
                  <a:pt x="150" y="235"/>
                  <a:pt x="150" y="235"/>
                </a:cubicBezTo>
                <a:cubicBezTo>
                  <a:pt x="150" y="235"/>
                  <a:pt x="150" y="235"/>
                  <a:pt x="150" y="235"/>
                </a:cubicBezTo>
                <a:cubicBezTo>
                  <a:pt x="151" y="234"/>
                  <a:pt x="151" y="234"/>
                  <a:pt x="151" y="234"/>
                </a:cubicBezTo>
                <a:cubicBezTo>
                  <a:pt x="151" y="233"/>
                  <a:pt x="151" y="233"/>
                  <a:pt x="151" y="233"/>
                </a:cubicBezTo>
                <a:cubicBezTo>
                  <a:pt x="150" y="232"/>
                  <a:pt x="150" y="232"/>
                  <a:pt x="150" y="232"/>
                </a:cubicBezTo>
                <a:cubicBezTo>
                  <a:pt x="150" y="231"/>
                  <a:pt x="150" y="231"/>
                  <a:pt x="150" y="231"/>
                </a:cubicBezTo>
                <a:cubicBezTo>
                  <a:pt x="149" y="230"/>
                  <a:pt x="149" y="230"/>
                  <a:pt x="149" y="230"/>
                </a:cubicBezTo>
                <a:cubicBezTo>
                  <a:pt x="150" y="230"/>
                  <a:pt x="150" y="230"/>
                  <a:pt x="150" y="230"/>
                </a:cubicBezTo>
                <a:cubicBezTo>
                  <a:pt x="151" y="232"/>
                  <a:pt x="151" y="232"/>
                  <a:pt x="151" y="232"/>
                </a:cubicBezTo>
                <a:cubicBezTo>
                  <a:pt x="152" y="233"/>
                  <a:pt x="152" y="233"/>
                  <a:pt x="152" y="233"/>
                </a:cubicBezTo>
                <a:cubicBezTo>
                  <a:pt x="153" y="233"/>
                  <a:pt x="153" y="233"/>
                  <a:pt x="153" y="233"/>
                </a:cubicBezTo>
                <a:cubicBezTo>
                  <a:pt x="153" y="233"/>
                  <a:pt x="153" y="233"/>
                  <a:pt x="153" y="233"/>
                </a:cubicBezTo>
                <a:cubicBezTo>
                  <a:pt x="154" y="233"/>
                  <a:pt x="154" y="233"/>
                  <a:pt x="154" y="233"/>
                </a:cubicBezTo>
                <a:cubicBezTo>
                  <a:pt x="154" y="235"/>
                  <a:pt x="154" y="235"/>
                  <a:pt x="154" y="235"/>
                </a:cubicBezTo>
                <a:cubicBezTo>
                  <a:pt x="154" y="235"/>
                  <a:pt x="154" y="235"/>
                  <a:pt x="154" y="235"/>
                </a:cubicBezTo>
                <a:cubicBezTo>
                  <a:pt x="153" y="237"/>
                  <a:pt x="153" y="237"/>
                  <a:pt x="153" y="237"/>
                </a:cubicBezTo>
                <a:cubicBezTo>
                  <a:pt x="151" y="239"/>
                  <a:pt x="151" y="239"/>
                  <a:pt x="151" y="239"/>
                </a:cubicBezTo>
                <a:cubicBezTo>
                  <a:pt x="150" y="239"/>
                  <a:pt x="150" y="239"/>
                  <a:pt x="150" y="239"/>
                </a:cubicBezTo>
                <a:cubicBezTo>
                  <a:pt x="150" y="241"/>
                  <a:pt x="150" y="241"/>
                  <a:pt x="150" y="241"/>
                </a:cubicBezTo>
                <a:cubicBezTo>
                  <a:pt x="150" y="242"/>
                  <a:pt x="150" y="242"/>
                  <a:pt x="150" y="242"/>
                </a:cubicBezTo>
                <a:cubicBezTo>
                  <a:pt x="149" y="242"/>
                  <a:pt x="149" y="242"/>
                  <a:pt x="149" y="242"/>
                </a:cubicBezTo>
                <a:cubicBezTo>
                  <a:pt x="148" y="242"/>
                  <a:pt x="148" y="242"/>
                  <a:pt x="148" y="242"/>
                </a:cubicBezTo>
                <a:cubicBezTo>
                  <a:pt x="147" y="243"/>
                  <a:pt x="147" y="243"/>
                  <a:pt x="147" y="243"/>
                </a:cubicBezTo>
                <a:cubicBezTo>
                  <a:pt x="147" y="244"/>
                  <a:pt x="147" y="244"/>
                  <a:pt x="147" y="244"/>
                </a:cubicBezTo>
                <a:cubicBezTo>
                  <a:pt x="146" y="244"/>
                  <a:pt x="146" y="244"/>
                  <a:pt x="146" y="244"/>
                </a:cubicBezTo>
                <a:cubicBezTo>
                  <a:pt x="145" y="245"/>
                  <a:pt x="145" y="245"/>
                  <a:pt x="145" y="245"/>
                </a:cubicBezTo>
                <a:cubicBezTo>
                  <a:pt x="145" y="245"/>
                  <a:pt x="145" y="245"/>
                  <a:pt x="145" y="245"/>
                </a:cubicBezTo>
                <a:cubicBezTo>
                  <a:pt x="147" y="246"/>
                  <a:pt x="147" y="246"/>
                  <a:pt x="147" y="246"/>
                </a:cubicBezTo>
                <a:cubicBezTo>
                  <a:pt x="150" y="242"/>
                  <a:pt x="150" y="242"/>
                  <a:pt x="150" y="242"/>
                </a:cubicBezTo>
                <a:cubicBezTo>
                  <a:pt x="153" y="240"/>
                  <a:pt x="153" y="240"/>
                  <a:pt x="153" y="240"/>
                </a:cubicBezTo>
                <a:cubicBezTo>
                  <a:pt x="155" y="235"/>
                  <a:pt x="155" y="235"/>
                  <a:pt x="155" y="235"/>
                </a:cubicBezTo>
                <a:cubicBezTo>
                  <a:pt x="157" y="233"/>
                  <a:pt x="157" y="233"/>
                  <a:pt x="157" y="233"/>
                </a:cubicBezTo>
                <a:cubicBezTo>
                  <a:pt x="158" y="229"/>
                  <a:pt x="158" y="229"/>
                  <a:pt x="158" y="229"/>
                </a:cubicBezTo>
                <a:cubicBezTo>
                  <a:pt x="161" y="224"/>
                  <a:pt x="161" y="224"/>
                  <a:pt x="161" y="224"/>
                </a:cubicBezTo>
                <a:cubicBezTo>
                  <a:pt x="163" y="221"/>
                  <a:pt x="163" y="221"/>
                  <a:pt x="163" y="221"/>
                </a:cubicBezTo>
                <a:cubicBezTo>
                  <a:pt x="164" y="220"/>
                  <a:pt x="164" y="220"/>
                  <a:pt x="164" y="220"/>
                </a:cubicBezTo>
                <a:cubicBezTo>
                  <a:pt x="164" y="219"/>
                  <a:pt x="164" y="219"/>
                  <a:pt x="164" y="219"/>
                </a:cubicBezTo>
                <a:cubicBezTo>
                  <a:pt x="164" y="218"/>
                  <a:pt x="164" y="218"/>
                  <a:pt x="164" y="218"/>
                </a:cubicBezTo>
                <a:cubicBezTo>
                  <a:pt x="164" y="218"/>
                  <a:pt x="164" y="218"/>
                  <a:pt x="164" y="218"/>
                </a:cubicBezTo>
                <a:cubicBezTo>
                  <a:pt x="165" y="217"/>
                  <a:pt x="165" y="217"/>
                  <a:pt x="165" y="217"/>
                </a:cubicBezTo>
                <a:cubicBezTo>
                  <a:pt x="166" y="216"/>
                  <a:pt x="166" y="216"/>
                  <a:pt x="166" y="216"/>
                </a:cubicBezTo>
                <a:cubicBezTo>
                  <a:pt x="165" y="215"/>
                  <a:pt x="165" y="215"/>
                  <a:pt x="165" y="215"/>
                </a:cubicBezTo>
                <a:cubicBezTo>
                  <a:pt x="166" y="214"/>
                  <a:pt x="166" y="214"/>
                  <a:pt x="166" y="214"/>
                </a:cubicBezTo>
                <a:cubicBezTo>
                  <a:pt x="165" y="214"/>
                  <a:pt x="165" y="214"/>
                  <a:pt x="165" y="214"/>
                </a:cubicBezTo>
                <a:cubicBezTo>
                  <a:pt x="165" y="214"/>
                  <a:pt x="165" y="214"/>
                  <a:pt x="165" y="214"/>
                </a:cubicBezTo>
                <a:cubicBezTo>
                  <a:pt x="165" y="212"/>
                  <a:pt x="165" y="212"/>
                  <a:pt x="165" y="212"/>
                </a:cubicBezTo>
                <a:cubicBezTo>
                  <a:pt x="164" y="211"/>
                  <a:pt x="164" y="211"/>
                  <a:pt x="164" y="211"/>
                </a:cubicBezTo>
                <a:cubicBezTo>
                  <a:pt x="164" y="210"/>
                  <a:pt x="164" y="210"/>
                  <a:pt x="164" y="210"/>
                </a:cubicBezTo>
                <a:cubicBezTo>
                  <a:pt x="164" y="209"/>
                  <a:pt x="164" y="209"/>
                  <a:pt x="164" y="209"/>
                </a:cubicBezTo>
                <a:cubicBezTo>
                  <a:pt x="164" y="208"/>
                  <a:pt x="164" y="208"/>
                  <a:pt x="164" y="208"/>
                </a:cubicBezTo>
                <a:cubicBezTo>
                  <a:pt x="163" y="206"/>
                  <a:pt x="163" y="206"/>
                  <a:pt x="163" y="206"/>
                </a:cubicBezTo>
                <a:cubicBezTo>
                  <a:pt x="163" y="205"/>
                  <a:pt x="163" y="205"/>
                  <a:pt x="163" y="205"/>
                </a:cubicBezTo>
                <a:cubicBezTo>
                  <a:pt x="163" y="204"/>
                  <a:pt x="163" y="204"/>
                  <a:pt x="163" y="204"/>
                </a:cubicBezTo>
                <a:cubicBezTo>
                  <a:pt x="165" y="204"/>
                  <a:pt x="165" y="204"/>
                  <a:pt x="165" y="204"/>
                </a:cubicBezTo>
                <a:cubicBezTo>
                  <a:pt x="164" y="203"/>
                  <a:pt x="164" y="203"/>
                  <a:pt x="164" y="203"/>
                </a:cubicBezTo>
                <a:cubicBezTo>
                  <a:pt x="164" y="202"/>
                  <a:pt x="164" y="202"/>
                  <a:pt x="164" y="202"/>
                </a:cubicBezTo>
                <a:cubicBezTo>
                  <a:pt x="165" y="202"/>
                  <a:pt x="165" y="202"/>
                  <a:pt x="165" y="202"/>
                </a:cubicBezTo>
                <a:cubicBezTo>
                  <a:pt x="165" y="201"/>
                  <a:pt x="165" y="201"/>
                  <a:pt x="165" y="201"/>
                </a:cubicBezTo>
                <a:cubicBezTo>
                  <a:pt x="164" y="200"/>
                  <a:pt x="164" y="200"/>
                  <a:pt x="164" y="200"/>
                </a:cubicBezTo>
                <a:cubicBezTo>
                  <a:pt x="165" y="200"/>
                  <a:pt x="165" y="200"/>
                  <a:pt x="165" y="200"/>
                </a:cubicBezTo>
                <a:cubicBezTo>
                  <a:pt x="166" y="198"/>
                  <a:pt x="166" y="198"/>
                  <a:pt x="166" y="198"/>
                </a:cubicBezTo>
                <a:cubicBezTo>
                  <a:pt x="166" y="199"/>
                  <a:pt x="166" y="199"/>
                  <a:pt x="166" y="199"/>
                </a:cubicBezTo>
                <a:cubicBezTo>
                  <a:pt x="168" y="197"/>
                  <a:pt x="168" y="197"/>
                  <a:pt x="168" y="197"/>
                </a:cubicBezTo>
                <a:cubicBezTo>
                  <a:pt x="169" y="196"/>
                  <a:pt x="169" y="196"/>
                  <a:pt x="169" y="196"/>
                </a:cubicBezTo>
                <a:cubicBezTo>
                  <a:pt x="169" y="196"/>
                  <a:pt x="169" y="196"/>
                  <a:pt x="169" y="196"/>
                </a:cubicBezTo>
                <a:cubicBezTo>
                  <a:pt x="171" y="194"/>
                  <a:pt x="171" y="194"/>
                  <a:pt x="171" y="194"/>
                </a:cubicBezTo>
                <a:cubicBezTo>
                  <a:pt x="173" y="193"/>
                  <a:pt x="173" y="193"/>
                  <a:pt x="173" y="193"/>
                </a:cubicBezTo>
                <a:cubicBezTo>
                  <a:pt x="176" y="190"/>
                  <a:pt x="176" y="190"/>
                  <a:pt x="176" y="190"/>
                </a:cubicBezTo>
                <a:cubicBezTo>
                  <a:pt x="178" y="190"/>
                  <a:pt x="178" y="190"/>
                  <a:pt x="178" y="190"/>
                </a:cubicBezTo>
                <a:cubicBezTo>
                  <a:pt x="179" y="189"/>
                  <a:pt x="179" y="189"/>
                  <a:pt x="179" y="189"/>
                </a:cubicBezTo>
                <a:cubicBezTo>
                  <a:pt x="180" y="188"/>
                  <a:pt x="180" y="188"/>
                  <a:pt x="180" y="188"/>
                </a:cubicBezTo>
                <a:cubicBezTo>
                  <a:pt x="182" y="188"/>
                  <a:pt x="182" y="188"/>
                  <a:pt x="182" y="188"/>
                </a:cubicBezTo>
                <a:cubicBezTo>
                  <a:pt x="182" y="188"/>
                  <a:pt x="182" y="188"/>
                  <a:pt x="182" y="188"/>
                </a:cubicBezTo>
                <a:cubicBezTo>
                  <a:pt x="183" y="188"/>
                  <a:pt x="183" y="188"/>
                  <a:pt x="183" y="188"/>
                </a:cubicBezTo>
                <a:cubicBezTo>
                  <a:pt x="183" y="188"/>
                  <a:pt x="183" y="188"/>
                  <a:pt x="183" y="188"/>
                </a:cubicBezTo>
                <a:cubicBezTo>
                  <a:pt x="184" y="186"/>
                  <a:pt x="184" y="186"/>
                  <a:pt x="184" y="186"/>
                </a:cubicBezTo>
                <a:cubicBezTo>
                  <a:pt x="187" y="184"/>
                  <a:pt x="187" y="184"/>
                  <a:pt x="187" y="184"/>
                </a:cubicBezTo>
                <a:cubicBezTo>
                  <a:pt x="188" y="184"/>
                  <a:pt x="188" y="184"/>
                  <a:pt x="188" y="184"/>
                </a:cubicBezTo>
                <a:cubicBezTo>
                  <a:pt x="188" y="183"/>
                  <a:pt x="188" y="183"/>
                  <a:pt x="188" y="183"/>
                </a:cubicBezTo>
                <a:cubicBezTo>
                  <a:pt x="188" y="183"/>
                  <a:pt x="188" y="183"/>
                  <a:pt x="188" y="183"/>
                </a:cubicBezTo>
                <a:cubicBezTo>
                  <a:pt x="187" y="183"/>
                  <a:pt x="187" y="183"/>
                  <a:pt x="187" y="183"/>
                </a:cubicBezTo>
                <a:cubicBezTo>
                  <a:pt x="186" y="182"/>
                  <a:pt x="186" y="182"/>
                  <a:pt x="186" y="182"/>
                </a:cubicBezTo>
                <a:cubicBezTo>
                  <a:pt x="187" y="182"/>
                  <a:pt x="187" y="182"/>
                  <a:pt x="187" y="182"/>
                </a:cubicBezTo>
                <a:cubicBezTo>
                  <a:pt x="189" y="181"/>
                  <a:pt x="189" y="181"/>
                  <a:pt x="189" y="181"/>
                </a:cubicBezTo>
                <a:cubicBezTo>
                  <a:pt x="190" y="181"/>
                  <a:pt x="190" y="181"/>
                  <a:pt x="190" y="181"/>
                </a:cubicBezTo>
                <a:cubicBezTo>
                  <a:pt x="191" y="181"/>
                  <a:pt x="191" y="181"/>
                  <a:pt x="191" y="181"/>
                </a:cubicBezTo>
                <a:cubicBezTo>
                  <a:pt x="192" y="180"/>
                  <a:pt x="192" y="180"/>
                  <a:pt x="192" y="180"/>
                </a:cubicBezTo>
                <a:cubicBezTo>
                  <a:pt x="193" y="180"/>
                  <a:pt x="193" y="180"/>
                  <a:pt x="193" y="180"/>
                </a:cubicBezTo>
                <a:cubicBezTo>
                  <a:pt x="193" y="181"/>
                  <a:pt x="193" y="181"/>
                  <a:pt x="193" y="181"/>
                </a:cubicBezTo>
                <a:cubicBezTo>
                  <a:pt x="191" y="182"/>
                  <a:pt x="191" y="182"/>
                  <a:pt x="191" y="182"/>
                </a:cubicBezTo>
                <a:cubicBezTo>
                  <a:pt x="189" y="182"/>
                  <a:pt x="189" y="182"/>
                  <a:pt x="189" y="182"/>
                </a:cubicBezTo>
                <a:cubicBezTo>
                  <a:pt x="189" y="182"/>
                  <a:pt x="189" y="182"/>
                  <a:pt x="189" y="182"/>
                </a:cubicBezTo>
                <a:cubicBezTo>
                  <a:pt x="190" y="183"/>
                  <a:pt x="190" y="183"/>
                  <a:pt x="190" y="183"/>
                </a:cubicBezTo>
                <a:cubicBezTo>
                  <a:pt x="192" y="182"/>
                  <a:pt x="192" y="182"/>
                  <a:pt x="192" y="182"/>
                </a:cubicBezTo>
                <a:cubicBezTo>
                  <a:pt x="195" y="181"/>
                  <a:pt x="195" y="181"/>
                  <a:pt x="195" y="181"/>
                </a:cubicBezTo>
                <a:cubicBezTo>
                  <a:pt x="195" y="180"/>
                  <a:pt x="195" y="180"/>
                  <a:pt x="195" y="180"/>
                </a:cubicBezTo>
                <a:cubicBezTo>
                  <a:pt x="196" y="180"/>
                  <a:pt x="196" y="180"/>
                  <a:pt x="196" y="180"/>
                </a:cubicBezTo>
                <a:cubicBezTo>
                  <a:pt x="196" y="180"/>
                  <a:pt x="196" y="180"/>
                  <a:pt x="196" y="180"/>
                </a:cubicBezTo>
                <a:cubicBezTo>
                  <a:pt x="196" y="180"/>
                  <a:pt x="196" y="180"/>
                  <a:pt x="196" y="180"/>
                </a:cubicBezTo>
                <a:cubicBezTo>
                  <a:pt x="196" y="180"/>
                  <a:pt x="196" y="182"/>
                  <a:pt x="196" y="182"/>
                </a:cubicBezTo>
                <a:cubicBezTo>
                  <a:pt x="196" y="182"/>
                  <a:pt x="198" y="182"/>
                  <a:pt x="198" y="182"/>
                </a:cubicBezTo>
                <a:cubicBezTo>
                  <a:pt x="199" y="181"/>
                  <a:pt x="199" y="181"/>
                  <a:pt x="199" y="181"/>
                </a:cubicBezTo>
                <a:cubicBezTo>
                  <a:pt x="201" y="181"/>
                  <a:pt x="201" y="181"/>
                  <a:pt x="201" y="181"/>
                </a:cubicBezTo>
                <a:cubicBezTo>
                  <a:pt x="203" y="182"/>
                  <a:pt x="203" y="182"/>
                  <a:pt x="203" y="182"/>
                </a:cubicBezTo>
                <a:cubicBezTo>
                  <a:pt x="204" y="181"/>
                  <a:pt x="204" y="181"/>
                  <a:pt x="204" y="181"/>
                </a:cubicBezTo>
                <a:cubicBezTo>
                  <a:pt x="204" y="180"/>
                  <a:pt x="204" y="180"/>
                  <a:pt x="204" y="180"/>
                </a:cubicBezTo>
                <a:cubicBezTo>
                  <a:pt x="204" y="180"/>
                  <a:pt x="204" y="180"/>
                  <a:pt x="204" y="180"/>
                </a:cubicBezTo>
                <a:cubicBezTo>
                  <a:pt x="204" y="179"/>
                  <a:pt x="204" y="179"/>
                  <a:pt x="204" y="179"/>
                </a:cubicBezTo>
                <a:cubicBezTo>
                  <a:pt x="207" y="177"/>
                  <a:pt x="207" y="177"/>
                  <a:pt x="207" y="177"/>
                </a:cubicBezTo>
                <a:cubicBezTo>
                  <a:pt x="209" y="176"/>
                  <a:pt x="209" y="176"/>
                  <a:pt x="209" y="176"/>
                </a:cubicBezTo>
                <a:cubicBezTo>
                  <a:pt x="210" y="176"/>
                  <a:pt x="210" y="176"/>
                  <a:pt x="210" y="176"/>
                </a:cubicBezTo>
                <a:cubicBezTo>
                  <a:pt x="211" y="175"/>
                  <a:pt x="211" y="175"/>
                  <a:pt x="211" y="175"/>
                </a:cubicBezTo>
                <a:cubicBezTo>
                  <a:pt x="211" y="174"/>
                  <a:pt x="211" y="174"/>
                  <a:pt x="211" y="174"/>
                </a:cubicBezTo>
                <a:cubicBezTo>
                  <a:pt x="209" y="172"/>
                  <a:pt x="209" y="172"/>
                  <a:pt x="209" y="172"/>
                </a:cubicBezTo>
                <a:cubicBezTo>
                  <a:pt x="210" y="170"/>
                  <a:pt x="210" y="170"/>
                  <a:pt x="210" y="170"/>
                </a:cubicBezTo>
                <a:cubicBezTo>
                  <a:pt x="211" y="169"/>
                  <a:pt x="211" y="169"/>
                  <a:pt x="211" y="169"/>
                </a:cubicBezTo>
                <a:cubicBezTo>
                  <a:pt x="211" y="168"/>
                  <a:pt x="211" y="168"/>
                  <a:pt x="211" y="168"/>
                </a:cubicBezTo>
                <a:cubicBezTo>
                  <a:pt x="212" y="167"/>
                  <a:pt x="212" y="167"/>
                  <a:pt x="212" y="167"/>
                </a:cubicBezTo>
                <a:cubicBezTo>
                  <a:pt x="213" y="167"/>
                  <a:pt x="213" y="167"/>
                  <a:pt x="213" y="167"/>
                </a:cubicBezTo>
                <a:cubicBezTo>
                  <a:pt x="213" y="165"/>
                  <a:pt x="213" y="165"/>
                  <a:pt x="213" y="165"/>
                </a:cubicBezTo>
                <a:cubicBezTo>
                  <a:pt x="213" y="165"/>
                  <a:pt x="213" y="165"/>
                  <a:pt x="213" y="165"/>
                </a:cubicBezTo>
                <a:cubicBezTo>
                  <a:pt x="214" y="162"/>
                  <a:pt x="214" y="162"/>
                  <a:pt x="214" y="162"/>
                </a:cubicBezTo>
                <a:cubicBezTo>
                  <a:pt x="217" y="160"/>
                  <a:pt x="217" y="160"/>
                  <a:pt x="217" y="160"/>
                </a:cubicBezTo>
                <a:cubicBezTo>
                  <a:pt x="217" y="158"/>
                  <a:pt x="217" y="158"/>
                  <a:pt x="217" y="158"/>
                </a:cubicBezTo>
                <a:cubicBezTo>
                  <a:pt x="216" y="154"/>
                  <a:pt x="216" y="154"/>
                  <a:pt x="216" y="154"/>
                </a:cubicBezTo>
                <a:cubicBezTo>
                  <a:pt x="216" y="154"/>
                  <a:pt x="216" y="154"/>
                  <a:pt x="216" y="154"/>
                </a:cubicBezTo>
                <a:cubicBezTo>
                  <a:pt x="217" y="151"/>
                  <a:pt x="217" y="151"/>
                  <a:pt x="217" y="151"/>
                </a:cubicBezTo>
                <a:cubicBezTo>
                  <a:pt x="217" y="150"/>
                  <a:pt x="217" y="150"/>
                  <a:pt x="217" y="150"/>
                </a:cubicBezTo>
                <a:cubicBezTo>
                  <a:pt x="218" y="149"/>
                  <a:pt x="218" y="149"/>
                  <a:pt x="218" y="149"/>
                </a:cubicBezTo>
                <a:cubicBezTo>
                  <a:pt x="219" y="148"/>
                  <a:pt x="219" y="148"/>
                  <a:pt x="219" y="148"/>
                </a:cubicBezTo>
                <a:cubicBezTo>
                  <a:pt x="220" y="147"/>
                  <a:pt x="220" y="147"/>
                  <a:pt x="220" y="147"/>
                </a:cubicBezTo>
                <a:cubicBezTo>
                  <a:pt x="219" y="145"/>
                  <a:pt x="219" y="145"/>
                  <a:pt x="219" y="145"/>
                </a:cubicBezTo>
                <a:cubicBezTo>
                  <a:pt x="220" y="142"/>
                  <a:pt x="220" y="142"/>
                  <a:pt x="220" y="142"/>
                </a:cubicBezTo>
                <a:cubicBezTo>
                  <a:pt x="220" y="140"/>
                  <a:pt x="220" y="140"/>
                  <a:pt x="220" y="140"/>
                </a:cubicBezTo>
                <a:cubicBezTo>
                  <a:pt x="220" y="138"/>
                  <a:pt x="220" y="138"/>
                  <a:pt x="220" y="138"/>
                </a:cubicBezTo>
                <a:cubicBezTo>
                  <a:pt x="220" y="137"/>
                  <a:pt x="220" y="137"/>
                  <a:pt x="220" y="137"/>
                </a:cubicBezTo>
                <a:cubicBezTo>
                  <a:pt x="221" y="135"/>
                  <a:pt x="221" y="135"/>
                  <a:pt x="221" y="135"/>
                </a:cubicBezTo>
                <a:cubicBezTo>
                  <a:pt x="220" y="127"/>
                  <a:pt x="220" y="127"/>
                  <a:pt x="220" y="127"/>
                </a:cubicBezTo>
                <a:cubicBezTo>
                  <a:pt x="220" y="125"/>
                  <a:pt x="220" y="125"/>
                  <a:pt x="220" y="125"/>
                </a:cubicBezTo>
                <a:cubicBezTo>
                  <a:pt x="221" y="124"/>
                  <a:pt x="221" y="124"/>
                  <a:pt x="221" y="124"/>
                </a:cubicBezTo>
                <a:cubicBezTo>
                  <a:pt x="221" y="123"/>
                  <a:pt x="221" y="123"/>
                  <a:pt x="221" y="123"/>
                </a:cubicBezTo>
                <a:cubicBezTo>
                  <a:pt x="220" y="123"/>
                  <a:pt x="220" y="123"/>
                  <a:pt x="220" y="123"/>
                </a:cubicBezTo>
                <a:cubicBezTo>
                  <a:pt x="219" y="123"/>
                  <a:pt x="219" y="123"/>
                  <a:pt x="219" y="123"/>
                </a:cubicBezTo>
                <a:cubicBezTo>
                  <a:pt x="219" y="122"/>
                  <a:pt x="219" y="122"/>
                  <a:pt x="219" y="122"/>
                </a:cubicBezTo>
                <a:cubicBezTo>
                  <a:pt x="220" y="120"/>
                  <a:pt x="220" y="120"/>
                  <a:pt x="220" y="120"/>
                </a:cubicBezTo>
                <a:cubicBezTo>
                  <a:pt x="220" y="119"/>
                  <a:pt x="220" y="119"/>
                  <a:pt x="220" y="119"/>
                </a:cubicBezTo>
                <a:cubicBezTo>
                  <a:pt x="220" y="118"/>
                  <a:pt x="220" y="118"/>
                  <a:pt x="220" y="118"/>
                </a:cubicBezTo>
                <a:cubicBezTo>
                  <a:pt x="221" y="118"/>
                  <a:pt x="221" y="118"/>
                  <a:pt x="221" y="118"/>
                </a:cubicBezTo>
                <a:cubicBezTo>
                  <a:pt x="221" y="116"/>
                  <a:pt x="221" y="116"/>
                  <a:pt x="221" y="116"/>
                </a:cubicBezTo>
                <a:cubicBezTo>
                  <a:pt x="220" y="115"/>
                  <a:pt x="220" y="115"/>
                  <a:pt x="220" y="115"/>
                </a:cubicBezTo>
                <a:cubicBezTo>
                  <a:pt x="218" y="114"/>
                  <a:pt x="218" y="114"/>
                  <a:pt x="218" y="114"/>
                </a:cubicBezTo>
                <a:cubicBezTo>
                  <a:pt x="219" y="114"/>
                  <a:pt x="219" y="114"/>
                  <a:pt x="219" y="114"/>
                </a:cubicBezTo>
                <a:cubicBezTo>
                  <a:pt x="219" y="113"/>
                  <a:pt x="219" y="113"/>
                  <a:pt x="219" y="113"/>
                </a:cubicBezTo>
                <a:cubicBezTo>
                  <a:pt x="219" y="114"/>
                  <a:pt x="219" y="114"/>
                  <a:pt x="219" y="114"/>
                </a:cubicBezTo>
                <a:cubicBezTo>
                  <a:pt x="220" y="115"/>
                  <a:pt x="220" y="115"/>
                  <a:pt x="220" y="115"/>
                </a:cubicBezTo>
                <a:cubicBezTo>
                  <a:pt x="221" y="115"/>
                  <a:pt x="221" y="115"/>
                  <a:pt x="221" y="115"/>
                </a:cubicBezTo>
                <a:cubicBezTo>
                  <a:pt x="222" y="114"/>
                  <a:pt x="222" y="114"/>
                  <a:pt x="222" y="114"/>
                </a:cubicBezTo>
                <a:cubicBezTo>
                  <a:pt x="223" y="114"/>
                  <a:pt x="223" y="114"/>
                  <a:pt x="223" y="114"/>
                </a:cubicBezTo>
                <a:cubicBezTo>
                  <a:pt x="223" y="114"/>
                  <a:pt x="223" y="114"/>
                  <a:pt x="223" y="114"/>
                </a:cubicBezTo>
                <a:cubicBezTo>
                  <a:pt x="224" y="115"/>
                  <a:pt x="224" y="115"/>
                  <a:pt x="224" y="115"/>
                </a:cubicBezTo>
                <a:cubicBezTo>
                  <a:pt x="223" y="116"/>
                  <a:pt x="223" y="116"/>
                  <a:pt x="223" y="116"/>
                </a:cubicBezTo>
                <a:cubicBezTo>
                  <a:pt x="222" y="116"/>
                  <a:pt x="222" y="116"/>
                  <a:pt x="222" y="116"/>
                </a:cubicBezTo>
                <a:cubicBezTo>
                  <a:pt x="222" y="117"/>
                  <a:pt x="222" y="117"/>
                  <a:pt x="222" y="117"/>
                </a:cubicBezTo>
                <a:cubicBezTo>
                  <a:pt x="222" y="117"/>
                  <a:pt x="222" y="117"/>
                  <a:pt x="222" y="117"/>
                </a:cubicBezTo>
                <a:cubicBezTo>
                  <a:pt x="224" y="116"/>
                  <a:pt x="224" y="116"/>
                  <a:pt x="224" y="116"/>
                </a:cubicBezTo>
                <a:cubicBezTo>
                  <a:pt x="225" y="115"/>
                  <a:pt x="225" y="115"/>
                  <a:pt x="225" y="115"/>
                </a:cubicBezTo>
                <a:cubicBezTo>
                  <a:pt x="227" y="112"/>
                  <a:pt x="227" y="112"/>
                  <a:pt x="227" y="112"/>
                </a:cubicBezTo>
                <a:cubicBezTo>
                  <a:pt x="228" y="110"/>
                  <a:pt x="228" y="110"/>
                  <a:pt x="228" y="110"/>
                </a:cubicBezTo>
                <a:cubicBezTo>
                  <a:pt x="229" y="108"/>
                  <a:pt x="229" y="108"/>
                  <a:pt x="229" y="108"/>
                </a:cubicBezTo>
                <a:cubicBezTo>
                  <a:pt x="229" y="107"/>
                  <a:pt x="229" y="107"/>
                  <a:pt x="229" y="107"/>
                </a:cubicBezTo>
                <a:cubicBezTo>
                  <a:pt x="230" y="105"/>
                  <a:pt x="230" y="105"/>
                  <a:pt x="230" y="105"/>
                </a:cubicBezTo>
                <a:cubicBezTo>
                  <a:pt x="231" y="103"/>
                  <a:pt x="231" y="103"/>
                  <a:pt x="231" y="103"/>
                </a:cubicBezTo>
                <a:cubicBezTo>
                  <a:pt x="234" y="101"/>
                  <a:pt x="234" y="101"/>
                  <a:pt x="234" y="101"/>
                </a:cubicBezTo>
                <a:cubicBezTo>
                  <a:pt x="235" y="100"/>
                  <a:pt x="235" y="100"/>
                  <a:pt x="235" y="100"/>
                </a:cubicBezTo>
                <a:cubicBezTo>
                  <a:pt x="236" y="100"/>
                  <a:pt x="236" y="100"/>
                  <a:pt x="236" y="100"/>
                </a:cubicBezTo>
                <a:cubicBezTo>
                  <a:pt x="237" y="99"/>
                  <a:pt x="237" y="99"/>
                  <a:pt x="237" y="99"/>
                </a:cubicBezTo>
                <a:cubicBezTo>
                  <a:pt x="239" y="96"/>
                  <a:pt x="239" y="96"/>
                  <a:pt x="239" y="96"/>
                </a:cubicBezTo>
                <a:cubicBezTo>
                  <a:pt x="242" y="93"/>
                  <a:pt x="242" y="93"/>
                  <a:pt x="242" y="93"/>
                </a:cubicBezTo>
                <a:cubicBezTo>
                  <a:pt x="243" y="92"/>
                  <a:pt x="243" y="92"/>
                  <a:pt x="243" y="92"/>
                </a:cubicBezTo>
                <a:cubicBezTo>
                  <a:pt x="244" y="88"/>
                  <a:pt x="244" y="88"/>
                  <a:pt x="244" y="88"/>
                </a:cubicBezTo>
                <a:cubicBezTo>
                  <a:pt x="244" y="87"/>
                  <a:pt x="244" y="87"/>
                  <a:pt x="244" y="87"/>
                </a:cubicBezTo>
                <a:cubicBezTo>
                  <a:pt x="245" y="86"/>
                  <a:pt x="245" y="86"/>
                  <a:pt x="245" y="86"/>
                </a:cubicBezTo>
                <a:cubicBezTo>
                  <a:pt x="245" y="85"/>
                  <a:pt x="245" y="85"/>
                  <a:pt x="245" y="85"/>
                </a:cubicBezTo>
                <a:cubicBezTo>
                  <a:pt x="244" y="83"/>
                  <a:pt x="244" y="83"/>
                  <a:pt x="244" y="83"/>
                </a:cubicBezTo>
                <a:cubicBezTo>
                  <a:pt x="245" y="82"/>
                  <a:pt x="245" y="82"/>
                  <a:pt x="245" y="82"/>
                </a:cubicBezTo>
                <a:cubicBezTo>
                  <a:pt x="245" y="82"/>
                  <a:pt x="245" y="82"/>
                  <a:pt x="245" y="82"/>
                </a:cubicBezTo>
                <a:cubicBezTo>
                  <a:pt x="245" y="78"/>
                  <a:pt x="245" y="78"/>
                  <a:pt x="245" y="78"/>
                </a:cubicBezTo>
                <a:cubicBezTo>
                  <a:pt x="245" y="78"/>
                  <a:pt x="245" y="78"/>
                  <a:pt x="245" y="78"/>
                </a:cubicBezTo>
                <a:cubicBezTo>
                  <a:pt x="244" y="76"/>
                  <a:pt x="244" y="76"/>
                  <a:pt x="244" y="76"/>
                </a:cubicBezTo>
                <a:cubicBezTo>
                  <a:pt x="242" y="72"/>
                  <a:pt x="242" y="72"/>
                  <a:pt x="242" y="72"/>
                </a:cubicBezTo>
                <a:cubicBezTo>
                  <a:pt x="242" y="70"/>
                  <a:pt x="242" y="70"/>
                  <a:pt x="242" y="70"/>
                </a:cubicBezTo>
                <a:cubicBezTo>
                  <a:pt x="242" y="68"/>
                  <a:pt x="242" y="68"/>
                  <a:pt x="242" y="68"/>
                </a:cubicBezTo>
                <a:cubicBezTo>
                  <a:pt x="238" y="66"/>
                  <a:pt x="238" y="66"/>
                  <a:pt x="238" y="66"/>
                </a:cubicBezTo>
                <a:cubicBezTo>
                  <a:pt x="235" y="66"/>
                  <a:pt x="235" y="66"/>
                  <a:pt x="235" y="66"/>
                </a:cubicBezTo>
                <a:cubicBezTo>
                  <a:pt x="234" y="67"/>
                  <a:pt x="234" y="67"/>
                  <a:pt x="234" y="67"/>
                </a:cubicBezTo>
                <a:cubicBezTo>
                  <a:pt x="232" y="65"/>
                  <a:pt x="232" y="65"/>
                  <a:pt x="232" y="65"/>
                </a:cubicBezTo>
                <a:cubicBezTo>
                  <a:pt x="231" y="65"/>
                  <a:pt x="231" y="65"/>
                  <a:pt x="231" y="65"/>
                </a:cubicBezTo>
                <a:cubicBezTo>
                  <a:pt x="230" y="64"/>
                  <a:pt x="230" y="64"/>
                  <a:pt x="230" y="64"/>
                </a:cubicBezTo>
                <a:cubicBezTo>
                  <a:pt x="228" y="63"/>
                  <a:pt x="228" y="63"/>
                  <a:pt x="228" y="63"/>
                </a:cubicBezTo>
                <a:cubicBezTo>
                  <a:pt x="227" y="62"/>
                  <a:pt x="227" y="62"/>
                  <a:pt x="227" y="62"/>
                </a:cubicBezTo>
                <a:cubicBezTo>
                  <a:pt x="224" y="59"/>
                  <a:pt x="224" y="59"/>
                  <a:pt x="224" y="59"/>
                </a:cubicBezTo>
                <a:cubicBezTo>
                  <a:pt x="222" y="56"/>
                  <a:pt x="222" y="56"/>
                  <a:pt x="222" y="56"/>
                </a:cubicBezTo>
                <a:cubicBezTo>
                  <a:pt x="220" y="56"/>
                  <a:pt x="220" y="56"/>
                  <a:pt x="220" y="56"/>
                </a:cubicBezTo>
                <a:cubicBezTo>
                  <a:pt x="219" y="55"/>
                  <a:pt x="219" y="55"/>
                  <a:pt x="219" y="55"/>
                </a:cubicBezTo>
                <a:cubicBezTo>
                  <a:pt x="218" y="55"/>
                  <a:pt x="218" y="55"/>
                  <a:pt x="218" y="55"/>
                </a:cubicBezTo>
                <a:cubicBezTo>
                  <a:pt x="214" y="52"/>
                  <a:pt x="214" y="52"/>
                  <a:pt x="214" y="52"/>
                </a:cubicBezTo>
                <a:cubicBezTo>
                  <a:pt x="212" y="52"/>
                  <a:pt x="212" y="52"/>
                  <a:pt x="212" y="52"/>
                </a:cubicBezTo>
                <a:cubicBezTo>
                  <a:pt x="210" y="51"/>
                  <a:pt x="210" y="51"/>
                  <a:pt x="210" y="51"/>
                </a:cubicBezTo>
                <a:cubicBezTo>
                  <a:pt x="209" y="52"/>
                  <a:pt x="209" y="52"/>
                  <a:pt x="209" y="52"/>
                </a:cubicBezTo>
                <a:cubicBezTo>
                  <a:pt x="207" y="52"/>
                  <a:pt x="207" y="52"/>
                  <a:pt x="207" y="52"/>
                </a:cubicBezTo>
                <a:cubicBezTo>
                  <a:pt x="206" y="51"/>
                  <a:pt x="206" y="51"/>
                  <a:pt x="206" y="51"/>
                </a:cubicBezTo>
                <a:cubicBezTo>
                  <a:pt x="205" y="52"/>
                  <a:pt x="205" y="52"/>
                  <a:pt x="205" y="52"/>
                </a:cubicBezTo>
                <a:cubicBezTo>
                  <a:pt x="204" y="53"/>
                  <a:pt x="204" y="53"/>
                  <a:pt x="204" y="53"/>
                </a:cubicBezTo>
                <a:cubicBezTo>
                  <a:pt x="204" y="52"/>
                  <a:pt x="204" y="52"/>
                  <a:pt x="204" y="52"/>
                </a:cubicBezTo>
                <a:cubicBezTo>
                  <a:pt x="202" y="51"/>
                  <a:pt x="202" y="51"/>
                  <a:pt x="202" y="51"/>
                </a:cubicBezTo>
                <a:cubicBezTo>
                  <a:pt x="202" y="51"/>
                  <a:pt x="202" y="51"/>
                  <a:pt x="202" y="51"/>
                </a:cubicBezTo>
                <a:cubicBezTo>
                  <a:pt x="201" y="51"/>
                  <a:pt x="201" y="51"/>
                  <a:pt x="201" y="51"/>
                </a:cubicBezTo>
                <a:cubicBezTo>
                  <a:pt x="201" y="51"/>
                  <a:pt x="201" y="51"/>
                  <a:pt x="201" y="51"/>
                </a:cubicBezTo>
                <a:cubicBezTo>
                  <a:pt x="201" y="52"/>
                  <a:pt x="201" y="52"/>
                  <a:pt x="201" y="52"/>
                </a:cubicBezTo>
                <a:cubicBezTo>
                  <a:pt x="200" y="51"/>
                  <a:pt x="200" y="51"/>
                  <a:pt x="200" y="51"/>
                </a:cubicBezTo>
                <a:cubicBezTo>
                  <a:pt x="199" y="51"/>
                  <a:pt x="199" y="51"/>
                  <a:pt x="199" y="51"/>
                </a:cubicBezTo>
                <a:cubicBezTo>
                  <a:pt x="199" y="50"/>
                  <a:pt x="199" y="50"/>
                  <a:pt x="199" y="50"/>
                </a:cubicBezTo>
                <a:cubicBezTo>
                  <a:pt x="199" y="51"/>
                  <a:pt x="199" y="51"/>
                  <a:pt x="199" y="51"/>
                </a:cubicBezTo>
                <a:cubicBezTo>
                  <a:pt x="199" y="51"/>
                  <a:pt x="199" y="51"/>
                  <a:pt x="199" y="51"/>
                </a:cubicBezTo>
                <a:cubicBezTo>
                  <a:pt x="197" y="50"/>
                  <a:pt x="197" y="50"/>
                  <a:pt x="197" y="50"/>
                </a:cubicBezTo>
                <a:cubicBezTo>
                  <a:pt x="196" y="51"/>
                  <a:pt x="196" y="51"/>
                  <a:pt x="196" y="51"/>
                </a:cubicBezTo>
                <a:cubicBezTo>
                  <a:pt x="195" y="50"/>
                  <a:pt x="195" y="50"/>
                  <a:pt x="195" y="50"/>
                </a:cubicBezTo>
                <a:cubicBezTo>
                  <a:pt x="191" y="49"/>
                  <a:pt x="191" y="49"/>
                  <a:pt x="191" y="49"/>
                </a:cubicBezTo>
                <a:cubicBezTo>
                  <a:pt x="190" y="49"/>
                  <a:pt x="190" y="49"/>
                  <a:pt x="190" y="49"/>
                </a:cubicBezTo>
                <a:cubicBezTo>
                  <a:pt x="190" y="49"/>
                  <a:pt x="190" y="49"/>
                  <a:pt x="190" y="49"/>
                </a:cubicBezTo>
                <a:cubicBezTo>
                  <a:pt x="190" y="50"/>
                  <a:pt x="190" y="50"/>
                  <a:pt x="190" y="50"/>
                </a:cubicBezTo>
                <a:cubicBezTo>
                  <a:pt x="190" y="50"/>
                  <a:pt x="190" y="50"/>
                  <a:pt x="190" y="50"/>
                </a:cubicBezTo>
                <a:cubicBezTo>
                  <a:pt x="189" y="50"/>
                  <a:pt x="189" y="50"/>
                  <a:pt x="189" y="50"/>
                </a:cubicBezTo>
                <a:cubicBezTo>
                  <a:pt x="189" y="50"/>
                  <a:pt x="189" y="50"/>
                  <a:pt x="189" y="50"/>
                </a:cubicBezTo>
                <a:cubicBezTo>
                  <a:pt x="188" y="50"/>
                  <a:pt x="188" y="50"/>
                  <a:pt x="188" y="50"/>
                </a:cubicBezTo>
                <a:cubicBezTo>
                  <a:pt x="187" y="51"/>
                  <a:pt x="187" y="51"/>
                  <a:pt x="187" y="51"/>
                </a:cubicBezTo>
                <a:cubicBezTo>
                  <a:pt x="187" y="52"/>
                  <a:pt x="187" y="52"/>
                  <a:pt x="187" y="52"/>
                </a:cubicBezTo>
                <a:cubicBezTo>
                  <a:pt x="187" y="53"/>
                  <a:pt x="187" y="53"/>
                  <a:pt x="187" y="53"/>
                </a:cubicBezTo>
                <a:cubicBezTo>
                  <a:pt x="186" y="52"/>
                  <a:pt x="186" y="52"/>
                  <a:pt x="186" y="52"/>
                </a:cubicBezTo>
                <a:cubicBezTo>
                  <a:pt x="186" y="51"/>
                  <a:pt x="186" y="51"/>
                  <a:pt x="186" y="51"/>
                </a:cubicBezTo>
                <a:cubicBezTo>
                  <a:pt x="185" y="51"/>
                  <a:pt x="185" y="51"/>
                  <a:pt x="185" y="51"/>
                </a:cubicBezTo>
                <a:cubicBezTo>
                  <a:pt x="185" y="53"/>
                  <a:pt x="185" y="53"/>
                  <a:pt x="185" y="53"/>
                </a:cubicBezTo>
                <a:cubicBezTo>
                  <a:pt x="184" y="55"/>
                  <a:pt x="184" y="55"/>
                  <a:pt x="184" y="55"/>
                </a:cubicBezTo>
                <a:cubicBezTo>
                  <a:pt x="184" y="56"/>
                  <a:pt x="184" y="56"/>
                  <a:pt x="184" y="56"/>
                </a:cubicBezTo>
                <a:cubicBezTo>
                  <a:pt x="184" y="55"/>
                  <a:pt x="184" y="55"/>
                  <a:pt x="184" y="55"/>
                </a:cubicBezTo>
                <a:cubicBezTo>
                  <a:pt x="184" y="53"/>
                  <a:pt x="184" y="53"/>
                  <a:pt x="184" y="53"/>
                </a:cubicBezTo>
                <a:cubicBezTo>
                  <a:pt x="184" y="52"/>
                  <a:pt x="184" y="52"/>
                  <a:pt x="184" y="52"/>
                </a:cubicBezTo>
                <a:cubicBezTo>
                  <a:pt x="184" y="50"/>
                  <a:pt x="184" y="50"/>
                  <a:pt x="184" y="50"/>
                </a:cubicBezTo>
                <a:cubicBezTo>
                  <a:pt x="185" y="49"/>
                  <a:pt x="185" y="49"/>
                  <a:pt x="185" y="49"/>
                </a:cubicBezTo>
                <a:cubicBezTo>
                  <a:pt x="185" y="49"/>
                  <a:pt x="185" y="49"/>
                  <a:pt x="185" y="49"/>
                </a:cubicBezTo>
                <a:cubicBezTo>
                  <a:pt x="184" y="49"/>
                  <a:pt x="184" y="49"/>
                  <a:pt x="184" y="49"/>
                </a:cubicBezTo>
                <a:cubicBezTo>
                  <a:pt x="185" y="47"/>
                  <a:pt x="185" y="47"/>
                  <a:pt x="185" y="47"/>
                </a:cubicBezTo>
                <a:cubicBezTo>
                  <a:pt x="183" y="45"/>
                  <a:pt x="183" y="45"/>
                  <a:pt x="183" y="45"/>
                </a:cubicBezTo>
                <a:cubicBezTo>
                  <a:pt x="182" y="44"/>
                  <a:pt x="182" y="44"/>
                  <a:pt x="182" y="44"/>
                </a:cubicBezTo>
                <a:cubicBezTo>
                  <a:pt x="181" y="44"/>
                  <a:pt x="181" y="44"/>
                  <a:pt x="181" y="44"/>
                </a:cubicBezTo>
                <a:cubicBezTo>
                  <a:pt x="180" y="44"/>
                  <a:pt x="180" y="44"/>
                  <a:pt x="180" y="44"/>
                </a:cubicBezTo>
                <a:cubicBezTo>
                  <a:pt x="179" y="45"/>
                  <a:pt x="179" y="45"/>
                  <a:pt x="179" y="45"/>
                </a:cubicBezTo>
                <a:cubicBezTo>
                  <a:pt x="178" y="45"/>
                  <a:pt x="178" y="45"/>
                  <a:pt x="178" y="45"/>
                </a:cubicBezTo>
                <a:cubicBezTo>
                  <a:pt x="178" y="44"/>
                  <a:pt x="178" y="44"/>
                  <a:pt x="178" y="44"/>
                </a:cubicBezTo>
                <a:cubicBezTo>
                  <a:pt x="177" y="44"/>
                  <a:pt x="177" y="44"/>
                  <a:pt x="177" y="44"/>
                </a:cubicBezTo>
                <a:cubicBezTo>
                  <a:pt x="177" y="43"/>
                  <a:pt x="177" y="43"/>
                  <a:pt x="177" y="43"/>
                </a:cubicBezTo>
                <a:cubicBezTo>
                  <a:pt x="176" y="42"/>
                  <a:pt x="176" y="42"/>
                  <a:pt x="176" y="42"/>
                </a:cubicBezTo>
                <a:cubicBezTo>
                  <a:pt x="175" y="42"/>
                  <a:pt x="175" y="42"/>
                  <a:pt x="175" y="42"/>
                </a:cubicBezTo>
                <a:cubicBezTo>
                  <a:pt x="175" y="42"/>
                  <a:pt x="175" y="42"/>
                  <a:pt x="175" y="42"/>
                </a:cubicBezTo>
                <a:cubicBezTo>
                  <a:pt x="174" y="41"/>
                  <a:pt x="174" y="41"/>
                  <a:pt x="174" y="41"/>
                </a:cubicBezTo>
                <a:cubicBezTo>
                  <a:pt x="173" y="42"/>
                  <a:pt x="173" y="42"/>
                  <a:pt x="173" y="42"/>
                </a:cubicBezTo>
                <a:cubicBezTo>
                  <a:pt x="173" y="41"/>
                  <a:pt x="173" y="41"/>
                  <a:pt x="173" y="41"/>
                </a:cubicBezTo>
                <a:cubicBezTo>
                  <a:pt x="173" y="41"/>
                  <a:pt x="173" y="41"/>
                  <a:pt x="173" y="41"/>
                </a:cubicBezTo>
                <a:cubicBezTo>
                  <a:pt x="172" y="40"/>
                  <a:pt x="172" y="40"/>
                  <a:pt x="172" y="40"/>
                </a:cubicBezTo>
                <a:cubicBezTo>
                  <a:pt x="171" y="40"/>
                  <a:pt x="171" y="40"/>
                  <a:pt x="171" y="40"/>
                </a:cubicBezTo>
                <a:cubicBezTo>
                  <a:pt x="170" y="40"/>
                  <a:pt x="170" y="40"/>
                  <a:pt x="170" y="40"/>
                </a:cubicBezTo>
                <a:cubicBezTo>
                  <a:pt x="168" y="39"/>
                  <a:pt x="168" y="39"/>
                  <a:pt x="168" y="39"/>
                </a:cubicBezTo>
                <a:cubicBezTo>
                  <a:pt x="168" y="39"/>
                  <a:pt x="168" y="39"/>
                  <a:pt x="168" y="39"/>
                </a:cubicBezTo>
                <a:cubicBezTo>
                  <a:pt x="167" y="39"/>
                  <a:pt x="167" y="39"/>
                  <a:pt x="167" y="39"/>
                </a:cubicBezTo>
                <a:cubicBezTo>
                  <a:pt x="166" y="39"/>
                  <a:pt x="166" y="39"/>
                  <a:pt x="166" y="39"/>
                </a:cubicBezTo>
                <a:cubicBezTo>
                  <a:pt x="165" y="39"/>
                  <a:pt x="165" y="39"/>
                  <a:pt x="165" y="39"/>
                </a:cubicBezTo>
                <a:cubicBezTo>
                  <a:pt x="165" y="40"/>
                  <a:pt x="165" y="40"/>
                  <a:pt x="165" y="40"/>
                </a:cubicBezTo>
                <a:cubicBezTo>
                  <a:pt x="165" y="40"/>
                  <a:pt x="165" y="40"/>
                  <a:pt x="165" y="40"/>
                </a:cubicBezTo>
                <a:cubicBezTo>
                  <a:pt x="164" y="39"/>
                  <a:pt x="164" y="39"/>
                  <a:pt x="164" y="39"/>
                </a:cubicBezTo>
                <a:cubicBezTo>
                  <a:pt x="163" y="39"/>
                  <a:pt x="163" y="39"/>
                  <a:pt x="163" y="39"/>
                </a:cubicBezTo>
                <a:cubicBezTo>
                  <a:pt x="162" y="39"/>
                  <a:pt x="162" y="39"/>
                  <a:pt x="162" y="39"/>
                </a:cubicBezTo>
                <a:cubicBezTo>
                  <a:pt x="161" y="41"/>
                  <a:pt x="161" y="41"/>
                  <a:pt x="161" y="41"/>
                </a:cubicBezTo>
                <a:cubicBezTo>
                  <a:pt x="161" y="41"/>
                  <a:pt x="161" y="41"/>
                  <a:pt x="161" y="41"/>
                </a:cubicBezTo>
                <a:cubicBezTo>
                  <a:pt x="160" y="43"/>
                  <a:pt x="160" y="43"/>
                  <a:pt x="160" y="43"/>
                </a:cubicBezTo>
                <a:cubicBezTo>
                  <a:pt x="158" y="44"/>
                  <a:pt x="158" y="44"/>
                  <a:pt x="158" y="44"/>
                </a:cubicBezTo>
                <a:cubicBezTo>
                  <a:pt x="156" y="45"/>
                  <a:pt x="156" y="45"/>
                  <a:pt x="156" y="45"/>
                </a:cubicBezTo>
                <a:cubicBezTo>
                  <a:pt x="155" y="46"/>
                  <a:pt x="155" y="46"/>
                  <a:pt x="155" y="46"/>
                </a:cubicBezTo>
                <a:cubicBezTo>
                  <a:pt x="154" y="48"/>
                  <a:pt x="154" y="48"/>
                  <a:pt x="154" y="48"/>
                </a:cubicBezTo>
                <a:cubicBezTo>
                  <a:pt x="154" y="50"/>
                  <a:pt x="154" y="50"/>
                  <a:pt x="154" y="50"/>
                </a:cubicBezTo>
                <a:cubicBezTo>
                  <a:pt x="153" y="51"/>
                  <a:pt x="153" y="51"/>
                  <a:pt x="153" y="51"/>
                </a:cubicBezTo>
                <a:cubicBezTo>
                  <a:pt x="152" y="52"/>
                  <a:pt x="152" y="52"/>
                  <a:pt x="152" y="52"/>
                </a:cubicBezTo>
                <a:cubicBezTo>
                  <a:pt x="152" y="53"/>
                  <a:pt x="152" y="53"/>
                  <a:pt x="152" y="53"/>
                </a:cubicBezTo>
                <a:cubicBezTo>
                  <a:pt x="152" y="54"/>
                  <a:pt x="152" y="54"/>
                  <a:pt x="152" y="54"/>
                </a:cubicBezTo>
                <a:cubicBezTo>
                  <a:pt x="152" y="56"/>
                  <a:pt x="152" y="56"/>
                  <a:pt x="152" y="56"/>
                </a:cubicBezTo>
                <a:cubicBezTo>
                  <a:pt x="152" y="55"/>
                  <a:pt x="152" y="55"/>
                  <a:pt x="152" y="55"/>
                </a:cubicBezTo>
                <a:cubicBezTo>
                  <a:pt x="151" y="53"/>
                  <a:pt x="151" y="53"/>
                  <a:pt x="151" y="53"/>
                </a:cubicBezTo>
                <a:cubicBezTo>
                  <a:pt x="151" y="52"/>
                  <a:pt x="151" y="52"/>
                  <a:pt x="151" y="52"/>
                </a:cubicBezTo>
                <a:cubicBezTo>
                  <a:pt x="152" y="51"/>
                  <a:pt x="152" y="51"/>
                  <a:pt x="152" y="51"/>
                </a:cubicBezTo>
                <a:cubicBezTo>
                  <a:pt x="153" y="50"/>
                  <a:pt x="153" y="50"/>
                  <a:pt x="153" y="50"/>
                </a:cubicBezTo>
                <a:cubicBezTo>
                  <a:pt x="153" y="49"/>
                  <a:pt x="153" y="49"/>
                  <a:pt x="153" y="49"/>
                </a:cubicBezTo>
                <a:cubicBezTo>
                  <a:pt x="153" y="47"/>
                  <a:pt x="153" y="47"/>
                  <a:pt x="153" y="47"/>
                </a:cubicBezTo>
                <a:cubicBezTo>
                  <a:pt x="153" y="46"/>
                  <a:pt x="153" y="46"/>
                  <a:pt x="153" y="46"/>
                </a:cubicBezTo>
                <a:cubicBezTo>
                  <a:pt x="152" y="46"/>
                  <a:pt x="152" y="46"/>
                  <a:pt x="152" y="46"/>
                </a:cubicBezTo>
                <a:cubicBezTo>
                  <a:pt x="151" y="47"/>
                  <a:pt x="151" y="47"/>
                  <a:pt x="151" y="47"/>
                </a:cubicBezTo>
                <a:cubicBezTo>
                  <a:pt x="149" y="47"/>
                  <a:pt x="149" y="47"/>
                  <a:pt x="149" y="47"/>
                </a:cubicBezTo>
                <a:cubicBezTo>
                  <a:pt x="148" y="47"/>
                  <a:pt x="148" y="47"/>
                  <a:pt x="148" y="47"/>
                </a:cubicBezTo>
                <a:cubicBezTo>
                  <a:pt x="147" y="47"/>
                  <a:pt x="147" y="47"/>
                  <a:pt x="147" y="47"/>
                </a:cubicBezTo>
                <a:cubicBezTo>
                  <a:pt x="146" y="46"/>
                  <a:pt x="146" y="46"/>
                  <a:pt x="146" y="46"/>
                </a:cubicBezTo>
                <a:cubicBezTo>
                  <a:pt x="147" y="46"/>
                  <a:pt x="147" y="46"/>
                  <a:pt x="147" y="46"/>
                </a:cubicBezTo>
                <a:cubicBezTo>
                  <a:pt x="148" y="46"/>
                  <a:pt x="148" y="46"/>
                  <a:pt x="148" y="46"/>
                </a:cubicBezTo>
                <a:cubicBezTo>
                  <a:pt x="149" y="45"/>
                  <a:pt x="149" y="45"/>
                  <a:pt x="149" y="45"/>
                </a:cubicBezTo>
                <a:cubicBezTo>
                  <a:pt x="151" y="46"/>
                  <a:pt x="151" y="46"/>
                  <a:pt x="151" y="46"/>
                </a:cubicBezTo>
                <a:cubicBezTo>
                  <a:pt x="152" y="45"/>
                  <a:pt x="152" y="45"/>
                  <a:pt x="152" y="45"/>
                </a:cubicBezTo>
                <a:cubicBezTo>
                  <a:pt x="153" y="44"/>
                  <a:pt x="153" y="44"/>
                  <a:pt x="153" y="44"/>
                </a:cubicBezTo>
                <a:cubicBezTo>
                  <a:pt x="153" y="44"/>
                  <a:pt x="153" y="44"/>
                  <a:pt x="153" y="44"/>
                </a:cubicBezTo>
                <a:cubicBezTo>
                  <a:pt x="154" y="45"/>
                  <a:pt x="154" y="45"/>
                  <a:pt x="154" y="45"/>
                </a:cubicBezTo>
                <a:cubicBezTo>
                  <a:pt x="155" y="44"/>
                  <a:pt x="155" y="44"/>
                  <a:pt x="155" y="44"/>
                </a:cubicBezTo>
                <a:cubicBezTo>
                  <a:pt x="156" y="44"/>
                  <a:pt x="156" y="44"/>
                  <a:pt x="156" y="44"/>
                </a:cubicBezTo>
                <a:cubicBezTo>
                  <a:pt x="157" y="43"/>
                  <a:pt x="157" y="43"/>
                  <a:pt x="157" y="43"/>
                </a:cubicBezTo>
                <a:cubicBezTo>
                  <a:pt x="157" y="42"/>
                  <a:pt x="157" y="42"/>
                  <a:pt x="157" y="42"/>
                </a:cubicBezTo>
                <a:cubicBezTo>
                  <a:pt x="159" y="40"/>
                  <a:pt x="159" y="40"/>
                  <a:pt x="159" y="40"/>
                </a:cubicBezTo>
                <a:cubicBezTo>
                  <a:pt x="159" y="38"/>
                  <a:pt x="159" y="38"/>
                  <a:pt x="159" y="38"/>
                </a:cubicBezTo>
                <a:cubicBezTo>
                  <a:pt x="160" y="37"/>
                  <a:pt x="160" y="37"/>
                  <a:pt x="160" y="37"/>
                </a:cubicBezTo>
                <a:cubicBezTo>
                  <a:pt x="160" y="36"/>
                  <a:pt x="160" y="36"/>
                  <a:pt x="160" y="36"/>
                </a:cubicBezTo>
                <a:cubicBezTo>
                  <a:pt x="158" y="36"/>
                  <a:pt x="158" y="36"/>
                  <a:pt x="158" y="36"/>
                </a:cubicBezTo>
                <a:cubicBezTo>
                  <a:pt x="157" y="35"/>
                  <a:pt x="157" y="35"/>
                  <a:pt x="157" y="35"/>
                </a:cubicBezTo>
                <a:cubicBezTo>
                  <a:pt x="155" y="35"/>
                  <a:pt x="155" y="35"/>
                  <a:pt x="155" y="35"/>
                </a:cubicBezTo>
                <a:cubicBezTo>
                  <a:pt x="154" y="36"/>
                  <a:pt x="154" y="36"/>
                  <a:pt x="154" y="36"/>
                </a:cubicBezTo>
                <a:cubicBezTo>
                  <a:pt x="152" y="36"/>
                  <a:pt x="152" y="36"/>
                  <a:pt x="152" y="36"/>
                </a:cubicBezTo>
                <a:cubicBezTo>
                  <a:pt x="150" y="35"/>
                  <a:pt x="150" y="35"/>
                  <a:pt x="150" y="35"/>
                </a:cubicBezTo>
                <a:cubicBezTo>
                  <a:pt x="148" y="35"/>
                  <a:pt x="148" y="35"/>
                  <a:pt x="148" y="35"/>
                </a:cubicBezTo>
                <a:cubicBezTo>
                  <a:pt x="146" y="37"/>
                  <a:pt x="146" y="37"/>
                  <a:pt x="146" y="37"/>
                </a:cubicBezTo>
                <a:cubicBezTo>
                  <a:pt x="146" y="38"/>
                  <a:pt x="146" y="38"/>
                  <a:pt x="146" y="38"/>
                </a:cubicBezTo>
                <a:cubicBezTo>
                  <a:pt x="147" y="38"/>
                  <a:pt x="147" y="38"/>
                  <a:pt x="147" y="38"/>
                </a:cubicBezTo>
                <a:cubicBezTo>
                  <a:pt x="147" y="39"/>
                  <a:pt x="147" y="39"/>
                  <a:pt x="147" y="39"/>
                </a:cubicBezTo>
                <a:cubicBezTo>
                  <a:pt x="146" y="39"/>
                  <a:pt x="146" y="39"/>
                  <a:pt x="146" y="39"/>
                </a:cubicBezTo>
                <a:cubicBezTo>
                  <a:pt x="146" y="39"/>
                  <a:pt x="146" y="39"/>
                  <a:pt x="146" y="39"/>
                </a:cubicBezTo>
                <a:cubicBezTo>
                  <a:pt x="145" y="40"/>
                  <a:pt x="145" y="40"/>
                  <a:pt x="145" y="40"/>
                </a:cubicBezTo>
                <a:cubicBezTo>
                  <a:pt x="145" y="39"/>
                  <a:pt x="145" y="39"/>
                  <a:pt x="145" y="39"/>
                </a:cubicBezTo>
                <a:cubicBezTo>
                  <a:pt x="144" y="39"/>
                  <a:pt x="144" y="39"/>
                  <a:pt x="144" y="39"/>
                </a:cubicBezTo>
                <a:cubicBezTo>
                  <a:pt x="143" y="39"/>
                  <a:pt x="143" y="39"/>
                  <a:pt x="143" y="39"/>
                </a:cubicBezTo>
                <a:cubicBezTo>
                  <a:pt x="141" y="41"/>
                  <a:pt x="141" y="41"/>
                  <a:pt x="141" y="41"/>
                </a:cubicBezTo>
                <a:cubicBezTo>
                  <a:pt x="139" y="44"/>
                  <a:pt x="139" y="44"/>
                  <a:pt x="139" y="44"/>
                </a:cubicBezTo>
                <a:cubicBezTo>
                  <a:pt x="141" y="42"/>
                  <a:pt x="141" y="42"/>
                  <a:pt x="141" y="42"/>
                </a:cubicBezTo>
                <a:cubicBezTo>
                  <a:pt x="141" y="40"/>
                  <a:pt x="141" y="40"/>
                  <a:pt x="141" y="40"/>
                </a:cubicBezTo>
                <a:cubicBezTo>
                  <a:pt x="141" y="40"/>
                  <a:pt x="141" y="40"/>
                  <a:pt x="141" y="40"/>
                </a:cubicBezTo>
                <a:cubicBezTo>
                  <a:pt x="141" y="39"/>
                  <a:pt x="141" y="39"/>
                  <a:pt x="141" y="39"/>
                </a:cubicBezTo>
                <a:cubicBezTo>
                  <a:pt x="141" y="39"/>
                  <a:pt x="141" y="39"/>
                  <a:pt x="141" y="39"/>
                </a:cubicBezTo>
                <a:cubicBezTo>
                  <a:pt x="139" y="40"/>
                  <a:pt x="139" y="40"/>
                  <a:pt x="139" y="40"/>
                </a:cubicBezTo>
                <a:cubicBezTo>
                  <a:pt x="139" y="41"/>
                  <a:pt x="139" y="41"/>
                  <a:pt x="139" y="41"/>
                </a:cubicBezTo>
                <a:cubicBezTo>
                  <a:pt x="138" y="43"/>
                  <a:pt x="138" y="43"/>
                  <a:pt x="138" y="43"/>
                </a:cubicBezTo>
                <a:cubicBezTo>
                  <a:pt x="137" y="43"/>
                  <a:pt x="137" y="43"/>
                  <a:pt x="137" y="43"/>
                </a:cubicBezTo>
                <a:cubicBezTo>
                  <a:pt x="138" y="42"/>
                  <a:pt x="138" y="42"/>
                  <a:pt x="138" y="42"/>
                </a:cubicBezTo>
                <a:cubicBezTo>
                  <a:pt x="138" y="40"/>
                  <a:pt x="138" y="40"/>
                  <a:pt x="138" y="40"/>
                </a:cubicBezTo>
                <a:cubicBezTo>
                  <a:pt x="141" y="37"/>
                  <a:pt x="141" y="37"/>
                  <a:pt x="141" y="37"/>
                </a:cubicBezTo>
                <a:cubicBezTo>
                  <a:pt x="141" y="35"/>
                  <a:pt x="141" y="35"/>
                  <a:pt x="141" y="35"/>
                </a:cubicBezTo>
                <a:cubicBezTo>
                  <a:pt x="142" y="34"/>
                  <a:pt x="142" y="34"/>
                  <a:pt x="142" y="34"/>
                </a:cubicBezTo>
                <a:cubicBezTo>
                  <a:pt x="143" y="34"/>
                  <a:pt x="143" y="34"/>
                  <a:pt x="143" y="34"/>
                </a:cubicBezTo>
                <a:cubicBezTo>
                  <a:pt x="144" y="33"/>
                  <a:pt x="144" y="33"/>
                  <a:pt x="144" y="33"/>
                </a:cubicBezTo>
                <a:cubicBezTo>
                  <a:pt x="145" y="32"/>
                  <a:pt x="145" y="32"/>
                  <a:pt x="145" y="32"/>
                </a:cubicBezTo>
                <a:cubicBezTo>
                  <a:pt x="147" y="31"/>
                  <a:pt x="147" y="31"/>
                  <a:pt x="147" y="31"/>
                </a:cubicBezTo>
                <a:cubicBezTo>
                  <a:pt x="149" y="28"/>
                  <a:pt x="149" y="28"/>
                  <a:pt x="149" y="28"/>
                </a:cubicBezTo>
                <a:cubicBezTo>
                  <a:pt x="150" y="27"/>
                  <a:pt x="150" y="27"/>
                  <a:pt x="150" y="27"/>
                </a:cubicBezTo>
                <a:cubicBezTo>
                  <a:pt x="150" y="26"/>
                  <a:pt x="150" y="26"/>
                  <a:pt x="150" y="26"/>
                </a:cubicBezTo>
                <a:cubicBezTo>
                  <a:pt x="150" y="26"/>
                  <a:pt x="150" y="26"/>
                  <a:pt x="150" y="26"/>
                </a:cubicBezTo>
                <a:cubicBezTo>
                  <a:pt x="150" y="25"/>
                  <a:pt x="150" y="25"/>
                  <a:pt x="150" y="25"/>
                </a:cubicBezTo>
                <a:cubicBezTo>
                  <a:pt x="150" y="24"/>
                  <a:pt x="150" y="24"/>
                  <a:pt x="150" y="24"/>
                </a:cubicBezTo>
                <a:cubicBezTo>
                  <a:pt x="150" y="23"/>
                  <a:pt x="150" y="23"/>
                  <a:pt x="150" y="23"/>
                </a:cubicBezTo>
                <a:cubicBezTo>
                  <a:pt x="149" y="22"/>
                  <a:pt x="149" y="22"/>
                  <a:pt x="149" y="22"/>
                </a:cubicBezTo>
                <a:cubicBezTo>
                  <a:pt x="148" y="22"/>
                  <a:pt x="148" y="22"/>
                  <a:pt x="148" y="22"/>
                </a:cubicBezTo>
                <a:cubicBezTo>
                  <a:pt x="147" y="23"/>
                  <a:pt x="147" y="23"/>
                  <a:pt x="147" y="23"/>
                </a:cubicBezTo>
                <a:cubicBezTo>
                  <a:pt x="147" y="22"/>
                  <a:pt x="147" y="22"/>
                  <a:pt x="147" y="22"/>
                </a:cubicBezTo>
                <a:cubicBezTo>
                  <a:pt x="146" y="19"/>
                  <a:pt x="146" y="19"/>
                  <a:pt x="146" y="19"/>
                </a:cubicBezTo>
                <a:cubicBezTo>
                  <a:pt x="145" y="16"/>
                  <a:pt x="145" y="16"/>
                  <a:pt x="145" y="16"/>
                </a:cubicBezTo>
                <a:cubicBezTo>
                  <a:pt x="143" y="14"/>
                  <a:pt x="143" y="14"/>
                  <a:pt x="143" y="14"/>
                </a:cubicBezTo>
                <a:cubicBezTo>
                  <a:pt x="142" y="12"/>
                  <a:pt x="142" y="12"/>
                  <a:pt x="142" y="12"/>
                </a:cubicBezTo>
                <a:cubicBezTo>
                  <a:pt x="142" y="10"/>
                  <a:pt x="142" y="10"/>
                  <a:pt x="142" y="10"/>
                </a:cubicBezTo>
                <a:lnTo>
                  <a:pt x="142" y="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9" name="Freeform 187">
            <a:extLst>
              <a:ext uri="{FF2B5EF4-FFF2-40B4-BE49-F238E27FC236}">
                <a16:creationId xmlns:a16="http://schemas.microsoft.com/office/drawing/2014/main" id="{F53695C5-84B2-F1CC-F43F-739D717FCDEE}"/>
              </a:ext>
            </a:extLst>
          </p:cNvPr>
          <p:cNvSpPr>
            <a:spLocks/>
          </p:cNvSpPr>
          <p:nvPr userDrawn="1"/>
        </p:nvSpPr>
        <p:spPr bwMode="auto">
          <a:xfrm>
            <a:off x="9825983" y="9019456"/>
            <a:ext cx="177788" cy="257176"/>
          </a:xfrm>
          <a:custGeom>
            <a:avLst/>
            <a:gdLst>
              <a:gd name="T0" fmla="*/ 0 w 56"/>
              <a:gd name="T1" fmla="*/ 66 h 81"/>
              <a:gd name="T2" fmla="*/ 0 w 56"/>
              <a:gd name="T3" fmla="*/ 66 h 81"/>
              <a:gd name="T4" fmla="*/ 3 w 56"/>
              <a:gd name="T5" fmla="*/ 69 h 81"/>
              <a:gd name="T6" fmla="*/ 3 w 56"/>
              <a:gd name="T7" fmla="*/ 72 h 81"/>
              <a:gd name="T8" fmla="*/ 3 w 56"/>
              <a:gd name="T9" fmla="*/ 72 h 81"/>
              <a:gd name="T10" fmla="*/ 6 w 56"/>
              <a:gd name="T11" fmla="*/ 75 h 81"/>
              <a:gd name="T12" fmla="*/ 9 w 56"/>
              <a:gd name="T13" fmla="*/ 75 h 81"/>
              <a:gd name="T14" fmla="*/ 12 w 56"/>
              <a:gd name="T15" fmla="*/ 75 h 81"/>
              <a:gd name="T16" fmla="*/ 15 w 56"/>
              <a:gd name="T17" fmla="*/ 72 h 81"/>
              <a:gd name="T18" fmla="*/ 15 w 56"/>
              <a:gd name="T19" fmla="*/ 72 h 81"/>
              <a:gd name="T20" fmla="*/ 15 w 56"/>
              <a:gd name="T21" fmla="*/ 75 h 81"/>
              <a:gd name="T22" fmla="*/ 18 w 56"/>
              <a:gd name="T23" fmla="*/ 75 h 81"/>
              <a:gd name="T24" fmla="*/ 18 w 56"/>
              <a:gd name="T25" fmla="*/ 81 h 81"/>
              <a:gd name="T26" fmla="*/ 22 w 56"/>
              <a:gd name="T27" fmla="*/ 81 h 81"/>
              <a:gd name="T28" fmla="*/ 25 w 56"/>
              <a:gd name="T29" fmla="*/ 78 h 81"/>
              <a:gd name="T30" fmla="*/ 25 w 56"/>
              <a:gd name="T31" fmla="*/ 75 h 81"/>
              <a:gd name="T32" fmla="*/ 28 w 56"/>
              <a:gd name="T33" fmla="*/ 75 h 81"/>
              <a:gd name="T34" fmla="*/ 31 w 56"/>
              <a:gd name="T35" fmla="*/ 75 h 81"/>
              <a:gd name="T36" fmla="*/ 34 w 56"/>
              <a:gd name="T37" fmla="*/ 69 h 81"/>
              <a:gd name="T38" fmla="*/ 37 w 56"/>
              <a:gd name="T39" fmla="*/ 62 h 81"/>
              <a:gd name="T40" fmla="*/ 40 w 56"/>
              <a:gd name="T41" fmla="*/ 56 h 81"/>
              <a:gd name="T42" fmla="*/ 40 w 56"/>
              <a:gd name="T43" fmla="*/ 53 h 81"/>
              <a:gd name="T44" fmla="*/ 43 w 56"/>
              <a:gd name="T45" fmla="*/ 47 h 81"/>
              <a:gd name="T46" fmla="*/ 50 w 56"/>
              <a:gd name="T47" fmla="*/ 40 h 81"/>
              <a:gd name="T48" fmla="*/ 50 w 56"/>
              <a:gd name="T49" fmla="*/ 37 h 81"/>
              <a:gd name="T50" fmla="*/ 50 w 56"/>
              <a:gd name="T51" fmla="*/ 37 h 81"/>
              <a:gd name="T52" fmla="*/ 56 w 56"/>
              <a:gd name="T53" fmla="*/ 31 h 81"/>
              <a:gd name="T54" fmla="*/ 53 w 56"/>
              <a:gd name="T55" fmla="*/ 28 h 81"/>
              <a:gd name="T56" fmla="*/ 50 w 56"/>
              <a:gd name="T57" fmla="*/ 25 h 81"/>
              <a:gd name="T58" fmla="*/ 50 w 56"/>
              <a:gd name="T59" fmla="*/ 25 h 81"/>
              <a:gd name="T60" fmla="*/ 47 w 56"/>
              <a:gd name="T61" fmla="*/ 22 h 81"/>
              <a:gd name="T62" fmla="*/ 47 w 56"/>
              <a:gd name="T63" fmla="*/ 19 h 81"/>
              <a:gd name="T64" fmla="*/ 40 w 56"/>
              <a:gd name="T65" fmla="*/ 12 h 81"/>
              <a:gd name="T66" fmla="*/ 37 w 56"/>
              <a:gd name="T67" fmla="*/ 12 h 81"/>
              <a:gd name="T68" fmla="*/ 34 w 56"/>
              <a:gd name="T69" fmla="*/ 9 h 81"/>
              <a:gd name="T70" fmla="*/ 22 w 56"/>
              <a:gd name="T71" fmla="*/ 6 h 81"/>
              <a:gd name="T72" fmla="*/ 18 w 56"/>
              <a:gd name="T73" fmla="*/ 3 h 81"/>
              <a:gd name="T74" fmla="*/ 12 w 56"/>
              <a:gd name="T75" fmla="*/ 0 h 81"/>
              <a:gd name="T76" fmla="*/ 9 w 56"/>
              <a:gd name="T77" fmla="*/ 3 h 81"/>
              <a:gd name="T78" fmla="*/ 3 w 56"/>
              <a:gd name="T79" fmla="*/ 6 h 81"/>
              <a:gd name="T80" fmla="*/ 3 w 56"/>
              <a:gd name="T81" fmla="*/ 6 h 81"/>
              <a:gd name="T82" fmla="*/ 3 w 56"/>
              <a:gd name="T83" fmla="*/ 6 h 81"/>
              <a:gd name="T84" fmla="*/ 3 w 56"/>
              <a:gd name="T85" fmla="*/ 6 h 81"/>
              <a:gd name="T86" fmla="*/ 0 w 56"/>
              <a:gd name="T87" fmla="*/ 12 h 81"/>
              <a:gd name="T88" fmla="*/ 0 w 56"/>
              <a:gd name="T89" fmla="*/ 19 h 81"/>
              <a:gd name="T90" fmla="*/ 0 w 56"/>
              <a:gd name="T91" fmla="*/ 22 h 81"/>
              <a:gd name="T92" fmla="*/ 0 w 56"/>
              <a:gd name="T93" fmla="*/ 25 h 81"/>
              <a:gd name="T94" fmla="*/ 0 w 56"/>
              <a:gd name="T95" fmla="*/ 28 h 81"/>
              <a:gd name="T96" fmla="*/ 3 w 56"/>
              <a:gd name="T97" fmla="*/ 31 h 81"/>
              <a:gd name="T98" fmla="*/ 6 w 56"/>
              <a:gd name="T99" fmla="*/ 34 h 81"/>
              <a:gd name="T100" fmla="*/ 9 w 56"/>
              <a:gd name="T101" fmla="*/ 37 h 81"/>
              <a:gd name="T102" fmla="*/ 9 w 56"/>
              <a:gd name="T103" fmla="*/ 40 h 81"/>
              <a:gd name="T104" fmla="*/ 9 w 56"/>
              <a:gd name="T105" fmla="*/ 44 h 81"/>
              <a:gd name="T106" fmla="*/ 9 w 56"/>
              <a:gd name="T107" fmla="*/ 47 h 81"/>
              <a:gd name="T108" fmla="*/ 6 w 56"/>
              <a:gd name="T109" fmla="*/ 50 h 81"/>
              <a:gd name="T110" fmla="*/ 6 w 56"/>
              <a:gd name="T111" fmla="*/ 56 h 81"/>
              <a:gd name="T112" fmla="*/ 9 w 56"/>
              <a:gd name="T113" fmla="*/ 56 h 81"/>
              <a:gd name="T114" fmla="*/ 6 w 56"/>
              <a:gd name="T115" fmla="*/ 62 h 81"/>
              <a:gd name="T116" fmla="*/ 0 w 56"/>
              <a:gd name="T117" fmla="*/ 66 h 81"/>
              <a:gd name="T118" fmla="*/ 0 w 56"/>
              <a:gd name="T119" fmla="*/ 6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 h="81">
                <a:moveTo>
                  <a:pt x="0" y="66"/>
                </a:moveTo>
                <a:lnTo>
                  <a:pt x="0" y="66"/>
                </a:lnTo>
                <a:lnTo>
                  <a:pt x="3" y="69"/>
                </a:lnTo>
                <a:lnTo>
                  <a:pt x="3" y="72"/>
                </a:lnTo>
                <a:lnTo>
                  <a:pt x="3" y="72"/>
                </a:lnTo>
                <a:lnTo>
                  <a:pt x="6" y="75"/>
                </a:lnTo>
                <a:lnTo>
                  <a:pt x="9" y="75"/>
                </a:lnTo>
                <a:lnTo>
                  <a:pt x="12" y="75"/>
                </a:lnTo>
                <a:lnTo>
                  <a:pt x="15" y="72"/>
                </a:lnTo>
                <a:lnTo>
                  <a:pt x="15" y="72"/>
                </a:lnTo>
                <a:lnTo>
                  <a:pt x="15" y="75"/>
                </a:lnTo>
                <a:lnTo>
                  <a:pt x="18" y="75"/>
                </a:lnTo>
                <a:lnTo>
                  <a:pt x="18" y="81"/>
                </a:lnTo>
                <a:lnTo>
                  <a:pt x="22" y="81"/>
                </a:lnTo>
                <a:lnTo>
                  <a:pt x="25" y="78"/>
                </a:lnTo>
                <a:lnTo>
                  <a:pt x="25" y="75"/>
                </a:lnTo>
                <a:lnTo>
                  <a:pt x="28" y="75"/>
                </a:lnTo>
                <a:lnTo>
                  <a:pt x="31" y="75"/>
                </a:lnTo>
                <a:lnTo>
                  <a:pt x="34" y="69"/>
                </a:lnTo>
                <a:lnTo>
                  <a:pt x="37" y="62"/>
                </a:lnTo>
                <a:lnTo>
                  <a:pt x="40" y="56"/>
                </a:lnTo>
                <a:lnTo>
                  <a:pt x="40" y="53"/>
                </a:lnTo>
                <a:lnTo>
                  <a:pt x="43" y="47"/>
                </a:lnTo>
                <a:lnTo>
                  <a:pt x="50" y="40"/>
                </a:lnTo>
                <a:lnTo>
                  <a:pt x="50" y="37"/>
                </a:lnTo>
                <a:lnTo>
                  <a:pt x="50" y="37"/>
                </a:lnTo>
                <a:lnTo>
                  <a:pt x="56" y="31"/>
                </a:lnTo>
                <a:lnTo>
                  <a:pt x="53" y="28"/>
                </a:lnTo>
                <a:lnTo>
                  <a:pt x="50" y="25"/>
                </a:lnTo>
                <a:lnTo>
                  <a:pt x="50" y="25"/>
                </a:lnTo>
                <a:lnTo>
                  <a:pt x="47" y="22"/>
                </a:lnTo>
                <a:lnTo>
                  <a:pt x="47" y="19"/>
                </a:lnTo>
                <a:lnTo>
                  <a:pt x="40" y="12"/>
                </a:lnTo>
                <a:lnTo>
                  <a:pt x="37" y="12"/>
                </a:lnTo>
                <a:lnTo>
                  <a:pt x="34" y="9"/>
                </a:lnTo>
                <a:lnTo>
                  <a:pt x="22" y="6"/>
                </a:lnTo>
                <a:lnTo>
                  <a:pt x="18" y="3"/>
                </a:lnTo>
                <a:lnTo>
                  <a:pt x="12" y="0"/>
                </a:lnTo>
                <a:lnTo>
                  <a:pt x="9" y="3"/>
                </a:lnTo>
                <a:lnTo>
                  <a:pt x="3" y="6"/>
                </a:lnTo>
                <a:lnTo>
                  <a:pt x="3" y="6"/>
                </a:lnTo>
                <a:lnTo>
                  <a:pt x="3" y="6"/>
                </a:lnTo>
                <a:lnTo>
                  <a:pt x="3" y="6"/>
                </a:lnTo>
                <a:lnTo>
                  <a:pt x="0" y="12"/>
                </a:lnTo>
                <a:lnTo>
                  <a:pt x="0" y="19"/>
                </a:lnTo>
                <a:lnTo>
                  <a:pt x="0" y="22"/>
                </a:lnTo>
                <a:lnTo>
                  <a:pt x="0" y="25"/>
                </a:lnTo>
                <a:lnTo>
                  <a:pt x="0" y="28"/>
                </a:lnTo>
                <a:lnTo>
                  <a:pt x="3" y="31"/>
                </a:lnTo>
                <a:lnTo>
                  <a:pt x="6" y="34"/>
                </a:lnTo>
                <a:lnTo>
                  <a:pt x="9" y="37"/>
                </a:lnTo>
                <a:lnTo>
                  <a:pt x="9" y="40"/>
                </a:lnTo>
                <a:lnTo>
                  <a:pt x="9" y="44"/>
                </a:lnTo>
                <a:lnTo>
                  <a:pt x="9" y="47"/>
                </a:lnTo>
                <a:lnTo>
                  <a:pt x="6" y="50"/>
                </a:lnTo>
                <a:lnTo>
                  <a:pt x="6" y="56"/>
                </a:lnTo>
                <a:lnTo>
                  <a:pt x="9" y="56"/>
                </a:lnTo>
                <a:lnTo>
                  <a:pt x="6" y="62"/>
                </a:lnTo>
                <a:lnTo>
                  <a:pt x="0" y="66"/>
                </a:lnTo>
                <a:lnTo>
                  <a:pt x="0" y="6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0" name="Freeform 188">
            <a:extLst>
              <a:ext uri="{FF2B5EF4-FFF2-40B4-BE49-F238E27FC236}">
                <a16:creationId xmlns:a16="http://schemas.microsoft.com/office/drawing/2014/main" id="{B6CDB116-E5ED-C037-23BB-197483D808DD}"/>
              </a:ext>
            </a:extLst>
          </p:cNvPr>
          <p:cNvSpPr>
            <a:spLocks/>
          </p:cNvSpPr>
          <p:nvPr userDrawn="1"/>
        </p:nvSpPr>
        <p:spPr bwMode="auto">
          <a:xfrm>
            <a:off x="9606924" y="9000407"/>
            <a:ext cx="247634" cy="266702"/>
          </a:xfrm>
          <a:custGeom>
            <a:avLst/>
            <a:gdLst>
              <a:gd name="T0" fmla="*/ 31 w 78"/>
              <a:gd name="T1" fmla="*/ 84 h 84"/>
              <a:gd name="T2" fmla="*/ 34 w 78"/>
              <a:gd name="T3" fmla="*/ 84 h 84"/>
              <a:gd name="T4" fmla="*/ 44 w 78"/>
              <a:gd name="T5" fmla="*/ 84 h 84"/>
              <a:gd name="T6" fmla="*/ 41 w 78"/>
              <a:gd name="T7" fmla="*/ 78 h 84"/>
              <a:gd name="T8" fmla="*/ 37 w 78"/>
              <a:gd name="T9" fmla="*/ 75 h 84"/>
              <a:gd name="T10" fmla="*/ 41 w 78"/>
              <a:gd name="T11" fmla="*/ 68 h 84"/>
              <a:gd name="T12" fmla="*/ 53 w 78"/>
              <a:gd name="T13" fmla="*/ 68 h 84"/>
              <a:gd name="T14" fmla="*/ 62 w 78"/>
              <a:gd name="T15" fmla="*/ 65 h 84"/>
              <a:gd name="T16" fmla="*/ 69 w 78"/>
              <a:gd name="T17" fmla="*/ 72 h 84"/>
              <a:gd name="T18" fmla="*/ 78 w 78"/>
              <a:gd name="T19" fmla="*/ 62 h 84"/>
              <a:gd name="T20" fmla="*/ 75 w 78"/>
              <a:gd name="T21" fmla="*/ 56 h 84"/>
              <a:gd name="T22" fmla="*/ 78 w 78"/>
              <a:gd name="T23" fmla="*/ 50 h 84"/>
              <a:gd name="T24" fmla="*/ 78 w 78"/>
              <a:gd name="T25" fmla="*/ 43 h 84"/>
              <a:gd name="T26" fmla="*/ 72 w 78"/>
              <a:gd name="T27" fmla="*/ 37 h 84"/>
              <a:gd name="T28" fmla="*/ 69 w 78"/>
              <a:gd name="T29" fmla="*/ 31 h 84"/>
              <a:gd name="T30" fmla="*/ 69 w 78"/>
              <a:gd name="T31" fmla="*/ 25 h 84"/>
              <a:gd name="T32" fmla="*/ 72 w 78"/>
              <a:gd name="T33" fmla="*/ 12 h 84"/>
              <a:gd name="T34" fmla="*/ 72 w 78"/>
              <a:gd name="T35" fmla="*/ 12 h 84"/>
              <a:gd name="T36" fmla="*/ 78 w 78"/>
              <a:gd name="T37" fmla="*/ 6 h 84"/>
              <a:gd name="T38" fmla="*/ 66 w 78"/>
              <a:gd name="T39" fmla="*/ 3 h 84"/>
              <a:gd name="T40" fmla="*/ 56 w 78"/>
              <a:gd name="T41" fmla="*/ 0 h 84"/>
              <a:gd name="T42" fmla="*/ 47 w 78"/>
              <a:gd name="T43" fmla="*/ 0 h 84"/>
              <a:gd name="T44" fmla="*/ 31 w 78"/>
              <a:gd name="T45" fmla="*/ 0 h 84"/>
              <a:gd name="T46" fmla="*/ 19 w 78"/>
              <a:gd name="T47" fmla="*/ 3 h 84"/>
              <a:gd name="T48" fmla="*/ 19 w 78"/>
              <a:gd name="T49" fmla="*/ 6 h 84"/>
              <a:gd name="T50" fmla="*/ 16 w 78"/>
              <a:gd name="T51" fmla="*/ 12 h 84"/>
              <a:gd name="T52" fmla="*/ 9 w 78"/>
              <a:gd name="T53" fmla="*/ 18 h 84"/>
              <a:gd name="T54" fmla="*/ 3 w 78"/>
              <a:gd name="T55" fmla="*/ 25 h 84"/>
              <a:gd name="T56" fmla="*/ 0 w 78"/>
              <a:gd name="T57" fmla="*/ 37 h 84"/>
              <a:gd name="T58" fmla="*/ 3 w 78"/>
              <a:gd name="T59" fmla="*/ 40 h 84"/>
              <a:gd name="T60" fmla="*/ 6 w 78"/>
              <a:gd name="T61" fmla="*/ 43 h 84"/>
              <a:gd name="T62" fmla="*/ 9 w 78"/>
              <a:gd name="T63" fmla="*/ 50 h 84"/>
              <a:gd name="T64" fmla="*/ 12 w 78"/>
              <a:gd name="T65" fmla="*/ 53 h 84"/>
              <a:gd name="T66" fmla="*/ 16 w 78"/>
              <a:gd name="T67" fmla="*/ 56 h 84"/>
              <a:gd name="T68" fmla="*/ 19 w 78"/>
              <a:gd name="T69" fmla="*/ 65 h 84"/>
              <a:gd name="T70" fmla="*/ 22 w 78"/>
              <a:gd name="T71" fmla="*/ 72 h 84"/>
              <a:gd name="T72" fmla="*/ 28 w 78"/>
              <a:gd name="T73" fmla="*/ 78 h 84"/>
              <a:gd name="T74" fmla="*/ 28 w 78"/>
              <a:gd name="T75" fmla="*/ 8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84">
                <a:moveTo>
                  <a:pt x="31" y="84"/>
                </a:moveTo>
                <a:lnTo>
                  <a:pt x="31" y="84"/>
                </a:lnTo>
                <a:lnTo>
                  <a:pt x="34" y="84"/>
                </a:lnTo>
                <a:lnTo>
                  <a:pt x="34" y="84"/>
                </a:lnTo>
                <a:lnTo>
                  <a:pt x="37" y="84"/>
                </a:lnTo>
                <a:lnTo>
                  <a:pt x="44" y="84"/>
                </a:lnTo>
                <a:lnTo>
                  <a:pt x="44" y="84"/>
                </a:lnTo>
                <a:lnTo>
                  <a:pt x="41" y="78"/>
                </a:lnTo>
                <a:lnTo>
                  <a:pt x="41" y="78"/>
                </a:lnTo>
                <a:lnTo>
                  <a:pt x="37" y="75"/>
                </a:lnTo>
                <a:lnTo>
                  <a:pt x="37" y="68"/>
                </a:lnTo>
                <a:lnTo>
                  <a:pt x="41" y="68"/>
                </a:lnTo>
                <a:lnTo>
                  <a:pt x="47" y="68"/>
                </a:lnTo>
                <a:lnTo>
                  <a:pt x="53" y="68"/>
                </a:lnTo>
                <a:lnTo>
                  <a:pt x="56" y="65"/>
                </a:lnTo>
                <a:lnTo>
                  <a:pt x="62" y="65"/>
                </a:lnTo>
                <a:lnTo>
                  <a:pt x="66" y="72"/>
                </a:lnTo>
                <a:lnTo>
                  <a:pt x="69" y="72"/>
                </a:lnTo>
                <a:lnTo>
                  <a:pt x="75" y="68"/>
                </a:lnTo>
                <a:lnTo>
                  <a:pt x="78" y="62"/>
                </a:lnTo>
                <a:lnTo>
                  <a:pt x="75" y="62"/>
                </a:lnTo>
                <a:lnTo>
                  <a:pt x="75" y="56"/>
                </a:lnTo>
                <a:lnTo>
                  <a:pt x="78" y="53"/>
                </a:lnTo>
                <a:lnTo>
                  <a:pt x="78" y="50"/>
                </a:lnTo>
                <a:lnTo>
                  <a:pt x="78" y="46"/>
                </a:lnTo>
                <a:lnTo>
                  <a:pt x="78" y="43"/>
                </a:lnTo>
                <a:lnTo>
                  <a:pt x="75" y="40"/>
                </a:lnTo>
                <a:lnTo>
                  <a:pt x="72" y="37"/>
                </a:lnTo>
                <a:lnTo>
                  <a:pt x="69" y="34"/>
                </a:lnTo>
                <a:lnTo>
                  <a:pt x="69" y="31"/>
                </a:lnTo>
                <a:lnTo>
                  <a:pt x="69" y="28"/>
                </a:lnTo>
                <a:lnTo>
                  <a:pt x="69" y="25"/>
                </a:lnTo>
                <a:lnTo>
                  <a:pt x="69" y="18"/>
                </a:lnTo>
                <a:lnTo>
                  <a:pt x="72" y="12"/>
                </a:lnTo>
                <a:lnTo>
                  <a:pt x="72" y="12"/>
                </a:lnTo>
                <a:lnTo>
                  <a:pt x="72" y="12"/>
                </a:lnTo>
                <a:lnTo>
                  <a:pt x="78" y="6"/>
                </a:lnTo>
                <a:lnTo>
                  <a:pt x="78" y="6"/>
                </a:lnTo>
                <a:lnTo>
                  <a:pt x="72" y="3"/>
                </a:lnTo>
                <a:lnTo>
                  <a:pt x="66" y="3"/>
                </a:lnTo>
                <a:lnTo>
                  <a:pt x="59" y="0"/>
                </a:lnTo>
                <a:lnTo>
                  <a:pt x="56" y="0"/>
                </a:lnTo>
                <a:lnTo>
                  <a:pt x="53" y="0"/>
                </a:lnTo>
                <a:lnTo>
                  <a:pt x="47" y="0"/>
                </a:lnTo>
                <a:lnTo>
                  <a:pt x="37" y="3"/>
                </a:lnTo>
                <a:lnTo>
                  <a:pt x="31" y="0"/>
                </a:lnTo>
                <a:lnTo>
                  <a:pt x="22" y="0"/>
                </a:lnTo>
                <a:lnTo>
                  <a:pt x="19" y="3"/>
                </a:lnTo>
                <a:lnTo>
                  <a:pt x="19" y="6"/>
                </a:lnTo>
                <a:lnTo>
                  <a:pt x="19" y="6"/>
                </a:lnTo>
                <a:lnTo>
                  <a:pt x="16" y="9"/>
                </a:lnTo>
                <a:lnTo>
                  <a:pt x="16" y="12"/>
                </a:lnTo>
                <a:lnTo>
                  <a:pt x="12" y="15"/>
                </a:lnTo>
                <a:lnTo>
                  <a:pt x="9" y="18"/>
                </a:lnTo>
                <a:lnTo>
                  <a:pt x="6" y="18"/>
                </a:lnTo>
                <a:lnTo>
                  <a:pt x="3" y="25"/>
                </a:lnTo>
                <a:lnTo>
                  <a:pt x="3" y="28"/>
                </a:lnTo>
                <a:lnTo>
                  <a:pt x="0" y="37"/>
                </a:lnTo>
                <a:lnTo>
                  <a:pt x="0" y="37"/>
                </a:lnTo>
                <a:lnTo>
                  <a:pt x="3" y="40"/>
                </a:lnTo>
                <a:lnTo>
                  <a:pt x="6" y="43"/>
                </a:lnTo>
                <a:lnTo>
                  <a:pt x="6" y="43"/>
                </a:lnTo>
                <a:lnTo>
                  <a:pt x="9" y="46"/>
                </a:lnTo>
                <a:lnTo>
                  <a:pt x="9" y="50"/>
                </a:lnTo>
                <a:lnTo>
                  <a:pt x="12" y="53"/>
                </a:lnTo>
                <a:lnTo>
                  <a:pt x="12" y="53"/>
                </a:lnTo>
                <a:lnTo>
                  <a:pt x="16" y="53"/>
                </a:lnTo>
                <a:lnTo>
                  <a:pt x="16" y="56"/>
                </a:lnTo>
                <a:lnTo>
                  <a:pt x="19" y="62"/>
                </a:lnTo>
                <a:lnTo>
                  <a:pt x="19" y="65"/>
                </a:lnTo>
                <a:lnTo>
                  <a:pt x="19" y="68"/>
                </a:lnTo>
                <a:lnTo>
                  <a:pt x="22" y="72"/>
                </a:lnTo>
                <a:lnTo>
                  <a:pt x="22" y="75"/>
                </a:lnTo>
                <a:lnTo>
                  <a:pt x="28" y="78"/>
                </a:lnTo>
                <a:lnTo>
                  <a:pt x="28" y="78"/>
                </a:lnTo>
                <a:lnTo>
                  <a:pt x="28" y="81"/>
                </a:lnTo>
                <a:lnTo>
                  <a:pt x="31" y="8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1" name="Freeform 189">
            <a:extLst>
              <a:ext uri="{FF2B5EF4-FFF2-40B4-BE49-F238E27FC236}">
                <a16:creationId xmlns:a16="http://schemas.microsoft.com/office/drawing/2014/main" id="{24AEFDAE-C9AD-8DDF-5776-3E4357F4E250}"/>
              </a:ext>
            </a:extLst>
          </p:cNvPr>
          <p:cNvSpPr>
            <a:spLocks/>
          </p:cNvSpPr>
          <p:nvPr userDrawn="1"/>
        </p:nvSpPr>
        <p:spPr bwMode="auto">
          <a:xfrm>
            <a:off x="9387860" y="8841659"/>
            <a:ext cx="317481" cy="476250"/>
          </a:xfrm>
          <a:custGeom>
            <a:avLst/>
            <a:gdLst>
              <a:gd name="T0" fmla="*/ 16 w 100"/>
              <a:gd name="T1" fmla="*/ 65 h 150"/>
              <a:gd name="T2" fmla="*/ 22 w 100"/>
              <a:gd name="T3" fmla="*/ 65 h 150"/>
              <a:gd name="T4" fmla="*/ 28 w 100"/>
              <a:gd name="T5" fmla="*/ 71 h 150"/>
              <a:gd name="T6" fmla="*/ 25 w 100"/>
              <a:gd name="T7" fmla="*/ 81 h 150"/>
              <a:gd name="T8" fmla="*/ 28 w 100"/>
              <a:gd name="T9" fmla="*/ 84 h 150"/>
              <a:gd name="T10" fmla="*/ 34 w 100"/>
              <a:gd name="T11" fmla="*/ 87 h 150"/>
              <a:gd name="T12" fmla="*/ 38 w 100"/>
              <a:gd name="T13" fmla="*/ 90 h 150"/>
              <a:gd name="T14" fmla="*/ 34 w 100"/>
              <a:gd name="T15" fmla="*/ 96 h 150"/>
              <a:gd name="T16" fmla="*/ 31 w 100"/>
              <a:gd name="T17" fmla="*/ 106 h 150"/>
              <a:gd name="T18" fmla="*/ 28 w 100"/>
              <a:gd name="T19" fmla="*/ 115 h 150"/>
              <a:gd name="T20" fmla="*/ 28 w 100"/>
              <a:gd name="T21" fmla="*/ 122 h 150"/>
              <a:gd name="T22" fmla="*/ 28 w 100"/>
              <a:gd name="T23" fmla="*/ 128 h 150"/>
              <a:gd name="T24" fmla="*/ 38 w 100"/>
              <a:gd name="T25" fmla="*/ 134 h 150"/>
              <a:gd name="T26" fmla="*/ 41 w 100"/>
              <a:gd name="T27" fmla="*/ 140 h 150"/>
              <a:gd name="T28" fmla="*/ 50 w 100"/>
              <a:gd name="T29" fmla="*/ 150 h 150"/>
              <a:gd name="T30" fmla="*/ 56 w 100"/>
              <a:gd name="T31" fmla="*/ 147 h 150"/>
              <a:gd name="T32" fmla="*/ 59 w 100"/>
              <a:gd name="T33" fmla="*/ 147 h 150"/>
              <a:gd name="T34" fmla="*/ 63 w 100"/>
              <a:gd name="T35" fmla="*/ 140 h 150"/>
              <a:gd name="T36" fmla="*/ 75 w 100"/>
              <a:gd name="T37" fmla="*/ 140 h 150"/>
              <a:gd name="T38" fmla="*/ 81 w 100"/>
              <a:gd name="T39" fmla="*/ 131 h 150"/>
              <a:gd name="T40" fmla="*/ 91 w 100"/>
              <a:gd name="T41" fmla="*/ 134 h 150"/>
              <a:gd name="T42" fmla="*/ 100 w 100"/>
              <a:gd name="T43" fmla="*/ 134 h 150"/>
              <a:gd name="T44" fmla="*/ 97 w 100"/>
              <a:gd name="T45" fmla="*/ 128 h 150"/>
              <a:gd name="T46" fmla="*/ 91 w 100"/>
              <a:gd name="T47" fmla="*/ 125 h 150"/>
              <a:gd name="T48" fmla="*/ 88 w 100"/>
              <a:gd name="T49" fmla="*/ 118 h 150"/>
              <a:gd name="T50" fmla="*/ 88 w 100"/>
              <a:gd name="T51" fmla="*/ 112 h 150"/>
              <a:gd name="T52" fmla="*/ 85 w 100"/>
              <a:gd name="T53" fmla="*/ 103 h 150"/>
              <a:gd name="T54" fmla="*/ 81 w 100"/>
              <a:gd name="T55" fmla="*/ 103 h 150"/>
              <a:gd name="T56" fmla="*/ 78 w 100"/>
              <a:gd name="T57" fmla="*/ 96 h 150"/>
              <a:gd name="T58" fmla="*/ 75 w 100"/>
              <a:gd name="T59" fmla="*/ 93 h 150"/>
              <a:gd name="T60" fmla="*/ 69 w 100"/>
              <a:gd name="T61" fmla="*/ 87 h 150"/>
              <a:gd name="T62" fmla="*/ 72 w 100"/>
              <a:gd name="T63" fmla="*/ 78 h 150"/>
              <a:gd name="T64" fmla="*/ 75 w 100"/>
              <a:gd name="T65" fmla="*/ 68 h 150"/>
              <a:gd name="T66" fmla="*/ 81 w 100"/>
              <a:gd name="T67" fmla="*/ 65 h 150"/>
              <a:gd name="T68" fmla="*/ 85 w 100"/>
              <a:gd name="T69" fmla="*/ 59 h 150"/>
              <a:gd name="T70" fmla="*/ 88 w 100"/>
              <a:gd name="T71" fmla="*/ 56 h 150"/>
              <a:gd name="T72" fmla="*/ 85 w 100"/>
              <a:gd name="T73" fmla="*/ 53 h 150"/>
              <a:gd name="T74" fmla="*/ 85 w 100"/>
              <a:gd name="T75" fmla="*/ 43 h 150"/>
              <a:gd name="T76" fmla="*/ 69 w 100"/>
              <a:gd name="T77" fmla="*/ 37 h 150"/>
              <a:gd name="T78" fmla="*/ 63 w 100"/>
              <a:gd name="T79" fmla="*/ 34 h 150"/>
              <a:gd name="T80" fmla="*/ 56 w 100"/>
              <a:gd name="T81" fmla="*/ 37 h 150"/>
              <a:gd name="T82" fmla="*/ 56 w 100"/>
              <a:gd name="T83" fmla="*/ 37 h 150"/>
              <a:gd name="T84" fmla="*/ 59 w 100"/>
              <a:gd name="T85" fmla="*/ 28 h 150"/>
              <a:gd name="T86" fmla="*/ 53 w 100"/>
              <a:gd name="T87" fmla="*/ 18 h 150"/>
              <a:gd name="T88" fmla="*/ 41 w 100"/>
              <a:gd name="T89" fmla="*/ 9 h 150"/>
              <a:gd name="T90" fmla="*/ 34 w 100"/>
              <a:gd name="T91" fmla="*/ 3 h 150"/>
              <a:gd name="T92" fmla="*/ 31 w 100"/>
              <a:gd name="T93" fmla="*/ 0 h 150"/>
              <a:gd name="T94" fmla="*/ 25 w 100"/>
              <a:gd name="T95" fmla="*/ 9 h 150"/>
              <a:gd name="T96" fmla="*/ 19 w 100"/>
              <a:gd name="T97" fmla="*/ 12 h 150"/>
              <a:gd name="T98" fmla="*/ 13 w 100"/>
              <a:gd name="T99" fmla="*/ 21 h 150"/>
              <a:gd name="T100" fmla="*/ 22 w 100"/>
              <a:gd name="T101" fmla="*/ 25 h 150"/>
              <a:gd name="T102" fmla="*/ 25 w 100"/>
              <a:gd name="T103" fmla="*/ 34 h 150"/>
              <a:gd name="T104" fmla="*/ 13 w 100"/>
              <a:gd name="T105" fmla="*/ 34 h 150"/>
              <a:gd name="T106" fmla="*/ 9 w 100"/>
              <a:gd name="T107" fmla="*/ 34 h 150"/>
              <a:gd name="T108" fmla="*/ 6 w 100"/>
              <a:gd name="T109" fmla="*/ 43 h 150"/>
              <a:gd name="T110" fmla="*/ 3 w 100"/>
              <a:gd name="T111" fmla="*/ 53 h 150"/>
              <a:gd name="T112" fmla="*/ 16 w 100"/>
              <a:gd name="T113" fmla="*/ 6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0" h="150">
                <a:moveTo>
                  <a:pt x="16" y="65"/>
                </a:moveTo>
                <a:lnTo>
                  <a:pt x="16" y="65"/>
                </a:lnTo>
                <a:lnTo>
                  <a:pt x="19" y="68"/>
                </a:lnTo>
                <a:lnTo>
                  <a:pt x="22" y="65"/>
                </a:lnTo>
                <a:lnTo>
                  <a:pt x="25" y="65"/>
                </a:lnTo>
                <a:lnTo>
                  <a:pt x="28" y="71"/>
                </a:lnTo>
                <a:lnTo>
                  <a:pt x="28" y="75"/>
                </a:lnTo>
                <a:lnTo>
                  <a:pt x="25" y="81"/>
                </a:lnTo>
                <a:lnTo>
                  <a:pt x="25" y="81"/>
                </a:lnTo>
                <a:lnTo>
                  <a:pt x="28" y="84"/>
                </a:lnTo>
                <a:lnTo>
                  <a:pt x="31" y="84"/>
                </a:lnTo>
                <a:lnTo>
                  <a:pt x="34" y="87"/>
                </a:lnTo>
                <a:lnTo>
                  <a:pt x="34" y="90"/>
                </a:lnTo>
                <a:lnTo>
                  <a:pt x="38" y="90"/>
                </a:lnTo>
                <a:lnTo>
                  <a:pt x="38" y="90"/>
                </a:lnTo>
                <a:lnTo>
                  <a:pt x="34" y="96"/>
                </a:lnTo>
                <a:lnTo>
                  <a:pt x="34" y="100"/>
                </a:lnTo>
                <a:lnTo>
                  <a:pt x="31" y="106"/>
                </a:lnTo>
                <a:lnTo>
                  <a:pt x="31" y="112"/>
                </a:lnTo>
                <a:lnTo>
                  <a:pt x="28" y="115"/>
                </a:lnTo>
                <a:lnTo>
                  <a:pt x="28" y="118"/>
                </a:lnTo>
                <a:lnTo>
                  <a:pt x="28" y="122"/>
                </a:lnTo>
                <a:lnTo>
                  <a:pt x="28" y="122"/>
                </a:lnTo>
                <a:lnTo>
                  <a:pt x="28" y="128"/>
                </a:lnTo>
                <a:lnTo>
                  <a:pt x="31" y="131"/>
                </a:lnTo>
                <a:lnTo>
                  <a:pt x="38" y="134"/>
                </a:lnTo>
                <a:lnTo>
                  <a:pt x="38" y="137"/>
                </a:lnTo>
                <a:lnTo>
                  <a:pt x="41" y="140"/>
                </a:lnTo>
                <a:lnTo>
                  <a:pt x="47" y="147"/>
                </a:lnTo>
                <a:lnTo>
                  <a:pt x="50" y="150"/>
                </a:lnTo>
                <a:lnTo>
                  <a:pt x="53" y="147"/>
                </a:lnTo>
                <a:lnTo>
                  <a:pt x="56" y="147"/>
                </a:lnTo>
                <a:lnTo>
                  <a:pt x="56" y="147"/>
                </a:lnTo>
                <a:lnTo>
                  <a:pt x="59" y="147"/>
                </a:lnTo>
                <a:lnTo>
                  <a:pt x="63" y="143"/>
                </a:lnTo>
                <a:lnTo>
                  <a:pt x="63" y="140"/>
                </a:lnTo>
                <a:lnTo>
                  <a:pt x="69" y="140"/>
                </a:lnTo>
                <a:lnTo>
                  <a:pt x="75" y="140"/>
                </a:lnTo>
                <a:lnTo>
                  <a:pt x="78" y="134"/>
                </a:lnTo>
                <a:lnTo>
                  <a:pt x="81" y="131"/>
                </a:lnTo>
                <a:lnTo>
                  <a:pt x="88" y="131"/>
                </a:lnTo>
                <a:lnTo>
                  <a:pt x="91" y="134"/>
                </a:lnTo>
                <a:lnTo>
                  <a:pt x="94" y="134"/>
                </a:lnTo>
                <a:lnTo>
                  <a:pt x="100" y="134"/>
                </a:lnTo>
                <a:lnTo>
                  <a:pt x="97" y="131"/>
                </a:lnTo>
                <a:lnTo>
                  <a:pt x="97" y="128"/>
                </a:lnTo>
                <a:lnTo>
                  <a:pt x="97" y="128"/>
                </a:lnTo>
                <a:lnTo>
                  <a:pt x="91" y="125"/>
                </a:lnTo>
                <a:lnTo>
                  <a:pt x="91" y="122"/>
                </a:lnTo>
                <a:lnTo>
                  <a:pt x="88" y="118"/>
                </a:lnTo>
                <a:lnTo>
                  <a:pt x="88" y="115"/>
                </a:lnTo>
                <a:lnTo>
                  <a:pt x="88" y="112"/>
                </a:lnTo>
                <a:lnTo>
                  <a:pt x="85" y="106"/>
                </a:lnTo>
                <a:lnTo>
                  <a:pt x="85" y="103"/>
                </a:lnTo>
                <a:lnTo>
                  <a:pt x="81" y="103"/>
                </a:lnTo>
                <a:lnTo>
                  <a:pt x="81" y="103"/>
                </a:lnTo>
                <a:lnTo>
                  <a:pt x="78" y="100"/>
                </a:lnTo>
                <a:lnTo>
                  <a:pt x="78" y="96"/>
                </a:lnTo>
                <a:lnTo>
                  <a:pt x="75" y="93"/>
                </a:lnTo>
                <a:lnTo>
                  <a:pt x="75" y="93"/>
                </a:lnTo>
                <a:lnTo>
                  <a:pt x="72" y="90"/>
                </a:lnTo>
                <a:lnTo>
                  <a:pt x="69" y="87"/>
                </a:lnTo>
                <a:lnTo>
                  <a:pt x="69" y="87"/>
                </a:lnTo>
                <a:lnTo>
                  <a:pt x="72" y="78"/>
                </a:lnTo>
                <a:lnTo>
                  <a:pt x="72" y="75"/>
                </a:lnTo>
                <a:lnTo>
                  <a:pt x="75" y="68"/>
                </a:lnTo>
                <a:lnTo>
                  <a:pt x="78" y="68"/>
                </a:lnTo>
                <a:lnTo>
                  <a:pt x="81" y="65"/>
                </a:lnTo>
                <a:lnTo>
                  <a:pt x="85" y="62"/>
                </a:lnTo>
                <a:lnTo>
                  <a:pt x="85" y="59"/>
                </a:lnTo>
                <a:lnTo>
                  <a:pt x="88" y="56"/>
                </a:lnTo>
                <a:lnTo>
                  <a:pt x="88" y="56"/>
                </a:lnTo>
                <a:lnTo>
                  <a:pt x="88" y="56"/>
                </a:lnTo>
                <a:lnTo>
                  <a:pt x="85" y="53"/>
                </a:lnTo>
                <a:lnTo>
                  <a:pt x="85" y="46"/>
                </a:lnTo>
                <a:lnTo>
                  <a:pt x="85" y="43"/>
                </a:lnTo>
                <a:lnTo>
                  <a:pt x="75" y="43"/>
                </a:lnTo>
                <a:lnTo>
                  <a:pt x="69" y="37"/>
                </a:lnTo>
                <a:lnTo>
                  <a:pt x="66" y="34"/>
                </a:lnTo>
                <a:lnTo>
                  <a:pt x="63" y="34"/>
                </a:lnTo>
                <a:lnTo>
                  <a:pt x="59" y="34"/>
                </a:lnTo>
                <a:lnTo>
                  <a:pt x="56" y="37"/>
                </a:lnTo>
                <a:lnTo>
                  <a:pt x="56" y="43"/>
                </a:lnTo>
                <a:lnTo>
                  <a:pt x="56" y="37"/>
                </a:lnTo>
                <a:lnTo>
                  <a:pt x="56" y="31"/>
                </a:lnTo>
                <a:lnTo>
                  <a:pt x="59" y="28"/>
                </a:lnTo>
                <a:lnTo>
                  <a:pt x="56" y="21"/>
                </a:lnTo>
                <a:lnTo>
                  <a:pt x="53" y="18"/>
                </a:lnTo>
                <a:lnTo>
                  <a:pt x="44" y="15"/>
                </a:lnTo>
                <a:lnTo>
                  <a:pt x="41" y="9"/>
                </a:lnTo>
                <a:lnTo>
                  <a:pt x="41" y="6"/>
                </a:lnTo>
                <a:lnTo>
                  <a:pt x="34" y="3"/>
                </a:lnTo>
                <a:lnTo>
                  <a:pt x="31" y="0"/>
                </a:lnTo>
                <a:lnTo>
                  <a:pt x="31" y="0"/>
                </a:lnTo>
                <a:lnTo>
                  <a:pt x="31" y="3"/>
                </a:lnTo>
                <a:lnTo>
                  <a:pt x="25" y="9"/>
                </a:lnTo>
                <a:lnTo>
                  <a:pt x="22" y="12"/>
                </a:lnTo>
                <a:lnTo>
                  <a:pt x="19" y="12"/>
                </a:lnTo>
                <a:lnTo>
                  <a:pt x="13" y="18"/>
                </a:lnTo>
                <a:lnTo>
                  <a:pt x="13" y="21"/>
                </a:lnTo>
                <a:lnTo>
                  <a:pt x="16" y="25"/>
                </a:lnTo>
                <a:lnTo>
                  <a:pt x="22" y="25"/>
                </a:lnTo>
                <a:lnTo>
                  <a:pt x="25" y="28"/>
                </a:lnTo>
                <a:lnTo>
                  <a:pt x="25" y="34"/>
                </a:lnTo>
                <a:lnTo>
                  <a:pt x="19" y="34"/>
                </a:lnTo>
                <a:lnTo>
                  <a:pt x="13" y="34"/>
                </a:lnTo>
                <a:lnTo>
                  <a:pt x="13" y="37"/>
                </a:lnTo>
                <a:lnTo>
                  <a:pt x="9" y="34"/>
                </a:lnTo>
                <a:lnTo>
                  <a:pt x="6" y="37"/>
                </a:lnTo>
                <a:lnTo>
                  <a:pt x="6" y="43"/>
                </a:lnTo>
                <a:lnTo>
                  <a:pt x="0" y="46"/>
                </a:lnTo>
                <a:lnTo>
                  <a:pt x="3" y="53"/>
                </a:lnTo>
                <a:lnTo>
                  <a:pt x="6" y="59"/>
                </a:lnTo>
                <a:lnTo>
                  <a:pt x="16" y="65"/>
                </a:lnTo>
                <a:lnTo>
                  <a:pt x="16" y="65"/>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2" name="Freeform 190">
            <a:extLst>
              <a:ext uri="{FF2B5EF4-FFF2-40B4-BE49-F238E27FC236}">
                <a16:creationId xmlns:a16="http://schemas.microsoft.com/office/drawing/2014/main" id="{E89152DC-3D06-CAC3-A46D-764C830B359A}"/>
              </a:ext>
            </a:extLst>
          </p:cNvPr>
          <p:cNvSpPr>
            <a:spLocks noEditPoints="1"/>
          </p:cNvSpPr>
          <p:nvPr userDrawn="1"/>
        </p:nvSpPr>
        <p:spPr bwMode="auto">
          <a:xfrm>
            <a:off x="8654486" y="8581308"/>
            <a:ext cx="831796" cy="765176"/>
          </a:xfrm>
          <a:custGeom>
            <a:avLst/>
            <a:gdLst>
              <a:gd name="T0" fmla="*/ 48 w 84"/>
              <a:gd name="T1" fmla="*/ 77 h 77"/>
              <a:gd name="T2" fmla="*/ 56 w 84"/>
              <a:gd name="T3" fmla="*/ 69 h 77"/>
              <a:gd name="T4" fmla="*/ 59 w 84"/>
              <a:gd name="T5" fmla="*/ 65 h 77"/>
              <a:gd name="T6" fmla="*/ 56 w 84"/>
              <a:gd name="T7" fmla="*/ 58 h 77"/>
              <a:gd name="T8" fmla="*/ 54 w 84"/>
              <a:gd name="T9" fmla="*/ 54 h 77"/>
              <a:gd name="T10" fmla="*/ 63 w 84"/>
              <a:gd name="T11" fmla="*/ 56 h 77"/>
              <a:gd name="T12" fmla="*/ 73 w 84"/>
              <a:gd name="T13" fmla="*/ 52 h 77"/>
              <a:gd name="T14" fmla="*/ 76 w 84"/>
              <a:gd name="T15" fmla="*/ 45 h 77"/>
              <a:gd name="T16" fmla="*/ 77 w 84"/>
              <a:gd name="T17" fmla="*/ 37 h 77"/>
              <a:gd name="T18" fmla="*/ 82 w 84"/>
              <a:gd name="T19" fmla="*/ 35 h 77"/>
              <a:gd name="T20" fmla="*/ 80 w 84"/>
              <a:gd name="T21" fmla="*/ 30 h 77"/>
              <a:gd name="T22" fmla="*/ 84 w 84"/>
              <a:gd name="T23" fmla="*/ 26 h 77"/>
              <a:gd name="T24" fmla="*/ 78 w 84"/>
              <a:gd name="T25" fmla="*/ 25 h 77"/>
              <a:gd name="T26" fmla="*/ 74 w 84"/>
              <a:gd name="T27" fmla="*/ 25 h 77"/>
              <a:gd name="T28" fmla="*/ 77 w 84"/>
              <a:gd name="T29" fmla="*/ 22 h 77"/>
              <a:gd name="T30" fmla="*/ 72 w 84"/>
              <a:gd name="T31" fmla="*/ 19 h 77"/>
              <a:gd name="T32" fmla="*/ 68 w 84"/>
              <a:gd name="T33" fmla="*/ 16 h 77"/>
              <a:gd name="T34" fmla="*/ 65 w 84"/>
              <a:gd name="T35" fmla="*/ 15 h 77"/>
              <a:gd name="T36" fmla="*/ 71 w 84"/>
              <a:gd name="T37" fmla="*/ 13 h 77"/>
              <a:gd name="T38" fmla="*/ 63 w 84"/>
              <a:gd name="T39" fmla="*/ 11 h 77"/>
              <a:gd name="T40" fmla="*/ 55 w 84"/>
              <a:gd name="T41" fmla="*/ 14 h 77"/>
              <a:gd name="T42" fmla="*/ 50 w 84"/>
              <a:gd name="T43" fmla="*/ 16 h 77"/>
              <a:gd name="T44" fmla="*/ 36 w 84"/>
              <a:gd name="T45" fmla="*/ 14 h 77"/>
              <a:gd name="T46" fmla="*/ 33 w 84"/>
              <a:gd name="T47" fmla="*/ 11 h 77"/>
              <a:gd name="T48" fmla="*/ 26 w 84"/>
              <a:gd name="T49" fmla="*/ 7 h 77"/>
              <a:gd name="T50" fmla="*/ 22 w 84"/>
              <a:gd name="T51" fmla="*/ 2 h 77"/>
              <a:gd name="T52" fmla="*/ 19 w 84"/>
              <a:gd name="T53" fmla="*/ 7 h 77"/>
              <a:gd name="T54" fmla="*/ 21 w 84"/>
              <a:gd name="T55" fmla="*/ 8 h 77"/>
              <a:gd name="T56" fmla="*/ 18 w 84"/>
              <a:gd name="T57" fmla="*/ 9 h 77"/>
              <a:gd name="T58" fmla="*/ 12 w 84"/>
              <a:gd name="T59" fmla="*/ 14 h 77"/>
              <a:gd name="T60" fmla="*/ 10 w 84"/>
              <a:gd name="T61" fmla="*/ 23 h 77"/>
              <a:gd name="T62" fmla="*/ 8 w 84"/>
              <a:gd name="T63" fmla="*/ 17 h 77"/>
              <a:gd name="T64" fmla="*/ 10 w 84"/>
              <a:gd name="T65" fmla="*/ 10 h 77"/>
              <a:gd name="T66" fmla="*/ 10 w 84"/>
              <a:gd name="T67" fmla="*/ 6 h 77"/>
              <a:gd name="T68" fmla="*/ 9 w 84"/>
              <a:gd name="T69" fmla="*/ 6 h 77"/>
              <a:gd name="T70" fmla="*/ 3 w 84"/>
              <a:gd name="T71" fmla="*/ 12 h 77"/>
              <a:gd name="T72" fmla="*/ 0 w 84"/>
              <a:gd name="T73" fmla="*/ 21 h 77"/>
              <a:gd name="T74" fmla="*/ 6 w 84"/>
              <a:gd name="T75" fmla="*/ 28 h 77"/>
              <a:gd name="T76" fmla="*/ 5 w 84"/>
              <a:gd name="T77" fmla="*/ 33 h 77"/>
              <a:gd name="T78" fmla="*/ 12 w 84"/>
              <a:gd name="T79" fmla="*/ 35 h 77"/>
              <a:gd name="T80" fmla="*/ 19 w 84"/>
              <a:gd name="T81" fmla="*/ 35 h 77"/>
              <a:gd name="T82" fmla="*/ 28 w 84"/>
              <a:gd name="T83" fmla="*/ 40 h 77"/>
              <a:gd name="T84" fmla="*/ 34 w 84"/>
              <a:gd name="T85" fmla="*/ 41 h 77"/>
              <a:gd name="T86" fmla="*/ 36 w 84"/>
              <a:gd name="T87" fmla="*/ 44 h 77"/>
              <a:gd name="T88" fmla="*/ 34 w 84"/>
              <a:gd name="T89" fmla="*/ 50 h 77"/>
              <a:gd name="T90" fmla="*/ 34 w 84"/>
              <a:gd name="T91" fmla="*/ 56 h 77"/>
              <a:gd name="T92" fmla="*/ 35 w 84"/>
              <a:gd name="T93" fmla="*/ 64 h 77"/>
              <a:gd name="T94" fmla="*/ 37 w 84"/>
              <a:gd name="T95" fmla="*/ 67 h 77"/>
              <a:gd name="T96" fmla="*/ 30 w 84"/>
              <a:gd name="T97" fmla="*/ 2 h 77"/>
              <a:gd name="T98" fmla="*/ 31 w 84"/>
              <a:gd name="T99" fmla="*/ 3 h 77"/>
              <a:gd name="T100" fmla="*/ 28 w 84"/>
              <a:gd name="T101" fmla="*/ 3 h 77"/>
              <a:gd name="T102" fmla="*/ 21 w 84"/>
              <a:gd name="T103" fmla="*/ 1 h 77"/>
              <a:gd name="T104" fmla="*/ 57 w 84"/>
              <a:gd name="T105" fmla="*/ 9 h 77"/>
              <a:gd name="T106" fmla="*/ 58 w 84"/>
              <a:gd name="T107" fmla="*/ 1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 h="77">
                <a:moveTo>
                  <a:pt x="39" y="73"/>
                </a:moveTo>
                <a:cubicBezTo>
                  <a:pt x="41" y="75"/>
                  <a:pt x="41" y="75"/>
                  <a:pt x="41" y="75"/>
                </a:cubicBezTo>
                <a:cubicBezTo>
                  <a:pt x="44" y="77"/>
                  <a:pt x="44" y="77"/>
                  <a:pt x="44" y="77"/>
                </a:cubicBezTo>
                <a:cubicBezTo>
                  <a:pt x="45" y="77"/>
                  <a:pt x="45" y="77"/>
                  <a:pt x="45" y="77"/>
                </a:cubicBezTo>
                <a:cubicBezTo>
                  <a:pt x="48" y="77"/>
                  <a:pt x="48" y="77"/>
                  <a:pt x="48" y="77"/>
                </a:cubicBezTo>
                <a:cubicBezTo>
                  <a:pt x="49" y="75"/>
                  <a:pt x="49" y="75"/>
                  <a:pt x="49" y="75"/>
                </a:cubicBezTo>
                <a:cubicBezTo>
                  <a:pt x="51" y="74"/>
                  <a:pt x="51" y="74"/>
                  <a:pt x="51" y="74"/>
                </a:cubicBezTo>
                <a:cubicBezTo>
                  <a:pt x="52" y="72"/>
                  <a:pt x="52" y="72"/>
                  <a:pt x="52" y="72"/>
                </a:cubicBezTo>
                <a:cubicBezTo>
                  <a:pt x="55" y="71"/>
                  <a:pt x="55" y="71"/>
                  <a:pt x="55" y="71"/>
                </a:cubicBezTo>
                <a:cubicBezTo>
                  <a:pt x="56" y="69"/>
                  <a:pt x="56" y="69"/>
                  <a:pt x="56" y="69"/>
                </a:cubicBezTo>
                <a:cubicBezTo>
                  <a:pt x="57" y="68"/>
                  <a:pt x="57" y="68"/>
                  <a:pt x="57" y="68"/>
                </a:cubicBezTo>
                <a:cubicBezTo>
                  <a:pt x="60" y="67"/>
                  <a:pt x="60" y="67"/>
                  <a:pt x="60" y="67"/>
                </a:cubicBezTo>
                <a:cubicBezTo>
                  <a:pt x="61" y="67"/>
                  <a:pt x="61" y="67"/>
                  <a:pt x="61" y="67"/>
                </a:cubicBezTo>
                <a:cubicBezTo>
                  <a:pt x="61" y="65"/>
                  <a:pt x="61" y="65"/>
                  <a:pt x="61" y="65"/>
                </a:cubicBezTo>
                <a:cubicBezTo>
                  <a:pt x="59" y="65"/>
                  <a:pt x="59" y="65"/>
                  <a:pt x="59" y="65"/>
                </a:cubicBezTo>
                <a:cubicBezTo>
                  <a:pt x="57" y="65"/>
                  <a:pt x="57" y="65"/>
                  <a:pt x="57" y="65"/>
                </a:cubicBezTo>
                <a:cubicBezTo>
                  <a:pt x="55" y="64"/>
                  <a:pt x="55" y="64"/>
                  <a:pt x="55" y="64"/>
                </a:cubicBezTo>
                <a:cubicBezTo>
                  <a:pt x="55" y="62"/>
                  <a:pt x="55" y="62"/>
                  <a:pt x="55" y="62"/>
                </a:cubicBezTo>
                <a:cubicBezTo>
                  <a:pt x="54" y="61"/>
                  <a:pt x="54" y="61"/>
                  <a:pt x="54" y="61"/>
                </a:cubicBezTo>
                <a:cubicBezTo>
                  <a:pt x="56" y="58"/>
                  <a:pt x="56" y="58"/>
                  <a:pt x="56" y="58"/>
                </a:cubicBezTo>
                <a:cubicBezTo>
                  <a:pt x="56" y="57"/>
                  <a:pt x="56" y="57"/>
                  <a:pt x="56" y="57"/>
                </a:cubicBezTo>
                <a:cubicBezTo>
                  <a:pt x="54" y="56"/>
                  <a:pt x="54" y="56"/>
                  <a:pt x="54" y="56"/>
                </a:cubicBezTo>
                <a:cubicBezTo>
                  <a:pt x="53" y="55"/>
                  <a:pt x="53" y="55"/>
                  <a:pt x="53" y="55"/>
                </a:cubicBezTo>
                <a:cubicBezTo>
                  <a:pt x="52" y="54"/>
                  <a:pt x="52" y="54"/>
                  <a:pt x="52" y="54"/>
                </a:cubicBezTo>
                <a:cubicBezTo>
                  <a:pt x="54" y="54"/>
                  <a:pt x="54" y="54"/>
                  <a:pt x="54" y="54"/>
                </a:cubicBezTo>
                <a:cubicBezTo>
                  <a:pt x="56" y="55"/>
                  <a:pt x="56" y="55"/>
                  <a:pt x="56" y="55"/>
                </a:cubicBezTo>
                <a:cubicBezTo>
                  <a:pt x="58" y="56"/>
                  <a:pt x="58" y="56"/>
                  <a:pt x="58" y="56"/>
                </a:cubicBezTo>
                <a:cubicBezTo>
                  <a:pt x="60" y="56"/>
                  <a:pt x="60" y="56"/>
                  <a:pt x="60" y="56"/>
                </a:cubicBezTo>
                <a:cubicBezTo>
                  <a:pt x="63" y="55"/>
                  <a:pt x="63" y="55"/>
                  <a:pt x="63" y="55"/>
                </a:cubicBezTo>
                <a:cubicBezTo>
                  <a:pt x="63" y="56"/>
                  <a:pt x="63" y="56"/>
                  <a:pt x="63" y="56"/>
                </a:cubicBezTo>
                <a:cubicBezTo>
                  <a:pt x="65" y="55"/>
                  <a:pt x="65" y="55"/>
                  <a:pt x="65" y="55"/>
                </a:cubicBezTo>
                <a:cubicBezTo>
                  <a:pt x="67" y="53"/>
                  <a:pt x="67" y="53"/>
                  <a:pt x="67" y="53"/>
                </a:cubicBezTo>
                <a:cubicBezTo>
                  <a:pt x="69" y="53"/>
                  <a:pt x="69" y="53"/>
                  <a:pt x="69" y="53"/>
                </a:cubicBezTo>
                <a:cubicBezTo>
                  <a:pt x="70" y="54"/>
                  <a:pt x="70" y="54"/>
                  <a:pt x="70" y="54"/>
                </a:cubicBezTo>
                <a:cubicBezTo>
                  <a:pt x="73" y="52"/>
                  <a:pt x="73" y="52"/>
                  <a:pt x="73" y="52"/>
                </a:cubicBezTo>
                <a:cubicBezTo>
                  <a:pt x="75" y="52"/>
                  <a:pt x="75" y="52"/>
                  <a:pt x="75" y="52"/>
                </a:cubicBezTo>
                <a:cubicBezTo>
                  <a:pt x="78" y="50"/>
                  <a:pt x="78" y="50"/>
                  <a:pt x="78" y="50"/>
                </a:cubicBezTo>
                <a:cubicBezTo>
                  <a:pt x="79" y="48"/>
                  <a:pt x="79" y="48"/>
                  <a:pt x="79" y="48"/>
                </a:cubicBezTo>
                <a:cubicBezTo>
                  <a:pt x="79" y="47"/>
                  <a:pt x="79" y="47"/>
                  <a:pt x="79" y="47"/>
                </a:cubicBezTo>
                <a:cubicBezTo>
                  <a:pt x="76" y="45"/>
                  <a:pt x="76" y="45"/>
                  <a:pt x="76" y="45"/>
                </a:cubicBezTo>
                <a:cubicBezTo>
                  <a:pt x="75" y="43"/>
                  <a:pt x="75" y="43"/>
                  <a:pt x="75" y="43"/>
                </a:cubicBezTo>
                <a:cubicBezTo>
                  <a:pt x="74" y="41"/>
                  <a:pt x="74" y="41"/>
                  <a:pt x="74" y="41"/>
                </a:cubicBezTo>
                <a:cubicBezTo>
                  <a:pt x="76" y="40"/>
                  <a:pt x="76" y="40"/>
                  <a:pt x="76" y="40"/>
                </a:cubicBezTo>
                <a:cubicBezTo>
                  <a:pt x="76" y="38"/>
                  <a:pt x="76" y="38"/>
                  <a:pt x="76" y="38"/>
                </a:cubicBezTo>
                <a:cubicBezTo>
                  <a:pt x="77" y="37"/>
                  <a:pt x="77" y="37"/>
                  <a:pt x="77" y="37"/>
                </a:cubicBezTo>
                <a:cubicBezTo>
                  <a:pt x="78" y="38"/>
                  <a:pt x="78" y="38"/>
                  <a:pt x="78" y="38"/>
                </a:cubicBezTo>
                <a:cubicBezTo>
                  <a:pt x="78" y="37"/>
                  <a:pt x="78" y="37"/>
                  <a:pt x="78" y="37"/>
                </a:cubicBezTo>
                <a:cubicBezTo>
                  <a:pt x="80" y="37"/>
                  <a:pt x="80" y="37"/>
                  <a:pt x="80" y="37"/>
                </a:cubicBezTo>
                <a:cubicBezTo>
                  <a:pt x="82" y="37"/>
                  <a:pt x="82" y="37"/>
                  <a:pt x="82" y="37"/>
                </a:cubicBezTo>
                <a:cubicBezTo>
                  <a:pt x="82" y="35"/>
                  <a:pt x="82" y="35"/>
                  <a:pt x="82" y="35"/>
                </a:cubicBezTo>
                <a:cubicBezTo>
                  <a:pt x="81" y="34"/>
                  <a:pt x="81" y="34"/>
                  <a:pt x="81" y="34"/>
                </a:cubicBezTo>
                <a:cubicBezTo>
                  <a:pt x="79" y="34"/>
                  <a:pt x="79" y="34"/>
                  <a:pt x="79" y="34"/>
                </a:cubicBezTo>
                <a:cubicBezTo>
                  <a:pt x="78" y="33"/>
                  <a:pt x="78" y="33"/>
                  <a:pt x="78" y="33"/>
                </a:cubicBezTo>
                <a:cubicBezTo>
                  <a:pt x="78" y="32"/>
                  <a:pt x="78" y="32"/>
                  <a:pt x="78" y="32"/>
                </a:cubicBezTo>
                <a:cubicBezTo>
                  <a:pt x="80" y="30"/>
                  <a:pt x="80" y="30"/>
                  <a:pt x="80" y="30"/>
                </a:cubicBezTo>
                <a:cubicBezTo>
                  <a:pt x="81" y="30"/>
                  <a:pt x="81" y="30"/>
                  <a:pt x="81" y="30"/>
                </a:cubicBezTo>
                <a:cubicBezTo>
                  <a:pt x="82" y="29"/>
                  <a:pt x="82" y="29"/>
                  <a:pt x="82" y="29"/>
                </a:cubicBezTo>
                <a:cubicBezTo>
                  <a:pt x="84" y="27"/>
                  <a:pt x="84" y="27"/>
                  <a:pt x="84" y="27"/>
                </a:cubicBezTo>
                <a:cubicBezTo>
                  <a:pt x="84" y="26"/>
                  <a:pt x="84" y="26"/>
                  <a:pt x="84" y="26"/>
                </a:cubicBezTo>
                <a:cubicBezTo>
                  <a:pt x="84" y="26"/>
                  <a:pt x="84" y="26"/>
                  <a:pt x="84" y="26"/>
                </a:cubicBezTo>
                <a:cubicBezTo>
                  <a:pt x="81" y="25"/>
                  <a:pt x="81" y="25"/>
                  <a:pt x="81" y="25"/>
                </a:cubicBezTo>
                <a:cubicBezTo>
                  <a:pt x="80" y="25"/>
                  <a:pt x="80" y="25"/>
                  <a:pt x="80" y="25"/>
                </a:cubicBezTo>
                <a:cubicBezTo>
                  <a:pt x="80" y="25"/>
                  <a:pt x="80" y="25"/>
                  <a:pt x="80" y="25"/>
                </a:cubicBezTo>
                <a:cubicBezTo>
                  <a:pt x="78" y="25"/>
                  <a:pt x="78" y="25"/>
                  <a:pt x="78" y="25"/>
                </a:cubicBezTo>
                <a:cubicBezTo>
                  <a:pt x="78" y="25"/>
                  <a:pt x="78" y="25"/>
                  <a:pt x="78" y="25"/>
                </a:cubicBezTo>
                <a:cubicBezTo>
                  <a:pt x="77" y="25"/>
                  <a:pt x="77" y="25"/>
                  <a:pt x="77" y="25"/>
                </a:cubicBezTo>
                <a:cubicBezTo>
                  <a:pt x="75" y="26"/>
                  <a:pt x="75" y="26"/>
                  <a:pt x="75" y="26"/>
                </a:cubicBezTo>
                <a:cubicBezTo>
                  <a:pt x="73" y="26"/>
                  <a:pt x="73" y="26"/>
                  <a:pt x="73" y="26"/>
                </a:cubicBezTo>
                <a:cubicBezTo>
                  <a:pt x="72" y="26"/>
                  <a:pt x="72" y="26"/>
                  <a:pt x="72" y="26"/>
                </a:cubicBezTo>
                <a:cubicBezTo>
                  <a:pt x="74" y="25"/>
                  <a:pt x="74" y="25"/>
                  <a:pt x="74" y="25"/>
                </a:cubicBezTo>
                <a:cubicBezTo>
                  <a:pt x="74" y="25"/>
                  <a:pt x="74" y="25"/>
                  <a:pt x="74" y="25"/>
                </a:cubicBezTo>
                <a:cubicBezTo>
                  <a:pt x="75" y="25"/>
                  <a:pt x="75" y="25"/>
                  <a:pt x="75" y="25"/>
                </a:cubicBezTo>
                <a:cubicBezTo>
                  <a:pt x="76" y="24"/>
                  <a:pt x="76" y="24"/>
                  <a:pt x="76" y="24"/>
                </a:cubicBezTo>
                <a:cubicBezTo>
                  <a:pt x="77" y="23"/>
                  <a:pt x="77" y="23"/>
                  <a:pt x="77" y="23"/>
                </a:cubicBezTo>
                <a:cubicBezTo>
                  <a:pt x="77" y="22"/>
                  <a:pt x="77" y="22"/>
                  <a:pt x="77" y="22"/>
                </a:cubicBezTo>
                <a:cubicBezTo>
                  <a:pt x="77" y="22"/>
                  <a:pt x="77" y="22"/>
                  <a:pt x="77" y="22"/>
                </a:cubicBezTo>
                <a:cubicBezTo>
                  <a:pt x="77" y="21"/>
                  <a:pt x="77" y="21"/>
                  <a:pt x="77" y="21"/>
                </a:cubicBezTo>
                <a:cubicBezTo>
                  <a:pt x="76" y="20"/>
                  <a:pt x="76" y="20"/>
                  <a:pt x="76" y="20"/>
                </a:cubicBezTo>
                <a:cubicBezTo>
                  <a:pt x="75" y="19"/>
                  <a:pt x="75" y="19"/>
                  <a:pt x="75" y="19"/>
                </a:cubicBezTo>
                <a:cubicBezTo>
                  <a:pt x="72" y="19"/>
                  <a:pt x="72" y="19"/>
                  <a:pt x="72" y="19"/>
                </a:cubicBezTo>
                <a:cubicBezTo>
                  <a:pt x="72" y="18"/>
                  <a:pt x="72" y="18"/>
                  <a:pt x="72" y="18"/>
                </a:cubicBezTo>
                <a:cubicBezTo>
                  <a:pt x="71" y="18"/>
                  <a:pt x="71" y="18"/>
                  <a:pt x="71" y="18"/>
                </a:cubicBezTo>
                <a:cubicBezTo>
                  <a:pt x="70" y="18"/>
                  <a:pt x="70" y="18"/>
                  <a:pt x="70" y="18"/>
                </a:cubicBezTo>
                <a:cubicBezTo>
                  <a:pt x="69" y="17"/>
                  <a:pt x="69" y="17"/>
                  <a:pt x="69" y="17"/>
                </a:cubicBezTo>
                <a:cubicBezTo>
                  <a:pt x="68" y="16"/>
                  <a:pt x="68" y="16"/>
                  <a:pt x="68" y="16"/>
                </a:cubicBezTo>
                <a:cubicBezTo>
                  <a:pt x="67" y="16"/>
                  <a:pt x="67" y="16"/>
                  <a:pt x="67" y="16"/>
                </a:cubicBezTo>
                <a:cubicBezTo>
                  <a:pt x="68" y="18"/>
                  <a:pt x="68" y="18"/>
                  <a:pt x="68" y="18"/>
                </a:cubicBezTo>
                <a:cubicBezTo>
                  <a:pt x="67" y="16"/>
                  <a:pt x="67" y="16"/>
                  <a:pt x="67" y="16"/>
                </a:cubicBezTo>
                <a:cubicBezTo>
                  <a:pt x="66" y="15"/>
                  <a:pt x="66" y="15"/>
                  <a:pt x="66" y="15"/>
                </a:cubicBezTo>
                <a:cubicBezTo>
                  <a:pt x="65" y="15"/>
                  <a:pt x="65" y="15"/>
                  <a:pt x="65" y="15"/>
                </a:cubicBezTo>
                <a:cubicBezTo>
                  <a:pt x="65" y="14"/>
                  <a:pt x="65" y="14"/>
                  <a:pt x="65" y="14"/>
                </a:cubicBezTo>
                <a:cubicBezTo>
                  <a:pt x="65" y="13"/>
                  <a:pt x="65" y="13"/>
                  <a:pt x="65" y="13"/>
                </a:cubicBezTo>
                <a:cubicBezTo>
                  <a:pt x="68" y="13"/>
                  <a:pt x="68" y="13"/>
                  <a:pt x="68" y="13"/>
                </a:cubicBezTo>
                <a:cubicBezTo>
                  <a:pt x="69" y="13"/>
                  <a:pt x="69" y="13"/>
                  <a:pt x="69" y="13"/>
                </a:cubicBezTo>
                <a:cubicBezTo>
                  <a:pt x="71" y="13"/>
                  <a:pt x="71" y="13"/>
                  <a:pt x="71" y="13"/>
                </a:cubicBezTo>
                <a:cubicBezTo>
                  <a:pt x="71" y="12"/>
                  <a:pt x="71" y="12"/>
                  <a:pt x="71" y="12"/>
                </a:cubicBezTo>
                <a:cubicBezTo>
                  <a:pt x="69" y="12"/>
                  <a:pt x="69" y="12"/>
                  <a:pt x="69" y="12"/>
                </a:cubicBezTo>
                <a:cubicBezTo>
                  <a:pt x="67" y="11"/>
                  <a:pt x="67" y="11"/>
                  <a:pt x="67" y="11"/>
                </a:cubicBezTo>
                <a:cubicBezTo>
                  <a:pt x="65" y="12"/>
                  <a:pt x="65" y="12"/>
                  <a:pt x="65" y="12"/>
                </a:cubicBezTo>
                <a:cubicBezTo>
                  <a:pt x="63" y="11"/>
                  <a:pt x="63" y="11"/>
                  <a:pt x="63" y="11"/>
                </a:cubicBezTo>
                <a:cubicBezTo>
                  <a:pt x="60" y="12"/>
                  <a:pt x="60" y="12"/>
                  <a:pt x="60" y="12"/>
                </a:cubicBezTo>
                <a:cubicBezTo>
                  <a:pt x="60" y="12"/>
                  <a:pt x="60" y="12"/>
                  <a:pt x="60" y="12"/>
                </a:cubicBezTo>
                <a:cubicBezTo>
                  <a:pt x="58" y="12"/>
                  <a:pt x="58" y="12"/>
                  <a:pt x="58" y="12"/>
                </a:cubicBezTo>
                <a:cubicBezTo>
                  <a:pt x="56" y="14"/>
                  <a:pt x="56" y="14"/>
                  <a:pt x="56" y="14"/>
                </a:cubicBezTo>
                <a:cubicBezTo>
                  <a:pt x="55" y="14"/>
                  <a:pt x="55" y="14"/>
                  <a:pt x="55" y="14"/>
                </a:cubicBezTo>
                <a:cubicBezTo>
                  <a:pt x="53" y="15"/>
                  <a:pt x="53" y="15"/>
                  <a:pt x="53" y="15"/>
                </a:cubicBezTo>
                <a:cubicBezTo>
                  <a:pt x="53" y="15"/>
                  <a:pt x="53" y="15"/>
                  <a:pt x="53" y="15"/>
                </a:cubicBezTo>
                <a:cubicBezTo>
                  <a:pt x="51" y="16"/>
                  <a:pt x="51" y="16"/>
                  <a:pt x="51" y="16"/>
                </a:cubicBezTo>
                <a:cubicBezTo>
                  <a:pt x="51" y="16"/>
                  <a:pt x="51" y="16"/>
                  <a:pt x="51" y="16"/>
                </a:cubicBezTo>
                <a:cubicBezTo>
                  <a:pt x="50" y="16"/>
                  <a:pt x="50" y="16"/>
                  <a:pt x="50" y="16"/>
                </a:cubicBezTo>
                <a:cubicBezTo>
                  <a:pt x="47" y="14"/>
                  <a:pt x="47" y="14"/>
                  <a:pt x="47" y="14"/>
                </a:cubicBezTo>
                <a:cubicBezTo>
                  <a:pt x="46" y="13"/>
                  <a:pt x="46" y="13"/>
                  <a:pt x="46" y="13"/>
                </a:cubicBezTo>
                <a:cubicBezTo>
                  <a:pt x="45" y="13"/>
                  <a:pt x="45" y="13"/>
                  <a:pt x="45" y="13"/>
                </a:cubicBezTo>
                <a:cubicBezTo>
                  <a:pt x="42" y="13"/>
                  <a:pt x="42" y="13"/>
                  <a:pt x="42" y="13"/>
                </a:cubicBezTo>
                <a:cubicBezTo>
                  <a:pt x="36" y="14"/>
                  <a:pt x="36" y="14"/>
                  <a:pt x="36" y="14"/>
                </a:cubicBezTo>
                <a:cubicBezTo>
                  <a:pt x="34" y="14"/>
                  <a:pt x="34" y="14"/>
                  <a:pt x="34" y="14"/>
                </a:cubicBezTo>
                <a:cubicBezTo>
                  <a:pt x="32" y="13"/>
                  <a:pt x="32" y="13"/>
                  <a:pt x="32" y="13"/>
                </a:cubicBezTo>
                <a:cubicBezTo>
                  <a:pt x="32" y="12"/>
                  <a:pt x="32" y="12"/>
                  <a:pt x="32" y="12"/>
                </a:cubicBezTo>
                <a:cubicBezTo>
                  <a:pt x="32" y="11"/>
                  <a:pt x="32" y="11"/>
                  <a:pt x="32" y="11"/>
                </a:cubicBezTo>
                <a:cubicBezTo>
                  <a:pt x="33" y="11"/>
                  <a:pt x="33" y="11"/>
                  <a:pt x="33" y="11"/>
                </a:cubicBezTo>
                <a:cubicBezTo>
                  <a:pt x="33" y="10"/>
                  <a:pt x="33" y="10"/>
                  <a:pt x="33" y="10"/>
                </a:cubicBezTo>
                <a:cubicBezTo>
                  <a:pt x="31" y="8"/>
                  <a:pt x="31" y="8"/>
                  <a:pt x="31" y="8"/>
                </a:cubicBezTo>
                <a:cubicBezTo>
                  <a:pt x="30" y="8"/>
                  <a:pt x="30" y="8"/>
                  <a:pt x="30" y="8"/>
                </a:cubicBezTo>
                <a:cubicBezTo>
                  <a:pt x="27" y="8"/>
                  <a:pt x="27" y="8"/>
                  <a:pt x="27" y="8"/>
                </a:cubicBezTo>
                <a:cubicBezTo>
                  <a:pt x="26" y="7"/>
                  <a:pt x="26" y="7"/>
                  <a:pt x="26" y="7"/>
                </a:cubicBezTo>
                <a:cubicBezTo>
                  <a:pt x="25" y="7"/>
                  <a:pt x="25" y="7"/>
                  <a:pt x="25" y="7"/>
                </a:cubicBezTo>
                <a:cubicBezTo>
                  <a:pt x="24" y="8"/>
                  <a:pt x="24" y="8"/>
                  <a:pt x="24" y="8"/>
                </a:cubicBezTo>
                <a:cubicBezTo>
                  <a:pt x="23" y="6"/>
                  <a:pt x="23" y="6"/>
                  <a:pt x="23" y="6"/>
                </a:cubicBezTo>
                <a:cubicBezTo>
                  <a:pt x="23" y="4"/>
                  <a:pt x="23" y="4"/>
                  <a:pt x="23" y="4"/>
                </a:cubicBezTo>
                <a:cubicBezTo>
                  <a:pt x="22" y="2"/>
                  <a:pt x="22" y="2"/>
                  <a:pt x="22" y="2"/>
                </a:cubicBezTo>
                <a:cubicBezTo>
                  <a:pt x="22" y="2"/>
                  <a:pt x="22" y="2"/>
                  <a:pt x="22" y="2"/>
                </a:cubicBezTo>
                <a:cubicBezTo>
                  <a:pt x="20" y="3"/>
                  <a:pt x="20" y="3"/>
                  <a:pt x="20" y="3"/>
                </a:cubicBezTo>
                <a:cubicBezTo>
                  <a:pt x="18" y="5"/>
                  <a:pt x="18" y="5"/>
                  <a:pt x="18" y="5"/>
                </a:cubicBezTo>
                <a:cubicBezTo>
                  <a:pt x="19" y="6"/>
                  <a:pt x="19" y="6"/>
                  <a:pt x="19" y="6"/>
                </a:cubicBezTo>
                <a:cubicBezTo>
                  <a:pt x="19" y="7"/>
                  <a:pt x="19" y="7"/>
                  <a:pt x="19" y="7"/>
                </a:cubicBezTo>
                <a:cubicBezTo>
                  <a:pt x="21" y="6"/>
                  <a:pt x="21" y="6"/>
                  <a:pt x="21" y="6"/>
                </a:cubicBezTo>
                <a:cubicBezTo>
                  <a:pt x="22" y="6"/>
                  <a:pt x="22" y="6"/>
                  <a:pt x="22" y="6"/>
                </a:cubicBezTo>
                <a:cubicBezTo>
                  <a:pt x="23" y="7"/>
                  <a:pt x="23" y="7"/>
                  <a:pt x="23" y="7"/>
                </a:cubicBezTo>
                <a:cubicBezTo>
                  <a:pt x="22" y="8"/>
                  <a:pt x="22" y="8"/>
                  <a:pt x="22" y="8"/>
                </a:cubicBezTo>
                <a:cubicBezTo>
                  <a:pt x="21" y="8"/>
                  <a:pt x="21" y="8"/>
                  <a:pt x="21" y="8"/>
                </a:cubicBezTo>
                <a:cubicBezTo>
                  <a:pt x="20" y="8"/>
                  <a:pt x="20" y="8"/>
                  <a:pt x="20" y="8"/>
                </a:cubicBezTo>
                <a:cubicBezTo>
                  <a:pt x="20" y="7"/>
                  <a:pt x="20" y="7"/>
                  <a:pt x="20" y="7"/>
                </a:cubicBezTo>
                <a:cubicBezTo>
                  <a:pt x="19" y="8"/>
                  <a:pt x="19" y="8"/>
                  <a:pt x="19" y="8"/>
                </a:cubicBezTo>
                <a:cubicBezTo>
                  <a:pt x="19" y="8"/>
                  <a:pt x="19" y="8"/>
                  <a:pt x="19" y="8"/>
                </a:cubicBezTo>
                <a:cubicBezTo>
                  <a:pt x="18" y="9"/>
                  <a:pt x="18" y="9"/>
                  <a:pt x="18" y="9"/>
                </a:cubicBezTo>
                <a:cubicBezTo>
                  <a:pt x="15" y="9"/>
                  <a:pt x="15" y="9"/>
                  <a:pt x="15" y="9"/>
                </a:cubicBezTo>
                <a:cubicBezTo>
                  <a:pt x="12" y="11"/>
                  <a:pt x="12" y="11"/>
                  <a:pt x="12" y="11"/>
                </a:cubicBezTo>
                <a:cubicBezTo>
                  <a:pt x="11" y="12"/>
                  <a:pt x="11" y="12"/>
                  <a:pt x="11" y="12"/>
                </a:cubicBezTo>
                <a:cubicBezTo>
                  <a:pt x="11" y="13"/>
                  <a:pt x="11" y="13"/>
                  <a:pt x="11" y="13"/>
                </a:cubicBezTo>
                <a:cubicBezTo>
                  <a:pt x="12" y="14"/>
                  <a:pt x="12" y="14"/>
                  <a:pt x="12" y="14"/>
                </a:cubicBezTo>
                <a:cubicBezTo>
                  <a:pt x="12" y="17"/>
                  <a:pt x="12" y="17"/>
                  <a:pt x="12" y="17"/>
                </a:cubicBezTo>
                <a:cubicBezTo>
                  <a:pt x="12" y="18"/>
                  <a:pt x="12" y="18"/>
                  <a:pt x="12" y="18"/>
                </a:cubicBezTo>
                <a:cubicBezTo>
                  <a:pt x="13" y="20"/>
                  <a:pt x="13" y="20"/>
                  <a:pt x="13" y="20"/>
                </a:cubicBezTo>
                <a:cubicBezTo>
                  <a:pt x="12" y="22"/>
                  <a:pt x="12" y="22"/>
                  <a:pt x="12" y="22"/>
                </a:cubicBezTo>
                <a:cubicBezTo>
                  <a:pt x="10" y="23"/>
                  <a:pt x="10" y="23"/>
                  <a:pt x="10" y="23"/>
                </a:cubicBezTo>
                <a:cubicBezTo>
                  <a:pt x="9" y="23"/>
                  <a:pt x="9" y="23"/>
                  <a:pt x="9" y="23"/>
                </a:cubicBezTo>
                <a:cubicBezTo>
                  <a:pt x="9" y="21"/>
                  <a:pt x="9" y="21"/>
                  <a:pt x="9" y="21"/>
                </a:cubicBezTo>
                <a:cubicBezTo>
                  <a:pt x="7" y="19"/>
                  <a:pt x="7" y="19"/>
                  <a:pt x="7" y="19"/>
                </a:cubicBezTo>
                <a:cubicBezTo>
                  <a:pt x="7" y="18"/>
                  <a:pt x="7" y="18"/>
                  <a:pt x="7" y="18"/>
                </a:cubicBezTo>
                <a:cubicBezTo>
                  <a:pt x="8" y="17"/>
                  <a:pt x="8" y="17"/>
                  <a:pt x="8" y="17"/>
                </a:cubicBezTo>
                <a:cubicBezTo>
                  <a:pt x="8" y="16"/>
                  <a:pt x="8" y="16"/>
                  <a:pt x="8" y="16"/>
                </a:cubicBezTo>
                <a:cubicBezTo>
                  <a:pt x="11" y="14"/>
                  <a:pt x="11" y="14"/>
                  <a:pt x="11" y="14"/>
                </a:cubicBezTo>
                <a:cubicBezTo>
                  <a:pt x="11" y="12"/>
                  <a:pt x="11" y="12"/>
                  <a:pt x="11" y="12"/>
                </a:cubicBezTo>
                <a:cubicBezTo>
                  <a:pt x="10" y="11"/>
                  <a:pt x="10" y="11"/>
                  <a:pt x="10" y="11"/>
                </a:cubicBezTo>
                <a:cubicBezTo>
                  <a:pt x="10" y="10"/>
                  <a:pt x="10" y="10"/>
                  <a:pt x="10" y="10"/>
                </a:cubicBezTo>
                <a:cubicBezTo>
                  <a:pt x="10" y="9"/>
                  <a:pt x="10" y="9"/>
                  <a:pt x="10" y="9"/>
                </a:cubicBezTo>
                <a:cubicBezTo>
                  <a:pt x="9" y="9"/>
                  <a:pt x="9" y="9"/>
                  <a:pt x="9" y="9"/>
                </a:cubicBezTo>
                <a:cubicBezTo>
                  <a:pt x="9" y="8"/>
                  <a:pt x="9" y="8"/>
                  <a:pt x="9" y="8"/>
                </a:cubicBezTo>
                <a:cubicBezTo>
                  <a:pt x="9" y="7"/>
                  <a:pt x="9" y="7"/>
                  <a:pt x="9" y="7"/>
                </a:cubicBezTo>
                <a:cubicBezTo>
                  <a:pt x="10" y="6"/>
                  <a:pt x="10" y="6"/>
                  <a:pt x="10" y="6"/>
                </a:cubicBezTo>
                <a:cubicBezTo>
                  <a:pt x="12" y="6"/>
                  <a:pt x="12" y="6"/>
                  <a:pt x="12" y="6"/>
                </a:cubicBezTo>
                <a:cubicBezTo>
                  <a:pt x="13" y="4"/>
                  <a:pt x="13" y="4"/>
                  <a:pt x="13" y="4"/>
                </a:cubicBezTo>
                <a:cubicBezTo>
                  <a:pt x="12" y="4"/>
                  <a:pt x="12" y="4"/>
                  <a:pt x="12" y="4"/>
                </a:cubicBezTo>
                <a:cubicBezTo>
                  <a:pt x="12" y="4"/>
                  <a:pt x="12" y="4"/>
                  <a:pt x="12" y="4"/>
                </a:cubicBezTo>
                <a:cubicBezTo>
                  <a:pt x="9" y="6"/>
                  <a:pt x="9" y="6"/>
                  <a:pt x="9" y="6"/>
                </a:cubicBezTo>
                <a:cubicBezTo>
                  <a:pt x="7" y="9"/>
                  <a:pt x="7" y="9"/>
                  <a:pt x="7" y="9"/>
                </a:cubicBezTo>
                <a:cubicBezTo>
                  <a:pt x="6" y="9"/>
                  <a:pt x="6" y="9"/>
                  <a:pt x="6" y="9"/>
                </a:cubicBezTo>
                <a:cubicBezTo>
                  <a:pt x="5" y="10"/>
                  <a:pt x="5" y="10"/>
                  <a:pt x="5" y="10"/>
                </a:cubicBezTo>
                <a:cubicBezTo>
                  <a:pt x="4" y="11"/>
                  <a:pt x="4" y="11"/>
                  <a:pt x="4" y="11"/>
                </a:cubicBezTo>
                <a:cubicBezTo>
                  <a:pt x="3" y="12"/>
                  <a:pt x="3" y="12"/>
                  <a:pt x="3" y="12"/>
                </a:cubicBezTo>
                <a:cubicBezTo>
                  <a:pt x="1" y="15"/>
                  <a:pt x="1" y="15"/>
                  <a:pt x="1" y="15"/>
                </a:cubicBezTo>
                <a:cubicBezTo>
                  <a:pt x="1" y="16"/>
                  <a:pt x="1" y="16"/>
                  <a:pt x="1" y="16"/>
                </a:cubicBezTo>
                <a:cubicBezTo>
                  <a:pt x="1" y="17"/>
                  <a:pt x="1" y="17"/>
                  <a:pt x="1" y="17"/>
                </a:cubicBezTo>
                <a:cubicBezTo>
                  <a:pt x="1" y="19"/>
                  <a:pt x="1" y="19"/>
                  <a:pt x="1" y="19"/>
                </a:cubicBezTo>
                <a:cubicBezTo>
                  <a:pt x="0" y="21"/>
                  <a:pt x="0" y="21"/>
                  <a:pt x="0" y="21"/>
                </a:cubicBezTo>
                <a:cubicBezTo>
                  <a:pt x="0" y="22"/>
                  <a:pt x="0" y="22"/>
                  <a:pt x="0" y="22"/>
                </a:cubicBezTo>
                <a:cubicBezTo>
                  <a:pt x="1" y="22"/>
                  <a:pt x="1" y="22"/>
                  <a:pt x="1" y="22"/>
                </a:cubicBezTo>
                <a:cubicBezTo>
                  <a:pt x="2" y="22"/>
                  <a:pt x="2" y="22"/>
                  <a:pt x="2" y="22"/>
                </a:cubicBezTo>
                <a:cubicBezTo>
                  <a:pt x="5" y="26"/>
                  <a:pt x="5" y="26"/>
                  <a:pt x="5" y="26"/>
                </a:cubicBezTo>
                <a:cubicBezTo>
                  <a:pt x="6" y="28"/>
                  <a:pt x="6" y="28"/>
                  <a:pt x="6" y="28"/>
                </a:cubicBezTo>
                <a:cubicBezTo>
                  <a:pt x="6" y="29"/>
                  <a:pt x="6" y="29"/>
                  <a:pt x="6" y="29"/>
                </a:cubicBezTo>
                <a:cubicBezTo>
                  <a:pt x="5" y="31"/>
                  <a:pt x="5" y="31"/>
                  <a:pt x="5" y="31"/>
                </a:cubicBezTo>
                <a:cubicBezTo>
                  <a:pt x="5" y="31"/>
                  <a:pt x="5" y="31"/>
                  <a:pt x="5" y="31"/>
                </a:cubicBezTo>
                <a:cubicBezTo>
                  <a:pt x="5" y="32"/>
                  <a:pt x="5" y="32"/>
                  <a:pt x="5" y="32"/>
                </a:cubicBezTo>
                <a:cubicBezTo>
                  <a:pt x="5" y="33"/>
                  <a:pt x="5" y="33"/>
                  <a:pt x="5" y="33"/>
                </a:cubicBezTo>
                <a:cubicBezTo>
                  <a:pt x="7" y="34"/>
                  <a:pt x="7" y="34"/>
                  <a:pt x="7" y="34"/>
                </a:cubicBezTo>
                <a:cubicBezTo>
                  <a:pt x="8" y="35"/>
                  <a:pt x="8" y="35"/>
                  <a:pt x="8" y="35"/>
                </a:cubicBezTo>
                <a:cubicBezTo>
                  <a:pt x="9" y="35"/>
                  <a:pt x="9" y="35"/>
                  <a:pt x="9" y="35"/>
                </a:cubicBezTo>
                <a:cubicBezTo>
                  <a:pt x="11" y="36"/>
                  <a:pt x="11" y="36"/>
                  <a:pt x="11" y="36"/>
                </a:cubicBezTo>
                <a:cubicBezTo>
                  <a:pt x="12" y="35"/>
                  <a:pt x="12" y="35"/>
                  <a:pt x="12" y="35"/>
                </a:cubicBezTo>
                <a:cubicBezTo>
                  <a:pt x="13" y="35"/>
                  <a:pt x="13" y="35"/>
                  <a:pt x="13" y="35"/>
                </a:cubicBezTo>
                <a:cubicBezTo>
                  <a:pt x="15" y="36"/>
                  <a:pt x="15" y="36"/>
                  <a:pt x="15" y="36"/>
                </a:cubicBezTo>
                <a:cubicBezTo>
                  <a:pt x="15" y="35"/>
                  <a:pt x="15" y="35"/>
                  <a:pt x="15" y="35"/>
                </a:cubicBezTo>
                <a:cubicBezTo>
                  <a:pt x="17" y="35"/>
                  <a:pt x="17" y="35"/>
                  <a:pt x="17" y="35"/>
                </a:cubicBezTo>
                <a:cubicBezTo>
                  <a:pt x="19" y="35"/>
                  <a:pt x="19" y="35"/>
                  <a:pt x="19" y="35"/>
                </a:cubicBezTo>
                <a:cubicBezTo>
                  <a:pt x="20" y="36"/>
                  <a:pt x="20" y="36"/>
                  <a:pt x="20" y="36"/>
                </a:cubicBezTo>
                <a:cubicBezTo>
                  <a:pt x="25" y="41"/>
                  <a:pt x="25" y="41"/>
                  <a:pt x="25" y="41"/>
                </a:cubicBezTo>
                <a:cubicBezTo>
                  <a:pt x="27" y="40"/>
                  <a:pt x="27" y="40"/>
                  <a:pt x="27" y="40"/>
                </a:cubicBezTo>
                <a:cubicBezTo>
                  <a:pt x="27" y="41"/>
                  <a:pt x="27" y="41"/>
                  <a:pt x="27" y="41"/>
                </a:cubicBezTo>
                <a:cubicBezTo>
                  <a:pt x="28" y="40"/>
                  <a:pt x="28" y="40"/>
                  <a:pt x="28" y="40"/>
                </a:cubicBezTo>
                <a:cubicBezTo>
                  <a:pt x="29" y="41"/>
                  <a:pt x="29" y="41"/>
                  <a:pt x="29" y="41"/>
                </a:cubicBezTo>
                <a:cubicBezTo>
                  <a:pt x="30" y="41"/>
                  <a:pt x="30" y="41"/>
                  <a:pt x="30" y="41"/>
                </a:cubicBezTo>
                <a:cubicBezTo>
                  <a:pt x="31" y="41"/>
                  <a:pt x="31" y="41"/>
                  <a:pt x="31" y="41"/>
                </a:cubicBezTo>
                <a:cubicBezTo>
                  <a:pt x="32" y="41"/>
                  <a:pt x="32" y="41"/>
                  <a:pt x="32" y="41"/>
                </a:cubicBezTo>
                <a:cubicBezTo>
                  <a:pt x="34" y="41"/>
                  <a:pt x="34" y="41"/>
                  <a:pt x="34" y="41"/>
                </a:cubicBezTo>
                <a:cubicBezTo>
                  <a:pt x="34" y="40"/>
                  <a:pt x="34" y="40"/>
                  <a:pt x="34" y="40"/>
                </a:cubicBezTo>
                <a:cubicBezTo>
                  <a:pt x="35" y="40"/>
                  <a:pt x="35" y="40"/>
                  <a:pt x="35" y="40"/>
                </a:cubicBezTo>
                <a:cubicBezTo>
                  <a:pt x="36" y="41"/>
                  <a:pt x="36" y="41"/>
                  <a:pt x="36" y="41"/>
                </a:cubicBezTo>
                <a:cubicBezTo>
                  <a:pt x="37" y="43"/>
                  <a:pt x="37" y="43"/>
                  <a:pt x="37" y="43"/>
                </a:cubicBezTo>
                <a:cubicBezTo>
                  <a:pt x="36" y="44"/>
                  <a:pt x="36" y="44"/>
                  <a:pt x="36" y="44"/>
                </a:cubicBezTo>
                <a:cubicBezTo>
                  <a:pt x="36" y="45"/>
                  <a:pt x="36" y="45"/>
                  <a:pt x="36" y="45"/>
                </a:cubicBezTo>
                <a:cubicBezTo>
                  <a:pt x="36" y="46"/>
                  <a:pt x="36" y="46"/>
                  <a:pt x="36" y="46"/>
                </a:cubicBezTo>
                <a:cubicBezTo>
                  <a:pt x="34" y="47"/>
                  <a:pt x="34" y="47"/>
                  <a:pt x="34" y="47"/>
                </a:cubicBezTo>
                <a:cubicBezTo>
                  <a:pt x="34" y="48"/>
                  <a:pt x="34" y="48"/>
                  <a:pt x="34" y="48"/>
                </a:cubicBezTo>
                <a:cubicBezTo>
                  <a:pt x="34" y="50"/>
                  <a:pt x="34" y="50"/>
                  <a:pt x="34" y="50"/>
                </a:cubicBezTo>
                <a:cubicBezTo>
                  <a:pt x="34" y="51"/>
                  <a:pt x="34" y="51"/>
                  <a:pt x="34" y="51"/>
                </a:cubicBezTo>
                <a:cubicBezTo>
                  <a:pt x="34" y="52"/>
                  <a:pt x="34" y="52"/>
                  <a:pt x="34" y="52"/>
                </a:cubicBezTo>
                <a:cubicBezTo>
                  <a:pt x="34" y="54"/>
                  <a:pt x="34" y="54"/>
                  <a:pt x="34" y="54"/>
                </a:cubicBezTo>
                <a:cubicBezTo>
                  <a:pt x="34" y="55"/>
                  <a:pt x="34" y="55"/>
                  <a:pt x="34" y="55"/>
                </a:cubicBezTo>
                <a:cubicBezTo>
                  <a:pt x="34" y="56"/>
                  <a:pt x="34" y="56"/>
                  <a:pt x="34" y="56"/>
                </a:cubicBezTo>
                <a:cubicBezTo>
                  <a:pt x="36" y="59"/>
                  <a:pt x="36" y="59"/>
                  <a:pt x="36" y="59"/>
                </a:cubicBezTo>
                <a:cubicBezTo>
                  <a:pt x="34" y="63"/>
                  <a:pt x="34" y="63"/>
                  <a:pt x="34" y="63"/>
                </a:cubicBezTo>
                <a:cubicBezTo>
                  <a:pt x="34" y="64"/>
                  <a:pt x="34" y="64"/>
                  <a:pt x="34" y="64"/>
                </a:cubicBezTo>
                <a:cubicBezTo>
                  <a:pt x="35" y="64"/>
                  <a:pt x="35" y="64"/>
                  <a:pt x="35" y="64"/>
                </a:cubicBezTo>
                <a:cubicBezTo>
                  <a:pt x="35" y="64"/>
                  <a:pt x="35" y="64"/>
                  <a:pt x="35" y="64"/>
                </a:cubicBezTo>
                <a:cubicBezTo>
                  <a:pt x="35" y="64"/>
                  <a:pt x="35" y="64"/>
                  <a:pt x="35" y="64"/>
                </a:cubicBezTo>
                <a:cubicBezTo>
                  <a:pt x="36" y="65"/>
                  <a:pt x="36" y="65"/>
                  <a:pt x="36" y="65"/>
                </a:cubicBezTo>
                <a:cubicBezTo>
                  <a:pt x="36" y="65"/>
                  <a:pt x="36" y="65"/>
                  <a:pt x="36" y="65"/>
                </a:cubicBezTo>
                <a:cubicBezTo>
                  <a:pt x="37" y="67"/>
                  <a:pt x="37" y="67"/>
                  <a:pt x="37" y="67"/>
                </a:cubicBezTo>
                <a:cubicBezTo>
                  <a:pt x="37" y="67"/>
                  <a:pt x="37" y="67"/>
                  <a:pt x="37" y="67"/>
                </a:cubicBezTo>
                <a:cubicBezTo>
                  <a:pt x="37" y="69"/>
                  <a:pt x="37" y="69"/>
                  <a:pt x="37" y="69"/>
                </a:cubicBezTo>
                <a:cubicBezTo>
                  <a:pt x="39" y="72"/>
                  <a:pt x="39" y="72"/>
                  <a:pt x="39" y="72"/>
                </a:cubicBezTo>
                <a:cubicBezTo>
                  <a:pt x="39" y="73"/>
                  <a:pt x="39" y="73"/>
                  <a:pt x="39" y="73"/>
                </a:cubicBezTo>
                <a:cubicBezTo>
                  <a:pt x="39" y="73"/>
                  <a:pt x="39" y="73"/>
                  <a:pt x="39" y="73"/>
                </a:cubicBezTo>
                <a:close/>
                <a:moveTo>
                  <a:pt x="30" y="2"/>
                </a:moveTo>
                <a:cubicBezTo>
                  <a:pt x="32" y="2"/>
                  <a:pt x="32" y="2"/>
                  <a:pt x="32" y="2"/>
                </a:cubicBezTo>
                <a:cubicBezTo>
                  <a:pt x="33" y="3"/>
                  <a:pt x="33" y="3"/>
                  <a:pt x="33" y="3"/>
                </a:cubicBezTo>
                <a:cubicBezTo>
                  <a:pt x="32" y="4"/>
                  <a:pt x="32" y="4"/>
                  <a:pt x="32" y="4"/>
                </a:cubicBezTo>
                <a:cubicBezTo>
                  <a:pt x="32" y="3"/>
                  <a:pt x="32" y="3"/>
                  <a:pt x="32" y="3"/>
                </a:cubicBezTo>
                <a:cubicBezTo>
                  <a:pt x="31" y="3"/>
                  <a:pt x="31" y="3"/>
                  <a:pt x="31" y="3"/>
                </a:cubicBezTo>
                <a:cubicBezTo>
                  <a:pt x="30" y="2"/>
                  <a:pt x="30" y="2"/>
                  <a:pt x="30" y="2"/>
                </a:cubicBezTo>
                <a:close/>
                <a:moveTo>
                  <a:pt x="26" y="1"/>
                </a:moveTo>
                <a:cubicBezTo>
                  <a:pt x="27" y="2"/>
                  <a:pt x="27" y="2"/>
                  <a:pt x="27" y="2"/>
                </a:cubicBezTo>
                <a:cubicBezTo>
                  <a:pt x="28" y="3"/>
                  <a:pt x="28" y="3"/>
                  <a:pt x="28" y="3"/>
                </a:cubicBezTo>
                <a:cubicBezTo>
                  <a:pt x="28" y="3"/>
                  <a:pt x="28" y="3"/>
                  <a:pt x="28" y="3"/>
                </a:cubicBezTo>
                <a:cubicBezTo>
                  <a:pt x="26" y="3"/>
                  <a:pt x="26" y="3"/>
                  <a:pt x="26" y="3"/>
                </a:cubicBezTo>
                <a:cubicBezTo>
                  <a:pt x="26" y="2"/>
                  <a:pt x="26" y="2"/>
                  <a:pt x="26" y="2"/>
                </a:cubicBezTo>
                <a:cubicBezTo>
                  <a:pt x="26" y="1"/>
                  <a:pt x="26" y="1"/>
                  <a:pt x="26" y="1"/>
                </a:cubicBezTo>
                <a:close/>
                <a:moveTo>
                  <a:pt x="20" y="0"/>
                </a:moveTo>
                <a:cubicBezTo>
                  <a:pt x="21" y="1"/>
                  <a:pt x="21" y="1"/>
                  <a:pt x="21" y="1"/>
                </a:cubicBezTo>
                <a:cubicBezTo>
                  <a:pt x="22" y="1"/>
                  <a:pt x="22" y="1"/>
                  <a:pt x="22" y="1"/>
                </a:cubicBezTo>
                <a:cubicBezTo>
                  <a:pt x="21" y="0"/>
                  <a:pt x="21" y="0"/>
                  <a:pt x="21" y="0"/>
                </a:cubicBezTo>
                <a:cubicBezTo>
                  <a:pt x="20" y="0"/>
                  <a:pt x="20" y="0"/>
                  <a:pt x="20" y="0"/>
                </a:cubicBezTo>
                <a:close/>
                <a:moveTo>
                  <a:pt x="56" y="10"/>
                </a:moveTo>
                <a:cubicBezTo>
                  <a:pt x="57" y="9"/>
                  <a:pt x="57" y="9"/>
                  <a:pt x="57" y="9"/>
                </a:cubicBezTo>
                <a:cubicBezTo>
                  <a:pt x="57" y="10"/>
                  <a:pt x="57" y="10"/>
                  <a:pt x="57" y="10"/>
                </a:cubicBezTo>
                <a:cubicBezTo>
                  <a:pt x="59" y="9"/>
                  <a:pt x="59" y="9"/>
                  <a:pt x="59" y="9"/>
                </a:cubicBezTo>
                <a:cubicBezTo>
                  <a:pt x="60" y="10"/>
                  <a:pt x="60" y="10"/>
                  <a:pt x="60" y="10"/>
                </a:cubicBezTo>
                <a:cubicBezTo>
                  <a:pt x="59" y="11"/>
                  <a:pt x="59" y="11"/>
                  <a:pt x="59" y="11"/>
                </a:cubicBezTo>
                <a:cubicBezTo>
                  <a:pt x="58" y="11"/>
                  <a:pt x="58" y="11"/>
                  <a:pt x="58" y="11"/>
                </a:cubicBezTo>
                <a:cubicBezTo>
                  <a:pt x="56" y="11"/>
                  <a:pt x="56" y="11"/>
                  <a:pt x="56" y="11"/>
                </a:cubicBezTo>
                <a:cubicBezTo>
                  <a:pt x="56" y="11"/>
                  <a:pt x="56" y="10"/>
                  <a:pt x="56" y="10"/>
                </a:cubicBez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3" name="Freeform 191">
            <a:extLst>
              <a:ext uri="{FF2B5EF4-FFF2-40B4-BE49-F238E27FC236}">
                <a16:creationId xmlns:a16="http://schemas.microsoft.com/office/drawing/2014/main" id="{CD2A600B-203D-EB08-82F8-EFDF5CF99B56}"/>
              </a:ext>
            </a:extLst>
          </p:cNvPr>
          <p:cNvSpPr>
            <a:spLocks/>
          </p:cNvSpPr>
          <p:nvPr userDrawn="1"/>
        </p:nvSpPr>
        <p:spPr bwMode="auto">
          <a:xfrm>
            <a:off x="8286210" y="8590833"/>
            <a:ext cx="755601" cy="1063626"/>
          </a:xfrm>
          <a:custGeom>
            <a:avLst/>
            <a:gdLst>
              <a:gd name="T0" fmla="*/ 194 w 238"/>
              <a:gd name="T1" fmla="*/ 276 h 335"/>
              <a:gd name="T2" fmla="*/ 191 w 238"/>
              <a:gd name="T3" fmla="*/ 241 h 335"/>
              <a:gd name="T4" fmla="*/ 191 w 238"/>
              <a:gd name="T5" fmla="*/ 229 h 335"/>
              <a:gd name="T6" fmla="*/ 210 w 238"/>
              <a:gd name="T7" fmla="*/ 213 h 335"/>
              <a:gd name="T8" fmla="*/ 225 w 238"/>
              <a:gd name="T9" fmla="*/ 210 h 335"/>
              <a:gd name="T10" fmla="*/ 238 w 238"/>
              <a:gd name="T11" fmla="*/ 226 h 335"/>
              <a:gd name="T12" fmla="*/ 228 w 238"/>
              <a:gd name="T13" fmla="*/ 201 h 335"/>
              <a:gd name="T14" fmla="*/ 222 w 238"/>
              <a:gd name="T15" fmla="*/ 197 h 335"/>
              <a:gd name="T16" fmla="*/ 222 w 238"/>
              <a:gd name="T17" fmla="*/ 166 h 335"/>
              <a:gd name="T18" fmla="*/ 222 w 238"/>
              <a:gd name="T19" fmla="*/ 144 h 335"/>
              <a:gd name="T20" fmla="*/ 228 w 238"/>
              <a:gd name="T21" fmla="*/ 125 h 335"/>
              <a:gd name="T22" fmla="*/ 213 w 238"/>
              <a:gd name="T23" fmla="*/ 125 h 335"/>
              <a:gd name="T24" fmla="*/ 200 w 238"/>
              <a:gd name="T25" fmla="*/ 122 h 335"/>
              <a:gd name="T26" fmla="*/ 163 w 238"/>
              <a:gd name="T27" fmla="*/ 107 h 335"/>
              <a:gd name="T28" fmla="*/ 144 w 238"/>
              <a:gd name="T29" fmla="*/ 107 h 335"/>
              <a:gd name="T30" fmla="*/ 131 w 238"/>
              <a:gd name="T31" fmla="*/ 94 h 335"/>
              <a:gd name="T32" fmla="*/ 122 w 238"/>
              <a:gd name="T33" fmla="*/ 66 h 335"/>
              <a:gd name="T34" fmla="*/ 119 w 238"/>
              <a:gd name="T35" fmla="*/ 50 h 335"/>
              <a:gd name="T36" fmla="*/ 131 w 238"/>
              <a:gd name="T37" fmla="*/ 28 h 335"/>
              <a:gd name="T38" fmla="*/ 153 w 238"/>
              <a:gd name="T39" fmla="*/ 10 h 335"/>
              <a:gd name="T40" fmla="*/ 160 w 238"/>
              <a:gd name="T41" fmla="*/ 3 h 335"/>
              <a:gd name="T42" fmla="*/ 144 w 238"/>
              <a:gd name="T43" fmla="*/ 3 h 335"/>
              <a:gd name="T44" fmla="*/ 138 w 238"/>
              <a:gd name="T45" fmla="*/ 10 h 335"/>
              <a:gd name="T46" fmla="*/ 113 w 238"/>
              <a:gd name="T47" fmla="*/ 22 h 335"/>
              <a:gd name="T48" fmla="*/ 100 w 238"/>
              <a:gd name="T49" fmla="*/ 28 h 335"/>
              <a:gd name="T50" fmla="*/ 94 w 238"/>
              <a:gd name="T51" fmla="*/ 28 h 335"/>
              <a:gd name="T52" fmla="*/ 78 w 238"/>
              <a:gd name="T53" fmla="*/ 32 h 335"/>
              <a:gd name="T54" fmla="*/ 69 w 238"/>
              <a:gd name="T55" fmla="*/ 50 h 335"/>
              <a:gd name="T56" fmla="*/ 63 w 238"/>
              <a:gd name="T57" fmla="*/ 60 h 335"/>
              <a:gd name="T58" fmla="*/ 47 w 238"/>
              <a:gd name="T59" fmla="*/ 75 h 335"/>
              <a:gd name="T60" fmla="*/ 47 w 238"/>
              <a:gd name="T61" fmla="*/ 91 h 335"/>
              <a:gd name="T62" fmla="*/ 38 w 238"/>
              <a:gd name="T63" fmla="*/ 82 h 335"/>
              <a:gd name="T64" fmla="*/ 35 w 238"/>
              <a:gd name="T65" fmla="*/ 85 h 335"/>
              <a:gd name="T66" fmla="*/ 25 w 238"/>
              <a:gd name="T67" fmla="*/ 104 h 335"/>
              <a:gd name="T68" fmla="*/ 31 w 238"/>
              <a:gd name="T69" fmla="*/ 119 h 335"/>
              <a:gd name="T70" fmla="*/ 31 w 238"/>
              <a:gd name="T71" fmla="*/ 129 h 335"/>
              <a:gd name="T72" fmla="*/ 31 w 238"/>
              <a:gd name="T73" fmla="*/ 141 h 335"/>
              <a:gd name="T74" fmla="*/ 31 w 238"/>
              <a:gd name="T75" fmla="*/ 166 h 335"/>
              <a:gd name="T76" fmla="*/ 41 w 238"/>
              <a:gd name="T77" fmla="*/ 172 h 335"/>
              <a:gd name="T78" fmla="*/ 28 w 238"/>
              <a:gd name="T79" fmla="*/ 194 h 335"/>
              <a:gd name="T80" fmla="*/ 3 w 238"/>
              <a:gd name="T81" fmla="*/ 219 h 335"/>
              <a:gd name="T82" fmla="*/ 25 w 238"/>
              <a:gd name="T83" fmla="*/ 235 h 335"/>
              <a:gd name="T84" fmla="*/ 44 w 238"/>
              <a:gd name="T85" fmla="*/ 251 h 335"/>
              <a:gd name="T86" fmla="*/ 56 w 238"/>
              <a:gd name="T87" fmla="*/ 244 h 335"/>
              <a:gd name="T88" fmla="*/ 72 w 238"/>
              <a:gd name="T89" fmla="*/ 251 h 335"/>
              <a:gd name="T90" fmla="*/ 88 w 238"/>
              <a:gd name="T91" fmla="*/ 257 h 335"/>
              <a:gd name="T92" fmla="*/ 97 w 238"/>
              <a:gd name="T93" fmla="*/ 276 h 335"/>
              <a:gd name="T94" fmla="*/ 116 w 238"/>
              <a:gd name="T95" fmla="*/ 291 h 335"/>
              <a:gd name="T96" fmla="*/ 125 w 238"/>
              <a:gd name="T97" fmla="*/ 301 h 335"/>
              <a:gd name="T98" fmla="*/ 147 w 238"/>
              <a:gd name="T99" fmla="*/ 297 h 335"/>
              <a:gd name="T100" fmla="*/ 166 w 238"/>
              <a:gd name="T101" fmla="*/ 297 h 335"/>
              <a:gd name="T102" fmla="*/ 163 w 238"/>
              <a:gd name="T103" fmla="*/ 326 h 335"/>
              <a:gd name="T104" fmla="*/ 178 w 238"/>
              <a:gd name="T105" fmla="*/ 335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8" h="335">
                <a:moveTo>
                  <a:pt x="178" y="335"/>
                </a:moveTo>
                <a:lnTo>
                  <a:pt x="181" y="326"/>
                </a:lnTo>
                <a:lnTo>
                  <a:pt x="191" y="285"/>
                </a:lnTo>
                <a:lnTo>
                  <a:pt x="191" y="282"/>
                </a:lnTo>
                <a:lnTo>
                  <a:pt x="194" y="276"/>
                </a:lnTo>
                <a:lnTo>
                  <a:pt x="188" y="266"/>
                </a:lnTo>
                <a:lnTo>
                  <a:pt x="181" y="260"/>
                </a:lnTo>
                <a:lnTo>
                  <a:pt x="178" y="257"/>
                </a:lnTo>
                <a:lnTo>
                  <a:pt x="175" y="244"/>
                </a:lnTo>
                <a:lnTo>
                  <a:pt x="191" y="241"/>
                </a:lnTo>
                <a:lnTo>
                  <a:pt x="194" y="244"/>
                </a:lnTo>
                <a:lnTo>
                  <a:pt x="194" y="241"/>
                </a:lnTo>
                <a:lnTo>
                  <a:pt x="194" y="238"/>
                </a:lnTo>
                <a:lnTo>
                  <a:pt x="194" y="235"/>
                </a:lnTo>
                <a:lnTo>
                  <a:pt x="191" y="229"/>
                </a:lnTo>
                <a:lnTo>
                  <a:pt x="185" y="229"/>
                </a:lnTo>
                <a:lnTo>
                  <a:pt x="181" y="222"/>
                </a:lnTo>
                <a:lnTo>
                  <a:pt x="185" y="216"/>
                </a:lnTo>
                <a:lnTo>
                  <a:pt x="206" y="216"/>
                </a:lnTo>
                <a:lnTo>
                  <a:pt x="210" y="213"/>
                </a:lnTo>
                <a:lnTo>
                  <a:pt x="213" y="213"/>
                </a:lnTo>
                <a:lnTo>
                  <a:pt x="216" y="216"/>
                </a:lnTo>
                <a:lnTo>
                  <a:pt x="216" y="216"/>
                </a:lnTo>
                <a:lnTo>
                  <a:pt x="222" y="213"/>
                </a:lnTo>
                <a:lnTo>
                  <a:pt x="225" y="210"/>
                </a:lnTo>
                <a:lnTo>
                  <a:pt x="228" y="213"/>
                </a:lnTo>
                <a:lnTo>
                  <a:pt x="231" y="216"/>
                </a:lnTo>
                <a:lnTo>
                  <a:pt x="231" y="222"/>
                </a:lnTo>
                <a:lnTo>
                  <a:pt x="231" y="226"/>
                </a:lnTo>
                <a:lnTo>
                  <a:pt x="238" y="226"/>
                </a:lnTo>
                <a:lnTo>
                  <a:pt x="238" y="222"/>
                </a:lnTo>
                <a:lnTo>
                  <a:pt x="231" y="213"/>
                </a:lnTo>
                <a:lnTo>
                  <a:pt x="231" y="207"/>
                </a:lnTo>
                <a:lnTo>
                  <a:pt x="231" y="207"/>
                </a:lnTo>
                <a:lnTo>
                  <a:pt x="228" y="201"/>
                </a:lnTo>
                <a:lnTo>
                  <a:pt x="228" y="201"/>
                </a:lnTo>
                <a:lnTo>
                  <a:pt x="225" y="197"/>
                </a:lnTo>
                <a:lnTo>
                  <a:pt x="225" y="197"/>
                </a:lnTo>
                <a:lnTo>
                  <a:pt x="225" y="197"/>
                </a:lnTo>
                <a:lnTo>
                  <a:pt x="222" y="197"/>
                </a:lnTo>
                <a:lnTo>
                  <a:pt x="222" y="194"/>
                </a:lnTo>
                <a:lnTo>
                  <a:pt x="228" y="182"/>
                </a:lnTo>
                <a:lnTo>
                  <a:pt x="222" y="172"/>
                </a:lnTo>
                <a:lnTo>
                  <a:pt x="222" y="169"/>
                </a:lnTo>
                <a:lnTo>
                  <a:pt x="222" y="166"/>
                </a:lnTo>
                <a:lnTo>
                  <a:pt x="222" y="160"/>
                </a:lnTo>
                <a:lnTo>
                  <a:pt x="222" y="157"/>
                </a:lnTo>
                <a:lnTo>
                  <a:pt x="222" y="154"/>
                </a:lnTo>
                <a:lnTo>
                  <a:pt x="222" y="147"/>
                </a:lnTo>
                <a:lnTo>
                  <a:pt x="222" y="144"/>
                </a:lnTo>
                <a:lnTo>
                  <a:pt x="228" y="141"/>
                </a:lnTo>
                <a:lnTo>
                  <a:pt x="228" y="138"/>
                </a:lnTo>
                <a:lnTo>
                  <a:pt x="228" y="135"/>
                </a:lnTo>
                <a:lnTo>
                  <a:pt x="231" y="132"/>
                </a:lnTo>
                <a:lnTo>
                  <a:pt x="228" y="125"/>
                </a:lnTo>
                <a:lnTo>
                  <a:pt x="225" y="122"/>
                </a:lnTo>
                <a:lnTo>
                  <a:pt x="222" y="122"/>
                </a:lnTo>
                <a:lnTo>
                  <a:pt x="222" y="125"/>
                </a:lnTo>
                <a:lnTo>
                  <a:pt x="216" y="125"/>
                </a:lnTo>
                <a:lnTo>
                  <a:pt x="213" y="125"/>
                </a:lnTo>
                <a:lnTo>
                  <a:pt x="210" y="125"/>
                </a:lnTo>
                <a:lnTo>
                  <a:pt x="206" y="125"/>
                </a:lnTo>
                <a:lnTo>
                  <a:pt x="203" y="122"/>
                </a:lnTo>
                <a:lnTo>
                  <a:pt x="200" y="125"/>
                </a:lnTo>
                <a:lnTo>
                  <a:pt x="200" y="122"/>
                </a:lnTo>
                <a:lnTo>
                  <a:pt x="194" y="125"/>
                </a:lnTo>
                <a:lnTo>
                  <a:pt x="178" y="110"/>
                </a:lnTo>
                <a:lnTo>
                  <a:pt x="175" y="107"/>
                </a:lnTo>
                <a:lnTo>
                  <a:pt x="169" y="107"/>
                </a:lnTo>
                <a:lnTo>
                  <a:pt x="163" y="107"/>
                </a:lnTo>
                <a:lnTo>
                  <a:pt x="163" y="110"/>
                </a:lnTo>
                <a:lnTo>
                  <a:pt x="156" y="107"/>
                </a:lnTo>
                <a:lnTo>
                  <a:pt x="153" y="107"/>
                </a:lnTo>
                <a:lnTo>
                  <a:pt x="150" y="110"/>
                </a:lnTo>
                <a:lnTo>
                  <a:pt x="144" y="107"/>
                </a:lnTo>
                <a:lnTo>
                  <a:pt x="141" y="107"/>
                </a:lnTo>
                <a:lnTo>
                  <a:pt x="138" y="104"/>
                </a:lnTo>
                <a:lnTo>
                  <a:pt x="131" y="100"/>
                </a:lnTo>
                <a:lnTo>
                  <a:pt x="131" y="97"/>
                </a:lnTo>
                <a:lnTo>
                  <a:pt x="131" y="94"/>
                </a:lnTo>
                <a:lnTo>
                  <a:pt x="131" y="94"/>
                </a:lnTo>
                <a:lnTo>
                  <a:pt x="135" y="88"/>
                </a:lnTo>
                <a:lnTo>
                  <a:pt x="135" y="85"/>
                </a:lnTo>
                <a:lnTo>
                  <a:pt x="131" y="79"/>
                </a:lnTo>
                <a:lnTo>
                  <a:pt x="122" y="66"/>
                </a:lnTo>
                <a:lnTo>
                  <a:pt x="119" y="66"/>
                </a:lnTo>
                <a:lnTo>
                  <a:pt x="116" y="66"/>
                </a:lnTo>
                <a:lnTo>
                  <a:pt x="116" y="63"/>
                </a:lnTo>
                <a:lnTo>
                  <a:pt x="119" y="57"/>
                </a:lnTo>
                <a:lnTo>
                  <a:pt x="119" y="50"/>
                </a:lnTo>
                <a:lnTo>
                  <a:pt x="119" y="47"/>
                </a:lnTo>
                <a:lnTo>
                  <a:pt x="119" y="44"/>
                </a:lnTo>
                <a:lnTo>
                  <a:pt x="125" y="35"/>
                </a:lnTo>
                <a:lnTo>
                  <a:pt x="128" y="32"/>
                </a:lnTo>
                <a:lnTo>
                  <a:pt x="131" y="28"/>
                </a:lnTo>
                <a:lnTo>
                  <a:pt x="135" y="25"/>
                </a:lnTo>
                <a:lnTo>
                  <a:pt x="138" y="25"/>
                </a:lnTo>
                <a:lnTo>
                  <a:pt x="144" y="16"/>
                </a:lnTo>
                <a:lnTo>
                  <a:pt x="153" y="10"/>
                </a:lnTo>
                <a:lnTo>
                  <a:pt x="153" y="10"/>
                </a:lnTo>
                <a:lnTo>
                  <a:pt x="156" y="10"/>
                </a:lnTo>
                <a:lnTo>
                  <a:pt x="156" y="10"/>
                </a:lnTo>
                <a:lnTo>
                  <a:pt x="160" y="10"/>
                </a:lnTo>
                <a:lnTo>
                  <a:pt x="160" y="7"/>
                </a:lnTo>
                <a:lnTo>
                  <a:pt x="160" y="3"/>
                </a:lnTo>
                <a:lnTo>
                  <a:pt x="150" y="0"/>
                </a:lnTo>
                <a:lnTo>
                  <a:pt x="147" y="0"/>
                </a:lnTo>
                <a:lnTo>
                  <a:pt x="147" y="0"/>
                </a:lnTo>
                <a:lnTo>
                  <a:pt x="147" y="3"/>
                </a:lnTo>
                <a:lnTo>
                  <a:pt x="144" y="3"/>
                </a:lnTo>
                <a:lnTo>
                  <a:pt x="144" y="3"/>
                </a:lnTo>
                <a:lnTo>
                  <a:pt x="141" y="3"/>
                </a:lnTo>
                <a:lnTo>
                  <a:pt x="138" y="3"/>
                </a:lnTo>
                <a:lnTo>
                  <a:pt x="135" y="7"/>
                </a:lnTo>
                <a:lnTo>
                  <a:pt x="138" y="10"/>
                </a:lnTo>
                <a:lnTo>
                  <a:pt x="135" y="10"/>
                </a:lnTo>
                <a:lnTo>
                  <a:pt x="131" y="13"/>
                </a:lnTo>
                <a:lnTo>
                  <a:pt x="122" y="16"/>
                </a:lnTo>
                <a:lnTo>
                  <a:pt x="119" y="19"/>
                </a:lnTo>
                <a:lnTo>
                  <a:pt x="113" y="22"/>
                </a:lnTo>
                <a:lnTo>
                  <a:pt x="106" y="22"/>
                </a:lnTo>
                <a:lnTo>
                  <a:pt x="100" y="22"/>
                </a:lnTo>
                <a:lnTo>
                  <a:pt x="97" y="22"/>
                </a:lnTo>
                <a:lnTo>
                  <a:pt x="97" y="25"/>
                </a:lnTo>
                <a:lnTo>
                  <a:pt x="100" y="28"/>
                </a:lnTo>
                <a:lnTo>
                  <a:pt x="100" y="32"/>
                </a:lnTo>
                <a:lnTo>
                  <a:pt x="97" y="35"/>
                </a:lnTo>
                <a:lnTo>
                  <a:pt x="94" y="35"/>
                </a:lnTo>
                <a:lnTo>
                  <a:pt x="94" y="32"/>
                </a:lnTo>
                <a:lnTo>
                  <a:pt x="94" y="28"/>
                </a:lnTo>
                <a:lnTo>
                  <a:pt x="97" y="28"/>
                </a:lnTo>
                <a:lnTo>
                  <a:pt x="94" y="28"/>
                </a:lnTo>
                <a:lnTo>
                  <a:pt x="88" y="25"/>
                </a:lnTo>
                <a:lnTo>
                  <a:pt x="85" y="25"/>
                </a:lnTo>
                <a:lnTo>
                  <a:pt x="78" y="32"/>
                </a:lnTo>
                <a:lnTo>
                  <a:pt x="78" y="32"/>
                </a:lnTo>
                <a:lnTo>
                  <a:pt x="72" y="38"/>
                </a:lnTo>
                <a:lnTo>
                  <a:pt x="69" y="47"/>
                </a:lnTo>
                <a:lnTo>
                  <a:pt x="66" y="50"/>
                </a:lnTo>
                <a:lnTo>
                  <a:pt x="69" y="50"/>
                </a:lnTo>
                <a:lnTo>
                  <a:pt x="69" y="50"/>
                </a:lnTo>
                <a:lnTo>
                  <a:pt x="69" y="53"/>
                </a:lnTo>
                <a:lnTo>
                  <a:pt x="69" y="60"/>
                </a:lnTo>
                <a:lnTo>
                  <a:pt x="66" y="60"/>
                </a:lnTo>
                <a:lnTo>
                  <a:pt x="63" y="60"/>
                </a:lnTo>
                <a:lnTo>
                  <a:pt x="60" y="63"/>
                </a:lnTo>
                <a:lnTo>
                  <a:pt x="56" y="66"/>
                </a:lnTo>
                <a:lnTo>
                  <a:pt x="53" y="69"/>
                </a:lnTo>
                <a:lnTo>
                  <a:pt x="50" y="72"/>
                </a:lnTo>
                <a:lnTo>
                  <a:pt x="47" y="75"/>
                </a:lnTo>
                <a:lnTo>
                  <a:pt x="44" y="75"/>
                </a:lnTo>
                <a:lnTo>
                  <a:pt x="44" y="79"/>
                </a:lnTo>
                <a:lnTo>
                  <a:pt x="47" y="82"/>
                </a:lnTo>
                <a:lnTo>
                  <a:pt x="47" y="85"/>
                </a:lnTo>
                <a:lnTo>
                  <a:pt x="47" y="91"/>
                </a:lnTo>
                <a:lnTo>
                  <a:pt x="44" y="91"/>
                </a:lnTo>
                <a:lnTo>
                  <a:pt x="41" y="88"/>
                </a:lnTo>
                <a:lnTo>
                  <a:pt x="41" y="85"/>
                </a:lnTo>
                <a:lnTo>
                  <a:pt x="41" y="85"/>
                </a:lnTo>
                <a:lnTo>
                  <a:pt x="38" y="82"/>
                </a:lnTo>
                <a:lnTo>
                  <a:pt x="38" y="79"/>
                </a:lnTo>
                <a:lnTo>
                  <a:pt x="35" y="75"/>
                </a:lnTo>
                <a:lnTo>
                  <a:pt x="31" y="79"/>
                </a:lnTo>
                <a:lnTo>
                  <a:pt x="35" y="82"/>
                </a:lnTo>
                <a:lnTo>
                  <a:pt x="35" y="85"/>
                </a:lnTo>
                <a:lnTo>
                  <a:pt x="31" y="91"/>
                </a:lnTo>
                <a:lnTo>
                  <a:pt x="31" y="94"/>
                </a:lnTo>
                <a:lnTo>
                  <a:pt x="28" y="97"/>
                </a:lnTo>
                <a:lnTo>
                  <a:pt x="25" y="97"/>
                </a:lnTo>
                <a:lnTo>
                  <a:pt x="25" y="104"/>
                </a:lnTo>
                <a:lnTo>
                  <a:pt x="25" y="104"/>
                </a:lnTo>
                <a:lnTo>
                  <a:pt x="25" y="110"/>
                </a:lnTo>
                <a:lnTo>
                  <a:pt x="25" y="113"/>
                </a:lnTo>
                <a:lnTo>
                  <a:pt x="31" y="119"/>
                </a:lnTo>
                <a:lnTo>
                  <a:pt x="31" y="119"/>
                </a:lnTo>
                <a:lnTo>
                  <a:pt x="35" y="116"/>
                </a:lnTo>
                <a:lnTo>
                  <a:pt x="35" y="119"/>
                </a:lnTo>
                <a:lnTo>
                  <a:pt x="35" y="122"/>
                </a:lnTo>
                <a:lnTo>
                  <a:pt x="31" y="125"/>
                </a:lnTo>
                <a:lnTo>
                  <a:pt x="31" y="129"/>
                </a:lnTo>
                <a:lnTo>
                  <a:pt x="35" y="132"/>
                </a:lnTo>
                <a:lnTo>
                  <a:pt x="35" y="135"/>
                </a:lnTo>
                <a:lnTo>
                  <a:pt x="31" y="138"/>
                </a:lnTo>
                <a:lnTo>
                  <a:pt x="31" y="141"/>
                </a:lnTo>
                <a:lnTo>
                  <a:pt x="31" y="141"/>
                </a:lnTo>
                <a:lnTo>
                  <a:pt x="35" y="144"/>
                </a:lnTo>
                <a:lnTo>
                  <a:pt x="35" y="150"/>
                </a:lnTo>
                <a:lnTo>
                  <a:pt x="35" y="160"/>
                </a:lnTo>
                <a:lnTo>
                  <a:pt x="31" y="163"/>
                </a:lnTo>
                <a:lnTo>
                  <a:pt x="31" y="166"/>
                </a:lnTo>
                <a:lnTo>
                  <a:pt x="31" y="169"/>
                </a:lnTo>
                <a:lnTo>
                  <a:pt x="38" y="169"/>
                </a:lnTo>
                <a:lnTo>
                  <a:pt x="35" y="169"/>
                </a:lnTo>
                <a:lnTo>
                  <a:pt x="38" y="172"/>
                </a:lnTo>
                <a:lnTo>
                  <a:pt x="41" y="172"/>
                </a:lnTo>
                <a:lnTo>
                  <a:pt x="41" y="175"/>
                </a:lnTo>
                <a:lnTo>
                  <a:pt x="38" y="179"/>
                </a:lnTo>
                <a:lnTo>
                  <a:pt x="38" y="182"/>
                </a:lnTo>
                <a:lnTo>
                  <a:pt x="28" y="188"/>
                </a:lnTo>
                <a:lnTo>
                  <a:pt x="28" y="194"/>
                </a:lnTo>
                <a:lnTo>
                  <a:pt x="22" y="197"/>
                </a:lnTo>
                <a:lnTo>
                  <a:pt x="13" y="201"/>
                </a:lnTo>
                <a:lnTo>
                  <a:pt x="10" y="204"/>
                </a:lnTo>
                <a:lnTo>
                  <a:pt x="3" y="213"/>
                </a:lnTo>
                <a:lnTo>
                  <a:pt x="3" y="219"/>
                </a:lnTo>
                <a:lnTo>
                  <a:pt x="0" y="222"/>
                </a:lnTo>
                <a:lnTo>
                  <a:pt x="6" y="226"/>
                </a:lnTo>
                <a:lnTo>
                  <a:pt x="13" y="229"/>
                </a:lnTo>
                <a:lnTo>
                  <a:pt x="22" y="235"/>
                </a:lnTo>
                <a:lnTo>
                  <a:pt x="25" y="235"/>
                </a:lnTo>
                <a:lnTo>
                  <a:pt x="31" y="241"/>
                </a:lnTo>
                <a:lnTo>
                  <a:pt x="28" y="244"/>
                </a:lnTo>
                <a:lnTo>
                  <a:pt x="31" y="244"/>
                </a:lnTo>
                <a:lnTo>
                  <a:pt x="38" y="247"/>
                </a:lnTo>
                <a:lnTo>
                  <a:pt x="44" y="251"/>
                </a:lnTo>
                <a:lnTo>
                  <a:pt x="47" y="251"/>
                </a:lnTo>
                <a:lnTo>
                  <a:pt x="53" y="254"/>
                </a:lnTo>
                <a:lnTo>
                  <a:pt x="53" y="251"/>
                </a:lnTo>
                <a:lnTo>
                  <a:pt x="53" y="247"/>
                </a:lnTo>
                <a:lnTo>
                  <a:pt x="56" y="244"/>
                </a:lnTo>
                <a:lnTo>
                  <a:pt x="60" y="244"/>
                </a:lnTo>
                <a:lnTo>
                  <a:pt x="63" y="247"/>
                </a:lnTo>
                <a:lnTo>
                  <a:pt x="66" y="247"/>
                </a:lnTo>
                <a:lnTo>
                  <a:pt x="69" y="251"/>
                </a:lnTo>
                <a:lnTo>
                  <a:pt x="72" y="251"/>
                </a:lnTo>
                <a:lnTo>
                  <a:pt x="72" y="251"/>
                </a:lnTo>
                <a:lnTo>
                  <a:pt x="72" y="251"/>
                </a:lnTo>
                <a:lnTo>
                  <a:pt x="75" y="254"/>
                </a:lnTo>
                <a:lnTo>
                  <a:pt x="81" y="257"/>
                </a:lnTo>
                <a:lnTo>
                  <a:pt x="88" y="257"/>
                </a:lnTo>
                <a:lnTo>
                  <a:pt x="88" y="260"/>
                </a:lnTo>
                <a:lnTo>
                  <a:pt x="91" y="263"/>
                </a:lnTo>
                <a:lnTo>
                  <a:pt x="94" y="269"/>
                </a:lnTo>
                <a:lnTo>
                  <a:pt x="97" y="276"/>
                </a:lnTo>
                <a:lnTo>
                  <a:pt x="97" y="276"/>
                </a:lnTo>
                <a:lnTo>
                  <a:pt x="106" y="279"/>
                </a:lnTo>
                <a:lnTo>
                  <a:pt x="113" y="282"/>
                </a:lnTo>
                <a:lnTo>
                  <a:pt x="113" y="288"/>
                </a:lnTo>
                <a:lnTo>
                  <a:pt x="113" y="288"/>
                </a:lnTo>
                <a:lnTo>
                  <a:pt x="116" y="291"/>
                </a:lnTo>
                <a:lnTo>
                  <a:pt x="119" y="294"/>
                </a:lnTo>
                <a:lnTo>
                  <a:pt x="116" y="297"/>
                </a:lnTo>
                <a:lnTo>
                  <a:pt x="119" y="301"/>
                </a:lnTo>
                <a:lnTo>
                  <a:pt x="122" y="301"/>
                </a:lnTo>
                <a:lnTo>
                  <a:pt x="125" y="301"/>
                </a:lnTo>
                <a:lnTo>
                  <a:pt x="128" y="301"/>
                </a:lnTo>
                <a:lnTo>
                  <a:pt x="135" y="301"/>
                </a:lnTo>
                <a:lnTo>
                  <a:pt x="135" y="301"/>
                </a:lnTo>
                <a:lnTo>
                  <a:pt x="141" y="297"/>
                </a:lnTo>
                <a:lnTo>
                  <a:pt x="147" y="297"/>
                </a:lnTo>
                <a:lnTo>
                  <a:pt x="153" y="301"/>
                </a:lnTo>
                <a:lnTo>
                  <a:pt x="160" y="297"/>
                </a:lnTo>
                <a:lnTo>
                  <a:pt x="163" y="297"/>
                </a:lnTo>
                <a:lnTo>
                  <a:pt x="163" y="297"/>
                </a:lnTo>
                <a:lnTo>
                  <a:pt x="166" y="297"/>
                </a:lnTo>
                <a:lnTo>
                  <a:pt x="172" y="301"/>
                </a:lnTo>
                <a:lnTo>
                  <a:pt x="172" y="304"/>
                </a:lnTo>
                <a:lnTo>
                  <a:pt x="175" y="304"/>
                </a:lnTo>
                <a:lnTo>
                  <a:pt x="175" y="304"/>
                </a:lnTo>
                <a:lnTo>
                  <a:pt x="163" y="326"/>
                </a:lnTo>
                <a:lnTo>
                  <a:pt x="166" y="329"/>
                </a:lnTo>
                <a:lnTo>
                  <a:pt x="169" y="329"/>
                </a:lnTo>
                <a:lnTo>
                  <a:pt x="175" y="329"/>
                </a:lnTo>
                <a:lnTo>
                  <a:pt x="178" y="332"/>
                </a:lnTo>
                <a:lnTo>
                  <a:pt x="178" y="335"/>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4" name="Freeform 192">
            <a:extLst>
              <a:ext uri="{FF2B5EF4-FFF2-40B4-BE49-F238E27FC236}">
                <a16:creationId xmlns:a16="http://schemas.microsoft.com/office/drawing/2014/main" id="{877E7F5E-0181-874D-0ACB-88BC510E4A48}"/>
              </a:ext>
            </a:extLst>
          </p:cNvPr>
          <p:cNvSpPr>
            <a:spLocks noEditPoints="1"/>
          </p:cNvSpPr>
          <p:nvPr userDrawn="1"/>
        </p:nvSpPr>
        <p:spPr bwMode="auto">
          <a:xfrm>
            <a:off x="8159216" y="9295680"/>
            <a:ext cx="365102" cy="409576"/>
          </a:xfrm>
          <a:custGeom>
            <a:avLst/>
            <a:gdLst>
              <a:gd name="T0" fmla="*/ 112 w 115"/>
              <a:gd name="T1" fmla="*/ 29 h 129"/>
              <a:gd name="T2" fmla="*/ 106 w 115"/>
              <a:gd name="T3" fmla="*/ 25 h 129"/>
              <a:gd name="T4" fmla="*/ 100 w 115"/>
              <a:gd name="T5" fmla="*/ 22 h 129"/>
              <a:gd name="T6" fmla="*/ 93 w 115"/>
              <a:gd name="T7" fmla="*/ 25 h 129"/>
              <a:gd name="T8" fmla="*/ 93 w 115"/>
              <a:gd name="T9" fmla="*/ 32 h 129"/>
              <a:gd name="T10" fmla="*/ 84 w 115"/>
              <a:gd name="T11" fmla="*/ 29 h 129"/>
              <a:gd name="T12" fmla="*/ 71 w 115"/>
              <a:gd name="T13" fmla="*/ 22 h 129"/>
              <a:gd name="T14" fmla="*/ 71 w 115"/>
              <a:gd name="T15" fmla="*/ 19 h 129"/>
              <a:gd name="T16" fmla="*/ 62 w 115"/>
              <a:gd name="T17" fmla="*/ 13 h 129"/>
              <a:gd name="T18" fmla="*/ 46 w 115"/>
              <a:gd name="T19" fmla="*/ 4 h 129"/>
              <a:gd name="T20" fmla="*/ 40 w 115"/>
              <a:gd name="T21" fmla="*/ 7 h 129"/>
              <a:gd name="T22" fmla="*/ 25 w 115"/>
              <a:gd name="T23" fmla="*/ 13 h 129"/>
              <a:gd name="T24" fmla="*/ 15 w 115"/>
              <a:gd name="T25" fmla="*/ 16 h 129"/>
              <a:gd name="T26" fmla="*/ 18 w 115"/>
              <a:gd name="T27" fmla="*/ 22 h 129"/>
              <a:gd name="T28" fmla="*/ 18 w 115"/>
              <a:gd name="T29" fmla="*/ 32 h 129"/>
              <a:gd name="T30" fmla="*/ 12 w 115"/>
              <a:gd name="T31" fmla="*/ 41 h 129"/>
              <a:gd name="T32" fmla="*/ 9 w 115"/>
              <a:gd name="T33" fmla="*/ 50 h 129"/>
              <a:gd name="T34" fmla="*/ 3 w 115"/>
              <a:gd name="T35" fmla="*/ 54 h 129"/>
              <a:gd name="T36" fmla="*/ 3 w 115"/>
              <a:gd name="T37" fmla="*/ 63 h 129"/>
              <a:gd name="T38" fmla="*/ 6 w 115"/>
              <a:gd name="T39" fmla="*/ 72 h 129"/>
              <a:gd name="T40" fmla="*/ 0 w 115"/>
              <a:gd name="T41" fmla="*/ 75 h 129"/>
              <a:gd name="T42" fmla="*/ 6 w 115"/>
              <a:gd name="T43" fmla="*/ 82 h 129"/>
              <a:gd name="T44" fmla="*/ 15 w 115"/>
              <a:gd name="T45" fmla="*/ 88 h 129"/>
              <a:gd name="T46" fmla="*/ 18 w 115"/>
              <a:gd name="T47" fmla="*/ 82 h 129"/>
              <a:gd name="T48" fmla="*/ 21 w 115"/>
              <a:gd name="T49" fmla="*/ 75 h 129"/>
              <a:gd name="T50" fmla="*/ 21 w 115"/>
              <a:gd name="T51" fmla="*/ 82 h 129"/>
              <a:gd name="T52" fmla="*/ 21 w 115"/>
              <a:gd name="T53" fmla="*/ 79 h 129"/>
              <a:gd name="T54" fmla="*/ 25 w 115"/>
              <a:gd name="T55" fmla="*/ 82 h 129"/>
              <a:gd name="T56" fmla="*/ 25 w 115"/>
              <a:gd name="T57" fmla="*/ 91 h 129"/>
              <a:gd name="T58" fmla="*/ 18 w 115"/>
              <a:gd name="T59" fmla="*/ 101 h 129"/>
              <a:gd name="T60" fmla="*/ 21 w 115"/>
              <a:gd name="T61" fmla="*/ 107 h 129"/>
              <a:gd name="T62" fmla="*/ 12 w 115"/>
              <a:gd name="T63" fmla="*/ 113 h 129"/>
              <a:gd name="T64" fmla="*/ 18 w 115"/>
              <a:gd name="T65" fmla="*/ 116 h 129"/>
              <a:gd name="T66" fmla="*/ 25 w 115"/>
              <a:gd name="T67" fmla="*/ 119 h 129"/>
              <a:gd name="T68" fmla="*/ 34 w 115"/>
              <a:gd name="T69" fmla="*/ 119 h 129"/>
              <a:gd name="T70" fmla="*/ 43 w 115"/>
              <a:gd name="T71" fmla="*/ 129 h 129"/>
              <a:gd name="T72" fmla="*/ 62 w 115"/>
              <a:gd name="T73" fmla="*/ 94 h 129"/>
              <a:gd name="T74" fmla="*/ 84 w 115"/>
              <a:gd name="T75" fmla="*/ 85 h 129"/>
              <a:gd name="T76" fmla="*/ 106 w 115"/>
              <a:gd name="T77" fmla="*/ 66 h 129"/>
              <a:gd name="T78" fmla="*/ 115 w 115"/>
              <a:gd name="T79" fmla="*/ 54 h 129"/>
              <a:gd name="T80" fmla="*/ 115 w 115"/>
              <a:gd name="T81" fmla="*/ 47 h 129"/>
              <a:gd name="T82" fmla="*/ 112 w 115"/>
              <a:gd name="T83" fmla="*/ 35 h 129"/>
              <a:gd name="T84" fmla="*/ 112 w 115"/>
              <a:gd name="T85" fmla="*/ 29 h 129"/>
              <a:gd name="T86" fmla="*/ 112 w 115"/>
              <a:gd name="T87" fmla="*/ 29 h 129"/>
              <a:gd name="T88" fmla="*/ 15 w 115"/>
              <a:gd name="T89" fmla="*/ 91 h 129"/>
              <a:gd name="T90" fmla="*/ 18 w 115"/>
              <a:gd name="T91" fmla="*/ 85 h 129"/>
              <a:gd name="T92" fmla="*/ 18 w 115"/>
              <a:gd name="T93" fmla="*/ 88 h 129"/>
              <a:gd name="T94" fmla="*/ 18 w 115"/>
              <a:gd name="T95" fmla="*/ 94 h 129"/>
              <a:gd name="T96" fmla="*/ 15 w 115"/>
              <a:gd name="T97" fmla="*/ 9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5" h="129">
                <a:moveTo>
                  <a:pt x="112" y="29"/>
                </a:moveTo>
                <a:lnTo>
                  <a:pt x="112" y="29"/>
                </a:lnTo>
                <a:lnTo>
                  <a:pt x="109" y="29"/>
                </a:lnTo>
                <a:lnTo>
                  <a:pt x="106" y="25"/>
                </a:lnTo>
                <a:lnTo>
                  <a:pt x="103" y="25"/>
                </a:lnTo>
                <a:lnTo>
                  <a:pt x="100" y="22"/>
                </a:lnTo>
                <a:lnTo>
                  <a:pt x="96" y="22"/>
                </a:lnTo>
                <a:lnTo>
                  <a:pt x="93" y="25"/>
                </a:lnTo>
                <a:lnTo>
                  <a:pt x="93" y="29"/>
                </a:lnTo>
                <a:lnTo>
                  <a:pt x="93" y="32"/>
                </a:lnTo>
                <a:lnTo>
                  <a:pt x="87" y="29"/>
                </a:lnTo>
                <a:lnTo>
                  <a:pt x="84" y="29"/>
                </a:lnTo>
                <a:lnTo>
                  <a:pt x="78" y="25"/>
                </a:lnTo>
                <a:lnTo>
                  <a:pt x="71" y="22"/>
                </a:lnTo>
                <a:lnTo>
                  <a:pt x="68" y="22"/>
                </a:lnTo>
                <a:lnTo>
                  <a:pt x="71" y="19"/>
                </a:lnTo>
                <a:lnTo>
                  <a:pt x="65" y="13"/>
                </a:lnTo>
                <a:lnTo>
                  <a:pt x="62" y="13"/>
                </a:lnTo>
                <a:lnTo>
                  <a:pt x="53" y="7"/>
                </a:lnTo>
                <a:lnTo>
                  <a:pt x="46" y="4"/>
                </a:lnTo>
                <a:lnTo>
                  <a:pt x="40" y="0"/>
                </a:lnTo>
                <a:lnTo>
                  <a:pt x="40" y="7"/>
                </a:lnTo>
                <a:lnTo>
                  <a:pt x="34" y="7"/>
                </a:lnTo>
                <a:lnTo>
                  <a:pt x="25" y="13"/>
                </a:lnTo>
                <a:lnTo>
                  <a:pt x="21" y="13"/>
                </a:lnTo>
                <a:lnTo>
                  <a:pt x="15" y="16"/>
                </a:lnTo>
                <a:lnTo>
                  <a:pt x="18" y="19"/>
                </a:lnTo>
                <a:lnTo>
                  <a:pt x="18" y="22"/>
                </a:lnTo>
                <a:lnTo>
                  <a:pt x="18" y="25"/>
                </a:lnTo>
                <a:lnTo>
                  <a:pt x="18" y="32"/>
                </a:lnTo>
                <a:lnTo>
                  <a:pt x="12" y="38"/>
                </a:lnTo>
                <a:lnTo>
                  <a:pt x="12" y="41"/>
                </a:lnTo>
                <a:lnTo>
                  <a:pt x="12" y="44"/>
                </a:lnTo>
                <a:lnTo>
                  <a:pt x="9" y="50"/>
                </a:lnTo>
                <a:lnTo>
                  <a:pt x="6" y="50"/>
                </a:lnTo>
                <a:lnTo>
                  <a:pt x="3" y="54"/>
                </a:lnTo>
                <a:lnTo>
                  <a:pt x="3" y="57"/>
                </a:lnTo>
                <a:lnTo>
                  <a:pt x="3" y="63"/>
                </a:lnTo>
                <a:lnTo>
                  <a:pt x="3" y="66"/>
                </a:lnTo>
                <a:lnTo>
                  <a:pt x="6" y="72"/>
                </a:lnTo>
                <a:lnTo>
                  <a:pt x="3" y="75"/>
                </a:lnTo>
                <a:lnTo>
                  <a:pt x="0" y="75"/>
                </a:lnTo>
                <a:lnTo>
                  <a:pt x="3" y="79"/>
                </a:lnTo>
                <a:lnTo>
                  <a:pt x="6" y="82"/>
                </a:lnTo>
                <a:lnTo>
                  <a:pt x="12" y="85"/>
                </a:lnTo>
                <a:lnTo>
                  <a:pt x="15" y="88"/>
                </a:lnTo>
                <a:lnTo>
                  <a:pt x="15" y="85"/>
                </a:lnTo>
                <a:lnTo>
                  <a:pt x="18" y="82"/>
                </a:lnTo>
                <a:lnTo>
                  <a:pt x="18" y="79"/>
                </a:lnTo>
                <a:lnTo>
                  <a:pt x="21" y="75"/>
                </a:lnTo>
                <a:lnTo>
                  <a:pt x="21" y="79"/>
                </a:lnTo>
                <a:lnTo>
                  <a:pt x="21" y="82"/>
                </a:lnTo>
                <a:lnTo>
                  <a:pt x="21" y="82"/>
                </a:lnTo>
                <a:lnTo>
                  <a:pt x="21" y="79"/>
                </a:lnTo>
                <a:lnTo>
                  <a:pt x="25" y="79"/>
                </a:lnTo>
                <a:lnTo>
                  <a:pt x="25" y="82"/>
                </a:lnTo>
                <a:lnTo>
                  <a:pt x="25" y="88"/>
                </a:lnTo>
                <a:lnTo>
                  <a:pt x="25" y="91"/>
                </a:lnTo>
                <a:lnTo>
                  <a:pt x="21" y="97"/>
                </a:lnTo>
                <a:lnTo>
                  <a:pt x="18" y="101"/>
                </a:lnTo>
                <a:lnTo>
                  <a:pt x="18" y="101"/>
                </a:lnTo>
                <a:lnTo>
                  <a:pt x="21" y="107"/>
                </a:lnTo>
                <a:lnTo>
                  <a:pt x="15" y="110"/>
                </a:lnTo>
                <a:lnTo>
                  <a:pt x="12" y="113"/>
                </a:lnTo>
                <a:lnTo>
                  <a:pt x="15" y="116"/>
                </a:lnTo>
                <a:lnTo>
                  <a:pt x="18" y="116"/>
                </a:lnTo>
                <a:lnTo>
                  <a:pt x="21" y="116"/>
                </a:lnTo>
                <a:lnTo>
                  <a:pt x="25" y="119"/>
                </a:lnTo>
                <a:lnTo>
                  <a:pt x="31" y="119"/>
                </a:lnTo>
                <a:lnTo>
                  <a:pt x="34" y="119"/>
                </a:lnTo>
                <a:lnTo>
                  <a:pt x="40" y="129"/>
                </a:lnTo>
                <a:lnTo>
                  <a:pt x="43" y="129"/>
                </a:lnTo>
                <a:lnTo>
                  <a:pt x="46" y="126"/>
                </a:lnTo>
                <a:lnTo>
                  <a:pt x="62" y="94"/>
                </a:lnTo>
                <a:lnTo>
                  <a:pt x="62" y="91"/>
                </a:lnTo>
                <a:lnTo>
                  <a:pt x="84" y="85"/>
                </a:lnTo>
                <a:lnTo>
                  <a:pt x="93" y="79"/>
                </a:lnTo>
                <a:lnTo>
                  <a:pt x="106" y="66"/>
                </a:lnTo>
                <a:lnTo>
                  <a:pt x="112" y="54"/>
                </a:lnTo>
                <a:lnTo>
                  <a:pt x="115" y="54"/>
                </a:lnTo>
                <a:lnTo>
                  <a:pt x="115" y="50"/>
                </a:lnTo>
                <a:lnTo>
                  <a:pt x="115" y="47"/>
                </a:lnTo>
                <a:lnTo>
                  <a:pt x="115" y="41"/>
                </a:lnTo>
                <a:lnTo>
                  <a:pt x="112" y="35"/>
                </a:lnTo>
                <a:lnTo>
                  <a:pt x="112" y="32"/>
                </a:lnTo>
                <a:lnTo>
                  <a:pt x="112" y="29"/>
                </a:lnTo>
                <a:lnTo>
                  <a:pt x="112" y="29"/>
                </a:lnTo>
                <a:lnTo>
                  <a:pt x="112" y="29"/>
                </a:lnTo>
                <a:close/>
                <a:moveTo>
                  <a:pt x="15" y="94"/>
                </a:moveTo>
                <a:lnTo>
                  <a:pt x="15" y="91"/>
                </a:lnTo>
                <a:lnTo>
                  <a:pt x="15" y="88"/>
                </a:lnTo>
                <a:lnTo>
                  <a:pt x="18" y="85"/>
                </a:lnTo>
                <a:lnTo>
                  <a:pt x="18" y="85"/>
                </a:lnTo>
                <a:lnTo>
                  <a:pt x="18" y="88"/>
                </a:lnTo>
                <a:lnTo>
                  <a:pt x="18" y="91"/>
                </a:lnTo>
                <a:lnTo>
                  <a:pt x="18" y="94"/>
                </a:lnTo>
                <a:lnTo>
                  <a:pt x="15" y="94"/>
                </a:lnTo>
                <a:lnTo>
                  <a:pt x="15" y="9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5" name="Freeform 193">
            <a:extLst>
              <a:ext uri="{FF2B5EF4-FFF2-40B4-BE49-F238E27FC236}">
                <a16:creationId xmlns:a16="http://schemas.microsoft.com/office/drawing/2014/main" id="{EE2A6835-450E-2E8B-CFC8-04F45F113745}"/>
              </a:ext>
            </a:extLst>
          </p:cNvPr>
          <p:cNvSpPr>
            <a:spLocks/>
          </p:cNvSpPr>
          <p:nvPr userDrawn="1"/>
        </p:nvSpPr>
        <p:spPr bwMode="auto">
          <a:xfrm>
            <a:off x="8136993" y="9387759"/>
            <a:ext cx="803226" cy="1190626"/>
          </a:xfrm>
          <a:custGeom>
            <a:avLst/>
            <a:gdLst>
              <a:gd name="T0" fmla="*/ 232 w 253"/>
              <a:gd name="T1" fmla="*/ 222 h 375"/>
              <a:gd name="T2" fmla="*/ 219 w 253"/>
              <a:gd name="T3" fmla="*/ 222 h 375"/>
              <a:gd name="T4" fmla="*/ 219 w 253"/>
              <a:gd name="T5" fmla="*/ 197 h 375"/>
              <a:gd name="T6" fmla="*/ 200 w 253"/>
              <a:gd name="T7" fmla="*/ 200 h 375"/>
              <a:gd name="T8" fmla="*/ 178 w 253"/>
              <a:gd name="T9" fmla="*/ 187 h 375"/>
              <a:gd name="T10" fmla="*/ 157 w 253"/>
              <a:gd name="T11" fmla="*/ 165 h 375"/>
              <a:gd name="T12" fmla="*/ 150 w 253"/>
              <a:gd name="T13" fmla="*/ 153 h 375"/>
              <a:gd name="T14" fmla="*/ 153 w 253"/>
              <a:gd name="T15" fmla="*/ 137 h 375"/>
              <a:gd name="T16" fmla="*/ 163 w 253"/>
              <a:gd name="T17" fmla="*/ 128 h 375"/>
              <a:gd name="T18" fmla="*/ 166 w 253"/>
              <a:gd name="T19" fmla="*/ 109 h 375"/>
              <a:gd name="T20" fmla="*/ 178 w 253"/>
              <a:gd name="T21" fmla="*/ 97 h 375"/>
              <a:gd name="T22" fmla="*/ 207 w 253"/>
              <a:gd name="T23" fmla="*/ 87 h 375"/>
              <a:gd name="T24" fmla="*/ 216 w 253"/>
              <a:gd name="T25" fmla="*/ 84 h 375"/>
              <a:gd name="T26" fmla="*/ 225 w 253"/>
              <a:gd name="T27" fmla="*/ 87 h 375"/>
              <a:gd name="T28" fmla="*/ 213 w 253"/>
              <a:gd name="T29" fmla="*/ 78 h 375"/>
              <a:gd name="T30" fmla="*/ 219 w 253"/>
              <a:gd name="T31" fmla="*/ 53 h 375"/>
              <a:gd name="T32" fmla="*/ 210 w 253"/>
              <a:gd name="T33" fmla="*/ 46 h 375"/>
              <a:gd name="T34" fmla="*/ 188 w 253"/>
              <a:gd name="T35" fmla="*/ 46 h 375"/>
              <a:gd name="T36" fmla="*/ 172 w 253"/>
              <a:gd name="T37" fmla="*/ 50 h 375"/>
              <a:gd name="T38" fmla="*/ 166 w 253"/>
              <a:gd name="T39" fmla="*/ 43 h 375"/>
              <a:gd name="T40" fmla="*/ 160 w 253"/>
              <a:gd name="T41" fmla="*/ 31 h 375"/>
              <a:gd name="T42" fmla="*/ 141 w 253"/>
              <a:gd name="T43" fmla="*/ 18 h 375"/>
              <a:gd name="T44" fmla="*/ 128 w 253"/>
              <a:gd name="T45" fmla="*/ 6 h 375"/>
              <a:gd name="T46" fmla="*/ 119 w 253"/>
              <a:gd name="T47" fmla="*/ 3 h 375"/>
              <a:gd name="T48" fmla="*/ 122 w 253"/>
              <a:gd name="T49" fmla="*/ 21 h 375"/>
              <a:gd name="T50" fmla="*/ 100 w 253"/>
              <a:gd name="T51" fmla="*/ 50 h 375"/>
              <a:gd name="T52" fmla="*/ 53 w 253"/>
              <a:gd name="T53" fmla="*/ 97 h 375"/>
              <a:gd name="T54" fmla="*/ 38 w 253"/>
              <a:gd name="T55" fmla="*/ 90 h 375"/>
              <a:gd name="T56" fmla="*/ 22 w 253"/>
              <a:gd name="T57" fmla="*/ 87 h 375"/>
              <a:gd name="T58" fmla="*/ 25 w 253"/>
              <a:gd name="T59" fmla="*/ 72 h 375"/>
              <a:gd name="T60" fmla="*/ 10 w 253"/>
              <a:gd name="T61" fmla="*/ 81 h 375"/>
              <a:gd name="T62" fmla="*/ 0 w 253"/>
              <a:gd name="T63" fmla="*/ 97 h 375"/>
              <a:gd name="T64" fmla="*/ 3 w 253"/>
              <a:gd name="T65" fmla="*/ 106 h 375"/>
              <a:gd name="T66" fmla="*/ 7 w 253"/>
              <a:gd name="T67" fmla="*/ 118 h 375"/>
              <a:gd name="T68" fmla="*/ 10 w 253"/>
              <a:gd name="T69" fmla="*/ 128 h 375"/>
              <a:gd name="T70" fmla="*/ 32 w 253"/>
              <a:gd name="T71" fmla="*/ 140 h 375"/>
              <a:gd name="T72" fmla="*/ 41 w 253"/>
              <a:gd name="T73" fmla="*/ 159 h 375"/>
              <a:gd name="T74" fmla="*/ 57 w 253"/>
              <a:gd name="T75" fmla="*/ 178 h 375"/>
              <a:gd name="T76" fmla="*/ 66 w 253"/>
              <a:gd name="T77" fmla="*/ 197 h 375"/>
              <a:gd name="T78" fmla="*/ 75 w 253"/>
              <a:gd name="T79" fmla="*/ 219 h 375"/>
              <a:gd name="T80" fmla="*/ 78 w 253"/>
              <a:gd name="T81" fmla="*/ 228 h 375"/>
              <a:gd name="T82" fmla="*/ 91 w 253"/>
              <a:gd name="T83" fmla="*/ 247 h 375"/>
              <a:gd name="T84" fmla="*/ 103 w 253"/>
              <a:gd name="T85" fmla="*/ 265 h 375"/>
              <a:gd name="T86" fmla="*/ 107 w 253"/>
              <a:gd name="T87" fmla="*/ 278 h 375"/>
              <a:gd name="T88" fmla="*/ 110 w 253"/>
              <a:gd name="T89" fmla="*/ 287 h 375"/>
              <a:gd name="T90" fmla="*/ 119 w 253"/>
              <a:gd name="T91" fmla="*/ 297 h 375"/>
              <a:gd name="T92" fmla="*/ 132 w 253"/>
              <a:gd name="T93" fmla="*/ 306 h 375"/>
              <a:gd name="T94" fmla="*/ 141 w 253"/>
              <a:gd name="T95" fmla="*/ 312 h 375"/>
              <a:gd name="T96" fmla="*/ 153 w 253"/>
              <a:gd name="T97" fmla="*/ 322 h 375"/>
              <a:gd name="T98" fmla="*/ 163 w 253"/>
              <a:gd name="T99" fmla="*/ 331 h 375"/>
              <a:gd name="T100" fmla="*/ 182 w 253"/>
              <a:gd name="T101" fmla="*/ 337 h 375"/>
              <a:gd name="T102" fmla="*/ 194 w 253"/>
              <a:gd name="T103" fmla="*/ 347 h 375"/>
              <a:gd name="T104" fmla="*/ 203 w 253"/>
              <a:gd name="T105" fmla="*/ 356 h 375"/>
              <a:gd name="T106" fmla="*/ 213 w 253"/>
              <a:gd name="T107" fmla="*/ 362 h 375"/>
              <a:gd name="T108" fmla="*/ 228 w 253"/>
              <a:gd name="T109" fmla="*/ 375 h 375"/>
              <a:gd name="T110" fmla="*/ 244 w 253"/>
              <a:gd name="T111" fmla="*/ 369 h 375"/>
              <a:gd name="T112" fmla="*/ 244 w 253"/>
              <a:gd name="T113" fmla="*/ 353 h 375"/>
              <a:gd name="T114" fmla="*/ 241 w 253"/>
              <a:gd name="T115" fmla="*/ 350 h 375"/>
              <a:gd name="T116" fmla="*/ 253 w 253"/>
              <a:gd name="T117" fmla="*/ 331 h 375"/>
              <a:gd name="T118" fmla="*/ 250 w 253"/>
              <a:gd name="T119" fmla="*/ 306 h 375"/>
              <a:gd name="T120" fmla="*/ 250 w 253"/>
              <a:gd name="T121" fmla="*/ 281 h 375"/>
              <a:gd name="T122" fmla="*/ 253 w 253"/>
              <a:gd name="T123" fmla="*/ 25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375">
                <a:moveTo>
                  <a:pt x="238" y="222"/>
                </a:moveTo>
                <a:lnTo>
                  <a:pt x="235" y="222"/>
                </a:lnTo>
                <a:lnTo>
                  <a:pt x="235" y="222"/>
                </a:lnTo>
                <a:lnTo>
                  <a:pt x="232" y="222"/>
                </a:lnTo>
                <a:lnTo>
                  <a:pt x="228" y="222"/>
                </a:lnTo>
                <a:lnTo>
                  <a:pt x="225" y="222"/>
                </a:lnTo>
                <a:lnTo>
                  <a:pt x="219" y="222"/>
                </a:lnTo>
                <a:lnTo>
                  <a:pt x="219" y="222"/>
                </a:lnTo>
                <a:lnTo>
                  <a:pt x="216" y="215"/>
                </a:lnTo>
                <a:lnTo>
                  <a:pt x="216" y="203"/>
                </a:lnTo>
                <a:lnTo>
                  <a:pt x="216" y="197"/>
                </a:lnTo>
                <a:lnTo>
                  <a:pt x="219" y="197"/>
                </a:lnTo>
                <a:lnTo>
                  <a:pt x="219" y="190"/>
                </a:lnTo>
                <a:lnTo>
                  <a:pt x="216" y="190"/>
                </a:lnTo>
                <a:lnTo>
                  <a:pt x="210" y="194"/>
                </a:lnTo>
                <a:lnTo>
                  <a:pt x="200" y="200"/>
                </a:lnTo>
                <a:lnTo>
                  <a:pt x="191" y="200"/>
                </a:lnTo>
                <a:lnTo>
                  <a:pt x="185" y="200"/>
                </a:lnTo>
                <a:lnTo>
                  <a:pt x="182" y="194"/>
                </a:lnTo>
                <a:lnTo>
                  <a:pt x="178" y="187"/>
                </a:lnTo>
                <a:lnTo>
                  <a:pt x="172" y="187"/>
                </a:lnTo>
                <a:lnTo>
                  <a:pt x="160" y="187"/>
                </a:lnTo>
                <a:lnTo>
                  <a:pt x="166" y="181"/>
                </a:lnTo>
                <a:lnTo>
                  <a:pt x="157" y="165"/>
                </a:lnTo>
                <a:lnTo>
                  <a:pt x="150" y="162"/>
                </a:lnTo>
                <a:lnTo>
                  <a:pt x="150" y="159"/>
                </a:lnTo>
                <a:lnTo>
                  <a:pt x="150" y="156"/>
                </a:lnTo>
                <a:lnTo>
                  <a:pt x="150" y="153"/>
                </a:lnTo>
                <a:lnTo>
                  <a:pt x="150" y="147"/>
                </a:lnTo>
                <a:lnTo>
                  <a:pt x="150" y="143"/>
                </a:lnTo>
                <a:lnTo>
                  <a:pt x="153" y="143"/>
                </a:lnTo>
                <a:lnTo>
                  <a:pt x="153" y="137"/>
                </a:lnTo>
                <a:lnTo>
                  <a:pt x="157" y="134"/>
                </a:lnTo>
                <a:lnTo>
                  <a:pt x="160" y="134"/>
                </a:lnTo>
                <a:lnTo>
                  <a:pt x="163" y="131"/>
                </a:lnTo>
                <a:lnTo>
                  <a:pt x="163" y="128"/>
                </a:lnTo>
                <a:lnTo>
                  <a:pt x="160" y="122"/>
                </a:lnTo>
                <a:lnTo>
                  <a:pt x="166" y="115"/>
                </a:lnTo>
                <a:lnTo>
                  <a:pt x="166" y="112"/>
                </a:lnTo>
                <a:lnTo>
                  <a:pt x="166" y="109"/>
                </a:lnTo>
                <a:lnTo>
                  <a:pt x="166" y="106"/>
                </a:lnTo>
                <a:lnTo>
                  <a:pt x="169" y="103"/>
                </a:lnTo>
                <a:lnTo>
                  <a:pt x="175" y="100"/>
                </a:lnTo>
                <a:lnTo>
                  <a:pt x="178" y="97"/>
                </a:lnTo>
                <a:lnTo>
                  <a:pt x="182" y="97"/>
                </a:lnTo>
                <a:lnTo>
                  <a:pt x="185" y="93"/>
                </a:lnTo>
                <a:lnTo>
                  <a:pt x="194" y="90"/>
                </a:lnTo>
                <a:lnTo>
                  <a:pt x="207" y="87"/>
                </a:lnTo>
                <a:lnTo>
                  <a:pt x="210" y="84"/>
                </a:lnTo>
                <a:lnTo>
                  <a:pt x="210" y="84"/>
                </a:lnTo>
                <a:lnTo>
                  <a:pt x="213" y="84"/>
                </a:lnTo>
                <a:lnTo>
                  <a:pt x="216" y="84"/>
                </a:lnTo>
                <a:lnTo>
                  <a:pt x="219" y="87"/>
                </a:lnTo>
                <a:lnTo>
                  <a:pt x="219" y="87"/>
                </a:lnTo>
                <a:lnTo>
                  <a:pt x="222" y="90"/>
                </a:lnTo>
                <a:lnTo>
                  <a:pt x="225" y="87"/>
                </a:lnTo>
                <a:lnTo>
                  <a:pt x="225" y="81"/>
                </a:lnTo>
                <a:lnTo>
                  <a:pt x="222" y="78"/>
                </a:lnTo>
                <a:lnTo>
                  <a:pt x="216" y="78"/>
                </a:lnTo>
                <a:lnTo>
                  <a:pt x="213" y="78"/>
                </a:lnTo>
                <a:lnTo>
                  <a:pt x="210" y="75"/>
                </a:lnTo>
                <a:lnTo>
                  <a:pt x="222" y="53"/>
                </a:lnTo>
                <a:lnTo>
                  <a:pt x="222" y="53"/>
                </a:lnTo>
                <a:lnTo>
                  <a:pt x="219" y="53"/>
                </a:lnTo>
                <a:lnTo>
                  <a:pt x="219" y="50"/>
                </a:lnTo>
                <a:lnTo>
                  <a:pt x="213" y="46"/>
                </a:lnTo>
                <a:lnTo>
                  <a:pt x="210" y="46"/>
                </a:lnTo>
                <a:lnTo>
                  <a:pt x="210" y="46"/>
                </a:lnTo>
                <a:lnTo>
                  <a:pt x="207" y="46"/>
                </a:lnTo>
                <a:lnTo>
                  <a:pt x="200" y="50"/>
                </a:lnTo>
                <a:lnTo>
                  <a:pt x="194" y="46"/>
                </a:lnTo>
                <a:lnTo>
                  <a:pt x="188" y="46"/>
                </a:lnTo>
                <a:lnTo>
                  <a:pt x="182" y="50"/>
                </a:lnTo>
                <a:lnTo>
                  <a:pt x="182" y="50"/>
                </a:lnTo>
                <a:lnTo>
                  <a:pt x="175" y="50"/>
                </a:lnTo>
                <a:lnTo>
                  <a:pt x="172" y="50"/>
                </a:lnTo>
                <a:lnTo>
                  <a:pt x="169" y="50"/>
                </a:lnTo>
                <a:lnTo>
                  <a:pt x="166" y="50"/>
                </a:lnTo>
                <a:lnTo>
                  <a:pt x="163" y="46"/>
                </a:lnTo>
                <a:lnTo>
                  <a:pt x="166" y="43"/>
                </a:lnTo>
                <a:lnTo>
                  <a:pt x="163" y="40"/>
                </a:lnTo>
                <a:lnTo>
                  <a:pt x="160" y="37"/>
                </a:lnTo>
                <a:lnTo>
                  <a:pt x="160" y="37"/>
                </a:lnTo>
                <a:lnTo>
                  <a:pt x="160" y="31"/>
                </a:lnTo>
                <a:lnTo>
                  <a:pt x="153" y="28"/>
                </a:lnTo>
                <a:lnTo>
                  <a:pt x="144" y="25"/>
                </a:lnTo>
                <a:lnTo>
                  <a:pt x="144" y="25"/>
                </a:lnTo>
                <a:lnTo>
                  <a:pt x="141" y="18"/>
                </a:lnTo>
                <a:lnTo>
                  <a:pt x="138" y="12"/>
                </a:lnTo>
                <a:lnTo>
                  <a:pt x="135" y="9"/>
                </a:lnTo>
                <a:lnTo>
                  <a:pt x="135" y="6"/>
                </a:lnTo>
                <a:lnTo>
                  <a:pt x="128" y="6"/>
                </a:lnTo>
                <a:lnTo>
                  <a:pt x="122" y="3"/>
                </a:lnTo>
                <a:lnTo>
                  <a:pt x="119" y="0"/>
                </a:lnTo>
                <a:lnTo>
                  <a:pt x="119" y="0"/>
                </a:lnTo>
                <a:lnTo>
                  <a:pt x="119" y="3"/>
                </a:lnTo>
                <a:lnTo>
                  <a:pt x="119" y="6"/>
                </a:lnTo>
                <a:lnTo>
                  <a:pt x="122" y="12"/>
                </a:lnTo>
                <a:lnTo>
                  <a:pt x="122" y="18"/>
                </a:lnTo>
                <a:lnTo>
                  <a:pt x="122" y="21"/>
                </a:lnTo>
                <a:lnTo>
                  <a:pt x="122" y="25"/>
                </a:lnTo>
                <a:lnTo>
                  <a:pt x="119" y="25"/>
                </a:lnTo>
                <a:lnTo>
                  <a:pt x="113" y="37"/>
                </a:lnTo>
                <a:lnTo>
                  <a:pt x="100" y="50"/>
                </a:lnTo>
                <a:lnTo>
                  <a:pt x="91" y="56"/>
                </a:lnTo>
                <a:lnTo>
                  <a:pt x="69" y="62"/>
                </a:lnTo>
                <a:lnTo>
                  <a:pt x="69" y="65"/>
                </a:lnTo>
                <a:lnTo>
                  <a:pt x="53" y="97"/>
                </a:lnTo>
                <a:lnTo>
                  <a:pt x="50" y="100"/>
                </a:lnTo>
                <a:lnTo>
                  <a:pt x="47" y="100"/>
                </a:lnTo>
                <a:lnTo>
                  <a:pt x="41" y="90"/>
                </a:lnTo>
                <a:lnTo>
                  <a:pt x="38" y="90"/>
                </a:lnTo>
                <a:lnTo>
                  <a:pt x="32" y="90"/>
                </a:lnTo>
                <a:lnTo>
                  <a:pt x="28" y="87"/>
                </a:lnTo>
                <a:lnTo>
                  <a:pt x="25" y="87"/>
                </a:lnTo>
                <a:lnTo>
                  <a:pt x="22" y="87"/>
                </a:lnTo>
                <a:lnTo>
                  <a:pt x="19" y="84"/>
                </a:lnTo>
                <a:lnTo>
                  <a:pt x="22" y="81"/>
                </a:lnTo>
                <a:lnTo>
                  <a:pt x="28" y="78"/>
                </a:lnTo>
                <a:lnTo>
                  <a:pt x="25" y="72"/>
                </a:lnTo>
                <a:lnTo>
                  <a:pt x="25" y="72"/>
                </a:lnTo>
                <a:lnTo>
                  <a:pt x="25" y="72"/>
                </a:lnTo>
                <a:lnTo>
                  <a:pt x="16" y="78"/>
                </a:lnTo>
                <a:lnTo>
                  <a:pt x="10" y="81"/>
                </a:lnTo>
                <a:lnTo>
                  <a:pt x="3" y="87"/>
                </a:lnTo>
                <a:lnTo>
                  <a:pt x="3" y="90"/>
                </a:lnTo>
                <a:lnTo>
                  <a:pt x="0" y="97"/>
                </a:lnTo>
                <a:lnTo>
                  <a:pt x="0" y="97"/>
                </a:lnTo>
                <a:lnTo>
                  <a:pt x="3" y="100"/>
                </a:lnTo>
                <a:lnTo>
                  <a:pt x="7" y="103"/>
                </a:lnTo>
                <a:lnTo>
                  <a:pt x="3" y="103"/>
                </a:lnTo>
                <a:lnTo>
                  <a:pt x="3" y="106"/>
                </a:lnTo>
                <a:lnTo>
                  <a:pt x="7" y="109"/>
                </a:lnTo>
                <a:lnTo>
                  <a:pt x="10" y="115"/>
                </a:lnTo>
                <a:lnTo>
                  <a:pt x="10" y="118"/>
                </a:lnTo>
                <a:lnTo>
                  <a:pt x="7" y="118"/>
                </a:lnTo>
                <a:lnTo>
                  <a:pt x="3" y="122"/>
                </a:lnTo>
                <a:lnTo>
                  <a:pt x="0" y="125"/>
                </a:lnTo>
                <a:lnTo>
                  <a:pt x="7" y="128"/>
                </a:lnTo>
                <a:lnTo>
                  <a:pt x="10" y="128"/>
                </a:lnTo>
                <a:lnTo>
                  <a:pt x="16" y="134"/>
                </a:lnTo>
                <a:lnTo>
                  <a:pt x="19" y="134"/>
                </a:lnTo>
                <a:lnTo>
                  <a:pt x="28" y="140"/>
                </a:lnTo>
                <a:lnTo>
                  <a:pt x="32" y="140"/>
                </a:lnTo>
                <a:lnTo>
                  <a:pt x="35" y="143"/>
                </a:lnTo>
                <a:lnTo>
                  <a:pt x="38" y="150"/>
                </a:lnTo>
                <a:lnTo>
                  <a:pt x="38" y="156"/>
                </a:lnTo>
                <a:lnTo>
                  <a:pt x="41" y="159"/>
                </a:lnTo>
                <a:lnTo>
                  <a:pt x="47" y="162"/>
                </a:lnTo>
                <a:lnTo>
                  <a:pt x="53" y="168"/>
                </a:lnTo>
                <a:lnTo>
                  <a:pt x="53" y="175"/>
                </a:lnTo>
                <a:lnTo>
                  <a:pt x="57" y="178"/>
                </a:lnTo>
                <a:lnTo>
                  <a:pt x="57" y="184"/>
                </a:lnTo>
                <a:lnTo>
                  <a:pt x="60" y="190"/>
                </a:lnTo>
                <a:lnTo>
                  <a:pt x="63" y="190"/>
                </a:lnTo>
                <a:lnTo>
                  <a:pt x="66" y="197"/>
                </a:lnTo>
                <a:lnTo>
                  <a:pt x="66" y="203"/>
                </a:lnTo>
                <a:lnTo>
                  <a:pt x="66" y="203"/>
                </a:lnTo>
                <a:lnTo>
                  <a:pt x="69" y="209"/>
                </a:lnTo>
                <a:lnTo>
                  <a:pt x="75" y="219"/>
                </a:lnTo>
                <a:lnTo>
                  <a:pt x="75" y="222"/>
                </a:lnTo>
                <a:lnTo>
                  <a:pt x="75" y="225"/>
                </a:lnTo>
                <a:lnTo>
                  <a:pt x="75" y="228"/>
                </a:lnTo>
                <a:lnTo>
                  <a:pt x="78" y="228"/>
                </a:lnTo>
                <a:lnTo>
                  <a:pt x="85" y="234"/>
                </a:lnTo>
                <a:lnTo>
                  <a:pt x="88" y="237"/>
                </a:lnTo>
                <a:lnTo>
                  <a:pt x="88" y="244"/>
                </a:lnTo>
                <a:lnTo>
                  <a:pt x="91" y="247"/>
                </a:lnTo>
                <a:lnTo>
                  <a:pt x="94" y="250"/>
                </a:lnTo>
                <a:lnTo>
                  <a:pt x="97" y="253"/>
                </a:lnTo>
                <a:lnTo>
                  <a:pt x="100" y="262"/>
                </a:lnTo>
                <a:lnTo>
                  <a:pt x="103" y="265"/>
                </a:lnTo>
                <a:lnTo>
                  <a:pt x="110" y="275"/>
                </a:lnTo>
                <a:lnTo>
                  <a:pt x="110" y="278"/>
                </a:lnTo>
                <a:lnTo>
                  <a:pt x="107" y="281"/>
                </a:lnTo>
                <a:lnTo>
                  <a:pt x="107" y="278"/>
                </a:lnTo>
                <a:lnTo>
                  <a:pt x="107" y="281"/>
                </a:lnTo>
                <a:lnTo>
                  <a:pt x="107" y="284"/>
                </a:lnTo>
                <a:lnTo>
                  <a:pt x="107" y="287"/>
                </a:lnTo>
                <a:lnTo>
                  <a:pt x="110" y="287"/>
                </a:lnTo>
                <a:lnTo>
                  <a:pt x="113" y="287"/>
                </a:lnTo>
                <a:lnTo>
                  <a:pt x="113" y="290"/>
                </a:lnTo>
                <a:lnTo>
                  <a:pt x="110" y="294"/>
                </a:lnTo>
                <a:lnTo>
                  <a:pt x="119" y="297"/>
                </a:lnTo>
                <a:lnTo>
                  <a:pt x="125" y="300"/>
                </a:lnTo>
                <a:lnTo>
                  <a:pt x="125" y="303"/>
                </a:lnTo>
                <a:lnTo>
                  <a:pt x="128" y="306"/>
                </a:lnTo>
                <a:lnTo>
                  <a:pt x="132" y="306"/>
                </a:lnTo>
                <a:lnTo>
                  <a:pt x="132" y="309"/>
                </a:lnTo>
                <a:lnTo>
                  <a:pt x="135" y="312"/>
                </a:lnTo>
                <a:lnTo>
                  <a:pt x="135" y="316"/>
                </a:lnTo>
                <a:lnTo>
                  <a:pt x="141" y="312"/>
                </a:lnTo>
                <a:lnTo>
                  <a:pt x="144" y="312"/>
                </a:lnTo>
                <a:lnTo>
                  <a:pt x="144" y="316"/>
                </a:lnTo>
                <a:lnTo>
                  <a:pt x="147" y="319"/>
                </a:lnTo>
                <a:lnTo>
                  <a:pt x="153" y="322"/>
                </a:lnTo>
                <a:lnTo>
                  <a:pt x="157" y="325"/>
                </a:lnTo>
                <a:lnTo>
                  <a:pt x="157" y="328"/>
                </a:lnTo>
                <a:lnTo>
                  <a:pt x="160" y="328"/>
                </a:lnTo>
                <a:lnTo>
                  <a:pt x="163" y="331"/>
                </a:lnTo>
                <a:lnTo>
                  <a:pt x="166" y="331"/>
                </a:lnTo>
                <a:lnTo>
                  <a:pt x="169" y="331"/>
                </a:lnTo>
                <a:lnTo>
                  <a:pt x="175" y="337"/>
                </a:lnTo>
                <a:lnTo>
                  <a:pt x="182" y="337"/>
                </a:lnTo>
                <a:lnTo>
                  <a:pt x="185" y="337"/>
                </a:lnTo>
                <a:lnTo>
                  <a:pt x="188" y="341"/>
                </a:lnTo>
                <a:lnTo>
                  <a:pt x="188" y="341"/>
                </a:lnTo>
                <a:lnTo>
                  <a:pt x="194" y="347"/>
                </a:lnTo>
                <a:lnTo>
                  <a:pt x="197" y="347"/>
                </a:lnTo>
                <a:lnTo>
                  <a:pt x="200" y="353"/>
                </a:lnTo>
                <a:lnTo>
                  <a:pt x="203" y="353"/>
                </a:lnTo>
                <a:lnTo>
                  <a:pt x="203" y="356"/>
                </a:lnTo>
                <a:lnTo>
                  <a:pt x="203" y="356"/>
                </a:lnTo>
                <a:lnTo>
                  <a:pt x="203" y="359"/>
                </a:lnTo>
                <a:lnTo>
                  <a:pt x="210" y="362"/>
                </a:lnTo>
                <a:lnTo>
                  <a:pt x="213" y="362"/>
                </a:lnTo>
                <a:lnTo>
                  <a:pt x="219" y="369"/>
                </a:lnTo>
                <a:lnTo>
                  <a:pt x="222" y="372"/>
                </a:lnTo>
                <a:lnTo>
                  <a:pt x="225" y="375"/>
                </a:lnTo>
                <a:lnTo>
                  <a:pt x="228" y="375"/>
                </a:lnTo>
                <a:lnTo>
                  <a:pt x="232" y="372"/>
                </a:lnTo>
                <a:lnTo>
                  <a:pt x="238" y="369"/>
                </a:lnTo>
                <a:lnTo>
                  <a:pt x="238" y="369"/>
                </a:lnTo>
                <a:lnTo>
                  <a:pt x="244" y="369"/>
                </a:lnTo>
                <a:lnTo>
                  <a:pt x="244" y="366"/>
                </a:lnTo>
                <a:lnTo>
                  <a:pt x="241" y="362"/>
                </a:lnTo>
                <a:lnTo>
                  <a:pt x="241" y="356"/>
                </a:lnTo>
                <a:lnTo>
                  <a:pt x="244" y="353"/>
                </a:lnTo>
                <a:lnTo>
                  <a:pt x="247" y="356"/>
                </a:lnTo>
                <a:lnTo>
                  <a:pt x="247" y="353"/>
                </a:lnTo>
                <a:lnTo>
                  <a:pt x="244" y="353"/>
                </a:lnTo>
                <a:lnTo>
                  <a:pt x="241" y="350"/>
                </a:lnTo>
                <a:lnTo>
                  <a:pt x="244" y="344"/>
                </a:lnTo>
                <a:lnTo>
                  <a:pt x="250" y="341"/>
                </a:lnTo>
                <a:lnTo>
                  <a:pt x="253" y="334"/>
                </a:lnTo>
                <a:lnTo>
                  <a:pt x="253" y="331"/>
                </a:lnTo>
                <a:lnTo>
                  <a:pt x="247" y="319"/>
                </a:lnTo>
                <a:lnTo>
                  <a:pt x="250" y="316"/>
                </a:lnTo>
                <a:lnTo>
                  <a:pt x="250" y="309"/>
                </a:lnTo>
                <a:lnTo>
                  <a:pt x="250" y="306"/>
                </a:lnTo>
                <a:lnTo>
                  <a:pt x="247" y="303"/>
                </a:lnTo>
                <a:lnTo>
                  <a:pt x="250" y="300"/>
                </a:lnTo>
                <a:lnTo>
                  <a:pt x="250" y="294"/>
                </a:lnTo>
                <a:lnTo>
                  <a:pt x="250" y="281"/>
                </a:lnTo>
                <a:lnTo>
                  <a:pt x="250" y="275"/>
                </a:lnTo>
                <a:lnTo>
                  <a:pt x="250" y="269"/>
                </a:lnTo>
                <a:lnTo>
                  <a:pt x="250" y="256"/>
                </a:lnTo>
                <a:lnTo>
                  <a:pt x="253" y="250"/>
                </a:lnTo>
                <a:lnTo>
                  <a:pt x="253" y="247"/>
                </a:lnTo>
                <a:lnTo>
                  <a:pt x="238" y="222"/>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6" name="Freeform 194">
            <a:extLst>
              <a:ext uri="{FF2B5EF4-FFF2-40B4-BE49-F238E27FC236}">
                <a16:creationId xmlns:a16="http://schemas.microsoft.com/office/drawing/2014/main" id="{84F21FE4-DAC7-1475-3D86-0152371FB15B}"/>
              </a:ext>
            </a:extLst>
          </p:cNvPr>
          <p:cNvSpPr>
            <a:spLocks/>
          </p:cNvSpPr>
          <p:nvPr userDrawn="1"/>
        </p:nvSpPr>
        <p:spPr bwMode="auto">
          <a:xfrm>
            <a:off x="8892594" y="10003709"/>
            <a:ext cx="774652" cy="873126"/>
          </a:xfrm>
          <a:custGeom>
            <a:avLst/>
            <a:gdLst>
              <a:gd name="T0" fmla="*/ 234 w 244"/>
              <a:gd name="T1" fmla="*/ 203 h 275"/>
              <a:gd name="T2" fmla="*/ 231 w 244"/>
              <a:gd name="T3" fmla="*/ 156 h 275"/>
              <a:gd name="T4" fmla="*/ 222 w 244"/>
              <a:gd name="T5" fmla="*/ 131 h 275"/>
              <a:gd name="T6" fmla="*/ 181 w 244"/>
              <a:gd name="T7" fmla="*/ 109 h 275"/>
              <a:gd name="T8" fmla="*/ 181 w 244"/>
              <a:gd name="T9" fmla="*/ 90 h 275"/>
              <a:gd name="T10" fmla="*/ 159 w 244"/>
              <a:gd name="T11" fmla="*/ 81 h 275"/>
              <a:gd name="T12" fmla="*/ 150 w 244"/>
              <a:gd name="T13" fmla="*/ 71 h 275"/>
              <a:gd name="T14" fmla="*/ 134 w 244"/>
              <a:gd name="T15" fmla="*/ 68 h 275"/>
              <a:gd name="T16" fmla="*/ 115 w 244"/>
              <a:gd name="T17" fmla="*/ 56 h 275"/>
              <a:gd name="T18" fmla="*/ 100 w 244"/>
              <a:gd name="T19" fmla="*/ 56 h 275"/>
              <a:gd name="T20" fmla="*/ 87 w 244"/>
              <a:gd name="T21" fmla="*/ 43 h 275"/>
              <a:gd name="T22" fmla="*/ 81 w 244"/>
              <a:gd name="T23" fmla="*/ 28 h 275"/>
              <a:gd name="T24" fmla="*/ 81 w 244"/>
              <a:gd name="T25" fmla="*/ 9 h 275"/>
              <a:gd name="T26" fmla="*/ 75 w 244"/>
              <a:gd name="T27" fmla="*/ 3 h 275"/>
              <a:gd name="T28" fmla="*/ 59 w 244"/>
              <a:gd name="T29" fmla="*/ 3 h 275"/>
              <a:gd name="T30" fmla="*/ 40 w 244"/>
              <a:gd name="T31" fmla="*/ 21 h 275"/>
              <a:gd name="T32" fmla="*/ 25 w 244"/>
              <a:gd name="T33" fmla="*/ 25 h 275"/>
              <a:gd name="T34" fmla="*/ 12 w 244"/>
              <a:gd name="T35" fmla="*/ 28 h 275"/>
              <a:gd name="T36" fmla="*/ 15 w 244"/>
              <a:gd name="T37" fmla="*/ 56 h 275"/>
              <a:gd name="T38" fmla="*/ 12 w 244"/>
              <a:gd name="T39" fmla="*/ 81 h 275"/>
              <a:gd name="T40" fmla="*/ 12 w 244"/>
              <a:gd name="T41" fmla="*/ 106 h 275"/>
              <a:gd name="T42" fmla="*/ 12 w 244"/>
              <a:gd name="T43" fmla="*/ 115 h 275"/>
              <a:gd name="T44" fmla="*/ 15 w 244"/>
              <a:gd name="T45" fmla="*/ 137 h 275"/>
              <a:gd name="T46" fmla="*/ 6 w 244"/>
              <a:gd name="T47" fmla="*/ 150 h 275"/>
              <a:gd name="T48" fmla="*/ 9 w 244"/>
              <a:gd name="T49" fmla="*/ 159 h 275"/>
              <a:gd name="T50" fmla="*/ 9 w 244"/>
              <a:gd name="T51" fmla="*/ 165 h 275"/>
              <a:gd name="T52" fmla="*/ 15 w 244"/>
              <a:gd name="T53" fmla="*/ 175 h 275"/>
              <a:gd name="T54" fmla="*/ 19 w 244"/>
              <a:gd name="T55" fmla="*/ 187 h 275"/>
              <a:gd name="T56" fmla="*/ 31 w 244"/>
              <a:gd name="T57" fmla="*/ 203 h 275"/>
              <a:gd name="T58" fmla="*/ 25 w 244"/>
              <a:gd name="T59" fmla="*/ 222 h 275"/>
              <a:gd name="T60" fmla="*/ 53 w 244"/>
              <a:gd name="T61" fmla="*/ 275 h 275"/>
              <a:gd name="T62" fmla="*/ 62 w 244"/>
              <a:gd name="T63" fmla="*/ 272 h 275"/>
              <a:gd name="T64" fmla="*/ 69 w 244"/>
              <a:gd name="T65" fmla="*/ 262 h 275"/>
              <a:gd name="T66" fmla="*/ 84 w 244"/>
              <a:gd name="T67" fmla="*/ 256 h 275"/>
              <a:gd name="T68" fmla="*/ 100 w 244"/>
              <a:gd name="T69" fmla="*/ 256 h 275"/>
              <a:gd name="T70" fmla="*/ 109 w 244"/>
              <a:gd name="T71" fmla="*/ 259 h 275"/>
              <a:gd name="T72" fmla="*/ 115 w 244"/>
              <a:gd name="T73" fmla="*/ 269 h 275"/>
              <a:gd name="T74" fmla="*/ 119 w 244"/>
              <a:gd name="T75" fmla="*/ 256 h 275"/>
              <a:gd name="T76" fmla="*/ 144 w 244"/>
              <a:gd name="T77" fmla="*/ 253 h 275"/>
              <a:gd name="T78" fmla="*/ 153 w 244"/>
              <a:gd name="T79" fmla="*/ 240 h 275"/>
              <a:gd name="T80" fmla="*/ 150 w 244"/>
              <a:gd name="T81" fmla="*/ 225 h 275"/>
              <a:gd name="T82" fmla="*/ 159 w 244"/>
              <a:gd name="T83" fmla="*/ 206 h 275"/>
              <a:gd name="T84" fmla="*/ 212 w 244"/>
              <a:gd name="T85" fmla="*/ 197 h 275"/>
              <a:gd name="T86" fmla="*/ 231 w 244"/>
              <a:gd name="T87" fmla="*/ 20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4" h="275">
                <a:moveTo>
                  <a:pt x="231" y="209"/>
                </a:moveTo>
                <a:lnTo>
                  <a:pt x="234" y="203"/>
                </a:lnTo>
                <a:lnTo>
                  <a:pt x="234" y="203"/>
                </a:lnTo>
                <a:lnTo>
                  <a:pt x="244" y="181"/>
                </a:lnTo>
                <a:lnTo>
                  <a:pt x="244" y="172"/>
                </a:lnTo>
                <a:lnTo>
                  <a:pt x="231" y="156"/>
                </a:lnTo>
                <a:lnTo>
                  <a:pt x="222" y="153"/>
                </a:lnTo>
                <a:lnTo>
                  <a:pt x="222" y="143"/>
                </a:lnTo>
                <a:lnTo>
                  <a:pt x="222" y="131"/>
                </a:lnTo>
                <a:lnTo>
                  <a:pt x="187" y="131"/>
                </a:lnTo>
                <a:lnTo>
                  <a:pt x="187" y="122"/>
                </a:lnTo>
                <a:lnTo>
                  <a:pt x="181" y="109"/>
                </a:lnTo>
                <a:lnTo>
                  <a:pt x="181" y="106"/>
                </a:lnTo>
                <a:lnTo>
                  <a:pt x="181" y="96"/>
                </a:lnTo>
                <a:lnTo>
                  <a:pt x="181" y="90"/>
                </a:lnTo>
                <a:lnTo>
                  <a:pt x="181" y="84"/>
                </a:lnTo>
                <a:lnTo>
                  <a:pt x="172" y="81"/>
                </a:lnTo>
                <a:lnTo>
                  <a:pt x="159" y="81"/>
                </a:lnTo>
                <a:lnTo>
                  <a:pt x="156" y="78"/>
                </a:lnTo>
                <a:lnTo>
                  <a:pt x="153" y="78"/>
                </a:lnTo>
                <a:lnTo>
                  <a:pt x="150" y="71"/>
                </a:lnTo>
                <a:lnTo>
                  <a:pt x="144" y="71"/>
                </a:lnTo>
                <a:lnTo>
                  <a:pt x="137" y="68"/>
                </a:lnTo>
                <a:lnTo>
                  <a:pt x="134" y="68"/>
                </a:lnTo>
                <a:lnTo>
                  <a:pt x="125" y="59"/>
                </a:lnTo>
                <a:lnTo>
                  <a:pt x="122" y="62"/>
                </a:lnTo>
                <a:lnTo>
                  <a:pt x="115" y="56"/>
                </a:lnTo>
                <a:lnTo>
                  <a:pt x="106" y="56"/>
                </a:lnTo>
                <a:lnTo>
                  <a:pt x="106" y="59"/>
                </a:lnTo>
                <a:lnTo>
                  <a:pt x="100" y="56"/>
                </a:lnTo>
                <a:lnTo>
                  <a:pt x="94" y="50"/>
                </a:lnTo>
                <a:lnTo>
                  <a:pt x="90" y="50"/>
                </a:lnTo>
                <a:lnTo>
                  <a:pt x="87" y="43"/>
                </a:lnTo>
                <a:lnTo>
                  <a:pt x="84" y="40"/>
                </a:lnTo>
                <a:lnTo>
                  <a:pt x="81" y="34"/>
                </a:lnTo>
                <a:lnTo>
                  <a:pt x="81" y="28"/>
                </a:lnTo>
                <a:lnTo>
                  <a:pt x="78" y="21"/>
                </a:lnTo>
                <a:lnTo>
                  <a:pt x="81" y="15"/>
                </a:lnTo>
                <a:lnTo>
                  <a:pt x="81" y="9"/>
                </a:lnTo>
                <a:lnTo>
                  <a:pt x="81" y="3"/>
                </a:lnTo>
                <a:lnTo>
                  <a:pt x="78" y="0"/>
                </a:lnTo>
                <a:lnTo>
                  <a:pt x="75" y="3"/>
                </a:lnTo>
                <a:lnTo>
                  <a:pt x="69" y="0"/>
                </a:lnTo>
                <a:lnTo>
                  <a:pt x="65" y="0"/>
                </a:lnTo>
                <a:lnTo>
                  <a:pt x="59" y="3"/>
                </a:lnTo>
                <a:lnTo>
                  <a:pt x="53" y="6"/>
                </a:lnTo>
                <a:lnTo>
                  <a:pt x="44" y="12"/>
                </a:lnTo>
                <a:lnTo>
                  <a:pt x="40" y="21"/>
                </a:lnTo>
                <a:lnTo>
                  <a:pt x="34" y="21"/>
                </a:lnTo>
                <a:lnTo>
                  <a:pt x="31" y="21"/>
                </a:lnTo>
                <a:lnTo>
                  <a:pt x="25" y="25"/>
                </a:lnTo>
                <a:lnTo>
                  <a:pt x="22" y="25"/>
                </a:lnTo>
                <a:lnTo>
                  <a:pt x="15" y="28"/>
                </a:lnTo>
                <a:lnTo>
                  <a:pt x="12" y="28"/>
                </a:lnTo>
                <a:lnTo>
                  <a:pt x="0" y="28"/>
                </a:lnTo>
                <a:lnTo>
                  <a:pt x="15" y="53"/>
                </a:lnTo>
                <a:lnTo>
                  <a:pt x="15" y="56"/>
                </a:lnTo>
                <a:lnTo>
                  <a:pt x="12" y="62"/>
                </a:lnTo>
                <a:lnTo>
                  <a:pt x="12" y="75"/>
                </a:lnTo>
                <a:lnTo>
                  <a:pt x="12" y="81"/>
                </a:lnTo>
                <a:lnTo>
                  <a:pt x="12" y="87"/>
                </a:lnTo>
                <a:lnTo>
                  <a:pt x="12" y="100"/>
                </a:lnTo>
                <a:lnTo>
                  <a:pt x="12" y="106"/>
                </a:lnTo>
                <a:lnTo>
                  <a:pt x="9" y="109"/>
                </a:lnTo>
                <a:lnTo>
                  <a:pt x="12" y="112"/>
                </a:lnTo>
                <a:lnTo>
                  <a:pt x="12" y="115"/>
                </a:lnTo>
                <a:lnTo>
                  <a:pt x="12" y="122"/>
                </a:lnTo>
                <a:lnTo>
                  <a:pt x="9" y="125"/>
                </a:lnTo>
                <a:lnTo>
                  <a:pt x="15" y="137"/>
                </a:lnTo>
                <a:lnTo>
                  <a:pt x="15" y="140"/>
                </a:lnTo>
                <a:lnTo>
                  <a:pt x="12" y="147"/>
                </a:lnTo>
                <a:lnTo>
                  <a:pt x="6" y="150"/>
                </a:lnTo>
                <a:lnTo>
                  <a:pt x="3" y="156"/>
                </a:lnTo>
                <a:lnTo>
                  <a:pt x="6" y="159"/>
                </a:lnTo>
                <a:lnTo>
                  <a:pt x="9" y="159"/>
                </a:lnTo>
                <a:lnTo>
                  <a:pt x="9" y="162"/>
                </a:lnTo>
                <a:lnTo>
                  <a:pt x="9" y="162"/>
                </a:lnTo>
                <a:lnTo>
                  <a:pt x="9" y="165"/>
                </a:lnTo>
                <a:lnTo>
                  <a:pt x="15" y="168"/>
                </a:lnTo>
                <a:lnTo>
                  <a:pt x="15" y="172"/>
                </a:lnTo>
                <a:lnTo>
                  <a:pt x="15" y="175"/>
                </a:lnTo>
                <a:lnTo>
                  <a:pt x="15" y="178"/>
                </a:lnTo>
                <a:lnTo>
                  <a:pt x="15" y="181"/>
                </a:lnTo>
                <a:lnTo>
                  <a:pt x="19" y="187"/>
                </a:lnTo>
                <a:lnTo>
                  <a:pt x="22" y="193"/>
                </a:lnTo>
                <a:lnTo>
                  <a:pt x="31" y="200"/>
                </a:lnTo>
                <a:lnTo>
                  <a:pt x="31" y="203"/>
                </a:lnTo>
                <a:lnTo>
                  <a:pt x="28" y="209"/>
                </a:lnTo>
                <a:lnTo>
                  <a:pt x="31" y="212"/>
                </a:lnTo>
                <a:lnTo>
                  <a:pt x="25" y="222"/>
                </a:lnTo>
                <a:lnTo>
                  <a:pt x="28" y="228"/>
                </a:lnTo>
                <a:lnTo>
                  <a:pt x="37" y="237"/>
                </a:lnTo>
                <a:lnTo>
                  <a:pt x="53" y="275"/>
                </a:lnTo>
                <a:lnTo>
                  <a:pt x="56" y="275"/>
                </a:lnTo>
                <a:lnTo>
                  <a:pt x="59" y="272"/>
                </a:lnTo>
                <a:lnTo>
                  <a:pt x="62" y="272"/>
                </a:lnTo>
                <a:lnTo>
                  <a:pt x="62" y="272"/>
                </a:lnTo>
                <a:lnTo>
                  <a:pt x="65" y="269"/>
                </a:lnTo>
                <a:lnTo>
                  <a:pt x="69" y="262"/>
                </a:lnTo>
                <a:lnTo>
                  <a:pt x="75" y="253"/>
                </a:lnTo>
                <a:lnTo>
                  <a:pt x="81" y="253"/>
                </a:lnTo>
                <a:lnTo>
                  <a:pt x="84" y="256"/>
                </a:lnTo>
                <a:lnTo>
                  <a:pt x="90" y="256"/>
                </a:lnTo>
                <a:lnTo>
                  <a:pt x="94" y="256"/>
                </a:lnTo>
                <a:lnTo>
                  <a:pt x="100" y="256"/>
                </a:lnTo>
                <a:lnTo>
                  <a:pt x="106" y="253"/>
                </a:lnTo>
                <a:lnTo>
                  <a:pt x="109" y="256"/>
                </a:lnTo>
                <a:lnTo>
                  <a:pt x="109" y="259"/>
                </a:lnTo>
                <a:lnTo>
                  <a:pt x="112" y="269"/>
                </a:lnTo>
                <a:lnTo>
                  <a:pt x="115" y="272"/>
                </a:lnTo>
                <a:lnTo>
                  <a:pt x="115" y="269"/>
                </a:lnTo>
                <a:lnTo>
                  <a:pt x="115" y="265"/>
                </a:lnTo>
                <a:lnTo>
                  <a:pt x="119" y="262"/>
                </a:lnTo>
                <a:lnTo>
                  <a:pt x="119" y="256"/>
                </a:lnTo>
                <a:lnTo>
                  <a:pt x="122" y="253"/>
                </a:lnTo>
                <a:lnTo>
                  <a:pt x="131" y="253"/>
                </a:lnTo>
                <a:lnTo>
                  <a:pt x="144" y="253"/>
                </a:lnTo>
                <a:lnTo>
                  <a:pt x="147" y="256"/>
                </a:lnTo>
                <a:lnTo>
                  <a:pt x="147" y="250"/>
                </a:lnTo>
                <a:lnTo>
                  <a:pt x="153" y="240"/>
                </a:lnTo>
                <a:lnTo>
                  <a:pt x="153" y="234"/>
                </a:lnTo>
                <a:lnTo>
                  <a:pt x="153" y="228"/>
                </a:lnTo>
                <a:lnTo>
                  <a:pt x="150" y="225"/>
                </a:lnTo>
                <a:lnTo>
                  <a:pt x="156" y="215"/>
                </a:lnTo>
                <a:lnTo>
                  <a:pt x="159" y="209"/>
                </a:lnTo>
                <a:lnTo>
                  <a:pt x="159" y="206"/>
                </a:lnTo>
                <a:lnTo>
                  <a:pt x="165" y="203"/>
                </a:lnTo>
                <a:lnTo>
                  <a:pt x="190" y="197"/>
                </a:lnTo>
                <a:lnTo>
                  <a:pt x="212" y="197"/>
                </a:lnTo>
                <a:lnTo>
                  <a:pt x="225" y="206"/>
                </a:lnTo>
                <a:lnTo>
                  <a:pt x="228" y="206"/>
                </a:lnTo>
                <a:lnTo>
                  <a:pt x="231" y="20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7" name="Freeform 195">
            <a:extLst>
              <a:ext uri="{FF2B5EF4-FFF2-40B4-BE49-F238E27FC236}">
                <a16:creationId xmlns:a16="http://schemas.microsoft.com/office/drawing/2014/main" id="{A76EBC4B-BCBC-7308-665D-33E1342228B7}"/>
              </a:ext>
            </a:extLst>
          </p:cNvPr>
          <p:cNvSpPr>
            <a:spLocks/>
          </p:cNvSpPr>
          <p:nvPr userDrawn="1"/>
        </p:nvSpPr>
        <p:spPr bwMode="auto">
          <a:xfrm>
            <a:off x="9359287" y="10629183"/>
            <a:ext cx="536541" cy="555626"/>
          </a:xfrm>
          <a:custGeom>
            <a:avLst/>
            <a:gdLst>
              <a:gd name="T0" fmla="*/ 0 w 169"/>
              <a:gd name="T1" fmla="*/ 53 h 175"/>
              <a:gd name="T2" fmla="*/ 6 w 169"/>
              <a:gd name="T3" fmla="*/ 37 h 175"/>
              <a:gd name="T4" fmla="*/ 3 w 169"/>
              <a:gd name="T5" fmla="*/ 28 h 175"/>
              <a:gd name="T6" fmla="*/ 12 w 169"/>
              <a:gd name="T7" fmla="*/ 12 h 175"/>
              <a:gd name="T8" fmla="*/ 18 w 169"/>
              <a:gd name="T9" fmla="*/ 6 h 175"/>
              <a:gd name="T10" fmla="*/ 65 w 169"/>
              <a:gd name="T11" fmla="*/ 0 h 175"/>
              <a:gd name="T12" fmla="*/ 81 w 169"/>
              <a:gd name="T13" fmla="*/ 9 h 175"/>
              <a:gd name="T14" fmla="*/ 84 w 169"/>
              <a:gd name="T15" fmla="*/ 18 h 175"/>
              <a:gd name="T16" fmla="*/ 90 w 169"/>
              <a:gd name="T17" fmla="*/ 28 h 175"/>
              <a:gd name="T18" fmla="*/ 94 w 169"/>
              <a:gd name="T19" fmla="*/ 43 h 175"/>
              <a:gd name="T20" fmla="*/ 94 w 169"/>
              <a:gd name="T21" fmla="*/ 53 h 175"/>
              <a:gd name="T22" fmla="*/ 100 w 169"/>
              <a:gd name="T23" fmla="*/ 59 h 175"/>
              <a:gd name="T24" fmla="*/ 112 w 169"/>
              <a:gd name="T25" fmla="*/ 59 h 175"/>
              <a:gd name="T26" fmla="*/ 128 w 169"/>
              <a:gd name="T27" fmla="*/ 56 h 175"/>
              <a:gd name="T28" fmla="*/ 137 w 169"/>
              <a:gd name="T29" fmla="*/ 62 h 175"/>
              <a:gd name="T30" fmla="*/ 144 w 169"/>
              <a:gd name="T31" fmla="*/ 87 h 175"/>
              <a:gd name="T32" fmla="*/ 150 w 169"/>
              <a:gd name="T33" fmla="*/ 97 h 175"/>
              <a:gd name="T34" fmla="*/ 162 w 169"/>
              <a:gd name="T35" fmla="*/ 93 h 175"/>
              <a:gd name="T36" fmla="*/ 169 w 169"/>
              <a:gd name="T37" fmla="*/ 97 h 175"/>
              <a:gd name="T38" fmla="*/ 165 w 169"/>
              <a:gd name="T39" fmla="*/ 118 h 175"/>
              <a:gd name="T40" fmla="*/ 162 w 169"/>
              <a:gd name="T41" fmla="*/ 122 h 175"/>
              <a:gd name="T42" fmla="*/ 162 w 169"/>
              <a:gd name="T43" fmla="*/ 125 h 175"/>
              <a:gd name="T44" fmla="*/ 162 w 169"/>
              <a:gd name="T45" fmla="*/ 128 h 175"/>
              <a:gd name="T46" fmla="*/ 162 w 169"/>
              <a:gd name="T47" fmla="*/ 137 h 175"/>
              <a:gd name="T48" fmla="*/ 159 w 169"/>
              <a:gd name="T49" fmla="*/ 147 h 175"/>
              <a:gd name="T50" fmla="*/ 153 w 169"/>
              <a:gd name="T51" fmla="*/ 156 h 175"/>
              <a:gd name="T52" fmla="*/ 144 w 169"/>
              <a:gd name="T53" fmla="*/ 165 h 175"/>
              <a:gd name="T54" fmla="*/ 137 w 169"/>
              <a:gd name="T55" fmla="*/ 169 h 175"/>
              <a:gd name="T56" fmla="*/ 131 w 169"/>
              <a:gd name="T57" fmla="*/ 175 h 175"/>
              <a:gd name="T58" fmla="*/ 125 w 169"/>
              <a:gd name="T59" fmla="*/ 175 h 175"/>
              <a:gd name="T60" fmla="*/ 112 w 169"/>
              <a:gd name="T61" fmla="*/ 172 h 175"/>
              <a:gd name="T62" fmla="*/ 87 w 169"/>
              <a:gd name="T63" fmla="*/ 169 h 175"/>
              <a:gd name="T64" fmla="*/ 84 w 169"/>
              <a:gd name="T65" fmla="*/ 165 h 175"/>
              <a:gd name="T66" fmla="*/ 94 w 169"/>
              <a:gd name="T67" fmla="*/ 150 h 175"/>
              <a:gd name="T68" fmla="*/ 94 w 169"/>
              <a:gd name="T69" fmla="*/ 144 h 175"/>
              <a:gd name="T70" fmla="*/ 103 w 169"/>
              <a:gd name="T71" fmla="*/ 137 h 175"/>
              <a:gd name="T72" fmla="*/ 100 w 169"/>
              <a:gd name="T73" fmla="*/ 128 h 175"/>
              <a:gd name="T74" fmla="*/ 90 w 169"/>
              <a:gd name="T75" fmla="*/ 118 h 175"/>
              <a:gd name="T76" fmla="*/ 68 w 169"/>
              <a:gd name="T77" fmla="*/ 112 h 175"/>
              <a:gd name="T78" fmla="*/ 56 w 169"/>
              <a:gd name="T79" fmla="*/ 103 h 175"/>
              <a:gd name="T80" fmla="*/ 37 w 169"/>
              <a:gd name="T81" fmla="*/ 97 h 175"/>
              <a:gd name="T82" fmla="*/ 31 w 169"/>
              <a:gd name="T83" fmla="*/ 87 h 175"/>
              <a:gd name="T84" fmla="*/ 12 w 169"/>
              <a:gd name="T85" fmla="*/ 75 h 175"/>
              <a:gd name="T86" fmla="*/ 3 w 169"/>
              <a:gd name="T87" fmla="*/ 65 h 175"/>
              <a:gd name="T88" fmla="*/ 0 w 169"/>
              <a:gd name="T89" fmla="*/ 5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9" h="175">
                <a:moveTo>
                  <a:pt x="0" y="59"/>
                </a:moveTo>
                <a:lnTo>
                  <a:pt x="0" y="53"/>
                </a:lnTo>
                <a:lnTo>
                  <a:pt x="6" y="43"/>
                </a:lnTo>
                <a:lnTo>
                  <a:pt x="6" y="37"/>
                </a:lnTo>
                <a:lnTo>
                  <a:pt x="6" y="31"/>
                </a:lnTo>
                <a:lnTo>
                  <a:pt x="3" y="28"/>
                </a:lnTo>
                <a:lnTo>
                  <a:pt x="9" y="18"/>
                </a:lnTo>
                <a:lnTo>
                  <a:pt x="12" y="12"/>
                </a:lnTo>
                <a:lnTo>
                  <a:pt x="12" y="9"/>
                </a:lnTo>
                <a:lnTo>
                  <a:pt x="18" y="6"/>
                </a:lnTo>
                <a:lnTo>
                  <a:pt x="43" y="0"/>
                </a:lnTo>
                <a:lnTo>
                  <a:pt x="65" y="0"/>
                </a:lnTo>
                <a:lnTo>
                  <a:pt x="78" y="9"/>
                </a:lnTo>
                <a:lnTo>
                  <a:pt x="81" y="9"/>
                </a:lnTo>
                <a:lnTo>
                  <a:pt x="87" y="12"/>
                </a:lnTo>
                <a:lnTo>
                  <a:pt x="84" y="18"/>
                </a:lnTo>
                <a:lnTo>
                  <a:pt x="90" y="21"/>
                </a:lnTo>
                <a:lnTo>
                  <a:pt x="90" y="28"/>
                </a:lnTo>
                <a:lnTo>
                  <a:pt x="94" y="34"/>
                </a:lnTo>
                <a:lnTo>
                  <a:pt x="94" y="43"/>
                </a:lnTo>
                <a:lnTo>
                  <a:pt x="94" y="50"/>
                </a:lnTo>
                <a:lnTo>
                  <a:pt x="94" y="53"/>
                </a:lnTo>
                <a:lnTo>
                  <a:pt x="94" y="59"/>
                </a:lnTo>
                <a:lnTo>
                  <a:pt x="100" y="59"/>
                </a:lnTo>
                <a:lnTo>
                  <a:pt x="103" y="59"/>
                </a:lnTo>
                <a:lnTo>
                  <a:pt x="112" y="59"/>
                </a:lnTo>
                <a:lnTo>
                  <a:pt x="119" y="59"/>
                </a:lnTo>
                <a:lnTo>
                  <a:pt x="128" y="56"/>
                </a:lnTo>
                <a:lnTo>
                  <a:pt x="134" y="59"/>
                </a:lnTo>
                <a:lnTo>
                  <a:pt x="137" y="62"/>
                </a:lnTo>
                <a:lnTo>
                  <a:pt x="137" y="65"/>
                </a:lnTo>
                <a:lnTo>
                  <a:pt x="144" y="87"/>
                </a:lnTo>
                <a:lnTo>
                  <a:pt x="147" y="93"/>
                </a:lnTo>
                <a:lnTo>
                  <a:pt x="150" y="97"/>
                </a:lnTo>
                <a:lnTo>
                  <a:pt x="156" y="90"/>
                </a:lnTo>
                <a:lnTo>
                  <a:pt x="162" y="93"/>
                </a:lnTo>
                <a:lnTo>
                  <a:pt x="165" y="97"/>
                </a:lnTo>
                <a:lnTo>
                  <a:pt x="169" y="97"/>
                </a:lnTo>
                <a:lnTo>
                  <a:pt x="165" y="100"/>
                </a:lnTo>
                <a:lnTo>
                  <a:pt x="165" y="118"/>
                </a:lnTo>
                <a:lnTo>
                  <a:pt x="165" y="122"/>
                </a:lnTo>
                <a:lnTo>
                  <a:pt x="162" y="122"/>
                </a:lnTo>
                <a:lnTo>
                  <a:pt x="162" y="125"/>
                </a:lnTo>
                <a:lnTo>
                  <a:pt x="162" y="125"/>
                </a:lnTo>
                <a:lnTo>
                  <a:pt x="162" y="128"/>
                </a:lnTo>
                <a:lnTo>
                  <a:pt x="162" y="128"/>
                </a:lnTo>
                <a:lnTo>
                  <a:pt x="162" y="134"/>
                </a:lnTo>
                <a:lnTo>
                  <a:pt x="162" y="137"/>
                </a:lnTo>
                <a:lnTo>
                  <a:pt x="162" y="144"/>
                </a:lnTo>
                <a:lnTo>
                  <a:pt x="159" y="147"/>
                </a:lnTo>
                <a:lnTo>
                  <a:pt x="156" y="150"/>
                </a:lnTo>
                <a:lnTo>
                  <a:pt x="153" y="156"/>
                </a:lnTo>
                <a:lnTo>
                  <a:pt x="147" y="162"/>
                </a:lnTo>
                <a:lnTo>
                  <a:pt x="144" y="165"/>
                </a:lnTo>
                <a:lnTo>
                  <a:pt x="140" y="172"/>
                </a:lnTo>
                <a:lnTo>
                  <a:pt x="137" y="169"/>
                </a:lnTo>
                <a:lnTo>
                  <a:pt x="134" y="172"/>
                </a:lnTo>
                <a:lnTo>
                  <a:pt x="131" y="175"/>
                </a:lnTo>
                <a:lnTo>
                  <a:pt x="128" y="175"/>
                </a:lnTo>
                <a:lnTo>
                  <a:pt x="125" y="175"/>
                </a:lnTo>
                <a:lnTo>
                  <a:pt x="122" y="175"/>
                </a:lnTo>
                <a:lnTo>
                  <a:pt x="112" y="172"/>
                </a:lnTo>
                <a:lnTo>
                  <a:pt x="103" y="169"/>
                </a:lnTo>
                <a:lnTo>
                  <a:pt x="87" y="169"/>
                </a:lnTo>
                <a:lnTo>
                  <a:pt x="84" y="169"/>
                </a:lnTo>
                <a:lnTo>
                  <a:pt x="84" y="165"/>
                </a:lnTo>
                <a:lnTo>
                  <a:pt x="90" y="159"/>
                </a:lnTo>
                <a:lnTo>
                  <a:pt x="94" y="150"/>
                </a:lnTo>
                <a:lnTo>
                  <a:pt x="94" y="147"/>
                </a:lnTo>
                <a:lnTo>
                  <a:pt x="94" y="144"/>
                </a:lnTo>
                <a:lnTo>
                  <a:pt x="100" y="140"/>
                </a:lnTo>
                <a:lnTo>
                  <a:pt x="103" y="137"/>
                </a:lnTo>
                <a:lnTo>
                  <a:pt x="103" y="131"/>
                </a:lnTo>
                <a:lnTo>
                  <a:pt x="100" y="128"/>
                </a:lnTo>
                <a:lnTo>
                  <a:pt x="94" y="122"/>
                </a:lnTo>
                <a:lnTo>
                  <a:pt x="90" y="118"/>
                </a:lnTo>
                <a:lnTo>
                  <a:pt x="78" y="115"/>
                </a:lnTo>
                <a:lnTo>
                  <a:pt x="68" y="112"/>
                </a:lnTo>
                <a:lnTo>
                  <a:pt x="62" y="103"/>
                </a:lnTo>
                <a:lnTo>
                  <a:pt x="56" y="103"/>
                </a:lnTo>
                <a:lnTo>
                  <a:pt x="50" y="100"/>
                </a:lnTo>
                <a:lnTo>
                  <a:pt x="37" y="97"/>
                </a:lnTo>
                <a:lnTo>
                  <a:pt x="34" y="90"/>
                </a:lnTo>
                <a:lnTo>
                  <a:pt x="31" y="87"/>
                </a:lnTo>
                <a:lnTo>
                  <a:pt x="25" y="87"/>
                </a:lnTo>
                <a:lnTo>
                  <a:pt x="12" y="75"/>
                </a:lnTo>
                <a:lnTo>
                  <a:pt x="9" y="65"/>
                </a:lnTo>
                <a:lnTo>
                  <a:pt x="3" y="65"/>
                </a:lnTo>
                <a:lnTo>
                  <a:pt x="0" y="59"/>
                </a:lnTo>
                <a:lnTo>
                  <a:pt x="0" y="5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8" name="Freeform 196">
            <a:extLst>
              <a:ext uri="{FF2B5EF4-FFF2-40B4-BE49-F238E27FC236}">
                <a16:creationId xmlns:a16="http://schemas.microsoft.com/office/drawing/2014/main" id="{12129FFC-58A1-ECA0-2D14-422B63CA42CA}"/>
              </a:ext>
            </a:extLst>
          </p:cNvPr>
          <p:cNvSpPr>
            <a:spLocks/>
          </p:cNvSpPr>
          <p:nvPr userDrawn="1"/>
        </p:nvSpPr>
        <p:spPr bwMode="auto">
          <a:xfrm>
            <a:off x="9686293" y="11353080"/>
            <a:ext cx="317481" cy="358776"/>
          </a:xfrm>
          <a:custGeom>
            <a:avLst/>
            <a:gdLst>
              <a:gd name="T0" fmla="*/ 12 w 100"/>
              <a:gd name="T1" fmla="*/ 3 h 113"/>
              <a:gd name="T2" fmla="*/ 25 w 100"/>
              <a:gd name="T3" fmla="*/ 0 h 113"/>
              <a:gd name="T4" fmla="*/ 34 w 100"/>
              <a:gd name="T5" fmla="*/ 9 h 113"/>
              <a:gd name="T6" fmla="*/ 41 w 100"/>
              <a:gd name="T7" fmla="*/ 16 h 113"/>
              <a:gd name="T8" fmla="*/ 47 w 100"/>
              <a:gd name="T9" fmla="*/ 25 h 113"/>
              <a:gd name="T10" fmla="*/ 53 w 100"/>
              <a:gd name="T11" fmla="*/ 19 h 113"/>
              <a:gd name="T12" fmla="*/ 62 w 100"/>
              <a:gd name="T13" fmla="*/ 28 h 113"/>
              <a:gd name="T14" fmla="*/ 72 w 100"/>
              <a:gd name="T15" fmla="*/ 34 h 113"/>
              <a:gd name="T16" fmla="*/ 75 w 100"/>
              <a:gd name="T17" fmla="*/ 41 h 113"/>
              <a:gd name="T18" fmla="*/ 87 w 100"/>
              <a:gd name="T19" fmla="*/ 50 h 113"/>
              <a:gd name="T20" fmla="*/ 97 w 100"/>
              <a:gd name="T21" fmla="*/ 59 h 113"/>
              <a:gd name="T22" fmla="*/ 94 w 100"/>
              <a:gd name="T23" fmla="*/ 69 h 113"/>
              <a:gd name="T24" fmla="*/ 94 w 100"/>
              <a:gd name="T25" fmla="*/ 78 h 113"/>
              <a:gd name="T26" fmla="*/ 97 w 100"/>
              <a:gd name="T27" fmla="*/ 81 h 113"/>
              <a:gd name="T28" fmla="*/ 97 w 100"/>
              <a:gd name="T29" fmla="*/ 84 h 113"/>
              <a:gd name="T30" fmla="*/ 94 w 100"/>
              <a:gd name="T31" fmla="*/ 94 h 113"/>
              <a:gd name="T32" fmla="*/ 87 w 100"/>
              <a:gd name="T33" fmla="*/ 100 h 113"/>
              <a:gd name="T34" fmla="*/ 87 w 100"/>
              <a:gd name="T35" fmla="*/ 103 h 113"/>
              <a:gd name="T36" fmla="*/ 75 w 100"/>
              <a:gd name="T37" fmla="*/ 109 h 113"/>
              <a:gd name="T38" fmla="*/ 72 w 100"/>
              <a:gd name="T39" fmla="*/ 109 h 113"/>
              <a:gd name="T40" fmla="*/ 72 w 100"/>
              <a:gd name="T41" fmla="*/ 113 h 113"/>
              <a:gd name="T42" fmla="*/ 66 w 100"/>
              <a:gd name="T43" fmla="*/ 113 h 113"/>
              <a:gd name="T44" fmla="*/ 59 w 100"/>
              <a:gd name="T45" fmla="*/ 109 h 113"/>
              <a:gd name="T46" fmla="*/ 50 w 100"/>
              <a:gd name="T47" fmla="*/ 109 h 113"/>
              <a:gd name="T48" fmla="*/ 44 w 100"/>
              <a:gd name="T49" fmla="*/ 113 h 113"/>
              <a:gd name="T50" fmla="*/ 44 w 100"/>
              <a:gd name="T51" fmla="*/ 109 h 113"/>
              <a:gd name="T52" fmla="*/ 41 w 100"/>
              <a:gd name="T53" fmla="*/ 109 h 113"/>
              <a:gd name="T54" fmla="*/ 31 w 100"/>
              <a:gd name="T55" fmla="*/ 103 h 113"/>
              <a:gd name="T56" fmla="*/ 19 w 100"/>
              <a:gd name="T57" fmla="*/ 103 h 113"/>
              <a:gd name="T58" fmla="*/ 9 w 100"/>
              <a:gd name="T59" fmla="*/ 100 h 113"/>
              <a:gd name="T60" fmla="*/ 3 w 100"/>
              <a:gd name="T61" fmla="*/ 91 h 113"/>
              <a:gd name="T62" fmla="*/ 0 w 100"/>
              <a:gd name="T63" fmla="*/ 75 h 113"/>
              <a:gd name="T64" fmla="*/ 0 w 100"/>
              <a:gd name="T65" fmla="*/ 72 h 113"/>
              <a:gd name="T66" fmla="*/ 3 w 100"/>
              <a:gd name="T67" fmla="*/ 66 h 113"/>
              <a:gd name="T68" fmla="*/ 0 w 100"/>
              <a:gd name="T69" fmla="*/ 53 h 113"/>
              <a:gd name="T70" fmla="*/ 0 w 100"/>
              <a:gd name="T71" fmla="*/ 44 h 113"/>
              <a:gd name="T72" fmla="*/ 3 w 100"/>
              <a:gd name="T73" fmla="*/ 38 h 113"/>
              <a:gd name="T74" fmla="*/ 3 w 100"/>
              <a:gd name="T75" fmla="*/ 25 h 113"/>
              <a:gd name="T76" fmla="*/ 6 w 100"/>
              <a:gd name="T77" fmla="*/ 19 h 113"/>
              <a:gd name="T78" fmla="*/ 6 w 100"/>
              <a:gd name="T79" fmla="*/ 6 h 113"/>
              <a:gd name="T80" fmla="*/ 9 w 100"/>
              <a:gd name="T81" fmla="*/ 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113">
                <a:moveTo>
                  <a:pt x="9" y="3"/>
                </a:moveTo>
                <a:lnTo>
                  <a:pt x="12" y="3"/>
                </a:lnTo>
                <a:lnTo>
                  <a:pt x="16" y="3"/>
                </a:lnTo>
                <a:lnTo>
                  <a:pt x="25" y="0"/>
                </a:lnTo>
                <a:lnTo>
                  <a:pt x="28" y="3"/>
                </a:lnTo>
                <a:lnTo>
                  <a:pt x="34" y="9"/>
                </a:lnTo>
                <a:lnTo>
                  <a:pt x="37" y="9"/>
                </a:lnTo>
                <a:lnTo>
                  <a:pt x="41" y="16"/>
                </a:lnTo>
                <a:lnTo>
                  <a:pt x="44" y="25"/>
                </a:lnTo>
                <a:lnTo>
                  <a:pt x="47" y="25"/>
                </a:lnTo>
                <a:lnTo>
                  <a:pt x="50" y="19"/>
                </a:lnTo>
                <a:lnTo>
                  <a:pt x="53" y="19"/>
                </a:lnTo>
                <a:lnTo>
                  <a:pt x="56" y="28"/>
                </a:lnTo>
                <a:lnTo>
                  <a:pt x="62" y="28"/>
                </a:lnTo>
                <a:lnTo>
                  <a:pt x="66" y="31"/>
                </a:lnTo>
                <a:lnTo>
                  <a:pt x="72" y="34"/>
                </a:lnTo>
                <a:lnTo>
                  <a:pt x="72" y="41"/>
                </a:lnTo>
                <a:lnTo>
                  <a:pt x="75" y="41"/>
                </a:lnTo>
                <a:lnTo>
                  <a:pt x="84" y="44"/>
                </a:lnTo>
                <a:lnTo>
                  <a:pt x="87" y="50"/>
                </a:lnTo>
                <a:lnTo>
                  <a:pt x="94" y="56"/>
                </a:lnTo>
                <a:lnTo>
                  <a:pt x="97" y="59"/>
                </a:lnTo>
                <a:lnTo>
                  <a:pt x="97" y="66"/>
                </a:lnTo>
                <a:lnTo>
                  <a:pt x="94" y="69"/>
                </a:lnTo>
                <a:lnTo>
                  <a:pt x="94" y="75"/>
                </a:lnTo>
                <a:lnTo>
                  <a:pt x="94" y="78"/>
                </a:lnTo>
                <a:lnTo>
                  <a:pt x="94" y="78"/>
                </a:lnTo>
                <a:lnTo>
                  <a:pt x="97" y="81"/>
                </a:lnTo>
                <a:lnTo>
                  <a:pt x="100" y="81"/>
                </a:lnTo>
                <a:lnTo>
                  <a:pt x="97" y="84"/>
                </a:lnTo>
                <a:lnTo>
                  <a:pt x="94" y="88"/>
                </a:lnTo>
                <a:lnTo>
                  <a:pt x="94" y="94"/>
                </a:lnTo>
                <a:lnTo>
                  <a:pt x="91" y="97"/>
                </a:lnTo>
                <a:lnTo>
                  <a:pt x="87" y="100"/>
                </a:lnTo>
                <a:lnTo>
                  <a:pt x="87" y="100"/>
                </a:lnTo>
                <a:lnTo>
                  <a:pt x="87" y="103"/>
                </a:lnTo>
                <a:lnTo>
                  <a:pt x="84" y="106"/>
                </a:lnTo>
                <a:lnTo>
                  <a:pt x="75" y="109"/>
                </a:lnTo>
                <a:lnTo>
                  <a:pt x="75" y="109"/>
                </a:lnTo>
                <a:lnTo>
                  <a:pt x="72" y="109"/>
                </a:lnTo>
                <a:lnTo>
                  <a:pt x="72" y="113"/>
                </a:lnTo>
                <a:lnTo>
                  <a:pt x="72" y="113"/>
                </a:lnTo>
                <a:lnTo>
                  <a:pt x="69" y="113"/>
                </a:lnTo>
                <a:lnTo>
                  <a:pt x="66" y="113"/>
                </a:lnTo>
                <a:lnTo>
                  <a:pt x="62" y="113"/>
                </a:lnTo>
                <a:lnTo>
                  <a:pt x="59" y="109"/>
                </a:lnTo>
                <a:lnTo>
                  <a:pt x="56" y="109"/>
                </a:lnTo>
                <a:lnTo>
                  <a:pt x="50" y="109"/>
                </a:lnTo>
                <a:lnTo>
                  <a:pt x="47" y="113"/>
                </a:lnTo>
                <a:lnTo>
                  <a:pt x="44" y="113"/>
                </a:lnTo>
                <a:lnTo>
                  <a:pt x="44" y="109"/>
                </a:lnTo>
                <a:lnTo>
                  <a:pt x="44" y="109"/>
                </a:lnTo>
                <a:lnTo>
                  <a:pt x="44" y="109"/>
                </a:lnTo>
                <a:lnTo>
                  <a:pt x="41" y="109"/>
                </a:lnTo>
                <a:lnTo>
                  <a:pt x="37" y="106"/>
                </a:lnTo>
                <a:lnTo>
                  <a:pt x="31" y="103"/>
                </a:lnTo>
                <a:lnTo>
                  <a:pt x="25" y="103"/>
                </a:lnTo>
                <a:lnTo>
                  <a:pt x="19" y="103"/>
                </a:lnTo>
                <a:lnTo>
                  <a:pt x="16" y="103"/>
                </a:lnTo>
                <a:lnTo>
                  <a:pt x="9" y="100"/>
                </a:lnTo>
                <a:lnTo>
                  <a:pt x="6" y="97"/>
                </a:lnTo>
                <a:lnTo>
                  <a:pt x="3" y="91"/>
                </a:lnTo>
                <a:lnTo>
                  <a:pt x="0" y="84"/>
                </a:lnTo>
                <a:lnTo>
                  <a:pt x="0" y="75"/>
                </a:lnTo>
                <a:lnTo>
                  <a:pt x="0" y="75"/>
                </a:lnTo>
                <a:lnTo>
                  <a:pt x="0" y="72"/>
                </a:lnTo>
                <a:lnTo>
                  <a:pt x="3" y="69"/>
                </a:lnTo>
                <a:lnTo>
                  <a:pt x="3" y="66"/>
                </a:lnTo>
                <a:lnTo>
                  <a:pt x="3" y="59"/>
                </a:lnTo>
                <a:lnTo>
                  <a:pt x="0" y="53"/>
                </a:lnTo>
                <a:lnTo>
                  <a:pt x="3" y="50"/>
                </a:lnTo>
                <a:lnTo>
                  <a:pt x="0" y="44"/>
                </a:lnTo>
                <a:lnTo>
                  <a:pt x="3" y="41"/>
                </a:lnTo>
                <a:lnTo>
                  <a:pt x="3" y="38"/>
                </a:lnTo>
                <a:lnTo>
                  <a:pt x="3" y="34"/>
                </a:lnTo>
                <a:lnTo>
                  <a:pt x="3" y="25"/>
                </a:lnTo>
                <a:lnTo>
                  <a:pt x="3" y="22"/>
                </a:lnTo>
                <a:lnTo>
                  <a:pt x="6" y="19"/>
                </a:lnTo>
                <a:lnTo>
                  <a:pt x="3" y="12"/>
                </a:lnTo>
                <a:lnTo>
                  <a:pt x="6" y="6"/>
                </a:lnTo>
                <a:lnTo>
                  <a:pt x="9" y="3"/>
                </a:lnTo>
                <a:lnTo>
                  <a:pt x="9" y="3"/>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9" name="Freeform 197">
            <a:extLst>
              <a:ext uri="{FF2B5EF4-FFF2-40B4-BE49-F238E27FC236}">
                <a16:creationId xmlns:a16="http://schemas.microsoft.com/office/drawing/2014/main" id="{D915A085-F1EA-0203-864E-78018120857D}"/>
              </a:ext>
            </a:extLst>
          </p:cNvPr>
          <p:cNvSpPr>
            <a:spLocks noEditPoints="1"/>
          </p:cNvSpPr>
          <p:nvPr userDrawn="1"/>
        </p:nvSpPr>
        <p:spPr bwMode="auto">
          <a:xfrm>
            <a:off x="8930690" y="10806983"/>
            <a:ext cx="1003237" cy="2581278"/>
          </a:xfrm>
          <a:custGeom>
            <a:avLst/>
            <a:gdLst>
              <a:gd name="T0" fmla="*/ 82 w 316"/>
              <a:gd name="T1" fmla="*/ 3 h 813"/>
              <a:gd name="T2" fmla="*/ 103 w 316"/>
              <a:gd name="T3" fmla="*/ 12 h 813"/>
              <a:gd name="T4" fmla="*/ 144 w 316"/>
              <a:gd name="T5" fmla="*/ 9 h 813"/>
              <a:gd name="T6" fmla="*/ 197 w 316"/>
              <a:gd name="T7" fmla="*/ 47 h 813"/>
              <a:gd name="T8" fmla="*/ 235 w 316"/>
              <a:gd name="T9" fmla="*/ 84 h 813"/>
              <a:gd name="T10" fmla="*/ 238 w 316"/>
              <a:gd name="T11" fmla="*/ 113 h 813"/>
              <a:gd name="T12" fmla="*/ 275 w 316"/>
              <a:gd name="T13" fmla="*/ 116 h 813"/>
              <a:gd name="T14" fmla="*/ 297 w 316"/>
              <a:gd name="T15" fmla="*/ 78 h 813"/>
              <a:gd name="T16" fmla="*/ 316 w 316"/>
              <a:gd name="T17" fmla="*/ 103 h 813"/>
              <a:gd name="T18" fmla="*/ 291 w 316"/>
              <a:gd name="T19" fmla="*/ 122 h 813"/>
              <a:gd name="T20" fmla="*/ 266 w 316"/>
              <a:gd name="T21" fmla="*/ 144 h 813"/>
              <a:gd name="T22" fmla="*/ 247 w 316"/>
              <a:gd name="T23" fmla="*/ 172 h 813"/>
              <a:gd name="T24" fmla="*/ 241 w 316"/>
              <a:gd name="T25" fmla="*/ 210 h 813"/>
              <a:gd name="T26" fmla="*/ 238 w 316"/>
              <a:gd name="T27" fmla="*/ 244 h 813"/>
              <a:gd name="T28" fmla="*/ 238 w 316"/>
              <a:gd name="T29" fmla="*/ 269 h 813"/>
              <a:gd name="T30" fmla="*/ 263 w 316"/>
              <a:gd name="T31" fmla="*/ 310 h 813"/>
              <a:gd name="T32" fmla="*/ 279 w 316"/>
              <a:gd name="T33" fmla="*/ 328 h 813"/>
              <a:gd name="T34" fmla="*/ 269 w 316"/>
              <a:gd name="T35" fmla="*/ 357 h 813"/>
              <a:gd name="T36" fmla="*/ 213 w 316"/>
              <a:gd name="T37" fmla="*/ 382 h 813"/>
              <a:gd name="T38" fmla="*/ 182 w 316"/>
              <a:gd name="T39" fmla="*/ 375 h 813"/>
              <a:gd name="T40" fmla="*/ 188 w 316"/>
              <a:gd name="T41" fmla="*/ 397 h 813"/>
              <a:gd name="T42" fmla="*/ 188 w 316"/>
              <a:gd name="T43" fmla="*/ 416 h 813"/>
              <a:gd name="T44" fmla="*/ 163 w 316"/>
              <a:gd name="T45" fmla="*/ 438 h 813"/>
              <a:gd name="T46" fmla="*/ 132 w 316"/>
              <a:gd name="T47" fmla="*/ 428 h 813"/>
              <a:gd name="T48" fmla="*/ 150 w 316"/>
              <a:gd name="T49" fmla="*/ 463 h 813"/>
              <a:gd name="T50" fmla="*/ 153 w 316"/>
              <a:gd name="T51" fmla="*/ 460 h 813"/>
              <a:gd name="T52" fmla="*/ 169 w 316"/>
              <a:gd name="T53" fmla="*/ 475 h 813"/>
              <a:gd name="T54" fmla="*/ 147 w 316"/>
              <a:gd name="T55" fmla="*/ 472 h 813"/>
              <a:gd name="T56" fmla="*/ 144 w 316"/>
              <a:gd name="T57" fmla="*/ 491 h 813"/>
              <a:gd name="T58" fmla="*/ 141 w 316"/>
              <a:gd name="T59" fmla="*/ 513 h 813"/>
              <a:gd name="T60" fmla="*/ 141 w 316"/>
              <a:gd name="T61" fmla="*/ 535 h 813"/>
              <a:gd name="T62" fmla="*/ 116 w 316"/>
              <a:gd name="T63" fmla="*/ 547 h 813"/>
              <a:gd name="T64" fmla="*/ 113 w 316"/>
              <a:gd name="T65" fmla="*/ 576 h 813"/>
              <a:gd name="T66" fmla="*/ 147 w 316"/>
              <a:gd name="T67" fmla="*/ 591 h 813"/>
              <a:gd name="T68" fmla="*/ 150 w 316"/>
              <a:gd name="T69" fmla="*/ 613 h 813"/>
              <a:gd name="T70" fmla="*/ 138 w 316"/>
              <a:gd name="T71" fmla="*/ 632 h 813"/>
              <a:gd name="T72" fmla="*/ 122 w 316"/>
              <a:gd name="T73" fmla="*/ 654 h 813"/>
              <a:gd name="T74" fmla="*/ 113 w 316"/>
              <a:gd name="T75" fmla="*/ 669 h 813"/>
              <a:gd name="T76" fmla="*/ 103 w 316"/>
              <a:gd name="T77" fmla="*/ 694 h 813"/>
              <a:gd name="T78" fmla="*/ 113 w 316"/>
              <a:gd name="T79" fmla="*/ 719 h 813"/>
              <a:gd name="T80" fmla="*/ 116 w 316"/>
              <a:gd name="T81" fmla="*/ 729 h 813"/>
              <a:gd name="T82" fmla="*/ 53 w 316"/>
              <a:gd name="T83" fmla="*/ 713 h 813"/>
              <a:gd name="T84" fmla="*/ 22 w 316"/>
              <a:gd name="T85" fmla="*/ 682 h 813"/>
              <a:gd name="T86" fmla="*/ 35 w 316"/>
              <a:gd name="T87" fmla="*/ 607 h 813"/>
              <a:gd name="T88" fmla="*/ 32 w 316"/>
              <a:gd name="T89" fmla="*/ 557 h 813"/>
              <a:gd name="T90" fmla="*/ 19 w 316"/>
              <a:gd name="T91" fmla="*/ 532 h 813"/>
              <a:gd name="T92" fmla="*/ 19 w 316"/>
              <a:gd name="T93" fmla="*/ 507 h 813"/>
              <a:gd name="T94" fmla="*/ 13 w 316"/>
              <a:gd name="T95" fmla="*/ 460 h 813"/>
              <a:gd name="T96" fmla="*/ 13 w 316"/>
              <a:gd name="T97" fmla="*/ 388 h 813"/>
              <a:gd name="T98" fmla="*/ 19 w 316"/>
              <a:gd name="T99" fmla="*/ 319 h 813"/>
              <a:gd name="T100" fmla="*/ 22 w 316"/>
              <a:gd name="T101" fmla="*/ 269 h 813"/>
              <a:gd name="T102" fmla="*/ 0 w 316"/>
              <a:gd name="T103" fmla="*/ 210 h 813"/>
              <a:gd name="T104" fmla="*/ 10 w 316"/>
              <a:gd name="T105" fmla="*/ 153 h 813"/>
              <a:gd name="T106" fmla="*/ 28 w 316"/>
              <a:gd name="T107" fmla="*/ 103 h 813"/>
              <a:gd name="T108" fmla="*/ 28 w 316"/>
              <a:gd name="T109" fmla="*/ 72 h 813"/>
              <a:gd name="T110" fmla="*/ 210 w 316"/>
              <a:gd name="T111" fmla="*/ 804 h 813"/>
              <a:gd name="T112" fmla="*/ 210 w 316"/>
              <a:gd name="T113" fmla="*/ 804 h 813"/>
              <a:gd name="T114" fmla="*/ 132 w 316"/>
              <a:gd name="T115" fmla="*/ 760 h 813"/>
              <a:gd name="T116" fmla="*/ 141 w 316"/>
              <a:gd name="T117" fmla="*/ 776 h 813"/>
              <a:gd name="T118" fmla="*/ 185 w 316"/>
              <a:gd name="T119" fmla="*/ 798 h 813"/>
              <a:gd name="T120" fmla="*/ 188 w 316"/>
              <a:gd name="T121" fmla="*/ 807 h 813"/>
              <a:gd name="T122" fmla="*/ 144 w 316"/>
              <a:gd name="T123" fmla="*/ 810 h 813"/>
              <a:gd name="T124" fmla="*/ 147 w 316"/>
              <a:gd name="T125" fmla="*/ 801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 h="813">
                <a:moveTo>
                  <a:pt x="50" y="19"/>
                </a:moveTo>
                <a:lnTo>
                  <a:pt x="53" y="16"/>
                </a:lnTo>
                <a:lnTo>
                  <a:pt x="57" y="9"/>
                </a:lnTo>
                <a:lnTo>
                  <a:pt x="63" y="0"/>
                </a:lnTo>
                <a:lnTo>
                  <a:pt x="69" y="0"/>
                </a:lnTo>
                <a:lnTo>
                  <a:pt x="72" y="3"/>
                </a:lnTo>
                <a:lnTo>
                  <a:pt x="78" y="3"/>
                </a:lnTo>
                <a:lnTo>
                  <a:pt x="82" y="3"/>
                </a:lnTo>
                <a:lnTo>
                  <a:pt x="88" y="3"/>
                </a:lnTo>
                <a:lnTo>
                  <a:pt x="94" y="0"/>
                </a:lnTo>
                <a:lnTo>
                  <a:pt x="97" y="3"/>
                </a:lnTo>
                <a:lnTo>
                  <a:pt x="97" y="6"/>
                </a:lnTo>
                <a:lnTo>
                  <a:pt x="100" y="16"/>
                </a:lnTo>
                <a:lnTo>
                  <a:pt x="103" y="19"/>
                </a:lnTo>
                <a:lnTo>
                  <a:pt x="103" y="16"/>
                </a:lnTo>
                <a:lnTo>
                  <a:pt x="103" y="12"/>
                </a:lnTo>
                <a:lnTo>
                  <a:pt x="107" y="9"/>
                </a:lnTo>
                <a:lnTo>
                  <a:pt x="107" y="3"/>
                </a:lnTo>
                <a:lnTo>
                  <a:pt x="110" y="0"/>
                </a:lnTo>
                <a:lnTo>
                  <a:pt x="119" y="0"/>
                </a:lnTo>
                <a:lnTo>
                  <a:pt x="132" y="0"/>
                </a:lnTo>
                <a:lnTo>
                  <a:pt x="135" y="3"/>
                </a:lnTo>
                <a:lnTo>
                  <a:pt x="138" y="9"/>
                </a:lnTo>
                <a:lnTo>
                  <a:pt x="144" y="9"/>
                </a:lnTo>
                <a:lnTo>
                  <a:pt x="147" y="19"/>
                </a:lnTo>
                <a:lnTo>
                  <a:pt x="160" y="31"/>
                </a:lnTo>
                <a:lnTo>
                  <a:pt x="166" y="31"/>
                </a:lnTo>
                <a:lnTo>
                  <a:pt x="169" y="34"/>
                </a:lnTo>
                <a:lnTo>
                  <a:pt x="172" y="41"/>
                </a:lnTo>
                <a:lnTo>
                  <a:pt x="185" y="44"/>
                </a:lnTo>
                <a:lnTo>
                  <a:pt x="191" y="47"/>
                </a:lnTo>
                <a:lnTo>
                  <a:pt x="197" y="47"/>
                </a:lnTo>
                <a:lnTo>
                  <a:pt x="203" y="56"/>
                </a:lnTo>
                <a:lnTo>
                  <a:pt x="213" y="59"/>
                </a:lnTo>
                <a:lnTo>
                  <a:pt x="225" y="62"/>
                </a:lnTo>
                <a:lnTo>
                  <a:pt x="229" y="66"/>
                </a:lnTo>
                <a:lnTo>
                  <a:pt x="235" y="72"/>
                </a:lnTo>
                <a:lnTo>
                  <a:pt x="238" y="75"/>
                </a:lnTo>
                <a:lnTo>
                  <a:pt x="238" y="81"/>
                </a:lnTo>
                <a:lnTo>
                  <a:pt x="235" y="84"/>
                </a:lnTo>
                <a:lnTo>
                  <a:pt x="229" y="88"/>
                </a:lnTo>
                <a:lnTo>
                  <a:pt x="229" y="91"/>
                </a:lnTo>
                <a:lnTo>
                  <a:pt x="229" y="94"/>
                </a:lnTo>
                <a:lnTo>
                  <a:pt x="225" y="103"/>
                </a:lnTo>
                <a:lnTo>
                  <a:pt x="219" y="109"/>
                </a:lnTo>
                <a:lnTo>
                  <a:pt x="219" y="113"/>
                </a:lnTo>
                <a:lnTo>
                  <a:pt x="222" y="113"/>
                </a:lnTo>
                <a:lnTo>
                  <a:pt x="238" y="113"/>
                </a:lnTo>
                <a:lnTo>
                  <a:pt x="247" y="116"/>
                </a:lnTo>
                <a:lnTo>
                  <a:pt x="257" y="119"/>
                </a:lnTo>
                <a:lnTo>
                  <a:pt x="260" y="119"/>
                </a:lnTo>
                <a:lnTo>
                  <a:pt x="263" y="119"/>
                </a:lnTo>
                <a:lnTo>
                  <a:pt x="266" y="119"/>
                </a:lnTo>
                <a:lnTo>
                  <a:pt x="269" y="116"/>
                </a:lnTo>
                <a:lnTo>
                  <a:pt x="272" y="113"/>
                </a:lnTo>
                <a:lnTo>
                  <a:pt x="275" y="116"/>
                </a:lnTo>
                <a:lnTo>
                  <a:pt x="279" y="109"/>
                </a:lnTo>
                <a:lnTo>
                  <a:pt x="282" y="106"/>
                </a:lnTo>
                <a:lnTo>
                  <a:pt x="288" y="100"/>
                </a:lnTo>
                <a:lnTo>
                  <a:pt x="291" y="94"/>
                </a:lnTo>
                <a:lnTo>
                  <a:pt x="294" y="91"/>
                </a:lnTo>
                <a:lnTo>
                  <a:pt x="297" y="88"/>
                </a:lnTo>
                <a:lnTo>
                  <a:pt x="297" y="81"/>
                </a:lnTo>
                <a:lnTo>
                  <a:pt x="297" y="78"/>
                </a:lnTo>
                <a:lnTo>
                  <a:pt x="297" y="72"/>
                </a:lnTo>
                <a:lnTo>
                  <a:pt x="300" y="69"/>
                </a:lnTo>
                <a:lnTo>
                  <a:pt x="310" y="72"/>
                </a:lnTo>
                <a:lnTo>
                  <a:pt x="310" y="75"/>
                </a:lnTo>
                <a:lnTo>
                  <a:pt x="316" y="84"/>
                </a:lnTo>
                <a:lnTo>
                  <a:pt x="313" y="91"/>
                </a:lnTo>
                <a:lnTo>
                  <a:pt x="316" y="97"/>
                </a:lnTo>
                <a:lnTo>
                  <a:pt x="316" y="103"/>
                </a:lnTo>
                <a:lnTo>
                  <a:pt x="316" y="106"/>
                </a:lnTo>
                <a:lnTo>
                  <a:pt x="310" y="106"/>
                </a:lnTo>
                <a:lnTo>
                  <a:pt x="307" y="109"/>
                </a:lnTo>
                <a:lnTo>
                  <a:pt x="307" y="113"/>
                </a:lnTo>
                <a:lnTo>
                  <a:pt x="304" y="113"/>
                </a:lnTo>
                <a:lnTo>
                  <a:pt x="300" y="113"/>
                </a:lnTo>
                <a:lnTo>
                  <a:pt x="294" y="119"/>
                </a:lnTo>
                <a:lnTo>
                  <a:pt x="291" y="122"/>
                </a:lnTo>
                <a:lnTo>
                  <a:pt x="288" y="122"/>
                </a:lnTo>
                <a:lnTo>
                  <a:pt x="282" y="128"/>
                </a:lnTo>
                <a:lnTo>
                  <a:pt x="279" y="128"/>
                </a:lnTo>
                <a:lnTo>
                  <a:pt x="279" y="134"/>
                </a:lnTo>
                <a:lnTo>
                  <a:pt x="275" y="134"/>
                </a:lnTo>
                <a:lnTo>
                  <a:pt x="272" y="134"/>
                </a:lnTo>
                <a:lnTo>
                  <a:pt x="266" y="141"/>
                </a:lnTo>
                <a:lnTo>
                  <a:pt x="266" y="144"/>
                </a:lnTo>
                <a:lnTo>
                  <a:pt x="266" y="150"/>
                </a:lnTo>
                <a:lnTo>
                  <a:pt x="263" y="150"/>
                </a:lnTo>
                <a:lnTo>
                  <a:pt x="263" y="153"/>
                </a:lnTo>
                <a:lnTo>
                  <a:pt x="257" y="159"/>
                </a:lnTo>
                <a:lnTo>
                  <a:pt x="254" y="163"/>
                </a:lnTo>
                <a:lnTo>
                  <a:pt x="250" y="169"/>
                </a:lnTo>
                <a:lnTo>
                  <a:pt x="250" y="169"/>
                </a:lnTo>
                <a:lnTo>
                  <a:pt x="247" y="172"/>
                </a:lnTo>
                <a:lnTo>
                  <a:pt x="247" y="175"/>
                </a:lnTo>
                <a:lnTo>
                  <a:pt x="244" y="178"/>
                </a:lnTo>
                <a:lnTo>
                  <a:pt x="241" y="184"/>
                </a:lnTo>
                <a:lnTo>
                  <a:pt x="244" y="191"/>
                </a:lnTo>
                <a:lnTo>
                  <a:pt x="241" y="194"/>
                </a:lnTo>
                <a:lnTo>
                  <a:pt x="241" y="197"/>
                </a:lnTo>
                <a:lnTo>
                  <a:pt x="241" y="206"/>
                </a:lnTo>
                <a:lnTo>
                  <a:pt x="241" y="210"/>
                </a:lnTo>
                <a:lnTo>
                  <a:pt x="241" y="213"/>
                </a:lnTo>
                <a:lnTo>
                  <a:pt x="238" y="216"/>
                </a:lnTo>
                <a:lnTo>
                  <a:pt x="241" y="222"/>
                </a:lnTo>
                <a:lnTo>
                  <a:pt x="238" y="225"/>
                </a:lnTo>
                <a:lnTo>
                  <a:pt x="241" y="231"/>
                </a:lnTo>
                <a:lnTo>
                  <a:pt x="241" y="238"/>
                </a:lnTo>
                <a:lnTo>
                  <a:pt x="241" y="241"/>
                </a:lnTo>
                <a:lnTo>
                  <a:pt x="238" y="244"/>
                </a:lnTo>
                <a:lnTo>
                  <a:pt x="238" y="247"/>
                </a:lnTo>
                <a:lnTo>
                  <a:pt x="238" y="247"/>
                </a:lnTo>
                <a:lnTo>
                  <a:pt x="238" y="247"/>
                </a:lnTo>
                <a:lnTo>
                  <a:pt x="235" y="253"/>
                </a:lnTo>
                <a:lnTo>
                  <a:pt x="238" y="263"/>
                </a:lnTo>
                <a:lnTo>
                  <a:pt x="238" y="263"/>
                </a:lnTo>
                <a:lnTo>
                  <a:pt x="238" y="266"/>
                </a:lnTo>
                <a:lnTo>
                  <a:pt x="238" y="269"/>
                </a:lnTo>
                <a:lnTo>
                  <a:pt x="238" y="272"/>
                </a:lnTo>
                <a:lnTo>
                  <a:pt x="241" y="275"/>
                </a:lnTo>
                <a:lnTo>
                  <a:pt x="247" y="281"/>
                </a:lnTo>
                <a:lnTo>
                  <a:pt x="257" y="285"/>
                </a:lnTo>
                <a:lnTo>
                  <a:pt x="266" y="291"/>
                </a:lnTo>
                <a:lnTo>
                  <a:pt x="269" y="294"/>
                </a:lnTo>
                <a:lnTo>
                  <a:pt x="269" y="300"/>
                </a:lnTo>
                <a:lnTo>
                  <a:pt x="263" y="310"/>
                </a:lnTo>
                <a:lnTo>
                  <a:pt x="263" y="313"/>
                </a:lnTo>
                <a:lnTo>
                  <a:pt x="266" y="316"/>
                </a:lnTo>
                <a:lnTo>
                  <a:pt x="272" y="319"/>
                </a:lnTo>
                <a:lnTo>
                  <a:pt x="275" y="319"/>
                </a:lnTo>
                <a:lnTo>
                  <a:pt x="279" y="319"/>
                </a:lnTo>
                <a:lnTo>
                  <a:pt x="279" y="319"/>
                </a:lnTo>
                <a:lnTo>
                  <a:pt x="279" y="322"/>
                </a:lnTo>
                <a:lnTo>
                  <a:pt x="279" y="328"/>
                </a:lnTo>
                <a:lnTo>
                  <a:pt x="279" y="335"/>
                </a:lnTo>
                <a:lnTo>
                  <a:pt x="275" y="341"/>
                </a:lnTo>
                <a:lnTo>
                  <a:pt x="275" y="347"/>
                </a:lnTo>
                <a:lnTo>
                  <a:pt x="272" y="347"/>
                </a:lnTo>
                <a:lnTo>
                  <a:pt x="272" y="344"/>
                </a:lnTo>
                <a:lnTo>
                  <a:pt x="269" y="347"/>
                </a:lnTo>
                <a:lnTo>
                  <a:pt x="269" y="353"/>
                </a:lnTo>
                <a:lnTo>
                  <a:pt x="269" y="357"/>
                </a:lnTo>
                <a:lnTo>
                  <a:pt x="269" y="363"/>
                </a:lnTo>
                <a:lnTo>
                  <a:pt x="257" y="369"/>
                </a:lnTo>
                <a:lnTo>
                  <a:pt x="250" y="372"/>
                </a:lnTo>
                <a:lnTo>
                  <a:pt x="247" y="369"/>
                </a:lnTo>
                <a:lnTo>
                  <a:pt x="247" y="372"/>
                </a:lnTo>
                <a:lnTo>
                  <a:pt x="235" y="375"/>
                </a:lnTo>
                <a:lnTo>
                  <a:pt x="222" y="378"/>
                </a:lnTo>
                <a:lnTo>
                  <a:pt x="213" y="382"/>
                </a:lnTo>
                <a:lnTo>
                  <a:pt x="207" y="378"/>
                </a:lnTo>
                <a:lnTo>
                  <a:pt x="200" y="382"/>
                </a:lnTo>
                <a:lnTo>
                  <a:pt x="197" y="382"/>
                </a:lnTo>
                <a:lnTo>
                  <a:pt x="191" y="378"/>
                </a:lnTo>
                <a:lnTo>
                  <a:pt x="188" y="375"/>
                </a:lnTo>
                <a:lnTo>
                  <a:pt x="185" y="375"/>
                </a:lnTo>
                <a:lnTo>
                  <a:pt x="182" y="372"/>
                </a:lnTo>
                <a:lnTo>
                  <a:pt x="182" y="375"/>
                </a:lnTo>
                <a:lnTo>
                  <a:pt x="182" y="378"/>
                </a:lnTo>
                <a:lnTo>
                  <a:pt x="182" y="382"/>
                </a:lnTo>
                <a:lnTo>
                  <a:pt x="182" y="388"/>
                </a:lnTo>
                <a:lnTo>
                  <a:pt x="185" y="391"/>
                </a:lnTo>
                <a:lnTo>
                  <a:pt x="185" y="391"/>
                </a:lnTo>
                <a:lnTo>
                  <a:pt x="188" y="391"/>
                </a:lnTo>
                <a:lnTo>
                  <a:pt x="188" y="394"/>
                </a:lnTo>
                <a:lnTo>
                  <a:pt x="188" y="397"/>
                </a:lnTo>
                <a:lnTo>
                  <a:pt x="185" y="397"/>
                </a:lnTo>
                <a:lnTo>
                  <a:pt x="185" y="400"/>
                </a:lnTo>
                <a:lnTo>
                  <a:pt x="182" y="403"/>
                </a:lnTo>
                <a:lnTo>
                  <a:pt x="182" y="407"/>
                </a:lnTo>
                <a:lnTo>
                  <a:pt x="182" y="407"/>
                </a:lnTo>
                <a:lnTo>
                  <a:pt x="182" y="413"/>
                </a:lnTo>
                <a:lnTo>
                  <a:pt x="185" y="416"/>
                </a:lnTo>
                <a:lnTo>
                  <a:pt x="188" y="416"/>
                </a:lnTo>
                <a:lnTo>
                  <a:pt x="185" y="419"/>
                </a:lnTo>
                <a:lnTo>
                  <a:pt x="185" y="422"/>
                </a:lnTo>
                <a:lnTo>
                  <a:pt x="185" y="425"/>
                </a:lnTo>
                <a:lnTo>
                  <a:pt x="185" y="428"/>
                </a:lnTo>
                <a:lnTo>
                  <a:pt x="182" y="432"/>
                </a:lnTo>
                <a:lnTo>
                  <a:pt x="182" y="432"/>
                </a:lnTo>
                <a:lnTo>
                  <a:pt x="175" y="438"/>
                </a:lnTo>
                <a:lnTo>
                  <a:pt x="163" y="438"/>
                </a:lnTo>
                <a:lnTo>
                  <a:pt x="157" y="435"/>
                </a:lnTo>
                <a:lnTo>
                  <a:pt x="150" y="432"/>
                </a:lnTo>
                <a:lnTo>
                  <a:pt x="144" y="428"/>
                </a:lnTo>
                <a:lnTo>
                  <a:pt x="138" y="428"/>
                </a:lnTo>
                <a:lnTo>
                  <a:pt x="138" y="428"/>
                </a:lnTo>
                <a:lnTo>
                  <a:pt x="138" y="425"/>
                </a:lnTo>
                <a:lnTo>
                  <a:pt x="135" y="425"/>
                </a:lnTo>
                <a:lnTo>
                  <a:pt x="132" y="428"/>
                </a:lnTo>
                <a:lnTo>
                  <a:pt x="132" y="438"/>
                </a:lnTo>
                <a:lnTo>
                  <a:pt x="135" y="441"/>
                </a:lnTo>
                <a:lnTo>
                  <a:pt x="138" y="447"/>
                </a:lnTo>
                <a:lnTo>
                  <a:pt x="138" y="457"/>
                </a:lnTo>
                <a:lnTo>
                  <a:pt x="138" y="460"/>
                </a:lnTo>
                <a:lnTo>
                  <a:pt x="144" y="463"/>
                </a:lnTo>
                <a:lnTo>
                  <a:pt x="150" y="463"/>
                </a:lnTo>
                <a:lnTo>
                  <a:pt x="150" y="463"/>
                </a:lnTo>
                <a:lnTo>
                  <a:pt x="150" y="466"/>
                </a:lnTo>
                <a:lnTo>
                  <a:pt x="147" y="466"/>
                </a:lnTo>
                <a:lnTo>
                  <a:pt x="150" y="469"/>
                </a:lnTo>
                <a:lnTo>
                  <a:pt x="157" y="466"/>
                </a:lnTo>
                <a:lnTo>
                  <a:pt x="157" y="463"/>
                </a:lnTo>
                <a:lnTo>
                  <a:pt x="153" y="463"/>
                </a:lnTo>
                <a:lnTo>
                  <a:pt x="153" y="463"/>
                </a:lnTo>
                <a:lnTo>
                  <a:pt x="153" y="460"/>
                </a:lnTo>
                <a:lnTo>
                  <a:pt x="157" y="460"/>
                </a:lnTo>
                <a:lnTo>
                  <a:pt x="163" y="457"/>
                </a:lnTo>
                <a:lnTo>
                  <a:pt x="163" y="457"/>
                </a:lnTo>
                <a:lnTo>
                  <a:pt x="166" y="463"/>
                </a:lnTo>
                <a:lnTo>
                  <a:pt x="166" y="466"/>
                </a:lnTo>
                <a:lnTo>
                  <a:pt x="166" y="466"/>
                </a:lnTo>
                <a:lnTo>
                  <a:pt x="166" y="469"/>
                </a:lnTo>
                <a:lnTo>
                  <a:pt x="169" y="475"/>
                </a:lnTo>
                <a:lnTo>
                  <a:pt x="169" y="479"/>
                </a:lnTo>
                <a:lnTo>
                  <a:pt x="160" y="482"/>
                </a:lnTo>
                <a:lnTo>
                  <a:pt x="157" y="482"/>
                </a:lnTo>
                <a:lnTo>
                  <a:pt x="157" y="479"/>
                </a:lnTo>
                <a:lnTo>
                  <a:pt x="157" y="475"/>
                </a:lnTo>
                <a:lnTo>
                  <a:pt x="157" y="472"/>
                </a:lnTo>
                <a:lnTo>
                  <a:pt x="150" y="472"/>
                </a:lnTo>
                <a:lnTo>
                  <a:pt x="147" y="472"/>
                </a:lnTo>
                <a:lnTo>
                  <a:pt x="144" y="475"/>
                </a:lnTo>
                <a:lnTo>
                  <a:pt x="141" y="479"/>
                </a:lnTo>
                <a:lnTo>
                  <a:pt x="144" y="482"/>
                </a:lnTo>
                <a:lnTo>
                  <a:pt x="147" y="482"/>
                </a:lnTo>
                <a:lnTo>
                  <a:pt x="153" y="482"/>
                </a:lnTo>
                <a:lnTo>
                  <a:pt x="153" y="485"/>
                </a:lnTo>
                <a:lnTo>
                  <a:pt x="150" y="488"/>
                </a:lnTo>
                <a:lnTo>
                  <a:pt x="144" y="491"/>
                </a:lnTo>
                <a:lnTo>
                  <a:pt x="141" y="494"/>
                </a:lnTo>
                <a:lnTo>
                  <a:pt x="144" y="494"/>
                </a:lnTo>
                <a:lnTo>
                  <a:pt x="141" y="497"/>
                </a:lnTo>
                <a:lnTo>
                  <a:pt x="138" y="500"/>
                </a:lnTo>
                <a:lnTo>
                  <a:pt x="138" y="507"/>
                </a:lnTo>
                <a:lnTo>
                  <a:pt x="141" y="510"/>
                </a:lnTo>
                <a:lnTo>
                  <a:pt x="141" y="513"/>
                </a:lnTo>
                <a:lnTo>
                  <a:pt x="141" y="513"/>
                </a:lnTo>
                <a:lnTo>
                  <a:pt x="144" y="519"/>
                </a:lnTo>
                <a:lnTo>
                  <a:pt x="144" y="519"/>
                </a:lnTo>
                <a:lnTo>
                  <a:pt x="144" y="522"/>
                </a:lnTo>
                <a:lnTo>
                  <a:pt x="144" y="525"/>
                </a:lnTo>
                <a:lnTo>
                  <a:pt x="138" y="529"/>
                </a:lnTo>
                <a:lnTo>
                  <a:pt x="138" y="532"/>
                </a:lnTo>
                <a:lnTo>
                  <a:pt x="138" y="532"/>
                </a:lnTo>
                <a:lnTo>
                  <a:pt x="141" y="535"/>
                </a:lnTo>
                <a:lnTo>
                  <a:pt x="144" y="535"/>
                </a:lnTo>
                <a:lnTo>
                  <a:pt x="141" y="538"/>
                </a:lnTo>
                <a:lnTo>
                  <a:pt x="135" y="538"/>
                </a:lnTo>
                <a:lnTo>
                  <a:pt x="132" y="538"/>
                </a:lnTo>
                <a:lnTo>
                  <a:pt x="128" y="538"/>
                </a:lnTo>
                <a:lnTo>
                  <a:pt x="122" y="544"/>
                </a:lnTo>
                <a:lnTo>
                  <a:pt x="119" y="544"/>
                </a:lnTo>
                <a:lnTo>
                  <a:pt x="116" y="547"/>
                </a:lnTo>
                <a:lnTo>
                  <a:pt x="113" y="547"/>
                </a:lnTo>
                <a:lnTo>
                  <a:pt x="113" y="554"/>
                </a:lnTo>
                <a:lnTo>
                  <a:pt x="110" y="557"/>
                </a:lnTo>
                <a:lnTo>
                  <a:pt x="107" y="560"/>
                </a:lnTo>
                <a:lnTo>
                  <a:pt x="107" y="563"/>
                </a:lnTo>
                <a:lnTo>
                  <a:pt x="107" y="566"/>
                </a:lnTo>
                <a:lnTo>
                  <a:pt x="107" y="569"/>
                </a:lnTo>
                <a:lnTo>
                  <a:pt x="113" y="576"/>
                </a:lnTo>
                <a:lnTo>
                  <a:pt x="116" y="579"/>
                </a:lnTo>
                <a:lnTo>
                  <a:pt x="119" y="582"/>
                </a:lnTo>
                <a:lnTo>
                  <a:pt x="125" y="585"/>
                </a:lnTo>
                <a:lnTo>
                  <a:pt x="132" y="591"/>
                </a:lnTo>
                <a:lnTo>
                  <a:pt x="138" y="591"/>
                </a:lnTo>
                <a:lnTo>
                  <a:pt x="141" y="591"/>
                </a:lnTo>
                <a:lnTo>
                  <a:pt x="144" y="591"/>
                </a:lnTo>
                <a:lnTo>
                  <a:pt x="147" y="591"/>
                </a:lnTo>
                <a:lnTo>
                  <a:pt x="147" y="594"/>
                </a:lnTo>
                <a:lnTo>
                  <a:pt x="147" y="594"/>
                </a:lnTo>
                <a:lnTo>
                  <a:pt x="147" y="597"/>
                </a:lnTo>
                <a:lnTo>
                  <a:pt x="147" y="604"/>
                </a:lnTo>
                <a:lnTo>
                  <a:pt x="147" y="607"/>
                </a:lnTo>
                <a:lnTo>
                  <a:pt x="144" y="610"/>
                </a:lnTo>
                <a:lnTo>
                  <a:pt x="147" y="610"/>
                </a:lnTo>
                <a:lnTo>
                  <a:pt x="150" y="613"/>
                </a:lnTo>
                <a:lnTo>
                  <a:pt x="147" y="613"/>
                </a:lnTo>
                <a:lnTo>
                  <a:pt x="147" y="616"/>
                </a:lnTo>
                <a:lnTo>
                  <a:pt x="150" y="616"/>
                </a:lnTo>
                <a:lnTo>
                  <a:pt x="147" y="622"/>
                </a:lnTo>
                <a:lnTo>
                  <a:pt x="144" y="622"/>
                </a:lnTo>
                <a:lnTo>
                  <a:pt x="141" y="626"/>
                </a:lnTo>
                <a:lnTo>
                  <a:pt x="141" y="626"/>
                </a:lnTo>
                <a:lnTo>
                  <a:pt x="138" y="632"/>
                </a:lnTo>
                <a:lnTo>
                  <a:pt x="135" y="635"/>
                </a:lnTo>
                <a:lnTo>
                  <a:pt x="132" y="635"/>
                </a:lnTo>
                <a:lnTo>
                  <a:pt x="128" y="638"/>
                </a:lnTo>
                <a:lnTo>
                  <a:pt x="125" y="644"/>
                </a:lnTo>
                <a:lnTo>
                  <a:pt x="125" y="647"/>
                </a:lnTo>
                <a:lnTo>
                  <a:pt x="122" y="651"/>
                </a:lnTo>
                <a:lnTo>
                  <a:pt x="122" y="654"/>
                </a:lnTo>
                <a:lnTo>
                  <a:pt x="122" y="654"/>
                </a:lnTo>
                <a:lnTo>
                  <a:pt x="125" y="654"/>
                </a:lnTo>
                <a:lnTo>
                  <a:pt x="128" y="660"/>
                </a:lnTo>
                <a:lnTo>
                  <a:pt x="125" y="663"/>
                </a:lnTo>
                <a:lnTo>
                  <a:pt x="122" y="666"/>
                </a:lnTo>
                <a:lnTo>
                  <a:pt x="122" y="669"/>
                </a:lnTo>
                <a:lnTo>
                  <a:pt x="119" y="672"/>
                </a:lnTo>
                <a:lnTo>
                  <a:pt x="116" y="672"/>
                </a:lnTo>
                <a:lnTo>
                  <a:pt x="113" y="669"/>
                </a:lnTo>
                <a:lnTo>
                  <a:pt x="110" y="666"/>
                </a:lnTo>
                <a:lnTo>
                  <a:pt x="113" y="669"/>
                </a:lnTo>
                <a:lnTo>
                  <a:pt x="113" y="672"/>
                </a:lnTo>
                <a:lnTo>
                  <a:pt x="113" y="676"/>
                </a:lnTo>
                <a:lnTo>
                  <a:pt x="110" y="679"/>
                </a:lnTo>
                <a:lnTo>
                  <a:pt x="107" y="682"/>
                </a:lnTo>
                <a:lnTo>
                  <a:pt x="103" y="688"/>
                </a:lnTo>
                <a:lnTo>
                  <a:pt x="103" y="694"/>
                </a:lnTo>
                <a:lnTo>
                  <a:pt x="110" y="701"/>
                </a:lnTo>
                <a:lnTo>
                  <a:pt x="113" y="710"/>
                </a:lnTo>
                <a:lnTo>
                  <a:pt x="113" y="713"/>
                </a:lnTo>
                <a:lnTo>
                  <a:pt x="113" y="713"/>
                </a:lnTo>
                <a:lnTo>
                  <a:pt x="113" y="716"/>
                </a:lnTo>
                <a:lnTo>
                  <a:pt x="110" y="716"/>
                </a:lnTo>
                <a:lnTo>
                  <a:pt x="113" y="719"/>
                </a:lnTo>
                <a:lnTo>
                  <a:pt x="113" y="719"/>
                </a:lnTo>
                <a:lnTo>
                  <a:pt x="116" y="723"/>
                </a:lnTo>
                <a:lnTo>
                  <a:pt x="119" y="726"/>
                </a:lnTo>
                <a:lnTo>
                  <a:pt x="125" y="729"/>
                </a:lnTo>
                <a:lnTo>
                  <a:pt x="128" y="732"/>
                </a:lnTo>
                <a:lnTo>
                  <a:pt x="128" y="735"/>
                </a:lnTo>
                <a:lnTo>
                  <a:pt x="128" y="735"/>
                </a:lnTo>
                <a:lnTo>
                  <a:pt x="122" y="735"/>
                </a:lnTo>
                <a:lnTo>
                  <a:pt x="116" y="729"/>
                </a:lnTo>
                <a:lnTo>
                  <a:pt x="113" y="729"/>
                </a:lnTo>
                <a:lnTo>
                  <a:pt x="113" y="726"/>
                </a:lnTo>
                <a:lnTo>
                  <a:pt x="88" y="726"/>
                </a:lnTo>
                <a:lnTo>
                  <a:pt x="72" y="729"/>
                </a:lnTo>
                <a:lnTo>
                  <a:pt x="69" y="729"/>
                </a:lnTo>
                <a:lnTo>
                  <a:pt x="60" y="726"/>
                </a:lnTo>
                <a:lnTo>
                  <a:pt x="57" y="719"/>
                </a:lnTo>
                <a:lnTo>
                  <a:pt x="53" y="713"/>
                </a:lnTo>
                <a:lnTo>
                  <a:pt x="50" y="707"/>
                </a:lnTo>
                <a:lnTo>
                  <a:pt x="50" y="698"/>
                </a:lnTo>
                <a:lnTo>
                  <a:pt x="50" y="691"/>
                </a:lnTo>
                <a:lnTo>
                  <a:pt x="44" y="691"/>
                </a:lnTo>
                <a:lnTo>
                  <a:pt x="38" y="694"/>
                </a:lnTo>
                <a:lnTo>
                  <a:pt x="35" y="698"/>
                </a:lnTo>
                <a:lnTo>
                  <a:pt x="32" y="698"/>
                </a:lnTo>
                <a:lnTo>
                  <a:pt x="22" y="682"/>
                </a:lnTo>
                <a:lnTo>
                  <a:pt x="22" y="676"/>
                </a:lnTo>
                <a:lnTo>
                  <a:pt x="25" y="657"/>
                </a:lnTo>
                <a:lnTo>
                  <a:pt x="28" y="651"/>
                </a:lnTo>
                <a:lnTo>
                  <a:pt x="35" y="644"/>
                </a:lnTo>
                <a:lnTo>
                  <a:pt x="38" y="635"/>
                </a:lnTo>
                <a:lnTo>
                  <a:pt x="35" y="626"/>
                </a:lnTo>
                <a:lnTo>
                  <a:pt x="32" y="616"/>
                </a:lnTo>
                <a:lnTo>
                  <a:pt x="35" y="607"/>
                </a:lnTo>
                <a:lnTo>
                  <a:pt x="38" y="604"/>
                </a:lnTo>
                <a:lnTo>
                  <a:pt x="35" y="594"/>
                </a:lnTo>
                <a:lnTo>
                  <a:pt x="35" y="588"/>
                </a:lnTo>
                <a:lnTo>
                  <a:pt x="38" y="585"/>
                </a:lnTo>
                <a:lnTo>
                  <a:pt x="35" y="576"/>
                </a:lnTo>
                <a:lnTo>
                  <a:pt x="35" y="566"/>
                </a:lnTo>
                <a:lnTo>
                  <a:pt x="32" y="560"/>
                </a:lnTo>
                <a:lnTo>
                  <a:pt x="32" y="557"/>
                </a:lnTo>
                <a:lnTo>
                  <a:pt x="38" y="554"/>
                </a:lnTo>
                <a:lnTo>
                  <a:pt x="38" y="547"/>
                </a:lnTo>
                <a:lnTo>
                  <a:pt x="32" y="541"/>
                </a:lnTo>
                <a:lnTo>
                  <a:pt x="25" y="538"/>
                </a:lnTo>
                <a:lnTo>
                  <a:pt x="22" y="538"/>
                </a:lnTo>
                <a:lnTo>
                  <a:pt x="22" y="538"/>
                </a:lnTo>
                <a:lnTo>
                  <a:pt x="19" y="535"/>
                </a:lnTo>
                <a:lnTo>
                  <a:pt x="19" y="532"/>
                </a:lnTo>
                <a:lnTo>
                  <a:pt x="28" y="532"/>
                </a:lnTo>
                <a:lnTo>
                  <a:pt x="32" y="525"/>
                </a:lnTo>
                <a:lnTo>
                  <a:pt x="32" y="522"/>
                </a:lnTo>
                <a:lnTo>
                  <a:pt x="32" y="522"/>
                </a:lnTo>
                <a:lnTo>
                  <a:pt x="28" y="522"/>
                </a:lnTo>
                <a:lnTo>
                  <a:pt x="22" y="522"/>
                </a:lnTo>
                <a:lnTo>
                  <a:pt x="22" y="513"/>
                </a:lnTo>
                <a:lnTo>
                  <a:pt x="19" y="507"/>
                </a:lnTo>
                <a:lnTo>
                  <a:pt x="19" y="500"/>
                </a:lnTo>
                <a:lnTo>
                  <a:pt x="19" y="494"/>
                </a:lnTo>
                <a:lnTo>
                  <a:pt x="13" y="491"/>
                </a:lnTo>
                <a:lnTo>
                  <a:pt x="10" y="485"/>
                </a:lnTo>
                <a:lnTo>
                  <a:pt x="10" y="469"/>
                </a:lnTo>
                <a:lnTo>
                  <a:pt x="13" y="466"/>
                </a:lnTo>
                <a:lnTo>
                  <a:pt x="16" y="463"/>
                </a:lnTo>
                <a:lnTo>
                  <a:pt x="13" y="460"/>
                </a:lnTo>
                <a:lnTo>
                  <a:pt x="10" y="457"/>
                </a:lnTo>
                <a:lnTo>
                  <a:pt x="7" y="447"/>
                </a:lnTo>
                <a:lnTo>
                  <a:pt x="7" y="435"/>
                </a:lnTo>
                <a:lnTo>
                  <a:pt x="7" y="419"/>
                </a:lnTo>
                <a:lnTo>
                  <a:pt x="3" y="413"/>
                </a:lnTo>
                <a:lnTo>
                  <a:pt x="3" y="407"/>
                </a:lnTo>
                <a:lnTo>
                  <a:pt x="10" y="397"/>
                </a:lnTo>
                <a:lnTo>
                  <a:pt x="13" y="388"/>
                </a:lnTo>
                <a:lnTo>
                  <a:pt x="16" y="385"/>
                </a:lnTo>
                <a:lnTo>
                  <a:pt x="19" y="382"/>
                </a:lnTo>
                <a:lnTo>
                  <a:pt x="7" y="357"/>
                </a:lnTo>
                <a:lnTo>
                  <a:pt x="10" y="350"/>
                </a:lnTo>
                <a:lnTo>
                  <a:pt x="10" y="344"/>
                </a:lnTo>
                <a:lnTo>
                  <a:pt x="10" y="332"/>
                </a:lnTo>
                <a:lnTo>
                  <a:pt x="13" y="322"/>
                </a:lnTo>
                <a:lnTo>
                  <a:pt x="19" y="319"/>
                </a:lnTo>
                <a:lnTo>
                  <a:pt x="16" y="310"/>
                </a:lnTo>
                <a:lnTo>
                  <a:pt x="13" y="303"/>
                </a:lnTo>
                <a:lnTo>
                  <a:pt x="10" y="300"/>
                </a:lnTo>
                <a:lnTo>
                  <a:pt x="16" y="294"/>
                </a:lnTo>
                <a:lnTo>
                  <a:pt x="13" y="288"/>
                </a:lnTo>
                <a:lnTo>
                  <a:pt x="16" y="278"/>
                </a:lnTo>
                <a:lnTo>
                  <a:pt x="22" y="278"/>
                </a:lnTo>
                <a:lnTo>
                  <a:pt x="22" y="269"/>
                </a:lnTo>
                <a:lnTo>
                  <a:pt x="19" y="253"/>
                </a:lnTo>
                <a:lnTo>
                  <a:pt x="16" y="250"/>
                </a:lnTo>
                <a:lnTo>
                  <a:pt x="16" y="241"/>
                </a:lnTo>
                <a:lnTo>
                  <a:pt x="13" y="235"/>
                </a:lnTo>
                <a:lnTo>
                  <a:pt x="7" y="225"/>
                </a:lnTo>
                <a:lnTo>
                  <a:pt x="7" y="222"/>
                </a:lnTo>
                <a:lnTo>
                  <a:pt x="3" y="219"/>
                </a:lnTo>
                <a:lnTo>
                  <a:pt x="0" y="210"/>
                </a:lnTo>
                <a:lnTo>
                  <a:pt x="3" y="200"/>
                </a:lnTo>
                <a:lnTo>
                  <a:pt x="7" y="197"/>
                </a:lnTo>
                <a:lnTo>
                  <a:pt x="7" y="188"/>
                </a:lnTo>
                <a:lnTo>
                  <a:pt x="10" y="184"/>
                </a:lnTo>
                <a:lnTo>
                  <a:pt x="10" y="175"/>
                </a:lnTo>
                <a:lnTo>
                  <a:pt x="7" y="169"/>
                </a:lnTo>
                <a:lnTo>
                  <a:pt x="7" y="156"/>
                </a:lnTo>
                <a:lnTo>
                  <a:pt x="10" y="153"/>
                </a:lnTo>
                <a:lnTo>
                  <a:pt x="10" y="141"/>
                </a:lnTo>
                <a:lnTo>
                  <a:pt x="16" y="134"/>
                </a:lnTo>
                <a:lnTo>
                  <a:pt x="19" y="122"/>
                </a:lnTo>
                <a:lnTo>
                  <a:pt x="25" y="116"/>
                </a:lnTo>
                <a:lnTo>
                  <a:pt x="28" y="116"/>
                </a:lnTo>
                <a:lnTo>
                  <a:pt x="32" y="109"/>
                </a:lnTo>
                <a:lnTo>
                  <a:pt x="28" y="109"/>
                </a:lnTo>
                <a:lnTo>
                  <a:pt x="28" y="103"/>
                </a:lnTo>
                <a:lnTo>
                  <a:pt x="28" y="100"/>
                </a:lnTo>
                <a:lnTo>
                  <a:pt x="25" y="97"/>
                </a:lnTo>
                <a:lnTo>
                  <a:pt x="25" y="94"/>
                </a:lnTo>
                <a:lnTo>
                  <a:pt x="32" y="91"/>
                </a:lnTo>
                <a:lnTo>
                  <a:pt x="32" y="88"/>
                </a:lnTo>
                <a:lnTo>
                  <a:pt x="25" y="81"/>
                </a:lnTo>
                <a:lnTo>
                  <a:pt x="25" y="75"/>
                </a:lnTo>
                <a:lnTo>
                  <a:pt x="28" y="72"/>
                </a:lnTo>
                <a:lnTo>
                  <a:pt x="25" y="66"/>
                </a:lnTo>
                <a:lnTo>
                  <a:pt x="22" y="62"/>
                </a:lnTo>
                <a:lnTo>
                  <a:pt x="25" y="59"/>
                </a:lnTo>
                <a:lnTo>
                  <a:pt x="47" y="47"/>
                </a:lnTo>
                <a:lnTo>
                  <a:pt x="53" y="25"/>
                </a:lnTo>
                <a:lnTo>
                  <a:pt x="50" y="19"/>
                </a:lnTo>
                <a:lnTo>
                  <a:pt x="50" y="19"/>
                </a:lnTo>
                <a:close/>
                <a:moveTo>
                  <a:pt x="210" y="804"/>
                </a:moveTo>
                <a:lnTo>
                  <a:pt x="213" y="807"/>
                </a:lnTo>
                <a:lnTo>
                  <a:pt x="219" y="804"/>
                </a:lnTo>
                <a:lnTo>
                  <a:pt x="222" y="804"/>
                </a:lnTo>
                <a:lnTo>
                  <a:pt x="225" y="798"/>
                </a:lnTo>
                <a:lnTo>
                  <a:pt x="222" y="798"/>
                </a:lnTo>
                <a:lnTo>
                  <a:pt x="219" y="801"/>
                </a:lnTo>
                <a:lnTo>
                  <a:pt x="213" y="801"/>
                </a:lnTo>
                <a:lnTo>
                  <a:pt x="210" y="804"/>
                </a:lnTo>
                <a:lnTo>
                  <a:pt x="210" y="804"/>
                </a:lnTo>
                <a:close/>
                <a:moveTo>
                  <a:pt x="122" y="741"/>
                </a:moveTo>
                <a:lnTo>
                  <a:pt x="125" y="741"/>
                </a:lnTo>
                <a:lnTo>
                  <a:pt x="125" y="744"/>
                </a:lnTo>
                <a:lnTo>
                  <a:pt x="132" y="751"/>
                </a:lnTo>
                <a:lnTo>
                  <a:pt x="135" y="760"/>
                </a:lnTo>
                <a:lnTo>
                  <a:pt x="132" y="760"/>
                </a:lnTo>
                <a:lnTo>
                  <a:pt x="132" y="760"/>
                </a:lnTo>
                <a:lnTo>
                  <a:pt x="128" y="763"/>
                </a:lnTo>
                <a:lnTo>
                  <a:pt x="122" y="741"/>
                </a:lnTo>
                <a:lnTo>
                  <a:pt x="122" y="741"/>
                </a:lnTo>
                <a:close/>
                <a:moveTo>
                  <a:pt x="128" y="763"/>
                </a:moveTo>
                <a:lnTo>
                  <a:pt x="132" y="766"/>
                </a:lnTo>
                <a:lnTo>
                  <a:pt x="138" y="766"/>
                </a:lnTo>
                <a:lnTo>
                  <a:pt x="141" y="769"/>
                </a:lnTo>
                <a:lnTo>
                  <a:pt x="141" y="776"/>
                </a:lnTo>
                <a:lnTo>
                  <a:pt x="147" y="776"/>
                </a:lnTo>
                <a:lnTo>
                  <a:pt x="153" y="779"/>
                </a:lnTo>
                <a:lnTo>
                  <a:pt x="153" y="785"/>
                </a:lnTo>
                <a:lnTo>
                  <a:pt x="157" y="785"/>
                </a:lnTo>
                <a:lnTo>
                  <a:pt x="172" y="791"/>
                </a:lnTo>
                <a:lnTo>
                  <a:pt x="175" y="794"/>
                </a:lnTo>
                <a:lnTo>
                  <a:pt x="178" y="794"/>
                </a:lnTo>
                <a:lnTo>
                  <a:pt x="185" y="798"/>
                </a:lnTo>
                <a:lnTo>
                  <a:pt x="188" y="801"/>
                </a:lnTo>
                <a:lnTo>
                  <a:pt x="197" y="798"/>
                </a:lnTo>
                <a:lnTo>
                  <a:pt x="200" y="798"/>
                </a:lnTo>
                <a:lnTo>
                  <a:pt x="200" y="804"/>
                </a:lnTo>
                <a:lnTo>
                  <a:pt x="194" y="804"/>
                </a:lnTo>
                <a:lnTo>
                  <a:pt x="194" y="804"/>
                </a:lnTo>
                <a:lnTo>
                  <a:pt x="188" y="804"/>
                </a:lnTo>
                <a:lnTo>
                  <a:pt x="188" y="807"/>
                </a:lnTo>
                <a:lnTo>
                  <a:pt x="185" y="813"/>
                </a:lnTo>
                <a:lnTo>
                  <a:pt x="182" y="813"/>
                </a:lnTo>
                <a:lnTo>
                  <a:pt x="175" y="810"/>
                </a:lnTo>
                <a:lnTo>
                  <a:pt x="172" y="810"/>
                </a:lnTo>
                <a:lnTo>
                  <a:pt x="163" y="807"/>
                </a:lnTo>
                <a:lnTo>
                  <a:pt x="157" y="810"/>
                </a:lnTo>
                <a:lnTo>
                  <a:pt x="150" y="807"/>
                </a:lnTo>
                <a:lnTo>
                  <a:pt x="144" y="810"/>
                </a:lnTo>
                <a:lnTo>
                  <a:pt x="141" y="810"/>
                </a:lnTo>
                <a:lnTo>
                  <a:pt x="138" y="804"/>
                </a:lnTo>
                <a:lnTo>
                  <a:pt x="147" y="804"/>
                </a:lnTo>
                <a:lnTo>
                  <a:pt x="153" y="801"/>
                </a:lnTo>
                <a:lnTo>
                  <a:pt x="157" y="801"/>
                </a:lnTo>
                <a:lnTo>
                  <a:pt x="157" y="798"/>
                </a:lnTo>
                <a:lnTo>
                  <a:pt x="150" y="801"/>
                </a:lnTo>
                <a:lnTo>
                  <a:pt x="147" y="801"/>
                </a:lnTo>
                <a:lnTo>
                  <a:pt x="141" y="801"/>
                </a:lnTo>
                <a:lnTo>
                  <a:pt x="138" y="801"/>
                </a:lnTo>
                <a:lnTo>
                  <a:pt x="128" y="763"/>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0" name="Freeform 198">
            <a:extLst>
              <a:ext uri="{FF2B5EF4-FFF2-40B4-BE49-F238E27FC236}">
                <a16:creationId xmlns:a16="http://schemas.microsoft.com/office/drawing/2014/main" id="{87595A88-9575-6967-AFA9-6B4931DC6FEF}"/>
              </a:ext>
            </a:extLst>
          </p:cNvPr>
          <p:cNvSpPr>
            <a:spLocks noEditPoints="1"/>
          </p:cNvSpPr>
          <p:nvPr userDrawn="1"/>
        </p:nvSpPr>
        <p:spPr bwMode="auto">
          <a:xfrm>
            <a:off x="8794176" y="10508533"/>
            <a:ext cx="682582" cy="2968626"/>
          </a:xfrm>
          <a:custGeom>
            <a:avLst/>
            <a:gdLst>
              <a:gd name="T0" fmla="*/ 47 w 69"/>
              <a:gd name="T1" fmla="*/ 287 h 299"/>
              <a:gd name="T2" fmla="*/ 46 w 69"/>
              <a:gd name="T3" fmla="*/ 290 h 299"/>
              <a:gd name="T4" fmla="*/ 57 w 69"/>
              <a:gd name="T5" fmla="*/ 290 h 299"/>
              <a:gd name="T6" fmla="*/ 47 w 69"/>
              <a:gd name="T7" fmla="*/ 278 h 299"/>
              <a:gd name="T8" fmla="*/ 55 w 69"/>
              <a:gd name="T9" fmla="*/ 274 h 299"/>
              <a:gd name="T10" fmla="*/ 21 w 69"/>
              <a:gd name="T11" fmla="*/ 246 h 299"/>
              <a:gd name="T12" fmla="*/ 21 w 69"/>
              <a:gd name="T13" fmla="*/ 202 h 299"/>
              <a:gd name="T14" fmla="*/ 16 w 69"/>
              <a:gd name="T15" fmla="*/ 169 h 299"/>
              <a:gd name="T16" fmla="*/ 21 w 69"/>
              <a:gd name="T17" fmla="*/ 116 h 299"/>
              <a:gd name="T18" fmla="*/ 23 w 69"/>
              <a:gd name="T19" fmla="*/ 67 h 299"/>
              <a:gd name="T20" fmla="*/ 22 w 69"/>
              <a:gd name="T21" fmla="*/ 25 h 299"/>
              <a:gd name="T22" fmla="*/ 10 w 69"/>
              <a:gd name="T23" fmla="*/ 5 h 299"/>
              <a:gd name="T24" fmla="*/ 7 w 69"/>
              <a:gd name="T25" fmla="*/ 39 h 299"/>
              <a:gd name="T26" fmla="*/ 7 w 69"/>
              <a:gd name="T27" fmla="*/ 74 h 299"/>
              <a:gd name="T28" fmla="*/ 9 w 69"/>
              <a:gd name="T29" fmla="*/ 106 h 299"/>
              <a:gd name="T30" fmla="*/ 6 w 69"/>
              <a:gd name="T31" fmla="*/ 129 h 299"/>
              <a:gd name="T32" fmla="*/ 3 w 69"/>
              <a:gd name="T33" fmla="*/ 148 h 299"/>
              <a:gd name="T34" fmla="*/ 4 w 69"/>
              <a:gd name="T35" fmla="*/ 172 h 299"/>
              <a:gd name="T36" fmla="*/ 15 w 69"/>
              <a:gd name="T37" fmla="*/ 183 h 299"/>
              <a:gd name="T38" fmla="*/ 12 w 69"/>
              <a:gd name="T39" fmla="*/ 196 h 299"/>
              <a:gd name="T40" fmla="*/ 12 w 69"/>
              <a:gd name="T41" fmla="*/ 216 h 299"/>
              <a:gd name="T42" fmla="*/ 4 w 69"/>
              <a:gd name="T43" fmla="*/ 211 h 299"/>
              <a:gd name="T44" fmla="*/ 8 w 69"/>
              <a:gd name="T45" fmla="*/ 219 h 299"/>
              <a:gd name="T46" fmla="*/ 14 w 69"/>
              <a:gd name="T47" fmla="*/ 227 h 299"/>
              <a:gd name="T48" fmla="*/ 14 w 69"/>
              <a:gd name="T49" fmla="*/ 235 h 299"/>
              <a:gd name="T50" fmla="*/ 16 w 69"/>
              <a:gd name="T51" fmla="*/ 246 h 299"/>
              <a:gd name="T52" fmla="*/ 22 w 69"/>
              <a:gd name="T53" fmla="*/ 258 h 299"/>
              <a:gd name="T54" fmla="*/ 28 w 69"/>
              <a:gd name="T55" fmla="*/ 262 h 299"/>
              <a:gd name="T56" fmla="*/ 30 w 69"/>
              <a:gd name="T57" fmla="*/ 267 h 299"/>
              <a:gd name="T58" fmla="*/ 26 w 69"/>
              <a:gd name="T59" fmla="*/ 270 h 299"/>
              <a:gd name="T60" fmla="*/ 32 w 69"/>
              <a:gd name="T61" fmla="*/ 269 h 299"/>
              <a:gd name="T62" fmla="*/ 30 w 69"/>
              <a:gd name="T63" fmla="*/ 275 h 299"/>
              <a:gd name="T64" fmla="*/ 40 w 69"/>
              <a:gd name="T65" fmla="*/ 272 h 299"/>
              <a:gd name="T66" fmla="*/ 41 w 69"/>
              <a:gd name="T67" fmla="*/ 281 h 299"/>
              <a:gd name="T68" fmla="*/ 53 w 69"/>
              <a:gd name="T69" fmla="*/ 265 h 299"/>
              <a:gd name="T70" fmla="*/ 4 w 69"/>
              <a:gd name="T71" fmla="*/ 184 h 299"/>
              <a:gd name="T72" fmla="*/ 11 w 69"/>
              <a:gd name="T73" fmla="*/ 181 h 299"/>
              <a:gd name="T74" fmla="*/ 9 w 69"/>
              <a:gd name="T75" fmla="*/ 194 h 299"/>
              <a:gd name="T76" fmla="*/ 4 w 69"/>
              <a:gd name="T77" fmla="*/ 201 h 299"/>
              <a:gd name="T78" fmla="*/ 6 w 69"/>
              <a:gd name="T79" fmla="*/ 200 h 299"/>
              <a:gd name="T80" fmla="*/ 13 w 69"/>
              <a:gd name="T81" fmla="*/ 198 h 299"/>
              <a:gd name="T82" fmla="*/ 8 w 69"/>
              <a:gd name="T83" fmla="*/ 204 h 299"/>
              <a:gd name="T84" fmla="*/ 10 w 69"/>
              <a:gd name="T85" fmla="*/ 233 h 299"/>
              <a:gd name="T86" fmla="*/ 8 w 69"/>
              <a:gd name="T87" fmla="*/ 232 h 299"/>
              <a:gd name="T88" fmla="*/ 7 w 69"/>
              <a:gd name="T89" fmla="*/ 239 h 299"/>
              <a:gd name="T90" fmla="*/ 9 w 69"/>
              <a:gd name="T91" fmla="*/ 241 h 299"/>
              <a:gd name="T92" fmla="*/ 13 w 69"/>
              <a:gd name="T93" fmla="*/ 245 h 299"/>
              <a:gd name="T94" fmla="*/ 14 w 69"/>
              <a:gd name="T95" fmla="*/ 254 h 299"/>
              <a:gd name="T96" fmla="*/ 14 w 69"/>
              <a:gd name="T97" fmla="*/ 253 h 299"/>
              <a:gd name="T98" fmla="*/ 16 w 69"/>
              <a:gd name="T99" fmla="*/ 262 h 299"/>
              <a:gd name="T100" fmla="*/ 20 w 69"/>
              <a:gd name="T101" fmla="*/ 265 h 299"/>
              <a:gd name="T102" fmla="*/ 21 w 69"/>
              <a:gd name="T103" fmla="*/ 265 h 299"/>
              <a:gd name="T104" fmla="*/ 25 w 69"/>
              <a:gd name="T105" fmla="*/ 270 h 299"/>
              <a:gd name="T106" fmla="*/ 30 w 69"/>
              <a:gd name="T107" fmla="*/ 277 h 299"/>
              <a:gd name="T108" fmla="*/ 31 w 69"/>
              <a:gd name="T109" fmla="*/ 283 h 299"/>
              <a:gd name="T110" fmla="*/ 36 w 69"/>
              <a:gd name="T111" fmla="*/ 283 h 299"/>
              <a:gd name="T112" fmla="*/ 38 w 69"/>
              <a:gd name="T113" fmla="*/ 284 h 299"/>
              <a:gd name="T114" fmla="*/ 44 w 69"/>
              <a:gd name="T115" fmla="*/ 281 h 299"/>
              <a:gd name="T116" fmla="*/ 68 w 69"/>
              <a:gd name="T117" fmla="*/ 296 h 299"/>
              <a:gd name="T118" fmla="*/ 64 w 69"/>
              <a:gd name="T119" fmla="*/ 292 h 299"/>
              <a:gd name="T120" fmla="*/ 58 w 69"/>
              <a:gd name="T121" fmla="*/ 29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 h="299">
                <a:moveTo>
                  <a:pt x="59" y="289"/>
                </a:moveTo>
                <a:cubicBezTo>
                  <a:pt x="58" y="287"/>
                  <a:pt x="58" y="287"/>
                  <a:pt x="58" y="287"/>
                </a:cubicBezTo>
                <a:cubicBezTo>
                  <a:pt x="58" y="287"/>
                  <a:pt x="58" y="287"/>
                  <a:pt x="58" y="287"/>
                </a:cubicBezTo>
                <a:cubicBezTo>
                  <a:pt x="56" y="286"/>
                  <a:pt x="56" y="286"/>
                  <a:pt x="56" y="286"/>
                </a:cubicBezTo>
                <a:cubicBezTo>
                  <a:pt x="54" y="285"/>
                  <a:pt x="54" y="285"/>
                  <a:pt x="54" y="285"/>
                </a:cubicBezTo>
                <a:cubicBezTo>
                  <a:pt x="51" y="284"/>
                  <a:pt x="51" y="284"/>
                  <a:pt x="51" y="284"/>
                </a:cubicBezTo>
                <a:cubicBezTo>
                  <a:pt x="50" y="284"/>
                  <a:pt x="50" y="284"/>
                  <a:pt x="50" y="284"/>
                </a:cubicBezTo>
                <a:cubicBezTo>
                  <a:pt x="49" y="284"/>
                  <a:pt x="49" y="284"/>
                  <a:pt x="49" y="284"/>
                </a:cubicBezTo>
                <a:cubicBezTo>
                  <a:pt x="50" y="285"/>
                  <a:pt x="50" y="285"/>
                  <a:pt x="50" y="285"/>
                </a:cubicBezTo>
                <a:cubicBezTo>
                  <a:pt x="49" y="285"/>
                  <a:pt x="49" y="285"/>
                  <a:pt x="49" y="285"/>
                </a:cubicBezTo>
                <a:cubicBezTo>
                  <a:pt x="49" y="285"/>
                  <a:pt x="49" y="285"/>
                  <a:pt x="49" y="285"/>
                </a:cubicBezTo>
                <a:cubicBezTo>
                  <a:pt x="47" y="284"/>
                  <a:pt x="47" y="284"/>
                  <a:pt x="47" y="284"/>
                </a:cubicBezTo>
                <a:cubicBezTo>
                  <a:pt x="46" y="283"/>
                  <a:pt x="46" y="283"/>
                  <a:pt x="46" y="283"/>
                </a:cubicBezTo>
                <a:cubicBezTo>
                  <a:pt x="45" y="284"/>
                  <a:pt x="45" y="284"/>
                  <a:pt x="45" y="284"/>
                </a:cubicBezTo>
                <a:cubicBezTo>
                  <a:pt x="46" y="284"/>
                  <a:pt x="46" y="284"/>
                  <a:pt x="46" y="284"/>
                </a:cubicBezTo>
                <a:cubicBezTo>
                  <a:pt x="48" y="286"/>
                  <a:pt x="48" y="286"/>
                  <a:pt x="48" y="286"/>
                </a:cubicBezTo>
                <a:cubicBezTo>
                  <a:pt x="49" y="286"/>
                  <a:pt x="49" y="286"/>
                  <a:pt x="49" y="286"/>
                </a:cubicBezTo>
                <a:cubicBezTo>
                  <a:pt x="48" y="286"/>
                  <a:pt x="48" y="286"/>
                  <a:pt x="48" y="286"/>
                </a:cubicBezTo>
                <a:cubicBezTo>
                  <a:pt x="48" y="286"/>
                  <a:pt x="48" y="286"/>
                  <a:pt x="48" y="286"/>
                </a:cubicBezTo>
                <a:cubicBezTo>
                  <a:pt x="48" y="287"/>
                  <a:pt x="48" y="287"/>
                  <a:pt x="48" y="287"/>
                </a:cubicBezTo>
                <a:cubicBezTo>
                  <a:pt x="47" y="287"/>
                  <a:pt x="47" y="287"/>
                  <a:pt x="47" y="287"/>
                </a:cubicBezTo>
                <a:cubicBezTo>
                  <a:pt x="47" y="286"/>
                  <a:pt x="47" y="286"/>
                  <a:pt x="47" y="286"/>
                </a:cubicBezTo>
                <a:cubicBezTo>
                  <a:pt x="45" y="285"/>
                  <a:pt x="45" y="285"/>
                  <a:pt x="45" y="285"/>
                </a:cubicBezTo>
                <a:cubicBezTo>
                  <a:pt x="45" y="286"/>
                  <a:pt x="45" y="286"/>
                  <a:pt x="45" y="286"/>
                </a:cubicBezTo>
                <a:cubicBezTo>
                  <a:pt x="45" y="286"/>
                  <a:pt x="45" y="286"/>
                  <a:pt x="45" y="286"/>
                </a:cubicBezTo>
                <a:cubicBezTo>
                  <a:pt x="44" y="287"/>
                  <a:pt x="44" y="287"/>
                  <a:pt x="44" y="287"/>
                </a:cubicBezTo>
                <a:cubicBezTo>
                  <a:pt x="42" y="287"/>
                  <a:pt x="42" y="287"/>
                  <a:pt x="42" y="287"/>
                </a:cubicBezTo>
                <a:cubicBezTo>
                  <a:pt x="42" y="287"/>
                  <a:pt x="42" y="287"/>
                  <a:pt x="42" y="287"/>
                </a:cubicBezTo>
                <a:cubicBezTo>
                  <a:pt x="42" y="287"/>
                  <a:pt x="42" y="287"/>
                  <a:pt x="42" y="287"/>
                </a:cubicBezTo>
                <a:cubicBezTo>
                  <a:pt x="42" y="288"/>
                  <a:pt x="42" y="288"/>
                  <a:pt x="42" y="288"/>
                </a:cubicBezTo>
                <a:cubicBezTo>
                  <a:pt x="41" y="288"/>
                  <a:pt x="41" y="288"/>
                  <a:pt x="41" y="288"/>
                </a:cubicBezTo>
                <a:cubicBezTo>
                  <a:pt x="40" y="288"/>
                  <a:pt x="40" y="288"/>
                  <a:pt x="40" y="288"/>
                </a:cubicBezTo>
                <a:cubicBezTo>
                  <a:pt x="40" y="289"/>
                  <a:pt x="40" y="289"/>
                  <a:pt x="40" y="289"/>
                </a:cubicBezTo>
                <a:cubicBezTo>
                  <a:pt x="41" y="289"/>
                  <a:pt x="41" y="289"/>
                  <a:pt x="41" y="289"/>
                </a:cubicBezTo>
                <a:cubicBezTo>
                  <a:pt x="43" y="289"/>
                  <a:pt x="43" y="289"/>
                  <a:pt x="43" y="289"/>
                </a:cubicBezTo>
                <a:cubicBezTo>
                  <a:pt x="43" y="288"/>
                  <a:pt x="43" y="288"/>
                  <a:pt x="43" y="288"/>
                </a:cubicBezTo>
                <a:cubicBezTo>
                  <a:pt x="43" y="288"/>
                  <a:pt x="43" y="288"/>
                  <a:pt x="43" y="288"/>
                </a:cubicBezTo>
                <a:cubicBezTo>
                  <a:pt x="44" y="288"/>
                  <a:pt x="44" y="288"/>
                  <a:pt x="44" y="288"/>
                </a:cubicBezTo>
                <a:cubicBezTo>
                  <a:pt x="45" y="289"/>
                  <a:pt x="45" y="289"/>
                  <a:pt x="45" y="289"/>
                </a:cubicBezTo>
                <a:cubicBezTo>
                  <a:pt x="46" y="289"/>
                  <a:pt x="46" y="289"/>
                  <a:pt x="46" y="289"/>
                </a:cubicBezTo>
                <a:cubicBezTo>
                  <a:pt x="46" y="289"/>
                  <a:pt x="46" y="289"/>
                  <a:pt x="46" y="289"/>
                </a:cubicBezTo>
                <a:cubicBezTo>
                  <a:pt x="46" y="290"/>
                  <a:pt x="46" y="290"/>
                  <a:pt x="46" y="290"/>
                </a:cubicBezTo>
                <a:cubicBezTo>
                  <a:pt x="47" y="290"/>
                  <a:pt x="47" y="290"/>
                  <a:pt x="47" y="290"/>
                </a:cubicBezTo>
                <a:cubicBezTo>
                  <a:pt x="46" y="291"/>
                  <a:pt x="46" y="291"/>
                  <a:pt x="46" y="291"/>
                </a:cubicBezTo>
                <a:cubicBezTo>
                  <a:pt x="46" y="292"/>
                  <a:pt x="46" y="292"/>
                  <a:pt x="46" y="292"/>
                </a:cubicBezTo>
                <a:cubicBezTo>
                  <a:pt x="46" y="293"/>
                  <a:pt x="46" y="293"/>
                  <a:pt x="46" y="293"/>
                </a:cubicBezTo>
                <a:cubicBezTo>
                  <a:pt x="47" y="293"/>
                  <a:pt x="47" y="293"/>
                  <a:pt x="47" y="293"/>
                </a:cubicBezTo>
                <a:cubicBezTo>
                  <a:pt x="48" y="293"/>
                  <a:pt x="48" y="293"/>
                  <a:pt x="48" y="293"/>
                </a:cubicBezTo>
                <a:cubicBezTo>
                  <a:pt x="49" y="294"/>
                  <a:pt x="49" y="294"/>
                  <a:pt x="49" y="294"/>
                </a:cubicBezTo>
                <a:cubicBezTo>
                  <a:pt x="50" y="294"/>
                  <a:pt x="50" y="294"/>
                  <a:pt x="50" y="294"/>
                </a:cubicBezTo>
                <a:cubicBezTo>
                  <a:pt x="50" y="294"/>
                  <a:pt x="50" y="294"/>
                  <a:pt x="50" y="294"/>
                </a:cubicBezTo>
                <a:cubicBezTo>
                  <a:pt x="49" y="293"/>
                  <a:pt x="49" y="293"/>
                  <a:pt x="49" y="293"/>
                </a:cubicBezTo>
                <a:cubicBezTo>
                  <a:pt x="48" y="292"/>
                  <a:pt x="48" y="292"/>
                  <a:pt x="48" y="292"/>
                </a:cubicBezTo>
                <a:cubicBezTo>
                  <a:pt x="48" y="292"/>
                  <a:pt x="48" y="292"/>
                  <a:pt x="48" y="292"/>
                </a:cubicBezTo>
                <a:cubicBezTo>
                  <a:pt x="48" y="292"/>
                  <a:pt x="48" y="292"/>
                  <a:pt x="48" y="292"/>
                </a:cubicBezTo>
                <a:cubicBezTo>
                  <a:pt x="49" y="292"/>
                  <a:pt x="49" y="292"/>
                  <a:pt x="49" y="292"/>
                </a:cubicBezTo>
                <a:cubicBezTo>
                  <a:pt x="50" y="292"/>
                  <a:pt x="50" y="292"/>
                  <a:pt x="50" y="292"/>
                </a:cubicBezTo>
                <a:cubicBezTo>
                  <a:pt x="50" y="291"/>
                  <a:pt x="50" y="291"/>
                  <a:pt x="50" y="291"/>
                </a:cubicBezTo>
                <a:cubicBezTo>
                  <a:pt x="49" y="291"/>
                  <a:pt x="49" y="291"/>
                  <a:pt x="49" y="291"/>
                </a:cubicBezTo>
                <a:cubicBezTo>
                  <a:pt x="48" y="290"/>
                  <a:pt x="48" y="290"/>
                  <a:pt x="48" y="290"/>
                </a:cubicBezTo>
                <a:cubicBezTo>
                  <a:pt x="51" y="289"/>
                  <a:pt x="51" y="289"/>
                  <a:pt x="51" y="289"/>
                </a:cubicBezTo>
                <a:cubicBezTo>
                  <a:pt x="52" y="289"/>
                  <a:pt x="52" y="289"/>
                  <a:pt x="52" y="289"/>
                </a:cubicBezTo>
                <a:cubicBezTo>
                  <a:pt x="57" y="290"/>
                  <a:pt x="57" y="290"/>
                  <a:pt x="57" y="290"/>
                </a:cubicBezTo>
                <a:cubicBezTo>
                  <a:pt x="58" y="290"/>
                  <a:pt x="58" y="290"/>
                  <a:pt x="58" y="290"/>
                </a:cubicBezTo>
                <a:cubicBezTo>
                  <a:pt x="57" y="289"/>
                  <a:pt x="57" y="289"/>
                  <a:pt x="57" y="289"/>
                </a:cubicBezTo>
                <a:cubicBezTo>
                  <a:pt x="59" y="289"/>
                  <a:pt x="59" y="289"/>
                  <a:pt x="59" y="289"/>
                </a:cubicBezTo>
                <a:close/>
                <a:moveTo>
                  <a:pt x="58" y="286"/>
                </a:moveTo>
                <a:cubicBezTo>
                  <a:pt x="57" y="286"/>
                  <a:pt x="57" y="286"/>
                  <a:pt x="57" y="286"/>
                </a:cubicBezTo>
                <a:cubicBezTo>
                  <a:pt x="54" y="284"/>
                  <a:pt x="54" y="284"/>
                  <a:pt x="54" y="284"/>
                </a:cubicBezTo>
                <a:cubicBezTo>
                  <a:pt x="52" y="283"/>
                  <a:pt x="52" y="283"/>
                  <a:pt x="52" y="283"/>
                </a:cubicBezTo>
                <a:cubicBezTo>
                  <a:pt x="50" y="283"/>
                  <a:pt x="50" y="283"/>
                  <a:pt x="50" y="283"/>
                </a:cubicBezTo>
                <a:cubicBezTo>
                  <a:pt x="49" y="282"/>
                  <a:pt x="49" y="282"/>
                  <a:pt x="49" y="282"/>
                </a:cubicBezTo>
                <a:cubicBezTo>
                  <a:pt x="48" y="281"/>
                  <a:pt x="48" y="281"/>
                  <a:pt x="48" y="281"/>
                </a:cubicBezTo>
                <a:cubicBezTo>
                  <a:pt x="48" y="280"/>
                  <a:pt x="48" y="280"/>
                  <a:pt x="48" y="280"/>
                </a:cubicBezTo>
                <a:cubicBezTo>
                  <a:pt x="48" y="280"/>
                  <a:pt x="48" y="280"/>
                  <a:pt x="48" y="280"/>
                </a:cubicBezTo>
                <a:cubicBezTo>
                  <a:pt x="50" y="279"/>
                  <a:pt x="50" y="279"/>
                  <a:pt x="50" y="279"/>
                </a:cubicBezTo>
                <a:cubicBezTo>
                  <a:pt x="50" y="278"/>
                  <a:pt x="50" y="278"/>
                  <a:pt x="50" y="278"/>
                </a:cubicBezTo>
                <a:cubicBezTo>
                  <a:pt x="51" y="278"/>
                  <a:pt x="51" y="278"/>
                  <a:pt x="51" y="278"/>
                </a:cubicBezTo>
                <a:cubicBezTo>
                  <a:pt x="52" y="277"/>
                  <a:pt x="52" y="277"/>
                  <a:pt x="52" y="277"/>
                </a:cubicBezTo>
                <a:cubicBezTo>
                  <a:pt x="52" y="275"/>
                  <a:pt x="52" y="275"/>
                  <a:pt x="52" y="275"/>
                </a:cubicBezTo>
                <a:cubicBezTo>
                  <a:pt x="50" y="275"/>
                  <a:pt x="50" y="275"/>
                  <a:pt x="50" y="275"/>
                </a:cubicBezTo>
                <a:cubicBezTo>
                  <a:pt x="49" y="276"/>
                  <a:pt x="49" y="276"/>
                  <a:pt x="49" y="276"/>
                </a:cubicBezTo>
                <a:cubicBezTo>
                  <a:pt x="48" y="277"/>
                  <a:pt x="48" y="277"/>
                  <a:pt x="48" y="277"/>
                </a:cubicBezTo>
                <a:cubicBezTo>
                  <a:pt x="47" y="278"/>
                  <a:pt x="47" y="278"/>
                  <a:pt x="47" y="278"/>
                </a:cubicBezTo>
                <a:cubicBezTo>
                  <a:pt x="46" y="276"/>
                  <a:pt x="46" y="276"/>
                  <a:pt x="46" y="276"/>
                </a:cubicBezTo>
                <a:cubicBezTo>
                  <a:pt x="45" y="275"/>
                  <a:pt x="45" y="275"/>
                  <a:pt x="45" y="275"/>
                </a:cubicBezTo>
                <a:cubicBezTo>
                  <a:pt x="45" y="274"/>
                  <a:pt x="45" y="274"/>
                  <a:pt x="45" y="274"/>
                </a:cubicBezTo>
                <a:cubicBezTo>
                  <a:pt x="46" y="273"/>
                  <a:pt x="46" y="273"/>
                  <a:pt x="46" y="273"/>
                </a:cubicBezTo>
                <a:cubicBezTo>
                  <a:pt x="46" y="272"/>
                  <a:pt x="46" y="272"/>
                  <a:pt x="46" y="272"/>
                </a:cubicBezTo>
                <a:cubicBezTo>
                  <a:pt x="45" y="272"/>
                  <a:pt x="45" y="272"/>
                  <a:pt x="45" y="272"/>
                </a:cubicBezTo>
                <a:cubicBezTo>
                  <a:pt x="45" y="271"/>
                  <a:pt x="45" y="271"/>
                  <a:pt x="45" y="271"/>
                </a:cubicBezTo>
                <a:cubicBezTo>
                  <a:pt x="45" y="270"/>
                  <a:pt x="45" y="270"/>
                  <a:pt x="45" y="270"/>
                </a:cubicBezTo>
                <a:cubicBezTo>
                  <a:pt x="46" y="271"/>
                  <a:pt x="46" y="271"/>
                  <a:pt x="46" y="271"/>
                </a:cubicBezTo>
                <a:cubicBezTo>
                  <a:pt x="47" y="271"/>
                  <a:pt x="47" y="271"/>
                  <a:pt x="47" y="271"/>
                </a:cubicBezTo>
                <a:cubicBezTo>
                  <a:pt x="48" y="271"/>
                  <a:pt x="48" y="271"/>
                  <a:pt x="48" y="271"/>
                </a:cubicBezTo>
                <a:cubicBezTo>
                  <a:pt x="49" y="270"/>
                  <a:pt x="49" y="270"/>
                  <a:pt x="49" y="270"/>
                </a:cubicBezTo>
                <a:cubicBezTo>
                  <a:pt x="49" y="269"/>
                  <a:pt x="49" y="269"/>
                  <a:pt x="49" y="269"/>
                </a:cubicBezTo>
                <a:cubicBezTo>
                  <a:pt x="49" y="268"/>
                  <a:pt x="49" y="268"/>
                  <a:pt x="49" y="268"/>
                </a:cubicBezTo>
                <a:cubicBezTo>
                  <a:pt x="49" y="267"/>
                  <a:pt x="49" y="267"/>
                  <a:pt x="49" y="267"/>
                </a:cubicBezTo>
                <a:cubicBezTo>
                  <a:pt x="50" y="267"/>
                  <a:pt x="50" y="267"/>
                  <a:pt x="50" y="267"/>
                </a:cubicBezTo>
                <a:cubicBezTo>
                  <a:pt x="51" y="268"/>
                  <a:pt x="51" y="268"/>
                  <a:pt x="51" y="268"/>
                </a:cubicBezTo>
                <a:cubicBezTo>
                  <a:pt x="52" y="268"/>
                  <a:pt x="52" y="268"/>
                  <a:pt x="52" y="268"/>
                </a:cubicBezTo>
                <a:cubicBezTo>
                  <a:pt x="53" y="267"/>
                  <a:pt x="53" y="267"/>
                  <a:pt x="53" y="267"/>
                </a:cubicBezTo>
                <a:cubicBezTo>
                  <a:pt x="55" y="274"/>
                  <a:pt x="55" y="274"/>
                  <a:pt x="55" y="274"/>
                </a:cubicBezTo>
                <a:cubicBezTo>
                  <a:pt x="55" y="274"/>
                  <a:pt x="55" y="274"/>
                  <a:pt x="55" y="274"/>
                </a:cubicBezTo>
                <a:cubicBezTo>
                  <a:pt x="55" y="274"/>
                  <a:pt x="55" y="274"/>
                  <a:pt x="55" y="274"/>
                </a:cubicBezTo>
                <a:cubicBezTo>
                  <a:pt x="58" y="286"/>
                  <a:pt x="58" y="286"/>
                  <a:pt x="58" y="286"/>
                </a:cubicBezTo>
                <a:close/>
                <a:moveTo>
                  <a:pt x="53" y="265"/>
                </a:moveTo>
                <a:cubicBezTo>
                  <a:pt x="51" y="263"/>
                  <a:pt x="51" y="263"/>
                  <a:pt x="51" y="263"/>
                </a:cubicBezTo>
                <a:cubicBezTo>
                  <a:pt x="50" y="263"/>
                  <a:pt x="50" y="263"/>
                  <a:pt x="50" y="263"/>
                </a:cubicBezTo>
                <a:cubicBezTo>
                  <a:pt x="50" y="262"/>
                  <a:pt x="50" y="262"/>
                  <a:pt x="50" y="262"/>
                </a:cubicBezTo>
                <a:cubicBezTo>
                  <a:pt x="42" y="262"/>
                  <a:pt x="42" y="262"/>
                  <a:pt x="42" y="262"/>
                </a:cubicBezTo>
                <a:cubicBezTo>
                  <a:pt x="37" y="263"/>
                  <a:pt x="37" y="263"/>
                  <a:pt x="37" y="263"/>
                </a:cubicBezTo>
                <a:cubicBezTo>
                  <a:pt x="36" y="263"/>
                  <a:pt x="36" y="263"/>
                  <a:pt x="36" y="263"/>
                </a:cubicBezTo>
                <a:cubicBezTo>
                  <a:pt x="33" y="262"/>
                  <a:pt x="33" y="262"/>
                  <a:pt x="33" y="262"/>
                </a:cubicBezTo>
                <a:cubicBezTo>
                  <a:pt x="32" y="260"/>
                  <a:pt x="32" y="260"/>
                  <a:pt x="32" y="260"/>
                </a:cubicBezTo>
                <a:cubicBezTo>
                  <a:pt x="31" y="258"/>
                  <a:pt x="31" y="258"/>
                  <a:pt x="31" y="258"/>
                </a:cubicBezTo>
                <a:cubicBezTo>
                  <a:pt x="30" y="256"/>
                  <a:pt x="30" y="256"/>
                  <a:pt x="30" y="256"/>
                </a:cubicBezTo>
                <a:cubicBezTo>
                  <a:pt x="30" y="253"/>
                  <a:pt x="30" y="253"/>
                  <a:pt x="30" y="253"/>
                </a:cubicBezTo>
                <a:cubicBezTo>
                  <a:pt x="30" y="251"/>
                  <a:pt x="30" y="251"/>
                  <a:pt x="30" y="251"/>
                </a:cubicBezTo>
                <a:cubicBezTo>
                  <a:pt x="28" y="251"/>
                  <a:pt x="28" y="251"/>
                  <a:pt x="28" y="251"/>
                </a:cubicBezTo>
                <a:cubicBezTo>
                  <a:pt x="26" y="252"/>
                  <a:pt x="26" y="252"/>
                  <a:pt x="26" y="252"/>
                </a:cubicBezTo>
                <a:cubicBezTo>
                  <a:pt x="25" y="253"/>
                  <a:pt x="25" y="253"/>
                  <a:pt x="25" y="253"/>
                </a:cubicBezTo>
                <a:cubicBezTo>
                  <a:pt x="24" y="253"/>
                  <a:pt x="24" y="253"/>
                  <a:pt x="24" y="253"/>
                </a:cubicBezTo>
                <a:cubicBezTo>
                  <a:pt x="21" y="248"/>
                  <a:pt x="21" y="248"/>
                  <a:pt x="21" y="248"/>
                </a:cubicBezTo>
                <a:cubicBezTo>
                  <a:pt x="21" y="246"/>
                  <a:pt x="21" y="246"/>
                  <a:pt x="21" y="246"/>
                </a:cubicBezTo>
                <a:cubicBezTo>
                  <a:pt x="22" y="240"/>
                  <a:pt x="22" y="240"/>
                  <a:pt x="22" y="240"/>
                </a:cubicBezTo>
                <a:cubicBezTo>
                  <a:pt x="23" y="238"/>
                  <a:pt x="23" y="238"/>
                  <a:pt x="23" y="238"/>
                </a:cubicBezTo>
                <a:cubicBezTo>
                  <a:pt x="25" y="236"/>
                  <a:pt x="25" y="236"/>
                  <a:pt x="25" y="236"/>
                </a:cubicBezTo>
                <a:cubicBezTo>
                  <a:pt x="26" y="233"/>
                  <a:pt x="26" y="233"/>
                  <a:pt x="26" y="233"/>
                </a:cubicBezTo>
                <a:cubicBezTo>
                  <a:pt x="25" y="230"/>
                  <a:pt x="25" y="230"/>
                  <a:pt x="25" y="230"/>
                </a:cubicBezTo>
                <a:cubicBezTo>
                  <a:pt x="24" y="227"/>
                  <a:pt x="24" y="227"/>
                  <a:pt x="24" y="227"/>
                </a:cubicBezTo>
                <a:cubicBezTo>
                  <a:pt x="25" y="224"/>
                  <a:pt x="25" y="224"/>
                  <a:pt x="25" y="224"/>
                </a:cubicBezTo>
                <a:cubicBezTo>
                  <a:pt x="26" y="223"/>
                  <a:pt x="26" y="223"/>
                  <a:pt x="26" y="223"/>
                </a:cubicBezTo>
                <a:cubicBezTo>
                  <a:pt x="25" y="220"/>
                  <a:pt x="25" y="220"/>
                  <a:pt x="25" y="220"/>
                </a:cubicBezTo>
                <a:cubicBezTo>
                  <a:pt x="25" y="218"/>
                  <a:pt x="25" y="218"/>
                  <a:pt x="25" y="218"/>
                </a:cubicBezTo>
                <a:cubicBezTo>
                  <a:pt x="26" y="217"/>
                  <a:pt x="26" y="217"/>
                  <a:pt x="26" y="217"/>
                </a:cubicBezTo>
                <a:cubicBezTo>
                  <a:pt x="25" y="214"/>
                  <a:pt x="25" y="214"/>
                  <a:pt x="25" y="214"/>
                </a:cubicBezTo>
                <a:cubicBezTo>
                  <a:pt x="25" y="211"/>
                  <a:pt x="25" y="211"/>
                  <a:pt x="25" y="211"/>
                </a:cubicBezTo>
                <a:cubicBezTo>
                  <a:pt x="24" y="209"/>
                  <a:pt x="24" y="209"/>
                  <a:pt x="24" y="209"/>
                </a:cubicBezTo>
                <a:cubicBezTo>
                  <a:pt x="24" y="208"/>
                  <a:pt x="24" y="208"/>
                  <a:pt x="24" y="208"/>
                </a:cubicBezTo>
                <a:cubicBezTo>
                  <a:pt x="26" y="207"/>
                  <a:pt x="26" y="207"/>
                  <a:pt x="26" y="207"/>
                </a:cubicBezTo>
                <a:cubicBezTo>
                  <a:pt x="26" y="205"/>
                  <a:pt x="26" y="205"/>
                  <a:pt x="26" y="205"/>
                </a:cubicBezTo>
                <a:cubicBezTo>
                  <a:pt x="24" y="203"/>
                  <a:pt x="24" y="203"/>
                  <a:pt x="24" y="203"/>
                </a:cubicBezTo>
                <a:cubicBezTo>
                  <a:pt x="22" y="202"/>
                  <a:pt x="22" y="202"/>
                  <a:pt x="22" y="202"/>
                </a:cubicBezTo>
                <a:cubicBezTo>
                  <a:pt x="21" y="202"/>
                  <a:pt x="21" y="202"/>
                  <a:pt x="21" y="202"/>
                </a:cubicBezTo>
                <a:cubicBezTo>
                  <a:pt x="21" y="202"/>
                  <a:pt x="21" y="202"/>
                  <a:pt x="21" y="202"/>
                </a:cubicBezTo>
                <a:cubicBezTo>
                  <a:pt x="20" y="201"/>
                  <a:pt x="20" y="201"/>
                  <a:pt x="20" y="201"/>
                </a:cubicBezTo>
                <a:cubicBezTo>
                  <a:pt x="20" y="200"/>
                  <a:pt x="20" y="200"/>
                  <a:pt x="20" y="200"/>
                </a:cubicBezTo>
                <a:cubicBezTo>
                  <a:pt x="23" y="200"/>
                  <a:pt x="23" y="200"/>
                  <a:pt x="23" y="200"/>
                </a:cubicBezTo>
                <a:cubicBezTo>
                  <a:pt x="24" y="198"/>
                  <a:pt x="24" y="198"/>
                  <a:pt x="24" y="198"/>
                </a:cubicBezTo>
                <a:cubicBezTo>
                  <a:pt x="24" y="197"/>
                  <a:pt x="24" y="197"/>
                  <a:pt x="24" y="197"/>
                </a:cubicBezTo>
                <a:cubicBezTo>
                  <a:pt x="24" y="197"/>
                  <a:pt x="24" y="197"/>
                  <a:pt x="24" y="197"/>
                </a:cubicBezTo>
                <a:cubicBezTo>
                  <a:pt x="23" y="197"/>
                  <a:pt x="23" y="197"/>
                  <a:pt x="23" y="197"/>
                </a:cubicBezTo>
                <a:cubicBezTo>
                  <a:pt x="21" y="197"/>
                  <a:pt x="21" y="197"/>
                  <a:pt x="21" y="197"/>
                </a:cubicBezTo>
                <a:cubicBezTo>
                  <a:pt x="21" y="194"/>
                  <a:pt x="21" y="194"/>
                  <a:pt x="21" y="194"/>
                </a:cubicBezTo>
                <a:cubicBezTo>
                  <a:pt x="20" y="192"/>
                  <a:pt x="20" y="192"/>
                  <a:pt x="20" y="192"/>
                </a:cubicBezTo>
                <a:cubicBezTo>
                  <a:pt x="20" y="190"/>
                  <a:pt x="20" y="190"/>
                  <a:pt x="20" y="190"/>
                </a:cubicBezTo>
                <a:cubicBezTo>
                  <a:pt x="20" y="188"/>
                  <a:pt x="20" y="188"/>
                  <a:pt x="20" y="188"/>
                </a:cubicBezTo>
                <a:cubicBezTo>
                  <a:pt x="18" y="187"/>
                  <a:pt x="18" y="187"/>
                  <a:pt x="18" y="187"/>
                </a:cubicBezTo>
                <a:cubicBezTo>
                  <a:pt x="17" y="185"/>
                  <a:pt x="17" y="185"/>
                  <a:pt x="17" y="185"/>
                </a:cubicBezTo>
                <a:cubicBezTo>
                  <a:pt x="17" y="180"/>
                  <a:pt x="17" y="180"/>
                  <a:pt x="17" y="180"/>
                </a:cubicBezTo>
                <a:cubicBezTo>
                  <a:pt x="18" y="179"/>
                  <a:pt x="18" y="179"/>
                  <a:pt x="18" y="179"/>
                </a:cubicBezTo>
                <a:cubicBezTo>
                  <a:pt x="19" y="178"/>
                  <a:pt x="19" y="178"/>
                  <a:pt x="19" y="178"/>
                </a:cubicBezTo>
                <a:cubicBezTo>
                  <a:pt x="18" y="177"/>
                  <a:pt x="18" y="177"/>
                  <a:pt x="18" y="177"/>
                </a:cubicBezTo>
                <a:cubicBezTo>
                  <a:pt x="17" y="176"/>
                  <a:pt x="17" y="176"/>
                  <a:pt x="17" y="176"/>
                </a:cubicBezTo>
                <a:cubicBezTo>
                  <a:pt x="16" y="173"/>
                  <a:pt x="16" y="173"/>
                  <a:pt x="16" y="173"/>
                </a:cubicBezTo>
                <a:cubicBezTo>
                  <a:pt x="16" y="169"/>
                  <a:pt x="16" y="169"/>
                  <a:pt x="16" y="169"/>
                </a:cubicBezTo>
                <a:cubicBezTo>
                  <a:pt x="16" y="164"/>
                  <a:pt x="16" y="164"/>
                  <a:pt x="16" y="164"/>
                </a:cubicBezTo>
                <a:cubicBezTo>
                  <a:pt x="15" y="162"/>
                  <a:pt x="15" y="162"/>
                  <a:pt x="15" y="162"/>
                </a:cubicBezTo>
                <a:cubicBezTo>
                  <a:pt x="15" y="160"/>
                  <a:pt x="15" y="160"/>
                  <a:pt x="15" y="160"/>
                </a:cubicBezTo>
                <a:cubicBezTo>
                  <a:pt x="17" y="157"/>
                  <a:pt x="17" y="157"/>
                  <a:pt x="17" y="157"/>
                </a:cubicBezTo>
                <a:cubicBezTo>
                  <a:pt x="18" y="154"/>
                  <a:pt x="18" y="154"/>
                  <a:pt x="18" y="154"/>
                </a:cubicBezTo>
                <a:cubicBezTo>
                  <a:pt x="19" y="153"/>
                  <a:pt x="19" y="153"/>
                  <a:pt x="19" y="153"/>
                </a:cubicBezTo>
                <a:cubicBezTo>
                  <a:pt x="20" y="152"/>
                  <a:pt x="20" y="152"/>
                  <a:pt x="20" y="152"/>
                </a:cubicBezTo>
                <a:cubicBezTo>
                  <a:pt x="16" y="144"/>
                  <a:pt x="16" y="144"/>
                  <a:pt x="16" y="144"/>
                </a:cubicBezTo>
                <a:cubicBezTo>
                  <a:pt x="17" y="142"/>
                  <a:pt x="17" y="142"/>
                  <a:pt x="17" y="142"/>
                </a:cubicBezTo>
                <a:cubicBezTo>
                  <a:pt x="17" y="140"/>
                  <a:pt x="17" y="140"/>
                  <a:pt x="17" y="140"/>
                </a:cubicBezTo>
                <a:cubicBezTo>
                  <a:pt x="17" y="136"/>
                  <a:pt x="17" y="136"/>
                  <a:pt x="17" y="136"/>
                </a:cubicBezTo>
                <a:cubicBezTo>
                  <a:pt x="18" y="133"/>
                  <a:pt x="18" y="133"/>
                  <a:pt x="18" y="133"/>
                </a:cubicBezTo>
                <a:cubicBezTo>
                  <a:pt x="20" y="132"/>
                  <a:pt x="20" y="132"/>
                  <a:pt x="20" y="132"/>
                </a:cubicBezTo>
                <a:cubicBezTo>
                  <a:pt x="19" y="129"/>
                  <a:pt x="19" y="129"/>
                  <a:pt x="19" y="129"/>
                </a:cubicBezTo>
                <a:cubicBezTo>
                  <a:pt x="18" y="127"/>
                  <a:pt x="18" y="127"/>
                  <a:pt x="18" y="127"/>
                </a:cubicBezTo>
                <a:cubicBezTo>
                  <a:pt x="17" y="126"/>
                  <a:pt x="17" y="126"/>
                  <a:pt x="17" y="126"/>
                </a:cubicBezTo>
                <a:cubicBezTo>
                  <a:pt x="19" y="124"/>
                  <a:pt x="19" y="124"/>
                  <a:pt x="19" y="124"/>
                </a:cubicBezTo>
                <a:cubicBezTo>
                  <a:pt x="18" y="122"/>
                  <a:pt x="18" y="122"/>
                  <a:pt x="18" y="122"/>
                </a:cubicBezTo>
                <a:cubicBezTo>
                  <a:pt x="19" y="119"/>
                  <a:pt x="19" y="119"/>
                  <a:pt x="19" y="119"/>
                </a:cubicBezTo>
                <a:cubicBezTo>
                  <a:pt x="21" y="119"/>
                  <a:pt x="21" y="119"/>
                  <a:pt x="21" y="119"/>
                </a:cubicBezTo>
                <a:cubicBezTo>
                  <a:pt x="21" y="116"/>
                  <a:pt x="21" y="116"/>
                  <a:pt x="21" y="116"/>
                </a:cubicBezTo>
                <a:cubicBezTo>
                  <a:pt x="20" y="111"/>
                  <a:pt x="20" y="111"/>
                  <a:pt x="20" y="111"/>
                </a:cubicBezTo>
                <a:cubicBezTo>
                  <a:pt x="19" y="110"/>
                  <a:pt x="19" y="110"/>
                  <a:pt x="19" y="110"/>
                </a:cubicBezTo>
                <a:cubicBezTo>
                  <a:pt x="19" y="107"/>
                  <a:pt x="19" y="107"/>
                  <a:pt x="19" y="107"/>
                </a:cubicBezTo>
                <a:cubicBezTo>
                  <a:pt x="18" y="105"/>
                  <a:pt x="18" y="105"/>
                  <a:pt x="18" y="105"/>
                </a:cubicBezTo>
                <a:cubicBezTo>
                  <a:pt x="16" y="102"/>
                  <a:pt x="16" y="102"/>
                  <a:pt x="16" y="102"/>
                </a:cubicBezTo>
                <a:cubicBezTo>
                  <a:pt x="16" y="101"/>
                  <a:pt x="16" y="101"/>
                  <a:pt x="16" y="101"/>
                </a:cubicBezTo>
                <a:cubicBezTo>
                  <a:pt x="15" y="100"/>
                  <a:pt x="15" y="100"/>
                  <a:pt x="15" y="100"/>
                </a:cubicBezTo>
                <a:cubicBezTo>
                  <a:pt x="14" y="97"/>
                  <a:pt x="14" y="97"/>
                  <a:pt x="14" y="97"/>
                </a:cubicBezTo>
                <a:cubicBezTo>
                  <a:pt x="15" y="94"/>
                  <a:pt x="15" y="94"/>
                  <a:pt x="15" y="94"/>
                </a:cubicBezTo>
                <a:cubicBezTo>
                  <a:pt x="16" y="93"/>
                  <a:pt x="16" y="93"/>
                  <a:pt x="16" y="93"/>
                </a:cubicBezTo>
                <a:cubicBezTo>
                  <a:pt x="16" y="90"/>
                  <a:pt x="16" y="90"/>
                  <a:pt x="16" y="90"/>
                </a:cubicBezTo>
                <a:cubicBezTo>
                  <a:pt x="17" y="89"/>
                  <a:pt x="17" y="89"/>
                  <a:pt x="17" y="89"/>
                </a:cubicBezTo>
                <a:cubicBezTo>
                  <a:pt x="17" y="86"/>
                  <a:pt x="17" y="86"/>
                  <a:pt x="17" y="86"/>
                </a:cubicBezTo>
                <a:cubicBezTo>
                  <a:pt x="16" y="84"/>
                  <a:pt x="16" y="84"/>
                  <a:pt x="16" y="84"/>
                </a:cubicBezTo>
                <a:cubicBezTo>
                  <a:pt x="16" y="80"/>
                  <a:pt x="16" y="80"/>
                  <a:pt x="16" y="80"/>
                </a:cubicBezTo>
                <a:cubicBezTo>
                  <a:pt x="17" y="79"/>
                  <a:pt x="17" y="79"/>
                  <a:pt x="17" y="79"/>
                </a:cubicBezTo>
                <a:cubicBezTo>
                  <a:pt x="17" y="75"/>
                  <a:pt x="17" y="75"/>
                  <a:pt x="17" y="75"/>
                </a:cubicBezTo>
                <a:cubicBezTo>
                  <a:pt x="19" y="73"/>
                  <a:pt x="19" y="73"/>
                  <a:pt x="19" y="73"/>
                </a:cubicBezTo>
                <a:cubicBezTo>
                  <a:pt x="20" y="69"/>
                  <a:pt x="20" y="69"/>
                  <a:pt x="20" y="69"/>
                </a:cubicBezTo>
                <a:cubicBezTo>
                  <a:pt x="22" y="67"/>
                  <a:pt x="22" y="67"/>
                  <a:pt x="22" y="67"/>
                </a:cubicBezTo>
                <a:cubicBezTo>
                  <a:pt x="23" y="67"/>
                  <a:pt x="23" y="67"/>
                  <a:pt x="23" y="67"/>
                </a:cubicBezTo>
                <a:cubicBezTo>
                  <a:pt x="24" y="65"/>
                  <a:pt x="24" y="65"/>
                  <a:pt x="24" y="65"/>
                </a:cubicBezTo>
                <a:cubicBezTo>
                  <a:pt x="23" y="65"/>
                  <a:pt x="23" y="65"/>
                  <a:pt x="23" y="65"/>
                </a:cubicBezTo>
                <a:cubicBezTo>
                  <a:pt x="23" y="63"/>
                  <a:pt x="23" y="63"/>
                  <a:pt x="23" y="63"/>
                </a:cubicBezTo>
                <a:cubicBezTo>
                  <a:pt x="23" y="62"/>
                  <a:pt x="23" y="62"/>
                  <a:pt x="23" y="62"/>
                </a:cubicBezTo>
                <a:cubicBezTo>
                  <a:pt x="22" y="61"/>
                  <a:pt x="22" y="61"/>
                  <a:pt x="22" y="61"/>
                </a:cubicBezTo>
                <a:cubicBezTo>
                  <a:pt x="22" y="60"/>
                  <a:pt x="22" y="60"/>
                  <a:pt x="22" y="60"/>
                </a:cubicBezTo>
                <a:cubicBezTo>
                  <a:pt x="24" y="59"/>
                  <a:pt x="24" y="59"/>
                  <a:pt x="24" y="59"/>
                </a:cubicBezTo>
                <a:cubicBezTo>
                  <a:pt x="24" y="58"/>
                  <a:pt x="24" y="58"/>
                  <a:pt x="24" y="58"/>
                </a:cubicBezTo>
                <a:cubicBezTo>
                  <a:pt x="22" y="56"/>
                  <a:pt x="22" y="56"/>
                  <a:pt x="22" y="56"/>
                </a:cubicBezTo>
                <a:cubicBezTo>
                  <a:pt x="22" y="54"/>
                  <a:pt x="22" y="54"/>
                  <a:pt x="22" y="54"/>
                </a:cubicBezTo>
                <a:cubicBezTo>
                  <a:pt x="23" y="53"/>
                  <a:pt x="23" y="53"/>
                  <a:pt x="23" y="53"/>
                </a:cubicBezTo>
                <a:cubicBezTo>
                  <a:pt x="22" y="51"/>
                  <a:pt x="22" y="51"/>
                  <a:pt x="22" y="51"/>
                </a:cubicBezTo>
                <a:cubicBezTo>
                  <a:pt x="21" y="50"/>
                  <a:pt x="21" y="50"/>
                  <a:pt x="21" y="50"/>
                </a:cubicBezTo>
                <a:cubicBezTo>
                  <a:pt x="22" y="49"/>
                  <a:pt x="22" y="49"/>
                  <a:pt x="22" y="49"/>
                </a:cubicBezTo>
                <a:cubicBezTo>
                  <a:pt x="29" y="45"/>
                  <a:pt x="29" y="45"/>
                  <a:pt x="29" y="45"/>
                </a:cubicBezTo>
                <a:cubicBezTo>
                  <a:pt x="31" y="38"/>
                  <a:pt x="31" y="38"/>
                  <a:pt x="31" y="38"/>
                </a:cubicBezTo>
                <a:cubicBezTo>
                  <a:pt x="30" y="36"/>
                  <a:pt x="30" y="36"/>
                  <a:pt x="30" y="36"/>
                </a:cubicBezTo>
                <a:cubicBezTo>
                  <a:pt x="29" y="36"/>
                  <a:pt x="29" y="36"/>
                  <a:pt x="29" y="36"/>
                </a:cubicBezTo>
                <a:cubicBezTo>
                  <a:pt x="28" y="37"/>
                  <a:pt x="28" y="37"/>
                  <a:pt x="28" y="37"/>
                </a:cubicBezTo>
                <a:cubicBezTo>
                  <a:pt x="27" y="37"/>
                  <a:pt x="27" y="37"/>
                  <a:pt x="27" y="37"/>
                </a:cubicBezTo>
                <a:cubicBezTo>
                  <a:pt x="22" y="25"/>
                  <a:pt x="22" y="25"/>
                  <a:pt x="22" y="25"/>
                </a:cubicBezTo>
                <a:cubicBezTo>
                  <a:pt x="19" y="22"/>
                  <a:pt x="19" y="22"/>
                  <a:pt x="19" y="22"/>
                </a:cubicBezTo>
                <a:cubicBezTo>
                  <a:pt x="18" y="20"/>
                  <a:pt x="18" y="20"/>
                  <a:pt x="18" y="20"/>
                </a:cubicBezTo>
                <a:cubicBezTo>
                  <a:pt x="20" y="17"/>
                  <a:pt x="20" y="17"/>
                  <a:pt x="20" y="17"/>
                </a:cubicBezTo>
                <a:cubicBezTo>
                  <a:pt x="19" y="16"/>
                  <a:pt x="19" y="16"/>
                  <a:pt x="19" y="16"/>
                </a:cubicBezTo>
                <a:cubicBezTo>
                  <a:pt x="20" y="14"/>
                  <a:pt x="20" y="14"/>
                  <a:pt x="20" y="14"/>
                </a:cubicBezTo>
                <a:cubicBezTo>
                  <a:pt x="20" y="13"/>
                  <a:pt x="20" y="13"/>
                  <a:pt x="20" y="13"/>
                </a:cubicBezTo>
                <a:cubicBezTo>
                  <a:pt x="17" y="11"/>
                  <a:pt x="17" y="11"/>
                  <a:pt x="17" y="11"/>
                </a:cubicBezTo>
                <a:cubicBezTo>
                  <a:pt x="16" y="9"/>
                  <a:pt x="16" y="9"/>
                  <a:pt x="16" y="9"/>
                </a:cubicBezTo>
                <a:cubicBezTo>
                  <a:pt x="15" y="7"/>
                  <a:pt x="15" y="7"/>
                  <a:pt x="15" y="7"/>
                </a:cubicBezTo>
                <a:cubicBezTo>
                  <a:pt x="15" y="6"/>
                  <a:pt x="15" y="6"/>
                  <a:pt x="15" y="6"/>
                </a:cubicBezTo>
                <a:cubicBezTo>
                  <a:pt x="15" y="5"/>
                  <a:pt x="15" y="5"/>
                  <a:pt x="15" y="5"/>
                </a:cubicBezTo>
                <a:cubicBezTo>
                  <a:pt x="15" y="4"/>
                  <a:pt x="15" y="4"/>
                  <a:pt x="15" y="4"/>
                </a:cubicBezTo>
                <a:cubicBezTo>
                  <a:pt x="15" y="3"/>
                  <a:pt x="15" y="3"/>
                  <a:pt x="15" y="3"/>
                </a:cubicBezTo>
                <a:cubicBezTo>
                  <a:pt x="13" y="2"/>
                  <a:pt x="13" y="2"/>
                  <a:pt x="13" y="2"/>
                </a:cubicBezTo>
                <a:cubicBezTo>
                  <a:pt x="13" y="1"/>
                  <a:pt x="13" y="1"/>
                  <a:pt x="13" y="1"/>
                </a:cubicBezTo>
                <a:cubicBezTo>
                  <a:pt x="12" y="0"/>
                  <a:pt x="12" y="0"/>
                  <a:pt x="12" y="0"/>
                </a:cubicBezTo>
                <a:cubicBezTo>
                  <a:pt x="11" y="1"/>
                  <a:pt x="11" y="1"/>
                  <a:pt x="11" y="1"/>
                </a:cubicBezTo>
                <a:cubicBezTo>
                  <a:pt x="11" y="3"/>
                  <a:pt x="11" y="3"/>
                  <a:pt x="11" y="3"/>
                </a:cubicBezTo>
                <a:cubicBezTo>
                  <a:pt x="12" y="4"/>
                  <a:pt x="12" y="4"/>
                  <a:pt x="12" y="4"/>
                </a:cubicBezTo>
                <a:cubicBezTo>
                  <a:pt x="12" y="5"/>
                  <a:pt x="12" y="5"/>
                  <a:pt x="12" y="5"/>
                </a:cubicBezTo>
                <a:cubicBezTo>
                  <a:pt x="10" y="5"/>
                  <a:pt x="10" y="5"/>
                  <a:pt x="10" y="5"/>
                </a:cubicBezTo>
                <a:cubicBezTo>
                  <a:pt x="10" y="5"/>
                  <a:pt x="10" y="5"/>
                  <a:pt x="10" y="5"/>
                </a:cubicBezTo>
                <a:cubicBezTo>
                  <a:pt x="8" y="6"/>
                  <a:pt x="8" y="6"/>
                  <a:pt x="8" y="6"/>
                </a:cubicBezTo>
                <a:cubicBezTo>
                  <a:pt x="7" y="7"/>
                  <a:pt x="7" y="7"/>
                  <a:pt x="7" y="7"/>
                </a:cubicBezTo>
                <a:cubicBezTo>
                  <a:pt x="7" y="7"/>
                  <a:pt x="7" y="7"/>
                  <a:pt x="7" y="7"/>
                </a:cubicBezTo>
                <a:cubicBezTo>
                  <a:pt x="7" y="9"/>
                  <a:pt x="7" y="9"/>
                  <a:pt x="7" y="9"/>
                </a:cubicBezTo>
                <a:cubicBezTo>
                  <a:pt x="7" y="11"/>
                  <a:pt x="7" y="11"/>
                  <a:pt x="7" y="11"/>
                </a:cubicBezTo>
                <a:cubicBezTo>
                  <a:pt x="8" y="12"/>
                  <a:pt x="8" y="12"/>
                  <a:pt x="8" y="12"/>
                </a:cubicBezTo>
                <a:cubicBezTo>
                  <a:pt x="9" y="17"/>
                  <a:pt x="9" y="17"/>
                  <a:pt x="9" y="17"/>
                </a:cubicBezTo>
                <a:cubicBezTo>
                  <a:pt x="9" y="19"/>
                  <a:pt x="9" y="19"/>
                  <a:pt x="9" y="19"/>
                </a:cubicBezTo>
                <a:cubicBezTo>
                  <a:pt x="8" y="20"/>
                  <a:pt x="8" y="20"/>
                  <a:pt x="8" y="20"/>
                </a:cubicBezTo>
                <a:cubicBezTo>
                  <a:pt x="8" y="21"/>
                  <a:pt x="8" y="21"/>
                  <a:pt x="8" y="21"/>
                </a:cubicBezTo>
                <a:cubicBezTo>
                  <a:pt x="8" y="23"/>
                  <a:pt x="8" y="23"/>
                  <a:pt x="8" y="23"/>
                </a:cubicBezTo>
                <a:cubicBezTo>
                  <a:pt x="9" y="25"/>
                  <a:pt x="9" y="25"/>
                  <a:pt x="9" y="25"/>
                </a:cubicBezTo>
                <a:cubicBezTo>
                  <a:pt x="10" y="27"/>
                  <a:pt x="10" y="27"/>
                  <a:pt x="10" y="27"/>
                </a:cubicBezTo>
                <a:cubicBezTo>
                  <a:pt x="10" y="31"/>
                  <a:pt x="10" y="31"/>
                  <a:pt x="10" y="31"/>
                </a:cubicBezTo>
                <a:cubicBezTo>
                  <a:pt x="9" y="32"/>
                  <a:pt x="9" y="32"/>
                  <a:pt x="9" y="32"/>
                </a:cubicBezTo>
                <a:cubicBezTo>
                  <a:pt x="9" y="32"/>
                  <a:pt x="9" y="32"/>
                  <a:pt x="9" y="32"/>
                </a:cubicBezTo>
                <a:cubicBezTo>
                  <a:pt x="9" y="37"/>
                  <a:pt x="9" y="37"/>
                  <a:pt x="9" y="37"/>
                </a:cubicBezTo>
                <a:cubicBezTo>
                  <a:pt x="9" y="38"/>
                  <a:pt x="9" y="38"/>
                  <a:pt x="9" y="38"/>
                </a:cubicBezTo>
                <a:cubicBezTo>
                  <a:pt x="8" y="38"/>
                  <a:pt x="8" y="38"/>
                  <a:pt x="8" y="38"/>
                </a:cubicBezTo>
                <a:cubicBezTo>
                  <a:pt x="7" y="39"/>
                  <a:pt x="7" y="39"/>
                  <a:pt x="7" y="39"/>
                </a:cubicBezTo>
                <a:cubicBezTo>
                  <a:pt x="8" y="41"/>
                  <a:pt x="8" y="41"/>
                  <a:pt x="8" y="41"/>
                </a:cubicBezTo>
                <a:cubicBezTo>
                  <a:pt x="8" y="42"/>
                  <a:pt x="8" y="42"/>
                  <a:pt x="8" y="42"/>
                </a:cubicBezTo>
                <a:cubicBezTo>
                  <a:pt x="9" y="41"/>
                  <a:pt x="9" y="41"/>
                  <a:pt x="9" y="41"/>
                </a:cubicBezTo>
                <a:cubicBezTo>
                  <a:pt x="9" y="42"/>
                  <a:pt x="9" y="42"/>
                  <a:pt x="9" y="42"/>
                </a:cubicBezTo>
                <a:cubicBezTo>
                  <a:pt x="8" y="43"/>
                  <a:pt x="8" y="43"/>
                  <a:pt x="8" y="43"/>
                </a:cubicBezTo>
                <a:cubicBezTo>
                  <a:pt x="9" y="49"/>
                  <a:pt x="9" y="49"/>
                  <a:pt x="9" y="49"/>
                </a:cubicBezTo>
                <a:cubicBezTo>
                  <a:pt x="9" y="52"/>
                  <a:pt x="9" y="52"/>
                  <a:pt x="9" y="52"/>
                </a:cubicBezTo>
                <a:cubicBezTo>
                  <a:pt x="10" y="54"/>
                  <a:pt x="10" y="54"/>
                  <a:pt x="10" y="54"/>
                </a:cubicBezTo>
                <a:cubicBezTo>
                  <a:pt x="9" y="55"/>
                  <a:pt x="9" y="55"/>
                  <a:pt x="9" y="55"/>
                </a:cubicBezTo>
                <a:cubicBezTo>
                  <a:pt x="8" y="57"/>
                  <a:pt x="8" y="57"/>
                  <a:pt x="8" y="57"/>
                </a:cubicBezTo>
                <a:cubicBezTo>
                  <a:pt x="8" y="59"/>
                  <a:pt x="8" y="59"/>
                  <a:pt x="8" y="59"/>
                </a:cubicBezTo>
                <a:cubicBezTo>
                  <a:pt x="10" y="61"/>
                  <a:pt x="10" y="61"/>
                  <a:pt x="10" y="61"/>
                </a:cubicBezTo>
                <a:cubicBezTo>
                  <a:pt x="9" y="62"/>
                  <a:pt x="9" y="62"/>
                  <a:pt x="9" y="62"/>
                </a:cubicBezTo>
                <a:cubicBezTo>
                  <a:pt x="9" y="65"/>
                  <a:pt x="9" y="65"/>
                  <a:pt x="9" y="65"/>
                </a:cubicBezTo>
                <a:cubicBezTo>
                  <a:pt x="8" y="66"/>
                  <a:pt x="8" y="66"/>
                  <a:pt x="8" y="66"/>
                </a:cubicBezTo>
                <a:cubicBezTo>
                  <a:pt x="8" y="68"/>
                  <a:pt x="8" y="68"/>
                  <a:pt x="8" y="68"/>
                </a:cubicBezTo>
                <a:cubicBezTo>
                  <a:pt x="9" y="69"/>
                  <a:pt x="9" y="69"/>
                  <a:pt x="9" y="69"/>
                </a:cubicBezTo>
                <a:cubicBezTo>
                  <a:pt x="9" y="70"/>
                  <a:pt x="9" y="70"/>
                  <a:pt x="9" y="70"/>
                </a:cubicBezTo>
                <a:cubicBezTo>
                  <a:pt x="8" y="71"/>
                  <a:pt x="8" y="71"/>
                  <a:pt x="8" y="71"/>
                </a:cubicBezTo>
                <a:cubicBezTo>
                  <a:pt x="8" y="73"/>
                  <a:pt x="8" y="73"/>
                  <a:pt x="8" y="73"/>
                </a:cubicBezTo>
                <a:cubicBezTo>
                  <a:pt x="7" y="74"/>
                  <a:pt x="7" y="74"/>
                  <a:pt x="7" y="74"/>
                </a:cubicBezTo>
                <a:cubicBezTo>
                  <a:pt x="7" y="76"/>
                  <a:pt x="7" y="76"/>
                  <a:pt x="7" y="76"/>
                </a:cubicBezTo>
                <a:cubicBezTo>
                  <a:pt x="7" y="77"/>
                  <a:pt x="7" y="77"/>
                  <a:pt x="7" y="77"/>
                </a:cubicBezTo>
                <a:cubicBezTo>
                  <a:pt x="6" y="79"/>
                  <a:pt x="6" y="79"/>
                  <a:pt x="6" y="79"/>
                </a:cubicBezTo>
                <a:cubicBezTo>
                  <a:pt x="6" y="80"/>
                  <a:pt x="6" y="80"/>
                  <a:pt x="6" y="80"/>
                </a:cubicBezTo>
                <a:cubicBezTo>
                  <a:pt x="7" y="82"/>
                  <a:pt x="7" y="82"/>
                  <a:pt x="7" y="82"/>
                </a:cubicBezTo>
                <a:cubicBezTo>
                  <a:pt x="7" y="84"/>
                  <a:pt x="7" y="84"/>
                  <a:pt x="7" y="84"/>
                </a:cubicBezTo>
                <a:cubicBezTo>
                  <a:pt x="8" y="85"/>
                  <a:pt x="8" y="85"/>
                  <a:pt x="8" y="85"/>
                </a:cubicBezTo>
                <a:cubicBezTo>
                  <a:pt x="7" y="85"/>
                  <a:pt x="7" y="85"/>
                  <a:pt x="7" y="85"/>
                </a:cubicBezTo>
                <a:cubicBezTo>
                  <a:pt x="7" y="87"/>
                  <a:pt x="7" y="87"/>
                  <a:pt x="7" y="87"/>
                </a:cubicBezTo>
                <a:cubicBezTo>
                  <a:pt x="8" y="88"/>
                  <a:pt x="8" y="88"/>
                  <a:pt x="8" y="88"/>
                </a:cubicBezTo>
                <a:cubicBezTo>
                  <a:pt x="7" y="89"/>
                  <a:pt x="7" y="89"/>
                  <a:pt x="7" y="89"/>
                </a:cubicBezTo>
                <a:cubicBezTo>
                  <a:pt x="6" y="89"/>
                  <a:pt x="6" y="89"/>
                  <a:pt x="6" y="89"/>
                </a:cubicBezTo>
                <a:cubicBezTo>
                  <a:pt x="6" y="91"/>
                  <a:pt x="6" y="91"/>
                  <a:pt x="6" y="91"/>
                </a:cubicBezTo>
                <a:cubicBezTo>
                  <a:pt x="6" y="92"/>
                  <a:pt x="6" y="92"/>
                  <a:pt x="6" y="92"/>
                </a:cubicBezTo>
                <a:cubicBezTo>
                  <a:pt x="6" y="94"/>
                  <a:pt x="6" y="94"/>
                  <a:pt x="6" y="94"/>
                </a:cubicBezTo>
                <a:cubicBezTo>
                  <a:pt x="8" y="98"/>
                  <a:pt x="8" y="98"/>
                  <a:pt x="8" y="98"/>
                </a:cubicBezTo>
                <a:cubicBezTo>
                  <a:pt x="8" y="100"/>
                  <a:pt x="8" y="100"/>
                  <a:pt x="8" y="100"/>
                </a:cubicBezTo>
                <a:cubicBezTo>
                  <a:pt x="7" y="100"/>
                  <a:pt x="7" y="100"/>
                  <a:pt x="7" y="100"/>
                </a:cubicBezTo>
                <a:cubicBezTo>
                  <a:pt x="7" y="101"/>
                  <a:pt x="7" y="101"/>
                  <a:pt x="7" y="101"/>
                </a:cubicBezTo>
                <a:cubicBezTo>
                  <a:pt x="8" y="103"/>
                  <a:pt x="8" y="103"/>
                  <a:pt x="8" y="103"/>
                </a:cubicBezTo>
                <a:cubicBezTo>
                  <a:pt x="9" y="106"/>
                  <a:pt x="9" y="106"/>
                  <a:pt x="9" y="106"/>
                </a:cubicBezTo>
                <a:cubicBezTo>
                  <a:pt x="8" y="107"/>
                  <a:pt x="8" y="107"/>
                  <a:pt x="8" y="107"/>
                </a:cubicBezTo>
                <a:cubicBezTo>
                  <a:pt x="8" y="108"/>
                  <a:pt x="8" y="108"/>
                  <a:pt x="8" y="108"/>
                </a:cubicBezTo>
                <a:cubicBezTo>
                  <a:pt x="9" y="109"/>
                  <a:pt x="9" y="109"/>
                  <a:pt x="9" y="109"/>
                </a:cubicBezTo>
                <a:cubicBezTo>
                  <a:pt x="8" y="110"/>
                  <a:pt x="8" y="110"/>
                  <a:pt x="8" y="110"/>
                </a:cubicBezTo>
                <a:cubicBezTo>
                  <a:pt x="8" y="111"/>
                  <a:pt x="8" y="111"/>
                  <a:pt x="8" y="111"/>
                </a:cubicBezTo>
                <a:cubicBezTo>
                  <a:pt x="8" y="111"/>
                  <a:pt x="8" y="111"/>
                  <a:pt x="8" y="111"/>
                </a:cubicBezTo>
                <a:cubicBezTo>
                  <a:pt x="10" y="113"/>
                  <a:pt x="10" y="113"/>
                  <a:pt x="10" y="113"/>
                </a:cubicBezTo>
                <a:cubicBezTo>
                  <a:pt x="10" y="114"/>
                  <a:pt x="10" y="114"/>
                  <a:pt x="10" y="114"/>
                </a:cubicBezTo>
                <a:cubicBezTo>
                  <a:pt x="9" y="116"/>
                  <a:pt x="9" y="116"/>
                  <a:pt x="9" y="116"/>
                </a:cubicBezTo>
                <a:cubicBezTo>
                  <a:pt x="8" y="116"/>
                  <a:pt x="8" y="116"/>
                  <a:pt x="8" y="116"/>
                </a:cubicBezTo>
                <a:cubicBezTo>
                  <a:pt x="8" y="118"/>
                  <a:pt x="8" y="118"/>
                  <a:pt x="8" y="118"/>
                </a:cubicBezTo>
                <a:cubicBezTo>
                  <a:pt x="8" y="118"/>
                  <a:pt x="8" y="118"/>
                  <a:pt x="8" y="118"/>
                </a:cubicBezTo>
                <a:cubicBezTo>
                  <a:pt x="8" y="119"/>
                  <a:pt x="8" y="119"/>
                  <a:pt x="8" y="119"/>
                </a:cubicBezTo>
                <a:cubicBezTo>
                  <a:pt x="8" y="121"/>
                  <a:pt x="8" y="121"/>
                  <a:pt x="8" y="121"/>
                </a:cubicBezTo>
                <a:cubicBezTo>
                  <a:pt x="7" y="121"/>
                  <a:pt x="7" y="121"/>
                  <a:pt x="7" y="121"/>
                </a:cubicBezTo>
                <a:cubicBezTo>
                  <a:pt x="7" y="122"/>
                  <a:pt x="7" y="122"/>
                  <a:pt x="7" y="122"/>
                </a:cubicBezTo>
                <a:cubicBezTo>
                  <a:pt x="7" y="124"/>
                  <a:pt x="7" y="124"/>
                  <a:pt x="7" y="124"/>
                </a:cubicBezTo>
                <a:cubicBezTo>
                  <a:pt x="6" y="125"/>
                  <a:pt x="6" y="125"/>
                  <a:pt x="6" y="125"/>
                </a:cubicBezTo>
                <a:cubicBezTo>
                  <a:pt x="6" y="126"/>
                  <a:pt x="6" y="126"/>
                  <a:pt x="6" y="126"/>
                </a:cubicBezTo>
                <a:cubicBezTo>
                  <a:pt x="6" y="127"/>
                  <a:pt x="6" y="127"/>
                  <a:pt x="6" y="127"/>
                </a:cubicBezTo>
                <a:cubicBezTo>
                  <a:pt x="6" y="129"/>
                  <a:pt x="6" y="129"/>
                  <a:pt x="6" y="129"/>
                </a:cubicBezTo>
                <a:cubicBezTo>
                  <a:pt x="5" y="129"/>
                  <a:pt x="5" y="129"/>
                  <a:pt x="5" y="129"/>
                </a:cubicBezTo>
                <a:cubicBezTo>
                  <a:pt x="5" y="130"/>
                  <a:pt x="5" y="130"/>
                  <a:pt x="5" y="130"/>
                </a:cubicBezTo>
                <a:cubicBezTo>
                  <a:pt x="6" y="131"/>
                  <a:pt x="6" y="131"/>
                  <a:pt x="6" y="131"/>
                </a:cubicBezTo>
                <a:cubicBezTo>
                  <a:pt x="5" y="132"/>
                  <a:pt x="5" y="132"/>
                  <a:pt x="5" y="132"/>
                </a:cubicBezTo>
                <a:cubicBezTo>
                  <a:pt x="5" y="134"/>
                  <a:pt x="5" y="134"/>
                  <a:pt x="5" y="134"/>
                </a:cubicBezTo>
                <a:cubicBezTo>
                  <a:pt x="5" y="135"/>
                  <a:pt x="5" y="135"/>
                  <a:pt x="5" y="135"/>
                </a:cubicBezTo>
                <a:cubicBezTo>
                  <a:pt x="4" y="135"/>
                  <a:pt x="4" y="135"/>
                  <a:pt x="4" y="135"/>
                </a:cubicBezTo>
                <a:cubicBezTo>
                  <a:pt x="4" y="136"/>
                  <a:pt x="4" y="136"/>
                  <a:pt x="4" y="136"/>
                </a:cubicBezTo>
                <a:cubicBezTo>
                  <a:pt x="3" y="137"/>
                  <a:pt x="3" y="137"/>
                  <a:pt x="3" y="137"/>
                </a:cubicBezTo>
                <a:cubicBezTo>
                  <a:pt x="3" y="138"/>
                  <a:pt x="3" y="138"/>
                  <a:pt x="3" y="138"/>
                </a:cubicBezTo>
                <a:cubicBezTo>
                  <a:pt x="4" y="139"/>
                  <a:pt x="4" y="139"/>
                  <a:pt x="4" y="139"/>
                </a:cubicBezTo>
                <a:cubicBezTo>
                  <a:pt x="4" y="140"/>
                  <a:pt x="4" y="140"/>
                  <a:pt x="4" y="140"/>
                </a:cubicBezTo>
                <a:cubicBezTo>
                  <a:pt x="3" y="141"/>
                  <a:pt x="3" y="141"/>
                  <a:pt x="3" y="141"/>
                </a:cubicBezTo>
                <a:cubicBezTo>
                  <a:pt x="2" y="141"/>
                  <a:pt x="2" y="141"/>
                  <a:pt x="2" y="141"/>
                </a:cubicBezTo>
                <a:cubicBezTo>
                  <a:pt x="1" y="141"/>
                  <a:pt x="1" y="141"/>
                  <a:pt x="1" y="141"/>
                </a:cubicBezTo>
                <a:cubicBezTo>
                  <a:pt x="1" y="141"/>
                  <a:pt x="1" y="141"/>
                  <a:pt x="1" y="141"/>
                </a:cubicBezTo>
                <a:cubicBezTo>
                  <a:pt x="0" y="142"/>
                  <a:pt x="0" y="142"/>
                  <a:pt x="0" y="142"/>
                </a:cubicBezTo>
                <a:cubicBezTo>
                  <a:pt x="1" y="143"/>
                  <a:pt x="1" y="143"/>
                  <a:pt x="1" y="143"/>
                </a:cubicBezTo>
                <a:cubicBezTo>
                  <a:pt x="1" y="145"/>
                  <a:pt x="1" y="145"/>
                  <a:pt x="1" y="145"/>
                </a:cubicBezTo>
                <a:cubicBezTo>
                  <a:pt x="2" y="146"/>
                  <a:pt x="2" y="146"/>
                  <a:pt x="2" y="146"/>
                </a:cubicBezTo>
                <a:cubicBezTo>
                  <a:pt x="3" y="148"/>
                  <a:pt x="3" y="148"/>
                  <a:pt x="3" y="148"/>
                </a:cubicBezTo>
                <a:cubicBezTo>
                  <a:pt x="3" y="149"/>
                  <a:pt x="3" y="149"/>
                  <a:pt x="3" y="149"/>
                </a:cubicBezTo>
                <a:cubicBezTo>
                  <a:pt x="3" y="151"/>
                  <a:pt x="3" y="151"/>
                  <a:pt x="3" y="151"/>
                </a:cubicBezTo>
                <a:cubicBezTo>
                  <a:pt x="5" y="154"/>
                  <a:pt x="5" y="154"/>
                  <a:pt x="5" y="154"/>
                </a:cubicBezTo>
                <a:cubicBezTo>
                  <a:pt x="5" y="155"/>
                  <a:pt x="5" y="155"/>
                  <a:pt x="5" y="155"/>
                </a:cubicBezTo>
                <a:cubicBezTo>
                  <a:pt x="6" y="155"/>
                  <a:pt x="6" y="155"/>
                  <a:pt x="6" y="155"/>
                </a:cubicBezTo>
                <a:cubicBezTo>
                  <a:pt x="6" y="158"/>
                  <a:pt x="6" y="158"/>
                  <a:pt x="6" y="158"/>
                </a:cubicBezTo>
                <a:cubicBezTo>
                  <a:pt x="5" y="160"/>
                  <a:pt x="5" y="160"/>
                  <a:pt x="5" y="160"/>
                </a:cubicBezTo>
                <a:cubicBezTo>
                  <a:pt x="5" y="161"/>
                  <a:pt x="5" y="161"/>
                  <a:pt x="5" y="161"/>
                </a:cubicBezTo>
                <a:cubicBezTo>
                  <a:pt x="5" y="162"/>
                  <a:pt x="5" y="162"/>
                  <a:pt x="5" y="162"/>
                </a:cubicBezTo>
                <a:cubicBezTo>
                  <a:pt x="5" y="162"/>
                  <a:pt x="5" y="162"/>
                  <a:pt x="5" y="162"/>
                </a:cubicBezTo>
                <a:cubicBezTo>
                  <a:pt x="4" y="162"/>
                  <a:pt x="4" y="162"/>
                  <a:pt x="4" y="162"/>
                </a:cubicBezTo>
                <a:cubicBezTo>
                  <a:pt x="4" y="162"/>
                  <a:pt x="4" y="162"/>
                  <a:pt x="4" y="162"/>
                </a:cubicBezTo>
                <a:cubicBezTo>
                  <a:pt x="3" y="163"/>
                  <a:pt x="3" y="163"/>
                  <a:pt x="3" y="163"/>
                </a:cubicBezTo>
                <a:cubicBezTo>
                  <a:pt x="4" y="165"/>
                  <a:pt x="4" y="165"/>
                  <a:pt x="4" y="165"/>
                </a:cubicBezTo>
                <a:cubicBezTo>
                  <a:pt x="4" y="165"/>
                  <a:pt x="4" y="165"/>
                  <a:pt x="4" y="165"/>
                </a:cubicBezTo>
                <a:cubicBezTo>
                  <a:pt x="4" y="168"/>
                  <a:pt x="4" y="168"/>
                  <a:pt x="4" y="168"/>
                </a:cubicBezTo>
                <a:cubicBezTo>
                  <a:pt x="4" y="169"/>
                  <a:pt x="4" y="169"/>
                  <a:pt x="4" y="169"/>
                </a:cubicBezTo>
                <a:cubicBezTo>
                  <a:pt x="3" y="170"/>
                  <a:pt x="3" y="170"/>
                  <a:pt x="3" y="170"/>
                </a:cubicBezTo>
                <a:cubicBezTo>
                  <a:pt x="4" y="170"/>
                  <a:pt x="4" y="170"/>
                  <a:pt x="4" y="170"/>
                </a:cubicBezTo>
                <a:cubicBezTo>
                  <a:pt x="4" y="171"/>
                  <a:pt x="4" y="171"/>
                  <a:pt x="4" y="171"/>
                </a:cubicBezTo>
                <a:cubicBezTo>
                  <a:pt x="4" y="172"/>
                  <a:pt x="4" y="172"/>
                  <a:pt x="4" y="172"/>
                </a:cubicBezTo>
                <a:cubicBezTo>
                  <a:pt x="4" y="172"/>
                  <a:pt x="4" y="172"/>
                  <a:pt x="4" y="172"/>
                </a:cubicBezTo>
                <a:cubicBezTo>
                  <a:pt x="6" y="175"/>
                  <a:pt x="6" y="175"/>
                  <a:pt x="6" y="175"/>
                </a:cubicBezTo>
                <a:cubicBezTo>
                  <a:pt x="7" y="176"/>
                  <a:pt x="7" y="176"/>
                  <a:pt x="7" y="176"/>
                </a:cubicBezTo>
                <a:cubicBezTo>
                  <a:pt x="7" y="177"/>
                  <a:pt x="7" y="177"/>
                  <a:pt x="7" y="177"/>
                </a:cubicBezTo>
                <a:cubicBezTo>
                  <a:pt x="9" y="177"/>
                  <a:pt x="9" y="177"/>
                  <a:pt x="9" y="177"/>
                </a:cubicBezTo>
                <a:cubicBezTo>
                  <a:pt x="11" y="177"/>
                  <a:pt x="11" y="177"/>
                  <a:pt x="11" y="177"/>
                </a:cubicBezTo>
                <a:cubicBezTo>
                  <a:pt x="11" y="175"/>
                  <a:pt x="11" y="175"/>
                  <a:pt x="11" y="175"/>
                </a:cubicBezTo>
                <a:cubicBezTo>
                  <a:pt x="11" y="175"/>
                  <a:pt x="11" y="175"/>
                  <a:pt x="11" y="175"/>
                </a:cubicBezTo>
                <a:cubicBezTo>
                  <a:pt x="12" y="175"/>
                  <a:pt x="12" y="175"/>
                  <a:pt x="12" y="175"/>
                </a:cubicBezTo>
                <a:cubicBezTo>
                  <a:pt x="13" y="176"/>
                  <a:pt x="13" y="176"/>
                  <a:pt x="13" y="176"/>
                </a:cubicBezTo>
                <a:cubicBezTo>
                  <a:pt x="13" y="176"/>
                  <a:pt x="13" y="176"/>
                  <a:pt x="13" y="176"/>
                </a:cubicBezTo>
                <a:cubicBezTo>
                  <a:pt x="14" y="176"/>
                  <a:pt x="14" y="176"/>
                  <a:pt x="14" y="176"/>
                </a:cubicBezTo>
                <a:cubicBezTo>
                  <a:pt x="14" y="177"/>
                  <a:pt x="14" y="177"/>
                  <a:pt x="14" y="177"/>
                </a:cubicBezTo>
                <a:cubicBezTo>
                  <a:pt x="12" y="178"/>
                  <a:pt x="12" y="178"/>
                  <a:pt x="12" y="178"/>
                </a:cubicBezTo>
                <a:cubicBezTo>
                  <a:pt x="12" y="179"/>
                  <a:pt x="12" y="179"/>
                  <a:pt x="12" y="179"/>
                </a:cubicBezTo>
                <a:cubicBezTo>
                  <a:pt x="13" y="179"/>
                  <a:pt x="13" y="179"/>
                  <a:pt x="13" y="179"/>
                </a:cubicBezTo>
                <a:cubicBezTo>
                  <a:pt x="14" y="179"/>
                  <a:pt x="14" y="179"/>
                  <a:pt x="14" y="179"/>
                </a:cubicBezTo>
                <a:cubicBezTo>
                  <a:pt x="14" y="180"/>
                  <a:pt x="14" y="180"/>
                  <a:pt x="14" y="180"/>
                </a:cubicBezTo>
                <a:cubicBezTo>
                  <a:pt x="14" y="182"/>
                  <a:pt x="14" y="182"/>
                  <a:pt x="14" y="182"/>
                </a:cubicBezTo>
                <a:cubicBezTo>
                  <a:pt x="15" y="183"/>
                  <a:pt x="15" y="183"/>
                  <a:pt x="15" y="183"/>
                </a:cubicBezTo>
                <a:cubicBezTo>
                  <a:pt x="15" y="183"/>
                  <a:pt x="15" y="183"/>
                  <a:pt x="15" y="183"/>
                </a:cubicBezTo>
                <a:cubicBezTo>
                  <a:pt x="14" y="182"/>
                  <a:pt x="14" y="182"/>
                  <a:pt x="14" y="182"/>
                </a:cubicBezTo>
                <a:cubicBezTo>
                  <a:pt x="13" y="181"/>
                  <a:pt x="13" y="181"/>
                  <a:pt x="13" y="181"/>
                </a:cubicBezTo>
                <a:cubicBezTo>
                  <a:pt x="13" y="181"/>
                  <a:pt x="13" y="181"/>
                  <a:pt x="13" y="181"/>
                </a:cubicBezTo>
                <a:cubicBezTo>
                  <a:pt x="12" y="181"/>
                  <a:pt x="12" y="181"/>
                  <a:pt x="12" y="181"/>
                </a:cubicBezTo>
                <a:cubicBezTo>
                  <a:pt x="12" y="182"/>
                  <a:pt x="12" y="182"/>
                  <a:pt x="12" y="182"/>
                </a:cubicBezTo>
                <a:cubicBezTo>
                  <a:pt x="14" y="183"/>
                  <a:pt x="14" y="183"/>
                  <a:pt x="14" y="183"/>
                </a:cubicBezTo>
                <a:cubicBezTo>
                  <a:pt x="14" y="184"/>
                  <a:pt x="14" y="184"/>
                  <a:pt x="14" y="184"/>
                </a:cubicBezTo>
                <a:cubicBezTo>
                  <a:pt x="13" y="184"/>
                  <a:pt x="13" y="184"/>
                  <a:pt x="13" y="184"/>
                </a:cubicBezTo>
                <a:cubicBezTo>
                  <a:pt x="13" y="184"/>
                  <a:pt x="13" y="184"/>
                  <a:pt x="13" y="184"/>
                </a:cubicBezTo>
                <a:cubicBezTo>
                  <a:pt x="13" y="186"/>
                  <a:pt x="13" y="186"/>
                  <a:pt x="13" y="186"/>
                </a:cubicBezTo>
                <a:cubicBezTo>
                  <a:pt x="14" y="187"/>
                  <a:pt x="14" y="187"/>
                  <a:pt x="14" y="187"/>
                </a:cubicBezTo>
                <a:cubicBezTo>
                  <a:pt x="13" y="188"/>
                  <a:pt x="13" y="188"/>
                  <a:pt x="13" y="188"/>
                </a:cubicBezTo>
                <a:cubicBezTo>
                  <a:pt x="13" y="189"/>
                  <a:pt x="13" y="189"/>
                  <a:pt x="13" y="189"/>
                </a:cubicBezTo>
                <a:cubicBezTo>
                  <a:pt x="13" y="189"/>
                  <a:pt x="13" y="189"/>
                  <a:pt x="13" y="189"/>
                </a:cubicBezTo>
                <a:cubicBezTo>
                  <a:pt x="12" y="190"/>
                  <a:pt x="12" y="190"/>
                  <a:pt x="12" y="190"/>
                </a:cubicBezTo>
                <a:cubicBezTo>
                  <a:pt x="12" y="191"/>
                  <a:pt x="12" y="191"/>
                  <a:pt x="12" y="191"/>
                </a:cubicBezTo>
                <a:cubicBezTo>
                  <a:pt x="14" y="192"/>
                  <a:pt x="14" y="192"/>
                  <a:pt x="14" y="192"/>
                </a:cubicBezTo>
                <a:cubicBezTo>
                  <a:pt x="13" y="193"/>
                  <a:pt x="13" y="193"/>
                  <a:pt x="13" y="193"/>
                </a:cubicBezTo>
                <a:cubicBezTo>
                  <a:pt x="13" y="194"/>
                  <a:pt x="13" y="194"/>
                  <a:pt x="13" y="194"/>
                </a:cubicBezTo>
                <a:cubicBezTo>
                  <a:pt x="12" y="195"/>
                  <a:pt x="12" y="195"/>
                  <a:pt x="12" y="195"/>
                </a:cubicBezTo>
                <a:cubicBezTo>
                  <a:pt x="12" y="196"/>
                  <a:pt x="12" y="196"/>
                  <a:pt x="12" y="196"/>
                </a:cubicBezTo>
                <a:cubicBezTo>
                  <a:pt x="13" y="197"/>
                  <a:pt x="13" y="197"/>
                  <a:pt x="13" y="197"/>
                </a:cubicBezTo>
                <a:cubicBezTo>
                  <a:pt x="14" y="197"/>
                  <a:pt x="14" y="197"/>
                  <a:pt x="14" y="197"/>
                </a:cubicBezTo>
                <a:cubicBezTo>
                  <a:pt x="15" y="198"/>
                  <a:pt x="15" y="198"/>
                  <a:pt x="15" y="198"/>
                </a:cubicBezTo>
                <a:cubicBezTo>
                  <a:pt x="15" y="199"/>
                  <a:pt x="15" y="199"/>
                  <a:pt x="15" y="199"/>
                </a:cubicBezTo>
                <a:cubicBezTo>
                  <a:pt x="16" y="199"/>
                  <a:pt x="16" y="199"/>
                  <a:pt x="16" y="199"/>
                </a:cubicBezTo>
                <a:cubicBezTo>
                  <a:pt x="16" y="199"/>
                  <a:pt x="16" y="199"/>
                  <a:pt x="16" y="199"/>
                </a:cubicBezTo>
                <a:cubicBezTo>
                  <a:pt x="16" y="201"/>
                  <a:pt x="16" y="201"/>
                  <a:pt x="16" y="201"/>
                </a:cubicBezTo>
                <a:cubicBezTo>
                  <a:pt x="15" y="203"/>
                  <a:pt x="15" y="203"/>
                  <a:pt x="15" y="203"/>
                </a:cubicBezTo>
                <a:cubicBezTo>
                  <a:pt x="14" y="204"/>
                  <a:pt x="14" y="204"/>
                  <a:pt x="14" y="204"/>
                </a:cubicBezTo>
                <a:cubicBezTo>
                  <a:pt x="13" y="204"/>
                  <a:pt x="13" y="204"/>
                  <a:pt x="13" y="204"/>
                </a:cubicBezTo>
                <a:cubicBezTo>
                  <a:pt x="13" y="205"/>
                  <a:pt x="13" y="205"/>
                  <a:pt x="13" y="205"/>
                </a:cubicBezTo>
                <a:cubicBezTo>
                  <a:pt x="13" y="206"/>
                  <a:pt x="13" y="206"/>
                  <a:pt x="13" y="206"/>
                </a:cubicBezTo>
                <a:cubicBezTo>
                  <a:pt x="13" y="207"/>
                  <a:pt x="13" y="207"/>
                  <a:pt x="13" y="207"/>
                </a:cubicBezTo>
                <a:cubicBezTo>
                  <a:pt x="13" y="208"/>
                  <a:pt x="13" y="208"/>
                  <a:pt x="13" y="208"/>
                </a:cubicBezTo>
                <a:cubicBezTo>
                  <a:pt x="14" y="208"/>
                  <a:pt x="14" y="208"/>
                  <a:pt x="14" y="208"/>
                </a:cubicBezTo>
                <a:cubicBezTo>
                  <a:pt x="13" y="209"/>
                  <a:pt x="13" y="209"/>
                  <a:pt x="13" y="209"/>
                </a:cubicBezTo>
                <a:cubicBezTo>
                  <a:pt x="12" y="211"/>
                  <a:pt x="12" y="211"/>
                  <a:pt x="12" y="211"/>
                </a:cubicBezTo>
                <a:cubicBezTo>
                  <a:pt x="12" y="213"/>
                  <a:pt x="12" y="213"/>
                  <a:pt x="12" y="213"/>
                </a:cubicBezTo>
                <a:cubicBezTo>
                  <a:pt x="13" y="213"/>
                  <a:pt x="13" y="213"/>
                  <a:pt x="13" y="213"/>
                </a:cubicBezTo>
                <a:cubicBezTo>
                  <a:pt x="12" y="214"/>
                  <a:pt x="12" y="214"/>
                  <a:pt x="12" y="214"/>
                </a:cubicBezTo>
                <a:cubicBezTo>
                  <a:pt x="12" y="216"/>
                  <a:pt x="12" y="216"/>
                  <a:pt x="12" y="216"/>
                </a:cubicBezTo>
                <a:cubicBezTo>
                  <a:pt x="11" y="216"/>
                  <a:pt x="11" y="216"/>
                  <a:pt x="11" y="216"/>
                </a:cubicBezTo>
                <a:cubicBezTo>
                  <a:pt x="11" y="218"/>
                  <a:pt x="11" y="218"/>
                  <a:pt x="11" y="218"/>
                </a:cubicBezTo>
                <a:cubicBezTo>
                  <a:pt x="11" y="217"/>
                  <a:pt x="11" y="217"/>
                  <a:pt x="11" y="217"/>
                </a:cubicBezTo>
                <a:cubicBezTo>
                  <a:pt x="11" y="216"/>
                  <a:pt x="11" y="216"/>
                  <a:pt x="11" y="216"/>
                </a:cubicBezTo>
                <a:cubicBezTo>
                  <a:pt x="11" y="214"/>
                  <a:pt x="11" y="214"/>
                  <a:pt x="11" y="214"/>
                </a:cubicBezTo>
                <a:cubicBezTo>
                  <a:pt x="11" y="213"/>
                  <a:pt x="11" y="213"/>
                  <a:pt x="11" y="213"/>
                </a:cubicBezTo>
                <a:cubicBezTo>
                  <a:pt x="11" y="213"/>
                  <a:pt x="11" y="213"/>
                  <a:pt x="11" y="213"/>
                </a:cubicBezTo>
                <a:cubicBezTo>
                  <a:pt x="11" y="212"/>
                  <a:pt x="11" y="212"/>
                  <a:pt x="11" y="212"/>
                </a:cubicBezTo>
                <a:cubicBezTo>
                  <a:pt x="9" y="213"/>
                  <a:pt x="9" y="213"/>
                  <a:pt x="9" y="213"/>
                </a:cubicBezTo>
                <a:cubicBezTo>
                  <a:pt x="8" y="214"/>
                  <a:pt x="8" y="214"/>
                  <a:pt x="8" y="214"/>
                </a:cubicBezTo>
                <a:cubicBezTo>
                  <a:pt x="7" y="214"/>
                  <a:pt x="7" y="214"/>
                  <a:pt x="7" y="214"/>
                </a:cubicBezTo>
                <a:cubicBezTo>
                  <a:pt x="8" y="213"/>
                  <a:pt x="8" y="213"/>
                  <a:pt x="8" y="213"/>
                </a:cubicBezTo>
                <a:cubicBezTo>
                  <a:pt x="9" y="213"/>
                  <a:pt x="9" y="213"/>
                  <a:pt x="9" y="213"/>
                </a:cubicBezTo>
                <a:cubicBezTo>
                  <a:pt x="9" y="212"/>
                  <a:pt x="9" y="212"/>
                  <a:pt x="9" y="212"/>
                </a:cubicBezTo>
                <a:cubicBezTo>
                  <a:pt x="9" y="210"/>
                  <a:pt x="9" y="210"/>
                  <a:pt x="9" y="210"/>
                </a:cubicBezTo>
                <a:cubicBezTo>
                  <a:pt x="9" y="210"/>
                  <a:pt x="9" y="210"/>
                  <a:pt x="9" y="210"/>
                </a:cubicBezTo>
                <a:cubicBezTo>
                  <a:pt x="8" y="211"/>
                  <a:pt x="8" y="211"/>
                  <a:pt x="8" y="211"/>
                </a:cubicBezTo>
                <a:cubicBezTo>
                  <a:pt x="5" y="211"/>
                  <a:pt x="5" y="211"/>
                  <a:pt x="5" y="211"/>
                </a:cubicBezTo>
                <a:cubicBezTo>
                  <a:pt x="5" y="210"/>
                  <a:pt x="5" y="210"/>
                  <a:pt x="5" y="210"/>
                </a:cubicBezTo>
                <a:cubicBezTo>
                  <a:pt x="4" y="211"/>
                  <a:pt x="4" y="211"/>
                  <a:pt x="4" y="211"/>
                </a:cubicBezTo>
                <a:cubicBezTo>
                  <a:pt x="4" y="211"/>
                  <a:pt x="4" y="211"/>
                  <a:pt x="4" y="211"/>
                </a:cubicBezTo>
                <a:cubicBezTo>
                  <a:pt x="4" y="213"/>
                  <a:pt x="4" y="213"/>
                  <a:pt x="4" y="213"/>
                </a:cubicBezTo>
                <a:cubicBezTo>
                  <a:pt x="5" y="213"/>
                  <a:pt x="5" y="213"/>
                  <a:pt x="5" y="213"/>
                </a:cubicBezTo>
                <a:cubicBezTo>
                  <a:pt x="5" y="214"/>
                  <a:pt x="5" y="214"/>
                  <a:pt x="5" y="214"/>
                </a:cubicBezTo>
                <a:cubicBezTo>
                  <a:pt x="4" y="214"/>
                  <a:pt x="4" y="214"/>
                  <a:pt x="4" y="214"/>
                </a:cubicBezTo>
                <a:cubicBezTo>
                  <a:pt x="4" y="215"/>
                  <a:pt x="4" y="215"/>
                  <a:pt x="4" y="215"/>
                </a:cubicBezTo>
                <a:cubicBezTo>
                  <a:pt x="3" y="216"/>
                  <a:pt x="3" y="216"/>
                  <a:pt x="3" y="216"/>
                </a:cubicBezTo>
                <a:cubicBezTo>
                  <a:pt x="3" y="217"/>
                  <a:pt x="3" y="217"/>
                  <a:pt x="3" y="217"/>
                </a:cubicBezTo>
                <a:cubicBezTo>
                  <a:pt x="1" y="218"/>
                  <a:pt x="1" y="218"/>
                  <a:pt x="1" y="218"/>
                </a:cubicBezTo>
                <a:cubicBezTo>
                  <a:pt x="1" y="219"/>
                  <a:pt x="1" y="219"/>
                  <a:pt x="1" y="219"/>
                </a:cubicBezTo>
                <a:cubicBezTo>
                  <a:pt x="3" y="221"/>
                  <a:pt x="3" y="221"/>
                  <a:pt x="3" y="221"/>
                </a:cubicBezTo>
                <a:cubicBezTo>
                  <a:pt x="4" y="221"/>
                  <a:pt x="4" y="221"/>
                  <a:pt x="4" y="221"/>
                </a:cubicBezTo>
                <a:cubicBezTo>
                  <a:pt x="4" y="220"/>
                  <a:pt x="4" y="220"/>
                  <a:pt x="4" y="220"/>
                </a:cubicBezTo>
                <a:cubicBezTo>
                  <a:pt x="4" y="219"/>
                  <a:pt x="4" y="219"/>
                  <a:pt x="4" y="219"/>
                </a:cubicBezTo>
                <a:cubicBezTo>
                  <a:pt x="3" y="219"/>
                  <a:pt x="3" y="219"/>
                  <a:pt x="3" y="219"/>
                </a:cubicBezTo>
                <a:cubicBezTo>
                  <a:pt x="3" y="218"/>
                  <a:pt x="3" y="218"/>
                  <a:pt x="3" y="218"/>
                </a:cubicBezTo>
                <a:cubicBezTo>
                  <a:pt x="3" y="217"/>
                  <a:pt x="3" y="217"/>
                  <a:pt x="3" y="217"/>
                </a:cubicBezTo>
                <a:cubicBezTo>
                  <a:pt x="5" y="217"/>
                  <a:pt x="5" y="217"/>
                  <a:pt x="5" y="217"/>
                </a:cubicBezTo>
                <a:cubicBezTo>
                  <a:pt x="5" y="217"/>
                  <a:pt x="5" y="217"/>
                  <a:pt x="5" y="217"/>
                </a:cubicBezTo>
                <a:cubicBezTo>
                  <a:pt x="6" y="218"/>
                  <a:pt x="6" y="218"/>
                  <a:pt x="6" y="218"/>
                </a:cubicBezTo>
                <a:cubicBezTo>
                  <a:pt x="7" y="219"/>
                  <a:pt x="7" y="219"/>
                  <a:pt x="7" y="219"/>
                </a:cubicBezTo>
                <a:cubicBezTo>
                  <a:pt x="8" y="219"/>
                  <a:pt x="8" y="219"/>
                  <a:pt x="8" y="219"/>
                </a:cubicBezTo>
                <a:cubicBezTo>
                  <a:pt x="9" y="218"/>
                  <a:pt x="9" y="218"/>
                  <a:pt x="9" y="218"/>
                </a:cubicBezTo>
                <a:cubicBezTo>
                  <a:pt x="10" y="218"/>
                  <a:pt x="10" y="218"/>
                  <a:pt x="10" y="218"/>
                </a:cubicBezTo>
                <a:cubicBezTo>
                  <a:pt x="10" y="219"/>
                  <a:pt x="10" y="219"/>
                  <a:pt x="10" y="219"/>
                </a:cubicBezTo>
                <a:cubicBezTo>
                  <a:pt x="12" y="220"/>
                  <a:pt x="12" y="220"/>
                  <a:pt x="12" y="220"/>
                </a:cubicBezTo>
                <a:cubicBezTo>
                  <a:pt x="12" y="221"/>
                  <a:pt x="12" y="221"/>
                  <a:pt x="12" y="221"/>
                </a:cubicBezTo>
                <a:cubicBezTo>
                  <a:pt x="12" y="221"/>
                  <a:pt x="12" y="221"/>
                  <a:pt x="12" y="221"/>
                </a:cubicBezTo>
                <a:cubicBezTo>
                  <a:pt x="11" y="221"/>
                  <a:pt x="11" y="221"/>
                  <a:pt x="11" y="221"/>
                </a:cubicBezTo>
                <a:cubicBezTo>
                  <a:pt x="12" y="222"/>
                  <a:pt x="12" y="222"/>
                  <a:pt x="12" y="222"/>
                </a:cubicBezTo>
                <a:cubicBezTo>
                  <a:pt x="11" y="223"/>
                  <a:pt x="11" y="223"/>
                  <a:pt x="11" y="223"/>
                </a:cubicBezTo>
                <a:cubicBezTo>
                  <a:pt x="11" y="224"/>
                  <a:pt x="11" y="224"/>
                  <a:pt x="11" y="224"/>
                </a:cubicBezTo>
                <a:cubicBezTo>
                  <a:pt x="11" y="224"/>
                  <a:pt x="11" y="224"/>
                  <a:pt x="11" y="224"/>
                </a:cubicBezTo>
                <a:cubicBezTo>
                  <a:pt x="12" y="225"/>
                  <a:pt x="12" y="225"/>
                  <a:pt x="12" y="225"/>
                </a:cubicBezTo>
                <a:cubicBezTo>
                  <a:pt x="12" y="225"/>
                  <a:pt x="12" y="225"/>
                  <a:pt x="12" y="225"/>
                </a:cubicBezTo>
                <a:cubicBezTo>
                  <a:pt x="11" y="225"/>
                  <a:pt x="11" y="225"/>
                  <a:pt x="11" y="225"/>
                </a:cubicBezTo>
                <a:cubicBezTo>
                  <a:pt x="10" y="224"/>
                  <a:pt x="10" y="224"/>
                  <a:pt x="10" y="224"/>
                </a:cubicBezTo>
                <a:cubicBezTo>
                  <a:pt x="10" y="224"/>
                  <a:pt x="10" y="224"/>
                  <a:pt x="10" y="224"/>
                </a:cubicBezTo>
                <a:cubicBezTo>
                  <a:pt x="10" y="225"/>
                  <a:pt x="10" y="225"/>
                  <a:pt x="10" y="225"/>
                </a:cubicBezTo>
                <a:cubicBezTo>
                  <a:pt x="11" y="226"/>
                  <a:pt x="11" y="226"/>
                  <a:pt x="11" y="226"/>
                </a:cubicBezTo>
                <a:cubicBezTo>
                  <a:pt x="11" y="227"/>
                  <a:pt x="11" y="227"/>
                  <a:pt x="11" y="227"/>
                </a:cubicBezTo>
                <a:cubicBezTo>
                  <a:pt x="13" y="227"/>
                  <a:pt x="13" y="227"/>
                  <a:pt x="13" y="227"/>
                </a:cubicBezTo>
                <a:cubicBezTo>
                  <a:pt x="14" y="227"/>
                  <a:pt x="14" y="227"/>
                  <a:pt x="14" y="227"/>
                </a:cubicBezTo>
                <a:cubicBezTo>
                  <a:pt x="15" y="227"/>
                  <a:pt x="15" y="227"/>
                  <a:pt x="15" y="227"/>
                </a:cubicBezTo>
                <a:cubicBezTo>
                  <a:pt x="16" y="227"/>
                  <a:pt x="16" y="227"/>
                  <a:pt x="16" y="227"/>
                </a:cubicBezTo>
                <a:cubicBezTo>
                  <a:pt x="17" y="227"/>
                  <a:pt x="17" y="227"/>
                  <a:pt x="17" y="227"/>
                </a:cubicBezTo>
                <a:cubicBezTo>
                  <a:pt x="16" y="228"/>
                  <a:pt x="16" y="228"/>
                  <a:pt x="16" y="228"/>
                </a:cubicBezTo>
                <a:cubicBezTo>
                  <a:pt x="17" y="228"/>
                  <a:pt x="17" y="228"/>
                  <a:pt x="17" y="228"/>
                </a:cubicBezTo>
                <a:cubicBezTo>
                  <a:pt x="16" y="228"/>
                  <a:pt x="16" y="228"/>
                  <a:pt x="16" y="228"/>
                </a:cubicBezTo>
                <a:cubicBezTo>
                  <a:pt x="15" y="228"/>
                  <a:pt x="15" y="228"/>
                  <a:pt x="15" y="228"/>
                </a:cubicBezTo>
                <a:cubicBezTo>
                  <a:pt x="15" y="229"/>
                  <a:pt x="15" y="229"/>
                  <a:pt x="15" y="229"/>
                </a:cubicBezTo>
                <a:cubicBezTo>
                  <a:pt x="14" y="228"/>
                  <a:pt x="14" y="228"/>
                  <a:pt x="14" y="228"/>
                </a:cubicBezTo>
                <a:cubicBezTo>
                  <a:pt x="12" y="229"/>
                  <a:pt x="12" y="229"/>
                  <a:pt x="12" y="229"/>
                </a:cubicBezTo>
                <a:cubicBezTo>
                  <a:pt x="11" y="229"/>
                  <a:pt x="11" y="229"/>
                  <a:pt x="11" y="229"/>
                </a:cubicBezTo>
                <a:cubicBezTo>
                  <a:pt x="12" y="230"/>
                  <a:pt x="12" y="230"/>
                  <a:pt x="12" y="230"/>
                </a:cubicBezTo>
                <a:cubicBezTo>
                  <a:pt x="13" y="231"/>
                  <a:pt x="13" y="231"/>
                  <a:pt x="13" y="231"/>
                </a:cubicBezTo>
                <a:cubicBezTo>
                  <a:pt x="13" y="232"/>
                  <a:pt x="13" y="232"/>
                  <a:pt x="13" y="232"/>
                </a:cubicBezTo>
                <a:cubicBezTo>
                  <a:pt x="14" y="232"/>
                  <a:pt x="14" y="232"/>
                  <a:pt x="14" y="232"/>
                </a:cubicBezTo>
                <a:cubicBezTo>
                  <a:pt x="15" y="232"/>
                  <a:pt x="15" y="232"/>
                  <a:pt x="15" y="232"/>
                </a:cubicBezTo>
                <a:cubicBezTo>
                  <a:pt x="15" y="232"/>
                  <a:pt x="15" y="232"/>
                  <a:pt x="15" y="232"/>
                </a:cubicBezTo>
                <a:cubicBezTo>
                  <a:pt x="14" y="233"/>
                  <a:pt x="14" y="233"/>
                  <a:pt x="14" y="233"/>
                </a:cubicBezTo>
                <a:cubicBezTo>
                  <a:pt x="14" y="234"/>
                  <a:pt x="14" y="234"/>
                  <a:pt x="14" y="234"/>
                </a:cubicBezTo>
                <a:cubicBezTo>
                  <a:pt x="14" y="234"/>
                  <a:pt x="14" y="234"/>
                  <a:pt x="14" y="234"/>
                </a:cubicBezTo>
                <a:cubicBezTo>
                  <a:pt x="14" y="235"/>
                  <a:pt x="14" y="235"/>
                  <a:pt x="14" y="235"/>
                </a:cubicBezTo>
                <a:cubicBezTo>
                  <a:pt x="13" y="235"/>
                  <a:pt x="13" y="235"/>
                  <a:pt x="13" y="235"/>
                </a:cubicBezTo>
                <a:cubicBezTo>
                  <a:pt x="13" y="236"/>
                  <a:pt x="13" y="236"/>
                  <a:pt x="13" y="236"/>
                </a:cubicBezTo>
                <a:cubicBezTo>
                  <a:pt x="14" y="239"/>
                  <a:pt x="14" y="239"/>
                  <a:pt x="14" y="239"/>
                </a:cubicBezTo>
                <a:cubicBezTo>
                  <a:pt x="15" y="240"/>
                  <a:pt x="15" y="240"/>
                  <a:pt x="15" y="240"/>
                </a:cubicBezTo>
                <a:cubicBezTo>
                  <a:pt x="14" y="241"/>
                  <a:pt x="14" y="241"/>
                  <a:pt x="14" y="241"/>
                </a:cubicBezTo>
                <a:cubicBezTo>
                  <a:pt x="15" y="243"/>
                  <a:pt x="15" y="243"/>
                  <a:pt x="15" y="243"/>
                </a:cubicBezTo>
                <a:cubicBezTo>
                  <a:pt x="16" y="243"/>
                  <a:pt x="16" y="243"/>
                  <a:pt x="16" y="243"/>
                </a:cubicBezTo>
                <a:cubicBezTo>
                  <a:pt x="16" y="241"/>
                  <a:pt x="16" y="241"/>
                  <a:pt x="16" y="241"/>
                </a:cubicBezTo>
                <a:cubicBezTo>
                  <a:pt x="17" y="239"/>
                  <a:pt x="17" y="239"/>
                  <a:pt x="17" y="239"/>
                </a:cubicBezTo>
                <a:cubicBezTo>
                  <a:pt x="18" y="238"/>
                  <a:pt x="18" y="238"/>
                  <a:pt x="18" y="238"/>
                </a:cubicBezTo>
                <a:cubicBezTo>
                  <a:pt x="18" y="238"/>
                  <a:pt x="18" y="238"/>
                  <a:pt x="18" y="238"/>
                </a:cubicBezTo>
                <a:cubicBezTo>
                  <a:pt x="17" y="239"/>
                  <a:pt x="17" y="239"/>
                  <a:pt x="17" y="239"/>
                </a:cubicBezTo>
                <a:cubicBezTo>
                  <a:pt x="17" y="241"/>
                  <a:pt x="17" y="241"/>
                  <a:pt x="17" y="241"/>
                </a:cubicBezTo>
                <a:cubicBezTo>
                  <a:pt x="17" y="242"/>
                  <a:pt x="17" y="242"/>
                  <a:pt x="17" y="242"/>
                </a:cubicBezTo>
                <a:cubicBezTo>
                  <a:pt x="18" y="242"/>
                  <a:pt x="18" y="242"/>
                  <a:pt x="18" y="242"/>
                </a:cubicBezTo>
                <a:cubicBezTo>
                  <a:pt x="19" y="242"/>
                  <a:pt x="19" y="242"/>
                  <a:pt x="19" y="242"/>
                </a:cubicBezTo>
                <a:cubicBezTo>
                  <a:pt x="18" y="243"/>
                  <a:pt x="18" y="243"/>
                  <a:pt x="18" y="243"/>
                </a:cubicBezTo>
                <a:cubicBezTo>
                  <a:pt x="17" y="243"/>
                  <a:pt x="17" y="243"/>
                  <a:pt x="17" y="243"/>
                </a:cubicBezTo>
                <a:cubicBezTo>
                  <a:pt x="16" y="244"/>
                  <a:pt x="16" y="244"/>
                  <a:pt x="16" y="244"/>
                </a:cubicBezTo>
                <a:cubicBezTo>
                  <a:pt x="16" y="245"/>
                  <a:pt x="16" y="245"/>
                  <a:pt x="16" y="245"/>
                </a:cubicBezTo>
                <a:cubicBezTo>
                  <a:pt x="16" y="246"/>
                  <a:pt x="16" y="246"/>
                  <a:pt x="16" y="246"/>
                </a:cubicBezTo>
                <a:cubicBezTo>
                  <a:pt x="16" y="247"/>
                  <a:pt x="16" y="247"/>
                  <a:pt x="16" y="247"/>
                </a:cubicBezTo>
                <a:cubicBezTo>
                  <a:pt x="15" y="247"/>
                  <a:pt x="15" y="247"/>
                  <a:pt x="15" y="247"/>
                </a:cubicBezTo>
                <a:cubicBezTo>
                  <a:pt x="14" y="248"/>
                  <a:pt x="14" y="248"/>
                  <a:pt x="14" y="248"/>
                </a:cubicBezTo>
                <a:cubicBezTo>
                  <a:pt x="15" y="249"/>
                  <a:pt x="15" y="249"/>
                  <a:pt x="15" y="249"/>
                </a:cubicBezTo>
                <a:cubicBezTo>
                  <a:pt x="16" y="251"/>
                  <a:pt x="16" y="251"/>
                  <a:pt x="16" y="251"/>
                </a:cubicBezTo>
                <a:cubicBezTo>
                  <a:pt x="19" y="251"/>
                  <a:pt x="19" y="251"/>
                  <a:pt x="19" y="251"/>
                </a:cubicBezTo>
                <a:cubicBezTo>
                  <a:pt x="20" y="252"/>
                  <a:pt x="20" y="252"/>
                  <a:pt x="20" y="252"/>
                </a:cubicBezTo>
                <a:cubicBezTo>
                  <a:pt x="19" y="252"/>
                  <a:pt x="19" y="252"/>
                  <a:pt x="19" y="252"/>
                </a:cubicBezTo>
                <a:cubicBezTo>
                  <a:pt x="19" y="252"/>
                  <a:pt x="19" y="252"/>
                  <a:pt x="19" y="252"/>
                </a:cubicBezTo>
                <a:cubicBezTo>
                  <a:pt x="19" y="254"/>
                  <a:pt x="19" y="254"/>
                  <a:pt x="19" y="254"/>
                </a:cubicBezTo>
                <a:cubicBezTo>
                  <a:pt x="20" y="254"/>
                  <a:pt x="20" y="254"/>
                  <a:pt x="20" y="254"/>
                </a:cubicBezTo>
                <a:cubicBezTo>
                  <a:pt x="21" y="253"/>
                  <a:pt x="21" y="253"/>
                  <a:pt x="21" y="253"/>
                </a:cubicBezTo>
                <a:cubicBezTo>
                  <a:pt x="21" y="254"/>
                  <a:pt x="21" y="254"/>
                  <a:pt x="21" y="254"/>
                </a:cubicBezTo>
                <a:cubicBezTo>
                  <a:pt x="20" y="255"/>
                  <a:pt x="20" y="255"/>
                  <a:pt x="20" y="255"/>
                </a:cubicBezTo>
                <a:cubicBezTo>
                  <a:pt x="19" y="255"/>
                  <a:pt x="19" y="255"/>
                  <a:pt x="19" y="255"/>
                </a:cubicBezTo>
                <a:cubicBezTo>
                  <a:pt x="19" y="256"/>
                  <a:pt x="19" y="256"/>
                  <a:pt x="19" y="256"/>
                </a:cubicBezTo>
                <a:cubicBezTo>
                  <a:pt x="19" y="257"/>
                  <a:pt x="19" y="257"/>
                  <a:pt x="19" y="257"/>
                </a:cubicBezTo>
                <a:cubicBezTo>
                  <a:pt x="20" y="257"/>
                  <a:pt x="20" y="257"/>
                  <a:pt x="20" y="257"/>
                </a:cubicBezTo>
                <a:cubicBezTo>
                  <a:pt x="20" y="257"/>
                  <a:pt x="20" y="257"/>
                  <a:pt x="20" y="257"/>
                </a:cubicBezTo>
                <a:cubicBezTo>
                  <a:pt x="21" y="258"/>
                  <a:pt x="21" y="258"/>
                  <a:pt x="21" y="258"/>
                </a:cubicBezTo>
                <a:cubicBezTo>
                  <a:pt x="22" y="258"/>
                  <a:pt x="22" y="258"/>
                  <a:pt x="22" y="258"/>
                </a:cubicBezTo>
                <a:cubicBezTo>
                  <a:pt x="22" y="258"/>
                  <a:pt x="22" y="258"/>
                  <a:pt x="22" y="258"/>
                </a:cubicBezTo>
                <a:cubicBezTo>
                  <a:pt x="22" y="259"/>
                  <a:pt x="22" y="259"/>
                  <a:pt x="22" y="259"/>
                </a:cubicBezTo>
                <a:cubicBezTo>
                  <a:pt x="23" y="260"/>
                  <a:pt x="23" y="260"/>
                  <a:pt x="23" y="260"/>
                </a:cubicBezTo>
                <a:cubicBezTo>
                  <a:pt x="22" y="260"/>
                  <a:pt x="22" y="260"/>
                  <a:pt x="22" y="260"/>
                </a:cubicBezTo>
                <a:cubicBezTo>
                  <a:pt x="22" y="260"/>
                  <a:pt x="22" y="260"/>
                  <a:pt x="22" y="260"/>
                </a:cubicBezTo>
                <a:cubicBezTo>
                  <a:pt x="21" y="260"/>
                  <a:pt x="21" y="260"/>
                  <a:pt x="21" y="260"/>
                </a:cubicBezTo>
                <a:cubicBezTo>
                  <a:pt x="21" y="260"/>
                  <a:pt x="21" y="260"/>
                  <a:pt x="21" y="260"/>
                </a:cubicBezTo>
                <a:cubicBezTo>
                  <a:pt x="22" y="262"/>
                  <a:pt x="22" y="262"/>
                  <a:pt x="22" y="262"/>
                </a:cubicBezTo>
                <a:cubicBezTo>
                  <a:pt x="22" y="262"/>
                  <a:pt x="22" y="262"/>
                  <a:pt x="22" y="262"/>
                </a:cubicBezTo>
                <a:cubicBezTo>
                  <a:pt x="23" y="263"/>
                  <a:pt x="23" y="263"/>
                  <a:pt x="23" y="263"/>
                </a:cubicBezTo>
                <a:cubicBezTo>
                  <a:pt x="23" y="264"/>
                  <a:pt x="23" y="264"/>
                  <a:pt x="23" y="264"/>
                </a:cubicBezTo>
                <a:cubicBezTo>
                  <a:pt x="24" y="265"/>
                  <a:pt x="24" y="265"/>
                  <a:pt x="24" y="265"/>
                </a:cubicBezTo>
                <a:cubicBezTo>
                  <a:pt x="25" y="265"/>
                  <a:pt x="25" y="265"/>
                  <a:pt x="25" y="265"/>
                </a:cubicBezTo>
                <a:cubicBezTo>
                  <a:pt x="25" y="263"/>
                  <a:pt x="25" y="263"/>
                  <a:pt x="25" y="263"/>
                </a:cubicBezTo>
                <a:cubicBezTo>
                  <a:pt x="25" y="262"/>
                  <a:pt x="25" y="262"/>
                  <a:pt x="25" y="262"/>
                </a:cubicBezTo>
                <a:cubicBezTo>
                  <a:pt x="25" y="262"/>
                  <a:pt x="25" y="262"/>
                  <a:pt x="25" y="262"/>
                </a:cubicBezTo>
                <a:cubicBezTo>
                  <a:pt x="26" y="262"/>
                  <a:pt x="26" y="262"/>
                  <a:pt x="26" y="262"/>
                </a:cubicBezTo>
                <a:cubicBezTo>
                  <a:pt x="26" y="263"/>
                  <a:pt x="26" y="263"/>
                  <a:pt x="26" y="263"/>
                </a:cubicBezTo>
                <a:cubicBezTo>
                  <a:pt x="26" y="264"/>
                  <a:pt x="26" y="264"/>
                  <a:pt x="26" y="264"/>
                </a:cubicBezTo>
                <a:cubicBezTo>
                  <a:pt x="27" y="263"/>
                  <a:pt x="27" y="263"/>
                  <a:pt x="27" y="263"/>
                </a:cubicBezTo>
                <a:cubicBezTo>
                  <a:pt x="28" y="262"/>
                  <a:pt x="28" y="262"/>
                  <a:pt x="28" y="262"/>
                </a:cubicBezTo>
                <a:cubicBezTo>
                  <a:pt x="28" y="261"/>
                  <a:pt x="28" y="261"/>
                  <a:pt x="28" y="261"/>
                </a:cubicBezTo>
                <a:cubicBezTo>
                  <a:pt x="27" y="261"/>
                  <a:pt x="27" y="261"/>
                  <a:pt x="27" y="261"/>
                </a:cubicBezTo>
                <a:cubicBezTo>
                  <a:pt x="25" y="261"/>
                  <a:pt x="25" y="261"/>
                  <a:pt x="25" y="261"/>
                </a:cubicBezTo>
                <a:cubicBezTo>
                  <a:pt x="25" y="260"/>
                  <a:pt x="25" y="260"/>
                  <a:pt x="25" y="260"/>
                </a:cubicBezTo>
                <a:cubicBezTo>
                  <a:pt x="26" y="260"/>
                  <a:pt x="26" y="260"/>
                  <a:pt x="26" y="260"/>
                </a:cubicBezTo>
                <a:cubicBezTo>
                  <a:pt x="28" y="261"/>
                  <a:pt x="28" y="261"/>
                  <a:pt x="28" y="261"/>
                </a:cubicBezTo>
                <a:cubicBezTo>
                  <a:pt x="29" y="261"/>
                  <a:pt x="29" y="261"/>
                  <a:pt x="29" y="261"/>
                </a:cubicBezTo>
                <a:cubicBezTo>
                  <a:pt x="30" y="262"/>
                  <a:pt x="30" y="262"/>
                  <a:pt x="30" y="262"/>
                </a:cubicBezTo>
                <a:cubicBezTo>
                  <a:pt x="30" y="260"/>
                  <a:pt x="30" y="260"/>
                  <a:pt x="30" y="260"/>
                </a:cubicBezTo>
                <a:cubicBezTo>
                  <a:pt x="28" y="260"/>
                  <a:pt x="28" y="260"/>
                  <a:pt x="28" y="260"/>
                </a:cubicBezTo>
                <a:cubicBezTo>
                  <a:pt x="26" y="260"/>
                  <a:pt x="26" y="260"/>
                  <a:pt x="26" y="260"/>
                </a:cubicBezTo>
                <a:cubicBezTo>
                  <a:pt x="26" y="259"/>
                  <a:pt x="26" y="259"/>
                  <a:pt x="26" y="259"/>
                </a:cubicBezTo>
                <a:cubicBezTo>
                  <a:pt x="27" y="259"/>
                  <a:pt x="27" y="259"/>
                  <a:pt x="27" y="259"/>
                </a:cubicBezTo>
                <a:cubicBezTo>
                  <a:pt x="29" y="260"/>
                  <a:pt x="29" y="260"/>
                  <a:pt x="29" y="260"/>
                </a:cubicBezTo>
                <a:cubicBezTo>
                  <a:pt x="31" y="261"/>
                  <a:pt x="31" y="261"/>
                  <a:pt x="31" y="261"/>
                </a:cubicBezTo>
                <a:cubicBezTo>
                  <a:pt x="31" y="262"/>
                  <a:pt x="31" y="262"/>
                  <a:pt x="31" y="262"/>
                </a:cubicBezTo>
                <a:cubicBezTo>
                  <a:pt x="30" y="263"/>
                  <a:pt x="30" y="263"/>
                  <a:pt x="30" y="263"/>
                </a:cubicBezTo>
                <a:cubicBezTo>
                  <a:pt x="30" y="264"/>
                  <a:pt x="30" y="264"/>
                  <a:pt x="30" y="264"/>
                </a:cubicBezTo>
                <a:cubicBezTo>
                  <a:pt x="31" y="266"/>
                  <a:pt x="31" y="266"/>
                  <a:pt x="31" y="266"/>
                </a:cubicBezTo>
                <a:cubicBezTo>
                  <a:pt x="31" y="267"/>
                  <a:pt x="31" y="267"/>
                  <a:pt x="31" y="267"/>
                </a:cubicBezTo>
                <a:cubicBezTo>
                  <a:pt x="30" y="267"/>
                  <a:pt x="30" y="267"/>
                  <a:pt x="30" y="267"/>
                </a:cubicBezTo>
                <a:cubicBezTo>
                  <a:pt x="30" y="266"/>
                  <a:pt x="30" y="266"/>
                  <a:pt x="30" y="266"/>
                </a:cubicBezTo>
                <a:cubicBezTo>
                  <a:pt x="29" y="264"/>
                  <a:pt x="29" y="264"/>
                  <a:pt x="29" y="264"/>
                </a:cubicBezTo>
                <a:cubicBezTo>
                  <a:pt x="29" y="263"/>
                  <a:pt x="29" y="263"/>
                  <a:pt x="29" y="263"/>
                </a:cubicBezTo>
                <a:cubicBezTo>
                  <a:pt x="28" y="264"/>
                  <a:pt x="28" y="264"/>
                  <a:pt x="28" y="264"/>
                </a:cubicBezTo>
                <a:cubicBezTo>
                  <a:pt x="28" y="265"/>
                  <a:pt x="28" y="265"/>
                  <a:pt x="28" y="265"/>
                </a:cubicBezTo>
                <a:cubicBezTo>
                  <a:pt x="29" y="266"/>
                  <a:pt x="29" y="266"/>
                  <a:pt x="29" y="266"/>
                </a:cubicBezTo>
                <a:cubicBezTo>
                  <a:pt x="28" y="267"/>
                  <a:pt x="28" y="267"/>
                  <a:pt x="28" y="267"/>
                </a:cubicBezTo>
                <a:cubicBezTo>
                  <a:pt x="28" y="266"/>
                  <a:pt x="28" y="266"/>
                  <a:pt x="28" y="266"/>
                </a:cubicBezTo>
                <a:cubicBezTo>
                  <a:pt x="27" y="265"/>
                  <a:pt x="27" y="265"/>
                  <a:pt x="27" y="265"/>
                </a:cubicBezTo>
                <a:cubicBezTo>
                  <a:pt x="27" y="265"/>
                  <a:pt x="27" y="265"/>
                  <a:pt x="27" y="265"/>
                </a:cubicBezTo>
                <a:cubicBezTo>
                  <a:pt x="26" y="266"/>
                  <a:pt x="26" y="266"/>
                  <a:pt x="26" y="266"/>
                </a:cubicBezTo>
                <a:cubicBezTo>
                  <a:pt x="24" y="266"/>
                  <a:pt x="24" y="266"/>
                  <a:pt x="24" y="266"/>
                </a:cubicBezTo>
                <a:cubicBezTo>
                  <a:pt x="23" y="266"/>
                  <a:pt x="23" y="266"/>
                  <a:pt x="23" y="266"/>
                </a:cubicBezTo>
                <a:cubicBezTo>
                  <a:pt x="24" y="267"/>
                  <a:pt x="24" y="267"/>
                  <a:pt x="24" y="267"/>
                </a:cubicBezTo>
                <a:cubicBezTo>
                  <a:pt x="24" y="269"/>
                  <a:pt x="24" y="269"/>
                  <a:pt x="24" y="269"/>
                </a:cubicBezTo>
                <a:cubicBezTo>
                  <a:pt x="25" y="269"/>
                  <a:pt x="25" y="269"/>
                  <a:pt x="25" y="269"/>
                </a:cubicBezTo>
                <a:cubicBezTo>
                  <a:pt x="25" y="270"/>
                  <a:pt x="25" y="270"/>
                  <a:pt x="25" y="270"/>
                </a:cubicBezTo>
                <a:cubicBezTo>
                  <a:pt x="25" y="271"/>
                  <a:pt x="25" y="271"/>
                  <a:pt x="25" y="271"/>
                </a:cubicBezTo>
                <a:cubicBezTo>
                  <a:pt x="25" y="271"/>
                  <a:pt x="25" y="271"/>
                  <a:pt x="25" y="271"/>
                </a:cubicBezTo>
                <a:cubicBezTo>
                  <a:pt x="26" y="271"/>
                  <a:pt x="26" y="271"/>
                  <a:pt x="26" y="271"/>
                </a:cubicBezTo>
                <a:cubicBezTo>
                  <a:pt x="26" y="270"/>
                  <a:pt x="26" y="270"/>
                  <a:pt x="26" y="270"/>
                </a:cubicBezTo>
                <a:cubicBezTo>
                  <a:pt x="27" y="271"/>
                  <a:pt x="27" y="271"/>
                  <a:pt x="27" y="271"/>
                </a:cubicBezTo>
                <a:cubicBezTo>
                  <a:pt x="28" y="271"/>
                  <a:pt x="28" y="271"/>
                  <a:pt x="28" y="271"/>
                </a:cubicBezTo>
                <a:cubicBezTo>
                  <a:pt x="28" y="272"/>
                  <a:pt x="28" y="272"/>
                  <a:pt x="28" y="272"/>
                </a:cubicBezTo>
                <a:cubicBezTo>
                  <a:pt x="27" y="272"/>
                  <a:pt x="27" y="272"/>
                  <a:pt x="27" y="272"/>
                </a:cubicBezTo>
                <a:cubicBezTo>
                  <a:pt x="26" y="273"/>
                  <a:pt x="26" y="273"/>
                  <a:pt x="26" y="273"/>
                </a:cubicBezTo>
                <a:cubicBezTo>
                  <a:pt x="26" y="273"/>
                  <a:pt x="26" y="273"/>
                  <a:pt x="26" y="273"/>
                </a:cubicBezTo>
                <a:cubicBezTo>
                  <a:pt x="28" y="273"/>
                  <a:pt x="28" y="273"/>
                  <a:pt x="28" y="273"/>
                </a:cubicBezTo>
                <a:cubicBezTo>
                  <a:pt x="29" y="274"/>
                  <a:pt x="29" y="274"/>
                  <a:pt x="29" y="274"/>
                </a:cubicBezTo>
                <a:cubicBezTo>
                  <a:pt x="30" y="274"/>
                  <a:pt x="30" y="274"/>
                  <a:pt x="30" y="274"/>
                </a:cubicBezTo>
                <a:cubicBezTo>
                  <a:pt x="31" y="273"/>
                  <a:pt x="31" y="273"/>
                  <a:pt x="31" y="273"/>
                </a:cubicBezTo>
                <a:cubicBezTo>
                  <a:pt x="30" y="272"/>
                  <a:pt x="30" y="272"/>
                  <a:pt x="30" y="272"/>
                </a:cubicBezTo>
                <a:cubicBezTo>
                  <a:pt x="30" y="271"/>
                  <a:pt x="30" y="271"/>
                  <a:pt x="30" y="271"/>
                </a:cubicBezTo>
                <a:cubicBezTo>
                  <a:pt x="30" y="270"/>
                  <a:pt x="30" y="270"/>
                  <a:pt x="30" y="270"/>
                </a:cubicBezTo>
                <a:cubicBezTo>
                  <a:pt x="30" y="270"/>
                  <a:pt x="30" y="270"/>
                  <a:pt x="30" y="270"/>
                </a:cubicBezTo>
                <a:cubicBezTo>
                  <a:pt x="29" y="270"/>
                  <a:pt x="29" y="270"/>
                  <a:pt x="29" y="270"/>
                </a:cubicBezTo>
                <a:cubicBezTo>
                  <a:pt x="29" y="270"/>
                  <a:pt x="29" y="270"/>
                  <a:pt x="29" y="270"/>
                </a:cubicBezTo>
                <a:cubicBezTo>
                  <a:pt x="30" y="269"/>
                  <a:pt x="30" y="269"/>
                  <a:pt x="30" y="269"/>
                </a:cubicBezTo>
                <a:cubicBezTo>
                  <a:pt x="30" y="269"/>
                  <a:pt x="30" y="269"/>
                  <a:pt x="30" y="269"/>
                </a:cubicBezTo>
                <a:cubicBezTo>
                  <a:pt x="30" y="268"/>
                  <a:pt x="30" y="268"/>
                  <a:pt x="30" y="268"/>
                </a:cubicBezTo>
                <a:cubicBezTo>
                  <a:pt x="32" y="269"/>
                  <a:pt x="32" y="269"/>
                  <a:pt x="32" y="269"/>
                </a:cubicBezTo>
                <a:cubicBezTo>
                  <a:pt x="32" y="269"/>
                  <a:pt x="32" y="269"/>
                  <a:pt x="32" y="269"/>
                </a:cubicBezTo>
                <a:cubicBezTo>
                  <a:pt x="32" y="269"/>
                  <a:pt x="32" y="269"/>
                  <a:pt x="32" y="269"/>
                </a:cubicBezTo>
                <a:cubicBezTo>
                  <a:pt x="33" y="269"/>
                  <a:pt x="33" y="269"/>
                  <a:pt x="33" y="269"/>
                </a:cubicBezTo>
                <a:cubicBezTo>
                  <a:pt x="33" y="269"/>
                  <a:pt x="33" y="269"/>
                  <a:pt x="33" y="269"/>
                </a:cubicBezTo>
                <a:cubicBezTo>
                  <a:pt x="35" y="269"/>
                  <a:pt x="35" y="269"/>
                  <a:pt x="35" y="269"/>
                </a:cubicBezTo>
                <a:cubicBezTo>
                  <a:pt x="36" y="269"/>
                  <a:pt x="36" y="269"/>
                  <a:pt x="36" y="269"/>
                </a:cubicBezTo>
                <a:cubicBezTo>
                  <a:pt x="37" y="269"/>
                  <a:pt x="37" y="269"/>
                  <a:pt x="37" y="269"/>
                </a:cubicBezTo>
                <a:cubicBezTo>
                  <a:pt x="38" y="269"/>
                  <a:pt x="38" y="269"/>
                  <a:pt x="38" y="269"/>
                </a:cubicBezTo>
                <a:cubicBezTo>
                  <a:pt x="38" y="269"/>
                  <a:pt x="38" y="269"/>
                  <a:pt x="38" y="269"/>
                </a:cubicBezTo>
                <a:cubicBezTo>
                  <a:pt x="37" y="270"/>
                  <a:pt x="37" y="270"/>
                  <a:pt x="37" y="270"/>
                </a:cubicBezTo>
                <a:cubicBezTo>
                  <a:pt x="37" y="270"/>
                  <a:pt x="37" y="270"/>
                  <a:pt x="37" y="270"/>
                </a:cubicBezTo>
                <a:cubicBezTo>
                  <a:pt x="36" y="270"/>
                  <a:pt x="36" y="270"/>
                  <a:pt x="36" y="270"/>
                </a:cubicBezTo>
                <a:cubicBezTo>
                  <a:pt x="35" y="270"/>
                  <a:pt x="35" y="270"/>
                  <a:pt x="35" y="270"/>
                </a:cubicBezTo>
                <a:cubicBezTo>
                  <a:pt x="35" y="270"/>
                  <a:pt x="35" y="270"/>
                  <a:pt x="35" y="270"/>
                </a:cubicBezTo>
                <a:cubicBezTo>
                  <a:pt x="33" y="272"/>
                  <a:pt x="33" y="272"/>
                  <a:pt x="33" y="272"/>
                </a:cubicBezTo>
                <a:cubicBezTo>
                  <a:pt x="32" y="272"/>
                  <a:pt x="32" y="272"/>
                  <a:pt x="32" y="272"/>
                </a:cubicBezTo>
                <a:cubicBezTo>
                  <a:pt x="32" y="272"/>
                  <a:pt x="32" y="272"/>
                  <a:pt x="32" y="272"/>
                </a:cubicBezTo>
                <a:cubicBezTo>
                  <a:pt x="31" y="272"/>
                  <a:pt x="31" y="272"/>
                  <a:pt x="31" y="272"/>
                </a:cubicBezTo>
                <a:cubicBezTo>
                  <a:pt x="31" y="273"/>
                  <a:pt x="31" y="273"/>
                  <a:pt x="31" y="273"/>
                </a:cubicBezTo>
                <a:cubicBezTo>
                  <a:pt x="31" y="274"/>
                  <a:pt x="31" y="274"/>
                  <a:pt x="31" y="274"/>
                </a:cubicBezTo>
                <a:cubicBezTo>
                  <a:pt x="30" y="274"/>
                  <a:pt x="30" y="274"/>
                  <a:pt x="30" y="274"/>
                </a:cubicBezTo>
                <a:cubicBezTo>
                  <a:pt x="30" y="275"/>
                  <a:pt x="30" y="275"/>
                  <a:pt x="30" y="275"/>
                </a:cubicBezTo>
                <a:cubicBezTo>
                  <a:pt x="31" y="275"/>
                  <a:pt x="31" y="275"/>
                  <a:pt x="31" y="275"/>
                </a:cubicBezTo>
                <a:cubicBezTo>
                  <a:pt x="30" y="276"/>
                  <a:pt x="30" y="276"/>
                  <a:pt x="30" y="276"/>
                </a:cubicBezTo>
                <a:cubicBezTo>
                  <a:pt x="30" y="276"/>
                  <a:pt x="30" y="276"/>
                  <a:pt x="30" y="276"/>
                </a:cubicBezTo>
                <a:cubicBezTo>
                  <a:pt x="32" y="277"/>
                  <a:pt x="32" y="277"/>
                  <a:pt x="32" y="277"/>
                </a:cubicBezTo>
                <a:cubicBezTo>
                  <a:pt x="34" y="278"/>
                  <a:pt x="34" y="278"/>
                  <a:pt x="34" y="278"/>
                </a:cubicBezTo>
                <a:cubicBezTo>
                  <a:pt x="34" y="278"/>
                  <a:pt x="34" y="278"/>
                  <a:pt x="34" y="278"/>
                </a:cubicBezTo>
                <a:cubicBezTo>
                  <a:pt x="34" y="278"/>
                  <a:pt x="34" y="278"/>
                  <a:pt x="34" y="278"/>
                </a:cubicBezTo>
                <a:cubicBezTo>
                  <a:pt x="34" y="277"/>
                  <a:pt x="34" y="277"/>
                  <a:pt x="34" y="277"/>
                </a:cubicBezTo>
                <a:cubicBezTo>
                  <a:pt x="35" y="276"/>
                  <a:pt x="35" y="276"/>
                  <a:pt x="35" y="276"/>
                </a:cubicBezTo>
                <a:cubicBezTo>
                  <a:pt x="35" y="276"/>
                  <a:pt x="35" y="276"/>
                  <a:pt x="35" y="276"/>
                </a:cubicBezTo>
                <a:cubicBezTo>
                  <a:pt x="36" y="275"/>
                  <a:pt x="36" y="275"/>
                  <a:pt x="36" y="275"/>
                </a:cubicBezTo>
                <a:cubicBezTo>
                  <a:pt x="35" y="274"/>
                  <a:pt x="35" y="274"/>
                  <a:pt x="35" y="274"/>
                </a:cubicBezTo>
                <a:cubicBezTo>
                  <a:pt x="36" y="274"/>
                  <a:pt x="36" y="274"/>
                  <a:pt x="36" y="274"/>
                </a:cubicBezTo>
                <a:cubicBezTo>
                  <a:pt x="37" y="273"/>
                  <a:pt x="37" y="273"/>
                  <a:pt x="37" y="273"/>
                </a:cubicBezTo>
                <a:cubicBezTo>
                  <a:pt x="38" y="271"/>
                  <a:pt x="38" y="271"/>
                  <a:pt x="38" y="271"/>
                </a:cubicBezTo>
                <a:cubicBezTo>
                  <a:pt x="39" y="271"/>
                  <a:pt x="39" y="271"/>
                  <a:pt x="39" y="271"/>
                </a:cubicBezTo>
                <a:cubicBezTo>
                  <a:pt x="39" y="271"/>
                  <a:pt x="39" y="271"/>
                  <a:pt x="39" y="271"/>
                </a:cubicBezTo>
                <a:cubicBezTo>
                  <a:pt x="40" y="271"/>
                  <a:pt x="40" y="271"/>
                  <a:pt x="40" y="271"/>
                </a:cubicBezTo>
                <a:cubicBezTo>
                  <a:pt x="41" y="271"/>
                  <a:pt x="41" y="271"/>
                  <a:pt x="41" y="271"/>
                </a:cubicBezTo>
                <a:cubicBezTo>
                  <a:pt x="41" y="272"/>
                  <a:pt x="41" y="272"/>
                  <a:pt x="41" y="272"/>
                </a:cubicBezTo>
                <a:cubicBezTo>
                  <a:pt x="40" y="272"/>
                  <a:pt x="40" y="272"/>
                  <a:pt x="40" y="272"/>
                </a:cubicBezTo>
                <a:cubicBezTo>
                  <a:pt x="40" y="273"/>
                  <a:pt x="40" y="273"/>
                  <a:pt x="40" y="273"/>
                </a:cubicBezTo>
                <a:cubicBezTo>
                  <a:pt x="39" y="274"/>
                  <a:pt x="39" y="274"/>
                  <a:pt x="39" y="274"/>
                </a:cubicBezTo>
                <a:cubicBezTo>
                  <a:pt x="38" y="275"/>
                  <a:pt x="38" y="275"/>
                  <a:pt x="38" y="275"/>
                </a:cubicBezTo>
                <a:cubicBezTo>
                  <a:pt x="38" y="276"/>
                  <a:pt x="38" y="276"/>
                  <a:pt x="38" y="276"/>
                </a:cubicBezTo>
                <a:cubicBezTo>
                  <a:pt x="39" y="277"/>
                  <a:pt x="39" y="277"/>
                  <a:pt x="39" y="277"/>
                </a:cubicBezTo>
                <a:cubicBezTo>
                  <a:pt x="38" y="278"/>
                  <a:pt x="38" y="278"/>
                  <a:pt x="38" y="278"/>
                </a:cubicBezTo>
                <a:cubicBezTo>
                  <a:pt x="37" y="278"/>
                  <a:pt x="37" y="278"/>
                  <a:pt x="37" y="278"/>
                </a:cubicBezTo>
                <a:cubicBezTo>
                  <a:pt x="37" y="278"/>
                  <a:pt x="37" y="278"/>
                  <a:pt x="37" y="278"/>
                </a:cubicBezTo>
                <a:cubicBezTo>
                  <a:pt x="38" y="277"/>
                  <a:pt x="38" y="277"/>
                  <a:pt x="38" y="277"/>
                </a:cubicBezTo>
                <a:cubicBezTo>
                  <a:pt x="38" y="276"/>
                  <a:pt x="38" y="276"/>
                  <a:pt x="38" y="276"/>
                </a:cubicBezTo>
                <a:cubicBezTo>
                  <a:pt x="37" y="276"/>
                  <a:pt x="37" y="276"/>
                  <a:pt x="37" y="276"/>
                </a:cubicBezTo>
                <a:cubicBezTo>
                  <a:pt x="37" y="276"/>
                  <a:pt x="37" y="276"/>
                  <a:pt x="37" y="276"/>
                </a:cubicBezTo>
                <a:cubicBezTo>
                  <a:pt x="36" y="277"/>
                  <a:pt x="36" y="277"/>
                  <a:pt x="36" y="277"/>
                </a:cubicBezTo>
                <a:cubicBezTo>
                  <a:pt x="36" y="277"/>
                  <a:pt x="36" y="277"/>
                  <a:pt x="36" y="277"/>
                </a:cubicBezTo>
                <a:cubicBezTo>
                  <a:pt x="35" y="277"/>
                  <a:pt x="35" y="277"/>
                  <a:pt x="35" y="277"/>
                </a:cubicBezTo>
                <a:cubicBezTo>
                  <a:pt x="35" y="277"/>
                  <a:pt x="35" y="277"/>
                  <a:pt x="35" y="277"/>
                </a:cubicBezTo>
                <a:cubicBezTo>
                  <a:pt x="35" y="278"/>
                  <a:pt x="35" y="278"/>
                  <a:pt x="35" y="278"/>
                </a:cubicBezTo>
                <a:cubicBezTo>
                  <a:pt x="37" y="280"/>
                  <a:pt x="37" y="280"/>
                  <a:pt x="37" y="280"/>
                </a:cubicBezTo>
                <a:cubicBezTo>
                  <a:pt x="39" y="281"/>
                  <a:pt x="39" y="281"/>
                  <a:pt x="39" y="281"/>
                </a:cubicBezTo>
                <a:cubicBezTo>
                  <a:pt x="40" y="281"/>
                  <a:pt x="40" y="281"/>
                  <a:pt x="40" y="281"/>
                </a:cubicBezTo>
                <a:cubicBezTo>
                  <a:pt x="41" y="281"/>
                  <a:pt x="41" y="281"/>
                  <a:pt x="41" y="281"/>
                </a:cubicBezTo>
                <a:cubicBezTo>
                  <a:pt x="42" y="282"/>
                  <a:pt x="42" y="282"/>
                  <a:pt x="42" y="282"/>
                </a:cubicBezTo>
                <a:cubicBezTo>
                  <a:pt x="43" y="281"/>
                  <a:pt x="43" y="281"/>
                  <a:pt x="43" y="281"/>
                </a:cubicBezTo>
                <a:cubicBezTo>
                  <a:pt x="43" y="280"/>
                  <a:pt x="43" y="280"/>
                  <a:pt x="43" y="280"/>
                </a:cubicBezTo>
                <a:cubicBezTo>
                  <a:pt x="43" y="278"/>
                  <a:pt x="43" y="278"/>
                  <a:pt x="43" y="278"/>
                </a:cubicBezTo>
                <a:cubicBezTo>
                  <a:pt x="43" y="277"/>
                  <a:pt x="43" y="277"/>
                  <a:pt x="43" y="277"/>
                </a:cubicBezTo>
                <a:cubicBezTo>
                  <a:pt x="43" y="276"/>
                  <a:pt x="43" y="276"/>
                  <a:pt x="43" y="276"/>
                </a:cubicBezTo>
                <a:cubicBezTo>
                  <a:pt x="43" y="274"/>
                  <a:pt x="43" y="274"/>
                  <a:pt x="43" y="274"/>
                </a:cubicBezTo>
                <a:cubicBezTo>
                  <a:pt x="43" y="272"/>
                  <a:pt x="43" y="272"/>
                  <a:pt x="43" y="272"/>
                </a:cubicBezTo>
                <a:cubicBezTo>
                  <a:pt x="43" y="271"/>
                  <a:pt x="43" y="271"/>
                  <a:pt x="43" y="271"/>
                </a:cubicBezTo>
                <a:cubicBezTo>
                  <a:pt x="43" y="270"/>
                  <a:pt x="43" y="270"/>
                  <a:pt x="43" y="270"/>
                </a:cubicBezTo>
                <a:cubicBezTo>
                  <a:pt x="44" y="269"/>
                  <a:pt x="44" y="269"/>
                  <a:pt x="44" y="269"/>
                </a:cubicBezTo>
                <a:cubicBezTo>
                  <a:pt x="46" y="268"/>
                  <a:pt x="46" y="268"/>
                  <a:pt x="46" y="268"/>
                </a:cubicBezTo>
                <a:cubicBezTo>
                  <a:pt x="47" y="267"/>
                  <a:pt x="47" y="267"/>
                  <a:pt x="47" y="267"/>
                </a:cubicBezTo>
                <a:cubicBezTo>
                  <a:pt x="48" y="267"/>
                  <a:pt x="48" y="267"/>
                  <a:pt x="48" y="267"/>
                </a:cubicBezTo>
                <a:cubicBezTo>
                  <a:pt x="49" y="267"/>
                  <a:pt x="49" y="267"/>
                  <a:pt x="49" y="267"/>
                </a:cubicBezTo>
                <a:cubicBezTo>
                  <a:pt x="48" y="265"/>
                  <a:pt x="48" y="265"/>
                  <a:pt x="48" y="265"/>
                </a:cubicBezTo>
                <a:cubicBezTo>
                  <a:pt x="49" y="265"/>
                  <a:pt x="49" y="265"/>
                  <a:pt x="49" y="265"/>
                </a:cubicBezTo>
                <a:cubicBezTo>
                  <a:pt x="51" y="264"/>
                  <a:pt x="51" y="264"/>
                  <a:pt x="51" y="264"/>
                </a:cubicBezTo>
                <a:cubicBezTo>
                  <a:pt x="52" y="265"/>
                  <a:pt x="52" y="265"/>
                  <a:pt x="52" y="265"/>
                </a:cubicBezTo>
                <a:cubicBezTo>
                  <a:pt x="53" y="265"/>
                  <a:pt x="53" y="265"/>
                  <a:pt x="53" y="265"/>
                </a:cubicBezTo>
                <a:cubicBezTo>
                  <a:pt x="53" y="265"/>
                  <a:pt x="53" y="265"/>
                  <a:pt x="53" y="265"/>
                </a:cubicBezTo>
                <a:close/>
                <a:moveTo>
                  <a:pt x="66" y="298"/>
                </a:moveTo>
                <a:cubicBezTo>
                  <a:pt x="66" y="299"/>
                  <a:pt x="66" y="299"/>
                  <a:pt x="66" y="299"/>
                </a:cubicBezTo>
                <a:cubicBezTo>
                  <a:pt x="67" y="298"/>
                  <a:pt x="67" y="298"/>
                  <a:pt x="67" y="298"/>
                </a:cubicBezTo>
                <a:cubicBezTo>
                  <a:pt x="66" y="298"/>
                  <a:pt x="66" y="298"/>
                  <a:pt x="66" y="298"/>
                </a:cubicBezTo>
                <a:cubicBezTo>
                  <a:pt x="66" y="298"/>
                  <a:pt x="66" y="298"/>
                  <a:pt x="66" y="298"/>
                </a:cubicBezTo>
                <a:close/>
                <a:moveTo>
                  <a:pt x="9" y="184"/>
                </a:moveTo>
                <a:cubicBezTo>
                  <a:pt x="8" y="184"/>
                  <a:pt x="8" y="184"/>
                  <a:pt x="8" y="184"/>
                </a:cubicBezTo>
                <a:cubicBezTo>
                  <a:pt x="7" y="184"/>
                  <a:pt x="7" y="184"/>
                  <a:pt x="7" y="184"/>
                </a:cubicBezTo>
                <a:cubicBezTo>
                  <a:pt x="7" y="184"/>
                  <a:pt x="7" y="184"/>
                  <a:pt x="7" y="184"/>
                </a:cubicBezTo>
                <a:cubicBezTo>
                  <a:pt x="8" y="186"/>
                  <a:pt x="8" y="186"/>
                  <a:pt x="8" y="186"/>
                </a:cubicBezTo>
                <a:cubicBezTo>
                  <a:pt x="8" y="186"/>
                  <a:pt x="8" y="186"/>
                  <a:pt x="8" y="186"/>
                </a:cubicBezTo>
                <a:cubicBezTo>
                  <a:pt x="9" y="188"/>
                  <a:pt x="9" y="188"/>
                  <a:pt x="9" y="188"/>
                </a:cubicBezTo>
                <a:cubicBezTo>
                  <a:pt x="9" y="188"/>
                  <a:pt x="9" y="188"/>
                  <a:pt x="9" y="188"/>
                </a:cubicBezTo>
                <a:cubicBezTo>
                  <a:pt x="8" y="187"/>
                  <a:pt x="8" y="187"/>
                  <a:pt x="8" y="187"/>
                </a:cubicBezTo>
                <a:cubicBezTo>
                  <a:pt x="7" y="188"/>
                  <a:pt x="7" y="188"/>
                  <a:pt x="7" y="188"/>
                </a:cubicBezTo>
                <a:cubicBezTo>
                  <a:pt x="7" y="190"/>
                  <a:pt x="7" y="190"/>
                  <a:pt x="7" y="190"/>
                </a:cubicBezTo>
                <a:cubicBezTo>
                  <a:pt x="7" y="190"/>
                  <a:pt x="7" y="190"/>
                  <a:pt x="7" y="190"/>
                </a:cubicBezTo>
                <a:cubicBezTo>
                  <a:pt x="5" y="190"/>
                  <a:pt x="5" y="190"/>
                  <a:pt x="5" y="190"/>
                </a:cubicBezTo>
                <a:cubicBezTo>
                  <a:pt x="4" y="190"/>
                  <a:pt x="4" y="190"/>
                  <a:pt x="4" y="190"/>
                </a:cubicBezTo>
                <a:cubicBezTo>
                  <a:pt x="4" y="188"/>
                  <a:pt x="4" y="188"/>
                  <a:pt x="4" y="188"/>
                </a:cubicBezTo>
                <a:cubicBezTo>
                  <a:pt x="4" y="184"/>
                  <a:pt x="4" y="184"/>
                  <a:pt x="4" y="184"/>
                </a:cubicBezTo>
                <a:cubicBezTo>
                  <a:pt x="4" y="183"/>
                  <a:pt x="4" y="183"/>
                  <a:pt x="4" y="183"/>
                </a:cubicBezTo>
                <a:cubicBezTo>
                  <a:pt x="3" y="183"/>
                  <a:pt x="3" y="183"/>
                  <a:pt x="3" y="183"/>
                </a:cubicBezTo>
                <a:cubicBezTo>
                  <a:pt x="3" y="182"/>
                  <a:pt x="3" y="182"/>
                  <a:pt x="3" y="182"/>
                </a:cubicBezTo>
                <a:cubicBezTo>
                  <a:pt x="3" y="181"/>
                  <a:pt x="3" y="181"/>
                  <a:pt x="3" y="181"/>
                </a:cubicBezTo>
                <a:cubicBezTo>
                  <a:pt x="4" y="180"/>
                  <a:pt x="4" y="180"/>
                  <a:pt x="4" y="180"/>
                </a:cubicBezTo>
                <a:cubicBezTo>
                  <a:pt x="4" y="179"/>
                  <a:pt x="4" y="179"/>
                  <a:pt x="4" y="179"/>
                </a:cubicBezTo>
                <a:cubicBezTo>
                  <a:pt x="4" y="179"/>
                  <a:pt x="4" y="179"/>
                  <a:pt x="4" y="179"/>
                </a:cubicBezTo>
                <a:cubicBezTo>
                  <a:pt x="4" y="178"/>
                  <a:pt x="4" y="178"/>
                  <a:pt x="4" y="178"/>
                </a:cubicBezTo>
                <a:cubicBezTo>
                  <a:pt x="5" y="177"/>
                  <a:pt x="5" y="177"/>
                  <a:pt x="5" y="177"/>
                </a:cubicBezTo>
                <a:cubicBezTo>
                  <a:pt x="6" y="177"/>
                  <a:pt x="6" y="177"/>
                  <a:pt x="6" y="177"/>
                </a:cubicBezTo>
                <a:cubicBezTo>
                  <a:pt x="7" y="178"/>
                  <a:pt x="7" y="178"/>
                  <a:pt x="7" y="178"/>
                </a:cubicBezTo>
                <a:cubicBezTo>
                  <a:pt x="8" y="179"/>
                  <a:pt x="8" y="179"/>
                  <a:pt x="8" y="179"/>
                </a:cubicBezTo>
                <a:cubicBezTo>
                  <a:pt x="8" y="181"/>
                  <a:pt x="8" y="181"/>
                  <a:pt x="8" y="181"/>
                </a:cubicBezTo>
                <a:cubicBezTo>
                  <a:pt x="8" y="181"/>
                  <a:pt x="8" y="181"/>
                  <a:pt x="8" y="181"/>
                </a:cubicBezTo>
                <a:cubicBezTo>
                  <a:pt x="8" y="183"/>
                  <a:pt x="8" y="183"/>
                  <a:pt x="8" y="183"/>
                </a:cubicBezTo>
                <a:cubicBezTo>
                  <a:pt x="7" y="182"/>
                  <a:pt x="7" y="182"/>
                  <a:pt x="7" y="182"/>
                </a:cubicBezTo>
                <a:cubicBezTo>
                  <a:pt x="8" y="183"/>
                  <a:pt x="8" y="183"/>
                  <a:pt x="8" y="183"/>
                </a:cubicBezTo>
                <a:cubicBezTo>
                  <a:pt x="9" y="184"/>
                  <a:pt x="9" y="184"/>
                  <a:pt x="9" y="184"/>
                </a:cubicBezTo>
                <a:cubicBezTo>
                  <a:pt x="9" y="184"/>
                  <a:pt x="9" y="184"/>
                  <a:pt x="9" y="184"/>
                </a:cubicBezTo>
                <a:close/>
                <a:moveTo>
                  <a:pt x="10" y="181"/>
                </a:moveTo>
                <a:cubicBezTo>
                  <a:pt x="11" y="181"/>
                  <a:pt x="11" y="181"/>
                  <a:pt x="11" y="181"/>
                </a:cubicBezTo>
                <a:cubicBezTo>
                  <a:pt x="11" y="181"/>
                  <a:pt x="11" y="181"/>
                  <a:pt x="11" y="181"/>
                </a:cubicBezTo>
                <a:cubicBezTo>
                  <a:pt x="11" y="182"/>
                  <a:pt x="11" y="182"/>
                  <a:pt x="11" y="182"/>
                </a:cubicBezTo>
                <a:cubicBezTo>
                  <a:pt x="10" y="181"/>
                  <a:pt x="10" y="181"/>
                  <a:pt x="10" y="181"/>
                </a:cubicBezTo>
                <a:close/>
                <a:moveTo>
                  <a:pt x="2" y="193"/>
                </a:moveTo>
                <a:cubicBezTo>
                  <a:pt x="3" y="192"/>
                  <a:pt x="3" y="192"/>
                  <a:pt x="3" y="192"/>
                </a:cubicBezTo>
                <a:cubicBezTo>
                  <a:pt x="4" y="192"/>
                  <a:pt x="4" y="192"/>
                  <a:pt x="4" y="192"/>
                </a:cubicBezTo>
                <a:cubicBezTo>
                  <a:pt x="5" y="193"/>
                  <a:pt x="5" y="193"/>
                  <a:pt x="5" y="193"/>
                </a:cubicBezTo>
                <a:cubicBezTo>
                  <a:pt x="3" y="194"/>
                  <a:pt x="3" y="194"/>
                  <a:pt x="3" y="194"/>
                </a:cubicBezTo>
                <a:cubicBezTo>
                  <a:pt x="2" y="193"/>
                  <a:pt x="2" y="193"/>
                  <a:pt x="2" y="193"/>
                </a:cubicBezTo>
                <a:close/>
                <a:moveTo>
                  <a:pt x="11" y="194"/>
                </a:moveTo>
                <a:cubicBezTo>
                  <a:pt x="12" y="194"/>
                  <a:pt x="12" y="194"/>
                  <a:pt x="12" y="194"/>
                </a:cubicBezTo>
                <a:cubicBezTo>
                  <a:pt x="12" y="194"/>
                  <a:pt x="12" y="194"/>
                  <a:pt x="12" y="194"/>
                </a:cubicBezTo>
                <a:cubicBezTo>
                  <a:pt x="11" y="195"/>
                  <a:pt x="11" y="195"/>
                  <a:pt x="11" y="195"/>
                </a:cubicBezTo>
                <a:cubicBezTo>
                  <a:pt x="11" y="194"/>
                  <a:pt x="11" y="194"/>
                  <a:pt x="11" y="194"/>
                </a:cubicBezTo>
                <a:close/>
                <a:moveTo>
                  <a:pt x="9" y="194"/>
                </a:moveTo>
                <a:cubicBezTo>
                  <a:pt x="10" y="194"/>
                  <a:pt x="10" y="194"/>
                  <a:pt x="10" y="194"/>
                </a:cubicBezTo>
                <a:cubicBezTo>
                  <a:pt x="10" y="196"/>
                  <a:pt x="10" y="196"/>
                  <a:pt x="10" y="196"/>
                </a:cubicBezTo>
                <a:cubicBezTo>
                  <a:pt x="9" y="196"/>
                  <a:pt x="9" y="196"/>
                  <a:pt x="9" y="196"/>
                </a:cubicBezTo>
                <a:cubicBezTo>
                  <a:pt x="9" y="195"/>
                  <a:pt x="9" y="195"/>
                  <a:pt x="9" y="195"/>
                </a:cubicBezTo>
                <a:cubicBezTo>
                  <a:pt x="8" y="195"/>
                  <a:pt x="8" y="195"/>
                  <a:pt x="8" y="195"/>
                </a:cubicBezTo>
                <a:cubicBezTo>
                  <a:pt x="9" y="194"/>
                  <a:pt x="9" y="194"/>
                  <a:pt x="9" y="194"/>
                </a:cubicBezTo>
                <a:close/>
                <a:moveTo>
                  <a:pt x="6" y="194"/>
                </a:moveTo>
                <a:cubicBezTo>
                  <a:pt x="7" y="193"/>
                  <a:pt x="7" y="193"/>
                  <a:pt x="7" y="193"/>
                </a:cubicBezTo>
                <a:cubicBezTo>
                  <a:pt x="8" y="194"/>
                  <a:pt x="8" y="194"/>
                  <a:pt x="8" y="194"/>
                </a:cubicBezTo>
                <a:cubicBezTo>
                  <a:pt x="7" y="194"/>
                  <a:pt x="7" y="194"/>
                  <a:pt x="7" y="194"/>
                </a:cubicBezTo>
                <a:cubicBezTo>
                  <a:pt x="6" y="194"/>
                  <a:pt x="6" y="194"/>
                  <a:pt x="6" y="194"/>
                </a:cubicBezTo>
                <a:close/>
                <a:moveTo>
                  <a:pt x="7" y="196"/>
                </a:moveTo>
                <a:cubicBezTo>
                  <a:pt x="7" y="196"/>
                  <a:pt x="7" y="196"/>
                  <a:pt x="7" y="196"/>
                </a:cubicBezTo>
                <a:cubicBezTo>
                  <a:pt x="8" y="196"/>
                  <a:pt x="8" y="196"/>
                  <a:pt x="8" y="196"/>
                </a:cubicBezTo>
                <a:cubicBezTo>
                  <a:pt x="7" y="197"/>
                  <a:pt x="7" y="197"/>
                  <a:pt x="7" y="197"/>
                </a:cubicBezTo>
                <a:cubicBezTo>
                  <a:pt x="7" y="196"/>
                  <a:pt x="7" y="196"/>
                  <a:pt x="7" y="196"/>
                </a:cubicBezTo>
                <a:close/>
                <a:moveTo>
                  <a:pt x="5" y="198"/>
                </a:moveTo>
                <a:cubicBezTo>
                  <a:pt x="6" y="197"/>
                  <a:pt x="6" y="197"/>
                  <a:pt x="6" y="197"/>
                </a:cubicBezTo>
                <a:cubicBezTo>
                  <a:pt x="6" y="197"/>
                  <a:pt x="6" y="197"/>
                  <a:pt x="6" y="197"/>
                </a:cubicBezTo>
                <a:cubicBezTo>
                  <a:pt x="7" y="198"/>
                  <a:pt x="7" y="198"/>
                  <a:pt x="7" y="198"/>
                </a:cubicBezTo>
                <a:cubicBezTo>
                  <a:pt x="7" y="198"/>
                  <a:pt x="7" y="198"/>
                  <a:pt x="7" y="198"/>
                </a:cubicBezTo>
                <a:cubicBezTo>
                  <a:pt x="6" y="198"/>
                  <a:pt x="6" y="198"/>
                  <a:pt x="6" y="198"/>
                </a:cubicBezTo>
                <a:cubicBezTo>
                  <a:pt x="5" y="198"/>
                  <a:pt x="5" y="198"/>
                  <a:pt x="5" y="198"/>
                </a:cubicBezTo>
                <a:cubicBezTo>
                  <a:pt x="5" y="198"/>
                  <a:pt x="5" y="198"/>
                  <a:pt x="5" y="198"/>
                </a:cubicBezTo>
                <a:close/>
                <a:moveTo>
                  <a:pt x="4" y="200"/>
                </a:moveTo>
                <a:cubicBezTo>
                  <a:pt x="5" y="200"/>
                  <a:pt x="5" y="200"/>
                  <a:pt x="5" y="200"/>
                </a:cubicBezTo>
                <a:cubicBezTo>
                  <a:pt x="4" y="201"/>
                  <a:pt x="4" y="201"/>
                  <a:pt x="4" y="201"/>
                </a:cubicBezTo>
                <a:cubicBezTo>
                  <a:pt x="3" y="201"/>
                  <a:pt x="3" y="201"/>
                  <a:pt x="3" y="201"/>
                </a:cubicBezTo>
                <a:cubicBezTo>
                  <a:pt x="4" y="200"/>
                  <a:pt x="4" y="200"/>
                  <a:pt x="4" y="200"/>
                </a:cubicBezTo>
                <a:close/>
                <a:moveTo>
                  <a:pt x="10" y="199"/>
                </a:moveTo>
                <a:cubicBezTo>
                  <a:pt x="10" y="201"/>
                  <a:pt x="10" y="201"/>
                  <a:pt x="10" y="201"/>
                </a:cubicBezTo>
                <a:cubicBezTo>
                  <a:pt x="10" y="201"/>
                  <a:pt x="10" y="201"/>
                  <a:pt x="10" y="201"/>
                </a:cubicBezTo>
                <a:cubicBezTo>
                  <a:pt x="10" y="199"/>
                  <a:pt x="10" y="199"/>
                  <a:pt x="10" y="199"/>
                </a:cubicBezTo>
                <a:close/>
                <a:moveTo>
                  <a:pt x="8" y="199"/>
                </a:moveTo>
                <a:cubicBezTo>
                  <a:pt x="9" y="198"/>
                  <a:pt x="9" y="198"/>
                  <a:pt x="9" y="198"/>
                </a:cubicBezTo>
                <a:cubicBezTo>
                  <a:pt x="9" y="200"/>
                  <a:pt x="9" y="200"/>
                  <a:pt x="9" y="200"/>
                </a:cubicBezTo>
                <a:cubicBezTo>
                  <a:pt x="8" y="199"/>
                  <a:pt x="8" y="199"/>
                  <a:pt x="8" y="199"/>
                </a:cubicBezTo>
                <a:close/>
                <a:moveTo>
                  <a:pt x="5" y="209"/>
                </a:moveTo>
                <a:cubicBezTo>
                  <a:pt x="6" y="209"/>
                  <a:pt x="6" y="209"/>
                  <a:pt x="6" y="209"/>
                </a:cubicBezTo>
                <a:cubicBezTo>
                  <a:pt x="6" y="210"/>
                  <a:pt x="6" y="210"/>
                  <a:pt x="6" y="210"/>
                </a:cubicBezTo>
                <a:cubicBezTo>
                  <a:pt x="5" y="210"/>
                  <a:pt x="5" y="210"/>
                  <a:pt x="5" y="210"/>
                </a:cubicBezTo>
                <a:cubicBezTo>
                  <a:pt x="5" y="209"/>
                  <a:pt x="5" y="209"/>
                  <a:pt x="5" y="209"/>
                </a:cubicBezTo>
                <a:close/>
                <a:moveTo>
                  <a:pt x="5" y="201"/>
                </a:moveTo>
                <a:cubicBezTo>
                  <a:pt x="5" y="200"/>
                  <a:pt x="5" y="200"/>
                  <a:pt x="5" y="200"/>
                </a:cubicBezTo>
                <a:cubicBezTo>
                  <a:pt x="5" y="199"/>
                  <a:pt x="5" y="199"/>
                  <a:pt x="5" y="199"/>
                </a:cubicBezTo>
                <a:cubicBezTo>
                  <a:pt x="6" y="199"/>
                  <a:pt x="6" y="199"/>
                  <a:pt x="6" y="199"/>
                </a:cubicBezTo>
                <a:cubicBezTo>
                  <a:pt x="7" y="200"/>
                  <a:pt x="7" y="200"/>
                  <a:pt x="7" y="200"/>
                </a:cubicBezTo>
                <a:cubicBezTo>
                  <a:pt x="6" y="200"/>
                  <a:pt x="6" y="200"/>
                  <a:pt x="6" y="200"/>
                </a:cubicBezTo>
                <a:cubicBezTo>
                  <a:pt x="5" y="201"/>
                  <a:pt x="5" y="201"/>
                  <a:pt x="5" y="201"/>
                </a:cubicBezTo>
                <a:close/>
                <a:moveTo>
                  <a:pt x="3" y="203"/>
                </a:moveTo>
                <a:cubicBezTo>
                  <a:pt x="1" y="202"/>
                  <a:pt x="1" y="202"/>
                  <a:pt x="1" y="202"/>
                </a:cubicBezTo>
                <a:cubicBezTo>
                  <a:pt x="1" y="201"/>
                  <a:pt x="1" y="201"/>
                  <a:pt x="1" y="201"/>
                </a:cubicBezTo>
                <a:cubicBezTo>
                  <a:pt x="3" y="201"/>
                  <a:pt x="3" y="201"/>
                  <a:pt x="3" y="201"/>
                </a:cubicBezTo>
                <a:cubicBezTo>
                  <a:pt x="3" y="202"/>
                  <a:pt x="3" y="202"/>
                  <a:pt x="3" y="202"/>
                </a:cubicBezTo>
                <a:cubicBezTo>
                  <a:pt x="3" y="203"/>
                  <a:pt x="3" y="203"/>
                  <a:pt x="3" y="203"/>
                </a:cubicBezTo>
                <a:close/>
                <a:moveTo>
                  <a:pt x="7" y="207"/>
                </a:moveTo>
                <a:cubicBezTo>
                  <a:pt x="8" y="207"/>
                  <a:pt x="8" y="207"/>
                  <a:pt x="8" y="207"/>
                </a:cubicBezTo>
                <a:cubicBezTo>
                  <a:pt x="8" y="208"/>
                  <a:pt x="8" y="208"/>
                  <a:pt x="8" y="208"/>
                </a:cubicBezTo>
                <a:cubicBezTo>
                  <a:pt x="7" y="207"/>
                  <a:pt x="7" y="207"/>
                  <a:pt x="7" y="207"/>
                </a:cubicBezTo>
                <a:close/>
                <a:moveTo>
                  <a:pt x="9" y="208"/>
                </a:moveTo>
                <a:cubicBezTo>
                  <a:pt x="10" y="208"/>
                  <a:pt x="10" y="208"/>
                  <a:pt x="10" y="208"/>
                </a:cubicBezTo>
                <a:cubicBezTo>
                  <a:pt x="9" y="209"/>
                  <a:pt x="9" y="209"/>
                  <a:pt x="9" y="209"/>
                </a:cubicBezTo>
                <a:cubicBezTo>
                  <a:pt x="9" y="208"/>
                  <a:pt x="9" y="208"/>
                  <a:pt x="9" y="208"/>
                </a:cubicBezTo>
                <a:close/>
                <a:moveTo>
                  <a:pt x="11" y="197"/>
                </a:moveTo>
                <a:cubicBezTo>
                  <a:pt x="12" y="197"/>
                  <a:pt x="12" y="197"/>
                  <a:pt x="12" y="197"/>
                </a:cubicBezTo>
                <a:cubicBezTo>
                  <a:pt x="13" y="198"/>
                  <a:pt x="13" y="198"/>
                  <a:pt x="13" y="198"/>
                </a:cubicBezTo>
                <a:cubicBezTo>
                  <a:pt x="11" y="198"/>
                  <a:pt x="11" y="198"/>
                  <a:pt x="11" y="198"/>
                </a:cubicBezTo>
                <a:cubicBezTo>
                  <a:pt x="11" y="197"/>
                  <a:pt x="11" y="197"/>
                  <a:pt x="11" y="197"/>
                </a:cubicBezTo>
                <a:close/>
                <a:moveTo>
                  <a:pt x="13" y="198"/>
                </a:moveTo>
                <a:cubicBezTo>
                  <a:pt x="14" y="199"/>
                  <a:pt x="14" y="199"/>
                  <a:pt x="14" y="199"/>
                </a:cubicBezTo>
                <a:cubicBezTo>
                  <a:pt x="15" y="199"/>
                  <a:pt x="15" y="199"/>
                  <a:pt x="15" y="199"/>
                </a:cubicBezTo>
                <a:cubicBezTo>
                  <a:pt x="16" y="201"/>
                  <a:pt x="16" y="201"/>
                  <a:pt x="16" y="201"/>
                </a:cubicBezTo>
                <a:cubicBezTo>
                  <a:pt x="15" y="202"/>
                  <a:pt x="15" y="202"/>
                  <a:pt x="15" y="202"/>
                </a:cubicBezTo>
                <a:cubicBezTo>
                  <a:pt x="15" y="202"/>
                  <a:pt x="15" y="202"/>
                  <a:pt x="15" y="202"/>
                </a:cubicBezTo>
                <a:cubicBezTo>
                  <a:pt x="14" y="203"/>
                  <a:pt x="14" y="203"/>
                  <a:pt x="14" y="203"/>
                </a:cubicBezTo>
                <a:cubicBezTo>
                  <a:pt x="13" y="202"/>
                  <a:pt x="13" y="202"/>
                  <a:pt x="13" y="202"/>
                </a:cubicBezTo>
                <a:cubicBezTo>
                  <a:pt x="13" y="202"/>
                  <a:pt x="13" y="202"/>
                  <a:pt x="13" y="202"/>
                </a:cubicBezTo>
                <a:cubicBezTo>
                  <a:pt x="12" y="203"/>
                  <a:pt x="12" y="203"/>
                  <a:pt x="12" y="203"/>
                </a:cubicBezTo>
                <a:cubicBezTo>
                  <a:pt x="12" y="202"/>
                  <a:pt x="12" y="202"/>
                  <a:pt x="12" y="202"/>
                </a:cubicBezTo>
                <a:cubicBezTo>
                  <a:pt x="11" y="201"/>
                  <a:pt x="11" y="201"/>
                  <a:pt x="11" y="201"/>
                </a:cubicBezTo>
                <a:cubicBezTo>
                  <a:pt x="12" y="199"/>
                  <a:pt x="12" y="199"/>
                  <a:pt x="12" y="199"/>
                </a:cubicBezTo>
                <a:cubicBezTo>
                  <a:pt x="13" y="198"/>
                  <a:pt x="13" y="198"/>
                  <a:pt x="13" y="198"/>
                </a:cubicBezTo>
                <a:close/>
                <a:moveTo>
                  <a:pt x="6" y="202"/>
                </a:moveTo>
                <a:cubicBezTo>
                  <a:pt x="7" y="201"/>
                  <a:pt x="7" y="201"/>
                  <a:pt x="7" y="201"/>
                </a:cubicBezTo>
                <a:cubicBezTo>
                  <a:pt x="9" y="201"/>
                  <a:pt x="9" y="201"/>
                  <a:pt x="9" y="201"/>
                </a:cubicBezTo>
                <a:cubicBezTo>
                  <a:pt x="9" y="202"/>
                  <a:pt x="9" y="202"/>
                  <a:pt x="9" y="202"/>
                </a:cubicBezTo>
                <a:cubicBezTo>
                  <a:pt x="7" y="202"/>
                  <a:pt x="7" y="202"/>
                  <a:pt x="7" y="202"/>
                </a:cubicBezTo>
                <a:cubicBezTo>
                  <a:pt x="7" y="203"/>
                  <a:pt x="7" y="203"/>
                  <a:pt x="7" y="203"/>
                </a:cubicBezTo>
                <a:cubicBezTo>
                  <a:pt x="7" y="203"/>
                  <a:pt x="6" y="202"/>
                  <a:pt x="6" y="202"/>
                </a:cubicBezTo>
                <a:close/>
                <a:moveTo>
                  <a:pt x="8" y="204"/>
                </a:moveTo>
                <a:cubicBezTo>
                  <a:pt x="7" y="204"/>
                  <a:pt x="7" y="204"/>
                  <a:pt x="7" y="204"/>
                </a:cubicBezTo>
                <a:cubicBezTo>
                  <a:pt x="8" y="203"/>
                  <a:pt x="8" y="203"/>
                  <a:pt x="8" y="203"/>
                </a:cubicBezTo>
                <a:cubicBezTo>
                  <a:pt x="9" y="203"/>
                  <a:pt x="9" y="203"/>
                  <a:pt x="9" y="203"/>
                </a:cubicBezTo>
                <a:cubicBezTo>
                  <a:pt x="9" y="204"/>
                  <a:pt x="9" y="204"/>
                  <a:pt x="9" y="204"/>
                </a:cubicBezTo>
                <a:cubicBezTo>
                  <a:pt x="8" y="204"/>
                  <a:pt x="8" y="204"/>
                  <a:pt x="8" y="204"/>
                </a:cubicBezTo>
                <a:close/>
                <a:moveTo>
                  <a:pt x="8" y="205"/>
                </a:moveTo>
                <a:cubicBezTo>
                  <a:pt x="9" y="205"/>
                  <a:pt x="9" y="205"/>
                  <a:pt x="9" y="205"/>
                </a:cubicBezTo>
                <a:cubicBezTo>
                  <a:pt x="11" y="205"/>
                  <a:pt x="11" y="205"/>
                  <a:pt x="11" y="205"/>
                </a:cubicBezTo>
                <a:cubicBezTo>
                  <a:pt x="11" y="207"/>
                  <a:pt x="11" y="207"/>
                  <a:pt x="11" y="207"/>
                </a:cubicBezTo>
                <a:cubicBezTo>
                  <a:pt x="10" y="208"/>
                  <a:pt x="10" y="208"/>
                  <a:pt x="10" y="208"/>
                </a:cubicBezTo>
                <a:cubicBezTo>
                  <a:pt x="9" y="207"/>
                  <a:pt x="9" y="207"/>
                  <a:pt x="9" y="207"/>
                </a:cubicBezTo>
                <a:cubicBezTo>
                  <a:pt x="9" y="206"/>
                  <a:pt x="9" y="206"/>
                  <a:pt x="9" y="206"/>
                </a:cubicBezTo>
                <a:cubicBezTo>
                  <a:pt x="8" y="205"/>
                  <a:pt x="8" y="205"/>
                  <a:pt x="8" y="205"/>
                </a:cubicBezTo>
                <a:close/>
                <a:moveTo>
                  <a:pt x="6" y="209"/>
                </a:moveTo>
                <a:cubicBezTo>
                  <a:pt x="7" y="208"/>
                  <a:pt x="7" y="208"/>
                  <a:pt x="7" y="208"/>
                </a:cubicBezTo>
                <a:cubicBezTo>
                  <a:pt x="7" y="208"/>
                  <a:pt x="7" y="208"/>
                  <a:pt x="7" y="208"/>
                </a:cubicBezTo>
                <a:cubicBezTo>
                  <a:pt x="8" y="209"/>
                  <a:pt x="8" y="209"/>
                  <a:pt x="8" y="209"/>
                </a:cubicBezTo>
                <a:cubicBezTo>
                  <a:pt x="9" y="210"/>
                  <a:pt x="9" y="210"/>
                  <a:pt x="9" y="210"/>
                </a:cubicBezTo>
                <a:cubicBezTo>
                  <a:pt x="8" y="210"/>
                  <a:pt x="8" y="210"/>
                  <a:pt x="8" y="210"/>
                </a:cubicBezTo>
                <a:cubicBezTo>
                  <a:pt x="6" y="209"/>
                  <a:pt x="6" y="209"/>
                  <a:pt x="6" y="209"/>
                </a:cubicBezTo>
                <a:close/>
                <a:moveTo>
                  <a:pt x="10" y="233"/>
                </a:moveTo>
                <a:cubicBezTo>
                  <a:pt x="10" y="232"/>
                  <a:pt x="10" y="232"/>
                  <a:pt x="10" y="232"/>
                </a:cubicBezTo>
                <a:cubicBezTo>
                  <a:pt x="10" y="232"/>
                  <a:pt x="10" y="232"/>
                  <a:pt x="10" y="232"/>
                </a:cubicBezTo>
                <a:cubicBezTo>
                  <a:pt x="10" y="232"/>
                  <a:pt x="10" y="232"/>
                  <a:pt x="10" y="232"/>
                </a:cubicBezTo>
                <a:cubicBezTo>
                  <a:pt x="8" y="230"/>
                  <a:pt x="8" y="230"/>
                  <a:pt x="8" y="230"/>
                </a:cubicBezTo>
                <a:cubicBezTo>
                  <a:pt x="7" y="229"/>
                  <a:pt x="7" y="229"/>
                  <a:pt x="7" y="229"/>
                </a:cubicBezTo>
                <a:cubicBezTo>
                  <a:pt x="7" y="228"/>
                  <a:pt x="7" y="228"/>
                  <a:pt x="7" y="228"/>
                </a:cubicBezTo>
                <a:cubicBezTo>
                  <a:pt x="8" y="228"/>
                  <a:pt x="8" y="228"/>
                  <a:pt x="8" y="228"/>
                </a:cubicBezTo>
                <a:cubicBezTo>
                  <a:pt x="9" y="228"/>
                  <a:pt x="9" y="228"/>
                  <a:pt x="9" y="228"/>
                </a:cubicBezTo>
                <a:cubicBezTo>
                  <a:pt x="10" y="230"/>
                  <a:pt x="10" y="230"/>
                  <a:pt x="10" y="230"/>
                </a:cubicBezTo>
                <a:cubicBezTo>
                  <a:pt x="11" y="230"/>
                  <a:pt x="11" y="230"/>
                  <a:pt x="11" y="230"/>
                </a:cubicBezTo>
                <a:cubicBezTo>
                  <a:pt x="11" y="231"/>
                  <a:pt x="11" y="231"/>
                  <a:pt x="11" y="231"/>
                </a:cubicBezTo>
                <a:cubicBezTo>
                  <a:pt x="12" y="232"/>
                  <a:pt x="12" y="232"/>
                  <a:pt x="12" y="232"/>
                </a:cubicBezTo>
                <a:cubicBezTo>
                  <a:pt x="13" y="234"/>
                  <a:pt x="13" y="234"/>
                  <a:pt x="13" y="234"/>
                </a:cubicBezTo>
                <a:cubicBezTo>
                  <a:pt x="11" y="234"/>
                  <a:pt x="11" y="234"/>
                  <a:pt x="11" y="234"/>
                </a:cubicBezTo>
                <a:cubicBezTo>
                  <a:pt x="10" y="234"/>
                  <a:pt x="10" y="234"/>
                  <a:pt x="10" y="234"/>
                </a:cubicBezTo>
                <a:cubicBezTo>
                  <a:pt x="10" y="233"/>
                  <a:pt x="10" y="233"/>
                  <a:pt x="10" y="233"/>
                </a:cubicBezTo>
                <a:close/>
                <a:moveTo>
                  <a:pt x="5" y="231"/>
                </a:moveTo>
                <a:cubicBezTo>
                  <a:pt x="5" y="230"/>
                  <a:pt x="5" y="230"/>
                  <a:pt x="5" y="230"/>
                </a:cubicBezTo>
                <a:cubicBezTo>
                  <a:pt x="5" y="229"/>
                  <a:pt x="5" y="229"/>
                  <a:pt x="5" y="229"/>
                </a:cubicBezTo>
                <a:cubicBezTo>
                  <a:pt x="7" y="230"/>
                  <a:pt x="7" y="230"/>
                  <a:pt x="7" y="230"/>
                </a:cubicBezTo>
                <a:cubicBezTo>
                  <a:pt x="8" y="232"/>
                  <a:pt x="8" y="232"/>
                  <a:pt x="8" y="232"/>
                </a:cubicBezTo>
                <a:cubicBezTo>
                  <a:pt x="9" y="234"/>
                  <a:pt x="9" y="234"/>
                  <a:pt x="9" y="234"/>
                </a:cubicBezTo>
                <a:cubicBezTo>
                  <a:pt x="9" y="235"/>
                  <a:pt x="9" y="235"/>
                  <a:pt x="9" y="235"/>
                </a:cubicBezTo>
                <a:cubicBezTo>
                  <a:pt x="9" y="236"/>
                  <a:pt x="9" y="236"/>
                  <a:pt x="9" y="236"/>
                </a:cubicBezTo>
                <a:cubicBezTo>
                  <a:pt x="8" y="235"/>
                  <a:pt x="8" y="235"/>
                  <a:pt x="8" y="235"/>
                </a:cubicBezTo>
                <a:cubicBezTo>
                  <a:pt x="7" y="233"/>
                  <a:pt x="7" y="233"/>
                  <a:pt x="7" y="233"/>
                </a:cubicBezTo>
                <a:cubicBezTo>
                  <a:pt x="7" y="233"/>
                  <a:pt x="7" y="233"/>
                  <a:pt x="7" y="233"/>
                </a:cubicBezTo>
                <a:cubicBezTo>
                  <a:pt x="7" y="232"/>
                  <a:pt x="7" y="232"/>
                  <a:pt x="7" y="232"/>
                </a:cubicBezTo>
                <a:cubicBezTo>
                  <a:pt x="5" y="232"/>
                  <a:pt x="5" y="232"/>
                  <a:pt x="5" y="232"/>
                </a:cubicBezTo>
                <a:cubicBezTo>
                  <a:pt x="5" y="231"/>
                  <a:pt x="5" y="231"/>
                  <a:pt x="5" y="231"/>
                </a:cubicBezTo>
                <a:close/>
                <a:moveTo>
                  <a:pt x="5" y="233"/>
                </a:moveTo>
                <a:cubicBezTo>
                  <a:pt x="6" y="233"/>
                  <a:pt x="6" y="233"/>
                  <a:pt x="6" y="233"/>
                </a:cubicBezTo>
                <a:cubicBezTo>
                  <a:pt x="7" y="233"/>
                  <a:pt x="7" y="233"/>
                  <a:pt x="7" y="233"/>
                </a:cubicBezTo>
                <a:cubicBezTo>
                  <a:pt x="7" y="234"/>
                  <a:pt x="7" y="234"/>
                  <a:pt x="7" y="234"/>
                </a:cubicBezTo>
                <a:cubicBezTo>
                  <a:pt x="7" y="235"/>
                  <a:pt x="7" y="235"/>
                  <a:pt x="7" y="235"/>
                </a:cubicBezTo>
                <a:cubicBezTo>
                  <a:pt x="6" y="235"/>
                  <a:pt x="6" y="235"/>
                  <a:pt x="6" y="235"/>
                </a:cubicBezTo>
                <a:cubicBezTo>
                  <a:pt x="6" y="235"/>
                  <a:pt x="6" y="235"/>
                  <a:pt x="6" y="235"/>
                </a:cubicBezTo>
                <a:cubicBezTo>
                  <a:pt x="5" y="234"/>
                  <a:pt x="5" y="234"/>
                  <a:pt x="5" y="234"/>
                </a:cubicBezTo>
                <a:cubicBezTo>
                  <a:pt x="5" y="233"/>
                  <a:pt x="5" y="233"/>
                  <a:pt x="5" y="233"/>
                </a:cubicBezTo>
                <a:close/>
                <a:moveTo>
                  <a:pt x="8" y="240"/>
                </a:moveTo>
                <a:cubicBezTo>
                  <a:pt x="7" y="240"/>
                  <a:pt x="7" y="240"/>
                  <a:pt x="7" y="240"/>
                </a:cubicBezTo>
                <a:cubicBezTo>
                  <a:pt x="7" y="239"/>
                  <a:pt x="7" y="239"/>
                  <a:pt x="7" y="239"/>
                </a:cubicBezTo>
                <a:cubicBezTo>
                  <a:pt x="7" y="237"/>
                  <a:pt x="7" y="237"/>
                  <a:pt x="7" y="237"/>
                </a:cubicBezTo>
                <a:cubicBezTo>
                  <a:pt x="7" y="236"/>
                  <a:pt x="7" y="236"/>
                  <a:pt x="7" y="236"/>
                </a:cubicBezTo>
                <a:cubicBezTo>
                  <a:pt x="7" y="237"/>
                  <a:pt x="7" y="237"/>
                  <a:pt x="7" y="237"/>
                </a:cubicBezTo>
                <a:cubicBezTo>
                  <a:pt x="9" y="237"/>
                  <a:pt x="9" y="237"/>
                  <a:pt x="9" y="237"/>
                </a:cubicBezTo>
                <a:cubicBezTo>
                  <a:pt x="9" y="238"/>
                  <a:pt x="9" y="238"/>
                  <a:pt x="9" y="238"/>
                </a:cubicBezTo>
                <a:cubicBezTo>
                  <a:pt x="9" y="238"/>
                  <a:pt x="9" y="238"/>
                  <a:pt x="9" y="238"/>
                </a:cubicBezTo>
                <a:cubicBezTo>
                  <a:pt x="8" y="240"/>
                  <a:pt x="8" y="240"/>
                  <a:pt x="8" y="240"/>
                </a:cubicBezTo>
                <a:close/>
                <a:moveTo>
                  <a:pt x="9" y="245"/>
                </a:moveTo>
                <a:cubicBezTo>
                  <a:pt x="8" y="245"/>
                  <a:pt x="8" y="245"/>
                  <a:pt x="8" y="245"/>
                </a:cubicBezTo>
                <a:cubicBezTo>
                  <a:pt x="8" y="245"/>
                  <a:pt x="8" y="245"/>
                  <a:pt x="8" y="245"/>
                </a:cubicBezTo>
                <a:cubicBezTo>
                  <a:pt x="8" y="244"/>
                  <a:pt x="8" y="244"/>
                  <a:pt x="8" y="244"/>
                </a:cubicBezTo>
                <a:cubicBezTo>
                  <a:pt x="7" y="243"/>
                  <a:pt x="7" y="243"/>
                  <a:pt x="7" y="243"/>
                </a:cubicBezTo>
                <a:cubicBezTo>
                  <a:pt x="9" y="243"/>
                  <a:pt x="9" y="243"/>
                  <a:pt x="9" y="243"/>
                </a:cubicBezTo>
                <a:cubicBezTo>
                  <a:pt x="10" y="244"/>
                  <a:pt x="10" y="244"/>
                  <a:pt x="10" y="244"/>
                </a:cubicBezTo>
                <a:cubicBezTo>
                  <a:pt x="9" y="245"/>
                  <a:pt x="9" y="245"/>
                  <a:pt x="9" y="245"/>
                </a:cubicBezTo>
                <a:close/>
                <a:moveTo>
                  <a:pt x="12" y="244"/>
                </a:moveTo>
                <a:cubicBezTo>
                  <a:pt x="12" y="246"/>
                  <a:pt x="12" y="246"/>
                  <a:pt x="12" y="246"/>
                </a:cubicBezTo>
                <a:cubicBezTo>
                  <a:pt x="12" y="246"/>
                  <a:pt x="12" y="246"/>
                  <a:pt x="12" y="246"/>
                </a:cubicBezTo>
                <a:cubicBezTo>
                  <a:pt x="10" y="245"/>
                  <a:pt x="10" y="245"/>
                  <a:pt x="10" y="245"/>
                </a:cubicBezTo>
                <a:cubicBezTo>
                  <a:pt x="10" y="244"/>
                  <a:pt x="10" y="244"/>
                  <a:pt x="10" y="244"/>
                </a:cubicBezTo>
                <a:cubicBezTo>
                  <a:pt x="9" y="241"/>
                  <a:pt x="9" y="241"/>
                  <a:pt x="9" y="241"/>
                </a:cubicBezTo>
                <a:cubicBezTo>
                  <a:pt x="10" y="241"/>
                  <a:pt x="10" y="241"/>
                  <a:pt x="10" y="241"/>
                </a:cubicBezTo>
                <a:cubicBezTo>
                  <a:pt x="11" y="240"/>
                  <a:pt x="11" y="240"/>
                  <a:pt x="11" y="240"/>
                </a:cubicBezTo>
                <a:cubicBezTo>
                  <a:pt x="11" y="239"/>
                  <a:pt x="11" y="239"/>
                  <a:pt x="11" y="239"/>
                </a:cubicBezTo>
                <a:cubicBezTo>
                  <a:pt x="11" y="240"/>
                  <a:pt x="11" y="240"/>
                  <a:pt x="11" y="240"/>
                </a:cubicBezTo>
                <a:cubicBezTo>
                  <a:pt x="10" y="240"/>
                  <a:pt x="10" y="240"/>
                  <a:pt x="10" y="240"/>
                </a:cubicBezTo>
                <a:cubicBezTo>
                  <a:pt x="10" y="239"/>
                  <a:pt x="10" y="239"/>
                  <a:pt x="10" y="239"/>
                </a:cubicBezTo>
                <a:cubicBezTo>
                  <a:pt x="10" y="238"/>
                  <a:pt x="10" y="238"/>
                  <a:pt x="10" y="238"/>
                </a:cubicBezTo>
                <a:cubicBezTo>
                  <a:pt x="9" y="237"/>
                  <a:pt x="9" y="237"/>
                  <a:pt x="9" y="237"/>
                </a:cubicBezTo>
                <a:cubicBezTo>
                  <a:pt x="9" y="236"/>
                  <a:pt x="9" y="236"/>
                  <a:pt x="9" y="236"/>
                </a:cubicBezTo>
                <a:cubicBezTo>
                  <a:pt x="10" y="235"/>
                  <a:pt x="10" y="235"/>
                  <a:pt x="10" y="235"/>
                </a:cubicBezTo>
                <a:cubicBezTo>
                  <a:pt x="12" y="235"/>
                  <a:pt x="12" y="235"/>
                  <a:pt x="12" y="235"/>
                </a:cubicBezTo>
                <a:cubicBezTo>
                  <a:pt x="13" y="236"/>
                  <a:pt x="13" y="236"/>
                  <a:pt x="13" y="236"/>
                </a:cubicBezTo>
                <a:cubicBezTo>
                  <a:pt x="13" y="239"/>
                  <a:pt x="13" y="239"/>
                  <a:pt x="13" y="239"/>
                </a:cubicBezTo>
                <a:cubicBezTo>
                  <a:pt x="14" y="240"/>
                  <a:pt x="14" y="240"/>
                  <a:pt x="14" y="240"/>
                </a:cubicBezTo>
                <a:cubicBezTo>
                  <a:pt x="14" y="242"/>
                  <a:pt x="14" y="242"/>
                  <a:pt x="14" y="242"/>
                </a:cubicBezTo>
                <a:cubicBezTo>
                  <a:pt x="14" y="243"/>
                  <a:pt x="14" y="243"/>
                  <a:pt x="14" y="243"/>
                </a:cubicBezTo>
                <a:cubicBezTo>
                  <a:pt x="15" y="245"/>
                  <a:pt x="15" y="245"/>
                  <a:pt x="15" y="245"/>
                </a:cubicBezTo>
                <a:cubicBezTo>
                  <a:pt x="15" y="246"/>
                  <a:pt x="15" y="246"/>
                  <a:pt x="15" y="246"/>
                </a:cubicBezTo>
                <a:cubicBezTo>
                  <a:pt x="14" y="247"/>
                  <a:pt x="14" y="247"/>
                  <a:pt x="14" y="247"/>
                </a:cubicBezTo>
                <a:cubicBezTo>
                  <a:pt x="13" y="247"/>
                  <a:pt x="13" y="247"/>
                  <a:pt x="13" y="247"/>
                </a:cubicBezTo>
                <a:cubicBezTo>
                  <a:pt x="13" y="245"/>
                  <a:pt x="13" y="245"/>
                  <a:pt x="13" y="245"/>
                </a:cubicBezTo>
                <a:cubicBezTo>
                  <a:pt x="12" y="244"/>
                  <a:pt x="12" y="244"/>
                  <a:pt x="12" y="244"/>
                </a:cubicBezTo>
                <a:close/>
                <a:moveTo>
                  <a:pt x="11" y="251"/>
                </a:moveTo>
                <a:cubicBezTo>
                  <a:pt x="11" y="250"/>
                  <a:pt x="11" y="250"/>
                  <a:pt x="11" y="250"/>
                </a:cubicBezTo>
                <a:cubicBezTo>
                  <a:pt x="10" y="249"/>
                  <a:pt x="10" y="249"/>
                  <a:pt x="10" y="249"/>
                </a:cubicBezTo>
                <a:cubicBezTo>
                  <a:pt x="11" y="249"/>
                  <a:pt x="11" y="249"/>
                  <a:pt x="11" y="249"/>
                </a:cubicBezTo>
                <a:cubicBezTo>
                  <a:pt x="11" y="248"/>
                  <a:pt x="11" y="248"/>
                  <a:pt x="11" y="248"/>
                </a:cubicBezTo>
                <a:cubicBezTo>
                  <a:pt x="11" y="248"/>
                  <a:pt x="11" y="248"/>
                  <a:pt x="11" y="248"/>
                </a:cubicBezTo>
                <a:cubicBezTo>
                  <a:pt x="12" y="248"/>
                  <a:pt x="12" y="248"/>
                  <a:pt x="12" y="248"/>
                </a:cubicBezTo>
                <a:cubicBezTo>
                  <a:pt x="13" y="248"/>
                  <a:pt x="13" y="248"/>
                  <a:pt x="13" y="248"/>
                </a:cubicBezTo>
                <a:cubicBezTo>
                  <a:pt x="13" y="249"/>
                  <a:pt x="13" y="249"/>
                  <a:pt x="13" y="249"/>
                </a:cubicBezTo>
                <a:cubicBezTo>
                  <a:pt x="13" y="250"/>
                  <a:pt x="13" y="250"/>
                  <a:pt x="13" y="250"/>
                </a:cubicBezTo>
                <a:cubicBezTo>
                  <a:pt x="12" y="251"/>
                  <a:pt x="12" y="251"/>
                  <a:pt x="12" y="251"/>
                </a:cubicBezTo>
                <a:cubicBezTo>
                  <a:pt x="11" y="251"/>
                  <a:pt x="11" y="251"/>
                  <a:pt x="11" y="251"/>
                </a:cubicBezTo>
                <a:close/>
                <a:moveTo>
                  <a:pt x="11" y="253"/>
                </a:moveTo>
                <a:cubicBezTo>
                  <a:pt x="11" y="252"/>
                  <a:pt x="11" y="252"/>
                  <a:pt x="11" y="252"/>
                </a:cubicBezTo>
                <a:cubicBezTo>
                  <a:pt x="12" y="252"/>
                  <a:pt x="12" y="252"/>
                  <a:pt x="12" y="252"/>
                </a:cubicBezTo>
                <a:cubicBezTo>
                  <a:pt x="11" y="252"/>
                  <a:pt x="11" y="252"/>
                  <a:pt x="11" y="252"/>
                </a:cubicBezTo>
                <a:cubicBezTo>
                  <a:pt x="11" y="253"/>
                  <a:pt x="11" y="253"/>
                  <a:pt x="11" y="253"/>
                </a:cubicBezTo>
                <a:close/>
                <a:moveTo>
                  <a:pt x="13" y="252"/>
                </a:moveTo>
                <a:cubicBezTo>
                  <a:pt x="14" y="253"/>
                  <a:pt x="14" y="253"/>
                  <a:pt x="14" y="253"/>
                </a:cubicBezTo>
                <a:cubicBezTo>
                  <a:pt x="14" y="254"/>
                  <a:pt x="14" y="254"/>
                  <a:pt x="14" y="254"/>
                </a:cubicBezTo>
                <a:cubicBezTo>
                  <a:pt x="13" y="254"/>
                  <a:pt x="13" y="254"/>
                  <a:pt x="13" y="254"/>
                </a:cubicBezTo>
                <a:cubicBezTo>
                  <a:pt x="13" y="253"/>
                  <a:pt x="13" y="253"/>
                  <a:pt x="13" y="253"/>
                </a:cubicBezTo>
                <a:cubicBezTo>
                  <a:pt x="13" y="252"/>
                  <a:pt x="13" y="252"/>
                  <a:pt x="13" y="252"/>
                </a:cubicBezTo>
                <a:close/>
                <a:moveTo>
                  <a:pt x="14" y="251"/>
                </a:moveTo>
                <a:cubicBezTo>
                  <a:pt x="14" y="251"/>
                  <a:pt x="14" y="251"/>
                  <a:pt x="14" y="251"/>
                </a:cubicBezTo>
                <a:cubicBezTo>
                  <a:pt x="15" y="251"/>
                  <a:pt x="15" y="251"/>
                  <a:pt x="15" y="251"/>
                </a:cubicBezTo>
                <a:cubicBezTo>
                  <a:pt x="16" y="251"/>
                  <a:pt x="16" y="251"/>
                  <a:pt x="16" y="251"/>
                </a:cubicBezTo>
                <a:cubicBezTo>
                  <a:pt x="16" y="251"/>
                  <a:pt x="16" y="251"/>
                  <a:pt x="16" y="251"/>
                </a:cubicBezTo>
                <a:cubicBezTo>
                  <a:pt x="17" y="253"/>
                  <a:pt x="17" y="253"/>
                  <a:pt x="17" y="253"/>
                </a:cubicBezTo>
                <a:cubicBezTo>
                  <a:pt x="18" y="255"/>
                  <a:pt x="18" y="255"/>
                  <a:pt x="18" y="255"/>
                </a:cubicBezTo>
                <a:cubicBezTo>
                  <a:pt x="16" y="253"/>
                  <a:pt x="16" y="253"/>
                  <a:pt x="16" y="253"/>
                </a:cubicBezTo>
                <a:cubicBezTo>
                  <a:pt x="15" y="253"/>
                  <a:pt x="15" y="253"/>
                  <a:pt x="15" y="253"/>
                </a:cubicBezTo>
                <a:cubicBezTo>
                  <a:pt x="14" y="251"/>
                  <a:pt x="14" y="251"/>
                  <a:pt x="14" y="251"/>
                </a:cubicBezTo>
                <a:close/>
                <a:moveTo>
                  <a:pt x="14" y="253"/>
                </a:moveTo>
                <a:cubicBezTo>
                  <a:pt x="15" y="253"/>
                  <a:pt x="15" y="253"/>
                  <a:pt x="15" y="253"/>
                </a:cubicBezTo>
                <a:cubicBezTo>
                  <a:pt x="16" y="254"/>
                  <a:pt x="16" y="254"/>
                  <a:pt x="16" y="254"/>
                </a:cubicBezTo>
                <a:cubicBezTo>
                  <a:pt x="17" y="256"/>
                  <a:pt x="17" y="256"/>
                  <a:pt x="17" y="256"/>
                </a:cubicBezTo>
                <a:cubicBezTo>
                  <a:pt x="17" y="257"/>
                  <a:pt x="17" y="257"/>
                  <a:pt x="17" y="257"/>
                </a:cubicBezTo>
                <a:cubicBezTo>
                  <a:pt x="16" y="257"/>
                  <a:pt x="16" y="257"/>
                  <a:pt x="16" y="257"/>
                </a:cubicBezTo>
                <a:cubicBezTo>
                  <a:pt x="14" y="255"/>
                  <a:pt x="14" y="255"/>
                  <a:pt x="14" y="255"/>
                </a:cubicBezTo>
                <a:cubicBezTo>
                  <a:pt x="14" y="253"/>
                  <a:pt x="14" y="253"/>
                  <a:pt x="14" y="253"/>
                </a:cubicBezTo>
                <a:close/>
                <a:moveTo>
                  <a:pt x="15" y="260"/>
                </a:moveTo>
                <a:cubicBezTo>
                  <a:pt x="14" y="260"/>
                  <a:pt x="14" y="260"/>
                  <a:pt x="14" y="260"/>
                </a:cubicBezTo>
                <a:cubicBezTo>
                  <a:pt x="13" y="259"/>
                  <a:pt x="13" y="259"/>
                  <a:pt x="13" y="259"/>
                </a:cubicBezTo>
                <a:cubicBezTo>
                  <a:pt x="14" y="259"/>
                  <a:pt x="14" y="259"/>
                  <a:pt x="14" y="259"/>
                </a:cubicBezTo>
                <a:cubicBezTo>
                  <a:pt x="14" y="258"/>
                  <a:pt x="14" y="258"/>
                  <a:pt x="14" y="258"/>
                </a:cubicBezTo>
                <a:cubicBezTo>
                  <a:pt x="13" y="257"/>
                  <a:pt x="13" y="257"/>
                  <a:pt x="13" y="257"/>
                </a:cubicBezTo>
                <a:cubicBezTo>
                  <a:pt x="14" y="256"/>
                  <a:pt x="14" y="256"/>
                  <a:pt x="14" y="256"/>
                </a:cubicBezTo>
                <a:cubicBezTo>
                  <a:pt x="15" y="257"/>
                  <a:pt x="15" y="257"/>
                  <a:pt x="15" y="257"/>
                </a:cubicBezTo>
                <a:cubicBezTo>
                  <a:pt x="16" y="257"/>
                  <a:pt x="16" y="257"/>
                  <a:pt x="16" y="257"/>
                </a:cubicBezTo>
                <a:cubicBezTo>
                  <a:pt x="18" y="258"/>
                  <a:pt x="18" y="258"/>
                  <a:pt x="18" y="258"/>
                </a:cubicBezTo>
                <a:cubicBezTo>
                  <a:pt x="18" y="259"/>
                  <a:pt x="18" y="259"/>
                  <a:pt x="18" y="259"/>
                </a:cubicBezTo>
                <a:cubicBezTo>
                  <a:pt x="17" y="259"/>
                  <a:pt x="17" y="259"/>
                  <a:pt x="17" y="259"/>
                </a:cubicBezTo>
                <a:cubicBezTo>
                  <a:pt x="17" y="259"/>
                  <a:pt x="17" y="259"/>
                  <a:pt x="17" y="259"/>
                </a:cubicBezTo>
                <a:cubicBezTo>
                  <a:pt x="15" y="260"/>
                  <a:pt x="15" y="260"/>
                  <a:pt x="15" y="260"/>
                </a:cubicBezTo>
                <a:close/>
                <a:moveTo>
                  <a:pt x="17" y="265"/>
                </a:moveTo>
                <a:cubicBezTo>
                  <a:pt x="16" y="265"/>
                  <a:pt x="16" y="265"/>
                  <a:pt x="16" y="265"/>
                </a:cubicBezTo>
                <a:cubicBezTo>
                  <a:pt x="15" y="264"/>
                  <a:pt x="15" y="264"/>
                  <a:pt x="15" y="264"/>
                </a:cubicBezTo>
                <a:cubicBezTo>
                  <a:pt x="15" y="263"/>
                  <a:pt x="15" y="263"/>
                  <a:pt x="15" y="263"/>
                </a:cubicBezTo>
                <a:cubicBezTo>
                  <a:pt x="15" y="263"/>
                  <a:pt x="15" y="263"/>
                  <a:pt x="15" y="263"/>
                </a:cubicBezTo>
                <a:cubicBezTo>
                  <a:pt x="16" y="262"/>
                  <a:pt x="16" y="262"/>
                  <a:pt x="16" y="262"/>
                </a:cubicBezTo>
                <a:cubicBezTo>
                  <a:pt x="16" y="262"/>
                  <a:pt x="16" y="262"/>
                  <a:pt x="16" y="262"/>
                </a:cubicBezTo>
                <a:cubicBezTo>
                  <a:pt x="15" y="261"/>
                  <a:pt x="15" y="261"/>
                  <a:pt x="15" y="261"/>
                </a:cubicBezTo>
                <a:cubicBezTo>
                  <a:pt x="16" y="261"/>
                  <a:pt x="16" y="261"/>
                  <a:pt x="16" y="261"/>
                </a:cubicBezTo>
                <a:cubicBezTo>
                  <a:pt x="17" y="262"/>
                  <a:pt x="17" y="262"/>
                  <a:pt x="17" y="262"/>
                </a:cubicBezTo>
                <a:cubicBezTo>
                  <a:pt x="17" y="263"/>
                  <a:pt x="17" y="263"/>
                  <a:pt x="17" y="263"/>
                </a:cubicBezTo>
                <a:cubicBezTo>
                  <a:pt x="16" y="264"/>
                  <a:pt x="16" y="264"/>
                  <a:pt x="16" y="264"/>
                </a:cubicBezTo>
                <a:cubicBezTo>
                  <a:pt x="17" y="265"/>
                  <a:pt x="17" y="265"/>
                  <a:pt x="17" y="265"/>
                </a:cubicBezTo>
                <a:close/>
                <a:moveTo>
                  <a:pt x="17" y="263"/>
                </a:moveTo>
                <a:cubicBezTo>
                  <a:pt x="17" y="262"/>
                  <a:pt x="17" y="262"/>
                  <a:pt x="17" y="262"/>
                </a:cubicBezTo>
                <a:cubicBezTo>
                  <a:pt x="18" y="262"/>
                  <a:pt x="18" y="262"/>
                  <a:pt x="18" y="262"/>
                </a:cubicBezTo>
                <a:cubicBezTo>
                  <a:pt x="18" y="262"/>
                  <a:pt x="18" y="262"/>
                  <a:pt x="18" y="262"/>
                </a:cubicBezTo>
                <a:cubicBezTo>
                  <a:pt x="19" y="263"/>
                  <a:pt x="19" y="263"/>
                  <a:pt x="19" y="263"/>
                </a:cubicBezTo>
                <a:cubicBezTo>
                  <a:pt x="19" y="264"/>
                  <a:pt x="19" y="264"/>
                  <a:pt x="19" y="264"/>
                </a:cubicBezTo>
                <a:cubicBezTo>
                  <a:pt x="18" y="265"/>
                  <a:pt x="18" y="265"/>
                  <a:pt x="18" y="265"/>
                </a:cubicBezTo>
                <a:cubicBezTo>
                  <a:pt x="18" y="265"/>
                  <a:pt x="18" y="265"/>
                  <a:pt x="18" y="265"/>
                </a:cubicBezTo>
                <a:cubicBezTo>
                  <a:pt x="17" y="264"/>
                  <a:pt x="17" y="264"/>
                  <a:pt x="17" y="264"/>
                </a:cubicBezTo>
                <a:cubicBezTo>
                  <a:pt x="17" y="264"/>
                  <a:pt x="17" y="264"/>
                  <a:pt x="17" y="264"/>
                </a:cubicBezTo>
                <a:cubicBezTo>
                  <a:pt x="17" y="263"/>
                  <a:pt x="17" y="263"/>
                  <a:pt x="17" y="263"/>
                </a:cubicBezTo>
                <a:close/>
                <a:moveTo>
                  <a:pt x="19" y="263"/>
                </a:moveTo>
                <a:cubicBezTo>
                  <a:pt x="20" y="264"/>
                  <a:pt x="20" y="264"/>
                  <a:pt x="20" y="264"/>
                </a:cubicBezTo>
                <a:cubicBezTo>
                  <a:pt x="21" y="265"/>
                  <a:pt x="21" y="265"/>
                  <a:pt x="21" y="265"/>
                </a:cubicBezTo>
                <a:cubicBezTo>
                  <a:pt x="20" y="265"/>
                  <a:pt x="20" y="265"/>
                  <a:pt x="20" y="265"/>
                </a:cubicBezTo>
                <a:cubicBezTo>
                  <a:pt x="19" y="264"/>
                  <a:pt x="19" y="264"/>
                  <a:pt x="19" y="264"/>
                </a:cubicBezTo>
                <a:cubicBezTo>
                  <a:pt x="19" y="263"/>
                  <a:pt x="19" y="263"/>
                  <a:pt x="19" y="263"/>
                </a:cubicBezTo>
                <a:close/>
                <a:moveTo>
                  <a:pt x="19" y="268"/>
                </a:moveTo>
                <a:cubicBezTo>
                  <a:pt x="18" y="268"/>
                  <a:pt x="18" y="268"/>
                  <a:pt x="18" y="268"/>
                </a:cubicBezTo>
                <a:cubicBezTo>
                  <a:pt x="18" y="267"/>
                  <a:pt x="18" y="267"/>
                  <a:pt x="18" y="267"/>
                </a:cubicBezTo>
                <a:cubicBezTo>
                  <a:pt x="18" y="267"/>
                  <a:pt x="18" y="267"/>
                  <a:pt x="18" y="267"/>
                </a:cubicBezTo>
                <a:cubicBezTo>
                  <a:pt x="18" y="266"/>
                  <a:pt x="18" y="266"/>
                  <a:pt x="18" y="266"/>
                </a:cubicBezTo>
                <a:cubicBezTo>
                  <a:pt x="19" y="265"/>
                  <a:pt x="19" y="265"/>
                  <a:pt x="19" y="265"/>
                </a:cubicBezTo>
                <a:cubicBezTo>
                  <a:pt x="19" y="266"/>
                  <a:pt x="19" y="266"/>
                  <a:pt x="19" y="266"/>
                </a:cubicBezTo>
                <a:cubicBezTo>
                  <a:pt x="19" y="268"/>
                  <a:pt x="19" y="268"/>
                  <a:pt x="19" y="268"/>
                </a:cubicBezTo>
                <a:close/>
                <a:moveTo>
                  <a:pt x="22" y="264"/>
                </a:moveTo>
                <a:cubicBezTo>
                  <a:pt x="21" y="264"/>
                  <a:pt x="21" y="264"/>
                  <a:pt x="21" y="264"/>
                </a:cubicBezTo>
                <a:cubicBezTo>
                  <a:pt x="20" y="263"/>
                  <a:pt x="20" y="263"/>
                  <a:pt x="20" y="263"/>
                </a:cubicBezTo>
                <a:cubicBezTo>
                  <a:pt x="20" y="261"/>
                  <a:pt x="20" y="261"/>
                  <a:pt x="20" y="261"/>
                </a:cubicBezTo>
                <a:cubicBezTo>
                  <a:pt x="21" y="261"/>
                  <a:pt x="21" y="261"/>
                  <a:pt x="21" y="261"/>
                </a:cubicBezTo>
                <a:cubicBezTo>
                  <a:pt x="21" y="262"/>
                  <a:pt x="21" y="262"/>
                  <a:pt x="21" y="262"/>
                </a:cubicBezTo>
                <a:cubicBezTo>
                  <a:pt x="22" y="264"/>
                  <a:pt x="22" y="264"/>
                  <a:pt x="22" y="264"/>
                </a:cubicBezTo>
                <a:cubicBezTo>
                  <a:pt x="23" y="264"/>
                  <a:pt x="23" y="264"/>
                  <a:pt x="23" y="264"/>
                </a:cubicBezTo>
                <a:cubicBezTo>
                  <a:pt x="22" y="264"/>
                  <a:pt x="22" y="264"/>
                  <a:pt x="22" y="264"/>
                </a:cubicBezTo>
                <a:close/>
                <a:moveTo>
                  <a:pt x="22" y="266"/>
                </a:moveTo>
                <a:cubicBezTo>
                  <a:pt x="21" y="265"/>
                  <a:pt x="21" y="265"/>
                  <a:pt x="21" y="265"/>
                </a:cubicBezTo>
                <a:cubicBezTo>
                  <a:pt x="21" y="265"/>
                  <a:pt x="21" y="265"/>
                  <a:pt x="21" y="265"/>
                </a:cubicBezTo>
                <a:cubicBezTo>
                  <a:pt x="22" y="265"/>
                  <a:pt x="22" y="265"/>
                  <a:pt x="22" y="265"/>
                </a:cubicBezTo>
                <a:cubicBezTo>
                  <a:pt x="23" y="266"/>
                  <a:pt x="23" y="266"/>
                  <a:pt x="23" y="266"/>
                </a:cubicBezTo>
                <a:cubicBezTo>
                  <a:pt x="22" y="266"/>
                  <a:pt x="22" y="266"/>
                  <a:pt x="22" y="266"/>
                </a:cubicBezTo>
                <a:close/>
                <a:moveTo>
                  <a:pt x="23" y="269"/>
                </a:moveTo>
                <a:cubicBezTo>
                  <a:pt x="21" y="267"/>
                  <a:pt x="21" y="267"/>
                  <a:pt x="21" y="267"/>
                </a:cubicBezTo>
                <a:cubicBezTo>
                  <a:pt x="21" y="266"/>
                  <a:pt x="21" y="266"/>
                  <a:pt x="21" y="266"/>
                </a:cubicBezTo>
                <a:cubicBezTo>
                  <a:pt x="21" y="266"/>
                  <a:pt x="21" y="266"/>
                  <a:pt x="21" y="266"/>
                </a:cubicBezTo>
                <a:cubicBezTo>
                  <a:pt x="23" y="267"/>
                  <a:pt x="23" y="267"/>
                  <a:pt x="23" y="267"/>
                </a:cubicBezTo>
                <a:cubicBezTo>
                  <a:pt x="23" y="268"/>
                  <a:pt x="23" y="268"/>
                  <a:pt x="23" y="268"/>
                </a:cubicBezTo>
                <a:cubicBezTo>
                  <a:pt x="23" y="269"/>
                  <a:pt x="23" y="269"/>
                  <a:pt x="23" y="269"/>
                </a:cubicBezTo>
                <a:close/>
                <a:moveTo>
                  <a:pt x="24" y="271"/>
                </a:moveTo>
                <a:cubicBezTo>
                  <a:pt x="23" y="271"/>
                  <a:pt x="23" y="271"/>
                  <a:pt x="23" y="271"/>
                </a:cubicBezTo>
                <a:cubicBezTo>
                  <a:pt x="23" y="271"/>
                  <a:pt x="23" y="271"/>
                  <a:pt x="23" y="271"/>
                </a:cubicBezTo>
                <a:cubicBezTo>
                  <a:pt x="23" y="270"/>
                  <a:pt x="23" y="270"/>
                  <a:pt x="23" y="270"/>
                </a:cubicBezTo>
                <a:cubicBezTo>
                  <a:pt x="21" y="270"/>
                  <a:pt x="21" y="270"/>
                  <a:pt x="21" y="270"/>
                </a:cubicBezTo>
                <a:cubicBezTo>
                  <a:pt x="21" y="270"/>
                  <a:pt x="21" y="270"/>
                  <a:pt x="21" y="270"/>
                </a:cubicBezTo>
                <a:cubicBezTo>
                  <a:pt x="22" y="269"/>
                  <a:pt x="22" y="269"/>
                  <a:pt x="22" y="269"/>
                </a:cubicBezTo>
                <a:cubicBezTo>
                  <a:pt x="23" y="269"/>
                  <a:pt x="23" y="269"/>
                  <a:pt x="23" y="269"/>
                </a:cubicBezTo>
                <a:cubicBezTo>
                  <a:pt x="24" y="269"/>
                  <a:pt x="24" y="269"/>
                  <a:pt x="24" y="269"/>
                </a:cubicBezTo>
                <a:cubicBezTo>
                  <a:pt x="25" y="270"/>
                  <a:pt x="25" y="270"/>
                  <a:pt x="25" y="270"/>
                </a:cubicBezTo>
                <a:cubicBezTo>
                  <a:pt x="24" y="271"/>
                  <a:pt x="24" y="271"/>
                  <a:pt x="24" y="271"/>
                </a:cubicBezTo>
                <a:close/>
                <a:moveTo>
                  <a:pt x="28" y="278"/>
                </a:moveTo>
                <a:cubicBezTo>
                  <a:pt x="26" y="277"/>
                  <a:pt x="26" y="277"/>
                  <a:pt x="26" y="277"/>
                </a:cubicBezTo>
                <a:cubicBezTo>
                  <a:pt x="26" y="277"/>
                  <a:pt x="26" y="277"/>
                  <a:pt x="26" y="277"/>
                </a:cubicBezTo>
                <a:cubicBezTo>
                  <a:pt x="25" y="277"/>
                  <a:pt x="25" y="277"/>
                  <a:pt x="25" y="277"/>
                </a:cubicBezTo>
                <a:cubicBezTo>
                  <a:pt x="24" y="277"/>
                  <a:pt x="24" y="277"/>
                  <a:pt x="24" y="277"/>
                </a:cubicBezTo>
                <a:cubicBezTo>
                  <a:pt x="22" y="276"/>
                  <a:pt x="22" y="276"/>
                  <a:pt x="22" y="276"/>
                </a:cubicBezTo>
                <a:cubicBezTo>
                  <a:pt x="21" y="276"/>
                  <a:pt x="21" y="276"/>
                  <a:pt x="21" y="276"/>
                </a:cubicBezTo>
                <a:cubicBezTo>
                  <a:pt x="20" y="274"/>
                  <a:pt x="20" y="274"/>
                  <a:pt x="20" y="274"/>
                </a:cubicBezTo>
                <a:cubicBezTo>
                  <a:pt x="20" y="273"/>
                  <a:pt x="20" y="273"/>
                  <a:pt x="20" y="273"/>
                </a:cubicBezTo>
                <a:cubicBezTo>
                  <a:pt x="20" y="272"/>
                  <a:pt x="20" y="272"/>
                  <a:pt x="20" y="272"/>
                </a:cubicBezTo>
                <a:cubicBezTo>
                  <a:pt x="21" y="273"/>
                  <a:pt x="21" y="273"/>
                  <a:pt x="21" y="273"/>
                </a:cubicBezTo>
                <a:cubicBezTo>
                  <a:pt x="22" y="274"/>
                  <a:pt x="22" y="274"/>
                  <a:pt x="22" y="274"/>
                </a:cubicBezTo>
                <a:cubicBezTo>
                  <a:pt x="23" y="275"/>
                  <a:pt x="23" y="275"/>
                  <a:pt x="23" y="275"/>
                </a:cubicBezTo>
                <a:cubicBezTo>
                  <a:pt x="24" y="275"/>
                  <a:pt x="24" y="275"/>
                  <a:pt x="24" y="275"/>
                </a:cubicBezTo>
                <a:cubicBezTo>
                  <a:pt x="25" y="275"/>
                  <a:pt x="25" y="275"/>
                  <a:pt x="25" y="275"/>
                </a:cubicBezTo>
                <a:cubicBezTo>
                  <a:pt x="26" y="276"/>
                  <a:pt x="26" y="276"/>
                  <a:pt x="26" y="276"/>
                </a:cubicBezTo>
                <a:cubicBezTo>
                  <a:pt x="28" y="276"/>
                  <a:pt x="28" y="276"/>
                  <a:pt x="28" y="276"/>
                </a:cubicBezTo>
                <a:cubicBezTo>
                  <a:pt x="28" y="276"/>
                  <a:pt x="28" y="276"/>
                  <a:pt x="28" y="276"/>
                </a:cubicBezTo>
                <a:cubicBezTo>
                  <a:pt x="29" y="277"/>
                  <a:pt x="29" y="277"/>
                  <a:pt x="29" y="277"/>
                </a:cubicBezTo>
                <a:cubicBezTo>
                  <a:pt x="30" y="277"/>
                  <a:pt x="30" y="277"/>
                  <a:pt x="30" y="277"/>
                </a:cubicBezTo>
                <a:cubicBezTo>
                  <a:pt x="30" y="278"/>
                  <a:pt x="30" y="278"/>
                  <a:pt x="30" y="278"/>
                </a:cubicBezTo>
                <a:cubicBezTo>
                  <a:pt x="30" y="278"/>
                  <a:pt x="30" y="278"/>
                  <a:pt x="30" y="278"/>
                </a:cubicBezTo>
                <a:cubicBezTo>
                  <a:pt x="29" y="278"/>
                  <a:pt x="29" y="278"/>
                  <a:pt x="29" y="278"/>
                </a:cubicBezTo>
                <a:cubicBezTo>
                  <a:pt x="28" y="278"/>
                  <a:pt x="28" y="278"/>
                  <a:pt x="28" y="278"/>
                </a:cubicBezTo>
                <a:close/>
                <a:moveTo>
                  <a:pt x="24" y="278"/>
                </a:moveTo>
                <a:cubicBezTo>
                  <a:pt x="24" y="278"/>
                  <a:pt x="25" y="279"/>
                  <a:pt x="25" y="279"/>
                </a:cubicBezTo>
                <a:cubicBezTo>
                  <a:pt x="23" y="279"/>
                  <a:pt x="23" y="279"/>
                  <a:pt x="23" y="279"/>
                </a:cubicBezTo>
                <a:cubicBezTo>
                  <a:pt x="24" y="278"/>
                  <a:pt x="24" y="278"/>
                  <a:pt x="24" y="278"/>
                </a:cubicBezTo>
                <a:close/>
                <a:moveTo>
                  <a:pt x="32" y="284"/>
                </a:moveTo>
                <a:cubicBezTo>
                  <a:pt x="33" y="284"/>
                  <a:pt x="33" y="284"/>
                  <a:pt x="33" y="284"/>
                </a:cubicBezTo>
                <a:cubicBezTo>
                  <a:pt x="33" y="284"/>
                  <a:pt x="33" y="284"/>
                  <a:pt x="33" y="284"/>
                </a:cubicBezTo>
                <a:cubicBezTo>
                  <a:pt x="33" y="283"/>
                  <a:pt x="33" y="283"/>
                  <a:pt x="33" y="283"/>
                </a:cubicBezTo>
                <a:cubicBezTo>
                  <a:pt x="32" y="284"/>
                  <a:pt x="32" y="284"/>
                  <a:pt x="32" y="284"/>
                </a:cubicBezTo>
                <a:cubicBezTo>
                  <a:pt x="32" y="284"/>
                  <a:pt x="32" y="284"/>
                  <a:pt x="32" y="284"/>
                </a:cubicBezTo>
                <a:close/>
                <a:moveTo>
                  <a:pt x="36" y="285"/>
                </a:moveTo>
                <a:cubicBezTo>
                  <a:pt x="35" y="285"/>
                  <a:pt x="35" y="285"/>
                  <a:pt x="35" y="285"/>
                </a:cubicBezTo>
                <a:cubicBezTo>
                  <a:pt x="34" y="284"/>
                  <a:pt x="34" y="284"/>
                  <a:pt x="34" y="284"/>
                </a:cubicBezTo>
                <a:cubicBezTo>
                  <a:pt x="34" y="283"/>
                  <a:pt x="34" y="283"/>
                  <a:pt x="34" y="283"/>
                </a:cubicBezTo>
                <a:cubicBezTo>
                  <a:pt x="33" y="283"/>
                  <a:pt x="33" y="283"/>
                  <a:pt x="33" y="283"/>
                </a:cubicBezTo>
                <a:cubicBezTo>
                  <a:pt x="32" y="283"/>
                  <a:pt x="32" y="283"/>
                  <a:pt x="32" y="283"/>
                </a:cubicBezTo>
                <a:cubicBezTo>
                  <a:pt x="31" y="283"/>
                  <a:pt x="31" y="283"/>
                  <a:pt x="31" y="283"/>
                </a:cubicBezTo>
                <a:cubicBezTo>
                  <a:pt x="30" y="282"/>
                  <a:pt x="30" y="282"/>
                  <a:pt x="30" y="282"/>
                </a:cubicBezTo>
                <a:cubicBezTo>
                  <a:pt x="28" y="281"/>
                  <a:pt x="28" y="281"/>
                  <a:pt x="28" y="281"/>
                </a:cubicBezTo>
                <a:cubicBezTo>
                  <a:pt x="28" y="280"/>
                  <a:pt x="28" y="280"/>
                  <a:pt x="28" y="280"/>
                </a:cubicBezTo>
                <a:cubicBezTo>
                  <a:pt x="27" y="279"/>
                  <a:pt x="27" y="279"/>
                  <a:pt x="27" y="279"/>
                </a:cubicBezTo>
                <a:cubicBezTo>
                  <a:pt x="27" y="279"/>
                  <a:pt x="27" y="279"/>
                  <a:pt x="27" y="279"/>
                </a:cubicBezTo>
                <a:cubicBezTo>
                  <a:pt x="27" y="278"/>
                  <a:pt x="27" y="278"/>
                  <a:pt x="27" y="278"/>
                </a:cubicBezTo>
                <a:cubicBezTo>
                  <a:pt x="28" y="278"/>
                  <a:pt x="28" y="278"/>
                  <a:pt x="28" y="278"/>
                </a:cubicBezTo>
                <a:cubicBezTo>
                  <a:pt x="29" y="279"/>
                  <a:pt x="29" y="279"/>
                  <a:pt x="29" y="279"/>
                </a:cubicBezTo>
                <a:cubicBezTo>
                  <a:pt x="29" y="279"/>
                  <a:pt x="29" y="279"/>
                  <a:pt x="29" y="279"/>
                </a:cubicBezTo>
                <a:cubicBezTo>
                  <a:pt x="30" y="279"/>
                  <a:pt x="30" y="279"/>
                  <a:pt x="30" y="279"/>
                </a:cubicBezTo>
                <a:cubicBezTo>
                  <a:pt x="32" y="279"/>
                  <a:pt x="32" y="279"/>
                  <a:pt x="32" y="279"/>
                </a:cubicBezTo>
                <a:cubicBezTo>
                  <a:pt x="33" y="280"/>
                  <a:pt x="33" y="280"/>
                  <a:pt x="33" y="280"/>
                </a:cubicBezTo>
                <a:cubicBezTo>
                  <a:pt x="34" y="280"/>
                  <a:pt x="34" y="280"/>
                  <a:pt x="34" y="280"/>
                </a:cubicBezTo>
                <a:cubicBezTo>
                  <a:pt x="35" y="281"/>
                  <a:pt x="35" y="281"/>
                  <a:pt x="35" y="281"/>
                </a:cubicBezTo>
                <a:cubicBezTo>
                  <a:pt x="36" y="281"/>
                  <a:pt x="36" y="281"/>
                  <a:pt x="36" y="281"/>
                </a:cubicBezTo>
                <a:cubicBezTo>
                  <a:pt x="37" y="281"/>
                  <a:pt x="37" y="281"/>
                  <a:pt x="37" y="281"/>
                </a:cubicBezTo>
                <a:cubicBezTo>
                  <a:pt x="37" y="282"/>
                  <a:pt x="37" y="282"/>
                  <a:pt x="37" y="282"/>
                </a:cubicBezTo>
                <a:cubicBezTo>
                  <a:pt x="36" y="282"/>
                  <a:pt x="36" y="282"/>
                  <a:pt x="36" y="282"/>
                </a:cubicBezTo>
                <a:cubicBezTo>
                  <a:pt x="36" y="282"/>
                  <a:pt x="36" y="282"/>
                  <a:pt x="36" y="282"/>
                </a:cubicBezTo>
                <a:cubicBezTo>
                  <a:pt x="36" y="282"/>
                  <a:pt x="36" y="282"/>
                  <a:pt x="36" y="282"/>
                </a:cubicBezTo>
                <a:cubicBezTo>
                  <a:pt x="36" y="283"/>
                  <a:pt x="36" y="283"/>
                  <a:pt x="36" y="283"/>
                </a:cubicBezTo>
                <a:cubicBezTo>
                  <a:pt x="35" y="284"/>
                  <a:pt x="35" y="284"/>
                  <a:pt x="35" y="284"/>
                </a:cubicBezTo>
                <a:cubicBezTo>
                  <a:pt x="36" y="285"/>
                  <a:pt x="36" y="285"/>
                  <a:pt x="36" y="285"/>
                </a:cubicBezTo>
                <a:close/>
                <a:moveTo>
                  <a:pt x="37" y="284"/>
                </a:moveTo>
                <a:cubicBezTo>
                  <a:pt x="36" y="285"/>
                  <a:pt x="36" y="285"/>
                  <a:pt x="36" y="285"/>
                </a:cubicBezTo>
                <a:cubicBezTo>
                  <a:pt x="36" y="286"/>
                  <a:pt x="36" y="286"/>
                  <a:pt x="36" y="286"/>
                </a:cubicBezTo>
                <a:cubicBezTo>
                  <a:pt x="37" y="286"/>
                  <a:pt x="37" y="286"/>
                  <a:pt x="37" y="286"/>
                </a:cubicBezTo>
                <a:cubicBezTo>
                  <a:pt x="38" y="285"/>
                  <a:pt x="38" y="285"/>
                  <a:pt x="38" y="285"/>
                </a:cubicBezTo>
                <a:cubicBezTo>
                  <a:pt x="38" y="284"/>
                  <a:pt x="38" y="284"/>
                  <a:pt x="38" y="284"/>
                </a:cubicBezTo>
                <a:cubicBezTo>
                  <a:pt x="37" y="284"/>
                  <a:pt x="37" y="284"/>
                  <a:pt x="37" y="284"/>
                </a:cubicBezTo>
                <a:cubicBezTo>
                  <a:pt x="37" y="284"/>
                  <a:pt x="37" y="284"/>
                  <a:pt x="37" y="284"/>
                </a:cubicBezTo>
                <a:close/>
                <a:moveTo>
                  <a:pt x="44" y="283"/>
                </a:moveTo>
                <a:cubicBezTo>
                  <a:pt x="44" y="284"/>
                  <a:pt x="44" y="284"/>
                  <a:pt x="44" y="284"/>
                </a:cubicBezTo>
                <a:cubicBezTo>
                  <a:pt x="44" y="285"/>
                  <a:pt x="44" y="285"/>
                  <a:pt x="44" y="285"/>
                </a:cubicBezTo>
                <a:cubicBezTo>
                  <a:pt x="43" y="285"/>
                  <a:pt x="43" y="285"/>
                  <a:pt x="43" y="285"/>
                </a:cubicBezTo>
                <a:cubicBezTo>
                  <a:pt x="42" y="285"/>
                  <a:pt x="42" y="285"/>
                  <a:pt x="42" y="285"/>
                </a:cubicBezTo>
                <a:cubicBezTo>
                  <a:pt x="42" y="284"/>
                  <a:pt x="42" y="284"/>
                  <a:pt x="42" y="284"/>
                </a:cubicBezTo>
                <a:cubicBezTo>
                  <a:pt x="41" y="285"/>
                  <a:pt x="41" y="285"/>
                  <a:pt x="41" y="285"/>
                </a:cubicBezTo>
                <a:cubicBezTo>
                  <a:pt x="41" y="284"/>
                  <a:pt x="41" y="284"/>
                  <a:pt x="41" y="284"/>
                </a:cubicBezTo>
                <a:cubicBezTo>
                  <a:pt x="39" y="284"/>
                  <a:pt x="39" y="284"/>
                  <a:pt x="39" y="284"/>
                </a:cubicBezTo>
                <a:cubicBezTo>
                  <a:pt x="39" y="285"/>
                  <a:pt x="39" y="285"/>
                  <a:pt x="39" y="285"/>
                </a:cubicBezTo>
                <a:cubicBezTo>
                  <a:pt x="38" y="284"/>
                  <a:pt x="38" y="284"/>
                  <a:pt x="38" y="284"/>
                </a:cubicBezTo>
                <a:cubicBezTo>
                  <a:pt x="38" y="283"/>
                  <a:pt x="38" y="283"/>
                  <a:pt x="38" y="283"/>
                </a:cubicBezTo>
                <a:cubicBezTo>
                  <a:pt x="38" y="283"/>
                  <a:pt x="38" y="283"/>
                  <a:pt x="38" y="283"/>
                </a:cubicBezTo>
                <a:cubicBezTo>
                  <a:pt x="39" y="282"/>
                  <a:pt x="39" y="282"/>
                  <a:pt x="39" y="282"/>
                </a:cubicBezTo>
                <a:cubicBezTo>
                  <a:pt x="40" y="282"/>
                  <a:pt x="40" y="282"/>
                  <a:pt x="40" y="282"/>
                </a:cubicBezTo>
                <a:cubicBezTo>
                  <a:pt x="42" y="283"/>
                  <a:pt x="42" y="283"/>
                  <a:pt x="42" y="283"/>
                </a:cubicBezTo>
                <a:cubicBezTo>
                  <a:pt x="42" y="283"/>
                  <a:pt x="42" y="283"/>
                  <a:pt x="42" y="283"/>
                </a:cubicBezTo>
                <a:cubicBezTo>
                  <a:pt x="43" y="283"/>
                  <a:pt x="43" y="283"/>
                  <a:pt x="43" y="283"/>
                </a:cubicBezTo>
                <a:cubicBezTo>
                  <a:pt x="44" y="283"/>
                  <a:pt x="44" y="283"/>
                  <a:pt x="44" y="283"/>
                </a:cubicBezTo>
                <a:cubicBezTo>
                  <a:pt x="44" y="283"/>
                  <a:pt x="44" y="283"/>
                  <a:pt x="44" y="283"/>
                </a:cubicBezTo>
                <a:close/>
                <a:moveTo>
                  <a:pt x="48" y="283"/>
                </a:moveTo>
                <a:cubicBezTo>
                  <a:pt x="46" y="282"/>
                  <a:pt x="46" y="282"/>
                  <a:pt x="46" y="282"/>
                </a:cubicBezTo>
                <a:cubicBezTo>
                  <a:pt x="47" y="281"/>
                  <a:pt x="47" y="281"/>
                  <a:pt x="47" y="281"/>
                </a:cubicBezTo>
                <a:cubicBezTo>
                  <a:pt x="47" y="280"/>
                  <a:pt x="47" y="280"/>
                  <a:pt x="47" y="280"/>
                </a:cubicBezTo>
                <a:cubicBezTo>
                  <a:pt x="47" y="280"/>
                  <a:pt x="47" y="280"/>
                  <a:pt x="47" y="280"/>
                </a:cubicBezTo>
                <a:cubicBezTo>
                  <a:pt x="46" y="278"/>
                  <a:pt x="46" y="278"/>
                  <a:pt x="46" y="278"/>
                </a:cubicBezTo>
                <a:cubicBezTo>
                  <a:pt x="46" y="277"/>
                  <a:pt x="46" y="277"/>
                  <a:pt x="46" y="277"/>
                </a:cubicBezTo>
                <a:cubicBezTo>
                  <a:pt x="45" y="277"/>
                  <a:pt x="45" y="277"/>
                  <a:pt x="45" y="277"/>
                </a:cubicBezTo>
                <a:cubicBezTo>
                  <a:pt x="45" y="278"/>
                  <a:pt x="45" y="278"/>
                  <a:pt x="45" y="278"/>
                </a:cubicBezTo>
                <a:cubicBezTo>
                  <a:pt x="44" y="279"/>
                  <a:pt x="44" y="279"/>
                  <a:pt x="44" y="279"/>
                </a:cubicBezTo>
                <a:cubicBezTo>
                  <a:pt x="45" y="280"/>
                  <a:pt x="45" y="280"/>
                  <a:pt x="45" y="280"/>
                </a:cubicBezTo>
                <a:cubicBezTo>
                  <a:pt x="44" y="281"/>
                  <a:pt x="44" y="281"/>
                  <a:pt x="44" y="281"/>
                </a:cubicBezTo>
                <a:cubicBezTo>
                  <a:pt x="44" y="282"/>
                  <a:pt x="44" y="282"/>
                  <a:pt x="44" y="282"/>
                </a:cubicBezTo>
                <a:cubicBezTo>
                  <a:pt x="46" y="283"/>
                  <a:pt x="46" y="283"/>
                  <a:pt x="46" y="283"/>
                </a:cubicBezTo>
                <a:cubicBezTo>
                  <a:pt x="47" y="283"/>
                  <a:pt x="47" y="283"/>
                  <a:pt x="47" y="283"/>
                </a:cubicBezTo>
                <a:cubicBezTo>
                  <a:pt x="47" y="283"/>
                  <a:pt x="47" y="283"/>
                  <a:pt x="47" y="283"/>
                </a:cubicBezTo>
                <a:cubicBezTo>
                  <a:pt x="48" y="283"/>
                  <a:pt x="48" y="283"/>
                  <a:pt x="48" y="283"/>
                </a:cubicBezTo>
                <a:close/>
                <a:moveTo>
                  <a:pt x="43" y="292"/>
                </a:moveTo>
                <a:cubicBezTo>
                  <a:pt x="44" y="292"/>
                  <a:pt x="44" y="292"/>
                  <a:pt x="44" y="292"/>
                </a:cubicBezTo>
                <a:cubicBezTo>
                  <a:pt x="44" y="292"/>
                  <a:pt x="44" y="292"/>
                  <a:pt x="44" y="292"/>
                </a:cubicBezTo>
                <a:cubicBezTo>
                  <a:pt x="44" y="293"/>
                  <a:pt x="44" y="293"/>
                  <a:pt x="44" y="293"/>
                </a:cubicBezTo>
                <a:cubicBezTo>
                  <a:pt x="43" y="292"/>
                  <a:pt x="43" y="292"/>
                  <a:pt x="43" y="292"/>
                </a:cubicBezTo>
                <a:close/>
                <a:moveTo>
                  <a:pt x="43" y="291"/>
                </a:moveTo>
                <a:cubicBezTo>
                  <a:pt x="43" y="290"/>
                  <a:pt x="43" y="290"/>
                  <a:pt x="43" y="290"/>
                </a:cubicBezTo>
                <a:cubicBezTo>
                  <a:pt x="43" y="290"/>
                  <a:pt x="43" y="290"/>
                  <a:pt x="43" y="290"/>
                </a:cubicBezTo>
                <a:cubicBezTo>
                  <a:pt x="44" y="290"/>
                  <a:pt x="44" y="290"/>
                  <a:pt x="44" y="290"/>
                </a:cubicBezTo>
                <a:cubicBezTo>
                  <a:pt x="44" y="291"/>
                  <a:pt x="44" y="291"/>
                  <a:pt x="44" y="291"/>
                </a:cubicBezTo>
                <a:cubicBezTo>
                  <a:pt x="43" y="291"/>
                  <a:pt x="43" y="291"/>
                  <a:pt x="43" y="291"/>
                </a:cubicBezTo>
                <a:close/>
                <a:moveTo>
                  <a:pt x="68" y="297"/>
                </a:moveTo>
                <a:cubicBezTo>
                  <a:pt x="67" y="297"/>
                  <a:pt x="67" y="297"/>
                  <a:pt x="67" y="297"/>
                </a:cubicBezTo>
                <a:cubicBezTo>
                  <a:pt x="68" y="296"/>
                  <a:pt x="68" y="296"/>
                  <a:pt x="68" y="296"/>
                </a:cubicBezTo>
                <a:cubicBezTo>
                  <a:pt x="68" y="295"/>
                  <a:pt x="68" y="295"/>
                  <a:pt x="68" y="295"/>
                </a:cubicBezTo>
                <a:cubicBezTo>
                  <a:pt x="68" y="296"/>
                  <a:pt x="68" y="296"/>
                  <a:pt x="68" y="296"/>
                </a:cubicBezTo>
                <a:cubicBezTo>
                  <a:pt x="69" y="296"/>
                  <a:pt x="69" y="296"/>
                  <a:pt x="69" y="296"/>
                </a:cubicBezTo>
                <a:cubicBezTo>
                  <a:pt x="69" y="298"/>
                  <a:pt x="69" y="298"/>
                  <a:pt x="69" y="298"/>
                </a:cubicBezTo>
                <a:cubicBezTo>
                  <a:pt x="68" y="297"/>
                  <a:pt x="68" y="297"/>
                  <a:pt x="68" y="297"/>
                </a:cubicBezTo>
                <a:close/>
                <a:moveTo>
                  <a:pt x="52" y="291"/>
                </a:moveTo>
                <a:cubicBezTo>
                  <a:pt x="53" y="291"/>
                  <a:pt x="53" y="291"/>
                  <a:pt x="53" y="291"/>
                </a:cubicBezTo>
                <a:cubicBezTo>
                  <a:pt x="54" y="291"/>
                  <a:pt x="54" y="291"/>
                  <a:pt x="54" y="291"/>
                </a:cubicBezTo>
                <a:cubicBezTo>
                  <a:pt x="55" y="291"/>
                  <a:pt x="55" y="291"/>
                  <a:pt x="55" y="291"/>
                </a:cubicBezTo>
                <a:cubicBezTo>
                  <a:pt x="56" y="291"/>
                  <a:pt x="56" y="291"/>
                  <a:pt x="56" y="291"/>
                </a:cubicBezTo>
                <a:cubicBezTo>
                  <a:pt x="59" y="290"/>
                  <a:pt x="59" y="290"/>
                  <a:pt x="59" y="290"/>
                </a:cubicBezTo>
                <a:cubicBezTo>
                  <a:pt x="61" y="289"/>
                  <a:pt x="61" y="289"/>
                  <a:pt x="61" y="289"/>
                </a:cubicBezTo>
                <a:cubicBezTo>
                  <a:pt x="63" y="290"/>
                  <a:pt x="63" y="290"/>
                  <a:pt x="63" y="290"/>
                </a:cubicBezTo>
                <a:cubicBezTo>
                  <a:pt x="64" y="289"/>
                  <a:pt x="64" y="289"/>
                  <a:pt x="64" y="289"/>
                </a:cubicBezTo>
                <a:cubicBezTo>
                  <a:pt x="66" y="289"/>
                  <a:pt x="66" y="289"/>
                  <a:pt x="66" y="289"/>
                </a:cubicBezTo>
                <a:cubicBezTo>
                  <a:pt x="67" y="290"/>
                  <a:pt x="67" y="290"/>
                  <a:pt x="67" y="290"/>
                </a:cubicBezTo>
                <a:cubicBezTo>
                  <a:pt x="68" y="291"/>
                  <a:pt x="68" y="291"/>
                  <a:pt x="68" y="291"/>
                </a:cubicBezTo>
                <a:cubicBezTo>
                  <a:pt x="68" y="291"/>
                  <a:pt x="68" y="291"/>
                  <a:pt x="68" y="291"/>
                </a:cubicBezTo>
                <a:cubicBezTo>
                  <a:pt x="68" y="292"/>
                  <a:pt x="68" y="292"/>
                  <a:pt x="68" y="292"/>
                </a:cubicBezTo>
                <a:cubicBezTo>
                  <a:pt x="67" y="293"/>
                  <a:pt x="67" y="293"/>
                  <a:pt x="67" y="293"/>
                </a:cubicBezTo>
                <a:cubicBezTo>
                  <a:pt x="66" y="292"/>
                  <a:pt x="66" y="292"/>
                  <a:pt x="66" y="292"/>
                </a:cubicBezTo>
                <a:cubicBezTo>
                  <a:pt x="65" y="292"/>
                  <a:pt x="65" y="292"/>
                  <a:pt x="65" y="292"/>
                </a:cubicBezTo>
                <a:cubicBezTo>
                  <a:pt x="64" y="292"/>
                  <a:pt x="64" y="292"/>
                  <a:pt x="64" y="292"/>
                </a:cubicBezTo>
                <a:cubicBezTo>
                  <a:pt x="63" y="293"/>
                  <a:pt x="63" y="293"/>
                  <a:pt x="63" y="293"/>
                </a:cubicBezTo>
                <a:cubicBezTo>
                  <a:pt x="62" y="292"/>
                  <a:pt x="62" y="292"/>
                  <a:pt x="62" y="292"/>
                </a:cubicBezTo>
                <a:cubicBezTo>
                  <a:pt x="62" y="291"/>
                  <a:pt x="62" y="291"/>
                  <a:pt x="62" y="291"/>
                </a:cubicBezTo>
                <a:cubicBezTo>
                  <a:pt x="61" y="291"/>
                  <a:pt x="61" y="291"/>
                  <a:pt x="61" y="291"/>
                </a:cubicBezTo>
                <a:cubicBezTo>
                  <a:pt x="60" y="292"/>
                  <a:pt x="60" y="292"/>
                  <a:pt x="60" y="292"/>
                </a:cubicBezTo>
                <a:cubicBezTo>
                  <a:pt x="59" y="292"/>
                  <a:pt x="59" y="292"/>
                  <a:pt x="59" y="292"/>
                </a:cubicBezTo>
                <a:cubicBezTo>
                  <a:pt x="58" y="292"/>
                  <a:pt x="58" y="292"/>
                  <a:pt x="58" y="292"/>
                </a:cubicBezTo>
                <a:cubicBezTo>
                  <a:pt x="59" y="293"/>
                  <a:pt x="59" y="293"/>
                  <a:pt x="59" y="293"/>
                </a:cubicBezTo>
                <a:cubicBezTo>
                  <a:pt x="59" y="293"/>
                  <a:pt x="59" y="293"/>
                  <a:pt x="59" y="293"/>
                </a:cubicBezTo>
                <a:cubicBezTo>
                  <a:pt x="61" y="293"/>
                  <a:pt x="61" y="293"/>
                  <a:pt x="61" y="293"/>
                </a:cubicBezTo>
                <a:cubicBezTo>
                  <a:pt x="61" y="293"/>
                  <a:pt x="61" y="293"/>
                  <a:pt x="61" y="293"/>
                </a:cubicBezTo>
                <a:cubicBezTo>
                  <a:pt x="61" y="294"/>
                  <a:pt x="61" y="294"/>
                  <a:pt x="61" y="294"/>
                </a:cubicBezTo>
                <a:cubicBezTo>
                  <a:pt x="62" y="294"/>
                  <a:pt x="62" y="294"/>
                  <a:pt x="62" y="294"/>
                </a:cubicBezTo>
                <a:cubicBezTo>
                  <a:pt x="63" y="295"/>
                  <a:pt x="63" y="295"/>
                  <a:pt x="63" y="295"/>
                </a:cubicBezTo>
                <a:cubicBezTo>
                  <a:pt x="63" y="296"/>
                  <a:pt x="63" y="296"/>
                  <a:pt x="63" y="296"/>
                </a:cubicBezTo>
                <a:cubicBezTo>
                  <a:pt x="63" y="296"/>
                  <a:pt x="63" y="296"/>
                  <a:pt x="63" y="296"/>
                </a:cubicBezTo>
                <a:cubicBezTo>
                  <a:pt x="61" y="295"/>
                  <a:pt x="61" y="295"/>
                  <a:pt x="61" y="295"/>
                </a:cubicBezTo>
                <a:cubicBezTo>
                  <a:pt x="60" y="295"/>
                  <a:pt x="60" y="295"/>
                  <a:pt x="60" y="295"/>
                </a:cubicBezTo>
                <a:cubicBezTo>
                  <a:pt x="59" y="295"/>
                  <a:pt x="59" y="295"/>
                  <a:pt x="59" y="295"/>
                </a:cubicBezTo>
                <a:cubicBezTo>
                  <a:pt x="58" y="295"/>
                  <a:pt x="58" y="295"/>
                  <a:pt x="58" y="295"/>
                </a:cubicBezTo>
                <a:cubicBezTo>
                  <a:pt x="58" y="294"/>
                  <a:pt x="58" y="294"/>
                  <a:pt x="58" y="294"/>
                </a:cubicBezTo>
                <a:cubicBezTo>
                  <a:pt x="57" y="294"/>
                  <a:pt x="57" y="294"/>
                  <a:pt x="57" y="294"/>
                </a:cubicBezTo>
                <a:cubicBezTo>
                  <a:pt x="57" y="294"/>
                  <a:pt x="57" y="294"/>
                  <a:pt x="57" y="294"/>
                </a:cubicBezTo>
                <a:cubicBezTo>
                  <a:pt x="58" y="295"/>
                  <a:pt x="58" y="295"/>
                  <a:pt x="58" y="295"/>
                </a:cubicBezTo>
                <a:cubicBezTo>
                  <a:pt x="57" y="296"/>
                  <a:pt x="57" y="296"/>
                  <a:pt x="57" y="296"/>
                </a:cubicBezTo>
                <a:cubicBezTo>
                  <a:pt x="57" y="296"/>
                  <a:pt x="57" y="296"/>
                  <a:pt x="57" y="296"/>
                </a:cubicBezTo>
                <a:cubicBezTo>
                  <a:pt x="55" y="295"/>
                  <a:pt x="55" y="295"/>
                  <a:pt x="55" y="295"/>
                </a:cubicBezTo>
                <a:cubicBezTo>
                  <a:pt x="55" y="296"/>
                  <a:pt x="55" y="296"/>
                  <a:pt x="55" y="296"/>
                </a:cubicBezTo>
                <a:cubicBezTo>
                  <a:pt x="54" y="295"/>
                  <a:pt x="54" y="295"/>
                  <a:pt x="54" y="295"/>
                </a:cubicBezTo>
                <a:cubicBezTo>
                  <a:pt x="53" y="295"/>
                  <a:pt x="53" y="295"/>
                  <a:pt x="53" y="295"/>
                </a:cubicBezTo>
                <a:cubicBezTo>
                  <a:pt x="54" y="294"/>
                  <a:pt x="54" y="294"/>
                  <a:pt x="54" y="294"/>
                </a:cubicBezTo>
                <a:cubicBezTo>
                  <a:pt x="53" y="294"/>
                  <a:pt x="53" y="294"/>
                  <a:pt x="53" y="294"/>
                </a:cubicBezTo>
                <a:cubicBezTo>
                  <a:pt x="52" y="294"/>
                  <a:pt x="52" y="294"/>
                  <a:pt x="52" y="294"/>
                </a:cubicBezTo>
                <a:cubicBezTo>
                  <a:pt x="52" y="293"/>
                  <a:pt x="52" y="293"/>
                  <a:pt x="52" y="293"/>
                </a:cubicBezTo>
                <a:cubicBezTo>
                  <a:pt x="53" y="293"/>
                  <a:pt x="53" y="293"/>
                  <a:pt x="53" y="293"/>
                </a:cubicBezTo>
                <a:cubicBezTo>
                  <a:pt x="55" y="292"/>
                  <a:pt x="55" y="292"/>
                  <a:pt x="55" y="292"/>
                </a:cubicBezTo>
                <a:cubicBezTo>
                  <a:pt x="54" y="291"/>
                  <a:pt x="54" y="291"/>
                  <a:pt x="54" y="291"/>
                </a:cubicBezTo>
                <a:cubicBezTo>
                  <a:pt x="53" y="292"/>
                  <a:pt x="53" y="292"/>
                  <a:pt x="53" y="292"/>
                </a:cubicBezTo>
                <a:lnTo>
                  <a:pt x="52" y="291"/>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1" name="Freeform 199">
            <a:extLst>
              <a:ext uri="{FF2B5EF4-FFF2-40B4-BE49-F238E27FC236}">
                <a16:creationId xmlns:a16="http://schemas.microsoft.com/office/drawing/2014/main" id="{BC8622D6-FC47-4739-4F3D-0AC22DC4D758}"/>
              </a:ext>
            </a:extLst>
          </p:cNvPr>
          <p:cNvSpPr>
            <a:spLocks/>
          </p:cNvSpPr>
          <p:nvPr userDrawn="1"/>
        </p:nvSpPr>
        <p:spPr bwMode="auto">
          <a:xfrm>
            <a:off x="9349763" y="8305083"/>
            <a:ext cx="9525" cy="9526"/>
          </a:xfrm>
          <a:custGeom>
            <a:avLst/>
            <a:gdLst>
              <a:gd name="T0" fmla="*/ 0 w 3"/>
              <a:gd name="T1" fmla="*/ 0 h 3"/>
              <a:gd name="T2" fmla="*/ 0 w 3"/>
              <a:gd name="T3" fmla="*/ 3 h 3"/>
              <a:gd name="T4" fmla="*/ 3 w 3"/>
              <a:gd name="T5" fmla="*/ 3 h 3"/>
              <a:gd name="T6" fmla="*/ 0 w 3"/>
              <a:gd name="T7" fmla="*/ 0 h 3"/>
            </a:gdLst>
            <a:ahLst/>
            <a:cxnLst>
              <a:cxn ang="0">
                <a:pos x="T0" y="T1"/>
              </a:cxn>
              <a:cxn ang="0">
                <a:pos x="T2" y="T3"/>
              </a:cxn>
              <a:cxn ang="0">
                <a:pos x="T4" y="T5"/>
              </a:cxn>
              <a:cxn ang="0">
                <a:pos x="T6" y="T7"/>
              </a:cxn>
            </a:cxnLst>
            <a:rect l="0" t="0" r="r" b="b"/>
            <a:pathLst>
              <a:path w="3" h="3">
                <a:moveTo>
                  <a:pt x="0" y="0"/>
                </a:moveTo>
                <a:lnTo>
                  <a:pt x="0" y="3"/>
                </a:lnTo>
                <a:lnTo>
                  <a:pt x="3" y="3"/>
                </a:lnTo>
                <a:lnTo>
                  <a:pt x="0"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2" name="Freeform 200">
            <a:extLst>
              <a:ext uri="{FF2B5EF4-FFF2-40B4-BE49-F238E27FC236}">
                <a16:creationId xmlns:a16="http://schemas.microsoft.com/office/drawing/2014/main" id="{371BB57B-7889-6AF9-26F3-B9FC21E56906}"/>
              </a:ext>
            </a:extLst>
          </p:cNvPr>
          <p:cNvSpPr>
            <a:spLocks noEditPoints="1"/>
          </p:cNvSpPr>
          <p:nvPr userDrawn="1"/>
        </p:nvSpPr>
        <p:spPr bwMode="auto">
          <a:xfrm>
            <a:off x="9378336" y="8314609"/>
            <a:ext cx="38100" cy="57150"/>
          </a:xfrm>
          <a:custGeom>
            <a:avLst/>
            <a:gdLst>
              <a:gd name="T0" fmla="*/ 12 w 12"/>
              <a:gd name="T1" fmla="*/ 12 h 18"/>
              <a:gd name="T2" fmla="*/ 9 w 12"/>
              <a:gd name="T3" fmla="*/ 15 h 18"/>
              <a:gd name="T4" fmla="*/ 12 w 12"/>
              <a:gd name="T5" fmla="*/ 18 h 18"/>
              <a:gd name="T6" fmla="*/ 12 w 12"/>
              <a:gd name="T7" fmla="*/ 12 h 18"/>
              <a:gd name="T8" fmla="*/ 12 w 12"/>
              <a:gd name="T9" fmla="*/ 12 h 18"/>
              <a:gd name="T10" fmla="*/ 9 w 12"/>
              <a:gd name="T11" fmla="*/ 0 h 18"/>
              <a:gd name="T12" fmla="*/ 6 w 12"/>
              <a:gd name="T13" fmla="*/ 3 h 18"/>
              <a:gd name="T14" fmla="*/ 9 w 12"/>
              <a:gd name="T15" fmla="*/ 9 h 18"/>
              <a:gd name="T16" fmla="*/ 12 w 12"/>
              <a:gd name="T17" fmla="*/ 9 h 18"/>
              <a:gd name="T18" fmla="*/ 9 w 12"/>
              <a:gd name="T19" fmla="*/ 0 h 18"/>
              <a:gd name="T20" fmla="*/ 9 w 12"/>
              <a:gd name="T21" fmla="*/ 0 h 18"/>
              <a:gd name="T22" fmla="*/ 3 w 12"/>
              <a:gd name="T23" fmla="*/ 6 h 18"/>
              <a:gd name="T24" fmla="*/ 6 w 12"/>
              <a:gd name="T25" fmla="*/ 9 h 18"/>
              <a:gd name="T26" fmla="*/ 3 w 12"/>
              <a:gd name="T27" fmla="*/ 15 h 18"/>
              <a:gd name="T28" fmla="*/ 0 w 12"/>
              <a:gd name="T29" fmla="*/ 9 h 18"/>
              <a:gd name="T30" fmla="*/ 0 w 12"/>
              <a:gd name="T31" fmla="*/ 6 h 18"/>
              <a:gd name="T32" fmla="*/ 3 w 12"/>
              <a:gd name="T33"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8">
                <a:moveTo>
                  <a:pt x="12" y="12"/>
                </a:moveTo>
                <a:lnTo>
                  <a:pt x="9" y="15"/>
                </a:lnTo>
                <a:lnTo>
                  <a:pt x="12" y="18"/>
                </a:lnTo>
                <a:lnTo>
                  <a:pt x="12" y="12"/>
                </a:lnTo>
                <a:lnTo>
                  <a:pt x="12" y="12"/>
                </a:lnTo>
                <a:close/>
                <a:moveTo>
                  <a:pt x="9" y="0"/>
                </a:moveTo>
                <a:lnTo>
                  <a:pt x="6" y="3"/>
                </a:lnTo>
                <a:lnTo>
                  <a:pt x="9" y="9"/>
                </a:lnTo>
                <a:lnTo>
                  <a:pt x="12" y="9"/>
                </a:lnTo>
                <a:lnTo>
                  <a:pt x="9" y="0"/>
                </a:lnTo>
                <a:lnTo>
                  <a:pt x="9" y="0"/>
                </a:lnTo>
                <a:close/>
                <a:moveTo>
                  <a:pt x="3" y="6"/>
                </a:moveTo>
                <a:lnTo>
                  <a:pt x="6" y="9"/>
                </a:lnTo>
                <a:lnTo>
                  <a:pt x="3" y="15"/>
                </a:lnTo>
                <a:lnTo>
                  <a:pt x="0" y="9"/>
                </a:lnTo>
                <a:lnTo>
                  <a:pt x="0" y="6"/>
                </a:lnTo>
                <a:lnTo>
                  <a:pt x="3" y="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3" name="Freeform 201">
            <a:extLst>
              <a:ext uri="{FF2B5EF4-FFF2-40B4-BE49-F238E27FC236}">
                <a16:creationId xmlns:a16="http://schemas.microsoft.com/office/drawing/2014/main" id="{017CC1B0-9632-0826-888B-8F1915141D17}"/>
              </a:ext>
            </a:extLst>
          </p:cNvPr>
          <p:cNvSpPr>
            <a:spLocks/>
          </p:cNvSpPr>
          <p:nvPr userDrawn="1"/>
        </p:nvSpPr>
        <p:spPr bwMode="auto">
          <a:xfrm>
            <a:off x="9397388" y="8384456"/>
            <a:ext cx="9525" cy="28576"/>
          </a:xfrm>
          <a:custGeom>
            <a:avLst/>
            <a:gdLst>
              <a:gd name="T0" fmla="*/ 0 w 1"/>
              <a:gd name="T1" fmla="*/ 0 h 3"/>
              <a:gd name="T2" fmla="*/ 1 w 1"/>
              <a:gd name="T3" fmla="*/ 1 h 3"/>
              <a:gd name="T4" fmla="*/ 1 w 1"/>
              <a:gd name="T5" fmla="*/ 3 h 3"/>
              <a:gd name="T6" fmla="*/ 0 w 1"/>
              <a:gd name="T7" fmla="*/ 3 h 3"/>
              <a:gd name="T8" fmla="*/ 0 w 1"/>
              <a:gd name="T9" fmla="*/ 1 h 3"/>
              <a:gd name="T10" fmla="*/ 0 w 1"/>
              <a:gd name="T11" fmla="*/ 0 h 3"/>
            </a:gdLst>
            <a:ahLst/>
            <a:cxnLst>
              <a:cxn ang="0">
                <a:pos x="T0" y="T1"/>
              </a:cxn>
              <a:cxn ang="0">
                <a:pos x="T2" y="T3"/>
              </a:cxn>
              <a:cxn ang="0">
                <a:pos x="T4" y="T5"/>
              </a:cxn>
              <a:cxn ang="0">
                <a:pos x="T6" y="T7"/>
              </a:cxn>
              <a:cxn ang="0">
                <a:pos x="T8" y="T9"/>
              </a:cxn>
              <a:cxn ang="0">
                <a:pos x="T10" y="T11"/>
              </a:cxn>
            </a:cxnLst>
            <a:rect l="0" t="0" r="r" b="b"/>
            <a:pathLst>
              <a:path w="1" h="3">
                <a:moveTo>
                  <a:pt x="0" y="0"/>
                </a:moveTo>
                <a:cubicBezTo>
                  <a:pt x="1" y="1"/>
                  <a:pt x="1" y="1"/>
                  <a:pt x="1" y="1"/>
                </a:cubicBezTo>
                <a:cubicBezTo>
                  <a:pt x="1" y="3"/>
                  <a:pt x="1" y="3"/>
                  <a:pt x="1" y="3"/>
                </a:cubicBezTo>
                <a:cubicBezTo>
                  <a:pt x="0" y="3"/>
                  <a:pt x="0" y="3"/>
                  <a:pt x="0" y="3"/>
                </a:cubicBezTo>
                <a:cubicBezTo>
                  <a:pt x="0" y="1"/>
                  <a:pt x="0" y="1"/>
                  <a:pt x="0" y="1"/>
                </a:cubicBezTo>
                <a:cubicBezTo>
                  <a:pt x="0" y="1"/>
                  <a:pt x="1" y="0"/>
                  <a:pt x="0" y="0"/>
                </a:cubicBez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4" name="Freeform 202">
            <a:extLst>
              <a:ext uri="{FF2B5EF4-FFF2-40B4-BE49-F238E27FC236}">
                <a16:creationId xmlns:a16="http://schemas.microsoft.com/office/drawing/2014/main" id="{53D89D10-7854-3228-CCA2-401329FC8AA3}"/>
              </a:ext>
            </a:extLst>
          </p:cNvPr>
          <p:cNvSpPr>
            <a:spLocks noEditPoints="1"/>
          </p:cNvSpPr>
          <p:nvPr userDrawn="1"/>
        </p:nvSpPr>
        <p:spPr bwMode="auto">
          <a:xfrm>
            <a:off x="9397386" y="8432081"/>
            <a:ext cx="41275" cy="88902"/>
          </a:xfrm>
          <a:custGeom>
            <a:avLst/>
            <a:gdLst>
              <a:gd name="T0" fmla="*/ 10 w 13"/>
              <a:gd name="T1" fmla="*/ 16 h 28"/>
              <a:gd name="T2" fmla="*/ 3 w 13"/>
              <a:gd name="T3" fmla="*/ 22 h 28"/>
              <a:gd name="T4" fmla="*/ 6 w 13"/>
              <a:gd name="T5" fmla="*/ 25 h 28"/>
              <a:gd name="T6" fmla="*/ 10 w 13"/>
              <a:gd name="T7" fmla="*/ 28 h 28"/>
              <a:gd name="T8" fmla="*/ 10 w 13"/>
              <a:gd name="T9" fmla="*/ 22 h 28"/>
              <a:gd name="T10" fmla="*/ 10 w 13"/>
              <a:gd name="T11" fmla="*/ 16 h 28"/>
              <a:gd name="T12" fmla="*/ 10 w 13"/>
              <a:gd name="T13" fmla="*/ 16 h 28"/>
              <a:gd name="T14" fmla="*/ 0 w 13"/>
              <a:gd name="T15" fmla="*/ 0 h 28"/>
              <a:gd name="T16" fmla="*/ 10 w 13"/>
              <a:gd name="T17" fmla="*/ 0 h 28"/>
              <a:gd name="T18" fmla="*/ 13 w 13"/>
              <a:gd name="T19" fmla="*/ 10 h 28"/>
              <a:gd name="T20" fmla="*/ 10 w 13"/>
              <a:gd name="T21" fmla="*/ 13 h 28"/>
              <a:gd name="T22" fmla="*/ 6 w 13"/>
              <a:gd name="T23" fmla="*/ 10 h 28"/>
              <a:gd name="T24" fmla="*/ 6 w 13"/>
              <a:gd name="T25" fmla="*/ 10 h 28"/>
              <a:gd name="T26" fmla="*/ 6 w 13"/>
              <a:gd name="T27" fmla="*/ 7 h 28"/>
              <a:gd name="T28" fmla="*/ 0 w 13"/>
              <a:gd name="T29" fmla="*/ 3 h 28"/>
              <a:gd name="T30" fmla="*/ 0 w 13"/>
              <a:gd name="T3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28">
                <a:moveTo>
                  <a:pt x="10" y="16"/>
                </a:moveTo>
                <a:lnTo>
                  <a:pt x="3" y="22"/>
                </a:lnTo>
                <a:lnTo>
                  <a:pt x="6" y="25"/>
                </a:lnTo>
                <a:lnTo>
                  <a:pt x="10" y="28"/>
                </a:lnTo>
                <a:lnTo>
                  <a:pt x="10" y="22"/>
                </a:lnTo>
                <a:lnTo>
                  <a:pt x="10" y="16"/>
                </a:lnTo>
                <a:lnTo>
                  <a:pt x="10" y="16"/>
                </a:lnTo>
                <a:close/>
                <a:moveTo>
                  <a:pt x="0" y="0"/>
                </a:moveTo>
                <a:lnTo>
                  <a:pt x="10" y="0"/>
                </a:lnTo>
                <a:lnTo>
                  <a:pt x="13" y="10"/>
                </a:lnTo>
                <a:lnTo>
                  <a:pt x="10" y="13"/>
                </a:lnTo>
                <a:lnTo>
                  <a:pt x="6" y="10"/>
                </a:lnTo>
                <a:lnTo>
                  <a:pt x="6" y="10"/>
                </a:lnTo>
                <a:lnTo>
                  <a:pt x="6" y="7"/>
                </a:lnTo>
                <a:lnTo>
                  <a:pt x="0" y="3"/>
                </a:lnTo>
                <a:lnTo>
                  <a:pt x="0"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5" name="Freeform 203">
            <a:extLst>
              <a:ext uri="{FF2B5EF4-FFF2-40B4-BE49-F238E27FC236}">
                <a16:creationId xmlns:a16="http://schemas.microsoft.com/office/drawing/2014/main" id="{22F856E7-7FE7-D54C-3C13-F6428F97EEA2}"/>
              </a:ext>
            </a:extLst>
          </p:cNvPr>
          <p:cNvSpPr>
            <a:spLocks/>
          </p:cNvSpPr>
          <p:nvPr userDrawn="1"/>
        </p:nvSpPr>
        <p:spPr bwMode="auto">
          <a:xfrm>
            <a:off x="9508502" y="8533683"/>
            <a:ext cx="19049" cy="19050"/>
          </a:xfrm>
          <a:custGeom>
            <a:avLst/>
            <a:gdLst>
              <a:gd name="T0" fmla="*/ 3 w 6"/>
              <a:gd name="T1" fmla="*/ 0 h 6"/>
              <a:gd name="T2" fmla="*/ 0 w 6"/>
              <a:gd name="T3" fmla="*/ 3 h 6"/>
              <a:gd name="T4" fmla="*/ 3 w 6"/>
              <a:gd name="T5" fmla="*/ 6 h 6"/>
              <a:gd name="T6" fmla="*/ 6 w 6"/>
              <a:gd name="T7" fmla="*/ 6 h 6"/>
              <a:gd name="T8" fmla="*/ 6 w 6"/>
              <a:gd name="T9" fmla="*/ 3 h 6"/>
              <a:gd name="T10" fmla="*/ 3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3" y="0"/>
                </a:moveTo>
                <a:lnTo>
                  <a:pt x="0" y="3"/>
                </a:lnTo>
                <a:lnTo>
                  <a:pt x="3" y="6"/>
                </a:lnTo>
                <a:lnTo>
                  <a:pt x="6" y="6"/>
                </a:lnTo>
                <a:lnTo>
                  <a:pt x="6" y="3"/>
                </a:lnTo>
                <a:lnTo>
                  <a:pt x="3"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6" name="Freeform 204">
            <a:extLst>
              <a:ext uri="{FF2B5EF4-FFF2-40B4-BE49-F238E27FC236}">
                <a16:creationId xmlns:a16="http://schemas.microsoft.com/office/drawing/2014/main" id="{030E276F-F0D1-B967-8A8B-53C0050D74E0}"/>
              </a:ext>
            </a:extLst>
          </p:cNvPr>
          <p:cNvSpPr>
            <a:spLocks noEditPoints="1"/>
          </p:cNvSpPr>
          <p:nvPr userDrawn="1"/>
        </p:nvSpPr>
        <p:spPr bwMode="auto">
          <a:xfrm>
            <a:off x="9368813" y="8520980"/>
            <a:ext cx="47623" cy="101600"/>
          </a:xfrm>
          <a:custGeom>
            <a:avLst/>
            <a:gdLst>
              <a:gd name="T0" fmla="*/ 3 w 5"/>
              <a:gd name="T1" fmla="*/ 9 h 10"/>
              <a:gd name="T2" fmla="*/ 2 w 5"/>
              <a:gd name="T3" fmla="*/ 8 h 10"/>
              <a:gd name="T4" fmla="*/ 1 w 5"/>
              <a:gd name="T5" fmla="*/ 8 h 10"/>
              <a:gd name="T6" fmla="*/ 0 w 5"/>
              <a:gd name="T7" fmla="*/ 10 h 10"/>
              <a:gd name="T8" fmla="*/ 2 w 5"/>
              <a:gd name="T9" fmla="*/ 10 h 10"/>
              <a:gd name="T10" fmla="*/ 3 w 5"/>
              <a:gd name="T11" fmla="*/ 9 h 10"/>
              <a:gd name="T12" fmla="*/ 3 w 5"/>
              <a:gd name="T13" fmla="*/ 6 h 10"/>
              <a:gd name="T14" fmla="*/ 4 w 5"/>
              <a:gd name="T15" fmla="*/ 7 h 10"/>
              <a:gd name="T16" fmla="*/ 3 w 5"/>
              <a:gd name="T17" fmla="*/ 7 h 10"/>
              <a:gd name="T18" fmla="*/ 3 w 5"/>
              <a:gd name="T19" fmla="*/ 6 h 10"/>
              <a:gd name="T20" fmla="*/ 4 w 5"/>
              <a:gd name="T21" fmla="*/ 0 h 10"/>
              <a:gd name="T22" fmla="*/ 5 w 5"/>
              <a:gd name="T23" fmla="*/ 2 h 10"/>
              <a:gd name="T24" fmla="*/ 4 w 5"/>
              <a:gd name="T25" fmla="*/ 4 h 10"/>
              <a:gd name="T26" fmla="*/ 4 w 5"/>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0">
                <a:moveTo>
                  <a:pt x="3" y="9"/>
                </a:moveTo>
                <a:cubicBezTo>
                  <a:pt x="2" y="8"/>
                  <a:pt x="2" y="8"/>
                  <a:pt x="2" y="8"/>
                </a:cubicBezTo>
                <a:cubicBezTo>
                  <a:pt x="1" y="8"/>
                  <a:pt x="1" y="8"/>
                  <a:pt x="1" y="8"/>
                </a:cubicBezTo>
                <a:cubicBezTo>
                  <a:pt x="0" y="10"/>
                  <a:pt x="0" y="10"/>
                  <a:pt x="0" y="10"/>
                </a:cubicBezTo>
                <a:cubicBezTo>
                  <a:pt x="2" y="10"/>
                  <a:pt x="2" y="10"/>
                  <a:pt x="2" y="10"/>
                </a:cubicBezTo>
                <a:cubicBezTo>
                  <a:pt x="3" y="9"/>
                  <a:pt x="3" y="9"/>
                  <a:pt x="3" y="9"/>
                </a:cubicBezTo>
                <a:close/>
                <a:moveTo>
                  <a:pt x="3" y="6"/>
                </a:moveTo>
                <a:cubicBezTo>
                  <a:pt x="4" y="7"/>
                  <a:pt x="4" y="7"/>
                  <a:pt x="4" y="7"/>
                </a:cubicBezTo>
                <a:cubicBezTo>
                  <a:pt x="3" y="7"/>
                  <a:pt x="3" y="7"/>
                  <a:pt x="3" y="7"/>
                </a:cubicBezTo>
                <a:cubicBezTo>
                  <a:pt x="3" y="7"/>
                  <a:pt x="3" y="6"/>
                  <a:pt x="3" y="6"/>
                </a:cubicBezTo>
                <a:close/>
                <a:moveTo>
                  <a:pt x="4" y="0"/>
                </a:moveTo>
                <a:cubicBezTo>
                  <a:pt x="5" y="2"/>
                  <a:pt x="5" y="2"/>
                  <a:pt x="5" y="2"/>
                </a:cubicBezTo>
                <a:cubicBezTo>
                  <a:pt x="4" y="4"/>
                  <a:pt x="4" y="4"/>
                  <a:pt x="4" y="4"/>
                </a:cubicBezTo>
                <a:lnTo>
                  <a:pt x="4"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7" name="Freeform 206">
            <a:extLst>
              <a:ext uri="{FF2B5EF4-FFF2-40B4-BE49-F238E27FC236}">
                <a16:creationId xmlns:a16="http://schemas.microsoft.com/office/drawing/2014/main" id="{9A5B5C91-D579-9050-0555-59DDAEBAE129}"/>
              </a:ext>
            </a:extLst>
          </p:cNvPr>
          <p:cNvSpPr>
            <a:spLocks noEditPoints="1"/>
          </p:cNvSpPr>
          <p:nvPr userDrawn="1"/>
        </p:nvSpPr>
        <p:spPr bwMode="auto">
          <a:xfrm>
            <a:off x="9359288" y="8670208"/>
            <a:ext cx="88896" cy="79376"/>
          </a:xfrm>
          <a:custGeom>
            <a:avLst/>
            <a:gdLst>
              <a:gd name="T0" fmla="*/ 22 w 28"/>
              <a:gd name="T1" fmla="*/ 3 h 25"/>
              <a:gd name="T2" fmla="*/ 28 w 28"/>
              <a:gd name="T3" fmla="*/ 0 h 25"/>
              <a:gd name="T4" fmla="*/ 25 w 28"/>
              <a:gd name="T5" fmla="*/ 3 h 25"/>
              <a:gd name="T6" fmla="*/ 22 w 28"/>
              <a:gd name="T7" fmla="*/ 3 h 25"/>
              <a:gd name="T8" fmla="*/ 22 w 28"/>
              <a:gd name="T9" fmla="*/ 3 h 25"/>
              <a:gd name="T10" fmla="*/ 22 w 28"/>
              <a:gd name="T11" fmla="*/ 7 h 25"/>
              <a:gd name="T12" fmla="*/ 12 w 28"/>
              <a:gd name="T13" fmla="*/ 10 h 25"/>
              <a:gd name="T14" fmla="*/ 9 w 28"/>
              <a:gd name="T15" fmla="*/ 7 h 25"/>
              <a:gd name="T16" fmla="*/ 6 w 28"/>
              <a:gd name="T17" fmla="*/ 10 h 25"/>
              <a:gd name="T18" fmla="*/ 3 w 28"/>
              <a:gd name="T19" fmla="*/ 10 h 25"/>
              <a:gd name="T20" fmla="*/ 9 w 28"/>
              <a:gd name="T21" fmla="*/ 13 h 25"/>
              <a:gd name="T22" fmla="*/ 9 w 28"/>
              <a:gd name="T23" fmla="*/ 19 h 25"/>
              <a:gd name="T24" fmla="*/ 6 w 28"/>
              <a:gd name="T25" fmla="*/ 22 h 25"/>
              <a:gd name="T26" fmla="*/ 0 w 28"/>
              <a:gd name="T27" fmla="*/ 22 h 25"/>
              <a:gd name="T28" fmla="*/ 6 w 28"/>
              <a:gd name="T29" fmla="*/ 25 h 25"/>
              <a:gd name="T30" fmla="*/ 15 w 28"/>
              <a:gd name="T31" fmla="*/ 22 h 25"/>
              <a:gd name="T32" fmla="*/ 18 w 28"/>
              <a:gd name="T33" fmla="*/ 19 h 25"/>
              <a:gd name="T34" fmla="*/ 18 w 28"/>
              <a:gd name="T35" fmla="*/ 16 h 25"/>
              <a:gd name="T36" fmla="*/ 15 w 28"/>
              <a:gd name="T37" fmla="*/ 13 h 25"/>
              <a:gd name="T38" fmla="*/ 22 w 28"/>
              <a:gd name="T39" fmla="*/ 7 h 25"/>
              <a:gd name="T40" fmla="*/ 22 w 28"/>
              <a:gd name="T41"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25">
                <a:moveTo>
                  <a:pt x="22" y="3"/>
                </a:moveTo>
                <a:lnTo>
                  <a:pt x="28" y="0"/>
                </a:lnTo>
                <a:lnTo>
                  <a:pt x="25" y="3"/>
                </a:lnTo>
                <a:lnTo>
                  <a:pt x="22" y="3"/>
                </a:lnTo>
                <a:lnTo>
                  <a:pt x="22" y="3"/>
                </a:lnTo>
                <a:close/>
                <a:moveTo>
                  <a:pt x="22" y="7"/>
                </a:moveTo>
                <a:lnTo>
                  <a:pt x="12" y="10"/>
                </a:lnTo>
                <a:lnTo>
                  <a:pt x="9" y="7"/>
                </a:lnTo>
                <a:lnTo>
                  <a:pt x="6" y="10"/>
                </a:lnTo>
                <a:lnTo>
                  <a:pt x="3" y="10"/>
                </a:lnTo>
                <a:lnTo>
                  <a:pt x="9" y="13"/>
                </a:lnTo>
                <a:lnTo>
                  <a:pt x="9" y="19"/>
                </a:lnTo>
                <a:lnTo>
                  <a:pt x="6" y="22"/>
                </a:lnTo>
                <a:lnTo>
                  <a:pt x="0" y="22"/>
                </a:lnTo>
                <a:lnTo>
                  <a:pt x="6" y="25"/>
                </a:lnTo>
                <a:lnTo>
                  <a:pt x="15" y="22"/>
                </a:lnTo>
                <a:lnTo>
                  <a:pt x="18" y="19"/>
                </a:lnTo>
                <a:lnTo>
                  <a:pt x="18" y="16"/>
                </a:lnTo>
                <a:lnTo>
                  <a:pt x="15" y="13"/>
                </a:lnTo>
                <a:lnTo>
                  <a:pt x="22" y="7"/>
                </a:lnTo>
                <a:lnTo>
                  <a:pt x="22" y="7"/>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10" name="TextBox 1809">
            <a:extLst>
              <a:ext uri="{FF2B5EF4-FFF2-40B4-BE49-F238E27FC236}">
                <a16:creationId xmlns:a16="http://schemas.microsoft.com/office/drawing/2014/main" id="{5C9C8613-F3BE-4825-58D3-4A2EE0066D6E}"/>
              </a:ext>
            </a:extLst>
          </p:cNvPr>
          <p:cNvSpPr txBox="1"/>
          <p:nvPr userDrawn="1"/>
        </p:nvSpPr>
        <p:spPr>
          <a:xfrm>
            <a:off x="22416464" y="13226642"/>
            <a:ext cx="1872086" cy="400110"/>
          </a:xfrm>
          <a:prstGeom prst="rect">
            <a:avLst/>
          </a:prstGeom>
          <a:noFill/>
        </p:spPr>
        <p:txBody>
          <a:bodyPr wrap="square" rtlCol="0" anchor="b">
            <a:spAutoFit/>
          </a:bodyPr>
          <a:lstStyle/>
          <a:p>
            <a:pPr marL="0" marR="0" lvl="0" indent="0" algn="r" defTabSz="1828663" rtl="0" eaLnBrk="1" fontAlgn="auto" latinLnBrk="0" hangingPunct="1">
              <a:lnSpc>
                <a:spcPct val="100000"/>
              </a:lnSpc>
              <a:spcBef>
                <a:spcPts val="0"/>
              </a:spcBef>
              <a:spcAft>
                <a:spcPts val="0"/>
              </a:spcAft>
              <a:buClrTx/>
              <a:buSzTx/>
              <a:buFontTx/>
              <a:buNone/>
              <a:tabLst/>
              <a:defRPr/>
            </a:pPr>
            <a:fld id="{6CE035FB-656D-BE4C-9C54-3AFE6E724348}" type="slidenum">
              <a:rPr kumimoji="0" lang="en-GB" sz="2000" b="0" i="0" u="none" strike="noStrike" kern="1200" cap="none" spc="0" normalizeH="0" baseline="0" noProof="0" smtClean="0">
                <a:ln>
                  <a:noFill/>
                </a:ln>
                <a:solidFill>
                  <a:srgbClr val="000000"/>
                </a:solidFill>
                <a:effectLst/>
                <a:uLnTx/>
                <a:uFillTx/>
                <a:latin typeface="Noto IKEA Latin" panose="020B0502040504020204" pitchFamily="34" charset="0"/>
                <a:ea typeface="+mn-ea"/>
                <a:cs typeface="+mn-cs"/>
              </a:rPr>
              <a:pPr marL="0" marR="0" lvl="0" indent="0" algn="r" defTabSz="1828663" rtl="0" eaLnBrk="1" fontAlgn="auto" latinLnBrk="0" hangingPunct="1">
                <a:lnSpc>
                  <a:spcPct val="100000"/>
                </a:lnSpc>
                <a:spcBef>
                  <a:spcPts val="0"/>
                </a:spcBef>
                <a:spcAft>
                  <a:spcPts val="0"/>
                </a:spcAft>
                <a:buClrTx/>
                <a:buSzTx/>
                <a:buFontTx/>
                <a:buNone/>
                <a:tabLst/>
                <a:defRPr/>
              </a:pPr>
              <a:t>‹#›</a:t>
            </a:fld>
            <a:endParaRPr kumimoji="0" lang="en-GB" sz="2000" b="0" i="0" u="none" strike="noStrike" kern="1200" cap="none" spc="0" normalizeH="0" baseline="0" noProof="0">
              <a:ln>
                <a:noFill/>
              </a:ln>
              <a:solidFill>
                <a:srgbClr val="000000"/>
              </a:solidFill>
              <a:effectLst/>
              <a:uLnTx/>
              <a:uFillTx/>
              <a:latin typeface="Noto IKEA Latin" panose="020B0502040504020204" pitchFamily="34" charset="0"/>
              <a:ea typeface="+mn-ea"/>
              <a:cs typeface="+mn-cs"/>
            </a:endParaRPr>
          </a:p>
        </p:txBody>
      </p:sp>
    </p:spTree>
    <p:extLst>
      <p:ext uri="{BB962C8B-B14F-4D97-AF65-F5344CB8AC3E}">
        <p14:creationId xmlns:p14="http://schemas.microsoft.com/office/powerpoint/2010/main" val="299308200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183125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D12FB-007C-E993-1671-BCA3538C413C}"/>
              </a:ext>
            </a:extLst>
          </p:cNvPr>
          <p:cNvSpPr>
            <a:spLocks noGrp="1"/>
          </p:cNvSpPr>
          <p:nvPr>
            <p:ph type="ctrTitle"/>
          </p:nvPr>
        </p:nvSpPr>
        <p:spPr>
          <a:xfrm>
            <a:off x="3047802" y="2244726"/>
            <a:ext cx="18286810" cy="4775200"/>
          </a:xfrm>
        </p:spPr>
        <p:txBody>
          <a:bodyPr anchor="b"/>
          <a:lstStyle>
            <a:lvl1pPr algn="ctr">
              <a:defRPr sz="11999"/>
            </a:lvl1pPr>
          </a:lstStyle>
          <a:p>
            <a:r>
              <a:rPr lang="en-US"/>
              <a:t>Click to edit Master title style</a:t>
            </a:r>
            <a:endParaRPr lang="sv-SE"/>
          </a:p>
        </p:txBody>
      </p:sp>
      <p:sp>
        <p:nvSpPr>
          <p:cNvPr id="3" name="Subtitle 2">
            <a:extLst>
              <a:ext uri="{FF2B5EF4-FFF2-40B4-BE49-F238E27FC236}">
                <a16:creationId xmlns:a16="http://schemas.microsoft.com/office/drawing/2014/main" id="{3490E685-1B22-A714-1020-93E3626819D6}"/>
              </a:ext>
            </a:extLst>
          </p:cNvPr>
          <p:cNvSpPr>
            <a:spLocks noGrp="1"/>
          </p:cNvSpPr>
          <p:nvPr>
            <p:ph type="subTitle" idx="1"/>
          </p:nvPr>
        </p:nvSpPr>
        <p:spPr>
          <a:xfrm>
            <a:off x="3047802" y="7204076"/>
            <a:ext cx="18286810" cy="3311524"/>
          </a:xfrm>
        </p:spPr>
        <p:txBody>
          <a:bodyPr/>
          <a:lstStyle>
            <a:lvl1pPr marL="0" indent="0" algn="ctr">
              <a:buNone/>
              <a:defRPr sz="4800"/>
            </a:lvl1pPr>
            <a:lvl2pPr marL="914354" indent="0" algn="ctr">
              <a:buNone/>
              <a:defRPr sz="4000"/>
            </a:lvl2pPr>
            <a:lvl3pPr marL="1828709" indent="0" algn="ctr">
              <a:buNone/>
              <a:defRPr sz="3600"/>
            </a:lvl3pPr>
            <a:lvl4pPr marL="2743063" indent="0" algn="ctr">
              <a:buNone/>
              <a:defRPr sz="3200"/>
            </a:lvl4pPr>
            <a:lvl5pPr marL="3657417" indent="0" algn="ctr">
              <a:buNone/>
              <a:defRPr sz="3200"/>
            </a:lvl5pPr>
            <a:lvl6pPr marL="4571771" indent="0" algn="ctr">
              <a:buNone/>
              <a:defRPr sz="3200"/>
            </a:lvl6pPr>
            <a:lvl7pPr marL="5486126" indent="0" algn="ctr">
              <a:buNone/>
              <a:defRPr sz="3200"/>
            </a:lvl7pPr>
            <a:lvl8pPr marL="6400480" indent="0" algn="ctr">
              <a:buNone/>
              <a:defRPr sz="3200"/>
            </a:lvl8pPr>
            <a:lvl9pPr marL="7314834" indent="0" algn="ctr">
              <a:buNone/>
              <a:defRPr sz="3200"/>
            </a:lvl9pPr>
          </a:lstStyle>
          <a:p>
            <a:r>
              <a:rPr lang="en-US"/>
              <a:t>Click to edit Master subtitle style</a:t>
            </a:r>
            <a:endParaRPr lang="sv-SE"/>
          </a:p>
        </p:txBody>
      </p:sp>
      <p:sp>
        <p:nvSpPr>
          <p:cNvPr id="4" name="Date Placeholder 3">
            <a:extLst>
              <a:ext uri="{FF2B5EF4-FFF2-40B4-BE49-F238E27FC236}">
                <a16:creationId xmlns:a16="http://schemas.microsoft.com/office/drawing/2014/main" id="{E67272C8-0327-8F6E-9EF9-7AC1A8835BA3}"/>
              </a:ext>
            </a:extLst>
          </p:cNvPr>
          <p:cNvSpPr>
            <a:spLocks noGrp="1"/>
          </p:cNvSpPr>
          <p:nvPr>
            <p:ph type="dt" sz="half" idx="10"/>
          </p:nvPr>
        </p:nvSpPr>
        <p:spPr/>
        <p:txBody>
          <a:bodyPr/>
          <a:lstStyle/>
          <a:p>
            <a:fld id="{20926E17-B543-4D76-B970-6253C4B8442A}" type="datetimeFigureOut">
              <a:rPr lang="sv-SE" smtClean="0"/>
              <a:t>2025-03-12</a:t>
            </a:fld>
            <a:endParaRPr lang="sv-SE"/>
          </a:p>
        </p:txBody>
      </p:sp>
      <p:sp>
        <p:nvSpPr>
          <p:cNvPr id="5" name="Footer Placeholder 4">
            <a:extLst>
              <a:ext uri="{FF2B5EF4-FFF2-40B4-BE49-F238E27FC236}">
                <a16:creationId xmlns:a16="http://schemas.microsoft.com/office/drawing/2014/main" id="{40811CC2-43BA-2831-3F3B-53BA88AE8672}"/>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A838B98C-C099-E277-8DD0-57C5A69A83DB}"/>
              </a:ext>
            </a:extLst>
          </p:cNvPr>
          <p:cNvSpPr>
            <a:spLocks noGrp="1"/>
          </p:cNvSpPr>
          <p:nvPr>
            <p:ph type="sldNum" sz="quarter" idx="12"/>
          </p:nvPr>
        </p:nvSpPr>
        <p:spPr/>
        <p:txBody>
          <a:bodyPr/>
          <a:lstStyle/>
          <a:p>
            <a:fld id="{CCBBBECB-B119-478B-8096-D4B1B1F652A1}" type="slidenum">
              <a:rPr lang="sv-SE" smtClean="0"/>
              <a:t>‹#›</a:t>
            </a:fld>
            <a:endParaRPr lang="sv-SE"/>
          </a:p>
        </p:txBody>
      </p:sp>
    </p:spTree>
    <p:extLst>
      <p:ext uri="{BB962C8B-B14F-4D97-AF65-F5344CB8AC3E}">
        <p14:creationId xmlns:p14="http://schemas.microsoft.com/office/powerpoint/2010/main" val="158398770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 simple background">
    <p:bg>
      <p:bgPr>
        <a:solidFill>
          <a:schemeClr val="bg1"/>
        </a:solidFill>
        <a:effectLst/>
      </p:bgPr>
    </p:bg>
    <p:spTree>
      <p:nvGrpSpPr>
        <p:cNvPr id="1" name=""/>
        <p:cNvGrpSpPr/>
        <p:nvPr/>
      </p:nvGrpSpPr>
      <p:grpSpPr>
        <a:xfrm>
          <a:off x="0" y="0"/>
          <a:ext cx="0" cy="0"/>
          <a:chOff x="0" y="0"/>
          <a:chExt cx="0" cy="0"/>
        </a:xfrm>
      </p:grpSpPr>
      <p:sp>
        <p:nvSpPr>
          <p:cNvPr id="3" name="Picture Placeholder 10">
            <a:extLst>
              <a:ext uri="{FF2B5EF4-FFF2-40B4-BE49-F238E27FC236}">
                <a16:creationId xmlns:a16="http://schemas.microsoft.com/office/drawing/2014/main" id="{2F11C4C6-DEAB-AFC3-A6A2-6B3BD0CF1E78}"/>
              </a:ext>
            </a:extLst>
          </p:cNvPr>
          <p:cNvSpPr>
            <a:spLocks noGrp="1"/>
          </p:cNvSpPr>
          <p:nvPr>
            <p:ph type="pic" sz="quarter" idx="14" hasCustomPrompt="1"/>
          </p:nvPr>
        </p:nvSpPr>
        <p:spPr>
          <a:xfrm>
            <a:off x="491206" y="486000"/>
            <a:ext cx="23400001" cy="12747400"/>
          </a:xfrm>
          <a:custGeom>
            <a:avLst/>
            <a:gdLst>
              <a:gd name="connsiteX0" fmla="*/ 0 w 23400000"/>
              <a:gd name="connsiteY0" fmla="*/ 0 h 12744000"/>
              <a:gd name="connsiteX1" fmla="*/ 23400000 w 23400000"/>
              <a:gd name="connsiteY1" fmla="*/ 0 h 12744000"/>
              <a:gd name="connsiteX2" fmla="*/ 23400000 w 23400000"/>
              <a:gd name="connsiteY2" fmla="*/ 12744000 h 12744000"/>
              <a:gd name="connsiteX3" fmla="*/ 0 w 23400000"/>
              <a:gd name="connsiteY3" fmla="*/ 12744000 h 12744000"/>
              <a:gd name="connsiteX4" fmla="*/ 0 w 23400000"/>
              <a:gd name="connsiteY4" fmla="*/ 0 h 12744000"/>
              <a:gd name="connsiteX0" fmla="*/ 0 w 23400000"/>
              <a:gd name="connsiteY0" fmla="*/ 0 h 12744000"/>
              <a:gd name="connsiteX1" fmla="*/ 23400000 w 23400000"/>
              <a:gd name="connsiteY1" fmla="*/ 0 h 12744000"/>
              <a:gd name="connsiteX2" fmla="*/ 23394405 w 23400000"/>
              <a:gd name="connsiteY2" fmla="*/ 9831892 h 12744000"/>
              <a:gd name="connsiteX3" fmla="*/ 23400000 w 23400000"/>
              <a:gd name="connsiteY3" fmla="*/ 12744000 h 12744000"/>
              <a:gd name="connsiteX4" fmla="*/ 0 w 23400000"/>
              <a:gd name="connsiteY4" fmla="*/ 12744000 h 12744000"/>
              <a:gd name="connsiteX5" fmla="*/ 0 w 23400000"/>
              <a:gd name="connsiteY5" fmla="*/ 0 h 12744000"/>
              <a:gd name="connsiteX0" fmla="*/ 0 w 23400000"/>
              <a:gd name="connsiteY0" fmla="*/ 0 h 12747400"/>
              <a:gd name="connsiteX1" fmla="*/ 23400000 w 23400000"/>
              <a:gd name="connsiteY1" fmla="*/ 0 h 12747400"/>
              <a:gd name="connsiteX2" fmla="*/ 23394405 w 23400000"/>
              <a:gd name="connsiteY2" fmla="*/ 9831892 h 12747400"/>
              <a:gd name="connsiteX3" fmla="*/ 23400000 w 23400000"/>
              <a:gd name="connsiteY3" fmla="*/ 12744000 h 12747400"/>
              <a:gd name="connsiteX4" fmla="*/ 17828544 w 23400000"/>
              <a:gd name="connsiteY4" fmla="*/ 12747400 h 12747400"/>
              <a:gd name="connsiteX5" fmla="*/ 0 w 23400000"/>
              <a:gd name="connsiteY5" fmla="*/ 12744000 h 12747400"/>
              <a:gd name="connsiteX6" fmla="*/ 0 w 23400000"/>
              <a:gd name="connsiteY6" fmla="*/ 0 h 12747400"/>
              <a:gd name="connsiteX0" fmla="*/ 0 w 23400000"/>
              <a:gd name="connsiteY0" fmla="*/ 0 h 12747400"/>
              <a:gd name="connsiteX1" fmla="*/ 23400000 w 23400000"/>
              <a:gd name="connsiteY1" fmla="*/ 0 h 12747400"/>
              <a:gd name="connsiteX2" fmla="*/ 23394405 w 23400000"/>
              <a:gd name="connsiteY2" fmla="*/ 9831892 h 12747400"/>
              <a:gd name="connsiteX3" fmla="*/ 17831050 w 23400000"/>
              <a:gd name="connsiteY3" fmla="*/ 9829350 h 12747400"/>
              <a:gd name="connsiteX4" fmla="*/ 17828544 w 23400000"/>
              <a:gd name="connsiteY4" fmla="*/ 12747400 h 12747400"/>
              <a:gd name="connsiteX5" fmla="*/ 0 w 23400000"/>
              <a:gd name="connsiteY5" fmla="*/ 12744000 h 12747400"/>
              <a:gd name="connsiteX6" fmla="*/ 0 w 23400000"/>
              <a:gd name="connsiteY6" fmla="*/ 0 h 12747400"/>
              <a:gd name="connsiteX0" fmla="*/ 0 w 23400000"/>
              <a:gd name="connsiteY0" fmla="*/ 0 h 12747400"/>
              <a:gd name="connsiteX1" fmla="*/ 23400000 w 23400000"/>
              <a:gd name="connsiteY1" fmla="*/ 0 h 12747400"/>
              <a:gd name="connsiteX2" fmla="*/ 23394405 w 23400000"/>
              <a:gd name="connsiteY2" fmla="*/ 9831892 h 12747400"/>
              <a:gd name="connsiteX3" fmla="*/ 17831050 w 23400000"/>
              <a:gd name="connsiteY3" fmla="*/ 9833176 h 12747400"/>
              <a:gd name="connsiteX4" fmla="*/ 17828544 w 23400000"/>
              <a:gd name="connsiteY4" fmla="*/ 12747400 h 12747400"/>
              <a:gd name="connsiteX5" fmla="*/ 0 w 23400000"/>
              <a:gd name="connsiteY5" fmla="*/ 12744000 h 12747400"/>
              <a:gd name="connsiteX6" fmla="*/ 0 w 23400000"/>
              <a:gd name="connsiteY6" fmla="*/ 0 h 1274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400000" h="12747400">
                <a:moveTo>
                  <a:pt x="0" y="0"/>
                </a:moveTo>
                <a:lnTo>
                  <a:pt x="23400000" y="0"/>
                </a:lnTo>
                <a:lnTo>
                  <a:pt x="23394405" y="9831892"/>
                </a:lnTo>
                <a:lnTo>
                  <a:pt x="17831050" y="9833176"/>
                </a:lnTo>
                <a:cubicBezTo>
                  <a:pt x="17830215" y="10805859"/>
                  <a:pt x="17829379" y="11774717"/>
                  <a:pt x="17828544" y="12747400"/>
                </a:cubicBezTo>
                <a:lnTo>
                  <a:pt x="0" y="12744000"/>
                </a:lnTo>
                <a:lnTo>
                  <a:pt x="0" y="0"/>
                </a:lnTo>
                <a:close/>
              </a:path>
            </a:pathLst>
          </a:custGeom>
          <a:solidFill>
            <a:schemeClr val="bg1">
              <a:lumMod val="95000"/>
            </a:schemeClr>
          </a:solidFill>
        </p:spPr>
        <p:txBody>
          <a:bodyPr>
            <a:normAutofit/>
          </a:bodyPr>
          <a:lstStyle>
            <a:lvl1pPr marL="0" marR="0" indent="0" algn="ctr" defTabSz="1828573" rtl="0" eaLnBrk="1" fontAlgn="auto" latinLnBrk="0" hangingPunct="1">
              <a:lnSpc>
                <a:spcPct val="10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sv-SE"/>
              <a:t>Drag </a:t>
            </a:r>
            <a:r>
              <a:rPr lang="en-NL"/>
              <a:t>and drop a background image into this fram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3059999" y="3402014"/>
            <a:ext cx="12156189" cy="6911976"/>
          </a:xfrm>
          <a:prstGeom prst="rect">
            <a:avLst/>
          </a:prstGeom>
          <a:solidFill>
            <a:schemeClr val="bg1"/>
          </a:solidFill>
        </p:spPr>
        <p:txBody>
          <a:bodyPr vert="horz" lIns="720000" tIns="540000" rIns="360000" bIns="360000" rtlCol="0" anchor="t">
            <a:noAutofit/>
          </a:bodyPr>
          <a:lstStyle>
            <a:lvl1pPr>
              <a:defRPr/>
            </a:lvl1pPr>
          </a:lstStyle>
          <a:p>
            <a:r>
              <a:rPr lang="en-GB" noProof="0"/>
              <a:t>Put the title here,</a:t>
            </a:r>
            <a:br>
              <a:rPr lang="en-GB" noProof="0"/>
            </a:br>
            <a:r>
              <a:rPr lang="en-GB" noProof="0"/>
              <a:t>keep it bold 80 </a:t>
            </a:r>
            <a:r>
              <a:rPr lang="en-GB" noProof="0" err="1"/>
              <a:t>pt</a:t>
            </a:r>
            <a:br>
              <a:rPr lang="en-GB" noProof="0"/>
            </a:br>
            <a:endParaRPr lang="en-GB" noProof="0"/>
          </a:p>
        </p:txBody>
      </p:sp>
      <p:pic>
        <p:nvPicPr>
          <p:cNvPr id="16" name="Picture 15">
            <a:extLst>
              <a:ext uri="{FF2B5EF4-FFF2-40B4-BE49-F238E27FC236}">
                <a16:creationId xmlns:a16="http://schemas.microsoft.com/office/drawing/2014/main" id="{B318DE6B-1EB2-D248-BE9E-1B173597E1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32676" y="10313988"/>
            <a:ext cx="5058531" cy="3402012"/>
          </a:xfrm>
          <a:prstGeom prst="rect">
            <a:avLst/>
          </a:prstGeom>
        </p:spPr>
      </p:pic>
    </p:spTree>
    <p:extLst>
      <p:ext uri="{BB962C8B-B14F-4D97-AF65-F5344CB8AC3E}">
        <p14:creationId xmlns:p14="http://schemas.microsoft.com/office/powerpoint/2010/main" val="176520071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 double background">
    <p:bg>
      <p:bgPr>
        <a:solidFill>
          <a:schemeClr val="bg1"/>
        </a:solidFill>
        <a:effectLst/>
      </p:bgPr>
    </p:bg>
    <p:spTree>
      <p:nvGrpSpPr>
        <p:cNvPr id="1" name=""/>
        <p:cNvGrpSpPr/>
        <p:nvPr/>
      </p:nvGrpSpPr>
      <p:grpSpPr>
        <a:xfrm>
          <a:off x="0" y="0"/>
          <a:ext cx="0" cy="0"/>
          <a:chOff x="0" y="0"/>
          <a:chExt cx="0" cy="0"/>
        </a:xfrm>
      </p:grpSpPr>
      <p:sp>
        <p:nvSpPr>
          <p:cNvPr id="2" name="Picture Placeholder 10">
            <a:extLst>
              <a:ext uri="{FF2B5EF4-FFF2-40B4-BE49-F238E27FC236}">
                <a16:creationId xmlns:a16="http://schemas.microsoft.com/office/drawing/2014/main" id="{DAF73074-2E04-AA55-418B-D0B0A182F573}"/>
              </a:ext>
            </a:extLst>
          </p:cNvPr>
          <p:cNvSpPr>
            <a:spLocks noGrp="1"/>
          </p:cNvSpPr>
          <p:nvPr>
            <p:ph type="pic" sz="quarter" idx="15" hasCustomPrompt="1"/>
          </p:nvPr>
        </p:nvSpPr>
        <p:spPr>
          <a:xfrm>
            <a:off x="491102" y="486000"/>
            <a:ext cx="8674687" cy="12744000"/>
          </a:xfrm>
          <a:solidFill>
            <a:schemeClr val="bg1">
              <a:lumMod val="8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14" name="Picture Placeholder 6">
            <a:extLst>
              <a:ext uri="{FF2B5EF4-FFF2-40B4-BE49-F238E27FC236}">
                <a16:creationId xmlns:a16="http://schemas.microsoft.com/office/drawing/2014/main" id="{692D6ABC-8D9C-1E47-A2A8-2DC39B83F77E}"/>
              </a:ext>
            </a:extLst>
          </p:cNvPr>
          <p:cNvSpPr>
            <a:spLocks noGrp="1"/>
          </p:cNvSpPr>
          <p:nvPr>
            <p:ph type="pic" sz="quarter" idx="19" hasCustomPrompt="1"/>
          </p:nvPr>
        </p:nvSpPr>
        <p:spPr>
          <a:xfrm>
            <a:off x="9165792" y="486000"/>
            <a:ext cx="14725416" cy="12744000"/>
          </a:xfrm>
          <a:custGeom>
            <a:avLst/>
            <a:gdLst>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4730 w 23399999"/>
              <a:gd name="connsiteY8"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1337594 w 23399999"/>
              <a:gd name="connsiteY8" fmla="*/ 1164380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56794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5 w 23400000"/>
              <a:gd name="connsiteY4" fmla="*/ 9824813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603855 w 23439125"/>
              <a:gd name="connsiteY0" fmla="*/ 331220 h 13075220"/>
              <a:gd name="connsiteX1" fmla="*/ 23439124 w 23439125"/>
              <a:gd name="connsiteY1" fmla="*/ 331220 h 13075220"/>
              <a:gd name="connsiteX2" fmla="*/ 23439124 w 23439125"/>
              <a:gd name="connsiteY2" fmla="*/ 331220 h 13075220"/>
              <a:gd name="connsiteX3" fmla="*/ 23439125 w 23439125"/>
              <a:gd name="connsiteY3" fmla="*/ 10162828 h 13075220"/>
              <a:gd name="connsiteX4" fmla="*/ 17859729 w 23439125"/>
              <a:gd name="connsiteY4" fmla="*/ 10156033 h 13075220"/>
              <a:gd name="connsiteX5" fmla="*/ 17859730 w 23439125"/>
              <a:gd name="connsiteY5" fmla="*/ 13075220 h 13075220"/>
              <a:gd name="connsiteX6" fmla="*/ 39125 w 23439125"/>
              <a:gd name="connsiteY6" fmla="*/ 13075220 h 13075220"/>
              <a:gd name="connsiteX7" fmla="*/ 39125 w 23439125"/>
              <a:gd name="connsiteY7" fmla="*/ 13075220 h 13075220"/>
              <a:gd name="connsiteX8" fmla="*/ 39125 w 23439125"/>
              <a:gd name="connsiteY8" fmla="*/ 1182480 h 13075220"/>
              <a:gd name="connsiteX9" fmla="*/ 2603855 w 23439125"/>
              <a:gd name="connsiteY9" fmla="*/ 331220 h 1307522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2564730 w 23400000"/>
              <a:gd name="connsiteY8" fmla="*/ 0 h 12744000"/>
              <a:gd name="connsiteX0" fmla="*/ 869121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8691210 w 23400000"/>
              <a:gd name="connsiteY8" fmla="*/ 0 h 12744000"/>
              <a:gd name="connsiteX0" fmla="*/ 8674584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8674584 w 23400000"/>
              <a:gd name="connsiteY8" fmla="*/ 0 h 12744000"/>
              <a:gd name="connsiteX0" fmla="*/ 8674584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8674584 w 23400000"/>
              <a:gd name="connsiteY7" fmla="*/ 0 h 12744000"/>
              <a:gd name="connsiteX0" fmla="*/ 0 w 14725416"/>
              <a:gd name="connsiteY0" fmla="*/ 0 h 12744000"/>
              <a:gd name="connsiteX1" fmla="*/ 14725415 w 14725416"/>
              <a:gd name="connsiteY1" fmla="*/ 0 h 12744000"/>
              <a:gd name="connsiteX2" fmla="*/ 14725415 w 14725416"/>
              <a:gd name="connsiteY2" fmla="*/ 0 h 12744000"/>
              <a:gd name="connsiteX3" fmla="*/ 14725416 w 14725416"/>
              <a:gd name="connsiteY3" fmla="*/ 9831608 h 12744000"/>
              <a:gd name="connsiteX4" fmla="*/ 9146020 w 14725416"/>
              <a:gd name="connsiteY4" fmla="*/ 9824813 h 12744000"/>
              <a:gd name="connsiteX5" fmla="*/ 9146021 w 14725416"/>
              <a:gd name="connsiteY5" fmla="*/ 12744000 h 12744000"/>
              <a:gd name="connsiteX6" fmla="*/ 3903 w 14725416"/>
              <a:gd name="connsiteY6" fmla="*/ 12744000 h 12744000"/>
              <a:gd name="connsiteX7" fmla="*/ 0 w 14725416"/>
              <a:gd name="connsiteY7" fmla="*/ 0 h 127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25416" h="12744000">
                <a:moveTo>
                  <a:pt x="0" y="0"/>
                </a:moveTo>
                <a:lnTo>
                  <a:pt x="14725415" y="0"/>
                </a:lnTo>
                <a:lnTo>
                  <a:pt x="14725415" y="0"/>
                </a:lnTo>
                <a:cubicBezTo>
                  <a:pt x="14725415" y="3277203"/>
                  <a:pt x="14725416" y="6554405"/>
                  <a:pt x="14725416" y="9831608"/>
                </a:cubicBezTo>
                <a:cubicBezTo>
                  <a:pt x="14724997" y="9831571"/>
                  <a:pt x="9140821" y="9823891"/>
                  <a:pt x="9146020" y="9824813"/>
                </a:cubicBezTo>
                <a:cubicBezTo>
                  <a:pt x="9162597" y="9827753"/>
                  <a:pt x="9140354" y="12744037"/>
                  <a:pt x="9146021" y="12744000"/>
                </a:cubicBezTo>
                <a:lnTo>
                  <a:pt x="3903" y="12744000"/>
                </a:lnTo>
                <a:lnTo>
                  <a:pt x="0" y="0"/>
                </a:lnTo>
                <a:close/>
              </a:path>
            </a:pathLst>
          </a:custGeom>
          <a:solidFill>
            <a:schemeClr val="bg1">
              <a:lumMod val="95000"/>
            </a:schemeClr>
          </a:solidFill>
        </p:spPr>
        <p:txBody>
          <a:bodyPr/>
          <a:lstStyle>
            <a:lvl1pPr algn="ctr">
              <a:defRPr sz="2400">
                <a:solidFill>
                  <a:schemeClr val="tx1">
                    <a:lumMod val="65000"/>
                    <a:lumOff val="35000"/>
                  </a:schemeClr>
                </a:solidFill>
              </a:defRPr>
            </a:lvl1pPr>
          </a:lstStyle>
          <a:p>
            <a:r>
              <a:rPr lang="en-NL"/>
              <a:t>Drag and drop a topic-related picture into this fram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3059999" y="3402014"/>
            <a:ext cx="12156189" cy="6911976"/>
          </a:xfrm>
          <a:prstGeom prst="rect">
            <a:avLst/>
          </a:prstGeom>
          <a:solidFill>
            <a:schemeClr val="bg1"/>
          </a:solidFill>
        </p:spPr>
        <p:txBody>
          <a:bodyPr vert="horz" lIns="720000" tIns="540000" rIns="360000" bIns="360000" rtlCol="0" anchor="t">
            <a:noAutofit/>
          </a:bodyPr>
          <a:lstStyle>
            <a:lvl1pPr>
              <a:defRPr/>
            </a:lvl1pPr>
          </a:lstStyle>
          <a:p>
            <a:r>
              <a:rPr lang="en-GB" noProof="0"/>
              <a:t>Put the title here,</a:t>
            </a:r>
            <a:br>
              <a:rPr lang="en-GB" noProof="0"/>
            </a:br>
            <a:r>
              <a:rPr lang="en-GB" noProof="0"/>
              <a:t>keep it bold 80 </a:t>
            </a:r>
            <a:r>
              <a:rPr lang="en-GB" noProof="0" err="1"/>
              <a:t>pt</a:t>
            </a:r>
            <a:endParaRPr lang="en-GB" noProof="0"/>
          </a:p>
        </p:txBody>
      </p:sp>
      <p:pic>
        <p:nvPicPr>
          <p:cNvPr id="16" name="Picture 15">
            <a:extLst>
              <a:ext uri="{FF2B5EF4-FFF2-40B4-BE49-F238E27FC236}">
                <a16:creationId xmlns:a16="http://schemas.microsoft.com/office/drawing/2014/main" id="{B318DE6B-1EB2-D248-BE9E-1B173597E1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32676" y="10313988"/>
            <a:ext cx="5058531" cy="3402012"/>
          </a:xfrm>
          <a:prstGeom prst="rect">
            <a:avLst/>
          </a:prstGeom>
        </p:spPr>
      </p:pic>
    </p:spTree>
    <p:extLst>
      <p:ext uri="{BB962C8B-B14F-4D97-AF65-F5344CB8AC3E}">
        <p14:creationId xmlns:p14="http://schemas.microsoft.com/office/powerpoint/2010/main" val="372317290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 white background">
    <p:bg>
      <p:bgPr>
        <a:solidFill>
          <a:schemeClr val="bg1"/>
        </a:solidFill>
        <a:effectLst/>
      </p:bgPr>
    </p:bg>
    <p:spTree>
      <p:nvGrpSpPr>
        <p:cNvPr id="1" name=""/>
        <p:cNvGrpSpPr/>
        <p:nvPr/>
      </p:nvGrpSpPr>
      <p:grpSpPr>
        <a:xfrm>
          <a:off x="0" y="0"/>
          <a:ext cx="0" cy="0"/>
          <a:chOff x="0" y="0"/>
          <a:chExt cx="0" cy="0"/>
        </a:xfrm>
      </p:grpSpPr>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3059999" y="3402014"/>
            <a:ext cx="12156189" cy="6911976"/>
          </a:xfrm>
          <a:prstGeom prst="rect">
            <a:avLst/>
          </a:prstGeom>
          <a:solidFill>
            <a:schemeClr val="bg1"/>
          </a:solidFill>
        </p:spPr>
        <p:txBody>
          <a:bodyPr vert="horz" lIns="720000" tIns="540000" rIns="360000" bIns="360000" rtlCol="0" anchor="t">
            <a:noAutofit/>
          </a:bodyPr>
          <a:lstStyle>
            <a:lvl1pPr>
              <a:defRPr/>
            </a:lvl1pPr>
          </a:lstStyle>
          <a:p>
            <a:r>
              <a:rPr lang="en-GB" noProof="0"/>
              <a:t>Put the title here,</a:t>
            </a:r>
            <a:br>
              <a:rPr lang="en-GB" noProof="0"/>
            </a:br>
            <a:r>
              <a:rPr lang="en-GB" noProof="0"/>
              <a:t>keep it bold 80 </a:t>
            </a:r>
            <a:r>
              <a:rPr lang="en-GB" noProof="0" err="1"/>
              <a:t>pt</a:t>
            </a:r>
            <a:br>
              <a:rPr lang="en-GB" noProof="0"/>
            </a:br>
            <a:endParaRPr lang="en-GB" noProof="0"/>
          </a:p>
        </p:txBody>
      </p:sp>
      <p:pic>
        <p:nvPicPr>
          <p:cNvPr id="16" name="Picture 15">
            <a:extLst>
              <a:ext uri="{FF2B5EF4-FFF2-40B4-BE49-F238E27FC236}">
                <a16:creationId xmlns:a16="http://schemas.microsoft.com/office/drawing/2014/main" id="{B318DE6B-1EB2-D248-BE9E-1B173597E1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32676" y="10313988"/>
            <a:ext cx="5058531" cy="3402012"/>
          </a:xfrm>
          <a:prstGeom prst="rect">
            <a:avLst/>
          </a:prstGeom>
        </p:spPr>
      </p:pic>
    </p:spTree>
    <p:extLst>
      <p:ext uri="{BB962C8B-B14F-4D97-AF65-F5344CB8AC3E}">
        <p14:creationId xmlns:p14="http://schemas.microsoft.com/office/powerpoint/2010/main" val="204287485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Agenda or conten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3293FC4-39C9-4047-8405-0EE5AF044904}"/>
              </a:ext>
            </a:extLst>
          </p:cNvPr>
          <p:cNvSpPr>
            <a:spLocks noGrp="1"/>
          </p:cNvSpPr>
          <p:nvPr>
            <p:ph type="pic" sz="quarter" idx="13" hasCustomPrompt="1"/>
          </p:nvPr>
        </p:nvSpPr>
        <p:spPr>
          <a:xfrm>
            <a:off x="486001" y="486000"/>
            <a:ext cx="10440000" cy="12744000"/>
          </a:xfrm>
          <a:solidFill>
            <a:schemeClr val="bg1">
              <a:lumMod val="95000"/>
            </a:schemeClr>
          </a:solidFill>
        </p:spPr>
        <p:txBody>
          <a:bodyPr/>
          <a:lstStyle>
            <a:lvl1pPr algn="ctr">
              <a:defRPr sz="2400">
                <a:solidFill>
                  <a:schemeClr val="tx1">
                    <a:lumMod val="65000"/>
                    <a:lumOff val="35000"/>
                  </a:schemeClr>
                </a:solidFill>
              </a:defRPr>
            </a:lvl1pPr>
          </a:lstStyle>
          <a:p>
            <a:r>
              <a:rPr lang="en-NL"/>
              <a:t>Fill this frame with one of the Theme Colours</a:t>
            </a:r>
          </a:p>
        </p:txBody>
      </p:sp>
      <p:sp>
        <p:nvSpPr>
          <p:cNvPr id="9" name="Text Placeholder 3">
            <a:extLst>
              <a:ext uri="{FF2B5EF4-FFF2-40B4-BE49-F238E27FC236}">
                <a16:creationId xmlns:a16="http://schemas.microsoft.com/office/drawing/2014/main" id="{74EDCDDC-BFAD-0048-95CD-93E49D18174D}"/>
              </a:ext>
            </a:extLst>
          </p:cNvPr>
          <p:cNvSpPr>
            <a:spLocks noGrp="1"/>
          </p:cNvSpPr>
          <p:nvPr>
            <p:ph type="body" sz="half" idx="2" hasCustomPrompt="1"/>
          </p:nvPr>
        </p:nvSpPr>
        <p:spPr>
          <a:xfrm>
            <a:off x="12191208" y="1961458"/>
            <a:ext cx="9144793" cy="10081320"/>
          </a:xfrm>
        </p:spPr>
        <p:txBody>
          <a:bodyPr>
            <a:noAutofit/>
          </a:bodyPr>
          <a:lstStyle>
            <a:lvl1pPr marL="0" marR="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sz="32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marL="0" marR="0" lvl="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a:pPr>
            <a:endParaRPr lang="en-GB" noProof="0"/>
          </a:p>
        </p:txBody>
      </p:sp>
      <p:sp>
        <p:nvSpPr>
          <p:cNvPr id="6" name="Title 5">
            <a:extLst>
              <a:ext uri="{FF2B5EF4-FFF2-40B4-BE49-F238E27FC236}">
                <a16:creationId xmlns:a16="http://schemas.microsoft.com/office/drawing/2014/main" id="{07211B91-AE84-A342-91A4-CA604C6D63E9}"/>
              </a:ext>
            </a:extLst>
          </p:cNvPr>
          <p:cNvSpPr>
            <a:spLocks noGrp="1"/>
          </p:cNvSpPr>
          <p:nvPr>
            <p:ph type="title" hasCustomPrompt="1"/>
          </p:nvPr>
        </p:nvSpPr>
        <p:spPr>
          <a:xfrm>
            <a:off x="1676294" y="1677600"/>
            <a:ext cx="9000000" cy="8633316"/>
          </a:xfrm>
        </p:spPr>
        <p:txBody>
          <a:bodyPr bIns="46800"/>
          <a:lstStyle/>
          <a:p>
            <a:r>
              <a:rPr lang="en-GB"/>
              <a:t>Agenda or contents</a:t>
            </a:r>
            <a:endParaRPr lang="en-NL"/>
          </a:p>
        </p:txBody>
      </p:sp>
      <p:sp>
        <p:nvSpPr>
          <p:cNvPr id="7" name="Footer Placeholder 6">
            <a:extLst>
              <a:ext uri="{FF2B5EF4-FFF2-40B4-BE49-F238E27FC236}">
                <a16:creationId xmlns:a16="http://schemas.microsoft.com/office/drawing/2014/main" id="{AA71B48D-AD8E-4041-BC0A-97827EA167E2}"/>
              </a:ext>
            </a:extLst>
          </p:cNvPr>
          <p:cNvSpPr>
            <a:spLocks noGrp="1"/>
          </p:cNvSpPr>
          <p:nvPr>
            <p:ph type="ftr" sz="quarter" idx="16"/>
          </p:nvPr>
        </p:nvSpPr>
        <p:spPr/>
        <p:txBody>
          <a:bodyPr/>
          <a:lstStyle/>
          <a:p>
            <a:endParaRPr lang="en-NL"/>
          </a:p>
        </p:txBody>
      </p:sp>
      <p:sp>
        <p:nvSpPr>
          <p:cNvPr id="13" name="TextBox 12">
            <a:extLst>
              <a:ext uri="{FF2B5EF4-FFF2-40B4-BE49-F238E27FC236}">
                <a16:creationId xmlns:a16="http://schemas.microsoft.com/office/drawing/2014/main" id="{3A2D6FA1-9D20-AF47-912B-1D770AF0FEBC}"/>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439015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atement 3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12191206" y="3402013"/>
            <a:ext cx="9144794" cy="6911975"/>
          </a:xfrm>
          <a:prstGeom prst="rect">
            <a:avLst/>
          </a:prstGeom>
          <a:solidFill>
            <a:schemeClr val="bg1"/>
          </a:solidFill>
        </p:spPr>
        <p:txBody>
          <a:bodyPr vert="horz" lIns="720000" tIns="360000" rIns="360000" bIns="360000" rtlCol="0" anchor="ctr">
            <a:noAutofit/>
          </a:bodyPr>
          <a:lstStyle>
            <a:lvl1pPr>
              <a:defRPr sz="4000" b="0" spc="0" baseline="0"/>
            </a:lvl1pPr>
          </a:lstStyle>
          <a:p>
            <a:r>
              <a:rPr lang="en-GB" noProof="0"/>
              <a:t>Put a long statement or a quote here, keep it regular 40 </a:t>
            </a:r>
            <a:r>
              <a:rPr lang="en-GB" noProof="0" err="1"/>
              <a:t>pt</a:t>
            </a:r>
            <a:endParaRPr lang="en-GB" noProof="0"/>
          </a:p>
        </p:txBody>
      </p:sp>
      <p:sp>
        <p:nvSpPr>
          <p:cNvPr id="4" name="Footer Placeholder 3">
            <a:extLst>
              <a:ext uri="{FF2B5EF4-FFF2-40B4-BE49-F238E27FC236}">
                <a16:creationId xmlns:a16="http://schemas.microsoft.com/office/drawing/2014/main" id="{F08AE3EC-F985-214A-B20E-84BB4377F356}"/>
              </a:ext>
            </a:extLst>
          </p:cNvPr>
          <p:cNvSpPr>
            <a:spLocks noGrp="1"/>
          </p:cNvSpPr>
          <p:nvPr>
            <p:ph type="ftr" sz="quarter" idx="15"/>
          </p:nvPr>
        </p:nvSpPr>
        <p:spPr/>
        <p:txBody>
          <a:bodyPr/>
          <a:lstStyle/>
          <a:p>
            <a:endParaRPr lang="en-NL"/>
          </a:p>
        </p:txBody>
      </p:sp>
      <p:sp>
        <p:nvSpPr>
          <p:cNvPr id="8" name="TextBox 7">
            <a:extLst>
              <a:ext uri="{FF2B5EF4-FFF2-40B4-BE49-F238E27FC236}">
                <a16:creationId xmlns:a16="http://schemas.microsoft.com/office/drawing/2014/main" id="{0FE629E5-989E-6549-877B-8C45333B32D6}"/>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06733276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hapter headline on simple background">
    <p:bg>
      <p:bgPr>
        <a:solidFill>
          <a:schemeClr val="bg1"/>
        </a:solidFill>
        <a:effectLst/>
      </p:bgPr>
    </p:bg>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ADB4BA95-E492-D840-88F6-2FE23D26918D}"/>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573" rtl="0" eaLnBrk="1" fontAlgn="auto" latinLnBrk="0" hangingPunct="1">
              <a:lnSpc>
                <a:spcPct val="10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7" name="Title Placeholder 6">
            <a:extLst>
              <a:ext uri="{FF2B5EF4-FFF2-40B4-BE49-F238E27FC236}">
                <a16:creationId xmlns:a16="http://schemas.microsoft.com/office/drawing/2014/main" id="{1B090AE2-5953-9248-BD9A-B5FA2155AD8A}"/>
              </a:ext>
            </a:extLst>
          </p:cNvPr>
          <p:cNvSpPr>
            <a:spLocks noGrp="1"/>
          </p:cNvSpPr>
          <p:nvPr>
            <p:ph type="title" hasCustomPrompt="1"/>
          </p:nvPr>
        </p:nvSpPr>
        <p:spPr>
          <a:xfrm>
            <a:off x="3059999" y="3402014"/>
            <a:ext cx="12156189" cy="6911976"/>
          </a:xfrm>
          <a:prstGeom prst="rect">
            <a:avLst/>
          </a:prstGeom>
          <a:solidFill>
            <a:schemeClr val="bg1"/>
          </a:solidFill>
        </p:spPr>
        <p:txBody>
          <a:bodyPr vert="horz" lIns="720000" tIns="360000" rIns="360000" bIns="36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C4ADDE55-E340-6E4C-86B1-7B03B8C32387}"/>
              </a:ext>
            </a:extLst>
          </p:cNvPr>
          <p:cNvSpPr>
            <a:spLocks noGrp="1"/>
          </p:cNvSpPr>
          <p:nvPr>
            <p:ph type="ftr" sz="quarter" idx="15"/>
          </p:nvPr>
        </p:nvSpPr>
        <p:spPr/>
        <p:txBody>
          <a:bodyPr/>
          <a:lstStyle/>
          <a:p>
            <a:endParaRPr lang="en-NL"/>
          </a:p>
        </p:txBody>
      </p:sp>
      <p:sp>
        <p:nvSpPr>
          <p:cNvPr id="10" name="TextBox 9">
            <a:extLst>
              <a:ext uri="{FF2B5EF4-FFF2-40B4-BE49-F238E27FC236}">
                <a16:creationId xmlns:a16="http://schemas.microsoft.com/office/drawing/2014/main" id="{7FB25574-EA1E-8647-9572-8972274746BB}"/>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1318017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hapter headline on double background">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7D48BD0-6997-F144-A2F5-799BC3C77E9E}"/>
              </a:ext>
            </a:extLst>
          </p:cNvPr>
          <p:cNvSpPr>
            <a:spLocks noGrp="1"/>
          </p:cNvSpPr>
          <p:nvPr>
            <p:ph type="pic" sz="quarter" idx="16" hasCustomPrompt="1"/>
          </p:nvPr>
        </p:nvSpPr>
        <p:spPr>
          <a:xfrm>
            <a:off x="9166226" y="486000"/>
            <a:ext cx="14724980"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background image into this frame</a:t>
            </a:r>
          </a:p>
        </p:txBody>
      </p:sp>
      <p:sp>
        <p:nvSpPr>
          <p:cNvPr id="8" name="Picture Placeholder 10">
            <a:extLst>
              <a:ext uri="{FF2B5EF4-FFF2-40B4-BE49-F238E27FC236}">
                <a16:creationId xmlns:a16="http://schemas.microsoft.com/office/drawing/2014/main" id="{1309BD59-499E-7B48-84B0-F24A66C27380}"/>
              </a:ext>
            </a:extLst>
          </p:cNvPr>
          <p:cNvSpPr>
            <a:spLocks noGrp="1"/>
          </p:cNvSpPr>
          <p:nvPr>
            <p:ph type="pic" sz="quarter" idx="14" hasCustomPrompt="1"/>
          </p:nvPr>
        </p:nvSpPr>
        <p:spPr>
          <a:xfrm>
            <a:off x="491206" y="486000"/>
            <a:ext cx="8675019" cy="12744000"/>
          </a:xfrm>
          <a:solidFill>
            <a:schemeClr val="bg1">
              <a:lumMod val="8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9" name="Title Placeholder 6">
            <a:extLst>
              <a:ext uri="{FF2B5EF4-FFF2-40B4-BE49-F238E27FC236}">
                <a16:creationId xmlns:a16="http://schemas.microsoft.com/office/drawing/2014/main" id="{9DDA9E19-4F77-3D4F-9876-A15B1427723D}"/>
              </a:ext>
            </a:extLst>
          </p:cNvPr>
          <p:cNvSpPr>
            <a:spLocks noGrp="1"/>
          </p:cNvSpPr>
          <p:nvPr>
            <p:ph type="title" hasCustomPrompt="1"/>
          </p:nvPr>
        </p:nvSpPr>
        <p:spPr>
          <a:xfrm>
            <a:off x="3059999" y="3402014"/>
            <a:ext cx="12156189" cy="6911976"/>
          </a:xfrm>
          <a:prstGeom prst="rect">
            <a:avLst/>
          </a:prstGeom>
          <a:solidFill>
            <a:schemeClr val="bg1"/>
          </a:solidFill>
        </p:spPr>
        <p:txBody>
          <a:bodyPr vert="horz" lIns="720000" tIns="360000" rIns="360000" bIns="36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5CA18264-1F8B-3A44-B551-1BBEE87ED5B3}"/>
              </a:ext>
            </a:extLst>
          </p:cNvPr>
          <p:cNvSpPr>
            <a:spLocks noGrp="1"/>
          </p:cNvSpPr>
          <p:nvPr>
            <p:ph type="ftr" sz="quarter" idx="17"/>
          </p:nvPr>
        </p:nvSpPr>
        <p:spPr/>
        <p:txBody>
          <a:bodyPr/>
          <a:lstStyle/>
          <a:p>
            <a:endParaRPr lang="en-NL"/>
          </a:p>
        </p:txBody>
      </p:sp>
      <p:sp>
        <p:nvSpPr>
          <p:cNvPr id="11" name="TextBox 10">
            <a:extLst>
              <a:ext uri="{FF2B5EF4-FFF2-40B4-BE49-F238E27FC236}">
                <a16:creationId xmlns:a16="http://schemas.microsoft.com/office/drawing/2014/main" id="{17ABB78B-16D4-9548-AD33-F584DB55BA7A}"/>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20859403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hapter headline and number 1">
    <p:bg>
      <p:bgPr>
        <a:solidFill>
          <a:schemeClr val="bg1"/>
        </a:solidFill>
        <a:effectLst/>
      </p:bgPr>
    </p:bg>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FBC26CA4-EB48-1543-B2BB-C8B879012FEC}"/>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5" name="Text Placeholder 4">
            <a:extLst>
              <a:ext uri="{FF2B5EF4-FFF2-40B4-BE49-F238E27FC236}">
                <a16:creationId xmlns:a16="http://schemas.microsoft.com/office/drawing/2014/main" id="{D692063E-373D-9A4C-B3F2-4CED294F18A0}"/>
              </a:ext>
            </a:extLst>
          </p:cNvPr>
          <p:cNvSpPr>
            <a:spLocks noGrp="1"/>
          </p:cNvSpPr>
          <p:nvPr>
            <p:ph type="body" sz="quarter" idx="11" hasCustomPrompt="1"/>
          </p:nvPr>
        </p:nvSpPr>
        <p:spPr>
          <a:xfrm>
            <a:off x="3066646" y="3402014"/>
            <a:ext cx="6113166" cy="6911976"/>
          </a:xfrm>
          <a:solidFill>
            <a:schemeClr val="bg1"/>
          </a:solidFill>
        </p:spPr>
        <p:txBody>
          <a:bodyPr anchor="ctr" anchorCtr="0">
            <a:noAutofit/>
          </a:bodyPr>
          <a:lstStyle>
            <a:lvl1pPr marL="0" indent="0" algn="ctr">
              <a:buNone/>
              <a:defRPr sz="29999" b="1" spc="-600" baseline="0">
                <a:ln>
                  <a:noFill/>
                </a:ln>
                <a:solidFill>
                  <a:schemeClr val="tx1"/>
                </a:solidFill>
              </a:defRPr>
            </a:lvl1pPr>
          </a:lstStyle>
          <a:p>
            <a:pPr lvl="0"/>
            <a:r>
              <a:rPr lang="en-GB" noProof="0"/>
              <a:t>#</a:t>
            </a:r>
          </a:p>
        </p:txBody>
      </p:sp>
      <p:sp>
        <p:nvSpPr>
          <p:cNvPr id="9" name="Title Placeholder 6">
            <a:extLst>
              <a:ext uri="{FF2B5EF4-FFF2-40B4-BE49-F238E27FC236}">
                <a16:creationId xmlns:a16="http://schemas.microsoft.com/office/drawing/2014/main" id="{8EE4B79D-13C4-D44B-B7EA-5A90670CE600}"/>
              </a:ext>
            </a:extLst>
          </p:cNvPr>
          <p:cNvSpPr>
            <a:spLocks noGrp="1"/>
          </p:cNvSpPr>
          <p:nvPr>
            <p:ph type="title" hasCustomPrompt="1"/>
          </p:nvPr>
        </p:nvSpPr>
        <p:spPr>
          <a:xfrm>
            <a:off x="9166225" y="3402014"/>
            <a:ext cx="12169776" cy="6911976"/>
          </a:xfrm>
          <a:prstGeom prst="rect">
            <a:avLst/>
          </a:prstGeom>
          <a:solidFill>
            <a:schemeClr val="bg1"/>
          </a:solidFill>
        </p:spPr>
        <p:txBody>
          <a:bodyPr vert="horz" lIns="360000" tIns="360000" rIns="360000" bIns="36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1A1CBB60-7354-0F46-A5EC-2B7F347405A8}"/>
              </a:ext>
            </a:extLst>
          </p:cNvPr>
          <p:cNvSpPr>
            <a:spLocks noGrp="1"/>
          </p:cNvSpPr>
          <p:nvPr>
            <p:ph type="ftr" sz="quarter" idx="15"/>
          </p:nvPr>
        </p:nvSpPr>
        <p:spPr/>
        <p:txBody>
          <a:bodyPr/>
          <a:lstStyle/>
          <a:p>
            <a:endParaRPr lang="en-NL"/>
          </a:p>
        </p:txBody>
      </p:sp>
      <p:sp>
        <p:nvSpPr>
          <p:cNvPr id="11" name="TextBox 10">
            <a:extLst>
              <a:ext uri="{FF2B5EF4-FFF2-40B4-BE49-F238E27FC236}">
                <a16:creationId xmlns:a16="http://schemas.microsoft.com/office/drawing/2014/main" id="{40541476-0AFC-234B-BC49-0499CC038C91}"/>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22176743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hapter headline and number 2">
    <p:bg>
      <p:bgPr>
        <a:solidFill>
          <a:schemeClr val="bg1"/>
        </a:solidFill>
        <a:effectLst/>
      </p:bgPr>
    </p:bg>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F6085D9F-3237-7542-9B7D-4ED3CD3607B0}"/>
              </a:ext>
            </a:extLst>
          </p:cNvPr>
          <p:cNvSpPr>
            <a:spLocks noGrp="1"/>
          </p:cNvSpPr>
          <p:nvPr>
            <p:ph type="body" sz="quarter" idx="11" hasCustomPrompt="1"/>
          </p:nvPr>
        </p:nvSpPr>
        <p:spPr>
          <a:xfrm>
            <a:off x="3066646" y="3402014"/>
            <a:ext cx="6113166" cy="6911976"/>
          </a:xfrm>
          <a:noFill/>
        </p:spPr>
        <p:txBody>
          <a:bodyPr anchor="ctr" anchorCtr="0">
            <a:noAutofit/>
          </a:bodyPr>
          <a:lstStyle>
            <a:lvl1pPr marL="0" indent="0" algn="ctr">
              <a:buNone/>
              <a:defRPr sz="29999" b="1" spc="-600" baseline="0">
                <a:ln>
                  <a:noFill/>
                </a:ln>
                <a:solidFill>
                  <a:schemeClr val="tx1"/>
                </a:solidFill>
              </a:defRPr>
            </a:lvl1pPr>
          </a:lstStyle>
          <a:p>
            <a:pPr lvl="0"/>
            <a:r>
              <a:rPr lang="en-GB" noProof="0"/>
              <a:t>#</a:t>
            </a:r>
          </a:p>
        </p:txBody>
      </p:sp>
      <p:sp>
        <p:nvSpPr>
          <p:cNvPr id="7" name="Title Placeholder 6">
            <a:extLst>
              <a:ext uri="{FF2B5EF4-FFF2-40B4-BE49-F238E27FC236}">
                <a16:creationId xmlns:a16="http://schemas.microsoft.com/office/drawing/2014/main" id="{C80CB7B3-E10E-DC43-BC18-2A74C9A160F8}"/>
              </a:ext>
            </a:extLst>
          </p:cNvPr>
          <p:cNvSpPr>
            <a:spLocks noGrp="1"/>
          </p:cNvSpPr>
          <p:nvPr>
            <p:ph type="title" hasCustomPrompt="1"/>
          </p:nvPr>
        </p:nvSpPr>
        <p:spPr>
          <a:xfrm>
            <a:off x="9166225" y="3402014"/>
            <a:ext cx="12169776" cy="6911976"/>
          </a:xfrm>
          <a:prstGeom prst="rect">
            <a:avLst/>
          </a:prstGeom>
          <a:noFill/>
        </p:spPr>
        <p:txBody>
          <a:bodyPr vert="horz" lIns="360000" tIns="360000" rIns="360000" bIns="36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3A7F9CFD-AFFB-3B47-AFEC-CEE18A9D2CE6}"/>
              </a:ext>
            </a:extLst>
          </p:cNvPr>
          <p:cNvSpPr>
            <a:spLocks noGrp="1"/>
          </p:cNvSpPr>
          <p:nvPr>
            <p:ph type="ftr" sz="quarter" idx="12"/>
          </p:nvPr>
        </p:nvSpPr>
        <p:spPr/>
        <p:txBody>
          <a:bodyPr/>
          <a:lstStyle/>
          <a:p>
            <a:endParaRPr lang="en-NL"/>
          </a:p>
        </p:txBody>
      </p:sp>
      <p:sp>
        <p:nvSpPr>
          <p:cNvPr id="10" name="TextBox 9">
            <a:extLst>
              <a:ext uri="{FF2B5EF4-FFF2-40B4-BE49-F238E27FC236}">
                <a16:creationId xmlns:a16="http://schemas.microsoft.com/office/drawing/2014/main" id="{C416BDAF-6CDC-8648-8B2F-B8146F0C0E7E}"/>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63004677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ext and picture on the right">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13127310" y="486000"/>
            <a:ext cx="10763999"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1674329" y="5129214"/>
            <a:ext cx="10516084" cy="6904512"/>
          </a:xfrm>
        </p:spPr>
        <p:txBody>
          <a:bodyPr>
            <a:noAutofit/>
          </a:bodyPr>
          <a:lstStyle>
            <a:lvl1pPr>
              <a:spcBef>
                <a:spcPts val="2000"/>
              </a:spcBef>
              <a:defRPr sz="3200"/>
            </a:lvl1pPr>
          </a:lstStyle>
          <a:p>
            <a:pPr lvl="0"/>
            <a:r>
              <a:rPr lang="en-GB" noProof="0"/>
              <a:t>Put the paragraph text here, keep it regular 32 </a:t>
            </a:r>
            <a:r>
              <a:rPr lang="en-GB" noProof="0" err="1"/>
              <a:t>pt</a:t>
            </a:r>
            <a:endParaRPr lang="en-GB" noProof="0"/>
          </a:p>
        </p:txBody>
      </p:sp>
      <p:sp>
        <p:nvSpPr>
          <p:cNvPr id="2" name="Title 1">
            <a:extLst>
              <a:ext uri="{FF2B5EF4-FFF2-40B4-BE49-F238E27FC236}">
                <a16:creationId xmlns:a16="http://schemas.microsoft.com/office/drawing/2014/main" id="{44A2E15B-0973-F742-A266-E1107E35FE40}"/>
              </a:ext>
            </a:extLst>
          </p:cNvPr>
          <p:cNvSpPr>
            <a:spLocks noGrp="1"/>
          </p:cNvSpPr>
          <p:nvPr>
            <p:ph type="title" hasCustomPrompt="1"/>
          </p:nvPr>
        </p:nvSpPr>
        <p:spPr>
          <a:xfrm>
            <a:off x="1676294" y="1677600"/>
            <a:ext cx="10514914" cy="3011660"/>
          </a:xfrm>
        </p:spPr>
        <p:txBody>
          <a:bodyPr/>
          <a:lstStyle/>
          <a:p>
            <a:r>
              <a:rPr lang="en-GB"/>
              <a:t>Put the headline here, keep it 80 </a:t>
            </a:r>
            <a:r>
              <a:rPr lang="en-GB" err="1"/>
              <a:t>pt</a:t>
            </a:r>
            <a:endParaRPr lang="en-NL"/>
          </a:p>
        </p:txBody>
      </p:sp>
      <p:sp>
        <p:nvSpPr>
          <p:cNvPr id="7" name="Footer Placeholder 6">
            <a:extLst>
              <a:ext uri="{FF2B5EF4-FFF2-40B4-BE49-F238E27FC236}">
                <a16:creationId xmlns:a16="http://schemas.microsoft.com/office/drawing/2014/main" id="{1BBF2C0D-081E-D341-990A-85E80DD0D1B7}"/>
              </a:ext>
            </a:extLst>
          </p:cNvPr>
          <p:cNvSpPr>
            <a:spLocks noGrp="1"/>
          </p:cNvSpPr>
          <p:nvPr>
            <p:ph type="ftr" sz="quarter" idx="19"/>
          </p:nvPr>
        </p:nvSpPr>
        <p:spPr/>
        <p:txBody>
          <a:bodyPr/>
          <a:lstStyle/>
          <a:p>
            <a:endParaRPr lang="en-NL"/>
          </a:p>
        </p:txBody>
      </p:sp>
      <p:sp>
        <p:nvSpPr>
          <p:cNvPr id="10" name="TextBox 9">
            <a:extLst>
              <a:ext uri="{FF2B5EF4-FFF2-40B4-BE49-F238E27FC236}">
                <a16:creationId xmlns:a16="http://schemas.microsoft.com/office/drawing/2014/main" id="{894FC958-E5A8-B74F-A7E7-30B82C0B44E8}"/>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11378193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and picture on the left">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EED5078-C5D9-0E4F-B9E3-7CF7BBC8C373}"/>
              </a:ext>
            </a:extLst>
          </p:cNvPr>
          <p:cNvSpPr>
            <a:spLocks noGrp="1"/>
          </p:cNvSpPr>
          <p:nvPr>
            <p:ph type="pic" sz="quarter" idx="15" hasCustomPrompt="1"/>
          </p:nvPr>
        </p:nvSpPr>
        <p:spPr>
          <a:xfrm>
            <a:off x="491102" y="486000"/>
            <a:ext cx="10763999"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pPr marL="0" marR="0" lvl="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a:pPr>
            <a:r>
              <a:rPr lang="en-NL"/>
              <a:t>Drag and drop a topic-related picture into this frame</a:t>
            </a:r>
          </a:p>
        </p:txBody>
      </p:sp>
      <p:sp>
        <p:nvSpPr>
          <p:cNvPr id="12" name="Text Placeholder 3">
            <a:extLst>
              <a:ext uri="{FF2B5EF4-FFF2-40B4-BE49-F238E27FC236}">
                <a16:creationId xmlns:a16="http://schemas.microsoft.com/office/drawing/2014/main" id="{AE87E5A1-8A67-0448-BA9A-DA74F50AE099}"/>
              </a:ext>
            </a:extLst>
          </p:cNvPr>
          <p:cNvSpPr>
            <a:spLocks noGrp="1"/>
          </p:cNvSpPr>
          <p:nvPr>
            <p:ph type="body" sz="quarter" idx="18" hasCustomPrompt="1"/>
          </p:nvPr>
        </p:nvSpPr>
        <p:spPr>
          <a:xfrm>
            <a:off x="12191206" y="5129214"/>
            <a:ext cx="10516084" cy="6904512"/>
          </a:xfrm>
        </p:spPr>
        <p:txBody>
          <a:bodyPr>
            <a:noAutofit/>
          </a:bodyPr>
          <a:lstStyle>
            <a:lvl1pPr>
              <a:spcBef>
                <a:spcPts val="2000"/>
              </a:spcBef>
              <a:defRPr sz="3200"/>
            </a:lvl1pPr>
          </a:lstStyle>
          <a:p>
            <a:pPr lvl="0"/>
            <a:r>
              <a:rPr lang="en-GB" noProof="0"/>
              <a:t>Put the paragraph text here, keep it regular 32 </a:t>
            </a:r>
            <a:r>
              <a:rPr lang="en-GB" noProof="0" err="1"/>
              <a:t>pt</a:t>
            </a:r>
            <a:endParaRPr lang="en-GB" noProof="0"/>
          </a:p>
        </p:txBody>
      </p:sp>
      <p:sp>
        <p:nvSpPr>
          <p:cNvPr id="13" name="Title 1">
            <a:extLst>
              <a:ext uri="{FF2B5EF4-FFF2-40B4-BE49-F238E27FC236}">
                <a16:creationId xmlns:a16="http://schemas.microsoft.com/office/drawing/2014/main" id="{0614539B-EA7E-5F48-845E-1115C11137DF}"/>
              </a:ext>
            </a:extLst>
          </p:cNvPr>
          <p:cNvSpPr>
            <a:spLocks noGrp="1"/>
          </p:cNvSpPr>
          <p:nvPr>
            <p:ph type="title" hasCustomPrompt="1"/>
          </p:nvPr>
        </p:nvSpPr>
        <p:spPr>
          <a:xfrm>
            <a:off x="12193171" y="1677600"/>
            <a:ext cx="10514914" cy="3011660"/>
          </a:xfrm>
        </p:spPr>
        <p:txBody>
          <a:bodyPr/>
          <a:lstStyle/>
          <a:p>
            <a:r>
              <a:rPr lang="en-GB"/>
              <a:t>Put the headline here, keep it 80 </a:t>
            </a:r>
            <a:r>
              <a:rPr lang="en-GB" err="1"/>
              <a:t>pt</a:t>
            </a:r>
            <a:endParaRPr lang="en-NL"/>
          </a:p>
        </p:txBody>
      </p:sp>
      <p:sp>
        <p:nvSpPr>
          <p:cNvPr id="4" name="Footer Placeholder 3">
            <a:extLst>
              <a:ext uri="{FF2B5EF4-FFF2-40B4-BE49-F238E27FC236}">
                <a16:creationId xmlns:a16="http://schemas.microsoft.com/office/drawing/2014/main" id="{CB40AB27-22C2-8049-AEFA-EC9ADA9C74F8}"/>
              </a:ext>
            </a:extLst>
          </p:cNvPr>
          <p:cNvSpPr>
            <a:spLocks noGrp="1"/>
          </p:cNvSpPr>
          <p:nvPr>
            <p:ph type="ftr" sz="quarter" idx="19"/>
          </p:nvPr>
        </p:nvSpPr>
        <p:spPr/>
        <p:txBody>
          <a:bodyPr/>
          <a:lstStyle/>
          <a:p>
            <a:endParaRPr lang="en-NL"/>
          </a:p>
        </p:txBody>
      </p:sp>
      <p:sp>
        <p:nvSpPr>
          <p:cNvPr id="11" name="TextBox 10">
            <a:extLst>
              <a:ext uri="{FF2B5EF4-FFF2-40B4-BE49-F238E27FC236}">
                <a16:creationId xmlns:a16="http://schemas.microsoft.com/office/drawing/2014/main" id="{5D320D55-E281-9946-A96D-D7865543B7DC}"/>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86805658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tatement without background">
    <p:spTree>
      <p:nvGrpSpPr>
        <p:cNvPr id="1" name=""/>
        <p:cNvGrpSpPr/>
        <p:nvPr/>
      </p:nvGrpSpPr>
      <p:grpSpPr>
        <a:xfrm>
          <a:off x="0" y="0"/>
          <a:ext cx="0" cy="0"/>
          <a:chOff x="0" y="0"/>
          <a:chExt cx="0" cy="0"/>
        </a:xfrm>
      </p:grpSpPr>
      <p:sp>
        <p:nvSpPr>
          <p:cNvPr id="6" name="Title Placeholder 6">
            <a:extLst>
              <a:ext uri="{FF2B5EF4-FFF2-40B4-BE49-F238E27FC236}">
                <a16:creationId xmlns:a16="http://schemas.microsoft.com/office/drawing/2014/main" id="{42635088-B65D-C841-9E13-05D7E3443BD4}"/>
              </a:ext>
            </a:extLst>
          </p:cNvPr>
          <p:cNvSpPr>
            <a:spLocks noGrp="1"/>
          </p:cNvSpPr>
          <p:nvPr>
            <p:ph type="title" hasCustomPrompt="1"/>
          </p:nvPr>
        </p:nvSpPr>
        <p:spPr>
          <a:xfrm>
            <a:off x="1677491" y="1692003"/>
            <a:ext cx="21029831" cy="10330998"/>
          </a:xfrm>
          <a:prstGeom prst="rect">
            <a:avLst/>
          </a:prstGeom>
        </p:spPr>
        <p:txBody>
          <a:bodyPr vert="horz" lIns="91440" tIns="45720" rIns="91440" bIns="45720" rtlCol="0" anchor="ctr">
            <a:noAutofit/>
          </a:bodyPr>
          <a:lstStyle>
            <a:lvl1pPr>
              <a:defRPr baseline="0"/>
            </a:lvl1pPr>
          </a:lstStyle>
          <a:p>
            <a:r>
              <a:rPr lang="en-GB" noProof="0"/>
              <a:t>Put a statement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DEA92304-9D31-2743-9CAA-4CF1A9292236}"/>
              </a:ext>
            </a:extLst>
          </p:cNvPr>
          <p:cNvSpPr>
            <a:spLocks noGrp="1"/>
          </p:cNvSpPr>
          <p:nvPr>
            <p:ph type="ftr" sz="quarter" idx="10"/>
          </p:nvPr>
        </p:nvSpPr>
        <p:spPr/>
        <p:txBody>
          <a:bodyPr/>
          <a:lstStyle/>
          <a:p>
            <a:endParaRPr lang="en-NL"/>
          </a:p>
        </p:txBody>
      </p:sp>
      <p:sp>
        <p:nvSpPr>
          <p:cNvPr id="7" name="TextBox 6">
            <a:extLst>
              <a:ext uri="{FF2B5EF4-FFF2-40B4-BE49-F238E27FC236}">
                <a16:creationId xmlns:a16="http://schemas.microsoft.com/office/drawing/2014/main" id="{BE9A8351-2D97-AD41-BE02-7B1C9B022881}"/>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59732553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tatement 1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6070602" y="3402014"/>
            <a:ext cx="12241213" cy="6911976"/>
          </a:xfrm>
          <a:prstGeom prst="rect">
            <a:avLst/>
          </a:prstGeom>
          <a:solidFill>
            <a:schemeClr val="bg1"/>
          </a:solidFill>
        </p:spPr>
        <p:txBody>
          <a:bodyPr vert="horz" lIns="900000" tIns="360000" rIns="360000" bIns="360000" rtlCol="0" anchor="ctr">
            <a:noAutofit/>
          </a:bodyPr>
          <a:lstStyle>
            <a:lvl1pPr>
              <a:defRPr sz="6000" b="1" spc="0" baseline="0"/>
            </a:lvl1pPr>
          </a:lstStyle>
          <a:p>
            <a:r>
              <a:rPr lang="en-GB" noProof="0"/>
              <a:t>Put a short statement here, keep it regular 60 </a:t>
            </a:r>
            <a:r>
              <a:rPr lang="en-GB" noProof="0" err="1"/>
              <a:t>pt</a:t>
            </a:r>
            <a:endParaRPr lang="en-GB" noProof="0"/>
          </a:p>
        </p:txBody>
      </p:sp>
      <p:sp>
        <p:nvSpPr>
          <p:cNvPr id="4" name="Footer Placeholder 3">
            <a:extLst>
              <a:ext uri="{FF2B5EF4-FFF2-40B4-BE49-F238E27FC236}">
                <a16:creationId xmlns:a16="http://schemas.microsoft.com/office/drawing/2014/main" id="{4D585EBC-728D-F748-BD9C-1622617E10E7}"/>
              </a:ext>
            </a:extLst>
          </p:cNvPr>
          <p:cNvSpPr>
            <a:spLocks noGrp="1"/>
          </p:cNvSpPr>
          <p:nvPr>
            <p:ph type="ftr" sz="quarter" idx="15"/>
          </p:nvPr>
        </p:nvSpPr>
        <p:spPr/>
        <p:txBody>
          <a:bodyPr/>
          <a:lstStyle/>
          <a:p>
            <a:endParaRPr lang="en-NL"/>
          </a:p>
        </p:txBody>
      </p:sp>
      <p:sp>
        <p:nvSpPr>
          <p:cNvPr id="8" name="TextBox 7">
            <a:extLst>
              <a:ext uri="{FF2B5EF4-FFF2-40B4-BE49-F238E27FC236}">
                <a16:creationId xmlns:a16="http://schemas.microsoft.com/office/drawing/2014/main" id="{5F6D9EA7-3CF9-7B43-B287-97692C1A4E03}"/>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91564663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tatement 2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3088132" y="3402014"/>
            <a:ext cx="9102282" cy="6911976"/>
          </a:xfrm>
          <a:prstGeom prst="rect">
            <a:avLst/>
          </a:prstGeom>
          <a:solidFill>
            <a:schemeClr val="bg1"/>
          </a:solidFill>
        </p:spPr>
        <p:txBody>
          <a:bodyPr vert="horz" lIns="720000" tIns="360000" rIns="360000" bIns="360000" rtlCol="0" anchor="ctr">
            <a:noAutofit/>
          </a:bodyPr>
          <a:lstStyle>
            <a:lvl1pPr>
              <a:defRPr sz="6000" b="0" spc="0" baseline="0"/>
            </a:lvl1pPr>
          </a:lstStyle>
          <a:p>
            <a:r>
              <a:rPr lang="en-GB" noProof="0"/>
              <a:t>Put a long statement here, keep it regular 60 </a:t>
            </a:r>
            <a:r>
              <a:rPr lang="en-GB" noProof="0" err="1"/>
              <a:t>pt</a:t>
            </a:r>
            <a:endParaRPr lang="en-GB" noProof="0"/>
          </a:p>
        </p:txBody>
      </p:sp>
      <p:sp>
        <p:nvSpPr>
          <p:cNvPr id="4" name="Footer Placeholder 3">
            <a:extLst>
              <a:ext uri="{FF2B5EF4-FFF2-40B4-BE49-F238E27FC236}">
                <a16:creationId xmlns:a16="http://schemas.microsoft.com/office/drawing/2014/main" id="{F698052A-206B-8B44-B965-9B18AA398EAF}"/>
              </a:ext>
            </a:extLst>
          </p:cNvPr>
          <p:cNvSpPr>
            <a:spLocks noGrp="1"/>
          </p:cNvSpPr>
          <p:nvPr>
            <p:ph type="ftr" sz="quarter" idx="15"/>
          </p:nvPr>
        </p:nvSpPr>
        <p:spPr/>
        <p:txBody>
          <a:bodyPr/>
          <a:lstStyle/>
          <a:p>
            <a:endParaRPr lang="en-NL"/>
          </a:p>
        </p:txBody>
      </p:sp>
      <p:sp>
        <p:nvSpPr>
          <p:cNvPr id="8" name="TextBox 7">
            <a:extLst>
              <a:ext uri="{FF2B5EF4-FFF2-40B4-BE49-F238E27FC236}">
                <a16:creationId xmlns:a16="http://schemas.microsoft.com/office/drawing/2014/main" id="{6717F6DA-71F4-F94F-A4FF-3581F301E2A5}"/>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0350101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tatement 3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12191207" y="3402014"/>
            <a:ext cx="9144795" cy="6911976"/>
          </a:xfrm>
          <a:prstGeom prst="rect">
            <a:avLst/>
          </a:prstGeom>
          <a:solidFill>
            <a:schemeClr val="bg1"/>
          </a:solidFill>
        </p:spPr>
        <p:txBody>
          <a:bodyPr vert="horz" lIns="720000" tIns="360000" rIns="360000" bIns="360000" rtlCol="0" anchor="ctr">
            <a:noAutofit/>
          </a:bodyPr>
          <a:lstStyle>
            <a:lvl1pPr>
              <a:defRPr sz="4000" b="0" spc="0" baseline="0"/>
            </a:lvl1pPr>
          </a:lstStyle>
          <a:p>
            <a:r>
              <a:rPr lang="en-GB" noProof="0"/>
              <a:t>Put a long statement or a quote here, keep it regular 40 </a:t>
            </a:r>
            <a:r>
              <a:rPr lang="en-GB" noProof="0" err="1"/>
              <a:t>pt</a:t>
            </a:r>
            <a:endParaRPr lang="en-GB" noProof="0"/>
          </a:p>
        </p:txBody>
      </p:sp>
      <p:sp>
        <p:nvSpPr>
          <p:cNvPr id="4" name="Footer Placeholder 3">
            <a:extLst>
              <a:ext uri="{FF2B5EF4-FFF2-40B4-BE49-F238E27FC236}">
                <a16:creationId xmlns:a16="http://schemas.microsoft.com/office/drawing/2014/main" id="{F08AE3EC-F985-214A-B20E-84BB4377F356}"/>
              </a:ext>
            </a:extLst>
          </p:cNvPr>
          <p:cNvSpPr>
            <a:spLocks noGrp="1"/>
          </p:cNvSpPr>
          <p:nvPr>
            <p:ph type="ftr" sz="quarter" idx="15"/>
          </p:nvPr>
        </p:nvSpPr>
        <p:spPr/>
        <p:txBody>
          <a:bodyPr/>
          <a:lstStyle/>
          <a:p>
            <a:endParaRPr lang="en-NL"/>
          </a:p>
        </p:txBody>
      </p:sp>
      <p:sp>
        <p:nvSpPr>
          <p:cNvPr id="8" name="TextBox 7">
            <a:extLst>
              <a:ext uri="{FF2B5EF4-FFF2-40B4-BE49-F238E27FC236}">
                <a16:creationId xmlns:a16="http://schemas.microsoft.com/office/drawing/2014/main" id="{0FE629E5-989E-6549-877B-8C45333B32D6}"/>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66046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atement 1 on double background">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2E196F3F-0661-674B-B21B-282CCEADCBCE}"/>
              </a:ext>
            </a:extLst>
          </p:cNvPr>
          <p:cNvSpPr>
            <a:spLocks noGrp="1"/>
          </p:cNvSpPr>
          <p:nvPr>
            <p:ph type="pic" sz="quarter" idx="16" hasCustomPrompt="1"/>
          </p:nvPr>
        </p:nvSpPr>
        <p:spPr>
          <a:xfrm>
            <a:off x="12190412" y="486000"/>
            <a:ext cx="11700793"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n inspirational picture into this frame. Or fill with one of the Theme Colours</a:t>
            </a:r>
          </a:p>
        </p:txBody>
      </p:sp>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11700000" cy="12744000"/>
          </a:xfrm>
          <a:solidFill>
            <a:schemeClr val="bg1">
              <a:lumMod val="8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9179812" y="1673225"/>
            <a:ext cx="9132001" cy="8640763"/>
          </a:xfrm>
          <a:prstGeom prst="rect">
            <a:avLst/>
          </a:prstGeom>
          <a:solidFill>
            <a:schemeClr val="bg1"/>
          </a:solidFill>
        </p:spPr>
        <p:txBody>
          <a:bodyPr vert="horz" lIns="720000" tIns="360000" rIns="360000" bIns="360000" rtlCol="0" anchor="ctr">
            <a:noAutofit/>
          </a:bodyPr>
          <a:lstStyle>
            <a:lvl1pPr>
              <a:defRPr sz="4000" b="0" spc="0" baseline="0"/>
            </a:lvl1pPr>
          </a:lstStyle>
          <a:p>
            <a:r>
              <a:rPr lang="en-GB" noProof="0"/>
              <a:t>Put a long statement or a quote here, keep it regular 40 </a:t>
            </a:r>
            <a:r>
              <a:rPr lang="en-GB" noProof="0" err="1"/>
              <a:t>pt</a:t>
            </a:r>
            <a:endParaRPr lang="en-GB" noProof="0"/>
          </a:p>
        </p:txBody>
      </p:sp>
      <p:sp>
        <p:nvSpPr>
          <p:cNvPr id="3" name="Footer Placeholder 2">
            <a:extLst>
              <a:ext uri="{FF2B5EF4-FFF2-40B4-BE49-F238E27FC236}">
                <a16:creationId xmlns:a16="http://schemas.microsoft.com/office/drawing/2014/main" id="{50DDB570-67BE-EB4D-A534-19942E8D0F02}"/>
              </a:ext>
            </a:extLst>
          </p:cNvPr>
          <p:cNvSpPr>
            <a:spLocks noGrp="1"/>
          </p:cNvSpPr>
          <p:nvPr>
            <p:ph type="ftr" sz="quarter" idx="17"/>
          </p:nvPr>
        </p:nvSpPr>
        <p:spPr/>
        <p:txBody>
          <a:bodyPr/>
          <a:lstStyle/>
          <a:p>
            <a:endParaRPr lang="en-NL"/>
          </a:p>
        </p:txBody>
      </p:sp>
      <p:sp>
        <p:nvSpPr>
          <p:cNvPr id="8" name="TextBox 7">
            <a:extLst>
              <a:ext uri="{FF2B5EF4-FFF2-40B4-BE49-F238E27FC236}">
                <a16:creationId xmlns:a16="http://schemas.microsoft.com/office/drawing/2014/main" id="{EEDCEF97-2600-484D-BCF3-2F9C6FC44F07}"/>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45613765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tatement 1 on double background">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2E196F3F-0661-674B-B21B-282CCEADCBCE}"/>
              </a:ext>
            </a:extLst>
          </p:cNvPr>
          <p:cNvSpPr>
            <a:spLocks noGrp="1"/>
          </p:cNvSpPr>
          <p:nvPr>
            <p:ph type="pic" sz="quarter" idx="16" hasCustomPrompt="1"/>
          </p:nvPr>
        </p:nvSpPr>
        <p:spPr>
          <a:xfrm>
            <a:off x="12190414" y="486000"/>
            <a:ext cx="11700792"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n inspirational picture into this frame. Or fill with one of the Theme Colours</a:t>
            </a:r>
          </a:p>
        </p:txBody>
      </p:sp>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7" y="486000"/>
            <a:ext cx="11700000" cy="12744000"/>
          </a:xfrm>
          <a:solidFill>
            <a:schemeClr val="bg1">
              <a:lumMod val="8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9179812" y="1673226"/>
            <a:ext cx="9132002" cy="8640764"/>
          </a:xfrm>
          <a:prstGeom prst="rect">
            <a:avLst/>
          </a:prstGeom>
          <a:solidFill>
            <a:schemeClr val="bg1"/>
          </a:solidFill>
        </p:spPr>
        <p:txBody>
          <a:bodyPr vert="horz" lIns="720000" tIns="360000" rIns="360000" bIns="360000" rtlCol="0" anchor="ctr">
            <a:noAutofit/>
          </a:bodyPr>
          <a:lstStyle>
            <a:lvl1pPr>
              <a:defRPr sz="4000" b="0" spc="0" baseline="0"/>
            </a:lvl1pPr>
          </a:lstStyle>
          <a:p>
            <a:r>
              <a:rPr lang="en-GB" noProof="0"/>
              <a:t>Put a long statement or a quote here, keep it regular 40 </a:t>
            </a:r>
            <a:r>
              <a:rPr lang="en-GB" noProof="0" err="1"/>
              <a:t>pt</a:t>
            </a:r>
            <a:endParaRPr lang="en-GB" noProof="0"/>
          </a:p>
        </p:txBody>
      </p:sp>
      <p:sp>
        <p:nvSpPr>
          <p:cNvPr id="3" name="Footer Placeholder 2">
            <a:extLst>
              <a:ext uri="{FF2B5EF4-FFF2-40B4-BE49-F238E27FC236}">
                <a16:creationId xmlns:a16="http://schemas.microsoft.com/office/drawing/2014/main" id="{50DDB570-67BE-EB4D-A534-19942E8D0F02}"/>
              </a:ext>
            </a:extLst>
          </p:cNvPr>
          <p:cNvSpPr>
            <a:spLocks noGrp="1"/>
          </p:cNvSpPr>
          <p:nvPr>
            <p:ph type="ftr" sz="quarter" idx="17"/>
          </p:nvPr>
        </p:nvSpPr>
        <p:spPr/>
        <p:txBody>
          <a:bodyPr/>
          <a:lstStyle/>
          <a:p>
            <a:endParaRPr lang="en-NL"/>
          </a:p>
        </p:txBody>
      </p:sp>
      <p:sp>
        <p:nvSpPr>
          <p:cNvPr id="8" name="TextBox 7">
            <a:extLst>
              <a:ext uri="{FF2B5EF4-FFF2-40B4-BE49-F238E27FC236}">
                <a16:creationId xmlns:a16="http://schemas.microsoft.com/office/drawing/2014/main" id="{EEDCEF97-2600-484D-BCF3-2F9C6FC44F07}"/>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77676507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tatement 2 on double background">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31FA6885-927C-7B4C-8BD0-54E7A0823B52}"/>
              </a:ext>
            </a:extLst>
          </p:cNvPr>
          <p:cNvSpPr>
            <a:spLocks noGrp="1"/>
          </p:cNvSpPr>
          <p:nvPr>
            <p:ph type="pic" sz="quarter" idx="16" hasCustomPrompt="1"/>
          </p:nvPr>
        </p:nvSpPr>
        <p:spPr>
          <a:xfrm>
            <a:off x="6049095" y="486000"/>
            <a:ext cx="17842113"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n inspirational picture into this frame. Or fill with one of the Theme Colours</a:t>
            </a:r>
          </a:p>
        </p:txBody>
      </p:sp>
      <p:sp>
        <p:nvSpPr>
          <p:cNvPr id="9" name="Picture Placeholder 10">
            <a:extLst>
              <a:ext uri="{FF2B5EF4-FFF2-40B4-BE49-F238E27FC236}">
                <a16:creationId xmlns:a16="http://schemas.microsoft.com/office/drawing/2014/main" id="{ADB4BA95-E492-D840-88F6-2FE23D26918D}"/>
              </a:ext>
            </a:extLst>
          </p:cNvPr>
          <p:cNvSpPr>
            <a:spLocks noGrp="1"/>
          </p:cNvSpPr>
          <p:nvPr>
            <p:ph type="pic" sz="quarter" idx="14" hasCustomPrompt="1"/>
          </p:nvPr>
        </p:nvSpPr>
        <p:spPr>
          <a:xfrm>
            <a:off x="491206" y="486000"/>
            <a:ext cx="11699207" cy="12744000"/>
          </a:xfrm>
          <a:prstGeom prst="corner">
            <a:avLst>
              <a:gd name="adj1" fmla="val 25065"/>
              <a:gd name="adj2" fmla="val 47348"/>
            </a:avLst>
          </a:prstGeom>
          <a:solidFill>
            <a:schemeClr val="bg1">
              <a:lumMod val="8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7" name="Title Placeholder 6">
            <a:extLst>
              <a:ext uri="{FF2B5EF4-FFF2-40B4-BE49-F238E27FC236}">
                <a16:creationId xmlns:a16="http://schemas.microsoft.com/office/drawing/2014/main" id="{1B090AE2-5953-9248-BD9A-B5FA2155AD8A}"/>
              </a:ext>
            </a:extLst>
          </p:cNvPr>
          <p:cNvSpPr>
            <a:spLocks noGrp="1"/>
          </p:cNvSpPr>
          <p:nvPr>
            <p:ph type="title" hasCustomPrompt="1"/>
          </p:nvPr>
        </p:nvSpPr>
        <p:spPr>
          <a:xfrm>
            <a:off x="6049095" y="3402014"/>
            <a:ext cx="12284224" cy="6911976"/>
          </a:xfrm>
          <a:prstGeom prst="rect">
            <a:avLst/>
          </a:prstGeom>
          <a:solidFill>
            <a:schemeClr val="bg1"/>
          </a:solidFill>
        </p:spPr>
        <p:txBody>
          <a:bodyPr vert="horz" lIns="720000" tIns="360000" rIns="360000" bIns="360000" rtlCol="0" anchor="ctr">
            <a:noAutofit/>
          </a:bodyPr>
          <a:lstStyle>
            <a:lvl1pPr>
              <a:defRPr/>
            </a:lvl1pPr>
          </a:lstStyle>
          <a:p>
            <a:r>
              <a:rPr lang="en-GB" noProof="0"/>
              <a:t>Put a short statement here, keep it bold 80 </a:t>
            </a:r>
            <a:r>
              <a:rPr lang="en-GB" noProof="0" err="1"/>
              <a:t>pt</a:t>
            </a:r>
            <a:endParaRPr lang="en-GB" noProof="0"/>
          </a:p>
        </p:txBody>
      </p:sp>
      <p:sp>
        <p:nvSpPr>
          <p:cNvPr id="3" name="Footer Placeholder 2">
            <a:extLst>
              <a:ext uri="{FF2B5EF4-FFF2-40B4-BE49-F238E27FC236}">
                <a16:creationId xmlns:a16="http://schemas.microsoft.com/office/drawing/2014/main" id="{23AF250D-036E-9947-B629-124D8B6FF87C}"/>
              </a:ext>
            </a:extLst>
          </p:cNvPr>
          <p:cNvSpPr>
            <a:spLocks noGrp="1"/>
          </p:cNvSpPr>
          <p:nvPr>
            <p:ph type="ftr" sz="quarter" idx="17"/>
          </p:nvPr>
        </p:nvSpPr>
        <p:spPr/>
        <p:txBody>
          <a:bodyPr/>
          <a:lstStyle/>
          <a:p>
            <a:endParaRPr lang="en-NL"/>
          </a:p>
        </p:txBody>
      </p:sp>
      <p:sp>
        <p:nvSpPr>
          <p:cNvPr id="8" name="TextBox 7">
            <a:extLst>
              <a:ext uri="{FF2B5EF4-FFF2-40B4-BE49-F238E27FC236}">
                <a16:creationId xmlns:a16="http://schemas.microsoft.com/office/drawing/2014/main" id="{EA23A869-D63F-9145-B2E7-DAF3BC84C059}"/>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6071672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ext in one column">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3397E6F6-DFC7-C54D-9E7E-CD51822BE714}"/>
              </a:ext>
            </a:extLst>
          </p:cNvPr>
          <p:cNvSpPr>
            <a:spLocks noGrp="1"/>
          </p:cNvSpPr>
          <p:nvPr>
            <p:ph type="body" sz="quarter" idx="18" hasCustomPrompt="1"/>
          </p:nvPr>
        </p:nvSpPr>
        <p:spPr>
          <a:xfrm>
            <a:off x="1674329" y="5129214"/>
            <a:ext cx="10516084" cy="6904512"/>
          </a:xfrm>
        </p:spPr>
        <p:txBody>
          <a:bodyPr>
            <a:noAutofit/>
          </a:bodyPr>
          <a:lstStyle>
            <a:lvl1pPr>
              <a:spcBef>
                <a:spcPts val="2000"/>
              </a:spcBef>
              <a:defRPr sz="3200"/>
            </a:lvl1pPr>
          </a:lstStyle>
          <a:p>
            <a:pPr lvl="0"/>
            <a:r>
              <a:rPr lang="en-GB" noProof="0"/>
              <a:t>Put the paragraph text here, keep it regular 32 </a:t>
            </a:r>
            <a:r>
              <a:rPr lang="en-GB" noProof="0" err="1"/>
              <a:t>pt</a:t>
            </a:r>
            <a:endParaRPr lang="en-GB" noProof="0"/>
          </a:p>
        </p:txBody>
      </p:sp>
      <p:sp>
        <p:nvSpPr>
          <p:cNvPr id="2" name="Title 1">
            <a:extLst>
              <a:ext uri="{FF2B5EF4-FFF2-40B4-BE49-F238E27FC236}">
                <a16:creationId xmlns:a16="http://schemas.microsoft.com/office/drawing/2014/main" id="{531E4EAE-C7D1-764F-A32B-CAEBD1FFE575}"/>
              </a:ext>
            </a:extLst>
          </p:cNvPr>
          <p:cNvSpPr>
            <a:spLocks noGrp="1"/>
          </p:cNvSpPr>
          <p:nvPr>
            <p:ph type="title" hasCustomPrompt="1"/>
          </p:nvPr>
        </p:nvSpPr>
        <p:spPr/>
        <p:txBody>
          <a:bodyPr/>
          <a:lstStyle/>
          <a:p>
            <a:r>
              <a:rPr lang="en-GB"/>
              <a:t>Put the headline here, </a:t>
            </a:r>
            <a:br>
              <a:rPr lang="en-GB"/>
            </a:br>
            <a:r>
              <a:rPr lang="en-GB"/>
              <a:t>keep it bold 80 </a:t>
            </a:r>
            <a:r>
              <a:rPr lang="en-GB" err="1"/>
              <a:t>pt</a:t>
            </a:r>
            <a:endParaRPr lang="en-NL"/>
          </a:p>
        </p:txBody>
      </p:sp>
      <p:sp>
        <p:nvSpPr>
          <p:cNvPr id="7" name="Footer Placeholder 6">
            <a:extLst>
              <a:ext uri="{FF2B5EF4-FFF2-40B4-BE49-F238E27FC236}">
                <a16:creationId xmlns:a16="http://schemas.microsoft.com/office/drawing/2014/main" id="{3E14A44A-1600-B842-B2DE-66DACFA6C861}"/>
              </a:ext>
            </a:extLst>
          </p:cNvPr>
          <p:cNvSpPr>
            <a:spLocks noGrp="1"/>
          </p:cNvSpPr>
          <p:nvPr>
            <p:ph type="ftr" sz="quarter" idx="19"/>
          </p:nvPr>
        </p:nvSpPr>
        <p:spPr/>
        <p:txBody>
          <a:bodyPr/>
          <a:lstStyle/>
          <a:p>
            <a:endParaRPr lang="en-NL"/>
          </a:p>
        </p:txBody>
      </p:sp>
      <p:sp>
        <p:nvSpPr>
          <p:cNvPr id="8" name="TextBox 7">
            <a:extLst>
              <a:ext uri="{FF2B5EF4-FFF2-40B4-BE49-F238E27FC236}">
                <a16:creationId xmlns:a16="http://schemas.microsoft.com/office/drawing/2014/main" id="{CB57B542-06A9-DE4F-969F-191CC73CC3F4}"/>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54289504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xt in two column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2A2A612F-B7D0-EE48-9553-5C46B1883978}"/>
              </a:ext>
            </a:extLst>
          </p:cNvPr>
          <p:cNvSpPr>
            <a:spLocks noGrp="1"/>
          </p:cNvSpPr>
          <p:nvPr>
            <p:ph type="body" sz="quarter" idx="18" hasCustomPrompt="1"/>
          </p:nvPr>
        </p:nvSpPr>
        <p:spPr>
          <a:xfrm>
            <a:off x="1674329" y="5129214"/>
            <a:ext cx="10080000" cy="6904512"/>
          </a:xfrm>
        </p:spPr>
        <p:txBody>
          <a:bodyPr>
            <a:noAutofit/>
          </a:bodyPr>
          <a:lstStyle>
            <a:lvl1pPr>
              <a:spcBef>
                <a:spcPts val="2000"/>
              </a:spcBef>
              <a:defRPr sz="3200"/>
            </a:lvl1pPr>
          </a:lstStyle>
          <a:p>
            <a:pPr lvl="0"/>
            <a:r>
              <a:rPr lang="en-GB" noProof="0"/>
              <a:t>Put the first column text here, keep it regular 32 </a:t>
            </a:r>
            <a:r>
              <a:rPr lang="en-GB" noProof="0" err="1"/>
              <a:t>pt</a:t>
            </a:r>
            <a:endParaRPr lang="en-GB" noProof="0"/>
          </a:p>
        </p:txBody>
      </p:sp>
      <p:sp>
        <p:nvSpPr>
          <p:cNvPr id="12" name="Title 1">
            <a:extLst>
              <a:ext uri="{FF2B5EF4-FFF2-40B4-BE49-F238E27FC236}">
                <a16:creationId xmlns:a16="http://schemas.microsoft.com/office/drawing/2014/main" id="{E0055953-7F4C-2747-BE6A-BA18649898F4}"/>
              </a:ext>
            </a:extLst>
          </p:cNvPr>
          <p:cNvSpPr>
            <a:spLocks noGrp="1"/>
          </p:cNvSpPr>
          <p:nvPr>
            <p:ph type="title" hasCustomPrompt="1"/>
          </p:nvPr>
        </p:nvSpPr>
        <p:spPr>
          <a:xfrm>
            <a:off x="1676293" y="1677600"/>
            <a:ext cx="21033007" cy="3011660"/>
          </a:xfrm>
        </p:spPr>
        <p:txBody>
          <a:bodyPr/>
          <a:lstStyle/>
          <a:p>
            <a:r>
              <a:rPr lang="en-GB"/>
              <a:t>Put the headline here,</a:t>
            </a:r>
            <a:br>
              <a:rPr lang="en-GB"/>
            </a:br>
            <a:r>
              <a:rPr lang="en-GB"/>
              <a:t>keep it bold 80 </a:t>
            </a:r>
            <a:r>
              <a:rPr lang="en-GB" err="1"/>
              <a:t>pt</a:t>
            </a:r>
            <a:endParaRPr lang="en-NL"/>
          </a:p>
        </p:txBody>
      </p:sp>
      <p:sp>
        <p:nvSpPr>
          <p:cNvPr id="14" name="Text Placeholder 3">
            <a:extLst>
              <a:ext uri="{FF2B5EF4-FFF2-40B4-BE49-F238E27FC236}">
                <a16:creationId xmlns:a16="http://schemas.microsoft.com/office/drawing/2014/main" id="{5F720E9C-2098-114A-B6BC-477F05727234}"/>
              </a:ext>
            </a:extLst>
          </p:cNvPr>
          <p:cNvSpPr>
            <a:spLocks noGrp="1"/>
          </p:cNvSpPr>
          <p:nvPr>
            <p:ph type="body" sz="quarter" idx="19" hasCustomPrompt="1"/>
          </p:nvPr>
        </p:nvSpPr>
        <p:spPr>
          <a:xfrm>
            <a:off x="12628084" y="5129214"/>
            <a:ext cx="10080000" cy="6904512"/>
          </a:xfrm>
        </p:spPr>
        <p:txBody>
          <a:bodyPr>
            <a:noAutofit/>
          </a:bodyPr>
          <a:lstStyle>
            <a:lvl1pPr>
              <a:spcBef>
                <a:spcPts val="2000"/>
              </a:spcBef>
              <a:defRPr sz="3200"/>
            </a:lvl1pPr>
          </a:lstStyle>
          <a:p>
            <a:pPr lvl="0"/>
            <a:r>
              <a:rPr lang="en-GB" noProof="0"/>
              <a:t>Put the second column text here, keep it regular 32 </a:t>
            </a:r>
            <a:r>
              <a:rPr lang="en-GB" noProof="0" err="1"/>
              <a:t>pt</a:t>
            </a:r>
            <a:endParaRPr lang="en-GB" noProof="0"/>
          </a:p>
        </p:txBody>
      </p:sp>
      <p:sp>
        <p:nvSpPr>
          <p:cNvPr id="4" name="Footer Placeholder 3">
            <a:extLst>
              <a:ext uri="{FF2B5EF4-FFF2-40B4-BE49-F238E27FC236}">
                <a16:creationId xmlns:a16="http://schemas.microsoft.com/office/drawing/2014/main" id="{30B91129-2FC5-334C-9789-17535DAF1987}"/>
              </a:ext>
            </a:extLst>
          </p:cNvPr>
          <p:cNvSpPr>
            <a:spLocks noGrp="1"/>
          </p:cNvSpPr>
          <p:nvPr>
            <p:ph type="ftr" sz="quarter" idx="20"/>
          </p:nvPr>
        </p:nvSpPr>
        <p:spPr/>
        <p:txBody>
          <a:bodyPr/>
          <a:lstStyle/>
          <a:p>
            <a:endParaRPr lang="en-NL"/>
          </a:p>
        </p:txBody>
      </p:sp>
      <p:sp>
        <p:nvSpPr>
          <p:cNvPr id="9" name="TextBox 8">
            <a:extLst>
              <a:ext uri="{FF2B5EF4-FFF2-40B4-BE49-F238E27FC236}">
                <a16:creationId xmlns:a16="http://schemas.microsoft.com/office/drawing/2014/main" id="{1215165C-F26D-3544-AAD2-A26EE1B743AA}"/>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18890288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xt in three columns">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F48D91E-AB60-4041-B4FC-3E50759777E5}"/>
              </a:ext>
            </a:extLst>
          </p:cNvPr>
          <p:cNvSpPr>
            <a:spLocks noGrp="1"/>
          </p:cNvSpPr>
          <p:nvPr>
            <p:ph type="title" hasCustomPrompt="1"/>
          </p:nvPr>
        </p:nvSpPr>
        <p:spPr>
          <a:xfrm>
            <a:off x="1676293" y="1677600"/>
            <a:ext cx="21033007" cy="3011660"/>
          </a:xfrm>
        </p:spPr>
        <p:txBody>
          <a:bodyPr/>
          <a:lstStyle/>
          <a:p>
            <a:r>
              <a:rPr lang="en-GB"/>
              <a:t>Put the headline here,</a:t>
            </a:r>
            <a:br>
              <a:rPr lang="en-GB"/>
            </a:br>
            <a:r>
              <a:rPr lang="en-GB"/>
              <a:t>keep it bold 80 </a:t>
            </a:r>
            <a:r>
              <a:rPr lang="en-GB" err="1"/>
              <a:t>pt</a:t>
            </a:r>
            <a:endParaRPr lang="en-NL"/>
          </a:p>
        </p:txBody>
      </p:sp>
      <p:sp>
        <p:nvSpPr>
          <p:cNvPr id="19" name="Text Placeholder 3">
            <a:extLst>
              <a:ext uri="{FF2B5EF4-FFF2-40B4-BE49-F238E27FC236}">
                <a16:creationId xmlns:a16="http://schemas.microsoft.com/office/drawing/2014/main" id="{292A3CC4-2948-634E-A9F0-D2126C8DA330}"/>
              </a:ext>
            </a:extLst>
          </p:cNvPr>
          <p:cNvSpPr>
            <a:spLocks noGrp="1"/>
          </p:cNvSpPr>
          <p:nvPr>
            <p:ph type="body" sz="quarter" idx="21" hasCustomPrompt="1"/>
          </p:nvPr>
        </p:nvSpPr>
        <p:spPr>
          <a:xfrm>
            <a:off x="9166226" y="5129214"/>
            <a:ext cx="6049964" cy="6904512"/>
          </a:xfrm>
        </p:spPr>
        <p:txBody>
          <a:bodyPr>
            <a:noAutofit/>
          </a:bodyPr>
          <a:lstStyle>
            <a:lvl1pPr marL="342883" indent="-342883">
              <a:spcBef>
                <a:spcPts val="2000"/>
              </a:spcBef>
              <a:buFont typeface="Arial" panose="020B0604020202020204" pitchFamily="34" charset="0"/>
              <a:buChar char="•"/>
              <a:defRPr sz="2400"/>
            </a:lvl1pPr>
          </a:lstStyle>
          <a:p>
            <a:pPr lvl="0"/>
            <a:r>
              <a:rPr lang="en-GB" noProof="0"/>
              <a:t>Put the second column list here, keep it regular 24 </a:t>
            </a:r>
            <a:r>
              <a:rPr lang="en-GB" noProof="0" err="1"/>
              <a:t>pt</a:t>
            </a:r>
            <a:endParaRPr lang="en-GB" noProof="0"/>
          </a:p>
        </p:txBody>
      </p:sp>
      <p:sp>
        <p:nvSpPr>
          <p:cNvPr id="20" name="Text Placeholder 3">
            <a:extLst>
              <a:ext uri="{FF2B5EF4-FFF2-40B4-BE49-F238E27FC236}">
                <a16:creationId xmlns:a16="http://schemas.microsoft.com/office/drawing/2014/main" id="{B772D797-9E99-7B44-81B1-A91F96DFFAD6}"/>
              </a:ext>
            </a:extLst>
          </p:cNvPr>
          <p:cNvSpPr>
            <a:spLocks noGrp="1"/>
          </p:cNvSpPr>
          <p:nvPr>
            <p:ph type="body" sz="quarter" idx="22" hasCustomPrompt="1"/>
          </p:nvPr>
        </p:nvSpPr>
        <p:spPr>
          <a:xfrm>
            <a:off x="1676292" y="5129214"/>
            <a:ext cx="6049964" cy="6904512"/>
          </a:xfrm>
        </p:spPr>
        <p:txBody>
          <a:bodyPr>
            <a:noAutofit/>
          </a:bodyPr>
          <a:lstStyle>
            <a:lvl1pPr marL="342883" indent="-342883">
              <a:spcBef>
                <a:spcPts val="2000"/>
              </a:spcBef>
              <a:buFont typeface="Arial" panose="020B0604020202020204" pitchFamily="34" charset="0"/>
              <a:buChar char="•"/>
              <a:defRPr sz="2400"/>
            </a:lvl1pPr>
          </a:lstStyle>
          <a:p>
            <a:pPr lvl="0"/>
            <a:r>
              <a:rPr lang="en-GB" noProof="0"/>
              <a:t>Put the first column list here, keep it regular 24 </a:t>
            </a:r>
            <a:r>
              <a:rPr lang="en-GB" noProof="0" err="1"/>
              <a:t>pt</a:t>
            </a:r>
            <a:endParaRPr lang="en-GB" noProof="0"/>
          </a:p>
        </p:txBody>
      </p:sp>
      <p:sp>
        <p:nvSpPr>
          <p:cNvPr id="21" name="Text Placeholder 3">
            <a:extLst>
              <a:ext uri="{FF2B5EF4-FFF2-40B4-BE49-F238E27FC236}">
                <a16:creationId xmlns:a16="http://schemas.microsoft.com/office/drawing/2014/main" id="{EA077ACA-637D-0643-8E1E-31E31C902655}"/>
              </a:ext>
            </a:extLst>
          </p:cNvPr>
          <p:cNvSpPr>
            <a:spLocks noGrp="1"/>
          </p:cNvSpPr>
          <p:nvPr>
            <p:ph type="body" sz="quarter" idx="23" hasCustomPrompt="1"/>
          </p:nvPr>
        </p:nvSpPr>
        <p:spPr>
          <a:xfrm>
            <a:off x="16656159" y="5129214"/>
            <a:ext cx="6049964" cy="6904512"/>
          </a:xfrm>
        </p:spPr>
        <p:txBody>
          <a:bodyPr>
            <a:noAutofit/>
          </a:bodyPr>
          <a:lstStyle>
            <a:lvl1pPr marL="342883" indent="-342883">
              <a:spcBef>
                <a:spcPts val="2000"/>
              </a:spcBef>
              <a:buFont typeface="Arial" panose="020B0604020202020204" pitchFamily="34" charset="0"/>
              <a:buChar char="•"/>
              <a:defRPr sz="2400"/>
            </a:lvl1pPr>
          </a:lstStyle>
          <a:p>
            <a:pPr lvl="0"/>
            <a:r>
              <a:rPr lang="en-GB" noProof="0"/>
              <a:t>Put the third column list here, keep it regular 24 </a:t>
            </a:r>
            <a:r>
              <a:rPr lang="en-GB" noProof="0" err="1"/>
              <a:t>pt</a:t>
            </a:r>
            <a:endParaRPr lang="en-GB" noProof="0"/>
          </a:p>
        </p:txBody>
      </p:sp>
      <p:sp>
        <p:nvSpPr>
          <p:cNvPr id="4" name="Footer Placeholder 3">
            <a:extLst>
              <a:ext uri="{FF2B5EF4-FFF2-40B4-BE49-F238E27FC236}">
                <a16:creationId xmlns:a16="http://schemas.microsoft.com/office/drawing/2014/main" id="{9F259679-D8E8-0F42-BB59-3BCBFC65EB1B}"/>
              </a:ext>
            </a:extLst>
          </p:cNvPr>
          <p:cNvSpPr>
            <a:spLocks noGrp="1"/>
          </p:cNvSpPr>
          <p:nvPr>
            <p:ph type="ftr" sz="quarter" idx="24"/>
          </p:nvPr>
        </p:nvSpPr>
        <p:spPr/>
        <p:txBody>
          <a:bodyPr/>
          <a:lstStyle/>
          <a:p>
            <a:endParaRPr lang="en-NL"/>
          </a:p>
        </p:txBody>
      </p:sp>
      <p:sp>
        <p:nvSpPr>
          <p:cNvPr id="10" name="TextBox 9">
            <a:extLst>
              <a:ext uri="{FF2B5EF4-FFF2-40B4-BE49-F238E27FC236}">
                <a16:creationId xmlns:a16="http://schemas.microsoft.com/office/drawing/2014/main" id="{F6C0470B-F20E-A142-917D-853951DA8234}"/>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80741908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Long text in two columns">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63367C8D-9B77-984C-8B9E-6950D34AC3FE}"/>
              </a:ext>
            </a:extLst>
          </p:cNvPr>
          <p:cNvSpPr>
            <a:spLocks noGrp="1"/>
          </p:cNvSpPr>
          <p:nvPr>
            <p:ph type="title" hasCustomPrompt="1"/>
          </p:nvPr>
        </p:nvSpPr>
        <p:spPr>
          <a:xfrm>
            <a:off x="1676293" y="1677600"/>
            <a:ext cx="21033007" cy="2446608"/>
          </a:xfrm>
        </p:spPr>
        <p:txBody>
          <a:bodyPr/>
          <a:lstStyle>
            <a:lvl1pPr>
              <a:defRPr sz="6000" spc="0" baseline="0"/>
            </a:lvl1pPr>
          </a:lstStyle>
          <a:p>
            <a:r>
              <a:rPr lang="en-GB"/>
              <a:t>Put the headline here, </a:t>
            </a:r>
            <a:br>
              <a:rPr lang="en-GB"/>
            </a:br>
            <a:r>
              <a:rPr lang="en-GB"/>
              <a:t>keep it bold 60 </a:t>
            </a:r>
            <a:r>
              <a:rPr lang="en-GB" err="1"/>
              <a:t>pt</a:t>
            </a:r>
            <a:endParaRPr lang="en-NL"/>
          </a:p>
        </p:txBody>
      </p:sp>
      <p:sp>
        <p:nvSpPr>
          <p:cNvPr id="10" name="Text Placeholder 3">
            <a:extLst>
              <a:ext uri="{FF2B5EF4-FFF2-40B4-BE49-F238E27FC236}">
                <a16:creationId xmlns:a16="http://schemas.microsoft.com/office/drawing/2014/main" id="{939100DF-247B-744C-82E5-5A131B43B255}"/>
              </a:ext>
            </a:extLst>
          </p:cNvPr>
          <p:cNvSpPr>
            <a:spLocks noGrp="1"/>
          </p:cNvSpPr>
          <p:nvPr>
            <p:ph type="body" sz="quarter" idx="18" hasCustomPrompt="1"/>
          </p:nvPr>
        </p:nvSpPr>
        <p:spPr>
          <a:xfrm>
            <a:off x="1674329" y="4124209"/>
            <a:ext cx="10080000" cy="7909518"/>
          </a:xfrm>
        </p:spPr>
        <p:txBody>
          <a:bodyPr>
            <a:noAutofit/>
          </a:bodyPr>
          <a:lstStyle>
            <a:lvl1pPr>
              <a:spcBef>
                <a:spcPts val="2000"/>
              </a:spcBef>
              <a:defRPr sz="2400"/>
            </a:lvl1pPr>
          </a:lstStyle>
          <a:p>
            <a:pPr lvl="0"/>
            <a:r>
              <a:rPr lang="en-GB" noProof="0"/>
              <a:t>Put the first column text here, keep it regular 24 </a:t>
            </a:r>
            <a:r>
              <a:rPr lang="en-GB" noProof="0" err="1"/>
              <a:t>pt</a:t>
            </a:r>
            <a:endParaRPr lang="en-GB" noProof="0"/>
          </a:p>
        </p:txBody>
      </p:sp>
      <p:sp>
        <p:nvSpPr>
          <p:cNvPr id="11" name="Text Placeholder 3">
            <a:extLst>
              <a:ext uri="{FF2B5EF4-FFF2-40B4-BE49-F238E27FC236}">
                <a16:creationId xmlns:a16="http://schemas.microsoft.com/office/drawing/2014/main" id="{9CCF0755-F145-EA44-8033-C854ED47EF7D}"/>
              </a:ext>
            </a:extLst>
          </p:cNvPr>
          <p:cNvSpPr>
            <a:spLocks noGrp="1"/>
          </p:cNvSpPr>
          <p:nvPr>
            <p:ph type="body" sz="quarter" idx="20" hasCustomPrompt="1"/>
          </p:nvPr>
        </p:nvSpPr>
        <p:spPr>
          <a:xfrm>
            <a:off x="12628084" y="4124209"/>
            <a:ext cx="10080000" cy="7909518"/>
          </a:xfrm>
        </p:spPr>
        <p:txBody>
          <a:bodyPr>
            <a:noAutofit/>
          </a:bodyPr>
          <a:lstStyle>
            <a:lvl1pPr>
              <a:spcBef>
                <a:spcPts val="2000"/>
              </a:spcBef>
              <a:defRPr sz="2400"/>
            </a:lvl1pPr>
          </a:lstStyle>
          <a:p>
            <a:pPr lvl="0"/>
            <a:r>
              <a:rPr lang="en-GB" noProof="0"/>
              <a:t>Put the second column text here, keep it regular 24 </a:t>
            </a:r>
            <a:r>
              <a:rPr lang="en-GB" noProof="0" err="1"/>
              <a:t>pt</a:t>
            </a:r>
            <a:endParaRPr lang="en-GB" noProof="0"/>
          </a:p>
        </p:txBody>
      </p:sp>
      <p:sp>
        <p:nvSpPr>
          <p:cNvPr id="4" name="Footer Placeholder 3">
            <a:extLst>
              <a:ext uri="{FF2B5EF4-FFF2-40B4-BE49-F238E27FC236}">
                <a16:creationId xmlns:a16="http://schemas.microsoft.com/office/drawing/2014/main" id="{513A86D6-E57E-5649-8AF5-453D2B2B151A}"/>
              </a:ext>
            </a:extLst>
          </p:cNvPr>
          <p:cNvSpPr>
            <a:spLocks noGrp="1"/>
          </p:cNvSpPr>
          <p:nvPr>
            <p:ph type="ftr" sz="quarter" idx="21"/>
          </p:nvPr>
        </p:nvSpPr>
        <p:spPr/>
        <p:txBody>
          <a:bodyPr/>
          <a:lstStyle/>
          <a:p>
            <a:endParaRPr lang="en-NL"/>
          </a:p>
        </p:txBody>
      </p:sp>
      <p:sp>
        <p:nvSpPr>
          <p:cNvPr id="13" name="TextBox 12">
            <a:extLst>
              <a:ext uri="{FF2B5EF4-FFF2-40B4-BE49-F238E27FC236}">
                <a16:creationId xmlns:a16="http://schemas.microsoft.com/office/drawing/2014/main" id="{F69A19F4-DC87-0B48-B9A2-A753D080F470}"/>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2635221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Long text in two columns and picture">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EED5078-C5D9-0E4F-B9E3-7CF7BBC8C373}"/>
              </a:ext>
            </a:extLst>
          </p:cNvPr>
          <p:cNvSpPr>
            <a:spLocks noGrp="1"/>
          </p:cNvSpPr>
          <p:nvPr>
            <p:ph type="pic" sz="quarter" idx="15" hasCustomPrompt="1"/>
          </p:nvPr>
        </p:nvSpPr>
        <p:spPr>
          <a:xfrm>
            <a:off x="491102" y="486000"/>
            <a:ext cx="10763999"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2" name="Text Placeholder 3">
            <a:extLst>
              <a:ext uri="{FF2B5EF4-FFF2-40B4-BE49-F238E27FC236}">
                <a16:creationId xmlns:a16="http://schemas.microsoft.com/office/drawing/2014/main" id="{AE87E5A1-8A67-0448-BA9A-DA74F50AE099}"/>
              </a:ext>
            </a:extLst>
          </p:cNvPr>
          <p:cNvSpPr>
            <a:spLocks noGrp="1"/>
          </p:cNvSpPr>
          <p:nvPr>
            <p:ph type="body" sz="quarter" idx="18" hasCustomPrompt="1"/>
          </p:nvPr>
        </p:nvSpPr>
        <p:spPr>
          <a:xfrm>
            <a:off x="12191206" y="5129214"/>
            <a:ext cx="5040560" cy="6904512"/>
          </a:xfrm>
        </p:spPr>
        <p:txBody>
          <a:bodyPr>
            <a:noAutofit/>
          </a:bodyPr>
          <a:lstStyle>
            <a:lvl1pPr>
              <a:spcBef>
                <a:spcPts val="2000"/>
              </a:spcBef>
              <a:defRPr sz="2400"/>
            </a:lvl1pPr>
          </a:lstStyle>
          <a:p>
            <a:pPr lvl="0"/>
            <a:r>
              <a:rPr lang="en-GB" noProof="0"/>
              <a:t>Put the first column text here, keep it regular 24 </a:t>
            </a:r>
            <a:r>
              <a:rPr lang="en-GB" noProof="0" err="1"/>
              <a:t>pt</a:t>
            </a:r>
            <a:endParaRPr lang="en-GB" noProof="0"/>
          </a:p>
        </p:txBody>
      </p:sp>
      <p:sp>
        <p:nvSpPr>
          <p:cNvPr id="13" name="Title 1">
            <a:extLst>
              <a:ext uri="{FF2B5EF4-FFF2-40B4-BE49-F238E27FC236}">
                <a16:creationId xmlns:a16="http://schemas.microsoft.com/office/drawing/2014/main" id="{0614539B-EA7E-5F48-845E-1115C11137DF}"/>
              </a:ext>
            </a:extLst>
          </p:cNvPr>
          <p:cNvSpPr>
            <a:spLocks noGrp="1"/>
          </p:cNvSpPr>
          <p:nvPr>
            <p:ph type="title" hasCustomPrompt="1"/>
          </p:nvPr>
        </p:nvSpPr>
        <p:spPr>
          <a:xfrm>
            <a:off x="12193171" y="1677600"/>
            <a:ext cx="10514914" cy="3011660"/>
          </a:xfrm>
        </p:spPr>
        <p:txBody>
          <a:bodyPr/>
          <a:lstStyle>
            <a:lvl1pPr>
              <a:defRPr sz="6000" spc="0" baseline="0"/>
            </a:lvl1pPr>
          </a:lstStyle>
          <a:p>
            <a:r>
              <a:rPr lang="en-GB"/>
              <a:t>Put the headline here, keep it 60 </a:t>
            </a:r>
            <a:r>
              <a:rPr lang="en-GB" err="1"/>
              <a:t>pt</a:t>
            </a:r>
            <a:endParaRPr lang="en-NL"/>
          </a:p>
        </p:txBody>
      </p:sp>
      <p:sp>
        <p:nvSpPr>
          <p:cNvPr id="7" name="Text Placeholder 3">
            <a:extLst>
              <a:ext uri="{FF2B5EF4-FFF2-40B4-BE49-F238E27FC236}">
                <a16:creationId xmlns:a16="http://schemas.microsoft.com/office/drawing/2014/main" id="{B26CACA4-13A0-5940-A8FA-3FC8769DA450}"/>
              </a:ext>
            </a:extLst>
          </p:cNvPr>
          <p:cNvSpPr>
            <a:spLocks noGrp="1"/>
          </p:cNvSpPr>
          <p:nvPr>
            <p:ph type="body" sz="quarter" idx="20" hasCustomPrompt="1"/>
          </p:nvPr>
        </p:nvSpPr>
        <p:spPr>
          <a:xfrm>
            <a:off x="17653543" y="5164142"/>
            <a:ext cx="5040560" cy="6904512"/>
          </a:xfrm>
        </p:spPr>
        <p:txBody>
          <a:bodyPr>
            <a:noAutofit/>
          </a:bodyPr>
          <a:lstStyle>
            <a:lvl1pPr>
              <a:spcBef>
                <a:spcPts val="2000"/>
              </a:spcBef>
              <a:defRPr sz="2400"/>
            </a:lvl1pPr>
          </a:lstStyle>
          <a:p>
            <a:pPr lvl="0"/>
            <a:r>
              <a:rPr lang="en-GB" noProof="0"/>
              <a:t>Put the second column text here, keep it regular 24 </a:t>
            </a:r>
            <a:r>
              <a:rPr lang="en-GB" noProof="0" err="1"/>
              <a:t>pt</a:t>
            </a:r>
            <a:endParaRPr lang="en-GB" noProof="0"/>
          </a:p>
        </p:txBody>
      </p:sp>
      <p:sp>
        <p:nvSpPr>
          <p:cNvPr id="4" name="Footer Placeholder 3">
            <a:extLst>
              <a:ext uri="{FF2B5EF4-FFF2-40B4-BE49-F238E27FC236}">
                <a16:creationId xmlns:a16="http://schemas.microsoft.com/office/drawing/2014/main" id="{236B4C3F-2345-FD42-B780-BD49D67130E9}"/>
              </a:ext>
            </a:extLst>
          </p:cNvPr>
          <p:cNvSpPr>
            <a:spLocks noGrp="1"/>
          </p:cNvSpPr>
          <p:nvPr>
            <p:ph type="ftr" sz="quarter" idx="21"/>
          </p:nvPr>
        </p:nvSpPr>
        <p:spPr/>
        <p:txBody>
          <a:bodyPr/>
          <a:lstStyle/>
          <a:p>
            <a:endParaRPr lang="en-NL"/>
          </a:p>
        </p:txBody>
      </p:sp>
      <p:sp>
        <p:nvSpPr>
          <p:cNvPr id="11" name="TextBox 10">
            <a:extLst>
              <a:ext uri="{FF2B5EF4-FFF2-40B4-BE49-F238E27FC236}">
                <a16:creationId xmlns:a16="http://schemas.microsoft.com/office/drawing/2014/main" id="{2C18B1BF-0727-F84E-B2A7-098862261928}"/>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12544121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Long text in three columns and picture">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EED5078-C5D9-0E4F-B9E3-7CF7BBC8C373}"/>
              </a:ext>
            </a:extLst>
          </p:cNvPr>
          <p:cNvSpPr>
            <a:spLocks noGrp="1"/>
          </p:cNvSpPr>
          <p:nvPr>
            <p:ph type="pic" sz="quarter" idx="15" hasCustomPrompt="1"/>
          </p:nvPr>
        </p:nvSpPr>
        <p:spPr>
          <a:xfrm>
            <a:off x="491103" y="486000"/>
            <a:ext cx="5579499"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2" name="Text Placeholder 3">
            <a:extLst>
              <a:ext uri="{FF2B5EF4-FFF2-40B4-BE49-F238E27FC236}">
                <a16:creationId xmlns:a16="http://schemas.microsoft.com/office/drawing/2014/main" id="{AE87E5A1-8A67-0448-BA9A-DA74F50AE099}"/>
              </a:ext>
            </a:extLst>
          </p:cNvPr>
          <p:cNvSpPr>
            <a:spLocks noGrp="1"/>
          </p:cNvSpPr>
          <p:nvPr>
            <p:ph type="body" sz="quarter" idx="18" hasCustomPrompt="1"/>
          </p:nvPr>
        </p:nvSpPr>
        <p:spPr>
          <a:xfrm>
            <a:off x="12191206" y="5129214"/>
            <a:ext cx="5040560" cy="6904512"/>
          </a:xfrm>
        </p:spPr>
        <p:txBody>
          <a:bodyPr>
            <a:noAutofit/>
          </a:bodyPr>
          <a:lstStyle>
            <a:lvl1pPr>
              <a:spcBef>
                <a:spcPts val="2000"/>
              </a:spcBef>
              <a:defRPr sz="1600"/>
            </a:lvl1pPr>
          </a:lstStyle>
          <a:p>
            <a:pPr lvl="0"/>
            <a:r>
              <a:rPr lang="en-GB" noProof="0"/>
              <a:t>Put the body text here, keep it regular 16 </a:t>
            </a:r>
            <a:r>
              <a:rPr lang="en-GB" noProof="0" err="1"/>
              <a:t>pt</a:t>
            </a:r>
            <a:endParaRPr lang="en-GB" noProof="0"/>
          </a:p>
        </p:txBody>
      </p:sp>
      <p:sp>
        <p:nvSpPr>
          <p:cNvPr id="13" name="Title 1">
            <a:extLst>
              <a:ext uri="{FF2B5EF4-FFF2-40B4-BE49-F238E27FC236}">
                <a16:creationId xmlns:a16="http://schemas.microsoft.com/office/drawing/2014/main" id="{0614539B-EA7E-5F48-845E-1115C11137DF}"/>
              </a:ext>
            </a:extLst>
          </p:cNvPr>
          <p:cNvSpPr>
            <a:spLocks noGrp="1"/>
          </p:cNvSpPr>
          <p:nvPr>
            <p:ph type="title" hasCustomPrompt="1"/>
          </p:nvPr>
        </p:nvSpPr>
        <p:spPr>
          <a:xfrm>
            <a:off x="6728871" y="1677600"/>
            <a:ext cx="15979214" cy="3011660"/>
          </a:xfrm>
        </p:spPr>
        <p:txBody>
          <a:bodyPr/>
          <a:lstStyle>
            <a:lvl1pPr>
              <a:defRPr sz="6000" spc="0" baseline="0"/>
            </a:lvl1pPr>
          </a:lstStyle>
          <a:p>
            <a:r>
              <a:rPr lang="en-GB"/>
              <a:t>Put the headline here, </a:t>
            </a:r>
            <a:br>
              <a:rPr lang="en-GB"/>
            </a:br>
            <a:r>
              <a:rPr lang="en-GB"/>
              <a:t>keep it 60 </a:t>
            </a:r>
            <a:r>
              <a:rPr lang="en-GB" err="1"/>
              <a:t>pt</a:t>
            </a:r>
            <a:endParaRPr lang="en-NL"/>
          </a:p>
        </p:txBody>
      </p:sp>
      <p:sp>
        <p:nvSpPr>
          <p:cNvPr id="7" name="Text Placeholder 3">
            <a:extLst>
              <a:ext uri="{FF2B5EF4-FFF2-40B4-BE49-F238E27FC236}">
                <a16:creationId xmlns:a16="http://schemas.microsoft.com/office/drawing/2014/main" id="{B26CACA4-13A0-5940-A8FA-3FC8769DA450}"/>
              </a:ext>
            </a:extLst>
          </p:cNvPr>
          <p:cNvSpPr>
            <a:spLocks noGrp="1"/>
          </p:cNvSpPr>
          <p:nvPr>
            <p:ph type="body" sz="quarter" idx="20" hasCustomPrompt="1"/>
          </p:nvPr>
        </p:nvSpPr>
        <p:spPr>
          <a:xfrm>
            <a:off x="17653543" y="5164142"/>
            <a:ext cx="5040560" cy="6904512"/>
          </a:xfrm>
        </p:spPr>
        <p:txBody>
          <a:bodyPr>
            <a:noAutofit/>
          </a:bodyPr>
          <a:lstStyle>
            <a:lvl1pPr>
              <a:spcBef>
                <a:spcPts val="2000"/>
              </a:spcBef>
              <a:defRPr sz="1600"/>
            </a:lvl1pPr>
          </a:lstStyle>
          <a:p>
            <a:pPr lvl="0"/>
            <a:r>
              <a:rPr lang="en-GB" noProof="0"/>
              <a:t>Put the body text here, keep it regular 16 </a:t>
            </a:r>
            <a:r>
              <a:rPr lang="en-GB" noProof="0" err="1"/>
              <a:t>pt</a:t>
            </a:r>
            <a:endParaRPr lang="en-GB" noProof="0"/>
          </a:p>
        </p:txBody>
      </p:sp>
      <p:sp>
        <p:nvSpPr>
          <p:cNvPr id="8" name="Text Placeholder 3">
            <a:extLst>
              <a:ext uri="{FF2B5EF4-FFF2-40B4-BE49-F238E27FC236}">
                <a16:creationId xmlns:a16="http://schemas.microsoft.com/office/drawing/2014/main" id="{0C7CE63B-C4F3-714B-8275-BBB3C3035E61}"/>
              </a:ext>
            </a:extLst>
          </p:cNvPr>
          <p:cNvSpPr>
            <a:spLocks noGrp="1"/>
          </p:cNvSpPr>
          <p:nvPr>
            <p:ph type="body" sz="quarter" idx="21" hasCustomPrompt="1"/>
          </p:nvPr>
        </p:nvSpPr>
        <p:spPr>
          <a:xfrm>
            <a:off x="6728870" y="5129214"/>
            <a:ext cx="5040560" cy="6904512"/>
          </a:xfrm>
        </p:spPr>
        <p:txBody>
          <a:bodyPr>
            <a:noAutofit/>
          </a:bodyPr>
          <a:lstStyle>
            <a:lvl1pPr>
              <a:spcBef>
                <a:spcPts val="2000"/>
              </a:spcBef>
              <a:defRPr sz="1600"/>
            </a:lvl1pPr>
          </a:lstStyle>
          <a:p>
            <a:pPr lvl="0"/>
            <a:r>
              <a:rPr lang="en-GB" noProof="0"/>
              <a:t>Put the body text here, keep it regular 16 </a:t>
            </a:r>
            <a:r>
              <a:rPr lang="en-GB" noProof="0" err="1"/>
              <a:t>pt</a:t>
            </a:r>
            <a:endParaRPr lang="en-GB" noProof="0"/>
          </a:p>
        </p:txBody>
      </p:sp>
      <p:sp>
        <p:nvSpPr>
          <p:cNvPr id="4" name="Footer Placeholder 3">
            <a:extLst>
              <a:ext uri="{FF2B5EF4-FFF2-40B4-BE49-F238E27FC236}">
                <a16:creationId xmlns:a16="http://schemas.microsoft.com/office/drawing/2014/main" id="{4194F0DB-380C-DF44-86E3-D79D56DFF85C}"/>
              </a:ext>
            </a:extLst>
          </p:cNvPr>
          <p:cNvSpPr>
            <a:spLocks noGrp="1"/>
          </p:cNvSpPr>
          <p:nvPr>
            <p:ph type="ftr" sz="quarter" idx="22"/>
          </p:nvPr>
        </p:nvSpPr>
        <p:spPr/>
        <p:txBody>
          <a:bodyPr/>
          <a:lstStyle/>
          <a:p>
            <a:endParaRPr lang="en-NL"/>
          </a:p>
        </p:txBody>
      </p:sp>
      <p:sp>
        <p:nvSpPr>
          <p:cNvPr id="11" name="TextBox 10">
            <a:extLst>
              <a:ext uri="{FF2B5EF4-FFF2-40B4-BE49-F238E27FC236}">
                <a16:creationId xmlns:a16="http://schemas.microsoft.com/office/drawing/2014/main" id="{8382B125-311F-9F4E-88E7-2B54BB6A3B94}"/>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80700252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Long text in one column and picture">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6790607" y="486000"/>
            <a:ext cx="17100705"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1674330" y="5129214"/>
            <a:ext cx="4394308" cy="6904512"/>
          </a:xfrm>
        </p:spPr>
        <p:txBody>
          <a:bodyPr>
            <a:noAutofit/>
          </a:bodyPr>
          <a:lstStyle>
            <a:lvl1pPr>
              <a:spcBef>
                <a:spcPts val="2000"/>
              </a:spcBef>
              <a:defRPr sz="2400"/>
            </a:lvl1pPr>
          </a:lstStyle>
          <a:p>
            <a:pPr lvl="0"/>
            <a:r>
              <a:rPr lang="en-GB" noProof="0"/>
              <a:t>Put the paragraph text here, keep it regular 24 </a:t>
            </a:r>
            <a:r>
              <a:rPr lang="en-GB" noProof="0" err="1"/>
              <a:t>pt</a:t>
            </a:r>
            <a:endParaRPr lang="en-GB" noProof="0"/>
          </a:p>
        </p:txBody>
      </p:sp>
      <p:sp>
        <p:nvSpPr>
          <p:cNvPr id="2" name="Title 1">
            <a:extLst>
              <a:ext uri="{FF2B5EF4-FFF2-40B4-BE49-F238E27FC236}">
                <a16:creationId xmlns:a16="http://schemas.microsoft.com/office/drawing/2014/main" id="{44A2E15B-0973-F742-A266-E1107E35FE40}"/>
              </a:ext>
            </a:extLst>
          </p:cNvPr>
          <p:cNvSpPr>
            <a:spLocks noGrp="1"/>
          </p:cNvSpPr>
          <p:nvPr>
            <p:ph type="title" hasCustomPrompt="1"/>
          </p:nvPr>
        </p:nvSpPr>
        <p:spPr>
          <a:xfrm>
            <a:off x="1676294" y="1677600"/>
            <a:ext cx="4394308" cy="3011660"/>
          </a:xfrm>
        </p:spPr>
        <p:txBody>
          <a:bodyPr/>
          <a:lstStyle>
            <a:lvl1pPr>
              <a:defRPr sz="4000" spc="0" baseline="0"/>
            </a:lvl1pPr>
          </a:lstStyle>
          <a:p>
            <a:r>
              <a:rPr lang="en-GB"/>
              <a:t>Put the headline here, keep it bold 40 </a:t>
            </a:r>
            <a:r>
              <a:rPr lang="en-GB" err="1"/>
              <a:t>pt</a:t>
            </a:r>
            <a:endParaRPr lang="en-NL"/>
          </a:p>
        </p:txBody>
      </p:sp>
      <p:sp>
        <p:nvSpPr>
          <p:cNvPr id="7" name="Footer Placeholder 6">
            <a:extLst>
              <a:ext uri="{FF2B5EF4-FFF2-40B4-BE49-F238E27FC236}">
                <a16:creationId xmlns:a16="http://schemas.microsoft.com/office/drawing/2014/main" id="{BDFCBB05-AE3F-8B46-8B28-FBA47A7B8DF9}"/>
              </a:ext>
            </a:extLst>
          </p:cNvPr>
          <p:cNvSpPr>
            <a:spLocks noGrp="1"/>
          </p:cNvSpPr>
          <p:nvPr>
            <p:ph type="ftr" sz="quarter" idx="19"/>
          </p:nvPr>
        </p:nvSpPr>
        <p:spPr/>
        <p:txBody>
          <a:bodyPr/>
          <a:lstStyle/>
          <a:p>
            <a:endParaRPr lang="en-NL"/>
          </a:p>
        </p:txBody>
      </p:sp>
      <p:sp>
        <p:nvSpPr>
          <p:cNvPr id="10" name="TextBox 9">
            <a:extLst>
              <a:ext uri="{FF2B5EF4-FFF2-40B4-BE49-F238E27FC236}">
                <a16:creationId xmlns:a16="http://schemas.microsoft.com/office/drawing/2014/main" id="{1A281C68-F05E-474E-B89A-873F6871F7AE}"/>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99775299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Process">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0D2B4B01-8F71-1C43-804A-AE91ACAAB690}"/>
              </a:ext>
            </a:extLst>
          </p:cNvPr>
          <p:cNvSpPr>
            <a:spLocks noGrp="1"/>
          </p:cNvSpPr>
          <p:nvPr>
            <p:ph type="body" sz="quarter" idx="12" hasCustomPrompt="1"/>
          </p:nvPr>
        </p:nvSpPr>
        <p:spPr>
          <a:xfrm>
            <a:off x="3046414" y="7723207"/>
            <a:ext cx="3024187" cy="1727166"/>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3" name="Title 2">
            <a:extLst>
              <a:ext uri="{FF2B5EF4-FFF2-40B4-BE49-F238E27FC236}">
                <a16:creationId xmlns:a16="http://schemas.microsoft.com/office/drawing/2014/main" id="{6E79ED74-1833-CD4B-828E-58428E0E2A1D}"/>
              </a:ext>
            </a:extLst>
          </p:cNvPr>
          <p:cNvSpPr>
            <a:spLocks noGrp="1"/>
          </p:cNvSpPr>
          <p:nvPr>
            <p:ph type="title" hasCustomPrompt="1"/>
          </p:nvPr>
        </p:nvSpPr>
        <p:spPr>
          <a:xfrm>
            <a:off x="1676293" y="1677603"/>
            <a:ext cx="21033007" cy="1722906"/>
          </a:xfrm>
        </p:spPr>
        <p:txBody>
          <a:bodyPr/>
          <a:lstStyle/>
          <a:p>
            <a:r>
              <a:rPr lang="en-GB"/>
              <a:t>Process</a:t>
            </a:r>
            <a:endParaRPr lang="en-NL"/>
          </a:p>
        </p:txBody>
      </p:sp>
      <p:cxnSp>
        <p:nvCxnSpPr>
          <p:cNvPr id="5" name="Straight Arrow Connector 4">
            <a:extLst>
              <a:ext uri="{FF2B5EF4-FFF2-40B4-BE49-F238E27FC236}">
                <a16:creationId xmlns:a16="http://schemas.microsoft.com/office/drawing/2014/main" id="{0798A829-D289-394A-914F-EDD8D97B2357}"/>
              </a:ext>
            </a:extLst>
          </p:cNvPr>
          <p:cNvCxnSpPr>
            <a:cxnSpLocks/>
          </p:cNvCxnSpPr>
          <p:nvPr userDrawn="1"/>
        </p:nvCxnSpPr>
        <p:spPr>
          <a:xfrm>
            <a:off x="1674704" y="6858000"/>
            <a:ext cx="21033009" cy="0"/>
          </a:xfrm>
          <a:prstGeom prst="straightConnector1">
            <a:avLst/>
          </a:prstGeom>
          <a:ln w="190500">
            <a:solidFill>
              <a:schemeClr val="bg2"/>
            </a:solidFill>
            <a:tailEnd type="none" w="med" len="sm"/>
          </a:ln>
        </p:spPr>
        <p:style>
          <a:lnRef idx="1">
            <a:schemeClr val="accent1"/>
          </a:lnRef>
          <a:fillRef idx="0">
            <a:schemeClr val="accent1"/>
          </a:fillRef>
          <a:effectRef idx="0">
            <a:schemeClr val="accent1"/>
          </a:effectRef>
          <a:fontRef idx="minor">
            <a:schemeClr val="tx1"/>
          </a:fontRef>
        </p:style>
      </p:cxnSp>
      <p:sp>
        <p:nvSpPr>
          <p:cNvPr id="37" name="L-shape 36">
            <a:extLst>
              <a:ext uri="{FF2B5EF4-FFF2-40B4-BE49-F238E27FC236}">
                <a16:creationId xmlns:a16="http://schemas.microsoft.com/office/drawing/2014/main" id="{A3A516EF-4158-0845-AB22-B4F71119802B}"/>
              </a:ext>
            </a:extLst>
          </p:cNvPr>
          <p:cNvSpPr/>
          <p:nvPr userDrawn="1"/>
        </p:nvSpPr>
        <p:spPr>
          <a:xfrm rot="13500000">
            <a:off x="21934797" y="6498003"/>
            <a:ext cx="720000" cy="719999"/>
          </a:xfrm>
          <a:prstGeom prst="corner">
            <a:avLst>
              <a:gd name="adj1" fmla="val 26540"/>
              <a:gd name="adj2" fmla="val 2661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algn="ctr"/>
            <a:endParaRPr lang="en-NL" sz="1800"/>
          </a:p>
        </p:txBody>
      </p:sp>
      <p:sp>
        <p:nvSpPr>
          <p:cNvPr id="38" name="Text Placeholder 5">
            <a:extLst>
              <a:ext uri="{FF2B5EF4-FFF2-40B4-BE49-F238E27FC236}">
                <a16:creationId xmlns:a16="http://schemas.microsoft.com/office/drawing/2014/main" id="{DDC37633-16B3-3744-A593-529313A8F214}"/>
              </a:ext>
            </a:extLst>
          </p:cNvPr>
          <p:cNvSpPr>
            <a:spLocks noGrp="1"/>
          </p:cNvSpPr>
          <p:nvPr>
            <p:ph type="body" sz="quarter" idx="21" hasCustomPrompt="1"/>
          </p:nvPr>
        </p:nvSpPr>
        <p:spPr>
          <a:xfrm>
            <a:off x="6142038" y="4265713"/>
            <a:ext cx="3024187" cy="1727166"/>
          </a:xfrm>
        </p:spPr>
        <p:txBody>
          <a:bodyPr anchor="b">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39" name="Text Placeholder 5">
            <a:extLst>
              <a:ext uri="{FF2B5EF4-FFF2-40B4-BE49-F238E27FC236}">
                <a16:creationId xmlns:a16="http://schemas.microsoft.com/office/drawing/2014/main" id="{4B3F39C9-E76C-2D44-9D1B-E9B07074F77E}"/>
              </a:ext>
            </a:extLst>
          </p:cNvPr>
          <p:cNvSpPr>
            <a:spLocks noGrp="1"/>
          </p:cNvSpPr>
          <p:nvPr>
            <p:ph type="body" sz="quarter" idx="22" hasCustomPrompt="1"/>
          </p:nvPr>
        </p:nvSpPr>
        <p:spPr>
          <a:xfrm>
            <a:off x="9167019" y="7723207"/>
            <a:ext cx="3024187" cy="1727166"/>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0" name="Text Placeholder 5">
            <a:extLst>
              <a:ext uri="{FF2B5EF4-FFF2-40B4-BE49-F238E27FC236}">
                <a16:creationId xmlns:a16="http://schemas.microsoft.com/office/drawing/2014/main" id="{8814CF3B-C6B0-0648-A9C1-CE26FF4CB2D8}"/>
              </a:ext>
            </a:extLst>
          </p:cNvPr>
          <p:cNvSpPr>
            <a:spLocks noGrp="1"/>
          </p:cNvSpPr>
          <p:nvPr>
            <p:ph type="body" sz="quarter" idx="23" hasCustomPrompt="1"/>
          </p:nvPr>
        </p:nvSpPr>
        <p:spPr>
          <a:xfrm>
            <a:off x="12190413" y="4265713"/>
            <a:ext cx="3024187" cy="1727166"/>
          </a:xfrm>
        </p:spPr>
        <p:txBody>
          <a:bodyPr anchor="b">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1" name="Text Placeholder 5">
            <a:extLst>
              <a:ext uri="{FF2B5EF4-FFF2-40B4-BE49-F238E27FC236}">
                <a16:creationId xmlns:a16="http://schemas.microsoft.com/office/drawing/2014/main" id="{3356431A-93FA-3546-85F8-B31F1C9169B6}"/>
              </a:ext>
            </a:extLst>
          </p:cNvPr>
          <p:cNvSpPr>
            <a:spLocks noGrp="1"/>
          </p:cNvSpPr>
          <p:nvPr>
            <p:ph type="body" sz="quarter" idx="24" hasCustomPrompt="1"/>
          </p:nvPr>
        </p:nvSpPr>
        <p:spPr>
          <a:xfrm>
            <a:off x="15287627" y="7723207"/>
            <a:ext cx="3024187" cy="1727166"/>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2" name="Text Placeholder 5">
            <a:extLst>
              <a:ext uri="{FF2B5EF4-FFF2-40B4-BE49-F238E27FC236}">
                <a16:creationId xmlns:a16="http://schemas.microsoft.com/office/drawing/2014/main" id="{5CD9E15C-1210-D245-AE40-F67BE5C74056}"/>
              </a:ext>
            </a:extLst>
          </p:cNvPr>
          <p:cNvSpPr>
            <a:spLocks noGrp="1"/>
          </p:cNvSpPr>
          <p:nvPr>
            <p:ph type="body" sz="quarter" idx="25" hasCustomPrompt="1"/>
          </p:nvPr>
        </p:nvSpPr>
        <p:spPr>
          <a:xfrm>
            <a:off x="18311814" y="4265713"/>
            <a:ext cx="3024187" cy="1727166"/>
          </a:xfrm>
        </p:spPr>
        <p:txBody>
          <a:bodyPr anchor="b">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4" name="Footer Placeholder 43">
            <a:extLst>
              <a:ext uri="{FF2B5EF4-FFF2-40B4-BE49-F238E27FC236}">
                <a16:creationId xmlns:a16="http://schemas.microsoft.com/office/drawing/2014/main" id="{3DC74232-9167-9144-A25D-B5C31FFA7A3A}"/>
              </a:ext>
            </a:extLst>
          </p:cNvPr>
          <p:cNvSpPr>
            <a:spLocks noGrp="1"/>
          </p:cNvSpPr>
          <p:nvPr>
            <p:ph type="ftr" sz="quarter" idx="26"/>
          </p:nvPr>
        </p:nvSpPr>
        <p:spPr/>
        <p:txBody>
          <a:bodyPr/>
          <a:lstStyle/>
          <a:p>
            <a:endParaRPr lang="en-NL"/>
          </a:p>
        </p:txBody>
      </p:sp>
      <p:sp>
        <p:nvSpPr>
          <p:cNvPr id="45" name="TextBox 44">
            <a:extLst>
              <a:ext uri="{FF2B5EF4-FFF2-40B4-BE49-F238E27FC236}">
                <a16:creationId xmlns:a16="http://schemas.microsoft.com/office/drawing/2014/main" id="{69E14940-6394-8440-928E-5262E6E6434C}"/>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3745549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tement 2 on double background">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31FA6885-927C-7B4C-8BD0-54E7A0823B52}"/>
              </a:ext>
            </a:extLst>
          </p:cNvPr>
          <p:cNvSpPr>
            <a:spLocks noGrp="1"/>
          </p:cNvSpPr>
          <p:nvPr>
            <p:ph type="pic" sz="quarter" idx="16" hasCustomPrompt="1"/>
          </p:nvPr>
        </p:nvSpPr>
        <p:spPr>
          <a:xfrm>
            <a:off x="6049094" y="486000"/>
            <a:ext cx="17842112"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n inspirational picture into this frame. Or fill with one of the Theme Colours</a:t>
            </a:r>
          </a:p>
        </p:txBody>
      </p:sp>
      <p:sp>
        <p:nvSpPr>
          <p:cNvPr id="9" name="Picture Placeholder 10">
            <a:extLst>
              <a:ext uri="{FF2B5EF4-FFF2-40B4-BE49-F238E27FC236}">
                <a16:creationId xmlns:a16="http://schemas.microsoft.com/office/drawing/2014/main" id="{ADB4BA95-E492-D840-88F6-2FE23D26918D}"/>
              </a:ext>
            </a:extLst>
          </p:cNvPr>
          <p:cNvSpPr>
            <a:spLocks noGrp="1"/>
          </p:cNvSpPr>
          <p:nvPr>
            <p:ph type="pic" sz="quarter" idx="14" hasCustomPrompt="1"/>
          </p:nvPr>
        </p:nvSpPr>
        <p:spPr>
          <a:xfrm>
            <a:off x="491206" y="486000"/>
            <a:ext cx="11699207" cy="12744000"/>
          </a:xfrm>
          <a:prstGeom prst="corner">
            <a:avLst>
              <a:gd name="adj1" fmla="val 25065"/>
              <a:gd name="adj2" fmla="val 47348"/>
            </a:avLst>
          </a:prstGeom>
          <a:solidFill>
            <a:schemeClr val="bg1">
              <a:lumMod val="8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7" name="Title Placeholder 6">
            <a:extLst>
              <a:ext uri="{FF2B5EF4-FFF2-40B4-BE49-F238E27FC236}">
                <a16:creationId xmlns:a16="http://schemas.microsoft.com/office/drawing/2014/main" id="{1B090AE2-5953-9248-BD9A-B5FA2155AD8A}"/>
              </a:ext>
            </a:extLst>
          </p:cNvPr>
          <p:cNvSpPr>
            <a:spLocks noGrp="1"/>
          </p:cNvSpPr>
          <p:nvPr>
            <p:ph type="title" hasCustomPrompt="1"/>
          </p:nvPr>
        </p:nvSpPr>
        <p:spPr>
          <a:xfrm>
            <a:off x="6049093" y="3402013"/>
            <a:ext cx="12284225" cy="6911975"/>
          </a:xfrm>
          <a:prstGeom prst="rect">
            <a:avLst/>
          </a:prstGeom>
          <a:solidFill>
            <a:schemeClr val="bg1"/>
          </a:solidFill>
        </p:spPr>
        <p:txBody>
          <a:bodyPr vert="horz" lIns="720000" tIns="360000" rIns="360000" bIns="360000" rtlCol="0" anchor="ctr">
            <a:noAutofit/>
          </a:bodyPr>
          <a:lstStyle>
            <a:lvl1pPr>
              <a:defRPr/>
            </a:lvl1pPr>
          </a:lstStyle>
          <a:p>
            <a:r>
              <a:rPr lang="en-GB" noProof="0"/>
              <a:t>Put a short statement here, keep it bold 80 </a:t>
            </a:r>
            <a:r>
              <a:rPr lang="en-GB" noProof="0" err="1"/>
              <a:t>pt</a:t>
            </a:r>
            <a:endParaRPr lang="en-GB" noProof="0"/>
          </a:p>
        </p:txBody>
      </p:sp>
      <p:sp>
        <p:nvSpPr>
          <p:cNvPr id="3" name="Footer Placeholder 2">
            <a:extLst>
              <a:ext uri="{FF2B5EF4-FFF2-40B4-BE49-F238E27FC236}">
                <a16:creationId xmlns:a16="http://schemas.microsoft.com/office/drawing/2014/main" id="{23AF250D-036E-9947-B629-124D8B6FF87C}"/>
              </a:ext>
            </a:extLst>
          </p:cNvPr>
          <p:cNvSpPr>
            <a:spLocks noGrp="1"/>
          </p:cNvSpPr>
          <p:nvPr>
            <p:ph type="ftr" sz="quarter" idx="17"/>
          </p:nvPr>
        </p:nvSpPr>
        <p:spPr/>
        <p:txBody>
          <a:bodyPr/>
          <a:lstStyle/>
          <a:p>
            <a:endParaRPr lang="en-NL"/>
          </a:p>
        </p:txBody>
      </p:sp>
      <p:sp>
        <p:nvSpPr>
          <p:cNvPr id="8" name="TextBox 7">
            <a:extLst>
              <a:ext uri="{FF2B5EF4-FFF2-40B4-BE49-F238E27FC236}">
                <a16:creationId xmlns:a16="http://schemas.microsoft.com/office/drawing/2014/main" id="{EA23A869-D63F-9145-B2E7-DAF3BC84C059}"/>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26315498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Levels">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0D2B4B01-8F71-1C43-804A-AE91ACAAB690}"/>
              </a:ext>
            </a:extLst>
          </p:cNvPr>
          <p:cNvSpPr>
            <a:spLocks noGrp="1"/>
          </p:cNvSpPr>
          <p:nvPr>
            <p:ph type="body" sz="quarter" idx="12" hasCustomPrompt="1"/>
          </p:nvPr>
        </p:nvSpPr>
        <p:spPr>
          <a:xfrm>
            <a:off x="13071798" y="5455781"/>
            <a:ext cx="6190847" cy="1397590"/>
          </a:xfrm>
        </p:spPr>
        <p:txBody>
          <a:bodyPr>
            <a:noAutofit/>
          </a:bodyPr>
          <a:lstStyle>
            <a:lvl1pPr>
              <a:spcBef>
                <a:spcPts val="0"/>
              </a:spcBef>
              <a:defRPr sz="2400"/>
            </a:lvl1pPr>
          </a:lstStyle>
          <a:p>
            <a:pPr lvl="0"/>
            <a:r>
              <a:rPr lang="en-GB" noProof="0"/>
              <a:t>Put the body text here, keep it regular 24 </a:t>
            </a:r>
            <a:r>
              <a:rPr lang="en-GB" noProof="0" err="1"/>
              <a:t>pt</a:t>
            </a:r>
            <a:endParaRPr lang="en-GB" noProof="0"/>
          </a:p>
        </p:txBody>
      </p:sp>
      <p:sp>
        <p:nvSpPr>
          <p:cNvPr id="10" name="Text Placeholder 5">
            <a:extLst>
              <a:ext uri="{FF2B5EF4-FFF2-40B4-BE49-F238E27FC236}">
                <a16:creationId xmlns:a16="http://schemas.microsoft.com/office/drawing/2014/main" id="{CCF4949C-0573-654E-8E4A-1524918D8E6F}"/>
              </a:ext>
            </a:extLst>
          </p:cNvPr>
          <p:cNvSpPr>
            <a:spLocks noGrp="1"/>
          </p:cNvSpPr>
          <p:nvPr>
            <p:ph type="body" sz="quarter" idx="15" hasCustomPrompt="1"/>
          </p:nvPr>
        </p:nvSpPr>
        <p:spPr>
          <a:xfrm>
            <a:off x="13071798" y="7832869"/>
            <a:ext cx="6190847" cy="1397590"/>
          </a:xfrm>
        </p:spPr>
        <p:txBody>
          <a:bodyPr>
            <a:noAutofit/>
          </a:bodyPr>
          <a:lstStyle>
            <a:lvl1pPr>
              <a:spcBef>
                <a:spcPts val="0"/>
              </a:spcBef>
              <a:defRPr sz="2400"/>
            </a:lvl1pPr>
          </a:lstStyle>
          <a:p>
            <a:pPr lvl="0"/>
            <a:r>
              <a:rPr lang="en-GB" noProof="0"/>
              <a:t>Put the body text here, keep it regular 24 </a:t>
            </a:r>
            <a:r>
              <a:rPr lang="en-GB" noProof="0" err="1"/>
              <a:t>pt</a:t>
            </a:r>
            <a:endParaRPr lang="en-GB" noProof="0"/>
          </a:p>
        </p:txBody>
      </p:sp>
      <p:sp>
        <p:nvSpPr>
          <p:cNvPr id="12" name="Text Placeholder 5">
            <a:extLst>
              <a:ext uri="{FF2B5EF4-FFF2-40B4-BE49-F238E27FC236}">
                <a16:creationId xmlns:a16="http://schemas.microsoft.com/office/drawing/2014/main" id="{334FE28E-7BB9-5247-A7EF-E68623CEC0DF}"/>
              </a:ext>
            </a:extLst>
          </p:cNvPr>
          <p:cNvSpPr>
            <a:spLocks noGrp="1"/>
          </p:cNvSpPr>
          <p:nvPr>
            <p:ph type="body" sz="quarter" idx="17" hasCustomPrompt="1"/>
          </p:nvPr>
        </p:nvSpPr>
        <p:spPr>
          <a:xfrm>
            <a:off x="13071798" y="10330249"/>
            <a:ext cx="6190847" cy="1397590"/>
          </a:xfrm>
        </p:spPr>
        <p:txBody>
          <a:bodyPr>
            <a:noAutofit/>
          </a:bodyPr>
          <a:lstStyle>
            <a:lvl1pPr>
              <a:spcBef>
                <a:spcPts val="0"/>
              </a:spcBef>
              <a:defRPr sz="2400"/>
            </a:lvl1pPr>
          </a:lstStyle>
          <a:p>
            <a:pPr lvl="0"/>
            <a:r>
              <a:rPr lang="en-GB" noProof="0"/>
              <a:t>Put the body text here, keep it regular 24 </a:t>
            </a:r>
            <a:r>
              <a:rPr lang="en-GB" noProof="0" err="1"/>
              <a:t>pt</a:t>
            </a:r>
            <a:endParaRPr lang="en-GB" noProof="0"/>
          </a:p>
        </p:txBody>
      </p:sp>
      <p:sp>
        <p:nvSpPr>
          <p:cNvPr id="9" name="Text Placeholder 5">
            <a:extLst>
              <a:ext uri="{FF2B5EF4-FFF2-40B4-BE49-F238E27FC236}">
                <a16:creationId xmlns:a16="http://schemas.microsoft.com/office/drawing/2014/main" id="{08916781-0481-B64C-A15B-60E03E7E77EA}"/>
              </a:ext>
            </a:extLst>
          </p:cNvPr>
          <p:cNvSpPr>
            <a:spLocks noGrp="1"/>
          </p:cNvSpPr>
          <p:nvPr>
            <p:ph type="body" sz="quarter" idx="14" hasCustomPrompt="1"/>
          </p:nvPr>
        </p:nvSpPr>
        <p:spPr>
          <a:xfrm>
            <a:off x="4674907" y="5455781"/>
            <a:ext cx="6633094" cy="1397590"/>
          </a:xfrm>
          <a:solidFill>
            <a:schemeClr val="bg1">
              <a:lumMod val="95000"/>
            </a:schemeClr>
          </a:solidFill>
        </p:spPr>
        <p:txBody>
          <a:bodyPr lIns="360000" anchor="ctr">
            <a:noAutofit/>
          </a:bodyPr>
          <a:lstStyle>
            <a:lvl1pPr>
              <a:defRPr sz="4000" b="1"/>
            </a:lvl1pPr>
          </a:lstStyle>
          <a:p>
            <a:pPr lvl="0"/>
            <a:r>
              <a:rPr lang="en-US"/>
              <a:t>Put the header here</a:t>
            </a:r>
          </a:p>
        </p:txBody>
      </p:sp>
      <p:sp>
        <p:nvSpPr>
          <p:cNvPr id="15" name="Text Placeholder 5">
            <a:extLst>
              <a:ext uri="{FF2B5EF4-FFF2-40B4-BE49-F238E27FC236}">
                <a16:creationId xmlns:a16="http://schemas.microsoft.com/office/drawing/2014/main" id="{B0FD171A-0961-AF47-AF11-4B67E2B02EBC}"/>
              </a:ext>
            </a:extLst>
          </p:cNvPr>
          <p:cNvSpPr>
            <a:spLocks noGrp="1"/>
          </p:cNvSpPr>
          <p:nvPr>
            <p:ph type="body" sz="quarter" idx="18" hasCustomPrompt="1"/>
          </p:nvPr>
        </p:nvSpPr>
        <p:spPr>
          <a:xfrm>
            <a:off x="4674907" y="7832869"/>
            <a:ext cx="6633094" cy="1397590"/>
          </a:xfrm>
          <a:solidFill>
            <a:schemeClr val="bg1">
              <a:lumMod val="95000"/>
            </a:schemeClr>
          </a:solidFill>
        </p:spPr>
        <p:txBody>
          <a:bodyPr lIns="360000" anchor="ctr">
            <a:noAutofit/>
          </a:bodyPr>
          <a:lstStyle>
            <a:lvl1pPr>
              <a:defRPr sz="4000" b="1"/>
            </a:lvl1pPr>
          </a:lstStyle>
          <a:p>
            <a:pPr lvl="0"/>
            <a:r>
              <a:rPr lang="en-US"/>
              <a:t>Put the header here</a:t>
            </a:r>
          </a:p>
        </p:txBody>
      </p:sp>
      <p:sp>
        <p:nvSpPr>
          <p:cNvPr id="16" name="Text Placeholder 5">
            <a:extLst>
              <a:ext uri="{FF2B5EF4-FFF2-40B4-BE49-F238E27FC236}">
                <a16:creationId xmlns:a16="http://schemas.microsoft.com/office/drawing/2014/main" id="{08483BCA-AF2F-134B-A357-367A5706C697}"/>
              </a:ext>
            </a:extLst>
          </p:cNvPr>
          <p:cNvSpPr>
            <a:spLocks noGrp="1"/>
          </p:cNvSpPr>
          <p:nvPr>
            <p:ph type="body" sz="quarter" idx="19" hasCustomPrompt="1"/>
          </p:nvPr>
        </p:nvSpPr>
        <p:spPr>
          <a:xfrm>
            <a:off x="4674907" y="10330249"/>
            <a:ext cx="6633094" cy="1397590"/>
          </a:xfrm>
          <a:solidFill>
            <a:schemeClr val="bg1">
              <a:lumMod val="95000"/>
            </a:schemeClr>
          </a:solidFill>
        </p:spPr>
        <p:txBody>
          <a:bodyPr lIns="360000" anchor="ctr">
            <a:noAutofit/>
          </a:bodyPr>
          <a:lstStyle>
            <a:lvl1pPr>
              <a:defRPr sz="4000" b="1"/>
            </a:lvl1pPr>
          </a:lstStyle>
          <a:p>
            <a:pPr lvl="0"/>
            <a:r>
              <a:rPr lang="en-US"/>
              <a:t>Put the header here</a:t>
            </a:r>
          </a:p>
        </p:txBody>
      </p:sp>
      <p:sp>
        <p:nvSpPr>
          <p:cNvPr id="3" name="Title 2">
            <a:extLst>
              <a:ext uri="{FF2B5EF4-FFF2-40B4-BE49-F238E27FC236}">
                <a16:creationId xmlns:a16="http://schemas.microsoft.com/office/drawing/2014/main" id="{6E79ED74-1833-CD4B-828E-58428E0E2A1D}"/>
              </a:ext>
            </a:extLst>
          </p:cNvPr>
          <p:cNvSpPr>
            <a:spLocks noGrp="1"/>
          </p:cNvSpPr>
          <p:nvPr>
            <p:ph type="title" hasCustomPrompt="1"/>
          </p:nvPr>
        </p:nvSpPr>
        <p:spPr/>
        <p:txBody>
          <a:bodyPr/>
          <a:lstStyle/>
          <a:p>
            <a:r>
              <a:rPr lang="en-GB"/>
              <a:t>Levels</a:t>
            </a:r>
            <a:endParaRPr lang="en-NL"/>
          </a:p>
        </p:txBody>
      </p:sp>
      <p:sp>
        <p:nvSpPr>
          <p:cNvPr id="5" name="Footer Placeholder 4">
            <a:extLst>
              <a:ext uri="{FF2B5EF4-FFF2-40B4-BE49-F238E27FC236}">
                <a16:creationId xmlns:a16="http://schemas.microsoft.com/office/drawing/2014/main" id="{D51935D7-8569-4141-96D6-E8BDF582C7E3}"/>
              </a:ext>
            </a:extLst>
          </p:cNvPr>
          <p:cNvSpPr>
            <a:spLocks noGrp="1"/>
          </p:cNvSpPr>
          <p:nvPr>
            <p:ph type="ftr" sz="quarter" idx="20"/>
          </p:nvPr>
        </p:nvSpPr>
        <p:spPr/>
        <p:txBody>
          <a:bodyPr/>
          <a:lstStyle/>
          <a:p>
            <a:endParaRPr lang="en-NL"/>
          </a:p>
        </p:txBody>
      </p:sp>
      <p:sp>
        <p:nvSpPr>
          <p:cNvPr id="14" name="TextBox 13">
            <a:extLst>
              <a:ext uri="{FF2B5EF4-FFF2-40B4-BE49-F238E27FC236}">
                <a16:creationId xmlns:a16="http://schemas.microsoft.com/office/drawing/2014/main" id="{95B220E9-C9CD-2D41-A852-CDC99EB96289}"/>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6766351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Focus areas 1">
    <p:spTree>
      <p:nvGrpSpPr>
        <p:cNvPr id="1" name=""/>
        <p:cNvGrpSpPr/>
        <p:nvPr/>
      </p:nvGrpSpPr>
      <p:grpSpPr>
        <a:xfrm>
          <a:off x="0" y="0"/>
          <a:ext cx="0" cy="0"/>
          <a:chOff x="0" y="0"/>
          <a:chExt cx="0" cy="0"/>
        </a:xfrm>
      </p:grpSpPr>
      <p:sp>
        <p:nvSpPr>
          <p:cNvPr id="9" name="Text Placeholder 5">
            <a:extLst>
              <a:ext uri="{FF2B5EF4-FFF2-40B4-BE49-F238E27FC236}">
                <a16:creationId xmlns:a16="http://schemas.microsoft.com/office/drawing/2014/main" id="{08916781-0481-B64C-A15B-60E03E7E77EA}"/>
              </a:ext>
            </a:extLst>
          </p:cNvPr>
          <p:cNvSpPr>
            <a:spLocks noGrp="1"/>
          </p:cNvSpPr>
          <p:nvPr>
            <p:ph type="body" sz="quarter" idx="14" hasCustomPrompt="1"/>
          </p:nvPr>
        </p:nvSpPr>
        <p:spPr>
          <a:xfrm>
            <a:off x="9166226" y="5742878"/>
            <a:ext cx="6049962" cy="863104"/>
          </a:xfrm>
          <a:solidFill>
            <a:schemeClr val="bg1">
              <a:lumMod val="95000"/>
            </a:schemeClr>
          </a:solidFill>
        </p:spPr>
        <p:txBody>
          <a:bodyPr lIns="180000" anchor="ctr">
            <a:noAutofit/>
          </a:bodyPr>
          <a:lstStyle>
            <a:lvl1pPr>
              <a:lnSpc>
                <a:spcPct val="100000"/>
              </a:lnSpc>
              <a:defRPr b="1"/>
            </a:lvl1pPr>
          </a:lstStyle>
          <a:p>
            <a:pPr lvl="0"/>
            <a:r>
              <a:rPr lang="en-US"/>
              <a:t>Put the header here</a:t>
            </a:r>
          </a:p>
        </p:txBody>
      </p:sp>
      <p:sp>
        <p:nvSpPr>
          <p:cNvPr id="10" name="Text Placeholder 5">
            <a:extLst>
              <a:ext uri="{FF2B5EF4-FFF2-40B4-BE49-F238E27FC236}">
                <a16:creationId xmlns:a16="http://schemas.microsoft.com/office/drawing/2014/main" id="{CCF4949C-0573-654E-8E4A-1524918D8E6F}"/>
              </a:ext>
            </a:extLst>
          </p:cNvPr>
          <p:cNvSpPr>
            <a:spLocks noGrp="1"/>
          </p:cNvSpPr>
          <p:nvPr>
            <p:ph type="body" sz="quarter" idx="15" hasCustomPrompt="1"/>
          </p:nvPr>
        </p:nvSpPr>
        <p:spPr>
          <a:xfrm>
            <a:off x="9190265" y="6858003"/>
            <a:ext cx="6049964" cy="3455986"/>
          </a:xfrm>
        </p:spPr>
        <p:txBody>
          <a:bodyPr lIns="180000">
            <a:noAutofit/>
          </a:bodyPr>
          <a:lstStyle>
            <a:lvl1pPr>
              <a:lnSpc>
                <a:spcPct val="100000"/>
              </a:lnSpc>
              <a:spcBef>
                <a:spcPts val="0"/>
              </a:spcBef>
              <a:defRPr sz="3200"/>
            </a:lvl1pPr>
          </a:lstStyle>
          <a:p>
            <a:pPr lvl="0"/>
            <a:r>
              <a:rPr lang="en-GB" noProof="0"/>
              <a:t>Put the paragraph text here, keep it regular 32 </a:t>
            </a:r>
            <a:r>
              <a:rPr lang="en-GB" noProof="0" err="1"/>
              <a:t>pt</a:t>
            </a:r>
            <a:endParaRPr lang="en-GB" noProof="0"/>
          </a:p>
        </p:txBody>
      </p:sp>
      <p:sp>
        <p:nvSpPr>
          <p:cNvPr id="17" name="Text Placeholder 5">
            <a:extLst>
              <a:ext uri="{FF2B5EF4-FFF2-40B4-BE49-F238E27FC236}">
                <a16:creationId xmlns:a16="http://schemas.microsoft.com/office/drawing/2014/main" id="{3722BC19-3242-894A-A464-ACE95D8645BB}"/>
              </a:ext>
            </a:extLst>
          </p:cNvPr>
          <p:cNvSpPr>
            <a:spLocks noGrp="1"/>
          </p:cNvSpPr>
          <p:nvPr>
            <p:ph type="body" sz="quarter" idx="19" hasCustomPrompt="1"/>
          </p:nvPr>
        </p:nvSpPr>
        <p:spPr>
          <a:xfrm>
            <a:off x="1655888" y="5742878"/>
            <a:ext cx="6049962" cy="863104"/>
          </a:xfrm>
          <a:solidFill>
            <a:schemeClr val="bg1">
              <a:lumMod val="95000"/>
            </a:schemeClr>
          </a:solidFill>
        </p:spPr>
        <p:txBody>
          <a:bodyPr lIns="180000" anchor="ctr">
            <a:noAutofit/>
          </a:bodyPr>
          <a:lstStyle>
            <a:lvl1pPr>
              <a:lnSpc>
                <a:spcPct val="100000"/>
              </a:lnSpc>
              <a:defRPr b="1"/>
            </a:lvl1pPr>
          </a:lstStyle>
          <a:p>
            <a:pPr lvl="0"/>
            <a:r>
              <a:rPr lang="en-US"/>
              <a:t>Put the header here</a:t>
            </a:r>
          </a:p>
        </p:txBody>
      </p:sp>
      <p:sp>
        <p:nvSpPr>
          <p:cNvPr id="18" name="Text Placeholder 5">
            <a:extLst>
              <a:ext uri="{FF2B5EF4-FFF2-40B4-BE49-F238E27FC236}">
                <a16:creationId xmlns:a16="http://schemas.microsoft.com/office/drawing/2014/main" id="{07C8CE66-24CD-E646-98E5-48BB7686BEDA}"/>
              </a:ext>
            </a:extLst>
          </p:cNvPr>
          <p:cNvSpPr>
            <a:spLocks noGrp="1"/>
          </p:cNvSpPr>
          <p:nvPr>
            <p:ph type="body" sz="quarter" idx="20" hasCustomPrompt="1"/>
          </p:nvPr>
        </p:nvSpPr>
        <p:spPr>
          <a:xfrm>
            <a:off x="1679928" y="6858003"/>
            <a:ext cx="6049964" cy="3455986"/>
          </a:xfrm>
        </p:spPr>
        <p:txBody>
          <a:bodyPr lIns="180000">
            <a:noAutofit/>
          </a:bodyPr>
          <a:lstStyle>
            <a:lvl1pPr>
              <a:lnSpc>
                <a:spcPct val="100000"/>
              </a:lnSpc>
              <a:spcBef>
                <a:spcPts val="0"/>
              </a:spcBef>
              <a:defRPr sz="3200"/>
            </a:lvl1pPr>
          </a:lstStyle>
          <a:p>
            <a:pPr lvl="0"/>
            <a:r>
              <a:rPr lang="en-GB" noProof="0"/>
              <a:t>Put the paragraph text here, keep it regular 32 </a:t>
            </a:r>
            <a:r>
              <a:rPr lang="en-GB" noProof="0" err="1"/>
              <a:t>pt</a:t>
            </a:r>
            <a:endParaRPr lang="en-GB" noProof="0"/>
          </a:p>
        </p:txBody>
      </p:sp>
      <p:sp>
        <p:nvSpPr>
          <p:cNvPr id="19" name="Text Placeholder 5">
            <a:extLst>
              <a:ext uri="{FF2B5EF4-FFF2-40B4-BE49-F238E27FC236}">
                <a16:creationId xmlns:a16="http://schemas.microsoft.com/office/drawing/2014/main" id="{7F8EE651-9C67-9A40-AA5C-4FDC892EECCF}"/>
              </a:ext>
            </a:extLst>
          </p:cNvPr>
          <p:cNvSpPr>
            <a:spLocks noGrp="1"/>
          </p:cNvSpPr>
          <p:nvPr>
            <p:ph type="body" sz="quarter" idx="21" hasCustomPrompt="1"/>
          </p:nvPr>
        </p:nvSpPr>
        <p:spPr>
          <a:xfrm>
            <a:off x="16627354" y="5742878"/>
            <a:ext cx="6049962" cy="863104"/>
          </a:xfrm>
          <a:solidFill>
            <a:schemeClr val="bg1">
              <a:lumMod val="95000"/>
            </a:schemeClr>
          </a:solidFill>
        </p:spPr>
        <p:txBody>
          <a:bodyPr lIns="180000" anchor="ctr">
            <a:noAutofit/>
          </a:bodyPr>
          <a:lstStyle>
            <a:lvl1pPr>
              <a:lnSpc>
                <a:spcPct val="100000"/>
              </a:lnSpc>
              <a:defRPr b="1"/>
            </a:lvl1pPr>
          </a:lstStyle>
          <a:p>
            <a:pPr lvl="0"/>
            <a:r>
              <a:rPr lang="en-US"/>
              <a:t>Put the header here</a:t>
            </a:r>
          </a:p>
        </p:txBody>
      </p:sp>
      <p:sp>
        <p:nvSpPr>
          <p:cNvPr id="20" name="Text Placeholder 5">
            <a:extLst>
              <a:ext uri="{FF2B5EF4-FFF2-40B4-BE49-F238E27FC236}">
                <a16:creationId xmlns:a16="http://schemas.microsoft.com/office/drawing/2014/main" id="{308DDE5D-AD61-324F-8D1B-396A22DC466A}"/>
              </a:ext>
            </a:extLst>
          </p:cNvPr>
          <p:cNvSpPr>
            <a:spLocks noGrp="1"/>
          </p:cNvSpPr>
          <p:nvPr>
            <p:ph type="body" sz="quarter" idx="22" hasCustomPrompt="1"/>
          </p:nvPr>
        </p:nvSpPr>
        <p:spPr>
          <a:xfrm>
            <a:off x="16651391" y="6858003"/>
            <a:ext cx="6049964" cy="3455986"/>
          </a:xfrm>
        </p:spPr>
        <p:txBody>
          <a:bodyPr lIns="180000">
            <a:noAutofit/>
          </a:bodyPr>
          <a:lstStyle>
            <a:lvl1pPr>
              <a:lnSpc>
                <a:spcPct val="100000"/>
              </a:lnSpc>
              <a:spcBef>
                <a:spcPts val="0"/>
              </a:spcBef>
              <a:defRPr sz="3200"/>
            </a:lvl1pPr>
          </a:lstStyle>
          <a:p>
            <a:pPr lvl="0"/>
            <a:r>
              <a:rPr lang="en-GB" noProof="0"/>
              <a:t>Put the paragraph text here, keep it regular 32 </a:t>
            </a:r>
            <a:r>
              <a:rPr lang="en-GB" noProof="0" err="1"/>
              <a:t>pt</a:t>
            </a:r>
            <a:endParaRPr lang="en-GB" noProof="0"/>
          </a:p>
        </p:txBody>
      </p:sp>
      <p:sp>
        <p:nvSpPr>
          <p:cNvPr id="5" name="Title 4">
            <a:extLst>
              <a:ext uri="{FF2B5EF4-FFF2-40B4-BE49-F238E27FC236}">
                <a16:creationId xmlns:a16="http://schemas.microsoft.com/office/drawing/2014/main" id="{A8507978-2D74-7F40-9482-B33692774EA2}"/>
              </a:ext>
            </a:extLst>
          </p:cNvPr>
          <p:cNvSpPr>
            <a:spLocks noGrp="1"/>
          </p:cNvSpPr>
          <p:nvPr>
            <p:ph type="title" hasCustomPrompt="1"/>
          </p:nvPr>
        </p:nvSpPr>
        <p:spPr/>
        <p:txBody>
          <a:bodyPr/>
          <a:lstStyle/>
          <a:p>
            <a:r>
              <a:rPr lang="en-GB"/>
              <a:t>Focus areas</a:t>
            </a:r>
            <a:endParaRPr lang="en-NL"/>
          </a:p>
        </p:txBody>
      </p:sp>
      <p:sp>
        <p:nvSpPr>
          <p:cNvPr id="3" name="Footer Placeholder 2">
            <a:extLst>
              <a:ext uri="{FF2B5EF4-FFF2-40B4-BE49-F238E27FC236}">
                <a16:creationId xmlns:a16="http://schemas.microsoft.com/office/drawing/2014/main" id="{94C26B9E-3413-AB4A-98DC-12221AAB0365}"/>
              </a:ext>
            </a:extLst>
          </p:cNvPr>
          <p:cNvSpPr>
            <a:spLocks noGrp="1"/>
          </p:cNvSpPr>
          <p:nvPr>
            <p:ph type="ftr" sz="quarter" idx="23"/>
          </p:nvPr>
        </p:nvSpPr>
        <p:spPr/>
        <p:txBody>
          <a:bodyPr/>
          <a:lstStyle/>
          <a:p>
            <a:endParaRPr lang="en-NL"/>
          </a:p>
        </p:txBody>
      </p:sp>
      <p:sp>
        <p:nvSpPr>
          <p:cNvPr id="13" name="TextBox 12">
            <a:extLst>
              <a:ext uri="{FF2B5EF4-FFF2-40B4-BE49-F238E27FC236}">
                <a16:creationId xmlns:a16="http://schemas.microsoft.com/office/drawing/2014/main" id="{C1C95D9D-541E-F440-9F65-0AB08894819B}"/>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42891564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Focus areas 2">
    <p:spTree>
      <p:nvGrpSpPr>
        <p:cNvPr id="1" name=""/>
        <p:cNvGrpSpPr/>
        <p:nvPr/>
      </p:nvGrpSpPr>
      <p:grpSpPr>
        <a:xfrm>
          <a:off x="0" y="0"/>
          <a:ext cx="0" cy="0"/>
          <a:chOff x="0" y="0"/>
          <a:chExt cx="0" cy="0"/>
        </a:xfrm>
      </p:grpSpPr>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9166226" y="4124209"/>
            <a:ext cx="6049962" cy="4462582"/>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6" name="Text Placeholder 5">
            <a:extLst>
              <a:ext uri="{FF2B5EF4-FFF2-40B4-BE49-F238E27FC236}">
                <a16:creationId xmlns:a16="http://schemas.microsoft.com/office/drawing/2014/main" id="{50C5C652-3240-6341-9095-4EF7D7DC26F2}"/>
              </a:ext>
            </a:extLst>
          </p:cNvPr>
          <p:cNvSpPr>
            <a:spLocks noGrp="1"/>
          </p:cNvSpPr>
          <p:nvPr>
            <p:ph type="body" sz="quarter" idx="30" hasCustomPrompt="1"/>
          </p:nvPr>
        </p:nvSpPr>
        <p:spPr>
          <a:xfrm>
            <a:off x="9166226" y="9162256"/>
            <a:ext cx="6049962" cy="2880520"/>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18" name="Picture Placeholder 2">
            <a:extLst>
              <a:ext uri="{FF2B5EF4-FFF2-40B4-BE49-F238E27FC236}">
                <a16:creationId xmlns:a16="http://schemas.microsoft.com/office/drawing/2014/main" id="{CA5C6F99-363F-0A44-B903-36748B19D967}"/>
              </a:ext>
            </a:extLst>
          </p:cNvPr>
          <p:cNvSpPr>
            <a:spLocks noGrp="1"/>
          </p:cNvSpPr>
          <p:nvPr>
            <p:ph type="pic" sz="quarter" idx="32" hasCustomPrompt="1"/>
          </p:nvPr>
        </p:nvSpPr>
        <p:spPr>
          <a:xfrm>
            <a:off x="1673111" y="4124209"/>
            <a:ext cx="6049962" cy="4462582"/>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0" name="Text Placeholder 5">
            <a:extLst>
              <a:ext uri="{FF2B5EF4-FFF2-40B4-BE49-F238E27FC236}">
                <a16:creationId xmlns:a16="http://schemas.microsoft.com/office/drawing/2014/main" id="{75455B56-07F2-2943-AFDE-22F2A9DF65C4}"/>
              </a:ext>
            </a:extLst>
          </p:cNvPr>
          <p:cNvSpPr>
            <a:spLocks noGrp="1"/>
          </p:cNvSpPr>
          <p:nvPr>
            <p:ph type="body" sz="quarter" idx="33" hasCustomPrompt="1"/>
          </p:nvPr>
        </p:nvSpPr>
        <p:spPr>
          <a:xfrm>
            <a:off x="1673113" y="9162256"/>
            <a:ext cx="6049962" cy="2880520"/>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21" name="Picture Placeholder 2">
            <a:extLst>
              <a:ext uri="{FF2B5EF4-FFF2-40B4-BE49-F238E27FC236}">
                <a16:creationId xmlns:a16="http://schemas.microsoft.com/office/drawing/2014/main" id="{2F983719-8E56-644B-87F9-AA87D0158471}"/>
              </a:ext>
            </a:extLst>
          </p:cNvPr>
          <p:cNvSpPr>
            <a:spLocks noGrp="1"/>
          </p:cNvSpPr>
          <p:nvPr>
            <p:ph type="pic" sz="quarter" idx="34" hasCustomPrompt="1"/>
          </p:nvPr>
        </p:nvSpPr>
        <p:spPr>
          <a:xfrm>
            <a:off x="16656158" y="4124209"/>
            <a:ext cx="6049962" cy="4462582"/>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2" name="Text Placeholder 5">
            <a:extLst>
              <a:ext uri="{FF2B5EF4-FFF2-40B4-BE49-F238E27FC236}">
                <a16:creationId xmlns:a16="http://schemas.microsoft.com/office/drawing/2014/main" id="{CAE497B4-C614-C44B-94BA-C3BDE7D75DEC}"/>
              </a:ext>
            </a:extLst>
          </p:cNvPr>
          <p:cNvSpPr>
            <a:spLocks noGrp="1"/>
          </p:cNvSpPr>
          <p:nvPr>
            <p:ph type="body" sz="quarter" idx="35" hasCustomPrompt="1"/>
          </p:nvPr>
        </p:nvSpPr>
        <p:spPr>
          <a:xfrm>
            <a:off x="16656160" y="9162256"/>
            <a:ext cx="6049962" cy="2880520"/>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2" name="Title 1">
            <a:extLst>
              <a:ext uri="{FF2B5EF4-FFF2-40B4-BE49-F238E27FC236}">
                <a16:creationId xmlns:a16="http://schemas.microsoft.com/office/drawing/2014/main" id="{B714AECF-762E-AF4B-AE68-4E3BB8D405CD}"/>
              </a:ext>
            </a:extLst>
          </p:cNvPr>
          <p:cNvSpPr>
            <a:spLocks noGrp="1"/>
          </p:cNvSpPr>
          <p:nvPr>
            <p:ph type="title" hasCustomPrompt="1"/>
          </p:nvPr>
        </p:nvSpPr>
        <p:spPr>
          <a:xfrm>
            <a:off x="1676293" y="1677601"/>
            <a:ext cx="21033007" cy="1724414"/>
          </a:xfrm>
        </p:spPr>
        <p:txBody>
          <a:bodyPr/>
          <a:lstStyle/>
          <a:p>
            <a:r>
              <a:rPr lang="en-GB"/>
              <a:t>Focus areas</a:t>
            </a:r>
            <a:endParaRPr lang="en-NL"/>
          </a:p>
        </p:txBody>
      </p:sp>
      <p:sp>
        <p:nvSpPr>
          <p:cNvPr id="6" name="Footer Placeholder 5">
            <a:extLst>
              <a:ext uri="{FF2B5EF4-FFF2-40B4-BE49-F238E27FC236}">
                <a16:creationId xmlns:a16="http://schemas.microsoft.com/office/drawing/2014/main" id="{905FD5AF-E14D-EF49-88A1-61AE79880A4D}"/>
              </a:ext>
            </a:extLst>
          </p:cNvPr>
          <p:cNvSpPr>
            <a:spLocks noGrp="1"/>
          </p:cNvSpPr>
          <p:nvPr>
            <p:ph type="ftr" sz="quarter" idx="36"/>
          </p:nvPr>
        </p:nvSpPr>
        <p:spPr/>
        <p:txBody>
          <a:bodyPr/>
          <a:lstStyle/>
          <a:p>
            <a:endParaRPr lang="en-NL"/>
          </a:p>
        </p:txBody>
      </p:sp>
      <p:sp>
        <p:nvSpPr>
          <p:cNvPr id="14" name="TextBox 13">
            <a:extLst>
              <a:ext uri="{FF2B5EF4-FFF2-40B4-BE49-F238E27FC236}">
                <a16:creationId xmlns:a16="http://schemas.microsoft.com/office/drawing/2014/main" id="{7DDFA0A1-FCD3-7344-8E11-BA02D0C38EE6}"/>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65002054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Focus areas 3">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6F4D095-75F9-A649-B638-1297084AD7A4}"/>
              </a:ext>
            </a:extLst>
          </p:cNvPr>
          <p:cNvSpPr>
            <a:spLocks noGrp="1"/>
          </p:cNvSpPr>
          <p:nvPr>
            <p:ph type="pic" sz="quarter" idx="20" hasCustomPrompt="1"/>
          </p:nvPr>
        </p:nvSpPr>
        <p:spPr>
          <a:xfrm>
            <a:off x="3110923" y="5160731"/>
            <a:ext cx="3425835" cy="3426058"/>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3110921" y="8904153"/>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1" name="Picture Placeholder 7">
            <a:extLst>
              <a:ext uri="{FF2B5EF4-FFF2-40B4-BE49-F238E27FC236}">
                <a16:creationId xmlns:a16="http://schemas.microsoft.com/office/drawing/2014/main" id="{541447E4-2AA6-7F48-B55B-B62747E0ABD2}"/>
              </a:ext>
            </a:extLst>
          </p:cNvPr>
          <p:cNvSpPr>
            <a:spLocks noGrp="1"/>
          </p:cNvSpPr>
          <p:nvPr>
            <p:ph type="pic" sz="quarter" idx="22" hasCustomPrompt="1"/>
          </p:nvPr>
        </p:nvSpPr>
        <p:spPr>
          <a:xfrm>
            <a:off x="8045293" y="5160731"/>
            <a:ext cx="3425835" cy="3426058"/>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2" name="Text Placeholder 11">
            <a:extLst>
              <a:ext uri="{FF2B5EF4-FFF2-40B4-BE49-F238E27FC236}">
                <a16:creationId xmlns:a16="http://schemas.microsoft.com/office/drawing/2014/main" id="{2AD28FF4-13F4-2C40-9AF9-E173148BF12A}"/>
              </a:ext>
            </a:extLst>
          </p:cNvPr>
          <p:cNvSpPr>
            <a:spLocks noGrp="1"/>
          </p:cNvSpPr>
          <p:nvPr>
            <p:ph type="body" sz="quarter" idx="23" hasCustomPrompt="1"/>
          </p:nvPr>
        </p:nvSpPr>
        <p:spPr>
          <a:xfrm>
            <a:off x="8045293" y="8904153"/>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3" name="Picture Placeholder 7">
            <a:extLst>
              <a:ext uri="{FF2B5EF4-FFF2-40B4-BE49-F238E27FC236}">
                <a16:creationId xmlns:a16="http://schemas.microsoft.com/office/drawing/2014/main" id="{76549726-CD0C-C144-A1EB-76A281BC952E}"/>
              </a:ext>
            </a:extLst>
          </p:cNvPr>
          <p:cNvSpPr>
            <a:spLocks noGrp="1"/>
          </p:cNvSpPr>
          <p:nvPr>
            <p:ph type="pic" sz="quarter" idx="24" hasCustomPrompt="1"/>
          </p:nvPr>
        </p:nvSpPr>
        <p:spPr>
          <a:xfrm>
            <a:off x="12911287" y="5160731"/>
            <a:ext cx="3425835" cy="3426058"/>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4" name="Text Placeholder 11">
            <a:extLst>
              <a:ext uri="{FF2B5EF4-FFF2-40B4-BE49-F238E27FC236}">
                <a16:creationId xmlns:a16="http://schemas.microsoft.com/office/drawing/2014/main" id="{5B3AA100-6E6E-D34B-943C-1D75F59C39B5}"/>
              </a:ext>
            </a:extLst>
          </p:cNvPr>
          <p:cNvSpPr>
            <a:spLocks noGrp="1"/>
          </p:cNvSpPr>
          <p:nvPr>
            <p:ph type="body" sz="quarter" idx="25" hasCustomPrompt="1"/>
          </p:nvPr>
        </p:nvSpPr>
        <p:spPr>
          <a:xfrm>
            <a:off x="12911287" y="8904153"/>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5" name="Picture Placeholder 7">
            <a:extLst>
              <a:ext uri="{FF2B5EF4-FFF2-40B4-BE49-F238E27FC236}">
                <a16:creationId xmlns:a16="http://schemas.microsoft.com/office/drawing/2014/main" id="{DCB14019-6F34-AB4B-B98E-4393A31FE4D7}"/>
              </a:ext>
            </a:extLst>
          </p:cNvPr>
          <p:cNvSpPr>
            <a:spLocks noGrp="1"/>
          </p:cNvSpPr>
          <p:nvPr>
            <p:ph type="pic" sz="quarter" idx="26" hasCustomPrompt="1"/>
          </p:nvPr>
        </p:nvSpPr>
        <p:spPr>
          <a:xfrm>
            <a:off x="17910167" y="5160731"/>
            <a:ext cx="3425835" cy="3426058"/>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6" name="Text Placeholder 11">
            <a:extLst>
              <a:ext uri="{FF2B5EF4-FFF2-40B4-BE49-F238E27FC236}">
                <a16:creationId xmlns:a16="http://schemas.microsoft.com/office/drawing/2014/main" id="{1C762A72-2425-1F42-B142-A5C927AEEBB1}"/>
              </a:ext>
            </a:extLst>
          </p:cNvPr>
          <p:cNvSpPr>
            <a:spLocks noGrp="1"/>
          </p:cNvSpPr>
          <p:nvPr>
            <p:ph type="body" sz="quarter" idx="27" hasCustomPrompt="1"/>
          </p:nvPr>
        </p:nvSpPr>
        <p:spPr>
          <a:xfrm>
            <a:off x="17910167" y="8904153"/>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 name="Title 1">
            <a:extLst>
              <a:ext uri="{FF2B5EF4-FFF2-40B4-BE49-F238E27FC236}">
                <a16:creationId xmlns:a16="http://schemas.microsoft.com/office/drawing/2014/main" id="{A0F5E023-04B8-2F4C-ACC9-EA2D15A8206D}"/>
              </a:ext>
            </a:extLst>
          </p:cNvPr>
          <p:cNvSpPr>
            <a:spLocks noGrp="1"/>
          </p:cNvSpPr>
          <p:nvPr>
            <p:ph type="title" hasCustomPrompt="1"/>
          </p:nvPr>
        </p:nvSpPr>
        <p:spPr/>
        <p:txBody>
          <a:bodyPr/>
          <a:lstStyle/>
          <a:p>
            <a:r>
              <a:rPr lang="en-GB"/>
              <a:t>Focus areas</a:t>
            </a:r>
            <a:endParaRPr lang="en-NL"/>
          </a:p>
        </p:txBody>
      </p:sp>
      <p:sp>
        <p:nvSpPr>
          <p:cNvPr id="6" name="Footer Placeholder 5">
            <a:extLst>
              <a:ext uri="{FF2B5EF4-FFF2-40B4-BE49-F238E27FC236}">
                <a16:creationId xmlns:a16="http://schemas.microsoft.com/office/drawing/2014/main" id="{7BEF6BFC-32B9-EE4E-B0BD-51735697E79A}"/>
              </a:ext>
            </a:extLst>
          </p:cNvPr>
          <p:cNvSpPr>
            <a:spLocks noGrp="1"/>
          </p:cNvSpPr>
          <p:nvPr>
            <p:ph type="ftr" sz="quarter" idx="28"/>
          </p:nvPr>
        </p:nvSpPr>
        <p:spPr/>
        <p:txBody>
          <a:bodyPr/>
          <a:lstStyle/>
          <a:p>
            <a:endParaRPr lang="en-NL"/>
          </a:p>
        </p:txBody>
      </p:sp>
      <p:sp>
        <p:nvSpPr>
          <p:cNvPr id="17" name="TextBox 16">
            <a:extLst>
              <a:ext uri="{FF2B5EF4-FFF2-40B4-BE49-F238E27FC236}">
                <a16:creationId xmlns:a16="http://schemas.microsoft.com/office/drawing/2014/main" id="{D03693B7-36DD-2044-BD6D-C7E743BAFEC9}"/>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85727260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Organisational chart">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10677924" y="1682204"/>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2" name="Title 1">
            <a:extLst>
              <a:ext uri="{FF2B5EF4-FFF2-40B4-BE49-F238E27FC236}">
                <a16:creationId xmlns:a16="http://schemas.microsoft.com/office/drawing/2014/main" id="{43DA5788-F32B-A54D-BD65-3FF50B9E8946}"/>
              </a:ext>
            </a:extLst>
          </p:cNvPr>
          <p:cNvSpPr>
            <a:spLocks noGrp="1"/>
          </p:cNvSpPr>
          <p:nvPr>
            <p:ph type="title" hasCustomPrompt="1"/>
          </p:nvPr>
        </p:nvSpPr>
        <p:spPr>
          <a:xfrm>
            <a:off x="1676293" y="1677600"/>
            <a:ext cx="7489932" cy="3011660"/>
          </a:xfrm>
        </p:spPr>
        <p:txBody>
          <a:bodyPr/>
          <a:lstStyle>
            <a:lvl1pPr>
              <a:defRPr sz="6000"/>
            </a:lvl1pPr>
          </a:lstStyle>
          <a:p>
            <a:r>
              <a:rPr lang="en-GB"/>
              <a:t>Department name</a:t>
            </a:r>
            <a:endParaRPr lang="en-NL"/>
          </a:p>
        </p:txBody>
      </p:sp>
      <p:sp>
        <p:nvSpPr>
          <p:cNvPr id="37" name="Text Placeholder 11">
            <a:extLst>
              <a:ext uri="{FF2B5EF4-FFF2-40B4-BE49-F238E27FC236}">
                <a16:creationId xmlns:a16="http://schemas.microsoft.com/office/drawing/2014/main" id="{D20C3156-2AD2-124D-9E3C-76D76447737F}"/>
              </a:ext>
            </a:extLst>
          </p:cNvPr>
          <p:cNvSpPr>
            <a:spLocks noGrp="1"/>
          </p:cNvSpPr>
          <p:nvPr>
            <p:ph type="body" sz="quarter" idx="23" hasCustomPrompt="1"/>
          </p:nvPr>
        </p:nvSpPr>
        <p:spPr>
          <a:xfrm>
            <a:off x="15935624" y="8561142"/>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8" name="Text Placeholder 11">
            <a:extLst>
              <a:ext uri="{FF2B5EF4-FFF2-40B4-BE49-F238E27FC236}">
                <a16:creationId xmlns:a16="http://schemas.microsoft.com/office/drawing/2014/main" id="{52FB8893-C886-B348-A8E3-2932C39A6C17}"/>
              </a:ext>
            </a:extLst>
          </p:cNvPr>
          <p:cNvSpPr>
            <a:spLocks noGrp="1"/>
          </p:cNvSpPr>
          <p:nvPr>
            <p:ph type="body" sz="quarter" idx="24" hasCustomPrompt="1"/>
          </p:nvPr>
        </p:nvSpPr>
        <p:spPr>
          <a:xfrm>
            <a:off x="12447961" y="8561142"/>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9" name="Text Placeholder 11">
            <a:extLst>
              <a:ext uri="{FF2B5EF4-FFF2-40B4-BE49-F238E27FC236}">
                <a16:creationId xmlns:a16="http://schemas.microsoft.com/office/drawing/2014/main" id="{4E2FB335-2D5A-A743-81A7-7FAB0B1F748A}"/>
              </a:ext>
            </a:extLst>
          </p:cNvPr>
          <p:cNvSpPr>
            <a:spLocks noGrp="1"/>
          </p:cNvSpPr>
          <p:nvPr>
            <p:ph type="body" sz="quarter" idx="25" hasCustomPrompt="1"/>
          </p:nvPr>
        </p:nvSpPr>
        <p:spPr>
          <a:xfrm>
            <a:off x="19423287" y="8561142"/>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0" name="Text Placeholder 11">
            <a:extLst>
              <a:ext uri="{FF2B5EF4-FFF2-40B4-BE49-F238E27FC236}">
                <a16:creationId xmlns:a16="http://schemas.microsoft.com/office/drawing/2014/main" id="{FDBB4D3B-21DA-AA48-875F-039F1DA49F4D}"/>
              </a:ext>
            </a:extLst>
          </p:cNvPr>
          <p:cNvSpPr>
            <a:spLocks noGrp="1"/>
          </p:cNvSpPr>
          <p:nvPr>
            <p:ph type="body" sz="quarter" idx="26" hasCustomPrompt="1"/>
          </p:nvPr>
        </p:nvSpPr>
        <p:spPr>
          <a:xfrm>
            <a:off x="8950203" y="8561142"/>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1" name="Text Placeholder 11">
            <a:extLst>
              <a:ext uri="{FF2B5EF4-FFF2-40B4-BE49-F238E27FC236}">
                <a16:creationId xmlns:a16="http://schemas.microsoft.com/office/drawing/2014/main" id="{04958B99-BADB-694D-857D-679CEF331FE2}"/>
              </a:ext>
            </a:extLst>
          </p:cNvPr>
          <p:cNvSpPr>
            <a:spLocks noGrp="1"/>
          </p:cNvSpPr>
          <p:nvPr>
            <p:ph type="body" sz="quarter" idx="27" hasCustomPrompt="1"/>
          </p:nvPr>
        </p:nvSpPr>
        <p:spPr>
          <a:xfrm>
            <a:off x="5462540" y="8561142"/>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2" name="Text Placeholder 11">
            <a:extLst>
              <a:ext uri="{FF2B5EF4-FFF2-40B4-BE49-F238E27FC236}">
                <a16:creationId xmlns:a16="http://schemas.microsoft.com/office/drawing/2014/main" id="{867B033E-55B1-E64C-AB2E-DEA20C7A2523}"/>
              </a:ext>
            </a:extLst>
          </p:cNvPr>
          <p:cNvSpPr>
            <a:spLocks noGrp="1"/>
          </p:cNvSpPr>
          <p:nvPr>
            <p:ph type="body" sz="quarter" idx="28" hasCustomPrompt="1"/>
          </p:nvPr>
        </p:nvSpPr>
        <p:spPr>
          <a:xfrm>
            <a:off x="1980136" y="8561142"/>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3" name="Text Placeholder 11">
            <a:extLst>
              <a:ext uri="{FF2B5EF4-FFF2-40B4-BE49-F238E27FC236}">
                <a16:creationId xmlns:a16="http://schemas.microsoft.com/office/drawing/2014/main" id="{1342689F-D009-8044-A2FD-60C69DAC4509}"/>
              </a:ext>
            </a:extLst>
          </p:cNvPr>
          <p:cNvSpPr>
            <a:spLocks noGrp="1"/>
          </p:cNvSpPr>
          <p:nvPr>
            <p:ph type="body" sz="quarter" idx="29" hasCustomPrompt="1"/>
          </p:nvPr>
        </p:nvSpPr>
        <p:spPr>
          <a:xfrm>
            <a:off x="3698344" y="5113634"/>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4" name="Text Placeholder 11">
            <a:extLst>
              <a:ext uri="{FF2B5EF4-FFF2-40B4-BE49-F238E27FC236}">
                <a16:creationId xmlns:a16="http://schemas.microsoft.com/office/drawing/2014/main" id="{67DEF29E-90A5-BC45-8BB6-53DBC7210B2A}"/>
              </a:ext>
            </a:extLst>
          </p:cNvPr>
          <p:cNvSpPr>
            <a:spLocks noGrp="1"/>
          </p:cNvSpPr>
          <p:nvPr>
            <p:ph type="body" sz="quarter" idx="30" hasCustomPrompt="1"/>
          </p:nvPr>
        </p:nvSpPr>
        <p:spPr>
          <a:xfrm>
            <a:off x="10677922" y="5128182"/>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5" name="Text Placeholder 11">
            <a:extLst>
              <a:ext uri="{FF2B5EF4-FFF2-40B4-BE49-F238E27FC236}">
                <a16:creationId xmlns:a16="http://schemas.microsoft.com/office/drawing/2014/main" id="{DD2C9CC6-3595-BA4C-9ADE-B391018F28A0}"/>
              </a:ext>
            </a:extLst>
          </p:cNvPr>
          <p:cNvSpPr>
            <a:spLocks noGrp="1"/>
          </p:cNvSpPr>
          <p:nvPr>
            <p:ph type="body" sz="quarter" idx="31" hasCustomPrompt="1"/>
          </p:nvPr>
        </p:nvSpPr>
        <p:spPr>
          <a:xfrm>
            <a:off x="17659092" y="5128182"/>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6" name="Text Placeholder 11">
            <a:extLst>
              <a:ext uri="{FF2B5EF4-FFF2-40B4-BE49-F238E27FC236}">
                <a16:creationId xmlns:a16="http://schemas.microsoft.com/office/drawing/2014/main" id="{9A38C78E-0083-574C-BBD2-F191805B428A}"/>
              </a:ext>
            </a:extLst>
          </p:cNvPr>
          <p:cNvSpPr>
            <a:spLocks noGrp="1"/>
          </p:cNvSpPr>
          <p:nvPr>
            <p:ph type="body" sz="quarter" idx="32" hasCustomPrompt="1"/>
          </p:nvPr>
        </p:nvSpPr>
        <p:spPr>
          <a:xfrm>
            <a:off x="1980136" y="10742266"/>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8" name="Text Placeholder 11">
            <a:extLst>
              <a:ext uri="{FF2B5EF4-FFF2-40B4-BE49-F238E27FC236}">
                <a16:creationId xmlns:a16="http://schemas.microsoft.com/office/drawing/2014/main" id="{0EC1A24F-21AB-AB45-9A34-7DD472E3106A}"/>
              </a:ext>
            </a:extLst>
          </p:cNvPr>
          <p:cNvSpPr>
            <a:spLocks noGrp="1"/>
          </p:cNvSpPr>
          <p:nvPr>
            <p:ph type="body" sz="quarter" idx="33" hasCustomPrompt="1"/>
          </p:nvPr>
        </p:nvSpPr>
        <p:spPr>
          <a:xfrm>
            <a:off x="8950203" y="10742266"/>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9" name="TextBox 48">
            <a:extLst>
              <a:ext uri="{FF2B5EF4-FFF2-40B4-BE49-F238E27FC236}">
                <a16:creationId xmlns:a16="http://schemas.microsoft.com/office/drawing/2014/main" id="{0D0F6677-E2D7-FF4E-B4A9-F9CEED474E8C}"/>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57939043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Organisational chart with pictur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6F4D095-75F9-A649-B638-1297084AD7A4}"/>
              </a:ext>
            </a:extLst>
          </p:cNvPr>
          <p:cNvSpPr>
            <a:spLocks noGrp="1"/>
          </p:cNvSpPr>
          <p:nvPr>
            <p:ph type="pic" sz="quarter" idx="20" hasCustomPrompt="1"/>
          </p:nvPr>
        </p:nvSpPr>
        <p:spPr>
          <a:xfrm>
            <a:off x="10841207" y="1719944"/>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9670604" y="4512108"/>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2" name="Title 1">
            <a:extLst>
              <a:ext uri="{FF2B5EF4-FFF2-40B4-BE49-F238E27FC236}">
                <a16:creationId xmlns:a16="http://schemas.microsoft.com/office/drawing/2014/main" id="{43DA5788-F32B-A54D-BD65-3FF50B9E8946}"/>
              </a:ext>
            </a:extLst>
          </p:cNvPr>
          <p:cNvSpPr>
            <a:spLocks noGrp="1"/>
          </p:cNvSpPr>
          <p:nvPr>
            <p:ph type="title" hasCustomPrompt="1"/>
          </p:nvPr>
        </p:nvSpPr>
        <p:spPr>
          <a:xfrm>
            <a:off x="1676293" y="1677600"/>
            <a:ext cx="7489932" cy="3011660"/>
          </a:xfrm>
        </p:spPr>
        <p:txBody>
          <a:bodyPr/>
          <a:lstStyle>
            <a:lvl1pPr>
              <a:defRPr sz="6000"/>
            </a:lvl1pPr>
          </a:lstStyle>
          <a:p>
            <a:r>
              <a:rPr lang="en-GB"/>
              <a:t>Department name</a:t>
            </a:r>
            <a:endParaRPr lang="en-NL"/>
          </a:p>
        </p:txBody>
      </p:sp>
      <p:sp>
        <p:nvSpPr>
          <p:cNvPr id="31" name="Text Placeholder 11">
            <a:extLst>
              <a:ext uri="{FF2B5EF4-FFF2-40B4-BE49-F238E27FC236}">
                <a16:creationId xmlns:a16="http://schemas.microsoft.com/office/drawing/2014/main" id="{75F485D7-B4EF-5A4B-879E-86975974580C}"/>
              </a:ext>
            </a:extLst>
          </p:cNvPr>
          <p:cNvSpPr>
            <a:spLocks noGrp="1"/>
          </p:cNvSpPr>
          <p:nvPr>
            <p:ph type="body" sz="quarter" idx="30" hasCustomPrompt="1"/>
          </p:nvPr>
        </p:nvSpPr>
        <p:spPr>
          <a:xfrm>
            <a:off x="7114430" y="8596286"/>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2" name="Text Placeholder 11">
            <a:extLst>
              <a:ext uri="{FF2B5EF4-FFF2-40B4-BE49-F238E27FC236}">
                <a16:creationId xmlns:a16="http://schemas.microsoft.com/office/drawing/2014/main" id="{8EE80A14-44BF-1D48-8C22-8748FD98477A}"/>
              </a:ext>
            </a:extLst>
          </p:cNvPr>
          <p:cNvSpPr>
            <a:spLocks noGrp="1"/>
          </p:cNvSpPr>
          <p:nvPr>
            <p:ph type="body" sz="quarter" idx="31" hasCustomPrompt="1"/>
          </p:nvPr>
        </p:nvSpPr>
        <p:spPr>
          <a:xfrm>
            <a:off x="12197877" y="8596286"/>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3" name="Text Placeholder 11">
            <a:extLst>
              <a:ext uri="{FF2B5EF4-FFF2-40B4-BE49-F238E27FC236}">
                <a16:creationId xmlns:a16="http://schemas.microsoft.com/office/drawing/2014/main" id="{4122F631-7AEE-E940-A99A-F863EBC69A3E}"/>
              </a:ext>
            </a:extLst>
          </p:cNvPr>
          <p:cNvSpPr>
            <a:spLocks noGrp="1"/>
          </p:cNvSpPr>
          <p:nvPr>
            <p:ph type="body" sz="quarter" idx="32" hasCustomPrompt="1"/>
          </p:nvPr>
        </p:nvSpPr>
        <p:spPr>
          <a:xfrm>
            <a:off x="17276564" y="8596286"/>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4" name="Text Placeholder 11">
            <a:extLst>
              <a:ext uri="{FF2B5EF4-FFF2-40B4-BE49-F238E27FC236}">
                <a16:creationId xmlns:a16="http://schemas.microsoft.com/office/drawing/2014/main" id="{DEF7042E-C2C0-904C-A1CD-FA245CD87451}"/>
              </a:ext>
            </a:extLst>
          </p:cNvPr>
          <p:cNvSpPr>
            <a:spLocks noGrp="1"/>
          </p:cNvSpPr>
          <p:nvPr>
            <p:ph type="body" sz="quarter" idx="33" hasCustomPrompt="1"/>
          </p:nvPr>
        </p:nvSpPr>
        <p:spPr>
          <a:xfrm>
            <a:off x="2059335" y="8596286"/>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6" name="Text Placeholder 11">
            <a:extLst>
              <a:ext uri="{FF2B5EF4-FFF2-40B4-BE49-F238E27FC236}">
                <a16:creationId xmlns:a16="http://schemas.microsoft.com/office/drawing/2014/main" id="{BF736EFA-67F1-B044-A2C3-78E7C51705B6}"/>
              </a:ext>
            </a:extLst>
          </p:cNvPr>
          <p:cNvSpPr>
            <a:spLocks noGrp="1"/>
          </p:cNvSpPr>
          <p:nvPr>
            <p:ph type="body" sz="quarter" idx="35" hasCustomPrompt="1"/>
          </p:nvPr>
        </p:nvSpPr>
        <p:spPr>
          <a:xfrm>
            <a:off x="14755169" y="4523154"/>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18" name="Picture Placeholder 7">
            <a:extLst>
              <a:ext uri="{FF2B5EF4-FFF2-40B4-BE49-F238E27FC236}">
                <a16:creationId xmlns:a16="http://schemas.microsoft.com/office/drawing/2014/main" id="{E32092D4-F5E4-9948-BB3B-B209229D6C06}"/>
              </a:ext>
            </a:extLst>
          </p:cNvPr>
          <p:cNvSpPr>
            <a:spLocks noGrp="1"/>
          </p:cNvSpPr>
          <p:nvPr>
            <p:ph type="pic" sz="quarter" idx="36" hasCustomPrompt="1"/>
          </p:nvPr>
        </p:nvSpPr>
        <p:spPr>
          <a:xfrm>
            <a:off x="15943082" y="1719944"/>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0" name="Picture Placeholder 7">
            <a:extLst>
              <a:ext uri="{FF2B5EF4-FFF2-40B4-BE49-F238E27FC236}">
                <a16:creationId xmlns:a16="http://schemas.microsoft.com/office/drawing/2014/main" id="{9642D2C8-E8D9-D24B-8B56-E869E37E5558}"/>
              </a:ext>
            </a:extLst>
          </p:cNvPr>
          <p:cNvSpPr>
            <a:spLocks noGrp="1"/>
          </p:cNvSpPr>
          <p:nvPr>
            <p:ph type="pic" sz="quarter" idx="37" hasCustomPrompt="1"/>
          </p:nvPr>
        </p:nvSpPr>
        <p:spPr>
          <a:xfrm>
            <a:off x="3283936" y="5777880"/>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1" name="Picture Placeholder 7">
            <a:extLst>
              <a:ext uri="{FF2B5EF4-FFF2-40B4-BE49-F238E27FC236}">
                <a16:creationId xmlns:a16="http://schemas.microsoft.com/office/drawing/2014/main" id="{CDF87832-9FDB-3F47-97C5-15DEFCD1488C}"/>
              </a:ext>
            </a:extLst>
          </p:cNvPr>
          <p:cNvSpPr>
            <a:spLocks noGrp="1"/>
          </p:cNvSpPr>
          <p:nvPr>
            <p:ph type="pic" sz="quarter" idx="38" hasCustomPrompt="1"/>
          </p:nvPr>
        </p:nvSpPr>
        <p:spPr>
          <a:xfrm>
            <a:off x="8394042" y="5777880"/>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2" name="Picture Placeholder 7">
            <a:extLst>
              <a:ext uri="{FF2B5EF4-FFF2-40B4-BE49-F238E27FC236}">
                <a16:creationId xmlns:a16="http://schemas.microsoft.com/office/drawing/2014/main" id="{9F605B20-5BFC-D34B-AC34-62C629AE60C8}"/>
              </a:ext>
            </a:extLst>
          </p:cNvPr>
          <p:cNvSpPr>
            <a:spLocks noGrp="1"/>
          </p:cNvSpPr>
          <p:nvPr>
            <p:ph type="pic" sz="quarter" idx="39" hasCustomPrompt="1"/>
          </p:nvPr>
        </p:nvSpPr>
        <p:spPr>
          <a:xfrm>
            <a:off x="13459168" y="5777880"/>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3" name="Picture Placeholder 7">
            <a:extLst>
              <a:ext uri="{FF2B5EF4-FFF2-40B4-BE49-F238E27FC236}">
                <a16:creationId xmlns:a16="http://schemas.microsoft.com/office/drawing/2014/main" id="{CB528120-A57D-C04A-A5CE-A13C8EDF86ED}"/>
              </a:ext>
            </a:extLst>
          </p:cNvPr>
          <p:cNvSpPr>
            <a:spLocks noGrp="1"/>
          </p:cNvSpPr>
          <p:nvPr>
            <p:ph type="pic" sz="quarter" idx="40" hasCustomPrompt="1"/>
          </p:nvPr>
        </p:nvSpPr>
        <p:spPr>
          <a:xfrm>
            <a:off x="18569274" y="5777880"/>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4" name="Text Placeholder 11">
            <a:extLst>
              <a:ext uri="{FF2B5EF4-FFF2-40B4-BE49-F238E27FC236}">
                <a16:creationId xmlns:a16="http://schemas.microsoft.com/office/drawing/2014/main" id="{6BDE82E8-4C03-4846-972E-989D2C69E3BD}"/>
              </a:ext>
            </a:extLst>
          </p:cNvPr>
          <p:cNvSpPr>
            <a:spLocks noGrp="1"/>
          </p:cNvSpPr>
          <p:nvPr>
            <p:ph type="body" sz="quarter" idx="41" hasCustomPrompt="1"/>
          </p:nvPr>
        </p:nvSpPr>
        <p:spPr>
          <a:xfrm>
            <a:off x="2059335" y="12248704"/>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25" name="Picture Placeholder 7">
            <a:extLst>
              <a:ext uri="{FF2B5EF4-FFF2-40B4-BE49-F238E27FC236}">
                <a16:creationId xmlns:a16="http://schemas.microsoft.com/office/drawing/2014/main" id="{83187330-3EBE-934C-B545-3351D604B7B9}"/>
              </a:ext>
            </a:extLst>
          </p:cNvPr>
          <p:cNvSpPr>
            <a:spLocks noGrp="1"/>
          </p:cNvSpPr>
          <p:nvPr>
            <p:ph type="pic" sz="quarter" idx="42" hasCustomPrompt="1"/>
          </p:nvPr>
        </p:nvSpPr>
        <p:spPr>
          <a:xfrm>
            <a:off x="3283936" y="9430298"/>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6" name="TextBox 25">
            <a:extLst>
              <a:ext uri="{FF2B5EF4-FFF2-40B4-BE49-F238E27FC236}">
                <a16:creationId xmlns:a16="http://schemas.microsoft.com/office/drawing/2014/main" id="{550D2F5E-666A-C14D-8B7B-3A62CE2C1C05}"/>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87223299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Full picture">
    <p:bg>
      <p:bgPr>
        <a:solidFill>
          <a:schemeClr val="bg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73BADB48-5F7B-4C4D-BDD5-124AFC5BC91E}"/>
              </a:ext>
            </a:extLst>
          </p:cNvPr>
          <p:cNvSpPr txBox="1"/>
          <p:nvPr userDrawn="1"/>
        </p:nvSpPr>
        <p:spPr>
          <a:xfrm>
            <a:off x="22127664" y="12977376"/>
            <a:ext cx="1872086" cy="400110"/>
          </a:xfrm>
          <a:prstGeom prst="rect">
            <a:avLst/>
          </a:prstGeom>
          <a:noFill/>
        </p:spPr>
        <p:txBody>
          <a:bodyPr wrap="square" rtlCol="0" anchor="b">
            <a:spAutoFit/>
          </a:bodyPr>
          <a:lstStyle/>
          <a:p>
            <a:pPr algn="r"/>
            <a:fld id="{6CE035FB-656D-BE4C-9C54-3AFE6E724348}" type="slidenum">
              <a:rPr lang="en-GB" sz="2000" smtClean="0">
                <a:latin typeface="Noto IKEA Latin" panose="020B0502040504020204" pitchFamily="34" charset="0"/>
              </a:rPr>
              <a:pPr algn="r"/>
              <a:t>‹#›</a:t>
            </a:fld>
            <a:endParaRPr lang="en-GB" sz="2000">
              <a:latin typeface="Noto IKEA Latin" panose="020B0502040504020204" pitchFamily="34" charset="0"/>
            </a:endParaRPr>
          </a:p>
        </p:txBody>
      </p:sp>
      <p:sp>
        <p:nvSpPr>
          <p:cNvPr id="7" name="Picture Placeholder 10">
            <a:extLst>
              <a:ext uri="{FF2B5EF4-FFF2-40B4-BE49-F238E27FC236}">
                <a16:creationId xmlns:a16="http://schemas.microsoft.com/office/drawing/2014/main" id="{83374E3F-FD44-FF48-B59B-E0793285F562}"/>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picture into this frame</a:t>
            </a:r>
          </a:p>
        </p:txBody>
      </p:sp>
      <p:sp>
        <p:nvSpPr>
          <p:cNvPr id="4" name="TextBox 3">
            <a:extLst>
              <a:ext uri="{FF2B5EF4-FFF2-40B4-BE49-F238E27FC236}">
                <a16:creationId xmlns:a16="http://schemas.microsoft.com/office/drawing/2014/main" id="{A28FA5BF-CC16-F74C-B2AD-7675C1B452C4}"/>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02319490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pcitures">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7573FD41-AC43-F04C-8700-DDD5AFA33E14}"/>
              </a:ext>
            </a:extLst>
          </p:cNvPr>
          <p:cNvSpPr>
            <a:spLocks noGrp="1"/>
          </p:cNvSpPr>
          <p:nvPr>
            <p:ph type="pic" sz="quarter" idx="14" hasCustomPrompt="1"/>
          </p:nvPr>
        </p:nvSpPr>
        <p:spPr>
          <a:xfrm>
            <a:off x="491206" y="486000"/>
            <a:ext cx="11483977" cy="9827988"/>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0" name="Picture Placeholder 10">
            <a:extLst>
              <a:ext uri="{FF2B5EF4-FFF2-40B4-BE49-F238E27FC236}">
                <a16:creationId xmlns:a16="http://schemas.microsoft.com/office/drawing/2014/main" id="{250173C0-66DE-2B44-9C5C-228A0DC74671}"/>
              </a:ext>
            </a:extLst>
          </p:cNvPr>
          <p:cNvSpPr>
            <a:spLocks noGrp="1"/>
          </p:cNvSpPr>
          <p:nvPr>
            <p:ph type="pic" sz="quarter" idx="18" hasCustomPrompt="1"/>
          </p:nvPr>
        </p:nvSpPr>
        <p:spPr>
          <a:xfrm>
            <a:off x="12407230" y="486000"/>
            <a:ext cx="11483977" cy="9827988"/>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1" name="Text Placeholder 5">
            <a:extLst>
              <a:ext uri="{FF2B5EF4-FFF2-40B4-BE49-F238E27FC236}">
                <a16:creationId xmlns:a16="http://schemas.microsoft.com/office/drawing/2014/main" id="{32E65FF3-CD8C-8D42-A347-F026094D4707}"/>
              </a:ext>
            </a:extLst>
          </p:cNvPr>
          <p:cNvSpPr>
            <a:spLocks noGrp="1"/>
          </p:cNvSpPr>
          <p:nvPr>
            <p:ph type="body" sz="quarter" idx="33" hasCustomPrompt="1"/>
          </p:nvPr>
        </p:nvSpPr>
        <p:spPr>
          <a:xfrm>
            <a:off x="486322" y="10602416"/>
            <a:ext cx="8679903" cy="1440360"/>
          </a:xfrm>
        </p:spPr>
        <p:txBody>
          <a:bodyPr>
            <a:noAutofit/>
          </a:bodyPr>
          <a:lstStyle>
            <a:lvl1pPr>
              <a:spcBef>
                <a:spcPts val="0"/>
              </a:spcBef>
              <a:defRPr sz="3200"/>
            </a:lvl1pPr>
          </a:lstStyle>
          <a:p>
            <a:pPr lvl="0"/>
            <a:r>
              <a:rPr lang="en-GB" noProof="0"/>
              <a:t>Put the description text here, keep it regular 32 </a:t>
            </a:r>
            <a:r>
              <a:rPr lang="en-GB" noProof="0" err="1"/>
              <a:t>pt</a:t>
            </a:r>
            <a:endParaRPr lang="en-GB" noProof="0"/>
          </a:p>
        </p:txBody>
      </p:sp>
      <p:sp>
        <p:nvSpPr>
          <p:cNvPr id="12" name="Text Placeholder 5">
            <a:extLst>
              <a:ext uri="{FF2B5EF4-FFF2-40B4-BE49-F238E27FC236}">
                <a16:creationId xmlns:a16="http://schemas.microsoft.com/office/drawing/2014/main" id="{7A080EE2-1AD5-5F46-8A70-65AD78446B90}"/>
              </a:ext>
            </a:extLst>
          </p:cNvPr>
          <p:cNvSpPr>
            <a:spLocks noGrp="1"/>
          </p:cNvSpPr>
          <p:nvPr>
            <p:ph type="body" sz="quarter" idx="34" hasCustomPrompt="1"/>
          </p:nvPr>
        </p:nvSpPr>
        <p:spPr>
          <a:xfrm>
            <a:off x="12407233" y="10602416"/>
            <a:ext cx="8928769" cy="1440360"/>
          </a:xfrm>
        </p:spPr>
        <p:txBody>
          <a:bodyPr>
            <a:noAutofit/>
          </a:bodyPr>
          <a:lstStyle>
            <a:lvl1pPr>
              <a:spcBef>
                <a:spcPts val="0"/>
              </a:spcBef>
              <a:defRPr sz="3200"/>
            </a:lvl1pPr>
          </a:lstStyle>
          <a:p>
            <a:pPr lvl="0"/>
            <a:r>
              <a:rPr lang="en-GB" noProof="0"/>
              <a:t>Put the </a:t>
            </a:r>
            <a:r>
              <a:rPr lang="en-GB" noProof="0" err="1"/>
              <a:t>desccription</a:t>
            </a:r>
            <a:r>
              <a:rPr lang="en-GB" noProof="0"/>
              <a:t> text here, keep it regular 32 </a:t>
            </a:r>
            <a:r>
              <a:rPr lang="en-GB" noProof="0" err="1"/>
              <a:t>pt</a:t>
            </a:r>
            <a:endParaRPr lang="en-GB" noProof="0"/>
          </a:p>
        </p:txBody>
      </p:sp>
      <p:sp>
        <p:nvSpPr>
          <p:cNvPr id="13" name="TextBox 12">
            <a:extLst>
              <a:ext uri="{FF2B5EF4-FFF2-40B4-BE49-F238E27FC236}">
                <a16:creationId xmlns:a16="http://schemas.microsoft.com/office/drawing/2014/main" id="{2B01AC93-92D9-A147-BDC6-27DC8FA8CB34}"/>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74936041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Four picture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124A353B-E374-7740-BADE-D936639B642B}"/>
              </a:ext>
            </a:extLst>
          </p:cNvPr>
          <p:cNvSpPr>
            <a:spLocks noGrp="1"/>
          </p:cNvSpPr>
          <p:nvPr>
            <p:ph type="body" sz="half" idx="2" hasCustomPrompt="1"/>
          </p:nvPr>
        </p:nvSpPr>
        <p:spPr>
          <a:xfrm>
            <a:off x="6766971" y="486000"/>
            <a:ext cx="5004056" cy="5939952"/>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3" name="Picture Placeholder 2">
            <a:extLst>
              <a:ext uri="{FF2B5EF4-FFF2-40B4-BE49-F238E27FC236}">
                <a16:creationId xmlns:a16="http://schemas.microsoft.com/office/drawing/2014/main" id="{DEE2AB82-CBD5-1145-9E32-3577A8B871DC}"/>
              </a:ext>
            </a:extLst>
          </p:cNvPr>
          <p:cNvSpPr>
            <a:spLocks noGrp="1"/>
          </p:cNvSpPr>
          <p:nvPr>
            <p:ph type="pic" sz="quarter" idx="19" hasCustomPrompt="1"/>
          </p:nvPr>
        </p:nvSpPr>
        <p:spPr>
          <a:xfrm>
            <a:off x="486000" y="486000"/>
            <a:ext cx="5849999" cy="6372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9" name="Picture Placeholder 2">
            <a:extLst>
              <a:ext uri="{FF2B5EF4-FFF2-40B4-BE49-F238E27FC236}">
                <a16:creationId xmlns:a16="http://schemas.microsoft.com/office/drawing/2014/main" id="{224B314B-F368-C345-A11C-63D267394698}"/>
              </a:ext>
            </a:extLst>
          </p:cNvPr>
          <p:cNvSpPr>
            <a:spLocks noGrp="1"/>
          </p:cNvSpPr>
          <p:nvPr>
            <p:ph type="pic" sz="quarter" idx="20" hasCustomPrompt="1"/>
          </p:nvPr>
        </p:nvSpPr>
        <p:spPr>
          <a:xfrm>
            <a:off x="6351996" y="6858000"/>
            <a:ext cx="5828421" cy="6372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3" name="Picture Placeholder 2">
            <a:extLst>
              <a:ext uri="{FF2B5EF4-FFF2-40B4-BE49-F238E27FC236}">
                <a16:creationId xmlns:a16="http://schemas.microsoft.com/office/drawing/2014/main" id="{0BDAE9D1-09EE-5948-864F-662D2BEFC95D}"/>
              </a:ext>
            </a:extLst>
          </p:cNvPr>
          <p:cNvSpPr>
            <a:spLocks noGrp="1"/>
          </p:cNvSpPr>
          <p:nvPr>
            <p:ph type="pic" sz="quarter" idx="21" hasCustomPrompt="1"/>
          </p:nvPr>
        </p:nvSpPr>
        <p:spPr>
          <a:xfrm>
            <a:off x="12201996" y="486000"/>
            <a:ext cx="5849999" cy="6372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4" name="Picture Placeholder 2">
            <a:extLst>
              <a:ext uri="{FF2B5EF4-FFF2-40B4-BE49-F238E27FC236}">
                <a16:creationId xmlns:a16="http://schemas.microsoft.com/office/drawing/2014/main" id="{5A3CC44A-564E-0843-B5E6-9CA66C87720E}"/>
              </a:ext>
            </a:extLst>
          </p:cNvPr>
          <p:cNvSpPr>
            <a:spLocks noGrp="1"/>
          </p:cNvSpPr>
          <p:nvPr>
            <p:ph type="pic" sz="quarter" idx="22" hasCustomPrompt="1"/>
          </p:nvPr>
        </p:nvSpPr>
        <p:spPr>
          <a:xfrm>
            <a:off x="18073575" y="6858000"/>
            <a:ext cx="5828421" cy="6372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5" name="Text Placeholder 3">
            <a:extLst>
              <a:ext uri="{FF2B5EF4-FFF2-40B4-BE49-F238E27FC236}">
                <a16:creationId xmlns:a16="http://schemas.microsoft.com/office/drawing/2014/main" id="{18BFCA73-5A52-2948-854C-23498017B30C}"/>
              </a:ext>
            </a:extLst>
          </p:cNvPr>
          <p:cNvSpPr>
            <a:spLocks noGrp="1"/>
          </p:cNvSpPr>
          <p:nvPr>
            <p:ph type="body" sz="half" idx="23" hasCustomPrompt="1"/>
          </p:nvPr>
        </p:nvSpPr>
        <p:spPr>
          <a:xfrm>
            <a:off x="908974" y="7286690"/>
            <a:ext cx="5004056" cy="5939952"/>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36" name="Text Placeholder 3">
            <a:extLst>
              <a:ext uri="{FF2B5EF4-FFF2-40B4-BE49-F238E27FC236}">
                <a16:creationId xmlns:a16="http://schemas.microsoft.com/office/drawing/2014/main" id="{26C19E7B-3293-A34C-8019-B66220F68581}"/>
              </a:ext>
            </a:extLst>
          </p:cNvPr>
          <p:cNvSpPr>
            <a:spLocks noGrp="1"/>
          </p:cNvSpPr>
          <p:nvPr>
            <p:ph type="body" sz="half" idx="24" hasCustomPrompt="1"/>
          </p:nvPr>
        </p:nvSpPr>
        <p:spPr>
          <a:xfrm>
            <a:off x="18485758" y="486000"/>
            <a:ext cx="5004056" cy="5939952"/>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37" name="Text Placeholder 3">
            <a:extLst>
              <a:ext uri="{FF2B5EF4-FFF2-40B4-BE49-F238E27FC236}">
                <a16:creationId xmlns:a16="http://schemas.microsoft.com/office/drawing/2014/main" id="{71E04723-43C9-E249-B03C-FDED0C006F77}"/>
              </a:ext>
            </a:extLst>
          </p:cNvPr>
          <p:cNvSpPr>
            <a:spLocks noGrp="1"/>
          </p:cNvSpPr>
          <p:nvPr>
            <p:ph type="body" sz="half" idx="25" hasCustomPrompt="1"/>
          </p:nvPr>
        </p:nvSpPr>
        <p:spPr>
          <a:xfrm>
            <a:off x="12624969" y="7286690"/>
            <a:ext cx="5004056" cy="5939952"/>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11" name="TextBox 10">
            <a:extLst>
              <a:ext uri="{FF2B5EF4-FFF2-40B4-BE49-F238E27FC236}">
                <a16:creationId xmlns:a16="http://schemas.microsoft.com/office/drawing/2014/main" id="{5D4B7E75-FBA5-1D4B-BA9C-11BD2FE3C7B0}"/>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80150316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Eight pictures">
    <p:spTree>
      <p:nvGrpSpPr>
        <p:cNvPr id="1" name=""/>
        <p:cNvGrpSpPr/>
        <p:nvPr/>
      </p:nvGrpSpPr>
      <p:grpSpPr>
        <a:xfrm>
          <a:off x="0" y="0"/>
          <a:ext cx="0" cy="0"/>
          <a:chOff x="0" y="0"/>
          <a:chExt cx="0" cy="0"/>
        </a:xfrm>
      </p:grpSpPr>
      <p:sp>
        <p:nvSpPr>
          <p:cNvPr id="13" name="Picture Placeholder 2">
            <a:extLst>
              <a:ext uri="{FF2B5EF4-FFF2-40B4-BE49-F238E27FC236}">
                <a16:creationId xmlns:a16="http://schemas.microsoft.com/office/drawing/2014/main" id="{D1148F2D-229C-E245-B364-AD926A8E5678}"/>
              </a:ext>
            </a:extLst>
          </p:cNvPr>
          <p:cNvSpPr>
            <a:spLocks noGrp="1"/>
          </p:cNvSpPr>
          <p:nvPr>
            <p:ph type="pic" sz="quarter" idx="19" hasCustomPrompt="1"/>
          </p:nvPr>
        </p:nvSpPr>
        <p:spPr>
          <a:xfrm>
            <a:off x="486000" y="486001"/>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4" name="Text Placeholder 3">
            <a:extLst>
              <a:ext uri="{FF2B5EF4-FFF2-40B4-BE49-F238E27FC236}">
                <a16:creationId xmlns:a16="http://schemas.microsoft.com/office/drawing/2014/main" id="{EF6C2542-122E-CD4A-95A0-0315258EEA53}"/>
              </a:ext>
            </a:extLst>
          </p:cNvPr>
          <p:cNvSpPr>
            <a:spLocks noGrp="1"/>
          </p:cNvSpPr>
          <p:nvPr>
            <p:ph type="body" sz="half" idx="23" hasCustomPrompt="1"/>
          </p:nvPr>
        </p:nvSpPr>
        <p:spPr>
          <a:xfrm>
            <a:off x="513287" y="3888024"/>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15" name="Picture Placeholder 2">
            <a:extLst>
              <a:ext uri="{FF2B5EF4-FFF2-40B4-BE49-F238E27FC236}">
                <a16:creationId xmlns:a16="http://schemas.microsoft.com/office/drawing/2014/main" id="{EBB6C642-10AD-6A47-8744-E825A5EEEA34}"/>
              </a:ext>
            </a:extLst>
          </p:cNvPr>
          <p:cNvSpPr>
            <a:spLocks noGrp="1"/>
          </p:cNvSpPr>
          <p:nvPr>
            <p:ph type="pic" sz="quarter" idx="24" hasCustomPrompt="1"/>
          </p:nvPr>
        </p:nvSpPr>
        <p:spPr>
          <a:xfrm>
            <a:off x="6430565" y="486001"/>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6" name="Picture Placeholder 2">
            <a:extLst>
              <a:ext uri="{FF2B5EF4-FFF2-40B4-BE49-F238E27FC236}">
                <a16:creationId xmlns:a16="http://schemas.microsoft.com/office/drawing/2014/main" id="{B2B7FCEF-39D8-6D47-A0D2-218CCB2588EF}"/>
              </a:ext>
            </a:extLst>
          </p:cNvPr>
          <p:cNvSpPr>
            <a:spLocks noGrp="1"/>
          </p:cNvSpPr>
          <p:nvPr>
            <p:ph type="pic" sz="quarter" idx="25" hasCustomPrompt="1"/>
          </p:nvPr>
        </p:nvSpPr>
        <p:spPr>
          <a:xfrm>
            <a:off x="12367245" y="486001"/>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7" name="Picture Placeholder 2">
            <a:extLst>
              <a:ext uri="{FF2B5EF4-FFF2-40B4-BE49-F238E27FC236}">
                <a16:creationId xmlns:a16="http://schemas.microsoft.com/office/drawing/2014/main" id="{D227A8B8-BE42-0845-B6D6-A1A356E29BFC}"/>
              </a:ext>
            </a:extLst>
          </p:cNvPr>
          <p:cNvSpPr>
            <a:spLocks noGrp="1"/>
          </p:cNvSpPr>
          <p:nvPr>
            <p:ph type="pic" sz="quarter" idx="22" hasCustomPrompt="1"/>
          </p:nvPr>
        </p:nvSpPr>
        <p:spPr>
          <a:xfrm>
            <a:off x="18317394" y="461345"/>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8" name="Text Placeholder 3">
            <a:extLst>
              <a:ext uri="{FF2B5EF4-FFF2-40B4-BE49-F238E27FC236}">
                <a16:creationId xmlns:a16="http://schemas.microsoft.com/office/drawing/2014/main" id="{8BC99C37-5961-7A49-BB6C-EF345DB054E6}"/>
              </a:ext>
            </a:extLst>
          </p:cNvPr>
          <p:cNvSpPr>
            <a:spLocks noGrp="1"/>
          </p:cNvSpPr>
          <p:nvPr>
            <p:ph type="body" sz="half" idx="26" hasCustomPrompt="1"/>
          </p:nvPr>
        </p:nvSpPr>
        <p:spPr>
          <a:xfrm>
            <a:off x="6430566" y="3888024"/>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19" name="Text Placeholder 3">
            <a:extLst>
              <a:ext uri="{FF2B5EF4-FFF2-40B4-BE49-F238E27FC236}">
                <a16:creationId xmlns:a16="http://schemas.microsoft.com/office/drawing/2014/main" id="{EA510DE5-BF9D-6347-AB9C-33A7759FF1D4}"/>
              </a:ext>
            </a:extLst>
          </p:cNvPr>
          <p:cNvSpPr>
            <a:spLocks noGrp="1"/>
          </p:cNvSpPr>
          <p:nvPr>
            <p:ph type="body" sz="half" idx="27" hasCustomPrompt="1"/>
          </p:nvPr>
        </p:nvSpPr>
        <p:spPr>
          <a:xfrm>
            <a:off x="12347846" y="3888024"/>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24" name="Text Placeholder 3">
            <a:extLst>
              <a:ext uri="{FF2B5EF4-FFF2-40B4-BE49-F238E27FC236}">
                <a16:creationId xmlns:a16="http://schemas.microsoft.com/office/drawing/2014/main" id="{A33793B0-DBB7-ED4A-8B92-AE77D9B42399}"/>
              </a:ext>
            </a:extLst>
          </p:cNvPr>
          <p:cNvSpPr>
            <a:spLocks noGrp="1"/>
          </p:cNvSpPr>
          <p:nvPr>
            <p:ph type="body" sz="half" idx="28" hasCustomPrompt="1"/>
          </p:nvPr>
        </p:nvSpPr>
        <p:spPr>
          <a:xfrm>
            <a:off x="18344680" y="3888024"/>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27" name="Picture Placeholder 2">
            <a:extLst>
              <a:ext uri="{FF2B5EF4-FFF2-40B4-BE49-F238E27FC236}">
                <a16:creationId xmlns:a16="http://schemas.microsoft.com/office/drawing/2014/main" id="{37D70117-C030-944C-BBCC-0D4544F2D82B}"/>
              </a:ext>
            </a:extLst>
          </p:cNvPr>
          <p:cNvSpPr>
            <a:spLocks noGrp="1"/>
          </p:cNvSpPr>
          <p:nvPr>
            <p:ph type="pic" sz="quarter" idx="29" hasCustomPrompt="1"/>
          </p:nvPr>
        </p:nvSpPr>
        <p:spPr>
          <a:xfrm>
            <a:off x="486000" y="6885325"/>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8" name="Text Placeholder 3">
            <a:extLst>
              <a:ext uri="{FF2B5EF4-FFF2-40B4-BE49-F238E27FC236}">
                <a16:creationId xmlns:a16="http://schemas.microsoft.com/office/drawing/2014/main" id="{5568282C-2BAE-0F42-AC35-AC2003AF14A7}"/>
              </a:ext>
            </a:extLst>
          </p:cNvPr>
          <p:cNvSpPr>
            <a:spLocks noGrp="1"/>
          </p:cNvSpPr>
          <p:nvPr>
            <p:ph type="body" sz="half" idx="30" hasCustomPrompt="1"/>
          </p:nvPr>
        </p:nvSpPr>
        <p:spPr>
          <a:xfrm>
            <a:off x="513287" y="10287348"/>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29" name="Picture Placeholder 2">
            <a:extLst>
              <a:ext uri="{FF2B5EF4-FFF2-40B4-BE49-F238E27FC236}">
                <a16:creationId xmlns:a16="http://schemas.microsoft.com/office/drawing/2014/main" id="{37CDDD74-2C1A-CC4F-BC4A-348492B730E7}"/>
              </a:ext>
            </a:extLst>
          </p:cNvPr>
          <p:cNvSpPr>
            <a:spLocks noGrp="1"/>
          </p:cNvSpPr>
          <p:nvPr>
            <p:ph type="pic" sz="quarter" idx="31" hasCustomPrompt="1"/>
          </p:nvPr>
        </p:nvSpPr>
        <p:spPr>
          <a:xfrm>
            <a:off x="6430565" y="6885325"/>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0" name="Picture Placeholder 2">
            <a:extLst>
              <a:ext uri="{FF2B5EF4-FFF2-40B4-BE49-F238E27FC236}">
                <a16:creationId xmlns:a16="http://schemas.microsoft.com/office/drawing/2014/main" id="{F877013E-58D2-1048-9A44-45952400B3C6}"/>
              </a:ext>
            </a:extLst>
          </p:cNvPr>
          <p:cNvSpPr>
            <a:spLocks noGrp="1"/>
          </p:cNvSpPr>
          <p:nvPr>
            <p:ph type="pic" sz="quarter" idx="32" hasCustomPrompt="1"/>
          </p:nvPr>
        </p:nvSpPr>
        <p:spPr>
          <a:xfrm>
            <a:off x="12367245" y="6885325"/>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1" name="Picture Placeholder 2">
            <a:extLst>
              <a:ext uri="{FF2B5EF4-FFF2-40B4-BE49-F238E27FC236}">
                <a16:creationId xmlns:a16="http://schemas.microsoft.com/office/drawing/2014/main" id="{E8D329DB-9A89-5049-B680-BC0FE4373220}"/>
              </a:ext>
            </a:extLst>
          </p:cNvPr>
          <p:cNvSpPr>
            <a:spLocks noGrp="1"/>
          </p:cNvSpPr>
          <p:nvPr>
            <p:ph type="pic" sz="quarter" idx="33" hasCustomPrompt="1"/>
          </p:nvPr>
        </p:nvSpPr>
        <p:spPr>
          <a:xfrm>
            <a:off x="18317394" y="6860669"/>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2" name="Text Placeholder 3">
            <a:extLst>
              <a:ext uri="{FF2B5EF4-FFF2-40B4-BE49-F238E27FC236}">
                <a16:creationId xmlns:a16="http://schemas.microsoft.com/office/drawing/2014/main" id="{DCCD54B1-4EFD-D84A-AB50-B7F0F8E84372}"/>
              </a:ext>
            </a:extLst>
          </p:cNvPr>
          <p:cNvSpPr>
            <a:spLocks noGrp="1"/>
          </p:cNvSpPr>
          <p:nvPr>
            <p:ph type="body" sz="half" idx="34" hasCustomPrompt="1"/>
          </p:nvPr>
        </p:nvSpPr>
        <p:spPr>
          <a:xfrm>
            <a:off x="6430566" y="10287348"/>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33" name="Text Placeholder 3">
            <a:extLst>
              <a:ext uri="{FF2B5EF4-FFF2-40B4-BE49-F238E27FC236}">
                <a16:creationId xmlns:a16="http://schemas.microsoft.com/office/drawing/2014/main" id="{EA8F0C11-5CFB-B74A-9620-D6344A6CE488}"/>
              </a:ext>
            </a:extLst>
          </p:cNvPr>
          <p:cNvSpPr>
            <a:spLocks noGrp="1"/>
          </p:cNvSpPr>
          <p:nvPr>
            <p:ph type="body" sz="half" idx="35" hasCustomPrompt="1"/>
          </p:nvPr>
        </p:nvSpPr>
        <p:spPr>
          <a:xfrm>
            <a:off x="12347846" y="10287348"/>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34" name="Text Placeholder 3">
            <a:extLst>
              <a:ext uri="{FF2B5EF4-FFF2-40B4-BE49-F238E27FC236}">
                <a16:creationId xmlns:a16="http://schemas.microsoft.com/office/drawing/2014/main" id="{49DC448D-7351-DA40-9CEB-36EEBA5F7C1B}"/>
              </a:ext>
            </a:extLst>
          </p:cNvPr>
          <p:cNvSpPr>
            <a:spLocks noGrp="1"/>
          </p:cNvSpPr>
          <p:nvPr>
            <p:ph type="body" sz="half" idx="36" hasCustomPrompt="1"/>
          </p:nvPr>
        </p:nvSpPr>
        <p:spPr>
          <a:xfrm>
            <a:off x="18344680" y="10287348"/>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20" name="TextBox 19">
            <a:extLst>
              <a:ext uri="{FF2B5EF4-FFF2-40B4-BE49-F238E27FC236}">
                <a16:creationId xmlns:a16="http://schemas.microsoft.com/office/drawing/2014/main" id="{13CC2D47-81A3-FF42-97E8-18400B5ECD17}"/>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3770148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in one column">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3397E6F6-DFC7-C54D-9E7E-CD51822BE714}"/>
              </a:ext>
            </a:extLst>
          </p:cNvPr>
          <p:cNvSpPr>
            <a:spLocks noGrp="1"/>
          </p:cNvSpPr>
          <p:nvPr>
            <p:ph type="body" sz="quarter" idx="18" hasCustomPrompt="1"/>
          </p:nvPr>
        </p:nvSpPr>
        <p:spPr>
          <a:xfrm>
            <a:off x="1674329" y="5129213"/>
            <a:ext cx="10516084" cy="6904512"/>
          </a:xfrm>
        </p:spPr>
        <p:txBody>
          <a:bodyPr>
            <a:noAutofit/>
          </a:bodyPr>
          <a:lstStyle>
            <a:lvl1pPr>
              <a:spcBef>
                <a:spcPts val="2000"/>
              </a:spcBef>
              <a:defRPr sz="3200"/>
            </a:lvl1pPr>
          </a:lstStyle>
          <a:p>
            <a:pPr lvl="0"/>
            <a:r>
              <a:rPr lang="en-GB" noProof="0"/>
              <a:t>Put the paragraph text here, keep it regular 32 </a:t>
            </a:r>
            <a:r>
              <a:rPr lang="en-GB" noProof="0" err="1"/>
              <a:t>pt</a:t>
            </a:r>
            <a:endParaRPr lang="en-GB" noProof="0"/>
          </a:p>
        </p:txBody>
      </p:sp>
      <p:sp>
        <p:nvSpPr>
          <p:cNvPr id="2" name="Title 1">
            <a:extLst>
              <a:ext uri="{FF2B5EF4-FFF2-40B4-BE49-F238E27FC236}">
                <a16:creationId xmlns:a16="http://schemas.microsoft.com/office/drawing/2014/main" id="{531E4EAE-C7D1-764F-A32B-CAEBD1FFE575}"/>
              </a:ext>
            </a:extLst>
          </p:cNvPr>
          <p:cNvSpPr>
            <a:spLocks noGrp="1"/>
          </p:cNvSpPr>
          <p:nvPr>
            <p:ph type="title" hasCustomPrompt="1"/>
          </p:nvPr>
        </p:nvSpPr>
        <p:spPr/>
        <p:txBody>
          <a:bodyPr/>
          <a:lstStyle/>
          <a:p>
            <a:r>
              <a:rPr lang="en-GB"/>
              <a:t>Put the headline here, </a:t>
            </a:r>
            <a:br>
              <a:rPr lang="en-GB"/>
            </a:br>
            <a:r>
              <a:rPr lang="en-GB"/>
              <a:t>keep it bold 80 </a:t>
            </a:r>
            <a:r>
              <a:rPr lang="en-GB" err="1"/>
              <a:t>pt</a:t>
            </a:r>
            <a:endParaRPr lang="en-NL"/>
          </a:p>
        </p:txBody>
      </p:sp>
      <p:sp>
        <p:nvSpPr>
          <p:cNvPr id="7" name="Footer Placeholder 6">
            <a:extLst>
              <a:ext uri="{FF2B5EF4-FFF2-40B4-BE49-F238E27FC236}">
                <a16:creationId xmlns:a16="http://schemas.microsoft.com/office/drawing/2014/main" id="{3E14A44A-1600-B842-B2DE-66DACFA6C861}"/>
              </a:ext>
            </a:extLst>
          </p:cNvPr>
          <p:cNvSpPr>
            <a:spLocks noGrp="1"/>
          </p:cNvSpPr>
          <p:nvPr>
            <p:ph type="ftr" sz="quarter" idx="19"/>
          </p:nvPr>
        </p:nvSpPr>
        <p:spPr/>
        <p:txBody>
          <a:bodyPr/>
          <a:lstStyle/>
          <a:p>
            <a:endParaRPr lang="en-NL"/>
          </a:p>
        </p:txBody>
      </p:sp>
      <p:sp>
        <p:nvSpPr>
          <p:cNvPr id="8" name="TextBox 7">
            <a:extLst>
              <a:ext uri="{FF2B5EF4-FFF2-40B4-BE49-F238E27FC236}">
                <a16:creationId xmlns:a16="http://schemas.microsoft.com/office/drawing/2014/main" id="{CB57B542-06A9-DE4F-969F-191CC73CC3F4}"/>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51572206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efore/aft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413F907-AE77-0746-B805-0D2E5F01B01D}"/>
              </a:ext>
            </a:extLst>
          </p:cNvPr>
          <p:cNvSpPr>
            <a:spLocks noGrp="1"/>
          </p:cNvSpPr>
          <p:nvPr>
            <p:ph type="pic" sz="quarter" idx="17" hasCustomPrompt="1"/>
          </p:nvPr>
        </p:nvSpPr>
        <p:spPr>
          <a:xfrm>
            <a:off x="3046415" y="4124209"/>
            <a:ext cx="7417707" cy="4462582"/>
          </a:xfrm>
          <a:solidFill>
            <a:srgbClr val="E4E5E3"/>
          </a:solidFill>
        </p:spPr>
        <p:txBody>
          <a:bodyPr>
            <a:normAutofit/>
          </a:bodyPr>
          <a:lstStyle>
            <a:lvl1pPr marL="0" indent="0" algn="ctr">
              <a:buNone/>
              <a:defRPr sz="2400">
                <a:solidFill>
                  <a:schemeClr val="tx1">
                    <a:lumMod val="65000"/>
                    <a:lumOff val="35000"/>
                  </a:schemeClr>
                </a:solidFill>
              </a:defRPr>
            </a:lvl1pPr>
          </a:lstStyle>
          <a:p>
            <a:r>
              <a:rPr lang="en-NL"/>
              <a:t>Drag and drop a topic-related picture into this frame</a:t>
            </a:r>
          </a:p>
        </p:txBody>
      </p:sp>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13984332" y="4124209"/>
            <a:ext cx="7351669" cy="4462582"/>
          </a:xfrm>
          <a:solidFill>
            <a:srgbClr val="E4E5E3"/>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6" name="Text Placeholder 5">
            <a:extLst>
              <a:ext uri="{FF2B5EF4-FFF2-40B4-BE49-F238E27FC236}">
                <a16:creationId xmlns:a16="http://schemas.microsoft.com/office/drawing/2014/main" id="{8B805C66-9B81-6F4A-8653-8751DC71F3C3}"/>
              </a:ext>
            </a:extLst>
          </p:cNvPr>
          <p:cNvSpPr>
            <a:spLocks noGrp="1"/>
          </p:cNvSpPr>
          <p:nvPr>
            <p:ph type="body" sz="quarter" idx="12" hasCustomPrompt="1"/>
          </p:nvPr>
        </p:nvSpPr>
        <p:spPr>
          <a:xfrm>
            <a:off x="3046415" y="9038944"/>
            <a:ext cx="7417707" cy="3003832"/>
          </a:xfrm>
        </p:spPr>
        <p:txBody>
          <a:bodyPr>
            <a:noAutofit/>
          </a:bodyPr>
          <a:lstStyle>
            <a:lvl1pPr>
              <a:spcBef>
                <a:spcPts val="0"/>
              </a:spcBef>
              <a:defRPr sz="3200"/>
            </a:lvl1pPr>
          </a:lstStyle>
          <a:p>
            <a:pPr lvl="0"/>
            <a:r>
              <a:rPr lang="en-GB" noProof="0"/>
              <a:t>Put the paragraph text here, keep it regular 32 </a:t>
            </a:r>
            <a:r>
              <a:rPr lang="en-GB" noProof="0" err="1"/>
              <a:t>pt</a:t>
            </a:r>
            <a:endParaRPr lang="en-GB" noProof="0"/>
          </a:p>
        </p:txBody>
      </p:sp>
      <p:sp>
        <p:nvSpPr>
          <p:cNvPr id="17" name="Text Placeholder 5">
            <a:extLst>
              <a:ext uri="{FF2B5EF4-FFF2-40B4-BE49-F238E27FC236}">
                <a16:creationId xmlns:a16="http://schemas.microsoft.com/office/drawing/2014/main" id="{FA6FB3B4-ED87-C644-AEAC-F1AF465F1548}"/>
              </a:ext>
            </a:extLst>
          </p:cNvPr>
          <p:cNvSpPr>
            <a:spLocks noGrp="1"/>
          </p:cNvSpPr>
          <p:nvPr>
            <p:ph type="body" sz="quarter" idx="22" hasCustomPrompt="1"/>
          </p:nvPr>
        </p:nvSpPr>
        <p:spPr>
          <a:xfrm>
            <a:off x="13993172" y="9038945"/>
            <a:ext cx="7342828" cy="3003830"/>
          </a:xfrm>
        </p:spPr>
        <p:txBody>
          <a:bodyPr>
            <a:noAutofit/>
          </a:bodyPr>
          <a:lstStyle>
            <a:lvl1pPr>
              <a:spcBef>
                <a:spcPts val="0"/>
              </a:spcBef>
              <a:defRPr sz="3200"/>
            </a:lvl1pPr>
          </a:lstStyle>
          <a:p>
            <a:pPr lvl="0"/>
            <a:r>
              <a:rPr lang="en-GB" noProof="0"/>
              <a:t>Put the paragraph text here, keep it regular 32 </a:t>
            </a:r>
            <a:r>
              <a:rPr lang="en-GB" noProof="0" err="1"/>
              <a:t>pt</a:t>
            </a:r>
            <a:endParaRPr lang="en-GB" noProof="0"/>
          </a:p>
        </p:txBody>
      </p:sp>
      <p:pic>
        <p:nvPicPr>
          <p:cNvPr id="6" name="Graphic 5">
            <a:extLst>
              <a:ext uri="{FF2B5EF4-FFF2-40B4-BE49-F238E27FC236}">
                <a16:creationId xmlns:a16="http://schemas.microsoft.com/office/drawing/2014/main" id="{326B79F7-6D85-D543-AFB0-64FD75BF7EB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31207" y="5056160"/>
            <a:ext cx="2520000" cy="2520000"/>
          </a:xfrm>
          <a:prstGeom prst="rect">
            <a:avLst/>
          </a:prstGeom>
        </p:spPr>
      </p:pic>
      <p:sp>
        <p:nvSpPr>
          <p:cNvPr id="10" name="Title 3">
            <a:extLst>
              <a:ext uri="{FF2B5EF4-FFF2-40B4-BE49-F238E27FC236}">
                <a16:creationId xmlns:a16="http://schemas.microsoft.com/office/drawing/2014/main" id="{F1E86907-9BCD-794E-BD6D-4F29BDCAC4DD}"/>
              </a:ext>
            </a:extLst>
          </p:cNvPr>
          <p:cNvSpPr>
            <a:spLocks noGrp="1"/>
          </p:cNvSpPr>
          <p:nvPr>
            <p:ph type="title" hasCustomPrompt="1"/>
          </p:nvPr>
        </p:nvSpPr>
        <p:spPr>
          <a:xfrm>
            <a:off x="1676293" y="1677600"/>
            <a:ext cx="21033007" cy="2446608"/>
          </a:xfrm>
        </p:spPr>
        <p:txBody>
          <a:bodyPr/>
          <a:lstStyle>
            <a:lvl1pPr>
              <a:defRPr sz="6000" spc="0" baseline="0"/>
            </a:lvl1pPr>
          </a:lstStyle>
          <a:p>
            <a:r>
              <a:rPr lang="en-GB"/>
              <a:t>Put a short headline here, keep it bold 60 </a:t>
            </a:r>
            <a:r>
              <a:rPr lang="en-GB" err="1"/>
              <a:t>pt</a:t>
            </a:r>
            <a:endParaRPr lang="en-NL"/>
          </a:p>
        </p:txBody>
      </p:sp>
      <p:sp>
        <p:nvSpPr>
          <p:cNvPr id="4" name="Footer Placeholder 3">
            <a:extLst>
              <a:ext uri="{FF2B5EF4-FFF2-40B4-BE49-F238E27FC236}">
                <a16:creationId xmlns:a16="http://schemas.microsoft.com/office/drawing/2014/main" id="{98B6467D-F33B-A84D-B882-5C4860E480A0}"/>
              </a:ext>
            </a:extLst>
          </p:cNvPr>
          <p:cNvSpPr>
            <a:spLocks noGrp="1"/>
          </p:cNvSpPr>
          <p:nvPr>
            <p:ph type="ftr" sz="quarter" idx="23"/>
          </p:nvPr>
        </p:nvSpPr>
        <p:spPr/>
        <p:txBody>
          <a:bodyPr/>
          <a:lstStyle/>
          <a:p>
            <a:endParaRPr lang="en-NL"/>
          </a:p>
        </p:txBody>
      </p:sp>
      <p:sp>
        <p:nvSpPr>
          <p:cNvPr id="13" name="TextBox 12">
            <a:extLst>
              <a:ext uri="{FF2B5EF4-FFF2-40B4-BE49-F238E27FC236}">
                <a16:creationId xmlns:a16="http://schemas.microsoft.com/office/drawing/2014/main" id="{698B3729-CC41-244D-B453-5B310C875397}"/>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27291695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rom/to">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982E2EA-1137-0846-98DC-3E6332C29A67}"/>
              </a:ext>
            </a:extLst>
          </p:cNvPr>
          <p:cNvSpPr>
            <a:spLocks noGrp="1"/>
          </p:cNvSpPr>
          <p:nvPr>
            <p:ph type="body" sz="quarter" idx="10" hasCustomPrompt="1"/>
          </p:nvPr>
        </p:nvSpPr>
        <p:spPr>
          <a:xfrm>
            <a:off x="2686772" y="51298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5" name="Text Placeholder 5">
            <a:extLst>
              <a:ext uri="{FF2B5EF4-FFF2-40B4-BE49-F238E27FC236}">
                <a16:creationId xmlns:a16="http://schemas.microsoft.com/office/drawing/2014/main" id="{BB2544E0-599A-0E4D-B7C9-0338205DD470}"/>
              </a:ext>
            </a:extLst>
          </p:cNvPr>
          <p:cNvSpPr>
            <a:spLocks noGrp="1"/>
          </p:cNvSpPr>
          <p:nvPr>
            <p:ph type="body" sz="quarter" idx="20" hasCustomPrompt="1"/>
          </p:nvPr>
        </p:nvSpPr>
        <p:spPr>
          <a:xfrm>
            <a:off x="13902138" y="51298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6" name="Text Placeholder 5">
            <a:extLst>
              <a:ext uri="{FF2B5EF4-FFF2-40B4-BE49-F238E27FC236}">
                <a16:creationId xmlns:a16="http://schemas.microsoft.com/office/drawing/2014/main" id="{7CD185CC-288C-914E-B039-9E34B6521AAE}"/>
              </a:ext>
            </a:extLst>
          </p:cNvPr>
          <p:cNvSpPr>
            <a:spLocks noGrp="1"/>
          </p:cNvSpPr>
          <p:nvPr>
            <p:ph type="body" sz="quarter" idx="21" hasCustomPrompt="1"/>
          </p:nvPr>
        </p:nvSpPr>
        <p:spPr>
          <a:xfrm>
            <a:off x="2686772" y="686645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7" name="Text Placeholder 5">
            <a:extLst>
              <a:ext uri="{FF2B5EF4-FFF2-40B4-BE49-F238E27FC236}">
                <a16:creationId xmlns:a16="http://schemas.microsoft.com/office/drawing/2014/main" id="{734DFA83-0489-374D-984E-D148AF15FB19}"/>
              </a:ext>
            </a:extLst>
          </p:cNvPr>
          <p:cNvSpPr>
            <a:spLocks noGrp="1"/>
          </p:cNvSpPr>
          <p:nvPr>
            <p:ph type="body" sz="quarter" idx="22" hasCustomPrompt="1"/>
          </p:nvPr>
        </p:nvSpPr>
        <p:spPr>
          <a:xfrm>
            <a:off x="13902138" y="686645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8" name="Text Placeholder 5">
            <a:extLst>
              <a:ext uri="{FF2B5EF4-FFF2-40B4-BE49-F238E27FC236}">
                <a16:creationId xmlns:a16="http://schemas.microsoft.com/office/drawing/2014/main" id="{40A584AF-EFDF-6C45-8450-E6896AA5447E}"/>
              </a:ext>
            </a:extLst>
          </p:cNvPr>
          <p:cNvSpPr>
            <a:spLocks noGrp="1"/>
          </p:cNvSpPr>
          <p:nvPr>
            <p:ph type="body" sz="quarter" idx="23" hasCustomPrompt="1"/>
          </p:nvPr>
        </p:nvSpPr>
        <p:spPr>
          <a:xfrm>
            <a:off x="2686772" y="86031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9" name="Text Placeholder 5">
            <a:extLst>
              <a:ext uri="{FF2B5EF4-FFF2-40B4-BE49-F238E27FC236}">
                <a16:creationId xmlns:a16="http://schemas.microsoft.com/office/drawing/2014/main" id="{B8ADD201-5C22-9240-930B-C39DCFAEA838}"/>
              </a:ext>
            </a:extLst>
          </p:cNvPr>
          <p:cNvSpPr>
            <a:spLocks noGrp="1"/>
          </p:cNvSpPr>
          <p:nvPr>
            <p:ph type="body" sz="quarter" idx="24" hasCustomPrompt="1"/>
          </p:nvPr>
        </p:nvSpPr>
        <p:spPr>
          <a:xfrm>
            <a:off x="13902138" y="86031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20" name="Text Placeholder 5">
            <a:extLst>
              <a:ext uri="{FF2B5EF4-FFF2-40B4-BE49-F238E27FC236}">
                <a16:creationId xmlns:a16="http://schemas.microsoft.com/office/drawing/2014/main" id="{21AA854F-49C8-0740-875D-2A28B04B66F6}"/>
              </a:ext>
            </a:extLst>
          </p:cNvPr>
          <p:cNvSpPr>
            <a:spLocks noGrp="1"/>
          </p:cNvSpPr>
          <p:nvPr>
            <p:ph type="body" sz="quarter" idx="25" hasCustomPrompt="1"/>
          </p:nvPr>
        </p:nvSpPr>
        <p:spPr>
          <a:xfrm>
            <a:off x="2686772" y="10339760"/>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21" name="Text Placeholder 5">
            <a:extLst>
              <a:ext uri="{FF2B5EF4-FFF2-40B4-BE49-F238E27FC236}">
                <a16:creationId xmlns:a16="http://schemas.microsoft.com/office/drawing/2014/main" id="{8FE94F80-1B2D-0E45-8D2E-B57A96EFF5BA}"/>
              </a:ext>
            </a:extLst>
          </p:cNvPr>
          <p:cNvSpPr>
            <a:spLocks noGrp="1"/>
          </p:cNvSpPr>
          <p:nvPr>
            <p:ph type="body" sz="quarter" idx="26" hasCustomPrompt="1"/>
          </p:nvPr>
        </p:nvSpPr>
        <p:spPr>
          <a:xfrm>
            <a:off x="13902138" y="10339760"/>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pic>
        <p:nvPicPr>
          <p:cNvPr id="24" name="Graphic 23">
            <a:extLst>
              <a:ext uri="{FF2B5EF4-FFF2-40B4-BE49-F238E27FC236}">
                <a16:creationId xmlns:a16="http://schemas.microsoft.com/office/drawing/2014/main" id="{C665CCDB-76D3-9C47-BA6F-98DC8DE39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31207" y="7079462"/>
            <a:ext cx="2520000" cy="2520000"/>
          </a:xfrm>
          <a:prstGeom prst="rect">
            <a:avLst/>
          </a:prstGeom>
        </p:spPr>
      </p:pic>
      <p:sp>
        <p:nvSpPr>
          <p:cNvPr id="22" name="Title 3">
            <a:extLst>
              <a:ext uri="{FF2B5EF4-FFF2-40B4-BE49-F238E27FC236}">
                <a16:creationId xmlns:a16="http://schemas.microsoft.com/office/drawing/2014/main" id="{12B27A15-0B5F-6D42-A903-9B52ABFB9D46}"/>
              </a:ext>
            </a:extLst>
          </p:cNvPr>
          <p:cNvSpPr>
            <a:spLocks noGrp="1"/>
          </p:cNvSpPr>
          <p:nvPr>
            <p:ph type="title" hasCustomPrompt="1"/>
          </p:nvPr>
        </p:nvSpPr>
        <p:spPr>
          <a:xfrm>
            <a:off x="1676293" y="1677600"/>
            <a:ext cx="21033007" cy="2446608"/>
          </a:xfrm>
        </p:spPr>
        <p:txBody>
          <a:bodyPr/>
          <a:lstStyle>
            <a:lvl1pPr>
              <a:defRPr sz="6000" spc="0" baseline="0"/>
            </a:lvl1pPr>
          </a:lstStyle>
          <a:p>
            <a:r>
              <a:rPr lang="en-GB"/>
              <a:t>Put a short headline here, keep it bold 60 </a:t>
            </a:r>
            <a:r>
              <a:rPr lang="en-GB" err="1"/>
              <a:t>pt</a:t>
            </a:r>
            <a:endParaRPr lang="en-NL"/>
          </a:p>
        </p:txBody>
      </p:sp>
      <p:sp>
        <p:nvSpPr>
          <p:cNvPr id="5" name="Footer Placeholder 4">
            <a:extLst>
              <a:ext uri="{FF2B5EF4-FFF2-40B4-BE49-F238E27FC236}">
                <a16:creationId xmlns:a16="http://schemas.microsoft.com/office/drawing/2014/main" id="{6C67929C-C3EA-9A47-BD51-95B00CE1AD28}"/>
              </a:ext>
            </a:extLst>
          </p:cNvPr>
          <p:cNvSpPr>
            <a:spLocks noGrp="1"/>
          </p:cNvSpPr>
          <p:nvPr>
            <p:ph type="ftr" sz="quarter" idx="27"/>
          </p:nvPr>
        </p:nvSpPr>
        <p:spPr/>
        <p:txBody>
          <a:bodyPr/>
          <a:lstStyle/>
          <a:p>
            <a:endParaRPr lang="en-NL"/>
          </a:p>
        </p:txBody>
      </p:sp>
      <p:sp>
        <p:nvSpPr>
          <p:cNvPr id="23" name="TextBox 22">
            <a:extLst>
              <a:ext uri="{FF2B5EF4-FFF2-40B4-BE49-F238E27FC236}">
                <a16:creationId xmlns:a16="http://schemas.microsoft.com/office/drawing/2014/main" id="{9FDFBDEE-F22D-2B4B-A965-6CEC71F0E51D}"/>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29906421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inal slide">
    <p:bg>
      <p:bgPr>
        <a:solidFill>
          <a:schemeClr val="bg1"/>
        </a:solidFill>
        <a:effectLst/>
      </p:bgPr>
    </p:bg>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ECC773ED-664B-824F-91D1-6C08CFB17BDA}"/>
              </a:ext>
            </a:extLst>
          </p:cNvPr>
          <p:cNvSpPr>
            <a:spLocks noGrp="1"/>
          </p:cNvSpPr>
          <p:nvPr>
            <p:ph type="body" sz="quarter" idx="13" hasCustomPrompt="1"/>
          </p:nvPr>
        </p:nvSpPr>
        <p:spPr>
          <a:xfrm>
            <a:off x="1700168" y="7650090"/>
            <a:ext cx="10490247" cy="4384884"/>
          </a:xfrm>
        </p:spPr>
        <p:txBody>
          <a:bodyPr/>
          <a:lstStyle>
            <a:lvl1pPr>
              <a:spcBef>
                <a:spcPts val="0"/>
              </a:spcBef>
              <a:defRPr sz="3200" b="0"/>
            </a:lvl1pPr>
          </a:lstStyle>
          <a:p>
            <a:pPr lvl="0"/>
            <a:r>
              <a:rPr lang="en-GB" noProof="0"/>
              <a:t>Contact details, keep it regular 32 </a:t>
            </a:r>
            <a:r>
              <a:rPr lang="en-GB" noProof="0" err="1"/>
              <a:t>pt</a:t>
            </a:r>
            <a:endParaRPr lang="en-GB" noProof="0"/>
          </a:p>
        </p:txBody>
      </p:sp>
      <p:sp>
        <p:nvSpPr>
          <p:cNvPr id="3" name="Title 2">
            <a:extLst>
              <a:ext uri="{FF2B5EF4-FFF2-40B4-BE49-F238E27FC236}">
                <a16:creationId xmlns:a16="http://schemas.microsoft.com/office/drawing/2014/main" id="{7735138D-D591-9C4B-A824-FB43143DAED7}"/>
              </a:ext>
            </a:extLst>
          </p:cNvPr>
          <p:cNvSpPr>
            <a:spLocks noGrp="1"/>
          </p:cNvSpPr>
          <p:nvPr>
            <p:ph type="title" hasCustomPrompt="1"/>
          </p:nvPr>
        </p:nvSpPr>
        <p:spPr/>
        <p:txBody>
          <a:bodyPr/>
          <a:lstStyle/>
          <a:p>
            <a:r>
              <a:rPr lang="en-GB"/>
              <a:t>Thank you</a:t>
            </a:r>
            <a:endParaRPr lang="en-NL"/>
          </a:p>
        </p:txBody>
      </p:sp>
      <p:sp>
        <p:nvSpPr>
          <p:cNvPr id="8" name="Text Placeholder 6">
            <a:extLst>
              <a:ext uri="{FF2B5EF4-FFF2-40B4-BE49-F238E27FC236}">
                <a16:creationId xmlns:a16="http://schemas.microsoft.com/office/drawing/2014/main" id="{43362774-1C74-3547-A14B-E456BF8AB04B}"/>
              </a:ext>
            </a:extLst>
          </p:cNvPr>
          <p:cNvSpPr>
            <a:spLocks noGrp="1"/>
          </p:cNvSpPr>
          <p:nvPr>
            <p:ph type="body" sz="quarter" idx="16" hasCustomPrompt="1"/>
          </p:nvPr>
        </p:nvSpPr>
        <p:spPr>
          <a:xfrm>
            <a:off x="1700168" y="6858000"/>
            <a:ext cx="10490247" cy="792088"/>
          </a:xfrm>
        </p:spPr>
        <p:txBody>
          <a:bodyPr/>
          <a:lstStyle>
            <a:lvl1pPr>
              <a:spcBef>
                <a:spcPts val="0"/>
              </a:spcBef>
              <a:defRPr sz="3200" b="1"/>
            </a:lvl1pPr>
          </a:lstStyle>
          <a:p>
            <a:pPr lvl="0"/>
            <a:r>
              <a:rPr lang="en-GB" noProof="0"/>
              <a:t>Contact person’s full name, keep it bold 32 </a:t>
            </a:r>
            <a:r>
              <a:rPr lang="en-GB" noProof="0" err="1"/>
              <a:t>pt</a:t>
            </a:r>
            <a:endParaRPr lang="en-GB" noProof="0"/>
          </a:p>
        </p:txBody>
      </p:sp>
      <p:sp>
        <p:nvSpPr>
          <p:cNvPr id="5" name="Footer Placeholder 4">
            <a:extLst>
              <a:ext uri="{FF2B5EF4-FFF2-40B4-BE49-F238E27FC236}">
                <a16:creationId xmlns:a16="http://schemas.microsoft.com/office/drawing/2014/main" id="{5B8ABD2B-5975-3E47-B565-B6138DEA4BF2}"/>
              </a:ext>
            </a:extLst>
          </p:cNvPr>
          <p:cNvSpPr>
            <a:spLocks noGrp="1"/>
          </p:cNvSpPr>
          <p:nvPr>
            <p:ph type="ftr" sz="quarter" idx="17"/>
          </p:nvPr>
        </p:nvSpPr>
        <p:spPr/>
        <p:txBody>
          <a:bodyPr/>
          <a:lstStyle/>
          <a:p>
            <a:endParaRPr lang="en-NL"/>
          </a:p>
        </p:txBody>
      </p:sp>
      <p:pic>
        <p:nvPicPr>
          <p:cNvPr id="2" name="Picture 1">
            <a:extLst>
              <a:ext uri="{FF2B5EF4-FFF2-40B4-BE49-F238E27FC236}">
                <a16:creationId xmlns:a16="http://schemas.microsoft.com/office/drawing/2014/main" id="{C1CA3CE0-E9CD-AE0E-0556-0AE66627E8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32676" y="10313988"/>
            <a:ext cx="5058531" cy="3402012"/>
          </a:xfrm>
          <a:prstGeom prst="rect">
            <a:avLst/>
          </a:prstGeom>
        </p:spPr>
      </p:pic>
    </p:spTree>
    <p:extLst>
      <p:ext uri="{BB962C8B-B14F-4D97-AF65-F5344CB8AC3E}">
        <p14:creationId xmlns:p14="http://schemas.microsoft.com/office/powerpoint/2010/main" val="264368728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DBA60CB-9800-E349-B589-A9C8E6B0719E}"/>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54684972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 on white background with IKEA logo">
    <p:bg>
      <p:bgPr>
        <a:solidFill>
          <a:schemeClr val="bg1"/>
        </a:solidFill>
        <a:effectLst/>
      </p:bgPr>
    </p:bg>
    <p:spTree>
      <p:nvGrpSpPr>
        <p:cNvPr id="1" name=""/>
        <p:cNvGrpSpPr/>
        <p:nvPr/>
      </p:nvGrpSpPr>
      <p:grpSpPr>
        <a:xfrm>
          <a:off x="0" y="0"/>
          <a:ext cx="0" cy="0"/>
          <a:chOff x="0" y="0"/>
          <a:chExt cx="0" cy="0"/>
        </a:xfrm>
      </p:grpSpPr>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1677491" y="1677603"/>
            <a:ext cx="21029831" cy="4013370"/>
          </a:xfrm>
          <a:prstGeom prst="rect">
            <a:avLst/>
          </a:prstGeom>
        </p:spPr>
        <p:txBody>
          <a:bodyPr vert="horz" lIns="91440" tIns="45720" rIns="91440" bIns="45720" rtlCol="0" anchor="t">
            <a:noAutofit/>
          </a:bodyPr>
          <a:lstStyle>
            <a:lvl1pPr>
              <a:defRPr/>
            </a:lvl1pPr>
          </a:lstStyle>
          <a:p>
            <a:r>
              <a:rPr lang="en-GB" noProof="0"/>
              <a:t>Put the title here,</a:t>
            </a:r>
            <a:br>
              <a:rPr lang="en-GB" noProof="0"/>
            </a:br>
            <a:r>
              <a:rPr lang="en-GB" noProof="0"/>
              <a:t>keep it bold 60 pt</a:t>
            </a:r>
          </a:p>
        </p:txBody>
      </p:sp>
      <p:sp>
        <p:nvSpPr>
          <p:cNvPr id="10" name="Text Placeholder 6">
            <a:extLst>
              <a:ext uri="{FF2B5EF4-FFF2-40B4-BE49-F238E27FC236}">
                <a16:creationId xmlns:a16="http://schemas.microsoft.com/office/drawing/2014/main" id="{ECC773ED-664B-824F-91D1-6C08CFB17BDA}"/>
              </a:ext>
            </a:extLst>
          </p:cNvPr>
          <p:cNvSpPr>
            <a:spLocks noGrp="1"/>
          </p:cNvSpPr>
          <p:nvPr>
            <p:ph type="body" sz="quarter" idx="13" hasCustomPrompt="1"/>
          </p:nvPr>
        </p:nvSpPr>
        <p:spPr>
          <a:xfrm>
            <a:off x="1700166" y="6137281"/>
            <a:ext cx="10657784" cy="3457030"/>
          </a:xfrm>
        </p:spPr>
        <p:txBody>
          <a:bodyPr/>
          <a:lstStyle>
            <a:lvl1pPr>
              <a:spcBef>
                <a:spcPts val="0"/>
              </a:spcBef>
              <a:defRPr sz="4800"/>
            </a:lvl1pPr>
          </a:lstStyle>
          <a:p>
            <a:pPr lvl="0"/>
            <a:r>
              <a:rPr lang="en-GB" noProof="0"/>
              <a:t>Put the subtitle here,</a:t>
            </a:r>
            <a:br>
              <a:rPr lang="en-GB" noProof="0"/>
            </a:br>
            <a:r>
              <a:rPr lang="en-GB" noProof="0"/>
              <a:t>keep it regular 24 pt</a:t>
            </a:r>
          </a:p>
        </p:txBody>
      </p:sp>
      <p:pic>
        <p:nvPicPr>
          <p:cNvPr id="7" name="Picture 6">
            <a:extLst>
              <a:ext uri="{FF2B5EF4-FFF2-40B4-BE49-F238E27FC236}">
                <a16:creationId xmlns:a16="http://schemas.microsoft.com/office/drawing/2014/main" id="{1B54746A-F2B1-D64D-A6FD-BA620F3BF86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570075" y="10514135"/>
            <a:ext cx="4812341" cy="3236442"/>
          </a:xfrm>
          <a:prstGeom prst="rect">
            <a:avLst/>
          </a:prstGeom>
        </p:spPr>
      </p:pic>
    </p:spTree>
    <p:extLst>
      <p:ext uri="{BB962C8B-B14F-4D97-AF65-F5344CB8AC3E}">
        <p14:creationId xmlns:p14="http://schemas.microsoft.com/office/powerpoint/2010/main" val="291148012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2_Big statement on colour background, texture or image">
    <p:bg>
      <p:bgPr>
        <a:solidFill>
          <a:srgbClr val="00829B">
            <a:alpha val="95000"/>
          </a:srgbClr>
        </a:solidFill>
        <a:effectLst/>
      </p:bgPr>
    </p:bg>
    <p:spTree>
      <p:nvGrpSpPr>
        <p:cNvPr id="1" name=""/>
        <p:cNvGrpSpPr/>
        <p:nvPr/>
      </p:nvGrpSpPr>
      <p:grpSpPr>
        <a:xfrm>
          <a:off x="0" y="0"/>
          <a:ext cx="0" cy="0"/>
          <a:chOff x="0" y="0"/>
          <a:chExt cx="0" cy="0"/>
        </a:xfrm>
      </p:grpSpPr>
      <p:sp>
        <p:nvSpPr>
          <p:cNvPr id="10" name="Title Placeholder 6">
            <a:extLst>
              <a:ext uri="{FF2B5EF4-FFF2-40B4-BE49-F238E27FC236}">
                <a16:creationId xmlns:a16="http://schemas.microsoft.com/office/drawing/2014/main" id="{048B0FEC-E6E9-1B42-9F79-233E0858B4AD}"/>
              </a:ext>
            </a:extLst>
          </p:cNvPr>
          <p:cNvSpPr>
            <a:spLocks noGrp="1"/>
          </p:cNvSpPr>
          <p:nvPr>
            <p:ph type="title" hasCustomPrompt="1"/>
          </p:nvPr>
        </p:nvSpPr>
        <p:spPr>
          <a:xfrm>
            <a:off x="1679467" y="1692505"/>
            <a:ext cx="21029831" cy="10330998"/>
          </a:xfrm>
          <a:prstGeom prst="rect">
            <a:avLst/>
          </a:prstGeom>
        </p:spPr>
        <p:txBody>
          <a:bodyPr vert="horz" lIns="91440" tIns="45720" rIns="91440" bIns="45720" rtlCol="0" anchor="ctr">
            <a:noAutofit/>
          </a:bodyPr>
          <a:lstStyle>
            <a:lvl1pPr>
              <a:defRPr sz="17999" baseline="0"/>
            </a:lvl1pPr>
          </a:lstStyle>
          <a:p>
            <a:r>
              <a:rPr lang="en-GB" noProof="0"/>
              <a:t>Statement here,</a:t>
            </a:r>
            <a:br>
              <a:rPr lang="en-GB" noProof="0"/>
            </a:br>
            <a:r>
              <a:rPr lang="en-GB" noProof="0"/>
              <a:t>keep it bold 90 </a:t>
            </a:r>
            <a:r>
              <a:rPr lang="en-GB" noProof="0" err="1"/>
              <a:t>pt</a:t>
            </a:r>
            <a:endParaRPr lang="en-GB" noProof="0"/>
          </a:p>
        </p:txBody>
      </p:sp>
    </p:spTree>
    <p:extLst>
      <p:ext uri="{BB962C8B-B14F-4D97-AF65-F5344CB8AC3E}">
        <p14:creationId xmlns:p14="http://schemas.microsoft.com/office/powerpoint/2010/main" val="197856387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Agenda/contents">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90F7D97-7943-F74E-8640-D30812E6AB99}"/>
              </a:ext>
            </a:extLst>
          </p:cNvPr>
          <p:cNvSpPr>
            <a:spLocks noGrp="1"/>
          </p:cNvSpPr>
          <p:nvPr>
            <p:ph type="title" hasCustomPrompt="1"/>
          </p:nvPr>
        </p:nvSpPr>
        <p:spPr>
          <a:xfrm>
            <a:off x="1676291" y="1677603"/>
            <a:ext cx="10514916" cy="2304454"/>
          </a:xfrm>
          <a:prstGeom prst="rect">
            <a:avLst/>
          </a:prstGeom>
        </p:spPr>
        <p:txBody>
          <a:bodyPr/>
          <a:lstStyle>
            <a:lvl1pPr>
              <a:lnSpc>
                <a:spcPct val="100000"/>
              </a:lnSpc>
              <a:defRPr sz="7200"/>
            </a:lvl1pPr>
          </a:lstStyle>
          <a:p>
            <a:r>
              <a:rPr lang="en-GB" noProof="0"/>
              <a:t>Agenda or contents</a:t>
            </a:r>
          </a:p>
        </p:txBody>
      </p:sp>
      <p:sp>
        <p:nvSpPr>
          <p:cNvPr id="10" name="Text Placeholder 9">
            <a:extLst>
              <a:ext uri="{FF2B5EF4-FFF2-40B4-BE49-F238E27FC236}">
                <a16:creationId xmlns:a16="http://schemas.microsoft.com/office/drawing/2014/main" id="{E234D5AF-452C-2E41-B572-1BD2DC3468B0}"/>
              </a:ext>
            </a:extLst>
          </p:cNvPr>
          <p:cNvSpPr>
            <a:spLocks noGrp="1"/>
          </p:cNvSpPr>
          <p:nvPr>
            <p:ph type="body" sz="quarter" idx="11" hasCustomPrompt="1"/>
          </p:nvPr>
        </p:nvSpPr>
        <p:spPr>
          <a:xfrm>
            <a:off x="1676291" y="4409733"/>
            <a:ext cx="10514916" cy="7633046"/>
          </a:xfrm>
        </p:spPr>
        <p:txBody>
          <a:bodyPr lIns="90000" rIns="90000">
            <a:noAutofit/>
          </a:bodyPr>
          <a:lstStyle>
            <a:lvl1pPr marL="0" marR="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sz="4800"/>
            </a:lvl1pPr>
            <a:lvl2pPr marL="914286" marR="0" indent="0" algn="l" defTabSz="1828573" rtl="0" eaLnBrk="1" fontAlgn="auto" latinLnBrk="0" hangingPunct="1">
              <a:lnSpc>
                <a:spcPct val="100000"/>
              </a:lnSpc>
              <a:spcBef>
                <a:spcPts val="1000"/>
              </a:spcBef>
              <a:spcAft>
                <a:spcPts val="0"/>
              </a:spcAft>
              <a:buClrTx/>
              <a:buSzTx/>
              <a:buFont typeface="Arial" panose="020B0604020202020204" pitchFamily="34" charset="0"/>
              <a:buNone/>
              <a:tabLst/>
              <a:defRPr sz="3600"/>
            </a:lvl2pPr>
          </a:lstStyle>
          <a:p>
            <a:pPr lvl="0"/>
            <a:r>
              <a:rPr lang="en-GB" noProof="0"/>
              <a:t>Put the agenda topic here, </a:t>
            </a:r>
            <a:br>
              <a:rPr lang="en-GB" noProof="0"/>
            </a:br>
            <a:r>
              <a:rPr lang="en-GB" noProof="0"/>
              <a:t>keep it regular 24 pt</a:t>
            </a:r>
          </a:p>
        </p:txBody>
      </p:sp>
    </p:spTree>
    <p:extLst>
      <p:ext uri="{BB962C8B-B14F-4D97-AF65-F5344CB8AC3E}">
        <p14:creationId xmlns:p14="http://schemas.microsoft.com/office/powerpoint/2010/main" val="82144285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59_Title Sl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F6F0CEE-5038-4071-B80B-826461EE5D42}"/>
              </a:ext>
            </a:extLst>
          </p:cNvPr>
          <p:cNvSpPr>
            <a:spLocks noGrp="1"/>
          </p:cNvSpPr>
          <p:nvPr>
            <p:ph type="pic" sz="quarter" idx="10"/>
          </p:nvPr>
        </p:nvSpPr>
        <p:spPr>
          <a:xfrm>
            <a:off x="12164706" y="0"/>
            <a:ext cx="12217709" cy="13716000"/>
          </a:xfrm>
          <a:custGeom>
            <a:avLst/>
            <a:gdLst>
              <a:gd name="connsiteX0" fmla="*/ 0 w 3619500"/>
              <a:gd name="connsiteY0" fmla="*/ 0 h 5543550"/>
              <a:gd name="connsiteX1" fmla="*/ 3619500 w 3619500"/>
              <a:gd name="connsiteY1" fmla="*/ 0 h 5543550"/>
              <a:gd name="connsiteX2" fmla="*/ 3619500 w 3619500"/>
              <a:gd name="connsiteY2" fmla="*/ 5543550 h 5543550"/>
              <a:gd name="connsiteX3" fmla="*/ 0 w 3619500"/>
              <a:gd name="connsiteY3" fmla="*/ 5543550 h 5543550"/>
            </a:gdLst>
            <a:ahLst/>
            <a:cxnLst>
              <a:cxn ang="0">
                <a:pos x="connsiteX0" y="connsiteY0"/>
              </a:cxn>
              <a:cxn ang="0">
                <a:pos x="connsiteX1" y="connsiteY1"/>
              </a:cxn>
              <a:cxn ang="0">
                <a:pos x="connsiteX2" y="connsiteY2"/>
              </a:cxn>
              <a:cxn ang="0">
                <a:pos x="connsiteX3" y="connsiteY3"/>
              </a:cxn>
            </a:cxnLst>
            <a:rect l="l" t="t" r="r" b="b"/>
            <a:pathLst>
              <a:path w="3619500" h="5543550">
                <a:moveTo>
                  <a:pt x="0" y="0"/>
                </a:moveTo>
                <a:lnTo>
                  <a:pt x="3619500" y="0"/>
                </a:lnTo>
                <a:lnTo>
                  <a:pt x="3619500" y="5543550"/>
                </a:lnTo>
                <a:lnTo>
                  <a:pt x="0" y="5543550"/>
                </a:lnTo>
                <a:close/>
              </a:path>
            </a:pathLst>
          </a:custGeom>
          <a:solidFill>
            <a:schemeClr val="bg2"/>
          </a:solidFill>
          <a:ln>
            <a:noFill/>
          </a:ln>
        </p:spPr>
        <p:txBody>
          <a:bodyPr wrap="square">
            <a:noAutofit/>
          </a:bodyPr>
          <a:lstStyle>
            <a:lvl1pPr>
              <a:defRPr sz="2200"/>
            </a:lvl1pPr>
          </a:lstStyle>
          <a:p>
            <a:r>
              <a:rPr lang="en-US"/>
              <a:t>Click icon to add picture</a:t>
            </a:r>
            <a:endParaRPr lang="id-ID"/>
          </a:p>
        </p:txBody>
      </p:sp>
      <p:sp>
        <p:nvSpPr>
          <p:cNvPr id="12" name="Text Placeholder 8"/>
          <p:cNvSpPr>
            <a:spLocks noGrp="1"/>
          </p:cNvSpPr>
          <p:nvPr>
            <p:ph type="body" sz="quarter" idx="11" hasCustomPrompt="1"/>
          </p:nvPr>
        </p:nvSpPr>
        <p:spPr>
          <a:xfrm>
            <a:off x="1666770" y="6511929"/>
            <a:ext cx="9454771" cy="6395862"/>
          </a:xfrm>
          <a:prstGeom prst="rect">
            <a:avLst/>
          </a:prstGeom>
        </p:spPr>
        <p:txBody>
          <a:bodyPr/>
          <a:lstStyle>
            <a:lvl1pPr marL="0" indent="0">
              <a:buNone/>
              <a:defRPr sz="4800">
                <a:solidFill>
                  <a:schemeClr val="tx2"/>
                </a:solidFill>
                <a:latin typeface="+mj-lt"/>
              </a:defRPr>
            </a:lvl1pPr>
            <a:lvl2pPr marL="914308" indent="0">
              <a:buNone/>
              <a:defRPr sz="4000">
                <a:solidFill>
                  <a:schemeClr val="tx2"/>
                </a:solidFill>
                <a:latin typeface="+mj-lt"/>
              </a:defRPr>
            </a:lvl2pPr>
            <a:lvl3pPr marL="1828619" indent="0">
              <a:buNone/>
              <a:defRPr sz="3600">
                <a:solidFill>
                  <a:schemeClr val="tx2"/>
                </a:solidFill>
                <a:latin typeface="+mj-lt"/>
              </a:defRPr>
            </a:lvl3pPr>
            <a:lvl4pPr marL="2742927" indent="0">
              <a:buNone/>
              <a:defRPr sz="3200">
                <a:solidFill>
                  <a:schemeClr val="tx2"/>
                </a:solidFill>
                <a:latin typeface="+mj-lt"/>
              </a:defRPr>
            </a:lvl4pPr>
            <a:lvl5pPr marL="3657235" indent="0">
              <a:buNone/>
              <a:defRPr sz="3200">
                <a:solidFill>
                  <a:schemeClr val="tx2"/>
                </a:solidFill>
                <a:latin typeface="+mj-lt"/>
              </a:defRPr>
            </a:lvl5pPr>
          </a:lstStyle>
          <a:p>
            <a:pPr lvl="0"/>
            <a:r>
              <a:rPr lang="en-US"/>
              <a:t>Additional text or explanation</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itle 6"/>
          <p:cNvSpPr>
            <a:spLocks noGrp="1"/>
          </p:cNvSpPr>
          <p:nvPr>
            <p:ph type="title" hasCustomPrompt="1"/>
          </p:nvPr>
        </p:nvSpPr>
        <p:spPr>
          <a:xfrm>
            <a:off x="1667989" y="3223677"/>
            <a:ext cx="9445675" cy="2390130"/>
          </a:xfrm>
          <a:prstGeom prst="rect">
            <a:avLst/>
          </a:prstGeom>
        </p:spPr>
        <p:txBody>
          <a:bodyPr anchor="ctr"/>
          <a:lstStyle>
            <a:lvl1pPr>
              <a:defRPr sz="8000" b="1" baseline="0">
                <a:solidFill>
                  <a:schemeClr val="tx2"/>
                </a:solidFill>
              </a:defRPr>
            </a:lvl1pPr>
          </a:lstStyle>
          <a:p>
            <a:r>
              <a:rPr lang="en-US"/>
              <a:t>Slide title or statement here!</a:t>
            </a:r>
            <a:endParaRPr lang="en-GB"/>
          </a:p>
        </p:txBody>
      </p:sp>
      <p:sp>
        <p:nvSpPr>
          <p:cNvPr id="14" name="object 5"/>
          <p:cNvSpPr txBox="1"/>
          <p:nvPr userDrawn="1"/>
        </p:nvSpPr>
        <p:spPr>
          <a:xfrm>
            <a:off x="21829879" y="330729"/>
            <a:ext cx="2314425" cy="210310"/>
          </a:xfrm>
          <a:prstGeom prst="rect">
            <a:avLst/>
          </a:prstGeom>
        </p:spPr>
        <p:txBody>
          <a:bodyPr vert="horz" wrap="square" lIns="0" tIns="25396" rIns="0" bIns="0" rtlCol="0">
            <a:spAutoFit/>
          </a:bodyPr>
          <a:lstStyle/>
          <a:p>
            <a:pPr marL="25399">
              <a:lnSpc>
                <a:spcPct val="100000"/>
              </a:lnSpc>
              <a:spcBef>
                <a:spcPts val="200"/>
              </a:spcBef>
            </a:pPr>
            <a:r>
              <a:rPr sz="1200">
                <a:solidFill>
                  <a:srgbClr val="BCBEC0"/>
                </a:solidFill>
                <a:latin typeface="Noto IKEA Latin" panose="020B0502040504020204" pitchFamily="34" charset="0"/>
                <a:cs typeface="Verdana"/>
              </a:rPr>
              <a:t>© Inter IKEA </a:t>
            </a:r>
            <a:r>
              <a:rPr sz="1200" spc="-10">
                <a:solidFill>
                  <a:srgbClr val="BCBEC0"/>
                </a:solidFill>
                <a:latin typeface="Noto IKEA Latin" panose="020B0502040504020204" pitchFamily="34" charset="0"/>
                <a:cs typeface="Verdana"/>
              </a:rPr>
              <a:t>Systems </a:t>
            </a:r>
            <a:r>
              <a:rPr sz="1200" spc="-50">
                <a:solidFill>
                  <a:srgbClr val="BCBEC0"/>
                </a:solidFill>
                <a:latin typeface="Noto IKEA Latin" panose="020B0502040504020204" pitchFamily="34" charset="0"/>
                <a:cs typeface="Verdana"/>
              </a:rPr>
              <a:t>B.V.</a:t>
            </a:r>
            <a:r>
              <a:rPr sz="1200" spc="-140">
                <a:solidFill>
                  <a:srgbClr val="BCBEC0"/>
                </a:solidFill>
                <a:latin typeface="Noto IKEA Latin" panose="020B0502040504020204" pitchFamily="34" charset="0"/>
                <a:cs typeface="Verdana"/>
              </a:rPr>
              <a:t> </a:t>
            </a:r>
            <a:r>
              <a:rPr sz="1200">
                <a:solidFill>
                  <a:srgbClr val="BCBEC0"/>
                </a:solidFill>
                <a:latin typeface="Noto IKEA Latin" panose="020B0502040504020204" pitchFamily="34" charset="0"/>
                <a:cs typeface="Verdana"/>
              </a:rPr>
              <a:t>20</a:t>
            </a:r>
            <a:r>
              <a:rPr lang="de-DE" sz="1200">
                <a:solidFill>
                  <a:srgbClr val="BCBEC0"/>
                </a:solidFill>
                <a:latin typeface="Noto IKEA Latin" panose="020B0502040504020204" pitchFamily="34" charset="0"/>
                <a:cs typeface="Verdana"/>
              </a:rPr>
              <a:t>21</a:t>
            </a:r>
            <a:endParaRPr sz="1200">
              <a:latin typeface="Noto IKEA Latin" panose="020B0502040504020204" pitchFamily="34" charset="0"/>
              <a:cs typeface="Verdana"/>
            </a:endParaRPr>
          </a:p>
        </p:txBody>
      </p:sp>
      <p:sp>
        <p:nvSpPr>
          <p:cNvPr id="19" name="Freeform 16">
            <a:extLst>
              <a:ext uri="{FF2B5EF4-FFF2-40B4-BE49-F238E27FC236}">
                <a16:creationId xmlns:a16="http://schemas.microsoft.com/office/drawing/2014/main" id="{55B8A401-BE23-4241-BDCF-933FC8D52F4B}"/>
              </a:ext>
            </a:extLst>
          </p:cNvPr>
          <p:cNvSpPr>
            <a:spLocks/>
          </p:cNvSpPr>
          <p:nvPr userDrawn="1"/>
        </p:nvSpPr>
        <p:spPr bwMode="auto">
          <a:xfrm rot="10800000">
            <a:off x="868501" y="908797"/>
            <a:ext cx="717779" cy="615554"/>
          </a:xfrm>
          <a:custGeom>
            <a:avLst/>
            <a:gdLst>
              <a:gd name="T0" fmla="*/ 595 w 632"/>
              <a:gd name="T1" fmla="*/ 346 h 598"/>
              <a:gd name="T2" fmla="*/ 559 w 632"/>
              <a:gd name="T3" fmla="*/ 341 h 598"/>
              <a:gd name="T4" fmla="*/ 510 w 632"/>
              <a:gd name="T5" fmla="*/ 359 h 598"/>
              <a:gd name="T6" fmla="*/ 476 w 632"/>
              <a:gd name="T7" fmla="*/ 377 h 598"/>
              <a:gd name="T8" fmla="*/ 438 w 632"/>
              <a:gd name="T9" fmla="*/ 359 h 598"/>
              <a:gd name="T10" fmla="*/ 425 w 632"/>
              <a:gd name="T11" fmla="*/ 329 h 598"/>
              <a:gd name="T12" fmla="*/ 434 w 632"/>
              <a:gd name="T13" fmla="*/ 222 h 598"/>
              <a:gd name="T14" fmla="*/ 438 w 632"/>
              <a:gd name="T15" fmla="*/ 196 h 598"/>
              <a:gd name="T16" fmla="*/ 397 w 632"/>
              <a:gd name="T17" fmla="*/ 197 h 598"/>
              <a:gd name="T18" fmla="*/ 307 w 632"/>
              <a:gd name="T19" fmla="*/ 206 h 598"/>
              <a:gd name="T20" fmla="*/ 264 w 632"/>
              <a:gd name="T21" fmla="*/ 193 h 598"/>
              <a:gd name="T22" fmla="*/ 253 w 632"/>
              <a:gd name="T23" fmla="*/ 174 h 598"/>
              <a:gd name="T24" fmla="*/ 257 w 632"/>
              <a:gd name="T25" fmla="*/ 143 h 598"/>
              <a:gd name="T26" fmla="*/ 288 w 632"/>
              <a:gd name="T27" fmla="*/ 93 h 598"/>
              <a:gd name="T28" fmla="*/ 294 w 632"/>
              <a:gd name="T29" fmla="*/ 56 h 598"/>
              <a:gd name="T30" fmla="*/ 282 w 632"/>
              <a:gd name="T31" fmla="*/ 26 h 598"/>
              <a:gd name="T32" fmla="*/ 258 w 632"/>
              <a:gd name="T33" fmla="*/ 6 h 598"/>
              <a:gd name="T34" fmla="*/ 223 w 632"/>
              <a:gd name="T35" fmla="*/ 0 h 598"/>
              <a:gd name="T36" fmla="*/ 186 w 632"/>
              <a:gd name="T37" fmla="*/ 6 h 598"/>
              <a:gd name="T38" fmla="*/ 158 w 632"/>
              <a:gd name="T39" fmla="*/ 27 h 598"/>
              <a:gd name="T40" fmla="*/ 146 w 632"/>
              <a:gd name="T41" fmla="*/ 58 h 598"/>
              <a:gd name="T42" fmla="*/ 152 w 632"/>
              <a:gd name="T43" fmla="*/ 97 h 598"/>
              <a:gd name="T44" fmla="*/ 180 w 632"/>
              <a:gd name="T45" fmla="*/ 147 h 598"/>
              <a:gd name="T46" fmla="*/ 179 w 632"/>
              <a:gd name="T47" fmla="*/ 178 h 598"/>
              <a:gd name="T48" fmla="*/ 153 w 632"/>
              <a:gd name="T49" fmla="*/ 203 h 598"/>
              <a:gd name="T50" fmla="*/ 79 w 632"/>
              <a:gd name="T51" fmla="*/ 206 h 598"/>
              <a:gd name="T52" fmla="*/ 12 w 632"/>
              <a:gd name="T53" fmla="*/ 196 h 598"/>
              <a:gd name="T54" fmla="*/ 0 w 632"/>
              <a:gd name="T55" fmla="*/ 584 h 598"/>
              <a:gd name="T56" fmla="*/ 11 w 632"/>
              <a:gd name="T57" fmla="*/ 586 h 598"/>
              <a:gd name="T58" fmla="*/ 79 w 632"/>
              <a:gd name="T59" fmla="*/ 596 h 598"/>
              <a:gd name="T60" fmla="*/ 153 w 632"/>
              <a:gd name="T61" fmla="*/ 593 h 598"/>
              <a:gd name="T62" fmla="*/ 179 w 632"/>
              <a:gd name="T63" fmla="*/ 568 h 598"/>
              <a:gd name="T64" fmla="*/ 180 w 632"/>
              <a:gd name="T65" fmla="*/ 537 h 598"/>
              <a:gd name="T66" fmla="*/ 152 w 632"/>
              <a:gd name="T67" fmla="*/ 487 h 598"/>
              <a:gd name="T68" fmla="*/ 146 w 632"/>
              <a:gd name="T69" fmla="*/ 448 h 598"/>
              <a:gd name="T70" fmla="*/ 158 w 632"/>
              <a:gd name="T71" fmla="*/ 416 h 598"/>
              <a:gd name="T72" fmla="*/ 186 w 632"/>
              <a:gd name="T73" fmla="*/ 396 h 598"/>
              <a:gd name="T74" fmla="*/ 223 w 632"/>
              <a:gd name="T75" fmla="*/ 390 h 598"/>
              <a:gd name="T76" fmla="*/ 258 w 632"/>
              <a:gd name="T77" fmla="*/ 396 h 598"/>
              <a:gd name="T78" fmla="*/ 284 w 632"/>
              <a:gd name="T79" fmla="*/ 416 h 598"/>
              <a:gd name="T80" fmla="*/ 294 w 632"/>
              <a:gd name="T81" fmla="*/ 446 h 598"/>
              <a:gd name="T82" fmla="*/ 288 w 632"/>
              <a:gd name="T83" fmla="*/ 483 h 598"/>
              <a:gd name="T84" fmla="*/ 257 w 632"/>
              <a:gd name="T85" fmla="*/ 533 h 598"/>
              <a:gd name="T86" fmla="*/ 253 w 632"/>
              <a:gd name="T87" fmla="*/ 564 h 598"/>
              <a:gd name="T88" fmla="*/ 264 w 632"/>
              <a:gd name="T89" fmla="*/ 583 h 598"/>
              <a:gd name="T90" fmla="*/ 307 w 632"/>
              <a:gd name="T91" fmla="*/ 596 h 598"/>
              <a:gd name="T92" fmla="*/ 355 w 632"/>
              <a:gd name="T93" fmla="*/ 593 h 598"/>
              <a:gd name="T94" fmla="*/ 410 w 632"/>
              <a:gd name="T95" fmla="*/ 586 h 598"/>
              <a:gd name="T96" fmla="*/ 438 w 632"/>
              <a:gd name="T97" fmla="*/ 582 h 598"/>
              <a:gd name="T98" fmla="*/ 430 w 632"/>
              <a:gd name="T99" fmla="*/ 525 h 598"/>
              <a:gd name="T100" fmla="*/ 429 w 632"/>
              <a:gd name="T101" fmla="*/ 474 h 598"/>
              <a:gd name="T102" fmla="*/ 459 w 632"/>
              <a:gd name="T103" fmla="*/ 448 h 598"/>
              <a:gd name="T104" fmla="*/ 495 w 632"/>
              <a:gd name="T105" fmla="*/ 453 h 598"/>
              <a:gd name="T106" fmla="*/ 546 w 632"/>
              <a:gd name="T107" fmla="*/ 486 h 598"/>
              <a:gd name="T108" fmla="*/ 583 w 632"/>
              <a:gd name="T109" fmla="*/ 488 h 598"/>
              <a:gd name="T110" fmla="*/ 612 w 632"/>
              <a:gd name="T111" fmla="*/ 474 h 598"/>
              <a:gd name="T112" fmla="*/ 629 w 632"/>
              <a:gd name="T113" fmla="*/ 446 h 598"/>
              <a:gd name="T114" fmla="*/ 632 w 632"/>
              <a:gd name="T115" fmla="*/ 409 h 598"/>
              <a:gd name="T116" fmla="*/ 623 w 632"/>
              <a:gd name="T117" fmla="*/ 375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32" h="598">
                <a:moveTo>
                  <a:pt x="615" y="363"/>
                </a:moveTo>
                <a:lnTo>
                  <a:pt x="611" y="357"/>
                </a:lnTo>
                <a:lnTo>
                  <a:pt x="606" y="353"/>
                </a:lnTo>
                <a:lnTo>
                  <a:pt x="601" y="350"/>
                </a:lnTo>
                <a:lnTo>
                  <a:pt x="595" y="346"/>
                </a:lnTo>
                <a:lnTo>
                  <a:pt x="588" y="343"/>
                </a:lnTo>
                <a:lnTo>
                  <a:pt x="582" y="342"/>
                </a:lnTo>
                <a:lnTo>
                  <a:pt x="574" y="341"/>
                </a:lnTo>
                <a:lnTo>
                  <a:pt x="567" y="340"/>
                </a:lnTo>
                <a:lnTo>
                  <a:pt x="559" y="341"/>
                </a:lnTo>
                <a:lnTo>
                  <a:pt x="551" y="342"/>
                </a:lnTo>
                <a:lnTo>
                  <a:pt x="543" y="343"/>
                </a:lnTo>
                <a:lnTo>
                  <a:pt x="535" y="346"/>
                </a:lnTo>
                <a:lnTo>
                  <a:pt x="521" y="352"/>
                </a:lnTo>
                <a:lnTo>
                  <a:pt x="510" y="359"/>
                </a:lnTo>
                <a:lnTo>
                  <a:pt x="502" y="366"/>
                </a:lnTo>
                <a:lnTo>
                  <a:pt x="491" y="371"/>
                </a:lnTo>
                <a:lnTo>
                  <a:pt x="486" y="375"/>
                </a:lnTo>
                <a:lnTo>
                  <a:pt x="480" y="376"/>
                </a:lnTo>
                <a:lnTo>
                  <a:pt x="476" y="377"/>
                </a:lnTo>
                <a:lnTo>
                  <a:pt x="471" y="378"/>
                </a:lnTo>
                <a:lnTo>
                  <a:pt x="463" y="377"/>
                </a:lnTo>
                <a:lnTo>
                  <a:pt x="454" y="373"/>
                </a:lnTo>
                <a:lnTo>
                  <a:pt x="446" y="368"/>
                </a:lnTo>
                <a:lnTo>
                  <a:pt x="438" y="359"/>
                </a:lnTo>
                <a:lnTo>
                  <a:pt x="435" y="356"/>
                </a:lnTo>
                <a:lnTo>
                  <a:pt x="432" y="352"/>
                </a:lnTo>
                <a:lnTo>
                  <a:pt x="429" y="348"/>
                </a:lnTo>
                <a:lnTo>
                  <a:pt x="427" y="342"/>
                </a:lnTo>
                <a:lnTo>
                  <a:pt x="425" y="329"/>
                </a:lnTo>
                <a:lnTo>
                  <a:pt x="424" y="315"/>
                </a:lnTo>
                <a:lnTo>
                  <a:pt x="425" y="296"/>
                </a:lnTo>
                <a:lnTo>
                  <a:pt x="426" y="274"/>
                </a:lnTo>
                <a:lnTo>
                  <a:pt x="429" y="249"/>
                </a:lnTo>
                <a:lnTo>
                  <a:pt x="434" y="222"/>
                </a:lnTo>
                <a:lnTo>
                  <a:pt x="434" y="220"/>
                </a:lnTo>
                <a:lnTo>
                  <a:pt x="435" y="214"/>
                </a:lnTo>
                <a:lnTo>
                  <a:pt x="436" y="207"/>
                </a:lnTo>
                <a:lnTo>
                  <a:pt x="437" y="201"/>
                </a:lnTo>
                <a:lnTo>
                  <a:pt x="438" y="196"/>
                </a:lnTo>
                <a:lnTo>
                  <a:pt x="438" y="194"/>
                </a:lnTo>
                <a:lnTo>
                  <a:pt x="438" y="194"/>
                </a:lnTo>
                <a:lnTo>
                  <a:pt x="427" y="194"/>
                </a:lnTo>
                <a:lnTo>
                  <a:pt x="413" y="195"/>
                </a:lnTo>
                <a:lnTo>
                  <a:pt x="397" y="197"/>
                </a:lnTo>
                <a:lnTo>
                  <a:pt x="376" y="200"/>
                </a:lnTo>
                <a:lnTo>
                  <a:pt x="355" y="203"/>
                </a:lnTo>
                <a:lnTo>
                  <a:pt x="336" y="204"/>
                </a:lnTo>
                <a:lnTo>
                  <a:pt x="321" y="205"/>
                </a:lnTo>
                <a:lnTo>
                  <a:pt x="307" y="206"/>
                </a:lnTo>
                <a:lnTo>
                  <a:pt x="297" y="205"/>
                </a:lnTo>
                <a:lnTo>
                  <a:pt x="286" y="203"/>
                </a:lnTo>
                <a:lnTo>
                  <a:pt x="277" y="201"/>
                </a:lnTo>
                <a:lnTo>
                  <a:pt x="268" y="195"/>
                </a:lnTo>
                <a:lnTo>
                  <a:pt x="264" y="193"/>
                </a:lnTo>
                <a:lnTo>
                  <a:pt x="261" y="190"/>
                </a:lnTo>
                <a:lnTo>
                  <a:pt x="259" y="187"/>
                </a:lnTo>
                <a:lnTo>
                  <a:pt x="257" y="182"/>
                </a:lnTo>
                <a:lnTo>
                  <a:pt x="254" y="179"/>
                </a:lnTo>
                <a:lnTo>
                  <a:pt x="253" y="174"/>
                </a:lnTo>
                <a:lnTo>
                  <a:pt x="252" y="169"/>
                </a:lnTo>
                <a:lnTo>
                  <a:pt x="252" y="164"/>
                </a:lnTo>
                <a:lnTo>
                  <a:pt x="252" y="158"/>
                </a:lnTo>
                <a:lnTo>
                  <a:pt x="254" y="150"/>
                </a:lnTo>
                <a:lnTo>
                  <a:pt x="257" y="143"/>
                </a:lnTo>
                <a:lnTo>
                  <a:pt x="259" y="137"/>
                </a:lnTo>
                <a:lnTo>
                  <a:pt x="266" y="125"/>
                </a:lnTo>
                <a:lnTo>
                  <a:pt x="274" y="115"/>
                </a:lnTo>
                <a:lnTo>
                  <a:pt x="281" y="106"/>
                </a:lnTo>
                <a:lnTo>
                  <a:pt x="288" y="93"/>
                </a:lnTo>
                <a:lnTo>
                  <a:pt x="291" y="86"/>
                </a:lnTo>
                <a:lnTo>
                  <a:pt x="293" y="79"/>
                </a:lnTo>
                <a:lnTo>
                  <a:pt x="294" y="71"/>
                </a:lnTo>
                <a:lnTo>
                  <a:pt x="294" y="64"/>
                </a:lnTo>
                <a:lnTo>
                  <a:pt x="294" y="56"/>
                </a:lnTo>
                <a:lnTo>
                  <a:pt x="293" y="50"/>
                </a:lnTo>
                <a:lnTo>
                  <a:pt x="292" y="43"/>
                </a:lnTo>
                <a:lnTo>
                  <a:pt x="289" y="37"/>
                </a:lnTo>
                <a:lnTo>
                  <a:pt x="287" y="31"/>
                </a:lnTo>
                <a:lnTo>
                  <a:pt x="282" y="26"/>
                </a:lnTo>
                <a:lnTo>
                  <a:pt x="279" y="21"/>
                </a:lnTo>
                <a:lnTo>
                  <a:pt x="274" y="16"/>
                </a:lnTo>
                <a:lnTo>
                  <a:pt x="268" y="13"/>
                </a:lnTo>
                <a:lnTo>
                  <a:pt x="263" y="10"/>
                </a:lnTo>
                <a:lnTo>
                  <a:pt x="258" y="6"/>
                </a:lnTo>
                <a:lnTo>
                  <a:pt x="251" y="4"/>
                </a:lnTo>
                <a:lnTo>
                  <a:pt x="245" y="2"/>
                </a:lnTo>
                <a:lnTo>
                  <a:pt x="237" y="1"/>
                </a:lnTo>
                <a:lnTo>
                  <a:pt x="231" y="0"/>
                </a:lnTo>
                <a:lnTo>
                  <a:pt x="223" y="0"/>
                </a:lnTo>
                <a:lnTo>
                  <a:pt x="216" y="0"/>
                </a:lnTo>
                <a:lnTo>
                  <a:pt x="208" y="1"/>
                </a:lnTo>
                <a:lnTo>
                  <a:pt x="200" y="2"/>
                </a:lnTo>
                <a:lnTo>
                  <a:pt x="193" y="4"/>
                </a:lnTo>
                <a:lnTo>
                  <a:pt x="186" y="6"/>
                </a:lnTo>
                <a:lnTo>
                  <a:pt x="180" y="10"/>
                </a:lnTo>
                <a:lnTo>
                  <a:pt x="174" y="13"/>
                </a:lnTo>
                <a:lnTo>
                  <a:pt x="168" y="17"/>
                </a:lnTo>
                <a:lnTo>
                  <a:pt x="163" y="21"/>
                </a:lnTo>
                <a:lnTo>
                  <a:pt x="158" y="27"/>
                </a:lnTo>
                <a:lnTo>
                  <a:pt x="155" y="32"/>
                </a:lnTo>
                <a:lnTo>
                  <a:pt x="152" y="38"/>
                </a:lnTo>
                <a:lnTo>
                  <a:pt x="149" y="44"/>
                </a:lnTo>
                <a:lnTo>
                  <a:pt x="147" y="51"/>
                </a:lnTo>
                <a:lnTo>
                  <a:pt x="146" y="58"/>
                </a:lnTo>
                <a:lnTo>
                  <a:pt x="145" y="66"/>
                </a:lnTo>
                <a:lnTo>
                  <a:pt x="146" y="73"/>
                </a:lnTo>
                <a:lnTo>
                  <a:pt x="147" y="82"/>
                </a:lnTo>
                <a:lnTo>
                  <a:pt x="149" y="90"/>
                </a:lnTo>
                <a:lnTo>
                  <a:pt x="152" y="97"/>
                </a:lnTo>
                <a:lnTo>
                  <a:pt x="157" y="111"/>
                </a:lnTo>
                <a:lnTo>
                  <a:pt x="165" y="122"/>
                </a:lnTo>
                <a:lnTo>
                  <a:pt x="171" y="132"/>
                </a:lnTo>
                <a:lnTo>
                  <a:pt x="177" y="141"/>
                </a:lnTo>
                <a:lnTo>
                  <a:pt x="180" y="147"/>
                </a:lnTo>
                <a:lnTo>
                  <a:pt x="181" y="152"/>
                </a:lnTo>
                <a:lnTo>
                  <a:pt x="182" y="156"/>
                </a:lnTo>
                <a:lnTo>
                  <a:pt x="183" y="161"/>
                </a:lnTo>
                <a:lnTo>
                  <a:pt x="182" y="169"/>
                </a:lnTo>
                <a:lnTo>
                  <a:pt x="179" y="178"/>
                </a:lnTo>
                <a:lnTo>
                  <a:pt x="173" y="187"/>
                </a:lnTo>
                <a:lnTo>
                  <a:pt x="165" y="195"/>
                </a:lnTo>
                <a:lnTo>
                  <a:pt x="162" y="197"/>
                </a:lnTo>
                <a:lnTo>
                  <a:pt x="157" y="201"/>
                </a:lnTo>
                <a:lnTo>
                  <a:pt x="153" y="203"/>
                </a:lnTo>
                <a:lnTo>
                  <a:pt x="147" y="205"/>
                </a:lnTo>
                <a:lnTo>
                  <a:pt x="135" y="207"/>
                </a:lnTo>
                <a:lnTo>
                  <a:pt x="120" y="208"/>
                </a:lnTo>
                <a:lnTo>
                  <a:pt x="101" y="207"/>
                </a:lnTo>
                <a:lnTo>
                  <a:pt x="79" y="206"/>
                </a:lnTo>
                <a:lnTo>
                  <a:pt x="55" y="203"/>
                </a:lnTo>
                <a:lnTo>
                  <a:pt x="28" y="199"/>
                </a:lnTo>
                <a:lnTo>
                  <a:pt x="24" y="199"/>
                </a:lnTo>
                <a:lnTo>
                  <a:pt x="19" y="197"/>
                </a:lnTo>
                <a:lnTo>
                  <a:pt x="12" y="196"/>
                </a:lnTo>
                <a:lnTo>
                  <a:pt x="6" y="195"/>
                </a:lnTo>
                <a:lnTo>
                  <a:pt x="2" y="195"/>
                </a:lnTo>
                <a:lnTo>
                  <a:pt x="0" y="194"/>
                </a:lnTo>
                <a:lnTo>
                  <a:pt x="0" y="584"/>
                </a:lnTo>
                <a:lnTo>
                  <a:pt x="0" y="584"/>
                </a:lnTo>
                <a:lnTo>
                  <a:pt x="1" y="584"/>
                </a:lnTo>
                <a:lnTo>
                  <a:pt x="1" y="585"/>
                </a:lnTo>
                <a:lnTo>
                  <a:pt x="2" y="585"/>
                </a:lnTo>
                <a:lnTo>
                  <a:pt x="7" y="585"/>
                </a:lnTo>
                <a:lnTo>
                  <a:pt x="11" y="586"/>
                </a:lnTo>
                <a:lnTo>
                  <a:pt x="17" y="587"/>
                </a:lnTo>
                <a:lnTo>
                  <a:pt x="23" y="588"/>
                </a:lnTo>
                <a:lnTo>
                  <a:pt x="28" y="588"/>
                </a:lnTo>
                <a:lnTo>
                  <a:pt x="55" y="593"/>
                </a:lnTo>
                <a:lnTo>
                  <a:pt x="79" y="596"/>
                </a:lnTo>
                <a:lnTo>
                  <a:pt x="101" y="597"/>
                </a:lnTo>
                <a:lnTo>
                  <a:pt x="120" y="598"/>
                </a:lnTo>
                <a:lnTo>
                  <a:pt x="135" y="597"/>
                </a:lnTo>
                <a:lnTo>
                  <a:pt x="147" y="595"/>
                </a:lnTo>
                <a:lnTo>
                  <a:pt x="153" y="593"/>
                </a:lnTo>
                <a:lnTo>
                  <a:pt x="157" y="591"/>
                </a:lnTo>
                <a:lnTo>
                  <a:pt x="162" y="587"/>
                </a:lnTo>
                <a:lnTo>
                  <a:pt x="165" y="584"/>
                </a:lnTo>
                <a:lnTo>
                  <a:pt x="173" y="576"/>
                </a:lnTo>
                <a:lnTo>
                  <a:pt x="179" y="568"/>
                </a:lnTo>
                <a:lnTo>
                  <a:pt x="182" y="559"/>
                </a:lnTo>
                <a:lnTo>
                  <a:pt x="183" y="551"/>
                </a:lnTo>
                <a:lnTo>
                  <a:pt x="182" y="546"/>
                </a:lnTo>
                <a:lnTo>
                  <a:pt x="181" y="542"/>
                </a:lnTo>
                <a:lnTo>
                  <a:pt x="180" y="537"/>
                </a:lnTo>
                <a:lnTo>
                  <a:pt x="177" y="531"/>
                </a:lnTo>
                <a:lnTo>
                  <a:pt x="171" y="521"/>
                </a:lnTo>
                <a:lnTo>
                  <a:pt x="165" y="512"/>
                </a:lnTo>
                <a:lnTo>
                  <a:pt x="157" y="501"/>
                </a:lnTo>
                <a:lnTo>
                  <a:pt x="152" y="487"/>
                </a:lnTo>
                <a:lnTo>
                  <a:pt x="149" y="479"/>
                </a:lnTo>
                <a:lnTo>
                  <a:pt x="147" y="471"/>
                </a:lnTo>
                <a:lnTo>
                  <a:pt x="146" y="463"/>
                </a:lnTo>
                <a:lnTo>
                  <a:pt x="145" y="456"/>
                </a:lnTo>
                <a:lnTo>
                  <a:pt x="146" y="448"/>
                </a:lnTo>
                <a:lnTo>
                  <a:pt x="147" y="440"/>
                </a:lnTo>
                <a:lnTo>
                  <a:pt x="149" y="434"/>
                </a:lnTo>
                <a:lnTo>
                  <a:pt x="152" y="427"/>
                </a:lnTo>
                <a:lnTo>
                  <a:pt x="155" y="421"/>
                </a:lnTo>
                <a:lnTo>
                  <a:pt x="158" y="416"/>
                </a:lnTo>
                <a:lnTo>
                  <a:pt x="163" y="411"/>
                </a:lnTo>
                <a:lnTo>
                  <a:pt x="168" y="407"/>
                </a:lnTo>
                <a:lnTo>
                  <a:pt x="174" y="403"/>
                </a:lnTo>
                <a:lnTo>
                  <a:pt x="180" y="399"/>
                </a:lnTo>
                <a:lnTo>
                  <a:pt x="186" y="396"/>
                </a:lnTo>
                <a:lnTo>
                  <a:pt x="193" y="394"/>
                </a:lnTo>
                <a:lnTo>
                  <a:pt x="200" y="392"/>
                </a:lnTo>
                <a:lnTo>
                  <a:pt x="207" y="391"/>
                </a:lnTo>
                <a:lnTo>
                  <a:pt x="214" y="390"/>
                </a:lnTo>
                <a:lnTo>
                  <a:pt x="223" y="390"/>
                </a:lnTo>
                <a:lnTo>
                  <a:pt x="231" y="390"/>
                </a:lnTo>
                <a:lnTo>
                  <a:pt x="237" y="391"/>
                </a:lnTo>
                <a:lnTo>
                  <a:pt x="245" y="392"/>
                </a:lnTo>
                <a:lnTo>
                  <a:pt x="251" y="394"/>
                </a:lnTo>
                <a:lnTo>
                  <a:pt x="258" y="396"/>
                </a:lnTo>
                <a:lnTo>
                  <a:pt x="263" y="398"/>
                </a:lnTo>
                <a:lnTo>
                  <a:pt x="268" y="403"/>
                </a:lnTo>
                <a:lnTo>
                  <a:pt x="274" y="406"/>
                </a:lnTo>
                <a:lnTo>
                  <a:pt x="279" y="410"/>
                </a:lnTo>
                <a:lnTo>
                  <a:pt x="284" y="416"/>
                </a:lnTo>
                <a:lnTo>
                  <a:pt x="287" y="421"/>
                </a:lnTo>
                <a:lnTo>
                  <a:pt x="289" y="426"/>
                </a:lnTo>
                <a:lnTo>
                  <a:pt x="292" y="433"/>
                </a:lnTo>
                <a:lnTo>
                  <a:pt x="293" y="439"/>
                </a:lnTo>
                <a:lnTo>
                  <a:pt x="294" y="446"/>
                </a:lnTo>
                <a:lnTo>
                  <a:pt x="294" y="453"/>
                </a:lnTo>
                <a:lnTo>
                  <a:pt x="294" y="461"/>
                </a:lnTo>
                <a:lnTo>
                  <a:pt x="293" y="469"/>
                </a:lnTo>
                <a:lnTo>
                  <a:pt x="291" y="476"/>
                </a:lnTo>
                <a:lnTo>
                  <a:pt x="288" y="483"/>
                </a:lnTo>
                <a:lnTo>
                  <a:pt x="281" y="495"/>
                </a:lnTo>
                <a:lnTo>
                  <a:pt x="274" y="505"/>
                </a:lnTo>
                <a:lnTo>
                  <a:pt x="266" y="515"/>
                </a:lnTo>
                <a:lnTo>
                  <a:pt x="259" y="527"/>
                </a:lnTo>
                <a:lnTo>
                  <a:pt x="257" y="533"/>
                </a:lnTo>
                <a:lnTo>
                  <a:pt x="254" y="540"/>
                </a:lnTo>
                <a:lnTo>
                  <a:pt x="252" y="546"/>
                </a:lnTo>
                <a:lnTo>
                  <a:pt x="252" y="554"/>
                </a:lnTo>
                <a:lnTo>
                  <a:pt x="252" y="559"/>
                </a:lnTo>
                <a:lnTo>
                  <a:pt x="253" y="564"/>
                </a:lnTo>
                <a:lnTo>
                  <a:pt x="254" y="568"/>
                </a:lnTo>
                <a:lnTo>
                  <a:pt x="257" y="572"/>
                </a:lnTo>
                <a:lnTo>
                  <a:pt x="259" y="576"/>
                </a:lnTo>
                <a:lnTo>
                  <a:pt x="261" y="580"/>
                </a:lnTo>
                <a:lnTo>
                  <a:pt x="264" y="583"/>
                </a:lnTo>
                <a:lnTo>
                  <a:pt x="268" y="585"/>
                </a:lnTo>
                <a:lnTo>
                  <a:pt x="277" y="589"/>
                </a:lnTo>
                <a:lnTo>
                  <a:pt x="286" y="593"/>
                </a:lnTo>
                <a:lnTo>
                  <a:pt x="297" y="595"/>
                </a:lnTo>
                <a:lnTo>
                  <a:pt x="307" y="596"/>
                </a:lnTo>
                <a:lnTo>
                  <a:pt x="316" y="595"/>
                </a:lnTo>
                <a:lnTo>
                  <a:pt x="326" y="595"/>
                </a:lnTo>
                <a:lnTo>
                  <a:pt x="335" y="595"/>
                </a:lnTo>
                <a:lnTo>
                  <a:pt x="345" y="594"/>
                </a:lnTo>
                <a:lnTo>
                  <a:pt x="355" y="593"/>
                </a:lnTo>
                <a:lnTo>
                  <a:pt x="366" y="592"/>
                </a:lnTo>
                <a:lnTo>
                  <a:pt x="376" y="589"/>
                </a:lnTo>
                <a:lnTo>
                  <a:pt x="388" y="588"/>
                </a:lnTo>
                <a:lnTo>
                  <a:pt x="400" y="587"/>
                </a:lnTo>
                <a:lnTo>
                  <a:pt x="410" y="586"/>
                </a:lnTo>
                <a:lnTo>
                  <a:pt x="419" y="585"/>
                </a:lnTo>
                <a:lnTo>
                  <a:pt x="426" y="584"/>
                </a:lnTo>
                <a:lnTo>
                  <a:pt x="432" y="584"/>
                </a:lnTo>
                <a:lnTo>
                  <a:pt x="438" y="584"/>
                </a:lnTo>
                <a:lnTo>
                  <a:pt x="438" y="582"/>
                </a:lnTo>
                <a:lnTo>
                  <a:pt x="438" y="573"/>
                </a:lnTo>
                <a:lnTo>
                  <a:pt x="437" y="564"/>
                </a:lnTo>
                <a:lnTo>
                  <a:pt x="436" y="552"/>
                </a:lnTo>
                <a:lnTo>
                  <a:pt x="433" y="538"/>
                </a:lnTo>
                <a:lnTo>
                  <a:pt x="430" y="525"/>
                </a:lnTo>
                <a:lnTo>
                  <a:pt x="428" y="513"/>
                </a:lnTo>
                <a:lnTo>
                  <a:pt x="427" y="503"/>
                </a:lnTo>
                <a:lnTo>
                  <a:pt x="426" y="494"/>
                </a:lnTo>
                <a:lnTo>
                  <a:pt x="427" y="484"/>
                </a:lnTo>
                <a:lnTo>
                  <a:pt x="429" y="474"/>
                </a:lnTo>
                <a:lnTo>
                  <a:pt x="433" y="465"/>
                </a:lnTo>
                <a:lnTo>
                  <a:pt x="437" y="459"/>
                </a:lnTo>
                <a:lnTo>
                  <a:pt x="443" y="453"/>
                </a:lnTo>
                <a:lnTo>
                  <a:pt x="450" y="450"/>
                </a:lnTo>
                <a:lnTo>
                  <a:pt x="459" y="448"/>
                </a:lnTo>
                <a:lnTo>
                  <a:pt x="468" y="447"/>
                </a:lnTo>
                <a:lnTo>
                  <a:pt x="476" y="448"/>
                </a:lnTo>
                <a:lnTo>
                  <a:pt x="482" y="449"/>
                </a:lnTo>
                <a:lnTo>
                  <a:pt x="489" y="451"/>
                </a:lnTo>
                <a:lnTo>
                  <a:pt x="495" y="453"/>
                </a:lnTo>
                <a:lnTo>
                  <a:pt x="507" y="461"/>
                </a:lnTo>
                <a:lnTo>
                  <a:pt x="517" y="469"/>
                </a:lnTo>
                <a:lnTo>
                  <a:pt x="527" y="476"/>
                </a:lnTo>
                <a:lnTo>
                  <a:pt x="540" y="483"/>
                </a:lnTo>
                <a:lnTo>
                  <a:pt x="546" y="486"/>
                </a:lnTo>
                <a:lnTo>
                  <a:pt x="554" y="488"/>
                </a:lnTo>
                <a:lnTo>
                  <a:pt x="561" y="489"/>
                </a:lnTo>
                <a:lnTo>
                  <a:pt x="569" y="489"/>
                </a:lnTo>
                <a:lnTo>
                  <a:pt x="576" y="489"/>
                </a:lnTo>
                <a:lnTo>
                  <a:pt x="583" y="488"/>
                </a:lnTo>
                <a:lnTo>
                  <a:pt x="589" y="487"/>
                </a:lnTo>
                <a:lnTo>
                  <a:pt x="596" y="485"/>
                </a:lnTo>
                <a:lnTo>
                  <a:pt x="601" y="481"/>
                </a:lnTo>
                <a:lnTo>
                  <a:pt x="606" y="478"/>
                </a:lnTo>
                <a:lnTo>
                  <a:pt x="612" y="474"/>
                </a:lnTo>
                <a:lnTo>
                  <a:pt x="616" y="469"/>
                </a:lnTo>
                <a:lnTo>
                  <a:pt x="619" y="463"/>
                </a:lnTo>
                <a:lnTo>
                  <a:pt x="624" y="458"/>
                </a:lnTo>
                <a:lnTo>
                  <a:pt x="626" y="452"/>
                </a:lnTo>
                <a:lnTo>
                  <a:pt x="629" y="446"/>
                </a:lnTo>
                <a:lnTo>
                  <a:pt x="630" y="439"/>
                </a:lnTo>
                <a:lnTo>
                  <a:pt x="631" y="432"/>
                </a:lnTo>
                <a:lnTo>
                  <a:pt x="632" y="425"/>
                </a:lnTo>
                <a:lnTo>
                  <a:pt x="632" y="418"/>
                </a:lnTo>
                <a:lnTo>
                  <a:pt x="632" y="409"/>
                </a:lnTo>
                <a:lnTo>
                  <a:pt x="631" y="402"/>
                </a:lnTo>
                <a:lnTo>
                  <a:pt x="630" y="395"/>
                </a:lnTo>
                <a:lnTo>
                  <a:pt x="628" y="388"/>
                </a:lnTo>
                <a:lnTo>
                  <a:pt x="626" y="381"/>
                </a:lnTo>
                <a:lnTo>
                  <a:pt x="623" y="375"/>
                </a:lnTo>
                <a:lnTo>
                  <a:pt x="619" y="369"/>
                </a:lnTo>
                <a:lnTo>
                  <a:pt x="615" y="363"/>
                </a:lnTo>
                <a:close/>
              </a:path>
            </a:pathLst>
          </a:custGeom>
          <a:solidFill>
            <a:schemeClr val="bg1"/>
          </a:solidFill>
          <a:ln>
            <a:noFill/>
          </a:ln>
        </p:spPr>
        <p:txBody>
          <a:bodyPr vert="horz" wrap="square" lIns="487520" tIns="243760" rIns="487520" bIns="243760" numCol="1" anchor="t" anchorCtr="0" compatLnSpc="1">
            <a:prstTxWarp prst="textNoShape">
              <a:avLst/>
            </a:prstTxWarp>
          </a:bodyPr>
          <a:lstStyle/>
          <a:p>
            <a:endParaRPr lang="ru-RU" sz="4800"/>
          </a:p>
        </p:txBody>
      </p:sp>
    </p:spTree>
    <p:extLst>
      <p:ext uri="{BB962C8B-B14F-4D97-AF65-F5344CB8AC3E}">
        <p14:creationId xmlns:p14="http://schemas.microsoft.com/office/powerpoint/2010/main" val="159751041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Images with description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413F907-AE77-0746-B805-0D2E5F01B01D}"/>
              </a:ext>
            </a:extLst>
          </p:cNvPr>
          <p:cNvSpPr>
            <a:spLocks noGrp="1"/>
          </p:cNvSpPr>
          <p:nvPr>
            <p:ph type="pic" sz="quarter" idx="17" hasCustomPrompt="1"/>
          </p:nvPr>
        </p:nvSpPr>
        <p:spPr>
          <a:xfrm>
            <a:off x="1710104" y="4124209"/>
            <a:ext cx="6113952" cy="4606926"/>
          </a:xfrm>
          <a:solidFill>
            <a:srgbClr val="E4E5E3"/>
          </a:solidFill>
        </p:spPr>
        <p:txBody>
          <a:bodyPr>
            <a:normAutofit/>
          </a:bodyPr>
          <a:lstStyle>
            <a:lvl1pPr marL="0" marR="0" indent="0" algn="l" defTabSz="182857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9167072" y="4124209"/>
            <a:ext cx="6113952" cy="4606926"/>
          </a:xfrm>
          <a:solidFill>
            <a:srgbClr val="E4E5E3"/>
          </a:solidFill>
        </p:spPr>
        <p:txBody>
          <a:bodyPr>
            <a:normAutofit/>
          </a:bodyPr>
          <a:lstStyle>
            <a:lvl1pPr marL="0" marR="0" indent="0" algn="l" defTabSz="182857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13" name="Picture Placeholder 2">
            <a:extLst>
              <a:ext uri="{FF2B5EF4-FFF2-40B4-BE49-F238E27FC236}">
                <a16:creationId xmlns:a16="http://schemas.microsoft.com/office/drawing/2014/main" id="{AADE64AA-EB12-9B42-B094-87CAEF84C4AB}"/>
              </a:ext>
            </a:extLst>
          </p:cNvPr>
          <p:cNvSpPr>
            <a:spLocks noGrp="1"/>
          </p:cNvSpPr>
          <p:nvPr>
            <p:ph type="pic" sz="quarter" idx="23" hasCustomPrompt="1"/>
          </p:nvPr>
        </p:nvSpPr>
        <p:spPr>
          <a:xfrm>
            <a:off x="16545286" y="4124209"/>
            <a:ext cx="6113952" cy="4606926"/>
          </a:xfrm>
          <a:solidFill>
            <a:srgbClr val="E4E5E3"/>
          </a:solidFill>
        </p:spPr>
        <p:txBody>
          <a:bodyPr>
            <a:normAutofit/>
          </a:bodyPr>
          <a:lstStyle>
            <a:lvl1pPr marL="0" marR="0" indent="0" algn="l" defTabSz="182857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14" name="Title 1">
            <a:extLst>
              <a:ext uri="{FF2B5EF4-FFF2-40B4-BE49-F238E27FC236}">
                <a16:creationId xmlns:a16="http://schemas.microsoft.com/office/drawing/2014/main" id="{15330994-19DA-9E46-A2E3-C446A8DB80A5}"/>
              </a:ext>
            </a:extLst>
          </p:cNvPr>
          <p:cNvSpPr>
            <a:spLocks noGrp="1"/>
          </p:cNvSpPr>
          <p:nvPr>
            <p:ph type="title" hasCustomPrompt="1"/>
          </p:nvPr>
        </p:nvSpPr>
        <p:spPr>
          <a:xfrm>
            <a:off x="1676293" y="1677603"/>
            <a:ext cx="21033007" cy="2450978"/>
          </a:xfrm>
          <a:prstGeom prst="rect">
            <a:avLst/>
          </a:prstGeom>
        </p:spPr>
        <p:txBody>
          <a:bodyPr/>
          <a:lstStyle>
            <a:lvl1pPr>
              <a:lnSpc>
                <a:spcPct val="100000"/>
              </a:lnSpc>
              <a:defRPr sz="7200"/>
            </a:lvl1pPr>
          </a:lstStyle>
          <a:p>
            <a:r>
              <a:rPr lang="en-US"/>
              <a:t>Put the slide headline here</a:t>
            </a:r>
          </a:p>
        </p:txBody>
      </p:sp>
      <p:sp>
        <p:nvSpPr>
          <p:cNvPr id="15" name="Text Placeholder 5">
            <a:extLst>
              <a:ext uri="{FF2B5EF4-FFF2-40B4-BE49-F238E27FC236}">
                <a16:creationId xmlns:a16="http://schemas.microsoft.com/office/drawing/2014/main" id="{EA551AE1-5794-8645-B13C-A75DC3F29BBC}"/>
              </a:ext>
            </a:extLst>
          </p:cNvPr>
          <p:cNvSpPr>
            <a:spLocks noGrp="1"/>
          </p:cNvSpPr>
          <p:nvPr>
            <p:ph type="body" sz="quarter" idx="12" hasCustomPrompt="1"/>
          </p:nvPr>
        </p:nvSpPr>
        <p:spPr>
          <a:xfrm>
            <a:off x="1710104" y="9038944"/>
            <a:ext cx="6113952" cy="2859616"/>
          </a:xfrm>
        </p:spPr>
        <p:txBody>
          <a:bodyPr>
            <a:noAutofit/>
          </a:bodyPr>
          <a:lstStyle>
            <a:lvl1pPr>
              <a:spcBef>
                <a:spcPts val="0"/>
              </a:spcBef>
              <a:defRPr sz="2800"/>
            </a:lvl1pPr>
          </a:lstStyle>
          <a:p>
            <a:pPr lvl="0"/>
            <a:r>
              <a:rPr lang="en-US"/>
              <a:t>Put the body text or caption here</a:t>
            </a:r>
            <a:endParaRPr lang="en-GB"/>
          </a:p>
        </p:txBody>
      </p:sp>
      <p:sp>
        <p:nvSpPr>
          <p:cNvPr id="16" name="Text Placeholder 5">
            <a:extLst>
              <a:ext uri="{FF2B5EF4-FFF2-40B4-BE49-F238E27FC236}">
                <a16:creationId xmlns:a16="http://schemas.microsoft.com/office/drawing/2014/main" id="{50C5C652-3240-6341-9095-4EF7D7DC26F2}"/>
              </a:ext>
            </a:extLst>
          </p:cNvPr>
          <p:cNvSpPr>
            <a:spLocks noGrp="1"/>
          </p:cNvSpPr>
          <p:nvPr>
            <p:ph type="body" sz="quarter" idx="30" hasCustomPrompt="1"/>
          </p:nvPr>
        </p:nvSpPr>
        <p:spPr>
          <a:xfrm>
            <a:off x="9134234" y="9038944"/>
            <a:ext cx="6113952" cy="2859616"/>
          </a:xfrm>
        </p:spPr>
        <p:txBody>
          <a:bodyPr>
            <a:noAutofit/>
          </a:bodyPr>
          <a:lstStyle>
            <a:lvl1pPr>
              <a:spcBef>
                <a:spcPts val="0"/>
              </a:spcBef>
              <a:defRPr sz="2800"/>
            </a:lvl1pPr>
          </a:lstStyle>
          <a:p>
            <a:pPr lvl="0"/>
            <a:r>
              <a:rPr lang="en-US"/>
              <a:t>Put the body text or caption here</a:t>
            </a:r>
            <a:endParaRPr lang="en-GB"/>
          </a:p>
        </p:txBody>
      </p:sp>
      <p:sp>
        <p:nvSpPr>
          <p:cNvPr id="25" name="Text Placeholder 5">
            <a:extLst>
              <a:ext uri="{FF2B5EF4-FFF2-40B4-BE49-F238E27FC236}">
                <a16:creationId xmlns:a16="http://schemas.microsoft.com/office/drawing/2014/main" id="{154F45D7-B176-5742-A305-63E532076396}"/>
              </a:ext>
            </a:extLst>
          </p:cNvPr>
          <p:cNvSpPr>
            <a:spLocks noGrp="1"/>
          </p:cNvSpPr>
          <p:nvPr>
            <p:ph type="body" sz="quarter" idx="31" hasCustomPrompt="1"/>
          </p:nvPr>
        </p:nvSpPr>
        <p:spPr>
          <a:xfrm>
            <a:off x="16595351" y="9038944"/>
            <a:ext cx="6113952" cy="2859616"/>
          </a:xfrm>
        </p:spPr>
        <p:txBody>
          <a:bodyPr>
            <a:noAutofit/>
          </a:bodyPr>
          <a:lstStyle>
            <a:lvl1pPr>
              <a:spcBef>
                <a:spcPts val="0"/>
              </a:spcBef>
              <a:defRPr sz="2800"/>
            </a:lvl1pPr>
          </a:lstStyle>
          <a:p>
            <a:pPr lvl="0"/>
            <a:r>
              <a:rPr lang="en-US"/>
              <a:t>Put the body text or caption here</a:t>
            </a:r>
            <a:endParaRPr lang="en-GB"/>
          </a:p>
        </p:txBody>
      </p:sp>
    </p:spTree>
    <p:extLst>
      <p:ext uri="{BB962C8B-B14F-4D97-AF65-F5344CB8AC3E}">
        <p14:creationId xmlns:p14="http://schemas.microsoft.com/office/powerpoint/2010/main" val="361443904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Chapter name on colour background or image">
    <p:bg>
      <p:bgPr>
        <a:solidFill>
          <a:schemeClr val="bg1"/>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9F99187E-75C3-704C-B702-5FF1467E154C}"/>
              </a:ext>
            </a:extLst>
          </p:cNvPr>
          <p:cNvSpPr>
            <a:spLocks noGrp="1"/>
          </p:cNvSpPr>
          <p:nvPr>
            <p:ph type="subTitle" idx="1" hasCustomPrompt="1"/>
          </p:nvPr>
        </p:nvSpPr>
        <p:spPr>
          <a:xfrm>
            <a:off x="1700168" y="3905672"/>
            <a:ext cx="15531275" cy="5904656"/>
          </a:xfrm>
        </p:spPr>
        <p:txBody>
          <a:bodyPr anchor="ctr" anchorCtr="0">
            <a:noAutofit/>
          </a:bodyPr>
          <a:lstStyle>
            <a:lvl1pPr marL="0" indent="0" algn="l">
              <a:lnSpc>
                <a:spcPct val="100000"/>
              </a:lnSpc>
              <a:buNone/>
              <a:defRPr sz="11999" b="1" spc="-200" baseline="0">
                <a:latin typeface="Noto IKEA Latin" panose="020B0502040504020204" pitchFamily="34" charset="0"/>
              </a:defRPr>
            </a:lvl1pPr>
            <a:lvl2pPr marL="914286" indent="0" algn="ctr">
              <a:buNone/>
              <a:defRPr sz="4000"/>
            </a:lvl2pPr>
            <a:lvl3pPr marL="1828573" indent="0" algn="ctr">
              <a:buNone/>
              <a:defRPr sz="3600"/>
            </a:lvl3pPr>
            <a:lvl4pPr marL="2742859" indent="0" algn="ctr">
              <a:buNone/>
              <a:defRPr sz="3200"/>
            </a:lvl4pPr>
            <a:lvl5pPr marL="3657143" indent="0" algn="ctr">
              <a:buNone/>
              <a:defRPr sz="3200"/>
            </a:lvl5pPr>
            <a:lvl6pPr marL="4571429" indent="0" algn="ctr">
              <a:buNone/>
              <a:defRPr sz="3200"/>
            </a:lvl6pPr>
            <a:lvl7pPr marL="5485714" indent="0" algn="ctr">
              <a:buNone/>
              <a:defRPr sz="3200"/>
            </a:lvl7pPr>
            <a:lvl8pPr marL="6400000" indent="0" algn="ctr">
              <a:buNone/>
              <a:defRPr sz="3200"/>
            </a:lvl8pPr>
            <a:lvl9pPr marL="7314286" indent="0" algn="ctr">
              <a:buNone/>
              <a:defRPr sz="3200"/>
            </a:lvl9pPr>
          </a:lstStyle>
          <a:p>
            <a:r>
              <a:rPr lang="en-GB" noProof="0"/>
              <a:t>Put the chapter headline here, </a:t>
            </a:r>
            <a:br>
              <a:rPr lang="en-GB" noProof="0"/>
            </a:br>
            <a:r>
              <a:rPr lang="en-GB" noProof="0"/>
              <a:t>keep it bold 60 </a:t>
            </a:r>
            <a:r>
              <a:rPr lang="en-GB" noProof="0" err="1"/>
              <a:t>pt</a:t>
            </a:r>
            <a:endParaRPr lang="en-GB" noProof="0"/>
          </a:p>
        </p:txBody>
      </p:sp>
      <p:sp>
        <p:nvSpPr>
          <p:cNvPr id="7" name="Text Placeholder 3">
            <a:extLst>
              <a:ext uri="{FF2B5EF4-FFF2-40B4-BE49-F238E27FC236}">
                <a16:creationId xmlns:a16="http://schemas.microsoft.com/office/drawing/2014/main" id="{6197EBF1-7F60-D44A-93CB-4809CDC33B1D}"/>
              </a:ext>
            </a:extLst>
          </p:cNvPr>
          <p:cNvSpPr>
            <a:spLocks noGrp="1"/>
          </p:cNvSpPr>
          <p:nvPr>
            <p:ph type="body" sz="quarter" idx="18" hasCustomPrompt="1"/>
          </p:nvPr>
        </p:nvSpPr>
        <p:spPr>
          <a:xfrm rot="5400000">
            <a:off x="20902621" y="2898380"/>
            <a:ext cx="5759746" cy="719337"/>
          </a:xfrm>
        </p:spPr>
        <p:txBody>
          <a:bodyPr anchor="ctr"/>
          <a:lstStyle>
            <a:lvl1pPr>
              <a:defRPr sz="1600">
                <a:solidFill>
                  <a:schemeClr val="tx1">
                    <a:lumMod val="50000"/>
                    <a:lumOff val="50000"/>
                  </a:schemeClr>
                </a:solidFill>
              </a:defRPr>
            </a:lvl1pPr>
          </a:lstStyle>
          <a:p>
            <a:pPr lvl="0"/>
            <a:r>
              <a:rPr lang="en-US"/>
              <a:t>© Inter IKEA Systems B.V. 2020</a:t>
            </a:r>
            <a:endParaRPr lang="en-GB"/>
          </a:p>
        </p:txBody>
      </p:sp>
    </p:spTree>
    <p:extLst>
      <p:ext uri="{BB962C8B-B14F-4D97-AF65-F5344CB8AC3E}">
        <p14:creationId xmlns:p14="http://schemas.microsoft.com/office/powerpoint/2010/main" val="13544209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in two column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2A2A612F-B7D0-EE48-9553-5C46B1883978}"/>
              </a:ext>
            </a:extLst>
          </p:cNvPr>
          <p:cNvSpPr>
            <a:spLocks noGrp="1"/>
          </p:cNvSpPr>
          <p:nvPr>
            <p:ph type="body" sz="quarter" idx="18" hasCustomPrompt="1"/>
          </p:nvPr>
        </p:nvSpPr>
        <p:spPr>
          <a:xfrm>
            <a:off x="1674329" y="5129213"/>
            <a:ext cx="10080000" cy="6904512"/>
          </a:xfrm>
        </p:spPr>
        <p:txBody>
          <a:bodyPr>
            <a:noAutofit/>
          </a:bodyPr>
          <a:lstStyle>
            <a:lvl1pPr>
              <a:spcBef>
                <a:spcPts val="2000"/>
              </a:spcBef>
              <a:defRPr sz="3200"/>
            </a:lvl1pPr>
          </a:lstStyle>
          <a:p>
            <a:pPr lvl="0"/>
            <a:r>
              <a:rPr lang="en-GB" noProof="0"/>
              <a:t>Put the first column text here, keep it regular 32 </a:t>
            </a:r>
            <a:r>
              <a:rPr lang="en-GB" noProof="0" err="1"/>
              <a:t>pt</a:t>
            </a:r>
            <a:endParaRPr lang="en-GB" noProof="0"/>
          </a:p>
        </p:txBody>
      </p:sp>
      <p:sp>
        <p:nvSpPr>
          <p:cNvPr id="12" name="Title 1">
            <a:extLst>
              <a:ext uri="{FF2B5EF4-FFF2-40B4-BE49-F238E27FC236}">
                <a16:creationId xmlns:a16="http://schemas.microsoft.com/office/drawing/2014/main" id="{E0055953-7F4C-2747-BE6A-BA18649898F4}"/>
              </a:ext>
            </a:extLst>
          </p:cNvPr>
          <p:cNvSpPr>
            <a:spLocks noGrp="1"/>
          </p:cNvSpPr>
          <p:nvPr>
            <p:ph type="title" hasCustomPrompt="1"/>
          </p:nvPr>
        </p:nvSpPr>
        <p:spPr>
          <a:xfrm>
            <a:off x="1676293" y="1677600"/>
            <a:ext cx="21033007" cy="3011659"/>
          </a:xfrm>
        </p:spPr>
        <p:txBody>
          <a:bodyPr/>
          <a:lstStyle/>
          <a:p>
            <a:r>
              <a:rPr lang="en-GB"/>
              <a:t>Put the headline here,</a:t>
            </a:r>
            <a:br>
              <a:rPr lang="en-GB"/>
            </a:br>
            <a:r>
              <a:rPr lang="en-GB"/>
              <a:t>keep it bold 80 </a:t>
            </a:r>
            <a:r>
              <a:rPr lang="en-GB" err="1"/>
              <a:t>pt</a:t>
            </a:r>
            <a:endParaRPr lang="en-NL"/>
          </a:p>
        </p:txBody>
      </p:sp>
      <p:sp>
        <p:nvSpPr>
          <p:cNvPr id="14" name="Text Placeholder 3">
            <a:extLst>
              <a:ext uri="{FF2B5EF4-FFF2-40B4-BE49-F238E27FC236}">
                <a16:creationId xmlns:a16="http://schemas.microsoft.com/office/drawing/2014/main" id="{5F720E9C-2098-114A-B6BC-477F05727234}"/>
              </a:ext>
            </a:extLst>
          </p:cNvPr>
          <p:cNvSpPr>
            <a:spLocks noGrp="1"/>
          </p:cNvSpPr>
          <p:nvPr>
            <p:ph type="body" sz="quarter" idx="19" hasCustomPrompt="1"/>
          </p:nvPr>
        </p:nvSpPr>
        <p:spPr>
          <a:xfrm>
            <a:off x="12628084" y="5129213"/>
            <a:ext cx="10080000" cy="6904512"/>
          </a:xfrm>
        </p:spPr>
        <p:txBody>
          <a:bodyPr>
            <a:noAutofit/>
          </a:bodyPr>
          <a:lstStyle>
            <a:lvl1pPr>
              <a:spcBef>
                <a:spcPts val="2000"/>
              </a:spcBef>
              <a:defRPr sz="3200"/>
            </a:lvl1pPr>
          </a:lstStyle>
          <a:p>
            <a:pPr lvl="0"/>
            <a:r>
              <a:rPr lang="en-GB" noProof="0"/>
              <a:t>Put the second column text here, keep it regular 32 </a:t>
            </a:r>
            <a:r>
              <a:rPr lang="en-GB" noProof="0" err="1"/>
              <a:t>pt</a:t>
            </a:r>
            <a:endParaRPr lang="en-GB" noProof="0"/>
          </a:p>
        </p:txBody>
      </p:sp>
      <p:sp>
        <p:nvSpPr>
          <p:cNvPr id="4" name="Footer Placeholder 3">
            <a:extLst>
              <a:ext uri="{FF2B5EF4-FFF2-40B4-BE49-F238E27FC236}">
                <a16:creationId xmlns:a16="http://schemas.microsoft.com/office/drawing/2014/main" id="{30B91129-2FC5-334C-9789-17535DAF1987}"/>
              </a:ext>
            </a:extLst>
          </p:cNvPr>
          <p:cNvSpPr>
            <a:spLocks noGrp="1"/>
          </p:cNvSpPr>
          <p:nvPr>
            <p:ph type="ftr" sz="quarter" idx="20"/>
          </p:nvPr>
        </p:nvSpPr>
        <p:spPr/>
        <p:txBody>
          <a:bodyPr/>
          <a:lstStyle/>
          <a:p>
            <a:endParaRPr lang="en-NL"/>
          </a:p>
        </p:txBody>
      </p:sp>
      <p:sp>
        <p:nvSpPr>
          <p:cNvPr id="9" name="TextBox 8">
            <a:extLst>
              <a:ext uri="{FF2B5EF4-FFF2-40B4-BE49-F238E27FC236}">
                <a16:creationId xmlns:a16="http://schemas.microsoft.com/office/drawing/2014/main" id="{1215165C-F26D-3544-AAD2-A26EE1B743AA}"/>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421573934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Big statement on white background">
    <p:spTree>
      <p:nvGrpSpPr>
        <p:cNvPr id="1" name=""/>
        <p:cNvGrpSpPr/>
        <p:nvPr/>
      </p:nvGrpSpPr>
      <p:grpSpPr>
        <a:xfrm>
          <a:off x="0" y="0"/>
          <a:ext cx="0" cy="0"/>
          <a:chOff x="0" y="0"/>
          <a:chExt cx="0" cy="0"/>
        </a:xfrm>
      </p:grpSpPr>
      <p:sp>
        <p:nvSpPr>
          <p:cNvPr id="6" name="Title Placeholder 6">
            <a:extLst>
              <a:ext uri="{FF2B5EF4-FFF2-40B4-BE49-F238E27FC236}">
                <a16:creationId xmlns:a16="http://schemas.microsoft.com/office/drawing/2014/main" id="{42635088-B65D-C841-9E13-05D7E3443BD4}"/>
              </a:ext>
            </a:extLst>
          </p:cNvPr>
          <p:cNvSpPr>
            <a:spLocks noGrp="1"/>
          </p:cNvSpPr>
          <p:nvPr>
            <p:ph type="title" hasCustomPrompt="1"/>
          </p:nvPr>
        </p:nvSpPr>
        <p:spPr>
          <a:xfrm>
            <a:off x="1677491" y="1692003"/>
            <a:ext cx="21029831" cy="10330998"/>
          </a:xfrm>
          <a:prstGeom prst="rect">
            <a:avLst/>
          </a:prstGeom>
        </p:spPr>
        <p:txBody>
          <a:bodyPr vert="horz" lIns="91440" tIns="45720" rIns="91440" bIns="45720" rtlCol="0" anchor="ctr">
            <a:noAutofit/>
          </a:bodyPr>
          <a:lstStyle>
            <a:lvl1pPr>
              <a:defRPr baseline="0"/>
            </a:lvl1pPr>
          </a:lstStyle>
          <a:p>
            <a:r>
              <a:rPr lang="en-GB" noProof="0"/>
              <a:t>Put a statement here,</a:t>
            </a:r>
            <a:br>
              <a:rPr lang="en-GB" noProof="0"/>
            </a:br>
            <a:r>
              <a:rPr lang="en-GB" noProof="0"/>
              <a:t>keep it bold 60 </a:t>
            </a:r>
            <a:r>
              <a:rPr lang="en-GB" noProof="0" err="1"/>
              <a:t>pt</a:t>
            </a:r>
            <a:endParaRPr lang="en-GB" noProof="0"/>
          </a:p>
        </p:txBody>
      </p:sp>
    </p:spTree>
    <p:extLst>
      <p:ext uri="{BB962C8B-B14F-4D97-AF65-F5344CB8AC3E}">
        <p14:creationId xmlns:p14="http://schemas.microsoft.com/office/powerpoint/2010/main" val="424581430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Chapter name with number on colour background or image">
    <p:bg>
      <p:bgPr>
        <a:solidFill>
          <a:schemeClr val="bg1"/>
        </a:solidFill>
        <a:effectLst/>
      </p:bgPr>
    </p:bg>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85D87CF5-198A-D24A-8C46-75F45766C3CF}"/>
              </a:ext>
            </a:extLst>
          </p:cNvPr>
          <p:cNvSpPr>
            <a:spLocks noGrp="1"/>
          </p:cNvSpPr>
          <p:nvPr>
            <p:ph type="pic" sz="quarter" idx="14" hasCustomPrompt="1"/>
          </p:nvPr>
        </p:nvSpPr>
        <p:spPr>
          <a:xfrm>
            <a:off x="0" y="0"/>
            <a:ext cx="24382413" cy="13716000"/>
          </a:xfrm>
          <a:solidFill>
            <a:srgbClr val="E4E5E3"/>
          </a:solidFill>
        </p:spPr>
        <p:txBody>
          <a:bodyPr>
            <a:normAutofit/>
          </a:bodyPr>
          <a:lstStyle>
            <a:lvl1pPr marL="0" marR="0" indent="0" algn="l" defTabSz="182857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Select a colour for background. Or drag and drop to add a picture</a:t>
            </a:r>
          </a:p>
        </p:txBody>
      </p:sp>
      <p:sp>
        <p:nvSpPr>
          <p:cNvPr id="15" name="Text Placeholder 4">
            <a:extLst>
              <a:ext uri="{FF2B5EF4-FFF2-40B4-BE49-F238E27FC236}">
                <a16:creationId xmlns:a16="http://schemas.microsoft.com/office/drawing/2014/main" id="{D692063E-373D-9A4C-B3F2-4CED294F18A0}"/>
              </a:ext>
            </a:extLst>
          </p:cNvPr>
          <p:cNvSpPr>
            <a:spLocks noGrp="1"/>
          </p:cNvSpPr>
          <p:nvPr>
            <p:ph type="body" sz="quarter" idx="11" hasCustomPrompt="1"/>
          </p:nvPr>
        </p:nvSpPr>
        <p:spPr>
          <a:xfrm>
            <a:off x="481101" y="3905672"/>
            <a:ext cx="8076674" cy="5904656"/>
          </a:xfrm>
        </p:spPr>
        <p:txBody>
          <a:bodyPr anchor="ctr" anchorCtr="0">
            <a:noAutofit/>
          </a:bodyPr>
          <a:lstStyle>
            <a:lvl1pPr marL="0" indent="0" algn="ctr">
              <a:buNone/>
              <a:defRPr sz="49994" b="1" spc="-600" baseline="0">
                <a:ln>
                  <a:noFill/>
                </a:ln>
                <a:solidFill>
                  <a:schemeClr val="tx1"/>
                </a:solidFill>
              </a:defRPr>
            </a:lvl1pPr>
          </a:lstStyle>
          <a:p>
            <a:pPr lvl="0"/>
            <a:r>
              <a:rPr lang="en-GB" noProof="0"/>
              <a:t>#</a:t>
            </a:r>
          </a:p>
        </p:txBody>
      </p:sp>
      <p:sp>
        <p:nvSpPr>
          <p:cNvPr id="8" name="Subtitle 2">
            <a:extLst>
              <a:ext uri="{FF2B5EF4-FFF2-40B4-BE49-F238E27FC236}">
                <a16:creationId xmlns:a16="http://schemas.microsoft.com/office/drawing/2014/main" id="{03179F04-E3DD-714F-9E83-2F320F41AF4B}"/>
              </a:ext>
            </a:extLst>
          </p:cNvPr>
          <p:cNvSpPr>
            <a:spLocks noGrp="1"/>
          </p:cNvSpPr>
          <p:nvPr>
            <p:ph type="subTitle" idx="1" hasCustomPrompt="1"/>
          </p:nvPr>
        </p:nvSpPr>
        <p:spPr>
          <a:xfrm>
            <a:off x="8784128" y="3905672"/>
            <a:ext cx="14400663" cy="5904656"/>
          </a:xfrm>
        </p:spPr>
        <p:txBody>
          <a:bodyPr anchor="ctr" anchorCtr="0">
            <a:noAutofit/>
          </a:bodyPr>
          <a:lstStyle>
            <a:lvl1pPr marL="0" indent="0" algn="l">
              <a:lnSpc>
                <a:spcPct val="100000"/>
              </a:lnSpc>
              <a:buNone/>
              <a:defRPr sz="11999" b="1" spc="-200" baseline="0">
                <a:latin typeface="Noto IKEA Latin" panose="020B0502040504020204" pitchFamily="34" charset="0"/>
              </a:defRPr>
            </a:lvl1pPr>
            <a:lvl2pPr marL="914286" indent="0" algn="ctr">
              <a:buNone/>
              <a:defRPr sz="4000"/>
            </a:lvl2pPr>
            <a:lvl3pPr marL="1828573" indent="0" algn="ctr">
              <a:buNone/>
              <a:defRPr sz="3600"/>
            </a:lvl3pPr>
            <a:lvl4pPr marL="2742859" indent="0" algn="ctr">
              <a:buNone/>
              <a:defRPr sz="3200"/>
            </a:lvl4pPr>
            <a:lvl5pPr marL="3657143" indent="0" algn="ctr">
              <a:buNone/>
              <a:defRPr sz="3200"/>
            </a:lvl5pPr>
            <a:lvl6pPr marL="4571429" indent="0" algn="ctr">
              <a:buNone/>
              <a:defRPr sz="3200"/>
            </a:lvl6pPr>
            <a:lvl7pPr marL="5485714" indent="0" algn="ctr">
              <a:buNone/>
              <a:defRPr sz="3200"/>
            </a:lvl7pPr>
            <a:lvl8pPr marL="6400000" indent="0" algn="ctr">
              <a:buNone/>
              <a:defRPr sz="3200"/>
            </a:lvl8pPr>
            <a:lvl9pPr marL="7314286" indent="0" algn="ctr">
              <a:buNone/>
              <a:defRPr sz="3200"/>
            </a:lvl9pPr>
          </a:lstStyle>
          <a:p>
            <a:r>
              <a:rPr lang="en-GB" noProof="0"/>
              <a:t>Put the chapter headline here, </a:t>
            </a:r>
            <a:br>
              <a:rPr lang="en-GB" noProof="0"/>
            </a:br>
            <a:r>
              <a:rPr lang="en-GB" noProof="0"/>
              <a:t>keep it bold 60 pt</a:t>
            </a:r>
          </a:p>
        </p:txBody>
      </p:sp>
      <p:sp>
        <p:nvSpPr>
          <p:cNvPr id="9" name="Text Placeholder 3">
            <a:extLst>
              <a:ext uri="{FF2B5EF4-FFF2-40B4-BE49-F238E27FC236}">
                <a16:creationId xmlns:a16="http://schemas.microsoft.com/office/drawing/2014/main" id="{F8BD17D0-4B46-D44C-A53F-CFC6399AEEEB}"/>
              </a:ext>
            </a:extLst>
          </p:cNvPr>
          <p:cNvSpPr>
            <a:spLocks noGrp="1"/>
          </p:cNvSpPr>
          <p:nvPr>
            <p:ph type="body" sz="quarter" idx="18" hasCustomPrompt="1"/>
          </p:nvPr>
        </p:nvSpPr>
        <p:spPr>
          <a:xfrm rot="5400000">
            <a:off x="20902621" y="2898380"/>
            <a:ext cx="5759746" cy="719337"/>
          </a:xfrm>
        </p:spPr>
        <p:txBody>
          <a:bodyPr anchor="ctr"/>
          <a:lstStyle>
            <a:lvl1pPr>
              <a:defRPr sz="1600">
                <a:solidFill>
                  <a:schemeClr val="tx1">
                    <a:lumMod val="50000"/>
                    <a:lumOff val="50000"/>
                  </a:schemeClr>
                </a:solidFill>
              </a:defRPr>
            </a:lvl1pPr>
          </a:lstStyle>
          <a:p>
            <a:pPr lvl="0"/>
            <a:r>
              <a:rPr lang="en-US"/>
              <a:t>© Inter IKEA Systems B.V. 2022</a:t>
            </a:r>
            <a:endParaRPr lang="en-GB"/>
          </a:p>
        </p:txBody>
      </p:sp>
    </p:spTree>
    <p:extLst>
      <p:ext uri="{BB962C8B-B14F-4D97-AF65-F5344CB8AC3E}">
        <p14:creationId xmlns:p14="http://schemas.microsoft.com/office/powerpoint/2010/main" val="407021333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Chapter name with number on texture or image">
    <p:bg>
      <p:bgPr>
        <a:solidFill>
          <a:schemeClr val="bg1"/>
        </a:solidFill>
        <a:effectLst/>
      </p:bgPr>
    </p:bg>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C2E2C76C-B512-4744-83A7-60E61AA545D5}"/>
              </a:ext>
            </a:extLst>
          </p:cNvPr>
          <p:cNvSpPr>
            <a:spLocks noGrp="1"/>
          </p:cNvSpPr>
          <p:nvPr>
            <p:ph type="pic" sz="quarter" idx="14" hasCustomPrompt="1"/>
          </p:nvPr>
        </p:nvSpPr>
        <p:spPr>
          <a:xfrm>
            <a:off x="0" y="0"/>
            <a:ext cx="24382413" cy="13716000"/>
          </a:xfrm>
          <a:solidFill>
            <a:srgbClr val="E4E5E3"/>
          </a:solidFill>
        </p:spPr>
        <p:txBody>
          <a:bodyPr>
            <a:normAutofit/>
          </a:bodyPr>
          <a:lstStyle>
            <a:lvl1pPr marL="0" marR="0" indent="0" algn="l" defTabSz="182857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Select a colour for background. Or drag and drop to add a picture</a:t>
            </a:r>
          </a:p>
        </p:txBody>
      </p:sp>
      <p:sp>
        <p:nvSpPr>
          <p:cNvPr id="5" name="Picture Placeholder 4">
            <a:extLst>
              <a:ext uri="{FF2B5EF4-FFF2-40B4-BE49-F238E27FC236}">
                <a16:creationId xmlns:a16="http://schemas.microsoft.com/office/drawing/2014/main" id="{FB1122C6-C8D2-B547-ADCC-E7F92107FD3B}"/>
              </a:ext>
            </a:extLst>
          </p:cNvPr>
          <p:cNvSpPr>
            <a:spLocks noGrp="1"/>
          </p:cNvSpPr>
          <p:nvPr>
            <p:ph type="pic" sz="quarter" idx="18" hasCustomPrompt="1"/>
          </p:nvPr>
        </p:nvSpPr>
        <p:spPr>
          <a:xfrm>
            <a:off x="1677882" y="3649662"/>
            <a:ext cx="21026657" cy="6416676"/>
          </a:xfrm>
          <a:solidFill>
            <a:schemeClr val="bg1"/>
          </a:solidFill>
        </p:spPr>
        <p:txBody>
          <a:bodyPr/>
          <a:lstStyle/>
          <a:p>
            <a:r>
              <a:rPr lang="en-GB" noProof="0"/>
              <a:t> </a:t>
            </a:r>
          </a:p>
        </p:txBody>
      </p:sp>
      <p:sp>
        <p:nvSpPr>
          <p:cNvPr id="8" name="Subtitle 2">
            <a:extLst>
              <a:ext uri="{FF2B5EF4-FFF2-40B4-BE49-F238E27FC236}">
                <a16:creationId xmlns:a16="http://schemas.microsoft.com/office/drawing/2014/main" id="{03179F04-E3DD-714F-9E83-2F320F41AF4B}"/>
              </a:ext>
            </a:extLst>
          </p:cNvPr>
          <p:cNvSpPr>
            <a:spLocks noGrp="1"/>
          </p:cNvSpPr>
          <p:nvPr>
            <p:ph type="subTitle" idx="1" hasCustomPrompt="1"/>
          </p:nvPr>
        </p:nvSpPr>
        <p:spPr>
          <a:xfrm>
            <a:off x="6718955" y="5069837"/>
            <a:ext cx="15408709" cy="3604518"/>
          </a:xfrm>
        </p:spPr>
        <p:txBody>
          <a:bodyPr anchor="ctr">
            <a:noAutofit/>
          </a:bodyPr>
          <a:lstStyle>
            <a:lvl1pPr marL="0" indent="0" algn="l">
              <a:lnSpc>
                <a:spcPct val="100000"/>
              </a:lnSpc>
              <a:buNone/>
              <a:defRPr sz="11999" b="1" spc="-200" baseline="0">
                <a:latin typeface="Noto IKEA Latin" panose="020B0502040504020204" pitchFamily="34" charset="0"/>
              </a:defRPr>
            </a:lvl1pPr>
            <a:lvl2pPr marL="914286" indent="0" algn="ctr">
              <a:buNone/>
              <a:defRPr sz="4000"/>
            </a:lvl2pPr>
            <a:lvl3pPr marL="1828573" indent="0" algn="ctr">
              <a:buNone/>
              <a:defRPr sz="3600"/>
            </a:lvl3pPr>
            <a:lvl4pPr marL="2742859" indent="0" algn="ctr">
              <a:buNone/>
              <a:defRPr sz="3200"/>
            </a:lvl4pPr>
            <a:lvl5pPr marL="3657143" indent="0" algn="ctr">
              <a:buNone/>
              <a:defRPr sz="3200"/>
            </a:lvl5pPr>
            <a:lvl6pPr marL="4571429" indent="0" algn="ctr">
              <a:buNone/>
              <a:defRPr sz="3200"/>
            </a:lvl6pPr>
            <a:lvl7pPr marL="5485714" indent="0" algn="ctr">
              <a:buNone/>
              <a:defRPr sz="3200"/>
            </a:lvl7pPr>
            <a:lvl8pPr marL="6400000" indent="0" algn="ctr">
              <a:buNone/>
              <a:defRPr sz="3200"/>
            </a:lvl8pPr>
            <a:lvl9pPr marL="7314286" indent="0" algn="ctr">
              <a:buNone/>
              <a:defRPr sz="3200"/>
            </a:lvl9pPr>
          </a:lstStyle>
          <a:p>
            <a:r>
              <a:rPr lang="en-GB" noProof="0"/>
              <a:t>Put the chapter headline here</a:t>
            </a:r>
          </a:p>
        </p:txBody>
      </p:sp>
      <p:sp>
        <p:nvSpPr>
          <p:cNvPr id="11" name="Text Placeholder 4">
            <a:extLst>
              <a:ext uri="{FF2B5EF4-FFF2-40B4-BE49-F238E27FC236}">
                <a16:creationId xmlns:a16="http://schemas.microsoft.com/office/drawing/2014/main" id="{E6CA9D82-2C12-3A47-9717-927FD5070851}"/>
              </a:ext>
            </a:extLst>
          </p:cNvPr>
          <p:cNvSpPr>
            <a:spLocks noGrp="1"/>
          </p:cNvSpPr>
          <p:nvPr>
            <p:ph type="body" sz="quarter" idx="11" hasCustomPrompt="1"/>
          </p:nvPr>
        </p:nvSpPr>
        <p:spPr>
          <a:xfrm>
            <a:off x="1700165" y="5069837"/>
            <a:ext cx="4874783" cy="3604518"/>
          </a:xfrm>
        </p:spPr>
        <p:txBody>
          <a:bodyPr anchor="ctr">
            <a:noAutofit/>
          </a:bodyPr>
          <a:lstStyle>
            <a:lvl1pPr marL="0" indent="0" algn="ctr">
              <a:lnSpc>
                <a:spcPct val="100000"/>
              </a:lnSpc>
              <a:buNone/>
              <a:defRPr sz="29999" b="1" spc="-600" baseline="0">
                <a:ln>
                  <a:noFill/>
                </a:ln>
                <a:solidFill>
                  <a:schemeClr val="tx1"/>
                </a:solidFill>
              </a:defRPr>
            </a:lvl1pPr>
          </a:lstStyle>
          <a:p>
            <a:pPr lvl="0"/>
            <a:r>
              <a:rPr lang="en-GB" noProof="0"/>
              <a:t>#</a:t>
            </a:r>
          </a:p>
        </p:txBody>
      </p:sp>
      <p:sp>
        <p:nvSpPr>
          <p:cNvPr id="9" name="Text Placeholder 3">
            <a:extLst>
              <a:ext uri="{FF2B5EF4-FFF2-40B4-BE49-F238E27FC236}">
                <a16:creationId xmlns:a16="http://schemas.microsoft.com/office/drawing/2014/main" id="{CDB35E14-306E-CC47-BA9B-1EED6583B986}"/>
              </a:ext>
            </a:extLst>
          </p:cNvPr>
          <p:cNvSpPr>
            <a:spLocks noGrp="1"/>
          </p:cNvSpPr>
          <p:nvPr>
            <p:ph type="body" sz="quarter" idx="19" hasCustomPrompt="1"/>
          </p:nvPr>
        </p:nvSpPr>
        <p:spPr>
          <a:xfrm rot="5400000">
            <a:off x="20902621" y="2898380"/>
            <a:ext cx="5759746" cy="719337"/>
          </a:xfrm>
        </p:spPr>
        <p:txBody>
          <a:bodyPr anchor="ctr"/>
          <a:lstStyle>
            <a:lvl1pPr>
              <a:defRPr sz="1600">
                <a:solidFill>
                  <a:schemeClr val="tx1">
                    <a:lumMod val="50000"/>
                    <a:lumOff val="50000"/>
                  </a:schemeClr>
                </a:solidFill>
              </a:defRPr>
            </a:lvl1pPr>
          </a:lstStyle>
          <a:p>
            <a:pPr lvl="0"/>
            <a:r>
              <a:rPr lang="en-US"/>
              <a:t>© Inter IKEA Systems B.V. 2022</a:t>
            </a:r>
            <a:endParaRPr lang="en-GB"/>
          </a:p>
        </p:txBody>
      </p:sp>
    </p:spTree>
    <p:extLst>
      <p:ext uri="{BB962C8B-B14F-4D97-AF65-F5344CB8AC3E}">
        <p14:creationId xmlns:p14="http://schemas.microsoft.com/office/powerpoint/2010/main" val="328853611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Text and image on the right">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12191206" y="0"/>
            <a:ext cx="12191207" cy="13716000"/>
          </a:xfrm>
          <a:solidFill>
            <a:srgbClr val="E4E5E3"/>
          </a:solidFill>
        </p:spPr>
        <p:txBody>
          <a:bodyPr>
            <a:normAutofit/>
          </a:bodyPr>
          <a:lstStyle>
            <a:lvl1pPr marL="0" marR="0" indent="0" algn="l" defTabSz="182857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Drag and drop or click the icon to add a picture</a:t>
            </a:r>
          </a:p>
        </p:txBody>
      </p:sp>
      <p:sp>
        <p:nvSpPr>
          <p:cNvPr id="11" name="Title 1">
            <a:extLst>
              <a:ext uri="{FF2B5EF4-FFF2-40B4-BE49-F238E27FC236}">
                <a16:creationId xmlns:a16="http://schemas.microsoft.com/office/drawing/2014/main" id="{28621A64-7B8E-B242-859E-D8C6D673E4E6}"/>
              </a:ext>
            </a:extLst>
          </p:cNvPr>
          <p:cNvSpPr>
            <a:spLocks noGrp="1"/>
          </p:cNvSpPr>
          <p:nvPr>
            <p:ph type="title" hasCustomPrompt="1"/>
          </p:nvPr>
        </p:nvSpPr>
        <p:spPr>
          <a:xfrm>
            <a:off x="1674330" y="1677603"/>
            <a:ext cx="9650878" cy="3457574"/>
          </a:xfrm>
          <a:prstGeom prst="rect">
            <a:avLst/>
          </a:prstGeom>
        </p:spPr>
        <p:txBody>
          <a:bodyPr/>
          <a:lstStyle>
            <a:lvl1pPr>
              <a:lnSpc>
                <a:spcPct val="100000"/>
              </a:lnSpc>
              <a:defRPr sz="7200" baseline="0"/>
            </a:lvl1pPr>
          </a:lstStyle>
          <a:p>
            <a:r>
              <a:rPr lang="en-GB" noProof="0"/>
              <a:t>Put the slide headline here, </a:t>
            </a:r>
            <a:br>
              <a:rPr lang="en-GB" noProof="0"/>
            </a:br>
            <a:r>
              <a:rPr lang="en-GB" noProof="0"/>
              <a:t>keep it bold 36 pt</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1674329" y="5696429"/>
            <a:ext cx="9650876" cy="6337298"/>
          </a:xfrm>
        </p:spPr>
        <p:txBody>
          <a:bodyPr>
            <a:noAutofit/>
          </a:bodyPr>
          <a:lstStyle>
            <a:lvl1pPr>
              <a:spcBef>
                <a:spcPts val="2000"/>
              </a:spcBef>
              <a:defRPr sz="2800"/>
            </a:lvl1pPr>
          </a:lstStyle>
          <a:p>
            <a:pPr lvl="0"/>
            <a:r>
              <a:rPr lang="en-GB" noProof="0"/>
              <a:t>Put the body text or caption here,</a:t>
            </a:r>
            <a:br>
              <a:rPr lang="en-GB" noProof="0"/>
            </a:br>
            <a:r>
              <a:rPr lang="en-GB" noProof="0"/>
              <a:t>keep it regular 14 pt</a:t>
            </a:r>
          </a:p>
        </p:txBody>
      </p:sp>
      <p:sp>
        <p:nvSpPr>
          <p:cNvPr id="8" name="Text Placeholder 3">
            <a:extLst>
              <a:ext uri="{FF2B5EF4-FFF2-40B4-BE49-F238E27FC236}">
                <a16:creationId xmlns:a16="http://schemas.microsoft.com/office/drawing/2014/main" id="{0136A015-09C4-2341-87D2-A48EA3C6C85F}"/>
              </a:ext>
            </a:extLst>
          </p:cNvPr>
          <p:cNvSpPr>
            <a:spLocks noGrp="1"/>
          </p:cNvSpPr>
          <p:nvPr>
            <p:ph type="body" sz="quarter" idx="20" hasCustomPrompt="1"/>
          </p:nvPr>
        </p:nvSpPr>
        <p:spPr>
          <a:xfrm rot="5400000">
            <a:off x="20902621" y="2898380"/>
            <a:ext cx="5759746" cy="719337"/>
          </a:xfrm>
        </p:spPr>
        <p:txBody>
          <a:bodyPr anchor="ctr"/>
          <a:lstStyle>
            <a:lvl1pPr>
              <a:defRPr sz="1600">
                <a:solidFill>
                  <a:schemeClr val="tx1">
                    <a:lumMod val="50000"/>
                    <a:lumOff val="50000"/>
                  </a:schemeClr>
                </a:solidFill>
              </a:defRPr>
            </a:lvl1pPr>
          </a:lstStyle>
          <a:p>
            <a:pPr lvl="0"/>
            <a:r>
              <a:rPr lang="en-US"/>
              <a:t>© Inter IKEA Systems B.V. 2022</a:t>
            </a:r>
            <a:endParaRPr lang="en-GB"/>
          </a:p>
        </p:txBody>
      </p:sp>
    </p:spTree>
    <p:extLst>
      <p:ext uri="{BB962C8B-B14F-4D97-AF65-F5344CB8AC3E}">
        <p14:creationId xmlns:p14="http://schemas.microsoft.com/office/powerpoint/2010/main" val="139097863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Text and image on the left">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5D527F14-48A9-BB4D-8ABB-D25C9E004E4D}"/>
              </a:ext>
            </a:extLst>
          </p:cNvPr>
          <p:cNvSpPr>
            <a:spLocks noGrp="1"/>
          </p:cNvSpPr>
          <p:nvPr>
            <p:ph type="pic" sz="quarter" idx="15" hasCustomPrompt="1"/>
          </p:nvPr>
        </p:nvSpPr>
        <p:spPr>
          <a:xfrm>
            <a:off x="0" y="0"/>
            <a:ext cx="12123563" cy="13716000"/>
          </a:xfrm>
          <a:solidFill>
            <a:srgbClr val="E4E5E3"/>
          </a:solidFill>
        </p:spPr>
        <p:txBody>
          <a:bodyPr>
            <a:normAutofit/>
          </a:bodyPr>
          <a:lstStyle>
            <a:lvl1pPr marL="0" marR="0" indent="0" algn="l" defTabSz="182857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Drag and drop or click the icon to add a picture</a:t>
            </a:r>
          </a:p>
        </p:txBody>
      </p:sp>
      <p:sp>
        <p:nvSpPr>
          <p:cNvPr id="11" name="Title 1">
            <a:extLst>
              <a:ext uri="{FF2B5EF4-FFF2-40B4-BE49-F238E27FC236}">
                <a16:creationId xmlns:a16="http://schemas.microsoft.com/office/drawing/2014/main" id="{126F91B4-0CEF-044B-8873-D93BD278142D}"/>
              </a:ext>
            </a:extLst>
          </p:cNvPr>
          <p:cNvSpPr>
            <a:spLocks noGrp="1"/>
          </p:cNvSpPr>
          <p:nvPr>
            <p:ph type="title" hasCustomPrompt="1"/>
          </p:nvPr>
        </p:nvSpPr>
        <p:spPr>
          <a:xfrm>
            <a:off x="13353296" y="1677603"/>
            <a:ext cx="9648914" cy="3457574"/>
          </a:xfrm>
          <a:prstGeom prst="rect">
            <a:avLst/>
          </a:prstGeom>
        </p:spPr>
        <p:txBody>
          <a:bodyPr/>
          <a:lstStyle>
            <a:lvl1pPr>
              <a:lnSpc>
                <a:spcPct val="100000"/>
              </a:lnSpc>
              <a:defRPr sz="7200"/>
            </a:lvl1pPr>
          </a:lstStyle>
          <a:p>
            <a:r>
              <a:rPr lang="en-GB" noProof="0"/>
              <a:t>Put the slide headline here, </a:t>
            </a:r>
            <a:br>
              <a:rPr lang="en-GB" noProof="0"/>
            </a:br>
            <a:r>
              <a:rPr lang="en-GB" noProof="0"/>
              <a:t>keep it bold 36 pt</a:t>
            </a:r>
          </a:p>
        </p:txBody>
      </p:sp>
      <p:sp>
        <p:nvSpPr>
          <p:cNvPr id="8" name="Text Placeholder 3">
            <a:extLst>
              <a:ext uri="{FF2B5EF4-FFF2-40B4-BE49-F238E27FC236}">
                <a16:creationId xmlns:a16="http://schemas.microsoft.com/office/drawing/2014/main" id="{B49D2ED4-85B6-784A-A881-461D6437618F}"/>
              </a:ext>
            </a:extLst>
          </p:cNvPr>
          <p:cNvSpPr>
            <a:spLocks noGrp="1"/>
          </p:cNvSpPr>
          <p:nvPr>
            <p:ph type="body" sz="quarter" idx="18" hasCustomPrompt="1"/>
          </p:nvPr>
        </p:nvSpPr>
        <p:spPr>
          <a:xfrm>
            <a:off x="13298740" y="5696429"/>
            <a:ext cx="9650876" cy="6337298"/>
          </a:xfrm>
        </p:spPr>
        <p:txBody>
          <a:bodyPr>
            <a:noAutofit/>
          </a:bodyPr>
          <a:lstStyle>
            <a:lvl1pPr>
              <a:spcBef>
                <a:spcPts val="2000"/>
              </a:spcBef>
              <a:defRPr sz="2800"/>
            </a:lvl1pPr>
          </a:lstStyle>
          <a:p>
            <a:pPr lvl="0"/>
            <a:r>
              <a:rPr lang="en-GB" noProof="0"/>
              <a:t>Put the body text or caption here,</a:t>
            </a:r>
            <a:br>
              <a:rPr lang="en-GB" noProof="0"/>
            </a:br>
            <a:r>
              <a:rPr lang="en-GB" noProof="0"/>
              <a:t>keep it regular 14 pt</a:t>
            </a:r>
          </a:p>
        </p:txBody>
      </p:sp>
    </p:spTree>
    <p:extLst>
      <p:ext uri="{BB962C8B-B14F-4D97-AF65-F5344CB8AC3E}">
        <p14:creationId xmlns:p14="http://schemas.microsoft.com/office/powerpoint/2010/main" val="370580173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Quote on imag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1600D40-C419-DE4F-928F-E01FB6D4191F}"/>
              </a:ext>
            </a:extLst>
          </p:cNvPr>
          <p:cNvSpPr>
            <a:spLocks noGrp="1"/>
          </p:cNvSpPr>
          <p:nvPr>
            <p:ph type="pic" sz="quarter" idx="14" hasCustomPrompt="1"/>
          </p:nvPr>
        </p:nvSpPr>
        <p:spPr>
          <a:xfrm>
            <a:off x="0" y="-7514"/>
            <a:ext cx="24382413" cy="13716000"/>
          </a:xfrm>
          <a:solidFill>
            <a:srgbClr val="E4E5E3"/>
          </a:solidFill>
        </p:spPr>
        <p:txBody>
          <a:bodyPr>
            <a:normAutofit/>
          </a:bodyPr>
          <a:lstStyle>
            <a:lvl1pPr>
              <a:defRPr sz="2800">
                <a:solidFill>
                  <a:schemeClr val="bg1">
                    <a:lumMod val="50000"/>
                  </a:schemeClr>
                </a:solidFill>
              </a:defRPr>
            </a:lvl1pPr>
          </a:lstStyle>
          <a:p>
            <a:r>
              <a:rPr lang="en-US"/>
              <a:t>Drag and drop or click the icon to add a picture</a:t>
            </a:r>
          </a:p>
        </p:txBody>
      </p:sp>
      <p:sp>
        <p:nvSpPr>
          <p:cNvPr id="4" name="Text Placeholder 3">
            <a:extLst>
              <a:ext uri="{FF2B5EF4-FFF2-40B4-BE49-F238E27FC236}">
                <a16:creationId xmlns:a16="http://schemas.microsoft.com/office/drawing/2014/main" id="{BB8E265F-FE98-834A-BB93-0F7C365B8C12}"/>
              </a:ext>
            </a:extLst>
          </p:cNvPr>
          <p:cNvSpPr>
            <a:spLocks noGrp="1"/>
          </p:cNvSpPr>
          <p:nvPr>
            <p:ph type="body" sz="half" idx="2" hasCustomPrompt="1"/>
          </p:nvPr>
        </p:nvSpPr>
        <p:spPr>
          <a:xfrm>
            <a:off x="13631278" y="3185595"/>
            <a:ext cx="9202503" cy="7344818"/>
          </a:xfrm>
          <a:solidFill>
            <a:schemeClr val="bg1"/>
          </a:solidFill>
        </p:spPr>
        <p:txBody>
          <a:bodyPr lIns="360000" tIns="46800" rIns="360000" bIns="46800" anchor="ctr">
            <a:noAutofit/>
          </a:bodyPr>
          <a:lstStyle>
            <a:lvl1pPr marL="0" indent="0">
              <a:lnSpc>
                <a:spcPct val="100000"/>
              </a:lnSpc>
              <a:spcBef>
                <a:spcPts val="0"/>
              </a:spcBef>
              <a:buNone/>
              <a:defRPr sz="4800" b="0" i="0">
                <a:solidFill>
                  <a:schemeClr val="tx1"/>
                </a:solidFill>
              </a:defRPr>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US"/>
              <a:t>“Put the quote here. Put the quote here. Put the quote here. Put the quote here. Put the quote here.”</a:t>
            </a:r>
          </a:p>
        </p:txBody>
      </p:sp>
      <p:sp>
        <p:nvSpPr>
          <p:cNvPr id="9" name="Text Placeholder 3">
            <a:extLst>
              <a:ext uri="{FF2B5EF4-FFF2-40B4-BE49-F238E27FC236}">
                <a16:creationId xmlns:a16="http://schemas.microsoft.com/office/drawing/2014/main" id="{52163A22-09CB-E440-8750-18D411BC5D92}"/>
              </a:ext>
            </a:extLst>
          </p:cNvPr>
          <p:cNvSpPr>
            <a:spLocks noGrp="1"/>
          </p:cNvSpPr>
          <p:nvPr>
            <p:ph type="body" sz="quarter" idx="18" hasCustomPrompt="1"/>
          </p:nvPr>
        </p:nvSpPr>
        <p:spPr>
          <a:xfrm rot="5400000">
            <a:off x="20902621" y="2898380"/>
            <a:ext cx="5759746" cy="719337"/>
          </a:xfrm>
        </p:spPr>
        <p:txBody>
          <a:bodyPr anchor="ctr"/>
          <a:lstStyle>
            <a:lvl1pPr>
              <a:defRPr sz="1600">
                <a:solidFill>
                  <a:schemeClr val="tx1">
                    <a:lumMod val="50000"/>
                    <a:lumOff val="50000"/>
                  </a:schemeClr>
                </a:solidFill>
              </a:defRPr>
            </a:lvl1pPr>
          </a:lstStyle>
          <a:p>
            <a:pPr lvl="0"/>
            <a:r>
              <a:rPr lang="en-US"/>
              <a:t>© Inter IKEA Systems B.V. 2022</a:t>
            </a:r>
            <a:endParaRPr lang="en-GB"/>
          </a:p>
        </p:txBody>
      </p:sp>
    </p:spTree>
    <p:extLst>
      <p:ext uri="{BB962C8B-B14F-4D97-AF65-F5344CB8AC3E}">
        <p14:creationId xmlns:p14="http://schemas.microsoft.com/office/powerpoint/2010/main" val="394481652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Big statement on colour background, texture or image">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0" y="0"/>
            <a:ext cx="24382413" cy="13716000"/>
          </a:xfrm>
          <a:solidFill>
            <a:srgbClr val="E4E5E3"/>
          </a:solidFill>
        </p:spPr>
        <p:txBody>
          <a:bodyPr>
            <a:normAutofit/>
          </a:bodyPr>
          <a:lstStyle>
            <a:lvl1pPr marL="0" marR="0" indent="0" algn="l" defTabSz="182857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Select a colour for background. Or drag and drop to add a picture</a:t>
            </a:r>
          </a:p>
        </p:txBody>
      </p:sp>
      <p:sp>
        <p:nvSpPr>
          <p:cNvPr id="10" name="Title Placeholder 6">
            <a:extLst>
              <a:ext uri="{FF2B5EF4-FFF2-40B4-BE49-F238E27FC236}">
                <a16:creationId xmlns:a16="http://schemas.microsoft.com/office/drawing/2014/main" id="{048B0FEC-E6E9-1B42-9F79-233E0858B4AD}"/>
              </a:ext>
            </a:extLst>
          </p:cNvPr>
          <p:cNvSpPr>
            <a:spLocks noGrp="1"/>
          </p:cNvSpPr>
          <p:nvPr>
            <p:ph type="title" hasCustomPrompt="1"/>
          </p:nvPr>
        </p:nvSpPr>
        <p:spPr>
          <a:xfrm>
            <a:off x="1679467" y="1692505"/>
            <a:ext cx="21029831" cy="10330998"/>
          </a:xfrm>
          <a:prstGeom prst="rect">
            <a:avLst/>
          </a:prstGeom>
        </p:spPr>
        <p:txBody>
          <a:bodyPr vert="horz" lIns="91440" tIns="45720" rIns="91440" bIns="45720" rtlCol="0" anchor="ctr">
            <a:noAutofit/>
          </a:bodyPr>
          <a:lstStyle>
            <a:lvl1pPr>
              <a:defRPr/>
            </a:lvl1pPr>
          </a:lstStyle>
          <a:p>
            <a:r>
              <a:rPr lang="en-GB" noProof="0"/>
              <a:t>Put a statement here,</a:t>
            </a:r>
            <a:br>
              <a:rPr lang="en-GB" noProof="0"/>
            </a:br>
            <a:r>
              <a:rPr lang="en-GB" noProof="0"/>
              <a:t>keep it bold 60 </a:t>
            </a:r>
            <a:r>
              <a:rPr lang="en-GB" noProof="0" err="1"/>
              <a:t>pt</a:t>
            </a:r>
            <a:endParaRPr lang="en-GB" noProof="0"/>
          </a:p>
        </p:txBody>
      </p:sp>
      <p:sp>
        <p:nvSpPr>
          <p:cNvPr id="7" name="Text Placeholder 3">
            <a:extLst>
              <a:ext uri="{FF2B5EF4-FFF2-40B4-BE49-F238E27FC236}">
                <a16:creationId xmlns:a16="http://schemas.microsoft.com/office/drawing/2014/main" id="{E7B9ED26-2920-4043-83C2-B0926B2E20C6}"/>
              </a:ext>
            </a:extLst>
          </p:cNvPr>
          <p:cNvSpPr>
            <a:spLocks noGrp="1"/>
          </p:cNvSpPr>
          <p:nvPr>
            <p:ph type="body" sz="quarter" idx="18" hasCustomPrompt="1"/>
          </p:nvPr>
        </p:nvSpPr>
        <p:spPr>
          <a:xfrm rot="5400000">
            <a:off x="20902621" y="2898380"/>
            <a:ext cx="5759746" cy="719337"/>
          </a:xfrm>
        </p:spPr>
        <p:txBody>
          <a:bodyPr anchor="ctr"/>
          <a:lstStyle>
            <a:lvl1pPr>
              <a:defRPr sz="1600">
                <a:solidFill>
                  <a:schemeClr val="tx1">
                    <a:lumMod val="50000"/>
                    <a:lumOff val="50000"/>
                  </a:schemeClr>
                </a:solidFill>
              </a:defRPr>
            </a:lvl1pPr>
          </a:lstStyle>
          <a:p>
            <a:pPr lvl="0"/>
            <a:r>
              <a:rPr lang="en-US"/>
              <a:t>© Inter IKEA Systems B.V. 2022</a:t>
            </a:r>
            <a:endParaRPr lang="en-GB"/>
          </a:p>
        </p:txBody>
      </p:sp>
    </p:spTree>
    <p:extLst>
      <p:ext uri="{BB962C8B-B14F-4D97-AF65-F5344CB8AC3E}">
        <p14:creationId xmlns:p14="http://schemas.microsoft.com/office/powerpoint/2010/main" val="266681695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Bullet points in three columns">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00941136-4B4C-4145-A979-62087D971861}"/>
              </a:ext>
            </a:extLst>
          </p:cNvPr>
          <p:cNvSpPr>
            <a:spLocks noGrp="1"/>
          </p:cNvSpPr>
          <p:nvPr>
            <p:ph type="title" hasCustomPrompt="1"/>
          </p:nvPr>
        </p:nvSpPr>
        <p:spPr>
          <a:xfrm>
            <a:off x="1676293" y="1677603"/>
            <a:ext cx="21033007" cy="3457574"/>
          </a:xfrm>
          <a:prstGeom prst="rect">
            <a:avLst/>
          </a:prstGeom>
        </p:spPr>
        <p:txBody>
          <a:bodyPr/>
          <a:lstStyle>
            <a:lvl1pPr>
              <a:lnSpc>
                <a:spcPct val="100000"/>
              </a:lnSpc>
              <a:defRPr sz="7200"/>
            </a:lvl1pPr>
          </a:lstStyle>
          <a:p>
            <a:r>
              <a:rPr lang="en-GB" noProof="0"/>
              <a:t>Put the slide headline here, </a:t>
            </a:r>
            <a:br>
              <a:rPr lang="en-GB" noProof="0"/>
            </a:br>
            <a:r>
              <a:rPr lang="en-GB" noProof="0"/>
              <a:t>keep it bold 36 pt</a:t>
            </a:r>
          </a:p>
        </p:txBody>
      </p:sp>
      <p:sp>
        <p:nvSpPr>
          <p:cNvPr id="8" name="Text Placeholder 3">
            <a:extLst>
              <a:ext uri="{FF2B5EF4-FFF2-40B4-BE49-F238E27FC236}">
                <a16:creationId xmlns:a16="http://schemas.microsoft.com/office/drawing/2014/main" id="{CB00048D-5466-AD48-828A-D48CFE43B8E5}"/>
              </a:ext>
            </a:extLst>
          </p:cNvPr>
          <p:cNvSpPr>
            <a:spLocks noGrp="1"/>
          </p:cNvSpPr>
          <p:nvPr>
            <p:ph type="body" sz="quarter" idx="18" hasCustomPrompt="1"/>
          </p:nvPr>
        </p:nvSpPr>
        <p:spPr>
          <a:xfrm>
            <a:off x="1674330" y="5696429"/>
            <a:ext cx="6388570" cy="6337298"/>
          </a:xfrm>
        </p:spPr>
        <p:txBody>
          <a:bodyPr>
            <a:noAutofit/>
          </a:bodyPr>
          <a:lstStyle>
            <a:lvl1pPr marL="571443" indent="-571443">
              <a:spcBef>
                <a:spcPts val="2000"/>
              </a:spcBef>
              <a:buFont typeface="Arial" panose="020B0604020202020204" pitchFamily="34" charset="0"/>
              <a:buChar char="•"/>
              <a:defRPr sz="2800"/>
            </a:lvl1pPr>
          </a:lstStyle>
          <a:p>
            <a:pPr lvl="0"/>
            <a:r>
              <a:rPr lang="en-GB" noProof="0"/>
              <a:t>Put the list text here,</a:t>
            </a:r>
            <a:br>
              <a:rPr lang="en-GB" noProof="0"/>
            </a:br>
            <a:r>
              <a:rPr lang="en-GB" noProof="0"/>
              <a:t>keep it regular 14 pt</a:t>
            </a:r>
          </a:p>
          <a:p>
            <a:pPr lvl="0"/>
            <a:endParaRPr lang="en-GB" noProof="0"/>
          </a:p>
        </p:txBody>
      </p:sp>
      <p:sp>
        <p:nvSpPr>
          <p:cNvPr id="10" name="Text Placeholder 3">
            <a:extLst>
              <a:ext uri="{FF2B5EF4-FFF2-40B4-BE49-F238E27FC236}">
                <a16:creationId xmlns:a16="http://schemas.microsoft.com/office/drawing/2014/main" id="{316CE0BD-CEC3-544F-8484-175C25F90EEC}"/>
              </a:ext>
            </a:extLst>
          </p:cNvPr>
          <p:cNvSpPr>
            <a:spLocks noGrp="1"/>
          </p:cNvSpPr>
          <p:nvPr>
            <p:ph type="body" sz="quarter" idx="19" hasCustomPrompt="1"/>
          </p:nvPr>
        </p:nvSpPr>
        <p:spPr>
          <a:xfrm>
            <a:off x="16319521" y="5696429"/>
            <a:ext cx="6388570" cy="6337298"/>
          </a:xfrm>
        </p:spPr>
        <p:txBody>
          <a:bodyPr>
            <a:noAutofit/>
          </a:bodyPr>
          <a:lstStyle>
            <a:lvl1pPr marL="571443" indent="-571443">
              <a:spcBef>
                <a:spcPts val="2000"/>
              </a:spcBef>
              <a:buFont typeface="Arial" panose="020B0604020202020204" pitchFamily="34" charset="0"/>
              <a:buChar char="•"/>
              <a:defRPr sz="2800"/>
            </a:lvl1pPr>
          </a:lstStyle>
          <a:p>
            <a:pPr lvl="0"/>
            <a:r>
              <a:rPr lang="en-GB" noProof="0"/>
              <a:t>Put the list text here,</a:t>
            </a:r>
            <a:br>
              <a:rPr lang="en-GB" noProof="0"/>
            </a:br>
            <a:r>
              <a:rPr lang="en-GB" noProof="0"/>
              <a:t>keep it regular 14 pt</a:t>
            </a:r>
          </a:p>
          <a:p>
            <a:pPr lvl="0"/>
            <a:endParaRPr lang="en-GB" noProof="0"/>
          </a:p>
        </p:txBody>
      </p:sp>
      <p:sp>
        <p:nvSpPr>
          <p:cNvPr id="11" name="Text Placeholder 3">
            <a:extLst>
              <a:ext uri="{FF2B5EF4-FFF2-40B4-BE49-F238E27FC236}">
                <a16:creationId xmlns:a16="http://schemas.microsoft.com/office/drawing/2014/main" id="{52CADF44-9CA4-8D41-B1AA-2D27B1FDB07E}"/>
              </a:ext>
            </a:extLst>
          </p:cNvPr>
          <p:cNvSpPr>
            <a:spLocks noGrp="1"/>
          </p:cNvSpPr>
          <p:nvPr>
            <p:ph type="body" sz="quarter" idx="20" hasCustomPrompt="1"/>
          </p:nvPr>
        </p:nvSpPr>
        <p:spPr>
          <a:xfrm>
            <a:off x="8996923" y="5696429"/>
            <a:ext cx="6388570" cy="6337298"/>
          </a:xfrm>
        </p:spPr>
        <p:txBody>
          <a:bodyPr>
            <a:noAutofit/>
          </a:bodyPr>
          <a:lstStyle>
            <a:lvl1pPr marL="571443" indent="-571443">
              <a:spcBef>
                <a:spcPts val="2000"/>
              </a:spcBef>
              <a:buFont typeface="Arial" panose="020B0604020202020204" pitchFamily="34" charset="0"/>
              <a:buChar char="•"/>
              <a:defRPr sz="2800"/>
            </a:lvl1pPr>
          </a:lstStyle>
          <a:p>
            <a:pPr lvl="0"/>
            <a:r>
              <a:rPr lang="en-GB" noProof="0"/>
              <a:t>Put the list text here,</a:t>
            </a:r>
            <a:br>
              <a:rPr lang="en-GB" noProof="0"/>
            </a:br>
            <a:r>
              <a:rPr lang="en-GB" noProof="0"/>
              <a:t>keep it regular 14 pt</a:t>
            </a:r>
          </a:p>
          <a:p>
            <a:pPr lvl="0"/>
            <a:endParaRPr lang="en-GB" noProof="0"/>
          </a:p>
        </p:txBody>
      </p:sp>
    </p:spTree>
    <p:extLst>
      <p:ext uri="{BB962C8B-B14F-4D97-AF65-F5344CB8AC3E}">
        <p14:creationId xmlns:p14="http://schemas.microsoft.com/office/powerpoint/2010/main" val="237241690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Image and caption">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70934038-8254-5843-BA59-EAFE94F02D83}"/>
              </a:ext>
            </a:extLst>
          </p:cNvPr>
          <p:cNvSpPr>
            <a:spLocks noGrp="1"/>
          </p:cNvSpPr>
          <p:nvPr>
            <p:ph type="pic" sz="quarter" idx="16" hasCustomPrompt="1"/>
          </p:nvPr>
        </p:nvSpPr>
        <p:spPr>
          <a:xfrm>
            <a:off x="1726829" y="1673231"/>
            <a:ext cx="18433558" cy="10369550"/>
          </a:xfrm>
          <a:solidFill>
            <a:srgbClr val="E4E5E3"/>
          </a:solidFill>
        </p:spPr>
        <p:txBody>
          <a:bodyPr>
            <a:normAutofit/>
          </a:bodyPr>
          <a:lstStyle>
            <a:lvl1pPr marL="0" marR="0" indent="0" algn="l" defTabSz="182857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4" name="Text Placeholder 3">
            <a:extLst>
              <a:ext uri="{FF2B5EF4-FFF2-40B4-BE49-F238E27FC236}">
                <a16:creationId xmlns:a16="http://schemas.microsoft.com/office/drawing/2014/main" id="{BB8E265F-FE98-834A-BB93-0F7C365B8C12}"/>
              </a:ext>
            </a:extLst>
          </p:cNvPr>
          <p:cNvSpPr>
            <a:spLocks noGrp="1"/>
          </p:cNvSpPr>
          <p:nvPr>
            <p:ph type="body" sz="half" idx="2" hasCustomPrompt="1"/>
          </p:nvPr>
        </p:nvSpPr>
        <p:spPr>
          <a:xfrm>
            <a:off x="20512192" y="5273625"/>
            <a:ext cx="3487563" cy="6912970"/>
          </a:xfrm>
        </p:spPr>
        <p:txBody>
          <a:bodyPr anchor="b">
            <a:noAutofit/>
          </a:bodyPr>
          <a:lstStyle>
            <a:lvl1pPr marL="0" indent="0">
              <a:lnSpc>
                <a:spcPct val="100000"/>
              </a:lnSpc>
              <a:buNone/>
              <a:defRPr sz="28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US"/>
              <a:t>Put the caption here, keep it regular 14 </a:t>
            </a:r>
            <a:r>
              <a:rPr lang="en-US" err="1"/>
              <a:t>pt</a:t>
            </a:r>
            <a:endParaRPr lang="en-US"/>
          </a:p>
        </p:txBody>
      </p:sp>
    </p:spTree>
    <p:extLst>
      <p:ext uri="{BB962C8B-B14F-4D97-AF65-F5344CB8AC3E}">
        <p14:creationId xmlns:p14="http://schemas.microsoft.com/office/powerpoint/2010/main" val="123739432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ext blocks with descriptions">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D192AE6-FA63-7F45-9A5C-BE1D6300CED7}"/>
              </a:ext>
            </a:extLst>
          </p:cNvPr>
          <p:cNvSpPr>
            <a:spLocks noGrp="1"/>
          </p:cNvSpPr>
          <p:nvPr>
            <p:ph type="body" sz="quarter" idx="11" hasCustomPrompt="1"/>
          </p:nvPr>
        </p:nvSpPr>
        <p:spPr>
          <a:xfrm>
            <a:off x="1712102" y="5742878"/>
            <a:ext cx="6190847" cy="863104"/>
          </a:xfrm>
          <a:solidFill>
            <a:srgbClr val="E4E5E3"/>
          </a:solidFill>
        </p:spPr>
        <p:txBody>
          <a:bodyPr>
            <a:noAutofit/>
          </a:bodyPr>
          <a:lstStyle>
            <a:lvl1pPr>
              <a:lnSpc>
                <a:spcPct val="100000"/>
              </a:lnSpc>
              <a:defRPr b="1"/>
            </a:lvl1pPr>
          </a:lstStyle>
          <a:p>
            <a:pPr lvl="0"/>
            <a:r>
              <a:rPr lang="en-US"/>
              <a:t>Put the title here</a:t>
            </a:r>
          </a:p>
        </p:txBody>
      </p:sp>
      <p:sp>
        <p:nvSpPr>
          <p:cNvPr id="7" name="Text Placeholder 5">
            <a:extLst>
              <a:ext uri="{FF2B5EF4-FFF2-40B4-BE49-F238E27FC236}">
                <a16:creationId xmlns:a16="http://schemas.microsoft.com/office/drawing/2014/main" id="{0D2B4B01-8F71-1C43-804A-AE91ACAAB690}"/>
              </a:ext>
            </a:extLst>
          </p:cNvPr>
          <p:cNvSpPr>
            <a:spLocks noGrp="1"/>
          </p:cNvSpPr>
          <p:nvPr>
            <p:ph type="body" sz="quarter" idx="12" hasCustomPrompt="1"/>
          </p:nvPr>
        </p:nvSpPr>
        <p:spPr>
          <a:xfrm>
            <a:off x="1712102" y="6858002"/>
            <a:ext cx="6190847" cy="2899880"/>
          </a:xfrm>
        </p:spPr>
        <p:txBody>
          <a:bodyPr>
            <a:noAutofit/>
          </a:bodyPr>
          <a:lstStyle>
            <a:lvl1pPr>
              <a:lnSpc>
                <a:spcPct val="100000"/>
              </a:lnSpc>
              <a:spcBef>
                <a:spcPts val="0"/>
              </a:spcBef>
              <a:defRPr sz="2800"/>
            </a:lvl1pPr>
          </a:lstStyle>
          <a:p>
            <a:pPr lvl="0"/>
            <a:r>
              <a:rPr lang="en-US"/>
              <a:t>Put the body text or caption here</a:t>
            </a:r>
            <a:endParaRPr lang="en-GB"/>
          </a:p>
        </p:txBody>
      </p:sp>
      <p:sp>
        <p:nvSpPr>
          <p:cNvPr id="9" name="Text Placeholder 5">
            <a:extLst>
              <a:ext uri="{FF2B5EF4-FFF2-40B4-BE49-F238E27FC236}">
                <a16:creationId xmlns:a16="http://schemas.microsoft.com/office/drawing/2014/main" id="{08916781-0481-B64C-A15B-60E03E7E77EA}"/>
              </a:ext>
            </a:extLst>
          </p:cNvPr>
          <p:cNvSpPr>
            <a:spLocks noGrp="1"/>
          </p:cNvSpPr>
          <p:nvPr>
            <p:ph type="body" sz="quarter" idx="14" hasCustomPrompt="1"/>
          </p:nvPr>
        </p:nvSpPr>
        <p:spPr>
          <a:xfrm>
            <a:off x="9049382" y="5742878"/>
            <a:ext cx="6190847" cy="863104"/>
          </a:xfrm>
          <a:solidFill>
            <a:srgbClr val="E4E5E3"/>
          </a:solidFill>
        </p:spPr>
        <p:txBody>
          <a:bodyPr>
            <a:noAutofit/>
          </a:bodyPr>
          <a:lstStyle>
            <a:lvl1pPr>
              <a:lnSpc>
                <a:spcPct val="100000"/>
              </a:lnSpc>
              <a:defRPr b="1"/>
            </a:lvl1pPr>
          </a:lstStyle>
          <a:p>
            <a:pPr lvl="0"/>
            <a:r>
              <a:rPr lang="en-US"/>
              <a:t>Put the title here</a:t>
            </a:r>
          </a:p>
        </p:txBody>
      </p:sp>
      <p:sp>
        <p:nvSpPr>
          <p:cNvPr id="10" name="Text Placeholder 5">
            <a:extLst>
              <a:ext uri="{FF2B5EF4-FFF2-40B4-BE49-F238E27FC236}">
                <a16:creationId xmlns:a16="http://schemas.microsoft.com/office/drawing/2014/main" id="{CCF4949C-0573-654E-8E4A-1524918D8E6F}"/>
              </a:ext>
            </a:extLst>
          </p:cNvPr>
          <p:cNvSpPr>
            <a:spLocks noGrp="1"/>
          </p:cNvSpPr>
          <p:nvPr>
            <p:ph type="body" sz="quarter" idx="15" hasCustomPrompt="1"/>
          </p:nvPr>
        </p:nvSpPr>
        <p:spPr>
          <a:xfrm>
            <a:off x="9049382" y="6858002"/>
            <a:ext cx="6190847" cy="2899880"/>
          </a:xfrm>
        </p:spPr>
        <p:txBody>
          <a:bodyPr>
            <a:noAutofit/>
          </a:bodyPr>
          <a:lstStyle>
            <a:lvl1pPr>
              <a:lnSpc>
                <a:spcPct val="100000"/>
              </a:lnSpc>
              <a:spcBef>
                <a:spcPts val="0"/>
              </a:spcBef>
              <a:defRPr sz="2800"/>
            </a:lvl1pPr>
          </a:lstStyle>
          <a:p>
            <a:pPr lvl="0"/>
            <a:r>
              <a:rPr lang="en-US"/>
              <a:t>Put the body text or caption here</a:t>
            </a:r>
            <a:endParaRPr lang="en-GB"/>
          </a:p>
        </p:txBody>
      </p:sp>
      <p:sp>
        <p:nvSpPr>
          <p:cNvPr id="11" name="Text Placeholder 5">
            <a:extLst>
              <a:ext uri="{FF2B5EF4-FFF2-40B4-BE49-F238E27FC236}">
                <a16:creationId xmlns:a16="http://schemas.microsoft.com/office/drawing/2014/main" id="{A4742B0C-C25C-194C-9FE2-34262FB01095}"/>
              </a:ext>
            </a:extLst>
          </p:cNvPr>
          <p:cNvSpPr>
            <a:spLocks noGrp="1"/>
          </p:cNvSpPr>
          <p:nvPr>
            <p:ph type="body" sz="quarter" idx="16" hasCustomPrompt="1"/>
          </p:nvPr>
        </p:nvSpPr>
        <p:spPr>
          <a:xfrm>
            <a:off x="16490692" y="5742878"/>
            <a:ext cx="6190847" cy="863104"/>
          </a:xfrm>
          <a:solidFill>
            <a:srgbClr val="E4E5E3"/>
          </a:solidFill>
        </p:spPr>
        <p:txBody>
          <a:bodyPr>
            <a:noAutofit/>
          </a:bodyPr>
          <a:lstStyle>
            <a:lvl1pPr>
              <a:lnSpc>
                <a:spcPct val="100000"/>
              </a:lnSpc>
              <a:defRPr b="1"/>
            </a:lvl1pPr>
          </a:lstStyle>
          <a:p>
            <a:pPr lvl="0"/>
            <a:r>
              <a:rPr lang="en-US"/>
              <a:t>Put the title here</a:t>
            </a:r>
          </a:p>
        </p:txBody>
      </p:sp>
      <p:sp>
        <p:nvSpPr>
          <p:cNvPr id="12" name="Text Placeholder 5">
            <a:extLst>
              <a:ext uri="{FF2B5EF4-FFF2-40B4-BE49-F238E27FC236}">
                <a16:creationId xmlns:a16="http://schemas.microsoft.com/office/drawing/2014/main" id="{334FE28E-7BB9-5247-A7EF-E68623CEC0DF}"/>
              </a:ext>
            </a:extLst>
          </p:cNvPr>
          <p:cNvSpPr>
            <a:spLocks noGrp="1"/>
          </p:cNvSpPr>
          <p:nvPr>
            <p:ph type="body" sz="quarter" idx="17" hasCustomPrompt="1"/>
          </p:nvPr>
        </p:nvSpPr>
        <p:spPr>
          <a:xfrm>
            <a:off x="16490692" y="6858002"/>
            <a:ext cx="6190847" cy="2899880"/>
          </a:xfrm>
        </p:spPr>
        <p:txBody>
          <a:bodyPr>
            <a:noAutofit/>
          </a:bodyPr>
          <a:lstStyle>
            <a:lvl1pPr>
              <a:lnSpc>
                <a:spcPct val="100000"/>
              </a:lnSpc>
              <a:spcBef>
                <a:spcPts val="0"/>
              </a:spcBef>
              <a:defRPr sz="2800"/>
            </a:lvl1pPr>
          </a:lstStyle>
          <a:p>
            <a:pPr lvl="0"/>
            <a:r>
              <a:rPr lang="en-US"/>
              <a:t>Put the body text or caption here</a:t>
            </a:r>
            <a:endParaRPr lang="en-GB"/>
          </a:p>
        </p:txBody>
      </p:sp>
      <p:sp>
        <p:nvSpPr>
          <p:cNvPr id="15" name="Title 1">
            <a:extLst>
              <a:ext uri="{FF2B5EF4-FFF2-40B4-BE49-F238E27FC236}">
                <a16:creationId xmlns:a16="http://schemas.microsoft.com/office/drawing/2014/main" id="{AC11DA65-BB4F-5E44-93BC-902C228635DB}"/>
              </a:ext>
            </a:extLst>
          </p:cNvPr>
          <p:cNvSpPr>
            <a:spLocks noGrp="1"/>
          </p:cNvSpPr>
          <p:nvPr>
            <p:ph type="title" hasCustomPrompt="1"/>
          </p:nvPr>
        </p:nvSpPr>
        <p:spPr>
          <a:xfrm>
            <a:off x="1676293" y="1677603"/>
            <a:ext cx="21033007" cy="3457574"/>
          </a:xfrm>
          <a:prstGeom prst="rect">
            <a:avLst/>
          </a:prstGeom>
        </p:spPr>
        <p:txBody>
          <a:bodyPr/>
          <a:lstStyle>
            <a:lvl1pPr>
              <a:lnSpc>
                <a:spcPct val="100000"/>
              </a:lnSpc>
              <a:defRPr sz="7200"/>
            </a:lvl1pPr>
          </a:lstStyle>
          <a:p>
            <a:r>
              <a:rPr lang="en-US"/>
              <a:t>Put the slide headline here, </a:t>
            </a:r>
            <a:br>
              <a:rPr lang="en-US"/>
            </a:br>
            <a:r>
              <a:rPr lang="en-US"/>
              <a:t>keep it bold 36 </a:t>
            </a:r>
            <a:r>
              <a:rPr lang="en-US" err="1"/>
              <a:t>pt</a:t>
            </a:r>
            <a:endParaRPr lang="en-US"/>
          </a:p>
        </p:txBody>
      </p:sp>
    </p:spTree>
    <p:extLst>
      <p:ext uri="{BB962C8B-B14F-4D97-AF65-F5344CB8AC3E}">
        <p14:creationId xmlns:p14="http://schemas.microsoft.com/office/powerpoint/2010/main" val="14406538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 double background">
    <p:bg>
      <p:bgPr>
        <a:solidFill>
          <a:schemeClr val="bg1"/>
        </a:solidFill>
        <a:effectLst/>
      </p:bgPr>
    </p:bg>
    <p:spTree>
      <p:nvGrpSpPr>
        <p:cNvPr id="1" name=""/>
        <p:cNvGrpSpPr/>
        <p:nvPr/>
      </p:nvGrpSpPr>
      <p:grpSpPr>
        <a:xfrm>
          <a:off x="0" y="0"/>
          <a:ext cx="0" cy="0"/>
          <a:chOff x="0" y="0"/>
          <a:chExt cx="0" cy="0"/>
        </a:xfrm>
      </p:grpSpPr>
      <p:sp>
        <p:nvSpPr>
          <p:cNvPr id="2" name="Picture Placeholder 10">
            <a:extLst>
              <a:ext uri="{FF2B5EF4-FFF2-40B4-BE49-F238E27FC236}">
                <a16:creationId xmlns:a16="http://schemas.microsoft.com/office/drawing/2014/main" id="{DAF73074-2E04-AA55-418B-D0B0A182F573}"/>
              </a:ext>
            </a:extLst>
          </p:cNvPr>
          <p:cNvSpPr>
            <a:spLocks noGrp="1"/>
          </p:cNvSpPr>
          <p:nvPr>
            <p:ph type="pic" sz="quarter" idx="15" hasCustomPrompt="1"/>
          </p:nvPr>
        </p:nvSpPr>
        <p:spPr>
          <a:xfrm>
            <a:off x="491102" y="486000"/>
            <a:ext cx="8674688" cy="12744000"/>
          </a:xfrm>
          <a:solidFill>
            <a:schemeClr val="bg1">
              <a:lumMod val="8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14" name="Picture Placeholder 6">
            <a:extLst>
              <a:ext uri="{FF2B5EF4-FFF2-40B4-BE49-F238E27FC236}">
                <a16:creationId xmlns:a16="http://schemas.microsoft.com/office/drawing/2014/main" id="{692D6ABC-8D9C-1E47-A2A8-2DC39B83F77E}"/>
              </a:ext>
            </a:extLst>
          </p:cNvPr>
          <p:cNvSpPr>
            <a:spLocks noGrp="1"/>
          </p:cNvSpPr>
          <p:nvPr>
            <p:ph type="pic" sz="quarter" idx="19" hasCustomPrompt="1"/>
          </p:nvPr>
        </p:nvSpPr>
        <p:spPr>
          <a:xfrm>
            <a:off x="9165791" y="486000"/>
            <a:ext cx="14725416" cy="12744000"/>
          </a:xfrm>
          <a:custGeom>
            <a:avLst/>
            <a:gdLst>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4730 w 23399999"/>
              <a:gd name="connsiteY8"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1337594 w 23399999"/>
              <a:gd name="connsiteY8" fmla="*/ 1164380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56794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5 w 23400000"/>
              <a:gd name="connsiteY4" fmla="*/ 9824813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603855 w 23439125"/>
              <a:gd name="connsiteY0" fmla="*/ 331220 h 13075220"/>
              <a:gd name="connsiteX1" fmla="*/ 23439124 w 23439125"/>
              <a:gd name="connsiteY1" fmla="*/ 331220 h 13075220"/>
              <a:gd name="connsiteX2" fmla="*/ 23439124 w 23439125"/>
              <a:gd name="connsiteY2" fmla="*/ 331220 h 13075220"/>
              <a:gd name="connsiteX3" fmla="*/ 23439125 w 23439125"/>
              <a:gd name="connsiteY3" fmla="*/ 10162828 h 13075220"/>
              <a:gd name="connsiteX4" fmla="*/ 17859729 w 23439125"/>
              <a:gd name="connsiteY4" fmla="*/ 10156033 h 13075220"/>
              <a:gd name="connsiteX5" fmla="*/ 17859730 w 23439125"/>
              <a:gd name="connsiteY5" fmla="*/ 13075220 h 13075220"/>
              <a:gd name="connsiteX6" fmla="*/ 39125 w 23439125"/>
              <a:gd name="connsiteY6" fmla="*/ 13075220 h 13075220"/>
              <a:gd name="connsiteX7" fmla="*/ 39125 w 23439125"/>
              <a:gd name="connsiteY7" fmla="*/ 13075220 h 13075220"/>
              <a:gd name="connsiteX8" fmla="*/ 39125 w 23439125"/>
              <a:gd name="connsiteY8" fmla="*/ 1182480 h 13075220"/>
              <a:gd name="connsiteX9" fmla="*/ 2603855 w 23439125"/>
              <a:gd name="connsiteY9" fmla="*/ 331220 h 1307522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2564730 w 23400000"/>
              <a:gd name="connsiteY8" fmla="*/ 0 h 12744000"/>
              <a:gd name="connsiteX0" fmla="*/ 869121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8691210 w 23400000"/>
              <a:gd name="connsiteY8" fmla="*/ 0 h 12744000"/>
              <a:gd name="connsiteX0" fmla="*/ 8674584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8674584 w 23400000"/>
              <a:gd name="connsiteY8" fmla="*/ 0 h 12744000"/>
              <a:gd name="connsiteX0" fmla="*/ 8674584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8674584 w 23400000"/>
              <a:gd name="connsiteY7" fmla="*/ 0 h 12744000"/>
              <a:gd name="connsiteX0" fmla="*/ 0 w 14725416"/>
              <a:gd name="connsiteY0" fmla="*/ 0 h 12744000"/>
              <a:gd name="connsiteX1" fmla="*/ 14725415 w 14725416"/>
              <a:gd name="connsiteY1" fmla="*/ 0 h 12744000"/>
              <a:gd name="connsiteX2" fmla="*/ 14725415 w 14725416"/>
              <a:gd name="connsiteY2" fmla="*/ 0 h 12744000"/>
              <a:gd name="connsiteX3" fmla="*/ 14725416 w 14725416"/>
              <a:gd name="connsiteY3" fmla="*/ 9831608 h 12744000"/>
              <a:gd name="connsiteX4" fmla="*/ 9146020 w 14725416"/>
              <a:gd name="connsiteY4" fmla="*/ 9824813 h 12744000"/>
              <a:gd name="connsiteX5" fmla="*/ 9146021 w 14725416"/>
              <a:gd name="connsiteY5" fmla="*/ 12744000 h 12744000"/>
              <a:gd name="connsiteX6" fmla="*/ 3903 w 14725416"/>
              <a:gd name="connsiteY6" fmla="*/ 12744000 h 12744000"/>
              <a:gd name="connsiteX7" fmla="*/ 0 w 14725416"/>
              <a:gd name="connsiteY7" fmla="*/ 0 h 127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25416" h="12744000">
                <a:moveTo>
                  <a:pt x="0" y="0"/>
                </a:moveTo>
                <a:lnTo>
                  <a:pt x="14725415" y="0"/>
                </a:lnTo>
                <a:lnTo>
                  <a:pt x="14725415" y="0"/>
                </a:lnTo>
                <a:cubicBezTo>
                  <a:pt x="14725415" y="3277203"/>
                  <a:pt x="14725416" y="6554405"/>
                  <a:pt x="14725416" y="9831608"/>
                </a:cubicBezTo>
                <a:cubicBezTo>
                  <a:pt x="14724997" y="9831571"/>
                  <a:pt x="9140821" y="9823891"/>
                  <a:pt x="9146020" y="9824813"/>
                </a:cubicBezTo>
                <a:cubicBezTo>
                  <a:pt x="9162597" y="9827753"/>
                  <a:pt x="9140354" y="12744037"/>
                  <a:pt x="9146021" y="12744000"/>
                </a:cubicBezTo>
                <a:lnTo>
                  <a:pt x="3903" y="12744000"/>
                </a:lnTo>
                <a:lnTo>
                  <a:pt x="0" y="0"/>
                </a:lnTo>
                <a:close/>
              </a:path>
            </a:pathLst>
          </a:custGeom>
          <a:solidFill>
            <a:schemeClr val="bg1">
              <a:lumMod val="95000"/>
            </a:schemeClr>
          </a:solidFill>
        </p:spPr>
        <p:txBody>
          <a:bodyPr/>
          <a:lstStyle>
            <a:lvl1pPr algn="ctr">
              <a:defRPr sz="2400">
                <a:solidFill>
                  <a:schemeClr val="tx1">
                    <a:lumMod val="65000"/>
                    <a:lumOff val="35000"/>
                  </a:schemeClr>
                </a:solidFill>
              </a:defRPr>
            </a:lvl1pPr>
          </a:lstStyle>
          <a:p>
            <a:r>
              <a:rPr lang="en-NL"/>
              <a:t>Drag and drop a topic-related picture into this fram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3060000" y="3402013"/>
            <a:ext cx="12156188" cy="6911975"/>
          </a:xfrm>
          <a:prstGeom prst="rect">
            <a:avLst/>
          </a:prstGeom>
          <a:solidFill>
            <a:schemeClr val="bg1"/>
          </a:solidFill>
        </p:spPr>
        <p:txBody>
          <a:bodyPr vert="horz" lIns="720000" tIns="540000" rIns="360000" bIns="360000" rtlCol="0" anchor="t">
            <a:noAutofit/>
          </a:bodyPr>
          <a:lstStyle>
            <a:lvl1pPr>
              <a:defRPr/>
            </a:lvl1pPr>
          </a:lstStyle>
          <a:p>
            <a:r>
              <a:rPr lang="en-GB" noProof="0"/>
              <a:t>Put the title here,</a:t>
            </a:r>
            <a:br>
              <a:rPr lang="en-GB" noProof="0"/>
            </a:br>
            <a:r>
              <a:rPr lang="en-GB" noProof="0"/>
              <a:t>keep it bold 80 </a:t>
            </a:r>
            <a:r>
              <a:rPr lang="en-GB" noProof="0" err="1"/>
              <a:t>pt</a:t>
            </a:r>
            <a:endParaRPr lang="en-GB" noProof="0"/>
          </a:p>
        </p:txBody>
      </p:sp>
      <p:pic>
        <p:nvPicPr>
          <p:cNvPr id="16" name="Picture 15">
            <a:extLst>
              <a:ext uri="{FF2B5EF4-FFF2-40B4-BE49-F238E27FC236}">
                <a16:creationId xmlns:a16="http://schemas.microsoft.com/office/drawing/2014/main" id="{B318DE6B-1EB2-D248-BE9E-1B173597E1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32675" y="10313988"/>
            <a:ext cx="5058531" cy="3402012"/>
          </a:xfrm>
          <a:prstGeom prst="rect">
            <a:avLst/>
          </a:prstGeom>
        </p:spPr>
      </p:pic>
    </p:spTree>
    <p:extLst>
      <p:ext uri="{BB962C8B-B14F-4D97-AF65-F5344CB8AC3E}">
        <p14:creationId xmlns:p14="http://schemas.microsoft.com/office/powerpoint/2010/main" val="14120703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in three columns">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F48D91E-AB60-4041-B4FC-3E50759777E5}"/>
              </a:ext>
            </a:extLst>
          </p:cNvPr>
          <p:cNvSpPr>
            <a:spLocks noGrp="1"/>
          </p:cNvSpPr>
          <p:nvPr>
            <p:ph type="title" hasCustomPrompt="1"/>
          </p:nvPr>
        </p:nvSpPr>
        <p:spPr>
          <a:xfrm>
            <a:off x="1676293" y="1677600"/>
            <a:ext cx="21033007" cy="3011659"/>
          </a:xfrm>
        </p:spPr>
        <p:txBody>
          <a:bodyPr/>
          <a:lstStyle/>
          <a:p>
            <a:r>
              <a:rPr lang="en-GB"/>
              <a:t>Put the headline here,</a:t>
            </a:r>
            <a:br>
              <a:rPr lang="en-GB"/>
            </a:br>
            <a:r>
              <a:rPr lang="en-GB"/>
              <a:t>keep it bold 80 </a:t>
            </a:r>
            <a:r>
              <a:rPr lang="en-GB" err="1"/>
              <a:t>pt</a:t>
            </a:r>
            <a:endParaRPr lang="en-NL"/>
          </a:p>
        </p:txBody>
      </p:sp>
      <p:sp>
        <p:nvSpPr>
          <p:cNvPr id="19" name="Text Placeholder 3">
            <a:extLst>
              <a:ext uri="{FF2B5EF4-FFF2-40B4-BE49-F238E27FC236}">
                <a16:creationId xmlns:a16="http://schemas.microsoft.com/office/drawing/2014/main" id="{292A3CC4-2948-634E-A9F0-D2126C8DA330}"/>
              </a:ext>
            </a:extLst>
          </p:cNvPr>
          <p:cNvSpPr>
            <a:spLocks noGrp="1"/>
          </p:cNvSpPr>
          <p:nvPr>
            <p:ph type="body" sz="quarter" idx="21" hasCustomPrompt="1"/>
          </p:nvPr>
        </p:nvSpPr>
        <p:spPr>
          <a:xfrm>
            <a:off x="9166225" y="5129213"/>
            <a:ext cx="6049964" cy="6904512"/>
          </a:xfrm>
        </p:spPr>
        <p:txBody>
          <a:bodyPr>
            <a:noAutofit/>
          </a:bodyPr>
          <a:lstStyle>
            <a:lvl1pPr marL="342900" indent="-342900">
              <a:spcBef>
                <a:spcPts val="2000"/>
              </a:spcBef>
              <a:buFont typeface="Arial" panose="020B0604020202020204" pitchFamily="34" charset="0"/>
              <a:buChar char="•"/>
              <a:defRPr sz="2400"/>
            </a:lvl1pPr>
          </a:lstStyle>
          <a:p>
            <a:pPr lvl="0"/>
            <a:r>
              <a:rPr lang="en-GB" noProof="0"/>
              <a:t>Put the second column list here, keep it regular 24 </a:t>
            </a:r>
            <a:r>
              <a:rPr lang="en-GB" noProof="0" err="1"/>
              <a:t>pt</a:t>
            </a:r>
            <a:endParaRPr lang="en-GB" noProof="0"/>
          </a:p>
        </p:txBody>
      </p:sp>
      <p:sp>
        <p:nvSpPr>
          <p:cNvPr id="20" name="Text Placeholder 3">
            <a:extLst>
              <a:ext uri="{FF2B5EF4-FFF2-40B4-BE49-F238E27FC236}">
                <a16:creationId xmlns:a16="http://schemas.microsoft.com/office/drawing/2014/main" id="{B772D797-9E99-7B44-81B1-A91F96DFFAD6}"/>
              </a:ext>
            </a:extLst>
          </p:cNvPr>
          <p:cNvSpPr>
            <a:spLocks noGrp="1"/>
          </p:cNvSpPr>
          <p:nvPr>
            <p:ph type="body" sz="quarter" idx="22" hasCustomPrompt="1"/>
          </p:nvPr>
        </p:nvSpPr>
        <p:spPr>
          <a:xfrm>
            <a:off x="1676291" y="5129213"/>
            <a:ext cx="6049964" cy="6904512"/>
          </a:xfrm>
        </p:spPr>
        <p:txBody>
          <a:bodyPr>
            <a:noAutofit/>
          </a:bodyPr>
          <a:lstStyle>
            <a:lvl1pPr marL="342900" indent="-342900">
              <a:spcBef>
                <a:spcPts val="2000"/>
              </a:spcBef>
              <a:buFont typeface="Arial" panose="020B0604020202020204" pitchFamily="34" charset="0"/>
              <a:buChar char="•"/>
              <a:defRPr sz="2400"/>
            </a:lvl1pPr>
          </a:lstStyle>
          <a:p>
            <a:pPr lvl="0"/>
            <a:r>
              <a:rPr lang="en-GB" noProof="0"/>
              <a:t>Put the first column list here, keep it regular 24 </a:t>
            </a:r>
            <a:r>
              <a:rPr lang="en-GB" noProof="0" err="1"/>
              <a:t>pt</a:t>
            </a:r>
            <a:endParaRPr lang="en-GB" noProof="0"/>
          </a:p>
        </p:txBody>
      </p:sp>
      <p:sp>
        <p:nvSpPr>
          <p:cNvPr id="21" name="Text Placeholder 3">
            <a:extLst>
              <a:ext uri="{FF2B5EF4-FFF2-40B4-BE49-F238E27FC236}">
                <a16:creationId xmlns:a16="http://schemas.microsoft.com/office/drawing/2014/main" id="{EA077ACA-637D-0643-8E1E-31E31C902655}"/>
              </a:ext>
            </a:extLst>
          </p:cNvPr>
          <p:cNvSpPr>
            <a:spLocks noGrp="1"/>
          </p:cNvSpPr>
          <p:nvPr>
            <p:ph type="body" sz="quarter" idx="23" hasCustomPrompt="1"/>
          </p:nvPr>
        </p:nvSpPr>
        <p:spPr>
          <a:xfrm>
            <a:off x="16656158" y="5129213"/>
            <a:ext cx="6049964" cy="6904512"/>
          </a:xfrm>
        </p:spPr>
        <p:txBody>
          <a:bodyPr>
            <a:noAutofit/>
          </a:bodyPr>
          <a:lstStyle>
            <a:lvl1pPr marL="342900" indent="-342900">
              <a:spcBef>
                <a:spcPts val="2000"/>
              </a:spcBef>
              <a:buFont typeface="Arial" panose="020B0604020202020204" pitchFamily="34" charset="0"/>
              <a:buChar char="•"/>
              <a:defRPr sz="2400"/>
            </a:lvl1pPr>
          </a:lstStyle>
          <a:p>
            <a:pPr lvl="0"/>
            <a:r>
              <a:rPr lang="en-GB" noProof="0"/>
              <a:t>Put the third column list here, keep it regular 24 </a:t>
            </a:r>
            <a:r>
              <a:rPr lang="en-GB" noProof="0" err="1"/>
              <a:t>pt</a:t>
            </a:r>
            <a:endParaRPr lang="en-GB" noProof="0"/>
          </a:p>
        </p:txBody>
      </p:sp>
      <p:sp>
        <p:nvSpPr>
          <p:cNvPr id="4" name="Footer Placeholder 3">
            <a:extLst>
              <a:ext uri="{FF2B5EF4-FFF2-40B4-BE49-F238E27FC236}">
                <a16:creationId xmlns:a16="http://schemas.microsoft.com/office/drawing/2014/main" id="{9F259679-D8E8-0F42-BB59-3BCBFC65EB1B}"/>
              </a:ext>
            </a:extLst>
          </p:cNvPr>
          <p:cNvSpPr>
            <a:spLocks noGrp="1"/>
          </p:cNvSpPr>
          <p:nvPr>
            <p:ph type="ftr" sz="quarter" idx="24"/>
          </p:nvPr>
        </p:nvSpPr>
        <p:spPr/>
        <p:txBody>
          <a:bodyPr/>
          <a:lstStyle/>
          <a:p>
            <a:endParaRPr lang="en-NL"/>
          </a:p>
        </p:txBody>
      </p:sp>
      <p:sp>
        <p:nvSpPr>
          <p:cNvPr id="10" name="TextBox 9">
            <a:extLst>
              <a:ext uri="{FF2B5EF4-FFF2-40B4-BE49-F238E27FC236}">
                <a16:creationId xmlns:a16="http://schemas.microsoft.com/office/drawing/2014/main" id="{F6C0470B-F20E-A142-917D-853951DA8234}"/>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60386645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Levels with descriptions">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0D2B4B01-8F71-1C43-804A-AE91ACAAB690}"/>
              </a:ext>
            </a:extLst>
          </p:cNvPr>
          <p:cNvSpPr>
            <a:spLocks noGrp="1"/>
          </p:cNvSpPr>
          <p:nvPr>
            <p:ph type="body" sz="quarter" idx="12" hasCustomPrompt="1"/>
          </p:nvPr>
        </p:nvSpPr>
        <p:spPr>
          <a:xfrm>
            <a:off x="13199258" y="5695725"/>
            <a:ext cx="6190847" cy="1397590"/>
          </a:xfrm>
        </p:spPr>
        <p:txBody>
          <a:bodyPr>
            <a:noAutofit/>
          </a:bodyPr>
          <a:lstStyle>
            <a:lvl1pPr>
              <a:spcBef>
                <a:spcPts val="0"/>
              </a:spcBef>
              <a:defRPr sz="2800"/>
            </a:lvl1pPr>
          </a:lstStyle>
          <a:p>
            <a:pPr lvl="0"/>
            <a:r>
              <a:rPr lang="en-US"/>
              <a:t>Put the body text or caption here</a:t>
            </a:r>
            <a:endParaRPr lang="en-GB"/>
          </a:p>
        </p:txBody>
      </p:sp>
      <p:sp>
        <p:nvSpPr>
          <p:cNvPr id="10" name="Text Placeholder 5">
            <a:extLst>
              <a:ext uri="{FF2B5EF4-FFF2-40B4-BE49-F238E27FC236}">
                <a16:creationId xmlns:a16="http://schemas.microsoft.com/office/drawing/2014/main" id="{CCF4949C-0573-654E-8E4A-1524918D8E6F}"/>
              </a:ext>
            </a:extLst>
          </p:cNvPr>
          <p:cNvSpPr>
            <a:spLocks noGrp="1"/>
          </p:cNvSpPr>
          <p:nvPr>
            <p:ph type="body" sz="quarter" idx="15" hasCustomPrompt="1"/>
          </p:nvPr>
        </p:nvSpPr>
        <p:spPr>
          <a:xfrm>
            <a:off x="13199258" y="7832869"/>
            <a:ext cx="6190847" cy="1397590"/>
          </a:xfrm>
        </p:spPr>
        <p:txBody>
          <a:bodyPr>
            <a:noAutofit/>
          </a:bodyPr>
          <a:lstStyle>
            <a:lvl1pPr>
              <a:spcBef>
                <a:spcPts val="0"/>
              </a:spcBef>
              <a:defRPr sz="2800"/>
            </a:lvl1pPr>
          </a:lstStyle>
          <a:p>
            <a:pPr lvl="0"/>
            <a:r>
              <a:rPr lang="en-US"/>
              <a:t>Put the body text or caption here</a:t>
            </a:r>
            <a:endParaRPr lang="en-GB"/>
          </a:p>
        </p:txBody>
      </p:sp>
      <p:sp>
        <p:nvSpPr>
          <p:cNvPr id="12" name="Text Placeholder 5">
            <a:extLst>
              <a:ext uri="{FF2B5EF4-FFF2-40B4-BE49-F238E27FC236}">
                <a16:creationId xmlns:a16="http://schemas.microsoft.com/office/drawing/2014/main" id="{334FE28E-7BB9-5247-A7EF-E68623CEC0DF}"/>
              </a:ext>
            </a:extLst>
          </p:cNvPr>
          <p:cNvSpPr>
            <a:spLocks noGrp="1"/>
          </p:cNvSpPr>
          <p:nvPr>
            <p:ph type="body" sz="quarter" idx="17" hasCustomPrompt="1"/>
          </p:nvPr>
        </p:nvSpPr>
        <p:spPr>
          <a:xfrm>
            <a:off x="13199258" y="9970013"/>
            <a:ext cx="6190847" cy="1397590"/>
          </a:xfrm>
        </p:spPr>
        <p:txBody>
          <a:bodyPr>
            <a:noAutofit/>
          </a:bodyPr>
          <a:lstStyle>
            <a:lvl1pPr>
              <a:spcBef>
                <a:spcPts val="0"/>
              </a:spcBef>
              <a:defRPr sz="2800"/>
            </a:lvl1pPr>
          </a:lstStyle>
          <a:p>
            <a:pPr lvl="0"/>
            <a:r>
              <a:rPr lang="en-US"/>
              <a:t>Put the body text or caption here</a:t>
            </a:r>
            <a:endParaRPr lang="en-GB"/>
          </a:p>
        </p:txBody>
      </p:sp>
      <p:sp>
        <p:nvSpPr>
          <p:cNvPr id="9" name="Text Placeholder 5">
            <a:extLst>
              <a:ext uri="{FF2B5EF4-FFF2-40B4-BE49-F238E27FC236}">
                <a16:creationId xmlns:a16="http://schemas.microsoft.com/office/drawing/2014/main" id="{08916781-0481-B64C-A15B-60E03E7E77EA}"/>
              </a:ext>
            </a:extLst>
          </p:cNvPr>
          <p:cNvSpPr>
            <a:spLocks noGrp="1"/>
          </p:cNvSpPr>
          <p:nvPr>
            <p:ph type="body" sz="quarter" idx="14" hasCustomPrompt="1"/>
          </p:nvPr>
        </p:nvSpPr>
        <p:spPr>
          <a:xfrm>
            <a:off x="4674907" y="5695725"/>
            <a:ext cx="6633094" cy="1397590"/>
          </a:xfrm>
          <a:solidFill>
            <a:srgbClr val="E4E5E3"/>
          </a:solidFill>
        </p:spPr>
        <p:txBody>
          <a:bodyPr anchor="ctr">
            <a:noAutofit/>
          </a:bodyPr>
          <a:lstStyle>
            <a:lvl1pPr>
              <a:defRPr sz="3600"/>
            </a:lvl1pPr>
          </a:lstStyle>
          <a:p>
            <a:pPr lvl="0"/>
            <a:r>
              <a:rPr lang="en-US"/>
              <a:t>Put the title here</a:t>
            </a:r>
          </a:p>
        </p:txBody>
      </p:sp>
      <p:sp>
        <p:nvSpPr>
          <p:cNvPr id="15" name="Text Placeholder 5">
            <a:extLst>
              <a:ext uri="{FF2B5EF4-FFF2-40B4-BE49-F238E27FC236}">
                <a16:creationId xmlns:a16="http://schemas.microsoft.com/office/drawing/2014/main" id="{B0FD171A-0961-AF47-AF11-4B67E2B02EBC}"/>
              </a:ext>
            </a:extLst>
          </p:cNvPr>
          <p:cNvSpPr>
            <a:spLocks noGrp="1"/>
          </p:cNvSpPr>
          <p:nvPr>
            <p:ph type="body" sz="quarter" idx="18" hasCustomPrompt="1"/>
          </p:nvPr>
        </p:nvSpPr>
        <p:spPr>
          <a:xfrm>
            <a:off x="4674907" y="7832869"/>
            <a:ext cx="6633094" cy="1397590"/>
          </a:xfrm>
          <a:solidFill>
            <a:srgbClr val="E4E5E3"/>
          </a:solidFill>
        </p:spPr>
        <p:txBody>
          <a:bodyPr anchor="ctr">
            <a:noAutofit/>
          </a:bodyPr>
          <a:lstStyle>
            <a:lvl1pPr>
              <a:defRPr sz="3600"/>
            </a:lvl1pPr>
          </a:lstStyle>
          <a:p>
            <a:pPr lvl="0"/>
            <a:r>
              <a:rPr lang="en-US"/>
              <a:t>Put the title here</a:t>
            </a:r>
          </a:p>
        </p:txBody>
      </p:sp>
      <p:sp>
        <p:nvSpPr>
          <p:cNvPr id="16" name="Text Placeholder 5">
            <a:extLst>
              <a:ext uri="{FF2B5EF4-FFF2-40B4-BE49-F238E27FC236}">
                <a16:creationId xmlns:a16="http://schemas.microsoft.com/office/drawing/2014/main" id="{08483BCA-AF2F-134B-A357-367A5706C697}"/>
              </a:ext>
            </a:extLst>
          </p:cNvPr>
          <p:cNvSpPr>
            <a:spLocks noGrp="1"/>
          </p:cNvSpPr>
          <p:nvPr>
            <p:ph type="body" sz="quarter" idx="19" hasCustomPrompt="1"/>
          </p:nvPr>
        </p:nvSpPr>
        <p:spPr>
          <a:xfrm>
            <a:off x="4674907" y="9970013"/>
            <a:ext cx="6633094" cy="1397590"/>
          </a:xfrm>
          <a:solidFill>
            <a:srgbClr val="E4E5E3"/>
          </a:solidFill>
        </p:spPr>
        <p:txBody>
          <a:bodyPr anchor="ctr">
            <a:noAutofit/>
          </a:bodyPr>
          <a:lstStyle>
            <a:lvl1pPr>
              <a:defRPr sz="3600"/>
            </a:lvl1pPr>
          </a:lstStyle>
          <a:p>
            <a:pPr lvl="0"/>
            <a:r>
              <a:rPr lang="en-US"/>
              <a:t>Put the title here</a:t>
            </a:r>
          </a:p>
        </p:txBody>
      </p:sp>
      <p:sp>
        <p:nvSpPr>
          <p:cNvPr id="14" name="Title 1">
            <a:extLst>
              <a:ext uri="{FF2B5EF4-FFF2-40B4-BE49-F238E27FC236}">
                <a16:creationId xmlns:a16="http://schemas.microsoft.com/office/drawing/2014/main" id="{C2251F9F-54CD-8945-9716-7D15439B9923}"/>
              </a:ext>
            </a:extLst>
          </p:cNvPr>
          <p:cNvSpPr>
            <a:spLocks noGrp="1"/>
          </p:cNvSpPr>
          <p:nvPr>
            <p:ph type="title" hasCustomPrompt="1"/>
          </p:nvPr>
        </p:nvSpPr>
        <p:spPr>
          <a:xfrm>
            <a:off x="1676293" y="1677603"/>
            <a:ext cx="21033007" cy="3457574"/>
          </a:xfrm>
          <a:prstGeom prst="rect">
            <a:avLst/>
          </a:prstGeom>
        </p:spPr>
        <p:txBody>
          <a:bodyPr/>
          <a:lstStyle>
            <a:lvl1pPr>
              <a:lnSpc>
                <a:spcPct val="100000"/>
              </a:lnSpc>
              <a:defRPr sz="7200"/>
            </a:lvl1pPr>
          </a:lstStyle>
          <a:p>
            <a:r>
              <a:rPr lang="en-US"/>
              <a:t>Put the slide headline here, </a:t>
            </a:r>
            <a:br>
              <a:rPr lang="en-US"/>
            </a:br>
            <a:r>
              <a:rPr lang="en-US"/>
              <a:t>keep it bold 36 </a:t>
            </a:r>
            <a:r>
              <a:rPr lang="en-US" err="1"/>
              <a:t>pt</a:t>
            </a:r>
            <a:endParaRPr lang="en-US"/>
          </a:p>
        </p:txBody>
      </p:sp>
    </p:spTree>
    <p:extLst>
      <p:ext uri="{BB962C8B-B14F-4D97-AF65-F5344CB8AC3E}">
        <p14:creationId xmlns:p14="http://schemas.microsoft.com/office/powerpoint/2010/main" val="300810675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Images with caption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124A353B-E374-7740-BADE-D936639B642B}"/>
              </a:ext>
            </a:extLst>
          </p:cNvPr>
          <p:cNvSpPr>
            <a:spLocks noGrp="1"/>
          </p:cNvSpPr>
          <p:nvPr>
            <p:ph type="body" sz="half" idx="2" hasCustomPrompt="1"/>
          </p:nvPr>
        </p:nvSpPr>
        <p:spPr>
          <a:xfrm>
            <a:off x="8058559" y="1673231"/>
            <a:ext cx="3700633" cy="4032250"/>
          </a:xfrm>
        </p:spPr>
        <p:txBody>
          <a:bodyPr>
            <a:noAutofit/>
          </a:bodyPr>
          <a:lstStyle>
            <a:lvl1pPr marL="0" indent="0">
              <a:lnSpc>
                <a:spcPct val="100000"/>
              </a:lnSpc>
              <a:buNone/>
              <a:defRPr sz="28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US"/>
              <a:t>Put the body text or caption here</a:t>
            </a:r>
            <a:endParaRPr lang="en-GB"/>
          </a:p>
        </p:txBody>
      </p:sp>
      <p:sp>
        <p:nvSpPr>
          <p:cNvPr id="3" name="Picture Placeholder 2">
            <a:extLst>
              <a:ext uri="{FF2B5EF4-FFF2-40B4-BE49-F238E27FC236}">
                <a16:creationId xmlns:a16="http://schemas.microsoft.com/office/drawing/2014/main" id="{DEE2AB82-CBD5-1145-9E32-3577A8B871DC}"/>
              </a:ext>
            </a:extLst>
          </p:cNvPr>
          <p:cNvSpPr>
            <a:spLocks noGrp="1"/>
          </p:cNvSpPr>
          <p:nvPr>
            <p:ph type="pic" sz="quarter" idx="19" hasCustomPrompt="1"/>
          </p:nvPr>
        </p:nvSpPr>
        <p:spPr>
          <a:xfrm>
            <a:off x="1679472" y="1673231"/>
            <a:ext cx="6047980" cy="4032250"/>
          </a:xfrm>
          <a:solidFill>
            <a:srgbClr val="E4E5E3"/>
          </a:solidFill>
        </p:spPr>
        <p:txBody>
          <a:bodyPr>
            <a:normAutofit/>
          </a:bodyPr>
          <a:lstStyle>
            <a:lvl1pPr marL="0" marR="0" indent="0" algn="l" defTabSz="182857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14" name="Text Placeholder 3">
            <a:extLst>
              <a:ext uri="{FF2B5EF4-FFF2-40B4-BE49-F238E27FC236}">
                <a16:creationId xmlns:a16="http://schemas.microsoft.com/office/drawing/2014/main" id="{0EC9DAF8-6896-F945-BC62-1FA59028EACA}"/>
              </a:ext>
            </a:extLst>
          </p:cNvPr>
          <p:cNvSpPr>
            <a:spLocks noGrp="1"/>
          </p:cNvSpPr>
          <p:nvPr>
            <p:ph type="body" sz="half" idx="20" hasCustomPrompt="1"/>
          </p:nvPr>
        </p:nvSpPr>
        <p:spPr>
          <a:xfrm>
            <a:off x="18984927" y="1673231"/>
            <a:ext cx="3700633" cy="4032250"/>
          </a:xfrm>
        </p:spPr>
        <p:txBody>
          <a:bodyPr>
            <a:noAutofit/>
          </a:bodyPr>
          <a:lstStyle>
            <a:lvl1pPr marL="0" indent="0">
              <a:lnSpc>
                <a:spcPct val="100000"/>
              </a:lnSpc>
              <a:buNone/>
              <a:defRPr sz="28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US"/>
              <a:t>Put the body text or caption here</a:t>
            </a:r>
            <a:endParaRPr lang="en-GB"/>
          </a:p>
        </p:txBody>
      </p:sp>
      <p:sp>
        <p:nvSpPr>
          <p:cNvPr id="15" name="Picture Placeholder 2">
            <a:extLst>
              <a:ext uri="{FF2B5EF4-FFF2-40B4-BE49-F238E27FC236}">
                <a16:creationId xmlns:a16="http://schemas.microsoft.com/office/drawing/2014/main" id="{DFDA796F-563B-BF4B-9884-8B1A4AA2E248}"/>
              </a:ext>
            </a:extLst>
          </p:cNvPr>
          <p:cNvSpPr>
            <a:spLocks noGrp="1"/>
          </p:cNvSpPr>
          <p:nvPr>
            <p:ph type="pic" sz="quarter" idx="21" hasCustomPrompt="1"/>
          </p:nvPr>
        </p:nvSpPr>
        <p:spPr>
          <a:xfrm>
            <a:off x="12605841" y="1673231"/>
            <a:ext cx="6047980" cy="4032250"/>
          </a:xfrm>
          <a:solidFill>
            <a:srgbClr val="E4E5E3"/>
          </a:solidFill>
        </p:spPr>
        <p:txBody>
          <a:bodyPr>
            <a:normAutofit/>
          </a:bodyPr>
          <a:lstStyle>
            <a:lvl1pPr marL="0" marR="0" indent="0" algn="l" defTabSz="182857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16" name="Text Placeholder 3">
            <a:extLst>
              <a:ext uri="{FF2B5EF4-FFF2-40B4-BE49-F238E27FC236}">
                <a16:creationId xmlns:a16="http://schemas.microsoft.com/office/drawing/2014/main" id="{B2CDF5E0-6262-EF4B-90E2-B7C89A2D4134}"/>
              </a:ext>
            </a:extLst>
          </p:cNvPr>
          <p:cNvSpPr>
            <a:spLocks noGrp="1"/>
          </p:cNvSpPr>
          <p:nvPr>
            <p:ph type="body" sz="half" idx="22" hasCustomPrompt="1"/>
          </p:nvPr>
        </p:nvSpPr>
        <p:spPr>
          <a:xfrm>
            <a:off x="8058559" y="6862451"/>
            <a:ext cx="3700633" cy="4032250"/>
          </a:xfrm>
        </p:spPr>
        <p:txBody>
          <a:bodyPr>
            <a:noAutofit/>
          </a:bodyPr>
          <a:lstStyle>
            <a:lvl1pPr marL="0" indent="0">
              <a:lnSpc>
                <a:spcPct val="100000"/>
              </a:lnSpc>
              <a:buNone/>
              <a:defRPr sz="28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US"/>
              <a:t>Put the body text or caption here</a:t>
            </a:r>
            <a:endParaRPr lang="en-GB"/>
          </a:p>
        </p:txBody>
      </p:sp>
      <p:sp>
        <p:nvSpPr>
          <p:cNvPr id="17" name="Picture Placeholder 2">
            <a:extLst>
              <a:ext uri="{FF2B5EF4-FFF2-40B4-BE49-F238E27FC236}">
                <a16:creationId xmlns:a16="http://schemas.microsoft.com/office/drawing/2014/main" id="{7B0F94D7-E140-844D-9E21-505B0B19C200}"/>
              </a:ext>
            </a:extLst>
          </p:cNvPr>
          <p:cNvSpPr>
            <a:spLocks noGrp="1"/>
          </p:cNvSpPr>
          <p:nvPr>
            <p:ph type="pic" sz="quarter" idx="23" hasCustomPrompt="1"/>
          </p:nvPr>
        </p:nvSpPr>
        <p:spPr>
          <a:xfrm>
            <a:off x="1679472" y="6862451"/>
            <a:ext cx="6047980" cy="4032250"/>
          </a:xfrm>
          <a:solidFill>
            <a:srgbClr val="E4E5E3"/>
          </a:solidFill>
        </p:spPr>
        <p:txBody>
          <a:bodyPr>
            <a:normAutofit/>
          </a:bodyPr>
          <a:lstStyle>
            <a:lvl1pPr marL="0" marR="0" indent="0" algn="l" defTabSz="182857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24" name="Text Placeholder 3">
            <a:extLst>
              <a:ext uri="{FF2B5EF4-FFF2-40B4-BE49-F238E27FC236}">
                <a16:creationId xmlns:a16="http://schemas.microsoft.com/office/drawing/2014/main" id="{7CD72929-2819-6941-BC3F-7845DE153E75}"/>
              </a:ext>
            </a:extLst>
          </p:cNvPr>
          <p:cNvSpPr>
            <a:spLocks noGrp="1"/>
          </p:cNvSpPr>
          <p:nvPr>
            <p:ph type="body" sz="half" idx="24" hasCustomPrompt="1"/>
          </p:nvPr>
        </p:nvSpPr>
        <p:spPr>
          <a:xfrm>
            <a:off x="18984927" y="6862451"/>
            <a:ext cx="3700633" cy="4032250"/>
          </a:xfrm>
        </p:spPr>
        <p:txBody>
          <a:bodyPr>
            <a:noAutofit/>
          </a:bodyPr>
          <a:lstStyle>
            <a:lvl1pPr marL="0" indent="0">
              <a:lnSpc>
                <a:spcPct val="100000"/>
              </a:lnSpc>
              <a:buNone/>
              <a:defRPr sz="28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US"/>
              <a:t>Put the body text or caption here</a:t>
            </a:r>
            <a:endParaRPr lang="en-GB"/>
          </a:p>
        </p:txBody>
      </p:sp>
      <p:sp>
        <p:nvSpPr>
          <p:cNvPr id="25" name="Picture Placeholder 2">
            <a:extLst>
              <a:ext uri="{FF2B5EF4-FFF2-40B4-BE49-F238E27FC236}">
                <a16:creationId xmlns:a16="http://schemas.microsoft.com/office/drawing/2014/main" id="{F2547076-AD08-1049-989A-EEE9D2FA7CED}"/>
              </a:ext>
            </a:extLst>
          </p:cNvPr>
          <p:cNvSpPr>
            <a:spLocks noGrp="1"/>
          </p:cNvSpPr>
          <p:nvPr>
            <p:ph type="pic" sz="quarter" idx="25" hasCustomPrompt="1"/>
          </p:nvPr>
        </p:nvSpPr>
        <p:spPr>
          <a:xfrm>
            <a:off x="12605841" y="6862451"/>
            <a:ext cx="6047980" cy="4032250"/>
          </a:xfrm>
          <a:solidFill>
            <a:srgbClr val="E4E5E3"/>
          </a:solidFill>
        </p:spPr>
        <p:txBody>
          <a:bodyPr>
            <a:normAutofit/>
          </a:bodyPr>
          <a:lstStyle>
            <a:lvl1pPr marL="0" marR="0" indent="0" algn="l" defTabSz="182857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Tree>
    <p:extLst>
      <p:ext uri="{BB962C8B-B14F-4D97-AF65-F5344CB8AC3E}">
        <p14:creationId xmlns:p14="http://schemas.microsoft.com/office/powerpoint/2010/main" val="29902717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70_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56109" y="2197103"/>
            <a:ext cx="19511468" cy="1686922"/>
          </a:xfrm>
          <a:prstGeom prst="rect">
            <a:avLst/>
          </a:prstGeom>
        </p:spPr>
        <p:txBody>
          <a:bodyPr/>
          <a:lstStyle>
            <a:lvl1pPr>
              <a:defRPr sz="5600" b="1" baseline="0">
                <a:solidFill>
                  <a:schemeClr val="tx2"/>
                </a:solidFill>
              </a:defRPr>
            </a:lvl1pPr>
          </a:lstStyle>
          <a:p>
            <a:r>
              <a:rPr lang="en-US"/>
              <a:t>Slide title or bold statement, the content can go into one or two lines</a:t>
            </a:r>
            <a:endParaRPr lang="en-GB"/>
          </a:p>
        </p:txBody>
      </p:sp>
    </p:spTree>
    <p:extLst>
      <p:ext uri="{BB962C8B-B14F-4D97-AF65-F5344CB8AC3E}">
        <p14:creationId xmlns:p14="http://schemas.microsoft.com/office/powerpoint/2010/main" val="140623270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Worldmap">
    <p:bg>
      <p:bgPr>
        <a:solidFill>
          <a:schemeClr val="bg1"/>
        </a:solidFill>
        <a:effectLst/>
      </p:bgPr>
    </p:bg>
    <p:spTree>
      <p:nvGrpSpPr>
        <p:cNvPr id="1" name=""/>
        <p:cNvGrpSpPr/>
        <p:nvPr/>
      </p:nvGrpSpPr>
      <p:grpSpPr>
        <a:xfrm>
          <a:off x="0" y="0"/>
          <a:ext cx="0" cy="0"/>
          <a:chOff x="0" y="0"/>
          <a:chExt cx="0" cy="0"/>
        </a:xfrm>
      </p:grpSpPr>
      <p:sp>
        <p:nvSpPr>
          <p:cNvPr id="1607" name="Freeform 5">
            <a:extLst>
              <a:ext uri="{FF2B5EF4-FFF2-40B4-BE49-F238E27FC236}">
                <a16:creationId xmlns:a16="http://schemas.microsoft.com/office/drawing/2014/main" id="{663D4140-A46B-CC56-42A1-B64D6BC07598}"/>
              </a:ext>
            </a:extLst>
          </p:cNvPr>
          <p:cNvSpPr>
            <a:spLocks/>
          </p:cNvSpPr>
          <p:nvPr userDrawn="1"/>
        </p:nvSpPr>
        <p:spPr bwMode="auto">
          <a:xfrm>
            <a:off x="15966034" y="10181506"/>
            <a:ext cx="12701" cy="28576"/>
          </a:xfrm>
          <a:custGeom>
            <a:avLst/>
            <a:gdLst>
              <a:gd name="T0" fmla="*/ 0 w 4"/>
              <a:gd name="T1" fmla="*/ 6 h 9"/>
              <a:gd name="T2" fmla="*/ 0 w 4"/>
              <a:gd name="T3" fmla="*/ 3 h 9"/>
              <a:gd name="T4" fmla="*/ 0 w 4"/>
              <a:gd name="T5" fmla="*/ 0 h 9"/>
              <a:gd name="T6" fmla="*/ 0 w 4"/>
              <a:gd name="T7" fmla="*/ 0 h 9"/>
              <a:gd name="T8" fmla="*/ 4 w 4"/>
              <a:gd name="T9" fmla="*/ 3 h 9"/>
              <a:gd name="T10" fmla="*/ 0 w 4"/>
              <a:gd name="T11" fmla="*/ 9 h 9"/>
              <a:gd name="T12" fmla="*/ 0 w 4"/>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4" h="9">
                <a:moveTo>
                  <a:pt x="0" y="6"/>
                </a:moveTo>
                <a:lnTo>
                  <a:pt x="0" y="3"/>
                </a:lnTo>
                <a:lnTo>
                  <a:pt x="0" y="0"/>
                </a:lnTo>
                <a:lnTo>
                  <a:pt x="0" y="0"/>
                </a:lnTo>
                <a:lnTo>
                  <a:pt x="4" y="3"/>
                </a:lnTo>
                <a:lnTo>
                  <a:pt x="0" y="9"/>
                </a:lnTo>
                <a:lnTo>
                  <a:pt x="0" y="6"/>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08" name="Freeform 6">
            <a:extLst>
              <a:ext uri="{FF2B5EF4-FFF2-40B4-BE49-F238E27FC236}">
                <a16:creationId xmlns:a16="http://schemas.microsoft.com/office/drawing/2014/main" id="{CEA24B5F-4D6C-40A4-293A-552B9FC59BD1}"/>
              </a:ext>
            </a:extLst>
          </p:cNvPr>
          <p:cNvSpPr>
            <a:spLocks noEditPoints="1"/>
          </p:cNvSpPr>
          <p:nvPr userDrawn="1"/>
        </p:nvSpPr>
        <p:spPr bwMode="auto">
          <a:xfrm>
            <a:off x="15839044" y="10092611"/>
            <a:ext cx="98420" cy="69850"/>
          </a:xfrm>
          <a:custGeom>
            <a:avLst/>
            <a:gdLst>
              <a:gd name="T0" fmla="*/ 6 w 31"/>
              <a:gd name="T1" fmla="*/ 12 h 22"/>
              <a:gd name="T2" fmla="*/ 9 w 31"/>
              <a:gd name="T3" fmla="*/ 9 h 22"/>
              <a:gd name="T4" fmla="*/ 6 w 31"/>
              <a:gd name="T5" fmla="*/ 6 h 22"/>
              <a:gd name="T6" fmla="*/ 9 w 31"/>
              <a:gd name="T7" fmla="*/ 6 h 22"/>
              <a:gd name="T8" fmla="*/ 6 w 31"/>
              <a:gd name="T9" fmla="*/ 0 h 22"/>
              <a:gd name="T10" fmla="*/ 3 w 31"/>
              <a:gd name="T11" fmla="*/ 0 h 22"/>
              <a:gd name="T12" fmla="*/ 0 w 31"/>
              <a:gd name="T13" fmla="*/ 6 h 22"/>
              <a:gd name="T14" fmla="*/ 3 w 31"/>
              <a:gd name="T15" fmla="*/ 9 h 22"/>
              <a:gd name="T16" fmla="*/ 3 w 31"/>
              <a:gd name="T17" fmla="*/ 12 h 22"/>
              <a:gd name="T18" fmla="*/ 6 w 31"/>
              <a:gd name="T19" fmla="*/ 12 h 22"/>
              <a:gd name="T20" fmla="*/ 6 w 31"/>
              <a:gd name="T21" fmla="*/ 12 h 22"/>
              <a:gd name="T22" fmla="*/ 6 w 31"/>
              <a:gd name="T23" fmla="*/ 12 h 22"/>
              <a:gd name="T24" fmla="*/ 9 w 31"/>
              <a:gd name="T25" fmla="*/ 22 h 22"/>
              <a:gd name="T26" fmla="*/ 9 w 31"/>
              <a:gd name="T27" fmla="*/ 22 h 22"/>
              <a:gd name="T28" fmla="*/ 12 w 31"/>
              <a:gd name="T29" fmla="*/ 22 h 22"/>
              <a:gd name="T30" fmla="*/ 9 w 31"/>
              <a:gd name="T31" fmla="*/ 22 h 22"/>
              <a:gd name="T32" fmla="*/ 6 w 31"/>
              <a:gd name="T33" fmla="*/ 22 h 22"/>
              <a:gd name="T34" fmla="*/ 9 w 31"/>
              <a:gd name="T35" fmla="*/ 22 h 22"/>
              <a:gd name="T36" fmla="*/ 9 w 31"/>
              <a:gd name="T37" fmla="*/ 22 h 22"/>
              <a:gd name="T38" fmla="*/ 28 w 31"/>
              <a:gd name="T39" fmla="*/ 22 h 22"/>
              <a:gd name="T40" fmla="*/ 31 w 31"/>
              <a:gd name="T41" fmla="*/ 22 h 22"/>
              <a:gd name="T42" fmla="*/ 28 w 31"/>
              <a:gd name="T43" fmla="*/ 15 h 22"/>
              <a:gd name="T44" fmla="*/ 28 w 31"/>
              <a:gd name="T45" fmla="*/ 18 h 22"/>
              <a:gd name="T46" fmla="*/ 25 w 31"/>
              <a:gd name="T47" fmla="*/ 18 h 22"/>
              <a:gd name="T48" fmla="*/ 28 w 31"/>
              <a:gd name="T49" fmla="*/ 22 h 22"/>
              <a:gd name="T50" fmla="*/ 28 w 31"/>
              <a:gd name="T5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22">
                <a:moveTo>
                  <a:pt x="6" y="12"/>
                </a:moveTo>
                <a:lnTo>
                  <a:pt x="9" y="9"/>
                </a:lnTo>
                <a:lnTo>
                  <a:pt x="6" y="6"/>
                </a:lnTo>
                <a:lnTo>
                  <a:pt x="9" y="6"/>
                </a:lnTo>
                <a:lnTo>
                  <a:pt x="6" y="0"/>
                </a:lnTo>
                <a:lnTo>
                  <a:pt x="3" y="0"/>
                </a:lnTo>
                <a:lnTo>
                  <a:pt x="0" y="6"/>
                </a:lnTo>
                <a:lnTo>
                  <a:pt x="3" y="9"/>
                </a:lnTo>
                <a:lnTo>
                  <a:pt x="3" y="12"/>
                </a:lnTo>
                <a:lnTo>
                  <a:pt x="6" y="12"/>
                </a:lnTo>
                <a:lnTo>
                  <a:pt x="6" y="12"/>
                </a:lnTo>
                <a:lnTo>
                  <a:pt x="6" y="12"/>
                </a:lnTo>
                <a:close/>
                <a:moveTo>
                  <a:pt x="9" y="22"/>
                </a:moveTo>
                <a:lnTo>
                  <a:pt x="9" y="22"/>
                </a:lnTo>
                <a:lnTo>
                  <a:pt x="12" y="22"/>
                </a:lnTo>
                <a:lnTo>
                  <a:pt x="9" y="22"/>
                </a:lnTo>
                <a:lnTo>
                  <a:pt x="6" y="22"/>
                </a:lnTo>
                <a:lnTo>
                  <a:pt x="9" y="22"/>
                </a:lnTo>
                <a:lnTo>
                  <a:pt x="9" y="22"/>
                </a:lnTo>
                <a:close/>
                <a:moveTo>
                  <a:pt x="28" y="22"/>
                </a:moveTo>
                <a:lnTo>
                  <a:pt x="31" y="22"/>
                </a:lnTo>
                <a:lnTo>
                  <a:pt x="28" y="15"/>
                </a:lnTo>
                <a:lnTo>
                  <a:pt x="28" y="18"/>
                </a:lnTo>
                <a:lnTo>
                  <a:pt x="25" y="18"/>
                </a:lnTo>
                <a:lnTo>
                  <a:pt x="28" y="22"/>
                </a:lnTo>
                <a:lnTo>
                  <a:pt x="28" y="22"/>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09" name="Freeform 7">
            <a:extLst>
              <a:ext uri="{FF2B5EF4-FFF2-40B4-BE49-F238E27FC236}">
                <a16:creationId xmlns:a16="http://schemas.microsoft.com/office/drawing/2014/main" id="{4148015F-CFE2-15F1-3028-6764DE479678}"/>
              </a:ext>
            </a:extLst>
          </p:cNvPr>
          <p:cNvSpPr>
            <a:spLocks noEditPoints="1"/>
          </p:cNvSpPr>
          <p:nvPr userDrawn="1"/>
        </p:nvSpPr>
        <p:spPr bwMode="auto">
          <a:xfrm>
            <a:off x="16045405" y="9673508"/>
            <a:ext cx="596863" cy="330200"/>
          </a:xfrm>
          <a:custGeom>
            <a:avLst/>
            <a:gdLst>
              <a:gd name="T0" fmla="*/ 182 w 188"/>
              <a:gd name="T1" fmla="*/ 7 h 104"/>
              <a:gd name="T2" fmla="*/ 188 w 188"/>
              <a:gd name="T3" fmla="*/ 3 h 104"/>
              <a:gd name="T4" fmla="*/ 185 w 188"/>
              <a:gd name="T5" fmla="*/ 3 h 104"/>
              <a:gd name="T6" fmla="*/ 182 w 188"/>
              <a:gd name="T7" fmla="*/ 0 h 104"/>
              <a:gd name="T8" fmla="*/ 182 w 188"/>
              <a:gd name="T9" fmla="*/ 3 h 104"/>
              <a:gd name="T10" fmla="*/ 182 w 188"/>
              <a:gd name="T11" fmla="*/ 7 h 104"/>
              <a:gd name="T12" fmla="*/ 182 w 188"/>
              <a:gd name="T13" fmla="*/ 7 h 104"/>
              <a:gd name="T14" fmla="*/ 4 w 188"/>
              <a:gd name="T15" fmla="*/ 100 h 104"/>
              <a:gd name="T16" fmla="*/ 7 w 188"/>
              <a:gd name="T17" fmla="*/ 100 h 104"/>
              <a:gd name="T18" fmla="*/ 7 w 188"/>
              <a:gd name="T19" fmla="*/ 104 h 104"/>
              <a:gd name="T20" fmla="*/ 4 w 188"/>
              <a:gd name="T21" fmla="*/ 100 h 104"/>
              <a:gd name="T22" fmla="*/ 4 w 188"/>
              <a:gd name="T23" fmla="*/ 100 h 104"/>
              <a:gd name="T24" fmla="*/ 0 w 188"/>
              <a:gd name="T25" fmla="*/ 94 h 104"/>
              <a:gd name="T26" fmla="*/ 4 w 188"/>
              <a:gd name="T27" fmla="*/ 91 h 104"/>
              <a:gd name="T28" fmla="*/ 7 w 188"/>
              <a:gd name="T29" fmla="*/ 94 h 104"/>
              <a:gd name="T30" fmla="*/ 7 w 188"/>
              <a:gd name="T31" fmla="*/ 94 h 104"/>
              <a:gd name="T32" fmla="*/ 7 w 188"/>
              <a:gd name="T33" fmla="*/ 94 h 104"/>
              <a:gd name="T34" fmla="*/ 4 w 188"/>
              <a:gd name="T35" fmla="*/ 94 h 104"/>
              <a:gd name="T36" fmla="*/ 0 w 188"/>
              <a:gd name="T37" fmla="*/ 9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8" h="104">
                <a:moveTo>
                  <a:pt x="182" y="7"/>
                </a:moveTo>
                <a:lnTo>
                  <a:pt x="188" y="3"/>
                </a:lnTo>
                <a:lnTo>
                  <a:pt x="185" y="3"/>
                </a:lnTo>
                <a:lnTo>
                  <a:pt x="182" y="0"/>
                </a:lnTo>
                <a:lnTo>
                  <a:pt x="182" y="3"/>
                </a:lnTo>
                <a:lnTo>
                  <a:pt x="182" y="7"/>
                </a:lnTo>
                <a:lnTo>
                  <a:pt x="182" y="7"/>
                </a:lnTo>
                <a:close/>
                <a:moveTo>
                  <a:pt x="4" y="100"/>
                </a:moveTo>
                <a:lnTo>
                  <a:pt x="7" y="100"/>
                </a:lnTo>
                <a:lnTo>
                  <a:pt x="7" y="104"/>
                </a:lnTo>
                <a:lnTo>
                  <a:pt x="4" y="100"/>
                </a:lnTo>
                <a:lnTo>
                  <a:pt x="4" y="100"/>
                </a:lnTo>
                <a:close/>
                <a:moveTo>
                  <a:pt x="0" y="94"/>
                </a:moveTo>
                <a:lnTo>
                  <a:pt x="4" y="91"/>
                </a:lnTo>
                <a:lnTo>
                  <a:pt x="7" y="94"/>
                </a:lnTo>
                <a:lnTo>
                  <a:pt x="7" y="94"/>
                </a:lnTo>
                <a:lnTo>
                  <a:pt x="7" y="94"/>
                </a:lnTo>
                <a:lnTo>
                  <a:pt x="4" y="94"/>
                </a:lnTo>
                <a:lnTo>
                  <a:pt x="0" y="94"/>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0" name="Freeform 8">
            <a:extLst>
              <a:ext uri="{FF2B5EF4-FFF2-40B4-BE49-F238E27FC236}">
                <a16:creationId xmlns:a16="http://schemas.microsoft.com/office/drawing/2014/main" id="{317C6F66-A9E3-BF48-47B1-D16EC261A1D1}"/>
              </a:ext>
            </a:extLst>
          </p:cNvPr>
          <p:cNvSpPr>
            <a:spLocks noEditPoints="1"/>
          </p:cNvSpPr>
          <p:nvPr userDrawn="1"/>
        </p:nvSpPr>
        <p:spPr bwMode="auto">
          <a:xfrm>
            <a:off x="18915422" y="8501930"/>
            <a:ext cx="136517" cy="457200"/>
          </a:xfrm>
          <a:custGeom>
            <a:avLst/>
            <a:gdLst>
              <a:gd name="T0" fmla="*/ 6 w 14"/>
              <a:gd name="T1" fmla="*/ 8 h 46"/>
              <a:gd name="T2" fmla="*/ 5 w 14"/>
              <a:gd name="T3" fmla="*/ 5 h 46"/>
              <a:gd name="T4" fmla="*/ 6 w 14"/>
              <a:gd name="T5" fmla="*/ 3 h 46"/>
              <a:gd name="T6" fmla="*/ 6 w 14"/>
              <a:gd name="T7" fmla="*/ 1 h 46"/>
              <a:gd name="T8" fmla="*/ 4 w 14"/>
              <a:gd name="T9" fmla="*/ 2 h 46"/>
              <a:gd name="T10" fmla="*/ 4 w 14"/>
              <a:gd name="T11" fmla="*/ 5 h 46"/>
              <a:gd name="T12" fmla="*/ 4 w 14"/>
              <a:gd name="T13" fmla="*/ 8 h 46"/>
              <a:gd name="T14" fmla="*/ 4 w 14"/>
              <a:gd name="T15" fmla="*/ 16 h 46"/>
              <a:gd name="T16" fmla="*/ 4 w 14"/>
              <a:gd name="T17" fmla="*/ 13 h 46"/>
              <a:gd name="T18" fmla="*/ 4 w 14"/>
              <a:gd name="T19" fmla="*/ 11 h 46"/>
              <a:gd name="T20" fmla="*/ 5 w 14"/>
              <a:gd name="T21" fmla="*/ 9 h 46"/>
              <a:gd name="T22" fmla="*/ 3 w 14"/>
              <a:gd name="T23" fmla="*/ 12 h 46"/>
              <a:gd name="T24" fmla="*/ 4 w 14"/>
              <a:gd name="T25" fmla="*/ 14 h 46"/>
              <a:gd name="T26" fmla="*/ 4 w 14"/>
              <a:gd name="T27" fmla="*/ 16 h 46"/>
              <a:gd name="T28" fmla="*/ 2 w 14"/>
              <a:gd name="T29" fmla="*/ 15 h 46"/>
              <a:gd name="T30" fmla="*/ 0 w 14"/>
              <a:gd name="T31" fmla="*/ 15 h 46"/>
              <a:gd name="T32" fmla="*/ 4 w 14"/>
              <a:gd name="T33" fmla="*/ 22 h 46"/>
              <a:gd name="T34" fmla="*/ 4 w 14"/>
              <a:gd name="T35" fmla="*/ 19 h 46"/>
              <a:gd name="T36" fmla="*/ 2 w 14"/>
              <a:gd name="T37" fmla="*/ 21 h 46"/>
              <a:gd name="T38" fmla="*/ 6 w 14"/>
              <a:gd name="T39" fmla="*/ 29 h 46"/>
              <a:gd name="T40" fmla="*/ 6 w 14"/>
              <a:gd name="T41" fmla="*/ 30 h 46"/>
              <a:gd name="T42" fmla="*/ 8 w 14"/>
              <a:gd name="T43" fmla="*/ 34 h 46"/>
              <a:gd name="T44" fmla="*/ 9 w 14"/>
              <a:gd name="T45" fmla="*/ 36 h 46"/>
              <a:gd name="T46" fmla="*/ 8 w 14"/>
              <a:gd name="T47" fmla="*/ 34 h 46"/>
              <a:gd name="T48" fmla="*/ 10 w 14"/>
              <a:gd name="T49" fmla="*/ 36 h 46"/>
              <a:gd name="T50" fmla="*/ 11 w 14"/>
              <a:gd name="T51" fmla="*/ 37 h 46"/>
              <a:gd name="T52" fmla="*/ 11 w 14"/>
              <a:gd name="T53" fmla="*/ 35 h 46"/>
              <a:gd name="T54" fmla="*/ 10 w 14"/>
              <a:gd name="T55" fmla="*/ 39 h 46"/>
              <a:gd name="T56" fmla="*/ 10 w 14"/>
              <a:gd name="T57" fmla="*/ 37 h 46"/>
              <a:gd name="T58" fmla="*/ 9 w 14"/>
              <a:gd name="T59" fmla="*/ 39 h 46"/>
              <a:gd name="T60" fmla="*/ 13 w 14"/>
              <a:gd name="T61" fmla="*/ 41 h 46"/>
              <a:gd name="T62" fmla="*/ 11 w 14"/>
              <a:gd name="T63" fmla="*/ 41 h 46"/>
              <a:gd name="T64" fmla="*/ 13 w 14"/>
              <a:gd name="T65" fmla="*/ 42 h 46"/>
              <a:gd name="T66" fmla="*/ 12 w 14"/>
              <a:gd name="T67" fmla="*/ 44 h 46"/>
              <a:gd name="T68" fmla="*/ 13 w 14"/>
              <a:gd name="T69" fmla="*/ 46 h 46"/>
              <a:gd name="T70" fmla="*/ 13 w 14"/>
              <a:gd name="T71" fmla="*/ 44 h 46"/>
              <a:gd name="T72" fmla="*/ 13 w 14"/>
              <a:gd name="T73"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46">
                <a:moveTo>
                  <a:pt x="4" y="9"/>
                </a:moveTo>
                <a:cubicBezTo>
                  <a:pt x="6" y="8"/>
                  <a:pt x="6" y="8"/>
                  <a:pt x="6" y="8"/>
                </a:cubicBezTo>
                <a:cubicBezTo>
                  <a:pt x="6" y="6"/>
                  <a:pt x="6" y="6"/>
                  <a:pt x="6" y="6"/>
                </a:cubicBezTo>
                <a:cubicBezTo>
                  <a:pt x="5" y="5"/>
                  <a:pt x="5" y="5"/>
                  <a:pt x="5" y="5"/>
                </a:cubicBezTo>
                <a:cubicBezTo>
                  <a:pt x="6" y="4"/>
                  <a:pt x="6" y="4"/>
                  <a:pt x="6" y="4"/>
                </a:cubicBezTo>
                <a:cubicBezTo>
                  <a:pt x="6" y="3"/>
                  <a:pt x="6" y="3"/>
                  <a:pt x="6" y="3"/>
                </a:cubicBezTo>
                <a:cubicBezTo>
                  <a:pt x="5" y="2"/>
                  <a:pt x="5" y="2"/>
                  <a:pt x="5" y="2"/>
                </a:cubicBezTo>
                <a:cubicBezTo>
                  <a:pt x="6" y="1"/>
                  <a:pt x="6" y="1"/>
                  <a:pt x="6" y="1"/>
                </a:cubicBezTo>
                <a:cubicBezTo>
                  <a:pt x="5" y="0"/>
                  <a:pt x="5" y="0"/>
                  <a:pt x="5" y="0"/>
                </a:cubicBezTo>
                <a:cubicBezTo>
                  <a:pt x="4" y="2"/>
                  <a:pt x="4" y="2"/>
                  <a:pt x="4" y="2"/>
                </a:cubicBezTo>
                <a:cubicBezTo>
                  <a:pt x="4" y="4"/>
                  <a:pt x="4" y="4"/>
                  <a:pt x="4" y="4"/>
                </a:cubicBezTo>
                <a:cubicBezTo>
                  <a:pt x="4" y="5"/>
                  <a:pt x="4" y="5"/>
                  <a:pt x="4" y="5"/>
                </a:cubicBezTo>
                <a:cubicBezTo>
                  <a:pt x="4" y="5"/>
                  <a:pt x="4" y="5"/>
                  <a:pt x="4" y="5"/>
                </a:cubicBezTo>
                <a:cubicBezTo>
                  <a:pt x="4" y="8"/>
                  <a:pt x="4" y="8"/>
                  <a:pt x="4" y="8"/>
                </a:cubicBezTo>
                <a:cubicBezTo>
                  <a:pt x="4" y="9"/>
                  <a:pt x="4" y="9"/>
                  <a:pt x="4" y="9"/>
                </a:cubicBezTo>
                <a:close/>
                <a:moveTo>
                  <a:pt x="4" y="16"/>
                </a:moveTo>
                <a:cubicBezTo>
                  <a:pt x="4" y="14"/>
                  <a:pt x="4" y="14"/>
                  <a:pt x="4" y="14"/>
                </a:cubicBezTo>
                <a:cubicBezTo>
                  <a:pt x="4" y="13"/>
                  <a:pt x="4" y="13"/>
                  <a:pt x="4" y="13"/>
                </a:cubicBezTo>
                <a:cubicBezTo>
                  <a:pt x="4" y="12"/>
                  <a:pt x="4" y="12"/>
                  <a:pt x="4" y="12"/>
                </a:cubicBezTo>
                <a:cubicBezTo>
                  <a:pt x="4" y="11"/>
                  <a:pt x="4" y="11"/>
                  <a:pt x="4" y="11"/>
                </a:cubicBezTo>
                <a:cubicBezTo>
                  <a:pt x="5" y="10"/>
                  <a:pt x="5" y="10"/>
                  <a:pt x="5" y="10"/>
                </a:cubicBezTo>
                <a:cubicBezTo>
                  <a:pt x="5" y="9"/>
                  <a:pt x="5" y="9"/>
                  <a:pt x="5" y="9"/>
                </a:cubicBezTo>
                <a:cubicBezTo>
                  <a:pt x="3" y="10"/>
                  <a:pt x="3" y="10"/>
                  <a:pt x="3" y="10"/>
                </a:cubicBezTo>
                <a:cubicBezTo>
                  <a:pt x="3" y="12"/>
                  <a:pt x="3" y="12"/>
                  <a:pt x="3" y="12"/>
                </a:cubicBezTo>
                <a:cubicBezTo>
                  <a:pt x="3" y="13"/>
                  <a:pt x="3" y="13"/>
                  <a:pt x="3" y="13"/>
                </a:cubicBezTo>
                <a:cubicBezTo>
                  <a:pt x="4" y="14"/>
                  <a:pt x="4" y="14"/>
                  <a:pt x="4" y="14"/>
                </a:cubicBezTo>
                <a:cubicBezTo>
                  <a:pt x="3" y="15"/>
                  <a:pt x="3" y="15"/>
                  <a:pt x="3" y="15"/>
                </a:cubicBezTo>
                <a:cubicBezTo>
                  <a:pt x="4" y="16"/>
                  <a:pt x="4" y="16"/>
                  <a:pt x="4" y="16"/>
                </a:cubicBezTo>
                <a:close/>
                <a:moveTo>
                  <a:pt x="0" y="15"/>
                </a:moveTo>
                <a:cubicBezTo>
                  <a:pt x="2" y="15"/>
                  <a:pt x="2" y="15"/>
                  <a:pt x="2" y="15"/>
                </a:cubicBezTo>
                <a:cubicBezTo>
                  <a:pt x="1" y="14"/>
                  <a:pt x="1" y="14"/>
                  <a:pt x="1" y="14"/>
                </a:cubicBezTo>
                <a:cubicBezTo>
                  <a:pt x="0" y="15"/>
                  <a:pt x="0" y="15"/>
                  <a:pt x="0" y="15"/>
                </a:cubicBezTo>
                <a:close/>
                <a:moveTo>
                  <a:pt x="2" y="22"/>
                </a:moveTo>
                <a:cubicBezTo>
                  <a:pt x="4" y="22"/>
                  <a:pt x="4" y="22"/>
                  <a:pt x="4" y="22"/>
                </a:cubicBezTo>
                <a:cubicBezTo>
                  <a:pt x="4" y="20"/>
                  <a:pt x="4" y="20"/>
                  <a:pt x="4" y="20"/>
                </a:cubicBezTo>
                <a:cubicBezTo>
                  <a:pt x="4" y="19"/>
                  <a:pt x="4" y="19"/>
                  <a:pt x="4" y="19"/>
                </a:cubicBezTo>
                <a:cubicBezTo>
                  <a:pt x="3" y="19"/>
                  <a:pt x="3" y="19"/>
                  <a:pt x="3" y="19"/>
                </a:cubicBezTo>
                <a:cubicBezTo>
                  <a:pt x="2" y="21"/>
                  <a:pt x="2" y="21"/>
                  <a:pt x="2" y="21"/>
                </a:cubicBezTo>
                <a:cubicBezTo>
                  <a:pt x="2" y="21"/>
                  <a:pt x="2" y="22"/>
                  <a:pt x="2" y="22"/>
                </a:cubicBezTo>
                <a:close/>
                <a:moveTo>
                  <a:pt x="6" y="29"/>
                </a:moveTo>
                <a:cubicBezTo>
                  <a:pt x="5" y="30"/>
                  <a:pt x="5" y="30"/>
                  <a:pt x="5" y="30"/>
                </a:cubicBezTo>
                <a:cubicBezTo>
                  <a:pt x="6" y="30"/>
                  <a:pt x="6" y="30"/>
                  <a:pt x="6" y="30"/>
                </a:cubicBezTo>
                <a:cubicBezTo>
                  <a:pt x="6" y="29"/>
                  <a:pt x="6" y="29"/>
                  <a:pt x="6" y="29"/>
                </a:cubicBezTo>
                <a:close/>
                <a:moveTo>
                  <a:pt x="8" y="34"/>
                </a:moveTo>
                <a:cubicBezTo>
                  <a:pt x="8" y="35"/>
                  <a:pt x="8" y="35"/>
                  <a:pt x="8" y="35"/>
                </a:cubicBezTo>
                <a:cubicBezTo>
                  <a:pt x="9" y="36"/>
                  <a:pt x="9" y="36"/>
                  <a:pt x="9" y="36"/>
                </a:cubicBezTo>
                <a:cubicBezTo>
                  <a:pt x="8" y="35"/>
                  <a:pt x="8" y="35"/>
                  <a:pt x="8" y="35"/>
                </a:cubicBezTo>
                <a:cubicBezTo>
                  <a:pt x="8" y="35"/>
                  <a:pt x="8" y="34"/>
                  <a:pt x="8" y="34"/>
                </a:cubicBezTo>
                <a:close/>
                <a:moveTo>
                  <a:pt x="11" y="35"/>
                </a:moveTo>
                <a:cubicBezTo>
                  <a:pt x="10" y="36"/>
                  <a:pt x="10" y="36"/>
                  <a:pt x="10" y="36"/>
                </a:cubicBezTo>
                <a:cubicBezTo>
                  <a:pt x="11" y="37"/>
                  <a:pt x="11" y="37"/>
                  <a:pt x="11" y="37"/>
                </a:cubicBezTo>
                <a:cubicBezTo>
                  <a:pt x="11" y="37"/>
                  <a:pt x="11" y="37"/>
                  <a:pt x="11" y="37"/>
                </a:cubicBezTo>
                <a:cubicBezTo>
                  <a:pt x="11" y="36"/>
                  <a:pt x="11" y="36"/>
                  <a:pt x="11" y="36"/>
                </a:cubicBezTo>
                <a:cubicBezTo>
                  <a:pt x="11" y="35"/>
                  <a:pt x="11" y="35"/>
                  <a:pt x="11" y="35"/>
                </a:cubicBezTo>
                <a:close/>
                <a:moveTo>
                  <a:pt x="9" y="39"/>
                </a:moveTo>
                <a:cubicBezTo>
                  <a:pt x="10" y="39"/>
                  <a:pt x="10" y="39"/>
                  <a:pt x="10" y="39"/>
                </a:cubicBezTo>
                <a:cubicBezTo>
                  <a:pt x="11" y="39"/>
                  <a:pt x="11" y="39"/>
                  <a:pt x="11" y="39"/>
                </a:cubicBezTo>
                <a:cubicBezTo>
                  <a:pt x="10" y="37"/>
                  <a:pt x="10" y="37"/>
                  <a:pt x="10" y="37"/>
                </a:cubicBezTo>
                <a:cubicBezTo>
                  <a:pt x="9" y="38"/>
                  <a:pt x="9" y="38"/>
                  <a:pt x="9" y="38"/>
                </a:cubicBezTo>
                <a:cubicBezTo>
                  <a:pt x="9" y="39"/>
                  <a:pt x="9" y="39"/>
                  <a:pt x="9" y="39"/>
                </a:cubicBezTo>
                <a:close/>
                <a:moveTo>
                  <a:pt x="12" y="42"/>
                </a:moveTo>
                <a:cubicBezTo>
                  <a:pt x="13" y="41"/>
                  <a:pt x="13" y="41"/>
                  <a:pt x="13" y="41"/>
                </a:cubicBezTo>
                <a:cubicBezTo>
                  <a:pt x="12" y="41"/>
                  <a:pt x="12" y="41"/>
                  <a:pt x="12" y="41"/>
                </a:cubicBezTo>
                <a:cubicBezTo>
                  <a:pt x="11" y="41"/>
                  <a:pt x="11" y="41"/>
                  <a:pt x="11" y="41"/>
                </a:cubicBezTo>
                <a:cubicBezTo>
                  <a:pt x="12" y="42"/>
                  <a:pt x="12" y="42"/>
                  <a:pt x="12" y="42"/>
                </a:cubicBezTo>
                <a:close/>
                <a:moveTo>
                  <a:pt x="13" y="42"/>
                </a:moveTo>
                <a:cubicBezTo>
                  <a:pt x="12" y="43"/>
                  <a:pt x="12" y="43"/>
                  <a:pt x="12" y="43"/>
                </a:cubicBezTo>
                <a:cubicBezTo>
                  <a:pt x="12" y="44"/>
                  <a:pt x="12" y="44"/>
                  <a:pt x="12" y="44"/>
                </a:cubicBezTo>
                <a:cubicBezTo>
                  <a:pt x="12" y="44"/>
                  <a:pt x="12" y="44"/>
                  <a:pt x="12" y="45"/>
                </a:cubicBezTo>
                <a:cubicBezTo>
                  <a:pt x="12" y="45"/>
                  <a:pt x="13" y="46"/>
                  <a:pt x="13" y="46"/>
                </a:cubicBezTo>
                <a:cubicBezTo>
                  <a:pt x="14" y="45"/>
                  <a:pt x="14" y="45"/>
                  <a:pt x="14" y="45"/>
                </a:cubicBezTo>
                <a:cubicBezTo>
                  <a:pt x="13" y="44"/>
                  <a:pt x="13" y="44"/>
                  <a:pt x="13" y="44"/>
                </a:cubicBezTo>
                <a:cubicBezTo>
                  <a:pt x="13" y="43"/>
                  <a:pt x="13" y="43"/>
                  <a:pt x="13" y="43"/>
                </a:cubicBezTo>
                <a:lnTo>
                  <a:pt x="13" y="42"/>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1" name="Freeform 9">
            <a:extLst>
              <a:ext uri="{FF2B5EF4-FFF2-40B4-BE49-F238E27FC236}">
                <a16:creationId xmlns:a16="http://schemas.microsoft.com/office/drawing/2014/main" id="{DD89DE80-3D9E-7C8A-1FEC-797731833B3B}"/>
              </a:ext>
            </a:extLst>
          </p:cNvPr>
          <p:cNvSpPr>
            <a:spLocks noEditPoints="1"/>
          </p:cNvSpPr>
          <p:nvPr userDrawn="1"/>
        </p:nvSpPr>
        <p:spPr bwMode="auto">
          <a:xfrm>
            <a:off x="22179102" y="8371761"/>
            <a:ext cx="79371" cy="149226"/>
          </a:xfrm>
          <a:custGeom>
            <a:avLst/>
            <a:gdLst>
              <a:gd name="T0" fmla="*/ 25 w 25"/>
              <a:gd name="T1" fmla="*/ 0 h 47"/>
              <a:gd name="T2" fmla="*/ 19 w 25"/>
              <a:gd name="T3" fmla="*/ 4 h 47"/>
              <a:gd name="T4" fmla="*/ 22 w 25"/>
              <a:gd name="T5" fmla="*/ 10 h 47"/>
              <a:gd name="T6" fmla="*/ 22 w 25"/>
              <a:gd name="T7" fmla="*/ 4 h 47"/>
              <a:gd name="T8" fmla="*/ 25 w 25"/>
              <a:gd name="T9" fmla="*/ 0 h 47"/>
              <a:gd name="T10" fmla="*/ 25 w 25"/>
              <a:gd name="T11" fmla="*/ 0 h 47"/>
              <a:gd name="T12" fmla="*/ 25 w 25"/>
              <a:gd name="T13" fmla="*/ 0 h 47"/>
              <a:gd name="T14" fmla="*/ 13 w 25"/>
              <a:gd name="T15" fmla="*/ 29 h 47"/>
              <a:gd name="T16" fmla="*/ 16 w 25"/>
              <a:gd name="T17" fmla="*/ 26 h 47"/>
              <a:gd name="T18" fmla="*/ 19 w 25"/>
              <a:gd name="T19" fmla="*/ 29 h 47"/>
              <a:gd name="T20" fmla="*/ 16 w 25"/>
              <a:gd name="T21" fmla="*/ 29 h 47"/>
              <a:gd name="T22" fmla="*/ 13 w 25"/>
              <a:gd name="T23" fmla="*/ 29 h 47"/>
              <a:gd name="T24" fmla="*/ 13 w 25"/>
              <a:gd name="T25" fmla="*/ 29 h 47"/>
              <a:gd name="T26" fmla="*/ 3 w 25"/>
              <a:gd name="T27" fmla="*/ 44 h 47"/>
              <a:gd name="T28" fmla="*/ 3 w 25"/>
              <a:gd name="T29" fmla="*/ 41 h 47"/>
              <a:gd name="T30" fmla="*/ 6 w 25"/>
              <a:gd name="T31" fmla="*/ 38 h 47"/>
              <a:gd name="T32" fmla="*/ 9 w 25"/>
              <a:gd name="T33" fmla="*/ 41 h 47"/>
              <a:gd name="T34" fmla="*/ 6 w 25"/>
              <a:gd name="T35" fmla="*/ 47 h 47"/>
              <a:gd name="T36" fmla="*/ 3 w 25"/>
              <a:gd name="T37" fmla="*/ 47 h 47"/>
              <a:gd name="T38" fmla="*/ 0 w 25"/>
              <a:gd name="T39" fmla="*/ 44 h 47"/>
              <a:gd name="T40" fmla="*/ 3 w 25"/>
              <a:gd name="T41"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47">
                <a:moveTo>
                  <a:pt x="25" y="0"/>
                </a:moveTo>
                <a:lnTo>
                  <a:pt x="19" y="4"/>
                </a:lnTo>
                <a:lnTo>
                  <a:pt x="22" y="10"/>
                </a:lnTo>
                <a:lnTo>
                  <a:pt x="22" y="4"/>
                </a:lnTo>
                <a:lnTo>
                  <a:pt x="25" y="0"/>
                </a:lnTo>
                <a:lnTo>
                  <a:pt x="25" y="0"/>
                </a:lnTo>
                <a:lnTo>
                  <a:pt x="25" y="0"/>
                </a:lnTo>
                <a:close/>
                <a:moveTo>
                  <a:pt x="13" y="29"/>
                </a:moveTo>
                <a:lnTo>
                  <a:pt x="16" y="26"/>
                </a:lnTo>
                <a:lnTo>
                  <a:pt x="19" y="29"/>
                </a:lnTo>
                <a:lnTo>
                  <a:pt x="16" y="29"/>
                </a:lnTo>
                <a:lnTo>
                  <a:pt x="13" y="29"/>
                </a:lnTo>
                <a:lnTo>
                  <a:pt x="13" y="29"/>
                </a:lnTo>
                <a:close/>
                <a:moveTo>
                  <a:pt x="3" y="44"/>
                </a:moveTo>
                <a:lnTo>
                  <a:pt x="3" y="41"/>
                </a:lnTo>
                <a:lnTo>
                  <a:pt x="6" y="38"/>
                </a:lnTo>
                <a:lnTo>
                  <a:pt x="9" y="41"/>
                </a:lnTo>
                <a:lnTo>
                  <a:pt x="6" y="47"/>
                </a:lnTo>
                <a:lnTo>
                  <a:pt x="3" y="47"/>
                </a:lnTo>
                <a:lnTo>
                  <a:pt x="0" y="44"/>
                </a:lnTo>
                <a:lnTo>
                  <a:pt x="3" y="44"/>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2" name="Freeform 10">
            <a:extLst>
              <a:ext uri="{FF2B5EF4-FFF2-40B4-BE49-F238E27FC236}">
                <a16:creationId xmlns:a16="http://schemas.microsoft.com/office/drawing/2014/main" id="{91C92606-AF3B-9C58-F521-F92AE6546400}"/>
              </a:ext>
            </a:extLst>
          </p:cNvPr>
          <p:cNvSpPr>
            <a:spLocks noEditPoints="1"/>
          </p:cNvSpPr>
          <p:nvPr userDrawn="1"/>
        </p:nvSpPr>
        <p:spPr bwMode="auto">
          <a:xfrm>
            <a:off x="14537374" y="1669333"/>
            <a:ext cx="8206842" cy="4946650"/>
          </a:xfrm>
          <a:custGeom>
            <a:avLst/>
            <a:gdLst>
              <a:gd name="T0" fmla="*/ 633 w 827"/>
              <a:gd name="T1" fmla="*/ 408 h 498"/>
              <a:gd name="T2" fmla="*/ 578 w 827"/>
              <a:gd name="T3" fmla="*/ 356 h 498"/>
              <a:gd name="T4" fmla="*/ 516 w 827"/>
              <a:gd name="T5" fmla="*/ 401 h 498"/>
              <a:gd name="T6" fmla="*/ 401 w 827"/>
              <a:gd name="T7" fmla="*/ 403 h 498"/>
              <a:gd name="T8" fmla="*/ 283 w 827"/>
              <a:gd name="T9" fmla="*/ 383 h 498"/>
              <a:gd name="T10" fmla="*/ 208 w 827"/>
              <a:gd name="T11" fmla="*/ 393 h 498"/>
              <a:gd name="T12" fmla="*/ 140 w 827"/>
              <a:gd name="T13" fmla="*/ 425 h 498"/>
              <a:gd name="T14" fmla="*/ 120 w 827"/>
              <a:gd name="T15" fmla="*/ 497 h 498"/>
              <a:gd name="T16" fmla="*/ 69 w 827"/>
              <a:gd name="T17" fmla="*/ 425 h 498"/>
              <a:gd name="T18" fmla="*/ 11 w 827"/>
              <a:gd name="T19" fmla="*/ 334 h 498"/>
              <a:gd name="T20" fmla="*/ 22 w 827"/>
              <a:gd name="T21" fmla="*/ 238 h 498"/>
              <a:gd name="T22" fmla="*/ 30 w 827"/>
              <a:gd name="T23" fmla="*/ 270 h 498"/>
              <a:gd name="T24" fmla="*/ 84 w 827"/>
              <a:gd name="T25" fmla="*/ 263 h 498"/>
              <a:gd name="T26" fmla="*/ 128 w 827"/>
              <a:gd name="T27" fmla="*/ 239 h 498"/>
              <a:gd name="T28" fmla="*/ 204 w 827"/>
              <a:gd name="T29" fmla="*/ 224 h 498"/>
              <a:gd name="T30" fmla="*/ 226 w 827"/>
              <a:gd name="T31" fmla="*/ 227 h 498"/>
              <a:gd name="T32" fmla="*/ 247 w 827"/>
              <a:gd name="T33" fmla="*/ 220 h 498"/>
              <a:gd name="T34" fmla="*/ 239 w 827"/>
              <a:gd name="T35" fmla="*/ 171 h 498"/>
              <a:gd name="T36" fmla="*/ 248 w 827"/>
              <a:gd name="T37" fmla="*/ 144 h 498"/>
              <a:gd name="T38" fmla="*/ 273 w 827"/>
              <a:gd name="T39" fmla="*/ 96 h 498"/>
              <a:gd name="T40" fmla="*/ 311 w 827"/>
              <a:gd name="T41" fmla="*/ 65 h 498"/>
              <a:gd name="T42" fmla="*/ 364 w 827"/>
              <a:gd name="T43" fmla="*/ 94 h 498"/>
              <a:gd name="T44" fmla="*/ 386 w 827"/>
              <a:gd name="T45" fmla="*/ 114 h 498"/>
              <a:gd name="T46" fmla="*/ 466 w 827"/>
              <a:gd name="T47" fmla="*/ 109 h 498"/>
              <a:gd name="T48" fmla="*/ 525 w 827"/>
              <a:gd name="T49" fmla="*/ 102 h 498"/>
              <a:gd name="T50" fmla="*/ 581 w 827"/>
              <a:gd name="T51" fmla="*/ 91 h 498"/>
              <a:gd name="T52" fmla="*/ 705 w 827"/>
              <a:gd name="T53" fmla="*/ 93 h 498"/>
              <a:gd name="T54" fmla="*/ 783 w 827"/>
              <a:gd name="T55" fmla="*/ 77 h 498"/>
              <a:gd name="T56" fmla="*/ 819 w 827"/>
              <a:gd name="T57" fmla="*/ 97 h 498"/>
              <a:gd name="T58" fmla="*/ 796 w 827"/>
              <a:gd name="T59" fmla="*/ 131 h 498"/>
              <a:gd name="T60" fmla="*/ 800 w 827"/>
              <a:gd name="T61" fmla="*/ 187 h 498"/>
              <a:gd name="T62" fmla="*/ 758 w 827"/>
              <a:gd name="T63" fmla="*/ 248 h 498"/>
              <a:gd name="T64" fmla="*/ 772 w 827"/>
              <a:gd name="T65" fmla="*/ 339 h 498"/>
              <a:gd name="T66" fmla="*/ 741 w 827"/>
              <a:gd name="T67" fmla="*/ 206 h 498"/>
              <a:gd name="T68" fmla="*/ 706 w 827"/>
              <a:gd name="T69" fmla="*/ 230 h 498"/>
              <a:gd name="T70" fmla="*/ 661 w 827"/>
              <a:gd name="T71" fmla="*/ 264 h 498"/>
              <a:gd name="T72" fmla="*/ 651 w 827"/>
              <a:gd name="T73" fmla="*/ 333 h 498"/>
              <a:gd name="T74" fmla="*/ 656 w 827"/>
              <a:gd name="T75" fmla="*/ 453 h 498"/>
              <a:gd name="T76" fmla="*/ 56 w 827"/>
              <a:gd name="T77" fmla="*/ 51 h 498"/>
              <a:gd name="T78" fmla="*/ 77 w 827"/>
              <a:gd name="T79" fmla="*/ 31 h 498"/>
              <a:gd name="T80" fmla="*/ 70 w 827"/>
              <a:gd name="T81" fmla="*/ 51 h 498"/>
              <a:gd name="T82" fmla="*/ 74 w 827"/>
              <a:gd name="T83" fmla="*/ 52 h 498"/>
              <a:gd name="T84" fmla="*/ 92 w 827"/>
              <a:gd name="T85" fmla="*/ 44 h 498"/>
              <a:gd name="T86" fmla="*/ 119 w 827"/>
              <a:gd name="T87" fmla="*/ 171 h 498"/>
              <a:gd name="T88" fmla="*/ 145 w 827"/>
              <a:gd name="T89" fmla="*/ 112 h 498"/>
              <a:gd name="T90" fmla="*/ 113 w 827"/>
              <a:gd name="T91" fmla="*/ 159 h 498"/>
              <a:gd name="T92" fmla="*/ 107 w 827"/>
              <a:gd name="T93" fmla="*/ 180 h 498"/>
              <a:gd name="T94" fmla="*/ 137 w 827"/>
              <a:gd name="T95" fmla="*/ 211 h 498"/>
              <a:gd name="T96" fmla="*/ 265 w 827"/>
              <a:gd name="T97" fmla="*/ 189 h 498"/>
              <a:gd name="T98" fmla="*/ 208 w 827"/>
              <a:gd name="T99" fmla="*/ 165 h 498"/>
              <a:gd name="T100" fmla="*/ 223 w 827"/>
              <a:gd name="T101" fmla="*/ 109 h 498"/>
              <a:gd name="T102" fmla="*/ 269 w 827"/>
              <a:gd name="T103" fmla="*/ 79 h 498"/>
              <a:gd name="T104" fmla="*/ 205 w 827"/>
              <a:gd name="T105" fmla="*/ 8 h 498"/>
              <a:gd name="T106" fmla="*/ 236 w 827"/>
              <a:gd name="T107" fmla="*/ 38 h 498"/>
              <a:gd name="T108" fmla="*/ 510 w 827"/>
              <a:gd name="T109" fmla="*/ 26 h 498"/>
              <a:gd name="T110" fmla="*/ 462 w 827"/>
              <a:gd name="T111" fmla="*/ 38 h 498"/>
              <a:gd name="T112" fmla="*/ 276 w 827"/>
              <a:gd name="T113" fmla="*/ 29 h 498"/>
              <a:gd name="T114" fmla="*/ 376 w 827"/>
              <a:gd name="T115" fmla="*/ 103 h 498"/>
              <a:gd name="T116" fmla="*/ 653 w 827"/>
              <a:gd name="T117" fmla="*/ 97 h 498"/>
              <a:gd name="T118" fmla="*/ 700 w 827"/>
              <a:gd name="T119" fmla="*/ 379 h 498"/>
              <a:gd name="T120" fmla="*/ 694 w 827"/>
              <a:gd name="T121" fmla="*/ 402 h 498"/>
              <a:gd name="T122" fmla="*/ 764 w 827"/>
              <a:gd name="T123" fmla="*/ 252 h 498"/>
              <a:gd name="T124" fmla="*/ 761 w 827"/>
              <a:gd name="T125" fmla="*/ 38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7" h="498">
                <a:moveTo>
                  <a:pt x="642" y="458"/>
                </a:moveTo>
                <a:cubicBezTo>
                  <a:pt x="641" y="458"/>
                  <a:pt x="641" y="458"/>
                  <a:pt x="641" y="458"/>
                </a:cubicBezTo>
                <a:cubicBezTo>
                  <a:pt x="640" y="457"/>
                  <a:pt x="640" y="457"/>
                  <a:pt x="640" y="457"/>
                </a:cubicBezTo>
                <a:cubicBezTo>
                  <a:pt x="640" y="457"/>
                  <a:pt x="640" y="457"/>
                  <a:pt x="640" y="457"/>
                </a:cubicBezTo>
                <a:cubicBezTo>
                  <a:pt x="641" y="456"/>
                  <a:pt x="641" y="456"/>
                  <a:pt x="641" y="456"/>
                </a:cubicBezTo>
                <a:cubicBezTo>
                  <a:pt x="641" y="455"/>
                  <a:pt x="641" y="455"/>
                  <a:pt x="641" y="455"/>
                </a:cubicBezTo>
                <a:cubicBezTo>
                  <a:pt x="640" y="455"/>
                  <a:pt x="640" y="455"/>
                  <a:pt x="640" y="455"/>
                </a:cubicBezTo>
                <a:cubicBezTo>
                  <a:pt x="640" y="454"/>
                  <a:pt x="640" y="454"/>
                  <a:pt x="640" y="454"/>
                </a:cubicBezTo>
                <a:cubicBezTo>
                  <a:pt x="640" y="453"/>
                  <a:pt x="640" y="453"/>
                  <a:pt x="640" y="453"/>
                </a:cubicBezTo>
                <a:cubicBezTo>
                  <a:pt x="641" y="453"/>
                  <a:pt x="641" y="453"/>
                  <a:pt x="641" y="453"/>
                </a:cubicBezTo>
                <a:cubicBezTo>
                  <a:pt x="642" y="453"/>
                  <a:pt x="642" y="453"/>
                  <a:pt x="642" y="453"/>
                </a:cubicBezTo>
                <a:cubicBezTo>
                  <a:pt x="643" y="453"/>
                  <a:pt x="643" y="453"/>
                  <a:pt x="643" y="453"/>
                </a:cubicBezTo>
                <a:cubicBezTo>
                  <a:pt x="643" y="452"/>
                  <a:pt x="643" y="452"/>
                  <a:pt x="643" y="452"/>
                </a:cubicBezTo>
                <a:cubicBezTo>
                  <a:pt x="642" y="451"/>
                  <a:pt x="642" y="451"/>
                  <a:pt x="642" y="451"/>
                </a:cubicBezTo>
                <a:cubicBezTo>
                  <a:pt x="643" y="450"/>
                  <a:pt x="643" y="450"/>
                  <a:pt x="643" y="450"/>
                </a:cubicBezTo>
                <a:cubicBezTo>
                  <a:pt x="643" y="450"/>
                  <a:pt x="643" y="450"/>
                  <a:pt x="643" y="450"/>
                </a:cubicBezTo>
                <a:cubicBezTo>
                  <a:pt x="643" y="449"/>
                  <a:pt x="643" y="449"/>
                  <a:pt x="643" y="449"/>
                </a:cubicBezTo>
                <a:cubicBezTo>
                  <a:pt x="643" y="447"/>
                  <a:pt x="643" y="447"/>
                  <a:pt x="643" y="447"/>
                </a:cubicBezTo>
                <a:cubicBezTo>
                  <a:pt x="642" y="447"/>
                  <a:pt x="642" y="447"/>
                  <a:pt x="642" y="447"/>
                </a:cubicBezTo>
                <a:cubicBezTo>
                  <a:pt x="642" y="445"/>
                  <a:pt x="642" y="445"/>
                  <a:pt x="642" y="445"/>
                </a:cubicBezTo>
                <a:cubicBezTo>
                  <a:pt x="642" y="444"/>
                  <a:pt x="642" y="444"/>
                  <a:pt x="642" y="444"/>
                </a:cubicBezTo>
                <a:cubicBezTo>
                  <a:pt x="642" y="442"/>
                  <a:pt x="642" y="442"/>
                  <a:pt x="642" y="442"/>
                </a:cubicBezTo>
                <a:cubicBezTo>
                  <a:pt x="642" y="441"/>
                  <a:pt x="642" y="441"/>
                  <a:pt x="642" y="441"/>
                </a:cubicBezTo>
                <a:cubicBezTo>
                  <a:pt x="641" y="440"/>
                  <a:pt x="641" y="440"/>
                  <a:pt x="641" y="440"/>
                </a:cubicBezTo>
                <a:cubicBezTo>
                  <a:pt x="641" y="439"/>
                  <a:pt x="641" y="439"/>
                  <a:pt x="641" y="439"/>
                </a:cubicBezTo>
                <a:cubicBezTo>
                  <a:pt x="640" y="438"/>
                  <a:pt x="640" y="438"/>
                  <a:pt x="640" y="438"/>
                </a:cubicBezTo>
                <a:cubicBezTo>
                  <a:pt x="639" y="436"/>
                  <a:pt x="639" y="436"/>
                  <a:pt x="639" y="436"/>
                </a:cubicBezTo>
                <a:cubicBezTo>
                  <a:pt x="638" y="435"/>
                  <a:pt x="638" y="435"/>
                  <a:pt x="638" y="435"/>
                </a:cubicBezTo>
                <a:cubicBezTo>
                  <a:pt x="639" y="434"/>
                  <a:pt x="639" y="434"/>
                  <a:pt x="639" y="434"/>
                </a:cubicBezTo>
                <a:cubicBezTo>
                  <a:pt x="639" y="434"/>
                  <a:pt x="639" y="434"/>
                  <a:pt x="639" y="434"/>
                </a:cubicBezTo>
                <a:cubicBezTo>
                  <a:pt x="640" y="434"/>
                  <a:pt x="640" y="434"/>
                  <a:pt x="640" y="434"/>
                </a:cubicBezTo>
                <a:cubicBezTo>
                  <a:pt x="641" y="433"/>
                  <a:pt x="641" y="433"/>
                  <a:pt x="641" y="433"/>
                </a:cubicBezTo>
                <a:cubicBezTo>
                  <a:pt x="641" y="432"/>
                  <a:pt x="641" y="432"/>
                  <a:pt x="641" y="432"/>
                </a:cubicBezTo>
                <a:cubicBezTo>
                  <a:pt x="642" y="430"/>
                  <a:pt x="642" y="430"/>
                  <a:pt x="642" y="430"/>
                </a:cubicBezTo>
                <a:cubicBezTo>
                  <a:pt x="643" y="430"/>
                  <a:pt x="643" y="430"/>
                  <a:pt x="643" y="430"/>
                </a:cubicBezTo>
                <a:cubicBezTo>
                  <a:pt x="644" y="431"/>
                  <a:pt x="644" y="431"/>
                  <a:pt x="644" y="431"/>
                </a:cubicBezTo>
                <a:cubicBezTo>
                  <a:pt x="644" y="431"/>
                  <a:pt x="644" y="431"/>
                  <a:pt x="644" y="431"/>
                </a:cubicBezTo>
                <a:cubicBezTo>
                  <a:pt x="648" y="432"/>
                  <a:pt x="648" y="432"/>
                  <a:pt x="648" y="432"/>
                </a:cubicBezTo>
                <a:cubicBezTo>
                  <a:pt x="649" y="432"/>
                  <a:pt x="649" y="432"/>
                  <a:pt x="649" y="432"/>
                </a:cubicBezTo>
                <a:cubicBezTo>
                  <a:pt x="650" y="432"/>
                  <a:pt x="650" y="432"/>
                  <a:pt x="650" y="432"/>
                </a:cubicBezTo>
                <a:cubicBezTo>
                  <a:pt x="650" y="431"/>
                  <a:pt x="650" y="431"/>
                  <a:pt x="650" y="431"/>
                </a:cubicBezTo>
                <a:cubicBezTo>
                  <a:pt x="650" y="430"/>
                  <a:pt x="650" y="430"/>
                  <a:pt x="650" y="430"/>
                </a:cubicBezTo>
                <a:cubicBezTo>
                  <a:pt x="650" y="430"/>
                  <a:pt x="650" y="430"/>
                  <a:pt x="650" y="430"/>
                </a:cubicBezTo>
                <a:cubicBezTo>
                  <a:pt x="650" y="429"/>
                  <a:pt x="650" y="429"/>
                  <a:pt x="650" y="429"/>
                </a:cubicBezTo>
                <a:cubicBezTo>
                  <a:pt x="650" y="428"/>
                  <a:pt x="650" y="428"/>
                  <a:pt x="650" y="428"/>
                </a:cubicBezTo>
                <a:cubicBezTo>
                  <a:pt x="650" y="428"/>
                  <a:pt x="650" y="428"/>
                  <a:pt x="650" y="428"/>
                </a:cubicBezTo>
                <a:cubicBezTo>
                  <a:pt x="649" y="427"/>
                  <a:pt x="649" y="427"/>
                  <a:pt x="649" y="427"/>
                </a:cubicBezTo>
                <a:cubicBezTo>
                  <a:pt x="650" y="426"/>
                  <a:pt x="650" y="426"/>
                  <a:pt x="650" y="426"/>
                </a:cubicBezTo>
                <a:cubicBezTo>
                  <a:pt x="650" y="425"/>
                  <a:pt x="650" y="425"/>
                  <a:pt x="650" y="425"/>
                </a:cubicBezTo>
                <a:cubicBezTo>
                  <a:pt x="650" y="424"/>
                  <a:pt x="650" y="424"/>
                  <a:pt x="650" y="424"/>
                </a:cubicBezTo>
                <a:cubicBezTo>
                  <a:pt x="650" y="424"/>
                  <a:pt x="650" y="424"/>
                  <a:pt x="650" y="424"/>
                </a:cubicBezTo>
                <a:cubicBezTo>
                  <a:pt x="650" y="423"/>
                  <a:pt x="650" y="423"/>
                  <a:pt x="650" y="423"/>
                </a:cubicBezTo>
                <a:cubicBezTo>
                  <a:pt x="651" y="423"/>
                  <a:pt x="651" y="423"/>
                  <a:pt x="651" y="423"/>
                </a:cubicBezTo>
                <a:cubicBezTo>
                  <a:pt x="650" y="422"/>
                  <a:pt x="650" y="422"/>
                  <a:pt x="650" y="422"/>
                </a:cubicBezTo>
                <a:cubicBezTo>
                  <a:pt x="650" y="422"/>
                  <a:pt x="650" y="422"/>
                  <a:pt x="650" y="422"/>
                </a:cubicBezTo>
                <a:cubicBezTo>
                  <a:pt x="650" y="421"/>
                  <a:pt x="650" y="421"/>
                  <a:pt x="650" y="421"/>
                </a:cubicBezTo>
                <a:cubicBezTo>
                  <a:pt x="650" y="420"/>
                  <a:pt x="650" y="420"/>
                  <a:pt x="650" y="420"/>
                </a:cubicBezTo>
                <a:cubicBezTo>
                  <a:pt x="651" y="420"/>
                  <a:pt x="651" y="420"/>
                  <a:pt x="651" y="420"/>
                </a:cubicBezTo>
                <a:cubicBezTo>
                  <a:pt x="651" y="419"/>
                  <a:pt x="651" y="419"/>
                  <a:pt x="651" y="419"/>
                </a:cubicBezTo>
                <a:cubicBezTo>
                  <a:pt x="651" y="419"/>
                  <a:pt x="651" y="419"/>
                  <a:pt x="651" y="419"/>
                </a:cubicBezTo>
                <a:cubicBezTo>
                  <a:pt x="650" y="417"/>
                  <a:pt x="650" y="417"/>
                  <a:pt x="650" y="417"/>
                </a:cubicBezTo>
                <a:cubicBezTo>
                  <a:pt x="650" y="416"/>
                  <a:pt x="650" y="416"/>
                  <a:pt x="650" y="416"/>
                </a:cubicBezTo>
                <a:cubicBezTo>
                  <a:pt x="650" y="416"/>
                  <a:pt x="650" y="416"/>
                  <a:pt x="650" y="416"/>
                </a:cubicBezTo>
                <a:cubicBezTo>
                  <a:pt x="651" y="415"/>
                  <a:pt x="651" y="415"/>
                  <a:pt x="651" y="415"/>
                </a:cubicBezTo>
                <a:cubicBezTo>
                  <a:pt x="651" y="415"/>
                  <a:pt x="651" y="415"/>
                  <a:pt x="651" y="415"/>
                </a:cubicBezTo>
                <a:cubicBezTo>
                  <a:pt x="650" y="414"/>
                  <a:pt x="650" y="414"/>
                  <a:pt x="650" y="414"/>
                </a:cubicBezTo>
                <a:cubicBezTo>
                  <a:pt x="650" y="414"/>
                  <a:pt x="650" y="414"/>
                  <a:pt x="650" y="414"/>
                </a:cubicBezTo>
                <a:cubicBezTo>
                  <a:pt x="650" y="413"/>
                  <a:pt x="650" y="413"/>
                  <a:pt x="650" y="413"/>
                </a:cubicBezTo>
                <a:cubicBezTo>
                  <a:pt x="650" y="413"/>
                  <a:pt x="650" y="413"/>
                  <a:pt x="650" y="413"/>
                </a:cubicBezTo>
                <a:cubicBezTo>
                  <a:pt x="650" y="412"/>
                  <a:pt x="650" y="412"/>
                  <a:pt x="650" y="412"/>
                </a:cubicBezTo>
                <a:cubicBezTo>
                  <a:pt x="650" y="411"/>
                  <a:pt x="650" y="411"/>
                  <a:pt x="650" y="411"/>
                </a:cubicBezTo>
                <a:cubicBezTo>
                  <a:pt x="650" y="410"/>
                  <a:pt x="650" y="410"/>
                  <a:pt x="650" y="410"/>
                </a:cubicBezTo>
                <a:cubicBezTo>
                  <a:pt x="649" y="410"/>
                  <a:pt x="649" y="410"/>
                  <a:pt x="649" y="410"/>
                </a:cubicBezTo>
                <a:cubicBezTo>
                  <a:pt x="649" y="409"/>
                  <a:pt x="649" y="409"/>
                  <a:pt x="649" y="409"/>
                </a:cubicBezTo>
                <a:cubicBezTo>
                  <a:pt x="650" y="408"/>
                  <a:pt x="650" y="408"/>
                  <a:pt x="650" y="408"/>
                </a:cubicBezTo>
                <a:cubicBezTo>
                  <a:pt x="651" y="408"/>
                  <a:pt x="651" y="408"/>
                  <a:pt x="651" y="408"/>
                </a:cubicBezTo>
                <a:cubicBezTo>
                  <a:pt x="651" y="407"/>
                  <a:pt x="651" y="407"/>
                  <a:pt x="651" y="407"/>
                </a:cubicBezTo>
                <a:cubicBezTo>
                  <a:pt x="651" y="406"/>
                  <a:pt x="651" y="406"/>
                  <a:pt x="651" y="406"/>
                </a:cubicBezTo>
                <a:cubicBezTo>
                  <a:pt x="652" y="405"/>
                  <a:pt x="652" y="405"/>
                  <a:pt x="652" y="405"/>
                </a:cubicBezTo>
                <a:cubicBezTo>
                  <a:pt x="651" y="405"/>
                  <a:pt x="651" y="405"/>
                  <a:pt x="651" y="405"/>
                </a:cubicBezTo>
                <a:cubicBezTo>
                  <a:pt x="650" y="404"/>
                  <a:pt x="650" y="404"/>
                  <a:pt x="650" y="404"/>
                </a:cubicBezTo>
                <a:cubicBezTo>
                  <a:pt x="650" y="403"/>
                  <a:pt x="650" y="403"/>
                  <a:pt x="650" y="403"/>
                </a:cubicBezTo>
                <a:cubicBezTo>
                  <a:pt x="649" y="402"/>
                  <a:pt x="649" y="402"/>
                  <a:pt x="649" y="402"/>
                </a:cubicBezTo>
                <a:cubicBezTo>
                  <a:pt x="649" y="401"/>
                  <a:pt x="649" y="401"/>
                  <a:pt x="649" y="401"/>
                </a:cubicBezTo>
                <a:cubicBezTo>
                  <a:pt x="649" y="401"/>
                  <a:pt x="649" y="401"/>
                  <a:pt x="649" y="401"/>
                </a:cubicBezTo>
                <a:cubicBezTo>
                  <a:pt x="649" y="400"/>
                  <a:pt x="649" y="400"/>
                  <a:pt x="649" y="400"/>
                </a:cubicBezTo>
                <a:cubicBezTo>
                  <a:pt x="648" y="399"/>
                  <a:pt x="648" y="399"/>
                  <a:pt x="648" y="399"/>
                </a:cubicBezTo>
                <a:cubicBezTo>
                  <a:pt x="647" y="399"/>
                  <a:pt x="647" y="399"/>
                  <a:pt x="647" y="399"/>
                </a:cubicBezTo>
                <a:cubicBezTo>
                  <a:pt x="647" y="398"/>
                  <a:pt x="647" y="398"/>
                  <a:pt x="647" y="398"/>
                </a:cubicBezTo>
                <a:cubicBezTo>
                  <a:pt x="645" y="398"/>
                  <a:pt x="645" y="398"/>
                  <a:pt x="645" y="398"/>
                </a:cubicBezTo>
                <a:cubicBezTo>
                  <a:pt x="645" y="398"/>
                  <a:pt x="645" y="398"/>
                  <a:pt x="645" y="398"/>
                </a:cubicBezTo>
                <a:cubicBezTo>
                  <a:pt x="644" y="399"/>
                  <a:pt x="644" y="399"/>
                  <a:pt x="644" y="399"/>
                </a:cubicBezTo>
                <a:cubicBezTo>
                  <a:pt x="643" y="399"/>
                  <a:pt x="643" y="399"/>
                  <a:pt x="643" y="399"/>
                </a:cubicBezTo>
                <a:cubicBezTo>
                  <a:pt x="643" y="400"/>
                  <a:pt x="643" y="400"/>
                  <a:pt x="643" y="400"/>
                </a:cubicBezTo>
                <a:cubicBezTo>
                  <a:pt x="642" y="400"/>
                  <a:pt x="642" y="400"/>
                  <a:pt x="642" y="400"/>
                </a:cubicBezTo>
                <a:cubicBezTo>
                  <a:pt x="642" y="401"/>
                  <a:pt x="642" y="401"/>
                  <a:pt x="642" y="401"/>
                </a:cubicBezTo>
                <a:cubicBezTo>
                  <a:pt x="641" y="402"/>
                  <a:pt x="641" y="402"/>
                  <a:pt x="641" y="402"/>
                </a:cubicBezTo>
                <a:cubicBezTo>
                  <a:pt x="640" y="402"/>
                  <a:pt x="640" y="402"/>
                  <a:pt x="640" y="402"/>
                </a:cubicBezTo>
                <a:cubicBezTo>
                  <a:pt x="639" y="402"/>
                  <a:pt x="639" y="402"/>
                  <a:pt x="639" y="402"/>
                </a:cubicBezTo>
                <a:cubicBezTo>
                  <a:pt x="639" y="403"/>
                  <a:pt x="639" y="403"/>
                  <a:pt x="639" y="403"/>
                </a:cubicBezTo>
                <a:cubicBezTo>
                  <a:pt x="639" y="404"/>
                  <a:pt x="639" y="404"/>
                  <a:pt x="639" y="404"/>
                </a:cubicBezTo>
                <a:cubicBezTo>
                  <a:pt x="638" y="404"/>
                  <a:pt x="638" y="404"/>
                  <a:pt x="638" y="404"/>
                </a:cubicBezTo>
                <a:cubicBezTo>
                  <a:pt x="638" y="405"/>
                  <a:pt x="638" y="405"/>
                  <a:pt x="638" y="405"/>
                </a:cubicBezTo>
                <a:cubicBezTo>
                  <a:pt x="638" y="406"/>
                  <a:pt x="638" y="406"/>
                  <a:pt x="638" y="406"/>
                </a:cubicBezTo>
                <a:cubicBezTo>
                  <a:pt x="637" y="406"/>
                  <a:pt x="637" y="406"/>
                  <a:pt x="637" y="406"/>
                </a:cubicBezTo>
                <a:cubicBezTo>
                  <a:pt x="636" y="407"/>
                  <a:pt x="636" y="407"/>
                  <a:pt x="636" y="407"/>
                </a:cubicBezTo>
                <a:cubicBezTo>
                  <a:pt x="635" y="407"/>
                  <a:pt x="635" y="407"/>
                  <a:pt x="635" y="407"/>
                </a:cubicBezTo>
                <a:cubicBezTo>
                  <a:pt x="634" y="408"/>
                  <a:pt x="634" y="408"/>
                  <a:pt x="634" y="408"/>
                </a:cubicBezTo>
                <a:cubicBezTo>
                  <a:pt x="633" y="407"/>
                  <a:pt x="633" y="407"/>
                  <a:pt x="633" y="407"/>
                </a:cubicBezTo>
                <a:cubicBezTo>
                  <a:pt x="633" y="408"/>
                  <a:pt x="633" y="408"/>
                  <a:pt x="633" y="408"/>
                </a:cubicBezTo>
                <a:cubicBezTo>
                  <a:pt x="632" y="408"/>
                  <a:pt x="632" y="408"/>
                  <a:pt x="632" y="408"/>
                </a:cubicBezTo>
                <a:cubicBezTo>
                  <a:pt x="632" y="407"/>
                  <a:pt x="632" y="407"/>
                  <a:pt x="632" y="407"/>
                </a:cubicBezTo>
                <a:cubicBezTo>
                  <a:pt x="631" y="407"/>
                  <a:pt x="631" y="407"/>
                  <a:pt x="631" y="407"/>
                </a:cubicBezTo>
                <a:cubicBezTo>
                  <a:pt x="630" y="407"/>
                  <a:pt x="630" y="407"/>
                  <a:pt x="630" y="407"/>
                </a:cubicBezTo>
                <a:cubicBezTo>
                  <a:pt x="629" y="407"/>
                  <a:pt x="629" y="407"/>
                  <a:pt x="629" y="407"/>
                </a:cubicBezTo>
                <a:cubicBezTo>
                  <a:pt x="628" y="407"/>
                  <a:pt x="628" y="407"/>
                  <a:pt x="628" y="407"/>
                </a:cubicBezTo>
                <a:cubicBezTo>
                  <a:pt x="628" y="407"/>
                  <a:pt x="628" y="407"/>
                  <a:pt x="628" y="407"/>
                </a:cubicBezTo>
                <a:cubicBezTo>
                  <a:pt x="627" y="406"/>
                  <a:pt x="627" y="406"/>
                  <a:pt x="627" y="406"/>
                </a:cubicBezTo>
                <a:cubicBezTo>
                  <a:pt x="626" y="405"/>
                  <a:pt x="626" y="405"/>
                  <a:pt x="626" y="405"/>
                </a:cubicBezTo>
                <a:cubicBezTo>
                  <a:pt x="625" y="404"/>
                  <a:pt x="625" y="404"/>
                  <a:pt x="625" y="404"/>
                </a:cubicBezTo>
                <a:cubicBezTo>
                  <a:pt x="625" y="403"/>
                  <a:pt x="625" y="403"/>
                  <a:pt x="625" y="403"/>
                </a:cubicBezTo>
                <a:cubicBezTo>
                  <a:pt x="626" y="402"/>
                  <a:pt x="626" y="402"/>
                  <a:pt x="626" y="402"/>
                </a:cubicBezTo>
                <a:cubicBezTo>
                  <a:pt x="626" y="401"/>
                  <a:pt x="626" y="401"/>
                  <a:pt x="626" y="401"/>
                </a:cubicBezTo>
                <a:cubicBezTo>
                  <a:pt x="625" y="400"/>
                  <a:pt x="625" y="400"/>
                  <a:pt x="625" y="400"/>
                </a:cubicBezTo>
                <a:cubicBezTo>
                  <a:pt x="625" y="399"/>
                  <a:pt x="625" y="399"/>
                  <a:pt x="625" y="399"/>
                </a:cubicBezTo>
                <a:cubicBezTo>
                  <a:pt x="624" y="399"/>
                  <a:pt x="624" y="399"/>
                  <a:pt x="624" y="399"/>
                </a:cubicBezTo>
                <a:cubicBezTo>
                  <a:pt x="624" y="398"/>
                  <a:pt x="624" y="398"/>
                  <a:pt x="624" y="398"/>
                </a:cubicBezTo>
                <a:cubicBezTo>
                  <a:pt x="624" y="398"/>
                  <a:pt x="624" y="398"/>
                  <a:pt x="624" y="398"/>
                </a:cubicBezTo>
                <a:cubicBezTo>
                  <a:pt x="624" y="397"/>
                  <a:pt x="624" y="397"/>
                  <a:pt x="624" y="397"/>
                </a:cubicBezTo>
                <a:cubicBezTo>
                  <a:pt x="625" y="396"/>
                  <a:pt x="625" y="396"/>
                  <a:pt x="625" y="396"/>
                </a:cubicBezTo>
                <a:cubicBezTo>
                  <a:pt x="624" y="396"/>
                  <a:pt x="624" y="396"/>
                  <a:pt x="624" y="396"/>
                </a:cubicBezTo>
                <a:cubicBezTo>
                  <a:pt x="624" y="396"/>
                  <a:pt x="624" y="396"/>
                  <a:pt x="624" y="396"/>
                </a:cubicBezTo>
                <a:cubicBezTo>
                  <a:pt x="623" y="396"/>
                  <a:pt x="623" y="396"/>
                  <a:pt x="623" y="396"/>
                </a:cubicBezTo>
                <a:cubicBezTo>
                  <a:pt x="622" y="396"/>
                  <a:pt x="622" y="396"/>
                  <a:pt x="622" y="396"/>
                </a:cubicBezTo>
                <a:cubicBezTo>
                  <a:pt x="622" y="397"/>
                  <a:pt x="622" y="397"/>
                  <a:pt x="622" y="397"/>
                </a:cubicBezTo>
                <a:cubicBezTo>
                  <a:pt x="621" y="397"/>
                  <a:pt x="621" y="397"/>
                  <a:pt x="621" y="397"/>
                </a:cubicBezTo>
                <a:cubicBezTo>
                  <a:pt x="620" y="396"/>
                  <a:pt x="620" y="396"/>
                  <a:pt x="620" y="396"/>
                </a:cubicBezTo>
                <a:cubicBezTo>
                  <a:pt x="619" y="396"/>
                  <a:pt x="619" y="396"/>
                  <a:pt x="619" y="396"/>
                </a:cubicBezTo>
                <a:cubicBezTo>
                  <a:pt x="619" y="396"/>
                  <a:pt x="619" y="396"/>
                  <a:pt x="619" y="396"/>
                </a:cubicBezTo>
                <a:cubicBezTo>
                  <a:pt x="618" y="395"/>
                  <a:pt x="618" y="395"/>
                  <a:pt x="618" y="395"/>
                </a:cubicBezTo>
                <a:cubicBezTo>
                  <a:pt x="618" y="394"/>
                  <a:pt x="618" y="394"/>
                  <a:pt x="618" y="394"/>
                </a:cubicBezTo>
                <a:cubicBezTo>
                  <a:pt x="617" y="394"/>
                  <a:pt x="617" y="394"/>
                  <a:pt x="617" y="394"/>
                </a:cubicBezTo>
                <a:cubicBezTo>
                  <a:pt x="617" y="394"/>
                  <a:pt x="617" y="394"/>
                  <a:pt x="617" y="394"/>
                </a:cubicBezTo>
                <a:cubicBezTo>
                  <a:pt x="616" y="393"/>
                  <a:pt x="616" y="393"/>
                  <a:pt x="616" y="393"/>
                </a:cubicBezTo>
                <a:cubicBezTo>
                  <a:pt x="616" y="393"/>
                  <a:pt x="616" y="393"/>
                  <a:pt x="616" y="393"/>
                </a:cubicBezTo>
                <a:cubicBezTo>
                  <a:pt x="615" y="393"/>
                  <a:pt x="615" y="393"/>
                  <a:pt x="615" y="393"/>
                </a:cubicBezTo>
                <a:cubicBezTo>
                  <a:pt x="615" y="392"/>
                  <a:pt x="615" y="392"/>
                  <a:pt x="615" y="392"/>
                </a:cubicBezTo>
                <a:cubicBezTo>
                  <a:pt x="614" y="391"/>
                  <a:pt x="614" y="391"/>
                  <a:pt x="614" y="391"/>
                </a:cubicBezTo>
                <a:cubicBezTo>
                  <a:pt x="614" y="391"/>
                  <a:pt x="614" y="391"/>
                  <a:pt x="614" y="391"/>
                </a:cubicBezTo>
                <a:cubicBezTo>
                  <a:pt x="613" y="391"/>
                  <a:pt x="613" y="391"/>
                  <a:pt x="613" y="391"/>
                </a:cubicBezTo>
                <a:cubicBezTo>
                  <a:pt x="613" y="392"/>
                  <a:pt x="613" y="392"/>
                  <a:pt x="613" y="392"/>
                </a:cubicBezTo>
                <a:cubicBezTo>
                  <a:pt x="612" y="391"/>
                  <a:pt x="612" y="391"/>
                  <a:pt x="612" y="391"/>
                </a:cubicBezTo>
                <a:cubicBezTo>
                  <a:pt x="612" y="392"/>
                  <a:pt x="612" y="392"/>
                  <a:pt x="612" y="392"/>
                </a:cubicBezTo>
                <a:cubicBezTo>
                  <a:pt x="611" y="392"/>
                  <a:pt x="611" y="392"/>
                  <a:pt x="611" y="392"/>
                </a:cubicBezTo>
                <a:cubicBezTo>
                  <a:pt x="611" y="392"/>
                  <a:pt x="611" y="392"/>
                  <a:pt x="611" y="392"/>
                </a:cubicBezTo>
                <a:cubicBezTo>
                  <a:pt x="610" y="391"/>
                  <a:pt x="610" y="391"/>
                  <a:pt x="610" y="391"/>
                </a:cubicBezTo>
                <a:cubicBezTo>
                  <a:pt x="610" y="391"/>
                  <a:pt x="610" y="391"/>
                  <a:pt x="610" y="391"/>
                </a:cubicBezTo>
                <a:cubicBezTo>
                  <a:pt x="608" y="391"/>
                  <a:pt x="608" y="391"/>
                  <a:pt x="608" y="391"/>
                </a:cubicBezTo>
                <a:cubicBezTo>
                  <a:pt x="608" y="390"/>
                  <a:pt x="608" y="390"/>
                  <a:pt x="608" y="390"/>
                </a:cubicBezTo>
                <a:cubicBezTo>
                  <a:pt x="608" y="390"/>
                  <a:pt x="608" y="390"/>
                  <a:pt x="608" y="390"/>
                </a:cubicBezTo>
                <a:cubicBezTo>
                  <a:pt x="608" y="389"/>
                  <a:pt x="608" y="389"/>
                  <a:pt x="608" y="389"/>
                </a:cubicBezTo>
                <a:cubicBezTo>
                  <a:pt x="607" y="389"/>
                  <a:pt x="607" y="389"/>
                  <a:pt x="607" y="389"/>
                </a:cubicBezTo>
                <a:cubicBezTo>
                  <a:pt x="607" y="390"/>
                  <a:pt x="607" y="390"/>
                  <a:pt x="607" y="390"/>
                </a:cubicBezTo>
                <a:cubicBezTo>
                  <a:pt x="605" y="390"/>
                  <a:pt x="605" y="390"/>
                  <a:pt x="605" y="390"/>
                </a:cubicBezTo>
                <a:cubicBezTo>
                  <a:pt x="605" y="390"/>
                  <a:pt x="605" y="390"/>
                  <a:pt x="605" y="390"/>
                </a:cubicBezTo>
                <a:cubicBezTo>
                  <a:pt x="604" y="390"/>
                  <a:pt x="604" y="390"/>
                  <a:pt x="604" y="390"/>
                </a:cubicBezTo>
                <a:cubicBezTo>
                  <a:pt x="604" y="390"/>
                  <a:pt x="604" y="390"/>
                  <a:pt x="604" y="390"/>
                </a:cubicBezTo>
                <a:cubicBezTo>
                  <a:pt x="603" y="390"/>
                  <a:pt x="603" y="390"/>
                  <a:pt x="603" y="390"/>
                </a:cubicBezTo>
                <a:cubicBezTo>
                  <a:pt x="602" y="389"/>
                  <a:pt x="602" y="389"/>
                  <a:pt x="602" y="389"/>
                </a:cubicBezTo>
                <a:cubicBezTo>
                  <a:pt x="601" y="389"/>
                  <a:pt x="601" y="389"/>
                  <a:pt x="601" y="389"/>
                </a:cubicBezTo>
                <a:cubicBezTo>
                  <a:pt x="600" y="387"/>
                  <a:pt x="600" y="387"/>
                  <a:pt x="600" y="387"/>
                </a:cubicBezTo>
                <a:cubicBezTo>
                  <a:pt x="599" y="386"/>
                  <a:pt x="599" y="386"/>
                  <a:pt x="599" y="386"/>
                </a:cubicBezTo>
                <a:cubicBezTo>
                  <a:pt x="599" y="385"/>
                  <a:pt x="599" y="385"/>
                  <a:pt x="599" y="385"/>
                </a:cubicBezTo>
                <a:cubicBezTo>
                  <a:pt x="599" y="384"/>
                  <a:pt x="599" y="384"/>
                  <a:pt x="599" y="384"/>
                </a:cubicBezTo>
                <a:cubicBezTo>
                  <a:pt x="598" y="384"/>
                  <a:pt x="598" y="384"/>
                  <a:pt x="598" y="384"/>
                </a:cubicBezTo>
                <a:cubicBezTo>
                  <a:pt x="598" y="383"/>
                  <a:pt x="598" y="383"/>
                  <a:pt x="598" y="383"/>
                </a:cubicBezTo>
                <a:cubicBezTo>
                  <a:pt x="598" y="382"/>
                  <a:pt x="598" y="382"/>
                  <a:pt x="598" y="382"/>
                </a:cubicBezTo>
                <a:cubicBezTo>
                  <a:pt x="597" y="382"/>
                  <a:pt x="597" y="382"/>
                  <a:pt x="597" y="382"/>
                </a:cubicBezTo>
                <a:cubicBezTo>
                  <a:pt x="597" y="381"/>
                  <a:pt x="597" y="381"/>
                  <a:pt x="597" y="381"/>
                </a:cubicBezTo>
                <a:cubicBezTo>
                  <a:pt x="597" y="379"/>
                  <a:pt x="597" y="379"/>
                  <a:pt x="597" y="379"/>
                </a:cubicBezTo>
                <a:cubicBezTo>
                  <a:pt x="594" y="378"/>
                  <a:pt x="594" y="378"/>
                  <a:pt x="594" y="378"/>
                </a:cubicBezTo>
                <a:cubicBezTo>
                  <a:pt x="593" y="376"/>
                  <a:pt x="593" y="376"/>
                  <a:pt x="593" y="376"/>
                </a:cubicBezTo>
                <a:cubicBezTo>
                  <a:pt x="593" y="376"/>
                  <a:pt x="593" y="376"/>
                  <a:pt x="593" y="376"/>
                </a:cubicBezTo>
                <a:cubicBezTo>
                  <a:pt x="592" y="375"/>
                  <a:pt x="592" y="375"/>
                  <a:pt x="592" y="375"/>
                </a:cubicBezTo>
                <a:cubicBezTo>
                  <a:pt x="592" y="375"/>
                  <a:pt x="592" y="375"/>
                  <a:pt x="592" y="375"/>
                </a:cubicBezTo>
                <a:cubicBezTo>
                  <a:pt x="591" y="375"/>
                  <a:pt x="591" y="375"/>
                  <a:pt x="591" y="375"/>
                </a:cubicBezTo>
                <a:cubicBezTo>
                  <a:pt x="592" y="374"/>
                  <a:pt x="592" y="374"/>
                  <a:pt x="592" y="374"/>
                </a:cubicBezTo>
                <a:cubicBezTo>
                  <a:pt x="592" y="373"/>
                  <a:pt x="592" y="373"/>
                  <a:pt x="592" y="373"/>
                </a:cubicBezTo>
                <a:cubicBezTo>
                  <a:pt x="591" y="373"/>
                  <a:pt x="591" y="373"/>
                  <a:pt x="591" y="373"/>
                </a:cubicBezTo>
                <a:cubicBezTo>
                  <a:pt x="590" y="372"/>
                  <a:pt x="590" y="372"/>
                  <a:pt x="590" y="372"/>
                </a:cubicBezTo>
                <a:cubicBezTo>
                  <a:pt x="590" y="371"/>
                  <a:pt x="590" y="371"/>
                  <a:pt x="590" y="371"/>
                </a:cubicBezTo>
                <a:cubicBezTo>
                  <a:pt x="590" y="371"/>
                  <a:pt x="590" y="371"/>
                  <a:pt x="590" y="371"/>
                </a:cubicBezTo>
                <a:cubicBezTo>
                  <a:pt x="589" y="370"/>
                  <a:pt x="589" y="370"/>
                  <a:pt x="589" y="370"/>
                </a:cubicBezTo>
                <a:cubicBezTo>
                  <a:pt x="588" y="368"/>
                  <a:pt x="588" y="368"/>
                  <a:pt x="588" y="368"/>
                </a:cubicBezTo>
                <a:cubicBezTo>
                  <a:pt x="587" y="368"/>
                  <a:pt x="587" y="368"/>
                  <a:pt x="587" y="368"/>
                </a:cubicBezTo>
                <a:cubicBezTo>
                  <a:pt x="587" y="367"/>
                  <a:pt x="587" y="367"/>
                  <a:pt x="587" y="367"/>
                </a:cubicBezTo>
                <a:cubicBezTo>
                  <a:pt x="587" y="366"/>
                  <a:pt x="587" y="366"/>
                  <a:pt x="587" y="366"/>
                </a:cubicBezTo>
                <a:cubicBezTo>
                  <a:pt x="587" y="365"/>
                  <a:pt x="587" y="365"/>
                  <a:pt x="587" y="365"/>
                </a:cubicBezTo>
                <a:cubicBezTo>
                  <a:pt x="585" y="365"/>
                  <a:pt x="585" y="365"/>
                  <a:pt x="585" y="365"/>
                </a:cubicBezTo>
                <a:cubicBezTo>
                  <a:pt x="585" y="365"/>
                  <a:pt x="585" y="365"/>
                  <a:pt x="585" y="365"/>
                </a:cubicBezTo>
                <a:cubicBezTo>
                  <a:pt x="585" y="364"/>
                  <a:pt x="585" y="364"/>
                  <a:pt x="585" y="364"/>
                </a:cubicBezTo>
                <a:cubicBezTo>
                  <a:pt x="585" y="364"/>
                  <a:pt x="585" y="364"/>
                  <a:pt x="585" y="364"/>
                </a:cubicBezTo>
                <a:cubicBezTo>
                  <a:pt x="585" y="363"/>
                  <a:pt x="585" y="363"/>
                  <a:pt x="585" y="363"/>
                </a:cubicBezTo>
                <a:cubicBezTo>
                  <a:pt x="584" y="362"/>
                  <a:pt x="584" y="362"/>
                  <a:pt x="584" y="362"/>
                </a:cubicBezTo>
                <a:cubicBezTo>
                  <a:pt x="584" y="362"/>
                  <a:pt x="584" y="362"/>
                  <a:pt x="584" y="362"/>
                </a:cubicBezTo>
                <a:cubicBezTo>
                  <a:pt x="584" y="361"/>
                  <a:pt x="584" y="361"/>
                  <a:pt x="584" y="361"/>
                </a:cubicBezTo>
                <a:cubicBezTo>
                  <a:pt x="583" y="361"/>
                  <a:pt x="583" y="361"/>
                  <a:pt x="583" y="361"/>
                </a:cubicBezTo>
                <a:cubicBezTo>
                  <a:pt x="583" y="361"/>
                  <a:pt x="583" y="361"/>
                  <a:pt x="583" y="361"/>
                </a:cubicBezTo>
                <a:cubicBezTo>
                  <a:pt x="581" y="360"/>
                  <a:pt x="581" y="360"/>
                  <a:pt x="581" y="360"/>
                </a:cubicBezTo>
                <a:cubicBezTo>
                  <a:pt x="581" y="360"/>
                  <a:pt x="581" y="360"/>
                  <a:pt x="581" y="360"/>
                </a:cubicBezTo>
                <a:cubicBezTo>
                  <a:pt x="582" y="359"/>
                  <a:pt x="582" y="359"/>
                  <a:pt x="582" y="359"/>
                </a:cubicBezTo>
                <a:cubicBezTo>
                  <a:pt x="581" y="359"/>
                  <a:pt x="581" y="359"/>
                  <a:pt x="581" y="359"/>
                </a:cubicBezTo>
                <a:cubicBezTo>
                  <a:pt x="580" y="359"/>
                  <a:pt x="580" y="359"/>
                  <a:pt x="580" y="359"/>
                </a:cubicBezTo>
                <a:cubicBezTo>
                  <a:pt x="580" y="359"/>
                  <a:pt x="580" y="359"/>
                  <a:pt x="580" y="359"/>
                </a:cubicBezTo>
                <a:cubicBezTo>
                  <a:pt x="580" y="359"/>
                  <a:pt x="580" y="359"/>
                  <a:pt x="580" y="359"/>
                </a:cubicBezTo>
                <a:cubicBezTo>
                  <a:pt x="579" y="359"/>
                  <a:pt x="579" y="359"/>
                  <a:pt x="579" y="359"/>
                </a:cubicBezTo>
                <a:cubicBezTo>
                  <a:pt x="579" y="358"/>
                  <a:pt x="579" y="358"/>
                  <a:pt x="579" y="358"/>
                </a:cubicBezTo>
                <a:cubicBezTo>
                  <a:pt x="579" y="357"/>
                  <a:pt x="579" y="357"/>
                  <a:pt x="579" y="357"/>
                </a:cubicBezTo>
                <a:cubicBezTo>
                  <a:pt x="578" y="357"/>
                  <a:pt x="578" y="357"/>
                  <a:pt x="578" y="357"/>
                </a:cubicBezTo>
                <a:cubicBezTo>
                  <a:pt x="578" y="356"/>
                  <a:pt x="578" y="356"/>
                  <a:pt x="578" y="356"/>
                </a:cubicBezTo>
                <a:cubicBezTo>
                  <a:pt x="577" y="356"/>
                  <a:pt x="577" y="356"/>
                  <a:pt x="577" y="356"/>
                </a:cubicBezTo>
                <a:cubicBezTo>
                  <a:pt x="576" y="356"/>
                  <a:pt x="576" y="356"/>
                  <a:pt x="576" y="356"/>
                </a:cubicBezTo>
                <a:cubicBezTo>
                  <a:pt x="576" y="356"/>
                  <a:pt x="576" y="356"/>
                  <a:pt x="576" y="356"/>
                </a:cubicBezTo>
                <a:cubicBezTo>
                  <a:pt x="575" y="356"/>
                  <a:pt x="575" y="356"/>
                  <a:pt x="575" y="356"/>
                </a:cubicBezTo>
                <a:cubicBezTo>
                  <a:pt x="574" y="356"/>
                  <a:pt x="574" y="356"/>
                  <a:pt x="574" y="356"/>
                </a:cubicBezTo>
                <a:cubicBezTo>
                  <a:pt x="574" y="356"/>
                  <a:pt x="574" y="356"/>
                  <a:pt x="574" y="356"/>
                </a:cubicBezTo>
                <a:cubicBezTo>
                  <a:pt x="574" y="357"/>
                  <a:pt x="574" y="357"/>
                  <a:pt x="574" y="357"/>
                </a:cubicBezTo>
                <a:cubicBezTo>
                  <a:pt x="573" y="357"/>
                  <a:pt x="573" y="357"/>
                  <a:pt x="573" y="357"/>
                </a:cubicBezTo>
                <a:cubicBezTo>
                  <a:pt x="572" y="356"/>
                  <a:pt x="572" y="356"/>
                  <a:pt x="572" y="356"/>
                </a:cubicBezTo>
                <a:cubicBezTo>
                  <a:pt x="572" y="356"/>
                  <a:pt x="572" y="356"/>
                  <a:pt x="572" y="356"/>
                </a:cubicBezTo>
                <a:cubicBezTo>
                  <a:pt x="571" y="356"/>
                  <a:pt x="571" y="356"/>
                  <a:pt x="571" y="356"/>
                </a:cubicBezTo>
                <a:cubicBezTo>
                  <a:pt x="570" y="356"/>
                  <a:pt x="570" y="356"/>
                  <a:pt x="570" y="356"/>
                </a:cubicBezTo>
                <a:cubicBezTo>
                  <a:pt x="569" y="356"/>
                  <a:pt x="569" y="356"/>
                  <a:pt x="569" y="356"/>
                </a:cubicBezTo>
                <a:cubicBezTo>
                  <a:pt x="569" y="355"/>
                  <a:pt x="569" y="355"/>
                  <a:pt x="569" y="355"/>
                </a:cubicBezTo>
                <a:cubicBezTo>
                  <a:pt x="567" y="355"/>
                  <a:pt x="567" y="355"/>
                  <a:pt x="567" y="355"/>
                </a:cubicBezTo>
                <a:cubicBezTo>
                  <a:pt x="566" y="354"/>
                  <a:pt x="566" y="354"/>
                  <a:pt x="566" y="354"/>
                </a:cubicBezTo>
                <a:cubicBezTo>
                  <a:pt x="565" y="354"/>
                  <a:pt x="565" y="354"/>
                  <a:pt x="565" y="354"/>
                </a:cubicBezTo>
                <a:cubicBezTo>
                  <a:pt x="564" y="354"/>
                  <a:pt x="564" y="354"/>
                  <a:pt x="564" y="354"/>
                </a:cubicBezTo>
                <a:cubicBezTo>
                  <a:pt x="564" y="354"/>
                  <a:pt x="564" y="354"/>
                  <a:pt x="564" y="354"/>
                </a:cubicBezTo>
                <a:cubicBezTo>
                  <a:pt x="562" y="354"/>
                  <a:pt x="562" y="354"/>
                  <a:pt x="562" y="354"/>
                </a:cubicBezTo>
                <a:cubicBezTo>
                  <a:pt x="562" y="355"/>
                  <a:pt x="562" y="355"/>
                  <a:pt x="562" y="355"/>
                </a:cubicBezTo>
                <a:cubicBezTo>
                  <a:pt x="561" y="355"/>
                  <a:pt x="561" y="355"/>
                  <a:pt x="561" y="355"/>
                </a:cubicBezTo>
                <a:cubicBezTo>
                  <a:pt x="560" y="356"/>
                  <a:pt x="560" y="356"/>
                  <a:pt x="560" y="356"/>
                </a:cubicBezTo>
                <a:cubicBezTo>
                  <a:pt x="559" y="356"/>
                  <a:pt x="559" y="356"/>
                  <a:pt x="559" y="356"/>
                </a:cubicBezTo>
                <a:cubicBezTo>
                  <a:pt x="558" y="356"/>
                  <a:pt x="558" y="356"/>
                  <a:pt x="558" y="356"/>
                </a:cubicBezTo>
                <a:cubicBezTo>
                  <a:pt x="557" y="356"/>
                  <a:pt x="557" y="356"/>
                  <a:pt x="557" y="356"/>
                </a:cubicBezTo>
                <a:cubicBezTo>
                  <a:pt x="556" y="357"/>
                  <a:pt x="556" y="357"/>
                  <a:pt x="556" y="357"/>
                </a:cubicBezTo>
                <a:cubicBezTo>
                  <a:pt x="555" y="357"/>
                  <a:pt x="555" y="357"/>
                  <a:pt x="555" y="357"/>
                </a:cubicBezTo>
                <a:cubicBezTo>
                  <a:pt x="555" y="358"/>
                  <a:pt x="555" y="358"/>
                  <a:pt x="555" y="358"/>
                </a:cubicBezTo>
                <a:cubicBezTo>
                  <a:pt x="554" y="358"/>
                  <a:pt x="554" y="358"/>
                  <a:pt x="554" y="358"/>
                </a:cubicBezTo>
                <a:cubicBezTo>
                  <a:pt x="553" y="358"/>
                  <a:pt x="553" y="358"/>
                  <a:pt x="553" y="358"/>
                </a:cubicBezTo>
                <a:cubicBezTo>
                  <a:pt x="553" y="358"/>
                  <a:pt x="553" y="358"/>
                  <a:pt x="553" y="358"/>
                </a:cubicBezTo>
                <a:cubicBezTo>
                  <a:pt x="552" y="358"/>
                  <a:pt x="552" y="358"/>
                  <a:pt x="552" y="358"/>
                </a:cubicBezTo>
                <a:cubicBezTo>
                  <a:pt x="551" y="358"/>
                  <a:pt x="551" y="358"/>
                  <a:pt x="551" y="358"/>
                </a:cubicBezTo>
                <a:cubicBezTo>
                  <a:pt x="549" y="359"/>
                  <a:pt x="549" y="359"/>
                  <a:pt x="549" y="359"/>
                </a:cubicBezTo>
                <a:cubicBezTo>
                  <a:pt x="549" y="359"/>
                  <a:pt x="549" y="359"/>
                  <a:pt x="549" y="359"/>
                </a:cubicBezTo>
                <a:cubicBezTo>
                  <a:pt x="549" y="360"/>
                  <a:pt x="549" y="360"/>
                  <a:pt x="549" y="360"/>
                </a:cubicBezTo>
                <a:cubicBezTo>
                  <a:pt x="548" y="361"/>
                  <a:pt x="548" y="361"/>
                  <a:pt x="548" y="361"/>
                </a:cubicBezTo>
                <a:cubicBezTo>
                  <a:pt x="548" y="362"/>
                  <a:pt x="548" y="362"/>
                  <a:pt x="548" y="362"/>
                </a:cubicBezTo>
                <a:cubicBezTo>
                  <a:pt x="547" y="363"/>
                  <a:pt x="547" y="363"/>
                  <a:pt x="547" y="363"/>
                </a:cubicBezTo>
                <a:cubicBezTo>
                  <a:pt x="547" y="363"/>
                  <a:pt x="547" y="363"/>
                  <a:pt x="547" y="363"/>
                </a:cubicBezTo>
                <a:cubicBezTo>
                  <a:pt x="547" y="364"/>
                  <a:pt x="547" y="364"/>
                  <a:pt x="547" y="364"/>
                </a:cubicBezTo>
                <a:cubicBezTo>
                  <a:pt x="547" y="366"/>
                  <a:pt x="547" y="366"/>
                  <a:pt x="547" y="366"/>
                </a:cubicBezTo>
                <a:cubicBezTo>
                  <a:pt x="547" y="366"/>
                  <a:pt x="547" y="366"/>
                  <a:pt x="547" y="366"/>
                </a:cubicBezTo>
                <a:cubicBezTo>
                  <a:pt x="548" y="366"/>
                  <a:pt x="548" y="366"/>
                  <a:pt x="548" y="366"/>
                </a:cubicBezTo>
                <a:cubicBezTo>
                  <a:pt x="549" y="365"/>
                  <a:pt x="549" y="365"/>
                  <a:pt x="549" y="365"/>
                </a:cubicBezTo>
                <a:cubicBezTo>
                  <a:pt x="550" y="365"/>
                  <a:pt x="550" y="365"/>
                  <a:pt x="550" y="365"/>
                </a:cubicBezTo>
                <a:cubicBezTo>
                  <a:pt x="551" y="365"/>
                  <a:pt x="551" y="365"/>
                  <a:pt x="551" y="365"/>
                </a:cubicBezTo>
                <a:cubicBezTo>
                  <a:pt x="552" y="367"/>
                  <a:pt x="552" y="367"/>
                  <a:pt x="552" y="367"/>
                </a:cubicBezTo>
                <a:cubicBezTo>
                  <a:pt x="552" y="368"/>
                  <a:pt x="552" y="368"/>
                  <a:pt x="552" y="368"/>
                </a:cubicBezTo>
                <a:cubicBezTo>
                  <a:pt x="553" y="368"/>
                  <a:pt x="553" y="368"/>
                  <a:pt x="553" y="368"/>
                </a:cubicBezTo>
                <a:cubicBezTo>
                  <a:pt x="553" y="369"/>
                  <a:pt x="553" y="369"/>
                  <a:pt x="553" y="369"/>
                </a:cubicBezTo>
                <a:cubicBezTo>
                  <a:pt x="553" y="370"/>
                  <a:pt x="553" y="370"/>
                  <a:pt x="553" y="370"/>
                </a:cubicBezTo>
                <a:cubicBezTo>
                  <a:pt x="553" y="372"/>
                  <a:pt x="553" y="372"/>
                  <a:pt x="553" y="372"/>
                </a:cubicBezTo>
                <a:cubicBezTo>
                  <a:pt x="552" y="372"/>
                  <a:pt x="552" y="372"/>
                  <a:pt x="552" y="372"/>
                </a:cubicBezTo>
                <a:cubicBezTo>
                  <a:pt x="552" y="373"/>
                  <a:pt x="552" y="373"/>
                  <a:pt x="552" y="373"/>
                </a:cubicBezTo>
                <a:cubicBezTo>
                  <a:pt x="551" y="375"/>
                  <a:pt x="551" y="375"/>
                  <a:pt x="551" y="375"/>
                </a:cubicBezTo>
                <a:cubicBezTo>
                  <a:pt x="551" y="376"/>
                  <a:pt x="551" y="376"/>
                  <a:pt x="551" y="376"/>
                </a:cubicBezTo>
                <a:cubicBezTo>
                  <a:pt x="550" y="377"/>
                  <a:pt x="550" y="377"/>
                  <a:pt x="550" y="377"/>
                </a:cubicBezTo>
                <a:cubicBezTo>
                  <a:pt x="550" y="378"/>
                  <a:pt x="550" y="378"/>
                  <a:pt x="550" y="378"/>
                </a:cubicBezTo>
                <a:cubicBezTo>
                  <a:pt x="550" y="379"/>
                  <a:pt x="550" y="379"/>
                  <a:pt x="550" y="379"/>
                </a:cubicBezTo>
                <a:cubicBezTo>
                  <a:pt x="550" y="380"/>
                  <a:pt x="550" y="380"/>
                  <a:pt x="550" y="380"/>
                </a:cubicBezTo>
                <a:cubicBezTo>
                  <a:pt x="550" y="381"/>
                  <a:pt x="550" y="381"/>
                  <a:pt x="550" y="381"/>
                </a:cubicBezTo>
                <a:cubicBezTo>
                  <a:pt x="551" y="382"/>
                  <a:pt x="551" y="382"/>
                  <a:pt x="551" y="382"/>
                </a:cubicBezTo>
                <a:cubicBezTo>
                  <a:pt x="551" y="383"/>
                  <a:pt x="551" y="383"/>
                  <a:pt x="551" y="383"/>
                </a:cubicBezTo>
                <a:cubicBezTo>
                  <a:pt x="550" y="383"/>
                  <a:pt x="550" y="383"/>
                  <a:pt x="550" y="383"/>
                </a:cubicBezTo>
                <a:cubicBezTo>
                  <a:pt x="550" y="384"/>
                  <a:pt x="550" y="384"/>
                  <a:pt x="550" y="384"/>
                </a:cubicBezTo>
                <a:cubicBezTo>
                  <a:pt x="550" y="385"/>
                  <a:pt x="550" y="385"/>
                  <a:pt x="550" y="385"/>
                </a:cubicBezTo>
                <a:cubicBezTo>
                  <a:pt x="550" y="387"/>
                  <a:pt x="550" y="387"/>
                  <a:pt x="550" y="387"/>
                </a:cubicBezTo>
                <a:cubicBezTo>
                  <a:pt x="550" y="387"/>
                  <a:pt x="550" y="387"/>
                  <a:pt x="550" y="387"/>
                </a:cubicBezTo>
                <a:cubicBezTo>
                  <a:pt x="550" y="389"/>
                  <a:pt x="550" y="389"/>
                  <a:pt x="550" y="389"/>
                </a:cubicBezTo>
                <a:cubicBezTo>
                  <a:pt x="551" y="389"/>
                  <a:pt x="551" y="389"/>
                  <a:pt x="551" y="389"/>
                </a:cubicBezTo>
                <a:cubicBezTo>
                  <a:pt x="551" y="390"/>
                  <a:pt x="551" y="390"/>
                  <a:pt x="551" y="390"/>
                </a:cubicBezTo>
                <a:cubicBezTo>
                  <a:pt x="552" y="389"/>
                  <a:pt x="552" y="389"/>
                  <a:pt x="552" y="389"/>
                </a:cubicBezTo>
                <a:cubicBezTo>
                  <a:pt x="552" y="390"/>
                  <a:pt x="552" y="390"/>
                  <a:pt x="552" y="390"/>
                </a:cubicBezTo>
                <a:cubicBezTo>
                  <a:pt x="553" y="391"/>
                  <a:pt x="553" y="391"/>
                  <a:pt x="553" y="391"/>
                </a:cubicBezTo>
                <a:cubicBezTo>
                  <a:pt x="552" y="392"/>
                  <a:pt x="552" y="392"/>
                  <a:pt x="552" y="392"/>
                </a:cubicBezTo>
                <a:cubicBezTo>
                  <a:pt x="551" y="393"/>
                  <a:pt x="551" y="393"/>
                  <a:pt x="551" y="393"/>
                </a:cubicBezTo>
                <a:cubicBezTo>
                  <a:pt x="549" y="393"/>
                  <a:pt x="549" y="393"/>
                  <a:pt x="549" y="393"/>
                </a:cubicBezTo>
                <a:cubicBezTo>
                  <a:pt x="548" y="394"/>
                  <a:pt x="548" y="394"/>
                  <a:pt x="548" y="394"/>
                </a:cubicBezTo>
                <a:cubicBezTo>
                  <a:pt x="545" y="397"/>
                  <a:pt x="545" y="397"/>
                  <a:pt x="545" y="397"/>
                </a:cubicBezTo>
                <a:cubicBezTo>
                  <a:pt x="544" y="397"/>
                  <a:pt x="544" y="397"/>
                  <a:pt x="544" y="397"/>
                </a:cubicBezTo>
                <a:cubicBezTo>
                  <a:pt x="543" y="397"/>
                  <a:pt x="543" y="397"/>
                  <a:pt x="543" y="397"/>
                </a:cubicBezTo>
                <a:cubicBezTo>
                  <a:pt x="541" y="396"/>
                  <a:pt x="541" y="396"/>
                  <a:pt x="541" y="396"/>
                </a:cubicBezTo>
                <a:cubicBezTo>
                  <a:pt x="540" y="397"/>
                  <a:pt x="540" y="397"/>
                  <a:pt x="540" y="397"/>
                </a:cubicBezTo>
                <a:cubicBezTo>
                  <a:pt x="540" y="396"/>
                  <a:pt x="540" y="396"/>
                  <a:pt x="540" y="396"/>
                </a:cubicBezTo>
                <a:cubicBezTo>
                  <a:pt x="539" y="396"/>
                  <a:pt x="539" y="396"/>
                  <a:pt x="539" y="396"/>
                </a:cubicBezTo>
                <a:cubicBezTo>
                  <a:pt x="538" y="396"/>
                  <a:pt x="538" y="396"/>
                  <a:pt x="538" y="396"/>
                </a:cubicBezTo>
                <a:cubicBezTo>
                  <a:pt x="538" y="396"/>
                  <a:pt x="538" y="396"/>
                  <a:pt x="538" y="396"/>
                </a:cubicBezTo>
                <a:cubicBezTo>
                  <a:pt x="535" y="395"/>
                  <a:pt x="535" y="395"/>
                  <a:pt x="535" y="395"/>
                </a:cubicBezTo>
                <a:cubicBezTo>
                  <a:pt x="533" y="395"/>
                  <a:pt x="533" y="395"/>
                  <a:pt x="533" y="395"/>
                </a:cubicBezTo>
                <a:cubicBezTo>
                  <a:pt x="533" y="396"/>
                  <a:pt x="533" y="396"/>
                  <a:pt x="533" y="396"/>
                </a:cubicBezTo>
                <a:cubicBezTo>
                  <a:pt x="532" y="397"/>
                  <a:pt x="532" y="397"/>
                  <a:pt x="532" y="397"/>
                </a:cubicBezTo>
                <a:cubicBezTo>
                  <a:pt x="531" y="397"/>
                  <a:pt x="531" y="397"/>
                  <a:pt x="531" y="397"/>
                </a:cubicBezTo>
                <a:cubicBezTo>
                  <a:pt x="530" y="396"/>
                  <a:pt x="530" y="396"/>
                  <a:pt x="530" y="396"/>
                </a:cubicBezTo>
                <a:cubicBezTo>
                  <a:pt x="529" y="397"/>
                  <a:pt x="529" y="397"/>
                  <a:pt x="529" y="397"/>
                </a:cubicBezTo>
                <a:cubicBezTo>
                  <a:pt x="528" y="397"/>
                  <a:pt x="528" y="397"/>
                  <a:pt x="528" y="397"/>
                </a:cubicBezTo>
                <a:cubicBezTo>
                  <a:pt x="527" y="395"/>
                  <a:pt x="527" y="395"/>
                  <a:pt x="527" y="395"/>
                </a:cubicBezTo>
                <a:cubicBezTo>
                  <a:pt x="526" y="394"/>
                  <a:pt x="526" y="394"/>
                  <a:pt x="526" y="394"/>
                </a:cubicBezTo>
                <a:cubicBezTo>
                  <a:pt x="524" y="394"/>
                  <a:pt x="524" y="394"/>
                  <a:pt x="524" y="394"/>
                </a:cubicBezTo>
                <a:cubicBezTo>
                  <a:pt x="523" y="395"/>
                  <a:pt x="523" y="395"/>
                  <a:pt x="523" y="395"/>
                </a:cubicBezTo>
                <a:cubicBezTo>
                  <a:pt x="522" y="394"/>
                  <a:pt x="522" y="394"/>
                  <a:pt x="522" y="394"/>
                </a:cubicBezTo>
                <a:cubicBezTo>
                  <a:pt x="521" y="394"/>
                  <a:pt x="521" y="394"/>
                  <a:pt x="521" y="394"/>
                </a:cubicBezTo>
                <a:cubicBezTo>
                  <a:pt x="520" y="395"/>
                  <a:pt x="520" y="395"/>
                  <a:pt x="520" y="395"/>
                </a:cubicBezTo>
                <a:cubicBezTo>
                  <a:pt x="520" y="397"/>
                  <a:pt x="520" y="397"/>
                  <a:pt x="520" y="397"/>
                </a:cubicBezTo>
                <a:cubicBezTo>
                  <a:pt x="519" y="398"/>
                  <a:pt x="519" y="398"/>
                  <a:pt x="519" y="398"/>
                </a:cubicBezTo>
                <a:cubicBezTo>
                  <a:pt x="517" y="398"/>
                  <a:pt x="517" y="398"/>
                  <a:pt x="517" y="398"/>
                </a:cubicBezTo>
                <a:cubicBezTo>
                  <a:pt x="517" y="400"/>
                  <a:pt x="517" y="400"/>
                  <a:pt x="517" y="400"/>
                </a:cubicBezTo>
                <a:cubicBezTo>
                  <a:pt x="517" y="400"/>
                  <a:pt x="517" y="400"/>
                  <a:pt x="517" y="400"/>
                </a:cubicBezTo>
                <a:cubicBezTo>
                  <a:pt x="516" y="401"/>
                  <a:pt x="516" y="401"/>
                  <a:pt x="516" y="401"/>
                </a:cubicBezTo>
                <a:cubicBezTo>
                  <a:pt x="515" y="402"/>
                  <a:pt x="515" y="402"/>
                  <a:pt x="515" y="402"/>
                </a:cubicBezTo>
                <a:cubicBezTo>
                  <a:pt x="512" y="402"/>
                  <a:pt x="512" y="402"/>
                  <a:pt x="512" y="402"/>
                </a:cubicBezTo>
                <a:cubicBezTo>
                  <a:pt x="511" y="403"/>
                  <a:pt x="511" y="403"/>
                  <a:pt x="511" y="403"/>
                </a:cubicBezTo>
                <a:cubicBezTo>
                  <a:pt x="510" y="404"/>
                  <a:pt x="510" y="404"/>
                  <a:pt x="510" y="404"/>
                </a:cubicBezTo>
                <a:cubicBezTo>
                  <a:pt x="509" y="404"/>
                  <a:pt x="509" y="404"/>
                  <a:pt x="509" y="404"/>
                </a:cubicBezTo>
                <a:cubicBezTo>
                  <a:pt x="506" y="405"/>
                  <a:pt x="506" y="405"/>
                  <a:pt x="506" y="405"/>
                </a:cubicBezTo>
                <a:cubicBezTo>
                  <a:pt x="505" y="407"/>
                  <a:pt x="505" y="407"/>
                  <a:pt x="505" y="407"/>
                </a:cubicBezTo>
                <a:cubicBezTo>
                  <a:pt x="505" y="407"/>
                  <a:pt x="505" y="407"/>
                  <a:pt x="505" y="407"/>
                </a:cubicBezTo>
                <a:cubicBezTo>
                  <a:pt x="503" y="406"/>
                  <a:pt x="503" y="406"/>
                  <a:pt x="503" y="406"/>
                </a:cubicBezTo>
                <a:cubicBezTo>
                  <a:pt x="502" y="406"/>
                  <a:pt x="502" y="406"/>
                  <a:pt x="502" y="406"/>
                </a:cubicBezTo>
                <a:cubicBezTo>
                  <a:pt x="501" y="406"/>
                  <a:pt x="501" y="406"/>
                  <a:pt x="501" y="406"/>
                </a:cubicBezTo>
                <a:cubicBezTo>
                  <a:pt x="500" y="407"/>
                  <a:pt x="500" y="407"/>
                  <a:pt x="500" y="407"/>
                </a:cubicBezTo>
                <a:cubicBezTo>
                  <a:pt x="496" y="407"/>
                  <a:pt x="496" y="407"/>
                  <a:pt x="496" y="407"/>
                </a:cubicBezTo>
                <a:cubicBezTo>
                  <a:pt x="493" y="406"/>
                  <a:pt x="493" y="406"/>
                  <a:pt x="493" y="406"/>
                </a:cubicBezTo>
                <a:cubicBezTo>
                  <a:pt x="491" y="406"/>
                  <a:pt x="491" y="406"/>
                  <a:pt x="491" y="406"/>
                </a:cubicBezTo>
                <a:cubicBezTo>
                  <a:pt x="490" y="406"/>
                  <a:pt x="490" y="406"/>
                  <a:pt x="490" y="406"/>
                </a:cubicBezTo>
                <a:cubicBezTo>
                  <a:pt x="489" y="405"/>
                  <a:pt x="489" y="405"/>
                  <a:pt x="489" y="405"/>
                </a:cubicBezTo>
                <a:cubicBezTo>
                  <a:pt x="488" y="405"/>
                  <a:pt x="488" y="405"/>
                  <a:pt x="488" y="405"/>
                </a:cubicBezTo>
                <a:cubicBezTo>
                  <a:pt x="487" y="404"/>
                  <a:pt x="487" y="404"/>
                  <a:pt x="487" y="404"/>
                </a:cubicBezTo>
                <a:cubicBezTo>
                  <a:pt x="486" y="404"/>
                  <a:pt x="486" y="404"/>
                  <a:pt x="486" y="404"/>
                </a:cubicBezTo>
                <a:cubicBezTo>
                  <a:pt x="485" y="402"/>
                  <a:pt x="485" y="402"/>
                  <a:pt x="485" y="402"/>
                </a:cubicBezTo>
                <a:cubicBezTo>
                  <a:pt x="484" y="401"/>
                  <a:pt x="484" y="401"/>
                  <a:pt x="484" y="401"/>
                </a:cubicBezTo>
                <a:cubicBezTo>
                  <a:pt x="483" y="401"/>
                  <a:pt x="483" y="401"/>
                  <a:pt x="483" y="401"/>
                </a:cubicBezTo>
                <a:cubicBezTo>
                  <a:pt x="481" y="401"/>
                  <a:pt x="481" y="401"/>
                  <a:pt x="481" y="401"/>
                </a:cubicBezTo>
                <a:cubicBezTo>
                  <a:pt x="479" y="401"/>
                  <a:pt x="479" y="401"/>
                  <a:pt x="479" y="401"/>
                </a:cubicBezTo>
                <a:cubicBezTo>
                  <a:pt x="478" y="399"/>
                  <a:pt x="478" y="399"/>
                  <a:pt x="478" y="399"/>
                </a:cubicBezTo>
                <a:cubicBezTo>
                  <a:pt x="475" y="399"/>
                  <a:pt x="475" y="399"/>
                  <a:pt x="475" y="399"/>
                </a:cubicBezTo>
                <a:cubicBezTo>
                  <a:pt x="474" y="399"/>
                  <a:pt x="474" y="399"/>
                  <a:pt x="474" y="399"/>
                </a:cubicBezTo>
                <a:cubicBezTo>
                  <a:pt x="472" y="398"/>
                  <a:pt x="472" y="398"/>
                  <a:pt x="472" y="398"/>
                </a:cubicBezTo>
                <a:cubicBezTo>
                  <a:pt x="471" y="398"/>
                  <a:pt x="471" y="398"/>
                  <a:pt x="471" y="398"/>
                </a:cubicBezTo>
                <a:cubicBezTo>
                  <a:pt x="469" y="398"/>
                  <a:pt x="469" y="398"/>
                  <a:pt x="469" y="398"/>
                </a:cubicBezTo>
                <a:cubicBezTo>
                  <a:pt x="468" y="399"/>
                  <a:pt x="468" y="399"/>
                  <a:pt x="468" y="399"/>
                </a:cubicBezTo>
                <a:cubicBezTo>
                  <a:pt x="465" y="399"/>
                  <a:pt x="465" y="399"/>
                  <a:pt x="465" y="399"/>
                </a:cubicBezTo>
                <a:cubicBezTo>
                  <a:pt x="463" y="400"/>
                  <a:pt x="463" y="400"/>
                  <a:pt x="463" y="400"/>
                </a:cubicBezTo>
                <a:cubicBezTo>
                  <a:pt x="462" y="401"/>
                  <a:pt x="462" y="401"/>
                  <a:pt x="462" y="401"/>
                </a:cubicBezTo>
                <a:cubicBezTo>
                  <a:pt x="461" y="401"/>
                  <a:pt x="461" y="401"/>
                  <a:pt x="461" y="401"/>
                </a:cubicBezTo>
                <a:cubicBezTo>
                  <a:pt x="461" y="401"/>
                  <a:pt x="461" y="401"/>
                  <a:pt x="461" y="401"/>
                </a:cubicBezTo>
                <a:cubicBezTo>
                  <a:pt x="460" y="401"/>
                  <a:pt x="460" y="401"/>
                  <a:pt x="460" y="401"/>
                </a:cubicBezTo>
                <a:cubicBezTo>
                  <a:pt x="459" y="402"/>
                  <a:pt x="459" y="402"/>
                  <a:pt x="459" y="402"/>
                </a:cubicBezTo>
                <a:cubicBezTo>
                  <a:pt x="457" y="401"/>
                  <a:pt x="457" y="401"/>
                  <a:pt x="457" y="401"/>
                </a:cubicBezTo>
                <a:cubicBezTo>
                  <a:pt x="457" y="402"/>
                  <a:pt x="457" y="402"/>
                  <a:pt x="457" y="402"/>
                </a:cubicBezTo>
                <a:cubicBezTo>
                  <a:pt x="456" y="402"/>
                  <a:pt x="456" y="402"/>
                  <a:pt x="456" y="402"/>
                </a:cubicBezTo>
                <a:cubicBezTo>
                  <a:pt x="454" y="401"/>
                  <a:pt x="454" y="401"/>
                  <a:pt x="454" y="401"/>
                </a:cubicBezTo>
                <a:cubicBezTo>
                  <a:pt x="452" y="400"/>
                  <a:pt x="452" y="400"/>
                  <a:pt x="452" y="400"/>
                </a:cubicBezTo>
                <a:cubicBezTo>
                  <a:pt x="451" y="400"/>
                  <a:pt x="451" y="400"/>
                  <a:pt x="451" y="400"/>
                </a:cubicBezTo>
                <a:cubicBezTo>
                  <a:pt x="450" y="398"/>
                  <a:pt x="450" y="398"/>
                  <a:pt x="450" y="398"/>
                </a:cubicBezTo>
                <a:cubicBezTo>
                  <a:pt x="449" y="398"/>
                  <a:pt x="449" y="398"/>
                  <a:pt x="449" y="398"/>
                </a:cubicBezTo>
                <a:cubicBezTo>
                  <a:pt x="449" y="398"/>
                  <a:pt x="449" y="398"/>
                  <a:pt x="449" y="398"/>
                </a:cubicBezTo>
                <a:cubicBezTo>
                  <a:pt x="449" y="397"/>
                  <a:pt x="449" y="397"/>
                  <a:pt x="449" y="397"/>
                </a:cubicBezTo>
                <a:cubicBezTo>
                  <a:pt x="448" y="395"/>
                  <a:pt x="448" y="395"/>
                  <a:pt x="448" y="395"/>
                </a:cubicBezTo>
                <a:cubicBezTo>
                  <a:pt x="448" y="395"/>
                  <a:pt x="448" y="395"/>
                  <a:pt x="448" y="395"/>
                </a:cubicBezTo>
                <a:cubicBezTo>
                  <a:pt x="448" y="394"/>
                  <a:pt x="448" y="394"/>
                  <a:pt x="448" y="394"/>
                </a:cubicBezTo>
                <a:cubicBezTo>
                  <a:pt x="447" y="393"/>
                  <a:pt x="447" y="393"/>
                  <a:pt x="447" y="393"/>
                </a:cubicBezTo>
                <a:cubicBezTo>
                  <a:pt x="447" y="392"/>
                  <a:pt x="447" y="392"/>
                  <a:pt x="447" y="392"/>
                </a:cubicBezTo>
                <a:cubicBezTo>
                  <a:pt x="446" y="391"/>
                  <a:pt x="446" y="391"/>
                  <a:pt x="446" y="391"/>
                </a:cubicBezTo>
                <a:cubicBezTo>
                  <a:pt x="445" y="391"/>
                  <a:pt x="445" y="391"/>
                  <a:pt x="445" y="391"/>
                </a:cubicBezTo>
                <a:cubicBezTo>
                  <a:pt x="443" y="391"/>
                  <a:pt x="443" y="391"/>
                  <a:pt x="443" y="391"/>
                </a:cubicBezTo>
                <a:cubicBezTo>
                  <a:pt x="442" y="391"/>
                  <a:pt x="442" y="391"/>
                  <a:pt x="442" y="391"/>
                </a:cubicBezTo>
                <a:cubicBezTo>
                  <a:pt x="441" y="390"/>
                  <a:pt x="441" y="390"/>
                  <a:pt x="441" y="390"/>
                </a:cubicBezTo>
                <a:cubicBezTo>
                  <a:pt x="439" y="390"/>
                  <a:pt x="439" y="390"/>
                  <a:pt x="439" y="390"/>
                </a:cubicBezTo>
                <a:cubicBezTo>
                  <a:pt x="439" y="389"/>
                  <a:pt x="439" y="389"/>
                  <a:pt x="439" y="389"/>
                </a:cubicBezTo>
                <a:cubicBezTo>
                  <a:pt x="438" y="389"/>
                  <a:pt x="438" y="389"/>
                  <a:pt x="438" y="389"/>
                </a:cubicBezTo>
                <a:cubicBezTo>
                  <a:pt x="435" y="389"/>
                  <a:pt x="435" y="389"/>
                  <a:pt x="435" y="389"/>
                </a:cubicBezTo>
                <a:cubicBezTo>
                  <a:pt x="434" y="389"/>
                  <a:pt x="434" y="389"/>
                  <a:pt x="434" y="389"/>
                </a:cubicBezTo>
                <a:cubicBezTo>
                  <a:pt x="432" y="388"/>
                  <a:pt x="432" y="388"/>
                  <a:pt x="432" y="388"/>
                </a:cubicBezTo>
                <a:cubicBezTo>
                  <a:pt x="432" y="388"/>
                  <a:pt x="432" y="388"/>
                  <a:pt x="432" y="388"/>
                </a:cubicBezTo>
                <a:cubicBezTo>
                  <a:pt x="431" y="387"/>
                  <a:pt x="431" y="387"/>
                  <a:pt x="431" y="387"/>
                </a:cubicBezTo>
                <a:cubicBezTo>
                  <a:pt x="429" y="387"/>
                  <a:pt x="429" y="387"/>
                  <a:pt x="429" y="387"/>
                </a:cubicBezTo>
                <a:cubicBezTo>
                  <a:pt x="428" y="386"/>
                  <a:pt x="428" y="386"/>
                  <a:pt x="428" y="386"/>
                </a:cubicBezTo>
                <a:cubicBezTo>
                  <a:pt x="427" y="386"/>
                  <a:pt x="427" y="386"/>
                  <a:pt x="427" y="386"/>
                </a:cubicBezTo>
                <a:cubicBezTo>
                  <a:pt x="426" y="387"/>
                  <a:pt x="426" y="387"/>
                  <a:pt x="426" y="387"/>
                </a:cubicBezTo>
                <a:cubicBezTo>
                  <a:pt x="426" y="388"/>
                  <a:pt x="426" y="388"/>
                  <a:pt x="426" y="388"/>
                </a:cubicBezTo>
                <a:cubicBezTo>
                  <a:pt x="426" y="389"/>
                  <a:pt x="426" y="389"/>
                  <a:pt x="426" y="389"/>
                </a:cubicBezTo>
                <a:cubicBezTo>
                  <a:pt x="426" y="390"/>
                  <a:pt x="426" y="390"/>
                  <a:pt x="426" y="390"/>
                </a:cubicBezTo>
                <a:cubicBezTo>
                  <a:pt x="425" y="389"/>
                  <a:pt x="425" y="389"/>
                  <a:pt x="425" y="389"/>
                </a:cubicBezTo>
                <a:cubicBezTo>
                  <a:pt x="424" y="390"/>
                  <a:pt x="424" y="390"/>
                  <a:pt x="424" y="390"/>
                </a:cubicBezTo>
                <a:cubicBezTo>
                  <a:pt x="423" y="391"/>
                  <a:pt x="423" y="391"/>
                  <a:pt x="423" y="391"/>
                </a:cubicBezTo>
                <a:cubicBezTo>
                  <a:pt x="423" y="392"/>
                  <a:pt x="423" y="392"/>
                  <a:pt x="423" y="392"/>
                </a:cubicBezTo>
                <a:cubicBezTo>
                  <a:pt x="422" y="393"/>
                  <a:pt x="422" y="393"/>
                  <a:pt x="422" y="393"/>
                </a:cubicBezTo>
                <a:cubicBezTo>
                  <a:pt x="422" y="396"/>
                  <a:pt x="422" y="396"/>
                  <a:pt x="422" y="396"/>
                </a:cubicBezTo>
                <a:cubicBezTo>
                  <a:pt x="423" y="398"/>
                  <a:pt x="423" y="398"/>
                  <a:pt x="423" y="398"/>
                </a:cubicBezTo>
                <a:cubicBezTo>
                  <a:pt x="424" y="398"/>
                  <a:pt x="424" y="398"/>
                  <a:pt x="424" y="398"/>
                </a:cubicBezTo>
                <a:cubicBezTo>
                  <a:pt x="425" y="399"/>
                  <a:pt x="425" y="399"/>
                  <a:pt x="425" y="399"/>
                </a:cubicBezTo>
                <a:cubicBezTo>
                  <a:pt x="426" y="400"/>
                  <a:pt x="426" y="400"/>
                  <a:pt x="426" y="400"/>
                </a:cubicBezTo>
                <a:cubicBezTo>
                  <a:pt x="427" y="400"/>
                  <a:pt x="427" y="400"/>
                  <a:pt x="427" y="400"/>
                </a:cubicBezTo>
                <a:cubicBezTo>
                  <a:pt x="426" y="402"/>
                  <a:pt x="426" y="402"/>
                  <a:pt x="426" y="402"/>
                </a:cubicBezTo>
                <a:cubicBezTo>
                  <a:pt x="426" y="404"/>
                  <a:pt x="426" y="404"/>
                  <a:pt x="426" y="404"/>
                </a:cubicBezTo>
                <a:cubicBezTo>
                  <a:pt x="427" y="405"/>
                  <a:pt x="427" y="405"/>
                  <a:pt x="427" y="405"/>
                </a:cubicBezTo>
                <a:cubicBezTo>
                  <a:pt x="428" y="406"/>
                  <a:pt x="428" y="406"/>
                  <a:pt x="428" y="406"/>
                </a:cubicBezTo>
                <a:cubicBezTo>
                  <a:pt x="427" y="408"/>
                  <a:pt x="427" y="408"/>
                  <a:pt x="427" y="408"/>
                </a:cubicBezTo>
                <a:cubicBezTo>
                  <a:pt x="425" y="408"/>
                  <a:pt x="425" y="408"/>
                  <a:pt x="425" y="408"/>
                </a:cubicBezTo>
                <a:cubicBezTo>
                  <a:pt x="424" y="408"/>
                  <a:pt x="424" y="408"/>
                  <a:pt x="424" y="408"/>
                </a:cubicBezTo>
                <a:cubicBezTo>
                  <a:pt x="423" y="408"/>
                  <a:pt x="423" y="408"/>
                  <a:pt x="423" y="408"/>
                </a:cubicBezTo>
                <a:cubicBezTo>
                  <a:pt x="422" y="408"/>
                  <a:pt x="422" y="408"/>
                  <a:pt x="422" y="408"/>
                </a:cubicBezTo>
                <a:cubicBezTo>
                  <a:pt x="421" y="408"/>
                  <a:pt x="421" y="408"/>
                  <a:pt x="421" y="408"/>
                </a:cubicBezTo>
                <a:cubicBezTo>
                  <a:pt x="418" y="408"/>
                  <a:pt x="418" y="408"/>
                  <a:pt x="418" y="408"/>
                </a:cubicBezTo>
                <a:cubicBezTo>
                  <a:pt x="417" y="408"/>
                  <a:pt x="417" y="408"/>
                  <a:pt x="417" y="408"/>
                </a:cubicBezTo>
                <a:cubicBezTo>
                  <a:pt x="416" y="407"/>
                  <a:pt x="416" y="407"/>
                  <a:pt x="416" y="407"/>
                </a:cubicBezTo>
                <a:cubicBezTo>
                  <a:pt x="415" y="407"/>
                  <a:pt x="415" y="407"/>
                  <a:pt x="415" y="407"/>
                </a:cubicBezTo>
                <a:cubicBezTo>
                  <a:pt x="414" y="407"/>
                  <a:pt x="414" y="407"/>
                  <a:pt x="414" y="407"/>
                </a:cubicBezTo>
                <a:cubicBezTo>
                  <a:pt x="413" y="408"/>
                  <a:pt x="413" y="408"/>
                  <a:pt x="413" y="408"/>
                </a:cubicBezTo>
                <a:cubicBezTo>
                  <a:pt x="412" y="409"/>
                  <a:pt x="412" y="409"/>
                  <a:pt x="412" y="409"/>
                </a:cubicBezTo>
                <a:cubicBezTo>
                  <a:pt x="411" y="409"/>
                  <a:pt x="411" y="409"/>
                  <a:pt x="411" y="409"/>
                </a:cubicBezTo>
                <a:cubicBezTo>
                  <a:pt x="408" y="408"/>
                  <a:pt x="408" y="408"/>
                  <a:pt x="408" y="408"/>
                </a:cubicBezTo>
                <a:cubicBezTo>
                  <a:pt x="407" y="407"/>
                  <a:pt x="407" y="407"/>
                  <a:pt x="407" y="407"/>
                </a:cubicBezTo>
                <a:cubicBezTo>
                  <a:pt x="404" y="405"/>
                  <a:pt x="404" y="405"/>
                  <a:pt x="404" y="405"/>
                </a:cubicBezTo>
                <a:cubicBezTo>
                  <a:pt x="404" y="405"/>
                  <a:pt x="404" y="405"/>
                  <a:pt x="404" y="405"/>
                </a:cubicBezTo>
                <a:cubicBezTo>
                  <a:pt x="404" y="404"/>
                  <a:pt x="404" y="404"/>
                  <a:pt x="404" y="404"/>
                </a:cubicBezTo>
                <a:cubicBezTo>
                  <a:pt x="403" y="403"/>
                  <a:pt x="403" y="403"/>
                  <a:pt x="403" y="403"/>
                </a:cubicBezTo>
                <a:cubicBezTo>
                  <a:pt x="401" y="403"/>
                  <a:pt x="401" y="403"/>
                  <a:pt x="401" y="403"/>
                </a:cubicBezTo>
                <a:cubicBezTo>
                  <a:pt x="400" y="403"/>
                  <a:pt x="400" y="403"/>
                  <a:pt x="400" y="403"/>
                </a:cubicBezTo>
                <a:cubicBezTo>
                  <a:pt x="399" y="403"/>
                  <a:pt x="399" y="403"/>
                  <a:pt x="399" y="403"/>
                </a:cubicBezTo>
                <a:cubicBezTo>
                  <a:pt x="398" y="404"/>
                  <a:pt x="398" y="404"/>
                  <a:pt x="398" y="404"/>
                </a:cubicBezTo>
                <a:cubicBezTo>
                  <a:pt x="397" y="404"/>
                  <a:pt x="397" y="404"/>
                  <a:pt x="397" y="404"/>
                </a:cubicBezTo>
                <a:cubicBezTo>
                  <a:pt x="396" y="403"/>
                  <a:pt x="396" y="403"/>
                  <a:pt x="396" y="403"/>
                </a:cubicBezTo>
                <a:cubicBezTo>
                  <a:pt x="396" y="402"/>
                  <a:pt x="396" y="402"/>
                  <a:pt x="396" y="402"/>
                </a:cubicBezTo>
                <a:cubicBezTo>
                  <a:pt x="396" y="401"/>
                  <a:pt x="396" y="401"/>
                  <a:pt x="396" y="401"/>
                </a:cubicBezTo>
                <a:cubicBezTo>
                  <a:pt x="395" y="401"/>
                  <a:pt x="395" y="401"/>
                  <a:pt x="395" y="401"/>
                </a:cubicBezTo>
                <a:cubicBezTo>
                  <a:pt x="394" y="402"/>
                  <a:pt x="394" y="402"/>
                  <a:pt x="394" y="402"/>
                </a:cubicBezTo>
                <a:cubicBezTo>
                  <a:pt x="393" y="402"/>
                  <a:pt x="393" y="402"/>
                  <a:pt x="393" y="402"/>
                </a:cubicBezTo>
                <a:cubicBezTo>
                  <a:pt x="392" y="402"/>
                  <a:pt x="392" y="402"/>
                  <a:pt x="392" y="402"/>
                </a:cubicBezTo>
                <a:cubicBezTo>
                  <a:pt x="391" y="402"/>
                  <a:pt x="391" y="402"/>
                  <a:pt x="391" y="402"/>
                </a:cubicBezTo>
                <a:cubicBezTo>
                  <a:pt x="388" y="402"/>
                  <a:pt x="388" y="402"/>
                  <a:pt x="388" y="402"/>
                </a:cubicBezTo>
                <a:cubicBezTo>
                  <a:pt x="387" y="403"/>
                  <a:pt x="387" y="403"/>
                  <a:pt x="387" y="403"/>
                </a:cubicBezTo>
                <a:cubicBezTo>
                  <a:pt x="387" y="404"/>
                  <a:pt x="387" y="404"/>
                  <a:pt x="387" y="404"/>
                </a:cubicBezTo>
                <a:cubicBezTo>
                  <a:pt x="386" y="405"/>
                  <a:pt x="386" y="405"/>
                  <a:pt x="386" y="405"/>
                </a:cubicBezTo>
                <a:cubicBezTo>
                  <a:pt x="384" y="404"/>
                  <a:pt x="384" y="404"/>
                  <a:pt x="384" y="404"/>
                </a:cubicBezTo>
                <a:cubicBezTo>
                  <a:pt x="383" y="405"/>
                  <a:pt x="383" y="405"/>
                  <a:pt x="383" y="405"/>
                </a:cubicBezTo>
                <a:cubicBezTo>
                  <a:pt x="383" y="405"/>
                  <a:pt x="383" y="405"/>
                  <a:pt x="383" y="405"/>
                </a:cubicBezTo>
                <a:cubicBezTo>
                  <a:pt x="384" y="406"/>
                  <a:pt x="384" y="406"/>
                  <a:pt x="384" y="406"/>
                </a:cubicBezTo>
                <a:cubicBezTo>
                  <a:pt x="384" y="406"/>
                  <a:pt x="384" y="406"/>
                  <a:pt x="384" y="406"/>
                </a:cubicBezTo>
                <a:cubicBezTo>
                  <a:pt x="383" y="408"/>
                  <a:pt x="383" y="408"/>
                  <a:pt x="383" y="408"/>
                </a:cubicBezTo>
                <a:cubicBezTo>
                  <a:pt x="382" y="408"/>
                  <a:pt x="382" y="408"/>
                  <a:pt x="382" y="408"/>
                </a:cubicBezTo>
                <a:cubicBezTo>
                  <a:pt x="381" y="409"/>
                  <a:pt x="381" y="409"/>
                  <a:pt x="381" y="409"/>
                </a:cubicBezTo>
                <a:cubicBezTo>
                  <a:pt x="381" y="410"/>
                  <a:pt x="381" y="410"/>
                  <a:pt x="381" y="410"/>
                </a:cubicBezTo>
                <a:cubicBezTo>
                  <a:pt x="379" y="411"/>
                  <a:pt x="379" y="411"/>
                  <a:pt x="379" y="411"/>
                </a:cubicBezTo>
                <a:cubicBezTo>
                  <a:pt x="378" y="412"/>
                  <a:pt x="378" y="412"/>
                  <a:pt x="378" y="412"/>
                </a:cubicBezTo>
                <a:cubicBezTo>
                  <a:pt x="378" y="413"/>
                  <a:pt x="378" y="413"/>
                  <a:pt x="378" y="413"/>
                </a:cubicBezTo>
                <a:cubicBezTo>
                  <a:pt x="376" y="414"/>
                  <a:pt x="376" y="414"/>
                  <a:pt x="376" y="414"/>
                </a:cubicBezTo>
                <a:cubicBezTo>
                  <a:pt x="375" y="415"/>
                  <a:pt x="375" y="415"/>
                  <a:pt x="375" y="415"/>
                </a:cubicBezTo>
                <a:cubicBezTo>
                  <a:pt x="375" y="416"/>
                  <a:pt x="375" y="416"/>
                  <a:pt x="375" y="416"/>
                </a:cubicBezTo>
                <a:cubicBezTo>
                  <a:pt x="372" y="416"/>
                  <a:pt x="372" y="416"/>
                  <a:pt x="372" y="416"/>
                </a:cubicBezTo>
                <a:cubicBezTo>
                  <a:pt x="371" y="416"/>
                  <a:pt x="371" y="416"/>
                  <a:pt x="371" y="416"/>
                </a:cubicBezTo>
                <a:cubicBezTo>
                  <a:pt x="370" y="418"/>
                  <a:pt x="370" y="418"/>
                  <a:pt x="370" y="418"/>
                </a:cubicBezTo>
                <a:cubicBezTo>
                  <a:pt x="370" y="419"/>
                  <a:pt x="370" y="419"/>
                  <a:pt x="370" y="419"/>
                </a:cubicBezTo>
                <a:cubicBezTo>
                  <a:pt x="369" y="419"/>
                  <a:pt x="369" y="419"/>
                  <a:pt x="369" y="419"/>
                </a:cubicBezTo>
                <a:cubicBezTo>
                  <a:pt x="368" y="418"/>
                  <a:pt x="368" y="418"/>
                  <a:pt x="368" y="418"/>
                </a:cubicBezTo>
                <a:cubicBezTo>
                  <a:pt x="367" y="418"/>
                  <a:pt x="367" y="418"/>
                  <a:pt x="367" y="418"/>
                </a:cubicBezTo>
                <a:cubicBezTo>
                  <a:pt x="367" y="418"/>
                  <a:pt x="367" y="418"/>
                  <a:pt x="367" y="418"/>
                </a:cubicBezTo>
                <a:cubicBezTo>
                  <a:pt x="365" y="417"/>
                  <a:pt x="365" y="417"/>
                  <a:pt x="365" y="417"/>
                </a:cubicBezTo>
                <a:cubicBezTo>
                  <a:pt x="364" y="416"/>
                  <a:pt x="364" y="416"/>
                  <a:pt x="364" y="416"/>
                </a:cubicBezTo>
                <a:cubicBezTo>
                  <a:pt x="363" y="416"/>
                  <a:pt x="363" y="416"/>
                  <a:pt x="363" y="416"/>
                </a:cubicBezTo>
                <a:cubicBezTo>
                  <a:pt x="363" y="415"/>
                  <a:pt x="363" y="415"/>
                  <a:pt x="363" y="415"/>
                </a:cubicBezTo>
                <a:cubicBezTo>
                  <a:pt x="363" y="413"/>
                  <a:pt x="363" y="413"/>
                  <a:pt x="363" y="413"/>
                </a:cubicBezTo>
                <a:cubicBezTo>
                  <a:pt x="362" y="413"/>
                  <a:pt x="362" y="413"/>
                  <a:pt x="362" y="413"/>
                </a:cubicBezTo>
                <a:cubicBezTo>
                  <a:pt x="361" y="413"/>
                  <a:pt x="361" y="413"/>
                  <a:pt x="361" y="413"/>
                </a:cubicBezTo>
                <a:cubicBezTo>
                  <a:pt x="361" y="415"/>
                  <a:pt x="361" y="415"/>
                  <a:pt x="361" y="415"/>
                </a:cubicBezTo>
                <a:cubicBezTo>
                  <a:pt x="359" y="415"/>
                  <a:pt x="359" y="415"/>
                  <a:pt x="359" y="415"/>
                </a:cubicBezTo>
                <a:cubicBezTo>
                  <a:pt x="356" y="415"/>
                  <a:pt x="356" y="415"/>
                  <a:pt x="356" y="415"/>
                </a:cubicBezTo>
                <a:cubicBezTo>
                  <a:pt x="355" y="416"/>
                  <a:pt x="355" y="416"/>
                  <a:pt x="355" y="416"/>
                </a:cubicBezTo>
                <a:cubicBezTo>
                  <a:pt x="355" y="416"/>
                  <a:pt x="355" y="416"/>
                  <a:pt x="355" y="416"/>
                </a:cubicBezTo>
                <a:cubicBezTo>
                  <a:pt x="354" y="416"/>
                  <a:pt x="354" y="416"/>
                  <a:pt x="354" y="416"/>
                </a:cubicBezTo>
                <a:cubicBezTo>
                  <a:pt x="353" y="415"/>
                  <a:pt x="353" y="415"/>
                  <a:pt x="353" y="415"/>
                </a:cubicBezTo>
                <a:cubicBezTo>
                  <a:pt x="352" y="415"/>
                  <a:pt x="352" y="415"/>
                  <a:pt x="352" y="415"/>
                </a:cubicBezTo>
                <a:cubicBezTo>
                  <a:pt x="352" y="415"/>
                  <a:pt x="352" y="415"/>
                  <a:pt x="352" y="415"/>
                </a:cubicBezTo>
                <a:cubicBezTo>
                  <a:pt x="351" y="414"/>
                  <a:pt x="351" y="414"/>
                  <a:pt x="351" y="414"/>
                </a:cubicBezTo>
                <a:cubicBezTo>
                  <a:pt x="351" y="414"/>
                  <a:pt x="351" y="414"/>
                  <a:pt x="351" y="414"/>
                </a:cubicBezTo>
                <a:cubicBezTo>
                  <a:pt x="351" y="413"/>
                  <a:pt x="351" y="413"/>
                  <a:pt x="351" y="413"/>
                </a:cubicBezTo>
                <a:cubicBezTo>
                  <a:pt x="351" y="412"/>
                  <a:pt x="351" y="412"/>
                  <a:pt x="351" y="412"/>
                </a:cubicBezTo>
                <a:cubicBezTo>
                  <a:pt x="351" y="411"/>
                  <a:pt x="351" y="411"/>
                  <a:pt x="351" y="411"/>
                </a:cubicBezTo>
                <a:cubicBezTo>
                  <a:pt x="350" y="411"/>
                  <a:pt x="350" y="411"/>
                  <a:pt x="350" y="411"/>
                </a:cubicBezTo>
                <a:cubicBezTo>
                  <a:pt x="350" y="411"/>
                  <a:pt x="350" y="411"/>
                  <a:pt x="350" y="411"/>
                </a:cubicBezTo>
                <a:cubicBezTo>
                  <a:pt x="348" y="410"/>
                  <a:pt x="348" y="410"/>
                  <a:pt x="348" y="410"/>
                </a:cubicBezTo>
                <a:cubicBezTo>
                  <a:pt x="347" y="409"/>
                  <a:pt x="347" y="409"/>
                  <a:pt x="347" y="409"/>
                </a:cubicBezTo>
                <a:cubicBezTo>
                  <a:pt x="346" y="409"/>
                  <a:pt x="346" y="409"/>
                  <a:pt x="346" y="409"/>
                </a:cubicBezTo>
                <a:cubicBezTo>
                  <a:pt x="346" y="408"/>
                  <a:pt x="346" y="408"/>
                  <a:pt x="346" y="408"/>
                </a:cubicBezTo>
                <a:cubicBezTo>
                  <a:pt x="345" y="406"/>
                  <a:pt x="345" y="406"/>
                  <a:pt x="345" y="406"/>
                </a:cubicBezTo>
                <a:cubicBezTo>
                  <a:pt x="343" y="405"/>
                  <a:pt x="343" y="405"/>
                  <a:pt x="343" y="405"/>
                </a:cubicBezTo>
                <a:cubicBezTo>
                  <a:pt x="341" y="404"/>
                  <a:pt x="341" y="404"/>
                  <a:pt x="341" y="404"/>
                </a:cubicBezTo>
                <a:cubicBezTo>
                  <a:pt x="339" y="404"/>
                  <a:pt x="339" y="404"/>
                  <a:pt x="339" y="404"/>
                </a:cubicBezTo>
                <a:cubicBezTo>
                  <a:pt x="336" y="405"/>
                  <a:pt x="336" y="405"/>
                  <a:pt x="336" y="405"/>
                </a:cubicBezTo>
                <a:cubicBezTo>
                  <a:pt x="336" y="405"/>
                  <a:pt x="336" y="405"/>
                  <a:pt x="336" y="405"/>
                </a:cubicBezTo>
                <a:cubicBezTo>
                  <a:pt x="337" y="406"/>
                  <a:pt x="337" y="406"/>
                  <a:pt x="337" y="406"/>
                </a:cubicBezTo>
                <a:cubicBezTo>
                  <a:pt x="336" y="406"/>
                  <a:pt x="336" y="406"/>
                  <a:pt x="336" y="406"/>
                </a:cubicBezTo>
                <a:cubicBezTo>
                  <a:pt x="335" y="407"/>
                  <a:pt x="335" y="407"/>
                  <a:pt x="335" y="407"/>
                </a:cubicBezTo>
                <a:cubicBezTo>
                  <a:pt x="334" y="407"/>
                  <a:pt x="334" y="407"/>
                  <a:pt x="334" y="407"/>
                </a:cubicBezTo>
                <a:cubicBezTo>
                  <a:pt x="333" y="407"/>
                  <a:pt x="333" y="407"/>
                  <a:pt x="333" y="407"/>
                </a:cubicBezTo>
                <a:cubicBezTo>
                  <a:pt x="331" y="406"/>
                  <a:pt x="331" y="406"/>
                  <a:pt x="331" y="406"/>
                </a:cubicBezTo>
                <a:cubicBezTo>
                  <a:pt x="330" y="407"/>
                  <a:pt x="330" y="407"/>
                  <a:pt x="330" y="407"/>
                </a:cubicBezTo>
                <a:cubicBezTo>
                  <a:pt x="329" y="407"/>
                  <a:pt x="329" y="407"/>
                  <a:pt x="329" y="407"/>
                </a:cubicBezTo>
                <a:cubicBezTo>
                  <a:pt x="328" y="407"/>
                  <a:pt x="328" y="407"/>
                  <a:pt x="328" y="407"/>
                </a:cubicBezTo>
                <a:cubicBezTo>
                  <a:pt x="327" y="406"/>
                  <a:pt x="327" y="406"/>
                  <a:pt x="327" y="406"/>
                </a:cubicBezTo>
                <a:cubicBezTo>
                  <a:pt x="326" y="406"/>
                  <a:pt x="326" y="406"/>
                  <a:pt x="326" y="406"/>
                </a:cubicBezTo>
                <a:cubicBezTo>
                  <a:pt x="326" y="405"/>
                  <a:pt x="326" y="405"/>
                  <a:pt x="326" y="405"/>
                </a:cubicBezTo>
                <a:cubicBezTo>
                  <a:pt x="326" y="404"/>
                  <a:pt x="326" y="404"/>
                  <a:pt x="326" y="404"/>
                </a:cubicBezTo>
                <a:cubicBezTo>
                  <a:pt x="324" y="403"/>
                  <a:pt x="324" y="403"/>
                  <a:pt x="324" y="403"/>
                </a:cubicBezTo>
                <a:cubicBezTo>
                  <a:pt x="323" y="404"/>
                  <a:pt x="323" y="404"/>
                  <a:pt x="323" y="404"/>
                </a:cubicBezTo>
                <a:cubicBezTo>
                  <a:pt x="323" y="405"/>
                  <a:pt x="323" y="405"/>
                  <a:pt x="323" y="405"/>
                </a:cubicBezTo>
                <a:cubicBezTo>
                  <a:pt x="323" y="405"/>
                  <a:pt x="323" y="405"/>
                  <a:pt x="323" y="405"/>
                </a:cubicBezTo>
                <a:cubicBezTo>
                  <a:pt x="323" y="406"/>
                  <a:pt x="323" y="406"/>
                  <a:pt x="323" y="406"/>
                </a:cubicBezTo>
                <a:cubicBezTo>
                  <a:pt x="322" y="407"/>
                  <a:pt x="322" y="407"/>
                  <a:pt x="322" y="407"/>
                </a:cubicBezTo>
                <a:cubicBezTo>
                  <a:pt x="321" y="407"/>
                  <a:pt x="321" y="407"/>
                  <a:pt x="321" y="407"/>
                </a:cubicBezTo>
                <a:cubicBezTo>
                  <a:pt x="305" y="388"/>
                  <a:pt x="305" y="388"/>
                  <a:pt x="305" y="388"/>
                </a:cubicBezTo>
                <a:cubicBezTo>
                  <a:pt x="294" y="379"/>
                  <a:pt x="294" y="379"/>
                  <a:pt x="294" y="379"/>
                </a:cubicBezTo>
                <a:cubicBezTo>
                  <a:pt x="293" y="378"/>
                  <a:pt x="293" y="378"/>
                  <a:pt x="293" y="378"/>
                </a:cubicBezTo>
                <a:cubicBezTo>
                  <a:pt x="294" y="378"/>
                  <a:pt x="294" y="378"/>
                  <a:pt x="294" y="378"/>
                </a:cubicBezTo>
                <a:cubicBezTo>
                  <a:pt x="295" y="377"/>
                  <a:pt x="295" y="377"/>
                  <a:pt x="295" y="377"/>
                </a:cubicBezTo>
                <a:cubicBezTo>
                  <a:pt x="295" y="376"/>
                  <a:pt x="295" y="376"/>
                  <a:pt x="295" y="376"/>
                </a:cubicBezTo>
                <a:cubicBezTo>
                  <a:pt x="295" y="375"/>
                  <a:pt x="295" y="375"/>
                  <a:pt x="295" y="375"/>
                </a:cubicBezTo>
                <a:cubicBezTo>
                  <a:pt x="293" y="376"/>
                  <a:pt x="293" y="376"/>
                  <a:pt x="293" y="376"/>
                </a:cubicBezTo>
                <a:cubicBezTo>
                  <a:pt x="292" y="376"/>
                  <a:pt x="292" y="376"/>
                  <a:pt x="292" y="376"/>
                </a:cubicBezTo>
                <a:cubicBezTo>
                  <a:pt x="291" y="377"/>
                  <a:pt x="291" y="377"/>
                  <a:pt x="291" y="377"/>
                </a:cubicBezTo>
                <a:cubicBezTo>
                  <a:pt x="290" y="378"/>
                  <a:pt x="290" y="378"/>
                  <a:pt x="290" y="378"/>
                </a:cubicBezTo>
                <a:cubicBezTo>
                  <a:pt x="288" y="379"/>
                  <a:pt x="288" y="379"/>
                  <a:pt x="288" y="379"/>
                </a:cubicBezTo>
                <a:cubicBezTo>
                  <a:pt x="288" y="380"/>
                  <a:pt x="288" y="380"/>
                  <a:pt x="288" y="380"/>
                </a:cubicBezTo>
                <a:cubicBezTo>
                  <a:pt x="287" y="381"/>
                  <a:pt x="287" y="381"/>
                  <a:pt x="287" y="381"/>
                </a:cubicBezTo>
                <a:cubicBezTo>
                  <a:pt x="287" y="382"/>
                  <a:pt x="287" y="382"/>
                  <a:pt x="287" y="382"/>
                </a:cubicBezTo>
                <a:cubicBezTo>
                  <a:pt x="286" y="383"/>
                  <a:pt x="286" y="383"/>
                  <a:pt x="286" y="383"/>
                </a:cubicBezTo>
                <a:cubicBezTo>
                  <a:pt x="284" y="383"/>
                  <a:pt x="284" y="383"/>
                  <a:pt x="284" y="383"/>
                </a:cubicBezTo>
                <a:cubicBezTo>
                  <a:pt x="283" y="383"/>
                  <a:pt x="283" y="383"/>
                  <a:pt x="283" y="383"/>
                </a:cubicBezTo>
                <a:cubicBezTo>
                  <a:pt x="283" y="385"/>
                  <a:pt x="283" y="385"/>
                  <a:pt x="283" y="385"/>
                </a:cubicBezTo>
                <a:cubicBezTo>
                  <a:pt x="282" y="385"/>
                  <a:pt x="282" y="385"/>
                  <a:pt x="282" y="385"/>
                </a:cubicBezTo>
                <a:cubicBezTo>
                  <a:pt x="282" y="385"/>
                  <a:pt x="282" y="385"/>
                  <a:pt x="282" y="385"/>
                </a:cubicBezTo>
                <a:cubicBezTo>
                  <a:pt x="279" y="384"/>
                  <a:pt x="279" y="384"/>
                  <a:pt x="279" y="384"/>
                </a:cubicBezTo>
                <a:cubicBezTo>
                  <a:pt x="278" y="385"/>
                  <a:pt x="278" y="385"/>
                  <a:pt x="278" y="385"/>
                </a:cubicBezTo>
                <a:cubicBezTo>
                  <a:pt x="277" y="386"/>
                  <a:pt x="277" y="386"/>
                  <a:pt x="277" y="386"/>
                </a:cubicBezTo>
                <a:cubicBezTo>
                  <a:pt x="276" y="386"/>
                  <a:pt x="276" y="386"/>
                  <a:pt x="276" y="386"/>
                </a:cubicBezTo>
                <a:cubicBezTo>
                  <a:pt x="275" y="384"/>
                  <a:pt x="275" y="384"/>
                  <a:pt x="275" y="384"/>
                </a:cubicBezTo>
                <a:cubicBezTo>
                  <a:pt x="275" y="383"/>
                  <a:pt x="275" y="383"/>
                  <a:pt x="275" y="383"/>
                </a:cubicBezTo>
                <a:cubicBezTo>
                  <a:pt x="276" y="382"/>
                  <a:pt x="276" y="382"/>
                  <a:pt x="276" y="382"/>
                </a:cubicBezTo>
                <a:cubicBezTo>
                  <a:pt x="276" y="381"/>
                  <a:pt x="276" y="381"/>
                  <a:pt x="276" y="381"/>
                </a:cubicBezTo>
                <a:cubicBezTo>
                  <a:pt x="276" y="381"/>
                  <a:pt x="276" y="381"/>
                  <a:pt x="276" y="381"/>
                </a:cubicBezTo>
                <a:cubicBezTo>
                  <a:pt x="275" y="381"/>
                  <a:pt x="275" y="381"/>
                  <a:pt x="275" y="381"/>
                </a:cubicBezTo>
                <a:cubicBezTo>
                  <a:pt x="274" y="381"/>
                  <a:pt x="274" y="381"/>
                  <a:pt x="274" y="381"/>
                </a:cubicBezTo>
                <a:cubicBezTo>
                  <a:pt x="272" y="380"/>
                  <a:pt x="272" y="380"/>
                  <a:pt x="272" y="380"/>
                </a:cubicBezTo>
                <a:cubicBezTo>
                  <a:pt x="270" y="380"/>
                  <a:pt x="270" y="380"/>
                  <a:pt x="270" y="380"/>
                </a:cubicBezTo>
                <a:cubicBezTo>
                  <a:pt x="271" y="381"/>
                  <a:pt x="271" y="381"/>
                  <a:pt x="271" y="381"/>
                </a:cubicBezTo>
                <a:cubicBezTo>
                  <a:pt x="271" y="382"/>
                  <a:pt x="271" y="382"/>
                  <a:pt x="271" y="382"/>
                </a:cubicBezTo>
                <a:cubicBezTo>
                  <a:pt x="270" y="382"/>
                  <a:pt x="270" y="382"/>
                  <a:pt x="270" y="382"/>
                </a:cubicBezTo>
                <a:cubicBezTo>
                  <a:pt x="270" y="383"/>
                  <a:pt x="270" y="383"/>
                  <a:pt x="270" y="383"/>
                </a:cubicBezTo>
                <a:cubicBezTo>
                  <a:pt x="269" y="381"/>
                  <a:pt x="269" y="381"/>
                  <a:pt x="269" y="381"/>
                </a:cubicBezTo>
                <a:cubicBezTo>
                  <a:pt x="269" y="379"/>
                  <a:pt x="269" y="379"/>
                  <a:pt x="269" y="379"/>
                </a:cubicBezTo>
                <a:cubicBezTo>
                  <a:pt x="266" y="377"/>
                  <a:pt x="266" y="377"/>
                  <a:pt x="266" y="377"/>
                </a:cubicBezTo>
                <a:cubicBezTo>
                  <a:pt x="266" y="378"/>
                  <a:pt x="266" y="378"/>
                  <a:pt x="266" y="378"/>
                </a:cubicBezTo>
                <a:cubicBezTo>
                  <a:pt x="266" y="379"/>
                  <a:pt x="266" y="379"/>
                  <a:pt x="266" y="379"/>
                </a:cubicBezTo>
                <a:cubicBezTo>
                  <a:pt x="266" y="380"/>
                  <a:pt x="266" y="380"/>
                  <a:pt x="266" y="380"/>
                </a:cubicBezTo>
                <a:cubicBezTo>
                  <a:pt x="266" y="380"/>
                  <a:pt x="266" y="380"/>
                  <a:pt x="266" y="380"/>
                </a:cubicBezTo>
                <a:cubicBezTo>
                  <a:pt x="265" y="379"/>
                  <a:pt x="265" y="379"/>
                  <a:pt x="265" y="379"/>
                </a:cubicBezTo>
                <a:cubicBezTo>
                  <a:pt x="264" y="379"/>
                  <a:pt x="264" y="379"/>
                  <a:pt x="264" y="379"/>
                </a:cubicBezTo>
                <a:cubicBezTo>
                  <a:pt x="264" y="380"/>
                  <a:pt x="264" y="380"/>
                  <a:pt x="264" y="380"/>
                </a:cubicBezTo>
                <a:cubicBezTo>
                  <a:pt x="263" y="380"/>
                  <a:pt x="263" y="380"/>
                  <a:pt x="263" y="380"/>
                </a:cubicBezTo>
                <a:cubicBezTo>
                  <a:pt x="262" y="380"/>
                  <a:pt x="262" y="380"/>
                  <a:pt x="262" y="380"/>
                </a:cubicBezTo>
                <a:cubicBezTo>
                  <a:pt x="261" y="380"/>
                  <a:pt x="261" y="380"/>
                  <a:pt x="261" y="380"/>
                </a:cubicBezTo>
                <a:cubicBezTo>
                  <a:pt x="260" y="380"/>
                  <a:pt x="260" y="380"/>
                  <a:pt x="260" y="380"/>
                </a:cubicBezTo>
                <a:cubicBezTo>
                  <a:pt x="260" y="379"/>
                  <a:pt x="260" y="379"/>
                  <a:pt x="260" y="379"/>
                </a:cubicBezTo>
                <a:cubicBezTo>
                  <a:pt x="261" y="378"/>
                  <a:pt x="261" y="378"/>
                  <a:pt x="261" y="378"/>
                </a:cubicBezTo>
                <a:cubicBezTo>
                  <a:pt x="261" y="378"/>
                  <a:pt x="261" y="378"/>
                  <a:pt x="261" y="378"/>
                </a:cubicBezTo>
                <a:cubicBezTo>
                  <a:pt x="261" y="377"/>
                  <a:pt x="261" y="377"/>
                  <a:pt x="261" y="377"/>
                </a:cubicBezTo>
                <a:cubicBezTo>
                  <a:pt x="261" y="376"/>
                  <a:pt x="261" y="376"/>
                  <a:pt x="261" y="376"/>
                </a:cubicBezTo>
                <a:cubicBezTo>
                  <a:pt x="261" y="375"/>
                  <a:pt x="261" y="375"/>
                  <a:pt x="261" y="375"/>
                </a:cubicBezTo>
                <a:cubicBezTo>
                  <a:pt x="260" y="375"/>
                  <a:pt x="260" y="375"/>
                  <a:pt x="260" y="375"/>
                </a:cubicBezTo>
                <a:cubicBezTo>
                  <a:pt x="259" y="373"/>
                  <a:pt x="259" y="373"/>
                  <a:pt x="259" y="373"/>
                </a:cubicBezTo>
                <a:cubicBezTo>
                  <a:pt x="259" y="372"/>
                  <a:pt x="259" y="372"/>
                  <a:pt x="259" y="372"/>
                </a:cubicBezTo>
                <a:cubicBezTo>
                  <a:pt x="258" y="372"/>
                  <a:pt x="258" y="372"/>
                  <a:pt x="258" y="372"/>
                </a:cubicBezTo>
                <a:cubicBezTo>
                  <a:pt x="258" y="370"/>
                  <a:pt x="258" y="370"/>
                  <a:pt x="258" y="370"/>
                </a:cubicBezTo>
                <a:cubicBezTo>
                  <a:pt x="256" y="370"/>
                  <a:pt x="256" y="370"/>
                  <a:pt x="256" y="370"/>
                </a:cubicBezTo>
                <a:cubicBezTo>
                  <a:pt x="255" y="371"/>
                  <a:pt x="255" y="371"/>
                  <a:pt x="255" y="371"/>
                </a:cubicBezTo>
                <a:cubicBezTo>
                  <a:pt x="253" y="371"/>
                  <a:pt x="253" y="371"/>
                  <a:pt x="253" y="371"/>
                </a:cubicBezTo>
                <a:cubicBezTo>
                  <a:pt x="252" y="370"/>
                  <a:pt x="252" y="370"/>
                  <a:pt x="252" y="370"/>
                </a:cubicBezTo>
                <a:cubicBezTo>
                  <a:pt x="250" y="370"/>
                  <a:pt x="250" y="370"/>
                  <a:pt x="250" y="370"/>
                </a:cubicBezTo>
                <a:cubicBezTo>
                  <a:pt x="249" y="369"/>
                  <a:pt x="249" y="369"/>
                  <a:pt x="249" y="369"/>
                </a:cubicBezTo>
                <a:cubicBezTo>
                  <a:pt x="248" y="370"/>
                  <a:pt x="248" y="370"/>
                  <a:pt x="248" y="370"/>
                </a:cubicBezTo>
                <a:cubicBezTo>
                  <a:pt x="247" y="369"/>
                  <a:pt x="247" y="369"/>
                  <a:pt x="247" y="369"/>
                </a:cubicBezTo>
                <a:cubicBezTo>
                  <a:pt x="246" y="370"/>
                  <a:pt x="246" y="370"/>
                  <a:pt x="246" y="370"/>
                </a:cubicBezTo>
                <a:cubicBezTo>
                  <a:pt x="245" y="371"/>
                  <a:pt x="245" y="371"/>
                  <a:pt x="245" y="371"/>
                </a:cubicBezTo>
                <a:cubicBezTo>
                  <a:pt x="244" y="371"/>
                  <a:pt x="244" y="371"/>
                  <a:pt x="244" y="371"/>
                </a:cubicBezTo>
                <a:cubicBezTo>
                  <a:pt x="243" y="372"/>
                  <a:pt x="243" y="372"/>
                  <a:pt x="243" y="372"/>
                </a:cubicBezTo>
                <a:cubicBezTo>
                  <a:pt x="244" y="373"/>
                  <a:pt x="244" y="373"/>
                  <a:pt x="244" y="373"/>
                </a:cubicBezTo>
                <a:cubicBezTo>
                  <a:pt x="244" y="374"/>
                  <a:pt x="244" y="374"/>
                  <a:pt x="244" y="374"/>
                </a:cubicBezTo>
                <a:cubicBezTo>
                  <a:pt x="242" y="374"/>
                  <a:pt x="242" y="374"/>
                  <a:pt x="242" y="374"/>
                </a:cubicBezTo>
                <a:cubicBezTo>
                  <a:pt x="241" y="374"/>
                  <a:pt x="241" y="374"/>
                  <a:pt x="241" y="374"/>
                </a:cubicBezTo>
                <a:cubicBezTo>
                  <a:pt x="240" y="375"/>
                  <a:pt x="240" y="375"/>
                  <a:pt x="240" y="375"/>
                </a:cubicBezTo>
                <a:cubicBezTo>
                  <a:pt x="239" y="375"/>
                  <a:pt x="239" y="375"/>
                  <a:pt x="239" y="375"/>
                </a:cubicBezTo>
                <a:cubicBezTo>
                  <a:pt x="238" y="376"/>
                  <a:pt x="238" y="376"/>
                  <a:pt x="238" y="376"/>
                </a:cubicBezTo>
                <a:cubicBezTo>
                  <a:pt x="238" y="376"/>
                  <a:pt x="238" y="376"/>
                  <a:pt x="238" y="376"/>
                </a:cubicBezTo>
                <a:cubicBezTo>
                  <a:pt x="235" y="377"/>
                  <a:pt x="235" y="377"/>
                  <a:pt x="235" y="377"/>
                </a:cubicBezTo>
                <a:cubicBezTo>
                  <a:pt x="234" y="378"/>
                  <a:pt x="234" y="378"/>
                  <a:pt x="234" y="378"/>
                </a:cubicBezTo>
                <a:cubicBezTo>
                  <a:pt x="232" y="379"/>
                  <a:pt x="232" y="379"/>
                  <a:pt x="232" y="379"/>
                </a:cubicBezTo>
                <a:cubicBezTo>
                  <a:pt x="232" y="378"/>
                  <a:pt x="232" y="378"/>
                  <a:pt x="232" y="378"/>
                </a:cubicBezTo>
                <a:cubicBezTo>
                  <a:pt x="231" y="378"/>
                  <a:pt x="231" y="378"/>
                  <a:pt x="231" y="378"/>
                </a:cubicBezTo>
                <a:cubicBezTo>
                  <a:pt x="230" y="378"/>
                  <a:pt x="230" y="378"/>
                  <a:pt x="230" y="378"/>
                </a:cubicBezTo>
                <a:cubicBezTo>
                  <a:pt x="230" y="379"/>
                  <a:pt x="230" y="379"/>
                  <a:pt x="230" y="379"/>
                </a:cubicBezTo>
                <a:cubicBezTo>
                  <a:pt x="228" y="379"/>
                  <a:pt x="228" y="379"/>
                  <a:pt x="228" y="379"/>
                </a:cubicBezTo>
                <a:cubicBezTo>
                  <a:pt x="228" y="380"/>
                  <a:pt x="228" y="380"/>
                  <a:pt x="228" y="380"/>
                </a:cubicBezTo>
                <a:cubicBezTo>
                  <a:pt x="228" y="381"/>
                  <a:pt x="228" y="381"/>
                  <a:pt x="228" y="381"/>
                </a:cubicBezTo>
                <a:cubicBezTo>
                  <a:pt x="227" y="382"/>
                  <a:pt x="227" y="382"/>
                  <a:pt x="227" y="382"/>
                </a:cubicBezTo>
                <a:cubicBezTo>
                  <a:pt x="226" y="381"/>
                  <a:pt x="226" y="381"/>
                  <a:pt x="226" y="381"/>
                </a:cubicBezTo>
                <a:cubicBezTo>
                  <a:pt x="226" y="381"/>
                  <a:pt x="226" y="381"/>
                  <a:pt x="226" y="381"/>
                </a:cubicBezTo>
                <a:cubicBezTo>
                  <a:pt x="225" y="382"/>
                  <a:pt x="225" y="382"/>
                  <a:pt x="225" y="382"/>
                </a:cubicBezTo>
                <a:cubicBezTo>
                  <a:pt x="223" y="382"/>
                  <a:pt x="223" y="382"/>
                  <a:pt x="223" y="382"/>
                </a:cubicBezTo>
                <a:cubicBezTo>
                  <a:pt x="221" y="383"/>
                  <a:pt x="221" y="383"/>
                  <a:pt x="221" y="383"/>
                </a:cubicBezTo>
                <a:cubicBezTo>
                  <a:pt x="221" y="384"/>
                  <a:pt x="221" y="384"/>
                  <a:pt x="221" y="384"/>
                </a:cubicBezTo>
                <a:cubicBezTo>
                  <a:pt x="219" y="384"/>
                  <a:pt x="219" y="384"/>
                  <a:pt x="219" y="384"/>
                </a:cubicBezTo>
                <a:cubicBezTo>
                  <a:pt x="218" y="385"/>
                  <a:pt x="218" y="385"/>
                  <a:pt x="218" y="385"/>
                </a:cubicBezTo>
                <a:cubicBezTo>
                  <a:pt x="216" y="385"/>
                  <a:pt x="216" y="385"/>
                  <a:pt x="216" y="385"/>
                </a:cubicBezTo>
                <a:cubicBezTo>
                  <a:pt x="214" y="385"/>
                  <a:pt x="214" y="385"/>
                  <a:pt x="214" y="385"/>
                </a:cubicBezTo>
                <a:cubicBezTo>
                  <a:pt x="214" y="386"/>
                  <a:pt x="214" y="386"/>
                  <a:pt x="214" y="386"/>
                </a:cubicBezTo>
                <a:cubicBezTo>
                  <a:pt x="213" y="387"/>
                  <a:pt x="213" y="387"/>
                  <a:pt x="213" y="387"/>
                </a:cubicBezTo>
                <a:cubicBezTo>
                  <a:pt x="213" y="386"/>
                  <a:pt x="213" y="386"/>
                  <a:pt x="213" y="386"/>
                </a:cubicBezTo>
                <a:cubicBezTo>
                  <a:pt x="212" y="386"/>
                  <a:pt x="212" y="386"/>
                  <a:pt x="212" y="386"/>
                </a:cubicBezTo>
                <a:cubicBezTo>
                  <a:pt x="210" y="387"/>
                  <a:pt x="210" y="387"/>
                  <a:pt x="210" y="387"/>
                </a:cubicBezTo>
                <a:cubicBezTo>
                  <a:pt x="210" y="387"/>
                  <a:pt x="210" y="387"/>
                  <a:pt x="210" y="387"/>
                </a:cubicBezTo>
                <a:cubicBezTo>
                  <a:pt x="210" y="388"/>
                  <a:pt x="210" y="388"/>
                  <a:pt x="210" y="388"/>
                </a:cubicBezTo>
                <a:cubicBezTo>
                  <a:pt x="209" y="387"/>
                  <a:pt x="209" y="387"/>
                  <a:pt x="209" y="387"/>
                </a:cubicBezTo>
                <a:cubicBezTo>
                  <a:pt x="207" y="387"/>
                  <a:pt x="207" y="387"/>
                  <a:pt x="207" y="387"/>
                </a:cubicBezTo>
                <a:cubicBezTo>
                  <a:pt x="207" y="387"/>
                  <a:pt x="207" y="387"/>
                  <a:pt x="207" y="387"/>
                </a:cubicBezTo>
                <a:cubicBezTo>
                  <a:pt x="206" y="387"/>
                  <a:pt x="206" y="387"/>
                  <a:pt x="206" y="387"/>
                </a:cubicBezTo>
                <a:cubicBezTo>
                  <a:pt x="205" y="387"/>
                  <a:pt x="205" y="387"/>
                  <a:pt x="205" y="387"/>
                </a:cubicBezTo>
                <a:cubicBezTo>
                  <a:pt x="204" y="387"/>
                  <a:pt x="204" y="387"/>
                  <a:pt x="204" y="387"/>
                </a:cubicBezTo>
                <a:cubicBezTo>
                  <a:pt x="204" y="388"/>
                  <a:pt x="204" y="388"/>
                  <a:pt x="204" y="388"/>
                </a:cubicBezTo>
                <a:cubicBezTo>
                  <a:pt x="204" y="389"/>
                  <a:pt x="204" y="389"/>
                  <a:pt x="204" y="389"/>
                </a:cubicBezTo>
                <a:cubicBezTo>
                  <a:pt x="204" y="390"/>
                  <a:pt x="204" y="390"/>
                  <a:pt x="204" y="390"/>
                </a:cubicBezTo>
                <a:cubicBezTo>
                  <a:pt x="205" y="390"/>
                  <a:pt x="205" y="390"/>
                  <a:pt x="205" y="390"/>
                </a:cubicBezTo>
                <a:cubicBezTo>
                  <a:pt x="206" y="390"/>
                  <a:pt x="206" y="390"/>
                  <a:pt x="206" y="390"/>
                </a:cubicBezTo>
                <a:cubicBezTo>
                  <a:pt x="207" y="391"/>
                  <a:pt x="207" y="391"/>
                  <a:pt x="207" y="391"/>
                </a:cubicBezTo>
                <a:cubicBezTo>
                  <a:pt x="205" y="392"/>
                  <a:pt x="205" y="392"/>
                  <a:pt x="205" y="392"/>
                </a:cubicBezTo>
                <a:cubicBezTo>
                  <a:pt x="205" y="392"/>
                  <a:pt x="205" y="392"/>
                  <a:pt x="205" y="392"/>
                </a:cubicBezTo>
                <a:cubicBezTo>
                  <a:pt x="205" y="393"/>
                  <a:pt x="205" y="393"/>
                  <a:pt x="205" y="393"/>
                </a:cubicBezTo>
                <a:cubicBezTo>
                  <a:pt x="206" y="393"/>
                  <a:pt x="206" y="393"/>
                  <a:pt x="206" y="393"/>
                </a:cubicBezTo>
                <a:cubicBezTo>
                  <a:pt x="208" y="393"/>
                  <a:pt x="208" y="393"/>
                  <a:pt x="208" y="393"/>
                </a:cubicBezTo>
                <a:cubicBezTo>
                  <a:pt x="209" y="393"/>
                  <a:pt x="209" y="393"/>
                  <a:pt x="209" y="393"/>
                </a:cubicBezTo>
                <a:cubicBezTo>
                  <a:pt x="209" y="393"/>
                  <a:pt x="209" y="393"/>
                  <a:pt x="209" y="393"/>
                </a:cubicBezTo>
                <a:cubicBezTo>
                  <a:pt x="210" y="394"/>
                  <a:pt x="210" y="394"/>
                  <a:pt x="210" y="394"/>
                </a:cubicBezTo>
                <a:cubicBezTo>
                  <a:pt x="212" y="394"/>
                  <a:pt x="212" y="394"/>
                  <a:pt x="212" y="394"/>
                </a:cubicBezTo>
                <a:cubicBezTo>
                  <a:pt x="212" y="395"/>
                  <a:pt x="212" y="395"/>
                  <a:pt x="212" y="395"/>
                </a:cubicBezTo>
                <a:cubicBezTo>
                  <a:pt x="211" y="396"/>
                  <a:pt x="211" y="396"/>
                  <a:pt x="211" y="396"/>
                </a:cubicBezTo>
                <a:cubicBezTo>
                  <a:pt x="210" y="396"/>
                  <a:pt x="210" y="396"/>
                  <a:pt x="210" y="396"/>
                </a:cubicBezTo>
                <a:cubicBezTo>
                  <a:pt x="207" y="396"/>
                  <a:pt x="207" y="396"/>
                  <a:pt x="207" y="396"/>
                </a:cubicBezTo>
                <a:cubicBezTo>
                  <a:pt x="206" y="397"/>
                  <a:pt x="206" y="397"/>
                  <a:pt x="206" y="397"/>
                </a:cubicBezTo>
                <a:cubicBezTo>
                  <a:pt x="204" y="399"/>
                  <a:pt x="204" y="399"/>
                  <a:pt x="204" y="399"/>
                </a:cubicBezTo>
                <a:cubicBezTo>
                  <a:pt x="205" y="401"/>
                  <a:pt x="205" y="401"/>
                  <a:pt x="205" y="401"/>
                </a:cubicBezTo>
                <a:cubicBezTo>
                  <a:pt x="205" y="401"/>
                  <a:pt x="205" y="401"/>
                  <a:pt x="205" y="401"/>
                </a:cubicBezTo>
                <a:cubicBezTo>
                  <a:pt x="206" y="402"/>
                  <a:pt x="206" y="402"/>
                  <a:pt x="206" y="402"/>
                </a:cubicBezTo>
                <a:cubicBezTo>
                  <a:pt x="205" y="403"/>
                  <a:pt x="205" y="403"/>
                  <a:pt x="205" y="403"/>
                </a:cubicBezTo>
                <a:cubicBezTo>
                  <a:pt x="205" y="405"/>
                  <a:pt x="205" y="405"/>
                  <a:pt x="205" y="405"/>
                </a:cubicBezTo>
                <a:cubicBezTo>
                  <a:pt x="203" y="405"/>
                  <a:pt x="203" y="405"/>
                  <a:pt x="203" y="405"/>
                </a:cubicBezTo>
                <a:cubicBezTo>
                  <a:pt x="203" y="405"/>
                  <a:pt x="203" y="405"/>
                  <a:pt x="203" y="405"/>
                </a:cubicBezTo>
                <a:cubicBezTo>
                  <a:pt x="204" y="406"/>
                  <a:pt x="204" y="406"/>
                  <a:pt x="204" y="406"/>
                </a:cubicBezTo>
                <a:cubicBezTo>
                  <a:pt x="204" y="407"/>
                  <a:pt x="204" y="407"/>
                  <a:pt x="204" y="407"/>
                </a:cubicBezTo>
                <a:cubicBezTo>
                  <a:pt x="205" y="407"/>
                  <a:pt x="205" y="407"/>
                  <a:pt x="205" y="407"/>
                </a:cubicBezTo>
                <a:cubicBezTo>
                  <a:pt x="206" y="408"/>
                  <a:pt x="206" y="408"/>
                  <a:pt x="206" y="408"/>
                </a:cubicBezTo>
                <a:cubicBezTo>
                  <a:pt x="208" y="408"/>
                  <a:pt x="208" y="408"/>
                  <a:pt x="208" y="408"/>
                </a:cubicBezTo>
                <a:cubicBezTo>
                  <a:pt x="208" y="409"/>
                  <a:pt x="208" y="409"/>
                  <a:pt x="208" y="409"/>
                </a:cubicBezTo>
                <a:cubicBezTo>
                  <a:pt x="209" y="410"/>
                  <a:pt x="209" y="410"/>
                  <a:pt x="209" y="410"/>
                </a:cubicBezTo>
                <a:cubicBezTo>
                  <a:pt x="211" y="410"/>
                  <a:pt x="211" y="410"/>
                  <a:pt x="211" y="410"/>
                </a:cubicBezTo>
                <a:cubicBezTo>
                  <a:pt x="211" y="410"/>
                  <a:pt x="211" y="410"/>
                  <a:pt x="211" y="410"/>
                </a:cubicBezTo>
                <a:cubicBezTo>
                  <a:pt x="212" y="415"/>
                  <a:pt x="212" y="415"/>
                  <a:pt x="212" y="415"/>
                </a:cubicBezTo>
                <a:cubicBezTo>
                  <a:pt x="211" y="416"/>
                  <a:pt x="211" y="416"/>
                  <a:pt x="211" y="416"/>
                </a:cubicBezTo>
                <a:cubicBezTo>
                  <a:pt x="209" y="417"/>
                  <a:pt x="209" y="417"/>
                  <a:pt x="209" y="417"/>
                </a:cubicBezTo>
                <a:cubicBezTo>
                  <a:pt x="207" y="417"/>
                  <a:pt x="207" y="417"/>
                  <a:pt x="207" y="417"/>
                </a:cubicBezTo>
                <a:cubicBezTo>
                  <a:pt x="205" y="415"/>
                  <a:pt x="205" y="415"/>
                  <a:pt x="205" y="415"/>
                </a:cubicBezTo>
                <a:cubicBezTo>
                  <a:pt x="205" y="416"/>
                  <a:pt x="205" y="416"/>
                  <a:pt x="205" y="416"/>
                </a:cubicBezTo>
                <a:cubicBezTo>
                  <a:pt x="205" y="417"/>
                  <a:pt x="205" y="417"/>
                  <a:pt x="205" y="417"/>
                </a:cubicBezTo>
                <a:cubicBezTo>
                  <a:pt x="204" y="419"/>
                  <a:pt x="204" y="419"/>
                  <a:pt x="204" y="419"/>
                </a:cubicBezTo>
                <a:cubicBezTo>
                  <a:pt x="203" y="419"/>
                  <a:pt x="203" y="419"/>
                  <a:pt x="203" y="419"/>
                </a:cubicBezTo>
                <a:cubicBezTo>
                  <a:pt x="200" y="418"/>
                  <a:pt x="200" y="418"/>
                  <a:pt x="200" y="418"/>
                </a:cubicBezTo>
                <a:cubicBezTo>
                  <a:pt x="198" y="418"/>
                  <a:pt x="198" y="418"/>
                  <a:pt x="198" y="418"/>
                </a:cubicBezTo>
                <a:cubicBezTo>
                  <a:pt x="198" y="417"/>
                  <a:pt x="198" y="417"/>
                  <a:pt x="198" y="417"/>
                </a:cubicBezTo>
                <a:cubicBezTo>
                  <a:pt x="197" y="418"/>
                  <a:pt x="197" y="418"/>
                  <a:pt x="197" y="418"/>
                </a:cubicBezTo>
                <a:cubicBezTo>
                  <a:pt x="196" y="417"/>
                  <a:pt x="196" y="417"/>
                  <a:pt x="196" y="417"/>
                </a:cubicBezTo>
                <a:cubicBezTo>
                  <a:pt x="195" y="416"/>
                  <a:pt x="195" y="416"/>
                  <a:pt x="195" y="416"/>
                </a:cubicBezTo>
                <a:cubicBezTo>
                  <a:pt x="196" y="415"/>
                  <a:pt x="196" y="415"/>
                  <a:pt x="196" y="415"/>
                </a:cubicBezTo>
                <a:cubicBezTo>
                  <a:pt x="196" y="414"/>
                  <a:pt x="196" y="414"/>
                  <a:pt x="196" y="414"/>
                </a:cubicBezTo>
                <a:cubicBezTo>
                  <a:pt x="195" y="414"/>
                  <a:pt x="195" y="414"/>
                  <a:pt x="195" y="414"/>
                </a:cubicBezTo>
                <a:cubicBezTo>
                  <a:pt x="194" y="413"/>
                  <a:pt x="194" y="413"/>
                  <a:pt x="194" y="413"/>
                </a:cubicBezTo>
                <a:cubicBezTo>
                  <a:pt x="193" y="414"/>
                  <a:pt x="193" y="414"/>
                  <a:pt x="193" y="414"/>
                </a:cubicBezTo>
                <a:cubicBezTo>
                  <a:pt x="192" y="414"/>
                  <a:pt x="192" y="414"/>
                  <a:pt x="192" y="414"/>
                </a:cubicBezTo>
                <a:cubicBezTo>
                  <a:pt x="191" y="414"/>
                  <a:pt x="191" y="414"/>
                  <a:pt x="191" y="414"/>
                </a:cubicBezTo>
                <a:cubicBezTo>
                  <a:pt x="191" y="416"/>
                  <a:pt x="191" y="416"/>
                  <a:pt x="191" y="416"/>
                </a:cubicBezTo>
                <a:cubicBezTo>
                  <a:pt x="189" y="416"/>
                  <a:pt x="189" y="416"/>
                  <a:pt x="189" y="416"/>
                </a:cubicBezTo>
                <a:cubicBezTo>
                  <a:pt x="189" y="415"/>
                  <a:pt x="189" y="415"/>
                  <a:pt x="189" y="415"/>
                </a:cubicBezTo>
                <a:cubicBezTo>
                  <a:pt x="187" y="414"/>
                  <a:pt x="187" y="414"/>
                  <a:pt x="187" y="414"/>
                </a:cubicBezTo>
                <a:cubicBezTo>
                  <a:pt x="185" y="414"/>
                  <a:pt x="185" y="414"/>
                  <a:pt x="185" y="414"/>
                </a:cubicBezTo>
                <a:cubicBezTo>
                  <a:pt x="185" y="415"/>
                  <a:pt x="185" y="415"/>
                  <a:pt x="185" y="415"/>
                </a:cubicBezTo>
                <a:cubicBezTo>
                  <a:pt x="184" y="414"/>
                  <a:pt x="184" y="414"/>
                  <a:pt x="184" y="414"/>
                </a:cubicBezTo>
                <a:cubicBezTo>
                  <a:pt x="183" y="414"/>
                  <a:pt x="183" y="414"/>
                  <a:pt x="183" y="414"/>
                </a:cubicBezTo>
                <a:cubicBezTo>
                  <a:pt x="183" y="415"/>
                  <a:pt x="183" y="415"/>
                  <a:pt x="183" y="415"/>
                </a:cubicBezTo>
                <a:cubicBezTo>
                  <a:pt x="182" y="416"/>
                  <a:pt x="182" y="416"/>
                  <a:pt x="182" y="416"/>
                </a:cubicBezTo>
                <a:cubicBezTo>
                  <a:pt x="182" y="418"/>
                  <a:pt x="182" y="418"/>
                  <a:pt x="182" y="418"/>
                </a:cubicBezTo>
                <a:cubicBezTo>
                  <a:pt x="180" y="419"/>
                  <a:pt x="180" y="419"/>
                  <a:pt x="180" y="419"/>
                </a:cubicBezTo>
                <a:cubicBezTo>
                  <a:pt x="179" y="419"/>
                  <a:pt x="179" y="419"/>
                  <a:pt x="179" y="419"/>
                </a:cubicBezTo>
                <a:cubicBezTo>
                  <a:pt x="178" y="417"/>
                  <a:pt x="178" y="417"/>
                  <a:pt x="178" y="417"/>
                </a:cubicBezTo>
                <a:cubicBezTo>
                  <a:pt x="176" y="417"/>
                  <a:pt x="176" y="417"/>
                  <a:pt x="176" y="417"/>
                </a:cubicBezTo>
                <a:cubicBezTo>
                  <a:pt x="175" y="416"/>
                  <a:pt x="175" y="416"/>
                  <a:pt x="175" y="416"/>
                </a:cubicBezTo>
                <a:cubicBezTo>
                  <a:pt x="174" y="417"/>
                  <a:pt x="174" y="417"/>
                  <a:pt x="174" y="417"/>
                </a:cubicBezTo>
                <a:cubicBezTo>
                  <a:pt x="174" y="418"/>
                  <a:pt x="174" y="418"/>
                  <a:pt x="174" y="418"/>
                </a:cubicBezTo>
                <a:cubicBezTo>
                  <a:pt x="173" y="419"/>
                  <a:pt x="173" y="419"/>
                  <a:pt x="173" y="419"/>
                </a:cubicBezTo>
                <a:cubicBezTo>
                  <a:pt x="172" y="419"/>
                  <a:pt x="172" y="419"/>
                  <a:pt x="172" y="419"/>
                </a:cubicBezTo>
                <a:cubicBezTo>
                  <a:pt x="172" y="418"/>
                  <a:pt x="172" y="418"/>
                  <a:pt x="172" y="418"/>
                </a:cubicBezTo>
                <a:cubicBezTo>
                  <a:pt x="172" y="417"/>
                  <a:pt x="172" y="417"/>
                  <a:pt x="172" y="417"/>
                </a:cubicBezTo>
                <a:cubicBezTo>
                  <a:pt x="171" y="417"/>
                  <a:pt x="171" y="417"/>
                  <a:pt x="171" y="417"/>
                </a:cubicBezTo>
                <a:cubicBezTo>
                  <a:pt x="169" y="415"/>
                  <a:pt x="169" y="415"/>
                  <a:pt x="169" y="415"/>
                </a:cubicBezTo>
                <a:cubicBezTo>
                  <a:pt x="168" y="414"/>
                  <a:pt x="168" y="414"/>
                  <a:pt x="168" y="414"/>
                </a:cubicBezTo>
                <a:cubicBezTo>
                  <a:pt x="167" y="414"/>
                  <a:pt x="167" y="414"/>
                  <a:pt x="167" y="414"/>
                </a:cubicBezTo>
                <a:cubicBezTo>
                  <a:pt x="165" y="413"/>
                  <a:pt x="165" y="413"/>
                  <a:pt x="165" y="413"/>
                </a:cubicBezTo>
                <a:cubicBezTo>
                  <a:pt x="165" y="413"/>
                  <a:pt x="165" y="413"/>
                  <a:pt x="165" y="413"/>
                </a:cubicBezTo>
                <a:cubicBezTo>
                  <a:pt x="164" y="412"/>
                  <a:pt x="164" y="412"/>
                  <a:pt x="164" y="412"/>
                </a:cubicBezTo>
                <a:cubicBezTo>
                  <a:pt x="163" y="412"/>
                  <a:pt x="163" y="412"/>
                  <a:pt x="163" y="412"/>
                </a:cubicBezTo>
                <a:cubicBezTo>
                  <a:pt x="161" y="412"/>
                  <a:pt x="161" y="412"/>
                  <a:pt x="161" y="412"/>
                </a:cubicBezTo>
                <a:cubicBezTo>
                  <a:pt x="159" y="411"/>
                  <a:pt x="159" y="411"/>
                  <a:pt x="159" y="411"/>
                </a:cubicBezTo>
                <a:cubicBezTo>
                  <a:pt x="159" y="410"/>
                  <a:pt x="159" y="410"/>
                  <a:pt x="159" y="410"/>
                </a:cubicBezTo>
                <a:cubicBezTo>
                  <a:pt x="158" y="410"/>
                  <a:pt x="158" y="410"/>
                  <a:pt x="158" y="410"/>
                </a:cubicBezTo>
                <a:cubicBezTo>
                  <a:pt x="156" y="411"/>
                  <a:pt x="156" y="411"/>
                  <a:pt x="156" y="411"/>
                </a:cubicBezTo>
                <a:cubicBezTo>
                  <a:pt x="155" y="411"/>
                  <a:pt x="155" y="411"/>
                  <a:pt x="155" y="411"/>
                </a:cubicBezTo>
                <a:cubicBezTo>
                  <a:pt x="155" y="411"/>
                  <a:pt x="155" y="411"/>
                  <a:pt x="155" y="411"/>
                </a:cubicBezTo>
                <a:cubicBezTo>
                  <a:pt x="154" y="412"/>
                  <a:pt x="154" y="412"/>
                  <a:pt x="154" y="412"/>
                </a:cubicBezTo>
                <a:cubicBezTo>
                  <a:pt x="154" y="411"/>
                  <a:pt x="154" y="411"/>
                  <a:pt x="154" y="411"/>
                </a:cubicBezTo>
                <a:cubicBezTo>
                  <a:pt x="153" y="412"/>
                  <a:pt x="153" y="412"/>
                  <a:pt x="153" y="412"/>
                </a:cubicBezTo>
                <a:cubicBezTo>
                  <a:pt x="153" y="413"/>
                  <a:pt x="153" y="413"/>
                  <a:pt x="153" y="413"/>
                </a:cubicBezTo>
                <a:cubicBezTo>
                  <a:pt x="152" y="413"/>
                  <a:pt x="152" y="413"/>
                  <a:pt x="152" y="413"/>
                </a:cubicBezTo>
                <a:cubicBezTo>
                  <a:pt x="151" y="413"/>
                  <a:pt x="151" y="413"/>
                  <a:pt x="151" y="413"/>
                </a:cubicBezTo>
                <a:cubicBezTo>
                  <a:pt x="152" y="412"/>
                  <a:pt x="152" y="412"/>
                  <a:pt x="152" y="412"/>
                </a:cubicBezTo>
                <a:cubicBezTo>
                  <a:pt x="152" y="411"/>
                  <a:pt x="152" y="411"/>
                  <a:pt x="152" y="411"/>
                </a:cubicBezTo>
                <a:cubicBezTo>
                  <a:pt x="151" y="410"/>
                  <a:pt x="151" y="410"/>
                  <a:pt x="151" y="410"/>
                </a:cubicBezTo>
                <a:cubicBezTo>
                  <a:pt x="149" y="409"/>
                  <a:pt x="149" y="409"/>
                  <a:pt x="149" y="409"/>
                </a:cubicBezTo>
                <a:cubicBezTo>
                  <a:pt x="148" y="410"/>
                  <a:pt x="148" y="410"/>
                  <a:pt x="148" y="410"/>
                </a:cubicBezTo>
                <a:cubicBezTo>
                  <a:pt x="149" y="411"/>
                  <a:pt x="149" y="411"/>
                  <a:pt x="149" y="411"/>
                </a:cubicBezTo>
                <a:cubicBezTo>
                  <a:pt x="149" y="412"/>
                  <a:pt x="149" y="412"/>
                  <a:pt x="149" y="412"/>
                </a:cubicBezTo>
                <a:cubicBezTo>
                  <a:pt x="147" y="412"/>
                  <a:pt x="147" y="412"/>
                  <a:pt x="147" y="412"/>
                </a:cubicBezTo>
                <a:cubicBezTo>
                  <a:pt x="146" y="413"/>
                  <a:pt x="146" y="413"/>
                  <a:pt x="146" y="413"/>
                </a:cubicBezTo>
                <a:cubicBezTo>
                  <a:pt x="146" y="414"/>
                  <a:pt x="146" y="414"/>
                  <a:pt x="146" y="414"/>
                </a:cubicBezTo>
                <a:cubicBezTo>
                  <a:pt x="145" y="414"/>
                  <a:pt x="145" y="414"/>
                  <a:pt x="145" y="414"/>
                </a:cubicBezTo>
                <a:cubicBezTo>
                  <a:pt x="143" y="416"/>
                  <a:pt x="143" y="416"/>
                  <a:pt x="143" y="416"/>
                </a:cubicBezTo>
                <a:cubicBezTo>
                  <a:pt x="143" y="417"/>
                  <a:pt x="143" y="417"/>
                  <a:pt x="143" y="417"/>
                </a:cubicBezTo>
                <a:cubicBezTo>
                  <a:pt x="143" y="418"/>
                  <a:pt x="143" y="418"/>
                  <a:pt x="143" y="418"/>
                </a:cubicBezTo>
                <a:cubicBezTo>
                  <a:pt x="143" y="420"/>
                  <a:pt x="143" y="420"/>
                  <a:pt x="143" y="420"/>
                </a:cubicBezTo>
                <a:cubicBezTo>
                  <a:pt x="141" y="420"/>
                  <a:pt x="141" y="420"/>
                  <a:pt x="141" y="420"/>
                </a:cubicBezTo>
                <a:cubicBezTo>
                  <a:pt x="140" y="420"/>
                  <a:pt x="140" y="420"/>
                  <a:pt x="140" y="420"/>
                </a:cubicBezTo>
                <a:cubicBezTo>
                  <a:pt x="141" y="425"/>
                  <a:pt x="141" y="425"/>
                  <a:pt x="141" y="425"/>
                </a:cubicBezTo>
                <a:cubicBezTo>
                  <a:pt x="140" y="425"/>
                  <a:pt x="140" y="425"/>
                  <a:pt x="140" y="425"/>
                </a:cubicBezTo>
                <a:cubicBezTo>
                  <a:pt x="140" y="427"/>
                  <a:pt x="140" y="427"/>
                  <a:pt x="140" y="427"/>
                </a:cubicBezTo>
                <a:cubicBezTo>
                  <a:pt x="138" y="428"/>
                  <a:pt x="138" y="428"/>
                  <a:pt x="138" y="428"/>
                </a:cubicBezTo>
                <a:cubicBezTo>
                  <a:pt x="137" y="426"/>
                  <a:pt x="137" y="426"/>
                  <a:pt x="137" y="426"/>
                </a:cubicBezTo>
                <a:cubicBezTo>
                  <a:pt x="136" y="425"/>
                  <a:pt x="136" y="425"/>
                  <a:pt x="136" y="425"/>
                </a:cubicBezTo>
                <a:cubicBezTo>
                  <a:pt x="133" y="422"/>
                  <a:pt x="133" y="422"/>
                  <a:pt x="133" y="422"/>
                </a:cubicBezTo>
                <a:cubicBezTo>
                  <a:pt x="132" y="423"/>
                  <a:pt x="132" y="423"/>
                  <a:pt x="132" y="423"/>
                </a:cubicBezTo>
                <a:cubicBezTo>
                  <a:pt x="132" y="425"/>
                  <a:pt x="132" y="425"/>
                  <a:pt x="132" y="425"/>
                </a:cubicBezTo>
                <a:cubicBezTo>
                  <a:pt x="130" y="427"/>
                  <a:pt x="130" y="427"/>
                  <a:pt x="130" y="427"/>
                </a:cubicBezTo>
                <a:cubicBezTo>
                  <a:pt x="129" y="428"/>
                  <a:pt x="129" y="428"/>
                  <a:pt x="129" y="428"/>
                </a:cubicBezTo>
                <a:cubicBezTo>
                  <a:pt x="129" y="431"/>
                  <a:pt x="129" y="431"/>
                  <a:pt x="129" y="431"/>
                </a:cubicBezTo>
                <a:cubicBezTo>
                  <a:pt x="130" y="432"/>
                  <a:pt x="130" y="432"/>
                  <a:pt x="130" y="432"/>
                </a:cubicBezTo>
                <a:cubicBezTo>
                  <a:pt x="130" y="436"/>
                  <a:pt x="130" y="436"/>
                  <a:pt x="130" y="436"/>
                </a:cubicBezTo>
                <a:cubicBezTo>
                  <a:pt x="129" y="438"/>
                  <a:pt x="129" y="438"/>
                  <a:pt x="129" y="438"/>
                </a:cubicBezTo>
                <a:cubicBezTo>
                  <a:pt x="131" y="439"/>
                  <a:pt x="131" y="439"/>
                  <a:pt x="131" y="439"/>
                </a:cubicBezTo>
                <a:cubicBezTo>
                  <a:pt x="132" y="441"/>
                  <a:pt x="132" y="441"/>
                  <a:pt x="132" y="441"/>
                </a:cubicBezTo>
                <a:cubicBezTo>
                  <a:pt x="132" y="441"/>
                  <a:pt x="132" y="441"/>
                  <a:pt x="132" y="441"/>
                </a:cubicBezTo>
                <a:cubicBezTo>
                  <a:pt x="134" y="443"/>
                  <a:pt x="134" y="443"/>
                  <a:pt x="134" y="443"/>
                </a:cubicBezTo>
                <a:cubicBezTo>
                  <a:pt x="135" y="442"/>
                  <a:pt x="135" y="442"/>
                  <a:pt x="135" y="442"/>
                </a:cubicBezTo>
                <a:cubicBezTo>
                  <a:pt x="139" y="443"/>
                  <a:pt x="139" y="443"/>
                  <a:pt x="139" y="443"/>
                </a:cubicBezTo>
                <a:cubicBezTo>
                  <a:pt x="142" y="446"/>
                  <a:pt x="142" y="446"/>
                  <a:pt x="142" y="446"/>
                </a:cubicBezTo>
                <a:cubicBezTo>
                  <a:pt x="144" y="450"/>
                  <a:pt x="144" y="450"/>
                  <a:pt x="144" y="450"/>
                </a:cubicBezTo>
                <a:cubicBezTo>
                  <a:pt x="142" y="450"/>
                  <a:pt x="142" y="450"/>
                  <a:pt x="142" y="450"/>
                </a:cubicBezTo>
                <a:cubicBezTo>
                  <a:pt x="142" y="451"/>
                  <a:pt x="142" y="451"/>
                  <a:pt x="142" y="451"/>
                </a:cubicBezTo>
                <a:cubicBezTo>
                  <a:pt x="144" y="453"/>
                  <a:pt x="144" y="453"/>
                  <a:pt x="144" y="453"/>
                </a:cubicBezTo>
                <a:cubicBezTo>
                  <a:pt x="145" y="452"/>
                  <a:pt x="145" y="452"/>
                  <a:pt x="145" y="452"/>
                </a:cubicBezTo>
                <a:cubicBezTo>
                  <a:pt x="147" y="453"/>
                  <a:pt x="147" y="453"/>
                  <a:pt x="147" y="453"/>
                </a:cubicBezTo>
                <a:cubicBezTo>
                  <a:pt x="147" y="453"/>
                  <a:pt x="147" y="453"/>
                  <a:pt x="147" y="453"/>
                </a:cubicBezTo>
                <a:cubicBezTo>
                  <a:pt x="147" y="453"/>
                  <a:pt x="147" y="453"/>
                  <a:pt x="147" y="453"/>
                </a:cubicBezTo>
                <a:cubicBezTo>
                  <a:pt x="147" y="454"/>
                  <a:pt x="147" y="454"/>
                  <a:pt x="147" y="454"/>
                </a:cubicBezTo>
                <a:cubicBezTo>
                  <a:pt x="147" y="455"/>
                  <a:pt x="147" y="455"/>
                  <a:pt x="147" y="455"/>
                </a:cubicBezTo>
                <a:cubicBezTo>
                  <a:pt x="146" y="455"/>
                  <a:pt x="146" y="455"/>
                  <a:pt x="146" y="455"/>
                </a:cubicBezTo>
                <a:cubicBezTo>
                  <a:pt x="146" y="455"/>
                  <a:pt x="146" y="455"/>
                  <a:pt x="146" y="455"/>
                </a:cubicBezTo>
                <a:cubicBezTo>
                  <a:pt x="146" y="456"/>
                  <a:pt x="146" y="456"/>
                  <a:pt x="146" y="456"/>
                </a:cubicBezTo>
                <a:cubicBezTo>
                  <a:pt x="146" y="456"/>
                  <a:pt x="146" y="456"/>
                  <a:pt x="146" y="456"/>
                </a:cubicBezTo>
                <a:cubicBezTo>
                  <a:pt x="146" y="456"/>
                  <a:pt x="146" y="456"/>
                  <a:pt x="146" y="456"/>
                </a:cubicBezTo>
                <a:cubicBezTo>
                  <a:pt x="146" y="457"/>
                  <a:pt x="146" y="457"/>
                  <a:pt x="146" y="457"/>
                </a:cubicBezTo>
                <a:cubicBezTo>
                  <a:pt x="145" y="457"/>
                  <a:pt x="145" y="457"/>
                  <a:pt x="145" y="457"/>
                </a:cubicBezTo>
                <a:cubicBezTo>
                  <a:pt x="145" y="457"/>
                  <a:pt x="145" y="457"/>
                  <a:pt x="145" y="457"/>
                </a:cubicBezTo>
                <a:cubicBezTo>
                  <a:pt x="144" y="457"/>
                  <a:pt x="144" y="457"/>
                  <a:pt x="144" y="457"/>
                </a:cubicBezTo>
                <a:cubicBezTo>
                  <a:pt x="143" y="457"/>
                  <a:pt x="143" y="457"/>
                  <a:pt x="143" y="457"/>
                </a:cubicBezTo>
                <a:cubicBezTo>
                  <a:pt x="145" y="458"/>
                  <a:pt x="145" y="458"/>
                  <a:pt x="145" y="458"/>
                </a:cubicBezTo>
                <a:cubicBezTo>
                  <a:pt x="145" y="459"/>
                  <a:pt x="145" y="459"/>
                  <a:pt x="145" y="459"/>
                </a:cubicBezTo>
                <a:cubicBezTo>
                  <a:pt x="145" y="459"/>
                  <a:pt x="145" y="459"/>
                  <a:pt x="145" y="459"/>
                </a:cubicBezTo>
                <a:cubicBezTo>
                  <a:pt x="144" y="458"/>
                  <a:pt x="144" y="458"/>
                  <a:pt x="144" y="458"/>
                </a:cubicBezTo>
                <a:cubicBezTo>
                  <a:pt x="144" y="458"/>
                  <a:pt x="143" y="459"/>
                  <a:pt x="143" y="459"/>
                </a:cubicBezTo>
                <a:cubicBezTo>
                  <a:pt x="143" y="459"/>
                  <a:pt x="142" y="458"/>
                  <a:pt x="142" y="458"/>
                </a:cubicBezTo>
                <a:cubicBezTo>
                  <a:pt x="142" y="458"/>
                  <a:pt x="142" y="458"/>
                  <a:pt x="142" y="458"/>
                </a:cubicBezTo>
                <a:cubicBezTo>
                  <a:pt x="143" y="459"/>
                  <a:pt x="143" y="459"/>
                  <a:pt x="143" y="459"/>
                </a:cubicBezTo>
                <a:cubicBezTo>
                  <a:pt x="143" y="459"/>
                  <a:pt x="143" y="459"/>
                  <a:pt x="143" y="459"/>
                </a:cubicBezTo>
                <a:cubicBezTo>
                  <a:pt x="142" y="460"/>
                  <a:pt x="142" y="460"/>
                  <a:pt x="142" y="460"/>
                </a:cubicBezTo>
                <a:cubicBezTo>
                  <a:pt x="141" y="460"/>
                  <a:pt x="141" y="460"/>
                  <a:pt x="141" y="460"/>
                </a:cubicBezTo>
                <a:cubicBezTo>
                  <a:pt x="141" y="460"/>
                  <a:pt x="141" y="460"/>
                  <a:pt x="141" y="460"/>
                </a:cubicBezTo>
                <a:cubicBezTo>
                  <a:pt x="140" y="460"/>
                  <a:pt x="140" y="460"/>
                  <a:pt x="140" y="460"/>
                </a:cubicBezTo>
                <a:cubicBezTo>
                  <a:pt x="140" y="461"/>
                  <a:pt x="140" y="461"/>
                  <a:pt x="140" y="461"/>
                </a:cubicBezTo>
                <a:cubicBezTo>
                  <a:pt x="139" y="461"/>
                  <a:pt x="139" y="461"/>
                  <a:pt x="139" y="461"/>
                </a:cubicBezTo>
                <a:cubicBezTo>
                  <a:pt x="139" y="460"/>
                  <a:pt x="139" y="460"/>
                  <a:pt x="139" y="460"/>
                </a:cubicBezTo>
                <a:cubicBezTo>
                  <a:pt x="138" y="460"/>
                  <a:pt x="138" y="460"/>
                  <a:pt x="138" y="460"/>
                </a:cubicBezTo>
                <a:cubicBezTo>
                  <a:pt x="138" y="461"/>
                  <a:pt x="138" y="461"/>
                  <a:pt x="138" y="461"/>
                </a:cubicBezTo>
                <a:cubicBezTo>
                  <a:pt x="137" y="462"/>
                  <a:pt x="137" y="462"/>
                  <a:pt x="137" y="462"/>
                </a:cubicBezTo>
                <a:cubicBezTo>
                  <a:pt x="137" y="463"/>
                  <a:pt x="137" y="463"/>
                  <a:pt x="137" y="463"/>
                </a:cubicBezTo>
                <a:cubicBezTo>
                  <a:pt x="137" y="464"/>
                  <a:pt x="137" y="464"/>
                  <a:pt x="137" y="464"/>
                </a:cubicBezTo>
                <a:cubicBezTo>
                  <a:pt x="136" y="465"/>
                  <a:pt x="136" y="465"/>
                  <a:pt x="136" y="465"/>
                </a:cubicBezTo>
                <a:cubicBezTo>
                  <a:pt x="136" y="466"/>
                  <a:pt x="136" y="466"/>
                  <a:pt x="136" y="466"/>
                </a:cubicBezTo>
                <a:cubicBezTo>
                  <a:pt x="136" y="468"/>
                  <a:pt x="136" y="468"/>
                  <a:pt x="136" y="468"/>
                </a:cubicBezTo>
                <a:cubicBezTo>
                  <a:pt x="135" y="469"/>
                  <a:pt x="135" y="469"/>
                  <a:pt x="135" y="469"/>
                </a:cubicBezTo>
                <a:cubicBezTo>
                  <a:pt x="135" y="470"/>
                  <a:pt x="135" y="470"/>
                  <a:pt x="135" y="470"/>
                </a:cubicBezTo>
                <a:cubicBezTo>
                  <a:pt x="135" y="472"/>
                  <a:pt x="135" y="472"/>
                  <a:pt x="135" y="472"/>
                </a:cubicBezTo>
                <a:cubicBezTo>
                  <a:pt x="136" y="472"/>
                  <a:pt x="136" y="472"/>
                  <a:pt x="136" y="472"/>
                </a:cubicBezTo>
                <a:cubicBezTo>
                  <a:pt x="137" y="472"/>
                  <a:pt x="137" y="472"/>
                  <a:pt x="137" y="472"/>
                </a:cubicBezTo>
                <a:cubicBezTo>
                  <a:pt x="138" y="473"/>
                  <a:pt x="138" y="473"/>
                  <a:pt x="138" y="473"/>
                </a:cubicBezTo>
                <a:cubicBezTo>
                  <a:pt x="139" y="474"/>
                  <a:pt x="139" y="474"/>
                  <a:pt x="139" y="474"/>
                </a:cubicBezTo>
                <a:cubicBezTo>
                  <a:pt x="139" y="476"/>
                  <a:pt x="139" y="476"/>
                  <a:pt x="139" y="476"/>
                </a:cubicBezTo>
                <a:cubicBezTo>
                  <a:pt x="140" y="476"/>
                  <a:pt x="140" y="476"/>
                  <a:pt x="140" y="476"/>
                </a:cubicBezTo>
                <a:cubicBezTo>
                  <a:pt x="141" y="476"/>
                  <a:pt x="141" y="476"/>
                  <a:pt x="141" y="476"/>
                </a:cubicBezTo>
                <a:cubicBezTo>
                  <a:pt x="142" y="476"/>
                  <a:pt x="142" y="476"/>
                  <a:pt x="142" y="476"/>
                </a:cubicBezTo>
                <a:cubicBezTo>
                  <a:pt x="141" y="477"/>
                  <a:pt x="141" y="477"/>
                  <a:pt x="141" y="477"/>
                </a:cubicBezTo>
                <a:cubicBezTo>
                  <a:pt x="141" y="478"/>
                  <a:pt x="141" y="478"/>
                  <a:pt x="141" y="478"/>
                </a:cubicBezTo>
                <a:cubicBezTo>
                  <a:pt x="140" y="478"/>
                  <a:pt x="140" y="478"/>
                  <a:pt x="140" y="478"/>
                </a:cubicBezTo>
                <a:cubicBezTo>
                  <a:pt x="140" y="479"/>
                  <a:pt x="140" y="479"/>
                  <a:pt x="140" y="479"/>
                </a:cubicBezTo>
                <a:cubicBezTo>
                  <a:pt x="141" y="479"/>
                  <a:pt x="141" y="479"/>
                  <a:pt x="141" y="479"/>
                </a:cubicBezTo>
                <a:cubicBezTo>
                  <a:pt x="141" y="480"/>
                  <a:pt x="141" y="480"/>
                  <a:pt x="141" y="480"/>
                </a:cubicBezTo>
                <a:cubicBezTo>
                  <a:pt x="142" y="480"/>
                  <a:pt x="142" y="480"/>
                  <a:pt x="142" y="480"/>
                </a:cubicBezTo>
                <a:cubicBezTo>
                  <a:pt x="142" y="482"/>
                  <a:pt x="142" y="482"/>
                  <a:pt x="142" y="482"/>
                </a:cubicBezTo>
                <a:cubicBezTo>
                  <a:pt x="143" y="483"/>
                  <a:pt x="143" y="483"/>
                  <a:pt x="143" y="483"/>
                </a:cubicBezTo>
                <a:cubicBezTo>
                  <a:pt x="143" y="485"/>
                  <a:pt x="143" y="485"/>
                  <a:pt x="143" y="485"/>
                </a:cubicBezTo>
                <a:cubicBezTo>
                  <a:pt x="145" y="488"/>
                  <a:pt x="145" y="488"/>
                  <a:pt x="145" y="488"/>
                </a:cubicBezTo>
                <a:cubicBezTo>
                  <a:pt x="149" y="491"/>
                  <a:pt x="149" y="491"/>
                  <a:pt x="149" y="491"/>
                </a:cubicBezTo>
                <a:cubicBezTo>
                  <a:pt x="149" y="491"/>
                  <a:pt x="149" y="491"/>
                  <a:pt x="149" y="491"/>
                </a:cubicBezTo>
                <a:cubicBezTo>
                  <a:pt x="149" y="491"/>
                  <a:pt x="149" y="491"/>
                  <a:pt x="149" y="491"/>
                </a:cubicBezTo>
                <a:cubicBezTo>
                  <a:pt x="147" y="494"/>
                  <a:pt x="147" y="494"/>
                  <a:pt x="147" y="494"/>
                </a:cubicBezTo>
                <a:cubicBezTo>
                  <a:pt x="145" y="495"/>
                  <a:pt x="145" y="495"/>
                  <a:pt x="145" y="495"/>
                </a:cubicBezTo>
                <a:cubicBezTo>
                  <a:pt x="145" y="496"/>
                  <a:pt x="145" y="496"/>
                  <a:pt x="145" y="496"/>
                </a:cubicBezTo>
                <a:cubicBezTo>
                  <a:pt x="142" y="496"/>
                  <a:pt x="142" y="496"/>
                  <a:pt x="142" y="496"/>
                </a:cubicBezTo>
                <a:cubicBezTo>
                  <a:pt x="141" y="494"/>
                  <a:pt x="141" y="494"/>
                  <a:pt x="141" y="494"/>
                </a:cubicBezTo>
                <a:cubicBezTo>
                  <a:pt x="138" y="492"/>
                  <a:pt x="138" y="492"/>
                  <a:pt x="138" y="492"/>
                </a:cubicBezTo>
                <a:cubicBezTo>
                  <a:pt x="136" y="492"/>
                  <a:pt x="136" y="492"/>
                  <a:pt x="136" y="492"/>
                </a:cubicBezTo>
                <a:cubicBezTo>
                  <a:pt x="136" y="494"/>
                  <a:pt x="136" y="494"/>
                  <a:pt x="136" y="494"/>
                </a:cubicBezTo>
                <a:cubicBezTo>
                  <a:pt x="137" y="495"/>
                  <a:pt x="137" y="495"/>
                  <a:pt x="137" y="495"/>
                </a:cubicBezTo>
                <a:cubicBezTo>
                  <a:pt x="138" y="496"/>
                  <a:pt x="138" y="496"/>
                  <a:pt x="138" y="496"/>
                </a:cubicBezTo>
                <a:cubicBezTo>
                  <a:pt x="138" y="498"/>
                  <a:pt x="138" y="498"/>
                  <a:pt x="138" y="498"/>
                </a:cubicBezTo>
                <a:cubicBezTo>
                  <a:pt x="136" y="497"/>
                  <a:pt x="136" y="497"/>
                  <a:pt x="136" y="497"/>
                </a:cubicBezTo>
                <a:cubicBezTo>
                  <a:pt x="133" y="497"/>
                  <a:pt x="133" y="497"/>
                  <a:pt x="133" y="497"/>
                </a:cubicBezTo>
                <a:cubicBezTo>
                  <a:pt x="130" y="495"/>
                  <a:pt x="130" y="495"/>
                  <a:pt x="130" y="495"/>
                </a:cubicBezTo>
                <a:cubicBezTo>
                  <a:pt x="127" y="496"/>
                  <a:pt x="127" y="496"/>
                  <a:pt x="127" y="496"/>
                </a:cubicBezTo>
                <a:cubicBezTo>
                  <a:pt x="127" y="497"/>
                  <a:pt x="127" y="497"/>
                  <a:pt x="127" y="497"/>
                </a:cubicBezTo>
                <a:cubicBezTo>
                  <a:pt x="128" y="498"/>
                  <a:pt x="128" y="498"/>
                  <a:pt x="128" y="498"/>
                </a:cubicBezTo>
                <a:cubicBezTo>
                  <a:pt x="127" y="497"/>
                  <a:pt x="127" y="497"/>
                  <a:pt x="127" y="497"/>
                </a:cubicBezTo>
                <a:cubicBezTo>
                  <a:pt x="123" y="497"/>
                  <a:pt x="123" y="497"/>
                  <a:pt x="123" y="497"/>
                </a:cubicBezTo>
                <a:cubicBezTo>
                  <a:pt x="123" y="497"/>
                  <a:pt x="123" y="497"/>
                  <a:pt x="123" y="497"/>
                </a:cubicBezTo>
                <a:cubicBezTo>
                  <a:pt x="120" y="497"/>
                  <a:pt x="120" y="497"/>
                  <a:pt x="120" y="497"/>
                </a:cubicBezTo>
                <a:cubicBezTo>
                  <a:pt x="118" y="498"/>
                  <a:pt x="118" y="498"/>
                  <a:pt x="118" y="498"/>
                </a:cubicBezTo>
                <a:cubicBezTo>
                  <a:pt x="118" y="498"/>
                  <a:pt x="118" y="498"/>
                  <a:pt x="118" y="498"/>
                </a:cubicBezTo>
                <a:cubicBezTo>
                  <a:pt x="117" y="498"/>
                  <a:pt x="117" y="498"/>
                  <a:pt x="117" y="498"/>
                </a:cubicBezTo>
                <a:cubicBezTo>
                  <a:pt x="114" y="495"/>
                  <a:pt x="114" y="495"/>
                  <a:pt x="114" y="495"/>
                </a:cubicBezTo>
                <a:cubicBezTo>
                  <a:pt x="113" y="495"/>
                  <a:pt x="113" y="495"/>
                  <a:pt x="113" y="495"/>
                </a:cubicBezTo>
                <a:cubicBezTo>
                  <a:pt x="112" y="496"/>
                  <a:pt x="112" y="496"/>
                  <a:pt x="112" y="496"/>
                </a:cubicBezTo>
                <a:cubicBezTo>
                  <a:pt x="111" y="496"/>
                  <a:pt x="111" y="496"/>
                  <a:pt x="111" y="496"/>
                </a:cubicBezTo>
                <a:cubicBezTo>
                  <a:pt x="110" y="495"/>
                  <a:pt x="110" y="495"/>
                  <a:pt x="110" y="495"/>
                </a:cubicBezTo>
                <a:cubicBezTo>
                  <a:pt x="109" y="496"/>
                  <a:pt x="109" y="496"/>
                  <a:pt x="109" y="496"/>
                </a:cubicBezTo>
                <a:cubicBezTo>
                  <a:pt x="108" y="496"/>
                  <a:pt x="108" y="496"/>
                  <a:pt x="108" y="496"/>
                </a:cubicBezTo>
                <a:cubicBezTo>
                  <a:pt x="108" y="495"/>
                  <a:pt x="108" y="495"/>
                  <a:pt x="108" y="495"/>
                </a:cubicBezTo>
                <a:cubicBezTo>
                  <a:pt x="107" y="495"/>
                  <a:pt x="107" y="495"/>
                  <a:pt x="107" y="495"/>
                </a:cubicBezTo>
                <a:cubicBezTo>
                  <a:pt x="107" y="495"/>
                  <a:pt x="107" y="495"/>
                  <a:pt x="107" y="495"/>
                </a:cubicBezTo>
                <a:cubicBezTo>
                  <a:pt x="107" y="494"/>
                  <a:pt x="107" y="494"/>
                  <a:pt x="107" y="494"/>
                </a:cubicBezTo>
                <a:cubicBezTo>
                  <a:pt x="107" y="493"/>
                  <a:pt x="107" y="493"/>
                  <a:pt x="107" y="493"/>
                </a:cubicBezTo>
                <a:cubicBezTo>
                  <a:pt x="108" y="493"/>
                  <a:pt x="108" y="493"/>
                  <a:pt x="108" y="493"/>
                </a:cubicBezTo>
                <a:cubicBezTo>
                  <a:pt x="106" y="491"/>
                  <a:pt x="106" y="491"/>
                  <a:pt x="106" y="491"/>
                </a:cubicBezTo>
                <a:cubicBezTo>
                  <a:pt x="106" y="488"/>
                  <a:pt x="106" y="488"/>
                  <a:pt x="106" y="488"/>
                </a:cubicBezTo>
                <a:cubicBezTo>
                  <a:pt x="105" y="487"/>
                  <a:pt x="105" y="487"/>
                  <a:pt x="105" y="487"/>
                </a:cubicBezTo>
                <a:cubicBezTo>
                  <a:pt x="104" y="485"/>
                  <a:pt x="104" y="485"/>
                  <a:pt x="104" y="485"/>
                </a:cubicBezTo>
                <a:cubicBezTo>
                  <a:pt x="103" y="485"/>
                  <a:pt x="103" y="485"/>
                  <a:pt x="103" y="485"/>
                </a:cubicBezTo>
                <a:cubicBezTo>
                  <a:pt x="102" y="484"/>
                  <a:pt x="102" y="484"/>
                  <a:pt x="102" y="484"/>
                </a:cubicBezTo>
                <a:cubicBezTo>
                  <a:pt x="101" y="483"/>
                  <a:pt x="101" y="483"/>
                  <a:pt x="101" y="483"/>
                </a:cubicBezTo>
                <a:cubicBezTo>
                  <a:pt x="100" y="483"/>
                  <a:pt x="100" y="483"/>
                  <a:pt x="100" y="483"/>
                </a:cubicBezTo>
                <a:cubicBezTo>
                  <a:pt x="100" y="483"/>
                  <a:pt x="100" y="483"/>
                  <a:pt x="100" y="483"/>
                </a:cubicBezTo>
                <a:cubicBezTo>
                  <a:pt x="98" y="482"/>
                  <a:pt x="98" y="482"/>
                  <a:pt x="98" y="482"/>
                </a:cubicBezTo>
                <a:cubicBezTo>
                  <a:pt x="97" y="481"/>
                  <a:pt x="97" y="481"/>
                  <a:pt x="97" y="481"/>
                </a:cubicBezTo>
                <a:cubicBezTo>
                  <a:pt x="97" y="481"/>
                  <a:pt x="97" y="481"/>
                  <a:pt x="97" y="481"/>
                </a:cubicBezTo>
                <a:cubicBezTo>
                  <a:pt x="95" y="481"/>
                  <a:pt x="95" y="481"/>
                  <a:pt x="95" y="481"/>
                </a:cubicBezTo>
                <a:cubicBezTo>
                  <a:pt x="95" y="480"/>
                  <a:pt x="95" y="480"/>
                  <a:pt x="95" y="480"/>
                </a:cubicBezTo>
                <a:cubicBezTo>
                  <a:pt x="94" y="480"/>
                  <a:pt x="94" y="480"/>
                  <a:pt x="94" y="480"/>
                </a:cubicBezTo>
                <a:cubicBezTo>
                  <a:pt x="93" y="479"/>
                  <a:pt x="93" y="479"/>
                  <a:pt x="93" y="479"/>
                </a:cubicBezTo>
                <a:cubicBezTo>
                  <a:pt x="93" y="478"/>
                  <a:pt x="93" y="478"/>
                  <a:pt x="93" y="478"/>
                </a:cubicBezTo>
                <a:cubicBezTo>
                  <a:pt x="92" y="478"/>
                  <a:pt x="92" y="478"/>
                  <a:pt x="92" y="478"/>
                </a:cubicBezTo>
                <a:cubicBezTo>
                  <a:pt x="91" y="476"/>
                  <a:pt x="91" y="476"/>
                  <a:pt x="91" y="476"/>
                </a:cubicBezTo>
                <a:cubicBezTo>
                  <a:pt x="87" y="473"/>
                  <a:pt x="87" y="473"/>
                  <a:pt x="87" y="473"/>
                </a:cubicBezTo>
                <a:cubicBezTo>
                  <a:pt x="85" y="473"/>
                  <a:pt x="85" y="473"/>
                  <a:pt x="85" y="473"/>
                </a:cubicBezTo>
                <a:cubicBezTo>
                  <a:pt x="83" y="471"/>
                  <a:pt x="83" y="471"/>
                  <a:pt x="83" y="471"/>
                </a:cubicBezTo>
                <a:cubicBezTo>
                  <a:pt x="80" y="471"/>
                  <a:pt x="80" y="471"/>
                  <a:pt x="80" y="471"/>
                </a:cubicBezTo>
                <a:cubicBezTo>
                  <a:pt x="79" y="470"/>
                  <a:pt x="79" y="470"/>
                  <a:pt x="79" y="470"/>
                </a:cubicBezTo>
                <a:cubicBezTo>
                  <a:pt x="79" y="469"/>
                  <a:pt x="79" y="469"/>
                  <a:pt x="79" y="469"/>
                </a:cubicBezTo>
                <a:cubicBezTo>
                  <a:pt x="77" y="468"/>
                  <a:pt x="77" y="468"/>
                  <a:pt x="77" y="468"/>
                </a:cubicBezTo>
                <a:cubicBezTo>
                  <a:pt x="76" y="468"/>
                  <a:pt x="76" y="468"/>
                  <a:pt x="76" y="468"/>
                </a:cubicBezTo>
                <a:cubicBezTo>
                  <a:pt x="75" y="468"/>
                  <a:pt x="75" y="468"/>
                  <a:pt x="75" y="468"/>
                </a:cubicBezTo>
                <a:cubicBezTo>
                  <a:pt x="76" y="467"/>
                  <a:pt x="76" y="467"/>
                  <a:pt x="76" y="467"/>
                </a:cubicBezTo>
                <a:cubicBezTo>
                  <a:pt x="77" y="466"/>
                  <a:pt x="77" y="466"/>
                  <a:pt x="77" y="466"/>
                </a:cubicBezTo>
                <a:cubicBezTo>
                  <a:pt x="76" y="465"/>
                  <a:pt x="76" y="465"/>
                  <a:pt x="76" y="465"/>
                </a:cubicBezTo>
                <a:cubicBezTo>
                  <a:pt x="76" y="465"/>
                  <a:pt x="76" y="465"/>
                  <a:pt x="76" y="465"/>
                </a:cubicBezTo>
                <a:cubicBezTo>
                  <a:pt x="78" y="465"/>
                  <a:pt x="78" y="465"/>
                  <a:pt x="78" y="465"/>
                </a:cubicBezTo>
                <a:cubicBezTo>
                  <a:pt x="79" y="466"/>
                  <a:pt x="79" y="466"/>
                  <a:pt x="79" y="466"/>
                </a:cubicBezTo>
                <a:cubicBezTo>
                  <a:pt x="79" y="466"/>
                  <a:pt x="79" y="466"/>
                  <a:pt x="79" y="466"/>
                </a:cubicBezTo>
                <a:cubicBezTo>
                  <a:pt x="80" y="466"/>
                  <a:pt x="80" y="466"/>
                  <a:pt x="80" y="466"/>
                </a:cubicBezTo>
                <a:cubicBezTo>
                  <a:pt x="80" y="464"/>
                  <a:pt x="80" y="464"/>
                  <a:pt x="80" y="464"/>
                </a:cubicBezTo>
                <a:cubicBezTo>
                  <a:pt x="80" y="464"/>
                  <a:pt x="80" y="464"/>
                  <a:pt x="80" y="464"/>
                </a:cubicBezTo>
                <a:cubicBezTo>
                  <a:pt x="80" y="462"/>
                  <a:pt x="80" y="462"/>
                  <a:pt x="80" y="462"/>
                </a:cubicBezTo>
                <a:cubicBezTo>
                  <a:pt x="81" y="461"/>
                  <a:pt x="81" y="461"/>
                  <a:pt x="81" y="461"/>
                </a:cubicBezTo>
                <a:cubicBezTo>
                  <a:pt x="81" y="461"/>
                  <a:pt x="81" y="461"/>
                  <a:pt x="81" y="461"/>
                </a:cubicBezTo>
                <a:cubicBezTo>
                  <a:pt x="82" y="460"/>
                  <a:pt x="82" y="460"/>
                  <a:pt x="82" y="460"/>
                </a:cubicBezTo>
                <a:cubicBezTo>
                  <a:pt x="83" y="460"/>
                  <a:pt x="83" y="460"/>
                  <a:pt x="83" y="460"/>
                </a:cubicBezTo>
                <a:cubicBezTo>
                  <a:pt x="83" y="460"/>
                  <a:pt x="83" y="460"/>
                  <a:pt x="83" y="460"/>
                </a:cubicBezTo>
                <a:cubicBezTo>
                  <a:pt x="84" y="459"/>
                  <a:pt x="84" y="459"/>
                  <a:pt x="84" y="459"/>
                </a:cubicBezTo>
                <a:cubicBezTo>
                  <a:pt x="84" y="459"/>
                  <a:pt x="84" y="459"/>
                  <a:pt x="84" y="459"/>
                </a:cubicBezTo>
                <a:cubicBezTo>
                  <a:pt x="83" y="458"/>
                  <a:pt x="83" y="458"/>
                  <a:pt x="83" y="458"/>
                </a:cubicBezTo>
                <a:cubicBezTo>
                  <a:pt x="82" y="458"/>
                  <a:pt x="82" y="458"/>
                  <a:pt x="82" y="458"/>
                </a:cubicBezTo>
                <a:cubicBezTo>
                  <a:pt x="82" y="458"/>
                  <a:pt x="82" y="458"/>
                  <a:pt x="82" y="458"/>
                </a:cubicBezTo>
                <a:cubicBezTo>
                  <a:pt x="81" y="457"/>
                  <a:pt x="81" y="457"/>
                  <a:pt x="81" y="457"/>
                </a:cubicBezTo>
                <a:cubicBezTo>
                  <a:pt x="80" y="456"/>
                  <a:pt x="80" y="456"/>
                  <a:pt x="80" y="456"/>
                </a:cubicBezTo>
                <a:cubicBezTo>
                  <a:pt x="82" y="455"/>
                  <a:pt x="82" y="455"/>
                  <a:pt x="82" y="455"/>
                </a:cubicBezTo>
                <a:cubicBezTo>
                  <a:pt x="84" y="456"/>
                  <a:pt x="84" y="456"/>
                  <a:pt x="84" y="456"/>
                </a:cubicBezTo>
                <a:cubicBezTo>
                  <a:pt x="84" y="455"/>
                  <a:pt x="84" y="455"/>
                  <a:pt x="84" y="455"/>
                </a:cubicBezTo>
                <a:cubicBezTo>
                  <a:pt x="84" y="455"/>
                  <a:pt x="84" y="455"/>
                  <a:pt x="84" y="455"/>
                </a:cubicBezTo>
                <a:cubicBezTo>
                  <a:pt x="83" y="454"/>
                  <a:pt x="83" y="454"/>
                  <a:pt x="83" y="454"/>
                </a:cubicBezTo>
                <a:cubicBezTo>
                  <a:pt x="84" y="453"/>
                  <a:pt x="84" y="453"/>
                  <a:pt x="84" y="453"/>
                </a:cubicBezTo>
                <a:cubicBezTo>
                  <a:pt x="88" y="451"/>
                  <a:pt x="88" y="451"/>
                  <a:pt x="88" y="451"/>
                </a:cubicBezTo>
                <a:cubicBezTo>
                  <a:pt x="88" y="450"/>
                  <a:pt x="88" y="450"/>
                  <a:pt x="88" y="450"/>
                </a:cubicBezTo>
                <a:cubicBezTo>
                  <a:pt x="88" y="450"/>
                  <a:pt x="88" y="450"/>
                  <a:pt x="88" y="450"/>
                </a:cubicBezTo>
                <a:cubicBezTo>
                  <a:pt x="86" y="450"/>
                  <a:pt x="86" y="450"/>
                  <a:pt x="86" y="450"/>
                </a:cubicBezTo>
                <a:cubicBezTo>
                  <a:pt x="84" y="451"/>
                  <a:pt x="84" y="451"/>
                  <a:pt x="84" y="451"/>
                </a:cubicBezTo>
                <a:cubicBezTo>
                  <a:pt x="83" y="451"/>
                  <a:pt x="83" y="451"/>
                  <a:pt x="83" y="451"/>
                </a:cubicBezTo>
                <a:cubicBezTo>
                  <a:pt x="83" y="451"/>
                  <a:pt x="83" y="451"/>
                  <a:pt x="83" y="451"/>
                </a:cubicBezTo>
                <a:cubicBezTo>
                  <a:pt x="83" y="451"/>
                  <a:pt x="83" y="451"/>
                  <a:pt x="83" y="451"/>
                </a:cubicBezTo>
                <a:cubicBezTo>
                  <a:pt x="83" y="448"/>
                  <a:pt x="83" y="448"/>
                  <a:pt x="83" y="448"/>
                </a:cubicBezTo>
                <a:cubicBezTo>
                  <a:pt x="84" y="448"/>
                  <a:pt x="84" y="448"/>
                  <a:pt x="84" y="448"/>
                </a:cubicBezTo>
                <a:cubicBezTo>
                  <a:pt x="85" y="445"/>
                  <a:pt x="85" y="445"/>
                  <a:pt x="85" y="445"/>
                </a:cubicBezTo>
                <a:cubicBezTo>
                  <a:pt x="88" y="445"/>
                  <a:pt x="88" y="445"/>
                  <a:pt x="88" y="445"/>
                </a:cubicBezTo>
                <a:cubicBezTo>
                  <a:pt x="90" y="444"/>
                  <a:pt x="90" y="444"/>
                  <a:pt x="90" y="444"/>
                </a:cubicBezTo>
                <a:cubicBezTo>
                  <a:pt x="89" y="443"/>
                  <a:pt x="89" y="443"/>
                  <a:pt x="89" y="443"/>
                </a:cubicBezTo>
                <a:cubicBezTo>
                  <a:pt x="90" y="440"/>
                  <a:pt x="90" y="440"/>
                  <a:pt x="90" y="440"/>
                </a:cubicBezTo>
                <a:cubicBezTo>
                  <a:pt x="90" y="439"/>
                  <a:pt x="90" y="439"/>
                  <a:pt x="90" y="439"/>
                </a:cubicBezTo>
                <a:cubicBezTo>
                  <a:pt x="88" y="437"/>
                  <a:pt x="88" y="437"/>
                  <a:pt x="88" y="437"/>
                </a:cubicBezTo>
                <a:cubicBezTo>
                  <a:pt x="88" y="435"/>
                  <a:pt x="88" y="435"/>
                  <a:pt x="88" y="435"/>
                </a:cubicBezTo>
                <a:cubicBezTo>
                  <a:pt x="90" y="434"/>
                  <a:pt x="90" y="434"/>
                  <a:pt x="90" y="434"/>
                </a:cubicBezTo>
                <a:cubicBezTo>
                  <a:pt x="91" y="433"/>
                  <a:pt x="91" y="433"/>
                  <a:pt x="91" y="433"/>
                </a:cubicBezTo>
                <a:cubicBezTo>
                  <a:pt x="91" y="431"/>
                  <a:pt x="91" y="431"/>
                  <a:pt x="91" y="431"/>
                </a:cubicBezTo>
                <a:cubicBezTo>
                  <a:pt x="90" y="431"/>
                  <a:pt x="90" y="431"/>
                  <a:pt x="90" y="431"/>
                </a:cubicBezTo>
                <a:cubicBezTo>
                  <a:pt x="89" y="429"/>
                  <a:pt x="89" y="429"/>
                  <a:pt x="89" y="429"/>
                </a:cubicBezTo>
                <a:cubicBezTo>
                  <a:pt x="88" y="430"/>
                  <a:pt x="88" y="430"/>
                  <a:pt x="88" y="430"/>
                </a:cubicBezTo>
                <a:cubicBezTo>
                  <a:pt x="87" y="430"/>
                  <a:pt x="87" y="430"/>
                  <a:pt x="87" y="430"/>
                </a:cubicBezTo>
                <a:cubicBezTo>
                  <a:pt x="85" y="429"/>
                  <a:pt x="85" y="429"/>
                  <a:pt x="85" y="429"/>
                </a:cubicBezTo>
                <a:cubicBezTo>
                  <a:pt x="84" y="429"/>
                  <a:pt x="84" y="429"/>
                  <a:pt x="84" y="429"/>
                </a:cubicBezTo>
                <a:cubicBezTo>
                  <a:pt x="82" y="428"/>
                  <a:pt x="82" y="428"/>
                  <a:pt x="82" y="428"/>
                </a:cubicBezTo>
                <a:cubicBezTo>
                  <a:pt x="81" y="428"/>
                  <a:pt x="81" y="428"/>
                  <a:pt x="81" y="428"/>
                </a:cubicBezTo>
                <a:cubicBezTo>
                  <a:pt x="78" y="428"/>
                  <a:pt x="78" y="428"/>
                  <a:pt x="78" y="428"/>
                </a:cubicBezTo>
                <a:cubicBezTo>
                  <a:pt x="78" y="429"/>
                  <a:pt x="78" y="429"/>
                  <a:pt x="78" y="429"/>
                </a:cubicBezTo>
                <a:cubicBezTo>
                  <a:pt x="77" y="428"/>
                  <a:pt x="77" y="428"/>
                  <a:pt x="77" y="428"/>
                </a:cubicBezTo>
                <a:cubicBezTo>
                  <a:pt x="75" y="426"/>
                  <a:pt x="75" y="426"/>
                  <a:pt x="75" y="426"/>
                </a:cubicBezTo>
                <a:cubicBezTo>
                  <a:pt x="74" y="423"/>
                  <a:pt x="74" y="423"/>
                  <a:pt x="74" y="423"/>
                </a:cubicBezTo>
                <a:cubicBezTo>
                  <a:pt x="73" y="423"/>
                  <a:pt x="73" y="423"/>
                  <a:pt x="73" y="423"/>
                </a:cubicBezTo>
                <a:cubicBezTo>
                  <a:pt x="71" y="425"/>
                  <a:pt x="71" y="425"/>
                  <a:pt x="71" y="425"/>
                </a:cubicBezTo>
                <a:cubicBezTo>
                  <a:pt x="69" y="425"/>
                  <a:pt x="69" y="425"/>
                  <a:pt x="69" y="425"/>
                </a:cubicBezTo>
                <a:cubicBezTo>
                  <a:pt x="68" y="425"/>
                  <a:pt x="68" y="425"/>
                  <a:pt x="68" y="425"/>
                </a:cubicBezTo>
                <a:cubicBezTo>
                  <a:pt x="66" y="424"/>
                  <a:pt x="66" y="424"/>
                  <a:pt x="66" y="424"/>
                </a:cubicBezTo>
                <a:cubicBezTo>
                  <a:pt x="65" y="425"/>
                  <a:pt x="65" y="425"/>
                  <a:pt x="65" y="425"/>
                </a:cubicBezTo>
                <a:cubicBezTo>
                  <a:pt x="62" y="423"/>
                  <a:pt x="62" y="423"/>
                  <a:pt x="62" y="423"/>
                </a:cubicBezTo>
                <a:cubicBezTo>
                  <a:pt x="61" y="421"/>
                  <a:pt x="61" y="421"/>
                  <a:pt x="61" y="421"/>
                </a:cubicBezTo>
                <a:cubicBezTo>
                  <a:pt x="61" y="419"/>
                  <a:pt x="61" y="419"/>
                  <a:pt x="61" y="419"/>
                </a:cubicBezTo>
                <a:cubicBezTo>
                  <a:pt x="60" y="419"/>
                  <a:pt x="60" y="419"/>
                  <a:pt x="60" y="419"/>
                </a:cubicBezTo>
                <a:cubicBezTo>
                  <a:pt x="60" y="417"/>
                  <a:pt x="60" y="417"/>
                  <a:pt x="60" y="417"/>
                </a:cubicBezTo>
                <a:cubicBezTo>
                  <a:pt x="59" y="416"/>
                  <a:pt x="59" y="416"/>
                  <a:pt x="59" y="416"/>
                </a:cubicBezTo>
                <a:cubicBezTo>
                  <a:pt x="55" y="417"/>
                  <a:pt x="55" y="417"/>
                  <a:pt x="55" y="417"/>
                </a:cubicBezTo>
                <a:cubicBezTo>
                  <a:pt x="53" y="415"/>
                  <a:pt x="53" y="415"/>
                  <a:pt x="53" y="415"/>
                </a:cubicBezTo>
                <a:cubicBezTo>
                  <a:pt x="54" y="413"/>
                  <a:pt x="54" y="413"/>
                  <a:pt x="54" y="413"/>
                </a:cubicBezTo>
                <a:cubicBezTo>
                  <a:pt x="53" y="412"/>
                  <a:pt x="53" y="412"/>
                  <a:pt x="53" y="412"/>
                </a:cubicBezTo>
                <a:cubicBezTo>
                  <a:pt x="52" y="409"/>
                  <a:pt x="52" y="409"/>
                  <a:pt x="52" y="409"/>
                </a:cubicBezTo>
                <a:cubicBezTo>
                  <a:pt x="50" y="409"/>
                  <a:pt x="50" y="409"/>
                  <a:pt x="50" y="409"/>
                </a:cubicBezTo>
                <a:cubicBezTo>
                  <a:pt x="49" y="410"/>
                  <a:pt x="49" y="410"/>
                  <a:pt x="49" y="410"/>
                </a:cubicBezTo>
                <a:cubicBezTo>
                  <a:pt x="46" y="410"/>
                  <a:pt x="46" y="410"/>
                  <a:pt x="46" y="410"/>
                </a:cubicBezTo>
                <a:cubicBezTo>
                  <a:pt x="43" y="409"/>
                  <a:pt x="43" y="409"/>
                  <a:pt x="43" y="409"/>
                </a:cubicBezTo>
                <a:cubicBezTo>
                  <a:pt x="42" y="410"/>
                  <a:pt x="42" y="410"/>
                  <a:pt x="42" y="410"/>
                </a:cubicBezTo>
                <a:cubicBezTo>
                  <a:pt x="42" y="411"/>
                  <a:pt x="42" y="411"/>
                  <a:pt x="42" y="411"/>
                </a:cubicBezTo>
                <a:cubicBezTo>
                  <a:pt x="40" y="411"/>
                  <a:pt x="40" y="411"/>
                  <a:pt x="40" y="411"/>
                </a:cubicBezTo>
                <a:cubicBezTo>
                  <a:pt x="39" y="411"/>
                  <a:pt x="39" y="411"/>
                  <a:pt x="39" y="411"/>
                </a:cubicBezTo>
                <a:cubicBezTo>
                  <a:pt x="39" y="410"/>
                  <a:pt x="39" y="410"/>
                  <a:pt x="39" y="410"/>
                </a:cubicBezTo>
                <a:cubicBezTo>
                  <a:pt x="38" y="408"/>
                  <a:pt x="38" y="408"/>
                  <a:pt x="38" y="408"/>
                </a:cubicBezTo>
                <a:cubicBezTo>
                  <a:pt x="38" y="406"/>
                  <a:pt x="38" y="406"/>
                  <a:pt x="38" y="406"/>
                </a:cubicBezTo>
                <a:cubicBezTo>
                  <a:pt x="37" y="404"/>
                  <a:pt x="37" y="404"/>
                  <a:pt x="37" y="404"/>
                </a:cubicBezTo>
                <a:cubicBezTo>
                  <a:pt x="37" y="403"/>
                  <a:pt x="37" y="403"/>
                  <a:pt x="37" y="403"/>
                </a:cubicBezTo>
                <a:cubicBezTo>
                  <a:pt x="37" y="402"/>
                  <a:pt x="37" y="402"/>
                  <a:pt x="37" y="402"/>
                </a:cubicBezTo>
                <a:cubicBezTo>
                  <a:pt x="39" y="403"/>
                  <a:pt x="39" y="403"/>
                  <a:pt x="39" y="403"/>
                </a:cubicBezTo>
                <a:cubicBezTo>
                  <a:pt x="42" y="403"/>
                  <a:pt x="42" y="403"/>
                  <a:pt x="42" y="403"/>
                </a:cubicBezTo>
                <a:cubicBezTo>
                  <a:pt x="43" y="400"/>
                  <a:pt x="43" y="400"/>
                  <a:pt x="43" y="400"/>
                </a:cubicBezTo>
                <a:cubicBezTo>
                  <a:pt x="44" y="400"/>
                  <a:pt x="44" y="400"/>
                  <a:pt x="44" y="400"/>
                </a:cubicBezTo>
                <a:cubicBezTo>
                  <a:pt x="42" y="399"/>
                  <a:pt x="42" y="399"/>
                  <a:pt x="42" y="399"/>
                </a:cubicBezTo>
                <a:cubicBezTo>
                  <a:pt x="42" y="398"/>
                  <a:pt x="42" y="398"/>
                  <a:pt x="42" y="398"/>
                </a:cubicBezTo>
                <a:cubicBezTo>
                  <a:pt x="40" y="396"/>
                  <a:pt x="40" y="396"/>
                  <a:pt x="40" y="396"/>
                </a:cubicBezTo>
                <a:cubicBezTo>
                  <a:pt x="38" y="395"/>
                  <a:pt x="38" y="395"/>
                  <a:pt x="38" y="395"/>
                </a:cubicBezTo>
                <a:cubicBezTo>
                  <a:pt x="37" y="393"/>
                  <a:pt x="37" y="393"/>
                  <a:pt x="37" y="393"/>
                </a:cubicBezTo>
                <a:cubicBezTo>
                  <a:pt x="36" y="392"/>
                  <a:pt x="36" y="392"/>
                  <a:pt x="36" y="392"/>
                </a:cubicBezTo>
                <a:cubicBezTo>
                  <a:pt x="34" y="390"/>
                  <a:pt x="34" y="390"/>
                  <a:pt x="34" y="390"/>
                </a:cubicBezTo>
                <a:cubicBezTo>
                  <a:pt x="33" y="388"/>
                  <a:pt x="33" y="388"/>
                  <a:pt x="33" y="388"/>
                </a:cubicBezTo>
                <a:cubicBezTo>
                  <a:pt x="32" y="386"/>
                  <a:pt x="32" y="386"/>
                  <a:pt x="32" y="386"/>
                </a:cubicBezTo>
                <a:cubicBezTo>
                  <a:pt x="32" y="385"/>
                  <a:pt x="32" y="385"/>
                  <a:pt x="32" y="385"/>
                </a:cubicBezTo>
                <a:cubicBezTo>
                  <a:pt x="31" y="383"/>
                  <a:pt x="31" y="383"/>
                  <a:pt x="31" y="383"/>
                </a:cubicBezTo>
                <a:cubicBezTo>
                  <a:pt x="31" y="382"/>
                  <a:pt x="31" y="382"/>
                  <a:pt x="31" y="382"/>
                </a:cubicBezTo>
                <a:cubicBezTo>
                  <a:pt x="31" y="380"/>
                  <a:pt x="31" y="380"/>
                  <a:pt x="31" y="380"/>
                </a:cubicBezTo>
                <a:cubicBezTo>
                  <a:pt x="28" y="379"/>
                  <a:pt x="28" y="379"/>
                  <a:pt x="28" y="379"/>
                </a:cubicBezTo>
                <a:cubicBezTo>
                  <a:pt x="27" y="379"/>
                  <a:pt x="27" y="379"/>
                  <a:pt x="27" y="379"/>
                </a:cubicBezTo>
                <a:cubicBezTo>
                  <a:pt x="27" y="378"/>
                  <a:pt x="27" y="378"/>
                  <a:pt x="27" y="378"/>
                </a:cubicBezTo>
                <a:cubicBezTo>
                  <a:pt x="25" y="379"/>
                  <a:pt x="25" y="379"/>
                  <a:pt x="25" y="379"/>
                </a:cubicBezTo>
                <a:cubicBezTo>
                  <a:pt x="23" y="380"/>
                  <a:pt x="23" y="380"/>
                  <a:pt x="23" y="380"/>
                </a:cubicBezTo>
                <a:cubicBezTo>
                  <a:pt x="22" y="378"/>
                  <a:pt x="22" y="378"/>
                  <a:pt x="22" y="378"/>
                </a:cubicBezTo>
                <a:cubicBezTo>
                  <a:pt x="21" y="378"/>
                  <a:pt x="21" y="378"/>
                  <a:pt x="21" y="378"/>
                </a:cubicBezTo>
                <a:cubicBezTo>
                  <a:pt x="19" y="379"/>
                  <a:pt x="19" y="379"/>
                  <a:pt x="19" y="379"/>
                </a:cubicBezTo>
                <a:cubicBezTo>
                  <a:pt x="18" y="377"/>
                  <a:pt x="18" y="377"/>
                  <a:pt x="18" y="377"/>
                </a:cubicBezTo>
                <a:cubicBezTo>
                  <a:pt x="16" y="377"/>
                  <a:pt x="16" y="377"/>
                  <a:pt x="16" y="377"/>
                </a:cubicBezTo>
                <a:cubicBezTo>
                  <a:pt x="15" y="377"/>
                  <a:pt x="15" y="377"/>
                  <a:pt x="15" y="377"/>
                </a:cubicBezTo>
                <a:cubicBezTo>
                  <a:pt x="15" y="377"/>
                  <a:pt x="15" y="377"/>
                  <a:pt x="15" y="377"/>
                </a:cubicBezTo>
                <a:cubicBezTo>
                  <a:pt x="15" y="375"/>
                  <a:pt x="15" y="375"/>
                  <a:pt x="15" y="375"/>
                </a:cubicBezTo>
                <a:cubicBezTo>
                  <a:pt x="14" y="374"/>
                  <a:pt x="14" y="374"/>
                  <a:pt x="14" y="374"/>
                </a:cubicBezTo>
                <a:cubicBezTo>
                  <a:pt x="13" y="372"/>
                  <a:pt x="13" y="372"/>
                  <a:pt x="13" y="372"/>
                </a:cubicBezTo>
                <a:cubicBezTo>
                  <a:pt x="13" y="371"/>
                  <a:pt x="13" y="371"/>
                  <a:pt x="13" y="371"/>
                </a:cubicBezTo>
                <a:cubicBezTo>
                  <a:pt x="12" y="370"/>
                  <a:pt x="12" y="370"/>
                  <a:pt x="12" y="370"/>
                </a:cubicBezTo>
                <a:cubicBezTo>
                  <a:pt x="12" y="369"/>
                  <a:pt x="12" y="369"/>
                  <a:pt x="12" y="369"/>
                </a:cubicBezTo>
                <a:cubicBezTo>
                  <a:pt x="12" y="368"/>
                  <a:pt x="12" y="368"/>
                  <a:pt x="12" y="368"/>
                </a:cubicBezTo>
                <a:cubicBezTo>
                  <a:pt x="11" y="368"/>
                  <a:pt x="11" y="368"/>
                  <a:pt x="11" y="368"/>
                </a:cubicBezTo>
                <a:cubicBezTo>
                  <a:pt x="11" y="367"/>
                  <a:pt x="11" y="367"/>
                  <a:pt x="11" y="367"/>
                </a:cubicBezTo>
                <a:cubicBezTo>
                  <a:pt x="11" y="366"/>
                  <a:pt x="11" y="366"/>
                  <a:pt x="11" y="366"/>
                </a:cubicBezTo>
                <a:cubicBezTo>
                  <a:pt x="10" y="366"/>
                  <a:pt x="10" y="366"/>
                  <a:pt x="10" y="366"/>
                </a:cubicBezTo>
                <a:cubicBezTo>
                  <a:pt x="11" y="364"/>
                  <a:pt x="11" y="364"/>
                  <a:pt x="11" y="364"/>
                </a:cubicBezTo>
                <a:cubicBezTo>
                  <a:pt x="11" y="363"/>
                  <a:pt x="11" y="363"/>
                  <a:pt x="11" y="363"/>
                </a:cubicBezTo>
                <a:cubicBezTo>
                  <a:pt x="12" y="362"/>
                  <a:pt x="12" y="362"/>
                  <a:pt x="12" y="362"/>
                </a:cubicBezTo>
                <a:cubicBezTo>
                  <a:pt x="12" y="361"/>
                  <a:pt x="12" y="361"/>
                  <a:pt x="12" y="361"/>
                </a:cubicBezTo>
                <a:cubicBezTo>
                  <a:pt x="9" y="356"/>
                  <a:pt x="9" y="356"/>
                  <a:pt x="9" y="356"/>
                </a:cubicBezTo>
                <a:cubicBezTo>
                  <a:pt x="9" y="351"/>
                  <a:pt x="9" y="351"/>
                  <a:pt x="9" y="351"/>
                </a:cubicBezTo>
                <a:cubicBezTo>
                  <a:pt x="10" y="351"/>
                  <a:pt x="10" y="351"/>
                  <a:pt x="10" y="351"/>
                </a:cubicBezTo>
                <a:cubicBezTo>
                  <a:pt x="10" y="349"/>
                  <a:pt x="10" y="349"/>
                  <a:pt x="10" y="349"/>
                </a:cubicBezTo>
                <a:cubicBezTo>
                  <a:pt x="11" y="347"/>
                  <a:pt x="11" y="347"/>
                  <a:pt x="11" y="347"/>
                </a:cubicBezTo>
                <a:cubicBezTo>
                  <a:pt x="12" y="347"/>
                  <a:pt x="12" y="347"/>
                  <a:pt x="12" y="347"/>
                </a:cubicBezTo>
                <a:cubicBezTo>
                  <a:pt x="12" y="347"/>
                  <a:pt x="12" y="347"/>
                  <a:pt x="12" y="347"/>
                </a:cubicBezTo>
                <a:cubicBezTo>
                  <a:pt x="11" y="346"/>
                  <a:pt x="11" y="346"/>
                  <a:pt x="11" y="346"/>
                </a:cubicBezTo>
                <a:cubicBezTo>
                  <a:pt x="11" y="346"/>
                  <a:pt x="11" y="346"/>
                  <a:pt x="11" y="346"/>
                </a:cubicBezTo>
                <a:cubicBezTo>
                  <a:pt x="11" y="344"/>
                  <a:pt x="11" y="344"/>
                  <a:pt x="11" y="344"/>
                </a:cubicBezTo>
                <a:cubicBezTo>
                  <a:pt x="11" y="343"/>
                  <a:pt x="11" y="343"/>
                  <a:pt x="11" y="343"/>
                </a:cubicBezTo>
                <a:cubicBezTo>
                  <a:pt x="11" y="343"/>
                  <a:pt x="11" y="343"/>
                  <a:pt x="11" y="343"/>
                </a:cubicBezTo>
                <a:cubicBezTo>
                  <a:pt x="11" y="343"/>
                  <a:pt x="11" y="343"/>
                  <a:pt x="11" y="343"/>
                </a:cubicBezTo>
                <a:cubicBezTo>
                  <a:pt x="12" y="344"/>
                  <a:pt x="12" y="344"/>
                  <a:pt x="12" y="344"/>
                </a:cubicBezTo>
                <a:cubicBezTo>
                  <a:pt x="13" y="343"/>
                  <a:pt x="13" y="343"/>
                  <a:pt x="13" y="343"/>
                </a:cubicBezTo>
                <a:cubicBezTo>
                  <a:pt x="13" y="342"/>
                  <a:pt x="13" y="342"/>
                  <a:pt x="13" y="342"/>
                </a:cubicBezTo>
                <a:cubicBezTo>
                  <a:pt x="14" y="341"/>
                  <a:pt x="14" y="341"/>
                  <a:pt x="14" y="341"/>
                </a:cubicBezTo>
                <a:cubicBezTo>
                  <a:pt x="15" y="342"/>
                  <a:pt x="15" y="342"/>
                  <a:pt x="15" y="342"/>
                </a:cubicBezTo>
                <a:cubicBezTo>
                  <a:pt x="16" y="341"/>
                  <a:pt x="16" y="341"/>
                  <a:pt x="16" y="341"/>
                </a:cubicBezTo>
                <a:cubicBezTo>
                  <a:pt x="17" y="340"/>
                  <a:pt x="17" y="340"/>
                  <a:pt x="17" y="340"/>
                </a:cubicBezTo>
                <a:cubicBezTo>
                  <a:pt x="17" y="340"/>
                  <a:pt x="17" y="340"/>
                  <a:pt x="17" y="340"/>
                </a:cubicBezTo>
                <a:cubicBezTo>
                  <a:pt x="19" y="340"/>
                  <a:pt x="19" y="340"/>
                  <a:pt x="19" y="340"/>
                </a:cubicBezTo>
                <a:cubicBezTo>
                  <a:pt x="20" y="339"/>
                  <a:pt x="20" y="339"/>
                  <a:pt x="20" y="339"/>
                </a:cubicBezTo>
                <a:cubicBezTo>
                  <a:pt x="19" y="338"/>
                  <a:pt x="19" y="338"/>
                  <a:pt x="19" y="338"/>
                </a:cubicBezTo>
                <a:cubicBezTo>
                  <a:pt x="18" y="338"/>
                  <a:pt x="18" y="338"/>
                  <a:pt x="18" y="338"/>
                </a:cubicBezTo>
                <a:cubicBezTo>
                  <a:pt x="17" y="338"/>
                  <a:pt x="17" y="338"/>
                  <a:pt x="17" y="338"/>
                </a:cubicBezTo>
                <a:cubicBezTo>
                  <a:pt x="16" y="338"/>
                  <a:pt x="16" y="338"/>
                  <a:pt x="16" y="338"/>
                </a:cubicBezTo>
                <a:cubicBezTo>
                  <a:pt x="15" y="337"/>
                  <a:pt x="15" y="337"/>
                  <a:pt x="15" y="337"/>
                </a:cubicBezTo>
                <a:cubicBezTo>
                  <a:pt x="14" y="337"/>
                  <a:pt x="14" y="337"/>
                  <a:pt x="14" y="337"/>
                </a:cubicBezTo>
                <a:cubicBezTo>
                  <a:pt x="12" y="335"/>
                  <a:pt x="12" y="335"/>
                  <a:pt x="12" y="335"/>
                </a:cubicBezTo>
                <a:cubicBezTo>
                  <a:pt x="12" y="334"/>
                  <a:pt x="12" y="334"/>
                  <a:pt x="12" y="334"/>
                </a:cubicBezTo>
                <a:cubicBezTo>
                  <a:pt x="14" y="335"/>
                  <a:pt x="14" y="335"/>
                  <a:pt x="14" y="335"/>
                </a:cubicBezTo>
                <a:cubicBezTo>
                  <a:pt x="14" y="334"/>
                  <a:pt x="14" y="334"/>
                  <a:pt x="14" y="334"/>
                </a:cubicBezTo>
                <a:cubicBezTo>
                  <a:pt x="13" y="334"/>
                  <a:pt x="13" y="334"/>
                  <a:pt x="13" y="334"/>
                </a:cubicBezTo>
                <a:cubicBezTo>
                  <a:pt x="14" y="333"/>
                  <a:pt x="14" y="333"/>
                  <a:pt x="14" y="333"/>
                </a:cubicBezTo>
                <a:cubicBezTo>
                  <a:pt x="13" y="333"/>
                  <a:pt x="13" y="333"/>
                  <a:pt x="13" y="333"/>
                </a:cubicBezTo>
                <a:cubicBezTo>
                  <a:pt x="13" y="333"/>
                  <a:pt x="11" y="334"/>
                  <a:pt x="11" y="334"/>
                </a:cubicBezTo>
                <a:cubicBezTo>
                  <a:pt x="11" y="334"/>
                  <a:pt x="11" y="334"/>
                  <a:pt x="11" y="334"/>
                </a:cubicBezTo>
                <a:cubicBezTo>
                  <a:pt x="11" y="334"/>
                  <a:pt x="11" y="334"/>
                  <a:pt x="11" y="334"/>
                </a:cubicBezTo>
                <a:cubicBezTo>
                  <a:pt x="11" y="333"/>
                  <a:pt x="11" y="333"/>
                  <a:pt x="11" y="333"/>
                </a:cubicBezTo>
                <a:cubicBezTo>
                  <a:pt x="14" y="330"/>
                  <a:pt x="14" y="330"/>
                  <a:pt x="14" y="330"/>
                </a:cubicBezTo>
                <a:cubicBezTo>
                  <a:pt x="15" y="329"/>
                  <a:pt x="15" y="329"/>
                  <a:pt x="15" y="329"/>
                </a:cubicBezTo>
                <a:cubicBezTo>
                  <a:pt x="17" y="326"/>
                  <a:pt x="17" y="326"/>
                  <a:pt x="17" y="326"/>
                </a:cubicBezTo>
                <a:cubicBezTo>
                  <a:pt x="18" y="323"/>
                  <a:pt x="18" y="323"/>
                  <a:pt x="18" y="323"/>
                </a:cubicBezTo>
                <a:cubicBezTo>
                  <a:pt x="20" y="320"/>
                  <a:pt x="20" y="320"/>
                  <a:pt x="20" y="320"/>
                </a:cubicBezTo>
                <a:cubicBezTo>
                  <a:pt x="22" y="316"/>
                  <a:pt x="22" y="316"/>
                  <a:pt x="22" y="316"/>
                </a:cubicBezTo>
                <a:cubicBezTo>
                  <a:pt x="24" y="312"/>
                  <a:pt x="24" y="312"/>
                  <a:pt x="24" y="312"/>
                </a:cubicBezTo>
                <a:cubicBezTo>
                  <a:pt x="24" y="310"/>
                  <a:pt x="24" y="310"/>
                  <a:pt x="24" y="310"/>
                </a:cubicBezTo>
                <a:cubicBezTo>
                  <a:pt x="21" y="307"/>
                  <a:pt x="21" y="307"/>
                  <a:pt x="21" y="307"/>
                </a:cubicBezTo>
                <a:cubicBezTo>
                  <a:pt x="19" y="306"/>
                  <a:pt x="19" y="306"/>
                  <a:pt x="19" y="306"/>
                </a:cubicBezTo>
                <a:cubicBezTo>
                  <a:pt x="16" y="302"/>
                  <a:pt x="16" y="302"/>
                  <a:pt x="16" y="302"/>
                </a:cubicBezTo>
                <a:cubicBezTo>
                  <a:pt x="17" y="300"/>
                  <a:pt x="17" y="300"/>
                  <a:pt x="17" y="300"/>
                </a:cubicBezTo>
                <a:cubicBezTo>
                  <a:pt x="18" y="298"/>
                  <a:pt x="18" y="298"/>
                  <a:pt x="18" y="298"/>
                </a:cubicBezTo>
                <a:cubicBezTo>
                  <a:pt x="18" y="297"/>
                  <a:pt x="18" y="297"/>
                  <a:pt x="18" y="297"/>
                </a:cubicBezTo>
                <a:cubicBezTo>
                  <a:pt x="16" y="295"/>
                  <a:pt x="16" y="295"/>
                  <a:pt x="16" y="295"/>
                </a:cubicBezTo>
                <a:cubicBezTo>
                  <a:pt x="15" y="294"/>
                  <a:pt x="15" y="294"/>
                  <a:pt x="15" y="294"/>
                </a:cubicBezTo>
                <a:cubicBezTo>
                  <a:pt x="15" y="292"/>
                  <a:pt x="15" y="292"/>
                  <a:pt x="15" y="292"/>
                </a:cubicBezTo>
                <a:cubicBezTo>
                  <a:pt x="16" y="291"/>
                  <a:pt x="16" y="291"/>
                  <a:pt x="16" y="291"/>
                </a:cubicBezTo>
                <a:cubicBezTo>
                  <a:pt x="15" y="290"/>
                  <a:pt x="15" y="290"/>
                  <a:pt x="15" y="290"/>
                </a:cubicBezTo>
                <a:cubicBezTo>
                  <a:pt x="14" y="289"/>
                  <a:pt x="14" y="289"/>
                  <a:pt x="14" y="289"/>
                </a:cubicBezTo>
                <a:cubicBezTo>
                  <a:pt x="13" y="288"/>
                  <a:pt x="13" y="288"/>
                  <a:pt x="13" y="288"/>
                </a:cubicBezTo>
                <a:cubicBezTo>
                  <a:pt x="13" y="286"/>
                  <a:pt x="13" y="286"/>
                  <a:pt x="13" y="286"/>
                </a:cubicBezTo>
                <a:cubicBezTo>
                  <a:pt x="14" y="285"/>
                  <a:pt x="14" y="285"/>
                  <a:pt x="14" y="285"/>
                </a:cubicBezTo>
                <a:cubicBezTo>
                  <a:pt x="13" y="285"/>
                  <a:pt x="13" y="285"/>
                  <a:pt x="13" y="285"/>
                </a:cubicBezTo>
                <a:cubicBezTo>
                  <a:pt x="13" y="284"/>
                  <a:pt x="13" y="284"/>
                  <a:pt x="13" y="284"/>
                </a:cubicBezTo>
                <a:cubicBezTo>
                  <a:pt x="13" y="280"/>
                  <a:pt x="13" y="280"/>
                  <a:pt x="13" y="280"/>
                </a:cubicBezTo>
                <a:cubicBezTo>
                  <a:pt x="14" y="279"/>
                  <a:pt x="14" y="279"/>
                  <a:pt x="14" y="279"/>
                </a:cubicBezTo>
                <a:cubicBezTo>
                  <a:pt x="11" y="273"/>
                  <a:pt x="11" y="273"/>
                  <a:pt x="11" y="273"/>
                </a:cubicBezTo>
                <a:cubicBezTo>
                  <a:pt x="9" y="268"/>
                  <a:pt x="9" y="268"/>
                  <a:pt x="9" y="268"/>
                </a:cubicBezTo>
                <a:cubicBezTo>
                  <a:pt x="8" y="266"/>
                  <a:pt x="8" y="266"/>
                  <a:pt x="8" y="266"/>
                </a:cubicBezTo>
                <a:cubicBezTo>
                  <a:pt x="7" y="265"/>
                  <a:pt x="7" y="265"/>
                  <a:pt x="7" y="265"/>
                </a:cubicBezTo>
                <a:cubicBezTo>
                  <a:pt x="8" y="262"/>
                  <a:pt x="8" y="262"/>
                  <a:pt x="8" y="262"/>
                </a:cubicBezTo>
                <a:cubicBezTo>
                  <a:pt x="9" y="260"/>
                  <a:pt x="9" y="260"/>
                  <a:pt x="9" y="260"/>
                </a:cubicBezTo>
                <a:cubicBezTo>
                  <a:pt x="9" y="258"/>
                  <a:pt x="9" y="258"/>
                  <a:pt x="9" y="258"/>
                </a:cubicBezTo>
                <a:cubicBezTo>
                  <a:pt x="9" y="257"/>
                  <a:pt x="9" y="257"/>
                  <a:pt x="9" y="257"/>
                </a:cubicBezTo>
                <a:cubicBezTo>
                  <a:pt x="6" y="255"/>
                  <a:pt x="6" y="255"/>
                  <a:pt x="6" y="255"/>
                </a:cubicBezTo>
                <a:cubicBezTo>
                  <a:pt x="5" y="254"/>
                  <a:pt x="5" y="254"/>
                  <a:pt x="5" y="254"/>
                </a:cubicBezTo>
                <a:cubicBezTo>
                  <a:pt x="4" y="253"/>
                  <a:pt x="4" y="253"/>
                  <a:pt x="4" y="253"/>
                </a:cubicBezTo>
                <a:cubicBezTo>
                  <a:pt x="3" y="252"/>
                  <a:pt x="3" y="252"/>
                  <a:pt x="3" y="252"/>
                </a:cubicBezTo>
                <a:cubicBezTo>
                  <a:pt x="2" y="252"/>
                  <a:pt x="2" y="252"/>
                  <a:pt x="2" y="252"/>
                </a:cubicBezTo>
                <a:cubicBezTo>
                  <a:pt x="1" y="249"/>
                  <a:pt x="1" y="249"/>
                  <a:pt x="1" y="249"/>
                </a:cubicBezTo>
                <a:cubicBezTo>
                  <a:pt x="0" y="248"/>
                  <a:pt x="0" y="248"/>
                  <a:pt x="0" y="248"/>
                </a:cubicBezTo>
                <a:cubicBezTo>
                  <a:pt x="0" y="246"/>
                  <a:pt x="0" y="246"/>
                  <a:pt x="0" y="246"/>
                </a:cubicBezTo>
                <a:cubicBezTo>
                  <a:pt x="1" y="244"/>
                  <a:pt x="1" y="244"/>
                  <a:pt x="1" y="244"/>
                </a:cubicBezTo>
                <a:cubicBezTo>
                  <a:pt x="0" y="244"/>
                  <a:pt x="0" y="244"/>
                  <a:pt x="0" y="244"/>
                </a:cubicBezTo>
                <a:cubicBezTo>
                  <a:pt x="1" y="243"/>
                  <a:pt x="1" y="243"/>
                  <a:pt x="1" y="243"/>
                </a:cubicBezTo>
                <a:cubicBezTo>
                  <a:pt x="2" y="242"/>
                  <a:pt x="2" y="242"/>
                  <a:pt x="2" y="242"/>
                </a:cubicBezTo>
                <a:cubicBezTo>
                  <a:pt x="2" y="242"/>
                  <a:pt x="2" y="242"/>
                  <a:pt x="2" y="242"/>
                </a:cubicBezTo>
                <a:cubicBezTo>
                  <a:pt x="3" y="242"/>
                  <a:pt x="3" y="242"/>
                  <a:pt x="3" y="242"/>
                </a:cubicBezTo>
                <a:cubicBezTo>
                  <a:pt x="3" y="240"/>
                  <a:pt x="3" y="240"/>
                  <a:pt x="3" y="240"/>
                </a:cubicBezTo>
                <a:cubicBezTo>
                  <a:pt x="5" y="238"/>
                  <a:pt x="5" y="238"/>
                  <a:pt x="5" y="238"/>
                </a:cubicBezTo>
                <a:cubicBezTo>
                  <a:pt x="6" y="238"/>
                  <a:pt x="6" y="238"/>
                  <a:pt x="6" y="238"/>
                </a:cubicBezTo>
                <a:cubicBezTo>
                  <a:pt x="7" y="237"/>
                  <a:pt x="7" y="237"/>
                  <a:pt x="7" y="237"/>
                </a:cubicBezTo>
                <a:cubicBezTo>
                  <a:pt x="7" y="235"/>
                  <a:pt x="7" y="235"/>
                  <a:pt x="7" y="235"/>
                </a:cubicBezTo>
                <a:cubicBezTo>
                  <a:pt x="8" y="235"/>
                  <a:pt x="8" y="235"/>
                  <a:pt x="8" y="235"/>
                </a:cubicBezTo>
                <a:cubicBezTo>
                  <a:pt x="9" y="235"/>
                  <a:pt x="9" y="235"/>
                  <a:pt x="9" y="235"/>
                </a:cubicBezTo>
                <a:cubicBezTo>
                  <a:pt x="10" y="234"/>
                  <a:pt x="10" y="234"/>
                  <a:pt x="10" y="234"/>
                </a:cubicBezTo>
                <a:cubicBezTo>
                  <a:pt x="10" y="233"/>
                  <a:pt x="10" y="233"/>
                  <a:pt x="10" y="233"/>
                </a:cubicBezTo>
                <a:cubicBezTo>
                  <a:pt x="10" y="233"/>
                  <a:pt x="10" y="233"/>
                  <a:pt x="10" y="233"/>
                </a:cubicBezTo>
                <a:cubicBezTo>
                  <a:pt x="11" y="233"/>
                  <a:pt x="11" y="233"/>
                  <a:pt x="11" y="233"/>
                </a:cubicBezTo>
                <a:cubicBezTo>
                  <a:pt x="12" y="234"/>
                  <a:pt x="12" y="234"/>
                  <a:pt x="12" y="234"/>
                </a:cubicBezTo>
                <a:cubicBezTo>
                  <a:pt x="12" y="235"/>
                  <a:pt x="12" y="235"/>
                  <a:pt x="12" y="235"/>
                </a:cubicBezTo>
                <a:cubicBezTo>
                  <a:pt x="13" y="236"/>
                  <a:pt x="13" y="236"/>
                  <a:pt x="13" y="236"/>
                </a:cubicBezTo>
                <a:cubicBezTo>
                  <a:pt x="13" y="234"/>
                  <a:pt x="13" y="234"/>
                  <a:pt x="13" y="234"/>
                </a:cubicBezTo>
                <a:cubicBezTo>
                  <a:pt x="13" y="233"/>
                  <a:pt x="13" y="233"/>
                  <a:pt x="13" y="233"/>
                </a:cubicBezTo>
                <a:cubicBezTo>
                  <a:pt x="14" y="233"/>
                  <a:pt x="14" y="233"/>
                  <a:pt x="14" y="233"/>
                </a:cubicBezTo>
                <a:cubicBezTo>
                  <a:pt x="15" y="233"/>
                  <a:pt x="15" y="233"/>
                  <a:pt x="15" y="233"/>
                </a:cubicBezTo>
                <a:cubicBezTo>
                  <a:pt x="13" y="232"/>
                  <a:pt x="13" y="232"/>
                  <a:pt x="13" y="232"/>
                </a:cubicBezTo>
                <a:cubicBezTo>
                  <a:pt x="14" y="232"/>
                  <a:pt x="14" y="232"/>
                  <a:pt x="14" y="232"/>
                </a:cubicBezTo>
                <a:cubicBezTo>
                  <a:pt x="14" y="232"/>
                  <a:pt x="14" y="232"/>
                  <a:pt x="14" y="232"/>
                </a:cubicBezTo>
                <a:cubicBezTo>
                  <a:pt x="15" y="232"/>
                  <a:pt x="15" y="232"/>
                  <a:pt x="15" y="232"/>
                </a:cubicBezTo>
                <a:cubicBezTo>
                  <a:pt x="15" y="232"/>
                  <a:pt x="15" y="232"/>
                  <a:pt x="15" y="232"/>
                </a:cubicBezTo>
                <a:cubicBezTo>
                  <a:pt x="15" y="231"/>
                  <a:pt x="15" y="231"/>
                  <a:pt x="15" y="231"/>
                </a:cubicBezTo>
                <a:cubicBezTo>
                  <a:pt x="14" y="231"/>
                  <a:pt x="14" y="231"/>
                  <a:pt x="14" y="231"/>
                </a:cubicBezTo>
                <a:cubicBezTo>
                  <a:pt x="14" y="230"/>
                  <a:pt x="14" y="230"/>
                  <a:pt x="14" y="230"/>
                </a:cubicBezTo>
                <a:cubicBezTo>
                  <a:pt x="16" y="230"/>
                  <a:pt x="16" y="230"/>
                  <a:pt x="16" y="230"/>
                </a:cubicBezTo>
                <a:cubicBezTo>
                  <a:pt x="17" y="231"/>
                  <a:pt x="17" y="231"/>
                  <a:pt x="17" y="231"/>
                </a:cubicBezTo>
                <a:cubicBezTo>
                  <a:pt x="18" y="232"/>
                  <a:pt x="18" y="232"/>
                  <a:pt x="18" y="232"/>
                </a:cubicBezTo>
                <a:cubicBezTo>
                  <a:pt x="18" y="232"/>
                  <a:pt x="18" y="232"/>
                  <a:pt x="18" y="232"/>
                </a:cubicBezTo>
                <a:cubicBezTo>
                  <a:pt x="19" y="232"/>
                  <a:pt x="19" y="232"/>
                  <a:pt x="19" y="232"/>
                </a:cubicBezTo>
                <a:cubicBezTo>
                  <a:pt x="20" y="232"/>
                  <a:pt x="20" y="232"/>
                  <a:pt x="20" y="232"/>
                </a:cubicBezTo>
                <a:cubicBezTo>
                  <a:pt x="20" y="233"/>
                  <a:pt x="20" y="233"/>
                  <a:pt x="20" y="233"/>
                </a:cubicBezTo>
                <a:cubicBezTo>
                  <a:pt x="21" y="233"/>
                  <a:pt x="21" y="233"/>
                  <a:pt x="21" y="233"/>
                </a:cubicBezTo>
                <a:cubicBezTo>
                  <a:pt x="21" y="234"/>
                  <a:pt x="21" y="234"/>
                  <a:pt x="21" y="234"/>
                </a:cubicBezTo>
                <a:cubicBezTo>
                  <a:pt x="20" y="235"/>
                  <a:pt x="20" y="235"/>
                  <a:pt x="20" y="235"/>
                </a:cubicBezTo>
                <a:cubicBezTo>
                  <a:pt x="19" y="234"/>
                  <a:pt x="19" y="234"/>
                  <a:pt x="19" y="234"/>
                </a:cubicBezTo>
                <a:cubicBezTo>
                  <a:pt x="17" y="235"/>
                  <a:pt x="17" y="235"/>
                  <a:pt x="17" y="235"/>
                </a:cubicBezTo>
                <a:cubicBezTo>
                  <a:pt x="16" y="234"/>
                  <a:pt x="16" y="234"/>
                  <a:pt x="16" y="234"/>
                </a:cubicBezTo>
                <a:cubicBezTo>
                  <a:pt x="16" y="233"/>
                  <a:pt x="16" y="233"/>
                  <a:pt x="16" y="233"/>
                </a:cubicBezTo>
                <a:cubicBezTo>
                  <a:pt x="16" y="234"/>
                  <a:pt x="16" y="234"/>
                  <a:pt x="16" y="234"/>
                </a:cubicBezTo>
                <a:cubicBezTo>
                  <a:pt x="16" y="235"/>
                  <a:pt x="16" y="235"/>
                  <a:pt x="16" y="235"/>
                </a:cubicBezTo>
                <a:cubicBezTo>
                  <a:pt x="16" y="236"/>
                  <a:pt x="16" y="236"/>
                  <a:pt x="16" y="236"/>
                </a:cubicBezTo>
                <a:cubicBezTo>
                  <a:pt x="17" y="235"/>
                  <a:pt x="17" y="235"/>
                  <a:pt x="17" y="235"/>
                </a:cubicBezTo>
                <a:cubicBezTo>
                  <a:pt x="17" y="236"/>
                  <a:pt x="17" y="236"/>
                  <a:pt x="17" y="236"/>
                </a:cubicBezTo>
                <a:cubicBezTo>
                  <a:pt x="18" y="237"/>
                  <a:pt x="18" y="237"/>
                  <a:pt x="18" y="237"/>
                </a:cubicBezTo>
                <a:cubicBezTo>
                  <a:pt x="19" y="236"/>
                  <a:pt x="19" y="236"/>
                  <a:pt x="19" y="236"/>
                </a:cubicBezTo>
                <a:cubicBezTo>
                  <a:pt x="20" y="236"/>
                  <a:pt x="20" y="236"/>
                  <a:pt x="20" y="236"/>
                </a:cubicBezTo>
                <a:cubicBezTo>
                  <a:pt x="20" y="237"/>
                  <a:pt x="20" y="237"/>
                  <a:pt x="20" y="237"/>
                </a:cubicBezTo>
                <a:cubicBezTo>
                  <a:pt x="20" y="237"/>
                  <a:pt x="20" y="237"/>
                  <a:pt x="20" y="237"/>
                </a:cubicBezTo>
                <a:cubicBezTo>
                  <a:pt x="21" y="236"/>
                  <a:pt x="21" y="236"/>
                  <a:pt x="21" y="236"/>
                </a:cubicBezTo>
                <a:cubicBezTo>
                  <a:pt x="21" y="237"/>
                  <a:pt x="21" y="237"/>
                  <a:pt x="21" y="237"/>
                </a:cubicBezTo>
                <a:cubicBezTo>
                  <a:pt x="21" y="237"/>
                  <a:pt x="21" y="237"/>
                  <a:pt x="21" y="237"/>
                </a:cubicBezTo>
                <a:cubicBezTo>
                  <a:pt x="21" y="238"/>
                  <a:pt x="21" y="238"/>
                  <a:pt x="21" y="238"/>
                </a:cubicBezTo>
                <a:cubicBezTo>
                  <a:pt x="22" y="237"/>
                  <a:pt x="22" y="237"/>
                  <a:pt x="22" y="237"/>
                </a:cubicBezTo>
                <a:cubicBezTo>
                  <a:pt x="22" y="236"/>
                  <a:pt x="22" y="236"/>
                  <a:pt x="22" y="236"/>
                </a:cubicBezTo>
                <a:cubicBezTo>
                  <a:pt x="23" y="236"/>
                  <a:pt x="23" y="236"/>
                  <a:pt x="23" y="236"/>
                </a:cubicBezTo>
                <a:cubicBezTo>
                  <a:pt x="23" y="237"/>
                  <a:pt x="23" y="237"/>
                  <a:pt x="23" y="237"/>
                </a:cubicBezTo>
                <a:cubicBezTo>
                  <a:pt x="22" y="238"/>
                  <a:pt x="22" y="238"/>
                  <a:pt x="22" y="238"/>
                </a:cubicBezTo>
                <a:cubicBezTo>
                  <a:pt x="23" y="238"/>
                  <a:pt x="23" y="238"/>
                  <a:pt x="23" y="238"/>
                </a:cubicBezTo>
                <a:cubicBezTo>
                  <a:pt x="24" y="238"/>
                  <a:pt x="24" y="238"/>
                  <a:pt x="24" y="238"/>
                </a:cubicBezTo>
                <a:cubicBezTo>
                  <a:pt x="23" y="239"/>
                  <a:pt x="23" y="239"/>
                  <a:pt x="23" y="239"/>
                </a:cubicBezTo>
                <a:cubicBezTo>
                  <a:pt x="22" y="240"/>
                  <a:pt x="22" y="240"/>
                  <a:pt x="22" y="240"/>
                </a:cubicBezTo>
                <a:cubicBezTo>
                  <a:pt x="24" y="240"/>
                  <a:pt x="24" y="240"/>
                  <a:pt x="24" y="240"/>
                </a:cubicBezTo>
                <a:cubicBezTo>
                  <a:pt x="24" y="238"/>
                  <a:pt x="24" y="238"/>
                  <a:pt x="24" y="238"/>
                </a:cubicBezTo>
                <a:cubicBezTo>
                  <a:pt x="24" y="237"/>
                  <a:pt x="24" y="237"/>
                  <a:pt x="24" y="237"/>
                </a:cubicBezTo>
                <a:cubicBezTo>
                  <a:pt x="25" y="237"/>
                  <a:pt x="25" y="237"/>
                  <a:pt x="25" y="237"/>
                </a:cubicBezTo>
                <a:cubicBezTo>
                  <a:pt x="26" y="237"/>
                  <a:pt x="26" y="237"/>
                  <a:pt x="26" y="237"/>
                </a:cubicBezTo>
                <a:cubicBezTo>
                  <a:pt x="27" y="237"/>
                  <a:pt x="27" y="237"/>
                  <a:pt x="27" y="237"/>
                </a:cubicBezTo>
                <a:cubicBezTo>
                  <a:pt x="27" y="237"/>
                  <a:pt x="27" y="237"/>
                  <a:pt x="27" y="237"/>
                </a:cubicBezTo>
                <a:cubicBezTo>
                  <a:pt x="26" y="236"/>
                  <a:pt x="26" y="236"/>
                  <a:pt x="26" y="236"/>
                </a:cubicBezTo>
                <a:cubicBezTo>
                  <a:pt x="26" y="236"/>
                  <a:pt x="26" y="236"/>
                  <a:pt x="26" y="236"/>
                </a:cubicBezTo>
                <a:cubicBezTo>
                  <a:pt x="28" y="236"/>
                  <a:pt x="28" y="236"/>
                  <a:pt x="28" y="236"/>
                </a:cubicBezTo>
                <a:cubicBezTo>
                  <a:pt x="28" y="237"/>
                  <a:pt x="28" y="237"/>
                  <a:pt x="28" y="237"/>
                </a:cubicBezTo>
                <a:cubicBezTo>
                  <a:pt x="30" y="237"/>
                  <a:pt x="30" y="237"/>
                  <a:pt x="30" y="237"/>
                </a:cubicBezTo>
                <a:cubicBezTo>
                  <a:pt x="31" y="238"/>
                  <a:pt x="31" y="238"/>
                  <a:pt x="31" y="238"/>
                </a:cubicBezTo>
                <a:cubicBezTo>
                  <a:pt x="32" y="237"/>
                  <a:pt x="32" y="237"/>
                  <a:pt x="32" y="237"/>
                </a:cubicBezTo>
                <a:cubicBezTo>
                  <a:pt x="32" y="237"/>
                  <a:pt x="32" y="237"/>
                  <a:pt x="32" y="237"/>
                </a:cubicBezTo>
                <a:cubicBezTo>
                  <a:pt x="34" y="237"/>
                  <a:pt x="34" y="237"/>
                  <a:pt x="34" y="237"/>
                </a:cubicBezTo>
                <a:cubicBezTo>
                  <a:pt x="35" y="238"/>
                  <a:pt x="35" y="238"/>
                  <a:pt x="35" y="238"/>
                </a:cubicBezTo>
                <a:cubicBezTo>
                  <a:pt x="35" y="237"/>
                  <a:pt x="35" y="237"/>
                  <a:pt x="35" y="237"/>
                </a:cubicBezTo>
                <a:cubicBezTo>
                  <a:pt x="37" y="238"/>
                  <a:pt x="37" y="238"/>
                  <a:pt x="37" y="238"/>
                </a:cubicBezTo>
                <a:cubicBezTo>
                  <a:pt x="43" y="241"/>
                  <a:pt x="43" y="241"/>
                  <a:pt x="43" y="241"/>
                </a:cubicBezTo>
                <a:cubicBezTo>
                  <a:pt x="47" y="244"/>
                  <a:pt x="47" y="244"/>
                  <a:pt x="47" y="244"/>
                </a:cubicBezTo>
                <a:cubicBezTo>
                  <a:pt x="48" y="245"/>
                  <a:pt x="48" y="245"/>
                  <a:pt x="48" y="245"/>
                </a:cubicBezTo>
                <a:cubicBezTo>
                  <a:pt x="50" y="246"/>
                  <a:pt x="50" y="246"/>
                  <a:pt x="50" y="246"/>
                </a:cubicBezTo>
                <a:cubicBezTo>
                  <a:pt x="51" y="248"/>
                  <a:pt x="51" y="248"/>
                  <a:pt x="51" y="248"/>
                </a:cubicBezTo>
                <a:cubicBezTo>
                  <a:pt x="52" y="248"/>
                  <a:pt x="52" y="248"/>
                  <a:pt x="52" y="248"/>
                </a:cubicBezTo>
                <a:cubicBezTo>
                  <a:pt x="52" y="247"/>
                  <a:pt x="52" y="247"/>
                  <a:pt x="52" y="247"/>
                </a:cubicBezTo>
                <a:cubicBezTo>
                  <a:pt x="52" y="247"/>
                  <a:pt x="52" y="247"/>
                  <a:pt x="52" y="247"/>
                </a:cubicBezTo>
                <a:cubicBezTo>
                  <a:pt x="52" y="247"/>
                  <a:pt x="52" y="247"/>
                  <a:pt x="52" y="247"/>
                </a:cubicBezTo>
                <a:cubicBezTo>
                  <a:pt x="54" y="248"/>
                  <a:pt x="54" y="248"/>
                  <a:pt x="54" y="248"/>
                </a:cubicBezTo>
                <a:cubicBezTo>
                  <a:pt x="55" y="248"/>
                  <a:pt x="55" y="248"/>
                  <a:pt x="55" y="248"/>
                </a:cubicBezTo>
                <a:cubicBezTo>
                  <a:pt x="57" y="250"/>
                  <a:pt x="57" y="250"/>
                  <a:pt x="57" y="250"/>
                </a:cubicBezTo>
                <a:cubicBezTo>
                  <a:pt x="58" y="250"/>
                  <a:pt x="58" y="250"/>
                  <a:pt x="58" y="250"/>
                </a:cubicBezTo>
                <a:cubicBezTo>
                  <a:pt x="57" y="248"/>
                  <a:pt x="57" y="248"/>
                  <a:pt x="57" y="248"/>
                </a:cubicBezTo>
                <a:cubicBezTo>
                  <a:pt x="56" y="247"/>
                  <a:pt x="56" y="247"/>
                  <a:pt x="56" y="247"/>
                </a:cubicBezTo>
                <a:cubicBezTo>
                  <a:pt x="57" y="247"/>
                  <a:pt x="57" y="247"/>
                  <a:pt x="57" y="247"/>
                </a:cubicBezTo>
                <a:cubicBezTo>
                  <a:pt x="58" y="249"/>
                  <a:pt x="58" y="249"/>
                  <a:pt x="58" y="249"/>
                </a:cubicBezTo>
                <a:cubicBezTo>
                  <a:pt x="58" y="250"/>
                  <a:pt x="58" y="250"/>
                  <a:pt x="58" y="250"/>
                </a:cubicBezTo>
                <a:cubicBezTo>
                  <a:pt x="61" y="252"/>
                  <a:pt x="61" y="252"/>
                  <a:pt x="61" y="252"/>
                </a:cubicBezTo>
                <a:cubicBezTo>
                  <a:pt x="61" y="253"/>
                  <a:pt x="61" y="253"/>
                  <a:pt x="61" y="253"/>
                </a:cubicBezTo>
                <a:cubicBezTo>
                  <a:pt x="62" y="253"/>
                  <a:pt x="62" y="253"/>
                  <a:pt x="62" y="253"/>
                </a:cubicBezTo>
                <a:cubicBezTo>
                  <a:pt x="62" y="253"/>
                  <a:pt x="62" y="253"/>
                  <a:pt x="62" y="253"/>
                </a:cubicBezTo>
                <a:cubicBezTo>
                  <a:pt x="63" y="253"/>
                  <a:pt x="63" y="253"/>
                  <a:pt x="63" y="253"/>
                </a:cubicBezTo>
                <a:cubicBezTo>
                  <a:pt x="65" y="254"/>
                  <a:pt x="65" y="254"/>
                  <a:pt x="65" y="254"/>
                </a:cubicBezTo>
                <a:cubicBezTo>
                  <a:pt x="65" y="256"/>
                  <a:pt x="65" y="256"/>
                  <a:pt x="65" y="256"/>
                </a:cubicBezTo>
                <a:cubicBezTo>
                  <a:pt x="66" y="256"/>
                  <a:pt x="66" y="256"/>
                  <a:pt x="66" y="256"/>
                </a:cubicBezTo>
                <a:cubicBezTo>
                  <a:pt x="67" y="258"/>
                  <a:pt x="67" y="258"/>
                  <a:pt x="67" y="258"/>
                </a:cubicBezTo>
                <a:cubicBezTo>
                  <a:pt x="67" y="258"/>
                  <a:pt x="67" y="258"/>
                  <a:pt x="67" y="258"/>
                </a:cubicBezTo>
                <a:cubicBezTo>
                  <a:pt x="68" y="258"/>
                  <a:pt x="68" y="258"/>
                  <a:pt x="68" y="258"/>
                </a:cubicBezTo>
                <a:cubicBezTo>
                  <a:pt x="68" y="260"/>
                  <a:pt x="68" y="260"/>
                  <a:pt x="68" y="260"/>
                </a:cubicBezTo>
                <a:cubicBezTo>
                  <a:pt x="68" y="261"/>
                  <a:pt x="68" y="261"/>
                  <a:pt x="68" y="261"/>
                </a:cubicBezTo>
                <a:cubicBezTo>
                  <a:pt x="68" y="263"/>
                  <a:pt x="68" y="263"/>
                  <a:pt x="68" y="263"/>
                </a:cubicBezTo>
                <a:cubicBezTo>
                  <a:pt x="67" y="264"/>
                  <a:pt x="67" y="264"/>
                  <a:pt x="67" y="264"/>
                </a:cubicBezTo>
                <a:cubicBezTo>
                  <a:pt x="67" y="265"/>
                  <a:pt x="67" y="265"/>
                  <a:pt x="67" y="265"/>
                </a:cubicBezTo>
                <a:cubicBezTo>
                  <a:pt x="66" y="267"/>
                  <a:pt x="66" y="267"/>
                  <a:pt x="66" y="267"/>
                </a:cubicBezTo>
                <a:cubicBezTo>
                  <a:pt x="66" y="267"/>
                  <a:pt x="66" y="267"/>
                  <a:pt x="66" y="267"/>
                </a:cubicBezTo>
                <a:cubicBezTo>
                  <a:pt x="63" y="271"/>
                  <a:pt x="63" y="271"/>
                  <a:pt x="63" y="271"/>
                </a:cubicBezTo>
                <a:cubicBezTo>
                  <a:pt x="62" y="272"/>
                  <a:pt x="62" y="272"/>
                  <a:pt x="62" y="272"/>
                </a:cubicBezTo>
                <a:cubicBezTo>
                  <a:pt x="59" y="272"/>
                  <a:pt x="59" y="272"/>
                  <a:pt x="59" y="272"/>
                </a:cubicBezTo>
                <a:cubicBezTo>
                  <a:pt x="59" y="273"/>
                  <a:pt x="59" y="273"/>
                  <a:pt x="59" y="273"/>
                </a:cubicBezTo>
                <a:cubicBezTo>
                  <a:pt x="57" y="273"/>
                  <a:pt x="57" y="273"/>
                  <a:pt x="57" y="273"/>
                </a:cubicBezTo>
                <a:cubicBezTo>
                  <a:pt x="56" y="273"/>
                  <a:pt x="56" y="273"/>
                  <a:pt x="56" y="273"/>
                </a:cubicBezTo>
                <a:cubicBezTo>
                  <a:pt x="54" y="274"/>
                  <a:pt x="54" y="274"/>
                  <a:pt x="54" y="274"/>
                </a:cubicBezTo>
                <a:cubicBezTo>
                  <a:pt x="50" y="273"/>
                  <a:pt x="50" y="273"/>
                  <a:pt x="50" y="273"/>
                </a:cubicBezTo>
                <a:cubicBezTo>
                  <a:pt x="48" y="273"/>
                  <a:pt x="48" y="273"/>
                  <a:pt x="48" y="273"/>
                </a:cubicBezTo>
                <a:cubicBezTo>
                  <a:pt x="46" y="272"/>
                  <a:pt x="46" y="272"/>
                  <a:pt x="46" y="272"/>
                </a:cubicBezTo>
                <a:cubicBezTo>
                  <a:pt x="45" y="272"/>
                  <a:pt x="45" y="272"/>
                  <a:pt x="45" y="272"/>
                </a:cubicBezTo>
                <a:cubicBezTo>
                  <a:pt x="44" y="272"/>
                  <a:pt x="44" y="272"/>
                  <a:pt x="44" y="272"/>
                </a:cubicBezTo>
                <a:cubicBezTo>
                  <a:pt x="43" y="272"/>
                  <a:pt x="43" y="272"/>
                  <a:pt x="43" y="272"/>
                </a:cubicBezTo>
                <a:cubicBezTo>
                  <a:pt x="42" y="271"/>
                  <a:pt x="42" y="271"/>
                  <a:pt x="42" y="271"/>
                </a:cubicBezTo>
                <a:cubicBezTo>
                  <a:pt x="41" y="271"/>
                  <a:pt x="41" y="271"/>
                  <a:pt x="41" y="271"/>
                </a:cubicBezTo>
                <a:cubicBezTo>
                  <a:pt x="40" y="272"/>
                  <a:pt x="40" y="272"/>
                  <a:pt x="40" y="272"/>
                </a:cubicBezTo>
                <a:cubicBezTo>
                  <a:pt x="39" y="270"/>
                  <a:pt x="39" y="270"/>
                  <a:pt x="39" y="270"/>
                </a:cubicBezTo>
                <a:cubicBezTo>
                  <a:pt x="39" y="269"/>
                  <a:pt x="39" y="269"/>
                  <a:pt x="39" y="269"/>
                </a:cubicBezTo>
                <a:cubicBezTo>
                  <a:pt x="38" y="270"/>
                  <a:pt x="38" y="270"/>
                  <a:pt x="38" y="270"/>
                </a:cubicBezTo>
                <a:cubicBezTo>
                  <a:pt x="37" y="270"/>
                  <a:pt x="37" y="270"/>
                  <a:pt x="37" y="270"/>
                </a:cubicBezTo>
                <a:cubicBezTo>
                  <a:pt x="37" y="269"/>
                  <a:pt x="37" y="269"/>
                  <a:pt x="37" y="269"/>
                </a:cubicBezTo>
                <a:cubicBezTo>
                  <a:pt x="35" y="269"/>
                  <a:pt x="35" y="269"/>
                  <a:pt x="35" y="269"/>
                </a:cubicBezTo>
                <a:cubicBezTo>
                  <a:pt x="35" y="270"/>
                  <a:pt x="35" y="270"/>
                  <a:pt x="35" y="270"/>
                </a:cubicBezTo>
                <a:cubicBezTo>
                  <a:pt x="33" y="270"/>
                  <a:pt x="33" y="270"/>
                  <a:pt x="33" y="270"/>
                </a:cubicBezTo>
                <a:cubicBezTo>
                  <a:pt x="33" y="269"/>
                  <a:pt x="33" y="269"/>
                  <a:pt x="33" y="269"/>
                </a:cubicBezTo>
                <a:cubicBezTo>
                  <a:pt x="33" y="269"/>
                  <a:pt x="33" y="269"/>
                  <a:pt x="33" y="269"/>
                </a:cubicBezTo>
                <a:cubicBezTo>
                  <a:pt x="34" y="268"/>
                  <a:pt x="34" y="268"/>
                  <a:pt x="34" y="268"/>
                </a:cubicBezTo>
                <a:cubicBezTo>
                  <a:pt x="33" y="267"/>
                  <a:pt x="33" y="267"/>
                  <a:pt x="33" y="267"/>
                </a:cubicBezTo>
                <a:cubicBezTo>
                  <a:pt x="33" y="268"/>
                  <a:pt x="33" y="268"/>
                  <a:pt x="33" y="268"/>
                </a:cubicBezTo>
                <a:cubicBezTo>
                  <a:pt x="30" y="268"/>
                  <a:pt x="30" y="268"/>
                  <a:pt x="30" y="268"/>
                </a:cubicBezTo>
                <a:cubicBezTo>
                  <a:pt x="29" y="267"/>
                  <a:pt x="29" y="267"/>
                  <a:pt x="29" y="267"/>
                </a:cubicBezTo>
                <a:cubicBezTo>
                  <a:pt x="29" y="267"/>
                  <a:pt x="29" y="267"/>
                  <a:pt x="29" y="267"/>
                </a:cubicBezTo>
                <a:cubicBezTo>
                  <a:pt x="28" y="267"/>
                  <a:pt x="28" y="267"/>
                  <a:pt x="28" y="267"/>
                </a:cubicBezTo>
                <a:cubicBezTo>
                  <a:pt x="25" y="265"/>
                  <a:pt x="25" y="265"/>
                  <a:pt x="25" y="265"/>
                </a:cubicBezTo>
                <a:cubicBezTo>
                  <a:pt x="25" y="264"/>
                  <a:pt x="25" y="264"/>
                  <a:pt x="25" y="264"/>
                </a:cubicBezTo>
                <a:cubicBezTo>
                  <a:pt x="24" y="264"/>
                  <a:pt x="24" y="264"/>
                  <a:pt x="24" y="264"/>
                </a:cubicBezTo>
                <a:cubicBezTo>
                  <a:pt x="23" y="263"/>
                  <a:pt x="23" y="263"/>
                  <a:pt x="23" y="263"/>
                </a:cubicBezTo>
                <a:cubicBezTo>
                  <a:pt x="22" y="263"/>
                  <a:pt x="22" y="263"/>
                  <a:pt x="22" y="263"/>
                </a:cubicBezTo>
                <a:cubicBezTo>
                  <a:pt x="22" y="264"/>
                  <a:pt x="22" y="264"/>
                  <a:pt x="22" y="264"/>
                </a:cubicBezTo>
                <a:cubicBezTo>
                  <a:pt x="23" y="265"/>
                  <a:pt x="23" y="265"/>
                  <a:pt x="23" y="265"/>
                </a:cubicBezTo>
                <a:cubicBezTo>
                  <a:pt x="23" y="266"/>
                  <a:pt x="23" y="266"/>
                  <a:pt x="23" y="266"/>
                </a:cubicBezTo>
                <a:cubicBezTo>
                  <a:pt x="25" y="267"/>
                  <a:pt x="25" y="267"/>
                  <a:pt x="25" y="267"/>
                </a:cubicBezTo>
                <a:cubicBezTo>
                  <a:pt x="25" y="268"/>
                  <a:pt x="25" y="268"/>
                  <a:pt x="25" y="268"/>
                </a:cubicBezTo>
                <a:cubicBezTo>
                  <a:pt x="27" y="269"/>
                  <a:pt x="27" y="269"/>
                  <a:pt x="27" y="269"/>
                </a:cubicBezTo>
                <a:cubicBezTo>
                  <a:pt x="27" y="269"/>
                  <a:pt x="27" y="269"/>
                  <a:pt x="27" y="269"/>
                </a:cubicBezTo>
                <a:cubicBezTo>
                  <a:pt x="26" y="270"/>
                  <a:pt x="26" y="270"/>
                  <a:pt x="26" y="270"/>
                </a:cubicBezTo>
                <a:cubicBezTo>
                  <a:pt x="26" y="271"/>
                  <a:pt x="26" y="271"/>
                  <a:pt x="26" y="271"/>
                </a:cubicBezTo>
                <a:cubicBezTo>
                  <a:pt x="26" y="271"/>
                  <a:pt x="26" y="271"/>
                  <a:pt x="26" y="271"/>
                </a:cubicBezTo>
                <a:cubicBezTo>
                  <a:pt x="28" y="270"/>
                  <a:pt x="28" y="270"/>
                  <a:pt x="28" y="270"/>
                </a:cubicBezTo>
                <a:cubicBezTo>
                  <a:pt x="29" y="270"/>
                  <a:pt x="29" y="270"/>
                  <a:pt x="29" y="270"/>
                </a:cubicBezTo>
                <a:cubicBezTo>
                  <a:pt x="30" y="270"/>
                  <a:pt x="30" y="270"/>
                  <a:pt x="30" y="270"/>
                </a:cubicBezTo>
                <a:cubicBezTo>
                  <a:pt x="29" y="271"/>
                  <a:pt x="29" y="271"/>
                  <a:pt x="29" y="271"/>
                </a:cubicBezTo>
                <a:cubicBezTo>
                  <a:pt x="29" y="271"/>
                  <a:pt x="29" y="271"/>
                  <a:pt x="29" y="271"/>
                </a:cubicBezTo>
                <a:cubicBezTo>
                  <a:pt x="30" y="271"/>
                  <a:pt x="30" y="271"/>
                  <a:pt x="30" y="271"/>
                </a:cubicBezTo>
                <a:cubicBezTo>
                  <a:pt x="30" y="272"/>
                  <a:pt x="30" y="272"/>
                  <a:pt x="30" y="272"/>
                </a:cubicBezTo>
                <a:cubicBezTo>
                  <a:pt x="29" y="272"/>
                  <a:pt x="29" y="272"/>
                  <a:pt x="29" y="272"/>
                </a:cubicBezTo>
                <a:cubicBezTo>
                  <a:pt x="28" y="273"/>
                  <a:pt x="28" y="273"/>
                  <a:pt x="28" y="273"/>
                </a:cubicBezTo>
                <a:cubicBezTo>
                  <a:pt x="30" y="273"/>
                  <a:pt x="30" y="273"/>
                  <a:pt x="30" y="273"/>
                </a:cubicBezTo>
                <a:cubicBezTo>
                  <a:pt x="30" y="273"/>
                  <a:pt x="30" y="273"/>
                  <a:pt x="30" y="273"/>
                </a:cubicBezTo>
                <a:cubicBezTo>
                  <a:pt x="31" y="273"/>
                  <a:pt x="31" y="273"/>
                  <a:pt x="31" y="273"/>
                </a:cubicBezTo>
                <a:cubicBezTo>
                  <a:pt x="32" y="274"/>
                  <a:pt x="32" y="274"/>
                  <a:pt x="32" y="274"/>
                </a:cubicBezTo>
                <a:cubicBezTo>
                  <a:pt x="32" y="273"/>
                  <a:pt x="32" y="273"/>
                  <a:pt x="32" y="273"/>
                </a:cubicBezTo>
                <a:cubicBezTo>
                  <a:pt x="35" y="274"/>
                  <a:pt x="35" y="274"/>
                  <a:pt x="35" y="274"/>
                </a:cubicBezTo>
                <a:cubicBezTo>
                  <a:pt x="37" y="276"/>
                  <a:pt x="37" y="276"/>
                  <a:pt x="37" y="276"/>
                </a:cubicBezTo>
                <a:cubicBezTo>
                  <a:pt x="37" y="276"/>
                  <a:pt x="37" y="276"/>
                  <a:pt x="37" y="276"/>
                </a:cubicBezTo>
                <a:cubicBezTo>
                  <a:pt x="37" y="277"/>
                  <a:pt x="37" y="277"/>
                  <a:pt x="37" y="277"/>
                </a:cubicBezTo>
                <a:cubicBezTo>
                  <a:pt x="37" y="278"/>
                  <a:pt x="37" y="278"/>
                  <a:pt x="37" y="278"/>
                </a:cubicBezTo>
                <a:cubicBezTo>
                  <a:pt x="37" y="278"/>
                  <a:pt x="37" y="278"/>
                  <a:pt x="37" y="278"/>
                </a:cubicBezTo>
                <a:cubicBezTo>
                  <a:pt x="37" y="279"/>
                  <a:pt x="37" y="279"/>
                  <a:pt x="37" y="279"/>
                </a:cubicBezTo>
                <a:cubicBezTo>
                  <a:pt x="37" y="281"/>
                  <a:pt x="37" y="281"/>
                  <a:pt x="37" y="281"/>
                </a:cubicBezTo>
                <a:cubicBezTo>
                  <a:pt x="36" y="282"/>
                  <a:pt x="36" y="282"/>
                  <a:pt x="36" y="282"/>
                </a:cubicBezTo>
                <a:cubicBezTo>
                  <a:pt x="36" y="283"/>
                  <a:pt x="36" y="283"/>
                  <a:pt x="36" y="283"/>
                </a:cubicBezTo>
                <a:cubicBezTo>
                  <a:pt x="37" y="283"/>
                  <a:pt x="37" y="283"/>
                  <a:pt x="37" y="283"/>
                </a:cubicBezTo>
                <a:cubicBezTo>
                  <a:pt x="37" y="284"/>
                  <a:pt x="37" y="284"/>
                  <a:pt x="37" y="284"/>
                </a:cubicBezTo>
                <a:cubicBezTo>
                  <a:pt x="39" y="286"/>
                  <a:pt x="39" y="286"/>
                  <a:pt x="39" y="286"/>
                </a:cubicBezTo>
                <a:cubicBezTo>
                  <a:pt x="39" y="287"/>
                  <a:pt x="39" y="287"/>
                  <a:pt x="39" y="287"/>
                </a:cubicBezTo>
                <a:cubicBezTo>
                  <a:pt x="40" y="288"/>
                  <a:pt x="40" y="288"/>
                  <a:pt x="40" y="288"/>
                </a:cubicBezTo>
                <a:cubicBezTo>
                  <a:pt x="40" y="289"/>
                  <a:pt x="40" y="289"/>
                  <a:pt x="40" y="289"/>
                </a:cubicBezTo>
                <a:cubicBezTo>
                  <a:pt x="40" y="291"/>
                  <a:pt x="40" y="291"/>
                  <a:pt x="40" y="291"/>
                </a:cubicBezTo>
                <a:cubicBezTo>
                  <a:pt x="40" y="292"/>
                  <a:pt x="40" y="292"/>
                  <a:pt x="40" y="292"/>
                </a:cubicBezTo>
                <a:cubicBezTo>
                  <a:pt x="40" y="292"/>
                  <a:pt x="40" y="292"/>
                  <a:pt x="40" y="292"/>
                </a:cubicBezTo>
                <a:cubicBezTo>
                  <a:pt x="41" y="293"/>
                  <a:pt x="41" y="293"/>
                  <a:pt x="41" y="293"/>
                </a:cubicBezTo>
                <a:cubicBezTo>
                  <a:pt x="43" y="294"/>
                  <a:pt x="43" y="294"/>
                  <a:pt x="43" y="294"/>
                </a:cubicBezTo>
                <a:cubicBezTo>
                  <a:pt x="44" y="293"/>
                  <a:pt x="44" y="293"/>
                  <a:pt x="44" y="293"/>
                </a:cubicBezTo>
                <a:cubicBezTo>
                  <a:pt x="45" y="293"/>
                  <a:pt x="45" y="293"/>
                  <a:pt x="45" y="293"/>
                </a:cubicBezTo>
                <a:cubicBezTo>
                  <a:pt x="46" y="295"/>
                  <a:pt x="46" y="295"/>
                  <a:pt x="46" y="295"/>
                </a:cubicBezTo>
                <a:cubicBezTo>
                  <a:pt x="47" y="295"/>
                  <a:pt x="47" y="295"/>
                  <a:pt x="47" y="295"/>
                </a:cubicBezTo>
                <a:cubicBezTo>
                  <a:pt x="47" y="297"/>
                  <a:pt x="47" y="297"/>
                  <a:pt x="47" y="297"/>
                </a:cubicBezTo>
                <a:cubicBezTo>
                  <a:pt x="48" y="297"/>
                  <a:pt x="48" y="297"/>
                  <a:pt x="48" y="297"/>
                </a:cubicBezTo>
                <a:cubicBezTo>
                  <a:pt x="50" y="297"/>
                  <a:pt x="50" y="297"/>
                  <a:pt x="50" y="297"/>
                </a:cubicBezTo>
                <a:cubicBezTo>
                  <a:pt x="50" y="298"/>
                  <a:pt x="50" y="298"/>
                  <a:pt x="50" y="298"/>
                </a:cubicBezTo>
                <a:cubicBezTo>
                  <a:pt x="52" y="298"/>
                  <a:pt x="52" y="298"/>
                  <a:pt x="52" y="298"/>
                </a:cubicBezTo>
                <a:cubicBezTo>
                  <a:pt x="53" y="299"/>
                  <a:pt x="53" y="299"/>
                  <a:pt x="53" y="299"/>
                </a:cubicBezTo>
                <a:cubicBezTo>
                  <a:pt x="54" y="299"/>
                  <a:pt x="54" y="299"/>
                  <a:pt x="54" y="299"/>
                </a:cubicBezTo>
                <a:cubicBezTo>
                  <a:pt x="55" y="298"/>
                  <a:pt x="55" y="298"/>
                  <a:pt x="55" y="298"/>
                </a:cubicBezTo>
                <a:cubicBezTo>
                  <a:pt x="56" y="297"/>
                  <a:pt x="56" y="297"/>
                  <a:pt x="56" y="297"/>
                </a:cubicBezTo>
                <a:cubicBezTo>
                  <a:pt x="57" y="297"/>
                  <a:pt x="57" y="297"/>
                  <a:pt x="57" y="297"/>
                </a:cubicBezTo>
                <a:cubicBezTo>
                  <a:pt x="57" y="295"/>
                  <a:pt x="57" y="295"/>
                  <a:pt x="57" y="295"/>
                </a:cubicBezTo>
                <a:cubicBezTo>
                  <a:pt x="56" y="294"/>
                  <a:pt x="56" y="294"/>
                  <a:pt x="56" y="294"/>
                </a:cubicBezTo>
                <a:cubicBezTo>
                  <a:pt x="57" y="294"/>
                  <a:pt x="57" y="294"/>
                  <a:pt x="57" y="294"/>
                </a:cubicBezTo>
                <a:cubicBezTo>
                  <a:pt x="57" y="293"/>
                  <a:pt x="57" y="293"/>
                  <a:pt x="57" y="293"/>
                </a:cubicBezTo>
                <a:cubicBezTo>
                  <a:pt x="55" y="293"/>
                  <a:pt x="55" y="293"/>
                  <a:pt x="55" y="293"/>
                </a:cubicBezTo>
                <a:cubicBezTo>
                  <a:pt x="55" y="292"/>
                  <a:pt x="55" y="292"/>
                  <a:pt x="55" y="292"/>
                </a:cubicBezTo>
                <a:cubicBezTo>
                  <a:pt x="54" y="292"/>
                  <a:pt x="54" y="292"/>
                  <a:pt x="54" y="292"/>
                </a:cubicBezTo>
                <a:cubicBezTo>
                  <a:pt x="53" y="292"/>
                  <a:pt x="53" y="292"/>
                  <a:pt x="53" y="292"/>
                </a:cubicBezTo>
                <a:cubicBezTo>
                  <a:pt x="52" y="293"/>
                  <a:pt x="52" y="293"/>
                  <a:pt x="52" y="293"/>
                </a:cubicBezTo>
                <a:cubicBezTo>
                  <a:pt x="51" y="292"/>
                  <a:pt x="51" y="292"/>
                  <a:pt x="51" y="292"/>
                </a:cubicBezTo>
                <a:cubicBezTo>
                  <a:pt x="50" y="291"/>
                  <a:pt x="50" y="291"/>
                  <a:pt x="50" y="291"/>
                </a:cubicBezTo>
                <a:cubicBezTo>
                  <a:pt x="48" y="290"/>
                  <a:pt x="48" y="290"/>
                  <a:pt x="48" y="290"/>
                </a:cubicBezTo>
                <a:cubicBezTo>
                  <a:pt x="48" y="289"/>
                  <a:pt x="48" y="289"/>
                  <a:pt x="48" y="289"/>
                </a:cubicBezTo>
                <a:cubicBezTo>
                  <a:pt x="47" y="287"/>
                  <a:pt x="47" y="287"/>
                  <a:pt x="47" y="287"/>
                </a:cubicBezTo>
                <a:cubicBezTo>
                  <a:pt x="48" y="287"/>
                  <a:pt x="48" y="287"/>
                  <a:pt x="48" y="287"/>
                </a:cubicBezTo>
                <a:cubicBezTo>
                  <a:pt x="49" y="286"/>
                  <a:pt x="49" y="286"/>
                  <a:pt x="49" y="286"/>
                </a:cubicBezTo>
                <a:cubicBezTo>
                  <a:pt x="48" y="285"/>
                  <a:pt x="48" y="285"/>
                  <a:pt x="48" y="285"/>
                </a:cubicBezTo>
                <a:cubicBezTo>
                  <a:pt x="49" y="285"/>
                  <a:pt x="49" y="285"/>
                  <a:pt x="49" y="285"/>
                </a:cubicBezTo>
                <a:cubicBezTo>
                  <a:pt x="48" y="284"/>
                  <a:pt x="48" y="284"/>
                  <a:pt x="48" y="284"/>
                </a:cubicBezTo>
                <a:cubicBezTo>
                  <a:pt x="48" y="283"/>
                  <a:pt x="48" y="283"/>
                  <a:pt x="48" y="283"/>
                </a:cubicBezTo>
                <a:cubicBezTo>
                  <a:pt x="50" y="283"/>
                  <a:pt x="50" y="283"/>
                  <a:pt x="50" y="283"/>
                </a:cubicBezTo>
                <a:cubicBezTo>
                  <a:pt x="51" y="284"/>
                  <a:pt x="51" y="284"/>
                  <a:pt x="51" y="284"/>
                </a:cubicBezTo>
                <a:cubicBezTo>
                  <a:pt x="53" y="284"/>
                  <a:pt x="53" y="284"/>
                  <a:pt x="53" y="284"/>
                </a:cubicBezTo>
                <a:cubicBezTo>
                  <a:pt x="54" y="286"/>
                  <a:pt x="54" y="286"/>
                  <a:pt x="54" y="286"/>
                </a:cubicBezTo>
                <a:cubicBezTo>
                  <a:pt x="55" y="287"/>
                  <a:pt x="55" y="287"/>
                  <a:pt x="55" y="287"/>
                </a:cubicBezTo>
                <a:cubicBezTo>
                  <a:pt x="57" y="287"/>
                  <a:pt x="57" y="287"/>
                  <a:pt x="57" y="287"/>
                </a:cubicBezTo>
                <a:cubicBezTo>
                  <a:pt x="58" y="288"/>
                  <a:pt x="58" y="288"/>
                  <a:pt x="58" y="288"/>
                </a:cubicBezTo>
                <a:cubicBezTo>
                  <a:pt x="59" y="288"/>
                  <a:pt x="59" y="288"/>
                  <a:pt x="59" y="288"/>
                </a:cubicBezTo>
                <a:cubicBezTo>
                  <a:pt x="63" y="290"/>
                  <a:pt x="63" y="290"/>
                  <a:pt x="63" y="290"/>
                </a:cubicBezTo>
                <a:cubicBezTo>
                  <a:pt x="65" y="291"/>
                  <a:pt x="65" y="291"/>
                  <a:pt x="65" y="291"/>
                </a:cubicBezTo>
                <a:cubicBezTo>
                  <a:pt x="65" y="290"/>
                  <a:pt x="65" y="290"/>
                  <a:pt x="65" y="290"/>
                </a:cubicBezTo>
                <a:cubicBezTo>
                  <a:pt x="66" y="289"/>
                  <a:pt x="66" y="289"/>
                  <a:pt x="66" y="289"/>
                </a:cubicBezTo>
                <a:cubicBezTo>
                  <a:pt x="66" y="288"/>
                  <a:pt x="66" y="288"/>
                  <a:pt x="66" y="288"/>
                </a:cubicBezTo>
                <a:cubicBezTo>
                  <a:pt x="67" y="288"/>
                  <a:pt x="67" y="288"/>
                  <a:pt x="67" y="288"/>
                </a:cubicBezTo>
                <a:cubicBezTo>
                  <a:pt x="68" y="287"/>
                  <a:pt x="68" y="287"/>
                  <a:pt x="68" y="287"/>
                </a:cubicBezTo>
                <a:cubicBezTo>
                  <a:pt x="67" y="284"/>
                  <a:pt x="67" y="284"/>
                  <a:pt x="67" y="284"/>
                </a:cubicBezTo>
                <a:cubicBezTo>
                  <a:pt x="64" y="281"/>
                  <a:pt x="64" y="281"/>
                  <a:pt x="64" y="281"/>
                </a:cubicBezTo>
                <a:cubicBezTo>
                  <a:pt x="63" y="280"/>
                  <a:pt x="63" y="280"/>
                  <a:pt x="63" y="280"/>
                </a:cubicBezTo>
                <a:cubicBezTo>
                  <a:pt x="63" y="278"/>
                  <a:pt x="63" y="278"/>
                  <a:pt x="63" y="278"/>
                </a:cubicBezTo>
                <a:cubicBezTo>
                  <a:pt x="65" y="277"/>
                  <a:pt x="65" y="277"/>
                  <a:pt x="65" y="277"/>
                </a:cubicBezTo>
                <a:cubicBezTo>
                  <a:pt x="66" y="275"/>
                  <a:pt x="66" y="275"/>
                  <a:pt x="66" y="275"/>
                </a:cubicBezTo>
                <a:cubicBezTo>
                  <a:pt x="67" y="274"/>
                  <a:pt x="67" y="274"/>
                  <a:pt x="67" y="274"/>
                </a:cubicBezTo>
                <a:cubicBezTo>
                  <a:pt x="68" y="273"/>
                  <a:pt x="68" y="273"/>
                  <a:pt x="68" y="273"/>
                </a:cubicBezTo>
                <a:cubicBezTo>
                  <a:pt x="69" y="272"/>
                  <a:pt x="69" y="272"/>
                  <a:pt x="69" y="272"/>
                </a:cubicBezTo>
                <a:cubicBezTo>
                  <a:pt x="71" y="271"/>
                  <a:pt x="71" y="271"/>
                  <a:pt x="71" y="271"/>
                </a:cubicBezTo>
                <a:cubicBezTo>
                  <a:pt x="73" y="268"/>
                  <a:pt x="73" y="268"/>
                  <a:pt x="73" y="268"/>
                </a:cubicBezTo>
                <a:cubicBezTo>
                  <a:pt x="74" y="267"/>
                  <a:pt x="74" y="267"/>
                  <a:pt x="74" y="267"/>
                </a:cubicBezTo>
                <a:cubicBezTo>
                  <a:pt x="75" y="267"/>
                  <a:pt x="75" y="267"/>
                  <a:pt x="75" y="267"/>
                </a:cubicBezTo>
                <a:cubicBezTo>
                  <a:pt x="76" y="268"/>
                  <a:pt x="76" y="268"/>
                  <a:pt x="76" y="268"/>
                </a:cubicBezTo>
                <a:cubicBezTo>
                  <a:pt x="78" y="268"/>
                  <a:pt x="78" y="268"/>
                  <a:pt x="78" y="268"/>
                </a:cubicBezTo>
                <a:cubicBezTo>
                  <a:pt x="80" y="268"/>
                  <a:pt x="80" y="268"/>
                  <a:pt x="80" y="268"/>
                </a:cubicBezTo>
                <a:cubicBezTo>
                  <a:pt x="81" y="269"/>
                  <a:pt x="81" y="269"/>
                  <a:pt x="81" y="269"/>
                </a:cubicBezTo>
                <a:cubicBezTo>
                  <a:pt x="81" y="270"/>
                  <a:pt x="81" y="270"/>
                  <a:pt x="81" y="270"/>
                </a:cubicBezTo>
                <a:cubicBezTo>
                  <a:pt x="82" y="269"/>
                  <a:pt x="82" y="269"/>
                  <a:pt x="82" y="269"/>
                </a:cubicBezTo>
                <a:cubicBezTo>
                  <a:pt x="84" y="270"/>
                  <a:pt x="84" y="270"/>
                  <a:pt x="84" y="270"/>
                </a:cubicBezTo>
                <a:cubicBezTo>
                  <a:pt x="84" y="272"/>
                  <a:pt x="84" y="272"/>
                  <a:pt x="84" y="272"/>
                </a:cubicBezTo>
                <a:cubicBezTo>
                  <a:pt x="85" y="272"/>
                  <a:pt x="85" y="272"/>
                  <a:pt x="85" y="272"/>
                </a:cubicBezTo>
                <a:cubicBezTo>
                  <a:pt x="85" y="270"/>
                  <a:pt x="85" y="270"/>
                  <a:pt x="85" y="270"/>
                </a:cubicBezTo>
                <a:cubicBezTo>
                  <a:pt x="84" y="269"/>
                  <a:pt x="84" y="269"/>
                  <a:pt x="84" y="269"/>
                </a:cubicBezTo>
                <a:cubicBezTo>
                  <a:pt x="85" y="268"/>
                  <a:pt x="85" y="268"/>
                  <a:pt x="85" y="268"/>
                </a:cubicBezTo>
                <a:cubicBezTo>
                  <a:pt x="85" y="265"/>
                  <a:pt x="85" y="265"/>
                  <a:pt x="85" y="265"/>
                </a:cubicBezTo>
                <a:cubicBezTo>
                  <a:pt x="85" y="264"/>
                  <a:pt x="85" y="264"/>
                  <a:pt x="85" y="264"/>
                </a:cubicBezTo>
                <a:cubicBezTo>
                  <a:pt x="84" y="264"/>
                  <a:pt x="84" y="264"/>
                  <a:pt x="84" y="264"/>
                </a:cubicBezTo>
                <a:cubicBezTo>
                  <a:pt x="84" y="263"/>
                  <a:pt x="84" y="263"/>
                  <a:pt x="84" y="263"/>
                </a:cubicBezTo>
                <a:cubicBezTo>
                  <a:pt x="85" y="262"/>
                  <a:pt x="85" y="262"/>
                  <a:pt x="85" y="262"/>
                </a:cubicBezTo>
                <a:cubicBezTo>
                  <a:pt x="84" y="261"/>
                  <a:pt x="84" y="261"/>
                  <a:pt x="84" y="261"/>
                </a:cubicBezTo>
                <a:cubicBezTo>
                  <a:pt x="85" y="261"/>
                  <a:pt x="85" y="261"/>
                  <a:pt x="85" y="261"/>
                </a:cubicBezTo>
                <a:cubicBezTo>
                  <a:pt x="84" y="260"/>
                  <a:pt x="84" y="260"/>
                  <a:pt x="84" y="260"/>
                </a:cubicBezTo>
                <a:cubicBezTo>
                  <a:pt x="82" y="259"/>
                  <a:pt x="82" y="259"/>
                  <a:pt x="82" y="259"/>
                </a:cubicBezTo>
                <a:cubicBezTo>
                  <a:pt x="80" y="259"/>
                  <a:pt x="80" y="259"/>
                  <a:pt x="80" y="259"/>
                </a:cubicBezTo>
                <a:cubicBezTo>
                  <a:pt x="80" y="257"/>
                  <a:pt x="80" y="257"/>
                  <a:pt x="80" y="257"/>
                </a:cubicBezTo>
                <a:cubicBezTo>
                  <a:pt x="80" y="256"/>
                  <a:pt x="80" y="256"/>
                  <a:pt x="80" y="256"/>
                </a:cubicBezTo>
                <a:cubicBezTo>
                  <a:pt x="80" y="253"/>
                  <a:pt x="80" y="253"/>
                  <a:pt x="80" y="253"/>
                </a:cubicBezTo>
                <a:cubicBezTo>
                  <a:pt x="81" y="253"/>
                  <a:pt x="81" y="253"/>
                  <a:pt x="81" y="253"/>
                </a:cubicBezTo>
                <a:cubicBezTo>
                  <a:pt x="81" y="252"/>
                  <a:pt x="81" y="252"/>
                  <a:pt x="81" y="252"/>
                </a:cubicBezTo>
                <a:cubicBezTo>
                  <a:pt x="81" y="251"/>
                  <a:pt x="81" y="251"/>
                  <a:pt x="81" y="251"/>
                </a:cubicBezTo>
                <a:cubicBezTo>
                  <a:pt x="81" y="250"/>
                  <a:pt x="81" y="250"/>
                  <a:pt x="81" y="250"/>
                </a:cubicBezTo>
                <a:cubicBezTo>
                  <a:pt x="80" y="249"/>
                  <a:pt x="80" y="249"/>
                  <a:pt x="80" y="249"/>
                </a:cubicBezTo>
                <a:cubicBezTo>
                  <a:pt x="80" y="248"/>
                  <a:pt x="80" y="248"/>
                  <a:pt x="80" y="248"/>
                </a:cubicBezTo>
                <a:cubicBezTo>
                  <a:pt x="80" y="245"/>
                  <a:pt x="80" y="245"/>
                  <a:pt x="80" y="245"/>
                </a:cubicBezTo>
                <a:cubicBezTo>
                  <a:pt x="78" y="244"/>
                  <a:pt x="78" y="244"/>
                  <a:pt x="78" y="244"/>
                </a:cubicBezTo>
                <a:cubicBezTo>
                  <a:pt x="75" y="241"/>
                  <a:pt x="75" y="241"/>
                  <a:pt x="75" y="241"/>
                </a:cubicBezTo>
                <a:cubicBezTo>
                  <a:pt x="75" y="241"/>
                  <a:pt x="75" y="241"/>
                  <a:pt x="75" y="241"/>
                </a:cubicBezTo>
                <a:cubicBezTo>
                  <a:pt x="76" y="241"/>
                  <a:pt x="76" y="241"/>
                  <a:pt x="76" y="241"/>
                </a:cubicBezTo>
                <a:cubicBezTo>
                  <a:pt x="79" y="242"/>
                  <a:pt x="79" y="242"/>
                  <a:pt x="79" y="242"/>
                </a:cubicBezTo>
                <a:cubicBezTo>
                  <a:pt x="80" y="242"/>
                  <a:pt x="80" y="242"/>
                  <a:pt x="80" y="242"/>
                </a:cubicBezTo>
                <a:cubicBezTo>
                  <a:pt x="81" y="242"/>
                  <a:pt x="81" y="242"/>
                  <a:pt x="81" y="242"/>
                </a:cubicBezTo>
                <a:cubicBezTo>
                  <a:pt x="83" y="242"/>
                  <a:pt x="83" y="242"/>
                  <a:pt x="83" y="242"/>
                </a:cubicBezTo>
                <a:cubicBezTo>
                  <a:pt x="87" y="242"/>
                  <a:pt x="87" y="242"/>
                  <a:pt x="87" y="242"/>
                </a:cubicBezTo>
                <a:cubicBezTo>
                  <a:pt x="88" y="243"/>
                  <a:pt x="88" y="243"/>
                  <a:pt x="88" y="243"/>
                </a:cubicBezTo>
                <a:cubicBezTo>
                  <a:pt x="88" y="244"/>
                  <a:pt x="88" y="244"/>
                  <a:pt x="88" y="244"/>
                </a:cubicBezTo>
                <a:cubicBezTo>
                  <a:pt x="90" y="246"/>
                  <a:pt x="90" y="246"/>
                  <a:pt x="90" y="246"/>
                </a:cubicBezTo>
                <a:cubicBezTo>
                  <a:pt x="91" y="246"/>
                  <a:pt x="91" y="246"/>
                  <a:pt x="91" y="246"/>
                </a:cubicBezTo>
                <a:cubicBezTo>
                  <a:pt x="91" y="247"/>
                  <a:pt x="91" y="247"/>
                  <a:pt x="91" y="247"/>
                </a:cubicBezTo>
                <a:cubicBezTo>
                  <a:pt x="93" y="249"/>
                  <a:pt x="93" y="249"/>
                  <a:pt x="93" y="249"/>
                </a:cubicBezTo>
                <a:cubicBezTo>
                  <a:pt x="93" y="250"/>
                  <a:pt x="93" y="250"/>
                  <a:pt x="93" y="250"/>
                </a:cubicBezTo>
                <a:cubicBezTo>
                  <a:pt x="91" y="250"/>
                  <a:pt x="91" y="250"/>
                  <a:pt x="91" y="250"/>
                </a:cubicBezTo>
                <a:cubicBezTo>
                  <a:pt x="90" y="251"/>
                  <a:pt x="90" y="251"/>
                  <a:pt x="90" y="251"/>
                </a:cubicBezTo>
                <a:cubicBezTo>
                  <a:pt x="88" y="251"/>
                  <a:pt x="88" y="251"/>
                  <a:pt x="88" y="251"/>
                </a:cubicBezTo>
                <a:cubicBezTo>
                  <a:pt x="87" y="252"/>
                  <a:pt x="87" y="252"/>
                  <a:pt x="87" y="252"/>
                </a:cubicBezTo>
                <a:cubicBezTo>
                  <a:pt x="88" y="252"/>
                  <a:pt x="88" y="252"/>
                  <a:pt x="88" y="252"/>
                </a:cubicBezTo>
                <a:cubicBezTo>
                  <a:pt x="87" y="253"/>
                  <a:pt x="87" y="253"/>
                  <a:pt x="87" y="253"/>
                </a:cubicBezTo>
                <a:cubicBezTo>
                  <a:pt x="86" y="253"/>
                  <a:pt x="86" y="253"/>
                  <a:pt x="86" y="253"/>
                </a:cubicBezTo>
                <a:cubicBezTo>
                  <a:pt x="86" y="254"/>
                  <a:pt x="86" y="254"/>
                  <a:pt x="86" y="254"/>
                </a:cubicBezTo>
                <a:cubicBezTo>
                  <a:pt x="86" y="255"/>
                  <a:pt x="86" y="255"/>
                  <a:pt x="86" y="255"/>
                </a:cubicBezTo>
                <a:cubicBezTo>
                  <a:pt x="87" y="256"/>
                  <a:pt x="87" y="256"/>
                  <a:pt x="87" y="256"/>
                </a:cubicBezTo>
                <a:cubicBezTo>
                  <a:pt x="90" y="258"/>
                  <a:pt x="90" y="258"/>
                  <a:pt x="90" y="258"/>
                </a:cubicBezTo>
                <a:cubicBezTo>
                  <a:pt x="92" y="261"/>
                  <a:pt x="92" y="261"/>
                  <a:pt x="92" y="261"/>
                </a:cubicBezTo>
                <a:cubicBezTo>
                  <a:pt x="93" y="261"/>
                  <a:pt x="93" y="261"/>
                  <a:pt x="93" y="261"/>
                </a:cubicBezTo>
                <a:cubicBezTo>
                  <a:pt x="95" y="260"/>
                  <a:pt x="95" y="260"/>
                  <a:pt x="95" y="260"/>
                </a:cubicBezTo>
                <a:cubicBezTo>
                  <a:pt x="96" y="262"/>
                  <a:pt x="96" y="262"/>
                  <a:pt x="96" y="262"/>
                </a:cubicBezTo>
                <a:cubicBezTo>
                  <a:pt x="96" y="261"/>
                  <a:pt x="96" y="261"/>
                  <a:pt x="96" y="261"/>
                </a:cubicBezTo>
                <a:cubicBezTo>
                  <a:pt x="98" y="261"/>
                  <a:pt x="98" y="261"/>
                  <a:pt x="98" y="261"/>
                </a:cubicBezTo>
                <a:cubicBezTo>
                  <a:pt x="98" y="260"/>
                  <a:pt x="98" y="260"/>
                  <a:pt x="98" y="260"/>
                </a:cubicBezTo>
                <a:cubicBezTo>
                  <a:pt x="100" y="259"/>
                  <a:pt x="100" y="259"/>
                  <a:pt x="100" y="259"/>
                </a:cubicBezTo>
                <a:cubicBezTo>
                  <a:pt x="101" y="258"/>
                  <a:pt x="101" y="258"/>
                  <a:pt x="101" y="258"/>
                </a:cubicBezTo>
                <a:cubicBezTo>
                  <a:pt x="100" y="256"/>
                  <a:pt x="100" y="256"/>
                  <a:pt x="100" y="256"/>
                </a:cubicBezTo>
                <a:cubicBezTo>
                  <a:pt x="101" y="254"/>
                  <a:pt x="101" y="254"/>
                  <a:pt x="101" y="254"/>
                </a:cubicBezTo>
                <a:cubicBezTo>
                  <a:pt x="101" y="253"/>
                  <a:pt x="101" y="253"/>
                  <a:pt x="101" y="253"/>
                </a:cubicBezTo>
                <a:cubicBezTo>
                  <a:pt x="100" y="252"/>
                  <a:pt x="100" y="252"/>
                  <a:pt x="100" y="252"/>
                </a:cubicBezTo>
                <a:cubicBezTo>
                  <a:pt x="100" y="252"/>
                  <a:pt x="100" y="252"/>
                  <a:pt x="100" y="252"/>
                </a:cubicBezTo>
                <a:cubicBezTo>
                  <a:pt x="104" y="251"/>
                  <a:pt x="104" y="251"/>
                  <a:pt x="104" y="251"/>
                </a:cubicBezTo>
                <a:cubicBezTo>
                  <a:pt x="104" y="251"/>
                  <a:pt x="104" y="251"/>
                  <a:pt x="104" y="251"/>
                </a:cubicBezTo>
                <a:cubicBezTo>
                  <a:pt x="106" y="251"/>
                  <a:pt x="106" y="251"/>
                  <a:pt x="106" y="251"/>
                </a:cubicBezTo>
                <a:cubicBezTo>
                  <a:pt x="106" y="250"/>
                  <a:pt x="106" y="250"/>
                  <a:pt x="106" y="250"/>
                </a:cubicBezTo>
                <a:cubicBezTo>
                  <a:pt x="104" y="249"/>
                  <a:pt x="104" y="249"/>
                  <a:pt x="104" y="249"/>
                </a:cubicBezTo>
                <a:cubicBezTo>
                  <a:pt x="104" y="248"/>
                  <a:pt x="104" y="248"/>
                  <a:pt x="104" y="248"/>
                </a:cubicBezTo>
                <a:cubicBezTo>
                  <a:pt x="105" y="248"/>
                  <a:pt x="105" y="248"/>
                  <a:pt x="105" y="248"/>
                </a:cubicBezTo>
                <a:cubicBezTo>
                  <a:pt x="105" y="249"/>
                  <a:pt x="105" y="249"/>
                  <a:pt x="105" y="249"/>
                </a:cubicBezTo>
                <a:cubicBezTo>
                  <a:pt x="107" y="248"/>
                  <a:pt x="107" y="248"/>
                  <a:pt x="107" y="248"/>
                </a:cubicBezTo>
                <a:cubicBezTo>
                  <a:pt x="109" y="245"/>
                  <a:pt x="109" y="245"/>
                  <a:pt x="109" y="245"/>
                </a:cubicBezTo>
                <a:cubicBezTo>
                  <a:pt x="110" y="245"/>
                  <a:pt x="110" y="245"/>
                  <a:pt x="110" y="245"/>
                </a:cubicBezTo>
                <a:cubicBezTo>
                  <a:pt x="112" y="242"/>
                  <a:pt x="112" y="242"/>
                  <a:pt x="112" y="242"/>
                </a:cubicBezTo>
                <a:cubicBezTo>
                  <a:pt x="112" y="241"/>
                  <a:pt x="112" y="241"/>
                  <a:pt x="112" y="241"/>
                </a:cubicBezTo>
                <a:cubicBezTo>
                  <a:pt x="113" y="241"/>
                  <a:pt x="113" y="241"/>
                  <a:pt x="113" y="241"/>
                </a:cubicBezTo>
                <a:cubicBezTo>
                  <a:pt x="114" y="241"/>
                  <a:pt x="114" y="241"/>
                  <a:pt x="114" y="241"/>
                </a:cubicBezTo>
                <a:cubicBezTo>
                  <a:pt x="116" y="240"/>
                  <a:pt x="116" y="240"/>
                  <a:pt x="116" y="240"/>
                </a:cubicBezTo>
                <a:cubicBezTo>
                  <a:pt x="116" y="240"/>
                  <a:pt x="116" y="240"/>
                  <a:pt x="116" y="240"/>
                </a:cubicBezTo>
                <a:cubicBezTo>
                  <a:pt x="119" y="239"/>
                  <a:pt x="119" y="239"/>
                  <a:pt x="119" y="239"/>
                </a:cubicBezTo>
                <a:cubicBezTo>
                  <a:pt x="119" y="240"/>
                  <a:pt x="119" y="240"/>
                  <a:pt x="119" y="240"/>
                </a:cubicBezTo>
                <a:cubicBezTo>
                  <a:pt x="119" y="240"/>
                  <a:pt x="119" y="240"/>
                  <a:pt x="119" y="240"/>
                </a:cubicBezTo>
                <a:cubicBezTo>
                  <a:pt x="120" y="241"/>
                  <a:pt x="120" y="241"/>
                  <a:pt x="120" y="241"/>
                </a:cubicBezTo>
                <a:cubicBezTo>
                  <a:pt x="119" y="241"/>
                  <a:pt x="119" y="241"/>
                  <a:pt x="119" y="241"/>
                </a:cubicBezTo>
                <a:cubicBezTo>
                  <a:pt x="120" y="242"/>
                  <a:pt x="120" y="242"/>
                  <a:pt x="120" y="242"/>
                </a:cubicBezTo>
                <a:cubicBezTo>
                  <a:pt x="121" y="241"/>
                  <a:pt x="121" y="241"/>
                  <a:pt x="121" y="241"/>
                </a:cubicBezTo>
                <a:cubicBezTo>
                  <a:pt x="121" y="240"/>
                  <a:pt x="121" y="240"/>
                  <a:pt x="121" y="240"/>
                </a:cubicBezTo>
                <a:cubicBezTo>
                  <a:pt x="121" y="239"/>
                  <a:pt x="121" y="239"/>
                  <a:pt x="121" y="239"/>
                </a:cubicBezTo>
                <a:cubicBezTo>
                  <a:pt x="120" y="238"/>
                  <a:pt x="120" y="238"/>
                  <a:pt x="120" y="238"/>
                </a:cubicBezTo>
                <a:cubicBezTo>
                  <a:pt x="120" y="238"/>
                  <a:pt x="120" y="238"/>
                  <a:pt x="120" y="238"/>
                </a:cubicBezTo>
                <a:cubicBezTo>
                  <a:pt x="122" y="236"/>
                  <a:pt x="122" y="236"/>
                  <a:pt x="122" y="236"/>
                </a:cubicBezTo>
                <a:cubicBezTo>
                  <a:pt x="122" y="235"/>
                  <a:pt x="122" y="235"/>
                  <a:pt x="122" y="235"/>
                </a:cubicBezTo>
                <a:cubicBezTo>
                  <a:pt x="123" y="236"/>
                  <a:pt x="123" y="236"/>
                  <a:pt x="123" y="236"/>
                </a:cubicBezTo>
                <a:cubicBezTo>
                  <a:pt x="122" y="237"/>
                  <a:pt x="122" y="237"/>
                  <a:pt x="122" y="237"/>
                </a:cubicBezTo>
                <a:cubicBezTo>
                  <a:pt x="122" y="237"/>
                  <a:pt x="122" y="237"/>
                  <a:pt x="122" y="237"/>
                </a:cubicBezTo>
                <a:cubicBezTo>
                  <a:pt x="123" y="238"/>
                  <a:pt x="123" y="238"/>
                  <a:pt x="123" y="238"/>
                </a:cubicBezTo>
                <a:cubicBezTo>
                  <a:pt x="124" y="238"/>
                  <a:pt x="124" y="238"/>
                  <a:pt x="124" y="238"/>
                </a:cubicBezTo>
                <a:cubicBezTo>
                  <a:pt x="124" y="237"/>
                  <a:pt x="124" y="237"/>
                  <a:pt x="124" y="237"/>
                </a:cubicBezTo>
                <a:cubicBezTo>
                  <a:pt x="124" y="237"/>
                  <a:pt x="124" y="237"/>
                  <a:pt x="124" y="237"/>
                </a:cubicBezTo>
                <a:cubicBezTo>
                  <a:pt x="123" y="235"/>
                  <a:pt x="123" y="235"/>
                  <a:pt x="123" y="235"/>
                </a:cubicBezTo>
                <a:cubicBezTo>
                  <a:pt x="123" y="235"/>
                  <a:pt x="123" y="235"/>
                  <a:pt x="123" y="235"/>
                </a:cubicBezTo>
                <a:cubicBezTo>
                  <a:pt x="124" y="234"/>
                  <a:pt x="124" y="234"/>
                  <a:pt x="124" y="234"/>
                </a:cubicBezTo>
                <a:cubicBezTo>
                  <a:pt x="127" y="233"/>
                  <a:pt x="127" y="233"/>
                  <a:pt x="127" y="233"/>
                </a:cubicBezTo>
                <a:cubicBezTo>
                  <a:pt x="130" y="232"/>
                  <a:pt x="130" y="232"/>
                  <a:pt x="130" y="232"/>
                </a:cubicBezTo>
                <a:cubicBezTo>
                  <a:pt x="130" y="233"/>
                  <a:pt x="130" y="233"/>
                  <a:pt x="130" y="233"/>
                </a:cubicBezTo>
                <a:cubicBezTo>
                  <a:pt x="129" y="233"/>
                  <a:pt x="129" y="233"/>
                  <a:pt x="129" y="233"/>
                </a:cubicBezTo>
                <a:cubicBezTo>
                  <a:pt x="128" y="233"/>
                  <a:pt x="128" y="233"/>
                  <a:pt x="128" y="233"/>
                </a:cubicBezTo>
                <a:cubicBezTo>
                  <a:pt x="125" y="235"/>
                  <a:pt x="125" y="235"/>
                  <a:pt x="125" y="235"/>
                </a:cubicBezTo>
                <a:cubicBezTo>
                  <a:pt x="126" y="235"/>
                  <a:pt x="126" y="235"/>
                  <a:pt x="126" y="235"/>
                </a:cubicBezTo>
                <a:cubicBezTo>
                  <a:pt x="127" y="235"/>
                  <a:pt x="127" y="235"/>
                  <a:pt x="127" y="235"/>
                </a:cubicBezTo>
                <a:cubicBezTo>
                  <a:pt x="127" y="235"/>
                  <a:pt x="127" y="235"/>
                  <a:pt x="127" y="235"/>
                </a:cubicBezTo>
                <a:cubicBezTo>
                  <a:pt x="129" y="236"/>
                  <a:pt x="129" y="236"/>
                  <a:pt x="129" y="236"/>
                </a:cubicBezTo>
                <a:cubicBezTo>
                  <a:pt x="128" y="237"/>
                  <a:pt x="128" y="237"/>
                  <a:pt x="128" y="237"/>
                </a:cubicBezTo>
                <a:cubicBezTo>
                  <a:pt x="128" y="237"/>
                  <a:pt x="128" y="237"/>
                  <a:pt x="128" y="237"/>
                </a:cubicBezTo>
                <a:cubicBezTo>
                  <a:pt x="128" y="239"/>
                  <a:pt x="128" y="239"/>
                  <a:pt x="128" y="239"/>
                </a:cubicBezTo>
                <a:cubicBezTo>
                  <a:pt x="128" y="239"/>
                  <a:pt x="128" y="239"/>
                  <a:pt x="128" y="239"/>
                </a:cubicBezTo>
                <a:cubicBezTo>
                  <a:pt x="127" y="239"/>
                  <a:pt x="127" y="239"/>
                  <a:pt x="127" y="239"/>
                </a:cubicBezTo>
                <a:cubicBezTo>
                  <a:pt x="125" y="241"/>
                  <a:pt x="125" y="241"/>
                  <a:pt x="125" y="241"/>
                </a:cubicBezTo>
                <a:cubicBezTo>
                  <a:pt x="126" y="242"/>
                  <a:pt x="126" y="242"/>
                  <a:pt x="126" y="242"/>
                </a:cubicBezTo>
                <a:cubicBezTo>
                  <a:pt x="127" y="242"/>
                  <a:pt x="127" y="242"/>
                  <a:pt x="127" y="242"/>
                </a:cubicBezTo>
                <a:cubicBezTo>
                  <a:pt x="128" y="242"/>
                  <a:pt x="128" y="242"/>
                  <a:pt x="128" y="242"/>
                </a:cubicBezTo>
                <a:cubicBezTo>
                  <a:pt x="128" y="242"/>
                  <a:pt x="128" y="242"/>
                  <a:pt x="128" y="242"/>
                </a:cubicBezTo>
                <a:cubicBezTo>
                  <a:pt x="129" y="241"/>
                  <a:pt x="129" y="241"/>
                  <a:pt x="129" y="241"/>
                </a:cubicBezTo>
                <a:cubicBezTo>
                  <a:pt x="131" y="242"/>
                  <a:pt x="131" y="242"/>
                  <a:pt x="131" y="242"/>
                </a:cubicBezTo>
                <a:cubicBezTo>
                  <a:pt x="131" y="243"/>
                  <a:pt x="131" y="243"/>
                  <a:pt x="131" y="243"/>
                </a:cubicBezTo>
                <a:cubicBezTo>
                  <a:pt x="131" y="242"/>
                  <a:pt x="131" y="242"/>
                  <a:pt x="131" y="242"/>
                </a:cubicBezTo>
                <a:cubicBezTo>
                  <a:pt x="132" y="240"/>
                  <a:pt x="132" y="240"/>
                  <a:pt x="132" y="240"/>
                </a:cubicBezTo>
                <a:cubicBezTo>
                  <a:pt x="133" y="240"/>
                  <a:pt x="133" y="240"/>
                  <a:pt x="133" y="240"/>
                </a:cubicBezTo>
                <a:cubicBezTo>
                  <a:pt x="134" y="241"/>
                  <a:pt x="134" y="241"/>
                  <a:pt x="134" y="241"/>
                </a:cubicBezTo>
                <a:cubicBezTo>
                  <a:pt x="135" y="242"/>
                  <a:pt x="135" y="242"/>
                  <a:pt x="135" y="242"/>
                </a:cubicBezTo>
                <a:cubicBezTo>
                  <a:pt x="135" y="241"/>
                  <a:pt x="135" y="241"/>
                  <a:pt x="135" y="241"/>
                </a:cubicBezTo>
                <a:cubicBezTo>
                  <a:pt x="135" y="240"/>
                  <a:pt x="135" y="240"/>
                  <a:pt x="135" y="240"/>
                </a:cubicBezTo>
                <a:cubicBezTo>
                  <a:pt x="135" y="240"/>
                  <a:pt x="135" y="240"/>
                  <a:pt x="135" y="240"/>
                </a:cubicBezTo>
                <a:cubicBezTo>
                  <a:pt x="134" y="239"/>
                  <a:pt x="134" y="239"/>
                  <a:pt x="134" y="239"/>
                </a:cubicBezTo>
                <a:cubicBezTo>
                  <a:pt x="134" y="238"/>
                  <a:pt x="134" y="238"/>
                  <a:pt x="134" y="238"/>
                </a:cubicBezTo>
                <a:cubicBezTo>
                  <a:pt x="135" y="237"/>
                  <a:pt x="135" y="237"/>
                  <a:pt x="135" y="237"/>
                </a:cubicBezTo>
                <a:cubicBezTo>
                  <a:pt x="136" y="237"/>
                  <a:pt x="136" y="237"/>
                  <a:pt x="136" y="237"/>
                </a:cubicBezTo>
                <a:cubicBezTo>
                  <a:pt x="137" y="236"/>
                  <a:pt x="137" y="236"/>
                  <a:pt x="137" y="236"/>
                </a:cubicBezTo>
                <a:cubicBezTo>
                  <a:pt x="138" y="235"/>
                  <a:pt x="138" y="235"/>
                  <a:pt x="138" y="235"/>
                </a:cubicBezTo>
                <a:cubicBezTo>
                  <a:pt x="139" y="236"/>
                  <a:pt x="139" y="236"/>
                  <a:pt x="139" y="236"/>
                </a:cubicBezTo>
                <a:cubicBezTo>
                  <a:pt x="140" y="236"/>
                  <a:pt x="140" y="236"/>
                  <a:pt x="140" y="236"/>
                </a:cubicBezTo>
                <a:cubicBezTo>
                  <a:pt x="141" y="236"/>
                  <a:pt x="141" y="236"/>
                  <a:pt x="141" y="236"/>
                </a:cubicBezTo>
                <a:cubicBezTo>
                  <a:pt x="142" y="236"/>
                  <a:pt x="142" y="236"/>
                  <a:pt x="142" y="236"/>
                </a:cubicBezTo>
                <a:cubicBezTo>
                  <a:pt x="144" y="236"/>
                  <a:pt x="144" y="236"/>
                  <a:pt x="144" y="236"/>
                </a:cubicBezTo>
                <a:cubicBezTo>
                  <a:pt x="145" y="235"/>
                  <a:pt x="145" y="235"/>
                  <a:pt x="145" y="235"/>
                </a:cubicBezTo>
                <a:cubicBezTo>
                  <a:pt x="145" y="234"/>
                  <a:pt x="145" y="234"/>
                  <a:pt x="145" y="234"/>
                </a:cubicBezTo>
                <a:cubicBezTo>
                  <a:pt x="146" y="234"/>
                  <a:pt x="146" y="234"/>
                  <a:pt x="146" y="234"/>
                </a:cubicBezTo>
                <a:cubicBezTo>
                  <a:pt x="147" y="234"/>
                  <a:pt x="147" y="234"/>
                  <a:pt x="147" y="234"/>
                </a:cubicBezTo>
                <a:cubicBezTo>
                  <a:pt x="148" y="233"/>
                  <a:pt x="148" y="233"/>
                  <a:pt x="148" y="233"/>
                </a:cubicBezTo>
                <a:cubicBezTo>
                  <a:pt x="149" y="232"/>
                  <a:pt x="149" y="232"/>
                  <a:pt x="149" y="232"/>
                </a:cubicBezTo>
                <a:cubicBezTo>
                  <a:pt x="150" y="232"/>
                  <a:pt x="150" y="232"/>
                  <a:pt x="150" y="232"/>
                </a:cubicBezTo>
                <a:cubicBezTo>
                  <a:pt x="151" y="230"/>
                  <a:pt x="151" y="230"/>
                  <a:pt x="151" y="230"/>
                </a:cubicBezTo>
                <a:cubicBezTo>
                  <a:pt x="152" y="230"/>
                  <a:pt x="152" y="230"/>
                  <a:pt x="152" y="230"/>
                </a:cubicBezTo>
                <a:cubicBezTo>
                  <a:pt x="153" y="229"/>
                  <a:pt x="153" y="229"/>
                  <a:pt x="153" y="229"/>
                </a:cubicBezTo>
                <a:cubicBezTo>
                  <a:pt x="153" y="230"/>
                  <a:pt x="153" y="230"/>
                  <a:pt x="153" y="230"/>
                </a:cubicBezTo>
                <a:cubicBezTo>
                  <a:pt x="152" y="231"/>
                  <a:pt x="152" y="231"/>
                  <a:pt x="152" y="231"/>
                </a:cubicBezTo>
                <a:cubicBezTo>
                  <a:pt x="153" y="231"/>
                  <a:pt x="153" y="231"/>
                  <a:pt x="153" y="231"/>
                </a:cubicBezTo>
                <a:cubicBezTo>
                  <a:pt x="154" y="233"/>
                  <a:pt x="154" y="233"/>
                  <a:pt x="154" y="233"/>
                </a:cubicBezTo>
                <a:cubicBezTo>
                  <a:pt x="155" y="233"/>
                  <a:pt x="155" y="233"/>
                  <a:pt x="155" y="233"/>
                </a:cubicBezTo>
                <a:cubicBezTo>
                  <a:pt x="154" y="234"/>
                  <a:pt x="154" y="234"/>
                  <a:pt x="154" y="234"/>
                </a:cubicBezTo>
                <a:cubicBezTo>
                  <a:pt x="154" y="235"/>
                  <a:pt x="154" y="235"/>
                  <a:pt x="154" y="235"/>
                </a:cubicBezTo>
                <a:cubicBezTo>
                  <a:pt x="154" y="236"/>
                  <a:pt x="154" y="236"/>
                  <a:pt x="154" y="236"/>
                </a:cubicBezTo>
                <a:cubicBezTo>
                  <a:pt x="155" y="237"/>
                  <a:pt x="155" y="237"/>
                  <a:pt x="155" y="237"/>
                </a:cubicBezTo>
                <a:cubicBezTo>
                  <a:pt x="158" y="237"/>
                  <a:pt x="158" y="237"/>
                  <a:pt x="158" y="237"/>
                </a:cubicBezTo>
                <a:cubicBezTo>
                  <a:pt x="158" y="237"/>
                  <a:pt x="158" y="237"/>
                  <a:pt x="158" y="237"/>
                </a:cubicBezTo>
                <a:cubicBezTo>
                  <a:pt x="158" y="236"/>
                  <a:pt x="158" y="236"/>
                  <a:pt x="158" y="236"/>
                </a:cubicBezTo>
                <a:cubicBezTo>
                  <a:pt x="158" y="236"/>
                  <a:pt x="158" y="236"/>
                  <a:pt x="158" y="236"/>
                </a:cubicBezTo>
                <a:cubicBezTo>
                  <a:pt x="157" y="234"/>
                  <a:pt x="157" y="234"/>
                  <a:pt x="157" y="234"/>
                </a:cubicBezTo>
                <a:cubicBezTo>
                  <a:pt x="157" y="233"/>
                  <a:pt x="157" y="233"/>
                  <a:pt x="157" y="233"/>
                </a:cubicBezTo>
                <a:cubicBezTo>
                  <a:pt x="158" y="233"/>
                  <a:pt x="158" y="233"/>
                  <a:pt x="158" y="233"/>
                </a:cubicBezTo>
                <a:cubicBezTo>
                  <a:pt x="159" y="233"/>
                  <a:pt x="159" y="233"/>
                  <a:pt x="159" y="233"/>
                </a:cubicBezTo>
                <a:cubicBezTo>
                  <a:pt x="161" y="233"/>
                  <a:pt x="161" y="233"/>
                  <a:pt x="161" y="233"/>
                </a:cubicBezTo>
                <a:cubicBezTo>
                  <a:pt x="161" y="230"/>
                  <a:pt x="161" y="230"/>
                  <a:pt x="161" y="230"/>
                </a:cubicBezTo>
                <a:cubicBezTo>
                  <a:pt x="162" y="230"/>
                  <a:pt x="162" y="230"/>
                  <a:pt x="162" y="230"/>
                </a:cubicBezTo>
                <a:cubicBezTo>
                  <a:pt x="163" y="231"/>
                  <a:pt x="163" y="231"/>
                  <a:pt x="163" y="231"/>
                </a:cubicBezTo>
                <a:cubicBezTo>
                  <a:pt x="164" y="231"/>
                  <a:pt x="164" y="231"/>
                  <a:pt x="164" y="231"/>
                </a:cubicBezTo>
                <a:cubicBezTo>
                  <a:pt x="163" y="229"/>
                  <a:pt x="163" y="229"/>
                  <a:pt x="163" y="229"/>
                </a:cubicBezTo>
                <a:cubicBezTo>
                  <a:pt x="161" y="229"/>
                  <a:pt x="161" y="229"/>
                  <a:pt x="161" y="229"/>
                </a:cubicBezTo>
                <a:cubicBezTo>
                  <a:pt x="161" y="228"/>
                  <a:pt x="161" y="228"/>
                  <a:pt x="161" y="228"/>
                </a:cubicBezTo>
                <a:cubicBezTo>
                  <a:pt x="160" y="226"/>
                  <a:pt x="160" y="226"/>
                  <a:pt x="160" y="226"/>
                </a:cubicBezTo>
                <a:cubicBezTo>
                  <a:pt x="159" y="226"/>
                  <a:pt x="159" y="226"/>
                  <a:pt x="159" y="226"/>
                </a:cubicBezTo>
                <a:cubicBezTo>
                  <a:pt x="159" y="227"/>
                  <a:pt x="159" y="227"/>
                  <a:pt x="159" y="227"/>
                </a:cubicBezTo>
                <a:cubicBezTo>
                  <a:pt x="158" y="226"/>
                  <a:pt x="158" y="226"/>
                  <a:pt x="158" y="226"/>
                </a:cubicBezTo>
                <a:cubicBezTo>
                  <a:pt x="158" y="223"/>
                  <a:pt x="158" y="223"/>
                  <a:pt x="158" y="223"/>
                </a:cubicBezTo>
                <a:cubicBezTo>
                  <a:pt x="157" y="223"/>
                  <a:pt x="157" y="223"/>
                  <a:pt x="157" y="223"/>
                </a:cubicBezTo>
                <a:cubicBezTo>
                  <a:pt x="156" y="221"/>
                  <a:pt x="156" y="221"/>
                  <a:pt x="156" y="221"/>
                </a:cubicBezTo>
                <a:cubicBezTo>
                  <a:pt x="156" y="221"/>
                  <a:pt x="156" y="221"/>
                  <a:pt x="156" y="221"/>
                </a:cubicBezTo>
                <a:cubicBezTo>
                  <a:pt x="157" y="221"/>
                  <a:pt x="157" y="221"/>
                  <a:pt x="157" y="221"/>
                </a:cubicBezTo>
                <a:cubicBezTo>
                  <a:pt x="157" y="219"/>
                  <a:pt x="157" y="219"/>
                  <a:pt x="157" y="219"/>
                </a:cubicBezTo>
                <a:cubicBezTo>
                  <a:pt x="157" y="218"/>
                  <a:pt x="157" y="218"/>
                  <a:pt x="157" y="218"/>
                </a:cubicBezTo>
                <a:cubicBezTo>
                  <a:pt x="157" y="217"/>
                  <a:pt x="157" y="217"/>
                  <a:pt x="157" y="217"/>
                </a:cubicBezTo>
                <a:cubicBezTo>
                  <a:pt x="158" y="218"/>
                  <a:pt x="158" y="218"/>
                  <a:pt x="158" y="218"/>
                </a:cubicBezTo>
                <a:cubicBezTo>
                  <a:pt x="159" y="217"/>
                  <a:pt x="159" y="217"/>
                  <a:pt x="159" y="217"/>
                </a:cubicBezTo>
                <a:cubicBezTo>
                  <a:pt x="160" y="218"/>
                  <a:pt x="160" y="218"/>
                  <a:pt x="160" y="218"/>
                </a:cubicBezTo>
                <a:cubicBezTo>
                  <a:pt x="161" y="218"/>
                  <a:pt x="161" y="218"/>
                  <a:pt x="161" y="218"/>
                </a:cubicBezTo>
                <a:cubicBezTo>
                  <a:pt x="162" y="218"/>
                  <a:pt x="162" y="218"/>
                  <a:pt x="162" y="218"/>
                </a:cubicBezTo>
                <a:cubicBezTo>
                  <a:pt x="167" y="218"/>
                  <a:pt x="167" y="218"/>
                  <a:pt x="167" y="218"/>
                </a:cubicBezTo>
                <a:cubicBezTo>
                  <a:pt x="173" y="218"/>
                  <a:pt x="173" y="218"/>
                  <a:pt x="173" y="218"/>
                </a:cubicBezTo>
                <a:cubicBezTo>
                  <a:pt x="175" y="219"/>
                  <a:pt x="175" y="219"/>
                  <a:pt x="175" y="219"/>
                </a:cubicBezTo>
                <a:cubicBezTo>
                  <a:pt x="179" y="221"/>
                  <a:pt x="179" y="221"/>
                  <a:pt x="179" y="221"/>
                </a:cubicBezTo>
                <a:cubicBezTo>
                  <a:pt x="179" y="221"/>
                  <a:pt x="179" y="221"/>
                  <a:pt x="179" y="221"/>
                </a:cubicBezTo>
                <a:cubicBezTo>
                  <a:pt x="179" y="222"/>
                  <a:pt x="179" y="222"/>
                  <a:pt x="179" y="222"/>
                </a:cubicBezTo>
                <a:cubicBezTo>
                  <a:pt x="179" y="224"/>
                  <a:pt x="179" y="224"/>
                  <a:pt x="179" y="224"/>
                </a:cubicBezTo>
                <a:cubicBezTo>
                  <a:pt x="181" y="222"/>
                  <a:pt x="181" y="222"/>
                  <a:pt x="181" y="222"/>
                </a:cubicBezTo>
                <a:cubicBezTo>
                  <a:pt x="182" y="222"/>
                  <a:pt x="182" y="222"/>
                  <a:pt x="182" y="222"/>
                </a:cubicBezTo>
                <a:cubicBezTo>
                  <a:pt x="183" y="223"/>
                  <a:pt x="183" y="223"/>
                  <a:pt x="183" y="223"/>
                </a:cubicBezTo>
                <a:cubicBezTo>
                  <a:pt x="184" y="223"/>
                  <a:pt x="184" y="223"/>
                  <a:pt x="184" y="223"/>
                </a:cubicBezTo>
                <a:cubicBezTo>
                  <a:pt x="185" y="224"/>
                  <a:pt x="185" y="224"/>
                  <a:pt x="185" y="224"/>
                </a:cubicBezTo>
                <a:cubicBezTo>
                  <a:pt x="187" y="224"/>
                  <a:pt x="187" y="224"/>
                  <a:pt x="187" y="224"/>
                </a:cubicBezTo>
                <a:cubicBezTo>
                  <a:pt x="190" y="226"/>
                  <a:pt x="190" y="226"/>
                  <a:pt x="190" y="226"/>
                </a:cubicBezTo>
                <a:cubicBezTo>
                  <a:pt x="194" y="227"/>
                  <a:pt x="194" y="227"/>
                  <a:pt x="194" y="227"/>
                </a:cubicBezTo>
                <a:cubicBezTo>
                  <a:pt x="195" y="228"/>
                  <a:pt x="195" y="228"/>
                  <a:pt x="195" y="228"/>
                </a:cubicBezTo>
                <a:cubicBezTo>
                  <a:pt x="196" y="229"/>
                  <a:pt x="196" y="229"/>
                  <a:pt x="196" y="229"/>
                </a:cubicBezTo>
                <a:cubicBezTo>
                  <a:pt x="198" y="230"/>
                  <a:pt x="198" y="230"/>
                  <a:pt x="198" y="230"/>
                </a:cubicBezTo>
                <a:cubicBezTo>
                  <a:pt x="199" y="231"/>
                  <a:pt x="199" y="231"/>
                  <a:pt x="199" y="231"/>
                </a:cubicBezTo>
                <a:cubicBezTo>
                  <a:pt x="201" y="234"/>
                  <a:pt x="201" y="234"/>
                  <a:pt x="201" y="234"/>
                </a:cubicBezTo>
                <a:cubicBezTo>
                  <a:pt x="202" y="234"/>
                  <a:pt x="202" y="234"/>
                  <a:pt x="202" y="234"/>
                </a:cubicBezTo>
                <a:cubicBezTo>
                  <a:pt x="202" y="233"/>
                  <a:pt x="202" y="233"/>
                  <a:pt x="202" y="233"/>
                </a:cubicBezTo>
                <a:cubicBezTo>
                  <a:pt x="202" y="232"/>
                  <a:pt x="202" y="232"/>
                  <a:pt x="202" y="232"/>
                </a:cubicBezTo>
                <a:cubicBezTo>
                  <a:pt x="203" y="232"/>
                  <a:pt x="203" y="232"/>
                  <a:pt x="203" y="232"/>
                </a:cubicBezTo>
                <a:cubicBezTo>
                  <a:pt x="203" y="231"/>
                  <a:pt x="203" y="231"/>
                  <a:pt x="203" y="231"/>
                </a:cubicBezTo>
                <a:cubicBezTo>
                  <a:pt x="202" y="230"/>
                  <a:pt x="202" y="230"/>
                  <a:pt x="202" y="230"/>
                </a:cubicBezTo>
                <a:cubicBezTo>
                  <a:pt x="202" y="229"/>
                  <a:pt x="202" y="229"/>
                  <a:pt x="202" y="229"/>
                </a:cubicBezTo>
                <a:cubicBezTo>
                  <a:pt x="202" y="225"/>
                  <a:pt x="202" y="225"/>
                  <a:pt x="202" y="225"/>
                </a:cubicBezTo>
                <a:cubicBezTo>
                  <a:pt x="204" y="224"/>
                  <a:pt x="204" y="224"/>
                  <a:pt x="204" y="224"/>
                </a:cubicBezTo>
                <a:cubicBezTo>
                  <a:pt x="202" y="225"/>
                  <a:pt x="202" y="225"/>
                  <a:pt x="202" y="225"/>
                </a:cubicBezTo>
                <a:cubicBezTo>
                  <a:pt x="202" y="224"/>
                  <a:pt x="202" y="224"/>
                  <a:pt x="202" y="224"/>
                </a:cubicBezTo>
                <a:cubicBezTo>
                  <a:pt x="201" y="224"/>
                  <a:pt x="201" y="224"/>
                  <a:pt x="201" y="224"/>
                </a:cubicBezTo>
                <a:cubicBezTo>
                  <a:pt x="200" y="225"/>
                  <a:pt x="200" y="225"/>
                  <a:pt x="200" y="225"/>
                </a:cubicBezTo>
                <a:cubicBezTo>
                  <a:pt x="199" y="224"/>
                  <a:pt x="199" y="224"/>
                  <a:pt x="199" y="224"/>
                </a:cubicBezTo>
                <a:cubicBezTo>
                  <a:pt x="196" y="221"/>
                  <a:pt x="196" y="221"/>
                  <a:pt x="196" y="221"/>
                </a:cubicBezTo>
                <a:cubicBezTo>
                  <a:pt x="196" y="221"/>
                  <a:pt x="196" y="221"/>
                  <a:pt x="196" y="221"/>
                </a:cubicBezTo>
                <a:cubicBezTo>
                  <a:pt x="195" y="220"/>
                  <a:pt x="195" y="220"/>
                  <a:pt x="195" y="220"/>
                </a:cubicBezTo>
                <a:cubicBezTo>
                  <a:pt x="195" y="218"/>
                  <a:pt x="195" y="218"/>
                  <a:pt x="195" y="218"/>
                </a:cubicBezTo>
                <a:cubicBezTo>
                  <a:pt x="194" y="217"/>
                  <a:pt x="194" y="217"/>
                  <a:pt x="194" y="217"/>
                </a:cubicBezTo>
                <a:cubicBezTo>
                  <a:pt x="193" y="219"/>
                  <a:pt x="193" y="219"/>
                  <a:pt x="193" y="219"/>
                </a:cubicBezTo>
                <a:cubicBezTo>
                  <a:pt x="191" y="218"/>
                  <a:pt x="191" y="218"/>
                  <a:pt x="191" y="218"/>
                </a:cubicBezTo>
                <a:cubicBezTo>
                  <a:pt x="190" y="218"/>
                  <a:pt x="190" y="218"/>
                  <a:pt x="190" y="218"/>
                </a:cubicBezTo>
                <a:cubicBezTo>
                  <a:pt x="189" y="217"/>
                  <a:pt x="189" y="217"/>
                  <a:pt x="189" y="217"/>
                </a:cubicBezTo>
                <a:cubicBezTo>
                  <a:pt x="188" y="218"/>
                  <a:pt x="188" y="218"/>
                  <a:pt x="188" y="218"/>
                </a:cubicBezTo>
                <a:cubicBezTo>
                  <a:pt x="188" y="216"/>
                  <a:pt x="188" y="216"/>
                  <a:pt x="188" y="216"/>
                </a:cubicBezTo>
                <a:cubicBezTo>
                  <a:pt x="187" y="215"/>
                  <a:pt x="187" y="215"/>
                  <a:pt x="187" y="215"/>
                </a:cubicBezTo>
                <a:cubicBezTo>
                  <a:pt x="186" y="212"/>
                  <a:pt x="186" y="212"/>
                  <a:pt x="186" y="212"/>
                </a:cubicBezTo>
                <a:cubicBezTo>
                  <a:pt x="186" y="211"/>
                  <a:pt x="186" y="211"/>
                  <a:pt x="186" y="211"/>
                </a:cubicBezTo>
                <a:cubicBezTo>
                  <a:pt x="187" y="212"/>
                  <a:pt x="187" y="212"/>
                  <a:pt x="187" y="212"/>
                </a:cubicBezTo>
                <a:cubicBezTo>
                  <a:pt x="188" y="211"/>
                  <a:pt x="188" y="211"/>
                  <a:pt x="188" y="211"/>
                </a:cubicBezTo>
                <a:cubicBezTo>
                  <a:pt x="188" y="210"/>
                  <a:pt x="188" y="210"/>
                  <a:pt x="188" y="210"/>
                </a:cubicBezTo>
                <a:cubicBezTo>
                  <a:pt x="186" y="208"/>
                  <a:pt x="186" y="208"/>
                  <a:pt x="186" y="208"/>
                </a:cubicBezTo>
                <a:cubicBezTo>
                  <a:pt x="186" y="207"/>
                  <a:pt x="186" y="207"/>
                  <a:pt x="186" y="207"/>
                </a:cubicBezTo>
                <a:cubicBezTo>
                  <a:pt x="186" y="206"/>
                  <a:pt x="186" y="206"/>
                  <a:pt x="186" y="206"/>
                </a:cubicBezTo>
                <a:cubicBezTo>
                  <a:pt x="187" y="206"/>
                  <a:pt x="187" y="206"/>
                  <a:pt x="187" y="206"/>
                </a:cubicBezTo>
                <a:cubicBezTo>
                  <a:pt x="186" y="205"/>
                  <a:pt x="186" y="205"/>
                  <a:pt x="186" y="205"/>
                </a:cubicBezTo>
                <a:cubicBezTo>
                  <a:pt x="185" y="205"/>
                  <a:pt x="185" y="205"/>
                  <a:pt x="185" y="205"/>
                </a:cubicBezTo>
                <a:cubicBezTo>
                  <a:pt x="184" y="202"/>
                  <a:pt x="184" y="202"/>
                  <a:pt x="184" y="202"/>
                </a:cubicBezTo>
                <a:cubicBezTo>
                  <a:pt x="183" y="202"/>
                  <a:pt x="183" y="202"/>
                  <a:pt x="183" y="202"/>
                </a:cubicBezTo>
                <a:cubicBezTo>
                  <a:pt x="182" y="202"/>
                  <a:pt x="182" y="202"/>
                  <a:pt x="182" y="202"/>
                </a:cubicBezTo>
                <a:cubicBezTo>
                  <a:pt x="181" y="201"/>
                  <a:pt x="181" y="201"/>
                  <a:pt x="181" y="201"/>
                </a:cubicBezTo>
                <a:cubicBezTo>
                  <a:pt x="181" y="199"/>
                  <a:pt x="181" y="199"/>
                  <a:pt x="181" y="199"/>
                </a:cubicBezTo>
                <a:cubicBezTo>
                  <a:pt x="182" y="198"/>
                  <a:pt x="182" y="198"/>
                  <a:pt x="182" y="198"/>
                </a:cubicBezTo>
                <a:cubicBezTo>
                  <a:pt x="181" y="196"/>
                  <a:pt x="181" y="196"/>
                  <a:pt x="181" y="196"/>
                </a:cubicBezTo>
                <a:cubicBezTo>
                  <a:pt x="181" y="195"/>
                  <a:pt x="181" y="195"/>
                  <a:pt x="181" y="195"/>
                </a:cubicBezTo>
                <a:cubicBezTo>
                  <a:pt x="181" y="195"/>
                  <a:pt x="181" y="195"/>
                  <a:pt x="181" y="195"/>
                </a:cubicBezTo>
                <a:cubicBezTo>
                  <a:pt x="184" y="191"/>
                  <a:pt x="184" y="191"/>
                  <a:pt x="184" y="191"/>
                </a:cubicBezTo>
                <a:cubicBezTo>
                  <a:pt x="185" y="190"/>
                  <a:pt x="185" y="190"/>
                  <a:pt x="185" y="190"/>
                </a:cubicBezTo>
                <a:cubicBezTo>
                  <a:pt x="185" y="190"/>
                  <a:pt x="185" y="190"/>
                  <a:pt x="185" y="190"/>
                </a:cubicBezTo>
                <a:cubicBezTo>
                  <a:pt x="185" y="188"/>
                  <a:pt x="185" y="188"/>
                  <a:pt x="185" y="188"/>
                </a:cubicBezTo>
                <a:cubicBezTo>
                  <a:pt x="185" y="187"/>
                  <a:pt x="185" y="187"/>
                  <a:pt x="185" y="187"/>
                </a:cubicBezTo>
                <a:cubicBezTo>
                  <a:pt x="186" y="185"/>
                  <a:pt x="186" y="185"/>
                  <a:pt x="186" y="185"/>
                </a:cubicBezTo>
                <a:cubicBezTo>
                  <a:pt x="185" y="184"/>
                  <a:pt x="185" y="184"/>
                  <a:pt x="185" y="184"/>
                </a:cubicBezTo>
                <a:cubicBezTo>
                  <a:pt x="184" y="182"/>
                  <a:pt x="184" y="182"/>
                  <a:pt x="184" y="182"/>
                </a:cubicBezTo>
                <a:cubicBezTo>
                  <a:pt x="185" y="181"/>
                  <a:pt x="185" y="181"/>
                  <a:pt x="185" y="181"/>
                </a:cubicBezTo>
                <a:cubicBezTo>
                  <a:pt x="184" y="180"/>
                  <a:pt x="184" y="180"/>
                  <a:pt x="184" y="180"/>
                </a:cubicBezTo>
                <a:cubicBezTo>
                  <a:pt x="185" y="178"/>
                  <a:pt x="185" y="178"/>
                  <a:pt x="185" y="178"/>
                </a:cubicBezTo>
                <a:cubicBezTo>
                  <a:pt x="184" y="178"/>
                  <a:pt x="184" y="178"/>
                  <a:pt x="184" y="178"/>
                </a:cubicBezTo>
                <a:cubicBezTo>
                  <a:pt x="184" y="175"/>
                  <a:pt x="184" y="175"/>
                  <a:pt x="184" y="175"/>
                </a:cubicBezTo>
                <a:cubicBezTo>
                  <a:pt x="185" y="175"/>
                  <a:pt x="185" y="175"/>
                  <a:pt x="185" y="175"/>
                </a:cubicBezTo>
                <a:cubicBezTo>
                  <a:pt x="184" y="173"/>
                  <a:pt x="184" y="173"/>
                  <a:pt x="184" y="173"/>
                </a:cubicBezTo>
                <a:cubicBezTo>
                  <a:pt x="184" y="171"/>
                  <a:pt x="184" y="171"/>
                  <a:pt x="184" y="171"/>
                </a:cubicBezTo>
                <a:cubicBezTo>
                  <a:pt x="184" y="169"/>
                  <a:pt x="184" y="169"/>
                  <a:pt x="184" y="169"/>
                </a:cubicBezTo>
                <a:cubicBezTo>
                  <a:pt x="185" y="168"/>
                  <a:pt x="185" y="168"/>
                  <a:pt x="185" y="168"/>
                </a:cubicBezTo>
                <a:cubicBezTo>
                  <a:pt x="186" y="169"/>
                  <a:pt x="186" y="169"/>
                  <a:pt x="186" y="169"/>
                </a:cubicBezTo>
                <a:cubicBezTo>
                  <a:pt x="186" y="169"/>
                  <a:pt x="186" y="169"/>
                  <a:pt x="186" y="169"/>
                </a:cubicBezTo>
                <a:cubicBezTo>
                  <a:pt x="186" y="170"/>
                  <a:pt x="186" y="170"/>
                  <a:pt x="186" y="170"/>
                </a:cubicBezTo>
                <a:cubicBezTo>
                  <a:pt x="187" y="169"/>
                  <a:pt x="187" y="169"/>
                  <a:pt x="187" y="169"/>
                </a:cubicBezTo>
                <a:cubicBezTo>
                  <a:pt x="189" y="169"/>
                  <a:pt x="189" y="169"/>
                  <a:pt x="189" y="169"/>
                </a:cubicBezTo>
                <a:cubicBezTo>
                  <a:pt x="191" y="169"/>
                  <a:pt x="191" y="169"/>
                  <a:pt x="191" y="169"/>
                </a:cubicBezTo>
                <a:cubicBezTo>
                  <a:pt x="192" y="169"/>
                  <a:pt x="192" y="169"/>
                  <a:pt x="192" y="169"/>
                </a:cubicBezTo>
                <a:cubicBezTo>
                  <a:pt x="193" y="169"/>
                  <a:pt x="193" y="169"/>
                  <a:pt x="193" y="169"/>
                </a:cubicBezTo>
                <a:cubicBezTo>
                  <a:pt x="194" y="168"/>
                  <a:pt x="194" y="168"/>
                  <a:pt x="194" y="168"/>
                </a:cubicBezTo>
                <a:cubicBezTo>
                  <a:pt x="195" y="169"/>
                  <a:pt x="195" y="169"/>
                  <a:pt x="195" y="169"/>
                </a:cubicBezTo>
                <a:cubicBezTo>
                  <a:pt x="199" y="170"/>
                  <a:pt x="199" y="170"/>
                  <a:pt x="199" y="170"/>
                </a:cubicBezTo>
                <a:cubicBezTo>
                  <a:pt x="201" y="170"/>
                  <a:pt x="201" y="170"/>
                  <a:pt x="201" y="170"/>
                </a:cubicBezTo>
                <a:cubicBezTo>
                  <a:pt x="202" y="170"/>
                  <a:pt x="202" y="170"/>
                  <a:pt x="202" y="170"/>
                </a:cubicBezTo>
                <a:cubicBezTo>
                  <a:pt x="202" y="172"/>
                  <a:pt x="202" y="172"/>
                  <a:pt x="202" y="172"/>
                </a:cubicBezTo>
                <a:cubicBezTo>
                  <a:pt x="201" y="172"/>
                  <a:pt x="201" y="172"/>
                  <a:pt x="201" y="172"/>
                </a:cubicBezTo>
                <a:cubicBezTo>
                  <a:pt x="202" y="173"/>
                  <a:pt x="202" y="173"/>
                  <a:pt x="202" y="173"/>
                </a:cubicBezTo>
                <a:cubicBezTo>
                  <a:pt x="202" y="175"/>
                  <a:pt x="202" y="175"/>
                  <a:pt x="202" y="175"/>
                </a:cubicBezTo>
                <a:cubicBezTo>
                  <a:pt x="203" y="176"/>
                  <a:pt x="203" y="176"/>
                  <a:pt x="203" y="176"/>
                </a:cubicBezTo>
                <a:cubicBezTo>
                  <a:pt x="203" y="178"/>
                  <a:pt x="203" y="178"/>
                  <a:pt x="203" y="178"/>
                </a:cubicBezTo>
                <a:cubicBezTo>
                  <a:pt x="204" y="180"/>
                  <a:pt x="204" y="180"/>
                  <a:pt x="204" y="180"/>
                </a:cubicBezTo>
                <a:cubicBezTo>
                  <a:pt x="203" y="183"/>
                  <a:pt x="203" y="183"/>
                  <a:pt x="203" y="183"/>
                </a:cubicBezTo>
                <a:cubicBezTo>
                  <a:pt x="204" y="184"/>
                  <a:pt x="204" y="184"/>
                  <a:pt x="204" y="184"/>
                </a:cubicBezTo>
                <a:cubicBezTo>
                  <a:pt x="203" y="185"/>
                  <a:pt x="203" y="185"/>
                  <a:pt x="203" y="185"/>
                </a:cubicBezTo>
                <a:cubicBezTo>
                  <a:pt x="204" y="186"/>
                  <a:pt x="204" y="186"/>
                  <a:pt x="204" y="186"/>
                </a:cubicBezTo>
                <a:cubicBezTo>
                  <a:pt x="204" y="187"/>
                  <a:pt x="204" y="187"/>
                  <a:pt x="204" y="187"/>
                </a:cubicBezTo>
                <a:cubicBezTo>
                  <a:pt x="203" y="188"/>
                  <a:pt x="203" y="188"/>
                  <a:pt x="203" y="188"/>
                </a:cubicBezTo>
                <a:cubicBezTo>
                  <a:pt x="203" y="189"/>
                  <a:pt x="203" y="189"/>
                  <a:pt x="203" y="189"/>
                </a:cubicBezTo>
                <a:cubicBezTo>
                  <a:pt x="205" y="190"/>
                  <a:pt x="205" y="190"/>
                  <a:pt x="205" y="190"/>
                </a:cubicBezTo>
                <a:cubicBezTo>
                  <a:pt x="206" y="192"/>
                  <a:pt x="206" y="192"/>
                  <a:pt x="206" y="192"/>
                </a:cubicBezTo>
                <a:cubicBezTo>
                  <a:pt x="207" y="192"/>
                  <a:pt x="207" y="192"/>
                  <a:pt x="207" y="192"/>
                </a:cubicBezTo>
                <a:cubicBezTo>
                  <a:pt x="207" y="193"/>
                  <a:pt x="207" y="193"/>
                  <a:pt x="207" y="193"/>
                </a:cubicBezTo>
                <a:cubicBezTo>
                  <a:pt x="208" y="192"/>
                  <a:pt x="208" y="192"/>
                  <a:pt x="208" y="192"/>
                </a:cubicBezTo>
                <a:cubicBezTo>
                  <a:pt x="209" y="193"/>
                  <a:pt x="209" y="193"/>
                  <a:pt x="209" y="193"/>
                </a:cubicBezTo>
                <a:cubicBezTo>
                  <a:pt x="209" y="195"/>
                  <a:pt x="209" y="195"/>
                  <a:pt x="209" y="195"/>
                </a:cubicBezTo>
                <a:cubicBezTo>
                  <a:pt x="211" y="196"/>
                  <a:pt x="211" y="196"/>
                  <a:pt x="211" y="196"/>
                </a:cubicBezTo>
                <a:cubicBezTo>
                  <a:pt x="212" y="198"/>
                  <a:pt x="212" y="198"/>
                  <a:pt x="212" y="198"/>
                </a:cubicBezTo>
                <a:cubicBezTo>
                  <a:pt x="212" y="202"/>
                  <a:pt x="212" y="202"/>
                  <a:pt x="212" y="202"/>
                </a:cubicBezTo>
                <a:cubicBezTo>
                  <a:pt x="213" y="203"/>
                  <a:pt x="213" y="203"/>
                  <a:pt x="213" y="203"/>
                </a:cubicBezTo>
                <a:cubicBezTo>
                  <a:pt x="213" y="203"/>
                  <a:pt x="213" y="203"/>
                  <a:pt x="213" y="203"/>
                </a:cubicBezTo>
                <a:cubicBezTo>
                  <a:pt x="213" y="204"/>
                  <a:pt x="213" y="204"/>
                  <a:pt x="213" y="204"/>
                </a:cubicBezTo>
                <a:cubicBezTo>
                  <a:pt x="214" y="206"/>
                  <a:pt x="214" y="206"/>
                  <a:pt x="214" y="206"/>
                </a:cubicBezTo>
                <a:cubicBezTo>
                  <a:pt x="214" y="208"/>
                  <a:pt x="214" y="208"/>
                  <a:pt x="214" y="208"/>
                </a:cubicBezTo>
                <a:cubicBezTo>
                  <a:pt x="216" y="211"/>
                  <a:pt x="216" y="211"/>
                  <a:pt x="216" y="211"/>
                </a:cubicBezTo>
                <a:cubicBezTo>
                  <a:pt x="215" y="212"/>
                  <a:pt x="215" y="212"/>
                  <a:pt x="215" y="212"/>
                </a:cubicBezTo>
                <a:cubicBezTo>
                  <a:pt x="216" y="214"/>
                  <a:pt x="216" y="214"/>
                  <a:pt x="216" y="214"/>
                </a:cubicBezTo>
                <a:cubicBezTo>
                  <a:pt x="218" y="214"/>
                  <a:pt x="218" y="214"/>
                  <a:pt x="218" y="214"/>
                </a:cubicBezTo>
                <a:cubicBezTo>
                  <a:pt x="217" y="216"/>
                  <a:pt x="217" y="216"/>
                  <a:pt x="217" y="216"/>
                </a:cubicBezTo>
                <a:cubicBezTo>
                  <a:pt x="218" y="216"/>
                  <a:pt x="218" y="216"/>
                  <a:pt x="218" y="216"/>
                </a:cubicBezTo>
                <a:cubicBezTo>
                  <a:pt x="218" y="219"/>
                  <a:pt x="218" y="219"/>
                  <a:pt x="218" y="219"/>
                </a:cubicBezTo>
                <a:cubicBezTo>
                  <a:pt x="221" y="222"/>
                  <a:pt x="221" y="222"/>
                  <a:pt x="221" y="222"/>
                </a:cubicBezTo>
                <a:cubicBezTo>
                  <a:pt x="223" y="223"/>
                  <a:pt x="223" y="223"/>
                  <a:pt x="223" y="223"/>
                </a:cubicBezTo>
                <a:cubicBezTo>
                  <a:pt x="223" y="224"/>
                  <a:pt x="223" y="224"/>
                  <a:pt x="223" y="224"/>
                </a:cubicBezTo>
                <a:cubicBezTo>
                  <a:pt x="224" y="224"/>
                  <a:pt x="224" y="224"/>
                  <a:pt x="224" y="224"/>
                </a:cubicBezTo>
                <a:cubicBezTo>
                  <a:pt x="226" y="226"/>
                  <a:pt x="226" y="226"/>
                  <a:pt x="226" y="226"/>
                </a:cubicBezTo>
                <a:cubicBezTo>
                  <a:pt x="226" y="227"/>
                  <a:pt x="226" y="227"/>
                  <a:pt x="226" y="227"/>
                </a:cubicBezTo>
                <a:cubicBezTo>
                  <a:pt x="226" y="227"/>
                  <a:pt x="226" y="227"/>
                  <a:pt x="226" y="227"/>
                </a:cubicBezTo>
                <a:cubicBezTo>
                  <a:pt x="226" y="228"/>
                  <a:pt x="226" y="228"/>
                  <a:pt x="226" y="228"/>
                </a:cubicBezTo>
                <a:cubicBezTo>
                  <a:pt x="225" y="230"/>
                  <a:pt x="225" y="230"/>
                  <a:pt x="225" y="230"/>
                </a:cubicBezTo>
                <a:cubicBezTo>
                  <a:pt x="226" y="232"/>
                  <a:pt x="226" y="232"/>
                  <a:pt x="226" y="232"/>
                </a:cubicBezTo>
                <a:cubicBezTo>
                  <a:pt x="228" y="233"/>
                  <a:pt x="228" y="233"/>
                  <a:pt x="228" y="233"/>
                </a:cubicBezTo>
                <a:cubicBezTo>
                  <a:pt x="228" y="235"/>
                  <a:pt x="228" y="235"/>
                  <a:pt x="228" y="235"/>
                </a:cubicBezTo>
                <a:cubicBezTo>
                  <a:pt x="227" y="236"/>
                  <a:pt x="227" y="236"/>
                  <a:pt x="227" y="236"/>
                </a:cubicBezTo>
                <a:cubicBezTo>
                  <a:pt x="227" y="237"/>
                  <a:pt x="227" y="237"/>
                  <a:pt x="227" y="237"/>
                </a:cubicBezTo>
                <a:cubicBezTo>
                  <a:pt x="226" y="238"/>
                  <a:pt x="226" y="238"/>
                  <a:pt x="226" y="238"/>
                </a:cubicBezTo>
                <a:cubicBezTo>
                  <a:pt x="226" y="239"/>
                  <a:pt x="226" y="239"/>
                  <a:pt x="226" y="239"/>
                </a:cubicBezTo>
                <a:cubicBezTo>
                  <a:pt x="226" y="241"/>
                  <a:pt x="226" y="241"/>
                  <a:pt x="226" y="241"/>
                </a:cubicBezTo>
                <a:cubicBezTo>
                  <a:pt x="225" y="242"/>
                  <a:pt x="225" y="242"/>
                  <a:pt x="225" y="242"/>
                </a:cubicBezTo>
                <a:cubicBezTo>
                  <a:pt x="225" y="243"/>
                  <a:pt x="225" y="243"/>
                  <a:pt x="225" y="243"/>
                </a:cubicBezTo>
                <a:cubicBezTo>
                  <a:pt x="226" y="242"/>
                  <a:pt x="226" y="242"/>
                  <a:pt x="226" y="242"/>
                </a:cubicBezTo>
                <a:cubicBezTo>
                  <a:pt x="226" y="243"/>
                  <a:pt x="226" y="243"/>
                  <a:pt x="226" y="243"/>
                </a:cubicBezTo>
                <a:cubicBezTo>
                  <a:pt x="225" y="244"/>
                  <a:pt x="225" y="244"/>
                  <a:pt x="225" y="244"/>
                </a:cubicBezTo>
                <a:cubicBezTo>
                  <a:pt x="225" y="247"/>
                  <a:pt x="225" y="247"/>
                  <a:pt x="225" y="247"/>
                </a:cubicBezTo>
                <a:cubicBezTo>
                  <a:pt x="224" y="247"/>
                  <a:pt x="224" y="247"/>
                  <a:pt x="224" y="247"/>
                </a:cubicBezTo>
                <a:cubicBezTo>
                  <a:pt x="223" y="247"/>
                  <a:pt x="223" y="247"/>
                  <a:pt x="223" y="247"/>
                </a:cubicBezTo>
                <a:cubicBezTo>
                  <a:pt x="223" y="248"/>
                  <a:pt x="223" y="248"/>
                  <a:pt x="223" y="248"/>
                </a:cubicBezTo>
                <a:cubicBezTo>
                  <a:pt x="224" y="249"/>
                  <a:pt x="224" y="249"/>
                  <a:pt x="224" y="249"/>
                </a:cubicBezTo>
                <a:cubicBezTo>
                  <a:pt x="224" y="250"/>
                  <a:pt x="224" y="250"/>
                  <a:pt x="224" y="250"/>
                </a:cubicBezTo>
                <a:cubicBezTo>
                  <a:pt x="223" y="251"/>
                  <a:pt x="223" y="251"/>
                  <a:pt x="223" y="251"/>
                </a:cubicBezTo>
                <a:cubicBezTo>
                  <a:pt x="222" y="252"/>
                  <a:pt x="222" y="252"/>
                  <a:pt x="222" y="252"/>
                </a:cubicBezTo>
                <a:cubicBezTo>
                  <a:pt x="219" y="252"/>
                  <a:pt x="219" y="252"/>
                  <a:pt x="219" y="252"/>
                </a:cubicBezTo>
                <a:cubicBezTo>
                  <a:pt x="218" y="251"/>
                  <a:pt x="218" y="251"/>
                  <a:pt x="218" y="251"/>
                </a:cubicBezTo>
                <a:cubicBezTo>
                  <a:pt x="220" y="250"/>
                  <a:pt x="220" y="250"/>
                  <a:pt x="220" y="250"/>
                </a:cubicBezTo>
                <a:cubicBezTo>
                  <a:pt x="220" y="249"/>
                  <a:pt x="220" y="249"/>
                  <a:pt x="220" y="249"/>
                </a:cubicBezTo>
                <a:cubicBezTo>
                  <a:pt x="219" y="249"/>
                  <a:pt x="219" y="249"/>
                  <a:pt x="219" y="249"/>
                </a:cubicBezTo>
                <a:cubicBezTo>
                  <a:pt x="219" y="250"/>
                  <a:pt x="219" y="250"/>
                  <a:pt x="219" y="250"/>
                </a:cubicBezTo>
                <a:cubicBezTo>
                  <a:pt x="218" y="250"/>
                  <a:pt x="218" y="250"/>
                  <a:pt x="218" y="250"/>
                </a:cubicBezTo>
                <a:cubicBezTo>
                  <a:pt x="215" y="248"/>
                  <a:pt x="215" y="248"/>
                  <a:pt x="215" y="248"/>
                </a:cubicBezTo>
                <a:cubicBezTo>
                  <a:pt x="214" y="249"/>
                  <a:pt x="214" y="249"/>
                  <a:pt x="214" y="249"/>
                </a:cubicBezTo>
                <a:cubicBezTo>
                  <a:pt x="211" y="250"/>
                  <a:pt x="211" y="250"/>
                  <a:pt x="211" y="250"/>
                </a:cubicBezTo>
                <a:cubicBezTo>
                  <a:pt x="209" y="250"/>
                  <a:pt x="209" y="250"/>
                  <a:pt x="209" y="250"/>
                </a:cubicBezTo>
                <a:cubicBezTo>
                  <a:pt x="208" y="251"/>
                  <a:pt x="208" y="251"/>
                  <a:pt x="208" y="251"/>
                </a:cubicBezTo>
                <a:cubicBezTo>
                  <a:pt x="209" y="251"/>
                  <a:pt x="209" y="251"/>
                  <a:pt x="209" y="251"/>
                </a:cubicBezTo>
                <a:cubicBezTo>
                  <a:pt x="209" y="252"/>
                  <a:pt x="209" y="252"/>
                  <a:pt x="209" y="252"/>
                </a:cubicBezTo>
                <a:cubicBezTo>
                  <a:pt x="210" y="251"/>
                  <a:pt x="210" y="251"/>
                  <a:pt x="210" y="251"/>
                </a:cubicBezTo>
                <a:cubicBezTo>
                  <a:pt x="212" y="250"/>
                  <a:pt x="212" y="250"/>
                  <a:pt x="212" y="250"/>
                </a:cubicBezTo>
                <a:cubicBezTo>
                  <a:pt x="212" y="252"/>
                  <a:pt x="212" y="252"/>
                  <a:pt x="212" y="252"/>
                </a:cubicBezTo>
                <a:cubicBezTo>
                  <a:pt x="214" y="253"/>
                  <a:pt x="214" y="253"/>
                  <a:pt x="214" y="253"/>
                </a:cubicBezTo>
                <a:cubicBezTo>
                  <a:pt x="219" y="254"/>
                  <a:pt x="219" y="254"/>
                  <a:pt x="219" y="254"/>
                </a:cubicBezTo>
                <a:cubicBezTo>
                  <a:pt x="221" y="255"/>
                  <a:pt x="221" y="255"/>
                  <a:pt x="221" y="255"/>
                </a:cubicBezTo>
                <a:cubicBezTo>
                  <a:pt x="223" y="254"/>
                  <a:pt x="223" y="254"/>
                  <a:pt x="223" y="254"/>
                </a:cubicBezTo>
                <a:cubicBezTo>
                  <a:pt x="225" y="254"/>
                  <a:pt x="225" y="254"/>
                  <a:pt x="225" y="254"/>
                </a:cubicBezTo>
                <a:cubicBezTo>
                  <a:pt x="226" y="255"/>
                  <a:pt x="226" y="255"/>
                  <a:pt x="226" y="255"/>
                </a:cubicBezTo>
                <a:cubicBezTo>
                  <a:pt x="228" y="255"/>
                  <a:pt x="228" y="255"/>
                  <a:pt x="228" y="255"/>
                </a:cubicBezTo>
                <a:cubicBezTo>
                  <a:pt x="230" y="254"/>
                  <a:pt x="230" y="254"/>
                  <a:pt x="230" y="254"/>
                </a:cubicBezTo>
                <a:cubicBezTo>
                  <a:pt x="230" y="253"/>
                  <a:pt x="230" y="253"/>
                  <a:pt x="230" y="253"/>
                </a:cubicBezTo>
                <a:cubicBezTo>
                  <a:pt x="229" y="252"/>
                  <a:pt x="229" y="252"/>
                  <a:pt x="229" y="252"/>
                </a:cubicBezTo>
                <a:cubicBezTo>
                  <a:pt x="229" y="250"/>
                  <a:pt x="229" y="250"/>
                  <a:pt x="229" y="250"/>
                </a:cubicBezTo>
                <a:cubicBezTo>
                  <a:pt x="230" y="249"/>
                  <a:pt x="230" y="249"/>
                  <a:pt x="230" y="249"/>
                </a:cubicBezTo>
                <a:cubicBezTo>
                  <a:pt x="231" y="249"/>
                  <a:pt x="231" y="249"/>
                  <a:pt x="231" y="249"/>
                </a:cubicBezTo>
                <a:cubicBezTo>
                  <a:pt x="231" y="248"/>
                  <a:pt x="231" y="248"/>
                  <a:pt x="231" y="248"/>
                </a:cubicBezTo>
                <a:cubicBezTo>
                  <a:pt x="233" y="246"/>
                  <a:pt x="233" y="246"/>
                  <a:pt x="233" y="246"/>
                </a:cubicBezTo>
                <a:cubicBezTo>
                  <a:pt x="233" y="245"/>
                  <a:pt x="233" y="245"/>
                  <a:pt x="233" y="245"/>
                </a:cubicBezTo>
                <a:cubicBezTo>
                  <a:pt x="234" y="242"/>
                  <a:pt x="234" y="242"/>
                  <a:pt x="234" y="242"/>
                </a:cubicBezTo>
                <a:cubicBezTo>
                  <a:pt x="233" y="240"/>
                  <a:pt x="233" y="240"/>
                  <a:pt x="233" y="240"/>
                </a:cubicBezTo>
                <a:cubicBezTo>
                  <a:pt x="233" y="238"/>
                  <a:pt x="233" y="238"/>
                  <a:pt x="233" y="238"/>
                </a:cubicBezTo>
                <a:cubicBezTo>
                  <a:pt x="235" y="235"/>
                  <a:pt x="235" y="235"/>
                  <a:pt x="235" y="235"/>
                </a:cubicBezTo>
                <a:cubicBezTo>
                  <a:pt x="236" y="234"/>
                  <a:pt x="236" y="234"/>
                  <a:pt x="236" y="234"/>
                </a:cubicBezTo>
                <a:cubicBezTo>
                  <a:pt x="234" y="229"/>
                  <a:pt x="234" y="229"/>
                  <a:pt x="234" y="229"/>
                </a:cubicBezTo>
                <a:cubicBezTo>
                  <a:pt x="231" y="227"/>
                  <a:pt x="231" y="227"/>
                  <a:pt x="231" y="227"/>
                </a:cubicBezTo>
                <a:cubicBezTo>
                  <a:pt x="230" y="226"/>
                  <a:pt x="230" y="226"/>
                  <a:pt x="230" y="226"/>
                </a:cubicBezTo>
                <a:cubicBezTo>
                  <a:pt x="230" y="223"/>
                  <a:pt x="230" y="223"/>
                  <a:pt x="230" y="223"/>
                </a:cubicBezTo>
                <a:cubicBezTo>
                  <a:pt x="232" y="221"/>
                  <a:pt x="232" y="221"/>
                  <a:pt x="232" y="221"/>
                </a:cubicBezTo>
                <a:cubicBezTo>
                  <a:pt x="233" y="220"/>
                  <a:pt x="233" y="220"/>
                  <a:pt x="233" y="220"/>
                </a:cubicBezTo>
                <a:cubicBezTo>
                  <a:pt x="235" y="220"/>
                  <a:pt x="235" y="220"/>
                  <a:pt x="235" y="220"/>
                </a:cubicBezTo>
                <a:cubicBezTo>
                  <a:pt x="237" y="217"/>
                  <a:pt x="237" y="217"/>
                  <a:pt x="237" y="217"/>
                </a:cubicBezTo>
                <a:cubicBezTo>
                  <a:pt x="239" y="217"/>
                  <a:pt x="239" y="217"/>
                  <a:pt x="239" y="217"/>
                </a:cubicBezTo>
                <a:cubicBezTo>
                  <a:pt x="241" y="219"/>
                  <a:pt x="241" y="219"/>
                  <a:pt x="241" y="219"/>
                </a:cubicBezTo>
                <a:cubicBezTo>
                  <a:pt x="241" y="221"/>
                  <a:pt x="241" y="221"/>
                  <a:pt x="241" y="221"/>
                </a:cubicBezTo>
                <a:cubicBezTo>
                  <a:pt x="243" y="222"/>
                  <a:pt x="243" y="222"/>
                  <a:pt x="243" y="222"/>
                </a:cubicBezTo>
                <a:cubicBezTo>
                  <a:pt x="244" y="223"/>
                  <a:pt x="244" y="223"/>
                  <a:pt x="244" y="223"/>
                </a:cubicBezTo>
                <a:cubicBezTo>
                  <a:pt x="244" y="223"/>
                  <a:pt x="244" y="223"/>
                  <a:pt x="244" y="223"/>
                </a:cubicBezTo>
                <a:cubicBezTo>
                  <a:pt x="246" y="224"/>
                  <a:pt x="246" y="224"/>
                  <a:pt x="246" y="224"/>
                </a:cubicBezTo>
                <a:cubicBezTo>
                  <a:pt x="245" y="226"/>
                  <a:pt x="245" y="226"/>
                  <a:pt x="245" y="226"/>
                </a:cubicBezTo>
                <a:cubicBezTo>
                  <a:pt x="247" y="227"/>
                  <a:pt x="247" y="227"/>
                  <a:pt x="247" y="227"/>
                </a:cubicBezTo>
                <a:cubicBezTo>
                  <a:pt x="247" y="228"/>
                  <a:pt x="247" y="228"/>
                  <a:pt x="247" y="228"/>
                </a:cubicBezTo>
                <a:cubicBezTo>
                  <a:pt x="248" y="230"/>
                  <a:pt x="248" y="230"/>
                  <a:pt x="248" y="230"/>
                </a:cubicBezTo>
                <a:cubicBezTo>
                  <a:pt x="248" y="231"/>
                  <a:pt x="248" y="231"/>
                  <a:pt x="248" y="231"/>
                </a:cubicBezTo>
                <a:cubicBezTo>
                  <a:pt x="248" y="232"/>
                  <a:pt x="248" y="232"/>
                  <a:pt x="248" y="232"/>
                </a:cubicBezTo>
                <a:cubicBezTo>
                  <a:pt x="249" y="233"/>
                  <a:pt x="249" y="233"/>
                  <a:pt x="249" y="233"/>
                </a:cubicBezTo>
                <a:cubicBezTo>
                  <a:pt x="250" y="233"/>
                  <a:pt x="250" y="233"/>
                  <a:pt x="250" y="233"/>
                </a:cubicBezTo>
                <a:cubicBezTo>
                  <a:pt x="252" y="234"/>
                  <a:pt x="252" y="234"/>
                  <a:pt x="252" y="234"/>
                </a:cubicBezTo>
                <a:cubicBezTo>
                  <a:pt x="254" y="234"/>
                  <a:pt x="254" y="234"/>
                  <a:pt x="254" y="234"/>
                </a:cubicBezTo>
                <a:cubicBezTo>
                  <a:pt x="255" y="234"/>
                  <a:pt x="255" y="234"/>
                  <a:pt x="255" y="234"/>
                </a:cubicBezTo>
                <a:cubicBezTo>
                  <a:pt x="256" y="234"/>
                  <a:pt x="256" y="234"/>
                  <a:pt x="256" y="234"/>
                </a:cubicBezTo>
                <a:cubicBezTo>
                  <a:pt x="257" y="233"/>
                  <a:pt x="257" y="233"/>
                  <a:pt x="257" y="233"/>
                </a:cubicBezTo>
                <a:cubicBezTo>
                  <a:pt x="258" y="232"/>
                  <a:pt x="258" y="232"/>
                  <a:pt x="258" y="232"/>
                </a:cubicBezTo>
                <a:cubicBezTo>
                  <a:pt x="257" y="232"/>
                  <a:pt x="257" y="232"/>
                  <a:pt x="257" y="232"/>
                </a:cubicBezTo>
                <a:cubicBezTo>
                  <a:pt x="256" y="232"/>
                  <a:pt x="256" y="232"/>
                  <a:pt x="256" y="232"/>
                </a:cubicBezTo>
                <a:cubicBezTo>
                  <a:pt x="255" y="231"/>
                  <a:pt x="255" y="231"/>
                  <a:pt x="255" y="231"/>
                </a:cubicBezTo>
                <a:cubicBezTo>
                  <a:pt x="254" y="233"/>
                  <a:pt x="254" y="233"/>
                  <a:pt x="254" y="233"/>
                </a:cubicBezTo>
                <a:cubicBezTo>
                  <a:pt x="252" y="233"/>
                  <a:pt x="252" y="233"/>
                  <a:pt x="252" y="233"/>
                </a:cubicBezTo>
                <a:cubicBezTo>
                  <a:pt x="252" y="232"/>
                  <a:pt x="252" y="232"/>
                  <a:pt x="252" y="232"/>
                </a:cubicBezTo>
                <a:cubicBezTo>
                  <a:pt x="250" y="232"/>
                  <a:pt x="250" y="232"/>
                  <a:pt x="250" y="232"/>
                </a:cubicBezTo>
                <a:cubicBezTo>
                  <a:pt x="249" y="231"/>
                  <a:pt x="249" y="231"/>
                  <a:pt x="249" y="231"/>
                </a:cubicBezTo>
                <a:cubicBezTo>
                  <a:pt x="250" y="230"/>
                  <a:pt x="250" y="230"/>
                  <a:pt x="250" y="230"/>
                </a:cubicBezTo>
                <a:cubicBezTo>
                  <a:pt x="249" y="229"/>
                  <a:pt x="249" y="229"/>
                  <a:pt x="249" y="229"/>
                </a:cubicBezTo>
                <a:cubicBezTo>
                  <a:pt x="248" y="228"/>
                  <a:pt x="248" y="228"/>
                  <a:pt x="248" y="228"/>
                </a:cubicBezTo>
                <a:cubicBezTo>
                  <a:pt x="248" y="225"/>
                  <a:pt x="248" y="225"/>
                  <a:pt x="248" y="225"/>
                </a:cubicBezTo>
                <a:cubicBezTo>
                  <a:pt x="250" y="225"/>
                  <a:pt x="250" y="225"/>
                  <a:pt x="250" y="225"/>
                </a:cubicBezTo>
                <a:cubicBezTo>
                  <a:pt x="251" y="224"/>
                  <a:pt x="251" y="224"/>
                  <a:pt x="251" y="224"/>
                </a:cubicBezTo>
                <a:cubicBezTo>
                  <a:pt x="250" y="224"/>
                  <a:pt x="250" y="224"/>
                  <a:pt x="250" y="224"/>
                </a:cubicBezTo>
                <a:cubicBezTo>
                  <a:pt x="249" y="223"/>
                  <a:pt x="249" y="223"/>
                  <a:pt x="249" y="223"/>
                </a:cubicBezTo>
                <a:cubicBezTo>
                  <a:pt x="249" y="222"/>
                  <a:pt x="249" y="222"/>
                  <a:pt x="249" y="222"/>
                </a:cubicBezTo>
                <a:cubicBezTo>
                  <a:pt x="249" y="221"/>
                  <a:pt x="249" y="221"/>
                  <a:pt x="249" y="221"/>
                </a:cubicBezTo>
                <a:cubicBezTo>
                  <a:pt x="247" y="220"/>
                  <a:pt x="247" y="220"/>
                  <a:pt x="247" y="220"/>
                </a:cubicBezTo>
                <a:cubicBezTo>
                  <a:pt x="247" y="219"/>
                  <a:pt x="247" y="219"/>
                  <a:pt x="247" y="219"/>
                </a:cubicBezTo>
                <a:cubicBezTo>
                  <a:pt x="245" y="217"/>
                  <a:pt x="245" y="217"/>
                  <a:pt x="245" y="217"/>
                </a:cubicBezTo>
                <a:cubicBezTo>
                  <a:pt x="243" y="217"/>
                  <a:pt x="243" y="217"/>
                  <a:pt x="243" y="217"/>
                </a:cubicBezTo>
                <a:cubicBezTo>
                  <a:pt x="240" y="216"/>
                  <a:pt x="240" y="216"/>
                  <a:pt x="240" y="216"/>
                </a:cubicBezTo>
                <a:cubicBezTo>
                  <a:pt x="239" y="215"/>
                  <a:pt x="239" y="215"/>
                  <a:pt x="239" y="215"/>
                </a:cubicBezTo>
                <a:cubicBezTo>
                  <a:pt x="238" y="215"/>
                  <a:pt x="238" y="215"/>
                  <a:pt x="238" y="215"/>
                </a:cubicBezTo>
                <a:cubicBezTo>
                  <a:pt x="236" y="214"/>
                  <a:pt x="236" y="214"/>
                  <a:pt x="236" y="214"/>
                </a:cubicBezTo>
                <a:cubicBezTo>
                  <a:pt x="234" y="214"/>
                  <a:pt x="234" y="214"/>
                  <a:pt x="234" y="214"/>
                </a:cubicBezTo>
                <a:cubicBezTo>
                  <a:pt x="233" y="214"/>
                  <a:pt x="233" y="214"/>
                  <a:pt x="233" y="214"/>
                </a:cubicBezTo>
                <a:cubicBezTo>
                  <a:pt x="231" y="215"/>
                  <a:pt x="231" y="215"/>
                  <a:pt x="231" y="215"/>
                </a:cubicBezTo>
                <a:cubicBezTo>
                  <a:pt x="231" y="217"/>
                  <a:pt x="231" y="217"/>
                  <a:pt x="231" y="217"/>
                </a:cubicBezTo>
                <a:cubicBezTo>
                  <a:pt x="230" y="218"/>
                  <a:pt x="230" y="218"/>
                  <a:pt x="230" y="218"/>
                </a:cubicBezTo>
                <a:cubicBezTo>
                  <a:pt x="228" y="217"/>
                  <a:pt x="228" y="217"/>
                  <a:pt x="228" y="217"/>
                </a:cubicBezTo>
                <a:cubicBezTo>
                  <a:pt x="226" y="218"/>
                  <a:pt x="226" y="218"/>
                  <a:pt x="226" y="218"/>
                </a:cubicBezTo>
                <a:cubicBezTo>
                  <a:pt x="224" y="218"/>
                  <a:pt x="224" y="218"/>
                  <a:pt x="224" y="218"/>
                </a:cubicBezTo>
                <a:cubicBezTo>
                  <a:pt x="224" y="217"/>
                  <a:pt x="224" y="217"/>
                  <a:pt x="224" y="217"/>
                </a:cubicBezTo>
                <a:cubicBezTo>
                  <a:pt x="224" y="215"/>
                  <a:pt x="224" y="215"/>
                  <a:pt x="224" y="215"/>
                </a:cubicBezTo>
                <a:cubicBezTo>
                  <a:pt x="224" y="214"/>
                  <a:pt x="224" y="214"/>
                  <a:pt x="224" y="214"/>
                </a:cubicBezTo>
                <a:cubicBezTo>
                  <a:pt x="221" y="211"/>
                  <a:pt x="221" y="211"/>
                  <a:pt x="221" y="211"/>
                </a:cubicBezTo>
                <a:cubicBezTo>
                  <a:pt x="220" y="210"/>
                  <a:pt x="220" y="210"/>
                  <a:pt x="220" y="210"/>
                </a:cubicBezTo>
                <a:cubicBezTo>
                  <a:pt x="221" y="207"/>
                  <a:pt x="221" y="207"/>
                  <a:pt x="221" y="207"/>
                </a:cubicBezTo>
                <a:cubicBezTo>
                  <a:pt x="219" y="205"/>
                  <a:pt x="219" y="205"/>
                  <a:pt x="219" y="205"/>
                </a:cubicBezTo>
                <a:cubicBezTo>
                  <a:pt x="220" y="203"/>
                  <a:pt x="220" y="203"/>
                  <a:pt x="220" y="203"/>
                </a:cubicBezTo>
                <a:cubicBezTo>
                  <a:pt x="220" y="199"/>
                  <a:pt x="220" y="199"/>
                  <a:pt x="220" y="199"/>
                </a:cubicBezTo>
                <a:cubicBezTo>
                  <a:pt x="219" y="197"/>
                  <a:pt x="219" y="197"/>
                  <a:pt x="219" y="197"/>
                </a:cubicBezTo>
                <a:cubicBezTo>
                  <a:pt x="217" y="195"/>
                  <a:pt x="217" y="195"/>
                  <a:pt x="217" y="195"/>
                </a:cubicBezTo>
                <a:cubicBezTo>
                  <a:pt x="216" y="195"/>
                  <a:pt x="216" y="195"/>
                  <a:pt x="216" y="195"/>
                </a:cubicBezTo>
                <a:cubicBezTo>
                  <a:pt x="215" y="193"/>
                  <a:pt x="215" y="193"/>
                  <a:pt x="215" y="193"/>
                </a:cubicBezTo>
                <a:cubicBezTo>
                  <a:pt x="212" y="191"/>
                  <a:pt x="212" y="191"/>
                  <a:pt x="212" y="191"/>
                </a:cubicBezTo>
                <a:cubicBezTo>
                  <a:pt x="210" y="190"/>
                  <a:pt x="210" y="190"/>
                  <a:pt x="210" y="190"/>
                </a:cubicBezTo>
                <a:cubicBezTo>
                  <a:pt x="210" y="188"/>
                  <a:pt x="210" y="188"/>
                  <a:pt x="210" y="188"/>
                </a:cubicBezTo>
                <a:cubicBezTo>
                  <a:pt x="211" y="186"/>
                  <a:pt x="211" y="186"/>
                  <a:pt x="211" y="186"/>
                </a:cubicBezTo>
                <a:cubicBezTo>
                  <a:pt x="210" y="184"/>
                  <a:pt x="210" y="184"/>
                  <a:pt x="210" y="184"/>
                </a:cubicBezTo>
                <a:cubicBezTo>
                  <a:pt x="209" y="183"/>
                  <a:pt x="209" y="183"/>
                  <a:pt x="209" y="183"/>
                </a:cubicBezTo>
                <a:cubicBezTo>
                  <a:pt x="209" y="182"/>
                  <a:pt x="209" y="182"/>
                  <a:pt x="209" y="182"/>
                </a:cubicBezTo>
                <a:cubicBezTo>
                  <a:pt x="211" y="181"/>
                  <a:pt x="211" y="181"/>
                  <a:pt x="211" y="181"/>
                </a:cubicBezTo>
                <a:cubicBezTo>
                  <a:pt x="213" y="178"/>
                  <a:pt x="213" y="178"/>
                  <a:pt x="213" y="178"/>
                </a:cubicBezTo>
                <a:cubicBezTo>
                  <a:pt x="214" y="176"/>
                  <a:pt x="214" y="176"/>
                  <a:pt x="214" y="176"/>
                </a:cubicBezTo>
                <a:cubicBezTo>
                  <a:pt x="213" y="172"/>
                  <a:pt x="213" y="172"/>
                  <a:pt x="213" y="172"/>
                </a:cubicBezTo>
                <a:cubicBezTo>
                  <a:pt x="210" y="167"/>
                  <a:pt x="210" y="167"/>
                  <a:pt x="210" y="167"/>
                </a:cubicBezTo>
                <a:cubicBezTo>
                  <a:pt x="211" y="167"/>
                  <a:pt x="211" y="167"/>
                  <a:pt x="211" y="167"/>
                </a:cubicBezTo>
                <a:cubicBezTo>
                  <a:pt x="213" y="168"/>
                  <a:pt x="213" y="168"/>
                  <a:pt x="213" y="168"/>
                </a:cubicBezTo>
                <a:cubicBezTo>
                  <a:pt x="213" y="170"/>
                  <a:pt x="213" y="170"/>
                  <a:pt x="213" y="170"/>
                </a:cubicBezTo>
                <a:cubicBezTo>
                  <a:pt x="214" y="170"/>
                  <a:pt x="214" y="170"/>
                  <a:pt x="214" y="170"/>
                </a:cubicBezTo>
                <a:cubicBezTo>
                  <a:pt x="214" y="170"/>
                  <a:pt x="214" y="170"/>
                  <a:pt x="214" y="170"/>
                </a:cubicBezTo>
                <a:cubicBezTo>
                  <a:pt x="215" y="172"/>
                  <a:pt x="215" y="172"/>
                  <a:pt x="215" y="172"/>
                </a:cubicBezTo>
                <a:cubicBezTo>
                  <a:pt x="216" y="174"/>
                  <a:pt x="216" y="174"/>
                  <a:pt x="216" y="174"/>
                </a:cubicBezTo>
                <a:cubicBezTo>
                  <a:pt x="216" y="177"/>
                  <a:pt x="216" y="177"/>
                  <a:pt x="216" y="177"/>
                </a:cubicBezTo>
                <a:cubicBezTo>
                  <a:pt x="217" y="178"/>
                  <a:pt x="217" y="178"/>
                  <a:pt x="217" y="178"/>
                </a:cubicBezTo>
                <a:cubicBezTo>
                  <a:pt x="216" y="180"/>
                  <a:pt x="216" y="180"/>
                  <a:pt x="216" y="180"/>
                </a:cubicBezTo>
                <a:cubicBezTo>
                  <a:pt x="217" y="181"/>
                  <a:pt x="217" y="181"/>
                  <a:pt x="217" y="181"/>
                </a:cubicBezTo>
                <a:cubicBezTo>
                  <a:pt x="219" y="183"/>
                  <a:pt x="219" y="183"/>
                  <a:pt x="219" y="183"/>
                </a:cubicBezTo>
                <a:cubicBezTo>
                  <a:pt x="219" y="184"/>
                  <a:pt x="219" y="184"/>
                  <a:pt x="219" y="184"/>
                </a:cubicBezTo>
                <a:cubicBezTo>
                  <a:pt x="220" y="185"/>
                  <a:pt x="220" y="185"/>
                  <a:pt x="220" y="185"/>
                </a:cubicBezTo>
                <a:cubicBezTo>
                  <a:pt x="220" y="186"/>
                  <a:pt x="220" y="186"/>
                  <a:pt x="220" y="186"/>
                </a:cubicBezTo>
                <a:cubicBezTo>
                  <a:pt x="219" y="186"/>
                  <a:pt x="219" y="186"/>
                  <a:pt x="219" y="186"/>
                </a:cubicBezTo>
                <a:cubicBezTo>
                  <a:pt x="219" y="187"/>
                  <a:pt x="219" y="187"/>
                  <a:pt x="219" y="187"/>
                </a:cubicBezTo>
                <a:cubicBezTo>
                  <a:pt x="221" y="187"/>
                  <a:pt x="221" y="187"/>
                  <a:pt x="221" y="187"/>
                </a:cubicBezTo>
                <a:cubicBezTo>
                  <a:pt x="223" y="188"/>
                  <a:pt x="223" y="188"/>
                  <a:pt x="223" y="188"/>
                </a:cubicBezTo>
                <a:cubicBezTo>
                  <a:pt x="225" y="188"/>
                  <a:pt x="225" y="188"/>
                  <a:pt x="225" y="188"/>
                </a:cubicBezTo>
                <a:cubicBezTo>
                  <a:pt x="226" y="188"/>
                  <a:pt x="226" y="188"/>
                  <a:pt x="226" y="188"/>
                </a:cubicBezTo>
                <a:cubicBezTo>
                  <a:pt x="227" y="189"/>
                  <a:pt x="227" y="189"/>
                  <a:pt x="227" y="189"/>
                </a:cubicBezTo>
                <a:cubicBezTo>
                  <a:pt x="228" y="190"/>
                  <a:pt x="228" y="190"/>
                  <a:pt x="228" y="190"/>
                </a:cubicBezTo>
                <a:cubicBezTo>
                  <a:pt x="229" y="188"/>
                  <a:pt x="229" y="188"/>
                  <a:pt x="229" y="188"/>
                </a:cubicBezTo>
                <a:cubicBezTo>
                  <a:pt x="230" y="188"/>
                  <a:pt x="230" y="188"/>
                  <a:pt x="230" y="188"/>
                </a:cubicBezTo>
                <a:cubicBezTo>
                  <a:pt x="231" y="187"/>
                  <a:pt x="231" y="187"/>
                  <a:pt x="231" y="187"/>
                </a:cubicBezTo>
                <a:cubicBezTo>
                  <a:pt x="233" y="188"/>
                  <a:pt x="233" y="188"/>
                  <a:pt x="233" y="188"/>
                </a:cubicBezTo>
                <a:cubicBezTo>
                  <a:pt x="234" y="190"/>
                  <a:pt x="234" y="190"/>
                  <a:pt x="234" y="190"/>
                </a:cubicBezTo>
                <a:cubicBezTo>
                  <a:pt x="235" y="190"/>
                  <a:pt x="235" y="190"/>
                  <a:pt x="235" y="190"/>
                </a:cubicBezTo>
                <a:cubicBezTo>
                  <a:pt x="237" y="191"/>
                  <a:pt x="237" y="191"/>
                  <a:pt x="237" y="191"/>
                </a:cubicBezTo>
                <a:cubicBezTo>
                  <a:pt x="240" y="190"/>
                  <a:pt x="240" y="190"/>
                  <a:pt x="240" y="190"/>
                </a:cubicBezTo>
                <a:cubicBezTo>
                  <a:pt x="241" y="189"/>
                  <a:pt x="241" y="189"/>
                  <a:pt x="241" y="189"/>
                </a:cubicBezTo>
                <a:cubicBezTo>
                  <a:pt x="239" y="190"/>
                  <a:pt x="239" y="190"/>
                  <a:pt x="239" y="190"/>
                </a:cubicBezTo>
                <a:cubicBezTo>
                  <a:pt x="237" y="190"/>
                  <a:pt x="237" y="190"/>
                  <a:pt x="237" y="190"/>
                </a:cubicBezTo>
                <a:cubicBezTo>
                  <a:pt x="237" y="188"/>
                  <a:pt x="237" y="188"/>
                  <a:pt x="237" y="188"/>
                </a:cubicBezTo>
                <a:cubicBezTo>
                  <a:pt x="236" y="188"/>
                  <a:pt x="236" y="188"/>
                  <a:pt x="236" y="188"/>
                </a:cubicBezTo>
                <a:cubicBezTo>
                  <a:pt x="235" y="186"/>
                  <a:pt x="235" y="186"/>
                  <a:pt x="235" y="186"/>
                </a:cubicBezTo>
                <a:cubicBezTo>
                  <a:pt x="233" y="186"/>
                  <a:pt x="233" y="186"/>
                  <a:pt x="233" y="186"/>
                </a:cubicBezTo>
                <a:cubicBezTo>
                  <a:pt x="233" y="185"/>
                  <a:pt x="233" y="185"/>
                  <a:pt x="233" y="185"/>
                </a:cubicBezTo>
                <a:cubicBezTo>
                  <a:pt x="232" y="185"/>
                  <a:pt x="232" y="185"/>
                  <a:pt x="232" y="185"/>
                </a:cubicBezTo>
                <a:cubicBezTo>
                  <a:pt x="231" y="186"/>
                  <a:pt x="231" y="186"/>
                  <a:pt x="231" y="186"/>
                </a:cubicBezTo>
                <a:cubicBezTo>
                  <a:pt x="228" y="186"/>
                  <a:pt x="228" y="186"/>
                  <a:pt x="228" y="186"/>
                </a:cubicBezTo>
                <a:cubicBezTo>
                  <a:pt x="227" y="185"/>
                  <a:pt x="227" y="185"/>
                  <a:pt x="227" y="185"/>
                </a:cubicBezTo>
                <a:cubicBezTo>
                  <a:pt x="225" y="185"/>
                  <a:pt x="225" y="185"/>
                  <a:pt x="225" y="185"/>
                </a:cubicBezTo>
                <a:cubicBezTo>
                  <a:pt x="223" y="183"/>
                  <a:pt x="223" y="183"/>
                  <a:pt x="223" y="183"/>
                </a:cubicBezTo>
                <a:cubicBezTo>
                  <a:pt x="222" y="181"/>
                  <a:pt x="222" y="181"/>
                  <a:pt x="222" y="181"/>
                </a:cubicBezTo>
                <a:cubicBezTo>
                  <a:pt x="222" y="181"/>
                  <a:pt x="222" y="181"/>
                  <a:pt x="222" y="181"/>
                </a:cubicBezTo>
                <a:cubicBezTo>
                  <a:pt x="220" y="178"/>
                  <a:pt x="220" y="178"/>
                  <a:pt x="220" y="178"/>
                </a:cubicBezTo>
                <a:cubicBezTo>
                  <a:pt x="221" y="178"/>
                  <a:pt x="221" y="178"/>
                  <a:pt x="221" y="178"/>
                </a:cubicBezTo>
                <a:cubicBezTo>
                  <a:pt x="221" y="177"/>
                  <a:pt x="221" y="177"/>
                  <a:pt x="221" y="177"/>
                </a:cubicBezTo>
                <a:cubicBezTo>
                  <a:pt x="223" y="176"/>
                  <a:pt x="223" y="176"/>
                  <a:pt x="223" y="176"/>
                </a:cubicBezTo>
                <a:cubicBezTo>
                  <a:pt x="224" y="176"/>
                  <a:pt x="224" y="176"/>
                  <a:pt x="224" y="176"/>
                </a:cubicBezTo>
                <a:cubicBezTo>
                  <a:pt x="226" y="178"/>
                  <a:pt x="226" y="178"/>
                  <a:pt x="226" y="178"/>
                </a:cubicBezTo>
                <a:cubicBezTo>
                  <a:pt x="228" y="179"/>
                  <a:pt x="228" y="179"/>
                  <a:pt x="228" y="179"/>
                </a:cubicBezTo>
                <a:cubicBezTo>
                  <a:pt x="230" y="179"/>
                  <a:pt x="230" y="179"/>
                  <a:pt x="230" y="179"/>
                </a:cubicBezTo>
                <a:cubicBezTo>
                  <a:pt x="232" y="176"/>
                  <a:pt x="232" y="176"/>
                  <a:pt x="232" y="176"/>
                </a:cubicBezTo>
                <a:cubicBezTo>
                  <a:pt x="230" y="174"/>
                  <a:pt x="230" y="174"/>
                  <a:pt x="230" y="174"/>
                </a:cubicBezTo>
                <a:cubicBezTo>
                  <a:pt x="228" y="173"/>
                  <a:pt x="228" y="173"/>
                  <a:pt x="228" y="173"/>
                </a:cubicBezTo>
                <a:cubicBezTo>
                  <a:pt x="226" y="175"/>
                  <a:pt x="226" y="175"/>
                  <a:pt x="226" y="175"/>
                </a:cubicBezTo>
                <a:cubicBezTo>
                  <a:pt x="225" y="174"/>
                  <a:pt x="225" y="174"/>
                  <a:pt x="225" y="174"/>
                </a:cubicBezTo>
                <a:cubicBezTo>
                  <a:pt x="226" y="173"/>
                  <a:pt x="226" y="173"/>
                  <a:pt x="226" y="173"/>
                </a:cubicBezTo>
                <a:cubicBezTo>
                  <a:pt x="226" y="173"/>
                  <a:pt x="226" y="173"/>
                  <a:pt x="226" y="173"/>
                </a:cubicBezTo>
                <a:cubicBezTo>
                  <a:pt x="227" y="173"/>
                  <a:pt x="227" y="173"/>
                  <a:pt x="227" y="173"/>
                </a:cubicBezTo>
                <a:cubicBezTo>
                  <a:pt x="227" y="172"/>
                  <a:pt x="227" y="172"/>
                  <a:pt x="227" y="172"/>
                </a:cubicBezTo>
                <a:cubicBezTo>
                  <a:pt x="229" y="169"/>
                  <a:pt x="229" y="169"/>
                  <a:pt x="229" y="169"/>
                </a:cubicBezTo>
                <a:cubicBezTo>
                  <a:pt x="230" y="168"/>
                  <a:pt x="230" y="168"/>
                  <a:pt x="230" y="168"/>
                </a:cubicBezTo>
                <a:cubicBezTo>
                  <a:pt x="231" y="169"/>
                  <a:pt x="231" y="169"/>
                  <a:pt x="231" y="169"/>
                </a:cubicBezTo>
                <a:cubicBezTo>
                  <a:pt x="236" y="169"/>
                  <a:pt x="236" y="169"/>
                  <a:pt x="236" y="169"/>
                </a:cubicBezTo>
                <a:cubicBezTo>
                  <a:pt x="237" y="170"/>
                  <a:pt x="237" y="170"/>
                  <a:pt x="237" y="170"/>
                </a:cubicBezTo>
                <a:cubicBezTo>
                  <a:pt x="239" y="171"/>
                  <a:pt x="239" y="171"/>
                  <a:pt x="239" y="171"/>
                </a:cubicBezTo>
                <a:cubicBezTo>
                  <a:pt x="242" y="172"/>
                  <a:pt x="242" y="172"/>
                  <a:pt x="242" y="172"/>
                </a:cubicBezTo>
                <a:cubicBezTo>
                  <a:pt x="243" y="173"/>
                  <a:pt x="243" y="173"/>
                  <a:pt x="243" y="173"/>
                </a:cubicBezTo>
                <a:cubicBezTo>
                  <a:pt x="244" y="174"/>
                  <a:pt x="244" y="174"/>
                  <a:pt x="244" y="174"/>
                </a:cubicBezTo>
                <a:cubicBezTo>
                  <a:pt x="247" y="177"/>
                  <a:pt x="247" y="177"/>
                  <a:pt x="247" y="177"/>
                </a:cubicBezTo>
                <a:cubicBezTo>
                  <a:pt x="248" y="177"/>
                  <a:pt x="248" y="177"/>
                  <a:pt x="248" y="177"/>
                </a:cubicBezTo>
                <a:cubicBezTo>
                  <a:pt x="252" y="176"/>
                  <a:pt x="252" y="176"/>
                  <a:pt x="252" y="176"/>
                </a:cubicBezTo>
                <a:cubicBezTo>
                  <a:pt x="254" y="175"/>
                  <a:pt x="254" y="175"/>
                  <a:pt x="254" y="175"/>
                </a:cubicBezTo>
                <a:cubicBezTo>
                  <a:pt x="255" y="176"/>
                  <a:pt x="255" y="176"/>
                  <a:pt x="255" y="176"/>
                </a:cubicBezTo>
                <a:cubicBezTo>
                  <a:pt x="256" y="175"/>
                  <a:pt x="256" y="175"/>
                  <a:pt x="256" y="175"/>
                </a:cubicBezTo>
                <a:cubicBezTo>
                  <a:pt x="257" y="176"/>
                  <a:pt x="257" y="176"/>
                  <a:pt x="257" y="176"/>
                </a:cubicBezTo>
                <a:cubicBezTo>
                  <a:pt x="257" y="178"/>
                  <a:pt x="257" y="178"/>
                  <a:pt x="257" y="178"/>
                </a:cubicBezTo>
                <a:cubicBezTo>
                  <a:pt x="257" y="179"/>
                  <a:pt x="257" y="179"/>
                  <a:pt x="257" y="179"/>
                </a:cubicBezTo>
                <a:cubicBezTo>
                  <a:pt x="257" y="180"/>
                  <a:pt x="257" y="180"/>
                  <a:pt x="257" y="180"/>
                </a:cubicBezTo>
                <a:cubicBezTo>
                  <a:pt x="255" y="181"/>
                  <a:pt x="255" y="181"/>
                  <a:pt x="255" y="181"/>
                </a:cubicBezTo>
                <a:cubicBezTo>
                  <a:pt x="255" y="183"/>
                  <a:pt x="255" y="183"/>
                  <a:pt x="255" y="183"/>
                </a:cubicBezTo>
                <a:cubicBezTo>
                  <a:pt x="256" y="184"/>
                  <a:pt x="256" y="184"/>
                  <a:pt x="256" y="184"/>
                </a:cubicBezTo>
                <a:cubicBezTo>
                  <a:pt x="256" y="186"/>
                  <a:pt x="256" y="186"/>
                  <a:pt x="256" y="186"/>
                </a:cubicBezTo>
                <a:cubicBezTo>
                  <a:pt x="258" y="188"/>
                  <a:pt x="258" y="188"/>
                  <a:pt x="258" y="188"/>
                </a:cubicBezTo>
                <a:cubicBezTo>
                  <a:pt x="258" y="189"/>
                  <a:pt x="258" y="189"/>
                  <a:pt x="258" y="189"/>
                </a:cubicBezTo>
                <a:cubicBezTo>
                  <a:pt x="257" y="190"/>
                  <a:pt x="257" y="190"/>
                  <a:pt x="257" y="190"/>
                </a:cubicBezTo>
                <a:cubicBezTo>
                  <a:pt x="258" y="194"/>
                  <a:pt x="258" y="194"/>
                  <a:pt x="258" y="194"/>
                </a:cubicBezTo>
                <a:cubicBezTo>
                  <a:pt x="259" y="194"/>
                  <a:pt x="259" y="194"/>
                  <a:pt x="259" y="194"/>
                </a:cubicBezTo>
                <a:cubicBezTo>
                  <a:pt x="259" y="193"/>
                  <a:pt x="259" y="193"/>
                  <a:pt x="259" y="193"/>
                </a:cubicBezTo>
                <a:cubicBezTo>
                  <a:pt x="259" y="192"/>
                  <a:pt x="259" y="192"/>
                  <a:pt x="259" y="192"/>
                </a:cubicBezTo>
                <a:cubicBezTo>
                  <a:pt x="260" y="191"/>
                  <a:pt x="260" y="191"/>
                  <a:pt x="260" y="191"/>
                </a:cubicBezTo>
                <a:cubicBezTo>
                  <a:pt x="259" y="190"/>
                  <a:pt x="259" y="190"/>
                  <a:pt x="259" y="190"/>
                </a:cubicBezTo>
                <a:cubicBezTo>
                  <a:pt x="260" y="189"/>
                  <a:pt x="260" y="189"/>
                  <a:pt x="260" y="189"/>
                </a:cubicBezTo>
                <a:cubicBezTo>
                  <a:pt x="261" y="187"/>
                  <a:pt x="261" y="187"/>
                  <a:pt x="261" y="187"/>
                </a:cubicBezTo>
                <a:cubicBezTo>
                  <a:pt x="262" y="188"/>
                  <a:pt x="262" y="188"/>
                  <a:pt x="262" y="188"/>
                </a:cubicBezTo>
                <a:cubicBezTo>
                  <a:pt x="263" y="190"/>
                  <a:pt x="263" y="190"/>
                  <a:pt x="263" y="190"/>
                </a:cubicBezTo>
                <a:cubicBezTo>
                  <a:pt x="263" y="193"/>
                  <a:pt x="263" y="193"/>
                  <a:pt x="263" y="193"/>
                </a:cubicBezTo>
                <a:cubicBezTo>
                  <a:pt x="263" y="194"/>
                  <a:pt x="263" y="194"/>
                  <a:pt x="263" y="194"/>
                </a:cubicBezTo>
                <a:cubicBezTo>
                  <a:pt x="263" y="195"/>
                  <a:pt x="263" y="195"/>
                  <a:pt x="263" y="195"/>
                </a:cubicBezTo>
                <a:cubicBezTo>
                  <a:pt x="263" y="196"/>
                  <a:pt x="263" y="196"/>
                  <a:pt x="263" y="196"/>
                </a:cubicBezTo>
                <a:cubicBezTo>
                  <a:pt x="262" y="197"/>
                  <a:pt x="262" y="197"/>
                  <a:pt x="262" y="197"/>
                </a:cubicBezTo>
                <a:cubicBezTo>
                  <a:pt x="264" y="198"/>
                  <a:pt x="264" y="198"/>
                  <a:pt x="264" y="198"/>
                </a:cubicBezTo>
                <a:cubicBezTo>
                  <a:pt x="266" y="198"/>
                  <a:pt x="266" y="198"/>
                  <a:pt x="266" y="198"/>
                </a:cubicBezTo>
                <a:cubicBezTo>
                  <a:pt x="268" y="198"/>
                  <a:pt x="268" y="198"/>
                  <a:pt x="268" y="198"/>
                </a:cubicBezTo>
                <a:cubicBezTo>
                  <a:pt x="269" y="200"/>
                  <a:pt x="269" y="200"/>
                  <a:pt x="269" y="200"/>
                </a:cubicBezTo>
                <a:cubicBezTo>
                  <a:pt x="269" y="201"/>
                  <a:pt x="269" y="201"/>
                  <a:pt x="269" y="201"/>
                </a:cubicBezTo>
                <a:cubicBezTo>
                  <a:pt x="271" y="202"/>
                  <a:pt x="271" y="202"/>
                  <a:pt x="271" y="202"/>
                </a:cubicBezTo>
                <a:cubicBezTo>
                  <a:pt x="273" y="202"/>
                  <a:pt x="273" y="202"/>
                  <a:pt x="273" y="202"/>
                </a:cubicBezTo>
                <a:cubicBezTo>
                  <a:pt x="276" y="205"/>
                  <a:pt x="276" y="205"/>
                  <a:pt x="276" y="205"/>
                </a:cubicBezTo>
                <a:cubicBezTo>
                  <a:pt x="275" y="204"/>
                  <a:pt x="275" y="204"/>
                  <a:pt x="275" y="204"/>
                </a:cubicBezTo>
                <a:cubicBezTo>
                  <a:pt x="276" y="202"/>
                  <a:pt x="276" y="202"/>
                  <a:pt x="276" y="202"/>
                </a:cubicBezTo>
                <a:cubicBezTo>
                  <a:pt x="277" y="200"/>
                  <a:pt x="277" y="200"/>
                  <a:pt x="277" y="200"/>
                </a:cubicBezTo>
                <a:cubicBezTo>
                  <a:pt x="279" y="200"/>
                  <a:pt x="279" y="200"/>
                  <a:pt x="279" y="200"/>
                </a:cubicBezTo>
                <a:cubicBezTo>
                  <a:pt x="282" y="202"/>
                  <a:pt x="282" y="202"/>
                  <a:pt x="282" y="202"/>
                </a:cubicBezTo>
                <a:cubicBezTo>
                  <a:pt x="283" y="202"/>
                  <a:pt x="283" y="202"/>
                  <a:pt x="283" y="202"/>
                </a:cubicBezTo>
                <a:cubicBezTo>
                  <a:pt x="284" y="204"/>
                  <a:pt x="284" y="204"/>
                  <a:pt x="284" y="204"/>
                </a:cubicBezTo>
                <a:cubicBezTo>
                  <a:pt x="285" y="206"/>
                  <a:pt x="285" y="206"/>
                  <a:pt x="285" y="206"/>
                </a:cubicBezTo>
                <a:cubicBezTo>
                  <a:pt x="285" y="203"/>
                  <a:pt x="285" y="203"/>
                  <a:pt x="285" y="203"/>
                </a:cubicBezTo>
                <a:cubicBezTo>
                  <a:pt x="284" y="202"/>
                  <a:pt x="284" y="202"/>
                  <a:pt x="284" y="202"/>
                </a:cubicBezTo>
                <a:cubicBezTo>
                  <a:pt x="283" y="202"/>
                  <a:pt x="283" y="202"/>
                  <a:pt x="283" y="202"/>
                </a:cubicBezTo>
                <a:cubicBezTo>
                  <a:pt x="281" y="201"/>
                  <a:pt x="281" y="201"/>
                  <a:pt x="281" y="201"/>
                </a:cubicBezTo>
                <a:cubicBezTo>
                  <a:pt x="279" y="200"/>
                  <a:pt x="279" y="200"/>
                  <a:pt x="279" y="200"/>
                </a:cubicBezTo>
                <a:cubicBezTo>
                  <a:pt x="277" y="200"/>
                  <a:pt x="277" y="200"/>
                  <a:pt x="277" y="200"/>
                </a:cubicBezTo>
                <a:cubicBezTo>
                  <a:pt x="275" y="202"/>
                  <a:pt x="275" y="202"/>
                  <a:pt x="275" y="202"/>
                </a:cubicBezTo>
                <a:cubicBezTo>
                  <a:pt x="274" y="201"/>
                  <a:pt x="274" y="201"/>
                  <a:pt x="274" y="201"/>
                </a:cubicBezTo>
                <a:cubicBezTo>
                  <a:pt x="273" y="202"/>
                  <a:pt x="273" y="202"/>
                  <a:pt x="273" y="202"/>
                </a:cubicBezTo>
                <a:cubicBezTo>
                  <a:pt x="271" y="201"/>
                  <a:pt x="271" y="201"/>
                  <a:pt x="271" y="201"/>
                </a:cubicBezTo>
                <a:cubicBezTo>
                  <a:pt x="269" y="198"/>
                  <a:pt x="269" y="198"/>
                  <a:pt x="269" y="198"/>
                </a:cubicBezTo>
                <a:cubicBezTo>
                  <a:pt x="268" y="197"/>
                  <a:pt x="268" y="197"/>
                  <a:pt x="268" y="197"/>
                </a:cubicBezTo>
                <a:cubicBezTo>
                  <a:pt x="266" y="197"/>
                  <a:pt x="266" y="197"/>
                  <a:pt x="266" y="197"/>
                </a:cubicBezTo>
                <a:cubicBezTo>
                  <a:pt x="264" y="195"/>
                  <a:pt x="264" y="195"/>
                  <a:pt x="264" y="195"/>
                </a:cubicBezTo>
                <a:cubicBezTo>
                  <a:pt x="265" y="196"/>
                  <a:pt x="265" y="196"/>
                  <a:pt x="265" y="196"/>
                </a:cubicBezTo>
                <a:cubicBezTo>
                  <a:pt x="266" y="195"/>
                  <a:pt x="266" y="195"/>
                  <a:pt x="266" y="195"/>
                </a:cubicBezTo>
                <a:cubicBezTo>
                  <a:pt x="268" y="193"/>
                  <a:pt x="268" y="193"/>
                  <a:pt x="268" y="193"/>
                </a:cubicBezTo>
                <a:cubicBezTo>
                  <a:pt x="267" y="191"/>
                  <a:pt x="267" y="191"/>
                  <a:pt x="267" y="191"/>
                </a:cubicBezTo>
                <a:cubicBezTo>
                  <a:pt x="265" y="190"/>
                  <a:pt x="265" y="190"/>
                  <a:pt x="265" y="190"/>
                </a:cubicBezTo>
                <a:cubicBezTo>
                  <a:pt x="265" y="187"/>
                  <a:pt x="265" y="187"/>
                  <a:pt x="265" y="187"/>
                </a:cubicBezTo>
                <a:cubicBezTo>
                  <a:pt x="263" y="184"/>
                  <a:pt x="263" y="184"/>
                  <a:pt x="263" y="184"/>
                </a:cubicBezTo>
                <a:cubicBezTo>
                  <a:pt x="261" y="183"/>
                  <a:pt x="261" y="183"/>
                  <a:pt x="261" y="183"/>
                </a:cubicBezTo>
                <a:cubicBezTo>
                  <a:pt x="260" y="182"/>
                  <a:pt x="260" y="182"/>
                  <a:pt x="260" y="182"/>
                </a:cubicBezTo>
                <a:cubicBezTo>
                  <a:pt x="260" y="180"/>
                  <a:pt x="260" y="180"/>
                  <a:pt x="260" y="180"/>
                </a:cubicBezTo>
                <a:cubicBezTo>
                  <a:pt x="260" y="179"/>
                  <a:pt x="260" y="179"/>
                  <a:pt x="260" y="179"/>
                </a:cubicBezTo>
                <a:cubicBezTo>
                  <a:pt x="260" y="176"/>
                  <a:pt x="260" y="176"/>
                  <a:pt x="260" y="176"/>
                </a:cubicBezTo>
                <a:cubicBezTo>
                  <a:pt x="258" y="174"/>
                  <a:pt x="258" y="174"/>
                  <a:pt x="258" y="174"/>
                </a:cubicBezTo>
                <a:cubicBezTo>
                  <a:pt x="257" y="174"/>
                  <a:pt x="257" y="174"/>
                  <a:pt x="257" y="174"/>
                </a:cubicBezTo>
                <a:cubicBezTo>
                  <a:pt x="255" y="173"/>
                  <a:pt x="255" y="173"/>
                  <a:pt x="255" y="173"/>
                </a:cubicBezTo>
                <a:cubicBezTo>
                  <a:pt x="252" y="173"/>
                  <a:pt x="252" y="173"/>
                  <a:pt x="252" y="173"/>
                </a:cubicBezTo>
                <a:cubicBezTo>
                  <a:pt x="251" y="171"/>
                  <a:pt x="251" y="171"/>
                  <a:pt x="251" y="171"/>
                </a:cubicBezTo>
                <a:cubicBezTo>
                  <a:pt x="249" y="170"/>
                  <a:pt x="249" y="170"/>
                  <a:pt x="249" y="170"/>
                </a:cubicBezTo>
                <a:cubicBezTo>
                  <a:pt x="249" y="168"/>
                  <a:pt x="249" y="168"/>
                  <a:pt x="249" y="168"/>
                </a:cubicBezTo>
                <a:cubicBezTo>
                  <a:pt x="249" y="167"/>
                  <a:pt x="249" y="167"/>
                  <a:pt x="249" y="167"/>
                </a:cubicBezTo>
                <a:cubicBezTo>
                  <a:pt x="249" y="166"/>
                  <a:pt x="249" y="166"/>
                  <a:pt x="249" y="166"/>
                </a:cubicBezTo>
                <a:cubicBezTo>
                  <a:pt x="247" y="167"/>
                  <a:pt x="247" y="167"/>
                  <a:pt x="247" y="167"/>
                </a:cubicBezTo>
                <a:cubicBezTo>
                  <a:pt x="243" y="167"/>
                  <a:pt x="243" y="167"/>
                  <a:pt x="243" y="167"/>
                </a:cubicBezTo>
                <a:cubicBezTo>
                  <a:pt x="241" y="167"/>
                  <a:pt x="241" y="167"/>
                  <a:pt x="241" y="167"/>
                </a:cubicBezTo>
                <a:cubicBezTo>
                  <a:pt x="239" y="166"/>
                  <a:pt x="239" y="166"/>
                  <a:pt x="239" y="166"/>
                </a:cubicBezTo>
                <a:cubicBezTo>
                  <a:pt x="239" y="164"/>
                  <a:pt x="239" y="164"/>
                  <a:pt x="239" y="164"/>
                </a:cubicBezTo>
                <a:cubicBezTo>
                  <a:pt x="239" y="164"/>
                  <a:pt x="239" y="164"/>
                  <a:pt x="239" y="164"/>
                </a:cubicBezTo>
                <a:cubicBezTo>
                  <a:pt x="238" y="163"/>
                  <a:pt x="238" y="163"/>
                  <a:pt x="238" y="163"/>
                </a:cubicBezTo>
                <a:cubicBezTo>
                  <a:pt x="238" y="161"/>
                  <a:pt x="238" y="161"/>
                  <a:pt x="238" y="161"/>
                </a:cubicBezTo>
                <a:cubicBezTo>
                  <a:pt x="237" y="158"/>
                  <a:pt x="237" y="158"/>
                  <a:pt x="237" y="158"/>
                </a:cubicBezTo>
                <a:cubicBezTo>
                  <a:pt x="234" y="157"/>
                  <a:pt x="234" y="157"/>
                  <a:pt x="234" y="157"/>
                </a:cubicBezTo>
                <a:cubicBezTo>
                  <a:pt x="235" y="156"/>
                  <a:pt x="235" y="156"/>
                  <a:pt x="235" y="156"/>
                </a:cubicBezTo>
                <a:cubicBezTo>
                  <a:pt x="235" y="155"/>
                  <a:pt x="235" y="155"/>
                  <a:pt x="235" y="155"/>
                </a:cubicBezTo>
                <a:cubicBezTo>
                  <a:pt x="234" y="155"/>
                  <a:pt x="234" y="155"/>
                  <a:pt x="234" y="155"/>
                </a:cubicBezTo>
                <a:cubicBezTo>
                  <a:pt x="233" y="154"/>
                  <a:pt x="233" y="154"/>
                  <a:pt x="233" y="154"/>
                </a:cubicBezTo>
                <a:cubicBezTo>
                  <a:pt x="233" y="153"/>
                  <a:pt x="233" y="153"/>
                  <a:pt x="233" y="153"/>
                </a:cubicBezTo>
                <a:cubicBezTo>
                  <a:pt x="233" y="151"/>
                  <a:pt x="233" y="151"/>
                  <a:pt x="233" y="151"/>
                </a:cubicBezTo>
                <a:cubicBezTo>
                  <a:pt x="232" y="150"/>
                  <a:pt x="232" y="150"/>
                  <a:pt x="232" y="150"/>
                </a:cubicBezTo>
                <a:cubicBezTo>
                  <a:pt x="233" y="150"/>
                  <a:pt x="233" y="150"/>
                  <a:pt x="233" y="150"/>
                </a:cubicBezTo>
                <a:cubicBezTo>
                  <a:pt x="235" y="150"/>
                  <a:pt x="235" y="150"/>
                  <a:pt x="235" y="150"/>
                </a:cubicBezTo>
                <a:cubicBezTo>
                  <a:pt x="236" y="148"/>
                  <a:pt x="236" y="148"/>
                  <a:pt x="236" y="148"/>
                </a:cubicBezTo>
                <a:cubicBezTo>
                  <a:pt x="238" y="148"/>
                  <a:pt x="238" y="148"/>
                  <a:pt x="238" y="148"/>
                </a:cubicBezTo>
                <a:cubicBezTo>
                  <a:pt x="241" y="147"/>
                  <a:pt x="241" y="147"/>
                  <a:pt x="241" y="147"/>
                </a:cubicBezTo>
                <a:cubicBezTo>
                  <a:pt x="246" y="145"/>
                  <a:pt x="246" y="145"/>
                  <a:pt x="246" y="145"/>
                </a:cubicBezTo>
                <a:cubicBezTo>
                  <a:pt x="248" y="144"/>
                  <a:pt x="248" y="144"/>
                  <a:pt x="248" y="144"/>
                </a:cubicBezTo>
                <a:cubicBezTo>
                  <a:pt x="249" y="144"/>
                  <a:pt x="249" y="144"/>
                  <a:pt x="249" y="144"/>
                </a:cubicBezTo>
                <a:cubicBezTo>
                  <a:pt x="250" y="144"/>
                  <a:pt x="250" y="144"/>
                  <a:pt x="250" y="144"/>
                </a:cubicBezTo>
                <a:cubicBezTo>
                  <a:pt x="252" y="143"/>
                  <a:pt x="252" y="143"/>
                  <a:pt x="252" y="143"/>
                </a:cubicBezTo>
                <a:cubicBezTo>
                  <a:pt x="253" y="142"/>
                  <a:pt x="253" y="142"/>
                  <a:pt x="253" y="142"/>
                </a:cubicBezTo>
                <a:cubicBezTo>
                  <a:pt x="255" y="141"/>
                  <a:pt x="255" y="141"/>
                  <a:pt x="255" y="141"/>
                </a:cubicBezTo>
                <a:cubicBezTo>
                  <a:pt x="259" y="139"/>
                  <a:pt x="259" y="139"/>
                  <a:pt x="259" y="139"/>
                </a:cubicBezTo>
                <a:cubicBezTo>
                  <a:pt x="260" y="140"/>
                  <a:pt x="260" y="140"/>
                  <a:pt x="260" y="140"/>
                </a:cubicBezTo>
                <a:cubicBezTo>
                  <a:pt x="259" y="141"/>
                  <a:pt x="259" y="141"/>
                  <a:pt x="259" y="141"/>
                </a:cubicBezTo>
                <a:cubicBezTo>
                  <a:pt x="259" y="142"/>
                  <a:pt x="259" y="142"/>
                  <a:pt x="259" y="142"/>
                </a:cubicBezTo>
                <a:cubicBezTo>
                  <a:pt x="258" y="143"/>
                  <a:pt x="258" y="143"/>
                  <a:pt x="258" y="143"/>
                </a:cubicBezTo>
                <a:cubicBezTo>
                  <a:pt x="257" y="145"/>
                  <a:pt x="257" y="145"/>
                  <a:pt x="257" y="145"/>
                </a:cubicBezTo>
                <a:cubicBezTo>
                  <a:pt x="257" y="147"/>
                  <a:pt x="257" y="147"/>
                  <a:pt x="257" y="147"/>
                </a:cubicBezTo>
                <a:cubicBezTo>
                  <a:pt x="260" y="149"/>
                  <a:pt x="260" y="149"/>
                  <a:pt x="260" y="149"/>
                </a:cubicBezTo>
                <a:cubicBezTo>
                  <a:pt x="262" y="149"/>
                  <a:pt x="262" y="149"/>
                  <a:pt x="262" y="149"/>
                </a:cubicBezTo>
                <a:cubicBezTo>
                  <a:pt x="261" y="148"/>
                  <a:pt x="261" y="148"/>
                  <a:pt x="261" y="148"/>
                </a:cubicBezTo>
                <a:cubicBezTo>
                  <a:pt x="258" y="146"/>
                  <a:pt x="258" y="146"/>
                  <a:pt x="258" y="146"/>
                </a:cubicBezTo>
                <a:cubicBezTo>
                  <a:pt x="258" y="145"/>
                  <a:pt x="258" y="145"/>
                  <a:pt x="258" y="145"/>
                </a:cubicBezTo>
                <a:cubicBezTo>
                  <a:pt x="259" y="144"/>
                  <a:pt x="259" y="144"/>
                  <a:pt x="259" y="144"/>
                </a:cubicBezTo>
                <a:cubicBezTo>
                  <a:pt x="262" y="142"/>
                  <a:pt x="262" y="142"/>
                  <a:pt x="262" y="142"/>
                </a:cubicBezTo>
                <a:cubicBezTo>
                  <a:pt x="263" y="140"/>
                  <a:pt x="263" y="140"/>
                  <a:pt x="263" y="140"/>
                </a:cubicBezTo>
                <a:cubicBezTo>
                  <a:pt x="262" y="138"/>
                  <a:pt x="262" y="138"/>
                  <a:pt x="262" y="138"/>
                </a:cubicBezTo>
                <a:cubicBezTo>
                  <a:pt x="260" y="138"/>
                  <a:pt x="260" y="138"/>
                  <a:pt x="260" y="138"/>
                </a:cubicBezTo>
                <a:cubicBezTo>
                  <a:pt x="259" y="137"/>
                  <a:pt x="259" y="137"/>
                  <a:pt x="259" y="137"/>
                </a:cubicBezTo>
                <a:cubicBezTo>
                  <a:pt x="259" y="136"/>
                  <a:pt x="259" y="136"/>
                  <a:pt x="259" y="136"/>
                </a:cubicBezTo>
                <a:cubicBezTo>
                  <a:pt x="257" y="136"/>
                  <a:pt x="257" y="136"/>
                  <a:pt x="257" y="136"/>
                </a:cubicBezTo>
                <a:cubicBezTo>
                  <a:pt x="256" y="136"/>
                  <a:pt x="256" y="136"/>
                  <a:pt x="256" y="136"/>
                </a:cubicBezTo>
                <a:cubicBezTo>
                  <a:pt x="256" y="136"/>
                  <a:pt x="256" y="136"/>
                  <a:pt x="256" y="136"/>
                </a:cubicBezTo>
                <a:cubicBezTo>
                  <a:pt x="255" y="134"/>
                  <a:pt x="255" y="134"/>
                  <a:pt x="255" y="134"/>
                </a:cubicBezTo>
                <a:cubicBezTo>
                  <a:pt x="253" y="134"/>
                  <a:pt x="253" y="134"/>
                  <a:pt x="253" y="134"/>
                </a:cubicBezTo>
                <a:cubicBezTo>
                  <a:pt x="252" y="135"/>
                  <a:pt x="252" y="135"/>
                  <a:pt x="252" y="135"/>
                </a:cubicBezTo>
                <a:cubicBezTo>
                  <a:pt x="250" y="133"/>
                  <a:pt x="250" y="133"/>
                  <a:pt x="250" y="133"/>
                </a:cubicBezTo>
                <a:cubicBezTo>
                  <a:pt x="251" y="132"/>
                  <a:pt x="251" y="132"/>
                  <a:pt x="251" y="132"/>
                </a:cubicBezTo>
                <a:cubicBezTo>
                  <a:pt x="251" y="131"/>
                  <a:pt x="251" y="131"/>
                  <a:pt x="251" y="131"/>
                </a:cubicBezTo>
                <a:cubicBezTo>
                  <a:pt x="252" y="131"/>
                  <a:pt x="252" y="131"/>
                  <a:pt x="252" y="131"/>
                </a:cubicBezTo>
                <a:cubicBezTo>
                  <a:pt x="253" y="132"/>
                  <a:pt x="253" y="132"/>
                  <a:pt x="253" y="132"/>
                </a:cubicBezTo>
                <a:cubicBezTo>
                  <a:pt x="255" y="132"/>
                  <a:pt x="255" y="132"/>
                  <a:pt x="255" y="132"/>
                </a:cubicBezTo>
                <a:cubicBezTo>
                  <a:pt x="256" y="131"/>
                  <a:pt x="256" y="131"/>
                  <a:pt x="256" y="131"/>
                </a:cubicBezTo>
                <a:cubicBezTo>
                  <a:pt x="255" y="131"/>
                  <a:pt x="255" y="131"/>
                  <a:pt x="255" y="131"/>
                </a:cubicBezTo>
                <a:cubicBezTo>
                  <a:pt x="255" y="131"/>
                  <a:pt x="255" y="131"/>
                  <a:pt x="255" y="131"/>
                </a:cubicBezTo>
                <a:cubicBezTo>
                  <a:pt x="254" y="131"/>
                  <a:pt x="254" y="131"/>
                  <a:pt x="254" y="131"/>
                </a:cubicBezTo>
                <a:cubicBezTo>
                  <a:pt x="252" y="130"/>
                  <a:pt x="252" y="130"/>
                  <a:pt x="252" y="130"/>
                </a:cubicBezTo>
                <a:cubicBezTo>
                  <a:pt x="252" y="129"/>
                  <a:pt x="252" y="129"/>
                  <a:pt x="252" y="129"/>
                </a:cubicBezTo>
                <a:cubicBezTo>
                  <a:pt x="251" y="129"/>
                  <a:pt x="251" y="129"/>
                  <a:pt x="251" y="129"/>
                </a:cubicBezTo>
                <a:cubicBezTo>
                  <a:pt x="249" y="128"/>
                  <a:pt x="249" y="128"/>
                  <a:pt x="249" y="128"/>
                </a:cubicBezTo>
                <a:cubicBezTo>
                  <a:pt x="247" y="129"/>
                  <a:pt x="247" y="129"/>
                  <a:pt x="247" y="129"/>
                </a:cubicBezTo>
                <a:cubicBezTo>
                  <a:pt x="247" y="128"/>
                  <a:pt x="247" y="128"/>
                  <a:pt x="247" y="128"/>
                </a:cubicBezTo>
                <a:cubicBezTo>
                  <a:pt x="247" y="127"/>
                  <a:pt x="247" y="127"/>
                  <a:pt x="247" y="127"/>
                </a:cubicBezTo>
                <a:cubicBezTo>
                  <a:pt x="247" y="126"/>
                  <a:pt x="247" y="126"/>
                  <a:pt x="247" y="126"/>
                </a:cubicBezTo>
                <a:cubicBezTo>
                  <a:pt x="246" y="125"/>
                  <a:pt x="246" y="125"/>
                  <a:pt x="246" y="125"/>
                </a:cubicBezTo>
                <a:cubicBezTo>
                  <a:pt x="247" y="124"/>
                  <a:pt x="247" y="124"/>
                  <a:pt x="247" y="124"/>
                </a:cubicBezTo>
                <a:cubicBezTo>
                  <a:pt x="248" y="125"/>
                  <a:pt x="248" y="125"/>
                  <a:pt x="248" y="125"/>
                </a:cubicBezTo>
                <a:cubicBezTo>
                  <a:pt x="249" y="126"/>
                  <a:pt x="249" y="126"/>
                  <a:pt x="249" y="126"/>
                </a:cubicBezTo>
                <a:cubicBezTo>
                  <a:pt x="250" y="126"/>
                  <a:pt x="250" y="126"/>
                  <a:pt x="250" y="126"/>
                </a:cubicBezTo>
                <a:cubicBezTo>
                  <a:pt x="252" y="128"/>
                  <a:pt x="252" y="128"/>
                  <a:pt x="252" y="128"/>
                </a:cubicBezTo>
                <a:cubicBezTo>
                  <a:pt x="252" y="127"/>
                  <a:pt x="252" y="127"/>
                  <a:pt x="252" y="127"/>
                </a:cubicBezTo>
                <a:cubicBezTo>
                  <a:pt x="251" y="126"/>
                  <a:pt x="251" y="126"/>
                  <a:pt x="251" y="126"/>
                </a:cubicBezTo>
                <a:cubicBezTo>
                  <a:pt x="253" y="125"/>
                  <a:pt x="253" y="125"/>
                  <a:pt x="253" y="125"/>
                </a:cubicBezTo>
                <a:cubicBezTo>
                  <a:pt x="253" y="123"/>
                  <a:pt x="253" y="123"/>
                  <a:pt x="253" y="123"/>
                </a:cubicBezTo>
                <a:cubicBezTo>
                  <a:pt x="252" y="122"/>
                  <a:pt x="252" y="122"/>
                  <a:pt x="252" y="122"/>
                </a:cubicBezTo>
                <a:cubicBezTo>
                  <a:pt x="252" y="121"/>
                  <a:pt x="252" y="121"/>
                  <a:pt x="252" y="121"/>
                </a:cubicBezTo>
                <a:cubicBezTo>
                  <a:pt x="253" y="122"/>
                  <a:pt x="253" y="122"/>
                  <a:pt x="253" y="122"/>
                </a:cubicBezTo>
                <a:cubicBezTo>
                  <a:pt x="254" y="121"/>
                  <a:pt x="254" y="121"/>
                  <a:pt x="254" y="121"/>
                </a:cubicBezTo>
                <a:cubicBezTo>
                  <a:pt x="251" y="120"/>
                  <a:pt x="251" y="120"/>
                  <a:pt x="251" y="120"/>
                </a:cubicBezTo>
                <a:cubicBezTo>
                  <a:pt x="251" y="121"/>
                  <a:pt x="251" y="121"/>
                  <a:pt x="251" y="121"/>
                </a:cubicBezTo>
                <a:cubicBezTo>
                  <a:pt x="250" y="121"/>
                  <a:pt x="250" y="121"/>
                  <a:pt x="250" y="121"/>
                </a:cubicBezTo>
                <a:cubicBezTo>
                  <a:pt x="250" y="120"/>
                  <a:pt x="250" y="120"/>
                  <a:pt x="250" y="120"/>
                </a:cubicBezTo>
                <a:cubicBezTo>
                  <a:pt x="251" y="119"/>
                  <a:pt x="251" y="119"/>
                  <a:pt x="251" y="119"/>
                </a:cubicBezTo>
                <a:cubicBezTo>
                  <a:pt x="253" y="118"/>
                  <a:pt x="253" y="118"/>
                  <a:pt x="253" y="118"/>
                </a:cubicBezTo>
                <a:cubicBezTo>
                  <a:pt x="255" y="118"/>
                  <a:pt x="255" y="118"/>
                  <a:pt x="255" y="118"/>
                </a:cubicBezTo>
                <a:cubicBezTo>
                  <a:pt x="254" y="117"/>
                  <a:pt x="254" y="117"/>
                  <a:pt x="254" y="117"/>
                </a:cubicBezTo>
                <a:cubicBezTo>
                  <a:pt x="256" y="115"/>
                  <a:pt x="256" y="115"/>
                  <a:pt x="256" y="115"/>
                </a:cubicBezTo>
                <a:cubicBezTo>
                  <a:pt x="256" y="114"/>
                  <a:pt x="256" y="114"/>
                  <a:pt x="256" y="114"/>
                </a:cubicBezTo>
                <a:cubicBezTo>
                  <a:pt x="256" y="114"/>
                  <a:pt x="256" y="114"/>
                  <a:pt x="256" y="114"/>
                </a:cubicBezTo>
                <a:cubicBezTo>
                  <a:pt x="256" y="113"/>
                  <a:pt x="256" y="113"/>
                  <a:pt x="256" y="113"/>
                </a:cubicBezTo>
                <a:cubicBezTo>
                  <a:pt x="257" y="111"/>
                  <a:pt x="257" y="111"/>
                  <a:pt x="257" y="111"/>
                </a:cubicBezTo>
                <a:cubicBezTo>
                  <a:pt x="257" y="111"/>
                  <a:pt x="257" y="111"/>
                  <a:pt x="257" y="111"/>
                </a:cubicBezTo>
                <a:cubicBezTo>
                  <a:pt x="258" y="112"/>
                  <a:pt x="258" y="112"/>
                  <a:pt x="258" y="112"/>
                </a:cubicBezTo>
                <a:cubicBezTo>
                  <a:pt x="259" y="112"/>
                  <a:pt x="259" y="112"/>
                  <a:pt x="259" y="112"/>
                </a:cubicBezTo>
                <a:cubicBezTo>
                  <a:pt x="259" y="111"/>
                  <a:pt x="259" y="111"/>
                  <a:pt x="259" y="111"/>
                </a:cubicBezTo>
                <a:cubicBezTo>
                  <a:pt x="260" y="111"/>
                  <a:pt x="260" y="111"/>
                  <a:pt x="260" y="111"/>
                </a:cubicBezTo>
                <a:cubicBezTo>
                  <a:pt x="259" y="110"/>
                  <a:pt x="259" y="110"/>
                  <a:pt x="259" y="110"/>
                </a:cubicBezTo>
                <a:cubicBezTo>
                  <a:pt x="259" y="109"/>
                  <a:pt x="259" y="109"/>
                  <a:pt x="259" y="109"/>
                </a:cubicBezTo>
                <a:cubicBezTo>
                  <a:pt x="261" y="108"/>
                  <a:pt x="261" y="108"/>
                  <a:pt x="261" y="108"/>
                </a:cubicBezTo>
                <a:cubicBezTo>
                  <a:pt x="262" y="108"/>
                  <a:pt x="262" y="108"/>
                  <a:pt x="262" y="108"/>
                </a:cubicBezTo>
                <a:cubicBezTo>
                  <a:pt x="262" y="107"/>
                  <a:pt x="262" y="107"/>
                  <a:pt x="262" y="107"/>
                </a:cubicBezTo>
                <a:cubicBezTo>
                  <a:pt x="263" y="107"/>
                  <a:pt x="263" y="107"/>
                  <a:pt x="263" y="107"/>
                </a:cubicBezTo>
                <a:cubicBezTo>
                  <a:pt x="264" y="107"/>
                  <a:pt x="264" y="107"/>
                  <a:pt x="264" y="107"/>
                </a:cubicBezTo>
                <a:cubicBezTo>
                  <a:pt x="266" y="107"/>
                  <a:pt x="266" y="107"/>
                  <a:pt x="266" y="107"/>
                </a:cubicBezTo>
                <a:cubicBezTo>
                  <a:pt x="265" y="106"/>
                  <a:pt x="265" y="106"/>
                  <a:pt x="265" y="106"/>
                </a:cubicBezTo>
                <a:cubicBezTo>
                  <a:pt x="266" y="105"/>
                  <a:pt x="266" y="105"/>
                  <a:pt x="266" y="105"/>
                </a:cubicBezTo>
                <a:cubicBezTo>
                  <a:pt x="268" y="105"/>
                  <a:pt x="268" y="105"/>
                  <a:pt x="268" y="105"/>
                </a:cubicBezTo>
                <a:cubicBezTo>
                  <a:pt x="270" y="104"/>
                  <a:pt x="270" y="104"/>
                  <a:pt x="270" y="104"/>
                </a:cubicBezTo>
                <a:cubicBezTo>
                  <a:pt x="271" y="102"/>
                  <a:pt x="271" y="102"/>
                  <a:pt x="271" y="102"/>
                </a:cubicBezTo>
                <a:cubicBezTo>
                  <a:pt x="274" y="101"/>
                  <a:pt x="274" y="101"/>
                  <a:pt x="274" y="101"/>
                </a:cubicBezTo>
                <a:cubicBezTo>
                  <a:pt x="274" y="100"/>
                  <a:pt x="274" y="100"/>
                  <a:pt x="274" y="100"/>
                </a:cubicBezTo>
                <a:cubicBezTo>
                  <a:pt x="274" y="100"/>
                  <a:pt x="274" y="100"/>
                  <a:pt x="274" y="100"/>
                </a:cubicBezTo>
                <a:cubicBezTo>
                  <a:pt x="271" y="101"/>
                  <a:pt x="271" y="101"/>
                  <a:pt x="271" y="101"/>
                </a:cubicBezTo>
                <a:cubicBezTo>
                  <a:pt x="271" y="100"/>
                  <a:pt x="271" y="100"/>
                  <a:pt x="271" y="100"/>
                </a:cubicBezTo>
                <a:cubicBezTo>
                  <a:pt x="269" y="102"/>
                  <a:pt x="269" y="102"/>
                  <a:pt x="269" y="102"/>
                </a:cubicBezTo>
                <a:cubicBezTo>
                  <a:pt x="269" y="101"/>
                  <a:pt x="269" y="101"/>
                  <a:pt x="269" y="101"/>
                </a:cubicBezTo>
                <a:cubicBezTo>
                  <a:pt x="269" y="98"/>
                  <a:pt x="269" y="98"/>
                  <a:pt x="269" y="98"/>
                </a:cubicBezTo>
                <a:cubicBezTo>
                  <a:pt x="269" y="98"/>
                  <a:pt x="269" y="98"/>
                  <a:pt x="269" y="98"/>
                </a:cubicBezTo>
                <a:cubicBezTo>
                  <a:pt x="270" y="96"/>
                  <a:pt x="270" y="96"/>
                  <a:pt x="270" y="96"/>
                </a:cubicBezTo>
                <a:cubicBezTo>
                  <a:pt x="270" y="97"/>
                  <a:pt x="270" y="97"/>
                  <a:pt x="270" y="97"/>
                </a:cubicBezTo>
                <a:cubicBezTo>
                  <a:pt x="270" y="97"/>
                  <a:pt x="270" y="97"/>
                  <a:pt x="270" y="97"/>
                </a:cubicBezTo>
                <a:cubicBezTo>
                  <a:pt x="271" y="97"/>
                  <a:pt x="271" y="97"/>
                  <a:pt x="271" y="97"/>
                </a:cubicBezTo>
                <a:cubicBezTo>
                  <a:pt x="272" y="97"/>
                  <a:pt x="272" y="97"/>
                  <a:pt x="272" y="97"/>
                </a:cubicBezTo>
                <a:cubicBezTo>
                  <a:pt x="270" y="95"/>
                  <a:pt x="270" y="95"/>
                  <a:pt x="270" y="95"/>
                </a:cubicBezTo>
                <a:cubicBezTo>
                  <a:pt x="272" y="95"/>
                  <a:pt x="272" y="95"/>
                  <a:pt x="272" y="95"/>
                </a:cubicBezTo>
                <a:cubicBezTo>
                  <a:pt x="273" y="96"/>
                  <a:pt x="273" y="96"/>
                  <a:pt x="273" y="96"/>
                </a:cubicBezTo>
                <a:cubicBezTo>
                  <a:pt x="274" y="96"/>
                  <a:pt x="274" y="96"/>
                  <a:pt x="274" y="96"/>
                </a:cubicBezTo>
                <a:cubicBezTo>
                  <a:pt x="276" y="95"/>
                  <a:pt x="276" y="95"/>
                  <a:pt x="276" y="95"/>
                </a:cubicBezTo>
                <a:cubicBezTo>
                  <a:pt x="277" y="95"/>
                  <a:pt x="277" y="95"/>
                  <a:pt x="277" y="95"/>
                </a:cubicBezTo>
                <a:cubicBezTo>
                  <a:pt x="281" y="94"/>
                  <a:pt x="281" y="94"/>
                  <a:pt x="281" y="94"/>
                </a:cubicBezTo>
                <a:cubicBezTo>
                  <a:pt x="282" y="94"/>
                  <a:pt x="282" y="94"/>
                  <a:pt x="282" y="94"/>
                </a:cubicBezTo>
                <a:cubicBezTo>
                  <a:pt x="283" y="95"/>
                  <a:pt x="283" y="95"/>
                  <a:pt x="283" y="95"/>
                </a:cubicBezTo>
                <a:cubicBezTo>
                  <a:pt x="281" y="98"/>
                  <a:pt x="281" y="98"/>
                  <a:pt x="281" y="98"/>
                </a:cubicBezTo>
                <a:cubicBezTo>
                  <a:pt x="281" y="99"/>
                  <a:pt x="281" y="99"/>
                  <a:pt x="281" y="99"/>
                </a:cubicBezTo>
                <a:cubicBezTo>
                  <a:pt x="283" y="100"/>
                  <a:pt x="283" y="100"/>
                  <a:pt x="283" y="100"/>
                </a:cubicBezTo>
                <a:cubicBezTo>
                  <a:pt x="283" y="98"/>
                  <a:pt x="283" y="98"/>
                  <a:pt x="283" y="98"/>
                </a:cubicBezTo>
                <a:cubicBezTo>
                  <a:pt x="284" y="96"/>
                  <a:pt x="284" y="96"/>
                  <a:pt x="284" y="96"/>
                </a:cubicBezTo>
                <a:cubicBezTo>
                  <a:pt x="284" y="95"/>
                  <a:pt x="284" y="95"/>
                  <a:pt x="284" y="95"/>
                </a:cubicBezTo>
                <a:cubicBezTo>
                  <a:pt x="284" y="94"/>
                  <a:pt x="284" y="94"/>
                  <a:pt x="284" y="94"/>
                </a:cubicBezTo>
                <a:cubicBezTo>
                  <a:pt x="285" y="96"/>
                  <a:pt x="285" y="96"/>
                  <a:pt x="285" y="96"/>
                </a:cubicBezTo>
                <a:cubicBezTo>
                  <a:pt x="285" y="97"/>
                  <a:pt x="285" y="97"/>
                  <a:pt x="285" y="97"/>
                </a:cubicBezTo>
                <a:cubicBezTo>
                  <a:pt x="286" y="97"/>
                  <a:pt x="286" y="97"/>
                  <a:pt x="286" y="97"/>
                </a:cubicBezTo>
                <a:cubicBezTo>
                  <a:pt x="287" y="96"/>
                  <a:pt x="287" y="96"/>
                  <a:pt x="287" y="96"/>
                </a:cubicBezTo>
                <a:cubicBezTo>
                  <a:pt x="286" y="95"/>
                  <a:pt x="286" y="95"/>
                  <a:pt x="286" y="95"/>
                </a:cubicBezTo>
                <a:cubicBezTo>
                  <a:pt x="287" y="94"/>
                  <a:pt x="287" y="94"/>
                  <a:pt x="287" y="94"/>
                </a:cubicBezTo>
                <a:cubicBezTo>
                  <a:pt x="288" y="94"/>
                  <a:pt x="288" y="94"/>
                  <a:pt x="288" y="94"/>
                </a:cubicBezTo>
                <a:cubicBezTo>
                  <a:pt x="288" y="96"/>
                  <a:pt x="288" y="96"/>
                  <a:pt x="288" y="96"/>
                </a:cubicBezTo>
                <a:cubicBezTo>
                  <a:pt x="290" y="94"/>
                  <a:pt x="290" y="94"/>
                  <a:pt x="290" y="94"/>
                </a:cubicBezTo>
                <a:cubicBezTo>
                  <a:pt x="290" y="93"/>
                  <a:pt x="290" y="93"/>
                  <a:pt x="290" y="93"/>
                </a:cubicBezTo>
                <a:cubicBezTo>
                  <a:pt x="289" y="92"/>
                  <a:pt x="289" y="92"/>
                  <a:pt x="289" y="92"/>
                </a:cubicBezTo>
                <a:cubicBezTo>
                  <a:pt x="291" y="92"/>
                  <a:pt x="291" y="92"/>
                  <a:pt x="291" y="92"/>
                </a:cubicBezTo>
                <a:cubicBezTo>
                  <a:pt x="291" y="92"/>
                  <a:pt x="291" y="92"/>
                  <a:pt x="291" y="92"/>
                </a:cubicBezTo>
                <a:cubicBezTo>
                  <a:pt x="290" y="91"/>
                  <a:pt x="290" y="91"/>
                  <a:pt x="290" y="91"/>
                </a:cubicBezTo>
                <a:cubicBezTo>
                  <a:pt x="292" y="90"/>
                  <a:pt x="292" y="90"/>
                  <a:pt x="292" y="90"/>
                </a:cubicBezTo>
                <a:cubicBezTo>
                  <a:pt x="293" y="90"/>
                  <a:pt x="293" y="90"/>
                  <a:pt x="293" y="90"/>
                </a:cubicBezTo>
                <a:cubicBezTo>
                  <a:pt x="294" y="89"/>
                  <a:pt x="294" y="89"/>
                  <a:pt x="294" y="89"/>
                </a:cubicBezTo>
                <a:cubicBezTo>
                  <a:pt x="295" y="89"/>
                  <a:pt x="295" y="89"/>
                  <a:pt x="295" y="89"/>
                </a:cubicBezTo>
                <a:cubicBezTo>
                  <a:pt x="295" y="90"/>
                  <a:pt x="295" y="90"/>
                  <a:pt x="295" y="90"/>
                </a:cubicBezTo>
                <a:cubicBezTo>
                  <a:pt x="296" y="90"/>
                  <a:pt x="296" y="90"/>
                  <a:pt x="296" y="90"/>
                </a:cubicBezTo>
                <a:cubicBezTo>
                  <a:pt x="298" y="91"/>
                  <a:pt x="298" y="91"/>
                  <a:pt x="298" y="91"/>
                </a:cubicBezTo>
                <a:cubicBezTo>
                  <a:pt x="298" y="92"/>
                  <a:pt x="298" y="92"/>
                  <a:pt x="298" y="92"/>
                </a:cubicBezTo>
                <a:cubicBezTo>
                  <a:pt x="298" y="93"/>
                  <a:pt x="298" y="93"/>
                  <a:pt x="298" y="93"/>
                </a:cubicBezTo>
                <a:cubicBezTo>
                  <a:pt x="297" y="96"/>
                  <a:pt x="297" y="96"/>
                  <a:pt x="297" y="96"/>
                </a:cubicBezTo>
                <a:cubicBezTo>
                  <a:pt x="299" y="95"/>
                  <a:pt x="299" y="95"/>
                  <a:pt x="299" y="95"/>
                </a:cubicBezTo>
                <a:cubicBezTo>
                  <a:pt x="300" y="93"/>
                  <a:pt x="300" y="93"/>
                  <a:pt x="300" y="93"/>
                </a:cubicBezTo>
                <a:cubicBezTo>
                  <a:pt x="299" y="90"/>
                  <a:pt x="299" y="90"/>
                  <a:pt x="299" y="90"/>
                </a:cubicBezTo>
                <a:cubicBezTo>
                  <a:pt x="297" y="89"/>
                  <a:pt x="297" y="89"/>
                  <a:pt x="297" y="89"/>
                </a:cubicBezTo>
                <a:cubicBezTo>
                  <a:pt x="296" y="87"/>
                  <a:pt x="296" y="87"/>
                  <a:pt x="296" y="87"/>
                </a:cubicBezTo>
                <a:cubicBezTo>
                  <a:pt x="295" y="88"/>
                  <a:pt x="295" y="88"/>
                  <a:pt x="295" y="88"/>
                </a:cubicBezTo>
                <a:cubicBezTo>
                  <a:pt x="294" y="88"/>
                  <a:pt x="294" y="88"/>
                  <a:pt x="294" y="88"/>
                </a:cubicBezTo>
                <a:cubicBezTo>
                  <a:pt x="292" y="88"/>
                  <a:pt x="292" y="88"/>
                  <a:pt x="292" y="88"/>
                </a:cubicBezTo>
                <a:cubicBezTo>
                  <a:pt x="292" y="87"/>
                  <a:pt x="292" y="87"/>
                  <a:pt x="292" y="87"/>
                </a:cubicBezTo>
                <a:cubicBezTo>
                  <a:pt x="291" y="86"/>
                  <a:pt x="291" y="86"/>
                  <a:pt x="291" y="86"/>
                </a:cubicBezTo>
                <a:cubicBezTo>
                  <a:pt x="291" y="86"/>
                  <a:pt x="291" y="86"/>
                  <a:pt x="291" y="86"/>
                </a:cubicBezTo>
                <a:cubicBezTo>
                  <a:pt x="291" y="85"/>
                  <a:pt x="291" y="85"/>
                  <a:pt x="291" y="85"/>
                </a:cubicBezTo>
                <a:cubicBezTo>
                  <a:pt x="294" y="85"/>
                  <a:pt x="294" y="85"/>
                  <a:pt x="294" y="85"/>
                </a:cubicBezTo>
                <a:cubicBezTo>
                  <a:pt x="295" y="84"/>
                  <a:pt x="295" y="84"/>
                  <a:pt x="295" y="84"/>
                </a:cubicBezTo>
                <a:cubicBezTo>
                  <a:pt x="296" y="84"/>
                  <a:pt x="296" y="84"/>
                  <a:pt x="296" y="84"/>
                </a:cubicBezTo>
                <a:cubicBezTo>
                  <a:pt x="297" y="84"/>
                  <a:pt x="297" y="84"/>
                  <a:pt x="297" y="84"/>
                </a:cubicBezTo>
                <a:cubicBezTo>
                  <a:pt x="299" y="84"/>
                  <a:pt x="299" y="84"/>
                  <a:pt x="299" y="84"/>
                </a:cubicBezTo>
                <a:cubicBezTo>
                  <a:pt x="299" y="84"/>
                  <a:pt x="299" y="84"/>
                  <a:pt x="299" y="84"/>
                </a:cubicBezTo>
                <a:cubicBezTo>
                  <a:pt x="302" y="83"/>
                  <a:pt x="302" y="83"/>
                  <a:pt x="302" y="83"/>
                </a:cubicBezTo>
                <a:cubicBezTo>
                  <a:pt x="304" y="84"/>
                  <a:pt x="304" y="84"/>
                  <a:pt x="304" y="84"/>
                </a:cubicBezTo>
                <a:cubicBezTo>
                  <a:pt x="305" y="84"/>
                  <a:pt x="305" y="84"/>
                  <a:pt x="305" y="84"/>
                </a:cubicBezTo>
                <a:cubicBezTo>
                  <a:pt x="306" y="84"/>
                  <a:pt x="306" y="84"/>
                  <a:pt x="306" y="84"/>
                </a:cubicBezTo>
                <a:cubicBezTo>
                  <a:pt x="307" y="83"/>
                  <a:pt x="307" y="83"/>
                  <a:pt x="307" y="83"/>
                </a:cubicBezTo>
                <a:cubicBezTo>
                  <a:pt x="306" y="82"/>
                  <a:pt x="306" y="82"/>
                  <a:pt x="306" y="82"/>
                </a:cubicBezTo>
                <a:cubicBezTo>
                  <a:pt x="304" y="82"/>
                  <a:pt x="304" y="82"/>
                  <a:pt x="304" y="82"/>
                </a:cubicBezTo>
                <a:cubicBezTo>
                  <a:pt x="302" y="82"/>
                  <a:pt x="302" y="82"/>
                  <a:pt x="302" y="82"/>
                </a:cubicBezTo>
                <a:cubicBezTo>
                  <a:pt x="301" y="82"/>
                  <a:pt x="301" y="82"/>
                  <a:pt x="301" y="82"/>
                </a:cubicBezTo>
                <a:cubicBezTo>
                  <a:pt x="299" y="82"/>
                  <a:pt x="299" y="82"/>
                  <a:pt x="299" y="82"/>
                </a:cubicBezTo>
                <a:cubicBezTo>
                  <a:pt x="299" y="81"/>
                  <a:pt x="299" y="81"/>
                  <a:pt x="299" y="81"/>
                </a:cubicBezTo>
                <a:cubicBezTo>
                  <a:pt x="298" y="80"/>
                  <a:pt x="298" y="80"/>
                  <a:pt x="298" y="80"/>
                </a:cubicBezTo>
                <a:cubicBezTo>
                  <a:pt x="300" y="78"/>
                  <a:pt x="300" y="78"/>
                  <a:pt x="300" y="78"/>
                </a:cubicBezTo>
                <a:cubicBezTo>
                  <a:pt x="298" y="78"/>
                  <a:pt x="298" y="78"/>
                  <a:pt x="298" y="78"/>
                </a:cubicBezTo>
                <a:cubicBezTo>
                  <a:pt x="297" y="76"/>
                  <a:pt x="297" y="76"/>
                  <a:pt x="297" y="76"/>
                </a:cubicBezTo>
                <a:cubicBezTo>
                  <a:pt x="295" y="76"/>
                  <a:pt x="295" y="76"/>
                  <a:pt x="295" y="76"/>
                </a:cubicBezTo>
                <a:cubicBezTo>
                  <a:pt x="294" y="75"/>
                  <a:pt x="294" y="75"/>
                  <a:pt x="294" y="75"/>
                </a:cubicBezTo>
                <a:cubicBezTo>
                  <a:pt x="294" y="73"/>
                  <a:pt x="294" y="73"/>
                  <a:pt x="294" y="73"/>
                </a:cubicBezTo>
                <a:cubicBezTo>
                  <a:pt x="295" y="73"/>
                  <a:pt x="295" y="73"/>
                  <a:pt x="295" y="73"/>
                </a:cubicBezTo>
                <a:cubicBezTo>
                  <a:pt x="295" y="72"/>
                  <a:pt x="295" y="72"/>
                  <a:pt x="295" y="72"/>
                </a:cubicBezTo>
                <a:cubicBezTo>
                  <a:pt x="294" y="70"/>
                  <a:pt x="294" y="70"/>
                  <a:pt x="294" y="70"/>
                </a:cubicBezTo>
                <a:cubicBezTo>
                  <a:pt x="294" y="64"/>
                  <a:pt x="294" y="64"/>
                  <a:pt x="294" y="64"/>
                </a:cubicBezTo>
                <a:cubicBezTo>
                  <a:pt x="295" y="63"/>
                  <a:pt x="295" y="63"/>
                  <a:pt x="295" y="63"/>
                </a:cubicBezTo>
                <a:cubicBezTo>
                  <a:pt x="295" y="61"/>
                  <a:pt x="295" y="61"/>
                  <a:pt x="295" y="61"/>
                </a:cubicBezTo>
                <a:cubicBezTo>
                  <a:pt x="295" y="59"/>
                  <a:pt x="295" y="59"/>
                  <a:pt x="295" y="59"/>
                </a:cubicBezTo>
                <a:cubicBezTo>
                  <a:pt x="296" y="58"/>
                  <a:pt x="296" y="58"/>
                  <a:pt x="296" y="58"/>
                </a:cubicBezTo>
                <a:cubicBezTo>
                  <a:pt x="295" y="57"/>
                  <a:pt x="295" y="57"/>
                  <a:pt x="295" y="57"/>
                </a:cubicBezTo>
                <a:cubicBezTo>
                  <a:pt x="297" y="57"/>
                  <a:pt x="297" y="57"/>
                  <a:pt x="297" y="57"/>
                </a:cubicBezTo>
                <a:cubicBezTo>
                  <a:pt x="297" y="55"/>
                  <a:pt x="297" y="55"/>
                  <a:pt x="297" y="55"/>
                </a:cubicBezTo>
                <a:cubicBezTo>
                  <a:pt x="299" y="54"/>
                  <a:pt x="299" y="54"/>
                  <a:pt x="299" y="54"/>
                </a:cubicBezTo>
                <a:cubicBezTo>
                  <a:pt x="299" y="54"/>
                  <a:pt x="299" y="54"/>
                  <a:pt x="299" y="54"/>
                </a:cubicBezTo>
                <a:cubicBezTo>
                  <a:pt x="301" y="56"/>
                  <a:pt x="301" y="56"/>
                  <a:pt x="301" y="56"/>
                </a:cubicBezTo>
                <a:cubicBezTo>
                  <a:pt x="302" y="55"/>
                  <a:pt x="302" y="55"/>
                  <a:pt x="302" y="55"/>
                </a:cubicBezTo>
                <a:cubicBezTo>
                  <a:pt x="303" y="55"/>
                  <a:pt x="303" y="55"/>
                  <a:pt x="303" y="55"/>
                </a:cubicBezTo>
                <a:cubicBezTo>
                  <a:pt x="304" y="56"/>
                  <a:pt x="304" y="56"/>
                  <a:pt x="304" y="56"/>
                </a:cubicBezTo>
                <a:cubicBezTo>
                  <a:pt x="306" y="57"/>
                  <a:pt x="306" y="57"/>
                  <a:pt x="306" y="57"/>
                </a:cubicBezTo>
                <a:cubicBezTo>
                  <a:pt x="307" y="55"/>
                  <a:pt x="307" y="55"/>
                  <a:pt x="307" y="55"/>
                </a:cubicBezTo>
                <a:cubicBezTo>
                  <a:pt x="308" y="55"/>
                  <a:pt x="308" y="55"/>
                  <a:pt x="308" y="55"/>
                </a:cubicBezTo>
                <a:cubicBezTo>
                  <a:pt x="308" y="57"/>
                  <a:pt x="308" y="57"/>
                  <a:pt x="308" y="57"/>
                </a:cubicBezTo>
                <a:cubicBezTo>
                  <a:pt x="308" y="58"/>
                  <a:pt x="308" y="58"/>
                  <a:pt x="308" y="58"/>
                </a:cubicBezTo>
                <a:cubicBezTo>
                  <a:pt x="310" y="58"/>
                  <a:pt x="310" y="58"/>
                  <a:pt x="310" y="58"/>
                </a:cubicBezTo>
                <a:cubicBezTo>
                  <a:pt x="310" y="59"/>
                  <a:pt x="310" y="59"/>
                  <a:pt x="310" y="59"/>
                </a:cubicBezTo>
                <a:cubicBezTo>
                  <a:pt x="309" y="60"/>
                  <a:pt x="309" y="60"/>
                  <a:pt x="309" y="60"/>
                </a:cubicBezTo>
                <a:cubicBezTo>
                  <a:pt x="309" y="60"/>
                  <a:pt x="309" y="60"/>
                  <a:pt x="309" y="60"/>
                </a:cubicBezTo>
                <a:cubicBezTo>
                  <a:pt x="309" y="61"/>
                  <a:pt x="309" y="61"/>
                  <a:pt x="309" y="61"/>
                </a:cubicBezTo>
                <a:cubicBezTo>
                  <a:pt x="309" y="62"/>
                  <a:pt x="309" y="62"/>
                  <a:pt x="309" y="62"/>
                </a:cubicBezTo>
                <a:cubicBezTo>
                  <a:pt x="308" y="65"/>
                  <a:pt x="308" y="65"/>
                  <a:pt x="308" y="65"/>
                </a:cubicBezTo>
                <a:cubicBezTo>
                  <a:pt x="306" y="65"/>
                  <a:pt x="306" y="65"/>
                  <a:pt x="306" y="65"/>
                </a:cubicBezTo>
                <a:cubicBezTo>
                  <a:pt x="305" y="66"/>
                  <a:pt x="305" y="66"/>
                  <a:pt x="305" y="66"/>
                </a:cubicBezTo>
                <a:cubicBezTo>
                  <a:pt x="306" y="67"/>
                  <a:pt x="306" y="67"/>
                  <a:pt x="306" y="67"/>
                </a:cubicBezTo>
                <a:cubicBezTo>
                  <a:pt x="309" y="66"/>
                  <a:pt x="309" y="66"/>
                  <a:pt x="309" y="66"/>
                </a:cubicBezTo>
                <a:cubicBezTo>
                  <a:pt x="311" y="63"/>
                  <a:pt x="311" y="63"/>
                  <a:pt x="311" y="63"/>
                </a:cubicBezTo>
                <a:cubicBezTo>
                  <a:pt x="312" y="63"/>
                  <a:pt x="312" y="63"/>
                  <a:pt x="312" y="63"/>
                </a:cubicBezTo>
                <a:cubicBezTo>
                  <a:pt x="312" y="64"/>
                  <a:pt x="312" y="64"/>
                  <a:pt x="312" y="64"/>
                </a:cubicBezTo>
                <a:cubicBezTo>
                  <a:pt x="311" y="65"/>
                  <a:pt x="311" y="65"/>
                  <a:pt x="311" y="65"/>
                </a:cubicBezTo>
                <a:cubicBezTo>
                  <a:pt x="311" y="66"/>
                  <a:pt x="311" y="66"/>
                  <a:pt x="311" y="66"/>
                </a:cubicBezTo>
                <a:cubicBezTo>
                  <a:pt x="313" y="66"/>
                  <a:pt x="313" y="66"/>
                  <a:pt x="313" y="66"/>
                </a:cubicBezTo>
                <a:cubicBezTo>
                  <a:pt x="314" y="64"/>
                  <a:pt x="314" y="64"/>
                  <a:pt x="314" y="64"/>
                </a:cubicBezTo>
                <a:cubicBezTo>
                  <a:pt x="315" y="64"/>
                  <a:pt x="315" y="64"/>
                  <a:pt x="315" y="64"/>
                </a:cubicBezTo>
                <a:cubicBezTo>
                  <a:pt x="315" y="64"/>
                  <a:pt x="315" y="64"/>
                  <a:pt x="315" y="64"/>
                </a:cubicBezTo>
                <a:cubicBezTo>
                  <a:pt x="317" y="64"/>
                  <a:pt x="317" y="64"/>
                  <a:pt x="317" y="64"/>
                </a:cubicBezTo>
                <a:cubicBezTo>
                  <a:pt x="317" y="63"/>
                  <a:pt x="317" y="63"/>
                  <a:pt x="317" y="63"/>
                </a:cubicBezTo>
                <a:cubicBezTo>
                  <a:pt x="318" y="62"/>
                  <a:pt x="318" y="62"/>
                  <a:pt x="318" y="62"/>
                </a:cubicBezTo>
                <a:cubicBezTo>
                  <a:pt x="319" y="63"/>
                  <a:pt x="319" y="63"/>
                  <a:pt x="319" y="63"/>
                </a:cubicBezTo>
                <a:cubicBezTo>
                  <a:pt x="320" y="62"/>
                  <a:pt x="320" y="62"/>
                  <a:pt x="320" y="62"/>
                </a:cubicBezTo>
                <a:cubicBezTo>
                  <a:pt x="322" y="64"/>
                  <a:pt x="322" y="64"/>
                  <a:pt x="322" y="64"/>
                </a:cubicBezTo>
                <a:cubicBezTo>
                  <a:pt x="322" y="65"/>
                  <a:pt x="322" y="65"/>
                  <a:pt x="322" y="65"/>
                </a:cubicBezTo>
                <a:cubicBezTo>
                  <a:pt x="322" y="67"/>
                  <a:pt x="322" y="67"/>
                  <a:pt x="322" y="67"/>
                </a:cubicBezTo>
                <a:cubicBezTo>
                  <a:pt x="322" y="68"/>
                  <a:pt x="322" y="68"/>
                  <a:pt x="322" y="68"/>
                </a:cubicBezTo>
                <a:cubicBezTo>
                  <a:pt x="322" y="69"/>
                  <a:pt x="322" y="69"/>
                  <a:pt x="322" y="69"/>
                </a:cubicBezTo>
                <a:cubicBezTo>
                  <a:pt x="321" y="71"/>
                  <a:pt x="321" y="71"/>
                  <a:pt x="321" y="71"/>
                </a:cubicBezTo>
                <a:cubicBezTo>
                  <a:pt x="322" y="74"/>
                  <a:pt x="322" y="74"/>
                  <a:pt x="322" y="74"/>
                </a:cubicBezTo>
                <a:cubicBezTo>
                  <a:pt x="322" y="75"/>
                  <a:pt x="322" y="75"/>
                  <a:pt x="322" y="75"/>
                </a:cubicBezTo>
                <a:cubicBezTo>
                  <a:pt x="321" y="75"/>
                  <a:pt x="321" y="75"/>
                  <a:pt x="321" y="75"/>
                </a:cubicBezTo>
                <a:cubicBezTo>
                  <a:pt x="320" y="76"/>
                  <a:pt x="320" y="76"/>
                  <a:pt x="320" y="76"/>
                </a:cubicBezTo>
                <a:cubicBezTo>
                  <a:pt x="321" y="76"/>
                  <a:pt x="321" y="76"/>
                  <a:pt x="321" y="76"/>
                </a:cubicBezTo>
                <a:cubicBezTo>
                  <a:pt x="324" y="76"/>
                  <a:pt x="324" y="76"/>
                  <a:pt x="324" y="76"/>
                </a:cubicBezTo>
                <a:cubicBezTo>
                  <a:pt x="325" y="74"/>
                  <a:pt x="325" y="74"/>
                  <a:pt x="325" y="74"/>
                </a:cubicBezTo>
                <a:cubicBezTo>
                  <a:pt x="327" y="74"/>
                  <a:pt x="327" y="74"/>
                  <a:pt x="327" y="74"/>
                </a:cubicBezTo>
                <a:cubicBezTo>
                  <a:pt x="328" y="72"/>
                  <a:pt x="328" y="72"/>
                  <a:pt x="328" y="72"/>
                </a:cubicBezTo>
                <a:cubicBezTo>
                  <a:pt x="328" y="70"/>
                  <a:pt x="328" y="70"/>
                  <a:pt x="328" y="70"/>
                </a:cubicBezTo>
                <a:cubicBezTo>
                  <a:pt x="327" y="69"/>
                  <a:pt x="327" y="69"/>
                  <a:pt x="327" y="69"/>
                </a:cubicBezTo>
                <a:cubicBezTo>
                  <a:pt x="326" y="69"/>
                  <a:pt x="326" y="69"/>
                  <a:pt x="326" y="69"/>
                </a:cubicBezTo>
                <a:cubicBezTo>
                  <a:pt x="325" y="68"/>
                  <a:pt x="325" y="68"/>
                  <a:pt x="325" y="68"/>
                </a:cubicBezTo>
                <a:cubicBezTo>
                  <a:pt x="325" y="67"/>
                  <a:pt x="325" y="67"/>
                  <a:pt x="325" y="67"/>
                </a:cubicBezTo>
                <a:cubicBezTo>
                  <a:pt x="326" y="67"/>
                  <a:pt x="326" y="67"/>
                  <a:pt x="326" y="67"/>
                </a:cubicBezTo>
                <a:cubicBezTo>
                  <a:pt x="327" y="67"/>
                  <a:pt x="327" y="67"/>
                  <a:pt x="327" y="67"/>
                </a:cubicBezTo>
                <a:cubicBezTo>
                  <a:pt x="327" y="67"/>
                  <a:pt x="327" y="67"/>
                  <a:pt x="327" y="67"/>
                </a:cubicBezTo>
                <a:cubicBezTo>
                  <a:pt x="328" y="67"/>
                  <a:pt x="328" y="67"/>
                  <a:pt x="328" y="67"/>
                </a:cubicBezTo>
                <a:cubicBezTo>
                  <a:pt x="330" y="66"/>
                  <a:pt x="330" y="66"/>
                  <a:pt x="330" y="66"/>
                </a:cubicBezTo>
                <a:cubicBezTo>
                  <a:pt x="332" y="64"/>
                  <a:pt x="332" y="64"/>
                  <a:pt x="332" y="64"/>
                </a:cubicBezTo>
                <a:cubicBezTo>
                  <a:pt x="333" y="65"/>
                  <a:pt x="333" y="65"/>
                  <a:pt x="333" y="65"/>
                </a:cubicBezTo>
                <a:cubicBezTo>
                  <a:pt x="334" y="65"/>
                  <a:pt x="334" y="65"/>
                  <a:pt x="334" y="65"/>
                </a:cubicBezTo>
                <a:cubicBezTo>
                  <a:pt x="335" y="63"/>
                  <a:pt x="335" y="63"/>
                  <a:pt x="335" y="63"/>
                </a:cubicBezTo>
                <a:cubicBezTo>
                  <a:pt x="336" y="62"/>
                  <a:pt x="336" y="62"/>
                  <a:pt x="336" y="62"/>
                </a:cubicBezTo>
                <a:cubicBezTo>
                  <a:pt x="336" y="63"/>
                  <a:pt x="336" y="63"/>
                  <a:pt x="336" y="63"/>
                </a:cubicBezTo>
                <a:cubicBezTo>
                  <a:pt x="337" y="62"/>
                  <a:pt x="337" y="62"/>
                  <a:pt x="337" y="62"/>
                </a:cubicBezTo>
                <a:cubicBezTo>
                  <a:pt x="339" y="61"/>
                  <a:pt x="339" y="61"/>
                  <a:pt x="339" y="61"/>
                </a:cubicBezTo>
                <a:cubicBezTo>
                  <a:pt x="339" y="62"/>
                  <a:pt x="339" y="62"/>
                  <a:pt x="339" y="62"/>
                </a:cubicBezTo>
                <a:cubicBezTo>
                  <a:pt x="341" y="62"/>
                  <a:pt x="341" y="62"/>
                  <a:pt x="341" y="62"/>
                </a:cubicBezTo>
                <a:cubicBezTo>
                  <a:pt x="341" y="62"/>
                  <a:pt x="341" y="62"/>
                  <a:pt x="341" y="62"/>
                </a:cubicBezTo>
                <a:cubicBezTo>
                  <a:pt x="340" y="63"/>
                  <a:pt x="340" y="63"/>
                  <a:pt x="340" y="63"/>
                </a:cubicBezTo>
                <a:cubicBezTo>
                  <a:pt x="341" y="64"/>
                  <a:pt x="341" y="64"/>
                  <a:pt x="341" y="64"/>
                </a:cubicBezTo>
                <a:cubicBezTo>
                  <a:pt x="343" y="64"/>
                  <a:pt x="343" y="64"/>
                  <a:pt x="343" y="64"/>
                </a:cubicBezTo>
                <a:cubicBezTo>
                  <a:pt x="344" y="64"/>
                  <a:pt x="344" y="64"/>
                  <a:pt x="344" y="64"/>
                </a:cubicBezTo>
                <a:cubicBezTo>
                  <a:pt x="345" y="65"/>
                  <a:pt x="345" y="65"/>
                  <a:pt x="345" y="65"/>
                </a:cubicBezTo>
                <a:cubicBezTo>
                  <a:pt x="350" y="67"/>
                  <a:pt x="350" y="67"/>
                  <a:pt x="350" y="67"/>
                </a:cubicBezTo>
                <a:cubicBezTo>
                  <a:pt x="351" y="68"/>
                  <a:pt x="351" y="68"/>
                  <a:pt x="351" y="68"/>
                </a:cubicBezTo>
                <a:cubicBezTo>
                  <a:pt x="351" y="69"/>
                  <a:pt x="351" y="69"/>
                  <a:pt x="351" y="69"/>
                </a:cubicBezTo>
                <a:cubicBezTo>
                  <a:pt x="351" y="70"/>
                  <a:pt x="351" y="70"/>
                  <a:pt x="351" y="70"/>
                </a:cubicBezTo>
                <a:cubicBezTo>
                  <a:pt x="354" y="72"/>
                  <a:pt x="354" y="72"/>
                  <a:pt x="354" y="72"/>
                </a:cubicBezTo>
                <a:cubicBezTo>
                  <a:pt x="354" y="72"/>
                  <a:pt x="354" y="72"/>
                  <a:pt x="354" y="72"/>
                </a:cubicBezTo>
                <a:cubicBezTo>
                  <a:pt x="354" y="71"/>
                  <a:pt x="354" y="71"/>
                  <a:pt x="354" y="71"/>
                </a:cubicBezTo>
                <a:cubicBezTo>
                  <a:pt x="355" y="71"/>
                  <a:pt x="355" y="71"/>
                  <a:pt x="355" y="71"/>
                </a:cubicBezTo>
                <a:cubicBezTo>
                  <a:pt x="355" y="70"/>
                  <a:pt x="355" y="70"/>
                  <a:pt x="355" y="70"/>
                </a:cubicBezTo>
                <a:cubicBezTo>
                  <a:pt x="354" y="70"/>
                  <a:pt x="354" y="70"/>
                  <a:pt x="354" y="70"/>
                </a:cubicBezTo>
                <a:cubicBezTo>
                  <a:pt x="353" y="69"/>
                  <a:pt x="353" y="69"/>
                  <a:pt x="353" y="69"/>
                </a:cubicBezTo>
                <a:cubicBezTo>
                  <a:pt x="353" y="68"/>
                  <a:pt x="353" y="68"/>
                  <a:pt x="353" y="68"/>
                </a:cubicBezTo>
                <a:cubicBezTo>
                  <a:pt x="354" y="68"/>
                  <a:pt x="354" y="68"/>
                  <a:pt x="354" y="68"/>
                </a:cubicBezTo>
                <a:cubicBezTo>
                  <a:pt x="355" y="68"/>
                  <a:pt x="355" y="68"/>
                  <a:pt x="355" y="68"/>
                </a:cubicBezTo>
                <a:cubicBezTo>
                  <a:pt x="356" y="69"/>
                  <a:pt x="356" y="69"/>
                  <a:pt x="356" y="69"/>
                </a:cubicBezTo>
                <a:cubicBezTo>
                  <a:pt x="357" y="69"/>
                  <a:pt x="357" y="69"/>
                  <a:pt x="357" y="69"/>
                </a:cubicBezTo>
                <a:cubicBezTo>
                  <a:pt x="357" y="70"/>
                  <a:pt x="357" y="70"/>
                  <a:pt x="357" y="70"/>
                </a:cubicBezTo>
                <a:cubicBezTo>
                  <a:pt x="358" y="72"/>
                  <a:pt x="358" y="72"/>
                  <a:pt x="358" y="72"/>
                </a:cubicBezTo>
                <a:cubicBezTo>
                  <a:pt x="359" y="74"/>
                  <a:pt x="359" y="74"/>
                  <a:pt x="359" y="74"/>
                </a:cubicBezTo>
                <a:cubicBezTo>
                  <a:pt x="359" y="74"/>
                  <a:pt x="359" y="74"/>
                  <a:pt x="359" y="74"/>
                </a:cubicBezTo>
                <a:cubicBezTo>
                  <a:pt x="360" y="73"/>
                  <a:pt x="360" y="73"/>
                  <a:pt x="360" y="73"/>
                </a:cubicBezTo>
                <a:cubicBezTo>
                  <a:pt x="361" y="73"/>
                  <a:pt x="361" y="73"/>
                  <a:pt x="361" y="73"/>
                </a:cubicBezTo>
                <a:cubicBezTo>
                  <a:pt x="361" y="74"/>
                  <a:pt x="361" y="74"/>
                  <a:pt x="361" y="74"/>
                </a:cubicBezTo>
                <a:cubicBezTo>
                  <a:pt x="362" y="75"/>
                  <a:pt x="362" y="75"/>
                  <a:pt x="362" y="75"/>
                </a:cubicBezTo>
                <a:cubicBezTo>
                  <a:pt x="362" y="76"/>
                  <a:pt x="362" y="76"/>
                  <a:pt x="362" y="76"/>
                </a:cubicBezTo>
                <a:cubicBezTo>
                  <a:pt x="363" y="78"/>
                  <a:pt x="363" y="78"/>
                  <a:pt x="363" y="78"/>
                </a:cubicBezTo>
                <a:cubicBezTo>
                  <a:pt x="363" y="79"/>
                  <a:pt x="363" y="79"/>
                  <a:pt x="363" y="79"/>
                </a:cubicBezTo>
                <a:cubicBezTo>
                  <a:pt x="363" y="78"/>
                  <a:pt x="363" y="78"/>
                  <a:pt x="363" y="78"/>
                </a:cubicBezTo>
                <a:cubicBezTo>
                  <a:pt x="363" y="78"/>
                  <a:pt x="363" y="78"/>
                  <a:pt x="363" y="78"/>
                </a:cubicBezTo>
                <a:cubicBezTo>
                  <a:pt x="362" y="77"/>
                  <a:pt x="362" y="77"/>
                  <a:pt x="362" y="77"/>
                </a:cubicBezTo>
                <a:cubicBezTo>
                  <a:pt x="362" y="77"/>
                  <a:pt x="362" y="77"/>
                  <a:pt x="362" y="77"/>
                </a:cubicBezTo>
                <a:cubicBezTo>
                  <a:pt x="361" y="78"/>
                  <a:pt x="361" y="78"/>
                  <a:pt x="361" y="78"/>
                </a:cubicBezTo>
                <a:cubicBezTo>
                  <a:pt x="360" y="77"/>
                  <a:pt x="360" y="77"/>
                  <a:pt x="360" y="77"/>
                </a:cubicBezTo>
                <a:cubicBezTo>
                  <a:pt x="358" y="76"/>
                  <a:pt x="358" y="76"/>
                  <a:pt x="358" y="76"/>
                </a:cubicBezTo>
                <a:cubicBezTo>
                  <a:pt x="356" y="76"/>
                  <a:pt x="356" y="76"/>
                  <a:pt x="356" y="76"/>
                </a:cubicBezTo>
                <a:cubicBezTo>
                  <a:pt x="356" y="76"/>
                  <a:pt x="356" y="76"/>
                  <a:pt x="356" y="76"/>
                </a:cubicBezTo>
                <a:cubicBezTo>
                  <a:pt x="357" y="78"/>
                  <a:pt x="357" y="78"/>
                  <a:pt x="357" y="78"/>
                </a:cubicBezTo>
                <a:cubicBezTo>
                  <a:pt x="358" y="78"/>
                  <a:pt x="358" y="78"/>
                  <a:pt x="358" y="78"/>
                </a:cubicBezTo>
                <a:cubicBezTo>
                  <a:pt x="359" y="78"/>
                  <a:pt x="359" y="78"/>
                  <a:pt x="359" y="78"/>
                </a:cubicBezTo>
                <a:cubicBezTo>
                  <a:pt x="359" y="79"/>
                  <a:pt x="359" y="79"/>
                  <a:pt x="359" y="79"/>
                </a:cubicBezTo>
                <a:cubicBezTo>
                  <a:pt x="360" y="80"/>
                  <a:pt x="360" y="80"/>
                  <a:pt x="360" y="80"/>
                </a:cubicBezTo>
                <a:cubicBezTo>
                  <a:pt x="360" y="81"/>
                  <a:pt x="360" y="81"/>
                  <a:pt x="360" y="81"/>
                </a:cubicBezTo>
                <a:cubicBezTo>
                  <a:pt x="361" y="80"/>
                  <a:pt x="361" y="80"/>
                  <a:pt x="361" y="80"/>
                </a:cubicBezTo>
                <a:cubicBezTo>
                  <a:pt x="361" y="79"/>
                  <a:pt x="361" y="79"/>
                  <a:pt x="361" y="79"/>
                </a:cubicBezTo>
                <a:cubicBezTo>
                  <a:pt x="362" y="79"/>
                  <a:pt x="362" y="79"/>
                  <a:pt x="362" y="79"/>
                </a:cubicBezTo>
                <a:cubicBezTo>
                  <a:pt x="362" y="80"/>
                  <a:pt x="362" y="80"/>
                  <a:pt x="362" y="80"/>
                </a:cubicBezTo>
                <a:cubicBezTo>
                  <a:pt x="363" y="80"/>
                  <a:pt x="363" y="80"/>
                  <a:pt x="363" y="80"/>
                </a:cubicBezTo>
                <a:cubicBezTo>
                  <a:pt x="364" y="80"/>
                  <a:pt x="364" y="80"/>
                  <a:pt x="364" y="80"/>
                </a:cubicBezTo>
                <a:cubicBezTo>
                  <a:pt x="365" y="80"/>
                  <a:pt x="365" y="80"/>
                  <a:pt x="365" y="80"/>
                </a:cubicBezTo>
                <a:cubicBezTo>
                  <a:pt x="365" y="81"/>
                  <a:pt x="365" y="81"/>
                  <a:pt x="365" y="81"/>
                </a:cubicBezTo>
                <a:cubicBezTo>
                  <a:pt x="365" y="82"/>
                  <a:pt x="365" y="82"/>
                  <a:pt x="365" y="82"/>
                </a:cubicBezTo>
                <a:cubicBezTo>
                  <a:pt x="366" y="84"/>
                  <a:pt x="366" y="84"/>
                  <a:pt x="366" y="84"/>
                </a:cubicBezTo>
                <a:cubicBezTo>
                  <a:pt x="366" y="86"/>
                  <a:pt x="366" y="86"/>
                  <a:pt x="366" y="86"/>
                </a:cubicBezTo>
                <a:cubicBezTo>
                  <a:pt x="366" y="88"/>
                  <a:pt x="366" y="88"/>
                  <a:pt x="366" y="88"/>
                </a:cubicBezTo>
                <a:cubicBezTo>
                  <a:pt x="365" y="90"/>
                  <a:pt x="365" y="90"/>
                  <a:pt x="365" y="90"/>
                </a:cubicBezTo>
                <a:cubicBezTo>
                  <a:pt x="365" y="90"/>
                  <a:pt x="365" y="90"/>
                  <a:pt x="365" y="90"/>
                </a:cubicBezTo>
                <a:cubicBezTo>
                  <a:pt x="364" y="91"/>
                  <a:pt x="364" y="91"/>
                  <a:pt x="364" y="91"/>
                </a:cubicBezTo>
                <a:cubicBezTo>
                  <a:pt x="364" y="92"/>
                  <a:pt x="364" y="92"/>
                  <a:pt x="364" y="92"/>
                </a:cubicBezTo>
                <a:cubicBezTo>
                  <a:pt x="364" y="94"/>
                  <a:pt x="364" y="94"/>
                  <a:pt x="364" y="94"/>
                </a:cubicBezTo>
                <a:cubicBezTo>
                  <a:pt x="364" y="95"/>
                  <a:pt x="364" y="95"/>
                  <a:pt x="364" y="95"/>
                </a:cubicBezTo>
                <a:cubicBezTo>
                  <a:pt x="364" y="95"/>
                  <a:pt x="364" y="95"/>
                  <a:pt x="364" y="95"/>
                </a:cubicBezTo>
                <a:cubicBezTo>
                  <a:pt x="364" y="97"/>
                  <a:pt x="364" y="97"/>
                  <a:pt x="364" y="97"/>
                </a:cubicBezTo>
                <a:cubicBezTo>
                  <a:pt x="363" y="97"/>
                  <a:pt x="363" y="97"/>
                  <a:pt x="363" y="97"/>
                </a:cubicBezTo>
                <a:cubicBezTo>
                  <a:pt x="362" y="99"/>
                  <a:pt x="362" y="99"/>
                  <a:pt x="362" y="99"/>
                </a:cubicBezTo>
                <a:cubicBezTo>
                  <a:pt x="363" y="99"/>
                  <a:pt x="363" y="99"/>
                  <a:pt x="363" y="99"/>
                </a:cubicBezTo>
                <a:cubicBezTo>
                  <a:pt x="362" y="101"/>
                  <a:pt x="362" y="101"/>
                  <a:pt x="362" y="101"/>
                </a:cubicBezTo>
                <a:cubicBezTo>
                  <a:pt x="361" y="102"/>
                  <a:pt x="361" y="102"/>
                  <a:pt x="361" y="102"/>
                </a:cubicBezTo>
                <a:cubicBezTo>
                  <a:pt x="361" y="103"/>
                  <a:pt x="361" y="103"/>
                  <a:pt x="361" y="103"/>
                </a:cubicBezTo>
                <a:cubicBezTo>
                  <a:pt x="361" y="104"/>
                  <a:pt x="361" y="104"/>
                  <a:pt x="361" y="104"/>
                </a:cubicBezTo>
                <a:cubicBezTo>
                  <a:pt x="360" y="104"/>
                  <a:pt x="360" y="104"/>
                  <a:pt x="360" y="104"/>
                </a:cubicBezTo>
                <a:cubicBezTo>
                  <a:pt x="358" y="106"/>
                  <a:pt x="358" y="106"/>
                  <a:pt x="358" y="106"/>
                </a:cubicBezTo>
                <a:cubicBezTo>
                  <a:pt x="357" y="106"/>
                  <a:pt x="357" y="106"/>
                  <a:pt x="357" y="106"/>
                </a:cubicBezTo>
                <a:cubicBezTo>
                  <a:pt x="358" y="106"/>
                  <a:pt x="358" y="106"/>
                  <a:pt x="358" y="106"/>
                </a:cubicBezTo>
                <a:cubicBezTo>
                  <a:pt x="359" y="106"/>
                  <a:pt x="359" y="106"/>
                  <a:pt x="359" y="106"/>
                </a:cubicBezTo>
                <a:cubicBezTo>
                  <a:pt x="360" y="105"/>
                  <a:pt x="360" y="105"/>
                  <a:pt x="360" y="105"/>
                </a:cubicBezTo>
                <a:cubicBezTo>
                  <a:pt x="360" y="105"/>
                  <a:pt x="360" y="105"/>
                  <a:pt x="360" y="105"/>
                </a:cubicBezTo>
                <a:cubicBezTo>
                  <a:pt x="361" y="107"/>
                  <a:pt x="361" y="107"/>
                  <a:pt x="361" y="107"/>
                </a:cubicBezTo>
                <a:cubicBezTo>
                  <a:pt x="360" y="109"/>
                  <a:pt x="360" y="109"/>
                  <a:pt x="360" y="109"/>
                </a:cubicBezTo>
                <a:cubicBezTo>
                  <a:pt x="359" y="111"/>
                  <a:pt x="359" y="111"/>
                  <a:pt x="359" y="111"/>
                </a:cubicBezTo>
                <a:cubicBezTo>
                  <a:pt x="358" y="114"/>
                  <a:pt x="358" y="114"/>
                  <a:pt x="358" y="114"/>
                </a:cubicBezTo>
                <a:cubicBezTo>
                  <a:pt x="359" y="115"/>
                  <a:pt x="359" y="115"/>
                  <a:pt x="359" y="115"/>
                </a:cubicBezTo>
                <a:cubicBezTo>
                  <a:pt x="359" y="116"/>
                  <a:pt x="359" y="116"/>
                  <a:pt x="359" y="116"/>
                </a:cubicBezTo>
                <a:cubicBezTo>
                  <a:pt x="358" y="119"/>
                  <a:pt x="358" y="119"/>
                  <a:pt x="358" y="119"/>
                </a:cubicBezTo>
                <a:cubicBezTo>
                  <a:pt x="356" y="119"/>
                  <a:pt x="356" y="119"/>
                  <a:pt x="356" y="119"/>
                </a:cubicBezTo>
                <a:cubicBezTo>
                  <a:pt x="356" y="119"/>
                  <a:pt x="356" y="119"/>
                  <a:pt x="356" y="119"/>
                </a:cubicBezTo>
                <a:cubicBezTo>
                  <a:pt x="355" y="119"/>
                  <a:pt x="355" y="119"/>
                  <a:pt x="355" y="119"/>
                </a:cubicBezTo>
                <a:cubicBezTo>
                  <a:pt x="355" y="120"/>
                  <a:pt x="355" y="120"/>
                  <a:pt x="355" y="120"/>
                </a:cubicBezTo>
                <a:cubicBezTo>
                  <a:pt x="355" y="121"/>
                  <a:pt x="355" y="121"/>
                  <a:pt x="355" y="121"/>
                </a:cubicBezTo>
                <a:cubicBezTo>
                  <a:pt x="356" y="123"/>
                  <a:pt x="356" y="123"/>
                  <a:pt x="356" y="123"/>
                </a:cubicBezTo>
                <a:cubicBezTo>
                  <a:pt x="355" y="124"/>
                  <a:pt x="355" y="124"/>
                  <a:pt x="355" y="124"/>
                </a:cubicBezTo>
                <a:cubicBezTo>
                  <a:pt x="354" y="125"/>
                  <a:pt x="354" y="125"/>
                  <a:pt x="354" y="125"/>
                </a:cubicBezTo>
                <a:cubicBezTo>
                  <a:pt x="353" y="127"/>
                  <a:pt x="353" y="127"/>
                  <a:pt x="353" y="127"/>
                </a:cubicBezTo>
                <a:cubicBezTo>
                  <a:pt x="354" y="129"/>
                  <a:pt x="354" y="129"/>
                  <a:pt x="354" y="129"/>
                </a:cubicBezTo>
                <a:cubicBezTo>
                  <a:pt x="354" y="130"/>
                  <a:pt x="354" y="130"/>
                  <a:pt x="354" y="130"/>
                </a:cubicBezTo>
                <a:cubicBezTo>
                  <a:pt x="354" y="131"/>
                  <a:pt x="354" y="131"/>
                  <a:pt x="354" y="131"/>
                </a:cubicBezTo>
                <a:cubicBezTo>
                  <a:pt x="354" y="132"/>
                  <a:pt x="354" y="132"/>
                  <a:pt x="354" y="132"/>
                </a:cubicBezTo>
                <a:cubicBezTo>
                  <a:pt x="355" y="132"/>
                  <a:pt x="355" y="132"/>
                  <a:pt x="355" y="132"/>
                </a:cubicBezTo>
                <a:cubicBezTo>
                  <a:pt x="354" y="136"/>
                  <a:pt x="354" y="136"/>
                  <a:pt x="354" y="136"/>
                </a:cubicBezTo>
                <a:cubicBezTo>
                  <a:pt x="353" y="136"/>
                  <a:pt x="353" y="136"/>
                  <a:pt x="353" y="136"/>
                </a:cubicBezTo>
                <a:cubicBezTo>
                  <a:pt x="352" y="138"/>
                  <a:pt x="352" y="138"/>
                  <a:pt x="352" y="138"/>
                </a:cubicBezTo>
                <a:cubicBezTo>
                  <a:pt x="353" y="137"/>
                  <a:pt x="353" y="137"/>
                  <a:pt x="353" y="137"/>
                </a:cubicBezTo>
                <a:cubicBezTo>
                  <a:pt x="354" y="137"/>
                  <a:pt x="354" y="137"/>
                  <a:pt x="354" y="137"/>
                </a:cubicBezTo>
                <a:cubicBezTo>
                  <a:pt x="355" y="136"/>
                  <a:pt x="355" y="136"/>
                  <a:pt x="355" y="136"/>
                </a:cubicBezTo>
                <a:cubicBezTo>
                  <a:pt x="356" y="134"/>
                  <a:pt x="356" y="134"/>
                  <a:pt x="356" y="134"/>
                </a:cubicBezTo>
                <a:cubicBezTo>
                  <a:pt x="355" y="134"/>
                  <a:pt x="355" y="134"/>
                  <a:pt x="355" y="134"/>
                </a:cubicBezTo>
                <a:cubicBezTo>
                  <a:pt x="356" y="133"/>
                  <a:pt x="356" y="133"/>
                  <a:pt x="356" y="133"/>
                </a:cubicBezTo>
                <a:cubicBezTo>
                  <a:pt x="358" y="133"/>
                  <a:pt x="358" y="133"/>
                  <a:pt x="358" y="133"/>
                </a:cubicBezTo>
                <a:cubicBezTo>
                  <a:pt x="358" y="133"/>
                  <a:pt x="358" y="133"/>
                  <a:pt x="358" y="133"/>
                </a:cubicBezTo>
                <a:cubicBezTo>
                  <a:pt x="358" y="132"/>
                  <a:pt x="358" y="132"/>
                  <a:pt x="358" y="132"/>
                </a:cubicBezTo>
                <a:cubicBezTo>
                  <a:pt x="355" y="130"/>
                  <a:pt x="355" y="130"/>
                  <a:pt x="355" y="130"/>
                </a:cubicBezTo>
                <a:cubicBezTo>
                  <a:pt x="355" y="129"/>
                  <a:pt x="355" y="129"/>
                  <a:pt x="355" y="129"/>
                </a:cubicBezTo>
                <a:cubicBezTo>
                  <a:pt x="356" y="127"/>
                  <a:pt x="356" y="127"/>
                  <a:pt x="356" y="127"/>
                </a:cubicBezTo>
                <a:cubicBezTo>
                  <a:pt x="358" y="127"/>
                  <a:pt x="358" y="127"/>
                  <a:pt x="358" y="127"/>
                </a:cubicBezTo>
                <a:cubicBezTo>
                  <a:pt x="360" y="127"/>
                  <a:pt x="360" y="127"/>
                  <a:pt x="360" y="127"/>
                </a:cubicBezTo>
                <a:cubicBezTo>
                  <a:pt x="362" y="125"/>
                  <a:pt x="362" y="125"/>
                  <a:pt x="362" y="125"/>
                </a:cubicBezTo>
                <a:cubicBezTo>
                  <a:pt x="363" y="125"/>
                  <a:pt x="363" y="125"/>
                  <a:pt x="363" y="125"/>
                </a:cubicBezTo>
                <a:cubicBezTo>
                  <a:pt x="363" y="124"/>
                  <a:pt x="363" y="124"/>
                  <a:pt x="363" y="124"/>
                </a:cubicBezTo>
                <a:cubicBezTo>
                  <a:pt x="363" y="123"/>
                  <a:pt x="363" y="123"/>
                  <a:pt x="363" y="123"/>
                </a:cubicBezTo>
                <a:cubicBezTo>
                  <a:pt x="365" y="122"/>
                  <a:pt x="365" y="122"/>
                  <a:pt x="365" y="122"/>
                </a:cubicBezTo>
                <a:cubicBezTo>
                  <a:pt x="365" y="120"/>
                  <a:pt x="365" y="120"/>
                  <a:pt x="365" y="120"/>
                </a:cubicBezTo>
                <a:cubicBezTo>
                  <a:pt x="365" y="119"/>
                  <a:pt x="365" y="119"/>
                  <a:pt x="365" y="119"/>
                </a:cubicBezTo>
                <a:cubicBezTo>
                  <a:pt x="365" y="119"/>
                  <a:pt x="365" y="119"/>
                  <a:pt x="365" y="119"/>
                </a:cubicBezTo>
                <a:cubicBezTo>
                  <a:pt x="366" y="119"/>
                  <a:pt x="366" y="119"/>
                  <a:pt x="366" y="119"/>
                </a:cubicBezTo>
                <a:cubicBezTo>
                  <a:pt x="368" y="119"/>
                  <a:pt x="368" y="119"/>
                  <a:pt x="368" y="119"/>
                </a:cubicBezTo>
                <a:cubicBezTo>
                  <a:pt x="368" y="117"/>
                  <a:pt x="368" y="117"/>
                  <a:pt x="368" y="117"/>
                </a:cubicBezTo>
                <a:cubicBezTo>
                  <a:pt x="368" y="117"/>
                  <a:pt x="368" y="117"/>
                  <a:pt x="368" y="117"/>
                </a:cubicBezTo>
                <a:cubicBezTo>
                  <a:pt x="370" y="115"/>
                  <a:pt x="370" y="115"/>
                  <a:pt x="370" y="115"/>
                </a:cubicBezTo>
                <a:cubicBezTo>
                  <a:pt x="370" y="113"/>
                  <a:pt x="370" y="113"/>
                  <a:pt x="370" y="113"/>
                </a:cubicBezTo>
                <a:cubicBezTo>
                  <a:pt x="370" y="112"/>
                  <a:pt x="370" y="112"/>
                  <a:pt x="370" y="112"/>
                </a:cubicBezTo>
                <a:cubicBezTo>
                  <a:pt x="367" y="114"/>
                  <a:pt x="367" y="114"/>
                  <a:pt x="367" y="114"/>
                </a:cubicBezTo>
                <a:cubicBezTo>
                  <a:pt x="367" y="115"/>
                  <a:pt x="367" y="115"/>
                  <a:pt x="367" y="115"/>
                </a:cubicBezTo>
                <a:cubicBezTo>
                  <a:pt x="365" y="116"/>
                  <a:pt x="365" y="116"/>
                  <a:pt x="365" y="116"/>
                </a:cubicBezTo>
                <a:cubicBezTo>
                  <a:pt x="364" y="115"/>
                  <a:pt x="364" y="115"/>
                  <a:pt x="364" y="115"/>
                </a:cubicBezTo>
                <a:cubicBezTo>
                  <a:pt x="363" y="114"/>
                  <a:pt x="363" y="114"/>
                  <a:pt x="363" y="114"/>
                </a:cubicBezTo>
                <a:cubicBezTo>
                  <a:pt x="364" y="112"/>
                  <a:pt x="364" y="112"/>
                  <a:pt x="364" y="112"/>
                </a:cubicBezTo>
                <a:cubicBezTo>
                  <a:pt x="364" y="110"/>
                  <a:pt x="364" y="110"/>
                  <a:pt x="364" y="110"/>
                </a:cubicBezTo>
                <a:cubicBezTo>
                  <a:pt x="365" y="109"/>
                  <a:pt x="365" y="109"/>
                  <a:pt x="365" y="109"/>
                </a:cubicBezTo>
                <a:cubicBezTo>
                  <a:pt x="367" y="109"/>
                  <a:pt x="367" y="109"/>
                  <a:pt x="367" y="109"/>
                </a:cubicBezTo>
                <a:cubicBezTo>
                  <a:pt x="369" y="111"/>
                  <a:pt x="369" y="111"/>
                  <a:pt x="369" y="111"/>
                </a:cubicBezTo>
                <a:cubicBezTo>
                  <a:pt x="370" y="110"/>
                  <a:pt x="370" y="110"/>
                  <a:pt x="370" y="110"/>
                </a:cubicBezTo>
                <a:cubicBezTo>
                  <a:pt x="370" y="108"/>
                  <a:pt x="370" y="108"/>
                  <a:pt x="370" y="108"/>
                </a:cubicBezTo>
                <a:cubicBezTo>
                  <a:pt x="371" y="107"/>
                  <a:pt x="371" y="107"/>
                  <a:pt x="371" y="107"/>
                </a:cubicBezTo>
                <a:cubicBezTo>
                  <a:pt x="372" y="108"/>
                  <a:pt x="372" y="108"/>
                  <a:pt x="372" y="108"/>
                </a:cubicBezTo>
                <a:cubicBezTo>
                  <a:pt x="371" y="109"/>
                  <a:pt x="371" y="109"/>
                  <a:pt x="371" y="109"/>
                </a:cubicBezTo>
                <a:cubicBezTo>
                  <a:pt x="371" y="110"/>
                  <a:pt x="371" y="110"/>
                  <a:pt x="371" y="110"/>
                </a:cubicBezTo>
                <a:cubicBezTo>
                  <a:pt x="374" y="113"/>
                  <a:pt x="374" y="113"/>
                  <a:pt x="374" y="113"/>
                </a:cubicBezTo>
                <a:cubicBezTo>
                  <a:pt x="376" y="113"/>
                  <a:pt x="376" y="113"/>
                  <a:pt x="376" y="113"/>
                </a:cubicBezTo>
                <a:cubicBezTo>
                  <a:pt x="377" y="113"/>
                  <a:pt x="377" y="113"/>
                  <a:pt x="377" y="113"/>
                </a:cubicBezTo>
                <a:cubicBezTo>
                  <a:pt x="379" y="112"/>
                  <a:pt x="379" y="112"/>
                  <a:pt x="379" y="112"/>
                </a:cubicBezTo>
                <a:cubicBezTo>
                  <a:pt x="380" y="111"/>
                  <a:pt x="380" y="111"/>
                  <a:pt x="380" y="111"/>
                </a:cubicBezTo>
                <a:cubicBezTo>
                  <a:pt x="380" y="110"/>
                  <a:pt x="380" y="110"/>
                  <a:pt x="380" y="110"/>
                </a:cubicBezTo>
                <a:cubicBezTo>
                  <a:pt x="378" y="108"/>
                  <a:pt x="378" y="108"/>
                  <a:pt x="378" y="108"/>
                </a:cubicBezTo>
                <a:cubicBezTo>
                  <a:pt x="378" y="107"/>
                  <a:pt x="378" y="107"/>
                  <a:pt x="378" y="107"/>
                </a:cubicBezTo>
                <a:cubicBezTo>
                  <a:pt x="379" y="107"/>
                  <a:pt x="379" y="107"/>
                  <a:pt x="379" y="107"/>
                </a:cubicBezTo>
                <a:cubicBezTo>
                  <a:pt x="381" y="109"/>
                  <a:pt x="381" y="109"/>
                  <a:pt x="381" y="109"/>
                </a:cubicBezTo>
                <a:cubicBezTo>
                  <a:pt x="382" y="110"/>
                  <a:pt x="382" y="110"/>
                  <a:pt x="382" y="110"/>
                </a:cubicBezTo>
                <a:cubicBezTo>
                  <a:pt x="383" y="111"/>
                  <a:pt x="383" y="111"/>
                  <a:pt x="383" y="111"/>
                </a:cubicBezTo>
                <a:cubicBezTo>
                  <a:pt x="383" y="112"/>
                  <a:pt x="383" y="112"/>
                  <a:pt x="383" y="112"/>
                </a:cubicBezTo>
                <a:cubicBezTo>
                  <a:pt x="383" y="113"/>
                  <a:pt x="383" y="113"/>
                  <a:pt x="383" y="113"/>
                </a:cubicBezTo>
                <a:cubicBezTo>
                  <a:pt x="385" y="114"/>
                  <a:pt x="385" y="114"/>
                  <a:pt x="385" y="114"/>
                </a:cubicBezTo>
                <a:cubicBezTo>
                  <a:pt x="385" y="116"/>
                  <a:pt x="385" y="116"/>
                  <a:pt x="385" y="116"/>
                </a:cubicBezTo>
                <a:cubicBezTo>
                  <a:pt x="386" y="117"/>
                  <a:pt x="386" y="117"/>
                  <a:pt x="386" y="117"/>
                </a:cubicBezTo>
                <a:cubicBezTo>
                  <a:pt x="386" y="116"/>
                  <a:pt x="386" y="116"/>
                  <a:pt x="386" y="116"/>
                </a:cubicBezTo>
                <a:cubicBezTo>
                  <a:pt x="387" y="115"/>
                  <a:pt x="387" y="115"/>
                  <a:pt x="387" y="115"/>
                </a:cubicBezTo>
                <a:cubicBezTo>
                  <a:pt x="388" y="115"/>
                  <a:pt x="388" y="115"/>
                  <a:pt x="388" y="115"/>
                </a:cubicBezTo>
                <a:cubicBezTo>
                  <a:pt x="388" y="114"/>
                  <a:pt x="388" y="114"/>
                  <a:pt x="388" y="114"/>
                </a:cubicBezTo>
                <a:cubicBezTo>
                  <a:pt x="388" y="113"/>
                  <a:pt x="388" y="113"/>
                  <a:pt x="388" y="113"/>
                </a:cubicBezTo>
                <a:cubicBezTo>
                  <a:pt x="387" y="114"/>
                  <a:pt x="387" y="114"/>
                  <a:pt x="387" y="114"/>
                </a:cubicBezTo>
                <a:cubicBezTo>
                  <a:pt x="386" y="114"/>
                  <a:pt x="386" y="114"/>
                  <a:pt x="386" y="114"/>
                </a:cubicBezTo>
                <a:cubicBezTo>
                  <a:pt x="385" y="112"/>
                  <a:pt x="385" y="112"/>
                  <a:pt x="385" y="112"/>
                </a:cubicBezTo>
                <a:cubicBezTo>
                  <a:pt x="387" y="110"/>
                  <a:pt x="387" y="110"/>
                  <a:pt x="387" y="110"/>
                </a:cubicBezTo>
                <a:cubicBezTo>
                  <a:pt x="388" y="110"/>
                  <a:pt x="388" y="110"/>
                  <a:pt x="388" y="110"/>
                </a:cubicBezTo>
                <a:cubicBezTo>
                  <a:pt x="388" y="109"/>
                  <a:pt x="388" y="109"/>
                  <a:pt x="388" y="109"/>
                </a:cubicBezTo>
                <a:cubicBezTo>
                  <a:pt x="389" y="109"/>
                  <a:pt x="389" y="109"/>
                  <a:pt x="389" y="109"/>
                </a:cubicBezTo>
                <a:cubicBezTo>
                  <a:pt x="390" y="108"/>
                  <a:pt x="390" y="108"/>
                  <a:pt x="390" y="108"/>
                </a:cubicBezTo>
                <a:cubicBezTo>
                  <a:pt x="392" y="107"/>
                  <a:pt x="392" y="107"/>
                  <a:pt x="392" y="107"/>
                </a:cubicBezTo>
                <a:cubicBezTo>
                  <a:pt x="397" y="106"/>
                  <a:pt x="397" y="106"/>
                  <a:pt x="397" y="106"/>
                </a:cubicBezTo>
                <a:cubicBezTo>
                  <a:pt x="402" y="106"/>
                  <a:pt x="402" y="106"/>
                  <a:pt x="402" y="106"/>
                </a:cubicBezTo>
                <a:cubicBezTo>
                  <a:pt x="405" y="104"/>
                  <a:pt x="405" y="104"/>
                  <a:pt x="405" y="104"/>
                </a:cubicBezTo>
                <a:cubicBezTo>
                  <a:pt x="407" y="104"/>
                  <a:pt x="407" y="104"/>
                  <a:pt x="407" y="104"/>
                </a:cubicBezTo>
                <a:cubicBezTo>
                  <a:pt x="409" y="105"/>
                  <a:pt x="409" y="105"/>
                  <a:pt x="409" y="105"/>
                </a:cubicBezTo>
                <a:cubicBezTo>
                  <a:pt x="409" y="106"/>
                  <a:pt x="409" y="106"/>
                  <a:pt x="409" y="106"/>
                </a:cubicBezTo>
                <a:cubicBezTo>
                  <a:pt x="408" y="106"/>
                  <a:pt x="408" y="106"/>
                  <a:pt x="408" y="106"/>
                </a:cubicBezTo>
                <a:cubicBezTo>
                  <a:pt x="408" y="108"/>
                  <a:pt x="408" y="108"/>
                  <a:pt x="408" y="108"/>
                </a:cubicBezTo>
                <a:cubicBezTo>
                  <a:pt x="408" y="110"/>
                  <a:pt x="408" y="110"/>
                  <a:pt x="408" y="110"/>
                </a:cubicBezTo>
                <a:cubicBezTo>
                  <a:pt x="410" y="112"/>
                  <a:pt x="410" y="112"/>
                  <a:pt x="410" y="112"/>
                </a:cubicBezTo>
                <a:cubicBezTo>
                  <a:pt x="416" y="112"/>
                  <a:pt x="416" y="112"/>
                  <a:pt x="416" y="112"/>
                </a:cubicBezTo>
                <a:cubicBezTo>
                  <a:pt x="417" y="112"/>
                  <a:pt x="417" y="112"/>
                  <a:pt x="417" y="112"/>
                </a:cubicBezTo>
                <a:cubicBezTo>
                  <a:pt x="417" y="112"/>
                  <a:pt x="417" y="112"/>
                  <a:pt x="417" y="112"/>
                </a:cubicBezTo>
                <a:cubicBezTo>
                  <a:pt x="419" y="112"/>
                  <a:pt x="419" y="112"/>
                  <a:pt x="419" y="112"/>
                </a:cubicBezTo>
                <a:cubicBezTo>
                  <a:pt x="421" y="112"/>
                  <a:pt x="421" y="112"/>
                  <a:pt x="421" y="112"/>
                </a:cubicBezTo>
                <a:cubicBezTo>
                  <a:pt x="425" y="112"/>
                  <a:pt x="425" y="112"/>
                  <a:pt x="425" y="112"/>
                </a:cubicBezTo>
                <a:cubicBezTo>
                  <a:pt x="427" y="110"/>
                  <a:pt x="427" y="110"/>
                  <a:pt x="427" y="110"/>
                </a:cubicBezTo>
                <a:cubicBezTo>
                  <a:pt x="428" y="111"/>
                  <a:pt x="428" y="111"/>
                  <a:pt x="428" y="111"/>
                </a:cubicBezTo>
                <a:cubicBezTo>
                  <a:pt x="430" y="110"/>
                  <a:pt x="430" y="110"/>
                  <a:pt x="430" y="110"/>
                </a:cubicBezTo>
                <a:cubicBezTo>
                  <a:pt x="430" y="109"/>
                  <a:pt x="430" y="109"/>
                  <a:pt x="430" y="109"/>
                </a:cubicBezTo>
                <a:cubicBezTo>
                  <a:pt x="430" y="108"/>
                  <a:pt x="430" y="108"/>
                  <a:pt x="430" y="108"/>
                </a:cubicBezTo>
                <a:cubicBezTo>
                  <a:pt x="431" y="108"/>
                  <a:pt x="431" y="108"/>
                  <a:pt x="431" y="108"/>
                </a:cubicBezTo>
                <a:cubicBezTo>
                  <a:pt x="432" y="108"/>
                  <a:pt x="432" y="108"/>
                  <a:pt x="432" y="108"/>
                </a:cubicBezTo>
                <a:cubicBezTo>
                  <a:pt x="434" y="108"/>
                  <a:pt x="434" y="108"/>
                  <a:pt x="434" y="108"/>
                </a:cubicBezTo>
                <a:cubicBezTo>
                  <a:pt x="434" y="109"/>
                  <a:pt x="434" y="109"/>
                  <a:pt x="434" y="109"/>
                </a:cubicBezTo>
                <a:cubicBezTo>
                  <a:pt x="435" y="109"/>
                  <a:pt x="435" y="109"/>
                  <a:pt x="435" y="109"/>
                </a:cubicBezTo>
                <a:cubicBezTo>
                  <a:pt x="436" y="108"/>
                  <a:pt x="436" y="108"/>
                  <a:pt x="436" y="108"/>
                </a:cubicBezTo>
                <a:cubicBezTo>
                  <a:pt x="435" y="107"/>
                  <a:pt x="435" y="107"/>
                  <a:pt x="435" y="107"/>
                </a:cubicBezTo>
                <a:cubicBezTo>
                  <a:pt x="434" y="106"/>
                  <a:pt x="434" y="106"/>
                  <a:pt x="434" y="106"/>
                </a:cubicBezTo>
                <a:cubicBezTo>
                  <a:pt x="434" y="105"/>
                  <a:pt x="434" y="105"/>
                  <a:pt x="434" y="105"/>
                </a:cubicBezTo>
                <a:cubicBezTo>
                  <a:pt x="434" y="104"/>
                  <a:pt x="434" y="104"/>
                  <a:pt x="434" y="104"/>
                </a:cubicBezTo>
                <a:cubicBezTo>
                  <a:pt x="432" y="103"/>
                  <a:pt x="432" y="103"/>
                  <a:pt x="432" y="103"/>
                </a:cubicBezTo>
                <a:cubicBezTo>
                  <a:pt x="432" y="102"/>
                  <a:pt x="432" y="102"/>
                  <a:pt x="432" y="102"/>
                </a:cubicBezTo>
                <a:cubicBezTo>
                  <a:pt x="431" y="102"/>
                  <a:pt x="431" y="102"/>
                  <a:pt x="431" y="102"/>
                </a:cubicBezTo>
                <a:cubicBezTo>
                  <a:pt x="431" y="100"/>
                  <a:pt x="431" y="100"/>
                  <a:pt x="431" y="100"/>
                </a:cubicBezTo>
                <a:cubicBezTo>
                  <a:pt x="430" y="99"/>
                  <a:pt x="430" y="99"/>
                  <a:pt x="430" y="99"/>
                </a:cubicBezTo>
                <a:cubicBezTo>
                  <a:pt x="430" y="98"/>
                  <a:pt x="430" y="98"/>
                  <a:pt x="430" y="98"/>
                </a:cubicBezTo>
                <a:cubicBezTo>
                  <a:pt x="431" y="97"/>
                  <a:pt x="431" y="97"/>
                  <a:pt x="431" y="97"/>
                </a:cubicBezTo>
                <a:cubicBezTo>
                  <a:pt x="431" y="97"/>
                  <a:pt x="431" y="97"/>
                  <a:pt x="431" y="97"/>
                </a:cubicBezTo>
                <a:cubicBezTo>
                  <a:pt x="432" y="98"/>
                  <a:pt x="432" y="98"/>
                  <a:pt x="432" y="98"/>
                </a:cubicBezTo>
                <a:cubicBezTo>
                  <a:pt x="433" y="97"/>
                  <a:pt x="433" y="97"/>
                  <a:pt x="433" y="97"/>
                </a:cubicBezTo>
                <a:cubicBezTo>
                  <a:pt x="433" y="96"/>
                  <a:pt x="433" y="96"/>
                  <a:pt x="433" y="96"/>
                </a:cubicBezTo>
                <a:cubicBezTo>
                  <a:pt x="432" y="95"/>
                  <a:pt x="432" y="95"/>
                  <a:pt x="432" y="95"/>
                </a:cubicBezTo>
                <a:cubicBezTo>
                  <a:pt x="433" y="95"/>
                  <a:pt x="433" y="95"/>
                  <a:pt x="433" y="95"/>
                </a:cubicBezTo>
                <a:cubicBezTo>
                  <a:pt x="435" y="96"/>
                  <a:pt x="435" y="96"/>
                  <a:pt x="435" y="96"/>
                </a:cubicBezTo>
                <a:cubicBezTo>
                  <a:pt x="436" y="95"/>
                  <a:pt x="436" y="95"/>
                  <a:pt x="436" y="95"/>
                </a:cubicBezTo>
                <a:cubicBezTo>
                  <a:pt x="436" y="94"/>
                  <a:pt x="436" y="94"/>
                  <a:pt x="436" y="94"/>
                </a:cubicBezTo>
                <a:cubicBezTo>
                  <a:pt x="436" y="95"/>
                  <a:pt x="436" y="95"/>
                  <a:pt x="436" y="95"/>
                </a:cubicBezTo>
                <a:cubicBezTo>
                  <a:pt x="438" y="95"/>
                  <a:pt x="438" y="95"/>
                  <a:pt x="438" y="95"/>
                </a:cubicBezTo>
                <a:cubicBezTo>
                  <a:pt x="439" y="95"/>
                  <a:pt x="439" y="95"/>
                  <a:pt x="439" y="95"/>
                </a:cubicBezTo>
                <a:cubicBezTo>
                  <a:pt x="439" y="94"/>
                  <a:pt x="439" y="94"/>
                  <a:pt x="439" y="94"/>
                </a:cubicBezTo>
                <a:cubicBezTo>
                  <a:pt x="440" y="95"/>
                  <a:pt x="440" y="95"/>
                  <a:pt x="440" y="95"/>
                </a:cubicBezTo>
                <a:cubicBezTo>
                  <a:pt x="441" y="96"/>
                  <a:pt x="441" y="96"/>
                  <a:pt x="441" y="96"/>
                </a:cubicBezTo>
                <a:cubicBezTo>
                  <a:pt x="442" y="97"/>
                  <a:pt x="442" y="97"/>
                  <a:pt x="442" y="97"/>
                </a:cubicBezTo>
                <a:cubicBezTo>
                  <a:pt x="443" y="96"/>
                  <a:pt x="443" y="96"/>
                  <a:pt x="443" y="96"/>
                </a:cubicBezTo>
                <a:cubicBezTo>
                  <a:pt x="443" y="95"/>
                  <a:pt x="443" y="95"/>
                  <a:pt x="443" y="95"/>
                </a:cubicBezTo>
                <a:cubicBezTo>
                  <a:pt x="444" y="95"/>
                  <a:pt x="444" y="95"/>
                  <a:pt x="444" y="95"/>
                </a:cubicBezTo>
                <a:cubicBezTo>
                  <a:pt x="445" y="96"/>
                  <a:pt x="445" y="96"/>
                  <a:pt x="445" y="96"/>
                </a:cubicBezTo>
                <a:cubicBezTo>
                  <a:pt x="444" y="97"/>
                  <a:pt x="444" y="97"/>
                  <a:pt x="444" y="97"/>
                </a:cubicBezTo>
                <a:cubicBezTo>
                  <a:pt x="443" y="98"/>
                  <a:pt x="443" y="98"/>
                  <a:pt x="443" y="98"/>
                </a:cubicBezTo>
                <a:cubicBezTo>
                  <a:pt x="444" y="98"/>
                  <a:pt x="444" y="98"/>
                  <a:pt x="444" y="98"/>
                </a:cubicBezTo>
                <a:cubicBezTo>
                  <a:pt x="445" y="98"/>
                  <a:pt x="445" y="98"/>
                  <a:pt x="445" y="98"/>
                </a:cubicBezTo>
                <a:cubicBezTo>
                  <a:pt x="446" y="98"/>
                  <a:pt x="446" y="98"/>
                  <a:pt x="446" y="98"/>
                </a:cubicBezTo>
                <a:cubicBezTo>
                  <a:pt x="446" y="97"/>
                  <a:pt x="446" y="97"/>
                  <a:pt x="446" y="97"/>
                </a:cubicBezTo>
                <a:cubicBezTo>
                  <a:pt x="446" y="97"/>
                  <a:pt x="446" y="97"/>
                  <a:pt x="446" y="97"/>
                </a:cubicBezTo>
                <a:cubicBezTo>
                  <a:pt x="447" y="97"/>
                  <a:pt x="447" y="97"/>
                  <a:pt x="447" y="97"/>
                </a:cubicBezTo>
                <a:cubicBezTo>
                  <a:pt x="447" y="96"/>
                  <a:pt x="447" y="96"/>
                  <a:pt x="447" y="96"/>
                </a:cubicBezTo>
                <a:cubicBezTo>
                  <a:pt x="446" y="95"/>
                  <a:pt x="446" y="95"/>
                  <a:pt x="446" y="95"/>
                </a:cubicBezTo>
                <a:cubicBezTo>
                  <a:pt x="446" y="95"/>
                  <a:pt x="446" y="95"/>
                  <a:pt x="446" y="95"/>
                </a:cubicBezTo>
                <a:cubicBezTo>
                  <a:pt x="447" y="95"/>
                  <a:pt x="447" y="95"/>
                  <a:pt x="447" y="95"/>
                </a:cubicBezTo>
                <a:cubicBezTo>
                  <a:pt x="449" y="94"/>
                  <a:pt x="449" y="94"/>
                  <a:pt x="449" y="94"/>
                </a:cubicBezTo>
                <a:cubicBezTo>
                  <a:pt x="450" y="95"/>
                  <a:pt x="450" y="95"/>
                  <a:pt x="450" y="95"/>
                </a:cubicBezTo>
                <a:cubicBezTo>
                  <a:pt x="451" y="95"/>
                  <a:pt x="451" y="95"/>
                  <a:pt x="451" y="95"/>
                </a:cubicBezTo>
                <a:cubicBezTo>
                  <a:pt x="452" y="95"/>
                  <a:pt x="452" y="95"/>
                  <a:pt x="452" y="95"/>
                </a:cubicBezTo>
                <a:cubicBezTo>
                  <a:pt x="452" y="95"/>
                  <a:pt x="452" y="95"/>
                  <a:pt x="452" y="95"/>
                </a:cubicBezTo>
                <a:cubicBezTo>
                  <a:pt x="453" y="97"/>
                  <a:pt x="453" y="97"/>
                  <a:pt x="453" y="97"/>
                </a:cubicBezTo>
                <a:cubicBezTo>
                  <a:pt x="453" y="96"/>
                  <a:pt x="453" y="96"/>
                  <a:pt x="453" y="96"/>
                </a:cubicBezTo>
                <a:cubicBezTo>
                  <a:pt x="454" y="96"/>
                  <a:pt x="454" y="96"/>
                  <a:pt x="454" y="96"/>
                </a:cubicBezTo>
                <a:cubicBezTo>
                  <a:pt x="455" y="95"/>
                  <a:pt x="455" y="95"/>
                  <a:pt x="455" y="95"/>
                </a:cubicBezTo>
                <a:cubicBezTo>
                  <a:pt x="455" y="97"/>
                  <a:pt x="455" y="97"/>
                  <a:pt x="455" y="97"/>
                </a:cubicBezTo>
                <a:cubicBezTo>
                  <a:pt x="456" y="97"/>
                  <a:pt x="456" y="97"/>
                  <a:pt x="456" y="97"/>
                </a:cubicBezTo>
                <a:cubicBezTo>
                  <a:pt x="457" y="96"/>
                  <a:pt x="457" y="96"/>
                  <a:pt x="457" y="96"/>
                </a:cubicBezTo>
                <a:cubicBezTo>
                  <a:pt x="458" y="97"/>
                  <a:pt x="458" y="97"/>
                  <a:pt x="458" y="97"/>
                </a:cubicBezTo>
                <a:cubicBezTo>
                  <a:pt x="459" y="99"/>
                  <a:pt x="459" y="99"/>
                  <a:pt x="459" y="99"/>
                </a:cubicBezTo>
                <a:cubicBezTo>
                  <a:pt x="459" y="98"/>
                  <a:pt x="459" y="98"/>
                  <a:pt x="459" y="98"/>
                </a:cubicBezTo>
                <a:cubicBezTo>
                  <a:pt x="460" y="97"/>
                  <a:pt x="460" y="97"/>
                  <a:pt x="460" y="97"/>
                </a:cubicBezTo>
                <a:cubicBezTo>
                  <a:pt x="461" y="98"/>
                  <a:pt x="461" y="98"/>
                  <a:pt x="461" y="98"/>
                </a:cubicBezTo>
                <a:cubicBezTo>
                  <a:pt x="460" y="100"/>
                  <a:pt x="460" y="100"/>
                  <a:pt x="460" y="100"/>
                </a:cubicBezTo>
                <a:cubicBezTo>
                  <a:pt x="461" y="100"/>
                  <a:pt x="461" y="100"/>
                  <a:pt x="461" y="100"/>
                </a:cubicBezTo>
                <a:cubicBezTo>
                  <a:pt x="461" y="101"/>
                  <a:pt x="461" y="101"/>
                  <a:pt x="461" y="101"/>
                </a:cubicBezTo>
                <a:cubicBezTo>
                  <a:pt x="463" y="101"/>
                  <a:pt x="463" y="101"/>
                  <a:pt x="463" y="101"/>
                </a:cubicBezTo>
                <a:cubicBezTo>
                  <a:pt x="463" y="102"/>
                  <a:pt x="463" y="102"/>
                  <a:pt x="463" y="102"/>
                </a:cubicBezTo>
                <a:cubicBezTo>
                  <a:pt x="464" y="102"/>
                  <a:pt x="464" y="102"/>
                  <a:pt x="464" y="102"/>
                </a:cubicBezTo>
                <a:cubicBezTo>
                  <a:pt x="464" y="101"/>
                  <a:pt x="464" y="101"/>
                  <a:pt x="464" y="101"/>
                </a:cubicBezTo>
                <a:cubicBezTo>
                  <a:pt x="464" y="103"/>
                  <a:pt x="464" y="103"/>
                  <a:pt x="464" y="103"/>
                </a:cubicBezTo>
                <a:cubicBezTo>
                  <a:pt x="463" y="104"/>
                  <a:pt x="463" y="104"/>
                  <a:pt x="463" y="104"/>
                </a:cubicBezTo>
                <a:cubicBezTo>
                  <a:pt x="464" y="105"/>
                  <a:pt x="464" y="105"/>
                  <a:pt x="464" y="105"/>
                </a:cubicBezTo>
                <a:cubicBezTo>
                  <a:pt x="465" y="104"/>
                  <a:pt x="465" y="104"/>
                  <a:pt x="465" y="104"/>
                </a:cubicBezTo>
                <a:cubicBezTo>
                  <a:pt x="466" y="104"/>
                  <a:pt x="466" y="104"/>
                  <a:pt x="466" y="104"/>
                </a:cubicBezTo>
                <a:cubicBezTo>
                  <a:pt x="467" y="105"/>
                  <a:pt x="467" y="105"/>
                  <a:pt x="467" y="105"/>
                </a:cubicBezTo>
                <a:cubicBezTo>
                  <a:pt x="464" y="107"/>
                  <a:pt x="464" y="107"/>
                  <a:pt x="464" y="107"/>
                </a:cubicBezTo>
                <a:cubicBezTo>
                  <a:pt x="464" y="108"/>
                  <a:pt x="464" y="108"/>
                  <a:pt x="464" y="108"/>
                </a:cubicBezTo>
                <a:cubicBezTo>
                  <a:pt x="466" y="109"/>
                  <a:pt x="466" y="109"/>
                  <a:pt x="466" y="109"/>
                </a:cubicBezTo>
                <a:cubicBezTo>
                  <a:pt x="467" y="108"/>
                  <a:pt x="467" y="108"/>
                  <a:pt x="467" y="108"/>
                </a:cubicBezTo>
                <a:cubicBezTo>
                  <a:pt x="468" y="107"/>
                  <a:pt x="468" y="107"/>
                  <a:pt x="468" y="107"/>
                </a:cubicBezTo>
                <a:cubicBezTo>
                  <a:pt x="469" y="108"/>
                  <a:pt x="469" y="108"/>
                  <a:pt x="469" y="108"/>
                </a:cubicBezTo>
                <a:cubicBezTo>
                  <a:pt x="469" y="109"/>
                  <a:pt x="469" y="109"/>
                  <a:pt x="469" y="109"/>
                </a:cubicBezTo>
                <a:cubicBezTo>
                  <a:pt x="470" y="108"/>
                  <a:pt x="470" y="108"/>
                  <a:pt x="470" y="108"/>
                </a:cubicBezTo>
                <a:cubicBezTo>
                  <a:pt x="471" y="110"/>
                  <a:pt x="471" y="110"/>
                  <a:pt x="471" y="110"/>
                </a:cubicBezTo>
                <a:cubicBezTo>
                  <a:pt x="471" y="112"/>
                  <a:pt x="471" y="112"/>
                  <a:pt x="471" y="112"/>
                </a:cubicBezTo>
                <a:cubicBezTo>
                  <a:pt x="472" y="112"/>
                  <a:pt x="472" y="112"/>
                  <a:pt x="472" y="112"/>
                </a:cubicBezTo>
                <a:cubicBezTo>
                  <a:pt x="472" y="113"/>
                  <a:pt x="472" y="113"/>
                  <a:pt x="472" y="113"/>
                </a:cubicBezTo>
                <a:cubicBezTo>
                  <a:pt x="473" y="112"/>
                  <a:pt x="473" y="112"/>
                  <a:pt x="473" y="112"/>
                </a:cubicBezTo>
                <a:cubicBezTo>
                  <a:pt x="473" y="113"/>
                  <a:pt x="473" y="113"/>
                  <a:pt x="473" y="113"/>
                </a:cubicBezTo>
                <a:cubicBezTo>
                  <a:pt x="472" y="115"/>
                  <a:pt x="472" y="115"/>
                  <a:pt x="472" y="115"/>
                </a:cubicBezTo>
                <a:cubicBezTo>
                  <a:pt x="471" y="116"/>
                  <a:pt x="471" y="116"/>
                  <a:pt x="471" y="116"/>
                </a:cubicBezTo>
                <a:cubicBezTo>
                  <a:pt x="470" y="115"/>
                  <a:pt x="470" y="115"/>
                  <a:pt x="470" y="115"/>
                </a:cubicBezTo>
                <a:cubicBezTo>
                  <a:pt x="467" y="114"/>
                  <a:pt x="467" y="114"/>
                  <a:pt x="467" y="114"/>
                </a:cubicBezTo>
                <a:cubicBezTo>
                  <a:pt x="464" y="114"/>
                  <a:pt x="464" y="114"/>
                  <a:pt x="464" y="114"/>
                </a:cubicBezTo>
                <a:cubicBezTo>
                  <a:pt x="466" y="115"/>
                  <a:pt x="466" y="115"/>
                  <a:pt x="466" y="115"/>
                </a:cubicBezTo>
                <a:cubicBezTo>
                  <a:pt x="466" y="116"/>
                  <a:pt x="466" y="116"/>
                  <a:pt x="466" y="116"/>
                </a:cubicBezTo>
                <a:cubicBezTo>
                  <a:pt x="468" y="116"/>
                  <a:pt x="468" y="116"/>
                  <a:pt x="468" y="116"/>
                </a:cubicBezTo>
                <a:cubicBezTo>
                  <a:pt x="469" y="117"/>
                  <a:pt x="469" y="117"/>
                  <a:pt x="469" y="117"/>
                </a:cubicBezTo>
                <a:cubicBezTo>
                  <a:pt x="471" y="119"/>
                  <a:pt x="471" y="119"/>
                  <a:pt x="471" y="119"/>
                </a:cubicBezTo>
                <a:cubicBezTo>
                  <a:pt x="474" y="120"/>
                  <a:pt x="474" y="120"/>
                  <a:pt x="474" y="120"/>
                </a:cubicBezTo>
                <a:cubicBezTo>
                  <a:pt x="475" y="119"/>
                  <a:pt x="475" y="119"/>
                  <a:pt x="475" y="119"/>
                </a:cubicBezTo>
                <a:cubicBezTo>
                  <a:pt x="475" y="117"/>
                  <a:pt x="475" y="117"/>
                  <a:pt x="475" y="117"/>
                </a:cubicBezTo>
                <a:cubicBezTo>
                  <a:pt x="474" y="116"/>
                  <a:pt x="474" y="116"/>
                  <a:pt x="474" y="116"/>
                </a:cubicBezTo>
                <a:cubicBezTo>
                  <a:pt x="474" y="116"/>
                  <a:pt x="474" y="116"/>
                  <a:pt x="474" y="116"/>
                </a:cubicBezTo>
                <a:cubicBezTo>
                  <a:pt x="474" y="116"/>
                  <a:pt x="474" y="116"/>
                  <a:pt x="474" y="116"/>
                </a:cubicBezTo>
                <a:cubicBezTo>
                  <a:pt x="475" y="117"/>
                  <a:pt x="475" y="117"/>
                  <a:pt x="475" y="117"/>
                </a:cubicBezTo>
                <a:cubicBezTo>
                  <a:pt x="477" y="118"/>
                  <a:pt x="477" y="118"/>
                  <a:pt x="477" y="118"/>
                </a:cubicBezTo>
                <a:cubicBezTo>
                  <a:pt x="478" y="118"/>
                  <a:pt x="478" y="118"/>
                  <a:pt x="478" y="118"/>
                </a:cubicBezTo>
                <a:cubicBezTo>
                  <a:pt x="477" y="118"/>
                  <a:pt x="477" y="118"/>
                  <a:pt x="477" y="118"/>
                </a:cubicBezTo>
                <a:cubicBezTo>
                  <a:pt x="474" y="120"/>
                  <a:pt x="474" y="120"/>
                  <a:pt x="474" y="120"/>
                </a:cubicBezTo>
                <a:cubicBezTo>
                  <a:pt x="475" y="121"/>
                  <a:pt x="475" y="121"/>
                  <a:pt x="475" y="121"/>
                </a:cubicBezTo>
                <a:cubicBezTo>
                  <a:pt x="476" y="121"/>
                  <a:pt x="476" y="121"/>
                  <a:pt x="476" y="121"/>
                </a:cubicBezTo>
                <a:cubicBezTo>
                  <a:pt x="477" y="121"/>
                  <a:pt x="477" y="121"/>
                  <a:pt x="477" y="121"/>
                </a:cubicBezTo>
                <a:cubicBezTo>
                  <a:pt x="477" y="121"/>
                  <a:pt x="477" y="121"/>
                  <a:pt x="477" y="121"/>
                </a:cubicBezTo>
                <a:cubicBezTo>
                  <a:pt x="482" y="125"/>
                  <a:pt x="482" y="125"/>
                  <a:pt x="482" y="125"/>
                </a:cubicBezTo>
                <a:cubicBezTo>
                  <a:pt x="483" y="125"/>
                  <a:pt x="483" y="125"/>
                  <a:pt x="483" y="125"/>
                </a:cubicBezTo>
                <a:cubicBezTo>
                  <a:pt x="484" y="127"/>
                  <a:pt x="484" y="127"/>
                  <a:pt x="484" y="127"/>
                </a:cubicBezTo>
                <a:cubicBezTo>
                  <a:pt x="487" y="127"/>
                  <a:pt x="487" y="127"/>
                  <a:pt x="487" y="127"/>
                </a:cubicBezTo>
                <a:cubicBezTo>
                  <a:pt x="489" y="129"/>
                  <a:pt x="489" y="129"/>
                  <a:pt x="489" y="129"/>
                </a:cubicBezTo>
                <a:cubicBezTo>
                  <a:pt x="490" y="129"/>
                  <a:pt x="490" y="129"/>
                  <a:pt x="490" y="129"/>
                </a:cubicBezTo>
                <a:cubicBezTo>
                  <a:pt x="491" y="129"/>
                  <a:pt x="491" y="129"/>
                  <a:pt x="491" y="129"/>
                </a:cubicBezTo>
                <a:cubicBezTo>
                  <a:pt x="490" y="128"/>
                  <a:pt x="490" y="128"/>
                  <a:pt x="490" y="128"/>
                </a:cubicBezTo>
                <a:cubicBezTo>
                  <a:pt x="491" y="127"/>
                  <a:pt x="491" y="127"/>
                  <a:pt x="491" y="127"/>
                </a:cubicBezTo>
                <a:cubicBezTo>
                  <a:pt x="492" y="128"/>
                  <a:pt x="492" y="128"/>
                  <a:pt x="492" y="128"/>
                </a:cubicBezTo>
                <a:cubicBezTo>
                  <a:pt x="492" y="129"/>
                  <a:pt x="492" y="129"/>
                  <a:pt x="492" y="129"/>
                </a:cubicBezTo>
                <a:cubicBezTo>
                  <a:pt x="493" y="131"/>
                  <a:pt x="493" y="131"/>
                  <a:pt x="493" y="131"/>
                </a:cubicBezTo>
                <a:cubicBezTo>
                  <a:pt x="494" y="131"/>
                  <a:pt x="494" y="131"/>
                  <a:pt x="494" y="131"/>
                </a:cubicBezTo>
                <a:cubicBezTo>
                  <a:pt x="494" y="129"/>
                  <a:pt x="494" y="129"/>
                  <a:pt x="494" y="129"/>
                </a:cubicBezTo>
                <a:cubicBezTo>
                  <a:pt x="493" y="122"/>
                  <a:pt x="493" y="122"/>
                  <a:pt x="493" y="122"/>
                </a:cubicBezTo>
                <a:cubicBezTo>
                  <a:pt x="492" y="119"/>
                  <a:pt x="492" y="119"/>
                  <a:pt x="492" y="119"/>
                </a:cubicBezTo>
                <a:cubicBezTo>
                  <a:pt x="490" y="116"/>
                  <a:pt x="490" y="116"/>
                  <a:pt x="490" y="116"/>
                </a:cubicBezTo>
                <a:cubicBezTo>
                  <a:pt x="490" y="112"/>
                  <a:pt x="490" y="112"/>
                  <a:pt x="490" y="112"/>
                </a:cubicBezTo>
                <a:cubicBezTo>
                  <a:pt x="489" y="110"/>
                  <a:pt x="489" y="110"/>
                  <a:pt x="489" y="110"/>
                </a:cubicBezTo>
                <a:cubicBezTo>
                  <a:pt x="488" y="109"/>
                  <a:pt x="488" y="109"/>
                  <a:pt x="488" y="109"/>
                </a:cubicBezTo>
                <a:cubicBezTo>
                  <a:pt x="490" y="110"/>
                  <a:pt x="490" y="110"/>
                  <a:pt x="490" y="110"/>
                </a:cubicBezTo>
                <a:cubicBezTo>
                  <a:pt x="490" y="111"/>
                  <a:pt x="490" y="111"/>
                  <a:pt x="490" y="111"/>
                </a:cubicBezTo>
                <a:cubicBezTo>
                  <a:pt x="492" y="113"/>
                  <a:pt x="492" y="113"/>
                  <a:pt x="492" y="113"/>
                </a:cubicBezTo>
                <a:cubicBezTo>
                  <a:pt x="493" y="113"/>
                  <a:pt x="493" y="113"/>
                  <a:pt x="493" y="113"/>
                </a:cubicBezTo>
                <a:cubicBezTo>
                  <a:pt x="495" y="115"/>
                  <a:pt x="495" y="115"/>
                  <a:pt x="495" y="115"/>
                </a:cubicBezTo>
                <a:cubicBezTo>
                  <a:pt x="497" y="115"/>
                  <a:pt x="497" y="115"/>
                  <a:pt x="497" y="115"/>
                </a:cubicBezTo>
                <a:cubicBezTo>
                  <a:pt x="502" y="115"/>
                  <a:pt x="502" y="115"/>
                  <a:pt x="502" y="115"/>
                </a:cubicBezTo>
                <a:cubicBezTo>
                  <a:pt x="503" y="115"/>
                  <a:pt x="503" y="115"/>
                  <a:pt x="503" y="115"/>
                </a:cubicBezTo>
                <a:cubicBezTo>
                  <a:pt x="504" y="114"/>
                  <a:pt x="504" y="114"/>
                  <a:pt x="504" y="114"/>
                </a:cubicBezTo>
                <a:cubicBezTo>
                  <a:pt x="505" y="115"/>
                  <a:pt x="505" y="115"/>
                  <a:pt x="505" y="115"/>
                </a:cubicBezTo>
                <a:cubicBezTo>
                  <a:pt x="505" y="115"/>
                  <a:pt x="505" y="115"/>
                  <a:pt x="505" y="115"/>
                </a:cubicBezTo>
                <a:cubicBezTo>
                  <a:pt x="504" y="114"/>
                  <a:pt x="504" y="114"/>
                  <a:pt x="504" y="114"/>
                </a:cubicBezTo>
                <a:cubicBezTo>
                  <a:pt x="505" y="113"/>
                  <a:pt x="505" y="113"/>
                  <a:pt x="505" y="113"/>
                </a:cubicBezTo>
                <a:cubicBezTo>
                  <a:pt x="504" y="112"/>
                  <a:pt x="504" y="112"/>
                  <a:pt x="504" y="112"/>
                </a:cubicBezTo>
                <a:cubicBezTo>
                  <a:pt x="504" y="111"/>
                  <a:pt x="504" y="111"/>
                  <a:pt x="504" y="111"/>
                </a:cubicBezTo>
                <a:cubicBezTo>
                  <a:pt x="504" y="110"/>
                  <a:pt x="504" y="110"/>
                  <a:pt x="504" y="110"/>
                </a:cubicBezTo>
                <a:cubicBezTo>
                  <a:pt x="509" y="108"/>
                  <a:pt x="509" y="108"/>
                  <a:pt x="509" y="108"/>
                </a:cubicBezTo>
                <a:cubicBezTo>
                  <a:pt x="509" y="109"/>
                  <a:pt x="509" y="109"/>
                  <a:pt x="509" y="109"/>
                </a:cubicBezTo>
                <a:cubicBezTo>
                  <a:pt x="510" y="109"/>
                  <a:pt x="510" y="109"/>
                  <a:pt x="510" y="109"/>
                </a:cubicBezTo>
                <a:cubicBezTo>
                  <a:pt x="512" y="109"/>
                  <a:pt x="512" y="109"/>
                  <a:pt x="512" y="109"/>
                </a:cubicBezTo>
                <a:cubicBezTo>
                  <a:pt x="514" y="109"/>
                  <a:pt x="514" y="109"/>
                  <a:pt x="514" y="109"/>
                </a:cubicBezTo>
                <a:cubicBezTo>
                  <a:pt x="515" y="111"/>
                  <a:pt x="515" y="111"/>
                  <a:pt x="515" y="111"/>
                </a:cubicBezTo>
                <a:cubicBezTo>
                  <a:pt x="517" y="111"/>
                  <a:pt x="517" y="111"/>
                  <a:pt x="517" y="111"/>
                </a:cubicBezTo>
                <a:cubicBezTo>
                  <a:pt x="517" y="113"/>
                  <a:pt x="517" y="113"/>
                  <a:pt x="517" y="113"/>
                </a:cubicBezTo>
                <a:cubicBezTo>
                  <a:pt x="520" y="113"/>
                  <a:pt x="520" y="113"/>
                  <a:pt x="520" y="113"/>
                </a:cubicBezTo>
                <a:cubicBezTo>
                  <a:pt x="520" y="114"/>
                  <a:pt x="520" y="114"/>
                  <a:pt x="520" y="114"/>
                </a:cubicBezTo>
                <a:cubicBezTo>
                  <a:pt x="523" y="114"/>
                  <a:pt x="523" y="114"/>
                  <a:pt x="523" y="114"/>
                </a:cubicBezTo>
                <a:cubicBezTo>
                  <a:pt x="521" y="113"/>
                  <a:pt x="521" y="113"/>
                  <a:pt x="521" y="113"/>
                </a:cubicBezTo>
                <a:cubicBezTo>
                  <a:pt x="521" y="112"/>
                  <a:pt x="521" y="112"/>
                  <a:pt x="521" y="112"/>
                </a:cubicBezTo>
                <a:cubicBezTo>
                  <a:pt x="523" y="113"/>
                  <a:pt x="523" y="113"/>
                  <a:pt x="523" y="113"/>
                </a:cubicBezTo>
                <a:cubicBezTo>
                  <a:pt x="524" y="112"/>
                  <a:pt x="524" y="112"/>
                  <a:pt x="524" y="112"/>
                </a:cubicBezTo>
                <a:cubicBezTo>
                  <a:pt x="523" y="111"/>
                  <a:pt x="523" y="111"/>
                  <a:pt x="523" y="111"/>
                </a:cubicBezTo>
                <a:cubicBezTo>
                  <a:pt x="524" y="110"/>
                  <a:pt x="524" y="110"/>
                  <a:pt x="524" y="110"/>
                </a:cubicBezTo>
                <a:cubicBezTo>
                  <a:pt x="523" y="109"/>
                  <a:pt x="523" y="109"/>
                  <a:pt x="523" y="109"/>
                </a:cubicBezTo>
                <a:cubicBezTo>
                  <a:pt x="521" y="110"/>
                  <a:pt x="521" y="110"/>
                  <a:pt x="521" y="110"/>
                </a:cubicBezTo>
                <a:cubicBezTo>
                  <a:pt x="519" y="110"/>
                  <a:pt x="519" y="110"/>
                  <a:pt x="519" y="110"/>
                </a:cubicBezTo>
                <a:cubicBezTo>
                  <a:pt x="519" y="108"/>
                  <a:pt x="519" y="108"/>
                  <a:pt x="519" y="108"/>
                </a:cubicBezTo>
                <a:cubicBezTo>
                  <a:pt x="519" y="106"/>
                  <a:pt x="519" y="106"/>
                  <a:pt x="519" y="106"/>
                </a:cubicBezTo>
                <a:cubicBezTo>
                  <a:pt x="519" y="106"/>
                  <a:pt x="519" y="106"/>
                  <a:pt x="519" y="106"/>
                </a:cubicBezTo>
                <a:cubicBezTo>
                  <a:pt x="520" y="106"/>
                  <a:pt x="520" y="106"/>
                  <a:pt x="520" y="106"/>
                </a:cubicBezTo>
                <a:cubicBezTo>
                  <a:pt x="521" y="106"/>
                  <a:pt x="521" y="106"/>
                  <a:pt x="521" y="106"/>
                </a:cubicBezTo>
                <a:cubicBezTo>
                  <a:pt x="521" y="105"/>
                  <a:pt x="521" y="105"/>
                  <a:pt x="521" y="105"/>
                </a:cubicBezTo>
                <a:cubicBezTo>
                  <a:pt x="522" y="104"/>
                  <a:pt x="522" y="104"/>
                  <a:pt x="522" y="104"/>
                </a:cubicBezTo>
                <a:cubicBezTo>
                  <a:pt x="524" y="106"/>
                  <a:pt x="524" y="106"/>
                  <a:pt x="524" y="106"/>
                </a:cubicBezTo>
                <a:cubicBezTo>
                  <a:pt x="524" y="107"/>
                  <a:pt x="524" y="107"/>
                  <a:pt x="524" y="107"/>
                </a:cubicBezTo>
                <a:cubicBezTo>
                  <a:pt x="525" y="107"/>
                  <a:pt x="525" y="107"/>
                  <a:pt x="525" y="107"/>
                </a:cubicBezTo>
                <a:cubicBezTo>
                  <a:pt x="526" y="107"/>
                  <a:pt x="526" y="107"/>
                  <a:pt x="526" y="107"/>
                </a:cubicBezTo>
                <a:cubicBezTo>
                  <a:pt x="526" y="107"/>
                  <a:pt x="526" y="107"/>
                  <a:pt x="526" y="107"/>
                </a:cubicBezTo>
                <a:cubicBezTo>
                  <a:pt x="526" y="105"/>
                  <a:pt x="526" y="105"/>
                  <a:pt x="526" y="105"/>
                </a:cubicBezTo>
                <a:cubicBezTo>
                  <a:pt x="527" y="105"/>
                  <a:pt x="527" y="105"/>
                  <a:pt x="527" y="105"/>
                </a:cubicBezTo>
                <a:cubicBezTo>
                  <a:pt x="528" y="106"/>
                  <a:pt x="528" y="106"/>
                  <a:pt x="528" y="106"/>
                </a:cubicBezTo>
                <a:cubicBezTo>
                  <a:pt x="529" y="104"/>
                  <a:pt x="529" y="104"/>
                  <a:pt x="529" y="104"/>
                </a:cubicBezTo>
                <a:cubicBezTo>
                  <a:pt x="527" y="102"/>
                  <a:pt x="527" y="102"/>
                  <a:pt x="527" y="102"/>
                </a:cubicBezTo>
                <a:cubicBezTo>
                  <a:pt x="525" y="102"/>
                  <a:pt x="525" y="102"/>
                  <a:pt x="525" y="102"/>
                </a:cubicBezTo>
                <a:cubicBezTo>
                  <a:pt x="524" y="100"/>
                  <a:pt x="524" y="100"/>
                  <a:pt x="524" y="100"/>
                </a:cubicBezTo>
                <a:cubicBezTo>
                  <a:pt x="524" y="99"/>
                  <a:pt x="524" y="99"/>
                  <a:pt x="524" y="99"/>
                </a:cubicBezTo>
                <a:cubicBezTo>
                  <a:pt x="523" y="98"/>
                  <a:pt x="523" y="98"/>
                  <a:pt x="523" y="98"/>
                </a:cubicBezTo>
                <a:cubicBezTo>
                  <a:pt x="522" y="99"/>
                  <a:pt x="522" y="99"/>
                  <a:pt x="522" y="99"/>
                </a:cubicBezTo>
                <a:cubicBezTo>
                  <a:pt x="521" y="98"/>
                  <a:pt x="521" y="98"/>
                  <a:pt x="521" y="98"/>
                </a:cubicBezTo>
                <a:cubicBezTo>
                  <a:pt x="522" y="97"/>
                  <a:pt x="522" y="97"/>
                  <a:pt x="522" y="97"/>
                </a:cubicBezTo>
                <a:cubicBezTo>
                  <a:pt x="522" y="96"/>
                  <a:pt x="522" y="96"/>
                  <a:pt x="522" y="96"/>
                </a:cubicBezTo>
                <a:cubicBezTo>
                  <a:pt x="522" y="96"/>
                  <a:pt x="522" y="96"/>
                  <a:pt x="522" y="96"/>
                </a:cubicBezTo>
                <a:cubicBezTo>
                  <a:pt x="521" y="94"/>
                  <a:pt x="521" y="94"/>
                  <a:pt x="521" y="94"/>
                </a:cubicBezTo>
                <a:cubicBezTo>
                  <a:pt x="523" y="94"/>
                  <a:pt x="523" y="94"/>
                  <a:pt x="523" y="94"/>
                </a:cubicBezTo>
                <a:cubicBezTo>
                  <a:pt x="523" y="92"/>
                  <a:pt x="523" y="92"/>
                  <a:pt x="523" y="92"/>
                </a:cubicBezTo>
                <a:cubicBezTo>
                  <a:pt x="521" y="93"/>
                  <a:pt x="521" y="93"/>
                  <a:pt x="521" y="93"/>
                </a:cubicBezTo>
                <a:cubicBezTo>
                  <a:pt x="520" y="94"/>
                  <a:pt x="520" y="94"/>
                  <a:pt x="520" y="94"/>
                </a:cubicBezTo>
                <a:cubicBezTo>
                  <a:pt x="520" y="96"/>
                  <a:pt x="520" y="96"/>
                  <a:pt x="520" y="96"/>
                </a:cubicBezTo>
                <a:cubicBezTo>
                  <a:pt x="517" y="95"/>
                  <a:pt x="517" y="95"/>
                  <a:pt x="517" y="95"/>
                </a:cubicBezTo>
                <a:cubicBezTo>
                  <a:pt x="516" y="93"/>
                  <a:pt x="516" y="93"/>
                  <a:pt x="516" y="93"/>
                </a:cubicBezTo>
                <a:cubicBezTo>
                  <a:pt x="517" y="91"/>
                  <a:pt x="517" y="91"/>
                  <a:pt x="517" y="91"/>
                </a:cubicBezTo>
                <a:cubicBezTo>
                  <a:pt x="517" y="90"/>
                  <a:pt x="517" y="90"/>
                  <a:pt x="517" y="90"/>
                </a:cubicBezTo>
                <a:cubicBezTo>
                  <a:pt x="519" y="89"/>
                  <a:pt x="519" y="89"/>
                  <a:pt x="519" y="89"/>
                </a:cubicBezTo>
                <a:cubicBezTo>
                  <a:pt x="520" y="89"/>
                  <a:pt x="520" y="89"/>
                  <a:pt x="520" y="89"/>
                </a:cubicBezTo>
                <a:cubicBezTo>
                  <a:pt x="523" y="87"/>
                  <a:pt x="523" y="87"/>
                  <a:pt x="523" y="87"/>
                </a:cubicBezTo>
                <a:cubicBezTo>
                  <a:pt x="523" y="86"/>
                  <a:pt x="523" y="86"/>
                  <a:pt x="523" y="86"/>
                </a:cubicBezTo>
                <a:cubicBezTo>
                  <a:pt x="521" y="84"/>
                  <a:pt x="521" y="84"/>
                  <a:pt x="521" y="84"/>
                </a:cubicBezTo>
                <a:cubicBezTo>
                  <a:pt x="520" y="85"/>
                  <a:pt x="520" y="85"/>
                  <a:pt x="520" y="85"/>
                </a:cubicBezTo>
                <a:cubicBezTo>
                  <a:pt x="519" y="84"/>
                  <a:pt x="519" y="84"/>
                  <a:pt x="519" y="84"/>
                </a:cubicBezTo>
                <a:cubicBezTo>
                  <a:pt x="517" y="84"/>
                  <a:pt x="517" y="84"/>
                  <a:pt x="517" y="84"/>
                </a:cubicBezTo>
                <a:cubicBezTo>
                  <a:pt x="516" y="83"/>
                  <a:pt x="516" y="83"/>
                  <a:pt x="516" y="83"/>
                </a:cubicBezTo>
                <a:cubicBezTo>
                  <a:pt x="517" y="82"/>
                  <a:pt x="517" y="82"/>
                  <a:pt x="517" y="82"/>
                </a:cubicBezTo>
                <a:cubicBezTo>
                  <a:pt x="520" y="81"/>
                  <a:pt x="520" y="81"/>
                  <a:pt x="520" y="81"/>
                </a:cubicBezTo>
                <a:cubicBezTo>
                  <a:pt x="523" y="83"/>
                  <a:pt x="523" y="83"/>
                  <a:pt x="523" y="83"/>
                </a:cubicBezTo>
                <a:cubicBezTo>
                  <a:pt x="525" y="82"/>
                  <a:pt x="525" y="82"/>
                  <a:pt x="525" y="82"/>
                </a:cubicBezTo>
                <a:cubicBezTo>
                  <a:pt x="529" y="82"/>
                  <a:pt x="529" y="82"/>
                  <a:pt x="529" y="82"/>
                </a:cubicBezTo>
                <a:cubicBezTo>
                  <a:pt x="537" y="82"/>
                  <a:pt x="537" y="82"/>
                  <a:pt x="537" y="82"/>
                </a:cubicBezTo>
                <a:cubicBezTo>
                  <a:pt x="538" y="81"/>
                  <a:pt x="538" y="81"/>
                  <a:pt x="538" y="81"/>
                </a:cubicBezTo>
                <a:cubicBezTo>
                  <a:pt x="543" y="81"/>
                  <a:pt x="543" y="81"/>
                  <a:pt x="543" y="81"/>
                </a:cubicBezTo>
                <a:cubicBezTo>
                  <a:pt x="546" y="81"/>
                  <a:pt x="546" y="81"/>
                  <a:pt x="546" y="81"/>
                </a:cubicBezTo>
                <a:cubicBezTo>
                  <a:pt x="548" y="81"/>
                  <a:pt x="548" y="81"/>
                  <a:pt x="548" y="81"/>
                </a:cubicBezTo>
                <a:cubicBezTo>
                  <a:pt x="551" y="81"/>
                  <a:pt x="551" y="81"/>
                  <a:pt x="551" y="81"/>
                </a:cubicBezTo>
                <a:cubicBezTo>
                  <a:pt x="549" y="81"/>
                  <a:pt x="549" y="81"/>
                  <a:pt x="549" y="81"/>
                </a:cubicBezTo>
                <a:cubicBezTo>
                  <a:pt x="545" y="83"/>
                  <a:pt x="545" y="83"/>
                  <a:pt x="545" y="83"/>
                </a:cubicBezTo>
                <a:cubicBezTo>
                  <a:pt x="543" y="82"/>
                  <a:pt x="543" y="82"/>
                  <a:pt x="543" y="82"/>
                </a:cubicBezTo>
                <a:cubicBezTo>
                  <a:pt x="543" y="83"/>
                  <a:pt x="543" y="83"/>
                  <a:pt x="543" y="83"/>
                </a:cubicBezTo>
                <a:cubicBezTo>
                  <a:pt x="541" y="82"/>
                  <a:pt x="541" y="82"/>
                  <a:pt x="541" y="82"/>
                </a:cubicBezTo>
                <a:cubicBezTo>
                  <a:pt x="541" y="85"/>
                  <a:pt x="541" y="85"/>
                  <a:pt x="541" y="85"/>
                </a:cubicBezTo>
                <a:cubicBezTo>
                  <a:pt x="542" y="86"/>
                  <a:pt x="542" y="86"/>
                  <a:pt x="542" y="86"/>
                </a:cubicBezTo>
                <a:cubicBezTo>
                  <a:pt x="541" y="87"/>
                  <a:pt x="541" y="87"/>
                  <a:pt x="541" y="87"/>
                </a:cubicBezTo>
                <a:cubicBezTo>
                  <a:pt x="541" y="88"/>
                  <a:pt x="541" y="88"/>
                  <a:pt x="541" y="88"/>
                </a:cubicBezTo>
                <a:cubicBezTo>
                  <a:pt x="542" y="88"/>
                  <a:pt x="542" y="88"/>
                  <a:pt x="542" y="88"/>
                </a:cubicBezTo>
                <a:cubicBezTo>
                  <a:pt x="544" y="87"/>
                  <a:pt x="544" y="87"/>
                  <a:pt x="544" y="87"/>
                </a:cubicBezTo>
                <a:cubicBezTo>
                  <a:pt x="544" y="86"/>
                  <a:pt x="544" y="86"/>
                  <a:pt x="544" y="86"/>
                </a:cubicBezTo>
                <a:cubicBezTo>
                  <a:pt x="547" y="83"/>
                  <a:pt x="547" y="83"/>
                  <a:pt x="547" y="83"/>
                </a:cubicBezTo>
                <a:cubicBezTo>
                  <a:pt x="551" y="82"/>
                  <a:pt x="551" y="82"/>
                  <a:pt x="551" y="82"/>
                </a:cubicBezTo>
                <a:cubicBezTo>
                  <a:pt x="552" y="84"/>
                  <a:pt x="552" y="84"/>
                  <a:pt x="552" y="84"/>
                </a:cubicBezTo>
                <a:cubicBezTo>
                  <a:pt x="552" y="87"/>
                  <a:pt x="552" y="87"/>
                  <a:pt x="552" y="87"/>
                </a:cubicBezTo>
                <a:cubicBezTo>
                  <a:pt x="552" y="88"/>
                  <a:pt x="552" y="88"/>
                  <a:pt x="552" y="88"/>
                </a:cubicBezTo>
                <a:cubicBezTo>
                  <a:pt x="551" y="86"/>
                  <a:pt x="551" y="86"/>
                  <a:pt x="551" y="86"/>
                </a:cubicBezTo>
                <a:cubicBezTo>
                  <a:pt x="550" y="85"/>
                  <a:pt x="550" y="85"/>
                  <a:pt x="550" y="85"/>
                </a:cubicBezTo>
                <a:cubicBezTo>
                  <a:pt x="550" y="83"/>
                  <a:pt x="550" y="83"/>
                  <a:pt x="550" y="83"/>
                </a:cubicBezTo>
                <a:cubicBezTo>
                  <a:pt x="548" y="85"/>
                  <a:pt x="548" y="85"/>
                  <a:pt x="548" y="85"/>
                </a:cubicBezTo>
                <a:cubicBezTo>
                  <a:pt x="547" y="84"/>
                  <a:pt x="547" y="84"/>
                  <a:pt x="547" y="84"/>
                </a:cubicBezTo>
                <a:cubicBezTo>
                  <a:pt x="548" y="87"/>
                  <a:pt x="548" y="87"/>
                  <a:pt x="548" y="87"/>
                </a:cubicBezTo>
                <a:cubicBezTo>
                  <a:pt x="550" y="87"/>
                  <a:pt x="550" y="87"/>
                  <a:pt x="550" y="87"/>
                </a:cubicBezTo>
                <a:cubicBezTo>
                  <a:pt x="550" y="90"/>
                  <a:pt x="550" y="90"/>
                  <a:pt x="550" y="90"/>
                </a:cubicBezTo>
                <a:cubicBezTo>
                  <a:pt x="549" y="92"/>
                  <a:pt x="549" y="92"/>
                  <a:pt x="549" y="92"/>
                </a:cubicBezTo>
                <a:cubicBezTo>
                  <a:pt x="548" y="91"/>
                  <a:pt x="548" y="91"/>
                  <a:pt x="548" y="91"/>
                </a:cubicBezTo>
                <a:cubicBezTo>
                  <a:pt x="547" y="92"/>
                  <a:pt x="547" y="92"/>
                  <a:pt x="547" y="92"/>
                </a:cubicBezTo>
                <a:cubicBezTo>
                  <a:pt x="549" y="93"/>
                  <a:pt x="549" y="93"/>
                  <a:pt x="549" y="93"/>
                </a:cubicBezTo>
                <a:cubicBezTo>
                  <a:pt x="549" y="94"/>
                  <a:pt x="549" y="94"/>
                  <a:pt x="549" y="94"/>
                </a:cubicBezTo>
                <a:cubicBezTo>
                  <a:pt x="549" y="94"/>
                  <a:pt x="549" y="94"/>
                  <a:pt x="549" y="94"/>
                </a:cubicBezTo>
                <a:cubicBezTo>
                  <a:pt x="550" y="94"/>
                  <a:pt x="550" y="94"/>
                  <a:pt x="550" y="94"/>
                </a:cubicBezTo>
                <a:cubicBezTo>
                  <a:pt x="552" y="93"/>
                  <a:pt x="552" y="93"/>
                  <a:pt x="552" y="93"/>
                </a:cubicBezTo>
                <a:cubicBezTo>
                  <a:pt x="552" y="91"/>
                  <a:pt x="552" y="91"/>
                  <a:pt x="552" y="91"/>
                </a:cubicBezTo>
                <a:cubicBezTo>
                  <a:pt x="553" y="90"/>
                  <a:pt x="553" y="90"/>
                  <a:pt x="553" y="90"/>
                </a:cubicBezTo>
                <a:cubicBezTo>
                  <a:pt x="553" y="88"/>
                  <a:pt x="553" y="88"/>
                  <a:pt x="553" y="88"/>
                </a:cubicBezTo>
                <a:cubicBezTo>
                  <a:pt x="553" y="87"/>
                  <a:pt x="553" y="87"/>
                  <a:pt x="553" y="87"/>
                </a:cubicBezTo>
                <a:cubicBezTo>
                  <a:pt x="552" y="80"/>
                  <a:pt x="552" y="80"/>
                  <a:pt x="552" y="80"/>
                </a:cubicBezTo>
                <a:cubicBezTo>
                  <a:pt x="555" y="79"/>
                  <a:pt x="555" y="79"/>
                  <a:pt x="555" y="79"/>
                </a:cubicBezTo>
                <a:cubicBezTo>
                  <a:pt x="558" y="78"/>
                  <a:pt x="558" y="78"/>
                  <a:pt x="558" y="78"/>
                </a:cubicBezTo>
                <a:cubicBezTo>
                  <a:pt x="562" y="77"/>
                  <a:pt x="562" y="77"/>
                  <a:pt x="562" y="77"/>
                </a:cubicBezTo>
                <a:cubicBezTo>
                  <a:pt x="565" y="77"/>
                  <a:pt x="565" y="77"/>
                  <a:pt x="565" y="77"/>
                </a:cubicBezTo>
                <a:cubicBezTo>
                  <a:pt x="569" y="79"/>
                  <a:pt x="569" y="79"/>
                  <a:pt x="569" y="79"/>
                </a:cubicBezTo>
                <a:cubicBezTo>
                  <a:pt x="571" y="82"/>
                  <a:pt x="571" y="82"/>
                  <a:pt x="571" y="82"/>
                </a:cubicBezTo>
                <a:cubicBezTo>
                  <a:pt x="571" y="83"/>
                  <a:pt x="571" y="83"/>
                  <a:pt x="571" y="83"/>
                </a:cubicBezTo>
                <a:cubicBezTo>
                  <a:pt x="570" y="84"/>
                  <a:pt x="570" y="84"/>
                  <a:pt x="570" y="84"/>
                </a:cubicBezTo>
                <a:cubicBezTo>
                  <a:pt x="568" y="82"/>
                  <a:pt x="568" y="82"/>
                  <a:pt x="568" y="82"/>
                </a:cubicBezTo>
                <a:cubicBezTo>
                  <a:pt x="567" y="82"/>
                  <a:pt x="567" y="82"/>
                  <a:pt x="567" y="82"/>
                </a:cubicBezTo>
                <a:cubicBezTo>
                  <a:pt x="568" y="84"/>
                  <a:pt x="568" y="84"/>
                  <a:pt x="568" y="84"/>
                </a:cubicBezTo>
                <a:cubicBezTo>
                  <a:pt x="568" y="85"/>
                  <a:pt x="568" y="85"/>
                  <a:pt x="568" y="85"/>
                </a:cubicBezTo>
                <a:cubicBezTo>
                  <a:pt x="568" y="86"/>
                  <a:pt x="568" y="86"/>
                  <a:pt x="568" y="86"/>
                </a:cubicBezTo>
                <a:cubicBezTo>
                  <a:pt x="567" y="87"/>
                  <a:pt x="567" y="87"/>
                  <a:pt x="567" y="87"/>
                </a:cubicBezTo>
                <a:cubicBezTo>
                  <a:pt x="568" y="87"/>
                  <a:pt x="568" y="87"/>
                  <a:pt x="568" y="87"/>
                </a:cubicBezTo>
                <a:cubicBezTo>
                  <a:pt x="569" y="87"/>
                  <a:pt x="569" y="87"/>
                  <a:pt x="569" y="87"/>
                </a:cubicBezTo>
                <a:cubicBezTo>
                  <a:pt x="571" y="86"/>
                  <a:pt x="571" y="86"/>
                  <a:pt x="571" y="86"/>
                </a:cubicBezTo>
                <a:cubicBezTo>
                  <a:pt x="573" y="85"/>
                  <a:pt x="573" y="85"/>
                  <a:pt x="573" y="85"/>
                </a:cubicBezTo>
                <a:cubicBezTo>
                  <a:pt x="573" y="87"/>
                  <a:pt x="573" y="87"/>
                  <a:pt x="573" y="87"/>
                </a:cubicBezTo>
                <a:cubicBezTo>
                  <a:pt x="574" y="88"/>
                  <a:pt x="574" y="88"/>
                  <a:pt x="574" y="88"/>
                </a:cubicBezTo>
                <a:cubicBezTo>
                  <a:pt x="574" y="90"/>
                  <a:pt x="574" y="90"/>
                  <a:pt x="574" y="90"/>
                </a:cubicBezTo>
                <a:cubicBezTo>
                  <a:pt x="575" y="91"/>
                  <a:pt x="575" y="91"/>
                  <a:pt x="575" y="91"/>
                </a:cubicBezTo>
                <a:cubicBezTo>
                  <a:pt x="576" y="89"/>
                  <a:pt x="576" y="89"/>
                  <a:pt x="576" y="89"/>
                </a:cubicBezTo>
                <a:cubicBezTo>
                  <a:pt x="575" y="88"/>
                  <a:pt x="575" y="88"/>
                  <a:pt x="575" y="88"/>
                </a:cubicBezTo>
                <a:cubicBezTo>
                  <a:pt x="577" y="87"/>
                  <a:pt x="577" y="87"/>
                  <a:pt x="577" y="87"/>
                </a:cubicBezTo>
                <a:cubicBezTo>
                  <a:pt x="579" y="88"/>
                  <a:pt x="579" y="88"/>
                  <a:pt x="579" y="88"/>
                </a:cubicBezTo>
                <a:cubicBezTo>
                  <a:pt x="579" y="89"/>
                  <a:pt x="579" y="89"/>
                  <a:pt x="579" y="89"/>
                </a:cubicBezTo>
                <a:cubicBezTo>
                  <a:pt x="579" y="90"/>
                  <a:pt x="579" y="90"/>
                  <a:pt x="579" y="90"/>
                </a:cubicBezTo>
                <a:cubicBezTo>
                  <a:pt x="578" y="92"/>
                  <a:pt x="578" y="92"/>
                  <a:pt x="578" y="92"/>
                </a:cubicBezTo>
                <a:cubicBezTo>
                  <a:pt x="578" y="93"/>
                  <a:pt x="578" y="93"/>
                  <a:pt x="578" y="93"/>
                </a:cubicBezTo>
                <a:cubicBezTo>
                  <a:pt x="579" y="92"/>
                  <a:pt x="579" y="92"/>
                  <a:pt x="579" y="92"/>
                </a:cubicBezTo>
                <a:cubicBezTo>
                  <a:pt x="580" y="91"/>
                  <a:pt x="580" y="91"/>
                  <a:pt x="580" y="91"/>
                </a:cubicBezTo>
                <a:cubicBezTo>
                  <a:pt x="581" y="90"/>
                  <a:pt x="581" y="90"/>
                  <a:pt x="581" y="90"/>
                </a:cubicBezTo>
                <a:cubicBezTo>
                  <a:pt x="581" y="91"/>
                  <a:pt x="581" y="91"/>
                  <a:pt x="581" y="91"/>
                </a:cubicBezTo>
                <a:cubicBezTo>
                  <a:pt x="581" y="90"/>
                  <a:pt x="581" y="90"/>
                  <a:pt x="581" y="90"/>
                </a:cubicBezTo>
                <a:cubicBezTo>
                  <a:pt x="582" y="87"/>
                  <a:pt x="582" y="87"/>
                  <a:pt x="582" y="87"/>
                </a:cubicBezTo>
                <a:cubicBezTo>
                  <a:pt x="583" y="87"/>
                  <a:pt x="583" y="87"/>
                  <a:pt x="583" y="87"/>
                </a:cubicBezTo>
                <a:cubicBezTo>
                  <a:pt x="584" y="87"/>
                  <a:pt x="584" y="87"/>
                  <a:pt x="584" y="87"/>
                </a:cubicBezTo>
                <a:cubicBezTo>
                  <a:pt x="587" y="89"/>
                  <a:pt x="587" y="89"/>
                  <a:pt x="587" y="89"/>
                </a:cubicBezTo>
                <a:cubicBezTo>
                  <a:pt x="590" y="90"/>
                  <a:pt x="590" y="90"/>
                  <a:pt x="590" y="90"/>
                </a:cubicBezTo>
                <a:cubicBezTo>
                  <a:pt x="592" y="92"/>
                  <a:pt x="592" y="92"/>
                  <a:pt x="592" y="92"/>
                </a:cubicBezTo>
                <a:cubicBezTo>
                  <a:pt x="591" y="93"/>
                  <a:pt x="591" y="93"/>
                  <a:pt x="591" y="93"/>
                </a:cubicBezTo>
                <a:cubicBezTo>
                  <a:pt x="589" y="94"/>
                  <a:pt x="589" y="94"/>
                  <a:pt x="589" y="94"/>
                </a:cubicBezTo>
                <a:cubicBezTo>
                  <a:pt x="588" y="96"/>
                  <a:pt x="588" y="96"/>
                  <a:pt x="588" y="96"/>
                </a:cubicBezTo>
                <a:cubicBezTo>
                  <a:pt x="590" y="95"/>
                  <a:pt x="590" y="95"/>
                  <a:pt x="590" y="95"/>
                </a:cubicBezTo>
                <a:cubicBezTo>
                  <a:pt x="592" y="94"/>
                  <a:pt x="592" y="94"/>
                  <a:pt x="592" y="94"/>
                </a:cubicBezTo>
                <a:cubicBezTo>
                  <a:pt x="594" y="95"/>
                  <a:pt x="594" y="95"/>
                  <a:pt x="594" y="95"/>
                </a:cubicBezTo>
                <a:cubicBezTo>
                  <a:pt x="596" y="94"/>
                  <a:pt x="596" y="94"/>
                  <a:pt x="596" y="94"/>
                </a:cubicBezTo>
                <a:cubicBezTo>
                  <a:pt x="598" y="93"/>
                  <a:pt x="598" y="93"/>
                  <a:pt x="598" y="93"/>
                </a:cubicBezTo>
                <a:cubicBezTo>
                  <a:pt x="599" y="92"/>
                  <a:pt x="599" y="92"/>
                  <a:pt x="599" y="92"/>
                </a:cubicBezTo>
                <a:cubicBezTo>
                  <a:pt x="602" y="90"/>
                  <a:pt x="602" y="90"/>
                  <a:pt x="602" y="90"/>
                </a:cubicBezTo>
                <a:cubicBezTo>
                  <a:pt x="603" y="90"/>
                  <a:pt x="603" y="90"/>
                  <a:pt x="603" y="90"/>
                </a:cubicBezTo>
                <a:cubicBezTo>
                  <a:pt x="605" y="88"/>
                  <a:pt x="605" y="88"/>
                  <a:pt x="605" y="88"/>
                </a:cubicBezTo>
                <a:cubicBezTo>
                  <a:pt x="607" y="87"/>
                  <a:pt x="607" y="87"/>
                  <a:pt x="607" y="87"/>
                </a:cubicBezTo>
                <a:cubicBezTo>
                  <a:pt x="612" y="85"/>
                  <a:pt x="612" y="85"/>
                  <a:pt x="612" y="85"/>
                </a:cubicBezTo>
                <a:cubicBezTo>
                  <a:pt x="614" y="84"/>
                  <a:pt x="614" y="84"/>
                  <a:pt x="614" y="84"/>
                </a:cubicBezTo>
                <a:cubicBezTo>
                  <a:pt x="615" y="84"/>
                  <a:pt x="615" y="84"/>
                  <a:pt x="615" y="84"/>
                </a:cubicBezTo>
                <a:cubicBezTo>
                  <a:pt x="615" y="84"/>
                  <a:pt x="615" y="84"/>
                  <a:pt x="615" y="84"/>
                </a:cubicBezTo>
                <a:cubicBezTo>
                  <a:pt x="618" y="82"/>
                  <a:pt x="618" y="82"/>
                  <a:pt x="618" y="82"/>
                </a:cubicBezTo>
                <a:cubicBezTo>
                  <a:pt x="620" y="82"/>
                  <a:pt x="620" y="82"/>
                  <a:pt x="620" y="82"/>
                </a:cubicBezTo>
                <a:cubicBezTo>
                  <a:pt x="623" y="82"/>
                  <a:pt x="623" y="82"/>
                  <a:pt x="623" y="82"/>
                </a:cubicBezTo>
                <a:cubicBezTo>
                  <a:pt x="629" y="84"/>
                  <a:pt x="629" y="84"/>
                  <a:pt x="629" y="84"/>
                </a:cubicBezTo>
                <a:cubicBezTo>
                  <a:pt x="631" y="87"/>
                  <a:pt x="631" y="87"/>
                  <a:pt x="631" y="87"/>
                </a:cubicBezTo>
                <a:cubicBezTo>
                  <a:pt x="634" y="88"/>
                  <a:pt x="634" y="88"/>
                  <a:pt x="634" y="88"/>
                </a:cubicBezTo>
                <a:cubicBezTo>
                  <a:pt x="636" y="91"/>
                  <a:pt x="636" y="91"/>
                  <a:pt x="636" y="91"/>
                </a:cubicBezTo>
                <a:cubicBezTo>
                  <a:pt x="638" y="93"/>
                  <a:pt x="638" y="93"/>
                  <a:pt x="638" y="93"/>
                </a:cubicBezTo>
                <a:cubicBezTo>
                  <a:pt x="638" y="94"/>
                  <a:pt x="638" y="94"/>
                  <a:pt x="638" y="94"/>
                </a:cubicBezTo>
                <a:cubicBezTo>
                  <a:pt x="638" y="95"/>
                  <a:pt x="638" y="95"/>
                  <a:pt x="638" y="95"/>
                </a:cubicBezTo>
                <a:cubicBezTo>
                  <a:pt x="638" y="97"/>
                  <a:pt x="638" y="97"/>
                  <a:pt x="638" y="97"/>
                </a:cubicBezTo>
                <a:cubicBezTo>
                  <a:pt x="639" y="99"/>
                  <a:pt x="639" y="99"/>
                  <a:pt x="639" y="99"/>
                </a:cubicBezTo>
                <a:cubicBezTo>
                  <a:pt x="640" y="100"/>
                  <a:pt x="640" y="100"/>
                  <a:pt x="640" y="100"/>
                </a:cubicBezTo>
                <a:cubicBezTo>
                  <a:pt x="639" y="102"/>
                  <a:pt x="639" y="102"/>
                  <a:pt x="639" y="102"/>
                </a:cubicBezTo>
                <a:cubicBezTo>
                  <a:pt x="640" y="101"/>
                  <a:pt x="640" y="101"/>
                  <a:pt x="640" y="101"/>
                </a:cubicBezTo>
                <a:cubicBezTo>
                  <a:pt x="642" y="100"/>
                  <a:pt x="642" y="100"/>
                  <a:pt x="642" y="100"/>
                </a:cubicBezTo>
                <a:cubicBezTo>
                  <a:pt x="643" y="100"/>
                  <a:pt x="643" y="100"/>
                  <a:pt x="643" y="100"/>
                </a:cubicBezTo>
                <a:cubicBezTo>
                  <a:pt x="644" y="100"/>
                  <a:pt x="644" y="100"/>
                  <a:pt x="644" y="100"/>
                </a:cubicBezTo>
                <a:cubicBezTo>
                  <a:pt x="644" y="99"/>
                  <a:pt x="644" y="99"/>
                  <a:pt x="644" y="99"/>
                </a:cubicBezTo>
                <a:cubicBezTo>
                  <a:pt x="646" y="99"/>
                  <a:pt x="646" y="99"/>
                  <a:pt x="646" y="99"/>
                </a:cubicBezTo>
                <a:cubicBezTo>
                  <a:pt x="647" y="100"/>
                  <a:pt x="647" y="100"/>
                  <a:pt x="647" y="100"/>
                </a:cubicBezTo>
                <a:cubicBezTo>
                  <a:pt x="648" y="102"/>
                  <a:pt x="648" y="102"/>
                  <a:pt x="648" y="102"/>
                </a:cubicBezTo>
                <a:cubicBezTo>
                  <a:pt x="648" y="100"/>
                  <a:pt x="648" y="100"/>
                  <a:pt x="648" y="100"/>
                </a:cubicBezTo>
                <a:cubicBezTo>
                  <a:pt x="648" y="98"/>
                  <a:pt x="648" y="98"/>
                  <a:pt x="648" y="98"/>
                </a:cubicBezTo>
                <a:cubicBezTo>
                  <a:pt x="649" y="98"/>
                  <a:pt x="649" y="98"/>
                  <a:pt x="649" y="98"/>
                </a:cubicBezTo>
                <a:cubicBezTo>
                  <a:pt x="650" y="100"/>
                  <a:pt x="650" y="100"/>
                  <a:pt x="650" y="100"/>
                </a:cubicBezTo>
                <a:cubicBezTo>
                  <a:pt x="652" y="102"/>
                  <a:pt x="652" y="102"/>
                  <a:pt x="652" y="102"/>
                </a:cubicBezTo>
                <a:cubicBezTo>
                  <a:pt x="652" y="104"/>
                  <a:pt x="652" y="104"/>
                  <a:pt x="652" y="104"/>
                </a:cubicBezTo>
                <a:cubicBezTo>
                  <a:pt x="653" y="104"/>
                  <a:pt x="653" y="104"/>
                  <a:pt x="653" y="104"/>
                </a:cubicBezTo>
                <a:cubicBezTo>
                  <a:pt x="655" y="107"/>
                  <a:pt x="655" y="107"/>
                  <a:pt x="655" y="107"/>
                </a:cubicBezTo>
                <a:cubicBezTo>
                  <a:pt x="655" y="106"/>
                  <a:pt x="655" y="106"/>
                  <a:pt x="655" y="106"/>
                </a:cubicBezTo>
                <a:cubicBezTo>
                  <a:pt x="654" y="104"/>
                  <a:pt x="654" y="104"/>
                  <a:pt x="654" y="104"/>
                </a:cubicBezTo>
                <a:cubicBezTo>
                  <a:pt x="653" y="103"/>
                  <a:pt x="653" y="103"/>
                  <a:pt x="653" y="103"/>
                </a:cubicBezTo>
                <a:cubicBezTo>
                  <a:pt x="653" y="102"/>
                  <a:pt x="653" y="102"/>
                  <a:pt x="653" y="102"/>
                </a:cubicBezTo>
                <a:cubicBezTo>
                  <a:pt x="654" y="103"/>
                  <a:pt x="654" y="103"/>
                  <a:pt x="654" y="103"/>
                </a:cubicBezTo>
                <a:cubicBezTo>
                  <a:pt x="655" y="103"/>
                  <a:pt x="655" y="103"/>
                  <a:pt x="655" y="103"/>
                </a:cubicBezTo>
                <a:cubicBezTo>
                  <a:pt x="657" y="104"/>
                  <a:pt x="657" y="104"/>
                  <a:pt x="657" y="104"/>
                </a:cubicBezTo>
                <a:cubicBezTo>
                  <a:pt x="658" y="106"/>
                  <a:pt x="658" y="106"/>
                  <a:pt x="658" y="106"/>
                </a:cubicBezTo>
                <a:cubicBezTo>
                  <a:pt x="658" y="104"/>
                  <a:pt x="658" y="104"/>
                  <a:pt x="658" y="104"/>
                </a:cubicBezTo>
                <a:cubicBezTo>
                  <a:pt x="656" y="101"/>
                  <a:pt x="656" y="101"/>
                  <a:pt x="656" y="101"/>
                </a:cubicBezTo>
                <a:cubicBezTo>
                  <a:pt x="656" y="98"/>
                  <a:pt x="656" y="98"/>
                  <a:pt x="656" y="98"/>
                </a:cubicBezTo>
                <a:cubicBezTo>
                  <a:pt x="656" y="96"/>
                  <a:pt x="656" y="96"/>
                  <a:pt x="656" y="96"/>
                </a:cubicBezTo>
                <a:cubicBezTo>
                  <a:pt x="657" y="94"/>
                  <a:pt x="657" y="94"/>
                  <a:pt x="657" y="94"/>
                </a:cubicBezTo>
                <a:cubicBezTo>
                  <a:pt x="660" y="94"/>
                  <a:pt x="660" y="94"/>
                  <a:pt x="660" y="94"/>
                </a:cubicBezTo>
                <a:cubicBezTo>
                  <a:pt x="661" y="93"/>
                  <a:pt x="661" y="93"/>
                  <a:pt x="661" y="93"/>
                </a:cubicBezTo>
                <a:cubicBezTo>
                  <a:pt x="663" y="92"/>
                  <a:pt x="663" y="92"/>
                  <a:pt x="663" y="92"/>
                </a:cubicBezTo>
                <a:cubicBezTo>
                  <a:pt x="663" y="91"/>
                  <a:pt x="663" y="91"/>
                  <a:pt x="663" y="91"/>
                </a:cubicBezTo>
                <a:cubicBezTo>
                  <a:pt x="663" y="91"/>
                  <a:pt x="663" y="91"/>
                  <a:pt x="663" y="91"/>
                </a:cubicBezTo>
                <a:cubicBezTo>
                  <a:pt x="664" y="91"/>
                  <a:pt x="664" y="91"/>
                  <a:pt x="664" y="91"/>
                </a:cubicBezTo>
                <a:cubicBezTo>
                  <a:pt x="665" y="92"/>
                  <a:pt x="665" y="92"/>
                  <a:pt x="665" y="92"/>
                </a:cubicBezTo>
                <a:cubicBezTo>
                  <a:pt x="667" y="92"/>
                  <a:pt x="667" y="92"/>
                  <a:pt x="667" y="92"/>
                </a:cubicBezTo>
                <a:cubicBezTo>
                  <a:pt x="668" y="92"/>
                  <a:pt x="668" y="92"/>
                  <a:pt x="668" y="92"/>
                </a:cubicBezTo>
                <a:cubicBezTo>
                  <a:pt x="670" y="90"/>
                  <a:pt x="670" y="90"/>
                  <a:pt x="670" y="90"/>
                </a:cubicBezTo>
                <a:cubicBezTo>
                  <a:pt x="671" y="91"/>
                  <a:pt x="671" y="91"/>
                  <a:pt x="671" y="91"/>
                </a:cubicBezTo>
                <a:cubicBezTo>
                  <a:pt x="673" y="90"/>
                  <a:pt x="673" y="90"/>
                  <a:pt x="673" y="90"/>
                </a:cubicBezTo>
                <a:cubicBezTo>
                  <a:pt x="676" y="90"/>
                  <a:pt x="676" y="90"/>
                  <a:pt x="676" y="90"/>
                </a:cubicBezTo>
                <a:cubicBezTo>
                  <a:pt x="677" y="89"/>
                  <a:pt x="677" y="89"/>
                  <a:pt x="677" y="89"/>
                </a:cubicBezTo>
                <a:cubicBezTo>
                  <a:pt x="678" y="89"/>
                  <a:pt x="678" y="89"/>
                  <a:pt x="678" y="89"/>
                </a:cubicBezTo>
                <a:cubicBezTo>
                  <a:pt x="678" y="90"/>
                  <a:pt x="678" y="90"/>
                  <a:pt x="678" y="90"/>
                </a:cubicBezTo>
                <a:cubicBezTo>
                  <a:pt x="679" y="91"/>
                  <a:pt x="679" y="91"/>
                  <a:pt x="679" y="91"/>
                </a:cubicBezTo>
                <a:cubicBezTo>
                  <a:pt x="679" y="90"/>
                  <a:pt x="679" y="90"/>
                  <a:pt x="679" y="90"/>
                </a:cubicBezTo>
                <a:cubicBezTo>
                  <a:pt x="681" y="88"/>
                  <a:pt x="681" y="88"/>
                  <a:pt x="681" y="88"/>
                </a:cubicBezTo>
                <a:cubicBezTo>
                  <a:pt x="680" y="87"/>
                  <a:pt x="680" y="87"/>
                  <a:pt x="680" y="87"/>
                </a:cubicBezTo>
                <a:cubicBezTo>
                  <a:pt x="680" y="85"/>
                  <a:pt x="680" y="85"/>
                  <a:pt x="680" y="85"/>
                </a:cubicBezTo>
                <a:cubicBezTo>
                  <a:pt x="681" y="84"/>
                  <a:pt x="681" y="84"/>
                  <a:pt x="681" y="84"/>
                </a:cubicBezTo>
                <a:cubicBezTo>
                  <a:pt x="681" y="83"/>
                  <a:pt x="681" y="83"/>
                  <a:pt x="681" y="83"/>
                </a:cubicBezTo>
                <a:cubicBezTo>
                  <a:pt x="683" y="83"/>
                  <a:pt x="683" y="83"/>
                  <a:pt x="683" y="83"/>
                </a:cubicBezTo>
                <a:cubicBezTo>
                  <a:pt x="684" y="85"/>
                  <a:pt x="684" y="85"/>
                  <a:pt x="684" y="85"/>
                </a:cubicBezTo>
                <a:cubicBezTo>
                  <a:pt x="684" y="86"/>
                  <a:pt x="684" y="86"/>
                  <a:pt x="684" y="86"/>
                </a:cubicBezTo>
                <a:cubicBezTo>
                  <a:pt x="686" y="86"/>
                  <a:pt x="686" y="86"/>
                  <a:pt x="686" y="86"/>
                </a:cubicBezTo>
                <a:cubicBezTo>
                  <a:pt x="687" y="87"/>
                  <a:pt x="687" y="87"/>
                  <a:pt x="687" y="87"/>
                </a:cubicBezTo>
                <a:cubicBezTo>
                  <a:pt x="687" y="88"/>
                  <a:pt x="687" y="88"/>
                  <a:pt x="687" y="88"/>
                </a:cubicBezTo>
                <a:cubicBezTo>
                  <a:pt x="689" y="90"/>
                  <a:pt x="689" y="90"/>
                  <a:pt x="689" y="90"/>
                </a:cubicBezTo>
                <a:cubicBezTo>
                  <a:pt x="690" y="91"/>
                  <a:pt x="690" y="91"/>
                  <a:pt x="690" y="91"/>
                </a:cubicBezTo>
                <a:cubicBezTo>
                  <a:pt x="691" y="91"/>
                  <a:pt x="691" y="91"/>
                  <a:pt x="691" y="91"/>
                </a:cubicBezTo>
                <a:cubicBezTo>
                  <a:pt x="694" y="91"/>
                  <a:pt x="694" y="91"/>
                  <a:pt x="694" y="91"/>
                </a:cubicBezTo>
                <a:cubicBezTo>
                  <a:pt x="695" y="91"/>
                  <a:pt x="695" y="91"/>
                  <a:pt x="695" y="91"/>
                </a:cubicBezTo>
                <a:cubicBezTo>
                  <a:pt x="696" y="91"/>
                  <a:pt x="696" y="91"/>
                  <a:pt x="696" y="91"/>
                </a:cubicBezTo>
                <a:cubicBezTo>
                  <a:pt x="698" y="94"/>
                  <a:pt x="698" y="94"/>
                  <a:pt x="698" y="94"/>
                </a:cubicBezTo>
                <a:cubicBezTo>
                  <a:pt x="698" y="95"/>
                  <a:pt x="698" y="95"/>
                  <a:pt x="698" y="95"/>
                </a:cubicBezTo>
                <a:cubicBezTo>
                  <a:pt x="699" y="96"/>
                  <a:pt x="699" y="96"/>
                  <a:pt x="699" y="96"/>
                </a:cubicBezTo>
                <a:cubicBezTo>
                  <a:pt x="701" y="96"/>
                  <a:pt x="701" y="96"/>
                  <a:pt x="701" y="96"/>
                </a:cubicBezTo>
                <a:cubicBezTo>
                  <a:pt x="702" y="96"/>
                  <a:pt x="702" y="96"/>
                  <a:pt x="702" y="96"/>
                </a:cubicBezTo>
                <a:cubicBezTo>
                  <a:pt x="703" y="95"/>
                  <a:pt x="703" y="95"/>
                  <a:pt x="703" y="95"/>
                </a:cubicBezTo>
                <a:cubicBezTo>
                  <a:pt x="703" y="94"/>
                  <a:pt x="703" y="94"/>
                  <a:pt x="703" y="94"/>
                </a:cubicBezTo>
                <a:cubicBezTo>
                  <a:pt x="705" y="93"/>
                  <a:pt x="705" y="93"/>
                  <a:pt x="705" y="93"/>
                </a:cubicBezTo>
                <a:cubicBezTo>
                  <a:pt x="705" y="94"/>
                  <a:pt x="705" y="94"/>
                  <a:pt x="705" y="94"/>
                </a:cubicBezTo>
                <a:cubicBezTo>
                  <a:pt x="706" y="93"/>
                  <a:pt x="706" y="93"/>
                  <a:pt x="706" y="93"/>
                </a:cubicBezTo>
                <a:cubicBezTo>
                  <a:pt x="705" y="92"/>
                  <a:pt x="705" y="92"/>
                  <a:pt x="705" y="92"/>
                </a:cubicBezTo>
                <a:cubicBezTo>
                  <a:pt x="706" y="92"/>
                  <a:pt x="706" y="92"/>
                  <a:pt x="706" y="92"/>
                </a:cubicBezTo>
                <a:cubicBezTo>
                  <a:pt x="705" y="91"/>
                  <a:pt x="705" y="91"/>
                  <a:pt x="705" y="91"/>
                </a:cubicBezTo>
                <a:cubicBezTo>
                  <a:pt x="705" y="90"/>
                  <a:pt x="705" y="90"/>
                  <a:pt x="705" y="90"/>
                </a:cubicBezTo>
                <a:cubicBezTo>
                  <a:pt x="704" y="88"/>
                  <a:pt x="704" y="88"/>
                  <a:pt x="704" y="88"/>
                </a:cubicBezTo>
                <a:cubicBezTo>
                  <a:pt x="702" y="88"/>
                  <a:pt x="702" y="88"/>
                  <a:pt x="702" y="88"/>
                </a:cubicBezTo>
                <a:cubicBezTo>
                  <a:pt x="702" y="86"/>
                  <a:pt x="702" y="86"/>
                  <a:pt x="702" y="86"/>
                </a:cubicBezTo>
                <a:cubicBezTo>
                  <a:pt x="700" y="83"/>
                  <a:pt x="700" y="83"/>
                  <a:pt x="700" y="83"/>
                </a:cubicBezTo>
                <a:cubicBezTo>
                  <a:pt x="699" y="83"/>
                  <a:pt x="699" y="83"/>
                  <a:pt x="699" y="83"/>
                </a:cubicBezTo>
                <a:cubicBezTo>
                  <a:pt x="698" y="82"/>
                  <a:pt x="698" y="82"/>
                  <a:pt x="698" y="82"/>
                </a:cubicBezTo>
                <a:cubicBezTo>
                  <a:pt x="696" y="81"/>
                  <a:pt x="696" y="81"/>
                  <a:pt x="696" y="81"/>
                </a:cubicBezTo>
                <a:cubicBezTo>
                  <a:pt x="695" y="82"/>
                  <a:pt x="695" y="82"/>
                  <a:pt x="695" y="82"/>
                </a:cubicBezTo>
                <a:cubicBezTo>
                  <a:pt x="694" y="82"/>
                  <a:pt x="694" y="82"/>
                  <a:pt x="694" y="82"/>
                </a:cubicBezTo>
                <a:cubicBezTo>
                  <a:pt x="694" y="81"/>
                  <a:pt x="694" y="81"/>
                  <a:pt x="694" y="81"/>
                </a:cubicBezTo>
                <a:cubicBezTo>
                  <a:pt x="695" y="80"/>
                  <a:pt x="695" y="80"/>
                  <a:pt x="695" y="80"/>
                </a:cubicBezTo>
                <a:cubicBezTo>
                  <a:pt x="694" y="78"/>
                  <a:pt x="694" y="78"/>
                  <a:pt x="694" y="78"/>
                </a:cubicBezTo>
                <a:cubicBezTo>
                  <a:pt x="693" y="77"/>
                  <a:pt x="693" y="77"/>
                  <a:pt x="693" y="77"/>
                </a:cubicBezTo>
                <a:cubicBezTo>
                  <a:pt x="693" y="76"/>
                  <a:pt x="693" y="76"/>
                  <a:pt x="693" y="76"/>
                </a:cubicBezTo>
                <a:cubicBezTo>
                  <a:pt x="692" y="74"/>
                  <a:pt x="692" y="74"/>
                  <a:pt x="692" y="74"/>
                </a:cubicBezTo>
                <a:cubicBezTo>
                  <a:pt x="690" y="73"/>
                  <a:pt x="690" y="73"/>
                  <a:pt x="690" y="73"/>
                </a:cubicBezTo>
                <a:cubicBezTo>
                  <a:pt x="690" y="72"/>
                  <a:pt x="690" y="72"/>
                  <a:pt x="690" y="72"/>
                </a:cubicBezTo>
                <a:cubicBezTo>
                  <a:pt x="693" y="72"/>
                  <a:pt x="693" y="72"/>
                  <a:pt x="693" y="72"/>
                </a:cubicBezTo>
                <a:cubicBezTo>
                  <a:pt x="694" y="72"/>
                  <a:pt x="694" y="72"/>
                  <a:pt x="694" y="72"/>
                </a:cubicBezTo>
                <a:cubicBezTo>
                  <a:pt x="697" y="72"/>
                  <a:pt x="697" y="72"/>
                  <a:pt x="697" y="72"/>
                </a:cubicBezTo>
                <a:cubicBezTo>
                  <a:pt x="700" y="72"/>
                  <a:pt x="700" y="72"/>
                  <a:pt x="700" y="72"/>
                </a:cubicBezTo>
                <a:cubicBezTo>
                  <a:pt x="700" y="71"/>
                  <a:pt x="700" y="71"/>
                  <a:pt x="700" y="71"/>
                </a:cubicBezTo>
                <a:cubicBezTo>
                  <a:pt x="702" y="71"/>
                  <a:pt x="702" y="71"/>
                  <a:pt x="702" y="71"/>
                </a:cubicBezTo>
                <a:cubicBezTo>
                  <a:pt x="703" y="72"/>
                  <a:pt x="703" y="72"/>
                  <a:pt x="703" y="72"/>
                </a:cubicBezTo>
                <a:cubicBezTo>
                  <a:pt x="704" y="71"/>
                  <a:pt x="704" y="71"/>
                  <a:pt x="704" y="71"/>
                </a:cubicBezTo>
                <a:cubicBezTo>
                  <a:pt x="705" y="71"/>
                  <a:pt x="705" y="71"/>
                  <a:pt x="705" y="71"/>
                </a:cubicBezTo>
                <a:cubicBezTo>
                  <a:pt x="705" y="70"/>
                  <a:pt x="705" y="70"/>
                  <a:pt x="705" y="70"/>
                </a:cubicBezTo>
                <a:cubicBezTo>
                  <a:pt x="707" y="70"/>
                  <a:pt x="707" y="70"/>
                  <a:pt x="707" y="70"/>
                </a:cubicBezTo>
                <a:cubicBezTo>
                  <a:pt x="708" y="71"/>
                  <a:pt x="708" y="71"/>
                  <a:pt x="708" y="71"/>
                </a:cubicBezTo>
                <a:cubicBezTo>
                  <a:pt x="708" y="71"/>
                  <a:pt x="708" y="71"/>
                  <a:pt x="708" y="71"/>
                </a:cubicBezTo>
                <a:cubicBezTo>
                  <a:pt x="709" y="69"/>
                  <a:pt x="709" y="69"/>
                  <a:pt x="709" y="69"/>
                </a:cubicBezTo>
                <a:cubicBezTo>
                  <a:pt x="710" y="70"/>
                  <a:pt x="710" y="70"/>
                  <a:pt x="710" y="70"/>
                </a:cubicBezTo>
                <a:cubicBezTo>
                  <a:pt x="710" y="69"/>
                  <a:pt x="710" y="69"/>
                  <a:pt x="710" y="69"/>
                </a:cubicBezTo>
                <a:cubicBezTo>
                  <a:pt x="715" y="67"/>
                  <a:pt x="715" y="67"/>
                  <a:pt x="715" y="67"/>
                </a:cubicBezTo>
                <a:cubicBezTo>
                  <a:pt x="716" y="69"/>
                  <a:pt x="716" y="69"/>
                  <a:pt x="716" y="69"/>
                </a:cubicBezTo>
                <a:cubicBezTo>
                  <a:pt x="716" y="68"/>
                  <a:pt x="716" y="68"/>
                  <a:pt x="716" y="68"/>
                </a:cubicBezTo>
                <a:cubicBezTo>
                  <a:pt x="717" y="66"/>
                  <a:pt x="717" y="66"/>
                  <a:pt x="717" y="66"/>
                </a:cubicBezTo>
                <a:cubicBezTo>
                  <a:pt x="717" y="67"/>
                  <a:pt x="717" y="67"/>
                  <a:pt x="717" y="67"/>
                </a:cubicBezTo>
                <a:cubicBezTo>
                  <a:pt x="719" y="67"/>
                  <a:pt x="719" y="67"/>
                  <a:pt x="719" y="67"/>
                </a:cubicBezTo>
                <a:cubicBezTo>
                  <a:pt x="720" y="66"/>
                  <a:pt x="720" y="66"/>
                  <a:pt x="720" y="66"/>
                </a:cubicBezTo>
                <a:cubicBezTo>
                  <a:pt x="721" y="67"/>
                  <a:pt x="721" y="67"/>
                  <a:pt x="721" y="67"/>
                </a:cubicBezTo>
                <a:cubicBezTo>
                  <a:pt x="723" y="67"/>
                  <a:pt x="723" y="67"/>
                  <a:pt x="723" y="67"/>
                </a:cubicBezTo>
                <a:cubicBezTo>
                  <a:pt x="724" y="67"/>
                  <a:pt x="724" y="67"/>
                  <a:pt x="724" y="67"/>
                </a:cubicBezTo>
                <a:cubicBezTo>
                  <a:pt x="725" y="68"/>
                  <a:pt x="725" y="68"/>
                  <a:pt x="725" y="68"/>
                </a:cubicBezTo>
                <a:cubicBezTo>
                  <a:pt x="726" y="68"/>
                  <a:pt x="726" y="68"/>
                  <a:pt x="726" y="68"/>
                </a:cubicBezTo>
                <a:cubicBezTo>
                  <a:pt x="727" y="67"/>
                  <a:pt x="727" y="67"/>
                  <a:pt x="727" y="67"/>
                </a:cubicBezTo>
                <a:cubicBezTo>
                  <a:pt x="729" y="67"/>
                  <a:pt x="729" y="67"/>
                  <a:pt x="729" y="67"/>
                </a:cubicBezTo>
                <a:cubicBezTo>
                  <a:pt x="733" y="68"/>
                  <a:pt x="733" y="68"/>
                  <a:pt x="733" y="68"/>
                </a:cubicBezTo>
                <a:cubicBezTo>
                  <a:pt x="734" y="69"/>
                  <a:pt x="734" y="69"/>
                  <a:pt x="734" y="69"/>
                </a:cubicBezTo>
                <a:cubicBezTo>
                  <a:pt x="735" y="69"/>
                  <a:pt x="735" y="69"/>
                  <a:pt x="735" y="69"/>
                </a:cubicBezTo>
                <a:cubicBezTo>
                  <a:pt x="734" y="68"/>
                  <a:pt x="734" y="68"/>
                  <a:pt x="734" y="68"/>
                </a:cubicBezTo>
                <a:cubicBezTo>
                  <a:pt x="736" y="68"/>
                  <a:pt x="736" y="68"/>
                  <a:pt x="736" y="68"/>
                </a:cubicBezTo>
                <a:cubicBezTo>
                  <a:pt x="737" y="69"/>
                  <a:pt x="737" y="69"/>
                  <a:pt x="737" y="69"/>
                </a:cubicBezTo>
                <a:cubicBezTo>
                  <a:pt x="736" y="69"/>
                  <a:pt x="736" y="69"/>
                  <a:pt x="736" y="69"/>
                </a:cubicBezTo>
                <a:cubicBezTo>
                  <a:pt x="737" y="70"/>
                  <a:pt x="737" y="70"/>
                  <a:pt x="737" y="70"/>
                </a:cubicBezTo>
                <a:cubicBezTo>
                  <a:pt x="739" y="69"/>
                  <a:pt x="739" y="69"/>
                  <a:pt x="739" y="69"/>
                </a:cubicBezTo>
                <a:cubicBezTo>
                  <a:pt x="743" y="70"/>
                  <a:pt x="743" y="70"/>
                  <a:pt x="743" y="70"/>
                </a:cubicBezTo>
                <a:cubicBezTo>
                  <a:pt x="746" y="72"/>
                  <a:pt x="746" y="72"/>
                  <a:pt x="746" y="72"/>
                </a:cubicBezTo>
                <a:cubicBezTo>
                  <a:pt x="746" y="73"/>
                  <a:pt x="746" y="73"/>
                  <a:pt x="746" y="73"/>
                </a:cubicBezTo>
                <a:cubicBezTo>
                  <a:pt x="745" y="72"/>
                  <a:pt x="745" y="72"/>
                  <a:pt x="745" y="72"/>
                </a:cubicBezTo>
                <a:cubicBezTo>
                  <a:pt x="743" y="71"/>
                  <a:pt x="743" y="71"/>
                  <a:pt x="743" y="71"/>
                </a:cubicBezTo>
                <a:cubicBezTo>
                  <a:pt x="743" y="72"/>
                  <a:pt x="743" y="72"/>
                  <a:pt x="743" y="72"/>
                </a:cubicBezTo>
                <a:cubicBezTo>
                  <a:pt x="747" y="73"/>
                  <a:pt x="747" y="73"/>
                  <a:pt x="747" y="73"/>
                </a:cubicBezTo>
                <a:cubicBezTo>
                  <a:pt x="748" y="73"/>
                  <a:pt x="748" y="73"/>
                  <a:pt x="748" y="73"/>
                </a:cubicBezTo>
                <a:cubicBezTo>
                  <a:pt x="749" y="72"/>
                  <a:pt x="749" y="72"/>
                  <a:pt x="749" y="72"/>
                </a:cubicBezTo>
                <a:cubicBezTo>
                  <a:pt x="751" y="72"/>
                  <a:pt x="751" y="72"/>
                  <a:pt x="751" y="72"/>
                </a:cubicBezTo>
                <a:cubicBezTo>
                  <a:pt x="752" y="72"/>
                  <a:pt x="752" y="72"/>
                  <a:pt x="752" y="72"/>
                </a:cubicBezTo>
                <a:cubicBezTo>
                  <a:pt x="752" y="71"/>
                  <a:pt x="752" y="71"/>
                  <a:pt x="752" y="71"/>
                </a:cubicBezTo>
                <a:cubicBezTo>
                  <a:pt x="753" y="71"/>
                  <a:pt x="753" y="71"/>
                  <a:pt x="753" y="71"/>
                </a:cubicBezTo>
                <a:cubicBezTo>
                  <a:pt x="754" y="72"/>
                  <a:pt x="754" y="72"/>
                  <a:pt x="754" y="72"/>
                </a:cubicBezTo>
                <a:cubicBezTo>
                  <a:pt x="755" y="72"/>
                  <a:pt x="755" y="72"/>
                  <a:pt x="755" y="72"/>
                </a:cubicBezTo>
                <a:cubicBezTo>
                  <a:pt x="756" y="72"/>
                  <a:pt x="756" y="72"/>
                  <a:pt x="756" y="72"/>
                </a:cubicBezTo>
                <a:cubicBezTo>
                  <a:pt x="756" y="72"/>
                  <a:pt x="756" y="72"/>
                  <a:pt x="756" y="72"/>
                </a:cubicBezTo>
                <a:cubicBezTo>
                  <a:pt x="756" y="71"/>
                  <a:pt x="756" y="71"/>
                  <a:pt x="756" y="71"/>
                </a:cubicBezTo>
                <a:cubicBezTo>
                  <a:pt x="758" y="72"/>
                  <a:pt x="758" y="72"/>
                  <a:pt x="758" y="72"/>
                </a:cubicBezTo>
                <a:cubicBezTo>
                  <a:pt x="758" y="73"/>
                  <a:pt x="758" y="73"/>
                  <a:pt x="758" y="73"/>
                </a:cubicBezTo>
                <a:cubicBezTo>
                  <a:pt x="760" y="73"/>
                  <a:pt x="760" y="73"/>
                  <a:pt x="760" y="73"/>
                </a:cubicBezTo>
                <a:cubicBezTo>
                  <a:pt x="761" y="73"/>
                  <a:pt x="761" y="73"/>
                  <a:pt x="761" y="73"/>
                </a:cubicBezTo>
                <a:cubicBezTo>
                  <a:pt x="767" y="74"/>
                  <a:pt x="767" y="74"/>
                  <a:pt x="767" y="74"/>
                </a:cubicBezTo>
                <a:cubicBezTo>
                  <a:pt x="766" y="73"/>
                  <a:pt x="766" y="73"/>
                  <a:pt x="766" y="73"/>
                </a:cubicBezTo>
                <a:cubicBezTo>
                  <a:pt x="768" y="73"/>
                  <a:pt x="768" y="73"/>
                  <a:pt x="768" y="73"/>
                </a:cubicBezTo>
                <a:cubicBezTo>
                  <a:pt x="769" y="74"/>
                  <a:pt x="769" y="74"/>
                  <a:pt x="769" y="74"/>
                </a:cubicBezTo>
                <a:cubicBezTo>
                  <a:pt x="770" y="74"/>
                  <a:pt x="770" y="74"/>
                  <a:pt x="770" y="74"/>
                </a:cubicBezTo>
                <a:cubicBezTo>
                  <a:pt x="769" y="73"/>
                  <a:pt x="769" y="73"/>
                  <a:pt x="769" y="73"/>
                </a:cubicBezTo>
                <a:cubicBezTo>
                  <a:pt x="770" y="73"/>
                  <a:pt x="770" y="73"/>
                  <a:pt x="770" y="73"/>
                </a:cubicBezTo>
                <a:cubicBezTo>
                  <a:pt x="772" y="73"/>
                  <a:pt x="772" y="73"/>
                  <a:pt x="772" y="73"/>
                </a:cubicBezTo>
                <a:cubicBezTo>
                  <a:pt x="771" y="74"/>
                  <a:pt x="771" y="74"/>
                  <a:pt x="771" y="74"/>
                </a:cubicBezTo>
                <a:cubicBezTo>
                  <a:pt x="772" y="75"/>
                  <a:pt x="772" y="75"/>
                  <a:pt x="772" y="75"/>
                </a:cubicBezTo>
                <a:cubicBezTo>
                  <a:pt x="774" y="75"/>
                  <a:pt x="774" y="75"/>
                  <a:pt x="774" y="75"/>
                </a:cubicBezTo>
                <a:cubicBezTo>
                  <a:pt x="774" y="74"/>
                  <a:pt x="774" y="74"/>
                  <a:pt x="774" y="74"/>
                </a:cubicBezTo>
                <a:cubicBezTo>
                  <a:pt x="774" y="74"/>
                  <a:pt x="774" y="74"/>
                  <a:pt x="774" y="74"/>
                </a:cubicBezTo>
                <a:cubicBezTo>
                  <a:pt x="776" y="74"/>
                  <a:pt x="776" y="74"/>
                  <a:pt x="776" y="74"/>
                </a:cubicBezTo>
                <a:cubicBezTo>
                  <a:pt x="776" y="74"/>
                  <a:pt x="776" y="74"/>
                  <a:pt x="776" y="74"/>
                </a:cubicBezTo>
                <a:cubicBezTo>
                  <a:pt x="776" y="75"/>
                  <a:pt x="776" y="75"/>
                  <a:pt x="776" y="75"/>
                </a:cubicBezTo>
                <a:cubicBezTo>
                  <a:pt x="777" y="76"/>
                  <a:pt x="777" y="76"/>
                  <a:pt x="777" y="76"/>
                </a:cubicBezTo>
                <a:cubicBezTo>
                  <a:pt x="779" y="77"/>
                  <a:pt x="779" y="77"/>
                  <a:pt x="779" y="77"/>
                </a:cubicBezTo>
                <a:cubicBezTo>
                  <a:pt x="781" y="76"/>
                  <a:pt x="781" y="76"/>
                  <a:pt x="781" y="76"/>
                </a:cubicBezTo>
                <a:cubicBezTo>
                  <a:pt x="779" y="76"/>
                  <a:pt x="779" y="76"/>
                  <a:pt x="779" y="76"/>
                </a:cubicBezTo>
                <a:cubicBezTo>
                  <a:pt x="777" y="75"/>
                  <a:pt x="777" y="75"/>
                  <a:pt x="777" y="75"/>
                </a:cubicBezTo>
                <a:cubicBezTo>
                  <a:pt x="777" y="74"/>
                  <a:pt x="777" y="74"/>
                  <a:pt x="777" y="74"/>
                </a:cubicBezTo>
                <a:cubicBezTo>
                  <a:pt x="778" y="74"/>
                  <a:pt x="778" y="74"/>
                  <a:pt x="778" y="74"/>
                </a:cubicBezTo>
                <a:cubicBezTo>
                  <a:pt x="780" y="74"/>
                  <a:pt x="780" y="74"/>
                  <a:pt x="780" y="74"/>
                </a:cubicBezTo>
                <a:cubicBezTo>
                  <a:pt x="782" y="75"/>
                  <a:pt x="782" y="75"/>
                  <a:pt x="782" y="75"/>
                </a:cubicBezTo>
                <a:cubicBezTo>
                  <a:pt x="783" y="77"/>
                  <a:pt x="783" y="77"/>
                  <a:pt x="783" y="77"/>
                </a:cubicBezTo>
                <a:cubicBezTo>
                  <a:pt x="784" y="77"/>
                  <a:pt x="784" y="77"/>
                  <a:pt x="784" y="77"/>
                </a:cubicBezTo>
                <a:cubicBezTo>
                  <a:pt x="784" y="76"/>
                  <a:pt x="784" y="76"/>
                  <a:pt x="784" y="76"/>
                </a:cubicBezTo>
                <a:cubicBezTo>
                  <a:pt x="784" y="76"/>
                  <a:pt x="784" y="76"/>
                  <a:pt x="784" y="76"/>
                </a:cubicBezTo>
                <a:cubicBezTo>
                  <a:pt x="785" y="76"/>
                  <a:pt x="785" y="76"/>
                  <a:pt x="785" y="76"/>
                </a:cubicBezTo>
                <a:cubicBezTo>
                  <a:pt x="785" y="77"/>
                  <a:pt x="785" y="77"/>
                  <a:pt x="785" y="77"/>
                </a:cubicBezTo>
                <a:cubicBezTo>
                  <a:pt x="785" y="77"/>
                  <a:pt x="785" y="77"/>
                  <a:pt x="785" y="77"/>
                </a:cubicBezTo>
                <a:cubicBezTo>
                  <a:pt x="786" y="79"/>
                  <a:pt x="786" y="79"/>
                  <a:pt x="786" y="79"/>
                </a:cubicBezTo>
                <a:cubicBezTo>
                  <a:pt x="788" y="82"/>
                  <a:pt x="788" y="82"/>
                  <a:pt x="788" y="82"/>
                </a:cubicBezTo>
                <a:cubicBezTo>
                  <a:pt x="791" y="83"/>
                  <a:pt x="791" y="83"/>
                  <a:pt x="791" y="83"/>
                </a:cubicBezTo>
                <a:cubicBezTo>
                  <a:pt x="791" y="84"/>
                  <a:pt x="791" y="84"/>
                  <a:pt x="791" y="84"/>
                </a:cubicBezTo>
                <a:cubicBezTo>
                  <a:pt x="792" y="85"/>
                  <a:pt x="792" y="85"/>
                  <a:pt x="792" y="85"/>
                </a:cubicBezTo>
                <a:cubicBezTo>
                  <a:pt x="793" y="87"/>
                  <a:pt x="793" y="87"/>
                  <a:pt x="793" y="87"/>
                </a:cubicBezTo>
                <a:cubicBezTo>
                  <a:pt x="792" y="87"/>
                  <a:pt x="792" y="87"/>
                  <a:pt x="792" y="87"/>
                </a:cubicBezTo>
                <a:cubicBezTo>
                  <a:pt x="793" y="89"/>
                  <a:pt x="793" y="89"/>
                  <a:pt x="793" y="89"/>
                </a:cubicBezTo>
                <a:cubicBezTo>
                  <a:pt x="794" y="89"/>
                  <a:pt x="794" y="89"/>
                  <a:pt x="794" y="89"/>
                </a:cubicBezTo>
                <a:cubicBezTo>
                  <a:pt x="795" y="88"/>
                  <a:pt x="795" y="88"/>
                  <a:pt x="795" y="88"/>
                </a:cubicBezTo>
                <a:cubicBezTo>
                  <a:pt x="797" y="88"/>
                  <a:pt x="797" y="88"/>
                  <a:pt x="797" y="88"/>
                </a:cubicBezTo>
                <a:cubicBezTo>
                  <a:pt x="798" y="90"/>
                  <a:pt x="798" y="90"/>
                  <a:pt x="798" y="90"/>
                </a:cubicBezTo>
                <a:cubicBezTo>
                  <a:pt x="799" y="90"/>
                  <a:pt x="799" y="90"/>
                  <a:pt x="799" y="90"/>
                </a:cubicBezTo>
                <a:cubicBezTo>
                  <a:pt x="799" y="90"/>
                  <a:pt x="799" y="90"/>
                  <a:pt x="799" y="90"/>
                </a:cubicBezTo>
                <a:cubicBezTo>
                  <a:pt x="798" y="89"/>
                  <a:pt x="798" y="89"/>
                  <a:pt x="798" y="89"/>
                </a:cubicBezTo>
                <a:cubicBezTo>
                  <a:pt x="798" y="88"/>
                  <a:pt x="798" y="88"/>
                  <a:pt x="798" y="88"/>
                </a:cubicBezTo>
                <a:cubicBezTo>
                  <a:pt x="799" y="87"/>
                  <a:pt x="799" y="87"/>
                  <a:pt x="799" y="87"/>
                </a:cubicBezTo>
                <a:cubicBezTo>
                  <a:pt x="799" y="87"/>
                  <a:pt x="799" y="87"/>
                  <a:pt x="799" y="87"/>
                </a:cubicBezTo>
                <a:cubicBezTo>
                  <a:pt x="800" y="89"/>
                  <a:pt x="800" y="89"/>
                  <a:pt x="800" y="89"/>
                </a:cubicBezTo>
                <a:cubicBezTo>
                  <a:pt x="801" y="90"/>
                  <a:pt x="801" y="90"/>
                  <a:pt x="801" y="90"/>
                </a:cubicBezTo>
                <a:cubicBezTo>
                  <a:pt x="801" y="90"/>
                  <a:pt x="801" y="90"/>
                  <a:pt x="801" y="90"/>
                </a:cubicBezTo>
                <a:cubicBezTo>
                  <a:pt x="800" y="88"/>
                  <a:pt x="800" y="88"/>
                  <a:pt x="800" y="88"/>
                </a:cubicBezTo>
                <a:cubicBezTo>
                  <a:pt x="800" y="86"/>
                  <a:pt x="800" y="86"/>
                  <a:pt x="800" y="86"/>
                </a:cubicBezTo>
                <a:cubicBezTo>
                  <a:pt x="799" y="85"/>
                  <a:pt x="799" y="85"/>
                  <a:pt x="799" y="85"/>
                </a:cubicBezTo>
                <a:cubicBezTo>
                  <a:pt x="798" y="86"/>
                  <a:pt x="798" y="86"/>
                  <a:pt x="798" y="86"/>
                </a:cubicBezTo>
                <a:cubicBezTo>
                  <a:pt x="796" y="87"/>
                  <a:pt x="796" y="87"/>
                  <a:pt x="796" y="87"/>
                </a:cubicBezTo>
                <a:cubicBezTo>
                  <a:pt x="796" y="86"/>
                  <a:pt x="796" y="86"/>
                  <a:pt x="796" y="86"/>
                </a:cubicBezTo>
                <a:cubicBezTo>
                  <a:pt x="797" y="85"/>
                  <a:pt x="797" y="85"/>
                  <a:pt x="797" y="85"/>
                </a:cubicBezTo>
                <a:cubicBezTo>
                  <a:pt x="796" y="83"/>
                  <a:pt x="796" y="83"/>
                  <a:pt x="796" y="83"/>
                </a:cubicBezTo>
                <a:cubicBezTo>
                  <a:pt x="794" y="82"/>
                  <a:pt x="794" y="82"/>
                  <a:pt x="794" y="82"/>
                </a:cubicBezTo>
                <a:cubicBezTo>
                  <a:pt x="793" y="80"/>
                  <a:pt x="793" y="80"/>
                  <a:pt x="793" y="80"/>
                </a:cubicBezTo>
                <a:cubicBezTo>
                  <a:pt x="792" y="79"/>
                  <a:pt x="792" y="79"/>
                  <a:pt x="792" y="79"/>
                </a:cubicBezTo>
                <a:cubicBezTo>
                  <a:pt x="792" y="79"/>
                  <a:pt x="792" y="79"/>
                  <a:pt x="792" y="79"/>
                </a:cubicBezTo>
                <a:cubicBezTo>
                  <a:pt x="790" y="80"/>
                  <a:pt x="790" y="80"/>
                  <a:pt x="790" y="80"/>
                </a:cubicBezTo>
                <a:cubicBezTo>
                  <a:pt x="790" y="80"/>
                  <a:pt x="790" y="80"/>
                  <a:pt x="790" y="80"/>
                </a:cubicBezTo>
                <a:cubicBezTo>
                  <a:pt x="791" y="79"/>
                  <a:pt x="791" y="79"/>
                  <a:pt x="791" y="79"/>
                </a:cubicBezTo>
                <a:cubicBezTo>
                  <a:pt x="792" y="77"/>
                  <a:pt x="792" y="77"/>
                  <a:pt x="792" y="77"/>
                </a:cubicBezTo>
                <a:cubicBezTo>
                  <a:pt x="794" y="75"/>
                  <a:pt x="794" y="75"/>
                  <a:pt x="794" y="75"/>
                </a:cubicBezTo>
                <a:cubicBezTo>
                  <a:pt x="794" y="74"/>
                  <a:pt x="794" y="74"/>
                  <a:pt x="794" y="74"/>
                </a:cubicBezTo>
                <a:cubicBezTo>
                  <a:pt x="794" y="75"/>
                  <a:pt x="794" y="75"/>
                  <a:pt x="794" y="75"/>
                </a:cubicBezTo>
                <a:cubicBezTo>
                  <a:pt x="795" y="77"/>
                  <a:pt x="795" y="77"/>
                  <a:pt x="795" y="77"/>
                </a:cubicBezTo>
                <a:cubicBezTo>
                  <a:pt x="796" y="78"/>
                  <a:pt x="796" y="78"/>
                  <a:pt x="796" y="78"/>
                </a:cubicBezTo>
                <a:cubicBezTo>
                  <a:pt x="797" y="77"/>
                  <a:pt x="797" y="77"/>
                  <a:pt x="797" y="77"/>
                </a:cubicBezTo>
                <a:cubicBezTo>
                  <a:pt x="796" y="76"/>
                  <a:pt x="796" y="76"/>
                  <a:pt x="796" y="76"/>
                </a:cubicBezTo>
                <a:cubicBezTo>
                  <a:pt x="795" y="75"/>
                  <a:pt x="795" y="75"/>
                  <a:pt x="795" y="75"/>
                </a:cubicBezTo>
                <a:cubicBezTo>
                  <a:pt x="796" y="75"/>
                  <a:pt x="796" y="75"/>
                  <a:pt x="796" y="75"/>
                </a:cubicBezTo>
                <a:cubicBezTo>
                  <a:pt x="797" y="74"/>
                  <a:pt x="797" y="74"/>
                  <a:pt x="797" y="74"/>
                </a:cubicBezTo>
                <a:cubicBezTo>
                  <a:pt x="798" y="73"/>
                  <a:pt x="798" y="73"/>
                  <a:pt x="798" y="73"/>
                </a:cubicBezTo>
                <a:cubicBezTo>
                  <a:pt x="796" y="73"/>
                  <a:pt x="796" y="73"/>
                  <a:pt x="796" y="73"/>
                </a:cubicBezTo>
                <a:cubicBezTo>
                  <a:pt x="797" y="73"/>
                  <a:pt x="797" y="73"/>
                  <a:pt x="797" y="73"/>
                </a:cubicBezTo>
                <a:cubicBezTo>
                  <a:pt x="797" y="72"/>
                  <a:pt x="797" y="72"/>
                  <a:pt x="797" y="72"/>
                </a:cubicBezTo>
                <a:cubicBezTo>
                  <a:pt x="799" y="72"/>
                  <a:pt x="799" y="72"/>
                  <a:pt x="799" y="72"/>
                </a:cubicBezTo>
                <a:cubicBezTo>
                  <a:pt x="800" y="70"/>
                  <a:pt x="800" y="70"/>
                  <a:pt x="800" y="70"/>
                </a:cubicBezTo>
                <a:cubicBezTo>
                  <a:pt x="801" y="70"/>
                  <a:pt x="801" y="70"/>
                  <a:pt x="801" y="70"/>
                </a:cubicBezTo>
                <a:cubicBezTo>
                  <a:pt x="801" y="71"/>
                  <a:pt x="801" y="71"/>
                  <a:pt x="801" y="71"/>
                </a:cubicBezTo>
                <a:cubicBezTo>
                  <a:pt x="802" y="71"/>
                  <a:pt x="802" y="71"/>
                  <a:pt x="802" y="71"/>
                </a:cubicBezTo>
                <a:cubicBezTo>
                  <a:pt x="803" y="71"/>
                  <a:pt x="803" y="71"/>
                  <a:pt x="803" y="71"/>
                </a:cubicBezTo>
                <a:cubicBezTo>
                  <a:pt x="803" y="72"/>
                  <a:pt x="803" y="72"/>
                  <a:pt x="803" y="72"/>
                </a:cubicBezTo>
                <a:cubicBezTo>
                  <a:pt x="804" y="73"/>
                  <a:pt x="804" y="73"/>
                  <a:pt x="804" y="73"/>
                </a:cubicBezTo>
                <a:cubicBezTo>
                  <a:pt x="806" y="73"/>
                  <a:pt x="806" y="73"/>
                  <a:pt x="806" y="73"/>
                </a:cubicBezTo>
                <a:cubicBezTo>
                  <a:pt x="807" y="73"/>
                  <a:pt x="807" y="73"/>
                  <a:pt x="807" y="73"/>
                </a:cubicBezTo>
                <a:cubicBezTo>
                  <a:pt x="811" y="73"/>
                  <a:pt x="811" y="73"/>
                  <a:pt x="811" y="73"/>
                </a:cubicBezTo>
                <a:cubicBezTo>
                  <a:pt x="811" y="75"/>
                  <a:pt x="811" y="75"/>
                  <a:pt x="811" y="75"/>
                </a:cubicBezTo>
                <a:cubicBezTo>
                  <a:pt x="811" y="75"/>
                  <a:pt x="811" y="75"/>
                  <a:pt x="811" y="75"/>
                </a:cubicBezTo>
                <a:cubicBezTo>
                  <a:pt x="812" y="75"/>
                  <a:pt x="812" y="75"/>
                  <a:pt x="812" y="75"/>
                </a:cubicBezTo>
                <a:cubicBezTo>
                  <a:pt x="812" y="74"/>
                  <a:pt x="812" y="74"/>
                  <a:pt x="812" y="74"/>
                </a:cubicBezTo>
                <a:cubicBezTo>
                  <a:pt x="813" y="74"/>
                  <a:pt x="813" y="74"/>
                  <a:pt x="813" y="74"/>
                </a:cubicBezTo>
                <a:cubicBezTo>
                  <a:pt x="813" y="76"/>
                  <a:pt x="813" y="76"/>
                  <a:pt x="813" y="76"/>
                </a:cubicBezTo>
                <a:cubicBezTo>
                  <a:pt x="814" y="75"/>
                  <a:pt x="814" y="75"/>
                  <a:pt x="814" y="75"/>
                </a:cubicBezTo>
                <a:cubicBezTo>
                  <a:pt x="815" y="74"/>
                  <a:pt x="815" y="74"/>
                  <a:pt x="815" y="74"/>
                </a:cubicBezTo>
                <a:cubicBezTo>
                  <a:pt x="816" y="74"/>
                  <a:pt x="816" y="74"/>
                  <a:pt x="816" y="74"/>
                </a:cubicBezTo>
                <a:cubicBezTo>
                  <a:pt x="816" y="75"/>
                  <a:pt x="816" y="75"/>
                  <a:pt x="816" y="75"/>
                </a:cubicBezTo>
                <a:cubicBezTo>
                  <a:pt x="816" y="76"/>
                  <a:pt x="816" y="76"/>
                  <a:pt x="816" y="76"/>
                </a:cubicBezTo>
                <a:cubicBezTo>
                  <a:pt x="815" y="77"/>
                  <a:pt x="815" y="77"/>
                  <a:pt x="815" y="77"/>
                </a:cubicBezTo>
                <a:cubicBezTo>
                  <a:pt x="816" y="80"/>
                  <a:pt x="816" y="80"/>
                  <a:pt x="816" y="80"/>
                </a:cubicBezTo>
                <a:cubicBezTo>
                  <a:pt x="816" y="82"/>
                  <a:pt x="816" y="82"/>
                  <a:pt x="816" y="82"/>
                </a:cubicBezTo>
                <a:cubicBezTo>
                  <a:pt x="816" y="83"/>
                  <a:pt x="816" y="83"/>
                  <a:pt x="816" y="83"/>
                </a:cubicBezTo>
                <a:cubicBezTo>
                  <a:pt x="817" y="82"/>
                  <a:pt x="817" y="82"/>
                  <a:pt x="817" y="82"/>
                </a:cubicBezTo>
                <a:cubicBezTo>
                  <a:pt x="818" y="84"/>
                  <a:pt x="818" y="84"/>
                  <a:pt x="818" y="84"/>
                </a:cubicBezTo>
                <a:cubicBezTo>
                  <a:pt x="820" y="84"/>
                  <a:pt x="820" y="84"/>
                  <a:pt x="820" y="84"/>
                </a:cubicBezTo>
                <a:cubicBezTo>
                  <a:pt x="820" y="85"/>
                  <a:pt x="820" y="85"/>
                  <a:pt x="820" y="85"/>
                </a:cubicBezTo>
                <a:cubicBezTo>
                  <a:pt x="819" y="86"/>
                  <a:pt x="819" y="86"/>
                  <a:pt x="819" y="86"/>
                </a:cubicBezTo>
                <a:cubicBezTo>
                  <a:pt x="817" y="86"/>
                  <a:pt x="817" y="86"/>
                  <a:pt x="817" y="86"/>
                </a:cubicBezTo>
                <a:cubicBezTo>
                  <a:pt x="815" y="87"/>
                  <a:pt x="815" y="87"/>
                  <a:pt x="815" y="87"/>
                </a:cubicBezTo>
                <a:cubicBezTo>
                  <a:pt x="818" y="87"/>
                  <a:pt x="818" y="87"/>
                  <a:pt x="818" y="87"/>
                </a:cubicBezTo>
                <a:cubicBezTo>
                  <a:pt x="819" y="88"/>
                  <a:pt x="819" y="88"/>
                  <a:pt x="819" y="88"/>
                </a:cubicBezTo>
                <a:cubicBezTo>
                  <a:pt x="819" y="89"/>
                  <a:pt x="819" y="89"/>
                  <a:pt x="819" y="89"/>
                </a:cubicBezTo>
                <a:cubicBezTo>
                  <a:pt x="817" y="90"/>
                  <a:pt x="817" y="90"/>
                  <a:pt x="817" y="90"/>
                </a:cubicBezTo>
                <a:cubicBezTo>
                  <a:pt x="816" y="92"/>
                  <a:pt x="816" y="92"/>
                  <a:pt x="816" y="92"/>
                </a:cubicBezTo>
                <a:cubicBezTo>
                  <a:pt x="815" y="91"/>
                  <a:pt x="815" y="91"/>
                  <a:pt x="815" y="91"/>
                </a:cubicBezTo>
                <a:cubicBezTo>
                  <a:pt x="814" y="92"/>
                  <a:pt x="814" y="92"/>
                  <a:pt x="814" y="92"/>
                </a:cubicBezTo>
                <a:cubicBezTo>
                  <a:pt x="812" y="92"/>
                  <a:pt x="812" y="92"/>
                  <a:pt x="812" y="92"/>
                </a:cubicBezTo>
                <a:cubicBezTo>
                  <a:pt x="811" y="94"/>
                  <a:pt x="811" y="94"/>
                  <a:pt x="811" y="94"/>
                </a:cubicBezTo>
                <a:cubicBezTo>
                  <a:pt x="813" y="93"/>
                  <a:pt x="813" y="93"/>
                  <a:pt x="813" y="93"/>
                </a:cubicBezTo>
                <a:cubicBezTo>
                  <a:pt x="814" y="94"/>
                  <a:pt x="814" y="94"/>
                  <a:pt x="814" y="94"/>
                </a:cubicBezTo>
                <a:cubicBezTo>
                  <a:pt x="814" y="95"/>
                  <a:pt x="814" y="95"/>
                  <a:pt x="814" y="95"/>
                </a:cubicBezTo>
                <a:cubicBezTo>
                  <a:pt x="815" y="94"/>
                  <a:pt x="815" y="94"/>
                  <a:pt x="815" y="94"/>
                </a:cubicBezTo>
                <a:cubicBezTo>
                  <a:pt x="816" y="94"/>
                  <a:pt x="816" y="94"/>
                  <a:pt x="816" y="94"/>
                </a:cubicBezTo>
                <a:cubicBezTo>
                  <a:pt x="816" y="95"/>
                  <a:pt x="816" y="95"/>
                  <a:pt x="816" y="95"/>
                </a:cubicBezTo>
                <a:cubicBezTo>
                  <a:pt x="817" y="96"/>
                  <a:pt x="817" y="96"/>
                  <a:pt x="817" y="96"/>
                </a:cubicBezTo>
                <a:cubicBezTo>
                  <a:pt x="816" y="97"/>
                  <a:pt x="816" y="97"/>
                  <a:pt x="816" y="97"/>
                </a:cubicBezTo>
                <a:cubicBezTo>
                  <a:pt x="816" y="99"/>
                  <a:pt x="816" y="99"/>
                  <a:pt x="816" y="99"/>
                </a:cubicBezTo>
                <a:cubicBezTo>
                  <a:pt x="817" y="97"/>
                  <a:pt x="817" y="97"/>
                  <a:pt x="817" y="97"/>
                </a:cubicBezTo>
                <a:cubicBezTo>
                  <a:pt x="819" y="97"/>
                  <a:pt x="819" y="97"/>
                  <a:pt x="819" y="97"/>
                </a:cubicBezTo>
                <a:cubicBezTo>
                  <a:pt x="821" y="99"/>
                  <a:pt x="821" y="99"/>
                  <a:pt x="821" y="99"/>
                </a:cubicBezTo>
                <a:cubicBezTo>
                  <a:pt x="820" y="100"/>
                  <a:pt x="820" y="100"/>
                  <a:pt x="820" y="100"/>
                </a:cubicBezTo>
                <a:cubicBezTo>
                  <a:pt x="821" y="101"/>
                  <a:pt x="821" y="101"/>
                  <a:pt x="821" y="101"/>
                </a:cubicBezTo>
                <a:cubicBezTo>
                  <a:pt x="820" y="102"/>
                  <a:pt x="820" y="102"/>
                  <a:pt x="820" y="102"/>
                </a:cubicBezTo>
                <a:cubicBezTo>
                  <a:pt x="821" y="103"/>
                  <a:pt x="821" y="103"/>
                  <a:pt x="821" y="103"/>
                </a:cubicBezTo>
                <a:cubicBezTo>
                  <a:pt x="821" y="105"/>
                  <a:pt x="821" y="105"/>
                  <a:pt x="821" y="105"/>
                </a:cubicBezTo>
                <a:cubicBezTo>
                  <a:pt x="820" y="105"/>
                  <a:pt x="820" y="105"/>
                  <a:pt x="820" y="105"/>
                </a:cubicBezTo>
                <a:cubicBezTo>
                  <a:pt x="819" y="106"/>
                  <a:pt x="819" y="106"/>
                  <a:pt x="819" y="106"/>
                </a:cubicBezTo>
                <a:cubicBezTo>
                  <a:pt x="820" y="107"/>
                  <a:pt x="820" y="107"/>
                  <a:pt x="820" y="107"/>
                </a:cubicBezTo>
                <a:cubicBezTo>
                  <a:pt x="820" y="106"/>
                  <a:pt x="820" y="106"/>
                  <a:pt x="820" y="106"/>
                </a:cubicBezTo>
                <a:cubicBezTo>
                  <a:pt x="821" y="106"/>
                  <a:pt x="821" y="106"/>
                  <a:pt x="821" y="106"/>
                </a:cubicBezTo>
                <a:cubicBezTo>
                  <a:pt x="822" y="106"/>
                  <a:pt x="822" y="106"/>
                  <a:pt x="822" y="106"/>
                </a:cubicBezTo>
                <a:cubicBezTo>
                  <a:pt x="822" y="108"/>
                  <a:pt x="822" y="108"/>
                  <a:pt x="822" y="108"/>
                </a:cubicBezTo>
                <a:cubicBezTo>
                  <a:pt x="823" y="108"/>
                  <a:pt x="823" y="108"/>
                  <a:pt x="823" y="108"/>
                </a:cubicBezTo>
                <a:cubicBezTo>
                  <a:pt x="824" y="109"/>
                  <a:pt x="824" y="109"/>
                  <a:pt x="824" y="109"/>
                </a:cubicBezTo>
                <a:cubicBezTo>
                  <a:pt x="824" y="108"/>
                  <a:pt x="824" y="108"/>
                  <a:pt x="824" y="108"/>
                </a:cubicBezTo>
                <a:cubicBezTo>
                  <a:pt x="824" y="107"/>
                  <a:pt x="824" y="107"/>
                  <a:pt x="824" y="107"/>
                </a:cubicBezTo>
                <a:cubicBezTo>
                  <a:pt x="825" y="107"/>
                  <a:pt x="825" y="107"/>
                  <a:pt x="825" y="107"/>
                </a:cubicBezTo>
                <a:cubicBezTo>
                  <a:pt x="827" y="108"/>
                  <a:pt x="827" y="108"/>
                  <a:pt x="827" y="108"/>
                </a:cubicBezTo>
                <a:cubicBezTo>
                  <a:pt x="827" y="109"/>
                  <a:pt x="827" y="109"/>
                  <a:pt x="827" y="109"/>
                </a:cubicBezTo>
                <a:cubicBezTo>
                  <a:pt x="826" y="110"/>
                  <a:pt x="826" y="110"/>
                  <a:pt x="826" y="110"/>
                </a:cubicBezTo>
                <a:cubicBezTo>
                  <a:pt x="825" y="109"/>
                  <a:pt x="825" y="109"/>
                  <a:pt x="825" y="109"/>
                </a:cubicBezTo>
                <a:cubicBezTo>
                  <a:pt x="824" y="110"/>
                  <a:pt x="824" y="110"/>
                  <a:pt x="824" y="110"/>
                </a:cubicBezTo>
                <a:cubicBezTo>
                  <a:pt x="825" y="111"/>
                  <a:pt x="825" y="111"/>
                  <a:pt x="825" y="111"/>
                </a:cubicBezTo>
                <a:cubicBezTo>
                  <a:pt x="826" y="111"/>
                  <a:pt x="826" y="111"/>
                  <a:pt x="826" y="111"/>
                </a:cubicBezTo>
                <a:cubicBezTo>
                  <a:pt x="827" y="112"/>
                  <a:pt x="827" y="112"/>
                  <a:pt x="827" y="112"/>
                </a:cubicBezTo>
                <a:cubicBezTo>
                  <a:pt x="827" y="113"/>
                  <a:pt x="827" y="113"/>
                  <a:pt x="827" y="113"/>
                </a:cubicBezTo>
                <a:cubicBezTo>
                  <a:pt x="825" y="114"/>
                  <a:pt x="825" y="114"/>
                  <a:pt x="825" y="114"/>
                </a:cubicBezTo>
                <a:cubicBezTo>
                  <a:pt x="824" y="112"/>
                  <a:pt x="824" y="112"/>
                  <a:pt x="824" y="112"/>
                </a:cubicBezTo>
                <a:cubicBezTo>
                  <a:pt x="823" y="112"/>
                  <a:pt x="823" y="112"/>
                  <a:pt x="823" y="112"/>
                </a:cubicBezTo>
                <a:cubicBezTo>
                  <a:pt x="824" y="114"/>
                  <a:pt x="824" y="114"/>
                  <a:pt x="824" y="114"/>
                </a:cubicBezTo>
                <a:cubicBezTo>
                  <a:pt x="823" y="115"/>
                  <a:pt x="823" y="115"/>
                  <a:pt x="823" y="115"/>
                </a:cubicBezTo>
                <a:cubicBezTo>
                  <a:pt x="823" y="115"/>
                  <a:pt x="823" y="115"/>
                  <a:pt x="823" y="115"/>
                </a:cubicBezTo>
                <a:cubicBezTo>
                  <a:pt x="822" y="114"/>
                  <a:pt x="822" y="114"/>
                  <a:pt x="822" y="114"/>
                </a:cubicBezTo>
                <a:cubicBezTo>
                  <a:pt x="821" y="114"/>
                  <a:pt x="821" y="114"/>
                  <a:pt x="821" y="114"/>
                </a:cubicBezTo>
                <a:cubicBezTo>
                  <a:pt x="820" y="114"/>
                  <a:pt x="820" y="114"/>
                  <a:pt x="820" y="114"/>
                </a:cubicBezTo>
                <a:cubicBezTo>
                  <a:pt x="818" y="114"/>
                  <a:pt x="818" y="114"/>
                  <a:pt x="818" y="114"/>
                </a:cubicBezTo>
                <a:cubicBezTo>
                  <a:pt x="816" y="114"/>
                  <a:pt x="816" y="114"/>
                  <a:pt x="816" y="114"/>
                </a:cubicBezTo>
                <a:cubicBezTo>
                  <a:pt x="815" y="114"/>
                  <a:pt x="815" y="114"/>
                  <a:pt x="815" y="114"/>
                </a:cubicBezTo>
                <a:cubicBezTo>
                  <a:pt x="816" y="113"/>
                  <a:pt x="816" y="113"/>
                  <a:pt x="816" y="113"/>
                </a:cubicBezTo>
                <a:cubicBezTo>
                  <a:pt x="815" y="113"/>
                  <a:pt x="815" y="113"/>
                  <a:pt x="815" y="113"/>
                </a:cubicBezTo>
                <a:cubicBezTo>
                  <a:pt x="814" y="112"/>
                  <a:pt x="814" y="112"/>
                  <a:pt x="814" y="112"/>
                </a:cubicBezTo>
                <a:cubicBezTo>
                  <a:pt x="814" y="114"/>
                  <a:pt x="814" y="114"/>
                  <a:pt x="814" y="114"/>
                </a:cubicBezTo>
                <a:cubicBezTo>
                  <a:pt x="814" y="114"/>
                  <a:pt x="814" y="114"/>
                  <a:pt x="814" y="114"/>
                </a:cubicBezTo>
                <a:cubicBezTo>
                  <a:pt x="813" y="114"/>
                  <a:pt x="813" y="114"/>
                  <a:pt x="813" y="114"/>
                </a:cubicBezTo>
                <a:cubicBezTo>
                  <a:pt x="814" y="115"/>
                  <a:pt x="814" y="115"/>
                  <a:pt x="814" y="115"/>
                </a:cubicBezTo>
                <a:cubicBezTo>
                  <a:pt x="813" y="117"/>
                  <a:pt x="813" y="117"/>
                  <a:pt x="813" y="117"/>
                </a:cubicBezTo>
                <a:cubicBezTo>
                  <a:pt x="813" y="117"/>
                  <a:pt x="813" y="117"/>
                  <a:pt x="813" y="117"/>
                </a:cubicBezTo>
                <a:cubicBezTo>
                  <a:pt x="813" y="116"/>
                  <a:pt x="813" y="116"/>
                  <a:pt x="813" y="116"/>
                </a:cubicBezTo>
                <a:cubicBezTo>
                  <a:pt x="812" y="116"/>
                  <a:pt x="812" y="116"/>
                  <a:pt x="812" y="116"/>
                </a:cubicBezTo>
                <a:cubicBezTo>
                  <a:pt x="810" y="116"/>
                  <a:pt x="810" y="116"/>
                  <a:pt x="810" y="116"/>
                </a:cubicBezTo>
                <a:cubicBezTo>
                  <a:pt x="809" y="116"/>
                  <a:pt x="809" y="116"/>
                  <a:pt x="809" y="116"/>
                </a:cubicBezTo>
                <a:cubicBezTo>
                  <a:pt x="809" y="115"/>
                  <a:pt x="809" y="115"/>
                  <a:pt x="809" y="115"/>
                </a:cubicBezTo>
                <a:cubicBezTo>
                  <a:pt x="808" y="114"/>
                  <a:pt x="808" y="114"/>
                  <a:pt x="808" y="114"/>
                </a:cubicBezTo>
                <a:cubicBezTo>
                  <a:pt x="808" y="113"/>
                  <a:pt x="808" y="113"/>
                  <a:pt x="808" y="113"/>
                </a:cubicBezTo>
                <a:cubicBezTo>
                  <a:pt x="805" y="111"/>
                  <a:pt x="805" y="111"/>
                  <a:pt x="805" y="111"/>
                </a:cubicBezTo>
                <a:cubicBezTo>
                  <a:pt x="805" y="111"/>
                  <a:pt x="805" y="111"/>
                  <a:pt x="805" y="111"/>
                </a:cubicBezTo>
                <a:cubicBezTo>
                  <a:pt x="805" y="110"/>
                  <a:pt x="805" y="110"/>
                  <a:pt x="805" y="110"/>
                </a:cubicBezTo>
                <a:cubicBezTo>
                  <a:pt x="803" y="109"/>
                  <a:pt x="803" y="109"/>
                  <a:pt x="803" y="109"/>
                </a:cubicBezTo>
                <a:cubicBezTo>
                  <a:pt x="802" y="111"/>
                  <a:pt x="802" y="111"/>
                  <a:pt x="802" y="111"/>
                </a:cubicBezTo>
                <a:cubicBezTo>
                  <a:pt x="800" y="111"/>
                  <a:pt x="800" y="111"/>
                  <a:pt x="800" y="111"/>
                </a:cubicBezTo>
                <a:cubicBezTo>
                  <a:pt x="799" y="112"/>
                  <a:pt x="799" y="112"/>
                  <a:pt x="799" y="112"/>
                </a:cubicBezTo>
                <a:cubicBezTo>
                  <a:pt x="799" y="113"/>
                  <a:pt x="799" y="113"/>
                  <a:pt x="799" y="113"/>
                </a:cubicBezTo>
                <a:cubicBezTo>
                  <a:pt x="798" y="111"/>
                  <a:pt x="798" y="111"/>
                  <a:pt x="798" y="111"/>
                </a:cubicBezTo>
                <a:cubicBezTo>
                  <a:pt x="798" y="110"/>
                  <a:pt x="798" y="110"/>
                  <a:pt x="798" y="110"/>
                </a:cubicBezTo>
                <a:cubicBezTo>
                  <a:pt x="798" y="111"/>
                  <a:pt x="798" y="111"/>
                  <a:pt x="798" y="111"/>
                </a:cubicBezTo>
                <a:cubicBezTo>
                  <a:pt x="798" y="113"/>
                  <a:pt x="798" y="113"/>
                  <a:pt x="798" y="113"/>
                </a:cubicBezTo>
                <a:cubicBezTo>
                  <a:pt x="798" y="115"/>
                  <a:pt x="798" y="115"/>
                  <a:pt x="798" y="115"/>
                </a:cubicBezTo>
                <a:cubicBezTo>
                  <a:pt x="798" y="116"/>
                  <a:pt x="798" y="116"/>
                  <a:pt x="798" y="116"/>
                </a:cubicBezTo>
                <a:cubicBezTo>
                  <a:pt x="796" y="120"/>
                  <a:pt x="796" y="120"/>
                  <a:pt x="796" y="120"/>
                </a:cubicBezTo>
                <a:cubicBezTo>
                  <a:pt x="794" y="119"/>
                  <a:pt x="794" y="119"/>
                  <a:pt x="794" y="119"/>
                </a:cubicBezTo>
                <a:cubicBezTo>
                  <a:pt x="794" y="117"/>
                  <a:pt x="794" y="117"/>
                  <a:pt x="794" y="117"/>
                </a:cubicBezTo>
                <a:cubicBezTo>
                  <a:pt x="793" y="117"/>
                  <a:pt x="793" y="117"/>
                  <a:pt x="793" y="117"/>
                </a:cubicBezTo>
                <a:cubicBezTo>
                  <a:pt x="792" y="117"/>
                  <a:pt x="792" y="117"/>
                  <a:pt x="792" y="117"/>
                </a:cubicBezTo>
                <a:cubicBezTo>
                  <a:pt x="789" y="115"/>
                  <a:pt x="789" y="115"/>
                  <a:pt x="789" y="115"/>
                </a:cubicBezTo>
                <a:cubicBezTo>
                  <a:pt x="789" y="114"/>
                  <a:pt x="789" y="114"/>
                  <a:pt x="789" y="114"/>
                </a:cubicBezTo>
                <a:cubicBezTo>
                  <a:pt x="789" y="111"/>
                  <a:pt x="789" y="111"/>
                  <a:pt x="789" y="111"/>
                </a:cubicBezTo>
                <a:cubicBezTo>
                  <a:pt x="787" y="111"/>
                  <a:pt x="787" y="111"/>
                  <a:pt x="787" y="111"/>
                </a:cubicBezTo>
                <a:cubicBezTo>
                  <a:pt x="787" y="110"/>
                  <a:pt x="787" y="110"/>
                  <a:pt x="787" y="110"/>
                </a:cubicBezTo>
                <a:cubicBezTo>
                  <a:pt x="786" y="109"/>
                  <a:pt x="786" y="109"/>
                  <a:pt x="786" y="109"/>
                </a:cubicBezTo>
                <a:cubicBezTo>
                  <a:pt x="786" y="110"/>
                  <a:pt x="786" y="110"/>
                  <a:pt x="786" y="110"/>
                </a:cubicBezTo>
                <a:cubicBezTo>
                  <a:pt x="786" y="111"/>
                  <a:pt x="786" y="111"/>
                  <a:pt x="786" y="111"/>
                </a:cubicBezTo>
                <a:cubicBezTo>
                  <a:pt x="786" y="112"/>
                  <a:pt x="786" y="112"/>
                  <a:pt x="786" y="112"/>
                </a:cubicBezTo>
                <a:cubicBezTo>
                  <a:pt x="787" y="112"/>
                  <a:pt x="787" y="112"/>
                  <a:pt x="787" y="112"/>
                </a:cubicBezTo>
                <a:cubicBezTo>
                  <a:pt x="786" y="113"/>
                  <a:pt x="786" y="113"/>
                  <a:pt x="786" y="113"/>
                </a:cubicBezTo>
                <a:cubicBezTo>
                  <a:pt x="784" y="112"/>
                  <a:pt x="784" y="112"/>
                  <a:pt x="784" y="112"/>
                </a:cubicBezTo>
                <a:cubicBezTo>
                  <a:pt x="783" y="111"/>
                  <a:pt x="783" y="111"/>
                  <a:pt x="783" y="111"/>
                </a:cubicBezTo>
                <a:cubicBezTo>
                  <a:pt x="783" y="111"/>
                  <a:pt x="783" y="111"/>
                  <a:pt x="783" y="111"/>
                </a:cubicBezTo>
                <a:cubicBezTo>
                  <a:pt x="783" y="112"/>
                  <a:pt x="783" y="112"/>
                  <a:pt x="783" y="112"/>
                </a:cubicBezTo>
                <a:cubicBezTo>
                  <a:pt x="783" y="113"/>
                  <a:pt x="783" y="113"/>
                  <a:pt x="783" y="113"/>
                </a:cubicBezTo>
                <a:cubicBezTo>
                  <a:pt x="783" y="113"/>
                  <a:pt x="783" y="113"/>
                  <a:pt x="783" y="113"/>
                </a:cubicBezTo>
                <a:cubicBezTo>
                  <a:pt x="785" y="113"/>
                  <a:pt x="785" y="113"/>
                  <a:pt x="785" y="113"/>
                </a:cubicBezTo>
                <a:cubicBezTo>
                  <a:pt x="786" y="114"/>
                  <a:pt x="786" y="114"/>
                  <a:pt x="786" y="114"/>
                </a:cubicBezTo>
                <a:cubicBezTo>
                  <a:pt x="785" y="116"/>
                  <a:pt x="785" y="116"/>
                  <a:pt x="785" y="116"/>
                </a:cubicBezTo>
                <a:cubicBezTo>
                  <a:pt x="783" y="116"/>
                  <a:pt x="783" y="116"/>
                  <a:pt x="783" y="116"/>
                </a:cubicBezTo>
                <a:cubicBezTo>
                  <a:pt x="783" y="117"/>
                  <a:pt x="783" y="117"/>
                  <a:pt x="783" y="117"/>
                </a:cubicBezTo>
                <a:cubicBezTo>
                  <a:pt x="784" y="117"/>
                  <a:pt x="784" y="117"/>
                  <a:pt x="784" y="117"/>
                </a:cubicBezTo>
                <a:cubicBezTo>
                  <a:pt x="787" y="121"/>
                  <a:pt x="787" y="121"/>
                  <a:pt x="787" y="121"/>
                </a:cubicBezTo>
                <a:cubicBezTo>
                  <a:pt x="790" y="122"/>
                  <a:pt x="790" y="122"/>
                  <a:pt x="790" y="122"/>
                </a:cubicBezTo>
                <a:cubicBezTo>
                  <a:pt x="791" y="121"/>
                  <a:pt x="791" y="121"/>
                  <a:pt x="791" y="121"/>
                </a:cubicBezTo>
                <a:cubicBezTo>
                  <a:pt x="793" y="122"/>
                  <a:pt x="793" y="122"/>
                  <a:pt x="793" y="122"/>
                </a:cubicBezTo>
                <a:cubicBezTo>
                  <a:pt x="793" y="124"/>
                  <a:pt x="793" y="124"/>
                  <a:pt x="793" y="124"/>
                </a:cubicBezTo>
                <a:cubicBezTo>
                  <a:pt x="793" y="124"/>
                  <a:pt x="793" y="124"/>
                  <a:pt x="793" y="124"/>
                </a:cubicBezTo>
                <a:cubicBezTo>
                  <a:pt x="792" y="122"/>
                  <a:pt x="792" y="122"/>
                  <a:pt x="792" y="122"/>
                </a:cubicBezTo>
                <a:cubicBezTo>
                  <a:pt x="791" y="122"/>
                  <a:pt x="791" y="122"/>
                  <a:pt x="791" y="122"/>
                </a:cubicBezTo>
                <a:cubicBezTo>
                  <a:pt x="792" y="124"/>
                  <a:pt x="792" y="124"/>
                  <a:pt x="792" y="124"/>
                </a:cubicBezTo>
                <a:cubicBezTo>
                  <a:pt x="794" y="126"/>
                  <a:pt x="794" y="126"/>
                  <a:pt x="794" y="126"/>
                </a:cubicBezTo>
                <a:cubicBezTo>
                  <a:pt x="794" y="127"/>
                  <a:pt x="794" y="127"/>
                  <a:pt x="794" y="127"/>
                </a:cubicBezTo>
                <a:cubicBezTo>
                  <a:pt x="796" y="129"/>
                  <a:pt x="796" y="129"/>
                  <a:pt x="796" y="129"/>
                </a:cubicBezTo>
                <a:cubicBezTo>
                  <a:pt x="796" y="131"/>
                  <a:pt x="796" y="131"/>
                  <a:pt x="796" y="131"/>
                </a:cubicBezTo>
                <a:cubicBezTo>
                  <a:pt x="795" y="135"/>
                  <a:pt x="795" y="135"/>
                  <a:pt x="795" y="135"/>
                </a:cubicBezTo>
                <a:cubicBezTo>
                  <a:pt x="795" y="138"/>
                  <a:pt x="795" y="138"/>
                  <a:pt x="795" y="138"/>
                </a:cubicBezTo>
                <a:cubicBezTo>
                  <a:pt x="795" y="140"/>
                  <a:pt x="795" y="140"/>
                  <a:pt x="795" y="140"/>
                </a:cubicBezTo>
                <a:cubicBezTo>
                  <a:pt x="796" y="140"/>
                  <a:pt x="796" y="140"/>
                  <a:pt x="796" y="140"/>
                </a:cubicBezTo>
                <a:cubicBezTo>
                  <a:pt x="794" y="143"/>
                  <a:pt x="794" y="143"/>
                  <a:pt x="794" y="143"/>
                </a:cubicBezTo>
                <a:cubicBezTo>
                  <a:pt x="794" y="144"/>
                  <a:pt x="794" y="144"/>
                  <a:pt x="794" y="144"/>
                </a:cubicBezTo>
                <a:cubicBezTo>
                  <a:pt x="793" y="145"/>
                  <a:pt x="793" y="145"/>
                  <a:pt x="793" y="145"/>
                </a:cubicBezTo>
                <a:cubicBezTo>
                  <a:pt x="793" y="144"/>
                  <a:pt x="793" y="144"/>
                  <a:pt x="793" y="144"/>
                </a:cubicBezTo>
                <a:cubicBezTo>
                  <a:pt x="793" y="143"/>
                  <a:pt x="793" y="143"/>
                  <a:pt x="793" y="143"/>
                </a:cubicBezTo>
                <a:cubicBezTo>
                  <a:pt x="790" y="146"/>
                  <a:pt x="790" y="146"/>
                  <a:pt x="790" y="146"/>
                </a:cubicBezTo>
                <a:cubicBezTo>
                  <a:pt x="789" y="145"/>
                  <a:pt x="789" y="145"/>
                  <a:pt x="789" y="145"/>
                </a:cubicBezTo>
                <a:cubicBezTo>
                  <a:pt x="788" y="146"/>
                  <a:pt x="788" y="146"/>
                  <a:pt x="788" y="146"/>
                </a:cubicBezTo>
                <a:cubicBezTo>
                  <a:pt x="787" y="145"/>
                  <a:pt x="787" y="145"/>
                  <a:pt x="787" y="145"/>
                </a:cubicBezTo>
                <a:cubicBezTo>
                  <a:pt x="786" y="144"/>
                  <a:pt x="786" y="144"/>
                  <a:pt x="786" y="144"/>
                </a:cubicBezTo>
                <a:cubicBezTo>
                  <a:pt x="785" y="144"/>
                  <a:pt x="785" y="144"/>
                  <a:pt x="785" y="144"/>
                </a:cubicBezTo>
                <a:cubicBezTo>
                  <a:pt x="783" y="142"/>
                  <a:pt x="783" y="142"/>
                  <a:pt x="783" y="142"/>
                </a:cubicBezTo>
                <a:cubicBezTo>
                  <a:pt x="782" y="141"/>
                  <a:pt x="782" y="141"/>
                  <a:pt x="782" y="141"/>
                </a:cubicBezTo>
                <a:cubicBezTo>
                  <a:pt x="780" y="141"/>
                  <a:pt x="780" y="141"/>
                  <a:pt x="780" y="141"/>
                </a:cubicBezTo>
                <a:cubicBezTo>
                  <a:pt x="779" y="140"/>
                  <a:pt x="779" y="140"/>
                  <a:pt x="779" y="140"/>
                </a:cubicBezTo>
                <a:cubicBezTo>
                  <a:pt x="778" y="141"/>
                  <a:pt x="778" y="141"/>
                  <a:pt x="778" y="141"/>
                </a:cubicBezTo>
                <a:cubicBezTo>
                  <a:pt x="777" y="142"/>
                  <a:pt x="777" y="142"/>
                  <a:pt x="777" y="142"/>
                </a:cubicBezTo>
                <a:cubicBezTo>
                  <a:pt x="776" y="142"/>
                  <a:pt x="776" y="142"/>
                  <a:pt x="776" y="142"/>
                </a:cubicBezTo>
                <a:cubicBezTo>
                  <a:pt x="777" y="143"/>
                  <a:pt x="777" y="143"/>
                  <a:pt x="777" y="143"/>
                </a:cubicBezTo>
                <a:cubicBezTo>
                  <a:pt x="779" y="143"/>
                  <a:pt x="779" y="143"/>
                  <a:pt x="779" y="143"/>
                </a:cubicBezTo>
                <a:cubicBezTo>
                  <a:pt x="779" y="141"/>
                  <a:pt x="779" y="141"/>
                  <a:pt x="779" y="141"/>
                </a:cubicBezTo>
                <a:cubicBezTo>
                  <a:pt x="783" y="143"/>
                  <a:pt x="783" y="143"/>
                  <a:pt x="783" y="143"/>
                </a:cubicBezTo>
                <a:cubicBezTo>
                  <a:pt x="783" y="144"/>
                  <a:pt x="783" y="144"/>
                  <a:pt x="783" y="144"/>
                </a:cubicBezTo>
                <a:cubicBezTo>
                  <a:pt x="782" y="145"/>
                  <a:pt x="782" y="145"/>
                  <a:pt x="782" y="145"/>
                </a:cubicBezTo>
                <a:cubicBezTo>
                  <a:pt x="781" y="144"/>
                  <a:pt x="781" y="144"/>
                  <a:pt x="781" y="144"/>
                </a:cubicBezTo>
                <a:cubicBezTo>
                  <a:pt x="779" y="144"/>
                  <a:pt x="779" y="144"/>
                  <a:pt x="779" y="144"/>
                </a:cubicBezTo>
                <a:cubicBezTo>
                  <a:pt x="779" y="146"/>
                  <a:pt x="779" y="146"/>
                  <a:pt x="779" y="146"/>
                </a:cubicBezTo>
                <a:cubicBezTo>
                  <a:pt x="778" y="144"/>
                  <a:pt x="778" y="144"/>
                  <a:pt x="778" y="144"/>
                </a:cubicBezTo>
                <a:cubicBezTo>
                  <a:pt x="777" y="145"/>
                  <a:pt x="777" y="145"/>
                  <a:pt x="777" y="145"/>
                </a:cubicBezTo>
                <a:cubicBezTo>
                  <a:pt x="777" y="145"/>
                  <a:pt x="777" y="145"/>
                  <a:pt x="777" y="145"/>
                </a:cubicBezTo>
                <a:cubicBezTo>
                  <a:pt x="778" y="146"/>
                  <a:pt x="778" y="146"/>
                  <a:pt x="778" y="146"/>
                </a:cubicBezTo>
                <a:cubicBezTo>
                  <a:pt x="780" y="147"/>
                  <a:pt x="780" y="147"/>
                  <a:pt x="780" y="147"/>
                </a:cubicBezTo>
                <a:cubicBezTo>
                  <a:pt x="779" y="149"/>
                  <a:pt x="779" y="149"/>
                  <a:pt x="779" y="149"/>
                </a:cubicBezTo>
                <a:cubicBezTo>
                  <a:pt x="780" y="151"/>
                  <a:pt x="780" y="151"/>
                  <a:pt x="780" y="151"/>
                </a:cubicBezTo>
                <a:cubicBezTo>
                  <a:pt x="781" y="152"/>
                  <a:pt x="781" y="152"/>
                  <a:pt x="781" y="152"/>
                </a:cubicBezTo>
                <a:cubicBezTo>
                  <a:pt x="781" y="151"/>
                  <a:pt x="781" y="151"/>
                  <a:pt x="781" y="151"/>
                </a:cubicBezTo>
                <a:cubicBezTo>
                  <a:pt x="781" y="149"/>
                  <a:pt x="781" y="149"/>
                  <a:pt x="781" y="149"/>
                </a:cubicBezTo>
                <a:cubicBezTo>
                  <a:pt x="782" y="148"/>
                  <a:pt x="782" y="148"/>
                  <a:pt x="782" y="148"/>
                </a:cubicBezTo>
                <a:cubicBezTo>
                  <a:pt x="783" y="148"/>
                  <a:pt x="783" y="148"/>
                  <a:pt x="783" y="148"/>
                </a:cubicBezTo>
                <a:cubicBezTo>
                  <a:pt x="783" y="148"/>
                  <a:pt x="783" y="148"/>
                  <a:pt x="783" y="148"/>
                </a:cubicBezTo>
                <a:cubicBezTo>
                  <a:pt x="785" y="146"/>
                  <a:pt x="785" y="146"/>
                  <a:pt x="785" y="146"/>
                </a:cubicBezTo>
                <a:cubicBezTo>
                  <a:pt x="786" y="146"/>
                  <a:pt x="786" y="146"/>
                  <a:pt x="786" y="146"/>
                </a:cubicBezTo>
                <a:cubicBezTo>
                  <a:pt x="787" y="146"/>
                  <a:pt x="787" y="146"/>
                  <a:pt x="787" y="146"/>
                </a:cubicBezTo>
                <a:cubicBezTo>
                  <a:pt x="787" y="147"/>
                  <a:pt x="787" y="147"/>
                  <a:pt x="787" y="147"/>
                </a:cubicBezTo>
                <a:cubicBezTo>
                  <a:pt x="788" y="149"/>
                  <a:pt x="788" y="149"/>
                  <a:pt x="788" y="149"/>
                </a:cubicBezTo>
                <a:cubicBezTo>
                  <a:pt x="790" y="150"/>
                  <a:pt x="790" y="150"/>
                  <a:pt x="790" y="150"/>
                </a:cubicBezTo>
                <a:cubicBezTo>
                  <a:pt x="791" y="151"/>
                  <a:pt x="791" y="151"/>
                  <a:pt x="791" y="151"/>
                </a:cubicBezTo>
                <a:cubicBezTo>
                  <a:pt x="793" y="151"/>
                  <a:pt x="793" y="151"/>
                  <a:pt x="793" y="151"/>
                </a:cubicBezTo>
                <a:cubicBezTo>
                  <a:pt x="794" y="150"/>
                  <a:pt x="794" y="150"/>
                  <a:pt x="794" y="150"/>
                </a:cubicBezTo>
                <a:cubicBezTo>
                  <a:pt x="793" y="149"/>
                  <a:pt x="793" y="149"/>
                  <a:pt x="793" y="149"/>
                </a:cubicBezTo>
                <a:cubicBezTo>
                  <a:pt x="794" y="149"/>
                  <a:pt x="794" y="149"/>
                  <a:pt x="794" y="149"/>
                </a:cubicBezTo>
                <a:cubicBezTo>
                  <a:pt x="797" y="152"/>
                  <a:pt x="797" y="152"/>
                  <a:pt x="797" y="152"/>
                </a:cubicBezTo>
                <a:cubicBezTo>
                  <a:pt x="798" y="153"/>
                  <a:pt x="798" y="153"/>
                  <a:pt x="798" y="153"/>
                </a:cubicBezTo>
                <a:cubicBezTo>
                  <a:pt x="796" y="153"/>
                  <a:pt x="796" y="153"/>
                  <a:pt x="796" y="153"/>
                </a:cubicBezTo>
                <a:cubicBezTo>
                  <a:pt x="796" y="154"/>
                  <a:pt x="796" y="154"/>
                  <a:pt x="796" y="154"/>
                </a:cubicBezTo>
                <a:cubicBezTo>
                  <a:pt x="799" y="156"/>
                  <a:pt x="799" y="156"/>
                  <a:pt x="799" y="156"/>
                </a:cubicBezTo>
                <a:cubicBezTo>
                  <a:pt x="799" y="156"/>
                  <a:pt x="799" y="156"/>
                  <a:pt x="799" y="156"/>
                </a:cubicBezTo>
                <a:cubicBezTo>
                  <a:pt x="799" y="156"/>
                  <a:pt x="799" y="156"/>
                  <a:pt x="799" y="156"/>
                </a:cubicBezTo>
                <a:cubicBezTo>
                  <a:pt x="799" y="154"/>
                  <a:pt x="799" y="154"/>
                  <a:pt x="799" y="154"/>
                </a:cubicBezTo>
                <a:cubicBezTo>
                  <a:pt x="801" y="155"/>
                  <a:pt x="801" y="155"/>
                  <a:pt x="801" y="155"/>
                </a:cubicBezTo>
                <a:cubicBezTo>
                  <a:pt x="804" y="159"/>
                  <a:pt x="804" y="159"/>
                  <a:pt x="804" y="159"/>
                </a:cubicBezTo>
                <a:cubicBezTo>
                  <a:pt x="803" y="158"/>
                  <a:pt x="803" y="158"/>
                  <a:pt x="803" y="158"/>
                </a:cubicBezTo>
                <a:cubicBezTo>
                  <a:pt x="802" y="158"/>
                  <a:pt x="802" y="158"/>
                  <a:pt x="802" y="158"/>
                </a:cubicBezTo>
                <a:cubicBezTo>
                  <a:pt x="802" y="159"/>
                  <a:pt x="802" y="159"/>
                  <a:pt x="802" y="159"/>
                </a:cubicBezTo>
                <a:cubicBezTo>
                  <a:pt x="803" y="160"/>
                  <a:pt x="803" y="160"/>
                  <a:pt x="803" y="160"/>
                </a:cubicBezTo>
                <a:cubicBezTo>
                  <a:pt x="801" y="161"/>
                  <a:pt x="801" y="161"/>
                  <a:pt x="801" y="161"/>
                </a:cubicBezTo>
                <a:cubicBezTo>
                  <a:pt x="801" y="162"/>
                  <a:pt x="801" y="162"/>
                  <a:pt x="801" y="162"/>
                </a:cubicBezTo>
                <a:cubicBezTo>
                  <a:pt x="802" y="163"/>
                  <a:pt x="802" y="163"/>
                  <a:pt x="802" y="163"/>
                </a:cubicBezTo>
                <a:cubicBezTo>
                  <a:pt x="803" y="163"/>
                  <a:pt x="803" y="163"/>
                  <a:pt x="803" y="163"/>
                </a:cubicBezTo>
                <a:cubicBezTo>
                  <a:pt x="803" y="161"/>
                  <a:pt x="803" y="161"/>
                  <a:pt x="803" y="161"/>
                </a:cubicBezTo>
                <a:cubicBezTo>
                  <a:pt x="804" y="161"/>
                  <a:pt x="804" y="161"/>
                  <a:pt x="804" y="161"/>
                </a:cubicBezTo>
                <a:cubicBezTo>
                  <a:pt x="805" y="161"/>
                  <a:pt x="805" y="161"/>
                  <a:pt x="805" y="161"/>
                </a:cubicBezTo>
                <a:cubicBezTo>
                  <a:pt x="805" y="160"/>
                  <a:pt x="805" y="160"/>
                  <a:pt x="805" y="160"/>
                </a:cubicBezTo>
                <a:cubicBezTo>
                  <a:pt x="806" y="162"/>
                  <a:pt x="806" y="162"/>
                  <a:pt x="806" y="162"/>
                </a:cubicBezTo>
                <a:cubicBezTo>
                  <a:pt x="809" y="164"/>
                  <a:pt x="809" y="164"/>
                  <a:pt x="809" y="164"/>
                </a:cubicBezTo>
                <a:cubicBezTo>
                  <a:pt x="812" y="164"/>
                  <a:pt x="812" y="164"/>
                  <a:pt x="812" y="164"/>
                </a:cubicBezTo>
                <a:cubicBezTo>
                  <a:pt x="813" y="166"/>
                  <a:pt x="813" y="166"/>
                  <a:pt x="813" y="166"/>
                </a:cubicBezTo>
                <a:cubicBezTo>
                  <a:pt x="812" y="167"/>
                  <a:pt x="812" y="167"/>
                  <a:pt x="812" y="167"/>
                </a:cubicBezTo>
                <a:cubicBezTo>
                  <a:pt x="814" y="169"/>
                  <a:pt x="814" y="169"/>
                  <a:pt x="814" y="169"/>
                </a:cubicBezTo>
                <a:cubicBezTo>
                  <a:pt x="815" y="169"/>
                  <a:pt x="815" y="169"/>
                  <a:pt x="815" y="169"/>
                </a:cubicBezTo>
                <a:cubicBezTo>
                  <a:pt x="817" y="172"/>
                  <a:pt x="817" y="172"/>
                  <a:pt x="817" y="172"/>
                </a:cubicBezTo>
                <a:cubicBezTo>
                  <a:pt x="817" y="176"/>
                  <a:pt x="817" y="176"/>
                  <a:pt x="817" y="176"/>
                </a:cubicBezTo>
                <a:cubicBezTo>
                  <a:pt x="816" y="176"/>
                  <a:pt x="816" y="176"/>
                  <a:pt x="816" y="176"/>
                </a:cubicBezTo>
                <a:cubicBezTo>
                  <a:pt x="816" y="177"/>
                  <a:pt x="816" y="177"/>
                  <a:pt x="816" y="177"/>
                </a:cubicBezTo>
                <a:cubicBezTo>
                  <a:pt x="818" y="177"/>
                  <a:pt x="818" y="177"/>
                  <a:pt x="818" y="177"/>
                </a:cubicBezTo>
                <a:cubicBezTo>
                  <a:pt x="818" y="179"/>
                  <a:pt x="818" y="179"/>
                  <a:pt x="818" y="179"/>
                </a:cubicBezTo>
                <a:cubicBezTo>
                  <a:pt x="818" y="179"/>
                  <a:pt x="818" y="179"/>
                  <a:pt x="818" y="179"/>
                </a:cubicBezTo>
                <a:cubicBezTo>
                  <a:pt x="817" y="179"/>
                  <a:pt x="817" y="179"/>
                  <a:pt x="817" y="179"/>
                </a:cubicBezTo>
                <a:cubicBezTo>
                  <a:pt x="812" y="179"/>
                  <a:pt x="812" y="179"/>
                  <a:pt x="812" y="179"/>
                </a:cubicBezTo>
                <a:cubicBezTo>
                  <a:pt x="811" y="178"/>
                  <a:pt x="811" y="178"/>
                  <a:pt x="811" y="178"/>
                </a:cubicBezTo>
                <a:cubicBezTo>
                  <a:pt x="810" y="178"/>
                  <a:pt x="810" y="178"/>
                  <a:pt x="810" y="178"/>
                </a:cubicBezTo>
                <a:cubicBezTo>
                  <a:pt x="809" y="178"/>
                  <a:pt x="809" y="178"/>
                  <a:pt x="809" y="178"/>
                </a:cubicBezTo>
                <a:cubicBezTo>
                  <a:pt x="809" y="177"/>
                  <a:pt x="809" y="177"/>
                  <a:pt x="809" y="177"/>
                </a:cubicBezTo>
                <a:cubicBezTo>
                  <a:pt x="808" y="176"/>
                  <a:pt x="808" y="176"/>
                  <a:pt x="808" y="176"/>
                </a:cubicBezTo>
                <a:cubicBezTo>
                  <a:pt x="808" y="177"/>
                  <a:pt x="808" y="177"/>
                  <a:pt x="808" y="177"/>
                </a:cubicBezTo>
                <a:cubicBezTo>
                  <a:pt x="808" y="178"/>
                  <a:pt x="808" y="178"/>
                  <a:pt x="808" y="178"/>
                </a:cubicBezTo>
                <a:cubicBezTo>
                  <a:pt x="806" y="179"/>
                  <a:pt x="806" y="179"/>
                  <a:pt x="806" y="179"/>
                </a:cubicBezTo>
                <a:cubicBezTo>
                  <a:pt x="805" y="179"/>
                  <a:pt x="805" y="179"/>
                  <a:pt x="805" y="179"/>
                </a:cubicBezTo>
                <a:cubicBezTo>
                  <a:pt x="804" y="180"/>
                  <a:pt x="804" y="180"/>
                  <a:pt x="804" y="180"/>
                </a:cubicBezTo>
                <a:cubicBezTo>
                  <a:pt x="805" y="180"/>
                  <a:pt x="805" y="180"/>
                  <a:pt x="805" y="180"/>
                </a:cubicBezTo>
                <a:cubicBezTo>
                  <a:pt x="803" y="182"/>
                  <a:pt x="803" y="182"/>
                  <a:pt x="803" y="182"/>
                </a:cubicBezTo>
                <a:cubicBezTo>
                  <a:pt x="802" y="182"/>
                  <a:pt x="802" y="182"/>
                  <a:pt x="802" y="182"/>
                </a:cubicBezTo>
                <a:cubicBezTo>
                  <a:pt x="802" y="183"/>
                  <a:pt x="802" y="183"/>
                  <a:pt x="802" y="183"/>
                </a:cubicBezTo>
                <a:cubicBezTo>
                  <a:pt x="802" y="184"/>
                  <a:pt x="802" y="184"/>
                  <a:pt x="802" y="184"/>
                </a:cubicBezTo>
                <a:cubicBezTo>
                  <a:pt x="801" y="186"/>
                  <a:pt x="801" y="186"/>
                  <a:pt x="801" y="186"/>
                </a:cubicBezTo>
                <a:cubicBezTo>
                  <a:pt x="800" y="187"/>
                  <a:pt x="800" y="187"/>
                  <a:pt x="800" y="187"/>
                </a:cubicBezTo>
                <a:cubicBezTo>
                  <a:pt x="800" y="186"/>
                  <a:pt x="800" y="186"/>
                  <a:pt x="800" y="186"/>
                </a:cubicBezTo>
                <a:cubicBezTo>
                  <a:pt x="799" y="186"/>
                  <a:pt x="799" y="186"/>
                  <a:pt x="799" y="186"/>
                </a:cubicBezTo>
                <a:cubicBezTo>
                  <a:pt x="799" y="188"/>
                  <a:pt x="799" y="188"/>
                  <a:pt x="799" y="188"/>
                </a:cubicBezTo>
                <a:cubicBezTo>
                  <a:pt x="799" y="190"/>
                  <a:pt x="799" y="190"/>
                  <a:pt x="799" y="190"/>
                </a:cubicBezTo>
                <a:cubicBezTo>
                  <a:pt x="798" y="191"/>
                  <a:pt x="798" y="191"/>
                  <a:pt x="798" y="191"/>
                </a:cubicBezTo>
                <a:cubicBezTo>
                  <a:pt x="797" y="190"/>
                  <a:pt x="797" y="190"/>
                  <a:pt x="797" y="190"/>
                </a:cubicBezTo>
                <a:cubicBezTo>
                  <a:pt x="797" y="192"/>
                  <a:pt x="797" y="192"/>
                  <a:pt x="797" y="192"/>
                </a:cubicBezTo>
                <a:cubicBezTo>
                  <a:pt x="798" y="193"/>
                  <a:pt x="798" y="193"/>
                  <a:pt x="798" y="193"/>
                </a:cubicBezTo>
                <a:cubicBezTo>
                  <a:pt x="796" y="194"/>
                  <a:pt x="796" y="194"/>
                  <a:pt x="796" y="194"/>
                </a:cubicBezTo>
                <a:cubicBezTo>
                  <a:pt x="795" y="194"/>
                  <a:pt x="795" y="194"/>
                  <a:pt x="795" y="194"/>
                </a:cubicBezTo>
                <a:cubicBezTo>
                  <a:pt x="796" y="195"/>
                  <a:pt x="796" y="195"/>
                  <a:pt x="796" y="195"/>
                </a:cubicBezTo>
                <a:cubicBezTo>
                  <a:pt x="796" y="196"/>
                  <a:pt x="796" y="196"/>
                  <a:pt x="796" y="196"/>
                </a:cubicBezTo>
                <a:cubicBezTo>
                  <a:pt x="795" y="197"/>
                  <a:pt x="795" y="197"/>
                  <a:pt x="795" y="197"/>
                </a:cubicBezTo>
                <a:cubicBezTo>
                  <a:pt x="794" y="196"/>
                  <a:pt x="794" y="196"/>
                  <a:pt x="794" y="196"/>
                </a:cubicBezTo>
                <a:cubicBezTo>
                  <a:pt x="793" y="197"/>
                  <a:pt x="793" y="197"/>
                  <a:pt x="793" y="197"/>
                </a:cubicBezTo>
                <a:cubicBezTo>
                  <a:pt x="794" y="198"/>
                  <a:pt x="794" y="198"/>
                  <a:pt x="794" y="198"/>
                </a:cubicBezTo>
                <a:cubicBezTo>
                  <a:pt x="794" y="199"/>
                  <a:pt x="794" y="199"/>
                  <a:pt x="794" y="199"/>
                </a:cubicBezTo>
                <a:cubicBezTo>
                  <a:pt x="793" y="200"/>
                  <a:pt x="793" y="200"/>
                  <a:pt x="793" y="200"/>
                </a:cubicBezTo>
                <a:cubicBezTo>
                  <a:pt x="794" y="201"/>
                  <a:pt x="794" y="201"/>
                  <a:pt x="794" y="201"/>
                </a:cubicBezTo>
                <a:cubicBezTo>
                  <a:pt x="793" y="202"/>
                  <a:pt x="793" y="202"/>
                  <a:pt x="793" y="202"/>
                </a:cubicBezTo>
                <a:cubicBezTo>
                  <a:pt x="792" y="202"/>
                  <a:pt x="792" y="202"/>
                  <a:pt x="792" y="202"/>
                </a:cubicBezTo>
                <a:cubicBezTo>
                  <a:pt x="792" y="201"/>
                  <a:pt x="792" y="201"/>
                  <a:pt x="792" y="201"/>
                </a:cubicBezTo>
                <a:cubicBezTo>
                  <a:pt x="791" y="201"/>
                  <a:pt x="791" y="201"/>
                  <a:pt x="791" y="201"/>
                </a:cubicBezTo>
                <a:cubicBezTo>
                  <a:pt x="792" y="202"/>
                  <a:pt x="792" y="202"/>
                  <a:pt x="792" y="202"/>
                </a:cubicBezTo>
                <a:cubicBezTo>
                  <a:pt x="794" y="203"/>
                  <a:pt x="794" y="203"/>
                  <a:pt x="794" y="203"/>
                </a:cubicBezTo>
                <a:cubicBezTo>
                  <a:pt x="793" y="205"/>
                  <a:pt x="793" y="205"/>
                  <a:pt x="793" y="205"/>
                </a:cubicBezTo>
                <a:cubicBezTo>
                  <a:pt x="791" y="205"/>
                  <a:pt x="791" y="205"/>
                  <a:pt x="791" y="205"/>
                </a:cubicBezTo>
                <a:cubicBezTo>
                  <a:pt x="791" y="205"/>
                  <a:pt x="791" y="205"/>
                  <a:pt x="791" y="205"/>
                </a:cubicBezTo>
                <a:cubicBezTo>
                  <a:pt x="792" y="206"/>
                  <a:pt x="792" y="206"/>
                  <a:pt x="792" y="206"/>
                </a:cubicBezTo>
                <a:cubicBezTo>
                  <a:pt x="793" y="208"/>
                  <a:pt x="793" y="208"/>
                  <a:pt x="793" y="208"/>
                </a:cubicBezTo>
                <a:cubicBezTo>
                  <a:pt x="792" y="209"/>
                  <a:pt x="792" y="209"/>
                  <a:pt x="792" y="209"/>
                </a:cubicBezTo>
                <a:cubicBezTo>
                  <a:pt x="793" y="209"/>
                  <a:pt x="793" y="209"/>
                  <a:pt x="793" y="209"/>
                </a:cubicBezTo>
                <a:cubicBezTo>
                  <a:pt x="791" y="211"/>
                  <a:pt x="791" y="211"/>
                  <a:pt x="791" y="211"/>
                </a:cubicBezTo>
                <a:cubicBezTo>
                  <a:pt x="792" y="212"/>
                  <a:pt x="792" y="212"/>
                  <a:pt x="792" y="212"/>
                </a:cubicBezTo>
                <a:cubicBezTo>
                  <a:pt x="791" y="215"/>
                  <a:pt x="791" y="215"/>
                  <a:pt x="791" y="215"/>
                </a:cubicBezTo>
                <a:cubicBezTo>
                  <a:pt x="790" y="217"/>
                  <a:pt x="790" y="217"/>
                  <a:pt x="790" y="217"/>
                </a:cubicBezTo>
                <a:cubicBezTo>
                  <a:pt x="790" y="219"/>
                  <a:pt x="790" y="219"/>
                  <a:pt x="790" y="219"/>
                </a:cubicBezTo>
                <a:cubicBezTo>
                  <a:pt x="789" y="220"/>
                  <a:pt x="789" y="220"/>
                  <a:pt x="789" y="220"/>
                </a:cubicBezTo>
                <a:cubicBezTo>
                  <a:pt x="790" y="220"/>
                  <a:pt x="790" y="220"/>
                  <a:pt x="790" y="220"/>
                </a:cubicBezTo>
                <a:cubicBezTo>
                  <a:pt x="791" y="221"/>
                  <a:pt x="791" y="221"/>
                  <a:pt x="791" y="221"/>
                </a:cubicBezTo>
                <a:cubicBezTo>
                  <a:pt x="790" y="221"/>
                  <a:pt x="790" y="221"/>
                  <a:pt x="790" y="221"/>
                </a:cubicBezTo>
                <a:cubicBezTo>
                  <a:pt x="792" y="224"/>
                  <a:pt x="792" y="224"/>
                  <a:pt x="792" y="224"/>
                </a:cubicBezTo>
                <a:cubicBezTo>
                  <a:pt x="792" y="225"/>
                  <a:pt x="792" y="225"/>
                  <a:pt x="792" y="225"/>
                </a:cubicBezTo>
                <a:cubicBezTo>
                  <a:pt x="791" y="225"/>
                  <a:pt x="791" y="225"/>
                  <a:pt x="791" y="225"/>
                </a:cubicBezTo>
                <a:cubicBezTo>
                  <a:pt x="790" y="225"/>
                  <a:pt x="790" y="225"/>
                  <a:pt x="790" y="225"/>
                </a:cubicBezTo>
                <a:cubicBezTo>
                  <a:pt x="788" y="224"/>
                  <a:pt x="788" y="224"/>
                  <a:pt x="788" y="224"/>
                </a:cubicBezTo>
                <a:cubicBezTo>
                  <a:pt x="788" y="224"/>
                  <a:pt x="788" y="224"/>
                  <a:pt x="788" y="224"/>
                </a:cubicBezTo>
                <a:cubicBezTo>
                  <a:pt x="786" y="222"/>
                  <a:pt x="786" y="222"/>
                  <a:pt x="786" y="222"/>
                </a:cubicBezTo>
                <a:cubicBezTo>
                  <a:pt x="787" y="222"/>
                  <a:pt x="787" y="222"/>
                  <a:pt x="787" y="222"/>
                </a:cubicBezTo>
                <a:cubicBezTo>
                  <a:pt x="786" y="222"/>
                  <a:pt x="786" y="222"/>
                  <a:pt x="786" y="222"/>
                </a:cubicBezTo>
                <a:cubicBezTo>
                  <a:pt x="785" y="222"/>
                  <a:pt x="785" y="222"/>
                  <a:pt x="785" y="222"/>
                </a:cubicBezTo>
                <a:cubicBezTo>
                  <a:pt x="784" y="222"/>
                  <a:pt x="784" y="222"/>
                  <a:pt x="784" y="222"/>
                </a:cubicBezTo>
                <a:cubicBezTo>
                  <a:pt x="784" y="221"/>
                  <a:pt x="784" y="221"/>
                  <a:pt x="784" y="221"/>
                </a:cubicBezTo>
                <a:cubicBezTo>
                  <a:pt x="780" y="219"/>
                  <a:pt x="780" y="219"/>
                  <a:pt x="780" y="219"/>
                </a:cubicBezTo>
                <a:cubicBezTo>
                  <a:pt x="779" y="218"/>
                  <a:pt x="779" y="218"/>
                  <a:pt x="779" y="218"/>
                </a:cubicBezTo>
                <a:cubicBezTo>
                  <a:pt x="777" y="220"/>
                  <a:pt x="777" y="220"/>
                  <a:pt x="777" y="220"/>
                </a:cubicBezTo>
                <a:cubicBezTo>
                  <a:pt x="776" y="219"/>
                  <a:pt x="776" y="219"/>
                  <a:pt x="776" y="219"/>
                </a:cubicBezTo>
                <a:cubicBezTo>
                  <a:pt x="775" y="219"/>
                  <a:pt x="775" y="219"/>
                  <a:pt x="775" y="219"/>
                </a:cubicBezTo>
                <a:cubicBezTo>
                  <a:pt x="773" y="221"/>
                  <a:pt x="773" y="221"/>
                  <a:pt x="773" y="221"/>
                </a:cubicBezTo>
                <a:cubicBezTo>
                  <a:pt x="772" y="221"/>
                  <a:pt x="772" y="221"/>
                  <a:pt x="772" y="221"/>
                </a:cubicBezTo>
                <a:cubicBezTo>
                  <a:pt x="771" y="224"/>
                  <a:pt x="771" y="224"/>
                  <a:pt x="771" y="224"/>
                </a:cubicBezTo>
                <a:cubicBezTo>
                  <a:pt x="770" y="224"/>
                  <a:pt x="770" y="224"/>
                  <a:pt x="770" y="224"/>
                </a:cubicBezTo>
                <a:cubicBezTo>
                  <a:pt x="769" y="224"/>
                  <a:pt x="769" y="224"/>
                  <a:pt x="769" y="224"/>
                </a:cubicBezTo>
                <a:cubicBezTo>
                  <a:pt x="770" y="225"/>
                  <a:pt x="770" y="225"/>
                  <a:pt x="770" y="225"/>
                </a:cubicBezTo>
                <a:cubicBezTo>
                  <a:pt x="769" y="226"/>
                  <a:pt x="769" y="226"/>
                  <a:pt x="769" y="226"/>
                </a:cubicBezTo>
                <a:cubicBezTo>
                  <a:pt x="770" y="228"/>
                  <a:pt x="770" y="228"/>
                  <a:pt x="770" y="228"/>
                </a:cubicBezTo>
                <a:cubicBezTo>
                  <a:pt x="769" y="229"/>
                  <a:pt x="769" y="229"/>
                  <a:pt x="769" y="229"/>
                </a:cubicBezTo>
                <a:cubicBezTo>
                  <a:pt x="769" y="232"/>
                  <a:pt x="769" y="232"/>
                  <a:pt x="769" y="232"/>
                </a:cubicBezTo>
                <a:cubicBezTo>
                  <a:pt x="768" y="233"/>
                  <a:pt x="768" y="233"/>
                  <a:pt x="768" y="233"/>
                </a:cubicBezTo>
                <a:cubicBezTo>
                  <a:pt x="767" y="232"/>
                  <a:pt x="767" y="232"/>
                  <a:pt x="767" y="232"/>
                </a:cubicBezTo>
                <a:cubicBezTo>
                  <a:pt x="766" y="228"/>
                  <a:pt x="766" y="228"/>
                  <a:pt x="766" y="228"/>
                </a:cubicBezTo>
                <a:cubicBezTo>
                  <a:pt x="766" y="226"/>
                  <a:pt x="766" y="226"/>
                  <a:pt x="766" y="226"/>
                </a:cubicBezTo>
                <a:cubicBezTo>
                  <a:pt x="765" y="226"/>
                  <a:pt x="765" y="226"/>
                  <a:pt x="765" y="226"/>
                </a:cubicBezTo>
                <a:cubicBezTo>
                  <a:pt x="764" y="225"/>
                  <a:pt x="764" y="225"/>
                  <a:pt x="764" y="225"/>
                </a:cubicBezTo>
                <a:cubicBezTo>
                  <a:pt x="764" y="226"/>
                  <a:pt x="764" y="226"/>
                  <a:pt x="764" y="226"/>
                </a:cubicBezTo>
                <a:cubicBezTo>
                  <a:pt x="762" y="229"/>
                  <a:pt x="762" y="229"/>
                  <a:pt x="762" y="229"/>
                </a:cubicBezTo>
                <a:cubicBezTo>
                  <a:pt x="761" y="229"/>
                  <a:pt x="761" y="229"/>
                  <a:pt x="761" y="229"/>
                </a:cubicBezTo>
                <a:cubicBezTo>
                  <a:pt x="761" y="231"/>
                  <a:pt x="761" y="231"/>
                  <a:pt x="761" y="231"/>
                </a:cubicBezTo>
                <a:cubicBezTo>
                  <a:pt x="762" y="231"/>
                  <a:pt x="762" y="231"/>
                  <a:pt x="762" y="231"/>
                </a:cubicBezTo>
                <a:cubicBezTo>
                  <a:pt x="761" y="234"/>
                  <a:pt x="761" y="234"/>
                  <a:pt x="761" y="234"/>
                </a:cubicBezTo>
                <a:cubicBezTo>
                  <a:pt x="760" y="232"/>
                  <a:pt x="760" y="232"/>
                  <a:pt x="760" y="232"/>
                </a:cubicBezTo>
                <a:cubicBezTo>
                  <a:pt x="759" y="232"/>
                  <a:pt x="759" y="232"/>
                  <a:pt x="759" y="232"/>
                </a:cubicBezTo>
                <a:cubicBezTo>
                  <a:pt x="759" y="232"/>
                  <a:pt x="759" y="232"/>
                  <a:pt x="759" y="232"/>
                </a:cubicBezTo>
                <a:cubicBezTo>
                  <a:pt x="758" y="232"/>
                  <a:pt x="758" y="232"/>
                  <a:pt x="758" y="232"/>
                </a:cubicBezTo>
                <a:cubicBezTo>
                  <a:pt x="757" y="233"/>
                  <a:pt x="757" y="233"/>
                  <a:pt x="757" y="233"/>
                </a:cubicBezTo>
                <a:cubicBezTo>
                  <a:pt x="757" y="234"/>
                  <a:pt x="757" y="234"/>
                  <a:pt x="757" y="234"/>
                </a:cubicBezTo>
                <a:cubicBezTo>
                  <a:pt x="755" y="233"/>
                  <a:pt x="755" y="233"/>
                  <a:pt x="755" y="233"/>
                </a:cubicBezTo>
                <a:cubicBezTo>
                  <a:pt x="754" y="233"/>
                  <a:pt x="754" y="233"/>
                  <a:pt x="754" y="233"/>
                </a:cubicBezTo>
                <a:cubicBezTo>
                  <a:pt x="754" y="234"/>
                  <a:pt x="754" y="234"/>
                  <a:pt x="754" y="234"/>
                </a:cubicBezTo>
                <a:cubicBezTo>
                  <a:pt x="755" y="235"/>
                  <a:pt x="755" y="235"/>
                  <a:pt x="755" y="235"/>
                </a:cubicBezTo>
                <a:cubicBezTo>
                  <a:pt x="754" y="235"/>
                  <a:pt x="754" y="235"/>
                  <a:pt x="754" y="235"/>
                </a:cubicBezTo>
                <a:cubicBezTo>
                  <a:pt x="754" y="237"/>
                  <a:pt x="754" y="237"/>
                  <a:pt x="754" y="237"/>
                </a:cubicBezTo>
                <a:cubicBezTo>
                  <a:pt x="754" y="238"/>
                  <a:pt x="754" y="238"/>
                  <a:pt x="754" y="238"/>
                </a:cubicBezTo>
                <a:cubicBezTo>
                  <a:pt x="755" y="239"/>
                  <a:pt x="755" y="239"/>
                  <a:pt x="755" y="239"/>
                </a:cubicBezTo>
                <a:cubicBezTo>
                  <a:pt x="755" y="240"/>
                  <a:pt x="755" y="240"/>
                  <a:pt x="755" y="240"/>
                </a:cubicBezTo>
                <a:cubicBezTo>
                  <a:pt x="755" y="241"/>
                  <a:pt x="755" y="241"/>
                  <a:pt x="755" y="241"/>
                </a:cubicBezTo>
                <a:cubicBezTo>
                  <a:pt x="755" y="242"/>
                  <a:pt x="755" y="242"/>
                  <a:pt x="755" y="242"/>
                </a:cubicBezTo>
                <a:cubicBezTo>
                  <a:pt x="756" y="242"/>
                  <a:pt x="756" y="242"/>
                  <a:pt x="756" y="242"/>
                </a:cubicBezTo>
                <a:cubicBezTo>
                  <a:pt x="757" y="243"/>
                  <a:pt x="757" y="243"/>
                  <a:pt x="757" y="243"/>
                </a:cubicBezTo>
                <a:cubicBezTo>
                  <a:pt x="757" y="244"/>
                  <a:pt x="757" y="244"/>
                  <a:pt x="757" y="244"/>
                </a:cubicBezTo>
                <a:cubicBezTo>
                  <a:pt x="757" y="244"/>
                  <a:pt x="757" y="244"/>
                  <a:pt x="757" y="244"/>
                </a:cubicBezTo>
                <a:cubicBezTo>
                  <a:pt x="757" y="245"/>
                  <a:pt x="757" y="245"/>
                  <a:pt x="757" y="245"/>
                </a:cubicBezTo>
                <a:cubicBezTo>
                  <a:pt x="758" y="245"/>
                  <a:pt x="758" y="245"/>
                  <a:pt x="758" y="245"/>
                </a:cubicBezTo>
                <a:cubicBezTo>
                  <a:pt x="758" y="246"/>
                  <a:pt x="758" y="246"/>
                  <a:pt x="758" y="246"/>
                </a:cubicBezTo>
                <a:cubicBezTo>
                  <a:pt x="758" y="247"/>
                  <a:pt x="758" y="247"/>
                  <a:pt x="758" y="247"/>
                </a:cubicBezTo>
                <a:cubicBezTo>
                  <a:pt x="757" y="246"/>
                  <a:pt x="757" y="246"/>
                  <a:pt x="757" y="246"/>
                </a:cubicBezTo>
                <a:cubicBezTo>
                  <a:pt x="756" y="246"/>
                  <a:pt x="756" y="246"/>
                  <a:pt x="756" y="246"/>
                </a:cubicBezTo>
                <a:cubicBezTo>
                  <a:pt x="756" y="247"/>
                  <a:pt x="756" y="247"/>
                  <a:pt x="756" y="247"/>
                </a:cubicBezTo>
                <a:cubicBezTo>
                  <a:pt x="757" y="248"/>
                  <a:pt x="757" y="248"/>
                  <a:pt x="757" y="248"/>
                </a:cubicBezTo>
                <a:cubicBezTo>
                  <a:pt x="758" y="248"/>
                  <a:pt x="758" y="248"/>
                  <a:pt x="758" y="248"/>
                </a:cubicBezTo>
                <a:cubicBezTo>
                  <a:pt x="758" y="249"/>
                  <a:pt x="758" y="249"/>
                  <a:pt x="758" y="249"/>
                </a:cubicBezTo>
                <a:cubicBezTo>
                  <a:pt x="758" y="250"/>
                  <a:pt x="758" y="250"/>
                  <a:pt x="758" y="250"/>
                </a:cubicBezTo>
                <a:cubicBezTo>
                  <a:pt x="758" y="252"/>
                  <a:pt x="758" y="252"/>
                  <a:pt x="758" y="252"/>
                </a:cubicBezTo>
                <a:cubicBezTo>
                  <a:pt x="757" y="253"/>
                  <a:pt x="757" y="253"/>
                  <a:pt x="757" y="253"/>
                </a:cubicBezTo>
                <a:cubicBezTo>
                  <a:pt x="758" y="255"/>
                  <a:pt x="758" y="255"/>
                  <a:pt x="758" y="255"/>
                </a:cubicBezTo>
                <a:cubicBezTo>
                  <a:pt x="757" y="255"/>
                  <a:pt x="757" y="255"/>
                  <a:pt x="757" y="255"/>
                </a:cubicBezTo>
                <a:cubicBezTo>
                  <a:pt x="758" y="257"/>
                  <a:pt x="758" y="257"/>
                  <a:pt x="758" y="257"/>
                </a:cubicBezTo>
                <a:cubicBezTo>
                  <a:pt x="758" y="257"/>
                  <a:pt x="758" y="257"/>
                  <a:pt x="758" y="257"/>
                </a:cubicBezTo>
                <a:cubicBezTo>
                  <a:pt x="758" y="259"/>
                  <a:pt x="758" y="259"/>
                  <a:pt x="758" y="259"/>
                </a:cubicBezTo>
                <a:cubicBezTo>
                  <a:pt x="759" y="261"/>
                  <a:pt x="759" y="261"/>
                  <a:pt x="759" y="261"/>
                </a:cubicBezTo>
                <a:cubicBezTo>
                  <a:pt x="758" y="262"/>
                  <a:pt x="758" y="262"/>
                  <a:pt x="758" y="262"/>
                </a:cubicBezTo>
                <a:cubicBezTo>
                  <a:pt x="759" y="262"/>
                  <a:pt x="759" y="262"/>
                  <a:pt x="759" y="262"/>
                </a:cubicBezTo>
                <a:cubicBezTo>
                  <a:pt x="761" y="263"/>
                  <a:pt x="761" y="263"/>
                  <a:pt x="761" y="263"/>
                </a:cubicBezTo>
                <a:cubicBezTo>
                  <a:pt x="762" y="266"/>
                  <a:pt x="762" y="266"/>
                  <a:pt x="762" y="266"/>
                </a:cubicBezTo>
                <a:cubicBezTo>
                  <a:pt x="764" y="266"/>
                  <a:pt x="764" y="266"/>
                  <a:pt x="764" y="266"/>
                </a:cubicBezTo>
                <a:cubicBezTo>
                  <a:pt x="764" y="266"/>
                  <a:pt x="764" y="266"/>
                  <a:pt x="764" y="266"/>
                </a:cubicBezTo>
                <a:cubicBezTo>
                  <a:pt x="764" y="265"/>
                  <a:pt x="764" y="265"/>
                  <a:pt x="764" y="265"/>
                </a:cubicBezTo>
                <a:cubicBezTo>
                  <a:pt x="763" y="263"/>
                  <a:pt x="763" y="263"/>
                  <a:pt x="763" y="263"/>
                </a:cubicBezTo>
                <a:cubicBezTo>
                  <a:pt x="763" y="262"/>
                  <a:pt x="763" y="262"/>
                  <a:pt x="763" y="262"/>
                </a:cubicBezTo>
                <a:cubicBezTo>
                  <a:pt x="764" y="261"/>
                  <a:pt x="764" y="261"/>
                  <a:pt x="764" y="261"/>
                </a:cubicBezTo>
                <a:cubicBezTo>
                  <a:pt x="765" y="262"/>
                  <a:pt x="765" y="262"/>
                  <a:pt x="765" y="262"/>
                </a:cubicBezTo>
                <a:cubicBezTo>
                  <a:pt x="767" y="263"/>
                  <a:pt x="767" y="263"/>
                  <a:pt x="767" y="263"/>
                </a:cubicBezTo>
                <a:cubicBezTo>
                  <a:pt x="768" y="263"/>
                  <a:pt x="768" y="263"/>
                  <a:pt x="768" y="263"/>
                </a:cubicBezTo>
                <a:cubicBezTo>
                  <a:pt x="769" y="263"/>
                  <a:pt x="769" y="263"/>
                  <a:pt x="769" y="263"/>
                </a:cubicBezTo>
                <a:cubicBezTo>
                  <a:pt x="769" y="264"/>
                  <a:pt x="769" y="264"/>
                  <a:pt x="769" y="264"/>
                </a:cubicBezTo>
                <a:cubicBezTo>
                  <a:pt x="769" y="265"/>
                  <a:pt x="769" y="265"/>
                  <a:pt x="769" y="265"/>
                </a:cubicBezTo>
                <a:cubicBezTo>
                  <a:pt x="770" y="266"/>
                  <a:pt x="770" y="266"/>
                  <a:pt x="770" y="266"/>
                </a:cubicBezTo>
                <a:cubicBezTo>
                  <a:pt x="769" y="267"/>
                  <a:pt x="769" y="267"/>
                  <a:pt x="769" y="267"/>
                </a:cubicBezTo>
                <a:cubicBezTo>
                  <a:pt x="769" y="268"/>
                  <a:pt x="769" y="268"/>
                  <a:pt x="769" y="268"/>
                </a:cubicBezTo>
                <a:cubicBezTo>
                  <a:pt x="769" y="269"/>
                  <a:pt x="769" y="269"/>
                  <a:pt x="769" y="269"/>
                </a:cubicBezTo>
                <a:cubicBezTo>
                  <a:pt x="768" y="270"/>
                  <a:pt x="768" y="270"/>
                  <a:pt x="768" y="270"/>
                </a:cubicBezTo>
                <a:cubicBezTo>
                  <a:pt x="769" y="272"/>
                  <a:pt x="769" y="272"/>
                  <a:pt x="769" y="272"/>
                </a:cubicBezTo>
                <a:cubicBezTo>
                  <a:pt x="770" y="274"/>
                  <a:pt x="770" y="274"/>
                  <a:pt x="770" y="274"/>
                </a:cubicBezTo>
                <a:cubicBezTo>
                  <a:pt x="770" y="276"/>
                  <a:pt x="770" y="276"/>
                  <a:pt x="770" y="276"/>
                </a:cubicBezTo>
                <a:cubicBezTo>
                  <a:pt x="771" y="277"/>
                  <a:pt x="771" y="277"/>
                  <a:pt x="771" y="277"/>
                </a:cubicBezTo>
                <a:cubicBezTo>
                  <a:pt x="772" y="276"/>
                  <a:pt x="772" y="276"/>
                  <a:pt x="772" y="276"/>
                </a:cubicBezTo>
                <a:cubicBezTo>
                  <a:pt x="772" y="276"/>
                  <a:pt x="772" y="276"/>
                  <a:pt x="772" y="276"/>
                </a:cubicBezTo>
                <a:cubicBezTo>
                  <a:pt x="773" y="275"/>
                  <a:pt x="773" y="275"/>
                  <a:pt x="773" y="275"/>
                </a:cubicBezTo>
                <a:cubicBezTo>
                  <a:pt x="773" y="274"/>
                  <a:pt x="773" y="274"/>
                  <a:pt x="773" y="274"/>
                </a:cubicBezTo>
                <a:cubicBezTo>
                  <a:pt x="773" y="275"/>
                  <a:pt x="773" y="275"/>
                  <a:pt x="773" y="275"/>
                </a:cubicBezTo>
                <a:cubicBezTo>
                  <a:pt x="775" y="275"/>
                  <a:pt x="775" y="275"/>
                  <a:pt x="775" y="275"/>
                </a:cubicBezTo>
                <a:cubicBezTo>
                  <a:pt x="775" y="278"/>
                  <a:pt x="775" y="278"/>
                  <a:pt x="775" y="278"/>
                </a:cubicBezTo>
                <a:cubicBezTo>
                  <a:pt x="778" y="281"/>
                  <a:pt x="778" y="281"/>
                  <a:pt x="778" y="281"/>
                </a:cubicBezTo>
                <a:cubicBezTo>
                  <a:pt x="779" y="283"/>
                  <a:pt x="779" y="283"/>
                  <a:pt x="779" y="283"/>
                </a:cubicBezTo>
                <a:cubicBezTo>
                  <a:pt x="778" y="283"/>
                  <a:pt x="778" y="283"/>
                  <a:pt x="778" y="283"/>
                </a:cubicBezTo>
                <a:cubicBezTo>
                  <a:pt x="778" y="285"/>
                  <a:pt x="778" y="285"/>
                  <a:pt x="778" y="285"/>
                </a:cubicBezTo>
                <a:cubicBezTo>
                  <a:pt x="777" y="286"/>
                  <a:pt x="777" y="286"/>
                  <a:pt x="777" y="286"/>
                </a:cubicBezTo>
                <a:cubicBezTo>
                  <a:pt x="775" y="284"/>
                  <a:pt x="775" y="284"/>
                  <a:pt x="775" y="284"/>
                </a:cubicBezTo>
                <a:cubicBezTo>
                  <a:pt x="774" y="284"/>
                  <a:pt x="774" y="284"/>
                  <a:pt x="774" y="284"/>
                </a:cubicBezTo>
                <a:cubicBezTo>
                  <a:pt x="773" y="282"/>
                  <a:pt x="773" y="282"/>
                  <a:pt x="773" y="282"/>
                </a:cubicBezTo>
                <a:cubicBezTo>
                  <a:pt x="774" y="281"/>
                  <a:pt x="774" y="281"/>
                  <a:pt x="774" y="281"/>
                </a:cubicBezTo>
                <a:cubicBezTo>
                  <a:pt x="774" y="279"/>
                  <a:pt x="774" y="279"/>
                  <a:pt x="774" y="279"/>
                </a:cubicBezTo>
                <a:cubicBezTo>
                  <a:pt x="774" y="278"/>
                  <a:pt x="774" y="278"/>
                  <a:pt x="774" y="278"/>
                </a:cubicBezTo>
                <a:cubicBezTo>
                  <a:pt x="773" y="279"/>
                  <a:pt x="773" y="279"/>
                  <a:pt x="773" y="279"/>
                </a:cubicBezTo>
                <a:cubicBezTo>
                  <a:pt x="773" y="279"/>
                  <a:pt x="773" y="279"/>
                  <a:pt x="773" y="279"/>
                </a:cubicBezTo>
                <a:cubicBezTo>
                  <a:pt x="773" y="280"/>
                  <a:pt x="773" y="280"/>
                  <a:pt x="773" y="280"/>
                </a:cubicBezTo>
                <a:cubicBezTo>
                  <a:pt x="772" y="280"/>
                  <a:pt x="772" y="280"/>
                  <a:pt x="772" y="280"/>
                </a:cubicBezTo>
                <a:cubicBezTo>
                  <a:pt x="771" y="282"/>
                  <a:pt x="771" y="282"/>
                  <a:pt x="771" y="282"/>
                </a:cubicBezTo>
                <a:cubicBezTo>
                  <a:pt x="771" y="283"/>
                  <a:pt x="771" y="283"/>
                  <a:pt x="771" y="283"/>
                </a:cubicBezTo>
                <a:cubicBezTo>
                  <a:pt x="773" y="282"/>
                  <a:pt x="773" y="282"/>
                  <a:pt x="773" y="282"/>
                </a:cubicBezTo>
                <a:cubicBezTo>
                  <a:pt x="773" y="284"/>
                  <a:pt x="773" y="284"/>
                  <a:pt x="773" y="284"/>
                </a:cubicBezTo>
                <a:cubicBezTo>
                  <a:pt x="772" y="285"/>
                  <a:pt x="772" y="285"/>
                  <a:pt x="772" y="285"/>
                </a:cubicBezTo>
                <a:cubicBezTo>
                  <a:pt x="772" y="287"/>
                  <a:pt x="772" y="287"/>
                  <a:pt x="772" y="287"/>
                </a:cubicBezTo>
                <a:cubicBezTo>
                  <a:pt x="772" y="288"/>
                  <a:pt x="772" y="288"/>
                  <a:pt x="772" y="288"/>
                </a:cubicBezTo>
                <a:cubicBezTo>
                  <a:pt x="772" y="292"/>
                  <a:pt x="772" y="292"/>
                  <a:pt x="772" y="292"/>
                </a:cubicBezTo>
                <a:cubicBezTo>
                  <a:pt x="773" y="293"/>
                  <a:pt x="773" y="293"/>
                  <a:pt x="773" y="293"/>
                </a:cubicBezTo>
                <a:cubicBezTo>
                  <a:pt x="773" y="294"/>
                  <a:pt x="773" y="294"/>
                  <a:pt x="773" y="294"/>
                </a:cubicBezTo>
                <a:cubicBezTo>
                  <a:pt x="776" y="299"/>
                  <a:pt x="776" y="299"/>
                  <a:pt x="776" y="299"/>
                </a:cubicBezTo>
                <a:cubicBezTo>
                  <a:pt x="777" y="299"/>
                  <a:pt x="777" y="299"/>
                  <a:pt x="777" y="299"/>
                </a:cubicBezTo>
                <a:cubicBezTo>
                  <a:pt x="779" y="302"/>
                  <a:pt x="779" y="302"/>
                  <a:pt x="779" y="302"/>
                </a:cubicBezTo>
                <a:cubicBezTo>
                  <a:pt x="781" y="303"/>
                  <a:pt x="781" y="303"/>
                  <a:pt x="781" y="303"/>
                </a:cubicBezTo>
                <a:cubicBezTo>
                  <a:pt x="780" y="304"/>
                  <a:pt x="780" y="304"/>
                  <a:pt x="780" y="304"/>
                </a:cubicBezTo>
                <a:cubicBezTo>
                  <a:pt x="780" y="305"/>
                  <a:pt x="780" y="305"/>
                  <a:pt x="780" y="305"/>
                </a:cubicBezTo>
                <a:cubicBezTo>
                  <a:pt x="776" y="307"/>
                  <a:pt x="776" y="307"/>
                  <a:pt x="776" y="307"/>
                </a:cubicBezTo>
                <a:cubicBezTo>
                  <a:pt x="776" y="306"/>
                  <a:pt x="776" y="306"/>
                  <a:pt x="776" y="306"/>
                </a:cubicBezTo>
                <a:cubicBezTo>
                  <a:pt x="774" y="307"/>
                  <a:pt x="774" y="307"/>
                  <a:pt x="774" y="307"/>
                </a:cubicBezTo>
                <a:cubicBezTo>
                  <a:pt x="773" y="307"/>
                  <a:pt x="773" y="307"/>
                  <a:pt x="773" y="307"/>
                </a:cubicBezTo>
                <a:cubicBezTo>
                  <a:pt x="774" y="308"/>
                  <a:pt x="774" y="308"/>
                  <a:pt x="774" y="308"/>
                </a:cubicBezTo>
                <a:cubicBezTo>
                  <a:pt x="772" y="310"/>
                  <a:pt x="772" y="310"/>
                  <a:pt x="772" y="310"/>
                </a:cubicBezTo>
                <a:cubicBezTo>
                  <a:pt x="772" y="312"/>
                  <a:pt x="772" y="312"/>
                  <a:pt x="772" y="312"/>
                </a:cubicBezTo>
                <a:cubicBezTo>
                  <a:pt x="771" y="312"/>
                  <a:pt x="771" y="312"/>
                  <a:pt x="771" y="312"/>
                </a:cubicBezTo>
                <a:cubicBezTo>
                  <a:pt x="772" y="314"/>
                  <a:pt x="772" y="314"/>
                  <a:pt x="772" y="314"/>
                </a:cubicBezTo>
                <a:cubicBezTo>
                  <a:pt x="772" y="317"/>
                  <a:pt x="772" y="317"/>
                  <a:pt x="772" y="317"/>
                </a:cubicBezTo>
                <a:cubicBezTo>
                  <a:pt x="773" y="320"/>
                  <a:pt x="773" y="320"/>
                  <a:pt x="773" y="320"/>
                </a:cubicBezTo>
                <a:cubicBezTo>
                  <a:pt x="775" y="321"/>
                  <a:pt x="775" y="321"/>
                  <a:pt x="775" y="321"/>
                </a:cubicBezTo>
                <a:cubicBezTo>
                  <a:pt x="775" y="323"/>
                  <a:pt x="775" y="323"/>
                  <a:pt x="775" y="323"/>
                </a:cubicBezTo>
                <a:cubicBezTo>
                  <a:pt x="776" y="324"/>
                  <a:pt x="776" y="324"/>
                  <a:pt x="776" y="324"/>
                </a:cubicBezTo>
                <a:cubicBezTo>
                  <a:pt x="777" y="325"/>
                  <a:pt x="777" y="325"/>
                  <a:pt x="777" y="325"/>
                </a:cubicBezTo>
                <a:cubicBezTo>
                  <a:pt x="776" y="325"/>
                  <a:pt x="776" y="325"/>
                  <a:pt x="776" y="325"/>
                </a:cubicBezTo>
                <a:cubicBezTo>
                  <a:pt x="775" y="324"/>
                  <a:pt x="775" y="324"/>
                  <a:pt x="775" y="324"/>
                </a:cubicBezTo>
                <a:cubicBezTo>
                  <a:pt x="774" y="325"/>
                  <a:pt x="774" y="325"/>
                  <a:pt x="774" y="325"/>
                </a:cubicBezTo>
                <a:cubicBezTo>
                  <a:pt x="773" y="326"/>
                  <a:pt x="773" y="326"/>
                  <a:pt x="773" y="326"/>
                </a:cubicBezTo>
                <a:cubicBezTo>
                  <a:pt x="772" y="326"/>
                  <a:pt x="772" y="326"/>
                  <a:pt x="772" y="326"/>
                </a:cubicBezTo>
                <a:cubicBezTo>
                  <a:pt x="770" y="328"/>
                  <a:pt x="770" y="328"/>
                  <a:pt x="770" y="328"/>
                </a:cubicBezTo>
                <a:cubicBezTo>
                  <a:pt x="769" y="327"/>
                  <a:pt x="769" y="327"/>
                  <a:pt x="769" y="327"/>
                </a:cubicBezTo>
                <a:cubicBezTo>
                  <a:pt x="768" y="328"/>
                  <a:pt x="768" y="328"/>
                  <a:pt x="768" y="328"/>
                </a:cubicBezTo>
                <a:cubicBezTo>
                  <a:pt x="769" y="329"/>
                  <a:pt x="769" y="329"/>
                  <a:pt x="769" y="329"/>
                </a:cubicBezTo>
                <a:cubicBezTo>
                  <a:pt x="771" y="329"/>
                  <a:pt x="771" y="329"/>
                  <a:pt x="771" y="329"/>
                </a:cubicBezTo>
                <a:cubicBezTo>
                  <a:pt x="770" y="330"/>
                  <a:pt x="770" y="330"/>
                  <a:pt x="770" y="330"/>
                </a:cubicBezTo>
                <a:cubicBezTo>
                  <a:pt x="770" y="331"/>
                  <a:pt x="770" y="331"/>
                  <a:pt x="770" y="331"/>
                </a:cubicBezTo>
                <a:cubicBezTo>
                  <a:pt x="771" y="332"/>
                  <a:pt x="771" y="332"/>
                  <a:pt x="771" y="332"/>
                </a:cubicBezTo>
                <a:cubicBezTo>
                  <a:pt x="771" y="333"/>
                  <a:pt x="771" y="333"/>
                  <a:pt x="771" y="333"/>
                </a:cubicBezTo>
                <a:cubicBezTo>
                  <a:pt x="770" y="332"/>
                  <a:pt x="770" y="332"/>
                  <a:pt x="770" y="332"/>
                </a:cubicBezTo>
                <a:cubicBezTo>
                  <a:pt x="771" y="334"/>
                  <a:pt x="771" y="334"/>
                  <a:pt x="771" y="334"/>
                </a:cubicBezTo>
                <a:cubicBezTo>
                  <a:pt x="770" y="335"/>
                  <a:pt x="770" y="335"/>
                  <a:pt x="770" y="335"/>
                </a:cubicBezTo>
                <a:cubicBezTo>
                  <a:pt x="771" y="335"/>
                  <a:pt x="771" y="335"/>
                  <a:pt x="771" y="335"/>
                </a:cubicBezTo>
                <a:cubicBezTo>
                  <a:pt x="772" y="335"/>
                  <a:pt x="772" y="335"/>
                  <a:pt x="772" y="335"/>
                </a:cubicBezTo>
                <a:cubicBezTo>
                  <a:pt x="773" y="336"/>
                  <a:pt x="773" y="336"/>
                  <a:pt x="773" y="336"/>
                </a:cubicBezTo>
                <a:cubicBezTo>
                  <a:pt x="772" y="337"/>
                  <a:pt x="772" y="337"/>
                  <a:pt x="772" y="337"/>
                </a:cubicBezTo>
                <a:cubicBezTo>
                  <a:pt x="772" y="339"/>
                  <a:pt x="772" y="339"/>
                  <a:pt x="772" y="339"/>
                </a:cubicBezTo>
                <a:cubicBezTo>
                  <a:pt x="773" y="340"/>
                  <a:pt x="773" y="340"/>
                  <a:pt x="773" y="340"/>
                </a:cubicBezTo>
                <a:cubicBezTo>
                  <a:pt x="772" y="343"/>
                  <a:pt x="772" y="343"/>
                  <a:pt x="772" y="343"/>
                </a:cubicBezTo>
                <a:cubicBezTo>
                  <a:pt x="772" y="344"/>
                  <a:pt x="772" y="344"/>
                  <a:pt x="772" y="344"/>
                </a:cubicBezTo>
                <a:cubicBezTo>
                  <a:pt x="772" y="344"/>
                  <a:pt x="772" y="344"/>
                  <a:pt x="772" y="344"/>
                </a:cubicBezTo>
                <a:cubicBezTo>
                  <a:pt x="772" y="345"/>
                  <a:pt x="772" y="345"/>
                  <a:pt x="772" y="345"/>
                </a:cubicBezTo>
                <a:cubicBezTo>
                  <a:pt x="770" y="347"/>
                  <a:pt x="770" y="347"/>
                  <a:pt x="770" y="347"/>
                </a:cubicBezTo>
                <a:cubicBezTo>
                  <a:pt x="770" y="348"/>
                  <a:pt x="770" y="348"/>
                  <a:pt x="770" y="348"/>
                </a:cubicBezTo>
                <a:cubicBezTo>
                  <a:pt x="770" y="348"/>
                  <a:pt x="770" y="348"/>
                  <a:pt x="770" y="348"/>
                </a:cubicBezTo>
                <a:cubicBezTo>
                  <a:pt x="769" y="351"/>
                  <a:pt x="769" y="351"/>
                  <a:pt x="769" y="351"/>
                </a:cubicBezTo>
                <a:cubicBezTo>
                  <a:pt x="768" y="354"/>
                  <a:pt x="768" y="354"/>
                  <a:pt x="768" y="354"/>
                </a:cubicBezTo>
                <a:cubicBezTo>
                  <a:pt x="768" y="353"/>
                  <a:pt x="768" y="353"/>
                  <a:pt x="768" y="353"/>
                </a:cubicBezTo>
                <a:cubicBezTo>
                  <a:pt x="767" y="352"/>
                  <a:pt x="767" y="352"/>
                  <a:pt x="767" y="352"/>
                </a:cubicBezTo>
                <a:cubicBezTo>
                  <a:pt x="768" y="350"/>
                  <a:pt x="768" y="350"/>
                  <a:pt x="768" y="350"/>
                </a:cubicBezTo>
                <a:cubicBezTo>
                  <a:pt x="767" y="350"/>
                  <a:pt x="767" y="350"/>
                  <a:pt x="767" y="350"/>
                </a:cubicBezTo>
                <a:cubicBezTo>
                  <a:pt x="765" y="349"/>
                  <a:pt x="765" y="349"/>
                  <a:pt x="765" y="349"/>
                </a:cubicBezTo>
                <a:cubicBezTo>
                  <a:pt x="763" y="347"/>
                  <a:pt x="763" y="347"/>
                  <a:pt x="763" y="347"/>
                </a:cubicBezTo>
                <a:cubicBezTo>
                  <a:pt x="763" y="345"/>
                  <a:pt x="763" y="345"/>
                  <a:pt x="763" y="345"/>
                </a:cubicBezTo>
                <a:cubicBezTo>
                  <a:pt x="761" y="340"/>
                  <a:pt x="761" y="340"/>
                  <a:pt x="761" y="340"/>
                </a:cubicBezTo>
                <a:cubicBezTo>
                  <a:pt x="759" y="337"/>
                  <a:pt x="759" y="337"/>
                  <a:pt x="759" y="337"/>
                </a:cubicBezTo>
                <a:cubicBezTo>
                  <a:pt x="760" y="337"/>
                  <a:pt x="760" y="337"/>
                  <a:pt x="760" y="337"/>
                </a:cubicBezTo>
                <a:cubicBezTo>
                  <a:pt x="761" y="337"/>
                  <a:pt x="761" y="337"/>
                  <a:pt x="761" y="337"/>
                </a:cubicBezTo>
                <a:cubicBezTo>
                  <a:pt x="761" y="336"/>
                  <a:pt x="761" y="336"/>
                  <a:pt x="761" y="336"/>
                </a:cubicBezTo>
                <a:cubicBezTo>
                  <a:pt x="760" y="336"/>
                  <a:pt x="760" y="336"/>
                  <a:pt x="760" y="336"/>
                </a:cubicBezTo>
                <a:cubicBezTo>
                  <a:pt x="759" y="336"/>
                  <a:pt x="759" y="336"/>
                  <a:pt x="759" y="336"/>
                </a:cubicBezTo>
                <a:cubicBezTo>
                  <a:pt x="757" y="335"/>
                  <a:pt x="757" y="335"/>
                  <a:pt x="757" y="335"/>
                </a:cubicBezTo>
                <a:cubicBezTo>
                  <a:pt x="752" y="326"/>
                  <a:pt x="752" y="326"/>
                  <a:pt x="752" y="326"/>
                </a:cubicBezTo>
                <a:cubicBezTo>
                  <a:pt x="747" y="321"/>
                  <a:pt x="747" y="321"/>
                  <a:pt x="747" y="321"/>
                </a:cubicBezTo>
                <a:cubicBezTo>
                  <a:pt x="747" y="319"/>
                  <a:pt x="747" y="319"/>
                  <a:pt x="747" y="319"/>
                </a:cubicBezTo>
                <a:cubicBezTo>
                  <a:pt x="746" y="317"/>
                  <a:pt x="746" y="317"/>
                  <a:pt x="746" y="317"/>
                </a:cubicBezTo>
                <a:cubicBezTo>
                  <a:pt x="742" y="312"/>
                  <a:pt x="742" y="312"/>
                  <a:pt x="742" y="312"/>
                </a:cubicBezTo>
                <a:cubicBezTo>
                  <a:pt x="739" y="305"/>
                  <a:pt x="739" y="305"/>
                  <a:pt x="739" y="305"/>
                </a:cubicBezTo>
                <a:cubicBezTo>
                  <a:pt x="736" y="299"/>
                  <a:pt x="736" y="299"/>
                  <a:pt x="736" y="299"/>
                </a:cubicBezTo>
                <a:cubicBezTo>
                  <a:pt x="736" y="297"/>
                  <a:pt x="736" y="297"/>
                  <a:pt x="736" y="297"/>
                </a:cubicBezTo>
                <a:cubicBezTo>
                  <a:pt x="734" y="294"/>
                  <a:pt x="734" y="294"/>
                  <a:pt x="734" y="294"/>
                </a:cubicBezTo>
                <a:cubicBezTo>
                  <a:pt x="734" y="290"/>
                  <a:pt x="734" y="290"/>
                  <a:pt x="734" y="290"/>
                </a:cubicBezTo>
                <a:cubicBezTo>
                  <a:pt x="733" y="287"/>
                  <a:pt x="733" y="287"/>
                  <a:pt x="733" y="287"/>
                </a:cubicBezTo>
                <a:cubicBezTo>
                  <a:pt x="733" y="285"/>
                  <a:pt x="733" y="285"/>
                  <a:pt x="733" y="285"/>
                </a:cubicBezTo>
                <a:cubicBezTo>
                  <a:pt x="734" y="283"/>
                  <a:pt x="734" y="283"/>
                  <a:pt x="734" y="283"/>
                </a:cubicBezTo>
                <a:cubicBezTo>
                  <a:pt x="735" y="281"/>
                  <a:pt x="735" y="281"/>
                  <a:pt x="735" y="281"/>
                </a:cubicBezTo>
                <a:cubicBezTo>
                  <a:pt x="736" y="281"/>
                  <a:pt x="736" y="281"/>
                  <a:pt x="736" y="281"/>
                </a:cubicBezTo>
                <a:cubicBezTo>
                  <a:pt x="735" y="280"/>
                  <a:pt x="735" y="280"/>
                  <a:pt x="735" y="280"/>
                </a:cubicBezTo>
                <a:cubicBezTo>
                  <a:pt x="736" y="279"/>
                  <a:pt x="736" y="279"/>
                  <a:pt x="736" y="279"/>
                </a:cubicBezTo>
                <a:cubicBezTo>
                  <a:pt x="736" y="276"/>
                  <a:pt x="736" y="276"/>
                  <a:pt x="736" y="276"/>
                </a:cubicBezTo>
                <a:cubicBezTo>
                  <a:pt x="733" y="273"/>
                  <a:pt x="733" y="273"/>
                  <a:pt x="733" y="273"/>
                </a:cubicBezTo>
                <a:cubicBezTo>
                  <a:pt x="732" y="273"/>
                  <a:pt x="732" y="273"/>
                  <a:pt x="732" y="273"/>
                </a:cubicBezTo>
                <a:cubicBezTo>
                  <a:pt x="732" y="272"/>
                  <a:pt x="732" y="272"/>
                  <a:pt x="732" y="272"/>
                </a:cubicBezTo>
                <a:cubicBezTo>
                  <a:pt x="733" y="271"/>
                  <a:pt x="733" y="271"/>
                  <a:pt x="733" y="271"/>
                </a:cubicBezTo>
                <a:cubicBezTo>
                  <a:pt x="735" y="272"/>
                  <a:pt x="735" y="272"/>
                  <a:pt x="735" y="272"/>
                </a:cubicBezTo>
                <a:cubicBezTo>
                  <a:pt x="737" y="270"/>
                  <a:pt x="737" y="270"/>
                  <a:pt x="737" y="270"/>
                </a:cubicBezTo>
                <a:cubicBezTo>
                  <a:pt x="736" y="269"/>
                  <a:pt x="736" y="269"/>
                  <a:pt x="736" y="269"/>
                </a:cubicBezTo>
                <a:cubicBezTo>
                  <a:pt x="736" y="267"/>
                  <a:pt x="736" y="267"/>
                  <a:pt x="736" y="267"/>
                </a:cubicBezTo>
                <a:cubicBezTo>
                  <a:pt x="738" y="267"/>
                  <a:pt x="738" y="267"/>
                  <a:pt x="738" y="267"/>
                </a:cubicBezTo>
                <a:cubicBezTo>
                  <a:pt x="740" y="267"/>
                  <a:pt x="740" y="267"/>
                  <a:pt x="740" y="267"/>
                </a:cubicBezTo>
                <a:cubicBezTo>
                  <a:pt x="739" y="265"/>
                  <a:pt x="739" y="265"/>
                  <a:pt x="739" y="265"/>
                </a:cubicBezTo>
                <a:cubicBezTo>
                  <a:pt x="741" y="262"/>
                  <a:pt x="741" y="262"/>
                  <a:pt x="741" y="262"/>
                </a:cubicBezTo>
                <a:cubicBezTo>
                  <a:pt x="740" y="259"/>
                  <a:pt x="740" y="259"/>
                  <a:pt x="740" y="259"/>
                </a:cubicBezTo>
                <a:cubicBezTo>
                  <a:pt x="740" y="257"/>
                  <a:pt x="740" y="257"/>
                  <a:pt x="740" y="257"/>
                </a:cubicBezTo>
                <a:cubicBezTo>
                  <a:pt x="739" y="255"/>
                  <a:pt x="739" y="255"/>
                  <a:pt x="739" y="255"/>
                </a:cubicBezTo>
                <a:cubicBezTo>
                  <a:pt x="740" y="254"/>
                  <a:pt x="740" y="254"/>
                  <a:pt x="740" y="254"/>
                </a:cubicBezTo>
                <a:cubicBezTo>
                  <a:pt x="740" y="253"/>
                  <a:pt x="740" y="253"/>
                  <a:pt x="740" y="253"/>
                </a:cubicBezTo>
                <a:cubicBezTo>
                  <a:pt x="740" y="252"/>
                  <a:pt x="740" y="252"/>
                  <a:pt x="740" y="252"/>
                </a:cubicBezTo>
                <a:cubicBezTo>
                  <a:pt x="740" y="250"/>
                  <a:pt x="740" y="250"/>
                  <a:pt x="740" y="250"/>
                </a:cubicBezTo>
                <a:cubicBezTo>
                  <a:pt x="741" y="250"/>
                  <a:pt x="741" y="250"/>
                  <a:pt x="741" y="250"/>
                </a:cubicBezTo>
                <a:cubicBezTo>
                  <a:pt x="740" y="249"/>
                  <a:pt x="740" y="249"/>
                  <a:pt x="740" y="249"/>
                </a:cubicBezTo>
                <a:cubicBezTo>
                  <a:pt x="740" y="248"/>
                  <a:pt x="740" y="248"/>
                  <a:pt x="740" y="248"/>
                </a:cubicBezTo>
                <a:cubicBezTo>
                  <a:pt x="740" y="247"/>
                  <a:pt x="740" y="247"/>
                  <a:pt x="740" y="247"/>
                </a:cubicBezTo>
                <a:cubicBezTo>
                  <a:pt x="740" y="245"/>
                  <a:pt x="740" y="245"/>
                  <a:pt x="740" y="245"/>
                </a:cubicBezTo>
                <a:cubicBezTo>
                  <a:pt x="740" y="244"/>
                  <a:pt x="740" y="244"/>
                  <a:pt x="740" y="244"/>
                </a:cubicBezTo>
                <a:cubicBezTo>
                  <a:pt x="740" y="243"/>
                  <a:pt x="740" y="243"/>
                  <a:pt x="740" y="243"/>
                </a:cubicBezTo>
                <a:cubicBezTo>
                  <a:pt x="741" y="243"/>
                  <a:pt x="741" y="243"/>
                  <a:pt x="741" y="243"/>
                </a:cubicBezTo>
                <a:cubicBezTo>
                  <a:pt x="742" y="242"/>
                  <a:pt x="742" y="242"/>
                  <a:pt x="742" y="242"/>
                </a:cubicBezTo>
                <a:cubicBezTo>
                  <a:pt x="742" y="240"/>
                  <a:pt x="742" y="240"/>
                  <a:pt x="742" y="240"/>
                </a:cubicBezTo>
                <a:cubicBezTo>
                  <a:pt x="742" y="237"/>
                  <a:pt x="742" y="237"/>
                  <a:pt x="742" y="237"/>
                </a:cubicBezTo>
                <a:cubicBezTo>
                  <a:pt x="741" y="237"/>
                  <a:pt x="741" y="237"/>
                  <a:pt x="741" y="237"/>
                </a:cubicBezTo>
                <a:cubicBezTo>
                  <a:pt x="741" y="236"/>
                  <a:pt x="741" y="236"/>
                  <a:pt x="741" y="236"/>
                </a:cubicBezTo>
                <a:cubicBezTo>
                  <a:pt x="742" y="234"/>
                  <a:pt x="742" y="234"/>
                  <a:pt x="742" y="234"/>
                </a:cubicBezTo>
                <a:cubicBezTo>
                  <a:pt x="742" y="232"/>
                  <a:pt x="742" y="232"/>
                  <a:pt x="742" y="232"/>
                </a:cubicBezTo>
                <a:cubicBezTo>
                  <a:pt x="741" y="232"/>
                  <a:pt x="741" y="232"/>
                  <a:pt x="741" y="232"/>
                </a:cubicBezTo>
                <a:cubicBezTo>
                  <a:pt x="741" y="231"/>
                  <a:pt x="741" y="231"/>
                  <a:pt x="741" y="231"/>
                </a:cubicBezTo>
                <a:cubicBezTo>
                  <a:pt x="742" y="230"/>
                  <a:pt x="742" y="230"/>
                  <a:pt x="742" y="230"/>
                </a:cubicBezTo>
                <a:cubicBezTo>
                  <a:pt x="742" y="229"/>
                  <a:pt x="742" y="229"/>
                  <a:pt x="742" y="229"/>
                </a:cubicBezTo>
                <a:cubicBezTo>
                  <a:pt x="743" y="228"/>
                  <a:pt x="743" y="228"/>
                  <a:pt x="743" y="228"/>
                </a:cubicBezTo>
                <a:cubicBezTo>
                  <a:pt x="743" y="228"/>
                  <a:pt x="743" y="228"/>
                  <a:pt x="743" y="228"/>
                </a:cubicBezTo>
                <a:cubicBezTo>
                  <a:pt x="744" y="227"/>
                  <a:pt x="744" y="227"/>
                  <a:pt x="744" y="227"/>
                </a:cubicBezTo>
                <a:cubicBezTo>
                  <a:pt x="745" y="226"/>
                  <a:pt x="745" y="226"/>
                  <a:pt x="745" y="226"/>
                </a:cubicBezTo>
                <a:cubicBezTo>
                  <a:pt x="746" y="224"/>
                  <a:pt x="746" y="224"/>
                  <a:pt x="746" y="224"/>
                </a:cubicBezTo>
                <a:cubicBezTo>
                  <a:pt x="746" y="224"/>
                  <a:pt x="746" y="224"/>
                  <a:pt x="746" y="224"/>
                </a:cubicBezTo>
                <a:cubicBezTo>
                  <a:pt x="748" y="223"/>
                  <a:pt x="748" y="223"/>
                  <a:pt x="748" y="223"/>
                </a:cubicBezTo>
                <a:cubicBezTo>
                  <a:pt x="748" y="223"/>
                  <a:pt x="748" y="223"/>
                  <a:pt x="748" y="223"/>
                </a:cubicBezTo>
                <a:cubicBezTo>
                  <a:pt x="749" y="222"/>
                  <a:pt x="749" y="222"/>
                  <a:pt x="749" y="222"/>
                </a:cubicBezTo>
                <a:cubicBezTo>
                  <a:pt x="748" y="222"/>
                  <a:pt x="748" y="222"/>
                  <a:pt x="748" y="222"/>
                </a:cubicBezTo>
                <a:cubicBezTo>
                  <a:pt x="747" y="222"/>
                  <a:pt x="747" y="222"/>
                  <a:pt x="747" y="222"/>
                </a:cubicBezTo>
                <a:cubicBezTo>
                  <a:pt x="746" y="222"/>
                  <a:pt x="746" y="222"/>
                  <a:pt x="746" y="222"/>
                </a:cubicBezTo>
                <a:cubicBezTo>
                  <a:pt x="745" y="222"/>
                  <a:pt x="745" y="222"/>
                  <a:pt x="745" y="222"/>
                </a:cubicBezTo>
                <a:cubicBezTo>
                  <a:pt x="745" y="219"/>
                  <a:pt x="745" y="219"/>
                  <a:pt x="745" y="219"/>
                </a:cubicBezTo>
                <a:cubicBezTo>
                  <a:pt x="746" y="217"/>
                  <a:pt x="746" y="217"/>
                  <a:pt x="746" y="217"/>
                </a:cubicBezTo>
                <a:cubicBezTo>
                  <a:pt x="746" y="216"/>
                  <a:pt x="746" y="216"/>
                  <a:pt x="746" y="216"/>
                </a:cubicBezTo>
                <a:cubicBezTo>
                  <a:pt x="745" y="215"/>
                  <a:pt x="745" y="215"/>
                  <a:pt x="745" y="215"/>
                </a:cubicBezTo>
                <a:cubicBezTo>
                  <a:pt x="745" y="215"/>
                  <a:pt x="745" y="215"/>
                  <a:pt x="745" y="215"/>
                </a:cubicBezTo>
                <a:cubicBezTo>
                  <a:pt x="744" y="216"/>
                  <a:pt x="744" y="216"/>
                  <a:pt x="744" y="216"/>
                </a:cubicBezTo>
                <a:cubicBezTo>
                  <a:pt x="744" y="216"/>
                  <a:pt x="744" y="216"/>
                  <a:pt x="744" y="216"/>
                </a:cubicBezTo>
                <a:cubicBezTo>
                  <a:pt x="743" y="213"/>
                  <a:pt x="743" y="213"/>
                  <a:pt x="743" y="213"/>
                </a:cubicBezTo>
                <a:cubicBezTo>
                  <a:pt x="744" y="212"/>
                  <a:pt x="744" y="212"/>
                  <a:pt x="744" y="212"/>
                </a:cubicBezTo>
                <a:cubicBezTo>
                  <a:pt x="744" y="211"/>
                  <a:pt x="744" y="211"/>
                  <a:pt x="744" y="211"/>
                </a:cubicBezTo>
                <a:cubicBezTo>
                  <a:pt x="744" y="210"/>
                  <a:pt x="744" y="210"/>
                  <a:pt x="744" y="210"/>
                </a:cubicBezTo>
                <a:cubicBezTo>
                  <a:pt x="742" y="209"/>
                  <a:pt x="742" y="209"/>
                  <a:pt x="742" y="209"/>
                </a:cubicBezTo>
                <a:cubicBezTo>
                  <a:pt x="743" y="209"/>
                  <a:pt x="743" y="209"/>
                  <a:pt x="743" y="209"/>
                </a:cubicBezTo>
                <a:cubicBezTo>
                  <a:pt x="742" y="209"/>
                  <a:pt x="742" y="209"/>
                  <a:pt x="742" y="209"/>
                </a:cubicBezTo>
                <a:cubicBezTo>
                  <a:pt x="742" y="208"/>
                  <a:pt x="742" y="208"/>
                  <a:pt x="742" y="208"/>
                </a:cubicBezTo>
                <a:cubicBezTo>
                  <a:pt x="741" y="206"/>
                  <a:pt x="741" y="206"/>
                  <a:pt x="741" y="206"/>
                </a:cubicBezTo>
                <a:cubicBezTo>
                  <a:pt x="741" y="206"/>
                  <a:pt x="741" y="206"/>
                  <a:pt x="741" y="206"/>
                </a:cubicBezTo>
                <a:cubicBezTo>
                  <a:pt x="740" y="205"/>
                  <a:pt x="740" y="205"/>
                  <a:pt x="740" y="205"/>
                </a:cubicBezTo>
                <a:cubicBezTo>
                  <a:pt x="740" y="204"/>
                  <a:pt x="740" y="204"/>
                  <a:pt x="740" y="204"/>
                </a:cubicBezTo>
                <a:cubicBezTo>
                  <a:pt x="739" y="202"/>
                  <a:pt x="739" y="202"/>
                  <a:pt x="739" y="202"/>
                </a:cubicBezTo>
                <a:cubicBezTo>
                  <a:pt x="739" y="201"/>
                  <a:pt x="739" y="201"/>
                  <a:pt x="739" y="201"/>
                </a:cubicBezTo>
                <a:cubicBezTo>
                  <a:pt x="741" y="199"/>
                  <a:pt x="741" y="199"/>
                  <a:pt x="741" y="199"/>
                </a:cubicBezTo>
                <a:cubicBezTo>
                  <a:pt x="742" y="200"/>
                  <a:pt x="742" y="200"/>
                  <a:pt x="742" y="200"/>
                </a:cubicBezTo>
                <a:cubicBezTo>
                  <a:pt x="744" y="199"/>
                  <a:pt x="744" y="199"/>
                  <a:pt x="744" y="199"/>
                </a:cubicBezTo>
                <a:cubicBezTo>
                  <a:pt x="743" y="199"/>
                  <a:pt x="743" y="199"/>
                  <a:pt x="743" y="199"/>
                </a:cubicBezTo>
                <a:cubicBezTo>
                  <a:pt x="745" y="198"/>
                  <a:pt x="745" y="198"/>
                  <a:pt x="745" y="198"/>
                </a:cubicBezTo>
                <a:cubicBezTo>
                  <a:pt x="744" y="198"/>
                  <a:pt x="744" y="198"/>
                  <a:pt x="744" y="198"/>
                </a:cubicBezTo>
                <a:cubicBezTo>
                  <a:pt x="743" y="198"/>
                  <a:pt x="743" y="198"/>
                  <a:pt x="743" y="198"/>
                </a:cubicBezTo>
                <a:cubicBezTo>
                  <a:pt x="742" y="197"/>
                  <a:pt x="742" y="197"/>
                  <a:pt x="742" y="197"/>
                </a:cubicBezTo>
                <a:cubicBezTo>
                  <a:pt x="740" y="197"/>
                  <a:pt x="740" y="197"/>
                  <a:pt x="740" y="197"/>
                </a:cubicBezTo>
                <a:cubicBezTo>
                  <a:pt x="738" y="196"/>
                  <a:pt x="738" y="196"/>
                  <a:pt x="738" y="196"/>
                </a:cubicBezTo>
                <a:cubicBezTo>
                  <a:pt x="738" y="196"/>
                  <a:pt x="738" y="196"/>
                  <a:pt x="738" y="196"/>
                </a:cubicBezTo>
                <a:cubicBezTo>
                  <a:pt x="736" y="196"/>
                  <a:pt x="736" y="196"/>
                  <a:pt x="736" y="196"/>
                </a:cubicBezTo>
                <a:cubicBezTo>
                  <a:pt x="735" y="198"/>
                  <a:pt x="735" y="198"/>
                  <a:pt x="735" y="198"/>
                </a:cubicBezTo>
                <a:cubicBezTo>
                  <a:pt x="734" y="198"/>
                  <a:pt x="734" y="198"/>
                  <a:pt x="734" y="198"/>
                </a:cubicBezTo>
                <a:cubicBezTo>
                  <a:pt x="732" y="199"/>
                  <a:pt x="732" y="199"/>
                  <a:pt x="732" y="199"/>
                </a:cubicBezTo>
                <a:cubicBezTo>
                  <a:pt x="733" y="200"/>
                  <a:pt x="733" y="200"/>
                  <a:pt x="733" y="200"/>
                </a:cubicBezTo>
                <a:cubicBezTo>
                  <a:pt x="732" y="201"/>
                  <a:pt x="732" y="201"/>
                  <a:pt x="732" y="201"/>
                </a:cubicBezTo>
                <a:cubicBezTo>
                  <a:pt x="734" y="202"/>
                  <a:pt x="734" y="202"/>
                  <a:pt x="734" y="202"/>
                </a:cubicBezTo>
                <a:cubicBezTo>
                  <a:pt x="734" y="203"/>
                  <a:pt x="734" y="203"/>
                  <a:pt x="734" y="203"/>
                </a:cubicBezTo>
                <a:cubicBezTo>
                  <a:pt x="734" y="204"/>
                  <a:pt x="734" y="204"/>
                  <a:pt x="734" y="204"/>
                </a:cubicBezTo>
                <a:cubicBezTo>
                  <a:pt x="734" y="206"/>
                  <a:pt x="734" y="206"/>
                  <a:pt x="734" y="206"/>
                </a:cubicBezTo>
                <a:cubicBezTo>
                  <a:pt x="735" y="207"/>
                  <a:pt x="735" y="207"/>
                  <a:pt x="735" y="207"/>
                </a:cubicBezTo>
                <a:cubicBezTo>
                  <a:pt x="735" y="207"/>
                  <a:pt x="735" y="207"/>
                  <a:pt x="735" y="207"/>
                </a:cubicBezTo>
                <a:cubicBezTo>
                  <a:pt x="736" y="208"/>
                  <a:pt x="736" y="208"/>
                  <a:pt x="736" y="208"/>
                </a:cubicBezTo>
                <a:cubicBezTo>
                  <a:pt x="737" y="210"/>
                  <a:pt x="737" y="210"/>
                  <a:pt x="737" y="210"/>
                </a:cubicBezTo>
                <a:cubicBezTo>
                  <a:pt x="739" y="211"/>
                  <a:pt x="739" y="211"/>
                  <a:pt x="739" y="211"/>
                </a:cubicBezTo>
                <a:cubicBezTo>
                  <a:pt x="738" y="213"/>
                  <a:pt x="738" y="213"/>
                  <a:pt x="738" y="213"/>
                </a:cubicBezTo>
                <a:cubicBezTo>
                  <a:pt x="739" y="213"/>
                  <a:pt x="739" y="213"/>
                  <a:pt x="739" y="213"/>
                </a:cubicBezTo>
                <a:cubicBezTo>
                  <a:pt x="739" y="214"/>
                  <a:pt x="739" y="214"/>
                  <a:pt x="739" y="214"/>
                </a:cubicBezTo>
                <a:cubicBezTo>
                  <a:pt x="738" y="213"/>
                  <a:pt x="738" y="213"/>
                  <a:pt x="738" y="213"/>
                </a:cubicBezTo>
                <a:cubicBezTo>
                  <a:pt x="737" y="212"/>
                  <a:pt x="737" y="212"/>
                  <a:pt x="737" y="212"/>
                </a:cubicBezTo>
                <a:cubicBezTo>
                  <a:pt x="736" y="213"/>
                  <a:pt x="736" y="213"/>
                  <a:pt x="736" y="213"/>
                </a:cubicBezTo>
                <a:cubicBezTo>
                  <a:pt x="735" y="214"/>
                  <a:pt x="735" y="214"/>
                  <a:pt x="735" y="214"/>
                </a:cubicBezTo>
                <a:cubicBezTo>
                  <a:pt x="734" y="215"/>
                  <a:pt x="734" y="215"/>
                  <a:pt x="734" y="215"/>
                </a:cubicBezTo>
                <a:cubicBezTo>
                  <a:pt x="735" y="216"/>
                  <a:pt x="735" y="216"/>
                  <a:pt x="735" y="216"/>
                </a:cubicBezTo>
                <a:cubicBezTo>
                  <a:pt x="734" y="218"/>
                  <a:pt x="734" y="218"/>
                  <a:pt x="734" y="218"/>
                </a:cubicBezTo>
                <a:cubicBezTo>
                  <a:pt x="734" y="218"/>
                  <a:pt x="734" y="218"/>
                  <a:pt x="734" y="218"/>
                </a:cubicBezTo>
                <a:cubicBezTo>
                  <a:pt x="734" y="219"/>
                  <a:pt x="734" y="219"/>
                  <a:pt x="734" y="219"/>
                </a:cubicBezTo>
                <a:cubicBezTo>
                  <a:pt x="734" y="219"/>
                  <a:pt x="734" y="219"/>
                  <a:pt x="734" y="219"/>
                </a:cubicBezTo>
                <a:cubicBezTo>
                  <a:pt x="734" y="220"/>
                  <a:pt x="734" y="220"/>
                  <a:pt x="734" y="220"/>
                </a:cubicBezTo>
                <a:cubicBezTo>
                  <a:pt x="733" y="221"/>
                  <a:pt x="733" y="221"/>
                  <a:pt x="733" y="221"/>
                </a:cubicBezTo>
                <a:cubicBezTo>
                  <a:pt x="734" y="222"/>
                  <a:pt x="734" y="222"/>
                  <a:pt x="734" y="222"/>
                </a:cubicBezTo>
                <a:cubicBezTo>
                  <a:pt x="733" y="223"/>
                  <a:pt x="733" y="223"/>
                  <a:pt x="733" y="223"/>
                </a:cubicBezTo>
                <a:cubicBezTo>
                  <a:pt x="733" y="226"/>
                  <a:pt x="733" y="226"/>
                  <a:pt x="733" y="226"/>
                </a:cubicBezTo>
                <a:cubicBezTo>
                  <a:pt x="733" y="227"/>
                  <a:pt x="733" y="227"/>
                  <a:pt x="733" y="227"/>
                </a:cubicBezTo>
                <a:cubicBezTo>
                  <a:pt x="733" y="228"/>
                  <a:pt x="733" y="228"/>
                  <a:pt x="733" y="228"/>
                </a:cubicBezTo>
                <a:cubicBezTo>
                  <a:pt x="732" y="228"/>
                  <a:pt x="732" y="228"/>
                  <a:pt x="732" y="228"/>
                </a:cubicBezTo>
                <a:cubicBezTo>
                  <a:pt x="731" y="230"/>
                  <a:pt x="731" y="230"/>
                  <a:pt x="731" y="230"/>
                </a:cubicBezTo>
                <a:cubicBezTo>
                  <a:pt x="731" y="229"/>
                  <a:pt x="731" y="229"/>
                  <a:pt x="731" y="229"/>
                </a:cubicBezTo>
                <a:cubicBezTo>
                  <a:pt x="730" y="228"/>
                  <a:pt x="730" y="228"/>
                  <a:pt x="730" y="228"/>
                </a:cubicBezTo>
                <a:cubicBezTo>
                  <a:pt x="731" y="226"/>
                  <a:pt x="731" y="226"/>
                  <a:pt x="731" y="226"/>
                </a:cubicBezTo>
                <a:cubicBezTo>
                  <a:pt x="730" y="225"/>
                  <a:pt x="730" y="225"/>
                  <a:pt x="730" y="225"/>
                </a:cubicBezTo>
                <a:cubicBezTo>
                  <a:pt x="729" y="225"/>
                  <a:pt x="729" y="225"/>
                  <a:pt x="729" y="225"/>
                </a:cubicBezTo>
                <a:cubicBezTo>
                  <a:pt x="728" y="226"/>
                  <a:pt x="728" y="226"/>
                  <a:pt x="728" y="226"/>
                </a:cubicBezTo>
                <a:cubicBezTo>
                  <a:pt x="728" y="227"/>
                  <a:pt x="728" y="227"/>
                  <a:pt x="728" y="227"/>
                </a:cubicBezTo>
                <a:cubicBezTo>
                  <a:pt x="727" y="227"/>
                  <a:pt x="727" y="227"/>
                  <a:pt x="727" y="227"/>
                </a:cubicBezTo>
                <a:cubicBezTo>
                  <a:pt x="727" y="225"/>
                  <a:pt x="727" y="225"/>
                  <a:pt x="727" y="225"/>
                </a:cubicBezTo>
                <a:cubicBezTo>
                  <a:pt x="726" y="225"/>
                  <a:pt x="726" y="225"/>
                  <a:pt x="726" y="225"/>
                </a:cubicBezTo>
                <a:cubicBezTo>
                  <a:pt x="726" y="224"/>
                  <a:pt x="726" y="224"/>
                  <a:pt x="726" y="224"/>
                </a:cubicBezTo>
                <a:cubicBezTo>
                  <a:pt x="724" y="225"/>
                  <a:pt x="724" y="225"/>
                  <a:pt x="724" y="225"/>
                </a:cubicBezTo>
                <a:cubicBezTo>
                  <a:pt x="724" y="224"/>
                  <a:pt x="724" y="224"/>
                  <a:pt x="724" y="224"/>
                </a:cubicBezTo>
                <a:cubicBezTo>
                  <a:pt x="724" y="224"/>
                  <a:pt x="724" y="224"/>
                  <a:pt x="724" y="224"/>
                </a:cubicBezTo>
                <a:cubicBezTo>
                  <a:pt x="725" y="223"/>
                  <a:pt x="725" y="223"/>
                  <a:pt x="725" y="223"/>
                </a:cubicBezTo>
                <a:cubicBezTo>
                  <a:pt x="725" y="223"/>
                  <a:pt x="725" y="223"/>
                  <a:pt x="725" y="223"/>
                </a:cubicBezTo>
                <a:cubicBezTo>
                  <a:pt x="725" y="222"/>
                  <a:pt x="725" y="222"/>
                  <a:pt x="725" y="222"/>
                </a:cubicBezTo>
                <a:cubicBezTo>
                  <a:pt x="725" y="222"/>
                  <a:pt x="725" y="222"/>
                  <a:pt x="725" y="222"/>
                </a:cubicBezTo>
                <a:cubicBezTo>
                  <a:pt x="725" y="220"/>
                  <a:pt x="725" y="220"/>
                  <a:pt x="725" y="220"/>
                </a:cubicBezTo>
                <a:cubicBezTo>
                  <a:pt x="724" y="220"/>
                  <a:pt x="724" y="220"/>
                  <a:pt x="724" y="220"/>
                </a:cubicBezTo>
                <a:cubicBezTo>
                  <a:pt x="725" y="219"/>
                  <a:pt x="725" y="219"/>
                  <a:pt x="725" y="219"/>
                </a:cubicBezTo>
                <a:cubicBezTo>
                  <a:pt x="724" y="218"/>
                  <a:pt x="724" y="218"/>
                  <a:pt x="724" y="218"/>
                </a:cubicBezTo>
                <a:cubicBezTo>
                  <a:pt x="724" y="217"/>
                  <a:pt x="724" y="217"/>
                  <a:pt x="724" y="217"/>
                </a:cubicBezTo>
                <a:cubicBezTo>
                  <a:pt x="724" y="217"/>
                  <a:pt x="724" y="217"/>
                  <a:pt x="724" y="217"/>
                </a:cubicBezTo>
                <a:cubicBezTo>
                  <a:pt x="724" y="215"/>
                  <a:pt x="724" y="215"/>
                  <a:pt x="724" y="215"/>
                </a:cubicBezTo>
                <a:cubicBezTo>
                  <a:pt x="723" y="214"/>
                  <a:pt x="723" y="214"/>
                  <a:pt x="723" y="214"/>
                </a:cubicBezTo>
                <a:cubicBezTo>
                  <a:pt x="722" y="213"/>
                  <a:pt x="722" y="213"/>
                  <a:pt x="722" y="213"/>
                </a:cubicBezTo>
                <a:cubicBezTo>
                  <a:pt x="722" y="213"/>
                  <a:pt x="722" y="213"/>
                  <a:pt x="722" y="213"/>
                </a:cubicBezTo>
                <a:cubicBezTo>
                  <a:pt x="722" y="215"/>
                  <a:pt x="722" y="215"/>
                  <a:pt x="722" y="215"/>
                </a:cubicBezTo>
                <a:cubicBezTo>
                  <a:pt x="721" y="215"/>
                  <a:pt x="721" y="215"/>
                  <a:pt x="721" y="215"/>
                </a:cubicBezTo>
                <a:cubicBezTo>
                  <a:pt x="721" y="217"/>
                  <a:pt x="721" y="217"/>
                  <a:pt x="721" y="217"/>
                </a:cubicBezTo>
                <a:cubicBezTo>
                  <a:pt x="720" y="218"/>
                  <a:pt x="720" y="218"/>
                  <a:pt x="720" y="218"/>
                </a:cubicBezTo>
                <a:cubicBezTo>
                  <a:pt x="719" y="218"/>
                  <a:pt x="719" y="218"/>
                  <a:pt x="719" y="218"/>
                </a:cubicBezTo>
                <a:cubicBezTo>
                  <a:pt x="719" y="216"/>
                  <a:pt x="719" y="216"/>
                  <a:pt x="719" y="216"/>
                </a:cubicBezTo>
                <a:cubicBezTo>
                  <a:pt x="718" y="216"/>
                  <a:pt x="718" y="216"/>
                  <a:pt x="718" y="216"/>
                </a:cubicBezTo>
                <a:cubicBezTo>
                  <a:pt x="718" y="217"/>
                  <a:pt x="718" y="217"/>
                  <a:pt x="718" y="217"/>
                </a:cubicBezTo>
                <a:cubicBezTo>
                  <a:pt x="717" y="215"/>
                  <a:pt x="717" y="215"/>
                  <a:pt x="717" y="215"/>
                </a:cubicBezTo>
                <a:cubicBezTo>
                  <a:pt x="716" y="215"/>
                  <a:pt x="716" y="215"/>
                  <a:pt x="716" y="215"/>
                </a:cubicBezTo>
                <a:cubicBezTo>
                  <a:pt x="716" y="216"/>
                  <a:pt x="716" y="216"/>
                  <a:pt x="716" y="216"/>
                </a:cubicBezTo>
                <a:cubicBezTo>
                  <a:pt x="715" y="216"/>
                  <a:pt x="715" y="216"/>
                  <a:pt x="715" y="216"/>
                </a:cubicBezTo>
                <a:cubicBezTo>
                  <a:pt x="715" y="217"/>
                  <a:pt x="715" y="217"/>
                  <a:pt x="715" y="217"/>
                </a:cubicBezTo>
                <a:cubicBezTo>
                  <a:pt x="714" y="217"/>
                  <a:pt x="714" y="217"/>
                  <a:pt x="714" y="217"/>
                </a:cubicBezTo>
                <a:cubicBezTo>
                  <a:pt x="714" y="218"/>
                  <a:pt x="714" y="218"/>
                  <a:pt x="714" y="218"/>
                </a:cubicBezTo>
                <a:cubicBezTo>
                  <a:pt x="711" y="218"/>
                  <a:pt x="711" y="218"/>
                  <a:pt x="711" y="218"/>
                </a:cubicBezTo>
                <a:cubicBezTo>
                  <a:pt x="711" y="219"/>
                  <a:pt x="711" y="219"/>
                  <a:pt x="711" y="219"/>
                </a:cubicBezTo>
                <a:cubicBezTo>
                  <a:pt x="710" y="219"/>
                  <a:pt x="710" y="219"/>
                  <a:pt x="710" y="219"/>
                </a:cubicBezTo>
                <a:cubicBezTo>
                  <a:pt x="709" y="219"/>
                  <a:pt x="709" y="219"/>
                  <a:pt x="709" y="219"/>
                </a:cubicBezTo>
                <a:cubicBezTo>
                  <a:pt x="708" y="219"/>
                  <a:pt x="708" y="219"/>
                  <a:pt x="708" y="219"/>
                </a:cubicBezTo>
                <a:cubicBezTo>
                  <a:pt x="706" y="221"/>
                  <a:pt x="706" y="221"/>
                  <a:pt x="706" y="221"/>
                </a:cubicBezTo>
                <a:cubicBezTo>
                  <a:pt x="705" y="222"/>
                  <a:pt x="705" y="222"/>
                  <a:pt x="705" y="222"/>
                </a:cubicBezTo>
                <a:cubicBezTo>
                  <a:pt x="706" y="223"/>
                  <a:pt x="706" y="223"/>
                  <a:pt x="706" y="223"/>
                </a:cubicBezTo>
                <a:cubicBezTo>
                  <a:pt x="704" y="224"/>
                  <a:pt x="704" y="224"/>
                  <a:pt x="704" y="224"/>
                </a:cubicBezTo>
                <a:cubicBezTo>
                  <a:pt x="704" y="225"/>
                  <a:pt x="704" y="225"/>
                  <a:pt x="704" y="225"/>
                </a:cubicBezTo>
                <a:cubicBezTo>
                  <a:pt x="705" y="225"/>
                  <a:pt x="705" y="225"/>
                  <a:pt x="705" y="225"/>
                </a:cubicBezTo>
                <a:cubicBezTo>
                  <a:pt x="705" y="227"/>
                  <a:pt x="705" y="227"/>
                  <a:pt x="705" y="227"/>
                </a:cubicBezTo>
                <a:cubicBezTo>
                  <a:pt x="707" y="229"/>
                  <a:pt x="707" y="229"/>
                  <a:pt x="707" y="229"/>
                </a:cubicBezTo>
                <a:cubicBezTo>
                  <a:pt x="706" y="230"/>
                  <a:pt x="706" y="230"/>
                  <a:pt x="706" y="230"/>
                </a:cubicBezTo>
                <a:cubicBezTo>
                  <a:pt x="705" y="234"/>
                  <a:pt x="705" y="234"/>
                  <a:pt x="705" y="234"/>
                </a:cubicBezTo>
                <a:cubicBezTo>
                  <a:pt x="707" y="236"/>
                  <a:pt x="707" y="236"/>
                  <a:pt x="707" y="236"/>
                </a:cubicBezTo>
                <a:cubicBezTo>
                  <a:pt x="705" y="236"/>
                  <a:pt x="705" y="236"/>
                  <a:pt x="705" y="236"/>
                </a:cubicBezTo>
                <a:cubicBezTo>
                  <a:pt x="706" y="237"/>
                  <a:pt x="706" y="237"/>
                  <a:pt x="706" y="237"/>
                </a:cubicBezTo>
                <a:cubicBezTo>
                  <a:pt x="706" y="238"/>
                  <a:pt x="706" y="238"/>
                  <a:pt x="706" y="238"/>
                </a:cubicBezTo>
                <a:cubicBezTo>
                  <a:pt x="705" y="239"/>
                  <a:pt x="705" y="239"/>
                  <a:pt x="705" y="239"/>
                </a:cubicBezTo>
                <a:cubicBezTo>
                  <a:pt x="704" y="241"/>
                  <a:pt x="704" y="241"/>
                  <a:pt x="704" y="241"/>
                </a:cubicBezTo>
                <a:cubicBezTo>
                  <a:pt x="703" y="242"/>
                  <a:pt x="703" y="242"/>
                  <a:pt x="703" y="242"/>
                </a:cubicBezTo>
                <a:cubicBezTo>
                  <a:pt x="703" y="244"/>
                  <a:pt x="703" y="244"/>
                  <a:pt x="703" y="244"/>
                </a:cubicBezTo>
                <a:cubicBezTo>
                  <a:pt x="703" y="246"/>
                  <a:pt x="703" y="246"/>
                  <a:pt x="703" y="246"/>
                </a:cubicBezTo>
                <a:cubicBezTo>
                  <a:pt x="704" y="248"/>
                  <a:pt x="704" y="248"/>
                  <a:pt x="704" y="248"/>
                </a:cubicBezTo>
                <a:cubicBezTo>
                  <a:pt x="703" y="248"/>
                  <a:pt x="703" y="248"/>
                  <a:pt x="703" y="248"/>
                </a:cubicBezTo>
                <a:cubicBezTo>
                  <a:pt x="705" y="251"/>
                  <a:pt x="705" y="251"/>
                  <a:pt x="705" y="251"/>
                </a:cubicBezTo>
                <a:cubicBezTo>
                  <a:pt x="704" y="251"/>
                  <a:pt x="704" y="251"/>
                  <a:pt x="704" y="251"/>
                </a:cubicBezTo>
                <a:cubicBezTo>
                  <a:pt x="704" y="252"/>
                  <a:pt x="704" y="252"/>
                  <a:pt x="704" y="252"/>
                </a:cubicBezTo>
                <a:cubicBezTo>
                  <a:pt x="705" y="253"/>
                  <a:pt x="705" y="253"/>
                  <a:pt x="705" y="253"/>
                </a:cubicBezTo>
                <a:cubicBezTo>
                  <a:pt x="705" y="252"/>
                  <a:pt x="705" y="252"/>
                  <a:pt x="705" y="252"/>
                </a:cubicBezTo>
                <a:cubicBezTo>
                  <a:pt x="706" y="252"/>
                  <a:pt x="706" y="252"/>
                  <a:pt x="706" y="252"/>
                </a:cubicBezTo>
                <a:cubicBezTo>
                  <a:pt x="706" y="252"/>
                  <a:pt x="706" y="252"/>
                  <a:pt x="706" y="252"/>
                </a:cubicBezTo>
                <a:cubicBezTo>
                  <a:pt x="707" y="251"/>
                  <a:pt x="707" y="251"/>
                  <a:pt x="707" y="251"/>
                </a:cubicBezTo>
                <a:cubicBezTo>
                  <a:pt x="708" y="252"/>
                  <a:pt x="708" y="252"/>
                  <a:pt x="708" y="252"/>
                </a:cubicBezTo>
                <a:cubicBezTo>
                  <a:pt x="708" y="252"/>
                  <a:pt x="708" y="252"/>
                  <a:pt x="708" y="252"/>
                </a:cubicBezTo>
                <a:cubicBezTo>
                  <a:pt x="708" y="251"/>
                  <a:pt x="708" y="251"/>
                  <a:pt x="708" y="251"/>
                </a:cubicBezTo>
                <a:cubicBezTo>
                  <a:pt x="709" y="251"/>
                  <a:pt x="709" y="251"/>
                  <a:pt x="709" y="251"/>
                </a:cubicBezTo>
                <a:cubicBezTo>
                  <a:pt x="709" y="252"/>
                  <a:pt x="709" y="252"/>
                  <a:pt x="709" y="252"/>
                </a:cubicBezTo>
                <a:cubicBezTo>
                  <a:pt x="710" y="252"/>
                  <a:pt x="710" y="252"/>
                  <a:pt x="710" y="252"/>
                </a:cubicBezTo>
                <a:cubicBezTo>
                  <a:pt x="711" y="253"/>
                  <a:pt x="711" y="253"/>
                  <a:pt x="711" y="253"/>
                </a:cubicBezTo>
                <a:cubicBezTo>
                  <a:pt x="710" y="253"/>
                  <a:pt x="710" y="253"/>
                  <a:pt x="710" y="253"/>
                </a:cubicBezTo>
                <a:cubicBezTo>
                  <a:pt x="711" y="254"/>
                  <a:pt x="711" y="254"/>
                  <a:pt x="711" y="254"/>
                </a:cubicBezTo>
                <a:cubicBezTo>
                  <a:pt x="711" y="255"/>
                  <a:pt x="711" y="255"/>
                  <a:pt x="711" y="255"/>
                </a:cubicBezTo>
                <a:cubicBezTo>
                  <a:pt x="710" y="255"/>
                  <a:pt x="710" y="255"/>
                  <a:pt x="710" y="255"/>
                </a:cubicBezTo>
                <a:cubicBezTo>
                  <a:pt x="710" y="255"/>
                  <a:pt x="710" y="255"/>
                  <a:pt x="710" y="255"/>
                </a:cubicBezTo>
                <a:cubicBezTo>
                  <a:pt x="709" y="255"/>
                  <a:pt x="709" y="255"/>
                  <a:pt x="709" y="255"/>
                </a:cubicBezTo>
                <a:cubicBezTo>
                  <a:pt x="708" y="256"/>
                  <a:pt x="708" y="256"/>
                  <a:pt x="708" y="256"/>
                </a:cubicBezTo>
                <a:cubicBezTo>
                  <a:pt x="708" y="256"/>
                  <a:pt x="708" y="256"/>
                  <a:pt x="708" y="256"/>
                </a:cubicBezTo>
                <a:cubicBezTo>
                  <a:pt x="708" y="257"/>
                  <a:pt x="708" y="257"/>
                  <a:pt x="708" y="257"/>
                </a:cubicBezTo>
                <a:cubicBezTo>
                  <a:pt x="707" y="258"/>
                  <a:pt x="707" y="258"/>
                  <a:pt x="707" y="258"/>
                </a:cubicBezTo>
                <a:cubicBezTo>
                  <a:pt x="706" y="258"/>
                  <a:pt x="706" y="258"/>
                  <a:pt x="706" y="258"/>
                </a:cubicBezTo>
                <a:cubicBezTo>
                  <a:pt x="706" y="257"/>
                  <a:pt x="706" y="257"/>
                  <a:pt x="706" y="257"/>
                </a:cubicBezTo>
                <a:cubicBezTo>
                  <a:pt x="705" y="256"/>
                  <a:pt x="705" y="256"/>
                  <a:pt x="705" y="256"/>
                </a:cubicBezTo>
                <a:cubicBezTo>
                  <a:pt x="704" y="257"/>
                  <a:pt x="704" y="257"/>
                  <a:pt x="704" y="257"/>
                </a:cubicBezTo>
                <a:cubicBezTo>
                  <a:pt x="703" y="256"/>
                  <a:pt x="703" y="256"/>
                  <a:pt x="703" y="256"/>
                </a:cubicBezTo>
                <a:cubicBezTo>
                  <a:pt x="703" y="257"/>
                  <a:pt x="703" y="257"/>
                  <a:pt x="703" y="257"/>
                </a:cubicBezTo>
                <a:cubicBezTo>
                  <a:pt x="703" y="258"/>
                  <a:pt x="703" y="258"/>
                  <a:pt x="703" y="258"/>
                </a:cubicBezTo>
                <a:cubicBezTo>
                  <a:pt x="703" y="259"/>
                  <a:pt x="703" y="259"/>
                  <a:pt x="703" y="259"/>
                </a:cubicBezTo>
                <a:cubicBezTo>
                  <a:pt x="702" y="259"/>
                  <a:pt x="702" y="259"/>
                  <a:pt x="702" y="259"/>
                </a:cubicBezTo>
                <a:cubicBezTo>
                  <a:pt x="702" y="259"/>
                  <a:pt x="702" y="259"/>
                  <a:pt x="702" y="259"/>
                </a:cubicBezTo>
                <a:cubicBezTo>
                  <a:pt x="701" y="260"/>
                  <a:pt x="701" y="260"/>
                  <a:pt x="701" y="260"/>
                </a:cubicBezTo>
                <a:cubicBezTo>
                  <a:pt x="701" y="261"/>
                  <a:pt x="701" y="261"/>
                  <a:pt x="701" y="261"/>
                </a:cubicBezTo>
                <a:cubicBezTo>
                  <a:pt x="701" y="261"/>
                  <a:pt x="701" y="261"/>
                  <a:pt x="701" y="261"/>
                </a:cubicBezTo>
                <a:cubicBezTo>
                  <a:pt x="700" y="261"/>
                  <a:pt x="700" y="261"/>
                  <a:pt x="700" y="261"/>
                </a:cubicBezTo>
                <a:cubicBezTo>
                  <a:pt x="698" y="260"/>
                  <a:pt x="698" y="260"/>
                  <a:pt x="698" y="260"/>
                </a:cubicBezTo>
                <a:cubicBezTo>
                  <a:pt x="698" y="260"/>
                  <a:pt x="698" y="260"/>
                  <a:pt x="698" y="260"/>
                </a:cubicBezTo>
                <a:cubicBezTo>
                  <a:pt x="699" y="261"/>
                  <a:pt x="699" y="261"/>
                  <a:pt x="699" y="261"/>
                </a:cubicBezTo>
                <a:cubicBezTo>
                  <a:pt x="697" y="262"/>
                  <a:pt x="697" y="262"/>
                  <a:pt x="697" y="262"/>
                </a:cubicBezTo>
                <a:cubicBezTo>
                  <a:pt x="698" y="262"/>
                  <a:pt x="698" y="262"/>
                  <a:pt x="698" y="262"/>
                </a:cubicBezTo>
                <a:cubicBezTo>
                  <a:pt x="697" y="263"/>
                  <a:pt x="697" y="263"/>
                  <a:pt x="697" y="263"/>
                </a:cubicBezTo>
                <a:cubicBezTo>
                  <a:pt x="695" y="264"/>
                  <a:pt x="695" y="264"/>
                  <a:pt x="695" y="264"/>
                </a:cubicBezTo>
                <a:cubicBezTo>
                  <a:pt x="694" y="264"/>
                  <a:pt x="694" y="264"/>
                  <a:pt x="694" y="264"/>
                </a:cubicBezTo>
                <a:cubicBezTo>
                  <a:pt x="693" y="262"/>
                  <a:pt x="693" y="262"/>
                  <a:pt x="693" y="262"/>
                </a:cubicBezTo>
                <a:cubicBezTo>
                  <a:pt x="692" y="262"/>
                  <a:pt x="692" y="262"/>
                  <a:pt x="692" y="262"/>
                </a:cubicBezTo>
                <a:cubicBezTo>
                  <a:pt x="691" y="262"/>
                  <a:pt x="691" y="262"/>
                  <a:pt x="691" y="262"/>
                </a:cubicBezTo>
                <a:cubicBezTo>
                  <a:pt x="692" y="261"/>
                  <a:pt x="692" y="261"/>
                  <a:pt x="692" y="261"/>
                </a:cubicBezTo>
                <a:cubicBezTo>
                  <a:pt x="693" y="261"/>
                  <a:pt x="693" y="261"/>
                  <a:pt x="693" y="261"/>
                </a:cubicBezTo>
                <a:cubicBezTo>
                  <a:pt x="692" y="260"/>
                  <a:pt x="692" y="260"/>
                  <a:pt x="692" y="260"/>
                </a:cubicBezTo>
                <a:cubicBezTo>
                  <a:pt x="693" y="259"/>
                  <a:pt x="693" y="259"/>
                  <a:pt x="693" y="259"/>
                </a:cubicBezTo>
                <a:cubicBezTo>
                  <a:pt x="695" y="259"/>
                  <a:pt x="695" y="259"/>
                  <a:pt x="695" y="259"/>
                </a:cubicBezTo>
                <a:cubicBezTo>
                  <a:pt x="697" y="258"/>
                  <a:pt x="697" y="258"/>
                  <a:pt x="697" y="258"/>
                </a:cubicBezTo>
                <a:cubicBezTo>
                  <a:pt x="697" y="257"/>
                  <a:pt x="697" y="257"/>
                  <a:pt x="697" y="257"/>
                </a:cubicBezTo>
                <a:cubicBezTo>
                  <a:pt x="696" y="257"/>
                  <a:pt x="696" y="257"/>
                  <a:pt x="696" y="257"/>
                </a:cubicBezTo>
                <a:cubicBezTo>
                  <a:pt x="695" y="258"/>
                  <a:pt x="695" y="258"/>
                  <a:pt x="695" y="258"/>
                </a:cubicBezTo>
                <a:cubicBezTo>
                  <a:pt x="693" y="257"/>
                  <a:pt x="693" y="257"/>
                  <a:pt x="693" y="257"/>
                </a:cubicBezTo>
                <a:cubicBezTo>
                  <a:pt x="693" y="257"/>
                  <a:pt x="693" y="257"/>
                  <a:pt x="693" y="257"/>
                </a:cubicBezTo>
                <a:cubicBezTo>
                  <a:pt x="692" y="256"/>
                  <a:pt x="692" y="256"/>
                  <a:pt x="692" y="256"/>
                </a:cubicBezTo>
                <a:cubicBezTo>
                  <a:pt x="691" y="256"/>
                  <a:pt x="691" y="256"/>
                  <a:pt x="691" y="256"/>
                </a:cubicBezTo>
                <a:cubicBezTo>
                  <a:pt x="689" y="255"/>
                  <a:pt x="689" y="255"/>
                  <a:pt x="689" y="255"/>
                </a:cubicBezTo>
                <a:cubicBezTo>
                  <a:pt x="687" y="255"/>
                  <a:pt x="687" y="255"/>
                  <a:pt x="687" y="255"/>
                </a:cubicBezTo>
                <a:cubicBezTo>
                  <a:pt x="688" y="256"/>
                  <a:pt x="688" y="256"/>
                  <a:pt x="688" y="256"/>
                </a:cubicBezTo>
                <a:cubicBezTo>
                  <a:pt x="687" y="257"/>
                  <a:pt x="687" y="257"/>
                  <a:pt x="687" y="257"/>
                </a:cubicBezTo>
                <a:cubicBezTo>
                  <a:pt x="686" y="256"/>
                  <a:pt x="686" y="256"/>
                  <a:pt x="686" y="256"/>
                </a:cubicBezTo>
                <a:cubicBezTo>
                  <a:pt x="686" y="255"/>
                  <a:pt x="686" y="255"/>
                  <a:pt x="686" y="255"/>
                </a:cubicBezTo>
                <a:cubicBezTo>
                  <a:pt x="684" y="256"/>
                  <a:pt x="684" y="256"/>
                  <a:pt x="684" y="256"/>
                </a:cubicBezTo>
                <a:cubicBezTo>
                  <a:pt x="682" y="255"/>
                  <a:pt x="682" y="255"/>
                  <a:pt x="682" y="255"/>
                </a:cubicBezTo>
                <a:cubicBezTo>
                  <a:pt x="681" y="256"/>
                  <a:pt x="681" y="256"/>
                  <a:pt x="681" y="256"/>
                </a:cubicBezTo>
                <a:cubicBezTo>
                  <a:pt x="680" y="255"/>
                  <a:pt x="680" y="255"/>
                  <a:pt x="680" y="255"/>
                </a:cubicBezTo>
                <a:cubicBezTo>
                  <a:pt x="678" y="255"/>
                  <a:pt x="678" y="255"/>
                  <a:pt x="678" y="255"/>
                </a:cubicBezTo>
                <a:cubicBezTo>
                  <a:pt x="677" y="257"/>
                  <a:pt x="677" y="257"/>
                  <a:pt x="677" y="257"/>
                </a:cubicBezTo>
                <a:cubicBezTo>
                  <a:pt x="676" y="257"/>
                  <a:pt x="676" y="257"/>
                  <a:pt x="676" y="257"/>
                </a:cubicBezTo>
                <a:cubicBezTo>
                  <a:pt x="676" y="258"/>
                  <a:pt x="676" y="258"/>
                  <a:pt x="676" y="258"/>
                </a:cubicBezTo>
                <a:cubicBezTo>
                  <a:pt x="678" y="259"/>
                  <a:pt x="678" y="259"/>
                  <a:pt x="678" y="259"/>
                </a:cubicBezTo>
                <a:cubicBezTo>
                  <a:pt x="676" y="259"/>
                  <a:pt x="676" y="259"/>
                  <a:pt x="676" y="259"/>
                </a:cubicBezTo>
                <a:cubicBezTo>
                  <a:pt x="675" y="258"/>
                  <a:pt x="675" y="258"/>
                  <a:pt x="675" y="258"/>
                </a:cubicBezTo>
                <a:cubicBezTo>
                  <a:pt x="674" y="260"/>
                  <a:pt x="674" y="260"/>
                  <a:pt x="674" y="260"/>
                </a:cubicBezTo>
                <a:cubicBezTo>
                  <a:pt x="676" y="261"/>
                  <a:pt x="676" y="261"/>
                  <a:pt x="676" y="261"/>
                </a:cubicBezTo>
                <a:cubicBezTo>
                  <a:pt x="677" y="260"/>
                  <a:pt x="677" y="260"/>
                  <a:pt x="677" y="260"/>
                </a:cubicBezTo>
                <a:cubicBezTo>
                  <a:pt x="677" y="261"/>
                  <a:pt x="677" y="261"/>
                  <a:pt x="677" y="261"/>
                </a:cubicBezTo>
                <a:cubicBezTo>
                  <a:pt x="677" y="262"/>
                  <a:pt x="677" y="262"/>
                  <a:pt x="677" y="262"/>
                </a:cubicBezTo>
                <a:cubicBezTo>
                  <a:pt x="675" y="263"/>
                  <a:pt x="675" y="263"/>
                  <a:pt x="675" y="263"/>
                </a:cubicBezTo>
                <a:cubicBezTo>
                  <a:pt x="674" y="262"/>
                  <a:pt x="674" y="262"/>
                  <a:pt x="674" y="262"/>
                </a:cubicBezTo>
                <a:cubicBezTo>
                  <a:pt x="672" y="261"/>
                  <a:pt x="672" y="261"/>
                  <a:pt x="672" y="261"/>
                </a:cubicBezTo>
                <a:cubicBezTo>
                  <a:pt x="671" y="262"/>
                  <a:pt x="671" y="262"/>
                  <a:pt x="671" y="262"/>
                </a:cubicBezTo>
                <a:cubicBezTo>
                  <a:pt x="672" y="263"/>
                  <a:pt x="672" y="263"/>
                  <a:pt x="672" y="263"/>
                </a:cubicBezTo>
                <a:cubicBezTo>
                  <a:pt x="671" y="263"/>
                  <a:pt x="671" y="263"/>
                  <a:pt x="671" y="263"/>
                </a:cubicBezTo>
                <a:cubicBezTo>
                  <a:pt x="670" y="264"/>
                  <a:pt x="670" y="264"/>
                  <a:pt x="670" y="264"/>
                </a:cubicBezTo>
                <a:cubicBezTo>
                  <a:pt x="669" y="264"/>
                  <a:pt x="669" y="264"/>
                  <a:pt x="669" y="264"/>
                </a:cubicBezTo>
                <a:cubicBezTo>
                  <a:pt x="669" y="263"/>
                  <a:pt x="669" y="263"/>
                  <a:pt x="669" y="263"/>
                </a:cubicBezTo>
                <a:cubicBezTo>
                  <a:pt x="666" y="263"/>
                  <a:pt x="666" y="263"/>
                  <a:pt x="666" y="263"/>
                </a:cubicBezTo>
                <a:cubicBezTo>
                  <a:pt x="665" y="263"/>
                  <a:pt x="665" y="263"/>
                  <a:pt x="665" y="263"/>
                </a:cubicBezTo>
                <a:cubicBezTo>
                  <a:pt x="663" y="263"/>
                  <a:pt x="663" y="263"/>
                  <a:pt x="663" y="263"/>
                </a:cubicBezTo>
                <a:cubicBezTo>
                  <a:pt x="661" y="264"/>
                  <a:pt x="661" y="264"/>
                  <a:pt x="661" y="264"/>
                </a:cubicBezTo>
                <a:cubicBezTo>
                  <a:pt x="661" y="264"/>
                  <a:pt x="661" y="264"/>
                  <a:pt x="661" y="264"/>
                </a:cubicBezTo>
                <a:cubicBezTo>
                  <a:pt x="663" y="266"/>
                  <a:pt x="663" y="266"/>
                  <a:pt x="663" y="266"/>
                </a:cubicBezTo>
                <a:cubicBezTo>
                  <a:pt x="662" y="267"/>
                  <a:pt x="662" y="267"/>
                  <a:pt x="662" y="267"/>
                </a:cubicBezTo>
                <a:cubicBezTo>
                  <a:pt x="662" y="268"/>
                  <a:pt x="662" y="268"/>
                  <a:pt x="662" y="268"/>
                </a:cubicBezTo>
                <a:cubicBezTo>
                  <a:pt x="660" y="267"/>
                  <a:pt x="660" y="267"/>
                  <a:pt x="660" y="267"/>
                </a:cubicBezTo>
                <a:cubicBezTo>
                  <a:pt x="660" y="266"/>
                  <a:pt x="660" y="266"/>
                  <a:pt x="660" y="266"/>
                </a:cubicBezTo>
                <a:cubicBezTo>
                  <a:pt x="660" y="265"/>
                  <a:pt x="660" y="265"/>
                  <a:pt x="660" y="265"/>
                </a:cubicBezTo>
                <a:cubicBezTo>
                  <a:pt x="659" y="264"/>
                  <a:pt x="659" y="264"/>
                  <a:pt x="659" y="264"/>
                </a:cubicBezTo>
                <a:cubicBezTo>
                  <a:pt x="658" y="265"/>
                  <a:pt x="658" y="265"/>
                  <a:pt x="658" y="265"/>
                </a:cubicBezTo>
                <a:cubicBezTo>
                  <a:pt x="657" y="265"/>
                  <a:pt x="657" y="265"/>
                  <a:pt x="657" y="265"/>
                </a:cubicBezTo>
                <a:cubicBezTo>
                  <a:pt x="656" y="265"/>
                  <a:pt x="656" y="265"/>
                  <a:pt x="656" y="265"/>
                </a:cubicBezTo>
                <a:cubicBezTo>
                  <a:pt x="655" y="266"/>
                  <a:pt x="655" y="266"/>
                  <a:pt x="655" y="266"/>
                </a:cubicBezTo>
                <a:cubicBezTo>
                  <a:pt x="654" y="266"/>
                  <a:pt x="654" y="266"/>
                  <a:pt x="654" y="266"/>
                </a:cubicBezTo>
                <a:cubicBezTo>
                  <a:pt x="652" y="267"/>
                  <a:pt x="652" y="267"/>
                  <a:pt x="652" y="267"/>
                </a:cubicBezTo>
                <a:cubicBezTo>
                  <a:pt x="650" y="267"/>
                  <a:pt x="650" y="267"/>
                  <a:pt x="650" y="267"/>
                </a:cubicBezTo>
                <a:cubicBezTo>
                  <a:pt x="648" y="269"/>
                  <a:pt x="648" y="269"/>
                  <a:pt x="648" y="269"/>
                </a:cubicBezTo>
                <a:cubicBezTo>
                  <a:pt x="646" y="269"/>
                  <a:pt x="646" y="269"/>
                  <a:pt x="646" y="269"/>
                </a:cubicBezTo>
                <a:cubicBezTo>
                  <a:pt x="646" y="268"/>
                  <a:pt x="646" y="268"/>
                  <a:pt x="646" y="268"/>
                </a:cubicBezTo>
                <a:cubicBezTo>
                  <a:pt x="645" y="269"/>
                  <a:pt x="645" y="269"/>
                  <a:pt x="645" y="269"/>
                </a:cubicBezTo>
                <a:cubicBezTo>
                  <a:pt x="644" y="270"/>
                  <a:pt x="644" y="270"/>
                  <a:pt x="644" y="270"/>
                </a:cubicBezTo>
                <a:cubicBezTo>
                  <a:pt x="642" y="271"/>
                  <a:pt x="642" y="271"/>
                  <a:pt x="642" y="271"/>
                </a:cubicBezTo>
                <a:cubicBezTo>
                  <a:pt x="642" y="273"/>
                  <a:pt x="642" y="273"/>
                  <a:pt x="642" y="273"/>
                </a:cubicBezTo>
                <a:cubicBezTo>
                  <a:pt x="641" y="274"/>
                  <a:pt x="641" y="274"/>
                  <a:pt x="641" y="274"/>
                </a:cubicBezTo>
                <a:cubicBezTo>
                  <a:pt x="640" y="275"/>
                  <a:pt x="640" y="275"/>
                  <a:pt x="640" y="275"/>
                </a:cubicBezTo>
                <a:cubicBezTo>
                  <a:pt x="642" y="278"/>
                  <a:pt x="642" y="278"/>
                  <a:pt x="642" y="278"/>
                </a:cubicBezTo>
                <a:cubicBezTo>
                  <a:pt x="642" y="280"/>
                  <a:pt x="642" y="280"/>
                  <a:pt x="642" y="280"/>
                </a:cubicBezTo>
                <a:cubicBezTo>
                  <a:pt x="640" y="282"/>
                  <a:pt x="640" y="282"/>
                  <a:pt x="640" y="282"/>
                </a:cubicBezTo>
                <a:cubicBezTo>
                  <a:pt x="639" y="284"/>
                  <a:pt x="639" y="284"/>
                  <a:pt x="639" y="284"/>
                </a:cubicBezTo>
                <a:cubicBezTo>
                  <a:pt x="639" y="286"/>
                  <a:pt x="639" y="286"/>
                  <a:pt x="639" y="286"/>
                </a:cubicBezTo>
                <a:cubicBezTo>
                  <a:pt x="639" y="288"/>
                  <a:pt x="639" y="288"/>
                  <a:pt x="639" y="288"/>
                </a:cubicBezTo>
                <a:cubicBezTo>
                  <a:pt x="640" y="289"/>
                  <a:pt x="640" y="289"/>
                  <a:pt x="640" y="289"/>
                </a:cubicBezTo>
                <a:cubicBezTo>
                  <a:pt x="640" y="291"/>
                  <a:pt x="640" y="291"/>
                  <a:pt x="640" y="291"/>
                </a:cubicBezTo>
                <a:cubicBezTo>
                  <a:pt x="639" y="291"/>
                  <a:pt x="639" y="291"/>
                  <a:pt x="639" y="291"/>
                </a:cubicBezTo>
                <a:cubicBezTo>
                  <a:pt x="638" y="291"/>
                  <a:pt x="638" y="291"/>
                  <a:pt x="638" y="291"/>
                </a:cubicBezTo>
                <a:cubicBezTo>
                  <a:pt x="638" y="293"/>
                  <a:pt x="638" y="293"/>
                  <a:pt x="638" y="293"/>
                </a:cubicBezTo>
                <a:cubicBezTo>
                  <a:pt x="638" y="293"/>
                  <a:pt x="638" y="293"/>
                  <a:pt x="638" y="293"/>
                </a:cubicBezTo>
                <a:cubicBezTo>
                  <a:pt x="638" y="295"/>
                  <a:pt x="638" y="295"/>
                  <a:pt x="638" y="295"/>
                </a:cubicBezTo>
                <a:cubicBezTo>
                  <a:pt x="637" y="296"/>
                  <a:pt x="637" y="296"/>
                  <a:pt x="637" y="296"/>
                </a:cubicBezTo>
                <a:cubicBezTo>
                  <a:pt x="637" y="298"/>
                  <a:pt x="637" y="298"/>
                  <a:pt x="637" y="298"/>
                </a:cubicBezTo>
                <a:cubicBezTo>
                  <a:pt x="635" y="300"/>
                  <a:pt x="635" y="300"/>
                  <a:pt x="635" y="300"/>
                </a:cubicBezTo>
                <a:cubicBezTo>
                  <a:pt x="636" y="301"/>
                  <a:pt x="636" y="301"/>
                  <a:pt x="636" y="301"/>
                </a:cubicBezTo>
                <a:cubicBezTo>
                  <a:pt x="635" y="302"/>
                  <a:pt x="635" y="302"/>
                  <a:pt x="635" y="302"/>
                </a:cubicBezTo>
                <a:cubicBezTo>
                  <a:pt x="634" y="304"/>
                  <a:pt x="634" y="304"/>
                  <a:pt x="634" y="304"/>
                </a:cubicBezTo>
                <a:cubicBezTo>
                  <a:pt x="634" y="304"/>
                  <a:pt x="634" y="304"/>
                  <a:pt x="634" y="304"/>
                </a:cubicBezTo>
                <a:cubicBezTo>
                  <a:pt x="633" y="307"/>
                  <a:pt x="633" y="307"/>
                  <a:pt x="633" y="307"/>
                </a:cubicBezTo>
                <a:cubicBezTo>
                  <a:pt x="633" y="309"/>
                  <a:pt x="633" y="309"/>
                  <a:pt x="633" y="309"/>
                </a:cubicBezTo>
                <a:cubicBezTo>
                  <a:pt x="633" y="310"/>
                  <a:pt x="633" y="310"/>
                  <a:pt x="633" y="310"/>
                </a:cubicBezTo>
                <a:cubicBezTo>
                  <a:pt x="633" y="312"/>
                  <a:pt x="633" y="312"/>
                  <a:pt x="633" y="312"/>
                </a:cubicBezTo>
                <a:cubicBezTo>
                  <a:pt x="632" y="313"/>
                  <a:pt x="632" y="313"/>
                  <a:pt x="632" y="313"/>
                </a:cubicBezTo>
                <a:cubicBezTo>
                  <a:pt x="632" y="314"/>
                  <a:pt x="632" y="314"/>
                  <a:pt x="632" y="314"/>
                </a:cubicBezTo>
                <a:cubicBezTo>
                  <a:pt x="631" y="316"/>
                  <a:pt x="631" y="316"/>
                  <a:pt x="631" y="316"/>
                </a:cubicBezTo>
                <a:cubicBezTo>
                  <a:pt x="631" y="317"/>
                  <a:pt x="631" y="317"/>
                  <a:pt x="631" y="317"/>
                </a:cubicBezTo>
                <a:cubicBezTo>
                  <a:pt x="630" y="317"/>
                  <a:pt x="630" y="317"/>
                  <a:pt x="630" y="317"/>
                </a:cubicBezTo>
                <a:cubicBezTo>
                  <a:pt x="630" y="319"/>
                  <a:pt x="630" y="319"/>
                  <a:pt x="630" y="319"/>
                </a:cubicBezTo>
                <a:cubicBezTo>
                  <a:pt x="628" y="320"/>
                  <a:pt x="628" y="320"/>
                  <a:pt x="628" y="320"/>
                </a:cubicBezTo>
                <a:cubicBezTo>
                  <a:pt x="628" y="322"/>
                  <a:pt x="628" y="322"/>
                  <a:pt x="628" y="322"/>
                </a:cubicBezTo>
                <a:cubicBezTo>
                  <a:pt x="627" y="324"/>
                  <a:pt x="627" y="324"/>
                  <a:pt x="627" y="324"/>
                </a:cubicBezTo>
                <a:cubicBezTo>
                  <a:pt x="627" y="325"/>
                  <a:pt x="627" y="325"/>
                  <a:pt x="627" y="325"/>
                </a:cubicBezTo>
                <a:cubicBezTo>
                  <a:pt x="625" y="327"/>
                  <a:pt x="625" y="327"/>
                  <a:pt x="625" y="327"/>
                </a:cubicBezTo>
                <a:cubicBezTo>
                  <a:pt x="625" y="328"/>
                  <a:pt x="625" y="328"/>
                  <a:pt x="625" y="328"/>
                </a:cubicBezTo>
                <a:cubicBezTo>
                  <a:pt x="624" y="329"/>
                  <a:pt x="624" y="329"/>
                  <a:pt x="624" y="329"/>
                </a:cubicBezTo>
                <a:cubicBezTo>
                  <a:pt x="625" y="330"/>
                  <a:pt x="625" y="330"/>
                  <a:pt x="625" y="330"/>
                </a:cubicBezTo>
                <a:cubicBezTo>
                  <a:pt x="626" y="331"/>
                  <a:pt x="626" y="331"/>
                  <a:pt x="626" y="331"/>
                </a:cubicBezTo>
                <a:cubicBezTo>
                  <a:pt x="627" y="331"/>
                  <a:pt x="627" y="331"/>
                  <a:pt x="627" y="331"/>
                </a:cubicBezTo>
                <a:cubicBezTo>
                  <a:pt x="628" y="332"/>
                  <a:pt x="628" y="332"/>
                  <a:pt x="628" y="332"/>
                </a:cubicBezTo>
                <a:cubicBezTo>
                  <a:pt x="630" y="332"/>
                  <a:pt x="630" y="332"/>
                  <a:pt x="630" y="332"/>
                </a:cubicBezTo>
                <a:cubicBezTo>
                  <a:pt x="631" y="331"/>
                  <a:pt x="631" y="331"/>
                  <a:pt x="631" y="331"/>
                </a:cubicBezTo>
                <a:cubicBezTo>
                  <a:pt x="632" y="330"/>
                  <a:pt x="632" y="330"/>
                  <a:pt x="632" y="330"/>
                </a:cubicBezTo>
                <a:cubicBezTo>
                  <a:pt x="633" y="330"/>
                  <a:pt x="633" y="330"/>
                  <a:pt x="633" y="330"/>
                </a:cubicBezTo>
                <a:cubicBezTo>
                  <a:pt x="634" y="330"/>
                  <a:pt x="634" y="330"/>
                  <a:pt x="634" y="330"/>
                </a:cubicBezTo>
                <a:cubicBezTo>
                  <a:pt x="635" y="329"/>
                  <a:pt x="635" y="329"/>
                  <a:pt x="635" y="329"/>
                </a:cubicBezTo>
                <a:cubicBezTo>
                  <a:pt x="635" y="333"/>
                  <a:pt x="635" y="333"/>
                  <a:pt x="635" y="333"/>
                </a:cubicBezTo>
                <a:cubicBezTo>
                  <a:pt x="637" y="335"/>
                  <a:pt x="637" y="335"/>
                  <a:pt x="637" y="335"/>
                </a:cubicBezTo>
                <a:cubicBezTo>
                  <a:pt x="637" y="337"/>
                  <a:pt x="637" y="337"/>
                  <a:pt x="637" y="337"/>
                </a:cubicBezTo>
                <a:cubicBezTo>
                  <a:pt x="637" y="338"/>
                  <a:pt x="637" y="338"/>
                  <a:pt x="637" y="338"/>
                </a:cubicBezTo>
                <a:cubicBezTo>
                  <a:pt x="639" y="339"/>
                  <a:pt x="639" y="339"/>
                  <a:pt x="639" y="339"/>
                </a:cubicBezTo>
                <a:cubicBezTo>
                  <a:pt x="639" y="338"/>
                  <a:pt x="639" y="338"/>
                  <a:pt x="639" y="338"/>
                </a:cubicBezTo>
                <a:cubicBezTo>
                  <a:pt x="640" y="339"/>
                  <a:pt x="640" y="339"/>
                  <a:pt x="640" y="339"/>
                </a:cubicBezTo>
                <a:cubicBezTo>
                  <a:pt x="640" y="338"/>
                  <a:pt x="640" y="338"/>
                  <a:pt x="640" y="338"/>
                </a:cubicBezTo>
                <a:cubicBezTo>
                  <a:pt x="641" y="337"/>
                  <a:pt x="641" y="337"/>
                  <a:pt x="641" y="337"/>
                </a:cubicBezTo>
                <a:cubicBezTo>
                  <a:pt x="642" y="336"/>
                  <a:pt x="642" y="336"/>
                  <a:pt x="642" y="336"/>
                </a:cubicBezTo>
                <a:cubicBezTo>
                  <a:pt x="642" y="337"/>
                  <a:pt x="642" y="337"/>
                  <a:pt x="642" y="337"/>
                </a:cubicBezTo>
                <a:cubicBezTo>
                  <a:pt x="643" y="337"/>
                  <a:pt x="643" y="337"/>
                  <a:pt x="643" y="337"/>
                </a:cubicBezTo>
                <a:cubicBezTo>
                  <a:pt x="644" y="337"/>
                  <a:pt x="644" y="337"/>
                  <a:pt x="644" y="337"/>
                </a:cubicBezTo>
                <a:cubicBezTo>
                  <a:pt x="644" y="337"/>
                  <a:pt x="644" y="337"/>
                  <a:pt x="644" y="337"/>
                </a:cubicBezTo>
                <a:cubicBezTo>
                  <a:pt x="643" y="338"/>
                  <a:pt x="643" y="338"/>
                  <a:pt x="643" y="338"/>
                </a:cubicBezTo>
                <a:cubicBezTo>
                  <a:pt x="644" y="340"/>
                  <a:pt x="644" y="340"/>
                  <a:pt x="644" y="340"/>
                </a:cubicBezTo>
                <a:cubicBezTo>
                  <a:pt x="643" y="340"/>
                  <a:pt x="643" y="340"/>
                  <a:pt x="643" y="340"/>
                </a:cubicBezTo>
                <a:cubicBezTo>
                  <a:pt x="642" y="341"/>
                  <a:pt x="642" y="341"/>
                  <a:pt x="642" y="341"/>
                </a:cubicBezTo>
                <a:cubicBezTo>
                  <a:pt x="642" y="341"/>
                  <a:pt x="642" y="341"/>
                  <a:pt x="642" y="341"/>
                </a:cubicBezTo>
                <a:cubicBezTo>
                  <a:pt x="645" y="341"/>
                  <a:pt x="645" y="341"/>
                  <a:pt x="645" y="341"/>
                </a:cubicBezTo>
                <a:cubicBezTo>
                  <a:pt x="646" y="340"/>
                  <a:pt x="646" y="340"/>
                  <a:pt x="646" y="340"/>
                </a:cubicBezTo>
                <a:cubicBezTo>
                  <a:pt x="647" y="338"/>
                  <a:pt x="647" y="338"/>
                  <a:pt x="647" y="338"/>
                </a:cubicBezTo>
                <a:cubicBezTo>
                  <a:pt x="647" y="337"/>
                  <a:pt x="647" y="337"/>
                  <a:pt x="647" y="337"/>
                </a:cubicBezTo>
                <a:cubicBezTo>
                  <a:pt x="647" y="336"/>
                  <a:pt x="647" y="336"/>
                  <a:pt x="647" y="336"/>
                </a:cubicBezTo>
                <a:cubicBezTo>
                  <a:pt x="648" y="338"/>
                  <a:pt x="648" y="338"/>
                  <a:pt x="648" y="338"/>
                </a:cubicBezTo>
                <a:cubicBezTo>
                  <a:pt x="648" y="339"/>
                  <a:pt x="648" y="339"/>
                  <a:pt x="648" y="339"/>
                </a:cubicBezTo>
                <a:cubicBezTo>
                  <a:pt x="648" y="341"/>
                  <a:pt x="648" y="341"/>
                  <a:pt x="648" y="341"/>
                </a:cubicBezTo>
                <a:cubicBezTo>
                  <a:pt x="649" y="340"/>
                  <a:pt x="649" y="340"/>
                  <a:pt x="649" y="340"/>
                </a:cubicBezTo>
                <a:cubicBezTo>
                  <a:pt x="649" y="339"/>
                  <a:pt x="649" y="339"/>
                  <a:pt x="649" y="339"/>
                </a:cubicBezTo>
                <a:cubicBezTo>
                  <a:pt x="648" y="337"/>
                  <a:pt x="648" y="337"/>
                  <a:pt x="648" y="337"/>
                </a:cubicBezTo>
                <a:cubicBezTo>
                  <a:pt x="649" y="335"/>
                  <a:pt x="649" y="335"/>
                  <a:pt x="649" y="335"/>
                </a:cubicBezTo>
                <a:cubicBezTo>
                  <a:pt x="648" y="334"/>
                  <a:pt x="648" y="334"/>
                  <a:pt x="648" y="334"/>
                </a:cubicBezTo>
                <a:cubicBezTo>
                  <a:pt x="647" y="332"/>
                  <a:pt x="647" y="332"/>
                  <a:pt x="647" y="332"/>
                </a:cubicBezTo>
                <a:cubicBezTo>
                  <a:pt x="649" y="332"/>
                  <a:pt x="649" y="332"/>
                  <a:pt x="649" y="332"/>
                </a:cubicBezTo>
                <a:cubicBezTo>
                  <a:pt x="650" y="333"/>
                  <a:pt x="650" y="333"/>
                  <a:pt x="650" y="333"/>
                </a:cubicBezTo>
                <a:cubicBezTo>
                  <a:pt x="650" y="333"/>
                  <a:pt x="650" y="333"/>
                  <a:pt x="650" y="333"/>
                </a:cubicBezTo>
                <a:cubicBezTo>
                  <a:pt x="650" y="334"/>
                  <a:pt x="650" y="334"/>
                  <a:pt x="650" y="334"/>
                </a:cubicBezTo>
                <a:cubicBezTo>
                  <a:pt x="651" y="334"/>
                  <a:pt x="651" y="334"/>
                  <a:pt x="651" y="334"/>
                </a:cubicBezTo>
                <a:cubicBezTo>
                  <a:pt x="651" y="333"/>
                  <a:pt x="651" y="333"/>
                  <a:pt x="651" y="333"/>
                </a:cubicBezTo>
                <a:cubicBezTo>
                  <a:pt x="653" y="333"/>
                  <a:pt x="653" y="333"/>
                  <a:pt x="653" y="333"/>
                </a:cubicBezTo>
                <a:cubicBezTo>
                  <a:pt x="654" y="332"/>
                  <a:pt x="654" y="332"/>
                  <a:pt x="654" y="332"/>
                </a:cubicBezTo>
                <a:cubicBezTo>
                  <a:pt x="655" y="333"/>
                  <a:pt x="655" y="333"/>
                  <a:pt x="655" y="333"/>
                </a:cubicBezTo>
                <a:cubicBezTo>
                  <a:pt x="657" y="333"/>
                  <a:pt x="657" y="333"/>
                  <a:pt x="657" y="333"/>
                </a:cubicBezTo>
                <a:cubicBezTo>
                  <a:pt x="658" y="334"/>
                  <a:pt x="658" y="334"/>
                  <a:pt x="658" y="334"/>
                </a:cubicBezTo>
                <a:cubicBezTo>
                  <a:pt x="658" y="336"/>
                  <a:pt x="658" y="336"/>
                  <a:pt x="658" y="336"/>
                </a:cubicBezTo>
                <a:cubicBezTo>
                  <a:pt x="659" y="336"/>
                  <a:pt x="659" y="336"/>
                  <a:pt x="659" y="336"/>
                </a:cubicBezTo>
                <a:cubicBezTo>
                  <a:pt x="661" y="336"/>
                  <a:pt x="661" y="336"/>
                  <a:pt x="661" y="336"/>
                </a:cubicBezTo>
                <a:cubicBezTo>
                  <a:pt x="662" y="337"/>
                  <a:pt x="662" y="337"/>
                  <a:pt x="662" y="337"/>
                </a:cubicBezTo>
                <a:cubicBezTo>
                  <a:pt x="664" y="338"/>
                  <a:pt x="664" y="338"/>
                  <a:pt x="664" y="338"/>
                </a:cubicBezTo>
                <a:cubicBezTo>
                  <a:pt x="665" y="339"/>
                  <a:pt x="665" y="339"/>
                  <a:pt x="665" y="339"/>
                </a:cubicBezTo>
                <a:cubicBezTo>
                  <a:pt x="666" y="339"/>
                  <a:pt x="666" y="339"/>
                  <a:pt x="666" y="339"/>
                </a:cubicBezTo>
                <a:cubicBezTo>
                  <a:pt x="666" y="340"/>
                  <a:pt x="666" y="340"/>
                  <a:pt x="666" y="340"/>
                </a:cubicBezTo>
                <a:cubicBezTo>
                  <a:pt x="667" y="340"/>
                  <a:pt x="667" y="340"/>
                  <a:pt x="667" y="340"/>
                </a:cubicBezTo>
                <a:cubicBezTo>
                  <a:pt x="668" y="342"/>
                  <a:pt x="668" y="342"/>
                  <a:pt x="668" y="342"/>
                </a:cubicBezTo>
                <a:cubicBezTo>
                  <a:pt x="668" y="343"/>
                  <a:pt x="668" y="343"/>
                  <a:pt x="668" y="343"/>
                </a:cubicBezTo>
                <a:cubicBezTo>
                  <a:pt x="668" y="344"/>
                  <a:pt x="668" y="344"/>
                  <a:pt x="668" y="344"/>
                </a:cubicBezTo>
                <a:cubicBezTo>
                  <a:pt x="667" y="345"/>
                  <a:pt x="667" y="345"/>
                  <a:pt x="667" y="345"/>
                </a:cubicBezTo>
                <a:cubicBezTo>
                  <a:pt x="668" y="346"/>
                  <a:pt x="668" y="346"/>
                  <a:pt x="668" y="346"/>
                </a:cubicBezTo>
                <a:cubicBezTo>
                  <a:pt x="669" y="346"/>
                  <a:pt x="669" y="346"/>
                  <a:pt x="669" y="346"/>
                </a:cubicBezTo>
                <a:cubicBezTo>
                  <a:pt x="670" y="348"/>
                  <a:pt x="670" y="348"/>
                  <a:pt x="670" y="348"/>
                </a:cubicBezTo>
                <a:cubicBezTo>
                  <a:pt x="671" y="349"/>
                  <a:pt x="671" y="349"/>
                  <a:pt x="671" y="349"/>
                </a:cubicBezTo>
                <a:cubicBezTo>
                  <a:pt x="670" y="350"/>
                  <a:pt x="670" y="350"/>
                  <a:pt x="670" y="350"/>
                </a:cubicBezTo>
                <a:cubicBezTo>
                  <a:pt x="670" y="352"/>
                  <a:pt x="670" y="352"/>
                  <a:pt x="670" y="352"/>
                </a:cubicBezTo>
                <a:cubicBezTo>
                  <a:pt x="671" y="353"/>
                  <a:pt x="671" y="353"/>
                  <a:pt x="671" y="353"/>
                </a:cubicBezTo>
                <a:cubicBezTo>
                  <a:pt x="672" y="353"/>
                  <a:pt x="672" y="353"/>
                  <a:pt x="672" y="353"/>
                </a:cubicBezTo>
                <a:cubicBezTo>
                  <a:pt x="673" y="352"/>
                  <a:pt x="673" y="352"/>
                  <a:pt x="673" y="352"/>
                </a:cubicBezTo>
                <a:cubicBezTo>
                  <a:pt x="673" y="353"/>
                  <a:pt x="673" y="353"/>
                  <a:pt x="673" y="353"/>
                </a:cubicBezTo>
                <a:cubicBezTo>
                  <a:pt x="673" y="354"/>
                  <a:pt x="673" y="354"/>
                  <a:pt x="673" y="354"/>
                </a:cubicBezTo>
                <a:cubicBezTo>
                  <a:pt x="673" y="356"/>
                  <a:pt x="673" y="356"/>
                  <a:pt x="673" y="356"/>
                </a:cubicBezTo>
                <a:cubicBezTo>
                  <a:pt x="674" y="356"/>
                  <a:pt x="674" y="356"/>
                  <a:pt x="674" y="356"/>
                </a:cubicBezTo>
                <a:cubicBezTo>
                  <a:pt x="673" y="357"/>
                  <a:pt x="673" y="357"/>
                  <a:pt x="673" y="357"/>
                </a:cubicBezTo>
                <a:cubicBezTo>
                  <a:pt x="673" y="358"/>
                  <a:pt x="673" y="358"/>
                  <a:pt x="673" y="358"/>
                </a:cubicBezTo>
                <a:cubicBezTo>
                  <a:pt x="673" y="359"/>
                  <a:pt x="673" y="359"/>
                  <a:pt x="673" y="359"/>
                </a:cubicBezTo>
                <a:cubicBezTo>
                  <a:pt x="673" y="360"/>
                  <a:pt x="673" y="360"/>
                  <a:pt x="673" y="360"/>
                </a:cubicBezTo>
                <a:cubicBezTo>
                  <a:pt x="673" y="361"/>
                  <a:pt x="673" y="361"/>
                  <a:pt x="673" y="361"/>
                </a:cubicBezTo>
                <a:cubicBezTo>
                  <a:pt x="673" y="362"/>
                  <a:pt x="673" y="362"/>
                  <a:pt x="673" y="362"/>
                </a:cubicBezTo>
                <a:cubicBezTo>
                  <a:pt x="673" y="362"/>
                  <a:pt x="673" y="362"/>
                  <a:pt x="673" y="362"/>
                </a:cubicBezTo>
                <a:cubicBezTo>
                  <a:pt x="674" y="363"/>
                  <a:pt x="674" y="363"/>
                  <a:pt x="674" y="363"/>
                </a:cubicBezTo>
                <a:cubicBezTo>
                  <a:pt x="673" y="364"/>
                  <a:pt x="673" y="364"/>
                  <a:pt x="673" y="364"/>
                </a:cubicBezTo>
                <a:cubicBezTo>
                  <a:pt x="674" y="367"/>
                  <a:pt x="674" y="367"/>
                  <a:pt x="674" y="367"/>
                </a:cubicBezTo>
                <a:cubicBezTo>
                  <a:pt x="673" y="367"/>
                  <a:pt x="673" y="367"/>
                  <a:pt x="673" y="367"/>
                </a:cubicBezTo>
                <a:cubicBezTo>
                  <a:pt x="674" y="370"/>
                  <a:pt x="674" y="370"/>
                  <a:pt x="674" y="370"/>
                </a:cubicBezTo>
                <a:cubicBezTo>
                  <a:pt x="674" y="371"/>
                  <a:pt x="674" y="371"/>
                  <a:pt x="674" y="371"/>
                </a:cubicBezTo>
                <a:cubicBezTo>
                  <a:pt x="674" y="372"/>
                  <a:pt x="674" y="372"/>
                  <a:pt x="674" y="372"/>
                </a:cubicBezTo>
                <a:cubicBezTo>
                  <a:pt x="675" y="376"/>
                  <a:pt x="675" y="376"/>
                  <a:pt x="675" y="376"/>
                </a:cubicBezTo>
                <a:cubicBezTo>
                  <a:pt x="676" y="376"/>
                  <a:pt x="676" y="376"/>
                  <a:pt x="676" y="376"/>
                </a:cubicBezTo>
                <a:cubicBezTo>
                  <a:pt x="677" y="375"/>
                  <a:pt x="677" y="375"/>
                  <a:pt x="677" y="375"/>
                </a:cubicBezTo>
                <a:cubicBezTo>
                  <a:pt x="677" y="376"/>
                  <a:pt x="677" y="376"/>
                  <a:pt x="677" y="376"/>
                </a:cubicBezTo>
                <a:cubicBezTo>
                  <a:pt x="676" y="377"/>
                  <a:pt x="676" y="377"/>
                  <a:pt x="676" y="377"/>
                </a:cubicBezTo>
                <a:cubicBezTo>
                  <a:pt x="676" y="378"/>
                  <a:pt x="676" y="378"/>
                  <a:pt x="676" y="378"/>
                </a:cubicBezTo>
                <a:cubicBezTo>
                  <a:pt x="676" y="379"/>
                  <a:pt x="676" y="379"/>
                  <a:pt x="676" y="379"/>
                </a:cubicBezTo>
                <a:cubicBezTo>
                  <a:pt x="677" y="379"/>
                  <a:pt x="677" y="379"/>
                  <a:pt x="677" y="379"/>
                </a:cubicBezTo>
                <a:cubicBezTo>
                  <a:pt x="679" y="381"/>
                  <a:pt x="679" y="381"/>
                  <a:pt x="679" y="381"/>
                </a:cubicBezTo>
                <a:cubicBezTo>
                  <a:pt x="679" y="383"/>
                  <a:pt x="679" y="383"/>
                  <a:pt x="679" y="383"/>
                </a:cubicBezTo>
                <a:cubicBezTo>
                  <a:pt x="679" y="384"/>
                  <a:pt x="679" y="384"/>
                  <a:pt x="679" y="384"/>
                </a:cubicBezTo>
                <a:cubicBezTo>
                  <a:pt x="679" y="385"/>
                  <a:pt x="679" y="385"/>
                  <a:pt x="679" y="385"/>
                </a:cubicBezTo>
                <a:cubicBezTo>
                  <a:pt x="679" y="388"/>
                  <a:pt x="679" y="388"/>
                  <a:pt x="679" y="388"/>
                </a:cubicBezTo>
                <a:cubicBezTo>
                  <a:pt x="680" y="388"/>
                  <a:pt x="680" y="388"/>
                  <a:pt x="680" y="388"/>
                </a:cubicBezTo>
                <a:cubicBezTo>
                  <a:pt x="680" y="390"/>
                  <a:pt x="680" y="390"/>
                  <a:pt x="680" y="390"/>
                </a:cubicBezTo>
                <a:cubicBezTo>
                  <a:pt x="680" y="390"/>
                  <a:pt x="680" y="390"/>
                  <a:pt x="680" y="390"/>
                </a:cubicBezTo>
                <a:cubicBezTo>
                  <a:pt x="680" y="392"/>
                  <a:pt x="680" y="392"/>
                  <a:pt x="680" y="392"/>
                </a:cubicBezTo>
                <a:cubicBezTo>
                  <a:pt x="681" y="393"/>
                  <a:pt x="681" y="393"/>
                  <a:pt x="681" y="393"/>
                </a:cubicBezTo>
                <a:cubicBezTo>
                  <a:pt x="681" y="395"/>
                  <a:pt x="681" y="395"/>
                  <a:pt x="681" y="395"/>
                </a:cubicBezTo>
                <a:cubicBezTo>
                  <a:pt x="679" y="397"/>
                  <a:pt x="679" y="397"/>
                  <a:pt x="679" y="397"/>
                </a:cubicBezTo>
                <a:cubicBezTo>
                  <a:pt x="679" y="398"/>
                  <a:pt x="679" y="398"/>
                  <a:pt x="679" y="398"/>
                </a:cubicBezTo>
                <a:cubicBezTo>
                  <a:pt x="678" y="400"/>
                  <a:pt x="678" y="400"/>
                  <a:pt x="678" y="400"/>
                </a:cubicBezTo>
                <a:cubicBezTo>
                  <a:pt x="678" y="403"/>
                  <a:pt x="678" y="403"/>
                  <a:pt x="678" y="403"/>
                </a:cubicBezTo>
                <a:cubicBezTo>
                  <a:pt x="678" y="403"/>
                  <a:pt x="678" y="403"/>
                  <a:pt x="678" y="403"/>
                </a:cubicBezTo>
                <a:cubicBezTo>
                  <a:pt x="678" y="405"/>
                  <a:pt x="678" y="405"/>
                  <a:pt x="678" y="405"/>
                </a:cubicBezTo>
                <a:cubicBezTo>
                  <a:pt x="677" y="406"/>
                  <a:pt x="677" y="406"/>
                  <a:pt x="677" y="406"/>
                </a:cubicBezTo>
                <a:cubicBezTo>
                  <a:pt x="677" y="407"/>
                  <a:pt x="677" y="407"/>
                  <a:pt x="677" y="407"/>
                </a:cubicBezTo>
                <a:cubicBezTo>
                  <a:pt x="676" y="409"/>
                  <a:pt x="676" y="409"/>
                  <a:pt x="676" y="409"/>
                </a:cubicBezTo>
                <a:cubicBezTo>
                  <a:pt x="677" y="409"/>
                  <a:pt x="677" y="409"/>
                  <a:pt x="677" y="409"/>
                </a:cubicBezTo>
                <a:cubicBezTo>
                  <a:pt x="677" y="410"/>
                  <a:pt x="677" y="410"/>
                  <a:pt x="677" y="410"/>
                </a:cubicBezTo>
                <a:cubicBezTo>
                  <a:pt x="676" y="412"/>
                  <a:pt x="676" y="412"/>
                  <a:pt x="676" y="412"/>
                </a:cubicBezTo>
                <a:cubicBezTo>
                  <a:pt x="676" y="415"/>
                  <a:pt x="676" y="415"/>
                  <a:pt x="676" y="415"/>
                </a:cubicBezTo>
                <a:cubicBezTo>
                  <a:pt x="675" y="416"/>
                  <a:pt x="675" y="416"/>
                  <a:pt x="675" y="416"/>
                </a:cubicBezTo>
                <a:cubicBezTo>
                  <a:pt x="676" y="418"/>
                  <a:pt x="676" y="418"/>
                  <a:pt x="676" y="418"/>
                </a:cubicBezTo>
                <a:cubicBezTo>
                  <a:pt x="676" y="418"/>
                  <a:pt x="676" y="418"/>
                  <a:pt x="676" y="418"/>
                </a:cubicBezTo>
                <a:cubicBezTo>
                  <a:pt x="676" y="419"/>
                  <a:pt x="676" y="419"/>
                  <a:pt x="676" y="419"/>
                </a:cubicBezTo>
                <a:cubicBezTo>
                  <a:pt x="675" y="421"/>
                  <a:pt x="675" y="421"/>
                  <a:pt x="675" y="421"/>
                </a:cubicBezTo>
                <a:cubicBezTo>
                  <a:pt x="674" y="422"/>
                  <a:pt x="674" y="422"/>
                  <a:pt x="674" y="422"/>
                </a:cubicBezTo>
                <a:cubicBezTo>
                  <a:pt x="673" y="423"/>
                  <a:pt x="673" y="423"/>
                  <a:pt x="673" y="423"/>
                </a:cubicBezTo>
                <a:cubicBezTo>
                  <a:pt x="673" y="425"/>
                  <a:pt x="673" y="425"/>
                  <a:pt x="673" y="425"/>
                </a:cubicBezTo>
                <a:cubicBezTo>
                  <a:pt x="672" y="426"/>
                  <a:pt x="672" y="426"/>
                  <a:pt x="672" y="426"/>
                </a:cubicBezTo>
                <a:cubicBezTo>
                  <a:pt x="670" y="432"/>
                  <a:pt x="670" y="432"/>
                  <a:pt x="670" y="432"/>
                </a:cubicBezTo>
                <a:cubicBezTo>
                  <a:pt x="670" y="432"/>
                  <a:pt x="670" y="432"/>
                  <a:pt x="670" y="432"/>
                </a:cubicBezTo>
                <a:cubicBezTo>
                  <a:pt x="670" y="434"/>
                  <a:pt x="670" y="434"/>
                  <a:pt x="670" y="434"/>
                </a:cubicBezTo>
                <a:cubicBezTo>
                  <a:pt x="670" y="434"/>
                  <a:pt x="670" y="434"/>
                  <a:pt x="670" y="434"/>
                </a:cubicBezTo>
                <a:cubicBezTo>
                  <a:pt x="670" y="435"/>
                  <a:pt x="670" y="435"/>
                  <a:pt x="670" y="435"/>
                </a:cubicBezTo>
                <a:cubicBezTo>
                  <a:pt x="668" y="436"/>
                  <a:pt x="668" y="436"/>
                  <a:pt x="668" y="436"/>
                </a:cubicBezTo>
                <a:cubicBezTo>
                  <a:pt x="668" y="437"/>
                  <a:pt x="668" y="437"/>
                  <a:pt x="668" y="437"/>
                </a:cubicBezTo>
                <a:cubicBezTo>
                  <a:pt x="667" y="438"/>
                  <a:pt x="667" y="438"/>
                  <a:pt x="667" y="438"/>
                </a:cubicBezTo>
                <a:cubicBezTo>
                  <a:pt x="667" y="440"/>
                  <a:pt x="667" y="440"/>
                  <a:pt x="667" y="440"/>
                </a:cubicBezTo>
                <a:cubicBezTo>
                  <a:pt x="666" y="440"/>
                  <a:pt x="666" y="440"/>
                  <a:pt x="666" y="440"/>
                </a:cubicBezTo>
                <a:cubicBezTo>
                  <a:pt x="667" y="441"/>
                  <a:pt x="667" y="441"/>
                  <a:pt x="667" y="441"/>
                </a:cubicBezTo>
                <a:cubicBezTo>
                  <a:pt x="666" y="443"/>
                  <a:pt x="666" y="443"/>
                  <a:pt x="666" y="443"/>
                </a:cubicBezTo>
                <a:cubicBezTo>
                  <a:pt x="665" y="443"/>
                  <a:pt x="665" y="443"/>
                  <a:pt x="665" y="443"/>
                </a:cubicBezTo>
                <a:cubicBezTo>
                  <a:pt x="664" y="442"/>
                  <a:pt x="664" y="442"/>
                  <a:pt x="664" y="442"/>
                </a:cubicBezTo>
                <a:cubicBezTo>
                  <a:pt x="665" y="444"/>
                  <a:pt x="665" y="444"/>
                  <a:pt x="665" y="444"/>
                </a:cubicBezTo>
                <a:cubicBezTo>
                  <a:pt x="665" y="445"/>
                  <a:pt x="665" y="445"/>
                  <a:pt x="665" y="445"/>
                </a:cubicBezTo>
                <a:cubicBezTo>
                  <a:pt x="663" y="446"/>
                  <a:pt x="663" y="446"/>
                  <a:pt x="663" y="446"/>
                </a:cubicBezTo>
                <a:cubicBezTo>
                  <a:pt x="664" y="447"/>
                  <a:pt x="664" y="447"/>
                  <a:pt x="664" y="447"/>
                </a:cubicBezTo>
                <a:cubicBezTo>
                  <a:pt x="662" y="449"/>
                  <a:pt x="662" y="449"/>
                  <a:pt x="662" y="449"/>
                </a:cubicBezTo>
                <a:cubicBezTo>
                  <a:pt x="661" y="451"/>
                  <a:pt x="661" y="451"/>
                  <a:pt x="661" y="451"/>
                </a:cubicBezTo>
                <a:cubicBezTo>
                  <a:pt x="660" y="451"/>
                  <a:pt x="660" y="451"/>
                  <a:pt x="660" y="451"/>
                </a:cubicBezTo>
                <a:cubicBezTo>
                  <a:pt x="660" y="452"/>
                  <a:pt x="660" y="452"/>
                  <a:pt x="660" y="452"/>
                </a:cubicBezTo>
                <a:cubicBezTo>
                  <a:pt x="658" y="452"/>
                  <a:pt x="658" y="452"/>
                  <a:pt x="658" y="452"/>
                </a:cubicBezTo>
                <a:cubicBezTo>
                  <a:pt x="656" y="453"/>
                  <a:pt x="656" y="453"/>
                  <a:pt x="656" y="453"/>
                </a:cubicBezTo>
                <a:cubicBezTo>
                  <a:pt x="656" y="453"/>
                  <a:pt x="656" y="453"/>
                  <a:pt x="656" y="453"/>
                </a:cubicBezTo>
                <a:cubicBezTo>
                  <a:pt x="655" y="453"/>
                  <a:pt x="655" y="453"/>
                  <a:pt x="655" y="453"/>
                </a:cubicBezTo>
                <a:cubicBezTo>
                  <a:pt x="653" y="452"/>
                  <a:pt x="653" y="452"/>
                  <a:pt x="653" y="452"/>
                </a:cubicBezTo>
                <a:cubicBezTo>
                  <a:pt x="651" y="452"/>
                  <a:pt x="651" y="452"/>
                  <a:pt x="651" y="452"/>
                </a:cubicBezTo>
                <a:cubicBezTo>
                  <a:pt x="651" y="449"/>
                  <a:pt x="651" y="449"/>
                  <a:pt x="651" y="449"/>
                </a:cubicBezTo>
                <a:cubicBezTo>
                  <a:pt x="650" y="449"/>
                  <a:pt x="650" y="449"/>
                  <a:pt x="650" y="449"/>
                </a:cubicBezTo>
                <a:cubicBezTo>
                  <a:pt x="649" y="449"/>
                  <a:pt x="649" y="449"/>
                  <a:pt x="649" y="449"/>
                </a:cubicBezTo>
                <a:cubicBezTo>
                  <a:pt x="647" y="449"/>
                  <a:pt x="647" y="449"/>
                  <a:pt x="647" y="449"/>
                </a:cubicBezTo>
                <a:cubicBezTo>
                  <a:pt x="647" y="449"/>
                  <a:pt x="647" y="449"/>
                  <a:pt x="647" y="449"/>
                </a:cubicBezTo>
                <a:cubicBezTo>
                  <a:pt x="647" y="450"/>
                  <a:pt x="647" y="450"/>
                  <a:pt x="647" y="450"/>
                </a:cubicBezTo>
                <a:cubicBezTo>
                  <a:pt x="646" y="451"/>
                  <a:pt x="646" y="451"/>
                  <a:pt x="646" y="451"/>
                </a:cubicBezTo>
                <a:cubicBezTo>
                  <a:pt x="646" y="454"/>
                  <a:pt x="646" y="454"/>
                  <a:pt x="646" y="454"/>
                </a:cubicBezTo>
                <a:cubicBezTo>
                  <a:pt x="645" y="454"/>
                  <a:pt x="645" y="454"/>
                  <a:pt x="645" y="454"/>
                </a:cubicBezTo>
                <a:cubicBezTo>
                  <a:pt x="644" y="456"/>
                  <a:pt x="644" y="456"/>
                  <a:pt x="644" y="456"/>
                </a:cubicBezTo>
                <a:cubicBezTo>
                  <a:pt x="644" y="456"/>
                  <a:pt x="644" y="456"/>
                  <a:pt x="644" y="456"/>
                </a:cubicBezTo>
                <a:cubicBezTo>
                  <a:pt x="642" y="456"/>
                  <a:pt x="642" y="456"/>
                  <a:pt x="642" y="456"/>
                </a:cubicBezTo>
                <a:cubicBezTo>
                  <a:pt x="642" y="458"/>
                  <a:pt x="642" y="458"/>
                  <a:pt x="642" y="458"/>
                </a:cubicBezTo>
                <a:cubicBezTo>
                  <a:pt x="642" y="458"/>
                  <a:pt x="642" y="458"/>
                  <a:pt x="642" y="458"/>
                </a:cubicBezTo>
                <a:close/>
                <a:moveTo>
                  <a:pt x="208" y="462"/>
                </a:moveTo>
                <a:cubicBezTo>
                  <a:pt x="206" y="461"/>
                  <a:pt x="206" y="461"/>
                  <a:pt x="206" y="461"/>
                </a:cubicBezTo>
                <a:cubicBezTo>
                  <a:pt x="199" y="462"/>
                  <a:pt x="199" y="462"/>
                  <a:pt x="199" y="462"/>
                </a:cubicBezTo>
                <a:cubicBezTo>
                  <a:pt x="208" y="462"/>
                  <a:pt x="208" y="462"/>
                  <a:pt x="208" y="462"/>
                </a:cubicBezTo>
                <a:close/>
                <a:moveTo>
                  <a:pt x="734" y="436"/>
                </a:moveTo>
                <a:cubicBezTo>
                  <a:pt x="735" y="436"/>
                  <a:pt x="735" y="436"/>
                  <a:pt x="735" y="436"/>
                </a:cubicBezTo>
                <a:cubicBezTo>
                  <a:pt x="736" y="435"/>
                  <a:pt x="736" y="435"/>
                  <a:pt x="736" y="435"/>
                </a:cubicBezTo>
                <a:cubicBezTo>
                  <a:pt x="736" y="434"/>
                  <a:pt x="736" y="434"/>
                  <a:pt x="736" y="434"/>
                </a:cubicBezTo>
                <a:cubicBezTo>
                  <a:pt x="735" y="434"/>
                  <a:pt x="735" y="434"/>
                  <a:pt x="735" y="434"/>
                </a:cubicBezTo>
                <a:cubicBezTo>
                  <a:pt x="734" y="436"/>
                  <a:pt x="734" y="436"/>
                  <a:pt x="734" y="436"/>
                </a:cubicBezTo>
                <a:close/>
                <a:moveTo>
                  <a:pt x="41" y="64"/>
                </a:moveTo>
                <a:cubicBezTo>
                  <a:pt x="40" y="62"/>
                  <a:pt x="40" y="62"/>
                  <a:pt x="40" y="62"/>
                </a:cubicBezTo>
                <a:cubicBezTo>
                  <a:pt x="40" y="60"/>
                  <a:pt x="40" y="60"/>
                  <a:pt x="40" y="60"/>
                </a:cubicBezTo>
                <a:cubicBezTo>
                  <a:pt x="39" y="60"/>
                  <a:pt x="39" y="60"/>
                  <a:pt x="39" y="60"/>
                </a:cubicBezTo>
                <a:cubicBezTo>
                  <a:pt x="39" y="59"/>
                  <a:pt x="39" y="59"/>
                  <a:pt x="39" y="59"/>
                </a:cubicBezTo>
                <a:cubicBezTo>
                  <a:pt x="38" y="58"/>
                  <a:pt x="38" y="58"/>
                  <a:pt x="38" y="58"/>
                </a:cubicBezTo>
                <a:cubicBezTo>
                  <a:pt x="39" y="57"/>
                  <a:pt x="39" y="57"/>
                  <a:pt x="39" y="57"/>
                </a:cubicBezTo>
                <a:cubicBezTo>
                  <a:pt x="40" y="56"/>
                  <a:pt x="40" y="56"/>
                  <a:pt x="40" y="56"/>
                </a:cubicBezTo>
                <a:cubicBezTo>
                  <a:pt x="42" y="55"/>
                  <a:pt x="42" y="55"/>
                  <a:pt x="42" y="55"/>
                </a:cubicBezTo>
                <a:cubicBezTo>
                  <a:pt x="43" y="55"/>
                  <a:pt x="43" y="55"/>
                  <a:pt x="43" y="55"/>
                </a:cubicBezTo>
                <a:cubicBezTo>
                  <a:pt x="44" y="55"/>
                  <a:pt x="44" y="55"/>
                  <a:pt x="44" y="55"/>
                </a:cubicBezTo>
                <a:cubicBezTo>
                  <a:pt x="44" y="56"/>
                  <a:pt x="44" y="56"/>
                  <a:pt x="44" y="56"/>
                </a:cubicBezTo>
                <a:cubicBezTo>
                  <a:pt x="46" y="57"/>
                  <a:pt x="46" y="57"/>
                  <a:pt x="46" y="57"/>
                </a:cubicBezTo>
                <a:cubicBezTo>
                  <a:pt x="47" y="57"/>
                  <a:pt x="47" y="57"/>
                  <a:pt x="47" y="57"/>
                </a:cubicBezTo>
                <a:cubicBezTo>
                  <a:pt x="47" y="56"/>
                  <a:pt x="47" y="56"/>
                  <a:pt x="47" y="56"/>
                </a:cubicBezTo>
                <a:cubicBezTo>
                  <a:pt x="48" y="56"/>
                  <a:pt x="48" y="56"/>
                  <a:pt x="48" y="56"/>
                </a:cubicBezTo>
                <a:cubicBezTo>
                  <a:pt x="47" y="55"/>
                  <a:pt x="47" y="55"/>
                  <a:pt x="47" y="55"/>
                </a:cubicBezTo>
                <a:cubicBezTo>
                  <a:pt x="46" y="55"/>
                  <a:pt x="46" y="55"/>
                  <a:pt x="46" y="55"/>
                </a:cubicBezTo>
                <a:cubicBezTo>
                  <a:pt x="43" y="53"/>
                  <a:pt x="43" y="53"/>
                  <a:pt x="43" y="53"/>
                </a:cubicBezTo>
                <a:cubicBezTo>
                  <a:pt x="40" y="52"/>
                  <a:pt x="40" y="52"/>
                  <a:pt x="40" y="52"/>
                </a:cubicBezTo>
                <a:cubicBezTo>
                  <a:pt x="38" y="53"/>
                  <a:pt x="38" y="53"/>
                  <a:pt x="38" y="53"/>
                </a:cubicBezTo>
                <a:cubicBezTo>
                  <a:pt x="36" y="55"/>
                  <a:pt x="36" y="55"/>
                  <a:pt x="36" y="55"/>
                </a:cubicBezTo>
                <a:cubicBezTo>
                  <a:pt x="35" y="56"/>
                  <a:pt x="35" y="56"/>
                  <a:pt x="35" y="56"/>
                </a:cubicBezTo>
                <a:cubicBezTo>
                  <a:pt x="33" y="57"/>
                  <a:pt x="33" y="57"/>
                  <a:pt x="33" y="57"/>
                </a:cubicBezTo>
                <a:cubicBezTo>
                  <a:pt x="32" y="58"/>
                  <a:pt x="32" y="58"/>
                  <a:pt x="32" y="58"/>
                </a:cubicBezTo>
                <a:cubicBezTo>
                  <a:pt x="32" y="61"/>
                  <a:pt x="32" y="61"/>
                  <a:pt x="32" y="61"/>
                </a:cubicBezTo>
                <a:cubicBezTo>
                  <a:pt x="33" y="62"/>
                  <a:pt x="33" y="62"/>
                  <a:pt x="33" y="62"/>
                </a:cubicBezTo>
                <a:cubicBezTo>
                  <a:pt x="34" y="61"/>
                  <a:pt x="34" y="61"/>
                  <a:pt x="34" y="61"/>
                </a:cubicBezTo>
                <a:cubicBezTo>
                  <a:pt x="36" y="62"/>
                  <a:pt x="36" y="62"/>
                  <a:pt x="36" y="62"/>
                </a:cubicBezTo>
                <a:cubicBezTo>
                  <a:pt x="36" y="63"/>
                  <a:pt x="36" y="63"/>
                  <a:pt x="36" y="63"/>
                </a:cubicBezTo>
                <a:cubicBezTo>
                  <a:pt x="37" y="63"/>
                  <a:pt x="37" y="63"/>
                  <a:pt x="37" y="63"/>
                </a:cubicBezTo>
                <a:cubicBezTo>
                  <a:pt x="37" y="62"/>
                  <a:pt x="37" y="62"/>
                  <a:pt x="37" y="62"/>
                </a:cubicBezTo>
                <a:cubicBezTo>
                  <a:pt x="37" y="62"/>
                  <a:pt x="37" y="62"/>
                  <a:pt x="37" y="62"/>
                </a:cubicBezTo>
                <a:cubicBezTo>
                  <a:pt x="38" y="61"/>
                  <a:pt x="38" y="61"/>
                  <a:pt x="38" y="61"/>
                </a:cubicBezTo>
                <a:cubicBezTo>
                  <a:pt x="39" y="62"/>
                  <a:pt x="39" y="62"/>
                  <a:pt x="39" y="62"/>
                </a:cubicBezTo>
                <a:cubicBezTo>
                  <a:pt x="40" y="64"/>
                  <a:pt x="40" y="64"/>
                  <a:pt x="40" y="64"/>
                </a:cubicBezTo>
                <a:cubicBezTo>
                  <a:pt x="41" y="64"/>
                  <a:pt x="41" y="64"/>
                  <a:pt x="41" y="64"/>
                </a:cubicBezTo>
                <a:cubicBezTo>
                  <a:pt x="41" y="64"/>
                  <a:pt x="41" y="64"/>
                  <a:pt x="41" y="64"/>
                </a:cubicBezTo>
                <a:close/>
                <a:moveTo>
                  <a:pt x="51" y="45"/>
                </a:moveTo>
                <a:cubicBezTo>
                  <a:pt x="51" y="44"/>
                  <a:pt x="51" y="44"/>
                  <a:pt x="51" y="44"/>
                </a:cubicBezTo>
                <a:cubicBezTo>
                  <a:pt x="52" y="43"/>
                  <a:pt x="52" y="43"/>
                  <a:pt x="52" y="43"/>
                </a:cubicBezTo>
                <a:cubicBezTo>
                  <a:pt x="52" y="43"/>
                  <a:pt x="52" y="43"/>
                  <a:pt x="52" y="43"/>
                </a:cubicBezTo>
                <a:cubicBezTo>
                  <a:pt x="53" y="44"/>
                  <a:pt x="53" y="44"/>
                  <a:pt x="53" y="44"/>
                </a:cubicBezTo>
                <a:cubicBezTo>
                  <a:pt x="53" y="45"/>
                  <a:pt x="53" y="45"/>
                  <a:pt x="53" y="45"/>
                </a:cubicBezTo>
                <a:cubicBezTo>
                  <a:pt x="53" y="45"/>
                  <a:pt x="53" y="45"/>
                  <a:pt x="53" y="45"/>
                </a:cubicBezTo>
                <a:cubicBezTo>
                  <a:pt x="51" y="45"/>
                  <a:pt x="51" y="45"/>
                  <a:pt x="51" y="45"/>
                </a:cubicBezTo>
                <a:cubicBezTo>
                  <a:pt x="51" y="45"/>
                  <a:pt x="51" y="45"/>
                  <a:pt x="51" y="45"/>
                </a:cubicBezTo>
                <a:close/>
                <a:moveTo>
                  <a:pt x="48" y="70"/>
                </a:moveTo>
                <a:cubicBezTo>
                  <a:pt x="49" y="70"/>
                  <a:pt x="49" y="70"/>
                  <a:pt x="49" y="70"/>
                </a:cubicBezTo>
                <a:cubicBezTo>
                  <a:pt x="49" y="70"/>
                  <a:pt x="49" y="70"/>
                  <a:pt x="49" y="70"/>
                </a:cubicBezTo>
                <a:cubicBezTo>
                  <a:pt x="50" y="69"/>
                  <a:pt x="50" y="69"/>
                  <a:pt x="50" y="69"/>
                </a:cubicBezTo>
                <a:cubicBezTo>
                  <a:pt x="50" y="68"/>
                  <a:pt x="50" y="68"/>
                  <a:pt x="50" y="68"/>
                </a:cubicBezTo>
                <a:cubicBezTo>
                  <a:pt x="50" y="67"/>
                  <a:pt x="50" y="67"/>
                  <a:pt x="50" y="67"/>
                </a:cubicBezTo>
                <a:cubicBezTo>
                  <a:pt x="51" y="68"/>
                  <a:pt x="51" y="68"/>
                  <a:pt x="51" y="68"/>
                </a:cubicBezTo>
                <a:cubicBezTo>
                  <a:pt x="52" y="67"/>
                  <a:pt x="52" y="67"/>
                  <a:pt x="52" y="67"/>
                </a:cubicBezTo>
                <a:cubicBezTo>
                  <a:pt x="52" y="65"/>
                  <a:pt x="52" y="65"/>
                  <a:pt x="52" y="65"/>
                </a:cubicBezTo>
                <a:cubicBezTo>
                  <a:pt x="52" y="64"/>
                  <a:pt x="52" y="64"/>
                  <a:pt x="52" y="64"/>
                </a:cubicBezTo>
                <a:cubicBezTo>
                  <a:pt x="51" y="63"/>
                  <a:pt x="51" y="63"/>
                  <a:pt x="51" y="63"/>
                </a:cubicBezTo>
                <a:cubicBezTo>
                  <a:pt x="50" y="62"/>
                  <a:pt x="50" y="62"/>
                  <a:pt x="50" y="62"/>
                </a:cubicBezTo>
                <a:cubicBezTo>
                  <a:pt x="52" y="62"/>
                  <a:pt x="52" y="62"/>
                  <a:pt x="52" y="62"/>
                </a:cubicBezTo>
                <a:cubicBezTo>
                  <a:pt x="53" y="62"/>
                  <a:pt x="53" y="62"/>
                  <a:pt x="53" y="62"/>
                </a:cubicBezTo>
                <a:cubicBezTo>
                  <a:pt x="55" y="61"/>
                  <a:pt x="55" y="61"/>
                  <a:pt x="55" y="61"/>
                </a:cubicBezTo>
                <a:cubicBezTo>
                  <a:pt x="55" y="61"/>
                  <a:pt x="55" y="61"/>
                  <a:pt x="55" y="61"/>
                </a:cubicBezTo>
                <a:cubicBezTo>
                  <a:pt x="55" y="61"/>
                  <a:pt x="55" y="61"/>
                  <a:pt x="55" y="61"/>
                </a:cubicBezTo>
                <a:cubicBezTo>
                  <a:pt x="55" y="60"/>
                  <a:pt x="55" y="60"/>
                  <a:pt x="55" y="60"/>
                </a:cubicBezTo>
                <a:cubicBezTo>
                  <a:pt x="54" y="59"/>
                  <a:pt x="54" y="59"/>
                  <a:pt x="54" y="59"/>
                </a:cubicBezTo>
                <a:cubicBezTo>
                  <a:pt x="54" y="59"/>
                  <a:pt x="54" y="59"/>
                  <a:pt x="54" y="59"/>
                </a:cubicBezTo>
                <a:cubicBezTo>
                  <a:pt x="53" y="59"/>
                  <a:pt x="53" y="59"/>
                  <a:pt x="53" y="59"/>
                </a:cubicBezTo>
                <a:cubicBezTo>
                  <a:pt x="53" y="58"/>
                  <a:pt x="53" y="58"/>
                  <a:pt x="53" y="58"/>
                </a:cubicBezTo>
                <a:cubicBezTo>
                  <a:pt x="54" y="57"/>
                  <a:pt x="54" y="57"/>
                  <a:pt x="54" y="57"/>
                </a:cubicBezTo>
                <a:cubicBezTo>
                  <a:pt x="55" y="57"/>
                  <a:pt x="55" y="57"/>
                  <a:pt x="55" y="57"/>
                </a:cubicBezTo>
                <a:cubicBezTo>
                  <a:pt x="55" y="58"/>
                  <a:pt x="55" y="58"/>
                  <a:pt x="55" y="58"/>
                </a:cubicBezTo>
                <a:cubicBezTo>
                  <a:pt x="56" y="58"/>
                  <a:pt x="56" y="58"/>
                  <a:pt x="56" y="58"/>
                </a:cubicBezTo>
                <a:cubicBezTo>
                  <a:pt x="56" y="58"/>
                  <a:pt x="56" y="58"/>
                  <a:pt x="56" y="58"/>
                </a:cubicBezTo>
                <a:cubicBezTo>
                  <a:pt x="57" y="56"/>
                  <a:pt x="57" y="56"/>
                  <a:pt x="57" y="56"/>
                </a:cubicBezTo>
                <a:cubicBezTo>
                  <a:pt x="58" y="56"/>
                  <a:pt x="58" y="56"/>
                  <a:pt x="58" y="56"/>
                </a:cubicBezTo>
                <a:cubicBezTo>
                  <a:pt x="58" y="55"/>
                  <a:pt x="58" y="55"/>
                  <a:pt x="58" y="55"/>
                </a:cubicBezTo>
                <a:cubicBezTo>
                  <a:pt x="58" y="54"/>
                  <a:pt x="58" y="54"/>
                  <a:pt x="58" y="54"/>
                </a:cubicBezTo>
                <a:cubicBezTo>
                  <a:pt x="58" y="54"/>
                  <a:pt x="58" y="54"/>
                  <a:pt x="58" y="54"/>
                </a:cubicBezTo>
                <a:cubicBezTo>
                  <a:pt x="56" y="53"/>
                  <a:pt x="56" y="53"/>
                  <a:pt x="56" y="53"/>
                </a:cubicBezTo>
                <a:cubicBezTo>
                  <a:pt x="56" y="52"/>
                  <a:pt x="56" y="52"/>
                  <a:pt x="56" y="52"/>
                </a:cubicBezTo>
                <a:cubicBezTo>
                  <a:pt x="56" y="51"/>
                  <a:pt x="56" y="51"/>
                  <a:pt x="56" y="51"/>
                </a:cubicBezTo>
                <a:cubicBezTo>
                  <a:pt x="54" y="52"/>
                  <a:pt x="54" y="52"/>
                  <a:pt x="54" y="52"/>
                </a:cubicBezTo>
                <a:cubicBezTo>
                  <a:pt x="53" y="53"/>
                  <a:pt x="53" y="53"/>
                  <a:pt x="53" y="53"/>
                </a:cubicBezTo>
                <a:cubicBezTo>
                  <a:pt x="53" y="54"/>
                  <a:pt x="53" y="54"/>
                  <a:pt x="53" y="54"/>
                </a:cubicBezTo>
                <a:cubicBezTo>
                  <a:pt x="53" y="53"/>
                  <a:pt x="53" y="53"/>
                  <a:pt x="53" y="53"/>
                </a:cubicBezTo>
                <a:cubicBezTo>
                  <a:pt x="53" y="52"/>
                  <a:pt x="53" y="52"/>
                  <a:pt x="53" y="52"/>
                </a:cubicBezTo>
                <a:cubicBezTo>
                  <a:pt x="54" y="51"/>
                  <a:pt x="54" y="51"/>
                  <a:pt x="54" y="51"/>
                </a:cubicBezTo>
                <a:cubicBezTo>
                  <a:pt x="54" y="50"/>
                  <a:pt x="54" y="50"/>
                  <a:pt x="54" y="50"/>
                </a:cubicBezTo>
                <a:cubicBezTo>
                  <a:pt x="55" y="48"/>
                  <a:pt x="55" y="48"/>
                  <a:pt x="55" y="48"/>
                </a:cubicBezTo>
                <a:cubicBezTo>
                  <a:pt x="54" y="48"/>
                  <a:pt x="54" y="48"/>
                  <a:pt x="54" y="48"/>
                </a:cubicBezTo>
                <a:cubicBezTo>
                  <a:pt x="53" y="49"/>
                  <a:pt x="53" y="49"/>
                  <a:pt x="53" y="49"/>
                </a:cubicBezTo>
                <a:cubicBezTo>
                  <a:pt x="52" y="51"/>
                  <a:pt x="52" y="51"/>
                  <a:pt x="52" y="51"/>
                </a:cubicBezTo>
                <a:cubicBezTo>
                  <a:pt x="52" y="51"/>
                  <a:pt x="52" y="51"/>
                  <a:pt x="52" y="51"/>
                </a:cubicBezTo>
                <a:cubicBezTo>
                  <a:pt x="52" y="51"/>
                  <a:pt x="52" y="51"/>
                  <a:pt x="52" y="51"/>
                </a:cubicBezTo>
                <a:cubicBezTo>
                  <a:pt x="52" y="49"/>
                  <a:pt x="52" y="49"/>
                  <a:pt x="52" y="49"/>
                </a:cubicBezTo>
                <a:cubicBezTo>
                  <a:pt x="52" y="49"/>
                  <a:pt x="52" y="49"/>
                  <a:pt x="52" y="49"/>
                </a:cubicBezTo>
                <a:cubicBezTo>
                  <a:pt x="51" y="49"/>
                  <a:pt x="51" y="49"/>
                  <a:pt x="51" y="49"/>
                </a:cubicBezTo>
                <a:cubicBezTo>
                  <a:pt x="51" y="51"/>
                  <a:pt x="51" y="51"/>
                  <a:pt x="51" y="51"/>
                </a:cubicBezTo>
                <a:cubicBezTo>
                  <a:pt x="50" y="51"/>
                  <a:pt x="50" y="51"/>
                  <a:pt x="50" y="51"/>
                </a:cubicBezTo>
                <a:cubicBezTo>
                  <a:pt x="50" y="52"/>
                  <a:pt x="50" y="52"/>
                  <a:pt x="50" y="52"/>
                </a:cubicBezTo>
                <a:cubicBezTo>
                  <a:pt x="50" y="53"/>
                  <a:pt x="50" y="53"/>
                  <a:pt x="50" y="53"/>
                </a:cubicBezTo>
                <a:cubicBezTo>
                  <a:pt x="51" y="52"/>
                  <a:pt x="51" y="52"/>
                  <a:pt x="51" y="52"/>
                </a:cubicBezTo>
                <a:cubicBezTo>
                  <a:pt x="52" y="53"/>
                  <a:pt x="52" y="53"/>
                  <a:pt x="52" y="53"/>
                </a:cubicBezTo>
                <a:cubicBezTo>
                  <a:pt x="52" y="53"/>
                  <a:pt x="52" y="53"/>
                  <a:pt x="52" y="53"/>
                </a:cubicBezTo>
                <a:cubicBezTo>
                  <a:pt x="51" y="54"/>
                  <a:pt x="51" y="54"/>
                  <a:pt x="51" y="54"/>
                </a:cubicBezTo>
                <a:cubicBezTo>
                  <a:pt x="50" y="55"/>
                  <a:pt x="50" y="55"/>
                  <a:pt x="50" y="55"/>
                </a:cubicBezTo>
                <a:cubicBezTo>
                  <a:pt x="50" y="56"/>
                  <a:pt x="50" y="56"/>
                  <a:pt x="50" y="56"/>
                </a:cubicBezTo>
                <a:cubicBezTo>
                  <a:pt x="49" y="57"/>
                  <a:pt x="49" y="57"/>
                  <a:pt x="49" y="57"/>
                </a:cubicBezTo>
                <a:cubicBezTo>
                  <a:pt x="49" y="57"/>
                  <a:pt x="49" y="57"/>
                  <a:pt x="49" y="57"/>
                </a:cubicBezTo>
                <a:cubicBezTo>
                  <a:pt x="48" y="58"/>
                  <a:pt x="48" y="58"/>
                  <a:pt x="48" y="58"/>
                </a:cubicBezTo>
                <a:cubicBezTo>
                  <a:pt x="47" y="59"/>
                  <a:pt x="47" y="59"/>
                  <a:pt x="47" y="59"/>
                </a:cubicBezTo>
                <a:cubicBezTo>
                  <a:pt x="45" y="58"/>
                  <a:pt x="45" y="58"/>
                  <a:pt x="45" y="58"/>
                </a:cubicBezTo>
                <a:cubicBezTo>
                  <a:pt x="44" y="59"/>
                  <a:pt x="44" y="59"/>
                  <a:pt x="44" y="59"/>
                </a:cubicBezTo>
                <a:cubicBezTo>
                  <a:pt x="43" y="58"/>
                  <a:pt x="43" y="58"/>
                  <a:pt x="43" y="58"/>
                </a:cubicBezTo>
                <a:cubicBezTo>
                  <a:pt x="42" y="57"/>
                  <a:pt x="42" y="57"/>
                  <a:pt x="42" y="57"/>
                </a:cubicBezTo>
                <a:cubicBezTo>
                  <a:pt x="42" y="58"/>
                  <a:pt x="42" y="58"/>
                  <a:pt x="42" y="58"/>
                </a:cubicBezTo>
                <a:cubicBezTo>
                  <a:pt x="42" y="59"/>
                  <a:pt x="42" y="59"/>
                  <a:pt x="42" y="59"/>
                </a:cubicBezTo>
                <a:cubicBezTo>
                  <a:pt x="42" y="59"/>
                  <a:pt x="42" y="59"/>
                  <a:pt x="42" y="59"/>
                </a:cubicBezTo>
                <a:cubicBezTo>
                  <a:pt x="41" y="60"/>
                  <a:pt x="41" y="60"/>
                  <a:pt x="41" y="60"/>
                </a:cubicBezTo>
                <a:cubicBezTo>
                  <a:pt x="42" y="61"/>
                  <a:pt x="42" y="61"/>
                  <a:pt x="42" y="61"/>
                </a:cubicBezTo>
                <a:cubicBezTo>
                  <a:pt x="43" y="60"/>
                  <a:pt x="43" y="60"/>
                  <a:pt x="43" y="60"/>
                </a:cubicBezTo>
                <a:cubicBezTo>
                  <a:pt x="44" y="60"/>
                  <a:pt x="44" y="60"/>
                  <a:pt x="44" y="60"/>
                </a:cubicBezTo>
                <a:cubicBezTo>
                  <a:pt x="45" y="62"/>
                  <a:pt x="45" y="62"/>
                  <a:pt x="45" y="62"/>
                </a:cubicBezTo>
                <a:cubicBezTo>
                  <a:pt x="46" y="62"/>
                  <a:pt x="46" y="62"/>
                  <a:pt x="46" y="62"/>
                </a:cubicBezTo>
                <a:cubicBezTo>
                  <a:pt x="46" y="63"/>
                  <a:pt x="46" y="63"/>
                  <a:pt x="46" y="63"/>
                </a:cubicBezTo>
                <a:cubicBezTo>
                  <a:pt x="45" y="63"/>
                  <a:pt x="45" y="63"/>
                  <a:pt x="45" y="63"/>
                </a:cubicBezTo>
                <a:cubicBezTo>
                  <a:pt x="44" y="63"/>
                  <a:pt x="44" y="63"/>
                  <a:pt x="44" y="63"/>
                </a:cubicBezTo>
                <a:cubicBezTo>
                  <a:pt x="43" y="64"/>
                  <a:pt x="43" y="64"/>
                  <a:pt x="43" y="64"/>
                </a:cubicBezTo>
                <a:cubicBezTo>
                  <a:pt x="43" y="67"/>
                  <a:pt x="43" y="67"/>
                  <a:pt x="43" y="67"/>
                </a:cubicBezTo>
                <a:cubicBezTo>
                  <a:pt x="44" y="68"/>
                  <a:pt x="44" y="68"/>
                  <a:pt x="44" y="68"/>
                </a:cubicBezTo>
                <a:cubicBezTo>
                  <a:pt x="44" y="69"/>
                  <a:pt x="44" y="69"/>
                  <a:pt x="44" y="69"/>
                </a:cubicBezTo>
                <a:cubicBezTo>
                  <a:pt x="44" y="69"/>
                  <a:pt x="44" y="69"/>
                  <a:pt x="44" y="69"/>
                </a:cubicBezTo>
                <a:cubicBezTo>
                  <a:pt x="45" y="69"/>
                  <a:pt x="45" y="69"/>
                  <a:pt x="45" y="69"/>
                </a:cubicBezTo>
                <a:cubicBezTo>
                  <a:pt x="46" y="69"/>
                  <a:pt x="46" y="69"/>
                  <a:pt x="46" y="69"/>
                </a:cubicBezTo>
                <a:cubicBezTo>
                  <a:pt x="46" y="68"/>
                  <a:pt x="46" y="68"/>
                  <a:pt x="46" y="68"/>
                </a:cubicBezTo>
                <a:cubicBezTo>
                  <a:pt x="46" y="67"/>
                  <a:pt x="46" y="67"/>
                  <a:pt x="46" y="67"/>
                </a:cubicBezTo>
                <a:cubicBezTo>
                  <a:pt x="47" y="67"/>
                  <a:pt x="47" y="67"/>
                  <a:pt x="47" y="67"/>
                </a:cubicBezTo>
                <a:cubicBezTo>
                  <a:pt x="48" y="68"/>
                  <a:pt x="48" y="68"/>
                  <a:pt x="48" y="68"/>
                </a:cubicBezTo>
                <a:cubicBezTo>
                  <a:pt x="48" y="70"/>
                  <a:pt x="48" y="70"/>
                  <a:pt x="48" y="70"/>
                </a:cubicBezTo>
                <a:close/>
                <a:moveTo>
                  <a:pt x="56" y="68"/>
                </a:moveTo>
                <a:cubicBezTo>
                  <a:pt x="57" y="67"/>
                  <a:pt x="57" y="67"/>
                  <a:pt x="57" y="67"/>
                </a:cubicBezTo>
                <a:cubicBezTo>
                  <a:pt x="57" y="66"/>
                  <a:pt x="57" y="66"/>
                  <a:pt x="57" y="66"/>
                </a:cubicBezTo>
                <a:cubicBezTo>
                  <a:pt x="57" y="65"/>
                  <a:pt x="57" y="65"/>
                  <a:pt x="57" y="65"/>
                </a:cubicBezTo>
                <a:cubicBezTo>
                  <a:pt x="56" y="64"/>
                  <a:pt x="56" y="64"/>
                  <a:pt x="56" y="64"/>
                </a:cubicBezTo>
                <a:cubicBezTo>
                  <a:pt x="55" y="64"/>
                  <a:pt x="55" y="64"/>
                  <a:pt x="55" y="64"/>
                </a:cubicBezTo>
                <a:cubicBezTo>
                  <a:pt x="54" y="65"/>
                  <a:pt x="54" y="65"/>
                  <a:pt x="54" y="65"/>
                </a:cubicBezTo>
                <a:cubicBezTo>
                  <a:pt x="54" y="66"/>
                  <a:pt x="54" y="66"/>
                  <a:pt x="54" y="66"/>
                </a:cubicBezTo>
                <a:cubicBezTo>
                  <a:pt x="55" y="67"/>
                  <a:pt x="55" y="67"/>
                  <a:pt x="55" y="67"/>
                </a:cubicBezTo>
                <a:cubicBezTo>
                  <a:pt x="56" y="68"/>
                  <a:pt x="56" y="68"/>
                  <a:pt x="56" y="68"/>
                </a:cubicBezTo>
                <a:close/>
                <a:moveTo>
                  <a:pt x="58" y="71"/>
                </a:moveTo>
                <a:cubicBezTo>
                  <a:pt x="58" y="71"/>
                  <a:pt x="59" y="71"/>
                  <a:pt x="59" y="71"/>
                </a:cubicBezTo>
                <a:cubicBezTo>
                  <a:pt x="60" y="70"/>
                  <a:pt x="60" y="70"/>
                  <a:pt x="60" y="70"/>
                </a:cubicBezTo>
                <a:cubicBezTo>
                  <a:pt x="62" y="71"/>
                  <a:pt x="62" y="71"/>
                  <a:pt x="62" y="71"/>
                </a:cubicBezTo>
                <a:cubicBezTo>
                  <a:pt x="63" y="70"/>
                  <a:pt x="63" y="70"/>
                  <a:pt x="63" y="70"/>
                </a:cubicBezTo>
                <a:cubicBezTo>
                  <a:pt x="62" y="69"/>
                  <a:pt x="62" y="69"/>
                  <a:pt x="62" y="69"/>
                </a:cubicBezTo>
                <a:cubicBezTo>
                  <a:pt x="61" y="69"/>
                  <a:pt x="61" y="69"/>
                  <a:pt x="61" y="69"/>
                </a:cubicBezTo>
                <a:cubicBezTo>
                  <a:pt x="61" y="67"/>
                  <a:pt x="61" y="67"/>
                  <a:pt x="61" y="67"/>
                </a:cubicBezTo>
                <a:cubicBezTo>
                  <a:pt x="59" y="65"/>
                  <a:pt x="59" y="65"/>
                  <a:pt x="59" y="65"/>
                </a:cubicBezTo>
                <a:cubicBezTo>
                  <a:pt x="59" y="66"/>
                  <a:pt x="59" y="66"/>
                  <a:pt x="59" y="66"/>
                </a:cubicBezTo>
                <a:cubicBezTo>
                  <a:pt x="59" y="68"/>
                  <a:pt x="59" y="68"/>
                  <a:pt x="59" y="68"/>
                </a:cubicBezTo>
                <a:cubicBezTo>
                  <a:pt x="59" y="69"/>
                  <a:pt x="59" y="69"/>
                  <a:pt x="59" y="69"/>
                </a:cubicBezTo>
                <a:cubicBezTo>
                  <a:pt x="57" y="69"/>
                  <a:pt x="57" y="69"/>
                  <a:pt x="57" y="69"/>
                </a:cubicBezTo>
                <a:cubicBezTo>
                  <a:pt x="57" y="69"/>
                  <a:pt x="57" y="69"/>
                  <a:pt x="57" y="69"/>
                </a:cubicBezTo>
                <a:cubicBezTo>
                  <a:pt x="58" y="70"/>
                  <a:pt x="58" y="70"/>
                  <a:pt x="58" y="70"/>
                </a:cubicBezTo>
                <a:cubicBezTo>
                  <a:pt x="58" y="71"/>
                  <a:pt x="58" y="71"/>
                  <a:pt x="58" y="71"/>
                </a:cubicBezTo>
                <a:close/>
                <a:moveTo>
                  <a:pt x="74" y="27"/>
                </a:moveTo>
                <a:cubicBezTo>
                  <a:pt x="76" y="26"/>
                  <a:pt x="76" y="26"/>
                  <a:pt x="76" y="26"/>
                </a:cubicBezTo>
                <a:cubicBezTo>
                  <a:pt x="77" y="26"/>
                  <a:pt x="77" y="26"/>
                  <a:pt x="77" y="26"/>
                </a:cubicBezTo>
                <a:cubicBezTo>
                  <a:pt x="77" y="25"/>
                  <a:pt x="77" y="25"/>
                  <a:pt x="77" y="25"/>
                </a:cubicBezTo>
                <a:cubicBezTo>
                  <a:pt x="78" y="25"/>
                  <a:pt x="78" y="25"/>
                  <a:pt x="78" y="25"/>
                </a:cubicBezTo>
                <a:cubicBezTo>
                  <a:pt x="77" y="24"/>
                  <a:pt x="77" y="24"/>
                  <a:pt x="77" y="24"/>
                </a:cubicBezTo>
                <a:cubicBezTo>
                  <a:pt x="77" y="23"/>
                  <a:pt x="77" y="23"/>
                  <a:pt x="77" y="23"/>
                </a:cubicBezTo>
                <a:cubicBezTo>
                  <a:pt x="76" y="22"/>
                  <a:pt x="76" y="22"/>
                  <a:pt x="76" y="22"/>
                </a:cubicBezTo>
                <a:cubicBezTo>
                  <a:pt x="75" y="23"/>
                  <a:pt x="75" y="23"/>
                  <a:pt x="75" y="23"/>
                </a:cubicBezTo>
                <a:cubicBezTo>
                  <a:pt x="74" y="23"/>
                  <a:pt x="74" y="23"/>
                  <a:pt x="74" y="23"/>
                </a:cubicBezTo>
                <a:cubicBezTo>
                  <a:pt x="73" y="24"/>
                  <a:pt x="73" y="24"/>
                  <a:pt x="73" y="24"/>
                </a:cubicBezTo>
                <a:cubicBezTo>
                  <a:pt x="73" y="24"/>
                  <a:pt x="73" y="24"/>
                  <a:pt x="73" y="24"/>
                </a:cubicBezTo>
                <a:cubicBezTo>
                  <a:pt x="73" y="25"/>
                  <a:pt x="73" y="25"/>
                  <a:pt x="73" y="25"/>
                </a:cubicBezTo>
                <a:cubicBezTo>
                  <a:pt x="74" y="26"/>
                  <a:pt x="74" y="26"/>
                  <a:pt x="74" y="26"/>
                </a:cubicBezTo>
                <a:cubicBezTo>
                  <a:pt x="74" y="26"/>
                  <a:pt x="74" y="27"/>
                  <a:pt x="74" y="27"/>
                </a:cubicBezTo>
                <a:close/>
                <a:moveTo>
                  <a:pt x="76" y="29"/>
                </a:moveTo>
                <a:cubicBezTo>
                  <a:pt x="76" y="28"/>
                  <a:pt x="76" y="28"/>
                  <a:pt x="76" y="28"/>
                </a:cubicBezTo>
                <a:cubicBezTo>
                  <a:pt x="76" y="28"/>
                  <a:pt x="76" y="28"/>
                  <a:pt x="76" y="28"/>
                </a:cubicBezTo>
                <a:cubicBezTo>
                  <a:pt x="76" y="28"/>
                  <a:pt x="76" y="28"/>
                  <a:pt x="76" y="28"/>
                </a:cubicBezTo>
                <a:cubicBezTo>
                  <a:pt x="76" y="29"/>
                  <a:pt x="76" y="29"/>
                  <a:pt x="76" y="29"/>
                </a:cubicBezTo>
                <a:close/>
                <a:moveTo>
                  <a:pt x="76" y="33"/>
                </a:moveTo>
                <a:cubicBezTo>
                  <a:pt x="77" y="32"/>
                  <a:pt x="77" y="32"/>
                  <a:pt x="77" y="32"/>
                </a:cubicBezTo>
                <a:cubicBezTo>
                  <a:pt x="77" y="31"/>
                  <a:pt x="77" y="31"/>
                  <a:pt x="77" y="31"/>
                </a:cubicBezTo>
                <a:cubicBezTo>
                  <a:pt x="78" y="31"/>
                  <a:pt x="78" y="31"/>
                  <a:pt x="78" y="31"/>
                </a:cubicBezTo>
                <a:cubicBezTo>
                  <a:pt x="77" y="30"/>
                  <a:pt x="77" y="30"/>
                  <a:pt x="77" y="30"/>
                </a:cubicBezTo>
                <a:cubicBezTo>
                  <a:pt x="77" y="31"/>
                  <a:pt x="77" y="31"/>
                  <a:pt x="77" y="31"/>
                </a:cubicBezTo>
                <a:cubicBezTo>
                  <a:pt x="75" y="31"/>
                  <a:pt x="75" y="31"/>
                  <a:pt x="75" y="31"/>
                </a:cubicBezTo>
                <a:cubicBezTo>
                  <a:pt x="75" y="30"/>
                  <a:pt x="75" y="30"/>
                  <a:pt x="75" y="30"/>
                </a:cubicBezTo>
                <a:cubicBezTo>
                  <a:pt x="74" y="30"/>
                  <a:pt x="74" y="30"/>
                  <a:pt x="74" y="30"/>
                </a:cubicBezTo>
                <a:cubicBezTo>
                  <a:pt x="73" y="30"/>
                  <a:pt x="73" y="30"/>
                  <a:pt x="73" y="30"/>
                </a:cubicBezTo>
                <a:cubicBezTo>
                  <a:pt x="71" y="31"/>
                  <a:pt x="71" y="31"/>
                  <a:pt x="71" y="31"/>
                </a:cubicBezTo>
                <a:cubicBezTo>
                  <a:pt x="71" y="32"/>
                  <a:pt x="71" y="32"/>
                  <a:pt x="71" y="32"/>
                </a:cubicBezTo>
                <a:cubicBezTo>
                  <a:pt x="72" y="33"/>
                  <a:pt x="72" y="33"/>
                  <a:pt x="72" y="33"/>
                </a:cubicBezTo>
                <a:cubicBezTo>
                  <a:pt x="73" y="33"/>
                  <a:pt x="73" y="33"/>
                  <a:pt x="73" y="33"/>
                </a:cubicBezTo>
                <a:cubicBezTo>
                  <a:pt x="74" y="33"/>
                  <a:pt x="74" y="33"/>
                  <a:pt x="74" y="33"/>
                </a:cubicBezTo>
                <a:cubicBezTo>
                  <a:pt x="75" y="33"/>
                  <a:pt x="75" y="33"/>
                  <a:pt x="75" y="33"/>
                </a:cubicBezTo>
                <a:cubicBezTo>
                  <a:pt x="75" y="34"/>
                  <a:pt x="75" y="34"/>
                  <a:pt x="75" y="34"/>
                </a:cubicBezTo>
                <a:cubicBezTo>
                  <a:pt x="76" y="33"/>
                  <a:pt x="76" y="33"/>
                  <a:pt x="76" y="33"/>
                </a:cubicBezTo>
                <a:close/>
                <a:moveTo>
                  <a:pt x="79" y="33"/>
                </a:moveTo>
                <a:cubicBezTo>
                  <a:pt x="79" y="32"/>
                  <a:pt x="79" y="32"/>
                  <a:pt x="79" y="32"/>
                </a:cubicBezTo>
                <a:cubicBezTo>
                  <a:pt x="79" y="31"/>
                  <a:pt x="79" y="31"/>
                  <a:pt x="79" y="31"/>
                </a:cubicBezTo>
                <a:cubicBezTo>
                  <a:pt x="80" y="31"/>
                  <a:pt x="80" y="31"/>
                  <a:pt x="80" y="31"/>
                </a:cubicBezTo>
                <a:cubicBezTo>
                  <a:pt x="81" y="31"/>
                  <a:pt x="81" y="31"/>
                  <a:pt x="81" y="31"/>
                </a:cubicBezTo>
                <a:cubicBezTo>
                  <a:pt x="81" y="32"/>
                  <a:pt x="81" y="32"/>
                  <a:pt x="81" y="32"/>
                </a:cubicBezTo>
                <a:cubicBezTo>
                  <a:pt x="81" y="33"/>
                  <a:pt x="81" y="33"/>
                  <a:pt x="81" y="33"/>
                </a:cubicBezTo>
                <a:cubicBezTo>
                  <a:pt x="80" y="33"/>
                  <a:pt x="80" y="33"/>
                  <a:pt x="80" y="33"/>
                </a:cubicBezTo>
                <a:cubicBezTo>
                  <a:pt x="79" y="33"/>
                  <a:pt x="79" y="33"/>
                  <a:pt x="79" y="33"/>
                </a:cubicBezTo>
                <a:close/>
                <a:moveTo>
                  <a:pt x="74" y="40"/>
                </a:moveTo>
                <a:cubicBezTo>
                  <a:pt x="75" y="38"/>
                  <a:pt x="75" y="38"/>
                  <a:pt x="75" y="38"/>
                </a:cubicBezTo>
                <a:cubicBezTo>
                  <a:pt x="76" y="36"/>
                  <a:pt x="76" y="36"/>
                  <a:pt x="76" y="36"/>
                </a:cubicBezTo>
                <a:cubicBezTo>
                  <a:pt x="77" y="35"/>
                  <a:pt x="77" y="35"/>
                  <a:pt x="77" y="35"/>
                </a:cubicBezTo>
                <a:cubicBezTo>
                  <a:pt x="77" y="35"/>
                  <a:pt x="77" y="35"/>
                  <a:pt x="77" y="35"/>
                </a:cubicBezTo>
                <a:cubicBezTo>
                  <a:pt x="76" y="34"/>
                  <a:pt x="76" y="34"/>
                  <a:pt x="76" y="34"/>
                </a:cubicBezTo>
                <a:cubicBezTo>
                  <a:pt x="75" y="35"/>
                  <a:pt x="75" y="35"/>
                  <a:pt x="75" y="35"/>
                </a:cubicBezTo>
                <a:cubicBezTo>
                  <a:pt x="73" y="35"/>
                  <a:pt x="73" y="35"/>
                  <a:pt x="73" y="35"/>
                </a:cubicBezTo>
                <a:cubicBezTo>
                  <a:pt x="72" y="34"/>
                  <a:pt x="72" y="34"/>
                  <a:pt x="72" y="34"/>
                </a:cubicBezTo>
                <a:cubicBezTo>
                  <a:pt x="71" y="35"/>
                  <a:pt x="71" y="35"/>
                  <a:pt x="71" y="35"/>
                </a:cubicBezTo>
                <a:cubicBezTo>
                  <a:pt x="71" y="36"/>
                  <a:pt x="71" y="36"/>
                  <a:pt x="71" y="36"/>
                </a:cubicBezTo>
                <a:cubicBezTo>
                  <a:pt x="71" y="37"/>
                  <a:pt x="71" y="37"/>
                  <a:pt x="71" y="37"/>
                </a:cubicBezTo>
                <a:cubicBezTo>
                  <a:pt x="72" y="37"/>
                  <a:pt x="72" y="37"/>
                  <a:pt x="72" y="37"/>
                </a:cubicBezTo>
                <a:cubicBezTo>
                  <a:pt x="73" y="38"/>
                  <a:pt x="73" y="38"/>
                  <a:pt x="73" y="38"/>
                </a:cubicBezTo>
                <a:cubicBezTo>
                  <a:pt x="73" y="39"/>
                  <a:pt x="73" y="39"/>
                  <a:pt x="73" y="39"/>
                </a:cubicBezTo>
                <a:cubicBezTo>
                  <a:pt x="72" y="39"/>
                  <a:pt x="72" y="39"/>
                  <a:pt x="72" y="39"/>
                </a:cubicBezTo>
                <a:cubicBezTo>
                  <a:pt x="69" y="40"/>
                  <a:pt x="69" y="40"/>
                  <a:pt x="69" y="40"/>
                </a:cubicBezTo>
                <a:cubicBezTo>
                  <a:pt x="69" y="40"/>
                  <a:pt x="69" y="40"/>
                  <a:pt x="69" y="40"/>
                </a:cubicBezTo>
                <a:cubicBezTo>
                  <a:pt x="70" y="41"/>
                  <a:pt x="70" y="41"/>
                  <a:pt x="70" y="41"/>
                </a:cubicBezTo>
                <a:cubicBezTo>
                  <a:pt x="71" y="41"/>
                  <a:pt x="71" y="41"/>
                  <a:pt x="71" y="41"/>
                </a:cubicBezTo>
                <a:cubicBezTo>
                  <a:pt x="72" y="40"/>
                  <a:pt x="72" y="40"/>
                  <a:pt x="72" y="40"/>
                </a:cubicBezTo>
                <a:cubicBezTo>
                  <a:pt x="72" y="40"/>
                  <a:pt x="74" y="40"/>
                  <a:pt x="74" y="40"/>
                </a:cubicBezTo>
                <a:close/>
                <a:moveTo>
                  <a:pt x="77" y="40"/>
                </a:moveTo>
                <a:cubicBezTo>
                  <a:pt x="76" y="40"/>
                  <a:pt x="76" y="40"/>
                  <a:pt x="76" y="40"/>
                </a:cubicBezTo>
                <a:cubicBezTo>
                  <a:pt x="76" y="40"/>
                  <a:pt x="76" y="40"/>
                  <a:pt x="76" y="40"/>
                </a:cubicBezTo>
                <a:cubicBezTo>
                  <a:pt x="75" y="40"/>
                  <a:pt x="75" y="40"/>
                  <a:pt x="75" y="40"/>
                </a:cubicBezTo>
                <a:cubicBezTo>
                  <a:pt x="75" y="39"/>
                  <a:pt x="75" y="39"/>
                  <a:pt x="75" y="39"/>
                </a:cubicBezTo>
                <a:cubicBezTo>
                  <a:pt x="77" y="38"/>
                  <a:pt x="77" y="38"/>
                  <a:pt x="77" y="38"/>
                </a:cubicBezTo>
                <a:cubicBezTo>
                  <a:pt x="77" y="37"/>
                  <a:pt x="77" y="37"/>
                  <a:pt x="77" y="37"/>
                </a:cubicBezTo>
                <a:cubicBezTo>
                  <a:pt x="78" y="38"/>
                  <a:pt x="78" y="38"/>
                  <a:pt x="78" y="38"/>
                </a:cubicBezTo>
                <a:cubicBezTo>
                  <a:pt x="78" y="39"/>
                  <a:pt x="78" y="39"/>
                  <a:pt x="78" y="39"/>
                </a:cubicBezTo>
                <a:cubicBezTo>
                  <a:pt x="77" y="40"/>
                  <a:pt x="77" y="40"/>
                  <a:pt x="77" y="40"/>
                </a:cubicBezTo>
                <a:close/>
                <a:moveTo>
                  <a:pt x="81" y="42"/>
                </a:moveTo>
                <a:cubicBezTo>
                  <a:pt x="79" y="41"/>
                  <a:pt x="79" y="41"/>
                  <a:pt x="79" y="41"/>
                </a:cubicBezTo>
                <a:cubicBezTo>
                  <a:pt x="79" y="40"/>
                  <a:pt x="79" y="40"/>
                  <a:pt x="79" y="40"/>
                </a:cubicBezTo>
                <a:cubicBezTo>
                  <a:pt x="79" y="39"/>
                  <a:pt x="79" y="39"/>
                  <a:pt x="79" y="39"/>
                </a:cubicBezTo>
                <a:cubicBezTo>
                  <a:pt x="80" y="39"/>
                  <a:pt x="80" y="39"/>
                  <a:pt x="80" y="39"/>
                </a:cubicBezTo>
                <a:cubicBezTo>
                  <a:pt x="80" y="40"/>
                  <a:pt x="80" y="40"/>
                  <a:pt x="80" y="40"/>
                </a:cubicBezTo>
                <a:cubicBezTo>
                  <a:pt x="82" y="40"/>
                  <a:pt x="82" y="40"/>
                  <a:pt x="82" y="40"/>
                </a:cubicBezTo>
                <a:cubicBezTo>
                  <a:pt x="82" y="41"/>
                  <a:pt x="82" y="41"/>
                  <a:pt x="82" y="41"/>
                </a:cubicBezTo>
                <a:cubicBezTo>
                  <a:pt x="82" y="42"/>
                  <a:pt x="82" y="42"/>
                  <a:pt x="82" y="42"/>
                </a:cubicBezTo>
                <a:cubicBezTo>
                  <a:pt x="81" y="42"/>
                  <a:pt x="81" y="42"/>
                  <a:pt x="81" y="42"/>
                </a:cubicBezTo>
                <a:close/>
                <a:moveTo>
                  <a:pt x="79" y="46"/>
                </a:moveTo>
                <a:cubicBezTo>
                  <a:pt x="78" y="45"/>
                  <a:pt x="78" y="45"/>
                  <a:pt x="78" y="45"/>
                </a:cubicBezTo>
                <a:cubicBezTo>
                  <a:pt x="76" y="43"/>
                  <a:pt x="76" y="43"/>
                  <a:pt x="76" y="43"/>
                </a:cubicBezTo>
                <a:cubicBezTo>
                  <a:pt x="74" y="42"/>
                  <a:pt x="74" y="42"/>
                  <a:pt x="74" y="42"/>
                </a:cubicBezTo>
                <a:cubicBezTo>
                  <a:pt x="73" y="42"/>
                  <a:pt x="73" y="42"/>
                  <a:pt x="73" y="42"/>
                </a:cubicBezTo>
                <a:cubicBezTo>
                  <a:pt x="72" y="42"/>
                  <a:pt x="72" y="42"/>
                  <a:pt x="72" y="42"/>
                </a:cubicBezTo>
                <a:cubicBezTo>
                  <a:pt x="72" y="41"/>
                  <a:pt x="72" y="41"/>
                  <a:pt x="72" y="41"/>
                </a:cubicBezTo>
                <a:cubicBezTo>
                  <a:pt x="74" y="41"/>
                  <a:pt x="74" y="41"/>
                  <a:pt x="74" y="41"/>
                </a:cubicBezTo>
                <a:cubicBezTo>
                  <a:pt x="75" y="41"/>
                  <a:pt x="75" y="41"/>
                  <a:pt x="75" y="41"/>
                </a:cubicBezTo>
                <a:cubicBezTo>
                  <a:pt x="77" y="42"/>
                  <a:pt x="77" y="42"/>
                  <a:pt x="77" y="42"/>
                </a:cubicBezTo>
                <a:cubicBezTo>
                  <a:pt x="79" y="43"/>
                  <a:pt x="79" y="43"/>
                  <a:pt x="79" y="43"/>
                </a:cubicBezTo>
                <a:cubicBezTo>
                  <a:pt x="80" y="43"/>
                  <a:pt x="80" y="43"/>
                  <a:pt x="80" y="43"/>
                </a:cubicBezTo>
                <a:cubicBezTo>
                  <a:pt x="81" y="43"/>
                  <a:pt x="81" y="43"/>
                  <a:pt x="81" y="43"/>
                </a:cubicBezTo>
                <a:cubicBezTo>
                  <a:pt x="81" y="43"/>
                  <a:pt x="81" y="43"/>
                  <a:pt x="81" y="43"/>
                </a:cubicBezTo>
                <a:cubicBezTo>
                  <a:pt x="81" y="44"/>
                  <a:pt x="81" y="44"/>
                  <a:pt x="81" y="44"/>
                </a:cubicBezTo>
                <a:cubicBezTo>
                  <a:pt x="80" y="46"/>
                  <a:pt x="80" y="46"/>
                  <a:pt x="80" y="46"/>
                </a:cubicBezTo>
                <a:cubicBezTo>
                  <a:pt x="79" y="46"/>
                  <a:pt x="79" y="46"/>
                  <a:pt x="79" y="46"/>
                </a:cubicBezTo>
                <a:close/>
                <a:moveTo>
                  <a:pt x="80" y="49"/>
                </a:moveTo>
                <a:cubicBezTo>
                  <a:pt x="81" y="48"/>
                  <a:pt x="81" y="48"/>
                  <a:pt x="81" y="48"/>
                </a:cubicBezTo>
                <a:cubicBezTo>
                  <a:pt x="80" y="46"/>
                  <a:pt x="80" y="46"/>
                  <a:pt x="80" y="46"/>
                </a:cubicBezTo>
                <a:cubicBezTo>
                  <a:pt x="79" y="46"/>
                  <a:pt x="79" y="46"/>
                  <a:pt x="79" y="46"/>
                </a:cubicBezTo>
                <a:cubicBezTo>
                  <a:pt x="77" y="46"/>
                  <a:pt x="77" y="46"/>
                  <a:pt x="77" y="46"/>
                </a:cubicBezTo>
                <a:cubicBezTo>
                  <a:pt x="75" y="44"/>
                  <a:pt x="75" y="44"/>
                  <a:pt x="75" y="44"/>
                </a:cubicBezTo>
                <a:cubicBezTo>
                  <a:pt x="74" y="44"/>
                  <a:pt x="74" y="44"/>
                  <a:pt x="74" y="44"/>
                </a:cubicBezTo>
                <a:cubicBezTo>
                  <a:pt x="73" y="44"/>
                  <a:pt x="73" y="44"/>
                  <a:pt x="73" y="44"/>
                </a:cubicBezTo>
                <a:cubicBezTo>
                  <a:pt x="72" y="44"/>
                  <a:pt x="72" y="44"/>
                  <a:pt x="72" y="44"/>
                </a:cubicBezTo>
                <a:cubicBezTo>
                  <a:pt x="71" y="43"/>
                  <a:pt x="71" y="43"/>
                  <a:pt x="71" y="43"/>
                </a:cubicBezTo>
                <a:cubicBezTo>
                  <a:pt x="68" y="43"/>
                  <a:pt x="68" y="43"/>
                  <a:pt x="68" y="43"/>
                </a:cubicBezTo>
                <a:cubicBezTo>
                  <a:pt x="66" y="43"/>
                  <a:pt x="66" y="43"/>
                  <a:pt x="66" y="43"/>
                </a:cubicBezTo>
                <a:cubicBezTo>
                  <a:pt x="67" y="45"/>
                  <a:pt x="67" y="45"/>
                  <a:pt x="67" y="45"/>
                </a:cubicBezTo>
                <a:cubicBezTo>
                  <a:pt x="67" y="45"/>
                  <a:pt x="67" y="45"/>
                  <a:pt x="67" y="45"/>
                </a:cubicBezTo>
                <a:cubicBezTo>
                  <a:pt x="67" y="46"/>
                  <a:pt x="67" y="46"/>
                  <a:pt x="67" y="46"/>
                </a:cubicBezTo>
                <a:cubicBezTo>
                  <a:pt x="69" y="46"/>
                  <a:pt x="69" y="46"/>
                  <a:pt x="69" y="46"/>
                </a:cubicBezTo>
                <a:cubicBezTo>
                  <a:pt x="70" y="45"/>
                  <a:pt x="70" y="45"/>
                  <a:pt x="70" y="45"/>
                </a:cubicBezTo>
                <a:cubicBezTo>
                  <a:pt x="70" y="45"/>
                  <a:pt x="70" y="45"/>
                  <a:pt x="70" y="45"/>
                </a:cubicBezTo>
                <a:cubicBezTo>
                  <a:pt x="71" y="46"/>
                  <a:pt x="71" y="46"/>
                  <a:pt x="71" y="46"/>
                </a:cubicBezTo>
                <a:cubicBezTo>
                  <a:pt x="72" y="47"/>
                  <a:pt x="72" y="47"/>
                  <a:pt x="72" y="47"/>
                </a:cubicBezTo>
                <a:cubicBezTo>
                  <a:pt x="73" y="47"/>
                  <a:pt x="73" y="47"/>
                  <a:pt x="73" y="47"/>
                </a:cubicBezTo>
                <a:cubicBezTo>
                  <a:pt x="73" y="47"/>
                  <a:pt x="73" y="47"/>
                  <a:pt x="73" y="47"/>
                </a:cubicBezTo>
                <a:cubicBezTo>
                  <a:pt x="74" y="48"/>
                  <a:pt x="74" y="48"/>
                  <a:pt x="74" y="48"/>
                </a:cubicBezTo>
                <a:cubicBezTo>
                  <a:pt x="75" y="49"/>
                  <a:pt x="75" y="49"/>
                  <a:pt x="75" y="49"/>
                </a:cubicBezTo>
                <a:cubicBezTo>
                  <a:pt x="77" y="48"/>
                  <a:pt x="77" y="48"/>
                  <a:pt x="77" y="48"/>
                </a:cubicBezTo>
                <a:cubicBezTo>
                  <a:pt x="78" y="49"/>
                  <a:pt x="78" y="49"/>
                  <a:pt x="78" y="49"/>
                </a:cubicBezTo>
                <a:cubicBezTo>
                  <a:pt x="80" y="50"/>
                  <a:pt x="80" y="50"/>
                  <a:pt x="80" y="50"/>
                </a:cubicBezTo>
                <a:cubicBezTo>
                  <a:pt x="80" y="49"/>
                  <a:pt x="80" y="49"/>
                  <a:pt x="80" y="49"/>
                </a:cubicBezTo>
                <a:close/>
                <a:moveTo>
                  <a:pt x="71" y="51"/>
                </a:moveTo>
                <a:cubicBezTo>
                  <a:pt x="71" y="51"/>
                  <a:pt x="70" y="51"/>
                  <a:pt x="70" y="51"/>
                </a:cubicBezTo>
                <a:cubicBezTo>
                  <a:pt x="70" y="51"/>
                  <a:pt x="70" y="51"/>
                  <a:pt x="70" y="51"/>
                </a:cubicBezTo>
                <a:cubicBezTo>
                  <a:pt x="68" y="51"/>
                  <a:pt x="68" y="51"/>
                  <a:pt x="68" y="51"/>
                </a:cubicBezTo>
                <a:cubicBezTo>
                  <a:pt x="67" y="50"/>
                  <a:pt x="67" y="50"/>
                  <a:pt x="67" y="50"/>
                </a:cubicBezTo>
                <a:cubicBezTo>
                  <a:pt x="67" y="49"/>
                  <a:pt x="67" y="49"/>
                  <a:pt x="67" y="49"/>
                </a:cubicBezTo>
                <a:cubicBezTo>
                  <a:pt x="68" y="49"/>
                  <a:pt x="68" y="49"/>
                  <a:pt x="68" y="49"/>
                </a:cubicBezTo>
                <a:cubicBezTo>
                  <a:pt x="69" y="48"/>
                  <a:pt x="69" y="48"/>
                  <a:pt x="69" y="48"/>
                </a:cubicBezTo>
                <a:cubicBezTo>
                  <a:pt x="71" y="48"/>
                  <a:pt x="71" y="48"/>
                  <a:pt x="71" y="48"/>
                </a:cubicBezTo>
                <a:cubicBezTo>
                  <a:pt x="71" y="48"/>
                  <a:pt x="71" y="48"/>
                  <a:pt x="71" y="48"/>
                </a:cubicBezTo>
                <a:cubicBezTo>
                  <a:pt x="72" y="49"/>
                  <a:pt x="72" y="49"/>
                  <a:pt x="72" y="49"/>
                </a:cubicBezTo>
                <a:cubicBezTo>
                  <a:pt x="73" y="49"/>
                  <a:pt x="73" y="49"/>
                  <a:pt x="73" y="49"/>
                </a:cubicBezTo>
                <a:cubicBezTo>
                  <a:pt x="73" y="49"/>
                  <a:pt x="73" y="49"/>
                  <a:pt x="73" y="49"/>
                </a:cubicBezTo>
                <a:cubicBezTo>
                  <a:pt x="74" y="49"/>
                  <a:pt x="74" y="49"/>
                  <a:pt x="74" y="49"/>
                </a:cubicBezTo>
                <a:cubicBezTo>
                  <a:pt x="74" y="50"/>
                  <a:pt x="74" y="50"/>
                  <a:pt x="74" y="50"/>
                </a:cubicBezTo>
                <a:cubicBezTo>
                  <a:pt x="74" y="50"/>
                  <a:pt x="74" y="50"/>
                  <a:pt x="74" y="50"/>
                </a:cubicBezTo>
                <a:cubicBezTo>
                  <a:pt x="71" y="51"/>
                  <a:pt x="71" y="51"/>
                  <a:pt x="71" y="51"/>
                </a:cubicBezTo>
                <a:close/>
                <a:moveTo>
                  <a:pt x="68" y="58"/>
                </a:moveTo>
                <a:cubicBezTo>
                  <a:pt x="68" y="57"/>
                  <a:pt x="68" y="57"/>
                  <a:pt x="68" y="57"/>
                </a:cubicBezTo>
                <a:cubicBezTo>
                  <a:pt x="68" y="55"/>
                  <a:pt x="68" y="55"/>
                  <a:pt x="68" y="55"/>
                </a:cubicBezTo>
                <a:cubicBezTo>
                  <a:pt x="67" y="55"/>
                  <a:pt x="67" y="55"/>
                  <a:pt x="67" y="55"/>
                </a:cubicBezTo>
                <a:cubicBezTo>
                  <a:pt x="67" y="57"/>
                  <a:pt x="67" y="57"/>
                  <a:pt x="67" y="57"/>
                </a:cubicBezTo>
                <a:cubicBezTo>
                  <a:pt x="66" y="57"/>
                  <a:pt x="66" y="57"/>
                  <a:pt x="66" y="57"/>
                </a:cubicBezTo>
                <a:cubicBezTo>
                  <a:pt x="67" y="58"/>
                  <a:pt x="67" y="58"/>
                  <a:pt x="67" y="58"/>
                </a:cubicBezTo>
                <a:cubicBezTo>
                  <a:pt x="68" y="59"/>
                  <a:pt x="68" y="59"/>
                  <a:pt x="68" y="59"/>
                </a:cubicBezTo>
                <a:cubicBezTo>
                  <a:pt x="68" y="58"/>
                  <a:pt x="68" y="58"/>
                  <a:pt x="68" y="58"/>
                </a:cubicBezTo>
                <a:close/>
                <a:moveTo>
                  <a:pt x="70" y="58"/>
                </a:moveTo>
                <a:cubicBezTo>
                  <a:pt x="70" y="58"/>
                  <a:pt x="70" y="58"/>
                  <a:pt x="70" y="58"/>
                </a:cubicBezTo>
                <a:cubicBezTo>
                  <a:pt x="71" y="57"/>
                  <a:pt x="71" y="57"/>
                  <a:pt x="71" y="57"/>
                </a:cubicBezTo>
                <a:cubicBezTo>
                  <a:pt x="70" y="56"/>
                  <a:pt x="70" y="56"/>
                  <a:pt x="70" y="56"/>
                </a:cubicBezTo>
                <a:cubicBezTo>
                  <a:pt x="69" y="55"/>
                  <a:pt x="69" y="55"/>
                  <a:pt x="69" y="55"/>
                </a:cubicBezTo>
                <a:cubicBezTo>
                  <a:pt x="68" y="55"/>
                  <a:pt x="68" y="55"/>
                  <a:pt x="68" y="55"/>
                </a:cubicBezTo>
                <a:cubicBezTo>
                  <a:pt x="68" y="56"/>
                  <a:pt x="68" y="56"/>
                  <a:pt x="68" y="56"/>
                </a:cubicBezTo>
                <a:cubicBezTo>
                  <a:pt x="70" y="58"/>
                  <a:pt x="70" y="58"/>
                  <a:pt x="70" y="58"/>
                </a:cubicBezTo>
                <a:close/>
                <a:moveTo>
                  <a:pt x="72" y="56"/>
                </a:moveTo>
                <a:cubicBezTo>
                  <a:pt x="72" y="56"/>
                  <a:pt x="73" y="57"/>
                  <a:pt x="73" y="57"/>
                </a:cubicBezTo>
                <a:cubicBezTo>
                  <a:pt x="73" y="56"/>
                  <a:pt x="73" y="56"/>
                  <a:pt x="73" y="56"/>
                </a:cubicBezTo>
                <a:cubicBezTo>
                  <a:pt x="73" y="55"/>
                  <a:pt x="73" y="55"/>
                  <a:pt x="73" y="55"/>
                </a:cubicBezTo>
                <a:cubicBezTo>
                  <a:pt x="72" y="55"/>
                  <a:pt x="72" y="55"/>
                  <a:pt x="72" y="55"/>
                </a:cubicBezTo>
                <a:cubicBezTo>
                  <a:pt x="71" y="55"/>
                  <a:pt x="71" y="55"/>
                  <a:pt x="71" y="55"/>
                </a:cubicBezTo>
                <a:cubicBezTo>
                  <a:pt x="72" y="56"/>
                  <a:pt x="72" y="56"/>
                  <a:pt x="72" y="56"/>
                </a:cubicBezTo>
                <a:close/>
                <a:moveTo>
                  <a:pt x="72" y="60"/>
                </a:moveTo>
                <a:cubicBezTo>
                  <a:pt x="72" y="59"/>
                  <a:pt x="72" y="59"/>
                  <a:pt x="72" y="59"/>
                </a:cubicBezTo>
                <a:cubicBezTo>
                  <a:pt x="73" y="58"/>
                  <a:pt x="73" y="58"/>
                  <a:pt x="73" y="58"/>
                </a:cubicBezTo>
                <a:cubicBezTo>
                  <a:pt x="72" y="57"/>
                  <a:pt x="72" y="57"/>
                  <a:pt x="72" y="57"/>
                </a:cubicBezTo>
                <a:cubicBezTo>
                  <a:pt x="71" y="57"/>
                  <a:pt x="71" y="57"/>
                  <a:pt x="71" y="57"/>
                </a:cubicBezTo>
                <a:cubicBezTo>
                  <a:pt x="71" y="57"/>
                  <a:pt x="71" y="57"/>
                  <a:pt x="71" y="57"/>
                </a:cubicBezTo>
                <a:cubicBezTo>
                  <a:pt x="71" y="58"/>
                  <a:pt x="71" y="58"/>
                  <a:pt x="71" y="58"/>
                </a:cubicBezTo>
                <a:cubicBezTo>
                  <a:pt x="71" y="59"/>
                  <a:pt x="71" y="59"/>
                  <a:pt x="71" y="59"/>
                </a:cubicBezTo>
                <a:cubicBezTo>
                  <a:pt x="72" y="60"/>
                  <a:pt x="72" y="60"/>
                  <a:pt x="72" y="60"/>
                </a:cubicBezTo>
                <a:close/>
                <a:moveTo>
                  <a:pt x="70" y="63"/>
                </a:moveTo>
                <a:cubicBezTo>
                  <a:pt x="70" y="62"/>
                  <a:pt x="70" y="62"/>
                  <a:pt x="70" y="62"/>
                </a:cubicBezTo>
                <a:cubicBezTo>
                  <a:pt x="69" y="62"/>
                  <a:pt x="69" y="62"/>
                  <a:pt x="69" y="62"/>
                </a:cubicBezTo>
                <a:cubicBezTo>
                  <a:pt x="68" y="61"/>
                  <a:pt x="68" y="61"/>
                  <a:pt x="68" y="61"/>
                </a:cubicBezTo>
                <a:cubicBezTo>
                  <a:pt x="67" y="61"/>
                  <a:pt x="67" y="61"/>
                  <a:pt x="67" y="61"/>
                </a:cubicBezTo>
                <a:cubicBezTo>
                  <a:pt x="66" y="61"/>
                  <a:pt x="66" y="61"/>
                  <a:pt x="66" y="61"/>
                </a:cubicBezTo>
                <a:cubicBezTo>
                  <a:pt x="67" y="62"/>
                  <a:pt x="67" y="62"/>
                  <a:pt x="67" y="62"/>
                </a:cubicBezTo>
                <a:cubicBezTo>
                  <a:pt x="67" y="63"/>
                  <a:pt x="67" y="63"/>
                  <a:pt x="67" y="63"/>
                </a:cubicBezTo>
                <a:cubicBezTo>
                  <a:pt x="66" y="64"/>
                  <a:pt x="66" y="64"/>
                  <a:pt x="66" y="64"/>
                </a:cubicBezTo>
                <a:cubicBezTo>
                  <a:pt x="66" y="65"/>
                  <a:pt x="66" y="65"/>
                  <a:pt x="66" y="65"/>
                </a:cubicBezTo>
                <a:cubicBezTo>
                  <a:pt x="68" y="65"/>
                  <a:pt x="68" y="65"/>
                  <a:pt x="68" y="65"/>
                </a:cubicBezTo>
                <a:cubicBezTo>
                  <a:pt x="70" y="64"/>
                  <a:pt x="70" y="64"/>
                  <a:pt x="70" y="64"/>
                </a:cubicBezTo>
                <a:cubicBezTo>
                  <a:pt x="70" y="63"/>
                  <a:pt x="70" y="63"/>
                  <a:pt x="70" y="63"/>
                </a:cubicBezTo>
                <a:close/>
                <a:moveTo>
                  <a:pt x="71" y="61"/>
                </a:moveTo>
                <a:cubicBezTo>
                  <a:pt x="71" y="62"/>
                  <a:pt x="71" y="62"/>
                  <a:pt x="71" y="62"/>
                </a:cubicBezTo>
                <a:cubicBezTo>
                  <a:pt x="72" y="63"/>
                  <a:pt x="72" y="63"/>
                  <a:pt x="72" y="63"/>
                </a:cubicBezTo>
                <a:cubicBezTo>
                  <a:pt x="72" y="63"/>
                  <a:pt x="72" y="63"/>
                  <a:pt x="72" y="63"/>
                </a:cubicBezTo>
                <a:cubicBezTo>
                  <a:pt x="72" y="62"/>
                  <a:pt x="72" y="62"/>
                  <a:pt x="72" y="62"/>
                </a:cubicBezTo>
                <a:cubicBezTo>
                  <a:pt x="72" y="61"/>
                  <a:pt x="72" y="61"/>
                  <a:pt x="72" y="61"/>
                </a:cubicBezTo>
                <a:cubicBezTo>
                  <a:pt x="71" y="61"/>
                  <a:pt x="71" y="61"/>
                  <a:pt x="71" y="61"/>
                </a:cubicBezTo>
                <a:close/>
                <a:moveTo>
                  <a:pt x="81" y="47"/>
                </a:moveTo>
                <a:cubicBezTo>
                  <a:pt x="81" y="46"/>
                  <a:pt x="81" y="46"/>
                  <a:pt x="81" y="46"/>
                </a:cubicBezTo>
                <a:cubicBezTo>
                  <a:pt x="82" y="45"/>
                  <a:pt x="82" y="45"/>
                  <a:pt x="82" y="45"/>
                </a:cubicBezTo>
                <a:cubicBezTo>
                  <a:pt x="82" y="44"/>
                  <a:pt x="82" y="44"/>
                  <a:pt x="82" y="44"/>
                </a:cubicBezTo>
                <a:cubicBezTo>
                  <a:pt x="83" y="43"/>
                  <a:pt x="83" y="43"/>
                  <a:pt x="83" y="43"/>
                </a:cubicBezTo>
                <a:cubicBezTo>
                  <a:pt x="83" y="43"/>
                  <a:pt x="83" y="43"/>
                  <a:pt x="83" y="43"/>
                </a:cubicBezTo>
                <a:cubicBezTo>
                  <a:pt x="84" y="45"/>
                  <a:pt x="84" y="45"/>
                  <a:pt x="84" y="45"/>
                </a:cubicBezTo>
                <a:cubicBezTo>
                  <a:pt x="84" y="45"/>
                  <a:pt x="84" y="45"/>
                  <a:pt x="84" y="45"/>
                </a:cubicBezTo>
                <a:cubicBezTo>
                  <a:pt x="84" y="46"/>
                  <a:pt x="84" y="46"/>
                  <a:pt x="84" y="46"/>
                </a:cubicBezTo>
                <a:cubicBezTo>
                  <a:pt x="83" y="47"/>
                  <a:pt x="83" y="47"/>
                  <a:pt x="83" y="47"/>
                </a:cubicBezTo>
                <a:cubicBezTo>
                  <a:pt x="83" y="47"/>
                  <a:pt x="83" y="47"/>
                  <a:pt x="83" y="47"/>
                </a:cubicBezTo>
                <a:cubicBezTo>
                  <a:pt x="82" y="47"/>
                  <a:pt x="82" y="47"/>
                  <a:pt x="82" y="47"/>
                </a:cubicBezTo>
                <a:cubicBezTo>
                  <a:pt x="81" y="47"/>
                  <a:pt x="81" y="47"/>
                  <a:pt x="81" y="47"/>
                </a:cubicBezTo>
                <a:close/>
                <a:moveTo>
                  <a:pt x="74" y="60"/>
                </a:moveTo>
                <a:cubicBezTo>
                  <a:pt x="74" y="61"/>
                  <a:pt x="74" y="61"/>
                  <a:pt x="74" y="61"/>
                </a:cubicBezTo>
                <a:cubicBezTo>
                  <a:pt x="75" y="61"/>
                  <a:pt x="75" y="61"/>
                  <a:pt x="75" y="61"/>
                </a:cubicBezTo>
                <a:cubicBezTo>
                  <a:pt x="76" y="61"/>
                  <a:pt x="76" y="61"/>
                  <a:pt x="76" y="61"/>
                </a:cubicBezTo>
                <a:cubicBezTo>
                  <a:pt x="77" y="61"/>
                  <a:pt x="77" y="61"/>
                  <a:pt x="77" y="61"/>
                </a:cubicBezTo>
                <a:cubicBezTo>
                  <a:pt x="76" y="60"/>
                  <a:pt x="76" y="60"/>
                  <a:pt x="76" y="60"/>
                </a:cubicBezTo>
                <a:cubicBezTo>
                  <a:pt x="76" y="59"/>
                  <a:pt x="76" y="59"/>
                  <a:pt x="76" y="59"/>
                </a:cubicBezTo>
                <a:cubicBezTo>
                  <a:pt x="75" y="59"/>
                  <a:pt x="75" y="59"/>
                  <a:pt x="75" y="59"/>
                </a:cubicBezTo>
                <a:cubicBezTo>
                  <a:pt x="74" y="60"/>
                  <a:pt x="74" y="60"/>
                  <a:pt x="74" y="60"/>
                </a:cubicBezTo>
                <a:cubicBezTo>
                  <a:pt x="74" y="60"/>
                  <a:pt x="74" y="60"/>
                  <a:pt x="74" y="60"/>
                </a:cubicBezTo>
                <a:close/>
                <a:moveTo>
                  <a:pt x="74" y="58"/>
                </a:moveTo>
                <a:cubicBezTo>
                  <a:pt x="75" y="58"/>
                  <a:pt x="75" y="58"/>
                  <a:pt x="75" y="58"/>
                </a:cubicBezTo>
                <a:cubicBezTo>
                  <a:pt x="75" y="57"/>
                  <a:pt x="75" y="57"/>
                  <a:pt x="75" y="57"/>
                </a:cubicBezTo>
                <a:cubicBezTo>
                  <a:pt x="75" y="56"/>
                  <a:pt x="75" y="56"/>
                  <a:pt x="75" y="56"/>
                </a:cubicBezTo>
                <a:cubicBezTo>
                  <a:pt x="75" y="57"/>
                  <a:pt x="75" y="57"/>
                  <a:pt x="75" y="57"/>
                </a:cubicBezTo>
                <a:cubicBezTo>
                  <a:pt x="74" y="58"/>
                  <a:pt x="74" y="58"/>
                  <a:pt x="74" y="58"/>
                </a:cubicBezTo>
                <a:close/>
                <a:moveTo>
                  <a:pt x="76" y="57"/>
                </a:moveTo>
                <a:cubicBezTo>
                  <a:pt x="76" y="57"/>
                  <a:pt x="76" y="57"/>
                  <a:pt x="76" y="57"/>
                </a:cubicBezTo>
                <a:cubicBezTo>
                  <a:pt x="77" y="58"/>
                  <a:pt x="77" y="58"/>
                  <a:pt x="77" y="58"/>
                </a:cubicBezTo>
                <a:cubicBezTo>
                  <a:pt x="78" y="57"/>
                  <a:pt x="78" y="57"/>
                  <a:pt x="78" y="57"/>
                </a:cubicBezTo>
                <a:cubicBezTo>
                  <a:pt x="78" y="57"/>
                  <a:pt x="78" y="57"/>
                  <a:pt x="78" y="57"/>
                </a:cubicBezTo>
                <a:cubicBezTo>
                  <a:pt x="78" y="56"/>
                  <a:pt x="78" y="56"/>
                  <a:pt x="78" y="56"/>
                </a:cubicBezTo>
                <a:cubicBezTo>
                  <a:pt x="77" y="56"/>
                  <a:pt x="77" y="56"/>
                  <a:pt x="77" y="56"/>
                </a:cubicBezTo>
                <a:cubicBezTo>
                  <a:pt x="77" y="57"/>
                  <a:pt x="77" y="57"/>
                  <a:pt x="77" y="57"/>
                </a:cubicBezTo>
                <a:cubicBezTo>
                  <a:pt x="76" y="57"/>
                  <a:pt x="76" y="57"/>
                  <a:pt x="76" y="57"/>
                </a:cubicBezTo>
                <a:close/>
                <a:moveTo>
                  <a:pt x="76" y="52"/>
                </a:moveTo>
                <a:cubicBezTo>
                  <a:pt x="76" y="53"/>
                  <a:pt x="76" y="53"/>
                  <a:pt x="76" y="53"/>
                </a:cubicBezTo>
                <a:cubicBezTo>
                  <a:pt x="75" y="53"/>
                  <a:pt x="75" y="53"/>
                  <a:pt x="75" y="53"/>
                </a:cubicBezTo>
                <a:cubicBezTo>
                  <a:pt x="74" y="52"/>
                  <a:pt x="74" y="52"/>
                  <a:pt x="74" y="52"/>
                </a:cubicBezTo>
                <a:cubicBezTo>
                  <a:pt x="74" y="51"/>
                  <a:pt x="74" y="51"/>
                  <a:pt x="74" y="51"/>
                </a:cubicBezTo>
                <a:cubicBezTo>
                  <a:pt x="75" y="50"/>
                  <a:pt x="75" y="50"/>
                  <a:pt x="75" y="50"/>
                </a:cubicBezTo>
                <a:cubicBezTo>
                  <a:pt x="76" y="49"/>
                  <a:pt x="76" y="49"/>
                  <a:pt x="76" y="49"/>
                </a:cubicBezTo>
                <a:cubicBezTo>
                  <a:pt x="77" y="50"/>
                  <a:pt x="77" y="50"/>
                  <a:pt x="77" y="50"/>
                </a:cubicBezTo>
                <a:cubicBezTo>
                  <a:pt x="78" y="50"/>
                  <a:pt x="78" y="50"/>
                  <a:pt x="78" y="50"/>
                </a:cubicBezTo>
                <a:cubicBezTo>
                  <a:pt x="79" y="51"/>
                  <a:pt x="79" y="51"/>
                  <a:pt x="79" y="51"/>
                </a:cubicBezTo>
                <a:cubicBezTo>
                  <a:pt x="79" y="52"/>
                  <a:pt x="79" y="52"/>
                  <a:pt x="79" y="52"/>
                </a:cubicBezTo>
                <a:cubicBezTo>
                  <a:pt x="78" y="52"/>
                  <a:pt x="78" y="52"/>
                  <a:pt x="78" y="52"/>
                </a:cubicBezTo>
                <a:cubicBezTo>
                  <a:pt x="77" y="52"/>
                  <a:pt x="77" y="52"/>
                  <a:pt x="77" y="52"/>
                </a:cubicBezTo>
                <a:cubicBezTo>
                  <a:pt x="76" y="52"/>
                  <a:pt x="76" y="52"/>
                  <a:pt x="76" y="52"/>
                </a:cubicBezTo>
                <a:close/>
                <a:moveTo>
                  <a:pt x="81" y="51"/>
                </a:moveTo>
                <a:cubicBezTo>
                  <a:pt x="82" y="52"/>
                  <a:pt x="82" y="52"/>
                  <a:pt x="82" y="52"/>
                </a:cubicBezTo>
                <a:cubicBezTo>
                  <a:pt x="83" y="52"/>
                  <a:pt x="83" y="52"/>
                  <a:pt x="83" y="52"/>
                </a:cubicBezTo>
                <a:cubicBezTo>
                  <a:pt x="84" y="52"/>
                  <a:pt x="84" y="52"/>
                  <a:pt x="84" y="52"/>
                </a:cubicBezTo>
                <a:cubicBezTo>
                  <a:pt x="84" y="51"/>
                  <a:pt x="84" y="51"/>
                  <a:pt x="84" y="51"/>
                </a:cubicBezTo>
                <a:cubicBezTo>
                  <a:pt x="83" y="50"/>
                  <a:pt x="83" y="50"/>
                  <a:pt x="83" y="50"/>
                </a:cubicBezTo>
                <a:cubicBezTo>
                  <a:pt x="83" y="51"/>
                  <a:pt x="83" y="51"/>
                  <a:pt x="83" y="51"/>
                </a:cubicBezTo>
                <a:cubicBezTo>
                  <a:pt x="82" y="51"/>
                  <a:pt x="82" y="51"/>
                  <a:pt x="82" y="51"/>
                </a:cubicBezTo>
                <a:cubicBezTo>
                  <a:pt x="81" y="51"/>
                  <a:pt x="81" y="51"/>
                  <a:pt x="81" y="51"/>
                </a:cubicBezTo>
                <a:close/>
                <a:moveTo>
                  <a:pt x="84" y="63"/>
                </a:moveTo>
                <a:cubicBezTo>
                  <a:pt x="84" y="62"/>
                  <a:pt x="84" y="62"/>
                  <a:pt x="84" y="62"/>
                </a:cubicBezTo>
                <a:cubicBezTo>
                  <a:pt x="83" y="61"/>
                  <a:pt x="83" y="61"/>
                  <a:pt x="83" y="61"/>
                </a:cubicBezTo>
                <a:cubicBezTo>
                  <a:pt x="83" y="60"/>
                  <a:pt x="83" y="60"/>
                  <a:pt x="83" y="60"/>
                </a:cubicBezTo>
                <a:cubicBezTo>
                  <a:pt x="83" y="59"/>
                  <a:pt x="83" y="59"/>
                  <a:pt x="83" y="59"/>
                </a:cubicBezTo>
                <a:cubicBezTo>
                  <a:pt x="82" y="57"/>
                  <a:pt x="82" y="57"/>
                  <a:pt x="82" y="57"/>
                </a:cubicBezTo>
                <a:cubicBezTo>
                  <a:pt x="81" y="57"/>
                  <a:pt x="81" y="57"/>
                  <a:pt x="81" y="57"/>
                </a:cubicBezTo>
                <a:cubicBezTo>
                  <a:pt x="81" y="57"/>
                  <a:pt x="81" y="57"/>
                  <a:pt x="81" y="57"/>
                </a:cubicBezTo>
                <a:cubicBezTo>
                  <a:pt x="79" y="57"/>
                  <a:pt x="79" y="57"/>
                  <a:pt x="79" y="57"/>
                </a:cubicBezTo>
                <a:cubicBezTo>
                  <a:pt x="78" y="58"/>
                  <a:pt x="78" y="58"/>
                  <a:pt x="78" y="58"/>
                </a:cubicBezTo>
                <a:cubicBezTo>
                  <a:pt x="78" y="59"/>
                  <a:pt x="78" y="59"/>
                  <a:pt x="78" y="59"/>
                </a:cubicBezTo>
                <a:cubicBezTo>
                  <a:pt x="79" y="61"/>
                  <a:pt x="79" y="61"/>
                  <a:pt x="79" y="61"/>
                </a:cubicBezTo>
                <a:cubicBezTo>
                  <a:pt x="79" y="63"/>
                  <a:pt x="79" y="63"/>
                  <a:pt x="79" y="63"/>
                </a:cubicBezTo>
                <a:cubicBezTo>
                  <a:pt x="80" y="64"/>
                  <a:pt x="80" y="64"/>
                  <a:pt x="80" y="64"/>
                </a:cubicBezTo>
                <a:cubicBezTo>
                  <a:pt x="81" y="64"/>
                  <a:pt x="81" y="64"/>
                  <a:pt x="81" y="64"/>
                </a:cubicBezTo>
                <a:cubicBezTo>
                  <a:pt x="82" y="63"/>
                  <a:pt x="82" y="63"/>
                  <a:pt x="82" y="63"/>
                </a:cubicBezTo>
                <a:cubicBezTo>
                  <a:pt x="84" y="63"/>
                  <a:pt x="84" y="63"/>
                  <a:pt x="84" y="63"/>
                </a:cubicBezTo>
                <a:close/>
                <a:moveTo>
                  <a:pt x="87" y="62"/>
                </a:moveTo>
                <a:cubicBezTo>
                  <a:pt x="87" y="62"/>
                  <a:pt x="87" y="62"/>
                  <a:pt x="87" y="62"/>
                </a:cubicBezTo>
                <a:cubicBezTo>
                  <a:pt x="86" y="61"/>
                  <a:pt x="86" y="61"/>
                  <a:pt x="86" y="61"/>
                </a:cubicBezTo>
                <a:cubicBezTo>
                  <a:pt x="86" y="60"/>
                  <a:pt x="86" y="60"/>
                  <a:pt x="86" y="60"/>
                </a:cubicBezTo>
                <a:cubicBezTo>
                  <a:pt x="87" y="60"/>
                  <a:pt x="87" y="60"/>
                  <a:pt x="87" y="60"/>
                </a:cubicBezTo>
                <a:cubicBezTo>
                  <a:pt x="88" y="58"/>
                  <a:pt x="88" y="58"/>
                  <a:pt x="88" y="58"/>
                </a:cubicBezTo>
                <a:cubicBezTo>
                  <a:pt x="88" y="58"/>
                  <a:pt x="88" y="58"/>
                  <a:pt x="88" y="58"/>
                </a:cubicBezTo>
                <a:cubicBezTo>
                  <a:pt x="90" y="57"/>
                  <a:pt x="90" y="57"/>
                  <a:pt x="90" y="57"/>
                </a:cubicBezTo>
                <a:cubicBezTo>
                  <a:pt x="90" y="57"/>
                  <a:pt x="90" y="57"/>
                  <a:pt x="90" y="57"/>
                </a:cubicBezTo>
                <a:cubicBezTo>
                  <a:pt x="91" y="56"/>
                  <a:pt x="91" y="56"/>
                  <a:pt x="91" y="56"/>
                </a:cubicBezTo>
                <a:cubicBezTo>
                  <a:pt x="90" y="56"/>
                  <a:pt x="90" y="56"/>
                  <a:pt x="90" y="56"/>
                </a:cubicBezTo>
                <a:cubicBezTo>
                  <a:pt x="89" y="56"/>
                  <a:pt x="89" y="56"/>
                  <a:pt x="89" y="56"/>
                </a:cubicBezTo>
                <a:cubicBezTo>
                  <a:pt x="86" y="55"/>
                  <a:pt x="86" y="55"/>
                  <a:pt x="86" y="55"/>
                </a:cubicBezTo>
                <a:cubicBezTo>
                  <a:pt x="85" y="53"/>
                  <a:pt x="85" y="53"/>
                  <a:pt x="85" y="53"/>
                </a:cubicBezTo>
                <a:cubicBezTo>
                  <a:pt x="84" y="54"/>
                  <a:pt x="84" y="54"/>
                  <a:pt x="84" y="54"/>
                </a:cubicBezTo>
                <a:cubicBezTo>
                  <a:pt x="83" y="54"/>
                  <a:pt x="83" y="54"/>
                  <a:pt x="83" y="54"/>
                </a:cubicBezTo>
                <a:cubicBezTo>
                  <a:pt x="83" y="54"/>
                  <a:pt x="83" y="54"/>
                  <a:pt x="83" y="54"/>
                </a:cubicBezTo>
                <a:cubicBezTo>
                  <a:pt x="83" y="55"/>
                  <a:pt x="83" y="55"/>
                  <a:pt x="83" y="55"/>
                </a:cubicBezTo>
                <a:cubicBezTo>
                  <a:pt x="84" y="58"/>
                  <a:pt x="84" y="58"/>
                  <a:pt x="84" y="58"/>
                </a:cubicBezTo>
                <a:cubicBezTo>
                  <a:pt x="84" y="60"/>
                  <a:pt x="84" y="60"/>
                  <a:pt x="84" y="60"/>
                </a:cubicBezTo>
                <a:cubicBezTo>
                  <a:pt x="85" y="62"/>
                  <a:pt x="85" y="62"/>
                  <a:pt x="85" y="62"/>
                </a:cubicBezTo>
                <a:cubicBezTo>
                  <a:pt x="86" y="62"/>
                  <a:pt x="86" y="62"/>
                  <a:pt x="86" y="62"/>
                </a:cubicBezTo>
                <a:cubicBezTo>
                  <a:pt x="87" y="62"/>
                  <a:pt x="87" y="62"/>
                  <a:pt x="87" y="62"/>
                </a:cubicBezTo>
                <a:close/>
                <a:moveTo>
                  <a:pt x="91" y="62"/>
                </a:moveTo>
                <a:cubicBezTo>
                  <a:pt x="91" y="63"/>
                  <a:pt x="91" y="63"/>
                  <a:pt x="91" y="63"/>
                </a:cubicBezTo>
                <a:cubicBezTo>
                  <a:pt x="92" y="64"/>
                  <a:pt x="92" y="64"/>
                  <a:pt x="92" y="64"/>
                </a:cubicBezTo>
                <a:cubicBezTo>
                  <a:pt x="93" y="65"/>
                  <a:pt x="93" y="65"/>
                  <a:pt x="93" y="65"/>
                </a:cubicBezTo>
                <a:cubicBezTo>
                  <a:pt x="95" y="65"/>
                  <a:pt x="95" y="65"/>
                  <a:pt x="95" y="65"/>
                </a:cubicBezTo>
                <a:cubicBezTo>
                  <a:pt x="96" y="63"/>
                  <a:pt x="96" y="63"/>
                  <a:pt x="96" y="63"/>
                </a:cubicBezTo>
                <a:cubicBezTo>
                  <a:pt x="96" y="61"/>
                  <a:pt x="96" y="61"/>
                  <a:pt x="96" y="61"/>
                </a:cubicBezTo>
                <a:cubicBezTo>
                  <a:pt x="94" y="61"/>
                  <a:pt x="94" y="61"/>
                  <a:pt x="94" y="61"/>
                </a:cubicBezTo>
                <a:cubicBezTo>
                  <a:pt x="93" y="61"/>
                  <a:pt x="93" y="61"/>
                  <a:pt x="93" y="61"/>
                </a:cubicBezTo>
                <a:cubicBezTo>
                  <a:pt x="91" y="62"/>
                  <a:pt x="91" y="62"/>
                  <a:pt x="91" y="62"/>
                </a:cubicBezTo>
                <a:close/>
                <a:moveTo>
                  <a:pt x="91" y="65"/>
                </a:moveTo>
                <a:cubicBezTo>
                  <a:pt x="91" y="66"/>
                  <a:pt x="91" y="66"/>
                  <a:pt x="91" y="66"/>
                </a:cubicBezTo>
                <a:cubicBezTo>
                  <a:pt x="92" y="66"/>
                  <a:pt x="92" y="66"/>
                  <a:pt x="92" y="66"/>
                </a:cubicBezTo>
                <a:cubicBezTo>
                  <a:pt x="92" y="67"/>
                  <a:pt x="92" y="67"/>
                  <a:pt x="92" y="67"/>
                </a:cubicBezTo>
                <a:cubicBezTo>
                  <a:pt x="93" y="66"/>
                  <a:pt x="93" y="66"/>
                  <a:pt x="93" y="66"/>
                </a:cubicBezTo>
                <a:cubicBezTo>
                  <a:pt x="92" y="65"/>
                  <a:pt x="92" y="65"/>
                  <a:pt x="92" y="65"/>
                </a:cubicBezTo>
                <a:cubicBezTo>
                  <a:pt x="91" y="65"/>
                  <a:pt x="91" y="65"/>
                  <a:pt x="91" y="65"/>
                </a:cubicBezTo>
                <a:close/>
                <a:moveTo>
                  <a:pt x="91" y="25"/>
                </a:moveTo>
                <a:cubicBezTo>
                  <a:pt x="92" y="24"/>
                  <a:pt x="92" y="24"/>
                  <a:pt x="92" y="24"/>
                </a:cubicBezTo>
                <a:cubicBezTo>
                  <a:pt x="92" y="24"/>
                  <a:pt x="92" y="24"/>
                  <a:pt x="92" y="24"/>
                </a:cubicBezTo>
                <a:cubicBezTo>
                  <a:pt x="93" y="23"/>
                  <a:pt x="93" y="23"/>
                  <a:pt x="93" y="23"/>
                </a:cubicBezTo>
                <a:cubicBezTo>
                  <a:pt x="94" y="23"/>
                  <a:pt x="94" y="23"/>
                  <a:pt x="94" y="23"/>
                </a:cubicBezTo>
                <a:cubicBezTo>
                  <a:pt x="95" y="24"/>
                  <a:pt x="95" y="24"/>
                  <a:pt x="95" y="24"/>
                </a:cubicBezTo>
                <a:cubicBezTo>
                  <a:pt x="96" y="24"/>
                  <a:pt x="96" y="24"/>
                  <a:pt x="96" y="24"/>
                </a:cubicBezTo>
                <a:cubicBezTo>
                  <a:pt x="96" y="25"/>
                  <a:pt x="96" y="25"/>
                  <a:pt x="96" y="25"/>
                </a:cubicBezTo>
                <a:cubicBezTo>
                  <a:pt x="95" y="26"/>
                  <a:pt x="95" y="26"/>
                  <a:pt x="95" y="26"/>
                </a:cubicBezTo>
                <a:cubicBezTo>
                  <a:pt x="94" y="26"/>
                  <a:pt x="94" y="26"/>
                  <a:pt x="94" y="26"/>
                </a:cubicBezTo>
                <a:cubicBezTo>
                  <a:pt x="93" y="25"/>
                  <a:pt x="93" y="25"/>
                  <a:pt x="93" y="25"/>
                </a:cubicBezTo>
                <a:cubicBezTo>
                  <a:pt x="91" y="25"/>
                  <a:pt x="91" y="25"/>
                  <a:pt x="91" y="25"/>
                </a:cubicBezTo>
                <a:cubicBezTo>
                  <a:pt x="91" y="25"/>
                  <a:pt x="91" y="25"/>
                  <a:pt x="91" y="25"/>
                </a:cubicBezTo>
                <a:close/>
                <a:moveTo>
                  <a:pt x="93" y="42"/>
                </a:moveTo>
                <a:cubicBezTo>
                  <a:pt x="94" y="41"/>
                  <a:pt x="94" y="41"/>
                  <a:pt x="94" y="41"/>
                </a:cubicBezTo>
                <a:cubicBezTo>
                  <a:pt x="95" y="40"/>
                  <a:pt x="95" y="40"/>
                  <a:pt x="95" y="40"/>
                </a:cubicBezTo>
                <a:cubicBezTo>
                  <a:pt x="95" y="40"/>
                  <a:pt x="95" y="40"/>
                  <a:pt x="95" y="40"/>
                </a:cubicBezTo>
                <a:cubicBezTo>
                  <a:pt x="94" y="39"/>
                  <a:pt x="94" y="39"/>
                  <a:pt x="94" y="39"/>
                </a:cubicBezTo>
                <a:cubicBezTo>
                  <a:pt x="93" y="38"/>
                  <a:pt x="93" y="38"/>
                  <a:pt x="93" y="38"/>
                </a:cubicBezTo>
                <a:cubicBezTo>
                  <a:pt x="92" y="38"/>
                  <a:pt x="92" y="38"/>
                  <a:pt x="92" y="38"/>
                </a:cubicBezTo>
                <a:cubicBezTo>
                  <a:pt x="90" y="38"/>
                  <a:pt x="90" y="38"/>
                  <a:pt x="90" y="38"/>
                </a:cubicBezTo>
                <a:cubicBezTo>
                  <a:pt x="89" y="39"/>
                  <a:pt x="89" y="39"/>
                  <a:pt x="89" y="39"/>
                </a:cubicBezTo>
                <a:cubicBezTo>
                  <a:pt x="88" y="40"/>
                  <a:pt x="88" y="40"/>
                  <a:pt x="88" y="40"/>
                </a:cubicBezTo>
                <a:cubicBezTo>
                  <a:pt x="89" y="41"/>
                  <a:pt x="89" y="41"/>
                  <a:pt x="89" y="41"/>
                </a:cubicBezTo>
                <a:cubicBezTo>
                  <a:pt x="91" y="42"/>
                  <a:pt x="91" y="42"/>
                  <a:pt x="91" y="42"/>
                </a:cubicBezTo>
                <a:cubicBezTo>
                  <a:pt x="92" y="43"/>
                  <a:pt x="92" y="43"/>
                  <a:pt x="92" y="43"/>
                </a:cubicBezTo>
                <a:cubicBezTo>
                  <a:pt x="93" y="42"/>
                  <a:pt x="93" y="42"/>
                  <a:pt x="93" y="42"/>
                </a:cubicBezTo>
                <a:close/>
                <a:moveTo>
                  <a:pt x="96" y="40"/>
                </a:moveTo>
                <a:cubicBezTo>
                  <a:pt x="96" y="41"/>
                  <a:pt x="96" y="41"/>
                  <a:pt x="96" y="41"/>
                </a:cubicBezTo>
                <a:cubicBezTo>
                  <a:pt x="96" y="42"/>
                  <a:pt x="96" y="42"/>
                  <a:pt x="96" y="42"/>
                </a:cubicBezTo>
                <a:cubicBezTo>
                  <a:pt x="95" y="43"/>
                  <a:pt x="95" y="43"/>
                  <a:pt x="95" y="43"/>
                </a:cubicBezTo>
                <a:cubicBezTo>
                  <a:pt x="95" y="43"/>
                  <a:pt x="95" y="43"/>
                  <a:pt x="95" y="43"/>
                </a:cubicBezTo>
                <a:cubicBezTo>
                  <a:pt x="94" y="43"/>
                  <a:pt x="94" y="43"/>
                  <a:pt x="94" y="43"/>
                </a:cubicBezTo>
                <a:cubicBezTo>
                  <a:pt x="92" y="44"/>
                  <a:pt x="92" y="44"/>
                  <a:pt x="92" y="44"/>
                </a:cubicBezTo>
                <a:cubicBezTo>
                  <a:pt x="91" y="45"/>
                  <a:pt x="91" y="45"/>
                  <a:pt x="91" y="45"/>
                </a:cubicBezTo>
                <a:cubicBezTo>
                  <a:pt x="90" y="44"/>
                  <a:pt x="90" y="44"/>
                  <a:pt x="90" y="44"/>
                </a:cubicBezTo>
                <a:cubicBezTo>
                  <a:pt x="89" y="44"/>
                  <a:pt x="89" y="44"/>
                  <a:pt x="89" y="44"/>
                </a:cubicBezTo>
                <a:cubicBezTo>
                  <a:pt x="89" y="45"/>
                  <a:pt x="89" y="45"/>
                  <a:pt x="89" y="45"/>
                </a:cubicBezTo>
                <a:cubicBezTo>
                  <a:pt x="90" y="47"/>
                  <a:pt x="90" y="47"/>
                  <a:pt x="90" y="47"/>
                </a:cubicBezTo>
                <a:cubicBezTo>
                  <a:pt x="90" y="50"/>
                  <a:pt x="90" y="50"/>
                  <a:pt x="90" y="50"/>
                </a:cubicBezTo>
                <a:cubicBezTo>
                  <a:pt x="90" y="52"/>
                  <a:pt x="90" y="52"/>
                  <a:pt x="90" y="52"/>
                </a:cubicBezTo>
                <a:cubicBezTo>
                  <a:pt x="92" y="54"/>
                  <a:pt x="92" y="54"/>
                  <a:pt x="92" y="54"/>
                </a:cubicBezTo>
                <a:cubicBezTo>
                  <a:pt x="93" y="54"/>
                  <a:pt x="93" y="54"/>
                  <a:pt x="93" y="54"/>
                </a:cubicBezTo>
                <a:cubicBezTo>
                  <a:pt x="95" y="53"/>
                  <a:pt x="95" y="53"/>
                  <a:pt x="95" y="53"/>
                </a:cubicBezTo>
                <a:cubicBezTo>
                  <a:pt x="97" y="53"/>
                  <a:pt x="97" y="53"/>
                  <a:pt x="97" y="53"/>
                </a:cubicBezTo>
                <a:cubicBezTo>
                  <a:pt x="98" y="52"/>
                  <a:pt x="98" y="52"/>
                  <a:pt x="98" y="52"/>
                </a:cubicBezTo>
                <a:cubicBezTo>
                  <a:pt x="100" y="52"/>
                  <a:pt x="100" y="52"/>
                  <a:pt x="100" y="52"/>
                </a:cubicBezTo>
                <a:cubicBezTo>
                  <a:pt x="100" y="51"/>
                  <a:pt x="100" y="51"/>
                  <a:pt x="100" y="51"/>
                </a:cubicBezTo>
                <a:cubicBezTo>
                  <a:pt x="99" y="50"/>
                  <a:pt x="99" y="50"/>
                  <a:pt x="99" y="50"/>
                </a:cubicBezTo>
                <a:cubicBezTo>
                  <a:pt x="98" y="49"/>
                  <a:pt x="98" y="49"/>
                  <a:pt x="98" y="49"/>
                </a:cubicBezTo>
                <a:cubicBezTo>
                  <a:pt x="96" y="48"/>
                  <a:pt x="96" y="48"/>
                  <a:pt x="96" y="48"/>
                </a:cubicBezTo>
                <a:cubicBezTo>
                  <a:pt x="96" y="47"/>
                  <a:pt x="96" y="47"/>
                  <a:pt x="96" y="47"/>
                </a:cubicBezTo>
                <a:cubicBezTo>
                  <a:pt x="96" y="46"/>
                  <a:pt x="96" y="46"/>
                  <a:pt x="96" y="46"/>
                </a:cubicBezTo>
                <a:cubicBezTo>
                  <a:pt x="97" y="45"/>
                  <a:pt x="97" y="45"/>
                  <a:pt x="97" y="45"/>
                </a:cubicBezTo>
                <a:cubicBezTo>
                  <a:pt x="98" y="45"/>
                  <a:pt x="98" y="45"/>
                  <a:pt x="98" y="45"/>
                </a:cubicBezTo>
                <a:cubicBezTo>
                  <a:pt x="99" y="45"/>
                  <a:pt x="99" y="45"/>
                  <a:pt x="99" y="45"/>
                </a:cubicBezTo>
                <a:cubicBezTo>
                  <a:pt x="99" y="44"/>
                  <a:pt x="99" y="44"/>
                  <a:pt x="99" y="44"/>
                </a:cubicBezTo>
                <a:cubicBezTo>
                  <a:pt x="98" y="42"/>
                  <a:pt x="98" y="42"/>
                  <a:pt x="98" y="42"/>
                </a:cubicBezTo>
                <a:cubicBezTo>
                  <a:pt x="97" y="42"/>
                  <a:pt x="97" y="42"/>
                  <a:pt x="97" y="42"/>
                </a:cubicBezTo>
                <a:cubicBezTo>
                  <a:pt x="96" y="40"/>
                  <a:pt x="96" y="40"/>
                  <a:pt x="96" y="40"/>
                </a:cubicBezTo>
                <a:close/>
                <a:moveTo>
                  <a:pt x="102" y="43"/>
                </a:moveTo>
                <a:cubicBezTo>
                  <a:pt x="101" y="42"/>
                  <a:pt x="101" y="42"/>
                  <a:pt x="101" y="42"/>
                </a:cubicBezTo>
                <a:cubicBezTo>
                  <a:pt x="101" y="41"/>
                  <a:pt x="101" y="41"/>
                  <a:pt x="101" y="41"/>
                </a:cubicBezTo>
                <a:cubicBezTo>
                  <a:pt x="100" y="40"/>
                  <a:pt x="100" y="40"/>
                  <a:pt x="100" y="40"/>
                </a:cubicBezTo>
                <a:cubicBezTo>
                  <a:pt x="99" y="40"/>
                  <a:pt x="99" y="40"/>
                  <a:pt x="99" y="40"/>
                </a:cubicBezTo>
                <a:cubicBezTo>
                  <a:pt x="98" y="39"/>
                  <a:pt x="98" y="39"/>
                  <a:pt x="98" y="39"/>
                </a:cubicBezTo>
                <a:cubicBezTo>
                  <a:pt x="98" y="38"/>
                  <a:pt x="98" y="38"/>
                  <a:pt x="98" y="38"/>
                </a:cubicBezTo>
                <a:cubicBezTo>
                  <a:pt x="98" y="37"/>
                  <a:pt x="98" y="37"/>
                  <a:pt x="98" y="37"/>
                </a:cubicBezTo>
                <a:cubicBezTo>
                  <a:pt x="98" y="36"/>
                  <a:pt x="98" y="36"/>
                  <a:pt x="98" y="36"/>
                </a:cubicBezTo>
                <a:cubicBezTo>
                  <a:pt x="97" y="34"/>
                  <a:pt x="97" y="34"/>
                  <a:pt x="97" y="34"/>
                </a:cubicBezTo>
                <a:cubicBezTo>
                  <a:pt x="98" y="33"/>
                  <a:pt x="98" y="33"/>
                  <a:pt x="98" y="33"/>
                </a:cubicBezTo>
                <a:cubicBezTo>
                  <a:pt x="99" y="32"/>
                  <a:pt x="99" y="32"/>
                  <a:pt x="99" y="32"/>
                </a:cubicBezTo>
                <a:cubicBezTo>
                  <a:pt x="100" y="30"/>
                  <a:pt x="100" y="30"/>
                  <a:pt x="100" y="30"/>
                </a:cubicBezTo>
                <a:cubicBezTo>
                  <a:pt x="100" y="30"/>
                  <a:pt x="100" y="30"/>
                  <a:pt x="100" y="30"/>
                </a:cubicBezTo>
                <a:cubicBezTo>
                  <a:pt x="100" y="29"/>
                  <a:pt x="100" y="29"/>
                  <a:pt x="100" y="29"/>
                </a:cubicBezTo>
                <a:cubicBezTo>
                  <a:pt x="101" y="29"/>
                  <a:pt x="101" y="29"/>
                  <a:pt x="101" y="29"/>
                </a:cubicBezTo>
                <a:cubicBezTo>
                  <a:pt x="102" y="29"/>
                  <a:pt x="102" y="29"/>
                  <a:pt x="102" y="29"/>
                </a:cubicBezTo>
                <a:cubicBezTo>
                  <a:pt x="103" y="29"/>
                  <a:pt x="103" y="29"/>
                  <a:pt x="103" y="29"/>
                </a:cubicBezTo>
                <a:cubicBezTo>
                  <a:pt x="104" y="31"/>
                  <a:pt x="104" y="31"/>
                  <a:pt x="104" y="31"/>
                </a:cubicBezTo>
                <a:cubicBezTo>
                  <a:pt x="104" y="33"/>
                  <a:pt x="104" y="33"/>
                  <a:pt x="104" y="33"/>
                </a:cubicBezTo>
                <a:cubicBezTo>
                  <a:pt x="104" y="33"/>
                  <a:pt x="104" y="33"/>
                  <a:pt x="104" y="33"/>
                </a:cubicBezTo>
                <a:cubicBezTo>
                  <a:pt x="105" y="34"/>
                  <a:pt x="105" y="34"/>
                  <a:pt x="105" y="34"/>
                </a:cubicBezTo>
                <a:cubicBezTo>
                  <a:pt x="107" y="35"/>
                  <a:pt x="107" y="35"/>
                  <a:pt x="107" y="35"/>
                </a:cubicBezTo>
                <a:cubicBezTo>
                  <a:pt x="107" y="35"/>
                  <a:pt x="107" y="35"/>
                  <a:pt x="107" y="35"/>
                </a:cubicBezTo>
                <a:cubicBezTo>
                  <a:pt x="107" y="36"/>
                  <a:pt x="107" y="36"/>
                  <a:pt x="107" y="36"/>
                </a:cubicBezTo>
                <a:cubicBezTo>
                  <a:pt x="105" y="37"/>
                  <a:pt x="105" y="37"/>
                  <a:pt x="105" y="37"/>
                </a:cubicBezTo>
                <a:cubicBezTo>
                  <a:pt x="103" y="38"/>
                  <a:pt x="103" y="38"/>
                  <a:pt x="103" y="38"/>
                </a:cubicBezTo>
                <a:cubicBezTo>
                  <a:pt x="103" y="39"/>
                  <a:pt x="103" y="39"/>
                  <a:pt x="103" y="39"/>
                </a:cubicBezTo>
                <a:cubicBezTo>
                  <a:pt x="103" y="40"/>
                  <a:pt x="103" y="40"/>
                  <a:pt x="103" y="40"/>
                </a:cubicBezTo>
                <a:cubicBezTo>
                  <a:pt x="103" y="41"/>
                  <a:pt x="103" y="41"/>
                  <a:pt x="103" y="41"/>
                </a:cubicBezTo>
                <a:cubicBezTo>
                  <a:pt x="102" y="43"/>
                  <a:pt x="102" y="43"/>
                  <a:pt x="102" y="43"/>
                </a:cubicBezTo>
                <a:close/>
                <a:moveTo>
                  <a:pt x="641" y="78"/>
                </a:moveTo>
                <a:cubicBezTo>
                  <a:pt x="642" y="78"/>
                  <a:pt x="642" y="78"/>
                  <a:pt x="642" y="78"/>
                </a:cubicBezTo>
                <a:cubicBezTo>
                  <a:pt x="642" y="77"/>
                  <a:pt x="642" y="77"/>
                  <a:pt x="642" y="77"/>
                </a:cubicBezTo>
                <a:cubicBezTo>
                  <a:pt x="641" y="77"/>
                  <a:pt x="641" y="77"/>
                  <a:pt x="641" y="77"/>
                </a:cubicBezTo>
                <a:cubicBezTo>
                  <a:pt x="641" y="77"/>
                  <a:pt x="641" y="77"/>
                  <a:pt x="641" y="77"/>
                </a:cubicBezTo>
                <a:cubicBezTo>
                  <a:pt x="641" y="78"/>
                  <a:pt x="641" y="78"/>
                  <a:pt x="641" y="78"/>
                </a:cubicBezTo>
                <a:close/>
                <a:moveTo>
                  <a:pt x="636" y="77"/>
                </a:moveTo>
                <a:cubicBezTo>
                  <a:pt x="637" y="77"/>
                  <a:pt x="637" y="77"/>
                  <a:pt x="637" y="77"/>
                </a:cubicBezTo>
                <a:cubicBezTo>
                  <a:pt x="637" y="76"/>
                  <a:pt x="637" y="76"/>
                  <a:pt x="637" y="76"/>
                </a:cubicBezTo>
                <a:cubicBezTo>
                  <a:pt x="636" y="76"/>
                  <a:pt x="636" y="76"/>
                  <a:pt x="636" y="76"/>
                </a:cubicBezTo>
                <a:cubicBezTo>
                  <a:pt x="636" y="76"/>
                  <a:pt x="636" y="76"/>
                  <a:pt x="636" y="76"/>
                </a:cubicBezTo>
                <a:cubicBezTo>
                  <a:pt x="636" y="77"/>
                  <a:pt x="636" y="77"/>
                  <a:pt x="636" y="77"/>
                </a:cubicBezTo>
                <a:close/>
                <a:moveTo>
                  <a:pt x="632" y="79"/>
                </a:moveTo>
                <a:cubicBezTo>
                  <a:pt x="632" y="79"/>
                  <a:pt x="632" y="79"/>
                  <a:pt x="632" y="79"/>
                </a:cubicBezTo>
                <a:cubicBezTo>
                  <a:pt x="633" y="78"/>
                  <a:pt x="633" y="78"/>
                  <a:pt x="633" y="78"/>
                </a:cubicBezTo>
                <a:cubicBezTo>
                  <a:pt x="632" y="77"/>
                  <a:pt x="632" y="77"/>
                  <a:pt x="632" y="77"/>
                </a:cubicBezTo>
                <a:cubicBezTo>
                  <a:pt x="631" y="77"/>
                  <a:pt x="631" y="77"/>
                  <a:pt x="631" y="77"/>
                </a:cubicBezTo>
                <a:cubicBezTo>
                  <a:pt x="631" y="78"/>
                  <a:pt x="631" y="78"/>
                  <a:pt x="631" y="78"/>
                </a:cubicBezTo>
                <a:cubicBezTo>
                  <a:pt x="632" y="79"/>
                  <a:pt x="632" y="79"/>
                  <a:pt x="632" y="79"/>
                </a:cubicBezTo>
                <a:close/>
                <a:moveTo>
                  <a:pt x="741" y="212"/>
                </a:moveTo>
                <a:cubicBezTo>
                  <a:pt x="740" y="212"/>
                  <a:pt x="740" y="212"/>
                  <a:pt x="740" y="212"/>
                </a:cubicBezTo>
                <a:cubicBezTo>
                  <a:pt x="741" y="214"/>
                  <a:pt x="741" y="214"/>
                  <a:pt x="741" y="214"/>
                </a:cubicBezTo>
                <a:cubicBezTo>
                  <a:pt x="741" y="213"/>
                  <a:pt x="741" y="213"/>
                  <a:pt x="741" y="213"/>
                </a:cubicBezTo>
                <a:cubicBezTo>
                  <a:pt x="741" y="212"/>
                  <a:pt x="741" y="212"/>
                  <a:pt x="741" y="212"/>
                </a:cubicBezTo>
                <a:cubicBezTo>
                  <a:pt x="741" y="212"/>
                  <a:pt x="741" y="212"/>
                  <a:pt x="741" y="212"/>
                </a:cubicBezTo>
                <a:cubicBezTo>
                  <a:pt x="741" y="212"/>
                  <a:pt x="741" y="212"/>
                  <a:pt x="741" y="212"/>
                </a:cubicBezTo>
                <a:close/>
                <a:moveTo>
                  <a:pt x="739" y="210"/>
                </a:moveTo>
                <a:cubicBezTo>
                  <a:pt x="740" y="211"/>
                  <a:pt x="740" y="211"/>
                  <a:pt x="740" y="211"/>
                </a:cubicBezTo>
                <a:cubicBezTo>
                  <a:pt x="741" y="211"/>
                  <a:pt x="741" y="211"/>
                  <a:pt x="741" y="211"/>
                </a:cubicBezTo>
                <a:cubicBezTo>
                  <a:pt x="741" y="210"/>
                  <a:pt x="741" y="210"/>
                  <a:pt x="741" y="210"/>
                </a:cubicBezTo>
                <a:cubicBezTo>
                  <a:pt x="740" y="209"/>
                  <a:pt x="740" y="209"/>
                  <a:pt x="740" y="209"/>
                </a:cubicBezTo>
                <a:cubicBezTo>
                  <a:pt x="739" y="209"/>
                  <a:pt x="739" y="209"/>
                  <a:pt x="739" y="209"/>
                </a:cubicBezTo>
                <a:cubicBezTo>
                  <a:pt x="739" y="210"/>
                  <a:pt x="739" y="210"/>
                  <a:pt x="739" y="210"/>
                </a:cubicBezTo>
                <a:close/>
                <a:moveTo>
                  <a:pt x="117" y="133"/>
                </a:moveTo>
                <a:cubicBezTo>
                  <a:pt x="118" y="133"/>
                  <a:pt x="118" y="133"/>
                  <a:pt x="118" y="133"/>
                </a:cubicBezTo>
                <a:cubicBezTo>
                  <a:pt x="118" y="133"/>
                  <a:pt x="118" y="133"/>
                  <a:pt x="118" y="133"/>
                </a:cubicBezTo>
                <a:cubicBezTo>
                  <a:pt x="120" y="131"/>
                  <a:pt x="120" y="131"/>
                  <a:pt x="120" y="131"/>
                </a:cubicBezTo>
                <a:cubicBezTo>
                  <a:pt x="120" y="131"/>
                  <a:pt x="120" y="131"/>
                  <a:pt x="120" y="131"/>
                </a:cubicBezTo>
                <a:cubicBezTo>
                  <a:pt x="120" y="131"/>
                  <a:pt x="120" y="131"/>
                  <a:pt x="120" y="131"/>
                </a:cubicBezTo>
                <a:cubicBezTo>
                  <a:pt x="118" y="132"/>
                  <a:pt x="118" y="132"/>
                  <a:pt x="118" y="132"/>
                </a:cubicBezTo>
                <a:cubicBezTo>
                  <a:pt x="118" y="132"/>
                  <a:pt x="118" y="132"/>
                  <a:pt x="118" y="132"/>
                </a:cubicBezTo>
                <a:cubicBezTo>
                  <a:pt x="117" y="133"/>
                  <a:pt x="117" y="133"/>
                  <a:pt x="117" y="133"/>
                </a:cubicBezTo>
                <a:cubicBezTo>
                  <a:pt x="117" y="133"/>
                  <a:pt x="117" y="133"/>
                  <a:pt x="117" y="133"/>
                </a:cubicBezTo>
                <a:close/>
                <a:moveTo>
                  <a:pt x="110" y="174"/>
                </a:moveTo>
                <a:cubicBezTo>
                  <a:pt x="112" y="174"/>
                  <a:pt x="112" y="174"/>
                  <a:pt x="112" y="174"/>
                </a:cubicBezTo>
                <a:cubicBezTo>
                  <a:pt x="113" y="173"/>
                  <a:pt x="113" y="173"/>
                  <a:pt x="113" y="173"/>
                </a:cubicBezTo>
                <a:cubicBezTo>
                  <a:pt x="115" y="172"/>
                  <a:pt x="115" y="172"/>
                  <a:pt x="115" y="172"/>
                </a:cubicBezTo>
                <a:cubicBezTo>
                  <a:pt x="116" y="172"/>
                  <a:pt x="116" y="172"/>
                  <a:pt x="116" y="172"/>
                </a:cubicBezTo>
                <a:cubicBezTo>
                  <a:pt x="117" y="173"/>
                  <a:pt x="117" y="173"/>
                  <a:pt x="117" y="173"/>
                </a:cubicBezTo>
                <a:cubicBezTo>
                  <a:pt x="118" y="173"/>
                  <a:pt x="118" y="173"/>
                  <a:pt x="118" y="173"/>
                </a:cubicBezTo>
                <a:cubicBezTo>
                  <a:pt x="119" y="173"/>
                  <a:pt x="119" y="173"/>
                  <a:pt x="119" y="173"/>
                </a:cubicBezTo>
                <a:cubicBezTo>
                  <a:pt x="118" y="172"/>
                  <a:pt x="118" y="172"/>
                  <a:pt x="118" y="172"/>
                </a:cubicBezTo>
                <a:cubicBezTo>
                  <a:pt x="119" y="171"/>
                  <a:pt x="119" y="171"/>
                  <a:pt x="119" y="171"/>
                </a:cubicBezTo>
                <a:cubicBezTo>
                  <a:pt x="119" y="172"/>
                  <a:pt x="119" y="172"/>
                  <a:pt x="119" y="172"/>
                </a:cubicBezTo>
                <a:cubicBezTo>
                  <a:pt x="120" y="173"/>
                  <a:pt x="120" y="173"/>
                  <a:pt x="120" y="173"/>
                </a:cubicBezTo>
                <a:cubicBezTo>
                  <a:pt x="121" y="173"/>
                  <a:pt x="121" y="173"/>
                  <a:pt x="121" y="173"/>
                </a:cubicBezTo>
                <a:cubicBezTo>
                  <a:pt x="123" y="173"/>
                  <a:pt x="123" y="173"/>
                  <a:pt x="123" y="173"/>
                </a:cubicBezTo>
                <a:cubicBezTo>
                  <a:pt x="123" y="173"/>
                  <a:pt x="123" y="173"/>
                  <a:pt x="123" y="173"/>
                </a:cubicBezTo>
                <a:cubicBezTo>
                  <a:pt x="124" y="172"/>
                  <a:pt x="124" y="172"/>
                  <a:pt x="124" y="172"/>
                </a:cubicBezTo>
                <a:cubicBezTo>
                  <a:pt x="124" y="171"/>
                  <a:pt x="124" y="171"/>
                  <a:pt x="124" y="171"/>
                </a:cubicBezTo>
                <a:cubicBezTo>
                  <a:pt x="124" y="169"/>
                  <a:pt x="124" y="169"/>
                  <a:pt x="124" y="169"/>
                </a:cubicBezTo>
                <a:cubicBezTo>
                  <a:pt x="125" y="168"/>
                  <a:pt x="125" y="168"/>
                  <a:pt x="125" y="168"/>
                </a:cubicBezTo>
                <a:cubicBezTo>
                  <a:pt x="125" y="167"/>
                  <a:pt x="125" y="167"/>
                  <a:pt x="125" y="167"/>
                </a:cubicBezTo>
                <a:cubicBezTo>
                  <a:pt x="124" y="166"/>
                  <a:pt x="124" y="166"/>
                  <a:pt x="124" y="166"/>
                </a:cubicBezTo>
                <a:cubicBezTo>
                  <a:pt x="124" y="165"/>
                  <a:pt x="124" y="165"/>
                  <a:pt x="124" y="165"/>
                </a:cubicBezTo>
                <a:cubicBezTo>
                  <a:pt x="123" y="164"/>
                  <a:pt x="123" y="164"/>
                  <a:pt x="123" y="164"/>
                </a:cubicBezTo>
                <a:cubicBezTo>
                  <a:pt x="122" y="164"/>
                  <a:pt x="122" y="164"/>
                  <a:pt x="122" y="164"/>
                </a:cubicBezTo>
                <a:cubicBezTo>
                  <a:pt x="121" y="164"/>
                  <a:pt x="121" y="164"/>
                  <a:pt x="121" y="164"/>
                </a:cubicBezTo>
                <a:cubicBezTo>
                  <a:pt x="122" y="163"/>
                  <a:pt x="122" y="163"/>
                  <a:pt x="122" y="163"/>
                </a:cubicBezTo>
                <a:cubicBezTo>
                  <a:pt x="123" y="164"/>
                  <a:pt x="123" y="164"/>
                  <a:pt x="123" y="164"/>
                </a:cubicBezTo>
                <a:cubicBezTo>
                  <a:pt x="124" y="163"/>
                  <a:pt x="124" y="163"/>
                  <a:pt x="124" y="163"/>
                </a:cubicBezTo>
                <a:cubicBezTo>
                  <a:pt x="125" y="164"/>
                  <a:pt x="125" y="164"/>
                  <a:pt x="125" y="164"/>
                </a:cubicBezTo>
                <a:cubicBezTo>
                  <a:pt x="125" y="165"/>
                  <a:pt x="125" y="165"/>
                  <a:pt x="125" y="165"/>
                </a:cubicBezTo>
                <a:cubicBezTo>
                  <a:pt x="125" y="166"/>
                  <a:pt x="125" y="166"/>
                  <a:pt x="125" y="166"/>
                </a:cubicBezTo>
                <a:cubicBezTo>
                  <a:pt x="126" y="165"/>
                  <a:pt x="126" y="165"/>
                  <a:pt x="126" y="165"/>
                </a:cubicBezTo>
                <a:cubicBezTo>
                  <a:pt x="125" y="163"/>
                  <a:pt x="125" y="163"/>
                  <a:pt x="125" y="163"/>
                </a:cubicBezTo>
                <a:cubicBezTo>
                  <a:pt x="124" y="161"/>
                  <a:pt x="124" y="161"/>
                  <a:pt x="124" y="161"/>
                </a:cubicBezTo>
                <a:cubicBezTo>
                  <a:pt x="123" y="159"/>
                  <a:pt x="123" y="159"/>
                  <a:pt x="123" y="159"/>
                </a:cubicBezTo>
                <a:cubicBezTo>
                  <a:pt x="123" y="159"/>
                  <a:pt x="123" y="159"/>
                  <a:pt x="123" y="159"/>
                </a:cubicBezTo>
                <a:cubicBezTo>
                  <a:pt x="124" y="160"/>
                  <a:pt x="124" y="160"/>
                  <a:pt x="124" y="160"/>
                </a:cubicBezTo>
                <a:cubicBezTo>
                  <a:pt x="124" y="161"/>
                  <a:pt x="124" y="161"/>
                  <a:pt x="124" y="161"/>
                </a:cubicBezTo>
                <a:cubicBezTo>
                  <a:pt x="125" y="161"/>
                  <a:pt x="125" y="161"/>
                  <a:pt x="125" y="161"/>
                </a:cubicBezTo>
                <a:cubicBezTo>
                  <a:pt x="126" y="162"/>
                  <a:pt x="126" y="162"/>
                  <a:pt x="126" y="162"/>
                </a:cubicBezTo>
                <a:cubicBezTo>
                  <a:pt x="127" y="161"/>
                  <a:pt x="127" y="161"/>
                  <a:pt x="127" y="161"/>
                </a:cubicBezTo>
                <a:cubicBezTo>
                  <a:pt x="127" y="160"/>
                  <a:pt x="127" y="160"/>
                  <a:pt x="127" y="160"/>
                </a:cubicBezTo>
                <a:cubicBezTo>
                  <a:pt x="126" y="159"/>
                  <a:pt x="126" y="159"/>
                  <a:pt x="126" y="159"/>
                </a:cubicBezTo>
                <a:cubicBezTo>
                  <a:pt x="126" y="159"/>
                  <a:pt x="126" y="159"/>
                  <a:pt x="126" y="159"/>
                </a:cubicBezTo>
                <a:cubicBezTo>
                  <a:pt x="127" y="157"/>
                  <a:pt x="127" y="157"/>
                  <a:pt x="127" y="157"/>
                </a:cubicBezTo>
                <a:cubicBezTo>
                  <a:pt x="127" y="156"/>
                  <a:pt x="127" y="156"/>
                  <a:pt x="127" y="156"/>
                </a:cubicBezTo>
                <a:cubicBezTo>
                  <a:pt x="126" y="155"/>
                  <a:pt x="126" y="155"/>
                  <a:pt x="126" y="155"/>
                </a:cubicBezTo>
                <a:cubicBezTo>
                  <a:pt x="124" y="153"/>
                  <a:pt x="124" y="153"/>
                  <a:pt x="124" y="153"/>
                </a:cubicBezTo>
                <a:cubicBezTo>
                  <a:pt x="125" y="153"/>
                  <a:pt x="125" y="153"/>
                  <a:pt x="125" y="153"/>
                </a:cubicBezTo>
                <a:cubicBezTo>
                  <a:pt x="126" y="154"/>
                  <a:pt x="126" y="154"/>
                  <a:pt x="126" y="154"/>
                </a:cubicBezTo>
                <a:cubicBezTo>
                  <a:pt x="127" y="154"/>
                  <a:pt x="127" y="154"/>
                  <a:pt x="127" y="154"/>
                </a:cubicBezTo>
                <a:cubicBezTo>
                  <a:pt x="128" y="153"/>
                  <a:pt x="128" y="153"/>
                  <a:pt x="128" y="153"/>
                </a:cubicBezTo>
                <a:cubicBezTo>
                  <a:pt x="127" y="152"/>
                  <a:pt x="127" y="152"/>
                  <a:pt x="127" y="152"/>
                </a:cubicBezTo>
                <a:cubicBezTo>
                  <a:pt x="127" y="152"/>
                  <a:pt x="127" y="152"/>
                  <a:pt x="127" y="152"/>
                </a:cubicBezTo>
                <a:cubicBezTo>
                  <a:pt x="127" y="151"/>
                  <a:pt x="127" y="151"/>
                  <a:pt x="127" y="151"/>
                </a:cubicBezTo>
                <a:cubicBezTo>
                  <a:pt x="127" y="150"/>
                  <a:pt x="127" y="150"/>
                  <a:pt x="127" y="150"/>
                </a:cubicBezTo>
                <a:cubicBezTo>
                  <a:pt x="129" y="151"/>
                  <a:pt x="129" y="151"/>
                  <a:pt x="129" y="151"/>
                </a:cubicBezTo>
                <a:cubicBezTo>
                  <a:pt x="130" y="152"/>
                  <a:pt x="130" y="152"/>
                  <a:pt x="130" y="152"/>
                </a:cubicBezTo>
                <a:cubicBezTo>
                  <a:pt x="131" y="151"/>
                  <a:pt x="131" y="151"/>
                  <a:pt x="131" y="151"/>
                </a:cubicBezTo>
                <a:cubicBezTo>
                  <a:pt x="130" y="151"/>
                  <a:pt x="130" y="151"/>
                  <a:pt x="130" y="151"/>
                </a:cubicBezTo>
                <a:cubicBezTo>
                  <a:pt x="130" y="150"/>
                  <a:pt x="130" y="150"/>
                  <a:pt x="130" y="150"/>
                </a:cubicBezTo>
                <a:cubicBezTo>
                  <a:pt x="131" y="150"/>
                  <a:pt x="131" y="150"/>
                  <a:pt x="131" y="150"/>
                </a:cubicBezTo>
                <a:cubicBezTo>
                  <a:pt x="131" y="150"/>
                  <a:pt x="131" y="150"/>
                  <a:pt x="131" y="150"/>
                </a:cubicBezTo>
                <a:cubicBezTo>
                  <a:pt x="132" y="149"/>
                  <a:pt x="132" y="149"/>
                  <a:pt x="132" y="149"/>
                </a:cubicBezTo>
                <a:cubicBezTo>
                  <a:pt x="132" y="148"/>
                  <a:pt x="132" y="148"/>
                  <a:pt x="132" y="148"/>
                </a:cubicBezTo>
                <a:cubicBezTo>
                  <a:pt x="132" y="148"/>
                  <a:pt x="132" y="148"/>
                  <a:pt x="132" y="148"/>
                </a:cubicBezTo>
                <a:cubicBezTo>
                  <a:pt x="132" y="147"/>
                  <a:pt x="132" y="147"/>
                  <a:pt x="132" y="147"/>
                </a:cubicBezTo>
                <a:cubicBezTo>
                  <a:pt x="134" y="146"/>
                  <a:pt x="134" y="146"/>
                  <a:pt x="134" y="146"/>
                </a:cubicBezTo>
                <a:cubicBezTo>
                  <a:pt x="134" y="146"/>
                  <a:pt x="134" y="146"/>
                  <a:pt x="134" y="146"/>
                </a:cubicBezTo>
                <a:cubicBezTo>
                  <a:pt x="133" y="145"/>
                  <a:pt x="133" y="145"/>
                  <a:pt x="133" y="145"/>
                </a:cubicBezTo>
                <a:cubicBezTo>
                  <a:pt x="133" y="144"/>
                  <a:pt x="133" y="144"/>
                  <a:pt x="133" y="144"/>
                </a:cubicBezTo>
                <a:cubicBezTo>
                  <a:pt x="133" y="143"/>
                  <a:pt x="133" y="143"/>
                  <a:pt x="133" y="143"/>
                </a:cubicBezTo>
                <a:cubicBezTo>
                  <a:pt x="134" y="144"/>
                  <a:pt x="134" y="144"/>
                  <a:pt x="134" y="144"/>
                </a:cubicBezTo>
                <a:cubicBezTo>
                  <a:pt x="135" y="143"/>
                  <a:pt x="135" y="143"/>
                  <a:pt x="135" y="143"/>
                </a:cubicBezTo>
                <a:cubicBezTo>
                  <a:pt x="136" y="141"/>
                  <a:pt x="136" y="141"/>
                  <a:pt x="136" y="141"/>
                </a:cubicBezTo>
                <a:cubicBezTo>
                  <a:pt x="137" y="140"/>
                  <a:pt x="137" y="140"/>
                  <a:pt x="137" y="140"/>
                </a:cubicBezTo>
                <a:cubicBezTo>
                  <a:pt x="138" y="139"/>
                  <a:pt x="138" y="139"/>
                  <a:pt x="138" y="139"/>
                </a:cubicBezTo>
                <a:cubicBezTo>
                  <a:pt x="138" y="137"/>
                  <a:pt x="138" y="137"/>
                  <a:pt x="138" y="137"/>
                </a:cubicBezTo>
                <a:cubicBezTo>
                  <a:pt x="139" y="136"/>
                  <a:pt x="139" y="136"/>
                  <a:pt x="139" y="136"/>
                </a:cubicBezTo>
                <a:cubicBezTo>
                  <a:pt x="140" y="135"/>
                  <a:pt x="140" y="135"/>
                  <a:pt x="140" y="135"/>
                </a:cubicBezTo>
                <a:cubicBezTo>
                  <a:pt x="141" y="132"/>
                  <a:pt x="141" y="132"/>
                  <a:pt x="141" y="132"/>
                </a:cubicBezTo>
                <a:cubicBezTo>
                  <a:pt x="142" y="132"/>
                  <a:pt x="142" y="132"/>
                  <a:pt x="142" y="132"/>
                </a:cubicBezTo>
                <a:cubicBezTo>
                  <a:pt x="145" y="130"/>
                  <a:pt x="145" y="130"/>
                  <a:pt x="145" y="130"/>
                </a:cubicBezTo>
                <a:cubicBezTo>
                  <a:pt x="147" y="128"/>
                  <a:pt x="147" y="128"/>
                  <a:pt x="147" y="128"/>
                </a:cubicBezTo>
                <a:cubicBezTo>
                  <a:pt x="149" y="126"/>
                  <a:pt x="149" y="126"/>
                  <a:pt x="149" y="126"/>
                </a:cubicBezTo>
                <a:cubicBezTo>
                  <a:pt x="150" y="126"/>
                  <a:pt x="150" y="126"/>
                  <a:pt x="150" y="126"/>
                </a:cubicBezTo>
                <a:cubicBezTo>
                  <a:pt x="151" y="124"/>
                  <a:pt x="151" y="124"/>
                  <a:pt x="151" y="124"/>
                </a:cubicBezTo>
                <a:cubicBezTo>
                  <a:pt x="153" y="124"/>
                  <a:pt x="153" y="124"/>
                  <a:pt x="153" y="124"/>
                </a:cubicBezTo>
                <a:cubicBezTo>
                  <a:pt x="155" y="123"/>
                  <a:pt x="155" y="123"/>
                  <a:pt x="155" y="123"/>
                </a:cubicBezTo>
                <a:cubicBezTo>
                  <a:pt x="156" y="121"/>
                  <a:pt x="156" y="121"/>
                  <a:pt x="156" y="121"/>
                </a:cubicBezTo>
                <a:cubicBezTo>
                  <a:pt x="157" y="120"/>
                  <a:pt x="157" y="120"/>
                  <a:pt x="157" y="120"/>
                </a:cubicBezTo>
                <a:cubicBezTo>
                  <a:pt x="158" y="120"/>
                  <a:pt x="158" y="120"/>
                  <a:pt x="158" y="120"/>
                </a:cubicBezTo>
                <a:cubicBezTo>
                  <a:pt x="159" y="120"/>
                  <a:pt x="159" y="120"/>
                  <a:pt x="159" y="120"/>
                </a:cubicBezTo>
                <a:cubicBezTo>
                  <a:pt x="159" y="119"/>
                  <a:pt x="159" y="119"/>
                  <a:pt x="159" y="119"/>
                </a:cubicBezTo>
                <a:cubicBezTo>
                  <a:pt x="159" y="118"/>
                  <a:pt x="159" y="118"/>
                  <a:pt x="159" y="118"/>
                </a:cubicBezTo>
                <a:cubicBezTo>
                  <a:pt x="159" y="117"/>
                  <a:pt x="159" y="117"/>
                  <a:pt x="159" y="117"/>
                </a:cubicBezTo>
                <a:cubicBezTo>
                  <a:pt x="159" y="116"/>
                  <a:pt x="159" y="116"/>
                  <a:pt x="159" y="116"/>
                </a:cubicBezTo>
                <a:cubicBezTo>
                  <a:pt x="159" y="114"/>
                  <a:pt x="159" y="114"/>
                  <a:pt x="159" y="114"/>
                </a:cubicBezTo>
                <a:cubicBezTo>
                  <a:pt x="159" y="114"/>
                  <a:pt x="159" y="114"/>
                  <a:pt x="159" y="114"/>
                </a:cubicBezTo>
                <a:cubicBezTo>
                  <a:pt x="158" y="114"/>
                  <a:pt x="158" y="114"/>
                  <a:pt x="158" y="114"/>
                </a:cubicBezTo>
                <a:cubicBezTo>
                  <a:pt x="158" y="112"/>
                  <a:pt x="158" y="112"/>
                  <a:pt x="158" y="112"/>
                </a:cubicBezTo>
                <a:cubicBezTo>
                  <a:pt x="158" y="111"/>
                  <a:pt x="158" y="111"/>
                  <a:pt x="158" y="111"/>
                </a:cubicBezTo>
                <a:cubicBezTo>
                  <a:pt x="158" y="110"/>
                  <a:pt x="158" y="110"/>
                  <a:pt x="158" y="110"/>
                </a:cubicBezTo>
                <a:cubicBezTo>
                  <a:pt x="157" y="110"/>
                  <a:pt x="157" y="110"/>
                  <a:pt x="157" y="110"/>
                </a:cubicBezTo>
                <a:cubicBezTo>
                  <a:pt x="156" y="109"/>
                  <a:pt x="156" y="109"/>
                  <a:pt x="156" y="109"/>
                </a:cubicBezTo>
                <a:cubicBezTo>
                  <a:pt x="155" y="109"/>
                  <a:pt x="155" y="109"/>
                  <a:pt x="155" y="109"/>
                </a:cubicBezTo>
                <a:cubicBezTo>
                  <a:pt x="154" y="108"/>
                  <a:pt x="154" y="108"/>
                  <a:pt x="154" y="108"/>
                </a:cubicBezTo>
                <a:cubicBezTo>
                  <a:pt x="154" y="107"/>
                  <a:pt x="154" y="107"/>
                  <a:pt x="154" y="107"/>
                </a:cubicBezTo>
                <a:cubicBezTo>
                  <a:pt x="154" y="107"/>
                  <a:pt x="154" y="107"/>
                  <a:pt x="154" y="107"/>
                </a:cubicBezTo>
                <a:cubicBezTo>
                  <a:pt x="152" y="108"/>
                  <a:pt x="152" y="108"/>
                  <a:pt x="152" y="108"/>
                </a:cubicBezTo>
                <a:cubicBezTo>
                  <a:pt x="152" y="108"/>
                  <a:pt x="152" y="108"/>
                  <a:pt x="152" y="108"/>
                </a:cubicBezTo>
                <a:cubicBezTo>
                  <a:pt x="151" y="108"/>
                  <a:pt x="151" y="108"/>
                  <a:pt x="151" y="108"/>
                </a:cubicBezTo>
                <a:cubicBezTo>
                  <a:pt x="150" y="107"/>
                  <a:pt x="150" y="107"/>
                  <a:pt x="150" y="107"/>
                </a:cubicBezTo>
                <a:cubicBezTo>
                  <a:pt x="149" y="108"/>
                  <a:pt x="149" y="108"/>
                  <a:pt x="149" y="108"/>
                </a:cubicBezTo>
                <a:cubicBezTo>
                  <a:pt x="148" y="109"/>
                  <a:pt x="148" y="109"/>
                  <a:pt x="148" y="109"/>
                </a:cubicBezTo>
                <a:cubicBezTo>
                  <a:pt x="147" y="110"/>
                  <a:pt x="147" y="110"/>
                  <a:pt x="147" y="110"/>
                </a:cubicBezTo>
                <a:cubicBezTo>
                  <a:pt x="147" y="110"/>
                  <a:pt x="147" y="110"/>
                  <a:pt x="147" y="110"/>
                </a:cubicBezTo>
                <a:cubicBezTo>
                  <a:pt x="146" y="111"/>
                  <a:pt x="146" y="111"/>
                  <a:pt x="146" y="111"/>
                </a:cubicBezTo>
                <a:cubicBezTo>
                  <a:pt x="145" y="111"/>
                  <a:pt x="145" y="111"/>
                  <a:pt x="145" y="111"/>
                </a:cubicBezTo>
                <a:cubicBezTo>
                  <a:pt x="145" y="112"/>
                  <a:pt x="145" y="112"/>
                  <a:pt x="145" y="112"/>
                </a:cubicBezTo>
                <a:cubicBezTo>
                  <a:pt x="144" y="113"/>
                  <a:pt x="144" y="113"/>
                  <a:pt x="144" y="113"/>
                </a:cubicBezTo>
                <a:cubicBezTo>
                  <a:pt x="144" y="114"/>
                  <a:pt x="144" y="114"/>
                  <a:pt x="144" y="114"/>
                </a:cubicBezTo>
                <a:cubicBezTo>
                  <a:pt x="145" y="115"/>
                  <a:pt x="145" y="115"/>
                  <a:pt x="145" y="115"/>
                </a:cubicBezTo>
                <a:cubicBezTo>
                  <a:pt x="145" y="116"/>
                  <a:pt x="145" y="116"/>
                  <a:pt x="145" y="116"/>
                </a:cubicBezTo>
                <a:cubicBezTo>
                  <a:pt x="144" y="116"/>
                  <a:pt x="144" y="116"/>
                  <a:pt x="144" y="116"/>
                </a:cubicBezTo>
                <a:cubicBezTo>
                  <a:pt x="143" y="117"/>
                  <a:pt x="143" y="117"/>
                  <a:pt x="143" y="117"/>
                </a:cubicBezTo>
                <a:cubicBezTo>
                  <a:pt x="143" y="118"/>
                  <a:pt x="143" y="118"/>
                  <a:pt x="143" y="118"/>
                </a:cubicBezTo>
                <a:cubicBezTo>
                  <a:pt x="142" y="118"/>
                  <a:pt x="142" y="118"/>
                  <a:pt x="142" y="118"/>
                </a:cubicBezTo>
                <a:cubicBezTo>
                  <a:pt x="142" y="119"/>
                  <a:pt x="142" y="119"/>
                  <a:pt x="142" y="119"/>
                </a:cubicBezTo>
                <a:cubicBezTo>
                  <a:pt x="140" y="120"/>
                  <a:pt x="140" y="120"/>
                  <a:pt x="140" y="120"/>
                </a:cubicBezTo>
                <a:cubicBezTo>
                  <a:pt x="139" y="121"/>
                  <a:pt x="139" y="121"/>
                  <a:pt x="139" y="121"/>
                </a:cubicBezTo>
                <a:cubicBezTo>
                  <a:pt x="138" y="121"/>
                  <a:pt x="138" y="121"/>
                  <a:pt x="138" y="121"/>
                </a:cubicBezTo>
                <a:cubicBezTo>
                  <a:pt x="137" y="121"/>
                  <a:pt x="137" y="121"/>
                  <a:pt x="137" y="121"/>
                </a:cubicBezTo>
                <a:cubicBezTo>
                  <a:pt x="136" y="121"/>
                  <a:pt x="136" y="121"/>
                  <a:pt x="136" y="121"/>
                </a:cubicBezTo>
                <a:cubicBezTo>
                  <a:pt x="135" y="123"/>
                  <a:pt x="135" y="123"/>
                  <a:pt x="135" y="123"/>
                </a:cubicBezTo>
                <a:cubicBezTo>
                  <a:pt x="134" y="124"/>
                  <a:pt x="134" y="124"/>
                  <a:pt x="134" y="124"/>
                </a:cubicBezTo>
                <a:cubicBezTo>
                  <a:pt x="134" y="123"/>
                  <a:pt x="134" y="123"/>
                  <a:pt x="134" y="123"/>
                </a:cubicBezTo>
                <a:cubicBezTo>
                  <a:pt x="133" y="122"/>
                  <a:pt x="133" y="122"/>
                  <a:pt x="133" y="122"/>
                </a:cubicBezTo>
                <a:cubicBezTo>
                  <a:pt x="133" y="122"/>
                  <a:pt x="133" y="122"/>
                  <a:pt x="133" y="122"/>
                </a:cubicBezTo>
                <a:cubicBezTo>
                  <a:pt x="133" y="123"/>
                  <a:pt x="133" y="123"/>
                  <a:pt x="133" y="123"/>
                </a:cubicBezTo>
                <a:cubicBezTo>
                  <a:pt x="133" y="125"/>
                  <a:pt x="133" y="125"/>
                  <a:pt x="133" y="125"/>
                </a:cubicBezTo>
                <a:cubicBezTo>
                  <a:pt x="133" y="125"/>
                  <a:pt x="133" y="125"/>
                  <a:pt x="133" y="125"/>
                </a:cubicBezTo>
                <a:cubicBezTo>
                  <a:pt x="132" y="124"/>
                  <a:pt x="132" y="124"/>
                  <a:pt x="132" y="124"/>
                </a:cubicBezTo>
                <a:cubicBezTo>
                  <a:pt x="132" y="123"/>
                  <a:pt x="132" y="123"/>
                  <a:pt x="132" y="123"/>
                </a:cubicBezTo>
                <a:cubicBezTo>
                  <a:pt x="130" y="123"/>
                  <a:pt x="130" y="123"/>
                  <a:pt x="130" y="123"/>
                </a:cubicBezTo>
                <a:cubicBezTo>
                  <a:pt x="127" y="124"/>
                  <a:pt x="127" y="124"/>
                  <a:pt x="127" y="124"/>
                </a:cubicBezTo>
                <a:cubicBezTo>
                  <a:pt x="127" y="124"/>
                  <a:pt x="127" y="124"/>
                  <a:pt x="127" y="124"/>
                </a:cubicBezTo>
                <a:cubicBezTo>
                  <a:pt x="126" y="124"/>
                  <a:pt x="126" y="124"/>
                  <a:pt x="126" y="124"/>
                </a:cubicBezTo>
                <a:cubicBezTo>
                  <a:pt x="126" y="125"/>
                  <a:pt x="126" y="125"/>
                  <a:pt x="126" y="125"/>
                </a:cubicBezTo>
                <a:cubicBezTo>
                  <a:pt x="126" y="127"/>
                  <a:pt x="126" y="127"/>
                  <a:pt x="126" y="127"/>
                </a:cubicBezTo>
                <a:cubicBezTo>
                  <a:pt x="127" y="127"/>
                  <a:pt x="127" y="127"/>
                  <a:pt x="127" y="127"/>
                </a:cubicBezTo>
                <a:cubicBezTo>
                  <a:pt x="127" y="128"/>
                  <a:pt x="127" y="128"/>
                  <a:pt x="127" y="128"/>
                </a:cubicBezTo>
                <a:cubicBezTo>
                  <a:pt x="126" y="128"/>
                  <a:pt x="126" y="128"/>
                  <a:pt x="126" y="128"/>
                </a:cubicBezTo>
                <a:cubicBezTo>
                  <a:pt x="125" y="129"/>
                  <a:pt x="125" y="129"/>
                  <a:pt x="125" y="129"/>
                </a:cubicBezTo>
                <a:cubicBezTo>
                  <a:pt x="125" y="129"/>
                  <a:pt x="125" y="129"/>
                  <a:pt x="125" y="129"/>
                </a:cubicBezTo>
                <a:cubicBezTo>
                  <a:pt x="125" y="128"/>
                  <a:pt x="125" y="128"/>
                  <a:pt x="125" y="128"/>
                </a:cubicBezTo>
                <a:cubicBezTo>
                  <a:pt x="125" y="128"/>
                  <a:pt x="125" y="128"/>
                  <a:pt x="125" y="128"/>
                </a:cubicBezTo>
                <a:cubicBezTo>
                  <a:pt x="125" y="127"/>
                  <a:pt x="125" y="127"/>
                  <a:pt x="125" y="127"/>
                </a:cubicBezTo>
                <a:cubicBezTo>
                  <a:pt x="125" y="127"/>
                  <a:pt x="125" y="127"/>
                  <a:pt x="125" y="127"/>
                </a:cubicBezTo>
                <a:cubicBezTo>
                  <a:pt x="124" y="128"/>
                  <a:pt x="124" y="128"/>
                  <a:pt x="124" y="128"/>
                </a:cubicBezTo>
                <a:cubicBezTo>
                  <a:pt x="123" y="129"/>
                  <a:pt x="123" y="129"/>
                  <a:pt x="123" y="129"/>
                </a:cubicBezTo>
                <a:cubicBezTo>
                  <a:pt x="123" y="130"/>
                  <a:pt x="123" y="130"/>
                  <a:pt x="123" y="130"/>
                </a:cubicBezTo>
                <a:cubicBezTo>
                  <a:pt x="123" y="130"/>
                  <a:pt x="123" y="130"/>
                  <a:pt x="123" y="130"/>
                </a:cubicBezTo>
                <a:cubicBezTo>
                  <a:pt x="123" y="131"/>
                  <a:pt x="123" y="131"/>
                  <a:pt x="123" y="131"/>
                </a:cubicBezTo>
                <a:cubicBezTo>
                  <a:pt x="122" y="132"/>
                  <a:pt x="122" y="132"/>
                  <a:pt x="122" y="132"/>
                </a:cubicBezTo>
                <a:cubicBezTo>
                  <a:pt x="121" y="132"/>
                  <a:pt x="121" y="132"/>
                  <a:pt x="121" y="132"/>
                </a:cubicBezTo>
                <a:cubicBezTo>
                  <a:pt x="120" y="132"/>
                  <a:pt x="120" y="132"/>
                  <a:pt x="120" y="132"/>
                </a:cubicBezTo>
                <a:cubicBezTo>
                  <a:pt x="120" y="133"/>
                  <a:pt x="120" y="133"/>
                  <a:pt x="120" y="133"/>
                </a:cubicBezTo>
                <a:cubicBezTo>
                  <a:pt x="119" y="133"/>
                  <a:pt x="119" y="133"/>
                  <a:pt x="119" y="133"/>
                </a:cubicBezTo>
                <a:cubicBezTo>
                  <a:pt x="118" y="134"/>
                  <a:pt x="118" y="134"/>
                  <a:pt x="118" y="134"/>
                </a:cubicBezTo>
                <a:cubicBezTo>
                  <a:pt x="118" y="136"/>
                  <a:pt x="118" y="136"/>
                  <a:pt x="118" y="136"/>
                </a:cubicBezTo>
                <a:cubicBezTo>
                  <a:pt x="118" y="136"/>
                  <a:pt x="118" y="136"/>
                  <a:pt x="118" y="136"/>
                </a:cubicBezTo>
                <a:cubicBezTo>
                  <a:pt x="119" y="136"/>
                  <a:pt x="119" y="136"/>
                  <a:pt x="119" y="136"/>
                </a:cubicBezTo>
                <a:cubicBezTo>
                  <a:pt x="118" y="137"/>
                  <a:pt x="118" y="137"/>
                  <a:pt x="118" y="137"/>
                </a:cubicBezTo>
                <a:cubicBezTo>
                  <a:pt x="116" y="137"/>
                  <a:pt x="116" y="137"/>
                  <a:pt x="116" y="137"/>
                </a:cubicBezTo>
                <a:cubicBezTo>
                  <a:pt x="116" y="138"/>
                  <a:pt x="116" y="138"/>
                  <a:pt x="116" y="138"/>
                </a:cubicBezTo>
                <a:cubicBezTo>
                  <a:pt x="115" y="139"/>
                  <a:pt x="115" y="139"/>
                  <a:pt x="115" y="139"/>
                </a:cubicBezTo>
                <a:cubicBezTo>
                  <a:pt x="115" y="140"/>
                  <a:pt x="115" y="140"/>
                  <a:pt x="115" y="140"/>
                </a:cubicBezTo>
                <a:cubicBezTo>
                  <a:pt x="116" y="140"/>
                  <a:pt x="116" y="140"/>
                  <a:pt x="116" y="140"/>
                </a:cubicBezTo>
                <a:cubicBezTo>
                  <a:pt x="117" y="140"/>
                  <a:pt x="117" y="140"/>
                  <a:pt x="117" y="140"/>
                </a:cubicBezTo>
                <a:cubicBezTo>
                  <a:pt x="117" y="141"/>
                  <a:pt x="117" y="141"/>
                  <a:pt x="117" y="141"/>
                </a:cubicBezTo>
                <a:cubicBezTo>
                  <a:pt x="117" y="141"/>
                  <a:pt x="117" y="141"/>
                  <a:pt x="117" y="141"/>
                </a:cubicBezTo>
                <a:cubicBezTo>
                  <a:pt x="117" y="142"/>
                  <a:pt x="117" y="142"/>
                  <a:pt x="117" y="142"/>
                </a:cubicBezTo>
                <a:cubicBezTo>
                  <a:pt x="116" y="143"/>
                  <a:pt x="116" y="143"/>
                  <a:pt x="116" y="143"/>
                </a:cubicBezTo>
                <a:cubicBezTo>
                  <a:pt x="116" y="143"/>
                  <a:pt x="116" y="143"/>
                  <a:pt x="116" y="143"/>
                </a:cubicBezTo>
                <a:cubicBezTo>
                  <a:pt x="114" y="143"/>
                  <a:pt x="114" y="143"/>
                  <a:pt x="114" y="143"/>
                </a:cubicBezTo>
                <a:cubicBezTo>
                  <a:pt x="113" y="143"/>
                  <a:pt x="113" y="143"/>
                  <a:pt x="113" y="143"/>
                </a:cubicBezTo>
                <a:cubicBezTo>
                  <a:pt x="112" y="144"/>
                  <a:pt x="112" y="144"/>
                  <a:pt x="112" y="144"/>
                </a:cubicBezTo>
                <a:cubicBezTo>
                  <a:pt x="113" y="145"/>
                  <a:pt x="113" y="145"/>
                  <a:pt x="113" y="145"/>
                </a:cubicBezTo>
                <a:cubicBezTo>
                  <a:pt x="112" y="146"/>
                  <a:pt x="112" y="146"/>
                  <a:pt x="112" y="146"/>
                </a:cubicBezTo>
                <a:cubicBezTo>
                  <a:pt x="111" y="147"/>
                  <a:pt x="111" y="147"/>
                  <a:pt x="111" y="147"/>
                </a:cubicBezTo>
                <a:cubicBezTo>
                  <a:pt x="110" y="147"/>
                  <a:pt x="110" y="147"/>
                  <a:pt x="110" y="147"/>
                </a:cubicBezTo>
                <a:cubicBezTo>
                  <a:pt x="109" y="146"/>
                  <a:pt x="109" y="146"/>
                  <a:pt x="109" y="146"/>
                </a:cubicBezTo>
                <a:cubicBezTo>
                  <a:pt x="109" y="145"/>
                  <a:pt x="109" y="145"/>
                  <a:pt x="109" y="145"/>
                </a:cubicBezTo>
                <a:cubicBezTo>
                  <a:pt x="109" y="145"/>
                  <a:pt x="109" y="145"/>
                  <a:pt x="109" y="145"/>
                </a:cubicBezTo>
                <a:cubicBezTo>
                  <a:pt x="108" y="147"/>
                  <a:pt x="108" y="147"/>
                  <a:pt x="108" y="147"/>
                </a:cubicBezTo>
                <a:cubicBezTo>
                  <a:pt x="108" y="148"/>
                  <a:pt x="108" y="148"/>
                  <a:pt x="108" y="148"/>
                </a:cubicBezTo>
                <a:cubicBezTo>
                  <a:pt x="110" y="149"/>
                  <a:pt x="110" y="149"/>
                  <a:pt x="110" y="149"/>
                </a:cubicBezTo>
                <a:cubicBezTo>
                  <a:pt x="110" y="149"/>
                  <a:pt x="110" y="149"/>
                  <a:pt x="110" y="149"/>
                </a:cubicBezTo>
                <a:cubicBezTo>
                  <a:pt x="111" y="149"/>
                  <a:pt x="111" y="149"/>
                  <a:pt x="111" y="149"/>
                </a:cubicBezTo>
                <a:cubicBezTo>
                  <a:pt x="111" y="150"/>
                  <a:pt x="111" y="150"/>
                  <a:pt x="111" y="150"/>
                </a:cubicBezTo>
                <a:cubicBezTo>
                  <a:pt x="110" y="151"/>
                  <a:pt x="110" y="151"/>
                  <a:pt x="110" y="151"/>
                </a:cubicBezTo>
                <a:cubicBezTo>
                  <a:pt x="110" y="152"/>
                  <a:pt x="110" y="152"/>
                  <a:pt x="110" y="152"/>
                </a:cubicBezTo>
                <a:cubicBezTo>
                  <a:pt x="111" y="152"/>
                  <a:pt x="111" y="152"/>
                  <a:pt x="111" y="152"/>
                </a:cubicBezTo>
                <a:cubicBezTo>
                  <a:pt x="112" y="151"/>
                  <a:pt x="112" y="151"/>
                  <a:pt x="112" y="151"/>
                </a:cubicBezTo>
                <a:cubicBezTo>
                  <a:pt x="112" y="151"/>
                  <a:pt x="112" y="151"/>
                  <a:pt x="112" y="151"/>
                </a:cubicBezTo>
                <a:cubicBezTo>
                  <a:pt x="113" y="152"/>
                  <a:pt x="113" y="152"/>
                  <a:pt x="113" y="152"/>
                </a:cubicBezTo>
                <a:cubicBezTo>
                  <a:pt x="114" y="152"/>
                  <a:pt x="114" y="152"/>
                  <a:pt x="114" y="152"/>
                </a:cubicBezTo>
                <a:cubicBezTo>
                  <a:pt x="115" y="151"/>
                  <a:pt x="115" y="151"/>
                  <a:pt x="115" y="151"/>
                </a:cubicBezTo>
                <a:cubicBezTo>
                  <a:pt x="115" y="151"/>
                  <a:pt x="115" y="151"/>
                  <a:pt x="115" y="151"/>
                </a:cubicBezTo>
                <a:cubicBezTo>
                  <a:pt x="115" y="152"/>
                  <a:pt x="115" y="152"/>
                  <a:pt x="115" y="152"/>
                </a:cubicBezTo>
                <a:cubicBezTo>
                  <a:pt x="114" y="153"/>
                  <a:pt x="114" y="153"/>
                  <a:pt x="114" y="153"/>
                </a:cubicBezTo>
                <a:cubicBezTo>
                  <a:pt x="112" y="152"/>
                  <a:pt x="112" y="152"/>
                  <a:pt x="112" y="152"/>
                </a:cubicBezTo>
                <a:cubicBezTo>
                  <a:pt x="112" y="153"/>
                  <a:pt x="112" y="153"/>
                  <a:pt x="112" y="153"/>
                </a:cubicBezTo>
                <a:cubicBezTo>
                  <a:pt x="111" y="153"/>
                  <a:pt x="111" y="153"/>
                  <a:pt x="111" y="153"/>
                </a:cubicBezTo>
                <a:cubicBezTo>
                  <a:pt x="111" y="154"/>
                  <a:pt x="111" y="154"/>
                  <a:pt x="111" y="154"/>
                </a:cubicBezTo>
                <a:cubicBezTo>
                  <a:pt x="111" y="155"/>
                  <a:pt x="111" y="155"/>
                  <a:pt x="111" y="155"/>
                </a:cubicBezTo>
                <a:cubicBezTo>
                  <a:pt x="112" y="156"/>
                  <a:pt x="112" y="156"/>
                  <a:pt x="112" y="156"/>
                </a:cubicBezTo>
                <a:cubicBezTo>
                  <a:pt x="113" y="156"/>
                  <a:pt x="113" y="156"/>
                  <a:pt x="113" y="156"/>
                </a:cubicBezTo>
                <a:cubicBezTo>
                  <a:pt x="114" y="155"/>
                  <a:pt x="114" y="155"/>
                  <a:pt x="114" y="155"/>
                </a:cubicBezTo>
                <a:cubicBezTo>
                  <a:pt x="114" y="156"/>
                  <a:pt x="114" y="156"/>
                  <a:pt x="114" y="156"/>
                </a:cubicBezTo>
                <a:cubicBezTo>
                  <a:pt x="114" y="156"/>
                  <a:pt x="114" y="156"/>
                  <a:pt x="114" y="156"/>
                </a:cubicBezTo>
                <a:cubicBezTo>
                  <a:pt x="112" y="157"/>
                  <a:pt x="112" y="157"/>
                  <a:pt x="112" y="157"/>
                </a:cubicBezTo>
                <a:cubicBezTo>
                  <a:pt x="111" y="157"/>
                  <a:pt x="111" y="157"/>
                  <a:pt x="111" y="157"/>
                </a:cubicBezTo>
                <a:cubicBezTo>
                  <a:pt x="110" y="157"/>
                  <a:pt x="110" y="157"/>
                  <a:pt x="110" y="157"/>
                </a:cubicBezTo>
                <a:cubicBezTo>
                  <a:pt x="110" y="158"/>
                  <a:pt x="110" y="158"/>
                  <a:pt x="110" y="158"/>
                </a:cubicBezTo>
                <a:cubicBezTo>
                  <a:pt x="111" y="158"/>
                  <a:pt x="111" y="158"/>
                  <a:pt x="111" y="158"/>
                </a:cubicBezTo>
                <a:cubicBezTo>
                  <a:pt x="112" y="158"/>
                  <a:pt x="112" y="158"/>
                  <a:pt x="112" y="158"/>
                </a:cubicBezTo>
                <a:cubicBezTo>
                  <a:pt x="113" y="158"/>
                  <a:pt x="113" y="158"/>
                  <a:pt x="113" y="158"/>
                </a:cubicBezTo>
                <a:cubicBezTo>
                  <a:pt x="113" y="159"/>
                  <a:pt x="113" y="159"/>
                  <a:pt x="113" y="159"/>
                </a:cubicBezTo>
                <a:cubicBezTo>
                  <a:pt x="112" y="159"/>
                  <a:pt x="112" y="159"/>
                  <a:pt x="112" y="159"/>
                </a:cubicBezTo>
                <a:cubicBezTo>
                  <a:pt x="111" y="159"/>
                  <a:pt x="111" y="159"/>
                  <a:pt x="111" y="159"/>
                </a:cubicBezTo>
                <a:cubicBezTo>
                  <a:pt x="111" y="160"/>
                  <a:pt x="111" y="160"/>
                  <a:pt x="111" y="160"/>
                </a:cubicBezTo>
                <a:cubicBezTo>
                  <a:pt x="111" y="160"/>
                  <a:pt x="111" y="160"/>
                  <a:pt x="111" y="160"/>
                </a:cubicBezTo>
                <a:cubicBezTo>
                  <a:pt x="113" y="160"/>
                  <a:pt x="113" y="160"/>
                  <a:pt x="113" y="160"/>
                </a:cubicBezTo>
                <a:cubicBezTo>
                  <a:pt x="115" y="162"/>
                  <a:pt x="115" y="162"/>
                  <a:pt x="115" y="162"/>
                </a:cubicBezTo>
                <a:cubicBezTo>
                  <a:pt x="116" y="162"/>
                  <a:pt x="116" y="162"/>
                  <a:pt x="116" y="162"/>
                </a:cubicBezTo>
                <a:cubicBezTo>
                  <a:pt x="116" y="162"/>
                  <a:pt x="116" y="162"/>
                  <a:pt x="116" y="162"/>
                </a:cubicBezTo>
                <a:cubicBezTo>
                  <a:pt x="116" y="163"/>
                  <a:pt x="116" y="163"/>
                  <a:pt x="116" y="163"/>
                </a:cubicBezTo>
                <a:cubicBezTo>
                  <a:pt x="115" y="162"/>
                  <a:pt x="115" y="162"/>
                  <a:pt x="115" y="162"/>
                </a:cubicBezTo>
                <a:cubicBezTo>
                  <a:pt x="114" y="162"/>
                  <a:pt x="114" y="162"/>
                  <a:pt x="114" y="162"/>
                </a:cubicBezTo>
                <a:cubicBezTo>
                  <a:pt x="113" y="162"/>
                  <a:pt x="113" y="162"/>
                  <a:pt x="113" y="162"/>
                </a:cubicBezTo>
                <a:cubicBezTo>
                  <a:pt x="112" y="161"/>
                  <a:pt x="112" y="161"/>
                  <a:pt x="112" y="161"/>
                </a:cubicBezTo>
                <a:cubicBezTo>
                  <a:pt x="111" y="161"/>
                  <a:pt x="111" y="161"/>
                  <a:pt x="111" y="161"/>
                </a:cubicBezTo>
                <a:cubicBezTo>
                  <a:pt x="110" y="162"/>
                  <a:pt x="110" y="162"/>
                  <a:pt x="110" y="162"/>
                </a:cubicBezTo>
                <a:cubicBezTo>
                  <a:pt x="110" y="162"/>
                  <a:pt x="110" y="162"/>
                  <a:pt x="110" y="162"/>
                </a:cubicBezTo>
                <a:cubicBezTo>
                  <a:pt x="109" y="163"/>
                  <a:pt x="109" y="163"/>
                  <a:pt x="109" y="163"/>
                </a:cubicBezTo>
                <a:cubicBezTo>
                  <a:pt x="109" y="164"/>
                  <a:pt x="109" y="164"/>
                  <a:pt x="109" y="164"/>
                </a:cubicBezTo>
                <a:cubicBezTo>
                  <a:pt x="110" y="164"/>
                  <a:pt x="110" y="164"/>
                  <a:pt x="110" y="164"/>
                </a:cubicBezTo>
                <a:cubicBezTo>
                  <a:pt x="109" y="165"/>
                  <a:pt x="109" y="165"/>
                  <a:pt x="109" y="165"/>
                </a:cubicBezTo>
                <a:cubicBezTo>
                  <a:pt x="109" y="165"/>
                  <a:pt x="109" y="165"/>
                  <a:pt x="109" y="165"/>
                </a:cubicBezTo>
                <a:cubicBezTo>
                  <a:pt x="108" y="165"/>
                  <a:pt x="108" y="165"/>
                  <a:pt x="108" y="165"/>
                </a:cubicBezTo>
                <a:cubicBezTo>
                  <a:pt x="108" y="166"/>
                  <a:pt x="108" y="166"/>
                  <a:pt x="108" y="166"/>
                </a:cubicBezTo>
                <a:cubicBezTo>
                  <a:pt x="107" y="167"/>
                  <a:pt x="107" y="167"/>
                  <a:pt x="107" y="167"/>
                </a:cubicBezTo>
                <a:cubicBezTo>
                  <a:pt x="107" y="167"/>
                  <a:pt x="107" y="167"/>
                  <a:pt x="107" y="167"/>
                </a:cubicBezTo>
                <a:cubicBezTo>
                  <a:pt x="107" y="168"/>
                  <a:pt x="107" y="168"/>
                  <a:pt x="107" y="168"/>
                </a:cubicBezTo>
                <a:cubicBezTo>
                  <a:pt x="106" y="168"/>
                  <a:pt x="106" y="168"/>
                  <a:pt x="106" y="168"/>
                </a:cubicBezTo>
                <a:cubicBezTo>
                  <a:pt x="106" y="168"/>
                  <a:pt x="106" y="168"/>
                  <a:pt x="106" y="168"/>
                </a:cubicBezTo>
                <a:cubicBezTo>
                  <a:pt x="107" y="170"/>
                  <a:pt x="107" y="170"/>
                  <a:pt x="107" y="170"/>
                </a:cubicBezTo>
                <a:cubicBezTo>
                  <a:pt x="108" y="170"/>
                  <a:pt x="108" y="170"/>
                  <a:pt x="108" y="170"/>
                </a:cubicBezTo>
                <a:cubicBezTo>
                  <a:pt x="109" y="170"/>
                  <a:pt x="109" y="170"/>
                  <a:pt x="109" y="170"/>
                </a:cubicBezTo>
                <a:cubicBezTo>
                  <a:pt x="109" y="169"/>
                  <a:pt x="109" y="169"/>
                  <a:pt x="109" y="169"/>
                </a:cubicBezTo>
                <a:cubicBezTo>
                  <a:pt x="110" y="169"/>
                  <a:pt x="110" y="169"/>
                  <a:pt x="110" y="169"/>
                </a:cubicBezTo>
                <a:cubicBezTo>
                  <a:pt x="112" y="167"/>
                  <a:pt x="112" y="167"/>
                  <a:pt x="112" y="167"/>
                </a:cubicBezTo>
                <a:cubicBezTo>
                  <a:pt x="113" y="167"/>
                  <a:pt x="113" y="167"/>
                  <a:pt x="113" y="167"/>
                </a:cubicBezTo>
                <a:cubicBezTo>
                  <a:pt x="114" y="167"/>
                  <a:pt x="114" y="167"/>
                  <a:pt x="114" y="167"/>
                </a:cubicBezTo>
                <a:cubicBezTo>
                  <a:pt x="115" y="168"/>
                  <a:pt x="115" y="168"/>
                  <a:pt x="115" y="168"/>
                </a:cubicBezTo>
                <a:cubicBezTo>
                  <a:pt x="115" y="168"/>
                  <a:pt x="115" y="168"/>
                  <a:pt x="115" y="168"/>
                </a:cubicBezTo>
                <a:cubicBezTo>
                  <a:pt x="114" y="168"/>
                  <a:pt x="114" y="168"/>
                  <a:pt x="114" y="168"/>
                </a:cubicBezTo>
                <a:cubicBezTo>
                  <a:pt x="113" y="168"/>
                  <a:pt x="113" y="168"/>
                  <a:pt x="113" y="168"/>
                </a:cubicBezTo>
                <a:cubicBezTo>
                  <a:pt x="113" y="168"/>
                  <a:pt x="113" y="168"/>
                  <a:pt x="113" y="168"/>
                </a:cubicBezTo>
                <a:cubicBezTo>
                  <a:pt x="112" y="168"/>
                  <a:pt x="112" y="168"/>
                  <a:pt x="112" y="168"/>
                </a:cubicBezTo>
                <a:cubicBezTo>
                  <a:pt x="111" y="169"/>
                  <a:pt x="111" y="169"/>
                  <a:pt x="111" y="169"/>
                </a:cubicBezTo>
                <a:cubicBezTo>
                  <a:pt x="110" y="170"/>
                  <a:pt x="110" y="170"/>
                  <a:pt x="110" y="170"/>
                </a:cubicBezTo>
                <a:cubicBezTo>
                  <a:pt x="110" y="172"/>
                  <a:pt x="110" y="172"/>
                  <a:pt x="110" y="172"/>
                </a:cubicBezTo>
                <a:cubicBezTo>
                  <a:pt x="110" y="173"/>
                  <a:pt x="110" y="173"/>
                  <a:pt x="110" y="173"/>
                </a:cubicBezTo>
                <a:cubicBezTo>
                  <a:pt x="110" y="173"/>
                  <a:pt x="110" y="173"/>
                  <a:pt x="110" y="173"/>
                </a:cubicBezTo>
                <a:cubicBezTo>
                  <a:pt x="110" y="173"/>
                  <a:pt x="110" y="174"/>
                  <a:pt x="110" y="174"/>
                </a:cubicBezTo>
                <a:close/>
                <a:moveTo>
                  <a:pt x="115" y="208"/>
                </a:moveTo>
                <a:cubicBezTo>
                  <a:pt x="116" y="208"/>
                  <a:pt x="116" y="208"/>
                  <a:pt x="116" y="208"/>
                </a:cubicBezTo>
                <a:cubicBezTo>
                  <a:pt x="116" y="207"/>
                  <a:pt x="116" y="207"/>
                  <a:pt x="116" y="207"/>
                </a:cubicBezTo>
                <a:cubicBezTo>
                  <a:pt x="115" y="206"/>
                  <a:pt x="115" y="206"/>
                  <a:pt x="115" y="206"/>
                </a:cubicBezTo>
                <a:cubicBezTo>
                  <a:pt x="116" y="205"/>
                  <a:pt x="116" y="205"/>
                  <a:pt x="116" y="205"/>
                </a:cubicBezTo>
                <a:cubicBezTo>
                  <a:pt x="116" y="204"/>
                  <a:pt x="116" y="204"/>
                  <a:pt x="116" y="204"/>
                </a:cubicBezTo>
                <a:cubicBezTo>
                  <a:pt x="114" y="204"/>
                  <a:pt x="114" y="204"/>
                  <a:pt x="114" y="204"/>
                </a:cubicBezTo>
                <a:cubicBezTo>
                  <a:pt x="114" y="203"/>
                  <a:pt x="114" y="203"/>
                  <a:pt x="114" y="203"/>
                </a:cubicBezTo>
                <a:cubicBezTo>
                  <a:pt x="113" y="203"/>
                  <a:pt x="113" y="203"/>
                  <a:pt x="113" y="203"/>
                </a:cubicBezTo>
                <a:cubicBezTo>
                  <a:pt x="112" y="203"/>
                  <a:pt x="112" y="203"/>
                  <a:pt x="112" y="203"/>
                </a:cubicBezTo>
                <a:cubicBezTo>
                  <a:pt x="111" y="204"/>
                  <a:pt x="111" y="204"/>
                  <a:pt x="111" y="204"/>
                </a:cubicBezTo>
                <a:cubicBezTo>
                  <a:pt x="111" y="204"/>
                  <a:pt x="111" y="204"/>
                  <a:pt x="111" y="204"/>
                </a:cubicBezTo>
                <a:cubicBezTo>
                  <a:pt x="112" y="205"/>
                  <a:pt x="112" y="205"/>
                  <a:pt x="112" y="205"/>
                </a:cubicBezTo>
                <a:cubicBezTo>
                  <a:pt x="112" y="205"/>
                  <a:pt x="112" y="205"/>
                  <a:pt x="112" y="205"/>
                </a:cubicBezTo>
                <a:cubicBezTo>
                  <a:pt x="113" y="205"/>
                  <a:pt x="113" y="205"/>
                  <a:pt x="113" y="205"/>
                </a:cubicBezTo>
                <a:cubicBezTo>
                  <a:pt x="113" y="206"/>
                  <a:pt x="113" y="206"/>
                  <a:pt x="113" y="206"/>
                </a:cubicBezTo>
                <a:cubicBezTo>
                  <a:pt x="114" y="206"/>
                  <a:pt x="114" y="206"/>
                  <a:pt x="114" y="206"/>
                </a:cubicBezTo>
                <a:cubicBezTo>
                  <a:pt x="115" y="208"/>
                  <a:pt x="115" y="208"/>
                  <a:pt x="115" y="208"/>
                </a:cubicBezTo>
                <a:close/>
                <a:moveTo>
                  <a:pt x="138" y="208"/>
                </a:moveTo>
                <a:cubicBezTo>
                  <a:pt x="137" y="207"/>
                  <a:pt x="137" y="207"/>
                  <a:pt x="137" y="207"/>
                </a:cubicBezTo>
                <a:cubicBezTo>
                  <a:pt x="136" y="207"/>
                  <a:pt x="136" y="207"/>
                  <a:pt x="136" y="207"/>
                </a:cubicBezTo>
                <a:cubicBezTo>
                  <a:pt x="135" y="207"/>
                  <a:pt x="135" y="207"/>
                  <a:pt x="135" y="207"/>
                </a:cubicBezTo>
                <a:cubicBezTo>
                  <a:pt x="134" y="205"/>
                  <a:pt x="134" y="205"/>
                  <a:pt x="134" y="205"/>
                </a:cubicBezTo>
                <a:cubicBezTo>
                  <a:pt x="133" y="205"/>
                  <a:pt x="133" y="205"/>
                  <a:pt x="133" y="205"/>
                </a:cubicBezTo>
                <a:cubicBezTo>
                  <a:pt x="131" y="203"/>
                  <a:pt x="131" y="203"/>
                  <a:pt x="131" y="203"/>
                </a:cubicBezTo>
                <a:cubicBezTo>
                  <a:pt x="130" y="202"/>
                  <a:pt x="130" y="202"/>
                  <a:pt x="130" y="202"/>
                </a:cubicBezTo>
                <a:cubicBezTo>
                  <a:pt x="128" y="202"/>
                  <a:pt x="128" y="202"/>
                  <a:pt x="128" y="202"/>
                </a:cubicBezTo>
                <a:cubicBezTo>
                  <a:pt x="127" y="199"/>
                  <a:pt x="127" y="199"/>
                  <a:pt x="127" y="199"/>
                </a:cubicBezTo>
                <a:cubicBezTo>
                  <a:pt x="125" y="197"/>
                  <a:pt x="125" y="197"/>
                  <a:pt x="125" y="197"/>
                </a:cubicBezTo>
                <a:cubicBezTo>
                  <a:pt x="124" y="194"/>
                  <a:pt x="124" y="194"/>
                  <a:pt x="124" y="194"/>
                </a:cubicBezTo>
                <a:cubicBezTo>
                  <a:pt x="123" y="192"/>
                  <a:pt x="123" y="192"/>
                  <a:pt x="123" y="192"/>
                </a:cubicBezTo>
                <a:cubicBezTo>
                  <a:pt x="123" y="189"/>
                  <a:pt x="123" y="189"/>
                  <a:pt x="123" y="189"/>
                </a:cubicBezTo>
                <a:cubicBezTo>
                  <a:pt x="122" y="187"/>
                  <a:pt x="122" y="187"/>
                  <a:pt x="122" y="187"/>
                </a:cubicBezTo>
                <a:cubicBezTo>
                  <a:pt x="121" y="184"/>
                  <a:pt x="121" y="184"/>
                  <a:pt x="121" y="184"/>
                </a:cubicBezTo>
                <a:cubicBezTo>
                  <a:pt x="121" y="183"/>
                  <a:pt x="121" y="183"/>
                  <a:pt x="121" y="183"/>
                </a:cubicBezTo>
                <a:cubicBezTo>
                  <a:pt x="122" y="182"/>
                  <a:pt x="122" y="182"/>
                  <a:pt x="122" y="182"/>
                </a:cubicBezTo>
                <a:cubicBezTo>
                  <a:pt x="121" y="181"/>
                  <a:pt x="121" y="181"/>
                  <a:pt x="121" y="181"/>
                </a:cubicBezTo>
                <a:cubicBezTo>
                  <a:pt x="120" y="181"/>
                  <a:pt x="120" y="181"/>
                  <a:pt x="120" y="181"/>
                </a:cubicBezTo>
                <a:cubicBezTo>
                  <a:pt x="119" y="181"/>
                  <a:pt x="119" y="181"/>
                  <a:pt x="119" y="181"/>
                </a:cubicBezTo>
                <a:cubicBezTo>
                  <a:pt x="119" y="181"/>
                  <a:pt x="119" y="181"/>
                  <a:pt x="119" y="181"/>
                </a:cubicBezTo>
                <a:cubicBezTo>
                  <a:pt x="119" y="180"/>
                  <a:pt x="119" y="180"/>
                  <a:pt x="119" y="180"/>
                </a:cubicBezTo>
                <a:cubicBezTo>
                  <a:pt x="121" y="180"/>
                  <a:pt x="121" y="180"/>
                  <a:pt x="121" y="180"/>
                </a:cubicBezTo>
                <a:cubicBezTo>
                  <a:pt x="122" y="180"/>
                  <a:pt x="122" y="180"/>
                  <a:pt x="122" y="180"/>
                </a:cubicBezTo>
                <a:cubicBezTo>
                  <a:pt x="122" y="177"/>
                  <a:pt x="122" y="177"/>
                  <a:pt x="122" y="177"/>
                </a:cubicBezTo>
                <a:cubicBezTo>
                  <a:pt x="122" y="176"/>
                  <a:pt x="122" y="176"/>
                  <a:pt x="122" y="176"/>
                </a:cubicBezTo>
                <a:cubicBezTo>
                  <a:pt x="121" y="176"/>
                  <a:pt x="121" y="176"/>
                  <a:pt x="121" y="176"/>
                </a:cubicBezTo>
                <a:cubicBezTo>
                  <a:pt x="120" y="177"/>
                  <a:pt x="120" y="177"/>
                  <a:pt x="120" y="177"/>
                </a:cubicBezTo>
                <a:cubicBezTo>
                  <a:pt x="120" y="176"/>
                  <a:pt x="120" y="176"/>
                  <a:pt x="120" y="176"/>
                </a:cubicBezTo>
                <a:cubicBezTo>
                  <a:pt x="122" y="175"/>
                  <a:pt x="122" y="175"/>
                  <a:pt x="122" y="175"/>
                </a:cubicBezTo>
                <a:cubicBezTo>
                  <a:pt x="122" y="175"/>
                  <a:pt x="122" y="175"/>
                  <a:pt x="122" y="175"/>
                </a:cubicBezTo>
                <a:cubicBezTo>
                  <a:pt x="122" y="174"/>
                  <a:pt x="122" y="174"/>
                  <a:pt x="122" y="174"/>
                </a:cubicBezTo>
                <a:cubicBezTo>
                  <a:pt x="119" y="174"/>
                  <a:pt x="119" y="174"/>
                  <a:pt x="119" y="174"/>
                </a:cubicBezTo>
                <a:cubicBezTo>
                  <a:pt x="116" y="174"/>
                  <a:pt x="116" y="174"/>
                  <a:pt x="116" y="174"/>
                </a:cubicBezTo>
                <a:cubicBezTo>
                  <a:pt x="115" y="173"/>
                  <a:pt x="115" y="173"/>
                  <a:pt x="115" y="173"/>
                </a:cubicBezTo>
                <a:cubicBezTo>
                  <a:pt x="114" y="173"/>
                  <a:pt x="114" y="173"/>
                  <a:pt x="114" y="173"/>
                </a:cubicBezTo>
                <a:cubicBezTo>
                  <a:pt x="112" y="174"/>
                  <a:pt x="112" y="174"/>
                  <a:pt x="112" y="174"/>
                </a:cubicBezTo>
                <a:cubicBezTo>
                  <a:pt x="110" y="174"/>
                  <a:pt x="110" y="174"/>
                  <a:pt x="110" y="174"/>
                </a:cubicBezTo>
                <a:cubicBezTo>
                  <a:pt x="109" y="175"/>
                  <a:pt x="109" y="175"/>
                  <a:pt x="109" y="175"/>
                </a:cubicBezTo>
                <a:cubicBezTo>
                  <a:pt x="107" y="176"/>
                  <a:pt x="107" y="176"/>
                  <a:pt x="107" y="176"/>
                </a:cubicBezTo>
                <a:cubicBezTo>
                  <a:pt x="107" y="178"/>
                  <a:pt x="107" y="178"/>
                  <a:pt x="107" y="178"/>
                </a:cubicBezTo>
                <a:cubicBezTo>
                  <a:pt x="107" y="178"/>
                  <a:pt x="107" y="178"/>
                  <a:pt x="107" y="178"/>
                </a:cubicBezTo>
                <a:cubicBezTo>
                  <a:pt x="107" y="180"/>
                  <a:pt x="107" y="180"/>
                  <a:pt x="107" y="180"/>
                </a:cubicBezTo>
                <a:cubicBezTo>
                  <a:pt x="108" y="180"/>
                  <a:pt x="108" y="180"/>
                  <a:pt x="108" y="180"/>
                </a:cubicBezTo>
                <a:cubicBezTo>
                  <a:pt x="109" y="180"/>
                  <a:pt x="109" y="180"/>
                  <a:pt x="109" y="180"/>
                </a:cubicBezTo>
                <a:cubicBezTo>
                  <a:pt x="108" y="181"/>
                  <a:pt x="108" y="181"/>
                  <a:pt x="108" y="181"/>
                </a:cubicBezTo>
                <a:cubicBezTo>
                  <a:pt x="107" y="181"/>
                  <a:pt x="107" y="181"/>
                  <a:pt x="107" y="181"/>
                </a:cubicBezTo>
                <a:cubicBezTo>
                  <a:pt x="106" y="181"/>
                  <a:pt x="106" y="181"/>
                  <a:pt x="106" y="181"/>
                </a:cubicBezTo>
                <a:cubicBezTo>
                  <a:pt x="105" y="183"/>
                  <a:pt x="105" y="183"/>
                  <a:pt x="105" y="183"/>
                </a:cubicBezTo>
                <a:cubicBezTo>
                  <a:pt x="105" y="184"/>
                  <a:pt x="105" y="184"/>
                  <a:pt x="105" y="184"/>
                </a:cubicBezTo>
                <a:cubicBezTo>
                  <a:pt x="105" y="185"/>
                  <a:pt x="105" y="185"/>
                  <a:pt x="105" y="185"/>
                </a:cubicBezTo>
                <a:cubicBezTo>
                  <a:pt x="106" y="185"/>
                  <a:pt x="106" y="185"/>
                  <a:pt x="106" y="185"/>
                </a:cubicBezTo>
                <a:cubicBezTo>
                  <a:pt x="108" y="184"/>
                  <a:pt x="108" y="184"/>
                  <a:pt x="108" y="184"/>
                </a:cubicBezTo>
                <a:cubicBezTo>
                  <a:pt x="108" y="184"/>
                  <a:pt x="108" y="184"/>
                  <a:pt x="108" y="184"/>
                </a:cubicBezTo>
                <a:cubicBezTo>
                  <a:pt x="107" y="185"/>
                  <a:pt x="107" y="185"/>
                  <a:pt x="107" y="185"/>
                </a:cubicBezTo>
                <a:cubicBezTo>
                  <a:pt x="107" y="187"/>
                  <a:pt x="107" y="187"/>
                  <a:pt x="107" y="187"/>
                </a:cubicBezTo>
                <a:cubicBezTo>
                  <a:pt x="108" y="187"/>
                  <a:pt x="108" y="187"/>
                  <a:pt x="108" y="187"/>
                </a:cubicBezTo>
                <a:cubicBezTo>
                  <a:pt x="108" y="186"/>
                  <a:pt x="108" y="186"/>
                  <a:pt x="108" y="186"/>
                </a:cubicBezTo>
                <a:cubicBezTo>
                  <a:pt x="109" y="185"/>
                  <a:pt x="109" y="185"/>
                  <a:pt x="109" y="185"/>
                </a:cubicBezTo>
                <a:cubicBezTo>
                  <a:pt x="110" y="186"/>
                  <a:pt x="110" y="186"/>
                  <a:pt x="110" y="186"/>
                </a:cubicBezTo>
                <a:cubicBezTo>
                  <a:pt x="109" y="187"/>
                  <a:pt x="109" y="187"/>
                  <a:pt x="109" y="187"/>
                </a:cubicBezTo>
                <a:cubicBezTo>
                  <a:pt x="108" y="188"/>
                  <a:pt x="108" y="188"/>
                  <a:pt x="108" y="188"/>
                </a:cubicBezTo>
                <a:cubicBezTo>
                  <a:pt x="109" y="189"/>
                  <a:pt x="109" y="189"/>
                  <a:pt x="109" y="189"/>
                </a:cubicBezTo>
                <a:cubicBezTo>
                  <a:pt x="110" y="189"/>
                  <a:pt x="110" y="189"/>
                  <a:pt x="110" y="189"/>
                </a:cubicBezTo>
                <a:cubicBezTo>
                  <a:pt x="110" y="189"/>
                  <a:pt x="110" y="189"/>
                  <a:pt x="110" y="189"/>
                </a:cubicBezTo>
                <a:cubicBezTo>
                  <a:pt x="109" y="189"/>
                  <a:pt x="109" y="189"/>
                  <a:pt x="109" y="189"/>
                </a:cubicBezTo>
                <a:cubicBezTo>
                  <a:pt x="108" y="190"/>
                  <a:pt x="108" y="190"/>
                  <a:pt x="108" y="190"/>
                </a:cubicBezTo>
                <a:cubicBezTo>
                  <a:pt x="108" y="191"/>
                  <a:pt x="108" y="191"/>
                  <a:pt x="108" y="191"/>
                </a:cubicBezTo>
                <a:cubicBezTo>
                  <a:pt x="109" y="192"/>
                  <a:pt x="109" y="192"/>
                  <a:pt x="109" y="192"/>
                </a:cubicBezTo>
                <a:cubicBezTo>
                  <a:pt x="108" y="192"/>
                  <a:pt x="108" y="192"/>
                  <a:pt x="108" y="192"/>
                </a:cubicBezTo>
                <a:cubicBezTo>
                  <a:pt x="108" y="192"/>
                  <a:pt x="108" y="192"/>
                  <a:pt x="108" y="192"/>
                </a:cubicBezTo>
                <a:cubicBezTo>
                  <a:pt x="107" y="192"/>
                  <a:pt x="107" y="192"/>
                  <a:pt x="107" y="192"/>
                </a:cubicBezTo>
                <a:cubicBezTo>
                  <a:pt x="106" y="192"/>
                  <a:pt x="106" y="192"/>
                  <a:pt x="106" y="192"/>
                </a:cubicBezTo>
                <a:cubicBezTo>
                  <a:pt x="105" y="192"/>
                  <a:pt x="105" y="192"/>
                  <a:pt x="105" y="192"/>
                </a:cubicBezTo>
                <a:cubicBezTo>
                  <a:pt x="104" y="193"/>
                  <a:pt x="104" y="193"/>
                  <a:pt x="104" y="193"/>
                </a:cubicBezTo>
                <a:cubicBezTo>
                  <a:pt x="104" y="195"/>
                  <a:pt x="104" y="195"/>
                  <a:pt x="104" y="195"/>
                </a:cubicBezTo>
                <a:cubicBezTo>
                  <a:pt x="104" y="196"/>
                  <a:pt x="104" y="196"/>
                  <a:pt x="104" y="196"/>
                </a:cubicBezTo>
                <a:cubicBezTo>
                  <a:pt x="104" y="198"/>
                  <a:pt x="104" y="198"/>
                  <a:pt x="104" y="198"/>
                </a:cubicBezTo>
                <a:cubicBezTo>
                  <a:pt x="104" y="199"/>
                  <a:pt x="104" y="199"/>
                  <a:pt x="104" y="199"/>
                </a:cubicBezTo>
                <a:cubicBezTo>
                  <a:pt x="106" y="200"/>
                  <a:pt x="106" y="200"/>
                  <a:pt x="106" y="200"/>
                </a:cubicBezTo>
                <a:cubicBezTo>
                  <a:pt x="106" y="201"/>
                  <a:pt x="106" y="201"/>
                  <a:pt x="106" y="201"/>
                </a:cubicBezTo>
                <a:cubicBezTo>
                  <a:pt x="108" y="202"/>
                  <a:pt x="108" y="202"/>
                  <a:pt x="108" y="202"/>
                </a:cubicBezTo>
                <a:cubicBezTo>
                  <a:pt x="109" y="203"/>
                  <a:pt x="109" y="203"/>
                  <a:pt x="109" y="203"/>
                </a:cubicBezTo>
                <a:cubicBezTo>
                  <a:pt x="109" y="202"/>
                  <a:pt x="109" y="202"/>
                  <a:pt x="109" y="202"/>
                </a:cubicBezTo>
                <a:cubicBezTo>
                  <a:pt x="110" y="202"/>
                  <a:pt x="110" y="202"/>
                  <a:pt x="110" y="202"/>
                </a:cubicBezTo>
                <a:cubicBezTo>
                  <a:pt x="111" y="201"/>
                  <a:pt x="111" y="201"/>
                  <a:pt x="111" y="201"/>
                </a:cubicBezTo>
                <a:cubicBezTo>
                  <a:pt x="111" y="199"/>
                  <a:pt x="111" y="199"/>
                  <a:pt x="111" y="199"/>
                </a:cubicBezTo>
                <a:cubicBezTo>
                  <a:pt x="111" y="198"/>
                  <a:pt x="111" y="198"/>
                  <a:pt x="111" y="198"/>
                </a:cubicBezTo>
                <a:cubicBezTo>
                  <a:pt x="112" y="196"/>
                  <a:pt x="112" y="196"/>
                  <a:pt x="112" y="196"/>
                </a:cubicBezTo>
                <a:cubicBezTo>
                  <a:pt x="111" y="198"/>
                  <a:pt x="111" y="198"/>
                  <a:pt x="111" y="198"/>
                </a:cubicBezTo>
                <a:cubicBezTo>
                  <a:pt x="111" y="199"/>
                  <a:pt x="111" y="199"/>
                  <a:pt x="111" y="199"/>
                </a:cubicBezTo>
                <a:cubicBezTo>
                  <a:pt x="112" y="200"/>
                  <a:pt x="112" y="200"/>
                  <a:pt x="112" y="200"/>
                </a:cubicBezTo>
                <a:cubicBezTo>
                  <a:pt x="112" y="201"/>
                  <a:pt x="112" y="201"/>
                  <a:pt x="112" y="201"/>
                </a:cubicBezTo>
                <a:cubicBezTo>
                  <a:pt x="113" y="202"/>
                  <a:pt x="113" y="202"/>
                  <a:pt x="113" y="202"/>
                </a:cubicBezTo>
                <a:cubicBezTo>
                  <a:pt x="114" y="201"/>
                  <a:pt x="114" y="201"/>
                  <a:pt x="114" y="201"/>
                </a:cubicBezTo>
                <a:cubicBezTo>
                  <a:pt x="114" y="200"/>
                  <a:pt x="114" y="200"/>
                  <a:pt x="114" y="200"/>
                </a:cubicBezTo>
                <a:cubicBezTo>
                  <a:pt x="115" y="199"/>
                  <a:pt x="115" y="199"/>
                  <a:pt x="115" y="199"/>
                </a:cubicBezTo>
                <a:cubicBezTo>
                  <a:pt x="115" y="199"/>
                  <a:pt x="115" y="199"/>
                  <a:pt x="115" y="199"/>
                </a:cubicBezTo>
                <a:cubicBezTo>
                  <a:pt x="115" y="200"/>
                  <a:pt x="115" y="200"/>
                  <a:pt x="115" y="200"/>
                </a:cubicBezTo>
                <a:cubicBezTo>
                  <a:pt x="115" y="201"/>
                  <a:pt x="115" y="201"/>
                  <a:pt x="115" y="201"/>
                </a:cubicBezTo>
                <a:cubicBezTo>
                  <a:pt x="116" y="203"/>
                  <a:pt x="116" y="203"/>
                  <a:pt x="116" y="203"/>
                </a:cubicBezTo>
                <a:cubicBezTo>
                  <a:pt x="117" y="204"/>
                  <a:pt x="117" y="204"/>
                  <a:pt x="117" y="204"/>
                </a:cubicBezTo>
                <a:cubicBezTo>
                  <a:pt x="118" y="204"/>
                  <a:pt x="118" y="204"/>
                  <a:pt x="118" y="204"/>
                </a:cubicBezTo>
                <a:cubicBezTo>
                  <a:pt x="119" y="203"/>
                  <a:pt x="119" y="203"/>
                  <a:pt x="119" y="203"/>
                </a:cubicBezTo>
                <a:cubicBezTo>
                  <a:pt x="120" y="204"/>
                  <a:pt x="120" y="204"/>
                  <a:pt x="120" y="204"/>
                </a:cubicBezTo>
                <a:cubicBezTo>
                  <a:pt x="120" y="204"/>
                  <a:pt x="120" y="204"/>
                  <a:pt x="120" y="204"/>
                </a:cubicBezTo>
                <a:cubicBezTo>
                  <a:pt x="119" y="204"/>
                  <a:pt x="119" y="204"/>
                  <a:pt x="119" y="204"/>
                </a:cubicBezTo>
                <a:cubicBezTo>
                  <a:pt x="119" y="205"/>
                  <a:pt x="119" y="205"/>
                  <a:pt x="119" y="205"/>
                </a:cubicBezTo>
                <a:cubicBezTo>
                  <a:pt x="118" y="205"/>
                  <a:pt x="118" y="205"/>
                  <a:pt x="118" y="205"/>
                </a:cubicBezTo>
                <a:cubicBezTo>
                  <a:pt x="117" y="206"/>
                  <a:pt x="117" y="206"/>
                  <a:pt x="117" y="206"/>
                </a:cubicBezTo>
                <a:cubicBezTo>
                  <a:pt x="119" y="207"/>
                  <a:pt x="119" y="207"/>
                  <a:pt x="119" y="207"/>
                </a:cubicBezTo>
                <a:cubicBezTo>
                  <a:pt x="119" y="208"/>
                  <a:pt x="119" y="208"/>
                  <a:pt x="119" y="208"/>
                </a:cubicBezTo>
                <a:cubicBezTo>
                  <a:pt x="118" y="208"/>
                  <a:pt x="118" y="208"/>
                  <a:pt x="118" y="208"/>
                </a:cubicBezTo>
                <a:cubicBezTo>
                  <a:pt x="117" y="208"/>
                  <a:pt x="117" y="208"/>
                  <a:pt x="117" y="208"/>
                </a:cubicBezTo>
                <a:cubicBezTo>
                  <a:pt x="117" y="209"/>
                  <a:pt x="117" y="209"/>
                  <a:pt x="117" y="209"/>
                </a:cubicBezTo>
                <a:cubicBezTo>
                  <a:pt x="118" y="209"/>
                  <a:pt x="118" y="209"/>
                  <a:pt x="118" y="209"/>
                </a:cubicBezTo>
                <a:cubicBezTo>
                  <a:pt x="120" y="209"/>
                  <a:pt x="120" y="209"/>
                  <a:pt x="120" y="209"/>
                </a:cubicBezTo>
                <a:cubicBezTo>
                  <a:pt x="121" y="210"/>
                  <a:pt x="121" y="210"/>
                  <a:pt x="121" y="210"/>
                </a:cubicBezTo>
                <a:cubicBezTo>
                  <a:pt x="122" y="210"/>
                  <a:pt x="122" y="210"/>
                  <a:pt x="122" y="210"/>
                </a:cubicBezTo>
                <a:cubicBezTo>
                  <a:pt x="124" y="210"/>
                  <a:pt x="124" y="210"/>
                  <a:pt x="124" y="210"/>
                </a:cubicBezTo>
                <a:cubicBezTo>
                  <a:pt x="124" y="209"/>
                  <a:pt x="124" y="209"/>
                  <a:pt x="124" y="209"/>
                </a:cubicBezTo>
                <a:cubicBezTo>
                  <a:pt x="125" y="209"/>
                  <a:pt x="125" y="209"/>
                  <a:pt x="125" y="209"/>
                </a:cubicBezTo>
                <a:cubicBezTo>
                  <a:pt x="125" y="210"/>
                  <a:pt x="125" y="210"/>
                  <a:pt x="125" y="210"/>
                </a:cubicBezTo>
                <a:cubicBezTo>
                  <a:pt x="125" y="212"/>
                  <a:pt x="125" y="212"/>
                  <a:pt x="125" y="212"/>
                </a:cubicBezTo>
                <a:cubicBezTo>
                  <a:pt x="126" y="213"/>
                  <a:pt x="126" y="213"/>
                  <a:pt x="126" y="213"/>
                </a:cubicBezTo>
                <a:cubicBezTo>
                  <a:pt x="127" y="213"/>
                  <a:pt x="127" y="213"/>
                  <a:pt x="127" y="213"/>
                </a:cubicBezTo>
                <a:cubicBezTo>
                  <a:pt x="128" y="212"/>
                  <a:pt x="128" y="212"/>
                  <a:pt x="128" y="212"/>
                </a:cubicBezTo>
                <a:cubicBezTo>
                  <a:pt x="128" y="210"/>
                  <a:pt x="128" y="210"/>
                  <a:pt x="128" y="210"/>
                </a:cubicBezTo>
                <a:cubicBezTo>
                  <a:pt x="126" y="210"/>
                  <a:pt x="126" y="210"/>
                  <a:pt x="126" y="210"/>
                </a:cubicBezTo>
                <a:cubicBezTo>
                  <a:pt x="126" y="209"/>
                  <a:pt x="126" y="209"/>
                  <a:pt x="126" y="209"/>
                </a:cubicBezTo>
                <a:cubicBezTo>
                  <a:pt x="126" y="209"/>
                  <a:pt x="126" y="209"/>
                  <a:pt x="126" y="209"/>
                </a:cubicBezTo>
                <a:cubicBezTo>
                  <a:pt x="127" y="209"/>
                  <a:pt x="127" y="209"/>
                  <a:pt x="127" y="209"/>
                </a:cubicBezTo>
                <a:cubicBezTo>
                  <a:pt x="128" y="210"/>
                  <a:pt x="128" y="210"/>
                  <a:pt x="128" y="210"/>
                </a:cubicBezTo>
                <a:cubicBezTo>
                  <a:pt x="129" y="211"/>
                  <a:pt x="129" y="211"/>
                  <a:pt x="129" y="211"/>
                </a:cubicBezTo>
                <a:cubicBezTo>
                  <a:pt x="129" y="212"/>
                  <a:pt x="129" y="212"/>
                  <a:pt x="129" y="212"/>
                </a:cubicBezTo>
                <a:cubicBezTo>
                  <a:pt x="130" y="212"/>
                  <a:pt x="130" y="212"/>
                  <a:pt x="130" y="212"/>
                </a:cubicBezTo>
                <a:cubicBezTo>
                  <a:pt x="130" y="211"/>
                  <a:pt x="130" y="211"/>
                  <a:pt x="130" y="211"/>
                </a:cubicBezTo>
                <a:cubicBezTo>
                  <a:pt x="131" y="211"/>
                  <a:pt x="131" y="211"/>
                  <a:pt x="131" y="211"/>
                </a:cubicBezTo>
                <a:cubicBezTo>
                  <a:pt x="131" y="212"/>
                  <a:pt x="131" y="212"/>
                  <a:pt x="131" y="212"/>
                </a:cubicBezTo>
                <a:cubicBezTo>
                  <a:pt x="133" y="212"/>
                  <a:pt x="133" y="212"/>
                  <a:pt x="133" y="212"/>
                </a:cubicBezTo>
                <a:cubicBezTo>
                  <a:pt x="134" y="212"/>
                  <a:pt x="134" y="212"/>
                  <a:pt x="134" y="212"/>
                </a:cubicBezTo>
                <a:cubicBezTo>
                  <a:pt x="134" y="212"/>
                  <a:pt x="134" y="212"/>
                  <a:pt x="134" y="212"/>
                </a:cubicBezTo>
                <a:cubicBezTo>
                  <a:pt x="133" y="211"/>
                  <a:pt x="133" y="211"/>
                  <a:pt x="133" y="211"/>
                </a:cubicBezTo>
                <a:cubicBezTo>
                  <a:pt x="133" y="210"/>
                  <a:pt x="133" y="210"/>
                  <a:pt x="133" y="210"/>
                </a:cubicBezTo>
                <a:cubicBezTo>
                  <a:pt x="133" y="210"/>
                  <a:pt x="133" y="210"/>
                  <a:pt x="133" y="210"/>
                </a:cubicBezTo>
                <a:cubicBezTo>
                  <a:pt x="134" y="211"/>
                  <a:pt x="134" y="211"/>
                  <a:pt x="134" y="211"/>
                </a:cubicBezTo>
                <a:cubicBezTo>
                  <a:pt x="135" y="211"/>
                  <a:pt x="135" y="211"/>
                  <a:pt x="135" y="211"/>
                </a:cubicBezTo>
                <a:cubicBezTo>
                  <a:pt x="135" y="211"/>
                  <a:pt x="135" y="211"/>
                  <a:pt x="135" y="211"/>
                </a:cubicBezTo>
                <a:cubicBezTo>
                  <a:pt x="136" y="212"/>
                  <a:pt x="136" y="212"/>
                  <a:pt x="136" y="212"/>
                </a:cubicBezTo>
                <a:cubicBezTo>
                  <a:pt x="136" y="213"/>
                  <a:pt x="136" y="213"/>
                  <a:pt x="136" y="213"/>
                </a:cubicBezTo>
                <a:cubicBezTo>
                  <a:pt x="137" y="213"/>
                  <a:pt x="137" y="213"/>
                  <a:pt x="137" y="213"/>
                </a:cubicBezTo>
                <a:cubicBezTo>
                  <a:pt x="137" y="212"/>
                  <a:pt x="137" y="212"/>
                  <a:pt x="137" y="212"/>
                </a:cubicBezTo>
                <a:cubicBezTo>
                  <a:pt x="137" y="211"/>
                  <a:pt x="137" y="211"/>
                  <a:pt x="137" y="211"/>
                </a:cubicBezTo>
                <a:cubicBezTo>
                  <a:pt x="136" y="211"/>
                  <a:pt x="136" y="211"/>
                  <a:pt x="136" y="211"/>
                </a:cubicBezTo>
                <a:cubicBezTo>
                  <a:pt x="135" y="210"/>
                  <a:pt x="135" y="210"/>
                  <a:pt x="135" y="210"/>
                </a:cubicBezTo>
                <a:cubicBezTo>
                  <a:pt x="136" y="210"/>
                  <a:pt x="136" y="210"/>
                  <a:pt x="136" y="210"/>
                </a:cubicBezTo>
                <a:cubicBezTo>
                  <a:pt x="136" y="210"/>
                  <a:pt x="136" y="210"/>
                  <a:pt x="136" y="210"/>
                </a:cubicBezTo>
                <a:cubicBezTo>
                  <a:pt x="137" y="210"/>
                  <a:pt x="137" y="210"/>
                  <a:pt x="137" y="210"/>
                </a:cubicBezTo>
                <a:cubicBezTo>
                  <a:pt x="138" y="209"/>
                  <a:pt x="138" y="209"/>
                  <a:pt x="138" y="209"/>
                </a:cubicBezTo>
                <a:cubicBezTo>
                  <a:pt x="138" y="208"/>
                  <a:pt x="138" y="208"/>
                  <a:pt x="138" y="208"/>
                </a:cubicBezTo>
                <a:cubicBezTo>
                  <a:pt x="138" y="208"/>
                  <a:pt x="138" y="208"/>
                  <a:pt x="138" y="208"/>
                </a:cubicBezTo>
                <a:close/>
                <a:moveTo>
                  <a:pt x="44" y="286"/>
                </a:moveTo>
                <a:cubicBezTo>
                  <a:pt x="43" y="285"/>
                  <a:pt x="43" y="285"/>
                  <a:pt x="43" y="285"/>
                </a:cubicBezTo>
                <a:cubicBezTo>
                  <a:pt x="43" y="284"/>
                  <a:pt x="43" y="284"/>
                  <a:pt x="43" y="284"/>
                </a:cubicBezTo>
                <a:cubicBezTo>
                  <a:pt x="43" y="284"/>
                  <a:pt x="43" y="284"/>
                  <a:pt x="43" y="284"/>
                </a:cubicBezTo>
                <a:cubicBezTo>
                  <a:pt x="42" y="284"/>
                  <a:pt x="42" y="284"/>
                  <a:pt x="42" y="284"/>
                </a:cubicBezTo>
                <a:cubicBezTo>
                  <a:pt x="42" y="284"/>
                  <a:pt x="42" y="284"/>
                  <a:pt x="42" y="284"/>
                </a:cubicBezTo>
                <a:cubicBezTo>
                  <a:pt x="42" y="285"/>
                  <a:pt x="42" y="285"/>
                  <a:pt x="42" y="285"/>
                </a:cubicBezTo>
                <a:cubicBezTo>
                  <a:pt x="43" y="286"/>
                  <a:pt x="43" y="286"/>
                  <a:pt x="43" y="286"/>
                </a:cubicBezTo>
                <a:cubicBezTo>
                  <a:pt x="43" y="287"/>
                  <a:pt x="43" y="287"/>
                  <a:pt x="43" y="287"/>
                </a:cubicBezTo>
                <a:cubicBezTo>
                  <a:pt x="43" y="287"/>
                  <a:pt x="43" y="287"/>
                  <a:pt x="43" y="287"/>
                </a:cubicBezTo>
                <a:cubicBezTo>
                  <a:pt x="44" y="286"/>
                  <a:pt x="44" y="286"/>
                  <a:pt x="44" y="286"/>
                </a:cubicBezTo>
                <a:close/>
                <a:moveTo>
                  <a:pt x="76" y="265"/>
                </a:moveTo>
                <a:cubicBezTo>
                  <a:pt x="77" y="265"/>
                  <a:pt x="77" y="265"/>
                  <a:pt x="77" y="265"/>
                </a:cubicBezTo>
                <a:cubicBezTo>
                  <a:pt x="77" y="265"/>
                  <a:pt x="77" y="265"/>
                  <a:pt x="77" y="265"/>
                </a:cubicBezTo>
                <a:cubicBezTo>
                  <a:pt x="76" y="264"/>
                  <a:pt x="76" y="264"/>
                  <a:pt x="76" y="264"/>
                </a:cubicBezTo>
                <a:cubicBezTo>
                  <a:pt x="75" y="264"/>
                  <a:pt x="75" y="264"/>
                  <a:pt x="75" y="264"/>
                </a:cubicBezTo>
                <a:cubicBezTo>
                  <a:pt x="75" y="265"/>
                  <a:pt x="75" y="265"/>
                  <a:pt x="75" y="265"/>
                </a:cubicBezTo>
                <a:cubicBezTo>
                  <a:pt x="76" y="265"/>
                  <a:pt x="76" y="265"/>
                  <a:pt x="76" y="265"/>
                </a:cubicBezTo>
                <a:close/>
                <a:moveTo>
                  <a:pt x="101" y="238"/>
                </a:moveTo>
                <a:cubicBezTo>
                  <a:pt x="103" y="238"/>
                  <a:pt x="103" y="238"/>
                  <a:pt x="103" y="238"/>
                </a:cubicBezTo>
                <a:cubicBezTo>
                  <a:pt x="104" y="237"/>
                  <a:pt x="104" y="237"/>
                  <a:pt x="104" y="237"/>
                </a:cubicBezTo>
                <a:cubicBezTo>
                  <a:pt x="105" y="235"/>
                  <a:pt x="105" y="235"/>
                  <a:pt x="105" y="235"/>
                </a:cubicBezTo>
                <a:cubicBezTo>
                  <a:pt x="105" y="233"/>
                  <a:pt x="105" y="233"/>
                  <a:pt x="105" y="233"/>
                </a:cubicBezTo>
                <a:cubicBezTo>
                  <a:pt x="106" y="232"/>
                  <a:pt x="106" y="232"/>
                  <a:pt x="106" y="232"/>
                </a:cubicBezTo>
                <a:cubicBezTo>
                  <a:pt x="107" y="233"/>
                  <a:pt x="107" y="233"/>
                  <a:pt x="107" y="233"/>
                </a:cubicBezTo>
                <a:cubicBezTo>
                  <a:pt x="106" y="235"/>
                  <a:pt x="106" y="235"/>
                  <a:pt x="106" y="235"/>
                </a:cubicBezTo>
                <a:cubicBezTo>
                  <a:pt x="107" y="233"/>
                  <a:pt x="107" y="233"/>
                  <a:pt x="107" y="233"/>
                </a:cubicBezTo>
                <a:cubicBezTo>
                  <a:pt x="107" y="232"/>
                  <a:pt x="107" y="232"/>
                  <a:pt x="107" y="232"/>
                </a:cubicBezTo>
                <a:cubicBezTo>
                  <a:pt x="106" y="231"/>
                  <a:pt x="106" y="231"/>
                  <a:pt x="106" y="231"/>
                </a:cubicBezTo>
                <a:cubicBezTo>
                  <a:pt x="101" y="229"/>
                  <a:pt x="101" y="229"/>
                  <a:pt x="101" y="229"/>
                </a:cubicBezTo>
                <a:cubicBezTo>
                  <a:pt x="99" y="228"/>
                  <a:pt x="99" y="228"/>
                  <a:pt x="99" y="228"/>
                </a:cubicBezTo>
                <a:cubicBezTo>
                  <a:pt x="98" y="229"/>
                  <a:pt x="98" y="229"/>
                  <a:pt x="98" y="229"/>
                </a:cubicBezTo>
                <a:cubicBezTo>
                  <a:pt x="97" y="232"/>
                  <a:pt x="97" y="232"/>
                  <a:pt x="97" y="232"/>
                </a:cubicBezTo>
                <a:cubicBezTo>
                  <a:pt x="97" y="235"/>
                  <a:pt x="97" y="235"/>
                  <a:pt x="97" y="235"/>
                </a:cubicBezTo>
                <a:cubicBezTo>
                  <a:pt x="98" y="236"/>
                  <a:pt x="98" y="236"/>
                  <a:pt x="98" y="236"/>
                </a:cubicBezTo>
                <a:cubicBezTo>
                  <a:pt x="98" y="238"/>
                  <a:pt x="98" y="238"/>
                  <a:pt x="98" y="238"/>
                </a:cubicBezTo>
                <a:cubicBezTo>
                  <a:pt x="99" y="238"/>
                  <a:pt x="99" y="238"/>
                  <a:pt x="99" y="238"/>
                </a:cubicBezTo>
                <a:cubicBezTo>
                  <a:pt x="100" y="238"/>
                  <a:pt x="100" y="238"/>
                  <a:pt x="100" y="238"/>
                </a:cubicBezTo>
                <a:cubicBezTo>
                  <a:pt x="99" y="239"/>
                  <a:pt x="99" y="239"/>
                  <a:pt x="99" y="239"/>
                </a:cubicBezTo>
                <a:cubicBezTo>
                  <a:pt x="100" y="239"/>
                  <a:pt x="100" y="239"/>
                  <a:pt x="100" y="239"/>
                </a:cubicBezTo>
                <a:cubicBezTo>
                  <a:pt x="101" y="238"/>
                  <a:pt x="101" y="238"/>
                  <a:pt x="101" y="238"/>
                </a:cubicBezTo>
                <a:close/>
                <a:moveTo>
                  <a:pt x="113" y="240"/>
                </a:moveTo>
                <a:cubicBezTo>
                  <a:pt x="113" y="240"/>
                  <a:pt x="113" y="240"/>
                  <a:pt x="113" y="240"/>
                </a:cubicBezTo>
                <a:cubicBezTo>
                  <a:pt x="113" y="240"/>
                  <a:pt x="113" y="240"/>
                  <a:pt x="113" y="240"/>
                </a:cubicBezTo>
                <a:cubicBezTo>
                  <a:pt x="115" y="240"/>
                  <a:pt x="115" y="240"/>
                  <a:pt x="115" y="240"/>
                </a:cubicBezTo>
                <a:cubicBezTo>
                  <a:pt x="115" y="239"/>
                  <a:pt x="115" y="239"/>
                  <a:pt x="115" y="239"/>
                </a:cubicBezTo>
                <a:cubicBezTo>
                  <a:pt x="114" y="239"/>
                  <a:pt x="114" y="239"/>
                  <a:pt x="114" y="239"/>
                </a:cubicBezTo>
                <a:cubicBezTo>
                  <a:pt x="113" y="240"/>
                  <a:pt x="113" y="240"/>
                  <a:pt x="113" y="240"/>
                </a:cubicBezTo>
                <a:cubicBezTo>
                  <a:pt x="113" y="240"/>
                  <a:pt x="113" y="240"/>
                  <a:pt x="113" y="240"/>
                </a:cubicBezTo>
                <a:close/>
                <a:moveTo>
                  <a:pt x="131" y="240"/>
                </a:moveTo>
                <a:cubicBezTo>
                  <a:pt x="131" y="241"/>
                  <a:pt x="131" y="241"/>
                  <a:pt x="131" y="241"/>
                </a:cubicBezTo>
                <a:cubicBezTo>
                  <a:pt x="132" y="239"/>
                  <a:pt x="132" y="239"/>
                  <a:pt x="132" y="239"/>
                </a:cubicBezTo>
                <a:cubicBezTo>
                  <a:pt x="132" y="239"/>
                  <a:pt x="132" y="239"/>
                  <a:pt x="132" y="239"/>
                </a:cubicBezTo>
                <a:cubicBezTo>
                  <a:pt x="131" y="239"/>
                  <a:pt x="131" y="239"/>
                  <a:pt x="131" y="239"/>
                </a:cubicBezTo>
                <a:cubicBezTo>
                  <a:pt x="131" y="240"/>
                  <a:pt x="131" y="240"/>
                  <a:pt x="131" y="240"/>
                </a:cubicBezTo>
                <a:cubicBezTo>
                  <a:pt x="131" y="240"/>
                  <a:pt x="131" y="240"/>
                  <a:pt x="131" y="240"/>
                </a:cubicBezTo>
                <a:close/>
                <a:moveTo>
                  <a:pt x="128" y="240"/>
                </a:moveTo>
                <a:cubicBezTo>
                  <a:pt x="129" y="240"/>
                  <a:pt x="129" y="240"/>
                  <a:pt x="129" y="240"/>
                </a:cubicBezTo>
                <a:cubicBezTo>
                  <a:pt x="130" y="240"/>
                  <a:pt x="130" y="240"/>
                  <a:pt x="130" y="240"/>
                </a:cubicBezTo>
                <a:cubicBezTo>
                  <a:pt x="129" y="239"/>
                  <a:pt x="129" y="239"/>
                  <a:pt x="129" y="239"/>
                </a:cubicBezTo>
                <a:cubicBezTo>
                  <a:pt x="129" y="239"/>
                  <a:pt x="129" y="239"/>
                  <a:pt x="129" y="239"/>
                </a:cubicBezTo>
                <a:cubicBezTo>
                  <a:pt x="128" y="240"/>
                  <a:pt x="128" y="240"/>
                  <a:pt x="128" y="240"/>
                </a:cubicBezTo>
                <a:close/>
                <a:moveTo>
                  <a:pt x="143" y="234"/>
                </a:moveTo>
                <a:cubicBezTo>
                  <a:pt x="144" y="234"/>
                  <a:pt x="144" y="234"/>
                  <a:pt x="144" y="234"/>
                </a:cubicBezTo>
                <a:cubicBezTo>
                  <a:pt x="144" y="234"/>
                  <a:pt x="144" y="234"/>
                  <a:pt x="144" y="234"/>
                </a:cubicBezTo>
                <a:cubicBezTo>
                  <a:pt x="146" y="233"/>
                  <a:pt x="146" y="233"/>
                  <a:pt x="146" y="233"/>
                </a:cubicBezTo>
                <a:cubicBezTo>
                  <a:pt x="147" y="233"/>
                  <a:pt x="147" y="233"/>
                  <a:pt x="147" y="233"/>
                </a:cubicBezTo>
                <a:cubicBezTo>
                  <a:pt x="146" y="232"/>
                  <a:pt x="146" y="232"/>
                  <a:pt x="146" y="232"/>
                </a:cubicBezTo>
                <a:cubicBezTo>
                  <a:pt x="144" y="233"/>
                  <a:pt x="144" y="233"/>
                  <a:pt x="144" y="233"/>
                </a:cubicBezTo>
                <a:cubicBezTo>
                  <a:pt x="143" y="234"/>
                  <a:pt x="143" y="234"/>
                  <a:pt x="143" y="234"/>
                </a:cubicBezTo>
                <a:close/>
                <a:moveTo>
                  <a:pt x="137" y="233"/>
                </a:moveTo>
                <a:cubicBezTo>
                  <a:pt x="138" y="233"/>
                  <a:pt x="138" y="233"/>
                  <a:pt x="138" y="233"/>
                </a:cubicBezTo>
                <a:cubicBezTo>
                  <a:pt x="139" y="233"/>
                  <a:pt x="139" y="233"/>
                  <a:pt x="139" y="233"/>
                </a:cubicBezTo>
                <a:cubicBezTo>
                  <a:pt x="139" y="233"/>
                  <a:pt x="139" y="233"/>
                  <a:pt x="139" y="233"/>
                </a:cubicBezTo>
                <a:cubicBezTo>
                  <a:pt x="138" y="232"/>
                  <a:pt x="138" y="232"/>
                  <a:pt x="138" y="232"/>
                </a:cubicBezTo>
                <a:cubicBezTo>
                  <a:pt x="137" y="233"/>
                  <a:pt x="137" y="233"/>
                  <a:pt x="137" y="233"/>
                </a:cubicBezTo>
                <a:close/>
                <a:moveTo>
                  <a:pt x="133" y="232"/>
                </a:moveTo>
                <a:cubicBezTo>
                  <a:pt x="134" y="233"/>
                  <a:pt x="134" y="233"/>
                  <a:pt x="134" y="233"/>
                </a:cubicBezTo>
                <a:cubicBezTo>
                  <a:pt x="135" y="233"/>
                  <a:pt x="135" y="233"/>
                  <a:pt x="135" y="233"/>
                </a:cubicBezTo>
                <a:cubicBezTo>
                  <a:pt x="136" y="234"/>
                  <a:pt x="136" y="234"/>
                  <a:pt x="136" y="234"/>
                </a:cubicBezTo>
                <a:cubicBezTo>
                  <a:pt x="135" y="232"/>
                  <a:pt x="135" y="232"/>
                  <a:pt x="135" y="232"/>
                </a:cubicBezTo>
                <a:cubicBezTo>
                  <a:pt x="134" y="232"/>
                  <a:pt x="134" y="232"/>
                  <a:pt x="134" y="232"/>
                </a:cubicBezTo>
                <a:cubicBezTo>
                  <a:pt x="133" y="232"/>
                  <a:pt x="133" y="232"/>
                  <a:pt x="133" y="232"/>
                </a:cubicBezTo>
                <a:close/>
                <a:moveTo>
                  <a:pt x="131" y="233"/>
                </a:moveTo>
                <a:cubicBezTo>
                  <a:pt x="132" y="233"/>
                  <a:pt x="132" y="233"/>
                  <a:pt x="132" y="233"/>
                </a:cubicBezTo>
                <a:cubicBezTo>
                  <a:pt x="132" y="233"/>
                  <a:pt x="132" y="233"/>
                  <a:pt x="132" y="233"/>
                </a:cubicBezTo>
                <a:cubicBezTo>
                  <a:pt x="133" y="232"/>
                  <a:pt x="133" y="232"/>
                  <a:pt x="133" y="232"/>
                </a:cubicBezTo>
                <a:cubicBezTo>
                  <a:pt x="132" y="232"/>
                  <a:pt x="132" y="232"/>
                  <a:pt x="132" y="232"/>
                </a:cubicBezTo>
                <a:cubicBezTo>
                  <a:pt x="131" y="233"/>
                  <a:pt x="131" y="233"/>
                  <a:pt x="131" y="233"/>
                </a:cubicBezTo>
                <a:close/>
                <a:moveTo>
                  <a:pt x="266" y="192"/>
                </a:moveTo>
                <a:cubicBezTo>
                  <a:pt x="266" y="193"/>
                  <a:pt x="266" y="193"/>
                  <a:pt x="266" y="193"/>
                </a:cubicBezTo>
                <a:cubicBezTo>
                  <a:pt x="266" y="194"/>
                  <a:pt x="266" y="194"/>
                  <a:pt x="266" y="194"/>
                </a:cubicBezTo>
                <a:cubicBezTo>
                  <a:pt x="267" y="193"/>
                  <a:pt x="267" y="193"/>
                  <a:pt x="267" y="193"/>
                </a:cubicBezTo>
                <a:cubicBezTo>
                  <a:pt x="266" y="192"/>
                  <a:pt x="266" y="192"/>
                  <a:pt x="266" y="192"/>
                </a:cubicBezTo>
                <a:cubicBezTo>
                  <a:pt x="266" y="192"/>
                  <a:pt x="266" y="192"/>
                  <a:pt x="266" y="192"/>
                </a:cubicBezTo>
                <a:close/>
                <a:moveTo>
                  <a:pt x="263" y="188"/>
                </a:moveTo>
                <a:cubicBezTo>
                  <a:pt x="263" y="190"/>
                  <a:pt x="263" y="190"/>
                  <a:pt x="263" y="190"/>
                </a:cubicBezTo>
                <a:cubicBezTo>
                  <a:pt x="264" y="192"/>
                  <a:pt x="264" y="192"/>
                  <a:pt x="264" y="192"/>
                </a:cubicBezTo>
                <a:cubicBezTo>
                  <a:pt x="264" y="194"/>
                  <a:pt x="264" y="194"/>
                  <a:pt x="264" y="194"/>
                </a:cubicBezTo>
                <a:cubicBezTo>
                  <a:pt x="264" y="194"/>
                  <a:pt x="264" y="194"/>
                  <a:pt x="264" y="194"/>
                </a:cubicBezTo>
                <a:cubicBezTo>
                  <a:pt x="265" y="193"/>
                  <a:pt x="265" y="193"/>
                  <a:pt x="265" y="193"/>
                </a:cubicBezTo>
                <a:cubicBezTo>
                  <a:pt x="265" y="189"/>
                  <a:pt x="265" y="189"/>
                  <a:pt x="265" y="189"/>
                </a:cubicBezTo>
                <a:cubicBezTo>
                  <a:pt x="264" y="188"/>
                  <a:pt x="264" y="188"/>
                  <a:pt x="264" y="188"/>
                </a:cubicBezTo>
                <a:cubicBezTo>
                  <a:pt x="263" y="188"/>
                  <a:pt x="263" y="188"/>
                  <a:pt x="263" y="188"/>
                </a:cubicBezTo>
                <a:close/>
                <a:moveTo>
                  <a:pt x="262" y="186"/>
                </a:moveTo>
                <a:cubicBezTo>
                  <a:pt x="262" y="187"/>
                  <a:pt x="262" y="187"/>
                  <a:pt x="262" y="187"/>
                </a:cubicBezTo>
                <a:cubicBezTo>
                  <a:pt x="263" y="187"/>
                  <a:pt x="263" y="187"/>
                  <a:pt x="263" y="187"/>
                </a:cubicBezTo>
                <a:cubicBezTo>
                  <a:pt x="263" y="186"/>
                  <a:pt x="263" y="186"/>
                  <a:pt x="263" y="186"/>
                </a:cubicBezTo>
                <a:cubicBezTo>
                  <a:pt x="262" y="185"/>
                  <a:pt x="262" y="185"/>
                  <a:pt x="262" y="185"/>
                </a:cubicBezTo>
                <a:cubicBezTo>
                  <a:pt x="262" y="186"/>
                  <a:pt x="262" y="186"/>
                  <a:pt x="262" y="186"/>
                </a:cubicBezTo>
                <a:close/>
                <a:moveTo>
                  <a:pt x="147" y="223"/>
                </a:moveTo>
                <a:cubicBezTo>
                  <a:pt x="148" y="223"/>
                  <a:pt x="148" y="223"/>
                  <a:pt x="148" y="223"/>
                </a:cubicBezTo>
                <a:cubicBezTo>
                  <a:pt x="148" y="222"/>
                  <a:pt x="148" y="222"/>
                  <a:pt x="148" y="222"/>
                </a:cubicBezTo>
                <a:cubicBezTo>
                  <a:pt x="147" y="222"/>
                  <a:pt x="147" y="222"/>
                  <a:pt x="147" y="222"/>
                </a:cubicBezTo>
                <a:cubicBezTo>
                  <a:pt x="147" y="223"/>
                  <a:pt x="147" y="223"/>
                  <a:pt x="147" y="223"/>
                </a:cubicBezTo>
                <a:close/>
                <a:moveTo>
                  <a:pt x="153" y="228"/>
                </a:moveTo>
                <a:cubicBezTo>
                  <a:pt x="153" y="228"/>
                  <a:pt x="154" y="228"/>
                  <a:pt x="154" y="228"/>
                </a:cubicBezTo>
                <a:cubicBezTo>
                  <a:pt x="153" y="228"/>
                  <a:pt x="153" y="228"/>
                  <a:pt x="153" y="228"/>
                </a:cubicBezTo>
                <a:cubicBezTo>
                  <a:pt x="153" y="228"/>
                  <a:pt x="153" y="228"/>
                  <a:pt x="153" y="228"/>
                </a:cubicBezTo>
                <a:close/>
                <a:moveTo>
                  <a:pt x="152" y="227"/>
                </a:moveTo>
                <a:cubicBezTo>
                  <a:pt x="152" y="225"/>
                  <a:pt x="152" y="225"/>
                  <a:pt x="152" y="225"/>
                </a:cubicBezTo>
                <a:cubicBezTo>
                  <a:pt x="150" y="224"/>
                  <a:pt x="150" y="224"/>
                  <a:pt x="150" y="224"/>
                </a:cubicBezTo>
                <a:cubicBezTo>
                  <a:pt x="149" y="223"/>
                  <a:pt x="149" y="223"/>
                  <a:pt x="149" y="223"/>
                </a:cubicBezTo>
                <a:cubicBezTo>
                  <a:pt x="149" y="224"/>
                  <a:pt x="149" y="224"/>
                  <a:pt x="149" y="224"/>
                </a:cubicBezTo>
                <a:cubicBezTo>
                  <a:pt x="150" y="225"/>
                  <a:pt x="150" y="225"/>
                  <a:pt x="150" y="225"/>
                </a:cubicBezTo>
                <a:cubicBezTo>
                  <a:pt x="152" y="227"/>
                  <a:pt x="152" y="227"/>
                  <a:pt x="152" y="227"/>
                </a:cubicBezTo>
                <a:close/>
                <a:moveTo>
                  <a:pt x="156" y="221"/>
                </a:moveTo>
                <a:cubicBezTo>
                  <a:pt x="156" y="219"/>
                  <a:pt x="156" y="219"/>
                  <a:pt x="156" y="219"/>
                </a:cubicBezTo>
                <a:cubicBezTo>
                  <a:pt x="156" y="217"/>
                  <a:pt x="156" y="217"/>
                  <a:pt x="156" y="217"/>
                </a:cubicBezTo>
                <a:cubicBezTo>
                  <a:pt x="154" y="216"/>
                  <a:pt x="154" y="216"/>
                  <a:pt x="154" y="216"/>
                </a:cubicBezTo>
                <a:cubicBezTo>
                  <a:pt x="152" y="214"/>
                  <a:pt x="152" y="214"/>
                  <a:pt x="152" y="214"/>
                </a:cubicBezTo>
                <a:cubicBezTo>
                  <a:pt x="151" y="214"/>
                  <a:pt x="151" y="214"/>
                  <a:pt x="151" y="214"/>
                </a:cubicBezTo>
                <a:cubicBezTo>
                  <a:pt x="149" y="213"/>
                  <a:pt x="149" y="213"/>
                  <a:pt x="149" y="213"/>
                </a:cubicBezTo>
                <a:cubicBezTo>
                  <a:pt x="148" y="212"/>
                  <a:pt x="148" y="212"/>
                  <a:pt x="148" y="212"/>
                </a:cubicBezTo>
                <a:cubicBezTo>
                  <a:pt x="148" y="211"/>
                  <a:pt x="148" y="211"/>
                  <a:pt x="148" y="211"/>
                </a:cubicBezTo>
                <a:cubicBezTo>
                  <a:pt x="146" y="210"/>
                  <a:pt x="146" y="210"/>
                  <a:pt x="146" y="210"/>
                </a:cubicBezTo>
                <a:cubicBezTo>
                  <a:pt x="145" y="210"/>
                  <a:pt x="145" y="210"/>
                  <a:pt x="145" y="210"/>
                </a:cubicBezTo>
                <a:cubicBezTo>
                  <a:pt x="145" y="210"/>
                  <a:pt x="145" y="210"/>
                  <a:pt x="145" y="210"/>
                </a:cubicBezTo>
                <a:cubicBezTo>
                  <a:pt x="145" y="211"/>
                  <a:pt x="145" y="211"/>
                  <a:pt x="145" y="211"/>
                </a:cubicBezTo>
                <a:cubicBezTo>
                  <a:pt x="144" y="212"/>
                  <a:pt x="144" y="212"/>
                  <a:pt x="144" y="212"/>
                </a:cubicBezTo>
                <a:cubicBezTo>
                  <a:pt x="145" y="213"/>
                  <a:pt x="145" y="213"/>
                  <a:pt x="145" y="213"/>
                </a:cubicBezTo>
                <a:cubicBezTo>
                  <a:pt x="146" y="213"/>
                  <a:pt x="146" y="213"/>
                  <a:pt x="146" y="213"/>
                </a:cubicBezTo>
                <a:cubicBezTo>
                  <a:pt x="145" y="214"/>
                  <a:pt x="145" y="214"/>
                  <a:pt x="145" y="214"/>
                </a:cubicBezTo>
                <a:cubicBezTo>
                  <a:pt x="145" y="214"/>
                  <a:pt x="145" y="214"/>
                  <a:pt x="145" y="214"/>
                </a:cubicBezTo>
                <a:cubicBezTo>
                  <a:pt x="144" y="213"/>
                  <a:pt x="144" y="213"/>
                  <a:pt x="144" y="213"/>
                </a:cubicBezTo>
                <a:cubicBezTo>
                  <a:pt x="143" y="213"/>
                  <a:pt x="143" y="213"/>
                  <a:pt x="143" y="213"/>
                </a:cubicBezTo>
                <a:cubicBezTo>
                  <a:pt x="144" y="214"/>
                  <a:pt x="144" y="214"/>
                  <a:pt x="144" y="214"/>
                </a:cubicBezTo>
                <a:cubicBezTo>
                  <a:pt x="146" y="217"/>
                  <a:pt x="146" y="217"/>
                  <a:pt x="146" y="217"/>
                </a:cubicBezTo>
                <a:cubicBezTo>
                  <a:pt x="147" y="217"/>
                  <a:pt x="147" y="217"/>
                  <a:pt x="147" y="217"/>
                </a:cubicBezTo>
                <a:cubicBezTo>
                  <a:pt x="148" y="219"/>
                  <a:pt x="148" y="219"/>
                  <a:pt x="148" y="219"/>
                </a:cubicBezTo>
                <a:cubicBezTo>
                  <a:pt x="149" y="219"/>
                  <a:pt x="149" y="219"/>
                  <a:pt x="149" y="219"/>
                </a:cubicBezTo>
                <a:cubicBezTo>
                  <a:pt x="149" y="217"/>
                  <a:pt x="149" y="217"/>
                  <a:pt x="149" y="217"/>
                </a:cubicBezTo>
                <a:cubicBezTo>
                  <a:pt x="150" y="218"/>
                  <a:pt x="150" y="218"/>
                  <a:pt x="150" y="218"/>
                </a:cubicBezTo>
                <a:cubicBezTo>
                  <a:pt x="151" y="217"/>
                  <a:pt x="151" y="217"/>
                  <a:pt x="151" y="217"/>
                </a:cubicBezTo>
                <a:cubicBezTo>
                  <a:pt x="151" y="218"/>
                  <a:pt x="151" y="218"/>
                  <a:pt x="151" y="218"/>
                </a:cubicBezTo>
                <a:cubicBezTo>
                  <a:pt x="151" y="220"/>
                  <a:pt x="151" y="220"/>
                  <a:pt x="151" y="220"/>
                </a:cubicBezTo>
                <a:cubicBezTo>
                  <a:pt x="151" y="220"/>
                  <a:pt x="151" y="220"/>
                  <a:pt x="151" y="220"/>
                </a:cubicBezTo>
                <a:cubicBezTo>
                  <a:pt x="152" y="221"/>
                  <a:pt x="152" y="221"/>
                  <a:pt x="152" y="221"/>
                </a:cubicBezTo>
                <a:cubicBezTo>
                  <a:pt x="154" y="221"/>
                  <a:pt x="154" y="221"/>
                  <a:pt x="154" y="221"/>
                </a:cubicBezTo>
                <a:cubicBezTo>
                  <a:pt x="154" y="220"/>
                  <a:pt x="154" y="220"/>
                  <a:pt x="154" y="220"/>
                </a:cubicBezTo>
                <a:cubicBezTo>
                  <a:pt x="156" y="221"/>
                  <a:pt x="156" y="221"/>
                  <a:pt x="156" y="221"/>
                </a:cubicBezTo>
                <a:close/>
                <a:moveTo>
                  <a:pt x="185" y="167"/>
                </a:moveTo>
                <a:cubicBezTo>
                  <a:pt x="186" y="167"/>
                  <a:pt x="186" y="167"/>
                  <a:pt x="186" y="167"/>
                </a:cubicBezTo>
                <a:cubicBezTo>
                  <a:pt x="186" y="167"/>
                  <a:pt x="186" y="167"/>
                  <a:pt x="186" y="167"/>
                </a:cubicBezTo>
                <a:cubicBezTo>
                  <a:pt x="186" y="166"/>
                  <a:pt x="186" y="166"/>
                  <a:pt x="186" y="166"/>
                </a:cubicBezTo>
                <a:cubicBezTo>
                  <a:pt x="186" y="166"/>
                  <a:pt x="186" y="166"/>
                  <a:pt x="186" y="166"/>
                </a:cubicBezTo>
                <a:cubicBezTo>
                  <a:pt x="187" y="167"/>
                  <a:pt x="187" y="167"/>
                  <a:pt x="187" y="167"/>
                </a:cubicBezTo>
                <a:cubicBezTo>
                  <a:pt x="188" y="167"/>
                  <a:pt x="188" y="167"/>
                  <a:pt x="188" y="167"/>
                </a:cubicBezTo>
                <a:cubicBezTo>
                  <a:pt x="188" y="167"/>
                  <a:pt x="188" y="167"/>
                  <a:pt x="188" y="167"/>
                </a:cubicBezTo>
                <a:cubicBezTo>
                  <a:pt x="189" y="167"/>
                  <a:pt x="189" y="167"/>
                  <a:pt x="189" y="167"/>
                </a:cubicBezTo>
                <a:cubicBezTo>
                  <a:pt x="189" y="166"/>
                  <a:pt x="189" y="166"/>
                  <a:pt x="189" y="166"/>
                </a:cubicBezTo>
                <a:cubicBezTo>
                  <a:pt x="191" y="165"/>
                  <a:pt x="191" y="165"/>
                  <a:pt x="191" y="165"/>
                </a:cubicBezTo>
                <a:cubicBezTo>
                  <a:pt x="192" y="164"/>
                  <a:pt x="192" y="164"/>
                  <a:pt x="192" y="164"/>
                </a:cubicBezTo>
                <a:cubicBezTo>
                  <a:pt x="192" y="164"/>
                  <a:pt x="192" y="164"/>
                  <a:pt x="192" y="164"/>
                </a:cubicBezTo>
                <a:cubicBezTo>
                  <a:pt x="191" y="162"/>
                  <a:pt x="191" y="162"/>
                  <a:pt x="191" y="162"/>
                </a:cubicBezTo>
                <a:cubicBezTo>
                  <a:pt x="190" y="161"/>
                  <a:pt x="190" y="161"/>
                  <a:pt x="190" y="161"/>
                </a:cubicBezTo>
                <a:cubicBezTo>
                  <a:pt x="190" y="160"/>
                  <a:pt x="190" y="160"/>
                  <a:pt x="190" y="160"/>
                </a:cubicBezTo>
                <a:cubicBezTo>
                  <a:pt x="188" y="159"/>
                  <a:pt x="188" y="159"/>
                  <a:pt x="188" y="159"/>
                </a:cubicBezTo>
                <a:cubicBezTo>
                  <a:pt x="188" y="159"/>
                  <a:pt x="188" y="159"/>
                  <a:pt x="188" y="159"/>
                </a:cubicBezTo>
                <a:cubicBezTo>
                  <a:pt x="187" y="159"/>
                  <a:pt x="187" y="159"/>
                  <a:pt x="187" y="159"/>
                </a:cubicBezTo>
                <a:cubicBezTo>
                  <a:pt x="186" y="160"/>
                  <a:pt x="186" y="160"/>
                  <a:pt x="186" y="160"/>
                </a:cubicBezTo>
                <a:cubicBezTo>
                  <a:pt x="185" y="160"/>
                  <a:pt x="185" y="160"/>
                  <a:pt x="185" y="160"/>
                </a:cubicBezTo>
                <a:cubicBezTo>
                  <a:pt x="183" y="161"/>
                  <a:pt x="183" y="161"/>
                  <a:pt x="183" y="161"/>
                </a:cubicBezTo>
                <a:cubicBezTo>
                  <a:pt x="183" y="162"/>
                  <a:pt x="183" y="162"/>
                  <a:pt x="183" y="162"/>
                </a:cubicBezTo>
                <a:cubicBezTo>
                  <a:pt x="184" y="163"/>
                  <a:pt x="184" y="163"/>
                  <a:pt x="184" y="163"/>
                </a:cubicBezTo>
                <a:cubicBezTo>
                  <a:pt x="184" y="165"/>
                  <a:pt x="184" y="165"/>
                  <a:pt x="184" y="165"/>
                </a:cubicBezTo>
                <a:cubicBezTo>
                  <a:pt x="184" y="166"/>
                  <a:pt x="184" y="166"/>
                  <a:pt x="184" y="166"/>
                </a:cubicBezTo>
                <a:cubicBezTo>
                  <a:pt x="185" y="167"/>
                  <a:pt x="185" y="167"/>
                  <a:pt x="185" y="167"/>
                </a:cubicBezTo>
                <a:close/>
                <a:moveTo>
                  <a:pt x="189" y="220"/>
                </a:moveTo>
                <a:cubicBezTo>
                  <a:pt x="189" y="220"/>
                  <a:pt x="189" y="221"/>
                  <a:pt x="189" y="221"/>
                </a:cubicBezTo>
                <a:cubicBezTo>
                  <a:pt x="190" y="221"/>
                  <a:pt x="190" y="221"/>
                  <a:pt x="190" y="221"/>
                </a:cubicBezTo>
                <a:cubicBezTo>
                  <a:pt x="191" y="220"/>
                  <a:pt x="191" y="220"/>
                  <a:pt x="191" y="220"/>
                </a:cubicBezTo>
                <a:cubicBezTo>
                  <a:pt x="191" y="219"/>
                  <a:pt x="191" y="219"/>
                  <a:pt x="191" y="219"/>
                </a:cubicBezTo>
                <a:cubicBezTo>
                  <a:pt x="190" y="218"/>
                  <a:pt x="190" y="218"/>
                  <a:pt x="190" y="218"/>
                </a:cubicBezTo>
                <a:cubicBezTo>
                  <a:pt x="189" y="219"/>
                  <a:pt x="189" y="219"/>
                  <a:pt x="189" y="219"/>
                </a:cubicBezTo>
                <a:cubicBezTo>
                  <a:pt x="189" y="219"/>
                  <a:pt x="189" y="219"/>
                  <a:pt x="189" y="219"/>
                </a:cubicBezTo>
                <a:cubicBezTo>
                  <a:pt x="189" y="220"/>
                  <a:pt x="189" y="220"/>
                  <a:pt x="189" y="220"/>
                </a:cubicBezTo>
                <a:close/>
                <a:moveTo>
                  <a:pt x="213" y="250"/>
                </a:moveTo>
                <a:cubicBezTo>
                  <a:pt x="213" y="250"/>
                  <a:pt x="213" y="250"/>
                  <a:pt x="213" y="250"/>
                </a:cubicBezTo>
                <a:cubicBezTo>
                  <a:pt x="214" y="251"/>
                  <a:pt x="214" y="251"/>
                  <a:pt x="214" y="251"/>
                </a:cubicBezTo>
                <a:cubicBezTo>
                  <a:pt x="214" y="251"/>
                  <a:pt x="214" y="251"/>
                  <a:pt x="214" y="251"/>
                </a:cubicBezTo>
                <a:cubicBezTo>
                  <a:pt x="215" y="252"/>
                  <a:pt x="215" y="252"/>
                  <a:pt x="215" y="252"/>
                </a:cubicBezTo>
                <a:cubicBezTo>
                  <a:pt x="216" y="252"/>
                  <a:pt x="216" y="252"/>
                  <a:pt x="216" y="252"/>
                </a:cubicBezTo>
                <a:cubicBezTo>
                  <a:pt x="217" y="251"/>
                  <a:pt x="217" y="251"/>
                  <a:pt x="217" y="251"/>
                </a:cubicBezTo>
                <a:cubicBezTo>
                  <a:pt x="216" y="250"/>
                  <a:pt x="216" y="250"/>
                  <a:pt x="216" y="250"/>
                </a:cubicBezTo>
                <a:cubicBezTo>
                  <a:pt x="215" y="250"/>
                  <a:pt x="215" y="250"/>
                  <a:pt x="215" y="250"/>
                </a:cubicBezTo>
                <a:cubicBezTo>
                  <a:pt x="214" y="250"/>
                  <a:pt x="214" y="250"/>
                  <a:pt x="214" y="250"/>
                </a:cubicBezTo>
                <a:cubicBezTo>
                  <a:pt x="214" y="250"/>
                  <a:pt x="214" y="250"/>
                  <a:pt x="214" y="250"/>
                </a:cubicBezTo>
                <a:cubicBezTo>
                  <a:pt x="213" y="250"/>
                  <a:pt x="213" y="250"/>
                  <a:pt x="213" y="250"/>
                </a:cubicBezTo>
                <a:close/>
                <a:moveTo>
                  <a:pt x="208" y="166"/>
                </a:moveTo>
                <a:cubicBezTo>
                  <a:pt x="208" y="165"/>
                  <a:pt x="208" y="165"/>
                  <a:pt x="208" y="165"/>
                </a:cubicBezTo>
                <a:cubicBezTo>
                  <a:pt x="208" y="165"/>
                  <a:pt x="208" y="165"/>
                  <a:pt x="208" y="165"/>
                </a:cubicBezTo>
                <a:cubicBezTo>
                  <a:pt x="208" y="164"/>
                  <a:pt x="208" y="164"/>
                  <a:pt x="208" y="164"/>
                </a:cubicBezTo>
                <a:cubicBezTo>
                  <a:pt x="208" y="163"/>
                  <a:pt x="208" y="163"/>
                  <a:pt x="208" y="163"/>
                </a:cubicBezTo>
                <a:cubicBezTo>
                  <a:pt x="208" y="162"/>
                  <a:pt x="208" y="162"/>
                  <a:pt x="208" y="162"/>
                </a:cubicBezTo>
                <a:cubicBezTo>
                  <a:pt x="207" y="162"/>
                  <a:pt x="207" y="162"/>
                  <a:pt x="207" y="162"/>
                </a:cubicBezTo>
                <a:cubicBezTo>
                  <a:pt x="206" y="162"/>
                  <a:pt x="206" y="162"/>
                  <a:pt x="206" y="162"/>
                </a:cubicBezTo>
                <a:cubicBezTo>
                  <a:pt x="205" y="165"/>
                  <a:pt x="205" y="165"/>
                  <a:pt x="205" y="165"/>
                </a:cubicBezTo>
                <a:cubicBezTo>
                  <a:pt x="206" y="166"/>
                  <a:pt x="206" y="166"/>
                  <a:pt x="206" y="166"/>
                </a:cubicBezTo>
                <a:cubicBezTo>
                  <a:pt x="207" y="166"/>
                  <a:pt x="207" y="166"/>
                  <a:pt x="207" y="166"/>
                </a:cubicBezTo>
                <a:cubicBezTo>
                  <a:pt x="208" y="166"/>
                  <a:pt x="208" y="166"/>
                  <a:pt x="208" y="166"/>
                </a:cubicBezTo>
                <a:cubicBezTo>
                  <a:pt x="208" y="166"/>
                  <a:pt x="208" y="166"/>
                  <a:pt x="208" y="166"/>
                </a:cubicBezTo>
                <a:close/>
                <a:moveTo>
                  <a:pt x="206" y="157"/>
                </a:moveTo>
                <a:cubicBezTo>
                  <a:pt x="207" y="156"/>
                  <a:pt x="207" y="156"/>
                  <a:pt x="207" y="156"/>
                </a:cubicBezTo>
                <a:cubicBezTo>
                  <a:pt x="208" y="157"/>
                  <a:pt x="208" y="157"/>
                  <a:pt x="208" y="157"/>
                </a:cubicBezTo>
                <a:cubicBezTo>
                  <a:pt x="209" y="156"/>
                  <a:pt x="209" y="156"/>
                  <a:pt x="209" y="156"/>
                </a:cubicBezTo>
                <a:cubicBezTo>
                  <a:pt x="209" y="155"/>
                  <a:pt x="209" y="155"/>
                  <a:pt x="209" y="155"/>
                </a:cubicBezTo>
                <a:cubicBezTo>
                  <a:pt x="209" y="154"/>
                  <a:pt x="209" y="154"/>
                  <a:pt x="209" y="154"/>
                </a:cubicBezTo>
                <a:cubicBezTo>
                  <a:pt x="210" y="154"/>
                  <a:pt x="210" y="154"/>
                  <a:pt x="210" y="154"/>
                </a:cubicBezTo>
                <a:cubicBezTo>
                  <a:pt x="210" y="154"/>
                  <a:pt x="210" y="154"/>
                  <a:pt x="210" y="154"/>
                </a:cubicBezTo>
                <a:cubicBezTo>
                  <a:pt x="209" y="154"/>
                  <a:pt x="209" y="154"/>
                  <a:pt x="209" y="154"/>
                </a:cubicBezTo>
                <a:cubicBezTo>
                  <a:pt x="207" y="155"/>
                  <a:pt x="207" y="155"/>
                  <a:pt x="207" y="155"/>
                </a:cubicBezTo>
                <a:cubicBezTo>
                  <a:pt x="206" y="156"/>
                  <a:pt x="206" y="156"/>
                  <a:pt x="206" y="156"/>
                </a:cubicBezTo>
                <a:cubicBezTo>
                  <a:pt x="206" y="157"/>
                  <a:pt x="206" y="157"/>
                  <a:pt x="206" y="157"/>
                </a:cubicBezTo>
                <a:close/>
                <a:moveTo>
                  <a:pt x="212" y="159"/>
                </a:moveTo>
                <a:cubicBezTo>
                  <a:pt x="213" y="160"/>
                  <a:pt x="213" y="160"/>
                  <a:pt x="213" y="160"/>
                </a:cubicBezTo>
                <a:cubicBezTo>
                  <a:pt x="215" y="160"/>
                  <a:pt x="215" y="160"/>
                  <a:pt x="215" y="160"/>
                </a:cubicBezTo>
                <a:cubicBezTo>
                  <a:pt x="216" y="160"/>
                  <a:pt x="216" y="160"/>
                  <a:pt x="216" y="160"/>
                </a:cubicBezTo>
                <a:cubicBezTo>
                  <a:pt x="215" y="159"/>
                  <a:pt x="215" y="159"/>
                  <a:pt x="215" y="159"/>
                </a:cubicBezTo>
                <a:cubicBezTo>
                  <a:pt x="214" y="159"/>
                  <a:pt x="214" y="159"/>
                  <a:pt x="214" y="159"/>
                </a:cubicBezTo>
                <a:cubicBezTo>
                  <a:pt x="212" y="159"/>
                  <a:pt x="212" y="159"/>
                  <a:pt x="212" y="159"/>
                </a:cubicBezTo>
                <a:cubicBezTo>
                  <a:pt x="212" y="159"/>
                  <a:pt x="212" y="159"/>
                  <a:pt x="212" y="159"/>
                </a:cubicBezTo>
                <a:close/>
                <a:moveTo>
                  <a:pt x="224" y="168"/>
                </a:moveTo>
                <a:cubicBezTo>
                  <a:pt x="224" y="169"/>
                  <a:pt x="224" y="169"/>
                  <a:pt x="224" y="169"/>
                </a:cubicBezTo>
                <a:cubicBezTo>
                  <a:pt x="223" y="170"/>
                  <a:pt x="223" y="170"/>
                  <a:pt x="223" y="170"/>
                </a:cubicBezTo>
                <a:cubicBezTo>
                  <a:pt x="222" y="171"/>
                  <a:pt x="222" y="171"/>
                  <a:pt x="222" y="171"/>
                </a:cubicBezTo>
                <a:cubicBezTo>
                  <a:pt x="222" y="172"/>
                  <a:pt x="222" y="172"/>
                  <a:pt x="222" y="172"/>
                </a:cubicBezTo>
                <a:cubicBezTo>
                  <a:pt x="223" y="173"/>
                  <a:pt x="223" y="173"/>
                  <a:pt x="223" y="173"/>
                </a:cubicBezTo>
                <a:cubicBezTo>
                  <a:pt x="224" y="173"/>
                  <a:pt x="224" y="173"/>
                  <a:pt x="224" y="173"/>
                </a:cubicBezTo>
                <a:cubicBezTo>
                  <a:pt x="225" y="171"/>
                  <a:pt x="225" y="171"/>
                  <a:pt x="225" y="171"/>
                </a:cubicBezTo>
                <a:cubicBezTo>
                  <a:pt x="226" y="171"/>
                  <a:pt x="226" y="171"/>
                  <a:pt x="226" y="171"/>
                </a:cubicBezTo>
                <a:cubicBezTo>
                  <a:pt x="226" y="170"/>
                  <a:pt x="226" y="170"/>
                  <a:pt x="226" y="170"/>
                </a:cubicBezTo>
                <a:cubicBezTo>
                  <a:pt x="227" y="169"/>
                  <a:pt x="227" y="169"/>
                  <a:pt x="227" y="169"/>
                </a:cubicBezTo>
                <a:cubicBezTo>
                  <a:pt x="229" y="168"/>
                  <a:pt x="229" y="168"/>
                  <a:pt x="229" y="168"/>
                </a:cubicBezTo>
                <a:cubicBezTo>
                  <a:pt x="228" y="167"/>
                  <a:pt x="228" y="167"/>
                  <a:pt x="228" y="167"/>
                </a:cubicBezTo>
                <a:cubicBezTo>
                  <a:pt x="228" y="166"/>
                  <a:pt x="228" y="166"/>
                  <a:pt x="228" y="166"/>
                </a:cubicBezTo>
                <a:cubicBezTo>
                  <a:pt x="227" y="166"/>
                  <a:pt x="227" y="166"/>
                  <a:pt x="227" y="166"/>
                </a:cubicBezTo>
                <a:cubicBezTo>
                  <a:pt x="225" y="167"/>
                  <a:pt x="225" y="167"/>
                  <a:pt x="225" y="167"/>
                </a:cubicBezTo>
                <a:cubicBezTo>
                  <a:pt x="224" y="168"/>
                  <a:pt x="224" y="168"/>
                  <a:pt x="224" y="168"/>
                </a:cubicBezTo>
                <a:close/>
                <a:moveTo>
                  <a:pt x="228" y="156"/>
                </a:moveTo>
                <a:cubicBezTo>
                  <a:pt x="227" y="158"/>
                  <a:pt x="227" y="158"/>
                  <a:pt x="227" y="158"/>
                </a:cubicBezTo>
                <a:cubicBezTo>
                  <a:pt x="227" y="160"/>
                  <a:pt x="227" y="160"/>
                  <a:pt x="227" y="160"/>
                </a:cubicBezTo>
                <a:cubicBezTo>
                  <a:pt x="226" y="161"/>
                  <a:pt x="226" y="161"/>
                  <a:pt x="226" y="161"/>
                </a:cubicBezTo>
                <a:cubicBezTo>
                  <a:pt x="226" y="162"/>
                  <a:pt x="226" y="162"/>
                  <a:pt x="226" y="162"/>
                </a:cubicBezTo>
                <a:cubicBezTo>
                  <a:pt x="228" y="162"/>
                  <a:pt x="228" y="162"/>
                  <a:pt x="228" y="162"/>
                </a:cubicBezTo>
                <a:cubicBezTo>
                  <a:pt x="228" y="163"/>
                  <a:pt x="228" y="163"/>
                  <a:pt x="228" y="163"/>
                </a:cubicBezTo>
                <a:cubicBezTo>
                  <a:pt x="230" y="163"/>
                  <a:pt x="230" y="163"/>
                  <a:pt x="230" y="163"/>
                </a:cubicBezTo>
                <a:cubicBezTo>
                  <a:pt x="231" y="164"/>
                  <a:pt x="231" y="164"/>
                  <a:pt x="231" y="164"/>
                </a:cubicBezTo>
                <a:cubicBezTo>
                  <a:pt x="232" y="163"/>
                  <a:pt x="232" y="163"/>
                  <a:pt x="232" y="163"/>
                </a:cubicBezTo>
                <a:cubicBezTo>
                  <a:pt x="232" y="163"/>
                  <a:pt x="232" y="163"/>
                  <a:pt x="232" y="163"/>
                </a:cubicBezTo>
                <a:cubicBezTo>
                  <a:pt x="231" y="161"/>
                  <a:pt x="231" y="161"/>
                  <a:pt x="231" y="161"/>
                </a:cubicBezTo>
                <a:cubicBezTo>
                  <a:pt x="230" y="159"/>
                  <a:pt x="230" y="159"/>
                  <a:pt x="230" y="159"/>
                </a:cubicBezTo>
                <a:cubicBezTo>
                  <a:pt x="229" y="158"/>
                  <a:pt x="229" y="158"/>
                  <a:pt x="229" y="158"/>
                </a:cubicBezTo>
                <a:cubicBezTo>
                  <a:pt x="228" y="156"/>
                  <a:pt x="228" y="156"/>
                  <a:pt x="228" y="156"/>
                </a:cubicBezTo>
                <a:close/>
                <a:moveTo>
                  <a:pt x="220" y="135"/>
                </a:moveTo>
                <a:cubicBezTo>
                  <a:pt x="219" y="134"/>
                  <a:pt x="219" y="134"/>
                  <a:pt x="219" y="134"/>
                </a:cubicBezTo>
                <a:cubicBezTo>
                  <a:pt x="220" y="134"/>
                  <a:pt x="220" y="134"/>
                  <a:pt x="220" y="134"/>
                </a:cubicBezTo>
                <a:cubicBezTo>
                  <a:pt x="219" y="133"/>
                  <a:pt x="219" y="133"/>
                  <a:pt x="219" y="133"/>
                </a:cubicBezTo>
                <a:cubicBezTo>
                  <a:pt x="217" y="133"/>
                  <a:pt x="217" y="133"/>
                  <a:pt x="217" y="133"/>
                </a:cubicBezTo>
                <a:cubicBezTo>
                  <a:pt x="217" y="134"/>
                  <a:pt x="217" y="134"/>
                  <a:pt x="217" y="134"/>
                </a:cubicBezTo>
                <a:cubicBezTo>
                  <a:pt x="218" y="134"/>
                  <a:pt x="218" y="134"/>
                  <a:pt x="218" y="134"/>
                </a:cubicBezTo>
                <a:cubicBezTo>
                  <a:pt x="218" y="135"/>
                  <a:pt x="218" y="135"/>
                  <a:pt x="218" y="135"/>
                </a:cubicBezTo>
                <a:cubicBezTo>
                  <a:pt x="219" y="136"/>
                  <a:pt x="219" y="136"/>
                  <a:pt x="219" y="136"/>
                </a:cubicBezTo>
                <a:cubicBezTo>
                  <a:pt x="220" y="135"/>
                  <a:pt x="220" y="135"/>
                  <a:pt x="220" y="135"/>
                </a:cubicBezTo>
                <a:close/>
                <a:moveTo>
                  <a:pt x="224" y="120"/>
                </a:moveTo>
                <a:cubicBezTo>
                  <a:pt x="223" y="119"/>
                  <a:pt x="223" y="119"/>
                  <a:pt x="223" y="119"/>
                </a:cubicBezTo>
                <a:cubicBezTo>
                  <a:pt x="222" y="119"/>
                  <a:pt x="222" y="119"/>
                  <a:pt x="222" y="119"/>
                </a:cubicBezTo>
                <a:cubicBezTo>
                  <a:pt x="223" y="121"/>
                  <a:pt x="223" y="121"/>
                  <a:pt x="223" y="121"/>
                </a:cubicBezTo>
                <a:cubicBezTo>
                  <a:pt x="223" y="121"/>
                  <a:pt x="223" y="121"/>
                  <a:pt x="223" y="121"/>
                </a:cubicBezTo>
                <a:cubicBezTo>
                  <a:pt x="224" y="121"/>
                  <a:pt x="224" y="121"/>
                  <a:pt x="224" y="121"/>
                </a:cubicBezTo>
                <a:cubicBezTo>
                  <a:pt x="225" y="121"/>
                  <a:pt x="225" y="121"/>
                  <a:pt x="225" y="121"/>
                </a:cubicBezTo>
                <a:cubicBezTo>
                  <a:pt x="225" y="123"/>
                  <a:pt x="225" y="123"/>
                  <a:pt x="225" y="123"/>
                </a:cubicBezTo>
                <a:cubicBezTo>
                  <a:pt x="225" y="123"/>
                  <a:pt x="225" y="123"/>
                  <a:pt x="225" y="123"/>
                </a:cubicBezTo>
                <a:cubicBezTo>
                  <a:pt x="225" y="122"/>
                  <a:pt x="225" y="122"/>
                  <a:pt x="225" y="122"/>
                </a:cubicBezTo>
                <a:cubicBezTo>
                  <a:pt x="225" y="121"/>
                  <a:pt x="225" y="121"/>
                  <a:pt x="225" y="121"/>
                </a:cubicBezTo>
                <a:cubicBezTo>
                  <a:pt x="226" y="120"/>
                  <a:pt x="226" y="120"/>
                  <a:pt x="226" y="120"/>
                </a:cubicBezTo>
                <a:cubicBezTo>
                  <a:pt x="226" y="119"/>
                  <a:pt x="226" y="119"/>
                  <a:pt x="226" y="119"/>
                </a:cubicBezTo>
                <a:cubicBezTo>
                  <a:pt x="225" y="119"/>
                  <a:pt x="225" y="119"/>
                  <a:pt x="225" y="119"/>
                </a:cubicBezTo>
                <a:cubicBezTo>
                  <a:pt x="225" y="118"/>
                  <a:pt x="225" y="118"/>
                  <a:pt x="225" y="118"/>
                </a:cubicBezTo>
                <a:cubicBezTo>
                  <a:pt x="225" y="117"/>
                  <a:pt x="225" y="117"/>
                  <a:pt x="225" y="117"/>
                </a:cubicBezTo>
                <a:cubicBezTo>
                  <a:pt x="224" y="117"/>
                  <a:pt x="224" y="117"/>
                  <a:pt x="224" y="117"/>
                </a:cubicBezTo>
                <a:cubicBezTo>
                  <a:pt x="223" y="117"/>
                  <a:pt x="223" y="117"/>
                  <a:pt x="223" y="117"/>
                </a:cubicBezTo>
                <a:cubicBezTo>
                  <a:pt x="223" y="118"/>
                  <a:pt x="223" y="118"/>
                  <a:pt x="223" y="118"/>
                </a:cubicBezTo>
                <a:cubicBezTo>
                  <a:pt x="224" y="119"/>
                  <a:pt x="224" y="119"/>
                  <a:pt x="224" y="119"/>
                </a:cubicBezTo>
                <a:cubicBezTo>
                  <a:pt x="224" y="120"/>
                  <a:pt x="224" y="120"/>
                  <a:pt x="224" y="120"/>
                </a:cubicBezTo>
                <a:close/>
                <a:moveTo>
                  <a:pt x="222" y="112"/>
                </a:moveTo>
                <a:cubicBezTo>
                  <a:pt x="220" y="112"/>
                  <a:pt x="220" y="112"/>
                  <a:pt x="220" y="112"/>
                </a:cubicBezTo>
                <a:cubicBezTo>
                  <a:pt x="220" y="111"/>
                  <a:pt x="220" y="111"/>
                  <a:pt x="220" y="111"/>
                </a:cubicBezTo>
                <a:cubicBezTo>
                  <a:pt x="219" y="111"/>
                  <a:pt x="219" y="111"/>
                  <a:pt x="219" y="111"/>
                </a:cubicBezTo>
                <a:cubicBezTo>
                  <a:pt x="218" y="111"/>
                  <a:pt x="218" y="111"/>
                  <a:pt x="218" y="111"/>
                </a:cubicBezTo>
                <a:cubicBezTo>
                  <a:pt x="218" y="112"/>
                  <a:pt x="218" y="112"/>
                  <a:pt x="218" y="112"/>
                </a:cubicBezTo>
                <a:cubicBezTo>
                  <a:pt x="220" y="113"/>
                  <a:pt x="220" y="113"/>
                  <a:pt x="220" y="113"/>
                </a:cubicBezTo>
                <a:cubicBezTo>
                  <a:pt x="221" y="113"/>
                  <a:pt x="221" y="113"/>
                  <a:pt x="221" y="113"/>
                </a:cubicBezTo>
                <a:cubicBezTo>
                  <a:pt x="222" y="112"/>
                  <a:pt x="222" y="112"/>
                  <a:pt x="222" y="112"/>
                </a:cubicBezTo>
                <a:close/>
                <a:moveTo>
                  <a:pt x="222" y="111"/>
                </a:moveTo>
                <a:cubicBezTo>
                  <a:pt x="222" y="111"/>
                  <a:pt x="222" y="111"/>
                  <a:pt x="222" y="111"/>
                </a:cubicBezTo>
                <a:cubicBezTo>
                  <a:pt x="224" y="111"/>
                  <a:pt x="224" y="111"/>
                  <a:pt x="224" y="111"/>
                </a:cubicBezTo>
                <a:cubicBezTo>
                  <a:pt x="225" y="111"/>
                  <a:pt x="225" y="111"/>
                  <a:pt x="225" y="111"/>
                </a:cubicBezTo>
                <a:cubicBezTo>
                  <a:pt x="226" y="111"/>
                  <a:pt x="226" y="111"/>
                  <a:pt x="226" y="111"/>
                </a:cubicBezTo>
                <a:cubicBezTo>
                  <a:pt x="226" y="110"/>
                  <a:pt x="226" y="110"/>
                  <a:pt x="226" y="110"/>
                </a:cubicBezTo>
                <a:cubicBezTo>
                  <a:pt x="224" y="110"/>
                  <a:pt x="224" y="110"/>
                  <a:pt x="224" y="110"/>
                </a:cubicBezTo>
                <a:cubicBezTo>
                  <a:pt x="223" y="109"/>
                  <a:pt x="223" y="109"/>
                  <a:pt x="223" y="109"/>
                </a:cubicBezTo>
                <a:cubicBezTo>
                  <a:pt x="222" y="110"/>
                  <a:pt x="222" y="110"/>
                  <a:pt x="222" y="110"/>
                </a:cubicBezTo>
                <a:cubicBezTo>
                  <a:pt x="222" y="111"/>
                  <a:pt x="222" y="111"/>
                  <a:pt x="222" y="111"/>
                </a:cubicBezTo>
                <a:close/>
                <a:moveTo>
                  <a:pt x="236" y="141"/>
                </a:moveTo>
                <a:cubicBezTo>
                  <a:pt x="237" y="140"/>
                  <a:pt x="237" y="140"/>
                  <a:pt x="237" y="140"/>
                </a:cubicBezTo>
                <a:cubicBezTo>
                  <a:pt x="236" y="139"/>
                  <a:pt x="236" y="139"/>
                  <a:pt x="236" y="139"/>
                </a:cubicBezTo>
                <a:cubicBezTo>
                  <a:pt x="235" y="139"/>
                  <a:pt x="235" y="139"/>
                  <a:pt x="235" y="139"/>
                </a:cubicBezTo>
                <a:cubicBezTo>
                  <a:pt x="235" y="140"/>
                  <a:pt x="235" y="140"/>
                  <a:pt x="235" y="140"/>
                </a:cubicBezTo>
                <a:cubicBezTo>
                  <a:pt x="235" y="141"/>
                  <a:pt x="235" y="141"/>
                  <a:pt x="235" y="141"/>
                </a:cubicBezTo>
                <a:cubicBezTo>
                  <a:pt x="236" y="141"/>
                  <a:pt x="236" y="141"/>
                  <a:pt x="236" y="141"/>
                </a:cubicBezTo>
                <a:close/>
                <a:moveTo>
                  <a:pt x="240" y="140"/>
                </a:moveTo>
                <a:cubicBezTo>
                  <a:pt x="241" y="139"/>
                  <a:pt x="241" y="139"/>
                  <a:pt x="241" y="139"/>
                </a:cubicBezTo>
                <a:cubicBezTo>
                  <a:pt x="241" y="139"/>
                  <a:pt x="241" y="139"/>
                  <a:pt x="241" y="139"/>
                </a:cubicBezTo>
                <a:cubicBezTo>
                  <a:pt x="239" y="138"/>
                  <a:pt x="239" y="138"/>
                  <a:pt x="239" y="138"/>
                </a:cubicBezTo>
                <a:cubicBezTo>
                  <a:pt x="239" y="139"/>
                  <a:pt x="239" y="139"/>
                  <a:pt x="239" y="139"/>
                </a:cubicBezTo>
                <a:cubicBezTo>
                  <a:pt x="238" y="139"/>
                  <a:pt x="238" y="139"/>
                  <a:pt x="238" y="139"/>
                </a:cubicBezTo>
                <a:cubicBezTo>
                  <a:pt x="238" y="140"/>
                  <a:pt x="238" y="140"/>
                  <a:pt x="238" y="140"/>
                </a:cubicBezTo>
                <a:cubicBezTo>
                  <a:pt x="240" y="140"/>
                  <a:pt x="240" y="140"/>
                  <a:pt x="240" y="140"/>
                </a:cubicBezTo>
                <a:close/>
                <a:moveTo>
                  <a:pt x="245" y="141"/>
                </a:moveTo>
                <a:cubicBezTo>
                  <a:pt x="246" y="141"/>
                  <a:pt x="246" y="141"/>
                  <a:pt x="246" y="141"/>
                </a:cubicBezTo>
                <a:cubicBezTo>
                  <a:pt x="245" y="140"/>
                  <a:pt x="245" y="140"/>
                  <a:pt x="245" y="140"/>
                </a:cubicBezTo>
                <a:cubicBezTo>
                  <a:pt x="243" y="141"/>
                  <a:pt x="243" y="141"/>
                  <a:pt x="243" y="141"/>
                </a:cubicBezTo>
                <a:cubicBezTo>
                  <a:pt x="244" y="141"/>
                  <a:pt x="244" y="141"/>
                  <a:pt x="244" y="141"/>
                </a:cubicBezTo>
                <a:cubicBezTo>
                  <a:pt x="245" y="141"/>
                  <a:pt x="245" y="141"/>
                  <a:pt x="245" y="141"/>
                </a:cubicBezTo>
                <a:close/>
                <a:moveTo>
                  <a:pt x="254" y="138"/>
                </a:moveTo>
                <a:cubicBezTo>
                  <a:pt x="255" y="140"/>
                  <a:pt x="255" y="140"/>
                  <a:pt x="255" y="140"/>
                </a:cubicBezTo>
                <a:cubicBezTo>
                  <a:pt x="255" y="140"/>
                  <a:pt x="255" y="140"/>
                  <a:pt x="255" y="140"/>
                </a:cubicBezTo>
                <a:cubicBezTo>
                  <a:pt x="256" y="139"/>
                  <a:pt x="256" y="139"/>
                  <a:pt x="256" y="139"/>
                </a:cubicBezTo>
                <a:cubicBezTo>
                  <a:pt x="255" y="139"/>
                  <a:pt x="255" y="139"/>
                  <a:pt x="255" y="139"/>
                </a:cubicBezTo>
                <a:cubicBezTo>
                  <a:pt x="254" y="138"/>
                  <a:pt x="254" y="138"/>
                  <a:pt x="254" y="138"/>
                </a:cubicBezTo>
                <a:close/>
                <a:moveTo>
                  <a:pt x="249" y="137"/>
                </a:moveTo>
                <a:cubicBezTo>
                  <a:pt x="250" y="137"/>
                  <a:pt x="250" y="137"/>
                  <a:pt x="250" y="137"/>
                </a:cubicBezTo>
                <a:cubicBezTo>
                  <a:pt x="251" y="136"/>
                  <a:pt x="251" y="136"/>
                  <a:pt x="251" y="136"/>
                </a:cubicBezTo>
                <a:cubicBezTo>
                  <a:pt x="250" y="136"/>
                  <a:pt x="250" y="136"/>
                  <a:pt x="250" y="136"/>
                </a:cubicBezTo>
                <a:cubicBezTo>
                  <a:pt x="249" y="136"/>
                  <a:pt x="249" y="136"/>
                  <a:pt x="249" y="136"/>
                </a:cubicBezTo>
                <a:cubicBezTo>
                  <a:pt x="249" y="137"/>
                  <a:pt x="249" y="137"/>
                  <a:pt x="249" y="137"/>
                </a:cubicBezTo>
                <a:cubicBezTo>
                  <a:pt x="249" y="137"/>
                  <a:pt x="249" y="137"/>
                  <a:pt x="249" y="137"/>
                </a:cubicBezTo>
                <a:close/>
                <a:moveTo>
                  <a:pt x="245" y="132"/>
                </a:moveTo>
                <a:cubicBezTo>
                  <a:pt x="245" y="131"/>
                  <a:pt x="245" y="131"/>
                  <a:pt x="245" y="131"/>
                </a:cubicBezTo>
                <a:cubicBezTo>
                  <a:pt x="244" y="131"/>
                  <a:pt x="244" y="131"/>
                  <a:pt x="244" y="131"/>
                </a:cubicBezTo>
                <a:cubicBezTo>
                  <a:pt x="243" y="132"/>
                  <a:pt x="243" y="132"/>
                  <a:pt x="243" y="132"/>
                </a:cubicBezTo>
                <a:cubicBezTo>
                  <a:pt x="243" y="133"/>
                  <a:pt x="243" y="133"/>
                  <a:pt x="243" y="133"/>
                </a:cubicBezTo>
                <a:cubicBezTo>
                  <a:pt x="244" y="134"/>
                  <a:pt x="244" y="134"/>
                  <a:pt x="244" y="134"/>
                </a:cubicBezTo>
                <a:cubicBezTo>
                  <a:pt x="244" y="133"/>
                  <a:pt x="244" y="133"/>
                  <a:pt x="244" y="133"/>
                </a:cubicBezTo>
                <a:cubicBezTo>
                  <a:pt x="244" y="133"/>
                  <a:pt x="244" y="133"/>
                  <a:pt x="244" y="133"/>
                </a:cubicBezTo>
                <a:cubicBezTo>
                  <a:pt x="244" y="132"/>
                  <a:pt x="244" y="132"/>
                  <a:pt x="244" y="132"/>
                </a:cubicBezTo>
                <a:cubicBezTo>
                  <a:pt x="245" y="132"/>
                  <a:pt x="245" y="132"/>
                  <a:pt x="245" y="132"/>
                </a:cubicBezTo>
                <a:close/>
                <a:moveTo>
                  <a:pt x="248" y="131"/>
                </a:moveTo>
                <a:cubicBezTo>
                  <a:pt x="248" y="130"/>
                  <a:pt x="248" y="130"/>
                  <a:pt x="248" y="130"/>
                </a:cubicBezTo>
                <a:cubicBezTo>
                  <a:pt x="247" y="130"/>
                  <a:pt x="247" y="130"/>
                  <a:pt x="247" y="130"/>
                </a:cubicBezTo>
                <a:cubicBezTo>
                  <a:pt x="246" y="131"/>
                  <a:pt x="246" y="131"/>
                  <a:pt x="246" y="131"/>
                </a:cubicBezTo>
                <a:cubicBezTo>
                  <a:pt x="247" y="132"/>
                  <a:pt x="247" y="132"/>
                  <a:pt x="247" y="132"/>
                </a:cubicBezTo>
                <a:cubicBezTo>
                  <a:pt x="248" y="132"/>
                  <a:pt x="248" y="132"/>
                  <a:pt x="248" y="132"/>
                </a:cubicBezTo>
                <a:cubicBezTo>
                  <a:pt x="248" y="131"/>
                  <a:pt x="248" y="131"/>
                  <a:pt x="248" y="131"/>
                </a:cubicBezTo>
                <a:cubicBezTo>
                  <a:pt x="248" y="131"/>
                  <a:pt x="248" y="131"/>
                  <a:pt x="248" y="131"/>
                </a:cubicBezTo>
                <a:close/>
                <a:moveTo>
                  <a:pt x="249" y="132"/>
                </a:moveTo>
                <a:cubicBezTo>
                  <a:pt x="249" y="132"/>
                  <a:pt x="249" y="132"/>
                  <a:pt x="249" y="132"/>
                </a:cubicBezTo>
                <a:cubicBezTo>
                  <a:pt x="250" y="132"/>
                  <a:pt x="250" y="132"/>
                  <a:pt x="250" y="132"/>
                </a:cubicBezTo>
                <a:cubicBezTo>
                  <a:pt x="251" y="131"/>
                  <a:pt x="251" y="131"/>
                  <a:pt x="251" y="131"/>
                </a:cubicBezTo>
                <a:cubicBezTo>
                  <a:pt x="251" y="130"/>
                  <a:pt x="251" y="130"/>
                  <a:pt x="251" y="130"/>
                </a:cubicBezTo>
                <a:cubicBezTo>
                  <a:pt x="250" y="129"/>
                  <a:pt x="250" y="129"/>
                  <a:pt x="250" y="129"/>
                </a:cubicBezTo>
                <a:cubicBezTo>
                  <a:pt x="249" y="129"/>
                  <a:pt x="249" y="129"/>
                  <a:pt x="249" y="129"/>
                </a:cubicBezTo>
                <a:cubicBezTo>
                  <a:pt x="249" y="130"/>
                  <a:pt x="249" y="130"/>
                  <a:pt x="249" y="130"/>
                </a:cubicBezTo>
                <a:cubicBezTo>
                  <a:pt x="249" y="131"/>
                  <a:pt x="249" y="131"/>
                  <a:pt x="249" y="131"/>
                </a:cubicBezTo>
                <a:cubicBezTo>
                  <a:pt x="249" y="132"/>
                  <a:pt x="249" y="132"/>
                  <a:pt x="249" y="132"/>
                </a:cubicBezTo>
                <a:close/>
                <a:moveTo>
                  <a:pt x="245" y="128"/>
                </a:moveTo>
                <a:cubicBezTo>
                  <a:pt x="246" y="127"/>
                  <a:pt x="246" y="127"/>
                  <a:pt x="246" y="127"/>
                </a:cubicBezTo>
                <a:cubicBezTo>
                  <a:pt x="246" y="126"/>
                  <a:pt x="246" y="126"/>
                  <a:pt x="246" y="126"/>
                </a:cubicBezTo>
                <a:cubicBezTo>
                  <a:pt x="245" y="126"/>
                  <a:pt x="245" y="126"/>
                  <a:pt x="245" y="126"/>
                </a:cubicBezTo>
                <a:cubicBezTo>
                  <a:pt x="244" y="126"/>
                  <a:pt x="244" y="126"/>
                  <a:pt x="244" y="126"/>
                </a:cubicBezTo>
                <a:cubicBezTo>
                  <a:pt x="243" y="127"/>
                  <a:pt x="243" y="127"/>
                  <a:pt x="243" y="127"/>
                </a:cubicBezTo>
                <a:cubicBezTo>
                  <a:pt x="243" y="127"/>
                  <a:pt x="243" y="127"/>
                  <a:pt x="243" y="127"/>
                </a:cubicBezTo>
                <a:cubicBezTo>
                  <a:pt x="245" y="127"/>
                  <a:pt x="245" y="127"/>
                  <a:pt x="245" y="127"/>
                </a:cubicBezTo>
                <a:cubicBezTo>
                  <a:pt x="245" y="128"/>
                  <a:pt x="245" y="128"/>
                  <a:pt x="245" y="128"/>
                </a:cubicBezTo>
                <a:close/>
                <a:moveTo>
                  <a:pt x="251" y="125"/>
                </a:moveTo>
                <a:cubicBezTo>
                  <a:pt x="252" y="125"/>
                  <a:pt x="252" y="125"/>
                  <a:pt x="252" y="125"/>
                </a:cubicBezTo>
                <a:cubicBezTo>
                  <a:pt x="251" y="124"/>
                  <a:pt x="251" y="124"/>
                  <a:pt x="251" y="124"/>
                </a:cubicBezTo>
                <a:cubicBezTo>
                  <a:pt x="251" y="124"/>
                  <a:pt x="251" y="124"/>
                  <a:pt x="251" y="124"/>
                </a:cubicBezTo>
                <a:cubicBezTo>
                  <a:pt x="252" y="123"/>
                  <a:pt x="252" y="123"/>
                  <a:pt x="252" y="123"/>
                </a:cubicBezTo>
                <a:cubicBezTo>
                  <a:pt x="252" y="123"/>
                  <a:pt x="252" y="123"/>
                  <a:pt x="252" y="123"/>
                </a:cubicBezTo>
                <a:cubicBezTo>
                  <a:pt x="251" y="122"/>
                  <a:pt x="251" y="122"/>
                  <a:pt x="251" y="122"/>
                </a:cubicBezTo>
                <a:cubicBezTo>
                  <a:pt x="250" y="122"/>
                  <a:pt x="250" y="122"/>
                  <a:pt x="250" y="122"/>
                </a:cubicBezTo>
                <a:cubicBezTo>
                  <a:pt x="249" y="122"/>
                  <a:pt x="249" y="122"/>
                  <a:pt x="249" y="122"/>
                </a:cubicBezTo>
                <a:cubicBezTo>
                  <a:pt x="249" y="123"/>
                  <a:pt x="249" y="123"/>
                  <a:pt x="249" y="123"/>
                </a:cubicBezTo>
                <a:cubicBezTo>
                  <a:pt x="249" y="123"/>
                  <a:pt x="249" y="123"/>
                  <a:pt x="249" y="123"/>
                </a:cubicBezTo>
                <a:cubicBezTo>
                  <a:pt x="248" y="122"/>
                  <a:pt x="248" y="122"/>
                  <a:pt x="248" y="122"/>
                </a:cubicBezTo>
                <a:cubicBezTo>
                  <a:pt x="248" y="123"/>
                  <a:pt x="248" y="123"/>
                  <a:pt x="248" y="123"/>
                </a:cubicBezTo>
                <a:cubicBezTo>
                  <a:pt x="248" y="124"/>
                  <a:pt x="248" y="124"/>
                  <a:pt x="248" y="124"/>
                </a:cubicBezTo>
                <a:cubicBezTo>
                  <a:pt x="249" y="124"/>
                  <a:pt x="249" y="124"/>
                  <a:pt x="249" y="124"/>
                </a:cubicBezTo>
                <a:cubicBezTo>
                  <a:pt x="250" y="124"/>
                  <a:pt x="250" y="124"/>
                  <a:pt x="250" y="124"/>
                </a:cubicBezTo>
                <a:cubicBezTo>
                  <a:pt x="251" y="125"/>
                  <a:pt x="251" y="125"/>
                  <a:pt x="251" y="125"/>
                </a:cubicBezTo>
                <a:close/>
                <a:moveTo>
                  <a:pt x="246" y="71"/>
                </a:moveTo>
                <a:cubicBezTo>
                  <a:pt x="247" y="71"/>
                  <a:pt x="247" y="71"/>
                  <a:pt x="247" y="71"/>
                </a:cubicBezTo>
                <a:cubicBezTo>
                  <a:pt x="247" y="70"/>
                  <a:pt x="247" y="70"/>
                  <a:pt x="247" y="70"/>
                </a:cubicBezTo>
                <a:cubicBezTo>
                  <a:pt x="246" y="70"/>
                  <a:pt x="246" y="70"/>
                  <a:pt x="246" y="70"/>
                </a:cubicBezTo>
                <a:cubicBezTo>
                  <a:pt x="246" y="70"/>
                  <a:pt x="246" y="70"/>
                  <a:pt x="246" y="70"/>
                </a:cubicBezTo>
                <a:cubicBezTo>
                  <a:pt x="246" y="71"/>
                  <a:pt x="246" y="71"/>
                  <a:pt x="246" y="71"/>
                </a:cubicBezTo>
                <a:close/>
                <a:moveTo>
                  <a:pt x="239" y="82"/>
                </a:moveTo>
                <a:cubicBezTo>
                  <a:pt x="240" y="83"/>
                  <a:pt x="240" y="83"/>
                  <a:pt x="240" y="83"/>
                </a:cubicBezTo>
                <a:cubicBezTo>
                  <a:pt x="240" y="83"/>
                  <a:pt x="240" y="83"/>
                  <a:pt x="240" y="83"/>
                </a:cubicBezTo>
                <a:cubicBezTo>
                  <a:pt x="241" y="82"/>
                  <a:pt x="241" y="82"/>
                  <a:pt x="241" y="82"/>
                </a:cubicBezTo>
                <a:cubicBezTo>
                  <a:pt x="242" y="81"/>
                  <a:pt x="242" y="81"/>
                  <a:pt x="242" y="81"/>
                </a:cubicBezTo>
                <a:cubicBezTo>
                  <a:pt x="242" y="80"/>
                  <a:pt x="242" y="80"/>
                  <a:pt x="242" y="80"/>
                </a:cubicBezTo>
                <a:cubicBezTo>
                  <a:pt x="241" y="79"/>
                  <a:pt x="241" y="79"/>
                  <a:pt x="241" y="79"/>
                </a:cubicBezTo>
                <a:cubicBezTo>
                  <a:pt x="240" y="79"/>
                  <a:pt x="240" y="79"/>
                  <a:pt x="240" y="79"/>
                </a:cubicBezTo>
                <a:cubicBezTo>
                  <a:pt x="239" y="80"/>
                  <a:pt x="239" y="80"/>
                  <a:pt x="239" y="80"/>
                </a:cubicBezTo>
                <a:cubicBezTo>
                  <a:pt x="240" y="81"/>
                  <a:pt x="240" y="81"/>
                  <a:pt x="240" y="81"/>
                </a:cubicBezTo>
                <a:cubicBezTo>
                  <a:pt x="239" y="82"/>
                  <a:pt x="239" y="82"/>
                  <a:pt x="239" y="82"/>
                </a:cubicBezTo>
                <a:close/>
                <a:moveTo>
                  <a:pt x="267" y="80"/>
                </a:moveTo>
                <a:cubicBezTo>
                  <a:pt x="268" y="80"/>
                  <a:pt x="268" y="80"/>
                  <a:pt x="268" y="80"/>
                </a:cubicBezTo>
                <a:cubicBezTo>
                  <a:pt x="269" y="79"/>
                  <a:pt x="269" y="79"/>
                  <a:pt x="269" y="79"/>
                </a:cubicBezTo>
                <a:cubicBezTo>
                  <a:pt x="270" y="78"/>
                  <a:pt x="270" y="78"/>
                  <a:pt x="270" y="78"/>
                </a:cubicBezTo>
                <a:cubicBezTo>
                  <a:pt x="270" y="78"/>
                  <a:pt x="270" y="78"/>
                  <a:pt x="270" y="78"/>
                </a:cubicBezTo>
                <a:cubicBezTo>
                  <a:pt x="271" y="79"/>
                  <a:pt x="271" y="79"/>
                  <a:pt x="271" y="79"/>
                </a:cubicBezTo>
                <a:cubicBezTo>
                  <a:pt x="270" y="79"/>
                  <a:pt x="270" y="79"/>
                  <a:pt x="270" y="79"/>
                </a:cubicBezTo>
                <a:cubicBezTo>
                  <a:pt x="271" y="79"/>
                  <a:pt x="271" y="79"/>
                  <a:pt x="271" y="79"/>
                </a:cubicBezTo>
                <a:cubicBezTo>
                  <a:pt x="273" y="77"/>
                  <a:pt x="273" y="77"/>
                  <a:pt x="273" y="77"/>
                </a:cubicBezTo>
                <a:cubicBezTo>
                  <a:pt x="273" y="76"/>
                  <a:pt x="273" y="76"/>
                  <a:pt x="273" y="76"/>
                </a:cubicBezTo>
                <a:cubicBezTo>
                  <a:pt x="273" y="76"/>
                  <a:pt x="273" y="76"/>
                  <a:pt x="273" y="76"/>
                </a:cubicBezTo>
                <a:cubicBezTo>
                  <a:pt x="273" y="74"/>
                  <a:pt x="273" y="74"/>
                  <a:pt x="273" y="74"/>
                </a:cubicBezTo>
                <a:cubicBezTo>
                  <a:pt x="273" y="74"/>
                  <a:pt x="273" y="74"/>
                  <a:pt x="273" y="74"/>
                </a:cubicBezTo>
                <a:cubicBezTo>
                  <a:pt x="272" y="74"/>
                  <a:pt x="272" y="74"/>
                  <a:pt x="272" y="74"/>
                </a:cubicBezTo>
                <a:cubicBezTo>
                  <a:pt x="272" y="75"/>
                  <a:pt x="272" y="75"/>
                  <a:pt x="272" y="75"/>
                </a:cubicBezTo>
                <a:cubicBezTo>
                  <a:pt x="271" y="76"/>
                  <a:pt x="271" y="76"/>
                  <a:pt x="271" y="76"/>
                </a:cubicBezTo>
                <a:cubicBezTo>
                  <a:pt x="269" y="77"/>
                  <a:pt x="269" y="77"/>
                  <a:pt x="269" y="77"/>
                </a:cubicBezTo>
                <a:cubicBezTo>
                  <a:pt x="268" y="78"/>
                  <a:pt x="268" y="78"/>
                  <a:pt x="268" y="78"/>
                </a:cubicBezTo>
                <a:cubicBezTo>
                  <a:pt x="267" y="80"/>
                  <a:pt x="267" y="80"/>
                  <a:pt x="267" y="80"/>
                </a:cubicBezTo>
                <a:close/>
                <a:moveTo>
                  <a:pt x="280" y="81"/>
                </a:moveTo>
                <a:cubicBezTo>
                  <a:pt x="281" y="80"/>
                  <a:pt x="281" y="80"/>
                  <a:pt x="281" y="80"/>
                </a:cubicBezTo>
                <a:cubicBezTo>
                  <a:pt x="282" y="79"/>
                  <a:pt x="282" y="79"/>
                  <a:pt x="282" y="79"/>
                </a:cubicBezTo>
                <a:cubicBezTo>
                  <a:pt x="281" y="79"/>
                  <a:pt x="281" y="79"/>
                  <a:pt x="281" y="79"/>
                </a:cubicBezTo>
                <a:cubicBezTo>
                  <a:pt x="280" y="80"/>
                  <a:pt x="280" y="80"/>
                  <a:pt x="280" y="80"/>
                </a:cubicBezTo>
                <a:cubicBezTo>
                  <a:pt x="279" y="80"/>
                  <a:pt x="279" y="80"/>
                  <a:pt x="279" y="80"/>
                </a:cubicBezTo>
                <a:cubicBezTo>
                  <a:pt x="280" y="81"/>
                  <a:pt x="280" y="81"/>
                  <a:pt x="280" y="81"/>
                </a:cubicBezTo>
                <a:close/>
                <a:moveTo>
                  <a:pt x="282" y="83"/>
                </a:moveTo>
                <a:cubicBezTo>
                  <a:pt x="282" y="83"/>
                  <a:pt x="282" y="83"/>
                  <a:pt x="282" y="83"/>
                </a:cubicBezTo>
                <a:cubicBezTo>
                  <a:pt x="283" y="83"/>
                  <a:pt x="283" y="83"/>
                  <a:pt x="283" y="83"/>
                </a:cubicBezTo>
                <a:cubicBezTo>
                  <a:pt x="283" y="82"/>
                  <a:pt x="283" y="82"/>
                  <a:pt x="283" y="82"/>
                </a:cubicBezTo>
                <a:cubicBezTo>
                  <a:pt x="282" y="82"/>
                  <a:pt x="282" y="82"/>
                  <a:pt x="282" y="82"/>
                </a:cubicBezTo>
                <a:cubicBezTo>
                  <a:pt x="281" y="81"/>
                  <a:pt x="281" y="81"/>
                  <a:pt x="281" y="81"/>
                </a:cubicBezTo>
                <a:cubicBezTo>
                  <a:pt x="281" y="81"/>
                  <a:pt x="281" y="81"/>
                  <a:pt x="281" y="81"/>
                </a:cubicBezTo>
                <a:cubicBezTo>
                  <a:pt x="281" y="82"/>
                  <a:pt x="281" y="82"/>
                  <a:pt x="281" y="82"/>
                </a:cubicBezTo>
                <a:cubicBezTo>
                  <a:pt x="281" y="82"/>
                  <a:pt x="281" y="82"/>
                  <a:pt x="281" y="82"/>
                </a:cubicBezTo>
                <a:cubicBezTo>
                  <a:pt x="282" y="83"/>
                  <a:pt x="282" y="83"/>
                  <a:pt x="282" y="83"/>
                </a:cubicBezTo>
                <a:close/>
                <a:moveTo>
                  <a:pt x="271" y="86"/>
                </a:moveTo>
                <a:cubicBezTo>
                  <a:pt x="272" y="86"/>
                  <a:pt x="272" y="86"/>
                  <a:pt x="272" y="86"/>
                </a:cubicBezTo>
                <a:cubicBezTo>
                  <a:pt x="272" y="85"/>
                  <a:pt x="272" y="85"/>
                  <a:pt x="272" y="85"/>
                </a:cubicBezTo>
                <a:cubicBezTo>
                  <a:pt x="271" y="85"/>
                  <a:pt x="271" y="85"/>
                  <a:pt x="271" y="85"/>
                </a:cubicBezTo>
                <a:cubicBezTo>
                  <a:pt x="271" y="85"/>
                  <a:pt x="271" y="85"/>
                  <a:pt x="271" y="85"/>
                </a:cubicBezTo>
                <a:cubicBezTo>
                  <a:pt x="269" y="86"/>
                  <a:pt x="269" y="86"/>
                  <a:pt x="269" y="86"/>
                </a:cubicBezTo>
                <a:cubicBezTo>
                  <a:pt x="270" y="86"/>
                  <a:pt x="270" y="86"/>
                  <a:pt x="270" y="86"/>
                </a:cubicBezTo>
                <a:cubicBezTo>
                  <a:pt x="271" y="86"/>
                  <a:pt x="271" y="86"/>
                  <a:pt x="271" y="86"/>
                </a:cubicBezTo>
                <a:close/>
                <a:moveTo>
                  <a:pt x="277" y="87"/>
                </a:moveTo>
                <a:cubicBezTo>
                  <a:pt x="277" y="86"/>
                  <a:pt x="277" y="86"/>
                  <a:pt x="277" y="86"/>
                </a:cubicBezTo>
                <a:cubicBezTo>
                  <a:pt x="278" y="85"/>
                  <a:pt x="278" y="85"/>
                  <a:pt x="278" y="85"/>
                </a:cubicBezTo>
                <a:cubicBezTo>
                  <a:pt x="277" y="85"/>
                  <a:pt x="277" y="85"/>
                  <a:pt x="277" y="85"/>
                </a:cubicBezTo>
                <a:cubicBezTo>
                  <a:pt x="277" y="83"/>
                  <a:pt x="277" y="83"/>
                  <a:pt x="277" y="83"/>
                </a:cubicBezTo>
                <a:cubicBezTo>
                  <a:pt x="276" y="83"/>
                  <a:pt x="276" y="83"/>
                  <a:pt x="276" y="83"/>
                </a:cubicBezTo>
                <a:cubicBezTo>
                  <a:pt x="276" y="84"/>
                  <a:pt x="276" y="84"/>
                  <a:pt x="276" y="84"/>
                </a:cubicBezTo>
                <a:cubicBezTo>
                  <a:pt x="276" y="85"/>
                  <a:pt x="276" y="85"/>
                  <a:pt x="276" y="85"/>
                </a:cubicBezTo>
                <a:cubicBezTo>
                  <a:pt x="274" y="85"/>
                  <a:pt x="274" y="85"/>
                  <a:pt x="274" y="85"/>
                </a:cubicBezTo>
                <a:cubicBezTo>
                  <a:pt x="275" y="86"/>
                  <a:pt x="275" y="86"/>
                  <a:pt x="275" y="86"/>
                </a:cubicBezTo>
                <a:cubicBezTo>
                  <a:pt x="275" y="86"/>
                  <a:pt x="275" y="86"/>
                  <a:pt x="275" y="86"/>
                </a:cubicBezTo>
                <a:cubicBezTo>
                  <a:pt x="276" y="85"/>
                  <a:pt x="276" y="85"/>
                  <a:pt x="276" y="85"/>
                </a:cubicBezTo>
                <a:cubicBezTo>
                  <a:pt x="277" y="85"/>
                  <a:pt x="277" y="85"/>
                  <a:pt x="277" y="85"/>
                </a:cubicBezTo>
                <a:cubicBezTo>
                  <a:pt x="277" y="87"/>
                  <a:pt x="277" y="87"/>
                  <a:pt x="277" y="87"/>
                </a:cubicBezTo>
                <a:close/>
                <a:moveTo>
                  <a:pt x="277" y="93"/>
                </a:moveTo>
                <a:cubicBezTo>
                  <a:pt x="278" y="93"/>
                  <a:pt x="278" y="93"/>
                  <a:pt x="278" y="93"/>
                </a:cubicBezTo>
                <a:cubicBezTo>
                  <a:pt x="279" y="93"/>
                  <a:pt x="279" y="93"/>
                  <a:pt x="279" y="93"/>
                </a:cubicBezTo>
                <a:cubicBezTo>
                  <a:pt x="280" y="93"/>
                  <a:pt x="280" y="93"/>
                  <a:pt x="280" y="93"/>
                </a:cubicBezTo>
                <a:cubicBezTo>
                  <a:pt x="281" y="93"/>
                  <a:pt x="281" y="93"/>
                  <a:pt x="281" y="93"/>
                </a:cubicBezTo>
                <a:cubicBezTo>
                  <a:pt x="282" y="93"/>
                  <a:pt x="282" y="93"/>
                  <a:pt x="282" y="93"/>
                </a:cubicBezTo>
                <a:cubicBezTo>
                  <a:pt x="283" y="93"/>
                  <a:pt x="283" y="93"/>
                  <a:pt x="283" y="93"/>
                </a:cubicBezTo>
                <a:cubicBezTo>
                  <a:pt x="284" y="92"/>
                  <a:pt x="284" y="92"/>
                  <a:pt x="284" y="92"/>
                </a:cubicBezTo>
                <a:cubicBezTo>
                  <a:pt x="284" y="92"/>
                  <a:pt x="284" y="92"/>
                  <a:pt x="284" y="92"/>
                </a:cubicBezTo>
                <a:cubicBezTo>
                  <a:pt x="283" y="91"/>
                  <a:pt x="283" y="91"/>
                  <a:pt x="283" y="91"/>
                </a:cubicBezTo>
                <a:cubicBezTo>
                  <a:pt x="284" y="91"/>
                  <a:pt x="284" y="91"/>
                  <a:pt x="284" y="91"/>
                </a:cubicBezTo>
                <a:cubicBezTo>
                  <a:pt x="283" y="90"/>
                  <a:pt x="283" y="90"/>
                  <a:pt x="283" y="90"/>
                </a:cubicBezTo>
                <a:cubicBezTo>
                  <a:pt x="282" y="90"/>
                  <a:pt x="282" y="90"/>
                  <a:pt x="282" y="90"/>
                </a:cubicBezTo>
                <a:cubicBezTo>
                  <a:pt x="282" y="90"/>
                  <a:pt x="282" y="90"/>
                  <a:pt x="282" y="90"/>
                </a:cubicBezTo>
                <a:cubicBezTo>
                  <a:pt x="282" y="91"/>
                  <a:pt x="282" y="91"/>
                  <a:pt x="282" y="91"/>
                </a:cubicBezTo>
                <a:cubicBezTo>
                  <a:pt x="281" y="91"/>
                  <a:pt x="281" y="91"/>
                  <a:pt x="281" y="91"/>
                </a:cubicBezTo>
                <a:cubicBezTo>
                  <a:pt x="281" y="91"/>
                  <a:pt x="281" y="91"/>
                  <a:pt x="281" y="91"/>
                </a:cubicBezTo>
                <a:cubicBezTo>
                  <a:pt x="280" y="91"/>
                  <a:pt x="280" y="91"/>
                  <a:pt x="280" y="91"/>
                </a:cubicBezTo>
                <a:cubicBezTo>
                  <a:pt x="280" y="91"/>
                  <a:pt x="280" y="91"/>
                  <a:pt x="280" y="91"/>
                </a:cubicBezTo>
                <a:cubicBezTo>
                  <a:pt x="279" y="91"/>
                  <a:pt x="279" y="91"/>
                  <a:pt x="279" y="91"/>
                </a:cubicBezTo>
                <a:cubicBezTo>
                  <a:pt x="279" y="92"/>
                  <a:pt x="279" y="92"/>
                  <a:pt x="279" y="92"/>
                </a:cubicBezTo>
                <a:cubicBezTo>
                  <a:pt x="278" y="91"/>
                  <a:pt x="278" y="91"/>
                  <a:pt x="278" y="91"/>
                </a:cubicBezTo>
                <a:cubicBezTo>
                  <a:pt x="277" y="92"/>
                  <a:pt x="277" y="92"/>
                  <a:pt x="277" y="92"/>
                </a:cubicBezTo>
                <a:cubicBezTo>
                  <a:pt x="277" y="93"/>
                  <a:pt x="277" y="93"/>
                  <a:pt x="277" y="93"/>
                </a:cubicBezTo>
                <a:close/>
                <a:moveTo>
                  <a:pt x="165" y="56"/>
                </a:moveTo>
                <a:cubicBezTo>
                  <a:pt x="166" y="56"/>
                  <a:pt x="166" y="56"/>
                  <a:pt x="166" y="56"/>
                </a:cubicBezTo>
                <a:cubicBezTo>
                  <a:pt x="167" y="57"/>
                  <a:pt x="167" y="57"/>
                  <a:pt x="167" y="57"/>
                </a:cubicBezTo>
                <a:cubicBezTo>
                  <a:pt x="168" y="57"/>
                  <a:pt x="168" y="57"/>
                  <a:pt x="168" y="57"/>
                </a:cubicBezTo>
                <a:cubicBezTo>
                  <a:pt x="169" y="56"/>
                  <a:pt x="169" y="56"/>
                  <a:pt x="169" y="56"/>
                </a:cubicBezTo>
                <a:cubicBezTo>
                  <a:pt x="169" y="55"/>
                  <a:pt x="169" y="55"/>
                  <a:pt x="169" y="55"/>
                </a:cubicBezTo>
                <a:cubicBezTo>
                  <a:pt x="169" y="55"/>
                  <a:pt x="169" y="55"/>
                  <a:pt x="169" y="55"/>
                </a:cubicBezTo>
                <a:cubicBezTo>
                  <a:pt x="167" y="55"/>
                  <a:pt x="167" y="55"/>
                  <a:pt x="167" y="55"/>
                </a:cubicBezTo>
                <a:cubicBezTo>
                  <a:pt x="166" y="55"/>
                  <a:pt x="166" y="55"/>
                  <a:pt x="166" y="55"/>
                </a:cubicBezTo>
                <a:cubicBezTo>
                  <a:pt x="165" y="54"/>
                  <a:pt x="165" y="54"/>
                  <a:pt x="165" y="54"/>
                </a:cubicBezTo>
                <a:cubicBezTo>
                  <a:pt x="165" y="55"/>
                  <a:pt x="165" y="55"/>
                  <a:pt x="165" y="55"/>
                </a:cubicBezTo>
                <a:cubicBezTo>
                  <a:pt x="164" y="55"/>
                  <a:pt x="164" y="55"/>
                  <a:pt x="164" y="55"/>
                </a:cubicBezTo>
                <a:cubicBezTo>
                  <a:pt x="165" y="56"/>
                  <a:pt x="165" y="56"/>
                  <a:pt x="165" y="56"/>
                </a:cubicBezTo>
                <a:close/>
                <a:moveTo>
                  <a:pt x="162" y="29"/>
                </a:moveTo>
                <a:cubicBezTo>
                  <a:pt x="161" y="28"/>
                  <a:pt x="161" y="28"/>
                  <a:pt x="161" y="28"/>
                </a:cubicBezTo>
                <a:cubicBezTo>
                  <a:pt x="161" y="27"/>
                  <a:pt x="161" y="27"/>
                  <a:pt x="161" y="27"/>
                </a:cubicBezTo>
                <a:cubicBezTo>
                  <a:pt x="163" y="26"/>
                  <a:pt x="163" y="26"/>
                  <a:pt x="163" y="26"/>
                </a:cubicBezTo>
                <a:cubicBezTo>
                  <a:pt x="165" y="26"/>
                  <a:pt x="165" y="26"/>
                  <a:pt x="165" y="26"/>
                </a:cubicBezTo>
                <a:cubicBezTo>
                  <a:pt x="167" y="26"/>
                  <a:pt x="167" y="26"/>
                  <a:pt x="167" y="26"/>
                </a:cubicBezTo>
                <a:cubicBezTo>
                  <a:pt x="167" y="28"/>
                  <a:pt x="167" y="28"/>
                  <a:pt x="167" y="28"/>
                </a:cubicBezTo>
                <a:cubicBezTo>
                  <a:pt x="167" y="29"/>
                  <a:pt x="167" y="29"/>
                  <a:pt x="167" y="29"/>
                </a:cubicBezTo>
                <a:cubicBezTo>
                  <a:pt x="165" y="29"/>
                  <a:pt x="165" y="29"/>
                  <a:pt x="165" y="29"/>
                </a:cubicBezTo>
                <a:cubicBezTo>
                  <a:pt x="163" y="29"/>
                  <a:pt x="163" y="29"/>
                  <a:pt x="163" y="29"/>
                </a:cubicBezTo>
                <a:cubicBezTo>
                  <a:pt x="163" y="29"/>
                  <a:pt x="162" y="29"/>
                  <a:pt x="162" y="29"/>
                </a:cubicBezTo>
                <a:close/>
                <a:moveTo>
                  <a:pt x="201" y="9"/>
                </a:moveTo>
                <a:cubicBezTo>
                  <a:pt x="202" y="8"/>
                  <a:pt x="202" y="8"/>
                  <a:pt x="202" y="8"/>
                </a:cubicBezTo>
                <a:cubicBezTo>
                  <a:pt x="203" y="6"/>
                  <a:pt x="203" y="6"/>
                  <a:pt x="203" y="6"/>
                </a:cubicBezTo>
                <a:cubicBezTo>
                  <a:pt x="204" y="6"/>
                  <a:pt x="204" y="6"/>
                  <a:pt x="204" y="6"/>
                </a:cubicBezTo>
                <a:cubicBezTo>
                  <a:pt x="206" y="7"/>
                  <a:pt x="206" y="7"/>
                  <a:pt x="206" y="7"/>
                </a:cubicBezTo>
                <a:cubicBezTo>
                  <a:pt x="205" y="8"/>
                  <a:pt x="205" y="8"/>
                  <a:pt x="205" y="8"/>
                </a:cubicBezTo>
                <a:cubicBezTo>
                  <a:pt x="205" y="8"/>
                  <a:pt x="205" y="8"/>
                  <a:pt x="205" y="8"/>
                </a:cubicBezTo>
                <a:cubicBezTo>
                  <a:pt x="204" y="9"/>
                  <a:pt x="204" y="9"/>
                  <a:pt x="204" y="9"/>
                </a:cubicBezTo>
                <a:cubicBezTo>
                  <a:pt x="203" y="10"/>
                  <a:pt x="203" y="10"/>
                  <a:pt x="203" y="10"/>
                </a:cubicBezTo>
                <a:cubicBezTo>
                  <a:pt x="201" y="9"/>
                  <a:pt x="201" y="9"/>
                  <a:pt x="201" y="9"/>
                </a:cubicBezTo>
                <a:cubicBezTo>
                  <a:pt x="201" y="9"/>
                  <a:pt x="201" y="9"/>
                  <a:pt x="201" y="9"/>
                </a:cubicBezTo>
                <a:close/>
                <a:moveTo>
                  <a:pt x="229" y="27"/>
                </a:moveTo>
                <a:cubicBezTo>
                  <a:pt x="231" y="25"/>
                  <a:pt x="231" y="25"/>
                  <a:pt x="231" y="25"/>
                </a:cubicBezTo>
                <a:cubicBezTo>
                  <a:pt x="232" y="24"/>
                  <a:pt x="232" y="24"/>
                  <a:pt x="232" y="24"/>
                </a:cubicBezTo>
                <a:cubicBezTo>
                  <a:pt x="232" y="23"/>
                  <a:pt x="232" y="23"/>
                  <a:pt x="232" y="23"/>
                </a:cubicBezTo>
                <a:cubicBezTo>
                  <a:pt x="234" y="21"/>
                  <a:pt x="234" y="21"/>
                  <a:pt x="234" y="21"/>
                </a:cubicBezTo>
                <a:cubicBezTo>
                  <a:pt x="236" y="20"/>
                  <a:pt x="236" y="20"/>
                  <a:pt x="236" y="20"/>
                </a:cubicBezTo>
                <a:cubicBezTo>
                  <a:pt x="238" y="19"/>
                  <a:pt x="238" y="19"/>
                  <a:pt x="238" y="19"/>
                </a:cubicBezTo>
                <a:cubicBezTo>
                  <a:pt x="238" y="18"/>
                  <a:pt x="238" y="18"/>
                  <a:pt x="238" y="18"/>
                </a:cubicBezTo>
                <a:cubicBezTo>
                  <a:pt x="238" y="16"/>
                  <a:pt x="238" y="16"/>
                  <a:pt x="238" y="16"/>
                </a:cubicBezTo>
                <a:cubicBezTo>
                  <a:pt x="236" y="15"/>
                  <a:pt x="236" y="15"/>
                  <a:pt x="236" y="15"/>
                </a:cubicBezTo>
                <a:cubicBezTo>
                  <a:pt x="234" y="13"/>
                  <a:pt x="234" y="13"/>
                  <a:pt x="234" y="13"/>
                </a:cubicBezTo>
                <a:cubicBezTo>
                  <a:pt x="233" y="11"/>
                  <a:pt x="233" y="11"/>
                  <a:pt x="233" y="11"/>
                </a:cubicBezTo>
                <a:cubicBezTo>
                  <a:pt x="233" y="10"/>
                  <a:pt x="233" y="10"/>
                  <a:pt x="233" y="10"/>
                </a:cubicBezTo>
                <a:cubicBezTo>
                  <a:pt x="234" y="9"/>
                  <a:pt x="234" y="9"/>
                  <a:pt x="234" y="9"/>
                </a:cubicBezTo>
                <a:cubicBezTo>
                  <a:pt x="234" y="7"/>
                  <a:pt x="234" y="7"/>
                  <a:pt x="234" y="7"/>
                </a:cubicBezTo>
                <a:cubicBezTo>
                  <a:pt x="233" y="7"/>
                  <a:pt x="233" y="7"/>
                  <a:pt x="233" y="7"/>
                </a:cubicBezTo>
                <a:cubicBezTo>
                  <a:pt x="230" y="7"/>
                  <a:pt x="230" y="7"/>
                  <a:pt x="230" y="7"/>
                </a:cubicBezTo>
                <a:cubicBezTo>
                  <a:pt x="228" y="6"/>
                  <a:pt x="228" y="6"/>
                  <a:pt x="228" y="6"/>
                </a:cubicBezTo>
                <a:cubicBezTo>
                  <a:pt x="226" y="5"/>
                  <a:pt x="226" y="5"/>
                  <a:pt x="226" y="5"/>
                </a:cubicBezTo>
                <a:cubicBezTo>
                  <a:pt x="224" y="2"/>
                  <a:pt x="224" y="2"/>
                  <a:pt x="224" y="2"/>
                </a:cubicBezTo>
                <a:cubicBezTo>
                  <a:pt x="222" y="1"/>
                  <a:pt x="222" y="1"/>
                  <a:pt x="222" y="1"/>
                </a:cubicBezTo>
                <a:cubicBezTo>
                  <a:pt x="220" y="0"/>
                  <a:pt x="220" y="0"/>
                  <a:pt x="220" y="0"/>
                </a:cubicBezTo>
                <a:cubicBezTo>
                  <a:pt x="219" y="0"/>
                  <a:pt x="219" y="0"/>
                  <a:pt x="219" y="0"/>
                </a:cubicBezTo>
                <a:cubicBezTo>
                  <a:pt x="218" y="0"/>
                  <a:pt x="218" y="0"/>
                  <a:pt x="218" y="0"/>
                </a:cubicBezTo>
                <a:cubicBezTo>
                  <a:pt x="218" y="1"/>
                  <a:pt x="218" y="1"/>
                  <a:pt x="218" y="1"/>
                </a:cubicBezTo>
                <a:cubicBezTo>
                  <a:pt x="218" y="2"/>
                  <a:pt x="218" y="2"/>
                  <a:pt x="218" y="2"/>
                </a:cubicBezTo>
                <a:cubicBezTo>
                  <a:pt x="218" y="4"/>
                  <a:pt x="218" y="4"/>
                  <a:pt x="218" y="4"/>
                </a:cubicBezTo>
                <a:cubicBezTo>
                  <a:pt x="217" y="5"/>
                  <a:pt x="217" y="5"/>
                  <a:pt x="217" y="5"/>
                </a:cubicBezTo>
                <a:cubicBezTo>
                  <a:pt x="216" y="7"/>
                  <a:pt x="216" y="7"/>
                  <a:pt x="216" y="7"/>
                </a:cubicBezTo>
                <a:cubicBezTo>
                  <a:pt x="215" y="9"/>
                  <a:pt x="215" y="9"/>
                  <a:pt x="215" y="9"/>
                </a:cubicBezTo>
                <a:cubicBezTo>
                  <a:pt x="215" y="10"/>
                  <a:pt x="215" y="10"/>
                  <a:pt x="215" y="10"/>
                </a:cubicBezTo>
                <a:cubicBezTo>
                  <a:pt x="215" y="15"/>
                  <a:pt x="215" y="15"/>
                  <a:pt x="215" y="15"/>
                </a:cubicBezTo>
                <a:cubicBezTo>
                  <a:pt x="216" y="16"/>
                  <a:pt x="216" y="16"/>
                  <a:pt x="216" y="16"/>
                </a:cubicBezTo>
                <a:cubicBezTo>
                  <a:pt x="217" y="17"/>
                  <a:pt x="217" y="17"/>
                  <a:pt x="217" y="17"/>
                </a:cubicBezTo>
                <a:cubicBezTo>
                  <a:pt x="217" y="18"/>
                  <a:pt x="217" y="18"/>
                  <a:pt x="217" y="18"/>
                </a:cubicBezTo>
                <a:cubicBezTo>
                  <a:pt x="216" y="22"/>
                  <a:pt x="216" y="22"/>
                  <a:pt x="216" y="22"/>
                </a:cubicBezTo>
                <a:cubicBezTo>
                  <a:pt x="216" y="23"/>
                  <a:pt x="216" y="23"/>
                  <a:pt x="216" y="23"/>
                </a:cubicBezTo>
                <a:cubicBezTo>
                  <a:pt x="215" y="24"/>
                  <a:pt x="215" y="24"/>
                  <a:pt x="215" y="24"/>
                </a:cubicBezTo>
                <a:cubicBezTo>
                  <a:pt x="216" y="25"/>
                  <a:pt x="216" y="25"/>
                  <a:pt x="216" y="25"/>
                </a:cubicBezTo>
                <a:cubicBezTo>
                  <a:pt x="216" y="25"/>
                  <a:pt x="216" y="25"/>
                  <a:pt x="216" y="25"/>
                </a:cubicBezTo>
                <a:cubicBezTo>
                  <a:pt x="217" y="24"/>
                  <a:pt x="217" y="24"/>
                  <a:pt x="217" y="24"/>
                </a:cubicBezTo>
                <a:cubicBezTo>
                  <a:pt x="219" y="23"/>
                  <a:pt x="219" y="23"/>
                  <a:pt x="219" y="23"/>
                </a:cubicBezTo>
                <a:cubicBezTo>
                  <a:pt x="219" y="23"/>
                  <a:pt x="219" y="23"/>
                  <a:pt x="219" y="23"/>
                </a:cubicBezTo>
                <a:cubicBezTo>
                  <a:pt x="220" y="25"/>
                  <a:pt x="220" y="25"/>
                  <a:pt x="220" y="25"/>
                </a:cubicBezTo>
                <a:cubicBezTo>
                  <a:pt x="222" y="26"/>
                  <a:pt x="222" y="26"/>
                  <a:pt x="222" y="26"/>
                </a:cubicBezTo>
                <a:cubicBezTo>
                  <a:pt x="223" y="26"/>
                  <a:pt x="223" y="26"/>
                  <a:pt x="223" y="26"/>
                </a:cubicBezTo>
                <a:cubicBezTo>
                  <a:pt x="223" y="25"/>
                  <a:pt x="223" y="25"/>
                  <a:pt x="223" y="25"/>
                </a:cubicBezTo>
                <a:cubicBezTo>
                  <a:pt x="224" y="25"/>
                  <a:pt x="224" y="25"/>
                  <a:pt x="224" y="25"/>
                </a:cubicBezTo>
                <a:cubicBezTo>
                  <a:pt x="226" y="26"/>
                  <a:pt x="226" y="26"/>
                  <a:pt x="226" y="26"/>
                </a:cubicBezTo>
                <a:cubicBezTo>
                  <a:pt x="227" y="27"/>
                  <a:pt x="227" y="27"/>
                  <a:pt x="227" y="27"/>
                </a:cubicBezTo>
                <a:cubicBezTo>
                  <a:pt x="229" y="27"/>
                  <a:pt x="229" y="27"/>
                  <a:pt x="229" y="27"/>
                </a:cubicBezTo>
                <a:close/>
                <a:moveTo>
                  <a:pt x="223" y="35"/>
                </a:moveTo>
                <a:cubicBezTo>
                  <a:pt x="223" y="36"/>
                  <a:pt x="223" y="36"/>
                  <a:pt x="223" y="36"/>
                </a:cubicBezTo>
                <a:cubicBezTo>
                  <a:pt x="224" y="36"/>
                  <a:pt x="224" y="36"/>
                  <a:pt x="224" y="36"/>
                </a:cubicBezTo>
                <a:cubicBezTo>
                  <a:pt x="226" y="37"/>
                  <a:pt x="226" y="37"/>
                  <a:pt x="226" y="37"/>
                </a:cubicBezTo>
                <a:cubicBezTo>
                  <a:pt x="227" y="36"/>
                  <a:pt x="227" y="36"/>
                  <a:pt x="227" y="36"/>
                </a:cubicBezTo>
                <a:cubicBezTo>
                  <a:pt x="228" y="34"/>
                  <a:pt x="228" y="34"/>
                  <a:pt x="228" y="34"/>
                </a:cubicBezTo>
                <a:cubicBezTo>
                  <a:pt x="229" y="34"/>
                  <a:pt x="229" y="34"/>
                  <a:pt x="229" y="34"/>
                </a:cubicBezTo>
                <a:cubicBezTo>
                  <a:pt x="230" y="32"/>
                  <a:pt x="230" y="32"/>
                  <a:pt x="230" y="32"/>
                </a:cubicBezTo>
                <a:cubicBezTo>
                  <a:pt x="230" y="30"/>
                  <a:pt x="230" y="30"/>
                  <a:pt x="230" y="30"/>
                </a:cubicBezTo>
                <a:cubicBezTo>
                  <a:pt x="230" y="29"/>
                  <a:pt x="230" y="29"/>
                  <a:pt x="230" y="29"/>
                </a:cubicBezTo>
                <a:cubicBezTo>
                  <a:pt x="227" y="28"/>
                  <a:pt x="227" y="28"/>
                  <a:pt x="227" y="28"/>
                </a:cubicBezTo>
                <a:cubicBezTo>
                  <a:pt x="225" y="28"/>
                  <a:pt x="225" y="28"/>
                  <a:pt x="225" y="28"/>
                </a:cubicBezTo>
                <a:cubicBezTo>
                  <a:pt x="223" y="28"/>
                  <a:pt x="223" y="28"/>
                  <a:pt x="223" y="28"/>
                </a:cubicBezTo>
                <a:cubicBezTo>
                  <a:pt x="222" y="29"/>
                  <a:pt x="222" y="29"/>
                  <a:pt x="222" y="29"/>
                </a:cubicBezTo>
                <a:cubicBezTo>
                  <a:pt x="221" y="28"/>
                  <a:pt x="221" y="28"/>
                  <a:pt x="221" y="28"/>
                </a:cubicBezTo>
                <a:cubicBezTo>
                  <a:pt x="220" y="28"/>
                  <a:pt x="220" y="28"/>
                  <a:pt x="220" y="28"/>
                </a:cubicBezTo>
                <a:cubicBezTo>
                  <a:pt x="219" y="29"/>
                  <a:pt x="219" y="29"/>
                  <a:pt x="219" y="29"/>
                </a:cubicBezTo>
                <a:cubicBezTo>
                  <a:pt x="218" y="29"/>
                  <a:pt x="218" y="29"/>
                  <a:pt x="218" y="29"/>
                </a:cubicBezTo>
                <a:cubicBezTo>
                  <a:pt x="217" y="29"/>
                  <a:pt x="217" y="29"/>
                  <a:pt x="217" y="29"/>
                </a:cubicBezTo>
                <a:cubicBezTo>
                  <a:pt x="218" y="30"/>
                  <a:pt x="218" y="30"/>
                  <a:pt x="218" y="30"/>
                </a:cubicBezTo>
                <a:cubicBezTo>
                  <a:pt x="219" y="31"/>
                  <a:pt x="219" y="31"/>
                  <a:pt x="219" y="31"/>
                </a:cubicBezTo>
                <a:cubicBezTo>
                  <a:pt x="220" y="32"/>
                  <a:pt x="220" y="32"/>
                  <a:pt x="220" y="32"/>
                </a:cubicBezTo>
                <a:cubicBezTo>
                  <a:pt x="221" y="32"/>
                  <a:pt x="221" y="32"/>
                  <a:pt x="221" y="32"/>
                </a:cubicBezTo>
                <a:cubicBezTo>
                  <a:pt x="222" y="34"/>
                  <a:pt x="222" y="34"/>
                  <a:pt x="222" y="34"/>
                </a:cubicBezTo>
                <a:cubicBezTo>
                  <a:pt x="224" y="34"/>
                  <a:pt x="224" y="34"/>
                  <a:pt x="224" y="34"/>
                </a:cubicBezTo>
                <a:cubicBezTo>
                  <a:pt x="226" y="34"/>
                  <a:pt x="226" y="34"/>
                  <a:pt x="226" y="34"/>
                </a:cubicBezTo>
                <a:cubicBezTo>
                  <a:pt x="227" y="34"/>
                  <a:pt x="227" y="34"/>
                  <a:pt x="227" y="34"/>
                </a:cubicBezTo>
                <a:cubicBezTo>
                  <a:pt x="226" y="35"/>
                  <a:pt x="226" y="35"/>
                  <a:pt x="226" y="35"/>
                </a:cubicBezTo>
                <a:cubicBezTo>
                  <a:pt x="225" y="35"/>
                  <a:pt x="225" y="35"/>
                  <a:pt x="225" y="35"/>
                </a:cubicBezTo>
                <a:cubicBezTo>
                  <a:pt x="223" y="35"/>
                  <a:pt x="223" y="35"/>
                  <a:pt x="223" y="35"/>
                </a:cubicBezTo>
                <a:close/>
                <a:moveTo>
                  <a:pt x="266" y="39"/>
                </a:moveTo>
                <a:cubicBezTo>
                  <a:pt x="266" y="40"/>
                  <a:pt x="266" y="40"/>
                  <a:pt x="266" y="40"/>
                </a:cubicBezTo>
                <a:cubicBezTo>
                  <a:pt x="264" y="42"/>
                  <a:pt x="264" y="42"/>
                  <a:pt x="264" y="42"/>
                </a:cubicBezTo>
                <a:cubicBezTo>
                  <a:pt x="262" y="43"/>
                  <a:pt x="262" y="43"/>
                  <a:pt x="262" y="43"/>
                </a:cubicBezTo>
                <a:cubicBezTo>
                  <a:pt x="261" y="44"/>
                  <a:pt x="261" y="44"/>
                  <a:pt x="261" y="44"/>
                </a:cubicBezTo>
                <a:cubicBezTo>
                  <a:pt x="260" y="45"/>
                  <a:pt x="260" y="45"/>
                  <a:pt x="260" y="45"/>
                </a:cubicBezTo>
                <a:cubicBezTo>
                  <a:pt x="258" y="45"/>
                  <a:pt x="258" y="45"/>
                  <a:pt x="258" y="45"/>
                </a:cubicBezTo>
                <a:cubicBezTo>
                  <a:pt x="257" y="44"/>
                  <a:pt x="257" y="44"/>
                  <a:pt x="257" y="44"/>
                </a:cubicBezTo>
                <a:cubicBezTo>
                  <a:pt x="256" y="43"/>
                  <a:pt x="256" y="43"/>
                  <a:pt x="256" y="43"/>
                </a:cubicBezTo>
                <a:cubicBezTo>
                  <a:pt x="255" y="43"/>
                  <a:pt x="255" y="43"/>
                  <a:pt x="255" y="43"/>
                </a:cubicBezTo>
                <a:cubicBezTo>
                  <a:pt x="254" y="43"/>
                  <a:pt x="254" y="43"/>
                  <a:pt x="254" y="43"/>
                </a:cubicBezTo>
                <a:cubicBezTo>
                  <a:pt x="253" y="43"/>
                  <a:pt x="253" y="43"/>
                  <a:pt x="253" y="43"/>
                </a:cubicBezTo>
                <a:cubicBezTo>
                  <a:pt x="250" y="43"/>
                  <a:pt x="250" y="43"/>
                  <a:pt x="250" y="43"/>
                </a:cubicBezTo>
                <a:cubicBezTo>
                  <a:pt x="248" y="42"/>
                  <a:pt x="248" y="42"/>
                  <a:pt x="248" y="42"/>
                </a:cubicBezTo>
                <a:cubicBezTo>
                  <a:pt x="248" y="42"/>
                  <a:pt x="248" y="42"/>
                  <a:pt x="248" y="42"/>
                </a:cubicBezTo>
                <a:cubicBezTo>
                  <a:pt x="246" y="42"/>
                  <a:pt x="246" y="42"/>
                  <a:pt x="246" y="42"/>
                </a:cubicBezTo>
                <a:cubicBezTo>
                  <a:pt x="244" y="43"/>
                  <a:pt x="244" y="43"/>
                  <a:pt x="244" y="43"/>
                </a:cubicBezTo>
                <a:cubicBezTo>
                  <a:pt x="243" y="43"/>
                  <a:pt x="243" y="43"/>
                  <a:pt x="243" y="43"/>
                </a:cubicBezTo>
                <a:cubicBezTo>
                  <a:pt x="242" y="42"/>
                  <a:pt x="242" y="42"/>
                  <a:pt x="242" y="42"/>
                </a:cubicBezTo>
                <a:cubicBezTo>
                  <a:pt x="240" y="42"/>
                  <a:pt x="240" y="42"/>
                  <a:pt x="240" y="42"/>
                </a:cubicBezTo>
                <a:cubicBezTo>
                  <a:pt x="240" y="41"/>
                  <a:pt x="240" y="41"/>
                  <a:pt x="240" y="41"/>
                </a:cubicBezTo>
                <a:cubicBezTo>
                  <a:pt x="239" y="38"/>
                  <a:pt x="239" y="38"/>
                  <a:pt x="239" y="38"/>
                </a:cubicBezTo>
                <a:cubicBezTo>
                  <a:pt x="238" y="37"/>
                  <a:pt x="238" y="37"/>
                  <a:pt x="238" y="37"/>
                </a:cubicBezTo>
                <a:cubicBezTo>
                  <a:pt x="237" y="37"/>
                  <a:pt x="237" y="37"/>
                  <a:pt x="237" y="37"/>
                </a:cubicBezTo>
                <a:cubicBezTo>
                  <a:pt x="236" y="38"/>
                  <a:pt x="236" y="38"/>
                  <a:pt x="236" y="38"/>
                </a:cubicBezTo>
                <a:cubicBezTo>
                  <a:pt x="235" y="37"/>
                  <a:pt x="235" y="37"/>
                  <a:pt x="235" y="37"/>
                </a:cubicBezTo>
                <a:cubicBezTo>
                  <a:pt x="234" y="36"/>
                  <a:pt x="234" y="36"/>
                  <a:pt x="234" y="36"/>
                </a:cubicBezTo>
                <a:cubicBezTo>
                  <a:pt x="233" y="37"/>
                  <a:pt x="233" y="37"/>
                  <a:pt x="233" y="37"/>
                </a:cubicBezTo>
                <a:cubicBezTo>
                  <a:pt x="234" y="38"/>
                  <a:pt x="234" y="38"/>
                  <a:pt x="234" y="38"/>
                </a:cubicBezTo>
                <a:cubicBezTo>
                  <a:pt x="233" y="38"/>
                  <a:pt x="233" y="38"/>
                  <a:pt x="233" y="38"/>
                </a:cubicBezTo>
                <a:cubicBezTo>
                  <a:pt x="233" y="38"/>
                  <a:pt x="233" y="38"/>
                  <a:pt x="233" y="38"/>
                </a:cubicBezTo>
                <a:cubicBezTo>
                  <a:pt x="231" y="37"/>
                  <a:pt x="231" y="37"/>
                  <a:pt x="231" y="37"/>
                </a:cubicBezTo>
                <a:cubicBezTo>
                  <a:pt x="232" y="36"/>
                  <a:pt x="232" y="36"/>
                  <a:pt x="232" y="36"/>
                </a:cubicBezTo>
                <a:cubicBezTo>
                  <a:pt x="233" y="35"/>
                  <a:pt x="233" y="35"/>
                  <a:pt x="233" y="35"/>
                </a:cubicBezTo>
                <a:cubicBezTo>
                  <a:pt x="233" y="34"/>
                  <a:pt x="233" y="34"/>
                  <a:pt x="233" y="34"/>
                </a:cubicBezTo>
                <a:cubicBezTo>
                  <a:pt x="233" y="32"/>
                  <a:pt x="233" y="32"/>
                  <a:pt x="233" y="32"/>
                </a:cubicBezTo>
                <a:cubicBezTo>
                  <a:pt x="233" y="31"/>
                  <a:pt x="233" y="31"/>
                  <a:pt x="233" y="31"/>
                </a:cubicBezTo>
                <a:cubicBezTo>
                  <a:pt x="235" y="30"/>
                  <a:pt x="235" y="30"/>
                  <a:pt x="235" y="30"/>
                </a:cubicBezTo>
                <a:cubicBezTo>
                  <a:pt x="234" y="29"/>
                  <a:pt x="234" y="29"/>
                  <a:pt x="234" y="29"/>
                </a:cubicBezTo>
                <a:cubicBezTo>
                  <a:pt x="233" y="29"/>
                  <a:pt x="233" y="29"/>
                  <a:pt x="233" y="29"/>
                </a:cubicBezTo>
                <a:cubicBezTo>
                  <a:pt x="232" y="28"/>
                  <a:pt x="232" y="28"/>
                  <a:pt x="232" y="28"/>
                </a:cubicBezTo>
                <a:cubicBezTo>
                  <a:pt x="232" y="27"/>
                  <a:pt x="232" y="27"/>
                  <a:pt x="232" y="27"/>
                </a:cubicBezTo>
                <a:cubicBezTo>
                  <a:pt x="232" y="25"/>
                  <a:pt x="232" y="25"/>
                  <a:pt x="232" y="25"/>
                </a:cubicBezTo>
                <a:cubicBezTo>
                  <a:pt x="234" y="24"/>
                  <a:pt x="234" y="24"/>
                  <a:pt x="234" y="24"/>
                </a:cubicBezTo>
                <a:cubicBezTo>
                  <a:pt x="235" y="24"/>
                  <a:pt x="235" y="24"/>
                  <a:pt x="235" y="24"/>
                </a:cubicBezTo>
                <a:cubicBezTo>
                  <a:pt x="235" y="23"/>
                  <a:pt x="235" y="23"/>
                  <a:pt x="235" y="23"/>
                </a:cubicBezTo>
                <a:cubicBezTo>
                  <a:pt x="236" y="22"/>
                  <a:pt x="236" y="22"/>
                  <a:pt x="236" y="22"/>
                </a:cubicBezTo>
                <a:cubicBezTo>
                  <a:pt x="237" y="22"/>
                  <a:pt x="237" y="22"/>
                  <a:pt x="237" y="22"/>
                </a:cubicBezTo>
                <a:cubicBezTo>
                  <a:pt x="240" y="20"/>
                  <a:pt x="240" y="20"/>
                  <a:pt x="240" y="20"/>
                </a:cubicBezTo>
                <a:cubicBezTo>
                  <a:pt x="240" y="19"/>
                  <a:pt x="240" y="19"/>
                  <a:pt x="240" y="19"/>
                </a:cubicBezTo>
                <a:cubicBezTo>
                  <a:pt x="241" y="18"/>
                  <a:pt x="241" y="18"/>
                  <a:pt x="241" y="18"/>
                </a:cubicBezTo>
                <a:cubicBezTo>
                  <a:pt x="243" y="19"/>
                  <a:pt x="243" y="19"/>
                  <a:pt x="243" y="19"/>
                </a:cubicBezTo>
                <a:cubicBezTo>
                  <a:pt x="245" y="20"/>
                  <a:pt x="245" y="20"/>
                  <a:pt x="245" y="20"/>
                </a:cubicBezTo>
                <a:cubicBezTo>
                  <a:pt x="247" y="23"/>
                  <a:pt x="247" y="23"/>
                  <a:pt x="247" y="23"/>
                </a:cubicBezTo>
                <a:cubicBezTo>
                  <a:pt x="247" y="24"/>
                  <a:pt x="247" y="24"/>
                  <a:pt x="247" y="24"/>
                </a:cubicBezTo>
                <a:cubicBezTo>
                  <a:pt x="247" y="26"/>
                  <a:pt x="247" y="26"/>
                  <a:pt x="247" y="26"/>
                </a:cubicBezTo>
                <a:cubicBezTo>
                  <a:pt x="247" y="26"/>
                  <a:pt x="247" y="26"/>
                  <a:pt x="247" y="26"/>
                </a:cubicBezTo>
                <a:cubicBezTo>
                  <a:pt x="247" y="28"/>
                  <a:pt x="247" y="28"/>
                  <a:pt x="247" y="28"/>
                </a:cubicBezTo>
                <a:cubicBezTo>
                  <a:pt x="246" y="29"/>
                  <a:pt x="246" y="29"/>
                  <a:pt x="246" y="29"/>
                </a:cubicBezTo>
                <a:cubicBezTo>
                  <a:pt x="246" y="29"/>
                  <a:pt x="246" y="29"/>
                  <a:pt x="246" y="29"/>
                </a:cubicBezTo>
                <a:cubicBezTo>
                  <a:pt x="247" y="29"/>
                  <a:pt x="247" y="29"/>
                  <a:pt x="247" y="29"/>
                </a:cubicBezTo>
                <a:cubicBezTo>
                  <a:pt x="248" y="27"/>
                  <a:pt x="248" y="27"/>
                  <a:pt x="248" y="27"/>
                </a:cubicBezTo>
                <a:cubicBezTo>
                  <a:pt x="248" y="26"/>
                  <a:pt x="248" y="26"/>
                  <a:pt x="248" y="26"/>
                </a:cubicBezTo>
                <a:cubicBezTo>
                  <a:pt x="248" y="25"/>
                  <a:pt x="248" y="25"/>
                  <a:pt x="248" y="25"/>
                </a:cubicBezTo>
                <a:cubicBezTo>
                  <a:pt x="249" y="24"/>
                  <a:pt x="249" y="24"/>
                  <a:pt x="249" y="24"/>
                </a:cubicBezTo>
                <a:cubicBezTo>
                  <a:pt x="248" y="23"/>
                  <a:pt x="248" y="23"/>
                  <a:pt x="248" y="23"/>
                </a:cubicBezTo>
                <a:cubicBezTo>
                  <a:pt x="247" y="21"/>
                  <a:pt x="247" y="21"/>
                  <a:pt x="247" y="21"/>
                </a:cubicBezTo>
                <a:cubicBezTo>
                  <a:pt x="247" y="20"/>
                  <a:pt x="247" y="20"/>
                  <a:pt x="247" y="20"/>
                </a:cubicBezTo>
                <a:cubicBezTo>
                  <a:pt x="247" y="19"/>
                  <a:pt x="247" y="19"/>
                  <a:pt x="247" y="19"/>
                </a:cubicBezTo>
                <a:cubicBezTo>
                  <a:pt x="249" y="19"/>
                  <a:pt x="249" y="19"/>
                  <a:pt x="249" y="19"/>
                </a:cubicBezTo>
                <a:cubicBezTo>
                  <a:pt x="251" y="19"/>
                  <a:pt x="251" y="19"/>
                  <a:pt x="251" y="19"/>
                </a:cubicBezTo>
                <a:cubicBezTo>
                  <a:pt x="255" y="23"/>
                  <a:pt x="255" y="23"/>
                  <a:pt x="255" y="23"/>
                </a:cubicBezTo>
                <a:cubicBezTo>
                  <a:pt x="256" y="23"/>
                  <a:pt x="256" y="23"/>
                  <a:pt x="256" y="23"/>
                </a:cubicBezTo>
                <a:cubicBezTo>
                  <a:pt x="257" y="23"/>
                  <a:pt x="257" y="23"/>
                  <a:pt x="257" y="23"/>
                </a:cubicBezTo>
                <a:cubicBezTo>
                  <a:pt x="257" y="25"/>
                  <a:pt x="257" y="25"/>
                  <a:pt x="257" y="25"/>
                </a:cubicBezTo>
                <a:cubicBezTo>
                  <a:pt x="258" y="25"/>
                  <a:pt x="258" y="25"/>
                  <a:pt x="258" y="25"/>
                </a:cubicBezTo>
                <a:cubicBezTo>
                  <a:pt x="258" y="27"/>
                  <a:pt x="258" y="27"/>
                  <a:pt x="258" y="27"/>
                </a:cubicBezTo>
                <a:cubicBezTo>
                  <a:pt x="258" y="29"/>
                  <a:pt x="258" y="29"/>
                  <a:pt x="258" y="29"/>
                </a:cubicBezTo>
                <a:cubicBezTo>
                  <a:pt x="260" y="31"/>
                  <a:pt x="260" y="31"/>
                  <a:pt x="260" y="31"/>
                </a:cubicBezTo>
                <a:cubicBezTo>
                  <a:pt x="261" y="32"/>
                  <a:pt x="261" y="32"/>
                  <a:pt x="261" y="32"/>
                </a:cubicBezTo>
                <a:cubicBezTo>
                  <a:pt x="261" y="33"/>
                  <a:pt x="261" y="33"/>
                  <a:pt x="261" y="33"/>
                </a:cubicBezTo>
                <a:cubicBezTo>
                  <a:pt x="260" y="33"/>
                  <a:pt x="260" y="33"/>
                  <a:pt x="260" y="33"/>
                </a:cubicBezTo>
                <a:cubicBezTo>
                  <a:pt x="259" y="33"/>
                  <a:pt x="259" y="33"/>
                  <a:pt x="259" y="33"/>
                </a:cubicBezTo>
                <a:cubicBezTo>
                  <a:pt x="258" y="33"/>
                  <a:pt x="258" y="33"/>
                  <a:pt x="258" y="33"/>
                </a:cubicBezTo>
                <a:cubicBezTo>
                  <a:pt x="259" y="34"/>
                  <a:pt x="259" y="34"/>
                  <a:pt x="259" y="34"/>
                </a:cubicBezTo>
                <a:cubicBezTo>
                  <a:pt x="260" y="35"/>
                  <a:pt x="260" y="35"/>
                  <a:pt x="260" y="35"/>
                </a:cubicBezTo>
                <a:cubicBezTo>
                  <a:pt x="262" y="35"/>
                  <a:pt x="262" y="35"/>
                  <a:pt x="262" y="35"/>
                </a:cubicBezTo>
                <a:cubicBezTo>
                  <a:pt x="263" y="37"/>
                  <a:pt x="263" y="37"/>
                  <a:pt x="263" y="37"/>
                </a:cubicBezTo>
                <a:cubicBezTo>
                  <a:pt x="264" y="37"/>
                  <a:pt x="264" y="37"/>
                  <a:pt x="264" y="37"/>
                </a:cubicBezTo>
                <a:cubicBezTo>
                  <a:pt x="266" y="39"/>
                  <a:pt x="266" y="39"/>
                  <a:pt x="266" y="39"/>
                </a:cubicBezTo>
                <a:close/>
                <a:moveTo>
                  <a:pt x="495" y="4"/>
                </a:moveTo>
                <a:cubicBezTo>
                  <a:pt x="496" y="2"/>
                  <a:pt x="496" y="2"/>
                  <a:pt x="496" y="2"/>
                </a:cubicBezTo>
                <a:cubicBezTo>
                  <a:pt x="498" y="0"/>
                  <a:pt x="498" y="0"/>
                  <a:pt x="498" y="0"/>
                </a:cubicBezTo>
                <a:cubicBezTo>
                  <a:pt x="498" y="0"/>
                  <a:pt x="498" y="0"/>
                  <a:pt x="498" y="0"/>
                </a:cubicBezTo>
                <a:cubicBezTo>
                  <a:pt x="498" y="1"/>
                  <a:pt x="498" y="1"/>
                  <a:pt x="498" y="1"/>
                </a:cubicBezTo>
                <a:cubicBezTo>
                  <a:pt x="498" y="2"/>
                  <a:pt x="498" y="2"/>
                  <a:pt x="498" y="2"/>
                </a:cubicBezTo>
                <a:cubicBezTo>
                  <a:pt x="497" y="2"/>
                  <a:pt x="497" y="2"/>
                  <a:pt x="497" y="2"/>
                </a:cubicBezTo>
                <a:cubicBezTo>
                  <a:pt x="497" y="3"/>
                  <a:pt x="497" y="3"/>
                  <a:pt x="497" y="3"/>
                </a:cubicBezTo>
                <a:cubicBezTo>
                  <a:pt x="495" y="4"/>
                  <a:pt x="495" y="4"/>
                  <a:pt x="495" y="4"/>
                </a:cubicBezTo>
                <a:close/>
                <a:moveTo>
                  <a:pt x="509" y="25"/>
                </a:moveTo>
                <a:cubicBezTo>
                  <a:pt x="509" y="28"/>
                  <a:pt x="509" y="28"/>
                  <a:pt x="509" y="28"/>
                </a:cubicBezTo>
                <a:cubicBezTo>
                  <a:pt x="511" y="31"/>
                  <a:pt x="511" y="31"/>
                  <a:pt x="511" y="31"/>
                </a:cubicBezTo>
                <a:cubicBezTo>
                  <a:pt x="512" y="32"/>
                  <a:pt x="512" y="32"/>
                  <a:pt x="512" y="32"/>
                </a:cubicBezTo>
                <a:cubicBezTo>
                  <a:pt x="516" y="33"/>
                  <a:pt x="516" y="33"/>
                  <a:pt x="516" y="33"/>
                </a:cubicBezTo>
                <a:cubicBezTo>
                  <a:pt x="520" y="34"/>
                  <a:pt x="520" y="34"/>
                  <a:pt x="520" y="34"/>
                </a:cubicBezTo>
                <a:cubicBezTo>
                  <a:pt x="522" y="35"/>
                  <a:pt x="522" y="35"/>
                  <a:pt x="522" y="35"/>
                </a:cubicBezTo>
                <a:cubicBezTo>
                  <a:pt x="524" y="35"/>
                  <a:pt x="524" y="35"/>
                  <a:pt x="524" y="35"/>
                </a:cubicBezTo>
                <a:cubicBezTo>
                  <a:pt x="526" y="34"/>
                  <a:pt x="526" y="34"/>
                  <a:pt x="526" y="34"/>
                </a:cubicBezTo>
                <a:cubicBezTo>
                  <a:pt x="527" y="35"/>
                  <a:pt x="527" y="35"/>
                  <a:pt x="527" y="35"/>
                </a:cubicBezTo>
                <a:cubicBezTo>
                  <a:pt x="529" y="34"/>
                  <a:pt x="529" y="34"/>
                  <a:pt x="529" y="34"/>
                </a:cubicBezTo>
                <a:cubicBezTo>
                  <a:pt x="531" y="33"/>
                  <a:pt x="531" y="33"/>
                  <a:pt x="531" y="33"/>
                </a:cubicBezTo>
                <a:cubicBezTo>
                  <a:pt x="532" y="31"/>
                  <a:pt x="532" y="31"/>
                  <a:pt x="532" y="31"/>
                </a:cubicBezTo>
                <a:cubicBezTo>
                  <a:pt x="532" y="30"/>
                  <a:pt x="532" y="30"/>
                  <a:pt x="532" y="30"/>
                </a:cubicBezTo>
                <a:cubicBezTo>
                  <a:pt x="532" y="28"/>
                  <a:pt x="532" y="28"/>
                  <a:pt x="532" y="28"/>
                </a:cubicBezTo>
                <a:cubicBezTo>
                  <a:pt x="531" y="28"/>
                  <a:pt x="531" y="28"/>
                  <a:pt x="531" y="28"/>
                </a:cubicBezTo>
                <a:cubicBezTo>
                  <a:pt x="530" y="28"/>
                  <a:pt x="530" y="28"/>
                  <a:pt x="530" y="28"/>
                </a:cubicBezTo>
                <a:cubicBezTo>
                  <a:pt x="530" y="27"/>
                  <a:pt x="530" y="27"/>
                  <a:pt x="530" y="27"/>
                </a:cubicBezTo>
                <a:cubicBezTo>
                  <a:pt x="530" y="26"/>
                  <a:pt x="530" y="26"/>
                  <a:pt x="530" y="26"/>
                </a:cubicBezTo>
                <a:cubicBezTo>
                  <a:pt x="529" y="25"/>
                  <a:pt x="529" y="25"/>
                  <a:pt x="529" y="25"/>
                </a:cubicBezTo>
                <a:cubicBezTo>
                  <a:pt x="528" y="26"/>
                  <a:pt x="528" y="26"/>
                  <a:pt x="528" y="26"/>
                </a:cubicBezTo>
                <a:cubicBezTo>
                  <a:pt x="526" y="25"/>
                  <a:pt x="526" y="25"/>
                  <a:pt x="526" y="25"/>
                </a:cubicBezTo>
                <a:cubicBezTo>
                  <a:pt x="523" y="26"/>
                  <a:pt x="523" y="26"/>
                  <a:pt x="523" y="26"/>
                </a:cubicBezTo>
                <a:cubicBezTo>
                  <a:pt x="521" y="27"/>
                  <a:pt x="521" y="27"/>
                  <a:pt x="521" y="27"/>
                </a:cubicBezTo>
                <a:cubicBezTo>
                  <a:pt x="520" y="28"/>
                  <a:pt x="520" y="28"/>
                  <a:pt x="520" y="28"/>
                </a:cubicBezTo>
                <a:cubicBezTo>
                  <a:pt x="520" y="27"/>
                  <a:pt x="520" y="27"/>
                  <a:pt x="520" y="27"/>
                </a:cubicBezTo>
                <a:cubicBezTo>
                  <a:pt x="519" y="26"/>
                  <a:pt x="519" y="26"/>
                  <a:pt x="519" y="26"/>
                </a:cubicBezTo>
                <a:cubicBezTo>
                  <a:pt x="518" y="26"/>
                  <a:pt x="518" y="26"/>
                  <a:pt x="518" y="26"/>
                </a:cubicBezTo>
                <a:cubicBezTo>
                  <a:pt x="517" y="26"/>
                  <a:pt x="517" y="26"/>
                  <a:pt x="517" y="26"/>
                </a:cubicBezTo>
                <a:cubicBezTo>
                  <a:pt x="515" y="26"/>
                  <a:pt x="515" y="26"/>
                  <a:pt x="515" y="26"/>
                </a:cubicBezTo>
                <a:cubicBezTo>
                  <a:pt x="514" y="26"/>
                  <a:pt x="514" y="26"/>
                  <a:pt x="514" y="26"/>
                </a:cubicBezTo>
                <a:cubicBezTo>
                  <a:pt x="514" y="27"/>
                  <a:pt x="514" y="27"/>
                  <a:pt x="514" y="27"/>
                </a:cubicBezTo>
                <a:cubicBezTo>
                  <a:pt x="513" y="28"/>
                  <a:pt x="513" y="28"/>
                  <a:pt x="513" y="28"/>
                </a:cubicBezTo>
                <a:cubicBezTo>
                  <a:pt x="511" y="27"/>
                  <a:pt x="511" y="27"/>
                  <a:pt x="511" y="27"/>
                </a:cubicBezTo>
                <a:cubicBezTo>
                  <a:pt x="510" y="27"/>
                  <a:pt x="510" y="27"/>
                  <a:pt x="510" y="27"/>
                </a:cubicBezTo>
                <a:cubicBezTo>
                  <a:pt x="510" y="26"/>
                  <a:pt x="510" y="26"/>
                  <a:pt x="510" y="26"/>
                </a:cubicBezTo>
                <a:cubicBezTo>
                  <a:pt x="509" y="25"/>
                  <a:pt x="509" y="25"/>
                  <a:pt x="509" y="25"/>
                </a:cubicBezTo>
                <a:close/>
                <a:moveTo>
                  <a:pt x="460" y="47"/>
                </a:moveTo>
                <a:cubicBezTo>
                  <a:pt x="459" y="44"/>
                  <a:pt x="459" y="44"/>
                  <a:pt x="459" y="44"/>
                </a:cubicBezTo>
                <a:cubicBezTo>
                  <a:pt x="459" y="42"/>
                  <a:pt x="459" y="42"/>
                  <a:pt x="459" y="42"/>
                </a:cubicBezTo>
                <a:cubicBezTo>
                  <a:pt x="458" y="42"/>
                  <a:pt x="458" y="42"/>
                  <a:pt x="458" y="42"/>
                </a:cubicBezTo>
                <a:cubicBezTo>
                  <a:pt x="455" y="41"/>
                  <a:pt x="455" y="41"/>
                  <a:pt x="455" y="41"/>
                </a:cubicBezTo>
                <a:cubicBezTo>
                  <a:pt x="454" y="40"/>
                  <a:pt x="454" y="40"/>
                  <a:pt x="454" y="40"/>
                </a:cubicBezTo>
                <a:cubicBezTo>
                  <a:pt x="453" y="39"/>
                  <a:pt x="453" y="39"/>
                  <a:pt x="453" y="39"/>
                </a:cubicBezTo>
                <a:cubicBezTo>
                  <a:pt x="453" y="39"/>
                  <a:pt x="453" y="39"/>
                  <a:pt x="453" y="39"/>
                </a:cubicBezTo>
                <a:cubicBezTo>
                  <a:pt x="453" y="40"/>
                  <a:pt x="453" y="40"/>
                  <a:pt x="453" y="40"/>
                </a:cubicBezTo>
                <a:cubicBezTo>
                  <a:pt x="454" y="42"/>
                  <a:pt x="454" y="42"/>
                  <a:pt x="454" y="42"/>
                </a:cubicBezTo>
                <a:cubicBezTo>
                  <a:pt x="456" y="43"/>
                  <a:pt x="456" y="43"/>
                  <a:pt x="456" y="43"/>
                </a:cubicBezTo>
                <a:cubicBezTo>
                  <a:pt x="458" y="46"/>
                  <a:pt x="458" y="46"/>
                  <a:pt x="458" y="46"/>
                </a:cubicBezTo>
                <a:cubicBezTo>
                  <a:pt x="458" y="48"/>
                  <a:pt x="458" y="48"/>
                  <a:pt x="458" y="48"/>
                </a:cubicBezTo>
                <a:cubicBezTo>
                  <a:pt x="460" y="49"/>
                  <a:pt x="460" y="49"/>
                  <a:pt x="460" y="49"/>
                </a:cubicBezTo>
                <a:cubicBezTo>
                  <a:pt x="460" y="48"/>
                  <a:pt x="460" y="48"/>
                  <a:pt x="460" y="48"/>
                </a:cubicBezTo>
                <a:cubicBezTo>
                  <a:pt x="460" y="47"/>
                  <a:pt x="460" y="47"/>
                  <a:pt x="460" y="47"/>
                </a:cubicBezTo>
                <a:close/>
                <a:moveTo>
                  <a:pt x="485" y="50"/>
                </a:moveTo>
                <a:cubicBezTo>
                  <a:pt x="484" y="50"/>
                  <a:pt x="484" y="50"/>
                  <a:pt x="484" y="50"/>
                </a:cubicBezTo>
                <a:cubicBezTo>
                  <a:pt x="483" y="49"/>
                  <a:pt x="483" y="49"/>
                  <a:pt x="483" y="49"/>
                </a:cubicBezTo>
                <a:cubicBezTo>
                  <a:pt x="483" y="48"/>
                  <a:pt x="483" y="48"/>
                  <a:pt x="483" y="48"/>
                </a:cubicBezTo>
                <a:cubicBezTo>
                  <a:pt x="483" y="48"/>
                  <a:pt x="483" y="48"/>
                  <a:pt x="483" y="48"/>
                </a:cubicBezTo>
                <a:cubicBezTo>
                  <a:pt x="484" y="48"/>
                  <a:pt x="484" y="48"/>
                  <a:pt x="484" y="48"/>
                </a:cubicBezTo>
                <a:cubicBezTo>
                  <a:pt x="485" y="49"/>
                  <a:pt x="485" y="49"/>
                  <a:pt x="485" y="49"/>
                </a:cubicBezTo>
                <a:cubicBezTo>
                  <a:pt x="486" y="49"/>
                  <a:pt x="486" y="49"/>
                  <a:pt x="486" y="49"/>
                </a:cubicBezTo>
                <a:cubicBezTo>
                  <a:pt x="486" y="50"/>
                  <a:pt x="486" y="50"/>
                  <a:pt x="486" y="50"/>
                </a:cubicBezTo>
                <a:cubicBezTo>
                  <a:pt x="486" y="51"/>
                  <a:pt x="486" y="51"/>
                  <a:pt x="486" y="51"/>
                </a:cubicBezTo>
                <a:cubicBezTo>
                  <a:pt x="487" y="51"/>
                  <a:pt x="487" y="51"/>
                  <a:pt x="487" y="51"/>
                </a:cubicBezTo>
                <a:cubicBezTo>
                  <a:pt x="488" y="49"/>
                  <a:pt x="488" y="49"/>
                  <a:pt x="488" y="49"/>
                </a:cubicBezTo>
                <a:cubicBezTo>
                  <a:pt x="490" y="47"/>
                  <a:pt x="490" y="47"/>
                  <a:pt x="490" y="47"/>
                </a:cubicBezTo>
                <a:cubicBezTo>
                  <a:pt x="492" y="45"/>
                  <a:pt x="492" y="45"/>
                  <a:pt x="492" y="45"/>
                </a:cubicBezTo>
                <a:cubicBezTo>
                  <a:pt x="493" y="44"/>
                  <a:pt x="493" y="44"/>
                  <a:pt x="493" y="44"/>
                </a:cubicBezTo>
                <a:cubicBezTo>
                  <a:pt x="494" y="43"/>
                  <a:pt x="494" y="43"/>
                  <a:pt x="494" y="43"/>
                </a:cubicBezTo>
                <a:cubicBezTo>
                  <a:pt x="495" y="44"/>
                  <a:pt x="495" y="44"/>
                  <a:pt x="495" y="44"/>
                </a:cubicBezTo>
                <a:cubicBezTo>
                  <a:pt x="494" y="45"/>
                  <a:pt x="494" y="45"/>
                  <a:pt x="494" y="45"/>
                </a:cubicBezTo>
                <a:cubicBezTo>
                  <a:pt x="496" y="45"/>
                  <a:pt x="496" y="45"/>
                  <a:pt x="496" y="45"/>
                </a:cubicBezTo>
                <a:cubicBezTo>
                  <a:pt x="497" y="45"/>
                  <a:pt x="497" y="45"/>
                  <a:pt x="497" y="45"/>
                </a:cubicBezTo>
                <a:cubicBezTo>
                  <a:pt x="498" y="45"/>
                  <a:pt x="498" y="45"/>
                  <a:pt x="498" y="45"/>
                </a:cubicBezTo>
                <a:cubicBezTo>
                  <a:pt x="498" y="44"/>
                  <a:pt x="498" y="44"/>
                  <a:pt x="498" y="44"/>
                </a:cubicBezTo>
                <a:cubicBezTo>
                  <a:pt x="499" y="43"/>
                  <a:pt x="499" y="43"/>
                  <a:pt x="499" y="43"/>
                </a:cubicBezTo>
                <a:cubicBezTo>
                  <a:pt x="500" y="42"/>
                  <a:pt x="500" y="42"/>
                  <a:pt x="500" y="42"/>
                </a:cubicBezTo>
                <a:cubicBezTo>
                  <a:pt x="500" y="41"/>
                  <a:pt x="500" y="41"/>
                  <a:pt x="500" y="41"/>
                </a:cubicBezTo>
                <a:cubicBezTo>
                  <a:pt x="498" y="41"/>
                  <a:pt x="498" y="41"/>
                  <a:pt x="498" y="41"/>
                </a:cubicBezTo>
                <a:cubicBezTo>
                  <a:pt x="496" y="42"/>
                  <a:pt x="496" y="42"/>
                  <a:pt x="496" y="42"/>
                </a:cubicBezTo>
                <a:cubicBezTo>
                  <a:pt x="495" y="41"/>
                  <a:pt x="495" y="41"/>
                  <a:pt x="495" y="41"/>
                </a:cubicBezTo>
                <a:cubicBezTo>
                  <a:pt x="493" y="41"/>
                  <a:pt x="493" y="41"/>
                  <a:pt x="493" y="41"/>
                </a:cubicBezTo>
                <a:cubicBezTo>
                  <a:pt x="492" y="40"/>
                  <a:pt x="492" y="40"/>
                  <a:pt x="492" y="40"/>
                </a:cubicBezTo>
                <a:cubicBezTo>
                  <a:pt x="490" y="40"/>
                  <a:pt x="490" y="40"/>
                  <a:pt x="490" y="40"/>
                </a:cubicBezTo>
                <a:cubicBezTo>
                  <a:pt x="490" y="39"/>
                  <a:pt x="490" y="39"/>
                  <a:pt x="490" y="39"/>
                </a:cubicBezTo>
                <a:cubicBezTo>
                  <a:pt x="488" y="37"/>
                  <a:pt x="488" y="37"/>
                  <a:pt x="488" y="37"/>
                </a:cubicBezTo>
                <a:cubicBezTo>
                  <a:pt x="487" y="36"/>
                  <a:pt x="487" y="36"/>
                  <a:pt x="487" y="36"/>
                </a:cubicBezTo>
                <a:cubicBezTo>
                  <a:pt x="487" y="34"/>
                  <a:pt x="487" y="34"/>
                  <a:pt x="487" y="34"/>
                </a:cubicBezTo>
                <a:cubicBezTo>
                  <a:pt x="486" y="33"/>
                  <a:pt x="486" y="33"/>
                  <a:pt x="486" y="33"/>
                </a:cubicBezTo>
                <a:cubicBezTo>
                  <a:pt x="485" y="32"/>
                  <a:pt x="485" y="32"/>
                  <a:pt x="485" y="32"/>
                </a:cubicBezTo>
                <a:cubicBezTo>
                  <a:pt x="485" y="31"/>
                  <a:pt x="485" y="31"/>
                  <a:pt x="485" y="31"/>
                </a:cubicBezTo>
                <a:cubicBezTo>
                  <a:pt x="484" y="30"/>
                  <a:pt x="484" y="30"/>
                  <a:pt x="484" y="30"/>
                </a:cubicBezTo>
                <a:cubicBezTo>
                  <a:pt x="484" y="30"/>
                  <a:pt x="484" y="30"/>
                  <a:pt x="484" y="30"/>
                </a:cubicBezTo>
                <a:cubicBezTo>
                  <a:pt x="485" y="29"/>
                  <a:pt x="485" y="29"/>
                  <a:pt x="485" y="29"/>
                </a:cubicBezTo>
                <a:cubicBezTo>
                  <a:pt x="484" y="28"/>
                  <a:pt x="484" y="28"/>
                  <a:pt x="484" y="28"/>
                </a:cubicBezTo>
                <a:cubicBezTo>
                  <a:pt x="485" y="28"/>
                  <a:pt x="485" y="28"/>
                  <a:pt x="485" y="28"/>
                </a:cubicBezTo>
                <a:cubicBezTo>
                  <a:pt x="485" y="28"/>
                  <a:pt x="485" y="28"/>
                  <a:pt x="485" y="28"/>
                </a:cubicBezTo>
                <a:cubicBezTo>
                  <a:pt x="485" y="27"/>
                  <a:pt x="485" y="27"/>
                  <a:pt x="485" y="27"/>
                </a:cubicBezTo>
                <a:cubicBezTo>
                  <a:pt x="484" y="26"/>
                  <a:pt x="484" y="26"/>
                  <a:pt x="484" y="26"/>
                </a:cubicBezTo>
                <a:cubicBezTo>
                  <a:pt x="483" y="26"/>
                  <a:pt x="483" y="26"/>
                  <a:pt x="483" y="26"/>
                </a:cubicBezTo>
                <a:cubicBezTo>
                  <a:pt x="481" y="26"/>
                  <a:pt x="481" y="26"/>
                  <a:pt x="481" y="26"/>
                </a:cubicBezTo>
                <a:cubicBezTo>
                  <a:pt x="479" y="25"/>
                  <a:pt x="479" y="25"/>
                  <a:pt x="479" y="25"/>
                </a:cubicBezTo>
                <a:cubicBezTo>
                  <a:pt x="478" y="24"/>
                  <a:pt x="478" y="24"/>
                  <a:pt x="478" y="24"/>
                </a:cubicBezTo>
                <a:cubicBezTo>
                  <a:pt x="477" y="24"/>
                  <a:pt x="477" y="24"/>
                  <a:pt x="477" y="24"/>
                </a:cubicBezTo>
                <a:cubicBezTo>
                  <a:pt x="476" y="24"/>
                  <a:pt x="476" y="24"/>
                  <a:pt x="476" y="24"/>
                </a:cubicBezTo>
                <a:cubicBezTo>
                  <a:pt x="475" y="24"/>
                  <a:pt x="475" y="24"/>
                  <a:pt x="475" y="24"/>
                </a:cubicBezTo>
                <a:cubicBezTo>
                  <a:pt x="477" y="26"/>
                  <a:pt x="477" y="26"/>
                  <a:pt x="477" y="26"/>
                </a:cubicBezTo>
                <a:cubicBezTo>
                  <a:pt x="478" y="26"/>
                  <a:pt x="478" y="26"/>
                  <a:pt x="478" y="26"/>
                </a:cubicBezTo>
                <a:cubicBezTo>
                  <a:pt x="479" y="27"/>
                  <a:pt x="479" y="27"/>
                  <a:pt x="479" y="27"/>
                </a:cubicBezTo>
                <a:cubicBezTo>
                  <a:pt x="477" y="27"/>
                  <a:pt x="477" y="27"/>
                  <a:pt x="477" y="27"/>
                </a:cubicBezTo>
                <a:cubicBezTo>
                  <a:pt x="477" y="27"/>
                  <a:pt x="477" y="27"/>
                  <a:pt x="477" y="27"/>
                </a:cubicBezTo>
                <a:cubicBezTo>
                  <a:pt x="476" y="27"/>
                  <a:pt x="476" y="27"/>
                  <a:pt x="476" y="27"/>
                </a:cubicBezTo>
                <a:cubicBezTo>
                  <a:pt x="475" y="27"/>
                  <a:pt x="475" y="27"/>
                  <a:pt x="475" y="27"/>
                </a:cubicBezTo>
                <a:cubicBezTo>
                  <a:pt x="475" y="29"/>
                  <a:pt x="475" y="29"/>
                  <a:pt x="475" y="29"/>
                </a:cubicBezTo>
                <a:cubicBezTo>
                  <a:pt x="476" y="30"/>
                  <a:pt x="476" y="30"/>
                  <a:pt x="476" y="30"/>
                </a:cubicBezTo>
                <a:cubicBezTo>
                  <a:pt x="477" y="32"/>
                  <a:pt x="477" y="32"/>
                  <a:pt x="477" y="32"/>
                </a:cubicBezTo>
                <a:cubicBezTo>
                  <a:pt x="478" y="34"/>
                  <a:pt x="478" y="34"/>
                  <a:pt x="478" y="34"/>
                </a:cubicBezTo>
                <a:cubicBezTo>
                  <a:pt x="479" y="35"/>
                  <a:pt x="479" y="35"/>
                  <a:pt x="479" y="35"/>
                </a:cubicBezTo>
                <a:cubicBezTo>
                  <a:pt x="478" y="35"/>
                  <a:pt x="478" y="35"/>
                  <a:pt x="478" y="35"/>
                </a:cubicBezTo>
                <a:cubicBezTo>
                  <a:pt x="477" y="35"/>
                  <a:pt x="477" y="35"/>
                  <a:pt x="477" y="35"/>
                </a:cubicBezTo>
                <a:cubicBezTo>
                  <a:pt x="475" y="34"/>
                  <a:pt x="475" y="34"/>
                  <a:pt x="475" y="34"/>
                </a:cubicBezTo>
                <a:cubicBezTo>
                  <a:pt x="475" y="32"/>
                  <a:pt x="475" y="32"/>
                  <a:pt x="475" y="32"/>
                </a:cubicBezTo>
                <a:cubicBezTo>
                  <a:pt x="474" y="32"/>
                  <a:pt x="474" y="32"/>
                  <a:pt x="474" y="32"/>
                </a:cubicBezTo>
                <a:cubicBezTo>
                  <a:pt x="473" y="32"/>
                  <a:pt x="473" y="32"/>
                  <a:pt x="473" y="32"/>
                </a:cubicBezTo>
                <a:cubicBezTo>
                  <a:pt x="472" y="32"/>
                  <a:pt x="472" y="32"/>
                  <a:pt x="472" y="32"/>
                </a:cubicBezTo>
                <a:cubicBezTo>
                  <a:pt x="471" y="32"/>
                  <a:pt x="471" y="32"/>
                  <a:pt x="471" y="32"/>
                </a:cubicBezTo>
                <a:cubicBezTo>
                  <a:pt x="470" y="32"/>
                  <a:pt x="470" y="32"/>
                  <a:pt x="470" y="32"/>
                </a:cubicBezTo>
                <a:cubicBezTo>
                  <a:pt x="470" y="30"/>
                  <a:pt x="470" y="30"/>
                  <a:pt x="470" y="30"/>
                </a:cubicBezTo>
                <a:cubicBezTo>
                  <a:pt x="470" y="29"/>
                  <a:pt x="470" y="29"/>
                  <a:pt x="470" y="29"/>
                </a:cubicBezTo>
                <a:cubicBezTo>
                  <a:pt x="469" y="29"/>
                  <a:pt x="469" y="29"/>
                  <a:pt x="469" y="29"/>
                </a:cubicBezTo>
                <a:cubicBezTo>
                  <a:pt x="467" y="28"/>
                  <a:pt x="467" y="28"/>
                  <a:pt x="467" y="28"/>
                </a:cubicBezTo>
                <a:cubicBezTo>
                  <a:pt x="465" y="28"/>
                  <a:pt x="465" y="28"/>
                  <a:pt x="465" y="28"/>
                </a:cubicBezTo>
                <a:cubicBezTo>
                  <a:pt x="465" y="27"/>
                  <a:pt x="465" y="27"/>
                  <a:pt x="465" y="27"/>
                </a:cubicBezTo>
                <a:cubicBezTo>
                  <a:pt x="464" y="26"/>
                  <a:pt x="464" y="26"/>
                  <a:pt x="464" y="26"/>
                </a:cubicBezTo>
                <a:cubicBezTo>
                  <a:pt x="463" y="27"/>
                  <a:pt x="463" y="27"/>
                  <a:pt x="463" y="27"/>
                </a:cubicBezTo>
                <a:cubicBezTo>
                  <a:pt x="462" y="28"/>
                  <a:pt x="462" y="28"/>
                  <a:pt x="462" y="28"/>
                </a:cubicBezTo>
                <a:cubicBezTo>
                  <a:pt x="462" y="29"/>
                  <a:pt x="462" y="29"/>
                  <a:pt x="462" y="29"/>
                </a:cubicBezTo>
                <a:cubicBezTo>
                  <a:pt x="461" y="30"/>
                  <a:pt x="461" y="30"/>
                  <a:pt x="461" y="30"/>
                </a:cubicBezTo>
                <a:cubicBezTo>
                  <a:pt x="462" y="31"/>
                  <a:pt x="462" y="31"/>
                  <a:pt x="462" y="31"/>
                </a:cubicBezTo>
                <a:cubicBezTo>
                  <a:pt x="461" y="33"/>
                  <a:pt x="461" y="33"/>
                  <a:pt x="461" y="33"/>
                </a:cubicBezTo>
                <a:cubicBezTo>
                  <a:pt x="460" y="34"/>
                  <a:pt x="460" y="34"/>
                  <a:pt x="460" y="34"/>
                </a:cubicBezTo>
                <a:cubicBezTo>
                  <a:pt x="460" y="35"/>
                  <a:pt x="460" y="35"/>
                  <a:pt x="460" y="35"/>
                </a:cubicBezTo>
                <a:cubicBezTo>
                  <a:pt x="461" y="37"/>
                  <a:pt x="461" y="37"/>
                  <a:pt x="461" y="37"/>
                </a:cubicBezTo>
                <a:cubicBezTo>
                  <a:pt x="462" y="37"/>
                  <a:pt x="462" y="37"/>
                  <a:pt x="462" y="37"/>
                </a:cubicBezTo>
                <a:cubicBezTo>
                  <a:pt x="463" y="38"/>
                  <a:pt x="463" y="38"/>
                  <a:pt x="463" y="38"/>
                </a:cubicBezTo>
                <a:cubicBezTo>
                  <a:pt x="462" y="38"/>
                  <a:pt x="462" y="38"/>
                  <a:pt x="462" y="38"/>
                </a:cubicBezTo>
                <a:cubicBezTo>
                  <a:pt x="461" y="38"/>
                  <a:pt x="461" y="38"/>
                  <a:pt x="461" y="38"/>
                </a:cubicBezTo>
                <a:cubicBezTo>
                  <a:pt x="462" y="40"/>
                  <a:pt x="462" y="40"/>
                  <a:pt x="462" y="40"/>
                </a:cubicBezTo>
                <a:cubicBezTo>
                  <a:pt x="463" y="40"/>
                  <a:pt x="463" y="40"/>
                  <a:pt x="463" y="40"/>
                </a:cubicBezTo>
                <a:cubicBezTo>
                  <a:pt x="463" y="41"/>
                  <a:pt x="463" y="41"/>
                  <a:pt x="463" y="41"/>
                </a:cubicBezTo>
                <a:cubicBezTo>
                  <a:pt x="463" y="42"/>
                  <a:pt x="463" y="42"/>
                  <a:pt x="463" y="42"/>
                </a:cubicBezTo>
                <a:cubicBezTo>
                  <a:pt x="464" y="43"/>
                  <a:pt x="464" y="43"/>
                  <a:pt x="464" y="43"/>
                </a:cubicBezTo>
                <a:cubicBezTo>
                  <a:pt x="465" y="43"/>
                  <a:pt x="465" y="43"/>
                  <a:pt x="465" y="43"/>
                </a:cubicBezTo>
                <a:cubicBezTo>
                  <a:pt x="466" y="44"/>
                  <a:pt x="466" y="44"/>
                  <a:pt x="466" y="44"/>
                </a:cubicBezTo>
                <a:cubicBezTo>
                  <a:pt x="466" y="44"/>
                  <a:pt x="466" y="44"/>
                  <a:pt x="466" y="44"/>
                </a:cubicBezTo>
                <a:cubicBezTo>
                  <a:pt x="466" y="45"/>
                  <a:pt x="466" y="45"/>
                  <a:pt x="466" y="45"/>
                </a:cubicBezTo>
                <a:cubicBezTo>
                  <a:pt x="467" y="45"/>
                  <a:pt x="467" y="45"/>
                  <a:pt x="467" y="45"/>
                </a:cubicBezTo>
                <a:cubicBezTo>
                  <a:pt x="468" y="45"/>
                  <a:pt x="468" y="45"/>
                  <a:pt x="468" y="45"/>
                </a:cubicBezTo>
                <a:cubicBezTo>
                  <a:pt x="468" y="45"/>
                  <a:pt x="468" y="45"/>
                  <a:pt x="468" y="45"/>
                </a:cubicBezTo>
                <a:cubicBezTo>
                  <a:pt x="467" y="46"/>
                  <a:pt x="467" y="46"/>
                  <a:pt x="467" y="46"/>
                </a:cubicBezTo>
                <a:cubicBezTo>
                  <a:pt x="467" y="46"/>
                  <a:pt x="467" y="46"/>
                  <a:pt x="467" y="46"/>
                </a:cubicBezTo>
                <a:cubicBezTo>
                  <a:pt x="466" y="46"/>
                  <a:pt x="466" y="46"/>
                  <a:pt x="466" y="46"/>
                </a:cubicBezTo>
                <a:cubicBezTo>
                  <a:pt x="466" y="46"/>
                  <a:pt x="466" y="46"/>
                  <a:pt x="466" y="46"/>
                </a:cubicBezTo>
                <a:cubicBezTo>
                  <a:pt x="466" y="48"/>
                  <a:pt x="466" y="48"/>
                  <a:pt x="466" y="48"/>
                </a:cubicBezTo>
                <a:cubicBezTo>
                  <a:pt x="470" y="50"/>
                  <a:pt x="470" y="50"/>
                  <a:pt x="470" y="50"/>
                </a:cubicBezTo>
                <a:cubicBezTo>
                  <a:pt x="472" y="51"/>
                  <a:pt x="472" y="51"/>
                  <a:pt x="472" y="51"/>
                </a:cubicBezTo>
                <a:cubicBezTo>
                  <a:pt x="474" y="51"/>
                  <a:pt x="474" y="51"/>
                  <a:pt x="474" y="51"/>
                </a:cubicBezTo>
                <a:cubicBezTo>
                  <a:pt x="475" y="52"/>
                  <a:pt x="475" y="52"/>
                  <a:pt x="475" y="52"/>
                </a:cubicBezTo>
                <a:cubicBezTo>
                  <a:pt x="476" y="52"/>
                  <a:pt x="476" y="52"/>
                  <a:pt x="476" y="52"/>
                </a:cubicBezTo>
                <a:cubicBezTo>
                  <a:pt x="476" y="54"/>
                  <a:pt x="476" y="54"/>
                  <a:pt x="476" y="54"/>
                </a:cubicBezTo>
                <a:cubicBezTo>
                  <a:pt x="477" y="55"/>
                  <a:pt x="477" y="55"/>
                  <a:pt x="477" y="55"/>
                </a:cubicBezTo>
                <a:cubicBezTo>
                  <a:pt x="479" y="55"/>
                  <a:pt x="479" y="55"/>
                  <a:pt x="479" y="55"/>
                </a:cubicBezTo>
                <a:cubicBezTo>
                  <a:pt x="481" y="54"/>
                  <a:pt x="481" y="54"/>
                  <a:pt x="481" y="54"/>
                </a:cubicBezTo>
                <a:cubicBezTo>
                  <a:pt x="483" y="54"/>
                  <a:pt x="483" y="54"/>
                  <a:pt x="483" y="54"/>
                </a:cubicBezTo>
                <a:cubicBezTo>
                  <a:pt x="484" y="55"/>
                  <a:pt x="484" y="55"/>
                  <a:pt x="484" y="55"/>
                </a:cubicBezTo>
                <a:cubicBezTo>
                  <a:pt x="485" y="55"/>
                  <a:pt x="485" y="55"/>
                  <a:pt x="485" y="55"/>
                </a:cubicBezTo>
                <a:cubicBezTo>
                  <a:pt x="486" y="53"/>
                  <a:pt x="486" y="53"/>
                  <a:pt x="486" y="53"/>
                </a:cubicBezTo>
                <a:cubicBezTo>
                  <a:pt x="486" y="52"/>
                  <a:pt x="486" y="52"/>
                  <a:pt x="486" y="52"/>
                </a:cubicBezTo>
                <a:cubicBezTo>
                  <a:pt x="485" y="51"/>
                  <a:pt x="485" y="51"/>
                  <a:pt x="485" y="51"/>
                </a:cubicBezTo>
                <a:cubicBezTo>
                  <a:pt x="485" y="50"/>
                  <a:pt x="485" y="50"/>
                  <a:pt x="485" y="50"/>
                </a:cubicBezTo>
                <a:close/>
                <a:moveTo>
                  <a:pt x="485" y="25"/>
                </a:moveTo>
                <a:cubicBezTo>
                  <a:pt x="487" y="25"/>
                  <a:pt x="487" y="25"/>
                  <a:pt x="487" y="25"/>
                </a:cubicBezTo>
                <a:cubicBezTo>
                  <a:pt x="489" y="25"/>
                  <a:pt x="489" y="25"/>
                  <a:pt x="489" y="25"/>
                </a:cubicBezTo>
                <a:cubicBezTo>
                  <a:pt x="491" y="25"/>
                  <a:pt x="491" y="25"/>
                  <a:pt x="491" y="25"/>
                </a:cubicBezTo>
                <a:cubicBezTo>
                  <a:pt x="494" y="27"/>
                  <a:pt x="494" y="27"/>
                  <a:pt x="494" y="27"/>
                </a:cubicBezTo>
                <a:cubicBezTo>
                  <a:pt x="495" y="27"/>
                  <a:pt x="495" y="27"/>
                  <a:pt x="495" y="27"/>
                </a:cubicBezTo>
                <a:cubicBezTo>
                  <a:pt x="496" y="27"/>
                  <a:pt x="496" y="27"/>
                  <a:pt x="496" y="27"/>
                </a:cubicBezTo>
                <a:cubicBezTo>
                  <a:pt x="499" y="27"/>
                  <a:pt x="499" y="27"/>
                  <a:pt x="499" y="27"/>
                </a:cubicBezTo>
                <a:cubicBezTo>
                  <a:pt x="502" y="28"/>
                  <a:pt x="502" y="28"/>
                  <a:pt x="502" y="28"/>
                </a:cubicBezTo>
                <a:cubicBezTo>
                  <a:pt x="502" y="29"/>
                  <a:pt x="502" y="29"/>
                  <a:pt x="502" y="29"/>
                </a:cubicBezTo>
                <a:cubicBezTo>
                  <a:pt x="501" y="29"/>
                  <a:pt x="501" y="29"/>
                  <a:pt x="501" y="29"/>
                </a:cubicBezTo>
                <a:cubicBezTo>
                  <a:pt x="500" y="30"/>
                  <a:pt x="500" y="30"/>
                  <a:pt x="500" y="30"/>
                </a:cubicBezTo>
                <a:cubicBezTo>
                  <a:pt x="500" y="31"/>
                  <a:pt x="500" y="31"/>
                  <a:pt x="500" y="31"/>
                </a:cubicBezTo>
                <a:cubicBezTo>
                  <a:pt x="501" y="33"/>
                  <a:pt x="501" y="33"/>
                  <a:pt x="501" y="33"/>
                </a:cubicBezTo>
                <a:cubicBezTo>
                  <a:pt x="503" y="33"/>
                  <a:pt x="503" y="33"/>
                  <a:pt x="503" y="33"/>
                </a:cubicBezTo>
                <a:cubicBezTo>
                  <a:pt x="503" y="35"/>
                  <a:pt x="503" y="35"/>
                  <a:pt x="503" y="35"/>
                </a:cubicBezTo>
                <a:cubicBezTo>
                  <a:pt x="503" y="36"/>
                  <a:pt x="503" y="36"/>
                  <a:pt x="503" y="36"/>
                </a:cubicBezTo>
                <a:cubicBezTo>
                  <a:pt x="503" y="37"/>
                  <a:pt x="503" y="37"/>
                  <a:pt x="503" y="37"/>
                </a:cubicBezTo>
                <a:cubicBezTo>
                  <a:pt x="502" y="39"/>
                  <a:pt x="502" y="39"/>
                  <a:pt x="502" y="39"/>
                </a:cubicBezTo>
                <a:cubicBezTo>
                  <a:pt x="501" y="40"/>
                  <a:pt x="501" y="40"/>
                  <a:pt x="501" y="40"/>
                </a:cubicBezTo>
                <a:cubicBezTo>
                  <a:pt x="501" y="40"/>
                  <a:pt x="501" y="40"/>
                  <a:pt x="501" y="40"/>
                </a:cubicBezTo>
                <a:cubicBezTo>
                  <a:pt x="500" y="39"/>
                  <a:pt x="500" y="39"/>
                  <a:pt x="500" y="39"/>
                </a:cubicBezTo>
                <a:cubicBezTo>
                  <a:pt x="499" y="40"/>
                  <a:pt x="499" y="40"/>
                  <a:pt x="499" y="40"/>
                </a:cubicBezTo>
                <a:cubicBezTo>
                  <a:pt x="498" y="41"/>
                  <a:pt x="498" y="41"/>
                  <a:pt x="498" y="41"/>
                </a:cubicBezTo>
                <a:cubicBezTo>
                  <a:pt x="496" y="41"/>
                  <a:pt x="496" y="41"/>
                  <a:pt x="496" y="41"/>
                </a:cubicBezTo>
                <a:cubicBezTo>
                  <a:pt x="493" y="39"/>
                  <a:pt x="493" y="39"/>
                  <a:pt x="493" y="39"/>
                </a:cubicBezTo>
                <a:cubicBezTo>
                  <a:pt x="492" y="38"/>
                  <a:pt x="492" y="38"/>
                  <a:pt x="492" y="38"/>
                </a:cubicBezTo>
                <a:cubicBezTo>
                  <a:pt x="489" y="36"/>
                  <a:pt x="489" y="36"/>
                  <a:pt x="489" y="36"/>
                </a:cubicBezTo>
                <a:cubicBezTo>
                  <a:pt x="489" y="34"/>
                  <a:pt x="489" y="34"/>
                  <a:pt x="489" y="34"/>
                </a:cubicBezTo>
                <a:cubicBezTo>
                  <a:pt x="489" y="33"/>
                  <a:pt x="489" y="33"/>
                  <a:pt x="489" y="33"/>
                </a:cubicBezTo>
                <a:cubicBezTo>
                  <a:pt x="489" y="32"/>
                  <a:pt x="489" y="32"/>
                  <a:pt x="489" y="32"/>
                </a:cubicBezTo>
                <a:cubicBezTo>
                  <a:pt x="490" y="31"/>
                  <a:pt x="490" y="31"/>
                  <a:pt x="490" y="31"/>
                </a:cubicBezTo>
                <a:cubicBezTo>
                  <a:pt x="489" y="30"/>
                  <a:pt x="489" y="30"/>
                  <a:pt x="489" y="30"/>
                </a:cubicBezTo>
                <a:cubicBezTo>
                  <a:pt x="488" y="29"/>
                  <a:pt x="488" y="29"/>
                  <a:pt x="488" y="29"/>
                </a:cubicBezTo>
                <a:cubicBezTo>
                  <a:pt x="488" y="28"/>
                  <a:pt x="488" y="28"/>
                  <a:pt x="488" y="28"/>
                </a:cubicBezTo>
                <a:cubicBezTo>
                  <a:pt x="487" y="28"/>
                  <a:pt x="487" y="28"/>
                  <a:pt x="487" y="28"/>
                </a:cubicBezTo>
                <a:cubicBezTo>
                  <a:pt x="486" y="27"/>
                  <a:pt x="486" y="27"/>
                  <a:pt x="486" y="27"/>
                </a:cubicBezTo>
                <a:cubicBezTo>
                  <a:pt x="485" y="25"/>
                  <a:pt x="485" y="25"/>
                  <a:pt x="485" y="25"/>
                </a:cubicBezTo>
                <a:close/>
                <a:moveTo>
                  <a:pt x="277" y="58"/>
                </a:moveTo>
                <a:cubicBezTo>
                  <a:pt x="276" y="58"/>
                  <a:pt x="278" y="57"/>
                  <a:pt x="278" y="57"/>
                </a:cubicBezTo>
                <a:cubicBezTo>
                  <a:pt x="279" y="56"/>
                  <a:pt x="279" y="56"/>
                  <a:pt x="279" y="56"/>
                </a:cubicBezTo>
                <a:cubicBezTo>
                  <a:pt x="280" y="54"/>
                  <a:pt x="280" y="54"/>
                  <a:pt x="280" y="54"/>
                </a:cubicBezTo>
                <a:cubicBezTo>
                  <a:pt x="281" y="53"/>
                  <a:pt x="281" y="53"/>
                  <a:pt x="281" y="53"/>
                </a:cubicBezTo>
                <a:cubicBezTo>
                  <a:pt x="281" y="52"/>
                  <a:pt x="281" y="52"/>
                  <a:pt x="281" y="52"/>
                </a:cubicBezTo>
                <a:cubicBezTo>
                  <a:pt x="281" y="51"/>
                  <a:pt x="281" y="51"/>
                  <a:pt x="281" y="51"/>
                </a:cubicBezTo>
                <a:cubicBezTo>
                  <a:pt x="284" y="50"/>
                  <a:pt x="284" y="50"/>
                  <a:pt x="284" y="50"/>
                </a:cubicBezTo>
                <a:cubicBezTo>
                  <a:pt x="285" y="49"/>
                  <a:pt x="285" y="49"/>
                  <a:pt x="285" y="49"/>
                </a:cubicBezTo>
                <a:cubicBezTo>
                  <a:pt x="286" y="50"/>
                  <a:pt x="286" y="50"/>
                  <a:pt x="286" y="50"/>
                </a:cubicBezTo>
                <a:cubicBezTo>
                  <a:pt x="287" y="50"/>
                  <a:pt x="287" y="50"/>
                  <a:pt x="287" y="50"/>
                </a:cubicBezTo>
                <a:cubicBezTo>
                  <a:pt x="287" y="49"/>
                  <a:pt x="287" y="49"/>
                  <a:pt x="287" y="49"/>
                </a:cubicBezTo>
                <a:cubicBezTo>
                  <a:pt x="288" y="48"/>
                  <a:pt x="288" y="48"/>
                  <a:pt x="288" y="48"/>
                </a:cubicBezTo>
                <a:cubicBezTo>
                  <a:pt x="289" y="47"/>
                  <a:pt x="289" y="47"/>
                  <a:pt x="289" y="47"/>
                </a:cubicBezTo>
                <a:cubicBezTo>
                  <a:pt x="291" y="46"/>
                  <a:pt x="291" y="46"/>
                  <a:pt x="291" y="46"/>
                </a:cubicBezTo>
                <a:cubicBezTo>
                  <a:pt x="292" y="45"/>
                  <a:pt x="292" y="45"/>
                  <a:pt x="292" y="45"/>
                </a:cubicBezTo>
                <a:cubicBezTo>
                  <a:pt x="293" y="44"/>
                  <a:pt x="293" y="44"/>
                  <a:pt x="293" y="44"/>
                </a:cubicBezTo>
                <a:cubicBezTo>
                  <a:pt x="294" y="42"/>
                  <a:pt x="294" y="42"/>
                  <a:pt x="294" y="42"/>
                </a:cubicBezTo>
                <a:cubicBezTo>
                  <a:pt x="293" y="40"/>
                  <a:pt x="293" y="40"/>
                  <a:pt x="293" y="40"/>
                </a:cubicBezTo>
                <a:cubicBezTo>
                  <a:pt x="292" y="38"/>
                  <a:pt x="292" y="38"/>
                  <a:pt x="292" y="38"/>
                </a:cubicBezTo>
                <a:cubicBezTo>
                  <a:pt x="291" y="37"/>
                  <a:pt x="291" y="37"/>
                  <a:pt x="291" y="37"/>
                </a:cubicBezTo>
                <a:cubicBezTo>
                  <a:pt x="291" y="36"/>
                  <a:pt x="291" y="36"/>
                  <a:pt x="291" y="36"/>
                </a:cubicBezTo>
                <a:cubicBezTo>
                  <a:pt x="289" y="34"/>
                  <a:pt x="289" y="34"/>
                  <a:pt x="289" y="34"/>
                </a:cubicBezTo>
                <a:cubicBezTo>
                  <a:pt x="288" y="34"/>
                  <a:pt x="288" y="34"/>
                  <a:pt x="288" y="34"/>
                </a:cubicBezTo>
                <a:cubicBezTo>
                  <a:pt x="287" y="35"/>
                  <a:pt x="287" y="35"/>
                  <a:pt x="287" y="35"/>
                </a:cubicBezTo>
                <a:cubicBezTo>
                  <a:pt x="286" y="34"/>
                  <a:pt x="286" y="34"/>
                  <a:pt x="286" y="34"/>
                </a:cubicBezTo>
                <a:cubicBezTo>
                  <a:pt x="285" y="33"/>
                  <a:pt x="285" y="33"/>
                  <a:pt x="285" y="33"/>
                </a:cubicBezTo>
                <a:cubicBezTo>
                  <a:pt x="283" y="32"/>
                  <a:pt x="283" y="32"/>
                  <a:pt x="283" y="32"/>
                </a:cubicBezTo>
                <a:cubicBezTo>
                  <a:pt x="282" y="32"/>
                  <a:pt x="282" y="32"/>
                  <a:pt x="282" y="32"/>
                </a:cubicBezTo>
                <a:cubicBezTo>
                  <a:pt x="282" y="32"/>
                  <a:pt x="282" y="32"/>
                  <a:pt x="282" y="32"/>
                </a:cubicBezTo>
                <a:cubicBezTo>
                  <a:pt x="281" y="32"/>
                  <a:pt x="281" y="32"/>
                  <a:pt x="281" y="32"/>
                </a:cubicBezTo>
                <a:cubicBezTo>
                  <a:pt x="281" y="31"/>
                  <a:pt x="281" y="31"/>
                  <a:pt x="281" y="31"/>
                </a:cubicBezTo>
                <a:cubicBezTo>
                  <a:pt x="280" y="30"/>
                  <a:pt x="280" y="30"/>
                  <a:pt x="280" y="30"/>
                </a:cubicBezTo>
                <a:cubicBezTo>
                  <a:pt x="279" y="30"/>
                  <a:pt x="279" y="30"/>
                  <a:pt x="279" y="30"/>
                </a:cubicBezTo>
                <a:cubicBezTo>
                  <a:pt x="279" y="31"/>
                  <a:pt x="279" y="31"/>
                  <a:pt x="279" y="31"/>
                </a:cubicBezTo>
                <a:cubicBezTo>
                  <a:pt x="278" y="31"/>
                  <a:pt x="278" y="31"/>
                  <a:pt x="278" y="31"/>
                </a:cubicBezTo>
                <a:cubicBezTo>
                  <a:pt x="277" y="29"/>
                  <a:pt x="277" y="29"/>
                  <a:pt x="277" y="29"/>
                </a:cubicBezTo>
                <a:cubicBezTo>
                  <a:pt x="276" y="29"/>
                  <a:pt x="276" y="29"/>
                  <a:pt x="276" y="29"/>
                </a:cubicBezTo>
                <a:cubicBezTo>
                  <a:pt x="276" y="30"/>
                  <a:pt x="276" y="30"/>
                  <a:pt x="276" y="30"/>
                </a:cubicBezTo>
                <a:cubicBezTo>
                  <a:pt x="277" y="31"/>
                  <a:pt x="277" y="31"/>
                  <a:pt x="277" y="31"/>
                </a:cubicBezTo>
                <a:cubicBezTo>
                  <a:pt x="277" y="31"/>
                  <a:pt x="277" y="31"/>
                  <a:pt x="277" y="31"/>
                </a:cubicBezTo>
                <a:cubicBezTo>
                  <a:pt x="276" y="32"/>
                  <a:pt x="276" y="32"/>
                  <a:pt x="276" y="32"/>
                </a:cubicBezTo>
                <a:cubicBezTo>
                  <a:pt x="276" y="33"/>
                  <a:pt x="276" y="33"/>
                  <a:pt x="276" y="33"/>
                </a:cubicBezTo>
                <a:cubicBezTo>
                  <a:pt x="276" y="33"/>
                  <a:pt x="276" y="33"/>
                  <a:pt x="276" y="33"/>
                </a:cubicBezTo>
                <a:cubicBezTo>
                  <a:pt x="275" y="32"/>
                  <a:pt x="275" y="32"/>
                  <a:pt x="275" y="32"/>
                </a:cubicBezTo>
                <a:cubicBezTo>
                  <a:pt x="275" y="28"/>
                  <a:pt x="275" y="28"/>
                  <a:pt x="275" y="28"/>
                </a:cubicBezTo>
                <a:cubicBezTo>
                  <a:pt x="274" y="28"/>
                  <a:pt x="274" y="28"/>
                  <a:pt x="274" y="28"/>
                </a:cubicBezTo>
                <a:cubicBezTo>
                  <a:pt x="273" y="27"/>
                  <a:pt x="273" y="27"/>
                  <a:pt x="273" y="27"/>
                </a:cubicBezTo>
                <a:cubicBezTo>
                  <a:pt x="271" y="27"/>
                  <a:pt x="271" y="27"/>
                  <a:pt x="271" y="27"/>
                </a:cubicBezTo>
                <a:cubicBezTo>
                  <a:pt x="270" y="27"/>
                  <a:pt x="270" y="27"/>
                  <a:pt x="270" y="27"/>
                </a:cubicBezTo>
                <a:cubicBezTo>
                  <a:pt x="269" y="28"/>
                  <a:pt x="269" y="28"/>
                  <a:pt x="269" y="28"/>
                </a:cubicBezTo>
                <a:cubicBezTo>
                  <a:pt x="270" y="29"/>
                  <a:pt x="270" y="29"/>
                  <a:pt x="270" y="29"/>
                </a:cubicBezTo>
                <a:cubicBezTo>
                  <a:pt x="271" y="30"/>
                  <a:pt x="271" y="30"/>
                  <a:pt x="271" y="30"/>
                </a:cubicBezTo>
                <a:cubicBezTo>
                  <a:pt x="272" y="31"/>
                  <a:pt x="272" y="31"/>
                  <a:pt x="272" y="31"/>
                </a:cubicBezTo>
                <a:cubicBezTo>
                  <a:pt x="271" y="31"/>
                  <a:pt x="271" y="31"/>
                  <a:pt x="271" y="31"/>
                </a:cubicBezTo>
                <a:cubicBezTo>
                  <a:pt x="270" y="31"/>
                  <a:pt x="270" y="31"/>
                  <a:pt x="270" y="31"/>
                </a:cubicBezTo>
                <a:cubicBezTo>
                  <a:pt x="270" y="30"/>
                  <a:pt x="270" y="30"/>
                  <a:pt x="270" y="30"/>
                </a:cubicBezTo>
                <a:cubicBezTo>
                  <a:pt x="269" y="30"/>
                  <a:pt x="269" y="30"/>
                  <a:pt x="269" y="30"/>
                </a:cubicBezTo>
                <a:cubicBezTo>
                  <a:pt x="268" y="30"/>
                  <a:pt x="268" y="30"/>
                  <a:pt x="268" y="30"/>
                </a:cubicBezTo>
                <a:cubicBezTo>
                  <a:pt x="269" y="31"/>
                  <a:pt x="269" y="31"/>
                  <a:pt x="269" y="31"/>
                </a:cubicBezTo>
                <a:cubicBezTo>
                  <a:pt x="269" y="32"/>
                  <a:pt x="269" y="32"/>
                  <a:pt x="269" y="32"/>
                </a:cubicBezTo>
                <a:cubicBezTo>
                  <a:pt x="269" y="32"/>
                  <a:pt x="269" y="32"/>
                  <a:pt x="269" y="32"/>
                </a:cubicBezTo>
                <a:cubicBezTo>
                  <a:pt x="269" y="34"/>
                  <a:pt x="269" y="34"/>
                  <a:pt x="269" y="34"/>
                </a:cubicBezTo>
                <a:cubicBezTo>
                  <a:pt x="269" y="34"/>
                  <a:pt x="269" y="34"/>
                  <a:pt x="269" y="34"/>
                </a:cubicBezTo>
                <a:cubicBezTo>
                  <a:pt x="270" y="34"/>
                  <a:pt x="270" y="34"/>
                  <a:pt x="270" y="34"/>
                </a:cubicBezTo>
                <a:cubicBezTo>
                  <a:pt x="271" y="35"/>
                  <a:pt x="271" y="35"/>
                  <a:pt x="271" y="35"/>
                </a:cubicBezTo>
                <a:cubicBezTo>
                  <a:pt x="271" y="36"/>
                  <a:pt x="271" y="36"/>
                  <a:pt x="271" y="36"/>
                </a:cubicBezTo>
                <a:cubicBezTo>
                  <a:pt x="272" y="39"/>
                  <a:pt x="272" y="39"/>
                  <a:pt x="272" y="39"/>
                </a:cubicBezTo>
                <a:cubicBezTo>
                  <a:pt x="273" y="40"/>
                  <a:pt x="273" y="40"/>
                  <a:pt x="273" y="40"/>
                </a:cubicBezTo>
                <a:cubicBezTo>
                  <a:pt x="274" y="40"/>
                  <a:pt x="274" y="40"/>
                  <a:pt x="274" y="40"/>
                </a:cubicBezTo>
                <a:cubicBezTo>
                  <a:pt x="273" y="41"/>
                  <a:pt x="273" y="41"/>
                  <a:pt x="273" y="41"/>
                </a:cubicBezTo>
                <a:cubicBezTo>
                  <a:pt x="272" y="41"/>
                  <a:pt x="272" y="41"/>
                  <a:pt x="272" y="41"/>
                </a:cubicBezTo>
                <a:cubicBezTo>
                  <a:pt x="271" y="43"/>
                  <a:pt x="271" y="43"/>
                  <a:pt x="271" y="43"/>
                </a:cubicBezTo>
                <a:cubicBezTo>
                  <a:pt x="273" y="46"/>
                  <a:pt x="273" y="46"/>
                  <a:pt x="273" y="46"/>
                </a:cubicBezTo>
                <a:cubicBezTo>
                  <a:pt x="273" y="47"/>
                  <a:pt x="273" y="47"/>
                  <a:pt x="273" y="47"/>
                </a:cubicBezTo>
                <a:cubicBezTo>
                  <a:pt x="273" y="49"/>
                  <a:pt x="273" y="49"/>
                  <a:pt x="273" y="49"/>
                </a:cubicBezTo>
                <a:cubicBezTo>
                  <a:pt x="274" y="49"/>
                  <a:pt x="274" y="49"/>
                  <a:pt x="274" y="49"/>
                </a:cubicBezTo>
                <a:cubicBezTo>
                  <a:pt x="274" y="50"/>
                  <a:pt x="274" y="50"/>
                  <a:pt x="274" y="50"/>
                </a:cubicBezTo>
                <a:cubicBezTo>
                  <a:pt x="273" y="51"/>
                  <a:pt x="273" y="51"/>
                  <a:pt x="273" y="51"/>
                </a:cubicBezTo>
                <a:cubicBezTo>
                  <a:pt x="274" y="53"/>
                  <a:pt x="274" y="53"/>
                  <a:pt x="274" y="53"/>
                </a:cubicBezTo>
                <a:cubicBezTo>
                  <a:pt x="275" y="55"/>
                  <a:pt x="275" y="55"/>
                  <a:pt x="275" y="55"/>
                </a:cubicBezTo>
                <a:cubicBezTo>
                  <a:pt x="276" y="56"/>
                  <a:pt x="276" y="56"/>
                  <a:pt x="276" y="56"/>
                </a:cubicBezTo>
                <a:cubicBezTo>
                  <a:pt x="276" y="57"/>
                  <a:pt x="276" y="57"/>
                  <a:pt x="276" y="57"/>
                </a:cubicBezTo>
                <a:cubicBezTo>
                  <a:pt x="277" y="58"/>
                  <a:pt x="277" y="58"/>
                  <a:pt x="277" y="58"/>
                </a:cubicBezTo>
                <a:close/>
                <a:moveTo>
                  <a:pt x="301" y="44"/>
                </a:moveTo>
                <a:cubicBezTo>
                  <a:pt x="302" y="43"/>
                  <a:pt x="302" y="43"/>
                  <a:pt x="302" y="43"/>
                </a:cubicBezTo>
                <a:cubicBezTo>
                  <a:pt x="302" y="42"/>
                  <a:pt x="302" y="42"/>
                  <a:pt x="302" y="42"/>
                </a:cubicBezTo>
                <a:cubicBezTo>
                  <a:pt x="301" y="42"/>
                  <a:pt x="301" y="42"/>
                  <a:pt x="301" y="42"/>
                </a:cubicBezTo>
                <a:cubicBezTo>
                  <a:pt x="302" y="41"/>
                  <a:pt x="302" y="41"/>
                  <a:pt x="302" y="41"/>
                </a:cubicBezTo>
                <a:cubicBezTo>
                  <a:pt x="303" y="41"/>
                  <a:pt x="303" y="41"/>
                  <a:pt x="303" y="41"/>
                </a:cubicBezTo>
                <a:cubicBezTo>
                  <a:pt x="302" y="41"/>
                  <a:pt x="302" y="41"/>
                  <a:pt x="302" y="41"/>
                </a:cubicBezTo>
                <a:cubicBezTo>
                  <a:pt x="301" y="41"/>
                  <a:pt x="301" y="41"/>
                  <a:pt x="301" y="41"/>
                </a:cubicBezTo>
                <a:cubicBezTo>
                  <a:pt x="300" y="42"/>
                  <a:pt x="300" y="42"/>
                  <a:pt x="300" y="42"/>
                </a:cubicBezTo>
                <a:cubicBezTo>
                  <a:pt x="301" y="43"/>
                  <a:pt x="301" y="43"/>
                  <a:pt x="301" y="43"/>
                </a:cubicBezTo>
                <a:cubicBezTo>
                  <a:pt x="300" y="43"/>
                  <a:pt x="300" y="43"/>
                  <a:pt x="300" y="43"/>
                </a:cubicBezTo>
                <a:cubicBezTo>
                  <a:pt x="300" y="44"/>
                  <a:pt x="300" y="44"/>
                  <a:pt x="300" y="44"/>
                </a:cubicBezTo>
                <a:cubicBezTo>
                  <a:pt x="300" y="44"/>
                  <a:pt x="300" y="44"/>
                  <a:pt x="300" y="44"/>
                </a:cubicBezTo>
                <a:cubicBezTo>
                  <a:pt x="301" y="44"/>
                  <a:pt x="301" y="44"/>
                  <a:pt x="301" y="44"/>
                </a:cubicBezTo>
                <a:close/>
                <a:moveTo>
                  <a:pt x="302" y="44"/>
                </a:moveTo>
                <a:cubicBezTo>
                  <a:pt x="303" y="43"/>
                  <a:pt x="303" y="43"/>
                  <a:pt x="303" y="43"/>
                </a:cubicBezTo>
                <a:cubicBezTo>
                  <a:pt x="305" y="43"/>
                  <a:pt x="305" y="43"/>
                  <a:pt x="305" y="43"/>
                </a:cubicBezTo>
                <a:cubicBezTo>
                  <a:pt x="305" y="42"/>
                  <a:pt x="305" y="42"/>
                  <a:pt x="305" y="42"/>
                </a:cubicBezTo>
                <a:cubicBezTo>
                  <a:pt x="306" y="42"/>
                  <a:pt x="306" y="42"/>
                  <a:pt x="306" y="42"/>
                </a:cubicBezTo>
                <a:cubicBezTo>
                  <a:pt x="307" y="42"/>
                  <a:pt x="307" y="42"/>
                  <a:pt x="307" y="42"/>
                </a:cubicBezTo>
                <a:cubicBezTo>
                  <a:pt x="308" y="42"/>
                  <a:pt x="308" y="42"/>
                  <a:pt x="308" y="42"/>
                </a:cubicBezTo>
                <a:cubicBezTo>
                  <a:pt x="308" y="44"/>
                  <a:pt x="308" y="44"/>
                  <a:pt x="308" y="44"/>
                </a:cubicBezTo>
                <a:cubicBezTo>
                  <a:pt x="308" y="45"/>
                  <a:pt x="308" y="45"/>
                  <a:pt x="308" y="45"/>
                </a:cubicBezTo>
                <a:cubicBezTo>
                  <a:pt x="307" y="44"/>
                  <a:pt x="307" y="44"/>
                  <a:pt x="307" y="44"/>
                </a:cubicBezTo>
                <a:cubicBezTo>
                  <a:pt x="306" y="45"/>
                  <a:pt x="306" y="45"/>
                  <a:pt x="306" y="45"/>
                </a:cubicBezTo>
                <a:cubicBezTo>
                  <a:pt x="304" y="45"/>
                  <a:pt x="304" y="45"/>
                  <a:pt x="304" y="45"/>
                </a:cubicBezTo>
                <a:cubicBezTo>
                  <a:pt x="303" y="45"/>
                  <a:pt x="303" y="45"/>
                  <a:pt x="303" y="45"/>
                </a:cubicBezTo>
                <a:cubicBezTo>
                  <a:pt x="302" y="44"/>
                  <a:pt x="302" y="44"/>
                  <a:pt x="302" y="44"/>
                </a:cubicBezTo>
                <a:close/>
                <a:moveTo>
                  <a:pt x="315" y="56"/>
                </a:moveTo>
                <a:cubicBezTo>
                  <a:pt x="315" y="57"/>
                  <a:pt x="315" y="57"/>
                  <a:pt x="315" y="57"/>
                </a:cubicBezTo>
                <a:cubicBezTo>
                  <a:pt x="316" y="58"/>
                  <a:pt x="316" y="58"/>
                  <a:pt x="316" y="58"/>
                </a:cubicBezTo>
                <a:cubicBezTo>
                  <a:pt x="316" y="59"/>
                  <a:pt x="316" y="59"/>
                  <a:pt x="316" y="59"/>
                </a:cubicBezTo>
                <a:cubicBezTo>
                  <a:pt x="316" y="60"/>
                  <a:pt x="316" y="60"/>
                  <a:pt x="316" y="60"/>
                </a:cubicBezTo>
                <a:cubicBezTo>
                  <a:pt x="317" y="59"/>
                  <a:pt x="317" y="59"/>
                  <a:pt x="317" y="59"/>
                </a:cubicBezTo>
                <a:cubicBezTo>
                  <a:pt x="318" y="58"/>
                  <a:pt x="318" y="58"/>
                  <a:pt x="318" y="58"/>
                </a:cubicBezTo>
                <a:cubicBezTo>
                  <a:pt x="317" y="56"/>
                  <a:pt x="317" y="56"/>
                  <a:pt x="317" y="56"/>
                </a:cubicBezTo>
                <a:cubicBezTo>
                  <a:pt x="316" y="56"/>
                  <a:pt x="316" y="56"/>
                  <a:pt x="316" y="56"/>
                </a:cubicBezTo>
                <a:cubicBezTo>
                  <a:pt x="315" y="56"/>
                  <a:pt x="315" y="56"/>
                  <a:pt x="315" y="56"/>
                </a:cubicBezTo>
                <a:close/>
                <a:moveTo>
                  <a:pt x="432" y="94"/>
                </a:moveTo>
                <a:cubicBezTo>
                  <a:pt x="433" y="94"/>
                  <a:pt x="433" y="94"/>
                  <a:pt x="433" y="94"/>
                </a:cubicBezTo>
                <a:cubicBezTo>
                  <a:pt x="433" y="92"/>
                  <a:pt x="433" y="92"/>
                  <a:pt x="433" y="92"/>
                </a:cubicBezTo>
                <a:cubicBezTo>
                  <a:pt x="433" y="91"/>
                  <a:pt x="433" y="91"/>
                  <a:pt x="433" y="91"/>
                </a:cubicBezTo>
                <a:cubicBezTo>
                  <a:pt x="431" y="92"/>
                  <a:pt x="431" y="92"/>
                  <a:pt x="431" y="92"/>
                </a:cubicBezTo>
                <a:cubicBezTo>
                  <a:pt x="431" y="92"/>
                  <a:pt x="431" y="92"/>
                  <a:pt x="431" y="92"/>
                </a:cubicBezTo>
                <a:cubicBezTo>
                  <a:pt x="431" y="93"/>
                  <a:pt x="431" y="93"/>
                  <a:pt x="431" y="93"/>
                </a:cubicBezTo>
                <a:cubicBezTo>
                  <a:pt x="432" y="93"/>
                  <a:pt x="432" y="93"/>
                  <a:pt x="432" y="93"/>
                </a:cubicBezTo>
                <a:cubicBezTo>
                  <a:pt x="432" y="94"/>
                  <a:pt x="432" y="94"/>
                  <a:pt x="432" y="94"/>
                </a:cubicBezTo>
                <a:close/>
                <a:moveTo>
                  <a:pt x="417" y="111"/>
                </a:moveTo>
                <a:cubicBezTo>
                  <a:pt x="418" y="111"/>
                  <a:pt x="418" y="111"/>
                  <a:pt x="418" y="111"/>
                </a:cubicBezTo>
                <a:cubicBezTo>
                  <a:pt x="419" y="111"/>
                  <a:pt x="419" y="111"/>
                  <a:pt x="419" y="111"/>
                </a:cubicBezTo>
                <a:cubicBezTo>
                  <a:pt x="419" y="111"/>
                  <a:pt x="419" y="111"/>
                  <a:pt x="419" y="111"/>
                </a:cubicBezTo>
                <a:cubicBezTo>
                  <a:pt x="419" y="111"/>
                  <a:pt x="419" y="111"/>
                  <a:pt x="419" y="111"/>
                </a:cubicBezTo>
                <a:cubicBezTo>
                  <a:pt x="418" y="110"/>
                  <a:pt x="418" y="110"/>
                  <a:pt x="418" y="110"/>
                </a:cubicBezTo>
                <a:cubicBezTo>
                  <a:pt x="417" y="109"/>
                  <a:pt x="417" y="109"/>
                  <a:pt x="417" y="109"/>
                </a:cubicBezTo>
                <a:cubicBezTo>
                  <a:pt x="416" y="109"/>
                  <a:pt x="416" y="109"/>
                  <a:pt x="416" y="109"/>
                </a:cubicBezTo>
                <a:cubicBezTo>
                  <a:pt x="416" y="109"/>
                  <a:pt x="416" y="109"/>
                  <a:pt x="416" y="109"/>
                </a:cubicBezTo>
                <a:cubicBezTo>
                  <a:pt x="416" y="110"/>
                  <a:pt x="416" y="110"/>
                  <a:pt x="416" y="110"/>
                </a:cubicBezTo>
                <a:cubicBezTo>
                  <a:pt x="417" y="110"/>
                  <a:pt x="417" y="110"/>
                  <a:pt x="417" y="110"/>
                </a:cubicBezTo>
                <a:cubicBezTo>
                  <a:pt x="417" y="110"/>
                  <a:pt x="417" y="111"/>
                  <a:pt x="417" y="111"/>
                </a:cubicBezTo>
                <a:close/>
                <a:moveTo>
                  <a:pt x="373" y="104"/>
                </a:moveTo>
                <a:cubicBezTo>
                  <a:pt x="374" y="104"/>
                  <a:pt x="374" y="104"/>
                  <a:pt x="374" y="104"/>
                </a:cubicBezTo>
                <a:cubicBezTo>
                  <a:pt x="375" y="104"/>
                  <a:pt x="375" y="104"/>
                  <a:pt x="375" y="104"/>
                </a:cubicBezTo>
                <a:cubicBezTo>
                  <a:pt x="376" y="104"/>
                  <a:pt x="376" y="104"/>
                  <a:pt x="376" y="104"/>
                </a:cubicBezTo>
                <a:cubicBezTo>
                  <a:pt x="376" y="103"/>
                  <a:pt x="376" y="103"/>
                  <a:pt x="376" y="103"/>
                </a:cubicBezTo>
                <a:cubicBezTo>
                  <a:pt x="377" y="102"/>
                  <a:pt x="377" y="102"/>
                  <a:pt x="377" y="102"/>
                </a:cubicBezTo>
                <a:cubicBezTo>
                  <a:pt x="377" y="102"/>
                  <a:pt x="377" y="102"/>
                  <a:pt x="377" y="102"/>
                </a:cubicBezTo>
                <a:cubicBezTo>
                  <a:pt x="376" y="101"/>
                  <a:pt x="376" y="101"/>
                  <a:pt x="376" y="101"/>
                </a:cubicBezTo>
                <a:cubicBezTo>
                  <a:pt x="376" y="99"/>
                  <a:pt x="376" y="99"/>
                  <a:pt x="376" y="99"/>
                </a:cubicBezTo>
                <a:cubicBezTo>
                  <a:pt x="375" y="98"/>
                  <a:pt x="375" y="98"/>
                  <a:pt x="375" y="98"/>
                </a:cubicBezTo>
                <a:cubicBezTo>
                  <a:pt x="375" y="97"/>
                  <a:pt x="375" y="97"/>
                  <a:pt x="375" y="97"/>
                </a:cubicBezTo>
                <a:cubicBezTo>
                  <a:pt x="375" y="96"/>
                  <a:pt x="375" y="96"/>
                  <a:pt x="375" y="96"/>
                </a:cubicBezTo>
                <a:cubicBezTo>
                  <a:pt x="374" y="96"/>
                  <a:pt x="374" y="96"/>
                  <a:pt x="374" y="96"/>
                </a:cubicBezTo>
                <a:cubicBezTo>
                  <a:pt x="371" y="96"/>
                  <a:pt x="371" y="96"/>
                  <a:pt x="371" y="96"/>
                </a:cubicBezTo>
                <a:cubicBezTo>
                  <a:pt x="369" y="98"/>
                  <a:pt x="369" y="98"/>
                  <a:pt x="369" y="98"/>
                </a:cubicBezTo>
                <a:cubicBezTo>
                  <a:pt x="368" y="98"/>
                  <a:pt x="368" y="98"/>
                  <a:pt x="368" y="98"/>
                </a:cubicBezTo>
                <a:cubicBezTo>
                  <a:pt x="368" y="98"/>
                  <a:pt x="368" y="98"/>
                  <a:pt x="368" y="98"/>
                </a:cubicBezTo>
                <a:cubicBezTo>
                  <a:pt x="368" y="100"/>
                  <a:pt x="368" y="100"/>
                  <a:pt x="368" y="100"/>
                </a:cubicBezTo>
                <a:cubicBezTo>
                  <a:pt x="369" y="100"/>
                  <a:pt x="369" y="100"/>
                  <a:pt x="369" y="100"/>
                </a:cubicBezTo>
                <a:cubicBezTo>
                  <a:pt x="369" y="101"/>
                  <a:pt x="369" y="101"/>
                  <a:pt x="369" y="101"/>
                </a:cubicBezTo>
                <a:cubicBezTo>
                  <a:pt x="369" y="102"/>
                  <a:pt x="369" y="102"/>
                  <a:pt x="369" y="102"/>
                </a:cubicBezTo>
                <a:cubicBezTo>
                  <a:pt x="368" y="102"/>
                  <a:pt x="368" y="102"/>
                  <a:pt x="368" y="102"/>
                </a:cubicBezTo>
                <a:cubicBezTo>
                  <a:pt x="367" y="102"/>
                  <a:pt x="367" y="102"/>
                  <a:pt x="367" y="102"/>
                </a:cubicBezTo>
                <a:cubicBezTo>
                  <a:pt x="368" y="103"/>
                  <a:pt x="368" y="103"/>
                  <a:pt x="368" y="103"/>
                </a:cubicBezTo>
                <a:cubicBezTo>
                  <a:pt x="370" y="103"/>
                  <a:pt x="370" y="103"/>
                  <a:pt x="370" y="103"/>
                </a:cubicBezTo>
                <a:cubicBezTo>
                  <a:pt x="373" y="104"/>
                  <a:pt x="373" y="104"/>
                  <a:pt x="373" y="104"/>
                </a:cubicBezTo>
                <a:close/>
                <a:moveTo>
                  <a:pt x="501" y="66"/>
                </a:moveTo>
                <a:cubicBezTo>
                  <a:pt x="501" y="65"/>
                  <a:pt x="501" y="65"/>
                  <a:pt x="501" y="65"/>
                </a:cubicBezTo>
                <a:cubicBezTo>
                  <a:pt x="501" y="65"/>
                  <a:pt x="501" y="65"/>
                  <a:pt x="501" y="65"/>
                </a:cubicBezTo>
                <a:cubicBezTo>
                  <a:pt x="502" y="63"/>
                  <a:pt x="502" y="63"/>
                  <a:pt x="502" y="63"/>
                </a:cubicBezTo>
                <a:cubicBezTo>
                  <a:pt x="502" y="62"/>
                  <a:pt x="502" y="62"/>
                  <a:pt x="502" y="62"/>
                </a:cubicBezTo>
                <a:cubicBezTo>
                  <a:pt x="502" y="61"/>
                  <a:pt x="502" y="61"/>
                  <a:pt x="502" y="61"/>
                </a:cubicBezTo>
                <a:cubicBezTo>
                  <a:pt x="500" y="59"/>
                  <a:pt x="500" y="59"/>
                  <a:pt x="500" y="59"/>
                </a:cubicBezTo>
                <a:cubicBezTo>
                  <a:pt x="500" y="58"/>
                  <a:pt x="500" y="58"/>
                  <a:pt x="500" y="58"/>
                </a:cubicBezTo>
                <a:cubicBezTo>
                  <a:pt x="499" y="58"/>
                  <a:pt x="499" y="58"/>
                  <a:pt x="499" y="58"/>
                </a:cubicBezTo>
                <a:cubicBezTo>
                  <a:pt x="497" y="58"/>
                  <a:pt x="497" y="58"/>
                  <a:pt x="497" y="58"/>
                </a:cubicBezTo>
                <a:cubicBezTo>
                  <a:pt x="496" y="59"/>
                  <a:pt x="496" y="59"/>
                  <a:pt x="496" y="59"/>
                </a:cubicBezTo>
                <a:cubicBezTo>
                  <a:pt x="496" y="60"/>
                  <a:pt x="496" y="60"/>
                  <a:pt x="496" y="60"/>
                </a:cubicBezTo>
                <a:cubicBezTo>
                  <a:pt x="497" y="62"/>
                  <a:pt x="497" y="62"/>
                  <a:pt x="497" y="62"/>
                </a:cubicBezTo>
                <a:cubicBezTo>
                  <a:pt x="497" y="62"/>
                  <a:pt x="497" y="62"/>
                  <a:pt x="497" y="62"/>
                </a:cubicBezTo>
                <a:cubicBezTo>
                  <a:pt x="497" y="63"/>
                  <a:pt x="497" y="63"/>
                  <a:pt x="497" y="63"/>
                </a:cubicBezTo>
                <a:cubicBezTo>
                  <a:pt x="498" y="63"/>
                  <a:pt x="498" y="63"/>
                  <a:pt x="498" y="63"/>
                </a:cubicBezTo>
                <a:cubicBezTo>
                  <a:pt x="500" y="65"/>
                  <a:pt x="500" y="65"/>
                  <a:pt x="500" y="65"/>
                </a:cubicBezTo>
                <a:cubicBezTo>
                  <a:pt x="501" y="66"/>
                  <a:pt x="501" y="66"/>
                  <a:pt x="501" y="66"/>
                </a:cubicBezTo>
                <a:close/>
                <a:moveTo>
                  <a:pt x="504" y="75"/>
                </a:moveTo>
                <a:cubicBezTo>
                  <a:pt x="505" y="74"/>
                  <a:pt x="505" y="74"/>
                  <a:pt x="505" y="74"/>
                </a:cubicBezTo>
                <a:cubicBezTo>
                  <a:pt x="506" y="73"/>
                  <a:pt x="506" y="73"/>
                  <a:pt x="506" y="73"/>
                </a:cubicBezTo>
                <a:cubicBezTo>
                  <a:pt x="508" y="72"/>
                  <a:pt x="508" y="72"/>
                  <a:pt x="508" y="72"/>
                </a:cubicBezTo>
                <a:cubicBezTo>
                  <a:pt x="510" y="72"/>
                  <a:pt x="510" y="72"/>
                  <a:pt x="510" y="72"/>
                </a:cubicBezTo>
                <a:cubicBezTo>
                  <a:pt x="513" y="72"/>
                  <a:pt x="513" y="72"/>
                  <a:pt x="513" y="72"/>
                </a:cubicBezTo>
                <a:cubicBezTo>
                  <a:pt x="514" y="72"/>
                  <a:pt x="514" y="72"/>
                  <a:pt x="514" y="72"/>
                </a:cubicBezTo>
                <a:cubicBezTo>
                  <a:pt x="517" y="72"/>
                  <a:pt x="517" y="72"/>
                  <a:pt x="517" y="72"/>
                </a:cubicBezTo>
                <a:cubicBezTo>
                  <a:pt x="518" y="71"/>
                  <a:pt x="518" y="71"/>
                  <a:pt x="518" y="71"/>
                </a:cubicBezTo>
                <a:cubicBezTo>
                  <a:pt x="520" y="71"/>
                  <a:pt x="520" y="71"/>
                  <a:pt x="520" y="71"/>
                </a:cubicBezTo>
                <a:cubicBezTo>
                  <a:pt x="522" y="71"/>
                  <a:pt x="522" y="71"/>
                  <a:pt x="522" y="71"/>
                </a:cubicBezTo>
                <a:cubicBezTo>
                  <a:pt x="523" y="70"/>
                  <a:pt x="523" y="70"/>
                  <a:pt x="523" y="70"/>
                </a:cubicBezTo>
                <a:cubicBezTo>
                  <a:pt x="522" y="69"/>
                  <a:pt x="522" y="69"/>
                  <a:pt x="522" y="69"/>
                </a:cubicBezTo>
                <a:cubicBezTo>
                  <a:pt x="521" y="68"/>
                  <a:pt x="521" y="68"/>
                  <a:pt x="521" y="68"/>
                </a:cubicBezTo>
                <a:cubicBezTo>
                  <a:pt x="520" y="66"/>
                  <a:pt x="520" y="66"/>
                  <a:pt x="520" y="66"/>
                </a:cubicBezTo>
                <a:cubicBezTo>
                  <a:pt x="517" y="64"/>
                  <a:pt x="517" y="64"/>
                  <a:pt x="517" y="64"/>
                </a:cubicBezTo>
                <a:cubicBezTo>
                  <a:pt x="515" y="64"/>
                  <a:pt x="515" y="64"/>
                  <a:pt x="515" y="64"/>
                </a:cubicBezTo>
                <a:cubicBezTo>
                  <a:pt x="514" y="64"/>
                  <a:pt x="514" y="64"/>
                  <a:pt x="514" y="64"/>
                </a:cubicBezTo>
                <a:cubicBezTo>
                  <a:pt x="512" y="62"/>
                  <a:pt x="512" y="62"/>
                  <a:pt x="512" y="62"/>
                </a:cubicBezTo>
                <a:cubicBezTo>
                  <a:pt x="511" y="62"/>
                  <a:pt x="511" y="62"/>
                  <a:pt x="511" y="62"/>
                </a:cubicBezTo>
                <a:cubicBezTo>
                  <a:pt x="510" y="63"/>
                  <a:pt x="510" y="63"/>
                  <a:pt x="510" y="63"/>
                </a:cubicBezTo>
                <a:cubicBezTo>
                  <a:pt x="509" y="62"/>
                  <a:pt x="509" y="62"/>
                  <a:pt x="509" y="62"/>
                </a:cubicBezTo>
                <a:cubicBezTo>
                  <a:pt x="508" y="62"/>
                  <a:pt x="508" y="62"/>
                  <a:pt x="508" y="62"/>
                </a:cubicBezTo>
                <a:cubicBezTo>
                  <a:pt x="507" y="64"/>
                  <a:pt x="507" y="64"/>
                  <a:pt x="507" y="64"/>
                </a:cubicBezTo>
                <a:cubicBezTo>
                  <a:pt x="505" y="66"/>
                  <a:pt x="505" y="66"/>
                  <a:pt x="505" y="66"/>
                </a:cubicBezTo>
                <a:cubicBezTo>
                  <a:pt x="506" y="67"/>
                  <a:pt x="506" y="67"/>
                  <a:pt x="506" y="67"/>
                </a:cubicBezTo>
                <a:cubicBezTo>
                  <a:pt x="506" y="70"/>
                  <a:pt x="506" y="70"/>
                  <a:pt x="506" y="70"/>
                </a:cubicBezTo>
                <a:cubicBezTo>
                  <a:pt x="505" y="73"/>
                  <a:pt x="505" y="73"/>
                  <a:pt x="505" y="73"/>
                </a:cubicBezTo>
                <a:cubicBezTo>
                  <a:pt x="504" y="74"/>
                  <a:pt x="504" y="74"/>
                  <a:pt x="504" y="74"/>
                </a:cubicBezTo>
                <a:cubicBezTo>
                  <a:pt x="504" y="75"/>
                  <a:pt x="504" y="75"/>
                  <a:pt x="504" y="75"/>
                </a:cubicBezTo>
                <a:cubicBezTo>
                  <a:pt x="504" y="75"/>
                  <a:pt x="504" y="75"/>
                  <a:pt x="504" y="75"/>
                </a:cubicBezTo>
                <a:close/>
                <a:moveTo>
                  <a:pt x="474" y="69"/>
                </a:moveTo>
                <a:cubicBezTo>
                  <a:pt x="475" y="70"/>
                  <a:pt x="475" y="70"/>
                  <a:pt x="475" y="70"/>
                </a:cubicBezTo>
                <a:cubicBezTo>
                  <a:pt x="476" y="71"/>
                  <a:pt x="476" y="71"/>
                  <a:pt x="476" y="71"/>
                </a:cubicBezTo>
                <a:cubicBezTo>
                  <a:pt x="477" y="71"/>
                  <a:pt x="477" y="71"/>
                  <a:pt x="477" y="71"/>
                </a:cubicBezTo>
                <a:cubicBezTo>
                  <a:pt x="478" y="72"/>
                  <a:pt x="478" y="72"/>
                  <a:pt x="478" y="72"/>
                </a:cubicBezTo>
                <a:cubicBezTo>
                  <a:pt x="480" y="72"/>
                  <a:pt x="480" y="72"/>
                  <a:pt x="480" y="72"/>
                </a:cubicBezTo>
                <a:cubicBezTo>
                  <a:pt x="481" y="73"/>
                  <a:pt x="481" y="73"/>
                  <a:pt x="481" y="73"/>
                </a:cubicBezTo>
                <a:cubicBezTo>
                  <a:pt x="482" y="73"/>
                  <a:pt x="482" y="73"/>
                  <a:pt x="482" y="73"/>
                </a:cubicBezTo>
                <a:cubicBezTo>
                  <a:pt x="482" y="72"/>
                  <a:pt x="482" y="72"/>
                  <a:pt x="482" y="72"/>
                </a:cubicBezTo>
                <a:cubicBezTo>
                  <a:pt x="480" y="70"/>
                  <a:pt x="480" y="70"/>
                  <a:pt x="480" y="70"/>
                </a:cubicBezTo>
                <a:cubicBezTo>
                  <a:pt x="479" y="70"/>
                  <a:pt x="479" y="70"/>
                  <a:pt x="479" y="70"/>
                </a:cubicBezTo>
                <a:cubicBezTo>
                  <a:pt x="477" y="70"/>
                  <a:pt x="477" y="70"/>
                  <a:pt x="477" y="70"/>
                </a:cubicBezTo>
                <a:cubicBezTo>
                  <a:pt x="476" y="69"/>
                  <a:pt x="476" y="69"/>
                  <a:pt x="476" y="69"/>
                </a:cubicBezTo>
                <a:cubicBezTo>
                  <a:pt x="475" y="68"/>
                  <a:pt x="475" y="68"/>
                  <a:pt x="475" y="68"/>
                </a:cubicBezTo>
                <a:cubicBezTo>
                  <a:pt x="474" y="69"/>
                  <a:pt x="474" y="69"/>
                  <a:pt x="474" y="69"/>
                </a:cubicBezTo>
                <a:close/>
                <a:moveTo>
                  <a:pt x="514" y="108"/>
                </a:moveTo>
                <a:cubicBezTo>
                  <a:pt x="516" y="110"/>
                  <a:pt x="516" y="110"/>
                  <a:pt x="516" y="110"/>
                </a:cubicBezTo>
                <a:cubicBezTo>
                  <a:pt x="517" y="110"/>
                  <a:pt x="517" y="110"/>
                  <a:pt x="517" y="110"/>
                </a:cubicBezTo>
                <a:cubicBezTo>
                  <a:pt x="517" y="110"/>
                  <a:pt x="517" y="110"/>
                  <a:pt x="517" y="110"/>
                </a:cubicBezTo>
                <a:cubicBezTo>
                  <a:pt x="518" y="109"/>
                  <a:pt x="518" y="109"/>
                  <a:pt x="518" y="109"/>
                </a:cubicBezTo>
                <a:cubicBezTo>
                  <a:pt x="519" y="109"/>
                  <a:pt x="519" y="109"/>
                  <a:pt x="519" y="109"/>
                </a:cubicBezTo>
                <a:cubicBezTo>
                  <a:pt x="518" y="108"/>
                  <a:pt x="518" y="108"/>
                  <a:pt x="518" y="108"/>
                </a:cubicBezTo>
                <a:cubicBezTo>
                  <a:pt x="518" y="106"/>
                  <a:pt x="518" y="106"/>
                  <a:pt x="518" y="106"/>
                </a:cubicBezTo>
                <a:cubicBezTo>
                  <a:pt x="517" y="107"/>
                  <a:pt x="517" y="107"/>
                  <a:pt x="517" y="107"/>
                </a:cubicBezTo>
                <a:cubicBezTo>
                  <a:pt x="517" y="108"/>
                  <a:pt x="517" y="108"/>
                  <a:pt x="517" y="108"/>
                </a:cubicBezTo>
                <a:cubicBezTo>
                  <a:pt x="516" y="108"/>
                  <a:pt x="516" y="108"/>
                  <a:pt x="516" y="108"/>
                </a:cubicBezTo>
                <a:cubicBezTo>
                  <a:pt x="516" y="108"/>
                  <a:pt x="515" y="109"/>
                  <a:pt x="514" y="108"/>
                </a:cubicBezTo>
                <a:close/>
                <a:moveTo>
                  <a:pt x="655" y="98"/>
                </a:moveTo>
                <a:cubicBezTo>
                  <a:pt x="655" y="98"/>
                  <a:pt x="655" y="98"/>
                  <a:pt x="655" y="98"/>
                </a:cubicBezTo>
                <a:cubicBezTo>
                  <a:pt x="655" y="97"/>
                  <a:pt x="655" y="97"/>
                  <a:pt x="655" y="97"/>
                </a:cubicBezTo>
                <a:cubicBezTo>
                  <a:pt x="655" y="96"/>
                  <a:pt x="655" y="96"/>
                  <a:pt x="655" y="96"/>
                </a:cubicBezTo>
                <a:cubicBezTo>
                  <a:pt x="654" y="95"/>
                  <a:pt x="654" y="95"/>
                  <a:pt x="654" y="95"/>
                </a:cubicBezTo>
                <a:cubicBezTo>
                  <a:pt x="654" y="96"/>
                  <a:pt x="654" y="96"/>
                  <a:pt x="654" y="96"/>
                </a:cubicBezTo>
                <a:cubicBezTo>
                  <a:pt x="655" y="98"/>
                  <a:pt x="655" y="98"/>
                  <a:pt x="655" y="98"/>
                </a:cubicBezTo>
                <a:close/>
                <a:moveTo>
                  <a:pt x="654" y="99"/>
                </a:moveTo>
                <a:cubicBezTo>
                  <a:pt x="654" y="99"/>
                  <a:pt x="654" y="99"/>
                  <a:pt x="654" y="99"/>
                </a:cubicBezTo>
                <a:cubicBezTo>
                  <a:pt x="654" y="98"/>
                  <a:pt x="654" y="98"/>
                  <a:pt x="654" y="98"/>
                </a:cubicBezTo>
                <a:cubicBezTo>
                  <a:pt x="654" y="97"/>
                  <a:pt x="654" y="97"/>
                  <a:pt x="654" y="97"/>
                </a:cubicBezTo>
                <a:cubicBezTo>
                  <a:pt x="653" y="97"/>
                  <a:pt x="653" y="97"/>
                  <a:pt x="653" y="97"/>
                </a:cubicBezTo>
                <a:cubicBezTo>
                  <a:pt x="653" y="97"/>
                  <a:pt x="653" y="97"/>
                  <a:pt x="653" y="97"/>
                </a:cubicBezTo>
                <a:cubicBezTo>
                  <a:pt x="654" y="99"/>
                  <a:pt x="654" y="99"/>
                  <a:pt x="654" y="99"/>
                </a:cubicBezTo>
                <a:close/>
                <a:moveTo>
                  <a:pt x="653" y="99"/>
                </a:moveTo>
                <a:cubicBezTo>
                  <a:pt x="654" y="101"/>
                  <a:pt x="654" y="101"/>
                  <a:pt x="654" y="101"/>
                </a:cubicBezTo>
                <a:cubicBezTo>
                  <a:pt x="654" y="102"/>
                  <a:pt x="654" y="102"/>
                  <a:pt x="654" y="102"/>
                </a:cubicBezTo>
                <a:cubicBezTo>
                  <a:pt x="655" y="101"/>
                  <a:pt x="655" y="101"/>
                  <a:pt x="655" y="101"/>
                </a:cubicBezTo>
                <a:cubicBezTo>
                  <a:pt x="654" y="100"/>
                  <a:pt x="654" y="100"/>
                  <a:pt x="654" y="100"/>
                </a:cubicBezTo>
                <a:cubicBezTo>
                  <a:pt x="653" y="99"/>
                  <a:pt x="653" y="99"/>
                  <a:pt x="653" y="99"/>
                </a:cubicBezTo>
                <a:cubicBezTo>
                  <a:pt x="653" y="99"/>
                  <a:pt x="653" y="99"/>
                  <a:pt x="653" y="99"/>
                </a:cubicBezTo>
                <a:cubicBezTo>
                  <a:pt x="653" y="99"/>
                  <a:pt x="653" y="99"/>
                  <a:pt x="653" y="99"/>
                </a:cubicBezTo>
                <a:close/>
                <a:moveTo>
                  <a:pt x="650" y="98"/>
                </a:moveTo>
                <a:cubicBezTo>
                  <a:pt x="650" y="100"/>
                  <a:pt x="650" y="100"/>
                  <a:pt x="650" y="100"/>
                </a:cubicBezTo>
                <a:cubicBezTo>
                  <a:pt x="651" y="100"/>
                  <a:pt x="651" y="100"/>
                  <a:pt x="651" y="100"/>
                </a:cubicBezTo>
                <a:cubicBezTo>
                  <a:pt x="651" y="100"/>
                  <a:pt x="651" y="100"/>
                  <a:pt x="651" y="100"/>
                </a:cubicBezTo>
                <a:cubicBezTo>
                  <a:pt x="652" y="99"/>
                  <a:pt x="652" y="99"/>
                  <a:pt x="652" y="99"/>
                </a:cubicBezTo>
                <a:cubicBezTo>
                  <a:pt x="651" y="98"/>
                  <a:pt x="651" y="98"/>
                  <a:pt x="651" y="98"/>
                </a:cubicBezTo>
                <a:cubicBezTo>
                  <a:pt x="651" y="98"/>
                  <a:pt x="651" y="98"/>
                  <a:pt x="651" y="98"/>
                </a:cubicBezTo>
                <a:cubicBezTo>
                  <a:pt x="650" y="98"/>
                  <a:pt x="650" y="98"/>
                  <a:pt x="650" y="98"/>
                </a:cubicBezTo>
                <a:cubicBezTo>
                  <a:pt x="650" y="98"/>
                  <a:pt x="650" y="98"/>
                  <a:pt x="650" y="98"/>
                </a:cubicBezTo>
                <a:close/>
                <a:moveTo>
                  <a:pt x="684" y="84"/>
                </a:moveTo>
                <a:cubicBezTo>
                  <a:pt x="686" y="85"/>
                  <a:pt x="686" y="85"/>
                  <a:pt x="686" y="85"/>
                </a:cubicBezTo>
                <a:cubicBezTo>
                  <a:pt x="687" y="84"/>
                  <a:pt x="687" y="84"/>
                  <a:pt x="687" y="84"/>
                </a:cubicBezTo>
                <a:cubicBezTo>
                  <a:pt x="688" y="83"/>
                  <a:pt x="688" y="83"/>
                  <a:pt x="688" y="83"/>
                </a:cubicBezTo>
                <a:cubicBezTo>
                  <a:pt x="688" y="82"/>
                  <a:pt x="688" y="82"/>
                  <a:pt x="688" y="82"/>
                </a:cubicBezTo>
                <a:cubicBezTo>
                  <a:pt x="687" y="81"/>
                  <a:pt x="687" y="81"/>
                  <a:pt x="687" y="81"/>
                </a:cubicBezTo>
                <a:cubicBezTo>
                  <a:pt x="687" y="80"/>
                  <a:pt x="687" y="80"/>
                  <a:pt x="687" y="80"/>
                </a:cubicBezTo>
                <a:cubicBezTo>
                  <a:pt x="687" y="79"/>
                  <a:pt x="687" y="79"/>
                  <a:pt x="687" y="79"/>
                </a:cubicBezTo>
                <a:cubicBezTo>
                  <a:pt x="685" y="78"/>
                  <a:pt x="685" y="78"/>
                  <a:pt x="685" y="78"/>
                </a:cubicBezTo>
                <a:cubicBezTo>
                  <a:pt x="685" y="79"/>
                  <a:pt x="685" y="79"/>
                  <a:pt x="685" y="79"/>
                </a:cubicBezTo>
                <a:cubicBezTo>
                  <a:pt x="684" y="79"/>
                  <a:pt x="684" y="79"/>
                  <a:pt x="684" y="79"/>
                </a:cubicBezTo>
                <a:cubicBezTo>
                  <a:pt x="683" y="78"/>
                  <a:pt x="683" y="78"/>
                  <a:pt x="683" y="78"/>
                </a:cubicBezTo>
                <a:cubicBezTo>
                  <a:pt x="682" y="78"/>
                  <a:pt x="682" y="78"/>
                  <a:pt x="682" y="78"/>
                </a:cubicBezTo>
                <a:cubicBezTo>
                  <a:pt x="681" y="78"/>
                  <a:pt x="681" y="78"/>
                  <a:pt x="681" y="78"/>
                </a:cubicBezTo>
                <a:cubicBezTo>
                  <a:pt x="681" y="79"/>
                  <a:pt x="681" y="79"/>
                  <a:pt x="681" y="79"/>
                </a:cubicBezTo>
                <a:cubicBezTo>
                  <a:pt x="681" y="79"/>
                  <a:pt x="681" y="79"/>
                  <a:pt x="681" y="79"/>
                </a:cubicBezTo>
                <a:cubicBezTo>
                  <a:pt x="680" y="79"/>
                  <a:pt x="680" y="79"/>
                  <a:pt x="680" y="79"/>
                </a:cubicBezTo>
                <a:cubicBezTo>
                  <a:pt x="680" y="80"/>
                  <a:pt x="680" y="80"/>
                  <a:pt x="680" y="80"/>
                </a:cubicBezTo>
                <a:cubicBezTo>
                  <a:pt x="680" y="82"/>
                  <a:pt x="680" y="82"/>
                  <a:pt x="680" y="82"/>
                </a:cubicBezTo>
                <a:cubicBezTo>
                  <a:pt x="680" y="83"/>
                  <a:pt x="680" y="83"/>
                  <a:pt x="680" y="83"/>
                </a:cubicBezTo>
                <a:cubicBezTo>
                  <a:pt x="681" y="83"/>
                  <a:pt x="681" y="83"/>
                  <a:pt x="681" y="83"/>
                </a:cubicBezTo>
                <a:cubicBezTo>
                  <a:pt x="683" y="83"/>
                  <a:pt x="683" y="83"/>
                  <a:pt x="683" y="83"/>
                </a:cubicBezTo>
                <a:cubicBezTo>
                  <a:pt x="684" y="84"/>
                  <a:pt x="684" y="84"/>
                  <a:pt x="684" y="84"/>
                </a:cubicBezTo>
                <a:close/>
                <a:moveTo>
                  <a:pt x="692" y="81"/>
                </a:moveTo>
                <a:cubicBezTo>
                  <a:pt x="693" y="80"/>
                  <a:pt x="693" y="80"/>
                  <a:pt x="693" y="80"/>
                </a:cubicBezTo>
                <a:cubicBezTo>
                  <a:pt x="693" y="80"/>
                  <a:pt x="693" y="80"/>
                  <a:pt x="693" y="80"/>
                </a:cubicBezTo>
                <a:cubicBezTo>
                  <a:pt x="692" y="80"/>
                  <a:pt x="692" y="80"/>
                  <a:pt x="692" y="80"/>
                </a:cubicBezTo>
                <a:cubicBezTo>
                  <a:pt x="692" y="80"/>
                  <a:pt x="692" y="80"/>
                  <a:pt x="692" y="80"/>
                </a:cubicBezTo>
                <a:cubicBezTo>
                  <a:pt x="692" y="81"/>
                  <a:pt x="692" y="81"/>
                  <a:pt x="692" y="81"/>
                </a:cubicBezTo>
                <a:close/>
                <a:moveTo>
                  <a:pt x="701" y="418"/>
                </a:moveTo>
                <a:cubicBezTo>
                  <a:pt x="701" y="417"/>
                  <a:pt x="701" y="417"/>
                  <a:pt x="701" y="417"/>
                </a:cubicBezTo>
                <a:cubicBezTo>
                  <a:pt x="701" y="415"/>
                  <a:pt x="701" y="415"/>
                  <a:pt x="701" y="415"/>
                </a:cubicBezTo>
                <a:cubicBezTo>
                  <a:pt x="700" y="414"/>
                  <a:pt x="700" y="414"/>
                  <a:pt x="700" y="414"/>
                </a:cubicBezTo>
                <a:cubicBezTo>
                  <a:pt x="700" y="413"/>
                  <a:pt x="700" y="413"/>
                  <a:pt x="700" y="413"/>
                </a:cubicBezTo>
                <a:cubicBezTo>
                  <a:pt x="700" y="411"/>
                  <a:pt x="700" y="411"/>
                  <a:pt x="700" y="411"/>
                </a:cubicBezTo>
                <a:cubicBezTo>
                  <a:pt x="701" y="410"/>
                  <a:pt x="701" y="410"/>
                  <a:pt x="701" y="410"/>
                </a:cubicBezTo>
                <a:cubicBezTo>
                  <a:pt x="702" y="410"/>
                  <a:pt x="702" y="410"/>
                  <a:pt x="702" y="410"/>
                </a:cubicBezTo>
                <a:cubicBezTo>
                  <a:pt x="702" y="411"/>
                  <a:pt x="702" y="411"/>
                  <a:pt x="702" y="411"/>
                </a:cubicBezTo>
                <a:cubicBezTo>
                  <a:pt x="703" y="411"/>
                  <a:pt x="703" y="411"/>
                  <a:pt x="703" y="411"/>
                </a:cubicBezTo>
                <a:cubicBezTo>
                  <a:pt x="705" y="411"/>
                  <a:pt x="705" y="411"/>
                  <a:pt x="705" y="411"/>
                </a:cubicBezTo>
                <a:cubicBezTo>
                  <a:pt x="705" y="410"/>
                  <a:pt x="705" y="410"/>
                  <a:pt x="705" y="410"/>
                </a:cubicBezTo>
                <a:cubicBezTo>
                  <a:pt x="706" y="410"/>
                  <a:pt x="706" y="410"/>
                  <a:pt x="706" y="410"/>
                </a:cubicBezTo>
                <a:cubicBezTo>
                  <a:pt x="706" y="411"/>
                  <a:pt x="706" y="411"/>
                  <a:pt x="706" y="411"/>
                </a:cubicBezTo>
                <a:cubicBezTo>
                  <a:pt x="706" y="411"/>
                  <a:pt x="706" y="411"/>
                  <a:pt x="706" y="411"/>
                </a:cubicBezTo>
                <a:cubicBezTo>
                  <a:pt x="706" y="412"/>
                  <a:pt x="706" y="412"/>
                  <a:pt x="706" y="412"/>
                </a:cubicBezTo>
                <a:cubicBezTo>
                  <a:pt x="707" y="414"/>
                  <a:pt x="707" y="414"/>
                  <a:pt x="707" y="414"/>
                </a:cubicBezTo>
                <a:cubicBezTo>
                  <a:pt x="708" y="415"/>
                  <a:pt x="708" y="415"/>
                  <a:pt x="708" y="415"/>
                </a:cubicBezTo>
                <a:cubicBezTo>
                  <a:pt x="708" y="416"/>
                  <a:pt x="708" y="416"/>
                  <a:pt x="708" y="416"/>
                </a:cubicBezTo>
                <a:cubicBezTo>
                  <a:pt x="708" y="415"/>
                  <a:pt x="708" y="415"/>
                  <a:pt x="708" y="415"/>
                </a:cubicBezTo>
                <a:cubicBezTo>
                  <a:pt x="708" y="414"/>
                  <a:pt x="708" y="414"/>
                  <a:pt x="708" y="414"/>
                </a:cubicBezTo>
                <a:cubicBezTo>
                  <a:pt x="708" y="413"/>
                  <a:pt x="708" y="413"/>
                  <a:pt x="708" y="413"/>
                </a:cubicBezTo>
                <a:cubicBezTo>
                  <a:pt x="708" y="411"/>
                  <a:pt x="708" y="411"/>
                  <a:pt x="708" y="411"/>
                </a:cubicBezTo>
                <a:cubicBezTo>
                  <a:pt x="707" y="410"/>
                  <a:pt x="707" y="410"/>
                  <a:pt x="707" y="410"/>
                </a:cubicBezTo>
                <a:cubicBezTo>
                  <a:pt x="707" y="409"/>
                  <a:pt x="707" y="409"/>
                  <a:pt x="707" y="409"/>
                </a:cubicBezTo>
                <a:cubicBezTo>
                  <a:pt x="706" y="408"/>
                  <a:pt x="706" y="408"/>
                  <a:pt x="706" y="408"/>
                </a:cubicBezTo>
                <a:cubicBezTo>
                  <a:pt x="705" y="408"/>
                  <a:pt x="705" y="408"/>
                  <a:pt x="705" y="408"/>
                </a:cubicBezTo>
                <a:cubicBezTo>
                  <a:pt x="705" y="408"/>
                  <a:pt x="705" y="408"/>
                  <a:pt x="705" y="408"/>
                </a:cubicBezTo>
                <a:cubicBezTo>
                  <a:pt x="703" y="407"/>
                  <a:pt x="703" y="407"/>
                  <a:pt x="703" y="407"/>
                </a:cubicBezTo>
                <a:cubicBezTo>
                  <a:pt x="703" y="405"/>
                  <a:pt x="703" y="405"/>
                  <a:pt x="703" y="405"/>
                </a:cubicBezTo>
                <a:cubicBezTo>
                  <a:pt x="702" y="404"/>
                  <a:pt x="702" y="404"/>
                  <a:pt x="702" y="404"/>
                </a:cubicBezTo>
                <a:cubicBezTo>
                  <a:pt x="700" y="402"/>
                  <a:pt x="700" y="402"/>
                  <a:pt x="700" y="402"/>
                </a:cubicBezTo>
                <a:cubicBezTo>
                  <a:pt x="699" y="402"/>
                  <a:pt x="699" y="402"/>
                  <a:pt x="699" y="402"/>
                </a:cubicBezTo>
                <a:cubicBezTo>
                  <a:pt x="698" y="401"/>
                  <a:pt x="698" y="401"/>
                  <a:pt x="698" y="401"/>
                </a:cubicBezTo>
                <a:cubicBezTo>
                  <a:pt x="698" y="399"/>
                  <a:pt x="698" y="399"/>
                  <a:pt x="698" y="399"/>
                </a:cubicBezTo>
                <a:cubicBezTo>
                  <a:pt x="697" y="397"/>
                  <a:pt x="697" y="397"/>
                  <a:pt x="697" y="397"/>
                </a:cubicBezTo>
                <a:cubicBezTo>
                  <a:pt x="696" y="396"/>
                  <a:pt x="696" y="396"/>
                  <a:pt x="696" y="396"/>
                </a:cubicBezTo>
                <a:cubicBezTo>
                  <a:pt x="696" y="393"/>
                  <a:pt x="696" y="393"/>
                  <a:pt x="696" y="393"/>
                </a:cubicBezTo>
                <a:cubicBezTo>
                  <a:pt x="696" y="391"/>
                  <a:pt x="696" y="391"/>
                  <a:pt x="696" y="391"/>
                </a:cubicBezTo>
                <a:cubicBezTo>
                  <a:pt x="695" y="390"/>
                  <a:pt x="695" y="390"/>
                  <a:pt x="695" y="390"/>
                </a:cubicBezTo>
                <a:cubicBezTo>
                  <a:pt x="696" y="388"/>
                  <a:pt x="696" y="388"/>
                  <a:pt x="696" y="388"/>
                </a:cubicBezTo>
                <a:cubicBezTo>
                  <a:pt x="696" y="386"/>
                  <a:pt x="696" y="386"/>
                  <a:pt x="696" y="386"/>
                </a:cubicBezTo>
                <a:cubicBezTo>
                  <a:pt x="695" y="385"/>
                  <a:pt x="695" y="385"/>
                  <a:pt x="695" y="385"/>
                </a:cubicBezTo>
                <a:cubicBezTo>
                  <a:pt x="695" y="384"/>
                  <a:pt x="695" y="384"/>
                  <a:pt x="695" y="384"/>
                </a:cubicBezTo>
                <a:cubicBezTo>
                  <a:pt x="695" y="383"/>
                  <a:pt x="695" y="383"/>
                  <a:pt x="695" y="383"/>
                </a:cubicBezTo>
                <a:cubicBezTo>
                  <a:pt x="695" y="382"/>
                  <a:pt x="695" y="382"/>
                  <a:pt x="695" y="382"/>
                </a:cubicBezTo>
                <a:cubicBezTo>
                  <a:pt x="696" y="382"/>
                  <a:pt x="696" y="382"/>
                  <a:pt x="696" y="382"/>
                </a:cubicBezTo>
                <a:cubicBezTo>
                  <a:pt x="697" y="382"/>
                  <a:pt x="697" y="382"/>
                  <a:pt x="697" y="382"/>
                </a:cubicBezTo>
                <a:cubicBezTo>
                  <a:pt x="698" y="382"/>
                  <a:pt x="698" y="382"/>
                  <a:pt x="698" y="382"/>
                </a:cubicBezTo>
                <a:cubicBezTo>
                  <a:pt x="700" y="382"/>
                  <a:pt x="700" y="382"/>
                  <a:pt x="700" y="382"/>
                </a:cubicBezTo>
                <a:cubicBezTo>
                  <a:pt x="701" y="383"/>
                  <a:pt x="701" y="383"/>
                  <a:pt x="701" y="383"/>
                </a:cubicBezTo>
                <a:cubicBezTo>
                  <a:pt x="702" y="385"/>
                  <a:pt x="702" y="385"/>
                  <a:pt x="702" y="385"/>
                </a:cubicBezTo>
                <a:cubicBezTo>
                  <a:pt x="703" y="385"/>
                  <a:pt x="703" y="385"/>
                  <a:pt x="703" y="385"/>
                </a:cubicBezTo>
                <a:cubicBezTo>
                  <a:pt x="704" y="386"/>
                  <a:pt x="704" y="386"/>
                  <a:pt x="704" y="386"/>
                </a:cubicBezTo>
                <a:cubicBezTo>
                  <a:pt x="706" y="388"/>
                  <a:pt x="706" y="388"/>
                  <a:pt x="706" y="388"/>
                </a:cubicBezTo>
                <a:cubicBezTo>
                  <a:pt x="706" y="388"/>
                  <a:pt x="706" y="388"/>
                  <a:pt x="706" y="388"/>
                </a:cubicBezTo>
                <a:cubicBezTo>
                  <a:pt x="706" y="387"/>
                  <a:pt x="706" y="387"/>
                  <a:pt x="706" y="387"/>
                </a:cubicBezTo>
                <a:cubicBezTo>
                  <a:pt x="704" y="385"/>
                  <a:pt x="704" y="385"/>
                  <a:pt x="704" y="385"/>
                </a:cubicBezTo>
                <a:cubicBezTo>
                  <a:pt x="703" y="384"/>
                  <a:pt x="703" y="384"/>
                  <a:pt x="703" y="384"/>
                </a:cubicBezTo>
                <a:cubicBezTo>
                  <a:pt x="702" y="382"/>
                  <a:pt x="702" y="382"/>
                  <a:pt x="702" y="382"/>
                </a:cubicBezTo>
                <a:cubicBezTo>
                  <a:pt x="700" y="380"/>
                  <a:pt x="700" y="380"/>
                  <a:pt x="700" y="380"/>
                </a:cubicBezTo>
                <a:cubicBezTo>
                  <a:pt x="700" y="380"/>
                  <a:pt x="700" y="380"/>
                  <a:pt x="700" y="380"/>
                </a:cubicBezTo>
                <a:cubicBezTo>
                  <a:pt x="700" y="379"/>
                  <a:pt x="700" y="379"/>
                  <a:pt x="700" y="379"/>
                </a:cubicBezTo>
                <a:cubicBezTo>
                  <a:pt x="699" y="377"/>
                  <a:pt x="699" y="377"/>
                  <a:pt x="699" y="377"/>
                </a:cubicBezTo>
                <a:cubicBezTo>
                  <a:pt x="698" y="375"/>
                  <a:pt x="698" y="375"/>
                  <a:pt x="698" y="375"/>
                </a:cubicBezTo>
                <a:cubicBezTo>
                  <a:pt x="697" y="375"/>
                  <a:pt x="697" y="375"/>
                  <a:pt x="697" y="375"/>
                </a:cubicBezTo>
                <a:cubicBezTo>
                  <a:pt x="697" y="374"/>
                  <a:pt x="697" y="374"/>
                  <a:pt x="697" y="374"/>
                </a:cubicBezTo>
                <a:cubicBezTo>
                  <a:pt x="695" y="371"/>
                  <a:pt x="695" y="371"/>
                  <a:pt x="695" y="371"/>
                </a:cubicBezTo>
                <a:cubicBezTo>
                  <a:pt x="693" y="368"/>
                  <a:pt x="693" y="368"/>
                  <a:pt x="693" y="368"/>
                </a:cubicBezTo>
                <a:cubicBezTo>
                  <a:pt x="693" y="367"/>
                  <a:pt x="693" y="367"/>
                  <a:pt x="693" y="367"/>
                </a:cubicBezTo>
                <a:cubicBezTo>
                  <a:pt x="691" y="364"/>
                  <a:pt x="691" y="364"/>
                  <a:pt x="691" y="364"/>
                </a:cubicBezTo>
                <a:cubicBezTo>
                  <a:pt x="690" y="362"/>
                  <a:pt x="690" y="362"/>
                  <a:pt x="690" y="362"/>
                </a:cubicBezTo>
                <a:cubicBezTo>
                  <a:pt x="689" y="361"/>
                  <a:pt x="689" y="361"/>
                  <a:pt x="689" y="361"/>
                </a:cubicBezTo>
                <a:cubicBezTo>
                  <a:pt x="689" y="360"/>
                  <a:pt x="689" y="360"/>
                  <a:pt x="689" y="360"/>
                </a:cubicBezTo>
                <a:cubicBezTo>
                  <a:pt x="688" y="359"/>
                  <a:pt x="688" y="359"/>
                  <a:pt x="688" y="359"/>
                </a:cubicBezTo>
                <a:cubicBezTo>
                  <a:pt x="687" y="358"/>
                  <a:pt x="687" y="358"/>
                  <a:pt x="687" y="358"/>
                </a:cubicBezTo>
                <a:cubicBezTo>
                  <a:pt x="687" y="359"/>
                  <a:pt x="687" y="359"/>
                  <a:pt x="687" y="359"/>
                </a:cubicBezTo>
                <a:cubicBezTo>
                  <a:pt x="686" y="359"/>
                  <a:pt x="686" y="359"/>
                  <a:pt x="686" y="359"/>
                </a:cubicBezTo>
                <a:cubicBezTo>
                  <a:pt x="686" y="358"/>
                  <a:pt x="686" y="358"/>
                  <a:pt x="686" y="358"/>
                </a:cubicBezTo>
                <a:cubicBezTo>
                  <a:pt x="686" y="357"/>
                  <a:pt x="686" y="357"/>
                  <a:pt x="686" y="357"/>
                </a:cubicBezTo>
                <a:cubicBezTo>
                  <a:pt x="686" y="356"/>
                  <a:pt x="686" y="356"/>
                  <a:pt x="686" y="356"/>
                </a:cubicBezTo>
                <a:cubicBezTo>
                  <a:pt x="685" y="356"/>
                  <a:pt x="685" y="356"/>
                  <a:pt x="685" y="356"/>
                </a:cubicBezTo>
                <a:cubicBezTo>
                  <a:pt x="684" y="354"/>
                  <a:pt x="684" y="354"/>
                  <a:pt x="684" y="354"/>
                </a:cubicBezTo>
                <a:cubicBezTo>
                  <a:pt x="683" y="353"/>
                  <a:pt x="683" y="353"/>
                  <a:pt x="683" y="353"/>
                </a:cubicBezTo>
                <a:cubicBezTo>
                  <a:pt x="682" y="352"/>
                  <a:pt x="682" y="352"/>
                  <a:pt x="682" y="352"/>
                </a:cubicBezTo>
                <a:cubicBezTo>
                  <a:pt x="682" y="350"/>
                  <a:pt x="682" y="350"/>
                  <a:pt x="682" y="350"/>
                </a:cubicBezTo>
                <a:cubicBezTo>
                  <a:pt x="683" y="349"/>
                  <a:pt x="683" y="349"/>
                  <a:pt x="683" y="349"/>
                </a:cubicBezTo>
                <a:cubicBezTo>
                  <a:pt x="683" y="349"/>
                  <a:pt x="683" y="349"/>
                  <a:pt x="683" y="349"/>
                </a:cubicBezTo>
                <a:cubicBezTo>
                  <a:pt x="683" y="348"/>
                  <a:pt x="683" y="348"/>
                  <a:pt x="683" y="348"/>
                </a:cubicBezTo>
                <a:cubicBezTo>
                  <a:pt x="682" y="346"/>
                  <a:pt x="682" y="346"/>
                  <a:pt x="682" y="346"/>
                </a:cubicBezTo>
                <a:cubicBezTo>
                  <a:pt x="682" y="344"/>
                  <a:pt x="682" y="344"/>
                  <a:pt x="682" y="344"/>
                </a:cubicBezTo>
                <a:cubicBezTo>
                  <a:pt x="681" y="344"/>
                  <a:pt x="681" y="344"/>
                  <a:pt x="681" y="344"/>
                </a:cubicBezTo>
                <a:cubicBezTo>
                  <a:pt x="679" y="342"/>
                  <a:pt x="679" y="342"/>
                  <a:pt x="679" y="342"/>
                </a:cubicBezTo>
                <a:cubicBezTo>
                  <a:pt x="679" y="341"/>
                  <a:pt x="679" y="341"/>
                  <a:pt x="679" y="341"/>
                </a:cubicBezTo>
                <a:cubicBezTo>
                  <a:pt x="679" y="341"/>
                  <a:pt x="679" y="341"/>
                  <a:pt x="679" y="341"/>
                </a:cubicBezTo>
                <a:cubicBezTo>
                  <a:pt x="679" y="340"/>
                  <a:pt x="679" y="340"/>
                  <a:pt x="679" y="340"/>
                </a:cubicBezTo>
                <a:cubicBezTo>
                  <a:pt x="679" y="340"/>
                  <a:pt x="679" y="340"/>
                  <a:pt x="679" y="340"/>
                </a:cubicBezTo>
                <a:cubicBezTo>
                  <a:pt x="680" y="341"/>
                  <a:pt x="680" y="341"/>
                  <a:pt x="680" y="341"/>
                </a:cubicBezTo>
                <a:cubicBezTo>
                  <a:pt x="681" y="343"/>
                  <a:pt x="681" y="343"/>
                  <a:pt x="681" y="343"/>
                </a:cubicBezTo>
                <a:cubicBezTo>
                  <a:pt x="681" y="341"/>
                  <a:pt x="681" y="341"/>
                  <a:pt x="681" y="341"/>
                </a:cubicBezTo>
                <a:cubicBezTo>
                  <a:pt x="679" y="339"/>
                  <a:pt x="679" y="339"/>
                  <a:pt x="679" y="339"/>
                </a:cubicBezTo>
                <a:cubicBezTo>
                  <a:pt x="678" y="338"/>
                  <a:pt x="678" y="338"/>
                  <a:pt x="678" y="338"/>
                </a:cubicBezTo>
                <a:cubicBezTo>
                  <a:pt x="677" y="338"/>
                  <a:pt x="677" y="338"/>
                  <a:pt x="677" y="338"/>
                </a:cubicBezTo>
                <a:cubicBezTo>
                  <a:pt x="677" y="336"/>
                  <a:pt x="677" y="336"/>
                  <a:pt x="677" y="336"/>
                </a:cubicBezTo>
                <a:cubicBezTo>
                  <a:pt x="675" y="334"/>
                  <a:pt x="675" y="334"/>
                  <a:pt x="675" y="334"/>
                </a:cubicBezTo>
                <a:cubicBezTo>
                  <a:pt x="674" y="333"/>
                  <a:pt x="674" y="333"/>
                  <a:pt x="674" y="333"/>
                </a:cubicBezTo>
                <a:cubicBezTo>
                  <a:pt x="674" y="331"/>
                  <a:pt x="674" y="331"/>
                  <a:pt x="674" y="331"/>
                </a:cubicBezTo>
                <a:cubicBezTo>
                  <a:pt x="673" y="330"/>
                  <a:pt x="673" y="330"/>
                  <a:pt x="673" y="330"/>
                </a:cubicBezTo>
                <a:cubicBezTo>
                  <a:pt x="671" y="329"/>
                  <a:pt x="671" y="329"/>
                  <a:pt x="671" y="329"/>
                </a:cubicBezTo>
                <a:cubicBezTo>
                  <a:pt x="670" y="328"/>
                  <a:pt x="670" y="328"/>
                  <a:pt x="670" y="328"/>
                </a:cubicBezTo>
                <a:cubicBezTo>
                  <a:pt x="670" y="327"/>
                  <a:pt x="670" y="327"/>
                  <a:pt x="670" y="327"/>
                </a:cubicBezTo>
                <a:cubicBezTo>
                  <a:pt x="669" y="328"/>
                  <a:pt x="669" y="328"/>
                  <a:pt x="669" y="328"/>
                </a:cubicBezTo>
                <a:cubicBezTo>
                  <a:pt x="670" y="328"/>
                  <a:pt x="670" y="328"/>
                  <a:pt x="670" y="328"/>
                </a:cubicBezTo>
                <a:cubicBezTo>
                  <a:pt x="670" y="329"/>
                  <a:pt x="670" y="329"/>
                  <a:pt x="670" y="329"/>
                </a:cubicBezTo>
                <a:cubicBezTo>
                  <a:pt x="669" y="329"/>
                  <a:pt x="669" y="329"/>
                  <a:pt x="669" y="329"/>
                </a:cubicBezTo>
                <a:cubicBezTo>
                  <a:pt x="668" y="329"/>
                  <a:pt x="668" y="329"/>
                  <a:pt x="668" y="329"/>
                </a:cubicBezTo>
                <a:cubicBezTo>
                  <a:pt x="667" y="329"/>
                  <a:pt x="667" y="329"/>
                  <a:pt x="667" y="329"/>
                </a:cubicBezTo>
                <a:cubicBezTo>
                  <a:pt x="669" y="331"/>
                  <a:pt x="669" y="331"/>
                  <a:pt x="669" y="331"/>
                </a:cubicBezTo>
                <a:cubicBezTo>
                  <a:pt x="671" y="332"/>
                  <a:pt x="671" y="332"/>
                  <a:pt x="671" y="332"/>
                </a:cubicBezTo>
                <a:cubicBezTo>
                  <a:pt x="672" y="333"/>
                  <a:pt x="672" y="333"/>
                  <a:pt x="672" y="333"/>
                </a:cubicBezTo>
                <a:cubicBezTo>
                  <a:pt x="671" y="334"/>
                  <a:pt x="671" y="334"/>
                  <a:pt x="671" y="334"/>
                </a:cubicBezTo>
                <a:cubicBezTo>
                  <a:pt x="672" y="334"/>
                  <a:pt x="672" y="334"/>
                  <a:pt x="672" y="334"/>
                </a:cubicBezTo>
                <a:cubicBezTo>
                  <a:pt x="673" y="334"/>
                  <a:pt x="673" y="334"/>
                  <a:pt x="673" y="334"/>
                </a:cubicBezTo>
                <a:cubicBezTo>
                  <a:pt x="673" y="335"/>
                  <a:pt x="673" y="335"/>
                  <a:pt x="673" y="335"/>
                </a:cubicBezTo>
                <a:cubicBezTo>
                  <a:pt x="673" y="335"/>
                  <a:pt x="673" y="335"/>
                  <a:pt x="673" y="335"/>
                </a:cubicBezTo>
                <a:cubicBezTo>
                  <a:pt x="672" y="335"/>
                  <a:pt x="672" y="335"/>
                  <a:pt x="672" y="335"/>
                </a:cubicBezTo>
                <a:cubicBezTo>
                  <a:pt x="672" y="336"/>
                  <a:pt x="672" y="336"/>
                  <a:pt x="672" y="336"/>
                </a:cubicBezTo>
                <a:cubicBezTo>
                  <a:pt x="673" y="336"/>
                  <a:pt x="673" y="336"/>
                  <a:pt x="673" y="336"/>
                </a:cubicBezTo>
                <a:cubicBezTo>
                  <a:pt x="673" y="338"/>
                  <a:pt x="673" y="338"/>
                  <a:pt x="673" y="338"/>
                </a:cubicBezTo>
                <a:cubicBezTo>
                  <a:pt x="672" y="338"/>
                  <a:pt x="672" y="338"/>
                  <a:pt x="672" y="338"/>
                </a:cubicBezTo>
                <a:cubicBezTo>
                  <a:pt x="671" y="338"/>
                  <a:pt x="671" y="338"/>
                  <a:pt x="671" y="338"/>
                </a:cubicBezTo>
                <a:cubicBezTo>
                  <a:pt x="671" y="337"/>
                  <a:pt x="671" y="337"/>
                  <a:pt x="671" y="337"/>
                </a:cubicBezTo>
                <a:cubicBezTo>
                  <a:pt x="670" y="338"/>
                  <a:pt x="670" y="338"/>
                  <a:pt x="670" y="338"/>
                </a:cubicBezTo>
                <a:cubicBezTo>
                  <a:pt x="669" y="339"/>
                  <a:pt x="669" y="339"/>
                  <a:pt x="669" y="339"/>
                </a:cubicBezTo>
                <a:cubicBezTo>
                  <a:pt x="670" y="341"/>
                  <a:pt x="670" y="341"/>
                  <a:pt x="670" y="341"/>
                </a:cubicBezTo>
                <a:cubicBezTo>
                  <a:pt x="671" y="342"/>
                  <a:pt x="671" y="342"/>
                  <a:pt x="671" y="342"/>
                </a:cubicBezTo>
                <a:cubicBezTo>
                  <a:pt x="672" y="344"/>
                  <a:pt x="672" y="344"/>
                  <a:pt x="672" y="344"/>
                </a:cubicBezTo>
                <a:cubicBezTo>
                  <a:pt x="673" y="346"/>
                  <a:pt x="673" y="346"/>
                  <a:pt x="673" y="346"/>
                </a:cubicBezTo>
                <a:cubicBezTo>
                  <a:pt x="673" y="348"/>
                  <a:pt x="673" y="348"/>
                  <a:pt x="673" y="348"/>
                </a:cubicBezTo>
                <a:cubicBezTo>
                  <a:pt x="673" y="349"/>
                  <a:pt x="673" y="349"/>
                  <a:pt x="673" y="349"/>
                </a:cubicBezTo>
                <a:cubicBezTo>
                  <a:pt x="674" y="351"/>
                  <a:pt x="674" y="351"/>
                  <a:pt x="674" y="351"/>
                </a:cubicBezTo>
                <a:cubicBezTo>
                  <a:pt x="675" y="354"/>
                  <a:pt x="675" y="354"/>
                  <a:pt x="675" y="354"/>
                </a:cubicBezTo>
                <a:cubicBezTo>
                  <a:pt x="676" y="356"/>
                  <a:pt x="676" y="356"/>
                  <a:pt x="676" y="356"/>
                </a:cubicBezTo>
                <a:cubicBezTo>
                  <a:pt x="677" y="357"/>
                  <a:pt x="677" y="357"/>
                  <a:pt x="677" y="357"/>
                </a:cubicBezTo>
                <a:cubicBezTo>
                  <a:pt x="677" y="357"/>
                  <a:pt x="677" y="357"/>
                  <a:pt x="677" y="357"/>
                </a:cubicBezTo>
                <a:cubicBezTo>
                  <a:pt x="676" y="358"/>
                  <a:pt x="676" y="358"/>
                  <a:pt x="676" y="358"/>
                </a:cubicBezTo>
                <a:cubicBezTo>
                  <a:pt x="680" y="361"/>
                  <a:pt x="680" y="361"/>
                  <a:pt x="680" y="361"/>
                </a:cubicBezTo>
                <a:cubicBezTo>
                  <a:pt x="681" y="361"/>
                  <a:pt x="681" y="361"/>
                  <a:pt x="681" y="361"/>
                </a:cubicBezTo>
                <a:cubicBezTo>
                  <a:pt x="682" y="363"/>
                  <a:pt x="682" y="363"/>
                  <a:pt x="682" y="363"/>
                </a:cubicBezTo>
                <a:cubicBezTo>
                  <a:pt x="682" y="365"/>
                  <a:pt x="682" y="365"/>
                  <a:pt x="682" y="365"/>
                </a:cubicBezTo>
                <a:cubicBezTo>
                  <a:pt x="682" y="367"/>
                  <a:pt x="682" y="367"/>
                  <a:pt x="682" y="367"/>
                </a:cubicBezTo>
                <a:cubicBezTo>
                  <a:pt x="683" y="369"/>
                  <a:pt x="683" y="369"/>
                  <a:pt x="683" y="369"/>
                </a:cubicBezTo>
                <a:cubicBezTo>
                  <a:pt x="683" y="370"/>
                  <a:pt x="683" y="370"/>
                  <a:pt x="683" y="370"/>
                </a:cubicBezTo>
                <a:cubicBezTo>
                  <a:pt x="684" y="371"/>
                  <a:pt x="684" y="371"/>
                  <a:pt x="684" y="371"/>
                </a:cubicBezTo>
                <a:cubicBezTo>
                  <a:pt x="686" y="372"/>
                  <a:pt x="686" y="372"/>
                  <a:pt x="686" y="372"/>
                </a:cubicBezTo>
                <a:cubicBezTo>
                  <a:pt x="685" y="372"/>
                  <a:pt x="685" y="372"/>
                  <a:pt x="685" y="372"/>
                </a:cubicBezTo>
                <a:cubicBezTo>
                  <a:pt x="685" y="373"/>
                  <a:pt x="685" y="373"/>
                  <a:pt x="685" y="373"/>
                </a:cubicBezTo>
                <a:cubicBezTo>
                  <a:pt x="687" y="375"/>
                  <a:pt x="687" y="375"/>
                  <a:pt x="687" y="375"/>
                </a:cubicBezTo>
                <a:cubicBezTo>
                  <a:pt x="687" y="377"/>
                  <a:pt x="687" y="377"/>
                  <a:pt x="687" y="377"/>
                </a:cubicBezTo>
                <a:cubicBezTo>
                  <a:pt x="688" y="378"/>
                  <a:pt x="688" y="378"/>
                  <a:pt x="688" y="378"/>
                </a:cubicBezTo>
                <a:cubicBezTo>
                  <a:pt x="688" y="381"/>
                  <a:pt x="688" y="381"/>
                  <a:pt x="688" y="381"/>
                </a:cubicBezTo>
                <a:cubicBezTo>
                  <a:pt x="688" y="382"/>
                  <a:pt x="688" y="382"/>
                  <a:pt x="688" y="382"/>
                </a:cubicBezTo>
                <a:cubicBezTo>
                  <a:pt x="688" y="383"/>
                  <a:pt x="688" y="383"/>
                  <a:pt x="688" y="383"/>
                </a:cubicBezTo>
                <a:cubicBezTo>
                  <a:pt x="688" y="385"/>
                  <a:pt x="688" y="385"/>
                  <a:pt x="688" y="385"/>
                </a:cubicBezTo>
                <a:cubicBezTo>
                  <a:pt x="689" y="387"/>
                  <a:pt x="689" y="387"/>
                  <a:pt x="689" y="387"/>
                </a:cubicBezTo>
                <a:cubicBezTo>
                  <a:pt x="689" y="388"/>
                  <a:pt x="689" y="388"/>
                  <a:pt x="689" y="388"/>
                </a:cubicBezTo>
                <a:cubicBezTo>
                  <a:pt x="689" y="390"/>
                  <a:pt x="689" y="390"/>
                  <a:pt x="689" y="390"/>
                </a:cubicBezTo>
                <a:cubicBezTo>
                  <a:pt x="690" y="391"/>
                  <a:pt x="690" y="391"/>
                  <a:pt x="690" y="391"/>
                </a:cubicBezTo>
                <a:cubicBezTo>
                  <a:pt x="693" y="394"/>
                  <a:pt x="693" y="394"/>
                  <a:pt x="693" y="394"/>
                </a:cubicBezTo>
                <a:cubicBezTo>
                  <a:pt x="693" y="395"/>
                  <a:pt x="693" y="395"/>
                  <a:pt x="693" y="395"/>
                </a:cubicBezTo>
                <a:cubicBezTo>
                  <a:pt x="694" y="397"/>
                  <a:pt x="694" y="397"/>
                  <a:pt x="694" y="397"/>
                </a:cubicBezTo>
                <a:cubicBezTo>
                  <a:pt x="694" y="399"/>
                  <a:pt x="694" y="399"/>
                  <a:pt x="694" y="399"/>
                </a:cubicBezTo>
                <a:cubicBezTo>
                  <a:pt x="694" y="402"/>
                  <a:pt x="694" y="402"/>
                  <a:pt x="694" y="402"/>
                </a:cubicBezTo>
                <a:cubicBezTo>
                  <a:pt x="695" y="404"/>
                  <a:pt x="695" y="404"/>
                  <a:pt x="695" y="404"/>
                </a:cubicBezTo>
                <a:cubicBezTo>
                  <a:pt x="695" y="405"/>
                  <a:pt x="695" y="405"/>
                  <a:pt x="695" y="405"/>
                </a:cubicBezTo>
                <a:cubicBezTo>
                  <a:pt x="697" y="407"/>
                  <a:pt x="697" y="407"/>
                  <a:pt x="697" y="407"/>
                </a:cubicBezTo>
                <a:cubicBezTo>
                  <a:pt x="697" y="408"/>
                  <a:pt x="697" y="408"/>
                  <a:pt x="697" y="408"/>
                </a:cubicBezTo>
                <a:cubicBezTo>
                  <a:pt x="697" y="410"/>
                  <a:pt x="697" y="410"/>
                  <a:pt x="697" y="410"/>
                </a:cubicBezTo>
                <a:cubicBezTo>
                  <a:pt x="697" y="413"/>
                  <a:pt x="697" y="413"/>
                  <a:pt x="697" y="413"/>
                </a:cubicBezTo>
                <a:cubicBezTo>
                  <a:pt x="697" y="414"/>
                  <a:pt x="697" y="414"/>
                  <a:pt x="697" y="414"/>
                </a:cubicBezTo>
                <a:cubicBezTo>
                  <a:pt x="698" y="415"/>
                  <a:pt x="698" y="415"/>
                  <a:pt x="698" y="415"/>
                </a:cubicBezTo>
                <a:cubicBezTo>
                  <a:pt x="699" y="417"/>
                  <a:pt x="699" y="417"/>
                  <a:pt x="699" y="417"/>
                </a:cubicBezTo>
                <a:cubicBezTo>
                  <a:pt x="701" y="418"/>
                  <a:pt x="701" y="418"/>
                  <a:pt x="701" y="418"/>
                </a:cubicBezTo>
                <a:close/>
                <a:moveTo>
                  <a:pt x="637" y="329"/>
                </a:moveTo>
                <a:cubicBezTo>
                  <a:pt x="637" y="329"/>
                  <a:pt x="637" y="329"/>
                  <a:pt x="637" y="329"/>
                </a:cubicBezTo>
                <a:cubicBezTo>
                  <a:pt x="637" y="328"/>
                  <a:pt x="637" y="328"/>
                  <a:pt x="637" y="328"/>
                </a:cubicBezTo>
                <a:cubicBezTo>
                  <a:pt x="638" y="328"/>
                  <a:pt x="638" y="328"/>
                  <a:pt x="638" y="328"/>
                </a:cubicBezTo>
                <a:cubicBezTo>
                  <a:pt x="638" y="328"/>
                  <a:pt x="638" y="328"/>
                  <a:pt x="638" y="328"/>
                </a:cubicBezTo>
                <a:cubicBezTo>
                  <a:pt x="639" y="329"/>
                  <a:pt x="639" y="329"/>
                  <a:pt x="639" y="329"/>
                </a:cubicBezTo>
                <a:cubicBezTo>
                  <a:pt x="640" y="329"/>
                  <a:pt x="640" y="329"/>
                  <a:pt x="640" y="329"/>
                </a:cubicBezTo>
                <a:cubicBezTo>
                  <a:pt x="641" y="329"/>
                  <a:pt x="641" y="329"/>
                  <a:pt x="641" y="329"/>
                </a:cubicBezTo>
                <a:cubicBezTo>
                  <a:pt x="641" y="328"/>
                  <a:pt x="641" y="328"/>
                  <a:pt x="641" y="328"/>
                </a:cubicBezTo>
                <a:cubicBezTo>
                  <a:pt x="641" y="327"/>
                  <a:pt x="641" y="327"/>
                  <a:pt x="641" y="327"/>
                </a:cubicBezTo>
                <a:cubicBezTo>
                  <a:pt x="641" y="326"/>
                  <a:pt x="641" y="326"/>
                  <a:pt x="641" y="326"/>
                </a:cubicBezTo>
                <a:cubicBezTo>
                  <a:pt x="642" y="326"/>
                  <a:pt x="642" y="326"/>
                  <a:pt x="642" y="326"/>
                </a:cubicBezTo>
                <a:cubicBezTo>
                  <a:pt x="642" y="325"/>
                  <a:pt x="642" y="325"/>
                  <a:pt x="642" y="325"/>
                </a:cubicBezTo>
                <a:cubicBezTo>
                  <a:pt x="641" y="325"/>
                  <a:pt x="641" y="325"/>
                  <a:pt x="641" y="325"/>
                </a:cubicBezTo>
                <a:cubicBezTo>
                  <a:pt x="640" y="326"/>
                  <a:pt x="640" y="326"/>
                  <a:pt x="640" y="326"/>
                </a:cubicBezTo>
                <a:cubicBezTo>
                  <a:pt x="640" y="326"/>
                  <a:pt x="640" y="326"/>
                  <a:pt x="640" y="326"/>
                </a:cubicBezTo>
                <a:cubicBezTo>
                  <a:pt x="640" y="326"/>
                  <a:pt x="640" y="326"/>
                  <a:pt x="640" y="326"/>
                </a:cubicBezTo>
                <a:cubicBezTo>
                  <a:pt x="640" y="325"/>
                  <a:pt x="640" y="325"/>
                  <a:pt x="640" y="325"/>
                </a:cubicBezTo>
                <a:cubicBezTo>
                  <a:pt x="640" y="324"/>
                  <a:pt x="640" y="324"/>
                  <a:pt x="640" y="324"/>
                </a:cubicBezTo>
                <a:cubicBezTo>
                  <a:pt x="640" y="324"/>
                  <a:pt x="640" y="324"/>
                  <a:pt x="640" y="324"/>
                </a:cubicBezTo>
                <a:cubicBezTo>
                  <a:pt x="638" y="324"/>
                  <a:pt x="638" y="324"/>
                  <a:pt x="638" y="324"/>
                </a:cubicBezTo>
                <a:cubicBezTo>
                  <a:pt x="638" y="324"/>
                  <a:pt x="638" y="324"/>
                  <a:pt x="638" y="324"/>
                </a:cubicBezTo>
                <a:cubicBezTo>
                  <a:pt x="637" y="325"/>
                  <a:pt x="637" y="325"/>
                  <a:pt x="637" y="325"/>
                </a:cubicBezTo>
                <a:cubicBezTo>
                  <a:pt x="637" y="326"/>
                  <a:pt x="637" y="326"/>
                  <a:pt x="637" y="326"/>
                </a:cubicBezTo>
                <a:cubicBezTo>
                  <a:pt x="636" y="326"/>
                  <a:pt x="636" y="326"/>
                  <a:pt x="636" y="326"/>
                </a:cubicBezTo>
                <a:cubicBezTo>
                  <a:pt x="636" y="327"/>
                  <a:pt x="636" y="327"/>
                  <a:pt x="636" y="327"/>
                </a:cubicBezTo>
                <a:cubicBezTo>
                  <a:pt x="637" y="329"/>
                  <a:pt x="637" y="329"/>
                  <a:pt x="637" y="329"/>
                </a:cubicBezTo>
                <a:close/>
                <a:moveTo>
                  <a:pt x="633" y="328"/>
                </a:moveTo>
                <a:cubicBezTo>
                  <a:pt x="633" y="328"/>
                  <a:pt x="633" y="328"/>
                  <a:pt x="633" y="328"/>
                </a:cubicBezTo>
                <a:cubicBezTo>
                  <a:pt x="633" y="328"/>
                  <a:pt x="633" y="328"/>
                  <a:pt x="633" y="328"/>
                </a:cubicBezTo>
                <a:cubicBezTo>
                  <a:pt x="634" y="327"/>
                  <a:pt x="634" y="327"/>
                  <a:pt x="634" y="327"/>
                </a:cubicBezTo>
                <a:cubicBezTo>
                  <a:pt x="634" y="328"/>
                  <a:pt x="634" y="328"/>
                  <a:pt x="634" y="328"/>
                </a:cubicBezTo>
                <a:cubicBezTo>
                  <a:pt x="635" y="327"/>
                  <a:pt x="635" y="327"/>
                  <a:pt x="635" y="327"/>
                </a:cubicBezTo>
                <a:cubicBezTo>
                  <a:pt x="634" y="326"/>
                  <a:pt x="634" y="326"/>
                  <a:pt x="634" y="326"/>
                </a:cubicBezTo>
                <a:cubicBezTo>
                  <a:pt x="635" y="326"/>
                  <a:pt x="635" y="326"/>
                  <a:pt x="635" y="326"/>
                </a:cubicBezTo>
                <a:cubicBezTo>
                  <a:pt x="635" y="325"/>
                  <a:pt x="635" y="325"/>
                  <a:pt x="635" y="325"/>
                </a:cubicBezTo>
                <a:cubicBezTo>
                  <a:pt x="634" y="325"/>
                  <a:pt x="634" y="325"/>
                  <a:pt x="634" y="325"/>
                </a:cubicBezTo>
                <a:cubicBezTo>
                  <a:pt x="633" y="326"/>
                  <a:pt x="633" y="326"/>
                  <a:pt x="633" y="326"/>
                </a:cubicBezTo>
                <a:cubicBezTo>
                  <a:pt x="632" y="326"/>
                  <a:pt x="632" y="326"/>
                  <a:pt x="632" y="326"/>
                </a:cubicBezTo>
                <a:cubicBezTo>
                  <a:pt x="632" y="327"/>
                  <a:pt x="632" y="327"/>
                  <a:pt x="632" y="327"/>
                </a:cubicBezTo>
                <a:cubicBezTo>
                  <a:pt x="633" y="328"/>
                  <a:pt x="633" y="328"/>
                  <a:pt x="633" y="328"/>
                </a:cubicBezTo>
                <a:close/>
                <a:moveTo>
                  <a:pt x="641" y="332"/>
                </a:moveTo>
                <a:cubicBezTo>
                  <a:pt x="641" y="333"/>
                  <a:pt x="641" y="333"/>
                  <a:pt x="641" y="333"/>
                </a:cubicBezTo>
                <a:cubicBezTo>
                  <a:pt x="642" y="332"/>
                  <a:pt x="642" y="332"/>
                  <a:pt x="642" y="332"/>
                </a:cubicBezTo>
                <a:cubicBezTo>
                  <a:pt x="642" y="331"/>
                  <a:pt x="642" y="331"/>
                  <a:pt x="642" y="331"/>
                </a:cubicBezTo>
                <a:cubicBezTo>
                  <a:pt x="642" y="331"/>
                  <a:pt x="642" y="331"/>
                  <a:pt x="642" y="331"/>
                </a:cubicBezTo>
                <a:cubicBezTo>
                  <a:pt x="642" y="331"/>
                  <a:pt x="642" y="331"/>
                  <a:pt x="642" y="331"/>
                </a:cubicBezTo>
                <a:cubicBezTo>
                  <a:pt x="642" y="331"/>
                  <a:pt x="642" y="331"/>
                  <a:pt x="642" y="331"/>
                </a:cubicBezTo>
                <a:cubicBezTo>
                  <a:pt x="641" y="332"/>
                  <a:pt x="641" y="332"/>
                  <a:pt x="641" y="332"/>
                </a:cubicBezTo>
                <a:close/>
                <a:moveTo>
                  <a:pt x="640" y="331"/>
                </a:moveTo>
                <a:cubicBezTo>
                  <a:pt x="640" y="332"/>
                  <a:pt x="640" y="332"/>
                  <a:pt x="640" y="332"/>
                </a:cubicBezTo>
                <a:cubicBezTo>
                  <a:pt x="640" y="332"/>
                  <a:pt x="640" y="332"/>
                  <a:pt x="640" y="332"/>
                </a:cubicBezTo>
                <a:cubicBezTo>
                  <a:pt x="641" y="332"/>
                  <a:pt x="641" y="332"/>
                  <a:pt x="641" y="332"/>
                </a:cubicBezTo>
                <a:cubicBezTo>
                  <a:pt x="641" y="331"/>
                  <a:pt x="641" y="331"/>
                  <a:pt x="641" y="331"/>
                </a:cubicBezTo>
                <a:cubicBezTo>
                  <a:pt x="640" y="330"/>
                  <a:pt x="640" y="330"/>
                  <a:pt x="640" y="330"/>
                </a:cubicBezTo>
                <a:cubicBezTo>
                  <a:pt x="640" y="331"/>
                  <a:pt x="640" y="331"/>
                  <a:pt x="640" y="331"/>
                </a:cubicBezTo>
                <a:close/>
                <a:moveTo>
                  <a:pt x="640" y="337"/>
                </a:moveTo>
                <a:cubicBezTo>
                  <a:pt x="641" y="335"/>
                  <a:pt x="641" y="335"/>
                  <a:pt x="641" y="335"/>
                </a:cubicBezTo>
                <a:cubicBezTo>
                  <a:pt x="642" y="335"/>
                  <a:pt x="642" y="335"/>
                  <a:pt x="642" y="335"/>
                </a:cubicBezTo>
                <a:cubicBezTo>
                  <a:pt x="642" y="334"/>
                  <a:pt x="642" y="334"/>
                  <a:pt x="642" y="334"/>
                </a:cubicBezTo>
                <a:cubicBezTo>
                  <a:pt x="642" y="334"/>
                  <a:pt x="642" y="334"/>
                  <a:pt x="642" y="334"/>
                </a:cubicBezTo>
                <a:cubicBezTo>
                  <a:pt x="642" y="333"/>
                  <a:pt x="642" y="333"/>
                  <a:pt x="642" y="333"/>
                </a:cubicBezTo>
                <a:cubicBezTo>
                  <a:pt x="640" y="334"/>
                  <a:pt x="640" y="334"/>
                  <a:pt x="640" y="334"/>
                </a:cubicBezTo>
                <a:cubicBezTo>
                  <a:pt x="639" y="335"/>
                  <a:pt x="639" y="335"/>
                  <a:pt x="639" y="335"/>
                </a:cubicBezTo>
                <a:cubicBezTo>
                  <a:pt x="639" y="336"/>
                  <a:pt x="639" y="336"/>
                  <a:pt x="639" y="336"/>
                </a:cubicBezTo>
                <a:cubicBezTo>
                  <a:pt x="640" y="337"/>
                  <a:pt x="640" y="337"/>
                  <a:pt x="640" y="337"/>
                </a:cubicBezTo>
                <a:close/>
                <a:moveTo>
                  <a:pt x="688" y="263"/>
                </a:moveTo>
                <a:cubicBezTo>
                  <a:pt x="689" y="263"/>
                  <a:pt x="689" y="263"/>
                  <a:pt x="689" y="263"/>
                </a:cubicBezTo>
                <a:cubicBezTo>
                  <a:pt x="690" y="262"/>
                  <a:pt x="690" y="262"/>
                  <a:pt x="690" y="262"/>
                </a:cubicBezTo>
                <a:cubicBezTo>
                  <a:pt x="690" y="261"/>
                  <a:pt x="690" y="261"/>
                  <a:pt x="690" y="261"/>
                </a:cubicBezTo>
                <a:cubicBezTo>
                  <a:pt x="689" y="261"/>
                  <a:pt x="689" y="261"/>
                  <a:pt x="689" y="261"/>
                </a:cubicBezTo>
                <a:cubicBezTo>
                  <a:pt x="688" y="262"/>
                  <a:pt x="688" y="262"/>
                  <a:pt x="688" y="262"/>
                </a:cubicBezTo>
                <a:cubicBezTo>
                  <a:pt x="688" y="263"/>
                  <a:pt x="688" y="263"/>
                  <a:pt x="688" y="263"/>
                </a:cubicBezTo>
                <a:close/>
                <a:moveTo>
                  <a:pt x="765" y="255"/>
                </a:moveTo>
                <a:cubicBezTo>
                  <a:pt x="766" y="255"/>
                  <a:pt x="766" y="255"/>
                  <a:pt x="766" y="255"/>
                </a:cubicBezTo>
                <a:cubicBezTo>
                  <a:pt x="765" y="254"/>
                  <a:pt x="765" y="254"/>
                  <a:pt x="765" y="254"/>
                </a:cubicBezTo>
                <a:cubicBezTo>
                  <a:pt x="765" y="253"/>
                  <a:pt x="765" y="253"/>
                  <a:pt x="765" y="253"/>
                </a:cubicBezTo>
                <a:cubicBezTo>
                  <a:pt x="765" y="252"/>
                  <a:pt x="765" y="252"/>
                  <a:pt x="765" y="252"/>
                </a:cubicBezTo>
                <a:cubicBezTo>
                  <a:pt x="765" y="251"/>
                  <a:pt x="765" y="251"/>
                  <a:pt x="765" y="251"/>
                </a:cubicBezTo>
                <a:cubicBezTo>
                  <a:pt x="766" y="250"/>
                  <a:pt x="766" y="250"/>
                  <a:pt x="766" y="250"/>
                </a:cubicBezTo>
                <a:cubicBezTo>
                  <a:pt x="767" y="249"/>
                  <a:pt x="767" y="249"/>
                  <a:pt x="767" y="249"/>
                </a:cubicBezTo>
                <a:cubicBezTo>
                  <a:pt x="768" y="248"/>
                  <a:pt x="768" y="248"/>
                  <a:pt x="768" y="248"/>
                </a:cubicBezTo>
                <a:cubicBezTo>
                  <a:pt x="769" y="247"/>
                  <a:pt x="769" y="247"/>
                  <a:pt x="769" y="247"/>
                </a:cubicBezTo>
                <a:cubicBezTo>
                  <a:pt x="769" y="246"/>
                  <a:pt x="769" y="246"/>
                  <a:pt x="769" y="246"/>
                </a:cubicBezTo>
                <a:cubicBezTo>
                  <a:pt x="768" y="244"/>
                  <a:pt x="768" y="244"/>
                  <a:pt x="768" y="244"/>
                </a:cubicBezTo>
                <a:cubicBezTo>
                  <a:pt x="766" y="243"/>
                  <a:pt x="766" y="243"/>
                  <a:pt x="766" y="243"/>
                </a:cubicBezTo>
                <a:cubicBezTo>
                  <a:pt x="766" y="242"/>
                  <a:pt x="766" y="242"/>
                  <a:pt x="766" y="242"/>
                </a:cubicBezTo>
                <a:cubicBezTo>
                  <a:pt x="765" y="243"/>
                  <a:pt x="765" y="243"/>
                  <a:pt x="765" y="243"/>
                </a:cubicBezTo>
                <a:cubicBezTo>
                  <a:pt x="765" y="244"/>
                  <a:pt x="765" y="244"/>
                  <a:pt x="765" y="244"/>
                </a:cubicBezTo>
                <a:cubicBezTo>
                  <a:pt x="764" y="244"/>
                  <a:pt x="764" y="244"/>
                  <a:pt x="764" y="244"/>
                </a:cubicBezTo>
                <a:cubicBezTo>
                  <a:pt x="763" y="246"/>
                  <a:pt x="763" y="246"/>
                  <a:pt x="763" y="246"/>
                </a:cubicBezTo>
                <a:cubicBezTo>
                  <a:pt x="762" y="246"/>
                  <a:pt x="762" y="246"/>
                  <a:pt x="762" y="246"/>
                </a:cubicBezTo>
                <a:cubicBezTo>
                  <a:pt x="762" y="247"/>
                  <a:pt x="762" y="247"/>
                  <a:pt x="762" y="247"/>
                </a:cubicBezTo>
                <a:cubicBezTo>
                  <a:pt x="762" y="247"/>
                  <a:pt x="762" y="247"/>
                  <a:pt x="762" y="247"/>
                </a:cubicBezTo>
                <a:cubicBezTo>
                  <a:pt x="763" y="247"/>
                  <a:pt x="763" y="247"/>
                  <a:pt x="763" y="247"/>
                </a:cubicBezTo>
                <a:cubicBezTo>
                  <a:pt x="764" y="247"/>
                  <a:pt x="764" y="247"/>
                  <a:pt x="764" y="247"/>
                </a:cubicBezTo>
                <a:cubicBezTo>
                  <a:pt x="763" y="248"/>
                  <a:pt x="763" y="248"/>
                  <a:pt x="763" y="248"/>
                </a:cubicBezTo>
                <a:cubicBezTo>
                  <a:pt x="764" y="250"/>
                  <a:pt x="764" y="250"/>
                  <a:pt x="764" y="250"/>
                </a:cubicBezTo>
                <a:cubicBezTo>
                  <a:pt x="764" y="251"/>
                  <a:pt x="764" y="251"/>
                  <a:pt x="764" y="251"/>
                </a:cubicBezTo>
                <a:cubicBezTo>
                  <a:pt x="764" y="252"/>
                  <a:pt x="764" y="252"/>
                  <a:pt x="764" y="252"/>
                </a:cubicBezTo>
                <a:cubicBezTo>
                  <a:pt x="764" y="253"/>
                  <a:pt x="764" y="253"/>
                  <a:pt x="764" y="253"/>
                </a:cubicBezTo>
                <a:cubicBezTo>
                  <a:pt x="764" y="254"/>
                  <a:pt x="764" y="254"/>
                  <a:pt x="764" y="254"/>
                </a:cubicBezTo>
                <a:cubicBezTo>
                  <a:pt x="765" y="255"/>
                  <a:pt x="765" y="255"/>
                  <a:pt x="765" y="255"/>
                </a:cubicBezTo>
                <a:close/>
                <a:moveTo>
                  <a:pt x="810" y="295"/>
                </a:moveTo>
                <a:cubicBezTo>
                  <a:pt x="811" y="296"/>
                  <a:pt x="811" y="296"/>
                  <a:pt x="811" y="296"/>
                </a:cubicBezTo>
                <a:cubicBezTo>
                  <a:pt x="812" y="296"/>
                  <a:pt x="812" y="296"/>
                  <a:pt x="812" y="296"/>
                </a:cubicBezTo>
                <a:cubicBezTo>
                  <a:pt x="814" y="297"/>
                  <a:pt x="814" y="297"/>
                  <a:pt x="814" y="297"/>
                </a:cubicBezTo>
                <a:cubicBezTo>
                  <a:pt x="815" y="298"/>
                  <a:pt x="815" y="298"/>
                  <a:pt x="815" y="298"/>
                </a:cubicBezTo>
                <a:cubicBezTo>
                  <a:pt x="816" y="298"/>
                  <a:pt x="816" y="298"/>
                  <a:pt x="816" y="298"/>
                </a:cubicBezTo>
                <a:cubicBezTo>
                  <a:pt x="818" y="298"/>
                  <a:pt x="818" y="298"/>
                  <a:pt x="818" y="298"/>
                </a:cubicBezTo>
                <a:cubicBezTo>
                  <a:pt x="817" y="297"/>
                  <a:pt x="817" y="297"/>
                  <a:pt x="817" y="297"/>
                </a:cubicBezTo>
                <a:cubicBezTo>
                  <a:pt x="815" y="297"/>
                  <a:pt x="815" y="297"/>
                  <a:pt x="815" y="297"/>
                </a:cubicBezTo>
                <a:cubicBezTo>
                  <a:pt x="815" y="296"/>
                  <a:pt x="815" y="296"/>
                  <a:pt x="815" y="296"/>
                </a:cubicBezTo>
                <a:cubicBezTo>
                  <a:pt x="813" y="296"/>
                  <a:pt x="813" y="296"/>
                  <a:pt x="813" y="296"/>
                </a:cubicBezTo>
                <a:cubicBezTo>
                  <a:pt x="812" y="295"/>
                  <a:pt x="812" y="295"/>
                  <a:pt x="812" y="295"/>
                </a:cubicBezTo>
                <a:cubicBezTo>
                  <a:pt x="811" y="294"/>
                  <a:pt x="811" y="294"/>
                  <a:pt x="811" y="294"/>
                </a:cubicBezTo>
                <a:cubicBezTo>
                  <a:pt x="810" y="295"/>
                  <a:pt x="810" y="295"/>
                  <a:pt x="810" y="295"/>
                </a:cubicBezTo>
                <a:close/>
                <a:moveTo>
                  <a:pt x="797" y="292"/>
                </a:moveTo>
                <a:cubicBezTo>
                  <a:pt x="798" y="292"/>
                  <a:pt x="798" y="292"/>
                  <a:pt x="798" y="292"/>
                </a:cubicBezTo>
                <a:cubicBezTo>
                  <a:pt x="799" y="292"/>
                  <a:pt x="799" y="292"/>
                  <a:pt x="799" y="292"/>
                </a:cubicBezTo>
                <a:cubicBezTo>
                  <a:pt x="800" y="293"/>
                  <a:pt x="800" y="293"/>
                  <a:pt x="800" y="293"/>
                </a:cubicBezTo>
                <a:cubicBezTo>
                  <a:pt x="800" y="293"/>
                  <a:pt x="800" y="293"/>
                  <a:pt x="800" y="293"/>
                </a:cubicBezTo>
                <a:cubicBezTo>
                  <a:pt x="801" y="295"/>
                  <a:pt x="801" y="295"/>
                  <a:pt x="801" y="295"/>
                </a:cubicBezTo>
                <a:cubicBezTo>
                  <a:pt x="802" y="295"/>
                  <a:pt x="802" y="295"/>
                  <a:pt x="802" y="295"/>
                </a:cubicBezTo>
                <a:cubicBezTo>
                  <a:pt x="803" y="296"/>
                  <a:pt x="803" y="296"/>
                  <a:pt x="803" y="296"/>
                </a:cubicBezTo>
                <a:cubicBezTo>
                  <a:pt x="804" y="296"/>
                  <a:pt x="804" y="296"/>
                  <a:pt x="804" y="296"/>
                </a:cubicBezTo>
                <a:cubicBezTo>
                  <a:pt x="804" y="296"/>
                  <a:pt x="804" y="296"/>
                  <a:pt x="804" y="296"/>
                </a:cubicBezTo>
                <a:cubicBezTo>
                  <a:pt x="805" y="297"/>
                  <a:pt x="805" y="297"/>
                  <a:pt x="805" y="297"/>
                </a:cubicBezTo>
                <a:cubicBezTo>
                  <a:pt x="807" y="297"/>
                  <a:pt x="807" y="297"/>
                  <a:pt x="807" y="297"/>
                </a:cubicBezTo>
                <a:cubicBezTo>
                  <a:pt x="807" y="297"/>
                  <a:pt x="807" y="297"/>
                  <a:pt x="807" y="297"/>
                </a:cubicBezTo>
                <a:cubicBezTo>
                  <a:pt x="806" y="295"/>
                  <a:pt x="806" y="295"/>
                  <a:pt x="806" y="295"/>
                </a:cubicBezTo>
                <a:cubicBezTo>
                  <a:pt x="805" y="295"/>
                  <a:pt x="805" y="295"/>
                  <a:pt x="805" y="295"/>
                </a:cubicBezTo>
                <a:cubicBezTo>
                  <a:pt x="803" y="294"/>
                  <a:pt x="803" y="294"/>
                  <a:pt x="803" y="294"/>
                </a:cubicBezTo>
                <a:cubicBezTo>
                  <a:pt x="803" y="293"/>
                  <a:pt x="803" y="293"/>
                  <a:pt x="803" y="293"/>
                </a:cubicBezTo>
                <a:cubicBezTo>
                  <a:pt x="802" y="292"/>
                  <a:pt x="802" y="292"/>
                  <a:pt x="802" y="292"/>
                </a:cubicBezTo>
                <a:cubicBezTo>
                  <a:pt x="801" y="291"/>
                  <a:pt x="801" y="291"/>
                  <a:pt x="801" y="291"/>
                </a:cubicBezTo>
                <a:cubicBezTo>
                  <a:pt x="801" y="290"/>
                  <a:pt x="801" y="290"/>
                  <a:pt x="801" y="290"/>
                </a:cubicBezTo>
                <a:cubicBezTo>
                  <a:pt x="801" y="290"/>
                  <a:pt x="801" y="290"/>
                  <a:pt x="801" y="290"/>
                </a:cubicBezTo>
                <a:cubicBezTo>
                  <a:pt x="800" y="290"/>
                  <a:pt x="800" y="290"/>
                  <a:pt x="800" y="290"/>
                </a:cubicBezTo>
                <a:cubicBezTo>
                  <a:pt x="799" y="290"/>
                  <a:pt x="799" y="290"/>
                  <a:pt x="799" y="290"/>
                </a:cubicBezTo>
                <a:cubicBezTo>
                  <a:pt x="798" y="290"/>
                  <a:pt x="798" y="290"/>
                  <a:pt x="798" y="290"/>
                </a:cubicBezTo>
                <a:cubicBezTo>
                  <a:pt x="797" y="291"/>
                  <a:pt x="797" y="291"/>
                  <a:pt x="797" y="291"/>
                </a:cubicBezTo>
                <a:cubicBezTo>
                  <a:pt x="797" y="292"/>
                  <a:pt x="797" y="292"/>
                  <a:pt x="797" y="292"/>
                </a:cubicBezTo>
                <a:close/>
                <a:moveTo>
                  <a:pt x="766" y="357"/>
                </a:moveTo>
                <a:cubicBezTo>
                  <a:pt x="767" y="357"/>
                  <a:pt x="767" y="357"/>
                  <a:pt x="767" y="357"/>
                </a:cubicBezTo>
                <a:cubicBezTo>
                  <a:pt x="767" y="356"/>
                  <a:pt x="767" y="356"/>
                  <a:pt x="767" y="356"/>
                </a:cubicBezTo>
                <a:cubicBezTo>
                  <a:pt x="767" y="355"/>
                  <a:pt x="767" y="355"/>
                  <a:pt x="767" y="355"/>
                </a:cubicBezTo>
                <a:cubicBezTo>
                  <a:pt x="766" y="354"/>
                  <a:pt x="766" y="354"/>
                  <a:pt x="766" y="354"/>
                </a:cubicBezTo>
                <a:cubicBezTo>
                  <a:pt x="766" y="355"/>
                  <a:pt x="766" y="355"/>
                  <a:pt x="766" y="355"/>
                </a:cubicBezTo>
                <a:cubicBezTo>
                  <a:pt x="766" y="356"/>
                  <a:pt x="766" y="356"/>
                  <a:pt x="766" y="356"/>
                </a:cubicBezTo>
                <a:cubicBezTo>
                  <a:pt x="766" y="357"/>
                  <a:pt x="766" y="357"/>
                  <a:pt x="766" y="357"/>
                </a:cubicBezTo>
                <a:close/>
                <a:moveTo>
                  <a:pt x="760" y="355"/>
                </a:moveTo>
                <a:cubicBezTo>
                  <a:pt x="760" y="356"/>
                  <a:pt x="760" y="356"/>
                  <a:pt x="760" y="356"/>
                </a:cubicBezTo>
                <a:cubicBezTo>
                  <a:pt x="760" y="356"/>
                  <a:pt x="760" y="356"/>
                  <a:pt x="760" y="356"/>
                </a:cubicBezTo>
                <a:cubicBezTo>
                  <a:pt x="762" y="356"/>
                  <a:pt x="762" y="356"/>
                  <a:pt x="762" y="356"/>
                </a:cubicBezTo>
                <a:cubicBezTo>
                  <a:pt x="762" y="355"/>
                  <a:pt x="762" y="355"/>
                  <a:pt x="762" y="355"/>
                </a:cubicBezTo>
                <a:cubicBezTo>
                  <a:pt x="761" y="354"/>
                  <a:pt x="761" y="354"/>
                  <a:pt x="761" y="354"/>
                </a:cubicBezTo>
                <a:cubicBezTo>
                  <a:pt x="760" y="355"/>
                  <a:pt x="760" y="355"/>
                  <a:pt x="760" y="355"/>
                </a:cubicBezTo>
                <a:close/>
                <a:moveTo>
                  <a:pt x="763" y="365"/>
                </a:moveTo>
                <a:cubicBezTo>
                  <a:pt x="764" y="365"/>
                  <a:pt x="764" y="365"/>
                  <a:pt x="764" y="365"/>
                </a:cubicBezTo>
                <a:cubicBezTo>
                  <a:pt x="764" y="364"/>
                  <a:pt x="764" y="364"/>
                  <a:pt x="764" y="364"/>
                </a:cubicBezTo>
                <a:cubicBezTo>
                  <a:pt x="764" y="363"/>
                  <a:pt x="764" y="363"/>
                  <a:pt x="764" y="363"/>
                </a:cubicBezTo>
                <a:cubicBezTo>
                  <a:pt x="765" y="363"/>
                  <a:pt x="765" y="363"/>
                  <a:pt x="765" y="363"/>
                </a:cubicBezTo>
                <a:cubicBezTo>
                  <a:pt x="766" y="361"/>
                  <a:pt x="766" y="361"/>
                  <a:pt x="766" y="361"/>
                </a:cubicBezTo>
                <a:cubicBezTo>
                  <a:pt x="766" y="360"/>
                  <a:pt x="766" y="360"/>
                  <a:pt x="766" y="360"/>
                </a:cubicBezTo>
                <a:cubicBezTo>
                  <a:pt x="766" y="359"/>
                  <a:pt x="766" y="359"/>
                  <a:pt x="766" y="359"/>
                </a:cubicBezTo>
                <a:cubicBezTo>
                  <a:pt x="767" y="358"/>
                  <a:pt x="767" y="358"/>
                  <a:pt x="767" y="358"/>
                </a:cubicBezTo>
                <a:cubicBezTo>
                  <a:pt x="766" y="357"/>
                  <a:pt x="766" y="357"/>
                  <a:pt x="766" y="357"/>
                </a:cubicBezTo>
                <a:cubicBezTo>
                  <a:pt x="764" y="356"/>
                  <a:pt x="764" y="356"/>
                  <a:pt x="764" y="356"/>
                </a:cubicBezTo>
                <a:cubicBezTo>
                  <a:pt x="764" y="357"/>
                  <a:pt x="764" y="357"/>
                  <a:pt x="764" y="357"/>
                </a:cubicBezTo>
                <a:cubicBezTo>
                  <a:pt x="764" y="359"/>
                  <a:pt x="764" y="359"/>
                  <a:pt x="764" y="359"/>
                </a:cubicBezTo>
                <a:cubicBezTo>
                  <a:pt x="764" y="360"/>
                  <a:pt x="764" y="360"/>
                  <a:pt x="764" y="360"/>
                </a:cubicBezTo>
                <a:cubicBezTo>
                  <a:pt x="763" y="360"/>
                  <a:pt x="763" y="360"/>
                  <a:pt x="763" y="360"/>
                </a:cubicBezTo>
                <a:cubicBezTo>
                  <a:pt x="762" y="362"/>
                  <a:pt x="762" y="362"/>
                  <a:pt x="762" y="362"/>
                </a:cubicBezTo>
                <a:cubicBezTo>
                  <a:pt x="761" y="362"/>
                  <a:pt x="761" y="362"/>
                  <a:pt x="761" y="362"/>
                </a:cubicBezTo>
                <a:cubicBezTo>
                  <a:pt x="761" y="362"/>
                  <a:pt x="761" y="362"/>
                  <a:pt x="761" y="362"/>
                </a:cubicBezTo>
                <a:cubicBezTo>
                  <a:pt x="762" y="363"/>
                  <a:pt x="762" y="363"/>
                  <a:pt x="762" y="363"/>
                </a:cubicBezTo>
                <a:cubicBezTo>
                  <a:pt x="762" y="364"/>
                  <a:pt x="762" y="364"/>
                  <a:pt x="762" y="364"/>
                </a:cubicBezTo>
                <a:cubicBezTo>
                  <a:pt x="761" y="364"/>
                  <a:pt x="761" y="364"/>
                  <a:pt x="761" y="364"/>
                </a:cubicBezTo>
                <a:cubicBezTo>
                  <a:pt x="762" y="365"/>
                  <a:pt x="762" y="365"/>
                  <a:pt x="762" y="365"/>
                </a:cubicBezTo>
                <a:cubicBezTo>
                  <a:pt x="763" y="365"/>
                  <a:pt x="763" y="365"/>
                  <a:pt x="763" y="365"/>
                </a:cubicBezTo>
                <a:cubicBezTo>
                  <a:pt x="763" y="365"/>
                  <a:pt x="763" y="365"/>
                  <a:pt x="763" y="365"/>
                </a:cubicBezTo>
                <a:close/>
                <a:moveTo>
                  <a:pt x="762" y="373"/>
                </a:moveTo>
                <a:cubicBezTo>
                  <a:pt x="762" y="373"/>
                  <a:pt x="763" y="372"/>
                  <a:pt x="763" y="372"/>
                </a:cubicBezTo>
                <a:cubicBezTo>
                  <a:pt x="762" y="371"/>
                  <a:pt x="762" y="371"/>
                  <a:pt x="762" y="371"/>
                </a:cubicBezTo>
                <a:cubicBezTo>
                  <a:pt x="762" y="370"/>
                  <a:pt x="762" y="370"/>
                  <a:pt x="762" y="370"/>
                </a:cubicBezTo>
                <a:cubicBezTo>
                  <a:pt x="762" y="370"/>
                  <a:pt x="762" y="370"/>
                  <a:pt x="762" y="370"/>
                </a:cubicBezTo>
                <a:cubicBezTo>
                  <a:pt x="762" y="371"/>
                  <a:pt x="762" y="371"/>
                  <a:pt x="762" y="371"/>
                </a:cubicBezTo>
                <a:cubicBezTo>
                  <a:pt x="761" y="372"/>
                  <a:pt x="761" y="372"/>
                  <a:pt x="761" y="372"/>
                </a:cubicBezTo>
                <a:cubicBezTo>
                  <a:pt x="762" y="373"/>
                  <a:pt x="762" y="373"/>
                  <a:pt x="762" y="373"/>
                </a:cubicBezTo>
                <a:close/>
                <a:moveTo>
                  <a:pt x="762" y="376"/>
                </a:moveTo>
                <a:cubicBezTo>
                  <a:pt x="763" y="375"/>
                  <a:pt x="763" y="375"/>
                  <a:pt x="763" y="375"/>
                </a:cubicBezTo>
                <a:cubicBezTo>
                  <a:pt x="763" y="375"/>
                  <a:pt x="763" y="375"/>
                  <a:pt x="763" y="375"/>
                </a:cubicBezTo>
                <a:cubicBezTo>
                  <a:pt x="762" y="374"/>
                  <a:pt x="762" y="374"/>
                  <a:pt x="762" y="374"/>
                </a:cubicBezTo>
                <a:cubicBezTo>
                  <a:pt x="762" y="374"/>
                  <a:pt x="762" y="374"/>
                  <a:pt x="762" y="374"/>
                </a:cubicBezTo>
                <a:cubicBezTo>
                  <a:pt x="762" y="375"/>
                  <a:pt x="762" y="375"/>
                  <a:pt x="762" y="375"/>
                </a:cubicBezTo>
                <a:cubicBezTo>
                  <a:pt x="762" y="376"/>
                  <a:pt x="762" y="376"/>
                  <a:pt x="762" y="376"/>
                </a:cubicBezTo>
                <a:close/>
                <a:moveTo>
                  <a:pt x="760" y="377"/>
                </a:moveTo>
                <a:cubicBezTo>
                  <a:pt x="761" y="377"/>
                  <a:pt x="761" y="377"/>
                  <a:pt x="761" y="377"/>
                </a:cubicBezTo>
                <a:cubicBezTo>
                  <a:pt x="760" y="377"/>
                  <a:pt x="760" y="377"/>
                  <a:pt x="760" y="377"/>
                </a:cubicBezTo>
                <a:cubicBezTo>
                  <a:pt x="760" y="377"/>
                  <a:pt x="760" y="377"/>
                  <a:pt x="760" y="377"/>
                </a:cubicBezTo>
                <a:cubicBezTo>
                  <a:pt x="760" y="377"/>
                  <a:pt x="760" y="377"/>
                  <a:pt x="760" y="377"/>
                </a:cubicBezTo>
                <a:cubicBezTo>
                  <a:pt x="760" y="377"/>
                  <a:pt x="760" y="377"/>
                  <a:pt x="760" y="377"/>
                </a:cubicBezTo>
                <a:close/>
                <a:moveTo>
                  <a:pt x="761" y="380"/>
                </a:moveTo>
                <a:cubicBezTo>
                  <a:pt x="761" y="380"/>
                  <a:pt x="761" y="380"/>
                  <a:pt x="761" y="380"/>
                </a:cubicBezTo>
                <a:cubicBezTo>
                  <a:pt x="762" y="379"/>
                  <a:pt x="762" y="379"/>
                  <a:pt x="762" y="379"/>
                </a:cubicBezTo>
                <a:cubicBezTo>
                  <a:pt x="762" y="378"/>
                  <a:pt x="762" y="378"/>
                  <a:pt x="762" y="378"/>
                </a:cubicBezTo>
                <a:cubicBezTo>
                  <a:pt x="762" y="378"/>
                  <a:pt x="762" y="378"/>
                  <a:pt x="762" y="378"/>
                </a:cubicBezTo>
                <a:cubicBezTo>
                  <a:pt x="761" y="379"/>
                  <a:pt x="761" y="379"/>
                  <a:pt x="761" y="379"/>
                </a:cubicBezTo>
                <a:cubicBezTo>
                  <a:pt x="761" y="380"/>
                  <a:pt x="761" y="380"/>
                  <a:pt x="761" y="380"/>
                </a:cubicBezTo>
                <a:close/>
                <a:moveTo>
                  <a:pt x="759" y="388"/>
                </a:moveTo>
                <a:cubicBezTo>
                  <a:pt x="760" y="388"/>
                  <a:pt x="760" y="388"/>
                  <a:pt x="760" y="388"/>
                </a:cubicBezTo>
                <a:cubicBezTo>
                  <a:pt x="759" y="387"/>
                  <a:pt x="759" y="387"/>
                  <a:pt x="759" y="387"/>
                </a:cubicBezTo>
                <a:cubicBezTo>
                  <a:pt x="759" y="387"/>
                  <a:pt x="759" y="387"/>
                  <a:pt x="759" y="387"/>
                </a:cubicBezTo>
                <a:cubicBezTo>
                  <a:pt x="759" y="388"/>
                  <a:pt x="759" y="388"/>
                  <a:pt x="759" y="388"/>
                </a:cubicBezTo>
                <a:close/>
                <a:moveTo>
                  <a:pt x="759" y="392"/>
                </a:moveTo>
                <a:cubicBezTo>
                  <a:pt x="759" y="391"/>
                  <a:pt x="759" y="391"/>
                  <a:pt x="759" y="391"/>
                </a:cubicBezTo>
                <a:cubicBezTo>
                  <a:pt x="759" y="391"/>
                  <a:pt x="759" y="391"/>
                  <a:pt x="759" y="391"/>
                </a:cubicBezTo>
                <a:cubicBezTo>
                  <a:pt x="759" y="391"/>
                  <a:pt x="759" y="391"/>
                  <a:pt x="759" y="391"/>
                </a:cubicBezTo>
                <a:cubicBezTo>
                  <a:pt x="759" y="392"/>
                  <a:pt x="759" y="392"/>
                  <a:pt x="759" y="392"/>
                </a:cubicBezTo>
                <a:close/>
                <a:moveTo>
                  <a:pt x="759" y="393"/>
                </a:moveTo>
                <a:cubicBezTo>
                  <a:pt x="759" y="394"/>
                  <a:pt x="759" y="394"/>
                  <a:pt x="759" y="394"/>
                </a:cubicBezTo>
                <a:cubicBezTo>
                  <a:pt x="759" y="393"/>
                  <a:pt x="759" y="393"/>
                  <a:pt x="759" y="393"/>
                </a:cubicBezTo>
                <a:cubicBezTo>
                  <a:pt x="759" y="393"/>
                  <a:pt x="759" y="393"/>
                  <a:pt x="759" y="393"/>
                </a:cubicBezTo>
                <a:close/>
                <a:moveTo>
                  <a:pt x="758" y="396"/>
                </a:moveTo>
                <a:cubicBezTo>
                  <a:pt x="758" y="396"/>
                  <a:pt x="758" y="396"/>
                  <a:pt x="758" y="396"/>
                </a:cubicBezTo>
                <a:cubicBezTo>
                  <a:pt x="758" y="396"/>
                  <a:pt x="758" y="396"/>
                  <a:pt x="758" y="396"/>
                </a:cubicBezTo>
                <a:cubicBezTo>
                  <a:pt x="758" y="395"/>
                  <a:pt x="758" y="395"/>
                  <a:pt x="758" y="395"/>
                </a:cubicBezTo>
                <a:cubicBezTo>
                  <a:pt x="758" y="395"/>
                  <a:pt x="758" y="395"/>
                  <a:pt x="758" y="395"/>
                </a:cubicBezTo>
                <a:cubicBezTo>
                  <a:pt x="758" y="396"/>
                  <a:pt x="758" y="396"/>
                  <a:pt x="758" y="396"/>
                </a:cubicBezTo>
                <a:close/>
                <a:moveTo>
                  <a:pt x="757" y="401"/>
                </a:moveTo>
                <a:cubicBezTo>
                  <a:pt x="757" y="400"/>
                  <a:pt x="757" y="400"/>
                  <a:pt x="757" y="400"/>
                </a:cubicBezTo>
                <a:cubicBezTo>
                  <a:pt x="757" y="398"/>
                  <a:pt x="757" y="398"/>
                  <a:pt x="757" y="398"/>
                </a:cubicBezTo>
                <a:cubicBezTo>
                  <a:pt x="757" y="398"/>
                  <a:pt x="757" y="398"/>
                  <a:pt x="757" y="398"/>
                </a:cubicBezTo>
                <a:cubicBezTo>
                  <a:pt x="757" y="399"/>
                  <a:pt x="757" y="399"/>
                  <a:pt x="757" y="399"/>
                </a:cubicBezTo>
                <a:cubicBezTo>
                  <a:pt x="756" y="401"/>
                  <a:pt x="756" y="401"/>
                  <a:pt x="756" y="401"/>
                </a:cubicBezTo>
                <a:cubicBezTo>
                  <a:pt x="757" y="401"/>
                  <a:pt x="757" y="401"/>
                  <a:pt x="757" y="401"/>
                </a:cubicBezTo>
                <a:close/>
                <a:moveTo>
                  <a:pt x="746" y="415"/>
                </a:moveTo>
                <a:cubicBezTo>
                  <a:pt x="746" y="415"/>
                  <a:pt x="746" y="415"/>
                  <a:pt x="746" y="415"/>
                </a:cubicBezTo>
                <a:cubicBezTo>
                  <a:pt x="748" y="414"/>
                  <a:pt x="748" y="414"/>
                  <a:pt x="748" y="414"/>
                </a:cubicBezTo>
                <a:cubicBezTo>
                  <a:pt x="749" y="412"/>
                  <a:pt x="749" y="412"/>
                  <a:pt x="749" y="412"/>
                </a:cubicBezTo>
                <a:cubicBezTo>
                  <a:pt x="749" y="412"/>
                  <a:pt x="749" y="412"/>
                  <a:pt x="749" y="412"/>
                </a:cubicBezTo>
                <a:cubicBezTo>
                  <a:pt x="749" y="411"/>
                  <a:pt x="749" y="411"/>
                  <a:pt x="749" y="411"/>
                </a:cubicBezTo>
                <a:cubicBezTo>
                  <a:pt x="750" y="409"/>
                  <a:pt x="750" y="409"/>
                  <a:pt x="750" y="409"/>
                </a:cubicBezTo>
                <a:cubicBezTo>
                  <a:pt x="751" y="408"/>
                  <a:pt x="751" y="408"/>
                  <a:pt x="751" y="408"/>
                </a:cubicBezTo>
                <a:cubicBezTo>
                  <a:pt x="750" y="408"/>
                  <a:pt x="750" y="408"/>
                  <a:pt x="750" y="408"/>
                </a:cubicBezTo>
                <a:cubicBezTo>
                  <a:pt x="749" y="408"/>
                  <a:pt x="749" y="408"/>
                  <a:pt x="749" y="408"/>
                </a:cubicBezTo>
                <a:cubicBezTo>
                  <a:pt x="749" y="409"/>
                  <a:pt x="749" y="409"/>
                  <a:pt x="749" y="409"/>
                </a:cubicBezTo>
                <a:cubicBezTo>
                  <a:pt x="748" y="410"/>
                  <a:pt x="748" y="410"/>
                  <a:pt x="748" y="410"/>
                </a:cubicBezTo>
                <a:cubicBezTo>
                  <a:pt x="748" y="411"/>
                  <a:pt x="748" y="411"/>
                  <a:pt x="748" y="411"/>
                </a:cubicBezTo>
                <a:cubicBezTo>
                  <a:pt x="747" y="411"/>
                  <a:pt x="747" y="411"/>
                  <a:pt x="747" y="411"/>
                </a:cubicBezTo>
                <a:cubicBezTo>
                  <a:pt x="747" y="412"/>
                  <a:pt x="747" y="412"/>
                  <a:pt x="747" y="412"/>
                </a:cubicBezTo>
                <a:cubicBezTo>
                  <a:pt x="746" y="413"/>
                  <a:pt x="746" y="413"/>
                  <a:pt x="746" y="413"/>
                </a:cubicBezTo>
                <a:cubicBezTo>
                  <a:pt x="746" y="415"/>
                  <a:pt x="746" y="415"/>
                  <a:pt x="746" y="415"/>
                </a:cubicBezTo>
                <a:close/>
                <a:moveTo>
                  <a:pt x="734" y="429"/>
                </a:moveTo>
                <a:cubicBezTo>
                  <a:pt x="735" y="429"/>
                  <a:pt x="735" y="429"/>
                  <a:pt x="735" y="429"/>
                </a:cubicBezTo>
                <a:cubicBezTo>
                  <a:pt x="735" y="427"/>
                  <a:pt x="735" y="427"/>
                  <a:pt x="735" y="427"/>
                </a:cubicBezTo>
                <a:cubicBezTo>
                  <a:pt x="736" y="427"/>
                  <a:pt x="736" y="427"/>
                  <a:pt x="736" y="427"/>
                </a:cubicBezTo>
                <a:cubicBezTo>
                  <a:pt x="736" y="425"/>
                  <a:pt x="736" y="425"/>
                  <a:pt x="736" y="425"/>
                </a:cubicBezTo>
                <a:cubicBezTo>
                  <a:pt x="736" y="424"/>
                  <a:pt x="736" y="424"/>
                  <a:pt x="736" y="424"/>
                </a:cubicBezTo>
                <a:cubicBezTo>
                  <a:pt x="736" y="424"/>
                  <a:pt x="736" y="424"/>
                  <a:pt x="736" y="424"/>
                </a:cubicBezTo>
                <a:cubicBezTo>
                  <a:pt x="737" y="423"/>
                  <a:pt x="737" y="423"/>
                  <a:pt x="737" y="423"/>
                </a:cubicBezTo>
                <a:cubicBezTo>
                  <a:pt x="737" y="424"/>
                  <a:pt x="737" y="424"/>
                  <a:pt x="737" y="424"/>
                </a:cubicBezTo>
                <a:cubicBezTo>
                  <a:pt x="738" y="423"/>
                  <a:pt x="738" y="423"/>
                  <a:pt x="738" y="423"/>
                </a:cubicBezTo>
                <a:cubicBezTo>
                  <a:pt x="739" y="421"/>
                  <a:pt x="739" y="421"/>
                  <a:pt x="739" y="421"/>
                </a:cubicBezTo>
                <a:cubicBezTo>
                  <a:pt x="740" y="419"/>
                  <a:pt x="740" y="419"/>
                  <a:pt x="740" y="419"/>
                </a:cubicBezTo>
                <a:cubicBezTo>
                  <a:pt x="742" y="419"/>
                  <a:pt x="742" y="419"/>
                  <a:pt x="742" y="419"/>
                </a:cubicBezTo>
                <a:cubicBezTo>
                  <a:pt x="743" y="419"/>
                  <a:pt x="743" y="419"/>
                  <a:pt x="743" y="419"/>
                </a:cubicBezTo>
                <a:cubicBezTo>
                  <a:pt x="743" y="417"/>
                  <a:pt x="743" y="417"/>
                  <a:pt x="743" y="417"/>
                </a:cubicBezTo>
                <a:cubicBezTo>
                  <a:pt x="742" y="416"/>
                  <a:pt x="742" y="416"/>
                  <a:pt x="742" y="416"/>
                </a:cubicBezTo>
                <a:cubicBezTo>
                  <a:pt x="742" y="416"/>
                  <a:pt x="742" y="416"/>
                  <a:pt x="742" y="416"/>
                </a:cubicBezTo>
                <a:cubicBezTo>
                  <a:pt x="740" y="418"/>
                  <a:pt x="740" y="418"/>
                  <a:pt x="740" y="418"/>
                </a:cubicBezTo>
                <a:cubicBezTo>
                  <a:pt x="740" y="419"/>
                  <a:pt x="740" y="419"/>
                  <a:pt x="740" y="419"/>
                </a:cubicBezTo>
                <a:cubicBezTo>
                  <a:pt x="739" y="419"/>
                  <a:pt x="739" y="419"/>
                  <a:pt x="739" y="419"/>
                </a:cubicBezTo>
                <a:cubicBezTo>
                  <a:pt x="738" y="419"/>
                  <a:pt x="738" y="419"/>
                  <a:pt x="738" y="419"/>
                </a:cubicBezTo>
                <a:cubicBezTo>
                  <a:pt x="738" y="419"/>
                  <a:pt x="738" y="419"/>
                  <a:pt x="738" y="419"/>
                </a:cubicBezTo>
                <a:cubicBezTo>
                  <a:pt x="737" y="418"/>
                  <a:pt x="737" y="418"/>
                  <a:pt x="737" y="418"/>
                </a:cubicBezTo>
                <a:cubicBezTo>
                  <a:pt x="737" y="418"/>
                  <a:pt x="737" y="418"/>
                  <a:pt x="737" y="418"/>
                </a:cubicBezTo>
                <a:cubicBezTo>
                  <a:pt x="736" y="419"/>
                  <a:pt x="736" y="419"/>
                  <a:pt x="736" y="419"/>
                </a:cubicBezTo>
                <a:cubicBezTo>
                  <a:pt x="737" y="420"/>
                  <a:pt x="737" y="420"/>
                  <a:pt x="737" y="420"/>
                </a:cubicBezTo>
                <a:cubicBezTo>
                  <a:pt x="736" y="421"/>
                  <a:pt x="736" y="421"/>
                  <a:pt x="736" y="421"/>
                </a:cubicBezTo>
                <a:cubicBezTo>
                  <a:pt x="736" y="422"/>
                  <a:pt x="736" y="422"/>
                  <a:pt x="736" y="422"/>
                </a:cubicBezTo>
                <a:cubicBezTo>
                  <a:pt x="735" y="422"/>
                  <a:pt x="735" y="422"/>
                  <a:pt x="735" y="422"/>
                </a:cubicBezTo>
                <a:cubicBezTo>
                  <a:pt x="735" y="423"/>
                  <a:pt x="735" y="423"/>
                  <a:pt x="735" y="423"/>
                </a:cubicBezTo>
                <a:cubicBezTo>
                  <a:pt x="735" y="424"/>
                  <a:pt x="735" y="424"/>
                  <a:pt x="735" y="424"/>
                </a:cubicBezTo>
                <a:cubicBezTo>
                  <a:pt x="734" y="425"/>
                  <a:pt x="734" y="425"/>
                  <a:pt x="734" y="425"/>
                </a:cubicBezTo>
                <a:cubicBezTo>
                  <a:pt x="734" y="425"/>
                  <a:pt x="734" y="425"/>
                  <a:pt x="734" y="425"/>
                </a:cubicBezTo>
                <a:cubicBezTo>
                  <a:pt x="734" y="426"/>
                  <a:pt x="734" y="426"/>
                  <a:pt x="734" y="426"/>
                </a:cubicBezTo>
                <a:cubicBezTo>
                  <a:pt x="734" y="427"/>
                  <a:pt x="734" y="427"/>
                  <a:pt x="734" y="427"/>
                </a:cubicBezTo>
                <a:cubicBezTo>
                  <a:pt x="734" y="428"/>
                  <a:pt x="734" y="428"/>
                  <a:pt x="734" y="428"/>
                </a:cubicBezTo>
                <a:cubicBezTo>
                  <a:pt x="734" y="429"/>
                  <a:pt x="734" y="429"/>
                  <a:pt x="734" y="429"/>
                </a:cubicBezTo>
                <a:close/>
                <a:moveTo>
                  <a:pt x="729" y="437"/>
                </a:moveTo>
                <a:cubicBezTo>
                  <a:pt x="729" y="437"/>
                  <a:pt x="729" y="435"/>
                  <a:pt x="729" y="435"/>
                </a:cubicBezTo>
                <a:cubicBezTo>
                  <a:pt x="729" y="432"/>
                  <a:pt x="729" y="432"/>
                  <a:pt x="729" y="432"/>
                </a:cubicBezTo>
                <a:cubicBezTo>
                  <a:pt x="730" y="432"/>
                  <a:pt x="730" y="432"/>
                  <a:pt x="730" y="432"/>
                </a:cubicBezTo>
                <a:cubicBezTo>
                  <a:pt x="731" y="431"/>
                  <a:pt x="731" y="431"/>
                  <a:pt x="731" y="431"/>
                </a:cubicBezTo>
                <a:cubicBezTo>
                  <a:pt x="732" y="429"/>
                  <a:pt x="732" y="429"/>
                  <a:pt x="732" y="429"/>
                </a:cubicBezTo>
                <a:cubicBezTo>
                  <a:pt x="731" y="429"/>
                  <a:pt x="731" y="429"/>
                  <a:pt x="731" y="429"/>
                </a:cubicBezTo>
                <a:cubicBezTo>
                  <a:pt x="730" y="430"/>
                  <a:pt x="730" y="430"/>
                  <a:pt x="730" y="430"/>
                </a:cubicBezTo>
                <a:cubicBezTo>
                  <a:pt x="730" y="429"/>
                  <a:pt x="730" y="429"/>
                  <a:pt x="730" y="429"/>
                </a:cubicBezTo>
                <a:cubicBezTo>
                  <a:pt x="729" y="429"/>
                  <a:pt x="729" y="429"/>
                  <a:pt x="729" y="429"/>
                </a:cubicBezTo>
                <a:cubicBezTo>
                  <a:pt x="729" y="429"/>
                  <a:pt x="729" y="429"/>
                  <a:pt x="729" y="429"/>
                </a:cubicBezTo>
                <a:cubicBezTo>
                  <a:pt x="729" y="431"/>
                  <a:pt x="729" y="431"/>
                  <a:pt x="729" y="431"/>
                </a:cubicBezTo>
                <a:cubicBezTo>
                  <a:pt x="728" y="432"/>
                  <a:pt x="728" y="432"/>
                  <a:pt x="728" y="432"/>
                </a:cubicBezTo>
                <a:cubicBezTo>
                  <a:pt x="728" y="434"/>
                  <a:pt x="728" y="434"/>
                  <a:pt x="728" y="434"/>
                </a:cubicBezTo>
                <a:cubicBezTo>
                  <a:pt x="727" y="435"/>
                  <a:pt x="727" y="435"/>
                  <a:pt x="727" y="435"/>
                </a:cubicBezTo>
                <a:cubicBezTo>
                  <a:pt x="728" y="436"/>
                  <a:pt x="728" y="436"/>
                  <a:pt x="728" y="436"/>
                </a:cubicBezTo>
                <a:cubicBezTo>
                  <a:pt x="729" y="437"/>
                  <a:pt x="729" y="437"/>
                  <a:pt x="729" y="437"/>
                </a:cubicBezTo>
                <a:close/>
                <a:moveTo>
                  <a:pt x="12" y="336"/>
                </a:moveTo>
                <a:cubicBezTo>
                  <a:pt x="12" y="336"/>
                  <a:pt x="12" y="338"/>
                  <a:pt x="12" y="338"/>
                </a:cubicBezTo>
                <a:cubicBezTo>
                  <a:pt x="13" y="338"/>
                  <a:pt x="13" y="338"/>
                  <a:pt x="13" y="338"/>
                </a:cubicBezTo>
                <a:cubicBezTo>
                  <a:pt x="14" y="338"/>
                  <a:pt x="14" y="338"/>
                  <a:pt x="14" y="338"/>
                </a:cubicBezTo>
                <a:lnTo>
                  <a:pt x="12" y="336"/>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3" name="Freeform 11">
            <a:extLst>
              <a:ext uri="{FF2B5EF4-FFF2-40B4-BE49-F238E27FC236}">
                <a16:creationId xmlns:a16="http://schemas.microsoft.com/office/drawing/2014/main" id="{A68A33BC-805A-43A2-D736-D3A89A662200}"/>
              </a:ext>
            </a:extLst>
          </p:cNvPr>
          <p:cNvSpPr>
            <a:spLocks noEditPoints="1"/>
          </p:cNvSpPr>
          <p:nvPr userDrawn="1"/>
        </p:nvSpPr>
        <p:spPr bwMode="auto">
          <a:xfrm>
            <a:off x="16940696" y="5184056"/>
            <a:ext cx="4066911" cy="3000376"/>
          </a:xfrm>
          <a:custGeom>
            <a:avLst/>
            <a:gdLst>
              <a:gd name="T0" fmla="*/ 306 w 410"/>
              <a:gd name="T1" fmla="*/ 40 h 302"/>
              <a:gd name="T2" fmla="*/ 309 w 410"/>
              <a:gd name="T3" fmla="*/ 29 h 302"/>
              <a:gd name="T4" fmla="*/ 310 w 410"/>
              <a:gd name="T5" fmla="*/ 14 h 302"/>
              <a:gd name="T6" fmla="*/ 307 w 410"/>
              <a:gd name="T7" fmla="*/ 5 h 302"/>
              <a:gd name="T8" fmla="*/ 320 w 410"/>
              <a:gd name="T9" fmla="*/ 0 h 302"/>
              <a:gd name="T10" fmla="*/ 332 w 410"/>
              <a:gd name="T11" fmla="*/ 2 h 302"/>
              <a:gd name="T12" fmla="*/ 339 w 410"/>
              <a:gd name="T13" fmla="*/ 6 h 302"/>
              <a:gd name="T14" fmla="*/ 345 w 410"/>
              <a:gd name="T15" fmla="*/ 14 h 302"/>
              <a:gd name="T16" fmla="*/ 355 w 410"/>
              <a:gd name="T17" fmla="*/ 25 h 302"/>
              <a:gd name="T18" fmla="*/ 363 w 410"/>
              <a:gd name="T19" fmla="*/ 36 h 302"/>
              <a:gd name="T20" fmla="*/ 371 w 410"/>
              <a:gd name="T21" fmla="*/ 37 h 302"/>
              <a:gd name="T22" fmla="*/ 380 w 410"/>
              <a:gd name="T23" fmla="*/ 43 h 302"/>
              <a:gd name="T24" fmla="*/ 383 w 410"/>
              <a:gd name="T25" fmla="*/ 50 h 302"/>
              <a:gd name="T26" fmla="*/ 395 w 410"/>
              <a:gd name="T27" fmla="*/ 52 h 302"/>
              <a:gd name="T28" fmla="*/ 403 w 410"/>
              <a:gd name="T29" fmla="*/ 44 h 302"/>
              <a:gd name="T30" fmla="*/ 408 w 410"/>
              <a:gd name="T31" fmla="*/ 54 h 302"/>
              <a:gd name="T32" fmla="*/ 409 w 410"/>
              <a:gd name="T33" fmla="*/ 65 h 302"/>
              <a:gd name="T34" fmla="*/ 408 w 410"/>
              <a:gd name="T35" fmla="*/ 74 h 302"/>
              <a:gd name="T36" fmla="*/ 397 w 410"/>
              <a:gd name="T37" fmla="*/ 80 h 302"/>
              <a:gd name="T38" fmla="*/ 401 w 410"/>
              <a:gd name="T39" fmla="*/ 96 h 302"/>
              <a:gd name="T40" fmla="*/ 370 w 410"/>
              <a:gd name="T41" fmla="*/ 131 h 302"/>
              <a:gd name="T42" fmla="*/ 355 w 410"/>
              <a:gd name="T43" fmla="*/ 140 h 302"/>
              <a:gd name="T44" fmla="*/ 355 w 410"/>
              <a:gd name="T45" fmla="*/ 136 h 302"/>
              <a:gd name="T46" fmla="*/ 355 w 410"/>
              <a:gd name="T47" fmla="*/ 126 h 302"/>
              <a:gd name="T48" fmla="*/ 341 w 410"/>
              <a:gd name="T49" fmla="*/ 131 h 302"/>
              <a:gd name="T50" fmla="*/ 330 w 410"/>
              <a:gd name="T51" fmla="*/ 142 h 302"/>
              <a:gd name="T52" fmla="*/ 339 w 410"/>
              <a:gd name="T53" fmla="*/ 150 h 302"/>
              <a:gd name="T54" fmla="*/ 349 w 410"/>
              <a:gd name="T55" fmla="*/ 151 h 302"/>
              <a:gd name="T56" fmla="*/ 363 w 410"/>
              <a:gd name="T57" fmla="*/ 153 h 302"/>
              <a:gd name="T58" fmla="*/ 355 w 410"/>
              <a:gd name="T59" fmla="*/ 159 h 302"/>
              <a:gd name="T60" fmla="*/ 348 w 410"/>
              <a:gd name="T61" fmla="*/ 169 h 302"/>
              <a:gd name="T62" fmla="*/ 358 w 410"/>
              <a:gd name="T63" fmla="*/ 188 h 302"/>
              <a:gd name="T64" fmla="*/ 361 w 410"/>
              <a:gd name="T65" fmla="*/ 199 h 302"/>
              <a:gd name="T66" fmla="*/ 350 w 410"/>
              <a:gd name="T67" fmla="*/ 197 h 302"/>
              <a:gd name="T68" fmla="*/ 366 w 410"/>
              <a:gd name="T69" fmla="*/ 209 h 302"/>
              <a:gd name="T70" fmla="*/ 366 w 410"/>
              <a:gd name="T71" fmla="*/ 212 h 302"/>
              <a:gd name="T72" fmla="*/ 371 w 410"/>
              <a:gd name="T73" fmla="*/ 217 h 302"/>
              <a:gd name="T74" fmla="*/ 370 w 410"/>
              <a:gd name="T75" fmla="*/ 223 h 302"/>
              <a:gd name="T76" fmla="*/ 367 w 410"/>
              <a:gd name="T77" fmla="*/ 230 h 302"/>
              <a:gd name="T78" fmla="*/ 365 w 410"/>
              <a:gd name="T79" fmla="*/ 238 h 302"/>
              <a:gd name="T80" fmla="*/ 361 w 410"/>
              <a:gd name="T81" fmla="*/ 243 h 302"/>
              <a:gd name="T82" fmla="*/ 361 w 410"/>
              <a:gd name="T83" fmla="*/ 250 h 302"/>
              <a:gd name="T84" fmla="*/ 357 w 410"/>
              <a:gd name="T85" fmla="*/ 252 h 302"/>
              <a:gd name="T86" fmla="*/ 353 w 410"/>
              <a:gd name="T87" fmla="*/ 259 h 302"/>
              <a:gd name="T88" fmla="*/ 348 w 410"/>
              <a:gd name="T89" fmla="*/ 263 h 302"/>
              <a:gd name="T90" fmla="*/ 341 w 410"/>
              <a:gd name="T91" fmla="*/ 270 h 302"/>
              <a:gd name="T92" fmla="*/ 331 w 410"/>
              <a:gd name="T93" fmla="*/ 273 h 302"/>
              <a:gd name="T94" fmla="*/ 325 w 410"/>
              <a:gd name="T95" fmla="*/ 275 h 302"/>
              <a:gd name="T96" fmla="*/ 313 w 410"/>
              <a:gd name="T97" fmla="*/ 280 h 302"/>
              <a:gd name="T98" fmla="*/ 309 w 410"/>
              <a:gd name="T99" fmla="*/ 282 h 302"/>
              <a:gd name="T100" fmla="*/ 306 w 410"/>
              <a:gd name="T101" fmla="*/ 287 h 302"/>
              <a:gd name="T102" fmla="*/ 299 w 410"/>
              <a:gd name="T103" fmla="*/ 279 h 302"/>
              <a:gd name="T104" fmla="*/ 252 w 410"/>
              <a:gd name="T105" fmla="*/ 285 h 302"/>
              <a:gd name="T106" fmla="*/ 348 w 410"/>
              <a:gd name="T107" fmla="*/ 265 h 302"/>
              <a:gd name="T108" fmla="*/ 365 w 410"/>
              <a:gd name="T109" fmla="*/ 200 h 302"/>
              <a:gd name="T110" fmla="*/ 375 w 410"/>
              <a:gd name="T111" fmla="*/ 270 h 302"/>
              <a:gd name="T112" fmla="*/ 376 w 410"/>
              <a:gd name="T113" fmla="*/ 250 h 302"/>
              <a:gd name="T114" fmla="*/ 368 w 410"/>
              <a:gd name="T115" fmla="*/ 267 h 302"/>
              <a:gd name="T116" fmla="*/ 312 w 410"/>
              <a:gd name="T117" fmla="*/ 284 h 302"/>
              <a:gd name="T118" fmla="*/ 300 w 410"/>
              <a:gd name="T119" fmla="*/ 298 h 302"/>
              <a:gd name="T120" fmla="*/ 312 w 410"/>
              <a:gd name="T121" fmla="*/ 29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0" h="302">
                <a:moveTo>
                  <a:pt x="124" y="64"/>
                </a:moveTo>
                <a:cubicBezTo>
                  <a:pt x="126" y="64"/>
                  <a:pt x="126" y="64"/>
                  <a:pt x="126" y="64"/>
                </a:cubicBezTo>
                <a:cubicBezTo>
                  <a:pt x="127" y="65"/>
                  <a:pt x="127" y="65"/>
                  <a:pt x="127" y="65"/>
                </a:cubicBezTo>
                <a:cubicBezTo>
                  <a:pt x="128" y="65"/>
                  <a:pt x="128" y="65"/>
                  <a:pt x="128" y="65"/>
                </a:cubicBezTo>
                <a:cubicBezTo>
                  <a:pt x="184" y="66"/>
                  <a:pt x="184" y="66"/>
                  <a:pt x="184" y="66"/>
                </a:cubicBezTo>
                <a:cubicBezTo>
                  <a:pt x="282" y="56"/>
                  <a:pt x="282" y="56"/>
                  <a:pt x="282" y="56"/>
                </a:cubicBezTo>
                <a:cubicBezTo>
                  <a:pt x="294" y="43"/>
                  <a:pt x="294" y="43"/>
                  <a:pt x="294" y="43"/>
                </a:cubicBezTo>
                <a:cubicBezTo>
                  <a:pt x="297" y="42"/>
                  <a:pt x="297" y="42"/>
                  <a:pt x="297" y="42"/>
                </a:cubicBezTo>
                <a:cubicBezTo>
                  <a:pt x="298" y="42"/>
                  <a:pt x="298" y="42"/>
                  <a:pt x="298" y="42"/>
                </a:cubicBezTo>
                <a:cubicBezTo>
                  <a:pt x="298" y="43"/>
                  <a:pt x="298" y="43"/>
                  <a:pt x="298" y="43"/>
                </a:cubicBezTo>
                <a:cubicBezTo>
                  <a:pt x="299" y="42"/>
                  <a:pt x="299" y="42"/>
                  <a:pt x="299" y="42"/>
                </a:cubicBezTo>
                <a:cubicBezTo>
                  <a:pt x="301" y="43"/>
                  <a:pt x="301" y="43"/>
                  <a:pt x="301" y="43"/>
                </a:cubicBezTo>
                <a:cubicBezTo>
                  <a:pt x="302" y="43"/>
                  <a:pt x="302" y="43"/>
                  <a:pt x="302" y="43"/>
                </a:cubicBezTo>
                <a:cubicBezTo>
                  <a:pt x="303" y="43"/>
                  <a:pt x="303" y="43"/>
                  <a:pt x="303" y="43"/>
                </a:cubicBezTo>
                <a:cubicBezTo>
                  <a:pt x="306" y="40"/>
                  <a:pt x="306" y="40"/>
                  <a:pt x="306" y="40"/>
                </a:cubicBezTo>
                <a:cubicBezTo>
                  <a:pt x="307" y="39"/>
                  <a:pt x="307" y="39"/>
                  <a:pt x="307" y="39"/>
                </a:cubicBezTo>
                <a:cubicBezTo>
                  <a:pt x="309" y="39"/>
                  <a:pt x="309" y="39"/>
                  <a:pt x="309" y="39"/>
                </a:cubicBezTo>
                <a:cubicBezTo>
                  <a:pt x="310" y="38"/>
                  <a:pt x="310" y="38"/>
                  <a:pt x="310" y="38"/>
                </a:cubicBezTo>
                <a:cubicBezTo>
                  <a:pt x="311" y="37"/>
                  <a:pt x="311" y="37"/>
                  <a:pt x="311" y="37"/>
                </a:cubicBezTo>
                <a:cubicBezTo>
                  <a:pt x="310" y="36"/>
                  <a:pt x="310" y="36"/>
                  <a:pt x="310" y="36"/>
                </a:cubicBezTo>
                <a:cubicBezTo>
                  <a:pt x="310" y="35"/>
                  <a:pt x="310" y="35"/>
                  <a:pt x="310" y="35"/>
                </a:cubicBezTo>
                <a:cubicBezTo>
                  <a:pt x="309" y="36"/>
                  <a:pt x="309" y="36"/>
                  <a:pt x="309" y="36"/>
                </a:cubicBezTo>
                <a:cubicBezTo>
                  <a:pt x="309" y="35"/>
                  <a:pt x="309" y="35"/>
                  <a:pt x="309" y="35"/>
                </a:cubicBezTo>
                <a:cubicBezTo>
                  <a:pt x="308" y="35"/>
                  <a:pt x="308" y="35"/>
                  <a:pt x="308" y="35"/>
                </a:cubicBezTo>
                <a:cubicBezTo>
                  <a:pt x="308" y="33"/>
                  <a:pt x="308" y="33"/>
                  <a:pt x="308" y="33"/>
                </a:cubicBezTo>
                <a:cubicBezTo>
                  <a:pt x="308" y="33"/>
                  <a:pt x="308" y="33"/>
                  <a:pt x="308" y="33"/>
                </a:cubicBezTo>
                <a:cubicBezTo>
                  <a:pt x="308" y="31"/>
                  <a:pt x="308" y="31"/>
                  <a:pt x="308" y="31"/>
                </a:cubicBezTo>
                <a:cubicBezTo>
                  <a:pt x="308" y="30"/>
                  <a:pt x="308" y="30"/>
                  <a:pt x="308" y="30"/>
                </a:cubicBezTo>
                <a:cubicBezTo>
                  <a:pt x="308" y="29"/>
                  <a:pt x="308" y="29"/>
                  <a:pt x="308" y="29"/>
                </a:cubicBezTo>
                <a:cubicBezTo>
                  <a:pt x="309" y="29"/>
                  <a:pt x="309" y="29"/>
                  <a:pt x="309" y="29"/>
                </a:cubicBezTo>
                <a:cubicBezTo>
                  <a:pt x="309" y="28"/>
                  <a:pt x="309" y="28"/>
                  <a:pt x="309" y="28"/>
                </a:cubicBezTo>
                <a:cubicBezTo>
                  <a:pt x="308" y="27"/>
                  <a:pt x="308" y="27"/>
                  <a:pt x="308" y="27"/>
                </a:cubicBezTo>
                <a:cubicBezTo>
                  <a:pt x="308" y="26"/>
                  <a:pt x="308" y="26"/>
                  <a:pt x="308" y="26"/>
                </a:cubicBezTo>
                <a:cubicBezTo>
                  <a:pt x="308" y="25"/>
                  <a:pt x="308" y="25"/>
                  <a:pt x="308" y="25"/>
                </a:cubicBezTo>
                <a:cubicBezTo>
                  <a:pt x="308" y="24"/>
                  <a:pt x="308" y="24"/>
                  <a:pt x="308" y="24"/>
                </a:cubicBezTo>
                <a:cubicBezTo>
                  <a:pt x="308" y="23"/>
                  <a:pt x="308" y="23"/>
                  <a:pt x="308" y="23"/>
                </a:cubicBezTo>
                <a:cubicBezTo>
                  <a:pt x="309" y="22"/>
                  <a:pt x="309" y="22"/>
                  <a:pt x="309" y="22"/>
                </a:cubicBezTo>
                <a:cubicBezTo>
                  <a:pt x="309" y="21"/>
                  <a:pt x="309" y="21"/>
                  <a:pt x="309" y="21"/>
                </a:cubicBezTo>
                <a:cubicBezTo>
                  <a:pt x="310" y="19"/>
                  <a:pt x="310" y="19"/>
                  <a:pt x="310" y="19"/>
                </a:cubicBezTo>
                <a:cubicBezTo>
                  <a:pt x="310" y="18"/>
                  <a:pt x="310" y="18"/>
                  <a:pt x="310" y="18"/>
                </a:cubicBezTo>
                <a:cubicBezTo>
                  <a:pt x="311" y="18"/>
                  <a:pt x="311" y="18"/>
                  <a:pt x="311" y="18"/>
                </a:cubicBezTo>
                <a:cubicBezTo>
                  <a:pt x="311" y="16"/>
                  <a:pt x="311" y="16"/>
                  <a:pt x="311" y="16"/>
                </a:cubicBezTo>
                <a:cubicBezTo>
                  <a:pt x="311" y="15"/>
                  <a:pt x="311" y="15"/>
                  <a:pt x="311" y="15"/>
                </a:cubicBezTo>
                <a:cubicBezTo>
                  <a:pt x="311" y="14"/>
                  <a:pt x="311" y="14"/>
                  <a:pt x="311" y="14"/>
                </a:cubicBezTo>
                <a:cubicBezTo>
                  <a:pt x="310" y="14"/>
                  <a:pt x="310" y="14"/>
                  <a:pt x="310" y="14"/>
                </a:cubicBezTo>
                <a:cubicBezTo>
                  <a:pt x="310" y="13"/>
                  <a:pt x="310" y="13"/>
                  <a:pt x="310" y="13"/>
                </a:cubicBezTo>
                <a:cubicBezTo>
                  <a:pt x="309" y="11"/>
                  <a:pt x="309" y="11"/>
                  <a:pt x="309" y="11"/>
                </a:cubicBezTo>
                <a:cubicBezTo>
                  <a:pt x="308" y="11"/>
                  <a:pt x="308" y="11"/>
                  <a:pt x="308" y="11"/>
                </a:cubicBezTo>
                <a:cubicBezTo>
                  <a:pt x="307" y="11"/>
                  <a:pt x="307" y="11"/>
                  <a:pt x="307" y="11"/>
                </a:cubicBezTo>
                <a:cubicBezTo>
                  <a:pt x="306" y="12"/>
                  <a:pt x="306" y="12"/>
                  <a:pt x="306" y="12"/>
                </a:cubicBezTo>
                <a:cubicBezTo>
                  <a:pt x="305" y="12"/>
                  <a:pt x="305" y="12"/>
                  <a:pt x="305" y="12"/>
                </a:cubicBezTo>
                <a:cubicBezTo>
                  <a:pt x="305" y="12"/>
                  <a:pt x="305" y="12"/>
                  <a:pt x="305" y="12"/>
                </a:cubicBezTo>
                <a:cubicBezTo>
                  <a:pt x="305" y="10"/>
                  <a:pt x="305" y="10"/>
                  <a:pt x="305" y="10"/>
                </a:cubicBezTo>
                <a:cubicBezTo>
                  <a:pt x="305" y="9"/>
                  <a:pt x="305" y="9"/>
                  <a:pt x="305" y="9"/>
                </a:cubicBezTo>
                <a:cubicBezTo>
                  <a:pt x="305" y="9"/>
                  <a:pt x="305" y="9"/>
                  <a:pt x="305" y="9"/>
                </a:cubicBezTo>
                <a:cubicBezTo>
                  <a:pt x="306" y="8"/>
                  <a:pt x="306" y="8"/>
                  <a:pt x="306" y="8"/>
                </a:cubicBezTo>
                <a:cubicBezTo>
                  <a:pt x="306" y="7"/>
                  <a:pt x="306" y="7"/>
                  <a:pt x="306" y="7"/>
                </a:cubicBezTo>
                <a:cubicBezTo>
                  <a:pt x="307" y="6"/>
                  <a:pt x="307" y="6"/>
                  <a:pt x="307" y="6"/>
                </a:cubicBezTo>
                <a:cubicBezTo>
                  <a:pt x="307" y="5"/>
                  <a:pt x="307" y="5"/>
                  <a:pt x="307" y="5"/>
                </a:cubicBezTo>
                <a:cubicBezTo>
                  <a:pt x="307" y="5"/>
                  <a:pt x="307" y="5"/>
                  <a:pt x="307" y="5"/>
                </a:cubicBezTo>
                <a:cubicBezTo>
                  <a:pt x="309" y="4"/>
                  <a:pt x="309" y="4"/>
                  <a:pt x="309" y="4"/>
                </a:cubicBezTo>
                <a:cubicBezTo>
                  <a:pt x="310" y="4"/>
                  <a:pt x="310" y="4"/>
                  <a:pt x="310" y="4"/>
                </a:cubicBezTo>
                <a:cubicBezTo>
                  <a:pt x="311" y="4"/>
                  <a:pt x="311" y="4"/>
                  <a:pt x="311" y="4"/>
                </a:cubicBezTo>
                <a:cubicBezTo>
                  <a:pt x="311" y="4"/>
                  <a:pt x="311" y="4"/>
                  <a:pt x="311" y="4"/>
                </a:cubicBezTo>
                <a:cubicBezTo>
                  <a:pt x="312" y="4"/>
                  <a:pt x="312" y="4"/>
                  <a:pt x="312" y="4"/>
                </a:cubicBezTo>
                <a:cubicBezTo>
                  <a:pt x="313" y="4"/>
                  <a:pt x="313" y="4"/>
                  <a:pt x="313" y="4"/>
                </a:cubicBezTo>
                <a:cubicBezTo>
                  <a:pt x="313" y="3"/>
                  <a:pt x="313" y="3"/>
                  <a:pt x="313" y="3"/>
                </a:cubicBezTo>
                <a:cubicBezTo>
                  <a:pt x="314" y="3"/>
                  <a:pt x="314" y="3"/>
                  <a:pt x="314" y="3"/>
                </a:cubicBezTo>
                <a:cubicBezTo>
                  <a:pt x="315" y="2"/>
                  <a:pt x="315" y="2"/>
                  <a:pt x="315" y="2"/>
                </a:cubicBezTo>
                <a:cubicBezTo>
                  <a:pt x="316" y="2"/>
                  <a:pt x="316" y="2"/>
                  <a:pt x="316" y="2"/>
                </a:cubicBezTo>
                <a:cubicBezTo>
                  <a:pt x="317" y="2"/>
                  <a:pt x="317" y="2"/>
                  <a:pt x="317" y="2"/>
                </a:cubicBezTo>
                <a:cubicBezTo>
                  <a:pt x="318" y="2"/>
                  <a:pt x="318" y="2"/>
                  <a:pt x="318" y="2"/>
                </a:cubicBezTo>
                <a:cubicBezTo>
                  <a:pt x="319" y="1"/>
                  <a:pt x="319" y="1"/>
                  <a:pt x="319" y="1"/>
                </a:cubicBezTo>
                <a:cubicBezTo>
                  <a:pt x="320" y="1"/>
                  <a:pt x="320" y="1"/>
                  <a:pt x="320" y="1"/>
                </a:cubicBezTo>
                <a:cubicBezTo>
                  <a:pt x="320" y="0"/>
                  <a:pt x="320" y="0"/>
                  <a:pt x="320" y="0"/>
                </a:cubicBezTo>
                <a:cubicBezTo>
                  <a:pt x="322" y="0"/>
                  <a:pt x="322" y="0"/>
                  <a:pt x="322" y="0"/>
                </a:cubicBezTo>
                <a:cubicBezTo>
                  <a:pt x="322" y="0"/>
                  <a:pt x="322" y="0"/>
                  <a:pt x="322" y="0"/>
                </a:cubicBezTo>
                <a:cubicBezTo>
                  <a:pt x="323" y="0"/>
                  <a:pt x="323" y="0"/>
                  <a:pt x="323" y="0"/>
                </a:cubicBezTo>
                <a:cubicBezTo>
                  <a:pt x="324" y="0"/>
                  <a:pt x="324" y="0"/>
                  <a:pt x="324" y="0"/>
                </a:cubicBezTo>
                <a:cubicBezTo>
                  <a:pt x="325" y="1"/>
                  <a:pt x="325" y="1"/>
                  <a:pt x="325" y="1"/>
                </a:cubicBezTo>
                <a:cubicBezTo>
                  <a:pt x="327" y="1"/>
                  <a:pt x="327" y="1"/>
                  <a:pt x="327" y="1"/>
                </a:cubicBezTo>
                <a:cubicBezTo>
                  <a:pt x="327" y="2"/>
                  <a:pt x="327" y="2"/>
                  <a:pt x="327" y="2"/>
                </a:cubicBezTo>
                <a:cubicBezTo>
                  <a:pt x="328" y="2"/>
                  <a:pt x="328" y="2"/>
                  <a:pt x="328" y="2"/>
                </a:cubicBezTo>
                <a:cubicBezTo>
                  <a:pt x="329" y="2"/>
                  <a:pt x="329" y="2"/>
                  <a:pt x="329" y="2"/>
                </a:cubicBezTo>
                <a:cubicBezTo>
                  <a:pt x="330" y="2"/>
                  <a:pt x="330" y="2"/>
                  <a:pt x="330" y="2"/>
                </a:cubicBezTo>
                <a:cubicBezTo>
                  <a:pt x="330" y="2"/>
                  <a:pt x="330" y="2"/>
                  <a:pt x="330" y="2"/>
                </a:cubicBezTo>
                <a:cubicBezTo>
                  <a:pt x="331" y="3"/>
                  <a:pt x="331" y="3"/>
                  <a:pt x="331" y="3"/>
                </a:cubicBezTo>
                <a:cubicBezTo>
                  <a:pt x="332" y="3"/>
                  <a:pt x="332" y="3"/>
                  <a:pt x="332" y="3"/>
                </a:cubicBezTo>
                <a:cubicBezTo>
                  <a:pt x="332" y="2"/>
                  <a:pt x="332" y="2"/>
                  <a:pt x="332" y="2"/>
                </a:cubicBezTo>
                <a:cubicBezTo>
                  <a:pt x="332" y="2"/>
                  <a:pt x="332" y="2"/>
                  <a:pt x="332" y="2"/>
                </a:cubicBezTo>
                <a:cubicBezTo>
                  <a:pt x="333" y="2"/>
                  <a:pt x="333" y="2"/>
                  <a:pt x="333" y="2"/>
                </a:cubicBezTo>
                <a:cubicBezTo>
                  <a:pt x="334" y="2"/>
                  <a:pt x="334" y="2"/>
                  <a:pt x="334" y="2"/>
                </a:cubicBezTo>
                <a:cubicBezTo>
                  <a:pt x="334" y="2"/>
                  <a:pt x="334" y="2"/>
                  <a:pt x="334" y="2"/>
                </a:cubicBezTo>
                <a:cubicBezTo>
                  <a:pt x="335" y="2"/>
                  <a:pt x="335" y="2"/>
                  <a:pt x="335" y="2"/>
                </a:cubicBezTo>
                <a:cubicBezTo>
                  <a:pt x="336" y="2"/>
                  <a:pt x="336" y="2"/>
                  <a:pt x="336" y="2"/>
                </a:cubicBezTo>
                <a:cubicBezTo>
                  <a:pt x="336" y="3"/>
                  <a:pt x="336" y="3"/>
                  <a:pt x="336" y="3"/>
                </a:cubicBezTo>
                <a:cubicBezTo>
                  <a:pt x="337" y="3"/>
                  <a:pt x="337" y="3"/>
                  <a:pt x="337" y="3"/>
                </a:cubicBezTo>
                <a:cubicBezTo>
                  <a:pt x="337" y="4"/>
                  <a:pt x="337" y="4"/>
                  <a:pt x="337" y="4"/>
                </a:cubicBezTo>
                <a:cubicBezTo>
                  <a:pt x="337" y="5"/>
                  <a:pt x="337" y="5"/>
                  <a:pt x="337" y="5"/>
                </a:cubicBezTo>
                <a:cubicBezTo>
                  <a:pt x="338" y="5"/>
                  <a:pt x="338" y="5"/>
                  <a:pt x="338" y="5"/>
                </a:cubicBezTo>
                <a:cubicBezTo>
                  <a:pt x="338" y="5"/>
                  <a:pt x="338" y="5"/>
                  <a:pt x="338" y="5"/>
                </a:cubicBezTo>
                <a:cubicBezTo>
                  <a:pt x="338" y="5"/>
                  <a:pt x="338" y="5"/>
                  <a:pt x="338" y="5"/>
                </a:cubicBezTo>
                <a:cubicBezTo>
                  <a:pt x="339" y="5"/>
                  <a:pt x="339" y="5"/>
                  <a:pt x="339" y="5"/>
                </a:cubicBezTo>
                <a:cubicBezTo>
                  <a:pt x="340" y="5"/>
                  <a:pt x="340" y="5"/>
                  <a:pt x="340" y="5"/>
                </a:cubicBezTo>
                <a:cubicBezTo>
                  <a:pt x="339" y="6"/>
                  <a:pt x="339" y="6"/>
                  <a:pt x="339" y="6"/>
                </a:cubicBezTo>
                <a:cubicBezTo>
                  <a:pt x="339" y="6"/>
                  <a:pt x="339" y="6"/>
                  <a:pt x="339" y="6"/>
                </a:cubicBezTo>
                <a:cubicBezTo>
                  <a:pt x="341" y="7"/>
                  <a:pt x="341" y="7"/>
                  <a:pt x="341" y="7"/>
                </a:cubicBezTo>
                <a:cubicBezTo>
                  <a:pt x="341" y="7"/>
                  <a:pt x="341" y="7"/>
                  <a:pt x="341" y="7"/>
                </a:cubicBezTo>
                <a:cubicBezTo>
                  <a:pt x="342" y="7"/>
                  <a:pt x="342" y="7"/>
                  <a:pt x="342" y="7"/>
                </a:cubicBezTo>
                <a:cubicBezTo>
                  <a:pt x="342" y="8"/>
                  <a:pt x="342" y="8"/>
                  <a:pt x="342" y="8"/>
                </a:cubicBezTo>
                <a:cubicBezTo>
                  <a:pt x="342" y="8"/>
                  <a:pt x="342" y="8"/>
                  <a:pt x="342" y="8"/>
                </a:cubicBezTo>
                <a:cubicBezTo>
                  <a:pt x="343" y="9"/>
                  <a:pt x="343" y="9"/>
                  <a:pt x="343" y="9"/>
                </a:cubicBezTo>
                <a:cubicBezTo>
                  <a:pt x="343" y="10"/>
                  <a:pt x="343" y="10"/>
                  <a:pt x="343" y="10"/>
                </a:cubicBezTo>
                <a:cubicBezTo>
                  <a:pt x="343" y="10"/>
                  <a:pt x="343" y="10"/>
                  <a:pt x="343" y="10"/>
                </a:cubicBezTo>
                <a:cubicBezTo>
                  <a:pt x="343" y="11"/>
                  <a:pt x="343" y="11"/>
                  <a:pt x="343" y="11"/>
                </a:cubicBezTo>
                <a:cubicBezTo>
                  <a:pt x="343" y="11"/>
                  <a:pt x="343" y="11"/>
                  <a:pt x="343" y="11"/>
                </a:cubicBezTo>
                <a:cubicBezTo>
                  <a:pt x="345" y="11"/>
                  <a:pt x="345" y="11"/>
                  <a:pt x="345" y="11"/>
                </a:cubicBezTo>
                <a:cubicBezTo>
                  <a:pt x="345" y="12"/>
                  <a:pt x="345" y="12"/>
                  <a:pt x="345" y="12"/>
                </a:cubicBezTo>
                <a:cubicBezTo>
                  <a:pt x="345" y="13"/>
                  <a:pt x="345" y="13"/>
                  <a:pt x="345" y="13"/>
                </a:cubicBezTo>
                <a:cubicBezTo>
                  <a:pt x="345" y="14"/>
                  <a:pt x="345" y="14"/>
                  <a:pt x="345" y="14"/>
                </a:cubicBezTo>
                <a:cubicBezTo>
                  <a:pt x="346" y="14"/>
                  <a:pt x="346" y="14"/>
                  <a:pt x="346" y="14"/>
                </a:cubicBezTo>
                <a:cubicBezTo>
                  <a:pt x="347" y="16"/>
                  <a:pt x="347" y="16"/>
                  <a:pt x="347" y="16"/>
                </a:cubicBezTo>
                <a:cubicBezTo>
                  <a:pt x="348" y="17"/>
                  <a:pt x="348" y="17"/>
                  <a:pt x="348" y="17"/>
                </a:cubicBezTo>
                <a:cubicBezTo>
                  <a:pt x="348" y="17"/>
                  <a:pt x="348" y="17"/>
                  <a:pt x="348" y="17"/>
                </a:cubicBezTo>
                <a:cubicBezTo>
                  <a:pt x="348" y="18"/>
                  <a:pt x="348" y="18"/>
                  <a:pt x="348" y="18"/>
                </a:cubicBezTo>
                <a:cubicBezTo>
                  <a:pt x="349" y="19"/>
                  <a:pt x="349" y="19"/>
                  <a:pt x="349" y="19"/>
                </a:cubicBezTo>
                <a:cubicBezTo>
                  <a:pt x="350" y="19"/>
                  <a:pt x="350" y="19"/>
                  <a:pt x="350" y="19"/>
                </a:cubicBezTo>
                <a:cubicBezTo>
                  <a:pt x="350" y="20"/>
                  <a:pt x="350" y="20"/>
                  <a:pt x="350" y="20"/>
                </a:cubicBezTo>
                <a:cubicBezTo>
                  <a:pt x="349" y="21"/>
                  <a:pt x="349" y="21"/>
                  <a:pt x="349" y="21"/>
                </a:cubicBezTo>
                <a:cubicBezTo>
                  <a:pt x="350" y="21"/>
                  <a:pt x="350" y="21"/>
                  <a:pt x="350" y="21"/>
                </a:cubicBezTo>
                <a:cubicBezTo>
                  <a:pt x="350" y="21"/>
                  <a:pt x="350" y="21"/>
                  <a:pt x="350" y="21"/>
                </a:cubicBezTo>
                <a:cubicBezTo>
                  <a:pt x="351" y="22"/>
                  <a:pt x="351" y="22"/>
                  <a:pt x="351" y="22"/>
                </a:cubicBezTo>
                <a:cubicBezTo>
                  <a:pt x="351" y="22"/>
                  <a:pt x="351" y="22"/>
                  <a:pt x="351" y="22"/>
                </a:cubicBezTo>
                <a:cubicBezTo>
                  <a:pt x="352" y="24"/>
                  <a:pt x="352" y="24"/>
                  <a:pt x="352" y="24"/>
                </a:cubicBezTo>
                <a:cubicBezTo>
                  <a:pt x="355" y="25"/>
                  <a:pt x="355" y="25"/>
                  <a:pt x="355" y="25"/>
                </a:cubicBezTo>
                <a:cubicBezTo>
                  <a:pt x="355" y="27"/>
                  <a:pt x="355" y="27"/>
                  <a:pt x="355" y="27"/>
                </a:cubicBezTo>
                <a:cubicBezTo>
                  <a:pt x="355" y="28"/>
                  <a:pt x="355" y="28"/>
                  <a:pt x="355" y="28"/>
                </a:cubicBezTo>
                <a:cubicBezTo>
                  <a:pt x="356" y="28"/>
                  <a:pt x="356" y="28"/>
                  <a:pt x="356" y="28"/>
                </a:cubicBezTo>
                <a:cubicBezTo>
                  <a:pt x="356" y="29"/>
                  <a:pt x="356" y="29"/>
                  <a:pt x="356" y="29"/>
                </a:cubicBezTo>
                <a:cubicBezTo>
                  <a:pt x="356" y="30"/>
                  <a:pt x="356" y="30"/>
                  <a:pt x="356" y="30"/>
                </a:cubicBezTo>
                <a:cubicBezTo>
                  <a:pt x="357" y="30"/>
                  <a:pt x="357" y="30"/>
                  <a:pt x="357" y="30"/>
                </a:cubicBezTo>
                <a:cubicBezTo>
                  <a:pt x="357" y="31"/>
                  <a:pt x="357" y="31"/>
                  <a:pt x="357" y="31"/>
                </a:cubicBezTo>
                <a:cubicBezTo>
                  <a:pt x="357" y="32"/>
                  <a:pt x="357" y="32"/>
                  <a:pt x="357" y="32"/>
                </a:cubicBezTo>
                <a:cubicBezTo>
                  <a:pt x="358" y="33"/>
                  <a:pt x="358" y="33"/>
                  <a:pt x="358" y="33"/>
                </a:cubicBezTo>
                <a:cubicBezTo>
                  <a:pt x="359" y="35"/>
                  <a:pt x="359" y="35"/>
                  <a:pt x="359" y="35"/>
                </a:cubicBezTo>
                <a:cubicBezTo>
                  <a:pt x="360" y="35"/>
                  <a:pt x="360" y="35"/>
                  <a:pt x="360" y="35"/>
                </a:cubicBezTo>
                <a:cubicBezTo>
                  <a:pt x="361" y="36"/>
                  <a:pt x="361" y="36"/>
                  <a:pt x="361" y="36"/>
                </a:cubicBezTo>
                <a:cubicBezTo>
                  <a:pt x="362" y="36"/>
                  <a:pt x="362" y="36"/>
                  <a:pt x="362" y="36"/>
                </a:cubicBezTo>
                <a:cubicBezTo>
                  <a:pt x="362" y="36"/>
                  <a:pt x="362" y="36"/>
                  <a:pt x="362" y="36"/>
                </a:cubicBezTo>
                <a:cubicBezTo>
                  <a:pt x="363" y="36"/>
                  <a:pt x="363" y="36"/>
                  <a:pt x="363" y="36"/>
                </a:cubicBezTo>
                <a:cubicBezTo>
                  <a:pt x="363" y="36"/>
                  <a:pt x="363" y="36"/>
                  <a:pt x="363" y="36"/>
                </a:cubicBezTo>
                <a:cubicBezTo>
                  <a:pt x="365" y="36"/>
                  <a:pt x="365" y="36"/>
                  <a:pt x="365" y="36"/>
                </a:cubicBezTo>
                <a:cubicBezTo>
                  <a:pt x="365" y="35"/>
                  <a:pt x="365" y="35"/>
                  <a:pt x="365" y="35"/>
                </a:cubicBezTo>
                <a:cubicBezTo>
                  <a:pt x="366" y="35"/>
                  <a:pt x="366" y="35"/>
                  <a:pt x="366" y="35"/>
                </a:cubicBezTo>
                <a:cubicBezTo>
                  <a:pt x="366" y="36"/>
                  <a:pt x="366" y="36"/>
                  <a:pt x="366" y="36"/>
                </a:cubicBezTo>
                <a:cubicBezTo>
                  <a:pt x="366" y="36"/>
                  <a:pt x="366" y="36"/>
                  <a:pt x="366" y="36"/>
                </a:cubicBezTo>
                <a:cubicBezTo>
                  <a:pt x="366" y="37"/>
                  <a:pt x="366" y="37"/>
                  <a:pt x="366" y="37"/>
                </a:cubicBezTo>
                <a:cubicBezTo>
                  <a:pt x="368" y="37"/>
                  <a:pt x="368" y="37"/>
                  <a:pt x="368" y="37"/>
                </a:cubicBezTo>
                <a:cubicBezTo>
                  <a:pt x="368" y="37"/>
                  <a:pt x="368" y="37"/>
                  <a:pt x="368" y="37"/>
                </a:cubicBezTo>
                <a:cubicBezTo>
                  <a:pt x="369" y="38"/>
                  <a:pt x="369" y="38"/>
                  <a:pt x="369" y="38"/>
                </a:cubicBezTo>
                <a:cubicBezTo>
                  <a:pt x="369" y="38"/>
                  <a:pt x="369" y="38"/>
                  <a:pt x="369" y="38"/>
                </a:cubicBezTo>
                <a:cubicBezTo>
                  <a:pt x="370" y="38"/>
                  <a:pt x="370" y="38"/>
                  <a:pt x="370" y="38"/>
                </a:cubicBezTo>
                <a:cubicBezTo>
                  <a:pt x="370" y="37"/>
                  <a:pt x="370" y="37"/>
                  <a:pt x="370" y="37"/>
                </a:cubicBezTo>
                <a:cubicBezTo>
                  <a:pt x="371" y="38"/>
                  <a:pt x="371" y="38"/>
                  <a:pt x="371" y="38"/>
                </a:cubicBezTo>
                <a:cubicBezTo>
                  <a:pt x="371" y="37"/>
                  <a:pt x="371" y="37"/>
                  <a:pt x="371" y="37"/>
                </a:cubicBezTo>
                <a:cubicBezTo>
                  <a:pt x="372" y="37"/>
                  <a:pt x="372" y="37"/>
                  <a:pt x="372" y="37"/>
                </a:cubicBezTo>
                <a:cubicBezTo>
                  <a:pt x="372" y="37"/>
                  <a:pt x="372" y="37"/>
                  <a:pt x="372" y="37"/>
                </a:cubicBezTo>
                <a:cubicBezTo>
                  <a:pt x="373" y="38"/>
                  <a:pt x="373" y="38"/>
                  <a:pt x="373" y="38"/>
                </a:cubicBezTo>
                <a:cubicBezTo>
                  <a:pt x="373" y="39"/>
                  <a:pt x="373" y="39"/>
                  <a:pt x="373" y="39"/>
                </a:cubicBezTo>
                <a:cubicBezTo>
                  <a:pt x="374" y="39"/>
                  <a:pt x="374" y="39"/>
                  <a:pt x="374" y="39"/>
                </a:cubicBezTo>
                <a:cubicBezTo>
                  <a:pt x="374" y="39"/>
                  <a:pt x="374" y="39"/>
                  <a:pt x="374" y="39"/>
                </a:cubicBezTo>
                <a:cubicBezTo>
                  <a:pt x="375" y="40"/>
                  <a:pt x="375" y="40"/>
                  <a:pt x="375" y="40"/>
                </a:cubicBezTo>
                <a:cubicBezTo>
                  <a:pt x="375" y="40"/>
                  <a:pt x="375" y="40"/>
                  <a:pt x="375" y="40"/>
                </a:cubicBezTo>
                <a:cubicBezTo>
                  <a:pt x="376" y="40"/>
                  <a:pt x="376" y="40"/>
                  <a:pt x="376" y="40"/>
                </a:cubicBezTo>
                <a:cubicBezTo>
                  <a:pt x="376" y="41"/>
                  <a:pt x="376" y="41"/>
                  <a:pt x="376" y="41"/>
                </a:cubicBezTo>
                <a:cubicBezTo>
                  <a:pt x="377" y="42"/>
                  <a:pt x="377" y="42"/>
                  <a:pt x="377" y="42"/>
                </a:cubicBezTo>
                <a:cubicBezTo>
                  <a:pt x="377" y="42"/>
                  <a:pt x="377" y="42"/>
                  <a:pt x="377" y="42"/>
                </a:cubicBezTo>
                <a:cubicBezTo>
                  <a:pt x="378" y="42"/>
                  <a:pt x="378" y="42"/>
                  <a:pt x="378" y="42"/>
                </a:cubicBezTo>
                <a:cubicBezTo>
                  <a:pt x="379" y="43"/>
                  <a:pt x="379" y="43"/>
                  <a:pt x="379" y="43"/>
                </a:cubicBezTo>
                <a:cubicBezTo>
                  <a:pt x="380" y="43"/>
                  <a:pt x="380" y="43"/>
                  <a:pt x="380" y="43"/>
                </a:cubicBezTo>
                <a:cubicBezTo>
                  <a:pt x="380" y="42"/>
                  <a:pt x="380" y="42"/>
                  <a:pt x="380" y="42"/>
                </a:cubicBezTo>
                <a:cubicBezTo>
                  <a:pt x="381" y="42"/>
                  <a:pt x="381" y="42"/>
                  <a:pt x="381" y="42"/>
                </a:cubicBezTo>
                <a:cubicBezTo>
                  <a:pt x="382" y="42"/>
                  <a:pt x="382" y="42"/>
                  <a:pt x="382" y="42"/>
                </a:cubicBezTo>
                <a:cubicBezTo>
                  <a:pt x="382" y="42"/>
                  <a:pt x="382" y="42"/>
                  <a:pt x="382" y="42"/>
                </a:cubicBezTo>
                <a:cubicBezTo>
                  <a:pt x="383" y="42"/>
                  <a:pt x="383" y="42"/>
                  <a:pt x="383" y="42"/>
                </a:cubicBezTo>
                <a:cubicBezTo>
                  <a:pt x="382" y="43"/>
                  <a:pt x="382" y="43"/>
                  <a:pt x="382" y="43"/>
                </a:cubicBezTo>
                <a:cubicBezTo>
                  <a:pt x="382" y="44"/>
                  <a:pt x="382" y="44"/>
                  <a:pt x="382" y="44"/>
                </a:cubicBezTo>
                <a:cubicBezTo>
                  <a:pt x="382" y="44"/>
                  <a:pt x="382" y="44"/>
                  <a:pt x="382" y="44"/>
                </a:cubicBezTo>
                <a:cubicBezTo>
                  <a:pt x="382" y="45"/>
                  <a:pt x="382" y="45"/>
                  <a:pt x="382" y="45"/>
                </a:cubicBezTo>
                <a:cubicBezTo>
                  <a:pt x="383" y="45"/>
                  <a:pt x="383" y="45"/>
                  <a:pt x="383" y="45"/>
                </a:cubicBezTo>
                <a:cubicBezTo>
                  <a:pt x="383" y="46"/>
                  <a:pt x="383" y="46"/>
                  <a:pt x="383" y="46"/>
                </a:cubicBezTo>
                <a:cubicBezTo>
                  <a:pt x="384" y="47"/>
                  <a:pt x="384" y="47"/>
                  <a:pt x="384" y="47"/>
                </a:cubicBezTo>
                <a:cubicBezTo>
                  <a:pt x="384" y="48"/>
                  <a:pt x="384" y="48"/>
                  <a:pt x="384" y="48"/>
                </a:cubicBezTo>
                <a:cubicBezTo>
                  <a:pt x="383" y="49"/>
                  <a:pt x="383" y="49"/>
                  <a:pt x="383" y="49"/>
                </a:cubicBezTo>
                <a:cubicBezTo>
                  <a:pt x="383" y="50"/>
                  <a:pt x="383" y="50"/>
                  <a:pt x="383" y="50"/>
                </a:cubicBezTo>
                <a:cubicBezTo>
                  <a:pt x="384" y="51"/>
                  <a:pt x="384" y="51"/>
                  <a:pt x="384" y="51"/>
                </a:cubicBezTo>
                <a:cubicBezTo>
                  <a:pt x="385" y="52"/>
                  <a:pt x="385" y="52"/>
                  <a:pt x="385" y="52"/>
                </a:cubicBezTo>
                <a:cubicBezTo>
                  <a:pt x="386" y="53"/>
                  <a:pt x="386" y="53"/>
                  <a:pt x="386" y="53"/>
                </a:cubicBezTo>
                <a:cubicBezTo>
                  <a:pt x="386" y="53"/>
                  <a:pt x="386" y="53"/>
                  <a:pt x="386" y="53"/>
                </a:cubicBezTo>
                <a:cubicBezTo>
                  <a:pt x="387" y="53"/>
                  <a:pt x="387" y="53"/>
                  <a:pt x="387" y="53"/>
                </a:cubicBezTo>
                <a:cubicBezTo>
                  <a:pt x="388" y="53"/>
                  <a:pt x="388" y="53"/>
                  <a:pt x="388" y="53"/>
                </a:cubicBezTo>
                <a:cubicBezTo>
                  <a:pt x="389" y="53"/>
                  <a:pt x="389" y="53"/>
                  <a:pt x="389" y="53"/>
                </a:cubicBezTo>
                <a:cubicBezTo>
                  <a:pt x="390" y="53"/>
                  <a:pt x="390" y="53"/>
                  <a:pt x="390" y="53"/>
                </a:cubicBezTo>
                <a:cubicBezTo>
                  <a:pt x="390" y="54"/>
                  <a:pt x="390" y="54"/>
                  <a:pt x="390" y="54"/>
                </a:cubicBezTo>
                <a:cubicBezTo>
                  <a:pt x="391" y="54"/>
                  <a:pt x="391" y="54"/>
                  <a:pt x="391" y="54"/>
                </a:cubicBezTo>
                <a:cubicBezTo>
                  <a:pt x="391" y="53"/>
                  <a:pt x="391" y="53"/>
                  <a:pt x="391" y="53"/>
                </a:cubicBezTo>
                <a:cubicBezTo>
                  <a:pt x="392" y="54"/>
                  <a:pt x="392" y="54"/>
                  <a:pt x="392" y="54"/>
                </a:cubicBezTo>
                <a:cubicBezTo>
                  <a:pt x="393" y="53"/>
                  <a:pt x="393" y="53"/>
                  <a:pt x="393" y="53"/>
                </a:cubicBezTo>
                <a:cubicBezTo>
                  <a:pt x="394" y="53"/>
                  <a:pt x="394" y="53"/>
                  <a:pt x="394" y="53"/>
                </a:cubicBezTo>
                <a:cubicBezTo>
                  <a:pt x="395" y="52"/>
                  <a:pt x="395" y="52"/>
                  <a:pt x="395" y="52"/>
                </a:cubicBezTo>
                <a:cubicBezTo>
                  <a:pt x="396" y="52"/>
                  <a:pt x="396" y="52"/>
                  <a:pt x="396" y="52"/>
                </a:cubicBezTo>
                <a:cubicBezTo>
                  <a:pt x="396" y="51"/>
                  <a:pt x="396" y="51"/>
                  <a:pt x="396" y="51"/>
                </a:cubicBezTo>
                <a:cubicBezTo>
                  <a:pt x="396" y="50"/>
                  <a:pt x="396" y="50"/>
                  <a:pt x="396" y="50"/>
                </a:cubicBezTo>
                <a:cubicBezTo>
                  <a:pt x="397" y="50"/>
                  <a:pt x="397" y="50"/>
                  <a:pt x="397" y="50"/>
                </a:cubicBezTo>
                <a:cubicBezTo>
                  <a:pt x="397" y="49"/>
                  <a:pt x="397" y="49"/>
                  <a:pt x="397" y="49"/>
                </a:cubicBezTo>
                <a:cubicBezTo>
                  <a:pt x="397" y="48"/>
                  <a:pt x="397" y="48"/>
                  <a:pt x="397" y="48"/>
                </a:cubicBezTo>
                <a:cubicBezTo>
                  <a:pt x="398" y="48"/>
                  <a:pt x="398" y="48"/>
                  <a:pt x="398" y="48"/>
                </a:cubicBezTo>
                <a:cubicBezTo>
                  <a:pt x="399" y="48"/>
                  <a:pt x="399" y="48"/>
                  <a:pt x="399" y="48"/>
                </a:cubicBezTo>
                <a:cubicBezTo>
                  <a:pt x="400" y="47"/>
                  <a:pt x="400" y="47"/>
                  <a:pt x="400" y="47"/>
                </a:cubicBezTo>
                <a:cubicBezTo>
                  <a:pt x="400" y="46"/>
                  <a:pt x="400" y="46"/>
                  <a:pt x="400" y="46"/>
                </a:cubicBezTo>
                <a:cubicBezTo>
                  <a:pt x="401" y="46"/>
                  <a:pt x="401" y="46"/>
                  <a:pt x="401" y="46"/>
                </a:cubicBezTo>
                <a:cubicBezTo>
                  <a:pt x="401" y="45"/>
                  <a:pt x="401" y="45"/>
                  <a:pt x="401" y="45"/>
                </a:cubicBezTo>
                <a:cubicBezTo>
                  <a:pt x="402" y="45"/>
                  <a:pt x="402" y="45"/>
                  <a:pt x="402" y="45"/>
                </a:cubicBezTo>
                <a:cubicBezTo>
                  <a:pt x="403" y="44"/>
                  <a:pt x="403" y="44"/>
                  <a:pt x="403" y="44"/>
                </a:cubicBezTo>
                <a:cubicBezTo>
                  <a:pt x="403" y="44"/>
                  <a:pt x="403" y="44"/>
                  <a:pt x="403" y="44"/>
                </a:cubicBezTo>
                <a:cubicBezTo>
                  <a:pt x="405" y="44"/>
                  <a:pt x="405" y="44"/>
                  <a:pt x="405" y="44"/>
                </a:cubicBezTo>
                <a:cubicBezTo>
                  <a:pt x="405" y="45"/>
                  <a:pt x="405" y="45"/>
                  <a:pt x="405" y="45"/>
                </a:cubicBezTo>
                <a:cubicBezTo>
                  <a:pt x="406" y="45"/>
                  <a:pt x="406" y="45"/>
                  <a:pt x="406" y="45"/>
                </a:cubicBezTo>
                <a:cubicBezTo>
                  <a:pt x="407" y="46"/>
                  <a:pt x="407" y="46"/>
                  <a:pt x="407" y="46"/>
                </a:cubicBezTo>
                <a:cubicBezTo>
                  <a:pt x="407" y="47"/>
                  <a:pt x="407" y="47"/>
                  <a:pt x="407" y="47"/>
                </a:cubicBezTo>
                <a:cubicBezTo>
                  <a:pt x="407" y="47"/>
                  <a:pt x="407" y="47"/>
                  <a:pt x="407" y="47"/>
                </a:cubicBezTo>
                <a:cubicBezTo>
                  <a:pt x="407" y="48"/>
                  <a:pt x="407" y="48"/>
                  <a:pt x="407" y="48"/>
                </a:cubicBezTo>
                <a:cubicBezTo>
                  <a:pt x="408" y="49"/>
                  <a:pt x="408" y="49"/>
                  <a:pt x="408" y="49"/>
                </a:cubicBezTo>
                <a:cubicBezTo>
                  <a:pt x="408" y="50"/>
                  <a:pt x="408" y="50"/>
                  <a:pt x="408" y="50"/>
                </a:cubicBezTo>
                <a:cubicBezTo>
                  <a:pt x="409" y="51"/>
                  <a:pt x="409" y="51"/>
                  <a:pt x="409" y="51"/>
                </a:cubicBezTo>
                <a:cubicBezTo>
                  <a:pt x="410" y="51"/>
                  <a:pt x="410" y="51"/>
                  <a:pt x="410" y="51"/>
                </a:cubicBezTo>
                <a:cubicBezTo>
                  <a:pt x="409" y="52"/>
                  <a:pt x="409" y="52"/>
                  <a:pt x="409" y="52"/>
                </a:cubicBezTo>
                <a:cubicBezTo>
                  <a:pt x="409" y="53"/>
                  <a:pt x="409" y="53"/>
                  <a:pt x="409" y="53"/>
                </a:cubicBezTo>
                <a:cubicBezTo>
                  <a:pt x="409" y="54"/>
                  <a:pt x="409" y="54"/>
                  <a:pt x="409" y="54"/>
                </a:cubicBezTo>
                <a:cubicBezTo>
                  <a:pt x="408" y="54"/>
                  <a:pt x="408" y="54"/>
                  <a:pt x="408" y="54"/>
                </a:cubicBezTo>
                <a:cubicBezTo>
                  <a:pt x="407" y="55"/>
                  <a:pt x="407" y="55"/>
                  <a:pt x="407" y="55"/>
                </a:cubicBezTo>
                <a:cubicBezTo>
                  <a:pt x="407" y="56"/>
                  <a:pt x="407" y="56"/>
                  <a:pt x="407" y="56"/>
                </a:cubicBezTo>
                <a:cubicBezTo>
                  <a:pt x="408" y="56"/>
                  <a:pt x="408" y="56"/>
                  <a:pt x="408" y="56"/>
                </a:cubicBezTo>
                <a:cubicBezTo>
                  <a:pt x="408" y="57"/>
                  <a:pt x="408" y="57"/>
                  <a:pt x="408" y="57"/>
                </a:cubicBezTo>
                <a:cubicBezTo>
                  <a:pt x="408" y="58"/>
                  <a:pt x="408" y="58"/>
                  <a:pt x="408" y="58"/>
                </a:cubicBezTo>
                <a:cubicBezTo>
                  <a:pt x="408" y="59"/>
                  <a:pt x="408" y="59"/>
                  <a:pt x="408" y="59"/>
                </a:cubicBezTo>
                <a:cubicBezTo>
                  <a:pt x="408" y="59"/>
                  <a:pt x="408" y="59"/>
                  <a:pt x="408" y="59"/>
                </a:cubicBezTo>
                <a:cubicBezTo>
                  <a:pt x="408" y="60"/>
                  <a:pt x="408" y="60"/>
                  <a:pt x="408" y="60"/>
                </a:cubicBezTo>
                <a:cubicBezTo>
                  <a:pt x="408" y="60"/>
                  <a:pt x="408" y="60"/>
                  <a:pt x="408" y="60"/>
                </a:cubicBezTo>
                <a:cubicBezTo>
                  <a:pt x="409" y="61"/>
                  <a:pt x="409" y="61"/>
                  <a:pt x="409" y="61"/>
                </a:cubicBezTo>
                <a:cubicBezTo>
                  <a:pt x="409" y="61"/>
                  <a:pt x="409" y="61"/>
                  <a:pt x="409" y="61"/>
                </a:cubicBezTo>
                <a:cubicBezTo>
                  <a:pt x="408" y="62"/>
                  <a:pt x="408" y="62"/>
                  <a:pt x="408" y="62"/>
                </a:cubicBezTo>
                <a:cubicBezTo>
                  <a:pt x="408" y="62"/>
                  <a:pt x="408" y="62"/>
                  <a:pt x="408" y="62"/>
                </a:cubicBezTo>
                <a:cubicBezTo>
                  <a:pt x="408" y="63"/>
                  <a:pt x="408" y="63"/>
                  <a:pt x="408" y="63"/>
                </a:cubicBezTo>
                <a:cubicBezTo>
                  <a:pt x="409" y="65"/>
                  <a:pt x="409" y="65"/>
                  <a:pt x="409" y="65"/>
                </a:cubicBezTo>
                <a:cubicBezTo>
                  <a:pt x="409" y="65"/>
                  <a:pt x="409" y="65"/>
                  <a:pt x="409" y="65"/>
                </a:cubicBezTo>
                <a:cubicBezTo>
                  <a:pt x="409" y="66"/>
                  <a:pt x="409" y="66"/>
                  <a:pt x="409" y="66"/>
                </a:cubicBezTo>
                <a:cubicBezTo>
                  <a:pt x="408" y="66"/>
                  <a:pt x="408" y="66"/>
                  <a:pt x="408" y="66"/>
                </a:cubicBezTo>
                <a:cubicBezTo>
                  <a:pt x="408" y="67"/>
                  <a:pt x="408" y="67"/>
                  <a:pt x="408" y="67"/>
                </a:cubicBezTo>
                <a:cubicBezTo>
                  <a:pt x="408" y="68"/>
                  <a:pt x="408" y="68"/>
                  <a:pt x="408" y="68"/>
                </a:cubicBezTo>
                <a:cubicBezTo>
                  <a:pt x="408" y="68"/>
                  <a:pt x="408" y="68"/>
                  <a:pt x="408" y="68"/>
                </a:cubicBezTo>
                <a:cubicBezTo>
                  <a:pt x="409" y="69"/>
                  <a:pt x="409" y="69"/>
                  <a:pt x="409" y="69"/>
                </a:cubicBezTo>
                <a:cubicBezTo>
                  <a:pt x="408" y="69"/>
                  <a:pt x="408" y="69"/>
                  <a:pt x="408" y="69"/>
                </a:cubicBezTo>
                <a:cubicBezTo>
                  <a:pt x="408" y="70"/>
                  <a:pt x="408" y="70"/>
                  <a:pt x="408" y="70"/>
                </a:cubicBezTo>
                <a:cubicBezTo>
                  <a:pt x="408" y="70"/>
                  <a:pt x="408" y="70"/>
                  <a:pt x="408" y="70"/>
                </a:cubicBezTo>
                <a:cubicBezTo>
                  <a:pt x="408" y="71"/>
                  <a:pt x="408" y="71"/>
                  <a:pt x="408" y="71"/>
                </a:cubicBezTo>
                <a:cubicBezTo>
                  <a:pt x="408" y="72"/>
                  <a:pt x="408" y="72"/>
                  <a:pt x="408" y="72"/>
                </a:cubicBezTo>
                <a:cubicBezTo>
                  <a:pt x="407" y="73"/>
                  <a:pt x="407" y="73"/>
                  <a:pt x="407" y="73"/>
                </a:cubicBezTo>
                <a:cubicBezTo>
                  <a:pt x="408" y="74"/>
                  <a:pt x="408" y="74"/>
                  <a:pt x="408" y="74"/>
                </a:cubicBezTo>
                <a:cubicBezTo>
                  <a:pt x="408" y="74"/>
                  <a:pt x="408" y="74"/>
                  <a:pt x="408" y="74"/>
                </a:cubicBezTo>
                <a:cubicBezTo>
                  <a:pt x="408" y="75"/>
                  <a:pt x="408" y="75"/>
                  <a:pt x="408" y="75"/>
                </a:cubicBezTo>
                <a:cubicBezTo>
                  <a:pt x="408" y="76"/>
                  <a:pt x="408" y="76"/>
                  <a:pt x="408" y="76"/>
                </a:cubicBezTo>
                <a:cubicBezTo>
                  <a:pt x="408" y="76"/>
                  <a:pt x="408" y="76"/>
                  <a:pt x="408" y="76"/>
                </a:cubicBezTo>
                <a:cubicBezTo>
                  <a:pt x="408" y="77"/>
                  <a:pt x="408" y="77"/>
                  <a:pt x="408" y="77"/>
                </a:cubicBezTo>
                <a:cubicBezTo>
                  <a:pt x="408" y="78"/>
                  <a:pt x="408" y="78"/>
                  <a:pt x="408" y="78"/>
                </a:cubicBezTo>
                <a:cubicBezTo>
                  <a:pt x="407" y="78"/>
                  <a:pt x="407" y="78"/>
                  <a:pt x="407" y="78"/>
                </a:cubicBezTo>
                <a:cubicBezTo>
                  <a:pt x="406" y="78"/>
                  <a:pt x="406" y="78"/>
                  <a:pt x="406" y="78"/>
                </a:cubicBezTo>
                <a:cubicBezTo>
                  <a:pt x="402" y="77"/>
                  <a:pt x="402" y="77"/>
                  <a:pt x="402" y="77"/>
                </a:cubicBezTo>
                <a:cubicBezTo>
                  <a:pt x="402" y="77"/>
                  <a:pt x="402" y="77"/>
                  <a:pt x="402" y="77"/>
                </a:cubicBezTo>
                <a:cubicBezTo>
                  <a:pt x="401" y="76"/>
                  <a:pt x="401" y="76"/>
                  <a:pt x="401" y="76"/>
                </a:cubicBezTo>
                <a:cubicBezTo>
                  <a:pt x="400" y="76"/>
                  <a:pt x="400" y="76"/>
                  <a:pt x="400" y="76"/>
                </a:cubicBezTo>
                <a:cubicBezTo>
                  <a:pt x="399" y="78"/>
                  <a:pt x="399" y="78"/>
                  <a:pt x="399" y="78"/>
                </a:cubicBezTo>
                <a:cubicBezTo>
                  <a:pt x="399" y="79"/>
                  <a:pt x="399" y="79"/>
                  <a:pt x="399" y="79"/>
                </a:cubicBezTo>
                <a:cubicBezTo>
                  <a:pt x="398" y="80"/>
                  <a:pt x="398" y="80"/>
                  <a:pt x="398" y="80"/>
                </a:cubicBezTo>
                <a:cubicBezTo>
                  <a:pt x="397" y="80"/>
                  <a:pt x="397" y="80"/>
                  <a:pt x="397" y="80"/>
                </a:cubicBezTo>
                <a:cubicBezTo>
                  <a:pt x="397" y="80"/>
                  <a:pt x="397" y="80"/>
                  <a:pt x="397" y="80"/>
                </a:cubicBezTo>
                <a:cubicBezTo>
                  <a:pt x="396" y="81"/>
                  <a:pt x="396" y="81"/>
                  <a:pt x="396" y="81"/>
                </a:cubicBezTo>
                <a:cubicBezTo>
                  <a:pt x="397" y="82"/>
                  <a:pt x="397" y="82"/>
                  <a:pt x="397" y="82"/>
                </a:cubicBezTo>
                <a:cubicBezTo>
                  <a:pt x="398" y="84"/>
                  <a:pt x="398" y="84"/>
                  <a:pt x="398" y="84"/>
                </a:cubicBezTo>
                <a:cubicBezTo>
                  <a:pt x="399" y="85"/>
                  <a:pt x="399" y="85"/>
                  <a:pt x="399" y="85"/>
                </a:cubicBezTo>
                <a:cubicBezTo>
                  <a:pt x="399" y="86"/>
                  <a:pt x="399" y="86"/>
                  <a:pt x="399" y="86"/>
                </a:cubicBezTo>
                <a:cubicBezTo>
                  <a:pt x="400" y="87"/>
                  <a:pt x="400" y="87"/>
                  <a:pt x="400" y="87"/>
                </a:cubicBezTo>
                <a:cubicBezTo>
                  <a:pt x="400" y="88"/>
                  <a:pt x="400" y="88"/>
                  <a:pt x="400" y="88"/>
                </a:cubicBezTo>
                <a:cubicBezTo>
                  <a:pt x="400" y="90"/>
                  <a:pt x="400" y="90"/>
                  <a:pt x="400" y="90"/>
                </a:cubicBezTo>
                <a:cubicBezTo>
                  <a:pt x="400" y="91"/>
                  <a:pt x="400" y="91"/>
                  <a:pt x="400" y="91"/>
                </a:cubicBezTo>
                <a:cubicBezTo>
                  <a:pt x="400" y="93"/>
                  <a:pt x="400" y="93"/>
                  <a:pt x="400" y="93"/>
                </a:cubicBezTo>
                <a:cubicBezTo>
                  <a:pt x="401" y="93"/>
                  <a:pt x="401" y="93"/>
                  <a:pt x="401" y="93"/>
                </a:cubicBezTo>
                <a:cubicBezTo>
                  <a:pt x="401" y="95"/>
                  <a:pt x="401" y="95"/>
                  <a:pt x="401" y="95"/>
                </a:cubicBezTo>
                <a:cubicBezTo>
                  <a:pt x="401" y="96"/>
                  <a:pt x="401" y="96"/>
                  <a:pt x="401" y="96"/>
                </a:cubicBezTo>
                <a:cubicBezTo>
                  <a:pt x="401" y="96"/>
                  <a:pt x="401" y="96"/>
                  <a:pt x="401" y="96"/>
                </a:cubicBezTo>
                <a:cubicBezTo>
                  <a:pt x="400" y="97"/>
                  <a:pt x="400" y="97"/>
                  <a:pt x="400" y="97"/>
                </a:cubicBezTo>
                <a:cubicBezTo>
                  <a:pt x="401" y="98"/>
                  <a:pt x="401" y="98"/>
                  <a:pt x="401" y="98"/>
                </a:cubicBezTo>
                <a:cubicBezTo>
                  <a:pt x="401" y="99"/>
                  <a:pt x="401" y="99"/>
                  <a:pt x="401" y="99"/>
                </a:cubicBezTo>
                <a:cubicBezTo>
                  <a:pt x="400" y="99"/>
                  <a:pt x="400" y="99"/>
                  <a:pt x="400" y="99"/>
                </a:cubicBezTo>
                <a:cubicBezTo>
                  <a:pt x="399" y="99"/>
                  <a:pt x="399" y="99"/>
                  <a:pt x="399" y="99"/>
                </a:cubicBezTo>
                <a:cubicBezTo>
                  <a:pt x="398" y="99"/>
                  <a:pt x="398" y="99"/>
                  <a:pt x="398" y="99"/>
                </a:cubicBezTo>
                <a:cubicBezTo>
                  <a:pt x="398" y="100"/>
                  <a:pt x="398" y="100"/>
                  <a:pt x="398" y="100"/>
                </a:cubicBezTo>
                <a:cubicBezTo>
                  <a:pt x="398" y="101"/>
                  <a:pt x="398" y="101"/>
                  <a:pt x="398" y="101"/>
                </a:cubicBezTo>
                <a:cubicBezTo>
                  <a:pt x="399" y="101"/>
                  <a:pt x="399" y="101"/>
                  <a:pt x="399" y="101"/>
                </a:cubicBezTo>
                <a:cubicBezTo>
                  <a:pt x="399" y="102"/>
                  <a:pt x="399" y="102"/>
                  <a:pt x="399" y="102"/>
                </a:cubicBezTo>
                <a:cubicBezTo>
                  <a:pt x="398" y="103"/>
                  <a:pt x="398" y="103"/>
                  <a:pt x="398" y="103"/>
                </a:cubicBezTo>
                <a:cubicBezTo>
                  <a:pt x="393" y="107"/>
                  <a:pt x="393" y="107"/>
                  <a:pt x="393" y="107"/>
                </a:cubicBezTo>
                <a:cubicBezTo>
                  <a:pt x="391" y="116"/>
                  <a:pt x="391" y="116"/>
                  <a:pt x="391" y="116"/>
                </a:cubicBezTo>
                <a:cubicBezTo>
                  <a:pt x="373" y="129"/>
                  <a:pt x="373" y="129"/>
                  <a:pt x="373" y="129"/>
                </a:cubicBezTo>
                <a:cubicBezTo>
                  <a:pt x="370" y="131"/>
                  <a:pt x="370" y="131"/>
                  <a:pt x="370" y="131"/>
                </a:cubicBezTo>
                <a:cubicBezTo>
                  <a:pt x="370" y="131"/>
                  <a:pt x="370" y="131"/>
                  <a:pt x="370" y="131"/>
                </a:cubicBezTo>
                <a:cubicBezTo>
                  <a:pt x="369" y="130"/>
                  <a:pt x="369" y="130"/>
                  <a:pt x="369" y="130"/>
                </a:cubicBezTo>
                <a:cubicBezTo>
                  <a:pt x="367" y="132"/>
                  <a:pt x="367" y="132"/>
                  <a:pt x="367" y="132"/>
                </a:cubicBezTo>
                <a:cubicBezTo>
                  <a:pt x="366" y="132"/>
                  <a:pt x="366" y="132"/>
                  <a:pt x="366" y="132"/>
                </a:cubicBezTo>
                <a:cubicBezTo>
                  <a:pt x="365" y="132"/>
                  <a:pt x="365" y="132"/>
                  <a:pt x="365" y="132"/>
                </a:cubicBezTo>
                <a:cubicBezTo>
                  <a:pt x="365" y="131"/>
                  <a:pt x="365" y="131"/>
                  <a:pt x="365" y="131"/>
                </a:cubicBezTo>
                <a:cubicBezTo>
                  <a:pt x="363" y="133"/>
                  <a:pt x="363" y="133"/>
                  <a:pt x="363" y="133"/>
                </a:cubicBezTo>
                <a:cubicBezTo>
                  <a:pt x="362" y="133"/>
                  <a:pt x="362" y="133"/>
                  <a:pt x="362" y="133"/>
                </a:cubicBezTo>
                <a:cubicBezTo>
                  <a:pt x="361" y="134"/>
                  <a:pt x="361" y="134"/>
                  <a:pt x="361" y="134"/>
                </a:cubicBezTo>
                <a:cubicBezTo>
                  <a:pt x="361" y="134"/>
                  <a:pt x="361" y="134"/>
                  <a:pt x="361" y="134"/>
                </a:cubicBezTo>
                <a:cubicBezTo>
                  <a:pt x="358" y="136"/>
                  <a:pt x="358" y="136"/>
                  <a:pt x="358" y="136"/>
                </a:cubicBezTo>
                <a:cubicBezTo>
                  <a:pt x="356" y="137"/>
                  <a:pt x="356" y="137"/>
                  <a:pt x="356" y="137"/>
                </a:cubicBezTo>
                <a:cubicBezTo>
                  <a:pt x="357" y="138"/>
                  <a:pt x="357" y="138"/>
                  <a:pt x="357" y="138"/>
                </a:cubicBezTo>
                <a:cubicBezTo>
                  <a:pt x="357" y="139"/>
                  <a:pt x="357" y="139"/>
                  <a:pt x="357" y="139"/>
                </a:cubicBezTo>
                <a:cubicBezTo>
                  <a:pt x="355" y="140"/>
                  <a:pt x="355" y="140"/>
                  <a:pt x="355" y="140"/>
                </a:cubicBezTo>
                <a:cubicBezTo>
                  <a:pt x="354" y="141"/>
                  <a:pt x="354" y="141"/>
                  <a:pt x="354" y="141"/>
                </a:cubicBezTo>
                <a:cubicBezTo>
                  <a:pt x="353" y="141"/>
                  <a:pt x="353" y="141"/>
                  <a:pt x="353" y="141"/>
                </a:cubicBezTo>
                <a:cubicBezTo>
                  <a:pt x="352" y="142"/>
                  <a:pt x="352" y="142"/>
                  <a:pt x="352" y="142"/>
                </a:cubicBezTo>
                <a:cubicBezTo>
                  <a:pt x="352" y="142"/>
                  <a:pt x="352" y="142"/>
                  <a:pt x="352" y="142"/>
                </a:cubicBezTo>
                <a:cubicBezTo>
                  <a:pt x="351" y="141"/>
                  <a:pt x="351" y="141"/>
                  <a:pt x="351" y="141"/>
                </a:cubicBezTo>
                <a:cubicBezTo>
                  <a:pt x="350" y="141"/>
                  <a:pt x="350" y="141"/>
                  <a:pt x="350" y="141"/>
                </a:cubicBezTo>
                <a:cubicBezTo>
                  <a:pt x="351" y="140"/>
                  <a:pt x="351" y="140"/>
                  <a:pt x="351" y="140"/>
                </a:cubicBezTo>
                <a:cubicBezTo>
                  <a:pt x="352" y="140"/>
                  <a:pt x="352" y="140"/>
                  <a:pt x="352" y="140"/>
                </a:cubicBezTo>
                <a:cubicBezTo>
                  <a:pt x="353" y="139"/>
                  <a:pt x="353" y="139"/>
                  <a:pt x="353" y="139"/>
                </a:cubicBezTo>
                <a:cubicBezTo>
                  <a:pt x="354" y="139"/>
                  <a:pt x="354" y="139"/>
                  <a:pt x="354" y="139"/>
                </a:cubicBezTo>
                <a:cubicBezTo>
                  <a:pt x="355" y="138"/>
                  <a:pt x="355" y="138"/>
                  <a:pt x="355" y="138"/>
                </a:cubicBezTo>
                <a:cubicBezTo>
                  <a:pt x="355" y="138"/>
                  <a:pt x="355" y="138"/>
                  <a:pt x="355" y="138"/>
                </a:cubicBezTo>
                <a:cubicBezTo>
                  <a:pt x="354" y="138"/>
                  <a:pt x="354" y="138"/>
                  <a:pt x="354" y="138"/>
                </a:cubicBezTo>
                <a:cubicBezTo>
                  <a:pt x="354" y="137"/>
                  <a:pt x="354" y="137"/>
                  <a:pt x="354" y="137"/>
                </a:cubicBezTo>
                <a:cubicBezTo>
                  <a:pt x="355" y="136"/>
                  <a:pt x="355" y="136"/>
                  <a:pt x="355" y="136"/>
                </a:cubicBezTo>
                <a:cubicBezTo>
                  <a:pt x="356" y="135"/>
                  <a:pt x="356" y="135"/>
                  <a:pt x="356" y="135"/>
                </a:cubicBezTo>
                <a:cubicBezTo>
                  <a:pt x="354" y="136"/>
                  <a:pt x="354" y="136"/>
                  <a:pt x="354" y="136"/>
                </a:cubicBezTo>
                <a:cubicBezTo>
                  <a:pt x="353" y="137"/>
                  <a:pt x="353" y="137"/>
                  <a:pt x="353" y="137"/>
                </a:cubicBezTo>
                <a:cubicBezTo>
                  <a:pt x="352" y="136"/>
                  <a:pt x="352" y="136"/>
                  <a:pt x="352" y="136"/>
                </a:cubicBezTo>
                <a:cubicBezTo>
                  <a:pt x="352" y="135"/>
                  <a:pt x="352" y="135"/>
                  <a:pt x="352" y="135"/>
                </a:cubicBezTo>
                <a:cubicBezTo>
                  <a:pt x="353" y="135"/>
                  <a:pt x="353" y="135"/>
                  <a:pt x="353" y="135"/>
                </a:cubicBezTo>
                <a:cubicBezTo>
                  <a:pt x="353" y="134"/>
                  <a:pt x="353" y="134"/>
                  <a:pt x="353" y="134"/>
                </a:cubicBezTo>
                <a:cubicBezTo>
                  <a:pt x="351" y="133"/>
                  <a:pt x="351" y="133"/>
                  <a:pt x="351" y="133"/>
                </a:cubicBezTo>
                <a:cubicBezTo>
                  <a:pt x="352" y="131"/>
                  <a:pt x="352" y="131"/>
                  <a:pt x="352" y="131"/>
                </a:cubicBezTo>
                <a:cubicBezTo>
                  <a:pt x="352" y="131"/>
                  <a:pt x="352" y="131"/>
                  <a:pt x="352" y="131"/>
                </a:cubicBezTo>
                <a:cubicBezTo>
                  <a:pt x="353" y="131"/>
                  <a:pt x="353" y="131"/>
                  <a:pt x="353" y="131"/>
                </a:cubicBezTo>
                <a:cubicBezTo>
                  <a:pt x="353" y="129"/>
                  <a:pt x="353" y="129"/>
                  <a:pt x="353" y="129"/>
                </a:cubicBezTo>
                <a:cubicBezTo>
                  <a:pt x="354" y="127"/>
                  <a:pt x="354" y="127"/>
                  <a:pt x="354" y="127"/>
                </a:cubicBezTo>
                <a:cubicBezTo>
                  <a:pt x="354" y="126"/>
                  <a:pt x="354" y="126"/>
                  <a:pt x="354" y="126"/>
                </a:cubicBezTo>
                <a:cubicBezTo>
                  <a:pt x="355" y="126"/>
                  <a:pt x="355" y="126"/>
                  <a:pt x="355" y="126"/>
                </a:cubicBezTo>
                <a:cubicBezTo>
                  <a:pt x="355" y="125"/>
                  <a:pt x="355" y="125"/>
                  <a:pt x="355" y="125"/>
                </a:cubicBezTo>
                <a:cubicBezTo>
                  <a:pt x="352" y="123"/>
                  <a:pt x="352" y="123"/>
                  <a:pt x="352" y="123"/>
                </a:cubicBezTo>
                <a:cubicBezTo>
                  <a:pt x="350" y="121"/>
                  <a:pt x="350" y="121"/>
                  <a:pt x="350" y="121"/>
                </a:cubicBezTo>
                <a:cubicBezTo>
                  <a:pt x="350" y="122"/>
                  <a:pt x="350" y="122"/>
                  <a:pt x="350" y="122"/>
                </a:cubicBezTo>
                <a:cubicBezTo>
                  <a:pt x="349" y="122"/>
                  <a:pt x="349" y="122"/>
                  <a:pt x="349" y="122"/>
                </a:cubicBezTo>
                <a:cubicBezTo>
                  <a:pt x="348" y="122"/>
                  <a:pt x="348" y="122"/>
                  <a:pt x="348" y="122"/>
                </a:cubicBezTo>
                <a:cubicBezTo>
                  <a:pt x="347" y="122"/>
                  <a:pt x="347" y="122"/>
                  <a:pt x="347" y="122"/>
                </a:cubicBezTo>
                <a:cubicBezTo>
                  <a:pt x="346" y="123"/>
                  <a:pt x="346" y="123"/>
                  <a:pt x="346" y="123"/>
                </a:cubicBezTo>
                <a:cubicBezTo>
                  <a:pt x="345" y="124"/>
                  <a:pt x="345" y="124"/>
                  <a:pt x="345" y="124"/>
                </a:cubicBezTo>
                <a:cubicBezTo>
                  <a:pt x="345" y="125"/>
                  <a:pt x="345" y="125"/>
                  <a:pt x="345" y="125"/>
                </a:cubicBezTo>
                <a:cubicBezTo>
                  <a:pt x="344" y="126"/>
                  <a:pt x="344" y="126"/>
                  <a:pt x="344" y="126"/>
                </a:cubicBezTo>
                <a:cubicBezTo>
                  <a:pt x="344" y="129"/>
                  <a:pt x="344" y="129"/>
                  <a:pt x="344" y="129"/>
                </a:cubicBezTo>
                <a:cubicBezTo>
                  <a:pt x="343" y="129"/>
                  <a:pt x="343" y="129"/>
                  <a:pt x="343" y="129"/>
                </a:cubicBezTo>
                <a:cubicBezTo>
                  <a:pt x="342" y="131"/>
                  <a:pt x="342" y="131"/>
                  <a:pt x="342" y="131"/>
                </a:cubicBezTo>
                <a:cubicBezTo>
                  <a:pt x="341" y="131"/>
                  <a:pt x="341" y="131"/>
                  <a:pt x="341" y="131"/>
                </a:cubicBezTo>
                <a:cubicBezTo>
                  <a:pt x="339" y="132"/>
                  <a:pt x="339" y="132"/>
                  <a:pt x="339" y="132"/>
                </a:cubicBezTo>
                <a:cubicBezTo>
                  <a:pt x="338" y="135"/>
                  <a:pt x="338" y="135"/>
                  <a:pt x="338" y="135"/>
                </a:cubicBezTo>
                <a:cubicBezTo>
                  <a:pt x="337" y="136"/>
                  <a:pt x="337" y="136"/>
                  <a:pt x="337" y="136"/>
                </a:cubicBezTo>
                <a:cubicBezTo>
                  <a:pt x="338" y="136"/>
                  <a:pt x="338" y="136"/>
                  <a:pt x="338" y="136"/>
                </a:cubicBezTo>
                <a:cubicBezTo>
                  <a:pt x="338" y="138"/>
                  <a:pt x="338" y="138"/>
                  <a:pt x="338" y="138"/>
                </a:cubicBezTo>
                <a:cubicBezTo>
                  <a:pt x="337" y="138"/>
                  <a:pt x="337" y="138"/>
                  <a:pt x="337" y="138"/>
                </a:cubicBezTo>
                <a:cubicBezTo>
                  <a:pt x="338" y="138"/>
                  <a:pt x="338" y="138"/>
                  <a:pt x="338" y="138"/>
                </a:cubicBezTo>
                <a:cubicBezTo>
                  <a:pt x="337" y="140"/>
                  <a:pt x="337" y="140"/>
                  <a:pt x="337" y="140"/>
                </a:cubicBezTo>
                <a:cubicBezTo>
                  <a:pt x="335" y="140"/>
                  <a:pt x="335" y="140"/>
                  <a:pt x="335" y="140"/>
                </a:cubicBezTo>
                <a:cubicBezTo>
                  <a:pt x="333" y="140"/>
                  <a:pt x="333" y="140"/>
                  <a:pt x="333" y="140"/>
                </a:cubicBezTo>
                <a:cubicBezTo>
                  <a:pt x="331" y="139"/>
                  <a:pt x="331" y="139"/>
                  <a:pt x="331" y="139"/>
                </a:cubicBezTo>
                <a:cubicBezTo>
                  <a:pt x="331" y="140"/>
                  <a:pt x="331" y="140"/>
                  <a:pt x="331" y="140"/>
                </a:cubicBezTo>
                <a:cubicBezTo>
                  <a:pt x="330" y="140"/>
                  <a:pt x="330" y="140"/>
                  <a:pt x="330" y="140"/>
                </a:cubicBezTo>
                <a:cubicBezTo>
                  <a:pt x="330" y="142"/>
                  <a:pt x="330" y="142"/>
                  <a:pt x="330" y="142"/>
                </a:cubicBezTo>
                <a:cubicBezTo>
                  <a:pt x="330" y="142"/>
                  <a:pt x="330" y="142"/>
                  <a:pt x="330" y="142"/>
                </a:cubicBezTo>
                <a:cubicBezTo>
                  <a:pt x="330" y="143"/>
                  <a:pt x="330" y="143"/>
                  <a:pt x="330" y="143"/>
                </a:cubicBezTo>
                <a:cubicBezTo>
                  <a:pt x="329" y="143"/>
                  <a:pt x="329" y="143"/>
                  <a:pt x="329" y="143"/>
                </a:cubicBezTo>
                <a:cubicBezTo>
                  <a:pt x="330" y="145"/>
                  <a:pt x="330" y="145"/>
                  <a:pt x="330" y="145"/>
                </a:cubicBezTo>
                <a:cubicBezTo>
                  <a:pt x="330" y="146"/>
                  <a:pt x="330" y="146"/>
                  <a:pt x="330" y="146"/>
                </a:cubicBezTo>
                <a:cubicBezTo>
                  <a:pt x="331" y="147"/>
                  <a:pt x="331" y="147"/>
                  <a:pt x="331" y="147"/>
                </a:cubicBezTo>
                <a:cubicBezTo>
                  <a:pt x="333" y="148"/>
                  <a:pt x="333" y="148"/>
                  <a:pt x="333" y="148"/>
                </a:cubicBezTo>
                <a:cubicBezTo>
                  <a:pt x="334" y="149"/>
                  <a:pt x="334" y="149"/>
                  <a:pt x="334" y="149"/>
                </a:cubicBezTo>
                <a:cubicBezTo>
                  <a:pt x="335" y="151"/>
                  <a:pt x="335" y="151"/>
                  <a:pt x="335" y="151"/>
                </a:cubicBezTo>
                <a:cubicBezTo>
                  <a:pt x="335" y="150"/>
                  <a:pt x="335" y="150"/>
                  <a:pt x="335" y="150"/>
                </a:cubicBezTo>
                <a:cubicBezTo>
                  <a:pt x="335" y="151"/>
                  <a:pt x="335" y="151"/>
                  <a:pt x="335" y="151"/>
                </a:cubicBezTo>
                <a:cubicBezTo>
                  <a:pt x="336" y="150"/>
                  <a:pt x="336" y="150"/>
                  <a:pt x="336" y="150"/>
                </a:cubicBezTo>
                <a:cubicBezTo>
                  <a:pt x="336" y="150"/>
                  <a:pt x="336" y="150"/>
                  <a:pt x="336" y="150"/>
                </a:cubicBezTo>
                <a:cubicBezTo>
                  <a:pt x="336" y="151"/>
                  <a:pt x="336" y="151"/>
                  <a:pt x="336" y="151"/>
                </a:cubicBezTo>
                <a:cubicBezTo>
                  <a:pt x="337" y="150"/>
                  <a:pt x="337" y="150"/>
                  <a:pt x="337" y="150"/>
                </a:cubicBezTo>
                <a:cubicBezTo>
                  <a:pt x="339" y="150"/>
                  <a:pt x="339" y="150"/>
                  <a:pt x="339" y="150"/>
                </a:cubicBezTo>
                <a:cubicBezTo>
                  <a:pt x="339" y="151"/>
                  <a:pt x="339" y="151"/>
                  <a:pt x="339" y="151"/>
                </a:cubicBezTo>
                <a:cubicBezTo>
                  <a:pt x="339" y="153"/>
                  <a:pt x="339" y="153"/>
                  <a:pt x="339" y="153"/>
                </a:cubicBezTo>
                <a:cubicBezTo>
                  <a:pt x="341" y="157"/>
                  <a:pt x="341" y="157"/>
                  <a:pt x="341" y="157"/>
                </a:cubicBezTo>
                <a:cubicBezTo>
                  <a:pt x="342" y="157"/>
                  <a:pt x="342" y="157"/>
                  <a:pt x="342" y="157"/>
                </a:cubicBezTo>
                <a:cubicBezTo>
                  <a:pt x="344" y="156"/>
                  <a:pt x="344" y="156"/>
                  <a:pt x="344" y="156"/>
                </a:cubicBezTo>
                <a:cubicBezTo>
                  <a:pt x="345" y="156"/>
                  <a:pt x="345" y="156"/>
                  <a:pt x="345" y="156"/>
                </a:cubicBezTo>
                <a:cubicBezTo>
                  <a:pt x="345" y="156"/>
                  <a:pt x="345" y="156"/>
                  <a:pt x="345" y="156"/>
                </a:cubicBezTo>
                <a:cubicBezTo>
                  <a:pt x="346" y="155"/>
                  <a:pt x="346" y="155"/>
                  <a:pt x="346" y="155"/>
                </a:cubicBezTo>
                <a:cubicBezTo>
                  <a:pt x="345" y="154"/>
                  <a:pt x="345" y="154"/>
                  <a:pt x="345" y="154"/>
                </a:cubicBezTo>
                <a:cubicBezTo>
                  <a:pt x="345" y="154"/>
                  <a:pt x="345" y="154"/>
                  <a:pt x="345" y="154"/>
                </a:cubicBezTo>
                <a:cubicBezTo>
                  <a:pt x="347" y="153"/>
                  <a:pt x="347" y="153"/>
                  <a:pt x="347" y="153"/>
                </a:cubicBezTo>
                <a:cubicBezTo>
                  <a:pt x="348" y="152"/>
                  <a:pt x="348" y="152"/>
                  <a:pt x="348" y="152"/>
                </a:cubicBezTo>
                <a:cubicBezTo>
                  <a:pt x="348" y="151"/>
                  <a:pt x="348" y="151"/>
                  <a:pt x="348" y="151"/>
                </a:cubicBezTo>
                <a:cubicBezTo>
                  <a:pt x="347" y="151"/>
                  <a:pt x="347" y="151"/>
                  <a:pt x="347" y="151"/>
                </a:cubicBezTo>
                <a:cubicBezTo>
                  <a:pt x="349" y="151"/>
                  <a:pt x="349" y="151"/>
                  <a:pt x="349" y="151"/>
                </a:cubicBezTo>
                <a:cubicBezTo>
                  <a:pt x="352" y="149"/>
                  <a:pt x="352" y="149"/>
                  <a:pt x="352" y="149"/>
                </a:cubicBezTo>
                <a:cubicBezTo>
                  <a:pt x="352" y="150"/>
                  <a:pt x="352" y="150"/>
                  <a:pt x="352" y="150"/>
                </a:cubicBezTo>
                <a:cubicBezTo>
                  <a:pt x="353" y="150"/>
                  <a:pt x="353" y="150"/>
                  <a:pt x="353" y="150"/>
                </a:cubicBezTo>
                <a:cubicBezTo>
                  <a:pt x="353" y="151"/>
                  <a:pt x="353" y="151"/>
                  <a:pt x="353" y="151"/>
                </a:cubicBezTo>
                <a:cubicBezTo>
                  <a:pt x="354" y="152"/>
                  <a:pt x="354" y="152"/>
                  <a:pt x="354" y="152"/>
                </a:cubicBezTo>
                <a:cubicBezTo>
                  <a:pt x="355" y="152"/>
                  <a:pt x="355" y="152"/>
                  <a:pt x="355" y="152"/>
                </a:cubicBezTo>
                <a:cubicBezTo>
                  <a:pt x="359" y="152"/>
                  <a:pt x="359" y="152"/>
                  <a:pt x="359" y="152"/>
                </a:cubicBezTo>
                <a:cubicBezTo>
                  <a:pt x="359" y="152"/>
                  <a:pt x="359" y="152"/>
                  <a:pt x="359" y="152"/>
                </a:cubicBezTo>
                <a:cubicBezTo>
                  <a:pt x="361" y="152"/>
                  <a:pt x="361" y="152"/>
                  <a:pt x="361" y="152"/>
                </a:cubicBezTo>
                <a:cubicBezTo>
                  <a:pt x="361" y="152"/>
                  <a:pt x="361" y="152"/>
                  <a:pt x="361" y="152"/>
                </a:cubicBezTo>
                <a:cubicBezTo>
                  <a:pt x="362" y="152"/>
                  <a:pt x="362" y="152"/>
                  <a:pt x="362" y="152"/>
                </a:cubicBezTo>
                <a:cubicBezTo>
                  <a:pt x="364" y="152"/>
                  <a:pt x="364" y="152"/>
                  <a:pt x="364" y="152"/>
                </a:cubicBezTo>
                <a:cubicBezTo>
                  <a:pt x="365" y="152"/>
                  <a:pt x="365" y="152"/>
                  <a:pt x="365" y="152"/>
                </a:cubicBezTo>
                <a:cubicBezTo>
                  <a:pt x="363" y="153"/>
                  <a:pt x="363" y="153"/>
                  <a:pt x="363" y="153"/>
                </a:cubicBezTo>
                <a:cubicBezTo>
                  <a:pt x="363" y="153"/>
                  <a:pt x="363" y="153"/>
                  <a:pt x="363" y="153"/>
                </a:cubicBezTo>
                <a:cubicBezTo>
                  <a:pt x="364" y="155"/>
                  <a:pt x="364" y="155"/>
                  <a:pt x="364" y="155"/>
                </a:cubicBezTo>
                <a:cubicBezTo>
                  <a:pt x="364" y="155"/>
                  <a:pt x="364" y="155"/>
                  <a:pt x="364" y="155"/>
                </a:cubicBezTo>
                <a:cubicBezTo>
                  <a:pt x="363" y="155"/>
                  <a:pt x="363" y="155"/>
                  <a:pt x="363" y="155"/>
                </a:cubicBezTo>
                <a:cubicBezTo>
                  <a:pt x="363" y="156"/>
                  <a:pt x="363" y="156"/>
                  <a:pt x="363" y="156"/>
                </a:cubicBezTo>
                <a:cubicBezTo>
                  <a:pt x="364" y="157"/>
                  <a:pt x="364" y="157"/>
                  <a:pt x="364" y="157"/>
                </a:cubicBezTo>
                <a:cubicBezTo>
                  <a:pt x="364" y="157"/>
                  <a:pt x="364" y="157"/>
                  <a:pt x="364" y="157"/>
                </a:cubicBezTo>
                <a:cubicBezTo>
                  <a:pt x="362" y="159"/>
                  <a:pt x="362" y="159"/>
                  <a:pt x="362" y="159"/>
                </a:cubicBezTo>
                <a:cubicBezTo>
                  <a:pt x="361" y="158"/>
                  <a:pt x="361" y="158"/>
                  <a:pt x="361" y="158"/>
                </a:cubicBezTo>
                <a:cubicBezTo>
                  <a:pt x="361" y="157"/>
                  <a:pt x="361" y="157"/>
                  <a:pt x="361" y="157"/>
                </a:cubicBezTo>
                <a:cubicBezTo>
                  <a:pt x="360" y="158"/>
                  <a:pt x="360" y="158"/>
                  <a:pt x="360" y="158"/>
                </a:cubicBezTo>
                <a:cubicBezTo>
                  <a:pt x="360" y="157"/>
                  <a:pt x="360" y="157"/>
                  <a:pt x="360" y="157"/>
                </a:cubicBezTo>
                <a:cubicBezTo>
                  <a:pt x="358" y="159"/>
                  <a:pt x="358" y="159"/>
                  <a:pt x="358" y="159"/>
                </a:cubicBezTo>
                <a:cubicBezTo>
                  <a:pt x="358" y="159"/>
                  <a:pt x="358" y="159"/>
                  <a:pt x="358" y="159"/>
                </a:cubicBezTo>
                <a:cubicBezTo>
                  <a:pt x="356" y="160"/>
                  <a:pt x="356" y="160"/>
                  <a:pt x="356" y="160"/>
                </a:cubicBezTo>
                <a:cubicBezTo>
                  <a:pt x="355" y="159"/>
                  <a:pt x="355" y="159"/>
                  <a:pt x="355" y="159"/>
                </a:cubicBezTo>
                <a:cubicBezTo>
                  <a:pt x="355" y="160"/>
                  <a:pt x="355" y="160"/>
                  <a:pt x="355" y="160"/>
                </a:cubicBezTo>
                <a:cubicBezTo>
                  <a:pt x="354" y="159"/>
                  <a:pt x="354" y="159"/>
                  <a:pt x="354" y="159"/>
                </a:cubicBezTo>
                <a:cubicBezTo>
                  <a:pt x="353" y="160"/>
                  <a:pt x="353" y="160"/>
                  <a:pt x="353" y="160"/>
                </a:cubicBezTo>
                <a:cubicBezTo>
                  <a:pt x="354" y="161"/>
                  <a:pt x="354" y="161"/>
                  <a:pt x="354" y="161"/>
                </a:cubicBezTo>
                <a:cubicBezTo>
                  <a:pt x="354" y="161"/>
                  <a:pt x="354" y="161"/>
                  <a:pt x="354" y="161"/>
                </a:cubicBezTo>
                <a:cubicBezTo>
                  <a:pt x="353" y="162"/>
                  <a:pt x="353" y="162"/>
                  <a:pt x="353" y="162"/>
                </a:cubicBezTo>
                <a:cubicBezTo>
                  <a:pt x="353" y="163"/>
                  <a:pt x="353" y="163"/>
                  <a:pt x="353" y="163"/>
                </a:cubicBezTo>
                <a:cubicBezTo>
                  <a:pt x="351" y="163"/>
                  <a:pt x="351" y="163"/>
                  <a:pt x="351" y="163"/>
                </a:cubicBezTo>
                <a:cubicBezTo>
                  <a:pt x="350" y="164"/>
                  <a:pt x="350" y="164"/>
                  <a:pt x="350" y="164"/>
                </a:cubicBezTo>
                <a:cubicBezTo>
                  <a:pt x="350" y="165"/>
                  <a:pt x="350" y="165"/>
                  <a:pt x="350" y="165"/>
                </a:cubicBezTo>
                <a:cubicBezTo>
                  <a:pt x="351" y="166"/>
                  <a:pt x="351" y="166"/>
                  <a:pt x="351" y="166"/>
                </a:cubicBezTo>
                <a:cubicBezTo>
                  <a:pt x="350" y="167"/>
                  <a:pt x="350" y="167"/>
                  <a:pt x="350" y="167"/>
                </a:cubicBezTo>
                <a:cubicBezTo>
                  <a:pt x="350" y="167"/>
                  <a:pt x="350" y="167"/>
                  <a:pt x="350" y="167"/>
                </a:cubicBezTo>
                <a:cubicBezTo>
                  <a:pt x="348" y="168"/>
                  <a:pt x="348" y="168"/>
                  <a:pt x="348" y="168"/>
                </a:cubicBezTo>
                <a:cubicBezTo>
                  <a:pt x="348" y="169"/>
                  <a:pt x="348" y="169"/>
                  <a:pt x="348" y="169"/>
                </a:cubicBezTo>
                <a:cubicBezTo>
                  <a:pt x="347" y="168"/>
                  <a:pt x="347" y="168"/>
                  <a:pt x="347" y="168"/>
                </a:cubicBezTo>
                <a:cubicBezTo>
                  <a:pt x="347" y="170"/>
                  <a:pt x="347" y="170"/>
                  <a:pt x="347" y="170"/>
                </a:cubicBezTo>
                <a:cubicBezTo>
                  <a:pt x="347" y="172"/>
                  <a:pt x="347" y="172"/>
                  <a:pt x="347" y="172"/>
                </a:cubicBezTo>
                <a:cubicBezTo>
                  <a:pt x="347" y="174"/>
                  <a:pt x="347" y="174"/>
                  <a:pt x="347" y="174"/>
                </a:cubicBezTo>
                <a:cubicBezTo>
                  <a:pt x="347" y="177"/>
                  <a:pt x="347" y="177"/>
                  <a:pt x="347" y="177"/>
                </a:cubicBezTo>
                <a:cubicBezTo>
                  <a:pt x="347" y="177"/>
                  <a:pt x="347" y="177"/>
                  <a:pt x="347" y="177"/>
                </a:cubicBezTo>
                <a:cubicBezTo>
                  <a:pt x="351" y="178"/>
                  <a:pt x="351" y="178"/>
                  <a:pt x="351" y="178"/>
                </a:cubicBezTo>
                <a:cubicBezTo>
                  <a:pt x="351" y="179"/>
                  <a:pt x="351" y="179"/>
                  <a:pt x="351" y="179"/>
                </a:cubicBezTo>
                <a:cubicBezTo>
                  <a:pt x="351" y="179"/>
                  <a:pt x="351" y="179"/>
                  <a:pt x="351" y="179"/>
                </a:cubicBezTo>
                <a:cubicBezTo>
                  <a:pt x="355" y="180"/>
                  <a:pt x="355" y="180"/>
                  <a:pt x="355" y="180"/>
                </a:cubicBezTo>
                <a:cubicBezTo>
                  <a:pt x="357" y="184"/>
                  <a:pt x="357" y="184"/>
                  <a:pt x="357" y="184"/>
                </a:cubicBezTo>
                <a:cubicBezTo>
                  <a:pt x="357" y="185"/>
                  <a:pt x="357" y="185"/>
                  <a:pt x="357" y="185"/>
                </a:cubicBezTo>
                <a:cubicBezTo>
                  <a:pt x="357" y="186"/>
                  <a:pt x="357" y="186"/>
                  <a:pt x="357" y="186"/>
                </a:cubicBezTo>
                <a:cubicBezTo>
                  <a:pt x="358" y="186"/>
                  <a:pt x="358" y="186"/>
                  <a:pt x="358" y="186"/>
                </a:cubicBezTo>
                <a:cubicBezTo>
                  <a:pt x="358" y="188"/>
                  <a:pt x="358" y="188"/>
                  <a:pt x="358" y="188"/>
                </a:cubicBezTo>
                <a:cubicBezTo>
                  <a:pt x="360" y="190"/>
                  <a:pt x="360" y="190"/>
                  <a:pt x="360" y="190"/>
                </a:cubicBezTo>
                <a:cubicBezTo>
                  <a:pt x="360" y="192"/>
                  <a:pt x="360" y="192"/>
                  <a:pt x="360" y="192"/>
                </a:cubicBezTo>
                <a:cubicBezTo>
                  <a:pt x="362" y="194"/>
                  <a:pt x="362" y="194"/>
                  <a:pt x="362" y="194"/>
                </a:cubicBezTo>
                <a:cubicBezTo>
                  <a:pt x="363" y="195"/>
                  <a:pt x="363" y="195"/>
                  <a:pt x="363" y="195"/>
                </a:cubicBezTo>
                <a:cubicBezTo>
                  <a:pt x="365" y="195"/>
                  <a:pt x="365" y="195"/>
                  <a:pt x="365" y="195"/>
                </a:cubicBezTo>
                <a:cubicBezTo>
                  <a:pt x="365" y="195"/>
                  <a:pt x="365" y="195"/>
                  <a:pt x="365" y="195"/>
                </a:cubicBezTo>
                <a:cubicBezTo>
                  <a:pt x="365" y="196"/>
                  <a:pt x="365" y="196"/>
                  <a:pt x="365" y="196"/>
                </a:cubicBezTo>
                <a:cubicBezTo>
                  <a:pt x="367" y="197"/>
                  <a:pt x="367" y="197"/>
                  <a:pt x="367" y="197"/>
                </a:cubicBezTo>
                <a:cubicBezTo>
                  <a:pt x="368" y="198"/>
                  <a:pt x="368" y="198"/>
                  <a:pt x="368" y="198"/>
                </a:cubicBezTo>
                <a:cubicBezTo>
                  <a:pt x="368" y="200"/>
                  <a:pt x="368" y="200"/>
                  <a:pt x="368" y="200"/>
                </a:cubicBezTo>
                <a:cubicBezTo>
                  <a:pt x="368" y="200"/>
                  <a:pt x="368" y="200"/>
                  <a:pt x="368" y="200"/>
                </a:cubicBezTo>
                <a:cubicBezTo>
                  <a:pt x="365" y="199"/>
                  <a:pt x="365" y="199"/>
                  <a:pt x="365" y="199"/>
                </a:cubicBezTo>
                <a:cubicBezTo>
                  <a:pt x="363" y="200"/>
                  <a:pt x="363" y="200"/>
                  <a:pt x="363" y="200"/>
                </a:cubicBezTo>
                <a:cubicBezTo>
                  <a:pt x="362" y="199"/>
                  <a:pt x="362" y="199"/>
                  <a:pt x="362" y="199"/>
                </a:cubicBezTo>
                <a:cubicBezTo>
                  <a:pt x="361" y="199"/>
                  <a:pt x="361" y="199"/>
                  <a:pt x="361" y="199"/>
                </a:cubicBezTo>
                <a:cubicBezTo>
                  <a:pt x="360" y="198"/>
                  <a:pt x="360" y="198"/>
                  <a:pt x="360" y="198"/>
                </a:cubicBezTo>
                <a:cubicBezTo>
                  <a:pt x="358" y="198"/>
                  <a:pt x="358" y="198"/>
                  <a:pt x="358" y="198"/>
                </a:cubicBezTo>
                <a:cubicBezTo>
                  <a:pt x="357" y="199"/>
                  <a:pt x="357" y="199"/>
                  <a:pt x="357" y="199"/>
                </a:cubicBezTo>
                <a:cubicBezTo>
                  <a:pt x="356" y="199"/>
                  <a:pt x="356" y="199"/>
                  <a:pt x="356" y="199"/>
                </a:cubicBezTo>
                <a:cubicBezTo>
                  <a:pt x="355" y="198"/>
                  <a:pt x="355" y="198"/>
                  <a:pt x="355" y="198"/>
                </a:cubicBezTo>
                <a:cubicBezTo>
                  <a:pt x="354" y="196"/>
                  <a:pt x="354" y="196"/>
                  <a:pt x="354" y="196"/>
                </a:cubicBezTo>
                <a:cubicBezTo>
                  <a:pt x="353" y="197"/>
                  <a:pt x="353" y="197"/>
                  <a:pt x="353" y="197"/>
                </a:cubicBezTo>
                <a:cubicBezTo>
                  <a:pt x="352" y="196"/>
                  <a:pt x="352" y="196"/>
                  <a:pt x="352" y="196"/>
                </a:cubicBezTo>
                <a:cubicBezTo>
                  <a:pt x="351" y="197"/>
                  <a:pt x="351" y="197"/>
                  <a:pt x="351" y="197"/>
                </a:cubicBezTo>
                <a:cubicBezTo>
                  <a:pt x="350" y="197"/>
                  <a:pt x="350" y="197"/>
                  <a:pt x="350" y="197"/>
                </a:cubicBezTo>
                <a:cubicBezTo>
                  <a:pt x="350" y="196"/>
                  <a:pt x="350" y="196"/>
                  <a:pt x="350" y="196"/>
                </a:cubicBezTo>
                <a:cubicBezTo>
                  <a:pt x="349" y="197"/>
                  <a:pt x="349" y="197"/>
                  <a:pt x="349" y="197"/>
                </a:cubicBezTo>
                <a:cubicBezTo>
                  <a:pt x="347" y="200"/>
                  <a:pt x="347" y="200"/>
                  <a:pt x="347" y="200"/>
                </a:cubicBezTo>
                <a:cubicBezTo>
                  <a:pt x="349" y="198"/>
                  <a:pt x="349" y="198"/>
                  <a:pt x="349" y="198"/>
                </a:cubicBezTo>
                <a:cubicBezTo>
                  <a:pt x="350" y="197"/>
                  <a:pt x="350" y="197"/>
                  <a:pt x="350" y="197"/>
                </a:cubicBezTo>
                <a:cubicBezTo>
                  <a:pt x="352" y="197"/>
                  <a:pt x="352" y="197"/>
                  <a:pt x="352" y="197"/>
                </a:cubicBezTo>
                <a:cubicBezTo>
                  <a:pt x="353" y="197"/>
                  <a:pt x="353" y="197"/>
                  <a:pt x="353" y="197"/>
                </a:cubicBezTo>
                <a:cubicBezTo>
                  <a:pt x="354" y="197"/>
                  <a:pt x="354" y="197"/>
                  <a:pt x="354" y="197"/>
                </a:cubicBezTo>
                <a:cubicBezTo>
                  <a:pt x="354" y="198"/>
                  <a:pt x="354" y="198"/>
                  <a:pt x="354" y="198"/>
                </a:cubicBezTo>
                <a:cubicBezTo>
                  <a:pt x="356" y="199"/>
                  <a:pt x="356" y="199"/>
                  <a:pt x="356" y="199"/>
                </a:cubicBezTo>
                <a:cubicBezTo>
                  <a:pt x="357" y="200"/>
                  <a:pt x="357" y="200"/>
                  <a:pt x="357" y="200"/>
                </a:cubicBezTo>
                <a:cubicBezTo>
                  <a:pt x="359" y="198"/>
                  <a:pt x="359" y="198"/>
                  <a:pt x="359" y="198"/>
                </a:cubicBezTo>
                <a:cubicBezTo>
                  <a:pt x="360" y="198"/>
                  <a:pt x="360" y="198"/>
                  <a:pt x="360" y="198"/>
                </a:cubicBezTo>
                <a:cubicBezTo>
                  <a:pt x="362" y="201"/>
                  <a:pt x="362" y="201"/>
                  <a:pt x="362" y="201"/>
                </a:cubicBezTo>
                <a:cubicBezTo>
                  <a:pt x="364" y="202"/>
                  <a:pt x="364" y="202"/>
                  <a:pt x="364" y="202"/>
                </a:cubicBezTo>
                <a:cubicBezTo>
                  <a:pt x="368" y="204"/>
                  <a:pt x="368" y="204"/>
                  <a:pt x="368" y="204"/>
                </a:cubicBezTo>
                <a:cubicBezTo>
                  <a:pt x="369" y="206"/>
                  <a:pt x="369" y="206"/>
                  <a:pt x="369" y="206"/>
                </a:cubicBezTo>
                <a:cubicBezTo>
                  <a:pt x="369" y="207"/>
                  <a:pt x="369" y="207"/>
                  <a:pt x="369" y="207"/>
                </a:cubicBezTo>
                <a:cubicBezTo>
                  <a:pt x="367" y="207"/>
                  <a:pt x="367" y="207"/>
                  <a:pt x="367" y="207"/>
                </a:cubicBezTo>
                <a:cubicBezTo>
                  <a:pt x="366" y="209"/>
                  <a:pt x="366" y="209"/>
                  <a:pt x="366" y="209"/>
                </a:cubicBezTo>
                <a:cubicBezTo>
                  <a:pt x="365" y="209"/>
                  <a:pt x="365" y="209"/>
                  <a:pt x="365" y="209"/>
                </a:cubicBezTo>
                <a:cubicBezTo>
                  <a:pt x="365" y="210"/>
                  <a:pt x="365" y="210"/>
                  <a:pt x="365" y="210"/>
                </a:cubicBezTo>
                <a:cubicBezTo>
                  <a:pt x="364" y="211"/>
                  <a:pt x="364" y="211"/>
                  <a:pt x="364" y="211"/>
                </a:cubicBezTo>
                <a:cubicBezTo>
                  <a:pt x="363" y="211"/>
                  <a:pt x="363" y="211"/>
                  <a:pt x="363" y="211"/>
                </a:cubicBezTo>
                <a:cubicBezTo>
                  <a:pt x="362" y="210"/>
                  <a:pt x="362" y="210"/>
                  <a:pt x="362" y="210"/>
                </a:cubicBezTo>
                <a:cubicBezTo>
                  <a:pt x="361" y="211"/>
                  <a:pt x="361" y="211"/>
                  <a:pt x="361" y="211"/>
                </a:cubicBezTo>
                <a:cubicBezTo>
                  <a:pt x="360" y="211"/>
                  <a:pt x="360" y="211"/>
                  <a:pt x="360" y="211"/>
                </a:cubicBezTo>
                <a:cubicBezTo>
                  <a:pt x="359" y="212"/>
                  <a:pt x="359" y="212"/>
                  <a:pt x="359" y="212"/>
                </a:cubicBezTo>
                <a:cubicBezTo>
                  <a:pt x="359" y="214"/>
                  <a:pt x="359" y="214"/>
                  <a:pt x="359" y="214"/>
                </a:cubicBezTo>
                <a:cubicBezTo>
                  <a:pt x="359" y="213"/>
                  <a:pt x="359" y="213"/>
                  <a:pt x="359" y="213"/>
                </a:cubicBezTo>
                <a:cubicBezTo>
                  <a:pt x="360" y="212"/>
                  <a:pt x="360" y="212"/>
                  <a:pt x="360" y="212"/>
                </a:cubicBezTo>
                <a:cubicBezTo>
                  <a:pt x="362" y="211"/>
                  <a:pt x="362" y="211"/>
                  <a:pt x="362" y="211"/>
                </a:cubicBezTo>
                <a:cubicBezTo>
                  <a:pt x="363" y="213"/>
                  <a:pt x="363" y="213"/>
                  <a:pt x="363" y="213"/>
                </a:cubicBezTo>
                <a:cubicBezTo>
                  <a:pt x="364" y="213"/>
                  <a:pt x="364" y="213"/>
                  <a:pt x="364" y="213"/>
                </a:cubicBezTo>
                <a:cubicBezTo>
                  <a:pt x="366" y="212"/>
                  <a:pt x="366" y="212"/>
                  <a:pt x="366" y="212"/>
                </a:cubicBezTo>
                <a:cubicBezTo>
                  <a:pt x="367" y="212"/>
                  <a:pt x="367" y="212"/>
                  <a:pt x="367" y="212"/>
                </a:cubicBezTo>
                <a:cubicBezTo>
                  <a:pt x="369" y="215"/>
                  <a:pt x="369" y="215"/>
                  <a:pt x="369" y="215"/>
                </a:cubicBezTo>
                <a:cubicBezTo>
                  <a:pt x="370" y="214"/>
                  <a:pt x="370" y="214"/>
                  <a:pt x="370" y="214"/>
                </a:cubicBezTo>
                <a:cubicBezTo>
                  <a:pt x="370" y="215"/>
                  <a:pt x="370" y="215"/>
                  <a:pt x="370" y="215"/>
                </a:cubicBezTo>
                <a:cubicBezTo>
                  <a:pt x="371" y="215"/>
                  <a:pt x="371" y="215"/>
                  <a:pt x="371" y="215"/>
                </a:cubicBezTo>
                <a:cubicBezTo>
                  <a:pt x="372" y="215"/>
                  <a:pt x="372" y="215"/>
                  <a:pt x="372" y="215"/>
                </a:cubicBezTo>
                <a:cubicBezTo>
                  <a:pt x="369" y="218"/>
                  <a:pt x="369" y="218"/>
                  <a:pt x="369" y="218"/>
                </a:cubicBezTo>
                <a:cubicBezTo>
                  <a:pt x="367" y="218"/>
                  <a:pt x="367" y="218"/>
                  <a:pt x="367" y="218"/>
                </a:cubicBezTo>
                <a:cubicBezTo>
                  <a:pt x="367" y="219"/>
                  <a:pt x="367" y="219"/>
                  <a:pt x="367" y="219"/>
                </a:cubicBezTo>
                <a:cubicBezTo>
                  <a:pt x="368" y="219"/>
                  <a:pt x="368" y="219"/>
                  <a:pt x="368" y="219"/>
                </a:cubicBezTo>
                <a:cubicBezTo>
                  <a:pt x="370" y="218"/>
                  <a:pt x="370" y="218"/>
                  <a:pt x="370" y="218"/>
                </a:cubicBezTo>
                <a:cubicBezTo>
                  <a:pt x="371" y="218"/>
                  <a:pt x="371" y="218"/>
                  <a:pt x="371" y="218"/>
                </a:cubicBezTo>
                <a:cubicBezTo>
                  <a:pt x="371" y="218"/>
                  <a:pt x="371" y="218"/>
                  <a:pt x="371" y="218"/>
                </a:cubicBezTo>
                <a:cubicBezTo>
                  <a:pt x="371" y="217"/>
                  <a:pt x="371" y="217"/>
                  <a:pt x="371" y="217"/>
                </a:cubicBezTo>
                <a:cubicBezTo>
                  <a:pt x="371" y="217"/>
                  <a:pt x="371" y="217"/>
                  <a:pt x="371" y="217"/>
                </a:cubicBezTo>
                <a:cubicBezTo>
                  <a:pt x="372" y="217"/>
                  <a:pt x="372" y="217"/>
                  <a:pt x="372" y="217"/>
                </a:cubicBezTo>
                <a:cubicBezTo>
                  <a:pt x="372" y="219"/>
                  <a:pt x="372" y="219"/>
                  <a:pt x="372" y="219"/>
                </a:cubicBezTo>
                <a:cubicBezTo>
                  <a:pt x="373" y="220"/>
                  <a:pt x="373" y="220"/>
                  <a:pt x="373" y="220"/>
                </a:cubicBezTo>
                <a:cubicBezTo>
                  <a:pt x="372" y="220"/>
                  <a:pt x="372" y="220"/>
                  <a:pt x="372" y="220"/>
                </a:cubicBezTo>
                <a:cubicBezTo>
                  <a:pt x="372" y="220"/>
                  <a:pt x="372" y="220"/>
                  <a:pt x="372" y="220"/>
                </a:cubicBezTo>
                <a:cubicBezTo>
                  <a:pt x="371" y="219"/>
                  <a:pt x="371" y="219"/>
                  <a:pt x="371" y="219"/>
                </a:cubicBezTo>
                <a:cubicBezTo>
                  <a:pt x="371" y="220"/>
                  <a:pt x="371" y="220"/>
                  <a:pt x="371" y="220"/>
                </a:cubicBezTo>
                <a:cubicBezTo>
                  <a:pt x="370" y="220"/>
                  <a:pt x="370" y="220"/>
                  <a:pt x="370" y="220"/>
                </a:cubicBezTo>
                <a:cubicBezTo>
                  <a:pt x="369" y="220"/>
                  <a:pt x="369" y="220"/>
                  <a:pt x="369" y="220"/>
                </a:cubicBezTo>
                <a:cubicBezTo>
                  <a:pt x="368" y="221"/>
                  <a:pt x="368" y="221"/>
                  <a:pt x="368" y="221"/>
                </a:cubicBezTo>
                <a:cubicBezTo>
                  <a:pt x="368" y="222"/>
                  <a:pt x="368" y="222"/>
                  <a:pt x="368" y="222"/>
                </a:cubicBezTo>
                <a:cubicBezTo>
                  <a:pt x="370" y="222"/>
                  <a:pt x="370" y="222"/>
                  <a:pt x="370" y="222"/>
                </a:cubicBezTo>
                <a:cubicBezTo>
                  <a:pt x="371" y="222"/>
                  <a:pt x="371" y="222"/>
                  <a:pt x="371" y="222"/>
                </a:cubicBezTo>
                <a:cubicBezTo>
                  <a:pt x="370" y="223"/>
                  <a:pt x="370" y="223"/>
                  <a:pt x="370" y="223"/>
                </a:cubicBezTo>
                <a:cubicBezTo>
                  <a:pt x="370" y="223"/>
                  <a:pt x="370" y="223"/>
                  <a:pt x="370" y="223"/>
                </a:cubicBezTo>
                <a:cubicBezTo>
                  <a:pt x="369" y="223"/>
                  <a:pt x="369" y="223"/>
                  <a:pt x="369" y="223"/>
                </a:cubicBezTo>
                <a:cubicBezTo>
                  <a:pt x="370" y="224"/>
                  <a:pt x="370" y="224"/>
                  <a:pt x="370" y="224"/>
                </a:cubicBezTo>
                <a:cubicBezTo>
                  <a:pt x="370" y="225"/>
                  <a:pt x="370" y="225"/>
                  <a:pt x="370" y="225"/>
                </a:cubicBezTo>
                <a:cubicBezTo>
                  <a:pt x="370" y="225"/>
                  <a:pt x="370" y="225"/>
                  <a:pt x="370" y="225"/>
                </a:cubicBezTo>
                <a:cubicBezTo>
                  <a:pt x="369" y="225"/>
                  <a:pt x="369" y="225"/>
                  <a:pt x="369" y="225"/>
                </a:cubicBezTo>
                <a:cubicBezTo>
                  <a:pt x="368" y="225"/>
                  <a:pt x="368" y="225"/>
                  <a:pt x="368" y="225"/>
                </a:cubicBezTo>
                <a:cubicBezTo>
                  <a:pt x="369" y="226"/>
                  <a:pt x="369" y="226"/>
                  <a:pt x="369" y="226"/>
                </a:cubicBezTo>
                <a:cubicBezTo>
                  <a:pt x="370" y="226"/>
                  <a:pt x="370" y="226"/>
                  <a:pt x="370" y="226"/>
                </a:cubicBezTo>
                <a:cubicBezTo>
                  <a:pt x="371" y="227"/>
                  <a:pt x="371" y="227"/>
                  <a:pt x="371" y="227"/>
                </a:cubicBezTo>
                <a:cubicBezTo>
                  <a:pt x="370" y="228"/>
                  <a:pt x="370" y="228"/>
                  <a:pt x="370" y="228"/>
                </a:cubicBezTo>
                <a:cubicBezTo>
                  <a:pt x="370" y="229"/>
                  <a:pt x="370" y="229"/>
                  <a:pt x="370" y="229"/>
                </a:cubicBezTo>
                <a:cubicBezTo>
                  <a:pt x="369" y="229"/>
                  <a:pt x="369" y="229"/>
                  <a:pt x="369" y="229"/>
                </a:cubicBezTo>
                <a:cubicBezTo>
                  <a:pt x="369" y="228"/>
                  <a:pt x="369" y="228"/>
                  <a:pt x="369" y="228"/>
                </a:cubicBezTo>
                <a:cubicBezTo>
                  <a:pt x="368" y="228"/>
                  <a:pt x="368" y="228"/>
                  <a:pt x="368" y="228"/>
                </a:cubicBezTo>
                <a:cubicBezTo>
                  <a:pt x="367" y="230"/>
                  <a:pt x="367" y="230"/>
                  <a:pt x="367" y="230"/>
                </a:cubicBezTo>
                <a:cubicBezTo>
                  <a:pt x="366" y="231"/>
                  <a:pt x="366" y="231"/>
                  <a:pt x="366" y="231"/>
                </a:cubicBezTo>
                <a:cubicBezTo>
                  <a:pt x="365" y="230"/>
                  <a:pt x="365" y="230"/>
                  <a:pt x="365" y="230"/>
                </a:cubicBezTo>
                <a:cubicBezTo>
                  <a:pt x="366" y="231"/>
                  <a:pt x="366" y="231"/>
                  <a:pt x="366" y="231"/>
                </a:cubicBezTo>
                <a:cubicBezTo>
                  <a:pt x="366" y="231"/>
                  <a:pt x="366" y="231"/>
                  <a:pt x="366" y="231"/>
                </a:cubicBezTo>
                <a:cubicBezTo>
                  <a:pt x="366" y="232"/>
                  <a:pt x="366" y="232"/>
                  <a:pt x="366" y="232"/>
                </a:cubicBezTo>
                <a:cubicBezTo>
                  <a:pt x="366" y="233"/>
                  <a:pt x="366" y="233"/>
                  <a:pt x="366" y="233"/>
                </a:cubicBezTo>
                <a:cubicBezTo>
                  <a:pt x="366" y="233"/>
                  <a:pt x="366" y="233"/>
                  <a:pt x="366" y="233"/>
                </a:cubicBezTo>
                <a:cubicBezTo>
                  <a:pt x="366" y="234"/>
                  <a:pt x="366" y="234"/>
                  <a:pt x="366" y="234"/>
                </a:cubicBezTo>
                <a:cubicBezTo>
                  <a:pt x="366" y="235"/>
                  <a:pt x="366" y="235"/>
                  <a:pt x="366" y="235"/>
                </a:cubicBezTo>
                <a:cubicBezTo>
                  <a:pt x="366" y="236"/>
                  <a:pt x="366" y="236"/>
                  <a:pt x="366" y="236"/>
                </a:cubicBezTo>
                <a:cubicBezTo>
                  <a:pt x="365" y="236"/>
                  <a:pt x="365" y="236"/>
                  <a:pt x="365" y="236"/>
                </a:cubicBezTo>
                <a:cubicBezTo>
                  <a:pt x="364" y="235"/>
                  <a:pt x="364" y="235"/>
                  <a:pt x="364" y="235"/>
                </a:cubicBezTo>
                <a:cubicBezTo>
                  <a:pt x="364" y="236"/>
                  <a:pt x="364" y="236"/>
                  <a:pt x="364" y="236"/>
                </a:cubicBezTo>
                <a:cubicBezTo>
                  <a:pt x="365" y="236"/>
                  <a:pt x="365" y="236"/>
                  <a:pt x="365" y="236"/>
                </a:cubicBezTo>
                <a:cubicBezTo>
                  <a:pt x="365" y="238"/>
                  <a:pt x="365" y="238"/>
                  <a:pt x="365" y="238"/>
                </a:cubicBezTo>
                <a:cubicBezTo>
                  <a:pt x="364" y="237"/>
                  <a:pt x="364" y="237"/>
                  <a:pt x="364" y="237"/>
                </a:cubicBezTo>
                <a:cubicBezTo>
                  <a:pt x="364" y="238"/>
                  <a:pt x="364" y="238"/>
                  <a:pt x="364" y="238"/>
                </a:cubicBezTo>
                <a:cubicBezTo>
                  <a:pt x="362" y="240"/>
                  <a:pt x="362" y="240"/>
                  <a:pt x="362" y="240"/>
                </a:cubicBezTo>
                <a:cubicBezTo>
                  <a:pt x="361" y="240"/>
                  <a:pt x="361" y="240"/>
                  <a:pt x="361" y="240"/>
                </a:cubicBezTo>
                <a:cubicBezTo>
                  <a:pt x="362" y="239"/>
                  <a:pt x="362" y="239"/>
                  <a:pt x="362" y="239"/>
                </a:cubicBezTo>
                <a:cubicBezTo>
                  <a:pt x="361" y="239"/>
                  <a:pt x="361" y="239"/>
                  <a:pt x="361" y="239"/>
                </a:cubicBezTo>
                <a:cubicBezTo>
                  <a:pt x="361" y="239"/>
                  <a:pt x="361" y="239"/>
                  <a:pt x="361" y="239"/>
                </a:cubicBezTo>
                <a:cubicBezTo>
                  <a:pt x="360" y="240"/>
                  <a:pt x="360" y="240"/>
                  <a:pt x="360" y="240"/>
                </a:cubicBezTo>
                <a:cubicBezTo>
                  <a:pt x="360" y="239"/>
                  <a:pt x="360" y="239"/>
                  <a:pt x="360" y="239"/>
                </a:cubicBezTo>
                <a:cubicBezTo>
                  <a:pt x="360" y="240"/>
                  <a:pt x="360" y="240"/>
                  <a:pt x="360" y="240"/>
                </a:cubicBezTo>
                <a:cubicBezTo>
                  <a:pt x="359" y="241"/>
                  <a:pt x="359" y="241"/>
                  <a:pt x="359" y="241"/>
                </a:cubicBezTo>
                <a:cubicBezTo>
                  <a:pt x="360" y="241"/>
                  <a:pt x="360" y="241"/>
                  <a:pt x="360" y="241"/>
                </a:cubicBezTo>
                <a:cubicBezTo>
                  <a:pt x="361" y="242"/>
                  <a:pt x="361" y="242"/>
                  <a:pt x="361" y="242"/>
                </a:cubicBezTo>
                <a:cubicBezTo>
                  <a:pt x="360" y="242"/>
                  <a:pt x="360" y="242"/>
                  <a:pt x="360" y="242"/>
                </a:cubicBezTo>
                <a:cubicBezTo>
                  <a:pt x="361" y="243"/>
                  <a:pt x="361" y="243"/>
                  <a:pt x="361" y="243"/>
                </a:cubicBezTo>
                <a:cubicBezTo>
                  <a:pt x="362" y="243"/>
                  <a:pt x="362" y="243"/>
                  <a:pt x="362" y="243"/>
                </a:cubicBezTo>
                <a:cubicBezTo>
                  <a:pt x="363" y="243"/>
                  <a:pt x="363" y="243"/>
                  <a:pt x="363" y="243"/>
                </a:cubicBezTo>
                <a:cubicBezTo>
                  <a:pt x="361" y="244"/>
                  <a:pt x="361" y="244"/>
                  <a:pt x="361" y="244"/>
                </a:cubicBezTo>
                <a:cubicBezTo>
                  <a:pt x="359" y="245"/>
                  <a:pt x="359" y="245"/>
                  <a:pt x="359" y="245"/>
                </a:cubicBezTo>
                <a:cubicBezTo>
                  <a:pt x="359" y="246"/>
                  <a:pt x="359" y="246"/>
                  <a:pt x="359" y="246"/>
                </a:cubicBezTo>
                <a:cubicBezTo>
                  <a:pt x="360" y="246"/>
                  <a:pt x="360" y="246"/>
                  <a:pt x="360" y="246"/>
                </a:cubicBezTo>
                <a:cubicBezTo>
                  <a:pt x="361" y="246"/>
                  <a:pt x="361" y="246"/>
                  <a:pt x="361" y="246"/>
                </a:cubicBezTo>
                <a:cubicBezTo>
                  <a:pt x="361" y="246"/>
                  <a:pt x="361" y="246"/>
                  <a:pt x="361" y="246"/>
                </a:cubicBezTo>
                <a:cubicBezTo>
                  <a:pt x="360" y="247"/>
                  <a:pt x="360" y="247"/>
                  <a:pt x="360" y="247"/>
                </a:cubicBezTo>
                <a:cubicBezTo>
                  <a:pt x="361" y="248"/>
                  <a:pt x="361" y="248"/>
                  <a:pt x="361" y="248"/>
                </a:cubicBezTo>
                <a:cubicBezTo>
                  <a:pt x="361" y="249"/>
                  <a:pt x="361" y="249"/>
                  <a:pt x="361" y="249"/>
                </a:cubicBezTo>
                <a:cubicBezTo>
                  <a:pt x="360" y="249"/>
                  <a:pt x="360" y="249"/>
                  <a:pt x="360" y="249"/>
                </a:cubicBezTo>
                <a:cubicBezTo>
                  <a:pt x="360" y="250"/>
                  <a:pt x="360" y="250"/>
                  <a:pt x="360" y="250"/>
                </a:cubicBezTo>
                <a:cubicBezTo>
                  <a:pt x="361" y="250"/>
                  <a:pt x="361" y="250"/>
                  <a:pt x="361" y="250"/>
                </a:cubicBezTo>
                <a:cubicBezTo>
                  <a:pt x="361" y="250"/>
                  <a:pt x="361" y="250"/>
                  <a:pt x="361" y="250"/>
                </a:cubicBezTo>
                <a:cubicBezTo>
                  <a:pt x="361" y="252"/>
                  <a:pt x="361" y="252"/>
                  <a:pt x="361" y="252"/>
                </a:cubicBezTo>
                <a:cubicBezTo>
                  <a:pt x="361" y="251"/>
                  <a:pt x="361" y="251"/>
                  <a:pt x="361" y="251"/>
                </a:cubicBezTo>
                <a:cubicBezTo>
                  <a:pt x="360" y="251"/>
                  <a:pt x="360" y="251"/>
                  <a:pt x="360" y="251"/>
                </a:cubicBezTo>
                <a:cubicBezTo>
                  <a:pt x="360" y="250"/>
                  <a:pt x="360" y="250"/>
                  <a:pt x="360" y="250"/>
                </a:cubicBezTo>
                <a:cubicBezTo>
                  <a:pt x="359" y="249"/>
                  <a:pt x="359" y="249"/>
                  <a:pt x="359" y="249"/>
                </a:cubicBezTo>
                <a:cubicBezTo>
                  <a:pt x="359" y="250"/>
                  <a:pt x="359" y="250"/>
                  <a:pt x="359" y="250"/>
                </a:cubicBezTo>
                <a:cubicBezTo>
                  <a:pt x="358" y="250"/>
                  <a:pt x="358" y="250"/>
                  <a:pt x="358" y="250"/>
                </a:cubicBezTo>
                <a:cubicBezTo>
                  <a:pt x="358" y="251"/>
                  <a:pt x="358" y="251"/>
                  <a:pt x="358" y="251"/>
                </a:cubicBezTo>
                <a:cubicBezTo>
                  <a:pt x="359" y="252"/>
                  <a:pt x="359" y="252"/>
                  <a:pt x="359" y="252"/>
                </a:cubicBezTo>
                <a:cubicBezTo>
                  <a:pt x="359" y="253"/>
                  <a:pt x="359" y="253"/>
                  <a:pt x="359" y="253"/>
                </a:cubicBezTo>
                <a:cubicBezTo>
                  <a:pt x="358" y="252"/>
                  <a:pt x="358" y="252"/>
                  <a:pt x="358" y="252"/>
                </a:cubicBezTo>
                <a:cubicBezTo>
                  <a:pt x="358" y="252"/>
                  <a:pt x="358" y="252"/>
                  <a:pt x="358" y="252"/>
                </a:cubicBezTo>
                <a:cubicBezTo>
                  <a:pt x="357" y="252"/>
                  <a:pt x="357" y="252"/>
                  <a:pt x="357" y="252"/>
                </a:cubicBezTo>
                <a:cubicBezTo>
                  <a:pt x="356" y="252"/>
                  <a:pt x="356" y="252"/>
                  <a:pt x="356" y="252"/>
                </a:cubicBezTo>
                <a:cubicBezTo>
                  <a:pt x="357" y="252"/>
                  <a:pt x="357" y="252"/>
                  <a:pt x="357" y="252"/>
                </a:cubicBezTo>
                <a:cubicBezTo>
                  <a:pt x="357" y="253"/>
                  <a:pt x="357" y="253"/>
                  <a:pt x="357" y="253"/>
                </a:cubicBezTo>
                <a:cubicBezTo>
                  <a:pt x="358" y="253"/>
                  <a:pt x="358" y="253"/>
                  <a:pt x="358" y="253"/>
                </a:cubicBezTo>
                <a:cubicBezTo>
                  <a:pt x="358" y="254"/>
                  <a:pt x="358" y="254"/>
                  <a:pt x="358" y="254"/>
                </a:cubicBezTo>
                <a:cubicBezTo>
                  <a:pt x="358" y="255"/>
                  <a:pt x="358" y="255"/>
                  <a:pt x="358" y="255"/>
                </a:cubicBezTo>
                <a:cubicBezTo>
                  <a:pt x="356" y="254"/>
                  <a:pt x="356" y="254"/>
                  <a:pt x="356" y="254"/>
                </a:cubicBezTo>
                <a:cubicBezTo>
                  <a:pt x="356" y="255"/>
                  <a:pt x="356" y="255"/>
                  <a:pt x="356" y="255"/>
                </a:cubicBezTo>
                <a:cubicBezTo>
                  <a:pt x="356" y="255"/>
                  <a:pt x="356" y="255"/>
                  <a:pt x="356" y="255"/>
                </a:cubicBezTo>
                <a:cubicBezTo>
                  <a:pt x="358" y="256"/>
                  <a:pt x="358" y="256"/>
                  <a:pt x="358" y="256"/>
                </a:cubicBezTo>
                <a:cubicBezTo>
                  <a:pt x="357" y="257"/>
                  <a:pt x="357" y="257"/>
                  <a:pt x="357" y="257"/>
                </a:cubicBezTo>
                <a:cubicBezTo>
                  <a:pt x="355" y="256"/>
                  <a:pt x="355" y="256"/>
                  <a:pt x="355" y="256"/>
                </a:cubicBezTo>
                <a:cubicBezTo>
                  <a:pt x="355" y="256"/>
                  <a:pt x="355" y="256"/>
                  <a:pt x="355" y="256"/>
                </a:cubicBezTo>
                <a:cubicBezTo>
                  <a:pt x="354" y="256"/>
                  <a:pt x="354" y="256"/>
                  <a:pt x="354" y="256"/>
                </a:cubicBezTo>
                <a:cubicBezTo>
                  <a:pt x="353" y="257"/>
                  <a:pt x="353" y="257"/>
                  <a:pt x="353" y="257"/>
                </a:cubicBezTo>
                <a:cubicBezTo>
                  <a:pt x="351" y="257"/>
                  <a:pt x="351" y="257"/>
                  <a:pt x="351" y="257"/>
                </a:cubicBezTo>
                <a:cubicBezTo>
                  <a:pt x="353" y="259"/>
                  <a:pt x="353" y="259"/>
                  <a:pt x="353" y="259"/>
                </a:cubicBezTo>
                <a:cubicBezTo>
                  <a:pt x="354" y="258"/>
                  <a:pt x="354" y="258"/>
                  <a:pt x="354" y="258"/>
                </a:cubicBezTo>
                <a:cubicBezTo>
                  <a:pt x="355" y="258"/>
                  <a:pt x="355" y="258"/>
                  <a:pt x="355" y="258"/>
                </a:cubicBezTo>
                <a:cubicBezTo>
                  <a:pt x="354" y="259"/>
                  <a:pt x="354" y="259"/>
                  <a:pt x="354" y="259"/>
                </a:cubicBezTo>
                <a:cubicBezTo>
                  <a:pt x="354" y="260"/>
                  <a:pt x="354" y="260"/>
                  <a:pt x="354" y="260"/>
                </a:cubicBezTo>
                <a:cubicBezTo>
                  <a:pt x="353" y="261"/>
                  <a:pt x="353" y="261"/>
                  <a:pt x="353" y="261"/>
                </a:cubicBezTo>
                <a:cubicBezTo>
                  <a:pt x="353" y="260"/>
                  <a:pt x="353" y="260"/>
                  <a:pt x="353" y="260"/>
                </a:cubicBezTo>
                <a:cubicBezTo>
                  <a:pt x="352" y="261"/>
                  <a:pt x="352" y="261"/>
                  <a:pt x="352" y="261"/>
                </a:cubicBezTo>
                <a:cubicBezTo>
                  <a:pt x="351" y="261"/>
                  <a:pt x="351" y="261"/>
                  <a:pt x="351" y="261"/>
                </a:cubicBezTo>
                <a:cubicBezTo>
                  <a:pt x="351" y="261"/>
                  <a:pt x="351" y="261"/>
                  <a:pt x="351" y="261"/>
                </a:cubicBezTo>
                <a:cubicBezTo>
                  <a:pt x="351" y="261"/>
                  <a:pt x="351" y="261"/>
                  <a:pt x="351" y="261"/>
                </a:cubicBezTo>
                <a:cubicBezTo>
                  <a:pt x="351" y="262"/>
                  <a:pt x="351" y="262"/>
                  <a:pt x="351" y="262"/>
                </a:cubicBezTo>
                <a:cubicBezTo>
                  <a:pt x="350" y="262"/>
                  <a:pt x="350" y="262"/>
                  <a:pt x="350" y="262"/>
                </a:cubicBezTo>
                <a:cubicBezTo>
                  <a:pt x="350" y="263"/>
                  <a:pt x="350" y="263"/>
                  <a:pt x="350" y="263"/>
                </a:cubicBezTo>
                <a:cubicBezTo>
                  <a:pt x="349" y="263"/>
                  <a:pt x="349" y="263"/>
                  <a:pt x="349" y="263"/>
                </a:cubicBezTo>
                <a:cubicBezTo>
                  <a:pt x="348" y="263"/>
                  <a:pt x="348" y="263"/>
                  <a:pt x="348" y="263"/>
                </a:cubicBezTo>
                <a:cubicBezTo>
                  <a:pt x="347" y="263"/>
                  <a:pt x="347" y="263"/>
                  <a:pt x="347" y="263"/>
                </a:cubicBezTo>
                <a:cubicBezTo>
                  <a:pt x="346" y="264"/>
                  <a:pt x="346" y="264"/>
                  <a:pt x="346" y="264"/>
                </a:cubicBezTo>
                <a:cubicBezTo>
                  <a:pt x="346" y="264"/>
                  <a:pt x="346" y="264"/>
                  <a:pt x="346" y="264"/>
                </a:cubicBezTo>
                <a:cubicBezTo>
                  <a:pt x="346" y="265"/>
                  <a:pt x="346" y="265"/>
                  <a:pt x="346" y="265"/>
                </a:cubicBezTo>
                <a:cubicBezTo>
                  <a:pt x="346" y="266"/>
                  <a:pt x="346" y="266"/>
                  <a:pt x="346" y="266"/>
                </a:cubicBezTo>
                <a:cubicBezTo>
                  <a:pt x="345" y="267"/>
                  <a:pt x="345" y="267"/>
                  <a:pt x="345" y="267"/>
                </a:cubicBezTo>
                <a:cubicBezTo>
                  <a:pt x="346" y="268"/>
                  <a:pt x="346" y="268"/>
                  <a:pt x="346" y="268"/>
                </a:cubicBezTo>
                <a:cubicBezTo>
                  <a:pt x="345" y="268"/>
                  <a:pt x="345" y="268"/>
                  <a:pt x="345" y="268"/>
                </a:cubicBezTo>
                <a:cubicBezTo>
                  <a:pt x="344" y="268"/>
                  <a:pt x="344" y="268"/>
                  <a:pt x="344" y="268"/>
                </a:cubicBezTo>
                <a:cubicBezTo>
                  <a:pt x="344" y="269"/>
                  <a:pt x="344" y="269"/>
                  <a:pt x="344" y="269"/>
                </a:cubicBezTo>
                <a:cubicBezTo>
                  <a:pt x="344" y="268"/>
                  <a:pt x="344" y="268"/>
                  <a:pt x="344" y="268"/>
                </a:cubicBezTo>
                <a:cubicBezTo>
                  <a:pt x="343" y="268"/>
                  <a:pt x="343" y="268"/>
                  <a:pt x="343" y="268"/>
                </a:cubicBezTo>
                <a:cubicBezTo>
                  <a:pt x="342" y="269"/>
                  <a:pt x="342" y="269"/>
                  <a:pt x="342" y="269"/>
                </a:cubicBezTo>
                <a:cubicBezTo>
                  <a:pt x="341" y="269"/>
                  <a:pt x="341" y="269"/>
                  <a:pt x="341" y="269"/>
                </a:cubicBezTo>
                <a:cubicBezTo>
                  <a:pt x="341" y="270"/>
                  <a:pt x="341" y="270"/>
                  <a:pt x="341" y="270"/>
                </a:cubicBezTo>
                <a:cubicBezTo>
                  <a:pt x="340" y="270"/>
                  <a:pt x="340" y="270"/>
                  <a:pt x="340" y="270"/>
                </a:cubicBezTo>
                <a:cubicBezTo>
                  <a:pt x="340" y="270"/>
                  <a:pt x="340" y="270"/>
                  <a:pt x="340" y="270"/>
                </a:cubicBezTo>
                <a:cubicBezTo>
                  <a:pt x="339" y="270"/>
                  <a:pt x="339" y="270"/>
                  <a:pt x="339" y="270"/>
                </a:cubicBezTo>
                <a:cubicBezTo>
                  <a:pt x="339" y="271"/>
                  <a:pt x="339" y="271"/>
                  <a:pt x="339" y="271"/>
                </a:cubicBezTo>
                <a:cubicBezTo>
                  <a:pt x="338" y="271"/>
                  <a:pt x="338" y="271"/>
                  <a:pt x="338" y="271"/>
                </a:cubicBezTo>
                <a:cubicBezTo>
                  <a:pt x="337" y="270"/>
                  <a:pt x="337" y="270"/>
                  <a:pt x="337" y="270"/>
                </a:cubicBezTo>
                <a:cubicBezTo>
                  <a:pt x="337" y="269"/>
                  <a:pt x="337" y="269"/>
                  <a:pt x="337" y="269"/>
                </a:cubicBezTo>
                <a:cubicBezTo>
                  <a:pt x="336" y="270"/>
                  <a:pt x="336" y="270"/>
                  <a:pt x="336" y="270"/>
                </a:cubicBezTo>
                <a:cubicBezTo>
                  <a:pt x="335" y="270"/>
                  <a:pt x="335" y="270"/>
                  <a:pt x="335" y="270"/>
                </a:cubicBezTo>
                <a:cubicBezTo>
                  <a:pt x="335" y="271"/>
                  <a:pt x="335" y="271"/>
                  <a:pt x="335" y="271"/>
                </a:cubicBezTo>
                <a:cubicBezTo>
                  <a:pt x="334" y="271"/>
                  <a:pt x="334" y="271"/>
                  <a:pt x="334" y="271"/>
                </a:cubicBezTo>
                <a:cubicBezTo>
                  <a:pt x="333" y="271"/>
                  <a:pt x="333" y="271"/>
                  <a:pt x="333" y="271"/>
                </a:cubicBezTo>
                <a:cubicBezTo>
                  <a:pt x="333" y="271"/>
                  <a:pt x="333" y="271"/>
                  <a:pt x="333" y="271"/>
                </a:cubicBezTo>
                <a:cubicBezTo>
                  <a:pt x="332" y="272"/>
                  <a:pt x="332" y="272"/>
                  <a:pt x="332" y="272"/>
                </a:cubicBezTo>
                <a:cubicBezTo>
                  <a:pt x="331" y="273"/>
                  <a:pt x="331" y="273"/>
                  <a:pt x="331" y="273"/>
                </a:cubicBezTo>
                <a:cubicBezTo>
                  <a:pt x="329" y="274"/>
                  <a:pt x="329" y="274"/>
                  <a:pt x="329" y="274"/>
                </a:cubicBezTo>
                <a:cubicBezTo>
                  <a:pt x="329" y="273"/>
                  <a:pt x="329" y="273"/>
                  <a:pt x="329" y="273"/>
                </a:cubicBezTo>
                <a:cubicBezTo>
                  <a:pt x="330" y="273"/>
                  <a:pt x="330" y="273"/>
                  <a:pt x="330" y="273"/>
                </a:cubicBezTo>
                <a:cubicBezTo>
                  <a:pt x="330" y="272"/>
                  <a:pt x="330" y="272"/>
                  <a:pt x="330" y="272"/>
                </a:cubicBezTo>
                <a:cubicBezTo>
                  <a:pt x="330" y="272"/>
                  <a:pt x="330" y="272"/>
                  <a:pt x="330" y="272"/>
                </a:cubicBezTo>
                <a:cubicBezTo>
                  <a:pt x="328" y="271"/>
                  <a:pt x="328" y="271"/>
                  <a:pt x="328" y="271"/>
                </a:cubicBezTo>
                <a:cubicBezTo>
                  <a:pt x="328" y="270"/>
                  <a:pt x="328" y="270"/>
                  <a:pt x="328" y="270"/>
                </a:cubicBezTo>
                <a:cubicBezTo>
                  <a:pt x="327" y="270"/>
                  <a:pt x="327" y="270"/>
                  <a:pt x="327" y="270"/>
                </a:cubicBezTo>
                <a:cubicBezTo>
                  <a:pt x="326" y="269"/>
                  <a:pt x="326" y="269"/>
                  <a:pt x="326" y="269"/>
                </a:cubicBezTo>
                <a:cubicBezTo>
                  <a:pt x="326" y="270"/>
                  <a:pt x="326" y="270"/>
                  <a:pt x="326" y="270"/>
                </a:cubicBezTo>
                <a:cubicBezTo>
                  <a:pt x="326" y="271"/>
                  <a:pt x="326" y="271"/>
                  <a:pt x="326" y="271"/>
                </a:cubicBezTo>
                <a:cubicBezTo>
                  <a:pt x="326" y="272"/>
                  <a:pt x="326" y="272"/>
                  <a:pt x="326" y="272"/>
                </a:cubicBezTo>
                <a:cubicBezTo>
                  <a:pt x="327" y="273"/>
                  <a:pt x="327" y="273"/>
                  <a:pt x="327" y="273"/>
                </a:cubicBezTo>
                <a:cubicBezTo>
                  <a:pt x="326" y="274"/>
                  <a:pt x="326" y="274"/>
                  <a:pt x="326" y="274"/>
                </a:cubicBezTo>
                <a:cubicBezTo>
                  <a:pt x="325" y="275"/>
                  <a:pt x="325" y="275"/>
                  <a:pt x="325" y="275"/>
                </a:cubicBezTo>
                <a:cubicBezTo>
                  <a:pt x="325" y="275"/>
                  <a:pt x="325" y="275"/>
                  <a:pt x="325" y="275"/>
                </a:cubicBezTo>
                <a:cubicBezTo>
                  <a:pt x="324" y="275"/>
                  <a:pt x="324" y="275"/>
                  <a:pt x="324" y="275"/>
                </a:cubicBezTo>
                <a:cubicBezTo>
                  <a:pt x="324" y="274"/>
                  <a:pt x="324" y="274"/>
                  <a:pt x="324" y="274"/>
                </a:cubicBezTo>
                <a:cubicBezTo>
                  <a:pt x="324" y="275"/>
                  <a:pt x="324" y="275"/>
                  <a:pt x="324" y="275"/>
                </a:cubicBezTo>
                <a:cubicBezTo>
                  <a:pt x="323" y="276"/>
                  <a:pt x="323" y="276"/>
                  <a:pt x="323" y="276"/>
                </a:cubicBezTo>
                <a:cubicBezTo>
                  <a:pt x="322" y="277"/>
                  <a:pt x="322" y="277"/>
                  <a:pt x="322" y="277"/>
                </a:cubicBezTo>
                <a:cubicBezTo>
                  <a:pt x="320" y="278"/>
                  <a:pt x="320" y="278"/>
                  <a:pt x="320" y="278"/>
                </a:cubicBezTo>
                <a:cubicBezTo>
                  <a:pt x="319" y="278"/>
                  <a:pt x="319" y="278"/>
                  <a:pt x="319" y="278"/>
                </a:cubicBezTo>
                <a:cubicBezTo>
                  <a:pt x="318" y="278"/>
                  <a:pt x="318" y="278"/>
                  <a:pt x="318" y="278"/>
                </a:cubicBezTo>
                <a:cubicBezTo>
                  <a:pt x="317" y="278"/>
                  <a:pt x="317" y="278"/>
                  <a:pt x="317" y="278"/>
                </a:cubicBezTo>
                <a:cubicBezTo>
                  <a:pt x="316" y="278"/>
                  <a:pt x="316" y="278"/>
                  <a:pt x="316" y="278"/>
                </a:cubicBezTo>
                <a:cubicBezTo>
                  <a:pt x="316" y="279"/>
                  <a:pt x="316" y="279"/>
                  <a:pt x="316" y="279"/>
                </a:cubicBezTo>
                <a:cubicBezTo>
                  <a:pt x="315" y="280"/>
                  <a:pt x="315" y="280"/>
                  <a:pt x="315" y="280"/>
                </a:cubicBezTo>
                <a:cubicBezTo>
                  <a:pt x="314" y="280"/>
                  <a:pt x="314" y="280"/>
                  <a:pt x="314" y="280"/>
                </a:cubicBezTo>
                <a:cubicBezTo>
                  <a:pt x="313" y="280"/>
                  <a:pt x="313" y="280"/>
                  <a:pt x="313" y="280"/>
                </a:cubicBezTo>
                <a:cubicBezTo>
                  <a:pt x="312" y="280"/>
                  <a:pt x="312" y="280"/>
                  <a:pt x="312" y="280"/>
                </a:cubicBezTo>
                <a:cubicBezTo>
                  <a:pt x="311" y="281"/>
                  <a:pt x="311" y="281"/>
                  <a:pt x="311" y="281"/>
                </a:cubicBezTo>
                <a:cubicBezTo>
                  <a:pt x="311" y="281"/>
                  <a:pt x="311" y="281"/>
                  <a:pt x="311" y="281"/>
                </a:cubicBezTo>
                <a:cubicBezTo>
                  <a:pt x="310" y="281"/>
                  <a:pt x="310" y="281"/>
                  <a:pt x="310" y="281"/>
                </a:cubicBezTo>
                <a:cubicBezTo>
                  <a:pt x="311" y="281"/>
                  <a:pt x="311" y="281"/>
                  <a:pt x="311" y="281"/>
                </a:cubicBezTo>
                <a:cubicBezTo>
                  <a:pt x="310" y="281"/>
                  <a:pt x="310" y="281"/>
                  <a:pt x="310" y="281"/>
                </a:cubicBezTo>
                <a:cubicBezTo>
                  <a:pt x="310" y="281"/>
                  <a:pt x="310" y="281"/>
                  <a:pt x="310" y="281"/>
                </a:cubicBezTo>
                <a:cubicBezTo>
                  <a:pt x="310" y="280"/>
                  <a:pt x="310" y="280"/>
                  <a:pt x="310" y="280"/>
                </a:cubicBezTo>
                <a:cubicBezTo>
                  <a:pt x="310" y="280"/>
                  <a:pt x="310" y="280"/>
                  <a:pt x="310" y="280"/>
                </a:cubicBezTo>
                <a:cubicBezTo>
                  <a:pt x="309" y="280"/>
                  <a:pt x="309" y="280"/>
                  <a:pt x="309" y="280"/>
                </a:cubicBezTo>
                <a:cubicBezTo>
                  <a:pt x="309" y="280"/>
                  <a:pt x="309" y="280"/>
                  <a:pt x="309" y="280"/>
                </a:cubicBezTo>
                <a:cubicBezTo>
                  <a:pt x="309" y="280"/>
                  <a:pt x="309" y="280"/>
                  <a:pt x="309" y="280"/>
                </a:cubicBezTo>
                <a:cubicBezTo>
                  <a:pt x="309" y="280"/>
                  <a:pt x="309" y="280"/>
                  <a:pt x="309" y="280"/>
                </a:cubicBezTo>
                <a:cubicBezTo>
                  <a:pt x="309" y="281"/>
                  <a:pt x="309" y="281"/>
                  <a:pt x="309" y="281"/>
                </a:cubicBezTo>
                <a:cubicBezTo>
                  <a:pt x="309" y="282"/>
                  <a:pt x="309" y="282"/>
                  <a:pt x="309" y="282"/>
                </a:cubicBezTo>
                <a:cubicBezTo>
                  <a:pt x="308" y="282"/>
                  <a:pt x="308" y="282"/>
                  <a:pt x="308" y="282"/>
                </a:cubicBezTo>
                <a:cubicBezTo>
                  <a:pt x="307" y="283"/>
                  <a:pt x="307" y="283"/>
                  <a:pt x="307" y="283"/>
                </a:cubicBezTo>
                <a:cubicBezTo>
                  <a:pt x="308" y="284"/>
                  <a:pt x="308" y="284"/>
                  <a:pt x="308" y="284"/>
                </a:cubicBezTo>
                <a:cubicBezTo>
                  <a:pt x="309" y="284"/>
                  <a:pt x="309" y="284"/>
                  <a:pt x="309" y="284"/>
                </a:cubicBezTo>
                <a:cubicBezTo>
                  <a:pt x="309" y="285"/>
                  <a:pt x="309" y="285"/>
                  <a:pt x="309" y="285"/>
                </a:cubicBezTo>
                <a:cubicBezTo>
                  <a:pt x="309" y="286"/>
                  <a:pt x="309" y="286"/>
                  <a:pt x="309" y="286"/>
                </a:cubicBezTo>
                <a:cubicBezTo>
                  <a:pt x="310" y="286"/>
                  <a:pt x="310" y="286"/>
                  <a:pt x="310" y="286"/>
                </a:cubicBezTo>
                <a:cubicBezTo>
                  <a:pt x="310" y="286"/>
                  <a:pt x="310" y="286"/>
                  <a:pt x="310" y="286"/>
                </a:cubicBezTo>
                <a:cubicBezTo>
                  <a:pt x="309" y="288"/>
                  <a:pt x="309" y="288"/>
                  <a:pt x="309" y="288"/>
                </a:cubicBezTo>
                <a:cubicBezTo>
                  <a:pt x="308" y="288"/>
                  <a:pt x="308" y="288"/>
                  <a:pt x="308" y="288"/>
                </a:cubicBezTo>
                <a:cubicBezTo>
                  <a:pt x="308" y="287"/>
                  <a:pt x="308" y="287"/>
                  <a:pt x="308" y="287"/>
                </a:cubicBezTo>
                <a:cubicBezTo>
                  <a:pt x="307" y="287"/>
                  <a:pt x="307" y="287"/>
                  <a:pt x="307" y="287"/>
                </a:cubicBezTo>
                <a:cubicBezTo>
                  <a:pt x="306" y="288"/>
                  <a:pt x="306" y="288"/>
                  <a:pt x="306" y="288"/>
                </a:cubicBezTo>
                <a:cubicBezTo>
                  <a:pt x="306" y="288"/>
                  <a:pt x="306" y="288"/>
                  <a:pt x="306" y="288"/>
                </a:cubicBezTo>
                <a:cubicBezTo>
                  <a:pt x="306" y="287"/>
                  <a:pt x="306" y="287"/>
                  <a:pt x="306" y="287"/>
                </a:cubicBezTo>
                <a:cubicBezTo>
                  <a:pt x="306" y="286"/>
                  <a:pt x="306" y="286"/>
                  <a:pt x="306" y="286"/>
                </a:cubicBezTo>
                <a:cubicBezTo>
                  <a:pt x="305" y="286"/>
                  <a:pt x="305" y="286"/>
                  <a:pt x="305" y="286"/>
                </a:cubicBezTo>
                <a:cubicBezTo>
                  <a:pt x="304" y="284"/>
                  <a:pt x="304" y="284"/>
                  <a:pt x="304" y="284"/>
                </a:cubicBezTo>
                <a:cubicBezTo>
                  <a:pt x="304" y="283"/>
                  <a:pt x="304" y="283"/>
                  <a:pt x="304" y="283"/>
                </a:cubicBezTo>
                <a:cubicBezTo>
                  <a:pt x="304" y="282"/>
                  <a:pt x="304" y="282"/>
                  <a:pt x="304" y="282"/>
                </a:cubicBezTo>
                <a:cubicBezTo>
                  <a:pt x="305" y="281"/>
                  <a:pt x="305" y="281"/>
                  <a:pt x="305" y="281"/>
                </a:cubicBezTo>
                <a:cubicBezTo>
                  <a:pt x="306" y="280"/>
                  <a:pt x="306" y="280"/>
                  <a:pt x="306" y="280"/>
                </a:cubicBezTo>
                <a:cubicBezTo>
                  <a:pt x="306" y="280"/>
                  <a:pt x="306" y="280"/>
                  <a:pt x="306" y="280"/>
                </a:cubicBezTo>
                <a:cubicBezTo>
                  <a:pt x="305" y="280"/>
                  <a:pt x="305" y="280"/>
                  <a:pt x="305" y="280"/>
                </a:cubicBezTo>
                <a:cubicBezTo>
                  <a:pt x="304" y="280"/>
                  <a:pt x="304" y="280"/>
                  <a:pt x="304" y="280"/>
                </a:cubicBezTo>
                <a:cubicBezTo>
                  <a:pt x="303" y="279"/>
                  <a:pt x="303" y="279"/>
                  <a:pt x="303" y="279"/>
                </a:cubicBezTo>
                <a:cubicBezTo>
                  <a:pt x="302" y="280"/>
                  <a:pt x="302" y="280"/>
                  <a:pt x="302" y="280"/>
                </a:cubicBezTo>
                <a:cubicBezTo>
                  <a:pt x="302" y="280"/>
                  <a:pt x="302" y="280"/>
                  <a:pt x="302" y="280"/>
                </a:cubicBezTo>
                <a:cubicBezTo>
                  <a:pt x="301" y="280"/>
                  <a:pt x="301" y="280"/>
                  <a:pt x="301" y="280"/>
                </a:cubicBezTo>
                <a:cubicBezTo>
                  <a:pt x="299" y="279"/>
                  <a:pt x="299" y="279"/>
                  <a:pt x="299" y="279"/>
                </a:cubicBezTo>
                <a:cubicBezTo>
                  <a:pt x="299" y="279"/>
                  <a:pt x="299" y="279"/>
                  <a:pt x="299" y="279"/>
                </a:cubicBezTo>
                <a:cubicBezTo>
                  <a:pt x="298" y="278"/>
                  <a:pt x="298" y="278"/>
                  <a:pt x="298" y="278"/>
                </a:cubicBezTo>
                <a:cubicBezTo>
                  <a:pt x="297" y="277"/>
                  <a:pt x="297" y="277"/>
                  <a:pt x="297" y="277"/>
                </a:cubicBezTo>
                <a:cubicBezTo>
                  <a:pt x="297" y="278"/>
                  <a:pt x="297" y="278"/>
                  <a:pt x="297" y="278"/>
                </a:cubicBezTo>
                <a:cubicBezTo>
                  <a:pt x="297" y="279"/>
                  <a:pt x="297" y="279"/>
                  <a:pt x="297" y="279"/>
                </a:cubicBezTo>
                <a:cubicBezTo>
                  <a:pt x="296" y="279"/>
                  <a:pt x="296" y="279"/>
                  <a:pt x="296" y="279"/>
                </a:cubicBezTo>
                <a:cubicBezTo>
                  <a:pt x="295" y="279"/>
                  <a:pt x="295" y="279"/>
                  <a:pt x="295" y="279"/>
                </a:cubicBezTo>
                <a:cubicBezTo>
                  <a:pt x="295" y="279"/>
                  <a:pt x="295" y="279"/>
                  <a:pt x="295" y="279"/>
                </a:cubicBezTo>
                <a:cubicBezTo>
                  <a:pt x="294" y="279"/>
                  <a:pt x="294" y="279"/>
                  <a:pt x="294" y="279"/>
                </a:cubicBezTo>
                <a:cubicBezTo>
                  <a:pt x="294" y="279"/>
                  <a:pt x="294" y="279"/>
                  <a:pt x="294" y="279"/>
                </a:cubicBezTo>
                <a:cubicBezTo>
                  <a:pt x="294" y="279"/>
                  <a:pt x="294" y="279"/>
                  <a:pt x="294" y="279"/>
                </a:cubicBezTo>
                <a:cubicBezTo>
                  <a:pt x="293" y="279"/>
                  <a:pt x="293" y="279"/>
                  <a:pt x="293" y="279"/>
                </a:cubicBezTo>
                <a:cubicBezTo>
                  <a:pt x="287" y="280"/>
                  <a:pt x="287" y="280"/>
                  <a:pt x="287" y="280"/>
                </a:cubicBezTo>
                <a:cubicBezTo>
                  <a:pt x="274" y="274"/>
                  <a:pt x="274" y="274"/>
                  <a:pt x="274" y="274"/>
                </a:cubicBezTo>
                <a:cubicBezTo>
                  <a:pt x="252" y="285"/>
                  <a:pt x="252" y="285"/>
                  <a:pt x="252" y="285"/>
                </a:cubicBezTo>
                <a:cubicBezTo>
                  <a:pt x="236" y="280"/>
                  <a:pt x="236" y="280"/>
                  <a:pt x="236" y="280"/>
                </a:cubicBezTo>
                <a:cubicBezTo>
                  <a:pt x="199" y="253"/>
                  <a:pt x="199" y="253"/>
                  <a:pt x="199" y="253"/>
                </a:cubicBezTo>
                <a:cubicBezTo>
                  <a:pt x="121" y="246"/>
                  <a:pt x="121" y="246"/>
                  <a:pt x="121" y="246"/>
                </a:cubicBezTo>
                <a:cubicBezTo>
                  <a:pt x="80" y="207"/>
                  <a:pt x="80" y="207"/>
                  <a:pt x="80" y="207"/>
                </a:cubicBezTo>
                <a:cubicBezTo>
                  <a:pt x="0" y="173"/>
                  <a:pt x="0" y="173"/>
                  <a:pt x="0" y="173"/>
                </a:cubicBezTo>
                <a:cubicBezTo>
                  <a:pt x="7" y="106"/>
                  <a:pt x="7" y="106"/>
                  <a:pt x="7" y="106"/>
                </a:cubicBezTo>
                <a:cubicBezTo>
                  <a:pt x="59" y="78"/>
                  <a:pt x="59" y="78"/>
                  <a:pt x="59" y="78"/>
                </a:cubicBezTo>
                <a:cubicBezTo>
                  <a:pt x="119" y="65"/>
                  <a:pt x="119" y="65"/>
                  <a:pt x="119" y="65"/>
                </a:cubicBezTo>
                <a:cubicBezTo>
                  <a:pt x="124" y="64"/>
                  <a:pt x="124" y="64"/>
                  <a:pt x="124" y="64"/>
                </a:cubicBezTo>
                <a:close/>
                <a:moveTo>
                  <a:pt x="348" y="265"/>
                </a:moveTo>
                <a:cubicBezTo>
                  <a:pt x="349" y="265"/>
                  <a:pt x="349" y="265"/>
                  <a:pt x="349" y="265"/>
                </a:cubicBezTo>
                <a:cubicBezTo>
                  <a:pt x="350" y="265"/>
                  <a:pt x="350" y="265"/>
                  <a:pt x="350" y="265"/>
                </a:cubicBezTo>
                <a:cubicBezTo>
                  <a:pt x="350" y="265"/>
                  <a:pt x="350" y="265"/>
                  <a:pt x="350" y="265"/>
                </a:cubicBezTo>
                <a:cubicBezTo>
                  <a:pt x="349" y="264"/>
                  <a:pt x="349" y="264"/>
                  <a:pt x="349" y="264"/>
                </a:cubicBezTo>
                <a:cubicBezTo>
                  <a:pt x="348" y="265"/>
                  <a:pt x="348" y="265"/>
                  <a:pt x="348" y="265"/>
                </a:cubicBezTo>
                <a:close/>
                <a:moveTo>
                  <a:pt x="362" y="249"/>
                </a:moveTo>
                <a:cubicBezTo>
                  <a:pt x="362" y="250"/>
                  <a:pt x="362" y="250"/>
                  <a:pt x="362" y="250"/>
                </a:cubicBezTo>
                <a:cubicBezTo>
                  <a:pt x="363" y="250"/>
                  <a:pt x="363" y="250"/>
                  <a:pt x="363" y="250"/>
                </a:cubicBezTo>
                <a:cubicBezTo>
                  <a:pt x="363" y="249"/>
                  <a:pt x="363" y="249"/>
                  <a:pt x="363" y="249"/>
                </a:cubicBezTo>
                <a:cubicBezTo>
                  <a:pt x="362" y="248"/>
                  <a:pt x="362" y="248"/>
                  <a:pt x="362" y="248"/>
                </a:cubicBezTo>
                <a:cubicBezTo>
                  <a:pt x="362" y="249"/>
                  <a:pt x="362" y="249"/>
                  <a:pt x="362" y="249"/>
                </a:cubicBezTo>
                <a:close/>
                <a:moveTo>
                  <a:pt x="371" y="212"/>
                </a:moveTo>
                <a:cubicBezTo>
                  <a:pt x="372" y="213"/>
                  <a:pt x="372" y="213"/>
                  <a:pt x="372" y="213"/>
                </a:cubicBezTo>
                <a:cubicBezTo>
                  <a:pt x="373" y="214"/>
                  <a:pt x="373" y="214"/>
                  <a:pt x="373" y="214"/>
                </a:cubicBezTo>
                <a:cubicBezTo>
                  <a:pt x="374" y="214"/>
                  <a:pt x="374" y="214"/>
                  <a:pt x="374" y="214"/>
                </a:cubicBezTo>
                <a:cubicBezTo>
                  <a:pt x="374" y="213"/>
                  <a:pt x="374" y="213"/>
                  <a:pt x="374" y="213"/>
                </a:cubicBezTo>
                <a:cubicBezTo>
                  <a:pt x="373" y="212"/>
                  <a:pt x="373" y="212"/>
                  <a:pt x="373" y="212"/>
                </a:cubicBezTo>
                <a:cubicBezTo>
                  <a:pt x="372" y="213"/>
                  <a:pt x="372" y="213"/>
                  <a:pt x="372" y="213"/>
                </a:cubicBezTo>
                <a:cubicBezTo>
                  <a:pt x="371" y="212"/>
                  <a:pt x="371" y="212"/>
                  <a:pt x="371" y="212"/>
                </a:cubicBezTo>
                <a:close/>
                <a:moveTo>
                  <a:pt x="365" y="200"/>
                </a:moveTo>
                <a:cubicBezTo>
                  <a:pt x="365" y="201"/>
                  <a:pt x="365" y="201"/>
                  <a:pt x="365" y="201"/>
                </a:cubicBezTo>
                <a:cubicBezTo>
                  <a:pt x="365" y="201"/>
                  <a:pt x="365" y="201"/>
                  <a:pt x="365" y="201"/>
                </a:cubicBezTo>
                <a:cubicBezTo>
                  <a:pt x="367" y="201"/>
                  <a:pt x="367" y="201"/>
                  <a:pt x="367" y="201"/>
                </a:cubicBezTo>
                <a:cubicBezTo>
                  <a:pt x="368" y="202"/>
                  <a:pt x="368" y="202"/>
                  <a:pt x="368" y="202"/>
                </a:cubicBezTo>
                <a:cubicBezTo>
                  <a:pt x="368" y="201"/>
                  <a:pt x="368" y="201"/>
                  <a:pt x="368" y="201"/>
                </a:cubicBezTo>
                <a:cubicBezTo>
                  <a:pt x="367" y="201"/>
                  <a:pt x="367" y="201"/>
                  <a:pt x="367" y="201"/>
                </a:cubicBezTo>
                <a:cubicBezTo>
                  <a:pt x="366" y="200"/>
                  <a:pt x="366" y="200"/>
                  <a:pt x="366" y="200"/>
                </a:cubicBezTo>
                <a:cubicBezTo>
                  <a:pt x="365" y="200"/>
                  <a:pt x="365" y="200"/>
                  <a:pt x="365" y="200"/>
                </a:cubicBezTo>
                <a:close/>
                <a:moveTo>
                  <a:pt x="372" y="276"/>
                </a:moveTo>
                <a:cubicBezTo>
                  <a:pt x="373" y="276"/>
                  <a:pt x="373" y="276"/>
                  <a:pt x="373" y="276"/>
                </a:cubicBezTo>
                <a:cubicBezTo>
                  <a:pt x="374" y="276"/>
                  <a:pt x="374" y="276"/>
                  <a:pt x="374" y="276"/>
                </a:cubicBezTo>
                <a:cubicBezTo>
                  <a:pt x="374" y="275"/>
                  <a:pt x="374" y="275"/>
                  <a:pt x="374" y="275"/>
                </a:cubicBezTo>
                <a:cubicBezTo>
                  <a:pt x="374" y="273"/>
                  <a:pt x="374" y="273"/>
                  <a:pt x="374" y="273"/>
                </a:cubicBezTo>
                <a:cubicBezTo>
                  <a:pt x="374" y="271"/>
                  <a:pt x="374" y="271"/>
                  <a:pt x="374" y="271"/>
                </a:cubicBezTo>
                <a:cubicBezTo>
                  <a:pt x="375" y="270"/>
                  <a:pt x="375" y="270"/>
                  <a:pt x="375" y="270"/>
                </a:cubicBezTo>
                <a:cubicBezTo>
                  <a:pt x="376" y="268"/>
                  <a:pt x="376" y="268"/>
                  <a:pt x="376" y="268"/>
                </a:cubicBezTo>
                <a:cubicBezTo>
                  <a:pt x="376" y="266"/>
                  <a:pt x="376" y="266"/>
                  <a:pt x="376" y="266"/>
                </a:cubicBezTo>
                <a:cubicBezTo>
                  <a:pt x="377" y="266"/>
                  <a:pt x="377" y="266"/>
                  <a:pt x="377" y="266"/>
                </a:cubicBezTo>
                <a:cubicBezTo>
                  <a:pt x="376" y="265"/>
                  <a:pt x="376" y="265"/>
                  <a:pt x="376" y="265"/>
                </a:cubicBezTo>
                <a:cubicBezTo>
                  <a:pt x="376" y="263"/>
                  <a:pt x="376" y="263"/>
                  <a:pt x="376" y="263"/>
                </a:cubicBezTo>
                <a:cubicBezTo>
                  <a:pt x="377" y="261"/>
                  <a:pt x="377" y="261"/>
                  <a:pt x="377" y="261"/>
                </a:cubicBezTo>
                <a:cubicBezTo>
                  <a:pt x="376" y="259"/>
                  <a:pt x="376" y="259"/>
                  <a:pt x="376" y="259"/>
                </a:cubicBezTo>
                <a:cubicBezTo>
                  <a:pt x="377" y="258"/>
                  <a:pt x="377" y="258"/>
                  <a:pt x="377" y="258"/>
                </a:cubicBezTo>
                <a:cubicBezTo>
                  <a:pt x="377" y="255"/>
                  <a:pt x="377" y="255"/>
                  <a:pt x="377" y="255"/>
                </a:cubicBezTo>
                <a:cubicBezTo>
                  <a:pt x="378" y="253"/>
                  <a:pt x="378" y="253"/>
                  <a:pt x="378" y="253"/>
                </a:cubicBezTo>
                <a:cubicBezTo>
                  <a:pt x="378" y="253"/>
                  <a:pt x="378" y="253"/>
                  <a:pt x="378" y="253"/>
                </a:cubicBezTo>
                <a:cubicBezTo>
                  <a:pt x="378" y="252"/>
                  <a:pt x="378" y="252"/>
                  <a:pt x="378" y="252"/>
                </a:cubicBezTo>
                <a:cubicBezTo>
                  <a:pt x="377" y="251"/>
                  <a:pt x="377" y="251"/>
                  <a:pt x="377" y="251"/>
                </a:cubicBezTo>
                <a:cubicBezTo>
                  <a:pt x="376" y="251"/>
                  <a:pt x="376" y="251"/>
                  <a:pt x="376" y="251"/>
                </a:cubicBezTo>
                <a:cubicBezTo>
                  <a:pt x="376" y="250"/>
                  <a:pt x="376" y="250"/>
                  <a:pt x="376" y="250"/>
                </a:cubicBezTo>
                <a:cubicBezTo>
                  <a:pt x="374" y="249"/>
                  <a:pt x="374" y="249"/>
                  <a:pt x="374" y="249"/>
                </a:cubicBezTo>
                <a:cubicBezTo>
                  <a:pt x="374" y="250"/>
                  <a:pt x="374" y="250"/>
                  <a:pt x="374" y="250"/>
                </a:cubicBezTo>
                <a:cubicBezTo>
                  <a:pt x="374" y="251"/>
                  <a:pt x="374" y="251"/>
                  <a:pt x="374" y="251"/>
                </a:cubicBezTo>
                <a:cubicBezTo>
                  <a:pt x="373" y="251"/>
                  <a:pt x="373" y="251"/>
                  <a:pt x="373" y="251"/>
                </a:cubicBezTo>
                <a:cubicBezTo>
                  <a:pt x="371" y="253"/>
                  <a:pt x="371" y="253"/>
                  <a:pt x="371" y="253"/>
                </a:cubicBezTo>
                <a:cubicBezTo>
                  <a:pt x="370" y="255"/>
                  <a:pt x="370" y="255"/>
                  <a:pt x="370" y="255"/>
                </a:cubicBezTo>
                <a:cubicBezTo>
                  <a:pt x="370" y="255"/>
                  <a:pt x="370" y="255"/>
                  <a:pt x="370" y="255"/>
                </a:cubicBezTo>
                <a:cubicBezTo>
                  <a:pt x="370" y="256"/>
                  <a:pt x="370" y="256"/>
                  <a:pt x="370" y="256"/>
                </a:cubicBezTo>
                <a:cubicBezTo>
                  <a:pt x="369" y="257"/>
                  <a:pt x="369" y="257"/>
                  <a:pt x="369" y="257"/>
                </a:cubicBezTo>
                <a:cubicBezTo>
                  <a:pt x="368" y="259"/>
                  <a:pt x="368" y="259"/>
                  <a:pt x="368" y="259"/>
                </a:cubicBezTo>
                <a:cubicBezTo>
                  <a:pt x="367" y="262"/>
                  <a:pt x="367" y="262"/>
                  <a:pt x="367" y="262"/>
                </a:cubicBezTo>
                <a:cubicBezTo>
                  <a:pt x="367" y="262"/>
                  <a:pt x="367" y="262"/>
                  <a:pt x="367" y="262"/>
                </a:cubicBezTo>
                <a:cubicBezTo>
                  <a:pt x="367" y="263"/>
                  <a:pt x="367" y="263"/>
                  <a:pt x="367" y="263"/>
                </a:cubicBezTo>
                <a:cubicBezTo>
                  <a:pt x="367" y="265"/>
                  <a:pt x="367" y="265"/>
                  <a:pt x="367" y="265"/>
                </a:cubicBezTo>
                <a:cubicBezTo>
                  <a:pt x="368" y="267"/>
                  <a:pt x="368" y="267"/>
                  <a:pt x="368" y="267"/>
                </a:cubicBezTo>
                <a:cubicBezTo>
                  <a:pt x="368" y="268"/>
                  <a:pt x="368" y="268"/>
                  <a:pt x="368" y="268"/>
                </a:cubicBezTo>
                <a:cubicBezTo>
                  <a:pt x="368" y="269"/>
                  <a:pt x="368" y="269"/>
                  <a:pt x="368" y="269"/>
                </a:cubicBezTo>
                <a:cubicBezTo>
                  <a:pt x="368" y="269"/>
                  <a:pt x="368" y="269"/>
                  <a:pt x="368" y="269"/>
                </a:cubicBezTo>
                <a:cubicBezTo>
                  <a:pt x="368" y="269"/>
                  <a:pt x="368" y="269"/>
                  <a:pt x="368" y="269"/>
                </a:cubicBezTo>
                <a:cubicBezTo>
                  <a:pt x="369" y="271"/>
                  <a:pt x="369" y="271"/>
                  <a:pt x="369" y="271"/>
                </a:cubicBezTo>
                <a:cubicBezTo>
                  <a:pt x="369" y="271"/>
                  <a:pt x="369" y="271"/>
                  <a:pt x="369" y="271"/>
                </a:cubicBezTo>
                <a:cubicBezTo>
                  <a:pt x="370" y="272"/>
                  <a:pt x="370" y="272"/>
                  <a:pt x="370" y="272"/>
                </a:cubicBezTo>
                <a:cubicBezTo>
                  <a:pt x="371" y="272"/>
                  <a:pt x="371" y="272"/>
                  <a:pt x="371" y="272"/>
                </a:cubicBezTo>
                <a:cubicBezTo>
                  <a:pt x="372" y="273"/>
                  <a:pt x="372" y="273"/>
                  <a:pt x="372" y="273"/>
                </a:cubicBezTo>
                <a:cubicBezTo>
                  <a:pt x="372" y="275"/>
                  <a:pt x="372" y="275"/>
                  <a:pt x="372" y="275"/>
                </a:cubicBezTo>
                <a:cubicBezTo>
                  <a:pt x="372" y="276"/>
                  <a:pt x="372" y="276"/>
                  <a:pt x="372" y="276"/>
                </a:cubicBezTo>
                <a:close/>
                <a:moveTo>
                  <a:pt x="309" y="283"/>
                </a:moveTo>
                <a:cubicBezTo>
                  <a:pt x="310" y="283"/>
                  <a:pt x="310" y="283"/>
                  <a:pt x="310" y="283"/>
                </a:cubicBezTo>
                <a:cubicBezTo>
                  <a:pt x="310" y="283"/>
                  <a:pt x="310" y="283"/>
                  <a:pt x="310" y="283"/>
                </a:cubicBezTo>
                <a:cubicBezTo>
                  <a:pt x="312" y="284"/>
                  <a:pt x="312" y="284"/>
                  <a:pt x="312" y="284"/>
                </a:cubicBezTo>
                <a:cubicBezTo>
                  <a:pt x="312" y="283"/>
                  <a:pt x="312" y="283"/>
                  <a:pt x="312" y="283"/>
                </a:cubicBezTo>
                <a:cubicBezTo>
                  <a:pt x="311" y="283"/>
                  <a:pt x="311" y="283"/>
                  <a:pt x="311" y="283"/>
                </a:cubicBezTo>
                <a:cubicBezTo>
                  <a:pt x="309" y="283"/>
                  <a:pt x="309" y="283"/>
                  <a:pt x="309" y="283"/>
                </a:cubicBezTo>
                <a:close/>
                <a:moveTo>
                  <a:pt x="309" y="289"/>
                </a:moveTo>
                <a:cubicBezTo>
                  <a:pt x="308" y="289"/>
                  <a:pt x="308" y="289"/>
                  <a:pt x="308" y="289"/>
                </a:cubicBezTo>
                <a:cubicBezTo>
                  <a:pt x="307" y="289"/>
                  <a:pt x="307" y="289"/>
                  <a:pt x="307" y="289"/>
                </a:cubicBezTo>
                <a:cubicBezTo>
                  <a:pt x="306" y="290"/>
                  <a:pt x="306" y="290"/>
                  <a:pt x="306" y="290"/>
                </a:cubicBezTo>
                <a:cubicBezTo>
                  <a:pt x="305" y="290"/>
                  <a:pt x="305" y="290"/>
                  <a:pt x="305" y="290"/>
                </a:cubicBezTo>
                <a:cubicBezTo>
                  <a:pt x="304" y="290"/>
                  <a:pt x="304" y="290"/>
                  <a:pt x="304" y="290"/>
                </a:cubicBezTo>
                <a:cubicBezTo>
                  <a:pt x="303" y="291"/>
                  <a:pt x="303" y="291"/>
                  <a:pt x="303" y="291"/>
                </a:cubicBezTo>
                <a:cubicBezTo>
                  <a:pt x="303" y="292"/>
                  <a:pt x="303" y="292"/>
                  <a:pt x="303" y="292"/>
                </a:cubicBezTo>
                <a:cubicBezTo>
                  <a:pt x="301" y="293"/>
                  <a:pt x="301" y="293"/>
                  <a:pt x="301" y="293"/>
                </a:cubicBezTo>
                <a:cubicBezTo>
                  <a:pt x="299" y="295"/>
                  <a:pt x="299" y="295"/>
                  <a:pt x="299" y="295"/>
                </a:cubicBezTo>
                <a:cubicBezTo>
                  <a:pt x="300" y="296"/>
                  <a:pt x="300" y="296"/>
                  <a:pt x="300" y="296"/>
                </a:cubicBezTo>
                <a:cubicBezTo>
                  <a:pt x="300" y="298"/>
                  <a:pt x="300" y="298"/>
                  <a:pt x="300" y="298"/>
                </a:cubicBezTo>
                <a:cubicBezTo>
                  <a:pt x="300" y="299"/>
                  <a:pt x="300" y="299"/>
                  <a:pt x="300" y="299"/>
                </a:cubicBezTo>
                <a:cubicBezTo>
                  <a:pt x="300" y="300"/>
                  <a:pt x="300" y="300"/>
                  <a:pt x="300" y="300"/>
                </a:cubicBezTo>
                <a:cubicBezTo>
                  <a:pt x="301" y="301"/>
                  <a:pt x="301" y="301"/>
                  <a:pt x="301" y="301"/>
                </a:cubicBezTo>
                <a:cubicBezTo>
                  <a:pt x="303" y="301"/>
                  <a:pt x="303" y="301"/>
                  <a:pt x="303" y="301"/>
                </a:cubicBezTo>
                <a:cubicBezTo>
                  <a:pt x="304" y="302"/>
                  <a:pt x="304" y="302"/>
                  <a:pt x="304" y="302"/>
                </a:cubicBezTo>
                <a:cubicBezTo>
                  <a:pt x="305" y="302"/>
                  <a:pt x="305" y="302"/>
                  <a:pt x="305" y="302"/>
                </a:cubicBezTo>
                <a:cubicBezTo>
                  <a:pt x="306" y="302"/>
                  <a:pt x="306" y="302"/>
                  <a:pt x="306" y="302"/>
                </a:cubicBezTo>
                <a:cubicBezTo>
                  <a:pt x="306" y="302"/>
                  <a:pt x="306" y="302"/>
                  <a:pt x="306" y="302"/>
                </a:cubicBezTo>
                <a:cubicBezTo>
                  <a:pt x="307" y="301"/>
                  <a:pt x="307" y="301"/>
                  <a:pt x="307" y="301"/>
                </a:cubicBezTo>
                <a:cubicBezTo>
                  <a:pt x="308" y="301"/>
                  <a:pt x="308" y="301"/>
                  <a:pt x="308" y="301"/>
                </a:cubicBezTo>
                <a:cubicBezTo>
                  <a:pt x="309" y="301"/>
                  <a:pt x="309" y="301"/>
                  <a:pt x="309" y="301"/>
                </a:cubicBezTo>
                <a:cubicBezTo>
                  <a:pt x="310" y="300"/>
                  <a:pt x="310" y="300"/>
                  <a:pt x="310" y="300"/>
                </a:cubicBezTo>
                <a:cubicBezTo>
                  <a:pt x="310" y="299"/>
                  <a:pt x="310" y="299"/>
                  <a:pt x="310" y="299"/>
                </a:cubicBezTo>
                <a:cubicBezTo>
                  <a:pt x="311" y="299"/>
                  <a:pt x="311" y="299"/>
                  <a:pt x="311" y="299"/>
                </a:cubicBezTo>
                <a:cubicBezTo>
                  <a:pt x="312" y="298"/>
                  <a:pt x="312" y="298"/>
                  <a:pt x="312" y="298"/>
                </a:cubicBezTo>
                <a:cubicBezTo>
                  <a:pt x="312" y="297"/>
                  <a:pt x="312" y="297"/>
                  <a:pt x="312" y="297"/>
                </a:cubicBezTo>
                <a:cubicBezTo>
                  <a:pt x="312" y="295"/>
                  <a:pt x="312" y="295"/>
                  <a:pt x="312" y="295"/>
                </a:cubicBezTo>
                <a:cubicBezTo>
                  <a:pt x="313" y="295"/>
                  <a:pt x="313" y="295"/>
                  <a:pt x="313" y="295"/>
                </a:cubicBezTo>
                <a:cubicBezTo>
                  <a:pt x="313" y="294"/>
                  <a:pt x="313" y="294"/>
                  <a:pt x="313" y="294"/>
                </a:cubicBezTo>
                <a:cubicBezTo>
                  <a:pt x="314" y="292"/>
                  <a:pt x="314" y="292"/>
                  <a:pt x="314" y="292"/>
                </a:cubicBezTo>
                <a:cubicBezTo>
                  <a:pt x="313" y="290"/>
                  <a:pt x="313" y="290"/>
                  <a:pt x="313" y="290"/>
                </a:cubicBezTo>
                <a:cubicBezTo>
                  <a:pt x="312" y="290"/>
                  <a:pt x="312" y="290"/>
                  <a:pt x="312" y="290"/>
                </a:cubicBezTo>
                <a:cubicBezTo>
                  <a:pt x="311" y="289"/>
                  <a:pt x="311" y="289"/>
                  <a:pt x="311" y="289"/>
                </a:cubicBezTo>
                <a:cubicBezTo>
                  <a:pt x="310" y="290"/>
                  <a:pt x="310" y="290"/>
                  <a:pt x="310" y="290"/>
                </a:cubicBezTo>
                <a:cubicBezTo>
                  <a:pt x="310" y="290"/>
                  <a:pt x="309" y="289"/>
                  <a:pt x="309" y="289"/>
                </a:cubicBez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4" name="Freeform 12">
            <a:extLst>
              <a:ext uri="{FF2B5EF4-FFF2-40B4-BE49-F238E27FC236}">
                <a16:creationId xmlns:a16="http://schemas.microsoft.com/office/drawing/2014/main" id="{F4CA8390-4870-1B9C-5632-A9A799D47CDA}"/>
              </a:ext>
            </a:extLst>
          </p:cNvPr>
          <p:cNvSpPr>
            <a:spLocks noEditPoints="1"/>
          </p:cNvSpPr>
          <p:nvPr userDrawn="1"/>
        </p:nvSpPr>
        <p:spPr bwMode="auto">
          <a:xfrm>
            <a:off x="13565890" y="2323383"/>
            <a:ext cx="873069" cy="1082678"/>
          </a:xfrm>
          <a:custGeom>
            <a:avLst/>
            <a:gdLst>
              <a:gd name="T0" fmla="*/ 84 w 88"/>
              <a:gd name="T1" fmla="*/ 10 h 109"/>
              <a:gd name="T2" fmla="*/ 36 w 88"/>
              <a:gd name="T3" fmla="*/ 1 h 109"/>
              <a:gd name="T4" fmla="*/ 29 w 88"/>
              <a:gd name="T5" fmla="*/ 11 h 109"/>
              <a:gd name="T6" fmla="*/ 38 w 88"/>
              <a:gd name="T7" fmla="*/ 20 h 109"/>
              <a:gd name="T8" fmla="*/ 39 w 88"/>
              <a:gd name="T9" fmla="*/ 21 h 109"/>
              <a:gd name="T10" fmla="*/ 35 w 88"/>
              <a:gd name="T11" fmla="*/ 23 h 109"/>
              <a:gd name="T12" fmla="*/ 46 w 88"/>
              <a:gd name="T13" fmla="*/ 27 h 109"/>
              <a:gd name="T14" fmla="*/ 55 w 88"/>
              <a:gd name="T15" fmla="*/ 28 h 109"/>
              <a:gd name="T16" fmla="*/ 63 w 88"/>
              <a:gd name="T17" fmla="*/ 20 h 109"/>
              <a:gd name="T18" fmla="*/ 62 w 88"/>
              <a:gd name="T19" fmla="*/ 11 h 109"/>
              <a:gd name="T20" fmla="*/ 53 w 88"/>
              <a:gd name="T21" fmla="*/ 8 h 109"/>
              <a:gd name="T22" fmla="*/ 49 w 88"/>
              <a:gd name="T23" fmla="*/ 11 h 109"/>
              <a:gd name="T24" fmla="*/ 45 w 88"/>
              <a:gd name="T25" fmla="*/ 6 h 109"/>
              <a:gd name="T26" fmla="*/ 46 w 88"/>
              <a:gd name="T27" fmla="*/ 16 h 109"/>
              <a:gd name="T28" fmla="*/ 39 w 88"/>
              <a:gd name="T29" fmla="*/ 12 h 109"/>
              <a:gd name="T30" fmla="*/ 34 w 88"/>
              <a:gd name="T31" fmla="*/ 5 h 109"/>
              <a:gd name="T32" fmla="*/ 33 w 88"/>
              <a:gd name="T33" fmla="*/ 13 h 109"/>
              <a:gd name="T34" fmla="*/ 29 w 88"/>
              <a:gd name="T35" fmla="*/ 15 h 109"/>
              <a:gd name="T36" fmla="*/ 71 w 88"/>
              <a:gd name="T37" fmla="*/ 35 h 109"/>
              <a:gd name="T38" fmla="*/ 73 w 88"/>
              <a:gd name="T39" fmla="*/ 34 h 109"/>
              <a:gd name="T40" fmla="*/ 68 w 88"/>
              <a:gd name="T41" fmla="*/ 38 h 109"/>
              <a:gd name="T42" fmla="*/ 54 w 88"/>
              <a:gd name="T43" fmla="*/ 48 h 109"/>
              <a:gd name="T44" fmla="*/ 61 w 88"/>
              <a:gd name="T45" fmla="*/ 54 h 109"/>
              <a:gd name="T46" fmla="*/ 53 w 88"/>
              <a:gd name="T47" fmla="*/ 61 h 109"/>
              <a:gd name="T48" fmla="*/ 45 w 88"/>
              <a:gd name="T49" fmla="*/ 61 h 109"/>
              <a:gd name="T50" fmla="*/ 45 w 88"/>
              <a:gd name="T51" fmla="*/ 51 h 109"/>
              <a:gd name="T52" fmla="*/ 41 w 88"/>
              <a:gd name="T53" fmla="*/ 43 h 109"/>
              <a:gd name="T54" fmla="*/ 48 w 88"/>
              <a:gd name="T55" fmla="*/ 46 h 109"/>
              <a:gd name="T56" fmla="*/ 45 w 88"/>
              <a:gd name="T57" fmla="*/ 40 h 109"/>
              <a:gd name="T58" fmla="*/ 3 w 88"/>
              <a:gd name="T59" fmla="*/ 45 h 109"/>
              <a:gd name="T60" fmla="*/ 3 w 88"/>
              <a:gd name="T61" fmla="*/ 43 h 109"/>
              <a:gd name="T62" fmla="*/ 29 w 88"/>
              <a:gd name="T63" fmla="*/ 76 h 109"/>
              <a:gd name="T64" fmla="*/ 26 w 88"/>
              <a:gd name="T65" fmla="*/ 70 h 109"/>
              <a:gd name="T66" fmla="*/ 19 w 88"/>
              <a:gd name="T67" fmla="*/ 66 h 109"/>
              <a:gd name="T68" fmla="*/ 16 w 88"/>
              <a:gd name="T69" fmla="*/ 61 h 109"/>
              <a:gd name="T70" fmla="*/ 22 w 88"/>
              <a:gd name="T71" fmla="*/ 60 h 109"/>
              <a:gd name="T72" fmla="*/ 26 w 88"/>
              <a:gd name="T73" fmla="*/ 55 h 109"/>
              <a:gd name="T74" fmla="*/ 23 w 88"/>
              <a:gd name="T75" fmla="*/ 54 h 109"/>
              <a:gd name="T76" fmla="*/ 14 w 88"/>
              <a:gd name="T77" fmla="*/ 54 h 109"/>
              <a:gd name="T78" fmla="*/ 19 w 88"/>
              <a:gd name="T79" fmla="*/ 49 h 109"/>
              <a:gd name="T80" fmla="*/ 26 w 88"/>
              <a:gd name="T81" fmla="*/ 44 h 109"/>
              <a:gd name="T82" fmla="*/ 21 w 88"/>
              <a:gd name="T83" fmla="*/ 45 h 109"/>
              <a:gd name="T84" fmla="*/ 19 w 88"/>
              <a:gd name="T85" fmla="*/ 41 h 109"/>
              <a:gd name="T86" fmla="*/ 18 w 88"/>
              <a:gd name="T87" fmla="*/ 46 h 109"/>
              <a:gd name="T88" fmla="*/ 9 w 88"/>
              <a:gd name="T89" fmla="*/ 45 h 109"/>
              <a:gd name="T90" fmla="*/ 5 w 88"/>
              <a:gd name="T91" fmla="*/ 40 h 109"/>
              <a:gd name="T92" fmla="*/ 6 w 88"/>
              <a:gd name="T93" fmla="*/ 37 h 109"/>
              <a:gd name="T94" fmla="*/ 5 w 88"/>
              <a:gd name="T95" fmla="*/ 30 h 109"/>
              <a:gd name="T96" fmla="*/ 0 w 88"/>
              <a:gd name="T97" fmla="*/ 26 h 109"/>
              <a:gd name="T98" fmla="*/ 6 w 88"/>
              <a:gd name="T99" fmla="*/ 23 h 109"/>
              <a:gd name="T100" fmla="*/ 12 w 88"/>
              <a:gd name="T101" fmla="*/ 22 h 109"/>
              <a:gd name="T102" fmla="*/ 11 w 88"/>
              <a:gd name="T103" fmla="*/ 25 h 109"/>
              <a:gd name="T104" fmla="*/ 14 w 88"/>
              <a:gd name="T105" fmla="*/ 31 h 109"/>
              <a:gd name="T106" fmla="*/ 18 w 88"/>
              <a:gd name="T107" fmla="*/ 27 h 109"/>
              <a:gd name="T108" fmla="*/ 23 w 88"/>
              <a:gd name="T109" fmla="*/ 36 h 109"/>
              <a:gd name="T110" fmla="*/ 20 w 88"/>
              <a:gd name="T111" fmla="*/ 19 h 109"/>
              <a:gd name="T112" fmla="*/ 28 w 88"/>
              <a:gd name="T113" fmla="*/ 21 h 109"/>
              <a:gd name="T114" fmla="*/ 31 w 88"/>
              <a:gd name="T115" fmla="*/ 24 h 109"/>
              <a:gd name="T116" fmla="*/ 44 w 88"/>
              <a:gd name="T117" fmla="*/ 37 h 109"/>
              <a:gd name="T118" fmla="*/ 38 w 88"/>
              <a:gd name="T119" fmla="*/ 42 h 109"/>
              <a:gd name="T120" fmla="*/ 35 w 88"/>
              <a:gd name="T121" fmla="*/ 54 h 109"/>
              <a:gd name="T122" fmla="*/ 32 w 88"/>
              <a:gd name="T123" fmla="*/ 65 h 109"/>
              <a:gd name="T124" fmla="*/ 44 w 88"/>
              <a:gd name="T12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 h="109">
                <a:moveTo>
                  <a:pt x="82" y="10"/>
                </a:moveTo>
                <a:cubicBezTo>
                  <a:pt x="82" y="9"/>
                  <a:pt x="83" y="9"/>
                  <a:pt x="83" y="9"/>
                </a:cubicBezTo>
                <a:cubicBezTo>
                  <a:pt x="84" y="8"/>
                  <a:pt x="84" y="8"/>
                  <a:pt x="84" y="8"/>
                </a:cubicBezTo>
                <a:cubicBezTo>
                  <a:pt x="85" y="8"/>
                  <a:pt x="85" y="8"/>
                  <a:pt x="85" y="8"/>
                </a:cubicBezTo>
                <a:cubicBezTo>
                  <a:pt x="86" y="6"/>
                  <a:pt x="86" y="6"/>
                  <a:pt x="86" y="6"/>
                </a:cubicBezTo>
                <a:cubicBezTo>
                  <a:pt x="87" y="6"/>
                  <a:pt x="87" y="6"/>
                  <a:pt x="87" y="6"/>
                </a:cubicBezTo>
                <a:cubicBezTo>
                  <a:pt x="88" y="6"/>
                  <a:pt x="88" y="6"/>
                  <a:pt x="88" y="6"/>
                </a:cubicBezTo>
                <a:cubicBezTo>
                  <a:pt x="88" y="6"/>
                  <a:pt x="88" y="6"/>
                  <a:pt x="88" y="6"/>
                </a:cubicBezTo>
                <a:cubicBezTo>
                  <a:pt x="88" y="7"/>
                  <a:pt x="88" y="7"/>
                  <a:pt x="88" y="7"/>
                </a:cubicBezTo>
                <a:cubicBezTo>
                  <a:pt x="87" y="8"/>
                  <a:pt x="87" y="8"/>
                  <a:pt x="87" y="8"/>
                </a:cubicBezTo>
                <a:cubicBezTo>
                  <a:pt x="86" y="8"/>
                  <a:pt x="86" y="8"/>
                  <a:pt x="86" y="8"/>
                </a:cubicBezTo>
                <a:cubicBezTo>
                  <a:pt x="84" y="10"/>
                  <a:pt x="84" y="10"/>
                  <a:pt x="84" y="10"/>
                </a:cubicBezTo>
                <a:cubicBezTo>
                  <a:pt x="83" y="10"/>
                  <a:pt x="83" y="10"/>
                  <a:pt x="83" y="10"/>
                </a:cubicBezTo>
                <a:cubicBezTo>
                  <a:pt x="82" y="10"/>
                  <a:pt x="82" y="10"/>
                  <a:pt x="82" y="10"/>
                </a:cubicBezTo>
                <a:cubicBezTo>
                  <a:pt x="82" y="10"/>
                  <a:pt x="82" y="10"/>
                  <a:pt x="82" y="10"/>
                </a:cubicBezTo>
                <a:close/>
                <a:moveTo>
                  <a:pt x="66" y="11"/>
                </a:moveTo>
                <a:cubicBezTo>
                  <a:pt x="67" y="12"/>
                  <a:pt x="67" y="12"/>
                  <a:pt x="67" y="12"/>
                </a:cubicBezTo>
                <a:cubicBezTo>
                  <a:pt x="67" y="12"/>
                  <a:pt x="67" y="12"/>
                  <a:pt x="67" y="12"/>
                </a:cubicBezTo>
                <a:cubicBezTo>
                  <a:pt x="68" y="11"/>
                  <a:pt x="68" y="11"/>
                  <a:pt x="68" y="11"/>
                </a:cubicBezTo>
                <a:cubicBezTo>
                  <a:pt x="67" y="10"/>
                  <a:pt x="67" y="10"/>
                  <a:pt x="67" y="10"/>
                </a:cubicBezTo>
                <a:cubicBezTo>
                  <a:pt x="67" y="10"/>
                  <a:pt x="67" y="10"/>
                  <a:pt x="67" y="10"/>
                </a:cubicBezTo>
                <a:cubicBezTo>
                  <a:pt x="66" y="10"/>
                  <a:pt x="66" y="10"/>
                  <a:pt x="66" y="10"/>
                </a:cubicBezTo>
                <a:cubicBezTo>
                  <a:pt x="66" y="11"/>
                  <a:pt x="66" y="11"/>
                  <a:pt x="66" y="11"/>
                </a:cubicBezTo>
                <a:close/>
                <a:moveTo>
                  <a:pt x="36" y="1"/>
                </a:moveTo>
                <a:cubicBezTo>
                  <a:pt x="38" y="3"/>
                  <a:pt x="38" y="3"/>
                  <a:pt x="38" y="3"/>
                </a:cubicBezTo>
                <a:cubicBezTo>
                  <a:pt x="39" y="3"/>
                  <a:pt x="39" y="3"/>
                  <a:pt x="39" y="3"/>
                </a:cubicBezTo>
                <a:cubicBezTo>
                  <a:pt x="39" y="2"/>
                  <a:pt x="39" y="2"/>
                  <a:pt x="39" y="2"/>
                </a:cubicBezTo>
                <a:cubicBezTo>
                  <a:pt x="40" y="2"/>
                  <a:pt x="40" y="2"/>
                  <a:pt x="40" y="2"/>
                </a:cubicBezTo>
                <a:cubicBezTo>
                  <a:pt x="39" y="1"/>
                  <a:pt x="39" y="1"/>
                  <a:pt x="39" y="1"/>
                </a:cubicBezTo>
                <a:cubicBezTo>
                  <a:pt x="38" y="1"/>
                  <a:pt x="38" y="1"/>
                  <a:pt x="38" y="1"/>
                </a:cubicBezTo>
                <a:cubicBezTo>
                  <a:pt x="37" y="1"/>
                  <a:pt x="37" y="1"/>
                  <a:pt x="37" y="1"/>
                </a:cubicBezTo>
                <a:cubicBezTo>
                  <a:pt x="36" y="0"/>
                  <a:pt x="36" y="0"/>
                  <a:pt x="36" y="0"/>
                </a:cubicBezTo>
                <a:cubicBezTo>
                  <a:pt x="35" y="1"/>
                  <a:pt x="35" y="1"/>
                  <a:pt x="35" y="1"/>
                </a:cubicBezTo>
                <a:cubicBezTo>
                  <a:pt x="36" y="1"/>
                  <a:pt x="36" y="1"/>
                  <a:pt x="36" y="1"/>
                </a:cubicBezTo>
                <a:close/>
                <a:moveTo>
                  <a:pt x="30" y="12"/>
                </a:moveTo>
                <a:cubicBezTo>
                  <a:pt x="29" y="11"/>
                  <a:pt x="29" y="11"/>
                  <a:pt x="29" y="11"/>
                </a:cubicBezTo>
                <a:cubicBezTo>
                  <a:pt x="29" y="11"/>
                  <a:pt x="29" y="11"/>
                  <a:pt x="29" y="11"/>
                </a:cubicBezTo>
                <a:cubicBezTo>
                  <a:pt x="29" y="10"/>
                  <a:pt x="29" y="10"/>
                  <a:pt x="29" y="10"/>
                </a:cubicBezTo>
                <a:cubicBezTo>
                  <a:pt x="30" y="9"/>
                  <a:pt x="30" y="9"/>
                  <a:pt x="30" y="9"/>
                </a:cubicBezTo>
                <a:cubicBezTo>
                  <a:pt x="30" y="9"/>
                  <a:pt x="30" y="9"/>
                  <a:pt x="30" y="9"/>
                </a:cubicBezTo>
                <a:cubicBezTo>
                  <a:pt x="31" y="10"/>
                  <a:pt x="31" y="10"/>
                  <a:pt x="31" y="10"/>
                </a:cubicBezTo>
                <a:cubicBezTo>
                  <a:pt x="31" y="11"/>
                  <a:pt x="31" y="11"/>
                  <a:pt x="31" y="11"/>
                </a:cubicBezTo>
                <a:cubicBezTo>
                  <a:pt x="30" y="12"/>
                  <a:pt x="30" y="12"/>
                  <a:pt x="30" y="12"/>
                </a:cubicBezTo>
                <a:cubicBezTo>
                  <a:pt x="30" y="12"/>
                  <a:pt x="30" y="12"/>
                  <a:pt x="30" y="12"/>
                </a:cubicBezTo>
                <a:close/>
                <a:moveTo>
                  <a:pt x="36" y="21"/>
                </a:moveTo>
                <a:cubicBezTo>
                  <a:pt x="36" y="21"/>
                  <a:pt x="36" y="21"/>
                  <a:pt x="36" y="21"/>
                </a:cubicBezTo>
                <a:cubicBezTo>
                  <a:pt x="38" y="20"/>
                  <a:pt x="38" y="20"/>
                  <a:pt x="38" y="20"/>
                </a:cubicBezTo>
                <a:cubicBezTo>
                  <a:pt x="38" y="20"/>
                  <a:pt x="38" y="20"/>
                  <a:pt x="38" y="20"/>
                </a:cubicBezTo>
                <a:cubicBezTo>
                  <a:pt x="41" y="20"/>
                  <a:pt x="41" y="20"/>
                  <a:pt x="41" y="20"/>
                </a:cubicBezTo>
                <a:cubicBezTo>
                  <a:pt x="42" y="20"/>
                  <a:pt x="42" y="20"/>
                  <a:pt x="42" y="20"/>
                </a:cubicBezTo>
                <a:cubicBezTo>
                  <a:pt x="43" y="19"/>
                  <a:pt x="43" y="19"/>
                  <a:pt x="43" y="19"/>
                </a:cubicBezTo>
                <a:cubicBezTo>
                  <a:pt x="44" y="19"/>
                  <a:pt x="44" y="19"/>
                  <a:pt x="44" y="19"/>
                </a:cubicBezTo>
                <a:cubicBezTo>
                  <a:pt x="44" y="20"/>
                  <a:pt x="44" y="20"/>
                  <a:pt x="44" y="20"/>
                </a:cubicBezTo>
                <a:cubicBezTo>
                  <a:pt x="44" y="20"/>
                  <a:pt x="44" y="20"/>
                  <a:pt x="44" y="20"/>
                </a:cubicBezTo>
                <a:cubicBezTo>
                  <a:pt x="44" y="21"/>
                  <a:pt x="44" y="21"/>
                  <a:pt x="44" y="21"/>
                </a:cubicBezTo>
                <a:cubicBezTo>
                  <a:pt x="44" y="21"/>
                  <a:pt x="44" y="21"/>
                  <a:pt x="44" y="21"/>
                </a:cubicBezTo>
                <a:cubicBezTo>
                  <a:pt x="43" y="22"/>
                  <a:pt x="43" y="22"/>
                  <a:pt x="43" y="22"/>
                </a:cubicBezTo>
                <a:cubicBezTo>
                  <a:pt x="42" y="21"/>
                  <a:pt x="42" y="21"/>
                  <a:pt x="42" y="21"/>
                </a:cubicBezTo>
                <a:cubicBezTo>
                  <a:pt x="40" y="21"/>
                  <a:pt x="40" y="21"/>
                  <a:pt x="40" y="21"/>
                </a:cubicBezTo>
                <a:cubicBezTo>
                  <a:pt x="39" y="21"/>
                  <a:pt x="39" y="21"/>
                  <a:pt x="39" y="21"/>
                </a:cubicBezTo>
                <a:cubicBezTo>
                  <a:pt x="39" y="22"/>
                  <a:pt x="39" y="22"/>
                  <a:pt x="39" y="22"/>
                </a:cubicBezTo>
                <a:cubicBezTo>
                  <a:pt x="39" y="22"/>
                  <a:pt x="39" y="22"/>
                  <a:pt x="39" y="22"/>
                </a:cubicBezTo>
                <a:cubicBezTo>
                  <a:pt x="41" y="22"/>
                  <a:pt x="41" y="22"/>
                  <a:pt x="41" y="22"/>
                </a:cubicBezTo>
                <a:cubicBezTo>
                  <a:pt x="42" y="23"/>
                  <a:pt x="42" y="23"/>
                  <a:pt x="42" y="23"/>
                </a:cubicBezTo>
                <a:cubicBezTo>
                  <a:pt x="42" y="23"/>
                  <a:pt x="42" y="23"/>
                  <a:pt x="42" y="23"/>
                </a:cubicBezTo>
                <a:cubicBezTo>
                  <a:pt x="41" y="24"/>
                  <a:pt x="41" y="24"/>
                  <a:pt x="41" y="24"/>
                </a:cubicBezTo>
                <a:cubicBezTo>
                  <a:pt x="40" y="23"/>
                  <a:pt x="40" y="23"/>
                  <a:pt x="40" y="23"/>
                </a:cubicBezTo>
                <a:cubicBezTo>
                  <a:pt x="40" y="23"/>
                  <a:pt x="40" y="23"/>
                  <a:pt x="40" y="23"/>
                </a:cubicBezTo>
                <a:cubicBezTo>
                  <a:pt x="39" y="24"/>
                  <a:pt x="39" y="24"/>
                  <a:pt x="39" y="24"/>
                </a:cubicBezTo>
                <a:cubicBezTo>
                  <a:pt x="38" y="23"/>
                  <a:pt x="38" y="23"/>
                  <a:pt x="38" y="23"/>
                </a:cubicBezTo>
                <a:cubicBezTo>
                  <a:pt x="36" y="22"/>
                  <a:pt x="36" y="22"/>
                  <a:pt x="36" y="22"/>
                </a:cubicBezTo>
                <a:cubicBezTo>
                  <a:pt x="35" y="23"/>
                  <a:pt x="35" y="23"/>
                  <a:pt x="35" y="23"/>
                </a:cubicBezTo>
                <a:cubicBezTo>
                  <a:pt x="35" y="23"/>
                  <a:pt x="35" y="23"/>
                  <a:pt x="35" y="23"/>
                </a:cubicBezTo>
                <a:cubicBezTo>
                  <a:pt x="36" y="24"/>
                  <a:pt x="36" y="24"/>
                  <a:pt x="36" y="24"/>
                </a:cubicBezTo>
                <a:cubicBezTo>
                  <a:pt x="38" y="26"/>
                  <a:pt x="38" y="26"/>
                  <a:pt x="38" y="26"/>
                </a:cubicBezTo>
                <a:cubicBezTo>
                  <a:pt x="39" y="26"/>
                  <a:pt x="39" y="26"/>
                  <a:pt x="39" y="26"/>
                </a:cubicBezTo>
                <a:cubicBezTo>
                  <a:pt x="40" y="26"/>
                  <a:pt x="40" y="26"/>
                  <a:pt x="40" y="26"/>
                </a:cubicBezTo>
                <a:cubicBezTo>
                  <a:pt x="40" y="26"/>
                  <a:pt x="40" y="26"/>
                  <a:pt x="40" y="26"/>
                </a:cubicBezTo>
                <a:cubicBezTo>
                  <a:pt x="41" y="27"/>
                  <a:pt x="41" y="27"/>
                  <a:pt x="41" y="27"/>
                </a:cubicBezTo>
                <a:cubicBezTo>
                  <a:pt x="41" y="28"/>
                  <a:pt x="41" y="28"/>
                  <a:pt x="41" y="28"/>
                </a:cubicBezTo>
                <a:cubicBezTo>
                  <a:pt x="42" y="28"/>
                  <a:pt x="42" y="28"/>
                  <a:pt x="42" y="28"/>
                </a:cubicBezTo>
                <a:cubicBezTo>
                  <a:pt x="43" y="28"/>
                  <a:pt x="43" y="28"/>
                  <a:pt x="43" y="28"/>
                </a:cubicBezTo>
                <a:cubicBezTo>
                  <a:pt x="45" y="28"/>
                  <a:pt x="45" y="28"/>
                  <a:pt x="45" y="28"/>
                </a:cubicBezTo>
                <a:cubicBezTo>
                  <a:pt x="46" y="27"/>
                  <a:pt x="46" y="27"/>
                  <a:pt x="46" y="27"/>
                </a:cubicBezTo>
                <a:cubicBezTo>
                  <a:pt x="48" y="27"/>
                  <a:pt x="48" y="27"/>
                  <a:pt x="48" y="27"/>
                </a:cubicBezTo>
                <a:cubicBezTo>
                  <a:pt x="49" y="27"/>
                  <a:pt x="49" y="27"/>
                  <a:pt x="49" y="27"/>
                </a:cubicBezTo>
                <a:cubicBezTo>
                  <a:pt x="49" y="27"/>
                  <a:pt x="49" y="27"/>
                  <a:pt x="49" y="27"/>
                </a:cubicBezTo>
                <a:cubicBezTo>
                  <a:pt x="49" y="28"/>
                  <a:pt x="49" y="28"/>
                  <a:pt x="49" y="28"/>
                </a:cubicBezTo>
                <a:cubicBezTo>
                  <a:pt x="49" y="30"/>
                  <a:pt x="49" y="30"/>
                  <a:pt x="49" y="30"/>
                </a:cubicBezTo>
                <a:cubicBezTo>
                  <a:pt x="51" y="31"/>
                  <a:pt x="51" y="31"/>
                  <a:pt x="51" y="31"/>
                </a:cubicBezTo>
                <a:cubicBezTo>
                  <a:pt x="52" y="31"/>
                  <a:pt x="52" y="31"/>
                  <a:pt x="52" y="31"/>
                </a:cubicBezTo>
                <a:cubicBezTo>
                  <a:pt x="54" y="30"/>
                  <a:pt x="54" y="30"/>
                  <a:pt x="54" y="30"/>
                </a:cubicBezTo>
                <a:cubicBezTo>
                  <a:pt x="54" y="30"/>
                  <a:pt x="54" y="30"/>
                  <a:pt x="54" y="30"/>
                </a:cubicBezTo>
                <a:cubicBezTo>
                  <a:pt x="54" y="29"/>
                  <a:pt x="54" y="29"/>
                  <a:pt x="54" y="29"/>
                </a:cubicBezTo>
                <a:cubicBezTo>
                  <a:pt x="54" y="28"/>
                  <a:pt x="54" y="28"/>
                  <a:pt x="54" y="28"/>
                </a:cubicBezTo>
                <a:cubicBezTo>
                  <a:pt x="55" y="28"/>
                  <a:pt x="55" y="28"/>
                  <a:pt x="55" y="28"/>
                </a:cubicBezTo>
                <a:cubicBezTo>
                  <a:pt x="56" y="26"/>
                  <a:pt x="56" y="26"/>
                  <a:pt x="56" y="26"/>
                </a:cubicBezTo>
                <a:cubicBezTo>
                  <a:pt x="57" y="26"/>
                  <a:pt x="57" y="26"/>
                  <a:pt x="57" y="26"/>
                </a:cubicBezTo>
                <a:cubicBezTo>
                  <a:pt x="57" y="27"/>
                  <a:pt x="57" y="27"/>
                  <a:pt x="57" y="27"/>
                </a:cubicBezTo>
                <a:cubicBezTo>
                  <a:pt x="58" y="28"/>
                  <a:pt x="58" y="28"/>
                  <a:pt x="58" y="28"/>
                </a:cubicBezTo>
                <a:cubicBezTo>
                  <a:pt x="59" y="28"/>
                  <a:pt x="59" y="28"/>
                  <a:pt x="59" y="28"/>
                </a:cubicBezTo>
                <a:cubicBezTo>
                  <a:pt x="61" y="27"/>
                  <a:pt x="61" y="27"/>
                  <a:pt x="61" y="27"/>
                </a:cubicBezTo>
                <a:cubicBezTo>
                  <a:pt x="61" y="26"/>
                  <a:pt x="61" y="26"/>
                  <a:pt x="61" y="26"/>
                </a:cubicBezTo>
                <a:cubicBezTo>
                  <a:pt x="61" y="24"/>
                  <a:pt x="61" y="24"/>
                  <a:pt x="61" y="24"/>
                </a:cubicBezTo>
                <a:cubicBezTo>
                  <a:pt x="61" y="23"/>
                  <a:pt x="61" y="23"/>
                  <a:pt x="61" y="23"/>
                </a:cubicBezTo>
                <a:cubicBezTo>
                  <a:pt x="61" y="23"/>
                  <a:pt x="61" y="23"/>
                  <a:pt x="61" y="23"/>
                </a:cubicBezTo>
                <a:cubicBezTo>
                  <a:pt x="62" y="22"/>
                  <a:pt x="62" y="22"/>
                  <a:pt x="62" y="22"/>
                </a:cubicBezTo>
                <a:cubicBezTo>
                  <a:pt x="63" y="20"/>
                  <a:pt x="63" y="20"/>
                  <a:pt x="63" y="20"/>
                </a:cubicBezTo>
                <a:cubicBezTo>
                  <a:pt x="64" y="19"/>
                  <a:pt x="64" y="19"/>
                  <a:pt x="64" y="19"/>
                </a:cubicBezTo>
                <a:cubicBezTo>
                  <a:pt x="65" y="17"/>
                  <a:pt x="65" y="17"/>
                  <a:pt x="65" y="17"/>
                </a:cubicBezTo>
                <a:cubicBezTo>
                  <a:pt x="66" y="16"/>
                  <a:pt x="66" y="16"/>
                  <a:pt x="66" y="16"/>
                </a:cubicBezTo>
                <a:cubicBezTo>
                  <a:pt x="66" y="15"/>
                  <a:pt x="66" y="15"/>
                  <a:pt x="66" y="15"/>
                </a:cubicBezTo>
                <a:cubicBezTo>
                  <a:pt x="65" y="14"/>
                  <a:pt x="65" y="14"/>
                  <a:pt x="65" y="14"/>
                </a:cubicBezTo>
                <a:cubicBezTo>
                  <a:pt x="65" y="13"/>
                  <a:pt x="65" y="13"/>
                  <a:pt x="65" y="13"/>
                </a:cubicBezTo>
                <a:cubicBezTo>
                  <a:pt x="65" y="13"/>
                  <a:pt x="65" y="13"/>
                  <a:pt x="65" y="13"/>
                </a:cubicBezTo>
                <a:cubicBezTo>
                  <a:pt x="65" y="12"/>
                  <a:pt x="65" y="12"/>
                  <a:pt x="65" y="12"/>
                </a:cubicBezTo>
                <a:cubicBezTo>
                  <a:pt x="65" y="12"/>
                  <a:pt x="65" y="12"/>
                  <a:pt x="65" y="12"/>
                </a:cubicBezTo>
                <a:cubicBezTo>
                  <a:pt x="63" y="12"/>
                  <a:pt x="63" y="12"/>
                  <a:pt x="63" y="12"/>
                </a:cubicBezTo>
                <a:cubicBezTo>
                  <a:pt x="62" y="11"/>
                  <a:pt x="62" y="11"/>
                  <a:pt x="62" y="11"/>
                </a:cubicBezTo>
                <a:cubicBezTo>
                  <a:pt x="62" y="11"/>
                  <a:pt x="62" y="11"/>
                  <a:pt x="62" y="11"/>
                </a:cubicBezTo>
                <a:cubicBezTo>
                  <a:pt x="59" y="11"/>
                  <a:pt x="59" y="11"/>
                  <a:pt x="59" y="11"/>
                </a:cubicBezTo>
                <a:cubicBezTo>
                  <a:pt x="58" y="11"/>
                  <a:pt x="58" y="11"/>
                  <a:pt x="58" y="11"/>
                </a:cubicBezTo>
                <a:cubicBezTo>
                  <a:pt x="57" y="10"/>
                  <a:pt x="57" y="10"/>
                  <a:pt x="57" y="10"/>
                </a:cubicBezTo>
                <a:cubicBezTo>
                  <a:pt x="56" y="10"/>
                  <a:pt x="56" y="10"/>
                  <a:pt x="56" y="10"/>
                </a:cubicBezTo>
                <a:cubicBezTo>
                  <a:pt x="55" y="10"/>
                  <a:pt x="55" y="10"/>
                  <a:pt x="55" y="10"/>
                </a:cubicBezTo>
                <a:cubicBezTo>
                  <a:pt x="55" y="9"/>
                  <a:pt x="55" y="9"/>
                  <a:pt x="55" y="9"/>
                </a:cubicBezTo>
                <a:cubicBezTo>
                  <a:pt x="55" y="9"/>
                  <a:pt x="55" y="9"/>
                  <a:pt x="55" y="9"/>
                </a:cubicBezTo>
                <a:cubicBezTo>
                  <a:pt x="54" y="9"/>
                  <a:pt x="54" y="9"/>
                  <a:pt x="54" y="9"/>
                </a:cubicBezTo>
                <a:cubicBezTo>
                  <a:pt x="54" y="9"/>
                  <a:pt x="54" y="9"/>
                  <a:pt x="54" y="9"/>
                </a:cubicBezTo>
                <a:cubicBezTo>
                  <a:pt x="54" y="8"/>
                  <a:pt x="54" y="8"/>
                  <a:pt x="54" y="8"/>
                </a:cubicBezTo>
                <a:cubicBezTo>
                  <a:pt x="54" y="7"/>
                  <a:pt x="54" y="7"/>
                  <a:pt x="54" y="7"/>
                </a:cubicBezTo>
                <a:cubicBezTo>
                  <a:pt x="53" y="8"/>
                  <a:pt x="53" y="8"/>
                  <a:pt x="53" y="8"/>
                </a:cubicBezTo>
                <a:cubicBezTo>
                  <a:pt x="53" y="9"/>
                  <a:pt x="53" y="9"/>
                  <a:pt x="53" y="9"/>
                </a:cubicBezTo>
                <a:cubicBezTo>
                  <a:pt x="52" y="9"/>
                  <a:pt x="52" y="9"/>
                  <a:pt x="52" y="9"/>
                </a:cubicBezTo>
                <a:cubicBezTo>
                  <a:pt x="52" y="8"/>
                  <a:pt x="52" y="8"/>
                  <a:pt x="52" y="8"/>
                </a:cubicBezTo>
                <a:cubicBezTo>
                  <a:pt x="52" y="8"/>
                  <a:pt x="52" y="8"/>
                  <a:pt x="52" y="8"/>
                </a:cubicBezTo>
                <a:cubicBezTo>
                  <a:pt x="51" y="8"/>
                  <a:pt x="51" y="8"/>
                  <a:pt x="51" y="8"/>
                </a:cubicBezTo>
                <a:cubicBezTo>
                  <a:pt x="51" y="9"/>
                  <a:pt x="51" y="9"/>
                  <a:pt x="51" y="9"/>
                </a:cubicBezTo>
                <a:cubicBezTo>
                  <a:pt x="51" y="9"/>
                  <a:pt x="51" y="9"/>
                  <a:pt x="51" y="9"/>
                </a:cubicBezTo>
                <a:cubicBezTo>
                  <a:pt x="50" y="10"/>
                  <a:pt x="50" y="10"/>
                  <a:pt x="50" y="10"/>
                </a:cubicBezTo>
                <a:cubicBezTo>
                  <a:pt x="50" y="11"/>
                  <a:pt x="50" y="11"/>
                  <a:pt x="50" y="11"/>
                </a:cubicBezTo>
                <a:cubicBezTo>
                  <a:pt x="50" y="12"/>
                  <a:pt x="50" y="12"/>
                  <a:pt x="50" y="12"/>
                </a:cubicBezTo>
                <a:cubicBezTo>
                  <a:pt x="49" y="12"/>
                  <a:pt x="49" y="12"/>
                  <a:pt x="49" y="12"/>
                </a:cubicBezTo>
                <a:cubicBezTo>
                  <a:pt x="49" y="11"/>
                  <a:pt x="49" y="11"/>
                  <a:pt x="49" y="11"/>
                </a:cubicBezTo>
                <a:cubicBezTo>
                  <a:pt x="49" y="11"/>
                  <a:pt x="49" y="11"/>
                  <a:pt x="49" y="11"/>
                </a:cubicBezTo>
                <a:cubicBezTo>
                  <a:pt x="49" y="11"/>
                  <a:pt x="49" y="11"/>
                  <a:pt x="49" y="11"/>
                </a:cubicBezTo>
                <a:cubicBezTo>
                  <a:pt x="48" y="12"/>
                  <a:pt x="48" y="12"/>
                  <a:pt x="48" y="12"/>
                </a:cubicBezTo>
                <a:cubicBezTo>
                  <a:pt x="48" y="12"/>
                  <a:pt x="48" y="12"/>
                  <a:pt x="48" y="12"/>
                </a:cubicBezTo>
                <a:cubicBezTo>
                  <a:pt x="48" y="11"/>
                  <a:pt x="48" y="11"/>
                  <a:pt x="48" y="11"/>
                </a:cubicBezTo>
                <a:cubicBezTo>
                  <a:pt x="48" y="9"/>
                  <a:pt x="48" y="9"/>
                  <a:pt x="48" y="9"/>
                </a:cubicBezTo>
                <a:cubicBezTo>
                  <a:pt x="48" y="7"/>
                  <a:pt x="48" y="7"/>
                  <a:pt x="48" y="7"/>
                </a:cubicBezTo>
                <a:cubicBezTo>
                  <a:pt x="48" y="6"/>
                  <a:pt x="48" y="6"/>
                  <a:pt x="48" y="6"/>
                </a:cubicBezTo>
                <a:cubicBezTo>
                  <a:pt x="47" y="6"/>
                  <a:pt x="47" y="6"/>
                  <a:pt x="47" y="6"/>
                </a:cubicBezTo>
                <a:cubicBezTo>
                  <a:pt x="46" y="5"/>
                  <a:pt x="46" y="5"/>
                  <a:pt x="46" y="5"/>
                </a:cubicBezTo>
                <a:cubicBezTo>
                  <a:pt x="46" y="5"/>
                  <a:pt x="46" y="5"/>
                  <a:pt x="46" y="5"/>
                </a:cubicBezTo>
                <a:cubicBezTo>
                  <a:pt x="45" y="6"/>
                  <a:pt x="45" y="6"/>
                  <a:pt x="45" y="6"/>
                </a:cubicBezTo>
                <a:cubicBezTo>
                  <a:pt x="46" y="7"/>
                  <a:pt x="46" y="7"/>
                  <a:pt x="46" y="7"/>
                </a:cubicBezTo>
                <a:cubicBezTo>
                  <a:pt x="46" y="7"/>
                  <a:pt x="46" y="7"/>
                  <a:pt x="46" y="7"/>
                </a:cubicBezTo>
                <a:cubicBezTo>
                  <a:pt x="46" y="7"/>
                  <a:pt x="46" y="7"/>
                  <a:pt x="46" y="7"/>
                </a:cubicBezTo>
                <a:cubicBezTo>
                  <a:pt x="45" y="6"/>
                  <a:pt x="45" y="6"/>
                  <a:pt x="45" y="6"/>
                </a:cubicBezTo>
                <a:cubicBezTo>
                  <a:pt x="45" y="7"/>
                  <a:pt x="45" y="7"/>
                  <a:pt x="45" y="7"/>
                </a:cubicBezTo>
                <a:cubicBezTo>
                  <a:pt x="45" y="8"/>
                  <a:pt x="45" y="8"/>
                  <a:pt x="45" y="8"/>
                </a:cubicBezTo>
                <a:cubicBezTo>
                  <a:pt x="46" y="9"/>
                  <a:pt x="46" y="9"/>
                  <a:pt x="46" y="9"/>
                </a:cubicBezTo>
                <a:cubicBezTo>
                  <a:pt x="46" y="10"/>
                  <a:pt x="46" y="10"/>
                  <a:pt x="46" y="10"/>
                </a:cubicBezTo>
                <a:cubicBezTo>
                  <a:pt x="45" y="11"/>
                  <a:pt x="45" y="11"/>
                  <a:pt x="45" y="11"/>
                </a:cubicBezTo>
                <a:cubicBezTo>
                  <a:pt x="45" y="13"/>
                  <a:pt x="45" y="13"/>
                  <a:pt x="45" y="13"/>
                </a:cubicBezTo>
                <a:cubicBezTo>
                  <a:pt x="46" y="14"/>
                  <a:pt x="46" y="14"/>
                  <a:pt x="46" y="14"/>
                </a:cubicBezTo>
                <a:cubicBezTo>
                  <a:pt x="46" y="16"/>
                  <a:pt x="46" y="16"/>
                  <a:pt x="46" y="16"/>
                </a:cubicBezTo>
                <a:cubicBezTo>
                  <a:pt x="45" y="16"/>
                  <a:pt x="45" y="16"/>
                  <a:pt x="45" y="16"/>
                </a:cubicBezTo>
                <a:cubicBezTo>
                  <a:pt x="45" y="14"/>
                  <a:pt x="45" y="14"/>
                  <a:pt x="45" y="14"/>
                </a:cubicBezTo>
                <a:cubicBezTo>
                  <a:pt x="44" y="13"/>
                  <a:pt x="44" y="13"/>
                  <a:pt x="44" y="13"/>
                </a:cubicBezTo>
                <a:cubicBezTo>
                  <a:pt x="43" y="13"/>
                  <a:pt x="43" y="13"/>
                  <a:pt x="43" y="13"/>
                </a:cubicBezTo>
                <a:cubicBezTo>
                  <a:pt x="42" y="12"/>
                  <a:pt x="42" y="12"/>
                  <a:pt x="42" y="12"/>
                </a:cubicBezTo>
                <a:cubicBezTo>
                  <a:pt x="43" y="11"/>
                  <a:pt x="43" y="11"/>
                  <a:pt x="43" y="11"/>
                </a:cubicBezTo>
                <a:cubicBezTo>
                  <a:pt x="43" y="10"/>
                  <a:pt x="43" y="10"/>
                  <a:pt x="43" y="10"/>
                </a:cubicBezTo>
                <a:cubicBezTo>
                  <a:pt x="42" y="10"/>
                  <a:pt x="42" y="10"/>
                  <a:pt x="42" y="10"/>
                </a:cubicBezTo>
                <a:cubicBezTo>
                  <a:pt x="41" y="11"/>
                  <a:pt x="41" y="11"/>
                  <a:pt x="41" y="11"/>
                </a:cubicBezTo>
                <a:cubicBezTo>
                  <a:pt x="41" y="11"/>
                  <a:pt x="41" y="11"/>
                  <a:pt x="41" y="11"/>
                </a:cubicBezTo>
                <a:cubicBezTo>
                  <a:pt x="40" y="11"/>
                  <a:pt x="40" y="11"/>
                  <a:pt x="40" y="11"/>
                </a:cubicBezTo>
                <a:cubicBezTo>
                  <a:pt x="39" y="12"/>
                  <a:pt x="39" y="12"/>
                  <a:pt x="39" y="12"/>
                </a:cubicBezTo>
                <a:cubicBezTo>
                  <a:pt x="38" y="11"/>
                  <a:pt x="38" y="11"/>
                  <a:pt x="38" y="11"/>
                </a:cubicBezTo>
                <a:cubicBezTo>
                  <a:pt x="38" y="11"/>
                  <a:pt x="38" y="11"/>
                  <a:pt x="38" y="11"/>
                </a:cubicBezTo>
                <a:cubicBezTo>
                  <a:pt x="38" y="10"/>
                  <a:pt x="38" y="10"/>
                  <a:pt x="38" y="10"/>
                </a:cubicBezTo>
                <a:cubicBezTo>
                  <a:pt x="38" y="10"/>
                  <a:pt x="38" y="10"/>
                  <a:pt x="38" y="10"/>
                </a:cubicBezTo>
                <a:cubicBezTo>
                  <a:pt x="37" y="9"/>
                  <a:pt x="37" y="9"/>
                  <a:pt x="37" y="9"/>
                </a:cubicBezTo>
                <a:cubicBezTo>
                  <a:pt x="37" y="8"/>
                  <a:pt x="37" y="8"/>
                  <a:pt x="37" y="8"/>
                </a:cubicBezTo>
                <a:cubicBezTo>
                  <a:pt x="36" y="8"/>
                  <a:pt x="36" y="8"/>
                  <a:pt x="36" y="8"/>
                </a:cubicBezTo>
                <a:cubicBezTo>
                  <a:pt x="35" y="8"/>
                  <a:pt x="35" y="8"/>
                  <a:pt x="35" y="8"/>
                </a:cubicBezTo>
                <a:cubicBezTo>
                  <a:pt x="34" y="7"/>
                  <a:pt x="34" y="7"/>
                  <a:pt x="34" y="7"/>
                </a:cubicBezTo>
                <a:cubicBezTo>
                  <a:pt x="35" y="6"/>
                  <a:pt x="35" y="6"/>
                  <a:pt x="35" y="6"/>
                </a:cubicBezTo>
                <a:cubicBezTo>
                  <a:pt x="34" y="5"/>
                  <a:pt x="34" y="5"/>
                  <a:pt x="34" y="5"/>
                </a:cubicBezTo>
                <a:cubicBezTo>
                  <a:pt x="34" y="5"/>
                  <a:pt x="34" y="5"/>
                  <a:pt x="34" y="5"/>
                </a:cubicBezTo>
                <a:cubicBezTo>
                  <a:pt x="33" y="6"/>
                  <a:pt x="33" y="6"/>
                  <a:pt x="33" y="6"/>
                </a:cubicBezTo>
                <a:cubicBezTo>
                  <a:pt x="33" y="8"/>
                  <a:pt x="33" y="8"/>
                  <a:pt x="33" y="8"/>
                </a:cubicBezTo>
                <a:cubicBezTo>
                  <a:pt x="33" y="9"/>
                  <a:pt x="33" y="9"/>
                  <a:pt x="33" y="9"/>
                </a:cubicBezTo>
                <a:cubicBezTo>
                  <a:pt x="34" y="10"/>
                  <a:pt x="34" y="10"/>
                  <a:pt x="34" y="10"/>
                </a:cubicBezTo>
                <a:cubicBezTo>
                  <a:pt x="34" y="12"/>
                  <a:pt x="34" y="12"/>
                  <a:pt x="34" y="12"/>
                </a:cubicBezTo>
                <a:cubicBezTo>
                  <a:pt x="34" y="12"/>
                  <a:pt x="34" y="12"/>
                  <a:pt x="34" y="12"/>
                </a:cubicBezTo>
                <a:cubicBezTo>
                  <a:pt x="33" y="11"/>
                  <a:pt x="33" y="11"/>
                  <a:pt x="33" y="11"/>
                </a:cubicBezTo>
                <a:cubicBezTo>
                  <a:pt x="33" y="10"/>
                  <a:pt x="33" y="10"/>
                  <a:pt x="33" y="10"/>
                </a:cubicBezTo>
                <a:cubicBezTo>
                  <a:pt x="32" y="10"/>
                  <a:pt x="32" y="10"/>
                  <a:pt x="32" y="10"/>
                </a:cubicBezTo>
                <a:cubicBezTo>
                  <a:pt x="32" y="11"/>
                  <a:pt x="32" y="11"/>
                  <a:pt x="32" y="11"/>
                </a:cubicBezTo>
                <a:cubicBezTo>
                  <a:pt x="32" y="12"/>
                  <a:pt x="32" y="12"/>
                  <a:pt x="32" y="12"/>
                </a:cubicBezTo>
                <a:cubicBezTo>
                  <a:pt x="33" y="13"/>
                  <a:pt x="33" y="13"/>
                  <a:pt x="33" y="13"/>
                </a:cubicBezTo>
                <a:cubicBezTo>
                  <a:pt x="33" y="14"/>
                  <a:pt x="33" y="14"/>
                  <a:pt x="33" y="14"/>
                </a:cubicBezTo>
                <a:cubicBezTo>
                  <a:pt x="33" y="15"/>
                  <a:pt x="33" y="15"/>
                  <a:pt x="33" y="15"/>
                </a:cubicBezTo>
                <a:cubicBezTo>
                  <a:pt x="32" y="15"/>
                  <a:pt x="32" y="15"/>
                  <a:pt x="32" y="15"/>
                </a:cubicBezTo>
                <a:cubicBezTo>
                  <a:pt x="32" y="13"/>
                  <a:pt x="32" y="13"/>
                  <a:pt x="32" y="13"/>
                </a:cubicBezTo>
                <a:cubicBezTo>
                  <a:pt x="31" y="13"/>
                  <a:pt x="31" y="13"/>
                  <a:pt x="31" y="13"/>
                </a:cubicBezTo>
                <a:cubicBezTo>
                  <a:pt x="29" y="13"/>
                  <a:pt x="29" y="13"/>
                  <a:pt x="29" y="13"/>
                </a:cubicBezTo>
                <a:cubicBezTo>
                  <a:pt x="28" y="12"/>
                  <a:pt x="28" y="12"/>
                  <a:pt x="28" y="12"/>
                </a:cubicBezTo>
                <a:cubicBezTo>
                  <a:pt x="28" y="13"/>
                  <a:pt x="28" y="13"/>
                  <a:pt x="28" y="13"/>
                </a:cubicBezTo>
                <a:cubicBezTo>
                  <a:pt x="28" y="14"/>
                  <a:pt x="28" y="14"/>
                  <a:pt x="28" y="14"/>
                </a:cubicBezTo>
                <a:cubicBezTo>
                  <a:pt x="29" y="14"/>
                  <a:pt x="29" y="14"/>
                  <a:pt x="29" y="14"/>
                </a:cubicBezTo>
                <a:cubicBezTo>
                  <a:pt x="30" y="15"/>
                  <a:pt x="30" y="15"/>
                  <a:pt x="30" y="15"/>
                </a:cubicBezTo>
                <a:cubicBezTo>
                  <a:pt x="29" y="15"/>
                  <a:pt x="29" y="15"/>
                  <a:pt x="29" y="15"/>
                </a:cubicBezTo>
                <a:cubicBezTo>
                  <a:pt x="29" y="16"/>
                  <a:pt x="29" y="16"/>
                  <a:pt x="29" y="16"/>
                </a:cubicBezTo>
                <a:cubicBezTo>
                  <a:pt x="31" y="16"/>
                  <a:pt x="31" y="16"/>
                  <a:pt x="31" y="16"/>
                </a:cubicBezTo>
                <a:cubicBezTo>
                  <a:pt x="31" y="16"/>
                  <a:pt x="31" y="16"/>
                  <a:pt x="31" y="16"/>
                </a:cubicBezTo>
                <a:cubicBezTo>
                  <a:pt x="29" y="17"/>
                  <a:pt x="29" y="17"/>
                  <a:pt x="29" y="17"/>
                </a:cubicBezTo>
                <a:cubicBezTo>
                  <a:pt x="29" y="18"/>
                  <a:pt x="29" y="18"/>
                  <a:pt x="29" y="18"/>
                </a:cubicBezTo>
                <a:cubicBezTo>
                  <a:pt x="30" y="20"/>
                  <a:pt x="30" y="20"/>
                  <a:pt x="30" y="20"/>
                </a:cubicBezTo>
                <a:cubicBezTo>
                  <a:pt x="31" y="21"/>
                  <a:pt x="31" y="21"/>
                  <a:pt x="31" y="21"/>
                </a:cubicBezTo>
                <a:cubicBezTo>
                  <a:pt x="32" y="21"/>
                  <a:pt x="32" y="21"/>
                  <a:pt x="32" y="21"/>
                </a:cubicBezTo>
                <a:cubicBezTo>
                  <a:pt x="34" y="21"/>
                  <a:pt x="34" y="21"/>
                  <a:pt x="34" y="21"/>
                </a:cubicBezTo>
                <a:cubicBezTo>
                  <a:pt x="35" y="21"/>
                  <a:pt x="35" y="21"/>
                  <a:pt x="35" y="21"/>
                </a:cubicBezTo>
                <a:cubicBezTo>
                  <a:pt x="36" y="21"/>
                  <a:pt x="36" y="21"/>
                  <a:pt x="36" y="21"/>
                </a:cubicBezTo>
                <a:close/>
                <a:moveTo>
                  <a:pt x="71" y="35"/>
                </a:moveTo>
                <a:cubicBezTo>
                  <a:pt x="72" y="34"/>
                  <a:pt x="72" y="34"/>
                  <a:pt x="72" y="34"/>
                </a:cubicBezTo>
                <a:cubicBezTo>
                  <a:pt x="73" y="33"/>
                  <a:pt x="73" y="33"/>
                  <a:pt x="73" y="33"/>
                </a:cubicBezTo>
                <a:cubicBezTo>
                  <a:pt x="74" y="33"/>
                  <a:pt x="74" y="33"/>
                  <a:pt x="74" y="33"/>
                </a:cubicBezTo>
                <a:cubicBezTo>
                  <a:pt x="75" y="32"/>
                  <a:pt x="75" y="32"/>
                  <a:pt x="75" y="32"/>
                </a:cubicBezTo>
                <a:cubicBezTo>
                  <a:pt x="75" y="33"/>
                  <a:pt x="75" y="33"/>
                  <a:pt x="75" y="33"/>
                </a:cubicBezTo>
                <a:cubicBezTo>
                  <a:pt x="77" y="33"/>
                  <a:pt x="77" y="33"/>
                  <a:pt x="77" y="33"/>
                </a:cubicBezTo>
                <a:cubicBezTo>
                  <a:pt x="78" y="33"/>
                  <a:pt x="78" y="33"/>
                  <a:pt x="78" y="33"/>
                </a:cubicBezTo>
                <a:cubicBezTo>
                  <a:pt x="77" y="34"/>
                  <a:pt x="77" y="34"/>
                  <a:pt x="77" y="34"/>
                </a:cubicBezTo>
                <a:cubicBezTo>
                  <a:pt x="76" y="35"/>
                  <a:pt x="76" y="35"/>
                  <a:pt x="76" y="35"/>
                </a:cubicBezTo>
                <a:cubicBezTo>
                  <a:pt x="75" y="34"/>
                  <a:pt x="75" y="34"/>
                  <a:pt x="75" y="34"/>
                </a:cubicBezTo>
                <a:cubicBezTo>
                  <a:pt x="74" y="34"/>
                  <a:pt x="74" y="34"/>
                  <a:pt x="74" y="34"/>
                </a:cubicBezTo>
                <a:cubicBezTo>
                  <a:pt x="73" y="34"/>
                  <a:pt x="73" y="34"/>
                  <a:pt x="73" y="34"/>
                </a:cubicBezTo>
                <a:cubicBezTo>
                  <a:pt x="73" y="34"/>
                  <a:pt x="73" y="34"/>
                  <a:pt x="73" y="34"/>
                </a:cubicBezTo>
                <a:cubicBezTo>
                  <a:pt x="72" y="36"/>
                  <a:pt x="72" y="36"/>
                  <a:pt x="72" y="36"/>
                </a:cubicBezTo>
                <a:cubicBezTo>
                  <a:pt x="71" y="35"/>
                  <a:pt x="71" y="35"/>
                  <a:pt x="71" y="35"/>
                </a:cubicBezTo>
                <a:close/>
                <a:moveTo>
                  <a:pt x="66" y="40"/>
                </a:moveTo>
                <a:cubicBezTo>
                  <a:pt x="66" y="39"/>
                  <a:pt x="66" y="39"/>
                  <a:pt x="66" y="39"/>
                </a:cubicBezTo>
                <a:cubicBezTo>
                  <a:pt x="66" y="38"/>
                  <a:pt x="66" y="38"/>
                  <a:pt x="66" y="38"/>
                </a:cubicBezTo>
                <a:cubicBezTo>
                  <a:pt x="66" y="36"/>
                  <a:pt x="66" y="36"/>
                  <a:pt x="66" y="36"/>
                </a:cubicBezTo>
                <a:cubicBezTo>
                  <a:pt x="66" y="36"/>
                  <a:pt x="66" y="36"/>
                  <a:pt x="66" y="36"/>
                </a:cubicBezTo>
                <a:cubicBezTo>
                  <a:pt x="66" y="36"/>
                  <a:pt x="66" y="36"/>
                  <a:pt x="66" y="36"/>
                </a:cubicBezTo>
                <a:cubicBezTo>
                  <a:pt x="67" y="36"/>
                  <a:pt x="67" y="36"/>
                  <a:pt x="67" y="36"/>
                </a:cubicBezTo>
                <a:cubicBezTo>
                  <a:pt x="67" y="37"/>
                  <a:pt x="67" y="37"/>
                  <a:pt x="67" y="37"/>
                </a:cubicBezTo>
                <a:cubicBezTo>
                  <a:pt x="68" y="38"/>
                  <a:pt x="68" y="38"/>
                  <a:pt x="68" y="38"/>
                </a:cubicBezTo>
                <a:cubicBezTo>
                  <a:pt x="68" y="39"/>
                  <a:pt x="68" y="39"/>
                  <a:pt x="68" y="39"/>
                </a:cubicBezTo>
                <a:cubicBezTo>
                  <a:pt x="67" y="40"/>
                  <a:pt x="67" y="40"/>
                  <a:pt x="67" y="40"/>
                </a:cubicBezTo>
                <a:cubicBezTo>
                  <a:pt x="66" y="40"/>
                  <a:pt x="66" y="40"/>
                  <a:pt x="66" y="40"/>
                </a:cubicBezTo>
                <a:close/>
                <a:moveTo>
                  <a:pt x="44" y="50"/>
                </a:moveTo>
                <a:cubicBezTo>
                  <a:pt x="45" y="49"/>
                  <a:pt x="45" y="49"/>
                  <a:pt x="45" y="49"/>
                </a:cubicBezTo>
                <a:cubicBezTo>
                  <a:pt x="46" y="48"/>
                  <a:pt x="46" y="48"/>
                  <a:pt x="46" y="48"/>
                </a:cubicBezTo>
                <a:cubicBezTo>
                  <a:pt x="48" y="47"/>
                  <a:pt x="48" y="47"/>
                  <a:pt x="48" y="47"/>
                </a:cubicBezTo>
                <a:cubicBezTo>
                  <a:pt x="50" y="47"/>
                  <a:pt x="50" y="47"/>
                  <a:pt x="50" y="47"/>
                </a:cubicBezTo>
                <a:cubicBezTo>
                  <a:pt x="51" y="46"/>
                  <a:pt x="51" y="46"/>
                  <a:pt x="51" y="46"/>
                </a:cubicBezTo>
                <a:cubicBezTo>
                  <a:pt x="53" y="45"/>
                  <a:pt x="53" y="45"/>
                  <a:pt x="53" y="45"/>
                </a:cubicBezTo>
                <a:cubicBezTo>
                  <a:pt x="53" y="46"/>
                  <a:pt x="53" y="46"/>
                  <a:pt x="53" y="46"/>
                </a:cubicBezTo>
                <a:cubicBezTo>
                  <a:pt x="54" y="48"/>
                  <a:pt x="54" y="48"/>
                  <a:pt x="54" y="48"/>
                </a:cubicBezTo>
                <a:cubicBezTo>
                  <a:pt x="54" y="48"/>
                  <a:pt x="54" y="48"/>
                  <a:pt x="54" y="48"/>
                </a:cubicBezTo>
                <a:cubicBezTo>
                  <a:pt x="53" y="48"/>
                  <a:pt x="53" y="48"/>
                  <a:pt x="53" y="48"/>
                </a:cubicBezTo>
                <a:cubicBezTo>
                  <a:pt x="53" y="49"/>
                  <a:pt x="53" y="49"/>
                  <a:pt x="53" y="49"/>
                </a:cubicBezTo>
                <a:cubicBezTo>
                  <a:pt x="53" y="51"/>
                  <a:pt x="53" y="51"/>
                  <a:pt x="53" y="51"/>
                </a:cubicBezTo>
                <a:cubicBezTo>
                  <a:pt x="55" y="52"/>
                  <a:pt x="55" y="52"/>
                  <a:pt x="55" y="52"/>
                </a:cubicBezTo>
                <a:cubicBezTo>
                  <a:pt x="56" y="53"/>
                  <a:pt x="56" y="53"/>
                  <a:pt x="56" y="53"/>
                </a:cubicBezTo>
                <a:cubicBezTo>
                  <a:pt x="57" y="52"/>
                  <a:pt x="57" y="52"/>
                  <a:pt x="57" y="52"/>
                </a:cubicBezTo>
                <a:cubicBezTo>
                  <a:pt x="58" y="51"/>
                  <a:pt x="58" y="51"/>
                  <a:pt x="58" y="51"/>
                </a:cubicBezTo>
                <a:cubicBezTo>
                  <a:pt x="59" y="52"/>
                  <a:pt x="59" y="52"/>
                  <a:pt x="59" y="52"/>
                </a:cubicBezTo>
                <a:cubicBezTo>
                  <a:pt x="60" y="53"/>
                  <a:pt x="60" y="53"/>
                  <a:pt x="60" y="53"/>
                </a:cubicBezTo>
                <a:cubicBezTo>
                  <a:pt x="61" y="53"/>
                  <a:pt x="61" y="53"/>
                  <a:pt x="61" y="53"/>
                </a:cubicBezTo>
                <a:cubicBezTo>
                  <a:pt x="61" y="54"/>
                  <a:pt x="61" y="54"/>
                  <a:pt x="61" y="54"/>
                </a:cubicBezTo>
                <a:cubicBezTo>
                  <a:pt x="59" y="54"/>
                  <a:pt x="59" y="54"/>
                  <a:pt x="59" y="54"/>
                </a:cubicBezTo>
                <a:cubicBezTo>
                  <a:pt x="58" y="56"/>
                  <a:pt x="58" y="56"/>
                  <a:pt x="58" y="56"/>
                </a:cubicBezTo>
                <a:cubicBezTo>
                  <a:pt x="58" y="57"/>
                  <a:pt x="58" y="57"/>
                  <a:pt x="58" y="57"/>
                </a:cubicBezTo>
                <a:cubicBezTo>
                  <a:pt x="57" y="60"/>
                  <a:pt x="57" y="60"/>
                  <a:pt x="57" y="60"/>
                </a:cubicBezTo>
                <a:cubicBezTo>
                  <a:pt x="56" y="60"/>
                  <a:pt x="56" y="60"/>
                  <a:pt x="56" y="60"/>
                </a:cubicBezTo>
                <a:cubicBezTo>
                  <a:pt x="55" y="61"/>
                  <a:pt x="55" y="61"/>
                  <a:pt x="55" y="61"/>
                </a:cubicBezTo>
                <a:cubicBezTo>
                  <a:pt x="54" y="62"/>
                  <a:pt x="54" y="62"/>
                  <a:pt x="54" y="62"/>
                </a:cubicBezTo>
                <a:cubicBezTo>
                  <a:pt x="54" y="63"/>
                  <a:pt x="54" y="63"/>
                  <a:pt x="54" y="63"/>
                </a:cubicBezTo>
                <a:cubicBezTo>
                  <a:pt x="53" y="63"/>
                  <a:pt x="53" y="63"/>
                  <a:pt x="53" y="63"/>
                </a:cubicBezTo>
                <a:cubicBezTo>
                  <a:pt x="53" y="63"/>
                  <a:pt x="53" y="63"/>
                  <a:pt x="53" y="63"/>
                </a:cubicBezTo>
                <a:cubicBezTo>
                  <a:pt x="52" y="62"/>
                  <a:pt x="52" y="62"/>
                  <a:pt x="52" y="62"/>
                </a:cubicBezTo>
                <a:cubicBezTo>
                  <a:pt x="53" y="61"/>
                  <a:pt x="53" y="61"/>
                  <a:pt x="53" y="61"/>
                </a:cubicBezTo>
                <a:cubicBezTo>
                  <a:pt x="53" y="60"/>
                  <a:pt x="53" y="60"/>
                  <a:pt x="53" y="60"/>
                </a:cubicBezTo>
                <a:cubicBezTo>
                  <a:pt x="53" y="58"/>
                  <a:pt x="53" y="58"/>
                  <a:pt x="53" y="58"/>
                </a:cubicBezTo>
                <a:cubicBezTo>
                  <a:pt x="53" y="57"/>
                  <a:pt x="53" y="57"/>
                  <a:pt x="53" y="57"/>
                </a:cubicBezTo>
                <a:cubicBezTo>
                  <a:pt x="53" y="57"/>
                  <a:pt x="53" y="57"/>
                  <a:pt x="53" y="57"/>
                </a:cubicBezTo>
                <a:cubicBezTo>
                  <a:pt x="52" y="57"/>
                  <a:pt x="52" y="57"/>
                  <a:pt x="52" y="57"/>
                </a:cubicBezTo>
                <a:cubicBezTo>
                  <a:pt x="51" y="58"/>
                  <a:pt x="51" y="58"/>
                  <a:pt x="51" y="58"/>
                </a:cubicBezTo>
                <a:cubicBezTo>
                  <a:pt x="51" y="59"/>
                  <a:pt x="51" y="59"/>
                  <a:pt x="51" y="59"/>
                </a:cubicBezTo>
                <a:cubicBezTo>
                  <a:pt x="50" y="60"/>
                  <a:pt x="50" y="60"/>
                  <a:pt x="50" y="60"/>
                </a:cubicBezTo>
                <a:cubicBezTo>
                  <a:pt x="49" y="60"/>
                  <a:pt x="49" y="60"/>
                  <a:pt x="49" y="60"/>
                </a:cubicBezTo>
                <a:cubicBezTo>
                  <a:pt x="48" y="61"/>
                  <a:pt x="48" y="61"/>
                  <a:pt x="48" y="61"/>
                </a:cubicBezTo>
                <a:cubicBezTo>
                  <a:pt x="46" y="61"/>
                  <a:pt x="46" y="61"/>
                  <a:pt x="46" y="61"/>
                </a:cubicBezTo>
                <a:cubicBezTo>
                  <a:pt x="45" y="61"/>
                  <a:pt x="45" y="61"/>
                  <a:pt x="45" y="61"/>
                </a:cubicBezTo>
                <a:cubicBezTo>
                  <a:pt x="45" y="61"/>
                  <a:pt x="45" y="61"/>
                  <a:pt x="45" y="61"/>
                </a:cubicBezTo>
                <a:cubicBezTo>
                  <a:pt x="45" y="60"/>
                  <a:pt x="45" y="60"/>
                  <a:pt x="45" y="60"/>
                </a:cubicBezTo>
                <a:cubicBezTo>
                  <a:pt x="45" y="60"/>
                  <a:pt x="45" y="60"/>
                  <a:pt x="45" y="60"/>
                </a:cubicBezTo>
                <a:cubicBezTo>
                  <a:pt x="45" y="59"/>
                  <a:pt x="45" y="59"/>
                  <a:pt x="45" y="59"/>
                </a:cubicBezTo>
                <a:cubicBezTo>
                  <a:pt x="46" y="58"/>
                  <a:pt x="46" y="58"/>
                  <a:pt x="46" y="58"/>
                </a:cubicBezTo>
                <a:cubicBezTo>
                  <a:pt x="46" y="56"/>
                  <a:pt x="46" y="56"/>
                  <a:pt x="46" y="56"/>
                </a:cubicBezTo>
                <a:cubicBezTo>
                  <a:pt x="47" y="54"/>
                  <a:pt x="47" y="54"/>
                  <a:pt x="47" y="54"/>
                </a:cubicBezTo>
                <a:cubicBezTo>
                  <a:pt x="47" y="53"/>
                  <a:pt x="47" y="53"/>
                  <a:pt x="47" y="53"/>
                </a:cubicBezTo>
                <a:cubicBezTo>
                  <a:pt x="47" y="52"/>
                  <a:pt x="47" y="52"/>
                  <a:pt x="47" y="52"/>
                </a:cubicBezTo>
                <a:cubicBezTo>
                  <a:pt x="47" y="52"/>
                  <a:pt x="47" y="52"/>
                  <a:pt x="47" y="52"/>
                </a:cubicBezTo>
                <a:cubicBezTo>
                  <a:pt x="46" y="52"/>
                  <a:pt x="46" y="52"/>
                  <a:pt x="46" y="52"/>
                </a:cubicBezTo>
                <a:cubicBezTo>
                  <a:pt x="45" y="51"/>
                  <a:pt x="45" y="51"/>
                  <a:pt x="45" y="51"/>
                </a:cubicBezTo>
                <a:cubicBezTo>
                  <a:pt x="44" y="50"/>
                  <a:pt x="44" y="50"/>
                  <a:pt x="44" y="50"/>
                </a:cubicBezTo>
                <a:close/>
                <a:moveTo>
                  <a:pt x="38" y="32"/>
                </a:moveTo>
                <a:cubicBezTo>
                  <a:pt x="39" y="33"/>
                  <a:pt x="39" y="33"/>
                  <a:pt x="39" y="33"/>
                </a:cubicBezTo>
                <a:cubicBezTo>
                  <a:pt x="39" y="34"/>
                  <a:pt x="39" y="34"/>
                  <a:pt x="39" y="34"/>
                </a:cubicBezTo>
                <a:cubicBezTo>
                  <a:pt x="40" y="34"/>
                  <a:pt x="40" y="34"/>
                  <a:pt x="40" y="34"/>
                </a:cubicBezTo>
                <a:cubicBezTo>
                  <a:pt x="42" y="34"/>
                  <a:pt x="42" y="34"/>
                  <a:pt x="42" y="34"/>
                </a:cubicBezTo>
                <a:cubicBezTo>
                  <a:pt x="42" y="33"/>
                  <a:pt x="42" y="33"/>
                  <a:pt x="42" y="33"/>
                </a:cubicBezTo>
                <a:cubicBezTo>
                  <a:pt x="41" y="32"/>
                  <a:pt x="41" y="32"/>
                  <a:pt x="41" y="32"/>
                </a:cubicBezTo>
                <a:cubicBezTo>
                  <a:pt x="39" y="31"/>
                  <a:pt x="39" y="31"/>
                  <a:pt x="39" y="31"/>
                </a:cubicBezTo>
                <a:cubicBezTo>
                  <a:pt x="38" y="31"/>
                  <a:pt x="38" y="31"/>
                  <a:pt x="38" y="31"/>
                </a:cubicBezTo>
                <a:cubicBezTo>
                  <a:pt x="38" y="32"/>
                  <a:pt x="38" y="32"/>
                  <a:pt x="38" y="32"/>
                </a:cubicBezTo>
                <a:close/>
                <a:moveTo>
                  <a:pt x="41" y="43"/>
                </a:moveTo>
                <a:cubicBezTo>
                  <a:pt x="42" y="43"/>
                  <a:pt x="42" y="43"/>
                  <a:pt x="42" y="43"/>
                </a:cubicBezTo>
                <a:cubicBezTo>
                  <a:pt x="43" y="44"/>
                  <a:pt x="43" y="44"/>
                  <a:pt x="43" y="44"/>
                </a:cubicBezTo>
                <a:cubicBezTo>
                  <a:pt x="43" y="45"/>
                  <a:pt x="43" y="45"/>
                  <a:pt x="43" y="45"/>
                </a:cubicBezTo>
                <a:cubicBezTo>
                  <a:pt x="44" y="45"/>
                  <a:pt x="44" y="45"/>
                  <a:pt x="44" y="45"/>
                </a:cubicBezTo>
                <a:cubicBezTo>
                  <a:pt x="44" y="46"/>
                  <a:pt x="44" y="46"/>
                  <a:pt x="44" y="46"/>
                </a:cubicBezTo>
                <a:cubicBezTo>
                  <a:pt x="44" y="46"/>
                  <a:pt x="44" y="46"/>
                  <a:pt x="44" y="46"/>
                </a:cubicBezTo>
                <a:cubicBezTo>
                  <a:pt x="44" y="47"/>
                  <a:pt x="44" y="47"/>
                  <a:pt x="44" y="47"/>
                </a:cubicBezTo>
                <a:cubicBezTo>
                  <a:pt x="45" y="47"/>
                  <a:pt x="45" y="47"/>
                  <a:pt x="45" y="47"/>
                </a:cubicBezTo>
                <a:cubicBezTo>
                  <a:pt x="45" y="47"/>
                  <a:pt x="45" y="47"/>
                  <a:pt x="45" y="47"/>
                </a:cubicBezTo>
                <a:cubicBezTo>
                  <a:pt x="46" y="47"/>
                  <a:pt x="46" y="47"/>
                  <a:pt x="46" y="47"/>
                </a:cubicBezTo>
                <a:cubicBezTo>
                  <a:pt x="47" y="46"/>
                  <a:pt x="47" y="46"/>
                  <a:pt x="47" y="46"/>
                </a:cubicBezTo>
                <a:cubicBezTo>
                  <a:pt x="48" y="46"/>
                  <a:pt x="48" y="46"/>
                  <a:pt x="48" y="46"/>
                </a:cubicBezTo>
                <a:cubicBezTo>
                  <a:pt x="49" y="45"/>
                  <a:pt x="49" y="45"/>
                  <a:pt x="49" y="45"/>
                </a:cubicBezTo>
                <a:cubicBezTo>
                  <a:pt x="49" y="45"/>
                  <a:pt x="49" y="45"/>
                  <a:pt x="49" y="45"/>
                </a:cubicBezTo>
                <a:cubicBezTo>
                  <a:pt x="49" y="43"/>
                  <a:pt x="49" y="43"/>
                  <a:pt x="49" y="43"/>
                </a:cubicBezTo>
                <a:cubicBezTo>
                  <a:pt x="50" y="42"/>
                  <a:pt x="50" y="42"/>
                  <a:pt x="50" y="42"/>
                </a:cubicBezTo>
                <a:cubicBezTo>
                  <a:pt x="50" y="41"/>
                  <a:pt x="50" y="41"/>
                  <a:pt x="50" y="41"/>
                </a:cubicBezTo>
                <a:cubicBezTo>
                  <a:pt x="50" y="40"/>
                  <a:pt x="50" y="40"/>
                  <a:pt x="50" y="40"/>
                </a:cubicBezTo>
                <a:cubicBezTo>
                  <a:pt x="49" y="40"/>
                  <a:pt x="49" y="40"/>
                  <a:pt x="49" y="40"/>
                </a:cubicBezTo>
                <a:cubicBezTo>
                  <a:pt x="48" y="40"/>
                  <a:pt x="48" y="40"/>
                  <a:pt x="48" y="40"/>
                </a:cubicBezTo>
                <a:cubicBezTo>
                  <a:pt x="48" y="39"/>
                  <a:pt x="48" y="39"/>
                  <a:pt x="48" y="39"/>
                </a:cubicBezTo>
                <a:cubicBezTo>
                  <a:pt x="47" y="40"/>
                  <a:pt x="47" y="40"/>
                  <a:pt x="47" y="40"/>
                </a:cubicBezTo>
                <a:cubicBezTo>
                  <a:pt x="45" y="41"/>
                  <a:pt x="45" y="41"/>
                  <a:pt x="45" y="41"/>
                </a:cubicBezTo>
                <a:cubicBezTo>
                  <a:pt x="45" y="40"/>
                  <a:pt x="45" y="40"/>
                  <a:pt x="45" y="40"/>
                </a:cubicBezTo>
                <a:cubicBezTo>
                  <a:pt x="45" y="40"/>
                  <a:pt x="45" y="40"/>
                  <a:pt x="45" y="40"/>
                </a:cubicBezTo>
                <a:cubicBezTo>
                  <a:pt x="44" y="41"/>
                  <a:pt x="44" y="41"/>
                  <a:pt x="44" y="41"/>
                </a:cubicBezTo>
                <a:cubicBezTo>
                  <a:pt x="44" y="41"/>
                  <a:pt x="44" y="41"/>
                  <a:pt x="44" y="41"/>
                </a:cubicBezTo>
                <a:cubicBezTo>
                  <a:pt x="43" y="42"/>
                  <a:pt x="43" y="42"/>
                  <a:pt x="43" y="42"/>
                </a:cubicBezTo>
                <a:cubicBezTo>
                  <a:pt x="42" y="41"/>
                  <a:pt x="42" y="41"/>
                  <a:pt x="42" y="41"/>
                </a:cubicBezTo>
                <a:cubicBezTo>
                  <a:pt x="41" y="42"/>
                  <a:pt x="41" y="42"/>
                  <a:pt x="41" y="42"/>
                </a:cubicBezTo>
                <a:cubicBezTo>
                  <a:pt x="41" y="43"/>
                  <a:pt x="41" y="43"/>
                  <a:pt x="41" y="43"/>
                </a:cubicBezTo>
                <a:close/>
                <a:moveTo>
                  <a:pt x="6" y="49"/>
                </a:moveTo>
                <a:cubicBezTo>
                  <a:pt x="5" y="47"/>
                  <a:pt x="5" y="47"/>
                  <a:pt x="5" y="47"/>
                </a:cubicBezTo>
                <a:cubicBezTo>
                  <a:pt x="5" y="47"/>
                  <a:pt x="5" y="47"/>
                  <a:pt x="5" y="47"/>
                </a:cubicBezTo>
                <a:cubicBezTo>
                  <a:pt x="4" y="46"/>
                  <a:pt x="4" y="46"/>
                  <a:pt x="4" y="46"/>
                </a:cubicBezTo>
                <a:cubicBezTo>
                  <a:pt x="3" y="45"/>
                  <a:pt x="3" y="45"/>
                  <a:pt x="3" y="45"/>
                </a:cubicBezTo>
                <a:cubicBezTo>
                  <a:pt x="2" y="45"/>
                  <a:pt x="2" y="45"/>
                  <a:pt x="2" y="45"/>
                </a:cubicBezTo>
                <a:cubicBezTo>
                  <a:pt x="2" y="44"/>
                  <a:pt x="2" y="44"/>
                  <a:pt x="2" y="44"/>
                </a:cubicBezTo>
                <a:cubicBezTo>
                  <a:pt x="2" y="42"/>
                  <a:pt x="2" y="42"/>
                  <a:pt x="2" y="42"/>
                </a:cubicBezTo>
                <a:cubicBezTo>
                  <a:pt x="1" y="40"/>
                  <a:pt x="1" y="40"/>
                  <a:pt x="1" y="40"/>
                </a:cubicBezTo>
                <a:cubicBezTo>
                  <a:pt x="0" y="40"/>
                  <a:pt x="0" y="40"/>
                  <a:pt x="0" y="40"/>
                </a:cubicBezTo>
                <a:cubicBezTo>
                  <a:pt x="0" y="38"/>
                  <a:pt x="0" y="38"/>
                  <a:pt x="0" y="38"/>
                </a:cubicBezTo>
                <a:cubicBezTo>
                  <a:pt x="1" y="37"/>
                  <a:pt x="1" y="37"/>
                  <a:pt x="1" y="37"/>
                </a:cubicBezTo>
                <a:cubicBezTo>
                  <a:pt x="1" y="38"/>
                  <a:pt x="1" y="38"/>
                  <a:pt x="1" y="38"/>
                </a:cubicBezTo>
                <a:cubicBezTo>
                  <a:pt x="2" y="39"/>
                  <a:pt x="2" y="39"/>
                  <a:pt x="2" y="39"/>
                </a:cubicBezTo>
                <a:cubicBezTo>
                  <a:pt x="3" y="40"/>
                  <a:pt x="3" y="40"/>
                  <a:pt x="3" y="40"/>
                </a:cubicBezTo>
                <a:cubicBezTo>
                  <a:pt x="2" y="41"/>
                  <a:pt x="2" y="41"/>
                  <a:pt x="2" y="41"/>
                </a:cubicBezTo>
                <a:cubicBezTo>
                  <a:pt x="3" y="43"/>
                  <a:pt x="3" y="43"/>
                  <a:pt x="3" y="43"/>
                </a:cubicBezTo>
                <a:cubicBezTo>
                  <a:pt x="4" y="44"/>
                  <a:pt x="4" y="44"/>
                  <a:pt x="4" y="44"/>
                </a:cubicBezTo>
                <a:cubicBezTo>
                  <a:pt x="4" y="44"/>
                  <a:pt x="4" y="44"/>
                  <a:pt x="4" y="44"/>
                </a:cubicBezTo>
                <a:cubicBezTo>
                  <a:pt x="5" y="44"/>
                  <a:pt x="5" y="44"/>
                  <a:pt x="5" y="44"/>
                </a:cubicBezTo>
                <a:cubicBezTo>
                  <a:pt x="5" y="44"/>
                  <a:pt x="5" y="44"/>
                  <a:pt x="5" y="44"/>
                </a:cubicBezTo>
                <a:cubicBezTo>
                  <a:pt x="6" y="45"/>
                  <a:pt x="6" y="45"/>
                  <a:pt x="6" y="45"/>
                </a:cubicBezTo>
                <a:cubicBezTo>
                  <a:pt x="7" y="47"/>
                  <a:pt x="7" y="47"/>
                  <a:pt x="7" y="47"/>
                </a:cubicBezTo>
                <a:cubicBezTo>
                  <a:pt x="7" y="48"/>
                  <a:pt x="7" y="48"/>
                  <a:pt x="7" y="48"/>
                </a:cubicBezTo>
                <a:cubicBezTo>
                  <a:pt x="7" y="49"/>
                  <a:pt x="7" y="49"/>
                  <a:pt x="7" y="49"/>
                </a:cubicBezTo>
                <a:cubicBezTo>
                  <a:pt x="6" y="49"/>
                  <a:pt x="6" y="49"/>
                  <a:pt x="6" y="49"/>
                </a:cubicBezTo>
                <a:cubicBezTo>
                  <a:pt x="6" y="49"/>
                  <a:pt x="6" y="49"/>
                  <a:pt x="6" y="49"/>
                </a:cubicBezTo>
                <a:close/>
                <a:moveTo>
                  <a:pt x="29" y="77"/>
                </a:moveTo>
                <a:cubicBezTo>
                  <a:pt x="29" y="76"/>
                  <a:pt x="29" y="76"/>
                  <a:pt x="29" y="76"/>
                </a:cubicBezTo>
                <a:cubicBezTo>
                  <a:pt x="28" y="76"/>
                  <a:pt x="28" y="76"/>
                  <a:pt x="28" y="76"/>
                </a:cubicBezTo>
                <a:cubicBezTo>
                  <a:pt x="28" y="77"/>
                  <a:pt x="28" y="77"/>
                  <a:pt x="28" y="77"/>
                </a:cubicBezTo>
                <a:cubicBezTo>
                  <a:pt x="27" y="77"/>
                  <a:pt x="27" y="77"/>
                  <a:pt x="27" y="77"/>
                </a:cubicBezTo>
                <a:cubicBezTo>
                  <a:pt x="27" y="76"/>
                  <a:pt x="27" y="76"/>
                  <a:pt x="27" y="76"/>
                </a:cubicBezTo>
                <a:cubicBezTo>
                  <a:pt x="27" y="75"/>
                  <a:pt x="27" y="75"/>
                  <a:pt x="27" y="75"/>
                </a:cubicBezTo>
                <a:cubicBezTo>
                  <a:pt x="27" y="74"/>
                  <a:pt x="27" y="74"/>
                  <a:pt x="27" y="74"/>
                </a:cubicBezTo>
                <a:cubicBezTo>
                  <a:pt x="26" y="74"/>
                  <a:pt x="26" y="74"/>
                  <a:pt x="26" y="74"/>
                </a:cubicBezTo>
                <a:cubicBezTo>
                  <a:pt x="24" y="72"/>
                  <a:pt x="24" y="72"/>
                  <a:pt x="24" y="72"/>
                </a:cubicBezTo>
                <a:cubicBezTo>
                  <a:pt x="24" y="71"/>
                  <a:pt x="24" y="71"/>
                  <a:pt x="24" y="71"/>
                </a:cubicBezTo>
                <a:cubicBezTo>
                  <a:pt x="25" y="70"/>
                  <a:pt x="25" y="70"/>
                  <a:pt x="25" y="70"/>
                </a:cubicBezTo>
                <a:cubicBezTo>
                  <a:pt x="26" y="70"/>
                  <a:pt x="26" y="70"/>
                  <a:pt x="26" y="70"/>
                </a:cubicBezTo>
                <a:cubicBezTo>
                  <a:pt x="26" y="70"/>
                  <a:pt x="26" y="70"/>
                  <a:pt x="26" y="70"/>
                </a:cubicBezTo>
                <a:cubicBezTo>
                  <a:pt x="26" y="69"/>
                  <a:pt x="26" y="69"/>
                  <a:pt x="26" y="69"/>
                </a:cubicBezTo>
                <a:cubicBezTo>
                  <a:pt x="26" y="69"/>
                  <a:pt x="26" y="69"/>
                  <a:pt x="26" y="69"/>
                </a:cubicBezTo>
                <a:cubicBezTo>
                  <a:pt x="25" y="69"/>
                  <a:pt x="25" y="69"/>
                  <a:pt x="25" y="69"/>
                </a:cubicBezTo>
                <a:cubicBezTo>
                  <a:pt x="25" y="68"/>
                  <a:pt x="25" y="68"/>
                  <a:pt x="25" y="68"/>
                </a:cubicBezTo>
                <a:cubicBezTo>
                  <a:pt x="24" y="68"/>
                  <a:pt x="24" y="68"/>
                  <a:pt x="24" y="68"/>
                </a:cubicBezTo>
                <a:cubicBezTo>
                  <a:pt x="24" y="69"/>
                  <a:pt x="24" y="69"/>
                  <a:pt x="24" y="69"/>
                </a:cubicBezTo>
                <a:cubicBezTo>
                  <a:pt x="23" y="70"/>
                  <a:pt x="23" y="70"/>
                  <a:pt x="23" y="70"/>
                </a:cubicBezTo>
                <a:cubicBezTo>
                  <a:pt x="21" y="69"/>
                  <a:pt x="21" y="69"/>
                  <a:pt x="21" y="69"/>
                </a:cubicBezTo>
                <a:cubicBezTo>
                  <a:pt x="21" y="68"/>
                  <a:pt x="21" y="68"/>
                  <a:pt x="21" y="68"/>
                </a:cubicBezTo>
                <a:cubicBezTo>
                  <a:pt x="21" y="67"/>
                  <a:pt x="21" y="67"/>
                  <a:pt x="21" y="67"/>
                </a:cubicBezTo>
                <a:cubicBezTo>
                  <a:pt x="20" y="67"/>
                  <a:pt x="20" y="67"/>
                  <a:pt x="20" y="67"/>
                </a:cubicBezTo>
                <a:cubicBezTo>
                  <a:pt x="19" y="66"/>
                  <a:pt x="19" y="66"/>
                  <a:pt x="19" y="66"/>
                </a:cubicBezTo>
                <a:cubicBezTo>
                  <a:pt x="19" y="66"/>
                  <a:pt x="19" y="66"/>
                  <a:pt x="19" y="66"/>
                </a:cubicBezTo>
                <a:cubicBezTo>
                  <a:pt x="18" y="66"/>
                  <a:pt x="18" y="66"/>
                  <a:pt x="18" y="66"/>
                </a:cubicBezTo>
                <a:cubicBezTo>
                  <a:pt x="18" y="65"/>
                  <a:pt x="18" y="65"/>
                  <a:pt x="18" y="65"/>
                </a:cubicBezTo>
                <a:cubicBezTo>
                  <a:pt x="18" y="64"/>
                  <a:pt x="18" y="64"/>
                  <a:pt x="18" y="64"/>
                </a:cubicBezTo>
                <a:cubicBezTo>
                  <a:pt x="17" y="64"/>
                  <a:pt x="17" y="64"/>
                  <a:pt x="17" y="64"/>
                </a:cubicBezTo>
                <a:cubicBezTo>
                  <a:pt x="17" y="64"/>
                  <a:pt x="17" y="64"/>
                  <a:pt x="17" y="64"/>
                </a:cubicBezTo>
                <a:cubicBezTo>
                  <a:pt x="17" y="63"/>
                  <a:pt x="17" y="63"/>
                  <a:pt x="17" y="63"/>
                </a:cubicBezTo>
                <a:cubicBezTo>
                  <a:pt x="16" y="63"/>
                  <a:pt x="16" y="63"/>
                  <a:pt x="16" y="63"/>
                </a:cubicBezTo>
                <a:cubicBezTo>
                  <a:pt x="16" y="62"/>
                  <a:pt x="16" y="62"/>
                  <a:pt x="16" y="62"/>
                </a:cubicBezTo>
                <a:cubicBezTo>
                  <a:pt x="16" y="62"/>
                  <a:pt x="16" y="62"/>
                  <a:pt x="16" y="62"/>
                </a:cubicBezTo>
                <a:cubicBezTo>
                  <a:pt x="16" y="62"/>
                  <a:pt x="16" y="62"/>
                  <a:pt x="16" y="62"/>
                </a:cubicBezTo>
                <a:cubicBezTo>
                  <a:pt x="16" y="61"/>
                  <a:pt x="16" y="61"/>
                  <a:pt x="16" y="61"/>
                </a:cubicBezTo>
                <a:cubicBezTo>
                  <a:pt x="16" y="60"/>
                  <a:pt x="16" y="60"/>
                  <a:pt x="16" y="60"/>
                </a:cubicBezTo>
                <a:cubicBezTo>
                  <a:pt x="15" y="60"/>
                  <a:pt x="15" y="60"/>
                  <a:pt x="15" y="60"/>
                </a:cubicBezTo>
                <a:cubicBezTo>
                  <a:pt x="15" y="59"/>
                  <a:pt x="15" y="59"/>
                  <a:pt x="15" y="59"/>
                </a:cubicBezTo>
                <a:cubicBezTo>
                  <a:pt x="17" y="58"/>
                  <a:pt x="17" y="58"/>
                  <a:pt x="17" y="58"/>
                </a:cubicBezTo>
                <a:cubicBezTo>
                  <a:pt x="17" y="58"/>
                  <a:pt x="17" y="58"/>
                  <a:pt x="17" y="58"/>
                </a:cubicBezTo>
                <a:cubicBezTo>
                  <a:pt x="18" y="59"/>
                  <a:pt x="18" y="59"/>
                  <a:pt x="18" y="59"/>
                </a:cubicBezTo>
                <a:cubicBezTo>
                  <a:pt x="19" y="60"/>
                  <a:pt x="19" y="60"/>
                  <a:pt x="19" y="60"/>
                </a:cubicBezTo>
                <a:cubicBezTo>
                  <a:pt x="19" y="60"/>
                  <a:pt x="19" y="60"/>
                  <a:pt x="19" y="60"/>
                </a:cubicBezTo>
                <a:cubicBezTo>
                  <a:pt x="19" y="59"/>
                  <a:pt x="19" y="59"/>
                  <a:pt x="19" y="59"/>
                </a:cubicBezTo>
                <a:cubicBezTo>
                  <a:pt x="20" y="59"/>
                  <a:pt x="20" y="59"/>
                  <a:pt x="20" y="59"/>
                </a:cubicBezTo>
                <a:cubicBezTo>
                  <a:pt x="21" y="60"/>
                  <a:pt x="21" y="60"/>
                  <a:pt x="21" y="60"/>
                </a:cubicBezTo>
                <a:cubicBezTo>
                  <a:pt x="22" y="60"/>
                  <a:pt x="22" y="60"/>
                  <a:pt x="22" y="60"/>
                </a:cubicBezTo>
                <a:cubicBezTo>
                  <a:pt x="24" y="59"/>
                  <a:pt x="24" y="59"/>
                  <a:pt x="24" y="59"/>
                </a:cubicBezTo>
                <a:cubicBezTo>
                  <a:pt x="24" y="59"/>
                  <a:pt x="24" y="59"/>
                  <a:pt x="24" y="59"/>
                </a:cubicBezTo>
                <a:cubicBezTo>
                  <a:pt x="23" y="58"/>
                  <a:pt x="23" y="58"/>
                  <a:pt x="23" y="58"/>
                </a:cubicBezTo>
                <a:cubicBezTo>
                  <a:pt x="22" y="58"/>
                  <a:pt x="22" y="58"/>
                  <a:pt x="22" y="58"/>
                </a:cubicBezTo>
                <a:cubicBezTo>
                  <a:pt x="20" y="58"/>
                  <a:pt x="20" y="58"/>
                  <a:pt x="20" y="58"/>
                </a:cubicBezTo>
                <a:cubicBezTo>
                  <a:pt x="19" y="57"/>
                  <a:pt x="19" y="57"/>
                  <a:pt x="19" y="57"/>
                </a:cubicBezTo>
                <a:cubicBezTo>
                  <a:pt x="19" y="57"/>
                  <a:pt x="19" y="57"/>
                  <a:pt x="19" y="57"/>
                </a:cubicBezTo>
                <a:cubicBezTo>
                  <a:pt x="20" y="57"/>
                  <a:pt x="20" y="57"/>
                  <a:pt x="20" y="57"/>
                </a:cubicBezTo>
                <a:cubicBezTo>
                  <a:pt x="21" y="57"/>
                  <a:pt x="21" y="57"/>
                  <a:pt x="21" y="57"/>
                </a:cubicBezTo>
                <a:cubicBezTo>
                  <a:pt x="23" y="56"/>
                  <a:pt x="23" y="56"/>
                  <a:pt x="23" y="56"/>
                </a:cubicBezTo>
                <a:cubicBezTo>
                  <a:pt x="24" y="55"/>
                  <a:pt x="24" y="55"/>
                  <a:pt x="24" y="55"/>
                </a:cubicBezTo>
                <a:cubicBezTo>
                  <a:pt x="26" y="55"/>
                  <a:pt x="26" y="55"/>
                  <a:pt x="26" y="55"/>
                </a:cubicBezTo>
                <a:cubicBezTo>
                  <a:pt x="27" y="55"/>
                  <a:pt x="27" y="55"/>
                  <a:pt x="27" y="55"/>
                </a:cubicBezTo>
                <a:cubicBezTo>
                  <a:pt x="27" y="55"/>
                  <a:pt x="27" y="55"/>
                  <a:pt x="27" y="55"/>
                </a:cubicBezTo>
                <a:cubicBezTo>
                  <a:pt x="27" y="55"/>
                  <a:pt x="27" y="55"/>
                  <a:pt x="27" y="55"/>
                </a:cubicBezTo>
                <a:cubicBezTo>
                  <a:pt x="27" y="54"/>
                  <a:pt x="27" y="54"/>
                  <a:pt x="27" y="54"/>
                </a:cubicBezTo>
                <a:cubicBezTo>
                  <a:pt x="28" y="54"/>
                  <a:pt x="28" y="54"/>
                  <a:pt x="28" y="54"/>
                </a:cubicBezTo>
                <a:cubicBezTo>
                  <a:pt x="28" y="53"/>
                  <a:pt x="28" y="53"/>
                  <a:pt x="28" y="53"/>
                </a:cubicBezTo>
                <a:cubicBezTo>
                  <a:pt x="28" y="53"/>
                  <a:pt x="28" y="53"/>
                  <a:pt x="28" y="53"/>
                </a:cubicBezTo>
                <a:cubicBezTo>
                  <a:pt x="27" y="53"/>
                  <a:pt x="27" y="53"/>
                  <a:pt x="27" y="53"/>
                </a:cubicBezTo>
                <a:cubicBezTo>
                  <a:pt x="26" y="54"/>
                  <a:pt x="26" y="54"/>
                  <a:pt x="26" y="54"/>
                </a:cubicBezTo>
                <a:cubicBezTo>
                  <a:pt x="24" y="54"/>
                  <a:pt x="24" y="54"/>
                  <a:pt x="24" y="54"/>
                </a:cubicBezTo>
                <a:cubicBezTo>
                  <a:pt x="23" y="54"/>
                  <a:pt x="23" y="54"/>
                  <a:pt x="23" y="54"/>
                </a:cubicBezTo>
                <a:cubicBezTo>
                  <a:pt x="23" y="54"/>
                  <a:pt x="23" y="54"/>
                  <a:pt x="23" y="54"/>
                </a:cubicBezTo>
                <a:cubicBezTo>
                  <a:pt x="22" y="54"/>
                  <a:pt x="22" y="54"/>
                  <a:pt x="22" y="54"/>
                </a:cubicBezTo>
                <a:cubicBezTo>
                  <a:pt x="21" y="54"/>
                  <a:pt x="21" y="54"/>
                  <a:pt x="21" y="54"/>
                </a:cubicBezTo>
                <a:cubicBezTo>
                  <a:pt x="21" y="54"/>
                  <a:pt x="21" y="54"/>
                  <a:pt x="21" y="54"/>
                </a:cubicBezTo>
                <a:cubicBezTo>
                  <a:pt x="20" y="55"/>
                  <a:pt x="20" y="55"/>
                  <a:pt x="20" y="55"/>
                </a:cubicBezTo>
                <a:cubicBezTo>
                  <a:pt x="19" y="55"/>
                  <a:pt x="19" y="55"/>
                  <a:pt x="19" y="55"/>
                </a:cubicBezTo>
                <a:cubicBezTo>
                  <a:pt x="18" y="55"/>
                  <a:pt x="18" y="55"/>
                  <a:pt x="18" y="55"/>
                </a:cubicBezTo>
                <a:cubicBezTo>
                  <a:pt x="18" y="56"/>
                  <a:pt x="18" y="56"/>
                  <a:pt x="18" y="56"/>
                </a:cubicBezTo>
                <a:cubicBezTo>
                  <a:pt x="16" y="56"/>
                  <a:pt x="16" y="56"/>
                  <a:pt x="16" y="56"/>
                </a:cubicBezTo>
                <a:cubicBezTo>
                  <a:pt x="15" y="56"/>
                  <a:pt x="15" y="56"/>
                  <a:pt x="15" y="56"/>
                </a:cubicBezTo>
                <a:cubicBezTo>
                  <a:pt x="15" y="56"/>
                  <a:pt x="15" y="56"/>
                  <a:pt x="15" y="56"/>
                </a:cubicBezTo>
                <a:cubicBezTo>
                  <a:pt x="14" y="56"/>
                  <a:pt x="14" y="56"/>
                  <a:pt x="14" y="56"/>
                </a:cubicBezTo>
                <a:cubicBezTo>
                  <a:pt x="14" y="54"/>
                  <a:pt x="14" y="54"/>
                  <a:pt x="14" y="54"/>
                </a:cubicBezTo>
                <a:cubicBezTo>
                  <a:pt x="14" y="53"/>
                  <a:pt x="14" y="53"/>
                  <a:pt x="14" y="53"/>
                </a:cubicBezTo>
                <a:cubicBezTo>
                  <a:pt x="14" y="52"/>
                  <a:pt x="14" y="52"/>
                  <a:pt x="14" y="52"/>
                </a:cubicBezTo>
                <a:cubicBezTo>
                  <a:pt x="14" y="52"/>
                  <a:pt x="14" y="52"/>
                  <a:pt x="14" y="52"/>
                </a:cubicBezTo>
                <a:cubicBezTo>
                  <a:pt x="15" y="51"/>
                  <a:pt x="15" y="51"/>
                  <a:pt x="15" y="51"/>
                </a:cubicBezTo>
                <a:cubicBezTo>
                  <a:pt x="16" y="51"/>
                  <a:pt x="16" y="51"/>
                  <a:pt x="16" y="51"/>
                </a:cubicBezTo>
                <a:cubicBezTo>
                  <a:pt x="16" y="51"/>
                  <a:pt x="16" y="51"/>
                  <a:pt x="16" y="51"/>
                </a:cubicBezTo>
                <a:cubicBezTo>
                  <a:pt x="16" y="52"/>
                  <a:pt x="16" y="52"/>
                  <a:pt x="16" y="52"/>
                </a:cubicBezTo>
                <a:cubicBezTo>
                  <a:pt x="17" y="52"/>
                  <a:pt x="17" y="52"/>
                  <a:pt x="17" y="52"/>
                </a:cubicBezTo>
                <a:cubicBezTo>
                  <a:pt x="17" y="51"/>
                  <a:pt x="17" y="51"/>
                  <a:pt x="17" y="51"/>
                </a:cubicBezTo>
                <a:cubicBezTo>
                  <a:pt x="18" y="50"/>
                  <a:pt x="18" y="50"/>
                  <a:pt x="18" y="50"/>
                </a:cubicBezTo>
                <a:cubicBezTo>
                  <a:pt x="18" y="50"/>
                  <a:pt x="18" y="50"/>
                  <a:pt x="18" y="50"/>
                </a:cubicBezTo>
                <a:cubicBezTo>
                  <a:pt x="19" y="49"/>
                  <a:pt x="19" y="49"/>
                  <a:pt x="19" y="49"/>
                </a:cubicBezTo>
                <a:cubicBezTo>
                  <a:pt x="20" y="48"/>
                  <a:pt x="20" y="48"/>
                  <a:pt x="20" y="48"/>
                </a:cubicBezTo>
                <a:cubicBezTo>
                  <a:pt x="21" y="48"/>
                  <a:pt x="21" y="48"/>
                  <a:pt x="21" y="48"/>
                </a:cubicBezTo>
                <a:cubicBezTo>
                  <a:pt x="21" y="47"/>
                  <a:pt x="21" y="47"/>
                  <a:pt x="21" y="47"/>
                </a:cubicBezTo>
                <a:cubicBezTo>
                  <a:pt x="22" y="46"/>
                  <a:pt x="22" y="46"/>
                  <a:pt x="22" y="46"/>
                </a:cubicBezTo>
                <a:cubicBezTo>
                  <a:pt x="23" y="46"/>
                  <a:pt x="23" y="46"/>
                  <a:pt x="23" y="46"/>
                </a:cubicBezTo>
                <a:cubicBezTo>
                  <a:pt x="25" y="46"/>
                  <a:pt x="25" y="46"/>
                  <a:pt x="25" y="46"/>
                </a:cubicBezTo>
                <a:cubicBezTo>
                  <a:pt x="26" y="45"/>
                  <a:pt x="26" y="45"/>
                  <a:pt x="26" y="45"/>
                </a:cubicBezTo>
                <a:cubicBezTo>
                  <a:pt x="27" y="44"/>
                  <a:pt x="27" y="44"/>
                  <a:pt x="27" y="44"/>
                </a:cubicBezTo>
                <a:cubicBezTo>
                  <a:pt x="28" y="44"/>
                  <a:pt x="28" y="44"/>
                  <a:pt x="28" y="44"/>
                </a:cubicBezTo>
                <a:cubicBezTo>
                  <a:pt x="28" y="43"/>
                  <a:pt x="28" y="43"/>
                  <a:pt x="28" y="43"/>
                </a:cubicBezTo>
                <a:cubicBezTo>
                  <a:pt x="27" y="43"/>
                  <a:pt x="27" y="43"/>
                  <a:pt x="27" y="43"/>
                </a:cubicBezTo>
                <a:cubicBezTo>
                  <a:pt x="26" y="44"/>
                  <a:pt x="26" y="44"/>
                  <a:pt x="26" y="44"/>
                </a:cubicBezTo>
                <a:cubicBezTo>
                  <a:pt x="25" y="44"/>
                  <a:pt x="25" y="44"/>
                  <a:pt x="25" y="44"/>
                </a:cubicBezTo>
                <a:cubicBezTo>
                  <a:pt x="25" y="44"/>
                  <a:pt x="25" y="44"/>
                  <a:pt x="25" y="44"/>
                </a:cubicBezTo>
                <a:cubicBezTo>
                  <a:pt x="25" y="43"/>
                  <a:pt x="25" y="43"/>
                  <a:pt x="25" y="43"/>
                </a:cubicBezTo>
                <a:cubicBezTo>
                  <a:pt x="25" y="42"/>
                  <a:pt x="25" y="42"/>
                  <a:pt x="25" y="42"/>
                </a:cubicBezTo>
                <a:cubicBezTo>
                  <a:pt x="25" y="40"/>
                  <a:pt x="25" y="40"/>
                  <a:pt x="25" y="40"/>
                </a:cubicBezTo>
                <a:cubicBezTo>
                  <a:pt x="25" y="39"/>
                  <a:pt x="25" y="39"/>
                  <a:pt x="25" y="39"/>
                </a:cubicBezTo>
                <a:cubicBezTo>
                  <a:pt x="24" y="39"/>
                  <a:pt x="24" y="39"/>
                  <a:pt x="24" y="39"/>
                </a:cubicBezTo>
                <a:cubicBezTo>
                  <a:pt x="24" y="40"/>
                  <a:pt x="24" y="40"/>
                  <a:pt x="24" y="40"/>
                </a:cubicBezTo>
                <a:cubicBezTo>
                  <a:pt x="24" y="41"/>
                  <a:pt x="24" y="41"/>
                  <a:pt x="24" y="41"/>
                </a:cubicBezTo>
                <a:cubicBezTo>
                  <a:pt x="23" y="43"/>
                  <a:pt x="23" y="43"/>
                  <a:pt x="23" y="43"/>
                </a:cubicBezTo>
                <a:cubicBezTo>
                  <a:pt x="22" y="44"/>
                  <a:pt x="22" y="44"/>
                  <a:pt x="22" y="44"/>
                </a:cubicBezTo>
                <a:cubicBezTo>
                  <a:pt x="21" y="45"/>
                  <a:pt x="21" y="45"/>
                  <a:pt x="21" y="45"/>
                </a:cubicBezTo>
                <a:cubicBezTo>
                  <a:pt x="20" y="44"/>
                  <a:pt x="20" y="44"/>
                  <a:pt x="20" y="44"/>
                </a:cubicBezTo>
                <a:cubicBezTo>
                  <a:pt x="20" y="43"/>
                  <a:pt x="20" y="43"/>
                  <a:pt x="20" y="43"/>
                </a:cubicBezTo>
                <a:cubicBezTo>
                  <a:pt x="20" y="42"/>
                  <a:pt x="20" y="42"/>
                  <a:pt x="20" y="42"/>
                </a:cubicBezTo>
                <a:cubicBezTo>
                  <a:pt x="21" y="41"/>
                  <a:pt x="21" y="41"/>
                  <a:pt x="21" y="41"/>
                </a:cubicBezTo>
                <a:cubicBezTo>
                  <a:pt x="21" y="40"/>
                  <a:pt x="21" y="40"/>
                  <a:pt x="21" y="40"/>
                </a:cubicBezTo>
                <a:cubicBezTo>
                  <a:pt x="20" y="40"/>
                  <a:pt x="20" y="40"/>
                  <a:pt x="20" y="40"/>
                </a:cubicBezTo>
                <a:cubicBezTo>
                  <a:pt x="20" y="38"/>
                  <a:pt x="20" y="38"/>
                  <a:pt x="20" y="38"/>
                </a:cubicBezTo>
                <a:cubicBezTo>
                  <a:pt x="20" y="38"/>
                  <a:pt x="20" y="38"/>
                  <a:pt x="20" y="38"/>
                </a:cubicBezTo>
                <a:cubicBezTo>
                  <a:pt x="19" y="38"/>
                  <a:pt x="19" y="38"/>
                  <a:pt x="19" y="38"/>
                </a:cubicBezTo>
                <a:cubicBezTo>
                  <a:pt x="19" y="38"/>
                  <a:pt x="19" y="38"/>
                  <a:pt x="19" y="38"/>
                </a:cubicBezTo>
                <a:cubicBezTo>
                  <a:pt x="19" y="40"/>
                  <a:pt x="19" y="40"/>
                  <a:pt x="19" y="40"/>
                </a:cubicBezTo>
                <a:cubicBezTo>
                  <a:pt x="19" y="41"/>
                  <a:pt x="19" y="41"/>
                  <a:pt x="19" y="41"/>
                </a:cubicBezTo>
                <a:cubicBezTo>
                  <a:pt x="18" y="42"/>
                  <a:pt x="18" y="42"/>
                  <a:pt x="18" y="42"/>
                </a:cubicBezTo>
                <a:cubicBezTo>
                  <a:pt x="18" y="41"/>
                  <a:pt x="18" y="41"/>
                  <a:pt x="18" y="41"/>
                </a:cubicBezTo>
                <a:cubicBezTo>
                  <a:pt x="18" y="41"/>
                  <a:pt x="18" y="41"/>
                  <a:pt x="18" y="41"/>
                </a:cubicBezTo>
                <a:cubicBezTo>
                  <a:pt x="18" y="40"/>
                  <a:pt x="18" y="40"/>
                  <a:pt x="18" y="40"/>
                </a:cubicBezTo>
                <a:cubicBezTo>
                  <a:pt x="17" y="40"/>
                  <a:pt x="17" y="40"/>
                  <a:pt x="17" y="40"/>
                </a:cubicBezTo>
                <a:cubicBezTo>
                  <a:pt x="16" y="40"/>
                  <a:pt x="16" y="40"/>
                  <a:pt x="16" y="40"/>
                </a:cubicBezTo>
                <a:cubicBezTo>
                  <a:pt x="16" y="41"/>
                  <a:pt x="16" y="41"/>
                  <a:pt x="16" y="41"/>
                </a:cubicBezTo>
                <a:cubicBezTo>
                  <a:pt x="17" y="42"/>
                  <a:pt x="17" y="42"/>
                  <a:pt x="17" y="42"/>
                </a:cubicBezTo>
                <a:cubicBezTo>
                  <a:pt x="17" y="43"/>
                  <a:pt x="17" y="43"/>
                  <a:pt x="17" y="43"/>
                </a:cubicBezTo>
                <a:cubicBezTo>
                  <a:pt x="17" y="44"/>
                  <a:pt x="17" y="44"/>
                  <a:pt x="17" y="44"/>
                </a:cubicBezTo>
                <a:cubicBezTo>
                  <a:pt x="18" y="45"/>
                  <a:pt x="18" y="45"/>
                  <a:pt x="18" y="45"/>
                </a:cubicBezTo>
                <a:cubicBezTo>
                  <a:pt x="18" y="46"/>
                  <a:pt x="18" y="46"/>
                  <a:pt x="18" y="46"/>
                </a:cubicBezTo>
                <a:cubicBezTo>
                  <a:pt x="17" y="46"/>
                  <a:pt x="17" y="46"/>
                  <a:pt x="17" y="46"/>
                </a:cubicBezTo>
                <a:cubicBezTo>
                  <a:pt x="16" y="46"/>
                  <a:pt x="16" y="46"/>
                  <a:pt x="16" y="46"/>
                </a:cubicBezTo>
                <a:cubicBezTo>
                  <a:pt x="16" y="48"/>
                  <a:pt x="16" y="48"/>
                  <a:pt x="16" y="48"/>
                </a:cubicBezTo>
                <a:cubicBezTo>
                  <a:pt x="16" y="48"/>
                  <a:pt x="16" y="48"/>
                  <a:pt x="16" y="48"/>
                </a:cubicBezTo>
                <a:cubicBezTo>
                  <a:pt x="15" y="49"/>
                  <a:pt x="15" y="49"/>
                  <a:pt x="15" y="49"/>
                </a:cubicBezTo>
                <a:cubicBezTo>
                  <a:pt x="13" y="49"/>
                  <a:pt x="13" y="49"/>
                  <a:pt x="13" y="49"/>
                </a:cubicBezTo>
                <a:cubicBezTo>
                  <a:pt x="11" y="49"/>
                  <a:pt x="11" y="49"/>
                  <a:pt x="11" y="49"/>
                </a:cubicBezTo>
                <a:cubicBezTo>
                  <a:pt x="11" y="49"/>
                  <a:pt x="11" y="49"/>
                  <a:pt x="11" y="49"/>
                </a:cubicBezTo>
                <a:cubicBezTo>
                  <a:pt x="12" y="48"/>
                  <a:pt x="12" y="48"/>
                  <a:pt x="12" y="48"/>
                </a:cubicBezTo>
                <a:cubicBezTo>
                  <a:pt x="11" y="47"/>
                  <a:pt x="11" y="47"/>
                  <a:pt x="11" y="47"/>
                </a:cubicBezTo>
                <a:cubicBezTo>
                  <a:pt x="10" y="46"/>
                  <a:pt x="10" y="46"/>
                  <a:pt x="10" y="46"/>
                </a:cubicBezTo>
                <a:cubicBezTo>
                  <a:pt x="9" y="45"/>
                  <a:pt x="9" y="45"/>
                  <a:pt x="9" y="45"/>
                </a:cubicBezTo>
                <a:cubicBezTo>
                  <a:pt x="9" y="45"/>
                  <a:pt x="9" y="45"/>
                  <a:pt x="9" y="45"/>
                </a:cubicBezTo>
                <a:cubicBezTo>
                  <a:pt x="8" y="44"/>
                  <a:pt x="8" y="44"/>
                  <a:pt x="8" y="44"/>
                </a:cubicBezTo>
                <a:cubicBezTo>
                  <a:pt x="8" y="43"/>
                  <a:pt x="8" y="43"/>
                  <a:pt x="8" y="43"/>
                </a:cubicBezTo>
                <a:cubicBezTo>
                  <a:pt x="9" y="43"/>
                  <a:pt x="9" y="43"/>
                  <a:pt x="9" y="43"/>
                </a:cubicBezTo>
                <a:cubicBezTo>
                  <a:pt x="10" y="43"/>
                  <a:pt x="10" y="43"/>
                  <a:pt x="10" y="43"/>
                </a:cubicBezTo>
                <a:cubicBezTo>
                  <a:pt x="10" y="42"/>
                  <a:pt x="10" y="42"/>
                  <a:pt x="10" y="42"/>
                </a:cubicBezTo>
                <a:cubicBezTo>
                  <a:pt x="9" y="42"/>
                  <a:pt x="9" y="42"/>
                  <a:pt x="9" y="42"/>
                </a:cubicBezTo>
                <a:cubicBezTo>
                  <a:pt x="8" y="42"/>
                  <a:pt x="8" y="42"/>
                  <a:pt x="8" y="42"/>
                </a:cubicBezTo>
                <a:cubicBezTo>
                  <a:pt x="7" y="42"/>
                  <a:pt x="7" y="42"/>
                  <a:pt x="7" y="42"/>
                </a:cubicBezTo>
                <a:cubicBezTo>
                  <a:pt x="7" y="41"/>
                  <a:pt x="7" y="41"/>
                  <a:pt x="7" y="41"/>
                </a:cubicBezTo>
                <a:cubicBezTo>
                  <a:pt x="6" y="41"/>
                  <a:pt x="6" y="41"/>
                  <a:pt x="6" y="41"/>
                </a:cubicBezTo>
                <a:cubicBezTo>
                  <a:pt x="5" y="40"/>
                  <a:pt x="5" y="40"/>
                  <a:pt x="5" y="40"/>
                </a:cubicBezTo>
                <a:cubicBezTo>
                  <a:pt x="4" y="39"/>
                  <a:pt x="4" y="39"/>
                  <a:pt x="4" y="39"/>
                </a:cubicBezTo>
                <a:cubicBezTo>
                  <a:pt x="5" y="39"/>
                  <a:pt x="5" y="39"/>
                  <a:pt x="5" y="39"/>
                </a:cubicBezTo>
                <a:cubicBezTo>
                  <a:pt x="5" y="38"/>
                  <a:pt x="5" y="38"/>
                  <a:pt x="5" y="38"/>
                </a:cubicBezTo>
                <a:cubicBezTo>
                  <a:pt x="4" y="38"/>
                  <a:pt x="4" y="38"/>
                  <a:pt x="4" y="38"/>
                </a:cubicBezTo>
                <a:cubicBezTo>
                  <a:pt x="3" y="37"/>
                  <a:pt x="3" y="37"/>
                  <a:pt x="3" y="37"/>
                </a:cubicBezTo>
                <a:cubicBezTo>
                  <a:pt x="3" y="36"/>
                  <a:pt x="3" y="36"/>
                  <a:pt x="3" y="36"/>
                </a:cubicBezTo>
                <a:cubicBezTo>
                  <a:pt x="3" y="35"/>
                  <a:pt x="3" y="35"/>
                  <a:pt x="3" y="35"/>
                </a:cubicBezTo>
                <a:cubicBezTo>
                  <a:pt x="3" y="35"/>
                  <a:pt x="3" y="35"/>
                  <a:pt x="3" y="35"/>
                </a:cubicBezTo>
                <a:cubicBezTo>
                  <a:pt x="5" y="36"/>
                  <a:pt x="5" y="36"/>
                  <a:pt x="5" y="36"/>
                </a:cubicBezTo>
                <a:cubicBezTo>
                  <a:pt x="5" y="37"/>
                  <a:pt x="5" y="37"/>
                  <a:pt x="5" y="37"/>
                </a:cubicBezTo>
                <a:cubicBezTo>
                  <a:pt x="5" y="37"/>
                  <a:pt x="5" y="37"/>
                  <a:pt x="5" y="37"/>
                </a:cubicBezTo>
                <a:cubicBezTo>
                  <a:pt x="6" y="37"/>
                  <a:pt x="6" y="37"/>
                  <a:pt x="6" y="37"/>
                </a:cubicBezTo>
                <a:cubicBezTo>
                  <a:pt x="7" y="37"/>
                  <a:pt x="7" y="37"/>
                  <a:pt x="7" y="37"/>
                </a:cubicBezTo>
                <a:cubicBezTo>
                  <a:pt x="7" y="36"/>
                  <a:pt x="7" y="36"/>
                  <a:pt x="7" y="36"/>
                </a:cubicBezTo>
                <a:cubicBezTo>
                  <a:pt x="6" y="35"/>
                  <a:pt x="6" y="35"/>
                  <a:pt x="6" y="35"/>
                </a:cubicBezTo>
                <a:cubicBezTo>
                  <a:pt x="6" y="36"/>
                  <a:pt x="6" y="36"/>
                  <a:pt x="6" y="36"/>
                </a:cubicBezTo>
                <a:cubicBezTo>
                  <a:pt x="5" y="35"/>
                  <a:pt x="5" y="35"/>
                  <a:pt x="5" y="35"/>
                </a:cubicBezTo>
                <a:cubicBezTo>
                  <a:pt x="5" y="35"/>
                  <a:pt x="5" y="35"/>
                  <a:pt x="5" y="35"/>
                </a:cubicBezTo>
                <a:cubicBezTo>
                  <a:pt x="4" y="34"/>
                  <a:pt x="4" y="34"/>
                  <a:pt x="4" y="34"/>
                </a:cubicBezTo>
                <a:cubicBezTo>
                  <a:pt x="4" y="33"/>
                  <a:pt x="4" y="33"/>
                  <a:pt x="4" y="33"/>
                </a:cubicBezTo>
                <a:cubicBezTo>
                  <a:pt x="4" y="33"/>
                  <a:pt x="4" y="33"/>
                  <a:pt x="4" y="33"/>
                </a:cubicBezTo>
                <a:cubicBezTo>
                  <a:pt x="5" y="31"/>
                  <a:pt x="5" y="31"/>
                  <a:pt x="5" y="31"/>
                </a:cubicBezTo>
                <a:cubicBezTo>
                  <a:pt x="5" y="30"/>
                  <a:pt x="5" y="30"/>
                  <a:pt x="5" y="30"/>
                </a:cubicBezTo>
                <a:cubicBezTo>
                  <a:pt x="5" y="30"/>
                  <a:pt x="5" y="30"/>
                  <a:pt x="5" y="30"/>
                </a:cubicBezTo>
                <a:cubicBezTo>
                  <a:pt x="4" y="30"/>
                  <a:pt x="4" y="30"/>
                  <a:pt x="4" y="30"/>
                </a:cubicBezTo>
                <a:cubicBezTo>
                  <a:pt x="3" y="30"/>
                  <a:pt x="3" y="30"/>
                  <a:pt x="3" y="30"/>
                </a:cubicBezTo>
                <a:cubicBezTo>
                  <a:pt x="3" y="30"/>
                  <a:pt x="3" y="30"/>
                  <a:pt x="3" y="30"/>
                </a:cubicBezTo>
                <a:cubicBezTo>
                  <a:pt x="3" y="31"/>
                  <a:pt x="3" y="31"/>
                  <a:pt x="3" y="31"/>
                </a:cubicBezTo>
                <a:cubicBezTo>
                  <a:pt x="3" y="32"/>
                  <a:pt x="3" y="32"/>
                  <a:pt x="3" y="32"/>
                </a:cubicBezTo>
                <a:cubicBezTo>
                  <a:pt x="2" y="33"/>
                  <a:pt x="2" y="33"/>
                  <a:pt x="2" y="33"/>
                </a:cubicBezTo>
                <a:cubicBezTo>
                  <a:pt x="1" y="33"/>
                  <a:pt x="1" y="33"/>
                  <a:pt x="1" y="33"/>
                </a:cubicBezTo>
                <a:cubicBezTo>
                  <a:pt x="1" y="32"/>
                  <a:pt x="1" y="32"/>
                  <a:pt x="1" y="32"/>
                </a:cubicBezTo>
                <a:cubicBezTo>
                  <a:pt x="0" y="30"/>
                  <a:pt x="0" y="30"/>
                  <a:pt x="0" y="30"/>
                </a:cubicBezTo>
                <a:cubicBezTo>
                  <a:pt x="0" y="29"/>
                  <a:pt x="0" y="29"/>
                  <a:pt x="0" y="29"/>
                </a:cubicBezTo>
                <a:cubicBezTo>
                  <a:pt x="0" y="27"/>
                  <a:pt x="0" y="27"/>
                  <a:pt x="0" y="27"/>
                </a:cubicBezTo>
                <a:cubicBezTo>
                  <a:pt x="0" y="26"/>
                  <a:pt x="0" y="26"/>
                  <a:pt x="0" y="26"/>
                </a:cubicBezTo>
                <a:cubicBezTo>
                  <a:pt x="0" y="26"/>
                  <a:pt x="0" y="26"/>
                  <a:pt x="0" y="26"/>
                </a:cubicBezTo>
                <a:cubicBezTo>
                  <a:pt x="1" y="25"/>
                  <a:pt x="1" y="25"/>
                  <a:pt x="1" y="25"/>
                </a:cubicBezTo>
                <a:cubicBezTo>
                  <a:pt x="2" y="25"/>
                  <a:pt x="2" y="25"/>
                  <a:pt x="2" y="25"/>
                </a:cubicBezTo>
                <a:cubicBezTo>
                  <a:pt x="2" y="24"/>
                  <a:pt x="2" y="24"/>
                  <a:pt x="2" y="24"/>
                </a:cubicBezTo>
                <a:cubicBezTo>
                  <a:pt x="1" y="23"/>
                  <a:pt x="1" y="23"/>
                  <a:pt x="1" y="23"/>
                </a:cubicBezTo>
                <a:cubicBezTo>
                  <a:pt x="1" y="22"/>
                  <a:pt x="1" y="22"/>
                  <a:pt x="1" y="22"/>
                </a:cubicBezTo>
                <a:cubicBezTo>
                  <a:pt x="2" y="21"/>
                  <a:pt x="2" y="21"/>
                  <a:pt x="2" y="21"/>
                </a:cubicBezTo>
                <a:cubicBezTo>
                  <a:pt x="3" y="21"/>
                  <a:pt x="3" y="21"/>
                  <a:pt x="3" y="21"/>
                </a:cubicBezTo>
                <a:cubicBezTo>
                  <a:pt x="4" y="23"/>
                  <a:pt x="4" y="23"/>
                  <a:pt x="4" y="23"/>
                </a:cubicBezTo>
                <a:cubicBezTo>
                  <a:pt x="4" y="24"/>
                  <a:pt x="4" y="24"/>
                  <a:pt x="4" y="24"/>
                </a:cubicBezTo>
                <a:cubicBezTo>
                  <a:pt x="5" y="24"/>
                  <a:pt x="5" y="24"/>
                  <a:pt x="5" y="24"/>
                </a:cubicBezTo>
                <a:cubicBezTo>
                  <a:pt x="6" y="23"/>
                  <a:pt x="6" y="23"/>
                  <a:pt x="6" y="23"/>
                </a:cubicBezTo>
                <a:cubicBezTo>
                  <a:pt x="4" y="22"/>
                  <a:pt x="4" y="22"/>
                  <a:pt x="4" y="22"/>
                </a:cubicBezTo>
                <a:cubicBezTo>
                  <a:pt x="4" y="21"/>
                  <a:pt x="4" y="21"/>
                  <a:pt x="4" y="21"/>
                </a:cubicBezTo>
                <a:cubicBezTo>
                  <a:pt x="5" y="20"/>
                  <a:pt x="5" y="20"/>
                  <a:pt x="5" y="20"/>
                </a:cubicBezTo>
                <a:cubicBezTo>
                  <a:pt x="6" y="21"/>
                  <a:pt x="6" y="21"/>
                  <a:pt x="6" y="21"/>
                </a:cubicBezTo>
                <a:cubicBezTo>
                  <a:pt x="6" y="21"/>
                  <a:pt x="6" y="21"/>
                  <a:pt x="6" y="21"/>
                </a:cubicBezTo>
                <a:cubicBezTo>
                  <a:pt x="6" y="22"/>
                  <a:pt x="6" y="22"/>
                  <a:pt x="6" y="22"/>
                </a:cubicBezTo>
                <a:cubicBezTo>
                  <a:pt x="7" y="21"/>
                  <a:pt x="7" y="21"/>
                  <a:pt x="7" y="21"/>
                </a:cubicBezTo>
                <a:cubicBezTo>
                  <a:pt x="10" y="19"/>
                  <a:pt x="10" y="19"/>
                  <a:pt x="10" y="19"/>
                </a:cubicBezTo>
                <a:cubicBezTo>
                  <a:pt x="11" y="19"/>
                  <a:pt x="11" y="19"/>
                  <a:pt x="11" y="19"/>
                </a:cubicBezTo>
                <a:cubicBezTo>
                  <a:pt x="12" y="20"/>
                  <a:pt x="12" y="20"/>
                  <a:pt x="12" y="20"/>
                </a:cubicBezTo>
                <a:cubicBezTo>
                  <a:pt x="12" y="21"/>
                  <a:pt x="12" y="21"/>
                  <a:pt x="12" y="21"/>
                </a:cubicBezTo>
                <a:cubicBezTo>
                  <a:pt x="12" y="22"/>
                  <a:pt x="12" y="22"/>
                  <a:pt x="12" y="22"/>
                </a:cubicBezTo>
                <a:cubicBezTo>
                  <a:pt x="11" y="23"/>
                  <a:pt x="11" y="23"/>
                  <a:pt x="11" y="23"/>
                </a:cubicBezTo>
                <a:cubicBezTo>
                  <a:pt x="11" y="23"/>
                  <a:pt x="11" y="23"/>
                  <a:pt x="11" y="23"/>
                </a:cubicBezTo>
                <a:cubicBezTo>
                  <a:pt x="10" y="22"/>
                  <a:pt x="10" y="22"/>
                  <a:pt x="10" y="22"/>
                </a:cubicBezTo>
                <a:cubicBezTo>
                  <a:pt x="10" y="23"/>
                  <a:pt x="10" y="23"/>
                  <a:pt x="10" y="23"/>
                </a:cubicBezTo>
                <a:cubicBezTo>
                  <a:pt x="8" y="24"/>
                  <a:pt x="8" y="24"/>
                  <a:pt x="8" y="24"/>
                </a:cubicBezTo>
                <a:cubicBezTo>
                  <a:pt x="8" y="24"/>
                  <a:pt x="8" y="24"/>
                  <a:pt x="8" y="24"/>
                </a:cubicBezTo>
                <a:cubicBezTo>
                  <a:pt x="8" y="24"/>
                  <a:pt x="8" y="24"/>
                  <a:pt x="8" y="24"/>
                </a:cubicBezTo>
                <a:cubicBezTo>
                  <a:pt x="7" y="25"/>
                  <a:pt x="7" y="25"/>
                  <a:pt x="7" y="25"/>
                </a:cubicBezTo>
                <a:cubicBezTo>
                  <a:pt x="8" y="26"/>
                  <a:pt x="8" y="26"/>
                  <a:pt x="8" y="26"/>
                </a:cubicBezTo>
                <a:cubicBezTo>
                  <a:pt x="9" y="25"/>
                  <a:pt x="9" y="25"/>
                  <a:pt x="9" y="25"/>
                </a:cubicBezTo>
                <a:cubicBezTo>
                  <a:pt x="11" y="24"/>
                  <a:pt x="11" y="24"/>
                  <a:pt x="11" y="24"/>
                </a:cubicBezTo>
                <a:cubicBezTo>
                  <a:pt x="11" y="25"/>
                  <a:pt x="11" y="25"/>
                  <a:pt x="11" y="25"/>
                </a:cubicBezTo>
                <a:cubicBezTo>
                  <a:pt x="11" y="25"/>
                  <a:pt x="11" y="25"/>
                  <a:pt x="11" y="25"/>
                </a:cubicBezTo>
                <a:cubicBezTo>
                  <a:pt x="10" y="26"/>
                  <a:pt x="10" y="26"/>
                  <a:pt x="10" y="26"/>
                </a:cubicBezTo>
                <a:cubicBezTo>
                  <a:pt x="10" y="27"/>
                  <a:pt x="10" y="27"/>
                  <a:pt x="10" y="27"/>
                </a:cubicBezTo>
                <a:cubicBezTo>
                  <a:pt x="11" y="27"/>
                  <a:pt x="11" y="27"/>
                  <a:pt x="11" y="27"/>
                </a:cubicBezTo>
                <a:cubicBezTo>
                  <a:pt x="11" y="26"/>
                  <a:pt x="11" y="26"/>
                  <a:pt x="11" y="26"/>
                </a:cubicBezTo>
                <a:cubicBezTo>
                  <a:pt x="11" y="26"/>
                  <a:pt x="11" y="26"/>
                  <a:pt x="11" y="26"/>
                </a:cubicBezTo>
                <a:cubicBezTo>
                  <a:pt x="12" y="27"/>
                  <a:pt x="12" y="27"/>
                  <a:pt x="12" y="27"/>
                </a:cubicBezTo>
                <a:cubicBezTo>
                  <a:pt x="12" y="28"/>
                  <a:pt x="12" y="28"/>
                  <a:pt x="12" y="28"/>
                </a:cubicBezTo>
                <a:cubicBezTo>
                  <a:pt x="12" y="28"/>
                  <a:pt x="12" y="28"/>
                  <a:pt x="12" y="28"/>
                </a:cubicBezTo>
                <a:cubicBezTo>
                  <a:pt x="13" y="30"/>
                  <a:pt x="13" y="30"/>
                  <a:pt x="13" y="30"/>
                </a:cubicBezTo>
                <a:cubicBezTo>
                  <a:pt x="13" y="31"/>
                  <a:pt x="13" y="31"/>
                  <a:pt x="13" y="31"/>
                </a:cubicBezTo>
                <a:cubicBezTo>
                  <a:pt x="14" y="31"/>
                  <a:pt x="14" y="31"/>
                  <a:pt x="14" y="31"/>
                </a:cubicBezTo>
                <a:cubicBezTo>
                  <a:pt x="13" y="29"/>
                  <a:pt x="13" y="29"/>
                  <a:pt x="13" y="29"/>
                </a:cubicBezTo>
                <a:cubicBezTo>
                  <a:pt x="13" y="28"/>
                  <a:pt x="13" y="28"/>
                  <a:pt x="13" y="28"/>
                </a:cubicBezTo>
                <a:cubicBezTo>
                  <a:pt x="12" y="26"/>
                  <a:pt x="12" y="26"/>
                  <a:pt x="12" y="26"/>
                </a:cubicBezTo>
                <a:cubicBezTo>
                  <a:pt x="13" y="25"/>
                  <a:pt x="13" y="25"/>
                  <a:pt x="13" y="25"/>
                </a:cubicBezTo>
                <a:cubicBezTo>
                  <a:pt x="14" y="23"/>
                  <a:pt x="14" y="23"/>
                  <a:pt x="14" y="23"/>
                </a:cubicBezTo>
                <a:cubicBezTo>
                  <a:pt x="14" y="22"/>
                  <a:pt x="14" y="22"/>
                  <a:pt x="14" y="22"/>
                </a:cubicBezTo>
                <a:cubicBezTo>
                  <a:pt x="15" y="21"/>
                  <a:pt x="15" y="21"/>
                  <a:pt x="15" y="21"/>
                </a:cubicBezTo>
                <a:cubicBezTo>
                  <a:pt x="15" y="21"/>
                  <a:pt x="15" y="21"/>
                  <a:pt x="15" y="21"/>
                </a:cubicBezTo>
                <a:cubicBezTo>
                  <a:pt x="17" y="23"/>
                  <a:pt x="17" y="23"/>
                  <a:pt x="17" y="23"/>
                </a:cubicBezTo>
                <a:cubicBezTo>
                  <a:pt x="18" y="24"/>
                  <a:pt x="18" y="24"/>
                  <a:pt x="18" y="24"/>
                </a:cubicBezTo>
                <a:cubicBezTo>
                  <a:pt x="18" y="24"/>
                  <a:pt x="18" y="24"/>
                  <a:pt x="18" y="24"/>
                </a:cubicBezTo>
                <a:cubicBezTo>
                  <a:pt x="18" y="27"/>
                  <a:pt x="18" y="27"/>
                  <a:pt x="18" y="27"/>
                </a:cubicBezTo>
                <a:cubicBezTo>
                  <a:pt x="19" y="29"/>
                  <a:pt x="19" y="29"/>
                  <a:pt x="19" y="29"/>
                </a:cubicBezTo>
                <a:cubicBezTo>
                  <a:pt x="19" y="30"/>
                  <a:pt x="19" y="30"/>
                  <a:pt x="19" y="30"/>
                </a:cubicBezTo>
                <a:cubicBezTo>
                  <a:pt x="19" y="31"/>
                  <a:pt x="19" y="31"/>
                  <a:pt x="19" y="31"/>
                </a:cubicBezTo>
                <a:cubicBezTo>
                  <a:pt x="18" y="32"/>
                  <a:pt x="18" y="32"/>
                  <a:pt x="18" y="32"/>
                </a:cubicBezTo>
                <a:cubicBezTo>
                  <a:pt x="18" y="32"/>
                  <a:pt x="18" y="32"/>
                  <a:pt x="18" y="32"/>
                </a:cubicBezTo>
                <a:cubicBezTo>
                  <a:pt x="18" y="33"/>
                  <a:pt x="18" y="33"/>
                  <a:pt x="18" y="33"/>
                </a:cubicBezTo>
                <a:cubicBezTo>
                  <a:pt x="19" y="32"/>
                  <a:pt x="19" y="32"/>
                  <a:pt x="19" y="32"/>
                </a:cubicBezTo>
                <a:cubicBezTo>
                  <a:pt x="20" y="32"/>
                  <a:pt x="20" y="32"/>
                  <a:pt x="20" y="32"/>
                </a:cubicBezTo>
                <a:cubicBezTo>
                  <a:pt x="21" y="33"/>
                  <a:pt x="21" y="33"/>
                  <a:pt x="21" y="33"/>
                </a:cubicBezTo>
                <a:cubicBezTo>
                  <a:pt x="22" y="35"/>
                  <a:pt x="22" y="35"/>
                  <a:pt x="22" y="35"/>
                </a:cubicBezTo>
                <a:cubicBezTo>
                  <a:pt x="22" y="36"/>
                  <a:pt x="22" y="36"/>
                  <a:pt x="22" y="36"/>
                </a:cubicBezTo>
                <a:cubicBezTo>
                  <a:pt x="23" y="36"/>
                  <a:pt x="23" y="36"/>
                  <a:pt x="23" y="36"/>
                </a:cubicBezTo>
                <a:cubicBezTo>
                  <a:pt x="23" y="35"/>
                  <a:pt x="23" y="35"/>
                  <a:pt x="23" y="35"/>
                </a:cubicBezTo>
                <a:cubicBezTo>
                  <a:pt x="22" y="33"/>
                  <a:pt x="22" y="33"/>
                  <a:pt x="22" y="33"/>
                </a:cubicBezTo>
                <a:cubicBezTo>
                  <a:pt x="22" y="32"/>
                  <a:pt x="22" y="32"/>
                  <a:pt x="22" y="32"/>
                </a:cubicBezTo>
                <a:cubicBezTo>
                  <a:pt x="21" y="30"/>
                  <a:pt x="21" y="30"/>
                  <a:pt x="21" y="30"/>
                </a:cubicBezTo>
                <a:cubicBezTo>
                  <a:pt x="20" y="29"/>
                  <a:pt x="20" y="29"/>
                  <a:pt x="20" y="29"/>
                </a:cubicBezTo>
                <a:cubicBezTo>
                  <a:pt x="20" y="27"/>
                  <a:pt x="20" y="27"/>
                  <a:pt x="20" y="27"/>
                </a:cubicBezTo>
                <a:cubicBezTo>
                  <a:pt x="20" y="24"/>
                  <a:pt x="20" y="24"/>
                  <a:pt x="20" y="24"/>
                </a:cubicBezTo>
                <a:cubicBezTo>
                  <a:pt x="20" y="23"/>
                  <a:pt x="20" y="23"/>
                  <a:pt x="20" y="23"/>
                </a:cubicBezTo>
                <a:cubicBezTo>
                  <a:pt x="19" y="22"/>
                  <a:pt x="19" y="22"/>
                  <a:pt x="19" y="22"/>
                </a:cubicBezTo>
                <a:cubicBezTo>
                  <a:pt x="20" y="21"/>
                  <a:pt x="20" y="21"/>
                  <a:pt x="20" y="21"/>
                </a:cubicBezTo>
                <a:cubicBezTo>
                  <a:pt x="20" y="20"/>
                  <a:pt x="20" y="20"/>
                  <a:pt x="20" y="20"/>
                </a:cubicBezTo>
                <a:cubicBezTo>
                  <a:pt x="20" y="19"/>
                  <a:pt x="20" y="19"/>
                  <a:pt x="20" y="19"/>
                </a:cubicBezTo>
                <a:cubicBezTo>
                  <a:pt x="20" y="17"/>
                  <a:pt x="20" y="17"/>
                  <a:pt x="20" y="17"/>
                </a:cubicBezTo>
                <a:cubicBezTo>
                  <a:pt x="21" y="16"/>
                  <a:pt x="21" y="16"/>
                  <a:pt x="21" y="16"/>
                </a:cubicBezTo>
                <a:cubicBezTo>
                  <a:pt x="21" y="15"/>
                  <a:pt x="21" y="15"/>
                  <a:pt x="21" y="15"/>
                </a:cubicBezTo>
                <a:cubicBezTo>
                  <a:pt x="22" y="16"/>
                  <a:pt x="22" y="16"/>
                  <a:pt x="22" y="16"/>
                </a:cubicBezTo>
                <a:cubicBezTo>
                  <a:pt x="23" y="17"/>
                  <a:pt x="23" y="17"/>
                  <a:pt x="23" y="17"/>
                </a:cubicBezTo>
                <a:cubicBezTo>
                  <a:pt x="23" y="19"/>
                  <a:pt x="23" y="19"/>
                  <a:pt x="23" y="19"/>
                </a:cubicBezTo>
                <a:cubicBezTo>
                  <a:pt x="24" y="19"/>
                  <a:pt x="24" y="19"/>
                  <a:pt x="24" y="19"/>
                </a:cubicBezTo>
                <a:cubicBezTo>
                  <a:pt x="24" y="18"/>
                  <a:pt x="24" y="18"/>
                  <a:pt x="24" y="18"/>
                </a:cubicBezTo>
                <a:cubicBezTo>
                  <a:pt x="25" y="18"/>
                  <a:pt x="25" y="18"/>
                  <a:pt x="25" y="18"/>
                </a:cubicBezTo>
                <a:cubicBezTo>
                  <a:pt x="26" y="18"/>
                  <a:pt x="26" y="18"/>
                  <a:pt x="26" y="18"/>
                </a:cubicBezTo>
                <a:cubicBezTo>
                  <a:pt x="28" y="20"/>
                  <a:pt x="28" y="20"/>
                  <a:pt x="28" y="20"/>
                </a:cubicBezTo>
                <a:cubicBezTo>
                  <a:pt x="28" y="21"/>
                  <a:pt x="28" y="21"/>
                  <a:pt x="28" y="21"/>
                </a:cubicBezTo>
                <a:cubicBezTo>
                  <a:pt x="28" y="23"/>
                  <a:pt x="28" y="23"/>
                  <a:pt x="28" y="23"/>
                </a:cubicBezTo>
                <a:cubicBezTo>
                  <a:pt x="28" y="23"/>
                  <a:pt x="28" y="23"/>
                  <a:pt x="28" y="23"/>
                </a:cubicBezTo>
                <a:cubicBezTo>
                  <a:pt x="28" y="26"/>
                  <a:pt x="28" y="26"/>
                  <a:pt x="28" y="26"/>
                </a:cubicBezTo>
                <a:cubicBezTo>
                  <a:pt x="28" y="28"/>
                  <a:pt x="28" y="28"/>
                  <a:pt x="28" y="28"/>
                </a:cubicBezTo>
                <a:cubicBezTo>
                  <a:pt x="27" y="28"/>
                  <a:pt x="27" y="28"/>
                  <a:pt x="27" y="28"/>
                </a:cubicBezTo>
                <a:cubicBezTo>
                  <a:pt x="28" y="29"/>
                  <a:pt x="28" y="29"/>
                  <a:pt x="28" y="29"/>
                </a:cubicBezTo>
                <a:cubicBezTo>
                  <a:pt x="29" y="28"/>
                  <a:pt x="29" y="28"/>
                  <a:pt x="29" y="28"/>
                </a:cubicBezTo>
                <a:cubicBezTo>
                  <a:pt x="29" y="26"/>
                  <a:pt x="29" y="26"/>
                  <a:pt x="29" y="26"/>
                </a:cubicBezTo>
                <a:cubicBezTo>
                  <a:pt x="28" y="24"/>
                  <a:pt x="28" y="24"/>
                  <a:pt x="28" y="24"/>
                </a:cubicBezTo>
                <a:cubicBezTo>
                  <a:pt x="29" y="23"/>
                  <a:pt x="29" y="23"/>
                  <a:pt x="29" y="23"/>
                </a:cubicBezTo>
                <a:cubicBezTo>
                  <a:pt x="30" y="22"/>
                  <a:pt x="30" y="22"/>
                  <a:pt x="30" y="22"/>
                </a:cubicBezTo>
                <a:cubicBezTo>
                  <a:pt x="31" y="24"/>
                  <a:pt x="31" y="24"/>
                  <a:pt x="31" y="24"/>
                </a:cubicBezTo>
                <a:cubicBezTo>
                  <a:pt x="32" y="26"/>
                  <a:pt x="32" y="26"/>
                  <a:pt x="32" y="26"/>
                </a:cubicBezTo>
                <a:cubicBezTo>
                  <a:pt x="33" y="29"/>
                  <a:pt x="33" y="29"/>
                  <a:pt x="33" y="29"/>
                </a:cubicBezTo>
                <a:cubicBezTo>
                  <a:pt x="33" y="30"/>
                  <a:pt x="33" y="30"/>
                  <a:pt x="33" y="30"/>
                </a:cubicBezTo>
                <a:cubicBezTo>
                  <a:pt x="34" y="30"/>
                  <a:pt x="34" y="30"/>
                  <a:pt x="34" y="30"/>
                </a:cubicBezTo>
                <a:cubicBezTo>
                  <a:pt x="35" y="31"/>
                  <a:pt x="35" y="31"/>
                  <a:pt x="35" y="31"/>
                </a:cubicBezTo>
                <a:cubicBezTo>
                  <a:pt x="36" y="31"/>
                  <a:pt x="36" y="31"/>
                  <a:pt x="36" y="31"/>
                </a:cubicBezTo>
                <a:cubicBezTo>
                  <a:pt x="37" y="33"/>
                  <a:pt x="37" y="33"/>
                  <a:pt x="37" y="33"/>
                </a:cubicBezTo>
                <a:cubicBezTo>
                  <a:pt x="38" y="33"/>
                  <a:pt x="38" y="33"/>
                  <a:pt x="38" y="33"/>
                </a:cubicBezTo>
                <a:cubicBezTo>
                  <a:pt x="39" y="35"/>
                  <a:pt x="39" y="35"/>
                  <a:pt x="39" y="35"/>
                </a:cubicBezTo>
                <a:cubicBezTo>
                  <a:pt x="41" y="36"/>
                  <a:pt x="41" y="36"/>
                  <a:pt x="41" y="36"/>
                </a:cubicBezTo>
                <a:cubicBezTo>
                  <a:pt x="43" y="36"/>
                  <a:pt x="43" y="36"/>
                  <a:pt x="43" y="36"/>
                </a:cubicBezTo>
                <a:cubicBezTo>
                  <a:pt x="44" y="37"/>
                  <a:pt x="44" y="37"/>
                  <a:pt x="44" y="37"/>
                </a:cubicBezTo>
                <a:cubicBezTo>
                  <a:pt x="44" y="38"/>
                  <a:pt x="44" y="38"/>
                  <a:pt x="44" y="38"/>
                </a:cubicBezTo>
                <a:cubicBezTo>
                  <a:pt x="44" y="39"/>
                  <a:pt x="44" y="39"/>
                  <a:pt x="44" y="39"/>
                </a:cubicBezTo>
                <a:cubicBezTo>
                  <a:pt x="44" y="40"/>
                  <a:pt x="44" y="40"/>
                  <a:pt x="44" y="40"/>
                </a:cubicBezTo>
                <a:cubicBezTo>
                  <a:pt x="43" y="40"/>
                  <a:pt x="43" y="40"/>
                  <a:pt x="43" y="40"/>
                </a:cubicBezTo>
                <a:cubicBezTo>
                  <a:pt x="43" y="39"/>
                  <a:pt x="43" y="39"/>
                  <a:pt x="43" y="39"/>
                </a:cubicBezTo>
                <a:cubicBezTo>
                  <a:pt x="41" y="39"/>
                  <a:pt x="41" y="39"/>
                  <a:pt x="41" y="39"/>
                </a:cubicBezTo>
                <a:cubicBezTo>
                  <a:pt x="41" y="39"/>
                  <a:pt x="41" y="39"/>
                  <a:pt x="41" y="39"/>
                </a:cubicBezTo>
                <a:cubicBezTo>
                  <a:pt x="39" y="40"/>
                  <a:pt x="39" y="40"/>
                  <a:pt x="39" y="40"/>
                </a:cubicBezTo>
                <a:cubicBezTo>
                  <a:pt x="38" y="40"/>
                  <a:pt x="38" y="40"/>
                  <a:pt x="38" y="40"/>
                </a:cubicBezTo>
                <a:cubicBezTo>
                  <a:pt x="37" y="41"/>
                  <a:pt x="37" y="41"/>
                  <a:pt x="37" y="41"/>
                </a:cubicBezTo>
                <a:cubicBezTo>
                  <a:pt x="38" y="42"/>
                  <a:pt x="38" y="42"/>
                  <a:pt x="38" y="42"/>
                </a:cubicBezTo>
                <a:cubicBezTo>
                  <a:pt x="38" y="42"/>
                  <a:pt x="38" y="42"/>
                  <a:pt x="38" y="42"/>
                </a:cubicBezTo>
                <a:cubicBezTo>
                  <a:pt x="36" y="43"/>
                  <a:pt x="36" y="43"/>
                  <a:pt x="36" y="43"/>
                </a:cubicBezTo>
                <a:cubicBezTo>
                  <a:pt x="36" y="44"/>
                  <a:pt x="36" y="44"/>
                  <a:pt x="36" y="44"/>
                </a:cubicBezTo>
                <a:cubicBezTo>
                  <a:pt x="36" y="46"/>
                  <a:pt x="36" y="46"/>
                  <a:pt x="36" y="46"/>
                </a:cubicBezTo>
                <a:cubicBezTo>
                  <a:pt x="37" y="48"/>
                  <a:pt x="37" y="48"/>
                  <a:pt x="37" y="48"/>
                </a:cubicBezTo>
                <a:cubicBezTo>
                  <a:pt x="36" y="49"/>
                  <a:pt x="36" y="49"/>
                  <a:pt x="36" y="49"/>
                </a:cubicBezTo>
                <a:cubicBezTo>
                  <a:pt x="36" y="50"/>
                  <a:pt x="36" y="50"/>
                  <a:pt x="36" y="50"/>
                </a:cubicBezTo>
                <a:cubicBezTo>
                  <a:pt x="37" y="51"/>
                  <a:pt x="37" y="51"/>
                  <a:pt x="37" y="51"/>
                </a:cubicBezTo>
                <a:cubicBezTo>
                  <a:pt x="36" y="52"/>
                  <a:pt x="36" y="52"/>
                  <a:pt x="36" y="52"/>
                </a:cubicBezTo>
                <a:cubicBezTo>
                  <a:pt x="35" y="51"/>
                  <a:pt x="35" y="51"/>
                  <a:pt x="35" y="51"/>
                </a:cubicBezTo>
                <a:cubicBezTo>
                  <a:pt x="34" y="52"/>
                  <a:pt x="34" y="52"/>
                  <a:pt x="34" y="52"/>
                </a:cubicBezTo>
                <a:cubicBezTo>
                  <a:pt x="34" y="53"/>
                  <a:pt x="34" y="53"/>
                  <a:pt x="34" y="53"/>
                </a:cubicBezTo>
                <a:cubicBezTo>
                  <a:pt x="35" y="54"/>
                  <a:pt x="35" y="54"/>
                  <a:pt x="35" y="54"/>
                </a:cubicBezTo>
                <a:cubicBezTo>
                  <a:pt x="35" y="56"/>
                  <a:pt x="35" y="56"/>
                  <a:pt x="35" y="56"/>
                </a:cubicBezTo>
                <a:cubicBezTo>
                  <a:pt x="35" y="57"/>
                  <a:pt x="35" y="57"/>
                  <a:pt x="35" y="57"/>
                </a:cubicBezTo>
                <a:cubicBezTo>
                  <a:pt x="35" y="59"/>
                  <a:pt x="35" y="59"/>
                  <a:pt x="35" y="59"/>
                </a:cubicBezTo>
                <a:cubicBezTo>
                  <a:pt x="35" y="60"/>
                  <a:pt x="35" y="60"/>
                  <a:pt x="35" y="60"/>
                </a:cubicBezTo>
                <a:cubicBezTo>
                  <a:pt x="34" y="60"/>
                  <a:pt x="34" y="60"/>
                  <a:pt x="34" y="60"/>
                </a:cubicBezTo>
                <a:cubicBezTo>
                  <a:pt x="33" y="60"/>
                  <a:pt x="33" y="60"/>
                  <a:pt x="33" y="60"/>
                </a:cubicBezTo>
                <a:cubicBezTo>
                  <a:pt x="32" y="61"/>
                  <a:pt x="32" y="61"/>
                  <a:pt x="32" y="61"/>
                </a:cubicBezTo>
                <a:cubicBezTo>
                  <a:pt x="33" y="61"/>
                  <a:pt x="33" y="61"/>
                  <a:pt x="33" y="61"/>
                </a:cubicBezTo>
                <a:cubicBezTo>
                  <a:pt x="33" y="62"/>
                  <a:pt x="33" y="62"/>
                  <a:pt x="33" y="62"/>
                </a:cubicBezTo>
                <a:cubicBezTo>
                  <a:pt x="32" y="63"/>
                  <a:pt x="32" y="63"/>
                  <a:pt x="32" y="63"/>
                </a:cubicBezTo>
                <a:cubicBezTo>
                  <a:pt x="32" y="64"/>
                  <a:pt x="32" y="64"/>
                  <a:pt x="32" y="64"/>
                </a:cubicBezTo>
                <a:cubicBezTo>
                  <a:pt x="32" y="65"/>
                  <a:pt x="32" y="65"/>
                  <a:pt x="32" y="65"/>
                </a:cubicBezTo>
                <a:cubicBezTo>
                  <a:pt x="32" y="68"/>
                  <a:pt x="32" y="68"/>
                  <a:pt x="32" y="68"/>
                </a:cubicBezTo>
                <a:cubicBezTo>
                  <a:pt x="31" y="70"/>
                  <a:pt x="31" y="70"/>
                  <a:pt x="31" y="70"/>
                </a:cubicBezTo>
                <a:cubicBezTo>
                  <a:pt x="31" y="70"/>
                  <a:pt x="31" y="70"/>
                  <a:pt x="31" y="70"/>
                </a:cubicBezTo>
                <a:cubicBezTo>
                  <a:pt x="31" y="72"/>
                  <a:pt x="31" y="72"/>
                  <a:pt x="31" y="72"/>
                </a:cubicBezTo>
                <a:cubicBezTo>
                  <a:pt x="32" y="73"/>
                  <a:pt x="32" y="73"/>
                  <a:pt x="32" y="73"/>
                </a:cubicBezTo>
                <a:cubicBezTo>
                  <a:pt x="31" y="74"/>
                  <a:pt x="31" y="74"/>
                  <a:pt x="31" y="74"/>
                </a:cubicBezTo>
                <a:cubicBezTo>
                  <a:pt x="31" y="74"/>
                  <a:pt x="31" y="74"/>
                  <a:pt x="31" y="74"/>
                </a:cubicBezTo>
                <a:cubicBezTo>
                  <a:pt x="31" y="76"/>
                  <a:pt x="31" y="76"/>
                  <a:pt x="31" y="76"/>
                </a:cubicBezTo>
                <a:cubicBezTo>
                  <a:pt x="30" y="77"/>
                  <a:pt x="30" y="77"/>
                  <a:pt x="30" y="77"/>
                </a:cubicBezTo>
                <a:cubicBezTo>
                  <a:pt x="29" y="77"/>
                  <a:pt x="29" y="77"/>
                  <a:pt x="29" y="77"/>
                </a:cubicBezTo>
                <a:close/>
                <a:moveTo>
                  <a:pt x="43" y="109"/>
                </a:moveTo>
                <a:cubicBezTo>
                  <a:pt x="44" y="108"/>
                  <a:pt x="44" y="108"/>
                  <a:pt x="44" y="108"/>
                </a:cubicBezTo>
                <a:cubicBezTo>
                  <a:pt x="44" y="107"/>
                  <a:pt x="44" y="107"/>
                  <a:pt x="44" y="107"/>
                </a:cubicBezTo>
                <a:cubicBezTo>
                  <a:pt x="43" y="106"/>
                  <a:pt x="43" y="106"/>
                  <a:pt x="43" y="106"/>
                </a:cubicBezTo>
                <a:cubicBezTo>
                  <a:pt x="42" y="106"/>
                  <a:pt x="42" y="106"/>
                  <a:pt x="42" y="106"/>
                </a:cubicBezTo>
                <a:cubicBezTo>
                  <a:pt x="42" y="106"/>
                  <a:pt x="42" y="106"/>
                  <a:pt x="42" y="106"/>
                </a:cubicBezTo>
                <a:cubicBezTo>
                  <a:pt x="42" y="107"/>
                  <a:pt x="42" y="107"/>
                  <a:pt x="42" y="107"/>
                </a:cubicBezTo>
                <a:cubicBezTo>
                  <a:pt x="43" y="108"/>
                  <a:pt x="43" y="108"/>
                  <a:pt x="43" y="108"/>
                </a:cubicBezTo>
                <a:cubicBezTo>
                  <a:pt x="43" y="109"/>
                  <a:pt x="43" y="109"/>
                  <a:pt x="43" y="109"/>
                </a:cubicBez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5" name="Freeform 13">
            <a:extLst>
              <a:ext uri="{FF2B5EF4-FFF2-40B4-BE49-F238E27FC236}">
                <a16:creationId xmlns:a16="http://schemas.microsoft.com/office/drawing/2014/main" id="{0D2C7C60-2ABD-92F1-C615-52E82675E27C}"/>
              </a:ext>
            </a:extLst>
          </p:cNvPr>
          <p:cNvSpPr>
            <a:spLocks noEditPoints="1"/>
          </p:cNvSpPr>
          <p:nvPr userDrawn="1"/>
        </p:nvSpPr>
        <p:spPr bwMode="auto">
          <a:xfrm>
            <a:off x="20810769" y="5860333"/>
            <a:ext cx="981014" cy="1898650"/>
          </a:xfrm>
          <a:custGeom>
            <a:avLst/>
            <a:gdLst>
              <a:gd name="T0" fmla="*/ 128 w 309"/>
              <a:gd name="T1" fmla="*/ 288 h 598"/>
              <a:gd name="T2" fmla="*/ 12 w 309"/>
              <a:gd name="T3" fmla="*/ 591 h 598"/>
              <a:gd name="T4" fmla="*/ 68 w 309"/>
              <a:gd name="T5" fmla="*/ 544 h 598"/>
              <a:gd name="T6" fmla="*/ 68 w 309"/>
              <a:gd name="T7" fmla="*/ 544 h 598"/>
              <a:gd name="T8" fmla="*/ 90 w 309"/>
              <a:gd name="T9" fmla="*/ 497 h 598"/>
              <a:gd name="T10" fmla="*/ 93 w 309"/>
              <a:gd name="T11" fmla="*/ 497 h 598"/>
              <a:gd name="T12" fmla="*/ 215 w 309"/>
              <a:gd name="T13" fmla="*/ 125 h 598"/>
              <a:gd name="T14" fmla="*/ 206 w 309"/>
              <a:gd name="T15" fmla="*/ 84 h 598"/>
              <a:gd name="T16" fmla="*/ 222 w 309"/>
              <a:gd name="T17" fmla="*/ 72 h 598"/>
              <a:gd name="T18" fmla="*/ 222 w 309"/>
              <a:gd name="T19" fmla="*/ 44 h 598"/>
              <a:gd name="T20" fmla="*/ 219 w 309"/>
              <a:gd name="T21" fmla="*/ 0 h 598"/>
              <a:gd name="T22" fmla="*/ 272 w 309"/>
              <a:gd name="T23" fmla="*/ 41 h 598"/>
              <a:gd name="T24" fmla="*/ 294 w 309"/>
              <a:gd name="T25" fmla="*/ 47 h 598"/>
              <a:gd name="T26" fmla="*/ 306 w 309"/>
              <a:gd name="T27" fmla="*/ 63 h 598"/>
              <a:gd name="T28" fmla="*/ 275 w 309"/>
              <a:gd name="T29" fmla="*/ 88 h 598"/>
              <a:gd name="T30" fmla="*/ 240 w 309"/>
              <a:gd name="T31" fmla="*/ 88 h 598"/>
              <a:gd name="T32" fmla="*/ 225 w 309"/>
              <a:gd name="T33" fmla="*/ 100 h 598"/>
              <a:gd name="T34" fmla="*/ 219 w 309"/>
              <a:gd name="T35" fmla="*/ 128 h 598"/>
              <a:gd name="T36" fmla="*/ 215 w 309"/>
              <a:gd name="T37" fmla="*/ 225 h 598"/>
              <a:gd name="T38" fmla="*/ 68 w 309"/>
              <a:gd name="T39" fmla="*/ 369 h 598"/>
              <a:gd name="T40" fmla="*/ 62 w 309"/>
              <a:gd name="T41" fmla="*/ 379 h 598"/>
              <a:gd name="T42" fmla="*/ 59 w 309"/>
              <a:gd name="T43" fmla="*/ 385 h 598"/>
              <a:gd name="T44" fmla="*/ 87 w 309"/>
              <a:gd name="T45" fmla="*/ 394 h 598"/>
              <a:gd name="T46" fmla="*/ 84 w 309"/>
              <a:gd name="T47" fmla="*/ 385 h 598"/>
              <a:gd name="T48" fmla="*/ 156 w 309"/>
              <a:gd name="T49" fmla="*/ 332 h 598"/>
              <a:gd name="T50" fmla="*/ 144 w 309"/>
              <a:gd name="T51" fmla="*/ 372 h 598"/>
              <a:gd name="T52" fmla="*/ 172 w 309"/>
              <a:gd name="T53" fmla="*/ 344 h 598"/>
              <a:gd name="T54" fmla="*/ 137 w 309"/>
              <a:gd name="T55" fmla="*/ 347 h 598"/>
              <a:gd name="T56" fmla="*/ 137 w 309"/>
              <a:gd name="T57" fmla="*/ 372 h 598"/>
              <a:gd name="T58" fmla="*/ 115 w 309"/>
              <a:gd name="T59" fmla="*/ 435 h 598"/>
              <a:gd name="T60" fmla="*/ 112 w 309"/>
              <a:gd name="T61" fmla="*/ 413 h 598"/>
              <a:gd name="T62" fmla="*/ 122 w 309"/>
              <a:gd name="T63" fmla="*/ 372 h 598"/>
              <a:gd name="T64" fmla="*/ 106 w 309"/>
              <a:gd name="T65" fmla="*/ 357 h 598"/>
              <a:gd name="T66" fmla="*/ 122 w 309"/>
              <a:gd name="T67" fmla="*/ 335 h 598"/>
              <a:gd name="T68" fmla="*/ 156 w 309"/>
              <a:gd name="T69" fmla="*/ 325 h 598"/>
              <a:gd name="T70" fmla="*/ 175 w 309"/>
              <a:gd name="T71" fmla="*/ 344 h 598"/>
              <a:gd name="T72" fmla="*/ 203 w 309"/>
              <a:gd name="T73" fmla="*/ 332 h 598"/>
              <a:gd name="T74" fmla="*/ 206 w 309"/>
              <a:gd name="T75" fmla="*/ 319 h 598"/>
              <a:gd name="T76" fmla="*/ 219 w 309"/>
              <a:gd name="T77" fmla="*/ 319 h 598"/>
              <a:gd name="T78" fmla="*/ 247 w 309"/>
              <a:gd name="T79" fmla="*/ 316 h 598"/>
              <a:gd name="T80" fmla="*/ 259 w 309"/>
              <a:gd name="T81" fmla="*/ 300 h 598"/>
              <a:gd name="T82" fmla="*/ 272 w 309"/>
              <a:gd name="T83" fmla="*/ 278 h 598"/>
              <a:gd name="T84" fmla="*/ 275 w 309"/>
              <a:gd name="T85" fmla="*/ 213 h 598"/>
              <a:gd name="T86" fmla="*/ 272 w 309"/>
              <a:gd name="T87" fmla="*/ 181 h 598"/>
              <a:gd name="T88" fmla="*/ 244 w 309"/>
              <a:gd name="T89" fmla="*/ 125 h 598"/>
              <a:gd name="T90" fmla="*/ 244 w 309"/>
              <a:gd name="T91" fmla="*/ 135 h 598"/>
              <a:gd name="T92" fmla="*/ 225 w 309"/>
              <a:gd name="T93" fmla="*/ 131 h 598"/>
              <a:gd name="T94" fmla="*/ 219 w 309"/>
              <a:gd name="T95" fmla="*/ 169 h 598"/>
              <a:gd name="T96" fmla="*/ 222 w 309"/>
              <a:gd name="T97" fmla="*/ 235 h 598"/>
              <a:gd name="T98" fmla="*/ 194 w 309"/>
              <a:gd name="T99" fmla="*/ 247 h 598"/>
              <a:gd name="T100" fmla="*/ 181 w 309"/>
              <a:gd name="T101" fmla="*/ 278 h 598"/>
              <a:gd name="T102" fmla="*/ 172 w 309"/>
              <a:gd name="T103" fmla="*/ 300 h 598"/>
              <a:gd name="T104" fmla="*/ 134 w 309"/>
              <a:gd name="T105" fmla="*/ 303 h 598"/>
              <a:gd name="T106" fmla="*/ 93 w 309"/>
              <a:gd name="T107" fmla="*/ 338 h 598"/>
              <a:gd name="T108" fmla="*/ 75 w 309"/>
              <a:gd name="T109" fmla="*/ 366 h 598"/>
              <a:gd name="T110" fmla="*/ 78 w 309"/>
              <a:gd name="T111" fmla="*/ 382 h 598"/>
              <a:gd name="T112" fmla="*/ 84 w 309"/>
              <a:gd name="T113" fmla="*/ 372 h 598"/>
              <a:gd name="T114" fmla="*/ 93 w 309"/>
              <a:gd name="T115" fmla="*/ 410 h 598"/>
              <a:gd name="T116" fmla="*/ 106 w 309"/>
              <a:gd name="T117" fmla="*/ 407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9" h="598">
                <a:moveTo>
                  <a:pt x="125" y="288"/>
                </a:moveTo>
                <a:lnTo>
                  <a:pt x="125" y="288"/>
                </a:lnTo>
                <a:lnTo>
                  <a:pt x="125" y="291"/>
                </a:lnTo>
                <a:lnTo>
                  <a:pt x="125" y="288"/>
                </a:lnTo>
                <a:lnTo>
                  <a:pt x="125" y="288"/>
                </a:lnTo>
                <a:lnTo>
                  <a:pt x="125" y="288"/>
                </a:lnTo>
                <a:close/>
                <a:moveTo>
                  <a:pt x="128" y="288"/>
                </a:moveTo>
                <a:lnTo>
                  <a:pt x="128" y="285"/>
                </a:lnTo>
                <a:lnTo>
                  <a:pt x="128" y="282"/>
                </a:lnTo>
                <a:lnTo>
                  <a:pt x="131" y="282"/>
                </a:lnTo>
                <a:lnTo>
                  <a:pt x="131" y="285"/>
                </a:lnTo>
                <a:lnTo>
                  <a:pt x="128" y="288"/>
                </a:lnTo>
                <a:lnTo>
                  <a:pt x="128" y="288"/>
                </a:lnTo>
                <a:lnTo>
                  <a:pt x="128" y="288"/>
                </a:lnTo>
                <a:close/>
                <a:moveTo>
                  <a:pt x="6" y="598"/>
                </a:moveTo>
                <a:lnTo>
                  <a:pt x="3" y="594"/>
                </a:lnTo>
                <a:lnTo>
                  <a:pt x="0" y="594"/>
                </a:lnTo>
                <a:lnTo>
                  <a:pt x="0" y="598"/>
                </a:lnTo>
                <a:lnTo>
                  <a:pt x="3" y="598"/>
                </a:lnTo>
                <a:lnTo>
                  <a:pt x="6" y="598"/>
                </a:lnTo>
                <a:lnTo>
                  <a:pt x="6" y="598"/>
                </a:lnTo>
                <a:close/>
                <a:moveTo>
                  <a:pt x="6" y="591"/>
                </a:moveTo>
                <a:lnTo>
                  <a:pt x="9" y="591"/>
                </a:lnTo>
                <a:lnTo>
                  <a:pt x="12" y="591"/>
                </a:lnTo>
                <a:lnTo>
                  <a:pt x="9" y="594"/>
                </a:lnTo>
                <a:lnTo>
                  <a:pt x="9" y="594"/>
                </a:lnTo>
                <a:lnTo>
                  <a:pt x="6" y="591"/>
                </a:lnTo>
                <a:lnTo>
                  <a:pt x="6" y="591"/>
                </a:lnTo>
                <a:close/>
                <a:moveTo>
                  <a:pt x="25" y="579"/>
                </a:moveTo>
                <a:lnTo>
                  <a:pt x="25" y="582"/>
                </a:lnTo>
                <a:lnTo>
                  <a:pt x="28" y="585"/>
                </a:lnTo>
                <a:lnTo>
                  <a:pt x="28" y="585"/>
                </a:lnTo>
                <a:lnTo>
                  <a:pt x="31" y="582"/>
                </a:lnTo>
                <a:lnTo>
                  <a:pt x="25" y="579"/>
                </a:lnTo>
                <a:lnTo>
                  <a:pt x="25" y="579"/>
                </a:lnTo>
                <a:close/>
                <a:moveTo>
                  <a:pt x="68" y="544"/>
                </a:moveTo>
                <a:lnTo>
                  <a:pt x="65" y="538"/>
                </a:lnTo>
                <a:lnTo>
                  <a:pt x="72" y="538"/>
                </a:lnTo>
                <a:lnTo>
                  <a:pt x="72" y="535"/>
                </a:lnTo>
                <a:lnTo>
                  <a:pt x="68" y="535"/>
                </a:lnTo>
                <a:lnTo>
                  <a:pt x="75" y="532"/>
                </a:lnTo>
                <a:lnTo>
                  <a:pt x="75" y="529"/>
                </a:lnTo>
                <a:lnTo>
                  <a:pt x="78" y="532"/>
                </a:lnTo>
                <a:lnTo>
                  <a:pt x="75" y="535"/>
                </a:lnTo>
                <a:lnTo>
                  <a:pt x="75" y="538"/>
                </a:lnTo>
                <a:lnTo>
                  <a:pt x="72" y="541"/>
                </a:lnTo>
                <a:lnTo>
                  <a:pt x="72" y="544"/>
                </a:lnTo>
                <a:lnTo>
                  <a:pt x="68" y="544"/>
                </a:lnTo>
                <a:lnTo>
                  <a:pt x="68" y="544"/>
                </a:lnTo>
                <a:close/>
                <a:moveTo>
                  <a:pt x="87" y="504"/>
                </a:moveTo>
                <a:lnTo>
                  <a:pt x="87" y="507"/>
                </a:lnTo>
                <a:lnTo>
                  <a:pt x="90" y="510"/>
                </a:lnTo>
                <a:lnTo>
                  <a:pt x="87" y="510"/>
                </a:lnTo>
                <a:lnTo>
                  <a:pt x="84" y="510"/>
                </a:lnTo>
                <a:lnTo>
                  <a:pt x="84" y="507"/>
                </a:lnTo>
                <a:lnTo>
                  <a:pt x="87" y="504"/>
                </a:lnTo>
                <a:lnTo>
                  <a:pt x="87" y="504"/>
                </a:lnTo>
                <a:close/>
                <a:moveTo>
                  <a:pt x="93" y="497"/>
                </a:moveTo>
                <a:lnTo>
                  <a:pt x="93" y="497"/>
                </a:lnTo>
                <a:lnTo>
                  <a:pt x="90" y="497"/>
                </a:lnTo>
                <a:lnTo>
                  <a:pt x="87" y="494"/>
                </a:lnTo>
                <a:lnTo>
                  <a:pt x="90" y="494"/>
                </a:lnTo>
                <a:lnTo>
                  <a:pt x="93" y="491"/>
                </a:lnTo>
                <a:lnTo>
                  <a:pt x="93" y="491"/>
                </a:lnTo>
                <a:lnTo>
                  <a:pt x="93" y="491"/>
                </a:lnTo>
                <a:lnTo>
                  <a:pt x="97" y="488"/>
                </a:lnTo>
                <a:lnTo>
                  <a:pt x="97" y="488"/>
                </a:lnTo>
                <a:lnTo>
                  <a:pt x="100" y="488"/>
                </a:lnTo>
                <a:lnTo>
                  <a:pt x="100" y="491"/>
                </a:lnTo>
                <a:lnTo>
                  <a:pt x="97" y="494"/>
                </a:lnTo>
                <a:lnTo>
                  <a:pt x="93" y="497"/>
                </a:lnTo>
                <a:lnTo>
                  <a:pt x="93" y="497"/>
                </a:lnTo>
                <a:lnTo>
                  <a:pt x="93" y="497"/>
                </a:lnTo>
                <a:close/>
                <a:moveTo>
                  <a:pt x="197" y="106"/>
                </a:moveTo>
                <a:lnTo>
                  <a:pt x="194" y="106"/>
                </a:lnTo>
                <a:lnTo>
                  <a:pt x="194" y="103"/>
                </a:lnTo>
                <a:lnTo>
                  <a:pt x="197" y="100"/>
                </a:lnTo>
                <a:lnTo>
                  <a:pt x="200" y="100"/>
                </a:lnTo>
                <a:lnTo>
                  <a:pt x="197" y="103"/>
                </a:lnTo>
                <a:lnTo>
                  <a:pt x="197" y="106"/>
                </a:lnTo>
                <a:lnTo>
                  <a:pt x="197" y="106"/>
                </a:lnTo>
                <a:lnTo>
                  <a:pt x="197" y="106"/>
                </a:lnTo>
                <a:close/>
                <a:moveTo>
                  <a:pt x="219" y="128"/>
                </a:moveTo>
                <a:lnTo>
                  <a:pt x="215" y="125"/>
                </a:lnTo>
                <a:lnTo>
                  <a:pt x="215" y="122"/>
                </a:lnTo>
                <a:lnTo>
                  <a:pt x="215" y="122"/>
                </a:lnTo>
                <a:lnTo>
                  <a:pt x="215" y="113"/>
                </a:lnTo>
                <a:lnTo>
                  <a:pt x="212" y="106"/>
                </a:lnTo>
                <a:lnTo>
                  <a:pt x="209" y="103"/>
                </a:lnTo>
                <a:lnTo>
                  <a:pt x="206" y="103"/>
                </a:lnTo>
                <a:lnTo>
                  <a:pt x="203" y="103"/>
                </a:lnTo>
                <a:lnTo>
                  <a:pt x="203" y="100"/>
                </a:lnTo>
                <a:lnTo>
                  <a:pt x="203" y="94"/>
                </a:lnTo>
                <a:lnTo>
                  <a:pt x="203" y="91"/>
                </a:lnTo>
                <a:lnTo>
                  <a:pt x="203" y="88"/>
                </a:lnTo>
                <a:lnTo>
                  <a:pt x="206" y="84"/>
                </a:lnTo>
                <a:lnTo>
                  <a:pt x="206" y="84"/>
                </a:lnTo>
                <a:lnTo>
                  <a:pt x="209" y="84"/>
                </a:lnTo>
                <a:lnTo>
                  <a:pt x="212" y="78"/>
                </a:lnTo>
                <a:lnTo>
                  <a:pt x="212" y="78"/>
                </a:lnTo>
                <a:lnTo>
                  <a:pt x="212" y="75"/>
                </a:lnTo>
                <a:lnTo>
                  <a:pt x="209" y="72"/>
                </a:lnTo>
                <a:lnTo>
                  <a:pt x="206" y="72"/>
                </a:lnTo>
                <a:lnTo>
                  <a:pt x="206" y="72"/>
                </a:lnTo>
                <a:lnTo>
                  <a:pt x="206" y="69"/>
                </a:lnTo>
                <a:lnTo>
                  <a:pt x="209" y="69"/>
                </a:lnTo>
                <a:lnTo>
                  <a:pt x="215" y="72"/>
                </a:lnTo>
                <a:lnTo>
                  <a:pt x="222" y="72"/>
                </a:lnTo>
                <a:lnTo>
                  <a:pt x="225" y="69"/>
                </a:lnTo>
                <a:lnTo>
                  <a:pt x="225" y="66"/>
                </a:lnTo>
                <a:lnTo>
                  <a:pt x="225" y="66"/>
                </a:lnTo>
                <a:lnTo>
                  <a:pt x="225" y="63"/>
                </a:lnTo>
                <a:lnTo>
                  <a:pt x="225" y="63"/>
                </a:lnTo>
                <a:lnTo>
                  <a:pt x="222" y="59"/>
                </a:lnTo>
                <a:lnTo>
                  <a:pt x="222" y="56"/>
                </a:lnTo>
                <a:lnTo>
                  <a:pt x="219" y="53"/>
                </a:lnTo>
                <a:lnTo>
                  <a:pt x="222" y="50"/>
                </a:lnTo>
                <a:lnTo>
                  <a:pt x="225" y="50"/>
                </a:lnTo>
                <a:lnTo>
                  <a:pt x="225" y="47"/>
                </a:lnTo>
                <a:lnTo>
                  <a:pt x="222" y="44"/>
                </a:lnTo>
                <a:lnTo>
                  <a:pt x="222" y="38"/>
                </a:lnTo>
                <a:lnTo>
                  <a:pt x="222" y="34"/>
                </a:lnTo>
                <a:lnTo>
                  <a:pt x="222" y="28"/>
                </a:lnTo>
                <a:lnTo>
                  <a:pt x="219" y="25"/>
                </a:lnTo>
                <a:lnTo>
                  <a:pt x="212" y="13"/>
                </a:lnTo>
                <a:lnTo>
                  <a:pt x="212" y="9"/>
                </a:lnTo>
                <a:lnTo>
                  <a:pt x="209" y="6"/>
                </a:lnTo>
                <a:lnTo>
                  <a:pt x="212" y="3"/>
                </a:lnTo>
                <a:lnTo>
                  <a:pt x="212" y="3"/>
                </a:lnTo>
                <a:lnTo>
                  <a:pt x="215" y="3"/>
                </a:lnTo>
                <a:lnTo>
                  <a:pt x="215" y="0"/>
                </a:lnTo>
                <a:lnTo>
                  <a:pt x="219" y="0"/>
                </a:lnTo>
                <a:lnTo>
                  <a:pt x="219" y="3"/>
                </a:lnTo>
                <a:lnTo>
                  <a:pt x="228" y="9"/>
                </a:lnTo>
                <a:lnTo>
                  <a:pt x="231" y="9"/>
                </a:lnTo>
                <a:lnTo>
                  <a:pt x="234" y="16"/>
                </a:lnTo>
                <a:lnTo>
                  <a:pt x="244" y="25"/>
                </a:lnTo>
                <a:lnTo>
                  <a:pt x="250" y="28"/>
                </a:lnTo>
                <a:lnTo>
                  <a:pt x="250" y="31"/>
                </a:lnTo>
                <a:lnTo>
                  <a:pt x="253" y="31"/>
                </a:lnTo>
                <a:lnTo>
                  <a:pt x="256" y="34"/>
                </a:lnTo>
                <a:lnTo>
                  <a:pt x="262" y="38"/>
                </a:lnTo>
                <a:lnTo>
                  <a:pt x="269" y="38"/>
                </a:lnTo>
                <a:lnTo>
                  <a:pt x="272" y="41"/>
                </a:lnTo>
                <a:lnTo>
                  <a:pt x="275" y="41"/>
                </a:lnTo>
                <a:lnTo>
                  <a:pt x="275" y="41"/>
                </a:lnTo>
                <a:lnTo>
                  <a:pt x="281" y="41"/>
                </a:lnTo>
                <a:lnTo>
                  <a:pt x="287" y="38"/>
                </a:lnTo>
                <a:lnTo>
                  <a:pt x="290" y="34"/>
                </a:lnTo>
                <a:lnTo>
                  <a:pt x="290" y="28"/>
                </a:lnTo>
                <a:lnTo>
                  <a:pt x="294" y="28"/>
                </a:lnTo>
                <a:lnTo>
                  <a:pt x="294" y="31"/>
                </a:lnTo>
                <a:lnTo>
                  <a:pt x="294" y="34"/>
                </a:lnTo>
                <a:lnTo>
                  <a:pt x="290" y="41"/>
                </a:lnTo>
                <a:lnTo>
                  <a:pt x="290" y="44"/>
                </a:lnTo>
                <a:lnTo>
                  <a:pt x="294" y="47"/>
                </a:lnTo>
                <a:lnTo>
                  <a:pt x="297" y="50"/>
                </a:lnTo>
                <a:lnTo>
                  <a:pt x="300" y="53"/>
                </a:lnTo>
                <a:lnTo>
                  <a:pt x="300" y="56"/>
                </a:lnTo>
                <a:lnTo>
                  <a:pt x="300" y="59"/>
                </a:lnTo>
                <a:lnTo>
                  <a:pt x="303" y="59"/>
                </a:lnTo>
                <a:lnTo>
                  <a:pt x="306" y="56"/>
                </a:lnTo>
                <a:lnTo>
                  <a:pt x="309" y="53"/>
                </a:lnTo>
                <a:lnTo>
                  <a:pt x="309" y="53"/>
                </a:lnTo>
                <a:lnTo>
                  <a:pt x="309" y="56"/>
                </a:lnTo>
                <a:lnTo>
                  <a:pt x="306" y="56"/>
                </a:lnTo>
                <a:lnTo>
                  <a:pt x="306" y="59"/>
                </a:lnTo>
                <a:lnTo>
                  <a:pt x="306" y="63"/>
                </a:lnTo>
                <a:lnTo>
                  <a:pt x="300" y="63"/>
                </a:lnTo>
                <a:lnTo>
                  <a:pt x="300" y="66"/>
                </a:lnTo>
                <a:lnTo>
                  <a:pt x="300" y="69"/>
                </a:lnTo>
                <a:lnTo>
                  <a:pt x="297" y="69"/>
                </a:lnTo>
                <a:lnTo>
                  <a:pt x="294" y="69"/>
                </a:lnTo>
                <a:lnTo>
                  <a:pt x="294" y="69"/>
                </a:lnTo>
                <a:lnTo>
                  <a:pt x="294" y="72"/>
                </a:lnTo>
                <a:lnTo>
                  <a:pt x="287" y="72"/>
                </a:lnTo>
                <a:lnTo>
                  <a:pt x="284" y="72"/>
                </a:lnTo>
                <a:lnTo>
                  <a:pt x="281" y="72"/>
                </a:lnTo>
                <a:lnTo>
                  <a:pt x="275" y="78"/>
                </a:lnTo>
                <a:lnTo>
                  <a:pt x="275" y="88"/>
                </a:lnTo>
                <a:lnTo>
                  <a:pt x="272" y="94"/>
                </a:lnTo>
                <a:lnTo>
                  <a:pt x="275" y="97"/>
                </a:lnTo>
                <a:lnTo>
                  <a:pt x="272" y="100"/>
                </a:lnTo>
                <a:lnTo>
                  <a:pt x="272" y="103"/>
                </a:lnTo>
                <a:lnTo>
                  <a:pt x="269" y="103"/>
                </a:lnTo>
                <a:lnTo>
                  <a:pt x="269" y="100"/>
                </a:lnTo>
                <a:lnTo>
                  <a:pt x="262" y="97"/>
                </a:lnTo>
                <a:lnTo>
                  <a:pt x="256" y="94"/>
                </a:lnTo>
                <a:lnTo>
                  <a:pt x="250" y="91"/>
                </a:lnTo>
                <a:lnTo>
                  <a:pt x="247" y="88"/>
                </a:lnTo>
                <a:lnTo>
                  <a:pt x="244" y="88"/>
                </a:lnTo>
                <a:lnTo>
                  <a:pt x="240" y="88"/>
                </a:lnTo>
                <a:lnTo>
                  <a:pt x="240" y="84"/>
                </a:lnTo>
                <a:lnTo>
                  <a:pt x="234" y="84"/>
                </a:lnTo>
                <a:lnTo>
                  <a:pt x="231" y="88"/>
                </a:lnTo>
                <a:lnTo>
                  <a:pt x="225" y="94"/>
                </a:lnTo>
                <a:lnTo>
                  <a:pt x="225" y="94"/>
                </a:lnTo>
                <a:lnTo>
                  <a:pt x="219" y="91"/>
                </a:lnTo>
                <a:lnTo>
                  <a:pt x="215" y="91"/>
                </a:lnTo>
                <a:lnTo>
                  <a:pt x="215" y="94"/>
                </a:lnTo>
                <a:lnTo>
                  <a:pt x="215" y="97"/>
                </a:lnTo>
                <a:lnTo>
                  <a:pt x="215" y="100"/>
                </a:lnTo>
                <a:lnTo>
                  <a:pt x="219" y="103"/>
                </a:lnTo>
                <a:lnTo>
                  <a:pt x="225" y="100"/>
                </a:lnTo>
                <a:lnTo>
                  <a:pt x="228" y="106"/>
                </a:lnTo>
                <a:lnTo>
                  <a:pt x="234" y="106"/>
                </a:lnTo>
                <a:lnTo>
                  <a:pt x="237" y="106"/>
                </a:lnTo>
                <a:lnTo>
                  <a:pt x="240" y="110"/>
                </a:lnTo>
                <a:lnTo>
                  <a:pt x="237" y="113"/>
                </a:lnTo>
                <a:lnTo>
                  <a:pt x="234" y="116"/>
                </a:lnTo>
                <a:lnTo>
                  <a:pt x="231" y="116"/>
                </a:lnTo>
                <a:lnTo>
                  <a:pt x="228" y="113"/>
                </a:lnTo>
                <a:lnTo>
                  <a:pt x="225" y="116"/>
                </a:lnTo>
                <a:lnTo>
                  <a:pt x="225" y="119"/>
                </a:lnTo>
                <a:lnTo>
                  <a:pt x="225" y="122"/>
                </a:lnTo>
                <a:lnTo>
                  <a:pt x="219" y="128"/>
                </a:lnTo>
                <a:lnTo>
                  <a:pt x="219" y="128"/>
                </a:lnTo>
                <a:close/>
                <a:moveTo>
                  <a:pt x="212" y="235"/>
                </a:moveTo>
                <a:lnTo>
                  <a:pt x="212" y="232"/>
                </a:lnTo>
                <a:lnTo>
                  <a:pt x="215" y="228"/>
                </a:lnTo>
                <a:lnTo>
                  <a:pt x="212" y="228"/>
                </a:lnTo>
                <a:lnTo>
                  <a:pt x="212" y="232"/>
                </a:lnTo>
                <a:lnTo>
                  <a:pt x="212" y="228"/>
                </a:lnTo>
                <a:lnTo>
                  <a:pt x="212" y="222"/>
                </a:lnTo>
                <a:lnTo>
                  <a:pt x="215" y="219"/>
                </a:lnTo>
                <a:lnTo>
                  <a:pt x="215" y="222"/>
                </a:lnTo>
                <a:lnTo>
                  <a:pt x="215" y="225"/>
                </a:lnTo>
                <a:lnTo>
                  <a:pt x="215" y="225"/>
                </a:lnTo>
                <a:lnTo>
                  <a:pt x="219" y="228"/>
                </a:lnTo>
                <a:lnTo>
                  <a:pt x="215" y="232"/>
                </a:lnTo>
                <a:lnTo>
                  <a:pt x="215" y="235"/>
                </a:lnTo>
                <a:lnTo>
                  <a:pt x="212" y="235"/>
                </a:lnTo>
                <a:lnTo>
                  <a:pt x="212" y="235"/>
                </a:lnTo>
                <a:close/>
                <a:moveTo>
                  <a:pt x="68" y="369"/>
                </a:moveTo>
                <a:lnTo>
                  <a:pt x="72" y="369"/>
                </a:lnTo>
                <a:lnTo>
                  <a:pt x="72" y="369"/>
                </a:lnTo>
                <a:lnTo>
                  <a:pt x="68" y="369"/>
                </a:lnTo>
                <a:lnTo>
                  <a:pt x="68" y="369"/>
                </a:lnTo>
                <a:lnTo>
                  <a:pt x="68" y="369"/>
                </a:lnTo>
                <a:lnTo>
                  <a:pt x="68" y="369"/>
                </a:lnTo>
                <a:close/>
                <a:moveTo>
                  <a:pt x="68" y="372"/>
                </a:moveTo>
                <a:lnTo>
                  <a:pt x="68" y="372"/>
                </a:lnTo>
                <a:lnTo>
                  <a:pt x="68" y="372"/>
                </a:lnTo>
                <a:lnTo>
                  <a:pt x="68" y="372"/>
                </a:lnTo>
                <a:lnTo>
                  <a:pt x="68" y="372"/>
                </a:lnTo>
                <a:close/>
                <a:moveTo>
                  <a:pt x="65" y="372"/>
                </a:moveTo>
                <a:lnTo>
                  <a:pt x="65" y="375"/>
                </a:lnTo>
                <a:lnTo>
                  <a:pt x="68" y="372"/>
                </a:lnTo>
                <a:lnTo>
                  <a:pt x="65" y="372"/>
                </a:lnTo>
                <a:lnTo>
                  <a:pt x="65" y="372"/>
                </a:lnTo>
                <a:close/>
                <a:moveTo>
                  <a:pt x="62" y="375"/>
                </a:moveTo>
                <a:lnTo>
                  <a:pt x="62" y="379"/>
                </a:lnTo>
                <a:lnTo>
                  <a:pt x="65" y="375"/>
                </a:lnTo>
                <a:lnTo>
                  <a:pt x="62" y="375"/>
                </a:lnTo>
                <a:lnTo>
                  <a:pt x="62" y="375"/>
                </a:lnTo>
                <a:close/>
                <a:moveTo>
                  <a:pt x="59" y="385"/>
                </a:moveTo>
                <a:lnTo>
                  <a:pt x="59" y="382"/>
                </a:lnTo>
                <a:lnTo>
                  <a:pt x="59" y="379"/>
                </a:lnTo>
                <a:lnTo>
                  <a:pt x="59" y="379"/>
                </a:lnTo>
                <a:lnTo>
                  <a:pt x="62" y="379"/>
                </a:lnTo>
                <a:lnTo>
                  <a:pt x="62" y="382"/>
                </a:lnTo>
                <a:lnTo>
                  <a:pt x="65" y="385"/>
                </a:lnTo>
                <a:lnTo>
                  <a:pt x="62" y="385"/>
                </a:lnTo>
                <a:lnTo>
                  <a:pt x="59" y="385"/>
                </a:lnTo>
                <a:lnTo>
                  <a:pt x="59" y="385"/>
                </a:lnTo>
                <a:close/>
                <a:moveTo>
                  <a:pt x="90" y="388"/>
                </a:moveTo>
                <a:lnTo>
                  <a:pt x="90" y="385"/>
                </a:lnTo>
                <a:lnTo>
                  <a:pt x="90" y="385"/>
                </a:lnTo>
                <a:lnTo>
                  <a:pt x="93" y="385"/>
                </a:lnTo>
                <a:lnTo>
                  <a:pt x="90" y="388"/>
                </a:lnTo>
                <a:lnTo>
                  <a:pt x="90" y="388"/>
                </a:lnTo>
                <a:lnTo>
                  <a:pt x="90" y="388"/>
                </a:lnTo>
                <a:close/>
                <a:moveTo>
                  <a:pt x="87" y="394"/>
                </a:moveTo>
                <a:lnTo>
                  <a:pt x="87" y="391"/>
                </a:lnTo>
                <a:lnTo>
                  <a:pt x="90" y="394"/>
                </a:lnTo>
                <a:lnTo>
                  <a:pt x="87" y="394"/>
                </a:lnTo>
                <a:lnTo>
                  <a:pt x="87" y="394"/>
                </a:lnTo>
                <a:lnTo>
                  <a:pt x="87" y="394"/>
                </a:lnTo>
                <a:close/>
                <a:moveTo>
                  <a:pt x="84" y="385"/>
                </a:moveTo>
                <a:lnTo>
                  <a:pt x="84" y="385"/>
                </a:lnTo>
                <a:lnTo>
                  <a:pt x="84" y="388"/>
                </a:lnTo>
                <a:lnTo>
                  <a:pt x="84" y="391"/>
                </a:lnTo>
                <a:lnTo>
                  <a:pt x="87" y="391"/>
                </a:lnTo>
                <a:lnTo>
                  <a:pt x="87" y="388"/>
                </a:lnTo>
                <a:lnTo>
                  <a:pt x="87" y="385"/>
                </a:lnTo>
                <a:lnTo>
                  <a:pt x="84" y="385"/>
                </a:lnTo>
                <a:lnTo>
                  <a:pt x="84" y="385"/>
                </a:lnTo>
                <a:lnTo>
                  <a:pt x="84" y="385"/>
                </a:lnTo>
                <a:close/>
                <a:moveTo>
                  <a:pt x="169" y="335"/>
                </a:moveTo>
                <a:lnTo>
                  <a:pt x="169" y="332"/>
                </a:lnTo>
                <a:lnTo>
                  <a:pt x="169" y="329"/>
                </a:lnTo>
                <a:lnTo>
                  <a:pt x="169" y="329"/>
                </a:lnTo>
                <a:lnTo>
                  <a:pt x="172" y="325"/>
                </a:lnTo>
                <a:lnTo>
                  <a:pt x="172" y="329"/>
                </a:lnTo>
                <a:lnTo>
                  <a:pt x="172" y="332"/>
                </a:lnTo>
                <a:lnTo>
                  <a:pt x="172" y="335"/>
                </a:lnTo>
                <a:lnTo>
                  <a:pt x="172" y="335"/>
                </a:lnTo>
                <a:lnTo>
                  <a:pt x="169" y="335"/>
                </a:lnTo>
                <a:lnTo>
                  <a:pt x="169" y="335"/>
                </a:lnTo>
                <a:close/>
                <a:moveTo>
                  <a:pt x="156" y="332"/>
                </a:moveTo>
                <a:lnTo>
                  <a:pt x="159" y="329"/>
                </a:lnTo>
                <a:lnTo>
                  <a:pt x="162" y="332"/>
                </a:lnTo>
                <a:lnTo>
                  <a:pt x="162" y="332"/>
                </a:lnTo>
                <a:lnTo>
                  <a:pt x="159" y="335"/>
                </a:lnTo>
                <a:lnTo>
                  <a:pt x="156" y="332"/>
                </a:lnTo>
                <a:lnTo>
                  <a:pt x="156" y="332"/>
                </a:lnTo>
                <a:close/>
                <a:moveTo>
                  <a:pt x="137" y="375"/>
                </a:moveTo>
                <a:lnTo>
                  <a:pt x="140" y="375"/>
                </a:lnTo>
                <a:lnTo>
                  <a:pt x="140" y="372"/>
                </a:lnTo>
                <a:lnTo>
                  <a:pt x="144" y="375"/>
                </a:lnTo>
                <a:lnTo>
                  <a:pt x="144" y="372"/>
                </a:lnTo>
                <a:lnTo>
                  <a:pt x="144" y="372"/>
                </a:lnTo>
                <a:lnTo>
                  <a:pt x="140" y="366"/>
                </a:lnTo>
                <a:lnTo>
                  <a:pt x="144" y="363"/>
                </a:lnTo>
                <a:lnTo>
                  <a:pt x="144" y="360"/>
                </a:lnTo>
                <a:lnTo>
                  <a:pt x="150" y="357"/>
                </a:lnTo>
                <a:lnTo>
                  <a:pt x="150" y="354"/>
                </a:lnTo>
                <a:lnTo>
                  <a:pt x="156" y="354"/>
                </a:lnTo>
                <a:lnTo>
                  <a:pt x="159" y="357"/>
                </a:lnTo>
                <a:lnTo>
                  <a:pt x="162" y="360"/>
                </a:lnTo>
                <a:lnTo>
                  <a:pt x="165" y="360"/>
                </a:lnTo>
                <a:lnTo>
                  <a:pt x="165" y="354"/>
                </a:lnTo>
                <a:lnTo>
                  <a:pt x="172" y="347"/>
                </a:lnTo>
                <a:lnTo>
                  <a:pt x="172" y="344"/>
                </a:lnTo>
                <a:lnTo>
                  <a:pt x="169" y="344"/>
                </a:lnTo>
                <a:lnTo>
                  <a:pt x="169" y="341"/>
                </a:lnTo>
                <a:lnTo>
                  <a:pt x="165" y="338"/>
                </a:lnTo>
                <a:lnTo>
                  <a:pt x="162" y="338"/>
                </a:lnTo>
                <a:lnTo>
                  <a:pt x="159" y="335"/>
                </a:lnTo>
                <a:lnTo>
                  <a:pt x="153" y="335"/>
                </a:lnTo>
                <a:lnTo>
                  <a:pt x="150" y="338"/>
                </a:lnTo>
                <a:lnTo>
                  <a:pt x="150" y="341"/>
                </a:lnTo>
                <a:lnTo>
                  <a:pt x="147" y="344"/>
                </a:lnTo>
                <a:lnTo>
                  <a:pt x="144" y="347"/>
                </a:lnTo>
                <a:lnTo>
                  <a:pt x="140" y="347"/>
                </a:lnTo>
                <a:lnTo>
                  <a:pt x="137" y="347"/>
                </a:lnTo>
                <a:lnTo>
                  <a:pt x="137" y="341"/>
                </a:lnTo>
                <a:lnTo>
                  <a:pt x="134" y="341"/>
                </a:lnTo>
                <a:lnTo>
                  <a:pt x="128" y="347"/>
                </a:lnTo>
                <a:lnTo>
                  <a:pt x="128" y="350"/>
                </a:lnTo>
                <a:lnTo>
                  <a:pt x="125" y="354"/>
                </a:lnTo>
                <a:lnTo>
                  <a:pt x="125" y="357"/>
                </a:lnTo>
                <a:lnTo>
                  <a:pt x="131" y="360"/>
                </a:lnTo>
                <a:lnTo>
                  <a:pt x="131" y="363"/>
                </a:lnTo>
                <a:lnTo>
                  <a:pt x="131" y="363"/>
                </a:lnTo>
                <a:lnTo>
                  <a:pt x="131" y="366"/>
                </a:lnTo>
                <a:lnTo>
                  <a:pt x="134" y="372"/>
                </a:lnTo>
                <a:lnTo>
                  <a:pt x="137" y="372"/>
                </a:lnTo>
                <a:lnTo>
                  <a:pt x="137" y="375"/>
                </a:lnTo>
                <a:lnTo>
                  <a:pt x="137" y="375"/>
                </a:lnTo>
                <a:close/>
                <a:moveTo>
                  <a:pt x="112" y="441"/>
                </a:moveTo>
                <a:lnTo>
                  <a:pt x="109" y="438"/>
                </a:lnTo>
                <a:lnTo>
                  <a:pt x="106" y="438"/>
                </a:lnTo>
                <a:lnTo>
                  <a:pt x="106" y="441"/>
                </a:lnTo>
                <a:lnTo>
                  <a:pt x="109" y="444"/>
                </a:lnTo>
                <a:lnTo>
                  <a:pt x="112" y="444"/>
                </a:lnTo>
                <a:lnTo>
                  <a:pt x="112" y="444"/>
                </a:lnTo>
                <a:lnTo>
                  <a:pt x="112" y="441"/>
                </a:lnTo>
                <a:lnTo>
                  <a:pt x="112" y="441"/>
                </a:lnTo>
                <a:close/>
                <a:moveTo>
                  <a:pt x="115" y="435"/>
                </a:moveTo>
                <a:lnTo>
                  <a:pt x="115" y="429"/>
                </a:lnTo>
                <a:lnTo>
                  <a:pt x="115" y="429"/>
                </a:lnTo>
                <a:lnTo>
                  <a:pt x="115" y="429"/>
                </a:lnTo>
                <a:lnTo>
                  <a:pt x="119" y="432"/>
                </a:lnTo>
                <a:lnTo>
                  <a:pt x="115" y="435"/>
                </a:lnTo>
                <a:lnTo>
                  <a:pt x="115" y="435"/>
                </a:lnTo>
                <a:lnTo>
                  <a:pt x="115" y="435"/>
                </a:lnTo>
                <a:close/>
                <a:moveTo>
                  <a:pt x="109" y="425"/>
                </a:moveTo>
                <a:lnTo>
                  <a:pt x="112" y="422"/>
                </a:lnTo>
                <a:lnTo>
                  <a:pt x="115" y="419"/>
                </a:lnTo>
                <a:lnTo>
                  <a:pt x="112" y="413"/>
                </a:lnTo>
                <a:lnTo>
                  <a:pt x="112" y="413"/>
                </a:lnTo>
                <a:lnTo>
                  <a:pt x="115" y="410"/>
                </a:lnTo>
                <a:lnTo>
                  <a:pt x="115" y="413"/>
                </a:lnTo>
                <a:lnTo>
                  <a:pt x="119" y="413"/>
                </a:lnTo>
                <a:lnTo>
                  <a:pt x="119" y="410"/>
                </a:lnTo>
                <a:lnTo>
                  <a:pt x="119" y="404"/>
                </a:lnTo>
                <a:lnTo>
                  <a:pt x="119" y="400"/>
                </a:lnTo>
                <a:lnTo>
                  <a:pt x="119" y="388"/>
                </a:lnTo>
                <a:lnTo>
                  <a:pt x="119" y="382"/>
                </a:lnTo>
                <a:lnTo>
                  <a:pt x="122" y="379"/>
                </a:lnTo>
                <a:lnTo>
                  <a:pt x="125" y="375"/>
                </a:lnTo>
                <a:lnTo>
                  <a:pt x="122" y="372"/>
                </a:lnTo>
                <a:lnTo>
                  <a:pt x="122" y="372"/>
                </a:lnTo>
                <a:lnTo>
                  <a:pt x="122" y="369"/>
                </a:lnTo>
                <a:lnTo>
                  <a:pt x="119" y="369"/>
                </a:lnTo>
                <a:lnTo>
                  <a:pt x="119" y="366"/>
                </a:lnTo>
                <a:lnTo>
                  <a:pt x="112" y="366"/>
                </a:lnTo>
                <a:lnTo>
                  <a:pt x="112" y="363"/>
                </a:lnTo>
                <a:lnTo>
                  <a:pt x="115" y="363"/>
                </a:lnTo>
                <a:lnTo>
                  <a:pt x="115" y="360"/>
                </a:lnTo>
                <a:lnTo>
                  <a:pt x="115" y="354"/>
                </a:lnTo>
                <a:lnTo>
                  <a:pt x="112" y="354"/>
                </a:lnTo>
                <a:lnTo>
                  <a:pt x="109" y="354"/>
                </a:lnTo>
                <a:lnTo>
                  <a:pt x="109" y="354"/>
                </a:lnTo>
                <a:lnTo>
                  <a:pt x="106" y="357"/>
                </a:lnTo>
                <a:lnTo>
                  <a:pt x="103" y="357"/>
                </a:lnTo>
                <a:lnTo>
                  <a:pt x="100" y="350"/>
                </a:lnTo>
                <a:lnTo>
                  <a:pt x="100" y="350"/>
                </a:lnTo>
                <a:lnTo>
                  <a:pt x="106" y="347"/>
                </a:lnTo>
                <a:lnTo>
                  <a:pt x="112" y="344"/>
                </a:lnTo>
                <a:lnTo>
                  <a:pt x="119" y="347"/>
                </a:lnTo>
                <a:lnTo>
                  <a:pt x="122" y="347"/>
                </a:lnTo>
                <a:lnTo>
                  <a:pt x="122" y="347"/>
                </a:lnTo>
                <a:lnTo>
                  <a:pt x="122" y="344"/>
                </a:lnTo>
                <a:lnTo>
                  <a:pt x="122" y="341"/>
                </a:lnTo>
                <a:lnTo>
                  <a:pt x="122" y="338"/>
                </a:lnTo>
                <a:lnTo>
                  <a:pt x="122" y="335"/>
                </a:lnTo>
                <a:lnTo>
                  <a:pt x="125" y="335"/>
                </a:lnTo>
                <a:lnTo>
                  <a:pt x="125" y="338"/>
                </a:lnTo>
                <a:lnTo>
                  <a:pt x="128" y="338"/>
                </a:lnTo>
                <a:lnTo>
                  <a:pt x="131" y="335"/>
                </a:lnTo>
                <a:lnTo>
                  <a:pt x="137" y="335"/>
                </a:lnTo>
                <a:lnTo>
                  <a:pt x="144" y="332"/>
                </a:lnTo>
                <a:lnTo>
                  <a:pt x="150" y="332"/>
                </a:lnTo>
                <a:lnTo>
                  <a:pt x="150" y="332"/>
                </a:lnTo>
                <a:lnTo>
                  <a:pt x="153" y="332"/>
                </a:lnTo>
                <a:lnTo>
                  <a:pt x="153" y="332"/>
                </a:lnTo>
                <a:lnTo>
                  <a:pt x="156" y="329"/>
                </a:lnTo>
                <a:lnTo>
                  <a:pt x="156" y="325"/>
                </a:lnTo>
                <a:lnTo>
                  <a:pt x="162" y="322"/>
                </a:lnTo>
                <a:lnTo>
                  <a:pt x="165" y="322"/>
                </a:lnTo>
                <a:lnTo>
                  <a:pt x="172" y="322"/>
                </a:lnTo>
                <a:lnTo>
                  <a:pt x="175" y="322"/>
                </a:lnTo>
                <a:lnTo>
                  <a:pt x="178" y="322"/>
                </a:lnTo>
                <a:lnTo>
                  <a:pt x="178" y="325"/>
                </a:lnTo>
                <a:lnTo>
                  <a:pt x="175" y="329"/>
                </a:lnTo>
                <a:lnTo>
                  <a:pt x="175" y="335"/>
                </a:lnTo>
                <a:lnTo>
                  <a:pt x="175" y="335"/>
                </a:lnTo>
                <a:lnTo>
                  <a:pt x="175" y="338"/>
                </a:lnTo>
                <a:lnTo>
                  <a:pt x="175" y="341"/>
                </a:lnTo>
                <a:lnTo>
                  <a:pt x="175" y="344"/>
                </a:lnTo>
                <a:lnTo>
                  <a:pt x="178" y="347"/>
                </a:lnTo>
                <a:lnTo>
                  <a:pt x="181" y="347"/>
                </a:lnTo>
                <a:lnTo>
                  <a:pt x="187" y="354"/>
                </a:lnTo>
                <a:lnTo>
                  <a:pt x="190" y="354"/>
                </a:lnTo>
                <a:lnTo>
                  <a:pt x="194" y="354"/>
                </a:lnTo>
                <a:lnTo>
                  <a:pt x="197" y="347"/>
                </a:lnTo>
                <a:lnTo>
                  <a:pt x="197" y="344"/>
                </a:lnTo>
                <a:lnTo>
                  <a:pt x="200" y="344"/>
                </a:lnTo>
                <a:lnTo>
                  <a:pt x="200" y="341"/>
                </a:lnTo>
                <a:lnTo>
                  <a:pt x="200" y="338"/>
                </a:lnTo>
                <a:lnTo>
                  <a:pt x="200" y="335"/>
                </a:lnTo>
                <a:lnTo>
                  <a:pt x="203" y="332"/>
                </a:lnTo>
                <a:lnTo>
                  <a:pt x="206" y="332"/>
                </a:lnTo>
                <a:lnTo>
                  <a:pt x="209" y="332"/>
                </a:lnTo>
                <a:lnTo>
                  <a:pt x="206" y="329"/>
                </a:lnTo>
                <a:lnTo>
                  <a:pt x="206" y="325"/>
                </a:lnTo>
                <a:lnTo>
                  <a:pt x="200" y="322"/>
                </a:lnTo>
                <a:lnTo>
                  <a:pt x="200" y="319"/>
                </a:lnTo>
                <a:lnTo>
                  <a:pt x="200" y="316"/>
                </a:lnTo>
                <a:lnTo>
                  <a:pt x="203" y="313"/>
                </a:lnTo>
                <a:lnTo>
                  <a:pt x="203" y="313"/>
                </a:lnTo>
                <a:lnTo>
                  <a:pt x="203" y="313"/>
                </a:lnTo>
                <a:lnTo>
                  <a:pt x="203" y="319"/>
                </a:lnTo>
                <a:lnTo>
                  <a:pt x="206" y="319"/>
                </a:lnTo>
                <a:lnTo>
                  <a:pt x="206" y="319"/>
                </a:lnTo>
                <a:lnTo>
                  <a:pt x="206" y="316"/>
                </a:lnTo>
                <a:lnTo>
                  <a:pt x="209" y="319"/>
                </a:lnTo>
                <a:lnTo>
                  <a:pt x="212" y="319"/>
                </a:lnTo>
                <a:lnTo>
                  <a:pt x="215" y="319"/>
                </a:lnTo>
                <a:lnTo>
                  <a:pt x="215" y="319"/>
                </a:lnTo>
                <a:lnTo>
                  <a:pt x="215" y="322"/>
                </a:lnTo>
                <a:lnTo>
                  <a:pt x="212" y="322"/>
                </a:lnTo>
                <a:lnTo>
                  <a:pt x="212" y="322"/>
                </a:lnTo>
                <a:lnTo>
                  <a:pt x="212" y="322"/>
                </a:lnTo>
                <a:lnTo>
                  <a:pt x="215" y="322"/>
                </a:lnTo>
                <a:lnTo>
                  <a:pt x="219" y="319"/>
                </a:lnTo>
                <a:lnTo>
                  <a:pt x="231" y="322"/>
                </a:lnTo>
                <a:lnTo>
                  <a:pt x="234" y="319"/>
                </a:lnTo>
                <a:lnTo>
                  <a:pt x="234" y="319"/>
                </a:lnTo>
                <a:lnTo>
                  <a:pt x="231" y="316"/>
                </a:lnTo>
                <a:lnTo>
                  <a:pt x="234" y="310"/>
                </a:lnTo>
                <a:lnTo>
                  <a:pt x="237" y="310"/>
                </a:lnTo>
                <a:lnTo>
                  <a:pt x="240" y="310"/>
                </a:lnTo>
                <a:lnTo>
                  <a:pt x="240" y="313"/>
                </a:lnTo>
                <a:lnTo>
                  <a:pt x="240" y="316"/>
                </a:lnTo>
                <a:lnTo>
                  <a:pt x="244" y="319"/>
                </a:lnTo>
                <a:lnTo>
                  <a:pt x="247" y="319"/>
                </a:lnTo>
                <a:lnTo>
                  <a:pt x="247" y="316"/>
                </a:lnTo>
                <a:lnTo>
                  <a:pt x="247" y="307"/>
                </a:lnTo>
                <a:lnTo>
                  <a:pt x="247" y="303"/>
                </a:lnTo>
                <a:lnTo>
                  <a:pt x="253" y="300"/>
                </a:lnTo>
                <a:lnTo>
                  <a:pt x="253" y="300"/>
                </a:lnTo>
                <a:lnTo>
                  <a:pt x="256" y="297"/>
                </a:lnTo>
                <a:lnTo>
                  <a:pt x="253" y="297"/>
                </a:lnTo>
                <a:lnTo>
                  <a:pt x="253" y="291"/>
                </a:lnTo>
                <a:lnTo>
                  <a:pt x="256" y="291"/>
                </a:lnTo>
                <a:lnTo>
                  <a:pt x="259" y="291"/>
                </a:lnTo>
                <a:lnTo>
                  <a:pt x="262" y="294"/>
                </a:lnTo>
                <a:lnTo>
                  <a:pt x="259" y="294"/>
                </a:lnTo>
                <a:lnTo>
                  <a:pt x="259" y="300"/>
                </a:lnTo>
                <a:lnTo>
                  <a:pt x="259" y="313"/>
                </a:lnTo>
                <a:lnTo>
                  <a:pt x="262" y="313"/>
                </a:lnTo>
                <a:lnTo>
                  <a:pt x="265" y="310"/>
                </a:lnTo>
                <a:lnTo>
                  <a:pt x="265" y="307"/>
                </a:lnTo>
                <a:lnTo>
                  <a:pt x="269" y="307"/>
                </a:lnTo>
                <a:lnTo>
                  <a:pt x="272" y="303"/>
                </a:lnTo>
                <a:lnTo>
                  <a:pt x="275" y="297"/>
                </a:lnTo>
                <a:lnTo>
                  <a:pt x="275" y="294"/>
                </a:lnTo>
                <a:lnTo>
                  <a:pt x="278" y="291"/>
                </a:lnTo>
                <a:lnTo>
                  <a:pt x="278" y="288"/>
                </a:lnTo>
                <a:lnTo>
                  <a:pt x="275" y="285"/>
                </a:lnTo>
                <a:lnTo>
                  <a:pt x="272" y="278"/>
                </a:lnTo>
                <a:lnTo>
                  <a:pt x="269" y="275"/>
                </a:lnTo>
                <a:lnTo>
                  <a:pt x="269" y="266"/>
                </a:lnTo>
                <a:lnTo>
                  <a:pt x="269" y="253"/>
                </a:lnTo>
                <a:lnTo>
                  <a:pt x="269" y="247"/>
                </a:lnTo>
                <a:lnTo>
                  <a:pt x="265" y="235"/>
                </a:lnTo>
                <a:lnTo>
                  <a:pt x="262" y="228"/>
                </a:lnTo>
                <a:lnTo>
                  <a:pt x="259" y="222"/>
                </a:lnTo>
                <a:lnTo>
                  <a:pt x="262" y="216"/>
                </a:lnTo>
                <a:lnTo>
                  <a:pt x="269" y="213"/>
                </a:lnTo>
                <a:lnTo>
                  <a:pt x="272" y="213"/>
                </a:lnTo>
                <a:lnTo>
                  <a:pt x="272" y="216"/>
                </a:lnTo>
                <a:lnTo>
                  <a:pt x="275" y="213"/>
                </a:lnTo>
                <a:lnTo>
                  <a:pt x="272" y="210"/>
                </a:lnTo>
                <a:lnTo>
                  <a:pt x="272" y="207"/>
                </a:lnTo>
                <a:lnTo>
                  <a:pt x="272" y="207"/>
                </a:lnTo>
                <a:lnTo>
                  <a:pt x="269" y="200"/>
                </a:lnTo>
                <a:lnTo>
                  <a:pt x="269" y="200"/>
                </a:lnTo>
                <a:lnTo>
                  <a:pt x="269" y="197"/>
                </a:lnTo>
                <a:lnTo>
                  <a:pt x="272" y="194"/>
                </a:lnTo>
                <a:lnTo>
                  <a:pt x="272" y="194"/>
                </a:lnTo>
                <a:lnTo>
                  <a:pt x="272" y="191"/>
                </a:lnTo>
                <a:lnTo>
                  <a:pt x="272" y="188"/>
                </a:lnTo>
                <a:lnTo>
                  <a:pt x="269" y="181"/>
                </a:lnTo>
                <a:lnTo>
                  <a:pt x="272" y="181"/>
                </a:lnTo>
                <a:lnTo>
                  <a:pt x="269" y="178"/>
                </a:lnTo>
                <a:lnTo>
                  <a:pt x="269" y="169"/>
                </a:lnTo>
                <a:lnTo>
                  <a:pt x="265" y="163"/>
                </a:lnTo>
                <a:lnTo>
                  <a:pt x="262" y="163"/>
                </a:lnTo>
                <a:lnTo>
                  <a:pt x="259" y="163"/>
                </a:lnTo>
                <a:lnTo>
                  <a:pt x="259" y="153"/>
                </a:lnTo>
                <a:lnTo>
                  <a:pt x="256" y="150"/>
                </a:lnTo>
                <a:lnTo>
                  <a:pt x="250" y="141"/>
                </a:lnTo>
                <a:lnTo>
                  <a:pt x="247" y="138"/>
                </a:lnTo>
                <a:lnTo>
                  <a:pt x="244" y="131"/>
                </a:lnTo>
                <a:lnTo>
                  <a:pt x="244" y="125"/>
                </a:lnTo>
                <a:lnTo>
                  <a:pt x="244" y="125"/>
                </a:lnTo>
                <a:lnTo>
                  <a:pt x="244" y="125"/>
                </a:lnTo>
                <a:lnTo>
                  <a:pt x="240" y="125"/>
                </a:lnTo>
                <a:lnTo>
                  <a:pt x="240" y="125"/>
                </a:lnTo>
                <a:lnTo>
                  <a:pt x="237" y="122"/>
                </a:lnTo>
                <a:lnTo>
                  <a:pt x="234" y="122"/>
                </a:lnTo>
                <a:lnTo>
                  <a:pt x="234" y="125"/>
                </a:lnTo>
                <a:lnTo>
                  <a:pt x="234" y="128"/>
                </a:lnTo>
                <a:lnTo>
                  <a:pt x="234" y="131"/>
                </a:lnTo>
                <a:lnTo>
                  <a:pt x="234" y="135"/>
                </a:lnTo>
                <a:lnTo>
                  <a:pt x="237" y="131"/>
                </a:lnTo>
                <a:lnTo>
                  <a:pt x="240" y="128"/>
                </a:lnTo>
                <a:lnTo>
                  <a:pt x="244" y="135"/>
                </a:lnTo>
                <a:lnTo>
                  <a:pt x="240" y="138"/>
                </a:lnTo>
                <a:lnTo>
                  <a:pt x="237" y="138"/>
                </a:lnTo>
                <a:lnTo>
                  <a:pt x="237" y="138"/>
                </a:lnTo>
                <a:lnTo>
                  <a:pt x="234" y="138"/>
                </a:lnTo>
                <a:lnTo>
                  <a:pt x="237" y="141"/>
                </a:lnTo>
                <a:lnTo>
                  <a:pt x="234" y="144"/>
                </a:lnTo>
                <a:lnTo>
                  <a:pt x="231" y="141"/>
                </a:lnTo>
                <a:lnTo>
                  <a:pt x="231" y="138"/>
                </a:lnTo>
                <a:lnTo>
                  <a:pt x="231" y="135"/>
                </a:lnTo>
                <a:lnTo>
                  <a:pt x="231" y="131"/>
                </a:lnTo>
                <a:lnTo>
                  <a:pt x="228" y="135"/>
                </a:lnTo>
                <a:lnTo>
                  <a:pt x="225" y="131"/>
                </a:lnTo>
                <a:lnTo>
                  <a:pt x="225" y="135"/>
                </a:lnTo>
                <a:lnTo>
                  <a:pt x="225" y="141"/>
                </a:lnTo>
                <a:lnTo>
                  <a:pt x="225" y="144"/>
                </a:lnTo>
                <a:lnTo>
                  <a:pt x="225" y="147"/>
                </a:lnTo>
                <a:lnTo>
                  <a:pt x="222" y="150"/>
                </a:lnTo>
                <a:lnTo>
                  <a:pt x="222" y="153"/>
                </a:lnTo>
                <a:lnTo>
                  <a:pt x="225" y="156"/>
                </a:lnTo>
                <a:lnTo>
                  <a:pt x="228" y="160"/>
                </a:lnTo>
                <a:lnTo>
                  <a:pt x="225" y="166"/>
                </a:lnTo>
                <a:lnTo>
                  <a:pt x="225" y="166"/>
                </a:lnTo>
                <a:lnTo>
                  <a:pt x="222" y="166"/>
                </a:lnTo>
                <a:lnTo>
                  <a:pt x="219" y="169"/>
                </a:lnTo>
                <a:lnTo>
                  <a:pt x="222" y="172"/>
                </a:lnTo>
                <a:lnTo>
                  <a:pt x="225" y="172"/>
                </a:lnTo>
                <a:lnTo>
                  <a:pt x="228" y="169"/>
                </a:lnTo>
                <a:lnTo>
                  <a:pt x="231" y="178"/>
                </a:lnTo>
                <a:lnTo>
                  <a:pt x="234" y="188"/>
                </a:lnTo>
                <a:lnTo>
                  <a:pt x="231" y="191"/>
                </a:lnTo>
                <a:lnTo>
                  <a:pt x="234" y="200"/>
                </a:lnTo>
                <a:lnTo>
                  <a:pt x="228" y="216"/>
                </a:lnTo>
                <a:lnTo>
                  <a:pt x="231" y="219"/>
                </a:lnTo>
                <a:lnTo>
                  <a:pt x="228" y="225"/>
                </a:lnTo>
                <a:lnTo>
                  <a:pt x="225" y="228"/>
                </a:lnTo>
                <a:lnTo>
                  <a:pt x="222" y="235"/>
                </a:lnTo>
                <a:lnTo>
                  <a:pt x="222" y="241"/>
                </a:lnTo>
                <a:lnTo>
                  <a:pt x="219" y="244"/>
                </a:lnTo>
                <a:lnTo>
                  <a:pt x="219" y="247"/>
                </a:lnTo>
                <a:lnTo>
                  <a:pt x="215" y="253"/>
                </a:lnTo>
                <a:lnTo>
                  <a:pt x="206" y="260"/>
                </a:lnTo>
                <a:lnTo>
                  <a:pt x="203" y="260"/>
                </a:lnTo>
                <a:lnTo>
                  <a:pt x="200" y="263"/>
                </a:lnTo>
                <a:lnTo>
                  <a:pt x="194" y="260"/>
                </a:lnTo>
                <a:lnTo>
                  <a:pt x="190" y="257"/>
                </a:lnTo>
                <a:lnTo>
                  <a:pt x="190" y="253"/>
                </a:lnTo>
                <a:lnTo>
                  <a:pt x="194" y="250"/>
                </a:lnTo>
                <a:lnTo>
                  <a:pt x="194" y="247"/>
                </a:lnTo>
                <a:lnTo>
                  <a:pt x="194" y="247"/>
                </a:lnTo>
                <a:lnTo>
                  <a:pt x="197" y="244"/>
                </a:lnTo>
                <a:lnTo>
                  <a:pt x="197" y="244"/>
                </a:lnTo>
                <a:lnTo>
                  <a:pt x="190" y="244"/>
                </a:lnTo>
                <a:lnTo>
                  <a:pt x="187" y="247"/>
                </a:lnTo>
                <a:lnTo>
                  <a:pt x="184" y="247"/>
                </a:lnTo>
                <a:lnTo>
                  <a:pt x="184" y="253"/>
                </a:lnTo>
                <a:lnTo>
                  <a:pt x="187" y="257"/>
                </a:lnTo>
                <a:lnTo>
                  <a:pt x="187" y="266"/>
                </a:lnTo>
                <a:lnTo>
                  <a:pt x="187" y="272"/>
                </a:lnTo>
                <a:lnTo>
                  <a:pt x="181" y="275"/>
                </a:lnTo>
                <a:lnTo>
                  <a:pt x="181" y="278"/>
                </a:lnTo>
                <a:lnTo>
                  <a:pt x="181" y="278"/>
                </a:lnTo>
                <a:lnTo>
                  <a:pt x="178" y="288"/>
                </a:lnTo>
                <a:lnTo>
                  <a:pt x="181" y="288"/>
                </a:lnTo>
                <a:lnTo>
                  <a:pt x="181" y="291"/>
                </a:lnTo>
                <a:lnTo>
                  <a:pt x="181" y="294"/>
                </a:lnTo>
                <a:lnTo>
                  <a:pt x="181" y="294"/>
                </a:lnTo>
                <a:lnTo>
                  <a:pt x="181" y="297"/>
                </a:lnTo>
                <a:lnTo>
                  <a:pt x="178" y="297"/>
                </a:lnTo>
                <a:lnTo>
                  <a:pt x="178" y="297"/>
                </a:lnTo>
                <a:lnTo>
                  <a:pt x="178" y="300"/>
                </a:lnTo>
                <a:lnTo>
                  <a:pt x="175" y="297"/>
                </a:lnTo>
                <a:lnTo>
                  <a:pt x="172" y="300"/>
                </a:lnTo>
                <a:lnTo>
                  <a:pt x="169" y="300"/>
                </a:lnTo>
                <a:lnTo>
                  <a:pt x="169" y="294"/>
                </a:lnTo>
                <a:lnTo>
                  <a:pt x="169" y="294"/>
                </a:lnTo>
                <a:lnTo>
                  <a:pt x="165" y="297"/>
                </a:lnTo>
                <a:lnTo>
                  <a:pt x="162" y="297"/>
                </a:lnTo>
                <a:lnTo>
                  <a:pt x="162" y="297"/>
                </a:lnTo>
                <a:lnTo>
                  <a:pt x="153" y="297"/>
                </a:lnTo>
                <a:lnTo>
                  <a:pt x="150" y="300"/>
                </a:lnTo>
                <a:lnTo>
                  <a:pt x="144" y="303"/>
                </a:lnTo>
                <a:lnTo>
                  <a:pt x="140" y="303"/>
                </a:lnTo>
                <a:lnTo>
                  <a:pt x="134" y="303"/>
                </a:lnTo>
                <a:lnTo>
                  <a:pt x="134" y="303"/>
                </a:lnTo>
                <a:lnTo>
                  <a:pt x="128" y="303"/>
                </a:lnTo>
                <a:lnTo>
                  <a:pt x="122" y="310"/>
                </a:lnTo>
                <a:lnTo>
                  <a:pt x="119" y="313"/>
                </a:lnTo>
                <a:lnTo>
                  <a:pt x="119" y="316"/>
                </a:lnTo>
                <a:lnTo>
                  <a:pt x="115" y="319"/>
                </a:lnTo>
                <a:lnTo>
                  <a:pt x="112" y="322"/>
                </a:lnTo>
                <a:lnTo>
                  <a:pt x="109" y="325"/>
                </a:lnTo>
                <a:lnTo>
                  <a:pt x="106" y="329"/>
                </a:lnTo>
                <a:lnTo>
                  <a:pt x="103" y="332"/>
                </a:lnTo>
                <a:lnTo>
                  <a:pt x="103" y="335"/>
                </a:lnTo>
                <a:lnTo>
                  <a:pt x="97" y="335"/>
                </a:lnTo>
                <a:lnTo>
                  <a:pt x="93" y="338"/>
                </a:lnTo>
                <a:lnTo>
                  <a:pt x="97" y="344"/>
                </a:lnTo>
                <a:lnTo>
                  <a:pt x="97" y="344"/>
                </a:lnTo>
                <a:lnTo>
                  <a:pt x="97" y="347"/>
                </a:lnTo>
                <a:lnTo>
                  <a:pt x="97" y="350"/>
                </a:lnTo>
                <a:lnTo>
                  <a:pt x="93" y="350"/>
                </a:lnTo>
                <a:lnTo>
                  <a:pt x="90" y="354"/>
                </a:lnTo>
                <a:lnTo>
                  <a:pt x="87" y="357"/>
                </a:lnTo>
                <a:lnTo>
                  <a:pt x="87" y="357"/>
                </a:lnTo>
                <a:lnTo>
                  <a:pt x="81" y="363"/>
                </a:lnTo>
                <a:lnTo>
                  <a:pt x="81" y="363"/>
                </a:lnTo>
                <a:lnTo>
                  <a:pt x="78" y="366"/>
                </a:lnTo>
                <a:lnTo>
                  <a:pt x="75" y="366"/>
                </a:lnTo>
                <a:lnTo>
                  <a:pt x="75" y="366"/>
                </a:lnTo>
                <a:lnTo>
                  <a:pt x="78" y="366"/>
                </a:lnTo>
                <a:lnTo>
                  <a:pt x="78" y="369"/>
                </a:lnTo>
                <a:lnTo>
                  <a:pt x="81" y="375"/>
                </a:lnTo>
                <a:lnTo>
                  <a:pt x="81" y="375"/>
                </a:lnTo>
                <a:lnTo>
                  <a:pt x="78" y="372"/>
                </a:lnTo>
                <a:lnTo>
                  <a:pt x="78" y="369"/>
                </a:lnTo>
                <a:lnTo>
                  <a:pt x="75" y="372"/>
                </a:lnTo>
                <a:lnTo>
                  <a:pt x="78" y="379"/>
                </a:lnTo>
                <a:lnTo>
                  <a:pt x="81" y="379"/>
                </a:lnTo>
                <a:lnTo>
                  <a:pt x="81" y="382"/>
                </a:lnTo>
                <a:lnTo>
                  <a:pt x="78" y="382"/>
                </a:lnTo>
                <a:lnTo>
                  <a:pt x="81" y="382"/>
                </a:lnTo>
                <a:lnTo>
                  <a:pt x="81" y="379"/>
                </a:lnTo>
                <a:lnTo>
                  <a:pt x="84" y="379"/>
                </a:lnTo>
                <a:lnTo>
                  <a:pt x="87" y="379"/>
                </a:lnTo>
                <a:lnTo>
                  <a:pt x="84" y="382"/>
                </a:lnTo>
                <a:lnTo>
                  <a:pt x="87" y="382"/>
                </a:lnTo>
                <a:lnTo>
                  <a:pt x="90" y="382"/>
                </a:lnTo>
                <a:lnTo>
                  <a:pt x="90" y="379"/>
                </a:lnTo>
                <a:lnTo>
                  <a:pt x="87" y="375"/>
                </a:lnTo>
                <a:lnTo>
                  <a:pt x="84" y="375"/>
                </a:lnTo>
                <a:lnTo>
                  <a:pt x="84" y="375"/>
                </a:lnTo>
                <a:lnTo>
                  <a:pt x="84" y="372"/>
                </a:lnTo>
                <a:lnTo>
                  <a:pt x="84" y="369"/>
                </a:lnTo>
                <a:lnTo>
                  <a:pt x="87" y="369"/>
                </a:lnTo>
                <a:lnTo>
                  <a:pt x="90" y="369"/>
                </a:lnTo>
                <a:lnTo>
                  <a:pt x="93" y="375"/>
                </a:lnTo>
                <a:lnTo>
                  <a:pt x="93" y="379"/>
                </a:lnTo>
                <a:lnTo>
                  <a:pt x="93" y="382"/>
                </a:lnTo>
                <a:lnTo>
                  <a:pt x="93" y="388"/>
                </a:lnTo>
                <a:lnTo>
                  <a:pt x="93" y="394"/>
                </a:lnTo>
                <a:lnTo>
                  <a:pt x="87" y="394"/>
                </a:lnTo>
                <a:lnTo>
                  <a:pt x="90" y="397"/>
                </a:lnTo>
                <a:lnTo>
                  <a:pt x="93" y="400"/>
                </a:lnTo>
                <a:lnTo>
                  <a:pt x="93" y="410"/>
                </a:lnTo>
                <a:lnTo>
                  <a:pt x="97" y="413"/>
                </a:lnTo>
                <a:lnTo>
                  <a:pt x="97" y="416"/>
                </a:lnTo>
                <a:lnTo>
                  <a:pt x="97" y="419"/>
                </a:lnTo>
                <a:lnTo>
                  <a:pt x="97" y="422"/>
                </a:lnTo>
                <a:lnTo>
                  <a:pt x="100" y="419"/>
                </a:lnTo>
                <a:lnTo>
                  <a:pt x="103" y="422"/>
                </a:lnTo>
                <a:lnTo>
                  <a:pt x="106" y="419"/>
                </a:lnTo>
                <a:lnTo>
                  <a:pt x="106" y="419"/>
                </a:lnTo>
                <a:lnTo>
                  <a:pt x="103" y="413"/>
                </a:lnTo>
                <a:lnTo>
                  <a:pt x="103" y="407"/>
                </a:lnTo>
                <a:lnTo>
                  <a:pt x="103" y="407"/>
                </a:lnTo>
                <a:lnTo>
                  <a:pt x="106" y="407"/>
                </a:lnTo>
                <a:lnTo>
                  <a:pt x="106" y="410"/>
                </a:lnTo>
                <a:lnTo>
                  <a:pt x="106" y="410"/>
                </a:lnTo>
                <a:lnTo>
                  <a:pt x="109" y="413"/>
                </a:lnTo>
                <a:lnTo>
                  <a:pt x="109" y="419"/>
                </a:lnTo>
                <a:lnTo>
                  <a:pt x="109" y="422"/>
                </a:lnTo>
                <a:lnTo>
                  <a:pt x="109" y="425"/>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6" name="Freeform 14">
            <a:extLst>
              <a:ext uri="{FF2B5EF4-FFF2-40B4-BE49-F238E27FC236}">
                <a16:creationId xmlns:a16="http://schemas.microsoft.com/office/drawing/2014/main" id="{1A8A1D07-9C66-0A52-D040-150281481D98}"/>
              </a:ext>
            </a:extLst>
          </p:cNvPr>
          <p:cNvSpPr>
            <a:spLocks noEditPoints="1"/>
          </p:cNvSpPr>
          <p:nvPr userDrawn="1"/>
        </p:nvSpPr>
        <p:spPr bwMode="auto">
          <a:xfrm>
            <a:off x="20731400" y="6574706"/>
            <a:ext cx="285731" cy="457200"/>
          </a:xfrm>
          <a:custGeom>
            <a:avLst/>
            <a:gdLst>
              <a:gd name="T0" fmla="*/ 56 w 90"/>
              <a:gd name="T1" fmla="*/ 104 h 144"/>
              <a:gd name="T2" fmla="*/ 56 w 90"/>
              <a:gd name="T3" fmla="*/ 107 h 144"/>
              <a:gd name="T4" fmla="*/ 56 w 90"/>
              <a:gd name="T5" fmla="*/ 104 h 144"/>
              <a:gd name="T6" fmla="*/ 25 w 90"/>
              <a:gd name="T7" fmla="*/ 116 h 144"/>
              <a:gd name="T8" fmla="*/ 28 w 90"/>
              <a:gd name="T9" fmla="*/ 113 h 144"/>
              <a:gd name="T10" fmla="*/ 31 w 90"/>
              <a:gd name="T11" fmla="*/ 113 h 144"/>
              <a:gd name="T12" fmla="*/ 28 w 90"/>
              <a:gd name="T13" fmla="*/ 116 h 144"/>
              <a:gd name="T14" fmla="*/ 28 w 90"/>
              <a:gd name="T15" fmla="*/ 119 h 144"/>
              <a:gd name="T16" fmla="*/ 68 w 90"/>
              <a:gd name="T17" fmla="*/ 100 h 144"/>
              <a:gd name="T18" fmla="*/ 72 w 90"/>
              <a:gd name="T19" fmla="*/ 104 h 144"/>
              <a:gd name="T20" fmla="*/ 75 w 90"/>
              <a:gd name="T21" fmla="*/ 100 h 144"/>
              <a:gd name="T22" fmla="*/ 72 w 90"/>
              <a:gd name="T23" fmla="*/ 97 h 144"/>
              <a:gd name="T24" fmla="*/ 84 w 90"/>
              <a:gd name="T25" fmla="*/ 122 h 144"/>
              <a:gd name="T26" fmla="*/ 87 w 90"/>
              <a:gd name="T27" fmla="*/ 119 h 144"/>
              <a:gd name="T28" fmla="*/ 87 w 90"/>
              <a:gd name="T29" fmla="*/ 119 h 144"/>
              <a:gd name="T30" fmla="*/ 84 w 90"/>
              <a:gd name="T31" fmla="*/ 122 h 144"/>
              <a:gd name="T32" fmla="*/ 87 w 90"/>
              <a:gd name="T33" fmla="*/ 113 h 144"/>
              <a:gd name="T34" fmla="*/ 87 w 90"/>
              <a:gd name="T35" fmla="*/ 113 h 144"/>
              <a:gd name="T36" fmla="*/ 87 w 90"/>
              <a:gd name="T37" fmla="*/ 107 h 144"/>
              <a:gd name="T38" fmla="*/ 90 w 90"/>
              <a:gd name="T39" fmla="*/ 107 h 144"/>
              <a:gd name="T40" fmla="*/ 87 w 90"/>
              <a:gd name="T41" fmla="*/ 113 h 144"/>
              <a:gd name="T42" fmla="*/ 34 w 90"/>
              <a:gd name="T43" fmla="*/ 144 h 144"/>
              <a:gd name="T44" fmla="*/ 34 w 90"/>
              <a:gd name="T45" fmla="*/ 138 h 144"/>
              <a:gd name="T46" fmla="*/ 47 w 90"/>
              <a:gd name="T47" fmla="*/ 135 h 144"/>
              <a:gd name="T48" fmla="*/ 43 w 90"/>
              <a:gd name="T49" fmla="*/ 144 h 144"/>
              <a:gd name="T50" fmla="*/ 34 w 90"/>
              <a:gd name="T51" fmla="*/ 144 h 144"/>
              <a:gd name="T52" fmla="*/ 0 w 90"/>
              <a:gd name="T53" fmla="*/ 25 h 144"/>
              <a:gd name="T54" fmla="*/ 6 w 90"/>
              <a:gd name="T55" fmla="*/ 25 h 144"/>
              <a:gd name="T56" fmla="*/ 9 w 90"/>
              <a:gd name="T57" fmla="*/ 25 h 144"/>
              <a:gd name="T58" fmla="*/ 22 w 90"/>
              <a:gd name="T59" fmla="*/ 41 h 144"/>
              <a:gd name="T60" fmla="*/ 22 w 90"/>
              <a:gd name="T61" fmla="*/ 41 h 144"/>
              <a:gd name="T62" fmla="*/ 28 w 90"/>
              <a:gd name="T63" fmla="*/ 50 h 144"/>
              <a:gd name="T64" fmla="*/ 18 w 90"/>
              <a:gd name="T65" fmla="*/ 44 h 144"/>
              <a:gd name="T66" fmla="*/ 15 w 90"/>
              <a:gd name="T67" fmla="*/ 47 h 144"/>
              <a:gd name="T68" fmla="*/ 18 w 90"/>
              <a:gd name="T69" fmla="*/ 57 h 144"/>
              <a:gd name="T70" fmla="*/ 25 w 90"/>
              <a:gd name="T71" fmla="*/ 63 h 144"/>
              <a:gd name="T72" fmla="*/ 25 w 90"/>
              <a:gd name="T73" fmla="*/ 72 h 144"/>
              <a:gd name="T74" fmla="*/ 31 w 90"/>
              <a:gd name="T75" fmla="*/ 75 h 144"/>
              <a:gd name="T76" fmla="*/ 25 w 90"/>
              <a:gd name="T77" fmla="*/ 82 h 144"/>
              <a:gd name="T78" fmla="*/ 28 w 90"/>
              <a:gd name="T79" fmla="*/ 88 h 144"/>
              <a:gd name="T80" fmla="*/ 25 w 90"/>
              <a:gd name="T81" fmla="*/ 94 h 144"/>
              <a:gd name="T82" fmla="*/ 25 w 90"/>
              <a:gd name="T83" fmla="*/ 97 h 144"/>
              <a:gd name="T84" fmla="*/ 31 w 90"/>
              <a:gd name="T85" fmla="*/ 107 h 144"/>
              <a:gd name="T86" fmla="*/ 34 w 90"/>
              <a:gd name="T87" fmla="*/ 113 h 144"/>
              <a:gd name="T88" fmla="*/ 37 w 90"/>
              <a:gd name="T89" fmla="*/ 113 h 144"/>
              <a:gd name="T90" fmla="*/ 40 w 90"/>
              <a:gd name="T91" fmla="*/ 110 h 144"/>
              <a:gd name="T92" fmla="*/ 50 w 90"/>
              <a:gd name="T93" fmla="*/ 100 h 144"/>
              <a:gd name="T94" fmla="*/ 56 w 90"/>
              <a:gd name="T95" fmla="*/ 100 h 144"/>
              <a:gd name="T96" fmla="*/ 59 w 90"/>
              <a:gd name="T97" fmla="*/ 97 h 144"/>
              <a:gd name="T98" fmla="*/ 65 w 90"/>
              <a:gd name="T99" fmla="*/ 100 h 144"/>
              <a:gd name="T100" fmla="*/ 68 w 90"/>
              <a:gd name="T101" fmla="*/ 100 h 144"/>
              <a:gd name="T102" fmla="*/ 72 w 90"/>
              <a:gd name="T103" fmla="*/ 94 h 144"/>
              <a:gd name="T104" fmla="*/ 81 w 90"/>
              <a:gd name="T105" fmla="*/ 88 h 144"/>
              <a:gd name="T106" fmla="*/ 84 w 90"/>
              <a:gd name="T107" fmla="*/ 85 h 144"/>
              <a:gd name="T108" fmla="*/ 81 w 90"/>
              <a:gd name="T109" fmla="*/ 69 h 144"/>
              <a:gd name="T110" fmla="*/ 78 w 90"/>
              <a:gd name="T111" fmla="*/ 66 h 144"/>
              <a:gd name="T112" fmla="*/ 75 w 90"/>
              <a:gd name="T113" fmla="*/ 50 h 144"/>
              <a:gd name="T114" fmla="*/ 62 w 90"/>
              <a:gd name="T115" fmla="*/ 25 h 144"/>
              <a:gd name="T116" fmla="*/ 43 w 90"/>
              <a:gd name="T117" fmla="*/ 0 h 144"/>
              <a:gd name="T118" fmla="*/ 22 w 90"/>
              <a:gd name="T119" fmla="*/ 7 h 144"/>
              <a:gd name="T120" fmla="*/ 9 w 90"/>
              <a:gd name="T121" fmla="*/ 16 h 144"/>
              <a:gd name="T122" fmla="*/ 0 w 90"/>
              <a:gd name="T123" fmla="*/ 2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 h="144">
                <a:moveTo>
                  <a:pt x="56" y="104"/>
                </a:moveTo>
                <a:lnTo>
                  <a:pt x="56" y="104"/>
                </a:lnTo>
                <a:lnTo>
                  <a:pt x="59" y="104"/>
                </a:lnTo>
                <a:lnTo>
                  <a:pt x="56" y="107"/>
                </a:lnTo>
                <a:lnTo>
                  <a:pt x="56" y="104"/>
                </a:lnTo>
                <a:lnTo>
                  <a:pt x="56" y="104"/>
                </a:lnTo>
                <a:close/>
                <a:moveTo>
                  <a:pt x="28" y="119"/>
                </a:moveTo>
                <a:lnTo>
                  <a:pt x="25" y="116"/>
                </a:lnTo>
                <a:lnTo>
                  <a:pt x="28" y="113"/>
                </a:lnTo>
                <a:lnTo>
                  <a:pt x="28" y="113"/>
                </a:lnTo>
                <a:lnTo>
                  <a:pt x="28" y="110"/>
                </a:lnTo>
                <a:lnTo>
                  <a:pt x="31" y="113"/>
                </a:lnTo>
                <a:lnTo>
                  <a:pt x="31" y="116"/>
                </a:lnTo>
                <a:lnTo>
                  <a:pt x="28" y="116"/>
                </a:lnTo>
                <a:lnTo>
                  <a:pt x="28" y="119"/>
                </a:lnTo>
                <a:lnTo>
                  <a:pt x="28" y="119"/>
                </a:lnTo>
                <a:close/>
                <a:moveTo>
                  <a:pt x="72" y="97"/>
                </a:moveTo>
                <a:lnTo>
                  <a:pt x="68" y="100"/>
                </a:lnTo>
                <a:lnTo>
                  <a:pt x="68" y="100"/>
                </a:lnTo>
                <a:lnTo>
                  <a:pt x="72" y="104"/>
                </a:lnTo>
                <a:lnTo>
                  <a:pt x="72" y="104"/>
                </a:lnTo>
                <a:lnTo>
                  <a:pt x="75" y="100"/>
                </a:lnTo>
                <a:lnTo>
                  <a:pt x="75" y="97"/>
                </a:lnTo>
                <a:lnTo>
                  <a:pt x="72" y="97"/>
                </a:lnTo>
                <a:lnTo>
                  <a:pt x="72" y="97"/>
                </a:lnTo>
                <a:close/>
                <a:moveTo>
                  <a:pt x="84" y="122"/>
                </a:moveTo>
                <a:lnTo>
                  <a:pt x="84" y="119"/>
                </a:lnTo>
                <a:lnTo>
                  <a:pt x="87" y="119"/>
                </a:lnTo>
                <a:lnTo>
                  <a:pt x="90" y="119"/>
                </a:lnTo>
                <a:lnTo>
                  <a:pt x="87" y="119"/>
                </a:lnTo>
                <a:lnTo>
                  <a:pt x="87" y="122"/>
                </a:lnTo>
                <a:lnTo>
                  <a:pt x="84" y="122"/>
                </a:lnTo>
                <a:lnTo>
                  <a:pt x="84" y="122"/>
                </a:lnTo>
                <a:close/>
                <a:moveTo>
                  <a:pt x="87" y="113"/>
                </a:moveTo>
                <a:lnTo>
                  <a:pt x="87" y="116"/>
                </a:lnTo>
                <a:lnTo>
                  <a:pt x="87" y="113"/>
                </a:lnTo>
                <a:lnTo>
                  <a:pt x="87" y="110"/>
                </a:lnTo>
                <a:lnTo>
                  <a:pt x="87" y="107"/>
                </a:lnTo>
                <a:lnTo>
                  <a:pt x="90" y="107"/>
                </a:lnTo>
                <a:lnTo>
                  <a:pt x="90" y="107"/>
                </a:lnTo>
                <a:lnTo>
                  <a:pt x="90" y="110"/>
                </a:lnTo>
                <a:lnTo>
                  <a:pt x="87" y="113"/>
                </a:lnTo>
                <a:lnTo>
                  <a:pt x="87" y="113"/>
                </a:lnTo>
                <a:close/>
                <a:moveTo>
                  <a:pt x="34" y="144"/>
                </a:moveTo>
                <a:lnTo>
                  <a:pt x="31" y="141"/>
                </a:lnTo>
                <a:lnTo>
                  <a:pt x="34" y="138"/>
                </a:lnTo>
                <a:lnTo>
                  <a:pt x="43" y="135"/>
                </a:lnTo>
                <a:lnTo>
                  <a:pt x="47" y="135"/>
                </a:lnTo>
                <a:lnTo>
                  <a:pt x="47" y="138"/>
                </a:lnTo>
                <a:lnTo>
                  <a:pt x="43" y="144"/>
                </a:lnTo>
                <a:lnTo>
                  <a:pt x="37" y="144"/>
                </a:lnTo>
                <a:lnTo>
                  <a:pt x="34" y="144"/>
                </a:lnTo>
                <a:lnTo>
                  <a:pt x="34" y="144"/>
                </a:lnTo>
                <a:close/>
                <a:moveTo>
                  <a:pt x="0" y="25"/>
                </a:moveTo>
                <a:lnTo>
                  <a:pt x="3" y="25"/>
                </a:lnTo>
                <a:lnTo>
                  <a:pt x="6" y="25"/>
                </a:lnTo>
                <a:lnTo>
                  <a:pt x="12" y="25"/>
                </a:lnTo>
                <a:lnTo>
                  <a:pt x="9" y="25"/>
                </a:lnTo>
                <a:lnTo>
                  <a:pt x="15" y="32"/>
                </a:lnTo>
                <a:lnTo>
                  <a:pt x="22" y="41"/>
                </a:lnTo>
                <a:lnTo>
                  <a:pt x="25" y="41"/>
                </a:lnTo>
                <a:lnTo>
                  <a:pt x="22" y="41"/>
                </a:lnTo>
                <a:lnTo>
                  <a:pt x="25" y="47"/>
                </a:lnTo>
                <a:lnTo>
                  <a:pt x="28" y="50"/>
                </a:lnTo>
                <a:lnTo>
                  <a:pt x="22" y="47"/>
                </a:lnTo>
                <a:lnTo>
                  <a:pt x="18" y="44"/>
                </a:lnTo>
                <a:lnTo>
                  <a:pt x="18" y="50"/>
                </a:lnTo>
                <a:lnTo>
                  <a:pt x="15" y="47"/>
                </a:lnTo>
                <a:lnTo>
                  <a:pt x="12" y="53"/>
                </a:lnTo>
                <a:lnTo>
                  <a:pt x="18" y="57"/>
                </a:lnTo>
                <a:lnTo>
                  <a:pt x="22" y="57"/>
                </a:lnTo>
                <a:lnTo>
                  <a:pt x="25" y="63"/>
                </a:lnTo>
                <a:lnTo>
                  <a:pt x="25" y="69"/>
                </a:lnTo>
                <a:lnTo>
                  <a:pt x="25" y="72"/>
                </a:lnTo>
                <a:lnTo>
                  <a:pt x="28" y="69"/>
                </a:lnTo>
                <a:lnTo>
                  <a:pt x="31" y="75"/>
                </a:lnTo>
                <a:lnTo>
                  <a:pt x="25" y="82"/>
                </a:lnTo>
                <a:lnTo>
                  <a:pt x="25" y="82"/>
                </a:lnTo>
                <a:lnTo>
                  <a:pt x="28" y="85"/>
                </a:lnTo>
                <a:lnTo>
                  <a:pt x="28" y="88"/>
                </a:lnTo>
                <a:lnTo>
                  <a:pt x="25" y="91"/>
                </a:lnTo>
                <a:lnTo>
                  <a:pt x="25" y="94"/>
                </a:lnTo>
                <a:lnTo>
                  <a:pt x="28" y="97"/>
                </a:lnTo>
                <a:lnTo>
                  <a:pt x="25" y="97"/>
                </a:lnTo>
                <a:lnTo>
                  <a:pt x="28" y="107"/>
                </a:lnTo>
                <a:lnTo>
                  <a:pt x="31" y="107"/>
                </a:lnTo>
                <a:lnTo>
                  <a:pt x="34" y="113"/>
                </a:lnTo>
                <a:lnTo>
                  <a:pt x="34" y="113"/>
                </a:lnTo>
                <a:lnTo>
                  <a:pt x="34" y="116"/>
                </a:lnTo>
                <a:lnTo>
                  <a:pt x="37" y="113"/>
                </a:lnTo>
                <a:lnTo>
                  <a:pt x="37" y="110"/>
                </a:lnTo>
                <a:lnTo>
                  <a:pt x="40" y="110"/>
                </a:lnTo>
                <a:lnTo>
                  <a:pt x="40" y="107"/>
                </a:lnTo>
                <a:lnTo>
                  <a:pt x="50" y="100"/>
                </a:lnTo>
                <a:lnTo>
                  <a:pt x="53" y="100"/>
                </a:lnTo>
                <a:lnTo>
                  <a:pt x="56" y="100"/>
                </a:lnTo>
                <a:lnTo>
                  <a:pt x="56" y="97"/>
                </a:lnTo>
                <a:lnTo>
                  <a:pt x="59" y="97"/>
                </a:lnTo>
                <a:lnTo>
                  <a:pt x="62" y="100"/>
                </a:lnTo>
                <a:lnTo>
                  <a:pt x="65" y="100"/>
                </a:lnTo>
                <a:lnTo>
                  <a:pt x="65" y="104"/>
                </a:lnTo>
                <a:lnTo>
                  <a:pt x="68" y="100"/>
                </a:lnTo>
                <a:lnTo>
                  <a:pt x="65" y="97"/>
                </a:lnTo>
                <a:lnTo>
                  <a:pt x="72" y="94"/>
                </a:lnTo>
                <a:lnTo>
                  <a:pt x="75" y="94"/>
                </a:lnTo>
                <a:lnTo>
                  <a:pt x="81" y="88"/>
                </a:lnTo>
                <a:lnTo>
                  <a:pt x="81" y="85"/>
                </a:lnTo>
                <a:lnTo>
                  <a:pt x="84" y="85"/>
                </a:lnTo>
                <a:lnTo>
                  <a:pt x="81" y="69"/>
                </a:lnTo>
                <a:lnTo>
                  <a:pt x="81" y="69"/>
                </a:lnTo>
                <a:lnTo>
                  <a:pt x="78" y="69"/>
                </a:lnTo>
                <a:lnTo>
                  <a:pt x="78" y="66"/>
                </a:lnTo>
                <a:lnTo>
                  <a:pt x="78" y="53"/>
                </a:lnTo>
                <a:lnTo>
                  <a:pt x="75" y="50"/>
                </a:lnTo>
                <a:lnTo>
                  <a:pt x="72" y="41"/>
                </a:lnTo>
                <a:lnTo>
                  <a:pt x="62" y="25"/>
                </a:lnTo>
                <a:lnTo>
                  <a:pt x="50" y="16"/>
                </a:lnTo>
                <a:lnTo>
                  <a:pt x="43" y="0"/>
                </a:lnTo>
                <a:lnTo>
                  <a:pt x="37" y="7"/>
                </a:lnTo>
                <a:lnTo>
                  <a:pt x="22" y="7"/>
                </a:lnTo>
                <a:lnTo>
                  <a:pt x="15" y="13"/>
                </a:lnTo>
                <a:lnTo>
                  <a:pt x="9" y="16"/>
                </a:lnTo>
                <a:lnTo>
                  <a:pt x="3" y="22"/>
                </a:lnTo>
                <a:lnTo>
                  <a:pt x="0" y="25"/>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7" name="Freeform 15">
            <a:extLst>
              <a:ext uri="{FF2B5EF4-FFF2-40B4-BE49-F238E27FC236}">
                <a16:creationId xmlns:a16="http://schemas.microsoft.com/office/drawing/2014/main" id="{C51C7726-1763-F382-FEC0-1058CB1DDA60}"/>
              </a:ext>
            </a:extLst>
          </p:cNvPr>
          <p:cNvSpPr>
            <a:spLocks/>
          </p:cNvSpPr>
          <p:nvPr userDrawn="1"/>
        </p:nvSpPr>
        <p:spPr bwMode="auto">
          <a:xfrm>
            <a:off x="20610759" y="6168306"/>
            <a:ext cx="298431" cy="508000"/>
          </a:xfrm>
          <a:custGeom>
            <a:avLst/>
            <a:gdLst>
              <a:gd name="T0" fmla="*/ 0 w 94"/>
              <a:gd name="T1" fmla="*/ 88 h 160"/>
              <a:gd name="T2" fmla="*/ 6 w 94"/>
              <a:gd name="T3" fmla="*/ 78 h 160"/>
              <a:gd name="T4" fmla="*/ 13 w 94"/>
              <a:gd name="T5" fmla="*/ 72 h 160"/>
              <a:gd name="T6" fmla="*/ 19 w 94"/>
              <a:gd name="T7" fmla="*/ 63 h 160"/>
              <a:gd name="T8" fmla="*/ 22 w 94"/>
              <a:gd name="T9" fmla="*/ 50 h 160"/>
              <a:gd name="T10" fmla="*/ 22 w 94"/>
              <a:gd name="T11" fmla="*/ 41 h 160"/>
              <a:gd name="T12" fmla="*/ 31 w 94"/>
              <a:gd name="T13" fmla="*/ 44 h 160"/>
              <a:gd name="T14" fmla="*/ 38 w 94"/>
              <a:gd name="T15" fmla="*/ 47 h 160"/>
              <a:gd name="T16" fmla="*/ 44 w 94"/>
              <a:gd name="T17" fmla="*/ 47 h 160"/>
              <a:gd name="T18" fmla="*/ 56 w 94"/>
              <a:gd name="T19" fmla="*/ 47 h 160"/>
              <a:gd name="T20" fmla="*/ 60 w 94"/>
              <a:gd name="T21" fmla="*/ 41 h 160"/>
              <a:gd name="T22" fmla="*/ 50 w 94"/>
              <a:gd name="T23" fmla="*/ 31 h 160"/>
              <a:gd name="T24" fmla="*/ 60 w 94"/>
              <a:gd name="T25" fmla="*/ 28 h 160"/>
              <a:gd name="T26" fmla="*/ 66 w 94"/>
              <a:gd name="T27" fmla="*/ 19 h 160"/>
              <a:gd name="T28" fmla="*/ 75 w 94"/>
              <a:gd name="T29" fmla="*/ 16 h 160"/>
              <a:gd name="T30" fmla="*/ 75 w 94"/>
              <a:gd name="T31" fmla="*/ 6 h 160"/>
              <a:gd name="T32" fmla="*/ 75 w 94"/>
              <a:gd name="T33" fmla="*/ 0 h 160"/>
              <a:gd name="T34" fmla="*/ 81 w 94"/>
              <a:gd name="T35" fmla="*/ 0 h 160"/>
              <a:gd name="T36" fmla="*/ 81 w 94"/>
              <a:gd name="T37" fmla="*/ 6 h 160"/>
              <a:gd name="T38" fmla="*/ 94 w 94"/>
              <a:gd name="T39" fmla="*/ 16 h 160"/>
              <a:gd name="T40" fmla="*/ 85 w 94"/>
              <a:gd name="T41" fmla="*/ 22 h 160"/>
              <a:gd name="T42" fmla="*/ 81 w 94"/>
              <a:gd name="T43" fmla="*/ 25 h 160"/>
              <a:gd name="T44" fmla="*/ 81 w 94"/>
              <a:gd name="T45" fmla="*/ 41 h 160"/>
              <a:gd name="T46" fmla="*/ 85 w 94"/>
              <a:gd name="T47" fmla="*/ 56 h 160"/>
              <a:gd name="T48" fmla="*/ 88 w 94"/>
              <a:gd name="T49" fmla="*/ 63 h 160"/>
              <a:gd name="T50" fmla="*/ 81 w 94"/>
              <a:gd name="T51" fmla="*/ 69 h 160"/>
              <a:gd name="T52" fmla="*/ 72 w 94"/>
              <a:gd name="T53" fmla="*/ 81 h 160"/>
              <a:gd name="T54" fmla="*/ 69 w 94"/>
              <a:gd name="T55" fmla="*/ 84 h 160"/>
              <a:gd name="T56" fmla="*/ 63 w 94"/>
              <a:gd name="T57" fmla="*/ 88 h 160"/>
              <a:gd name="T58" fmla="*/ 56 w 94"/>
              <a:gd name="T59" fmla="*/ 97 h 160"/>
              <a:gd name="T60" fmla="*/ 56 w 94"/>
              <a:gd name="T61" fmla="*/ 106 h 160"/>
              <a:gd name="T62" fmla="*/ 56 w 94"/>
              <a:gd name="T63" fmla="*/ 113 h 160"/>
              <a:gd name="T64" fmla="*/ 66 w 94"/>
              <a:gd name="T65" fmla="*/ 116 h 160"/>
              <a:gd name="T66" fmla="*/ 81 w 94"/>
              <a:gd name="T67" fmla="*/ 128 h 160"/>
              <a:gd name="T68" fmla="*/ 60 w 94"/>
              <a:gd name="T69" fmla="*/ 135 h 160"/>
              <a:gd name="T70" fmla="*/ 47 w 94"/>
              <a:gd name="T71" fmla="*/ 144 h 160"/>
              <a:gd name="T72" fmla="*/ 38 w 94"/>
              <a:gd name="T73" fmla="*/ 153 h 160"/>
              <a:gd name="T74" fmla="*/ 31 w 94"/>
              <a:gd name="T75" fmla="*/ 150 h 160"/>
              <a:gd name="T76" fmla="*/ 31 w 94"/>
              <a:gd name="T77" fmla="*/ 156 h 160"/>
              <a:gd name="T78" fmla="*/ 25 w 94"/>
              <a:gd name="T79" fmla="*/ 160 h 160"/>
              <a:gd name="T80" fmla="*/ 25 w 94"/>
              <a:gd name="T81" fmla="*/ 150 h 160"/>
              <a:gd name="T82" fmla="*/ 19 w 94"/>
              <a:gd name="T83" fmla="*/ 150 h 160"/>
              <a:gd name="T84" fmla="*/ 16 w 94"/>
              <a:gd name="T85" fmla="*/ 147 h 160"/>
              <a:gd name="T86" fmla="*/ 19 w 94"/>
              <a:gd name="T87" fmla="*/ 135 h 160"/>
              <a:gd name="T88" fmla="*/ 28 w 94"/>
              <a:gd name="T89" fmla="*/ 128 h 160"/>
              <a:gd name="T90" fmla="*/ 19 w 94"/>
              <a:gd name="T91" fmla="*/ 131 h 160"/>
              <a:gd name="T92" fmla="*/ 16 w 94"/>
              <a:gd name="T93" fmla="*/ 119 h 160"/>
              <a:gd name="T94" fmla="*/ 19 w 94"/>
              <a:gd name="T95" fmla="*/ 110 h 160"/>
              <a:gd name="T96" fmla="*/ 22 w 94"/>
              <a:gd name="T97" fmla="*/ 103 h 160"/>
              <a:gd name="T98" fmla="*/ 19 w 94"/>
              <a:gd name="T99" fmla="*/ 106 h 160"/>
              <a:gd name="T100" fmla="*/ 10 w 94"/>
              <a:gd name="T101" fmla="*/ 103 h 160"/>
              <a:gd name="T102" fmla="*/ 6 w 94"/>
              <a:gd name="T103" fmla="*/ 106 h 160"/>
              <a:gd name="T104" fmla="*/ 0 w 94"/>
              <a:gd name="T105" fmla="*/ 100 h 160"/>
              <a:gd name="T106" fmla="*/ 0 w 94"/>
              <a:gd name="T107" fmla="*/ 10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4" h="160">
                <a:moveTo>
                  <a:pt x="0" y="100"/>
                </a:moveTo>
                <a:lnTo>
                  <a:pt x="0" y="88"/>
                </a:lnTo>
                <a:lnTo>
                  <a:pt x="3" y="84"/>
                </a:lnTo>
                <a:lnTo>
                  <a:pt x="6" y="78"/>
                </a:lnTo>
                <a:lnTo>
                  <a:pt x="6" y="75"/>
                </a:lnTo>
                <a:lnTo>
                  <a:pt x="13" y="72"/>
                </a:lnTo>
                <a:lnTo>
                  <a:pt x="16" y="66"/>
                </a:lnTo>
                <a:lnTo>
                  <a:pt x="19" y="63"/>
                </a:lnTo>
                <a:lnTo>
                  <a:pt x="22" y="53"/>
                </a:lnTo>
                <a:lnTo>
                  <a:pt x="22" y="50"/>
                </a:lnTo>
                <a:lnTo>
                  <a:pt x="22" y="50"/>
                </a:lnTo>
                <a:lnTo>
                  <a:pt x="22" y="41"/>
                </a:lnTo>
                <a:lnTo>
                  <a:pt x="28" y="38"/>
                </a:lnTo>
                <a:lnTo>
                  <a:pt x="31" y="44"/>
                </a:lnTo>
                <a:lnTo>
                  <a:pt x="35" y="44"/>
                </a:lnTo>
                <a:lnTo>
                  <a:pt x="38" y="47"/>
                </a:lnTo>
                <a:lnTo>
                  <a:pt x="41" y="47"/>
                </a:lnTo>
                <a:lnTo>
                  <a:pt x="44" y="47"/>
                </a:lnTo>
                <a:lnTo>
                  <a:pt x="53" y="47"/>
                </a:lnTo>
                <a:lnTo>
                  <a:pt x="56" y="47"/>
                </a:lnTo>
                <a:lnTo>
                  <a:pt x="60" y="44"/>
                </a:lnTo>
                <a:lnTo>
                  <a:pt x="60" y="41"/>
                </a:lnTo>
                <a:lnTo>
                  <a:pt x="56" y="34"/>
                </a:lnTo>
                <a:lnTo>
                  <a:pt x="50" y="31"/>
                </a:lnTo>
                <a:lnTo>
                  <a:pt x="53" y="31"/>
                </a:lnTo>
                <a:lnTo>
                  <a:pt x="60" y="28"/>
                </a:lnTo>
                <a:lnTo>
                  <a:pt x="66" y="22"/>
                </a:lnTo>
                <a:lnTo>
                  <a:pt x="66" y="19"/>
                </a:lnTo>
                <a:lnTo>
                  <a:pt x="69" y="16"/>
                </a:lnTo>
                <a:lnTo>
                  <a:pt x="75" y="16"/>
                </a:lnTo>
                <a:lnTo>
                  <a:pt x="75" y="9"/>
                </a:lnTo>
                <a:lnTo>
                  <a:pt x="75" y="6"/>
                </a:lnTo>
                <a:lnTo>
                  <a:pt x="75" y="3"/>
                </a:lnTo>
                <a:lnTo>
                  <a:pt x="75" y="0"/>
                </a:lnTo>
                <a:lnTo>
                  <a:pt x="78" y="0"/>
                </a:lnTo>
                <a:lnTo>
                  <a:pt x="81" y="0"/>
                </a:lnTo>
                <a:lnTo>
                  <a:pt x="81" y="6"/>
                </a:lnTo>
                <a:lnTo>
                  <a:pt x="81" y="6"/>
                </a:lnTo>
                <a:lnTo>
                  <a:pt x="88" y="9"/>
                </a:lnTo>
                <a:lnTo>
                  <a:pt x="94" y="16"/>
                </a:lnTo>
                <a:lnTo>
                  <a:pt x="91" y="16"/>
                </a:lnTo>
                <a:lnTo>
                  <a:pt x="85" y="22"/>
                </a:lnTo>
                <a:lnTo>
                  <a:pt x="85" y="22"/>
                </a:lnTo>
                <a:lnTo>
                  <a:pt x="81" y="25"/>
                </a:lnTo>
                <a:lnTo>
                  <a:pt x="81" y="38"/>
                </a:lnTo>
                <a:lnTo>
                  <a:pt x="81" y="41"/>
                </a:lnTo>
                <a:lnTo>
                  <a:pt x="85" y="44"/>
                </a:lnTo>
                <a:lnTo>
                  <a:pt x="85" y="56"/>
                </a:lnTo>
                <a:lnTo>
                  <a:pt x="88" y="56"/>
                </a:lnTo>
                <a:lnTo>
                  <a:pt x="88" y="63"/>
                </a:lnTo>
                <a:lnTo>
                  <a:pt x="81" y="66"/>
                </a:lnTo>
                <a:lnTo>
                  <a:pt x="81" y="69"/>
                </a:lnTo>
                <a:lnTo>
                  <a:pt x="72" y="78"/>
                </a:lnTo>
                <a:lnTo>
                  <a:pt x="72" y="81"/>
                </a:lnTo>
                <a:lnTo>
                  <a:pt x="72" y="84"/>
                </a:lnTo>
                <a:lnTo>
                  <a:pt x="69" y="84"/>
                </a:lnTo>
                <a:lnTo>
                  <a:pt x="66" y="84"/>
                </a:lnTo>
                <a:lnTo>
                  <a:pt x="63" y="88"/>
                </a:lnTo>
                <a:lnTo>
                  <a:pt x="60" y="94"/>
                </a:lnTo>
                <a:lnTo>
                  <a:pt x="56" y="97"/>
                </a:lnTo>
                <a:lnTo>
                  <a:pt x="56" y="100"/>
                </a:lnTo>
                <a:lnTo>
                  <a:pt x="56" y="106"/>
                </a:lnTo>
                <a:lnTo>
                  <a:pt x="53" y="106"/>
                </a:lnTo>
                <a:lnTo>
                  <a:pt x="56" y="113"/>
                </a:lnTo>
                <a:lnTo>
                  <a:pt x="63" y="113"/>
                </a:lnTo>
                <a:lnTo>
                  <a:pt x="66" y="116"/>
                </a:lnTo>
                <a:lnTo>
                  <a:pt x="78" y="125"/>
                </a:lnTo>
                <a:lnTo>
                  <a:pt x="81" y="128"/>
                </a:lnTo>
                <a:lnTo>
                  <a:pt x="75" y="135"/>
                </a:lnTo>
                <a:lnTo>
                  <a:pt x="60" y="135"/>
                </a:lnTo>
                <a:lnTo>
                  <a:pt x="53" y="141"/>
                </a:lnTo>
                <a:lnTo>
                  <a:pt x="47" y="144"/>
                </a:lnTo>
                <a:lnTo>
                  <a:pt x="41" y="150"/>
                </a:lnTo>
                <a:lnTo>
                  <a:pt x="38" y="153"/>
                </a:lnTo>
                <a:lnTo>
                  <a:pt x="35" y="150"/>
                </a:lnTo>
                <a:lnTo>
                  <a:pt x="31" y="150"/>
                </a:lnTo>
                <a:lnTo>
                  <a:pt x="35" y="153"/>
                </a:lnTo>
                <a:lnTo>
                  <a:pt x="31" y="156"/>
                </a:lnTo>
                <a:lnTo>
                  <a:pt x="28" y="156"/>
                </a:lnTo>
                <a:lnTo>
                  <a:pt x="25" y="160"/>
                </a:lnTo>
                <a:lnTo>
                  <a:pt x="22" y="156"/>
                </a:lnTo>
                <a:lnTo>
                  <a:pt x="25" y="150"/>
                </a:lnTo>
                <a:lnTo>
                  <a:pt x="22" y="150"/>
                </a:lnTo>
                <a:lnTo>
                  <a:pt x="19" y="150"/>
                </a:lnTo>
                <a:lnTo>
                  <a:pt x="16" y="150"/>
                </a:lnTo>
                <a:lnTo>
                  <a:pt x="16" y="147"/>
                </a:lnTo>
                <a:lnTo>
                  <a:pt x="19" y="138"/>
                </a:lnTo>
                <a:lnTo>
                  <a:pt x="19" y="135"/>
                </a:lnTo>
                <a:lnTo>
                  <a:pt x="25" y="135"/>
                </a:lnTo>
                <a:lnTo>
                  <a:pt x="28" y="128"/>
                </a:lnTo>
                <a:lnTo>
                  <a:pt x="25" y="131"/>
                </a:lnTo>
                <a:lnTo>
                  <a:pt x="19" y="131"/>
                </a:lnTo>
                <a:lnTo>
                  <a:pt x="16" y="128"/>
                </a:lnTo>
                <a:lnTo>
                  <a:pt x="16" y="119"/>
                </a:lnTo>
                <a:lnTo>
                  <a:pt x="22" y="113"/>
                </a:lnTo>
                <a:lnTo>
                  <a:pt x="19" y="110"/>
                </a:lnTo>
                <a:lnTo>
                  <a:pt x="22" y="106"/>
                </a:lnTo>
                <a:lnTo>
                  <a:pt x="22" y="103"/>
                </a:lnTo>
                <a:lnTo>
                  <a:pt x="19" y="103"/>
                </a:lnTo>
                <a:lnTo>
                  <a:pt x="19" y="106"/>
                </a:lnTo>
                <a:lnTo>
                  <a:pt x="13" y="106"/>
                </a:lnTo>
                <a:lnTo>
                  <a:pt x="10" y="103"/>
                </a:lnTo>
                <a:lnTo>
                  <a:pt x="6" y="103"/>
                </a:lnTo>
                <a:lnTo>
                  <a:pt x="6" y="106"/>
                </a:lnTo>
                <a:lnTo>
                  <a:pt x="3" y="106"/>
                </a:lnTo>
                <a:lnTo>
                  <a:pt x="0" y="100"/>
                </a:lnTo>
                <a:lnTo>
                  <a:pt x="0" y="100"/>
                </a:lnTo>
                <a:lnTo>
                  <a:pt x="0" y="10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8" name="Freeform 16">
            <a:extLst>
              <a:ext uri="{FF2B5EF4-FFF2-40B4-BE49-F238E27FC236}">
                <a16:creationId xmlns:a16="http://schemas.microsoft.com/office/drawing/2014/main" id="{55F446EE-7401-7594-6011-35899B8B1C0B}"/>
              </a:ext>
            </a:extLst>
          </p:cNvPr>
          <p:cNvSpPr>
            <a:spLocks/>
          </p:cNvSpPr>
          <p:nvPr userDrawn="1"/>
        </p:nvSpPr>
        <p:spPr bwMode="auto">
          <a:xfrm>
            <a:off x="18210618" y="5501561"/>
            <a:ext cx="1923925" cy="904878"/>
          </a:xfrm>
          <a:custGeom>
            <a:avLst/>
            <a:gdLst>
              <a:gd name="T0" fmla="*/ 19 w 606"/>
              <a:gd name="T1" fmla="*/ 88 h 285"/>
              <a:gd name="T2" fmla="*/ 37 w 606"/>
              <a:gd name="T3" fmla="*/ 69 h 285"/>
              <a:gd name="T4" fmla="*/ 44 w 606"/>
              <a:gd name="T5" fmla="*/ 57 h 285"/>
              <a:gd name="T6" fmla="*/ 69 w 606"/>
              <a:gd name="T7" fmla="*/ 50 h 285"/>
              <a:gd name="T8" fmla="*/ 81 w 606"/>
              <a:gd name="T9" fmla="*/ 54 h 285"/>
              <a:gd name="T10" fmla="*/ 103 w 606"/>
              <a:gd name="T11" fmla="*/ 54 h 285"/>
              <a:gd name="T12" fmla="*/ 128 w 606"/>
              <a:gd name="T13" fmla="*/ 72 h 285"/>
              <a:gd name="T14" fmla="*/ 147 w 606"/>
              <a:gd name="T15" fmla="*/ 69 h 285"/>
              <a:gd name="T16" fmla="*/ 172 w 606"/>
              <a:gd name="T17" fmla="*/ 69 h 285"/>
              <a:gd name="T18" fmla="*/ 178 w 606"/>
              <a:gd name="T19" fmla="*/ 44 h 285"/>
              <a:gd name="T20" fmla="*/ 162 w 606"/>
              <a:gd name="T21" fmla="*/ 22 h 285"/>
              <a:gd name="T22" fmla="*/ 175 w 606"/>
              <a:gd name="T23" fmla="*/ 10 h 285"/>
              <a:gd name="T24" fmla="*/ 190 w 606"/>
              <a:gd name="T25" fmla="*/ 4 h 285"/>
              <a:gd name="T26" fmla="*/ 215 w 606"/>
              <a:gd name="T27" fmla="*/ 10 h 285"/>
              <a:gd name="T28" fmla="*/ 237 w 606"/>
              <a:gd name="T29" fmla="*/ 16 h 285"/>
              <a:gd name="T30" fmla="*/ 247 w 606"/>
              <a:gd name="T31" fmla="*/ 35 h 285"/>
              <a:gd name="T32" fmla="*/ 262 w 606"/>
              <a:gd name="T33" fmla="*/ 47 h 285"/>
              <a:gd name="T34" fmla="*/ 284 w 606"/>
              <a:gd name="T35" fmla="*/ 47 h 285"/>
              <a:gd name="T36" fmla="*/ 309 w 606"/>
              <a:gd name="T37" fmla="*/ 38 h 285"/>
              <a:gd name="T38" fmla="*/ 341 w 606"/>
              <a:gd name="T39" fmla="*/ 47 h 285"/>
              <a:gd name="T40" fmla="*/ 366 w 606"/>
              <a:gd name="T41" fmla="*/ 57 h 285"/>
              <a:gd name="T42" fmla="*/ 394 w 606"/>
              <a:gd name="T43" fmla="*/ 66 h 285"/>
              <a:gd name="T44" fmla="*/ 422 w 606"/>
              <a:gd name="T45" fmla="*/ 66 h 285"/>
              <a:gd name="T46" fmla="*/ 453 w 606"/>
              <a:gd name="T47" fmla="*/ 50 h 285"/>
              <a:gd name="T48" fmla="*/ 469 w 606"/>
              <a:gd name="T49" fmla="*/ 35 h 285"/>
              <a:gd name="T50" fmla="*/ 487 w 606"/>
              <a:gd name="T51" fmla="*/ 25 h 285"/>
              <a:gd name="T52" fmla="*/ 506 w 606"/>
              <a:gd name="T53" fmla="*/ 35 h 285"/>
              <a:gd name="T54" fmla="*/ 522 w 606"/>
              <a:gd name="T55" fmla="*/ 63 h 285"/>
              <a:gd name="T56" fmla="*/ 531 w 606"/>
              <a:gd name="T57" fmla="*/ 97 h 285"/>
              <a:gd name="T58" fmla="*/ 562 w 606"/>
              <a:gd name="T59" fmla="*/ 88 h 285"/>
              <a:gd name="T60" fmla="*/ 591 w 606"/>
              <a:gd name="T61" fmla="*/ 94 h 285"/>
              <a:gd name="T62" fmla="*/ 603 w 606"/>
              <a:gd name="T63" fmla="*/ 119 h 285"/>
              <a:gd name="T64" fmla="*/ 591 w 606"/>
              <a:gd name="T65" fmla="*/ 126 h 285"/>
              <a:gd name="T66" fmla="*/ 566 w 606"/>
              <a:gd name="T67" fmla="*/ 132 h 285"/>
              <a:gd name="T68" fmla="*/ 556 w 606"/>
              <a:gd name="T69" fmla="*/ 141 h 285"/>
              <a:gd name="T70" fmla="*/ 537 w 606"/>
              <a:gd name="T71" fmla="*/ 166 h 285"/>
              <a:gd name="T72" fmla="*/ 516 w 606"/>
              <a:gd name="T73" fmla="*/ 179 h 285"/>
              <a:gd name="T74" fmla="*/ 494 w 606"/>
              <a:gd name="T75" fmla="*/ 182 h 285"/>
              <a:gd name="T76" fmla="*/ 469 w 606"/>
              <a:gd name="T77" fmla="*/ 194 h 285"/>
              <a:gd name="T78" fmla="*/ 484 w 606"/>
              <a:gd name="T79" fmla="*/ 219 h 285"/>
              <a:gd name="T80" fmla="*/ 456 w 606"/>
              <a:gd name="T81" fmla="*/ 248 h 285"/>
              <a:gd name="T82" fmla="*/ 422 w 606"/>
              <a:gd name="T83" fmla="*/ 260 h 285"/>
              <a:gd name="T84" fmla="*/ 372 w 606"/>
              <a:gd name="T85" fmla="*/ 285 h 285"/>
              <a:gd name="T86" fmla="*/ 347 w 606"/>
              <a:gd name="T87" fmla="*/ 282 h 285"/>
              <a:gd name="T88" fmla="*/ 297 w 606"/>
              <a:gd name="T89" fmla="*/ 260 h 285"/>
              <a:gd name="T90" fmla="*/ 256 w 606"/>
              <a:gd name="T91" fmla="*/ 266 h 285"/>
              <a:gd name="T92" fmla="*/ 200 w 606"/>
              <a:gd name="T93" fmla="*/ 266 h 285"/>
              <a:gd name="T94" fmla="*/ 181 w 606"/>
              <a:gd name="T95" fmla="*/ 238 h 285"/>
              <a:gd name="T96" fmla="*/ 172 w 606"/>
              <a:gd name="T97" fmla="*/ 226 h 285"/>
              <a:gd name="T98" fmla="*/ 147 w 606"/>
              <a:gd name="T99" fmla="*/ 216 h 285"/>
              <a:gd name="T100" fmla="*/ 119 w 606"/>
              <a:gd name="T101" fmla="*/ 207 h 285"/>
              <a:gd name="T102" fmla="*/ 78 w 606"/>
              <a:gd name="T103" fmla="*/ 194 h 285"/>
              <a:gd name="T104" fmla="*/ 78 w 606"/>
              <a:gd name="T105" fmla="*/ 179 h 285"/>
              <a:gd name="T106" fmla="*/ 72 w 606"/>
              <a:gd name="T107" fmla="*/ 160 h 285"/>
              <a:gd name="T108" fmla="*/ 62 w 606"/>
              <a:gd name="T109" fmla="*/ 141 h 285"/>
              <a:gd name="T110" fmla="*/ 47 w 606"/>
              <a:gd name="T111" fmla="*/ 135 h 285"/>
              <a:gd name="T112" fmla="*/ 31 w 606"/>
              <a:gd name="T113" fmla="*/ 132 h 285"/>
              <a:gd name="T114" fmla="*/ 22 w 606"/>
              <a:gd name="T115" fmla="*/ 129 h 285"/>
              <a:gd name="T116" fmla="*/ 6 w 606"/>
              <a:gd name="T117" fmla="*/ 116 h 285"/>
              <a:gd name="T118" fmla="*/ 0 w 606"/>
              <a:gd name="T119" fmla="*/ 11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6" h="285">
                <a:moveTo>
                  <a:pt x="0" y="101"/>
                </a:moveTo>
                <a:lnTo>
                  <a:pt x="3" y="94"/>
                </a:lnTo>
                <a:lnTo>
                  <a:pt x="6" y="94"/>
                </a:lnTo>
                <a:lnTo>
                  <a:pt x="15" y="94"/>
                </a:lnTo>
                <a:lnTo>
                  <a:pt x="15" y="91"/>
                </a:lnTo>
                <a:lnTo>
                  <a:pt x="19" y="88"/>
                </a:lnTo>
                <a:lnTo>
                  <a:pt x="25" y="85"/>
                </a:lnTo>
                <a:lnTo>
                  <a:pt x="25" y="82"/>
                </a:lnTo>
                <a:lnTo>
                  <a:pt x="28" y="79"/>
                </a:lnTo>
                <a:lnTo>
                  <a:pt x="34" y="75"/>
                </a:lnTo>
                <a:lnTo>
                  <a:pt x="34" y="72"/>
                </a:lnTo>
                <a:lnTo>
                  <a:pt x="37" y="69"/>
                </a:lnTo>
                <a:lnTo>
                  <a:pt x="40" y="69"/>
                </a:lnTo>
                <a:lnTo>
                  <a:pt x="44" y="63"/>
                </a:lnTo>
                <a:lnTo>
                  <a:pt x="44" y="63"/>
                </a:lnTo>
                <a:lnTo>
                  <a:pt x="40" y="60"/>
                </a:lnTo>
                <a:lnTo>
                  <a:pt x="40" y="60"/>
                </a:lnTo>
                <a:lnTo>
                  <a:pt x="44" y="57"/>
                </a:lnTo>
                <a:lnTo>
                  <a:pt x="50" y="60"/>
                </a:lnTo>
                <a:lnTo>
                  <a:pt x="53" y="57"/>
                </a:lnTo>
                <a:lnTo>
                  <a:pt x="53" y="54"/>
                </a:lnTo>
                <a:lnTo>
                  <a:pt x="56" y="50"/>
                </a:lnTo>
                <a:lnTo>
                  <a:pt x="65" y="50"/>
                </a:lnTo>
                <a:lnTo>
                  <a:pt x="69" y="50"/>
                </a:lnTo>
                <a:lnTo>
                  <a:pt x="72" y="50"/>
                </a:lnTo>
                <a:lnTo>
                  <a:pt x="75" y="50"/>
                </a:lnTo>
                <a:lnTo>
                  <a:pt x="78" y="47"/>
                </a:lnTo>
                <a:lnTo>
                  <a:pt x="81" y="47"/>
                </a:lnTo>
                <a:lnTo>
                  <a:pt x="81" y="50"/>
                </a:lnTo>
                <a:lnTo>
                  <a:pt x="81" y="54"/>
                </a:lnTo>
                <a:lnTo>
                  <a:pt x="84" y="57"/>
                </a:lnTo>
                <a:lnTo>
                  <a:pt x="87" y="57"/>
                </a:lnTo>
                <a:lnTo>
                  <a:pt x="90" y="54"/>
                </a:lnTo>
                <a:lnTo>
                  <a:pt x="94" y="54"/>
                </a:lnTo>
                <a:lnTo>
                  <a:pt x="97" y="54"/>
                </a:lnTo>
                <a:lnTo>
                  <a:pt x="103" y="54"/>
                </a:lnTo>
                <a:lnTo>
                  <a:pt x="106" y="57"/>
                </a:lnTo>
                <a:lnTo>
                  <a:pt x="106" y="60"/>
                </a:lnTo>
                <a:lnTo>
                  <a:pt x="106" y="60"/>
                </a:lnTo>
                <a:lnTo>
                  <a:pt x="115" y="66"/>
                </a:lnTo>
                <a:lnTo>
                  <a:pt x="119" y="69"/>
                </a:lnTo>
                <a:lnTo>
                  <a:pt x="128" y="72"/>
                </a:lnTo>
                <a:lnTo>
                  <a:pt x="131" y="72"/>
                </a:lnTo>
                <a:lnTo>
                  <a:pt x="134" y="69"/>
                </a:lnTo>
                <a:lnTo>
                  <a:pt x="137" y="66"/>
                </a:lnTo>
                <a:lnTo>
                  <a:pt x="140" y="66"/>
                </a:lnTo>
                <a:lnTo>
                  <a:pt x="144" y="66"/>
                </a:lnTo>
                <a:lnTo>
                  <a:pt x="147" y="69"/>
                </a:lnTo>
                <a:lnTo>
                  <a:pt x="150" y="69"/>
                </a:lnTo>
                <a:lnTo>
                  <a:pt x="159" y="69"/>
                </a:lnTo>
                <a:lnTo>
                  <a:pt x="162" y="69"/>
                </a:lnTo>
                <a:lnTo>
                  <a:pt x="165" y="69"/>
                </a:lnTo>
                <a:lnTo>
                  <a:pt x="169" y="69"/>
                </a:lnTo>
                <a:lnTo>
                  <a:pt x="172" y="69"/>
                </a:lnTo>
                <a:lnTo>
                  <a:pt x="178" y="69"/>
                </a:lnTo>
                <a:lnTo>
                  <a:pt x="181" y="63"/>
                </a:lnTo>
                <a:lnTo>
                  <a:pt x="178" y="60"/>
                </a:lnTo>
                <a:lnTo>
                  <a:pt x="175" y="57"/>
                </a:lnTo>
                <a:lnTo>
                  <a:pt x="175" y="50"/>
                </a:lnTo>
                <a:lnTo>
                  <a:pt x="178" y="44"/>
                </a:lnTo>
                <a:lnTo>
                  <a:pt x="175" y="44"/>
                </a:lnTo>
                <a:lnTo>
                  <a:pt x="172" y="41"/>
                </a:lnTo>
                <a:lnTo>
                  <a:pt x="169" y="38"/>
                </a:lnTo>
                <a:lnTo>
                  <a:pt x="165" y="38"/>
                </a:lnTo>
                <a:lnTo>
                  <a:pt x="162" y="32"/>
                </a:lnTo>
                <a:lnTo>
                  <a:pt x="162" y="22"/>
                </a:lnTo>
                <a:lnTo>
                  <a:pt x="165" y="19"/>
                </a:lnTo>
                <a:lnTo>
                  <a:pt x="165" y="16"/>
                </a:lnTo>
                <a:lnTo>
                  <a:pt x="169" y="13"/>
                </a:lnTo>
                <a:lnTo>
                  <a:pt x="172" y="10"/>
                </a:lnTo>
                <a:lnTo>
                  <a:pt x="175" y="13"/>
                </a:lnTo>
                <a:lnTo>
                  <a:pt x="175" y="10"/>
                </a:lnTo>
                <a:lnTo>
                  <a:pt x="175" y="7"/>
                </a:lnTo>
                <a:lnTo>
                  <a:pt x="175" y="4"/>
                </a:lnTo>
                <a:lnTo>
                  <a:pt x="178" y="0"/>
                </a:lnTo>
                <a:lnTo>
                  <a:pt x="181" y="0"/>
                </a:lnTo>
                <a:lnTo>
                  <a:pt x="184" y="4"/>
                </a:lnTo>
                <a:lnTo>
                  <a:pt x="190" y="4"/>
                </a:lnTo>
                <a:lnTo>
                  <a:pt x="194" y="7"/>
                </a:lnTo>
                <a:lnTo>
                  <a:pt x="194" y="7"/>
                </a:lnTo>
                <a:lnTo>
                  <a:pt x="200" y="10"/>
                </a:lnTo>
                <a:lnTo>
                  <a:pt x="203" y="10"/>
                </a:lnTo>
                <a:lnTo>
                  <a:pt x="212" y="10"/>
                </a:lnTo>
                <a:lnTo>
                  <a:pt x="215" y="10"/>
                </a:lnTo>
                <a:lnTo>
                  <a:pt x="215" y="13"/>
                </a:lnTo>
                <a:lnTo>
                  <a:pt x="222" y="13"/>
                </a:lnTo>
                <a:lnTo>
                  <a:pt x="225" y="16"/>
                </a:lnTo>
                <a:lnTo>
                  <a:pt x="228" y="16"/>
                </a:lnTo>
                <a:lnTo>
                  <a:pt x="234" y="16"/>
                </a:lnTo>
                <a:lnTo>
                  <a:pt x="237" y="16"/>
                </a:lnTo>
                <a:lnTo>
                  <a:pt x="240" y="19"/>
                </a:lnTo>
                <a:lnTo>
                  <a:pt x="240" y="22"/>
                </a:lnTo>
                <a:lnTo>
                  <a:pt x="244" y="25"/>
                </a:lnTo>
                <a:lnTo>
                  <a:pt x="244" y="29"/>
                </a:lnTo>
                <a:lnTo>
                  <a:pt x="244" y="29"/>
                </a:lnTo>
                <a:lnTo>
                  <a:pt x="247" y="35"/>
                </a:lnTo>
                <a:lnTo>
                  <a:pt x="247" y="38"/>
                </a:lnTo>
                <a:lnTo>
                  <a:pt x="247" y="38"/>
                </a:lnTo>
                <a:lnTo>
                  <a:pt x="250" y="38"/>
                </a:lnTo>
                <a:lnTo>
                  <a:pt x="253" y="44"/>
                </a:lnTo>
                <a:lnTo>
                  <a:pt x="256" y="44"/>
                </a:lnTo>
                <a:lnTo>
                  <a:pt x="262" y="47"/>
                </a:lnTo>
                <a:lnTo>
                  <a:pt x="269" y="50"/>
                </a:lnTo>
                <a:lnTo>
                  <a:pt x="272" y="50"/>
                </a:lnTo>
                <a:lnTo>
                  <a:pt x="272" y="47"/>
                </a:lnTo>
                <a:lnTo>
                  <a:pt x="278" y="50"/>
                </a:lnTo>
                <a:lnTo>
                  <a:pt x="281" y="47"/>
                </a:lnTo>
                <a:lnTo>
                  <a:pt x="284" y="47"/>
                </a:lnTo>
                <a:lnTo>
                  <a:pt x="284" y="47"/>
                </a:lnTo>
                <a:lnTo>
                  <a:pt x="287" y="47"/>
                </a:lnTo>
                <a:lnTo>
                  <a:pt x="290" y="44"/>
                </a:lnTo>
                <a:lnTo>
                  <a:pt x="297" y="41"/>
                </a:lnTo>
                <a:lnTo>
                  <a:pt x="306" y="41"/>
                </a:lnTo>
                <a:lnTo>
                  <a:pt x="309" y="38"/>
                </a:lnTo>
                <a:lnTo>
                  <a:pt x="315" y="38"/>
                </a:lnTo>
                <a:lnTo>
                  <a:pt x="319" y="38"/>
                </a:lnTo>
                <a:lnTo>
                  <a:pt x="325" y="41"/>
                </a:lnTo>
                <a:lnTo>
                  <a:pt x="328" y="41"/>
                </a:lnTo>
                <a:lnTo>
                  <a:pt x="337" y="41"/>
                </a:lnTo>
                <a:lnTo>
                  <a:pt x="341" y="47"/>
                </a:lnTo>
                <a:lnTo>
                  <a:pt x="347" y="47"/>
                </a:lnTo>
                <a:lnTo>
                  <a:pt x="353" y="47"/>
                </a:lnTo>
                <a:lnTo>
                  <a:pt x="356" y="47"/>
                </a:lnTo>
                <a:lnTo>
                  <a:pt x="359" y="50"/>
                </a:lnTo>
                <a:lnTo>
                  <a:pt x="362" y="57"/>
                </a:lnTo>
                <a:lnTo>
                  <a:pt x="366" y="57"/>
                </a:lnTo>
                <a:lnTo>
                  <a:pt x="369" y="60"/>
                </a:lnTo>
                <a:lnTo>
                  <a:pt x="372" y="60"/>
                </a:lnTo>
                <a:lnTo>
                  <a:pt x="375" y="63"/>
                </a:lnTo>
                <a:lnTo>
                  <a:pt x="378" y="63"/>
                </a:lnTo>
                <a:lnTo>
                  <a:pt x="384" y="63"/>
                </a:lnTo>
                <a:lnTo>
                  <a:pt x="394" y="66"/>
                </a:lnTo>
                <a:lnTo>
                  <a:pt x="406" y="66"/>
                </a:lnTo>
                <a:lnTo>
                  <a:pt x="409" y="63"/>
                </a:lnTo>
                <a:lnTo>
                  <a:pt x="412" y="63"/>
                </a:lnTo>
                <a:lnTo>
                  <a:pt x="416" y="63"/>
                </a:lnTo>
                <a:lnTo>
                  <a:pt x="422" y="66"/>
                </a:lnTo>
                <a:lnTo>
                  <a:pt x="422" y="66"/>
                </a:lnTo>
                <a:lnTo>
                  <a:pt x="425" y="60"/>
                </a:lnTo>
                <a:lnTo>
                  <a:pt x="434" y="57"/>
                </a:lnTo>
                <a:lnTo>
                  <a:pt x="437" y="57"/>
                </a:lnTo>
                <a:lnTo>
                  <a:pt x="441" y="54"/>
                </a:lnTo>
                <a:lnTo>
                  <a:pt x="444" y="50"/>
                </a:lnTo>
                <a:lnTo>
                  <a:pt x="453" y="50"/>
                </a:lnTo>
                <a:lnTo>
                  <a:pt x="456" y="47"/>
                </a:lnTo>
                <a:lnTo>
                  <a:pt x="459" y="44"/>
                </a:lnTo>
                <a:lnTo>
                  <a:pt x="459" y="44"/>
                </a:lnTo>
                <a:lnTo>
                  <a:pt x="459" y="38"/>
                </a:lnTo>
                <a:lnTo>
                  <a:pt x="466" y="38"/>
                </a:lnTo>
                <a:lnTo>
                  <a:pt x="469" y="35"/>
                </a:lnTo>
                <a:lnTo>
                  <a:pt x="469" y="29"/>
                </a:lnTo>
                <a:lnTo>
                  <a:pt x="472" y="25"/>
                </a:lnTo>
                <a:lnTo>
                  <a:pt x="475" y="25"/>
                </a:lnTo>
                <a:lnTo>
                  <a:pt x="478" y="29"/>
                </a:lnTo>
                <a:lnTo>
                  <a:pt x="481" y="25"/>
                </a:lnTo>
                <a:lnTo>
                  <a:pt x="487" y="25"/>
                </a:lnTo>
                <a:lnTo>
                  <a:pt x="491" y="29"/>
                </a:lnTo>
                <a:lnTo>
                  <a:pt x="494" y="35"/>
                </a:lnTo>
                <a:lnTo>
                  <a:pt x="497" y="35"/>
                </a:lnTo>
                <a:lnTo>
                  <a:pt x="500" y="32"/>
                </a:lnTo>
                <a:lnTo>
                  <a:pt x="503" y="35"/>
                </a:lnTo>
                <a:lnTo>
                  <a:pt x="506" y="35"/>
                </a:lnTo>
                <a:lnTo>
                  <a:pt x="509" y="32"/>
                </a:lnTo>
                <a:lnTo>
                  <a:pt x="509" y="29"/>
                </a:lnTo>
                <a:lnTo>
                  <a:pt x="516" y="29"/>
                </a:lnTo>
                <a:lnTo>
                  <a:pt x="525" y="32"/>
                </a:lnTo>
                <a:lnTo>
                  <a:pt x="525" y="32"/>
                </a:lnTo>
                <a:lnTo>
                  <a:pt x="522" y="63"/>
                </a:lnTo>
                <a:lnTo>
                  <a:pt x="522" y="69"/>
                </a:lnTo>
                <a:lnTo>
                  <a:pt x="522" y="75"/>
                </a:lnTo>
                <a:lnTo>
                  <a:pt x="522" y="79"/>
                </a:lnTo>
                <a:lnTo>
                  <a:pt x="519" y="88"/>
                </a:lnTo>
                <a:lnTo>
                  <a:pt x="522" y="94"/>
                </a:lnTo>
                <a:lnTo>
                  <a:pt x="531" y="97"/>
                </a:lnTo>
                <a:lnTo>
                  <a:pt x="537" y="94"/>
                </a:lnTo>
                <a:lnTo>
                  <a:pt x="544" y="94"/>
                </a:lnTo>
                <a:lnTo>
                  <a:pt x="553" y="94"/>
                </a:lnTo>
                <a:lnTo>
                  <a:pt x="556" y="101"/>
                </a:lnTo>
                <a:lnTo>
                  <a:pt x="562" y="91"/>
                </a:lnTo>
                <a:lnTo>
                  <a:pt x="562" y="88"/>
                </a:lnTo>
                <a:lnTo>
                  <a:pt x="562" y="85"/>
                </a:lnTo>
                <a:lnTo>
                  <a:pt x="569" y="82"/>
                </a:lnTo>
                <a:lnTo>
                  <a:pt x="569" y="82"/>
                </a:lnTo>
                <a:lnTo>
                  <a:pt x="578" y="82"/>
                </a:lnTo>
                <a:lnTo>
                  <a:pt x="584" y="88"/>
                </a:lnTo>
                <a:lnTo>
                  <a:pt x="591" y="94"/>
                </a:lnTo>
                <a:lnTo>
                  <a:pt x="597" y="104"/>
                </a:lnTo>
                <a:lnTo>
                  <a:pt x="603" y="107"/>
                </a:lnTo>
                <a:lnTo>
                  <a:pt x="603" y="110"/>
                </a:lnTo>
                <a:lnTo>
                  <a:pt x="606" y="113"/>
                </a:lnTo>
                <a:lnTo>
                  <a:pt x="606" y="116"/>
                </a:lnTo>
                <a:lnTo>
                  <a:pt x="603" y="119"/>
                </a:lnTo>
                <a:lnTo>
                  <a:pt x="603" y="122"/>
                </a:lnTo>
                <a:lnTo>
                  <a:pt x="603" y="126"/>
                </a:lnTo>
                <a:lnTo>
                  <a:pt x="600" y="126"/>
                </a:lnTo>
                <a:lnTo>
                  <a:pt x="597" y="122"/>
                </a:lnTo>
                <a:lnTo>
                  <a:pt x="594" y="122"/>
                </a:lnTo>
                <a:lnTo>
                  <a:pt x="591" y="126"/>
                </a:lnTo>
                <a:lnTo>
                  <a:pt x="584" y="122"/>
                </a:lnTo>
                <a:lnTo>
                  <a:pt x="581" y="122"/>
                </a:lnTo>
                <a:lnTo>
                  <a:pt x="578" y="129"/>
                </a:lnTo>
                <a:lnTo>
                  <a:pt x="572" y="132"/>
                </a:lnTo>
                <a:lnTo>
                  <a:pt x="569" y="135"/>
                </a:lnTo>
                <a:lnTo>
                  <a:pt x="566" y="132"/>
                </a:lnTo>
                <a:lnTo>
                  <a:pt x="566" y="132"/>
                </a:lnTo>
                <a:lnTo>
                  <a:pt x="566" y="135"/>
                </a:lnTo>
                <a:lnTo>
                  <a:pt x="562" y="138"/>
                </a:lnTo>
                <a:lnTo>
                  <a:pt x="559" y="138"/>
                </a:lnTo>
                <a:lnTo>
                  <a:pt x="559" y="138"/>
                </a:lnTo>
                <a:lnTo>
                  <a:pt x="556" y="141"/>
                </a:lnTo>
                <a:lnTo>
                  <a:pt x="553" y="144"/>
                </a:lnTo>
                <a:lnTo>
                  <a:pt x="553" y="151"/>
                </a:lnTo>
                <a:lnTo>
                  <a:pt x="553" y="154"/>
                </a:lnTo>
                <a:lnTo>
                  <a:pt x="550" y="157"/>
                </a:lnTo>
                <a:lnTo>
                  <a:pt x="547" y="160"/>
                </a:lnTo>
                <a:lnTo>
                  <a:pt x="537" y="166"/>
                </a:lnTo>
                <a:lnTo>
                  <a:pt x="534" y="166"/>
                </a:lnTo>
                <a:lnTo>
                  <a:pt x="528" y="163"/>
                </a:lnTo>
                <a:lnTo>
                  <a:pt x="525" y="166"/>
                </a:lnTo>
                <a:lnTo>
                  <a:pt x="522" y="172"/>
                </a:lnTo>
                <a:lnTo>
                  <a:pt x="519" y="176"/>
                </a:lnTo>
                <a:lnTo>
                  <a:pt x="516" y="179"/>
                </a:lnTo>
                <a:lnTo>
                  <a:pt x="512" y="182"/>
                </a:lnTo>
                <a:lnTo>
                  <a:pt x="509" y="185"/>
                </a:lnTo>
                <a:lnTo>
                  <a:pt x="509" y="185"/>
                </a:lnTo>
                <a:lnTo>
                  <a:pt x="503" y="185"/>
                </a:lnTo>
                <a:lnTo>
                  <a:pt x="500" y="182"/>
                </a:lnTo>
                <a:lnTo>
                  <a:pt x="494" y="182"/>
                </a:lnTo>
                <a:lnTo>
                  <a:pt x="487" y="176"/>
                </a:lnTo>
                <a:lnTo>
                  <a:pt x="484" y="176"/>
                </a:lnTo>
                <a:lnTo>
                  <a:pt x="475" y="179"/>
                </a:lnTo>
                <a:lnTo>
                  <a:pt x="472" y="182"/>
                </a:lnTo>
                <a:lnTo>
                  <a:pt x="469" y="185"/>
                </a:lnTo>
                <a:lnTo>
                  <a:pt x="469" y="194"/>
                </a:lnTo>
                <a:lnTo>
                  <a:pt x="469" y="197"/>
                </a:lnTo>
                <a:lnTo>
                  <a:pt x="469" y="201"/>
                </a:lnTo>
                <a:lnTo>
                  <a:pt x="478" y="207"/>
                </a:lnTo>
                <a:lnTo>
                  <a:pt x="484" y="213"/>
                </a:lnTo>
                <a:lnTo>
                  <a:pt x="484" y="213"/>
                </a:lnTo>
                <a:lnTo>
                  <a:pt x="484" y="219"/>
                </a:lnTo>
                <a:lnTo>
                  <a:pt x="481" y="223"/>
                </a:lnTo>
                <a:lnTo>
                  <a:pt x="472" y="232"/>
                </a:lnTo>
                <a:lnTo>
                  <a:pt x="469" y="241"/>
                </a:lnTo>
                <a:lnTo>
                  <a:pt x="466" y="248"/>
                </a:lnTo>
                <a:lnTo>
                  <a:pt x="462" y="248"/>
                </a:lnTo>
                <a:lnTo>
                  <a:pt x="456" y="248"/>
                </a:lnTo>
                <a:lnTo>
                  <a:pt x="450" y="248"/>
                </a:lnTo>
                <a:lnTo>
                  <a:pt x="444" y="254"/>
                </a:lnTo>
                <a:lnTo>
                  <a:pt x="441" y="257"/>
                </a:lnTo>
                <a:lnTo>
                  <a:pt x="434" y="257"/>
                </a:lnTo>
                <a:lnTo>
                  <a:pt x="425" y="257"/>
                </a:lnTo>
                <a:lnTo>
                  <a:pt x="422" y="260"/>
                </a:lnTo>
                <a:lnTo>
                  <a:pt x="416" y="260"/>
                </a:lnTo>
                <a:lnTo>
                  <a:pt x="400" y="266"/>
                </a:lnTo>
                <a:lnTo>
                  <a:pt x="391" y="269"/>
                </a:lnTo>
                <a:lnTo>
                  <a:pt x="384" y="276"/>
                </a:lnTo>
                <a:lnTo>
                  <a:pt x="375" y="282"/>
                </a:lnTo>
                <a:lnTo>
                  <a:pt x="372" y="285"/>
                </a:lnTo>
                <a:lnTo>
                  <a:pt x="369" y="285"/>
                </a:lnTo>
                <a:lnTo>
                  <a:pt x="362" y="285"/>
                </a:lnTo>
                <a:lnTo>
                  <a:pt x="362" y="282"/>
                </a:lnTo>
                <a:lnTo>
                  <a:pt x="359" y="279"/>
                </a:lnTo>
                <a:lnTo>
                  <a:pt x="353" y="282"/>
                </a:lnTo>
                <a:lnTo>
                  <a:pt x="347" y="282"/>
                </a:lnTo>
                <a:lnTo>
                  <a:pt x="337" y="279"/>
                </a:lnTo>
                <a:lnTo>
                  <a:pt x="334" y="279"/>
                </a:lnTo>
                <a:lnTo>
                  <a:pt x="322" y="273"/>
                </a:lnTo>
                <a:lnTo>
                  <a:pt x="309" y="269"/>
                </a:lnTo>
                <a:lnTo>
                  <a:pt x="303" y="263"/>
                </a:lnTo>
                <a:lnTo>
                  <a:pt x="297" y="260"/>
                </a:lnTo>
                <a:lnTo>
                  <a:pt x="281" y="260"/>
                </a:lnTo>
                <a:lnTo>
                  <a:pt x="272" y="260"/>
                </a:lnTo>
                <a:lnTo>
                  <a:pt x="269" y="260"/>
                </a:lnTo>
                <a:lnTo>
                  <a:pt x="265" y="260"/>
                </a:lnTo>
                <a:lnTo>
                  <a:pt x="262" y="263"/>
                </a:lnTo>
                <a:lnTo>
                  <a:pt x="256" y="266"/>
                </a:lnTo>
                <a:lnTo>
                  <a:pt x="247" y="266"/>
                </a:lnTo>
                <a:lnTo>
                  <a:pt x="231" y="266"/>
                </a:lnTo>
                <a:lnTo>
                  <a:pt x="219" y="266"/>
                </a:lnTo>
                <a:lnTo>
                  <a:pt x="212" y="266"/>
                </a:lnTo>
                <a:lnTo>
                  <a:pt x="203" y="266"/>
                </a:lnTo>
                <a:lnTo>
                  <a:pt x="200" y="266"/>
                </a:lnTo>
                <a:lnTo>
                  <a:pt x="197" y="266"/>
                </a:lnTo>
                <a:lnTo>
                  <a:pt x="190" y="257"/>
                </a:lnTo>
                <a:lnTo>
                  <a:pt x="190" y="254"/>
                </a:lnTo>
                <a:lnTo>
                  <a:pt x="184" y="248"/>
                </a:lnTo>
                <a:lnTo>
                  <a:pt x="181" y="241"/>
                </a:lnTo>
                <a:lnTo>
                  <a:pt x="181" y="238"/>
                </a:lnTo>
                <a:lnTo>
                  <a:pt x="181" y="235"/>
                </a:lnTo>
                <a:lnTo>
                  <a:pt x="178" y="232"/>
                </a:lnTo>
                <a:lnTo>
                  <a:pt x="175" y="229"/>
                </a:lnTo>
                <a:lnTo>
                  <a:pt x="172" y="229"/>
                </a:lnTo>
                <a:lnTo>
                  <a:pt x="172" y="229"/>
                </a:lnTo>
                <a:lnTo>
                  <a:pt x="172" y="226"/>
                </a:lnTo>
                <a:lnTo>
                  <a:pt x="169" y="223"/>
                </a:lnTo>
                <a:lnTo>
                  <a:pt x="169" y="226"/>
                </a:lnTo>
                <a:lnTo>
                  <a:pt x="162" y="223"/>
                </a:lnTo>
                <a:lnTo>
                  <a:pt x="156" y="223"/>
                </a:lnTo>
                <a:lnTo>
                  <a:pt x="150" y="216"/>
                </a:lnTo>
                <a:lnTo>
                  <a:pt x="147" y="216"/>
                </a:lnTo>
                <a:lnTo>
                  <a:pt x="147" y="216"/>
                </a:lnTo>
                <a:lnTo>
                  <a:pt x="144" y="216"/>
                </a:lnTo>
                <a:lnTo>
                  <a:pt x="140" y="213"/>
                </a:lnTo>
                <a:lnTo>
                  <a:pt x="134" y="210"/>
                </a:lnTo>
                <a:lnTo>
                  <a:pt x="122" y="207"/>
                </a:lnTo>
                <a:lnTo>
                  <a:pt x="119" y="207"/>
                </a:lnTo>
                <a:lnTo>
                  <a:pt x="119" y="207"/>
                </a:lnTo>
                <a:lnTo>
                  <a:pt x="112" y="207"/>
                </a:lnTo>
                <a:lnTo>
                  <a:pt x="103" y="207"/>
                </a:lnTo>
                <a:lnTo>
                  <a:pt x="84" y="204"/>
                </a:lnTo>
                <a:lnTo>
                  <a:pt x="81" y="201"/>
                </a:lnTo>
                <a:lnTo>
                  <a:pt x="78" y="194"/>
                </a:lnTo>
                <a:lnTo>
                  <a:pt x="75" y="191"/>
                </a:lnTo>
                <a:lnTo>
                  <a:pt x="75" y="188"/>
                </a:lnTo>
                <a:lnTo>
                  <a:pt x="78" y="188"/>
                </a:lnTo>
                <a:lnTo>
                  <a:pt x="81" y="185"/>
                </a:lnTo>
                <a:lnTo>
                  <a:pt x="81" y="182"/>
                </a:lnTo>
                <a:lnTo>
                  <a:pt x="78" y="179"/>
                </a:lnTo>
                <a:lnTo>
                  <a:pt x="78" y="172"/>
                </a:lnTo>
                <a:lnTo>
                  <a:pt x="78" y="172"/>
                </a:lnTo>
                <a:lnTo>
                  <a:pt x="78" y="166"/>
                </a:lnTo>
                <a:lnTo>
                  <a:pt x="78" y="163"/>
                </a:lnTo>
                <a:lnTo>
                  <a:pt x="75" y="160"/>
                </a:lnTo>
                <a:lnTo>
                  <a:pt x="72" y="160"/>
                </a:lnTo>
                <a:lnTo>
                  <a:pt x="69" y="157"/>
                </a:lnTo>
                <a:lnTo>
                  <a:pt x="69" y="154"/>
                </a:lnTo>
                <a:lnTo>
                  <a:pt x="65" y="151"/>
                </a:lnTo>
                <a:lnTo>
                  <a:pt x="62" y="147"/>
                </a:lnTo>
                <a:lnTo>
                  <a:pt x="62" y="144"/>
                </a:lnTo>
                <a:lnTo>
                  <a:pt x="62" y="141"/>
                </a:lnTo>
                <a:lnTo>
                  <a:pt x="59" y="138"/>
                </a:lnTo>
                <a:lnTo>
                  <a:pt x="56" y="138"/>
                </a:lnTo>
                <a:lnTo>
                  <a:pt x="53" y="135"/>
                </a:lnTo>
                <a:lnTo>
                  <a:pt x="50" y="135"/>
                </a:lnTo>
                <a:lnTo>
                  <a:pt x="47" y="135"/>
                </a:lnTo>
                <a:lnTo>
                  <a:pt x="47" y="135"/>
                </a:lnTo>
                <a:lnTo>
                  <a:pt x="44" y="135"/>
                </a:lnTo>
                <a:lnTo>
                  <a:pt x="40" y="135"/>
                </a:lnTo>
                <a:lnTo>
                  <a:pt x="37" y="132"/>
                </a:lnTo>
                <a:lnTo>
                  <a:pt x="37" y="132"/>
                </a:lnTo>
                <a:lnTo>
                  <a:pt x="34" y="132"/>
                </a:lnTo>
                <a:lnTo>
                  <a:pt x="31" y="132"/>
                </a:lnTo>
                <a:lnTo>
                  <a:pt x="28" y="135"/>
                </a:lnTo>
                <a:lnTo>
                  <a:pt x="28" y="135"/>
                </a:lnTo>
                <a:lnTo>
                  <a:pt x="25" y="135"/>
                </a:lnTo>
                <a:lnTo>
                  <a:pt x="22" y="135"/>
                </a:lnTo>
                <a:lnTo>
                  <a:pt x="22" y="132"/>
                </a:lnTo>
                <a:lnTo>
                  <a:pt x="22" y="129"/>
                </a:lnTo>
                <a:lnTo>
                  <a:pt x="19" y="126"/>
                </a:lnTo>
                <a:lnTo>
                  <a:pt x="15" y="122"/>
                </a:lnTo>
                <a:lnTo>
                  <a:pt x="12" y="119"/>
                </a:lnTo>
                <a:lnTo>
                  <a:pt x="9" y="119"/>
                </a:lnTo>
                <a:lnTo>
                  <a:pt x="6" y="116"/>
                </a:lnTo>
                <a:lnTo>
                  <a:pt x="6" y="116"/>
                </a:lnTo>
                <a:lnTo>
                  <a:pt x="6" y="113"/>
                </a:lnTo>
                <a:lnTo>
                  <a:pt x="6" y="110"/>
                </a:lnTo>
                <a:lnTo>
                  <a:pt x="3" y="110"/>
                </a:lnTo>
                <a:lnTo>
                  <a:pt x="3" y="113"/>
                </a:lnTo>
                <a:lnTo>
                  <a:pt x="3" y="113"/>
                </a:lnTo>
                <a:lnTo>
                  <a:pt x="0" y="110"/>
                </a:lnTo>
                <a:lnTo>
                  <a:pt x="0" y="110"/>
                </a:lnTo>
                <a:lnTo>
                  <a:pt x="0" y="104"/>
                </a:lnTo>
                <a:lnTo>
                  <a:pt x="0" y="101"/>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9" name="Freeform 17">
            <a:extLst>
              <a:ext uri="{FF2B5EF4-FFF2-40B4-BE49-F238E27FC236}">
                <a16:creationId xmlns:a16="http://schemas.microsoft.com/office/drawing/2014/main" id="{901CD47E-EA6B-CF8B-C0BA-89229097B9FE}"/>
              </a:ext>
            </a:extLst>
          </p:cNvPr>
          <p:cNvSpPr>
            <a:spLocks/>
          </p:cNvSpPr>
          <p:nvPr userDrawn="1"/>
        </p:nvSpPr>
        <p:spPr bwMode="auto">
          <a:xfrm>
            <a:off x="15819998" y="5333285"/>
            <a:ext cx="2358872" cy="1250950"/>
          </a:xfrm>
          <a:custGeom>
            <a:avLst/>
            <a:gdLst>
              <a:gd name="T0" fmla="*/ 18 w 743"/>
              <a:gd name="T1" fmla="*/ 229 h 394"/>
              <a:gd name="T2" fmla="*/ 0 w 743"/>
              <a:gd name="T3" fmla="*/ 185 h 394"/>
              <a:gd name="T4" fmla="*/ 34 w 743"/>
              <a:gd name="T5" fmla="*/ 175 h 394"/>
              <a:gd name="T6" fmla="*/ 53 w 743"/>
              <a:gd name="T7" fmla="*/ 141 h 394"/>
              <a:gd name="T8" fmla="*/ 71 w 743"/>
              <a:gd name="T9" fmla="*/ 135 h 394"/>
              <a:gd name="T10" fmla="*/ 84 w 743"/>
              <a:gd name="T11" fmla="*/ 132 h 394"/>
              <a:gd name="T12" fmla="*/ 118 w 743"/>
              <a:gd name="T13" fmla="*/ 141 h 394"/>
              <a:gd name="T14" fmla="*/ 140 w 743"/>
              <a:gd name="T15" fmla="*/ 150 h 394"/>
              <a:gd name="T16" fmla="*/ 168 w 743"/>
              <a:gd name="T17" fmla="*/ 141 h 394"/>
              <a:gd name="T18" fmla="*/ 196 w 743"/>
              <a:gd name="T19" fmla="*/ 141 h 394"/>
              <a:gd name="T20" fmla="*/ 215 w 743"/>
              <a:gd name="T21" fmla="*/ 150 h 394"/>
              <a:gd name="T22" fmla="*/ 250 w 743"/>
              <a:gd name="T23" fmla="*/ 150 h 394"/>
              <a:gd name="T24" fmla="*/ 237 w 743"/>
              <a:gd name="T25" fmla="*/ 119 h 394"/>
              <a:gd name="T26" fmla="*/ 237 w 743"/>
              <a:gd name="T27" fmla="*/ 100 h 394"/>
              <a:gd name="T28" fmla="*/ 250 w 743"/>
              <a:gd name="T29" fmla="*/ 75 h 394"/>
              <a:gd name="T30" fmla="*/ 237 w 743"/>
              <a:gd name="T31" fmla="*/ 66 h 394"/>
              <a:gd name="T32" fmla="*/ 250 w 743"/>
              <a:gd name="T33" fmla="*/ 57 h 394"/>
              <a:gd name="T34" fmla="*/ 271 w 743"/>
              <a:gd name="T35" fmla="*/ 50 h 394"/>
              <a:gd name="T36" fmla="*/ 306 w 743"/>
              <a:gd name="T37" fmla="*/ 41 h 394"/>
              <a:gd name="T38" fmla="*/ 328 w 743"/>
              <a:gd name="T39" fmla="*/ 28 h 394"/>
              <a:gd name="T40" fmla="*/ 359 w 743"/>
              <a:gd name="T41" fmla="*/ 13 h 394"/>
              <a:gd name="T42" fmla="*/ 384 w 743"/>
              <a:gd name="T43" fmla="*/ 3 h 394"/>
              <a:gd name="T44" fmla="*/ 412 w 743"/>
              <a:gd name="T45" fmla="*/ 19 h 394"/>
              <a:gd name="T46" fmla="*/ 418 w 743"/>
              <a:gd name="T47" fmla="*/ 35 h 394"/>
              <a:gd name="T48" fmla="*/ 437 w 743"/>
              <a:gd name="T49" fmla="*/ 32 h 394"/>
              <a:gd name="T50" fmla="*/ 456 w 743"/>
              <a:gd name="T51" fmla="*/ 38 h 394"/>
              <a:gd name="T52" fmla="*/ 468 w 743"/>
              <a:gd name="T53" fmla="*/ 47 h 394"/>
              <a:gd name="T54" fmla="*/ 497 w 743"/>
              <a:gd name="T55" fmla="*/ 35 h 394"/>
              <a:gd name="T56" fmla="*/ 515 w 743"/>
              <a:gd name="T57" fmla="*/ 28 h 394"/>
              <a:gd name="T58" fmla="*/ 606 w 743"/>
              <a:gd name="T59" fmla="*/ 110 h 394"/>
              <a:gd name="T60" fmla="*/ 631 w 743"/>
              <a:gd name="T61" fmla="*/ 116 h 394"/>
              <a:gd name="T62" fmla="*/ 662 w 743"/>
              <a:gd name="T63" fmla="*/ 110 h 394"/>
              <a:gd name="T64" fmla="*/ 693 w 743"/>
              <a:gd name="T65" fmla="*/ 132 h 394"/>
              <a:gd name="T66" fmla="*/ 706 w 743"/>
              <a:gd name="T67" fmla="*/ 147 h 394"/>
              <a:gd name="T68" fmla="*/ 731 w 743"/>
              <a:gd name="T69" fmla="*/ 147 h 394"/>
              <a:gd name="T70" fmla="*/ 734 w 743"/>
              <a:gd name="T71" fmla="*/ 169 h 394"/>
              <a:gd name="T72" fmla="*/ 725 w 743"/>
              <a:gd name="T73" fmla="*/ 213 h 394"/>
              <a:gd name="T74" fmla="*/ 687 w 743"/>
              <a:gd name="T75" fmla="*/ 216 h 394"/>
              <a:gd name="T76" fmla="*/ 675 w 743"/>
              <a:gd name="T77" fmla="*/ 260 h 394"/>
              <a:gd name="T78" fmla="*/ 659 w 743"/>
              <a:gd name="T79" fmla="*/ 269 h 394"/>
              <a:gd name="T80" fmla="*/ 643 w 743"/>
              <a:gd name="T81" fmla="*/ 282 h 394"/>
              <a:gd name="T82" fmla="*/ 653 w 743"/>
              <a:gd name="T83" fmla="*/ 313 h 394"/>
              <a:gd name="T84" fmla="*/ 653 w 743"/>
              <a:gd name="T85" fmla="*/ 344 h 394"/>
              <a:gd name="T86" fmla="*/ 584 w 743"/>
              <a:gd name="T87" fmla="*/ 332 h 394"/>
              <a:gd name="T88" fmla="*/ 534 w 743"/>
              <a:gd name="T89" fmla="*/ 332 h 394"/>
              <a:gd name="T90" fmla="*/ 493 w 743"/>
              <a:gd name="T91" fmla="*/ 344 h 394"/>
              <a:gd name="T92" fmla="*/ 468 w 743"/>
              <a:gd name="T93" fmla="*/ 360 h 394"/>
              <a:gd name="T94" fmla="*/ 421 w 743"/>
              <a:gd name="T95" fmla="*/ 385 h 394"/>
              <a:gd name="T96" fmla="*/ 331 w 743"/>
              <a:gd name="T97" fmla="*/ 322 h 394"/>
              <a:gd name="T98" fmla="*/ 181 w 743"/>
              <a:gd name="T99" fmla="*/ 379 h 394"/>
              <a:gd name="T100" fmla="*/ 134 w 743"/>
              <a:gd name="T101" fmla="*/ 360 h 394"/>
              <a:gd name="T102" fmla="*/ 115 w 743"/>
              <a:gd name="T103" fmla="*/ 351 h 394"/>
              <a:gd name="T104" fmla="*/ 100 w 743"/>
              <a:gd name="T105" fmla="*/ 332 h 394"/>
              <a:gd name="T106" fmla="*/ 84 w 743"/>
              <a:gd name="T107" fmla="*/ 313 h 394"/>
              <a:gd name="T108" fmla="*/ 106 w 743"/>
              <a:gd name="T109" fmla="*/ 313 h 394"/>
              <a:gd name="T110" fmla="*/ 100 w 743"/>
              <a:gd name="T111" fmla="*/ 297 h 394"/>
              <a:gd name="T112" fmla="*/ 125 w 743"/>
              <a:gd name="T113" fmla="*/ 291 h 394"/>
              <a:gd name="T114" fmla="*/ 131 w 743"/>
              <a:gd name="T115" fmla="*/ 279 h 394"/>
              <a:gd name="T116" fmla="*/ 128 w 743"/>
              <a:gd name="T117" fmla="*/ 257 h 394"/>
              <a:gd name="T118" fmla="*/ 109 w 743"/>
              <a:gd name="T119" fmla="*/ 254 h 394"/>
              <a:gd name="T120" fmla="*/ 96 w 743"/>
              <a:gd name="T121" fmla="*/ 250 h 394"/>
              <a:gd name="T122" fmla="*/ 78 w 743"/>
              <a:gd name="T123" fmla="*/ 254 h 394"/>
              <a:gd name="T124" fmla="*/ 62 w 743"/>
              <a:gd name="T125" fmla="*/ 263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3" h="394">
                <a:moveTo>
                  <a:pt x="56" y="263"/>
                </a:moveTo>
                <a:lnTo>
                  <a:pt x="50" y="260"/>
                </a:lnTo>
                <a:lnTo>
                  <a:pt x="46" y="263"/>
                </a:lnTo>
                <a:lnTo>
                  <a:pt x="40" y="257"/>
                </a:lnTo>
                <a:lnTo>
                  <a:pt x="40" y="254"/>
                </a:lnTo>
                <a:lnTo>
                  <a:pt x="46" y="254"/>
                </a:lnTo>
                <a:lnTo>
                  <a:pt x="40" y="241"/>
                </a:lnTo>
                <a:lnTo>
                  <a:pt x="31" y="232"/>
                </a:lnTo>
                <a:lnTo>
                  <a:pt x="18" y="229"/>
                </a:lnTo>
                <a:lnTo>
                  <a:pt x="15" y="232"/>
                </a:lnTo>
                <a:lnTo>
                  <a:pt x="9" y="225"/>
                </a:lnTo>
                <a:lnTo>
                  <a:pt x="9" y="225"/>
                </a:lnTo>
                <a:lnTo>
                  <a:pt x="6" y="219"/>
                </a:lnTo>
                <a:lnTo>
                  <a:pt x="0" y="216"/>
                </a:lnTo>
                <a:lnTo>
                  <a:pt x="3" y="210"/>
                </a:lnTo>
                <a:lnTo>
                  <a:pt x="3" y="197"/>
                </a:lnTo>
                <a:lnTo>
                  <a:pt x="0" y="194"/>
                </a:lnTo>
                <a:lnTo>
                  <a:pt x="0" y="185"/>
                </a:lnTo>
                <a:lnTo>
                  <a:pt x="3" y="182"/>
                </a:lnTo>
                <a:lnTo>
                  <a:pt x="9" y="175"/>
                </a:lnTo>
                <a:lnTo>
                  <a:pt x="9" y="169"/>
                </a:lnTo>
                <a:lnTo>
                  <a:pt x="12" y="166"/>
                </a:lnTo>
                <a:lnTo>
                  <a:pt x="21" y="175"/>
                </a:lnTo>
                <a:lnTo>
                  <a:pt x="25" y="179"/>
                </a:lnTo>
                <a:lnTo>
                  <a:pt x="28" y="185"/>
                </a:lnTo>
                <a:lnTo>
                  <a:pt x="34" y="182"/>
                </a:lnTo>
                <a:lnTo>
                  <a:pt x="34" y="175"/>
                </a:lnTo>
                <a:lnTo>
                  <a:pt x="37" y="175"/>
                </a:lnTo>
                <a:lnTo>
                  <a:pt x="34" y="160"/>
                </a:lnTo>
                <a:lnTo>
                  <a:pt x="37" y="160"/>
                </a:lnTo>
                <a:lnTo>
                  <a:pt x="43" y="160"/>
                </a:lnTo>
                <a:lnTo>
                  <a:pt x="43" y="154"/>
                </a:lnTo>
                <a:lnTo>
                  <a:pt x="43" y="150"/>
                </a:lnTo>
                <a:lnTo>
                  <a:pt x="43" y="147"/>
                </a:lnTo>
                <a:lnTo>
                  <a:pt x="50" y="141"/>
                </a:lnTo>
                <a:lnTo>
                  <a:pt x="53" y="141"/>
                </a:lnTo>
                <a:lnTo>
                  <a:pt x="53" y="138"/>
                </a:lnTo>
                <a:lnTo>
                  <a:pt x="56" y="135"/>
                </a:lnTo>
                <a:lnTo>
                  <a:pt x="62" y="135"/>
                </a:lnTo>
                <a:lnTo>
                  <a:pt x="62" y="132"/>
                </a:lnTo>
                <a:lnTo>
                  <a:pt x="59" y="128"/>
                </a:lnTo>
                <a:lnTo>
                  <a:pt x="62" y="125"/>
                </a:lnTo>
                <a:lnTo>
                  <a:pt x="68" y="128"/>
                </a:lnTo>
                <a:lnTo>
                  <a:pt x="71" y="132"/>
                </a:lnTo>
                <a:lnTo>
                  <a:pt x="71" y="135"/>
                </a:lnTo>
                <a:lnTo>
                  <a:pt x="68" y="138"/>
                </a:lnTo>
                <a:lnTo>
                  <a:pt x="71" y="138"/>
                </a:lnTo>
                <a:lnTo>
                  <a:pt x="75" y="138"/>
                </a:lnTo>
                <a:lnTo>
                  <a:pt x="75" y="135"/>
                </a:lnTo>
                <a:lnTo>
                  <a:pt x="78" y="132"/>
                </a:lnTo>
                <a:lnTo>
                  <a:pt x="78" y="135"/>
                </a:lnTo>
                <a:lnTo>
                  <a:pt x="81" y="132"/>
                </a:lnTo>
                <a:lnTo>
                  <a:pt x="81" y="132"/>
                </a:lnTo>
                <a:lnTo>
                  <a:pt x="84" y="132"/>
                </a:lnTo>
                <a:lnTo>
                  <a:pt x="90" y="128"/>
                </a:lnTo>
                <a:lnTo>
                  <a:pt x="93" y="128"/>
                </a:lnTo>
                <a:lnTo>
                  <a:pt x="93" y="132"/>
                </a:lnTo>
                <a:lnTo>
                  <a:pt x="100" y="135"/>
                </a:lnTo>
                <a:lnTo>
                  <a:pt x="106" y="135"/>
                </a:lnTo>
                <a:lnTo>
                  <a:pt x="109" y="135"/>
                </a:lnTo>
                <a:lnTo>
                  <a:pt x="112" y="138"/>
                </a:lnTo>
                <a:lnTo>
                  <a:pt x="112" y="138"/>
                </a:lnTo>
                <a:lnTo>
                  <a:pt x="118" y="141"/>
                </a:lnTo>
                <a:lnTo>
                  <a:pt x="121" y="141"/>
                </a:lnTo>
                <a:lnTo>
                  <a:pt x="125" y="144"/>
                </a:lnTo>
                <a:lnTo>
                  <a:pt x="131" y="150"/>
                </a:lnTo>
                <a:lnTo>
                  <a:pt x="134" y="150"/>
                </a:lnTo>
                <a:lnTo>
                  <a:pt x="134" y="154"/>
                </a:lnTo>
                <a:lnTo>
                  <a:pt x="134" y="157"/>
                </a:lnTo>
                <a:lnTo>
                  <a:pt x="137" y="157"/>
                </a:lnTo>
                <a:lnTo>
                  <a:pt x="140" y="154"/>
                </a:lnTo>
                <a:lnTo>
                  <a:pt x="140" y="150"/>
                </a:lnTo>
                <a:lnTo>
                  <a:pt x="143" y="147"/>
                </a:lnTo>
                <a:lnTo>
                  <a:pt x="146" y="150"/>
                </a:lnTo>
                <a:lnTo>
                  <a:pt x="153" y="150"/>
                </a:lnTo>
                <a:lnTo>
                  <a:pt x="156" y="157"/>
                </a:lnTo>
                <a:lnTo>
                  <a:pt x="159" y="157"/>
                </a:lnTo>
                <a:lnTo>
                  <a:pt x="165" y="154"/>
                </a:lnTo>
                <a:lnTo>
                  <a:pt x="165" y="147"/>
                </a:lnTo>
                <a:lnTo>
                  <a:pt x="168" y="144"/>
                </a:lnTo>
                <a:lnTo>
                  <a:pt x="168" y="141"/>
                </a:lnTo>
                <a:lnTo>
                  <a:pt x="171" y="141"/>
                </a:lnTo>
                <a:lnTo>
                  <a:pt x="175" y="144"/>
                </a:lnTo>
                <a:lnTo>
                  <a:pt x="175" y="141"/>
                </a:lnTo>
                <a:lnTo>
                  <a:pt x="181" y="141"/>
                </a:lnTo>
                <a:lnTo>
                  <a:pt x="187" y="144"/>
                </a:lnTo>
                <a:lnTo>
                  <a:pt x="187" y="147"/>
                </a:lnTo>
                <a:lnTo>
                  <a:pt x="193" y="147"/>
                </a:lnTo>
                <a:lnTo>
                  <a:pt x="193" y="141"/>
                </a:lnTo>
                <a:lnTo>
                  <a:pt x="196" y="141"/>
                </a:lnTo>
                <a:lnTo>
                  <a:pt x="200" y="141"/>
                </a:lnTo>
                <a:lnTo>
                  <a:pt x="203" y="138"/>
                </a:lnTo>
                <a:lnTo>
                  <a:pt x="206" y="141"/>
                </a:lnTo>
                <a:lnTo>
                  <a:pt x="209" y="141"/>
                </a:lnTo>
                <a:lnTo>
                  <a:pt x="209" y="144"/>
                </a:lnTo>
                <a:lnTo>
                  <a:pt x="206" y="147"/>
                </a:lnTo>
                <a:lnTo>
                  <a:pt x="209" y="150"/>
                </a:lnTo>
                <a:lnTo>
                  <a:pt x="212" y="154"/>
                </a:lnTo>
                <a:lnTo>
                  <a:pt x="215" y="150"/>
                </a:lnTo>
                <a:lnTo>
                  <a:pt x="215" y="154"/>
                </a:lnTo>
                <a:lnTo>
                  <a:pt x="221" y="154"/>
                </a:lnTo>
                <a:lnTo>
                  <a:pt x="231" y="157"/>
                </a:lnTo>
                <a:lnTo>
                  <a:pt x="234" y="157"/>
                </a:lnTo>
                <a:lnTo>
                  <a:pt x="237" y="150"/>
                </a:lnTo>
                <a:lnTo>
                  <a:pt x="237" y="147"/>
                </a:lnTo>
                <a:lnTo>
                  <a:pt x="237" y="144"/>
                </a:lnTo>
                <a:lnTo>
                  <a:pt x="243" y="150"/>
                </a:lnTo>
                <a:lnTo>
                  <a:pt x="250" y="150"/>
                </a:lnTo>
                <a:lnTo>
                  <a:pt x="256" y="147"/>
                </a:lnTo>
                <a:lnTo>
                  <a:pt x="259" y="144"/>
                </a:lnTo>
                <a:lnTo>
                  <a:pt x="256" y="128"/>
                </a:lnTo>
                <a:lnTo>
                  <a:pt x="256" y="128"/>
                </a:lnTo>
                <a:lnTo>
                  <a:pt x="250" y="128"/>
                </a:lnTo>
                <a:lnTo>
                  <a:pt x="246" y="125"/>
                </a:lnTo>
                <a:lnTo>
                  <a:pt x="246" y="122"/>
                </a:lnTo>
                <a:lnTo>
                  <a:pt x="240" y="122"/>
                </a:lnTo>
                <a:lnTo>
                  <a:pt x="237" y="119"/>
                </a:lnTo>
                <a:lnTo>
                  <a:pt x="234" y="119"/>
                </a:lnTo>
                <a:lnTo>
                  <a:pt x="234" y="116"/>
                </a:lnTo>
                <a:lnTo>
                  <a:pt x="231" y="113"/>
                </a:lnTo>
                <a:lnTo>
                  <a:pt x="231" y="113"/>
                </a:lnTo>
                <a:lnTo>
                  <a:pt x="237" y="113"/>
                </a:lnTo>
                <a:lnTo>
                  <a:pt x="237" y="107"/>
                </a:lnTo>
                <a:lnTo>
                  <a:pt x="240" y="103"/>
                </a:lnTo>
                <a:lnTo>
                  <a:pt x="237" y="100"/>
                </a:lnTo>
                <a:lnTo>
                  <a:pt x="237" y="100"/>
                </a:lnTo>
                <a:lnTo>
                  <a:pt x="234" y="94"/>
                </a:lnTo>
                <a:lnTo>
                  <a:pt x="240" y="88"/>
                </a:lnTo>
                <a:lnTo>
                  <a:pt x="243" y="85"/>
                </a:lnTo>
                <a:lnTo>
                  <a:pt x="253" y="85"/>
                </a:lnTo>
                <a:lnTo>
                  <a:pt x="256" y="85"/>
                </a:lnTo>
                <a:lnTo>
                  <a:pt x="259" y="82"/>
                </a:lnTo>
                <a:lnTo>
                  <a:pt x="259" y="78"/>
                </a:lnTo>
                <a:lnTo>
                  <a:pt x="253" y="78"/>
                </a:lnTo>
                <a:lnTo>
                  <a:pt x="250" y="75"/>
                </a:lnTo>
                <a:lnTo>
                  <a:pt x="250" y="75"/>
                </a:lnTo>
                <a:lnTo>
                  <a:pt x="246" y="75"/>
                </a:lnTo>
                <a:lnTo>
                  <a:pt x="240" y="75"/>
                </a:lnTo>
                <a:lnTo>
                  <a:pt x="237" y="75"/>
                </a:lnTo>
                <a:lnTo>
                  <a:pt x="237" y="72"/>
                </a:lnTo>
                <a:lnTo>
                  <a:pt x="237" y="72"/>
                </a:lnTo>
                <a:lnTo>
                  <a:pt x="243" y="69"/>
                </a:lnTo>
                <a:lnTo>
                  <a:pt x="240" y="66"/>
                </a:lnTo>
                <a:lnTo>
                  <a:pt x="237" y="66"/>
                </a:lnTo>
                <a:lnTo>
                  <a:pt x="234" y="66"/>
                </a:lnTo>
                <a:lnTo>
                  <a:pt x="234" y="63"/>
                </a:lnTo>
                <a:lnTo>
                  <a:pt x="234" y="60"/>
                </a:lnTo>
                <a:lnTo>
                  <a:pt x="234" y="57"/>
                </a:lnTo>
                <a:lnTo>
                  <a:pt x="237" y="57"/>
                </a:lnTo>
                <a:lnTo>
                  <a:pt x="240" y="57"/>
                </a:lnTo>
                <a:lnTo>
                  <a:pt x="243" y="57"/>
                </a:lnTo>
                <a:lnTo>
                  <a:pt x="243" y="57"/>
                </a:lnTo>
                <a:lnTo>
                  <a:pt x="250" y="57"/>
                </a:lnTo>
                <a:lnTo>
                  <a:pt x="253" y="60"/>
                </a:lnTo>
                <a:lnTo>
                  <a:pt x="253" y="57"/>
                </a:lnTo>
                <a:lnTo>
                  <a:pt x="253" y="57"/>
                </a:lnTo>
                <a:lnTo>
                  <a:pt x="259" y="53"/>
                </a:lnTo>
                <a:lnTo>
                  <a:pt x="262" y="53"/>
                </a:lnTo>
                <a:lnTo>
                  <a:pt x="262" y="57"/>
                </a:lnTo>
                <a:lnTo>
                  <a:pt x="265" y="53"/>
                </a:lnTo>
                <a:lnTo>
                  <a:pt x="265" y="50"/>
                </a:lnTo>
                <a:lnTo>
                  <a:pt x="271" y="50"/>
                </a:lnTo>
                <a:lnTo>
                  <a:pt x="278" y="50"/>
                </a:lnTo>
                <a:lnTo>
                  <a:pt x="281" y="47"/>
                </a:lnTo>
                <a:lnTo>
                  <a:pt x="287" y="47"/>
                </a:lnTo>
                <a:lnTo>
                  <a:pt x="287" y="44"/>
                </a:lnTo>
                <a:lnTo>
                  <a:pt x="293" y="41"/>
                </a:lnTo>
                <a:lnTo>
                  <a:pt x="300" y="41"/>
                </a:lnTo>
                <a:lnTo>
                  <a:pt x="303" y="38"/>
                </a:lnTo>
                <a:lnTo>
                  <a:pt x="303" y="38"/>
                </a:lnTo>
                <a:lnTo>
                  <a:pt x="306" y="41"/>
                </a:lnTo>
                <a:lnTo>
                  <a:pt x="309" y="38"/>
                </a:lnTo>
                <a:lnTo>
                  <a:pt x="309" y="35"/>
                </a:lnTo>
                <a:lnTo>
                  <a:pt x="309" y="32"/>
                </a:lnTo>
                <a:lnTo>
                  <a:pt x="315" y="32"/>
                </a:lnTo>
                <a:lnTo>
                  <a:pt x="315" y="28"/>
                </a:lnTo>
                <a:lnTo>
                  <a:pt x="318" y="28"/>
                </a:lnTo>
                <a:lnTo>
                  <a:pt x="321" y="28"/>
                </a:lnTo>
                <a:lnTo>
                  <a:pt x="321" y="32"/>
                </a:lnTo>
                <a:lnTo>
                  <a:pt x="328" y="28"/>
                </a:lnTo>
                <a:lnTo>
                  <a:pt x="331" y="25"/>
                </a:lnTo>
                <a:lnTo>
                  <a:pt x="340" y="22"/>
                </a:lnTo>
                <a:lnTo>
                  <a:pt x="340" y="22"/>
                </a:lnTo>
                <a:lnTo>
                  <a:pt x="343" y="19"/>
                </a:lnTo>
                <a:lnTo>
                  <a:pt x="346" y="19"/>
                </a:lnTo>
                <a:lnTo>
                  <a:pt x="350" y="16"/>
                </a:lnTo>
                <a:lnTo>
                  <a:pt x="353" y="16"/>
                </a:lnTo>
                <a:lnTo>
                  <a:pt x="359" y="16"/>
                </a:lnTo>
                <a:lnTo>
                  <a:pt x="359" y="13"/>
                </a:lnTo>
                <a:lnTo>
                  <a:pt x="356" y="10"/>
                </a:lnTo>
                <a:lnTo>
                  <a:pt x="359" y="6"/>
                </a:lnTo>
                <a:lnTo>
                  <a:pt x="362" y="6"/>
                </a:lnTo>
                <a:lnTo>
                  <a:pt x="365" y="3"/>
                </a:lnTo>
                <a:lnTo>
                  <a:pt x="368" y="0"/>
                </a:lnTo>
                <a:lnTo>
                  <a:pt x="371" y="3"/>
                </a:lnTo>
                <a:lnTo>
                  <a:pt x="375" y="0"/>
                </a:lnTo>
                <a:lnTo>
                  <a:pt x="378" y="3"/>
                </a:lnTo>
                <a:lnTo>
                  <a:pt x="384" y="3"/>
                </a:lnTo>
                <a:lnTo>
                  <a:pt x="387" y="6"/>
                </a:lnTo>
                <a:lnTo>
                  <a:pt x="393" y="6"/>
                </a:lnTo>
                <a:lnTo>
                  <a:pt x="396" y="3"/>
                </a:lnTo>
                <a:lnTo>
                  <a:pt x="403" y="3"/>
                </a:lnTo>
                <a:lnTo>
                  <a:pt x="403" y="10"/>
                </a:lnTo>
                <a:lnTo>
                  <a:pt x="406" y="10"/>
                </a:lnTo>
                <a:lnTo>
                  <a:pt x="406" y="13"/>
                </a:lnTo>
                <a:lnTo>
                  <a:pt x="409" y="19"/>
                </a:lnTo>
                <a:lnTo>
                  <a:pt x="412" y="19"/>
                </a:lnTo>
                <a:lnTo>
                  <a:pt x="412" y="22"/>
                </a:lnTo>
                <a:lnTo>
                  <a:pt x="412" y="25"/>
                </a:lnTo>
                <a:lnTo>
                  <a:pt x="412" y="28"/>
                </a:lnTo>
                <a:lnTo>
                  <a:pt x="412" y="28"/>
                </a:lnTo>
                <a:lnTo>
                  <a:pt x="409" y="32"/>
                </a:lnTo>
                <a:lnTo>
                  <a:pt x="409" y="35"/>
                </a:lnTo>
                <a:lnTo>
                  <a:pt x="412" y="35"/>
                </a:lnTo>
                <a:lnTo>
                  <a:pt x="415" y="35"/>
                </a:lnTo>
                <a:lnTo>
                  <a:pt x="418" y="35"/>
                </a:lnTo>
                <a:lnTo>
                  <a:pt x="421" y="35"/>
                </a:lnTo>
                <a:lnTo>
                  <a:pt x="421" y="32"/>
                </a:lnTo>
                <a:lnTo>
                  <a:pt x="425" y="32"/>
                </a:lnTo>
                <a:lnTo>
                  <a:pt x="428" y="35"/>
                </a:lnTo>
                <a:lnTo>
                  <a:pt x="428" y="35"/>
                </a:lnTo>
                <a:lnTo>
                  <a:pt x="428" y="32"/>
                </a:lnTo>
                <a:lnTo>
                  <a:pt x="428" y="28"/>
                </a:lnTo>
                <a:lnTo>
                  <a:pt x="428" y="25"/>
                </a:lnTo>
                <a:lnTo>
                  <a:pt x="437" y="32"/>
                </a:lnTo>
                <a:lnTo>
                  <a:pt x="437" y="38"/>
                </a:lnTo>
                <a:lnTo>
                  <a:pt x="440" y="44"/>
                </a:lnTo>
                <a:lnTo>
                  <a:pt x="440" y="41"/>
                </a:lnTo>
                <a:lnTo>
                  <a:pt x="443" y="41"/>
                </a:lnTo>
                <a:lnTo>
                  <a:pt x="443" y="38"/>
                </a:lnTo>
                <a:lnTo>
                  <a:pt x="440" y="35"/>
                </a:lnTo>
                <a:lnTo>
                  <a:pt x="446" y="35"/>
                </a:lnTo>
                <a:lnTo>
                  <a:pt x="453" y="38"/>
                </a:lnTo>
                <a:lnTo>
                  <a:pt x="456" y="38"/>
                </a:lnTo>
                <a:lnTo>
                  <a:pt x="459" y="38"/>
                </a:lnTo>
                <a:lnTo>
                  <a:pt x="459" y="38"/>
                </a:lnTo>
                <a:lnTo>
                  <a:pt x="459" y="41"/>
                </a:lnTo>
                <a:lnTo>
                  <a:pt x="456" y="44"/>
                </a:lnTo>
                <a:lnTo>
                  <a:pt x="456" y="47"/>
                </a:lnTo>
                <a:lnTo>
                  <a:pt x="459" y="53"/>
                </a:lnTo>
                <a:lnTo>
                  <a:pt x="462" y="53"/>
                </a:lnTo>
                <a:lnTo>
                  <a:pt x="465" y="50"/>
                </a:lnTo>
                <a:lnTo>
                  <a:pt x="468" y="47"/>
                </a:lnTo>
                <a:lnTo>
                  <a:pt x="478" y="50"/>
                </a:lnTo>
                <a:lnTo>
                  <a:pt x="478" y="50"/>
                </a:lnTo>
                <a:lnTo>
                  <a:pt x="481" y="50"/>
                </a:lnTo>
                <a:lnTo>
                  <a:pt x="481" y="44"/>
                </a:lnTo>
                <a:lnTo>
                  <a:pt x="484" y="44"/>
                </a:lnTo>
                <a:lnTo>
                  <a:pt x="490" y="44"/>
                </a:lnTo>
                <a:lnTo>
                  <a:pt x="493" y="41"/>
                </a:lnTo>
                <a:lnTo>
                  <a:pt x="493" y="38"/>
                </a:lnTo>
                <a:lnTo>
                  <a:pt x="497" y="35"/>
                </a:lnTo>
                <a:lnTo>
                  <a:pt x="497" y="32"/>
                </a:lnTo>
                <a:lnTo>
                  <a:pt x="503" y="28"/>
                </a:lnTo>
                <a:lnTo>
                  <a:pt x="506" y="25"/>
                </a:lnTo>
                <a:lnTo>
                  <a:pt x="509" y="22"/>
                </a:lnTo>
                <a:lnTo>
                  <a:pt x="512" y="22"/>
                </a:lnTo>
                <a:lnTo>
                  <a:pt x="518" y="19"/>
                </a:lnTo>
                <a:lnTo>
                  <a:pt x="518" y="22"/>
                </a:lnTo>
                <a:lnTo>
                  <a:pt x="518" y="25"/>
                </a:lnTo>
                <a:lnTo>
                  <a:pt x="515" y="28"/>
                </a:lnTo>
                <a:lnTo>
                  <a:pt x="512" y="28"/>
                </a:lnTo>
                <a:lnTo>
                  <a:pt x="515" y="32"/>
                </a:lnTo>
                <a:lnTo>
                  <a:pt x="550" y="60"/>
                </a:lnTo>
                <a:lnTo>
                  <a:pt x="600" y="119"/>
                </a:lnTo>
                <a:lnTo>
                  <a:pt x="603" y="119"/>
                </a:lnTo>
                <a:lnTo>
                  <a:pt x="606" y="116"/>
                </a:lnTo>
                <a:lnTo>
                  <a:pt x="606" y="113"/>
                </a:lnTo>
                <a:lnTo>
                  <a:pt x="606" y="113"/>
                </a:lnTo>
                <a:lnTo>
                  <a:pt x="606" y="110"/>
                </a:lnTo>
                <a:lnTo>
                  <a:pt x="609" y="107"/>
                </a:lnTo>
                <a:lnTo>
                  <a:pt x="615" y="110"/>
                </a:lnTo>
                <a:lnTo>
                  <a:pt x="615" y="113"/>
                </a:lnTo>
                <a:lnTo>
                  <a:pt x="615" y="116"/>
                </a:lnTo>
                <a:lnTo>
                  <a:pt x="618" y="116"/>
                </a:lnTo>
                <a:lnTo>
                  <a:pt x="622" y="119"/>
                </a:lnTo>
                <a:lnTo>
                  <a:pt x="625" y="119"/>
                </a:lnTo>
                <a:lnTo>
                  <a:pt x="628" y="119"/>
                </a:lnTo>
                <a:lnTo>
                  <a:pt x="631" y="116"/>
                </a:lnTo>
                <a:lnTo>
                  <a:pt x="637" y="119"/>
                </a:lnTo>
                <a:lnTo>
                  <a:pt x="640" y="119"/>
                </a:lnTo>
                <a:lnTo>
                  <a:pt x="643" y="119"/>
                </a:lnTo>
                <a:lnTo>
                  <a:pt x="647" y="116"/>
                </a:lnTo>
                <a:lnTo>
                  <a:pt x="650" y="116"/>
                </a:lnTo>
                <a:lnTo>
                  <a:pt x="647" y="113"/>
                </a:lnTo>
                <a:lnTo>
                  <a:pt x="647" y="113"/>
                </a:lnTo>
                <a:lnTo>
                  <a:pt x="656" y="110"/>
                </a:lnTo>
                <a:lnTo>
                  <a:pt x="662" y="110"/>
                </a:lnTo>
                <a:lnTo>
                  <a:pt x="668" y="113"/>
                </a:lnTo>
                <a:lnTo>
                  <a:pt x="675" y="116"/>
                </a:lnTo>
                <a:lnTo>
                  <a:pt x="678" y="122"/>
                </a:lnTo>
                <a:lnTo>
                  <a:pt x="678" y="125"/>
                </a:lnTo>
                <a:lnTo>
                  <a:pt x="681" y="125"/>
                </a:lnTo>
                <a:lnTo>
                  <a:pt x="684" y="128"/>
                </a:lnTo>
                <a:lnTo>
                  <a:pt x="690" y="132"/>
                </a:lnTo>
                <a:lnTo>
                  <a:pt x="690" y="132"/>
                </a:lnTo>
                <a:lnTo>
                  <a:pt x="693" y="132"/>
                </a:lnTo>
                <a:lnTo>
                  <a:pt x="693" y="135"/>
                </a:lnTo>
                <a:lnTo>
                  <a:pt x="693" y="138"/>
                </a:lnTo>
                <a:lnTo>
                  <a:pt x="693" y="141"/>
                </a:lnTo>
                <a:lnTo>
                  <a:pt x="693" y="141"/>
                </a:lnTo>
                <a:lnTo>
                  <a:pt x="697" y="144"/>
                </a:lnTo>
                <a:lnTo>
                  <a:pt x="697" y="144"/>
                </a:lnTo>
                <a:lnTo>
                  <a:pt x="700" y="144"/>
                </a:lnTo>
                <a:lnTo>
                  <a:pt x="703" y="147"/>
                </a:lnTo>
                <a:lnTo>
                  <a:pt x="706" y="147"/>
                </a:lnTo>
                <a:lnTo>
                  <a:pt x="706" y="147"/>
                </a:lnTo>
                <a:lnTo>
                  <a:pt x="709" y="144"/>
                </a:lnTo>
                <a:lnTo>
                  <a:pt x="718" y="144"/>
                </a:lnTo>
                <a:lnTo>
                  <a:pt x="725" y="144"/>
                </a:lnTo>
                <a:lnTo>
                  <a:pt x="725" y="138"/>
                </a:lnTo>
                <a:lnTo>
                  <a:pt x="728" y="138"/>
                </a:lnTo>
                <a:lnTo>
                  <a:pt x="731" y="138"/>
                </a:lnTo>
                <a:lnTo>
                  <a:pt x="731" y="144"/>
                </a:lnTo>
                <a:lnTo>
                  <a:pt x="731" y="147"/>
                </a:lnTo>
                <a:lnTo>
                  <a:pt x="734" y="147"/>
                </a:lnTo>
                <a:lnTo>
                  <a:pt x="737" y="150"/>
                </a:lnTo>
                <a:lnTo>
                  <a:pt x="743" y="154"/>
                </a:lnTo>
                <a:lnTo>
                  <a:pt x="743" y="154"/>
                </a:lnTo>
                <a:lnTo>
                  <a:pt x="740" y="160"/>
                </a:lnTo>
                <a:lnTo>
                  <a:pt x="737" y="160"/>
                </a:lnTo>
                <a:lnTo>
                  <a:pt x="734" y="166"/>
                </a:lnTo>
                <a:lnTo>
                  <a:pt x="734" y="169"/>
                </a:lnTo>
                <a:lnTo>
                  <a:pt x="734" y="169"/>
                </a:lnTo>
                <a:lnTo>
                  <a:pt x="731" y="175"/>
                </a:lnTo>
                <a:lnTo>
                  <a:pt x="725" y="179"/>
                </a:lnTo>
                <a:lnTo>
                  <a:pt x="722" y="179"/>
                </a:lnTo>
                <a:lnTo>
                  <a:pt x="722" y="185"/>
                </a:lnTo>
                <a:lnTo>
                  <a:pt x="722" y="191"/>
                </a:lnTo>
                <a:lnTo>
                  <a:pt x="725" y="200"/>
                </a:lnTo>
                <a:lnTo>
                  <a:pt x="731" y="207"/>
                </a:lnTo>
                <a:lnTo>
                  <a:pt x="728" y="207"/>
                </a:lnTo>
                <a:lnTo>
                  <a:pt x="725" y="213"/>
                </a:lnTo>
                <a:lnTo>
                  <a:pt x="718" y="216"/>
                </a:lnTo>
                <a:lnTo>
                  <a:pt x="715" y="219"/>
                </a:lnTo>
                <a:lnTo>
                  <a:pt x="712" y="219"/>
                </a:lnTo>
                <a:lnTo>
                  <a:pt x="712" y="219"/>
                </a:lnTo>
                <a:lnTo>
                  <a:pt x="709" y="216"/>
                </a:lnTo>
                <a:lnTo>
                  <a:pt x="706" y="216"/>
                </a:lnTo>
                <a:lnTo>
                  <a:pt x="700" y="219"/>
                </a:lnTo>
                <a:lnTo>
                  <a:pt x="693" y="219"/>
                </a:lnTo>
                <a:lnTo>
                  <a:pt x="687" y="216"/>
                </a:lnTo>
                <a:lnTo>
                  <a:pt x="681" y="216"/>
                </a:lnTo>
                <a:lnTo>
                  <a:pt x="681" y="216"/>
                </a:lnTo>
                <a:lnTo>
                  <a:pt x="678" y="225"/>
                </a:lnTo>
                <a:lnTo>
                  <a:pt x="678" y="229"/>
                </a:lnTo>
                <a:lnTo>
                  <a:pt x="675" y="235"/>
                </a:lnTo>
                <a:lnTo>
                  <a:pt x="675" y="244"/>
                </a:lnTo>
                <a:lnTo>
                  <a:pt x="675" y="254"/>
                </a:lnTo>
                <a:lnTo>
                  <a:pt x="675" y="257"/>
                </a:lnTo>
                <a:lnTo>
                  <a:pt x="675" y="260"/>
                </a:lnTo>
                <a:lnTo>
                  <a:pt x="681" y="260"/>
                </a:lnTo>
                <a:lnTo>
                  <a:pt x="678" y="266"/>
                </a:lnTo>
                <a:lnTo>
                  <a:pt x="678" y="269"/>
                </a:lnTo>
                <a:lnTo>
                  <a:pt x="675" y="269"/>
                </a:lnTo>
                <a:lnTo>
                  <a:pt x="675" y="269"/>
                </a:lnTo>
                <a:lnTo>
                  <a:pt x="672" y="269"/>
                </a:lnTo>
                <a:lnTo>
                  <a:pt x="668" y="266"/>
                </a:lnTo>
                <a:lnTo>
                  <a:pt x="665" y="269"/>
                </a:lnTo>
                <a:lnTo>
                  <a:pt x="659" y="269"/>
                </a:lnTo>
                <a:lnTo>
                  <a:pt x="653" y="272"/>
                </a:lnTo>
                <a:lnTo>
                  <a:pt x="647" y="272"/>
                </a:lnTo>
                <a:lnTo>
                  <a:pt x="643" y="272"/>
                </a:lnTo>
                <a:lnTo>
                  <a:pt x="640" y="272"/>
                </a:lnTo>
                <a:lnTo>
                  <a:pt x="637" y="276"/>
                </a:lnTo>
                <a:lnTo>
                  <a:pt x="634" y="279"/>
                </a:lnTo>
                <a:lnTo>
                  <a:pt x="634" y="279"/>
                </a:lnTo>
                <a:lnTo>
                  <a:pt x="637" y="282"/>
                </a:lnTo>
                <a:lnTo>
                  <a:pt x="643" y="282"/>
                </a:lnTo>
                <a:lnTo>
                  <a:pt x="647" y="282"/>
                </a:lnTo>
                <a:lnTo>
                  <a:pt x="647" y="285"/>
                </a:lnTo>
                <a:lnTo>
                  <a:pt x="643" y="288"/>
                </a:lnTo>
                <a:lnTo>
                  <a:pt x="647" y="294"/>
                </a:lnTo>
                <a:lnTo>
                  <a:pt x="647" y="297"/>
                </a:lnTo>
                <a:lnTo>
                  <a:pt x="650" y="297"/>
                </a:lnTo>
                <a:lnTo>
                  <a:pt x="650" y="304"/>
                </a:lnTo>
                <a:lnTo>
                  <a:pt x="653" y="310"/>
                </a:lnTo>
                <a:lnTo>
                  <a:pt x="653" y="313"/>
                </a:lnTo>
                <a:lnTo>
                  <a:pt x="659" y="316"/>
                </a:lnTo>
                <a:lnTo>
                  <a:pt x="659" y="322"/>
                </a:lnTo>
                <a:lnTo>
                  <a:pt x="656" y="326"/>
                </a:lnTo>
                <a:lnTo>
                  <a:pt x="656" y="329"/>
                </a:lnTo>
                <a:lnTo>
                  <a:pt x="659" y="332"/>
                </a:lnTo>
                <a:lnTo>
                  <a:pt x="656" y="335"/>
                </a:lnTo>
                <a:lnTo>
                  <a:pt x="656" y="335"/>
                </a:lnTo>
                <a:lnTo>
                  <a:pt x="653" y="338"/>
                </a:lnTo>
                <a:lnTo>
                  <a:pt x="653" y="344"/>
                </a:lnTo>
                <a:lnTo>
                  <a:pt x="650" y="344"/>
                </a:lnTo>
                <a:lnTo>
                  <a:pt x="640" y="344"/>
                </a:lnTo>
                <a:lnTo>
                  <a:pt x="631" y="335"/>
                </a:lnTo>
                <a:lnTo>
                  <a:pt x="628" y="335"/>
                </a:lnTo>
                <a:lnTo>
                  <a:pt x="622" y="332"/>
                </a:lnTo>
                <a:lnTo>
                  <a:pt x="609" y="332"/>
                </a:lnTo>
                <a:lnTo>
                  <a:pt x="603" y="332"/>
                </a:lnTo>
                <a:lnTo>
                  <a:pt x="593" y="329"/>
                </a:lnTo>
                <a:lnTo>
                  <a:pt x="584" y="332"/>
                </a:lnTo>
                <a:lnTo>
                  <a:pt x="578" y="332"/>
                </a:lnTo>
                <a:lnTo>
                  <a:pt x="575" y="332"/>
                </a:lnTo>
                <a:lnTo>
                  <a:pt x="572" y="335"/>
                </a:lnTo>
                <a:lnTo>
                  <a:pt x="565" y="335"/>
                </a:lnTo>
                <a:lnTo>
                  <a:pt x="556" y="335"/>
                </a:lnTo>
                <a:lnTo>
                  <a:pt x="547" y="332"/>
                </a:lnTo>
                <a:lnTo>
                  <a:pt x="543" y="332"/>
                </a:lnTo>
                <a:lnTo>
                  <a:pt x="537" y="332"/>
                </a:lnTo>
                <a:lnTo>
                  <a:pt x="534" y="332"/>
                </a:lnTo>
                <a:lnTo>
                  <a:pt x="531" y="332"/>
                </a:lnTo>
                <a:lnTo>
                  <a:pt x="528" y="332"/>
                </a:lnTo>
                <a:lnTo>
                  <a:pt x="525" y="332"/>
                </a:lnTo>
                <a:lnTo>
                  <a:pt x="525" y="335"/>
                </a:lnTo>
                <a:lnTo>
                  <a:pt x="528" y="341"/>
                </a:lnTo>
                <a:lnTo>
                  <a:pt x="528" y="344"/>
                </a:lnTo>
                <a:lnTo>
                  <a:pt x="522" y="347"/>
                </a:lnTo>
                <a:lnTo>
                  <a:pt x="509" y="347"/>
                </a:lnTo>
                <a:lnTo>
                  <a:pt x="493" y="344"/>
                </a:lnTo>
                <a:lnTo>
                  <a:pt x="490" y="344"/>
                </a:lnTo>
                <a:lnTo>
                  <a:pt x="484" y="344"/>
                </a:lnTo>
                <a:lnTo>
                  <a:pt x="481" y="347"/>
                </a:lnTo>
                <a:lnTo>
                  <a:pt x="481" y="351"/>
                </a:lnTo>
                <a:lnTo>
                  <a:pt x="478" y="351"/>
                </a:lnTo>
                <a:lnTo>
                  <a:pt x="478" y="354"/>
                </a:lnTo>
                <a:lnTo>
                  <a:pt x="475" y="354"/>
                </a:lnTo>
                <a:lnTo>
                  <a:pt x="471" y="360"/>
                </a:lnTo>
                <a:lnTo>
                  <a:pt x="468" y="360"/>
                </a:lnTo>
                <a:lnTo>
                  <a:pt x="459" y="369"/>
                </a:lnTo>
                <a:lnTo>
                  <a:pt x="459" y="376"/>
                </a:lnTo>
                <a:lnTo>
                  <a:pt x="456" y="379"/>
                </a:lnTo>
                <a:lnTo>
                  <a:pt x="453" y="385"/>
                </a:lnTo>
                <a:lnTo>
                  <a:pt x="443" y="391"/>
                </a:lnTo>
                <a:lnTo>
                  <a:pt x="440" y="391"/>
                </a:lnTo>
                <a:lnTo>
                  <a:pt x="434" y="385"/>
                </a:lnTo>
                <a:lnTo>
                  <a:pt x="425" y="385"/>
                </a:lnTo>
                <a:lnTo>
                  <a:pt x="421" y="385"/>
                </a:lnTo>
                <a:lnTo>
                  <a:pt x="412" y="391"/>
                </a:lnTo>
                <a:lnTo>
                  <a:pt x="406" y="391"/>
                </a:lnTo>
                <a:lnTo>
                  <a:pt x="400" y="369"/>
                </a:lnTo>
                <a:lnTo>
                  <a:pt x="384" y="366"/>
                </a:lnTo>
                <a:lnTo>
                  <a:pt x="384" y="338"/>
                </a:lnTo>
                <a:lnTo>
                  <a:pt x="378" y="341"/>
                </a:lnTo>
                <a:lnTo>
                  <a:pt x="371" y="329"/>
                </a:lnTo>
                <a:lnTo>
                  <a:pt x="362" y="322"/>
                </a:lnTo>
                <a:lnTo>
                  <a:pt x="331" y="322"/>
                </a:lnTo>
                <a:lnTo>
                  <a:pt x="303" y="326"/>
                </a:lnTo>
                <a:lnTo>
                  <a:pt x="284" y="313"/>
                </a:lnTo>
                <a:lnTo>
                  <a:pt x="271" y="310"/>
                </a:lnTo>
                <a:lnTo>
                  <a:pt x="240" y="288"/>
                </a:lnTo>
                <a:lnTo>
                  <a:pt x="190" y="297"/>
                </a:lnTo>
                <a:lnTo>
                  <a:pt x="206" y="391"/>
                </a:lnTo>
                <a:lnTo>
                  <a:pt x="203" y="391"/>
                </a:lnTo>
                <a:lnTo>
                  <a:pt x="196" y="394"/>
                </a:lnTo>
                <a:lnTo>
                  <a:pt x="181" y="379"/>
                </a:lnTo>
                <a:lnTo>
                  <a:pt x="168" y="369"/>
                </a:lnTo>
                <a:lnTo>
                  <a:pt x="156" y="369"/>
                </a:lnTo>
                <a:lnTo>
                  <a:pt x="146" y="373"/>
                </a:lnTo>
                <a:lnTo>
                  <a:pt x="134" y="382"/>
                </a:lnTo>
                <a:lnTo>
                  <a:pt x="134" y="379"/>
                </a:lnTo>
                <a:lnTo>
                  <a:pt x="131" y="373"/>
                </a:lnTo>
                <a:lnTo>
                  <a:pt x="134" y="366"/>
                </a:lnTo>
                <a:lnTo>
                  <a:pt x="134" y="363"/>
                </a:lnTo>
                <a:lnTo>
                  <a:pt x="134" y="360"/>
                </a:lnTo>
                <a:lnTo>
                  <a:pt x="137" y="360"/>
                </a:lnTo>
                <a:lnTo>
                  <a:pt x="134" y="357"/>
                </a:lnTo>
                <a:lnTo>
                  <a:pt x="131" y="357"/>
                </a:lnTo>
                <a:lnTo>
                  <a:pt x="128" y="357"/>
                </a:lnTo>
                <a:lnTo>
                  <a:pt x="125" y="357"/>
                </a:lnTo>
                <a:lnTo>
                  <a:pt x="121" y="357"/>
                </a:lnTo>
                <a:lnTo>
                  <a:pt x="118" y="357"/>
                </a:lnTo>
                <a:lnTo>
                  <a:pt x="118" y="354"/>
                </a:lnTo>
                <a:lnTo>
                  <a:pt x="115" y="351"/>
                </a:lnTo>
                <a:lnTo>
                  <a:pt x="115" y="347"/>
                </a:lnTo>
                <a:lnTo>
                  <a:pt x="112" y="347"/>
                </a:lnTo>
                <a:lnTo>
                  <a:pt x="112" y="347"/>
                </a:lnTo>
                <a:lnTo>
                  <a:pt x="106" y="351"/>
                </a:lnTo>
                <a:lnTo>
                  <a:pt x="106" y="351"/>
                </a:lnTo>
                <a:lnTo>
                  <a:pt x="106" y="344"/>
                </a:lnTo>
                <a:lnTo>
                  <a:pt x="106" y="341"/>
                </a:lnTo>
                <a:lnTo>
                  <a:pt x="100" y="335"/>
                </a:lnTo>
                <a:lnTo>
                  <a:pt x="100" y="332"/>
                </a:lnTo>
                <a:lnTo>
                  <a:pt x="96" y="332"/>
                </a:lnTo>
                <a:lnTo>
                  <a:pt x="96" y="326"/>
                </a:lnTo>
                <a:lnTo>
                  <a:pt x="93" y="326"/>
                </a:lnTo>
                <a:lnTo>
                  <a:pt x="93" y="322"/>
                </a:lnTo>
                <a:lnTo>
                  <a:pt x="90" y="322"/>
                </a:lnTo>
                <a:lnTo>
                  <a:pt x="87" y="322"/>
                </a:lnTo>
                <a:lnTo>
                  <a:pt x="84" y="319"/>
                </a:lnTo>
                <a:lnTo>
                  <a:pt x="84" y="316"/>
                </a:lnTo>
                <a:lnTo>
                  <a:pt x="84" y="313"/>
                </a:lnTo>
                <a:lnTo>
                  <a:pt x="87" y="316"/>
                </a:lnTo>
                <a:lnTo>
                  <a:pt x="93" y="313"/>
                </a:lnTo>
                <a:lnTo>
                  <a:pt x="93" y="316"/>
                </a:lnTo>
                <a:lnTo>
                  <a:pt x="96" y="316"/>
                </a:lnTo>
                <a:lnTo>
                  <a:pt x="100" y="316"/>
                </a:lnTo>
                <a:lnTo>
                  <a:pt x="100" y="313"/>
                </a:lnTo>
                <a:lnTo>
                  <a:pt x="103" y="313"/>
                </a:lnTo>
                <a:lnTo>
                  <a:pt x="106" y="316"/>
                </a:lnTo>
                <a:lnTo>
                  <a:pt x="106" y="313"/>
                </a:lnTo>
                <a:lnTo>
                  <a:pt x="106" y="313"/>
                </a:lnTo>
                <a:lnTo>
                  <a:pt x="103" y="313"/>
                </a:lnTo>
                <a:lnTo>
                  <a:pt x="100" y="310"/>
                </a:lnTo>
                <a:lnTo>
                  <a:pt x="100" y="310"/>
                </a:lnTo>
                <a:lnTo>
                  <a:pt x="96" y="304"/>
                </a:lnTo>
                <a:lnTo>
                  <a:pt x="96" y="301"/>
                </a:lnTo>
                <a:lnTo>
                  <a:pt x="100" y="301"/>
                </a:lnTo>
                <a:lnTo>
                  <a:pt x="100" y="297"/>
                </a:lnTo>
                <a:lnTo>
                  <a:pt x="100" y="297"/>
                </a:lnTo>
                <a:lnTo>
                  <a:pt x="100" y="294"/>
                </a:lnTo>
                <a:lnTo>
                  <a:pt x="106" y="291"/>
                </a:lnTo>
                <a:lnTo>
                  <a:pt x="109" y="291"/>
                </a:lnTo>
                <a:lnTo>
                  <a:pt x="112" y="291"/>
                </a:lnTo>
                <a:lnTo>
                  <a:pt x="115" y="291"/>
                </a:lnTo>
                <a:lnTo>
                  <a:pt x="118" y="291"/>
                </a:lnTo>
                <a:lnTo>
                  <a:pt x="121" y="291"/>
                </a:lnTo>
                <a:lnTo>
                  <a:pt x="121" y="291"/>
                </a:lnTo>
                <a:lnTo>
                  <a:pt x="125" y="291"/>
                </a:lnTo>
                <a:lnTo>
                  <a:pt x="128" y="294"/>
                </a:lnTo>
                <a:lnTo>
                  <a:pt x="131" y="294"/>
                </a:lnTo>
                <a:lnTo>
                  <a:pt x="134" y="294"/>
                </a:lnTo>
                <a:lnTo>
                  <a:pt x="134" y="291"/>
                </a:lnTo>
                <a:lnTo>
                  <a:pt x="134" y="291"/>
                </a:lnTo>
                <a:lnTo>
                  <a:pt x="128" y="288"/>
                </a:lnTo>
                <a:lnTo>
                  <a:pt x="128" y="285"/>
                </a:lnTo>
                <a:lnTo>
                  <a:pt x="128" y="279"/>
                </a:lnTo>
                <a:lnTo>
                  <a:pt x="131" y="279"/>
                </a:lnTo>
                <a:lnTo>
                  <a:pt x="131" y="276"/>
                </a:lnTo>
                <a:lnTo>
                  <a:pt x="131" y="276"/>
                </a:lnTo>
                <a:lnTo>
                  <a:pt x="128" y="272"/>
                </a:lnTo>
                <a:lnTo>
                  <a:pt x="128" y="272"/>
                </a:lnTo>
                <a:lnTo>
                  <a:pt x="131" y="269"/>
                </a:lnTo>
                <a:lnTo>
                  <a:pt x="131" y="266"/>
                </a:lnTo>
                <a:lnTo>
                  <a:pt x="128" y="263"/>
                </a:lnTo>
                <a:lnTo>
                  <a:pt x="128" y="260"/>
                </a:lnTo>
                <a:lnTo>
                  <a:pt x="128" y="257"/>
                </a:lnTo>
                <a:lnTo>
                  <a:pt x="128" y="257"/>
                </a:lnTo>
                <a:lnTo>
                  <a:pt x="125" y="257"/>
                </a:lnTo>
                <a:lnTo>
                  <a:pt x="125" y="254"/>
                </a:lnTo>
                <a:lnTo>
                  <a:pt x="125" y="250"/>
                </a:lnTo>
                <a:lnTo>
                  <a:pt x="115" y="250"/>
                </a:lnTo>
                <a:lnTo>
                  <a:pt x="115" y="250"/>
                </a:lnTo>
                <a:lnTo>
                  <a:pt x="112" y="250"/>
                </a:lnTo>
                <a:lnTo>
                  <a:pt x="112" y="254"/>
                </a:lnTo>
                <a:lnTo>
                  <a:pt x="109" y="254"/>
                </a:lnTo>
                <a:lnTo>
                  <a:pt x="109" y="257"/>
                </a:lnTo>
                <a:lnTo>
                  <a:pt x="106" y="257"/>
                </a:lnTo>
                <a:lnTo>
                  <a:pt x="103" y="257"/>
                </a:lnTo>
                <a:lnTo>
                  <a:pt x="103" y="254"/>
                </a:lnTo>
                <a:lnTo>
                  <a:pt x="103" y="254"/>
                </a:lnTo>
                <a:lnTo>
                  <a:pt x="100" y="257"/>
                </a:lnTo>
                <a:lnTo>
                  <a:pt x="100" y="254"/>
                </a:lnTo>
                <a:lnTo>
                  <a:pt x="100" y="250"/>
                </a:lnTo>
                <a:lnTo>
                  <a:pt x="96" y="250"/>
                </a:lnTo>
                <a:lnTo>
                  <a:pt x="96" y="250"/>
                </a:lnTo>
                <a:lnTo>
                  <a:pt x="93" y="250"/>
                </a:lnTo>
                <a:lnTo>
                  <a:pt x="90" y="250"/>
                </a:lnTo>
                <a:lnTo>
                  <a:pt x="87" y="250"/>
                </a:lnTo>
                <a:lnTo>
                  <a:pt x="84" y="250"/>
                </a:lnTo>
                <a:lnTo>
                  <a:pt x="84" y="254"/>
                </a:lnTo>
                <a:lnTo>
                  <a:pt x="81" y="257"/>
                </a:lnTo>
                <a:lnTo>
                  <a:pt x="81" y="254"/>
                </a:lnTo>
                <a:lnTo>
                  <a:pt x="78" y="254"/>
                </a:lnTo>
                <a:lnTo>
                  <a:pt x="78" y="257"/>
                </a:lnTo>
                <a:lnTo>
                  <a:pt x="75" y="257"/>
                </a:lnTo>
                <a:lnTo>
                  <a:pt x="71" y="260"/>
                </a:lnTo>
                <a:lnTo>
                  <a:pt x="68" y="263"/>
                </a:lnTo>
                <a:lnTo>
                  <a:pt x="68" y="263"/>
                </a:lnTo>
                <a:lnTo>
                  <a:pt x="68" y="263"/>
                </a:lnTo>
                <a:lnTo>
                  <a:pt x="65" y="266"/>
                </a:lnTo>
                <a:lnTo>
                  <a:pt x="65" y="263"/>
                </a:lnTo>
                <a:lnTo>
                  <a:pt x="62" y="263"/>
                </a:lnTo>
                <a:lnTo>
                  <a:pt x="62" y="266"/>
                </a:lnTo>
                <a:lnTo>
                  <a:pt x="59" y="266"/>
                </a:lnTo>
                <a:lnTo>
                  <a:pt x="56" y="263"/>
                </a:lnTo>
                <a:lnTo>
                  <a:pt x="56" y="263"/>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0" name="Freeform 18">
            <a:extLst>
              <a:ext uri="{FF2B5EF4-FFF2-40B4-BE49-F238E27FC236}">
                <a16:creationId xmlns:a16="http://schemas.microsoft.com/office/drawing/2014/main" id="{2E61E2E6-E10E-EED5-54B1-A571CC7AE1E1}"/>
              </a:ext>
            </a:extLst>
          </p:cNvPr>
          <p:cNvSpPr>
            <a:spLocks/>
          </p:cNvSpPr>
          <p:nvPr userDrawn="1"/>
        </p:nvSpPr>
        <p:spPr bwMode="auto">
          <a:xfrm>
            <a:off x="16423204" y="6247683"/>
            <a:ext cx="1003237" cy="625478"/>
          </a:xfrm>
          <a:custGeom>
            <a:avLst/>
            <a:gdLst>
              <a:gd name="T0" fmla="*/ 250 w 316"/>
              <a:gd name="T1" fmla="*/ 185 h 197"/>
              <a:gd name="T2" fmla="*/ 256 w 316"/>
              <a:gd name="T3" fmla="*/ 172 h 197"/>
              <a:gd name="T4" fmla="*/ 253 w 316"/>
              <a:gd name="T5" fmla="*/ 166 h 197"/>
              <a:gd name="T6" fmla="*/ 253 w 316"/>
              <a:gd name="T7" fmla="*/ 156 h 197"/>
              <a:gd name="T8" fmla="*/ 247 w 316"/>
              <a:gd name="T9" fmla="*/ 150 h 197"/>
              <a:gd name="T10" fmla="*/ 238 w 316"/>
              <a:gd name="T11" fmla="*/ 147 h 197"/>
              <a:gd name="T12" fmla="*/ 241 w 316"/>
              <a:gd name="T13" fmla="*/ 138 h 197"/>
              <a:gd name="T14" fmla="*/ 253 w 316"/>
              <a:gd name="T15" fmla="*/ 138 h 197"/>
              <a:gd name="T16" fmla="*/ 263 w 316"/>
              <a:gd name="T17" fmla="*/ 128 h 197"/>
              <a:gd name="T18" fmla="*/ 260 w 316"/>
              <a:gd name="T19" fmla="*/ 125 h 197"/>
              <a:gd name="T20" fmla="*/ 275 w 316"/>
              <a:gd name="T21" fmla="*/ 119 h 197"/>
              <a:gd name="T22" fmla="*/ 269 w 316"/>
              <a:gd name="T23" fmla="*/ 113 h 197"/>
              <a:gd name="T24" fmla="*/ 272 w 316"/>
              <a:gd name="T25" fmla="*/ 106 h 197"/>
              <a:gd name="T26" fmla="*/ 281 w 316"/>
              <a:gd name="T27" fmla="*/ 103 h 197"/>
              <a:gd name="T28" fmla="*/ 294 w 316"/>
              <a:gd name="T29" fmla="*/ 100 h 197"/>
              <a:gd name="T30" fmla="*/ 303 w 316"/>
              <a:gd name="T31" fmla="*/ 103 h 197"/>
              <a:gd name="T32" fmla="*/ 316 w 316"/>
              <a:gd name="T33" fmla="*/ 97 h 197"/>
              <a:gd name="T34" fmla="*/ 307 w 316"/>
              <a:gd name="T35" fmla="*/ 85 h 197"/>
              <a:gd name="T36" fmla="*/ 303 w 316"/>
              <a:gd name="T37" fmla="*/ 91 h 197"/>
              <a:gd name="T38" fmla="*/ 297 w 316"/>
              <a:gd name="T39" fmla="*/ 94 h 197"/>
              <a:gd name="T40" fmla="*/ 285 w 316"/>
              <a:gd name="T41" fmla="*/ 88 h 197"/>
              <a:gd name="T42" fmla="*/ 281 w 316"/>
              <a:gd name="T43" fmla="*/ 78 h 197"/>
              <a:gd name="T44" fmla="*/ 288 w 316"/>
              <a:gd name="T45" fmla="*/ 66 h 197"/>
              <a:gd name="T46" fmla="*/ 281 w 316"/>
              <a:gd name="T47" fmla="*/ 72 h 197"/>
              <a:gd name="T48" fmla="*/ 269 w 316"/>
              <a:gd name="T49" fmla="*/ 81 h 197"/>
              <a:gd name="T50" fmla="*/ 266 w 316"/>
              <a:gd name="T51" fmla="*/ 91 h 197"/>
              <a:gd name="T52" fmla="*/ 253 w 316"/>
              <a:gd name="T53" fmla="*/ 103 h 197"/>
              <a:gd name="T54" fmla="*/ 244 w 316"/>
              <a:gd name="T55" fmla="*/ 97 h 197"/>
              <a:gd name="T56" fmla="*/ 231 w 316"/>
              <a:gd name="T57" fmla="*/ 97 h 197"/>
              <a:gd name="T58" fmla="*/ 216 w 316"/>
              <a:gd name="T59" fmla="*/ 103 h 197"/>
              <a:gd name="T60" fmla="*/ 194 w 316"/>
              <a:gd name="T61" fmla="*/ 78 h 197"/>
              <a:gd name="T62" fmla="*/ 188 w 316"/>
              <a:gd name="T63" fmla="*/ 53 h 197"/>
              <a:gd name="T64" fmla="*/ 172 w 316"/>
              <a:gd name="T65" fmla="*/ 34 h 197"/>
              <a:gd name="T66" fmla="*/ 113 w 316"/>
              <a:gd name="T67" fmla="*/ 38 h 197"/>
              <a:gd name="T68" fmla="*/ 81 w 316"/>
              <a:gd name="T69" fmla="*/ 22 h 197"/>
              <a:gd name="T70" fmla="*/ 0 w 316"/>
              <a:gd name="T71" fmla="*/ 9 h 197"/>
              <a:gd name="T72" fmla="*/ 25 w 316"/>
              <a:gd name="T73" fmla="*/ 103 h 197"/>
              <a:gd name="T74" fmla="*/ 35 w 316"/>
              <a:gd name="T75" fmla="*/ 100 h 197"/>
              <a:gd name="T76" fmla="*/ 31 w 316"/>
              <a:gd name="T77" fmla="*/ 88 h 197"/>
              <a:gd name="T78" fmla="*/ 41 w 316"/>
              <a:gd name="T79" fmla="*/ 78 h 197"/>
              <a:gd name="T80" fmla="*/ 47 w 316"/>
              <a:gd name="T81" fmla="*/ 72 h 197"/>
              <a:gd name="T82" fmla="*/ 56 w 316"/>
              <a:gd name="T83" fmla="*/ 72 h 197"/>
              <a:gd name="T84" fmla="*/ 60 w 316"/>
              <a:gd name="T85" fmla="*/ 69 h 197"/>
              <a:gd name="T86" fmla="*/ 85 w 316"/>
              <a:gd name="T87" fmla="*/ 81 h 197"/>
              <a:gd name="T88" fmla="*/ 100 w 316"/>
              <a:gd name="T89" fmla="*/ 94 h 197"/>
              <a:gd name="T90" fmla="*/ 116 w 316"/>
              <a:gd name="T91" fmla="*/ 100 h 197"/>
              <a:gd name="T92" fmla="*/ 128 w 316"/>
              <a:gd name="T93" fmla="*/ 106 h 197"/>
              <a:gd name="T94" fmla="*/ 135 w 316"/>
              <a:gd name="T95" fmla="*/ 119 h 197"/>
              <a:gd name="T96" fmla="*/ 141 w 316"/>
              <a:gd name="T97" fmla="*/ 135 h 197"/>
              <a:gd name="T98" fmla="*/ 163 w 316"/>
              <a:gd name="T99" fmla="*/ 144 h 197"/>
              <a:gd name="T100" fmla="*/ 191 w 316"/>
              <a:gd name="T101" fmla="*/ 160 h 197"/>
              <a:gd name="T102" fmla="*/ 213 w 316"/>
              <a:gd name="T103" fmla="*/ 172 h 197"/>
              <a:gd name="T104" fmla="*/ 219 w 316"/>
              <a:gd name="T105" fmla="*/ 175 h 197"/>
              <a:gd name="T106" fmla="*/ 225 w 316"/>
              <a:gd name="T107" fmla="*/ 185 h 197"/>
              <a:gd name="T108" fmla="*/ 231 w 316"/>
              <a:gd name="T109" fmla="*/ 191 h 197"/>
              <a:gd name="T110" fmla="*/ 238 w 316"/>
              <a:gd name="T111" fmla="*/ 197 h 197"/>
              <a:gd name="T112" fmla="*/ 244 w 316"/>
              <a:gd name="T113" fmla="*/ 194 h 197"/>
              <a:gd name="T114" fmla="*/ 250 w 316"/>
              <a:gd name="T115"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6" h="197">
                <a:moveTo>
                  <a:pt x="250" y="197"/>
                </a:moveTo>
                <a:lnTo>
                  <a:pt x="250" y="185"/>
                </a:lnTo>
                <a:lnTo>
                  <a:pt x="256" y="175"/>
                </a:lnTo>
                <a:lnTo>
                  <a:pt x="256" y="172"/>
                </a:lnTo>
                <a:lnTo>
                  <a:pt x="256" y="166"/>
                </a:lnTo>
                <a:lnTo>
                  <a:pt x="253" y="166"/>
                </a:lnTo>
                <a:lnTo>
                  <a:pt x="250" y="160"/>
                </a:lnTo>
                <a:lnTo>
                  <a:pt x="253" y="156"/>
                </a:lnTo>
                <a:lnTo>
                  <a:pt x="250" y="150"/>
                </a:lnTo>
                <a:lnTo>
                  <a:pt x="247" y="150"/>
                </a:lnTo>
                <a:lnTo>
                  <a:pt x="244" y="153"/>
                </a:lnTo>
                <a:lnTo>
                  <a:pt x="238" y="147"/>
                </a:lnTo>
                <a:lnTo>
                  <a:pt x="238" y="141"/>
                </a:lnTo>
                <a:lnTo>
                  <a:pt x="241" y="138"/>
                </a:lnTo>
                <a:lnTo>
                  <a:pt x="250" y="138"/>
                </a:lnTo>
                <a:lnTo>
                  <a:pt x="253" y="138"/>
                </a:lnTo>
                <a:lnTo>
                  <a:pt x="253" y="131"/>
                </a:lnTo>
                <a:lnTo>
                  <a:pt x="263" y="128"/>
                </a:lnTo>
                <a:lnTo>
                  <a:pt x="260" y="125"/>
                </a:lnTo>
                <a:lnTo>
                  <a:pt x="260" y="125"/>
                </a:lnTo>
                <a:lnTo>
                  <a:pt x="266" y="122"/>
                </a:lnTo>
                <a:lnTo>
                  <a:pt x="275" y="119"/>
                </a:lnTo>
                <a:lnTo>
                  <a:pt x="275" y="116"/>
                </a:lnTo>
                <a:lnTo>
                  <a:pt x="269" y="113"/>
                </a:lnTo>
                <a:lnTo>
                  <a:pt x="269" y="110"/>
                </a:lnTo>
                <a:lnTo>
                  <a:pt x="272" y="106"/>
                </a:lnTo>
                <a:lnTo>
                  <a:pt x="278" y="103"/>
                </a:lnTo>
                <a:lnTo>
                  <a:pt x="281" y="103"/>
                </a:lnTo>
                <a:lnTo>
                  <a:pt x="288" y="97"/>
                </a:lnTo>
                <a:lnTo>
                  <a:pt x="294" y="100"/>
                </a:lnTo>
                <a:lnTo>
                  <a:pt x="294" y="103"/>
                </a:lnTo>
                <a:lnTo>
                  <a:pt x="303" y="103"/>
                </a:lnTo>
                <a:lnTo>
                  <a:pt x="310" y="103"/>
                </a:lnTo>
                <a:lnTo>
                  <a:pt x="316" y="97"/>
                </a:lnTo>
                <a:lnTo>
                  <a:pt x="316" y="94"/>
                </a:lnTo>
                <a:lnTo>
                  <a:pt x="307" y="85"/>
                </a:lnTo>
                <a:lnTo>
                  <a:pt x="303" y="85"/>
                </a:lnTo>
                <a:lnTo>
                  <a:pt x="303" y="91"/>
                </a:lnTo>
                <a:lnTo>
                  <a:pt x="300" y="94"/>
                </a:lnTo>
                <a:lnTo>
                  <a:pt x="297" y="94"/>
                </a:lnTo>
                <a:lnTo>
                  <a:pt x="291" y="91"/>
                </a:lnTo>
                <a:lnTo>
                  <a:pt x="285" y="88"/>
                </a:lnTo>
                <a:lnTo>
                  <a:pt x="278" y="85"/>
                </a:lnTo>
                <a:lnTo>
                  <a:pt x="281" y="78"/>
                </a:lnTo>
                <a:lnTo>
                  <a:pt x="288" y="69"/>
                </a:lnTo>
                <a:lnTo>
                  <a:pt x="288" y="66"/>
                </a:lnTo>
                <a:lnTo>
                  <a:pt x="285" y="66"/>
                </a:lnTo>
                <a:lnTo>
                  <a:pt x="281" y="72"/>
                </a:lnTo>
                <a:lnTo>
                  <a:pt x="278" y="72"/>
                </a:lnTo>
                <a:lnTo>
                  <a:pt x="269" y="81"/>
                </a:lnTo>
                <a:lnTo>
                  <a:pt x="269" y="88"/>
                </a:lnTo>
                <a:lnTo>
                  <a:pt x="266" y="91"/>
                </a:lnTo>
                <a:lnTo>
                  <a:pt x="263" y="97"/>
                </a:lnTo>
                <a:lnTo>
                  <a:pt x="253" y="103"/>
                </a:lnTo>
                <a:lnTo>
                  <a:pt x="250" y="103"/>
                </a:lnTo>
                <a:lnTo>
                  <a:pt x="244" y="97"/>
                </a:lnTo>
                <a:lnTo>
                  <a:pt x="235" y="97"/>
                </a:lnTo>
                <a:lnTo>
                  <a:pt x="231" y="97"/>
                </a:lnTo>
                <a:lnTo>
                  <a:pt x="222" y="103"/>
                </a:lnTo>
                <a:lnTo>
                  <a:pt x="216" y="103"/>
                </a:lnTo>
                <a:lnTo>
                  <a:pt x="210" y="81"/>
                </a:lnTo>
                <a:lnTo>
                  <a:pt x="194" y="78"/>
                </a:lnTo>
                <a:lnTo>
                  <a:pt x="194" y="50"/>
                </a:lnTo>
                <a:lnTo>
                  <a:pt x="188" y="53"/>
                </a:lnTo>
                <a:lnTo>
                  <a:pt x="181" y="41"/>
                </a:lnTo>
                <a:lnTo>
                  <a:pt x="172" y="34"/>
                </a:lnTo>
                <a:lnTo>
                  <a:pt x="141" y="34"/>
                </a:lnTo>
                <a:lnTo>
                  <a:pt x="113" y="38"/>
                </a:lnTo>
                <a:lnTo>
                  <a:pt x="94" y="25"/>
                </a:lnTo>
                <a:lnTo>
                  <a:pt x="81" y="22"/>
                </a:lnTo>
                <a:lnTo>
                  <a:pt x="50" y="0"/>
                </a:lnTo>
                <a:lnTo>
                  <a:pt x="0" y="9"/>
                </a:lnTo>
                <a:lnTo>
                  <a:pt x="16" y="103"/>
                </a:lnTo>
                <a:lnTo>
                  <a:pt x="25" y="103"/>
                </a:lnTo>
                <a:lnTo>
                  <a:pt x="31" y="103"/>
                </a:lnTo>
                <a:lnTo>
                  <a:pt x="35" y="100"/>
                </a:lnTo>
                <a:lnTo>
                  <a:pt x="31" y="97"/>
                </a:lnTo>
                <a:lnTo>
                  <a:pt x="31" y="88"/>
                </a:lnTo>
                <a:lnTo>
                  <a:pt x="35" y="81"/>
                </a:lnTo>
                <a:lnTo>
                  <a:pt x="41" y="78"/>
                </a:lnTo>
                <a:lnTo>
                  <a:pt x="44" y="75"/>
                </a:lnTo>
                <a:lnTo>
                  <a:pt x="47" y="72"/>
                </a:lnTo>
                <a:lnTo>
                  <a:pt x="53" y="75"/>
                </a:lnTo>
                <a:lnTo>
                  <a:pt x="56" y="72"/>
                </a:lnTo>
                <a:lnTo>
                  <a:pt x="50" y="69"/>
                </a:lnTo>
                <a:lnTo>
                  <a:pt x="60" y="69"/>
                </a:lnTo>
                <a:lnTo>
                  <a:pt x="75" y="75"/>
                </a:lnTo>
                <a:lnTo>
                  <a:pt x="85" y="81"/>
                </a:lnTo>
                <a:lnTo>
                  <a:pt x="88" y="88"/>
                </a:lnTo>
                <a:lnTo>
                  <a:pt x="100" y="94"/>
                </a:lnTo>
                <a:lnTo>
                  <a:pt x="113" y="100"/>
                </a:lnTo>
                <a:lnTo>
                  <a:pt x="116" y="100"/>
                </a:lnTo>
                <a:lnTo>
                  <a:pt x="119" y="100"/>
                </a:lnTo>
                <a:lnTo>
                  <a:pt x="128" y="106"/>
                </a:lnTo>
                <a:lnTo>
                  <a:pt x="131" y="119"/>
                </a:lnTo>
                <a:lnTo>
                  <a:pt x="135" y="119"/>
                </a:lnTo>
                <a:lnTo>
                  <a:pt x="138" y="125"/>
                </a:lnTo>
                <a:lnTo>
                  <a:pt x="141" y="135"/>
                </a:lnTo>
                <a:lnTo>
                  <a:pt x="147" y="138"/>
                </a:lnTo>
                <a:lnTo>
                  <a:pt x="163" y="144"/>
                </a:lnTo>
                <a:lnTo>
                  <a:pt x="175" y="153"/>
                </a:lnTo>
                <a:lnTo>
                  <a:pt x="191" y="160"/>
                </a:lnTo>
                <a:lnTo>
                  <a:pt x="203" y="169"/>
                </a:lnTo>
                <a:lnTo>
                  <a:pt x="213" y="172"/>
                </a:lnTo>
                <a:lnTo>
                  <a:pt x="216" y="175"/>
                </a:lnTo>
                <a:lnTo>
                  <a:pt x="219" y="175"/>
                </a:lnTo>
                <a:lnTo>
                  <a:pt x="225" y="178"/>
                </a:lnTo>
                <a:lnTo>
                  <a:pt x="225" y="185"/>
                </a:lnTo>
                <a:lnTo>
                  <a:pt x="225" y="194"/>
                </a:lnTo>
                <a:lnTo>
                  <a:pt x="231" y="191"/>
                </a:lnTo>
                <a:lnTo>
                  <a:pt x="238" y="194"/>
                </a:lnTo>
                <a:lnTo>
                  <a:pt x="238" y="197"/>
                </a:lnTo>
                <a:lnTo>
                  <a:pt x="241" y="197"/>
                </a:lnTo>
                <a:lnTo>
                  <a:pt x="244" y="194"/>
                </a:lnTo>
                <a:lnTo>
                  <a:pt x="247" y="194"/>
                </a:lnTo>
                <a:lnTo>
                  <a:pt x="250" y="197"/>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1" name="Freeform 19">
            <a:extLst>
              <a:ext uri="{FF2B5EF4-FFF2-40B4-BE49-F238E27FC236}">
                <a16:creationId xmlns:a16="http://schemas.microsoft.com/office/drawing/2014/main" id="{897898AD-1896-9810-75E2-5320AE246138}"/>
              </a:ext>
            </a:extLst>
          </p:cNvPr>
          <p:cNvSpPr>
            <a:spLocks/>
          </p:cNvSpPr>
          <p:nvPr userDrawn="1"/>
        </p:nvSpPr>
        <p:spPr bwMode="auto">
          <a:xfrm>
            <a:off x="16245413" y="6466761"/>
            <a:ext cx="892118" cy="565150"/>
          </a:xfrm>
          <a:custGeom>
            <a:avLst/>
            <a:gdLst>
              <a:gd name="T0" fmla="*/ 281 w 281"/>
              <a:gd name="T1" fmla="*/ 109 h 178"/>
              <a:gd name="T2" fmla="*/ 269 w 281"/>
              <a:gd name="T3" fmla="*/ 103 h 178"/>
              <a:gd name="T4" fmla="*/ 231 w 281"/>
              <a:gd name="T5" fmla="*/ 84 h 178"/>
              <a:gd name="T6" fmla="*/ 197 w 281"/>
              <a:gd name="T7" fmla="*/ 66 h 178"/>
              <a:gd name="T8" fmla="*/ 187 w 281"/>
              <a:gd name="T9" fmla="*/ 50 h 178"/>
              <a:gd name="T10" fmla="*/ 172 w 281"/>
              <a:gd name="T11" fmla="*/ 31 h 178"/>
              <a:gd name="T12" fmla="*/ 144 w 281"/>
              <a:gd name="T13" fmla="*/ 19 h 178"/>
              <a:gd name="T14" fmla="*/ 116 w 281"/>
              <a:gd name="T15" fmla="*/ 0 h 178"/>
              <a:gd name="T16" fmla="*/ 109 w 281"/>
              <a:gd name="T17" fmla="*/ 6 h 178"/>
              <a:gd name="T18" fmla="*/ 97 w 281"/>
              <a:gd name="T19" fmla="*/ 9 h 178"/>
              <a:gd name="T20" fmla="*/ 87 w 281"/>
              <a:gd name="T21" fmla="*/ 28 h 178"/>
              <a:gd name="T22" fmla="*/ 81 w 281"/>
              <a:gd name="T23" fmla="*/ 34 h 178"/>
              <a:gd name="T24" fmla="*/ 47 w 281"/>
              <a:gd name="T25" fmla="*/ 22 h 178"/>
              <a:gd name="T26" fmla="*/ 12 w 281"/>
              <a:gd name="T27" fmla="*/ 16 h 178"/>
              <a:gd name="T28" fmla="*/ 3 w 281"/>
              <a:gd name="T29" fmla="*/ 31 h 178"/>
              <a:gd name="T30" fmla="*/ 9 w 281"/>
              <a:gd name="T31" fmla="*/ 41 h 178"/>
              <a:gd name="T32" fmla="*/ 9 w 281"/>
              <a:gd name="T33" fmla="*/ 56 h 178"/>
              <a:gd name="T34" fmla="*/ 12 w 281"/>
              <a:gd name="T35" fmla="*/ 72 h 178"/>
              <a:gd name="T36" fmla="*/ 19 w 281"/>
              <a:gd name="T37" fmla="*/ 72 h 178"/>
              <a:gd name="T38" fmla="*/ 28 w 281"/>
              <a:gd name="T39" fmla="*/ 72 h 178"/>
              <a:gd name="T40" fmla="*/ 28 w 281"/>
              <a:gd name="T41" fmla="*/ 81 h 178"/>
              <a:gd name="T42" fmla="*/ 34 w 281"/>
              <a:gd name="T43" fmla="*/ 84 h 178"/>
              <a:gd name="T44" fmla="*/ 25 w 281"/>
              <a:gd name="T45" fmla="*/ 81 h 178"/>
              <a:gd name="T46" fmla="*/ 25 w 281"/>
              <a:gd name="T47" fmla="*/ 94 h 178"/>
              <a:gd name="T48" fmla="*/ 28 w 281"/>
              <a:gd name="T49" fmla="*/ 87 h 178"/>
              <a:gd name="T50" fmla="*/ 37 w 281"/>
              <a:gd name="T51" fmla="*/ 94 h 178"/>
              <a:gd name="T52" fmla="*/ 41 w 281"/>
              <a:gd name="T53" fmla="*/ 109 h 178"/>
              <a:gd name="T54" fmla="*/ 47 w 281"/>
              <a:gd name="T55" fmla="*/ 134 h 178"/>
              <a:gd name="T56" fmla="*/ 59 w 281"/>
              <a:gd name="T57" fmla="*/ 125 h 178"/>
              <a:gd name="T58" fmla="*/ 75 w 281"/>
              <a:gd name="T59" fmla="*/ 116 h 178"/>
              <a:gd name="T60" fmla="*/ 91 w 281"/>
              <a:gd name="T61" fmla="*/ 112 h 178"/>
              <a:gd name="T62" fmla="*/ 103 w 281"/>
              <a:gd name="T63" fmla="*/ 112 h 178"/>
              <a:gd name="T64" fmla="*/ 128 w 281"/>
              <a:gd name="T65" fmla="*/ 125 h 178"/>
              <a:gd name="T66" fmla="*/ 144 w 281"/>
              <a:gd name="T67" fmla="*/ 128 h 178"/>
              <a:gd name="T68" fmla="*/ 150 w 281"/>
              <a:gd name="T69" fmla="*/ 134 h 178"/>
              <a:gd name="T70" fmla="*/ 169 w 281"/>
              <a:gd name="T71" fmla="*/ 147 h 178"/>
              <a:gd name="T72" fmla="*/ 184 w 281"/>
              <a:gd name="T73" fmla="*/ 156 h 178"/>
              <a:gd name="T74" fmla="*/ 187 w 281"/>
              <a:gd name="T75" fmla="*/ 166 h 178"/>
              <a:gd name="T76" fmla="*/ 194 w 281"/>
              <a:gd name="T77" fmla="*/ 169 h 178"/>
              <a:gd name="T78" fmla="*/ 203 w 281"/>
              <a:gd name="T79" fmla="*/ 169 h 178"/>
              <a:gd name="T80" fmla="*/ 212 w 281"/>
              <a:gd name="T81" fmla="*/ 175 h 178"/>
              <a:gd name="T82" fmla="*/ 222 w 281"/>
              <a:gd name="T83" fmla="*/ 175 h 178"/>
              <a:gd name="T84" fmla="*/ 228 w 281"/>
              <a:gd name="T85" fmla="*/ 166 h 178"/>
              <a:gd name="T86" fmla="*/ 241 w 281"/>
              <a:gd name="T87" fmla="*/ 159 h 178"/>
              <a:gd name="T88" fmla="*/ 247 w 281"/>
              <a:gd name="T89" fmla="*/ 153 h 178"/>
              <a:gd name="T90" fmla="*/ 253 w 281"/>
              <a:gd name="T91" fmla="*/ 138 h 178"/>
              <a:gd name="T92" fmla="*/ 250 w 281"/>
              <a:gd name="T93" fmla="*/ 131 h 178"/>
              <a:gd name="T94" fmla="*/ 259 w 281"/>
              <a:gd name="T95" fmla="*/ 128 h 178"/>
              <a:gd name="T96" fmla="*/ 272 w 281"/>
              <a:gd name="T97" fmla="*/ 122 h 178"/>
              <a:gd name="T98" fmla="*/ 281 w 281"/>
              <a:gd name="T99" fmla="*/ 12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178">
                <a:moveTo>
                  <a:pt x="281" y="125"/>
                </a:moveTo>
                <a:lnTo>
                  <a:pt x="281" y="116"/>
                </a:lnTo>
                <a:lnTo>
                  <a:pt x="281" y="109"/>
                </a:lnTo>
                <a:lnTo>
                  <a:pt x="275" y="106"/>
                </a:lnTo>
                <a:lnTo>
                  <a:pt x="272" y="106"/>
                </a:lnTo>
                <a:lnTo>
                  <a:pt x="269" y="103"/>
                </a:lnTo>
                <a:lnTo>
                  <a:pt x="259" y="100"/>
                </a:lnTo>
                <a:lnTo>
                  <a:pt x="247" y="91"/>
                </a:lnTo>
                <a:lnTo>
                  <a:pt x="231" y="84"/>
                </a:lnTo>
                <a:lnTo>
                  <a:pt x="219" y="75"/>
                </a:lnTo>
                <a:lnTo>
                  <a:pt x="203" y="69"/>
                </a:lnTo>
                <a:lnTo>
                  <a:pt x="197" y="66"/>
                </a:lnTo>
                <a:lnTo>
                  <a:pt x="194" y="56"/>
                </a:lnTo>
                <a:lnTo>
                  <a:pt x="191" y="50"/>
                </a:lnTo>
                <a:lnTo>
                  <a:pt x="187" y="50"/>
                </a:lnTo>
                <a:lnTo>
                  <a:pt x="184" y="37"/>
                </a:lnTo>
                <a:lnTo>
                  <a:pt x="175" y="31"/>
                </a:lnTo>
                <a:lnTo>
                  <a:pt x="172" y="31"/>
                </a:lnTo>
                <a:lnTo>
                  <a:pt x="169" y="31"/>
                </a:lnTo>
                <a:lnTo>
                  <a:pt x="156" y="25"/>
                </a:lnTo>
                <a:lnTo>
                  <a:pt x="144" y="19"/>
                </a:lnTo>
                <a:lnTo>
                  <a:pt x="141" y="12"/>
                </a:lnTo>
                <a:lnTo>
                  <a:pt x="131" y="6"/>
                </a:lnTo>
                <a:lnTo>
                  <a:pt x="116" y="0"/>
                </a:lnTo>
                <a:lnTo>
                  <a:pt x="106" y="0"/>
                </a:lnTo>
                <a:lnTo>
                  <a:pt x="112" y="3"/>
                </a:lnTo>
                <a:lnTo>
                  <a:pt x="109" y="6"/>
                </a:lnTo>
                <a:lnTo>
                  <a:pt x="103" y="3"/>
                </a:lnTo>
                <a:lnTo>
                  <a:pt x="100" y="6"/>
                </a:lnTo>
                <a:lnTo>
                  <a:pt x="97" y="9"/>
                </a:lnTo>
                <a:lnTo>
                  <a:pt x="91" y="12"/>
                </a:lnTo>
                <a:lnTo>
                  <a:pt x="87" y="19"/>
                </a:lnTo>
                <a:lnTo>
                  <a:pt x="87" y="28"/>
                </a:lnTo>
                <a:lnTo>
                  <a:pt x="91" y="31"/>
                </a:lnTo>
                <a:lnTo>
                  <a:pt x="87" y="34"/>
                </a:lnTo>
                <a:lnTo>
                  <a:pt x="81" y="34"/>
                </a:lnTo>
                <a:lnTo>
                  <a:pt x="69" y="34"/>
                </a:lnTo>
                <a:lnTo>
                  <a:pt x="62" y="37"/>
                </a:lnTo>
                <a:lnTo>
                  <a:pt x="47" y="22"/>
                </a:lnTo>
                <a:lnTo>
                  <a:pt x="34" y="12"/>
                </a:lnTo>
                <a:lnTo>
                  <a:pt x="22" y="12"/>
                </a:lnTo>
                <a:lnTo>
                  <a:pt x="12" y="16"/>
                </a:lnTo>
                <a:lnTo>
                  <a:pt x="0" y="25"/>
                </a:lnTo>
                <a:lnTo>
                  <a:pt x="0" y="28"/>
                </a:lnTo>
                <a:lnTo>
                  <a:pt x="3" y="31"/>
                </a:lnTo>
                <a:lnTo>
                  <a:pt x="3" y="34"/>
                </a:lnTo>
                <a:lnTo>
                  <a:pt x="6" y="37"/>
                </a:lnTo>
                <a:lnTo>
                  <a:pt x="9" y="41"/>
                </a:lnTo>
                <a:lnTo>
                  <a:pt x="12" y="47"/>
                </a:lnTo>
                <a:lnTo>
                  <a:pt x="12" y="53"/>
                </a:lnTo>
                <a:lnTo>
                  <a:pt x="9" y="56"/>
                </a:lnTo>
                <a:lnTo>
                  <a:pt x="9" y="66"/>
                </a:lnTo>
                <a:lnTo>
                  <a:pt x="12" y="69"/>
                </a:lnTo>
                <a:lnTo>
                  <a:pt x="12" y="72"/>
                </a:lnTo>
                <a:lnTo>
                  <a:pt x="22" y="78"/>
                </a:lnTo>
                <a:lnTo>
                  <a:pt x="19" y="75"/>
                </a:lnTo>
                <a:lnTo>
                  <a:pt x="19" y="72"/>
                </a:lnTo>
                <a:lnTo>
                  <a:pt x="19" y="72"/>
                </a:lnTo>
                <a:lnTo>
                  <a:pt x="25" y="72"/>
                </a:lnTo>
                <a:lnTo>
                  <a:pt x="28" y="72"/>
                </a:lnTo>
                <a:lnTo>
                  <a:pt x="28" y="72"/>
                </a:lnTo>
                <a:lnTo>
                  <a:pt x="28" y="75"/>
                </a:lnTo>
                <a:lnTo>
                  <a:pt x="28" y="81"/>
                </a:lnTo>
                <a:lnTo>
                  <a:pt x="31" y="78"/>
                </a:lnTo>
                <a:lnTo>
                  <a:pt x="34" y="84"/>
                </a:lnTo>
                <a:lnTo>
                  <a:pt x="34" y="84"/>
                </a:lnTo>
                <a:lnTo>
                  <a:pt x="31" y="84"/>
                </a:lnTo>
                <a:lnTo>
                  <a:pt x="28" y="84"/>
                </a:lnTo>
                <a:lnTo>
                  <a:pt x="25" y="81"/>
                </a:lnTo>
                <a:lnTo>
                  <a:pt x="22" y="84"/>
                </a:lnTo>
                <a:lnTo>
                  <a:pt x="22" y="87"/>
                </a:lnTo>
                <a:lnTo>
                  <a:pt x="25" y="94"/>
                </a:lnTo>
                <a:lnTo>
                  <a:pt x="25" y="87"/>
                </a:lnTo>
                <a:lnTo>
                  <a:pt x="25" y="87"/>
                </a:lnTo>
                <a:lnTo>
                  <a:pt x="28" y="87"/>
                </a:lnTo>
                <a:lnTo>
                  <a:pt x="31" y="87"/>
                </a:lnTo>
                <a:lnTo>
                  <a:pt x="34" y="94"/>
                </a:lnTo>
                <a:lnTo>
                  <a:pt x="37" y="94"/>
                </a:lnTo>
                <a:lnTo>
                  <a:pt x="41" y="100"/>
                </a:lnTo>
                <a:lnTo>
                  <a:pt x="41" y="106"/>
                </a:lnTo>
                <a:lnTo>
                  <a:pt x="41" y="109"/>
                </a:lnTo>
                <a:lnTo>
                  <a:pt x="41" y="119"/>
                </a:lnTo>
                <a:lnTo>
                  <a:pt x="41" y="125"/>
                </a:lnTo>
                <a:lnTo>
                  <a:pt x="47" y="134"/>
                </a:lnTo>
                <a:lnTo>
                  <a:pt x="50" y="131"/>
                </a:lnTo>
                <a:lnTo>
                  <a:pt x="59" y="131"/>
                </a:lnTo>
                <a:lnTo>
                  <a:pt x="59" y="125"/>
                </a:lnTo>
                <a:lnTo>
                  <a:pt x="62" y="122"/>
                </a:lnTo>
                <a:lnTo>
                  <a:pt x="66" y="122"/>
                </a:lnTo>
                <a:lnTo>
                  <a:pt x="75" y="116"/>
                </a:lnTo>
                <a:lnTo>
                  <a:pt x="84" y="116"/>
                </a:lnTo>
                <a:lnTo>
                  <a:pt x="91" y="116"/>
                </a:lnTo>
                <a:lnTo>
                  <a:pt x="91" y="112"/>
                </a:lnTo>
                <a:lnTo>
                  <a:pt x="97" y="109"/>
                </a:lnTo>
                <a:lnTo>
                  <a:pt x="100" y="112"/>
                </a:lnTo>
                <a:lnTo>
                  <a:pt x="103" y="112"/>
                </a:lnTo>
                <a:lnTo>
                  <a:pt x="112" y="119"/>
                </a:lnTo>
                <a:lnTo>
                  <a:pt x="116" y="119"/>
                </a:lnTo>
                <a:lnTo>
                  <a:pt x="128" y="125"/>
                </a:lnTo>
                <a:lnTo>
                  <a:pt x="131" y="125"/>
                </a:lnTo>
                <a:lnTo>
                  <a:pt x="134" y="125"/>
                </a:lnTo>
                <a:lnTo>
                  <a:pt x="144" y="128"/>
                </a:lnTo>
                <a:lnTo>
                  <a:pt x="147" y="128"/>
                </a:lnTo>
                <a:lnTo>
                  <a:pt x="147" y="134"/>
                </a:lnTo>
                <a:lnTo>
                  <a:pt x="150" y="134"/>
                </a:lnTo>
                <a:lnTo>
                  <a:pt x="153" y="134"/>
                </a:lnTo>
                <a:lnTo>
                  <a:pt x="162" y="138"/>
                </a:lnTo>
                <a:lnTo>
                  <a:pt x="169" y="147"/>
                </a:lnTo>
                <a:lnTo>
                  <a:pt x="178" y="147"/>
                </a:lnTo>
                <a:lnTo>
                  <a:pt x="181" y="150"/>
                </a:lnTo>
                <a:lnTo>
                  <a:pt x="184" y="156"/>
                </a:lnTo>
                <a:lnTo>
                  <a:pt x="184" y="159"/>
                </a:lnTo>
                <a:lnTo>
                  <a:pt x="187" y="163"/>
                </a:lnTo>
                <a:lnTo>
                  <a:pt x="187" y="166"/>
                </a:lnTo>
                <a:lnTo>
                  <a:pt x="187" y="169"/>
                </a:lnTo>
                <a:lnTo>
                  <a:pt x="191" y="169"/>
                </a:lnTo>
                <a:lnTo>
                  <a:pt x="194" y="169"/>
                </a:lnTo>
                <a:lnTo>
                  <a:pt x="197" y="172"/>
                </a:lnTo>
                <a:lnTo>
                  <a:pt x="200" y="172"/>
                </a:lnTo>
                <a:lnTo>
                  <a:pt x="203" y="169"/>
                </a:lnTo>
                <a:lnTo>
                  <a:pt x="206" y="169"/>
                </a:lnTo>
                <a:lnTo>
                  <a:pt x="209" y="172"/>
                </a:lnTo>
                <a:lnTo>
                  <a:pt x="212" y="175"/>
                </a:lnTo>
                <a:lnTo>
                  <a:pt x="212" y="178"/>
                </a:lnTo>
                <a:lnTo>
                  <a:pt x="216" y="175"/>
                </a:lnTo>
                <a:lnTo>
                  <a:pt x="222" y="175"/>
                </a:lnTo>
                <a:lnTo>
                  <a:pt x="225" y="172"/>
                </a:lnTo>
                <a:lnTo>
                  <a:pt x="225" y="169"/>
                </a:lnTo>
                <a:lnTo>
                  <a:pt x="228" y="166"/>
                </a:lnTo>
                <a:lnTo>
                  <a:pt x="225" y="163"/>
                </a:lnTo>
                <a:lnTo>
                  <a:pt x="231" y="159"/>
                </a:lnTo>
                <a:lnTo>
                  <a:pt x="241" y="159"/>
                </a:lnTo>
                <a:lnTo>
                  <a:pt x="241" y="156"/>
                </a:lnTo>
                <a:lnTo>
                  <a:pt x="244" y="153"/>
                </a:lnTo>
                <a:lnTo>
                  <a:pt x="247" y="153"/>
                </a:lnTo>
                <a:lnTo>
                  <a:pt x="247" y="147"/>
                </a:lnTo>
                <a:lnTo>
                  <a:pt x="247" y="144"/>
                </a:lnTo>
                <a:lnTo>
                  <a:pt x="253" y="138"/>
                </a:lnTo>
                <a:lnTo>
                  <a:pt x="253" y="134"/>
                </a:lnTo>
                <a:lnTo>
                  <a:pt x="250" y="134"/>
                </a:lnTo>
                <a:lnTo>
                  <a:pt x="250" y="131"/>
                </a:lnTo>
                <a:lnTo>
                  <a:pt x="253" y="131"/>
                </a:lnTo>
                <a:lnTo>
                  <a:pt x="256" y="128"/>
                </a:lnTo>
                <a:lnTo>
                  <a:pt x="259" y="128"/>
                </a:lnTo>
                <a:lnTo>
                  <a:pt x="262" y="128"/>
                </a:lnTo>
                <a:lnTo>
                  <a:pt x="269" y="122"/>
                </a:lnTo>
                <a:lnTo>
                  <a:pt x="272" y="122"/>
                </a:lnTo>
                <a:lnTo>
                  <a:pt x="275" y="125"/>
                </a:lnTo>
                <a:lnTo>
                  <a:pt x="281" y="122"/>
                </a:lnTo>
                <a:lnTo>
                  <a:pt x="281" y="125"/>
                </a:lnTo>
                <a:lnTo>
                  <a:pt x="281" y="125"/>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2" name="Freeform 20">
            <a:extLst>
              <a:ext uri="{FF2B5EF4-FFF2-40B4-BE49-F238E27FC236}">
                <a16:creationId xmlns:a16="http://schemas.microsoft.com/office/drawing/2014/main" id="{5B555ADE-C660-659F-5182-A6C37775A0EB}"/>
              </a:ext>
            </a:extLst>
          </p:cNvPr>
          <p:cNvSpPr>
            <a:spLocks noEditPoints="1"/>
          </p:cNvSpPr>
          <p:nvPr userDrawn="1"/>
        </p:nvSpPr>
        <p:spPr bwMode="auto">
          <a:xfrm>
            <a:off x="24195100" y="10489487"/>
            <a:ext cx="187314" cy="158750"/>
          </a:xfrm>
          <a:custGeom>
            <a:avLst/>
            <a:gdLst>
              <a:gd name="T0" fmla="*/ 28 w 59"/>
              <a:gd name="T1" fmla="*/ 19 h 50"/>
              <a:gd name="T2" fmla="*/ 31 w 59"/>
              <a:gd name="T3" fmla="*/ 12 h 50"/>
              <a:gd name="T4" fmla="*/ 34 w 59"/>
              <a:gd name="T5" fmla="*/ 12 h 50"/>
              <a:gd name="T6" fmla="*/ 40 w 59"/>
              <a:gd name="T7" fmla="*/ 9 h 50"/>
              <a:gd name="T8" fmla="*/ 43 w 59"/>
              <a:gd name="T9" fmla="*/ 9 h 50"/>
              <a:gd name="T10" fmla="*/ 50 w 59"/>
              <a:gd name="T11" fmla="*/ 6 h 50"/>
              <a:gd name="T12" fmla="*/ 53 w 59"/>
              <a:gd name="T13" fmla="*/ 6 h 50"/>
              <a:gd name="T14" fmla="*/ 59 w 59"/>
              <a:gd name="T15" fmla="*/ 0 h 50"/>
              <a:gd name="T16" fmla="*/ 59 w 59"/>
              <a:gd name="T17" fmla="*/ 3 h 50"/>
              <a:gd name="T18" fmla="*/ 56 w 59"/>
              <a:gd name="T19" fmla="*/ 6 h 50"/>
              <a:gd name="T20" fmla="*/ 56 w 59"/>
              <a:gd name="T21" fmla="*/ 9 h 50"/>
              <a:gd name="T22" fmla="*/ 50 w 59"/>
              <a:gd name="T23" fmla="*/ 15 h 50"/>
              <a:gd name="T24" fmla="*/ 53 w 59"/>
              <a:gd name="T25" fmla="*/ 15 h 50"/>
              <a:gd name="T26" fmla="*/ 56 w 59"/>
              <a:gd name="T27" fmla="*/ 12 h 50"/>
              <a:gd name="T28" fmla="*/ 59 w 59"/>
              <a:gd name="T29" fmla="*/ 15 h 50"/>
              <a:gd name="T30" fmla="*/ 56 w 59"/>
              <a:gd name="T31" fmla="*/ 19 h 50"/>
              <a:gd name="T32" fmla="*/ 46 w 59"/>
              <a:gd name="T33" fmla="*/ 19 h 50"/>
              <a:gd name="T34" fmla="*/ 43 w 59"/>
              <a:gd name="T35" fmla="*/ 15 h 50"/>
              <a:gd name="T36" fmla="*/ 40 w 59"/>
              <a:gd name="T37" fmla="*/ 15 h 50"/>
              <a:gd name="T38" fmla="*/ 40 w 59"/>
              <a:gd name="T39" fmla="*/ 19 h 50"/>
              <a:gd name="T40" fmla="*/ 34 w 59"/>
              <a:gd name="T41" fmla="*/ 19 h 50"/>
              <a:gd name="T42" fmla="*/ 31 w 59"/>
              <a:gd name="T43" fmla="*/ 22 h 50"/>
              <a:gd name="T44" fmla="*/ 28 w 59"/>
              <a:gd name="T45" fmla="*/ 19 h 50"/>
              <a:gd name="T46" fmla="*/ 28 w 59"/>
              <a:gd name="T47" fmla="*/ 19 h 50"/>
              <a:gd name="T48" fmla="*/ 6 w 59"/>
              <a:gd name="T49" fmla="*/ 34 h 50"/>
              <a:gd name="T50" fmla="*/ 12 w 59"/>
              <a:gd name="T51" fmla="*/ 31 h 50"/>
              <a:gd name="T52" fmla="*/ 21 w 59"/>
              <a:gd name="T53" fmla="*/ 28 h 50"/>
              <a:gd name="T54" fmla="*/ 28 w 59"/>
              <a:gd name="T55" fmla="*/ 34 h 50"/>
              <a:gd name="T56" fmla="*/ 31 w 59"/>
              <a:gd name="T57" fmla="*/ 47 h 50"/>
              <a:gd name="T58" fmla="*/ 25 w 59"/>
              <a:gd name="T59" fmla="*/ 50 h 50"/>
              <a:gd name="T60" fmla="*/ 18 w 59"/>
              <a:gd name="T61" fmla="*/ 47 h 50"/>
              <a:gd name="T62" fmla="*/ 15 w 59"/>
              <a:gd name="T63" fmla="*/ 50 h 50"/>
              <a:gd name="T64" fmla="*/ 6 w 59"/>
              <a:gd name="T65" fmla="*/ 50 h 50"/>
              <a:gd name="T66" fmla="*/ 0 w 59"/>
              <a:gd name="T67" fmla="*/ 47 h 50"/>
              <a:gd name="T68" fmla="*/ 0 w 59"/>
              <a:gd name="T69" fmla="*/ 40 h 50"/>
              <a:gd name="T70" fmla="*/ 6 w 59"/>
              <a:gd name="T71" fmla="*/ 40 h 50"/>
              <a:gd name="T72" fmla="*/ 6 w 59"/>
              <a:gd name="T73" fmla="*/ 3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 h="50">
                <a:moveTo>
                  <a:pt x="28" y="19"/>
                </a:moveTo>
                <a:lnTo>
                  <a:pt x="31" y="12"/>
                </a:lnTo>
                <a:lnTo>
                  <a:pt x="34" y="12"/>
                </a:lnTo>
                <a:lnTo>
                  <a:pt x="40" y="9"/>
                </a:lnTo>
                <a:lnTo>
                  <a:pt x="43" y="9"/>
                </a:lnTo>
                <a:lnTo>
                  <a:pt x="50" y="6"/>
                </a:lnTo>
                <a:lnTo>
                  <a:pt x="53" y="6"/>
                </a:lnTo>
                <a:lnTo>
                  <a:pt x="59" y="0"/>
                </a:lnTo>
                <a:lnTo>
                  <a:pt x="59" y="3"/>
                </a:lnTo>
                <a:lnTo>
                  <a:pt x="56" y="6"/>
                </a:lnTo>
                <a:lnTo>
                  <a:pt x="56" y="9"/>
                </a:lnTo>
                <a:lnTo>
                  <a:pt x="50" y="15"/>
                </a:lnTo>
                <a:lnTo>
                  <a:pt x="53" y="15"/>
                </a:lnTo>
                <a:lnTo>
                  <a:pt x="56" y="12"/>
                </a:lnTo>
                <a:lnTo>
                  <a:pt x="59" y="15"/>
                </a:lnTo>
                <a:lnTo>
                  <a:pt x="56" y="19"/>
                </a:lnTo>
                <a:lnTo>
                  <a:pt x="46" y="19"/>
                </a:lnTo>
                <a:lnTo>
                  <a:pt x="43" y="15"/>
                </a:lnTo>
                <a:lnTo>
                  <a:pt x="40" y="15"/>
                </a:lnTo>
                <a:lnTo>
                  <a:pt x="40" y="19"/>
                </a:lnTo>
                <a:lnTo>
                  <a:pt x="34" y="19"/>
                </a:lnTo>
                <a:lnTo>
                  <a:pt x="31" y="22"/>
                </a:lnTo>
                <a:lnTo>
                  <a:pt x="28" y="19"/>
                </a:lnTo>
                <a:lnTo>
                  <a:pt x="28" y="19"/>
                </a:lnTo>
                <a:close/>
                <a:moveTo>
                  <a:pt x="6" y="34"/>
                </a:moveTo>
                <a:lnTo>
                  <a:pt x="12" y="31"/>
                </a:lnTo>
                <a:lnTo>
                  <a:pt x="21" y="28"/>
                </a:lnTo>
                <a:lnTo>
                  <a:pt x="28" y="34"/>
                </a:lnTo>
                <a:lnTo>
                  <a:pt x="31" y="47"/>
                </a:lnTo>
                <a:lnTo>
                  <a:pt x="25" y="50"/>
                </a:lnTo>
                <a:lnTo>
                  <a:pt x="18" y="47"/>
                </a:lnTo>
                <a:lnTo>
                  <a:pt x="15" y="50"/>
                </a:lnTo>
                <a:lnTo>
                  <a:pt x="6" y="50"/>
                </a:lnTo>
                <a:lnTo>
                  <a:pt x="0" y="47"/>
                </a:lnTo>
                <a:lnTo>
                  <a:pt x="0" y="40"/>
                </a:lnTo>
                <a:lnTo>
                  <a:pt x="6" y="40"/>
                </a:lnTo>
                <a:lnTo>
                  <a:pt x="6" y="34"/>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3" name="Freeform 21">
            <a:extLst>
              <a:ext uri="{FF2B5EF4-FFF2-40B4-BE49-F238E27FC236}">
                <a16:creationId xmlns:a16="http://schemas.microsoft.com/office/drawing/2014/main" id="{A050925C-1F77-34D5-5383-F9B71DE8EE28}"/>
              </a:ext>
            </a:extLst>
          </p:cNvPr>
          <p:cNvSpPr>
            <a:spLocks noEditPoints="1"/>
          </p:cNvSpPr>
          <p:nvPr userDrawn="1"/>
        </p:nvSpPr>
        <p:spPr bwMode="auto">
          <a:xfrm>
            <a:off x="23547440" y="10368837"/>
            <a:ext cx="139693" cy="377826"/>
          </a:xfrm>
          <a:custGeom>
            <a:avLst/>
            <a:gdLst>
              <a:gd name="T0" fmla="*/ 14 w 14"/>
              <a:gd name="T1" fmla="*/ 37 h 38"/>
              <a:gd name="T2" fmla="*/ 14 w 14"/>
              <a:gd name="T3" fmla="*/ 37 h 38"/>
              <a:gd name="T4" fmla="*/ 13 w 14"/>
              <a:gd name="T5" fmla="*/ 30 h 38"/>
              <a:gd name="T6" fmla="*/ 14 w 14"/>
              <a:gd name="T7" fmla="*/ 33 h 38"/>
              <a:gd name="T8" fmla="*/ 13 w 14"/>
              <a:gd name="T9" fmla="*/ 30 h 38"/>
              <a:gd name="T10" fmla="*/ 9 w 14"/>
              <a:gd name="T11" fmla="*/ 22 h 38"/>
              <a:gd name="T12" fmla="*/ 11 w 14"/>
              <a:gd name="T13" fmla="*/ 22 h 38"/>
              <a:gd name="T14" fmla="*/ 10 w 14"/>
              <a:gd name="T15" fmla="*/ 24 h 38"/>
              <a:gd name="T16" fmla="*/ 9 w 14"/>
              <a:gd name="T17" fmla="*/ 22 h 38"/>
              <a:gd name="T18" fmla="*/ 11 w 14"/>
              <a:gd name="T19" fmla="*/ 4 h 38"/>
              <a:gd name="T20" fmla="*/ 11 w 14"/>
              <a:gd name="T21" fmla="*/ 4 h 38"/>
              <a:gd name="T22" fmla="*/ 7 w 14"/>
              <a:gd name="T23" fmla="*/ 6 h 38"/>
              <a:gd name="T24" fmla="*/ 9 w 14"/>
              <a:gd name="T25" fmla="*/ 5 h 38"/>
              <a:gd name="T26" fmla="*/ 8 w 14"/>
              <a:gd name="T27" fmla="*/ 5 h 38"/>
              <a:gd name="T28" fmla="*/ 10 w 14"/>
              <a:gd name="T29" fmla="*/ 7 h 38"/>
              <a:gd name="T30" fmla="*/ 11 w 14"/>
              <a:gd name="T31" fmla="*/ 9 h 38"/>
              <a:gd name="T32" fmla="*/ 10 w 14"/>
              <a:gd name="T33" fmla="*/ 10 h 38"/>
              <a:gd name="T34" fmla="*/ 10 w 14"/>
              <a:gd name="T35" fmla="*/ 7 h 38"/>
              <a:gd name="T36" fmla="*/ 10 w 14"/>
              <a:gd name="T37" fmla="*/ 15 h 38"/>
              <a:gd name="T38" fmla="*/ 11 w 14"/>
              <a:gd name="T39" fmla="*/ 17 h 38"/>
              <a:gd name="T40" fmla="*/ 9 w 14"/>
              <a:gd name="T41" fmla="*/ 16 h 38"/>
              <a:gd name="T42" fmla="*/ 10 w 14"/>
              <a:gd name="T43" fmla="*/ 12 h 38"/>
              <a:gd name="T44" fmla="*/ 11 w 14"/>
              <a:gd name="T45" fmla="*/ 13 h 38"/>
              <a:gd name="T46" fmla="*/ 10 w 14"/>
              <a:gd name="T47" fmla="*/ 14 h 38"/>
              <a:gd name="T48" fmla="*/ 9 w 14"/>
              <a:gd name="T49" fmla="*/ 14 h 38"/>
              <a:gd name="T50" fmla="*/ 8 w 14"/>
              <a:gd name="T51" fmla="*/ 13 h 38"/>
              <a:gd name="T52" fmla="*/ 5 w 14"/>
              <a:gd name="T53" fmla="*/ 10 h 38"/>
              <a:gd name="T54" fmla="*/ 6 w 14"/>
              <a:gd name="T55" fmla="*/ 12 h 38"/>
              <a:gd name="T56" fmla="*/ 7 w 14"/>
              <a:gd name="T57" fmla="*/ 14 h 38"/>
              <a:gd name="T58" fmla="*/ 5 w 14"/>
              <a:gd name="T59" fmla="*/ 15 h 38"/>
              <a:gd name="T60" fmla="*/ 5 w 14"/>
              <a:gd name="T61" fmla="*/ 13 h 38"/>
              <a:gd name="T62" fmla="*/ 4 w 14"/>
              <a:gd name="T63" fmla="*/ 11 h 38"/>
              <a:gd name="T64" fmla="*/ 3 w 14"/>
              <a:gd name="T65" fmla="*/ 10 h 38"/>
              <a:gd name="T66" fmla="*/ 1 w 14"/>
              <a:gd name="T67" fmla="*/ 0 h 38"/>
              <a:gd name="T68" fmla="*/ 0 w 14"/>
              <a:gd name="T69" fmla="*/ 5 h 38"/>
              <a:gd name="T70" fmla="*/ 1 w 14"/>
              <a:gd name="T71" fmla="*/ 8 h 38"/>
              <a:gd name="T72" fmla="*/ 3 w 14"/>
              <a:gd name="T73" fmla="*/ 7 h 38"/>
              <a:gd name="T74" fmla="*/ 4 w 14"/>
              <a:gd name="T75" fmla="*/ 7 h 38"/>
              <a:gd name="T76" fmla="*/ 4 w 14"/>
              <a:gd name="T77" fmla="*/ 4 h 38"/>
              <a:gd name="T78" fmla="*/ 3 w 14"/>
              <a:gd name="T79" fmla="*/ 2 h 38"/>
              <a:gd name="T80" fmla="*/ 3 w 14"/>
              <a:gd name="T81" fmla="*/ 4 h 38"/>
              <a:gd name="T82" fmla="*/ 2 w 14"/>
              <a:gd name="T83" fmla="*/ 4 h 38"/>
              <a:gd name="T84" fmla="*/ 1 w 14"/>
              <a:gd name="T8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 h="38">
                <a:moveTo>
                  <a:pt x="14" y="36"/>
                </a:moveTo>
                <a:cubicBezTo>
                  <a:pt x="14" y="37"/>
                  <a:pt x="14" y="37"/>
                  <a:pt x="14" y="37"/>
                </a:cubicBezTo>
                <a:cubicBezTo>
                  <a:pt x="14" y="38"/>
                  <a:pt x="14" y="38"/>
                  <a:pt x="14" y="38"/>
                </a:cubicBezTo>
                <a:cubicBezTo>
                  <a:pt x="14" y="37"/>
                  <a:pt x="14" y="37"/>
                  <a:pt x="14" y="37"/>
                </a:cubicBezTo>
                <a:cubicBezTo>
                  <a:pt x="14" y="36"/>
                  <a:pt x="14" y="36"/>
                  <a:pt x="14" y="36"/>
                </a:cubicBezTo>
                <a:close/>
                <a:moveTo>
                  <a:pt x="13" y="30"/>
                </a:moveTo>
                <a:cubicBezTo>
                  <a:pt x="14" y="31"/>
                  <a:pt x="14" y="31"/>
                  <a:pt x="14" y="31"/>
                </a:cubicBezTo>
                <a:cubicBezTo>
                  <a:pt x="14" y="33"/>
                  <a:pt x="14" y="33"/>
                  <a:pt x="14" y="33"/>
                </a:cubicBezTo>
                <a:cubicBezTo>
                  <a:pt x="13" y="32"/>
                  <a:pt x="13" y="32"/>
                  <a:pt x="13" y="32"/>
                </a:cubicBezTo>
                <a:cubicBezTo>
                  <a:pt x="13" y="30"/>
                  <a:pt x="13" y="30"/>
                  <a:pt x="13" y="30"/>
                </a:cubicBezTo>
                <a:cubicBezTo>
                  <a:pt x="13" y="30"/>
                  <a:pt x="13" y="30"/>
                  <a:pt x="13" y="30"/>
                </a:cubicBezTo>
                <a:close/>
                <a:moveTo>
                  <a:pt x="9" y="22"/>
                </a:moveTo>
                <a:cubicBezTo>
                  <a:pt x="10" y="21"/>
                  <a:pt x="10" y="21"/>
                  <a:pt x="10" y="21"/>
                </a:cubicBezTo>
                <a:cubicBezTo>
                  <a:pt x="11" y="22"/>
                  <a:pt x="11" y="22"/>
                  <a:pt x="11" y="22"/>
                </a:cubicBezTo>
                <a:cubicBezTo>
                  <a:pt x="11" y="24"/>
                  <a:pt x="11" y="24"/>
                  <a:pt x="11" y="24"/>
                </a:cubicBezTo>
                <a:cubicBezTo>
                  <a:pt x="10" y="24"/>
                  <a:pt x="10" y="24"/>
                  <a:pt x="10" y="24"/>
                </a:cubicBezTo>
                <a:cubicBezTo>
                  <a:pt x="9" y="23"/>
                  <a:pt x="9" y="23"/>
                  <a:pt x="9" y="23"/>
                </a:cubicBezTo>
                <a:cubicBezTo>
                  <a:pt x="9" y="22"/>
                  <a:pt x="9" y="22"/>
                  <a:pt x="9" y="22"/>
                </a:cubicBezTo>
                <a:close/>
                <a:moveTo>
                  <a:pt x="10" y="2"/>
                </a:moveTo>
                <a:cubicBezTo>
                  <a:pt x="11" y="4"/>
                  <a:pt x="11" y="4"/>
                  <a:pt x="11" y="4"/>
                </a:cubicBezTo>
                <a:cubicBezTo>
                  <a:pt x="10" y="5"/>
                  <a:pt x="10" y="5"/>
                  <a:pt x="10" y="5"/>
                </a:cubicBezTo>
                <a:cubicBezTo>
                  <a:pt x="11" y="4"/>
                  <a:pt x="11" y="4"/>
                  <a:pt x="11" y="4"/>
                </a:cubicBezTo>
                <a:cubicBezTo>
                  <a:pt x="10" y="2"/>
                  <a:pt x="10" y="2"/>
                  <a:pt x="10" y="2"/>
                </a:cubicBezTo>
                <a:close/>
                <a:moveTo>
                  <a:pt x="7" y="6"/>
                </a:moveTo>
                <a:cubicBezTo>
                  <a:pt x="8" y="6"/>
                  <a:pt x="8" y="6"/>
                  <a:pt x="8" y="6"/>
                </a:cubicBezTo>
                <a:cubicBezTo>
                  <a:pt x="9" y="5"/>
                  <a:pt x="9" y="5"/>
                  <a:pt x="9" y="5"/>
                </a:cubicBezTo>
                <a:cubicBezTo>
                  <a:pt x="9" y="5"/>
                  <a:pt x="9" y="5"/>
                  <a:pt x="9" y="5"/>
                </a:cubicBezTo>
                <a:cubicBezTo>
                  <a:pt x="8" y="5"/>
                  <a:pt x="8" y="5"/>
                  <a:pt x="8" y="5"/>
                </a:cubicBezTo>
                <a:cubicBezTo>
                  <a:pt x="8" y="5"/>
                  <a:pt x="7" y="6"/>
                  <a:pt x="7" y="6"/>
                </a:cubicBezTo>
                <a:close/>
                <a:moveTo>
                  <a:pt x="10" y="7"/>
                </a:moveTo>
                <a:cubicBezTo>
                  <a:pt x="11" y="8"/>
                  <a:pt x="11" y="8"/>
                  <a:pt x="11" y="8"/>
                </a:cubicBezTo>
                <a:cubicBezTo>
                  <a:pt x="11" y="9"/>
                  <a:pt x="11" y="9"/>
                  <a:pt x="11" y="9"/>
                </a:cubicBezTo>
                <a:cubicBezTo>
                  <a:pt x="11" y="10"/>
                  <a:pt x="11" y="10"/>
                  <a:pt x="11" y="10"/>
                </a:cubicBezTo>
                <a:cubicBezTo>
                  <a:pt x="10" y="10"/>
                  <a:pt x="10" y="10"/>
                  <a:pt x="10" y="10"/>
                </a:cubicBezTo>
                <a:cubicBezTo>
                  <a:pt x="10" y="9"/>
                  <a:pt x="10" y="9"/>
                  <a:pt x="10" y="9"/>
                </a:cubicBezTo>
                <a:cubicBezTo>
                  <a:pt x="10" y="9"/>
                  <a:pt x="10" y="7"/>
                  <a:pt x="10" y="7"/>
                </a:cubicBezTo>
                <a:close/>
                <a:moveTo>
                  <a:pt x="9" y="16"/>
                </a:moveTo>
                <a:cubicBezTo>
                  <a:pt x="10" y="15"/>
                  <a:pt x="10" y="15"/>
                  <a:pt x="10" y="15"/>
                </a:cubicBezTo>
                <a:cubicBezTo>
                  <a:pt x="11" y="16"/>
                  <a:pt x="11" y="16"/>
                  <a:pt x="11" y="16"/>
                </a:cubicBezTo>
                <a:cubicBezTo>
                  <a:pt x="11" y="17"/>
                  <a:pt x="11" y="17"/>
                  <a:pt x="11" y="17"/>
                </a:cubicBezTo>
                <a:cubicBezTo>
                  <a:pt x="9" y="17"/>
                  <a:pt x="9" y="17"/>
                  <a:pt x="9" y="17"/>
                </a:cubicBezTo>
                <a:cubicBezTo>
                  <a:pt x="9" y="16"/>
                  <a:pt x="9" y="16"/>
                  <a:pt x="9" y="16"/>
                </a:cubicBezTo>
                <a:close/>
                <a:moveTo>
                  <a:pt x="8" y="13"/>
                </a:moveTo>
                <a:cubicBezTo>
                  <a:pt x="10" y="12"/>
                  <a:pt x="10" y="12"/>
                  <a:pt x="10" y="12"/>
                </a:cubicBezTo>
                <a:cubicBezTo>
                  <a:pt x="10" y="13"/>
                  <a:pt x="10" y="13"/>
                  <a:pt x="10" y="13"/>
                </a:cubicBezTo>
                <a:cubicBezTo>
                  <a:pt x="11" y="13"/>
                  <a:pt x="11" y="13"/>
                  <a:pt x="11" y="13"/>
                </a:cubicBezTo>
                <a:cubicBezTo>
                  <a:pt x="10" y="14"/>
                  <a:pt x="10" y="14"/>
                  <a:pt x="10" y="14"/>
                </a:cubicBezTo>
                <a:cubicBezTo>
                  <a:pt x="10" y="14"/>
                  <a:pt x="10" y="14"/>
                  <a:pt x="10" y="14"/>
                </a:cubicBezTo>
                <a:cubicBezTo>
                  <a:pt x="9" y="14"/>
                  <a:pt x="9" y="14"/>
                  <a:pt x="9" y="14"/>
                </a:cubicBezTo>
                <a:cubicBezTo>
                  <a:pt x="9" y="14"/>
                  <a:pt x="9" y="14"/>
                  <a:pt x="9" y="14"/>
                </a:cubicBezTo>
                <a:cubicBezTo>
                  <a:pt x="8" y="14"/>
                  <a:pt x="8" y="14"/>
                  <a:pt x="8" y="14"/>
                </a:cubicBezTo>
                <a:cubicBezTo>
                  <a:pt x="8" y="13"/>
                  <a:pt x="8" y="13"/>
                  <a:pt x="8" y="13"/>
                </a:cubicBezTo>
                <a:close/>
                <a:moveTo>
                  <a:pt x="4" y="10"/>
                </a:moveTo>
                <a:cubicBezTo>
                  <a:pt x="5" y="10"/>
                  <a:pt x="5" y="10"/>
                  <a:pt x="5" y="10"/>
                </a:cubicBezTo>
                <a:cubicBezTo>
                  <a:pt x="6" y="11"/>
                  <a:pt x="6" y="11"/>
                  <a:pt x="6" y="11"/>
                </a:cubicBezTo>
                <a:cubicBezTo>
                  <a:pt x="6" y="12"/>
                  <a:pt x="6" y="12"/>
                  <a:pt x="6" y="12"/>
                </a:cubicBezTo>
                <a:cubicBezTo>
                  <a:pt x="7" y="13"/>
                  <a:pt x="7" y="13"/>
                  <a:pt x="7" y="13"/>
                </a:cubicBezTo>
                <a:cubicBezTo>
                  <a:pt x="7" y="14"/>
                  <a:pt x="7" y="14"/>
                  <a:pt x="7" y="14"/>
                </a:cubicBezTo>
                <a:cubicBezTo>
                  <a:pt x="6" y="15"/>
                  <a:pt x="6" y="15"/>
                  <a:pt x="6" y="15"/>
                </a:cubicBezTo>
                <a:cubicBezTo>
                  <a:pt x="5" y="15"/>
                  <a:pt x="5" y="15"/>
                  <a:pt x="5" y="15"/>
                </a:cubicBezTo>
                <a:cubicBezTo>
                  <a:pt x="4" y="14"/>
                  <a:pt x="4" y="14"/>
                  <a:pt x="4" y="14"/>
                </a:cubicBezTo>
                <a:cubicBezTo>
                  <a:pt x="5" y="13"/>
                  <a:pt x="5" y="13"/>
                  <a:pt x="5" y="13"/>
                </a:cubicBezTo>
                <a:cubicBezTo>
                  <a:pt x="5" y="12"/>
                  <a:pt x="5" y="12"/>
                  <a:pt x="5" y="12"/>
                </a:cubicBezTo>
                <a:cubicBezTo>
                  <a:pt x="4" y="11"/>
                  <a:pt x="4" y="11"/>
                  <a:pt x="4" y="11"/>
                </a:cubicBezTo>
                <a:cubicBezTo>
                  <a:pt x="4" y="11"/>
                  <a:pt x="4" y="11"/>
                  <a:pt x="4" y="11"/>
                </a:cubicBezTo>
                <a:cubicBezTo>
                  <a:pt x="3" y="10"/>
                  <a:pt x="3" y="10"/>
                  <a:pt x="3" y="10"/>
                </a:cubicBezTo>
                <a:cubicBezTo>
                  <a:pt x="4" y="10"/>
                  <a:pt x="4" y="10"/>
                  <a:pt x="4" y="10"/>
                </a:cubicBezTo>
                <a:close/>
                <a:moveTo>
                  <a:pt x="1" y="0"/>
                </a:moveTo>
                <a:cubicBezTo>
                  <a:pt x="0" y="3"/>
                  <a:pt x="0" y="3"/>
                  <a:pt x="0" y="3"/>
                </a:cubicBezTo>
                <a:cubicBezTo>
                  <a:pt x="0" y="5"/>
                  <a:pt x="0" y="5"/>
                  <a:pt x="0" y="5"/>
                </a:cubicBezTo>
                <a:cubicBezTo>
                  <a:pt x="0" y="6"/>
                  <a:pt x="0" y="6"/>
                  <a:pt x="0" y="6"/>
                </a:cubicBezTo>
                <a:cubicBezTo>
                  <a:pt x="1" y="8"/>
                  <a:pt x="1" y="8"/>
                  <a:pt x="1" y="8"/>
                </a:cubicBezTo>
                <a:cubicBezTo>
                  <a:pt x="2" y="8"/>
                  <a:pt x="2" y="8"/>
                  <a:pt x="2" y="8"/>
                </a:cubicBezTo>
                <a:cubicBezTo>
                  <a:pt x="3" y="7"/>
                  <a:pt x="3" y="7"/>
                  <a:pt x="3" y="7"/>
                </a:cubicBezTo>
                <a:cubicBezTo>
                  <a:pt x="3" y="7"/>
                  <a:pt x="3" y="7"/>
                  <a:pt x="3" y="7"/>
                </a:cubicBezTo>
                <a:cubicBezTo>
                  <a:pt x="4" y="7"/>
                  <a:pt x="4" y="7"/>
                  <a:pt x="4" y="7"/>
                </a:cubicBezTo>
                <a:cubicBezTo>
                  <a:pt x="4" y="5"/>
                  <a:pt x="4" y="5"/>
                  <a:pt x="4" y="5"/>
                </a:cubicBezTo>
                <a:cubicBezTo>
                  <a:pt x="4" y="4"/>
                  <a:pt x="4" y="4"/>
                  <a:pt x="4" y="4"/>
                </a:cubicBezTo>
                <a:cubicBezTo>
                  <a:pt x="4" y="3"/>
                  <a:pt x="4" y="3"/>
                  <a:pt x="4" y="3"/>
                </a:cubicBezTo>
                <a:cubicBezTo>
                  <a:pt x="3" y="2"/>
                  <a:pt x="3" y="2"/>
                  <a:pt x="3" y="2"/>
                </a:cubicBezTo>
                <a:cubicBezTo>
                  <a:pt x="3" y="3"/>
                  <a:pt x="3" y="3"/>
                  <a:pt x="3" y="3"/>
                </a:cubicBezTo>
                <a:cubicBezTo>
                  <a:pt x="3" y="4"/>
                  <a:pt x="3" y="4"/>
                  <a:pt x="3" y="4"/>
                </a:cubicBezTo>
                <a:cubicBezTo>
                  <a:pt x="2" y="4"/>
                  <a:pt x="2" y="4"/>
                  <a:pt x="2" y="4"/>
                </a:cubicBezTo>
                <a:cubicBezTo>
                  <a:pt x="2" y="4"/>
                  <a:pt x="2" y="4"/>
                  <a:pt x="2" y="4"/>
                </a:cubicBezTo>
                <a:cubicBezTo>
                  <a:pt x="1" y="1"/>
                  <a:pt x="1" y="1"/>
                  <a:pt x="1" y="1"/>
                </a:cubicBezTo>
                <a:cubicBezTo>
                  <a:pt x="1" y="1"/>
                  <a:pt x="1" y="0"/>
                  <a:pt x="1" y="0"/>
                </a:cubicBez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4" name="Freeform 22">
            <a:extLst>
              <a:ext uri="{FF2B5EF4-FFF2-40B4-BE49-F238E27FC236}">
                <a16:creationId xmlns:a16="http://schemas.microsoft.com/office/drawing/2014/main" id="{9A3DB824-8FD4-9DC9-8887-63FC23D99567}"/>
              </a:ext>
            </a:extLst>
          </p:cNvPr>
          <p:cNvSpPr>
            <a:spLocks noEditPoints="1"/>
          </p:cNvSpPr>
          <p:nvPr userDrawn="1"/>
        </p:nvSpPr>
        <p:spPr bwMode="auto">
          <a:xfrm>
            <a:off x="22944231" y="9794161"/>
            <a:ext cx="603211" cy="368302"/>
          </a:xfrm>
          <a:custGeom>
            <a:avLst/>
            <a:gdLst>
              <a:gd name="T0" fmla="*/ 60 w 61"/>
              <a:gd name="T1" fmla="*/ 30 h 37"/>
              <a:gd name="T2" fmla="*/ 58 w 61"/>
              <a:gd name="T3" fmla="*/ 32 h 37"/>
              <a:gd name="T4" fmla="*/ 24 w 61"/>
              <a:gd name="T5" fmla="*/ 36 h 37"/>
              <a:gd name="T6" fmla="*/ 25 w 61"/>
              <a:gd name="T7" fmla="*/ 37 h 37"/>
              <a:gd name="T8" fmla="*/ 23 w 61"/>
              <a:gd name="T9" fmla="*/ 36 h 37"/>
              <a:gd name="T10" fmla="*/ 33 w 61"/>
              <a:gd name="T11" fmla="*/ 27 h 37"/>
              <a:gd name="T12" fmla="*/ 37 w 61"/>
              <a:gd name="T13" fmla="*/ 30 h 37"/>
              <a:gd name="T14" fmla="*/ 36 w 61"/>
              <a:gd name="T15" fmla="*/ 32 h 37"/>
              <a:gd name="T16" fmla="*/ 32 w 61"/>
              <a:gd name="T17" fmla="*/ 28 h 37"/>
              <a:gd name="T18" fmla="*/ 23 w 61"/>
              <a:gd name="T19" fmla="*/ 21 h 37"/>
              <a:gd name="T20" fmla="*/ 28 w 61"/>
              <a:gd name="T21" fmla="*/ 23 h 37"/>
              <a:gd name="T22" fmla="*/ 28 w 61"/>
              <a:gd name="T23" fmla="*/ 25 h 37"/>
              <a:gd name="T24" fmla="*/ 24 w 61"/>
              <a:gd name="T25" fmla="*/ 24 h 37"/>
              <a:gd name="T26" fmla="*/ 22 w 61"/>
              <a:gd name="T27" fmla="*/ 20 h 37"/>
              <a:gd name="T28" fmla="*/ 25 w 61"/>
              <a:gd name="T29" fmla="*/ 18 h 37"/>
              <a:gd name="T30" fmla="*/ 26 w 61"/>
              <a:gd name="T31" fmla="*/ 19 h 37"/>
              <a:gd name="T32" fmla="*/ 28 w 61"/>
              <a:gd name="T33" fmla="*/ 15 h 37"/>
              <a:gd name="T34" fmla="*/ 29 w 61"/>
              <a:gd name="T35" fmla="*/ 19 h 37"/>
              <a:gd name="T36" fmla="*/ 33 w 61"/>
              <a:gd name="T37" fmla="*/ 23 h 37"/>
              <a:gd name="T38" fmla="*/ 33 w 61"/>
              <a:gd name="T39" fmla="*/ 20 h 37"/>
              <a:gd name="T40" fmla="*/ 30 w 61"/>
              <a:gd name="T41" fmla="*/ 17 h 37"/>
              <a:gd name="T42" fmla="*/ 27 w 61"/>
              <a:gd name="T43" fmla="*/ 14 h 37"/>
              <a:gd name="T44" fmla="*/ 18 w 61"/>
              <a:gd name="T45" fmla="*/ 10 h 37"/>
              <a:gd name="T46" fmla="*/ 22 w 61"/>
              <a:gd name="T47" fmla="*/ 14 h 37"/>
              <a:gd name="T48" fmla="*/ 21 w 61"/>
              <a:gd name="T49" fmla="*/ 15 h 37"/>
              <a:gd name="T50" fmla="*/ 19 w 61"/>
              <a:gd name="T51" fmla="*/ 13 h 37"/>
              <a:gd name="T52" fmla="*/ 11 w 61"/>
              <a:gd name="T53" fmla="*/ 16 h 37"/>
              <a:gd name="T54" fmla="*/ 11 w 61"/>
              <a:gd name="T55" fmla="*/ 17 h 37"/>
              <a:gd name="T56" fmla="*/ 7 w 61"/>
              <a:gd name="T57" fmla="*/ 15 h 37"/>
              <a:gd name="T58" fmla="*/ 8 w 61"/>
              <a:gd name="T59" fmla="*/ 16 h 37"/>
              <a:gd name="T60" fmla="*/ 8 w 61"/>
              <a:gd name="T61" fmla="*/ 14 h 37"/>
              <a:gd name="T62" fmla="*/ 10 w 61"/>
              <a:gd name="T63" fmla="*/ 15 h 37"/>
              <a:gd name="T64" fmla="*/ 10 w 61"/>
              <a:gd name="T65" fmla="*/ 13 h 37"/>
              <a:gd name="T66" fmla="*/ 8 w 61"/>
              <a:gd name="T67" fmla="*/ 11 h 37"/>
              <a:gd name="T68" fmla="*/ 5 w 61"/>
              <a:gd name="T69" fmla="*/ 11 h 37"/>
              <a:gd name="T70" fmla="*/ 7 w 61"/>
              <a:gd name="T71" fmla="*/ 12 h 37"/>
              <a:gd name="T72" fmla="*/ 5 w 61"/>
              <a:gd name="T73" fmla="*/ 11 h 37"/>
              <a:gd name="T74" fmla="*/ 4 w 61"/>
              <a:gd name="T75" fmla="*/ 11 h 37"/>
              <a:gd name="T76" fmla="*/ 3 w 61"/>
              <a:gd name="T77" fmla="*/ 10 h 37"/>
              <a:gd name="T78" fmla="*/ 1 w 61"/>
              <a:gd name="T79" fmla="*/ 2 h 37"/>
              <a:gd name="T80" fmla="*/ 3 w 61"/>
              <a:gd name="T81" fmla="*/ 2 h 37"/>
              <a:gd name="T82" fmla="*/ 5 w 61"/>
              <a:gd name="T83" fmla="*/ 6 h 37"/>
              <a:gd name="T84" fmla="*/ 9 w 61"/>
              <a:gd name="T85" fmla="*/ 8 h 37"/>
              <a:gd name="T86" fmla="*/ 7 w 61"/>
              <a:gd name="T87" fmla="*/ 5 h 37"/>
              <a:gd name="T88" fmla="*/ 4 w 61"/>
              <a:gd name="T89" fmla="*/ 4 h 37"/>
              <a:gd name="T90" fmla="*/ 0 w 61"/>
              <a:gd name="T91" fmla="*/ 4 h 37"/>
              <a:gd name="T92" fmla="*/ 0 w 61"/>
              <a:gd name="T93" fmla="*/ 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 h="37">
                <a:moveTo>
                  <a:pt x="58" y="31"/>
                </a:moveTo>
                <a:cubicBezTo>
                  <a:pt x="59" y="30"/>
                  <a:pt x="59" y="30"/>
                  <a:pt x="59" y="30"/>
                </a:cubicBezTo>
                <a:cubicBezTo>
                  <a:pt x="60" y="30"/>
                  <a:pt x="60" y="30"/>
                  <a:pt x="60" y="30"/>
                </a:cubicBezTo>
                <a:cubicBezTo>
                  <a:pt x="61" y="31"/>
                  <a:pt x="61" y="31"/>
                  <a:pt x="61" y="31"/>
                </a:cubicBezTo>
                <a:cubicBezTo>
                  <a:pt x="60" y="32"/>
                  <a:pt x="60" y="32"/>
                  <a:pt x="60" y="32"/>
                </a:cubicBezTo>
                <a:cubicBezTo>
                  <a:pt x="58" y="32"/>
                  <a:pt x="58" y="32"/>
                  <a:pt x="58" y="32"/>
                </a:cubicBezTo>
                <a:cubicBezTo>
                  <a:pt x="58" y="31"/>
                  <a:pt x="58" y="31"/>
                  <a:pt x="58" y="31"/>
                </a:cubicBezTo>
                <a:close/>
                <a:moveTo>
                  <a:pt x="23" y="36"/>
                </a:moveTo>
                <a:cubicBezTo>
                  <a:pt x="24" y="36"/>
                  <a:pt x="24" y="36"/>
                  <a:pt x="24" y="36"/>
                </a:cubicBezTo>
                <a:cubicBezTo>
                  <a:pt x="25" y="36"/>
                  <a:pt x="25" y="36"/>
                  <a:pt x="25" y="36"/>
                </a:cubicBezTo>
                <a:cubicBezTo>
                  <a:pt x="26" y="37"/>
                  <a:pt x="26" y="37"/>
                  <a:pt x="26" y="37"/>
                </a:cubicBezTo>
                <a:cubicBezTo>
                  <a:pt x="25" y="37"/>
                  <a:pt x="25" y="37"/>
                  <a:pt x="25" y="37"/>
                </a:cubicBezTo>
                <a:cubicBezTo>
                  <a:pt x="24" y="37"/>
                  <a:pt x="24" y="37"/>
                  <a:pt x="24" y="37"/>
                </a:cubicBezTo>
                <a:cubicBezTo>
                  <a:pt x="23" y="37"/>
                  <a:pt x="23" y="37"/>
                  <a:pt x="23" y="37"/>
                </a:cubicBezTo>
                <a:cubicBezTo>
                  <a:pt x="23" y="36"/>
                  <a:pt x="23" y="36"/>
                  <a:pt x="23" y="36"/>
                </a:cubicBezTo>
                <a:cubicBezTo>
                  <a:pt x="23" y="36"/>
                  <a:pt x="23" y="36"/>
                  <a:pt x="23" y="36"/>
                </a:cubicBezTo>
                <a:close/>
                <a:moveTo>
                  <a:pt x="31" y="27"/>
                </a:moveTo>
                <a:cubicBezTo>
                  <a:pt x="33" y="27"/>
                  <a:pt x="33" y="27"/>
                  <a:pt x="33" y="27"/>
                </a:cubicBezTo>
                <a:cubicBezTo>
                  <a:pt x="34" y="29"/>
                  <a:pt x="34" y="29"/>
                  <a:pt x="34" y="29"/>
                </a:cubicBezTo>
                <a:cubicBezTo>
                  <a:pt x="36" y="29"/>
                  <a:pt x="36" y="29"/>
                  <a:pt x="36" y="29"/>
                </a:cubicBezTo>
                <a:cubicBezTo>
                  <a:pt x="37" y="30"/>
                  <a:pt x="37" y="30"/>
                  <a:pt x="37" y="30"/>
                </a:cubicBezTo>
                <a:cubicBezTo>
                  <a:pt x="37" y="31"/>
                  <a:pt x="37" y="31"/>
                  <a:pt x="37" y="31"/>
                </a:cubicBezTo>
                <a:cubicBezTo>
                  <a:pt x="37" y="32"/>
                  <a:pt x="37" y="32"/>
                  <a:pt x="37" y="32"/>
                </a:cubicBezTo>
                <a:cubicBezTo>
                  <a:pt x="36" y="32"/>
                  <a:pt x="36" y="32"/>
                  <a:pt x="36" y="32"/>
                </a:cubicBezTo>
                <a:cubicBezTo>
                  <a:pt x="34" y="31"/>
                  <a:pt x="34" y="31"/>
                  <a:pt x="34" y="31"/>
                </a:cubicBezTo>
                <a:cubicBezTo>
                  <a:pt x="32" y="29"/>
                  <a:pt x="32" y="29"/>
                  <a:pt x="32" y="29"/>
                </a:cubicBezTo>
                <a:cubicBezTo>
                  <a:pt x="32" y="28"/>
                  <a:pt x="32" y="28"/>
                  <a:pt x="32" y="28"/>
                </a:cubicBezTo>
                <a:cubicBezTo>
                  <a:pt x="31" y="27"/>
                  <a:pt x="31" y="27"/>
                  <a:pt x="31" y="27"/>
                </a:cubicBezTo>
                <a:close/>
                <a:moveTo>
                  <a:pt x="22" y="20"/>
                </a:moveTo>
                <a:cubicBezTo>
                  <a:pt x="23" y="21"/>
                  <a:pt x="23" y="21"/>
                  <a:pt x="23" y="21"/>
                </a:cubicBezTo>
                <a:cubicBezTo>
                  <a:pt x="25" y="21"/>
                  <a:pt x="25" y="21"/>
                  <a:pt x="25" y="21"/>
                </a:cubicBezTo>
                <a:cubicBezTo>
                  <a:pt x="27" y="22"/>
                  <a:pt x="27" y="22"/>
                  <a:pt x="27" y="22"/>
                </a:cubicBezTo>
                <a:cubicBezTo>
                  <a:pt x="28" y="23"/>
                  <a:pt x="28" y="23"/>
                  <a:pt x="28" y="23"/>
                </a:cubicBezTo>
                <a:cubicBezTo>
                  <a:pt x="28" y="23"/>
                  <a:pt x="28" y="23"/>
                  <a:pt x="28" y="23"/>
                </a:cubicBezTo>
                <a:cubicBezTo>
                  <a:pt x="29" y="24"/>
                  <a:pt x="29" y="24"/>
                  <a:pt x="29" y="24"/>
                </a:cubicBezTo>
                <a:cubicBezTo>
                  <a:pt x="28" y="25"/>
                  <a:pt x="28" y="25"/>
                  <a:pt x="28" y="25"/>
                </a:cubicBezTo>
                <a:cubicBezTo>
                  <a:pt x="27" y="25"/>
                  <a:pt x="27" y="25"/>
                  <a:pt x="27" y="25"/>
                </a:cubicBezTo>
                <a:cubicBezTo>
                  <a:pt x="26" y="24"/>
                  <a:pt x="26" y="24"/>
                  <a:pt x="26" y="24"/>
                </a:cubicBezTo>
                <a:cubicBezTo>
                  <a:pt x="24" y="24"/>
                  <a:pt x="24" y="24"/>
                  <a:pt x="24" y="24"/>
                </a:cubicBezTo>
                <a:cubicBezTo>
                  <a:pt x="23" y="24"/>
                  <a:pt x="23" y="24"/>
                  <a:pt x="23" y="24"/>
                </a:cubicBezTo>
                <a:cubicBezTo>
                  <a:pt x="21" y="22"/>
                  <a:pt x="21" y="22"/>
                  <a:pt x="21" y="22"/>
                </a:cubicBezTo>
                <a:cubicBezTo>
                  <a:pt x="22" y="20"/>
                  <a:pt x="22" y="20"/>
                  <a:pt x="22" y="20"/>
                </a:cubicBezTo>
                <a:cubicBezTo>
                  <a:pt x="22" y="20"/>
                  <a:pt x="22" y="20"/>
                  <a:pt x="22" y="20"/>
                </a:cubicBezTo>
                <a:close/>
                <a:moveTo>
                  <a:pt x="26" y="19"/>
                </a:moveTo>
                <a:cubicBezTo>
                  <a:pt x="25" y="18"/>
                  <a:pt x="25" y="18"/>
                  <a:pt x="25" y="18"/>
                </a:cubicBezTo>
                <a:cubicBezTo>
                  <a:pt x="25" y="19"/>
                  <a:pt x="25" y="19"/>
                  <a:pt x="25" y="19"/>
                </a:cubicBezTo>
                <a:cubicBezTo>
                  <a:pt x="27" y="20"/>
                  <a:pt x="27" y="20"/>
                  <a:pt x="27" y="20"/>
                </a:cubicBezTo>
                <a:cubicBezTo>
                  <a:pt x="26" y="19"/>
                  <a:pt x="26" y="19"/>
                  <a:pt x="26" y="19"/>
                </a:cubicBezTo>
                <a:close/>
                <a:moveTo>
                  <a:pt x="27" y="14"/>
                </a:moveTo>
                <a:cubicBezTo>
                  <a:pt x="27" y="15"/>
                  <a:pt x="27" y="15"/>
                  <a:pt x="27" y="15"/>
                </a:cubicBezTo>
                <a:cubicBezTo>
                  <a:pt x="28" y="15"/>
                  <a:pt x="28" y="15"/>
                  <a:pt x="28" y="15"/>
                </a:cubicBezTo>
                <a:cubicBezTo>
                  <a:pt x="28" y="16"/>
                  <a:pt x="28" y="16"/>
                  <a:pt x="28" y="16"/>
                </a:cubicBezTo>
                <a:cubicBezTo>
                  <a:pt x="29" y="17"/>
                  <a:pt x="29" y="17"/>
                  <a:pt x="29" y="17"/>
                </a:cubicBezTo>
                <a:cubicBezTo>
                  <a:pt x="29" y="19"/>
                  <a:pt x="29" y="19"/>
                  <a:pt x="29" y="19"/>
                </a:cubicBezTo>
                <a:cubicBezTo>
                  <a:pt x="31" y="21"/>
                  <a:pt x="31" y="21"/>
                  <a:pt x="31" y="21"/>
                </a:cubicBezTo>
                <a:cubicBezTo>
                  <a:pt x="32" y="22"/>
                  <a:pt x="32" y="22"/>
                  <a:pt x="32" y="22"/>
                </a:cubicBezTo>
                <a:cubicBezTo>
                  <a:pt x="33" y="23"/>
                  <a:pt x="33" y="23"/>
                  <a:pt x="33" y="23"/>
                </a:cubicBezTo>
                <a:cubicBezTo>
                  <a:pt x="34" y="23"/>
                  <a:pt x="34" y="23"/>
                  <a:pt x="34" y="23"/>
                </a:cubicBezTo>
                <a:cubicBezTo>
                  <a:pt x="34" y="22"/>
                  <a:pt x="34" y="22"/>
                  <a:pt x="34" y="22"/>
                </a:cubicBezTo>
                <a:cubicBezTo>
                  <a:pt x="33" y="20"/>
                  <a:pt x="33" y="20"/>
                  <a:pt x="33" y="20"/>
                </a:cubicBezTo>
                <a:cubicBezTo>
                  <a:pt x="32" y="20"/>
                  <a:pt x="32" y="20"/>
                  <a:pt x="32" y="20"/>
                </a:cubicBezTo>
                <a:cubicBezTo>
                  <a:pt x="31" y="19"/>
                  <a:pt x="31" y="19"/>
                  <a:pt x="31" y="19"/>
                </a:cubicBezTo>
                <a:cubicBezTo>
                  <a:pt x="30" y="17"/>
                  <a:pt x="30" y="17"/>
                  <a:pt x="30" y="17"/>
                </a:cubicBezTo>
                <a:cubicBezTo>
                  <a:pt x="30" y="16"/>
                  <a:pt x="30" y="16"/>
                  <a:pt x="30" y="16"/>
                </a:cubicBezTo>
                <a:cubicBezTo>
                  <a:pt x="29" y="14"/>
                  <a:pt x="29" y="14"/>
                  <a:pt x="29" y="14"/>
                </a:cubicBezTo>
                <a:cubicBezTo>
                  <a:pt x="27" y="14"/>
                  <a:pt x="27" y="14"/>
                  <a:pt x="27" y="14"/>
                </a:cubicBezTo>
                <a:close/>
                <a:moveTo>
                  <a:pt x="14" y="9"/>
                </a:moveTo>
                <a:cubicBezTo>
                  <a:pt x="17" y="9"/>
                  <a:pt x="17" y="9"/>
                  <a:pt x="17" y="9"/>
                </a:cubicBezTo>
                <a:cubicBezTo>
                  <a:pt x="18" y="10"/>
                  <a:pt x="18" y="10"/>
                  <a:pt x="18" y="10"/>
                </a:cubicBezTo>
                <a:cubicBezTo>
                  <a:pt x="20" y="11"/>
                  <a:pt x="20" y="11"/>
                  <a:pt x="20" y="11"/>
                </a:cubicBezTo>
                <a:cubicBezTo>
                  <a:pt x="23" y="14"/>
                  <a:pt x="23" y="14"/>
                  <a:pt x="23" y="14"/>
                </a:cubicBezTo>
                <a:cubicBezTo>
                  <a:pt x="22" y="14"/>
                  <a:pt x="22" y="14"/>
                  <a:pt x="22" y="14"/>
                </a:cubicBezTo>
                <a:cubicBezTo>
                  <a:pt x="22" y="15"/>
                  <a:pt x="22" y="15"/>
                  <a:pt x="22" y="15"/>
                </a:cubicBezTo>
                <a:cubicBezTo>
                  <a:pt x="22" y="15"/>
                  <a:pt x="22" y="15"/>
                  <a:pt x="22" y="15"/>
                </a:cubicBezTo>
                <a:cubicBezTo>
                  <a:pt x="21" y="15"/>
                  <a:pt x="21" y="15"/>
                  <a:pt x="21" y="15"/>
                </a:cubicBezTo>
                <a:cubicBezTo>
                  <a:pt x="21" y="14"/>
                  <a:pt x="21" y="14"/>
                  <a:pt x="21" y="14"/>
                </a:cubicBezTo>
                <a:cubicBezTo>
                  <a:pt x="20" y="14"/>
                  <a:pt x="20" y="14"/>
                  <a:pt x="20" y="14"/>
                </a:cubicBezTo>
                <a:cubicBezTo>
                  <a:pt x="19" y="13"/>
                  <a:pt x="19" y="13"/>
                  <a:pt x="19" y="13"/>
                </a:cubicBezTo>
                <a:cubicBezTo>
                  <a:pt x="16" y="10"/>
                  <a:pt x="16" y="10"/>
                  <a:pt x="16" y="10"/>
                </a:cubicBezTo>
                <a:cubicBezTo>
                  <a:pt x="16" y="10"/>
                  <a:pt x="14" y="9"/>
                  <a:pt x="14" y="9"/>
                </a:cubicBezTo>
                <a:close/>
                <a:moveTo>
                  <a:pt x="11" y="16"/>
                </a:moveTo>
                <a:cubicBezTo>
                  <a:pt x="12" y="16"/>
                  <a:pt x="12" y="16"/>
                  <a:pt x="12" y="16"/>
                </a:cubicBezTo>
                <a:cubicBezTo>
                  <a:pt x="12" y="17"/>
                  <a:pt x="12" y="17"/>
                  <a:pt x="12" y="17"/>
                </a:cubicBezTo>
                <a:cubicBezTo>
                  <a:pt x="11" y="17"/>
                  <a:pt x="11" y="17"/>
                  <a:pt x="11" y="17"/>
                </a:cubicBezTo>
                <a:cubicBezTo>
                  <a:pt x="11" y="16"/>
                  <a:pt x="11" y="16"/>
                  <a:pt x="11" y="16"/>
                </a:cubicBezTo>
                <a:cubicBezTo>
                  <a:pt x="11" y="16"/>
                  <a:pt x="11" y="16"/>
                  <a:pt x="11" y="16"/>
                </a:cubicBezTo>
                <a:close/>
                <a:moveTo>
                  <a:pt x="7" y="15"/>
                </a:moveTo>
                <a:cubicBezTo>
                  <a:pt x="7" y="15"/>
                  <a:pt x="7" y="15"/>
                  <a:pt x="7" y="15"/>
                </a:cubicBezTo>
                <a:cubicBezTo>
                  <a:pt x="8" y="15"/>
                  <a:pt x="8" y="15"/>
                  <a:pt x="8" y="15"/>
                </a:cubicBezTo>
                <a:cubicBezTo>
                  <a:pt x="8" y="16"/>
                  <a:pt x="8" y="16"/>
                  <a:pt x="8" y="16"/>
                </a:cubicBezTo>
                <a:cubicBezTo>
                  <a:pt x="7" y="15"/>
                  <a:pt x="7" y="15"/>
                  <a:pt x="7" y="15"/>
                </a:cubicBezTo>
                <a:close/>
                <a:moveTo>
                  <a:pt x="7" y="14"/>
                </a:moveTo>
                <a:cubicBezTo>
                  <a:pt x="8" y="14"/>
                  <a:pt x="8" y="14"/>
                  <a:pt x="8" y="14"/>
                </a:cubicBezTo>
                <a:cubicBezTo>
                  <a:pt x="9" y="14"/>
                  <a:pt x="9" y="14"/>
                  <a:pt x="9" y="14"/>
                </a:cubicBezTo>
                <a:cubicBezTo>
                  <a:pt x="9" y="15"/>
                  <a:pt x="9" y="15"/>
                  <a:pt x="9" y="15"/>
                </a:cubicBezTo>
                <a:cubicBezTo>
                  <a:pt x="10" y="15"/>
                  <a:pt x="10" y="15"/>
                  <a:pt x="10" y="15"/>
                </a:cubicBezTo>
                <a:cubicBezTo>
                  <a:pt x="10" y="15"/>
                  <a:pt x="10" y="15"/>
                  <a:pt x="10" y="15"/>
                </a:cubicBezTo>
                <a:cubicBezTo>
                  <a:pt x="11" y="14"/>
                  <a:pt x="11" y="14"/>
                  <a:pt x="11" y="14"/>
                </a:cubicBezTo>
                <a:cubicBezTo>
                  <a:pt x="10" y="13"/>
                  <a:pt x="10" y="13"/>
                  <a:pt x="10" y="13"/>
                </a:cubicBezTo>
                <a:cubicBezTo>
                  <a:pt x="9" y="13"/>
                  <a:pt x="9" y="13"/>
                  <a:pt x="9" y="13"/>
                </a:cubicBezTo>
                <a:cubicBezTo>
                  <a:pt x="9" y="12"/>
                  <a:pt x="9" y="12"/>
                  <a:pt x="9" y="12"/>
                </a:cubicBezTo>
                <a:cubicBezTo>
                  <a:pt x="8" y="11"/>
                  <a:pt x="8" y="11"/>
                  <a:pt x="8" y="11"/>
                </a:cubicBezTo>
                <a:cubicBezTo>
                  <a:pt x="7" y="12"/>
                  <a:pt x="7" y="12"/>
                  <a:pt x="7" y="12"/>
                </a:cubicBezTo>
                <a:cubicBezTo>
                  <a:pt x="7" y="14"/>
                  <a:pt x="7" y="14"/>
                  <a:pt x="7" y="14"/>
                </a:cubicBezTo>
                <a:close/>
                <a:moveTo>
                  <a:pt x="5" y="11"/>
                </a:moveTo>
                <a:cubicBezTo>
                  <a:pt x="6" y="11"/>
                  <a:pt x="6" y="11"/>
                  <a:pt x="6" y="11"/>
                </a:cubicBezTo>
                <a:cubicBezTo>
                  <a:pt x="7" y="11"/>
                  <a:pt x="7" y="11"/>
                  <a:pt x="7" y="11"/>
                </a:cubicBezTo>
                <a:cubicBezTo>
                  <a:pt x="7" y="12"/>
                  <a:pt x="7" y="12"/>
                  <a:pt x="7" y="12"/>
                </a:cubicBezTo>
                <a:cubicBezTo>
                  <a:pt x="6" y="12"/>
                  <a:pt x="6" y="12"/>
                  <a:pt x="6" y="12"/>
                </a:cubicBezTo>
                <a:cubicBezTo>
                  <a:pt x="5" y="12"/>
                  <a:pt x="5" y="12"/>
                  <a:pt x="5" y="12"/>
                </a:cubicBezTo>
                <a:cubicBezTo>
                  <a:pt x="5" y="12"/>
                  <a:pt x="5" y="11"/>
                  <a:pt x="5" y="11"/>
                </a:cubicBezTo>
                <a:close/>
                <a:moveTo>
                  <a:pt x="3" y="9"/>
                </a:moveTo>
                <a:cubicBezTo>
                  <a:pt x="4" y="10"/>
                  <a:pt x="4" y="10"/>
                  <a:pt x="4" y="10"/>
                </a:cubicBezTo>
                <a:cubicBezTo>
                  <a:pt x="4" y="11"/>
                  <a:pt x="4" y="11"/>
                  <a:pt x="4" y="11"/>
                </a:cubicBezTo>
                <a:cubicBezTo>
                  <a:pt x="3" y="11"/>
                  <a:pt x="3" y="11"/>
                  <a:pt x="3" y="11"/>
                </a:cubicBezTo>
                <a:cubicBezTo>
                  <a:pt x="3" y="11"/>
                  <a:pt x="3" y="11"/>
                  <a:pt x="3" y="11"/>
                </a:cubicBezTo>
                <a:cubicBezTo>
                  <a:pt x="3" y="10"/>
                  <a:pt x="3" y="10"/>
                  <a:pt x="3" y="10"/>
                </a:cubicBezTo>
                <a:cubicBezTo>
                  <a:pt x="3" y="9"/>
                  <a:pt x="3" y="9"/>
                  <a:pt x="3" y="9"/>
                </a:cubicBezTo>
                <a:close/>
                <a:moveTo>
                  <a:pt x="3" y="0"/>
                </a:moveTo>
                <a:cubicBezTo>
                  <a:pt x="1" y="2"/>
                  <a:pt x="1" y="2"/>
                  <a:pt x="1" y="2"/>
                </a:cubicBezTo>
                <a:cubicBezTo>
                  <a:pt x="3" y="1"/>
                  <a:pt x="3" y="1"/>
                  <a:pt x="3" y="1"/>
                </a:cubicBezTo>
                <a:cubicBezTo>
                  <a:pt x="3" y="0"/>
                  <a:pt x="3" y="0"/>
                  <a:pt x="3" y="0"/>
                </a:cubicBezTo>
                <a:close/>
                <a:moveTo>
                  <a:pt x="3" y="2"/>
                </a:moveTo>
                <a:cubicBezTo>
                  <a:pt x="2" y="3"/>
                  <a:pt x="2" y="3"/>
                  <a:pt x="2" y="3"/>
                </a:cubicBezTo>
                <a:cubicBezTo>
                  <a:pt x="3" y="5"/>
                  <a:pt x="3" y="5"/>
                  <a:pt x="3" y="5"/>
                </a:cubicBezTo>
                <a:cubicBezTo>
                  <a:pt x="5" y="6"/>
                  <a:pt x="5" y="6"/>
                  <a:pt x="5" y="6"/>
                </a:cubicBezTo>
                <a:cubicBezTo>
                  <a:pt x="6" y="7"/>
                  <a:pt x="6" y="7"/>
                  <a:pt x="6" y="7"/>
                </a:cubicBezTo>
                <a:cubicBezTo>
                  <a:pt x="8" y="8"/>
                  <a:pt x="8" y="8"/>
                  <a:pt x="8" y="8"/>
                </a:cubicBezTo>
                <a:cubicBezTo>
                  <a:pt x="9" y="8"/>
                  <a:pt x="9" y="8"/>
                  <a:pt x="9" y="8"/>
                </a:cubicBezTo>
                <a:cubicBezTo>
                  <a:pt x="9" y="7"/>
                  <a:pt x="9" y="7"/>
                  <a:pt x="9" y="7"/>
                </a:cubicBezTo>
                <a:cubicBezTo>
                  <a:pt x="8" y="6"/>
                  <a:pt x="8" y="6"/>
                  <a:pt x="8" y="6"/>
                </a:cubicBezTo>
                <a:cubicBezTo>
                  <a:pt x="7" y="5"/>
                  <a:pt x="7" y="5"/>
                  <a:pt x="7" y="5"/>
                </a:cubicBezTo>
                <a:cubicBezTo>
                  <a:pt x="7" y="4"/>
                  <a:pt x="7" y="4"/>
                  <a:pt x="7" y="4"/>
                </a:cubicBezTo>
                <a:cubicBezTo>
                  <a:pt x="6" y="4"/>
                  <a:pt x="6" y="4"/>
                  <a:pt x="6" y="4"/>
                </a:cubicBezTo>
                <a:cubicBezTo>
                  <a:pt x="4" y="4"/>
                  <a:pt x="4" y="4"/>
                  <a:pt x="4" y="4"/>
                </a:cubicBezTo>
                <a:cubicBezTo>
                  <a:pt x="3" y="2"/>
                  <a:pt x="3" y="2"/>
                  <a:pt x="3" y="2"/>
                </a:cubicBezTo>
                <a:cubicBezTo>
                  <a:pt x="3" y="2"/>
                  <a:pt x="3" y="2"/>
                  <a:pt x="3" y="2"/>
                </a:cubicBezTo>
                <a:close/>
                <a:moveTo>
                  <a:pt x="0" y="4"/>
                </a:moveTo>
                <a:cubicBezTo>
                  <a:pt x="0" y="4"/>
                  <a:pt x="0" y="4"/>
                  <a:pt x="0" y="4"/>
                </a:cubicBezTo>
                <a:cubicBezTo>
                  <a:pt x="0" y="5"/>
                  <a:pt x="0" y="5"/>
                  <a:pt x="0" y="5"/>
                </a:cubicBezTo>
                <a:lnTo>
                  <a:pt x="0" y="4"/>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5" name="Freeform 23">
            <a:extLst>
              <a:ext uri="{FF2B5EF4-FFF2-40B4-BE49-F238E27FC236}">
                <a16:creationId xmlns:a16="http://schemas.microsoft.com/office/drawing/2014/main" id="{1E796FBD-548D-43BF-1AC7-9B8F89690705}"/>
              </a:ext>
            </a:extLst>
          </p:cNvPr>
          <p:cNvSpPr>
            <a:spLocks noEditPoints="1"/>
          </p:cNvSpPr>
          <p:nvPr userDrawn="1"/>
        </p:nvSpPr>
        <p:spPr bwMode="auto">
          <a:xfrm>
            <a:off x="21991790" y="9467137"/>
            <a:ext cx="942915" cy="695326"/>
          </a:xfrm>
          <a:custGeom>
            <a:avLst/>
            <a:gdLst>
              <a:gd name="T0" fmla="*/ 76 w 95"/>
              <a:gd name="T1" fmla="*/ 68 h 70"/>
              <a:gd name="T2" fmla="*/ 76 w 95"/>
              <a:gd name="T3" fmla="*/ 68 h 70"/>
              <a:gd name="T4" fmla="*/ 40 w 95"/>
              <a:gd name="T5" fmla="*/ 7 h 70"/>
              <a:gd name="T6" fmla="*/ 90 w 95"/>
              <a:gd name="T7" fmla="*/ 31 h 70"/>
              <a:gd name="T8" fmla="*/ 91 w 95"/>
              <a:gd name="T9" fmla="*/ 37 h 70"/>
              <a:gd name="T10" fmla="*/ 88 w 95"/>
              <a:gd name="T11" fmla="*/ 28 h 70"/>
              <a:gd name="T12" fmla="*/ 84 w 95"/>
              <a:gd name="T13" fmla="*/ 22 h 70"/>
              <a:gd name="T14" fmla="*/ 66 w 95"/>
              <a:gd name="T15" fmla="*/ 11 h 70"/>
              <a:gd name="T16" fmla="*/ 77 w 95"/>
              <a:gd name="T17" fmla="*/ 20 h 70"/>
              <a:gd name="T18" fmla="*/ 74 w 95"/>
              <a:gd name="T19" fmla="*/ 17 h 70"/>
              <a:gd name="T20" fmla="*/ 56 w 95"/>
              <a:gd name="T21" fmla="*/ 0 h 70"/>
              <a:gd name="T22" fmla="*/ 61 w 95"/>
              <a:gd name="T23" fmla="*/ 11 h 70"/>
              <a:gd name="T24" fmla="*/ 58 w 95"/>
              <a:gd name="T25" fmla="*/ 24 h 70"/>
              <a:gd name="T26" fmla="*/ 52 w 95"/>
              <a:gd name="T27" fmla="*/ 33 h 70"/>
              <a:gd name="T28" fmla="*/ 63 w 95"/>
              <a:gd name="T29" fmla="*/ 34 h 70"/>
              <a:gd name="T30" fmla="*/ 71 w 95"/>
              <a:gd name="T31" fmla="*/ 29 h 70"/>
              <a:gd name="T32" fmla="*/ 72 w 95"/>
              <a:gd name="T33" fmla="*/ 20 h 70"/>
              <a:gd name="T34" fmla="*/ 68 w 95"/>
              <a:gd name="T35" fmla="*/ 25 h 70"/>
              <a:gd name="T36" fmla="*/ 60 w 95"/>
              <a:gd name="T37" fmla="*/ 28 h 70"/>
              <a:gd name="T38" fmla="*/ 56 w 95"/>
              <a:gd name="T39" fmla="*/ 28 h 70"/>
              <a:gd name="T40" fmla="*/ 43 w 95"/>
              <a:gd name="T41" fmla="*/ 29 h 70"/>
              <a:gd name="T42" fmla="*/ 39 w 95"/>
              <a:gd name="T43" fmla="*/ 28 h 70"/>
              <a:gd name="T44" fmla="*/ 33 w 95"/>
              <a:gd name="T45" fmla="*/ 23 h 70"/>
              <a:gd name="T46" fmla="*/ 73 w 95"/>
              <a:gd name="T47" fmla="*/ 51 h 70"/>
              <a:gd name="T48" fmla="*/ 65 w 95"/>
              <a:gd name="T49" fmla="*/ 49 h 70"/>
              <a:gd name="T50" fmla="*/ 63 w 95"/>
              <a:gd name="T51" fmla="*/ 58 h 70"/>
              <a:gd name="T52" fmla="*/ 62 w 95"/>
              <a:gd name="T53" fmla="*/ 58 h 70"/>
              <a:gd name="T54" fmla="*/ 62 w 95"/>
              <a:gd name="T55" fmla="*/ 56 h 70"/>
              <a:gd name="T56" fmla="*/ 60 w 95"/>
              <a:gd name="T57" fmla="*/ 54 h 70"/>
              <a:gd name="T58" fmla="*/ 59 w 95"/>
              <a:gd name="T59" fmla="*/ 53 h 70"/>
              <a:gd name="T60" fmla="*/ 23 w 95"/>
              <a:gd name="T61" fmla="*/ 43 h 70"/>
              <a:gd name="T62" fmla="*/ 23 w 95"/>
              <a:gd name="T63" fmla="*/ 43 h 70"/>
              <a:gd name="T64" fmla="*/ 19 w 95"/>
              <a:gd name="T65" fmla="*/ 44 h 70"/>
              <a:gd name="T66" fmla="*/ 16 w 95"/>
              <a:gd name="T67" fmla="*/ 49 h 70"/>
              <a:gd name="T68" fmla="*/ 14 w 95"/>
              <a:gd name="T69" fmla="*/ 49 h 70"/>
              <a:gd name="T70" fmla="*/ 16 w 95"/>
              <a:gd name="T71" fmla="*/ 46 h 70"/>
              <a:gd name="T72" fmla="*/ 1 w 95"/>
              <a:gd name="T73" fmla="*/ 10 h 70"/>
              <a:gd name="T74" fmla="*/ 4 w 95"/>
              <a:gd name="T75" fmla="*/ 52 h 70"/>
              <a:gd name="T76" fmla="*/ 14 w 95"/>
              <a:gd name="T77" fmla="*/ 52 h 70"/>
              <a:gd name="T78" fmla="*/ 8 w 95"/>
              <a:gd name="T79" fmla="*/ 47 h 70"/>
              <a:gd name="T80" fmla="*/ 4 w 95"/>
              <a:gd name="T81" fmla="*/ 42 h 70"/>
              <a:gd name="T82" fmla="*/ 10 w 95"/>
              <a:gd name="T83" fmla="*/ 48 h 70"/>
              <a:gd name="T84" fmla="*/ 15 w 95"/>
              <a:gd name="T85" fmla="*/ 45 h 70"/>
              <a:gd name="T86" fmla="*/ 17 w 95"/>
              <a:gd name="T87" fmla="*/ 44 h 70"/>
              <a:gd name="T88" fmla="*/ 19 w 95"/>
              <a:gd name="T89" fmla="*/ 43 h 70"/>
              <a:gd name="T90" fmla="*/ 21 w 95"/>
              <a:gd name="T91" fmla="*/ 42 h 70"/>
              <a:gd name="T92" fmla="*/ 26 w 95"/>
              <a:gd name="T93" fmla="*/ 42 h 70"/>
              <a:gd name="T94" fmla="*/ 34 w 95"/>
              <a:gd name="T95" fmla="*/ 49 h 70"/>
              <a:gd name="T96" fmla="*/ 42 w 95"/>
              <a:gd name="T97" fmla="*/ 59 h 70"/>
              <a:gd name="T98" fmla="*/ 52 w 95"/>
              <a:gd name="T99" fmla="*/ 60 h 70"/>
              <a:gd name="T100" fmla="*/ 58 w 95"/>
              <a:gd name="T101" fmla="*/ 63 h 70"/>
              <a:gd name="T102" fmla="*/ 61 w 95"/>
              <a:gd name="T103" fmla="*/ 60 h 70"/>
              <a:gd name="T104" fmla="*/ 56 w 95"/>
              <a:gd name="T105" fmla="*/ 56 h 70"/>
              <a:gd name="T106" fmla="*/ 51 w 95"/>
              <a:gd name="T107" fmla="*/ 52 h 70"/>
              <a:gd name="T108" fmla="*/ 45 w 95"/>
              <a:gd name="T109" fmla="*/ 45 h 70"/>
              <a:gd name="T110" fmla="*/ 38 w 95"/>
              <a:gd name="T111" fmla="*/ 38 h 70"/>
              <a:gd name="T112" fmla="*/ 40 w 95"/>
              <a:gd name="T113" fmla="*/ 32 h 70"/>
              <a:gd name="T114" fmla="*/ 31 w 95"/>
              <a:gd name="T115" fmla="*/ 25 h 70"/>
              <a:gd name="T116" fmla="*/ 24 w 95"/>
              <a:gd name="T117" fmla="*/ 19 h 70"/>
              <a:gd name="T118" fmla="*/ 12 w 95"/>
              <a:gd name="T119" fmla="*/ 14 h 70"/>
              <a:gd name="T120" fmla="*/ 2 w 95"/>
              <a:gd name="T121" fmla="*/ 1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 h="70">
                <a:moveTo>
                  <a:pt x="81" y="68"/>
                </a:moveTo>
                <a:cubicBezTo>
                  <a:pt x="82" y="67"/>
                  <a:pt x="82" y="67"/>
                  <a:pt x="82" y="67"/>
                </a:cubicBezTo>
                <a:cubicBezTo>
                  <a:pt x="83" y="67"/>
                  <a:pt x="83" y="67"/>
                  <a:pt x="83" y="67"/>
                </a:cubicBezTo>
                <a:cubicBezTo>
                  <a:pt x="83" y="68"/>
                  <a:pt x="83" y="68"/>
                  <a:pt x="83" y="68"/>
                </a:cubicBezTo>
                <a:cubicBezTo>
                  <a:pt x="82" y="68"/>
                  <a:pt x="82" y="68"/>
                  <a:pt x="82" y="68"/>
                </a:cubicBezTo>
                <a:cubicBezTo>
                  <a:pt x="81" y="68"/>
                  <a:pt x="81" y="68"/>
                  <a:pt x="81" y="68"/>
                </a:cubicBezTo>
                <a:cubicBezTo>
                  <a:pt x="81" y="68"/>
                  <a:pt x="81" y="68"/>
                  <a:pt x="81" y="68"/>
                </a:cubicBezTo>
                <a:close/>
                <a:moveTo>
                  <a:pt x="76" y="68"/>
                </a:moveTo>
                <a:cubicBezTo>
                  <a:pt x="78" y="69"/>
                  <a:pt x="78" y="69"/>
                  <a:pt x="78" y="69"/>
                </a:cubicBezTo>
                <a:cubicBezTo>
                  <a:pt x="78" y="69"/>
                  <a:pt x="78" y="69"/>
                  <a:pt x="78" y="69"/>
                </a:cubicBezTo>
                <a:cubicBezTo>
                  <a:pt x="79" y="70"/>
                  <a:pt x="79" y="70"/>
                  <a:pt x="79" y="70"/>
                </a:cubicBezTo>
                <a:cubicBezTo>
                  <a:pt x="80" y="69"/>
                  <a:pt x="80" y="69"/>
                  <a:pt x="80" y="69"/>
                </a:cubicBezTo>
                <a:cubicBezTo>
                  <a:pt x="79" y="69"/>
                  <a:pt x="79" y="69"/>
                  <a:pt x="79" y="69"/>
                </a:cubicBezTo>
                <a:cubicBezTo>
                  <a:pt x="78" y="69"/>
                  <a:pt x="78" y="69"/>
                  <a:pt x="78" y="69"/>
                </a:cubicBezTo>
                <a:cubicBezTo>
                  <a:pt x="77" y="68"/>
                  <a:pt x="77" y="68"/>
                  <a:pt x="77" y="68"/>
                </a:cubicBezTo>
                <a:cubicBezTo>
                  <a:pt x="76" y="68"/>
                  <a:pt x="76" y="68"/>
                  <a:pt x="76" y="68"/>
                </a:cubicBezTo>
                <a:close/>
                <a:moveTo>
                  <a:pt x="37" y="6"/>
                </a:moveTo>
                <a:cubicBezTo>
                  <a:pt x="37" y="5"/>
                  <a:pt x="37" y="5"/>
                  <a:pt x="37" y="5"/>
                </a:cubicBezTo>
                <a:cubicBezTo>
                  <a:pt x="38" y="5"/>
                  <a:pt x="38" y="5"/>
                  <a:pt x="38" y="5"/>
                </a:cubicBezTo>
                <a:cubicBezTo>
                  <a:pt x="39" y="5"/>
                  <a:pt x="39" y="5"/>
                  <a:pt x="39" y="5"/>
                </a:cubicBezTo>
                <a:cubicBezTo>
                  <a:pt x="40" y="6"/>
                  <a:pt x="40" y="6"/>
                  <a:pt x="40" y="6"/>
                </a:cubicBezTo>
                <a:cubicBezTo>
                  <a:pt x="41" y="5"/>
                  <a:pt x="41" y="5"/>
                  <a:pt x="41" y="5"/>
                </a:cubicBezTo>
                <a:cubicBezTo>
                  <a:pt x="41" y="6"/>
                  <a:pt x="41" y="6"/>
                  <a:pt x="41" y="6"/>
                </a:cubicBezTo>
                <a:cubicBezTo>
                  <a:pt x="40" y="7"/>
                  <a:pt x="40" y="7"/>
                  <a:pt x="40" y="7"/>
                </a:cubicBezTo>
                <a:cubicBezTo>
                  <a:pt x="39" y="7"/>
                  <a:pt x="39" y="7"/>
                  <a:pt x="39" y="7"/>
                </a:cubicBezTo>
                <a:cubicBezTo>
                  <a:pt x="38" y="7"/>
                  <a:pt x="38" y="7"/>
                  <a:pt x="38" y="7"/>
                </a:cubicBezTo>
                <a:cubicBezTo>
                  <a:pt x="37" y="7"/>
                  <a:pt x="37" y="7"/>
                  <a:pt x="37" y="7"/>
                </a:cubicBezTo>
                <a:cubicBezTo>
                  <a:pt x="37" y="7"/>
                  <a:pt x="37" y="6"/>
                  <a:pt x="37" y="6"/>
                </a:cubicBezTo>
                <a:close/>
                <a:moveTo>
                  <a:pt x="88" y="28"/>
                </a:moveTo>
                <a:cubicBezTo>
                  <a:pt x="89" y="28"/>
                  <a:pt x="89" y="28"/>
                  <a:pt x="89" y="28"/>
                </a:cubicBezTo>
                <a:cubicBezTo>
                  <a:pt x="90" y="29"/>
                  <a:pt x="90" y="29"/>
                  <a:pt x="90" y="29"/>
                </a:cubicBezTo>
                <a:cubicBezTo>
                  <a:pt x="90" y="31"/>
                  <a:pt x="90" y="31"/>
                  <a:pt x="90" y="31"/>
                </a:cubicBezTo>
                <a:cubicBezTo>
                  <a:pt x="92" y="31"/>
                  <a:pt x="92" y="31"/>
                  <a:pt x="92" y="31"/>
                </a:cubicBezTo>
                <a:cubicBezTo>
                  <a:pt x="94" y="33"/>
                  <a:pt x="94" y="33"/>
                  <a:pt x="94" y="33"/>
                </a:cubicBezTo>
                <a:cubicBezTo>
                  <a:pt x="95" y="34"/>
                  <a:pt x="95" y="34"/>
                  <a:pt x="95" y="34"/>
                </a:cubicBezTo>
                <a:cubicBezTo>
                  <a:pt x="95" y="36"/>
                  <a:pt x="95" y="36"/>
                  <a:pt x="95" y="36"/>
                </a:cubicBezTo>
                <a:cubicBezTo>
                  <a:pt x="94" y="36"/>
                  <a:pt x="94" y="36"/>
                  <a:pt x="94" y="36"/>
                </a:cubicBezTo>
                <a:cubicBezTo>
                  <a:pt x="94" y="37"/>
                  <a:pt x="94" y="37"/>
                  <a:pt x="94" y="37"/>
                </a:cubicBezTo>
                <a:cubicBezTo>
                  <a:pt x="92" y="37"/>
                  <a:pt x="92" y="37"/>
                  <a:pt x="92" y="37"/>
                </a:cubicBezTo>
                <a:cubicBezTo>
                  <a:pt x="91" y="37"/>
                  <a:pt x="91" y="37"/>
                  <a:pt x="91" y="37"/>
                </a:cubicBezTo>
                <a:cubicBezTo>
                  <a:pt x="90" y="37"/>
                  <a:pt x="90" y="37"/>
                  <a:pt x="90" y="37"/>
                </a:cubicBezTo>
                <a:cubicBezTo>
                  <a:pt x="90" y="36"/>
                  <a:pt x="90" y="36"/>
                  <a:pt x="90" y="36"/>
                </a:cubicBezTo>
                <a:cubicBezTo>
                  <a:pt x="90" y="35"/>
                  <a:pt x="90" y="35"/>
                  <a:pt x="90" y="35"/>
                </a:cubicBezTo>
                <a:cubicBezTo>
                  <a:pt x="89" y="33"/>
                  <a:pt x="89" y="33"/>
                  <a:pt x="89" y="33"/>
                </a:cubicBezTo>
                <a:cubicBezTo>
                  <a:pt x="88" y="32"/>
                  <a:pt x="88" y="32"/>
                  <a:pt x="88" y="32"/>
                </a:cubicBezTo>
                <a:cubicBezTo>
                  <a:pt x="88" y="30"/>
                  <a:pt x="88" y="30"/>
                  <a:pt x="88" y="30"/>
                </a:cubicBezTo>
                <a:cubicBezTo>
                  <a:pt x="87" y="29"/>
                  <a:pt x="87" y="29"/>
                  <a:pt x="87" y="29"/>
                </a:cubicBezTo>
                <a:cubicBezTo>
                  <a:pt x="88" y="28"/>
                  <a:pt x="88" y="28"/>
                  <a:pt x="88" y="28"/>
                </a:cubicBezTo>
                <a:close/>
                <a:moveTo>
                  <a:pt x="86" y="25"/>
                </a:moveTo>
                <a:cubicBezTo>
                  <a:pt x="86" y="26"/>
                  <a:pt x="86" y="26"/>
                  <a:pt x="86" y="26"/>
                </a:cubicBezTo>
                <a:cubicBezTo>
                  <a:pt x="87" y="27"/>
                  <a:pt x="87" y="27"/>
                  <a:pt x="87" y="27"/>
                </a:cubicBezTo>
                <a:cubicBezTo>
                  <a:pt x="87" y="28"/>
                  <a:pt x="87" y="28"/>
                  <a:pt x="87" y="28"/>
                </a:cubicBezTo>
                <a:cubicBezTo>
                  <a:pt x="87" y="27"/>
                  <a:pt x="87" y="27"/>
                  <a:pt x="87" y="27"/>
                </a:cubicBezTo>
                <a:cubicBezTo>
                  <a:pt x="87" y="25"/>
                  <a:pt x="87" y="25"/>
                  <a:pt x="87" y="25"/>
                </a:cubicBezTo>
                <a:cubicBezTo>
                  <a:pt x="86" y="25"/>
                  <a:pt x="86" y="25"/>
                  <a:pt x="86" y="25"/>
                </a:cubicBezTo>
                <a:close/>
                <a:moveTo>
                  <a:pt x="84" y="22"/>
                </a:moveTo>
                <a:cubicBezTo>
                  <a:pt x="85" y="22"/>
                  <a:pt x="85" y="22"/>
                  <a:pt x="85" y="22"/>
                </a:cubicBezTo>
                <a:cubicBezTo>
                  <a:pt x="85" y="21"/>
                  <a:pt x="85" y="21"/>
                  <a:pt x="85" y="21"/>
                </a:cubicBezTo>
                <a:cubicBezTo>
                  <a:pt x="86" y="22"/>
                  <a:pt x="86" y="22"/>
                  <a:pt x="86" y="22"/>
                </a:cubicBezTo>
                <a:cubicBezTo>
                  <a:pt x="85" y="23"/>
                  <a:pt x="85" y="23"/>
                  <a:pt x="85" y="23"/>
                </a:cubicBezTo>
                <a:cubicBezTo>
                  <a:pt x="84" y="23"/>
                  <a:pt x="84" y="23"/>
                  <a:pt x="84" y="23"/>
                </a:cubicBezTo>
                <a:cubicBezTo>
                  <a:pt x="84" y="22"/>
                  <a:pt x="84" y="22"/>
                  <a:pt x="84" y="22"/>
                </a:cubicBezTo>
                <a:close/>
                <a:moveTo>
                  <a:pt x="63" y="10"/>
                </a:moveTo>
                <a:cubicBezTo>
                  <a:pt x="66" y="11"/>
                  <a:pt x="66" y="11"/>
                  <a:pt x="66" y="11"/>
                </a:cubicBezTo>
                <a:cubicBezTo>
                  <a:pt x="68" y="12"/>
                  <a:pt x="68" y="12"/>
                  <a:pt x="68" y="12"/>
                </a:cubicBezTo>
                <a:cubicBezTo>
                  <a:pt x="70" y="14"/>
                  <a:pt x="70" y="14"/>
                  <a:pt x="70" y="14"/>
                </a:cubicBezTo>
                <a:cubicBezTo>
                  <a:pt x="72" y="14"/>
                  <a:pt x="72" y="14"/>
                  <a:pt x="72" y="14"/>
                </a:cubicBezTo>
                <a:cubicBezTo>
                  <a:pt x="73" y="15"/>
                  <a:pt x="73" y="15"/>
                  <a:pt x="73" y="15"/>
                </a:cubicBezTo>
                <a:cubicBezTo>
                  <a:pt x="74" y="16"/>
                  <a:pt x="74" y="16"/>
                  <a:pt x="74" y="16"/>
                </a:cubicBezTo>
                <a:cubicBezTo>
                  <a:pt x="75" y="18"/>
                  <a:pt x="75" y="18"/>
                  <a:pt x="75" y="18"/>
                </a:cubicBezTo>
                <a:cubicBezTo>
                  <a:pt x="76" y="18"/>
                  <a:pt x="76" y="18"/>
                  <a:pt x="76" y="18"/>
                </a:cubicBezTo>
                <a:cubicBezTo>
                  <a:pt x="77" y="20"/>
                  <a:pt x="77" y="20"/>
                  <a:pt x="77" y="20"/>
                </a:cubicBezTo>
                <a:cubicBezTo>
                  <a:pt x="78" y="21"/>
                  <a:pt x="78" y="21"/>
                  <a:pt x="78" y="21"/>
                </a:cubicBezTo>
                <a:cubicBezTo>
                  <a:pt x="78" y="22"/>
                  <a:pt x="78" y="22"/>
                  <a:pt x="78" y="22"/>
                </a:cubicBezTo>
                <a:cubicBezTo>
                  <a:pt x="77" y="23"/>
                  <a:pt x="77" y="23"/>
                  <a:pt x="77" y="23"/>
                </a:cubicBezTo>
                <a:cubicBezTo>
                  <a:pt x="77" y="24"/>
                  <a:pt x="77" y="24"/>
                  <a:pt x="77" y="24"/>
                </a:cubicBezTo>
                <a:cubicBezTo>
                  <a:pt x="75" y="23"/>
                  <a:pt x="75" y="23"/>
                  <a:pt x="75" y="23"/>
                </a:cubicBezTo>
                <a:cubicBezTo>
                  <a:pt x="75" y="22"/>
                  <a:pt x="75" y="22"/>
                  <a:pt x="75" y="22"/>
                </a:cubicBezTo>
                <a:cubicBezTo>
                  <a:pt x="75" y="21"/>
                  <a:pt x="75" y="21"/>
                  <a:pt x="75" y="21"/>
                </a:cubicBezTo>
                <a:cubicBezTo>
                  <a:pt x="74" y="17"/>
                  <a:pt x="74" y="17"/>
                  <a:pt x="74" y="17"/>
                </a:cubicBezTo>
                <a:cubicBezTo>
                  <a:pt x="72" y="15"/>
                  <a:pt x="72" y="15"/>
                  <a:pt x="72" y="15"/>
                </a:cubicBezTo>
                <a:cubicBezTo>
                  <a:pt x="71" y="15"/>
                  <a:pt x="71" y="15"/>
                  <a:pt x="71" y="15"/>
                </a:cubicBezTo>
                <a:cubicBezTo>
                  <a:pt x="68" y="14"/>
                  <a:pt x="68" y="14"/>
                  <a:pt x="68" y="14"/>
                </a:cubicBezTo>
                <a:cubicBezTo>
                  <a:pt x="64" y="11"/>
                  <a:pt x="64" y="11"/>
                  <a:pt x="64" y="11"/>
                </a:cubicBezTo>
                <a:cubicBezTo>
                  <a:pt x="63" y="10"/>
                  <a:pt x="63" y="10"/>
                  <a:pt x="63" y="10"/>
                </a:cubicBezTo>
                <a:cubicBezTo>
                  <a:pt x="63" y="10"/>
                  <a:pt x="63" y="10"/>
                  <a:pt x="63" y="10"/>
                </a:cubicBezTo>
                <a:close/>
                <a:moveTo>
                  <a:pt x="55" y="0"/>
                </a:moveTo>
                <a:cubicBezTo>
                  <a:pt x="56" y="0"/>
                  <a:pt x="56" y="0"/>
                  <a:pt x="56" y="0"/>
                </a:cubicBezTo>
                <a:cubicBezTo>
                  <a:pt x="56" y="1"/>
                  <a:pt x="56" y="1"/>
                  <a:pt x="56" y="1"/>
                </a:cubicBezTo>
                <a:cubicBezTo>
                  <a:pt x="56" y="2"/>
                  <a:pt x="56" y="2"/>
                  <a:pt x="56" y="2"/>
                </a:cubicBezTo>
                <a:cubicBezTo>
                  <a:pt x="55" y="1"/>
                  <a:pt x="55" y="1"/>
                  <a:pt x="55" y="1"/>
                </a:cubicBezTo>
                <a:cubicBezTo>
                  <a:pt x="55" y="0"/>
                  <a:pt x="55" y="0"/>
                  <a:pt x="55" y="0"/>
                </a:cubicBezTo>
                <a:close/>
                <a:moveTo>
                  <a:pt x="58" y="9"/>
                </a:moveTo>
                <a:cubicBezTo>
                  <a:pt x="60" y="9"/>
                  <a:pt x="60" y="9"/>
                  <a:pt x="60" y="9"/>
                </a:cubicBezTo>
                <a:cubicBezTo>
                  <a:pt x="61" y="9"/>
                  <a:pt x="61" y="9"/>
                  <a:pt x="61" y="9"/>
                </a:cubicBezTo>
                <a:cubicBezTo>
                  <a:pt x="61" y="11"/>
                  <a:pt x="61" y="11"/>
                  <a:pt x="61" y="11"/>
                </a:cubicBezTo>
                <a:cubicBezTo>
                  <a:pt x="59" y="11"/>
                  <a:pt x="59" y="11"/>
                  <a:pt x="59" y="11"/>
                </a:cubicBezTo>
                <a:cubicBezTo>
                  <a:pt x="58" y="10"/>
                  <a:pt x="58" y="10"/>
                  <a:pt x="58" y="10"/>
                </a:cubicBezTo>
                <a:cubicBezTo>
                  <a:pt x="58" y="9"/>
                  <a:pt x="58" y="9"/>
                  <a:pt x="58" y="9"/>
                </a:cubicBezTo>
                <a:close/>
                <a:moveTo>
                  <a:pt x="58" y="25"/>
                </a:moveTo>
                <a:cubicBezTo>
                  <a:pt x="59" y="26"/>
                  <a:pt x="59" y="26"/>
                  <a:pt x="59" y="26"/>
                </a:cubicBezTo>
                <a:cubicBezTo>
                  <a:pt x="60" y="25"/>
                  <a:pt x="60" y="25"/>
                  <a:pt x="60" y="25"/>
                </a:cubicBezTo>
                <a:cubicBezTo>
                  <a:pt x="59" y="24"/>
                  <a:pt x="59" y="24"/>
                  <a:pt x="59" y="24"/>
                </a:cubicBezTo>
                <a:cubicBezTo>
                  <a:pt x="58" y="24"/>
                  <a:pt x="58" y="24"/>
                  <a:pt x="58" y="24"/>
                </a:cubicBezTo>
                <a:cubicBezTo>
                  <a:pt x="58" y="25"/>
                  <a:pt x="58" y="25"/>
                  <a:pt x="58" y="25"/>
                </a:cubicBezTo>
                <a:close/>
                <a:moveTo>
                  <a:pt x="47" y="28"/>
                </a:moveTo>
                <a:cubicBezTo>
                  <a:pt x="47" y="29"/>
                  <a:pt x="47" y="29"/>
                  <a:pt x="47" y="29"/>
                </a:cubicBezTo>
                <a:cubicBezTo>
                  <a:pt x="48" y="31"/>
                  <a:pt x="48" y="31"/>
                  <a:pt x="48" y="31"/>
                </a:cubicBezTo>
                <a:cubicBezTo>
                  <a:pt x="49" y="31"/>
                  <a:pt x="49" y="31"/>
                  <a:pt x="49" y="31"/>
                </a:cubicBezTo>
                <a:cubicBezTo>
                  <a:pt x="51" y="32"/>
                  <a:pt x="51" y="32"/>
                  <a:pt x="51" y="32"/>
                </a:cubicBezTo>
                <a:cubicBezTo>
                  <a:pt x="51" y="33"/>
                  <a:pt x="51" y="33"/>
                  <a:pt x="51" y="33"/>
                </a:cubicBezTo>
                <a:cubicBezTo>
                  <a:pt x="52" y="33"/>
                  <a:pt x="52" y="33"/>
                  <a:pt x="52" y="33"/>
                </a:cubicBezTo>
                <a:cubicBezTo>
                  <a:pt x="54" y="33"/>
                  <a:pt x="54" y="33"/>
                  <a:pt x="54" y="33"/>
                </a:cubicBezTo>
                <a:cubicBezTo>
                  <a:pt x="55" y="34"/>
                  <a:pt x="55" y="34"/>
                  <a:pt x="55" y="34"/>
                </a:cubicBezTo>
                <a:cubicBezTo>
                  <a:pt x="56" y="34"/>
                  <a:pt x="56" y="34"/>
                  <a:pt x="56" y="34"/>
                </a:cubicBezTo>
                <a:cubicBezTo>
                  <a:pt x="57" y="34"/>
                  <a:pt x="57" y="34"/>
                  <a:pt x="57" y="34"/>
                </a:cubicBezTo>
                <a:cubicBezTo>
                  <a:pt x="60" y="33"/>
                  <a:pt x="60" y="33"/>
                  <a:pt x="60" y="33"/>
                </a:cubicBezTo>
                <a:cubicBezTo>
                  <a:pt x="61" y="34"/>
                  <a:pt x="61" y="34"/>
                  <a:pt x="61" y="34"/>
                </a:cubicBezTo>
                <a:cubicBezTo>
                  <a:pt x="62" y="33"/>
                  <a:pt x="62" y="33"/>
                  <a:pt x="62" y="33"/>
                </a:cubicBezTo>
                <a:cubicBezTo>
                  <a:pt x="63" y="34"/>
                  <a:pt x="63" y="34"/>
                  <a:pt x="63" y="34"/>
                </a:cubicBezTo>
                <a:cubicBezTo>
                  <a:pt x="64" y="33"/>
                  <a:pt x="64" y="33"/>
                  <a:pt x="64" y="33"/>
                </a:cubicBezTo>
                <a:cubicBezTo>
                  <a:pt x="64" y="32"/>
                  <a:pt x="64" y="32"/>
                  <a:pt x="64" y="32"/>
                </a:cubicBezTo>
                <a:cubicBezTo>
                  <a:pt x="66" y="32"/>
                  <a:pt x="66" y="32"/>
                  <a:pt x="66" y="32"/>
                </a:cubicBezTo>
                <a:cubicBezTo>
                  <a:pt x="68" y="30"/>
                  <a:pt x="68" y="30"/>
                  <a:pt x="68" y="30"/>
                </a:cubicBezTo>
                <a:cubicBezTo>
                  <a:pt x="68" y="29"/>
                  <a:pt x="68" y="29"/>
                  <a:pt x="68" y="29"/>
                </a:cubicBezTo>
                <a:cubicBezTo>
                  <a:pt x="69" y="28"/>
                  <a:pt x="69" y="28"/>
                  <a:pt x="69" y="28"/>
                </a:cubicBezTo>
                <a:cubicBezTo>
                  <a:pt x="69" y="29"/>
                  <a:pt x="69" y="29"/>
                  <a:pt x="69" y="29"/>
                </a:cubicBezTo>
                <a:cubicBezTo>
                  <a:pt x="71" y="29"/>
                  <a:pt x="71" y="29"/>
                  <a:pt x="71" y="29"/>
                </a:cubicBezTo>
                <a:cubicBezTo>
                  <a:pt x="72" y="27"/>
                  <a:pt x="72" y="27"/>
                  <a:pt x="72" y="27"/>
                </a:cubicBezTo>
                <a:cubicBezTo>
                  <a:pt x="70" y="26"/>
                  <a:pt x="70" y="26"/>
                  <a:pt x="70" y="26"/>
                </a:cubicBezTo>
                <a:cubicBezTo>
                  <a:pt x="70" y="25"/>
                  <a:pt x="70" y="25"/>
                  <a:pt x="70" y="25"/>
                </a:cubicBezTo>
                <a:cubicBezTo>
                  <a:pt x="71" y="25"/>
                  <a:pt x="71" y="25"/>
                  <a:pt x="71" y="25"/>
                </a:cubicBezTo>
                <a:cubicBezTo>
                  <a:pt x="72" y="25"/>
                  <a:pt x="72" y="25"/>
                  <a:pt x="72" y="25"/>
                </a:cubicBezTo>
                <a:cubicBezTo>
                  <a:pt x="73" y="24"/>
                  <a:pt x="73" y="24"/>
                  <a:pt x="73" y="24"/>
                </a:cubicBezTo>
                <a:cubicBezTo>
                  <a:pt x="73" y="21"/>
                  <a:pt x="73" y="21"/>
                  <a:pt x="73" y="21"/>
                </a:cubicBezTo>
                <a:cubicBezTo>
                  <a:pt x="72" y="20"/>
                  <a:pt x="72" y="20"/>
                  <a:pt x="72" y="20"/>
                </a:cubicBezTo>
                <a:cubicBezTo>
                  <a:pt x="71" y="20"/>
                  <a:pt x="71" y="20"/>
                  <a:pt x="71" y="20"/>
                </a:cubicBezTo>
                <a:cubicBezTo>
                  <a:pt x="71" y="21"/>
                  <a:pt x="71" y="21"/>
                  <a:pt x="71" y="21"/>
                </a:cubicBezTo>
                <a:cubicBezTo>
                  <a:pt x="70" y="20"/>
                  <a:pt x="70" y="20"/>
                  <a:pt x="70" y="20"/>
                </a:cubicBezTo>
                <a:cubicBezTo>
                  <a:pt x="68" y="20"/>
                  <a:pt x="68" y="20"/>
                  <a:pt x="68" y="20"/>
                </a:cubicBezTo>
                <a:cubicBezTo>
                  <a:pt x="68" y="21"/>
                  <a:pt x="68" y="21"/>
                  <a:pt x="68" y="21"/>
                </a:cubicBezTo>
                <a:cubicBezTo>
                  <a:pt x="68" y="24"/>
                  <a:pt x="68" y="24"/>
                  <a:pt x="68" y="24"/>
                </a:cubicBezTo>
                <a:cubicBezTo>
                  <a:pt x="69" y="24"/>
                  <a:pt x="69" y="24"/>
                  <a:pt x="69" y="24"/>
                </a:cubicBezTo>
                <a:cubicBezTo>
                  <a:pt x="68" y="25"/>
                  <a:pt x="68" y="25"/>
                  <a:pt x="68" y="25"/>
                </a:cubicBezTo>
                <a:cubicBezTo>
                  <a:pt x="67" y="25"/>
                  <a:pt x="67" y="25"/>
                  <a:pt x="67" y="25"/>
                </a:cubicBezTo>
                <a:cubicBezTo>
                  <a:pt x="65" y="27"/>
                  <a:pt x="65" y="27"/>
                  <a:pt x="65" y="27"/>
                </a:cubicBezTo>
                <a:cubicBezTo>
                  <a:pt x="64" y="28"/>
                  <a:pt x="64" y="28"/>
                  <a:pt x="64" y="28"/>
                </a:cubicBezTo>
                <a:cubicBezTo>
                  <a:pt x="63" y="29"/>
                  <a:pt x="63" y="29"/>
                  <a:pt x="63" y="29"/>
                </a:cubicBezTo>
                <a:cubicBezTo>
                  <a:pt x="63" y="28"/>
                  <a:pt x="63" y="28"/>
                  <a:pt x="63" y="28"/>
                </a:cubicBezTo>
                <a:cubicBezTo>
                  <a:pt x="62" y="29"/>
                  <a:pt x="62" y="29"/>
                  <a:pt x="62" y="29"/>
                </a:cubicBezTo>
                <a:cubicBezTo>
                  <a:pt x="61" y="28"/>
                  <a:pt x="61" y="28"/>
                  <a:pt x="61" y="28"/>
                </a:cubicBezTo>
                <a:cubicBezTo>
                  <a:pt x="60" y="28"/>
                  <a:pt x="60" y="28"/>
                  <a:pt x="60" y="28"/>
                </a:cubicBezTo>
                <a:cubicBezTo>
                  <a:pt x="59" y="29"/>
                  <a:pt x="59" y="29"/>
                  <a:pt x="59" y="29"/>
                </a:cubicBezTo>
                <a:cubicBezTo>
                  <a:pt x="58" y="29"/>
                  <a:pt x="58" y="29"/>
                  <a:pt x="58" y="29"/>
                </a:cubicBezTo>
                <a:cubicBezTo>
                  <a:pt x="58" y="28"/>
                  <a:pt x="58" y="28"/>
                  <a:pt x="58" y="28"/>
                </a:cubicBezTo>
                <a:cubicBezTo>
                  <a:pt x="58" y="27"/>
                  <a:pt x="58" y="27"/>
                  <a:pt x="58" y="27"/>
                </a:cubicBezTo>
                <a:cubicBezTo>
                  <a:pt x="57" y="26"/>
                  <a:pt x="57" y="26"/>
                  <a:pt x="57" y="26"/>
                </a:cubicBezTo>
                <a:cubicBezTo>
                  <a:pt x="57" y="27"/>
                  <a:pt x="57" y="27"/>
                  <a:pt x="57" y="27"/>
                </a:cubicBezTo>
                <a:cubicBezTo>
                  <a:pt x="57" y="28"/>
                  <a:pt x="57" y="28"/>
                  <a:pt x="57" y="28"/>
                </a:cubicBezTo>
                <a:cubicBezTo>
                  <a:pt x="56" y="28"/>
                  <a:pt x="56" y="28"/>
                  <a:pt x="56" y="28"/>
                </a:cubicBezTo>
                <a:cubicBezTo>
                  <a:pt x="55" y="28"/>
                  <a:pt x="55" y="28"/>
                  <a:pt x="55" y="28"/>
                </a:cubicBezTo>
                <a:cubicBezTo>
                  <a:pt x="53" y="29"/>
                  <a:pt x="53" y="29"/>
                  <a:pt x="53" y="29"/>
                </a:cubicBezTo>
                <a:cubicBezTo>
                  <a:pt x="52" y="29"/>
                  <a:pt x="52" y="29"/>
                  <a:pt x="52" y="29"/>
                </a:cubicBezTo>
                <a:cubicBezTo>
                  <a:pt x="51" y="28"/>
                  <a:pt x="51" y="28"/>
                  <a:pt x="51" y="28"/>
                </a:cubicBezTo>
                <a:cubicBezTo>
                  <a:pt x="50" y="28"/>
                  <a:pt x="50" y="28"/>
                  <a:pt x="50" y="28"/>
                </a:cubicBezTo>
                <a:cubicBezTo>
                  <a:pt x="49" y="28"/>
                  <a:pt x="49" y="28"/>
                  <a:pt x="49" y="28"/>
                </a:cubicBezTo>
                <a:cubicBezTo>
                  <a:pt x="47" y="28"/>
                  <a:pt x="47" y="28"/>
                  <a:pt x="47" y="28"/>
                </a:cubicBezTo>
                <a:close/>
                <a:moveTo>
                  <a:pt x="43" y="29"/>
                </a:moveTo>
                <a:cubicBezTo>
                  <a:pt x="44" y="28"/>
                  <a:pt x="44" y="28"/>
                  <a:pt x="44" y="28"/>
                </a:cubicBezTo>
                <a:cubicBezTo>
                  <a:pt x="45" y="29"/>
                  <a:pt x="45" y="29"/>
                  <a:pt x="45" y="29"/>
                </a:cubicBezTo>
                <a:cubicBezTo>
                  <a:pt x="45" y="30"/>
                  <a:pt x="45" y="30"/>
                  <a:pt x="45" y="30"/>
                </a:cubicBezTo>
                <a:cubicBezTo>
                  <a:pt x="45" y="31"/>
                  <a:pt x="45" y="31"/>
                  <a:pt x="45" y="31"/>
                </a:cubicBezTo>
                <a:cubicBezTo>
                  <a:pt x="44" y="30"/>
                  <a:pt x="44" y="30"/>
                  <a:pt x="44" y="30"/>
                </a:cubicBezTo>
                <a:cubicBezTo>
                  <a:pt x="43" y="29"/>
                  <a:pt x="43" y="29"/>
                  <a:pt x="43" y="29"/>
                </a:cubicBezTo>
                <a:close/>
                <a:moveTo>
                  <a:pt x="39" y="27"/>
                </a:moveTo>
                <a:cubicBezTo>
                  <a:pt x="39" y="28"/>
                  <a:pt x="39" y="28"/>
                  <a:pt x="39" y="28"/>
                </a:cubicBezTo>
                <a:cubicBezTo>
                  <a:pt x="39" y="28"/>
                  <a:pt x="39" y="28"/>
                  <a:pt x="39" y="28"/>
                </a:cubicBezTo>
                <a:cubicBezTo>
                  <a:pt x="40" y="28"/>
                  <a:pt x="40" y="28"/>
                  <a:pt x="40" y="28"/>
                </a:cubicBezTo>
                <a:cubicBezTo>
                  <a:pt x="40" y="27"/>
                  <a:pt x="40" y="27"/>
                  <a:pt x="40" y="27"/>
                </a:cubicBezTo>
                <a:cubicBezTo>
                  <a:pt x="39" y="27"/>
                  <a:pt x="39" y="27"/>
                  <a:pt x="39" y="27"/>
                </a:cubicBezTo>
                <a:close/>
                <a:moveTo>
                  <a:pt x="33" y="22"/>
                </a:moveTo>
                <a:cubicBezTo>
                  <a:pt x="32" y="23"/>
                  <a:pt x="32" y="23"/>
                  <a:pt x="32" y="23"/>
                </a:cubicBezTo>
                <a:cubicBezTo>
                  <a:pt x="32" y="24"/>
                  <a:pt x="32" y="24"/>
                  <a:pt x="32" y="24"/>
                </a:cubicBezTo>
                <a:cubicBezTo>
                  <a:pt x="33" y="23"/>
                  <a:pt x="33" y="23"/>
                  <a:pt x="33" y="23"/>
                </a:cubicBezTo>
                <a:cubicBezTo>
                  <a:pt x="33" y="22"/>
                  <a:pt x="33" y="22"/>
                  <a:pt x="33" y="22"/>
                </a:cubicBezTo>
                <a:close/>
                <a:moveTo>
                  <a:pt x="73" y="51"/>
                </a:moveTo>
                <a:cubicBezTo>
                  <a:pt x="73" y="52"/>
                  <a:pt x="73" y="52"/>
                  <a:pt x="73" y="52"/>
                </a:cubicBezTo>
                <a:cubicBezTo>
                  <a:pt x="73" y="53"/>
                  <a:pt x="73" y="53"/>
                  <a:pt x="73" y="53"/>
                </a:cubicBezTo>
                <a:cubicBezTo>
                  <a:pt x="74" y="53"/>
                  <a:pt x="74" y="53"/>
                  <a:pt x="74" y="53"/>
                </a:cubicBezTo>
                <a:cubicBezTo>
                  <a:pt x="75" y="54"/>
                  <a:pt x="75" y="54"/>
                  <a:pt x="75" y="54"/>
                </a:cubicBezTo>
                <a:cubicBezTo>
                  <a:pt x="75" y="53"/>
                  <a:pt x="75" y="53"/>
                  <a:pt x="75" y="53"/>
                </a:cubicBezTo>
                <a:cubicBezTo>
                  <a:pt x="73" y="51"/>
                  <a:pt x="73" y="51"/>
                  <a:pt x="73" y="51"/>
                </a:cubicBezTo>
                <a:close/>
                <a:moveTo>
                  <a:pt x="64" y="47"/>
                </a:moveTo>
                <a:cubicBezTo>
                  <a:pt x="63" y="48"/>
                  <a:pt x="63" y="48"/>
                  <a:pt x="63" y="48"/>
                </a:cubicBezTo>
                <a:cubicBezTo>
                  <a:pt x="64" y="49"/>
                  <a:pt x="64" y="49"/>
                  <a:pt x="64" y="49"/>
                </a:cubicBezTo>
                <a:cubicBezTo>
                  <a:pt x="64" y="49"/>
                  <a:pt x="64" y="49"/>
                  <a:pt x="64" y="49"/>
                </a:cubicBezTo>
                <a:cubicBezTo>
                  <a:pt x="64" y="50"/>
                  <a:pt x="64" y="50"/>
                  <a:pt x="64" y="50"/>
                </a:cubicBezTo>
                <a:cubicBezTo>
                  <a:pt x="64" y="50"/>
                  <a:pt x="64" y="50"/>
                  <a:pt x="64" y="50"/>
                </a:cubicBezTo>
                <a:cubicBezTo>
                  <a:pt x="64" y="50"/>
                  <a:pt x="64" y="50"/>
                  <a:pt x="64" y="50"/>
                </a:cubicBezTo>
                <a:cubicBezTo>
                  <a:pt x="65" y="49"/>
                  <a:pt x="65" y="49"/>
                  <a:pt x="65" y="49"/>
                </a:cubicBezTo>
                <a:cubicBezTo>
                  <a:pt x="64" y="47"/>
                  <a:pt x="64" y="47"/>
                  <a:pt x="64" y="47"/>
                </a:cubicBezTo>
                <a:cubicBezTo>
                  <a:pt x="64" y="47"/>
                  <a:pt x="64" y="47"/>
                  <a:pt x="64" y="47"/>
                </a:cubicBezTo>
                <a:close/>
                <a:moveTo>
                  <a:pt x="61" y="57"/>
                </a:moveTo>
                <a:cubicBezTo>
                  <a:pt x="62" y="57"/>
                  <a:pt x="62" y="57"/>
                  <a:pt x="62" y="57"/>
                </a:cubicBezTo>
                <a:cubicBezTo>
                  <a:pt x="62" y="57"/>
                  <a:pt x="62" y="57"/>
                  <a:pt x="62" y="57"/>
                </a:cubicBezTo>
                <a:cubicBezTo>
                  <a:pt x="63" y="58"/>
                  <a:pt x="63" y="58"/>
                  <a:pt x="63" y="58"/>
                </a:cubicBezTo>
                <a:cubicBezTo>
                  <a:pt x="63" y="58"/>
                  <a:pt x="63" y="58"/>
                  <a:pt x="63" y="58"/>
                </a:cubicBezTo>
                <a:cubicBezTo>
                  <a:pt x="63" y="58"/>
                  <a:pt x="63" y="58"/>
                  <a:pt x="63" y="58"/>
                </a:cubicBezTo>
                <a:cubicBezTo>
                  <a:pt x="64" y="58"/>
                  <a:pt x="64" y="58"/>
                  <a:pt x="64" y="58"/>
                </a:cubicBezTo>
                <a:cubicBezTo>
                  <a:pt x="65" y="58"/>
                  <a:pt x="65" y="58"/>
                  <a:pt x="65" y="58"/>
                </a:cubicBezTo>
                <a:cubicBezTo>
                  <a:pt x="65" y="58"/>
                  <a:pt x="65" y="58"/>
                  <a:pt x="65" y="58"/>
                </a:cubicBezTo>
                <a:cubicBezTo>
                  <a:pt x="64" y="59"/>
                  <a:pt x="64" y="59"/>
                  <a:pt x="64" y="59"/>
                </a:cubicBezTo>
                <a:cubicBezTo>
                  <a:pt x="64" y="59"/>
                  <a:pt x="64" y="59"/>
                  <a:pt x="64" y="59"/>
                </a:cubicBezTo>
                <a:cubicBezTo>
                  <a:pt x="63" y="59"/>
                  <a:pt x="63" y="59"/>
                  <a:pt x="63" y="59"/>
                </a:cubicBezTo>
                <a:cubicBezTo>
                  <a:pt x="62" y="59"/>
                  <a:pt x="62" y="59"/>
                  <a:pt x="62" y="59"/>
                </a:cubicBezTo>
                <a:cubicBezTo>
                  <a:pt x="62" y="58"/>
                  <a:pt x="62" y="58"/>
                  <a:pt x="62" y="58"/>
                </a:cubicBezTo>
                <a:cubicBezTo>
                  <a:pt x="62" y="58"/>
                  <a:pt x="62" y="58"/>
                  <a:pt x="62" y="58"/>
                </a:cubicBezTo>
                <a:cubicBezTo>
                  <a:pt x="62" y="57"/>
                  <a:pt x="62" y="57"/>
                  <a:pt x="62" y="57"/>
                </a:cubicBezTo>
                <a:cubicBezTo>
                  <a:pt x="61" y="57"/>
                  <a:pt x="61" y="57"/>
                  <a:pt x="61" y="57"/>
                </a:cubicBezTo>
                <a:cubicBezTo>
                  <a:pt x="61" y="57"/>
                  <a:pt x="61" y="57"/>
                  <a:pt x="61" y="57"/>
                </a:cubicBezTo>
                <a:close/>
                <a:moveTo>
                  <a:pt x="60" y="55"/>
                </a:moveTo>
                <a:cubicBezTo>
                  <a:pt x="60" y="56"/>
                  <a:pt x="60" y="56"/>
                  <a:pt x="60" y="56"/>
                </a:cubicBezTo>
                <a:cubicBezTo>
                  <a:pt x="61" y="56"/>
                  <a:pt x="61" y="56"/>
                  <a:pt x="61" y="56"/>
                </a:cubicBezTo>
                <a:cubicBezTo>
                  <a:pt x="62" y="56"/>
                  <a:pt x="62" y="56"/>
                  <a:pt x="62" y="56"/>
                </a:cubicBezTo>
                <a:cubicBezTo>
                  <a:pt x="62" y="56"/>
                  <a:pt x="62" y="56"/>
                  <a:pt x="62" y="56"/>
                </a:cubicBezTo>
                <a:cubicBezTo>
                  <a:pt x="62" y="56"/>
                  <a:pt x="62" y="56"/>
                  <a:pt x="62" y="56"/>
                </a:cubicBezTo>
                <a:cubicBezTo>
                  <a:pt x="62" y="55"/>
                  <a:pt x="62" y="55"/>
                  <a:pt x="62" y="55"/>
                </a:cubicBezTo>
                <a:cubicBezTo>
                  <a:pt x="62" y="55"/>
                  <a:pt x="62" y="55"/>
                  <a:pt x="62" y="55"/>
                </a:cubicBezTo>
                <a:cubicBezTo>
                  <a:pt x="62" y="55"/>
                  <a:pt x="62" y="55"/>
                  <a:pt x="62" y="55"/>
                </a:cubicBezTo>
                <a:cubicBezTo>
                  <a:pt x="61" y="55"/>
                  <a:pt x="61" y="55"/>
                  <a:pt x="61" y="55"/>
                </a:cubicBezTo>
                <a:cubicBezTo>
                  <a:pt x="61" y="55"/>
                  <a:pt x="61" y="55"/>
                  <a:pt x="61" y="55"/>
                </a:cubicBezTo>
                <a:cubicBezTo>
                  <a:pt x="60" y="54"/>
                  <a:pt x="60" y="54"/>
                  <a:pt x="60" y="54"/>
                </a:cubicBezTo>
                <a:cubicBezTo>
                  <a:pt x="60" y="55"/>
                  <a:pt x="60" y="55"/>
                  <a:pt x="60" y="55"/>
                </a:cubicBezTo>
                <a:close/>
                <a:moveTo>
                  <a:pt x="57" y="54"/>
                </a:moveTo>
                <a:cubicBezTo>
                  <a:pt x="58" y="55"/>
                  <a:pt x="58" y="55"/>
                  <a:pt x="58" y="55"/>
                </a:cubicBezTo>
                <a:cubicBezTo>
                  <a:pt x="58" y="55"/>
                  <a:pt x="58" y="55"/>
                  <a:pt x="58" y="55"/>
                </a:cubicBezTo>
                <a:cubicBezTo>
                  <a:pt x="59" y="55"/>
                  <a:pt x="59" y="55"/>
                  <a:pt x="59" y="55"/>
                </a:cubicBezTo>
                <a:cubicBezTo>
                  <a:pt x="59" y="55"/>
                  <a:pt x="59" y="55"/>
                  <a:pt x="59" y="55"/>
                </a:cubicBezTo>
                <a:cubicBezTo>
                  <a:pt x="59" y="55"/>
                  <a:pt x="59" y="55"/>
                  <a:pt x="59" y="55"/>
                </a:cubicBezTo>
                <a:cubicBezTo>
                  <a:pt x="59" y="53"/>
                  <a:pt x="59" y="53"/>
                  <a:pt x="59" y="53"/>
                </a:cubicBezTo>
                <a:cubicBezTo>
                  <a:pt x="58" y="53"/>
                  <a:pt x="58" y="53"/>
                  <a:pt x="58" y="53"/>
                </a:cubicBezTo>
                <a:cubicBezTo>
                  <a:pt x="57" y="54"/>
                  <a:pt x="57" y="54"/>
                  <a:pt x="57" y="54"/>
                </a:cubicBezTo>
                <a:close/>
                <a:moveTo>
                  <a:pt x="26" y="43"/>
                </a:moveTo>
                <a:cubicBezTo>
                  <a:pt x="25" y="43"/>
                  <a:pt x="25" y="43"/>
                  <a:pt x="25" y="43"/>
                </a:cubicBezTo>
                <a:cubicBezTo>
                  <a:pt x="26" y="44"/>
                  <a:pt x="26" y="44"/>
                  <a:pt x="26" y="44"/>
                </a:cubicBezTo>
                <a:cubicBezTo>
                  <a:pt x="26" y="44"/>
                  <a:pt x="26" y="43"/>
                  <a:pt x="26" y="43"/>
                </a:cubicBezTo>
                <a:close/>
                <a:moveTo>
                  <a:pt x="23" y="43"/>
                </a:moveTo>
                <a:cubicBezTo>
                  <a:pt x="23" y="43"/>
                  <a:pt x="23" y="43"/>
                  <a:pt x="23" y="43"/>
                </a:cubicBezTo>
                <a:cubicBezTo>
                  <a:pt x="24" y="43"/>
                  <a:pt x="24" y="43"/>
                  <a:pt x="24" y="43"/>
                </a:cubicBezTo>
                <a:cubicBezTo>
                  <a:pt x="23" y="43"/>
                  <a:pt x="23" y="43"/>
                  <a:pt x="23" y="43"/>
                </a:cubicBezTo>
                <a:close/>
                <a:moveTo>
                  <a:pt x="21" y="43"/>
                </a:moveTo>
                <a:cubicBezTo>
                  <a:pt x="21" y="44"/>
                  <a:pt x="21" y="44"/>
                  <a:pt x="21" y="44"/>
                </a:cubicBezTo>
                <a:cubicBezTo>
                  <a:pt x="22" y="44"/>
                  <a:pt x="22" y="44"/>
                  <a:pt x="22" y="44"/>
                </a:cubicBezTo>
                <a:cubicBezTo>
                  <a:pt x="22" y="43"/>
                  <a:pt x="22" y="43"/>
                  <a:pt x="22" y="43"/>
                </a:cubicBezTo>
                <a:cubicBezTo>
                  <a:pt x="21" y="43"/>
                  <a:pt x="21" y="43"/>
                  <a:pt x="21" y="43"/>
                </a:cubicBezTo>
                <a:close/>
                <a:moveTo>
                  <a:pt x="23" y="43"/>
                </a:moveTo>
                <a:cubicBezTo>
                  <a:pt x="22" y="43"/>
                  <a:pt x="22" y="43"/>
                  <a:pt x="22" y="43"/>
                </a:cubicBezTo>
                <a:cubicBezTo>
                  <a:pt x="22" y="42"/>
                  <a:pt x="22" y="42"/>
                  <a:pt x="22" y="42"/>
                </a:cubicBezTo>
                <a:cubicBezTo>
                  <a:pt x="23" y="42"/>
                  <a:pt x="23" y="42"/>
                  <a:pt x="23" y="42"/>
                </a:cubicBezTo>
                <a:cubicBezTo>
                  <a:pt x="23" y="43"/>
                  <a:pt x="23" y="43"/>
                  <a:pt x="23" y="43"/>
                </a:cubicBezTo>
                <a:cubicBezTo>
                  <a:pt x="23" y="43"/>
                  <a:pt x="23" y="43"/>
                  <a:pt x="23" y="43"/>
                </a:cubicBezTo>
                <a:close/>
                <a:moveTo>
                  <a:pt x="18" y="43"/>
                </a:moveTo>
                <a:cubicBezTo>
                  <a:pt x="19" y="44"/>
                  <a:pt x="19" y="44"/>
                  <a:pt x="19" y="44"/>
                </a:cubicBezTo>
                <a:cubicBezTo>
                  <a:pt x="19" y="44"/>
                  <a:pt x="19" y="44"/>
                  <a:pt x="19" y="44"/>
                </a:cubicBezTo>
                <a:cubicBezTo>
                  <a:pt x="19" y="44"/>
                  <a:pt x="19" y="44"/>
                  <a:pt x="19" y="44"/>
                </a:cubicBezTo>
                <a:cubicBezTo>
                  <a:pt x="18" y="43"/>
                  <a:pt x="18" y="43"/>
                  <a:pt x="18" y="43"/>
                </a:cubicBezTo>
                <a:close/>
                <a:moveTo>
                  <a:pt x="16" y="48"/>
                </a:moveTo>
                <a:cubicBezTo>
                  <a:pt x="17" y="48"/>
                  <a:pt x="17" y="48"/>
                  <a:pt x="17" y="48"/>
                </a:cubicBezTo>
                <a:cubicBezTo>
                  <a:pt x="18" y="48"/>
                  <a:pt x="18" y="48"/>
                  <a:pt x="18" y="48"/>
                </a:cubicBezTo>
                <a:cubicBezTo>
                  <a:pt x="18" y="48"/>
                  <a:pt x="18" y="48"/>
                  <a:pt x="18" y="48"/>
                </a:cubicBezTo>
                <a:cubicBezTo>
                  <a:pt x="18" y="48"/>
                  <a:pt x="16" y="48"/>
                  <a:pt x="16" y="48"/>
                </a:cubicBezTo>
                <a:close/>
                <a:moveTo>
                  <a:pt x="16" y="49"/>
                </a:moveTo>
                <a:cubicBezTo>
                  <a:pt x="17" y="49"/>
                  <a:pt x="17" y="49"/>
                  <a:pt x="17" y="49"/>
                </a:cubicBezTo>
                <a:cubicBezTo>
                  <a:pt x="17" y="49"/>
                  <a:pt x="17" y="49"/>
                  <a:pt x="17" y="49"/>
                </a:cubicBezTo>
                <a:cubicBezTo>
                  <a:pt x="16" y="49"/>
                  <a:pt x="16" y="49"/>
                  <a:pt x="16" y="49"/>
                </a:cubicBezTo>
                <a:close/>
                <a:moveTo>
                  <a:pt x="15" y="48"/>
                </a:moveTo>
                <a:cubicBezTo>
                  <a:pt x="15" y="49"/>
                  <a:pt x="15" y="49"/>
                  <a:pt x="15" y="49"/>
                </a:cubicBezTo>
                <a:cubicBezTo>
                  <a:pt x="16" y="48"/>
                  <a:pt x="16" y="48"/>
                  <a:pt x="16" y="48"/>
                </a:cubicBezTo>
                <a:cubicBezTo>
                  <a:pt x="15" y="48"/>
                  <a:pt x="15" y="48"/>
                  <a:pt x="15" y="48"/>
                </a:cubicBezTo>
                <a:close/>
                <a:moveTo>
                  <a:pt x="14" y="49"/>
                </a:moveTo>
                <a:cubicBezTo>
                  <a:pt x="14" y="49"/>
                  <a:pt x="16" y="50"/>
                  <a:pt x="16" y="50"/>
                </a:cubicBezTo>
                <a:cubicBezTo>
                  <a:pt x="17" y="51"/>
                  <a:pt x="17" y="51"/>
                  <a:pt x="17" y="51"/>
                </a:cubicBezTo>
                <a:cubicBezTo>
                  <a:pt x="14" y="49"/>
                  <a:pt x="14" y="49"/>
                  <a:pt x="14" y="49"/>
                </a:cubicBezTo>
                <a:close/>
                <a:moveTo>
                  <a:pt x="16" y="46"/>
                </a:moveTo>
                <a:cubicBezTo>
                  <a:pt x="17" y="46"/>
                  <a:pt x="17" y="46"/>
                  <a:pt x="17" y="46"/>
                </a:cubicBezTo>
                <a:cubicBezTo>
                  <a:pt x="17" y="46"/>
                  <a:pt x="17" y="46"/>
                  <a:pt x="17" y="46"/>
                </a:cubicBezTo>
                <a:cubicBezTo>
                  <a:pt x="16" y="46"/>
                  <a:pt x="16" y="46"/>
                  <a:pt x="16" y="46"/>
                </a:cubicBezTo>
                <a:cubicBezTo>
                  <a:pt x="16" y="46"/>
                  <a:pt x="16" y="46"/>
                  <a:pt x="16" y="46"/>
                </a:cubicBezTo>
                <a:close/>
                <a:moveTo>
                  <a:pt x="18" y="46"/>
                </a:moveTo>
                <a:cubicBezTo>
                  <a:pt x="17" y="45"/>
                  <a:pt x="17" y="45"/>
                  <a:pt x="17" y="45"/>
                </a:cubicBezTo>
                <a:cubicBezTo>
                  <a:pt x="17" y="44"/>
                  <a:pt x="17" y="44"/>
                  <a:pt x="17" y="44"/>
                </a:cubicBezTo>
                <a:cubicBezTo>
                  <a:pt x="18" y="44"/>
                  <a:pt x="18" y="44"/>
                  <a:pt x="18" y="44"/>
                </a:cubicBezTo>
                <a:cubicBezTo>
                  <a:pt x="18" y="45"/>
                  <a:pt x="18" y="45"/>
                  <a:pt x="18" y="45"/>
                </a:cubicBezTo>
                <a:cubicBezTo>
                  <a:pt x="18" y="46"/>
                  <a:pt x="18" y="46"/>
                  <a:pt x="18" y="46"/>
                </a:cubicBezTo>
                <a:cubicBezTo>
                  <a:pt x="18" y="46"/>
                  <a:pt x="18" y="46"/>
                  <a:pt x="18" y="46"/>
                </a:cubicBezTo>
                <a:close/>
                <a:moveTo>
                  <a:pt x="1" y="10"/>
                </a:moveTo>
                <a:cubicBezTo>
                  <a:pt x="0" y="34"/>
                  <a:pt x="0" y="34"/>
                  <a:pt x="0" y="34"/>
                </a:cubicBezTo>
                <a:cubicBezTo>
                  <a:pt x="0" y="36"/>
                  <a:pt x="0" y="36"/>
                  <a:pt x="0" y="36"/>
                </a:cubicBezTo>
                <a:cubicBezTo>
                  <a:pt x="0" y="37"/>
                  <a:pt x="0" y="37"/>
                  <a:pt x="0" y="37"/>
                </a:cubicBezTo>
                <a:cubicBezTo>
                  <a:pt x="0" y="37"/>
                  <a:pt x="0" y="37"/>
                  <a:pt x="0" y="37"/>
                </a:cubicBezTo>
                <a:cubicBezTo>
                  <a:pt x="0" y="52"/>
                  <a:pt x="0" y="52"/>
                  <a:pt x="0" y="52"/>
                </a:cubicBezTo>
                <a:cubicBezTo>
                  <a:pt x="2" y="52"/>
                  <a:pt x="2" y="52"/>
                  <a:pt x="2" y="52"/>
                </a:cubicBezTo>
                <a:cubicBezTo>
                  <a:pt x="3" y="53"/>
                  <a:pt x="3" y="53"/>
                  <a:pt x="3" y="53"/>
                </a:cubicBezTo>
                <a:cubicBezTo>
                  <a:pt x="4" y="52"/>
                  <a:pt x="4" y="52"/>
                  <a:pt x="4" y="52"/>
                </a:cubicBezTo>
                <a:cubicBezTo>
                  <a:pt x="7" y="53"/>
                  <a:pt x="7" y="53"/>
                  <a:pt x="7" y="53"/>
                </a:cubicBezTo>
                <a:cubicBezTo>
                  <a:pt x="8" y="52"/>
                  <a:pt x="8" y="52"/>
                  <a:pt x="8" y="52"/>
                </a:cubicBezTo>
                <a:cubicBezTo>
                  <a:pt x="8" y="53"/>
                  <a:pt x="8" y="53"/>
                  <a:pt x="8" y="53"/>
                </a:cubicBezTo>
                <a:cubicBezTo>
                  <a:pt x="9" y="54"/>
                  <a:pt x="9" y="54"/>
                  <a:pt x="9" y="54"/>
                </a:cubicBezTo>
                <a:cubicBezTo>
                  <a:pt x="10" y="54"/>
                  <a:pt x="10" y="54"/>
                  <a:pt x="10" y="54"/>
                </a:cubicBezTo>
                <a:cubicBezTo>
                  <a:pt x="11" y="53"/>
                  <a:pt x="11" y="53"/>
                  <a:pt x="11" y="53"/>
                </a:cubicBezTo>
                <a:cubicBezTo>
                  <a:pt x="13" y="53"/>
                  <a:pt x="13" y="53"/>
                  <a:pt x="13" y="53"/>
                </a:cubicBezTo>
                <a:cubicBezTo>
                  <a:pt x="14" y="52"/>
                  <a:pt x="14" y="52"/>
                  <a:pt x="14" y="52"/>
                </a:cubicBezTo>
                <a:cubicBezTo>
                  <a:pt x="14" y="53"/>
                  <a:pt x="14" y="53"/>
                  <a:pt x="14" y="53"/>
                </a:cubicBezTo>
                <a:cubicBezTo>
                  <a:pt x="15" y="52"/>
                  <a:pt x="15" y="52"/>
                  <a:pt x="15" y="52"/>
                </a:cubicBezTo>
                <a:cubicBezTo>
                  <a:pt x="15" y="50"/>
                  <a:pt x="15" y="50"/>
                  <a:pt x="15" y="50"/>
                </a:cubicBezTo>
                <a:cubicBezTo>
                  <a:pt x="13" y="49"/>
                  <a:pt x="13" y="49"/>
                  <a:pt x="13" y="49"/>
                </a:cubicBezTo>
                <a:cubicBezTo>
                  <a:pt x="11" y="48"/>
                  <a:pt x="11" y="48"/>
                  <a:pt x="11" y="48"/>
                </a:cubicBezTo>
                <a:cubicBezTo>
                  <a:pt x="10" y="48"/>
                  <a:pt x="10" y="48"/>
                  <a:pt x="10" y="48"/>
                </a:cubicBezTo>
                <a:cubicBezTo>
                  <a:pt x="9" y="47"/>
                  <a:pt x="9" y="47"/>
                  <a:pt x="9" y="47"/>
                </a:cubicBezTo>
                <a:cubicBezTo>
                  <a:pt x="8" y="47"/>
                  <a:pt x="8" y="47"/>
                  <a:pt x="8" y="47"/>
                </a:cubicBezTo>
                <a:cubicBezTo>
                  <a:pt x="8" y="47"/>
                  <a:pt x="8" y="47"/>
                  <a:pt x="8" y="47"/>
                </a:cubicBezTo>
                <a:cubicBezTo>
                  <a:pt x="7" y="47"/>
                  <a:pt x="7" y="47"/>
                  <a:pt x="7" y="47"/>
                </a:cubicBezTo>
                <a:cubicBezTo>
                  <a:pt x="7" y="45"/>
                  <a:pt x="7" y="45"/>
                  <a:pt x="7" y="45"/>
                </a:cubicBezTo>
                <a:cubicBezTo>
                  <a:pt x="6" y="44"/>
                  <a:pt x="6" y="44"/>
                  <a:pt x="6" y="44"/>
                </a:cubicBezTo>
                <a:cubicBezTo>
                  <a:pt x="5" y="43"/>
                  <a:pt x="5" y="43"/>
                  <a:pt x="5" y="43"/>
                </a:cubicBezTo>
                <a:cubicBezTo>
                  <a:pt x="4" y="42"/>
                  <a:pt x="4" y="42"/>
                  <a:pt x="4" y="42"/>
                </a:cubicBezTo>
                <a:cubicBezTo>
                  <a:pt x="4" y="42"/>
                  <a:pt x="4" y="42"/>
                  <a:pt x="4" y="42"/>
                </a:cubicBezTo>
                <a:cubicBezTo>
                  <a:pt x="4" y="42"/>
                  <a:pt x="4" y="42"/>
                  <a:pt x="4" y="42"/>
                </a:cubicBezTo>
                <a:cubicBezTo>
                  <a:pt x="5" y="43"/>
                  <a:pt x="5" y="43"/>
                  <a:pt x="5" y="43"/>
                </a:cubicBezTo>
                <a:cubicBezTo>
                  <a:pt x="5" y="43"/>
                  <a:pt x="5" y="43"/>
                  <a:pt x="5" y="43"/>
                </a:cubicBezTo>
                <a:cubicBezTo>
                  <a:pt x="7" y="44"/>
                  <a:pt x="7" y="44"/>
                  <a:pt x="7" y="44"/>
                </a:cubicBezTo>
                <a:cubicBezTo>
                  <a:pt x="7" y="45"/>
                  <a:pt x="7" y="45"/>
                  <a:pt x="7" y="45"/>
                </a:cubicBezTo>
                <a:cubicBezTo>
                  <a:pt x="7" y="46"/>
                  <a:pt x="7" y="46"/>
                  <a:pt x="7" y="46"/>
                </a:cubicBezTo>
                <a:cubicBezTo>
                  <a:pt x="8" y="46"/>
                  <a:pt x="8" y="46"/>
                  <a:pt x="8" y="46"/>
                </a:cubicBezTo>
                <a:cubicBezTo>
                  <a:pt x="9" y="47"/>
                  <a:pt x="9" y="47"/>
                  <a:pt x="9" y="47"/>
                </a:cubicBezTo>
                <a:cubicBezTo>
                  <a:pt x="10" y="48"/>
                  <a:pt x="10" y="48"/>
                  <a:pt x="10" y="48"/>
                </a:cubicBezTo>
                <a:cubicBezTo>
                  <a:pt x="11" y="48"/>
                  <a:pt x="11" y="48"/>
                  <a:pt x="11" y="48"/>
                </a:cubicBezTo>
                <a:cubicBezTo>
                  <a:pt x="12" y="48"/>
                  <a:pt x="12" y="48"/>
                  <a:pt x="12" y="48"/>
                </a:cubicBezTo>
                <a:cubicBezTo>
                  <a:pt x="14" y="47"/>
                  <a:pt x="14" y="47"/>
                  <a:pt x="14" y="47"/>
                </a:cubicBezTo>
                <a:cubicBezTo>
                  <a:pt x="15" y="47"/>
                  <a:pt x="15" y="47"/>
                  <a:pt x="15" y="47"/>
                </a:cubicBezTo>
                <a:cubicBezTo>
                  <a:pt x="16" y="47"/>
                  <a:pt x="16" y="47"/>
                  <a:pt x="16" y="47"/>
                </a:cubicBezTo>
                <a:cubicBezTo>
                  <a:pt x="16" y="46"/>
                  <a:pt x="16" y="46"/>
                  <a:pt x="16" y="46"/>
                </a:cubicBezTo>
                <a:cubicBezTo>
                  <a:pt x="15" y="46"/>
                  <a:pt x="15" y="46"/>
                  <a:pt x="15" y="46"/>
                </a:cubicBezTo>
                <a:cubicBezTo>
                  <a:pt x="15" y="45"/>
                  <a:pt x="15" y="45"/>
                  <a:pt x="15" y="45"/>
                </a:cubicBezTo>
                <a:cubicBezTo>
                  <a:pt x="14" y="45"/>
                  <a:pt x="14" y="45"/>
                  <a:pt x="14" y="45"/>
                </a:cubicBezTo>
                <a:cubicBezTo>
                  <a:pt x="13" y="44"/>
                  <a:pt x="13" y="44"/>
                  <a:pt x="13" y="44"/>
                </a:cubicBezTo>
                <a:cubicBezTo>
                  <a:pt x="14" y="45"/>
                  <a:pt x="14" y="45"/>
                  <a:pt x="14" y="45"/>
                </a:cubicBezTo>
                <a:cubicBezTo>
                  <a:pt x="15" y="44"/>
                  <a:pt x="15" y="44"/>
                  <a:pt x="15" y="44"/>
                </a:cubicBezTo>
                <a:cubicBezTo>
                  <a:pt x="16" y="46"/>
                  <a:pt x="16" y="46"/>
                  <a:pt x="16" y="46"/>
                </a:cubicBezTo>
                <a:cubicBezTo>
                  <a:pt x="17" y="46"/>
                  <a:pt x="17" y="46"/>
                  <a:pt x="17" y="46"/>
                </a:cubicBezTo>
                <a:cubicBezTo>
                  <a:pt x="17" y="45"/>
                  <a:pt x="17" y="45"/>
                  <a:pt x="17" y="45"/>
                </a:cubicBezTo>
                <a:cubicBezTo>
                  <a:pt x="17" y="44"/>
                  <a:pt x="17" y="44"/>
                  <a:pt x="17" y="44"/>
                </a:cubicBezTo>
                <a:cubicBezTo>
                  <a:pt x="17" y="44"/>
                  <a:pt x="17" y="44"/>
                  <a:pt x="17" y="44"/>
                </a:cubicBezTo>
                <a:cubicBezTo>
                  <a:pt x="18" y="43"/>
                  <a:pt x="18" y="43"/>
                  <a:pt x="18" y="43"/>
                </a:cubicBezTo>
                <a:cubicBezTo>
                  <a:pt x="17" y="42"/>
                  <a:pt x="17" y="42"/>
                  <a:pt x="17" y="42"/>
                </a:cubicBezTo>
                <a:cubicBezTo>
                  <a:pt x="17" y="41"/>
                  <a:pt x="17" y="41"/>
                  <a:pt x="17" y="41"/>
                </a:cubicBezTo>
                <a:cubicBezTo>
                  <a:pt x="17" y="41"/>
                  <a:pt x="17" y="41"/>
                  <a:pt x="17" y="41"/>
                </a:cubicBezTo>
                <a:cubicBezTo>
                  <a:pt x="18" y="41"/>
                  <a:pt x="18" y="41"/>
                  <a:pt x="18" y="41"/>
                </a:cubicBezTo>
                <a:cubicBezTo>
                  <a:pt x="18" y="42"/>
                  <a:pt x="18" y="42"/>
                  <a:pt x="18" y="42"/>
                </a:cubicBezTo>
                <a:cubicBezTo>
                  <a:pt x="19" y="43"/>
                  <a:pt x="19" y="43"/>
                  <a:pt x="19" y="43"/>
                </a:cubicBezTo>
                <a:cubicBezTo>
                  <a:pt x="20" y="43"/>
                  <a:pt x="20" y="43"/>
                  <a:pt x="20" y="43"/>
                </a:cubicBezTo>
                <a:cubicBezTo>
                  <a:pt x="20" y="43"/>
                  <a:pt x="20" y="43"/>
                  <a:pt x="20" y="43"/>
                </a:cubicBezTo>
                <a:cubicBezTo>
                  <a:pt x="20" y="42"/>
                  <a:pt x="20" y="42"/>
                  <a:pt x="20" y="42"/>
                </a:cubicBezTo>
                <a:cubicBezTo>
                  <a:pt x="20" y="42"/>
                  <a:pt x="20" y="42"/>
                  <a:pt x="20" y="42"/>
                </a:cubicBezTo>
                <a:cubicBezTo>
                  <a:pt x="21" y="43"/>
                  <a:pt x="21" y="43"/>
                  <a:pt x="21" y="43"/>
                </a:cubicBezTo>
                <a:cubicBezTo>
                  <a:pt x="21" y="43"/>
                  <a:pt x="21" y="43"/>
                  <a:pt x="21" y="43"/>
                </a:cubicBezTo>
                <a:cubicBezTo>
                  <a:pt x="21" y="42"/>
                  <a:pt x="21" y="42"/>
                  <a:pt x="21" y="42"/>
                </a:cubicBezTo>
                <a:cubicBezTo>
                  <a:pt x="21" y="42"/>
                  <a:pt x="21" y="42"/>
                  <a:pt x="21" y="42"/>
                </a:cubicBezTo>
                <a:cubicBezTo>
                  <a:pt x="21" y="40"/>
                  <a:pt x="21" y="40"/>
                  <a:pt x="21" y="40"/>
                </a:cubicBezTo>
                <a:cubicBezTo>
                  <a:pt x="22" y="41"/>
                  <a:pt x="22" y="41"/>
                  <a:pt x="22" y="41"/>
                </a:cubicBezTo>
                <a:cubicBezTo>
                  <a:pt x="23" y="42"/>
                  <a:pt x="23" y="42"/>
                  <a:pt x="23" y="42"/>
                </a:cubicBezTo>
                <a:cubicBezTo>
                  <a:pt x="24" y="42"/>
                  <a:pt x="24" y="42"/>
                  <a:pt x="24" y="42"/>
                </a:cubicBezTo>
                <a:cubicBezTo>
                  <a:pt x="24" y="43"/>
                  <a:pt x="24" y="43"/>
                  <a:pt x="24" y="43"/>
                </a:cubicBezTo>
                <a:cubicBezTo>
                  <a:pt x="25" y="43"/>
                  <a:pt x="25" y="43"/>
                  <a:pt x="25" y="43"/>
                </a:cubicBezTo>
                <a:cubicBezTo>
                  <a:pt x="26" y="43"/>
                  <a:pt x="26" y="43"/>
                  <a:pt x="26" y="43"/>
                </a:cubicBezTo>
                <a:cubicBezTo>
                  <a:pt x="26" y="42"/>
                  <a:pt x="26" y="42"/>
                  <a:pt x="26" y="42"/>
                </a:cubicBezTo>
                <a:cubicBezTo>
                  <a:pt x="26" y="43"/>
                  <a:pt x="26" y="43"/>
                  <a:pt x="26" y="43"/>
                </a:cubicBezTo>
                <a:cubicBezTo>
                  <a:pt x="26" y="44"/>
                  <a:pt x="26" y="44"/>
                  <a:pt x="26" y="44"/>
                </a:cubicBezTo>
                <a:cubicBezTo>
                  <a:pt x="27" y="44"/>
                  <a:pt x="27" y="44"/>
                  <a:pt x="27" y="44"/>
                </a:cubicBezTo>
                <a:cubicBezTo>
                  <a:pt x="28" y="45"/>
                  <a:pt x="28" y="45"/>
                  <a:pt x="28" y="45"/>
                </a:cubicBezTo>
                <a:cubicBezTo>
                  <a:pt x="31" y="46"/>
                  <a:pt x="31" y="46"/>
                  <a:pt x="31" y="46"/>
                </a:cubicBezTo>
                <a:cubicBezTo>
                  <a:pt x="32" y="46"/>
                  <a:pt x="32" y="46"/>
                  <a:pt x="32" y="46"/>
                </a:cubicBezTo>
                <a:cubicBezTo>
                  <a:pt x="33" y="47"/>
                  <a:pt x="33" y="47"/>
                  <a:pt x="33" y="47"/>
                </a:cubicBezTo>
                <a:cubicBezTo>
                  <a:pt x="34" y="49"/>
                  <a:pt x="34" y="49"/>
                  <a:pt x="34" y="49"/>
                </a:cubicBezTo>
                <a:cubicBezTo>
                  <a:pt x="35" y="51"/>
                  <a:pt x="35" y="51"/>
                  <a:pt x="35" y="51"/>
                </a:cubicBezTo>
                <a:cubicBezTo>
                  <a:pt x="35" y="52"/>
                  <a:pt x="35" y="52"/>
                  <a:pt x="35" y="52"/>
                </a:cubicBezTo>
                <a:cubicBezTo>
                  <a:pt x="37" y="52"/>
                  <a:pt x="37" y="52"/>
                  <a:pt x="37" y="52"/>
                </a:cubicBezTo>
                <a:cubicBezTo>
                  <a:pt x="37" y="53"/>
                  <a:pt x="37" y="53"/>
                  <a:pt x="37" y="53"/>
                </a:cubicBezTo>
                <a:cubicBezTo>
                  <a:pt x="38" y="54"/>
                  <a:pt x="38" y="54"/>
                  <a:pt x="38" y="54"/>
                </a:cubicBezTo>
                <a:cubicBezTo>
                  <a:pt x="40" y="57"/>
                  <a:pt x="40" y="57"/>
                  <a:pt x="40" y="57"/>
                </a:cubicBezTo>
                <a:cubicBezTo>
                  <a:pt x="41" y="58"/>
                  <a:pt x="41" y="58"/>
                  <a:pt x="41" y="58"/>
                </a:cubicBezTo>
                <a:cubicBezTo>
                  <a:pt x="42" y="59"/>
                  <a:pt x="42" y="59"/>
                  <a:pt x="42" y="59"/>
                </a:cubicBezTo>
                <a:cubicBezTo>
                  <a:pt x="43" y="59"/>
                  <a:pt x="43" y="59"/>
                  <a:pt x="43" y="59"/>
                </a:cubicBezTo>
                <a:cubicBezTo>
                  <a:pt x="44" y="59"/>
                  <a:pt x="44" y="59"/>
                  <a:pt x="44" y="59"/>
                </a:cubicBezTo>
                <a:cubicBezTo>
                  <a:pt x="45" y="59"/>
                  <a:pt x="45" y="59"/>
                  <a:pt x="45" y="59"/>
                </a:cubicBezTo>
                <a:cubicBezTo>
                  <a:pt x="46" y="60"/>
                  <a:pt x="46" y="60"/>
                  <a:pt x="46" y="60"/>
                </a:cubicBezTo>
                <a:cubicBezTo>
                  <a:pt x="48" y="59"/>
                  <a:pt x="48" y="59"/>
                  <a:pt x="48" y="59"/>
                </a:cubicBezTo>
                <a:cubicBezTo>
                  <a:pt x="49" y="60"/>
                  <a:pt x="49" y="60"/>
                  <a:pt x="49" y="60"/>
                </a:cubicBezTo>
                <a:cubicBezTo>
                  <a:pt x="50" y="60"/>
                  <a:pt x="50" y="60"/>
                  <a:pt x="50" y="60"/>
                </a:cubicBezTo>
                <a:cubicBezTo>
                  <a:pt x="52" y="60"/>
                  <a:pt x="52" y="60"/>
                  <a:pt x="52" y="60"/>
                </a:cubicBezTo>
                <a:cubicBezTo>
                  <a:pt x="53" y="61"/>
                  <a:pt x="53" y="61"/>
                  <a:pt x="53" y="61"/>
                </a:cubicBezTo>
                <a:cubicBezTo>
                  <a:pt x="54" y="60"/>
                  <a:pt x="54" y="60"/>
                  <a:pt x="54" y="60"/>
                </a:cubicBezTo>
                <a:cubicBezTo>
                  <a:pt x="55" y="61"/>
                  <a:pt x="55" y="61"/>
                  <a:pt x="55" y="61"/>
                </a:cubicBezTo>
                <a:cubicBezTo>
                  <a:pt x="56" y="61"/>
                  <a:pt x="56" y="61"/>
                  <a:pt x="56" y="61"/>
                </a:cubicBezTo>
                <a:cubicBezTo>
                  <a:pt x="56" y="61"/>
                  <a:pt x="56" y="61"/>
                  <a:pt x="56" y="61"/>
                </a:cubicBezTo>
                <a:cubicBezTo>
                  <a:pt x="56" y="62"/>
                  <a:pt x="56" y="62"/>
                  <a:pt x="56" y="62"/>
                </a:cubicBezTo>
                <a:cubicBezTo>
                  <a:pt x="57" y="62"/>
                  <a:pt x="57" y="62"/>
                  <a:pt x="57" y="62"/>
                </a:cubicBezTo>
                <a:cubicBezTo>
                  <a:pt x="58" y="63"/>
                  <a:pt x="58" y="63"/>
                  <a:pt x="58" y="63"/>
                </a:cubicBezTo>
                <a:cubicBezTo>
                  <a:pt x="60" y="63"/>
                  <a:pt x="60" y="63"/>
                  <a:pt x="60" y="63"/>
                </a:cubicBezTo>
                <a:cubicBezTo>
                  <a:pt x="60" y="62"/>
                  <a:pt x="60" y="62"/>
                  <a:pt x="60" y="62"/>
                </a:cubicBezTo>
                <a:cubicBezTo>
                  <a:pt x="59" y="61"/>
                  <a:pt x="59" y="61"/>
                  <a:pt x="59" y="61"/>
                </a:cubicBezTo>
                <a:cubicBezTo>
                  <a:pt x="58" y="61"/>
                  <a:pt x="58" y="61"/>
                  <a:pt x="58" y="61"/>
                </a:cubicBezTo>
                <a:cubicBezTo>
                  <a:pt x="58" y="60"/>
                  <a:pt x="58" y="60"/>
                  <a:pt x="58" y="60"/>
                </a:cubicBezTo>
                <a:cubicBezTo>
                  <a:pt x="59" y="60"/>
                  <a:pt x="59" y="60"/>
                  <a:pt x="59" y="60"/>
                </a:cubicBezTo>
                <a:cubicBezTo>
                  <a:pt x="60" y="61"/>
                  <a:pt x="60" y="61"/>
                  <a:pt x="60" y="61"/>
                </a:cubicBezTo>
                <a:cubicBezTo>
                  <a:pt x="61" y="60"/>
                  <a:pt x="61" y="60"/>
                  <a:pt x="61" y="60"/>
                </a:cubicBezTo>
                <a:cubicBezTo>
                  <a:pt x="59" y="59"/>
                  <a:pt x="59" y="59"/>
                  <a:pt x="59" y="59"/>
                </a:cubicBezTo>
                <a:cubicBezTo>
                  <a:pt x="56" y="59"/>
                  <a:pt x="56" y="59"/>
                  <a:pt x="56" y="59"/>
                </a:cubicBezTo>
                <a:cubicBezTo>
                  <a:pt x="55" y="58"/>
                  <a:pt x="55" y="58"/>
                  <a:pt x="55" y="58"/>
                </a:cubicBezTo>
                <a:cubicBezTo>
                  <a:pt x="54" y="57"/>
                  <a:pt x="54" y="57"/>
                  <a:pt x="54" y="57"/>
                </a:cubicBezTo>
                <a:cubicBezTo>
                  <a:pt x="56" y="57"/>
                  <a:pt x="56" y="57"/>
                  <a:pt x="56" y="57"/>
                </a:cubicBezTo>
                <a:cubicBezTo>
                  <a:pt x="56" y="57"/>
                  <a:pt x="56" y="57"/>
                  <a:pt x="56" y="57"/>
                </a:cubicBezTo>
                <a:cubicBezTo>
                  <a:pt x="57" y="56"/>
                  <a:pt x="57" y="56"/>
                  <a:pt x="57" y="56"/>
                </a:cubicBezTo>
                <a:cubicBezTo>
                  <a:pt x="56" y="56"/>
                  <a:pt x="56" y="56"/>
                  <a:pt x="56" y="56"/>
                </a:cubicBezTo>
                <a:cubicBezTo>
                  <a:pt x="54" y="56"/>
                  <a:pt x="54" y="56"/>
                  <a:pt x="54" y="56"/>
                </a:cubicBezTo>
                <a:cubicBezTo>
                  <a:pt x="52" y="56"/>
                  <a:pt x="52" y="56"/>
                  <a:pt x="52" y="56"/>
                </a:cubicBezTo>
                <a:cubicBezTo>
                  <a:pt x="51" y="55"/>
                  <a:pt x="51" y="55"/>
                  <a:pt x="51" y="55"/>
                </a:cubicBezTo>
                <a:cubicBezTo>
                  <a:pt x="51" y="54"/>
                  <a:pt x="51" y="54"/>
                  <a:pt x="51" y="54"/>
                </a:cubicBezTo>
                <a:cubicBezTo>
                  <a:pt x="52" y="53"/>
                  <a:pt x="52" y="53"/>
                  <a:pt x="52" y="53"/>
                </a:cubicBezTo>
                <a:cubicBezTo>
                  <a:pt x="52" y="52"/>
                  <a:pt x="52" y="52"/>
                  <a:pt x="52" y="52"/>
                </a:cubicBezTo>
                <a:cubicBezTo>
                  <a:pt x="52" y="52"/>
                  <a:pt x="52" y="52"/>
                  <a:pt x="52" y="52"/>
                </a:cubicBezTo>
                <a:cubicBezTo>
                  <a:pt x="51" y="52"/>
                  <a:pt x="51" y="52"/>
                  <a:pt x="51" y="52"/>
                </a:cubicBezTo>
                <a:cubicBezTo>
                  <a:pt x="50" y="52"/>
                  <a:pt x="50" y="52"/>
                  <a:pt x="50" y="52"/>
                </a:cubicBezTo>
                <a:cubicBezTo>
                  <a:pt x="49" y="52"/>
                  <a:pt x="49" y="52"/>
                  <a:pt x="49" y="52"/>
                </a:cubicBezTo>
                <a:cubicBezTo>
                  <a:pt x="49" y="52"/>
                  <a:pt x="49" y="52"/>
                  <a:pt x="49" y="52"/>
                </a:cubicBezTo>
                <a:cubicBezTo>
                  <a:pt x="47" y="51"/>
                  <a:pt x="47" y="51"/>
                  <a:pt x="47" y="51"/>
                </a:cubicBezTo>
                <a:cubicBezTo>
                  <a:pt x="47" y="49"/>
                  <a:pt x="47" y="49"/>
                  <a:pt x="47" y="49"/>
                </a:cubicBezTo>
                <a:cubicBezTo>
                  <a:pt x="46" y="48"/>
                  <a:pt x="46" y="48"/>
                  <a:pt x="46" y="48"/>
                </a:cubicBezTo>
                <a:cubicBezTo>
                  <a:pt x="45" y="46"/>
                  <a:pt x="45" y="46"/>
                  <a:pt x="45" y="46"/>
                </a:cubicBezTo>
                <a:cubicBezTo>
                  <a:pt x="45" y="45"/>
                  <a:pt x="45" y="45"/>
                  <a:pt x="45" y="45"/>
                </a:cubicBezTo>
                <a:cubicBezTo>
                  <a:pt x="44" y="44"/>
                  <a:pt x="44" y="44"/>
                  <a:pt x="44" y="44"/>
                </a:cubicBezTo>
                <a:cubicBezTo>
                  <a:pt x="43" y="44"/>
                  <a:pt x="43" y="44"/>
                  <a:pt x="43" y="44"/>
                </a:cubicBezTo>
                <a:cubicBezTo>
                  <a:pt x="42" y="44"/>
                  <a:pt x="42" y="44"/>
                  <a:pt x="42" y="44"/>
                </a:cubicBezTo>
                <a:cubicBezTo>
                  <a:pt x="41" y="43"/>
                  <a:pt x="41" y="43"/>
                  <a:pt x="41" y="43"/>
                </a:cubicBezTo>
                <a:cubicBezTo>
                  <a:pt x="40" y="41"/>
                  <a:pt x="40" y="41"/>
                  <a:pt x="40" y="41"/>
                </a:cubicBezTo>
                <a:cubicBezTo>
                  <a:pt x="40" y="40"/>
                  <a:pt x="40" y="40"/>
                  <a:pt x="40" y="40"/>
                </a:cubicBezTo>
                <a:cubicBezTo>
                  <a:pt x="39" y="39"/>
                  <a:pt x="39" y="39"/>
                  <a:pt x="39" y="39"/>
                </a:cubicBezTo>
                <a:cubicBezTo>
                  <a:pt x="38" y="38"/>
                  <a:pt x="38" y="38"/>
                  <a:pt x="38" y="38"/>
                </a:cubicBezTo>
                <a:cubicBezTo>
                  <a:pt x="38" y="37"/>
                  <a:pt x="38" y="37"/>
                  <a:pt x="38" y="37"/>
                </a:cubicBezTo>
                <a:cubicBezTo>
                  <a:pt x="41" y="37"/>
                  <a:pt x="41" y="37"/>
                  <a:pt x="41" y="37"/>
                </a:cubicBezTo>
                <a:cubicBezTo>
                  <a:pt x="43" y="36"/>
                  <a:pt x="43" y="36"/>
                  <a:pt x="43" y="36"/>
                </a:cubicBezTo>
                <a:cubicBezTo>
                  <a:pt x="44" y="35"/>
                  <a:pt x="44" y="35"/>
                  <a:pt x="44" y="35"/>
                </a:cubicBezTo>
                <a:cubicBezTo>
                  <a:pt x="43" y="34"/>
                  <a:pt x="43" y="34"/>
                  <a:pt x="43" y="34"/>
                </a:cubicBezTo>
                <a:cubicBezTo>
                  <a:pt x="42" y="32"/>
                  <a:pt x="42" y="32"/>
                  <a:pt x="42" y="32"/>
                </a:cubicBezTo>
                <a:cubicBezTo>
                  <a:pt x="40" y="32"/>
                  <a:pt x="40" y="32"/>
                  <a:pt x="40" y="32"/>
                </a:cubicBezTo>
                <a:cubicBezTo>
                  <a:pt x="40" y="32"/>
                  <a:pt x="40" y="32"/>
                  <a:pt x="40" y="32"/>
                </a:cubicBezTo>
                <a:cubicBezTo>
                  <a:pt x="38" y="31"/>
                  <a:pt x="38" y="31"/>
                  <a:pt x="38" y="31"/>
                </a:cubicBezTo>
                <a:cubicBezTo>
                  <a:pt x="36" y="30"/>
                  <a:pt x="36" y="30"/>
                  <a:pt x="36" y="30"/>
                </a:cubicBezTo>
                <a:cubicBezTo>
                  <a:pt x="35" y="29"/>
                  <a:pt x="35" y="29"/>
                  <a:pt x="35" y="29"/>
                </a:cubicBezTo>
                <a:cubicBezTo>
                  <a:pt x="34" y="29"/>
                  <a:pt x="34" y="29"/>
                  <a:pt x="34" y="29"/>
                </a:cubicBezTo>
                <a:cubicBezTo>
                  <a:pt x="31" y="28"/>
                  <a:pt x="31" y="28"/>
                  <a:pt x="31" y="28"/>
                </a:cubicBezTo>
                <a:cubicBezTo>
                  <a:pt x="30" y="27"/>
                  <a:pt x="30" y="27"/>
                  <a:pt x="30" y="27"/>
                </a:cubicBezTo>
                <a:cubicBezTo>
                  <a:pt x="31" y="26"/>
                  <a:pt x="31" y="26"/>
                  <a:pt x="31" y="26"/>
                </a:cubicBezTo>
                <a:cubicBezTo>
                  <a:pt x="31" y="25"/>
                  <a:pt x="31" y="25"/>
                  <a:pt x="31" y="25"/>
                </a:cubicBezTo>
                <a:cubicBezTo>
                  <a:pt x="31" y="24"/>
                  <a:pt x="31" y="24"/>
                  <a:pt x="31" y="24"/>
                </a:cubicBezTo>
                <a:cubicBezTo>
                  <a:pt x="28" y="21"/>
                  <a:pt x="28" y="21"/>
                  <a:pt x="28" y="21"/>
                </a:cubicBezTo>
                <a:cubicBezTo>
                  <a:pt x="28" y="22"/>
                  <a:pt x="28" y="22"/>
                  <a:pt x="28" y="22"/>
                </a:cubicBezTo>
                <a:cubicBezTo>
                  <a:pt x="27" y="22"/>
                  <a:pt x="27" y="22"/>
                  <a:pt x="27" y="22"/>
                </a:cubicBezTo>
                <a:cubicBezTo>
                  <a:pt x="27" y="21"/>
                  <a:pt x="27" y="21"/>
                  <a:pt x="27" y="21"/>
                </a:cubicBezTo>
                <a:cubicBezTo>
                  <a:pt x="25" y="20"/>
                  <a:pt x="25" y="20"/>
                  <a:pt x="25" y="20"/>
                </a:cubicBezTo>
                <a:cubicBezTo>
                  <a:pt x="25" y="19"/>
                  <a:pt x="25" y="19"/>
                  <a:pt x="25" y="19"/>
                </a:cubicBezTo>
                <a:cubicBezTo>
                  <a:pt x="24" y="19"/>
                  <a:pt x="24" y="19"/>
                  <a:pt x="24" y="19"/>
                </a:cubicBezTo>
                <a:cubicBezTo>
                  <a:pt x="23" y="18"/>
                  <a:pt x="23" y="18"/>
                  <a:pt x="23" y="18"/>
                </a:cubicBezTo>
                <a:cubicBezTo>
                  <a:pt x="22" y="18"/>
                  <a:pt x="22" y="18"/>
                  <a:pt x="22" y="18"/>
                </a:cubicBezTo>
                <a:cubicBezTo>
                  <a:pt x="21" y="18"/>
                  <a:pt x="21" y="18"/>
                  <a:pt x="21" y="18"/>
                </a:cubicBezTo>
                <a:cubicBezTo>
                  <a:pt x="20" y="17"/>
                  <a:pt x="20" y="17"/>
                  <a:pt x="20" y="17"/>
                </a:cubicBezTo>
                <a:cubicBezTo>
                  <a:pt x="19" y="16"/>
                  <a:pt x="19" y="16"/>
                  <a:pt x="19" y="16"/>
                </a:cubicBezTo>
                <a:cubicBezTo>
                  <a:pt x="17" y="16"/>
                  <a:pt x="17" y="16"/>
                  <a:pt x="17" y="16"/>
                </a:cubicBezTo>
                <a:cubicBezTo>
                  <a:pt x="15" y="15"/>
                  <a:pt x="15" y="15"/>
                  <a:pt x="15" y="15"/>
                </a:cubicBezTo>
                <a:cubicBezTo>
                  <a:pt x="12" y="14"/>
                  <a:pt x="12" y="14"/>
                  <a:pt x="12" y="14"/>
                </a:cubicBezTo>
                <a:cubicBezTo>
                  <a:pt x="10" y="14"/>
                  <a:pt x="10" y="14"/>
                  <a:pt x="10" y="14"/>
                </a:cubicBezTo>
                <a:cubicBezTo>
                  <a:pt x="10" y="13"/>
                  <a:pt x="10" y="13"/>
                  <a:pt x="10" y="13"/>
                </a:cubicBezTo>
                <a:cubicBezTo>
                  <a:pt x="9" y="13"/>
                  <a:pt x="9" y="13"/>
                  <a:pt x="9" y="13"/>
                </a:cubicBezTo>
                <a:cubicBezTo>
                  <a:pt x="8" y="13"/>
                  <a:pt x="8" y="13"/>
                  <a:pt x="8" y="13"/>
                </a:cubicBezTo>
                <a:cubicBezTo>
                  <a:pt x="6" y="12"/>
                  <a:pt x="6" y="12"/>
                  <a:pt x="6" y="12"/>
                </a:cubicBezTo>
                <a:cubicBezTo>
                  <a:pt x="5" y="12"/>
                  <a:pt x="5" y="12"/>
                  <a:pt x="5" y="12"/>
                </a:cubicBezTo>
                <a:cubicBezTo>
                  <a:pt x="4" y="11"/>
                  <a:pt x="4" y="11"/>
                  <a:pt x="4" y="11"/>
                </a:cubicBezTo>
                <a:cubicBezTo>
                  <a:pt x="2" y="10"/>
                  <a:pt x="2" y="10"/>
                  <a:pt x="2" y="10"/>
                </a:cubicBezTo>
                <a:lnTo>
                  <a:pt x="1" y="1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6" name="Freeform 24">
            <a:extLst>
              <a:ext uri="{FF2B5EF4-FFF2-40B4-BE49-F238E27FC236}">
                <a16:creationId xmlns:a16="http://schemas.microsoft.com/office/drawing/2014/main" id="{8EC4C9CB-57F1-766C-15C0-FBD3D101837B}"/>
              </a:ext>
            </a:extLst>
          </p:cNvPr>
          <p:cNvSpPr>
            <a:spLocks noEditPoints="1"/>
          </p:cNvSpPr>
          <p:nvPr userDrawn="1"/>
        </p:nvSpPr>
        <p:spPr bwMode="auto">
          <a:xfrm>
            <a:off x="20471065" y="8095533"/>
            <a:ext cx="625437" cy="933450"/>
          </a:xfrm>
          <a:custGeom>
            <a:avLst/>
            <a:gdLst>
              <a:gd name="T0" fmla="*/ 24 w 63"/>
              <a:gd name="T1" fmla="*/ 1 h 94"/>
              <a:gd name="T2" fmla="*/ 32 w 63"/>
              <a:gd name="T3" fmla="*/ 37 h 94"/>
              <a:gd name="T4" fmla="*/ 40 w 63"/>
              <a:gd name="T5" fmla="*/ 38 h 94"/>
              <a:gd name="T6" fmla="*/ 44 w 63"/>
              <a:gd name="T7" fmla="*/ 44 h 94"/>
              <a:gd name="T8" fmla="*/ 43 w 63"/>
              <a:gd name="T9" fmla="*/ 46 h 94"/>
              <a:gd name="T10" fmla="*/ 34 w 63"/>
              <a:gd name="T11" fmla="*/ 39 h 94"/>
              <a:gd name="T12" fmla="*/ 26 w 63"/>
              <a:gd name="T13" fmla="*/ 41 h 94"/>
              <a:gd name="T14" fmla="*/ 22 w 63"/>
              <a:gd name="T15" fmla="*/ 35 h 94"/>
              <a:gd name="T16" fmla="*/ 18 w 63"/>
              <a:gd name="T17" fmla="*/ 32 h 94"/>
              <a:gd name="T18" fmla="*/ 17 w 63"/>
              <a:gd name="T19" fmla="*/ 23 h 94"/>
              <a:gd name="T20" fmla="*/ 24 w 63"/>
              <a:gd name="T21" fmla="*/ 7 h 94"/>
              <a:gd name="T22" fmla="*/ 29 w 63"/>
              <a:gd name="T23" fmla="*/ 12 h 94"/>
              <a:gd name="T24" fmla="*/ 29 w 63"/>
              <a:gd name="T25" fmla="*/ 23 h 94"/>
              <a:gd name="T26" fmla="*/ 30 w 63"/>
              <a:gd name="T27" fmla="*/ 35 h 94"/>
              <a:gd name="T28" fmla="*/ 31 w 63"/>
              <a:gd name="T29" fmla="*/ 30 h 94"/>
              <a:gd name="T30" fmla="*/ 21 w 63"/>
              <a:gd name="T31" fmla="*/ 42 h 94"/>
              <a:gd name="T32" fmla="*/ 28 w 63"/>
              <a:gd name="T33" fmla="*/ 48 h 94"/>
              <a:gd name="T34" fmla="*/ 44 w 63"/>
              <a:gd name="T35" fmla="*/ 37 h 94"/>
              <a:gd name="T36" fmla="*/ 31 w 63"/>
              <a:gd name="T37" fmla="*/ 42 h 94"/>
              <a:gd name="T38" fmla="*/ 33 w 63"/>
              <a:gd name="T39" fmla="*/ 49 h 94"/>
              <a:gd name="T40" fmla="*/ 38 w 63"/>
              <a:gd name="T41" fmla="*/ 43 h 94"/>
              <a:gd name="T42" fmla="*/ 41 w 63"/>
              <a:gd name="T43" fmla="*/ 47 h 94"/>
              <a:gd name="T44" fmla="*/ 41 w 63"/>
              <a:gd name="T45" fmla="*/ 48 h 94"/>
              <a:gd name="T46" fmla="*/ 32 w 63"/>
              <a:gd name="T47" fmla="*/ 62 h 94"/>
              <a:gd name="T48" fmla="*/ 34 w 63"/>
              <a:gd name="T49" fmla="*/ 53 h 94"/>
              <a:gd name="T50" fmla="*/ 38 w 63"/>
              <a:gd name="T51" fmla="*/ 57 h 94"/>
              <a:gd name="T52" fmla="*/ 37 w 63"/>
              <a:gd name="T53" fmla="*/ 61 h 94"/>
              <a:gd name="T54" fmla="*/ 45 w 63"/>
              <a:gd name="T55" fmla="*/ 61 h 94"/>
              <a:gd name="T56" fmla="*/ 41 w 63"/>
              <a:gd name="T57" fmla="*/ 68 h 94"/>
              <a:gd name="T58" fmla="*/ 38 w 63"/>
              <a:gd name="T59" fmla="*/ 61 h 94"/>
              <a:gd name="T60" fmla="*/ 41 w 63"/>
              <a:gd name="T61" fmla="*/ 70 h 94"/>
              <a:gd name="T62" fmla="*/ 48 w 63"/>
              <a:gd name="T63" fmla="*/ 64 h 94"/>
              <a:gd name="T64" fmla="*/ 53 w 63"/>
              <a:gd name="T65" fmla="*/ 65 h 94"/>
              <a:gd name="T66" fmla="*/ 48 w 63"/>
              <a:gd name="T67" fmla="*/ 55 h 94"/>
              <a:gd name="T68" fmla="*/ 56 w 63"/>
              <a:gd name="T69" fmla="*/ 57 h 94"/>
              <a:gd name="T70" fmla="*/ 51 w 63"/>
              <a:gd name="T71" fmla="*/ 47 h 94"/>
              <a:gd name="T72" fmla="*/ 51 w 63"/>
              <a:gd name="T73" fmla="*/ 54 h 94"/>
              <a:gd name="T74" fmla="*/ 47 w 63"/>
              <a:gd name="T75" fmla="*/ 57 h 94"/>
              <a:gd name="T76" fmla="*/ 53 w 63"/>
              <a:gd name="T77" fmla="*/ 63 h 94"/>
              <a:gd name="T78" fmla="*/ 56 w 63"/>
              <a:gd name="T79" fmla="*/ 59 h 94"/>
              <a:gd name="T80" fmla="*/ 56 w 63"/>
              <a:gd name="T81" fmla="*/ 62 h 94"/>
              <a:gd name="T82" fmla="*/ 58 w 63"/>
              <a:gd name="T83" fmla="*/ 67 h 94"/>
              <a:gd name="T84" fmla="*/ 34 w 63"/>
              <a:gd name="T85" fmla="*/ 81 h 94"/>
              <a:gd name="T86" fmla="*/ 43 w 63"/>
              <a:gd name="T87" fmla="*/ 73 h 94"/>
              <a:gd name="T88" fmla="*/ 51 w 63"/>
              <a:gd name="T89" fmla="*/ 74 h 94"/>
              <a:gd name="T90" fmla="*/ 54 w 63"/>
              <a:gd name="T91" fmla="*/ 66 h 94"/>
              <a:gd name="T92" fmla="*/ 59 w 63"/>
              <a:gd name="T93" fmla="*/ 74 h 94"/>
              <a:gd name="T94" fmla="*/ 62 w 63"/>
              <a:gd name="T95" fmla="*/ 85 h 94"/>
              <a:gd name="T96" fmla="*/ 60 w 63"/>
              <a:gd name="T97" fmla="*/ 86 h 94"/>
              <a:gd name="T98" fmla="*/ 56 w 63"/>
              <a:gd name="T99" fmla="*/ 94 h 94"/>
              <a:gd name="T100" fmla="*/ 49 w 63"/>
              <a:gd name="T101" fmla="*/ 91 h 94"/>
              <a:gd name="T102" fmla="*/ 47 w 63"/>
              <a:gd name="T103" fmla="*/ 83 h 94"/>
              <a:gd name="T104" fmla="*/ 41 w 63"/>
              <a:gd name="T105" fmla="*/ 82 h 94"/>
              <a:gd name="T106" fmla="*/ 37 w 63"/>
              <a:gd name="T107" fmla="*/ 80 h 94"/>
              <a:gd name="T108" fmla="*/ 35 w 63"/>
              <a:gd name="T109" fmla="*/ 87 h 94"/>
              <a:gd name="T110" fmla="*/ 20 w 63"/>
              <a:gd name="T111" fmla="*/ 51 h 94"/>
              <a:gd name="T112" fmla="*/ 17 w 63"/>
              <a:gd name="T113" fmla="*/ 52 h 94"/>
              <a:gd name="T114" fmla="*/ 4 w 63"/>
              <a:gd name="T115" fmla="*/ 74 h 94"/>
              <a:gd name="T116" fmla="*/ 14 w 63"/>
              <a:gd name="T117" fmla="*/ 65 h 94"/>
              <a:gd name="T118" fmla="*/ 15 w 63"/>
              <a:gd name="T119" fmla="*/ 60 h 94"/>
              <a:gd name="T120" fmla="*/ 6 w 63"/>
              <a:gd name="T121" fmla="*/ 70 h 94"/>
              <a:gd name="T122" fmla="*/ 3 w 63"/>
              <a:gd name="T123" fmla="*/ 7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 h="94">
                <a:moveTo>
                  <a:pt x="23" y="4"/>
                </a:moveTo>
                <a:cubicBezTo>
                  <a:pt x="24" y="4"/>
                  <a:pt x="24" y="4"/>
                  <a:pt x="24" y="4"/>
                </a:cubicBezTo>
                <a:cubicBezTo>
                  <a:pt x="23" y="5"/>
                  <a:pt x="23" y="5"/>
                  <a:pt x="23" y="5"/>
                </a:cubicBezTo>
                <a:cubicBezTo>
                  <a:pt x="23" y="4"/>
                  <a:pt x="23" y="4"/>
                  <a:pt x="23" y="4"/>
                </a:cubicBezTo>
                <a:close/>
                <a:moveTo>
                  <a:pt x="22" y="2"/>
                </a:moveTo>
                <a:cubicBezTo>
                  <a:pt x="23" y="2"/>
                  <a:pt x="23" y="2"/>
                  <a:pt x="23" y="2"/>
                </a:cubicBezTo>
                <a:cubicBezTo>
                  <a:pt x="22" y="3"/>
                  <a:pt x="22" y="3"/>
                  <a:pt x="22" y="3"/>
                </a:cubicBezTo>
                <a:cubicBezTo>
                  <a:pt x="22" y="2"/>
                  <a:pt x="22" y="2"/>
                  <a:pt x="22" y="2"/>
                </a:cubicBezTo>
                <a:close/>
                <a:moveTo>
                  <a:pt x="24" y="0"/>
                </a:moveTo>
                <a:cubicBezTo>
                  <a:pt x="24" y="1"/>
                  <a:pt x="24" y="1"/>
                  <a:pt x="24" y="1"/>
                </a:cubicBezTo>
                <a:cubicBezTo>
                  <a:pt x="24" y="1"/>
                  <a:pt x="24" y="1"/>
                  <a:pt x="24" y="1"/>
                </a:cubicBezTo>
                <a:cubicBezTo>
                  <a:pt x="24" y="0"/>
                  <a:pt x="24" y="0"/>
                  <a:pt x="24" y="0"/>
                </a:cubicBezTo>
                <a:close/>
                <a:moveTo>
                  <a:pt x="27" y="3"/>
                </a:moveTo>
                <a:cubicBezTo>
                  <a:pt x="26" y="4"/>
                  <a:pt x="26" y="4"/>
                  <a:pt x="26" y="4"/>
                </a:cubicBezTo>
                <a:cubicBezTo>
                  <a:pt x="27" y="5"/>
                  <a:pt x="27" y="5"/>
                  <a:pt x="27" y="5"/>
                </a:cubicBezTo>
                <a:cubicBezTo>
                  <a:pt x="28" y="4"/>
                  <a:pt x="28" y="4"/>
                  <a:pt x="28" y="4"/>
                </a:cubicBezTo>
                <a:cubicBezTo>
                  <a:pt x="28" y="4"/>
                  <a:pt x="27" y="3"/>
                  <a:pt x="27" y="3"/>
                </a:cubicBezTo>
                <a:close/>
                <a:moveTo>
                  <a:pt x="28" y="35"/>
                </a:moveTo>
                <a:cubicBezTo>
                  <a:pt x="29" y="36"/>
                  <a:pt x="29" y="36"/>
                  <a:pt x="29" y="36"/>
                </a:cubicBezTo>
                <a:cubicBezTo>
                  <a:pt x="29" y="37"/>
                  <a:pt x="29" y="37"/>
                  <a:pt x="29" y="37"/>
                </a:cubicBezTo>
                <a:cubicBezTo>
                  <a:pt x="31" y="37"/>
                  <a:pt x="31" y="37"/>
                  <a:pt x="31" y="37"/>
                </a:cubicBezTo>
                <a:cubicBezTo>
                  <a:pt x="32" y="37"/>
                  <a:pt x="32" y="37"/>
                  <a:pt x="32" y="37"/>
                </a:cubicBezTo>
                <a:cubicBezTo>
                  <a:pt x="32" y="36"/>
                  <a:pt x="32" y="36"/>
                  <a:pt x="32" y="36"/>
                </a:cubicBezTo>
                <a:cubicBezTo>
                  <a:pt x="34" y="35"/>
                  <a:pt x="34" y="35"/>
                  <a:pt x="34" y="35"/>
                </a:cubicBezTo>
                <a:cubicBezTo>
                  <a:pt x="35" y="35"/>
                  <a:pt x="35" y="35"/>
                  <a:pt x="35" y="35"/>
                </a:cubicBezTo>
                <a:cubicBezTo>
                  <a:pt x="37" y="36"/>
                  <a:pt x="37" y="36"/>
                  <a:pt x="37" y="36"/>
                </a:cubicBezTo>
                <a:cubicBezTo>
                  <a:pt x="38" y="37"/>
                  <a:pt x="38" y="37"/>
                  <a:pt x="38" y="37"/>
                </a:cubicBezTo>
                <a:cubicBezTo>
                  <a:pt x="37" y="39"/>
                  <a:pt x="37" y="39"/>
                  <a:pt x="37" y="39"/>
                </a:cubicBezTo>
                <a:cubicBezTo>
                  <a:pt x="38" y="39"/>
                  <a:pt x="38" y="39"/>
                  <a:pt x="38" y="39"/>
                </a:cubicBezTo>
                <a:cubicBezTo>
                  <a:pt x="39" y="39"/>
                  <a:pt x="39" y="39"/>
                  <a:pt x="39" y="39"/>
                </a:cubicBezTo>
                <a:cubicBezTo>
                  <a:pt x="39" y="38"/>
                  <a:pt x="39" y="38"/>
                  <a:pt x="39" y="38"/>
                </a:cubicBezTo>
                <a:cubicBezTo>
                  <a:pt x="39" y="37"/>
                  <a:pt x="39" y="37"/>
                  <a:pt x="39" y="37"/>
                </a:cubicBezTo>
                <a:cubicBezTo>
                  <a:pt x="40" y="38"/>
                  <a:pt x="40" y="38"/>
                  <a:pt x="40" y="38"/>
                </a:cubicBezTo>
                <a:cubicBezTo>
                  <a:pt x="41" y="38"/>
                  <a:pt x="41" y="38"/>
                  <a:pt x="41" y="38"/>
                </a:cubicBezTo>
                <a:cubicBezTo>
                  <a:pt x="43" y="39"/>
                  <a:pt x="43" y="39"/>
                  <a:pt x="43" y="39"/>
                </a:cubicBezTo>
                <a:cubicBezTo>
                  <a:pt x="43" y="40"/>
                  <a:pt x="43" y="40"/>
                  <a:pt x="43" y="40"/>
                </a:cubicBezTo>
                <a:cubicBezTo>
                  <a:pt x="42" y="40"/>
                  <a:pt x="42" y="40"/>
                  <a:pt x="42" y="40"/>
                </a:cubicBezTo>
                <a:cubicBezTo>
                  <a:pt x="41" y="39"/>
                  <a:pt x="41" y="39"/>
                  <a:pt x="41" y="39"/>
                </a:cubicBezTo>
                <a:cubicBezTo>
                  <a:pt x="41" y="40"/>
                  <a:pt x="41" y="40"/>
                  <a:pt x="41" y="40"/>
                </a:cubicBezTo>
                <a:cubicBezTo>
                  <a:pt x="41" y="41"/>
                  <a:pt x="41" y="41"/>
                  <a:pt x="41" y="41"/>
                </a:cubicBezTo>
                <a:cubicBezTo>
                  <a:pt x="42" y="43"/>
                  <a:pt x="42" y="43"/>
                  <a:pt x="42" y="43"/>
                </a:cubicBezTo>
                <a:cubicBezTo>
                  <a:pt x="42" y="44"/>
                  <a:pt x="42" y="44"/>
                  <a:pt x="42" y="44"/>
                </a:cubicBezTo>
                <a:cubicBezTo>
                  <a:pt x="43" y="44"/>
                  <a:pt x="43" y="44"/>
                  <a:pt x="43" y="44"/>
                </a:cubicBezTo>
                <a:cubicBezTo>
                  <a:pt x="44" y="44"/>
                  <a:pt x="44" y="44"/>
                  <a:pt x="44" y="44"/>
                </a:cubicBezTo>
                <a:cubicBezTo>
                  <a:pt x="45" y="44"/>
                  <a:pt x="45" y="44"/>
                  <a:pt x="45" y="44"/>
                </a:cubicBezTo>
                <a:cubicBezTo>
                  <a:pt x="46" y="45"/>
                  <a:pt x="46" y="45"/>
                  <a:pt x="46" y="45"/>
                </a:cubicBezTo>
                <a:cubicBezTo>
                  <a:pt x="45" y="46"/>
                  <a:pt x="45" y="46"/>
                  <a:pt x="45" y="46"/>
                </a:cubicBezTo>
                <a:cubicBezTo>
                  <a:pt x="45" y="46"/>
                  <a:pt x="45" y="46"/>
                  <a:pt x="45" y="46"/>
                </a:cubicBezTo>
                <a:cubicBezTo>
                  <a:pt x="45" y="48"/>
                  <a:pt x="45" y="48"/>
                  <a:pt x="45" y="48"/>
                </a:cubicBezTo>
                <a:cubicBezTo>
                  <a:pt x="44" y="48"/>
                  <a:pt x="44" y="48"/>
                  <a:pt x="44" y="48"/>
                </a:cubicBezTo>
                <a:cubicBezTo>
                  <a:pt x="43" y="47"/>
                  <a:pt x="43" y="47"/>
                  <a:pt x="43" y="47"/>
                </a:cubicBezTo>
                <a:cubicBezTo>
                  <a:pt x="44" y="46"/>
                  <a:pt x="44" y="46"/>
                  <a:pt x="44" y="46"/>
                </a:cubicBezTo>
                <a:cubicBezTo>
                  <a:pt x="44" y="45"/>
                  <a:pt x="44" y="45"/>
                  <a:pt x="44" y="45"/>
                </a:cubicBezTo>
                <a:cubicBezTo>
                  <a:pt x="43" y="45"/>
                  <a:pt x="43" y="45"/>
                  <a:pt x="43" y="45"/>
                </a:cubicBezTo>
                <a:cubicBezTo>
                  <a:pt x="43" y="46"/>
                  <a:pt x="43" y="46"/>
                  <a:pt x="43" y="46"/>
                </a:cubicBezTo>
                <a:cubicBezTo>
                  <a:pt x="42" y="46"/>
                  <a:pt x="42" y="46"/>
                  <a:pt x="42" y="46"/>
                </a:cubicBezTo>
                <a:cubicBezTo>
                  <a:pt x="40" y="44"/>
                  <a:pt x="40" y="44"/>
                  <a:pt x="40" y="44"/>
                </a:cubicBezTo>
                <a:cubicBezTo>
                  <a:pt x="39" y="44"/>
                  <a:pt x="39" y="44"/>
                  <a:pt x="39" y="44"/>
                </a:cubicBezTo>
                <a:cubicBezTo>
                  <a:pt x="39" y="43"/>
                  <a:pt x="39" y="43"/>
                  <a:pt x="39" y="43"/>
                </a:cubicBezTo>
                <a:cubicBezTo>
                  <a:pt x="39" y="41"/>
                  <a:pt x="39" y="41"/>
                  <a:pt x="39" y="41"/>
                </a:cubicBezTo>
                <a:cubicBezTo>
                  <a:pt x="37" y="41"/>
                  <a:pt x="37" y="41"/>
                  <a:pt x="37" y="41"/>
                </a:cubicBezTo>
                <a:cubicBezTo>
                  <a:pt x="36" y="39"/>
                  <a:pt x="36" y="39"/>
                  <a:pt x="36" y="39"/>
                </a:cubicBezTo>
                <a:cubicBezTo>
                  <a:pt x="35" y="39"/>
                  <a:pt x="35" y="39"/>
                  <a:pt x="35" y="39"/>
                </a:cubicBezTo>
                <a:cubicBezTo>
                  <a:pt x="35" y="38"/>
                  <a:pt x="35" y="38"/>
                  <a:pt x="35" y="38"/>
                </a:cubicBezTo>
                <a:cubicBezTo>
                  <a:pt x="34" y="38"/>
                  <a:pt x="34" y="38"/>
                  <a:pt x="34" y="38"/>
                </a:cubicBezTo>
                <a:cubicBezTo>
                  <a:pt x="34" y="39"/>
                  <a:pt x="34" y="39"/>
                  <a:pt x="34" y="39"/>
                </a:cubicBezTo>
                <a:cubicBezTo>
                  <a:pt x="35" y="41"/>
                  <a:pt x="35" y="41"/>
                  <a:pt x="35" y="41"/>
                </a:cubicBezTo>
                <a:cubicBezTo>
                  <a:pt x="35" y="43"/>
                  <a:pt x="35" y="43"/>
                  <a:pt x="35" y="43"/>
                </a:cubicBezTo>
                <a:cubicBezTo>
                  <a:pt x="35" y="43"/>
                  <a:pt x="35" y="43"/>
                  <a:pt x="35" y="43"/>
                </a:cubicBezTo>
                <a:cubicBezTo>
                  <a:pt x="34" y="41"/>
                  <a:pt x="34" y="41"/>
                  <a:pt x="34" y="41"/>
                </a:cubicBezTo>
                <a:cubicBezTo>
                  <a:pt x="32" y="40"/>
                  <a:pt x="32" y="40"/>
                  <a:pt x="32" y="40"/>
                </a:cubicBezTo>
                <a:cubicBezTo>
                  <a:pt x="32" y="39"/>
                  <a:pt x="32" y="39"/>
                  <a:pt x="32" y="39"/>
                </a:cubicBezTo>
                <a:cubicBezTo>
                  <a:pt x="29" y="38"/>
                  <a:pt x="29" y="38"/>
                  <a:pt x="29" y="38"/>
                </a:cubicBezTo>
                <a:cubicBezTo>
                  <a:pt x="28" y="38"/>
                  <a:pt x="28" y="38"/>
                  <a:pt x="28" y="38"/>
                </a:cubicBezTo>
                <a:cubicBezTo>
                  <a:pt x="27" y="39"/>
                  <a:pt x="27" y="39"/>
                  <a:pt x="27" y="39"/>
                </a:cubicBezTo>
                <a:cubicBezTo>
                  <a:pt x="28" y="40"/>
                  <a:pt x="28" y="40"/>
                  <a:pt x="28" y="40"/>
                </a:cubicBezTo>
                <a:cubicBezTo>
                  <a:pt x="26" y="41"/>
                  <a:pt x="26" y="41"/>
                  <a:pt x="26" y="41"/>
                </a:cubicBezTo>
                <a:cubicBezTo>
                  <a:pt x="25" y="39"/>
                  <a:pt x="25" y="39"/>
                  <a:pt x="25" y="39"/>
                </a:cubicBezTo>
                <a:cubicBezTo>
                  <a:pt x="24" y="40"/>
                  <a:pt x="24" y="40"/>
                  <a:pt x="24" y="40"/>
                </a:cubicBezTo>
                <a:cubicBezTo>
                  <a:pt x="23" y="40"/>
                  <a:pt x="23" y="40"/>
                  <a:pt x="23" y="40"/>
                </a:cubicBezTo>
                <a:cubicBezTo>
                  <a:pt x="24" y="39"/>
                  <a:pt x="24" y="39"/>
                  <a:pt x="24" y="39"/>
                </a:cubicBezTo>
                <a:cubicBezTo>
                  <a:pt x="23" y="38"/>
                  <a:pt x="23" y="38"/>
                  <a:pt x="23" y="38"/>
                </a:cubicBezTo>
                <a:cubicBezTo>
                  <a:pt x="22" y="38"/>
                  <a:pt x="22" y="38"/>
                  <a:pt x="22" y="38"/>
                </a:cubicBezTo>
                <a:cubicBezTo>
                  <a:pt x="22" y="40"/>
                  <a:pt x="22" y="40"/>
                  <a:pt x="22" y="40"/>
                </a:cubicBezTo>
                <a:cubicBezTo>
                  <a:pt x="21" y="38"/>
                  <a:pt x="21" y="38"/>
                  <a:pt x="21" y="38"/>
                </a:cubicBezTo>
                <a:cubicBezTo>
                  <a:pt x="21" y="37"/>
                  <a:pt x="21" y="37"/>
                  <a:pt x="21" y="37"/>
                </a:cubicBezTo>
                <a:cubicBezTo>
                  <a:pt x="21" y="36"/>
                  <a:pt x="21" y="36"/>
                  <a:pt x="21" y="36"/>
                </a:cubicBezTo>
                <a:cubicBezTo>
                  <a:pt x="22" y="35"/>
                  <a:pt x="22" y="35"/>
                  <a:pt x="22" y="35"/>
                </a:cubicBezTo>
                <a:cubicBezTo>
                  <a:pt x="23" y="33"/>
                  <a:pt x="23" y="33"/>
                  <a:pt x="23" y="33"/>
                </a:cubicBezTo>
                <a:cubicBezTo>
                  <a:pt x="22" y="33"/>
                  <a:pt x="22" y="33"/>
                  <a:pt x="22" y="33"/>
                </a:cubicBezTo>
                <a:cubicBezTo>
                  <a:pt x="21" y="32"/>
                  <a:pt x="21" y="32"/>
                  <a:pt x="21" y="32"/>
                </a:cubicBezTo>
                <a:cubicBezTo>
                  <a:pt x="21" y="33"/>
                  <a:pt x="21" y="33"/>
                  <a:pt x="21" y="33"/>
                </a:cubicBezTo>
                <a:cubicBezTo>
                  <a:pt x="21" y="34"/>
                  <a:pt x="21" y="34"/>
                  <a:pt x="21" y="34"/>
                </a:cubicBezTo>
                <a:cubicBezTo>
                  <a:pt x="21" y="35"/>
                  <a:pt x="21" y="35"/>
                  <a:pt x="21" y="35"/>
                </a:cubicBezTo>
                <a:cubicBezTo>
                  <a:pt x="20" y="35"/>
                  <a:pt x="20" y="35"/>
                  <a:pt x="20" y="35"/>
                </a:cubicBezTo>
                <a:cubicBezTo>
                  <a:pt x="19" y="33"/>
                  <a:pt x="19" y="33"/>
                  <a:pt x="19" y="33"/>
                </a:cubicBezTo>
                <a:cubicBezTo>
                  <a:pt x="19" y="32"/>
                  <a:pt x="19" y="32"/>
                  <a:pt x="19" y="32"/>
                </a:cubicBezTo>
                <a:cubicBezTo>
                  <a:pt x="18" y="32"/>
                  <a:pt x="18" y="32"/>
                  <a:pt x="18" y="32"/>
                </a:cubicBezTo>
                <a:cubicBezTo>
                  <a:pt x="18" y="32"/>
                  <a:pt x="18" y="32"/>
                  <a:pt x="18" y="32"/>
                </a:cubicBezTo>
                <a:cubicBezTo>
                  <a:pt x="17" y="32"/>
                  <a:pt x="17" y="32"/>
                  <a:pt x="17" y="32"/>
                </a:cubicBezTo>
                <a:cubicBezTo>
                  <a:pt x="17" y="29"/>
                  <a:pt x="17" y="29"/>
                  <a:pt x="17" y="29"/>
                </a:cubicBezTo>
                <a:cubicBezTo>
                  <a:pt x="16" y="28"/>
                  <a:pt x="16" y="28"/>
                  <a:pt x="16" y="28"/>
                </a:cubicBezTo>
                <a:cubicBezTo>
                  <a:pt x="16" y="26"/>
                  <a:pt x="16" y="26"/>
                  <a:pt x="16" y="26"/>
                </a:cubicBezTo>
                <a:cubicBezTo>
                  <a:pt x="16" y="25"/>
                  <a:pt x="16" y="25"/>
                  <a:pt x="16" y="25"/>
                </a:cubicBezTo>
                <a:cubicBezTo>
                  <a:pt x="16" y="25"/>
                  <a:pt x="16" y="25"/>
                  <a:pt x="16" y="25"/>
                </a:cubicBezTo>
                <a:cubicBezTo>
                  <a:pt x="15" y="25"/>
                  <a:pt x="15" y="25"/>
                  <a:pt x="15" y="25"/>
                </a:cubicBezTo>
                <a:cubicBezTo>
                  <a:pt x="15" y="23"/>
                  <a:pt x="15" y="23"/>
                  <a:pt x="15" y="23"/>
                </a:cubicBezTo>
                <a:cubicBezTo>
                  <a:pt x="15" y="22"/>
                  <a:pt x="15" y="22"/>
                  <a:pt x="15" y="22"/>
                </a:cubicBezTo>
                <a:cubicBezTo>
                  <a:pt x="16" y="23"/>
                  <a:pt x="16" y="23"/>
                  <a:pt x="16" y="23"/>
                </a:cubicBezTo>
                <a:cubicBezTo>
                  <a:pt x="17" y="23"/>
                  <a:pt x="17" y="23"/>
                  <a:pt x="17" y="23"/>
                </a:cubicBezTo>
                <a:cubicBezTo>
                  <a:pt x="18" y="22"/>
                  <a:pt x="18" y="22"/>
                  <a:pt x="18" y="22"/>
                </a:cubicBezTo>
                <a:cubicBezTo>
                  <a:pt x="18" y="22"/>
                  <a:pt x="18" y="22"/>
                  <a:pt x="18" y="22"/>
                </a:cubicBezTo>
                <a:cubicBezTo>
                  <a:pt x="17" y="19"/>
                  <a:pt x="17" y="19"/>
                  <a:pt x="17" y="19"/>
                </a:cubicBezTo>
                <a:cubicBezTo>
                  <a:pt x="18" y="18"/>
                  <a:pt x="18" y="18"/>
                  <a:pt x="18" y="18"/>
                </a:cubicBezTo>
                <a:cubicBezTo>
                  <a:pt x="18" y="15"/>
                  <a:pt x="18" y="15"/>
                  <a:pt x="18" y="15"/>
                </a:cubicBezTo>
                <a:cubicBezTo>
                  <a:pt x="18" y="12"/>
                  <a:pt x="18" y="12"/>
                  <a:pt x="18" y="12"/>
                </a:cubicBezTo>
                <a:cubicBezTo>
                  <a:pt x="18" y="11"/>
                  <a:pt x="18" y="11"/>
                  <a:pt x="18" y="11"/>
                </a:cubicBezTo>
                <a:cubicBezTo>
                  <a:pt x="19" y="8"/>
                  <a:pt x="19" y="8"/>
                  <a:pt x="19" y="8"/>
                </a:cubicBezTo>
                <a:cubicBezTo>
                  <a:pt x="19" y="7"/>
                  <a:pt x="19" y="7"/>
                  <a:pt x="19" y="7"/>
                </a:cubicBezTo>
                <a:cubicBezTo>
                  <a:pt x="21" y="6"/>
                  <a:pt x="21" y="6"/>
                  <a:pt x="21" y="6"/>
                </a:cubicBezTo>
                <a:cubicBezTo>
                  <a:pt x="24" y="7"/>
                  <a:pt x="24" y="7"/>
                  <a:pt x="24" y="7"/>
                </a:cubicBezTo>
                <a:cubicBezTo>
                  <a:pt x="25" y="8"/>
                  <a:pt x="25" y="8"/>
                  <a:pt x="25" y="8"/>
                </a:cubicBezTo>
                <a:cubicBezTo>
                  <a:pt x="25" y="8"/>
                  <a:pt x="25" y="8"/>
                  <a:pt x="25" y="8"/>
                </a:cubicBezTo>
                <a:cubicBezTo>
                  <a:pt x="26" y="8"/>
                  <a:pt x="26" y="8"/>
                  <a:pt x="26" y="8"/>
                </a:cubicBezTo>
                <a:cubicBezTo>
                  <a:pt x="28" y="8"/>
                  <a:pt x="28" y="8"/>
                  <a:pt x="28" y="8"/>
                </a:cubicBezTo>
                <a:cubicBezTo>
                  <a:pt x="28" y="7"/>
                  <a:pt x="28" y="7"/>
                  <a:pt x="28" y="7"/>
                </a:cubicBezTo>
                <a:cubicBezTo>
                  <a:pt x="29" y="6"/>
                  <a:pt x="29" y="6"/>
                  <a:pt x="29" y="6"/>
                </a:cubicBezTo>
                <a:cubicBezTo>
                  <a:pt x="29" y="6"/>
                  <a:pt x="29" y="6"/>
                  <a:pt x="29" y="6"/>
                </a:cubicBezTo>
                <a:cubicBezTo>
                  <a:pt x="30" y="7"/>
                  <a:pt x="30" y="7"/>
                  <a:pt x="30" y="7"/>
                </a:cubicBezTo>
                <a:cubicBezTo>
                  <a:pt x="30" y="8"/>
                  <a:pt x="30" y="8"/>
                  <a:pt x="30" y="8"/>
                </a:cubicBezTo>
                <a:cubicBezTo>
                  <a:pt x="29" y="9"/>
                  <a:pt x="29" y="9"/>
                  <a:pt x="29" y="9"/>
                </a:cubicBezTo>
                <a:cubicBezTo>
                  <a:pt x="29" y="12"/>
                  <a:pt x="29" y="12"/>
                  <a:pt x="29" y="12"/>
                </a:cubicBezTo>
                <a:cubicBezTo>
                  <a:pt x="30" y="13"/>
                  <a:pt x="30" y="13"/>
                  <a:pt x="30" y="13"/>
                </a:cubicBezTo>
                <a:cubicBezTo>
                  <a:pt x="31" y="14"/>
                  <a:pt x="31" y="14"/>
                  <a:pt x="31" y="14"/>
                </a:cubicBezTo>
                <a:cubicBezTo>
                  <a:pt x="31" y="15"/>
                  <a:pt x="31" y="15"/>
                  <a:pt x="31" y="15"/>
                </a:cubicBezTo>
                <a:cubicBezTo>
                  <a:pt x="32" y="16"/>
                  <a:pt x="32" y="16"/>
                  <a:pt x="32" y="16"/>
                </a:cubicBezTo>
                <a:cubicBezTo>
                  <a:pt x="31" y="19"/>
                  <a:pt x="31" y="19"/>
                  <a:pt x="31" y="19"/>
                </a:cubicBezTo>
                <a:cubicBezTo>
                  <a:pt x="30" y="21"/>
                  <a:pt x="30" y="21"/>
                  <a:pt x="30" y="21"/>
                </a:cubicBezTo>
                <a:cubicBezTo>
                  <a:pt x="31" y="22"/>
                  <a:pt x="31" y="22"/>
                  <a:pt x="31" y="22"/>
                </a:cubicBezTo>
                <a:cubicBezTo>
                  <a:pt x="30" y="24"/>
                  <a:pt x="30" y="24"/>
                  <a:pt x="30" y="24"/>
                </a:cubicBezTo>
                <a:cubicBezTo>
                  <a:pt x="30" y="23"/>
                  <a:pt x="30" y="23"/>
                  <a:pt x="30" y="23"/>
                </a:cubicBezTo>
                <a:cubicBezTo>
                  <a:pt x="30" y="22"/>
                  <a:pt x="30" y="22"/>
                  <a:pt x="30" y="22"/>
                </a:cubicBezTo>
                <a:cubicBezTo>
                  <a:pt x="29" y="23"/>
                  <a:pt x="29" y="23"/>
                  <a:pt x="29" y="23"/>
                </a:cubicBezTo>
                <a:cubicBezTo>
                  <a:pt x="27" y="25"/>
                  <a:pt x="27" y="25"/>
                  <a:pt x="27" y="25"/>
                </a:cubicBezTo>
                <a:cubicBezTo>
                  <a:pt x="27" y="26"/>
                  <a:pt x="27" y="26"/>
                  <a:pt x="27" y="26"/>
                </a:cubicBezTo>
                <a:cubicBezTo>
                  <a:pt x="27" y="27"/>
                  <a:pt x="27" y="27"/>
                  <a:pt x="27" y="27"/>
                </a:cubicBezTo>
                <a:cubicBezTo>
                  <a:pt x="26" y="28"/>
                  <a:pt x="26" y="28"/>
                  <a:pt x="26" y="28"/>
                </a:cubicBezTo>
                <a:cubicBezTo>
                  <a:pt x="26" y="30"/>
                  <a:pt x="26" y="30"/>
                  <a:pt x="26" y="30"/>
                </a:cubicBezTo>
                <a:cubicBezTo>
                  <a:pt x="27" y="30"/>
                  <a:pt x="27" y="30"/>
                  <a:pt x="27" y="30"/>
                </a:cubicBezTo>
                <a:cubicBezTo>
                  <a:pt x="27" y="32"/>
                  <a:pt x="27" y="32"/>
                  <a:pt x="27" y="32"/>
                </a:cubicBezTo>
                <a:cubicBezTo>
                  <a:pt x="28" y="33"/>
                  <a:pt x="28" y="33"/>
                  <a:pt x="28" y="33"/>
                </a:cubicBezTo>
                <a:cubicBezTo>
                  <a:pt x="28" y="34"/>
                  <a:pt x="28" y="34"/>
                  <a:pt x="28" y="34"/>
                </a:cubicBezTo>
                <a:cubicBezTo>
                  <a:pt x="28" y="35"/>
                  <a:pt x="28" y="35"/>
                  <a:pt x="28" y="35"/>
                </a:cubicBezTo>
                <a:close/>
                <a:moveTo>
                  <a:pt x="30" y="35"/>
                </a:moveTo>
                <a:cubicBezTo>
                  <a:pt x="30" y="36"/>
                  <a:pt x="30" y="36"/>
                  <a:pt x="30" y="36"/>
                </a:cubicBezTo>
                <a:cubicBezTo>
                  <a:pt x="31" y="37"/>
                  <a:pt x="31" y="37"/>
                  <a:pt x="31" y="37"/>
                </a:cubicBezTo>
                <a:cubicBezTo>
                  <a:pt x="31" y="36"/>
                  <a:pt x="31" y="36"/>
                  <a:pt x="31" y="36"/>
                </a:cubicBezTo>
                <a:cubicBezTo>
                  <a:pt x="30" y="35"/>
                  <a:pt x="30" y="35"/>
                  <a:pt x="30" y="35"/>
                </a:cubicBezTo>
                <a:close/>
                <a:moveTo>
                  <a:pt x="29" y="31"/>
                </a:moveTo>
                <a:cubicBezTo>
                  <a:pt x="30" y="32"/>
                  <a:pt x="30" y="32"/>
                  <a:pt x="30" y="32"/>
                </a:cubicBezTo>
                <a:cubicBezTo>
                  <a:pt x="29" y="33"/>
                  <a:pt x="29" y="33"/>
                  <a:pt x="29" y="33"/>
                </a:cubicBezTo>
                <a:cubicBezTo>
                  <a:pt x="30" y="34"/>
                  <a:pt x="30" y="34"/>
                  <a:pt x="30" y="34"/>
                </a:cubicBezTo>
                <a:cubicBezTo>
                  <a:pt x="31" y="33"/>
                  <a:pt x="31" y="33"/>
                  <a:pt x="31" y="33"/>
                </a:cubicBezTo>
                <a:cubicBezTo>
                  <a:pt x="31" y="31"/>
                  <a:pt x="31" y="31"/>
                  <a:pt x="31" y="31"/>
                </a:cubicBezTo>
                <a:cubicBezTo>
                  <a:pt x="31" y="30"/>
                  <a:pt x="31" y="30"/>
                  <a:pt x="31" y="30"/>
                </a:cubicBezTo>
                <a:cubicBezTo>
                  <a:pt x="30" y="30"/>
                  <a:pt x="30" y="30"/>
                  <a:pt x="30" y="30"/>
                </a:cubicBezTo>
                <a:cubicBezTo>
                  <a:pt x="29" y="31"/>
                  <a:pt x="29" y="31"/>
                  <a:pt x="29" y="31"/>
                </a:cubicBezTo>
                <a:close/>
                <a:moveTo>
                  <a:pt x="18" y="39"/>
                </a:moveTo>
                <a:cubicBezTo>
                  <a:pt x="18" y="39"/>
                  <a:pt x="18" y="39"/>
                  <a:pt x="18" y="39"/>
                </a:cubicBezTo>
                <a:cubicBezTo>
                  <a:pt x="20" y="40"/>
                  <a:pt x="20" y="40"/>
                  <a:pt x="20" y="40"/>
                </a:cubicBezTo>
                <a:cubicBezTo>
                  <a:pt x="20" y="40"/>
                  <a:pt x="20" y="40"/>
                  <a:pt x="20" y="40"/>
                </a:cubicBezTo>
                <a:cubicBezTo>
                  <a:pt x="19" y="39"/>
                  <a:pt x="19" y="39"/>
                  <a:pt x="19" y="39"/>
                </a:cubicBezTo>
                <a:cubicBezTo>
                  <a:pt x="18" y="39"/>
                  <a:pt x="18" y="39"/>
                  <a:pt x="18" y="39"/>
                </a:cubicBezTo>
                <a:close/>
                <a:moveTo>
                  <a:pt x="20" y="41"/>
                </a:moveTo>
                <a:cubicBezTo>
                  <a:pt x="20" y="42"/>
                  <a:pt x="20" y="42"/>
                  <a:pt x="20" y="42"/>
                </a:cubicBezTo>
                <a:cubicBezTo>
                  <a:pt x="21" y="42"/>
                  <a:pt x="21" y="42"/>
                  <a:pt x="21" y="42"/>
                </a:cubicBezTo>
                <a:cubicBezTo>
                  <a:pt x="21" y="43"/>
                  <a:pt x="21" y="43"/>
                  <a:pt x="21" y="43"/>
                </a:cubicBezTo>
                <a:cubicBezTo>
                  <a:pt x="22" y="44"/>
                  <a:pt x="22" y="44"/>
                  <a:pt x="22" y="44"/>
                </a:cubicBezTo>
                <a:cubicBezTo>
                  <a:pt x="23" y="45"/>
                  <a:pt x="23" y="45"/>
                  <a:pt x="23" y="45"/>
                </a:cubicBezTo>
                <a:cubicBezTo>
                  <a:pt x="23" y="47"/>
                  <a:pt x="23" y="47"/>
                  <a:pt x="23" y="47"/>
                </a:cubicBezTo>
                <a:cubicBezTo>
                  <a:pt x="24" y="47"/>
                  <a:pt x="24" y="47"/>
                  <a:pt x="24" y="47"/>
                </a:cubicBezTo>
                <a:cubicBezTo>
                  <a:pt x="24" y="48"/>
                  <a:pt x="24" y="48"/>
                  <a:pt x="24" y="48"/>
                </a:cubicBezTo>
                <a:cubicBezTo>
                  <a:pt x="25" y="50"/>
                  <a:pt x="25" y="50"/>
                  <a:pt x="25" y="50"/>
                </a:cubicBezTo>
                <a:cubicBezTo>
                  <a:pt x="26" y="50"/>
                  <a:pt x="26" y="50"/>
                  <a:pt x="26" y="50"/>
                </a:cubicBezTo>
                <a:cubicBezTo>
                  <a:pt x="28" y="49"/>
                  <a:pt x="28" y="49"/>
                  <a:pt x="28" y="49"/>
                </a:cubicBezTo>
                <a:cubicBezTo>
                  <a:pt x="28" y="48"/>
                  <a:pt x="28" y="48"/>
                  <a:pt x="28" y="48"/>
                </a:cubicBezTo>
                <a:cubicBezTo>
                  <a:pt x="28" y="48"/>
                  <a:pt x="28" y="48"/>
                  <a:pt x="28" y="48"/>
                </a:cubicBezTo>
                <a:cubicBezTo>
                  <a:pt x="28" y="47"/>
                  <a:pt x="28" y="47"/>
                  <a:pt x="28" y="47"/>
                </a:cubicBezTo>
                <a:cubicBezTo>
                  <a:pt x="28" y="46"/>
                  <a:pt x="28" y="46"/>
                  <a:pt x="28" y="46"/>
                </a:cubicBezTo>
                <a:cubicBezTo>
                  <a:pt x="28" y="45"/>
                  <a:pt x="28" y="45"/>
                  <a:pt x="28" y="45"/>
                </a:cubicBezTo>
                <a:cubicBezTo>
                  <a:pt x="28" y="44"/>
                  <a:pt x="28" y="44"/>
                  <a:pt x="28" y="44"/>
                </a:cubicBezTo>
                <a:cubicBezTo>
                  <a:pt x="27" y="43"/>
                  <a:pt x="27" y="43"/>
                  <a:pt x="27" y="43"/>
                </a:cubicBezTo>
                <a:cubicBezTo>
                  <a:pt x="24" y="41"/>
                  <a:pt x="24" y="41"/>
                  <a:pt x="24" y="41"/>
                </a:cubicBezTo>
                <a:cubicBezTo>
                  <a:pt x="23" y="41"/>
                  <a:pt x="23" y="41"/>
                  <a:pt x="23" y="41"/>
                </a:cubicBezTo>
                <a:cubicBezTo>
                  <a:pt x="21" y="41"/>
                  <a:pt x="21" y="41"/>
                  <a:pt x="21" y="41"/>
                </a:cubicBezTo>
                <a:cubicBezTo>
                  <a:pt x="20" y="41"/>
                  <a:pt x="20" y="41"/>
                  <a:pt x="20" y="41"/>
                </a:cubicBezTo>
                <a:close/>
                <a:moveTo>
                  <a:pt x="45" y="37"/>
                </a:moveTo>
                <a:cubicBezTo>
                  <a:pt x="44" y="37"/>
                  <a:pt x="44" y="37"/>
                  <a:pt x="44" y="37"/>
                </a:cubicBezTo>
                <a:cubicBezTo>
                  <a:pt x="45" y="39"/>
                  <a:pt x="45" y="39"/>
                  <a:pt x="45" y="39"/>
                </a:cubicBezTo>
                <a:cubicBezTo>
                  <a:pt x="44" y="40"/>
                  <a:pt x="44" y="40"/>
                  <a:pt x="44" y="40"/>
                </a:cubicBezTo>
                <a:cubicBezTo>
                  <a:pt x="44" y="40"/>
                  <a:pt x="44" y="40"/>
                  <a:pt x="44" y="40"/>
                </a:cubicBezTo>
                <a:cubicBezTo>
                  <a:pt x="44" y="41"/>
                  <a:pt x="44" y="41"/>
                  <a:pt x="44" y="41"/>
                </a:cubicBezTo>
                <a:cubicBezTo>
                  <a:pt x="46" y="40"/>
                  <a:pt x="46" y="40"/>
                  <a:pt x="46" y="40"/>
                </a:cubicBezTo>
                <a:cubicBezTo>
                  <a:pt x="46" y="39"/>
                  <a:pt x="46" y="39"/>
                  <a:pt x="46" y="39"/>
                </a:cubicBezTo>
                <a:cubicBezTo>
                  <a:pt x="46" y="38"/>
                  <a:pt x="46" y="38"/>
                  <a:pt x="46" y="38"/>
                </a:cubicBezTo>
                <a:cubicBezTo>
                  <a:pt x="45" y="37"/>
                  <a:pt x="45" y="37"/>
                  <a:pt x="45" y="37"/>
                </a:cubicBezTo>
                <a:close/>
                <a:moveTo>
                  <a:pt x="30" y="42"/>
                </a:moveTo>
                <a:cubicBezTo>
                  <a:pt x="31" y="43"/>
                  <a:pt x="31" y="43"/>
                  <a:pt x="31" y="43"/>
                </a:cubicBezTo>
                <a:cubicBezTo>
                  <a:pt x="31" y="42"/>
                  <a:pt x="31" y="42"/>
                  <a:pt x="31" y="42"/>
                </a:cubicBezTo>
                <a:cubicBezTo>
                  <a:pt x="32" y="42"/>
                  <a:pt x="32" y="42"/>
                  <a:pt x="32" y="42"/>
                </a:cubicBezTo>
                <a:cubicBezTo>
                  <a:pt x="31" y="41"/>
                  <a:pt x="31" y="41"/>
                  <a:pt x="31" y="41"/>
                </a:cubicBezTo>
                <a:cubicBezTo>
                  <a:pt x="30" y="40"/>
                  <a:pt x="30" y="40"/>
                  <a:pt x="30" y="40"/>
                </a:cubicBezTo>
                <a:cubicBezTo>
                  <a:pt x="30" y="41"/>
                  <a:pt x="30" y="41"/>
                  <a:pt x="30" y="41"/>
                </a:cubicBezTo>
                <a:cubicBezTo>
                  <a:pt x="30" y="42"/>
                  <a:pt x="30" y="42"/>
                  <a:pt x="30" y="42"/>
                </a:cubicBezTo>
                <a:close/>
                <a:moveTo>
                  <a:pt x="32" y="47"/>
                </a:moveTo>
                <a:cubicBezTo>
                  <a:pt x="32" y="48"/>
                  <a:pt x="32" y="48"/>
                  <a:pt x="32" y="48"/>
                </a:cubicBezTo>
                <a:cubicBezTo>
                  <a:pt x="31" y="49"/>
                  <a:pt x="31" y="49"/>
                  <a:pt x="31" y="49"/>
                </a:cubicBezTo>
                <a:cubicBezTo>
                  <a:pt x="32" y="51"/>
                  <a:pt x="32" y="51"/>
                  <a:pt x="32" y="51"/>
                </a:cubicBezTo>
                <a:cubicBezTo>
                  <a:pt x="32" y="50"/>
                  <a:pt x="32" y="50"/>
                  <a:pt x="32" y="50"/>
                </a:cubicBezTo>
                <a:cubicBezTo>
                  <a:pt x="33" y="49"/>
                  <a:pt x="33" y="49"/>
                  <a:pt x="33" y="49"/>
                </a:cubicBezTo>
                <a:cubicBezTo>
                  <a:pt x="32" y="48"/>
                  <a:pt x="32" y="48"/>
                  <a:pt x="32" y="48"/>
                </a:cubicBezTo>
                <a:cubicBezTo>
                  <a:pt x="33" y="46"/>
                  <a:pt x="33" y="46"/>
                  <a:pt x="33" y="46"/>
                </a:cubicBezTo>
                <a:cubicBezTo>
                  <a:pt x="32" y="47"/>
                  <a:pt x="32" y="47"/>
                  <a:pt x="32" y="47"/>
                </a:cubicBezTo>
                <a:close/>
                <a:moveTo>
                  <a:pt x="35" y="48"/>
                </a:moveTo>
                <a:cubicBezTo>
                  <a:pt x="35" y="48"/>
                  <a:pt x="35" y="48"/>
                  <a:pt x="35" y="48"/>
                </a:cubicBezTo>
                <a:cubicBezTo>
                  <a:pt x="35" y="49"/>
                  <a:pt x="35" y="49"/>
                  <a:pt x="35" y="49"/>
                </a:cubicBezTo>
                <a:cubicBezTo>
                  <a:pt x="36" y="49"/>
                  <a:pt x="36" y="49"/>
                  <a:pt x="36" y="49"/>
                </a:cubicBezTo>
                <a:cubicBezTo>
                  <a:pt x="36" y="48"/>
                  <a:pt x="36" y="48"/>
                  <a:pt x="36" y="48"/>
                </a:cubicBezTo>
                <a:cubicBezTo>
                  <a:pt x="35" y="48"/>
                  <a:pt x="35" y="48"/>
                  <a:pt x="35" y="48"/>
                </a:cubicBezTo>
                <a:close/>
                <a:moveTo>
                  <a:pt x="39" y="45"/>
                </a:moveTo>
                <a:cubicBezTo>
                  <a:pt x="38" y="43"/>
                  <a:pt x="38" y="43"/>
                  <a:pt x="38" y="43"/>
                </a:cubicBezTo>
                <a:cubicBezTo>
                  <a:pt x="37" y="44"/>
                  <a:pt x="37" y="44"/>
                  <a:pt x="37" y="44"/>
                </a:cubicBezTo>
                <a:cubicBezTo>
                  <a:pt x="37" y="44"/>
                  <a:pt x="37" y="44"/>
                  <a:pt x="37" y="44"/>
                </a:cubicBezTo>
                <a:cubicBezTo>
                  <a:pt x="39" y="46"/>
                  <a:pt x="39" y="46"/>
                  <a:pt x="39" y="46"/>
                </a:cubicBezTo>
                <a:cubicBezTo>
                  <a:pt x="39" y="45"/>
                  <a:pt x="39" y="45"/>
                  <a:pt x="39" y="45"/>
                </a:cubicBezTo>
                <a:cubicBezTo>
                  <a:pt x="39" y="45"/>
                  <a:pt x="39" y="45"/>
                  <a:pt x="39" y="45"/>
                </a:cubicBezTo>
                <a:close/>
                <a:moveTo>
                  <a:pt x="41" y="47"/>
                </a:moveTo>
                <a:cubicBezTo>
                  <a:pt x="42" y="48"/>
                  <a:pt x="42" y="48"/>
                  <a:pt x="42" y="48"/>
                </a:cubicBezTo>
                <a:cubicBezTo>
                  <a:pt x="43" y="49"/>
                  <a:pt x="43" y="49"/>
                  <a:pt x="43" y="49"/>
                </a:cubicBezTo>
                <a:cubicBezTo>
                  <a:pt x="43" y="49"/>
                  <a:pt x="43" y="49"/>
                  <a:pt x="43" y="49"/>
                </a:cubicBezTo>
                <a:cubicBezTo>
                  <a:pt x="42" y="47"/>
                  <a:pt x="42" y="47"/>
                  <a:pt x="42" y="47"/>
                </a:cubicBezTo>
                <a:cubicBezTo>
                  <a:pt x="41" y="47"/>
                  <a:pt x="41" y="47"/>
                  <a:pt x="41" y="47"/>
                </a:cubicBezTo>
                <a:close/>
                <a:moveTo>
                  <a:pt x="39" y="52"/>
                </a:moveTo>
                <a:cubicBezTo>
                  <a:pt x="40" y="50"/>
                  <a:pt x="40" y="50"/>
                  <a:pt x="40" y="50"/>
                </a:cubicBezTo>
                <a:cubicBezTo>
                  <a:pt x="41" y="50"/>
                  <a:pt x="41" y="50"/>
                  <a:pt x="41" y="50"/>
                </a:cubicBezTo>
                <a:cubicBezTo>
                  <a:pt x="43" y="52"/>
                  <a:pt x="43" y="52"/>
                  <a:pt x="43" y="52"/>
                </a:cubicBezTo>
                <a:cubicBezTo>
                  <a:pt x="44" y="52"/>
                  <a:pt x="44" y="52"/>
                  <a:pt x="44" y="52"/>
                </a:cubicBezTo>
                <a:cubicBezTo>
                  <a:pt x="45" y="52"/>
                  <a:pt x="45" y="52"/>
                  <a:pt x="45" y="52"/>
                </a:cubicBezTo>
                <a:cubicBezTo>
                  <a:pt x="45" y="51"/>
                  <a:pt x="45" y="51"/>
                  <a:pt x="45" y="51"/>
                </a:cubicBezTo>
                <a:cubicBezTo>
                  <a:pt x="44" y="50"/>
                  <a:pt x="44" y="50"/>
                  <a:pt x="44" y="50"/>
                </a:cubicBezTo>
                <a:cubicBezTo>
                  <a:pt x="42" y="49"/>
                  <a:pt x="42" y="49"/>
                  <a:pt x="42" y="49"/>
                </a:cubicBezTo>
                <a:cubicBezTo>
                  <a:pt x="42" y="49"/>
                  <a:pt x="42" y="49"/>
                  <a:pt x="42" y="49"/>
                </a:cubicBezTo>
                <a:cubicBezTo>
                  <a:pt x="41" y="48"/>
                  <a:pt x="41" y="48"/>
                  <a:pt x="41" y="48"/>
                </a:cubicBezTo>
                <a:cubicBezTo>
                  <a:pt x="40" y="48"/>
                  <a:pt x="40" y="48"/>
                  <a:pt x="40" y="48"/>
                </a:cubicBezTo>
                <a:cubicBezTo>
                  <a:pt x="40" y="48"/>
                  <a:pt x="40" y="48"/>
                  <a:pt x="40" y="48"/>
                </a:cubicBezTo>
                <a:cubicBezTo>
                  <a:pt x="39" y="47"/>
                  <a:pt x="39" y="47"/>
                  <a:pt x="39" y="47"/>
                </a:cubicBezTo>
                <a:cubicBezTo>
                  <a:pt x="39" y="49"/>
                  <a:pt x="39" y="49"/>
                  <a:pt x="39" y="49"/>
                </a:cubicBezTo>
                <a:cubicBezTo>
                  <a:pt x="40" y="50"/>
                  <a:pt x="40" y="50"/>
                  <a:pt x="40" y="50"/>
                </a:cubicBezTo>
                <a:cubicBezTo>
                  <a:pt x="39" y="50"/>
                  <a:pt x="39" y="50"/>
                  <a:pt x="39" y="50"/>
                </a:cubicBezTo>
                <a:cubicBezTo>
                  <a:pt x="39" y="51"/>
                  <a:pt x="39" y="51"/>
                  <a:pt x="39" y="51"/>
                </a:cubicBezTo>
                <a:cubicBezTo>
                  <a:pt x="39" y="52"/>
                  <a:pt x="39" y="52"/>
                  <a:pt x="39" y="52"/>
                </a:cubicBezTo>
                <a:close/>
                <a:moveTo>
                  <a:pt x="33" y="61"/>
                </a:moveTo>
                <a:cubicBezTo>
                  <a:pt x="33" y="61"/>
                  <a:pt x="33" y="61"/>
                  <a:pt x="33" y="61"/>
                </a:cubicBezTo>
                <a:cubicBezTo>
                  <a:pt x="32" y="62"/>
                  <a:pt x="32" y="62"/>
                  <a:pt x="32" y="62"/>
                </a:cubicBezTo>
                <a:cubicBezTo>
                  <a:pt x="32" y="59"/>
                  <a:pt x="32" y="59"/>
                  <a:pt x="32" y="59"/>
                </a:cubicBezTo>
                <a:cubicBezTo>
                  <a:pt x="32" y="58"/>
                  <a:pt x="32" y="58"/>
                  <a:pt x="32" y="58"/>
                </a:cubicBezTo>
                <a:cubicBezTo>
                  <a:pt x="32" y="56"/>
                  <a:pt x="32" y="56"/>
                  <a:pt x="32" y="56"/>
                </a:cubicBezTo>
                <a:cubicBezTo>
                  <a:pt x="32" y="55"/>
                  <a:pt x="32" y="55"/>
                  <a:pt x="32" y="55"/>
                </a:cubicBezTo>
                <a:cubicBezTo>
                  <a:pt x="32" y="53"/>
                  <a:pt x="32" y="53"/>
                  <a:pt x="32" y="53"/>
                </a:cubicBezTo>
                <a:cubicBezTo>
                  <a:pt x="32" y="53"/>
                  <a:pt x="32" y="53"/>
                  <a:pt x="32" y="53"/>
                </a:cubicBezTo>
                <a:cubicBezTo>
                  <a:pt x="30" y="53"/>
                  <a:pt x="30" y="53"/>
                  <a:pt x="30" y="53"/>
                </a:cubicBezTo>
                <a:cubicBezTo>
                  <a:pt x="31" y="52"/>
                  <a:pt x="31" y="52"/>
                  <a:pt x="31" y="52"/>
                </a:cubicBezTo>
                <a:cubicBezTo>
                  <a:pt x="32" y="52"/>
                  <a:pt x="32" y="52"/>
                  <a:pt x="32" y="52"/>
                </a:cubicBezTo>
                <a:cubicBezTo>
                  <a:pt x="33" y="53"/>
                  <a:pt x="33" y="53"/>
                  <a:pt x="33" y="53"/>
                </a:cubicBezTo>
                <a:cubicBezTo>
                  <a:pt x="34" y="53"/>
                  <a:pt x="34" y="53"/>
                  <a:pt x="34" y="53"/>
                </a:cubicBezTo>
                <a:cubicBezTo>
                  <a:pt x="34" y="54"/>
                  <a:pt x="34" y="54"/>
                  <a:pt x="34" y="54"/>
                </a:cubicBezTo>
                <a:cubicBezTo>
                  <a:pt x="35" y="54"/>
                  <a:pt x="35" y="54"/>
                  <a:pt x="35" y="54"/>
                </a:cubicBezTo>
                <a:cubicBezTo>
                  <a:pt x="36" y="54"/>
                  <a:pt x="36" y="54"/>
                  <a:pt x="36" y="54"/>
                </a:cubicBezTo>
                <a:cubicBezTo>
                  <a:pt x="37" y="54"/>
                  <a:pt x="37" y="54"/>
                  <a:pt x="37" y="54"/>
                </a:cubicBezTo>
                <a:cubicBezTo>
                  <a:pt x="38" y="55"/>
                  <a:pt x="38" y="55"/>
                  <a:pt x="38" y="55"/>
                </a:cubicBezTo>
                <a:cubicBezTo>
                  <a:pt x="38" y="54"/>
                  <a:pt x="38" y="54"/>
                  <a:pt x="38" y="54"/>
                </a:cubicBezTo>
                <a:cubicBezTo>
                  <a:pt x="39" y="54"/>
                  <a:pt x="39" y="54"/>
                  <a:pt x="39" y="54"/>
                </a:cubicBezTo>
                <a:cubicBezTo>
                  <a:pt x="40" y="55"/>
                  <a:pt x="40" y="55"/>
                  <a:pt x="40" y="55"/>
                </a:cubicBezTo>
                <a:cubicBezTo>
                  <a:pt x="39" y="56"/>
                  <a:pt x="39" y="56"/>
                  <a:pt x="39" y="56"/>
                </a:cubicBezTo>
                <a:cubicBezTo>
                  <a:pt x="39" y="56"/>
                  <a:pt x="39" y="56"/>
                  <a:pt x="39" y="56"/>
                </a:cubicBezTo>
                <a:cubicBezTo>
                  <a:pt x="38" y="57"/>
                  <a:pt x="38" y="57"/>
                  <a:pt x="38" y="57"/>
                </a:cubicBezTo>
                <a:cubicBezTo>
                  <a:pt x="37" y="59"/>
                  <a:pt x="37" y="59"/>
                  <a:pt x="37" y="59"/>
                </a:cubicBezTo>
                <a:cubicBezTo>
                  <a:pt x="36" y="60"/>
                  <a:pt x="36" y="60"/>
                  <a:pt x="36" y="60"/>
                </a:cubicBezTo>
                <a:cubicBezTo>
                  <a:pt x="36" y="60"/>
                  <a:pt x="36" y="60"/>
                  <a:pt x="36" y="60"/>
                </a:cubicBezTo>
                <a:cubicBezTo>
                  <a:pt x="35" y="60"/>
                  <a:pt x="35" y="60"/>
                  <a:pt x="35" y="60"/>
                </a:cubicBezTo>
                <a:cubicBezTo>
                  <a:pt x="35" y="60"/>
                  <a:pt x="35" y="60"/>
                  <a:pt x="35" y="60"/>
                </a:cubicBezTo>
                <a:cubicBezTo>
                  <a:pt x="33" y="61"/>
                  <a:pt x="33" y="61"/>
                  <a:pt x="33" y="61"/>
                </a:cubicBezTo>
                <a:close/>
                <a:moveTo>
                  <a:pt x="36" y="60"/>
                </a:moveTo>
                <a:cubicBezTo>
                  <a:pt x="35" y="60"/>
                  <a:pt x="35" y="60"/>
                  <a:pt x="35" y="60"/>
                </a:cubicBezTo>
                <a:cubicBezTo>
                  <a:pt x="35" y="62"/>
                  <a:pt x="35" y="62"/>
                  <a:pt x="35" y="62"/>
                </a:cubicBezTo>
                <a:cubicBezTo>
                  <a:pt x="36" y="62"/>
                  <a:pt x="36" y="62"/>
                  <a:pt x="36" y="62"/>
                </a:cubicBezTo>
                <a:cubicBezTo>
                  <a:pt x="37" y="61"/>
                  <a:pt x="37" y="61"/>
                  <a:pt x="37" y="61"/>
                </a:cubicBezTo>
                <a:cubicBezTo>
                  <a:pt x="37" y="60"/>
                  <a:pt x="37" y="60"/>
                  <a:pt x="37" y="60"/>
                </a:cubicBezTo>
                <a:cubicBezTo>
                  <a:pt x="36" y="60"/>
                  <a:pt x="36" y="60"/>
                  <a:pt x="36" y="60"/>
                </a:cubicBezTo>
                <a:close/>
                <a:moveTo>
                  <a:pt x="47" y="60"/>
                </a:moveTo>
                <a:cubicBezTo>
                  <a:pt x="47" y="61"/>
                  <a:pt x="47" y="61"/>
                  <a:pt x="47" y="61"/>
                </a:cubicBezTo>
                <a:cubicBezTo>
                  <a:pt x="46" y="60"/>
                  <a:pt x="46" y="60"/>
                  <a:pt x="46" y="60"/>
                </a:cubicBezTo>
                <a:cubicBezTo>
                  <a:pt x="47" y="60"/>
                  <a:pt x="47" y="60"/>
                  <a:pt x="47" y="60"/>
                </a:cubicBezTo>
                <a:close/>
                <a:moveTo>
                  <a:pt x="41" y="68"/>
                </a:moveTo>
                <a:cubicBezTo>
                  <a:pt x="42" y="67"/>
                  <a:pt x="42" y="67"/>
                  <a:pt x="42" y="67"/>
                </a:cubicBezTo>
                <a:cubicBezTo>
                  <a:pt x="43" y="64"/>
                  <a:pt x="43" y="64"/>
                  <a:pt x="43" y="64"/>
                </a:cubicBezTo>
                <a:cubicBezTo>
                  <a:pt x="45" y="62"/>
                  <a:pt x="45" y="62"/>
                  <a:pt x="45" y="62"/>
                </a:cubicBezTo>
                <a:cubicBezTo>
                  <a:pt x="45" y="61"/>
                  <a:pt x="45" y="61"/>
                  <a:pt x="45" y="61"/>
                </a:cubicBezTo>
                <a:cubicBezTo>
                  <a:pt x="45" y="60"/>
                  <a:pt x="45" y="60"/>
                  <a:pt x="45" y="60"/>
                </a:cubicBezTo>
                <a:cubicBezTo>
                  <a:pt x="45" y="59"/>
                  <a:pt x="45" y="59"/>
                  <a:pt x="45" y="59"/>
                </a:cubicBezTo>
                <a:cubicBezTo>
                  <a:pt x="45" y="57"/>
                  <a:pt x="45" y="57"/>
                  <a:pt x="45" y="57"/>
                </a:cubicBezTo>
                <a:cubicBezTo>
                  <a:pt x="44" y="57"/>
                  <a:pt x="44" y="57"/>
                  <a:pt x="44" y="57"/>
                </a:cubicBezTo>
                <a:cubicBezTo>
                  <a:pt x="44" y="59"/>
                  <a:pt x="44" y="59"/>
                  <a:pt x="44" y="59"/>
                </a:cubicBezTo>
                <a:cubicBezTo>
                  <a:pt x="43" y="61"/>
                  <a:pt x="43" y="61"/>
                  <a:pt x="43" y="61"/>
                </a:cubicBezTo>
                <a:cubicBezTo>
                  <a:pt x="43" y="63"/>
                  <a:pt x="43" y="63"/>
                  <a:pt x="43" y="63"/>
                </a:cubicBezTo>
                <a:cubicBezTo>
                  <a:pt x="42" y="64"/>
                  <a:pt x="42" y="64"/>
                  <a:pt x="42" y="64"/>
                </a:cubicBezTo>
                <a:cubicBezTo>
                  <a:pt x="41" y="66"/>
                  <a:pt x="41" y="66"/>
                  <a:pt x="41" y="66"/>
                </a:cubicBezTo>
                <a:cubicBezTo>
                  <a:pt x="41" y="67"/>
                  <a:pt x="41" y="67"/>
                  <a:pt x="41" y="67"/>
                </a:cubicBezTo>
                <a:cubicBezTo>
                  <a:pt x="41" y="68"/>
                  <a:pt x="41" y="68"/>
                  <a:pt x="41" y="68"/>
                </a:cubicBezTo>
                <a:close/>
                <a:moveTo>
                  <a:pt x="40" y="67"/>
                </a:moveTo>
                <a:cubicBezTo>
                  <a:pt x="40" y="65"/>
                  <a:pt x="40" y="65"/>
                  <a:pt x="40" y="65"/>
                </a:cubicBezTo>
                <a:cubicBezTo>
                  <a:pt x="41" y="61"/>
                  <a:pt x="41" y="61"/>
                  <a:pt x="41" y="61"/>
                </a:cubicBezTo>
                <a:cubicBezTo>
                  <a:pt x="42" y="60"/>
                  <a:pt x="42" y="60"/>
                  <a:pt x="42" y="60"/>
                </a:cubicBezTo>
                <a:cubicBezTo>
                  <a:pt x="42" y="59"/>
                  <a:pt x="42" y="59"/>
                  <a:pt x="42" y="59"/>
                </a:cubicBezTo>
                <a:cubicBezTo>
                  <a:pt x="41" y="58"/>
                  <a:pt x="41" y="58"/>
                  <a:pt x="41" y="58"/>
                </a:cubicBezTo>
                <a:cubicBezTo>
                  <a:pt x="40" y="59"/>
                  <a:pt x="40" y="59"/>
                  <a:pt x="40" y="59"/>
                </a:cubicBezTo>
                <a:cubicBezTo>
                  <a:pt x="40" y="58"/>
                  <a:pt x="40" y="58"/>
                  <a:pt x="40" y="58"/>
                </a:cubicBezTo>
                <a:cubicBezTo>
                  <a:pt x="39" y="59"/>
                  <a:pt x="39" y="59"/>
                  <a:pt x="39" y="59"/>
                </a:cubicBezTo>
                <a:cubicBezTo>
                  <a:pt x="39" y="60"/>
                  <a:pt x="39" y="60"/>
                  <a:pt x="39" y="60"/>
                </a:cubicBezTo>
                <a:cubicBezTo>
                  <a:pt x="38" y="61"/>
                  <a:pt x="38" y="61"/>
                  <a:pt x="38" y="61"/>
                </a:cubicBezTo>
                <a:cubicBezTo>
                  <a:pt x="38" y="63"/>
                  <a:pt x="38" y="63"/>
                  <a:pt x="38" y="63"/>
                </a:cubicBezTo>
                <a:cubicBezTo>
                  <a:pt x="37" y="65"/>
                  <a:pt x="37" y="65"/>
                  <a:pt x="37" y="65"/>
                </a:cubicBezTo>
                <a:cubicBezTo>
                  <a:pt x="35" y="65"/>
                  <a:pt x="35" y="65"/>
                  <a:pt x="35" y="65"/>
                </a:cubicBezTo>
                <a:cubicBezTo>
                  <a:pt x="35" y="66"/>
                  <a:pt x="35" y="66"/>
                  <a:pt x="35" y="66"/>
                </a:cubicBezTo>
                <a:cubicBezTo>
                  <a:pt x="35" y="68"/>
                  <a:pt x="35" y="68"/>
                  <a:pt x="35" y="68"/>
                </a:cubicBezTo>
                <a:cubicBezTo>
                  <a:pt x="36" y="68"/>
                  <a:pt x="36" y="68"/>
                  <a:pt x="36" y="68"/>
                </a:cubicBezTo>
                <a:cubicBezTo>
                  <a:pt x="37" y="69"/>
                  <a:pt x="37" y="69"/>
                  <a:pt x="37" y="69"/>
                </a:cubicBezTo>
                <a:cubicBezTo>
                  <a:pt x="39" y="69"/>
                  <a:pt x="39" y="69"/>
                  <a:pt x="39" y="69"/>
                </a:cubicBezTo>
                <a:cubicBezTo>
                  <a:pt x="39" y="70"/>
                  <a:pt x="39" y="70"/>
                  <a:pt x="39" y="70"/>
                </a:cubicBezTo>
                <a:cubicBezTo>
                  <a:pt x="40" y="71"/>
                  <a:pt x="40" y="71"/>
                  <a:pt x="40" y="71"/>
                </a:cubicBezTo>
                <a:cubicBezTo>
                  <a:pt x="41" y="70"/>
                  <a:pt x="41" y="70"/>
                  <a:pt x="41" y="70"/>
                </a:cubicBezTo>
                <a:cubicBezTo>
                  <a:pt x="41" y="69"/>
                  <a:pt x="41" y="69"/>
                  <a:pt x="41" y="69"/>
                </a:cubicBezTo>
                <a:cubicBezTo>
                  <a:pt x="40" y="67"/>
                  <a:pt x="40" y="67"/>
                  <a:pt x="40" y="67"/>
                </a:cubicBezTo>
                <a:close/>
                <a:moveTo>
                  <a:pt x="43" y="69"/>
                </a:moveTo>
                <a:cubicBezTo>
                  <a:pt x="44" y="70"/>
                  <a:pt x="44" y="70"/>
                  <a:pt x="44" y="70"/>
                </a:cubicBezTo>
                <a:cubicBezTo>
                  <a:pt x="44" y="71"/>
                  <a:pt x="44" y="71"/>
                  <a:pt x="44" y="71"/>
                </a:cubicBezTo>
                <a:cubicBezTo>
                  <a:pt x="43" y="71"/>
                  <a:pt x="43" y="71"/>
                  <a:pt x="43" y="71"/>
                </a:cubicBezTo>
                <a:cubicBezTo>
                  <a:pt x="42" y="70"/>
                  <a:pt x="42" y="70"/>
                  <a:pt x="42" y="70"/>
                </a:cubicBezTo>
                <a:cubicBezTo>
                  <a:pt x="42" y="70"/>
                  <a:pt x="42" y="70"/>
                  <a:pt x="42" y="70"/>
                </a:cubicBezTo>
                <a:cubicBezTo>
                  <a:pt x="43" y="69"/>
                  <a:pt x="43" y="69"/>
                  <a:pt x="43" y="69"/>
                </a:cubicBezTo>
                <a:close/>
                <a:moveTo>
                  <a:pt x="47" y="64"/>
                </a:moveTo>
                <a:cubicBezTo>
                  <a:pt x="48" y="64"/>
                  <a:pt x="48" y="64"/>
                  <a:pt x="48" y="64"/>
                </a:cubicBezTo>
                <a:cubicBezTo>
                  <a:pt x="49" y="64"/>
                  <a:pt x="49" y="64"/>
                  <a:pt x="49" y="64"/>
                </a:cubicBezTo>
                <a:cubicBezTo>
                  <a:pt x="49" y="66"/>
                  <a:pt x="49" y="66"/>
                  <a:pt x="49" y="66"/>
                </a:cubicBezTo>
                <a:cubicBezTo>
                  <a:pt x="48" y="66"/>
                  <a:pt x="48" y="66"/>
                  <a:pt x="48" y="66"/>
                </a:cubicBezTo>
                <a:cubicBezTo>
                  <a:pt x="46" y="67"/>
                  <a:pt x="46" y="67"/>
                  <a:pt x="46" y="67"/>
                </a:cubicBezTo>
                <a:cubicBezTo>
                  <a:pt x="45" y="67"/>
                  <a:pt x="45" y="67"/>
                  <a:pt x="45" y="67"/>
                </a:cubicBezTo>
                <a:cubicBezTo>
                  <a:pt x="45" y="67"/>
                  <a:pt x="45" y="67"/>
                  <a:pt x="45" y="67"/>
                </a:cubicBezTo>
                <a:cubicBezTo>
                  <a:pt x="44" y="66"/>
                  <a:pt x="44" y="66"/>
                  <a:pt x="44" y="66"/>
                </a:cubicBezTo>
                <a:cubicBezTo>
                  <a:pt x="45" y="65"/>
                  <a:pt x="45" y="65"/>
                  <a:pt x="45" y="65"/>
                </a:cubicBezTo>
                <a:cubicBezTo>
                  <a:pt x="47" y="64"/>
                  <a:pt x="47" y="64"/>
                  <a:pt x="47" y="64"/>
                </a:cubicBezTo>
                <a:close/>
                <a:moveTo>
                  <a:pt x="53" y="64"/>
                </a:moveTo>
                <a:cubicBezTo>
                  <a:pt x="53" y="65"/>
                  <a:pt x="53" y="65"/>
                  <a:pt x="53" y="65"/>
                </a:cubicBezTo>
                <a:cubicBezTo>
                  <a:pt x="53" y="66"/>
                  <a:pt x="53" y="66"/>
                  <a:pt x="53" y="66"/>
                </a:cubicBezTo>
                <a:cubicBezTo>
                  <a:pt x="53" y="65"/>
                  <a:pt x="53" y="65"/>
                  <a:pt x="53" y="65"/>
                </a:cubicBezTo>
                <a:cubicBezTo>
                  <a:pt x="53" y="64"/>
                  <a:pt x="53" y="64"/>
                  <a:pt x="53" y="64"/>
                </a:cubicBezTo>
                <a:close/>
                <a:moveTo>
                  <a:pt x="49" y="69"/>
                </a:moveTo>
                <a:cubicBezTo>
                  <a:pt x="50" y="70"/>
                  <a:pt x="50" y="70"/>
                  <a:pt x="50" y="70"/>
                </a:cubicBezTo>
                <a:cubicBezTo>
                  <a:pt x="50" y="71"/>
                  <a:pt x="50" y="71"/>
                  <a:pt x="50" y="71"/>
                </a:cubicBezTo>
                <a:cubicBezTo>
                  <a:pt x="49" y="70"/>
                  <a:pt x="49" y="70"/>
                  <a:pt x="49" y="70"/>
                </a:cubicBezTo>
                <a:cubicBezTo>
                  <a:pt x="49" y="69"/>
                  <a:pt x="49" y="69"/>
                  <a:pt x="49" y="69"/>
                </a:cubicBezTo>
                <a:cubicBezTo>
                  <a:pt x="49" y="69"/>
                  <a:pt x="49" y="69"/>
                  <a:pt x="49" y="69"/>
                </a:cubicBezTo>
                <a:close/>
                <a:moveTo>
                  <a:pt x="48" y="54"/>
                </a:moveTo>
                <a:cubicBezTo>
                  <a:pt x="48" y="55"/>
                  <a:pt x="48" y="55"/>
                  <a:pt x="48" y="55"/>
                </a:cubicBezTo>
                <a:cubicBezTo>
                  <a:pt x="47" y="55"/>
                  <a:pt x="47" y="55"/>
                  <a:pt x="47" y="55"/>
                </a:cubicBezTo>
                <a:cubicBezTo>
                  <a:pt x="46" y="55"/>
                  <a:pt x="46" y="55"/>
                  <a:pt x="46" y="55"/>
                </a:cubicBezTo>
                <a:cubicBezTo>
                  <a:pt x="47" y="54"/>
                  <a:pt x="47" y="54"/>
                  <a:pt x="47" y="54"/>
                </a:cubicBezTo>
                <a:cubicBezTo>
                  <a:pt x="48" y="54"/>
                  <a:pt x="48" y="54"/>
                  <a:pt x="48" y="54"/>
                </a:cubicBezTo>
                <a:close/>
                <a:moveTo>
                  <a:pt x="51" y="56"/>
                </a:moveTo>
                <a:cubicBezTo>
                  <a:pt x="52" y="56"/>
                  <a:pt x="52" y="56"/>
                  <a:pt x="52" y="56"/>
                </a:cubicBezTo>
                <a:cubicBezTo>
                  <a:pt x="52" y="57"/>
                  <a:pt x="52" y="57"/>
                  <a:pt x="52" y="57"/>
                </a:cubicBezTo>
                <a:cubicBezTo>
                  <a:pt x="54" y="57"/>
                  <a:pt x="54" y="57"/>
                  <a:pt x="54" y="57"/>
                </a:cubicBezTo>
                <a:cubicBezTo>
                  <a:pt x="55" y="57"/>
                  <a:pt x="55" y="57"/>
                  <a:pt x="55" y="57"/>
                </a:cubicBezTo>
                <a:cubicBezTo>
                  <a:pt x="55" y="57"/>
                  <a:pt x="55" y="57"/>
                  <a:pt x="55" y="57"/>
                </a:cubicBezTo>
                <a:cubicBezTo>
                  <a:pt x="56" y="57"/>
                  <a:pt x="56" y="57"/>
                  <a:pt x="56" y="57"/>
                </a:cubicBezTo>
                <a:cubicBezTo>
                  <a:pt x="55" y="57"/>
                  <a:pt x="55" y="57"/>
                  <a:pt x="55" y="57"/>
                </a:cubicBezTo>
                <a:cubicBezTo>
                  <a:pt x="55" y="55"/>
                  <a:pt x="55" y="55"/>
                  <a:pt x="55" y="55"/>
                </a:cubicBezTo>
                <a:cubicBezTo>
                  <a:pt x="54" y="55"/>
                  <a:pt x="54" y="55"/>
                  <a:pt x="54" y="55"/>
                </a:cubicBezTo>
                <a:cubicBezTo>
                  <a:pt x="54" y="53"/>
                  <a:pt x="54" y="53"/>
                  <a:pt x="54" y="53"/>
                </a:cubicBezTo>
                <a:cubicBezTo>
                  <a:pt x="54" y="51"/>
                  <a:pt x="54" y="51"/>
                  <a:pt x="54" y="51"/>
                </a:cubicBezTo>
                <a:cubicBezTo>
                  <a:pt x="54" y="50"/>
                  <a:pt x="54" y="50"/>
                  <a:pt x="54" y="50"/>
                </a:cubicBezTo>
                <a:cubicBezTo>
                  <a:pt x="53" y="50"/>
                  <a:pt x="53" y="50"/>
                  <a:pt x="53" y="50"/>
                </a:cubicBezTo>
                <a:cubicBezTo>
                  <a:pt x="52" y="48"/>
                  <a:pt x="52" y="48"/>
                  <a:pt x="52" y="48"/>
                </a:cubicBezTo>
                <a:cubicBezTo>
                  <a:pt x="52" y="47"/>
                  <a:pt x="52" y="47"/>
                  <a:pt x="52" y="47"/>
                </a:cubicBezTo>
                <a:cubicBezTo>
                  <a:pt x="51" y="47"/>
                  <a:pt x="51" y="47"/>
                  <a:pt x="51" y="47"/>
                </a:cubicBezTo>
                <a:cubicBezTo>
                  <a:pt x="51" y="47"/>
                  <a:pt x="51" y="47"/>
                  <a:pt x="51" y="47"/>
                </a:cubicBezTo>
                <a:cubicBezTo>
                  <a:pt x="50" y="47"/>
                  <a:pt x="50" y="47"/>
                  <a:pt x="50" y="47"/>
                </a:cubicBezTo>
                <a:cubicBezTo>
                  <a:pt x="49" y="47"/>
                  <a:pt x="49" y="47"/>
                  <a:pt x="49" y="47"/>
                </a:cubicBezTo>
                <a:cubicBezTo>
                  <a:pt x="49" y="48"/>
                  <a:pt x="49" y="48"/>
                  <a:pt x="49" y="48"/>
                </a:cubicBezTo>
                <a:cubicBezTo>
                  <a:pt x="48" y="48"/>
                  <a:pt x="48" y="48"/>
                  <a:pt x="48" y="48"/>
                </a:cubicBezTo>
                <a:cubicBezTo>
                  <a:pt x="47" y="48"/>
                  <a:pt x="47" y="48"/>
                  <a:pt x="47" y="48"/>
                </a:cubicBezTo>
                <a:cubicBezTo>
                  <a:pt x="46" y="47"/>
                  <a:pt x="46" y="47"/>
                  <a:pt x="46" y="47"/>
                </a:cubicBezTo>
                <a:cubicBezTo>
                  <a:pt x="46" y="48"/>
                  <a:pt x="46" y="48"/>
                  <a:pt x="46" y="48"/>
                </a:cubicBezTo>
                <a:cubicBezTo>
                  <a:pt x="47" y="50"/>
                  <a:pt x="47" y="50"/>
                  <a:pt x="47" y="50"/>
                </a:cubicBezTo>
                <a:cubicBezTo>
                  <a:pt x="49" y="51"/>
                  <a:pt x="49" y="51"/>
                  <a:pt x="49" y="51"/>
                </a:cubicBezTo>
                <a:cubicBezTo>
                  <a:pt x="50" y="53"/>
                  <a:pt x="50" y="53"/>
                  <a:pt x="50" y="53"/>
                </a:cubicBezTo>
                <a:cubicBezTo>
                  <a:pt x="51" y="54"/>
                  <a:pt x="51" y="54"/>
                  <a:pt x="51" y="54"/>
                </a:cubicBezTo>
                <a:cubicBezTo>
                  <a:pt x="51" y="54"/>
                  <a:pt x="51" y="54"/>
                  <a:pt x="51" y="54"/>
                </a:cubicBezTo>
                <a:cubicBezTo>
                  <a:pt x="50" y="55"/>
                  <a:pt x="50" y="55"/>
                  <a:pt x="50" y="55"/>
                </a:cubicBezTo>
                <a:cubicBezTo>
                  <a:pt x="50" y="55"/>
                  <a:pt x="50" y="55"/>
                  <a:pt x="50" y="55"/>
                </a:cubicBezTo>
                <a:cubicBezTo>
                  <a:pt x="50" y="55"/>
                  <a:pt x="50" y="55"/>
                  <a:pt x="50" y="55"/>
                </a:cubicBezTo>
                <a:cubicBezTo>
                  <a:pt x="51" y="55"/>
                  <a:pt x="51" y="55"/>
                  <a:pt x="51" y="55"/>
                </a:cubicBezTo>
                <a:cubicBezTo>
                  <a:pt x="51" y="56"/>
                  <a:pt x="51" y="56"/>
                  <a:pt x="51" y="56"/>
                </a:cubicBezTo>
                <a:close/>
                <a:moveTo>
                  <a:pt x="50" y="56"/>
                </a:moveTo>
                <a:cubicBezTo>
                  <a:pt x="49" y="56"/>
                  <a:pt x="49" y="56"/>
                  <a:pt x="49" y="56"/>
                </a:cubicBezTo>
                <a:cubicBezTo>
                  <a:pt x="48" y="56"/>
                  <a:pt x="48" y="56"/>
                  <a:pt x="48" y="56"/>
                </a:cubicBezTo>
                <a:cubicBezTo>
                  <a:pt x="47" y="56"/>
                  <a:pt x="47" y="56"/>
                  <a:pt x="47" y="56"/>
                </a:cubicBezTo>
                <a:cubicBezTo>
                  <a:pt x="47" y="57"/>
                  <a:pt x="47" y="57"/>
                  <a:pt x="47" y="57"/>
                </a:cubicBezTo>
                <a:cubicBezTo>
                  <a:pt x="47" y="58"/>
                  <a:pt x="47" y="58"/>
                  <a:pt x="47" y="58"/>
                </a:cubicBezTo>
                <a:cubicBezTo>
                  <a:pt x="48" y="59"/>
                  <a:pt x="48" y="59"/>
                  <a:pt x="48" y="59"/>
                </a:cubicBezTo>
                <a:cubicBezTo>
                  <a:pt x="49" y="58"/>
                  <a:pt x="49" y="58"/>
                  <a:pt x="49" y="58"/>
                </a:cubicBezTo>
                <a:cubicBezTo>
                  <a:pt x="49" y="59"/>
                  <a:pt x="49" y="59"/>
                  <a:pt x="49" y="59"/>
                </a:cubicBezTo>
                <a:cubicBezTo>
                  <a:pt x="49" y="61"/>
                  <a:pt x="49" y="61"/>
                  <a:pt x="49" y="61"/>
                </a:cubicBezTo>
                <a:cubicBezTo>
                  <a:pt x="50" y="62"/>
                  <a:pt x="50" y="62"/>
                  <a:pt x="50" y="62"/>
                </a:cubicBezTo>
                <a:cubicBezTo>
                  <a:pt x="50" y="64"/>
                  <a:pt x="50" y="64"/>
                  <a:pt x="50" y="64"/>
                </a:cubicBezTo>
                <a:cubicBezTo>
                  <a:pt x="51" y="64"/>
                  <a:pt x="51" y="64"/>
                  <a:pt x="51" y="64"/>
                </a:cubicBezTo>
                <a:cubicBezTo>
                  <a:pt x="51" y="63"/>
                  <a:pt x="51" y="63"/>
                  <a:pt x="51" y="63"/>
                </a:cubicBezTo>
                <a:cubicBezTo>
                  <a:pt x="52" y="64"/>
                  <a:pt x="52" y="64"/>
                  <a:pt x="52" y="64"/>
                </a:cubicBezTo>
                <a:cubicBezTo>
                  <a:pt x="53" y="63"/>
                  <a:pt x="53" y="63"/>
                  <a:pt x="53" y="63"/>
                </a:cubicBezTo>
                <a:cubicBezTo>
                  <a:pt x="53" y="62"/>
                  <a:pt x="53" y="62"/>
                  <a:pt x="53" y="62"/>
                </a:cubicBezTo>
                <a:cubicBezTo>
                  <a:pt x="52" y="60"/>
                  <a:pt x="52" y="60"/>
                  <a:pt x="52" y="60"/>
                </a:cubicBezTo>
                <a:cubicBezTo>
                  <a:pt x="51" y="60"/>
                  <a:pt x="51" y="60"/>
                  <a:pt x="51" y="60"/>
                </a:cubicBezTo>
                <a:cubicBezTo>
                  <a:pt x="51" y="58"/>
                  <a:pt x="51" y="58"/>
                  <a:pt x="51" y="58"/>
                </a:cubicBezTo>
                <a:cubicBezTo>
                  <a:pt x="50" y="56"/>
                  <a:pt x="50" y="56"/>
                  <a:pt x="50" y="56"/>
                </a:cubicBezTo>
                <a:cubicBezTo>
                  <a:pt x="50" y="56"/>
                  <a:pt x="50" y="56"/>
                  <a:pt x="50" y="56"/>
                </a:cubicBezTo>
                <a:close/>
                <a:moveTo>
                  <a:pt x="56" y="59"/>
                </a:moveTo>
                <a:cubicBezTo>
                  <a:pt x="57" y="59"/>
                  <a:pt x="57" y="59"/>
                  <a:pt x="57" y="59"/>
                </a:cubicBezTo>
                <a:cubicBezTo>
                  <a:pt x="56" y="58"/>
                  <a:pt x="56" y="58"/>
                  <a:pt x="56" y="58"/>
                </a:cubicBezTo>
                <a:cubicBezTo>
                  <a:pt x="56" y="58"/>
                  <a:pt x="56" y="58"/>
                  <a:pt x="56" y="58"/>
                </a:cubicBezTo>
                <a:cubicBezTo>
                  <a:pt x="56" y="59"/>
                  <a:pt x="56" y="59"/>
                  <a:pt x="56" y="59"/>
                </a:cubicBezTo>
                <a:close/>
                <a:moveTo>
                  <a:pt x="56" y="60"/>
                </a:moveTo>
                <a:cubicBezTo>
                  <a:pt x="56" y="60"/>
                  <a:pt x="56" y="60"/>
                  <a:pt x="56" y="60"/>
                </a:cubicBezTo>
                <a:cubicBezTo>
                  <a:pt x="56" y="60"/>
                  <a:pt x="56" y="60"/>
                  <a:pt x="56" y="60"/>
                </a:cubicBezTo>
                <a:cubicBezTo>
                  <a:pt x="56" y="61"/>
                  <a:pt x="56" y="61"/>
                  <a:pt x="56" y="61"/>
                </a:cubicBezTo>
                <a:cubicBezTo>
                  <a:pt x="56" y="60"/>
                  <a:pt x="56" y="60"/>
                  <a:pt x="56" y="60"/>
                </a:cubicBezTo>
                <a:close/>
                <a:moveTo>
                  <a:pt x="56" y="66"/>
                </a:moveTo>
                <a:cubicBezTo>
                  <a:pt x="56" y="65"/>
                  <a:pt x="56" y="65"/>
                  <a:pt x="56" y="65"/>
                </a:cubicBezTo>
                <a:cubicBezTo>
                  <a:pt x="56" y="64"/>
                  <a:pt x="56" y="64"/>
                  <a:pt x="56" y="64"/>
                </a:cubicBezTo>
                <a:cubicBezTo>
                  <a:pt x="56" y="63"/>
                  <a:pt x="56" y="63"/>
                  <a:pt x="56" y="63"/>
                </a:cubicBezTo>
                <a:cubicBezTo>
                  <a:pt x="56" y="62"/>
                  <a:pt x="56" y="62"/>
                  <a:pt x="56" y="62"/>
                </a:cubicBezTo>
                <a:cubicBezTo>
                  <a:pt x="56" y="62"/>
                  <a:pt x="56" y="62"/>
                  <a:pt x="56" y="62"/>
                </a:cubicBezTo>
                <a:cubicBezTo>
                  <a:pt x="55" y="62"/>
                  <a:pt x="55" y="62"/>
                  <a:pt x="55" y="62"/>
                </a:cubicBezTo>
                <a:cubicBezTo>
                  <a:pt x="55" y="63"/>
                  <a:pt x="55" y="63"/>
                  <a:pt x="55" y="63"/>
                </a:cubicBezTo>
                <a:cubicBezTo>
                  <a:pt x="56" y="65"/>
                  <a:pt x="56" y="65"/>
                  <a:pt x="56" y="65"/>
                </a:cubicBezTo>
                <a:cubicBezTo>
                  <a:pt x="55" y="65"/>
                  <a:pt x="55" y="65"/>
                  <a:pt x="55" y="65"/>
                </a:cubicBezTo>
                <a:cubicBezTo>
                  <a:pt x="56" y="66"/>
                  <a:pt x="56" y="66"/>
                  <a:pt x="56" y="66"/>
                </a:cubicBezTo>
                <a:cubicBezTo>
                  <a:pt x="56" y="66"/>
                  <a:pt x="56" y="66"/>
                  <a:pt x="56" y="66"/>
                </a:cubicBezTo>
                <a:close/>
                <a:moveTo>
                  <a:pt x="58" y="67"/>
                </a:moveTo>
                <a:cubicBezTo>
                  <a:pt x="57" y="67"/>
                  <a:pt x="57" y="67"/>
                  <a:pt x="57" y="67"/>
                </a:cubicBezTo>
                <a:cubicBezTo>
                  <a:pt x="58" y="68"/>
                  <a:pt x="58" y="68"/>
                  <a:pt x="58" y="68"/>
                </a:cubicBezTo>
                <a:cubicBezTo>
                  <a:pt x="58" y="67"/>
                  <a:pt x="58" y="67"/>
                  <a:pt x="58" y="67"/>
                </a:cubicBezTo>
                <a:cubicBezTo>
                  <a:pt x="58" y="67"/>
                  <a:pt x="58" y="67"/>
                  <a:pt x="58" y="67"/>
                </a:cubicBezTo>
                <a:close/>
                <a:moveTo>
                  <a:pt x="58" y="64"/>
                </a:moveTo>
                <a:cubicBezTo>
                  <a:pt x="58" y="65"/>
                  <a:pt x="58" y="65"/>
                  <a:pt x="58" y="65"/>
                </a:cubicBezTo>
                <a:cubicBezTo>
                  <a:pt x="58" y="66"/>
                  <a:pt x="58" y="66"/>
                  <a:pt x="58" y="66"/>
                </a:cubicBezTo>
                <a:cubicBezTo>
                  <a:pt x="59" y="66"/>
                  <a:pt x="59" y="66"/>
                  <a:pt x="59" y="66"/>
                </a:cubicBezTo>
                <a:cubicBezTo>
                  <a:pt x="59" y="66"/>
                  <a:pt x="59" y="66"/>
                  <a:pt x="59" y="66"/>
                </a:cubicBezTo>
                <a:cubicBezTo>
                  <a:pt x="59" y="65"/>
                  <a:pt x="59" y="65"/>
                  <a:pt x="59" y="65"/>
                </a:cubicBezTo>
                <a:cubicBezTo>
                  <a:pt x="58" y="64"/>
                  <a:pt x="58" y="64"/>
                  <a:pt x="58" y="64"/>
                </a:cubicBezTo>
                <a:close/>
                <a:moveTo>
                  <a:pt x="34" y="86"/>
                </a:moveTo>
                <a:cubicBezTo>
                  <a:pt x="33" y="84"/>
                  <a:pt x="33" y="84"/>
                  <a:pt x="33" y="84"/>
                </a:cubicBezTo>
                <a:cubicBezTo>
                  <a:pt x="33" y="83"/>
                  <a:pt x="33" y="83"/>
                  <a:pt x="33" y="83"/>
                </a:cubicBezTo>
                <a:cubicBezTo>
                  <a:pt x="34" y="81"/>
                  <a:pt x="34" y="81"/>
                  <a:pt x="34" y="81"/>
                </a:cubicBezTo>
                <a:cubicBezTo>
                  <a:pt x="33" y="80"/>
                  <a:pt x="33" y="80"/>
                  <a:pt x="33" y="80"/>
                </a:cubicBezTo>
                <a:cubicBezTo>
                  <a:pt x="35" y="79"/>
                  <a:pt x="35" y="79"/>
                  <a:pt x="35" y="79"/>
                </a:cubicBezTo>
                <a:cubicBezTo>
                  <a:pt x="36" y="78"/>
                  <a:pt x="36" y="78"/>
                  <a:pt x="36" y="78"/>
                </a:cubicBezTo>
                <a:cubicBezTo>
                  <a:pt x="37" y="77"/>
                  <a:pt x="37" y="77"/>
                  <a:pt x="37" y="77"/>
                </a:cubicBezTo>
                <a:cubicBezTo>
                  <a:pt x="38" y="78"/>
                  <a:pt x="38" y="78"/>
                  <a:pt x="38" y="78"/>
                </a:cubicBezTo>
                <a:cubicBezTo>
                  <a:pt x="40" y="77"/>
                  <a:pt x="40" y="77"/>
                  <a:pt x="40" y="77"/>
                </a:cubicBezTo>
                <a:cubicBezTo>
                  <a:pt x="39" y="76"/>
                  <a:pt x="39" y="76"/>
                  <a:pt x="39" y="76"/>
                </a:cubicBezTo>
                <a:cubicBezTo>
                  <a:pt x="40" y="75"/>
                  <a:pt x="40" y="75"/>
                  <a:pt x="40" y="75"/>
                </a:cubicBezTo>
                <a:cubicBezTo>
                  <a:pt x="41" y="74"/>
                  <a:pt x="41" y="74"/>
                  <a:pt x="41" y="74"/>
                </a:cubicBezTo>
                <a:cubicBezTo>
                  <a:pt x="42" y="73"/>
                  <a:pt x="42" y="73"/>
                  <a:pt x="42" y="73"/>
                </a:cubicBezTo>
                <a:cubicBezTo>
                  <a:pt x="43" y="73"/>
                  <a:pt x="43" y="73"/>
                  <a:pt x="43" y="73"/>
                </a:cubicBezTo>
                <a:cubicBezTo>
                  <a:pt x="45" y="75"/>
                  <a:pt x="45" y="75"/>
                  <a:pt x="45" y="75"/>
                </a:cubicBezTo>
                <a:cubicBezTo>
                  <a:pt x="45" y="77"/>
                  <a:pt x="45" y="77"/>
                  <a:pt x="45" y="77"/>
                </a:cubicBezTo>
                <a:cubicBezTo>
                  <a:pt x="43" y="79"/>
                  <a:pt x="43" y="79"/>
                  <a:pt x="43" y="79"/>
                </a:cubicBezTo>
                <a:cubicBezTo>
                  <a:pt x="44" y="78"/>
                  <a:pt x="44" y="78"/>
                  <a:pt x="44" y="78"/>
                </a:cubicBezTo>
                <a:cubicBezTo>
                  <a:pt x="46" y="77"/>
                  <a:pt x="46" y="77"/>
                  <a:pt x="46" y="77"/>
                </a:cubicBezTo>
                <a:cubicBezTo>
                  <a:pt x="47" y="77"/>
                  <a:pt x="47" y="77"/>
                  <a:pt x="47" y="77"/>
                </a:cubicBezTo>
                <a:cubicBezTo>
                  <a:pt x="48" y="74"/>
                  <a:pt x="48" y="74"/>
                  <a:pt x="48" y="74"/>
                </a:cubicBezTo>
                <a:cubicBezTo>
                  <a:pt x="49" y="74"/>
                  <a:pt x="49" y="74"/>
                  <a:pt x="49" y="74"/>
                </a:cubicBezTo>
                <a:cubicBezTo>
                  <a:pt x="50" y="75"/>
                  <a:pt x="50" y="75"/>
                  <a:pt x="50" y="75"/>
                </a:cubicBezTo>
                <a:cubicBezTo>
                  <a:pt x="50" y="75"/>
                  <a:pt x="50" y="75"/>
                  <a:pt x="50" y="75"/>
                </a:cubicBezTo>
                <a:cubicBezTo>
                  <a:pt x="51" y="74"/>
                  <a:pt x="51" y="74"/>
                  <a:pt x="51" y="74"/>
                </a:cubicBezTo>
                <a:cubicBezTo>
                  <a:pt x="50" y="74"/>
                  <a:pt x="50" y="74"/>
                  <a:pt x="50" y="74"/>
                </a:cubicBezTo>
                <a:cubicBezTo>
                  <a:pt x="51" y="71"/>
                  <a:pt x="51" y="71"/>
                  <a:pt x="51" y="71"/>
                </a:cubicBezTo>
                <a:cubicBezTo>
                  <a:pt x="52" y="72"/>
                  <a:pt x="52" y="72"/>
                  <a:pt x="52" y="72"/>
                </a:cubicBezTo>
                <a:cubicBezTo>
                  <a:pt x="53" y="72"/>
                  <a:pt x="53" y="72"/>
                  <a:pt x="53" y="72"/>
                </a:cubicBezTo>
                <a:cubicBezTo>
                  <a:pt x="53" y="72"/>
                  <a:pt x="53" y="72"/>
                  <a:pt x="53" y="72"/>
                </a:cubicBezTo>
                <a:cubicBezTo>
                  <a:pt x="53" y="70"/>
                  <a:pt x="53" y="70"/>
                  <a:pt x="53" y="70"/>
                </a:cubicBezTo>
                <a:cubicBezTo>
                  <a:pt x="54" y="70"/>
                  <a:pt x="54" y="70"/>
                  <a:pt x="54" y="70"/>
                </a:cubicBezTo>
                <a:cubicBezTo>
                  <a:pt x="55" y="71"/>
                  <a:pt x="55" y="71"/>
                  <a:pt x="55" y="71"/>
                </a:cubicBezTo>
                <a:cubicBezTo>
                  <a:pt x="55" y="70"/>
                  <a:pt x="55" y="70"/>
                  <a:pt x="55" y="70"/>
                </a:cubicBezTo>
                <a:cubicBezTo>
                  <a:pt x="54" y="68"/>
                  <a:pt x="54" y="68"/>
                  <a:pt x="54" y="68"/>
                </a:cubicBezTo>
                <a:cubicBezTo>
                  <a:pt x="54" y="66"/>
                  <a:pt x="54" y="66"/>
                  <a:pt x="54" y="66"/>
                </a:cubicBezTo>
                <a:cubicBezTo>
                  <a:pt x="55" y="66"/>
                  <a:pt x="55" y="66"/>
                  <a:pt x="55" y="66"/>
                </a:cubicBezTo>
                <a:cubicBezTo>
                  <a:pt x="56" y="66"/>
                  <a:pt x="56" y="66"/>
                  <a:pt x="56" y="66"/>
                </a:cubicBezTo>
                <a:cubicBezTo>
                  <a:pt x="56" y="67"/>
                  <a:pt x="56" y="67"/>
                  <a:pt x="56" y="67"/>
                </a:cubicBezTo>
                <a:cubicBezTo>
                  <a:pt x="58" y="69"/>
                  <a:pt x="58" y="69"/>
                  <a:pt x="58" y="69"/>
                </a:cubicBezTo>
                <a:cubicBezTo>
                  <a:pt x="59" y="70"/>
                  <a:pt x="59" y="70"/>
                  <a:pt x="59" y="70"/>
                </a:cubicBezTo>
                <a:cubicBezTo>
                  <a:pt x="60" y="69"/>
                  <a:pt x="60" y="69"/>
                  <a:pt x="60" y="69"/>
                </a:cubicBezTo>
                <a:cubicBezTo>
                  <a:pt x="60" y="70"/>
                  <a:pt x="60" y="70"/>
                  <a:pt x="60" y="70"/>
                </a:cubicBezTo>
                <a:cubicBezTo>
                  <a:pt x="60" y="72"/>
                  <a:pt x="60" y="72"/>
                  <a:pt x="60" y="72"/>
                </a:cubicBezTo>
                <a:cubicBezTo>
                  <a:pt x="60" y="73"/>
                  <a:pt x="60" y="73"/>
                  <a:pt x="60" y="73"/>
                </a:cubicBezTo>
                <a:cubicBezTo>
                  <a:pt x="60" y="73"/>
                  <a:pt x="60" y="73"/>
                  <a:pt x="60" y="73"/>
                </a:cubicBezTo>
                <a:cubicBezTo>
                  <a:pt x="59" y="74"/>
                  <a:pt x="59" y="74"/>
                  <a:pt x="59" y="74"/>
                </a:cubicBezTo>
                <a:cubicBezTo>
                  <a:pt x="60" y="75"/>
                  <a:pt x="60" y="75"/>
                  <a:pt x="60" y="75"/>
                </a:cubicBezTo>
                <a:cubicBezTo>
                  <a:pt x="61" y="75"/>
                  <a:pt x="61" y="75"/>
                  <a:pt x="61" y="75"/>
                </a:cubicBezTo>
                <a:cubicBezTo>
                  <a:pt x="60" y="75"/>
                  <a:pt x="60" y="75"/>
                  <a:pt x="60" y="75"/>
                </a:cubicBezTo>
                <a:cubicBezTo>
                  <a:pt x="61" y="77"/>
                  <a:pt x="61" y="77"/>
                  <a:pt x="61" y="77"/>
                </a:cubicBezTo>
                <a:cubicBezTo>
                  <a:pt x="61" y="76"/>
                  <a:pt x="61" y="76"/>
                  <a:pt x="61" y="76"/>
                </a:cubicBezTo>
                <a:cubicBezTo>
                  <a:pt x="61" y="78"/>
                  <a:pt x="61" y="78"/>
                  <a:pt x="61" y="78"/>
                </a:cubicBezTo>
                <a:cubicBezTo>
                  <a:pt x="61" y="79"/>
                  <a:pt x="61" y="79"/>
                  <a:pt x="61" y="79"/>
                </a:cubicBezTo>
                <a:cubicBezTo>
                  <a:pt x="62" y="80"/>
                  <a:pt x="62" y="80"/>
                  <a:pt x="62" y="80"/>
                </a:cubicBezTo>
                <a:cubicBezTo>
                  <a:pt x="63" y="81"/>
                  <a:pt x="63" y="81"/>
                  <a:pt x="63" y="81"/>
                </a:cubicBezTo>
                <a:cubicBezTo>
                  <a:pt x="63" y="83"/>
                  <a:pt x="63" y="83"/>
                  <a:pt x="63" y="83"/>
                </a:cubicBezTo>
                <a:cubicBezTo>
                  <a:pt x="62" y="85"/>
                  <a:pt x="62" y="85"/>
                  <a:pt x="62" y="85"/>
                </a:cubicBezTo>
                <a:cubicBezTo>
                  <a:pt x="62" y="85"/>
                  <a:pt x="62" y="85"/>
                  <a:pt x="62" y="85"/>
                </a:cubicBezTo>
                <a:cubicBezTo>
                  <a:pt x="62" y="86"/>
                  <a:pt x="62" y="86"/>
                  <a:pt x="62" y="86"/>
                </a:cubicBezTo>
                <a:cubicBezTo>
                  <a:pt x="61" y="85"/>
                  <a:pt x="61" y="85"/>
                  <a:pt x="61" y="85"/>
                </a:cubicBezTo>
                <a:cubicBezTo>
                  <a:pt x="61" y="85"/>
                  <a:pt x="61" y="85"/>
                  <a:pt x="61" y="85"/>
                </a:cubicBezTo>
                <a:cubicBezTo>
                  <a:pt x="60" y="86"/>
                  <a:pt x="60" y="86"/>
                  <a:pt x="60" y="86"/>
                </a:cubicBezTo>
                <a:cubicBezTo>
                  <a:pt x="61" y="88"/>
                  <a:pt x="61" y="88"/>
                  <a:pt x="61" y="88"/>
                </a:cubicBezTo>
                <a:cubicBezTo>
                  <a:pt x="61" y="89"/>
                  <a:pt x="61" y="89"/>
                  <a:pt x="61" y="89"/>
                </a:cubicBezTo>
                <a:cubicBezTo>
                  <a:pt x="61" y="90"/>
                  <a:pt x="61" y="90"/>
                  <a:pt x="61" y="90"/>
                </a:cubicBezTo>
                <a:cubicBezTo>
                  <a:pt x="60" y="89"/>
                  <a:pt x="60" y="89"/>
                  <a:pt x="60" y="89"/>
                </a:cubicBezTo>
                <a:cubicBezTo>
                  <a:pt x="60" y="87"/>
                  <a:pt x="60" y="87"/>
                  <a:pt x="60" y="87"/>
                </a:cubicBezTo>
                <a:cubicBezTo>
                  <a:pt x="60" y="86"/>
                  <a:pt x="60" y="86"/>
                  <a:pt x="60" y="86"/>
                </a:cubicBezTo>
                <a:cubicBezTo>
                  <a:pt x="59" y="85"/>
                  <a:pt x="59" y="85"/>
                  <a:pt x="59" y="85"/>
                </a:cubicBezTo>
                <a:cubicBezTo>
                  <a:pt x="59" y="84"/>
                  <a:pt x="59" y="84"/>
                  <a:pt x="59" y="84"/>
                </a:cubicBezTo>
                <a:cubicBezTo>
                  <a:pt x="58" y="83"/>
                  <a:pt x="58" y="83"/>
                  <a:pt x="58" y="83"/>
                </a:cubicBezTo>
                <a:cubicBezTo>
                  <a:pt x="57" y="83"/>
                  <a:pt x="57" y="83"/>
                  <a:pt x="57" y="83"/>
                </a:cubicBezTo>
                <a:cubicBezTo>
                  <a:pt x="55" y="86"/>
                  <a:pt x="55" y="86"/>
                  <a:pt x="55" y="86"/>
                </a:cubicBezTo>
                <a:cubicBezTo>
                  <a:pt x="55" y="87"/>
                  <a:pt x="55" y="87"/>
                  <a:pt x="55" y="87"/>
                </a:cubicBezTo>
                <a:cubicBezTo>
                  <a:pt x="56" y="88"/>
                  <a:pt x="56" y="88"/>
                  <a:pt x="56" y="88"/>
                </a:cubicBezTo>
                <a:cubicBezTo>
                  <a:pt x="57" y="89"/>
                  <a:pt x="57" y="89"/>
                  <a:pt x="57" y="89"/>
                </a:cubicBezTo>
                <a:cubicBezTo>
                  <a:pt x="58" y="90"/>
                  <a:pt x="58" y="90"/>
                  <a:pt x="58" y="90"/>
                </a:cubicBezTo>
                <a:cubicBezTo>
                  <a:pt x="58" y="91"/>
                  <a:pt x="58" y="91"/>
                  <a:pt x="58" y="91"/>
                </a:cubicBezTo>
                <a:cubicBezTo>
                  <a:pt x="56" y="94"/>
                  <a:pt x="56" y="94"/>
                  <a:pt x="56" y="94"/>
                </a:cubicBezTo>
                <a:cubicBezTo>
                  <a:pt x="55" y="94"/>
                  <a:pt x="55" y="94"/>
                  <a:pt x="55" y="94"/>
                </a:cubicBezTo>
                <a:cubicBezTo>
                  <a:pt x="55" y="94"/>
                  <a:pt x="55" y="94"/>
                  <a:pt x="55" y="94"/>
                </a:cubicBezTo>
                <a:cubicBezTo>
                  <a:pt x="54" y="93"/>
                  <a:pt x="54" y="93"/>
                  <a:pt x="54" y="93"/>
                </a:cubicBezTo>
                <a:cubicBezTo>
                  <a:pt x="55" y="92"/>
                  <a:pt x="55" y="92"/>
                  <a:pt x="55" y="92"/>
                </a:cubicBezTo>
                <a:cubicBezTo>
                  <a:pt x="54" y="91"/>
                  <a:pt x="54" y="91"/>
                  <a:pt x="54" y="91"/>
                </a:cubicBezTo>
                <a:cubicBezTo>
                  <a:pt x="54" y="92"/>
                  <a:pt x="54" y="92"/>
                  <a:pt x="54" y="92"/>
                </a:cubicBezTo>
                <a:cubicBezTo>
                  <a:pt x="53" y="92"/>
                  <a:pt x="53" y="92"/>
                  <a:pt x="53" y="92"/>
                </a:cubicBezTo>
                <a:cubicBezTo>
                  <a:pt x="52" y="93"/>
                  <a:pt x="52" y="93"/>
                  <a:pt x="52" y="93"/>
                </a:cubicBezTo>
                <a:cubicBezTo>
                  <a:pt x="51" y="92"/>
                  <a:pt x="51" y="92"/>
                  <a:pt x="51" y="92"/>
                </a:cubicBezTo>
                <a:cubicBezTo>
                  <a:pt x="50" y="91"/>
                  <a:pt x="50" y="91"/>
                  <a:pt x="50" y="91"/>
                </a:cubicBezTo>
                <a:cubicBezTo>
                  <a:pt x="49" y="91"/>
                  <a:pt x="49" y="91"/>
                  <a:pt x="49" y="91"/>
                </a:cubicBezTo>
                <a:cubicBezTo>
                  <a:pt x="47" y="90"/>
                  <a:pt x="47" y="90"/>
                  <a:pt x="47" y="90"/>
                </a:cubicBezTo>
                <a:cubicBezTo>
                  <a:pt x="47" y="89"/>
                  <a:pt x="47" y="89"/>
                  <a:pt x="47" y="89"/>
                </a:cubicBezTo>
                <a:cubicBezTo>
                  <a:pt x="46" y="88"/>
                  <a:pt x="46" y="88"/>
                  <a:pt x="46" y="88"/>
                </a:cubicBezTo>
                <a:cubicBezTo>
                  <a:pt x="47" y="87"/>
                  <a:pt x="47" y="87"/>
                  <a:pt x="47" y="87"/>
                </a:cubicBezTo>
                <a:cubicBezTo>
                  <a:pt x="46" y="86"/>
                  <a:pt x="46" y="86"/>
                  <a:pt x="46" y="86"/>
                </a:cubicBezTo>
                <a:cubicBezTo>
                  <a:pt x="46" y="85"/>
                  <a:pt x="46" y="85"/>
                  <a:pt x="46" y="85"/>
                </a:cubicBezTo>
                <a:cubicBezTo>
                  <a:pt x="46" y="85"/>
                  <a:pt x="46" y="85"/>
                  <a:pt x="46" y="85"/>
                </a:cubicBezTo>
                <a:cubicBezTo>
                  <a:pt x="46" y="84"/>
                  <a:pt x="46" y="84"/>
                  <a:pt x="46" y="84"/>
                </a:cubicBezTo>
                <a:cubicBezTo>
                  <a:pt x="47" y="84"/>
                  <a:pt x="47" y="84"/>
                  <a:pt x="47" y="84"/>
                </a:cubicBezTo>
                <a:cubicBezTo>
                  <a:pt x="48" y="84"/>
                  <a:pt x="48" y="84"/>
                  <a:pt x="48" y="84"/>
                </a:cubicBezTo>
                <a:cubicBezTo>
                  <a:pt x="47" y="83"/>
                  <a:pt x="47" y="83"/>
                  <a:pt x="47" y="83"/>
                </a:cubicBezTo>
                <a:cubicBezTo>
                  <a:pt x="47" y="82"/>
                  <a:pt x="47" y="82"/>
                  <a:pt x="47" y="82"/>
                </a:cubicBezTo>
                <a:cubicBezTo>
                  <a:pt x="45" y="81"/>
                  <a:pt x="45" y="81"/>
                  <a:pt x="45" y="81"/>
                </a:cubicBezTo>
                <a:cubicBezTo>
                  <a:pt x="44" y="81"/>
                  <a:pt x="44" y="81"/>
                  <a:pt x="44" y="81"/>
                </a:cubicBezTo>
                <a:cubicBezTo>
                  <a:pt x="43" y="80"/>
                  <a:pt x="43" y="80"/>
                  <a:pt x="43" y="80"/>
                </a:cubicBezTo>
                <a:cubicBezTo>
                  <a:pt x="43" y="80"/>
                  <a:pt x="43" y="80"/>
                  <a:pt x="43" y="80"/>
                </a:cubicBezTo>
                <a:cubicBezTo>
                  <a:pt x="42" y="80"/>
                  <a:pt x="42" y="80"/>
                  <a:pt x="42" y="80"/>
                </a:cubicBezTo>
                <a:cubicBezTo>
                  <a:pt x="42" y="81"/>
                  <a:pt x="42" y="81"/>
                  <a:pt x="42" y="81"/>
                </a:cubicBezTo>
                <a:cubicBezTo>
                  <a:pt x="42" y="82"/>
                  <a:pt x="42" y="82"/>
                  <a:pt x="42" y="82"/>
                </a:cubicBezTo>
                <a:cubicBezTo>
                  <a:pt x="43" y="83"/>
                  <a:pt x="43" y="83"/>
                  <a:pt x="43" y="83"/>
                </a:cubicBezTo>
                <a:cubicBezTo>
                  <a:pt x="42" y="82"/>
                  <a:pt x="42" y="82"/>
                  <a:pt x="42" y="82"/>
                </a:cubicBezTo>
                <a:cubicBezTo>
                  <a:pt x="41" y="82"/>
                  <a:pt x="41" y="82"/>
                  <a:pt x="41" y="82"/>
                </a:cubicBezTo>
                <a:cubicBezTo>
                  <a:pt x="41" y="82"/>
                  <a:pt x="41" y="82"/>
                  <a:pt x="41" y="82"/>
                </a:cubicBezTo>
                <a:cubicBezTo>
                  <a:pt x="41" y="81"/>
                  <a:pt x="41" y="81"/>
                  <a:pt x="41" y="81"/>
                </a:cubicBezTo>
                <a:cubicBezTo>
                  <a:pt x="40" y="81"/>
                  <a:pt x="40" y="81"/>
                  <a:pt x="40" y="81"/>
                </a:cubicBezTo>
                <a:cubicBezTo>
                  <a:pt x="40" y="81"/>
                  <a:pt x="40" y="81"/>
                  <a:pt x="40" y="81"/>
                </a:cubicBezTo>
                <a:cubicBezTo>
                  <a:pt x="40" y="82"/>
                  <a:pt x="40" y="82"/>
                  <a:pt x="40" y="82"/>
                </a:cubicBezTo>
                <a:cubicBezTo>
                  <a:pt x="39" y="82"/>
                  <a:pt x="39" y="82"/>
                  <a:pt x="39" y="82"/>
                </a:cubicBezTo>
                <a:cubicBezTo>
                  <a:pt x="38" y="82"/>
                  <a:pt x="38" y="82"/>
                  <a:pt x="38" y="82"/>
                </a:cubicBezTo>
                <a:cubicBezTo>
                  <a:pt x="38" y="82"/>
                  <a:pt x="38" y="82"/>
                  <a:pt x="38" y="82"/>
                </a:cubicBezTo>
                <a:cubicBezTo>
                  <a:pt x="38" y="81"/>
                  <a:pt x="38" y="81"/>
                  <a:pt x="38" y="81"/>
                </a:cubicBezTo>
                <a:cubicBezTo>
                  <a:pt x="37" y="80"/>
                  <a:pt x="37" y="80"/>
                  <a:pt x="37" y="80"/>
                </a:cubicBezTo>
                <a:cubicBezTo>
                  <a:pt x="37" y="80"/>
                  <a:pt x="37" y="80"/>
                  <a:pt x="37" y="80"/>
                </a:cubicBezTo>
                <a:cubicBezTo>
                  <a:pt x="36" y="82"/>
                  <a:pt x="36" y="82"/>
                  <a:pt x="36" y="82"/>
                </a:cubicBezTo>
                <a:cubicBezTo>
                  <a:pt x="35" y="82"/>
                  <a:pt x="35" y="82"/>
                  <a:pt x="35" y="82"/>
                </a:cubicBezTo>
                <a:cubicBezTo>
                  <a:pt x="34" y="85"/>
                  <a:pt x="34" y="85"/>
                  <a:pt x="34" y="85"/>
                </a:cubicBezTo>
                <a:cubicBezTo>
                  <a:pt x="34" y="86"/>
                  <a:pt x="34" y="86"/>
                  <a:pt x="34" y="86"/>
                </a:cubicBezTo>
                <a:close/>
                <a:moveTo>
                  <a:pt x="32" y="87"/>
                </a:moveTo>
                <a:cubicBezTo>
                  <a:pt x="32" y="88"/>
                  <a:pt x="32" y="88"/>
                  <a:pt x="32" y="88"/>
                </a:cubicBezTo>
                <a:cubicBezTo>
                  <a:pt x="33" y="89"/>
                  <a:pt x="33" y="89"/>
                  <a:pt x="33" y="89"/>
                </a:cubicBezTo>
                <a:cubicBezTo>
                  <a:pt x="34" y="89"/>
                  <a:pt x="34" y="89"/>
                  <a:pt x="34" y="89"/>
                </a:cubicBezTo>
                <a:cubicBezTo>
                  <a:pt x="35" y="88"/>
                  <a:pt x="35" y="88"/>
                  <a:pt x="35" y="88"/>
                </a:cubicBezTo>
                <a:cubicBezTo>
                  <a:pt x="35" y="87"/>
                  <a:pt x="35" y="87"/>
                  <a:pt x="35" y="87"/>
                </a:cubicBezTo>
                <a:cubicBezTo>
                  <a:pt x="35" y="87"/>
                  <a:pt x="35" y="87"/>
                  <a:pt x="35" y="87"/>
                </a:cubicBezTo>
                <a:cubicBezTo>
                  <a:pt x="34" y="87"/>
                  <a:pt x="34" y="87"/>
                  <a:pt x="34" y="87"/>
                </a:cubicBezTo>
                <a:cubicBezTo>
                  <a:pt x="33" y="87"/>
                  <a:pt x="33" y="87"/>
                  <a:pt x="33" y="87"/>
                </a:cubicBezTo>
                <a:cubicBezTo>
                  <a:pt x="32" y="87"/>
                  <a:pt x="32" y="87"/>
                  <a:pt x="32" y="87"/>
                </a:cubicBezTo>
                <a:close/>
                <a:moveTo>
                  <a:pt x="18" y="51"/>
                </a:moveTo>
                <a:cubicBezTo>
                  <a:pt x="17" y="50"/>
                  <a:pt x="17" y="50"/>
                  <a:pt x="17" y="50"/>
                </a:cubicBezTo>
                <a:cubicBezTo>
                  <a:pt x="17" y="50"/>
                  <a:pt x="17" y="50"/>
                  <a:pt x="17" y="50"/>
                </a:cubicBezTo>
                <a:cubicBezTo>
                  <a:pt x="17" y="49"/>
                  <a:pt x="17" y="49"/>
                  <a:pt x="17" y="49"/>
                </a:cubicBezTo>
                <a:cubicBezTo>
                  <a:pt x="18" y="49"/>
                  <a:pt x="18" y="49"/>
                  <a:pt x="18" y="49"/>
                </a:cubicBezTo>
                <a:cubicBezTo>
                  <a:pt x="19" y="50"/>
                  <a:pt x="19" y="50"/>
                  <a:pt x="19" y="50"/>
                </a:cubicBezTo>
                <a:cubicBezTo>
                  <a:pt x="20" y="50"/>
                  <a:pt x="20" y="50"/>
                  <a:pt x="20" y="50"/>
                </a:cubicBezTo>
                <a:cubicBezTo>
                  <a:pt x="20" y="51"/>
                  <a:pt x="20" y="51"/>
                  <a:pt x="20" y="51"/>
                </a:cubicBezTo>
                <a:cubicBezTo>
                  <a:pt x="20" y="52"/>
                  <a:pt x="20" y="52"/>
                  <a:pt x="20" y="52"/>
                </a:cubicBezTo>
                <a:cubicBezTo>
                  <a:pt x="19" y="51"/>
                  <a:pt x="19" y="51"/>
                  <a:pt x="19" y="51"/>
                </a:cubicBezTo>
                <a:cubicBezTo>
                  <a:pt x="18" y="51"/>
                  <a:pt x="18" y="51"/>
                  <a:pt x="18" y="51"/>
                </a:cubicBezTo>
                <a:close/>
                <a:moveTo>
                  <a:pt x="17" y="52"/>
                </a:moveTo>
                <a:cubicBezTo>
                  <a:pt x="18" y="52"/>
                  <a:pt x="18" y="52"/>
                  <a:pt x="18" y="52"/>
                </a:cubicBezTo>
                <a:cubicBezTo>
                  <a:pt x="19" y="53"/>
                  <a:pt x="19" y="53"/>
                  <a:pt x="19" y="53"/>
                </a:cubicBezTo>
                <a:cubicBezTo>
                  <a:pt x="18" y="53"/>
                  <a:pt x="18" y="53"/>
                  <a:pt x="18" y="53"/>
                </a:cubicBezTo>
                <a:cubicBezTo>
                  <a:pt x="18" y="54"/>
                  <a:pt x="18" y="54"/>
                  <a:pt x="18" y="54"/>
                </a:cubicBezTo>
                <a:cubicBezTo>
                  <a:pt x="17" y="54"/>
                  <a:pt x="17" y="54"/>
                  <a:pt x="17" y="54"/>
                </a:cubicBezTo>
                <a:cubicBezTo>
                  <a:pt x="17" y="52"/>
                  <a:pt x="17" y="52"/>
                  <a:pt x="17" y="52"/>
                </a:cubicBezTo>
                <a:cubicBezTo>
                  <a:pt x="17" y="52"/>
                  <a:pt x="17" y="52"/>
                  <a:pt x="17" y="52"/>
                </a:cubicBezTo>
                <a:close/>
                <a:moveTo>
                  <a:pt x="18" y="61"/>
                </a:moveTo>
                <a:cubicBezTo>
                  <a:pt x="18" y="61"/>
                  <a:pt x="18" y="61"/>
                  <a:pt x="18" y="61"/>
                </a:cubicBezTo>
                <a:cubicBezTo>
                  <a:pt x="18" y="60"/>
                  <a:pt x="18" y="60"/>
                  <a:pt x="18" y="60"/>
                </a:cubicBezTo>
                <a:cubicBezTo>
                  <a:pt x="19" y="61"/>
                  <a:pt x="19" y="61"/>
                  <a:pt x="19" y="61"/>
                </a:cubicBezTo>
                <a:cubicBezTo>
                  <a:pt x="19" y="61"/>
                  <a:pt x="19" y="61"/>
                  <a:pt x="19" y="61"/>
                </a:cubicBezTo>
                <a:cubicBezTo>
                  <a:pt x="19" y="62"/>
                  <a:pt x="19" y="62"/>
                  <a:pt x="19" y="62"/>
                </a:cubicBezTo>
                <a:cubicBezTo>
                  <a:pt x="18" y="62"/>
                  <a:pt x="18" y="62"/>
                  <a:pt x="18" y="62"/>
                </a:cubicBezTo>
                <a:cubicBezTo>
                  <a:pt x="17" y="62"/>
                  <a:pt x="17" y="62"/>
                  <a:pt x="17" y="62"/>
                </a:cubicBezTo>
                <a:cubicBezTo>
                  <a:pt x="18" y="61"/>
                  <a:pt x="18" y="61"/>
                  <a:pt x="18" y="61"/>
                </a:cubicBezTo>
                <a:close/>
                <a:moveTo>
                  <a:pt x="2" y="75"/>
                </a:moveTo>
                <a:cubicBezTo>
                  <a:pt x="4" y="74"/>
                  <a:pt x="4" y="74"/>
                  <a:pt x="4" y="74"/>
                </a:cubicBezTo>
                <a:cubicBezTo>
                  <a:pt x="4" y="74"/>
                  <a:pt x="4" y="74"/>
                  <a:pt x="4" y="74"/>
                </a:cubicBezTo>
                <a:cubicBezTo>
                  <a:pt x="5" y="73"/>
                  <a:pt x="5" y="73"/>
                  <a:pt x="5" y="73"/>
                </a:cubicBezTo>
                <a:cubicBezTo>
                  <a:pt x="7" y="73"/>
                  <a:pt x="7" y="73"/>
                  <a:pt x="7" y="73"/>
                </a:cubicBezTo>
                <a:cubicBezTo>
                  <a:pt x="8" y="71"/>
                  <a:pt x="8" y="71"/>
                  <a:pt x="8" y="71"/>
                </a:cubicBezTo>
                <a:cubicBezTo>
                  <a:pt x="9" y="70"/>
                  <a:pt x="9" y="70"/>
                  <a:pt x="9" y="70"/>
                </a:cubicBezTo>
                <a:cubicBezTo>
                  <a:pt x="10" y="69"/>
                  <a:pt x="10" y="69"/>
                  <a:pt x="10" y="69"/>
                </a:cubicBezTo>
                <a:cubicBezTo>
                  <a:pt x="11" y="69"/>
                  <a:pt x="11" y="69"/>
                  <a:pt x="11" y="69"/>
                </a:cubicBezTo>
                <a:cubicBezTo>
                  <a:pt x="11" y="68"/>
                  <a:pt x="11" y="68"/>
                  <a:pt x="11" y="68"/>
                </a:cubicBezTo>
                <a:cubicBezTo>
                  <a:pt x="11" y="66"/>
                  <a:pt x="11" y="66"/>
                  <a:pt x="11" y="66"/>
                </a:cubicBezTo>
                <a:cubicBezTo>
                  <a:pt x="12" y="65"/>
                  <a:pt x="12" y="65"/>
                  <a:pt x="12" y="65"/>
                </a:cubicBezTo>
                <a:cubicBezTo>
                  <a:pt x="14" y="65"/>
                  <a:pt x="14" y="65"/>
                  <a:pt x="14" y="65"/>
                </a:cubicBezTo>
                <a:cubicBezTo>
                  <a:pt x="14" y="63"/>
                  <a:pt x="14" y="63"/>
                  <a:pt x="14" y="63"/>
                </a:cubicBezTo>
                <a:cubicBezTo>
                  <a:pt x="15" y="62"/>
                  <a:pt x="15" y="62"/>
                  <a:pt x="15" y="62"/>
                </a:cubicBezTo>
                <a:cubicBezTo>
                  <a:pt x="16" y="62"/>
                  <a:pt x="16" y="62"/>
                  <a:pt x="16" y="62"/>
                </a:cubicBezTo>
                <a:cubicBezTo>
                  <a:pt x="17" y="61"/>
                  <a:pt x="17" y="61"/>
                  <a:pt x="17" y="61"/>
                </a:cubicBezTo>
                <a:cubicBezTo>
                  <a:pt x="16" y="60"/>
                  <a:pt x="16" y="60"/>
                  <a:pt x="16" y="60"/>
                </a:cubicBezTo>
                <a:cubicBezTo>
                  <a:pt x="15" y="59"/>
                  <a:pt x="15" y="59"/>
                  <a:pt x="15" y="59"/>
                </a:cubicBezTo>
                <a:cubicBezTo>
                  <a:pt x="15" y="57"/>
                  <a:pt x="15" y="57"/>
                  <a:pt x="15" y="57"/>
                </a:cubicBezTo>
                <a:cubicBezTo>
                  <a:pt x="15" y="56"/>
                  <a:pt x="15" y="56"/>
                  <a:pt x="15" y="56"/>
                </a:cubicBezTo>
                <a:cubicBezTo>
                  <a:pt x="15" y="56"/>
                  <a:pt x="15" y="56"/>
                  <a:pt x="15" y="56"/>
                </a:cubicBezTo>
                <a:cubicBezTo>
                  <a:pt x="14" y="58"/>
                  <a:pt x="14" y="58"/>
                  <a:pt x="14" y="58"/>
                </a:cubicBezTo>
                <a:cubicBezTo>
                  <a:pt x="15" y="60"/>
                  <a:pt x="15" y="60"/>
                  <a:pt x="15" y="60"/>
                </a:cubicBezTo>
                <a:cubicBezTo>
                  <a:pt x="14" y="59"/>
                  <a:pt x="14" y="59"/>
                  <a:pt x="14" y="59"/>
                </a:cubicBezTo>
                <a:cubicBezTo>
                  <a:pt x="14" y="60"/>
                  <a:pt x="14" y="60"/>
                  <a:pt x="14" y="60"/>
                </a:cubicBezTo>
                <a:cubicBezTo>
                  <a:pt x="14" y="61"/>
                  <a:pt x="14" y="61"/>
                  <a:pt x="14" y="61"/>
                </a:cubicBezTo>
                <a:cubicBezTo>
                  <a:pt x="13" y="62"/>
                  <a:pt x="13" y="62"/>
                  <a:pt x="13" y="62"/>
                </a:cubicBezTo>
                <a:cubicBezTo>
                  <a:pt x="13" y="62"/>
                  <a:pt x="13" y="62"/>
                  <a:pt x="13" y="62"/>
                </a:cubicBezTo>
                <a:cubicBezTo>
                  <a:pt x="11" y="64"/>
                  <a:pt x="11" y="64"/>
                  <a:pt x="11" y="64"/>
                </a:cubicBezTo>
                <a:cubicBezTo>
                  <a:pt x="11" y="64"/>
                  <a:pt x="11" y="64"/>
                  <a:pt x="11" y="64"/>
                </a:cubicBezTo>
                <a:cubicBezTo>
                  <a:pt x="10" y="65"/>
                  <a:pt x="10" y="65"/>
                  <a:pt x="10" y="65"/>
                </a:cubicBezTo>
                <a:cubicBezTo>
                  <a:pt x="9" y="68"/>
                  <a:pt x="9" y="68"/>
                  <a:pt x="9" y="68"/>
                </a:cubicBezTo>
                <a:cubicBezTo>
                  <a:pt x="7" y="70"/>
                  <a:pt x="7" y="70"/>
                  <a:pt x="7" y="70"/>
                </a:cubicBezTo>
                <a:cubicBezTo>
                  <a:pt x="6" y="70"/>
                  <a:pt x="6" y="70"/>
                  <a:pt x="6" y="70"/>
                </a:cubicBezTo>
                <a:cubicBezTo>
                  <a:pt x="5" y="72"/>
                  <a:pt x="5" y="72"/>
                  <a:pt x="5" y="72"/>
                </a:cubicBezTo>
                <a:cubicBezTo>
                  <a:pt x="4" y="72"/>
                  <a:pt x="4" y="72"/>
                  <a:pt x="4" y="72"/>
                </a:cubicBezTo>
                <a:cubicBezTo>
                  <a:pt x="3" y="74"/>
                  <a:pt x="3" y="74"/>
                  <a:pt x="3" y="74"/>
                </a:cubicBezTo>
                <a:cubicBezTo>
                  <a:pt x="2" y="75"/>
                  <a:pt x="2" y="75"/>
                  <a:pt x="2" y="75"/>
                </a:cubicBezTo>
                <a:cubicBezTo>
                  <a:pt x="2" y="75"/>
                  <a:pt x="2" y="75"/>
                  <a:pt x="2" y="75"/>
                </a:cubicBezTo>
                <a:close/>
                <a:moveTo>
                  <a:pt x="3" y="76"/>
                </a:moveTo>
                <a:cubicBezTo>
                  <a:pt x="2" y="76"/>
                  <a:pt x="2" y="76"/>
                  <a:pt x="2" y="76"/>
                </a:cubicBezTo>
                <a:cubicBezTo>
                  <a:pt x="3" y="76"/>
                  <a:pt x="3" y="76"/>
                  <a:pt x="3" y="76"/>
                </a:cubicBezTo>
                <a:cubicBezTo>
                  <a:pt x="3" y="76"/>
                  <a:pt x="3" y="76"/>
                  <a:pt x="3" y="76"/>
                </a:cubicBezTo>
                <a:close/>
                <a:moveTo>
                  <a:pt x="3" y="76"/>
                </a:moveTo>
                <a:cubicBezTo>
                  <a:pt x="3" y="76"/>
                  <a:pt x="3" y="76"/>
                  <a:pt x="3" y="76"/>
                </a:cubicBezTo>
                <a:cubicBezTo>
                  <a:pt x="3" y="77"/>
                  <a:pt x="3" y="77"/>
                  <a:pt x="3" y="77"/>
                </a:cubicBezTo>
                <a:cubicBezTo>
                  <a:pt x="3" y="76"/>
                  <a:pt x="3" y="76"/>
                  <a:pt x="3" y="76"/>
                </a:cubicBezTo>
                <a:close/>
                <a:moveTo>
                  <a:pt x="1" y="77"/>
                </a:moveTo>
                <a:cubicBezTo>
                  <a:pt x="0" y="78"/>
                  <a:pt x="0" y="78"/>
                  <a:pt x="0" y="78"/>
                </a:cubicBezTo>
                <a:cubicBezTo>
                  <a:pt x="0" y="79"/>
                  <a:pt x="0" y="79"/>
                  <a:pt x="0" y="79"/>
                </a:cubicBezTo>
                <a:cubicBezTo>
                  <a:pt x="1" y="80"/>
                  <a:pt x="1" y="80"/>
                  <a:pt x="1" y="80"/>
                </a:cubicBezTo>
                <a:cubicBezTo>
                  <a:pt x="2" y="80"/>
                  <a:pt x="2" y="80"/>
                  <a:pt x="2" y="80"/>
                </a:cubicBezTo>
                <a:cubicBezTo>
                  <a:pt x="2" y="78"/>
                  <a:pt x="2" y="78"/>
                  <a:pt x="2" y="78"/>
                </a:cubicBezTo>
                <a:cubicBezTo>
                  <a:pt x="2" y="78"/>
                  <a:pt x="2" y="78"/>
                  <a:pt x="2" y="78"/>
                </a:cubicBezTo>
                <a:lnTo>
                  <a:pt x="1" y="77"/>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7" name="Freeform 25">
            <a:extLst>
              <a:ext uri="{FF2B5EF4-FFF2-40B4-BE49-F238E27FC236}">
                <a16:creationId xmlns:a16="http://schemas.microsoft.com/office/drawing/2014/main" id="{8981A820-1401-4BFF-CBAF-D3AD2D0B5D85}"/>
              </a:ext>
            </a:extLst>
          </p:cNvPr>
          <p:cNvSpPr>
            <a:spLocks noEditPoints="1"/>
          </p:cNvSpPr>
          <p:nvPr userDrawn="1"/>
        </p:nvSpPr>
        <p:spPr bwMode="auto">
          <a:xfrm>
            <a:off x="19131303" y="8968656"/>
            <a:ext cx="2870013" cy="1143000"/>
          </a:xfrm>
          <a:custGeom>
            <a:avLst/>
            <a:gdLst>
              <a:gd name="T0" fmla="*/ 276 w 289"/>
              <a:gd name="T1" fmla="*/ 90 h 115"/>
              <a:gd name="T2" fmla="*/ 261 w 289"/>
              <a:gd name="T3" fmla="*/ 74 h 115"/>
              <a:gd name="T4" fmla="*/ 240 w 289"/>
              <a:gd name="T5" fmla="*/ 70 h 115"/>
              <a:gd name="T6" fmla="*/ 238 w 289"/>
              <a:gd name="T7" fmla="*/ 58 h 115"/>
              <a:gd name="T8" fmla="*/ 247 w 289"/>
              <a:gd name="T9" fmla="*/ 51 h 115"/>
              <a:gd name="T10" fmla="*/ 265 w 289"/>
              <a:gd name="T11" fmla="*/ 56 h 115"/>
              <a:gd name="T12" fmla="*/ 224 w 289"/>
              <a:gd name="T13" fmla="*/ 44 h 115"/>
              <a:gd name="T14" fmla="*/ 190 w 289"/>
              <a:gd name="T15" fmla="*/ 21 h 115"/>
              <a:gd name="T16" fmla="*/ 207 w 289"/>
              <a:gd name="T17" fmla="*/ 47 h 115"/>
              <a:gd name="T18" fmla="*/ 212 w 289"/>
              <a:gd name="T19" fmla="*/ 33 h 115"/>
              <a:gd name="T20" fmla="*/ 204 w 289"/>
              <a:gd name="T21" fmla="*/ 49 h 115"/>
              <a:gd name="T22" fmla="*/ 210 w 289"/>
              <a:gd name="T23" fmla="*/ 67 h 115"/>
              <a:gd name="T24" fmla="*/ 221 w 289"/>
              <a:gd name="T25" fmla="*/ 67 h 115"/>
              <a:gd name="T26" fmla="*/ 194 w 289"/>
              <a:gd name="T27" fmla="*/ 67 h 115"/>
              <a:gd name="T28" fmla="*/ 192 w 289"/>
              <a:gd name="T29" fmla="*/ 56 h 115"/>
              <a:gd name="T30" fmla="*/ 175 w 289"/>
              <a:gd name="T31" fmla="*/ 77 h 115"/>
              <a:gd name="T32" fmla="*/ 175 w 289"/>
              <a:gd name="T33" fmla="*/ 56 h 115"/>
              <a:gd name="T34" fmla="*/ 168 w 289"/>
              <a:gd name="T35" fmla="*/ 47 h 115"/>
              <a:gd name="T36" fmla="*/ 185 w 289"/>
              <a:gd name="T37" fmla="*/ 35 h 115"/>
              <a:gd name="T38" fmla="*/ 155 w 289"/>
              <a:gd name="T39" fmla="*/ 48 h 115"/>
              <a:gd name="T40" fmla="*/ 153 w 289"/>
              <a:gd name="T41" fmla="*/ 80 h 115"/>
              <a:gd name="T42" fmla="*/ 165 w 289"/>
              <a:gd name="T43" fmla="*/ 71 h 115"/>
              <a:gd name="T44" fmla="*/ 171 w 289"/>
              <a:gd name="T45" fmla="*/ 65 h 115"/>
              <a:gd name="T46" fmla="*/ 171 w 289"/>
              <a:gd name="T47" fmla="*/ 48 h 115"/>
              <a:gd name="T48" fmla="*/ 151 w 289"/>
              <a:gd name="T49" fmla="*/ 12 h 115"/>
              <a:gd name="T50" fmla="*/ 132 w 289"/>
              <a:gd name="T51" fmla="*/ 68 h 115"/>
              <a:gd name="T52" fmla="*/ 90 w 289"/>
              <a:gd name="T53" fmla="*/ 52 h 115"/>
              <a:gd name="T54" fmla="*/ 130 w 289"/>
              <a:gd name="T55" fmla="*/ 16 h 115"/>
              <a:gd name="T56" fmla="*/ 146 w 289"/>
              <a:gd name="T57" fmla="*/ 35 h 115"/>
              <a:gd name="T58" fmla="*/ 132 w 289"/>
              <a:gd name="T59" fmla="*/ 56 h 115"/>
              <a:gd name="T60" fmla="*/ 117 w 289"/>
              <a:gd name="T61" fmla="*/ 66 h 115"/>
              <a:gd name="T62" fmla="*/ 95 w 289"/>
              <a:gd name="T63" fmla="*/ 61 h 115"/>
              <a:gd name="T64" fmla="*/ 250 w 289"/>
              <a:gd name="T65" fmla="*/ 49 h 115"/>
              <a:gd name="T66" fmla="*/ 256 w 289"/>
              <a:gd name="T67" fmla="*/ 47 h 115"/>
              <a:gd name="T68" fmla="*/ 247 w 289"/>
              <a:gd name="T69" fmla="*/ 87 h 115"/>
              <a:gd name="T70" fmla="*/ 245 w 289"/>
              <a:gd name="T71" fmla="*/ 80 h 115"/>
              <a:gd name="T72" fmla="*/ 224 w 289"/>
              <a:gd name="T73" fmla="*/ 92 h 115"/>
              <a:gd name="T74" fmla="*/ 219 w 289"/>
              <a:gd name="T75" fmla="*/ 84 h 115"/>
              <a:gd name="T76" fmla="*/ 201 w 289"/>
              <a:gd name="T77" fmla="*/ 93 h 115"/>
              <a:gd name="T78" fmla="*/ 183 w 289"/>
              <a:gd name="T79" fmla="*/ 104 h 115"/>
              <a:gd name="T80" fmla="*/ 166 w 289"/>
              <a:gd name="T81" fmla="*/ 111 h 115"/>
              <a:gd name="T82" fmla="*/ 127 w 289"/>
              <a:gd name="T83" fmla="*/ 88 h 115"/>
              <a:gd name="T84" fmla="*/ 186 w 289"/>
              <a:gd name="T85" fmla="*/ 97 h 115"/>
              <a:gd name="T86" fmla="*/ 153 w 289"/>
              <a:gd name="T87" fmla="*/ 98 h 115"/>
              <a:gd name="T88" fmla="*/ 157 w 289"/>
              <a:gd name="T89" fmla="*/ 101 h 115"/>
              <a:gd name="T90" fmla="*/ 148 w 289"/>
              <a:gd name="T91" fmla="*/ 101 h 115"/>
              <a:gd name="T92" fmla="*/ 133 w 289"/>
              <a:gd name="T93" fmla="*/ 101 h 115"/>
              <a:gd name="T94" fmla="*/ 274 w 289"/>
              <a:gd name="T95" fmla="*/ 96 h 115"/>
              <a:gd name="T96" fmla="*/ 115 w 289"/>
              <a:gd name="T97" fmla="*/ 89 h 115"/>
              <a:gd name="T98" fmla="*/ 96 w 289"/>
              <a:gd name="T99" fmla="*/ 88 h 115"/>
              <a:gd name="T100" fmla="*/ 115 w 289"/>
              <a:gd name="T101" fmla="*/ 98 h 115"/>
              <a:gd name="T102" fmla="*/ 70 w 289"/>
              <a:gd name="T103" fmla="*/ 89 h 115"/>
              <a:gd name="T104" fmla="*/ 67 w 289"/>
              <a:gd name="T105" fmla="*/ 23 h 115"/>
              <a:gd name="T106" fmla="*/ 79 w 289"/>
              <a:gd name="T107" fmla="*/ 65 h 115"/>
              <a:gd name="T108" fmla="*/ 69 w 289"/>
              <a:gd name="T109" fmla="*/ 55 h 115"/>
              <a:gd name="T110" fmla="*/ 44 w 289"/>
              <a:gd name="T111" fmla="*/ 34 h 115"/>
              <a:gd name="T112" fmla="*/ 21 w 289"/>
              <a:gd name="T113" fmla="*/ 51 h 115"/>
              <a:gd name="T114" fmla="*/ 12 w 289"/>
              <a:gd name="T115" fmla="*/ 34 h 115"/>
              <a:gd name="T116" fmla="*/ 23 w 289"/>
              <a:gd name="T117" fmla="*/ 32 h 115"/>
              <a:gd name="T118" fmla="*/ 59 w 289"/>
              <a:gd name="T119" fmla="*/ 81 h 115"/>
              <a:gd name="T120" fmla="*/ 60 w 289"/>
              <a:gd name="T121" fmla="*/ 55 h 115"/>
              <a:gd name="T122" fmla="*/ 42 w 289"/>
              <a:gd name="T123" fmla="*/ 33 h 115"/>
              <a:gd name="T124" fmla="*/ 6 w 289"/>
              <a:gd name="T125" fmla="*/ 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9" h="115">
                <a:moveTo>
                  <a:pt x="289" y="60"/>
                </a:moveTo>
                <a:cubicBezTo>
                  <a:pt x="288" y="84"/>
                  <a:pt x="288" y="84"/>
                  <a:pt x="288" y="84"/>
                </a:cubicBezTo>
                <a:cubicBezTo>
                  <a:pt x="288" y="86"/>
                  <a:pt x="288" y="86"/>
                  <a:pt x="288" y="86"/>
                </a:cubicBezTo>
                <a:cubicBezTo>
                  <a:pt x="288" y="87"/>
                  <a:pt x="288" y="87"/>
                  <a:pt x="288" y="87"/>
                </a:cubicBezTo>
                <a:cubicBezTo>
                  <a:pt x="288" y="87"/>
                  <a:pt x="288" y="87"/>
                  <a:pt x="288" y="87"/>
                </a:cubicBezTo>
                <a:cubicBezTo>
                  <a:pt x="288" y="102"/>
                  <a:pt x="288" y="102"/>
                  <a:pt x="288" y="102"/>
                </a:cubicBezTo>
                <a:cubicBezTo>
                  <a:pt x="287" y="102"/>
                  <a:pt x="287" y="102"/>
                  <a:pt x="287" y="102"/>
                </a:cubicBezTo>
                <a:cubicBezTo>
                  <a:pt x="286" y="102"/>
                  <a:pt x="286" y="102"/>
                  <a:pt x="286" y="102"/>
                </a:cubicBezTo>
                <a:cubicBezTo>
                  <a:pt x="284" y="100"/>
                  <a:pt x="284" y="100"/>
                  <a:pt x="284" y="100"/>
                </a:cubicBezTo>
                <a:cubicBezTo>
                  <a:pt x="284" y="99"/>
                  <a:pt x="284" y="99"/>
                  <a:pt x="284" y="99"/>
                </a:cubicBezTo>
                <a:cubicBezTo>
                  <a:pt x="284" y="99"/>
                  <a:pt x="284" y="99"/>
                  <a:pt x="284" y="99"/>
                </a:cubicBezTo>
                <a:cubicBezTo>
                  <a:pt x="282" y="97"/>
                  <a:pt x="282" y="97"/>
                  <a:pt x="282" y="97"/>
                </a:cubicBezTo>
                <a:cubicBezTo>
                  <a:pt x="282" y="97"/>
                  <a:pt x="282" y="97"/>
                  <a:pt x="282" y="97"/>
                </a:cubicBezTo>
                <a:cubicBezTo>
                  <a:pt x="282" y="96"/>
                  <a:pt x="282" y="96"/>
                  <a:pt x="282" y="96"/>
                </a:cubicBezTo>
                <a:cubicBezTo>
                  <a:pt x="282" y="95"/>
                  <a:pt x="282" y="95"/>
                  <a:pt x="282" y="95"/>
                </a:cubicBezTo>
                <a:cubicBezTo>
                  <a:pt x="282" y="94"/>
                  <a:pt x="282" y="94"/>
                  <a:pt x="282" y="94"/>
                </a:cubicBezTo>
                <a:cubicBezTo>
                  <a:pt x="282" y="95"/>
                  <a:pt x="282" y="95"/>
                  <a:pt x="282" y="95"/>
                </a:cubicBezTo>
                <a:cubicBezTo>
                  <a:pt x="281" y="96"/>
                  <a:pt x="281" y="96"/>
                  <a:pt x="281" y="96"/>
                </a:cubicBezTo>
                <a:cubicBezTo>
                  <a:pt x="279" y="96"/>
                  <a:pt x="279" y="96"/>
                  <a:pt x="279" y="96"/>
                </a:cubicBezTo>
                <a:cubicBezTo>
                  <a:pt x="278" y="96"/>
                  <a:pt x="278" y="96"/>
                  <a:pt x="278" y="96"/>
                </a:cubicBezTo>
                <a:cubicBezTo>
                  <a:pt x="277" y="96"/>
                  <a:pt x="277" y="96"/>
                  <a:pt x="277" y="96"/>
                </a:cubicBezTo>
                <a:cubicBezTo>
                  <a:pt x="277" y="96"/>
                  <a:pt x="277" y="96"/>
                  <a:pt x="277" y="96"/>
                </a:cubicBezTo>
                <a:cubicBezTo>
                  <a:pt x="275" y="96"/>
                  <a:pt x="275" y="96"/>
                  <a:pt x="275" y="96"/>
                </a:cubicBezTo>
                <a:cubicBezTo>
                  <a:pt x="274" y="95"/>
                  <a:pt x="274" y="95"/>
                  <a:pt x="274" y="95"/>
                </a:cubicBezTo>
                <a:cubicBezTo>
                  <a:pt x="275" y="95"/>
                  <a:pt x="275" y="95"/>
                  <a:pt x="275" y="95"/>
                </a:cubicBezTo>
                <a:cubicBezTo>
                  <a:pt x="275" y="94"/>
                  <a:pt x="275" y="94"/>
                  <a:pt x="275" y="94"/>
                </a:cubicBezTo>
                <a:cubicBezTo>
                  <a:pt x="275" y="93"/>
                  <a:pt x="275" y="93"/>
                  <a:pt x="275" y="93"/>
                </a:cubicBezTo>
                <a:cubicBezTo>
                  <a:pt x="276" y="93"/>
                  <a:pt x="276" y="93"/>
                  <a:pt x="276" y="93"/>
                </a:cubicBezTo>
                <a:cubicBezTo>
                  <a:pt x="276" y="91"/>
                  <a:pt x="276" y="91"/>
                  <a:pt x="276" y="91"/>
                </a:cubicBezTo>
                <a:cubicBezTo>
                  <a:pt x="275" y="91"/>
                  <a:pt x="275" y="91"/>
                  <a:pt x="275" y="91"/>
                </a:cubicBezTo>
                <a:cubicBezTo>
                  <a:pt x="274" y="90"/>
                  <a:pt x="274" y="90"/>
                  <a:pt x="274" y="90"/>
                </a:cubicBezTo>
                <a:cubicBezTo>
                  <a:pt x="275" y="90"/>
                  <a:pt x="275" y="90"/>
                  <a:pt x="275" y="90"/>
                </a:cubicBezTo>
                <a:cubicBezTo>
                  <a:pt x="276" y="90"/>
                  <a:pt x="276" y="90"/>
                  <a:pt x="276" y="90"/>
                </a:cubicBezTo>
                <a:cubicBezTo>
                  <a:pt x="277" y="90"/>
                  <a:pt x="277" y="90"/>
                  <a:pt x="277" y="90"/>
                </a:cubicBezTo>
                <a:cubicBezTo>
                  <a:pt x="278" y="90"/>
                  <a:pt x="278" y="90"/>
                  <a:pt x="278" y="90"/>
                </a:cubicBezTo>
                <a:cubicBezTo>
                  <a:pt x="277" y="89"/>
                  <a:pt x="277" y="89"/>
                  <a:pt x="277" y="89"/>
                </a:cubicBezTo>
                <a:cubicBezTo>
                  <a:pt x="275" y="90"/>
                  <a:pt x="275" y="90"/>
                  <a:pt x="275" y="90"/>
                </a:cubicBezTo>
                <a:cubicBezTo>
                  <a:pt x="274" y="89"/>
                  <a:pt x="274" y="89"/>
                  <a:pt x="274" y="89"/>
                </a:cubicBezTo>
                <a:cubicBezTo>
                  <a:pt x="273" y="88"/>
                  <a:pt x="273" y="88"/>
                  <a:pt x="273" y="88"/>
                </a:cubicBezTo>
                <a:cubicBezTo>
                  <a:pt x="273" y="87"/>
                  <a:pt x="273" y="87"/>
                  <a:pt x="273" y="87"/>
                </a:cubicBezTo>
                <a:cubicBezTo>
                  <a:pt x="274" y="87"/>
                  <a:pt x="274" y="87"/>
                  <a:pt x="274" y="87"/>
                </a:cubicBezTo>
                <a:cubicBezTo>
                  <a:pt x="275" y="87"/>
                  <a:pt x="275" y="87"/>
                  <a:pt x="275" y="87"/>
                </a:cubicBezTo>
                <a:cubicBezTo>
                  <a:pt x="275" y="87"/>
                  <a:pt x="275" y="87"/>
                  <a:pt x="275" y="87"/>
                </a:cubicBezTo>
                <a:cubicBezTo>
                  <a:pt x="273" y="86"/>
                  <a:pt x="273" y="86"/>
                  <a:pt x="273" y="86"/>
                </a:cubicBezTo>
                <a:cubicBezTo>
                  <a:pt x="272" y="85"/>
                  <a:pt x="272" y="85"/>
                  <a:pt x="272" y="85"/>
                </a:cubicBezTo>
                <a:cubicBezTo>
                  <a:pt x="271" y="84"/>
                  <a:pt x="271" y="84"/>
                  <a:pt x="271" y="84"/>
                </a:cubicBezTo>
                <a:cubicBezTo>
                  <a:pt x="272" y="83"/>
                  <a:pt x="272" y="83"/>
                  <a:pt x="272" y="83"/>
                </a:cubicBezTo>
                <a:cubicBezTo>
                  <a:pt x="270" y="81"/>
                  <a:pt x="270" y="81"/>
                  <a:pt x="270" y="81"/>
                </a:cubicBezTo>
                <a:cubicBezTo>
                  <a:pt x="270" y="81"/>
                  <a:pt x="270" y="81"/>
                  <a:pt x="270" y="81"/>
                </a:cubicBezTo>
                <a:cubicBezTo>
                  <a:pt x="272" y="80"/>
                  <a:pt x="272" y="80"/>
                  <a:pt x="272" y="80"/>
                </a:cubicBezTo>
                <a:cubicBezTo>
                  <a:pt x="270" y="80"/>
                  <a:pt x="270" y="80"/>
                  <a:pt x="270" y="80"/>
                </a:cubicBezTo>
                <a:cubicBezTo>
                  <a:pt x="270" y="79"/>
                  <a:pt x="270" y="79"/>
                  <a:pt x="270" y="79"/>
                </a:cubicBezTo>
                <a:cubicBezTo>
                  <a:pt x="270" y="79"/>
                  <a:pt x="270" y="79"/>
                  <a:pt x="270" y="79"/>
                </a:cubicBezTo>
                <a:cubicBezTo>
                  <a:pt x="270" y="78"/>
                  <a:pt x="270" y="78"/>
                  <a:pt x="270" y="78"/>
                </a:cubicBezTo>
                <a:cubicBezTo>
                  <a:pt x="270" y="78"/>
                  <a:pt x="270" y="78"/>
                  <a:pt x="270" y="78"/>
                </a:cubicBezTo>
                <a:cubicBezTo>
                  <a:pt x="269" y="78"/>
                  <a:pt x="269" y="78"/>
                  <a:pt x="269" y="78"/>
                </a:cubicBezTo>
                <a:cubicBezTo>
                  <a:pt x="269" y="77"/>
                  <a:pt x="269" y="77"/>
                  <a:pt x="269" y="77"/>
                </a:cubicBezTo>
                <a:cubicBezTo>
                  <a:pt x="268" y="78"/>
                  <a:pt x="268" y="78"/>
                  <a:pt x="268" y="78"/>
                </a:cubicBezTo>
                <a:cubicBezTo>
                  <a:pt x="267" y="77"/>
                  <a:pt x="267" y="77"/>
                  <a:pt x="267" y="77"/>
                </a:cubicBezTo>
                <a:cubicBezTo>
                  <a:pt x="268" y="76"/>
                  <a:pt x="268" y="76"/>
                  <a:pt x="268" y="76"/>
                </a:cubicBezTo>
                <a:cubicBezTo>
                  <a:pt x="268" y="77"/>
                  <a:pt x="268" y="77"/>
                  <a:pt x="268" y="77"/>
                </a:cubicBezTo>
                <a:cubicBezTo>
                  <a:pt x="266" y="77"/>
                  <a:pt x="266" y="77"/>
                  <a:pt x="266" y="77"/>
                </a:cubicBezTo>
                <a:cubicBezTo>
                  <a:pt x="265" y="76"/>
                  <a:pt x="265" y="76"/>
                  <a:pt x="265" y="76"/>
                </a:cubicBezTo>
                <a:cubicBezTo>
                  <a:pt x="264" y="75"/>
                  <a:pt x="264" y="75"/>
                  <a:pt x="264" y="75"/>
                </a:cubicBezTo>
                <a:cubicBezTo>
                  <a:pt x="263" y="74"/>
                  <a:pt x="263" y="74"/>
                  <a:pt x="263" y="74"/>
                </a:cubicBezTo>
                <a:cubicBezTo>
                  <a:pt x="261" y="74"/>
                  <a:pt x="261" y="74"/>
                  <a:pt x="261" y="74"/>
                </a:cubicBezTo>
                <a:cubicBezTo>
                  <a:pt x="258" y="73"/>
                  <a:pt x="258" y="73"/>
                  <a:pt x="258" y="73"/>
                </a:cubicBezTo>
                <a:cubicBezTo>
                  <a:pt x="254" y="72"/>
                  <a:pt x="254" y="72"/>
                  <a:pt x="254" y="72"/>
                </a:cubicBezTo>
                <a:cubicBezTo>
                  <a:pt x="252" y="72"/>
                  <a:pt x="252" y="72"/>
                  <a:pt x="252" y="72"/>
                </a:cubicBezTo>
                <a:cubicBezTo>
                  <a:pt x="251" y="71"/>
                  <a:pt x="251" y="71"/>
                  <a:pt x="251" y="71"/>
                </a:cubicBezTo>
                <a:cubicBezTo>
                  <a:pt x="250" y="71"/>
                  <a:pt x="250" y="71"/>
                  <a:pt x="250" y="71"/>
                </a:cubicBezTo>
                <a:cubicBezTo>
                  <a:pt x="250" y="70"/>
                  <a:pt x="250" y="70"/>
                  <a:pt x="250" y="70"/>
                </a:cubicBezTo>
                <a:cubicBezTo>
                  <a:pt x="249" y="70"/>
                  <a:pt x="249" y="70"/>
                  <a:pt x="249" y="70"/>
                </a:cubicBezTo>
                <a:cubicBezTo>
                  <a:pt x="249" y="69"/>
                  <a:pt x="249" y="69"/>
                  <a:pt x="249" y="69"/>
                </a:cubicBezTo>
                <a:cubicBezTo>
                  <a:pt x="250" y="69"/>
                  <a:pt x="250" y="69"/>
                  <a:pt x="250" y="69"/>
                </a:cubicBezTo>
                <a:cubicBezTo>
                  <a:pt x="250" y="69"/>
                  <a:pt x="250" y="69"/>
                  <a:pt x="250" y="69"/>
                </a:cubicBezTo>
                <a:cubicBezTo>
                  <a:pt x="250" y="69"/>
                  <a:pt x="250" y="69"/>
                  <a:pt x="250" y="69"/>
                </a:cubicBezTo>
                <a:cubicBezTo>
                  <a:pt x="249" y="69"/>
                  <a:pt x="249" y="69"/>
                  <a:pt x="249" y="69"/>
                </a:cubicBezTo>
                <a:cubicBezTo>
                  <a:pt x="248" y="69"/>
                  <a:pt x="248" y="69"/>
                  <a:pt x="248" y="69"/>
                </a:cubicBezTo>
                <a:cubicBezTo>
                  <a:pt x="247" y="69"/>
                  <a:pt x="247" y="69"/>
                  <a:pt x="247" y="69"/>
                </a:cubicBezTo>
                <a:cubicBezTo>
                  <a:pt x="247" y="68"/>
                  <a:pt x="247" y="68"/>
                  <a:pt x="247" y="68"/>
                </a:cubicBezTo>
                <a:cubicBezTo>
                  <a:pt x="247" y="68"/>
                  <a:pt x="247" y="68"/>
                  <a:pt x="247" y="68"/>
                </a:cubicBezTo>
                <a:cubicBezTo>
                  <a:pt x="246" y="69"/>
                  <a:pt x="246" y="69"/>
                  <a:pt x="246" y="69"/>
                </a:cubicBezTo>
                <a:cubicBezTo>
                  <a:pt x="246" y="67"/>
                  <a:pt x="246" y="67"/>
                  <a:pt x="246" y="67"/>
                </a:cubicBezTo>
                <a:cubicBezTo>
                  <a:pt x="245" y="67"/>
                  <a:pt x="245" y="67"/>
                  <a:pt x="245" y="67"/>
                </a:cubicBezTo>
                <a:cubicBezTo>
                  <a:pt x="245" y="67"/>
                  <a:pt x="245" y="67"/>
                  <a:pt x="245" y="67"/>
                </a:cubicBezTo>
                <a:cubicBezTo>
                  <a:pt x="244" y="68"/>
                  <a:pt x="244" y="68"/>
                  <a:pt x="244" y="68"/>
                </a:cubicBezTo>
                <a:cubicBezTo>
                  <a:pt x="244" y="67"/>
                  <a:pt x="244" y="67"/>
                  <a:pt x="244" y="67"/>
                </a:cubicBezTo>
                <a:cubicBezTo>
                  <a:pt x="243" y="65"/>
                  <a:pt x="243" y="65"/>
                  <a:pt x="243" y="65"/>
                </a:cubicBezTo>
                <a:cubicBezTo>
                  <a:pt x="243" y="64"/>
                  <a:pt x="243" y="64"/>
                  <a:pt x="243" y="64"/>
                </a:cubicBezTo>
                <a:cubicBezTo>
                  <a:pt x="244" y="63"/>
                  <a:pt x="244" y="63"/>
                  <a:pt x="244" y="63"/>
                </a:cubicBezTo>
                <a:cubicBezTo>
                  <a:pt x="244" y="62"/>
                  <a:pt x="244" y="62"/>
                  <a:pt x="244" y="62"/>
                </a:cubicBezTo>
                <a:cubicBezTo>
                  <a:pt x="243" y="63"/>
                  <a:pt x="243" y="63"/>
                  <a:pt x="243" y="63"/>
                </a:cubicBezTo>
                <a:cubicBezTo>
                  <a:pt x="242" y="64"/>
                  <a:pt x="242" y="64"/>
                  <a:pt x="242" y="64"/>
                </a:cubicBezTo>
                <a:cubicBezTo>
                  <a:pt x="242" y="65"/>
                  <a:pt x="242" y="65"/>
                  <a:pt x="242" y="65"/>
                </a:cubicBezTo>
                <a:cubicBezTo>
                  <a:pt x="242" y="65"/>
                  <a:pt x="242" y="65"/>
                  <a:pt x="242" y="65"/>
                </a:cubicBezTo>
                <a:cubicBezTo>
                  <a:pt x="241" y="67"/>
                  <a:pt x="241" y="67"/>
                  <a:pt x="241" y="67"/>
                </a:cubicBezTo>
                <a:cubicBezTo>
                  <a:pt x="241" y="68"/>
                  <a:pt x="241" y="68"/>
                  <a:pt x="241" y="68"/>
                </a:cubicBezTo>
                <a:cubicBezTo>
                  <a:pt x="240" y="70"/>
                  <a:pt x="240" y="70"/>
                  <a:pt x="240" y="70"/>
                </a:cubicBezTo>
                <a:cubicBezTo>
                  <a:pt x="238" y="70"/>
                  <a:pt x="238" y="70"/>
                  <a:pt x="238" y="70"/>
                </a:cubicBezTo>
                <a:cubicBezTo>
                  <a:pt x="237" y="70"/>
                  <a:pt x="237" y="70"/>
                  <a:pt x="237" y="70"/>
                </a:cubicBezTo>
                <a:cubicBezTo>
                  <a:pt x="236" y="68"/>
                  <a:pt x="236" y="68"/>
                  <a:pt x="236" y="68"/>
                </a:cubicBezTo>
                <a:cubicBezTo>
                  <a:pt x="236" y="67"/>
                  <a:pt x="236" y="67"/>
                  <a:pt x="236" y="67"/>
                </a:cubicBezTo>
                <a:cubicBezTo>
                  <a:pt x="237" y="67"/>
                  <a:pt x="237" y="67"/>
                  <a:pt x="237" y="67"/>
                </a:cubicBezTo>
                <a:cubicBezTo>
                  <a:pt x="237" y="66"/>
                  <a:pt x="237" y="66"/>
                  <a:pt x="237" y="66"/>
                </a:cubicBezTo>
                <a:cubicBezTo>
                  <a:pt x="237" y="65"/>
                  <a:pt x="237" y="65"/>
                  <a:pt x="237" y="65"/>
                </a:cubicBezTo>
                <a:cubicBezTo>
                  <a:pt x="236" y="65"/>
                  <a:pt x="236" y="65"/>
                  <a:pt x="236" y="65"/>
                </a:cubicBezTo>
                <a:cubicBezTo>
                  <a:pt x="236" y="65"/>
                  <a:pt x="236" y="65"/>
                  <a:pt x="236" y="65"/>
                </a:cubicBezTo>
                <a:cubicBezTo>
                  <a:pt x="235" y="63"/>
                  <a:pt x="235" y="63"/>
                  <a:pt x="235" y="63"/>
                </a:cubicBezTo>
                <a:cubicBezTo>
                  <a:pt x="234" y="63"/>
                  <a:pt x="234" y="63"/>
                  <a:pt x="234" y="63"/>
                </a:cubicBezTo>
                <a:cubicBezTo>
                  <a:pt x="232" y="62"/>
                  <a:pt x="232" y="62"/>
                  <a:pt x="232" y="62"/>
                </a:cubicBezTo>
                <a:cubicBezTo>
                  <a:pt x="232" y="62"/>
                  <a:pt x="232" y="62"/>
                  <a:pt x="232" y="62"/>
                </a:cubicBezTo>
                <a:cubicBezTo>
                  <a:pt x="233" y="61"/>
                  <a:pt x="233" y="61"/>
                  <a:pt x="233" y="61"/>
                </a:cubicBezTo>
                <a:cubicBezTo>
                  <a:pt x="234" y="61"/>
                  <a:pt x="234" y="61"/>
                  <a:pt x="234" y="61"/>
                </a:cubicBezTo>
                <a:cubicBezTo>
                  <a:pt x="235" y="61"/>
                  <a:pt x="235" y="61"/>
                  <a:pt x="235" y="61"/>
                </a:cubicBezTo>
                <a:cubicBezTo>
                  <a:pt x="236" y="61"/>
                  <a:pt x="236" y="61"/>
                  <a:pt x="236" y="61"/>
                </a:cubicBezTo>
                <a:cubicBezTo>
                  <a:pt x="237" y="62"/>
                  <a:pt x="237" y="62"/>
                  <a:pt x="237" y="62"/>
                </a:cubicBezTo>
                <a:cubicBezTo>
                  <a:pt x="238" y="61"/>
                  <a:pt x="238" y="61"/>
                  <a:pt x="238" y="61"/>
                </a:cubicBezTo>
                <a:cubicBezTo>
                  <a:pt x="239" y="60"/>
                  <a:pt x="239" y="60"/>
                  <a:pt x="239" y="60"/>
                </a:cubicBezTo>
                <a:cubicBezTo>
                  <a:pt x="240" y="59"/>
                  <a:pt x="240" y="59"/>
                  <a:pt x="240" y="59"/>
                </a:cubicBezTo>
                <a:cubicBezTo>
                  <a:pt x="242" y="60"/>
                  <a:pt x="242" y="60"/>
                  <a:pt x="242" y="60"/>
                </a:cubicBezTo>
                <a:cubicBezTo>
                  <a:pt x="242" y="61"/>
                  <a:pt x="242" y="61"/>
                  <a:pt x="242" y="61"/>
                </a:cubicBezTo>
                <a:cubicBezTo>
                  <a:pt x="243" y="60"/>
                  <a:pt x="243" y="60"/>
                  <a:pt x="243" y="60"/>
                </a:cubicBezTo>
                <a:cubicBezTo>
                  <a:pt x="243" y="59"/>
                  <a:pt x="243" y="59"/>
                  <a:pt x="243" y="59"/>
                </a:cubicBezTo>
                <a:cubicBezTo>
                  <a:pt x="244" y="59"/>
                  <a:pt x="244" y="59"/>
                  <a:pt x="244" y="59"/>
                </a:cubicBezTo>
                <a:cubicBezTo>
                  <a:pt x="244" y="58"/>
                  <a:pt x="244" y="58"/>
                  <a:pt x="244" y="58"/>
                </a:cubicBezTo>
                <a:cubicBezTo>
                  <a:pt x="244" y="57"/>
                  <a:pt x="244" y="57"/>
                  <a:pt x="244" y="57"/>
                </a:cubicBezTo>
                <a:cubicBezTo>
                  <a:pt x="241" y="57"/>
                  <a:pt x="241" y="57"/>
                  <a:pt x="241" y="57"/>
                </a:cubicBezTo>
                <a:cubicBezTo>
                  <a:pt x="241" y="57"/>
                  <a:pt x="241" y="57"/>
                  <a:pt x="241" y="57"/>
                </a:cubicBezTo>
                <a:cubicBezTo>
                  <a:pt x="240" y="58"/>
                  <a:pt x="240" y="58"/>
                  <a:pt x="240" y="58"/>
                </a:cubicBezTo>
                <a:cubicBezTo>
                  <a:pt x="240" y="57"/>
                  <a:pt x="240" y="57"/>
                  <a:pt x="240" y="57"/>
                </a:cubicBezTo>
                <a:cubicBezTo>
                  <a:pt x="238" y="58"/>
                  <a:pt x="238" y="58"/>
                  <a:pt x="238" y="58"/>
                </a:cubicBezTo>
                <a:cubicBezTo>
                  <a:pt x="237" y="58"/>
                  <a:pt x="237" y="58"/>
                  <a:pt x="237" y="58"/>
                </a:cubicBezTo>
                <a:cubicBezTo>
                  <a:pt x="236" y="58"/>
                  <a:pt x="236" y="58"/>
                  <a:pt x="236" y="58"/>
                </a:cubicBezTo>
                <a:cubicBezTo>
                  <a:pt x="236" y="58"/>
                  <a:pt x="236" y="58"/>
                  <a:pt x="236" y="58"/>
                </a:cubicBezTo>
                <a:cubicBezTo>
                  <a:pt x="234" y="58"/>
                  <a:pt x="234" y="58"/>
                  <a:pt x="234" y="58"/>
                </a:cubicBezTo>
                <a:cubicBezTo>
                  <a:pt x="233" y="58"/>
                  <a:pt x="233" y="58"/>
                  <a:pt x="233" y="58"/>
                </a:cubicBezTo>
                <a:cubicBezTo>
                  <a:pt x="232" y="57"/>
                  <a:pt x="232" y="57"/>
                  <a:pt x="232" y="57"/>
                </a:cubicBezTo>
                <a:cubicBezTo>
                  <a:pt x="232" y="55"/>
                  <a:pt x="232" y="55"/>
                  <a:pt x="232" y="55"/>
                </a:cubicBezTo>
                <a:cubicBezTo>
                  <a:pt x="232" y="55"/>
                  <a:pt x="232" y="55"/>
                  <a:pt x="232" y="55"/>
                </a:cubicBezTo>
                <a:cubicBezTo>
                  <a:pt x="231" y="54"/>
                  <a:pt x="231" y="54"/>
                  <a:pt x="231" y="54"/>
                </a:cubicBezTo>
                <a:cubicBezTo>
                  <a:pt x="229" y="53"/>
                  <a:pt x="229" y="53"/>
                  <a:pt x="229" y="53"/>
                </a:cubicBezTo>
                <a:cubicBezTo>
                  <a:pt x="229" y="52"/>
                  <a:pt x="229" y="52"/>
                  <a:pt x="229" y="52"/>
                </a:cubicBezTo>
                <a:cubicBezTo>
                  <a:pt x="228" y="52"/>
                  <a:pt x="228" y="52"/>
                  <a:pt x="228" y="52"/>
                </a:cubicBezTo>
                <a:cubicBezTo>
                  <a:pt x="227" y="53"/>
                  <a:pt x="227" y="53"/>
                  <a:pt x="227" y="53"/>
                </a:cubicBezTo>
                <a:cubicBezTo>
                  <a:pt x="226" y="53"/>
                  <a:pt x="226" y="53"/>
                  <a:pt x="226" y="53"/>
                </a:cubicBezTo>
                <a:cubicBezTo>
                  <a:pt x="226" y="52"/>
                  <a:pt x="226" y="52"/>
                  <a:pt x="226" y="52"/>
                </a:cubicBezTo>
                <a:cubicBezTo>
                  <a:pt x="228" y="51"/>
                  <a:pt x="228" y="51"/>
                  <a:pt x="228" y="51"/>
                </a:cubicBezTo>
                <a:cubicBezTo>
                  <a:pt x="228" y="50"/>
                  <a:pt x="228" y="50"/>
                  <a:pt x="228" y="50"/>
                </a:cubicBezTo>
                <a:cubicBezTo>
                  <a:pt x="227" y="49"/>
                  <a:pt x="227" y="49"/>
                  <a:pt x="227" y="49"/>
                </a:cubicBezTo>
                <a:cubicBezTo>
                  <a:pt x="228" y="48"/>
                  <a:pt x="228" y="48"/>
                  <a:pt x="228" y="48"/>
                </a:cubicBezTo>
                <a:cubicBezTo>
                  <a:pt x="230" y="48"/>
                  <a:pt x="230" y="48"/>
                  <a:pt x="230" y="48"/>
                </a:cubicBezTo>
                <a:cubicBezTo>
                  <a:pt x="231" y="48"/>
                  <a:pt x="231" y="48"/>
                  <a:pt x="231" y="48"/>
                </a:cubicBezTo>
                <a:cubicBezTo>
                  <a:pt x="232" y="47"/>
                  <a:pt x="232" y="47"/>
                  <a:pt x="232" y="47"/>
                </a:cubicBezTo>
                <a:cubicBezTo>
                  <a:pt x="234" y="46"/>
                  <a:pt x="234" y="46"/>
                  <a:pt x="234" y="46"/>
                </a:cubicBezTo>
                <a:cubicBezTo>
                  <a:pt x="234" y="46"/>
                  <a:pt x="234" y="46"/>
                  <a:pt x="234" y="46"/>
                </a:cubicBezTo>
                <a:cubicBezTo>
                  <a:pt x="236" y="45"/>
                  <a:pt x="236" y="45"/>
                  <a:pt x="236" y="45"/>
                </a:cubicBezTo>
                <a:cubicBezTo>
                  <a:pt x="239" y="46"/>
                  <a:pt x="239" y="46"/>
                  <a:pt x="239" y="46"/>
                </a:cubicBezTo>
                <a:cubicBezTo>
                  <a:pt x="241" y="48"/>
                  <a:pt x="241" y="48"/>
                  <a:pt x="241" y="48"/>
                </a:cubicBezTo>
                <a:cubicBezTo>
                  <a:pt x="243" y="48"/>
                  <a:pt x="243" y="48"/>
                  <a:pt x="243" y="48"/>
                </a:cubicBezTo>
                <a:cubicBezTo>
                  <a:pt x="245" y="48"/>
                  <a:pt x="245" y="48"/>
                  <a:pt x="245" y="48"/>
                </a:cubicBezTo>
                <a:cubicBezTo>
                  <a:pt x="246" y="48"/>
                  <a:pt x="246" y="48"/>
                  <a:pt x="246" y="48"/>
                </a:cubicBezTo>
                <a:cubicBezTo>
                  <a:pt x="245" y="49"/>
                  <a:pt x="245" y="49"/>
                  <a:pt x="245" y="49"/>
                </a:cubicBezTo>
                <a:cubicBezTo>
                  <a:pt x="245" y="51"/>
                  <a:pt x="245" y="51"/>
                  <a:pt x="245" y="51"/>
                </a:cubicBezTo>
                <a:cubicBezTo>
                  <a:pt x="247" y="51"/>
                  <a:pt x="247" y="51"/>
                  <a:pt x="247" y="51"/>
                </a:cubicBezTo>
                <a:cubicBezTo>
                  <a:pt x="247" y="53"/>
                  <a:pt x="247" y="53"/>
                  <a:pt x="247" y="53"/>
                </a:cubicBezTo>
                <a:cubicBezTo>
                  <a:pt x="246" y="54"/>
                  <a:pt x="246" y="54"/>
                  <a:pt x="246" y="54"/>
                </a:cubicBezTo>
                <a:cubicBezTo>
                  <a:pt x="245" y="55"/>
                  <a:pt x="245" y="55"/>
                  <a:pt x="245" y="55"/>
                </a:cubicBezTo>
                <a:cubicBezTo>
                  <a:pt x="246" y="57"/>
                  <a:pt x="246" y="57"/>
                  <a:pt x="246" y="57"/>
                </a:cubicBezTo>
                <a:cubicBezTo>
                  <a:pt x="246" y="59"/>
                  <a:pt x="246" y="59"/>
                  <a:pt x="246" y="59"/>
                </a:cubicBezTo>
                <a:cubicBezTo>
                  <a:pt x="247" y="61"/>
                  <a:pt x="247" y="61"/>
                  <a:pt x="247" y="61"/>
                </a:cubicBezTo>
                <a:cubicBezTo>
                  <a:pt x="248" y="62"/>
                  <a:pt x="248" y="62"/>
                  <a:pt x="248" y="62"/>
                </a:cubicBezTo>
                <a:cubicBezTo>
                  <a:pt x="248" y="62"/>
                  <a:pt x="248" y="62"/>
                  <a:pt x="248" y="62"/>
                </a:cubicBezTo>
                <a:cubicBezTo>
                  <a:pt x="248" y="60"/>
                  <a:pt x="248" y="60"/>
                  <a:pt x="248" y="60"/>
                </a:cubicBezTo>
                <a:cubicBezTo>
                  <a:pt x="249" y="60"/>
                  <a:pt x="249" y="60"/>
                  <a:pt x="249" y="60"/>
                </a:cubicBezTo>
                <a:cubicBezTo>
                  <a:pt x="249" y="60"/>
                  <a:pt x="249" y="60"/>
                  <a:pt x="249" y="60"/>
                </a:cubicBezTo>
                <a:cubicBezTo>
                  <a:pt x="249" y="61"/>
                  <a:pt x="249" y="61"/>
                  <a:pt x="249" y="61"/>
                </a:cubicBezTo>
                <a:cubicBezTo>
                  <a:pt x="250" y="63"/>
                  <a:pt x="250" y="63"/>
                  <a:pt x="250" y="63"/>
                </a:cubicBezTo>
                <a:cubicBezTo>
                  <a:pt x="250" y="62"/>
                  <a:pt x="250" y="62"/>
                  <a:pt x="250" y="62"/>
                </a:cubicBezTo>
                <a:cubicBezTo>
                  <a:pt x="250" y="63"/>
                  <a:pt x="250" y="63"/>
                  <a:pt x="250" y="63"/>
                </a:cubicBezTo>
                <a:cubicBezTo>
                  <a:pt x="252" y="65"/>
                  <a:pt x="252" y="65"/>
                  <a:pt x="252" y="65"/>
                </a:cubicBezTo>
                <a:cubicBezTo>
                  <a:pt x="253" y="65"/>
                  <a:pt x="253" y="65"/>
                  <a:pt x="253" y="65"/>
                </a:cubicBezTo>
                <a:cubicBezTo>
                  <a:pt x="254" y="65"/>
                  <a:pt x="254" y="65"/>
                  <a:pt x="254" y="65"/>
                </a:cubicBezTo>
                <a:cubicBezTo>
                  <a:pt x="255" y="65"/>
                  <a:pt x="255" y="65"/>
                  <a:pt x="255" y="65"/>
                </a:cubicBezTo>
                <a:cubicBezTo>
                  <a:pt x="255" y="64"/>
                  <a:pt x="255" y="64"/>
                  <a:pt x="255" y="64"/>
                </a:cubicBezTo>
                <a:cubicBezTo>
                  <a:pt x="256" y="63"/>
                  <a:pt x="256" y="63"/>
                  <a:pt x="256" y="63"/>
                </a:cubicBezTo>
                <a:cubicBezTo>
                  <a:pt x="257" y="63"/>
                  <a:pt x="257" y="63"/>
                  <a:pt x="257" y="63"/>
                </a:cubicBezTo>
                <a:cubicBezTo>
                  <a:pt x="257" y="61"/>
                  <a:pt x="257" y="61"/>
                  <a:pt x="257" y="61"/>
                </a:cubicBezTo>
                <a:cubicBezTo>
                  <a:pt x="257" y="60"/>
                  <a:pt x="257" y="60"/>
                  <a:pt x="257" y="60"/>
                </a:cubicBezTo>
                <a:cubicBezTo>
                  <a:pt x="259" y="60"/>
                  <a:pt x="259" y="60"/>
                  <a:pt x="259" y="60"/>
                </a:cubicBezTo>
                <a:cubicBezTo>
                  <a:pt x="260" y="59"/>
                  <a:pt x="260" y="59"/>
                  <a:pt x="260" y="59"/>
                </a:cubicBezTo>
                <a:cubicBezTo>
                  <a:pt x="260" y="58"/>
                  <a:pt x="260" y="58"/>
                  <a:pt x="260" y="58"/>
                </a:cubicBezTo>
                <a:cubicBezTo>
                  <a:pt x="260" y="57"/>
                  <a:pt x="260" y="57"/>
                  <a:pt x="260" y="57"/>
                </a:cubicBezTo>
                <a:cubicBezTo>
                  <a:pt x="261" y="58"/>
                  <a:pt x="261" y="58"/>
                  <a:pt x="261" y="58"/>
                </a:cubicBezTo>
                <a:cubicBezTo>
                  <a:pt x="262" y="58"/>
                  <a:pt x="262" y="58"/>
                  <a:pt x="262" y="58"/>
                </a:cubicBezTo>
                <a:cubicBezTo>
                  <a:pt x="263" y="57"/>
                  <a:pt x="263" y="57"/>
                  <a:pt x="263" y="57"/>
                </a:cubicBezTo>
                <a:cubicBezTo>
                  <a:pt x="265" y="57"/>
                  <a:pt x="265" y="57"/>
                  <a:pt x="265" y="57"/>
                </a:cubicBezTo>
                <a:cubicBezTo>
                  <a:pt x="265" y="56"/>
                  <a:pt x="265" y="56"/>
                  <a:pt x="265" y="56"/>
                </a:cubicBezTo>
                <a:cubicBezTo>
                  <a:pt x="264" y="55"/>
                  <a:pt x="264" y="55"/>
                  <a:pt x="264" y="55"/>
                </a:cubicBezTo>
                <a:cubicBezTo>
                  <a:pt x="265" y="54"/>
                  <a:pt x="265" y="54"/>
                  <a:pt x="265" y="54"/>
                </a:cubicBezTo>
                <a:cubicBezTo>
                  <a:pt x="268" y="52"/>
                  <a:pt x="268" y="52"/>
                  <a:pt x="268" y="52"/>
                </a:cubicBezTo>
                <a:cubicBezTo>
                  <a:pt x="269" y="53"/>
                  <a:pt x="269" y="53"/>
                  <a:pt x="269" y="53"/>
                </a:cubicBezTo>
                <a:cubicBezTo>
                  <a:pt x="270" y="53"/>
                  <a:pt x="270" y="53"/>
                  <a:pt x="270" y="53"/>
                </a:cubicBezTo>
                <a:cubicBezTo>
                  <a:pt x="272" y="54"/>
                  <a:pt x="272" y="54"/>
                  <a:pt x="272" y="54"/>
                </a:cubicBezTo>
                <a:cubicBezTo>
                  <a:pt x="274" y="55"/>
                  <a:pt x="274" y="55"/>
                  <a:pt x="274" y="55"/>
                </a:cubicBezTo>
                <a:cubicBezTo>
                  <a:pt x="275" y="56"/>
                  <a:pt x="275" y="56"/>
                  <a:pt x="275" y="56"/>
                </a:cubicBezTo>
                <a:cubicBezTo>
                  <a:pt x="277" y="56"/>
                  <a:pt x="277" y="56"/>
                  <a:pt x="277" y="56"/>
                </a:cubicBezTo>
                <a:cubicBezTo>
                  <a:pt x="278" y="56"/>
                  <a:pt x="278" y="56"/>
                  <a:pt x="278" y="56"/>
                </a:cubicBezTo>
                <a:cubicBezTo>
                  <a:pt x="282" y="58"/>
                  <a:pt x="282" y="58"/>
                  <a:pt x="282" y="58"/>
                </a:cubicBezTo>
                <a:cubicBezTo>
                  <a:pt x="283" y="58"/>
                  <a:pt x="283" y="58"/>
                  <a:pt x="283" y="58"/>
                </a:cubicBezTo>
                <a:cubicBezTo>
                  <a:pt x="284" y="58"/>
                  <a:pt x="284" y="58"/>
                  <a:pt x="284" y="58"/>
                </a:cubicBezTo>
                <a:cubicBezTo>
                  <a:pt x="285" y="58"/>
                  <a:pt x="285" y="58"/>
                  <a:pt x="285" y="58"/>
                </a:cubicBezTo>
                <a:cubicBezTo>
                  <a:pt x="286" y="58"/>
                  <a:pt x="286" y="58"/>
                  <a:pt x="286" y="58"/>
                </a:cubicBezTo>
                <a:cubicBezTo>
                  <a:pt x="287" y="59"/>
                  <a:pt x="287" y="59"/>
                  <a:pt x="287" y="59"/>
                </a:cubicBezTo>
                <a:cubicBezTo>
                  <a:pt x="287" y="60"/>
                  <a:pt x="287" y="60"/>
                  <a:pt x="287" y="60"/>
                </a:cubicBezTo>
                <a:cubicBezTo>
                  <a:pt x="287" y="60"/>
                  <a:pt x="287" y="60"/>
                  <a:pt x="287" y="60"/>
                </a:cubicBezTo>
                <a:cubicBezTo>
                  <a:pt x="288" y="61"/>
                  <a:pt x="288" y="61"/>
                  <a:pt x="288" y="61"/>
                </a:cubicBezTo>
                <a:cubicBezTo>
                  <a:pt x="289" y="60"/>
                  <a:pt x="289" y="60"/>
                  <a:pt x="289" y="60"/>
                </a:cubicBezTo>
                <a:cubicBezTo>
                  <a:pt x="289" y="60"/>
                  <a:pt x="289" y="60"/>
                  <a:pt x="289" y="60"/>
                </a:cubicBezTo>
                <a:close/>
                <a:moveTo>
                  <a:pt x="214" y="43"/>
                </a:moveTo>
                <a:cubicBezTo>
                  <a:pt x="217" y="44"/>
                  <a:pt x="217" y="44"/>
                  <a:pt x="217" y="44"/>
                </a:cubicBezTo>
                <a:cubicBezTo>
                  <a:pt x="217" y="45"/>
                  <a:pt x="217" y="45"/>
                  <a:pt x="217" y="45"/>
                </a:cubicBezTo>
                <a:cubicBezTo>
                  <a:pt x="215" y="44"/>
                  <a:pt x="215" y="44"/>
                  <a:pt x="215" y="44"/>
                </a:cubicBezTo>
                <a:cubicBezTo>
                  <a:pt x="214" y="43"/>
                  <a:pt x="214" y="43"/>
                  <a:pt x="214" y="43"/>
                </a:cubicBezTo>
                <a:close/>
                <a:moveTo>
                  <a:pt x="227" y="45"/>
                </a:moveTo>
                <a:cubicBezTo>
                  <a:pt x="228" y="46"/>
                  <a:pt x="228" y="46"/>
                  <a:pt x="228" y="46"/>
                </a:cubicBezTo>
                <a:cubicBezTo>
                  <a:pt x="229" y="45"/>
                  <a:pt x="229" y="45"/>
                  <a:pt x="229" y="45"/>
                </a:cubicBezTo>
                <a:cubicBezTo>
                  <a:pt x="228" y="44"/>
                  <a:pt x="228" y="44"/>
                  <a:pt x="228" y="44"/>
                </a:cubicBezTo>
                <a:cubicBezTo>
                  <a:pt x="227" y="43"/>
                  <a:pt x="227" y="43"/>
                  <a:pt x="227" y="43"/>
                </a:cubicBezTo>
                <a:cubicBezTo>
                  <a:pt x="225" y="43"/>
                  <a:pt x="225" y="43"/>
                  <a:pt x="225" y="43"/>
                </a:cubicBezTo>
                <a:cubicBezTo>
                  <a:pt x="224" y="44"/>
                  <a:pt x="224" y="44"/>
                  <a:pt x="224" y="44"/>
                </a:cubicBezTo>
                <a:cubicBezTo>
                  <a:pt x="223" y="44"/>
                  <a:pt x="223" y="44"/>
                  <a:pt x="223" y="44"/>
                </a:cubicBezTo>
                <a:cubicBezTo>
                  <a:pt x="222" y="44"/>
                  <a:pt x="222" y="44"/>
                  <a:pt x="222" y="44"/>
                </a:cubicBezTo>
                <a:cubicBezTo>
                  <a:pt x="223" y="45"/>
                  <a:pt x="223" y="45"/>
                  <a:pt x="223" y="45"/>
                </a:cubicBezTo>
                <a:cubicBezTo>
                  <a:pt x="222" y="45"/>
                  <a:pt x="222" y="45"/>
                  <a:pt x="222" y="45"/>
                </a:cubicBezTo>
                <a:cubicBezTo>
                  <a:pt x="224" y="45"/>
                  <a:pt x="224" y="45"/>
                  <a:pt x="224" y="45"/>
                </a:cubicBezTo>
                <a:cubicBezTo>
                  <a:pt x="225" y="46"/>
                  <a:pt x="225" y="46"/>
                  <a:pt x="225" y="46"/>
                </a:cubicBezTo>
                <a:cubicBezTo>
                  <a:pt x="226" y="46"/>
                  <a:pt x="226" y="46"/>
                  <a:pt x="226" y="46"/>
                </a:cubicBezTo>
                <a:cubicBezTo>
                  <a:pt x="226" y="45"/>
                  <a:pt x="226" y="45"/>
                  <a:pt x="226" y="45"/>
                </a:cubicBezTo>
                <a:cubicBezTo>
                  <a:pt x="225" y="45"/>
                  <a:pt x="225" y="45"/>
                  <a:pt x="225" y="45"/>
                </a:cubicBezTo>
                <a:cubicBezTo>
                  <a:pt x="225" y="45"/>
                  <a:pt x="225" y="45"/>
                  <a:pt x="225" y="45"/>
                </a:cubicBezTo>
                <a:cubicBezTo>
                  <a:pt x="225" y="44"/>
                  <a:pt x="225" y="44"/>
                  <a:pt x="225" y="44"/>
                </a:cubicBezTo>
                <a:cubicBezTo>
                  <a:pt x="227" y="45"/>
                  <a:pt x="227" y="45"/>
                  <a:pt x="227" y="45"/>
                </a:cubicBezTo>
                <a:close/>
                <a:moveTo>
                  <a:pt x="225" y="49"/>
                </a:moveTo>
                <a:cubicBezTo>
                  <a:pt x="224" y="49"/>
                  <a:pt x="224" y="49"/>
                  <a:pt x="224" y="49"/>
                </a:cubicBezTo>
                <a:cubicBezTo>
                  <a:pt x="222" y="49"/>
                  <a:pt x="222" y="49"/>
                  <a:pt x="222" y="49"/>
                </a:cubicBezTo>
                <a:cubicBezTo>
                  <a:pt x="223" y="49"/>
                  <a:pt x="223" y="49"/>
                  <a:pt x="223" y="49"/>
                </a:cubicBezTo>
                <a:cubicBezTo>
                  <a:pt x="225" y="49"/>
                  <a:pt x="225" y="49"/>
                  <a:pt x="225" y="49"/>
                </a:cubicBezTo>
                <a:close/>
                <a:moveTo>
                  <a:pt x="226" y="48"/>
                </a:moveTo>
                <a:cubicBezTo>
                  <a:pt x="225" y="49"/>
                  <a:pt x="225" y="49"/>
                  <a:pt x="225" y="49"/>
                </a:cubicBezTo>
                <a:cubicBezTo>
                  <a:pt x="225" y="48"/>
                  <a:pt x="225" y="48"/>
                  <a:pt x="225" y="48"/>
                </a:cubicBezTo>
                <a:cubicBezTo>
                  <a:pt x="226" y="48"/>
                  <a:pt x="226" y="48"/>
                  <a:pt x="226" y="48"/>
                </a:cubicBezTo>
                <a:close/>
                <a:moveTo>
                  <a:pt x="226" y="49"/>
                </a:moveTo>
                <a:cubicBezTo>
                  <a:pt x="224" y="50"/>
                  <a:pt x="224" y="50"/>
                  <a:pt x="224" y="50"/>
                </a:cubicBezTo>
                <a:cubicBezTo>
                  <a:pt x="224" y="52"/>
                  <a:pt x="224" y="52"/>
                  <a:pt x="224" y="52"/>
                </a:cubicBezTo>
                <a:cubicBezTo>
                  <a:pt x="226" y="52"/>
                  <a:pt x="226" y="52"/>
                  <a:pt x="226" y="52"/>
                </a:cubicBezTo>
                <a:cubicBezTo>
                  <a:pt x="226" y="52"/>
                  <a:pt x="226" y="52"/>
                  <a:pt x="226" y="52"/>
                </a:cubicBezTo>
                <a:cubicBezTo>
                  <a:pt x="226" y="49"/>
                  <a:pt x="226" y="49"/>
                  <a:pt x="226" y="49"/>
                </a:cubicBezTo>
                <a:cubicBezTo>
                  <a:pt x="226" y="49"/>
                  <a:pt x="226" y="49"/>
                  <a:pt x="226" y="49"/>
                </a:cubicBezTo>
                <a:close/>
                <a:moveTo>
                  <a:pt x="190" y="18"/>
                </a:moveTo>
                <a:cubicBezTo>
                  <a:pt x="192" y="20"/>
                  <a:pt x="192" y="20"/>
                  <a:pt x="192" y="20"/>
                </a:cubicBezTo>
                <a:cubicBezTo>
                  <a:pt x="192" y="21"/>
                  <a:pt x="192" y="21"/>
                  <a:pt x="192" y="21"/>
                </a:cubicBezTo>
                <a:cubicBezTo>
                  <a:pt x="192" y="22"/>
                  <a:pt x="192" y="22"/>
                  <a:pt x="192" y="22"/>
                </a:cubicBezTo>
                <a:cubicBezTo>
                  <a:pt x="190" y="21"/>
                  <a:pt x="190" y="21"/>
                  <a:pt x="190" y="21"/>
                </a:cubicBezTo>
                <a:cubicBezTo>
                  <a:pt x="190" y="19"/>
                  <a:pt x="190" y="19"/>
                  <a:pt x="190" y="19"/>
                </a:cubicBezTo>
                <a:cubicBezTo>
                  <a:pt x="190" y="18"/>
                  <a:pt x="190" y="18"/>
                  <a:pt x="190" y="18"/>
                </a:cubicBezTo>
                <a:close/>
                <a:moveTo>
                  <a:pt x="198" y="14"/>
                </a:moveTo>
                <a:cubicBezTo>
                  <a:pt x="199" y="15"/>
                  <a:pt x="199" y="15"/>
                  <a:pt x="199" y="15"/>
                </a:cubicBezTo>
                <a:cubicBezTo>
                  <a:pt x="199" y="17"/>
                  <a:pt x="199" y="17"/>
                  <a:pt x="199" y="17"/>
                </a:cubicBezTo>
                <a:cubicBezTo>
                  <a:pt x="199" y="16"/>
                  <a:pt x="199" y="16"/>
                  <a:pt x="199" y="16"/>
                </a:cubicBezTo>
                <a:cubicBezTo>
                  <a:pt x="200" y="15"/>
                  <a:pt x="200" y="15"/>
                  <a:pt x="200" y="15"/>
                </a:cubicBezTo>
                <a:cubicBezTo>
                  <a:pt x="200" y="14"/>
                  <a:pt x="200" y="14"/>
                  <a:pt x="200" y="14"/>
                </a:cubicBezTo>
                <a:cubicBezTo>
                  <a:pt x="199" y="13"/>
                  <a:pt x="199" y="13"/>
                  <a:pt x="199" y="13"/>
                </a:cubicBezTo>
                <a:cubicBezTo>
                  <a:pt x="198" y="14"/>
                  <a:pt x="198" y="14"/>
                  <a:pt x="198" y="14"/>
                </a:cubicBezTo>
                <a:close/>
                <a:moveTo>
                  <a:pt x="198" y="17"/>
                </a:moveTo>
                <a:cubicBezTo>
                  <a:pt x="199" y="17"/>
                  <a:pt x="199" y="17"/>
                  <a:pt x="199" y="17"/>
                </a:cubicBezTo>
                <a:cubicBezTo>
                  <a:pt x="199" y="18"/>
                  <a:pt x="199" y="18"/>
                  <a:pt x="199" y="18"/>
                </a:cubicBezTo>
                <a:cubicBezTo>
                  <a:pt x="199" y="18"/>
                  <a:pt x="199" y="18"/>
                  <a:pt x="199" y="18"/>
                </a:cubicBezTo>
                <a:cubicBezTo>
                  <a:pt x="199" y="18"/>
                  <a:pt x="198" y="17"/>
                  <a:pt x="198" y="17"/>
                </a:cubicBezTo>
                <a:close/>
                <a:moveTo>
                  <a:pt x="208" y="29"/>
                </a:moveTo>
                <a:cubicBezTo>
                  <a:pt x="209" y="31"/>
                  <a:pt x="209" y="31"/>
                  <a:pt x="209" y="31"/>
                </a:cubicBezTo>
                <a:cubicBezTo>
                  <a:pt x="209" y="30"/>
                  <a:pt x="209" y="30"/>
                  <a:pt x="209" y="30"/>
                </a:cubicBezTo>
                <a:cubicBezTo>
                  <a:pt x="210" y="30"/>
                  <a:pt x="210" y="30"/>
                  <a:pt x="210" y="30"/>
                </a:cubicBezTo>
                <a:cubicBezTo>
                  <a:pt x="211" y="29"/>
                  <a:pt x="211" y="29"/>
                  <a:pt x="211" y="29"/>
                </a:cubicBezTo>
                <a:cubicBezTo>
                  <a:pt x="211" y="28"/>
                  <a:pt x="211" y="28"/>
                  <a:pt x="211" y="28"/>
                </a:cubicBezTo>
                <a:cubicBezTo>
                  <a:pt x="210" y="28"/>
                  <a:pt x="210" y="28"/>
                  <a:pt x="210" y="28"/>
                </a:cubicBezTo>
                <a:cubicBezTo>
                  <a:pt x="209" y="28"/>
                  <a:pt x="209" y="28"/>
                  <a:pt x="209" y="28"/>
                </a:cubicBezTo>
                <a:cubicBezTo>
                  <a:pt x="208" y="29"/>
                  <a:pt x="208" y="29"/>
                  <a:pt x="208" y="29"/>
                </a:cubicBezTo>
                <a:close/>
                <a:moveTo>
                  <a:pt x="207" y="45"/>
                </a:moveTo>
                <a:cubicBezTo>
                  <a:pt x="208" y="47"/>
                  <a:pt x="208" y="47"/>
                  <a:pt x="208" y="47"/>
                </a:cubicBezTo>
                <a:cubicBezTo>
                  <a:pt x="209" y="49"/>
                  <a:pt x="209" y="49"/>
                  <a:pt x="209" y="49"/>
                </a:cubicBezTo>
                <a:cubicBezTo>
                  <a:pt x="210" y="49"/>
                  <a:pt x="210" y="49"/>
                  <a:pt x="210" y="49"/>
                </a:cubicBezTo>
                <a:cubicBezTo>
                  <a:pt x="209" y="49"/>
                  <a:pt x="209" y="49"/>
                  <a:pt x="209" y="49"/>
                </a:cubicBezTo>
                <a:cubicBezTo>
                  <a:pt x="209" y="50"/>
                  <a:pt x="209" y="50"/>
                  <a:pt x="209" y="50"/>
                </a:cubicBezTo>
                <a:cubicBezTo>
                  <a:pt x="209" y="49"/>
                  <a:pt x="209" y="49"/>
                  <a:pt x="209" y="49"/>
                </a:cubicBezTo>
                <a:cubicBezTo>
                  <a:pt x="208" y="49"/>
                  <a:pt x="208" y="49"/>
                  <a:pt x="208" y="49"/>
                </a:cubicBezTo>
                <a:cubicBezTo>
                  <a:pt x="207" y="47"/>
                  <a:pt x="207" y="47"/>
                  <a:pt x="207" y="47"/>
                </a:cubicBezTo>
                <a:cubicBezTo>
                  <a:pt x="205" y="46"/>
                  <a:pt x="205" y="46"/>
                  <a:pt x="205" y="46"/>
                </a:cubicBezTo>
                <a:cubicBezTo>
                  <a:pt x="204" y="44"/>
                  <a:pt x="204" y="44"/>
                  <a:pt x="204" y="44"/>
                </a:cubicBezTo>
                <a:cubicBezTo>
                  <a:pt x="205" y="43"/>
                  <a:pt x="205" y="43"/>
                  <a:pt x="205" y="43"/>
                </a:cubicBezTo>
                <a:cubicBezTo>
                  <a:pt x="205" y="42"/>
                  <a:pt x="205" y="42"/>
                  <a:pt x="205" y="42"/>
                </a:cubicBezTo>
                <a:cubicBezTo>
                  <a:pt x="205" y="42"/>
                  <a:pt x="205" y="42"/>
                  <a:pt x="205" y="42"/>
                </a:cubicBezTo>
                <a:cubicBezTo>
                  <a:pt x="204" y="41"/>
                  <a:pt x="204" y="41"/>
                  <a:pt x="204" y="41"/>
                </a:cubicBezTo>
                <a:cubicBezTo>
                  <a:pt x="204" y="39"/>
                  <a:pt x="204" y="39"/>
                  <a:pt x="204" y="39"/>
                </a:cubicBezTo>
                <a:cubicBezTo>
                  <a:pt x="204" y="39"/>
                  <a:pt x="204" y="39"/>
                  <a:pt x="204" y="39"/>
                </a:cubicBezTo>
                <a:cubicBezTo>
                  <a:pt x="204" y="37"/>
                  <a:pt x="204" y="37"/>
                  <a:pt x="204" y="37"/>
                </a:cubicBezTo>
                <a:cubicBezTo>
                  <a:pt x="203" y="36"/>
                  <a:pt x="203" y="36"/>
                  <a:pt x="203" y="36"/>
                </a:cubicBezTo>
                <a:cubicBezTo>
                  <a:pt x="203" y="35"/>
                  <a:pt x="203" y="35"/>
                  <a:pt x="203" y="35"/>
                </a:cubicBezTo>
                <a:cubicBezTo>
                  <a:pt x="204" y="34"/>
                  <a:pt x="204" y="34"/>
                  <a:pt x="204" y="34"/>
                </a:cubicBezTo>
                <a:cubicBezTo>
                  <a:pt x="204" y="33"/>
                  <a:pt x="204" y="33"/>
                  <a:pt x="204" y="33"/>
                </a:cubicBezTo>
                <a:cubicBezTo>
                  <a:pt x="205" y="31"/>
                  <a:pt x="205" y="31"/>
                  <a:pt x="205" y="31"/>
                </a:cubicBezTo>
                <a:cubicBezTo>
                  <a:pt x="206" y="29"/>
                  <a:pt x="206" y="29"/>
                  <a:pt x="206" y="29"/>
                </a:cubicBezTo>
                <a:cubicBezTo>
                  <a:pt x="207" y="29"/>
                  <a:pt x="207" y="29"/>
                  <a:pt x="207" y="29"/>
                </a:cubicBezTo>
                <a:cubicBezTo>
                  <a:pt x="207" y="30"/>
                  <a:pt x="207" y="30"/>
                  <a:pt x="207" y="30"/>
                </a:cubicBezTo>
                <a:cubicBezTo>
                  <a:pt x="206" y="31"/>
                  <a:pt x="206" y="31"/>
                  <a:pt x="206" y="31"/>
                </a:cubicBezTo>
                <a:cubicBezTo>
                  <a:pt x="206" y="32"/>
                  <a:pt x="206" y="32"/>
                  <a:pt x="206" y="32"/>
                </a:cubicBezTo>
                <a:cubicBezTo>
                  <a:pt x="207" y="32"/>
                  <a:pt x="207" y="32"/>
                  <a:pt x="207" y="32"/>
                </a:cubicBezTo>
                <a:cubicBezTo>
                  <a:pt x="207" y="34"/>
                  <a:pt x="207" y="34"/>
                  <a:pt x="207" y="34"/>
                </a:cubicBezTo>
                <a:cubicBezTo>
                  <a:pt x="207" y="36"/>
                  <a:pt x="207" y="36"/>
                  <a:pt x="207" y="36"/>
                </a:cubicBezTo>
                <a:cubicBezTo>
                  <a:pt x="206" y="36"/>
                  <a:pt x="206" y="36"/>
                  <a:pt x="206" y="36"/>
                </a:cubicBezTo>
                <a:cubicBezTo>
                  <a:pt x="205" y="36"/>
                  <a:pt x="205" y="36"/>
                  <a:pt x="205" y="36"/>
                </a:cubicBezTo>
                <a:cubicBezTo>
                  <a:pt x="205" y="38"/>
                  <a:pt x="205" y="38"/>
                  <a:pt x="205" y="38"/>
                </a:cubicBezTo>
                <a:cubicBezTo>
                  <a:pt x="206" y="37"/>
                  <a:pt x="206" y="37"/>
                  <a:pt x="206" y="37"/>
                </a:cubicBezTo>
                <a:cubicBezTo>
                  <a:pt x="207" y="36"/>
                  <a:pt x="207" y="36"/>
                  <a:pt x="207" y="36"/>
                </a:cubicBezTo>
                <a:cubicBezTo>
                  <a:pt x="208" y="36"/>
                  <a:pt x="208" y="36"/>
                  <a:pt x="208" y="36"/>
                </a:cubicBezTo>
                <a:cubicBezTo>
                  <a:pt x="208" y="35"/>
                  <a:pt x="208" y="35"/>
                  <a:pt x="208" y="35"/>
                </a:cubicBezTo>
                <a:cubicBezTo>
                  <a:pt x="208" y="35"/>
                  <a:pt x="208" y="35"/>
                  <a:pt x="208" y="35"/>
                </a:cubicBezTo>
                <a:cubicBezTo>
                  <a:pt x="208" y="34"/>
                  <a:pt x="208" y="34"/>
                  <a:pt x="208" y="34"/>
                </a:cubicBezTo>
                <a:cubicBezTo>
                  <a:pt x="210" y="33"/>
                  <a:pt x="210" y="33"/>
                  <a:pt x="210" y="33"/>
                </a:cubicBezTo>
                <a:cubicBezTo>
                  <a:pt x="212" y="33"/>
                  <a:pt x="212" y="33"/>
                  <a:pt x="212" y="33"/>
                </a:cubicBezTo>
                <a:cubicBezTo>
                  <a:pt x="212" y="33"/>
                  <a:pt x="212" y="33"/>
                  <a:pt x="212" y="33"/>
                </a:cubicBezTo>
                <a:cubicBezTo>
                  <a:pt x="212" y="34"/>
                  <a:pt x="212" y="34"/>
                  <a:pt x="212" y="34"/>
                </a:cubicBezTo>
                <a:cubicBezTo>
                  <a:pt x="211" y="37"/>
                  <a:pt x="211" y="37"/>
                  <a:pt x="211" y="37"/>
                </a:cubicBezTo>
                <a:cubicBezTo>
                  <a:pt x="209" y="37"/>
                  <a:pt x="209" y="37"/>
                  <a:pt x="209" y="37"/>
                </a:cubicBezTo>
                <a:cubicBezTo>
                  <a:pt x="208" y="38"/>
                  <a:pt x="208" y="38"/>
                  <a:pt x="208" y="38"/>
                </a:cubicBezTo>
                <a:cubicBezTo>
                  <a:pt x="209" y="39"/>
                  <a:pt x="209" y="39"/>
                  <a:pt x="209" y="39"/>
                </a:cubicBezTo>
                <a:cubicBezTo>
                  <a:pt x="210" y="39"/>
                  <a:pt x="210" y="39"/>
                  <a:pt x="210" y="39"/>
                </a:cubicBezTo>
                <a:cubicBezTo>
                  <a:pt x="211" y="40"/>
                  <a:pt x="211" y="40"/>
                  <a:pt x="211" y="40"/>
                </a:cubicBezTo>
                <a:cubicBezTo>
                  <a:pt x="211" y="41"/>
                  <a:pt x="211" y="41"/>
                  <a:pt x="211" y="41"/>
                </a:cubicBezTo>
                <a:cubicBezTo>
                  <a:pt x="212" y="42"/>
                  <a:pt x="212" y="42"/>
                  <a:pt x="212" y="42"/>
                </a:cubicBezTo>
                <a:cubicBezTo>
                  <a:pt x="211" y="42"/>
                  <a:pt x="211" y="42"/>
                  <a:pt x="211" y="42"/>
                </a:cubicBezTo>
                <a:cubicBezTo>
                  <a:pt x="210" y="41"/>
                  <a:pt x="210" y="41"/>
                  <a:pt x="210" y="41"/>
                </a:cubicBezTo>
                <a:cubicBezTo>
                  <a:pt x="208" y="41"/>
                  <a:pt x="208" y="41"/>
                  <a:pt x="208" y="41"/>
                </a:cubicBezTo>
                <a:cubicBezTo>
                  <a:pt x="207" y="41"/>
                  <a:pt x="207" y="41"/>
                  <a:pt x="207" y="41"/>
                </a:cubicBezTo>
                <a:cubicBezTo>
                  <a:pt x="206" y="41"/>
                  <a:pt x="206" y="41"/>
                  <a:pt x="206" y="41"/>
                </a:cubicBezTo>
                <a:cubicBezTo>
                  <a:pt x="206" y="43"/>
                  <a:pt x="206" y="43"/>
                  <a:pt x="206" y="43"/>
                </a:cubicBezTo>
                <a:cubicBezTo>
                  <a:pt x="207" y="45"/>
                  <a:pt x="207" y="45"/>
                  <a:pt x="207" y="45"/>
                </a:cubicBezTo>
                <a:close/>
                <a:moveTo>
                  <a:pt x="202" y="48"/>
                </a:moveTo>
                <a:cubicBezTo>
                  <a:pt x="202" y="49"/>
                  <a:pt x="202" y="49"/>
                  <a:pt x="202" y="49"/>
                </a:cubicBezTo>
                <a:cubicBezTo>
                  <a:pt x="201" y="49"/>
                  <a:pt x="201" y="49"/>
                  <a:pt x="201" y="49"/>
                </a:cubicBezTo>
                <a:cubicBezTo>
                  <a:pt x="202" y="48"/>
                  <a:pt x="202" y="48"/>
                  <a:pt x="202" y="48"/>
                </a:cubicBezTo>
                <a:cubicBezTo>
                  <a:pt x="202" y="48"/>
                  <a:pt x="202" y="48"/>
                  <a:pt x="202" y="48"/>
                </a:cubicBezTo>
                <a:close/>
                <a:moveTo>
                  <a:pt x="202" y="46"/>
                </a:moveTo>
                <a:cubicBezTo>
                  <a:pt x="201" y="46"/>
                  <a:pt x="201" y="46"/>
                  <a:pt x="201" y="46"/>
                </a:cubicBezTo>
                <a:cubicBezTo>
                  <a:pt x="201" y="47"/>
                  <a:pt x="201" y="47"/>
                  <a:pt x="201" y="47"/>
                </a:cubicBezTo>
                <a:cubicBezTo>
                  <a:pt x="202" y="47"/>
                  <a:pt x="202" y="47"/>
                  <a:pt x="202" y="47"/>
                </a:cubicBezTo>
                <a:cubicBezTo>
                  <a:pt x="202" y="46"/>
                  <a:pt x="202" y="46"/>
                  <a:pt x="202" y="46"/>
                </a:cubicBezTo>
                <a:cubicBezTo>
                  <a:pt x="202" y="46"/>
                  <a:pt x="202" y="46"/>
                  <a:pt x="202" y="46"/>
                </a:cubicBezTo>
                <a:close/>
                <a:moveTo>
                  <a:pt x="203" y="46"/>
                </a:moveTo>
                <a:cubicBezTo>
                  <a:pt x="203" y="47"/>
                  <a:pt x="203" y="47"/>
                  <a:pt x="203" y="47"/>
                </a:cubicBezTo>
                <a:cubicBezTo>
                  <a:pt x="203" y="48"/>
                  <a:pt x="203" y="48"/>
                  <a:pt x="203" y="48"/>
                </a:cubicBezTo>
                <a:cubicBezTo>
                  <a:pt x="203" y="49"/>
                  <a:pt x="203" y="49"/>
                  <a:pt x="203" y="49"/>
                </a:cubicBezTo>
                <a:cubicBezTo>
                  <a:pt x="204" y="49"/>
                  <a:pt x="204" y="49"/>
                  <a:pt x="204" y="49"/>
                </a:cubicBezTo>
                <a:cubicBezTo>
                  <a:pt x="205" y="49"/>
                  <a:pt x="205" y="49"/>
                  <a:pt x="205" y="49"/>
                </a:cubicBezTo>
                <a:cubicBezTo>
                  <a:pt x="206" y="49"/>
                  <a:pt x="206" y="49"/>
                  <a:pt x="206" y="49"/>
                </a:cubicBezTo>
                <a:cubicBezTo>
                  <a:pt x="205" y="48"/>
                  <a:pt x="205" y="48"/>
                  <a:pt x="205" y="48"/>
                </a:cubicBezTo>
                <a:cubicBezTo>
                  <a:pt x="204" y="48"/>
                  <a:pt x="204" y="48"/>
                  <a:pt x="204" y="48"/>
                </a:cubicBezTo>
                <a:cubicBezTo>
                  <a:pt x="205" y="47"/>
                  <a:pt x="205" y="47"/>
                  <a:pt x="205" y="47"/>
                </a:cubicBezTo>
                <a:cubicBezTo>
                  <a:pt x="204" y="46"/>
                  <a:pt x="204" y="46"/>
                  <a:pt x="204" y="46"/>
                </a:cubicBezTo>
                <a:cubicBezTo>
                  <a:pt x="203" y="46"/>
                  <a:pt x="203" y="46"/>
                  <a:pt x="203" y="46"/>
                </a:cubicBezTo>
                <a:close/>
                <a:moveTo>
                  <a:pt x="203" y="54"/>
                </a:moveTo>
                <a:cubicBezTo>
                  <a:pt x="205" y="52"/>
                  <a:pt x="205" y="52"/>
                  <a:pt x="205" y="52"/>
                </a:cubicBezTo>
                <a:cubicBezTo>
                  <a:pt x="206" y="52"/>
                  <a:pt x="206" y="52"/>
                  <a:pt x="206" y="52"/>
                </a:cubicBezTo>
                <a:cubicBezTo>
                  <a:pt x="208" y="54"/>
                  <a:pt x="208" y="54"/>
                  <a:pt x="208" y="54"/>
                </a:cubicBezTo>
                <a:cubicBezTo>
                  <a:pt x="207" y="55"/>
                  <a:pt x="207" y="55"/>
                  <a:pt x="207" y="55"/>
                </a:cubicBezTo>
                <a:cubicBezTo>
                  <a:pt x="206" y="55"/>
                  <a:pt x="206" y="55"/>
                  <a:pt x="206" y="55"/>
                </a:cubicBezTo>
                <a:cubicBezTo>
                  <a:pt x="205" y="55"/>
                  <a:pt x="205" y="55"/>
                  <a:pt x="205" y="55"/>
                </a:cubicBezTo>
                <a:cubicBezTo>
                  <a:pt x="205" y="55"/>
                  <a:pt x="205" y="55"/>
                  <a:pt x="205" y="55"/>
                </a:cubicBezTo>
                <a:cubicBezTo>
                  <a:pt x="203" y="54"/>
                  <a:pt x="203" y="54"/>
                  <a:pt x="203" y="54"/>
                </a:cubicBezTo>
                <a:cubicBezTo>
                  <a:pt x="203" y="54"/>
                  <a:pt x="203" y="54"/>
                  <a:pt x="203" y="54"/>
                </a:cubicBezTo>
                <a:close/>
                <a:moveTo>
                  <a:pt x="221" y="54"/>
                </a:moveTo>
                <a:cubicBezTo>
                  <a:pt x="219" y="55"/>
                  <a:pt x="219" y="55"/>
                  <a:pt x="219" y="55"/>
                </a:cubicBezTo>
                <a:cubicBezTo>
                  <a:pt x="218" y="55"/>
                  <a:pt x="218" y="55"/>
                  <a:pt x="218" y="55"/>
                </a:cubicBezTo>
                <a:cubicBezTo>
                  <a:pt x="218" y="56"/>
                  <a:pt x="218" y="56"/>
                  <a:pt x="218" y="56"/>
                </a:cubicBezTo>
                <a:cubicBezTo>
                  <a:pt x="220" y="57"/>
                  <a:pt x="220" y="57"/>
                  <a:pt x="220" y="57"/>
                </a:cubicBezTo>
                <a:cubicBezTo>
                  <a:pt x="222" y="56"/>
                  <a:pt x="222" y="56"/>
                  <a:pt x="222" y="56"/>
                </a:cubicBezTo>
                <a:cubicBezTo>
                  <a:pt x="222" y="56"/>
                  <a:pt x="222" y="56"/>
                  <a:pt x="222" y="56"/>
                </a:cubicBezTo>
                <a:cubicBezTo>
                  <a:pt x="221" y="55"/>
                  <a:pt x="221" y="55"/>
                  <a:pt x="221" y="55"/>
                </a:cubicBezTo>
                <a:cubicBezTo>
                  <a:pt x="221" y="54"/>
                  <a:pt x="221" y="54"/>
                  <a:pt x="221" y="54"/>
                </a:cubicBezTo>
                <a:close/>
                <a:moveTo>
                  <a:pt x="210" y="67"/>
                </a:moveTo>
                <a:cubicBezTo>
                  <a:pt x="211" y="66"/>
                  <a:pt x="211" y="66"/>
                  <a:pt x="211" y="66"/>
                </a:cubicBezTo>
                <a:cubicBezTo>
                  <a:pt x="211" y="67"/>
                  <a:pt x="211" y="67"/>
                  <a:pt x="211" y="67"/>
                </a:cubicBezTo>
                <a:cubicBezTo>
                  <a:pt x="210" y="67"/>
                  <a:pt x="210" y="67"/>
                  <a:pt x="210" y="67"/>
                </a:cubicBezTo>
                <a:cubicBezTo>
                  <a:pt x="210" y="67"/>
                  <a:pt x="210" y="67"/>
                  <a:pt x="210" y="67"/>
                </a:cubicBezTo>
                <a:close/>
                <a:moveTo>
                  <a:pt x="209" y="67"/>
                </a:moveTo>
                <a:cubicBezTo>
                  <a:pt x="210" y="67"/>
                  <a:pt x="210" y="67"/>
                  <a:pt x="210" y="67"/>
                </a:cubicBezTo>
                <a:cubicBezTo>
                  <a:pt x="210" y="67"/>
                  <a:pt x="210" y="67"/>
                  <a:pt x="210" y="67"/>
                </a:cubicBezTo>
                <a:cubicBezTo>
                  <a:pt x="209" y="67"/>
                  <a:pt x="209" y="67"/>
                  <a:pt x="209" y="67"/>
                </a:cubicBezTo>
                <a:cubicBezTo>
                  <a:pt x="209" y="67"/>
                  <a:pt x="209" y="67"/>
                  <a:pt x="209" y="67"/>
                </a:cubicBezTo>
                <a:close/>
                <a:moveTo>
                  <a:pt x="206" y="67"/>
                </a:moveTo>
                <a:cubicBezTo>
                  <a:pt x="207" y="67"/>
                  <a:pt x="207" y="67"/>
                  <a:pt x="207" y="67"/>
                </a:cubicBezTo>
                <a:cubicBezTo>
                  <a:pt x="208" y="66"/>
                  <a:pt x="208" y="66"/>
                  <a:pt x="208" y="66"/>
                </a:cubicBezTo>
                <a:cubicBezTo>
                  <a:pt x="208" y="67"/>
                  <a:pt x="208" y="67"/>
                  <a:pt x="208" y="67"/>
                </a:cubicBezTo>
                <a:cubicBezTo>
                  <a:pt x="208" y="68"/>
                  <a:pt x="208" y="68"/>
                  <a:pt x="208" y="68"/>
                </a:cubicBezTo>
                <a:cubicBezTo>
                  <a:pt x="207" y="67"/>
                  <a:pt x="207" y="67"/>
                  <a:pt x="207" y="67"/>
                </a:cubicBezTo>
                <a:cubicBezTo>
                  <a:pt x="207" y="68"/>
                  <a:pt x="207" y="68"/>
                  <a:pt x="207" y="68"/>
                </a:cubicBezTo>
                <a:cubicBezTo>
                  <a:pt x="206" y="67"/>
                  <a:pt x="206" y="67"/>
                  <a:pt x="206" y="67"/>
                </a:cubicBezTo>
                <a:close/>
                <a:moveTo>
                  <a:pt x="205" y="63"/>
                </a:moveTo>
                <a:cubicBezTo>
                  <a:pt x="205" y="64"/>
                  <a:pt x="205" y="64"/>
                  <a:pt x="205" y="64"/>
                </a:cubicBezTo>
                <a:cubicBezTo>
                  <a:pt x="205" y="64"/>
                  <a:pt x="205" y="64"/>
                  <a:pt x="205" y="64"/>
                </a:cubicBezTo>
                <a:cubicBezTo>
                  <a:pt x="205" y="63"/>
                  <a:pt x="205" y="63"/>
                  <a:pt x="205" y="63"/>
                </a:cubicBezTo>
                <a:close/>
                <a:moveTo>
                  <a:pt x="207" y="62"/>
                </a:moveTo>
                <a:cubicBezTo>
                  <a:pt x="205" y="62"/>
                  <a:pt x="205" y="62"/>
                  <a:pt x="205" y="62"/>
                </a:cubicBezTo>
                <a:cubicBezTo>
                  <a:pt x="206" y="63"/>
                  <a:pt x="206" y="63"/>
                  <a:pt x="206" y="63"/>
                </a:cubicBezTo>
                <a:cubicBezTo>
                  <a:pt x="206" y="63"/>
                  <a:pt x="206" y="63"/>
                  <a:pt x="206" y="63"/>
                </a:cubicBezTo>
                <a:cubicBezTo>
                  <a:pt x="207" y="62"/>
                  <a:pt x="207" y="62"/>
                  <a:pt x="207" y="62"/>
                </a:cubicBezTo>
                <a:close/>
                <a:moveTo>
                  <a:pt x="207" y="66"/>
                </a:moveTo>
                <a:cubicBezTo>
                  <a:pt x="208" y="64"/>
                  <a:pt x="208" y="64"/>
                  <a:pt x="208" y="64"/>
                </a:cubicBezTo>
                <a:cubicBezTo>
                  <a:pt x="209" y="65"/>
                  <a:pt x="209" y="65"/>
                  <a:pt x="209" y="65"/>
                </a:cubicBezTo>
                <a:cubicBezTo>
                  <a:pt x="210" y="66"/>
                  <a:pt x="210" y="66"/>
                  <a:pt x="210" y="66"/>
                </a:cubicBezTo>
                <a:cubicBezTo>
                  <a:pt x="211" y="66"/>
                  <a:pt x="211" y="66"/>
                  <a:pt x="211" y="66"/>
                </a:cubicBezTo>
                <a:cubicBezTo>
                  <a:pt x="212" y="64"/>
                  <a:pt x="212" y="64"/>
                  <a:pt x="212" y="64"/>
                </a:cubicBezTo>
                <a:cubicBezTo>
                  <a:pt x="213" y="64"/>
                  <a:pt x="213" y="64"/>
                  <a:pt x="213" y="64"/>
                </a:cubicBezTo>
                <a:cubicBezTo>
                  <a:pt x="213" y="66"/>
                  <a:pt x="213" y="66"/>
                  <a:pt x="213" y="66"/>
                </a:cubicBezTo>
                <a:cubicBezTo>
                  <a:pt x="216" y="66"/>
                  <a:pt x="216" y="66"/>
                  <a:pt x="216" y="66"/>
                </a:cubicBezTo>
                <a:cubicBezTo>
                  <a:pt x="217" y="65"/>
                  <a:pt x="217" y="65"/>
                  <a:pt x="217" y="65"/>
                </a:cubicBezTo>
                <a:cubicBezTo>
                  <a:pt x="218" y="65"/>
                  <a:pt x="218" y="65"/>
                  <a:pt x="218" y="65"/>
                </a:cubicBezTo>
                <a:cubicBezTo>
                  <a:pt x="220" y="67"/>
                  <a:pt x="220" y="67"/>
                  <a:pt x="220" y="67"/>
                </a:cubicBezTo>
                <a:cubicBezTo>
                  <a:pt x="221" y="67"/>
                  <a:pt x="221" y="67"/>
                  <a:pt x="221" y="67"/>
                </a:cubicBezTo>
                <a:cubicBezTo>
                  <a:pt x="223" y="68"/>
                  <a:pt x="223" y="68"/>
                  <a:pt x="223" y="68"/>
                </a:cubicBezTo>
                <a:cubicBezTo>
                  <a:pt x="224" y="68"/>
                  <a:pt x="224" y="68"/>
                  <a:pt x="224" y="68"/>
                </a:cubicBezTo>
                <a:cubicBezTo>
                  <a:pt x="225" y="67"/>
                  <a:pt x="225" y="67"/>
                  <a:pt x="225" y="67"/>
                </a:cubicBezTo>
                <a:cubicBezTo>
                  <a:pt x="224" y="65"/>
                  <a:pt x="224" y="65"/>
                  <a:pt x="224" y="65"/>
                </a:cubicBezTo>
                <a:cubicBezTo>
                  <a:pt x="221" y="63"/>
                  <a:pt x="221" y="63"/>
                  <a:pt x="221" y="63"/>
                </a:cubicBezTo>
                <a:cubicBezTo>
                  <a:pt x="218" y="63"/>
                  <a:pt x="218" y="63"/>
                  <a:pt x="218" y="63"/>
                </a:cubicBezTo>
                <a:cubicBezTo>
                  <a:pt x="217" y="61"/>
                  <a:pt x="217" y="61"/>
                  <a:pt x="217" y="61"/>
                </a:cubicBezTo>
                <a:cubicBezTo>
                  <a:pt x="216" y="61"/>
                  <a:pt x="216" y="61"/>
                  <a:pt x="216" y="61"/>
                </a:cubicBezTo>
                <a:cubicBezTo>
                  <a:pt x="215" y="62"/>
                  <a:pt x="215" y="62"/>
                  <a:pt x="215" y="62"/>
                </a:cubicBezTo>
                <a:cubicBezTo>
                  <a:pt x="213" y="62"/>
                  <a:pt x="213" y="62"/>
                  <a:pt x="213" y="62"/>
                </a:cubicBezTo>
                <a:cubicBezTo>
                  <a:pt x="212" y="62"/>
                  <a:pt x="212" y="62"/>
                  <a:pt x="212" y="62"/>
                </a:cubicBezTo>
                <a:cubicBezTo>
                  <a:pt x="211" y="62"/>
                  <a:pt x="211" y="62"/>
                  <a:pt x="211" y="62"/>
                </a:cubicBezTo>
                <a:cubicBezTo>
                  <a:pt x="208" y="62"/>
                  <a:pt x="208" y="62"/>
                  <a:pt x="208" y="62"/>
                </a:cubicBezTo>
                <a:cubicBezTo>
                  <a:pt x="207" y="63"/>
                  <a:pt x="207" y="63"/>
                  <a:pt x="207" y="63"/>
                </a:cubicBezTo>
                <a:cubicBezTo>
                  <a:pt x="207" y="63"/>
                  <a:pt x="207" y="63"/>
                  <a:pt x="207" y="63"/>
                </a:cubicBezTo>
                <a:cubicBezTo>
                  <a:pt x="206" y="64"/>
                  <a:pt x="206" y="64"/>
                  <a:pt x="206" y="64"/>
                </a:cubicBezTo>
                <a:cubicBezTo>
                  <a:pt x="206" y="65"/>
                  <a:pt x="206" y="65"/>
                  <a:pt x="206" y="65"/>
                </a:cubicBezTo>
                <a:cubicBezTo>
                  <a:pt x="206" y="66"/>
                  <a:pt x="206" y="66"/>
                  <a:pt x="206" y="66"/>
                </a:cubicBezTo>
                <a:cubicBezTo>
                  <a:pt x="207" y="66"/>
                  <a:pt x="207" y="66"/>
                  <a:pt x="207" y="66"/>
                </a:cubicBezTo>
                <a:close/>
                <a:moveTo>
                  <a:pt x="195" y="64"/>
                </a:moveTo>
                <a:cubicBezTo>
                  <a:pt x="196" y="64"/>
                  <a:pt x="196" y="64"/>
                  <a:pt x="196" y="64"/>
                </a:cubicBezTo>
                <a:cubicBezTo>
                  <a:pt x="197" y="63"/>
                  <a:pt x="197" y="63"/>
                  <a:pt x="197" y="63"/>
                </a:cubicBezTo>
                <a:cubicBezTo>
                  <a:pt x="199" y="63"/>
                  <a:pt x="199" y="63"/>
                  <a:pt x="199" y="63"/>
                </a:cubicBezTo>
                <a:cubicBezTo>
                  <a:pt x="201" y="64"/>
                  <a:pt x="201" y="64"/>
                  <a:pt x="201" y="64"/>
                </a:cubicBezTo>
                <a:cubicBezTo>
                  <a:pt x="201" y="65"/>
                  <a:pt x="201" y="65"/>
                  <a:pt x="201" y="65"/>
                </a:cubicBezTo>
                <a:cubicBezTo>
                  <a:pt x="202" y="66"/>
                  <a:pt x="202" y="66"/>
                  <a:pt x="202" y="66"/>
                </a:cubicBezTo>
                <a:cubicBezTo>
                  <a:pt x="202" y="67"/>
                  <a:pt x="202" y="67"/>
                  <a:pt x="202" y="67"/>
                </a:cubicBezTo>
                <a:cubicBezTo>
                  <a:pt x="201" y="67"/>
                  <a:pt x="201" y="67"/>
                  <a:pt x="201" y="67"/>
                </a:cubicBezTo>
                <a:cubicBezTo>
                  <a:pt x="200" y="68"/>
                  <a:pt x="200" y="68"/>
                  <a:pt x="200" y="68"/>
                </a:cubicBezTo>
                <a:cubicBezTo>
                  <a:pt x="198" y="68"/>
                  <a:pt x="198" y="68"/>
                  <a:pt x="198" y="68"/>
                </a:cubicBezTo>
                <a:cubicBezTo>
                  <a:pt x="197" y="68"/>
                  <a:pt x="197" y="68"/>
                  <a:pt x="197" y="68"/>
                </a:cubicBezTo>
                <a:cubicBezTo>
                  <a:pt x="196" y="68"/>
                  <a:pt x="196" y="68"/>
                  <a:pt x="196" y="68"/>
                </a:cubicBezTo>
                <a:cubicBezTo>
                  <a:pt x="194" y="67"/>
                  <a:pt x="194" y="67"/>
                  <a:pt x="194" y="67"/>
                </a:cubicBezTo>
                <a:cubicBezTo>
                  <a:pt x="193" y="66"/>
                  <a:pt x="193" y="66"/>
                  <a:pt x="193" y="66"/>
                </a:cubicBezTo>
                <a:cubicBezTo>
                  <a:pt x="193" y="64"/>
                  <a:pt x="193" y="64"/>
                  <a:pt x="193" y="64"/>
                </a:cubicBezTo>
                <a:cubicBezTo>
                  <a:pt x="195" y="64"/>
                  <a:pt x="195" y="64"/>
                  <a:pt x="195" y="64"/>
                </a:cubicBezTo>
                <a:close/>
                <a:moveTo>
                  <a:pt x="160" y="90"/>
                </a:moveTo>
                <a:cubicBezTo>
                  <a:pt x="159" y="89"/>
                  <a:pt x="159" y="89"/>
                  <a:pt x="159" y="89"/>
                </a:cubicBezTo>
                <a:cubicBezTo>
                  <a:pt x="158" y="90"/>
                  <a:pt x="158" y="90"/>
                  <a:pt x="158" y="90"/>
                </a:cubicBezTo>
                <a:cubicBezTo>
                  <a:pt x="159" y="90"/>
                  <a:pt x="159" y="90"/>
                  <a:pt x="159" y="90"/>
                </a:cubicBezTo>
                <a:cubicBezTo>
                  <a:pt x="160" y="90"/>
                  <a:pt x="160" y="90"/>
                  <a:pt x="160" y="90"/>
                </a:cubicBezTo>
                <a:close/>
                <a:moveTo>
                  <a:pt x="158" y="81"/>
                </a:moveTo>
                <a:cubicBezTo>
                  <a:pt x="159" y="83"/>
                  <a:pt x="159" y="83"/>
                  <a:pt x="159" y="83"/>
                </a:cubicBezTo>
                <a:cubicBezTo>
                  <a:pt x="159" y="84"/>
                  <a:pt x="159" y="84"/>
                  <a:pt x="159" y="84"/>
                </a:cubicBezTo>
                <a:cubicBezTo>
                  <a:pt x="159" y="85"/>
                  <a:pt x="159" y="85"/>
                  <a:pt x="159" y="85"/>
                </a:cubicBezTo>
                <a:cubicBezTo>
                  <a:pt x="158" y="84"/>
                  <a:pt x="158" y="84"/>
                  <a:pt x="158" y="84"/>
                </a:cubicBezTo>
                <a:cubicBezTo>
                  <a:pt x="158" y="83"/>
                  <a:pt x="158" y="83"/>
                  <a:pt x="158" y="83"/>
                </a:cubicBezTo>
                <a:cubicBezTo>
                  <a:pt x="158" y="82"/>
                  <a:pt x="158" y="82"/>
                  <a:pt x="158" y="82"/>
                </a:cubicBezTo>
                <a:cubicBezTo>
                  <a:pt x="158" y="81"/>
                  <a:pt x="158" y="81"/>
                  <a:pt x="158" y="81"/>
                </a:cubicBezTo>
                <a:cubicBezTo>
                  <a:pt x="158" y="81"/>
                  <a:pt x="158" y="81"/>
                  <a:pt x="158" y="81"/>
                </a:cubicBezTo>
                <a:close/>
                <a:moveTo>
                  <a:pt x="193" y="57"/>
                </a:moveTo>
                <a:cubicBezTo>
                  <a:pt x="193" y="58"/>
                  <a:pt x="193" y="58"/>
                  <a:pt x="193" y="58"/>
                </a:cubicBezTo>
                <a:cubicBezTo>
                  <a:pt x="194" y="59"/>
                  <a:pt x="194" y="59"/>
                  <a:pt x="194" y="59"/>
                </a:cubicBezTo>
                <a:cubicBezTo>
                  <a:pt x="194" y="60"/>
                  <a:pt x="194" y="60"/>
                  <a:pt x="194" y="60"/>
                </a:cubicBezTo>
                <a:cubicBezTo>
                  <a:pt x="194" y="59"/>
                  <a:pt x="194" y="59"/>
                  <a:pt x="194" y="59"/>
                </a:cubicBezTo>
                <a:cubicBezTo>
                  <a:pt x="193" y="58"/>
                  <a:pt x="193" y="58"/>
                  <a:pt x="193" y="58"/>
                </a:cubicBezTo>
                <a:cubicBezTo>
                  <a:pt x="193" y="57"/>
                  <a:pt x="193" y="57"/>
                  <a:pt x="193" y="57"/>
                </a:cubicBezTo>
                <a:cubicBezTo>
                  <a:pt x="193" y="57"/>
                  <a:pt x="193" y="57"/>
                  <a:pt x="193" y="57"/>
                </a:cubicBezTo>
                <a:close/>
                <a:moveTo>
                  <a:pt x="190" y="55"/>
                </a:moveTo>
                <a:cubicBezTo>
                  <a:pt x="191" y="55"/>
                  <a:pt x="191" y="55"/>
                  <a:pt x="191" y="55"/>
                </a:cubicBezTo>
                <a:cubicBezTo>
                  <a:pt x="192" y="55"/>
                  <a:pt x="192" y="55"/>
                  <a:pt x="192" y="55"/>
                </a:cubicBezTo>
                <a:cubicBezTo>
                  <a:pt x="192" y="55"/>
                  <a:pt x="192" y="55"/>
                  <a:pt x="192" y="55"/>
                </a:cubicBezTo>
                <a:cubicBezTo>
                  <a:pt x="195" y="55"/>
                  <a:pt x="195" y="55"/>
                  <a:pt x="195" y="55"/>
                </a:cubicBezTo>
                <a:cubicBezTo>
                  <a:pt x="196" y="55"/>
                  <a:pt x="196" y="55"/>
                  <a:pt x="196" y="55"/>
                </a:cubicBezTo>
                <a:cubicBezTo>
                  <a:pt x="195" y="56"/>
                  <a:pt x="195" y="56"/>
                  <a:pt x="195" y="56"/>
                </a:cubicBezTo>
                <a:cubicBezTo>
                  <a:pt x="192" y="56"/>
                  <a:pt x="192" y="56"/>
                  <a:pt x="192" y="56"/>
                </a:cubicBezTo>
                <a:cubicBezTo>
                  <a:pt x="190" y="56"/>
                  <a:pt x="190" y="56"/>
                  <a:pt x="190" y="56"/>
                </a:cubicBezTo>
                <a:cubicBezTo>
                  <a:pt x="190" y="55"/>
                  <a:pt x="190" y="55"/>
                  <a:pt x="190" y="55"/>
                </a:cubicBezTo>
                <a:cubicBezTo>
                  <a:pt x="190" y="55"/>
                  <a:pt x="190" y="55"/>
                  <a:pt x="190" y="55"/>
                </a:cubicBezTo>
                <a:close/>
                <a:moveTo>
                  <a:pt x="184" y="55"/>
                </a:moveTo>
                <a:cubicBezTo>
                  <a:pt x="184" y="54"/>
                  <a:pt x="184" y="54"/>
                  <a:pt x="184" y="54"/>
                </a:cubicBezTo>
                <a:cubicBezTo>
                  <a:pt x="185" y="55"/>
                  <a:pt x="185" y="55"/>
                  <a:pt x="185" y="55"/>
                </a:cubicBezTo>
                <a:cubicBezTo>
                  <a:pt x="186" y="54"/>
                  <a:pt x="186" y="54"/>
                  <a:pt x="186" y="54"/>
                </a:cubicBezTo>
                <a:cubicBezTo>
                  <a:pt x="187" y="55"/>
                  <a:pt x="187" y="55"/>
                  <a:pt x="187" y="55"/>
                </a:cubicBezTo>
                <a:cubicBezTo>
                  <a:pt x="188" y="55"/>
                  <a:pt x="188" y="55"/>
                  <a:pt x="188" y="55"/>
                </a:cubicBezTo>
                <a:cubicBezTo>
                  <a:pt x="189" y="54"/>
                  <a:pt x="189" y="54"/>
                  <a:pt x="189" y="54"/>
                </a:cubicBezTo>
                <a:cubicBezTo>
                  <a:pt x="190" y="55"/>
                  <a:pt x="190" y="55"/>
                  <a:pt x="190" y="55"/>
                </a:cubicBezTo>
                <a:cubicBezTo>
                  <a:pt x="190" y="56"/>
                  <a:pt x="190" y="56"/>
                  <a:pt x="190" y="56"/>
                </a:cubicBezTo>
                <a:cubicBezTo>
                  <a:pt x="189" y="56"/>
                  <a:pt x="189" y="56"/>
                  <a:pt x="189" y="56"/>
                </a:cubicBezTo>
                <a:cubicBezTo>
                  <a:pt x="187" y="56"/>
                  <a:pt x="187" y="56"/>
                  <a:pt x="187" y="56"/>
                </a:cubicBezTo>
                <a:cubicBezTo>
                  <a:pt x="187" y="56"/>
                  <a:pt x="187" y="56"/>
                  <a:pt x="187" y="56"/>
                </a:cubicBezTo>
                <a:cubicBezTo>
                  <a:pt x="185" y="57"/>
                  <a:pt x="185" y="57"/>
                  <a:pt x="185" y="57"/>
                </a:cubicBezTo>
                <a:cubicBezTo>
                  <a:pt x="184" y="56"/>
                  <a:pt x="184" y="56"/>
                  <a:pt x="184" y="56"/>
                </a:cubicBezTo>
                <a:cubicBezTo>
                  <a:pt x="184" y="56"/>
                  <a:pt x="184" y="56"/>
                  <a:pt x="184" y="56"/>
                </a:cubicBezTo>
                <a:cubicBezTo>
                  <a:pt x="184" y="55"/>
                  <a:pt x="184" y="55"/>
                  <a:pt x="184" y="55"/>
                </a:cubicBezTo>
                <a:close/>
                <a:moveTo>
                  <a:pt x="173" y="78"/>
                </a:moveTo>
                <a:cubicBezTo>
                  <a:pt x="174" y="77"/>
                  <a:pt x="174" y="77"/>
                  <a:pt x="174" y="77"/>
                </a:cubicBezTo>
                <a:cubicBezTo>
                  <a:pt x="174" y="75"/>
                  <a:pt x="174" y="75"/>
                  <a:pt x="174" y="75"/>
                </a:cubicBezTo>
                <a:cubicBezTo>
                  <a:pt x="174" y="73"/>
                  <a:pt x="174" y="73"/>
                  <a:pt x="174" y="73"/>
                </a:cubicBezTo>
                <a:cubicBezTo>
                  <a:pt x="175" y="72"/>
                  <a:pt x="175" y="72"/>
                  <a:pt x="175" y="72"/>
                </a:cubicBezTo>
                <a:cubicBezTo>
                  <a:pt x="176" y="72"/>
                  <a:pt x="176" y="72"/>
                  <a:pt x="176" y="72"/>
                </a:cubicBezTo>
                <a:cubicBezTo>
                  <a:pt x="176" y="73"/>
                  <a:pt x="176" y="73"/>
                  <a:pt x="176" y="73"/>
                </a:cubicBezTo>
                <a:cubicBezTo>
                  <a:pt x="176" y="74"/>
                  <a:pt x="176" y="74"/>
                  <a:pt x="176" y="74"/>
                </a:cubicBezTo>
                <a:cubicBezTo>
                  <a:pt x="176" y="75"/>
                  <a:pt x="176" y="75"/>
                  <a:pt x="176" y="75"/>
                </a:cubicBezTo>
                <a:cubicBezTo>
                  <a:pt x="176" y="74"/>
                  <a:pt x="176" y="74"/>
                  <a:pt x="176" y="74"/>
                </a:cubicBezTo>
                <a:cubicBezTo>
                  <a:pt x="176" y="75"/>
                  <a:pt x="176" y="75"/>
                  <a:pt x="176" y="75"/>
                </a:cubicBezTo>
                <a:cubicBezTo>
                  <a:pt x="175" y="75"/>
                  <a:pt x="175" y="75"/>
                  <a:pt x="175" y="75"/>
                </a:cubicBezTo>
                <a:cubicBezTo>
                  <a:pt x="174" y="76"/>
                  <a:pt x="174" y="76"/>
                  <a:pt x="174" y="76"/>
                </a:cubicBezTo>
                <a:cubicBezTo>
                  <a:pt x="175" y="77"/>
                  <a:pt x="175" y="77"/>
                  <a:pt x="175" y="77"/>
                </a:cubicBezTo>
                <a:cubicBezTo>
                  <a:pt x="176" y="77"/>
                  <a:pt x="176" y="77"/>
                  <a:pt x="176" y="77"/>
                </a:cubicBezTo>
                <a:cubicBezTo>
                  <a:pt x="176" y="77"/>
                  <a:pt x="176" y="77"/>
                  <a:pt x="176" y="77"/>
                </a:cubicBezTo>
                <a:cubicBezTo>
                  <a:pt x="176" y="78"/>
                  <a:pt x="176" y="78"/>
                  <a:pt x="176" y="78"/>
                </a:cubicBezTo>
                <a:cubicBezTo>
                  <a:pt x="175" y="78"/>
                  <a:pt x="175" y="78"/>
                  <a:pt x="175" y="78"/>
                </a:cubicBezTo>
                <a:cubicBezTo>
                  <a:pt x="174" y="79"/>
                  <a:pt x="174" y="79"/>
                  <a:pt x="174" y="79"/>
                </a:cubicBezTo>
                <a:cubicBezTo>
                  <a:pt x="173" y="80"/>
                  <a:pt x="173" y="80"/>
                  <a:pt x="173" y="80"/>
                </a:cubicBezTo>
                <a:cubicBezTo>
                  <a:pt x="172" y="79"/>
                  <a:pt x="172" y="79"/>
                  <a:pt x="172" y="79"/>
                </a:cubicBezTo>
                <a:cubicBezTo>
                  <a:pt x="173" y="78"/>
                  <a:pt x="173" y="78"/>
                  <a:pt x="173" y="78"/>
                </a:cubicBezTo>
                <a:close/>
                <a:moveTo>
                  <a:pt x="170" y="77"/>
                </a:moveTo>
                <a:cubicBezTo>
                  <a:pt x="170" y="77"/>
                  <a:pt x="170" y="78"/>
                  <a:pt x="170" y="78"/>
                </a:cubicBezTo>
                <a:cubicBezTo>
                  <a:pt x="170" y="78"/>
                  <a:pt x="170" y="78"/>
                  <a:pt x="170" y="78"/>
                </a:cubicBezTo>
                <a:cubicBezTo>
                  <a:pt x="171" y="78"/>
                  <a:pt x="171" y="78"/>
                  <a:pt x="171" y="78"/>
                </a:cubicBezTo>
                <a:cubicBezTo>
                  <a:pt x="172" y="77"/>
                  <a:pt x="172" y="77"/>
                  <a:pt x="172" y="77"/>
                </a:cubicBezTo>
                <a:cubicBezTo>
                  <a:pt x="172" y="77"/>
                  <a:pt x="172" y="77"/>
                  <a:pt x="172" y="77"/>
                </a:cubicBezTo>
                <a:cubicBezTo>
                  <a:pt x="172" y="76"/>
                  <a:pt x="172" y="76"/>
                  <a:pt x="172" y="76"/>
                </a:cubicBezTo>
                <a:cubicBezTo>
                  <a:pt x="173" y="75"/>
                  <a:pt x="173" y="75"/>
                  <a:pt x="173" y="75"/>
                </a:cubicBezTo>
                <a:cubicBezTo>
                  <a:pt x="173" y="75"/>
                  <a:pt x="173" y="75"/>
                  <a:pt x="173" y="75"/>
                </a:cubicBezTo>
                <a:cubicBezTo>
                  <a:pt x="172" y="74"/>
                  <a:pt x="172" y="74"/>
                  <a:pt x="172" y="74"/>
                </a:cubicBezTo>
                <a:cubicBezTo>
                  <a:pt x="171" y="74"/>
                  <a:pt x="171" y="74"/>
                  <a:pt x="171" y="74"/>
                </a:cubicBezTo>
                <a:cubicBezTo>
                  <a:pt x="170" y="75"/>
                  <a:pt x="170" y="75"/>
                  <a:pt x="170" y="75"/>
                </a:cubicBezTo>
                <a:cubicBezTo>
                  <a:pt x="171" y="76"/>
                  <a:pt x="171" y="76"/>
                  <a:pt x="171" y="76"/>
                </a:cubicBezTo>
                <a:cubicBezTo>
                  <a:pt x="170" y="77"/>
                  <a:pt x="170" y="77"/>
                  <a:pt x="170" y="77"/>
                </a:cubicBezTo>
                <a:close/>
                <a:moveTo>
                  <a:pt x="167" y="76"/>
                </a:moveTo>
                <a:cubicBezTo>
                  <a:pt x="167" y="77"/>
                  <a:pt x="167" y="77"/>
                  <a:pt x="167" y="77"/>
                </a:cubicBezTo>
                <a:cubicBezTo>
                  <a:pt x="167" y="77"/>
                  <a:pt x="167" y="77"/>
                  <a:pt x="167" y="77"/>
                </a:cubicBezTo>
                <a:cubicBezTo>
                  <a:pt x="167" y="79"/>
                  <a:pt x="167" y="79"/>
                  <a:pt x="167" y="79"/>
                </a:cubicBezTo>
                <a:cubicBezTo>
                  <a:pt x="168" y="79"/>
                  <a:pt x="168" y="79"/>
                  <a:pt x="168" y="79"/>
                </a:cubicBezTo>
                <a:cubicBezTo>
                  <a:pt x="168" y="78"/>
                  <a:pt x="168" y="78"/>
                  <a:pt x="168" y="78"/>
                </a:cubicBezTo>
                <a:cubicBezTo>
                  <a:pt x="168" y="77"/>
                  <a:pt x="168" y="77"/>
                  <a:pt x="168" y="77"/>
                </a:cubicBezTo>
                <a:cubicBezTo>
                  <a:pt x="167" y="76"/>
                  <a:pt x="167" y="76"/>
                  <a:pt x="167" y="76"/>
                </a:cubicBezTo>
                <a:cubicBezTo>
                  <a:pt x="167" y="76"/>
                  <a:pt x="167" y="76"/>
                  <a:pt x="167" y="76"/>
                </a:cubicBezTo>
                <a:close/>
                <a:moveTo>
                  <a:pt x="176" y="56"/>
                </a:moveTo>
                <a:cubicBezTo>
                  <a:pt x="175" y="56"/>
                  <a:pt x="175" y="56"/>
                  <a:pt x="175" y="56"/>
                </a:cubicBezTo>
                <a:cubicBezTo>
                  <a:pt x="176" y="56"/>
                  <a:pt x="176" y="56"/>
                  <a:pt x="176" y="56"/>
                </a:cubicBezTo>
                <a:cubicBezTo>
                  <a:pt x="176" y="56"/>
                  <a:pt x="176" y="56"/>
                  <a:pt x="176" y="56"/>
                </a:cubicBezTo>
                <a:close/>
                <a:moveTo>
                  <a:pt x="177" y="55"/>
                </a:moveTo>
                <a:cubicBezTo>
                  <a:pt x="177" y="55"/>
                  <a:pt x="177" y="55"/>
                  <a:pt x="177" y="55"/>
                </a:cubicBezTo>
                <a:cubicBezTo>
                  <a:pt x="178" y="55"/>
                  <a:pt x="178" y="55"/>
                  <a:pt x="178" y="55"/>
                </a:cubicBezTo>
                <a:cubicBezTo>
                  <a:pt x="177" y="55"/>
                  <a:pt x="177" y="55"/>
                  <a:pt x="177" y="55"/>
                </a:cubicBezTo>
                <a:close/>
                <a:moveTo>
                  <a:pt x="179" y="54"/>
                </a:moveTo>
                <a:cubicBezTo>
                  <a:pt x="178" y="54"/>
                  <a:pt x="178" y="54"/>
                  <a:pt x="178" y="54"/>
                </a:cubicBezTo>
                <a:cubicBezTo>
                  <a:pt x="179" y="54"/>
                  <a:pt x="179" y="54"/>
                  <a:pt x="179" y="54"/>
                </a:cubicBezTo>
                <a:cubicBezTo>
                  <a:pt x="179" y="54"/>
                  <a:pt x="179" y="54"/>
                  <a:pt x="179" y="54"/>
                </a:cubicBezTo>
                <a:close/>
                <a:moveTo>
                  <a:pt x="174" y="52"/>
                </a:moveTo>
                <a:cubicBezTo>
                  <a:pt x="175" y="51"/>
                  <a:pt x="175" y="51"/>
                  <a:pt x="175" y="51"/>
                </a:cubicBezTo>
                <a:cubicBezTo>
                  <a:pt x="177" y="51"/>
                  <a:pt x="177" y="51"/>
                  <a:pt x="177" y="51"/>
                </a:cubicBezTo>
                <a:cubicBezTo>
                  <a:pt x="177" y="52"/>
                  <a:pt x="177" y="52"/>
                  <a:pt x="177" y="52"/>
                </a:cubicBezTo>
                <a:cubicBezTo>
                  <a:pt x="177" y="53"/>
                  <a:pt x="177" y="53"/>
                  <a:pt x="177" y="53"/>
                </a:cubicBezTo>
                <a:cubicBezTo>
                  <a:pt x="178" y="52"/>
                  <a:pt x="178" y="52"/>
                  <a:pt x="178" y="52"/>
                </a:cubicBezTo>
                <a:cubicBezTo>
                  <a:pt x="178" y="52"/>
                  <a:pt x="178" y="52"/>
                  <a:pt x="178" y="52"/>
                </a:cubicBezTo>
                <a:cubicBezTo>
                  <a:pt x="179" y="52"/>
                  <a:pt x="179" y="52"/>
                  <a:pt x="179" y="52"/>
                </a:cubicBezTo>
                <a:cubicBezTo>
                  <a:pt x="179" y="53"/>
                  <a:pt x="179" y="53"/>
                  <a:pt x="179" y="53"/>
                </a:cubicBezTo>
                <a:cubicBezTo>
                  <a:pt x="178" y="54"/>
                  <a:pt x="178" y="54"/>
                  <a:pt x="178" y="54"/>
                </a:cubicBezTo>
                <a:cubicBezTo>
                  <a:pt x="177" y="53"/>
                  <a:pt x="177" y="53"/>
                  <a:pt x="177" y="53"/>
                </a:cubicBezTo>
                <a:cubicBezTo>
                  <a:pt x="177" y="54"/>
                  <a:pt x="177" y="54"/>
                  <a:pt x="177" y="54"/>
                </a:cubicBezTo>
                <a:cubicBezTo>
                  <a:pt x="176" y="53"/>
                  <a:pt x="176" y="53"/>
                  <a:pt x="176" y="53"/>
                </a:cubicBezTo>
                <a:cubicBezTo>
                  <a:pt x="175" y="54"/>
                  <a:pt x="175" y="54"/>
                  <a:pt x="175" y="54"/>
                </a:cubicBezTo>
                <a:cubicBezTo>
                  <a:pt x="174" y="53"/>
                  <a:pt x="174" y="53"/>
                  <a:pt x="174" y="53"/>
                </a:cubicBezTo>
                <a:cubicBezTo>
                  <a:pt x="174" y="52"/>
                  <a:pt x="174" y="52"/>
                  <a:pt x="174" y="52"/>
                </a:cubicBezTo>
                <a:close/>
                <a:moveTo>
                  <a:pt x="167" y="46"/>
                </a:moveTo>
                <a:cubicBezTo>
                  <a:pt x="168" y="46"/>
                  <a:pt x="168" y="46"/>
                  <a:pt x="168" y="46"/>
                </a:cubicBezTo>
                <a:cubicBezTo>
                  <a:pt x="168" y="46"/>
                  <a:pt x="168" y="46"/>
                  <a:pt x="168" y="46"/>
                </a:cubicBezTo>
                <a:cubicBezTo>
                  <a:pt x="168" y="46"/>
                  <a:pt x="167" y="46"/>
                  <a:pt x="167" y="46"/>
                </a:cubicBezTo>
                <a:close/>
                <a:moveTo>
                  <a:pt x="166" y="46"/>
                </a:moveTo>
                <a:cubicBezTo>
                  <a:pt x="167" y="46"/>
                  <a:pt x="167" y="46"/>
                  <a:pt x="167" y="46"/>
                </a:cubicBezTo>
                <a:cubicBezTo>
                  <a:pt x="168" y="47"/>
                  <a:pt x="168" y="47"/>
                  <a:pt x="168" y="47"/>
                </a:cubicBezTo>
                <a:cubicBezTo>
                  <a:pt x="167" y="47"/>
                  <a:pt x="167" y="47"/>
                  <a:pt x="167" y="47"/>
                </a:cubicBezTo>
                <a:cubicBezTo>
                  <a:pt x="166" y="46"/>
                  <a:pt x="166" y="46"/>
                  <a:pt x="166" y="46"/>
                </a:cubicBezTo>
                <a:close/>
                <a:moveTo>
                  <a:pt x="158" y="41"/>
                </a:moveTo>
                <a:cubicBezTo>
                  <a:pt x="160" y="40"/>
                  <a:pt x="160" y="40"/>
                  <a:pt x="160" y="40"/>
                </a:cubicBezTo>
                <a:cubicBezTo>
                  <a:pt x="162" y="41"/>
                  <a:pt x="162" y="41"/>
                  <a:pt x="162" y="41"/>
                </a:cubicBezTo>
                <a:cubicBezTo>
                  <a:pt x="164" y="41"/>
                  <a:pt x="164" y="41"/>
                  <a:pt x="164" y="41"/>
                </a:cubicBezTo>
                <a:cubicBezTo>
                  <a:pt x="166" y="40"/>
                  <a:pt x="166" y="40"/>
                  <a:pt x="166" y="40"/>
                </a:cubicBezTo>
                <a:cubicBezTo>
                  <a:pt x="167" y="40"/>
                  <a:pt x="167" y="40"/>
                  <a:pt x="167" y="40"/>
                </a:cubicBezTo>
                <a:cubicBezTo>
                  <a:pt x="168" y="41"/>
                  <a:pt x="168" y="41"/>
                  <a:pt x="168" y="41"/>
                </a:cubicBezTo>
                <a:cubicBezTo>
                  <a:pt x="169" y="41"/>
                  <a:pt x="169" y="41"/>
                  <a:pt x="169" y="41"/>
                </a:cubicBezTo>
                <a:cubicBezTo>
                  <a:pt x="170" y="41"/>
                  <a:pt x="170" y="41"/>
                  <a:pt x="170" y="41"/>
                </a:cubicBezTo>
                <a:cubicBezTo>
                  <a:pt x="173" y="41"/>
                  <a:pt x="173" y="41"/>
                  <a:pt x="173" y="41"/>
                </a:cubicBezTo>
                <a:cubicBezTo>
                  <a:pt x="174" y="41"/>
                  <a:pt x="174" y="41"/>
                  <a:pt x="174" y="41"/>
                </a:cubicBezTo>
                <a:cubicBezTo>
                  <a:pt x="174" y="40"/>
                  <a:pt x="174" y="40"/>
                  <a:pt x="174" y="40"/>
                </a:cubicBezTo>
                <a:cubicBezTo>
                  <a:pt x="176" y="40"/>
                  <a:pt x="176" y="40"/>
                  <a:pt x="176" y="40"/>
                </a:cubicBezTo>
                <a:cubicBezTo>
                  <a:pt x="177" y="41"/>
                  <a:pt x="177" y="41"/>
                  <a:pt x="177" y="41"/>
                </a:cubicBezTo>
                <a:cubicBezTo>
                  <a:pt x="177" y="42"/>
                  <a:pt x="177" y="42"/>
                  <a:pt x="177" y="42"/>
                </a:cubicBezTo>
                <a:cubicBezTo>
                  <a:pt x="178" y="42"/>
                  <a:pt x="178" y="42"/>
                  <a:pt x="178" y="42"/>
                </a:cubicBezTo>
                <a:cubicBezTo>
                  <a:pt x="183" y="41"/>
                  <a:pt x="183" y="41"/>
                  <a:pt x="183" y="41"/>
                </a:cubicBezTo>
                <a:cubicBezTo>
                  <a:pt x="185" y="40"/>
                  <a:pt x="185" y="40"/>
                  <a:pt x="185" y="40"/>
                </a:cubicBezTo>
                <a:cubicBezTo>
                  <a:pt x="186" y="38"/>
                  <a:pt x="186" y="38"/>
                  <a:pt x="186" y="38"/>
                </a:cubicBezTo>
                <a:cubicBezTo>
                  <a:pt x="187" y="38"/>
                  <a:pt x="187" y="38"/>
                  <a:pt x="187" y="38"/>
                </a:cubicBezTo>
                <a:cubicBezTo>
                  <a:pt x="187" y="38"/>
                  <a:pt x="187" y="38"/>
                  <a:pt x="187" y="38"/>
                </a:cubicBezTo>
                <a:cubicBezTo>
                  <a:pt x="188" y="37"/>
                  <a:pt x="188" y="37"/>
                  <a:pt x="188" y="37"/>
                </a:cubicBezTo>
                <a:cubicBezTo>
                  <a:pt x="188" y="36"/>
                  <a:pt x="188" y="36"/>
                  <a:pt x="188" y="36"/>
                </a:cubicBezTo>
                <a:cubicBezTo>
                  <a:pt x="189" y="35"/>
                  <a:pt x="189" y="35"/>
                  <a:pt x="189" y="35"/>
                </a:cubicBezTo>
                <a:cubicBezTo>
                  <a:pt x="190" y="35"/>
                  <a:pt x="190" y="35"/>
                  <a:pt x="190" y="35"/>
                </a:cubicBezTo>
                <a:cubicBezTo>
                  <a:pt x="189" y="34"/>
                  <a:pt x="189" y="34"/>
                  <a:pt x="189" y="34"/>
                </a:cubicBezTo>
                <a:cubicBezTo>
                  <a:pt x="189" y="33"/>
                  <a:pt x="189" y="33"/>
                  <a:pt x="189" y="33"/>
                </a:cubicBezTo>
                <a:cubicBezTo>
                  <a:pt x="187" y="33"/>
                  <a:pt x="187" y="33"/>
                  <a:pt x="187" y="33"/>
                </a:cubicBezTo>
                <a:cubicBezTo>
                  <a:pt x="186" y="33"/>
                  <a:pt x="186" y="33"/>
                  <a:pt x="186" y="33"/>
                </a:cubicBezTo>
                <a:cubicBezTo>
                  <a:pt x="186" y="34"/>
                  <a:pt x="186" y="34"/>
                  <a:pt x="186" y="34"/>
                </a:cubicBezTo>
                <a:cubicBezTo>
                  <a:pt x="185" y="35"/>
                  <a:pt x="185" y="35"/>
                  <a:pt x="185" y="35"/>
                </a:cubicBezTo>
                <a:cubicBezTo>
                  <a:pt x="185" y="36"/>
                  <a:pt x="185" y="36"/>
                  <a:pt x="185" y="36"/>
                </a:cubicBezTo>
                <a:cubicBezTo>
                  <a:pt x="183" y="37"/>
                  <a:pt x="183" y="37"/>
                  <a:pt x="183" y="37"/>
                </a:cubicBezTo>
                <a:cubicBezTo>
                  <a:pt x="182" y="37"/>
                  <a:pt x="182" y="37"/>
                  <a:pt x="182" y="37"/>
                </a:cubicBezTo>
                <a:cubicBezTo>
                  <a:pt x="182" y="38"/>
                  <a:pt x="182" y="38"/>
                  <a:pt x="182" y="38"/>
                </a:cubicBezTo>
                <a:cubicBezTo>
                  <a:pt x="180" y="38"/>
                  <a:pt x="180" y="38"/>
                  <a:pt x="180" y="38"/>
                </a:cubicBezTo>
                <a:cubicBezTo>
                  <a:pt x="177" y="38"/>
                  <a:pt x="177" y="38"/>
                  <a:pt x="177" y="38"/>
                </a:cubicBezTo>
                <a:cubicBezTo>
                  <a:pt x="175" y="37"/>
                  <a:pt x="175" y="37"/>
                  <a:pt x="175" y="37"/>
                </a:cubicBezTo>
                <a:cubicBezTo>
                  <a:pt x="174" y="38"/>
                  <a:pt x="174" y="38"/>
                  <a:pt x="174" y="38"/>
                </a:cubicBezTo>
                <a:cubicBezTo>
                  <a:pt x="174" y="38"/>
                  <a:pt x="174" y="38"/>
                  <a:pt x="174" y="38"/>
                </a:cubicBezTo>
                <a:cubicBezTo>
                  <a:pt x="172" y="37"/>
                  <a:pt x="172" y="37"/>
                  <a:pt x="172" y="37"/>
                </a:cubicBezTo>
                <a:cubicBezTo>
                  <a:pt x="171" y="37"/>
                  <a:pt x="171" y="37"/>
                  <a:pt x="171" y="37"/>
                </a:cubicBezTo>
                <a:cubicBezTo>
                  <a:pt x="170" y="37"/>
                  <a:pt x="170" y="37"/>
                  <a:pt x="170" y="37"/>
                </a:cubicBezTo>
                <a:cubicBezTo>
                  <a:pt x="169" y="37"/>
                  <a:pt x="169" y="37"/>
                  <a:pt x="169" y="37"/>
                </a:cubicBezTo>
                <a:cubicBezTo>
                  <a:pt x="168" y="36"/>
                  <a:pt x="168" y="36"/>
                  <a:pt x="168" y="36"/>
                </a:cubicBezTo>
                <a:cubicBezTo>
                  <a:pt x="167" y="37"/>
                  <a:pt x="167" y="37"/>
                  <a:pt x="167" y="37"/>
                </a:cubicBezTo>
                <a:cubicBezTo>
                  <a:pt x="166" y="36"/>
                  <a:pt x="166" y="36"/>
                  <a:pt x="166" y="36"/>
                </a:cubicBezTo>
                <a:cubicBezTo>
                  <a:pt x="165" y="35"/>
                  <a:pt x="165" y="35"/>
                  <a:pt x="165" y="35"/>
                </a:cubicBezTo>
                <a:cubicBezTo>
                  <a:pt x="163" y="35"/>
                  <a:pt x="163" y="35"/>
                  <a:pt x="163" y="35"/>
                </a:cubicBezTo>
                <a:cubicBezTo>
                  <a:pt x="162" y="35"/>
                  <a:pt x="162" y="35"/>
                  <a:pt x="162" y="35"/>
                </a:cubicBezTo>
                <a:cubicBezTo>
                  <a:pt x="162" y="36"/>
                  <a:pt x="162" y="36"/>
                  <a:pt x="162" y="36"/>
                </a:cubicBezTo>
                <a:cubicBezTo>
                  <a:pt x="161" y="37"/>
                  <a:pt x="161" y="37"/>
                  <a:pt x="161" y="37"/>
                </a:cubicBezTo>
                <a:cubicBezTo>
                  <a:pt x="160" y="38"/>
                  <a:pt x="160" y="38"/>
                  <a:pt x="160" y="38"/>
                </a:cubicBezTo>
                <a:cubicBezTo>
                  <a:pt x="159" y="39"/>
                  <a:pt x="159" y="39"/>
                  <a:pt x="159" y="39"/>
                </a:cubicBezTo>
                <a:cubicBezTo>
                  <a:pt x="158" y="38"/>
                  <a:pt x="158" y="38"/>
                  <a:pt x="158" y="38"/>
                </a:cubicBezTo>
                <a:cubicBezTo>
                  <a:pt x="156" y="39"/>
                  <a:pt x="156" y="39"/>
                  <a:pt x="156" y="39"/>
                </a:cubicBezTo>
                <a:cubicBezTo>
                  <a:pt x="156" y="39"/>
                  <a:pt x="156" y="39"/>
                  <a:pt x="156" y="39"/>
                </a:cubicBezTo>
                <a:cubicBezTo>
                  <a:pt x="156" y="40"/>
                  <a:pt x="156" y="40"/>
                  <a:pt x="156" y="40"/>
                </a:cubicBezTo>
                <a:cubicBezTo>
                  <a:pt x="154" y="41"/>
                  <a:pt x="154" y="41"/>
                  <a:pt x="154" y="41"/>
                </a:cubicBezTo>
                <a:cubicBezTo>
                  <a:pt x="154" y="43"/>
                  <a:pt x="154" y="43"/>
                  <a:pt x="154" y="43"/>
                </a:cubicBezTo>
                <a:cubicBezTo>
                  <a:pt x="154" y="44"/>
                  <a:pt x="154" y="44"/>
                  <a:pt x="154" y="44"/>
                </a:cubicBezTo>
                <a:cubicBezTo>
                  <a:pt x="154" y="46"/>
                  <a:pt x="154" y="46"/>
                  <a:pt x="154" y="46"/>
                </a:cubicBezTo>
                <a:cubicBezTo>
                  <a:pt x="154" y="47"/>
                  <a:pt x="154" y="47"/>
                  <a:pt x="154" y="47"/>
                </a:cubicBezTo>
                <a:cubicBezTo>
                  <a:pt x="155" y="48"/>
                  <a:pt x="155" y="48"/>
                  <a:pt x="155" y="48"/>
                </a:cubicBezTo>
                <a:cubicBezTo>
                  <a:pt x="155" y="50"/>
                  <a:pt x="155" y="50"/>
                  <a:pt x="155" y="50"/>
                </a:cubicBezTo>
                <a:cubicBezTo>
                  <a:pt x="154" y="49"/>
                  <a:pt x="154" y="49"/>
                  <a:pt x="154" y="49"/>
                </a:cubicBezTo>
                <a:cubicBezTo>
                  <a:pt x="154" y="48"/>
                  <a:pt x="154" y="48"/>
                  <a:pt x="154" y="48"/>
                </a:cubicBezTo>
                <a:cubicBezTo>
                  <a:pt x="153" y="48"/>
                  <a:pt x="153" y="48"/>
                  <a:pt x="153" y="48"/>
                </a:cubicBezTo>
                <a:cubicBezTo>
                  <a:pt x="152" y="49"/>
                  <a:pt x="152" y="49"/>
                  <a:pt x="152" y="49"/>
                </a:cubicBezTo>
                <a:cubicBezTo>
                  <a:pt x="151" y="50"/>
                  <a:pt x="151" y="50"/>
                  <a:pt x="151" y="50"/>
                </a:cubicBezTo>
                <a:cubicBezTo>
                  <a:pt x="151" y="51"/>
                  <a:pt x="151" y="51"/>
                  <a:pt x="151" y="51"/>
                </a:cubicBezTo>
                <a:cubicBezTo>
                  <a:pt x="151" y="52"/>
                  <a:pt x="151" y="52"/>
                  <a:pt x="151" y="52"/>
                </a:cubicBezTo>
                <a:cubicBezTo>
                  <a:pt x="151" y="53"/>
                  <a:pt x="151" y="53"/>
                  <a:pt x="151" y="53"/>
                </a:cubicBezTo>
                <a:cubicBezTo>
                  <a:pt x="151" y="56"/>
                  <a:pt x="151" y="56"/>
                  <a:pt x="151" y="56"/>
                </a:cubicBezTo>
                <a:cubicBezTo>
                  <a:pt x="151" y="57"/>
                  <a:pt x="151" y="57"/>
                  <a:pt x="151" y="57"/>
                </a:cubicBezTo>
                <a:cubicBezTo>
                  <a:pt x="151" y="58"/>
                  <a:pt x="151" y="58"/>
                  <a:pt x="151" y="58"/>
                </a:cubicBezTo>
                <a:cubicBezTo>
                  <a:pt x="150" y="58"/>
                  <a:pt x="150" y="58"/>
                  <a:pt x="150" y="58"/>
                </a:cubicBezTo>
                <a:cubicBezTo>
                  <a:pt x="150" y="60"/>
                  <a:pt x="150" y="60"/>
                  <a:pt x="150" y="60"/>
                </a:cubicBezTo>
                <a:cubicBezTo>
                  <a:pt x="148" y="61"/>
                  <a:pt x="148" y="61"/>
                  <a:pt x="148" y="61"/>
                </a:cubicBezTo>
                <a:cubicBezTo>
                  <a:pt x="148" y="62"/>
                  <a:pt x="148" y="62"/>
                  <a:pt x="148" y="62"/>
                </a:cubicBezTo>
                <a:cubicBezTo>
                  <a:pt x="148" y="63"/>
                  <a:pt x="148" y="63"/>
                  <a:pt x="148" y="63"/>
                </a:cubicBezTo>
                <a:cubicBezTo>
                  <a:pt x="148" y="64"/>
                  <a:pt x="148" y="64"/>
                  <a:pt x="148" y="64"/>
                </a:cubicBezTo>
                <a:cubicBezTo>
                  <a:pt x="148" y="66"/>
                  <a:pt x="148" y="66"/>
                  <a:pt x="148" y="66"/>
                </a:cubicBezTo>
                <a:cubicBezTo>
                  <a:pt x="149" y="67"/>
                  <a:pt x="149" y="67"/>
                  <a:pt x="149" y="67"/>
                </a:cubicBezTo>
                <a:cubicBezTo>
                  <a:pt x="150" y="66"/>
                  <a:pt x="150" y="66"/>
                  <a:pt x="150" y="66"/>
                </a:cubicBezTo>
                <a:cubicBezTo>
                  <a:pt x="150" y="66"/>
                  <a:pt x="150" y="66"/>
                  <a:pt x="150" y="66"/>
                </a:cubicBezTo>
                <a:cubicBezTo>
                  <a:pt x="151" y="66"/>
                  <a:pt x="151" y="66"/>
                  <a:pt x="151" y="66"/>
                </a:cubicBezTo>
                <a:cubicBezTo>
                  <a:pt x="152" y="66"/>
                  <a:pt x="152" y="66"/>
                  <a:pt x="152" y="66"/>
                </a:cubicBezTo>
                <a:cubicBezTo>
                  <a:pt x="152" y="68"/>
                  <a:pt x="152" y="68"/>
                  <a:pt x="152" y="68"/>
                </a:cubicBezTo>
                <a:cubicBezTo>
                  <a:pt x="153" y="71"/>
                  <a:pt x="153" y="71"/>
                  <a:pt x="153" y="71"/>
                </a:cubicBezTo>
                <a:cubicBezTo>
                  <a:pt x="153" y="71"/>
                  <a:pt x="153" y="71"/>
                  <a:pt x="153" y="71"/>
                </a:cubicBezTo>
                <a:cubicBezTo>
                  <a:pt x="152" y="73"/>
                  <a:pt x="152" y="73"/>
                  <a:pt x="152" y="73"/>
                </a:cubicBezTo>
                <a:cubicBezTo>
                  <a:pt x="152" y="74"/>
                  <a:pt x="152" y="74"/>
                  <a:pt x="152" y="74"/>
                </a:cubicBezTo>
                <a:cubicBezTo>
                  <a:pt x="151" y="77"/>
                  <a:pt x="151" y="77"/>
                  <a:pt x="151" y="77"/>
                </a:cubicBezTo>
                <a:cubicBezTo>
                  <a:pt x="152" y="79"/>
                  <a:pt x="152" y="79"/>
                  <a:pt x="152" y="79"/>
                </a:cubicBezTo>
                <a:cubicBezTo>
                  <a:pt x="152" y="79"/>
                  <a:pt x="152" y="79"/>
                  <a:pt x="152" y="79"/>
                </a:cubicBezTo>
                <a:cubicBezTo>
                  <a:pt x="153" y="80"/>
                  <a:pt x="153" y="80"/>
                  <a:pt x="153" y="80"/>
                </a:cubicBezTo>
                <a:cubicBezTo>
                  <a:pt x="154" y="80"/>
                  <a:pt x="154" y="80"/>
                  <a:pt x="154" y="80"/>
                </a:cubicBezTo>
                <a:cubicBezTo>
                  <a:pt x="155" y="79"/>
                  <a:pt x="155" y="79"/>
                  <a:pt x="155" y="79"/>
                </a:cubicBezTo>
                <a:cubicBezTo>
                  <a:pt x="156" y="79"/>
                  <a:pt x="156" y="79"/>
                  <a:pt x="156" y="79"/>
                </a:cubicBezTo>
                <a:cubicBezTo>
                  <a:pt x="157" y="79"/>
                  <a:pt x="157" y="79"/>
                  <a:pt x="157" y="79"/>
                </a:cubicBezTo>
                <a:cubicBezTo>
                  <a:pt x="158" y="80"/>
                  <a:pt x="158" y="80"/>
                  <a:pt x="158" y="80"/>
                </a:cubicBezTo>
                <a:cubicBezTo>
                  <a:pt x="158" y="79"/>
                  <a:pt x="158" y="79"/>
                  <a:pt x="158" y="79"/>
                </a:cubicBezTo>
                <a:cubicBezTo>
                  <a:pt x="158" y="78"/>
                  <a:pt x="158" y="78"/>
                  <a:pt x="158" y="78"/>
                </a:cubicBezTo>
                <a:cubicBezTo>
                  <a:pt x="157" y="77"/>
                  <a:pt x="157" y="77"/>
                  <a:pt x="157" y="77"/>
                </a:cubicBezTo>
                <a:cubicBezTo>
                  <a:pt x="157" y="75"/>
                  <a:pt x="157" y="75"/>
                  <a:pt x="157" y="75"/>
                </a:cubicBezTo>
                <a:cubicBezTo>
                  <a:pt x="158" y="74"/>
                  <a:pt x="158" y="74"/>
                  <a:pt x="158" y="74"/>
                </a:cubicBezTo>
                <a:cubicBezTo>
                  <a:pt x="158" y="72"/>
                  <a:pt x="158" y="72"/>
                  <a:pt x="158" y="72"/>
                </a:cubicBezTo>
                <a:cubicBezTo>
                  <a:pt x="158" y="70"/>
                  <a:pt x="158" y="70"/>
                  <a:pt x="158" y="70"/>
                </a:cubicBezTo>
                <a:cubicBezTo>
                  <a:pt x="157" y="70"/>
                  <a:pt x="157" y="70"/>
                  <a:pt x="157" y="70"/>
                </a:cubicBezTo>
                <a:cubicBezTo>
                  <a:pt x="159" y="68"/>
                  <a:pt x="159" y="68"/>
                  <a:pt x="159" y="68"/>
                </a:cubicBezTo>
                <a:cubicBezTo>
                  <a:pt x="159" y="66"/>
                  <a:pt x="159" y="66"/>
                  <a:pt x="159" y="66"/>
                </a:cubicBezTo>
                <a:cubicBezTo>
                  <a:pt x="159" y="64"/>
                  <a:pt x="159" y="64"/>
                  <a:pt x="159" y="64"/>
                </a:cubicBezTo>
                <a:cubicBezTo>
                  <a:pt x="158" y="63"/>
                  <a:pt x="158" y="63"/>
                  <a:pt x="158" y="63"/>
                </a:cubicBezTo>
                <a:cubicBezTo>
                  <a:pt x="158" y="63"/>
                  <a:pt x="158" y="63"/>
                  <a:pt x="158" y="63"/>
                </a:cubicBezTo>
                <a:cubicBezTo>
                  <a:pt x="159" y="62"/>
                  <a:pt x="159" y="62"/>
                  <a:pt x="159" y="62"/>
                </a:cubicBezTo>
                <a:cubicBezTo>
                  <a:pt x="160" y="61"/>
                  <a:pt x="160" y="61"/>
                  <a:pt x="160" y="61"/>
                </a:cubicBezTo>
                <a:cubicBezTo>
                  <a:pt x="161" y="61"/>
                  <a:pt x="161" y="61"/>
                  <a:pt x="161" y="61"/>
                </a:cubicBezTo>
                <a:cubicBezTo>
                  <a:pt x="162" y="61"/>
                  <a:pt x="162" y="61"/>
                  <a:pt x="162" y="61"/>
                </a:cubicBezTo>
                <a:cubicBezTo>
                  <a:pt x="162" y="62"/>
                  <a:pt x="162" y="62"/>
                  <a:pt x="162" y="62"/>
                </a:cubicBezTo>
                <a:cubicBezTo>
                  <a:pt x="163" y="63"/>
                  <a:pt x="163" y="63"/>
                  <a:pt x="163" y="63"/>
                </a:cubicBezTo>
                <a:cubicBezTo>
                  <a:pt x="163" y="64"/>
                  <a:pt x="163" y="64"/>
                  <a:pt x="163" y="64"/>
                </a:cubicBezTo>
                <a:cubicBezTo>
                  <a:pt x="162" y="65"/>
                  <a:pt x="162" y="65"/>
                  <a:pt x="162" y="65"/>
                </a:cubicBezTo>
                <a:cubicBezTo>
                  <a:pt x="161" y="67"/>
                  <a:pt x="161" y="67"/>
                  <a:pt x="161" y="67"/>
                </a:cubicBezTo>
                <a:cubicBezTo>
                  <a:pt x="162" y="68"/>
                  <a:pt x="162" y="68"/>
                  <a:pt x="162" y="68"/>
                </a:cubicBezTo>
                <a:cubicBezTo>
                  <a:pt x="163" y="68"/>
                  <a:pt x="163" y="68"/>
                  <a:pt x="163" y="68"/>
                </a:cubicBezTo>
                <a:cubicBezTo>
                  <a:pt x="164" y="69"/>
                  <a:pt x="164" y="69"/>
                  <a:pt x="164" y="69"/>
                </a:cubicBezTo>
                <a:cubicBezTo>
                  <a:pt x="165" y="70"/>
                  <a:pt x="165" y="70"/>
                  <a:pt x="165" y="70"/>
                </a:cubicBezTo>
                <a:cubicBezTo>
                  <a:pt x="165" y="71"/>
                  <a:pt x="165" y="71"/>
                  <a:pt x="165" y="71"/>
                </a:cubicBezTo>
                <a:cubicBezTo>
                  <a:pt x="165" y="71"/>
                  <a:pt x="165" y="71"/>
                  <a:pt x="165" y="71"/>
                </a:cubicBezTo>
                <a:cubicBezTo>
                  <a:pt x="165" y="73"/>
                  <a:pt x="165" y="73"/>
                  <a:pt x="165" y="73"/>
                </a:cubicBezTo>
                <a:cubicBezTo>
                  <a:pt x="165" y="74"/>
                  <a:pt x="165" y="74"/>
                  <a:pt x="165" y="74"/>
                </a:cubicBezTo>
                <a:cubicBezTo>
                  <a:pt x="166" y="75"/>
                  <a:pt x="166" y="75"/>
                  <a:pt x="166" y="75"/>
                </a:cubicBezTo>
                <a:cubicBezTo>
                  <a:pt x="167" y="75"/>
                  <a:pt x="167" y="75"/>
                  <a:pt x="167" y="75"/>
                </a:cubicBezTo>
                <a:cubicBezTo>
                  <a:pt x="168" y="75"/>
                  <a:pt x="168" y="75"/>
                  <a:pt x="168" y="75"/>
                </a:cubicBezTo>
                <a:cubicBezTo>
                  <a:pt x="169" y="75"/>
                  <a:pt x="169" y="75"/>
                  <a:pt x="169" y="75"/>
                </a:cubicBezTo>
                <a:cubicBezTo>
                  <a:pt x="169" y="74"/>
                  <a:pt x="169" y="74"/>
                  <a:pt x="169" y="74"/>
                </a:cubicBezTo>
                <a:cubicBezTo>
                  <a:pt x="169" y="74"/>
                  <a:pt x="169" y="74"/>
                  <a:pt x="169" y="74"/>
                </a:cubicBezTo>
                <a:cubicBezTo>
                  <a:pt x="170" y="73"/>
                  <a:pt x="170" y="73"/>
                  <a:pt x="170" y="73"/>
                </a:cubicBezTo>
                <a:cubicBezTo>
                  <a:pt x="171" y="72"/>
                  <a:pt x="171" y="72"/>
                  <a:pt x="171" y="72"/>
                </a:cubicBezTo>
                <a:cubicBezTo>
                  <a:pt x="172" y="71"/>
                  <a:pt x="172" y="71"/>
                  <a:pt x="172" y="71"/>
                </a:cubicBezTo>
                <a:cubicBezTo>
                  <a:pt x="174" y="72"/>
                  <a:pt x="174" y="72"/>
                  <a:pt x="174" y="72"/>
                </a:cubicBezTo>
                <a:cubicBezTo>
                  <a:pt x="175" y="71"/>
                  <a:pt x="175" y="71"/>
                  <a:pt x="175" y="71"/>
                </a:cubicBezTo>
                <a:cubicBezTo>
                  <a:pt x="175" y="71"/>
                  <a:pt x="175" y="71"/>
                  <a:pt x="175" y="71"/>
                </a:cubicBezTo>
                <a:cubicBezTo>
                  <a:pt x="176" y="71"/>
                  <a:pt x="176" y="71"/>
                  <a:pt x="176" y="71"/>
                </a:cubicBezTo>
                <a:cubicBezTo>
                  <a:pt x="177" y="70"/>
                  <a:pt x="177" y="70"/>
                  <a:pt x="177" y="70"/>
                </a:cubicBezTo>
                <a:cubicBezTo>
                  <a:pt x="177" y="70"/>
                  <a:pt x="177" y="70"/>
                  <a:pt x="177" y="70"/>
                </a:cubicBezTo>
                <a:cubicBezTo>
                  <a:pt x="175" y="70"/>
                  <a:pt x="175" y="70"/>
                  <a:pt x="175" y="70"/>
                </a:cubicBezTo>
                <a:cubicBezTo>
                  <a:pt x="174" y="70"/>
                  <a:pt x="174" y="70"/>
                  <a:pt x="174" y="70"/>
                </a:cubicBezTo>
                <a:cubicBezTo>
                  <a:pt x="174" y="70"/>
                  <a:pt x="174" y="70"/>
                  <a:pt x="174" y="70"/>
                </a:cubicBezTo>
                <a:cubicBezTo>
                  <a:pt x="173" y="70"/>
                  <a:pt x="173" y="70"/>
                  <a:pt x="173" y="70"/>
                </a:cubicBezTo>
                <a:cubicBezTo>
                  <a:pt x="173" y="69"/>
                  <a:pt x="173" y="69"/>
                  <a:pt x="173" y="69"/>
                </a:cubicBezTo>
                <a:cubicBezTo>
                  <a:pt x="172" y="69"/>
                  <a:pt x="172" y="69"/>
                  <a:pt x="172" y="69"/>
                </a:cubicBezTo>
                <a:cubicBezTo>
                  <a:pt x="172" y="68"/>
                  <a:pt x="172" y="68"/>
                  <a:pt x="172" y="68"/>
                </a:cubicBezTo>
                <a:cubicBezTo>
                  <a:pt x="172" y="68"/>
                  <a:pt x="172" y="68"/>
                  <a:pt x="172" y="68"/>
                </a:cubicBezTo>
                <a:cubicBezTo>
                  <a:pt x="171" y="68"/>
                  <a:pt x="171" y="68"/>
                  <a:pt x="171" y="68"/>
                </a:cubicBezTo>
                <a:cubicBezTo>
                  <a:pt x="171" y="68"/>
                  <a:pt x="171" y="68"/>
                  <a:pt x="171" y="68"/>
                </a:cubicBezTo>
                <a:cubicBezTo>
                  <a:pt x="170" y="67"/>
                  <a:pt x="170" y="67"/>
                  <a:pt x="170" y="67"/>
                </a:cubicBezTo>
                <a:cubicBezTo>
                  <a:pt x="169" y="67"/>
                  <a:pt x="169" y="67"/>
                  <a:pt x="169" y="67"/>
                </a:cubicBezTo>
                <a:cubicBezTo>
                  <a:pt x="170" y="66"/>
                  <a:pt x="170" y="66"/>
                  <a:pt x="170" y="66"/>
                </a:cubicBezTo>
                <a:cubicBezTo>
                  <a:pt x="170" y="65"/>
                  <a:pt x="170" y="65"/>
                  <a:pt x="170" y="65"/>
                </a:cubicBezTo>
                <a:cubicBezTo>
                  <a:pt x="171" y="65"/>
                  <a:pt x="171" y="65"/>
                  <a:pt x="171" y="65"/>
                </a:cubicBezTo>
                <a:cubicBezTo>
                  <a:pt x="171" y="65"/>
                  <a:pt x="171" y="65"/>
                  <a:pt x="171" y="65"/>
                </a:cubicBezTo>
                <a:cubicBezTo>
                  <a:pt x="171" y="65"/>
                  <a:pt x="171" y="65"/>
                  <a:pt x="171" y="65"/>
                </a:cubicBezTo>
                <a:cubicBezTo>
                  <a:pt x="171" y="64"/>
                  <a:pt x="171" y="64"/>
                  <a:pt x="171" y="64"/>
                </a:cubicBezTo>
                <a:cubicBezTo>
                  <a:pt x="171" y="63"/>
                  <a:pt x="171" y="63"/>
                  <a:pt x="171" y="63"/>
                </a:cubicBezTo>
                <a:cubicBezTo>
                  <a:pt x="170" y="63"/>
                  <a:pt x="170" y="63"/>
                  <a:pt x="170" y="63"/>
                </a:cubicBezTo>
                <a:cubicBezTo>
                  <a:pt x="170" y="62"/>
                  <a:pt x="170" y="62"/>
                  <a:pt x="170" y="62"/>
                </a:cubicBezTo>
                <a:cubicBezTo>
                  <a:pt x="170" y="62"/>
                  <a:pt x="170" y="62"/>
                  <a:pt x="170" y="62"/>
                </a:cubicBezTo>
                <a:cubicBezTo>
                  <a:pt x="169" y="61"/>
                  <a:pt x="169" y="61"/>
                  <a:pt x="169" y="61"/>
                </a:cubicBezTo>
                <a:cubicBezTo>
                  <a:pt x="168" y="61"/>
                  <a:pt x="168" y="61"/>
                  <a:pt x="168" y="61"/>
                </a:cubicBezTo>
                <a:cubicBezTo>
                  <a:pt x="168" y="60"/>
                  <a:pt x="168" y="60"/>
                  <a:pt x="168" y="60"/>
                </a:cubicBezTo>
                <a:cubicBezTo>
                  <a:pt x="166" y="58"/>
                  <a:pt x="166" y="58"/>
                  <a:pt x="166" y="58"/>
                </a:cubicBezTo>
                <a:cubicBezTo>
                  <a:pt x="165" y="57"/>
                  <a:pt x="165" y="57"/>
                  <a:pt x="165" y="57"/>
                </a:cubicBezTo>
                <a:cubicBezTo>
                  <a:pt x="165" y="56"/>
                  <a:pt x="165" y="56"/>
                  <a:pt x="165" y="56"/>
                </a:cubicBezTo>
                <a:cubicBezTo>
                  <a:pt x="165" y="56"/>
                  <a:pt x="165" y="56"/>
                  <a:pt x="165" y="56"/>
                </a:cubicBezTo>
                <a:cubicBezTo>
                  <a:pt x="165" y="56"/>
                  <a:pt x="165" y="56"/>
                  <a:pt x="165" y="56"/>
                </a:cubicBezTo>
                <a:cubicBezTo>
                  <a:pt x="166" y="56"/>
                  <a:pt x="166" y="56"/>
                  <a:pt x="166" y="56"/>
                </a:cubicBezTo>
                <a:cubicBezTo>
                  <a:pt x="167" y="56"/>
                  <a:pt x="167" y="56"/>
                  <a:pt x="167" y="56"/>
                </a:cubicBezTo>
                <a:cubicBezTo>
                  <a:pt x="168" y="56"/>
                  <a:pt x="168" y="56"/>
                  <a:pt x="168" y="56"/>
                </a:cubicBezTo>
                <a:cubicBezTo>
                  <a:pt x="168" y="55"/>
                  <a:pt x="168" y="55"/>
                  <a:pt x="168" y="55"/>
                </a:cubicBezTo>
                <a:cubicBezTo>
                  <a:pt x="170" y="54"/>
                  <a:pt x="170" y="54"/>
                  <a:pt x="170" y="54"/>
                </a:cubicBezTo>
                <a:cubicBezTo>
                  <a:pt x="172" y="52"/>
                  <a:pt x="172" y="52"/>
                  <a:pt x="172" y="52"/>
                </a:cubicBezTo>
                <a:cubicBezTo>
                  <a:pt x="173" y="51"/>
                  <a:pt x="173" y="51"/>
                  <a:pt x="173" y="51"/>
                </a:cubicBezTo>
                <a:cubicBezTo>
                  <a:pt x="174" y="50"/>
                  <a:pt x="174" y="50"/>
                  <a:pt x="174" y="50"/>
                </a:cubicBezTo>
                <a:cubicBezTo>
                  <a:pt x="174" y="50"/>
                  <a:pt x="174" y="50"/>
                  <a:pt x="174" y="50"/>
                </a:cubicBezTo>
                <a:cubicBezTo>
                  <a:pt x="176" y="49"/>
                  <a:pt x="176" y="49"/>
                  <a:pt x="176" y="49"/>
                </a:cubicBezTo>
                <a:cubicBezTo>
                  <a:pt x="177" y="50"/>
                  <a:pt x="177" y="50"/>
                  <a:pt x="177" y="50"/>
                </a:cubicBezTo>
                <a:cubicBezTo>
                  <a:pt x="178" y="50"/>
                  <a:pt x="178" y="50"/>
                  <a:pt x="178" y="50"/>
                </a:cubicBezTo>
                <a:cubicBezTo>
                  <a:pt x="179" y="48"/>
                  <a:pt x="179" y="48"/>
                  <a:pt x="179" y="48"/>
                </a:cubicBezTo>
                <a:cubicBezTo>
                  <a:pt x="179" y="47"/>
                  <a:pt x="179" y="47"/>
                  <a:pt x="179" y="47"/>
                </a:cubicBezTo>
                <a:cubicBezTo>
                  <a:pt x="177" y="47"/>
                  <a:pt x="177" y="47"/>
                  <a:pt x="177" y="47"/>
                </a:cubicBezTo>
                <a:cubicBezTo>
                  <a:pt x="175" y="47"/>
                  <a:pt x="175" y="47"/>
                  <a:pt x="175" y="47"/>
                </a:cubicBezTo>
                <a:cubicBezTo>
                  <a:pt x="173" y="48"/>
                  <a:pt x="173" y="48"/>
                  <a:pt x="173" y="48"/>
                </a:cubicBezTo>
                <a:cubicBezTo>
                  <a:pt x="172" y="48"/>
                  <a:pt x="172" y="48"/>
                  <a:pt x="172" y="48"/>
                </a:cubicBezTo>
                <a:cubicBezTo>
                  <a:pt x="171" y="48"/>
                  <a:pt x="171" y="48"/>
                  <a:pt x="171" y="48"/>
                </a:cubicBezTo>
                <a:cubicBezTo>
                  <a:pt x="170" y="49"/>
                  <a:pt x="170" y="49"/>
                  <a:pt x="170" y="49"/>
                </a:cubicBezTo>
                <a:cubicBezTo>
                  <a:pt x="168" y="49"/>
                  <a:pt x="168" y="49"/>
                  <a:pt x="168" y="49"/>
                </a:cubicBezTo>
                <a:cubicBezTo>
                  <a:pt x="167" y="50"/>
                  <a:pt x="167" y="50"/>
                  <a:pt x="167" y="50"/>
                </a:cubicBezTo>
                <a:cubicBezTo>
                  <a:pt x="166" y="49"/>
                  <a:pt x="166" y="49"/>
                  <a:pt x="166" y="49"/>
                </a:cubicBezTo>
                <a:cubicBezTo>
                  <a:pt x="165" y="49"/>
                  <a:pt x="165" y="49"/>
                  <a:pt x="165" y="49"/>
                </a:cubicBezTo>
                <a:cubicBezTo>
                  <a:pt x="164" y="50"/>
                  <a:pt x="164" y="50"/>
                  <a:pt x="164" y="50"/>
                </a:cubicBezTo>
                <a:cubicBezTo>
                  <a:pt x="163" y="52"/>
                  <a:pt x="163" y="52"/>
                  <a:pt x="163" y="52"/>
                </a:cubicBezTo>
                <a:cubicBezTo>
                  <a:pt x="162" y="53"/>
                  <a:pt x="162" y="53"/>
                  <a:pt x="162" y="53"/>
                </a:cubicBezTo>
                <a:cubicBezTo>
                  <a:pt x="161" y="53"/>
                  <a:pt x="161" y="53"/>
                  <a:pt x="161" y="53"/>
                </a:cubicBezTo>
                <a:cubicBezTo>
                  <a:pt x="160" y="52"/>
                  <a:pt x="160" y="52"/>
                  <a:pt x="160" y="52"/>
                </a:cubicBezTo>
                <a:cubicBezTo>
                  <a:pt x="159" y="50"/>
                  <a:pt x="159" y="50"/>
                  <a:pt x="159" y="50"/>
                </a:cubicBezTo>
                <a:cubicBezTo>
                  <a:pt x="157" y="49"/>
                  <a:pt x="157" y="49"/>
                  <a:pt x="157" y="49"/>
                </a:cubicBezTo>
                <a:cubicBezTo>
                  <a:pt x="156" y="47"/>
                  <a:pt x="156" y="47"/>
                  <a:pt x="156" y="47"/>
                </a:cubicBezTo>
                <a:cubicBezTo>
                  <a:pt x="156" y="44"/>
                  <a:pt x="156" y="44"/>
                  <a:pt x="156" y="44"/>
                </a:cubicBezTo>
                <a:cubicBezTo>
                  <a:pt x="157" y="42"/>
                  <a:pt x="157" y="42"/>
                  <a:pt x="157" y="42"/>
                </a:cubicBezTo>
                <a:cubicBezTo>
                  <a:pt x="158" y="41"/>
                  <a:pt x="158" y="41"/>
                  <a:pt x="158" y="41"/>
                </a:cubicBezTo>
                <a:close/>
                <a:moveTo>
                  <a:pt x="160" y="0"/>
                </a:moveTo>
                <a:cubicBezTo>
                  <a:pt x="159" y="1"/>
                  <a:pt x="159" y="1"/>
                  <a:pt x="159" y="1"/>
                </a:cubicBezTo>
                <a:cubicBezTo>
                  <a:pt x="160" y="1"/>
                  <a:pt x="160" y="1"/>
                  <a:pt x="160" y="1"/>
                </a:cubicBezTo>
                <a:cubicBezTo>
                  <a:pt x="160" y="1"/>
                  <a:pt x="160" y="1"/>
                  <a:pt x="160" y="1"/>
                </a:cubicBezTo>
                <a:cubicBezTo>
                  <a:pt x="160" y="0"/>
                  <a:pt x="160" y="0"/>
                  <a:pt x="160" y="0"/>
                </a:cubicBezTo>
                <a:close/>
                <a:moveTo>
                  <a:pt x="161" y="4"/>
                </a:moveTo>
                <a:cubicBezTo>
                  <a:pt x="162" y="4"/>
                  <a:pt x="162" y="4"/>
                  <a:pt x="162" y="4"/>
                </a:cubicBezTo>
                <a:cubicBezTo>
                  <a:pt x="163" y="4"/>
                  <a:pt x="163" y="4"/>
                  <a:pt x="163" y="4"/>
                </a:cubicBezTo>
                <a:cubicBezTo>
                  <a:pt x="163" y="4"/>
                  <a:pt x="163" y="4"/>
                  <a:pt x="163" y="4"/>
                </a:cubicBezTo>
                <a:cubicBezTo>
                  <a:pt x="164" y="4"/>
                  <a:pt x="164" y="4"/>
                  <a:pt x="164" y="4"/>
                </a:cubicBezTo>
                <a:cubicBezTo>
                  <a:pt x="164" y="3"/>
                  <a:pt x="164" y="3"/>
                  <a:pt x="164" y="3"/>
                </a:cubicBezTo>
                <a:cubicBezTo>
                  <a:pt x="163" y="3"/>
                  <a:pt x="163" y="3"/>
                  <a:pt x="163" y="3"/>
                </a:cubicBezTo>
                <a:cubicBezTo>
                  <a:pt x="161" y="3"/>
                  <a:pt x="161" y="3"/>
                  <a:pt x="161" y="3"/>
                </a:cubicBezTo>
                <a:cubicBezTo>
                  <a:pt x="161" y="4"/>
                  <a:pt x="161" y="4"/>
                  <a:pt x="161" y="4"/>
                </a:cubicBezTo>
                <a:cubicBezTo>
                  <a:pt x="161" y="4"/>
                  <a:pt x="161" y="4"/>
                  <a:pt x="161" y="4"/>
                </a:cubicBezTo>
                <a:close/>
                <a:moveTo>
                  <a:pt x="152" y="11"/>
                </a:moveTo>
                <a:cubicBezTo>
                  <a:pt x="151" y="12"/>
                  <a:pt x="151" y="12"/>
                  <a:pt x="151" y="12"/>
                </a:cubicBezTo>
                <a:cubicBezTo>
                  <a:pt x="152" y="13"/>
                  <a:pt x="152" y="13"/>
                  <a:pt x="152" y="13"/>
                </a:cubicBezTo>
                <a:cubicBezTo>
                  <a:pt x="152" y="12"/>
                  <a:pt x="152" y="12"/>
                  <a:pt x="152" y="12"/>
                </a:cubicBezTo>
                <a:cubicBezTo>
                  <a:pt x="152" y="11"/>
                  <a:pt x="152" y="11"/>
                  <a:pt x="152" y="11"/>
                </a:cubicBezTo>
                <a:close/>
                <a:moveTo>
                  <a:pt x="154" y="9"/>
                </a:moveTo>
                <a:cubicBezTo>
                  <a:pt x="156" y="8"/>
                  <a:pt x="156" y="8"/>
                  <a:pt x="156" y="8"/>
                </a:cubicBezTo>
                <a:cubicBezTo>
                  <a:pt x="157" y="8"/>
                  <a:pt x="157" y="8"/>
                  <a:pt x="157" y="8"/>
                </a:cubicBezTo>
                <a:cubicBezTo>
                  <a:pt x="157" y="9"/>
                  <a:pt x="157" y="9"/>
                  <a:pt x="157" y="9"/>
                </a:cubicBezTo>
                <a:cubicBezTo>
                  <a:pt x="156" y="10"/>
                  <a:pt x="156" y="10"/>
                  <a:pt x="156" y="10"/>
                </a:cubicBezTo>
                <a:cubicBezTo>
                  <a:pt x="154" y="10"/>
                  <a:pt x="154" y="10"/>
                  <a:pt x="154" y="10"/>
                </a:cubicBezTo>
                <a:cubicBezTo>
                  <a:pt x="154" y="9"/>
                  <a:pt x="154" y="9"/>
                  <a:pt x="154" y="9"/>
                </a:cubicBezTo>
                <a:close/>
                <a:moveTo>
                  <a:pt x="141" y="16"/>
                </a:moveTo>
                <a:cubicBezTo>
                  <a:pt x="141" y="17"/>
                  <a:pt x="141" y="17"/>
                  <a:pt x="141" y="17"/>
                </a:cubicBezTo>
                <a:cubicBezTo>
                  <a:pt x="141" y="17"/>
                  <a:pt x="141" y="17"/>
                  <a:pt x="141" y="17"/>
                </a:cubicBezTo>
                <a:cubicBezTo>
                  <a:pt x="141" y="16"/>
                  <a:pt x="141" y="16"/>
                  <a:pt x="141" y="16"/>
                </a:cubicBezTo>
                <a:close/>
                <a:moveTo>
                  <a:pt x="141" y="16"/>
                </a:moveTo>
                <a:cubicBezTo>
                  <a:pt x="141" y="16"/>
                  <a:pt x="141" y="16"/>
                  <a:pt x="141" y="16"/>
                </a:cubicBezTo>
                <a:cubicBezTo>
                  <a:pt x="141" y="16"/>
                  <a:pt x="141" y="16"/>
                  <a:pt x="141" y="16"/>
                </a:cubicBezTo>
                <a:cubicBezTo>
                  <a:pt x="142" y="17"/>
                  <a:pt x="142" y="17"/>
                  <a:pt x="142" y="17"/>
                </a:cubicBezTo>
                <a:cubicBezTo>
                  <a:pt x="142" y="16"/>
                  <a:pt x="142" y="16"/>
                  <a:pt x="142" y="16"/>
                </a:cubicBezTo>
                <a:cubicBezTo>
                  <a:pt x="141" y="16"/>
                  <a:pt x="141" y="16"/>
                  <a:pt x="141" y="16"/>
                </a:cubicBezTo>
                <a:close/>
                <a:moveTo>
                  <a:pt x="142" y="19"/>
                </a:moveTo>
                <a:cubicBezTo>
                  <a:pt x="140" y="19"/>
                  <a:pt x="140" y="19"/>
                  <a:pt x="140" y="19"/>
                </a:cubicBezTo>
                <a:cubicBezTo>
                  <a:pt x="141" y="20"/>
                  <a:pt x="141" y="20"/>
                  <a:pt x="141" y="20"/>
                </a:cubicBezTo>
                <a:cubicBezTo>
                  <a:pt x="142" y="19"/>
                  <a:pt x="142" y="19"/>
                  <a:pt x="142" y="19"/>
                </a:cubicBezTo>
                <a:close/>
                <a:moveTo>
                  <a:pt x="140" y="20"/>
                </a:moveTo>
                <a:cubicBezTo>
                  <a:pt x="141" y="21"/>
                  <a:pt x="141" y="21"/>
                  <a:pt x="141" y="21"/>
                </a:cubicBezTo>
                <a:cubicBezTo>
                  <a:pt x="141" y="22"/>
                  <a:pt x="141" y="22"/>
                  <a:pt x="141" y="22"/>
                </a:cubicBezTo>
                <a:cubicBezTo>
                  <a:pt x="141" y="22"/>
                  <a:pt x="141" y="22"/>
                  <a:pt x="141" y="22"/>
                </a:cubicBezTo>
                <a:cubicBezTo>
                  <a:pt x="140" y="20"/>
                  <a:pt x="140" y="20"/>
                  <a:pt x="140" y="20"/>
                </a:cubicBezTo>
                <a:close/>
                <a:moveTo>
                  <a:pt x="133" y="66"/>
                </a:moveTo>
                <a:cubicBezTo>
                  <a:pt x="133" y="66"/>
                  <a:pt x="133" y="66"/>
                  <a:pt x="133" y="66"/>
                </a:cubicBezTo>
                <a:cubicBezTo>
                  <a:pt x="133" y="68"/>
                  <a:pt x="133" y="68"/>
                  <a:pt x="133" y="68"/>
                </a:cubicBezTo>
                <a:cubicBezTo>
                  <a:pt x="132" y="68"/>
                  <a:pt x="132" y="68"/>
                  <a:pt x="132" y="68"/>
                </a:cubicBezTo>
                <a:cubicBezTo>
                  <a:pt x="132" y="66"/>
                  <a:pt x="132" y="66"/>
                  <a:pt x="132" y="66"/>
                </a:cubicBezTo>
                <a:cubicBezTo>
                  <a:pt x="133" y="66"/>
                  <a:pt x="133" y="66"/>
                  <a:pt x="133" y="66"/>
                </a:cubicBezTo>
                <a:close/>
                <a:moveTo>
                  <a:pt x="132" y="66"/>
                </a:moveTo>
                <a:cubicBezTo>
                  <a:pt x="132" y="68"/>
                  <a:pt x="132" y="68"/>
                  <a:pt x="132" y="68"/>
                </a:cubicBezTo>
                <a:cubicBezTo>
                  <a:pt x="132" y="69"/>
                  <a:pt x="132" y="69"/>
                  <a:pt x="132" y="69"/>
                </a:cubicBezTo>
                <a:cubicBezTo>
                  <a:pt x="131" y="70"/>
                  <a:pt x="131" y="70"/>
                  <a:pt x="131" y="70"/>
                </a:cubicBezTo>
                <a:cubicBezTo>
                  <a:pt x="130" y="69"/>
                  <a:pt x="130" y="69"/>
                  <a:pt x="130" y="69"/>
                </a:cubicBezTo>
                <a:cubicBezTo>
                  <a:pt x="130" y="67"/>
                  <a:pt x="130" y="67"/>
                  <a:pt x="130" y="67"/>
                </a:cubicBezTo>
                <a:cubicBezTo>
                  <a:pt x="131" y="66"/>
                  <a:pt x="131" y="66"/>
                  <a:pt x="131" y="66"/>
                </a:cubicBezTo>
                <a:cubicBezTo>
                  <a:pt x="132" y="65"/>
                  <a:pt x="132" y="65"/>
                  <a:pt x="132" y="65"/>
                </a:cubicBezTo>
                <a:cubicBezTo>
                  <a:pt x="132" y="66"/>
                  <a:pt x="132" y="66"/>
                  <a:pt x="132" y="66"/>
                </a:cubicBezTo>
                <a:close/>
                <a:moveTo>
                  <a:pt x="89" y="46"/>
                </a:moveTo>
                <a:cubicBezTo>
                  <a:pt x="90" y="46"/>
                  <a:pt x="90" y="46"/>
                  <a:pt x="90" y="46"/>
                </a:cubicBezTo>
                <a:cubicBezTo>
                  <a:pt x="90" y="47"/>
                  <a:pt x="90" y="47"/>
                  <a:pt x="90" y="47"/>
                </a:cubicBezTo>
                <a:cubicBezTo>
                  <a:pt x="90" y="47"/>
                  <a:pt x="90" y="47"/>
                  <a:pt x="90" y="47"/>
                </a:cubicBezTo>
                <a:cubicBezTo>
                  <a:pt x="89" y="47"/>
                  <a:pt x="89" y="47"/>
                  <a:pt x="89" y="47"/>
                </a:cubicBezTo>
                <a:cubicBezTo>
                  <a:pt x="88" y="46"/>
                  <a:pt x="88" y="46"/>
                  <a:pt x="88" y="46"/>
                </a:cubicBezTo>
                <a:cubicBezTo>
                  <a:pt x="89" y="46"/>
                  <a:pt x="89" y="46"/>
                  <a:pt x="89" y="46"/>
                </a:cubicBezTo>
                <a:close/>
                <a:moveTo>
                  <a:pt x="89" y="49"/>
                </a:moveTo>
                <a:cubicBezTo>
                  <a:pt x="91" y="49"/>
                  <a:pt x="91" y="49"/>
                  <a:pt x="91" y="49"/>
                </a:cubicBezTo>
                <a:cubicBezTo>
                  <a:pt x="91" y="50"/>
                  <a:pt x="91" y="50"/>
                  <a:pt x="91" y="50"/>
                </a:cubicBezTo>
                <a:cubicBezTo>
                  <a:pt x="92" y="50"/>
                  <a:pt x="92" y="50"/>
                  <a:pt x="92" y="50"/>
                </a:cubicBezTo>
                <a:cubicBezTo>
                  <a:pt x="92" y="50"/>
                  <a:pt x="92" y="50"/>
                  <a:pt x="92" y="50"/>
                </a:cubicBezTo>
                <a:cubicBezTo>
                  <a:pt x="90" y="50"/>
                  <a:pt x="90" y="50"/>
                  <a:pt x="90" y="50"/>
                </a:cubicBezTo>
                <a:cubicBezTo>
                  <a:pt x="90" y="50"/>
                  <a:pt x="90" y="50"/>
                  <a:pt x="90" y="50"/>
                </a:cubicBezTo>
                <a:cubicBezTo>
                  <a:pt x="89" y="49"/>
                  <a:pt x="89" y="49"/>
                  <a:pt x="89" y="49"/>
                </a:cubicBezTo>
                <a:cubicBezTo>
                  <a:pt x="89" y="49"/>
                  <a:pt x="89" y="49"/>
                  <a:pt x="89" y="49"/>
                </a:cubicBezTo>
                <a:close/>
                <a:moveTo>
                  <a:pt x="90" y="51"/>
                </a:moveTo>
                <a:cubicBezTo>
                  <a:pt x="92" y="51"/>
                  <a:pt x="92" y="51"/>
                  <a:pt x="92" y="51"/>
                </a:cubicBezTo>
                <a:cubicBezTo>
                  <a:pt x="93" y="51"/>
                  <a:pt x="93" y="51"/>
                  <a:pt x="93" y="51"/>
                </a:cubicBezTo>
                <a:cubicBezTo>
                  <a:pt x="92" y="53"/>
                  <a:pt x="92" y="53"/>
                  <a:pt x="92" y="53"/>
                </a:cubicBezTo>
                <a:cubicBezTo>
                  <a:pt x="91" y="53"/>
                  <a:pt x="91" y="53"/>
                  <a:pt x="91" y="53"/>
                </a:cubicBezTo>
                <a:cubicBezTo>
                  <a:pt x="90" y="52"/>
                  <a:pt x="90" y="52"/>
                  <a:pt x="90" y="52"/>
                </a:cubicBezTo>
                <a:cubicBezTo>
                  <a:pt x="91" y="51"/>
                  <a:pt x="91" y="51"/>
                  <a:pt x="91" y="51"/>
                </a:cubicBezTo>
                <a:cubicBezTo>
                  <a:pt x="91" y="51"/>
                  <a:pt x="90" y="51"/>
                  <a:pt x="90" y="51"/>
                </a:cubicBezTo>
                <a:close/>
                <a:moveTo>
                  <a:pt x="87" y="36"/>
                </a:moveTo>
                <a:cubicBezTo>
                  <a:pt x="88" y="34"/>
                  <a:pt x="88" y="34"/>
                  <a:pt x="88" y="34"/>
                </a:cubicBezTo>
                <a:cubicBezTo>
                  <a:pt x="90" y="32"/>
                  <a:pt x="90" y="32"/>
                  <a:pt x="90" y="32"/>
                </a:cubicBezTo>
                <a:cubicBezTo>
                  <a:pt x="91" y="31"/>
                  <a:pt x="91" y="31"/>
                  <a:pt x="91" y="31"/>
                </a:cubicBezTo>
                <a:cubicBezTo>
                  <a:pt x="92" y="31"/>
                  <a:pt x="92" y="31"/>
                  <a:pt x="92" y="31"/>
                </a:cubicBezTo>
                <a:cubicBezTo>
                  <a:pt x="93" y="33"/>
                  <a:pt x="93" y="33"/>
                  <a:pt x="93" y="33"/>
                </a:cubicBezTo>
                <a:cubicBezTo>
                  <a:pt x="95" y="34"/>
                  <a:pt x="95" y="34"/>
                  <a:pt x="95" y="34"/>
                </a:cubicBezTo>
                <a:cubicBezTo>
                  <a:pt x="95" y="35"/>
                  <a:pt x="95" y="35"/>
                  <a:pt x="95" y="35"/>
                </a:cubicBezTo>
                <a:cubicBezTo>
                  <a:pt x="96" y="36"/>
                  <a:pt x="96" y="36"/>
                  <a:pt x="96" y="36"/>
                </a:cubicBezTo>
                <a:cubicBezTo>
                  <a:pt x="97" y="37"/>
                  <a:pt x="97" y="37"/>
                  <a:pt x="97" y="37"/>
                </a:cubicBezTo>
                <a:cubicBezTo>
                  <a:pt x="98" y="37"/>
                  <a:pt x="98" y="37"/>
                  <a:pt x="98" y="37"/>
                </a:cubicBezTo>
                <a:cubicBezTo>
                  <a:pt x="100" y="37"/>
                  <a:pt x="100" y="37"/>
                  <a:pt x="100" y="37"/>
                </a:cubicBezTo>
                <a:cubicBezTo>
                  <a:pt x="100" y="36"/>
                  <a:pt x="100" y="36"/>
                  <a:pt x="100" y="36"/>
                </a:cubicBezTo>
                <a:cubicBezTo>
                  <a:pt x="101" y="36"/>
                  <a:pt x="101" y="36"/>
                  <a:pt x="101" y="36"/>
                </a:cubicBezTo>
                <a:cubicBezTo>
                  <a:pt x="102" y="36"/>
                  <a:pt x="102" y="36"/>
                  <a:pt x="102" y="36"/>
                </a:cubicBezTo>
                <a:cubicBezTo>
                  <a:pt x="106" y="36"/>
                  <a:pt x="106" y="36"/>
                  <a:pt x="106" y="36"/>
                </a:cubicBezTo>
                <a:cubicBezTo>
                  <a:pt x="109" y="35"/>
                  <a:pt x="109" y="35"/>
                  <a:pt x="109" y="35"/>
                </a:cubicBezTo>
                <a:cubicBezTo>
                  <a:pt x="110" y="34"/>
                  <a:pt x="110" y="34"/>
                  <a:pt x="110" y="34"/>
                </a:cubicBezTo>
                <a:cubicBezTo>
                  <a:pt x="113" y="34"/>
                  <a:pt x="113" y="34"/>
                  <a:pt x="113" y="34"/>
                </a:cubicBezTo>
                <a:cubicBezTo>
                  <a:pt x="115" y="34"/>
                  <a:pt x="115" y="34"/>
                  <a:pt x="115" y="34"/>
                </a:cubicBezTo>
                <a:cubicBezTo>
                  <a:pt x="115" y="35"/>
                  <a:pt x="115" y="35"/>
                  <a:pt x="115" y="35"/>
                </a:cubicBezTo>
                <a:cubicBezTo>
                  <a:pt x="117" y="35"/>
                  <a:pt x="117" y="35"/>
                  <a:pt x="117" y="35"/>
                </a:cubicBezTo>
                <a:cubicBezTo>
                  <a:pt x="119" y="34"/>
                  <a:pt x="119" y="34"/>
                  <a:pt x="119" y="34"/>
                </a:cubicBezTo>
                <a:cubicBezTo>
                  <a:pt x="122" y="33"/>
                  <a:pt x="122" y="33"/>
                  <a:pt x="122" y="33"/>
                </a:cubicBezTo>
                <a:cubicBezTo>
                  <a:pt x="122" y="32"/>
                  <a:pt x="122" y="32"/>
                  <a:pt x="122" y="32"/>
                </a:cubicBezTo>
                <a:cubicBezTo>
                  <a:pt x="125" y="29"/>
                  <a:pt x="125" y="29"/>
                  <a:pt x="125" y="29"/>
                </a:cubicBezTo>
                <a:cubicBezTo>
                  <a:pt x="126" y="26"/>
                  <a:pt x="126" y="26"/>
                  <a:pt x="126" y="26"/>
                </a:cubicBezTo>
                <a:cubicBezTo>
                  <a:pt x="128" y="23"/>
                  <a:pt x="128" y="23"/>
                  <a:pt x="128" y="23"/>
                </a:cubicBezTo>
                <a:cubicBezTo>
                  <a:pt x="129" y="18"/>
                  <a:pt x="129" y="18"/>
                  <a:pt x="129" y="18"/>
                </a:cubicBezTo>
                <a:cubicBezTo>
                  <a:pt x="129" y="17"/>
                  <a:pt x="129" y="17"/>
                  <a:pt x="129" y="17"/>
                </a:cubicBezTo>
                <a:cubicBezTo>
                  <a:pt x="130" y="16"/>
                  <a:pt x="130" y="16"/>
                  <a:pt x="130" y="16"/>
                </a:cubicBezTo>
                <a:cubicBezTo>
                  <a:pt x="130" y="15"/>
                  <a:pt x="130" y="15"/>
                  <a:pt x="130" y="15"/>
                </a:cubicBezTo>
                <a:cubicBezTo>
                  <a:pt x="131" y="14"/>
                  <a:pt x="131" y="14"/>
                  <a:pt x="131" y="14"/>
                </a:cubicBezTo>
                <a:cubicBezTo>
                  <a:pt x="132" y="14"/>
                  <a:pt x="132" y="14"/>
                  <a:pt x="132" y="14"/>
                </a:cubicBezTo>
                <a:cubicBezTo>
                  <a:pt x="134" y="14"/>
                  <a:pt x="134" y="14"/>
                  <a:pt x="134" y="14"/>
                </a:cubicBezTo>
                <a:cubicBezTo>
                  <a:pt x="137" y="14"/>
                  <a:pt x="137" y="14"/>
                  <a:pt x="137" y="14"/>
                </a:cubicBezTo>
                <a:cubicBezTo>
                  <a:pt x="137" y="15"/>
                  <a:pt x="137" y="15"/>
                  <a:pt x="137" y="15"/>
                </a:cubicBezTo>
                <a:cubicBezTo>
                  <a:pt x="139" y="15"/>
                  <a:pt x="139" y="15"/>
                  <a:pt x="139" y="15"/>
                </a:cubicBezTo>
                <a:cubicBezTo>
                  <a:pt x="140" y="15"/>
                  <a:pt x="140" y="15"/>
                  <a:pt x="140" y="15"/>
                </a:cubicBezTo>
                <a:cubicBezTo>
                  <a:pt x="140" y="15"/>
                  <a:pt x="140" y="15"/>
                  <a:pt x="140" y="15"/>
                </a:cubicBezTo>
                <a:cubicBezTo>
                  <a:pt x="140" y="15"/>
                  <a:pt x="140" y="15"/>
                  <a:pt x="140" y="15"/>
                </a:cubicBezTo>
                <a:cubicBezTo>
                  <a:pt x="140" y="16"/>
                  <a:pt x="140" y="16"/>
                  <a:pt x="140" y="16"/>
                </a:cubicBezTo>
                <a:cubicBezTo>
                  <a:pt x="139" y="17"/>
                  <a:pt x="139" y="17"/>
                  <a:pt x="139" y="17"/>
                </a:cubicBezTo>
                <a:cubicBezTo>
                  <a:pt x="141" y="17"/>
                  <a:pt x="141" y="17"/>
                  <a:pt x="141" y="17"/>
                </a:cubicBezTo>
                <a:cubicBezTo>
                  <a:pt x="142" y="19"/>
                  <a:pt x="142" y="19"/>
                  <a:pt x="142" y="19"/>
                </a:cubicBezTo>
                <a:cubicBezTo>
                  <a:pt x="141" y="19"/>
                  <a:pt x="141" y="19"/>
                  <a:pt x="141" y="19"/>
                </a:cubicBezTo>
                <a:cubicBezTo>
                  <a:pt x="139" y="19"/>
                  <a:pt x="139" y="19"/>
                  <a:pt x="139" y="19"/>
                </a:cubicBezTo>
                <a:cubicBezTo>
                  <a:pt x="139" y="19"/>
                  <a:pt x="139" y="19"/>
                  <a:pt x="139" y="19"/>
                </a:cubicBezTo>
                <a:cubicBezTo>
                  <a:pt x="140" y="20"/>
                  <a:pt x="140" y="20"/>
                  <a:pt x="140" y="20"/>
                </a:cubicBezTo>
                <a:cubicBezTo>
                  <a:pt x="140" y="21"/>
                  <a:pt x="140" y="21"/>
                  <a:pt x="140" y="21"/>
                </a:cubicBezTo>
                <a:cubicBezTo>
                  <a:pt x="140" y="21"/>
                  <a:pt x="140" y="21"/>
                  <a:pt x="140" y="21"/>
                </a:cubicBezTo>
                <a:cubicBezTo>
                  <a:pt x="140" y="21"/>
                  <a:pt x="140" y="21"/>
                  <a:pt x="140" y="21"/>
                </a:cubicBezTo>
                <a:cubicBezTo>
                  <a:pt x="139" y="22"/>
                  <a:pt x="139" y="22"/>
                  <a:pt x="139" y="22"/>
                </a:cubicBezTo>
                <a:cubicBezTo>
                  <a:pt x="140" y="23"/>
                  <a:pt x="140" y="23"/>
                  <a:pt x="140" y="23"/>
                </a:cubicBezTo>
                <a:cubicBezTo>
                  <a:pt x="141" y="25"/>
                  <a:pt x="141" y="25"/>
                  <a:pt x="141" y="25"/>
                </a:cubicBezTo>
                <a:cubicBezTo>
                  <a:pt x="143" y="27"/>
                  <a:pt x="143" y="27"/>
                  <a:pt x="143" y="27"/>
                </a:cubicBezTo>
                <a:cubicBezTo>
                  <a:pt x="144" y="28"/>
                  <a:pt x="144" y="28"/>
                  <a:pt x="144" y="28"/>
                </a:cubicBezTo>
                <a:cubicBezTo>
                  <a:pt x="143" y="29"/>
                  <a:pt x="143" y="29"/>
                  <a:pt x="143" y="29"/>
                </a:cubicBezTo>
                <a:cubicBezTo>
                  <a:pt x="141" y="29"/>
                  <a:pt x="141" y="29"/>
                  <a:pt x="141" y="29"/>
                </a:cubicBezTo>
                <a:cubicBezTo>
                  <a:pt x="141" y="30"/>
                  <a:pt x="141" y="30"/>
                  <a:pt x="141" y="30"/>
                </a:cubicBezTo>
                <a:cubicBezTo>
                  <a:pt x="142" y="30"/>
                  <a:pt x="142" y="30"/>
                  <a:pt x="142" y="30"/>
                </a:cubicBezTo>
                <a:cubicBezTo>
                  <a:pt x="142" y="32"/>
                  <a:pt x="142" y="32"/>
                  <a:pt x="142" y="32"/>
                </a:cubicBezTo>
                <a:cubicBezTo>
                  <a:pt x="143" y="32"/>
                  <a:pt x="143" y="32"/>
                  <a:pt x="143" y="32"/>
                </a:cubicBezTo>
                <a:cubicBezTo>
                  <a:pt x="146" y="35"/>
                  <a:pt x="146" y="35"/>
                  <a:pt x="146" y="35"/>
                </a:cubicBezTo>
                <a:cubicBezTo>
                  <a:pt x="147" y="35"/>
                  <a:pt x="147" y="35"/>
                  <a:pt x="147" y="35"/>
                </a:cubicBezTo>
                <a:cubicBezTo>
                  <a:pt x="148" y="36"/>
                  <a:pt x="148" y="36"/>
                  <a:pt x="148" y="36"/>
                </a:cubicBezTo>
                <a:cubicBezTo>
                  <a:pt x="148" y="36"/>
                  <a:pt x="148" y="36"/>
                  <a:pt x="148" y="36"/>
                </a:cubicBezTo>
                <a:cubicBezTo>
                  <a:pt x="149" y="37"/>
                  <a:pt x="149" y="37"/>
                  <a:pt x="149" y="37"/>
                </a:cubicBezTo>
                <a:cubicBezTo>
                  <a:pt x="149" y="38"/>
                  <a:pt x="149" y="38"/>
                  <a:pt x="149" y="38"/>
                </a:cubicBezTo>
                <a:cubicBezTo>
                  <a:pt x="148" y="38"/>
                  <a:pt x="148" y="38"/>
                  <a:pt x="148" y="38"/>
                </a:cubicBezTo>
                <a:cubicBezTo>
                  <a:pt x="147" y="38"/>
                  <a:pt x="147" y="38"/>
                  <a:pt x="147" y="38"/>
                </a:cubicBezTo>
                <a:cubicBezTo>
                  <a:pt x="146" y="39"/>
                  <a:pt x="146" y="39"/>
                  <a:pt x="146" y="39"/>
                </a:cubicBezTo>
                <a:cubicBezTo>
                  <a:pt x="145" y="38"/>
                  <a:pt x="145" y="38"/>
                  <a:pt x="145" y="38"/>
                </a:cubicBezTo>
                <a:cubicBezTo>
                  <a:pt x="143" y="36"/>
                  <a:pt x="143" y="36"/>
                  <a:pt x="143" y="36"/>
                </a:cubicBezTo>
                <a:cubicBezTo>
                  <a:pt x="143" y="38"/>
                  <a:pt x="143" y="38"/>
                  <a:pt x="143" y="38"/>
                </a:cubicBezTo>
                <a:cubicBezTo>
                  <a:pt x="143" y="39"/>
                  <a:pt x="143" y="39"/>
                  <a:pt x="143" y="39"/>
                </a:cubicBezTo>
                <a:cubicBezTo>
                  <a:pt x="142" y="38"/>
                  <a:pt x="142" y="38"/>
                  <a:pt x="142" y="38"/>
                </a:cubicBezTo>
                <a:cubicBezTo>
                  <a:pt x="141" y="39"/>
                  <a:pt x="141" y="39"/>
                  <a:pt x="141" y="39"/>
                </a:cubicBezTo>
                <a:cubicBezTo>
                  <a:pt x="141" y="40"/>
                  <a:pt x="141" y="40"/>
                  <a:pt x="141" y="40"/>
                </a:cubicBezTo>
                <a:cubicBezTo>
                  <a:pt x="140" y="41"/>
                  <a:pt x="140" y="41"/>
                  <a:pt x="140" y="41"/>
                </a:cubicBezTo>
                <a:cubicBezTo>
                  <a:pt x="140" y="43"/>
                  <a:pt x="140" y="43"/>
                  <a:pt x="140" y="43"/>
                </a:cubicBezTo>
                <a:cubicBezTo>
                  <a:pt x="139" y="44"/>
                  <a:pt x="139" y="44"/>
                  <a:pt x="139" y="44"/>
                </a:cubicBezTo>
                <a:cubicBezTo>
                  <a:pt x="139" y="46"/>
                  <a:pt x="139" y="46"/>
                  <a:pt x="139" y="46"/>
                </a:cubicBezTo>
                <a:cubicBezTo>
                  <a:pt x="137" y="48"/>
                  <a:pt x="137" y="48"/>
                  <a:pt x="137" y="48"/>
                </a:cubicBezTo>
                <a:cubicBezTo>
                  <a:pt x="138" y="49"/>
                  <a:pt x="138" y="49"/>
                  <a:pt x="138" y="49"/>
                </a:cubicBezTo>
                <a:cubicBezTo>
                  <a:pt x="137" y="50"/>
                  <a:pt x="137" y="50"/>
                  <a:pt x="137" y="50"/>
                </a:cubicBezTo>
                <a:cubicBezTo>
                  <a:pt x="136" y="51"/>
                  <a:pt x="136" y="51"/>
                  <a:pt x="136" y="51"/>
                </a:cubicBezTo>
                <a:cubicBezTo>
                  <a:pt x="136" y="50"/>
                  <a:pt x="136" y="50"/>
                  <a:pt x="136" y="50"/>
                </a:cubicBezTo>
                <a:cubicBezTo>
                  <a:pt x="135" y="50"/>
                  <a:pt x="135" y="50"/>
                  <a:pt x="135" y="50"/>
                </a:cubicBezTo>
                <a:cubicBezTo>
                  <a:pt x="135" y="51"/>
                  <a:pt x="135" y="51"/>
                  <a:pt x="135" y="51"/>
                </a:cubicBezTo>
                <a:cubicBezTo>
                  <a:pt x="135" y="52"/>
                  <a:pt x="135" y="52"/>
                  <a:pt x="135" y="52"/>
                </a:cubicBezTo>
                <a:cubicBezTo>
                  <a:pt x="134" y="53"/>
                  <a:pt x="134" y="53"/>
                  <a:pt x="134" y="53"/>
                </a:cubicBezTo>
                <a:cubicBezTo>
                  <a:pt x="134" y="54"/>
                  <a:pt x="134" y="54"/>
                  <a:pt x="134" y="54"/>
                </a:cubicBezTo>
                <a:cubicBezTo>
                  <a:pt x="133" y="55"/>
                  <a:pt x="133" y="55"/>
                  <a:pt x="133" y="55"/>
                </a:cubicBezTo>
                <a:cubicBezTo>
                  <a:pt x="132" y="55"/>
                  <a:pt x="132" y="55"/>
                  <a:pt x="132" y="55"/>
                </a:cubicBezTo>
                <a:cubicBezTo>
                  <a:pt x="132" y="55"/>
                  <a:pt x="132" y="55"/>
                  <a:pt x="132" y="55"/>
                </a:cubicBezTo>
                <a:cubicBezTo>
                  <a:pt x="132" y="56"/>
                  <a:pt x="132" y="56"/>
                  <a:pt x="132" y="56"/>
                </a:cubicBezTo>
                <a:cubicBezTo>
                  <a:pt x="133" y="56"/>
                  <a:pt x="133" y="56"/>
                  <a:pt x="133" y="56"/>
                </a:cubicBezTo>
                <a:cubicBezTo>
                  <a:pt x="133" y="56"/>
                  <a:pt x="133" y="56"/>
                  <a:pt x="133" y="56"/>
                </a:cubicBezTo>
                <a:cubicBezTo>
                  <a:pt x="133" y="57"/>
                  <a:pt x="133" y="57"/>
                  <a:pt x="133" y="57"/>
                </a:cubicBezTo>
                <a:cubicBezTo>
                  <a:pt x="132" y="58"/>
                  <a:pt x="132" y="58"/>
                  <a:pt x="132" y="58"/>
                </a:cubicBezTo>
                <a:cubicBezTo>
                  <a:pt x="133" y="58"/>
                  <a:pt x="133" y="58"/>
                  <a:pt x="133" y="58"/>
                </a:cubicBezTo>
                <a:cubicBezTo>
                  <a:pt x="134" y="58"/>
                  <a:pt x="134" y="58"/>
                  <a:pt x="134" y="58"/>
                </a:cubicBezTo>
                <a:cubicBezTo>
                  <a:pt x="134" y="59"/>
                  <a:pt x="134" y="59"/>
                  <a:pt x="134" y="59"/>
                </a:cubicBezTo>
                <a:cubicBezTo>
                  <a:pt x="133" y="60"/>
                  <a:pt x="133" y="60"/>
                  <a:pt x="133" y="60"/>
                </a:cubicBezTo>
                <a:cubicBezTo>
                  <a:pt x="132" y="60"/>
                  <a:pt x="132" y="60"/>
                  <a:pt x="132" y="60"/>
                </a:cubicBezTo>
                <a:cubicBezTo>
                  <a:pt x="132" y="59"/>
                  <a:pt x="132" y="59"/>
                  <a:pt x="132" y="59"/>
                </a:cubicBezTo>
                <a:cubicBezTo>
                  <a:pt x="132" y="60"/>
                  <a:pt x="132" y="60"/>
                  <a:pt x="132" y="60"/>
                </a:cubicBezTo>
                <a:cubicBezTo>
                  <a:pt x="133" y="60"/>
                  <a:pt x="133" y="60"/>
                  <a:pt x="133" y="60"/>
                </a:cubicBezTo>
                <a:cubicBezTo>
                  <a:pt x="133" y="61"/>
                  <a:pt x="133" y="61"/>
                  <a:pt x="133" y="61"/>
                </a:cubicBezTo>
                <a:cubicBezTo>
                  <a:pt x="132" y="63"/>
                  <a:pt x="132" y="63"/>
                  <a:pt x="132" y="63"/>
                </a:cubicBezTo>
                <a:cubicBezTo>
                  <a:pt x="131" y="63"/>
                  <a:pt x="131" y="63"/>
                  <a:pt x="131" y="63"/>
                </a:cubicBezTo>
                <a:cubicBezTo>
                  <a:pt x="131" y="62"/>
                  <a:pt x="131" y="62"/>
                  <a:pt x="131" y="62"/>
                </a:cubicBezTo>
                <a:cubicBezTo>
                  <a:pt x="131" y="64"/>
                  <a:pt x="131" y="64"/>
                  <a:pt x="131" y="64"/>
                </a:cubicBezTo>
                <a:cubicBezTo>
                  <a:pt x="131" y="65"/>
                  <a:pt x="131" y="65"/>
                  <a:pt x="131" y="65"/>
                </a:cubicBezTo>
                <a:cubicBezTo>
                  <a:pt x="130" y="67"/>
                  <a:pt x="130" y="67"/>
                  <a:pt x="130" y="67"/>
                </a:cubicBezTo>
                <a:cubicBezTo>
                  <a:pt x="127" y="69"/>
                  <a:pt x="127" y="69"/>
                  <a:pt x="127" y="69"/>
                </a:cubicBezTo>
                <a:cubicBezTo>
                  <a:pt x="126" y="69"/>
                  <a:pt x="126" y="69"/>
                  <a:pt x="126" y="69"/>
                </a:cubicBezTo>
                <a:cubicBezTo>
                  <a:pt x="123" y="70"/>
                  <a:pt x="123" y="70"/>
                  <a:pt x="123" y="70"/>
                </a:cubicBezTo>
                <a:cubicBezTo>
                  <a:pt x="122" y="70"/>
                  <a:pt x="122" y="70"/>
                  <a:pt x="122" y="70"/>
                </a:cubicBezTo>
                <a:cubicBezTo>
                  <a:pt x="121" y="69"/>
                  <a:pt x="121" y="69"/>
                  <a:pt x="121" y="69"/>
                </a:cubicBezTo>
                <a:cubicBezTo>
                  <a:pt x="122" y="68"/>
                  <a:pt x="122" y="68"/>
                  <a:pt x="122" y="68"/>
                </a:cubicBezTo>
                <a:cubicBezTo>
                  <a:pt x="121" y="67"/>
                  <a:pt x="121" y="67"/>
                  <a:pt x="121" y="67"/>
                </a:cubicBezTo>
                <a:cubicBezTo>
                  <a:pt x="121" y="66"/>
                  <a:pt x="121" y="66"/>
                  <a:pt x="121" y="66"/>
                </a:cubicBezTo>
                <a:cubicBezTo>
                  <a:pt x="120" y="66"/>
                  <a:pt x="120" y="66"/>
                  <a:pt x="120" y="66"/>
                </a:cubicBezTo>
                <a:cubicBezTo>
                  <a:pt x="120" y="66"/>
                  <a:pt x="120" y="66"/>
                  <a:pt x="120" y="66"/>
                </a:cubicBezTo>
                <a:cubicBezTo>
                  <a:pt x="119" y="66"/>
                  <a:pt x="119" y="66"/>
                  <a:pt x="119" y="66"/>
                </a:cubicBezTo>
                <a:cubicBezTo>
                  <a:pt x="118" y="66"/>
                  <a:pt x="118" y="66"/>
                  <a:pt x="118" y="66"/>
                </a:cubicBezTo>
                <a:cubicBezTo>
                  <a:pt x="117" y="65"/>
                  <a:pt x="117" y="65"/>
                  <a:pt x="117" y="65"/>
                </a:cubicBezTo>
                <a:cubicBezTo>
                  <a:pt x="117" y="66"/>
                  <a:pt x="117" y="66"/>
                  <a:pt x="117" y="66"/>
                </a:cubicBezTo>
                <a:cubicBezTo>
                  <a:pt x="117" y="66"/>
                  <a:pt x="117" y="66"/>
                  <a:pt x="117" y="66"/>
                </a:cubicBezTo>
                <a:cubicBezTo>
                  <a:pt x="116" y="66"/>
                  <a:pt x="116" y="66"/>
                  <a:pt x="116" y="66"/>
                </a:cubicBezTo>
                <a:cubicBezTo>
                  <a:pt x="116" y="65"/>
                  <a:pt x="116" y="65"/>
                  <a:pt x="116" y="65"/>
                </a:cubicBezTo>
                <a:cubicBezTo>
                  <a:pt x="116" y="64"/>
                  <a:pt x="116" y="64"/>
                  <a:pt x="116" y="64"/>
                </a:cubicBezTo>
                <a:cubicBezTo>
                  <a:pt x="115" y="64"/>
                  <a:pt x="115" y="64"/>
                  <a:pt x="115" y="64"/>
                </a:cubicBezTo>
                <a:cubicBezTo>
                  <a:pt x="114" y="64"/>
                  <a:pt x="114" y="64"/>
                  <a:pt x="114" y="64"/>
                </a:cubicBezTo>
                <a:cubicBezTo>
                  <a:pt x="113" y="64"/>
                  <a:pt x="113" y="64"/>
                  <a:pt x="113" y="64"/>
                </a:cubicBezTo>
                <a:cubicBezTo>
                  <a:pt x="113" y="64"/>
                  <a:pt x="113" y="64"/>
                  <a:pt x="113" y="64"/>
                </a:cubicBezTo>
                <a:cubicBezTo>
                  <a:pt x="112" y="65"/>
                  <a:pt x="112" y="65"/>
                  <a:pt x="112" y="65"/>
                </a:cubicBezTo>
                <a:cubicBezTo>
                  <a:pt x="110" y="65"/>
                  <a:pt x="110" y="65"/>
                  <a:pt x="110" y="65"/>
                </a:cubicBezTo>
                <a:cubicBezTo>
                  <a:pt x="110" y="66"/>
                  <a:pt x="110" y="66"/>
                  <a:pt x="110" y="66"/>
                </a:cubicBezTo>
                <a:cubicBezTo>
                  <a:pt x="109" y="66"/>
                  <a:pt x="109" y="66"/>
                  <a:pt x="109" y="66"/>
                </a:cubicBezTo>
                <a:cubicBezTo>
                  <a:pt x="108" y="65"/>
                  <a:pt x="108" y="65"/>
                  <a:pt x="108" y="65"/>
                </a:cubicBezTo>
                <a:cubicBezTo>
                  <a:pt x="107" y="65"/>
                  <a:pt x="107" y="65"/>
                  <a:pt x="107" y="65"/>
                </a:cubicBezTo>
                <a:cubicBezTo>
                  <a:pt x="106" y="67"/>
                  <a:pt x="106" y="67"/>
                  <a:pt x="106" y="67"/>
                </a:cubicBezTo>
                <a:cubicBezTo>
                  <a:pt x="105" y="67"/>
                  <a:pt x="105" y="67"/>
                  <a:pt x="105" y="67"/>
                </a:cubicBezTo>
                <a:cubicBezTo>
                  <a:pt x="105" y="66"/>
                  <a:pt x="105" y="66"/>
                  <a:pt x="105" y="66"/>
                </a:cubicBezTo>
                <a:cubicBezTo>
                  <a:pt x="105" y="64"/>
                  <a:pt x="105" y="64"/>
                  <a:pt x="105" y="64"/>
                </a:cubicBezTo>
                <a:cubicBezTo>
                  <a:pt x="105" y="62"/>
                  <a:pt x="105" y="62"/>
                  <a:pt x="105" y="62"/>
                </a:cubicBezTo>
                <a:cubicBezTo>
                  <a:pt x="105" y="61"/>
                  <a:pt x="105" y="61"/>
                  <a:pt x="105" y="61"/>
                </a:cubicBezTo>
                <a:cubicBezTo>
                  <a:pt x="104" y="61"/>
                  <a:pt x="104" y="61"/>
                  <a:pt x="104" y="61"/>
                </a:cubicBezTo>
                <a:cubicBezTo>
                  <a:pt x="105" y="61"/>
                  <a:pt x="105" y="61"/>
                  <a:pt x="105" y="61"/>
                </a:cubicBezTo>
                <a:cubicBezTo>
                  <a:pt x="104" y="62"/>
                  <a:pt x="104" y="62"/>
                  <a:pt x="104" y="62"/>
                </a:cubicBezTo>
                <a:cubicBezTo>
                  <a:pt x="103" y="63"/>
                  <a:pt x="103" y="63"/>
                  <a:pt x="103" y="63"/>
                </a:cubicBezTo>
                <a:cubicBezTo>
                  <a:pt x="102" y="62"/>
                  <a:pt x="102" y="62"/>
                  <a:pt x="102" y="62"/>
                </a:cubicBezTo>
                <a:cubicBezTo>
                  <a:pt x="101" y="63"/>
                  <a:pt x="101" y="63"/>
                  <a:pt x="101" y="63"/>
                </a:cubicBezTo>
                <a:cubicBezTo>
                  <a:pt x="100" y="63"/>
                  <a:pt x="100" y="63"/>
                  <a:pt x="100" y="63"/>
                </a:cubicBezTo>
                <a:cubicBezTo>
                  <a:pt x="99" y="63"/>
                  <a:pt x="99" y="63"/>
                  <a:pt x="99" y="63"/>
                </a:cubicBezTo>
                <a:cubicBezTo>
                  <a:pt x="97" y="63"/>
                  <a:pt x="97" y="63"/>
                  <a:pt x="97" y="63"/>
                </a:cubicBezTo>
                <a:cubicBezTo>
                  <a:pt x="97" y="62"/>
                  <a:pt x="97" y="62"/>
                  <a:pt x="97" y="62"/>
                </a:cubicBezTo>
                <a:cubicBezTo>
                  <a:pt x="96" y="63"/>
                  <a:pt x="96" y="63"/>
                  <a:pt x="96" y="63"/>
                </a:cubicBezTo>
                <a:cubicBezTo>
                  <a:pt x="95" y="63"/>
                  <a:pt x="95" y="63"/>
                  <a:pt x="95" y="63"/>
                </a:cubicBezTo>
                <a:cubicBezTo>
                  <a:pt x="95" y="61"/>
                  <a:pt x="95" y="61"/>
                  <a:pt x="95" y="61"/>
                </a:cubicBezTo>
                <a:cubicBezTo>
                  <a:pt x="95" y="60"/>
                  <a:pt x="95" y="60"/>
                  <a:pt x="95" y="60"/>
                </a:cubicBezTo>
                <a:cubicBezTo>
                  <a:pt x="94" y="57"/>
                  <a:pt x="94" y="57"/>
                  <a:pt x="94" y="57"/>
                </a:cubicBezTo>
                <a:cubicBezTo>
                  <a:pt x="93" y="56"/>
                  <a:pt x="93" y="56"/>
                  <a:pt x="93" y="56"/>
                </a:cubicBezTo>
                <a:cubicBezTo>
                  <a:pt x="93" y="55"/>
                  <a:pt x="93" y="55"/>
                  <a:pt x="93" y="55"/>
                </a:cubicBezTo>
                <a:cubicBezTo>
                  <a:pt x="94" y="55"/>
                  <a:pt x="94" y="55"/>
                  <a:pt x="94" y="55"/>
                </a:cubicBezTo>
                <a:cubicBezTo>
                  <a:pt x="94" y="53"/>
                  <a:pt x="94" y="53"/>
                  <a:pt x="94" y="53"/>
                </a:cubicBezTo>
                <a:cubicBezTo>
                  <a:pt x="94" y="52"/>
                  <a:pt x="94" y="52"/>
                  <a:pt x="94" y="52"/>
                </a:cubicBezTo>
                <a:cubicBezTo>
                  <a:pt x="94" y="51"/>
                  <a:pt x="94" y="51"/>
                  <a:pt x="94" y="51"/>
                </a:cubicBezTo>
                <a:cubicBezTo>
                  <a:pt x="92" y="49"/>
                  <a:pt x="92" y="49"/>
                  <a:pt x="92" y="49"/>
                </a:cubicBezTo>
                <a:cubicBezTo>
                  <a:pt x="90" y="48"/>
                  <a:pt x="90" y="48"/>
                  <a:pt x="90" y="48"/>
                </a:cubicBezTo>
                <a:cubicBezTo>
                  <a:pt x="89" y="48"/>
                  <a:pt x="89" y="48"/>
                  <a:pt x="89" y="48"/>
                </a:cubicBezTo>
                <a:cubicBezTo>
                  <a:pt x="89" y="48"/>
                  <a:pt x="89" y="48"/>
                  <a:pt x="89" y="48"/>
                </a:cubicBezTo>
                <a:cubicBezTo>
                  <a:pt x="90" y="47"/>
                  <a:pt x="90" y="47"/>
                  <a:pt x="90" y="47"/>
                </a:cubicBezTo>
                <a:cubicBezTo>
                  <a:pt x="91" y="47"/>
                  <a:pt x="91" y="47"/>
                  <a:pt x="91" y="47"/>
                </a:cubicBezTo>
                <a:cubicBezTo>
                  <a:pt x="93" y="46"/>
                  <a:pt x="93" y="46"/>
                  <a:pt x="93" y="46"/>
                </a:cubicBezTo>
                <a:cubicBezTo>
                  <a:pt x="95" y="45"/>
                  <a:pt x="95" y="45"/>
                  <a:pt x="95" y="45"/>
                </a:cubicBezTo>
                <a:cubicBezTo>
                  <a:pt x="96" y="45"/>
                  <a:pt x="96" y="45"/>
                  <a:pt x="96" y="45"/>
                </a:cubicBezTo>
                <a:cubicBezTo>
                  <a:pt x="95" y="45"/>
                  <a:pt x="95" y="45"/>
                  <a:pt x="95" y="45"/>
                </a:cubicBezTo>
                <a:cubicBezTo>
                  <a:pt x="93" y="46"/>
                  <a:pt x="93" y="46"/>
                  <a:pt x="93" y="46"/>
                </a:cubicBezTo>
                <a:cubicBezTo>
                  <a:pt x="91" y="46"/>
                  <a:pt x="91" y="46"/>
                  <a:pt x="91" y="46"/>
                </a:cubicBezTo>
                <a:cubicBezTo>
                  <a:pt x="90" y="46"/>
                  <a:pt x="90" y="46"/>
                  <a:pt x="90" y="46"/>
                </a:cubicBezTo>
                <a:cubicBezTo>
                  <a:pt x="89" y="46"/>
                  <a:pt x="89" y="46"/>
                  <a:pt x="89" y="46"/>
                </a:cubicBezTo>
                <a:cubicBezTo>
                  <a:pt x="88" y="44"/>
                  <a:pt x="88" y="44"/>
                  <a:pt x="88" y="44"/>
                </a:cubicBezTo>
                <a:cubicBezTo>
                  <a:pt x="89" y="44"/>
                  <a:pt x="89" y="44"/>
                  <a:pt x="89" y="44"/>
                </a:cubicBezTo>
                <a:cubicBezTo>
                  <a:pt x="89" y="44"/>
                  <a:pt x="89" y="44"/>
                  <a:pt x="89" y="44"/>
                </a:cubicBezTo>
                <a:cubicBezTo>
                  <a:pt x="89" y="43"/>
                  <a:pt x="89" y="43"/>
                  <a:pt x="89" y="43"/>
                </a:cubicBezTo>
                <a:cubicBezTo>
                  <a:pt x="87" y="41"/>
                  <a:pt x="87" y="41"/>
                  <a:pt x="87" y="41"/>
                </a:cubicBezTo>
                <a:cubicBezTo>
                  <a:pt x="87" y="39"/>
                  <a:pt x="87" y="39"/>
                  <a:pt x="87" y="39"/>
                </a:cubicBezTo>
                <a:cubicBezTo>
                  <a:pt x="88" y="38"/>
                  <a:pt x="88" y="38"/>
                  <a:pt x="88" y="38"/>
                </a:cubicBezTo>
                <a:cubicBezTo>
                  <a:pt x="88" y="37"/>
                  <a:pt x="88" y="37"/>
                  <a:pt x="88" y="37"/>
                </a:cubicBezTo>
                <a:cubicBezTo>
                  <a:pt x="87" y="36"/>
                  <a:pt x="87" y="36"/>
                  <a:pt x="87" y="36"/>
                </a:cubicBezTo>
                <a:cubicBezTo>
                  <a:pt x="87" y="36"/>
                  <a:pt x="87" y="36"/>
                  <a:pt x="87" y="36"/>
                </a:cubicBezTo>
                <a:close/>
                <a:moveTo>
                  <a:pt x="250" y="49"/>
                </a:moveTo>
                <a:cubicBezTo>
                  <a:pt x="249" y="49"/>
                  <a:pt x="249" y="49"/>
                  <a:pt x="249" y="49"/>
                </a:cubicBezTo>
                <a:cubicBezTo>
                  <a:pt x="250" y="50"/>
                  <a:pt x="250" y="50"/>
                  <a:pt x="250" y="50"/>
                </a:cubicBezTo>
                <a:cubicBezTo>
                  <a:pt x="251" y="50"/>
                  <a:pt x="251" y="50"/>
                  <a:pt x="251" y="50"/>
                </a:cubicBezTo>
                <a:cubicBezTo>
                  <a:pt x="250" y="49"/>
                  <a:pt x="250" y="49"/>
                  <a:pt x="250" y="49"/>
                </a:cubicBezTo>
                <a:close/>
                <a:moveTo>
                  <a:pt x="253" y="53"/>
                </a:moveTo>
                <a:cubicBezTo>
                  <a:pt x="251" y="53"/>
                  <a:pt x="251" y="53"/>
                  <a:pt x="251" y="53"/>
                </a:cubicBezTo>
                <a:cubicBezTo>
                  <a:pt x="252" y="53"/>
                  <a:pt x="252" y="53"/>
                  <a:pt x="252" y="53"/>
                </a:cubicBezTo>
                <a:cubicBezTo>
                  <a:pt x="253" y="53"/>
                  <a:pt x="253" y="53"/>
                  <a:pt x="253" y="53"/>
                </a:cubicBezTo>
                <a:close/>
                <a:moveTo>
                  <a:pt x="254" y="54"/>
                </a:moveTo>
                <a:cubicBezTo>
                  <a:pt x="254" y="53"/>
                  <a:pt x="254" y="54"/>
                  <a:pt x="254" y="54"/>
                </a:cubicBezTo>
                <a:cubicBezTo>
                  <a:pt x="256" y="55"/>
                  <a:pt x="256" y="55"/>
                  <a:pt x="256" y="55"/>
                </a:cubicBezTo>
                <a:cubicBezTo>
                  <a:pt x="259" y="55"/>
                  <a:pt x="259" y="55"/>
                  <a:pt x="259" y="55"/>
                </a:cubicBezTo>
                <a:cubicBezTo>
                  <a:pt x="262" y="55"/>
                  <a:pt x="262" y="55"/>
                  <a:pt x="262" y="55"/>
                </a:cubicBezTo>
                <a:cubicBezTo>
                  <a:pt x="262" y="54"/>
                  <a:pt x="262" y="54"/>
                  <a:pt x="262" y="54"/>
                </a:cubicBezTo>
                <a:cubicBezTo>
                  <a:pt x="260" y="54"/>
                  <a:pt x="260" y="54"/>
                  <a:pt x="260" y="54"/>
                </a:cubicBezTo>
                <a:cubicBezTo>
                  <a:pt x="259" y="54"/>
                  <a:pt x="259" y="54"/>
                  <a:pt x="259" y="54"/>
                </a:cubicBezTo>
                <a:cubicBezTo>
                  <a:pt x="257" y="54"/>
                  <a:pt x="257" y="54"/>
                  <a:pt x="257" y="54"/>
                </a:cubicBezTo>
                <a:cubicBezTo>
                  <a:pt x="256" y="54"/>
                  <a:pt x="256" y="54"/>
                  <a:pt x="256" y="54"/>
                </a:cubicBezTo>
                <a:cubicBezTo>
                  <a:pt x="254" y="54"/>
                  <a:pt x="254" y="54"/>
                  <a:pt x="254" y="54"/>
                </a:cubicBezTo>
                <a:close/>
                <a:moveTo>
                  <a:pt x="254" y="48"/>
                </a:moveTo>
                <a:cubicBezTo>
                  <a:pt x="255" y="49"/>
                  <a:pt x="255" y="49"/>
                  <a:pt x="255" y="49"/>
                </a:cubicBezTo>
                <a:cubicBezTo>
                  <a:pt x="255" y="48"/>
                  <a:pt x="255" y="48"/>
                  <a:pt x="255" y="48"/>
                </a:cubicBezTo>
                <a:cubicBezTo>
                  <a:pt x="255" y="48"/>
                  <a:pt x="255" y="48"/>
                  <a:pt x="255" y="48"/>
                </a:cubicBezTo>
                <a:cubicBezTo>
                  <a:pt x="256" y="49"/>
                  <a:pt x="256" y="49"/>
                  <a:pt x="256" y="49"/>
                </a:cubicBezTo>
                <a:cubicBezTo>
                  <a:pt x="256" y="50"/>
                  <a:pt x="256" y="50"/>
                  <a:pt x="256" y="50"/>
                </a:cubicBezTo>
                <a:cubicBezTo>
                  <a:pt x="257" y="50"/>
                  <a:pt x="257" y="50"/>
                  <a:pt x="257" y="50"/>
                </a:cubicBezTo>
                <a:cubicBezTo>
                  <a:pt x="258" y="50"/>
                  <a:pt x="258" y="50"/>
                  <a:pt x="258" y="50"/>
                </a:cubicBezTo>
                <a:cubicBezTo>
                  <a:pt x="258" y="51"/>
                  <a:pt x="258" y="51"/>
                  <a:pt x="258" y="51"/>
                </a:cubicBezTo>
                <a:cubicBezTo>
                  <a:pt x="260" y="50"/>
                  <a:pt x="260" y="50"/>
                  <a:pt x="260" y="50"/>
                </a:cubicBezTo>
                <a:cubicBezTo>
                  <a:pt x="259" y="50"/>
                  <a:pt x="259" y="50"/>
                  <a:pt x="259" y="50"/>
                </a:cubicBezTo>
                <a:cubicBezTo>
                  <a:pt x="258" y="49"/>
                  <a:pt x="258" y="49"/>
                  <a:pt x="258" y="49"/>
                </a:cubicBezTo>
                <a:cubicBezTo>
                  <a:pt x="257" y="48"/>
                  <a:pt x="257" y="48"/>
                  <a:pt x="257" y="48"/>
                </a:cubicBezTo>
                <a:cubicBezTo>
                  <a:pt x="256" y="47"/>
                  <a:pt x="256" y="47"/>
                  <a:pt x="256" y="47"/>
                </a:cubicBezTo>
                <a:cubicBezTo>
                  <a:pt x="255" y="47"/>
                  <a:pt x="255" y="47"/>
                  <a:pt x="255" y="47"/>
                </a:cubicBezTo>
                <a:cubicBezTo>
                  <a:pt x="254" y="47"/>
                  <a:pt x="254" y="47"/>
                  <a:pt x="254" y="47"/>
                </a:cubicBezTo>
                <a:cubicBezTo>
                  <a:pt x="254" y="48"/>
                  <a:pt x="254" y="48"/>
                  <a:pt x="254" y="48"/>
                </a:cubicBezTo>
                <a:close/>
                <a:moveTo>
                  <a:pt x="236" y="79"/>
                </a:moveTo>
                <a:cubicBezTo>
                  <a:pt x="236" y="80"/>
                  <a:pt x="236" y="80"/>
                  <a:pt x="236" y="80"/>
                </a:cubicBezTo>
                <a:cubicBezTo>
                  <a:pt x="236" y="81"/>
                  <a:pt x="236" y="81"/>
                  <a:pt x="236" y="81"/>
                </a:cubicBezTo>
                <a:cubicBezTo>
                  <a:pt x="236" y="82"/>
                  <a:pt x="236" y="82"/>
                  <a:pt x="236" y="82"/>
                </a:cubicBezTo>
                <a:cubicBezTo>
                  <a:pt x="236" y="80"/>
                  <a:pt x="236" y="80"/>
                  <a:pt x="236" y="80"/>
                </a:cubicBezTo>
                <a:cubicBezTo>
                  <a:pt x="236" y="79"/>
                  <a:pt x="236" y="79"/>
                  <a:pt x="236" y="79"/>
                </a:cubicBezTo>
                <a:close/>
                <a:moveTo>
                  <a:pt x="239" y="78"/>
                </a:moveTo>
                <a:cubicBezTo>
                  <a:pt x="238" y="78"/>
                  <a:pt x="238" y="78"/>
                  <a:pt x="238" y="78"/>
                </a:cubicBezTo>
                <a:cubicBezTo>
                  <a:pt x="237" y="81"/>
                  <a:pt x="237" y="81"/>
                  <a:pt x="237" y="81"/>
                </a:cubicBezTo>
                <a:cubicBezTo>
                  <a:pt x="237" y="82"/>
                  <a:pt x="237" y="82"/>
                  <a:pt x="237" y="82"/>
                </a:cubicBezTo>
                <a:cubicBezTo>
                  <a:pt x="238" y="81"/>
                  <a:pt x="238" y="81"/>
                  <a:pt x="238" y="81"/>
                </a:cubicBezTo>
                <a:cubicBezTo>
                  <a:pt x="238" y="79"/>
                  <a:pt x="238" y="79"/>
                  <a:pt x="238" y="79"/>
                </a:cubicBezTo>
                <a:cubicBezTo>
                  <a:pt x="239" y="78"/>
                  <a:pt x="239" y="78"/>
                  <a:pt x="239" y="78"/>
                </a:cubicBezTo>
                <a:close/>
                <a:moveTo>
                  <a:pt x="249" y="86"/>
                </a:moveTo>
                <a:cubicBezTo>
                  <a:pt x="248" y="87"/>
                  <a:pt x="248" y="87"/>
                  <a:pt x="248" y="87"/>
                </a:cubicBezTo>
                <a:cubicBezTo>
                  <a:pt x="249" y="87"/>
                  <a:pt x="249" y="87"/>
                  <a:pt x="249" y="87"/>
                </a:cubicBezTo>
                <a:cubicBezTo>
                  <a:pt x="249" y="87"/>
                  <a:pt x="249" y="87"/>
                  <a:pt x="249" y="87"/>
                </a:cubicBezTo>
                <a:cubicBezTo>
                  <a:pt x="249" y="86"/>
                  <a:pt x="249" y="86"/>
                  <a:pt x="249" y="86"/>
                </a:cubicBezTo>
                <a:close/>
                <a:moveTo>
                  <a:pt x="245" y="84"/>
                </a:moveTo>
                <a:cubicBezTo>
                  <a:pt x="245" y="84"/>
                  <a:pt x="245" y="84"/>
                  <a:pt x="245" y="84"/>
                </a:cubicBezTo>
                <a:cubicBezTo>
                  <a:pt x="245" y="84"/>
                  <a:pt x="245" y="84"/>
                  <a:pt x="245" y="84"/>
                </a:cubicBezTo>
                <a:cubicBezTo>
                  <a:pt x="245" y="85"/>
                  <a:pt x="245" y="85"/>
                  <a:pt x="245" y="85"/>
                </a:cubicBezTo>
                <a:cubicBezTo>
                  <a:pt x="245" y="86"/>
                  <a:pt x="245" y="86"/>
                  <a:pt x="245" y="86"/>
                </a:cubicBezTo>
                <a:cubicBezTo>
                  <a:pt x="246" y="86"/>
                  <a:pt x="246" y="86"/>
                  <a:pt x="246" y="86"/>
                </a:cubicBezTo>
                <a:cubicBezTo>
                  <a:pt x="245" y="86"/>
                  <a:pt x="245" y="86"/>
                  <a:pt x="245" y="86"/>
                </a:cubicBezTo>
                <a:cubicBezTo>
                  <a:pt x="245" y="86"/>
                  <a:pt x="245" y="86"/>
                  <a:pt x="245" y="86"/>
                </a:cubicBezTo>
                <a:cubicBezTo>
                  <a:pt x="245" y="87"/>
                  <a:pt x="245" y="87"/>
                  <a:pt x="245" y="87"/>
                </a:cubicBezTo>
                <a:cubicBezTo>
                  <a:pt x="245" y="88"/>
                  <a:pt x="245" y="88"/>
                  <a:pt x="245" y="88"/>
                </a:cubicBezTo>
                <a:cubicBezTo>
                  <a:pt x="246" y="88"/>
                  <a:pt x="246" y="88"/>
                  <a:pt x="246" y="88"/>
                </a:cubicBezTo>
                <a:cubicBezTo>
                  <a:pt x="247" y="87"/>
                  <a:pt x="247" y="87"/>
                  <a:pt x="247" y="87"/>
                </a:cubicBezTo>
                <a:cubicBezTo>
                  <a:pt x="247" y="86"/>
                  <a:pt x="247" y="86"/>
                  <a:pt x="247" y="86"/>
                </a:cubicBezTo>
                <a:cubicBezTo>
                  <a:pt x="247" y="86"/>
                  <a:pt x="247" y="86"/>
                  <a:pt x="247" y="86"/>
                </a:cubicBezTo>
                <a:cubicBezTo>
                  <a:pt x="246" y="85"/>
                  <a:pt x="246" y="85"/>
                  <a:pt x="246" y="85"/>
                </a:cubicBezTo>
                <a:cubicBezTo>
                  <a:pt x="245" y="84"/>
                  <a:pt x="245" y="84"/>
                  <a:pt x="245" y="84"/>
                </a:cubicBezTo>
                <a:close/>
                <a:moveTo>
                  <a:pt x="247" y="84"/>
                </a:moveTo>
                <a:cubicBezTo>
                  <a:pt x="247" y="84"/>
                  <a:pt x="247" y="85"/>
                  <a:pt x="247" y="85"/>
                </a:cubicBezTo>
                <a:cubicBezTo>
                  <a:pt x="247" y="85"/>
                  <a:pt x="247" y="85"/>
                  <a:pt x="247" y="85"/>
                </a:cubicBezTo>
                <a:cubicBezTo>
                  <a:pt x="248" y="86"/>
                  <a:pt x="248" y="86"/>
                  <a:pt x="248" y="86"/>
                </a:cubicBezTo>
                <a:cubicBezTo>
                  <a:pt x="248" y="85"/>
                  <a:pt x="248" y="85"/>
                  <a:pt x="248" y="85"/>
                </a:cubicBezTo>
                <a:cubicBezTo>
                  <a:pt x="248" y="85"/>
                  <a:pt x="248" y="85"/>
                  <a:pt x="248" y="85"/>
                </a:cubicBezTo>
                <a:cubicBezTo>
                  <a:pt x="247" y="84"/>
                  <a:pt x="247" y="84"/>
                  <a:pt x="247" y="84"/>
                </a:cubicBezTo>
                <a:close/>
                <a:moveTo>
                  <a:pt x="246" y="82"/>
                </a:moveTo>
                <a:cubicBezTo>
                  <a:pt x="245" y="82"/>
                  <a:pt x="245" y="82"/>
                  <a:pt x="245" y="82"/>
                </a:cubicBezTo>
                <a:cubicBezTo>
                  <a:pt x="245" y="83"/>
                  <a:pt x="245" y="83"/>
                  <a:pt x="245" y="83"/>
                </a:cubicBezTo>
                <a:cubicBezTo>
                  <a:pt x="246" y="84"/>
                  <a:pt x="246" y="84"/>
                  <a:pt x="246" y="84"/>
                </a:cubicBezTo>
                <a:cubicBezTo>
                  <a:pt x="247" y="84"/>
                  <a:pt x="247" y="84"/>
                  <a:pt x="247" y="84"/>
                </a:cubicBezTo>
                <a:cubicBezTo>
                  <a:pt x="247" y="84"/>
                  <a:pt x="247" y="84"/>
                  <a:pt x="247" y="84"/>
                </a:cubicBezTo>
                <a:cubicBezTo>
                  <a:pt x="246" y="83"/>
                  <a:pt x="246" y="83"/>
                  <a:pt x="246" y="83"/>
                </a:cubicBezTo>
                <a:cubicBezTo>
                  <a:pt x="246" y="82"/>
                  <a:pt x="246" y="82"/>
                  <a:pt x="246" y="82"/>
                </a:cubicBezTo>
                <a:close/>
                <a:moveTo>
                  <a:pt x="248" y="82"/>
                </a:moveTo>
                <a:cubicBezTo>
                  <a:pt x="247" y="82"/>
                  <a:pt x="247" y="82"/>
                  <a:pt x="247" y="82"/>
                </a:cubicBezTo>
                <a:cubicBezTo>
                  <a:pt x="246" y="83"/>
                  <a:pt x="246" y="83"/>
                  <a:pt x="246" y="83"/>
                </a:cubicBezTo>
                <a:cubicBezTo>
                  <a:pt x="246" y="83"/>
                  <a:pt x="246" y="83"/>
                  <a:pt x="246" y="83"/>
                </a:cubicBezTo>
                <a:cubicBezTo>
                  <a:pt x="248" y="84"/>
                  <a:pt x="248" y="84"/>
                  <a:pt x="248" y="84"/>
                </a:cubicBezTo>
                <a:cubicBezTo>
                  <a:pt x="248" y="84"/>
                  <a:pt x="248" y="84"/>
                  <a:pt x="248" y="84"/>
                </a:cubicBezTo>
                <a:cubicBezTo>
                  <a:pt x="249" y="83"/>
                  <a:pt x="249" y="83"/>
                  <a:pt x="249" y="83"/>
                </a:cubicBezTo>
                <a:cubicBezTo>
                  <a:pt x="249" y="83"/>
                  <a:pt x="249" y="83"/>
                  <a:pt x="249" y="83"/>
                </a:cubicBezTo>
                <a:cubicBezTo>
                  <a:pt x="249" y="82"/>
                  <a:pt x="249" y="82"/>
                  <a:pt x="249" y="82"/>
                </a:cubicBezTo>
                <a:cubicBezTo>
                  <a:pt x="249" y="82"/>
                  <a:pt x="249" y="82"/>
                  <a:pt x="249" y="82"/>
                </a:cubicBezTo>
                <a:cubicBezTo>
                  <a:pt x="248" y="82"/>
                  <a:pt x="248" y="82"/>
                  <a:pt x="248" y="82"/>
                </a:cubicBezTo>
                <a:cubicBezTo>
                  <a:pt x="248" y="82"/>
                  <a:pt x="248" y="82"/>
                  <a:pt x="248" y="82"/>
                </a:cubicBezTo>
                <a:close/>
                <a:moveTo>
                  <a:pt x="246" y="80"/>
                </a:moveTo>
                <a:cubicBezTo>
                  <a:pt x="245" y="80"/>
                  <a:pt x="245" y="80"/>
                  <a:pt x="245" y="80"/>
                </a:cubicBezTo>
                <a:cubicBezTo>
                  <a:pt x="245" y="81"/>
                  <a:pt x="245" y="81"/>
                  <a:pt x="245" y="81"/>
                </a:cubicBezTo>
                <a:cubicBezTo>
                  <a:pt x="246" y="81"/>
                  <a:pt x="246" y="81"/>
                  <a:pt x="246" y="81"/>
                </a:cubicBezTo>
                <a:cubicBezTo>
                  <a:pt x="246" y="80"/>
                  <a:pt x="246" y="80"/>
                  <a:pt x="246" y="80"/>
                </a:cubicBezTo>
                <a:close/>
                <a:moveTo>
                  <a:pt x="248" y="78"/>
                </a:moveTo>
                <a:cubicBezTo>
                  <a:pt x="248" y="79"/>
                  <a:pt x="248" y="79"/>
                  <a:pt x="248" y="79"/>
                </a:cubicBezTo>
                <a:cubicBezTo>
                  <a:pt x="249" y="79"/>
                  <a:pt x="249" y="79"/>
                  <a:pt x="249" y="79"/>
                </a:cubicBezTo>
                <a:cubicBezTo>
                  <a:pt x="248" y="78"/>
                  <a:pt x="248" y="78"/>
                  <a:pt x="248" y="78"/>
                </a:cubicBezTo>
                <a:cubicBezTo>
                  <a:pt x="248" y="78"/>
                  <a:pt x="248" y="78"/>
                  <a:pt x="248" y="78"/>
                </a:cubicBezTo>
                <a:close/>
                <a:moveTo>
                  <a:pt x="247" y="79"/>
                </a:moveTo>
                <a:cubicBezTo>
                  <a:pt x="247" y="79"/>
                  <a:pt x="247" y="79"/>
                  <a:pt x="247" y="79"/>
                </a:cubicBezTo>
                <a:cubicBezTo>
                  <a:pt x="246" y="80"/>
                  <a:pt x="246" y="80"/>
                  <a:pt x="246" y="80"/>
                </a:cubicBezTo>
                <a:cubicBezTo>
                  <a:pt x="246" y="80"/>
                  <a:pt x="246" y="80"/>
                  <a:pt x="246" y="80"/>
                </a:cubicBezTo>
                <a:cubicBezTo>
                  <a:pt x="246" y="80"/>
                  <a:pt x="246" y="80"/>
                  <a:pt x="246" y="80"/>
                </a:cubicBezTo>
                <a:cubicBezTo>
                  <a:pt x="246" y="80"/>
                  <a:pt x="246" y="80"/>
                  <a:pt x="246" y="80"/>
                </a:cubicBezTo>
                <a:cubicBezTo>
                  <a:pt x="247" y="80"/>
                  <a:pt x="247" y="80"/>
                  <a:pt x="247" y="80"/>
                </a:cubicBezTo>
                <a:cubicBezTo>
                  <a:pt x="246" y="81"/>
                  <a:pt x="246" y="81"/>
                  <a:pt x="246" y="81"/>
                </a:cubicBezTo>
                <a:cubicBezTo>
                  <a:pt x="246" y="82"/>
                  <a:pt x="246" y="82"/>
                  <a:pt x="246" y="82"/>
                </a:cubicBezTo>
                <a:cubicBezTo>
                  <a:pt x="247" y="82"/>
                  <a:pt x="247" y="82"/>
                  <a:pt x="247" y="82"/>
                </a:cubicBezTo>
                <a:cubicBezTo>
                  <a:pt x="248" y="81"/>
                  <a:pt x="248" y="81"/>
                  <a:pt x="248" y="81"/>
                </a:cubicBezTo>
                <a:cubicBezTo>
                  <a:pt x="248" y="81"/>
                  <a:pt x="248" y="81"/>
                  <a:pt x="248" y="81"/>
                </a:cubicBezTo>
                <a:cubicBezTo>
                  <a:pt x="249" y="80"/>
                  <a:pt x="249" y="80"/>
                  <a:pt x="249" y="80"/>
                </a:cubicBezTo>
                <a:cubicBezTo>
                  <a:pt x="249" y="79"/>
                  <a:pt x="249" y="79"/>
                  <a:pt x="249" y="79"/>
                </a:cubicBezTo>
                <a:cubicBezTo>
                  <a:pt x="248" y="79"/>
                  <a:pt x="248" y="79"/>
                  <a:pt x="248" y="79"/>
                </a:cubicBezTo>
                <a:cubicBezTo>
                  <a:pt x="247" y="79"/>
                  <a:pt x="247" y="79"/>
                  <a:pt x="247" y="79"/>
                </a:cubicBezTo>
                <a:close/>
                <a:moveTo>
                  <a:pt x="231" y="89"/>
                </a:moveTo>
                <a:cubicBezTo>
                  <a:pt x="232" y="88"/>
                  <a:pt x="232" y="88"/>
                  <a:pt x="232" y="88"/>
                </a:cubicBezTo>
                <a:cubicBezTo>
                  <a:pt x="231" y="88"/>
                  <a:pt x="231" y="88"/>
                  <a:pt x="231" y="88"/>
                </a:cubicBezTo>
                <a:cubicBezTo>
                  <a:pt x="231" y="89"/>
                  <a:pt x="231" y="89"/>
                  <a:pt x="231" y="89"/>
                </a:cubicBezTo>
                <a:close/>
                <a:moveTo>
                  <a:pt x="230" y="89"/>
                </a:moveTo>
                <a:cubicBezTo>
                  <a:pt x="231" y="90"/>
                  <a:pt x="231" y="90"/>
                  <a:pt x="231" y="90"/>
                </a:cubicBezTo>
                <a:cubicBezTo>
                  <a:pt x="231" y="89"/>
                  <a:pt x="231" y="89"/>
                  <a:pt x="231" y="89"/>
                </a:cubicBezTo>
                <a:cubicBezTo>
                  <a:pt x="230" y="89"/>
                  <a:pt x="230" y="89"/>
                  <a:pt x="230" y="89"/>
                </a:cubicBezTo>
                <a:close/>
                <a:moveTo>
                  <a:pt x="224" y="92"/>
                </a:moveTo>
                <a:cubicBezTo>
                  <a:pt x="224" y="92"/>
                  <a:pt x="224" y="92"/>
                  <a:pt x="224" y="92"/>
                </a:cubicBezTo>
                <a:cubicBezTo>
                  <a:pt x="224" y="92"/>
                  <a:pt x="224" y="92"/>
                  <a:pt x="224" y="92"/>
                </a:cubicBezTo>
                <a:cubicBezTo>
                  <a:pt x="224" y="92"/>
                  <a:pt x="224" y="92"/>
                  <a:pt x="224" y="92"/>
                </a:cubicBezTo>
                <a:close/>
                <a:moveTo>
                  <a:pt x="226" y="91"/>
                </a:moveTo>
                <a:cubicBezTo>
                  <a:pt x="224" y="91"/>
                  <a:pt x="224" y="91"/>
                  <a:pt x="224" y="91"/>
                </a:cubicBezTo>
                <a:cubicBezTo>
                  <a:pt x="225" y="92"/>
                  <a:pt x="225" y="92"/>
                  <a:pt x="225" y="92"/>
                </a:cubicBezTo>
                <a:cubicBezTo>
                  <a:pt x="226" y="91"/>
                  <a:pt x="226" y="91"/>
                  <a:pt x="226" y="91"/>
                </a:cubicBezTo>
                <a:cubicBezTo>
                  <a:pt x="226" y="91"/>
                  <a:pt x="226" y="91"/>
                  <a:pt x="226" y="91"/>
                </a:cubicBezTo>
                <a:close/>
                <a:moveTo>
                  <a:pt x="226" y="96"/>
                </a:moveTo>
                <a:cubicBezTo>
                  <a:pt x="225" y="96"/>
                  <a:pt x="225" y="96"/>
                  <a:pt x="225" y="96"/>
                </a:cubicBezTo>
                <a:cubicBezTo>
                  <a:pt x="224" y="96"/>
                  <a:pt x="224" y="96"/>
                  <a:pt x="224" y="96"/>
                </a:cubicBezTo>
                <a:cubicBezTo>
                  <a:pt x="224" y="97"/>
                  <a:pt x="224" y="97"/>
                  <a:pt x="224" y="97"/>
                </a:cubicBezTo>
                <a:cubicBezTo>
                  <a:pt x="225" y="97"/>
                  <a:pt x="225" y="97"/>
                  <a:pt x="225" y="97"/>
                </a:cubicBezTo>
                <a:cubicBezTo>
                  <a:pt x="226" y="96"/>
                  <a:pt x="226" y="96"/>
                  <a:pt x="226" y="96"/>
                </a:cubicBezTo>
                <a:cubicBezTo>
                  <a:pt x="226" y="96"/>
                  <a:pt x="226" y="96"/>
                  <a:pt x="226" y="96"/>
                </a:cubicBezTo>
                <a:close/>
                <a:moveTo>
                  <a:pt x="228" y="90"/>
                </a:moveTo>
                <a:cubicBezTo>
                  <a:pt x="226" y="92"/>
                  <a:pt x="226" y="92"/>
                  <a:pt x="226" y="92"/>
                </a:cubicBezTo>
                <a:cubicBezTo>
                  <a:pt x="226" y="93"/>
                  <a:pt x="226" y="93"/>
                  <a:pt x="226" y="93"/>
                </a:cubicBezTo>
                <a:cubicBezTo>
                  <a:pt x="226" y="93"/>
                  <a:pt x="226" y="93"/>
                  <a:pt x="226" y="93"/>
                </a:cubicBezTo>
                <a:cubicBezTo>
                  <a:pt x="226" y="94"/>
                  <a:pt x="226" y="94"/>
                  <a:pt x="226" y="94"/>
                </a:cubicBezTo>
                <a:cubicBezTo>
                  <a:pt x="226" y="95"/>
                  <a:pt x="226" y="95"/>
                  <a:pt x="226" y="95"/>
                </a:cubicBezTo>
                <a:cubicBezTo>
                  <a:pt x="227" y="95"/>
                  <a:pt x="227" y="95"/>
                  <a:pt x="227" y="95"/>
                </a:cubicBezTo>
                <a:cubicBezTo>
                  <a:pt x="227" y="95"/>
                  <a:pt x="227" y="95"/>
                  <a:pt x="227" y="95"/>
                </a:cubicBezTo>
                <a:cubicBezTo>
                  <a:pt x="229" y="93"/>
                  <a:pt x="229" y="93"/>
                  <a:pt x="229" y="93"/>
                </a:cubicBezTo>
                <a:cubicBezTo>
                  <a:pt x="229" y="92"/>
                  <a:pt x="229" y="92"/>
                  <a:pt x="229" y="92"/>
                </a:cubicBezTo>
                <a:cubicBezTo>
                  <a:pt x="229" y="91"/>
                  <a:pt x="229" y="91"/>
                  <a:pt x="229" y="91"/>
                </a:cubicBezTo>
                <a:cubicBezTo>
                  <a:pt x="229" y="90"/>
                  <a:pt x="229" y="90"/>
                  <a:pt x="229" y="90"/>
                </a:cubicBezTo>
                <a:cubicBezTo>
                  <a:pt x="229" y="90"/>
                  <a:pt x="229" y="90"/>
                  <a:pt x="229" y="90"/>
                </a:cubicBezTo>
                <a:cubicBezTo>
                  <a:pt x="229" y="90"/>
                  <a:pt x="229" y="90"/>
                  <a:pt x="229" y="90"/>
                </a:cubicBezTo>
                <a:cubicBezTo>
                  <a:pt x="228" y="90"/>
                  <a:pt x="228" y="90"/>
                  <a:pt x="228" y="90"/>
                </a:cubicBezTo>
                <a:cubicBezTo>
                  <a:pt x="228" y="90"/>
                  <a:pt x="228" y="90"/>
                  <a:pt x="228" y="90"/>
                </a:cubicBezTo>
                <a:close/>
                <a:moveTo>
                  <a:pt x="219" y="84"/>
                </a:moveTo>
                <a:cubicBezTo>
                  <a:pt x="219" y="84"/>
                  <a:pt x="219" y="84"/>
                  <a:pt x="219" y="84"/>
                </a:cubicBezTo>
                <a:cubicBezTo>
                  <a:pt x="219" y="83"/>
                  <a:pt x="219" y="83"/>
                  <a:pt x="219" y="83"/>
                </a:cubicBezTo>
                <a:cubicBezTo>
                  <a:pt x="219" y="84"/>
                  <a:pt x="219" y="84"/>
                  <a:pt x="219" y="84"/>
                </a:cubicBezTo>
                <a:close/>
                <a:moveTo>
                  <a:pt x="216" y="86"/>
                </a:moveTo>
                <a:cubicBezTo>
                  <a:pt x="215" y="87"/>
                  <a:pt x="215" y="87"/>
                  <a:pt x="215" y="87"/>
                </a:cubicBezTo>
                <a:cubicBezTo>
                  <a:pt x="216" y="87"/>
                  <a:pt x="216" y="87"/>
                  <a:pt x="216" y="87"/>
                </a:cubicBezTo>
                <a:cubicBezTo>
                  <a:pt x="216" y="86"/>
                  <a:pt x="216" y="86"/>
                  <a:pt x="216" y="86"/>
                </a:cubicBezTo>
                <a:close/>
                <a:moveTo>
                  <a:pt x="218" y="96"/>
                </a:moveTo>
                <a:cubicBezTo>
                  <a:pt x="217" y="96"/>
                  <a:pt x="217" y="96"/>
                  <a:pt x="217" y="96"/>
                </a:cubicBezTo>
                <a:cubicBezTo>
                  <a:pt x="217" y="96"/>
                  <a:pt x="217" y="96"/>
                  <a:pt x="217" y="96"/>
                </a:cubicBezTo>
                <a:cubicBezTo>
                  <a:pt x="218" y="96"/>
                  <a:pt x="218" y="96"/>
                  <a:pt x="218" y="96"/>
                </a:cubicBezTo>
                <a:close/>
                <a:moveTo>
                  <a:pt x="216" y="94"/>
                </a:moveTo>
                <a:cubicBezTo>
                  <a:pt x="217" y="93"/>
                  <a:pt x="217" y="93"/>
                  <a:pt x="217" y="93"/>
                </a:cubicBezTo>
                <a:cubicBezTo>
                  <a:pt x="217" y="94"/>
                  <a:pt x="217" y="94"/>
                  <a:pt x="217" y="94"/>
                </a:cubicBezTo>
                <a:cubicBezTo>
                  <a:pt x="218" y="95"/>
                  <a:pt x="218" y="95"/>
                  <a:pt x="218" y="95"/>
                </a:cubicBezTo>
                <a:cubicBezTo>
                  <a:pt x="217" y="95"/>
                  <a:pt x="217" y="95"/>
                  <a:pt x="217" y="95"/>
                </a:cubicBezTo>
                <a:cubicBezTo>
                  <a:pt x="216" y="95"/>
                  <a:pt x="216" y="95"/>
                  <a:pt x="216" y="95"/>
                </a:cubicBezTo>
                <a:cubicBezTo>
                  <a:pt x="216" y="94"/>
                  <a:pt x="216" y="94"/>
                  <a:pt x="216" y="94"/>
                </a:cubicBezTo>
                <a:close/>
                <a:moveTo>
                  <a:pt x="209" y="90"/>
                </a:moveTo>
                <a:cubicBezTo>
                  <a:pt x="210" y="89"/>
                  <a:pt x="210" y="89"/>
                  <a:pt x="210" y="89"/>
                </a:cubicBezTo>
                <a:cubicBezTo>
                  <a:pt x="210" y="90"/>
                  <a:pt x="210" y="90"/>
                  <a:pt x="210" y="90"/>
                </a:cubicBezTo>
                <a:cubicBezTo>
                  <a:pt x="210" y="90"/>
                  <a:pt x="210" y="90"/>
                  <a:pt x="210" y="90"/>
                </a:cubicBezTo>
                <a:cubicBezTo>
                  <a:pt x="209" y="90"/>
                  <a:pt x="209" y="90"/>
                  <a:pt x="209" y="90"/>
                </a:cubicBezTo>
                <a:cubicBezTo>
                  <a:pt x="209" y="90"/>
                  <a:pt x="209" y="90"/>
                  <a:pt x="209" y="90"/>
                </a:cubicBezTo>
                <a:close/>
                <a:moveTo>
                  <a:pt x="211" y="97"/>
                </a:moveTo>
                <a:cubicBezTo>
                  <a:pt x="212" y="97"/>
                  <a:pt x="212" y="97"/>
                  <a:pt x="212" y="97"/>
                </a:cubicBezTo>
                <a:cubicBezTo>
                  <a:pt x="212" y="97"/>
                  <a:pt x="212" y="97"/>
                  <a:pt x="212" y="97"/>
                </a:cubicBezTo>
                <a:cubicBezTo>
                  <a:pt x="211" y="97"/>
                  <a:pt x="211" y="97"/>
                  <a:pt x="211" y="97"/>
                </a:cubicBezTo>
                <a:cubicBezTo>
                  <a:pt x="211" y="97"/>
                  <a:pt x="211" y="97"/>
                  <a:pt x="211" y="97"/>
                </a:cubicBezTo>
                <a:close/>
                <a:moveTo>
                  <a:pt x="201" y="93"/>
                </a:moveTo>
                <a:cubicBezTo>
                  <a:pt x="202" y="92"/>
                  <a:pt x="202" y="92"/>
                  <a:pt x="202" y="92"/>
                </a:cubicBezTo>
                <a:cubicBezTo>
                  <a:pt x="201" y="91"/>
                  <a:pt x="201" y="91"/>
                  <a:pt x="201" y="91"/>
                </a:cubicBezTo>
                <a:cubicBezTo>
                  <a:pt x="201" y="92"/>
                  <a:pt x="201" y="92"/>
                  <a:pt x="201" y="92"/>
                </a:cubicBezTo>
                <a:cubicBezTo>
                  <a:pt x="201" y="93"/>
                  <a:pt x="201" y="93"/>
                  <a:pt x="201" y="93"/>
                </a:cubicBezTo>
                <a:close/>
                <a:moveTo>
                  <a:pt x="204" y="96"/>
                </a:moveTo>
                <a:cubicBezTo>
                  <a:pt x="206" y="96"/>
                  <a:pt x="206" y="96"/>
                  <a:pt x="206" y="96"/>
                </a:cubicBezTo>
                <a:cubicBezTo>
                  <a:pt x="207" y="96"/>
                  <a:pt x="207" y="96"/>
                  <a:pt x="207" y="96"/>
                </a:cubicBezTo>
                <a:cubicBezTo>
                  <a:pt x="207" y="97"/>
                  <a:pt x="207" y="97"/>
                  <a:pt x="207" y="97"/>
                </a:cubicBezTo>
                <a:cubicBezTo>
                  <a:pt x="206" y="97"/>
                  <a:pt x="206" y="97"/>
                  <a:pt x="206" y="97"/>
                </a:cubicBezTo>
                <a:cubicBezTo>
                  <a:pt x="204" y="97"/>
                  <a:pt x="204" y="97"/>
                  <a:pt x="204" y="97"/>
                </a:cubicBezTo>
                <a:cubicBezTo>
                  <a:pt x="204" y="96"/>
                  <a:pt x="204" y="96"/>
                  <a:pt x="204" y="96"/>
                </a:cubicBezTo>
                <a:close/>
                <a:moveTo>
                  <a:pt x="202" y="97"/>
                </a:moveTo>
                <a:cubicBezTo>
                  <a:pt x="203" y="96"/>
                  <a:pt x="203" y="96"/>
                  <a:pt x="203" y="96"/>
                </a:cubicBezTo>
                <a:cubicBezTo>
                  <a:pt x="203" y="97"/>
                  <a:pt x="203" y="97"/>
                  <a:pt x="203" y="97"/>
                </a:cubicBezTo>
                <a:cubicBezTo>
                  <a:pt x="202" y="97"/>
                  <a:pt x="202" y="97"/>
                  <a:pt x="202" y="97"/>
                </a:cubicBezTo>
                <a:close/>
                <a:moveTo>
                  <a:pt x="200" y="96"/>
                </a:moveTo>
                <a:cubicBezTo>
                  <a:pt x="200" y="96"/>
                  <a:pt x="200" y="96"/>
                  <a:pt x="200" y="96"/>
                </a:cubicBezTo>
                <a:cubicBezTo>
                  <a:pt x="201" y="96"/>
                  <a:pt x="201" y="96"/>
                  <a:pt x="201" y="96"/>
                </a:cubicBezTo>
                <a:cubicBezTo>
                  <a:pt x="200" y="97"/>
                  <a:pt x="200" y="97"/>
                  <a:pt x="200" y="97"/>
                </a:cubicBezTo>
                <a:cubicBezTo>
                  <a:pt x="200" y="96"/>
                  <a:pt x="200" y="96"/>
                  <a:pt x="200" y="96"/>
                </a:cubicBezTo>
                <a:close/>
                <a:moveTo>
                  <a:pt x="176" y="109"/>
                </a:moveTo>
                <a:cubicBezTo>
                  <a:pt x="176" y="111"/>
                  <a:pt x="176" y="111"/>
                  <a:pt x="176" y="111"/>
                </a:cubicBezTo>
                <a:cubicBezTo>
                  <a:pt x="176" y="111"/>
                  <a:pt x="176" y="111"/>
                  <a:pt x="176" y="111"/>
                </a:cubicBezTo>
                <a:cubicBezTo>
                  <a:pt x="178" y="111"/>
                  <a:pt x="178" y="111"/>
                  <a:pt x="178" y="111"/>
                </a:cubicBezTo>
                <a:cubicBezTo>
                  <a:pt x="180" y="110"/>
                  <a:pt x="180" y="110"/>
                  <a:pt x="180" y="110"/>
                </a:cubicBezTo>
                <a:cubicBezTo>
                  <a:pt x="181" y="110"/>
                  <a:pt x="181" y="110"/>
                  <a:pt x="181" y="110"/>
                </a:cubicBezTo>
                <a:cubicBezTo>
                  <a:pt x="182" y="110"/>
                  <a:pt x="182" y="110"/>
                  <a:pt x="182" y="110"/>
                </a:cubicBezTo>
                <a:cubicBezTo>
                  <a:pt x="184" y="109"/>
                  <a:pt x="184" y="109"/>
                  <a:pt x="184" y="109"/>
                </a:cubicBezTo>
                <a:cubicBezTo>
                  <a:pt x="184" y="108"/>
                  <a:pt x="184" y="108"/>
                  <a:pt x="184" y="108"/>
                </a:cubicBezTo>
                <a:cubicBezTo>
                  <a:pt x="187" y="106"/>
                  <a:pt x="187" y="106"/>
                  <a:pt x="187" y="106"/>
                </a:cubicBezTo>
                <a:cubicBezTo>
                  <a:pt x="187" y="105"/>
                  <a:pt x="187" y="105"/>
                  <a:pt x="187" y="105"/>
                </a:cubicBezTo>
                <a:cubicBezTo>
                  <a:pt x="188" y="105"/>
                  <a:pt x="188" y="105"/>
                  <a:pt x="188" y="105"/>
                </a:cubicBezTo>
                <a:cubicBezTo>
                  <a:pt x="186" y="104"/>
                  <a:pt x="186" y="104"/>
                  <a:pt x="186" y="104"/>
                </a:cubicBezTo>
                <a:cubicBezTo>
                  <a:pt x="185" y="102"/>
                  <a:pt x="185" y="102"/>
                  <a:pt x="185" y="102"/>
                </a:cubicBezTo>
                <a:cubicBezTo>
                  <a:pt x="185" y="102"/>
                  <a:pt x="185" y="102"/>
                  <a:pt x="185" y="102"/>
                </a:cubicBezTo>
                <a:cubicBezTo>
                  <a:pt x="183" y="103"/>
                  <a:pt x="183" y="103"/>
                  <a:pt x="183" y="103"/>
                </a:cubicBezTo>
                <a:cubicBezTo>
                  <a:pt x="183" y="104"/>
                  <a:pt x="183" y="104"/>
                  <a:pt x="183" y="104"/>
                </a:cubicBezTo>
                <a:cubicBezTo>
                  <a:pt x="182" y="104"/>
                  <a:pt x="182" y="104"/>
                  <a:pt x="182" y="104"/>
                </a:cubicBezTo>
                <a:cubicBezTo>
                  <a:pt x="181" y="105"/>
                  <a:pt x="181" y="105"/>
                  <a:pt x="181" y="105"/>
                </a:cubicBezTo>
                <a:cubicBezTo>
                  <a:pt x="180" y="104"/>
                  <a:pt x="180" y="104"/>
                  <a:pt x="180" y="104"/>
                </a:cubicBezTo>
                <a:cubicBezTo>
                  <a:pt x="180" y="104"/>
                  <a:pt x="180" y="104"/>
                  <a:pt x="180" y="104"/>
                </a:cubicBezTo>
                <a:cubicBezTo>
                  <a:pt x="178" y="105"/>
                  <a:pt x="178" y="105"/>
                  <a:pt x="178" y="105"/>
                </a:cubicBezTo>
                <a:cubicBezTo>
                  <a:pt x="178" y="106"/>
                  <a:pt x="178" y="106"/>
                  <a:pt x="178" y="106"/>
                </a:cubicBezTo>
                <a:cubicBezTo>
                  <a:pt x="177" y="108"/>
                  <a:pt x="177" y="108"/>
                  <a:pt x="177" y="108"/>
                </a:cubicBezTo>
                <a:cubicBezTo>
                  <a:pt x="177" y="109"/>
                  <a:pt x="177" y="109"/>
                  <a:pt x="177" y="109"/>
                </a:cubicBezTo>
                <a:cubicBezTo>
                  <a:pt x="177" y="109"/>
                  <a:pt x="177" y="109"/>
                  <a:pt x="177" y="109"/>
                </a:cubicBezTo>
                <a:cubicBezTo>
                  <a:pt x="177" y="110"/>
                  <a:pt x="177" y="110"/>
                  <a:pt x="177" y="110"/>
                </a:cubicBezTo>
                <a:cubicBezTo>
                  <a:pt x="177" y="110"/>
                  <a:pt x="177" y="110"/>
                  <a:pt x="177" y="110"/>
                </a:cubicBezTo>
                <a:cubicBezTo>
                  <a:pt x="176" y="109"/>
                  <a:pt x="176" y="109"/>
                  <a:pt x="176" y="109"/>
                </a:cubicBezTo>
                <a:close/>
                <a:moveTo>
                  <a:pt x="175" y="111"/>
                </a:moveTo>
                <a:cubicBezTo>
                  <a:pt x="175" y="110"/>
                  <a:pt x="175" y="110"/>
                  <a:pt x="175" y="110"/>
                </a:cubicBezTo>
                <a:cubicBezTo>
                  <a:pt x="175" y="110"/>
                  <a:pt x="175" y="110"/>
                  <a:pt x="175" y="110"/>
                </a:cubicBezTo>
                <a:cubicBezTo>
                  <a:pt x="174" y="111"/>
                  <a:pt x="174" y="111"/>
                  <a:pt x="174" y="111"/>
                </a:cubicBezTo>
                <a:cubicBezTo>
                  <a:pt x="175" y="111"/>
                  <a:pt x="175" y="111"/>
                  <a:pt x="175" y="111"/>
                </a:cubicBezTo>
                <a:close/>
                <a:moveTo>
                  <a:pt x="175" y="112"/>
                </a:moveTo>
                <a:cubicBezTo>
                  <a:pt x="174" y="112"/>
                  <a:pt x="174" y="112"/>
                  <a:pt x="174" y="112"/>
                </a:cubicBezTo>
                <a:cubicBezTo>
                  <a:pt x="174" y="113"/>
                  <a:pt x="174" y="113"/>
                  <a:pt x="174" y="113"/>
                </a:cubicBezTo>
                <a:cubicBezTo>
                  <a:pt x="172" y="113"/>
                  <a:pt x="172" y="113"/>
                  <a:pt x="172" y="113"/>
                </a:cubicBezTo>
                <a:cubicBezTo>
                  <a:pt x="171" y="114"/>
                  <a:pt x="171" y="114"/>
                  <a:pt x="171" y="114"/>
                </a:cubicBezTo>
                <a:cubicBezTo>
                  <a:pt x="172" y="115"/>
                  <a:pt x="172" y="115"/>
                  <a:pt x="172" y="115"/>
                </a:cubicBezTo>
                <a:cubicBezTo>
                  <a:pt x="175" y="113"/>
                  <a:pt x="175" y="113"/>
                  <a:pt x="175" y="113"/>
                </a:cubicBezTo>
                <a:cubicBezTo>
                  <a:pt x="175" y="112"/>
                  <a:pt x="175" y="112"/>
                  <a:pt x="175" y="112"/>
                </a:cubicBezTo>
                <a:cubicBezTo>
                  <a:pt x="175" y="112"/>
                  <a:pt x="175" y="112"/>
                  <a:pt x="175" y="112"/>
                </a:cubicBezTo>
                <a:close/>
                <a:moveTo>
                  <a:pt x="166" y="111"/>
                </a:moveTo>
                <a:cubicBezTo>
                  <a:pt x="166" y="112"/>
                  <a:pt x="166" y="112"/>
                  <a:pt x="166" y="112"/>
                </a:cubicBezTo>
                <a:cubicBezTo>
                  <a:pt x="167" y="113"/>
                  <a:pt x="167" y="113"/>
                  <a:pt x="167" y="113"/>
                </a:cubicBezTo>
                <a:cubicBezTo>
                  <a:pt x="166" y="113"/>
                  <a:pt x="166" y="113"/>
                  <a:pt x="166" y="113"/>
                </a:cubicBezTo>
                <a:cubicBezTo>
                  <a:pt x="165" y="113"/>
                  <a:pt x="165" y="113"/>
                  <a:pt x="165" y="113"/>
                </a:cubicBezTo>
                <a:cubicBezTo>
                  <a:pt x="165" y="112"/>
                  <a:pt x="165" y="112"/>
                  <a:pt x="165" y="112"/>
                </a:cubicBezTo>
                <a:cubicBezTo>
                  <a:pt x="166" y="111"/>
                  <a:pt x="166" y="111"/>
                  <a:pt x="166" y="111"/>
                </a:cubicBezTo>
                <a:close/>
                <a:moveTo>
                  <a:pt x="148" y="105"/>
                </a:moveTo>
                <a:cubicBezTo>
                  <a:pt x="150" y="103"/>
                  <a:pt x="150" y="103"/>
                  <a:pt x="150" y="103"/>
                </a:cubicBezTo>
                <a:cubicBezTo>
                  <a:pt x="152" y="105"/>
                  <a:pt x="152" y="105"/>
                  <a:pt x="152" y="105"/>
                </a:cubicBezTo>
                <a:cubicBezTo>
                  <a:pt x="153" y="105"/>
                  <a:pt x="153" y="105"/>
                  <a:pt x="153" y="105"/>
                </a:cubicBezTo>
                <a:cubicBezTo>
                  <a:pt x="154" y="104"/>
                  <a:pt x="154" y="104"/>
                  <a:pt x="154" y="104"/>
                </a:cubicBezTo>
                <a:cubicBezTo>
                  <a:pt x="156" y="105"/>
                  <a:pt x="156" y="105"/>
                  <a:pt x="156" y="105"/>
                </a:cubicBezTo>
                <a:cubicBezTo>
                  <a:pt x="156" y="106"/>
                  <a:pt x="156" y="106"/>
                  <a:pt x="156" y="106"/>
                </a:cubicBezTo>
                <a:cubicBezTo>
                  <a:pt x="157" y="106"/>
                  <a:pt x="157" y="106"/>
                  <a:pt x="157" y="106"/>
                </a:cubicBezTo>
                <a:cubicBezTo>
                  <a:pt x="158" y="108"/>
                  <a:pt x="158" y="108"/>
                  <a:pt x="158" y="108"/>
                </a:cubicBezTo>
                <a:cubicBezTo>
                  <a:pt x="159" y="108"/>
                  <a:pt x="159" y="108"/>
                  <a:pt x="159" y="108"/>
                </a:cubicBezTo>
                <a:cubicBezTo>
                  <a:pt x="159" y="109"/>
                  <a:pt x="159" y="109"/>
                  <a:pt x="159" y="109"/>
                </a:cubicBezTo>
                <a:cubicBezTo>
                  <a:pt x="158" y="110"/>
                  <a:pt x="158" y="110"/>
                  <a:pt x="158" y="110"/>
                </a:cubicBezTo>
                <a:cubicBezTo>
                  <a:pt x="156" y="110"/>
                  <a:pt x="156" y="110"/>
                  <a:pt x="156" y="110"/>
                </a:cubicBezTo>
                <a:cubicBezTo>
                  <a:pt x="155" y="110"/>
                  <a:pt x="155" y="110"/>
                  <a:pt x="155" y="110"/>
                </a:cubicBezTo>
                <a:cubicBezTo>
                  <a:pt x="154" y="108"/>
                  <a:pt x="154" y="108"/>
                  <a:pt x="154" y="108"/>
                </a:cubicBezTo>
                <a:cubicBezTo>
                  <a:pt x="153" y="108"/>
                  <a:pt x="153" y="108"/>
                  <a:pt x="153" y="108"/>
                </a:cubicBezTo>
                <a:cubicBezTo>
                  <a:pt x="152" y="107"/>
                  <a:pt x="152" y="107"/>
                  <a:pt x="152" y="107"/>
                </a:cubicBezTo>
                <a:cubicBezTo>
                  <a:pt x="150" y="107"/>
                  <a:pt x="150" y="107"/>
                  <a:pt x="150" y="107"/>
                </a:cubicBezTo>
                <a:cubicBezTo>
                  <a:pt x="148" y="107"/>
                  <a:pt x="148" y="107"/>
                  <a:pt x="148" y="107"/>
                </a:cubicBezTo>
                <a:cubicBezTo>
                  <a:pt x="147" y="106"/>
                  <a:pt x="147" y="106"/>
                  <a:pt x="147" y="106"/>
                </a:cubicBezTo>
                <a:cubicBezTo>
                  <a:pt x="148" y="105"/>
                  <a:pt x="148" y="105"/>
                  <a:pt x="148" y="105"/>
                </a:cubicBezTo>
                <a:close/>
                <a:moveTo>
                  <a:pt x="128" y="90"/>
                </a:moveTo>
                <a:cubicBezTo>
                  <a:pt x="129" y="90"/>
                  <a:pt x="129" y="90"/>
                  <a:pt x="129" y="90"/>
                </a:cubicBezTo>
                <a:cubicBezTo>
                  <a:pt x="129" y="90"/>
                  <a:pt x="129" y="90"/>
                  <a:pt x="129" y="90"/>
                </a:cubicBezTo>
                <a:cubicBezTo>
                  <a:pt x="129" y="91"/>
                  <a:pt x="129" y="91"/>
                  <a:pt x="129" y="91"/>
                </a:cubicBezTo>
                <a:cubicBezTo>
                  <a:pt x="128" y="91"/>
                  <a:pt x="128" y="91"/>
                  <a:pt x="128" y="91"/>
                </a:cubicBezTo>
                <a:cubicBezTo>
                  <a:pt x="128" y="90"/>
                  <a:pt x="128" y="90"/>
                  <a:pt x="128" y="90"/>
                </a:cubicBezTo>
                <a:close/>
                <a:moveTo>
                  <a:pt x="124" y="88"/>
                </a:moveTo>
                <a:cubicBezTo>
                  <a:pt x="125" y="89"/>
                  <a:pt x="125" y="89"/>
                  <a:pt x="125" y="89"/>
                </a:cubicBezTo>
                <a:cubicBezTo>
                  <a:pt x="126" y="88"/>
                  <a:pt x="126" y="88"/>
                  <a:pt x="126" y="88"/>
                </a:cubicBezTo>
                <a:cubicBezTo>
                  <a:pt x="127" y="89"/>
                  <a:pt x="127" y="89"/>
                  <a:pt x="127" y="89"/>
                </a:cubicBezTo>
                <a:cubicBezTo>
                  <a:pt x="127" y="89"/>
                  <a:pt x="127" y="89"/>
                  <a:pt x="127" y="89"/>
                </a:cubicBezTo>
                <a:cubicBezTo>
                  <a:pt x="127" y="88"/>
                  <a:pt x="127" y="88"/>
                  <a:pt x="127" y="88"/>
                </a:cubicBezTo>
                <a:cubicBezTo>
                  <a:pt x="126" y="88"/>
                  <a:pt x="126" y="88"/>
                  <a:pt x="126" y="88"/>
                </a:cubicBezTo>
                <a:cubicBezTo>
                  <a:pt x="125" y="88"/>
                  <a:pt x="125" y="88"/>
                  <a:pt x="125" y="88"/>
                </a:cubicBezTo>
                <a:cubicBezTo>
                  <a:pt x="124" y="88"/>
                  <a:pt x="124" y="88"/>
                  <a:pt x="124" y="88"/>
                </a:cubicBezTo>
                <a:cubicBezTo>
                  <a:pt x="124" y="88"/>
                  <a:pt x="124" y="88"/>
                  <a:pt x="124" y="88"/>
                </a:cubicBezTo>
                <a:close/>
                <a:moveTo>
                  <a:pt x="192" y="95"/>
                </a:moveTo>
                <a:cubicBezTo>
                  <a:pt x="193" y="94"/>
                  <a:pt x="193" y="94"/>
                  <a:pt x="193" y="94"/>
                </a:cubicBezTo>
                <a:cubicBezTo>
                  <a:pt x="195" y="94"/>
                  <a:pt x="195" y="94"/>
                  <a:pt x="195" y="94"/>
                </a:cubicBezTo>
                <a:cubicBezTo>
                  <a:pt x="196" y="95"/>
                  <a:pt x="196" y="95"/>
                  <a:pt x="196" y="95"/>
                </a:cubicBezTo>
                <a:cubicBezTo>
                  <a:pt x="196" y="94"/>
                  <a:pt x="196" y="94"/>
                  <a:pt x="196" y="94"/>
                </a:cubicBezTo>
                <a:cubicBezTo>
                  <a:pt x="197" y="94"/>
                  <a:pt x="197" y="94"/>
                  <a:pt x="197" y="94"/>
                </a:cubicBezTo>
                <a:cubicBezTo>
                  <a:pt x="198" y="93"/>
                  <a:pt x="198" y="93"/>
                  <a:pt x="198" y="93"/>
                </a:cubicBezTo>
                <a:cubicBezTo>
                  <a:pt x="198" y="93"/>
                  <a:pt x="198" y="93"/>
                  <a:pt x="198" y="93"/>
                </a:cubicBezTo>
                <a:cubicBezTo>
                  <a:pt x="197" y="92"/>
                  <a:pt x="197" y="92"/>
                  <a:pt x="197" y="92"/>
                </a:cubicBezTo>
                <a:cubicBezTo>
                  <a:pt x="196" y="93"/>
                  <a:pt x="196" y="93"/>
                  <a:pt x="196" y="93"/>
                </a:cubicBezTo>
                <a:cubicBezTo>
                  <a:pt x="194" y="93"/>
                  <a:pt x="194" y="93"/>
                  <a:pt x="194" y="93"/>
                </a:cubicBezTo>
                <a:cubicBezTo>
                  <a:pt x="193" y="92"/>
                  <a:pt x="193" y="92"/>
                  <a:pt x="193" y="92"/>
                </a:cubicBezTo>
                <a:cubicBezTo>
                  <a:pt x="192" y="93"/>
                  <a:pt x="192" y="93"/>
                  <a:pt x="192" y="93"/>
                </a:cubicBezTo>
                <a:cubicBezTo>
                  <a:pt x="192" y="94"/>
                  <a:pt x="192" y="94"/>
                  <a:pt x="192" y="94"/>
                </a:cubicBezTo>
                <a:cubicBezTo>
                  <a:pt x="192" y="95"/>
                  <a:pt x="192" y="95"/>
                  <a:pt x="192" y="95"/>
                </a:cubicBezTo>
                <a:close/>
                <a:moveTo>
                  <a:pt x="190" y="97"/>
                </a:moveTo>
                <a:cubicBezTo>
                  <a:pt x="190" y="97"/>
                  <a:pt x="190" y="97"/>
                  <a:pt x="190" y="97"/>
                </a:cubicBezTo>
                <a:cubicBezTo>
                  <a:pt x="190" y="97"/>
                  <a:pt x="190" y="97"/>
                  <a:pt x="190" y="97"/>
                </a:cubicBezTo>
                <a:cubicBezTo>
                  <a:pt x="190" y="97"/>
                  <a:pt x="190" y="97"/>
                  <a:pt x="190" y="97"/>
                </a:cubicBezTo>
                <a:cubicBezTo>
                  <a:pt x="190" y="97"/>
                  <a:pt x="190" y="97"/>
                  <a:pt x="190" y="97"/>
                </a:cubicBezTo>
                <a:close/>
                <a:moveTo>
                  <a:pt x="184" y="96"/>
                </a:moveTo>
                <a:cubicBezTo>
                  <a:pt x="183" y="97"/>
                  <a:pt x="183" y="97"/>
                  <a:pt x="183" y="97"/>
                </a:cubicBezTo>
                <a:cubicBezTo>
                  <a:pt x="183" y="97"/>
                  <a:pt x="183" y="97"/>
                  <a:pt x="183" y="97"/>
                </a:cubicBezTo>
                <a:cubicBezTo>
                  <a:pt x="183" y="98"/>
                  <a:pt x="183" y="98"/>
                  <a:pt x="183" y="98"/>
                </a:cubicBezTo>
                <a:cubicBezTo>
                  <a:pt x="183" y="98"/>
                  <a:pt x="183" y="98"/>
                  <a:pt x="183" y="98"/>
                </a:cubicBezTo>
                <a:cubicBezTo>
                  <a:pt x="184" y="99"/>
                  <a:pt x="184" y="99"/>
                  <a:pt x="184" y="99"/>
                </a:cubicBezTo>
                <a:cubicBezTo>
                  <a:pt x="186" y="98"/>
                  <a:pt x="186" y="98"/>
                  <a:pt x="186" y="98"/>
                </a:cubicBezTo>
                <a:cubicBezTo>
                  <a:pt x="187" y="97"/>
                  <a:pt x="187" y="97"/>
                  <a:pt x="187" y="97"/>
                </a:cubicBezTo>
                <a:cubicBezTo>
                  <a:pt x="186" y="97"/>
                  <a:pt x="186" y="97"/>
                  <a:pt x="186" y="97"/>
                </a:cubicBezTo>
                <a:cubicBezTo>
                  <a:pt x="185" y="97"/>
                  <a:pt x="185" y="97"/>
                  <a:pt x="185" y="97"/>
                </a:cubicBezTo>
                <a:cubicBezTo>
                  <a:pt x="184" y="96"/>
                  <a:pt x="184" y="96"/>
                  <a:pt x="184" y="96"/>
                </a:cubicBezTo>
                <a:close/>
                <a:moveTo>
                  <a:pt x="180" y="99"/>
                </a:moveTo>
                <a:cubicBezTo>
                  <a:pt x="180" y="99"/>
                  <a:pt x="180" y="99"/>
                  <a:pt x="180" y="99"/>
                </a:cubicBezTo>
                <a:cubicBezTo>
                  <a:pt x="181" y="99"/>
                  <a:pt x="181" y="99"/>
                  <a:pt x="181" y="99"/>
                </a:cubicBezTo>
                <a:cubicBezTo>
                  <a:pt x="182" y="98"/>
                  <a:pt x="182" y="98"/>
                  <a:pt x="182" y="98"/>
                </a:cubicBezTo>
                <a:cubicBezTo>
                  <a:pt x="182" y="98"/>
                  <a:pt x="182" y="98"/>
                  <a:pt x="182" y="98"/>
                </a:cubicBezTo>
                <a:cubicBezTo>
                  <a:pt x="181" y="98"/>
                  <a:pt x="181" y="98"/>
                  <a:pt x="181" y="98"/>
                </a:cubicBezTo>
                <a:cubicBezTo>
                  <a:pt x="180" y="98"/>
                  <a:pt x="180" y="98"/>
                  <a:pt x="180" y="98"/>
                </a:cubicBezTo>
                <a:cubicBezTo>
                  <a:pt x="180" y="99"/>
                  <a:pt x="180" y="99"/>
                  <a:pt x="180" y="99"/>
                </a:cubicBezTo>
                <a:close/>
                <a:moveTo>
                  <a:pt x="176" y="99"/>
                </a:moveTo>
                <a:cubicBezTo>
                  <a:pt x="177" y="98"/>
                  <a:pt x="177" y="98"/>
                  <a:pt x="177" y="98"/>
                </a:cubicBezTo>
                <a:cubicBezTo>
                  <a:pt x="177" y="98"/>
                  <a:pt x="177" y="98"/>
                  <a:pt x="177" y="98"/>
                </a:cubicBezTo>
                <a:cubicBezTo>
                  <a:pt x="177" y="97"/>
                  <a:pt x="177" y="97"/>
                  <a:pt x="177" y="97"/>
                </a:cubicBezTo>
                <a:cubicBezTo>
                  <a:pt x="178" y="98"/>
                  <a:pt x="178" y="98"/>
                  <a:pt x="178" y="98"/>
                </a:cubicBezTo>
                <a:cubicBezTo>
                  <a:pt x="179" y="97"/>
                  <a:pt x="179" y="97"/>
                  <a:pt x="179" y="97"/>
                </a:cubicBezTo>
                <a:cubicBezTo>
                  <a:pt x="179" y="97"/>
                  <a:pt x="179" y="97"/>
                  <a:pt x="179" y="97"/>
                </a:cubicBezTo>
                <a:cubicBezTo>
                  <a:pt x="178" y="99"/>
                  <a:pt x="178" y="99"/>
                  <a:pt x="178" y="99"/>
                </a:cubicBezTo>
                <a:cubicBezTo>
                  <a:pt x="178" y="99"/>
                  <a:pt x="178" y="99"/>
                  <a:pt x="178" y="99"/>
                </a:cubicBezTo>
                <a:cubicBezTo>
                  <a:pt x="176" y="100"/>
                  <a:pt x="176" y="100"/>
                  <a:pt x="176" y="100"/>
                </a:cubicBezTo>
                <a:cubicBezTo>
                  <a:pt x="176" y="99"/>
                  <a:pt x="176" y="99"/>
                  <a:pt x="176" y="99"/>
                </a:cubicBezTo>
                <a:close/>
                <a:moveTo>
                  <a:pt x="175" y="99"/>
                </a:moveTo>
                <a:cubicBezTo>
                  <a:pt x="173" y="99"/>
                  <a:pt x="173" y="99"/>
                  <a:pt x="173" y="99"/>
                </a:cubicBezTo>
                <a:cubicBezTo>
                  <a:pt x="173" y="100"/>
                  <a:pt x="173" y="100"/>
                  <a:pt x="173" y="100"/>
                </a:cubicBezTo>
                <a:cubicBezTo>
                  <a:pt x="174" y="99"/>
                  <a:pt x="174" y="99"/>
                  <a:pt x="174" y="99"/>
                </a:cubicBezTo>
                <a:cubicBezTo>
                  <a:pt x="175" y="99"/>
                  <a:pt x="175" y="99"/>
                  <a:pt x="175" y="99"/>
                </a:cubicBezTo>
                <a:close/>
                <a:moveTo>
                  <a:pt x="175" y="97"/>
                </a:moveTo>
                <a:cubicBezTo>
                  <a:pt x="175" y="98"/>
                  <a:pt x="175" y="98"/>
                  <a:pt x="175" y="98"/>
                </a:cubicBezTo>
                <a:cubicBezTo>
                  <a:pt x="175" y="98"/>
                  <a:pt x="175" y="98"/>
                  <a:pt x="175" y="98"/>
                </a:cubicBezTo>
                <a:cubicBezTo>
                  <a:pt x="176" y="97"/>
                  <a:pt x="176" y="97"/>
                  <a:pt x="176" y="97"/>
                </a:cubicBezTo>
                <a:cubicBezTo>
                  <a:pt x="175" y="97"/>
                  <a:pt x="175" y="97"/>
                  <a:pt x="175" y="97"/>
                </a:cubicBezTo>
                <a:close/>
                <a:moveTo>
                  <a:pt x="153" y="99"/>
                </a:moveTo>
                <a:cubicBezTo>
                  <a:pt x="153" y="99"/>
                  <a:pt x="153" y="98"/>
                  <a:pt x="153" y="98"/>
                </a:cubicBezTo>
                <a:cubicBezTo>
                  <a:pt x="155" y="97"/>
                  <a:pt x="155" y="97"/>
                  <a:pt x="155" y="97"/>
                </a:cubicBezTo>
                <a:cubicBezTo>
                  <a:pt x="158" y="97"/>
                  <a:pt x="158" y="97"/>
                  <a:pt x="158" y="97"/>
                </a:cubicBezTo>
                <a:cubicBezTo>
                  <a:pt x="160" y="97"/>
                  <a:pt x="160" y="97"/>
                  <a:pt x="160" y="97"/>
                </a:cubicBezTo>
                <a:cubicBezTo>
                  <a:pt x="161" y="97"/>
                  <a:pt x="161" y="97"/>
                  <a:pt x="161" y="97"/>
                </a:cubicBezTo>
                <a:cubicBezTo>
                  <a:pt x="162" y="98"/>
                  <a:pt x="162" y="98"/>
                  <a:pt x="162" y="98"/>
                </a:cubicBezTo>
                <a:cubicBezTo>
                  <a:pt x="164" y="99"/>
                  <a:pt x="164" y="99"/>
                  <a:pt x="164" y="99"/>
                </a:cubicBezTo>
                <a:cubicBezTo>
                  <a:pt x="165" y="98"/>
                  <a:pt x="165" y="98"/>
                  <a:pt x="165" y="98"/>
                </a:cubicBezTo>
                <a:cubicBezTo>
                  <a:pt x="167" y="98"/>
                  <a:pt x="167" y="98"/>
                  <a:pt x="167" y="98"/>
                </a:cubicBezTo>
                <a:cubicBezTo>
                  <a:pt x="168" y="99"/>
                  <a:pt x="168" y="99"/>
                  <a:pt x="168" y="99"/>
                </a:cubicBezTo>
                <a:cubicBezTo>
                  <a:pt x="169" y="99"/>
                  <a:pt x="169" y="99"/>
                  <a:pt x="169" y="99"/>
                </a:cubicBezTo>
                <a:cubicBezTo>
                  <a:pt x="170" y="98"/>
                  <a:pt x="170" y="98"/>
                  <a:pt x="170" y="98"/>
                </a:cubicBezTo>
                <a:cubicBezTo>
                  <a:pt x="171" y="98"/>
                  <a:pt x="171" y="98"/>
                  <a:pt x="171" y="98"/>
                </a:cubicBezTo>
                <a:cubicBezTo>
                  <a:pt x="172" y="96"/>
                  <a:pt x="172" y="96"/>
                  <a:pt x="172" y="96"/>
                </a:cubicBezTo>
                <a:cubicBezTo>
                  <a:pt x="172" y="96"/>
                  <a:pt x="172" y="96"/>
                  <a:pt x="172" y="96"/>
                </a:cubicBezTo>
                <a:cubicBezTo>
                  <a:pt x="173" y="95"/>
                  <a:pt x="173" y="95"/>
                  <a:pt x="173" y="95"/>
                </a:cubicBezTo>
                <a:cubicBezTo>
                  <a:pt x="174" y="96"/>
                  <a:pt x="174" y="96"/>
                  <a:pt x="174" y="96"/>
                </a:cubicBezTo>
                <a:cubicBezTo>
                  <a:pt x="174" y="97"/>
                  <a:pt x="174" y="97"/>
                  <a:pt x="174" y="97"/>
                </a:cubicBezTo>
                <a:cubicBezTo>
                  <a:pt x="173" y="98"/>
                  <a:pt x="173" y="98"/>
                  <a:pt x="173" y="98"/>
                </a:cubicBezTo>
                <a:cubicBezTo>
                  <a:pt x="173" y="99"/>
                  <a:pt x="173" y="99"/>
                  <a:pt x="173" y="99"/>
                </a:cubicBezTo>
                <a:cubicBezTo>
                  <a:pt x="172" y="100"/>
                  <a:pt x="172" y="100"/>
                  <a:pt x="172" y="100"/>
                </a:cubicBezTo>
                <a:cubicBezTo>
                  <a:pt x="170" y="100"/>
                  <a:pt x="170" y="100"/>
                  <a:pt x="170" y="100"/>
                </a:cubicBezTo>
                <a:cubicBezTo>
                  <a:pt x="170" y="100"/>
                  <a:pt x="170" y="100"/>
                  <a:pt x="170" y="100"/>
                </a:cubicBezTo>
                <a:cubicBezTo>
                  <a:pt x="169" y="100"/>
                  <a:pt x="169" y="100"/>
                  <a:pt x="169" y="100"/>
                </a:cubicBezTo>
                <a:cubicBezTo>
                  <a:pt x="167" y="100"/>
                  <a:pt x="167" y="100"/>
                  <a:pt x="167" y="100"/>
                </a:cubicBezTo>
                <a:cubicBezTo>
                  <a:pt x="165" y="101"/>
                  <a:pt x="165" y="101"/>
                  <a:pt x="165" y="101"/>
                </a:cubicBezTo>
                <a:cubicBezTo>
                  <a:pt x="163" y="101"/>
                  <a:pt x="163" y="101"/>
                  <a:pt x="163" y="101"/>
                </a:cubicBezTo>
                <a:cubicBezTo>
                  <a:pt x="162" y="101"/>
                  <a:pt x="162" y="101"/>
                  <a:pt x="162" y="101"/>
                </a:cubicBezTo>
                <a:cubicBezTo>
                  <a:pt x="162" y="101"/>
                  <a:pt x="162" y="101"/>
                  <a:pt x="162" y="101"/>
                </a:cubicBezTo>
                <a:cubicBezTo>
                  <a:pt x="161" y="101"/>
                  <a:pt x="161" y="101"/>
                  <a:pt x="161" y="101"/>
                </a:cubicBezTo>
                <a:cubicBezTo>
                  <a:pt x="160" y="101"/>
                  <a:pt x="160" y="101"/>
                  <a:pt x="160" y="101"/>
                </a:cubicBezTo>
                <a:cubicBezTo>
                  <a:pt x="159" y="102"/>
                  <a:pt x="159" y="102"/>
                  <a:pt x="159" y="102"/>
                </a:cubicBezTo>
                <a:cubicBezTo>
                  <a:pt x="158" y="101"/>
                  <a:pt x="158" y="101"/>
                  <a:pt x="158" y="101"/>
                </a:cubicBezTo>
                <a:cubicBezTo>
                  <a:pt x="157" y="101"/>
                  <a:pt x="157" y="101"/>
                  <a:pt x="157" y="101"/>
                </a:cubicBezTo>
                <a:cubicBezTo>
                  <a:pt x="156" y="101"/>
                  <a:pt x="156" y="101"/>
                  <a:pt x="156" y="101"/>
                </a:cubicBezTo>
                <a:cubicBezTo>
                  <a:pt x="155" y="101"/>
                  <a:pt x="155" y="101"/>
                  <a:pt x="155" y="101"/>
                </a:cubicBezTo>
                <a:cubicBezTo>
                  <a:pt x="154" y="101"/>
                  <a:pt x="154" y="101"/>
                  <a:pt x="154" y="101"/>
                </a:cubicBezTo>
                <a:cubicBezTo>
                  <a:pt x="153" y="101"/>
                  <a:pt x="153" y="101"/>
                  <a:pt x="153" y="101"/>
                </a:cubicBezTo>
                <a:cubicBezTo>
                  <a:pt x="153" y="99"/>
                  <a:pt x="153" y="99"/>
                  <a:pt x="153" y="99"/>
                </a:cubicBezTo>
                <a:close/>
                <a:moveTo>
                  <a:pt x="152" y="99"/>
                </a:moveTo>
                <a:cubicBezTo>
                  <a:pt x="152" y="101"/>
                  <a:pt x="152" y="101"/>
                  <a:pt x="152" y="101"/>
                </a:cubicBezTo>
                <a:cubicBezTo>
                  <a:pt x="153" y="100"/>
                  <a:pt x="153" y="100"/>
                  <a:pt x="153" y="100"/>
                </a:cubicBezTo>
                <a:cubicBezTo>
                  <a:pt x="153" y="100"/>
                  <a:pt x="153" y="100"/>
                  <a:pt x="153" y="100"/>
                </a:cubicBezTo>
                <a:cubicBezTo>
                  <a:pt x="152" y="99"/>
                  <a:pt x="152" y="99"/>
                  <a:pt x="152" y="99"/>
                </a:cubicBezTo>
                <a:close/>
                <a:moveTo>
                  <a:pt x="152" y="99"/>
                </a:moveTo>
                <a:cubicBezTo>
                  <a:pt x="151" y="98"/>
                  <a:pt x="151" y="98"/>
                  <a:pt x="151" y="98"/>
                </a:cubicBezTo>
                <a:cubicBezTo>
                  <a:pt x="150" y="100"/>
                  <a:pt x="150" y="100"/>
                  <a:pt x="150" y="100"/>
                </a:cubicBezTo>
                <a:cubicBezTo>
                  <a:pt x="151" y="101"/>
                  <a:pt x="151" y="101"/>
                  <a:pt x="151" y="101"/>
                </a:cubicBezTo>
                <a:cubicBezTo>
                  <a:pt x="151" y="99"/>
                  <a:pt x="151" y="99"/>
                  <a:pt x="151" y="99"/>
                </a:cubicBezTo>
                <a:cubicBezTo>
                  <a:pt x="152" y="99"/>
                  <a:pt x="152" y="99"/>
                  <a:pt x="152" y="99"/>
                </a:cubicBezTo>
                <a:close/>
                <a:moveTo>
                  <a:pt x="134" y="100"/>
                </a:moveTo>
                <a:cubicBezTo>
                  <a:pt x="134" y="100"/>
                  <a:pt x="134" y="100"/>
                  <a:pt x="134" y="100"/>
                </a:cubicBezTo>
                <a:cubicBezTo>
                  <a:pt x="134" y="101"/>
                  <a:pt x="134" y="101"/>
                  <a:pt x="134" y="101"/>
                </a:cubicBezTo>
                <a:cubicBezTo>
                  <a:pt x="134" y="101"/>
                  <a:pt x="134" y="101"/>
                  <a:pt x="134" y="101"/>
                </a:cubicBezTo>
                <a:cubicBezTo>
                  <a:pt x="134" y="102"/>
                  <a:pt x="134" y="102"/>
                  <a:pt x="134" y="102"/>
                </a:cubicBezTo>
                <a:cubicBezTo>
                  <a:pt x="135" y="103"/>
                  <a:pt x="135" y="103"/>
                  <a:pt x="135" y="103"/>
                </a:cubicBezTo>
                <a:cubicBezTo>
                  <a:pt x="137" y="102"/>
                  <a:pt x="137" y="102"/>
                  <a:pt x="137" y="102"/>
                </a:cubicBezTo>
                <a:cubicBezTo>
                  <a:pt x="138" y="103"/>
                  <a:pt x="138" y="103"/>
                  <a:pt x="138" y="103"/>
                </a:cubicBezTo>
                <a:cubicBezTo>
                  <a:pt x="139" y="102"/>
                  <a:pt x="139" y="102"/>
                  <a:pt x="139" y="102"/>
                </a:cubicBezTo>
                <a:cubicBezTo>
                  <a:pt x="140" y="101"/>
                  <a:pt x="140" y="101"/>
                  <a:pt x="140" y="101"/>
                </a:cubicBezTo>
                <a:cubicBezTo>
                  <a:pt x="141" y="102"/>
                  <a:pt x="141" y="102"/>
                  <a:pt x="141" y="102"/>
                </a:cubicBezTo>
                <a:cubicBezTo>
                  <a:pt x="142" y="101"/>
                  <a:pt x="142" y="101"/>
                  <a:pt x="142" y="101"/>
                </a:cubicBezTo>
                <a:cubicBezTo>
                  <a:pt x="143" y="101"/>
                  <a:pt x="143" y="101"/>
                  <a:pt x="143" y="101"/>
                </a:cubicBezTo>
                <a:cubicBezTo>
                  <a:pt x="145" y="100"/>
                  <a:pt x="145" y="100"/>
                  <a:pt x="145" y="100"/>
                </a:cubicBezTo>
                <a:cubicBezTo>
                  <a:pt x="145" y="101"/>
                  <a:pt x="145" y="101"/>
                  <a:pt x="145" y="101"/>
                </a:cubicBezTo>
                <a:cubicBezTo>
                  <a:pt x="146" y="101"/>
                  <a:pt x="146" y="101"/>
                  <a:pt x="146" y="101"/>
                </a:cubicBezTo>
                <a:cubicBezTo>
                  <a:pt x="148" y="101"/>
                  <a:pt x="148" y="101"/>
                  <a:pt x="148" y="101"/>
                </a:cubicBezTo>
                <a:cubicBezTo>
                  <a:pt x="147" y="100"/>
                  <a:pt x="147" y="100"/>
                  <a:pt x="147" y="100"/>
                </a:cubicBezTo>
                <a:cubicBezTo>
                  <a:pt x="149" y="100"/>
                  <a:pt x="149" y="100"/>
                  <a:pt x="149" y="100"/>
                </a:cubicBezTo>
                <a:cubicBezTo>
                  <a:pt x="149" y="99"/>
                  <a:pt x="149" y="99"/>
                  <a:pt x="149" y="99"/>
                </a:cubicBezTo>
                <a:cubicBezTo>
                  <a:pt x="149" y="100"/>
                  <a:pt x="149" y="100"/>
                  <a:pt x="149" y="100"/>
                </a:cubicBezTo>
                <a:cubicBezTo>
                  <a:pt x="148" y="99"/>
                  <a:pt x="148" y="99"/>
                  <a:pt x="148" y="99"/>
                </a:cubicBezTo>
                <a:cubicBezTo>
                  <a:pt x="148" y="98"/>
                  <a:pt x="148" y="98"/>
                  <a:pt x="148" y="98"/>
                </a:cubicBezTo>
                <a:cubicBezTo>
                  <a:pt x="147" y="97"/>
                  <a:pt x="147" y="97"/>
                  <a:pt x="147" y="97"/>
                </a:cubicBezTo>
                <a:cubicBezTo>
                  <a:pt x="147" y="98"/>
                  <a:pt x="147" y="98"/>
                  <a:pt x="147" y="98"/>
                </a:cubicBezTo>
                <a:cubicBezTo>
                  <a:pt x="147" y="98"/>
                  <a:pt x="147" y="98"/>
                  <a:pt x="147" y="98"/>
                </a:cubicBezTo>
                <a:cubicBezTo>
                  <a:pt x="147" y="97"/>
                  <a:pt x="147" y="97"/>
                  <a:pt x="147" y="97"/>
                </a:cubicBezTo>
                <a:cubicBezTo>
                  <a:pt x="145" y="97"/>
                  <a:pt x="145" y="97"/>
                  <a:pt x="145" y="97"/>
                </a:cubicBezTo>
                <a:cubicBezTo>
                  <a:pt x="144" y="97"/>
                  <a:pt x="144" y="97"/>
                  <a:pt x="144" y="97"/>
                </a:cubicBezTo>
                <a:cubicBezTo>
                  <a:pt x="143" y="96"/>
                  <a:pt x="143" y="96"/>
                  <a:pt x="143" y="96"/>
                </a:cubicBezTo>
                <a:cubicBezTo>
                  <a:pt x="142" y="96"/>
                  <a:pt x="142" y="96"/>
                  <a:pt x="142" y="96"/>
                </a:cubicBezTo>
                <a:cubicBezTo>
                  <a:pt x="140" y="97"/>
                  <a:pt x="140" y="97"/>
                  <a:pt x="140" y="97"/>
                </a:cubicBezTo>
                <a:cubicBezTo>
                  <a:pt x="140" y="98"/>
                  <a:pt x="140" y="98"/>
                  <a:pt x="140" y="98"/>
                </a:cubicBezTo>
                <a:cubicBezTo>
                  <a:pt x="143" y="98"/>
                  <a:pt x="143" y="98"/>
                  <a:pt x="143" y="98"/>
                </a:cubicBezTo>
                <a:cubicBezTo>
                  <a:pt x="144" y="99"/>
                  <a:pt x="144" y="99"/>
                  <a:pt x="144" y="99"/>
                </a:cubicBezTo>
                <a:cubicBezTo>
                  <a:pt x="142" y="100"/>
                  <a:pt x="142" y="100"/>
                  <a:pt x="142" y="100"/>
                </a:cubicBezTo>
                <a:cubicBezTo>
                  <a:pt x="141" y="100"/>
                  <a:pt x="141" y="100"/>
                  <a:pt x="141" y="100"/>
                </a:cubicBezTo>
                <a:cubicBezTo>
                  <a:pt x="140" y="99"/>
                  <a:pt x="140" y="99"/>
                  <a:pt x="140" y="99"/>
                </a:cubicBezTo>
                <a:cubicBezTo>
                  <a:pt x="139" y="98"/>
                  <a:pt x="139" y="98"/>
                  <a:pt x="139" y="98"/>
                </a:cubicBezTo>
                <a:cubicBezTo>
                  <a:pt x="138" y="98"/>
                  <a:pt x="138" y="98"/>
                  <a:pt x="138" y="98"/>
                </a:cubicBezTo>
                <a:cubicBezTo>
                  <a:pt x="137" y="98"/>
                  <a:pt x="137" y="98"/>
                  <a:pt x="137" y="98"/>
                </a:cubicBezTo>
                <a:cubicBezTo>
                  <a:pt x="136" y="98"/>
                  <a:pt x="136" y="98"/>
                  <a:pt x="136" y="98"/>
                </a:cubicBezTo>
                <a:cubicBezTo>
                  <a:pt x="135" y="99"/>
                  <a:pt x="135" y="99"/>
                  <a:pt x="135" y="99"/>
                </a:cubicBezTo>
                <a:cubicBezTo>
                  <a:pt x="135" y="99"/>
                  <a:pt x="134" y="100"/>
                  <a:pt x="134" y="100"/>
                </a:cubicBezTo>
                <a:close/>
                <a:moveTo>
                  <a:pt x="130" y="98"/>
                </a:moveTo>
                <a:cubicBezTo>
                  <a:pt x="131" y="97"/>
                  <a:pt x="131" y="97"/>
                  <a:pt x="131" y="97"/>
                </a:cubicBezTo>
                <a:cubicBezTo>
                  <a:pt x="133" y="98"/>
                  <a:pt x="133" y="98"/>
                  <a:pt x="133" y="98"/>
                </a:cubicBezTo>
                <a:cubicBezTo>
                  <a:pt x="133" y="99"/>
                  <a:pt x="133" y="99"/>
                  <a:pt x="133" y="99"/>
                </a:cubicBezTo>
                <a:cubicBezTo>
                  <a:pt x="132" y="100"/>
                  <a:pt x="132" y="100"/>
                  <a:pt x="132" y="100"/>
                </a:cubicBezTo>
                <a:cubicBezTo>
                  <a:pt x="133" y="101"/>
                  <a:pt x="133" y="101"/>
                  <a:pt x="133" y="101"/>
                </a:cubicBezTo>
                <a:cubicBezTo>
                  <a:pt x="132" y="101"/>
                  <a:pt x="132" y="101"/>
                  <a:pt x="132" y="101"/>
                </a:cubicBezTo>
                <a:cubicBezTo>
                  <a:pt x="131" y="101"/>
                  <a:pt x="131" y="101"/>
                  <a:pt x="131" y="101"/>
                </a:cubicBezTo>
                <a:cubicBezTo>
                  <a:pt x="129" y="101"/>
                  <a:pt x="129" y="101"/>
                  <a:pt x="129" y="101"/>
                </a:cubicBezTo>
                <a:cubicBezTo>
                  <a:pt x="128" y="100"/>
                  <a:pt x="128" y="100"/>
                  <a:pt x="128" y="100"/>
                </a:cubicBezTo>
                <a:cubicBezTo>
                  <a:pt x="129" y="100"/>
                  <a:pt x="129" y="100"/>
                  <a:pt x="129" y="100"/>
                </a:cubicBezTo>
                <a:cubicBezTo>
                  <a:pt x="130" y="100"/>
                  <a:pt x="130" y="100"/>
                  <a:pt x="130" y="100"/>
                </a:cubicBezTo>
                <a:cubicBezTo>
                  <a:pt x="130" y="98"/>
                  <a:pt x="130" y="98"/>
                  <a:pt x="130" y="98"/>
                </a:cubicBezTo>
                <a:close/>
                <a:moveTo>
                  <a:pt x="126" y="100"/>
                </a:moveTo>
                <a:cubicBezTo>
                  <a:pt x="127" y="99"/>
                  <a:pt x="127" y="99"/>
                  <a:pt x="127" y="99"/>
                </a:cubicBezTo>
                <a:cubicBezTo>
                  <a:pt x="127" y="100"/>
                  <a:pt x="127" y="100"/>
                  <a:pt x="127" y="100"/>
                </a:cubicBezTo>
                <a:cubicBezTo>
                  <a:pt x="126" y="100"/>
                  <a:pt x="126" y="100"/>
                  <a:pt x="126" y="100"/>
                </a:cubicBezTo>
                <a:cubicBezTo>
                  <a:pt x="126" y="100"/>
                  <a:pt x="126" y="100"/>
                  <a:pt x="126" y="100"/>
                </a:cubicBezTo>
                <a:close/>
                <a:moveTo>
                  <a:pt x="120" y="96"/>
                </a:moveTo>
                <a:cubicBezTo>
                  <a:pt x="120" y="97"/>
                  <a:pt x="120" y="97"/>
                  <a:pt x="120" y="97"/>
                </a:cubicBezTo>
                <a:cubicBezTo>
                  <a:pt x="121" y="98"/>
                  <a:pt x="121" y="98"/>
                  <a:pt x="121" y="98"/>
                </a:cubicBezTo>
                <a:cubicBezTo>
                  <a:pt x="122" y="98"/>
                  <a:pt x="122" y="98"/>
                  <a:pt x="122" y="98"/>
                </a:cubicBezTo>
                <a:cubicBezTo>
                  <a:pt x="124" y="99"/>
                  <a:pt x="124" y="99"/>
                  <a:pt x="124" y="99"/>
                </a:cubicBezTo>
                <a:cubicBezTo>
                  <a:pt x="124" y="100"/>
                  <a:pt x="124" y="100"/>
                  <a:pt x="124" y="100"/>
                </a:cubicBezTo>
                <a:cubicBezTo>
                  <a:pt x="125" y="99"/>
                  <a:pt x="125" y="99"/>
                  <a:pt x="125" y="99"/>
                </a:cubicBezTo>
                <a:cubicBezTo>
                  <a:pt x="126" y="99"/>
                  <a:pt x="126" y="99"/>
                  <a:pt x="126" y="99"/>
                </a:cubicBezTo>
                <a:cubicBezTo>
                  <a:pt x="126" y="98"/>
                  <a:pt x="126" y="98"/>
                  <a:pt x="126" y="98"/>
                </a:cubicBezTo>
                <a:cubicBezTo>
                  <a:pt x="127" y="98"/>
                  <a:pt x="127" y="98"/>
                  <a:pt x="127" y="98"/>
                </a:cubicBezTo>
                <a:cubicBezTo>
                  <a:pt x="128" y="98"/>
                  <a:pt x="128" y="98"/>
                  <a:pt x="128" y="98"/>
                </a:cubicBezTo>
                <a:cubicBezTo>
                  <a:pt x="126" y="96"/>
                  <a:pt x="126" y="96"/>
                  <a:pt x="126" y="96"/>
                </a:cubicBezTo>
                <a:cubicBezTo>
                  <a:pt x="125" y="96"/>
                  <a:pt x="125" y="96"/>
                  <a:pt x="125" y="96"/>
                </a:cubicBezTo>
                <a:cubicBezTo>
                  <a:pt x="123" y="96"/>
                  <a:pt x="123" y="96"/>
                  <a:pt x="123" y="96"/>
                </a:cubicBezTo>
                <a:cubicBezTo>
                  <a:pt x="121" y="96"/>
                  <a:pt x="121" y="96"/>
                  <a:pt x="121" y="96"/>
                </a:cubicBezTo>
                <a:cubicBezTo>
                  <a:pt x="120" y="96"/>
                  <a:pt x="120" y="96"/>
                  <a:pt x="120" y="96"/>
                </a:cubicBezTo>
                <a:close/>
                <a:moveTo>
                  <a:pt x="273" y="97"/>
                </a:moveTo>
                <a:cubicBezTo>
                  <a:pt x="273" y="97"/>
                  <a:pt x="273" y="97"/>
                  <a:pt x="273" y="97"/>
                </a:cubicBezTo>
                <a:cubicBezTo>
                  <a:pt x="274" y="98"/>
                  <a:pt x="274" y="98"/>
                  <a:pt x="274" y="98"/>
                </a:cubicBezTo>
                <a:cubicBezTo>
                  <a:pt x="275" y="97"/>
                  <a:pt x="275" y="97"/>
                  <a:pt x="275" y="97"/>
                </a:cubicBezTo>
                <a:cubicBezTo>
                  <a:pt x="274" y="96"/>
                  <a:pt x="274" y="96"/>
                  <a:pt x="274" y="96"/>
                </a:cubicBezTo>
                <a:cubicBezTo>
                  <a:pt x="274" y="96"/>
                  <a:pt x="274" y="96"/>
                  <a:pt x="274" y="96"/>
                </a:cubicBezTo>
                <a:cubicBezTo>
                  <a:pt x="273" y="96"/>
                  <a:pt x="273" y="96"/>
                  <a:pt x="273" y="96"/>
                </a:cubicBezTo>
                <a:cubicBezTo>
                  <a:pt x="273" y="97"/>
                  <a:pt x="273" y="97"/>
                  <a:pt x="273" y="97"/>
                </a:cubicBezTo>
                <a:close/>
                <a:moveTo>
                  <a:pt x="266" y="97"/>
                </a:moveTo>
                <a:cubicBezTo>
                  <a:pt x="266" y="97"/>
                  <a:pt x="268" y="97"/>
                  <a:pt x="268" y="97"/>
                </a:cubicBezTo>
                <a:cubicBezTo>
                  <a:pt x="269" y="97"/>
                  <a:pt x="269" y="97"/>
                  <a:pt x="269" y="97"/>
                </a:cubicBezTo>
                <a:cubicBezTo>
                  <a:pt x="271" y="97"/>
                  <a:pt x="271" y="97"/>
                  <a:pt x="271" y="97"/>
                </a:cubicBezTo>
                <a:cubicBezTo>
                  <a:pt x="272" y="97"/>
                  <a:pt x="272" y="97"/>
                  <a:pt x="272" y="97"/>
                </a:cubicBezTo>
                <a:cubicBezTo>
                  <a:pt x="273" y="96"/>
                  <a:pt x="273" y="96"/>
                  <a:pt x="273" y="96"/>
                </a:cubicBezTo>
                <a:cubicBezTo>
                  <a:pt x="274" y="95"/>
                  <a:pt x="274" y="95"/>
                  <a:pt x="274" y="95"/>
                </a:cubicBezTo>
                <a:cubicBezTo>
                  <a:pt x="274" y="95"/>
                  <a:pt x="274" y="95"/>
                  <a:pt x="274" y="95"/>
                </a:cubicBezTo>
                <a:cubicBezTo>
                  <a:pt x="274" y="94"/>
                  <a:pt x="274" y="94"/>
                  <a:pt x="274" y="94"/>
                </a:cubicBezTo>
                <a:cubicBezTo>
                  <a:pt x="275" y="94"/>
                  <a:pt x="275" y="94"/>
                  <a:pt x="275" y="94"/>
                </a:cubicBezTo>
                <a:cubicBezTo>
                  <a:pt x="275" y="93"/>
                  <a:pt x="275" y="93"/>
                  <a:pt x="275" y="93"/>
                </a:cubicBezTo>
                <a:cubicBezTo>
                  <a:pt x="275" y="92"/>
                  <a:pt x="275" y="92"/>
                  <a:pt x="275" y="92"/>
                </a:cubicBezTo>
                <a:cubicBezTo>
                  <a:pt x="274" y="91"/>
                  <a:pt x="274" y="91"/>
                  <a:pt x="274" y="91"/>
                </a:cubicBezTo>
                <a:cubicBezTo>
                  <a:pt x="274" y="91"/>
                  <a:pt x="274" y="91"/>
                  <a:pt x="274" y="91"/>
                </a:cubicBezTo>
                <a:cubicBezTo>
                  <a:pt x="272" y="91"/>
                  <a:pt x="272" y="91"/>
                  <a:pt x="272" y="91"/>
                </a:cubicBezTo>
                <a:cubicBezTo>
                  <a:pt x="270" y="92"/>
                  <a:pt x="270" y="92"/>
                  <a:pt x="270" y="92"/>
                </a:cubicBezTo>
                <a:cubicBezTo>
                  <a:pt x="270" y="93"/>
                  <a:pt x="270" y="93"/>
                  <a:pt x="270" y="93"/>
                </a:cubicBezTo>
                <a:cubicBezTo>
                  <a:pt x="269" y="95"/>
                  <a:pt x="269" y="95"/>
                  <a:pt x="269" y="95"/>
                </a:cubicBezTo>
                <a:cubicBezTo>
                  <a:pt x="266" y="97"/>
                  <a:pt x="266" y="97"/>
                  <a:pt x="266" y="97"/>
                </a:cubicBezTo>
                <a:close/>
                <a:moveTo>
                  <a:pt x="110" y="88"/>
                </a:moveTo>
                <a:cubicBezTo>
                  <a:pt x="110" y="89"/>
                  <a:pt x="110" y="89"/>
                  <a:pt x="110" y="89"/>
                </a:cubicBezTo>
                <a:cubicBezTo>
                  <a:pt x="111" y="90"/>
                  <a:pt x="111" y="90"/>
                  <a:pt x="111" y="90"/>
                </a:cubicBezTo>
                <a:cubicBezTo>
                  <a:pt x="112" y="90"/>
                  <a:pt x="112" y="90"/>
                  <a:pt x="112" y="90"/>
                </a:cubicBezTo>
                <a:cubicBezTo>
                  <a:pt x="113" y="90"/>
                  <a:pt x="113" y="90"/>
                  <a:pt x="113" y="90"/>
                </a:cubicBezTo>
                <a:cubicBezTo>
                  <a:pt x="115" y="90"/>
                  <a:pt x="115" y="90"/>
                  <a:pt x="115" y="90"/>
                </a:cubicBezTo>
                <a:cubicBezTo>
                  <a:pt x="116" y="90"/>
                  <a:pt x="116" y="90"/>
                  <a:pt x="116" y="90"/>
                </a:cubicBezTo>
                <a:cubicBezTo>
                  <a:pt x="117" y="89"/>
                  <a:pt x="117" y="89"/>
                  <a:pt x="117" y="89"/>
                </a:cubicBezTo>
                <a:cubicBezTo>
                  <a:pt x="118" y="89"/>
                  <a:pt x="118" y="89"/>
                  <a:pt x="118" y="89"/>
                </a:cubicBezTo>
                <a:cubicBezTo>
                  <a:pt x="117" y="88"/>
                  <a:pt x="117" y="88"/>
                  <a:pt x="117" y="88"/>
                </a:cubicBezTo>
                <a:cubicBezTo>
                  <a:pt x="115" y="89"/>
                  <a:pt x="115" y="89"/>
                  <a:pt x="115" y="89"/>
                </a:cubicBezTo>
                <a:cubicBezTo>
                  <a:pt x="114" y="88"/>
                  <a:pt x="114" y="88"/>
                  <a:pt x="114" y="88"/>
                </a:cubicBezTo>
                <a:cubicBezTo>
                  <a:pt x="111" y="88"/>
                  <a:pt x="111" y="88"/>
                  <a:pt x="111" y="88"/>
                </a:cubicBezTo>
                <a:cubicBezTo>
                  <a:pt x="110" y="88"/>
                  <a:pt x="110" y="88"/>
                  <a:pt x="110" y="88"/>
                </a:cubicBezTo>
                <a:close/>
                <a:moveTo>
                  <a:pt x="63" y="86"/>
                </a:moveTo>
                <a:cubicBezTo>
                  <a:pt x="63" y="86"/>
                  <a:pt x="63" y="86"/>
                  <a:pt x="63" y="86"/>
                </a:cubicBezTo>
                <a:cubicBezTo>
                  <a:pt x="64" y="86"/>
                  <a:pt x="64" y="86"/>
                  <a:pt x="64" y="86"/>
                </a:cubicBezTo>
                <a:cubicBezTo>
                  <a:pt x="64" y="86"/>
                  <a:pt x="64" y="86"/>
                  <a:pt x="64" y="86"/>
                </a:cubicBezTo>
                <a:cubicBezTo>
                  <a:pt x="63" y="86"/>
                  <a:pt x="63" y="86"/>
                  <a:pt x="63" y="86"/>
                </a:cubicBezTo>
                <a:close/>
                <a:moveTo>
                  <a:pt x="64" y="87"/>
                </a:moveTo>
                <a:cubicBezTo>
                  <a:pt x="65" y="87"/>
                  <a:pt x="65" y="87"/>
                  <a:pt x="65" y="87"/>
                </a:cubicBezTo>
                <a:cubicBezTo>
                  <a:pt x="65" y="87"/>
                  <a:pt x="65" y="87"/>
                  <a:pt x="65" y="87"/>
                </a:cubicBezTo>
                <a:cubicBezTo>
                  <a:pt x="66" y="85"/>
                  <a:pt x="66" y="85"/>
                  <a:pt x="66" y="85"/>
                </a:cubicBezTo>
                <a:cubicBezTo>
                  <a:pt x="67" y="85"/>
                  <a:pt x="67" y="85"/>
                  <a:pt x="67" y="85"/>
                </a:cubicBezTo>
                <a:cubicBezTo>
                  <a:pt x="68" y="84"/>
                  <a:pt x="68" y="84"/>
                  <a:pt x="68" y="84"/>
                </a:cubicBezTo>
                <a:cubicBezTo>
                  <a:pt x="67" y="83"/>
                  <a:pt x="67" y="83"/>
                  <a:pt x="67" y="83"/>
                </a:cubicBezTo>
                <a:cubicBezTo>
                  <a:pt x="69" y="81"/>
                  <a:pt x="69" y="81"/>
                  <a:pt x="69" y="81"/>
                </a:cubicBezTo>
                <a:cubicBezTo>
                  <a:pt x="69" y="82"/>
                  <a:pt x="69" y="82"/>
                  <a:pt x="69" y="82"/>
                </a:cubicBezTo>
                <a:cubicBezTo>
                  <a:pt x="71" y="82"/>
                  <a:pt x="71" y="82"/>
                  <a:pt x="71" y="82"/>
                </a:cubicBezTo>
                <a:cubicBezTo>
                  <a:pt x="73" y="82"/>
                  <a:pt x="73" y="82"/>
                  <a:pt x="73" y="82"/>
                </a:cubicBezTo>
                <a:cubicBezTo>
                  <a:pt x="74" y="83"/>
                  <a:pt x="74" y="83"/>
                  <a:pt x="74" y="83"/>
                </a:cubicBezTo>
                <a:cubicBezTo>
                  <a:pt x="74" y="82"/>
                  <a:pt x="74" y="82"/>
                  <a:pt x="74" y="82"/>
                </a:cubicBezTo>
                <a:cubicBezTo>
                  <a:pt x="75" y="82"/>
                  <a:pt x="75" y="82"/>
                  <a:pt x="75" y="82"/>
                </a:cubicBezTo>
                <a:cubicBezTo>
                  <a:pt x="77" y="82"/>
                  <a:pt x="77" y="82"/>
                  <a:pt x="77" y="82"/>
                </a:cubicBezTo>
                <a:cubicBezTo>
                  <a:pt x="78" y="83"/>
                  <a:pt x="78" y="83"/>
                  <a:pt x="78" y="83"/>
                </a:cubicBezTo>
                <a:cubicBezTo>
                  <a:pt x="80" y="83"/>
                  <a:pt x="80" y="83"/>
                  <a:pt x="80" y="83"/>
                </a:cubicBezTo>
                <a:cubicBezTo>
                  <a:pt x="83" y="84"/>
                  <a:pt x="83" y="84"/>
                  <a:pt x="83" y="84"/>
                </a:cubicBezTo>
                <a:cubicBezTo>
                  <a:pt x="84" y="85"/>
                  <a:pt x="84" y="85"/>
                  <a:pt x="84" y="85"/>
                </a:cubicBezTo>
                <a:cubicBezTo>
                  <a:pt x="83" y="86"/>
                  <a:pt x="83" y="86"/>
                  <a:pt x="83" y="86"/>
                </a:cubicBezTo>
                <a:cubicBezTo>
                  <a:pt x="84" y="87"/>
                  <a:pt x="84" y="87"/>
                  <a:pt x="84" y="87"/>
                </a:cubicBezTo>
                <a:cubicBezTo>
                  <a:pt x="86" y="88"/>
                  <a:pt x="86" y="88"/>
                  <a:pt x="86" y="88"/>
                </a:cubicBezTo>
                <a:cubicBezTo>
                  <a:pt x="90" y="88"/>
                  <a:pt x="90" y="88"/>
                  <a:pt x="90" y="88"/>
                </a:cubicBezTo>
                <a:cubicBezTo>
                  <a:pt x="93" y="88"/>
                  <a:pt x="93" y="88"/>
                  <a:pt x="93" y="88"/>
                </a:cubicBezTo>
                <a:cubicBezTo>
                  <a:pt x="96" y="88"/>
                  <a:pt x="96" y="88"/>
                  <a:pt x="96" y="88"/>
                </a:cubicBezTo>
                <a:cubicBezTo>
                  <a:pt x="97" y="87"/>
                  <a:pt x="97" y="87"/>
                  <a:pt x="97" y="87"/>
                </a:cubicBezTo>
                <a:cubicBezTo>
                  <a:pt x="97" y="84"/>
                  <a:pt x="97" y="84"/>
                  <a:pt x="97" y="84"/>
                </a:cubicBezTo>
                <a:cubicBezTo>
                  <a:pt x="98" y="84"/>
                  <a:pt x="98" y="84"/>
                  <a:pt x="98" y="84"/>
                </a:cubicBezTo>
                <a:cubicBezTo>
                  <a:pt x="100" y="86"/>
                  <a:pt x="100" y="86"/>
                  <a:pt x="100" y="86"/>
                </a:cubicBezTo>
                <a:cubicBezTo>
                  <a:pt x="101" y="86"/>
                  <a:pt x="101" y="86"/>
                  <a:pt x="101" y="86"/>
                </a:cubicBezTo>
                <a:cubicBezTo>
                  <a:pt x="102" y="86"/>
                  <a:pt x="102" y="86"/>
                  <a:pt x="102" y="86"/>
                </a:cubicBezTo>
                <a:cubicBezTo>
                  <a:pt x="103" y="86"/>
                  <a:pt x="103" y="86"/>
                  <a:pt x="103" y="86"/>
                </a:cubicBezTo>
                <a:cubicBezTo>
                  <a:pt x="104" y="87"/>
                  <a:pt x="104" y="87"/>
                  <a:pt x="104" y="87"/>
                </a:cubicBezTo>
                <a:cubicBezTo>
                  <a:pt x="105" y="87"/>
                  <a:pt x="105" y="87"/>
                  <a:pt x="105" y="87"/>
                </a:cubicBezTo>
                <a:cubicBezTo>
                  <a:pt x="106" y="88"/>
                  <a:pt x="106" y="88"/>
                  <a:pt x="106" y="88"/>
                </a:cubicBezTo>
                <a:cubicBezTo>
                  <a:pt x="107" y="88"/>
                  <a:pt x="107" y="88"/>
                  <a:pt x="107" y="88"/>
                </a:cubicBezTo>
                <a:cubicBezTo>
                  <a:pt x="109" y="88"/>
                  <a:pt x="109" y="88"/>
                  <a:pt x="109" y="88"/>
                </a:cubicBezTo>
                <a:cubicBezTo>
                  <a:pt x="109" y="89"/>
                  <a:pt x="109" y="89"/>
                  <a:pt x="109" y="89"/>
                </a:cubicBezTo>
                <a:cubicBezTo>
                  <a:pt x="110" y="91"/>
                  <a:pt x="110" y="91"/>
                  <a:pt x="110" y="91"/>
                </a:cubicBezTo>
                <a:cubicBezTo>
                  <a:pt x="110" y="92"/>
                  <a:pt x="110" y="92"/>
                  <a:pt x="110" y="92"/>
                </a:cubicBezTo>
                <a:cubicBezTo>
                  <a:pt x="111" y="93"/>
                  <a:pt x="111" y="93"/>
                  <a:pt x="111" y="93"/>
                </a:cubicBezTo>
                <a:cubicBezTo>
                  <a:pt x="112" y="94"/>
                  <a:pt x="112" y="94"/>
                  <a:pt x="112" y="94"/>
                </a:cubicBezTo>
                <a:cubicBezTo>
                  <a:pt x="114" y="93"/>
                  <a:pt x="114" y="93"/>
                  <a:pt x="114" y="93"/>
                </a:cubicBezTo>
                <a:cubicBezTo>
                  <a:pt x="115" y="94"/>
                  <a:pt x="115" y="94"/>
                  <a:pt x="115" y="94"/>
                </a:cubicBezTo>
                <a:cubicBezTo>
                  <a:pt x="116" y="94"/>
                  <a:pt x="116" y="94"/>
                  <a:pt x="116" y="94"/>
                </a:cubicBezTo>
                <a:cubicBezTo>
                  <a:pt x="116" y="93"/>
                  <a:pt x="116" y="93"/>
                  <a:pt x="116" y="93"/>
                </a:cubicBezTo>
                <a:cubicBezTo>
                  <a:pt x="118" y="93"/>
                  <a:pt x="118" y="93"/>
                  <a:pt x="118" y="93"/>
                </a:cubicBezTo>
                <a:cubicBezTo>
                  <a:pt x="118" y="94"/>
                  <a:pt x="118" y="94"/>
                  <a:pt x="118" y="94"/>
                </a:cubicBezTo>
                <a:cubicBezTo>
                  <a:pt x="119" y="94"/>
                  <a:pt x="119" y="94"/>
                  <a:pt x="119" y="94"/>
                </a:cubicBezTo>
                <a:cubicBezTo>
                  <a:pt x="120" y="94"/>
                  <a:pt x="120" y="94"/>
                  <a:pt x="120" y="94"/>
                </a:cubicBezTo>
                <a:cubicBezTo>
                  <a:pt x="119" y="97"/>
                  <a:pt x="119" y="97"/>
                  <a:pt x="119" y="97"/>
                </a:cubicBezTo>
                <a:cubicBezTo>
                  <a:pt x="119" y="98"/>
                  <a:pt x="119" y="98"/>
                  <a:pt x="119" y="98"/>
                </a:cubicBezTo>
                <a:cubicBezTo>
                  <a:pt x="119" y="98"/>
                  <a:pt x="119" y="98"/>
                  <a:pt x="119" y="98"/>
                </a:cubicBezTo>
                <a:cubicBezTo>
                  <a:pt x="120" y="100"/>
                  <a:pt x="120" y="100"/>
                  <a:pt x="120" y="100"/>
                </a:cubicBezTo>
                <a:cubicBezTo>
                  <a:pt x="119" y="101"/>
                  <a:pt x="119" y="101"/>
                  <a:pt x="119" y="101"/>
                </a:cubicBezTo>
                <a:cubicBezTo>
                  <a:pt x="118" y="100"/>
                  <a:pt x="118" y="100"/>
                  <a:pt x="118" y="100"/>
                </a:cubicBezTo>
                <a:cubicBezTo>
                  <a:pt x="117" y="100"/>
                  <a:pt x="117" y="100"/>
                  <a:pt x="117" y="100"/>
                </a:cubicBezTo>
                <a:cubicBezTo>
                  <a:pt x="115" y="98"/>
                  <a:pt x="115" y="98"/>
                  <a:pt x="115" y="98"/>
                </a:cubicBezTo>
                <a:cubicBezTo>
                  <a:pt x="114" y="98"/>
                  <a:pt x="114" y="98"/>
                  <a:pt x="114" y="98"/>
                </a:cubicBezTo>
                <a:cubicBezTo>
                  <a:pt x="112" y="97"/>
                  <a:pt x="112" y="97"/>
                  <a:pt x="112" y="97"/>
                </a:cubicBezTo>
                <a:cubicBezTo>
                  <a:pt x="112" y="97"/>
                  <a:pt x="112" y="97"/>
                  <a:pt x="112" y="97"/>
                </a:cubicBezTo>
                <a:cubicBezTo>
                  <a:pt x="110" y="98"/>
                  <a:pt x="110" y="98"/>
                  <a:pt x="110" y="98"/>
                </a:cubicBezTo>
                <a:cubicBezTo>
                  <a:pt x="108" y="98"/>
                  <a:pt x="108" y="98"/>
                  <a:pt x="108" y="98"/>
                </a:cubicBezTo>
                <a:cubicBezTo>
                  <a:pt x="106" y="97"/>
                  <a:pt x="106" y="97"/>
                  <a:pt x="106" y="97"/>
                </a:cubicBezTo>
                <a:cubicBezTo>
                  <a:pt x="104" y="97"/>
                  <a:pt x="104" y="97"/>
                  <a:pt x="104" y="97"/>
                </a:cubicBezTo>
                <a:cubicBezTo>
                  <a:pt x="103" y="98"/>
                  <a:pt x="103" y="98"/>
                  <a:pt x="103" y="98"/>
                </a:cubicBezTo>
                <a:cubicBezTo>
                  <a:pt x="101" y="97"/>
                  <a:pt x="101" y="97"/>
                  <a:pt x="101" y="97"/>
                </a:cubicBezTo>
                <a:cubicBezTo>
                  <a:pt x="99" y="97"/>
                  <a:pt x="99" y="97"/>
                  <a:pt x="99" y="97"/>
                </a:cubicBezTo>
                <a:cubicBezTo>
                  <a:pt x="98" y="97"/>
                  <a:pt x="98" y="97"/>
                  <a:pt x="98" y="97"/>
                </a:cubicBezTo>
                <a:cubicBezTo>
                  <a:pt x="95" y="96"/>
                  <a:pt x="95" y="96"/>
                  <a:pt x="95" y="96"/>
                </a:cubicBezTo>
                <a:cubicBezTo>
                  <a:pt x="92" y="94"/>
                  <a:pt x="92" y="94"/>
                  <a:pt x="92" y="94"/>
                </a:cubicBezTo>
                <a:cubicBezTo>
                  <a:pt x="90" y="94"/>
                  <a:pt x="90" y="94"/>
                  <a:pt x="90" y="94"/>
                </a:cubicBezTo>
                <a:cubicBezTo>
                  <a:pt x="88" y="93"/>
                  <a:pt x="88" y="93"/>
                  <a:pt x="88" y="93"/>
                </a:cubicBezTo>
                <a:cubicBezTo>
                  <a:pt x="87" y="93"/>
                  <a:pt x="87" y="93"/>
                  <a:pt x="87" y="93"/>
                </a:cubicBezTo>
                <a:cubicBezTo>
                  <a:pt x="86" y="94"/>
                  <a:pt x="86" y="94"/>
                  <a:pt x="86" y="94"/>
                </a:cubicBezTo>
                <a:cubicBezTo>
                  <a:pt x="85" y="94"/>
                  <a:pt x="85" y="94"/>
                  <a:pt x="85" y="94"/>
                </a:cubicBezTo>
                <a:cubicBezTo>
                  <a:pt x="84" y="93"/>
                  <a:pt x="84" y="93"/>
                  <a:pt x="84" y="93"/>
                </a:cubicBezTo>
                <a:cubicBezTo>
                  <a:pt x="83" y="93"/>
                  <a:pt x="83" y="93"/>
                  <a:pt x="83" y="93"/>
                </a:cubicBezTo>
                <a:cubicBezTo>
                  <a:pt x="82" y="94"/>
                  <a:pt x="82" y="94"/>
                  <a:pt x="82" y="94"/>
                </a:cubicBezTo>
                <a:cubicBezTo>
                  <a:pt x="80" y="93"/>
                  <a:pt x="80" y="93"/>
                  <a:pt x="80" y="93"/>
                </a:cubicBezTo>
                <a:cubicBezTo>
                  <a:pt x="78" y="92"/>
                  <a:pt x="78" y="92"/>
                  <a:pt x="78" y="92"/>
                </a:cubicBezTo>
                <a:cubicBezTo>
                  <a:pt x="76" y="92"/>
                  <a:pt x="76" y="92"/>
                  <a:pt x="76" y="92"/>
                </a:cubicBezTo>
                <a:cubicBezTo>
                  <a:pt x="75" y="91"/>
                  <a:pt x="75" y="91"/>
                  <a:pt x="75" y="91"/>
                </a:cubicBezTo>
                <a:cubicBezTo>
                  <a:pt x="74" y="92"/>
                  <a:pt x="74" y="92"/>
                  <a:pt x="74" y="92"/>
                </a:cubicBezTo>
                <a:cubicBezTo>
                  <a:pt x="72" y="92"/>
                  <a:pt x="72" y="92"/>
                  <a:pt x="72" y="92"/>
                </a:cubicBezTo>
                <a:cubicBezTo>
                  <a:pt x="71" y="91"/>
                  <a:pt x="71" y="91"/>
                  <a:pt x="71" y="91"/>
                </a:cubicBezTo>
                <a:cubicBezTo>
                  <a:pt x="70" y="91"/>
                  <a:pt x="70" y="91"/>
                  <a:pt x="70" y="91"/>
                </a:cubicBezTo>
                <a:cubicBezTo>
                  <a:pt x="71" y="89"/>
                  <a:pt x="71" y="89"/>
                  <a:pt x="71" y="89"/>
                </a:cubicBezTo>
                <a:cubicBezTo>
                  <a:pt x="71" y="89"/>
                  <a:pt x="71" y="89"/>
                  <a:pt x="71" y="89"/>
                </a:cubicBezTo>
                <a:cubicBezTo>
                  <a:pt x="71" y="89"/>
                  <a:pt x="71" y="89"/>
                  <a:pt x="71" y="89"/>
                </a:cubicBezTo>
                <a:cubicBezTo>
                  <a:pt x="70" y="89"/>
                  <a:pt x="70" y="89"/>
                  <a:pt x="70" y="89"/>
                </a:cubicBezTo>
                <a:cubicBezTo>
                  <a:pt x="69" y="88"/>
                  <a:pt x="69" y="88"/>
                  <a:pt x="69" y="88"/>
                </a:cubicBezTo>
                <a:cubicBezTo>
                  <a:pt x="68" y="87"/>
                  <a:pt x="68" y="87"/>
                  <a:pt x="68" y="87"/>
                </a:cubicBezTo>
                <a:cubicBezTo>
                  <a:pt x="67" y="88"/>
                  <a:pt x="67" y="88"/>
                  <a:pt x="67" y="88"/>
                </a:cubicBezTo>
                <a:cubicBezTo>
                  <a:pt x="64" y="88"/>
                  <a:pt x="64" y="88"/>
                  <a:pt x="64" y="88"/>
                </a:cubicBezTo>
                <a:cubicBezTo>
                  <a:pt x="64" y="87"/>
                  <a:pt x="64" y="87"/>
                  <a:pt x="64" y="87"/>
                </a:cubicBezTo>
                <a:cubicBezTo>
                  <a:pt x="64" y="87"/>
                  <a:pt x="64" y="87"/>
                  <a:pt x="64" y="87"/>
                </a:cubicBezTo>
                <a:cubicBezTo>
                  <a:pt x="64" y="87"/>
                  <a:pt x="64" y="87"/>
                  <a:pt x="64" y="87"/>
                </a:cubicBezTo>
                <a:close/>
                <a:moveTo>
                  <a:pt x="80" y="16"/>
                </a:moveTo>
                <a:cubicBezTo>
                  <a:pt x="82" y="17"/>
                  <a:pt x="82" y="17"/>
                  <a:pt x="82" y="17"/>
                </a:cubicBezTo>
                <a:cubicBezTo>
                  <a:pt x="82" y="17"/>
                  <a:pt x="82" y="17"/>
                  <a:pt x="82" y="17"/>
                </a:cubicBezTo>
                <a:cubicBezTo>
                  <a:pt x="82" y="18"/>
                  <a:pt x="82" y="18"/>
                  <a:pt x="82" y="18"/>
                </a:cubicBezTo>
                <a:cubicBezTo>
                  <a:pt x="83" y="18"/>
                  <a:pt x="83" y="18"/>
                  <a:pt x="83" y="18"/>
                </a:cubicBezTo>
                <a:cubicBezTo>
                  <a:pt x="83" y="16"/>
                  <a:pt x="83" y="16"/>
                  <a:pt x="83" y="16"/>
                </a:cubicBezTo>
                <a:cubicBezTo>
                  <a:pt x="82" y="14"/>
                  <a:pt x="82" y="14"/>
                  <a:pt x="82" y="14"/>
                </a:cubicBezTo>
                <a:cubicBezTo>
                  <a:pt x="81" y="15"/>
                  <a:pt x="81" y="15"/>
                  <a:pt x="81" y="15"/>
                </a:cubicBezTo>
                <a:cubicBezTo>
                  <a:pt x="80" y="16"/>
                  <a:pt x="80" y="16"/>
                  <a:pt x="80" y="16"/>
                </a:cubicBezTo>
                <a:close/>
                <a:moveTo>
                  <a:pt x="70" y="24"/>
                </a:moveTo>
                <a:cubicBezTo>
                  <a:pt x="70" y="25"/>
                  <a:pt x="70" y="25"/>
                  <a:pt x="70" y="25"/>
                </a:cubicBezTo>
                <a:cubicBezTo>
                  <a:pt x="71" y="24"/>
                  <a:pt x="71" y="24"/>
                  <a:pt x="71" y="24"/>
                </a:cubicBezTo>
                <a:cubicBezTo>
                  <a:pt x="70" y="24"/>
                  <a:pt x="70" y="24"/>
                  <a:pt x="70" y="24"/>
                </a:cubicBezTo>
                <a:close/>
                <a:moveTo>
                  <a:pt x="70" y="21"/>
                </a:moveTo>
                <a:cubicBezTo>
                  <a:pt x="71" y="20"/>
                  <a:pt x="71" y="20"/>
                  <a:pt x="71" y="20"/>
                </a:cubicBezTo>
                <a:cubicBezTo>
                  <a:pt x="70" y="20"/>
                  <a:pt x="70" y="20"/>
                  <a:pt x="70" y="20"/>
                </a:cubicBezTo>
                <a:cubicBezTo>
                  <a:pt x="70" y="21"/>
                  <a:pt x="70" y="21"/>
                  <a:pt x="70" y="21"/>
                </a:cubicBezTo>
                <a:close/>
                <a:moveTo>
                  <a:pt x="70" y="22"/>
                </a:moveTo>
                <a:cubicBezTo>
                  <a:pt x="70" y="22"/>
                  <a:pt x="70" y="22"/>
                  <a:pt x="70" y="22"/>
                </a:cubicBezTo>
                <a:cubicBezTo>
                  <a:pt x="70" y="22"/>
                  <a:pt x="70" y="22"/>
                  <a:pt x="70" y="22"/>
                </a:cubicBezTo>
                <a:cubicBezTo>
                  <a:pt x="70" y="22"/>
                  <a:pt x="70" y="22"/>
                  <a:pt x="70" y="22"/>
                </a:cubicBezTo>
                <a:close/>
                <a:moveTo>
                  <a:pt x="66" y="23"/>
                </a:moveTo>
                <a:cubicBezTo>
                  <a:pt x="66" y="24"/>
                  <a:pt x="66" y="24"/>
                  <a:pt x="66" y="24"/>
                </a:cubicBezTo>
                <a:cubicBezTo>
                  <a:pt x="67" y="24"/>
                  <a:pt x="67" y="24"/>
                  <a:pt x="67" y="24"/>
                </a:cubicBezTo>
                <a:cubicBezTo>
                  <a:pt x="68" y="23"/>
                  <a:pt x="68" y="23"/>
                  <a:pt x="68" y="23"/>
                </a:cubicBezTo>
                <a:cubicBezTo>
                  <a:pt x="67" y="23"/>
                  <a:pt x="67" y="23"/>
                  <a:pt x="67" y="23"/>
                </a:cubicBezTo>
                <a:cubicBezTo>
                  <a:pt x="66" y="23"/>
                  <a:pt x="66" y="23"/>
                  <a:pt x="66" y="23"/>
                </a:cubicBezTo>
                <a:close/>
                <a:moveTo>
                  <a:pt x="55" y="37"/>
                </a:moveTo>
                <a:cubicBezTo>
                  <a:pt x="57" y="37"/>
                  <a:pt x="57" y="37"/>
                  <a:pt x="57" y="37"/>
                </a:cubicBezTo>
                <a:cubicBezTo>
                  <a:pt x="57" y="36"/>
                  <a:pt x="57" y="36"/>
                  <a:pt x="57" y="36"/>
                </a:cubicBezTo>
                <a:cubicBezTo>
                  <a:pt x="57" y="35"/>
                  <a:pt x="57" y="35"/>
                  <a:pt x="57" y="35"/>
                </a:cubicBezTo>
                <a:cubicBezTo>
                  <a:pt x="55" y="37"/>
                  <a:pt x="55" y="37"/>
                  <a:pt x="55" y="37"/>
                </a:cubicBezTo>
                <a:close/>
                <a:moveTo>
                  <a:pt x="58" y="35"/>
                </a:moveTo>
                <a:cubicBezTo>
                  <a:pt x="58" y="37"/>
                  <a:pt x="58" y="37"/>
                  <a:pt x="58" y="37"/>
                </a:cubicBezTo>
                <a:cubicBezTo>
                  <a:pt x="59" y="37"/>
                  <a:pt x="59" y="37"/>
                  <a:pt x="59" y="37"/>
                </a:cubicBezTo>
                <a:cubicBezTo>
                  <a:pt x="60" y="39"/>
                  <a:pt x="60" y="39"/>
                  <a:pt x="60" y="39"/>
                </a:cubicBezTo>
                <a:cubicBezTo>
                  <a:pt x="60" y="38"/>
                  <a:pt x="60" y="38"/>
                  <a:pt x="60" y="38"/>
                </a:cubicBezTo>
                <a:cubicBezTo>
                  <a:pt x="61" y="36"/>
                  <a:pt x="61" y="36"/>
                  <a:pt x="61" y="36"/>
                </a:cubicBezTo>
                <a:cubicBezTo>
                  <a:pt x="60" y="36"/>
                  <a:pt x="60" y="36"/>
                  <a:pt x="60" y="36"/>
                </a:cubicBezTo>
                <a:cubicBezTo>
                  <a:pt x="61" y="35"/>
                  <a:pt x="61" y="35"/>
                  <a:pt x="61" y="35"/>
                </a:cubicBezTo>
                <a:cubicBezTo>
                  <a:pt x="60" y="35"/>
                  <a:pt x="60" y="35"/>
                  <a:pt x="60" y="35"/>
                </a:cubicBezTo>
                <a:cubicBezTo>
                  <a:pt x="59" y="35"/>
                  <a:pt x="59" y="35"/>
                  <a:pt x="59" y="35"/>
                </a:cubicBezTo>
                <a:cubicBezTo>
                  <a:pt x="58" y="35"/>
                  <a:pt x="58" y="35"/>
                  <a:pt x="58" y="35"/>
                </a:cubicBezTo>
                <a:close/>
                <a:moveTo>
                  <a:pt x="86" y="54"/>
                </a:moveTo>
                <a:cubicBezTo>
                  <a:pt x="86" y="55"/>
                  <a:pt x="86" y="55"/>
                  <a:pt x="86" y="55"/>
                </a:cubicBezTo>
                <a:cubicBezTo>
                  <a:pt x="87" y="55"/>
                  <a:pt x="87" y="55"/>
                  <a:pt x="87" y="55"/>
                </a:cubicBezTo>
                <a:cubicBezTo>
                  <a:pt x="88" y="55"/>
                  <a:pt x="88" y="55"/>
                  <a:pt x="88" y="55"/>
                </a:cubicBezTo>
                <a:cubicBezTo>
                  <a:pt x="87" y="54"/>
                  <a:pt x="87" y="54"/>
                  <a:pt x="87" y="54"/>
                </a:cubicBezTo>
                <a:cubicBezTo>
                  <a:pt x="86" y="54"/>
                  <a:pt x="86" y="54"/>
                  <a:pt x="86" y="54"/>
                </a:cubicBezTo>
                <a:close/>
                <a:moveTo>
                  <a:pt x="78" y="60"/>
                </a:moveTo>
                <a:cubicBezTo>
                  <a:pt x="78" y="61"/>
                  <a:pt x="78" y="61"/>
                  <a:pt x="78" y="61"/>
                </a:cubicBezTo>
                <a:cubicBezTo>
                  <a:pt x="78" y="62"/>
                  <a:pt x="78" y="62"/>
                  <a:pt x="78" y="62"/>
                </a:cubicBezTo>
                <a:cubicBezTo>
                  <a:pt x="77" y="62"/>
                  <a:pt x="77" y="62"/>
                  <a:pt x="77" y="62"/>
                </a:cubicBezTo>
                <a:cubicBezTo>
                  <a:pt x="77" y="63"/>
                  <a:pt x="77" y="63"/>
                  <a:pt x="77" y="63"/>
                </a:cubicBezTo>
                <a:cubicBezTo>
                  <a:pt x="78" y="63"/>
                  <a:pt x="78" y="63"/>
                  <a:pt x="78" y="63"/>
                </a:cubicBezTo>
                <a:cubicBezTo>
                  <a:pt x="78" y="62"/>
                  <a:pt x="78" y="62"/>
                  <a:pt x="78" y="62"/>
                </a:cubicBezTo>
                <a:cubicBezTo>
                  <a:pt x="78" y="62"/>
                  <a:pt x="78" y="62"/>
                  <a:pt x="78" y="62"/>
                </a:cubicBezTo>
                <a:cubicBezTo>
                  <a:pt x="78" y="64"/>
                  <a:pt x="78" y="64"/>
                  <a:pt x="78" y="64"/>
                </a:cubicBezTo>
                <a:cubicBezTo>
                  <a:pt x="79" y="65"/>
                  <a:pt x="79" y="65"/>
                  <a:pt x="79" y="65"/>
                </a:cubicBezTo>
                <a:cubicBezTo>
                  <a:pt x="80" y="63"/>
                  <a:pt x="80" y="63"/>
                  <a:pt x="80" y="63"/>
                </a:cubicBezTo>
                <a:cubicBezTo>
                  <a:pt x="81" y="64"/>
                  <a:pt x="81" y="64"/>
                  <a:pt x="81" y="64"/>
                </a:cubicBezTo>
                <a:cubicBezTo>
                  <a:pt x="82" y="64"/>
                  <a:pt x="82" y="64"/>
                  <a:pt x="82" y="64"/>
                </a:cubicBezTo>
                <a:cubicBezTo>
                  <a:pt x="82" y="63"/>
                  <a:pt x="82" y="63"/>
                  <a:pt x="82" y="63"/>
                </a:cubicBezTo>
                <a:cubicBezTo>
                  <a:pt x="83" y="63"/>
                  <a:pt x="83" y="63"/>
                  <a:pt x="83" y="63"/>
                </a:cubicBezTo>
                <a:cubicBezTo>
                  <a:pt x="83" y="62"/>
                  <a:pt x="83" y="62"/>
                  <a:pt x="83" y="62"/>
                </a:cubicBezTo>
                <a:cubicBezTo>
                  <a:pt x="81" y="60"/>
                  <a:pt x="81" y="60"/>
                  <a:pt x="81" y="60"/>
                </a:cubicBezTo>
                <a:cubicBezTo>
                  <a:pt x="79" y="60"/>
                  <a:pt x="79" y="60"/>
                  <a:pt x="79" y="60"/>
                </a:cubicBezTo>
                <a:cubicBezTo>
                  <a:pt x="78" y="60"/>
                  <a:pt x="78" y="60"/>
                  <a:pt x="78" y="60"/>
                </a:cubicBezTo>
                <a:close/>
                <a:moveTo>
                  <a:pt x="74" y="62"/>
                </a:moveTo>
                <a:cubicBezTo>
                  <a:pt x="74" y="63"/>
                  <a:pt x="74" y="63"/>
                  <a:pt x="74" y="63"/>
                </a:cubicBezTo>
                <a:cubicBezTo>
                  <a:pt x="75" y="63"/>
                  <a:pt x="75" y="63"/>
                  <a:pt x="75" y="63"/>
                </a:cubicBezTo>
                <a:cubicBezTo>
                  <a:pt x="74" y="62"/>
                  <a:pt x="74" y="62"/>
                  <a:pt x="74" y="62"/>
                </a:cubicBezTo>
                <a:close/>
                <a:moveTo>
                  <a:pt x="65" y="54"/>
                </a:moveTo>
                <a:cubicBezTo>
                  <a:pt x="65" y="55"/>
                  <a:pt x="65" y="55"/>
                  <a:pt x="65" y="55"/>
                </a:cubicBezTo>
                <a:cubicBezTo>
                  <a:pt x="64" y="56"/>
                  <a:pt x="64" y="56"/>
                  <a:pt x="64" y="56"/>
                </a:cubicBezTo>
                <a:cubicBezTo>
                  <a:pt x="65" y="57"/>
                  <a:pt x="65" y="57"/>
                  <a:pt x="65" y="57"/>
                </a:cubicBezTo>
                <a:cubicBezTo>
                  <a:pt x="67" y="58"/>
                  <a:pt x="67" y="58"/>
                  <a:pt x="67" y="58"/>
                </a:cubicBezTo>
                <a:cubicBezTo>
                  <a:pt x="67" y="58"/>
                  <a:pt x="67" y="58"/>
                  <a:pt x="67" y="58"/>
                </a:cubicBezTo>
                <a:cubicBezTo>
                  <a:pt x="67" y="59"/>
                  <a:pt x="67" y="59"/>
                  <a:pt x="67" y="59"/>
                </a:cubicBezTo>
                <a:cubicBezTo>
                  <a:pt x="68" y="60"/>
                  <a:pt x="68" y="60"/>
                  <a:pt x="68" y="60"/>
                </a:cubicBezTo>
                <a:cubicBezTo>
                  <a:pt x="69" y="61"/>
                  <a:pt x="69" y="61"/>
                  <a:pt x="69" y="61"/>
                </a:cubicBezTo>
                <a:cubicBezTo>
                  <a:pt x="70" y="62"/>
                  <a:pt x="70" y="62"/>
                  <a:pt x="70" y="62"/>
                </a:cubicBezTo>
                <a:cubicBezTo>
                  <a:pt x="71" y="62"/>
                  <a:pt x="71" y="62"/>
                  <a:pt x="71" y="62"/>
                </a:cubicBezTo>
                <a:cubicBezTo>
                  <a:pt x="72" y="63"/>
                  <a:pt x="72" y="63"/>
                  <a:pt x="72" y="63"/>
                </a:cubicBezTo>
                <a:cubicBezTo>
                  <a:pt x="72" y="64"/>
                  <a:pt x="72" y="64"/>
                  <a:pt x="72" y="64"/>
                </a:cubicBezTo>
                <a:cubicBezTo>
                  <a:pt x="73" y="63"/>
                  <a:pt x="73" y="63"/>
                  <a:pt x="73" y="63"/>
                </a:cubicBezTo>
                <a:cubicBezTo>
                  <a:pt x="72" y="62"/>
                  <a:pt x="72" y="62"/>
                  <a:pt x="72" y="62"/>
                </a:cubicBezTo>
                <a:cubicBezTo>
                  <a:pt x="73" y="60"/>
                  <a:pt x="73" y="60"/>
                  <a:pt x="73" y="60"/>
                </a:cubicBezTo>
                <a:cubicBezTo>
                  <a:pt x="71" y="60"/>
                  <a:pt x="71" y="60"/>
                  <a:pt x="71" y="60"/>
                </a:cubicBezTo>
                <a:cubicBezTo>
                  <a:pt x="70" y="58"/>
                  <a:pt x="70" y="58"/>
                  <a:pt x="70" y="58"/>
                </a:cubicBezTo>
                <a:cubicBezTo>
                  <a:pt x="69" y="55"/>
                  <a:pt x="69" y="55"/>
                  <a:pt x="69" y="55"/>
                </a:cubicBezTo>
                <a:cubicBezTo>
                  <a:pt x="69" y="55"/>
                  <a:pt x="69" y="55"/>
                  <a:pt x="69" y="55"/>
                </a:cubicBezTo>
                <a:cubicBezTo>
                  <a:pt x="68" y="54"/>
                  <a:pt x="68" y="54"/>
                  <a:pt x="68" y="54"/>
                </a:cubicBezTo>
                <a:cubicBezTo>
                  <a:pt x="68" y="54"/>
                  <a:pt x="68" y="54"/>
                  <a:pt x="68" y="54"/>
                </a:cubicBezTo>
                <a:cubicBezTo>
                  <a:pt x="67" y="54"/>
                  <a:pt x="67" y="54"/>
                  <a:pt x="67" y="54"/>
                </a:cubicBezTo>
                <a:cubicBezTo>
                  <a:pt x="67" y="55"/>
                  <a:pt x="67" y="55"/>
                  <a:pt x="67" y="55"/>
                </a:cubicBezTo>
                <a:cubicBezTo>
                  <a:pt x="67" y="55"/>
                  <a:pt x="67" y="55"/>
                  <a:pt x="67" y="55"/>
                </a:cubicBezTo>
                <a:cubicBezTo>
                  <a:pt x="66" y="55"/>
                  <a:pt x="66" y="55"/>
                  <a:pt x="66" y="55"/>
                </a:cubicBezTo>
                <a:cubicBezTo>
                  <a:pt x="65" y="54"/>
                  <a:pt x="65" y="54"/>
                  <a:pt x="65" y="54"/>
                </a:cubicBezTo>
                <a:cubicBezTo>
                  <a:pt x="65" y="54"/>
                  <a:pt x="65" y="54"/>
                  <a:pt x="65" y="54"/>
                </a:cubicBezTo>
                <a:close/>
                <a:moveTo>
                  <a:pt x="59" y="47"/>
                </a:moveTo>
                <a:cubicBezTo>
                  <a:pt x="58" y="48"/>
                  <a:pt x="58" y="48"/>
                  <a:pt x="58" y="48"/>
                </a:cubicBezTo>
                <a:cubicBezTo>
                  <a:pt x="59" y="48"/>
                  <a:pt x="59" y="48"/>
                  <a:pt x="59" y="48"/>
                </a:cubicBezTo>
                <a:cubicBezTo>
                  <a:pt x="60" y="48"/>
                  <a:pt x="60" y="48"/>
                  <a:pt x="60" y="48"/>
                </a:cubicBezTo>
                <a:cubicBezTo>
                  <a:pt x="60" y="47"/>
                  <a:pt x="60" y="47"/>
                  <a:pt x="60" y="47"/>
                </a:cubicBezTo>
                <a:cubicBezTo>
                  <a:pt x="59" y="47"/>
                  <a:pt x="59" y="47"/>
                  <a:pt x="59" y="47"/>
                </a:cubicBezTo>
                <a:close/>
                <a:moveTo>
                  <a:pt x="60" y="44"/>
                </a:moveTo>
                <a:cubicBezTo>
                  <a:pt x="59" y="45"/>
                  <a:pt x="59" y="45"/>
                  <a:pt x="59" y="45"/>
                </a:cubicBezTo>
                <a:cubicBezTo>
                  <a:pt x="60" y="46"/>
                  <a:pt x="60" y="46"/>
                  <a:pt x="60" y="46"/>
                </a:cubicBezTo>
                <a:cubicBezTo>
                  <a:pt x="61" y="46"/>
                  <a:pt x="61" y="46"/>
                  <a:pt x="61" y="46"/>
                </a:cubicBezTo>
                <a:cubicBezTo>
                  <a:pt x="62" y="46"/>
                  <a:pt x="62" y="46"/>
                  <a:pt x="62" y="46"/>
                </a:cubicBezTo>
                <a:cubicBezTo>
                  <a:pt x="63" y="46"/>
                  <a:pt x="63" y="46"/>
                  <a:pt x="63" y="46"/>
                </a:cubicBezTo>
                <a:cubicBezTo>
                  <a:pt x="61" y="44"/>
                  <a:pt x="61" y="44"/>
                  <a:pt x="61" y="44"/>
                </a:cubicBezTo>
                <a:cubicBezTo>
                  <a:pt x="60" y="44"/>
                  <a:pt x="60" y="44"/>
                  <a:pt x="60" y="44"/>
                </a:cubicBezTo>
                <a:close/>
                <a:moveTo>
                  <a:pt x="47" y="36"/>
                </a:moveTo>
                <a:cubicBezTo>
                  <a:pt x="46" y="37"/>
                  <a:pt x="46" y="37"/>
                  <a:pt x="46" y="37"/>
                </a:cubicBezTo>
                <a:cubicBezTo>
                  <a:pt x="47" y="38"/>
                  <a:pt x="47" y="38"/>
                  <a:pt x="47" y="38"/>
                </a:cubicBezTo>
                <a:cubicBezTo>
                  <a:pt x="49" y="39"/>
                  <a:pt x="49" y="39"/>
                  <a:pt x="49" y="39"/>
                </a:cubicBezTo>
                <a:cubicBezTo>
                  <a:pt x="50" y="39"/>
                  <a:pt x="50" y="39"/>
                  <a:pt x="50" y="39"/>
                </a:cubicBezTo>
                <a:cubicBezTo>
                  <a:pt x="51" y="39"/>
                  <a:pt x="51" y="39"/>
                  <a:pt x="51" y="39"/>
                </a:cubicBezTo>
                <a:cubicBezTo>
                  <a:pt x="50" y="37"/>
                  <a:pt x="50" y="37"/>
                  <a:pt x="50" y="37"/>
                </a:cubicBezTo>
                <a:cubicBezTo>
                  <a:pt x="49" y="36"/>
                  <a:pt x="49" y="36"/>
                  <a:pt x="49" y="36"/>
                </a:cubicBezTo>
                <a:cubicBezTo>
                  <a:pt x="47" y="36"/>
                  <a:pt x="47" y="36"/>
                  <a:pt x="47" y="36"/>
                </a:cubicBezTo>
                <a:close/>
                <a:moveTo>
                  <a:pt x="44" y="34"/>
                </a:moveTo>
                <a:cubicBezTo>
                  <a:pt x="44" y="34"/>
                  <a:pt x="44" y="34"/>
                  <a:pt x="44" y="34"/>
                </a:cubicBezTo>
                <a:cubicBezTo>
                  <a:pt x="46" y="34"/>
                  <a:pt x="46" y="34"/>
                  <a:pt x="46" y="34"/>
                </a:cubicBezTo>
                <a:cubicBezTo>
                  <a:pt x="47" y="35"/>
                  <a:pt x="47" y="35"/>
                  <a:pt x="47" y="35"/>
                </a:cubicBezTo>
                <a:cubicBezTo>
                  <a:pt x="46" y="36"/>
                  <a:pt x="46" y="36"/>
                  <a:pt x="46" y="36"/>
                </a:cubicBezTo>
                <a:cubicBezTo>
                  <a:pt x="45" y="36"/>
                  <a:pt x="45" y="36"/>
                  <a:pt x="45" y="36"/>
                </a:cubicBezTo>
                <a:cubicBezTo>
                  <a:pt x="44" y="34"/>
                  <a:pt x="44" y="34"/>
                  <a:pt x="44" y="34"/>
                </a:cubicBezTo>
                <a:close/>
                <a:moveTo>
                  <a:pt x="39" y="31"/>
                </a:moveTo>
                <a:cubicBezTo>
                  <a:pt x="40" y="32"/>
                  <a:pt x="40" y="32"/>
                  <a:pt x="40" y="32"/>
                </a:cubicBezTo>
                <a:cubicBezTo>
                  <a:pt x="41" y="32"/>
                  <a:pt x="41" y="32"/>
                  <a:pt x="41" y="32"/>
                </a:cubicBezTo>
                <a:cubicBezTo>
                  <a:pt x="42" y="31"/>
                  <a:pt x="42" y="31"/>
                  <a:pt x="42" y="31"/>
                </a:cubicBezTo>
                <a:cubicBezTo>
                  <a:pt x="41" y="30"/>
                  <a:pt x="41" y="30"/>
                  <a:pt x="41" y="30"/>
                </a:cubicBezTo>
                <a:cubicBezTo>
                  <a:pt x="41" y="30"/>
                  <a:pt x="41" y="30"/>
                  <a:pt x="41" y="30"/>
                </a:cubicBezTo>
                <a:cubicBezTo>
                  <a:pt x="39" y="31"/>
                  <a:pt x="39" y="31"/>
                  <a:pt x="39" y="31"/>
                </a:cubicBezTo>
                <a:close/>
                <a:moveTo>
                  <a:pt x="44" y="78"/>
                </a:moveTo>
                <a:cubicBezTo>
                  <a:pt x="45" y="79"/>
                  <a:pt x="45" y="79"/>
                  <a:pt x="45" y="79"/>
                </a:cubicBezTo>
                <a:cubicBezTo>
                  <a:pt x="45" y="78"/>
                  <a:pt x="45" y="78"/>
                  <a:pt x="45" y="78"/>
                </a:cubicBezTo>
                <a:cubicBezTo>
                  <a:pt x="45" y="77"/>
                  <a:pt x="45" y="77"/>
                  <a:pt x="45" y="77"/>
                </a:cubicBezTo>
                <a:cubicBezTo>
                  <a:pt x="44" y="78"/>
                  <a:pt x="44" y="78"/>
                  <a:pt x="44" y="78"/>
                </a:cubicBezTo>
                <a:close/>
                <a:moveTo>
                  <a:pt x="32" y="62"/>
                </a:moveTo>
                <a:cubicBezTo>
                  <a:pt x="31" y="63"/>
                  <a:pt x="31" y="63"/>
                  <a:pt x="31" y="63"/>
                </a:cubicBezTo>
                <a:cubicBezTo>
                  <a:pt x="34" y="65"/>
                  <a:pt x="34" y="65"/>
                  <a:pt x="34" y="65"/>
                </a:cubicBezTo>
                <a:cubicBezTo>
                  <a:pt x="33" y="64"/>
                  <a:pt x="33" y="64"/>
                  <a:pt x="33" y="64"/>
                </a:cubicBezTo>
                <a:cubicBezTo>
                  <a:pt x="34" y="63"/>
                  <a:pt x="34" y="63"/>
                  <a:pt x="34" y="63"/>
                </a:cubicBezTo>
                <a:cubicBezTo>
                  <a:pt x="32" y="62"/>
                  <a:pt x="32" y="62"/>
                  <a:pt x="32" y="62"/>
                </a:cubicBezTo>
                <a:close/>
                <a:moveTo>
                  <a:pt x="30" y="61"/>
                </a:moveTo>
                <a:cubicBezTo>
                  <a:pt x="31" y="61"/>
                  <a:pt x="31" y="61"/>
                  <a:pt x="31" y="61"/>
                </a:cubicBezTo>
                <a:cubicBezTo>
                  <a:pt x="31" y="62"/>
                  <a:pt x="31" y="62"/>
                  <a:pt x="31" y="62"/>
                </a:cubicBezTo>
                <a:cubicBezTo>
                  <a:pt x="30" y="61"/>
                  <a:pt x="30" y="61"/>
                  <a:pt x="30" y="61"/>
                </a:cubicBezTo>
                <a:close/>
                <a:moveTo>
                  <a:pt x="28" y="57"/>
                </a:moveTo>
                <a:cubicBezTo>
                  <a:pt x="27" y="57"/>
                  <a:pt x="27" y="57"/>
                  <a:pt x="27" y="57"/>
                </a:cubicBezTo>
                <a:cubicBezTo>
                  <a:pt x="28" y="58"/>
                  <a:pt x="28" y="58"/>
                  <a:pt x="28" y="58"/>
                </a:cubicBezTo>
                <a:cubicBezTo>
                  <a:pt x="30" y="59"/>
                  <a:pt x="30" y="59"/>
                  <a:pt x="30" y="59"/>
                </a:cubicBezTo>
                <a:cubicBezTo>
                  <a:pt x="28" y="57"/>
                  <a:pt x="28" y="57"/>
                  <a:pt x="28" y="57"/>
                </a:cubicBezTo>
                <a:close/>
                <a:moveTo>
                  <a:pt x="21" y="51"/>
                </a:moveTo>
                <a:cubicBezTo>
                  <a:pt x="21" y="52"/>
                  <a:pt x="21" y="52"/>
                  <a:pt x="21" y="52"/>
                </a:cubicBezTo>
                <a:cubicBezTo>
                  <a:pt x="23" y="52"/>
                  <a:pt x="23" y="52"/>
                  <a:pt x="23" y="52"/>
                </a:cubicBezTo>
                <a:cubicBezTo>
                  <a:pt x="24" y="55"/>
                  <a:pt x="24" y="55"/>
                  <a:pt x="24" y="55"/>
                </a:cubicBezTo>
                <a:cubicBezTo>
                  <a:pt x="26" y="55"/>
                  <a:pt x="26" y="55"/>
                  <a:pt x="26" y="55"/>
                </a:cubicBezTo>
                <a:cubicBezTo>
                  <a:pt x="26" y="53"/>
                  <a:pt x="26" y="53"/>
                  <a:pt x="26" y="53"/>
                </a:cubicBezTo>
                <a:cubicBezTo>
                  <a:pt x="24" y="50"/>
                  <a:pt x="24" y="50"/>
                  <a:pt x="24" y="50"/>
                </a:cubicBezTo>
                <a:cubicBezTo>
                  <a:pt x="23" y="50"/>
                  <a:pt x="23" y="50"/>
                  <a:pt x="23" y="50"/>
                </a:cubicBezTo>
                <a:cubicBezTo>
                  <a:pt x="21" y="51"/>
                  <a:pt x="21" y="51"/>
                  <a:pt x="21" y="51"/>
                </a:cubicBezTo>
                <a:close/>
                <a:moveTo>
                  <a:pt x="20" y="46"/>
                </a:moveTo>
                <a:cubicBezTo>
                  <a:pt x="20" y="48"/>
                  <a:pt x="20" y="48"/>
                  <a:pt x="20" y="48"/>
                </a:cubicBezTo>
                <a:cubicBezTo>
                  <a:pt x="20" y="48"/>
                  <a:pt x="20" y="48"/>
                  <a:pt x="20" y="48"/>
                </a:cubicBezTo>
                <a:cubicBezTo>
                  <a:pt x="21" y="48"/>
                  <a:pt x="21" y="48"/>
                  <a:pt x="21" y="48"/>
                </a:cubicBezTo>
                <a:cubicBezTo>
                  <a:pt x="21" y="47"/>
                  <a:pt x="21" y="47"/>
                  <a:pt x="21" y="47"/>
                </a:cubicBezTo>
                <a:cubicBezTo>
                  <a:pt x="20" y="46"/>
                  <a:pt x="20" y="46"/>
                  <a:pt x="20" y="46"/>
                </a:cubicBezTo>
                <a:close/>
                <a:moveTo>
                  <a:pt x="21" y="43"/>
                </a:moveTo>
                <a:cubicBezTo>
                  <a:pt x="23" y="43"/>
                  <a:pt x="23" y="43"/>
                  <a:pt x="23" y="43"/>
                </a:cubicBezTo>
                <a:cubicBezTo>
                  <a:pt x="23" y="43"/>
                  <a:pt x="23" y="43"/>
                  <a:pt x="23" y="43"/>
                </a:cubicBezTo>
                <a:cubicBezTo>
                  <a:pt x="23" y="42"/>
                  <a:pt x="23" y="42"/>
                  <a:pt x="23" y="42"/>
                </a:cubicBezTo>
                <a:cubicBezTo>
                  <a:pt x="22" y="42"/>
                  <a:pt x="22" y="42"/>
                  <a:pt x="22" y="42"/>
                </a:cubicBezTo>
                <a:cubicBezTo>
                  <a:pt x="21" y="43"/>
                  <a:pt x="21" y="43"/>
                  <a:pt x="21" y="43"/>
                </a:cubicBezTo>
                <a:close/>
                <a:moveTo>
                  <a:pt x="12" y="34"/>
                </a:moveTo>
                <a:cubicBezTo>
                  <a:pt x="13" y="34"/>
                  <a:pt x="13" y="34"/>
                  <a:pt x="13" y="34"/>
                </a:cubicBezTo>
                <a:cubicBezTo>
                  <a:pt x="14" y="34"/>
                  <a:pt x="14" y="34"/>
                  <a:pt x="14" y="34"/>
                </a:cubicBezTo>
                <a:cubicBezTo>
                  <a:pt x="15" y="34"/>
                  <a:pt x="15" y="34"/>
                  <a:pt x="15" y="34"/>
                </a:cubicBezTo>
                <a:cubicBezTo>
                  <a:pt x="16" y="36"/>
                  <a:pt x="16" y="36"/>
                  <a:pt x="16" y="36"/>
                </a:cubicBezTo>
                <a:cubicBezTo>
                  <a:pt x="17" y="37"/>
                  <a:pt x="17" y="37"/>
                  <a:pt x="17" y="37"/>
                </a:cubicBezTo>
                <a:cubicBezTo>
                  <a:pt x="17" y="38"/>
                  <a:pt x="17" y="38"/>
                  <a:pt x="17" y="38"/>
                </a:cubicBezTo>
                <a:cubicBezTo>
                  <a:pt x="17" y="39"/>
                  <a:pt x="17" y="39"/>
                  <a:pt x="17" y="39"/>
                </a:cubicBezTo>
                <a:cubicBezTo>
                  <a:pt x="16" y="40"/>
                  <a:pt x="16" y="40"/>
                  <a:pt x="16" y="40"/>
                </a:cubicBezTo>
                <a:cubicBezTo>
                  <a:pt x="15" y="37"/>
                  <a:pt x="15" y="37"/>
                  <a:pt x="15" y="37"/>
                </a:cubicBezTo>
                <a:cubicBezTo>
                  <a:pt x="14" y="37"/>
                  <a:pt x="14" y="37"/>
                  <a:pt x="14" y="37"/>
                </a:cubicBezTo>
                <a:cubicBezTo>
                  <a:pt x="14" y="36"/>
                  <a:pt x="14" y="36"/>
                  <a:pt x="14" y="36"/>
                </a:cubicBezTo>
                <a:cubicBezTo>
                  <a:pt x="12" y="34"/>
                  <a:pt x="12" y="34"/>
                  <a:pt x="12" y="34"/>
                </a:cubicBezTo>
                <a:close/>
                <a:moveTo>
                  <a:pt x="12" y="30"/>
                </a:moveTo>
                <a:cubicBezTo>
                  <a:pt x="14" y="30"/>
                  <a:pt x="14" y="30"/>
                  <a:pt x="14" y="30"/>
                </a:cubicBezTo>
                <a:cubicBezTo>
                  <a:pt x="13" y="29"/>
                  <a:pt x="13" y="29"/>
                  <a:pt x="13" y="29"/>
                </a:cubicBezTo>
                <a:cubicBezTo>
                  <a:pt x="12" y="30"/>
                  <a:pt x="12" y="30"/>
                  <a:pt x="12" y="30"/>
                </a:cubicBezTo>
                <a:close/>
                <a:moveTo>
                  <a:pt x="4" y="24"/>
                </a:moveTo>
                <a:cubicBezTo>
                  <a:pt x="3" y="25"/>
                  <a:pt x="3" y="25"/>
                  <a:pt x="3" y="25"/>
                </a:cubicBezTo>
                <a:cubicBezTo>
                  <a:pt x="3" y="25"/>
                  <a:pt x="3" y="25"/>
                  <a:pt x="3" y="25"/>
                </a:cubicBezTo>
                <a:cubicBezTo>
                  <a:pt x="4" y="26"/>
                  <a:pt x="4" y="26"/>
                  <a:pt x="4" y="26"/>
                </a:cubicBezTo>
                <a:cubicBezTo>
                  <a:pt x="5" y="26"/>
                  <a:pt x="5" y="26"/>
                  <a:pt x="5" y="26"/>
                </a:cubicBezTo>
                <a:cubicBezTo>
                  <a:pt x="5" y="25"/>
                  <a:pt x="5" y="25"/>
                  <a:pt x="5" y="25"/>
                </a:cubicBezTo>
                <a:cubicBezTo>
                  <a:pt x="4" y="24"/>
                  <a:pt x="4" y="24"/>
                  <a:pt x="4" y="24"/>
                </a:cubicBezTo>
                <a:close/>
                <a:moveTo>
                  <a:pt x="0" y="6"/>
                </a:moveTo>
                <a:cubicBezTo>
                  <a:pt x="0" y="7"/>
                  <a:pt x="0" y="7"/>
                  <a:pt x="0" y="7"/>
                </a:cubicBezTo>
                <a:cubicBezTo>
                  <a:pt x="0" y="9"/>
                  <a:pt x="0" y="9"/>
                  <a:pt x="0" y="9"/>
                </a:cubicBezTo>
                <a:cubicBezTo>
                  <a:pt x="2" y="12"/>
                  <a:pt x="2" y="12"/>
                  <a:pt x="2" y="12"/>
                </a:cubicBezTo>
                <a:cubicBezTo>
                  <a:pt x="3" y="13"/>
                  <a:pt x="3" y="13"/>
                  <a:pt x="3" y="13"/>
                </a:cubicBezTo>
                <a:cubicBezTo>
                  <a:pt x="5" y="16"/>
                  <a:pt x="5" y="16"/>
                  <a:pt x="5" y="16"/>
                </a:cubicBezTo>
                <a:cubicBezTo>
                  <a:pt x="6" y="16"/>
                  <a:pt x="6" y="16"/>
                  <a:pt x="6" y="16"/>
                </a:cubicBezTo>
                <a:cubicBezTo>
                  <a:pt x="8" y="18"/>
                  <a:pt x="8" y="18"/>
                  <a:pt x="8" y="18"/>
                </a:cubicBezTo>
                <a:cubicBezTo>
                  <a:pt x="9" y="18"/>
                  <a:pt x="9" y="18"/>
                  <a:pt x="9" y="18"/>
                </a:cubicBezTo>
                <a:cubicBezTo>
                  <a:pt x="10" y="18"/>
                  <a:pt x="10" y="18"/>
                  <a:pt x="10" y="18"/>
                </a:cubicBezTo>
                <a:cubicBezTo>
                  <a:pt x="12" y="20"/>
                  <a:pt x="12" y="20"/>
                  <a:pt x="12" y="20"/>
                </a:cubicBezTo>
                <a:cubicBezTo>
                  <a:pt x="14" y="23"/>
                  <a:pt x="14" y="23"/>
                  <a:pt x="14" y="23"/>
                </a:cubicBezTo>
                <a:cubicBezTo>
                  <a:pt x="16" y="25"/>
                  <a:pt x="16" y="25"/>
                  <a:pt x="16" y="25"/>
                </a:cubicBezTo>
                <a:cubicBezTo>
                  <a:pt x="17" y="25"/>
                  <a:pt x="17" y="25"/>
                  <a:pt x="17" y="25"/>
                </a:cubicBezTo>
                <a:cubicBezTo>
                  <a:pt x="17" y="27"/>
                  <a:pt x="17" y="27"/>
                  <a:pt x="17" y="27"/>
                </a:cubicBezTo>
                <a:cubicBezTo>
                  <a:pt x="17" y="27"/>
                  <a:pt x="17" y="27"/>
                  <a:pt x="17" y="27"/>
                </a:cubicBezTo>
                <a:cubicBezTo>
                  <a:pt x="18" y="29"/>
                  <a:pt x="18" y="29"/>
                  <a:pt x="18" y="29"/>
                </a:cubicBezTo>
                <a:cubicBezTo>
                  <a:pt x="18" y="30"/>
                  <a:pt x="18" y="30"/>
                  <a:pt x="18" y="30"/>
                </a:cubicBezTo>
                <a:cubicBezTo>
                  <a:pt x="20" y="30"/>
                  <a:pt x="20" y="30"/>
                  <a:pt x="20" y="30"/>
                </a:cubicBezTo>
                <a:cubicBezTo>
                  <a:pt x="21" y="32"/>
                  <a:pt x="21" y="32"/>
                  <a:pt x="21" y="32"/>
                </a:cubicBezTo>
                <a:cubicBezTo>
                  <a:pt x="22" y="32"/>
                  <a:pt x="22" y="32"/>
                  <a:pt x="22" y="32"/>
                </a:cubicBezTo>
                <a:cubicBezTo>
                  <a:pt x="23" y="32"/>
                  <a:pt x="23" y="32"/>
                  <a:pt x="23" y="32"/>
                </a:cubicBezTo>
                <a:cubicBezTo>
                  <a:pt x="23" y="33"/>
                  <a:pt x="23" y="33"/>
                  <a:pt x="23" y="33"/>
                </a:cubicBezTo>
                <a:cubicBezTo>
                  <a:pt x="23" y="34"/>
                  <a:pt x="23" y="34"/>
                  <a:pt x="23" y="34"/>
                </a:cubicBezTo>
                <a:cubicBezTo>
                  <a:pt x="23" y="35"/>
                  <a:pt x="23" y="35"/>
                  <a:pt x="23" y="35"/>
                </a:cubicBezTo>
                <a:cubicBezTo>
                  <a:pt x="24" y="36"/>
                  <a:pt x="24" y="36"/>
                  <a:pt x="24" y="36"/>
                </a:cubicBezTo>
                <a:cubicBezTo>
                  <a:pt x="24" y="37"/>
                  <a:pt x="24" y="37"/>
                  <a:pt x="24" y="37"/>
                </a:cubicBezTo>
                <a:cubicBezTo>
                  <a:pt x="25" y="40"/>
                  <a:pt x="25" y="40"/>
                  <a:pt x="25" y="40"/>
                </a:cubicBezTo>
                <a:cubicBezTo>
                  <a:pt x="26" y="42"/>
                  <a:pt x="26" y="42"/>
                  <a:pt x="26" y="42"/>
                </a:cubicBezTo>
                <a:cubicBezTo>
                  <a:pt x="27" y="42"/>
                  <a:pt x="27" y="42"/>
                  <a:pt x="27" y="42"/>
                </a:cubicBezTo>
                <a:cubicBezTo>
                  <a:pt x="29" y="44"/>
                  <a:pt x="29" y="44"/>
                  <a:pt x="29" y="44"/>
                </a:cubicBezTo>
                <a:cubicBezTo>
                  <a:pt x="29" y="45"/>
                  <a:pt x="29" y="45"/>
                  <a:pt x="29" y="45"/>
                </a:cubicBezTo>
                <a:cubicBezTo>
                  <a:pt x="31" y="47"/>
                  <a:pt x="31" y="47"/>
                  <a:pt x="31" y="47"/>
                </a:cubicBezTo>
                <a:cubicBezTo>
                  <a:pt x="32" y="48"/>
                  <a:pt x="32" y="48"/>
                  <a:pt x="32" y="48"/>
                </a:cubicBezTo>
                <a:cubicBezTo>
                  <a:pt x="33" y="52"/>
                  <a:pt x="33" y="52"/>
                  <a:pt x="33" y="52"/>
                </a:cubicBezTo>
                <a:cubicBezTo>
                  <a:pt x="35" y="56"/>
                  <a:pt x="35" y="56"/>
                  <a:pt x="35" y="56"/>
                </a:cubicBezTo>
                <a:cubicBezTo>
                  <a:pt x="35" y="58"/>
                  <a:pt x="35" y="58"/>
                  <a:pt x="35" y="58"/>
                </a:cubicBezTo>
                <a:cubicBezTo>
                  <a:pt x="35" y="59"/>
                  <a:pt x="35" y="59"/>
                  <a:pt x="35" y="59"/>
                </a:cubicBezTo>
                <a:cubicBezTo>
                  <a:pt x="38" y="61"/>
                  <a:pt x="38" y="61"/>
                  <a:pt x="38" y="61"/>
                </a:cubicBezTo>
                <a:cubicBezTo>
                  <a:pt x="40" y="64"/>
                  <a:pt x="40" y="64"/>
                  <a:pt x="40" y="64"/>
                </a:cubicBezTo>
                <a:cubicBezTo>
                  <a:pt x="41" y="65"/>
                  <a:pt x="41" y="65"/>
                  <a:pt x="41" y="65"/>
                </a:cubicBezTo>
                <a:cubicBezTo>
                  <a:pt x="42" y="66"/>
                  <a:pt x="42" y="66"/>
                  <a:pt x="42" y="66"/>
                </a:cubicBezTo>
                <a:cubicBezTo>
                  <a:pt x="43" y="66"/>
                  <a:pt x="43" y="66"/>
                  <a:pt x="43" y="66"/>
                </a:cubicBezTo>
                <a:cubicBezTo>
                  <a:pt x="45" y="67"/>
                  <a:pt x="45" y="67"/>
                  <a:pt x="45" y="67"/>
                </a:cubicBezTo>
                <a:cubicBezTo>
                  <a:pt x="45" y="69"/>
                  <a:pt x="45" y="69"/>
                  <a:pt x="45" y="69"/>
                </a:cubicBezTo>
                <a:cubicBezTo>
                  <a:pt x="46" y="70"/>
                  <a:pt x="46" y="70"/>
                  <a:pt x="46" y="70"/>
                </a:cubicBezTo>
                <a:cubicBezTo>
                  <a:pt x="48" y="72"/>
                  <a:pt x="48" y="72"/>
                  <a:pt x="48" y="72"/>
                </a:cubicBezTo>
                <a:cubicBezTo>
                  <a:pt x="51" y="74"/>
                  <a:pt x="51" y="74"/>
                  <a:pt x="51" y="74"/>
                </a:cubicBezTo>
                <a:cubicBezTo>
                  <a:pt x="51" y="75"/>
                  <a:pt x="51" y="75"/>
                  <a:pt x="51" y="75"/>
                </a:cubicBezTo>
                <a:cubicBezTo>
                  <a:pt x="53" y="75"/>
                  <a:pt x="53" y="75"/>
                  <a:pt x="53" y="75"/>
                </a:cubicBezTo>
                <a:cubicBezTo>
                  <a:pt x="57" y="79"/>
                  <a:pt x="57" y="79"/>
                  <a:pt x="57" y="79"/>
                </a:cubicBezTo>
                <a:cubicBezTo>
                  <a:pt x="57" y="80"/>
                  <a:pt x="57" y="80"/>
                  <a:pt x="57" y="80"/>
                </a:cubicBezTo>
                <a:cubicBezTo>
                  <a:pt x="58" y="80"/>
                  <a:pt x="58" y="80"/>
                  <a:pt x="58" y="80"/>
                </a:cubicBezTo>
                <a:cubicBezTo>
                  <a:pt x="59" y="82"/>
                  <a:pt x="59" y="82"/>
                  <a:pt x="59" y="82"/>
                </a:cubicBezTo>
                <a:cubicBezTo>
                  <a:pt x="59" y="81"/>
                  <a:pt x="59" y="81"/>
                  <a:pt x="59" y="81"/>
                </a:cubicBezTo>
                <a:cubicBezTo>
                  <a:pt x="59" y="80"/>
                  <a:pt x="59" y="80"/>
                  <a:pt x="59" y="80"/>
                </a:cubicBezTo>
                <a:cubicBezTo>
                  <a:pt x="59" y="79"/>
                  <a:pt x="59" y="79"/>
                  <a:pt x="59" y="79"/>
                </a:cubicBezTo>
                <a:cubicBezTo>
                  <a:pt x="59" y="79"/>
                  <a:pt x="59" y="79"/>
                  <a:pt x="59" y="79"/>
                </a:cubicBezTo>
                <a:cubicBezTo>
                  <a:pt x="60" y="79"/>
                  <a:pt x="60" y="79"/>
                  <a:pt x="60" y="79"/>
                </a:cubicBezTo>
                <a:cubicBezTo>
                  <a:pt x="62" y="81"/>
                  <a:pt x="62" y="81"/>
                  <a:pt x="62" y="81"/>
                </a:cubicBezTo>
                <a:cubicBezTo>
                  <a:pt x="63" y="81"/>
                  <a:pt x="63" y="81"/>
                  <a:pt x="63" y="81"/>
                </a:cubicBezTo>
                <a:cubicBezTo>
                  <a:pt x="63" y="79"/>
                  <a:pt x="63" y="79"/>
                  <a:pt x="63" y="79"/>
                </a:cubicBezTo>
                <a:cubicBezTo>
                  <a:pt x="63" y="78"/>
                  <a:pt x="63" y="78"/>
                  <a:pt x="63" y="78"/>
                </a:cubicBezTo>
                <a:cubicBezTo>
                  <a:pt x="64" y="79"/>
                  <a:pt x="64" y="79"/>
                  <a:pt x="64" y="79"/>
                </a:cubicBezTo>
                <a:cubicBezTo>
                  <a:pt x="66" y="80"/>
                  <a:pt x="66" y="80"/>
                  <a:pt x="66" y="80"/>
                </a:cubicBezTo>
                <a:cubicBezTo>
                  <a:pt x="66" y="81"/>
                  <a:pt x="66" y="81"/>
                  <a:pt x="66" y="81"/>
                </a:cubicBezTo>
                <a:cubicBezTo>
                  <a:pt x="67" y="80"/>
                  <a:pt x="67" y="80"/>
                  <a:pt x="67" y="80"/>
                </a:cubicBezTo>
                <a:cubicBezTo>
                  <a:pt x="67" y="77"/>
                  <a:pt x="67" y="77"/>
                  <a:pt x="67" y="77"/>
                </a:cubicBezTo>
                <a:cubicBezTo>
                  <a:pt x="68" y="74"/>
                  <a:pt x="68" y="74"/>
                  <a:pt x="68" y="74"/>
                </a:cubicBezTo>
                <a:cubicBezTo>
                  <a:pt x="67" y="71"/>
                  <a:pt x="67" y="71"/>
                  <a:pt x="67" y="71"/>
                </a:cubicBezTo>
                <a:cubicBezTo>
                  <a:pt x="68" y="69"/>
                  <a:pt x="68" y="69"/>
                  <a:pt x="68" y="69"/>
                </a:cubicBezTo>
                <a:cubicBezTo>
                  <a:pt x="67" y="68"/>
                  <a:pt x="67" y="68"/>
                  <a:pt x="67" y="68"/>
                </a:cubicBezTo>
                <a:cubicBezTo>
                  <a:pt x="68" y="66"/>
                  <a:pt x="68" y="66"/>
                  <a:pt x="68" y="66"/>
                </a:cubicBezTo>
                <a:cubicBezTo>
                  <a:pt x="69" y="65"/>
                  <a:pt x="69" y="65"/>
                  <a:pt x="69" y="65"/>
                </a:cubicBezTo>
                <a:cubicBezTo>
                  <a:pt x="69" y="64"/>
                  <a:pt x="69" y="64"/>
                  <a:pt x="69" y="64"/>
                </a:cubicBezTo>
                <a:cubicBezTo>
                  <a:pt x="69" y="63"/>
                  <a:pt x="69" y="63"/>
                  <a:pt x="69" y="63"/>
                </a:cubicBezTo>
                <a:cubicBezTo>
                  <a:pt x="68" y="63"/>
                  <a:pt x="68" y="63"/>
                  <a:pt x="68" y="63"/>
                </a:cubicBezTo>
                <a:cubicBezTo>
                  <a:pt x="67" y="62"/>
                  <a:pt x="67" y="62"/>
                  <a:pt x="67" y="62"/>
                </a:cubicBezTo>
                <a:cubicBezTo>
                  <a:pt x="66" y="60"/>
                  <a:pt x="66" y="60"/>
                  <a:pt x="66" y="60"/>
                </a:cubicBezTo>
                <a:cubicBezTo>
                  <a:pt x="66" y="60"/>
                  <a:pt x="66" y="60"/>
                  <a:pt x="66" y="60"/>
                </a:cubicBezTo>
                <a:cubicBezTo>
                  <a:pt x="65" y="59"/>
                  <a:pt x="65" y="59"/>
                  <a:pt x="65" y="59"/>
                </a:cubicBezTo>
                <a:cubicBezTo>
                  <a:pt x="64" y="59"/>
                  <a:pt x="64" y="59"/>
                  <a:pt x="64" y="59"/>
                </a:cubicBezTo>
                <a:cubicBezTo>
                  <a:pt x="62" y="59"/>
                  <a:pt x="62" y="59"/>
                  <a:pt x="62" y="59"/>
                </a:cubicBezTo>
                <a:cubicBezTo>
                  <a:pt x="61" y="59"/>
                  <a:pt x="61" y="59"/>
                  <a:pt x="61" y="59"/>
                </a:cubicBezTo>
                <a:cubicBezTo>
                  <a:pt x="61" y="57"/>
                  <a:pt x="61" y="57"/>
                  <a:pt x="61" y="57"/>
                </a:cubicBezTo>
                <a:cubicBezTo>
                  <a:pt x="60" y="56"/>
                  <a:pt x="60" y="56"/>
                  <a:pt x="60" y="56"/>
                </a:cubicBezTo>
                <a:cubicBezTo>
                  <a:pt x="59" y="56"/>
                  <a:pt x="59" y="56"/>
                  <a:pt x="59" y="56"/>
                </a:cubicBezTo>
                <a:cubicBezTo>
                  <a:pt x="60" y="55"/>
                  <a:pt x="60" y="55"/>
                  <a:pt x="60" y="55"/>
                </a:cubicBezTo>
                <a:cubicBezTo>
                  <a:pt x="59" y="53"/>
                  <a:pt x="59" y="53"/>
                  <a:pt x="59" y="53"/>
                </a:cubicBezTo>
                <a:cubicBezTo>
                  <a:pt x="59" y="50"/>
                  <a:pt x="59" y="50"/>
                  <a:pt x="59" y="50"/>
                </a:cubicBezTo>
                <a:cubicBezTo>
                  <a:pt x="58" y="51"/>
                  <a:pt x="58" y="51"/>
                  <a:pt x="58" y="51"/>
                </a:cubicBezTo>
                <a:cubicBezTo>
                  <a:pt x="57" y="50"/>
                  <a:pt x="57" y="50"/>
                  <a:pt x="57" y="50"/>
                </a:cubicBezTo>
                <a:cubicBezTo>
                  <a:pt x="54" y="50"/>
                  <a:pt x="54" y="50"/>
                  <a:pt x="54" y="50"/>
                </a:cubicBezTo>
                <a:cubicBezTo>
                  <a:pt x="52" y="49"/>
                  <a:pt x="52" y="49"/>
                  <a:pt x="52" y="49"/>
                </a:cubicBezTo>
                <a:cubicBezTo>
                  <a:pt x="52" y="48"/>
                  <a:pt x="52" y="48"/>
                  <a:pt x="52" y="48"/>
                </a:cubicBezTo>
                <a:cubicBezTo>
                  <a:pt x="54" y="47"/>
                  <a:pt x="54" y="47"/>
                  <a:pt x="54" y="47"/>
                </a:cubicBezTo>
                <a:cubicBezTo>
                  <a:pt x="55" y="46"/>
                  <a:pt x="55" y="46"/>
                  <a:pt x="55" y="46"/>
                </a:cubicBezTo>
                <a:cubicBezTo>
                  <a:pt x="54" y="46"/>
                  <a:pt x="54" y="46"/>
                  <a:pt x="54" y="46"/>
                </a:cubicBezTo>
                <a:cubicBezTo>
                  <a:pt x="53" y="46"/>
                  <a:pt x="53" y="46"/>
                  <a:pt x="53" y="46"/>
                </a:cubicBezTo>
                <a:cubicBezTo>
                  <a:pt x="52" y="46"/>
                  <a:pt x="52" y="46"/>
                  <a:pt x="52" y="46"/>
                </a:cubicBezTo>
                <a:cubicBezTo>
                  <a:pt x="51" y="46"/>
                  <a:pt x="51" y="46"/>
                  <a:pt x="51" y="46"/>
                </a:cubicBezTo>
                <a:cubicBezTo>
                  <a:pt x="52" y="45"/>
                  <a:pt x="52" y="45"/>
                  <a:pt x="52" y="45"/>
                </a:cubicBezTo>
                <a:cubicBezTo>
                  <a:pt x="53" y="44"/>
                  <a:pt x="53" y="44"/>
                  <a:pt x="53" y="44"/>
                </a:cubicBezTo>
                <a:cubicBezTo>
                  <a:pt x="55" y="44"/>
                  <a:pt x="55" y="44"/>
                  <a:pt x="55" y="44"/>
                </a:cubicBezTo>
                <a:cubicBezTo>
                  <a:pt x="55" y="43"/>
                  <a:pt x="55" y="43"/>
                  <a:pt x="55" y="43"/>
                </a:cubicBezTo>
                <a:cubicBezTo>
                  <a:pt x="53" y="41"/>
                  <a:pt x="53" y="41"/>
                  <a:pt x="53" y="41"/>
                </a:cubicBezTo>
                <a:cubicBezTo>
                  <a:pt x="52" y="41"/>
                  <a:pt x="52" y="41"/>
                  <a:pt x="52" y="41"/>
                </a:cubicBezTo>
                <a:cubicBezTo>
                  <a:pt x="50" y="41"/>
                  <a:pt x="50" y="41"/>
                  <a:pt x="50" y="41"/>
                </a:cubicBezTo>
                <a:cubicBezTo>
                  <a:pt x="49" y="42"/>
                  <a:pt x="49" y="42"/>
                  <a:pt x="49" y="42"/>
                </a:cubicBezTo>
                <a:cubicBezTo>
                  <a:pt x="47" y="42"/>
                  <a:pt x="47" y="42"/>
                  <a:pt x="47" y="42"/>
                </a:cubicBezTo>
                <a:cubicBezTo>
                  <a:pt x="48" y="42"/>
                  <a:pt x="48" y="42"/>
                  <a:pt x="48" y="42"/>
                </a:cubicBezTo>
                <a:cubicBezTo>
                  <a:pt x="49" y="42"/>
                  <a:pt x="49" y="42"/>
                  <a:pt x="49" y="42"/>
                </a:cubicBezTo>
                <a:cubicBezTo>
                  <a:pt x="49" y="41"/>
                  <a:pt x="49" y="41"/>
                  <a:pt x="49" y="41"/>
                </a:cubicBezTo>
                <a:cubicBezTo>
                  <a:pt x="50" y="41"/>
                  <a:pt x="50" y="41"/>
                  <a:pt x="50" y="41"/>
                </a:cubicBezTo>
                <a:cubicBezTo>
                  <a:pt x="50" y="40"/>
                  <a:pt x="50" y="40"/>
                  <a:pt x="50" y="40"/>
                </a:cubicBezTo>
                <a:cubicBezTo>
                  <a:pt x="48" y="39"/>
                  <a:pt x="48" y="39"/>
                  <a:pt x="48" y="39"/>
                </a:cubicBezTo>
                <a:cubicBezTo>
                  <a:pt x="46" y="39"/>
                  <a:pt x="46" y="39"/>
                  <a:pt x="46" y="39"/>
                </a:cubicBezTo>
                <a:cubicBezTo>
                  <a:pt x="44" y="38"/>
                  <a:pt x="44" y="38"/>
                  <a:pt x="44" y="38"/>
                </a:cubicBezTo>
                <a:cubicBezTo>
                  <a:pt x="44" y="37"/>
                  <a:pt x="44" y="37"/>
                  <a:pt x="44" y="37"/>
                </a:cubicBezTo>
                <a:cubicBezTo>
                  <a:pt x="44" y="35"/>
                  <a:pt x="44" y="35"/>
                  <a:pt x="44" y="35"/>
                </a:cubicBezTo>
                <a:cubicBezTo>
                  <a:pt x="42" y="33"/>
                  <a:pt x="42" y="33"/>
                  <a:pt x="42" y="33"/>
                </a:cubicBezTo>
                <a:cubicBezTo>
                  <a:pt x="41" y="33"/>
                  <a:pt x="41" y="33"/>
                  <a:pt x="41" y="33"/>
                </a:cubicBezTo>
                <a:cubicBezTo>
                  <a:pt x="40" y="33"/>
                  <a:pt x="40" y="33"/>
                  <a:pt x="40" y="33"/>
                </a:cubicBezTo>
                <a:cubicBezTo>
                  <a:pt x="39" y="32"/>
                  <a:pt x="39" y="32"/>
                  <a:pt x="39" y="32"/>
                </a:cubicBezTo>
                <a:cubicBezTo>
                  <a:pt x="39" y="30"/>
                  <a:pt x="39" y="30"/>
                  <a:pt x="39" y="30"/>
                </a:cubicBezTo>
                <a:cubicBezTo>
                  <a:pt x="37" y="28"/>
                  <a:pt x="37" y="28"/>
                  <a:pt x="37" y="28"/>
                </a:cubicBezTo>
                <a:cubicBezTo>
                  <a:pt x="35" y="27"/>
                  <a:pt x="35" y="27"/>
                  <a:pt x="35" y="27"/>
                </a:cubicBezTo>
                <a:cubicBezTo>
                  <a:pt x="33" y="27"/>
                  <a:pt x="33" y="27"/>
                  <a:pt x="33" y="27"/>
                </a:cubicBezTo>
                <a:cubicBezTo>
                  <a:pt x="33" y="27"/>
                  <a:pt x="33" y="27"/>
                  <a:pt x="33" y="27"/>
                </a:cubicBezTo>
                <a:cubicBezTo>
                  <a:pt x="32" y="27"/>
                  <a:pt x="32" y="27"/>
                  <a:pt x="32" y="27"/>
                </a:cubicBezTo>
                <a:cubicBezTo>
                  <a:pt x="32" y="25"/>
                  <a:pt x="32" y="25"/>
                  <a:pt x="32" y="25"/>
                </a:cubicBezTo>
                <a:cubicBezTo>
                  <a:pt x="31" y="26"/>
                  <a:pt x="31" y="26"/>
                  <a:pt x="31" y="26"/>
                </a:cubicBezTo>
                <a:cubicBezTo>
                  <a:pt x="30" y="25"/>
                  <a:pt x="30" y="25"/>
                  <a:pt x="30" y="25"/>
                </a:cubicBezTo>
                <a:cubicBezTo>
                  <a:pt x="30" y="23"/>
                  <a:pt x="30" y="23"/>
                  <a:pt x="30" y="23"/>
                </a:cubicBezTo>
                <a:cubicBezTo>
                  <a:pt x="29" y="22"/>
                  <a:pt x="29" y="22"/>
                  <a:pt x="29" y="22"/>
                </a:cubicBezTo>
                <a:cubicBezTo>
                  <a:pt x="28" y="21"/>
                  <a:pt x="28" y="21"/>
                  <a:pt x="28" y="21"/>
                </a:cubicBezTo>
                <a:cubicBezTo>
                  <a:pt x="27" y="21"/>
                  <a:pt x="27" y="21"/>
                  <a:pt x="27" y="21"/>
                </a:cubicBezTo>
                <a:cubicBezTo>
                  <a:pt x="23" y="18"/>
                  <a:pt x="23" y="18"/>
                  <a:pt x="23" y="18"/>
                </a:cubicBezTo>
                <a:cubicBezTo>
                  <a:pt x="22" y="18"/>
                  <a:pt x="22" y="18"/>
                  <a:pt x="22" y="18"/>
                </a:cubicBezTo>
                <a:cubicBezTo>
                  <a:pt x="21" y="16"/>
                  <a:pt x="21" y="16"/>
                  <a:pt x="21" y="16"/>
                </a:cubicBezTo>
                <a:cubicBezTo>
                  <a:pt x="19" y="16"/>
                  <a:pt x="19" y="16"/>
                  <a:pt x="19" y="16"/>
                </a:cubicBezTo>
                <a:cubicBezTo>
                  <a:pt x="19" y="15"/>
                  <a:pt x="19" y="15"/>
                  <a:pt x="19" y="15"/>
                </a:cubicBezTo>
                <a:cubicBezTo>
                  <a:pt x="18" y="13"/>
                  <a:pt x="18" y="13"/>
                  <a:pt x="18" y="13"/>
                </a:cubicBezTo>
                <a:cubicBezTo>
                  <a:pt x="17" y="12"/>
                  <a:pt x="17" y="12"/>
                  <a:pt x="17" y="12"/>
                </a:cubicBezTo>
                <a:cubicBezTo>
                  <a:pt x="16" y="11"/>
                  <a:pt x="16" y="11"/>
                  <a:pt x="16" y="11"/>
                </a:cubicBezTo>
                <a:cubicBezTo>
                  <a:pt x="16" y="11"/>
                  <a:pt x="16" y="11"/>
                  <a:pt x="16" y="11"/>
                </a:cubicBezTo>
                <a:cubicBezTo>
                  <a:pt x="15" y="9"/>
                  <a:pt x="15" y="9"/>
                  <a:pt x="15" y="9"/>
                </a:cubicBezTo>
                <a:cubicBezTo>
                  <a:pt x="14" y="9"/>
                  <a:pt x="14" y="9"/>
                  <a:pt x="14" y="9"/>
                </a:cubicBezTo>
                <a:cubicBezTo>
                  <a:pt x="12" y="9"/>
                  <a:pt x="12" y="9"/>
                  <a:pt x="12" y="9"/>
                </a:cubicBezTo>
                <a:cubicBezTo>
                  <a:pt x="11" y="9"/>
                  <a:pt x="11" y="9"/>
                  <a:pt x="11" y="9"/>
                </a:cubicBezTo>
                <a:cubicBezTo>
                  <a:pt x="11" y="8"/>
                  <a:pt x="11" y="8"/>
                  <a:pt x="11" y="8"/>
                </a:cubicBezTo>
                <a:cubicBezTo>
                  <a:pt x="9" y="8"/>
                  <a:pt x="9" y="8"/>
                  <a:pt x="9" y="8"/>
                </a:cubicBezTo>
                <a:cubicBezTo>
                  <a:pt x="7" y="9"/>
                  <a:pt x="7" y="9"/>
                  <a:pt x="7" y="9"/>
                </a:cubicBezTo>
                <a:cubicBezTo>
                  <a:pt x="6" y="8"/>
                  <a:pt x="6" y="8"/>
                  <a:pt x="6" y="8"/>
                </a:cubicBezTo>
                <a:cubicBezTo>
                  <a:pt x="4" y="6"/>
                  <a:pt x="4" y="6"/>
                  <a:pt x="4" y="6"/>
                </a:cubicBezTo>
                <a:cubicBezTo>
                  <a:pt x="1" y="6"/>
                  <a:pt x="1" y="6"/>
                  <a:pt x="1" y="6"/>
                </a:cubicBezTo>
                <a:lnTo>
                  <a:pt x="0" y="6"/>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8" name="Freeform 26">
            <a:extLst>
              <a:ext uri="{FF2B5EF4-FFF2-40B4-BE49-F238E27FC236}">
                <a16:creationId xmlns:a16="http://schemas.microsoft.com/office/drawing/2014/main" id="{81E89C95-1C67-9E6E-807A-2A86F8BA12AF}"/>
              </a:ext>
            </a:extLst>
          </p:cNvPr>
          <p:cNvSpPr>
            <a:spLocks noEditPoints="1"/>
          </p:cNvSpPr>
          <p:nvPr userDrawn="1"/>
        </p:nvSpPr>
        <p:spPr bwMode="auto">
          <a:xfrm>
            <a:off x="20918713" y="9952911"/>
            <a:ext cx="200013" cy="60326"/>
          </a:xfrm>
          <a:custGeom>
            <a:avLst/>
            <a:gdLst>
              <a:gd name="T0" fmla="*/ 0 w 63"/>
              <a:gd name="T1" fmla="*/ 16 h 19"/>
              <a:gd name="T2" fmla="*/ 3 w 63"/>
              <a:gd name="T3" fmla="*/ 19 h 19"/>
              <a:gd name="T4" fmla="*/ 6 w 63"/>
              <a:gd name="T5" fmla="*/ 16 h 19"/>
              <a:gd name="T6" fmla="*/ 9 w 63"/>
              <a:gd name="T7" fmla="*/ 16 h 19"/>
              <a:gd name="T8" fmla="*/ 9 w 63"/>
              <a:gd name="T9" fmla="*/ 12 h 19"/>
              <a:gd name="T10" fmla="*/ 9 w 63"/>
              <a:gd name="T11" fmla="*/ 12 h 19"/>
              <a:gd name="T12" fmla="*/ 3 w 63"/>
              <a:gd name="T13" fmla="*/ 12 h 19"/>
              <a:gd name="T14" fmla="*/ 0 w 63"/>
              <a:gd name="T15" fmla="*/ 16 h 19"/>
              <a:gd name="T16" fmla="*/ 0 w 63"/>
              <a:gd name="T17" fmla="*/ 16 h 19"/>
              <a:gd name="T18" fmla="*/ 16 w 63"/>
              <a:gd name="T19" fmla="*/ 9 h 19"/>
              <a:gd name="T20" fmla="*/ 19 w 63"/>
              <a:gd name="T21" fmla="*/ 16 h 19"/>
              <a:gd name="T22" fmla="*/ 25 w 63"/>
              <a:gd name="T23" fmla="*/ 19 h 19"/>
              <a:gd name="T24" fmla="*/ 25 w 63"/>
              <a:gd name="T25" fmla="*/ 19 h 19"/>
              <a:gd name="T26" fmla="*/ 28 w 63"/>
              <a:gd name="T27" fmla="*/ 16 h 19"/>
              <a:gd name="T28" fmla="*/ 31 w 63"/>
              <a:gd name="T29" fmla="*/ 12 h 19"/>
              <a:gd name="T30" fmla="*/ 34 w 63"/>
              <a:gd name="T31" fmla="*/ 12 h 19"/>
              <a:gd name="T32" fmla="*/ 44 w 63"/>
              <a:gd name="T33" fmla="*/ 12 h 19"/>
              <a:gd name="T34" fmla="*/ 50 w 63"/>
              <a:gd name="T35" fmla="*/ 9 h 19"/>
              <a:gd name="T36" fmla="*/ 56 w 63"/>
              <a:gd name="T37" fmla="*/ 6 h 19"/>
              <a:gd name="T38" fmla="*/ 56 w 63"/>
              <a:gd name="T39" fmla="*/ 6 h 19"/>
              <a:gd name="T40" fmla="*/ 59 w 63"/>
              <a:gd name="T41" fmla="*/ 6 h 19"/>
              <a:gd name="T42" fmla="*/ 63 w 63"/>
              <a:gd name="T43" fmla="*/ 3 h 19"/>
              <a:gd name="T44" fmla="*/ 63 w 63"/>
              <a:gd name="T45" fmla="*/ 0 h 19"/>
              <a:gd name="T46" fmla="*/ 59 w 63"/>
              <a:gd name="T47" fmla="*/ 0 h 19"/>
              <a:gd name="T48" fmla="*/ 53 w 63"/>
              <a:gd name="T49" fmla="*/ 0 h 19"/>
              <a:gd name="T50" fmla="*/ 50 w 63"/>
              <a:gd name="T51" fmla="*/ 0 h 19"/>
              <a:gd name="T52" fmla="*/ 44 w 63"/>
              <a:gd name="T53" fmla="*/ 0 h 19"/>
              <a:gd name="T54" fmla="*/ 41 w 63"/>
              <a:gd name="T55" fmla="*/ 0 h 19"/>
              <a:gd name="T56" fmla="*/ 34 w 63"/>
              <a:gd name="T57" fmla="*/ 3 h 19"/>
              <a:gd name="T58" fmla="*/ 28 w 63"/>
              <a:gd name="T59" fmla="*/ 3 h 19"/>
              <a:gd name="T60" fmla="*/ 22 w 63"/>
              <a:gd name="T61" fmla="*/ 6 h 19"/>
              <a:gd name="T62" fmla="*/ 16 w 63"/>
              <a:gd name="T6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 h="19">
                <a:moveTo>
                  <a:pt x="0" y="16"/>
                </a:moveTo>
                <a:lnTo>
                  <a:pt x="3" y="19"/>
                </a:lnTo>
                <a:lnTo>
                  <a:pt x="6" y="16"/>
                </a:lnTo>
                <a:lnTo>
                  <a:pt x="9" y="16"/>
                </a:lnTo>
                <a:lnTo>
                  <a:pt x="9" y="12"/>
                </a:lnTo>
                <a:lnTo>
                  <a:pt x="9" y="12"/>
                </a:lnTo>
                <a:lnTo>
                  <a:pt x="3" y="12"/>
                </a:lnTo>
                <a:lnTo>
                  <a:pt x="0" y="16"/>
                </a:lnTo>
                <a:lnTo>
                  <a:pt x="0" y="16"/>
                </a:lnTo>
                <a:close/>
                <a:moveTo>
                  <a:pt x="16" y="9"/>
                </a:moveTo>
                <a:lnTo>
                  <a:pt x="19" y="16"/>
                </a:lnTo>
                <a:lnTo>
                  <a:pt x="25" y="19"/>
                </a:lnTo>
                <a:lnTo>
                  <a:pt x="25" y="19"/>
                </a:lnTo>
                <a:lnTo>
                  <a:pt x="28" y="16"/>
                </a:lnTo>
                <a:lnTo>
                  <a:pt x="31" y="12"/>
                </a:lnTo>
                <a:lnTo>
                  <a:pt x="34" y="12"/>
                </a:lnTo>
                <a:lnTo>
                  <a:pt x="44" y="12"/>
                </a:lnTo>
                <a:lnTo>
                  <a:pt x="50" y="9"/>
                </a:lnTo>
                <a:lnTo>
                  <a:pt x="56" y="6"/>
                </a:lnTo>
                <a:lnTo>
                  <a:pt x="56" y="6"/>
                </a:lnTo>
                <a:lnTo>
                  <a:pt x="59" y="6"/>
                </a:lnTo>
                <a:lnTo>
                  <a:pt x="63" y="3"/>
                </a:lnTo>
                <a:lnTo>
                  <a:pt x="63" y="0"/>
                </a:lnTo>
                <a:lnTo>
                  <a:pt x="59" y="0"/>
                </a:lnTo>
                <a:lnTo>
                  <a:pt x="53" y="0"/>
                </a:lnTo>
                <a:lnTo>
                  <a:pt x="50" y="0"/>
                </a:lnTo>
                <a:lnTo>
                  <a:pt x="44" y="0"/>
                </a:lnTo>
                <a:lnTo>
                  <a:pt x="41" y="0"/>
                </a:lnTo>
                <a:lnTo>
                  <a:pt x="34" y="3"/>
                </a:lnTo>
                <a:lnTo>
                  <a:pt x="28" y="3"/>
                </a:lnTo>
                <a:lnTo>
                  <a:pt x="22" y="6"/>
                </a:lnTo>
                <a:lnTo>
                  <a:pt x="16" y="9"/>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9" name="Freeform 27">
            <a:extLst>
              <a:ext uri="{FF2B5EF4-FFF2-40B4-BE49-F238E27FC236}">
                <a16:creationId xmlns:a16="http://schemas.microsoft.com/office/drawing/2014/main" id="{578AF1DD-6F84-6DC2-B445-5EB34D916CF6}"/>
              </a:ext>
            </a:extLst>
          </p:cNvPr>
          <p:cNvSpPr>
            <a:spLocks noEditPoints="1"/>
          </p:cNvSpPr>
          <p:nvPr userDrawn="1"/>
        </p:nvSpPr>
        <p:spPr bwMode="auto">
          <a:xfrm>
            <a:off x="19429734" y="8921035"/>
            <a:ext cx="1200072" cy="415926"/>
          </a:xfrm>
          <a:custGeom>
            <a:avLst/>
            <a:gdLst>
              <a:gd name="T0" fmla="*/ 228 w 378"/>
              <a:gd name="T1" fmla="*/ 97 h 131"/>
              <a:gd name="T2" fmla="*/ 3 w 378"/>
              <a:gd name="T3" fmla="*/ 40 h 131"/>
              <a:gd name="T4" fmla="*/ 0 w 378"/>
              <a:gd name="T5" fmla="*/ 34 h 131"/>
              <a:gd name="T6" fmla="*/ 207 w 378"/>
              <a:gd name="T7" fmla="*/ 128 h 131"/>
              <a:gd name="T8" fmla="*/ 222 w 378"/>
              <a:gd name="T9" fmla="*/ 128 h 131"/>
              <a:gd name="T10" fmla="*/ 260 w 378"/>
              <a:gd name="T11" fmla="*/ 122 h 131"/>
              <a:gd name="T12" fmla="*/ 288 w 378"/>
              <a:gd name="T13" fmla="*/ 118 h 131"/>
              <a:gd name="T14" fmla="*/ 310 w 378"/>
              <a:gd name="T15" fmla="*/ 71 h 131"/>
              <a:gd name="T16" fmla="*/ 319 w 378"/>
              <a:gd name="T17" fmla="*/ 59 h 131"/>
              <a:gd name="T18" fmla="*/ 344 w 378"/>
              <a:gd name="T19" fmla="*/ 62 h 131"/>
              <a:gd name="T20" fmla="*/ 363 w 378"/>
              <a:gd name="T21" fmla="*/ 62 h 131"/>
              <a:gd name="T22" fmla="*/ 369 w 378"/>
              <a:gd name="T23" fmla="*/ 50 h 131"/>
              <a:gd name="T24" fmla="*/ 369 w 378"/>
              <a:gd name="T25" fmla="*/ 40 h 131"/>
              <a:gd name="T26" fmla="*/ 353 w 378"/>
              <a:gd name="T27" fmla="*/ 34 h 131"/>
              <a:gd name="T28" fmla="*/ 347 w 378"/>
              <a:gd name="T29" fmla="*/ 31 h 131"/>
              <a:gd name="T30" fmla="*/ 347 w 378"/>
              <a:gd name="T31" fmla="*/ 18 h 131"/>
              <a:gd name="T32" fmla="*/ 335 w 378"/>
              <a:gd name="T33" fmla="*/ 6 h 131"/>
              <a:gd name="T34" fmla="*/ 328 w 378"/>
              <a:gd name="T35" fmla="*/ 12 h 131"/>
              <a:gd name="T36" fmla="*/ 316 w 378"/>
              <a:gd name="T37" fmla="*/ 28 h 131"/>
              <a:gd name="T38" fmla="*/ 297 w 378"/>
              <a:gd name="T39" fmla="*/ 43 h 131"/>
              <a:gd name="T40" fmla="*/ 303 w 378"/>
              <a:gd name="T41" fmla="*/ 46 h 131"/>
              <a:gd name="T42" fmla="*/ 300 w 378"/>
              <a:gd name="T43" fmla="*/ 62 h 131"/>
              <a:gd name="T44" fmla="*/ 297 w 378"/>
              <a:gd name="T45" fmla="*/ 53 h 131"/>
              <a:gd name="T46" fmla="*/ 288 w 378"/>
              <a:gd name="T47" fmla="*/ 62 h 131"/>
              <a:gd name="T48" fmla="*/ 275 w 378"/>
              <a:gd name="T49" fmla="*/ 62 h 131"/>
              <a:gd name="T50" fmla="*/ 257 w 378"/>
              <a:gd name="T51" fmla="*/ 84 h 131"/>
              <a:gd name="T52" fmla="*/ 238 w 378"/>
              <a:gd name="T53" fmla="*/ 103 h 131"/>
              <a:gd name="T54" fmla="*/ 225 w 378"/>
              <a:gd name="T55" fmla="*/ 109 h 131"/>
              <a:gd name="T56" fmla="*/ 207 w 378"/>
              <a:gd name="T57" fmla="*/ 118 h 131"/>
              <a:gd name="T58" fmla="*/ 194 w 378"/>
              <a:gd name="T59" fmla="*/ 112 h 131"/>
              <a:gd name="T60" fmla="*/ 332 w 378"/>
              <a:gd name="T61" fmla="*/ 0 h 131"/>
              <a:gd name="T62" fmla="*/ 338 w 378"/>
              <a:gd name="T63" fmla="*/ 3 h 131"/>
              <a:gd name="T64" fmla="*/ 225 w 378"/>
              <a:gd name="T65" fmla="*/ 103 h 131"/>
              <a:gd name="T66" fmla="*/ 228 w 378"/>
              <a:gd name="T67" fmla="*/ 103 h 131"/>
              <a:gd name="T68" fmla="*/ 235 w 378"/>
              <a:gd name="T69" fmla="*/ 93 h 131"/>
              <a:gd name="T70" fmla="*/ 232 w 378"/>
              <a:gd name="T71" fmla="*/ 97 h 131"/>
              <a:gd name="T72" fmla="*/ 3 w 378"/>
              <a:gd name="T73" fmla="*/ 12 h 131"/>
              <a:gd name="T74" fmla="*/ 19 w 378"/>
              <a:gd name="T75" fmla="*/ 18 h 131"/>
              <a:gd name="T76" fmla="*/ 25 w 378"/>
              <a:gd name="T77" fmla="*/ 31 h 131"/>
              <a:gd name="T78" fmla="*/ 38 w 378"/>
              <a:gd name="T79" fmla="*/ 25 h 131"/>
              <a:gd name="T80" fmla="*/ 44 w 378"/>
              <a:gd name="T81" fmla="*/ 21 h 131"/>
              <a:gd name="T82" fmla="*/ 66 w 378"/>
              <a:gd name="T83" fmla="*/ 59 h 131"/>
              <a:gd name="T84" fmla="*/ 69 w 378"/>
              <a:gd name="T85" fmla="*/ 84 h 131"/>
              <a:gd name="T86" fmla="*/ 78 w 378"/>
              <a:gd name="T87" fmla="*/ 97 h 131"/>
              <a:gd name="T88" fmla="*/ 82 w 378"/>
              <a:gd name="T89" fmla="*/ 109 h 131"/>
              <a:gd name="T90" fmla="*/ 85 w 378"/>
              <a:gd name="T91" fmla="*/ 118 h 131"/>
              <a:gd name="T92" fmla="*/ 82 w 378"/>
              <a:gd name="T93" fmla="*/ 118 h 131"/>
              <a:gd name="T94" fmla="*/ 72 w 378"/>
              <a:gd name="T95" fmla="*/ 122 h 131"/>
              <a:gd name="T96" fmla="*/ 53 w 378"/>
              <a:gd name="T97" fmla="*/ 109 h 131"/>
              <a:gd name="T98" fmla="*/ 38 w 378"/>
              <a:gd name="T99" fmla="*/ 97 h 131"/>
              <a:gd name="T100" fmla="*/ 28 w 378"/>
              <a:gd name="T101" fmla="*/ 81 h 131"/>
              <a:gd name="T102" fmla="*/ 13 w 378"/>
              <a:gd name="T103" fmla="*/ 65 h 131"/>
              <a:gd name="T104" fmla="*/ 10 w 378"/>
              <a:gd name="T105" fmla="*/ 4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8" h="131">
                <a:moveTo>
                  <a:pt x="228" y="97"/>
                </a:moveTo>
                <a:lnTo>
                  <a:pt x="228" y="100"/>
                </a:lnTo>
                <a:lnTo>
                  <a:pt x="228" y="100"/>
                </a:lnTo>
                <a:lnTo>
                  <a:pt x="228" y="97"/>
                </a:lnTo>
                <a:lnTo>
                  <a:pt x="228" y="97"/>
                </a:lnTo>
                <a:lnTo>
                  <a:pt x="228" y="97"/>
                </a:lnTo>
                <a:lnTo>
                  <a:pt x="228" y="97"/>
                </a:lnTo>
                <a:close/>
                <a:moveTo>
                  <a:pt x="0" y="34"/>
                </a:moveTo>
                <a:lnTo>
                  <a:pt x="3" y="40"/>
                </a:lnTo>
                <a:lnTo>
                  <a:pt x="3" y="40"/>
                </a:lnTo>
                <a:lnTo>
                  <a:pt x="7" y="40"/>
                </a:lnTo>
                <a:lnTo>
                  <a:pt x="7" y="37"/>
                </a:lnTo>
                <a:lnTo>
                  <a:pt x="3" y="34"/>
                </a:lnTo>
                <a:lnTo>
                  <a:pt x="0" y="34"/>
                </a:lnTo>
                <a:lnTo>
                  <a:pt x="0" y="34"/>
                </a:lnTo>
                <a:close/>
                <a:moveTo>
                  <a:pt x="194" y="112"/>
                </a:moveTo>
                <a:lnTo>
                  <a:pt x="197" y="118"/>
                </a:lnTo>
                <a:lnTo>
                  <a:pt x="203" y="122"/>
                </a:lnTo>
                <a:lnTo>
                  <a:pt x="203" y="125"/>
                </a:lnTo>
                <a:lnTo>
                  <a:pt x="207" y="128"/>
                </a:lnTo>
                <a:lnTo>
                  <a:pt x="210" y="131"/>
                </a:lnTo>
                <a:lnTo>
                  <a:pt x="213" y="131"/>
                </a:lnTo>
                <a:lnTo>
                  <a:pt x="219" y="131"/>
                </a:lnTo>
                <a:lnTo>
                  <a:pt x="219" y="128"/>
                </a:lnTo>
                <a:lnTo>
                  <a:pt x="222" y="128"/>
                </a:lnTo>
                <a:lnTo>
                  <a:pt x="225" y="128"/>
                </a:lnTo>
                <a:lnTo>
                  <a:pt x="238" y="128"/>
                </a:lnTo>
                <a:lnTo>
                  <a:pt x="247" y="125"/>
                </a:lnTo>
                <a:lnTo>
                  <a:pt x="250" y="122"/>
                </a:lnTo>
                <a:lnTo>
                  <a:pt x="260" y="122"/>
                </a:lnTo>
                <a:lnTo>
                  <a:pt x="266" y="122"/>
                </a:lnTo>
                <a:lnTo>
                  <a:pt x="266" y="125"/>
                </a:lnTo>
                <a:lnTo>
                  <a:pt x="272" y="125"/>
                </a:lnTo>
                <a:lnTo>
                  <a:pt x="278" y="122"/>
                </a:lnTo>
                <a:lnTo>
                  <a:pt x="288" y="118"/>
                </a:lnTo>
                <a:lnTo>
                  <a:pt x="288" y="115"/>
                </a:lnTo>
                <a:lnTo>
                  <a:pt x="297" y="106"/>
                </a:lnTo>
                <a:lnTo>
                  <a:pt x="300" y="97"/>
                </a:lnTo>
                <a:lnTo>
                  <a:pt x="307" y="87"/>
                </a:lnTo>
                <a:lnTo>
                  <a:pt x="310" y="71"/>
                </a:lnTo>
                <a:lnTo>
                  <a:pt x="310" y="68"/>
                </a:lnTo>
                <a:lnTo>
                  <a:pt x="313" y="65"/>
                </a:lnTo>
                <a:lnTo>
                  <a:pt x="313" y="62"/>
                </a:lnTo>
                <a:lnTo>
                  <a:pt x="316" y="59"/>
                </a:lnTo>
                <a:lnTo>
                  <a:pt x="319" y="59"/>
                </a:lnTo>
                <a:lnTo>
                  <a:pt x="325" y="59"/>
                </a:lnTo>
                <a:lnTo>
                  <a:pt x="335" y="59"/>
                </a:lnTo>
                <a:lnTo>
                  <a:pt x="335" y="62"/>
                </a:lnTo>
                <a:lnTo>
                  <a:pt x="341" y="62"/>
                </a:lnTo>
                <a:lnTo>
                  <a:pt x="344" y="62"/>
                </a:lnTo>
                <a:lnTo>
                  <a:pt x="347" y="59"/>
                </a:lnTo>
                <a:lnTo>
                  <a:pt x="350" y="62"/>
                </a:lnTo>
                <a:lnTo>
                  <a:pt x="353" y="65"/>
                </a:lnTo>
                <a:lnTo>
                  <a:pt x="357" y="62"/>
                </a:lnTo>
                <a:lnTo>
                  <a:pt x="363" y="62"/>
                </a:lnTo>
                <a:lnTo>
                  <a:pt x="363" y="59"/>
                </a:lnTo>
                <a:lnTo>
                  <a:pt x="357" y="56"/>
                </a:lnTo>
                <a:lnTo>
                  <a:pt x="357" y="50"/>
                </a:lnTo>
                <a:lnTo>
                  <a:pt x="360" y="46"/>
                </a:lnTo>
                <a:lnTo>
                  <a:pt x="369" y="50"/>
                </a:lnTo>
                <a:lnTo>
                  <a:pt x="375" y="46"/>
                </a:lnTo>
                <a:lnTo>
                  <a:pt x="378" y="43"/>
                </a:lnTo>
                <a:lnTo>
                  <a:pt x="378" y="40"/>
                </a:lnTo>
                <a:lnTo>
                  <a:pt x="375" y="40"/>
                </a:lnTo>
                <a:lnTo>
                  <a:pt x="369" y="40"/>
                </a:lnTo>
                <a:lnTo>
                  <a:pt x="366" y="37"/>
                </a:lnTo>
                <a:lnTo>
                  <a:pt x="363" y="37"/>
                </a:lnTo>
                <a:lnTo>
                  <a:pt x="360" y="31"/>
                </a:lnTo>
                <a:lnTo>
                  <a:pt x="357" y="31"/>
                </a:lnTo>
                <a:lnTo>
                  <a:pt x="353" y="34"/>
                </a:lnTo>
                <a:lnTo>
                  <a:pt x="350" y="34"/>
                </a:lnTo>
                <a:lnTo>
                  <a:pt x="357" y="31"/>
                </a:lnTo>
                <a:lnTo>
                  <a:pt x="353" y="28"/>
                </a:lnTo>
                <a:lnTo>
                  <a:pt x="350" y="28"/>
                </a:lnTo>
                <a:lnTo>
                  <a:pt x="347" y="31"/>
                </a:lnTo>
                <a:lnTo>
                  <a:pt x="347" y="31"/>
                </a:lnTo>
                <a:lnTo>
                  <a:pt x="344" y="28"/>
                </a:lnTo>
                <a:lnTo>
                  <a:pt x="344" y="25"/>
                </a:lnTo>
                <a:lnTo>
                  <a:pt x="350" y="21"/>
                </a:lnTo>
                <a:lnTo>
                  <a:pt x="347" y="18"/>
                </a:lnTo>
                <a:lnTo>
                  <a:pt x="344" y="15"/>
                </a:lnTo>
                <a:lnTo>
                  <a:pt x="341" y="18"/>
                </a:lnTo>
                <a:lnTo>
                  <a:pt x="338" y="15"/>
                </a:lnTo>
                <a:lnTo>
                  <a:pt x="338" y="9"/>
                </a:lnTo>
                <a:lnTo>
                  <a:pt x="335" y="6"/>
                </a:lnTo>
                <a:lnTo>
                  <a:pt x="332" y="6"/>
                </a:lnTo>
                <a:lnTo>
                  <a:pt x="335" y="12"/>
                </a:lnTo>
                <a:lnTo>
                  <a:pt x="328" y="15"/>
                </a:lnTo>
                <a:lnTo>
                  <a:pt x="328" y="15"/>
                </a:lnTo>
                <a:lnTo>
                  <a:pt x="328" y="12"/>
                </a:lnTo>
                <a:lnTo>
                  <a:pt x="328" y="9"/>
                </a:lnTo>
                <a:lnTo>
                  <a:pt x="325" y="9"/>
                </a:lnTo>
                <a:lnTo>
                  <a:pt x="322" y="15"/>
                </a:lnTo>
                <a:lnTo>
                  <a:pt x="319" y="18"/>
                </a:lnTo>
                <a:lnTo>
                  <a:pt x="316" y="28"/>
                </a:lnTo>
                <a:lnTo>
                  <a:pt x="316" y="31"/>
                </a:lnTo>
                <a:lnTo>
                  <a:pt x="310" y="40"/>
                </a:lnTo>
                <a:lnTo>
                  <a:pt x="307" y="40"/>
                </a:lnTo>
                <a:lnTo>
                  <a:pt x="300" y="40"/>
                </a:lnTo>
                <a:lnTo>
                  <a:pt x="297" y="43"/>
                </a:lnTo>
                <a:lnTo>
                  <a:pt x="300" y="43"/>
                </a:lnTo>
                <a:lnTo>
                  <a:pt x="297" y="46"/>
                </a:lnTo>
                <a:lnTo>
                  <a:pt x="300" y="46"/>
                </a:lnTo>
                <a:lnTo>
                  <a:pt x="303" y="46"/>
                </a:lnTo>
                <a:lnTo>
                  <a:pt x="303" y="46"/>
                </a:lnTo>
                <a:lnTo>
                  <a:pt x="300" y="50"/>
                </a:lnTo>
                <a:lnTo>
                  <a:pt x="300" y="50"/>
                </a:lnTo>
                <a:lnTo>
                  <a:pt x="300" y="53"/>
                </a:lnTo>
                <a:lnTo>
                  <a:pt x="303" y="59"/>
                </a:lnTo>
                <a:lnTo>
                  <a:pt x="300" y="62"/>
                </a:lnTo>
                <a:lnTo>
                  <a:pt x="297" y="59"/>
                </a:lnTo>
                <a:lnTo>
                  <a:pt x="297" y="56"/>
                </a:lnTo>
                <a:lnTo>
                  <a:pt x="297" y="53"/>
                </a:lnTo>
                <a:lnTo>
                  <a:pt x="297" y="53"/>
                </a:lnTo>
                <a:lnTo>
                  <a:pt x="297" y="53"/>
                </a:lnTo>
                <a:lnTo>
                  <a:pt x="294" y="53"/>
                </a:lnTo>
                <a:lnTo>
                  <a:pt x="291" y="56"/>
                </a:lnTo>
                <a:lnTo>
                  <a:pt x="294" y="62"/>
                </a:lnTo>
                <a:lnTo>
                  <a:pt x="291" y="65"/>
                </a:lnTo>
                <a:lnTo>
                  <a:pt x="288" y="62"/>
                </a:lnTo>
                <a:lnTo>
                  <a:pt x="285" y="56"/>
                </a:lnTo>
                <a:lnTo>
                  <a:pt x="282" y="56"/>
                </a:lnTo>
                <a:lnTo>
                  <a:pt x="278" y="53"/>
                </a:lnTo>
                <a:lnTo>
                  <a:pt x="275" y="59"/>
                </a:lnTo>
                <a:lnTo>
                  <a:pt x="275" y="62"/>
                </a:lnTo>
                <a:lnTo>
                  <a:pt x="272" y="65"/>
                </a:lnTo>
                <a:lnTo>
                  <a:pt x="269" y="71"/>
                </a:lnTo>
                <a:lnTo>
                  <a:pt x="263" y="75"/>
                </a:lnTo>
                <a:lnTo>
                  <a:pt x="263" y="81"/>
                </a:lnTo>
                <a:lnTo>
                  <a:pt x="257" y="84"/>
                </a:lnTo>
                <a:lnTo>
                  <a:pt x="253" y="90"/>
                </a:lnTo>
                <a:lnTo>
                  <a:pt x="238" y="93"/>
                </a:lnTo>
                <a:lnTo>
                  <a:pt x="235" y="93"/>
                </a:lnTo>
                <a:lnTo>
                  <a:pt x="235" y="100"/>
                </a:lnTo>
                <a:lnTo>
                  <a:pt x="238" y="103"/>
                </a:lnTo>
                <a:lnTo>
                  <a:pt x="235" y="100"/>
                </a:lnTo>
                <a:lnTo>
                  <a:pt x="232" y="103"/>
                </a:lnTo>
                <a:lnTo>
                  <a:pt x="228" y="103"/>
                </a:lnTo>
                <a:lnTo>
                  <a:pt x="225" y="106"/>
                </a:lnTo>
                <a:lnTo>
                  <a:pt x="225" y="109"/>
                </a:lnTo>
                <a:lnTo>
                  <a:pt x="225" y="115"/>
                </a:lnTo>
                <a:lnTo>
                  <a:pt x="222" y="118"/>
                </a:lnTo>
                <a:lnTo>
                  <a:pt x="222" y="122"/>
                </a:lnTo>
                <a:lnTo>
                  <a:pt x="213" y="122"/>
                </a:lnTo>
                <a:lnTo>
                  <a:pt x="207" y="118"/>
                </a:lnTo>
                <a:lnTo>
                  <a:pt x="200" y="118"/>
                </a:lnTo>
                <a:lnTo>
                  <a:pt x="197" y="115"/>
                </a:lnTo>
                <a:lnTo>
                  <a:pt x="194" y="112"/>
                </a:lnTo>
                <a:lnTo>
                  <a:pt x="194" y="112"/>
                </a:lnTo>
                <a:lnTo>
                  <a:pt x="194" y="112"/>
                </a:lnTo>
                <a:close/>
                <a:moveTo>
                  <a:pt x="332" y="0"/>
                </a:moveTo>
                <a:lnTo>
                  <a:pt x="328" y="3"/>
                </a:lnTo>
                <a:lnTo>
                  <a:pt x="328" y="3"/>
                </a:lnTo>
                <a:lnTo>
                  <a:pt x="332" y="0"/>
                </a:lnTo>
                <a:lnTo>
                  <a:pt x="332" y="0"/>
                </a:lnTo>
                <a:lnTo>
                  <a:pt x="332" y="0"/>
                </a:lnTo>
                <a:close/>
                <a:moveTo>
                  <a:pt x="338" y="0"/>
                </a:moveTo>
                <a:lnTo>
                  <a:pt x="335" y="3"/>
                </a:lnTo>
                <a:lnTo>
                  <a:pt x="335" y="3"/>
                </a:lnTo>
                <a:lnTo>
                  <a:pt x="338" y="3"/>
                </a:lnTo>
                <a:lnTo>
                  <a:pt x="338" y="0"/>
                </a:lnTo>
                <a:lnTo>
                  <a:pt x="338" y="0"/>
                </a:lnTo>
                <a:lnTo>
                  <a:pt x="338" y="0"/>
                </a:lnTo>
                <a:close/>
                <a:moveTo>
                  <a:pt x="228" y="103"/>
                </a:moveTo>
                <a:lnTo>
                  <a:pt x="225" y="103"/>
                </a:lnTo>
                <a:lnTo>
                  <a:pt x="228" y="100"/>
                </a:lnTo>
                <a:lnTo>
                  <a:pt x="228" y="103"/>
                </a:lnTo>
                <a:lnTo>
                  <a:pt x="228" y="103"/>
                </a:lnTo>
                <a:close/>
                <a:moveTo>
                  <a:pt x="232" y="100"/>
                </a:moveTo>
                <a:lnTo>
                  <a:pt x="228" y="103"/>
                </a:lnTo>
                <a:lnTo>
                  <a:pt x="228" y="100"/>
                </a:lnTo>
                <a:lnTo>
                  <a:pt x="228" y="100"/>
                </a:lnTo>
                <a:lnTo>
                  <a:pt x="232" y="100"/>
                </a:lnTo>
                <a:lnTo>
                  <a:pt x="232" y="100"/>
                </a:lnTo>
                <a:close/>
                <a:moveTo>
                  <a:pt x="235" y="93"/>
                </a:moveTo>
                <a:lnTo>
                  <a:pt x="235" y="100"/>
                </a:lnTo>
                <a:lnTo>
                  <a:pt x="232" y="100"/>
                </a:lnTo>
                <a:lnTo>
                  <a:pt x="228" y="97"/>
                </a:lnTo>
                <a:lnTo>
                  <a:pt x="228" y="97"/>
                </a:lnTo>
                <a:lnTo>
                  <a:pt x="232" y="97"/>
                </a:lnTo>
                <a:lnTo>
                  <a:pt x="232" y="97"/>
                </a:lnTo>
                <a:lnTo>
                  <a:pt x="235" y="93"/>
                </a:lnTo>
                <a:lnTo>
                  <a:pt x="235" y="93"/>
                </a:lnTo>
                <a:close/>
                <a:moveTo>
                  <a:pt x="3" y="18"/>
                </a:moveTo>
                <a:lnTo>
                  <a:pt x="3" y="12"/>
                </a:lnTo>
                <a:lnTo>
                  <a:pt x="7" y="9"/>
                </a:lnTo>
                <a:lnTo>
                  <a:pt x="10" y="12"/>
                </a:lnTo>
                <a:lnTo>
                  <a:pt x="16" y="15"/>
                </a:lnTo>
                <a:lnTo>
                  <a:pt x="16" y="18"/>
                </a:lnTo>
                <a:lnTo>
                  <a:pt x="19" y="18"/>
                </a:lnTo>
                <a:lnTo>
                  <a:pt x="22" y="18"/>
                </a:lnTo>
                <a:lnTo>
                  <a:pt x="22" y="25"/>
                </a:lnTo>
                <a:lnTo>
                  <a:pt x="19" y="28"/>
                </a:lnTo>
                <a:lnTo>
                  <a:pt x="19" y="31"/>
                </a:lnTo>
                <a:lnTo>
                  <a:pt x="25" y="31"/>
                </a:lnTo>
                <a:lnTo>
                  <a:pt x="28" y="28"/>
                </a:lnTo>
                <a:lnTo>
                  <a:pt x="32" y="28"/>
                </a:lnTo>
                <a:lnTo>
                  <a:pt x="35" y="31"/>
                </a:lnTo>
                <a:lnTo>
                  <a:pt x="38" y="28"/>
                </a:lnTo>
                <a:lnTo>
                  <a:pt x="38" y="25"/>
                </a:lnTo>
                <a:lnTo>
                  <a:pt x="38" y="25"/>
                </a:lnTo>
                <a:lnTo>
                  <a:pt x="38" y="25"/>
                </a:lnTo>
                <a:lnTo>
                  <a:pt x="41" y="25"/>
                </a:lnTo>
                <a:lnTo>
                  <a:pt x="44" y="21"/>
                </a:lnTo>
                <a:lnTo>
                  <a:pt x="44" y="21"/>
                </a:lnTo>
                <a:lnTo>
                  <a:pt x="47" y="28"/>
                </a:lnTo>
                <a:lnTo>
                  <a:pt x="63" y="40"/>
                </a:lnTo>
                <a:lnTo>
                  <a:pt x="66" y="50"/>
                </a:lnTo>
                <a:lnTo>
                  <a:pt x="69" y="56"/>
                </a:lnTo>
                <a:lnTo>
                  <a:pt x="66" y="59"/>
                </a:lnTo>
                <a:lnTo>
                  <a:pt x="69" y="68"/>
                </a:lnTo>
                <a:lnTo>
                  <a:pt x="66" y="68"/>
                </a:lnTo>
                <a:lnTo>
                  <a:pt x="66" y="71"/>
                </a:lnTo>
                <a:lnTo>
                  <a:pt x="69" y="75"/>
                </a:lnTo>
                <a:lnTo>
                  <a:pt x="69" y="84"/>
                </a:lnTo>
                <a:lnTo>
                  <a:pt x="72" y="90"/>
                </a:lnTo>
                <a:lnTo>
                  <a:pt x="75" y="93"/>
                </a:lnTo>
                <a:lnTo>
                  <a:pt x="78" y="93"/>
                </a:lnTo>
                <a:lnTo>
                  <a:pt x="78" y="97"/>
                </a:lnTo>
                <a:lnTo>
                  <a:pt x="78" y="97"/>
                </a:lnTo>
                <a:lnTo>
                  <a:pt x="78" y="103"/>
                </a:lnTo>
                <a:lnTo>
                  <a:pt x="82" y="106"/>
                </a:lnTo>
                <a:lnTo>
                  <a:pt x="82" y="106"/>
                </a:lnTo>
                <a:lnTo>
                  <a:pt x="82" y="106"/>
                </a:lnTo>
                <a:lnTo>
                  <a:pt x="82" y="109"/>
                </a:lnTo>
                <a:lnTo>
                  <a:pt x="88" y="115"/>
                </a:lnTo>
                <a:lnTo>
                  <a:pt x="88" y="122"/>
                </a:lnTo>
                <a:lnTo>
                  <a:pt x="85" y="122"/>
                </a:lnTo>
                <a:lnTo>
                  <a:pt x="85" y="118"/>
                </a:lnTo>
                <a:lnTo>
                  <a:pt x="85" y="118"/>
                </a:lnTo>
                <a:lnTo>
                  <a:pt x="82" y="115"/>
                </a:lnTo>
                <a:lnTo>
                  <a:pt x="82" y="115"/>
                </a:lnTo>
                <a:lnTo>
                  <a:pt x="82" y="118"/>
                </a:lnTo>
                <a:lnTo>
                  <a:pt x="82" y="118"/>
                </a:lnTo>
                <a:lnTo>
                  <a:pt x="82" y="118"/>
                </a:lnTo>
                <a:lnTo>
                  <a:pt x="82" y="122"/>
                </a:lnTo>
                <a:lnTo>
                  <a:pt x="78" y="122"/>
                </a:lnTo>
                <a:lnTo>
                  <a:pt x="78" y="122"/>
                </a:lnTo>
                <a:lnTo>
                  <a:pt x="75" y="122"/>
                </a:lnTo>
                <a:lnTo>
                  <a:pt x="72" y="122"/>
                </a:lnTo>
                <a:lnTo>
                  <a:pt x="69" y="118"/>
                </a:lnTo>
                <a:lnTo>
                  <a:pt x="63" y="115"/>
                </a:lnTo>
                <a:lnTo>
                  <a:pt x="57" y="112"/>
                </a:lnTo>
                <a:lnTo>
                  <a:pt x="53" y="109"/>
                </a:lnTo>
                <a:lnTo>
                  <a:pt x="53" y="109"/>
                </a:lnTo>
                <a:lnTo>
                  <a:pt x="50" y="109"/>
                </a:lnTo>
                <a:lnTo>
                  <a:pt x="47" y="109"/>
                </a:lnTo>
                <a:lnTo>
                  <a:pt x="41" y="103"/>
                </a:lnTo>
                <a:lnTo>
                  <a:pt x="41" y="100"/>
                </a:lnTo>
                <a:lnTo>
                  <a:pt x="38" y="97"/>
                </a:lnTo>
                <a:lnTo>
                  <a:pt x="28" y="93"/>
                </a:lnTo>
                <a:lnTo>
                  <a:pt x="28" y="90"/>
                </a:lnTo>
                <a:lnTo>
                  <a:pt x="28" y="87"/>
                </a:lnTo>
                <a:lnTo>
                  <a:pt x="32" y="84"/>
                </a:lnTo>
                <a:lnTo>
                  <a:pt x="28" y="81"/>
                </a:lnTo>
                <a:lnTo>
                  <a:pt x="25" y="78"/>
                </a:lnTo>
                <a:lnTo>
                  <a:pt x="22" y="75"/>
                </a:lnTo>
                <a:lnTo>
                  <a:pt x="16" y="71"/>
                </a:lnTo>
                <a:lnTo>
                  <a:pt x="13" y="68"/>
                </a:lnTo>
                <a:lnTo>
                  <a:pt x="13" y="65"/>
                </a:lnTo>
                <a:lnTo>
                  <a:pt x="13" y="62"/>
                </a:lnTo>
                <a:lnTo>
                  <a:pt x="10" y="59"/>
                </a:lnTo>
                <a:lnTo>
                  <a:pt x="13" y="56"/>
                </a:lnTo>
                <a:lnTo>
                  <a:pt x="13" y="50"/>
                </a:lnTo>
                <a:lnTo>
                  <a:pt x="10" y="46"/>
                </a:lnTo>
                <a:lnTo>
                  <a:pt x="10" y="40"/>
                </a:lnTo>
                <a:lnTo>
                  <a:pt x="7" y="25"/>
                </a:lnTo>
                <a:lnTo>
                  <a:pt x="3" y="18"/>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0" name="Freeform 28">
            <a:extLst>
              <a:ext uri="{FF2B5EF4-FFF2-40B4-BE49-F238E27FC236}">
                <a16:creationId xmlns:a16="http://schemas.microsoft.com/office/drawing/2014/main" id="{A9BA29C8-B3F5-FF8E-C2B3-D6A79D1980CF}"/>
              </a:ext>
            </a:extLst>
          </p:cNvPr>
          <p:cNvSpPr>
            <a:spLocks noEditPoints="1"/>
          </p:cNvSpPr>
          <p:nvPr userDrawn="1"/>
        </p:nvSpPr>
        <p:spPr bwMode="auto">
          <a:xfrm>
            <a:off x="20312324" y="9067085"/>
            <a:ext cx="79371" cy="60326"/>
          </a:xfrm>
          <a:custGeom>
            <a:avLst/>
            <a:gdLst>
              <a:gd name="T0" fmla="*/ 0 w 25"/>
              <a:gd name="T1" fmla="*/ 7 h 19"/>
              <a:gd name="T2" fmla="*/ 4 w 25"/>
              <a:gd name="T3" fmla="*/ 10 h 19"/>
              <a:gd name="T4" fmla="*/ 7 w 25"/>
              <a:gd name="T5" fmla="*/ 10 h 19"/>
              <a:gd name="T6" fmla="*/ 10 w 25"/>
              <a:gd name="T7" fmla="*/ 16 h 19"/>
              <a:gd name="T8" fmla="*/ 13 w 25"/>
              <a:gd name="T9" fmla="*/ 19 h 19"/>
              <a:gd name="T10" fmla="*/ 16 w 25"/>
              <a:gd name="T11" fmla="*/ 16 h 19"/>
              <a:gd name="T12" fmla="*/ 13 w 25"/>
              <a:gd name="T13" fmla="*/ 10 h 19"/>
              <a:gd name="T14" fmla="*/ 16 w 25"/>
              <a:gd name="T15" fmla="*/ 7 h 19"/>
              <a:gd name="T16" fmla="*/ 19 w 25"/>
              <a:gd name="T17" fmla="*/ 7 h 19"/>
              <a:gd name="T18" fmla="*/ 19 w 25"/>
              <a:gd name="T19" fmla="*/ 4 h 19"/>
              <a:gd name="T20" fmla="*/ 16 w 25"/>
              <a:gd name="T21" fmla="*/ 0 h 19"/>
              <a:gd name="T22" fmla="*/ 13 w 25"/>
              <a:gd name="T23" fmla="*/ 0 h 19"/>
              <a:gd name="T24" fmla="*/ 10 w 25"/>
              <a:gd name="T25" fmla="*/ 4 h 19"/>
              <a:gd name="T26" fmla="*/ 0 w 25"/>
              <a:gd name="T27" fmla="*/ 7 h 19"/>
              <a:gd name="T28" fmla="*/ 0 w 25"/>
              <a:gd name="T29" fmla="*/ 7 h 19"/>
              <a:gd name="T30" fmla="*/ 0 w 25"/>
              <a:gd name="T31" fmla="*/ 7 h 19"/>
              <a:gd name="T32" fmla="*/ 19 w 25"/>
              <a:gd name="T33" fmla="*/ 7 h 19"/>
              <a:gd name="T34" fmla="*/ 19 w 25"/>
              <a:gd name="T35" fmla="*/ 10 h 19"/>
              <a:gd name="T36" fmla="*/ 19 w 25"/>
              <a:gd name="T37" fmla="*/ 13 h 19"/>
              <a:gd name="T38" fmla="*/ 22 w 25"/>
              <a:gd name="T39" fmla="*/ 16 h 19"/>
              <a:gd name="T40" fmla="*/ 25 w 25"/>
              <a:gd name="T41" fmla="*/ 13 h 19"/>
              <a:gd name="T42" fmla="*/ 22 w 25"/>
              <a:gd name="T43" fmla="*/ 7 h 19"/>
              <a:gd name="T44" fmla="*/ 22 w 25"/>
              <a:gd name="T45" fmla="*/ 4 h 19"/>
              <a:gd name="T46" fmla="*/ 19 w 25"/>
              <a:gd name="T47" fmla="*/ 7 h 19"/>
              <a:gd name="T48" fmla="*/ 19 w 25"/>
              <a:gd name="T49"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19">
                <a:moveTo>
                  <a:pt x="0" y="7"/>
                </a:moveTo>
                <a:lnTo>
                  <a:pt x="4" y="10"/>
                </a:lnTo>
                <a:lnTo>
                  <a:pt x="7" y="10"/>
                </a:lnTo>
                <a:lnTo>
                  <a:pt x="10" y="16"/>
                </a:lnTo>
                <a:lnTo>
                  <a:pt x="13" y="19"/>
                </a:lnTo>
                <a:lnTo>
                  <a:pt x="16" y="16"/>
                </a:lnTo>
                <a:lnTo>
                  <a:pt x="13" y="10"/>
                </a:lnTo>
                <a:lnTo>
                  <a:pt x="16" y="7"/>
                </a:lnTo>
                <a:lnTo>
                  <a:pt x="19" y="7"/>
                </a:lnTo>
                <a:lnTo>
                  <a:pt x="19" y="4"/>
                </a:lnTo>
                <a:lnTo>
                  <a:pt x="16" y="0"/>
                </a:lnTo>
                <a:lnTo>
                  <a:pt x="13" y="0"/>
                </a:lnTo>
                <a:lnTo>
                  <a:pt x="10" y="4"/>
                </a:lnTo>
                <a:lnTo>
                  <a:pt x="0" y="7"/>
                </a:lnTo>
                <a:lnTo>
                  <a:pt x="0" y="7"/>
                </a:lnTo>
                <a:lnTo>
                  <a:pt x="0" y="7"/>
                </a:lnTo>
                <a:close/>
                <a:moveTo>
                  <a:pt x="19" y="7"/>
                </a:moveTo>
                <a:lnTo>
                  <a:pt x="19" y="10"/>
                </a:lnTo>
                <a:lnTo>
                  <a:pt x="19" y="13"/>
                </a:lnTo>
                <a:lnTo>
                  <a:pt x="22" y="16"/>
                </a:lnTo>
                <a:lnTo>
                  <a:pt x="25" y="13"/>
                </a:lnTo>
                <a:lnTo>
                  <a:pt x="22" y="7"/>
                </a:lnTo>
                <a:lnTo>
                  <a:pt x="22" y="4"/>
                </a:lnTo>
                <a:lnTo>
                  <a:pt x="19" y="7"/>
                </a:lnTo>
                <a:lnTo>
                  <a:pt x="19" y="7"/>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1" name="Freeform 29">
            <a:extLst>
              <a:ext uri="{FF2B5EF4-FFF2-40B4-BE49-F238E27FC236}">
                <a16:creationId xmlns:a16="http://schemas.microsoft.com/office/drawing/2014/main" id="{2FF733F3-75A2-2CF4-86FD-B99CCF367FE6}"/>
              </a:ext>
            </a:extLst>
          </p:cNvPr>
          <p:cNvSpPr>
            <a:spLocks noEditPoints="1"/>
          </p:cNvSpPr>
          <p:nvPr userDrawn="1"/>
        </p:nvSpPr>
        <p:spPr bwMode="auto">
          <a:xfrm>
            <a:off x="19490055" y="7838359"/>
            <a:ext cx="504793" cy="1003302"/>
          </a:xfrm>
          <a:custGeom>
            <a:avLst/>
            <a:gdLst>
              <a:gd name="T0" fmla="*/ 6 w 159"/>
              <a:gd name="T1" fmla="*/ 15 h 316"/>
              <a:gd name="T2" fmla="*/ 16 w 159"/>
              <a:gd name="T3" fmla="*/ 18 h 316"/>
              <a:gd name="T4" fmla="*/ 28 w 159"/>
              <a:gd name="T5" fmla="*/ 15 h 316"/>
              <a:gd name="T6" fmla="*/ 44 w 159"/>
              <a:gd name="T7" fmla="*/ 12 h 316"/>
              <a:gd name="T8" fmla="*/ 59 w 159"/>
              <a:gd name="T9" fmla="*/ 0 h 316"/>
              <a:gd name="T10" fmla="*/ 81 w 159"/>
              <a:gd name="T11" fmla="*/ 9 h 316"/>
              <a:gd name="T12" fmla="*/ 88 w 159"/>
              <a:gd name="T13" fmla="*/ 15 h 316"/>
              <a:gd name="T14" fmla="*/ 97 w 159"/>
              <a:gd name="T15" fmla="*/ 34 h 316"/>
              <a:gd name="T16" fmla="*/ 113 w 159"/>
              <a:gd name="T17" fmla="*/ 37 h 316"/>
              <a:gd name="T18" fmla="*/ 113 w 159"/>
              <a:gd name="T19" fmla="*/ 43 h 316"/>
              <a:gd name="T20" fmla="*/ 100 w 159"/>
              <a:gd name="T21" fmla="*/ 46 h 316"/>
              <a:gd name="T22" fmla="*/ 94 w 159"/>
              <a:gd name="T23" fmla="*/ 53 h 316"/>
              <a:gd name="T24" fmla="*/ 88 w 159"/>
              <a:gd name="T25" fmla="*/ 56 h 316"/>
              <a:gd name="T26" fmla="*/ 88 w 159"/>
              <a:gd name="T27" fmla="*/ 65 h 316"/>
              <a:gd name="T28" fmla="*/ 78 w 159"/>
              <a:gd name="T29" fmla="*/ 75 h 316"/>
              <a:gd name="T30" fmla="*/ 75 w 159"/>
              <a:gd name="T31" fmla="*/ 81 h 316"/>
              <a:gd name="T32" fmla="*/ 72 w 159"/>
              <a:gd name="T33" fmla="*/ 97 h 316"/>
              <a:gd name="T34" fmla="*/ 81 w 159"/>
              <a:gd name="T35" fmla="*/ 106 h 316"/>
              <a:gd name="T36" fmla="*/ 91 w 159"/>
              <a:gd name="T37" fmla="*/ 118 h 316"/>
              <a:gd name="T38" fmla="*/ 106 w 159"/>
              <a:gd name="T39" fmla="*/ 137 h 316"/>
              <a:gd name="T40" fmla="*/ 141 w 159"/>
              <a:gd name="T41" fmla="*/ 165 h 316"/>
              <a:gd name="T42" fmla="*/ 147 w 159"/>
              <a:gd name="T43" fmla="*/ 178 h 316"/>
              <a:gd name="T44" fmla="*/ 150 w 159"/>
              <a:gd name="T45" fmla="*/ 194 h 316"/>
              <a:gd name="T46" fmla="*/ 156 w 159"/>
              <a:gd name="T47" fmla="*/ 209 h 316"/>
              <a:gd name="T48" fmla="*/ 159 w 159"/>
              <a:gd name="T49" fmla="*/ 222 h 316"/>
              <a:gd name="T50" fmla="*/ 159 w 159"/>
              <a:gd name="T51" fmla="*/ 225 h 316"/>
              <a:gd name="T52" fmla="*/ 156 w 159"/>
              <a:gd name="T53" fmla="*/ 234 h 316"/>
              <a:gd name="T54" fmla="*/ 156 w 159"/>
              <a:gd name="T55" fmla="*/ 250 h 316"/>
              <a:gd name="T56" fmla="*/ 144 w 159"/>
              <a:gd name="T57" fmla="*/ 262 h 316"/>
              <a:gd name="T58" fmla="*/ 131 w 159"/>
              <a:gd name="T59" fmla="*/ 272 h 316"/>
              <a:gd name="T60" fmla="*/ 109 w 159"/>
              <a:gd name="T61" fmla="*/ 278 h 316"/>
              <a:gd name="T62" fmla="*/ 106 w 159"/>
              <a:gd name="T63" fmla="*/ 275 h 316"/>
              <a:gd name="T64" fmla="*/ 109 w 159"/>
              <a:gd name="T65" fmla="*/ 281 h 316"/>
              <a:gd name="T66" fmla="*/ 106 w 159"/>
              <a:gd name="T67" fmla="*/ 287 h 316"/>
              <a:gd name="T68" fmla="*/ 97 w 159"/>
              <a:gd name="T69" fmla="*/ 290 h 316"/>
              <a:gd name="T70" fmla="*/ 97 w 159"/>
              <a:gd name="T71" fmla="*/ 297 h 316"/>
              <a:gd name="T72" fmla="*/ 88 w 159"/>
              <a:gd name="T73" fmla="*/ 303 h 316"/>
              <a:gd name="T74" fmla="*/ 75 w 159"/>
              <a:gd name="T75" fmla="*/ 316 h 316"/>
              <a:gd name="T76" fmla="*/ 75 w 159"/>
              <a:gd name="T77" fmla="*/ 309 h 316"/>
              <a:gd name="T78" fmla="*/ 75 w 159"/>
              <a:gd name="T79" fmla="*/ 297 h 316"/>
              <a:gd name="T80" fmla="*/ 81 w 159"/>
              <a:gd name="T81" fmla="*/ 281 h 316"/>
              <a:gd name="T82" fmla="*/ 66 w 159"/>
              <a:gd name="T83" fmla="*/ 281 h 316"/>
              <a:gd name="T84" fmla="*/ 72 w 159"/>
              <a:gd name="T85" fmla="*/ 272 h 316"/>
              <a:gd name="T86" fmla="*/ 94 w 159"/>
              <a:gd name="T87" fmla="*/ 265 h 316"/>
              <a:gd name="T88" fmla="*/ 97 w 159"/>
              <a:gd name="T89" fmla="*/ 259 h 316"/>
              <a:gd name="T90" fmla="*/ 106 w 159"/>
              <a:gd name="T91" fmla="*/ 244 h 316"/>
              <a:gd name="T92" fmla="*/ 122 w 159"/>
              <a:gd name="T93" fmla="*/ 228 h 316"/>
              <a:gd name="T94" fmla="*/ 119 w 159"/>
              <a:gd name="T95" fmla="*/ 200 h 316"/>
              <a:gd name="T96" fmla="*/ 119 w 159"/>
              <a:gd name="T97" fmla="*/ 184 h 316"/>
              <a:gd name="T98" fmla="*/ 119 w 159"/>
              <a:gd name="T99" fmla="*/ 168 h 316"/>
              <a:gd name="T100" fmla="*/ 116 w 159"/>
              <a:gd name="T101" fmla="*/ 156 h 316"/>
              <a:gd name="T102" fmla="*/ 106 w 159"/>
              <a:gd name="T103" fmla="*/ 147 h 316"/>
              <a:gd name="T104" fmla="*/ 94 w 159"/>
              <a:gd name="T105" fmla="*/ 137 h 316"/>
              <a:gd name="T106" fmla="*/ 81 w 159"/>
              <a:gd name="T107" fmla="*/ 122 h 316"/>
              <a:gd name="T108" fmla="*/ 56 w 159"/>
              <a:gd name="T109" fmla="*/ 103 h 316"/>
              <a:gd name="T110" fmla="*/ 47 w 159"/>
              <a:gd name="T111" fmla="*/ 90 h 316"/>
              <a:gd name="T112" fmla="*/ 53 w 159"/>
              <a:gd name="T113" fmla="*/ 81 h 316"/>
              <a:gd name="T114" fmla="*/ 56 w 159"/>
              <a:gd name="T115" fmla="*/ 65 h 316"/>
              <a:gd name="T116" fmla="*/ 41 w 159"/>
              <a:gd name="T117" fmla="*/ 53 h 316"/>
              <a:gd name="T118" fmla="*/ 13 w 159"/>
              <a:gd name="T119" fmla="*/ 40 h 316"/>
              <a:gd name="T120" fmla="*/ 0 w 159"/>
              <a:gd name="T121" fmla="*/ 25 h 316"/>
              <a:gd name="T122" fmla="*/ 53 w 159"/>
              <a:gd name="T123" fmla="*/ 281 h 316"/>
              <a:gd name="T124" fmla="*/ 56 w 159"/>
              <a:gd name="T125" fmla="*/ 275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9" h="316">
                <a:moveTo>
                  <a:pt x="0" y="21"/>
                </a:moveTo>
                <a:lnTo>
                  <a:pt x="0" y="18"/>
                </a:lnTo>
                <a:lnTo>
                  <a:pt x="3" y="18"/>
                </a:lnTo>
                <a:lnTo>
                  <a:pt x="3" y="18"/>
                </a:lnTo>
                <a:lnTo>
                  <a:pt x="6" y="15"/>
                </a:lnTo>
                <a:lnTo>
                  <a:pt x="9" y="15"/>
                </a:lnTo>
                <a:lnTo>
                  <a:pt x="13" y="15"/>
                </a:lnTo>
                <a:lnTo>
                  <a:pt x="13" y="18"/>
                </a:lnTo>
                <a:lnTo>
                  <a:pt x="13" y="18"/>
                </a:lnTo>
                <a:lnTo>
                  <a:pt x="16" y="18"/>
                </a:lnTo>
                <a:lnTo>
                  <a:pt x="16" y="15"/>
                </a:lnTo>
                <a:lnTo>
                  <a:pt x="19" y="12"/>
                </a:lnTo>
                <a:lnTo>
                  <a:pt x="25" y="15"/>
                </a:lnTo>
                <a:lnTo>
                  <a:pt x="25" y="15"/>
                </a:lnTo>
                <a:lnTo>
                  <a:pt x="28" y="15"/>
                </a:lnTo>
                <a:lnTo>
                  <a:pt x="28" y="15"/>
                </a:lnTo>
                <a:lnTo>
                  <a:pt x="34" y="15"/>
                </a:lnTo>
                <a:lnTo>
                  <a:pt x="34" y="12"/>
                </a:lnTo>
                <a:lnTo>
                  <a:pt x="38" y="9"/>
                </a:lnTo>
                <a:lnTo>
                  <a:pt x="44" y="12"/>
                </a:lnTo>
                <a:lnTo>
                  <a:pt x="50" y="9"/>
                </a:lnTo>
                <a:lnTo>
                  <a:pt x="50" y="3"/>
                </a:lnTo>
                <a:lnTo>
                  <a:pt x="53" y="3"/>
                </a:lnTo>
                <a:lnTo>
                  <a:pt x="59" y="3"/>
                </a:lnTo>
                <a:lnTo>
                  <a:pt x="59" y="0"/>
                </a:lnTo>
                <a:lnTo>
                  <a:pt x="66" y="3"/>
                </a:lnTo>
                <a:lnTo>
                  <a:pt x="66" y="6"/>
                </a:lnTo>
                <a:lnTo>
                  <a:pt x="69" y="6"/>
                </a:lnTo>
                <a:lnTo>
                  <a:pt x="72" y="9"/>
                </a:lnTo>
                <a:lnTo>
                  <a:pt x="81" y="9"/>
                </a:lnTo>
                <a:lnTo>
                  <a:pt x="81" y="9"/>
                </a:lnTo>
                <a:lnTo>
                  <a:pt x="88" y="9"/>
                </a:lnTo>
                <a:lnTo>
                  <a:pt x="91" y="12"/>
                </a:lnTo>
                <a:lnTo>
                  <a:pt x="91" y="15"/>
                </a:lnTo>
                <a:lnTo>
                  <a:pt x="88" y="15"/>
                </a:lnTo>
                <a:lnTo>
                  <a:pt x="84" y="21"/>
                </a:lnTo>
                <a:lnTo>
                  <a:pt x="88" y="25"/>
                </a:lnTo>
                <a:lnTo>
                  <a:pt x="88" y="28"/>
                </a:lnTo>
                <a:lnTo>
                  <a:pt x="97" y="31"/>
                </a:lnTo>
                <a:lnTo>
                  <a:pt x="97" y="34"/>
                </a:lnTo>
                <a:lnTo>
                  <a:pt x="100" y="34"/>
                </a:lnTo>
                <a:lnTo>
                  <a:pt x="103" y="37"/>
                </a:lnTo>
                <a:lnTo>
                  <a:pt x="109" y="34"/>
                </a:lnTo>
                <a:lnTo>
                  <a:pt x="109" y="37"/>
                </a:lnTo>
                <a:lnTo>
                  <a:pt x="113" y="37"/>
                </a:lnTo>
                <a:lnTo>
                  <a:pt x="116" y="37"/>
                </a:lnTo>
                <a:lnTo>
                  <a:pt x="116" y="37"/>
                </a:lnTo>
                <a:lnTo>
                  <a:pt x="116" y="40"/>
                </a:lnTo>
                <a:lnTo>
                  <a:pt x="116" y="40"/>
                </a:lnTo>
                <a:lnTo>
                  <a:pt x="113" y="43"/>
                </a:lnTo>
                <a:lnTo>
                  <a:pt x="113" y="43"/>
                </a:lnTo>
                <a:lnTo>
                  <a:pt x="109" y="43"/>
                </a:lnTo>
                <a:lnTo>
                  <a:pt x="106" y="43"/>
                </a:lnTo>
                <a:lnTo>
                  <a:pt x="100" y="46"/>
                </a:lnTo>
                <a:lnTo>
                  <a:pt x="100" y="46"/>
                </a:lnTo>
                <a:lnTo>
                  <a:pt x="100" y="50"/>
                </a:lnTo>
                <a:lnTo>
                  <a:pt x="100" y="50"/>
                </a:lnTo>
                <a:lnTo>
                  <a:pt x="97" y="53"/>
                </a:lnTo>
                <a:lnTo>
                  <a:pt x="97" y="50"/>
                </a:lnTo>
                <a:lnTo>
                  <a:pt x="94" y="53"/>
                </a:lnTo>
                <a:lnTo>
                  <a:pt x="91" y="53"/>
                </a:lnTo>
                <a:lnTo>
                  <a:pt x="91" y="53"/>
                </a:lnTo>
                <a:lnTo>
                  <a:pt x="91" y="53"/>
                </a:lnTo>
                <a:lnTo>
                  <a:pt x="88" y="53"/>
                </a:lnTo>
                <a:lnTo>
                  <a:pt x="88" y="56"/>
                </a:lnTo>
                <a:lnTo>
                  <a:pt x="88" y="56"/>
                </a:lnTo>
                <a:lnTo>
                  <a:pt x="88" y="59"/>
                </a:lnTo>
                <a:lnTo>
                  <a:pt x="88" y="62"/>
                </a:lnTo>
                <a:lnTo>
                  <a:pt x="88" y="65"/>
                </a:lnTo>
                <a:lnTo>
                  <a:pt x="88" y="65"/>
                </a:lnTo>
                <a:lnTo>
                  <a:pt x="88" y="68"/>
                </a:lnTo>
                <a:lnTo>
                  <a:pt x="88" y="68"/>
                </a:lnTo>
                <a:lnTo>
                  <a:pt x="84" y="68"/>
                </a:lnTo>
                <a:lnTo>
                  <a:pt x="81" y="75"/>
                </a:lnTo>
                <a:lnTo>
                  <a:pt x="78" y="75"/>
                </a:lnTo>
                <a:lnTo>
                  <a:pt x="78" y="72"/>
                </a:lnTo>
                <a:lnTo>
                  <a:pt x="78" y="75"/>
                </a:lnTo>
                <a:lnTo>
                  <a:pt x="75" y="75"/>
                </a:lnTo>
                <a:lnTo>
                  <a:pt x="75" y="78"/>
                </a:lnTo>
                <a:lnTo>
                  <a:pt x="75" y="81"/>
                </a:lnTo>
                <a:lnTo>
                  <a:pt x="75" y="84"/>
                </a:lnTo>
                <a:lnTo>
                  <a:pt x="75" y="84"/>
                </a:lnTo>
                <a:lnTo>
                  <a:pt x="78" y="87"/>
                </a:lnTo>
                <a:lnTo>
                  <a:pt x="75" y="93"/>
                </a:lnTo>
                <a:lnTo>
                  <a:pt x="72" y="97"/>
                </a:lnTo>
                <a:lnTo>
                  <a:pt x="78" y="100"/>
                </a:lnTo>
                <a:lnTo>
                  <a:pt x="75" y="103"/>
                </a:lnTo>
                <a:lnTo>
                  <a:pt x="72" y="103"/>
                </a:lnTo>
                <a:lnTo>
                  <a:pt x="75" y="103"/>
                </a:lnTo>
                <a:lnTo>
                  <a:pt x="81" y="106"/>
                </a:lnTo>
                <a:lnTo>
                  <a:pt x="88" y="112"/>
                </a:lnTo>
                <a:lnTo>
                  <a:pt x="91" y="112"/>
                </a:lnTo>
                <a:lnTo>
                  <a:pt x="91" y="115"/>
                </a:lnTo>
                <a:lnTo>
                  <a:pt x="91" y="118"/>
                </a:lnTo>
                <a:lnTo>
                  <a:pt x="91" y="118"/>
                </a:lnTo>
                <a:lnTo>
                  <a:pt x="94" y="125"/>
                </a:lnTo>
                <a:lnTo>
                  <a:pt x="94" y="128"/>
                </a:lnTo>
                <a:lnTo>
                  <a:pt x="100" y="134"/>
                </a:lnTo>
                <a:lnTo>
                  <a:pt x="106" y="134"/>
                </a:lnTo>
                <a:lnTo>
                  <a:pt x="106" y="137"/>
                </a:lnTo>
                <a:lnTo>
                  <a:pt x="116" y="143"/>
                </a:lnTo>
                <a:lnTo>
                  <a:pt x="125" y="150"/>
                </a:lnTo>
                <a:lnTo>
                  <a:pt x="128" y="153"/>
                </a:lnTo>
                <a:lnTo>
                  <a:pt x="138" y="159"/>
                </a:lnTo>
                <a:lnTo>
                  <a:pt x="141" y="165"/>
                </a:lnTo>
                <a:lnTo>
                  <a:pt x="141" y="168"/>
                </a:lnTo>
                <a:lnTo>
                  <a:pt x="141" y="168"/>
                </a:lnTo>
                <a:lnTo>
                  <a:pt x="141" y="172"/>
                </a:lnTo>
                <a:lnTo>
                  <a:pt x="147" y="175"/>
                </a:lnTo>
                <a:lnTo>
                  <a:pt x="147" y="178"/>
                </a:lnTo>
                <a:lnTo>
                  <a:pt x="147" y="178"/>
                </a:lnTo>
                <a:lnTo>
                  <a:pt x="147" y="181"/>
                </a:lnTo>
                <a:lnTo>
                  <a:pt x="150" y="184"/>
                </a:lnTo>
                <a:lnTo>
                  <a:pt x="150" y="190"/>
                </a:lnTo>
                <a:lnTo>
                  <a:pt x="150" y="194"/>
                </a:lnTo>
                <a:lnTo>
                  <a:pt x="153" y="200"/>
                </a:lnTo>
                <a:lnTo>
                  <a:pt x="153" y="200"/>
                </a:lnTo>
                <a:lnTo>
                  <a:pt x="153" y="203"/>
                </a:lnTo>
                <a:lnTo>
                  <a:pt x="153" y="206"/>
                </a:lnTo>
                <a:lnTo>
                  <a:pt x="156" y="209"/>
                </a:lnTo>
                <a:lnTo>
                  <a:pt x="153" y="212"/>
                </a:lnTo>
                <a:lnTo>
                  <a:pt x="156" y="215"/>
                </a:lnTo>
                <a:lnTo>
                  <a:pt x="156" y="219"/>
                </a:lnTo>
                <a:lnTo>
                  <a:pt x="156" y="219"/>
                </a:lnTo>
                <a:lnTo>
                  <a:pt x="159" y="222"/>
                </a:lnTo>
                <a:lnTo>
                  <a:pt x="159" y="225"/>
                </a:lnTo>
                <a:lnTo>
                  <a:pt x="159" y="228"/>
                </a:lnTo>
                <a:lnTo>
                  <a:pt x="159" y="228"/>
                </a:lnTo>
                <a:lnTo>
                  <a:pt x="159" y="228"/>
                </a:lnTo>
                <a:lnTo>
                  <a:pt x="159" y="225"/>
                </a:lnTo>
                <a:lnTo>
                  <a:pt x="156" y="228"/>
                </a:lnTo>
                <a:lnTo>
                  <a:pt x="156" y="231"/>
                </a:lnTo>
                <a:lnTo>
                  <a:pt x="159" y="231"/>
                </a:lnTo>
                <a:lnTo>
                  <a:pt x="159" y="234"/>
                </a:lnTo>
                <a:lnTo>
                  <a:pt x="156" y="234"/>
                </a:lnTo>
                <a:lnTo>
                  <a:pt x="156" y="237"/>
                </a:lnTo>
                <a:lnTo>
                  <a:pt x="153" y="240"/>
                </a:lnTo>
                <a:lnTo>
                  <a:pt x="156" y="244"/>
                </a:lnTo>
                <a:lnTo>
                  <a:pt x="153" y="247"/>
                </a:lnTo>
                <a:lnTo>
                  <a:pt x="156" y="250"/>
                </a:lnTo>
                <a:lnTo>
                  <a:pt x="153" y="250"/>
                </a:lnTo>
                <a:lnTo>
                  <a:pt x="150" y="253"/>
                </a:lnTo>
                <a:lnTo>
                  <a:pt x="150" y="256"/>
                </a:lnTo>
                <a:lnTo>
                  <a:pt x="147" y="259"/>
                </a:lnTo>
                <a:lnTo>
                  <a:pt x="144" y="262"/>
                </a:lnTo>
                <a:lnTo>
                  <a:pt x="141" y="262"/>
                </a:lnTo>
                <a:lnTo>
                  <a:pt x="138" y="265"/>
                </a:lnTo>
                <a:lnTo>
                  <a:pt x="138" y="269"/>
                </a:lnTo>
                <a:lnTo>
                  <a:pt x="131" y="269"/>
                </a:lnTo>
                <a:lnTo>
                  <a:pt x="131" y="272"/>
                </a:lnTo>
                <a:lnTo>
                  <a:pt x="122" y="278"/>
                </a:lnTo>
                <a:lnTo>
                  <a:pt x="116" y="278"/>
                </a:lnTo>
                <a:lnTo>
                  <a:pt x="116" y="278"/>
                </a:lnTo>
                <a:lnTo>
                  <a:pt x="109" y="278"/>
                </a:lnTo>
                <a:lnTo>
                  <a:pt x="109" y="278"/>
                </a:lnTo>
                <a:lnTo>
                  <a:pt x="109" y="275"/>
                </a:lnTo>
                <a:lnTo>
                  <a:pt x="109" y="272"/>
                </a:lnTo>
                <a:lnTo>
                  <a:pt x="109" y="275"/>
                </a:lnTo>
                <a:lnTo>
                  <a:pt x="109" y="275"/>
                </a:lnTo>
                <a:lnTo>
                  <a:pt x="106" y="275"/>
                </a:lnTo>
                <a:lnTo>
                  <a:pt x="109" y="278"/>
                </a:lnTo>
                <a:lnTo>
                  <a:pt x="109" y="278"/>
                </a:lnTo>
                <a:lnTo>
                  <a:pt x="106" y="278"/>
                </a:lnTo>
                <a:lnTo>
                  <a:pt x="103" y="278"/>
                </a:lnTo>
                <a:lnTo>
                  <a:pt x="109" y="281"/>
                </a:lnTo>
                <a:lnTo>
                  <a:pt x="106" y="281"/>
                </a:lnTo>
                <a:lnTo>
                  <a:pt x="109" y="284"/>
                </a:lnTo>
                <a:lnTo>
                  <a:pt x="106" y="287"/>
                </a:lnTo>
                <a:lnTo>
                  <a:pt x="103" y="284"/>
                </a:lnTo>
                <a:lnTo>
                  <a:pt x="106" y="287"/>
                </a:lnTo>
                <a:lnTo>
                  <a:pt x="106" y="290"/>
                </a:lnTo>
                <a:lnTo>
                  <a:pt x="103" y="290"/>
                </a:lnTo>
                <a:lnTo>
                  <a:pt x="103" y="290"/>
                </a:lnTo>
                <a:lnTo>
                  <a:pt x="100" y="287"/>
                </a:lnTo>
                <a:lnTo>
                  <a:pt x="97" y="290"/>
                </a:lnTo>
                <a:lnTo>
                  <a:pt x="100" y="294"/>
                </a:lnTo>
                <a:lnTo>
                  <a:pt x="100" y="294"/>
                </a:lnTo>
                <a:lnTo>
                  <a:pt x="100" y="294"/>
                </a:lnTo>
                <a:lnTo>
                  <a:pt x="97" y="297"/>
                </a:lnTo>
                <a:lnTo>
                  <a:pt x="97" y="297"/>
                </a:lnTo>
                <a:lnTo>
                  <a:pt x="97" y="297"/>
                </a:lnTo>
                <a:lnTo>
                  <a:pt x="91" y="300"/>
                </a:lnTo>
                <a:lnTo>
                  <a:pt x="91" y="300"/>
                </a:lnTo>
                <a:lnTo>
                  <a:pt x="88" y="300"/>
                </a:lnTo>
                <a:lnTo>
                  <a:pt x="88" y="303"/>
                </a:lnTo>
                <a:lnTo>
                  <a:pt x="88" y="306"/>
                </a:lnTo>
                <a:lnTo>
                  <a:pt x="84" y="309"/>
                </a:lnTo>
                <a:lnTo>
                  <a:pt x="81" y="309"/>
                </a:lnTo>
                <a:lnTo>
                  <a:pt x="81" y="309"/>
                </a:lnTo>
                <a:lnTo>
                  <a:pt x="75" y="316"/>
                </a:lnTo>
                <a:lnTo>
                  <a:pt x="69" y="312"/>
                </a:lnTo>
                <a:lnTo>
                  <a:pt x="72" y="312"/>
                </a:lnTo>
                <a:lnTo>
                  <a:pt x="75" y="309"/>
                </a:lnTo>
                <a:lnTo>
                  <a:pt x="78" y="309"/>
                </a:lnTo>
                <a:lnTo>
                  <a:pt x="75" y="309"/>
                </a:lnTo>
                <a:lnTo>
                  <a:pt x="72" y="306"/>
                </a:lnTo>
                <a:lnTo>
                  <a:pt x="75" y="300"/>
                </a:lnTo>
                <a:lnTo>
                  <a:pt x="75" y="300"/>
                </a:lnTo>
                <a:lnTo>
                  <a:pt x="72" y="300"/>
                </a:lnTo>
                <a:lnTo>
                  <a:pt x="75" y="297"/>
                </a:lnTo>
                <a:lnTo>
                  <a:pt x="72" y="290"/>
                </a:lnTo>
                <a:lnTo>
                  <a:pt x="75" y="287"/>
                </a:lnTo>
                <a:lnTo>
                  <a:pt x="81" y="281"/>
                </a:lnTo>
                <a:lnTo>
                  <a:pt x="84" y="281"/>
                </a:lnTo>
                <a:lnTo>
                  <a:pt x="81" y="281"/>
                </a:lnTo>
                <a:lnTo>
                  <a:pt x="75" y="281"/>
                </a:lnTo>
                <a:lnTo>
                  <a:pt x="75" y="281"/>
                </a:lnTo>
                <a:lnTo>
                  <a:pt x="72" y="281"/>
                </a:lnTo>
                <a:lnTo>
                  <a:pt x="69" y="281"/>
                </a:lnTo>
                <a:lnTo>
                  <a:pt x="66" y="281"/>
                </a:lnTo>
                <a:lnTo>
                  <a:pt x="66" y="281"/>
                </a:lnTo>
                <a:lnTo>
                  <a:pt x="66" y="278"/>
                </a:lnTo>
                <a:lnTo>
                  <a:pt x="66" y="275"/>
                </a:lnTo>
                <a:lnTo>
                  <a:pt x="69" y="272"/>
                </a:lnTo>
                <a:lnTo>
                  <a:pt x="72" y="272"/>
                </a:lnTo>
                <a:lnTo>
                  <a:pt x="75" y="265"/>
                </a:lnTo>
                <a:lnTo>
                  <a:pt x="78" y="265"/>
                </a:lnTo>
                <a:lnTo>
                  <a:pt x="81" y="265"/>
                </a:lnTo>
                <a:lnTo>
                  <a:pt x="91" y="265"/>
                </a:lnTo>
                <a:lnTo>
                  <a:pt x="94" y="265"/>
                </a:lnTo>
                <a:lnTo>
                  <a:pt x="97" y="269"/>
                </a:lnTo>
                <a:lnTo>
                  <a:pt x="103" y="269"/>
                </a:lnTo>
                <a:lnTo>
                  <a:pt x="100" y="265"/>
                </a:lnTo>
                <a:lnTo>
                  <a:pt x="100" y="262"/>
                </a:lnTo>
                <a:lnTo>
                  <a:pt x="97" y="259"/>
                </a:lnTo>
                <a:lnTo>
                  <a:pt x="94" y="256"/>
                </a:lnTo>
                <a:lnTo>
                  <a:pt x="91" y="250"/>
                </a:lnTo>
                <a:lnTo>
                  <a:pt x="97" y="247"/>
                </a:lnTo>
                <a:lnTo>
                  <a:pt x="103" y="247"/>
                </a:lnTo>
                <a:lnTo>
                  <a:pt x="106" y="244"/>
                </a:lnTo>
                <a:lnTo>
                  <a:pt x="109" y="240"/>
                </a:lnTo>
                <a:lnTo>
                  <a:pt x="116" y="237"/>
                </a:lnTo>
                <a:lnTo>
                  <a:pt x="116" y="234"/>
                </a:lnTo>
                <a:lnTo>
                  <a:pt x="119" y="234"/>
                </a:lnTo>
                <a:lnTo>
                  <a:pt x="122" y="228"/>
                </a:lnTo>
                <a:lnTo>
                  <a:pt x="122" y="225"/>
                </a:lnTo>
                <a:lnTo>
                  <a:pt x="125" y="219"/>
                </a:lnTo>
                <a:lnTo>
                  <a:pt x="122" y="215"/>
                </a:lnTo>
                <a:lnTo>
                  <a:pt x="122" y="209"/>
                </a:lnTo>
                <a:lnTo>
                  <a:pt x="119" y="200"/>
                </a:lnTo>
                <a:lnTo>
                  <a:pt x="116" y="200"/>
                </a:lnTo>
                <a:lnTo>
                  <a:pt x="113" y="194"/>
                </a:lnTo>
                <a:lnTo>
                  <a:pt x="116" y="194"/>
                </a:lnTo>
                <a:lnTo>
                  <a:pt x="119" y="190"/>
                </a:lnTo>
                <a:lnTo>
                  <a:pt x="119" y="184"/>
                </a:lnTo>
                <a:lnTo>
                  <a:pt x="116" y="181"/>
                </a:lnTo>
                <a:lnTo>
                  <a:pt x="116" y="178"/>
                </a:lnTo>
                <a:lnTo>
                  <a:pt x="122" y="172"/>
                </a:lnTo>
                <a:lnTo>
                  <a:pt x="122" y="168"/>
                </a:lnTo>
                <a:lnTo>
                  <a:pt x="119" y="168"/>
                </a:lnTo>
                <a:lnTo>
                  <a:pt x="116" y="165"/>
                </a:lnTo>
                <a:lnTo>
                  <a:pt x="116" y="159"/>
                </a:lnTo>
                <a:lnTo>
                  <a:pt x="119" y="156"/>
                </a:lnTo>
                <a:lnTo>
                  <a:pt x="119" y="156"/>
                </a:lnTo>
                <a:lnTo>
                  <a:pt x="116" y="156"/>
                </a:lnTo>
                <a:lnTo>
                  <a:pt x="113" y="156"/>
                </a:lnTo>
                <a:lnTo>
                  <a:pt x="109" y="153"/>
                </a:lnTo>
                <a:lnTo>
                  <a:pt x="106" y="153"/>
                </a:lnTo>
                <a:lnTo>
                  <a:pt x="103" y="150"/>
                </a:lnTo>
                <a:lnTo>
                  <a:pt x="106" y="147"/>
                </a:lnTo>
                <a:lnTo>
                  <a:pt x="103" y="147"/>
                </a:lnTo>
                <a:lnTo>
                  <a:pt x="100" y="147"/>
                </a:lnTo>
                <a:lnTo>
                  <a:pt x="97" y="143"/>
                </a:lnTo>
                <a:lnTo>
                  <a:pt x="97" y="140"/>
                </a:lnTo>
                <a:lnTo>
                  <a:pt x="94" y="137"/>
                </a:lnTo>
                <a:lnTo>
                  <a:pt x="91" y="137"/>
                </a:lnTo>
                <a:lnTo>
                  <a:pt x="88" y="134"/>
                </a:lnTo>
                <a:lnTo>
                  <a:pt x="88" y="131"/>
                </a:lnTo>
                <a:lnTo>
                  <a:pt x="81" y="125"/>
                </a:lnTo>
                <a:lnTo>
                  <a:pt x="81" y="122"/>
                </a:lnTo>
                <a:lnTo>
                  <a:pt x="75" y="115"/>
                </a:lnTo>
                <a:lnTo>
                  <a:pt x="72" y="112"/>
                </a:lnTo>
                <a:lnTo>
                  <a:pt x="66" y="106"/>
                </a:lnTo>
                <a:lnTo>
                  <a:pt x="63" y="106"/>
                </a:lnTo>
                <a:lnTo>
                  <a:pt x="56" y="103"/>
                </a:lnTo>
                <a:lnTo>
                  <a:pt x="50" y="103"/>
                </a:lnTo>
                <a:lnTo>
                  <a:pt x="47" y="97"/>
                </a:lnTo>
                <a:lnTo>
                  <a:pt x="44" y="97"/>
                </a:lnTo>
                <a:lnTo>
                  <a:pt x="44" y="93"/>
                </a:lnTo>
                <a:lnTo>
                  <a:pt x="47" y="90"/>
                </a:lnTo>
                <a:lnTo>
                  <a:pt x="41" y="87"/>
                </a:lnTo>
                <a:lnTo>
                  <a:pt x="41" y="84"/>
                </a:lnTo>
                <a:lnTo>
                  <a:pt x="44" y="84"/>
                </a:lnTo>
                <a:lnTo>
                  <a:pt x="50" y="81"/>
                </a:lnTo>
                <a:lnTo>
                  <a:pt x="53" y="81"/>
                </a:lnTo>
                <a:lnTo>
                  <a:pt x="56" y="78"/>
                </a:lnTo>
                <a:lnTo>
                  <a:pt x="59" y="72"/>
                </a:lnTo>
                <a:lnTo>
                  <a:pt x="59" y="68"/>
                </a:lnTo>
                <a:lnTo>
                  <a:pt x="59" y="65"/>
                </a:lnTo>
                <a:lnTo>
                  <a:pt x="56" y="65"/>
                </a:lnTo>
                <a:lnTo>
                  <a:pt x="56" y="62"/>
                </a:lnTo>
                <a:lnTo>
                  <a:pt x="53" y="59"/>
                </a:lnTo>
                <a:lnTo>
                  <a:pt x="50" y="56"/>
                </a:lnTo>
                <a:lnTo>
                  <a:pt x="47" y="53"/>
                </a:lnTo>
                <a:lnTo>
                  <a:pt x="41" y="53"/>
                </a:lnTo>
                <a:lnTo>
                  <a:pt x="38" y="56"/>
                </a:lnTo>
                <a:lnTo>
                  <a:pt x="31" y="56"/>
                </a:lnTo>
                <a:lnTo>
                  <a:pt x="25" y="56"/>
                </a:lnTo>
                <a:lnTo>
                  <a:pt x="19" y="46"/>
                </a:lnTo>
                <a:lnTo>
                  <a:pt x="13" y="40"/>
                </a:lnTo>
                <a:lnTo>
                  <a:pt x="16" y="37"/>
                </a:lnTo>
                <a:lnTo>
                  <a:pt x="13" y="34"/>
                </a:lnTo>
                <a:lnTo>
                  <a:pt x="9" y="31"/>
                </a:lnTo>
                <a:lnTo>
                  <a:pt x="6" y="25"/>
                </a:lnTo>
                <a:lnTo>
                  <a:pt x="0" y="25"/>
                </a:lnTo>
                <a:lnTo>
                  <a:pt x="0" y="21"/>
                </a:lnTo>
                <a:lnTo>
                  <a:pt x="0" y="21"/>
                </a:lnTo>
                <a:close/>
                <a:moveTo>
                  <a:pt x="53" y="278"/>
                </a:moveTo>
                <a:lnTo>
                  <a:pt x="56" y="281"/>
                </a:lnTo>
                <a:lnTo>
                  <a:pt x="53" y="281"/>
                </a:lnTo>
                <a:lnTo>
                  <a:pt x="56" y="284"/>
                </a:lnTo>
                <a:lnTo>
                  <a:pt x="59" y="284"/>
                </a:lnTo>
                <a:lnTo>
                  <a:pt x="59" y="278"/>
                </a:lnTo>
                <a:lnTo>
                  <a:pt x="59" y="278"/>
                </a:lnTo>
                <a:lnTo>
                  <a:pt x="56" y="275"/>
                </a:lnTo>
                <a:lnTo>
                  <a:pt x="53" y="278"/>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2" name="Freeform 30">
            <a:extLst>
              <a:ext uri="{FF2B5EF4-FFF2-40B4-BE49-F238E27FC236}">
                <a16:creationId xmlns:a16="http://schemas.microsoft.com/office/drawing/2014/main" id="{5B5DC421-4FEA-4078-66DB-AA31031477B4}"/>
              </a:ext>
            </a:extLst>
          </p:cNvPr>
          <p:cNvSpPr>
            <a:spLocks/>
          </p:cNvSpPr>
          <p:nvPr userDrawn="1"/>
        </p:nvSpPr>
        <p:spPr bwMode="auto">
          <a:xfrm>
            <a:off x="19550379" y="8432080"/>
            <a:ext cx="336528" cy="279400"/>
          </a:xfrm>
          <a:custGeom>
            <a:avLst/>
            <a:gdLst>
              <a:gd name="T0" fmla="*/ 50 w 106"/>
              <a:gd name="T1" fmla="*/ 85 h 88"/>
              <a:gd name="T2" fmla="*/ 56 w 106"/>
              <a:gd name="T3" fmla="*/ 78 h 88"/>
              <a:gd name="T4" fmla="*/ 62 w 106"/>
              <a:gd name="T5" fmla="*/ 78 h 88"/>
              <a:gd name="T6" fmla="*/ 75 w 106"/>
              <a:gd name="T7" fmla="*/ 78 h 88"/>
              <a:gd name="T8" fmla="*/ 84 w 106"/>
              <a:gd name="T9" fmla="*/ 82 h 88"/>
              <a:gd name="T10" fmla="*/ 81 w 106"/>
              <a:gd name="T11" fmla="*/ 75 h 88"/>
              <a:gd name="T12" fmla="*/ 75 w 106"/>
              <a:gd name="T13" fmla="*/ 69 h 88"/>
              <a:gd name="T14" fmla="*/ 78 w 106"/>
              <a:gd name="T15" fmla="*/ 60 h 88"/>
              <a:gd name="T16" fmla="*/ 87 w 106"/>
              <a:gd name="T17" fmla="*/ 57 h 88"/>
              <a:gd name="T18" fmla="*/ 97 w 106"/>
              <a:gd name="T19" fmla="*/ 50 h 88"/>
              <a:gd name="T20" fmla="*/ 100 w 106"/>
              <a:gd name="T21" fmla="*/ 47 h 88"/>
              <a:gd name="T22" fmla="*/ 103 w 106"/>
              <a:gd name="T23" fmla="*/ 38 h 88"/>
              <a:gd name="T24" fmla="*/ 103 w 106"/>
              <a:gd name="T25" fmla="*/ 28 h 88"/>
              <a:gd name="T26" fmla="*/ 100 w 106"/>
              <a:gd name="T27" fmla="*/ 13 h 88"/>
              <a:gd name="T28" fmla="*/ 94 w 106"/>
              <a:gd name="T29" fmla="*/ 7 h 88"/>
              <a:gd name="T30" fmla="*/ 87 w 106"/>
              <a:gd name="T31" fmla="*/ 3 h 88"/>
              <a:gd name="T32" fmla="*/ 84 w 106"/>
              <a:gd name="T33" fmla="*/ 0 h 88"/>
              <a:gd name="T34" fmla="*/ 72 w 106"/>
              <a:gd name="T35" fmla="*/ 3 h 88"/>
              <a:gd name="T36" fmla="*/ 78 w 106"/>
              <a:gd name="T37" fmla="*/ 13 h 88"/>
              <a:gd name="T38" fmla="*/ 78 w 106"/>
              <a:gd name="T39" fmla="*/ 19 h 88"/>
              <a:gd name="T40" fmla="*/ 69 w 106"/>
              <a:gd name="T41" fmla="*/ 10 h 88"/>
              <a:gd name="T42" fmla="*/ 59 w 106"/>
              <a:gd name="T43" fmla="*/ 7 h 88"/>
              <a:gd name="T44" fmla="*/ 53 w 106"/>
              <a:gd name="T45" fmla="*/ 7 h 88"/>
              <a:gd name="T46" fmla="*/ 44 w 106"/>
              <a:gd name="T47" fmla="*/ 3 h 88"/>
              <a:gd name="T48" fmla="*/ 37 w 106"/>
              <a:gd name="T49" fmla="*/ 3 h 88"/>
              <a:gd name="T50" fmla="*/ 28 w 106"/>
              <a:gd name="T51" fmla="*/ 3 h 88"/>
              <a:gd name="T52" fmla="*/ 15 w 106"/>
              <a:gd name="T53" fmla="*/ 7 h 88"/>
              <a:gd name="T54" fmla="*/ 6 w 106"/>
              <a:gd name="T55" fmla="*/ 13 h 88"/>
              <a:gd name="T56" fmla="*/ 3 w 106"/>
              <a:gd name="T57" fmla="*/ 22 h 88"/>
              <a:gd name="T58" fmla="*/ 3 w 106"/>
              <a:gd name="T59" fmla="*/ 38 h 88"/>
              <a:gd name="T60" fmla="*/ 9 w 106"/>
              <a:gd name="T61" fmla="*/ 44 h 88"/>
              <a:gd name="T62" fmla="*/ 6 w 106"/>
              <a:gd name="T63" fmla="*/ 53 h 88"/>
              <a:gd name="T64" fmla="*/ 9 w 106"/>
              <a:gd name="T65" fmla="*/ 57 h 88"/>
              <a:gd name="T66" fmla="*/ 12 w 106"/>
              <a:gd name="T67" fmla="*/ 63 h 88"/>
              <a:gd name="T68" fmla="*/ 15 w 106"/>
              <a:gd name="T69" fmla="*/ 69 h 88"/>
              <a:gd name="T70" fmla="*/ 19 w 106"/>
              <a:gd name="T71" fmla="*/ 72 h 88"/>
              <a:gd name="T72" fmla="*/ 19 w 106"/>
              <a:gd name="T73" fmla="*/ 78 h 88"/>
              <a:gd name="T74" fmla="*/ 22 w 106"/>
              <a:gd name="T75" fmla="*/ 82 h 88"/>
              <a:gd name="T76" fmla="*/ 25 w 106"/>
              <a:gd name="T77" fmla="*/ 78 h 88"/>
              <a:gd name="T78" fmla="*/ 31 w 106"/>
              <a:gd name="T79" fmla="*/ 75 h 88"/>
              <a:gd name="T80" fmla="*/ 31 w 106"/>
              <a:gd name="T81" fmla="*/ 78 h 88"/>
              <a:gd name="T82" fmla="*/ 28 w 106"/>
              <a:gd name="T83" fmla="*/ 85 h 88"/>
              <a:gd name="T84" fmla="*/ 31 w 106"/>
              <a:gd name="T85" fmla="*/ 88 h 88"/>
              <a:gd name="T86" fmla="*/ 34 w 106"/>
              <a:gd name="T87" fmla="*/ 85 h 88"/>
              <a:gd name="T88" fmla="*/ 37 w 106"/>
              <a:gd name="T89" fmla="*/ 85 h 88"/>
              <a:gd name="T90" fmla="*/ 44 w 106"/>
              <a:gd name="T91" fmla="*/ 8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88">
                <a:moveTo>
                  <a:pt x="47" y="88"/>
                </a:moveTo>
                <a:lnTo>
                  <a:pt x="50" y="85"/>
                </a:lnTo>
                <a:lnTo>
                  <a:pt x="53" y="85"/>
                </a:lnTo>
                <a:lnTo>
                  <a:pt x="56" y="78"/>
                </a:lnTo>
                <a:lnTo>
                  <a:pt x="59" y="78"/>
                </a:lnTo>
                <a:lnTo>
                  <a:pt x="62" y="78"/>
                </a:lnTo>
                <a:lnTo>
                  <a:pt x="72" y="78"/>
                </a:lnTo>
                <a:lnTo>
                  <a:pt x="75" y="78"/>
                </a:lnTo>
                <a:lnTo>
                  <a:pt x="78" y="82"/>
                </a:lnTo>
                <a:lnTo>
                  <a:pt x="84" y="82"/>
                </a:lnTo>
                <a:lnTo>
                  <a:pt x="81" y="78"/>
                </a:lnTo>
                <a:lnTo>
                  <a:pt x="81" y="75"/>
                </a:lnTo>
                <a:lnTo>
                  <a:pt x="78" y="72"/>
                </a:lnTo>
                <a:lnTo>
                  <a:pt x="75" y="69"/>
                </a:lnTo>
                <a:lnTo>
                  <a:pt x="72" y="63"/>
                </a:lnTo>
                <a:lnTo>
                  <a:pt x="78" y="60"/>
                </a:lnTo>
                <a:lnTo>
                  <a:pt x="84" y="60"/>
                </a:lnTo>
                <a:lnTo>
                  <a:pt x="87" y="57"/>
                </a:lnTo>
                <a:lnTo>
                  <a:pt x="90" y="53"/>
                </a:lnTo>
                <a:lnTo>
                  <a:pt x="97" y="50"/>
                </a:lnTo>
                <a:lnTo>
                  <a:pt x="97" y="47"/>
                </a:lnTo>
                <a:lnTo>
                  <a:pt x="100" y="47"/>
                </a:lnTo>
                <a:lnTo>
                  <a:pt x="103" y="41"/>
                </a:lnTo>
                <a:lnTo>
                  <a:pt x="103" y="38"/>
                </a:lnTo>
                <a:lnTo>
                  <a:pt x="106" y="32"/>
                </a:lnTo>
                <a:lnTo>
                  <a:pt x="103" y="28"/>
                </a:lnTo>
                <a:lnTo>
                  <a:pt x="103" y="22"/>
                </a:lnTo>
                <a:lnTo>
                  <a:pt x="100" y="13"/>
                </a:lnTo>
                <a:lnTo>
                  <a:pt x="97" y="13"/>
                </a:lnTo>
                <a:lnTo>
                  <a:pt x="94" y="7"/>
                </a:lnTo>
                <a:lnTo>
                  <a:pt x="90" y="7"/>
                </a:lnTo>
                <a:lnTo>
                  <a:pt x="87" y="3"/>
                </a:lnTo>
                <a:lnTo>
                  <a:pt x="84" y="3"/>
                </a:lnTo>
                <a:lnTo>
                  <a:pt x="84" y="0"/>
                </a:lnTo>
                <a:lnTo>
                  <a:pt x="78" y="0"/>
                </a:lnTo>
                <a:lnTo>
                  <a:pt x="72" y="3"/>
                </a:lnTo>
                <a:lnTo>
                  <a:pt x="78" y="10"/>
                </a:lnTo>
                <a:lnTo>
                  <a:pt x="78" y="13"/>
                </a:lnTo>
                <a:lnTo>
                  <a:pt x="78" y="16"/>
                </a:lnTo>
                <a:lnTo>
                  <a:pt x="78" y="19"/>
                </a:lnTo>
                <a:lnTo>
                  <a:pt x="72" y="16"/>
                </a:lnTo>
                <a:lnTo>
                  <a:pt x="69" y="10"/>
                </a:lnTo>
                <a:lnTo>
                  <a:pt x="62" y="10"/>
                </a:lnTo>
                <a:lnTo>
                  <a:pt x="59" y="7"/>
                </a:lnTo>
                <a:lnTo>
                  <a:pt x="56" y="3"/>
                </a:lnTo>
                <a:lnTo>
                  <a:pt x="53" y="7"/>
                </a:lnTo>
                <a:lnTo>
                  <a:pt x="50" y="3"/>
                </a:lnTo>
                <a:lnTo>
                  <a:pt x="44" y="3"/>
                </a:lnTo>
                <a:lnTo>
                  <a:pt x="40" y="3"/>
                </a:lnTo>
                <a:lnTo>
                  <a:pt x="37" y="3"/>
                </a:lnTo>
                <a:lnTo>
                  <a:pt x="31" y="3"/>
                </a:lnTo>
                <a:lnTo>
                  <a:pt x="28" y="3"/>
                </a:lnTo>
                <a:lnTo>
                  <a:pt x="25" y="3"/>
                </a:lnTo>
                <a:lnTo>
                  <a:pt x="15" y="7"/>
                </a:lnTo>
                <a:lnTo>
                  <a:pt x="9" y="7"/>
                </a:lnTo>
                <a:lnTo>
                  <a:pt x="6" y="13"/>
                </a:lnTo>
                <a:lnTo>
                  <a:pt x="6" y="16"/>
                </a:lnTo>
                <a:lnTo>
                  <a:pt x="3" y="22"/>
                </a:lnTo>
                <a:lnTo>
                  <a:pt x="0" y="28"/>
                </a:lnTo>
                <a:lnTo>
                  <a:pt x="3" y="38"/>
                </a:lnTo>
                <a:lnTo>
                  <a:pt x="6" y="38"/>
                </a:lnTo>
                <a:lnTo>
                  <a:pt x="9" y="44"/>
                </a:lnTo>
                <a:lnTo>
                  <a:pt x="9" y="50"/>
                </a:lnTo>
                <a:lnTo>
                  <a:pt x="6" y="53"/>
                </a:lnTo>
                <a:lnTo>
                  <a:pt x="6" y="53"/>
                </a:lnTo>
                <a:lnTo>
                  <a:pt x="9" y="57"/>
                </a:lnTo>
                <a:lnTo>
                  <a:pt x="9" y="60"/>
                </a:lnTo>
                <a:lnTo>
                  <a:pt x="12" y="63"/>
                </a:lnTo>
                <a:lnTo>
                  <a:pt x="12" y="66"/>
                </a:lnTo>
                <a:lnTo>
                  <a:pt x="15" y="69"/>
                </a:lnTo>
                <a:lnTo>
                  <a:pt x="19" y="69"/>
                </a:lnTo>
                <a:lnTo>
                  <a:pt x="19" y="72"/>
                </a:lnTo>
                <a:lnTo>
                  <a:pt x="19" y="75"/>
                </a:lnTo>
                <a:lnTo>
                  <a:pt x="19" y="78"/>
                </a:lnTo>
                <a:lnTo>
                  <a:pt x="22" y="82"/>
                </a:lnTo>
                <a:lnTo>
                  <a:pt x="22" y="82"/>
                </a:lnTo>
                <a:lnTo>
                  <a:pt x="25" y="82"/>
                </a:lnTo>
                <a:lnTo>
                  <a:pt x="25" y="78"/>
                </a:lnTo>
                <a:lnTo>
                  <a:pt x="28" y="75"/>
                </a:lnTo>
                <a:lnTo>
                  <a:pt x="31" y="75"/>
                </a:lnTo>
                <a:lnTo>
                  <a:pt x="31" y="75"/>
                </a:lnTo>
                <a:lnTo>
                  <a:pt x="31" y="78"/>
                </a:lnTo>
                <a:lnTo>
                  <a:pt x="31" y="82"/>
                </a:lnTo>
                <a:lnTo>
                  <a:pt x="28" y="85"/>
                </a:lnTo>
                <a:lnTo>
                  <a:pt x="31" y="88"/>
                </a:lnTo>
                <a:lnTo>
                  <a:pt x="31" y="88"/>
                </a:lnTo>
                <a:lnTo>
                  <a:pt x="31" y="88"/>
                </a:lnTo>
                <a:lnTo>
                  <a:pt x="34" y="85"/>
                </a:lnTo>
                <a:lnTo>
                  <a:pt x="34" y="85"/>
                </a:lnTo>
                <a:lnTo>
                  <a:pt x="37" y="85"/>
                </a:lnTo>
                <a:lnTo>
                  <a:pt x="40" y="88"/>
                </a:lnTo>
                <a:lnTo>
                  <a:pt x="44" y="85"/>
                </a:lnTo>
                <a:lnTo>
                  <a:pt x="47" y="88"/>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3" name="Freeform 31">
            <a:extLst>
              <a:ext uri="{FF2B5EF4-FFF2-40B4-BE49-F238E27FC236}">
                <a16:creationId xmlns:a16="http://schemas.microsoft.com/office/drawing/2014/main" id="{B0DA7401-571D-4CFB-428F-412B0AD5D588}"/>
              </a:ext>
            </a:extLst>
          </p:cNvPr>
          <p:cNvSpPr>
            <a:spLocks/>
          </p:cNvSpPr>
          <p:nvPr userDrawn="1"/>
        </p:nvSpPr>
        <p:spPr bwMode="auto">
          <a:xfrm>
            <a:off x="19359887" y="7905032"/>
            <a:ext cx="517492" cy="587376"/>
          </a:xfrm>
          <a:custGeom>
            <a:avLst/>
            <a:gdLst>
              <a:gd name="T0" fmla="*/ 25 w 163"/>
              <a:gd name="T1" fmla="*/ 25 h 185"/>
              <a:gd name="T2" fmla="*/ 32 w 163"/>
              <a:gd name="T3" fmla="*/ 19 h 185"/>
              <a:gd name="T4" fmla="*/ 29 w 163"/>
              <a:gd name="T5" fmla="*/ 4 h 185"/>
              <a:gd name="T6" fmla="*/ 41 w 163"/>
              <a:gd name="T7" fmla="*/ 0 h 185"/>
              <a:gd name="T8" fmla="*/ 50 w 163"/>
              <a:gd name="T9" fmla="*/ 10 h 185"/>
              <a:gd name="T10" fmla="*/ 54 w 163"/>
              <a:gd name="T11" fmla="*/ 19 h 185"/>
              <a:gd name="T12" fmla="*/ 72 w 163"/>
              <a:gd name="T13" fmla="*/ 35 h 185"/>
              <a:gd name="T14" fmla="*/ 88 w 163"/>
              <a:gd name="T15" fmla="*/ 32 h 185"/>
              <a:gd name="T16" fmla="*/ 97 w 163"/>
              <a:gd name="T17" fmla="*/ 41 h 185"/>
              <a:gd name="T18" fmla="*/ 100 w 163"/>
              <a:gd name="T19" fmla="*/ 47 h 185"/>
              <a:gd name="T20" fmla="*/ 94 w 163"/>
              <a:gd name="T21" fmla="*/ 60 h 185"/>
              <a:gd name="T22" fmla="*/ 82 w 163"/>
              <a:gd name="T23" fmla="*/ 63 h 185"/>
              <a:gd name="T24" fmla="*/ 85 w 163"/>
              <a:gd name="T25" fmla="*/ 72 h 185"/>
              <a:gd name="T26" fmla="*/ 91 w 163"/>
              <a:gd name="T27" fmla="*/ 82 h 185"/>
              <a:gd name="T28" fmla="*/ 107 w 163"/>
              <a:gd name="T29" fmla="*/ 85 h 185"/>
              <a:gd name="T30" fmla="*/ 122 w 163"/>
              <a:gd name="T31" fmla="*/ 101 h 185"/>
              <a:gd name="T32" fmla="*/ 129 w 163"/>
              <a:gd name="T33" fmla="*/ 113 h 185"/>
              <a:gd name="T34" fmla="*/ 138 w 163"/>
              <a:gd name="T35" fmla="*/ 119 h 185"/>
              <a:gd name="T36" fmla="*/ 144 w 163"/>
              <a:gd name="T37" fmla="*/ 126 h 185"/>
              <a:gd name="T38" fmla="*/ 147 w 163"/>
              <a:gd name="T39" fmla="*/ 132 h 185"/>
              <a:gd name="T40" fmla="*/ 157 w 163"/>
              <a:gd name="T41" fmla="*/ 135 h 185"/>
              <a:gd name="T42" fmla="*/ 157 w 163"/>
              <a:gd name="T43" fmla="*/ 138 h 185"/>
              <a:gd name="T44" fmla="*/ 163 w 163"/>
              <a:gd name="T45" fmla="*/ 147 h 185"/>
              <a:gd name="T46" fmla="*/ 157 w 163"/>
              <a:gd name="T47" fmla="*/ 160 h 185"/>
              <a:gd name="T48" fmla="*/ 157 w 163"/>
              <a:gd name="T49" fmla="*/ 173 h 185"/>
              <a:gd name="T50" fmla="*/ 144 w 163"/>
              <a:gd name="T51" fmla="*/ 169 h 185"/>
              <a:gd name="T52" fmla="*/ 132 w 163"/>
              <a:gd name="T53" fmla="*/ 169 h 185"/>
              <a:gd name="T54" fmla="*/ 138 w 163"/>
              <a:gd name="T55" fmla="*/ 182 h 185"/>
              <a:gd name="T56" fmla="*/ 129 w 163"/>
              <a:gd name="T57" fmla="*/ 176 h 185"/>
              <a:gd name="T58" fmla="*/ 116 w 163"/>
              <a:gd name="T59" fmla="*/ 169 h 185"/>
              <a:gd name="T60" fmla="*/ 122 w 163"/>
              <a:gd name="T61" fmla="*/ 160 h 185"/>
              <a:gd name="T62" fmla="*/ 122 w 163"/>
              <a:gd name="T63" fmla="*/ 151 h 185"/>
              <a:gd name="T64" fmla="*/ 116 w 163"/>
              <a:gd name="T65" fmla="*/ 141 h 185"/>
              <a:gd name="T66" fmla="*/ 110 w 163"/>
              <a:gd name="T67" fmla="*/ 135 h 185"/>
              <a:gd name="T68" fmla="*/ 104 w 163"/>
              <a:gd name="T69" fmla="*/ 126 h 185"/>
              <a:gd name="T70" fmla="*/ 104 w 163"/>
              <a:gd name="T71" fmla="*/ 113 h 185"/>
              <a:gd name="T72" fmla="*/ 97 w 163"/>
              <a:gd name="T73" fmla="*/ 104 h 185"/>
              <a:gd name="T74" fmla="*/ 79 w 163"/>
              <a:gd name="T75" fmla="*/ 88 h 185"/>
              <a:gd name="T76" fmla="*/ 60 w 163"/>
              <a:gd name="T77" fmla="*/ 101 h 185"/>
              <a:gd name="T78" fmla="*/ 44 w 163"/>
              <a:gd name="T79" fmla="*/ 91 h 185"/>
              <a:gd name="T80" fmla="*/ 32 w 163"/>
              <a:gd name="T81" fmla="*/ 101 h 185"/>
              <a:gd name="T82" fmla="*/ 29 w 163"/>
              <a:gd name="T83" fmla="*/ 85 h 185"/>
              <a:gd name="T84" fmla="*/ 29 w 163"/>
              <a:gd name="T85" fmla="*/ 76 h 185"/>
              <a:gd name="T86" fmla="*/ 29 w 163"/>
              <a:gd name="T87" fmla="*/ 63 h 185"/>
              <a:gd name="T88" fmla="*/ 13 w 163"/>
              <a:gd name="T89" fmla="*/ 63 h 185"/>
              <a:gd name="T90" fmla="*/ 13 w 163"/>
              <a:gd name="T91" fmla="*/ 51 h 185"/>
              <a:gd name="T92" fmla="*/ 0 w 163"/>
              <a:gd name="T93" fmla="*/ 41 h 185"/>
              <a:gd name="T94" fmla="*/ 10 w 163"/>
              <a:gd name="T95" fmla="*/ 35 h 185"/>
              <a:gd name="T96" fmla="*/ 10 w 163"/>
              <a:gd name="T97" fmla="*/ 2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3" h="185">
                <a:moveTo>
                  <a:pt x="19" y="19"/>
                </a:moveTo>
                <a:lnTo>
                  <a:pt x="22" y="22"/>
                </a:lnTo>
                <a:lnTo>
                  <a:pt x="25" y="25"/>
                </a:lnTo>
                <a:lnTo>
                  <a:pt x="29" y="25"/>
                </a:lnTo>
                <a:lnTo>
                  <a:pt x="32" y="25"/>
                </a:lnTo>
                <a:lnTo>
                  <a:pt x="32" y="19"/>
                </a:lnTo>
                <a:lnTo>
                  <a:pt x="32" y="16"/>
                </a:lnTo>
                <a:lnTo>
                  <a:pt x="29" y="10"/>
                </a:lnTo>
                <a:lnTo>
                  <a:pt x="29" y="4"/>
                </a:lnTo>
                <a:lnTo>
                  <a:pt x="32" y="4"/>
                </a:lnTo>
                <a:lnTo>
                  <a:pt x="32" y="0"/>
                </a:lnTo>
                <a:lnTo>
                  <a:pt x="41" y="0"/>
                </a:lnTo>
                <a:lnTo>
                  <a:pt x="41" y="4"/>
                </a:lnTo>
                <a:lnTo>
                  <a:pt x="47" y="4"/>
                </a:lnTo>
                <a:lnTo>
                  <a:pt x="50" y="10"/>
                </a:lnTo>
                <a:lnTo>
                  <a:pt x="54" y="13"/>
                </a:lnTo>
                <a:lnTo>
                  <a:pt x="57" y="16"/>
                </a:lnTo>
                <a:lnTo>
                  <a:pt x="54" y="19"/>
                </a:lnTo>
                <a:lnTo>
                  <a:pt x="60" y="25"/>
                </a:lnTo>
                <a:lnTo>
                  <a:pt x="66" y="35"/>
                </a:lnTo>
                <a:lnTo>
                  <a:pt x="72" y="35"/>
                </a:lnTo>
                <a:lnTo>
                  <a:pt x="79" y="35"/>
                </a:lnTo>
                <a:lnTo>
                  <a:pt x="82" y="32"/>
                </a:lnTo>
                <a:lnTo>
                  <a:pt x="88" y="32"/>
                </a:lnTo>
                <a:lnTo>
                  <a:pt x="91" y="35"/>
                </a:lnTo>
                <a:lnTo>
                  <a:pt x="94" y="38"/>
                </a:lnTo>
                <a:lnTo>
                  <a:pt x="97" y="41"/>
                </a:lnTo>
                <a:lnTo>
                  <a:pt x="97" y="44"/>
                </a:lnTo>
                <a:lnTo>
                  <a:pt x="100" y="44"/>
                </a:lnTo>
                <a:lnTo>
                  <a:pt x="100" y="47"/>
                </a:lnTo>
                <a:lnTo>
                  <a:pt x="100" y="51"/>
                </a:lnTo>
                <a:lnTo>
                  <a:pt x="97" y="57"/>
                </a:lnTo>
                <a:lnTo>
                  <a:pt x="94" y="60"/>
                </a:lnTo>
                <a:lnTo>
                  <a:pt x="91" y="60"/>
                </a:lnTo>
                <a:lnTo>
                  <a:pt x="85" y="63"/>
                </a:lnTo>
                <a:lnTo>
                  <a:pt x="82" y="63"/>
                </a:lnTo>
                <a:lnTo>
                  <a:pt x="82" y="66"/>
                </a:lnTo>
                <a:lnTo>
                  <a:pt x="88" y="69"/>
                </a:lnTo>
                <a:lnTo>
                  <a:pt x="85" y="72"/>
                </a:lnTo>
                <a:lnTo>
                  <a:pt x="85" y="76"/>
                </a:lnTo>
                <a:lnTo>
                  <a:pt x="88" y="76"/>
                </a:lnTo>
                <a:lnTo>
                  <a:pt x="91" y="82"/>
                </a:lnTo>
                <a:lnTo>
                  <a:pt x="97" y="82"/>
                </a:lnTo>
                <a:lnTo>
                  <a:pt x="104" y="85"/>
                </a:lnTo>
                <a:lnTo>
                  <a:pt x="107" y="85"/>
                </a:lnTo>
                <a:lnTo>
                  <a:pt x="113" y="91"/>
                </a:lnTo>
                <a:lnTo>
                  <a:pt x="116" y="94"/>
                </a:lnTo>
                <a:lnTo>
                  <a:pt x="122" y="101"/>
                </a:lnTo>
                <a:lnTo>
                  <a:pt x="122" y="104"/>
                </a:lnTo>
                <a:lnTo>
                  <a:pt x="129" y="110"/>
                </a:lnTo>
                <a:lnTo>
                  <a:pt x="129" y="113"/>
                </a:lnTo>
                <a:lnTo>
                  <a:pt x="132" y="116"/>
                </a:lnTo>
                <a:lnTo>
                  <a:pt x="135" y="116"/>
                </a:lnTo>
                <a:lnTo>
                  <a:pt x="138" y="119"/>
                </a:lnTo>
                <a:lnTo>
                  <a:pt x="138" y="122"/>
                </a:lnTo>
                <a:lnTo>
                  <a:pt x="141" y="126"/>
                </a:lnTo>
                <a:lnTo>
                  <a:pt x="144" y="126"/>
                </a:lnTo>
                <a:lnTo>
                  <a:pt x="147" y="126"/>
                </a:lnTo>
                <a:lnTo>
                  <a:pt x="144" y="129"/>
                </a:lnTo>
                <a:lnTo>
                  <a:pt x="147" y="132"/>
                </a:lnTo>
                <a:lnTo>
                  <a:pt x="150" y="132"/>
                </a:lnTo>
                <a:lnTo>
                  <a:pt x="154" y="135"/>
                </a:lnTo>
                <a:lnTo>
                  <a:pt x="157" y="135"/>
                </a:lnTo>
                <a:lnTo>
                  <a:pt x="160" y="135"/>
                </a:lnTo>
                <a:lnTo>
                  <a:pt x="160" y="135"/>
                </a:lnTo>
                <a:lnTo>
                  <a:pt x="157" y="138"/>
                </a:lnTo>
                <a:lnTo>
                  <a:pt x="157" y="144"/>
                </a:lnTo>
                <a:lnTo>
                  <a:pt x="160" y="147"/>
                </a:lnTo>
                <a:lnTo>
                  <a:pt x="163" y="147"/>
                </a:lnTo>
                <a:lnTo>
                  <a:pt x="163" y="151"/>
                </a:lnTo>
                <a:lnTo>
                  <a:pt x="157" y="157"/>
                </a:lnTo>
                <a:lnTo>
                  <a:pt x="157" y="160"/>
                </a:lnTo>
                <a:lnTo>
                  <a:pt x="160" y="163"/>
                </a:lnTo>
                <a:lnTo>
                  <a:pt x="160" y="169"/>
                </a:lnTo>
                <a:lnTo>
                  <a:pt x="157" y="173"/>
                </a:lnTo>
                <a:lnTo>
                  <a:pt x="150" y="173"/>
                </a:lnTo>
                <a:lnTo>
                  <a:pt x="147" y="169"/>
                </a:lnTo>
                <a:lnTo>
                  <a:pt x="144" y="169"/>
                </a:lnTo>
                <a:lnTo>
                  <a:pt x="144" y="166"/>
                </a:lnTo>
                <a:lnTo>
                  <a:pt x="138" y="166"/>
                </a:lnTo>
                <a:lnTo>
                  <a:pt x="132" y="169"/>
                </a:lnTo>
                <a:lnTo>
                  <a:pt x="138" y="176"/>
                </a:lnTo>
                <a:lnTo>
                  <a:pt x="138" y="179"/>
                </a:lnTo>
                <a:lnTo>
                  <a:pt x="138" y="182"/>
                </a:lnTo>
                <a:lnTo>
                  <a:pt x="138" y="185"/>
                </a:lnTo>
                <a:lnTo>
                  <a:pt x="132" y="182"/>
                </a:lnTo>
                <a:lnTo>
                  <a:pt x="129" y="176"/>
                </a:lnTo>
                <a:lnTo>
                  <a:pt x="122" y="176"/>
                </a:lnTo>
                <a:lnTo>
                  <a:pt x="119" y="173"/>
                </a:lnTo>
                <a:lnTo>
                  <a:pt x="116" y="169"/>
                </a:lnTo>
                <a:lnTo>
                  <a:pt x="119" y="169"/>
                </a:lnTo>
                <a:lnTo>
                  <a:pt x="122" y="166"/>
                </a:lnTo>
                <a:lnTo>
                  <a:pt x="122" y="160"/>
                </a:lnTo>
                <a:lnTo>
                  <a:pt x="119" y="157"/>
                </a:lnTo>
                <a:lnTo>
                  <a:pt x="122" y="154"/>
                </a:lnTo>
                <a:lnTo>
                  <a:pt x="122" y="151"/>
                </a:lnTo>
                <a:lnTo>
                  <a:pt x="122" y="144"/>
                </a:lnTo>
                <a:lnTo>
                  <a:pt x="122" y="144"/>
                </a:lnTo>
                <a:lnTo>
                  <a:pt x="116" y="141"/>
                </a:lnTo>
                <a:lnTo>
                  <a:pt x="116" y="138"/>
                </a:lnTo>
                <a:lnTo>
                  <a:pt x="113" y="135"/>
                </a:lnTo>
                <a:lnTo>
                  <a:pt x="110" y="135"/>
                </a:lnTo>
                <a:lnTo>
                  <a:pt x="107" y="132"/>
                </a:lnTo>
                <a:lnTo>
                  <a:pt x="104" y="129"/>
                </a:lnTo>
                <a:lnTo>
                  <a:pt x="104" y="126"/>
                </a:lnTo>
                <a:lnTo>
                  <a:pt x="104" y="119"/>
                </a:lnTo>
                <a:lnTo>
                  <a:pt x="104" y="116"/>
                </a:lnTo>
                <a:lnTo>
                  <a:pt x="104" y="113"/>
                </a:lnTo>
                <a:lnTo>
                  <a:pt x="104" y="110"/>
                </a:lnTo>
                <a:lnTo>
                  <a:pt x="104" y="107"/>
                </a:lnTo>
                <a:lnTo>
                  <a:pt x="97" y="104"/>
                </a:lnTo>
                <a:lnTo>
                  <a:pt x="88" y="97"/>
                </a:lnTo>
                <a:lnTo>
                  <a:pt x="85" y="91"/>
                </a:lnTo>
                <a:lnTo>
                  <a:pt x="79" y="88"/>
                </a:lnTo>
                <a:lnTo>
                  <a:pt x="69" y="88"/>
                </a:lnTo>
                <a:lnTo>
                  <a:pt x="66" y="97"/>
                </a:lnTo>
                <a:lnTo>
                  <a:pt x="60" y="101"/>
                </a:lnTo>
                <a:lnTo>
                  <a:pt x="54" y="94"/>
                </a:lnTo>
                <a:lnTo>
                  <a:pt x="50" y="94"/>
                </a:lnTo>
                <a:lnTo>
                  <a:pt x="44" y="91"/>
                </a:lnTo>
                <a:lnTo>
                  <a:pt x="38" y="94"/>
                </a:lnTo>
                <a:lnTo>
                  <a:pt x="38" y="97"/>
                </a:lnTo>
                <a:lnTo>
                  <a:pt x="32" y="101"/>
                </a:lnTo>
                <a:lnTo>
                  <a:pt x="29" y="104"/>
                </a:lnTo>
                <a:lnTo>
                  <a:pt x="29" y="91"/>
                </a:lnTo>
                <a:lnTo>
                  <a:pt x="29" y="85"/>
                </a:lnTo>
                <a:lnTo>
                  <a:pt x="25" y="82"/>
                </a:lnTo>
                <a:lnTo>
                  <a:pt x="29" y="79"/>
                </a:lnTo>
                <a:lnTo>
                  <a:pt x="29" y="76"/>
                </a:lnTo>
                <a:lnTo>
                  <a:pt x="25" y="69"/>
                </a:lnTo>
                <a:lnTo>
                  <a:pt x="29" y="66"/>
                </a:lnTo>
                <a:lnTo>
                  <a:pt x="29" y="63"/>
                </a:lnTo>
                <a:lnTo>
                  <a:pt x="19" y="63"/>
                </a:lnTo>
                <a:lnTo>
                  <a:pt x="16" y="66"/>
                </a:lnTo>
                <a:lnTo>
                  <a:pt x="13" y="63"/>
                </a:lnTo>
                <a:lnTo>
                  <a:pt x="10" y="60"/>
                </a:lnTo>
                <a:lnTo>
                  <a:pt x="13" y="57"/>
                </a:lnTo>
                <a:lnTo>
                  <a:pt x="13" y="51"/>
                </a:lnTo>
                <a:lnTo>
                  <a:pt x="10" y="47"/>
                </a:lnTo>
                <a:lnTo>
                  <a:pt x="4" y="47"/>
                </a:lnTo>
                <a:lnTo>
                  <a:pt x="0" y="41"/>
                </a:lnTo>
                <a:lnTo>
                  <a:pt x="4" y="38"/>
                </a:lnTo>
                <a:lnTo>
                  <a:pt x="7" y="38"/>
                </a:lnTo>
                <a:lnTo>
                  <a:pt x="10" y="35"/>
                </a:lnTo>
                <a:lnTo>
                  <a:pt x="10" y="32"/>
                </a:lnTo>
                <a:lnTo>
                  <a:pt x="10" y="29"/>
                </a:lnTo>
                <a:lnTo>
                  <a:pt x="10" y="25"/>
                </a:lnTo>
                <a:lnTo>
                  <a:pt x="16" y="22"/>
                </a:lnTo>
                <a:lnTo>
                  <a:pt x="19" y="19"/>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4" name="Freeform 32">
            <a:extLst>
              <a:ext uri="{FF2B5EF4-FFF2-40B4-BE49-F238E27FC236}">
                <a16:creationId xmlns:a16="http://schemas.microsoft.com/office/drawing/2014/main" id="{1A74BC14-32A2-B748-1B3C-54B1484DF7FB}"/>
              </a:ext>
            </a:extLst>
          </p:cNvPr>
          <p:cNvSpPr>
            <a:spLocks noEditPoints="1"/>
          </p:cNvSpPr>
          <p:nvPr userDrawn="1"/>
        </p:nvSpPr>
        <p:spPr bwMode="auto">
          <a:xfrm>
            <a:off x="19210670" y="8035211"/>
            <a:ext cx="536541" cy="984250"/>
          </a:xfrm>
          <a:custGeom>
            <a:avLst/>
            <a:gdLst>
              <a:gd name="T0" fmla="*/ 19 w 54"/>
              <a:gd name="T1" fmla="*/ 5 h 99"/>
              <a:gd name="T2" fmla="*/ 24 w 54"/>
              <a:gd name="T3" fmla="*/ 7 h 99"/>
              <a:gd name="T4" fmla="*/ 23 w 54"/>
              <a:gd name="T5" fmla="*/ 13 h 99"/>
              <a:gd name="T6" fmla="*/ 27 w 54"/>
              <a:gd name="T7" fmla="*/ 18 h 99"/>
              <a:gd name="T8" fmla="*/ 34 w 54"/>
              <a:gd name="T9" fmla="*/ 19 h 99"/>
              <a:gd name="T10" fmla="*/ 43 w 54"/>
              <a:gd name="T11" fmla="*/ 18 h 99"/>
              <a:gd name="T12" fmla="*/ 48 w 54"/>
              <a:gd name="T13" fmla="*/ 24 h 99"/>
              <a:gd name="T14" fmla="*/ 50 w 54"/>
              <a:gd name="T15" fmla="*/ 30 h 99"/>
              <a:gd name="T16" fmla="*/ 54 w 54"/>
              <a:gd name="T17" fmla="*/ 33 h 99"/>
              <a:gd name="T18" fmla="*/ 54 w 54"/>
              <a:gd name="T19" fmla="*/ 40 h 99"/>
              <a:gd name="T20" fmla="*/ 47 w 54"/>
              <a:gd name="T21" fmla="*/ 41 h 99"/>
              <a:gd name="T22" fmla="*/ 39 w 54"/>
              <a:gd name="T23" fmla="*/ 42 h 99"/>
              <a:gd name="T24" fmla="*/ 34 w 54"/>
              <a:gd name="T25" fmla="*/ 49 h 99"/>
              <a:gd name="T26" fmla="*/ 36 w 54"/>
              <a:gd name="T27" fmla="*/ 57 h 99"/>
              <a:gd name="T28" fmla="*/ 34 w 54"/>
              <a:gd name="T29" fmla="*/ 56 h 99"/>
              <a:gd name="T30" fmla="*/ 30 w 54"/>
              <a:gd name="T31" fmla="*/ 53 h 99"/>
              <a:gd name="T32" fmla="*/ 28 w 54"/>
              <a:gd name="T33" fmla="*/ 54 h 99"/>
              <a:gd name="T34" fmla="*/ 25 w 54"/>
              <a:gd name="T35" fmla="*/ 53 h 99"/>
              <a:gd name="T36" fmla="*/ 24 w 54"/>
              <a:gd name="T37" fmla="*/ 48 h 99"/>
              <a:gd name="T38" fmla="*/ 21 w 54"/>
              <a:gd name="T39" fmla="*/ 49 h 99"/>
              <a:gd name="T40" fmla="*/ 19 w 54"/>
              <a:gd name="T41" fmla="*/ 49 h 99"/>
              <a:gd name="T42" fmla="*/ 19 w 54"/>
              <a:gd name="T43" fmla="*/ 54 h 99"/>
              <a:gd name="T44" fmla="*/ 18 w 54"/>
              <a:gd name="T45" fmla="*/ 59 h 99"/>
              <a:gd name="T46" fmla="*/ 15 w 54"/>
              <a:gd name="T47" fmla="*/ 70 h 99"/>
              <a:gd name="T48" fmla="*/ 16 w 54"/>
              <a:gd name="T49" fmla="*/ 73 h 99"/>
              <a:gd name="T50" fmla="*/ 17 w 54"/>
              <a:gd name="T51" fmla="*/ 77 h 99"/>
              <a:gd name="T52" fmla="*/ 20 w 54"/>
              <a:gd name="T53" fmla="*/ 77 h 99"/>
              <a:gd name="T54" fmla="*/ 22 w 54"/>
              <a:gd name="T55" fmla="*/ 82 h 99"/>
              <a:gd name="T56" fmla="*/ 24 w 54"/>
              <a:gd name="T57" fmla="*/ 82 h 99"/>
              <a:gd name="T58" fmla="*/ 24 w 54"/>
              <a:gd name="T59" fmla="*/ 87 h 99"/>
              <a:gd name="T60" fmla="*/ 25 w 54"/>
              <a:gd name="T61" fmla="*/ 88 h 99"/>
              <a:gd name="T62" fmla="*/ 29 w 54"/>
              <a:gd name="T63" fmla="*/ 92 h 99"/>
              <a:gd name="T64" fmla="*/ 33 w 54"/>
              <a:gd name="T65" fmla="*/ 95 h 99"/>
              <a:gd name="T66" fmla="*/ 33 w 54"/>
              <a:gd name="T67" fmla="*/ 99 h 99"/>
              <a:gd name="T68" fmla="*/ 28 w 54"/>
              <a:gd name="T69" fmla="*/ 98 h 99"/>
              <a:gd name="T70" fmla="*/ 27 w 54"/>
              <a:gd name="T71" fmla="*/ 94 h 99"/>
              <a:gd name="T72" fmla="*/ 22 w 54"/>
              <a:gd name="T73" fmla="*/ 94 h 99"/>
              <a:gd name="T74" fmla="*/ 19 w 54"/>
              <a:gd name="T75" fmla="*/ 90 h 99"/>
              <a:gd name="T76" fmla="*/ 15 w 54"/>
              <a:gd name="T77" fmla="*/ 86 h 99"/>
              <a:gd name="T78" fmla="*/ 13 w 54"/>
              <a:gd name="T79" fmla="*/ 82 h 99"/>
              <a:gd name="T80" fmla="*/ 10 w 54"/>
              <a:gd name="T81" fmla="*/ 80 h 99"/>
              <a:gd name="T82" fmla="*/ 11 w 54"/>
              <a:gd name="T83" fmla="*/ 75 h 99"/>
              <a:gd name="T84" fmla="*/ 13 w 54"/>
              <a:gd name="T85" fmla="*/ 71 h 99"/>
              <a:gd name="T86" fmla="*/ 13 w 54"/>
              <a:gd name="T87" fmla="*/ 65 h 99"/>
              <a:gd name="T88" fmla="*/ 16 w 54"/>
              <a:gd name="T89" fmla="*/ 57 h 99"/>
              <a:gd name="T90" fmla="*/ 15 w 54"/>
              <a:gd name="T91" fmla="*/ 50 h 99"/>
              <a:gd name="T92" fmla="*/ 10 w 54"/>
              <a:gd name="T93" fmla="*/ 42 h 99"/>
              <a:gd name="T94" fmla="*/ 9 w 54"/>
              <a:gd name="T95" fmla="*/ 34 h 99"/>
              <a:gd name="T96" fmla="*/ 9 w 54"/>
              <a:gd name="T97" fmla="*/ 28 h 99"/>
              <a:gd name="T98" fmla="*/ 4 w 54"/>
              <a:gd name="T99" fmla="*/ 20 h 99"/>
              <a:gd name="T100" fmla="*/ 0 w 54"/>
              <a:gd name="T101" fmla="*/ 15 h 99"/>
              <a:gd name="T102" fmla="*/ 4 w 54"/>
              <a:gd name="T103" fmla="*/ 10 h 99"/>
              <a:gd name="T104" fmla="*/ 10 w 54"/>
              <a:gd name="T105" fmla="*/ 6 h 99"/>
              <a:gd name="T106" fmla="*/ 13 w 54"/>
              <a:gd name="T107" fmla="*/ 3 h 99"/>
              <a:gd name="T108" fmla="*/ 15 w 54"/>
              <a:gd name="T109" fmla="*/ 0 h 99"/>
              <a:gd name="T110" fmla="*/ 19 w 54"/>
              <a:gd name="T111" fmla="*/ 93 h 99"/>
              <a:gd name="T112" fmla="*/ 15 w 54"/>
              <a:gd name="T113" fmla="*/ 87 h 99"/>
              <a:gd name="T114" fmla="*/ 10 w 54"/>
              <a:gd name="T115" fmla="*/ 86 h 99"/>
              <a:gd name="T116" fmla="*/ 33 w 54"/>
              <a:gd name="T117" fmla="*/ 58 h 99"/>
              <a:gd name="T118" fmla="*/ 20 w 54"/>
              <a:gd name="T119" fmla="*/ 73 h 99"/>
              <a:gd name="T120" fmla="*/ 20 w 54"/>
              <a:gd name="T121" fmla="*/ 7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 h="99">
                <a:moveTo>
                  <a:pt x="15" y="0"/>
                </a:moveTo>
                <a:cubicBezTo>
                  <a:pt x="16" y="2"/>
                  <a:pt x="16" y="2"/>
                  <a:pt x="16" y="2"/>
                </a:cubicBezTo>
                <a:cubicBezTo>
                  <a:pt x="18" y="2"/>
                  <a:pt x="18" y="2"/>
                  <a:pt x="18" y="2"/>
                </a:cubicBezTo>
                <a:cubicBezTo>
                  <a:pt x="19" y="3"/>
                  <a:pt x="19" y="3"/>
                  <a:pt x="19" y="3"/>
                </a:cubicBezTo>
                <a:cubicBezTo>
                  <a:pt x="19" y="5"/>
                  <a:pt x="19" y="5"/>
                  <a:pt x="19" y="5"/>
                </a:cubicBezTo>
                <a:cubicBezTo>
                  <a:pt x="18" y="6"/>
                  <a:pt x="18" y="6"/>
                  <a:pt x="18" y="6"/>
                </a:cubicBezTo>
                <a:cubicBezTo>
                  <a:pt x="19" y="7"/>
                  <a:pt x="19" y="7"/>
                  <a:pt x="19" y="7"/>
                </a:cubicBezTo>
                <a:cubicBezTo>
                  <a:pt x="20" y="8"/>
                  <a:pt x="20" y="8"/>
                  <a:pt x="20" y="8"/>
                </a:cubicBezTo>
                <a:cubicBezTo>
                  <a:pt x="21" y="7"/>
                  <a:pt x="21" y="7"/>
                  <a:pt x="21" y="7"/>
                </a:cubicBezTo>
                <a:cubicBezTo>
                  <a:pt x="24" y="7"/>
                  <a:pt x="24" y="7"/>
                  <a:pt x="24" y="7"/>
                </a:cubicBezTo>
                <a:cubicBezTo>
                  <a:pt x="24" y="8"/>
                  <a:pt x="24" y="8"/>
                  <a:pt x="24" y="8"/>
                </a:cubicBezTo>
                <a:cubicBezTo>
                  <a:pt x="23" y="9"/>
                  <a:pt x="23" y="9"/>
                  <a:pt x="23" y="9"/>
                </a:cubicBezTo>
                <a:cubicBezTo>
                  <a:pt x="24" y="11"/>
                  <a:pt x="24" y="11"/>
                  <a:pt x="24" y="11"/>
                </a:cubicBezTo>
                <a:cubicBezTo>
                  <a:pt x="24" y="12"/>
                  <a:pt x="24" y="12"/>
                  <a:pt x="24" y="12"/>
                </a:cubicBezTo>
                <a:cubicBezTo>
                  <a:pt x="23" y="13"/>
                  <a:pt x="23" y="13"/>
                  <a:pt x="23" y="13"/>
                </a:cubicBezTo>
                <a:cubicBezTo>
                  <a:pt x="24" y="14"/>
                  <a:pt x="24" y="14"/>
                  <a:pt x="24" y="14"/>
                </a:cubicBezTo>
                <a:cubicBezTo>
                  <a:pt x="24" y="16"/>
                  <a:pt x="24" y="16"/>
                  <a:pt x="24" y="16"/>
                </a:cubicBezTo>
                <a:cubicBezTo>
                  <a:pt x="24" y="20"/>
                  <a:pt x="24" y="20"/>
                  <a:pt x="24" y="20"/>
                </a:cubicBezTo>
                <a:cubicBezTo>
                  <a:pt x="25" y="19"/>
                  <a:pt x="25" y="19"/>
                  <a:pt x="25" y="19"/>
                </a:cubicBezTo>
                <a:cubicBezTo>
                  <a:pt x="27" y="18"/>
                  <a:pt x="27" y="18"/>
                  <a:pt x="27" y="18"/>
                </a:cubicBezTo>
                <a:cubicBezTo>
                  <a:pt x="27" y="17"/>
                  <a:pt x="27" y="17"/>
                  <a:pt x="27" y="17"/>
                </a:cubicBezTo>
                <a:cubicBezTo>
                  <a:pt x="29" y="16"/>
                  <a:pt x="29" y="16"/>
                  <a:pt x="29" y="16"/>
                </a:cubicBezTo>
                <a:cubicBezTo>
                  <a:pt x="31" y="17"/>
                  <a:pt x="31" y="17"/>
                  <a:pt x="31" y="17"/>
                </a:cubicBezTo>
                <a:cubicBezTo>
                  <a:pt x="32" y="17"/>
                  <a:pt x="32" y="17"/>
                  <a:pt x="32" y="17"/>
                </a:cubicBezTo>
                <a:cubicBezTo>
                  <a:pt x="34" y="19"/>
                  <a:pt x="34" y="19"/>
                  <a:pt x="34" y="19"/>
                </a:cubicBezTo>
                <a:cubicBezTo>
                  <a:pt x="36" y="18"/>
                  <a:pt x="36" y="18"/>
                  <a:pt x="36" y="18"/>
                </a:cubicBezTo>
                <a:cubicBezTo>
                  <a:pt x="37" y="15"/>
                  <a:pt x="37" y="15"/>
                  <a:pt x="37" y="15"/>
                </a:cubicBezTo>
                <a:cubicBezTo>
                  <a:pt x="40" y="15"/>
                  <a:pt x="40" y="15"/>
                  <a:pt x="40" y="15"/>
                </a:cubicBezTo>
                <a:cubicBezTo>
                  <a:pt x="42" y="16"/>
                  <a:pt x="42" y="16"/>
                  <a:pt x="42" y="16"/>
                </a:cubicBezTo>
                <a:cubicBezTo>
                  <a:pt x="43" y="18"/>
                  <a:pt x="43" y="18"/>
                  <a:pt x="43" y="18"/>
                </a:cubicBezTo>
                <a:cubicBezTo>
                  <a:pt x="46" y="20"/>
                  <a:pt x="46" y="20"/>
                  <a:pt x="46" y="20"/>
                </a:cubicBezTo>
                <a:cubicBezTo>
                  <a:pt x="48" y="21"/>
                  <a:pt x="48" y="21"/>
                  <a:pt x="48" y="21"/>
                </a:cubicBezTo>
                <a:cubicBezTo>
                  <a:pt x="48" y="22"/>
                  <a:pt x="48" y="22"/>
                  <a:pt x="48" y="22"/>
                </a:cubicBezTo>
                <a:cubicBezTo>
                  <a:pt x="48" y="23"/>
                  <a:pt x="48" y="23"/>
                  <a:pt x="48" y="23"/>
                </a:cubicBezTo>
                <a:cubicBezTo>
                  <a:pt x="48" y="24"/>
                  <a:pt x="48" y="24"/>
                  <a:pt x="48" y="24"/>
                </a:cubicBezTo>
                <a:cubicBezTo>
                  <a:pt x="48" y="25"/>
                  <a:pt x="48" y="25"/>
                  <a:pt x="48" y="25"/>
                </a:cubicBezTo>
                <a:cubicBezTo>
                  <a:pt x="48" y="27"/>
                  <a:pt x="48" y="27"/>
                  <a:pt x="48" y="27"/>
                </a:cubicBezTo>
                <a:cubicBezTo>
                  <a:pt x="48" y="28"/>
                  <a:pt x="48" y="28"/>
                  <a:pt x="48" y="28"/>
                </a:cubicBezTo>
                <a:cubicBezTo>
                  <a:pt x="49" y="29"/>
                  <a:pt x="49" y="29"/>
                  <a:pt x="49" y="29"/>
                </a:cubicBezTo>
                <a:cubicBezTo>
                  <a:pt x="50" y="30"/>
                  <a:pt x="50" y="30"/>
                  <a:pt x="50" y="30"/>
                </a:cubicBezTo>
                <a:cubicBezTo>
                  <a:pt x="51" y="30"/>
                  <a:pt x="51" y="30"/>
                  <a:pt x="51" y="30"/>
                </a:cubicBezTo>
                <a:cubicBezTo>
                  <a:pt x="52" y="31"/>
                  <a:pt x="52" y="31"/>
                  <a:pt x="52" y="31"/>
                </a:cubicBezTo>
                <a:cubicBezTo>
                  <a:pt x="52" y="32"/>
                  <a:pt x="52" y="32"/>
                  <a:pt x="52" y="32"/>
                </a:cubicBezTo>
                <a:cubicBezTo>
                  <a:pt x="54" y="33"/>
                  <a:pt x="54" y="33"/>
                  <a:pt x="54" y="33"/>
                </a:cubicBezTo>
                <a:cubicBezTo>
                  <a:pt x="54" y="33"/>
                  <a:pt x="54" y="33"/>
                  <a:pt x="54" y="33"/>
                </a:cubicBezTo>
                <a:cubicBezTo>
                  <a:pt x="54" y="35"/>
                  <a:pt x="54" y="35"/>
                  <a:pt x="54" y="35"/>
                </a:cubicBezTo>
                <a:cubicBezTo>
                  <a:pt x="54" y="36"/>
                  <a:pt x="54" y="36"/>
                  <a:pt x="54" y="36"/>
                </a:cubicBezTo>
                <a:cubicBezTo>
                  <a:pt x="53" y="37"/>
                  <a:pt x="53" y="37"/>
                  <a:pt x="53" y="37"/>
                </a:cubicBezTo>
                <a:cubicBezTo>
                  <a:pt x="54" y="38"/>
                  <a:pt x="54" y="38"/>
                  <a:pt x="54" y="38"/>
                </a:cubicBezTo>
                <a:cubicBezTo>
                  <a:pt x="54" y="40"/>
                  <a:pt x="54" y="40"/>
                  <a:pt x="54" y="40"/>
                </a:cubicBezTo>
                <a:cubicBezTo>
                  <a:pt x="53" y="41"/>
                  <a:pt x="53" y="41"/>
                  <a:pt x="53" y="41"/>
                </a:cubicBezTo>
                <a:cubicBezTo>
                  <a:pt x="51" y="42"/>
                  <a:pt x="51" y="42"/>
                  <a:pt x="51" y="42"/>
                </a:cubicBezTo>
                <a:cubicBezTo>
                  <a:pt x="50" y="41"/>
                  <a:pt x="50" y="41"/>
                  <a:pt x="50" y="41"/>
                </a:cubicBezTo>
                <a:cubicBezTo>
                  <a:pt x="48" y="41"/>
                  <a:pt x="48" y="41"/>
                  <a:pt x="48" y="41"/>
                </a:cubicBezTo>
                <a:cubicBezTo>
                  <a:pt x="47" y="41"/>
                  <a:pt x="47" y="41"/>
                  <a:pt x="47" y="41"/>
                </a:cubicBezTo>
                <a:cubicBezTo>
                  <a:pt x="46" y="41"/>
                  <a:pt x="46" y="41"/>
                  <a:pt x="46" y="41"/>
                </a:cubicBezTo>
                <a:cubicBezTo>
                  <a:pt x="44" y="41"/>
                  <a:pt x="44" y="41"/>
                  <a:pt x="44" y="41"/>
                </a:cubicBezTo>
                <a:cubicBezTo>
                  <a:pt x="43" y="41"/>
                  <a:pt x="43" y="41"/>
                  <a:pt x="43" y="41"/>
                </a:cubicBezTo>
                <a:cubicBezTo>
                  <a:pt x="42" y="41"/>
                  <a:pt x="42" y="41"/>
                  <a:pt x="42" y="41"/>
                </a:cubicBezTo>
                <a:cubicBezTo>
                  <a:pt x="39" y="42"/>
                  <a:pt x="39" y="42"/>
                  <a:pt x="39" y="42"/>
                </a:cubicBezTo>
                <a:cubicBezTo>
                  <a:pt x="37" y="42"/>
                  <a:pt x="37" y="42"/>
                  <a:pt x="37" y="42"/>
                </a:cubicBezTo>
                <a:cubicBezTo>
                  <a:pt x="36" y="44"/>
                  <a:pt x="36" y="44"/>
                  <a:pt x="36" y="44"/>
                </a:cubicBezTo>
                <a:cubicBezTo>
                  <a:pt x="36" y="45"/>
                  <a:pt x="36" y="45"/>
                  <a:pt x="36" y="45"/>
                </a:cubicBezTo>
                <a:cubicBezTo>
                  <a:pt x="35" y="47"/>
                  <a:pt x="35" y="47"/>
                  <a:pt x="35" y="47"/>
                </a:cubicBezTo>
                <a:cubicBezTo>
                  <a:pt x="34" y="49"/>
                  <a:pt x="34" y="49"/>
                  <a:pt x="34" y="49"/>
                </a:cubicBezTo>
                <a:cubicBezTo>
                  <a:pt x="35" y="52"/>
                  <a:pt x="35" y="52"/>
                  <a:pt x="35" y="52"/>
                </a:cubicBezTo>
                <a:cubicBezTo>
                  <a:pt x="36" y="52"/>
                  <a:pt x="36" y="52"/>
                  <a:pt x="36" y="52"/>
                </a:cubicBezTo>
                <a:cubicBezTo>
                  <a:pt x="37" y="54"/>
                  <a:pt x="37" y="54"/>
                  <a:pt x="37" y="54"/>
                </a:cubicBezTo>
                <a:cubicBezTo>
                  <a:pt x="37" y="56"/>
                  <a:pt x="37" y="56"/>
                  <a:pt x="37" y="56"/>
                </a:cubicBezTo>
                <a:cubicBezTo>
                  <a:pt x="36" y="57"/>
                  <a:pt x="36" y="57"/>
                  <a:pt x="36" y="57"/>
                </a:cubicBezTo>
                <a:cubicBezTo>
                  <a:pt x="36" y="57"/>
                  <a:pt x="36" y="57"/>
                  <a:pt x="36" y="57"/>
                </a:cubicBezTo>
                <a:cubicBezTo>
                  <a:pt x="36" y="58"/>
                  <a:pt x="36" y="58"/>
                  <a:pt x="36" y="58"/>
                </a:cubicBezTo>
                <a:cubicBezTo>
                  <a:pt x="36" y="58"/>
                  <a:pt x="36" y="58"/>
                  <a:pt x="36" y="58"/>
                </a:cubicBezTo>
                <a:cubicBezTo>
                  <a:pt x="35" y="57"/>
                  <a:pt x="35" y="57"/>
                  <a:pt x="35" y="57"/>
                </a:cubicBezTo>
                <a:cubicBezTo>
                  <a:pt x="34" y="56"/>
                  <a:pt x="34" y="56"/>
                  <a:pt x="34" y="56"/>
                </a:cubicBezTo>
                <a:cubicBezTo>
                  <a:pt x="34" y="56"/>
                  <a:pt x="34" y="56"/>
                  <a:pt x="34" y="56"/>
                </a:cubicBezTo>
                <a:cubicBezTo>
                  <a:pt x="34" y="56"/>
                  <a:pt x="34" y="56"/>
                  <a:pt x="34" y="56"/>
                </a:cubicBezTo>
                <a:cubicBezTo>
                  <a:pt x="33" y="55"/>
                  <a:pt x="33" y="55"/>
                  <a:pt x="33" y="55"/>
                </a:cubicBezTo>
                <a:cubicBezTo>
                  <a:pt x="31" y="54"/>
                  <a:pt x="31" y="54"/>
                  <a:pt x="31" y="54"/>
                </a:cubicBezTo>
                <a:cubicBezTo>
                  <a:pt x="30" y="53"/>
                  <a:pt x="30" y="53"/>
                  <a:pt x="30" y="53"/>
                </a:cubicBezTo>
                <a:cubicBezTo>
                  <a:pt x="30" y="54"/>
                  <a:pt x="30" y="54"/>
                  <a:pt x="30" y="54"/>
                </a:cubicBezTo>
                <a:cubicBezTo>
                  <a:pt x="30" y="54"/>
                  <a:pt x="30" y="54"/>
                  <a:pt x="30" y="54"/>
                </a:cubicBezTo>
                <a:cubicBezTo>
                  <a:pt x="30" y="55"/>
                  <a:pt x="30" y="55"/>
                  <a:pt x="30" y="55"/>
                </a:cubicBezTo>
                <a:cubicBezTo>
                  <a:pt x="29" y="54"/>
                  <a:pt x="29" y="54"/>
                  <a:pt x="29" y="54"/>
                </a:cubicBezTo>
                <a:cubicBezTo>
                  <a:pt x="28" y="54"/>
                  <a:pt x="28" y="54"/>
                  <a:pt x="28" y="54"/>
                </a:cubicBezTo>
                <a:cubicBezTo>
                  <a:pt x="26" y="54"/>
                  <a:pt x="26" y="54"/>
                  <a:pt x="26" y="54"/>
                </a:cubicBezTo>
                <a:cubicBezTo>
                  <a:pt x="26" y="54"/>
                  <a:pt x="26" y="54"/>
                  <a:pt x="26" y="54"/>
                </a:cubicBezTo>
                <a:cubicBezTo>
                  <a:pt x="25" y="54"/>
                  <a:pt x="25" y="54"/>
                  <a:pt x="25" y="54"/>
                </a:cubicBezTo>
                <a:cubicBezTo>
                  <a:pt x="25" y="53"/>
                  <a:pt x="25" y="53"/>
                  <a:pt x="25" y="53"/>
                </a:cubicBezTo>
                <a:cubicBezTo>
                  <a:pt x="25" y="53"/>
                  <a:pt x="25" y="53"/>
                  <a:pt x="25" y="53"/>
                </a:cubicBezTo>
                <a:cubicBezTo>
                  <a:pt x="25" y="52"/>
                  <a:pt x="25" y="52"/>
                  <a:pt x="25" y="52"/>
                </a:cubicBezTo>
                <a:cubicBezTo>
                  <a:pt x="25" y="50"/>
                  <a:pt x="25" y="50"/>
                  <a:pt x="25" y="50"/>
                </a:cubicBezTo>
                <a:cubicBezTo>
                  <a:pt x="25" y="49"/>
                  <a:pt x="25" y="49"/>
                  <a:pt x="25" y="49"/>
                </a:cubicBezTo>
                <a:cubicBezTo>
                  <a:pt x="25" y="49"/>
                  <a:pt x="25" y="49"/>
                  <a:pt x="25" y="49"/>
                </a:cubicBezTo>
                <a:cubicBezTo>
                  <a:pt x="24" y="48"/>
                  <a:pt x="24" y="48"/>
                  <a:pt x="24" y="48"/>
                </a:cubicBezTo>
                <a:cubicBezTo>
                  <a:pt x="24" y="48"/>
                  <a:pt x="24" y="48"/>
                  <a:pt x="24" y="48"/>
                </a:cubicBezTo>
                <a:cubicBezTo>
                  <a:pt x="23" y="48"/>
                  <a:pt x="23" y="48"/>
                  <a:pt x="23" y="48"/>
                </a:cubicBezTo>
                <a:cubicBezTo>
                  <a:pt x="23" y="48"/>
                  <a:pt x="23" y="48"/>
                  <a:pt x="23" y="48"/>
                </a:cubicBezTo>
                <a:cubicBezTo>
                  <a:pt x="22" y="49"/>
                  <a:pt x="22" y="49"/>
                  <a:pt x="22" y="49"/>
                </a:cubicBezTo>
                <a:cubicBezTo>
                  <a:pt x="21" y="49"/>
                  <a:pt x="21" y="49"/>
                  <a:pt x="21" y="49"/>
                </a:cubicBezTo>
                <a:cubicBezTo>
                  <a:pt x="21" y="48"/>
                  <a:pt x="21" y="48"/>
                  <a:pt x="21" y="48"/>
                </a:cubicBezTo>
                <a:cubicBezTo>
                  <a:pt x="20" y="49"/>
                  <a:pt x="20" y="49"/>
                  <a:pt x="20" y="49"/>
                </a:cubicBezTo>
                <a:cubicBezTo>
                  <a:pt x="19" y="49"/>
                  <a:pt x="19" y="49"/>
                  <a:pt x="19" y="49"/>
                </a:cubicBezTo>
                <a:cubicBezTo>
                  <a:pt x="19" y="49"/>
                  <a:pt x="19" y="49"/>
                  <a:pt x="19" y="49"/>
                </a:cubicBezTo>
                <a:cubicBezTo>
                  <a:pt x="19" y="49"/>
                  <a:pt x="19" y="49"/>
                  <a:pt x="19" y="49"/>
                </a:cubicBezTo>
                <a:cubicBezTo>
                  <a:pt x="19" y="50"/>
                  <a:pt x="19" y="50"/>
                  <a:pt x="19" y="50"/>
                </a:cubicBezTo>
                <a:cubicBezTo>
                  <a:pt x="20" y="50"/>
                  <a:pt x="20" y="50"/>
                  <a:pt x="20" y="50"/>
                </a:cubicBezTo>
                <a:cubicBezTo>
                  <a:pt x="20" y="51"/>
                  <a:pt x="20" y="51"/>
                  <a:pt x="20" y="51"/>
                </a:cubicBezTo>
                <a:cubicBezTo>
                  <a:pt x="19" y="52"/>
                  <a:pt x="19" y="52"/>
                  <a:pt x="19" y="52"/>
                </a:cubicBezTo>
                <a:cubicBezTo>
                  <a:pt x="19" y="54"/>
                  <a:pt x="19" y="54"/>
                  <a:pt x="19" y="54"/>
                </a:cubicBezTo>
                <a:cubicBezTo>
                  <a:pt x="19" y="55"/>
                  <a:pt x="19" y="55"/>
                  <a:pt x="19" y="55"/>
                </a:cubicBezTo>
                <a:cubicBezTo>
                  <a:pt x="20" y="55"/>
                  <a:pt x="20" y="55"/>
                  <a:pt x="20" y="55"/>
                </a:cubicBezTo>
                <a:cubicBezTo>
                  <a:pt x="19" y="57"/>
                  <a:pt x="19" y="57"/>
                  <a:pt x="19" y="57"/>
                </a:cubicBezTo>
                <a:cubicBezTo>
                  <a:pt x="19" y="58"/>
                  <a:pt x="19" y="58"/>
                  <a:pt x="19" y="58"/>
                </a:cubicBezTo>
                <a:cubicBezTo>
                  <a:pt x="18" y="59"/>
                  <a:pt x="18" y="59"/>
                  <a:pt x="18" y="59"/>
                </a:cubicBezTo>
                <a:cubicBezTo>
                  <a:pt x="17" y="60"/>
                  <a:pt x="17" y="60"/>
                  <a:pt x="17" y="60"/>
                </a:cubicBezTo>
                <a:cubicBezTo>
                  <a:pt x="17" y="65"/>
                  <a:pt x="17" y="65"/>
                  <a:pt x="17" y="65"/>
                </a:cubicBezTo>
                <a:cubicBezTo>
                  <a:pt x="16" y="67"/>
                  <a:pt x="16" y="67"/>
                  <a:pt x="16" y="67"/>
                </a:cubicBezTo>
                <a:cubicBezTo>
                  <a:pt x="16" y="68"/>
                  <a:pt x="16" y="68"/>
                  <a:pt x="16" y="68"/>
                </a:cubicBezTo>
                <a:cubicBezTo>
                  <a:pt x="15" y="70"/>
                  <a:pt x="15" y="70"/>
                  <a:pt x="15" y="70"/>
                </a:cubicBezTo>
                <a:cubicBezTo>
                  <a:pt x="16" y="70"/>
                  <a:pt x="16" y="70"/>
                  <a:pt x="16" y="70"/>
                </a:cubicBezTo>
                <a:cubicBezTo>
                  <a:pt x="16" y="70"/>
                  <a:pt x="16" y="70"/>
                  <a:pt x="16" y="70"/>
                </a:cubicBezTo>
                <a:cubicBezTo>
                  <a:pt x="15" y="71"/>
                  <a:pt x="15" y="71"/>
                  <a:pt x="15" y="71"/>
                </a:cubicBezTo>
                <a:cubicBezTo>
                  <a:pt x="15" y="71"/>
                  <a:pt x="15" y="71"/>
                  <a:pt x="15" y="71"/>
                </a:cubicBezTo>
                <a:cubicBezTo>
                  <a:pt x="16" y="73"/>
                  <a:pt x="16" y="73"/>
                  <a:pt x="16" y="73"/>
                </a:cubicBezTo>
                <a:cubicBezTo>
                  <a:pt x="16" y="74"/>
                  <a:pt x="16" y="74"/>
                  <a:pt x="16" y="74"/>
                </a:cubicBezTo>
                <a:cubicBezTo>
                  <a:pt x="17" y="75"/>
                  <a:pt x="17" y="75"/>
                  <a:pt x="17" y="75"/>
                </a:cubicBezTo>
                <a:cubicBezTo>
                  <a:pt x="16" y="77"/>
                  <a:pt x="16" y="77"/>
                  <a:pt x="16" y="77"/>
                </a:cubicBezTo>
                <a:cubicBezTo>
                  <a:pt x="17" y="77"/>
                  <a:pt x="17" y="77"/>
                  <a:pt x="17" y="77"/>
                </a:cubicBezTo>
                <a:cubicBezTo>
                  <a:pt x="17" y="77"/>
                  <a:pt x="17" y="77"/>
                  <a:pt x="17" y="77"/>
                </a:cubicBezTo>
                <a:cubicBezTo>
                  <a:pt x="17" y="76"/>
                  <a:pt x="17" y="76"/>
                  <a:pt x="17" y="76"/>
                </a:cubicBezTo>
                <a:cubicBezTo>
                  <a:pt x="18" y="76"/>
                  <a:pt x="18" y="76"/>
                  <a:pt x="18" y="76"/>
                </a:cubicBezTo>
                <a:cubicBezTo>
                  <a:pt x="18" y="76"/>
                  <a:pt x="18" y="76"/>
                  <a:pt x="18" y="76"/>
                </a:cubicBezTo>
                <a:cubicBezTo>
                  <a:pt x="19" y="76"/>
                  <a:pt x="19" y="76"/>
                  <a:pt x="19" y="76"/>
                </a:cubicBezTo>
                <a:cubicBezTo>
                  <a:pt x="20" y="77"/>
                  <a:pt x="20" y="77"/>
                  <a:pt x="20" y="77"/>
                </a:cubicBezTo>
                <a:cubicBezTo>
                  <a:pt x="20" y="78"/>
                  <a:pt x="20" y="78"/>
                  <a:pt x="20" y="78"/>
                </a:cubicBezTo>
                <a:cubicBezTo>
                  <a:pt x="21" y="79"/>
                  <a:pt x="21" y="79"/>
                  <a:pt x="21" y="79"/>
                </a:cubicBezTo>
                <a:cubicBezTo>
                  <a:pt x="20" y="80"/>
                  <a:pt x="20" y="80"/>
                  <a:pt x="20" y="80"/>
                </a:cubicBezTo>
                <a:cubicBezTo>
                  <a:pt x="21" y="80"/>
                  <a:pt x="21" y="80"/>
                  <a:pt x="21" y="80"/>
                </a:cubicBezTo>
                <a:cubicBezTo>
                  <a:pt x="22" y="82"/>
                  <a:pt x="22" y="82"/>
                  <a:pt x="22" y="82"/>
                </a:cubicBezTo>
                <a:cubicBezTo>
                  <a:pt x="22" y="82"/>
                  <a:pt x="22" y="82"/>
                  <a:pt x="22" y="82"/>
                </a:cubicBezTo>
                <a:cubicBezTo>
                  <a:pt x="22" y="81"/>
                  <a:pt x="22" y="81"/>
                  <a:pt x="22" y="81"/>
                </a:cubicBezTo>
                <a:cubicBezTo>
                  <a:pt x="23" y="80"/>
                  <a:pt x="23" y="80"/>
                  <a:pt x="23" y="80"/>
                </a:cubicBezTo>
                <a:cubicBezTo>
                  <a:pt x="23" y="81"/>
                  <a:pt x="23" y="81"/>
                  <a:pt x="23" y="81"/>
                </a:cubicBezTo>
                <a:cubicBezTo>
                  <a:pt x="24" y="82"/>
                  <a:pt x="24" y="82"/>
                  <a:pt x="24" y="82"/>
                </a:cubicBezTo>
                <a:cubicBezTo>
                  <a:pt x="24" y="83"/>
                  <a:pt x="24" y="83"/>
                  <a:pt x="24" y="83"/>
                </a:cubicBezTo>
                <a:cubicBezTo>
                  <a:pt x="24" y="84"/>
                  <a:pt x="24" y="84"/>
                  <a:pt x="24" y="84"/>
                </a:cubicBezTo>
                <a:cubicBezTo>
                  <a:pt x="25" y="86"/>
                  <a:pt x="25" y="86"/>
                  <a:pt x="25" y="86"/>
                </a:cubicBezTo>
                <a:cubicBezTo>
                  <a:pt x="24" y="87"/>
                  <a:pt x="24" y="87"/>
                  <a:pt x="24" y="87"/>
                </a:cubicBezTo>
                <a:cubicBezTo>
                  <a:pt x="24" y="87"/>
                  <a:pt x="24" y="87"/>
                  <a:pt x="24" y="87"/>
                </a:cubicBezTo>
                <a:cubicBezTo>
                  <a:pt x="24" y="87"/>
                  <a:pt x="24" y="87"/>
                  <a:pt x="24" y="87"/>
                </a:cubicBezTo>
                <a:cubicBezTo>
                  <a:pt x="23" y="87"/>
                  <a:pt x="23" y="87"/>
                  <a:pt x="23" y="87"/>
                </a:cubicBezTo>
                <a:cubicBezTo>
                  <a:pt x="23" y="88"/>
                  <a:pt x="23" y="88"/>
                  <a:pt x="23" y="88"/>
                </a:cubicBezTo>
                <a:cubicBezTo>
                  <a:pt x="25" y="89"/>
                  <a:pt x="25" y="89"/>
                  <a:pt x="25" y="89"/>
                </a:cubicBezTo>
                <a:cubicBezTo>
                  <a:pt x="25" y="88"/>
                  <a:pt x="25" y="88"/>
                  <a:pt x="25" y="88"/>
                </a:cubicBezTo>
                <a:cubicBezTo>
                  <a:pt x="25" y="88"/>
                  <a:pt x="25" y="88"/>
                  <a:pt x="25" y="88"/>
                </a:cubicBezTo>
                <a:cubicBezTo>
                  <a:pt x="25" y="89"/>
                  <a:pt x="25" y="89"/>
                  <a:pt x="25" y="89"/>
                </a:cubicBezTo>
                <a:cubicBezTo>
                  <a:pt x="26" y="90"/>
                  <a:pt x="26" y="90"/>
                  <a:pt x="26" y="90"/>
                </a:cubicBezTo>
                <a:cubicBezTo>
                  <a:pt x="28" y="92"/>
                  <a:pt x="28" y="92"/>
                  <a:pt x="28" y="92"/>
                </a:cubicBezTo>
                <a:cubicBezTo>
                  <a:pt x="29" y="92"/>
                  <a:pt x="29" y="92"/>
                  <a:pt x="29" y="92"/>
                </a:cubicBezTo>
                <a:cubicBezTo>
                  <a:pt x="29" y="92"/>
                  <a:pt x="29" y="92"/>
                  <a:pt x="29" y="92"/>
                </a:cubicBezTo>
                <a:cubicBezTo>
                  <a:pt x="30" y="92"/>
                  <a:pt x="30" y="92"/>
                  <a:pt x="30" y="92"/>
                </a:cubicBezTo>
                <a:cubicBezTo>
                  <a:pt x="32" y="93"/>
                  <a:pt x="32" y="93"/>
                  <a:pt x="32" y="93"/>
                </a:cubicBezTo>
                <a:cubicBezTo>
                  <a:pt x="32" y="95"/>
                  <a:pt x="32" y="95"/>
                  <a:pt x="32" y="95"/>
                </a:cubicBezTo>
                <a:cubicBezTo>
                  <a:pt x="33" y="95"/>
                  <a:pt x="33" y="95"/>
                  <a:pt x="33" y="95"/>
                </a:cubicBezTo>
                <a:cubicBezTo>
                  <a:pt x="34" y="96"/>
                  <a:pt x="34" y="96"/>
                  <a:pt x="34" y="96"/>
                </a:cubicBezTo>
                <a:cubicBezTo>
                  <a:pt x="34" y="97"/>
                  <a:pt x="34" y="97"/>
                  <a:pt x="34" y="97"/>
                </a:cubicBezTo>
                <a:cubicBezTo>
                  <a:pt x="34" y="97"/>
                  <a:pt x="34" y="97"/>
                  <a:pt x="34" y="97"/>
                </a:cubicBezTo>
                <a:cubicBezTo>
                  <a:pt x="34" y="98"/>
                  <a:pt x="34" y="98"/>
                  <a:pt x="34" y="98"/>
                </a:cubicBezTo>
                <a:cubicBezTo>
                  <a:pt x="33" y="99"/>
                  <a:pt x="33" y="99"/>
                  <a:pt x="33" y="99"/>
                </a:cubicBezTo>
                <a:cubicBezTo>
                  <a:pt x="32" y="98"/>
                  <a:pt x="32" y="98"/>
                  <a:pt x="32" y="98"/>
                </a:cubicBezTo>
                <a:cubicBezTo>
                  <a:pt x="31" y="98"/>
                  <a:pt x="31" y="98"/>
                  <a:pt x="31" y="98"/>
                </a:cubicBezTo>
                <a:cubicBezTo>
                  <a:pt x="30" y="99"/>
                  <a:pt x="30" y="99"/>
                  <a:pt x="30" y="99"/>
                </a:cubicBezTo>
                <a:cubicBezTo>
                  <a:pt x="28" y="99"/>
                  <a:pt x="28" y="99"/>
                  <a:pt x="28" y="99"/>
                </a:cubicBezTo>
                <a:cubicBezTo>
                  <a:pt x="28" y="98"/>
                  <a:pt x="28" y="98"/>
                  <a:pt x="28" y="98"/>
                </a:cubicBezTo>
                <a:cubicBezTo>
                  <a:pt x="29" y="97"/>
                  <a:pt x="29" y="97"/>
                  <a:pt x="29" y="97"/>
                </a:cubicBezTo>
                <a:cubicBezTo>
                  <a:pt x="29" y="95"/>
                  <a:pt x="29" y="95"/>
                  <a:pt x="29" y="95"/>
                </a:cubicBezTo>
                <a:cubicBezTo>
                  <a:pt x="28" y="95"/>
                  <a:pt x="28" y="95"/>
                  <a:pt x="28" y="95"/>
                </a:cubicBezTo>
                <a:cubicBezTo>
                  <a:pt x="27" y="95"/>
                  <a:pt x="27" y="95"/>
                  <a:pt x="27" y="95"/>
                </a:cubicBezTo>
                <a:cubicBezTo>
                  <a:pt x="27" y="94"/>
                  <a:pt x="27" y="94"/>
                  <a:pt x="27" y="94"/>
                </a:cubicBezTo>
                <a:cubicBezTo>
                  <a:pt x="25" y="93"/>
                  <a:pt x="25" y="93"/>
                  <a:pt x="25" y="93"/>
                </a:cubicBezTo>
                <a:cubicBezTo>
                  <a:pt x="24" y="92"/>
                  <a:pt x="24" y="92"/>
                  <a:pt x="24" y="92"/>
                </a:cubicBezTo>
                <a:cubicBezTo>
                  <a:pt x="23" y="93"/>
                  <a:pt x="23" y="93"/>
                  <a:pt x="23" y="93"/>
                </a:cubicBezTo>
                <a:cubicBezTo>
                  <a:pt x="23" y="95"/>
                  <a:pt x="23" y="95"/>
                  <a:pt x="23" y="95"/>
                </a:cubicBezTo>
                <a:cubicBezTo>
                  <a:pt x="22" y="94"/>
                  <a:pt x="22" y="94"/>
                  <a:pt x="22" y="94"/>
                </a:cubicBezTo>
                <a:cubicBezTo>
                  <a:pt x="19" y="92"/>
                  <a:pt x="19" y="92"/>
                  <a:pt x="19" y="92"/>
                </a:cubicBezTo>
                <a:cubicBezTo>
                  <a:pt x="19" y="92"/>
                  <a:pt x="19" y="92"/>
                  <a:pt x="19" y="92"/>
                </a:cubicBezTo>
                <a:cubicBezTo>
                  <a:pt x="20" y="91"/>
                  <a:pt x="20" y="91"/>
                  <a:pt x="20" y="91"/>
                </a:cubicBezTo>
                <a:cubicBezTo>
                  <a:pt x="20" y="90"/>
                  <a:pt x="20" y="90"/>
                  <a:pt x="20" y="90"/>
                </a:cubicBezTo>
                <a:cubicBezTo>
                  <a:pt x="19" y="90"/>
                  <a:pt x="19" y="90"/>
                  <a:pt x="19" y="90"/>
                </a:cubicBezTo>
                <a:cubicBezTo>
                  <a:pt x="19" y="89"/>
                  <a:pt x="19" y="89"/>
                  <a:pt x="19" y="89"/>
                </a:cubicBezTo>
                <a:cubicBezTo>
                  <a:pt x="18" y="89"/>
                  <a:pt x="18" y="89"/>
                  <a:pt x="18" y="89"/>
                </a:cubicBezTo>
                <a:cubicBezTo>
                  <a:pt x="18" y="88"/>
                  <a:pt x="18" y="88"/>
                  <a:pt x="18" y="88"/>
                </a:cubicBezTo>
                <a:cubicBezTo>
                  <a:pt x="16" y="86"/>
                  <a:pt x="16" y="86"/>
                  <a:pt x="16" y="86"/>
                </a:cubicBezTo>
                <a:cubicBezTo>
                  <a:pt x="15" y="86"/>
                  <a:pt x="15" y="86"/>
                  <a:pt x="15" y="86"/>
                </a:cubicBezTo>
                <a:cubicBezTo>
                  <a:pt x="14" y="84"/>
                  <a:pt x="14" y="84"/>
                  <a:pt x="14" y="84"/>
                </a:cubicBezTo>
                <a:cubicBezTo>
                  <a:pt x="13" y="84"/>
                  <a:pt x="13" y="84"/>
                  <a:pt x="13" y="84"/>
                </a:cubicBezTo>
                <a:cubicBezTo>
                  <a:pt x="13" y="83"/>
                  <a:pt x="13" y="83"/>
                  <a:pt x="13" y="83"/>
                </a:cubicBezTo>
                <a:cubicBezTo>
                  <a:pt x="13" y="82"/>
                  <a:pt x="13" y="82"/>
                  <a:pt x="13" y="82"/>
                </a:cubicBezTo>
                <a:cubicBezTo>
                  <a:pt x="13" y="82"/>
                  <a:pt x="13" y="82"/>
                  <a:pt x="13" y="82"/>
                </a:cubicBezTo>
                <a:cubicBezTo>
                  <a:pt x="11" y="82"/>
                  <a:pt x="11" y="82"/>
                  <a:pt x="11" y="82"/>
                </a:cubicBezTo>
                <a:cubicBezTo>
                  <a:pt x="12" y="83"/>
                  <a:pt x="12" y="83"/>
                  <a:pt x="12" y="83"/>
                </a:cubicBezTo>
                <a:cubicBezTo>
                  <a:pt x="11" y="83"/>
                  <a:pt x="11" y="83"/>
                  <a:pt x="11" y="83"/>
                </a:cubicBezTo>
                <a:cubicBezTo>
                  <a:pt x="10" y="82"/>
                  <a:pt x="10" y="82"/>
                  <a:pt x="10" y="82"/>
                </a:cubicBezTo>
                <a:cubicBezTo>
                  <a:pt x="10" y="80"/>
                  <a:pt x="10" y="80"/>
                  <a:pt x="10" y="80"/>
                </a:cubicBezTo>
                <a:cubicBezTo>
                  <a:pt x="10" y="80"/>
                  <a:pt x="10" y="80"/>
                  <a:pt x="10" y="80"/>
                </a:cubicBezTo>
                <a:cubicBezTo>
                  <a:pt x="10" y="78"/>
                  <a:pt x="10" y="78"/>
                  <a:pt x="10" y="78"/>
                </a:cubicBezTo>
                <a:cubicBezTo>
                  <a:pt x="11" y="78"/>
                  <a:pt x="11" y="78"/>
                  <a:pt x="11" y="78"/>
                </a:cubicBezTo>
                <a:cubicBezTo>
                  <a:pt x="11" y="75"/>
                  <a:pt x="11" y="75"/>
                  <a:pt x="11" y="75"/>
                </a:cubicBezTo>
                <a:cubicBezTo>
                  <a:pt x="11" y="75"/>
                  <a:pt x="11" y="75"/>
                  <a:pt x="11" y="75"/>
                </a:cubicBezTo>
                <a:cubicBezTo>
                  <a:pt x="12" y="74"/>
                  <a:pt x="12" y="74"/>
                  <a:pt x="12" y="74"/>
                </a:cubicBezTo>
                <a:cubicBezTo>
                  <a:pt x="11" y="74"/>
                  <a:pt x="11" y="74"/>
                  <a:pt x="11" y="74"/>
                </a:cubicBezTo>
                <a:cubicBezTo>
                  <a:pt x="12" y="73"/>
                  <a:pt x="12" y="73"/>
                  <a:pt x="12" y="73"/>
                </a:cubicBezTo>
                <a:cubicBezTo>
                  <a:pt x="12" y="72"/>
                  <a:pt x="12" y="72"/>
                  <a:pt x="12" y="72"/>
                </a:cubicBezTo>
                <a:cubicBezTo>
                  <a:pt x="13" y="71"/>
                  <a:pt x="13" y="71"/>
                  <a:pt x="13" y="71"/>
                </a:cubicBezTo>
                <a:cubicBezTo>
                  <a:pt x="12" y="71"/>
                  <a:pt x="12" y="71"/>
                  <a:pt x="12" y="71"/>
                </a:cubicBezTo>
                <a:cubicBezTo>
                  <a:pt x="12" y="69"/>
                  <a:pt x="12" y="69"/>
                  <a:pt x="12" y="69"/>
                </a:cubicBezTo>
                <a:cubicBezTo>
                  <a:pt x="12" y="68"/>
                  <a:pt x="12" y="68"/>
                  <a:pt x="12" y="68"/>
                </a:cubicBezTo>
                <a:cubicBezTo>
                  <a:pt x="13" y="67"/>
                  <a:pt x="13" y="67"/>
                  <a:pt x="13" y="67"/>
                </a:cubicBezTo>
                <a:cubicBezTo>
                  <a:pt x="13" y="65"/>
                  <a:pt x="13" y="65"/>
                  <a:pt x="13" y="65"/>
                </a:cubicBezTo>
                <a:cubicBezTo>
                  <a:pt x="15" y="64"/>
                  <a:pt x="15" y="64"/>
                  <a:pt x="15" y="64"/>
                </a:cubicBezTo>
                <a:cubicBezTo>
                  <a:pt x="16" y="61"/>
                  <a:pt x="16" y="61"/>
                  <a:pt x="16" y="61"/>
                </a:cubicBezTo>
                <a:cubicBezTo>
                  <a:pt x="17" y="60"/>
                  <a:pt x="17" y="60"/>
                  <a:pt x="17" y="60"/>
                </a:cubicBezTo>
                <a:cubicBezTo>
                  <a:pt x="17" y="58"/>
                  <a:pt x="17" y="58"/>
                  <a:pt x="17" y="58"/>
                </a:cubicBezTo>
                <a:cubicBezTo>
                  <a:pt x="16" y="57"/>
                  <a:pt x="16" y="57"/>
                  <a:pt x="16" y="57"/>
                </a:cubicBezTo>
                <a:cubicBezTo>
                  <a:pt x="16" y="55"/>
                  <a:pt x="16" y="55"/>
                  <a:pt x="16" y="55"/>
                </a:cubicBezTo>
                <a:cubicBezTo>
                  <a:pt x="16" y="54"/>
                  <a:pt x="16" y="54"/>
                  <a:pt x="16" y="54"/>
                </a:cubicBezTo>
                <a:cubicBezTo>
                  <a:pt x="15" y="52"/>
                  <a:pt x="15" y="52"/>
                  <a:pt x="15" y="52"/>
                </a:cubicBezTo>
                <a:cubicBezTo>
                  <a:pt x="15" y="51"/>
                  <a:pt x="15" y="51"/>
                  <a:pt x="15" y="51"/>
                </a:cubicBezTo>
                <a:cubicBezTo>
                  <a:pt x="15" y="50"/>
                  <a:pt x="15" y="50"/>
                  <a:pt x="15" y="50"/>
                </a:cubicBezTo>
                <a:cubicBezTo>
                  <a:pt x="14" y="48"/>
                  <a:pt x="14" y="48"/>
                  <a:pt x="14" y="48"/>
                </a:cubicBezTo>
                <a:cubicBezTo>
                  <a:pt x="15" y="47"/>
                  <a:pt x="15" y="47"/>
                  <a:pt x="15" y="47"/>
                </a:cubicBezTo>
                <a:cubicBezTo>
                  <a:pt x="14" y="45"/>
                  <a:pt x="14" y="45"/>
                  <a:pt x="14" y="45"/>
                </a:cubicBezTo>
                <a:cubicBezTo>
                  <a:pt x="12" y="43"/>
                  <a:pt x="12" y="43"/>
                  <a:pt x="12" y="43"/>
                </a:cubicBezTo>
                <a:cubicBezTo>
                  <a:pt x="10" y="42"/>
                  <a:pt x="10" y="42"/>
                  <a:pt x="10" y="42"/>
                </a:cubicBezTo>
                <a:cubicBezTo>
                  <a:pt x="9" y="40"/>
                  <a:pt x="9" y="40"/>
                  <a:pt x="9" y="40"/>
                </a:cubicBezTo>
                <a:cubicBezTo>
                  <a:pt x="9" y="38"/>
                  <a:pt x="9" y="38"/>
                  <a:pt x="9" y="38"/>
                </a:cubicBezTo>
                <a:cubicBezTo>
                  <a:pt x="8" y="36"/>
                  <a:pt x="8" y="36"/>
                  <a:pt x="8" y="36"/>
                </a:cubicBezTo>
                <a:cubicBezTo>
                  <a:pt x="9" y="35"/>
                  <a:pt x="9" y="35"/>
                  <a:pt x="9" y="35"/>
                </a:cubicBezTo>
                <a:cubicBezTo>
                  <a:pt x="9" y="34"/>
                  <a:pt x="9" y="34"/>
                  <a:pt x="9" y="34"/>
                </a:cubicBezTo>
                <a:cubicBezTo>
                  <a:pt x="9" y="31"/>
                  <a:pt x="9" y="31"/>
                  <a:pt x="9" y="31"/>
                </a:cubicBezTo>
                <a:cubicBezTo>
                  <a:pt x="9" y="30"/>
                  <a:pt x="9" y="30"/>
                  <a:pt x="9" y="30"/>
                </a:cubicBezTo>
                <a:cubicBezTo>
                  <a:pt x="10" y="30"/>
                  <a:pt x="10" y="30"/>
                  <a:pt x="10" y="30"/>
                </a:cubicBezTo>
                <a:cubicBezTo>
                  <a:pt x="10" y="28"/>
                  <a:pt x="10" y="28"/>
                  <a:pt x="10" y="28"/>
                </a:cubicBezTo>
                <a:cubicBezTo>
                  <a:pt x="9" y="28"/>
                  <a:pt x="9" y="28"/>
                  <a:pt x="9" y="28"/>
                </a:cubicBezTo>
                <a:cubicBezTo>
                  <a:pt x="9" y="26"/>
                  <a:pt x="9" y="26"/>
                  <a:pt x="9" y="26"/>
                </a:cubicBezTo>
                <a:cubicBezTo>
                  <a:pt x="8" y="25"/>
                  <a:pt x="8" y="25"/>
                  <a:pt x="8" y="25"/>
                </a:cubicBezTo>
                <a:cubicBezTo>
                  <a:pt x="7" y="24"/>
                  <a:pt x="7" y="24"/>
                  <a:pt x="7" y="24"/>
                </a:cubicBezTo>
                <a:cubicBezTo>
                  <a:pt x="5" y="21"/>
                  <a:pt x="5" y="21"/>
                  <a:pt x="5" y="21"/>
                </a:cubicBezTo>
                <a:cubicBezTo>
                  <a:pt x="4" y="20"/>
                  <a:pt x="4" y="20"/>
                  <a:pt x="4" y="20"/>
                </a:cubicBezTo>
                <a:cubicBezTo>
                  <a:pt x="3" y="19"/>
                  <a:pt x="3" y="19"/>
                  <a:pt x="3" y="19"/>
                </a:cubicBezTo>
                <a:cubicBezTo>
                  <a:pt x="3" y="18"/>
                  <a:pt x="3" y="18"/>
                  <a:pt x="3" y="18"/>
                </a:cubicBezTo>
                <a:cubicBezTo>
                  <a:pt x="1" y="16"/>
                  <a:pt x="1" y="16"/>
                  <a:pt x="1" y="16"/>
                </a:cubicBezTo>
                <a:cubicBezTo>
                  <a:pt x="1" y="16"/>
                  <a:pt x="1" y="16"/>
                  <a:pt x="1" y="16"/>
                </a:cubicBezTo>
                <a:cubicBezTo>
                  <a:pt x="0" y="15"/>
                  <a:pt x="0" y="15"/>
                  <a:pt x="0" y="15"/>
                </a:cubicBezTo>
                <a:cubicBezTo>
                  <a:pt x="2" y="15"/>
                  <a:pt x="2" y="15"/>
                  <a:pt x="2" y="15"/>
                </a:cubicBezTo>
                <a:cubicBezTo>
                  <a:pt x="3" y="14"/>
                  <a:pt x="3" y="14"/>
                  <a:pt x="3" y="14"/>
                </a:cubicBezTo>
                <a:cubicBezTo>
                  <a:pt x="3" y="13"/>
                  <a:pt x="3" y="13"/>
                  <a:pt x="3" y="13"/>
                </a:cubicBezTo>
                <a:cubicBezTo>
                  <a:pt x="3" y="11"/>
                  <a:pt x="3" y="11"/>
                  <a:pt x="3" y="11"/>
                </a:cubicBezTo>
                <a:cubicBezTo>
                  <a:pt x="4" y="10"/>
                  <a:pt x="4" y="10"/>
                  <a:pt x="4" y="10"/>
                </a:cubicBezTo>
                <a:cubicBezTo>
                  <a:pt x="3" y="8"/>
                  <a:pt x="3" y="8"/>
                  <a:pt x="3" y="8"/>
                </a:cubicBezTo>
                <a:cubicBezTo>
                  <a:pt x="4" y="6"/>
                  <a:pt x="4" y="6"/>
                  <a:pt x="4" y="6"/>
                </a:cubicBezTo>
                <a:cubicBezTo>
                  <a:pt x="7" y="7"/>
                  <a:pt x="7" y="7"/>
                  <a:pt x="7" y="7"/>
                </a:cubicBezTo>
                <a:cubicBezTo>
                  <a:pt x="8" y="6"/>
                  <a:pt x="8" y="6"/>
                  <a:pt x="8" y="6"/>
                </a:cubicBezTo>
                <a:cubicBezTo>
                  <a:pt x="10" y="6"/>
                  <a:pt x="10" y="6"/>
                  <a:pt x="10" y="6"/>
                </a:cubicBezTo>
                <a:cubicBezTo>
                  <a:pt x="10" y="6"/>
                  <a:pt x="10" y="6"/>
                  <a:pt x="10" y="6"/>
                </a:cubicBezTo>
                <a:cubicBezTo>
                  <a:pt x="10" y="4"/>
                  <a:pt x="10" y="4"/>
                  <a:pt x="10" y="4"/>
                </a:cubicBezTo>
                <a:cubicBezTo>
                  <a:pt x="11" y="3"/>
                  <a:pt x="11" y="3"/>
                  <a:pt x="11" y="3"/>
                </a:cubicBezTo>
                <a:cubicBezTo>
                  <a:pt x="12" y="3"/>
                  <a:pt x="12" y="3"/>
                  <a:pt x="12" y="3"/>
                </a:cubicBezTo>
                <a:cubicBezTo>
                  <a:pt x="13" y="3"/>
                  <a:pt x="13" y="3"/>
                  <a:pt x="13" y="3"/>
                </a:cubicBezTo>
                <a:cubicBezTo>
                  <a:pt x="12" y="2"/>
                  <a:pt x="12" y="2"/>
                  <a:pt x="12" y="2"/>
                </a:cubicBezTo>
                <a:cubicBezTo>
                  <a:pt x="12" y="1"/>
                  <a:pt x="12" y="1"/>
                  <a:pt x="12" y="1"/>
                </a:cubicBezTo>
                <a:cubicBezTo>
                  <a:pt x="14" y="1"/>
                  <a:pt x="14" y="1"/>
                  <a:pt x="14" y="1"/>
                </a:cubicBezTo>
                <a:cubicBezTo>
                  <a:pt x="15" y="1"/>
                  <a:pt x="15" y="1"/>
                  <a:pt x="15" y="1"/>
                </a:cubicBezTo>
                <a:cubicBezTo>
                  <a:pt x="15" y="0"/>
                  <a:pt x="15" y="0"/>
                  <a:pt x="15" y="0"/>
                </a:cubicBezTo>
                <a:close/>
                <a:moveTo>
                  <a:pt x="19" y="93"/>
                </a:moveTo>
                <a:cubicBezTo>
                  <a:pt x="19" y="94"/>
                  <a:pt x="19" y="94"/>
                  <a:pt x="19" y="94"/>
                </a:cubicBezTo>
                <a:cubicBezTo>
                  <a:pt x="20" y="94"/>
                  <a:pt x="20" y="94"/>
                  <a:pt x="20" y="94"/>
                </a:cubicBezTo>
                <a:cubicBezTo>
                  <a:pt x="20" y="93"/>
                  <a:pt x="20" y="93"/>
                  <a:pt x="20" y="93"/>
                </a:cubicBezTo>
                <a:cubicBezTo>
                  <a:pt x="19" y="93"/>
                  <a:pt x="19" y="93"/>
                  <a:pt x="19" y="93"/>
                </a:cubicBezTo>
                <a:cubicBezTo>
                  <a:pt x="19" y="93"/>
                  <a:pt x="19" y="93"/>
                  <a:pt x="19" y="93"/>
                </a:cubicBezTo>
                <a:close/>
                <a:moveTo>
                  <a:pt x="15" y="87"/>
                </a:moveTo>
                <a:cubicBezTo>
                  <a:pt x="15" y="88"/>
                  <a:pt x="15" y="88"/>
                  <a:pt x="15" y="88"/>
                </a:cubicBezTo>
                <a:cubicBezTo>
                  <a:pt x="15" y="87"/>
                  <a:pt x="15" y="87"/>
                  <a:pt x="15" y="87"/>
                </a:cubicBezTo>
                <a:cubicBezTo>
                  <a:pt x="15" y="87"/>
                  <a:pt x="15" y="87"/>
                  <a:pt x="15" y="87"/>
                </a:cubicBezTo>
                <a:cubicBezTo>
                  <a:pt x="15" y="87"/>
                  <a:pt x="15" y="87"/>
                  <a:pt x="15" y="87"/>
                </a:cubicBezTo>
                <a:close/>
                <a:moveTo>
                  <a:pt x="11" y="84"/>
                </a:moveTo>
                <a:cubicBezTo>
                  <a:pt x="10" y="85"/>
                  <a:pt x="10" y="85"/>
                  <a:pt x="10" y="85"/>
                </a:cubicBezTo>
                <a:cubicBezTo>
                  <a:pt x="11" y="85"/>
                  <a:pt x="11" y="85"/>
                  <a:pt x="11" y="85"/>
                </a:cubicBezTo>
                <a:cubicBezTo>
                  <a:pt x="10" y="86"/>
                  <a:pt x="10" y="86"/>
                  <a:pt x="10" y="86"/>
                </a:cubicBezTo>
                <a:cubicBezTo>
                  <a:pt x="11" y="85"/>
                  <a:pt x="11" y="85"/>
                  <a:pt x="11" y="85"/>
                </a:cubicBezTo>
                <a:cubicBezTo>
                  <a:pt x="11" y="84"/>
                  <a:pt x="11" y="84"/>
                  <a:pt x="11" y="84"/>
                </a:cubicBezTo>
                <a:cubicBezTo>
                  <a:pt x="11" y="84"/>
                  <a:pt x="11" y="84"/>
                  <a:pt x="11" y="84"/>
                </a:cubicBezTo>
                <a:close/>
                <a:moveTo>
                  <a:pt x="33" y="57"/>
                </a:moveTo>
                <a:cubicBezTo>
                  <a:pt x="33" y="58"/>
                  <a:pt x="33" y="58"/>
                  <a:pt x="33" y="58"/>
                </a:cubicBezTo>
                <a:cubicBezTo>
                  <a:pt x="34" y="59"/>
                  <a:pt x="34" y="59"/>
                  <a:pt x="34" y="59"/>
                </a:cubicBezTo>
                <a:cubicBezTo>
                  <a:pt x="35" y="58"/>
                  <a:pt x="35" y="58"/>
                  <a:pt x="35" y="58"/>
                </a:cubicBezTo>
                <a:cubicBezTo>
                  <a:pt x="33" y="57"/>
                  <a:pt x="33" y="57"/>
                  <a:pt x="33" y="57"/>
                </a:cubicBezTo>
                <a:close/>
                <a:moveTo>
                  <a:pt x="21" y="72"/>
                </a:moveTo>
                <a:cubicBezTo>
                  <a:pt x="20" y="73"/>
                  <a:pt x="20" y="73"/>
                  <a:pt x="20" y="73"/>
                </a:cubicBezTo>
                <a:cubicBezTo>
                  <a:pt x="21" y="73"/>
                  <a:pt x="21" y="73"/>
                  <a:pt x="21" y="73"/>
                </a:cubicBezTo>
                <a:cubicBezTo>
                  <a:pt x="21" y="72"/>
                  <a:pt x="21" y="72"/>
                  <a:pt x="21" y="72"/>
                </a:cubicBezTo>
                <a:close/>
                <a:moveTo>
                  <a:pt x="21" y="74"/>
                </a:moveTo>
                <a:cubicBezTo>
                  <a:pt x="20" y="74"/>
                  <a:pt x="20" y="74"/>
                  <a:pt x="20" y="74"/>
                </a:cubicBezTo>
                <a:cubicBezTo>
                  <a:pt x="20" y="75"/>
                  <a:pt x="20" y="75"/>
                  <a:pt x="20" y="75"/>
                </a:cubicBezTo>
                <a:cubicBezTo>
                  <a:pt x="21" y="76"/>
                  <a:pt x="21" y="76"/>
                  <a:pt x="21" y="76"/>
                </a:cubicBezTo>
                <a:cubicBezTo>
                  <a:pt x="22" y="74"/>
                  <a:pt x="22" y="74"/>
                  <a:pt x="22" y="74"/>
                </a:cubicBezTo>
                <a:lnTo>
                  <a:pt x="21" y="74"/>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5" name="Freeform 33">
            <a:extLst>
              <a:ext uri="{FF2B5EF4-FFF2-40B4-BE49-F238E27FC236}">
                <a16:creationId xmlns:a16="http://schemas.microsoft.com/office/drawing/2014/main" id="{95E54B2B-62DF-FF2A-C6C5-E98F2F592D05}"/>
              </a:ext>
            </a:extLst>
          </p:cNvPr>
          <p:cNvSpPr>
            <a:spLocks noEditPoints="1"/>
          </p:cNvSpPr>
          <p:nvPr userDrawn="1"/>
        </p:nvSpPr>
        <p:spPr bwMode="auto">
          <a:xfrm>
            <a:off x="18874144" y="7498635"/>
            <a:ext cx="555590" cy="1250950"/>
          </a:xfrm>
          <a:custGeom>
            <a:avLst/>
            <a:gdLst>
              <a:gd name="T0" fmla="*/ 97 w 175"/>
              <a:gd name="T1" fmla="*/ 6 h 394"/>
              <a:gd name="T2" fmla="*/ 113 w 175"/>
              <a:gd name="T3" fmla="*/ 31 h 394"/>
              <a:gd name="T4" fmla="*/ 106 w 175"/>
              <a:gd name="T5" fmla="*/ 60 h 394"/>
              <a:gd name="T6" fmla="*/ 97 w 175"/>
              <a:gd name="T7" fmla="*/ 69 h 394"/>
              <a:gd name="T8" fmla="*/ 100 w 175"/>
              <a:gd name="T9" fmla="*/ 85 h 394"/>
              <a:gd name="T10" fmla="*/ 119 w 175"/>
              <a:gd name="T11" fmla="*/ 94 h 394"/>
              <a:gd name="T12" fmla="*/ 128 w 175"/>
              <a:gd name="T13" fmla="*/ 110 h 394"/>
              <a:gd name="T14" fmla="*/ 144 w 175"/>
              <a:gd name="T15" fmla="*/ 113 h 394"/>
              <a:gd name="T16" fmla="*/ 135 w 175"/>
              <a:gd name="T17" fmla="*/ 135 h 394"/>
              <a:gd name="T18" fmla="*/ 150 w 175"/>
              <a:gd name="T19" fmla="*/ 141 h 394"/>
              <a:gd name="T20" fmla="*/ 175 w 175"/>
              <a:gd name="T21" fmla="*/ 144 h 394"/>
              <a:gd name="T22" fmla="*/ 163 w 175"/>
              <a:gd name="T23" fmla="*/ 163 h 394"/>
              <a:gd name="T24" fmla="*/ 144 w 175"/>
              <a:gd name="T25" fmla="*/ 175 h 394"/>
              <a:gd name="T26" fmla="*/ 138 w 175"/>
              <a:gd name="T27" fmla="*/ 188 h 394"/>
              <a:gd name="T28" fmla="*/ 116 w 175"/>
              <a:gd name="T29" fmla="*/ 204 h 394"/>
              <a:gd name="T30" fmla="*/ 110 w 175"/>
              <a:gd name="T31" fmla="*/ 219 h 394"/>
              <a:gd name="T32" fmla="*/ 132 w 175"/>
              <a:gd name="T33" fmla="*/ 247 h 394"/>
              <a:gd name="T34" fmla="*/ 135 w 175"/>
              <a:gd name="T35" fmla="*/ 266 h 394"/>
              <a:gd name="T36" fmla="*/ 138 w 175"/>
              <a:gd name="T37" fmla="*/ 301 h 394"/>
              <a:gd name="T38" fmla="*/ 153 w 175"/>
              <a:gd name="T39" fmla="*/ 329 h 394"/>
              <a:gd name="T40" fmla="*/ 160 w 175"/>
              <a:gd name="T41" fmla="*/ 357 h 394"/>
              <a:gd name="T42" fmla="*/ 144 w 175"/>
              <a:gd name="T43" fmla="*/ 385 h 394"/>
              <a:gd name="T44" fmla="*/ 138 w 175"/>
              <a:gd name="T45" fmla="*/ 379 h 394"/>
              <a:gd name="T46" fmla="*/ 144 w 175"/>
              <a:gd name="T47" fmla="*/ 369 h 394"/>
              <a:gd name="T48" fmla="*/ 144 w 175"/>
              <a:gd name="T49" fmla="*/ 351 h 394"/>
              <a:gd name="T50" fmla="*/ 138 w 175"/>
              <a:gd name="T51" fmla="*/ 322 h 394"/>
              <a:gd name="T52" fmla="*/ 132 w 175"/>
              <a:gd name="T53" fmla="*/ 316 h 394"/>
              <a:gd name="T54" fmla="*/ 122 w 175"/>
              <a:gd name="T55" fmla="*/ 291 h 394"/>
              <a:gd name="T56" fmla="*/ 116 w 175"/>
              <a:gd name="T57" fmla="*/ 266 h 394"/>
              <a:gd name="T58" fmla="*/ 113 w 175"/>
              <a:gd name="T59" fmla="*/ 257 h 394"/>
              <a:gd name="T60" fmla="*/ 100 w 175"/>
              <a:gd name="T61" fmla="*/ 241 h 394"/>
              <a:gd name="T62" fmla="*/ 100 w 175"/>
              <a:gd name="T63" fmla="*/ 244 h 394"/>
              <a:gd name="T64" fmla="*/ 88 w 175"/>
              <a:gd name="T65" fmla="*/ 254 h 394"/>
              <a:gd name="T66" fmla="*/ 85 w 175"/>
              <a:gd name="T67" fmla="*/ 260 h 394"/>
              <a:gd name="T68" fmla="*/ 66 w 175"/>
              <a:gd name="T69" fmla="*/ 269 h 394"/>
              <a:gd name="T70" fmla="*/ 56 w 175"/>
              <a:gd name="T71" fmla="*/ 272 h 394"/>
              <a:gd name="T72" fmla="*/ 53 w 175"/>
              <a:gd name="T73" fmla="*/ 266 h 394"/>
              <a:gd name="T74" fmla="*/ 56 w 175"/>
              <a:gd name="T75" fmla="*/ 241 h 394"/>
              <a:gd name="T76" fmla="*/ 47 w 175"/>
              <a:gd name="T77" fmla="*/ 219 h 394"/>
              <a:gd name="T78" fmla="*/ 35 w 175"/>
              <a:gd name="T79" fmla="*/ 197 h 394"/>
              <a:gd name="T80" fmla="*/ 22 w 175"/>
              <a:gd name="T81" fmla="*/ 197 h 394"/>
              <a:gd name="T82" fmla="*/ 31 w 175"/>
              <a:gd name="T83" fmla="*/ 197 h 394"/>
              <a:gd name="T84" fmla="*/ 31 w 175"/>
              <a:gd name="T85" fmla="*/ 185 h 394"/>
              <a:gd name="T86" fmla="*/ 16 w 175"/>
              <a:gd name="T87" fmla="*/ 182 h 394"/>
              <a:gd name="T88" fmla="*/ 13 w 175"/>
              <a:gd name="T89" fmla="*/ 179 h 394"/>
              <a:gd name="T90" fmla="*/ 0 w 175"/>
              <a:gd name="T91" fmla="*/ 157 h 394"/>
              <a:gd name="T92" fmla="*/ 13 w 175"/>
              <a:gd name="T93" fmla="*/ 138 h 394"/>
              <a:gd name="T94" fmla="*/ 19 w 175"/>
              <a:gd name="T95" fmla="*/ 119 h 394"/>
              <a:gd name="T96" fmla="*/ 28 w 175"/>
              <a:gd name="T97" fmla="*/ 97 h 394"/>
              <a:gd name="T98" fmla="*/ 41 w 175"/>
              <a:gd name="T99" fmla="*/ 57 h 394"/>
              <a:gd name="T100" fmla="*/ 56 w 175"/>
              <a:gd name="T101" fmla="*/ 25 h 394"/>
              <a:gd name="T102" fmla="*/ 75 w 175"/>
              <a:gd name="T103" fmla="*/ 16 h 394"/>
              <a:gd name="T104" fmla="*/ 25 w 175"/>
              <a:gd name="T105" fmla="*/ 2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5" h="394">
                <a:moveTo>
                  <a:pt x="78" y="3"/>
                </a:moveTo>
                <a:lnTo>
                  <a:pt x="81" y="0"/>
                </a:lnTo>
                <a:lnTo>
                  <a:pt x="88" y="3"/>
                </a:lnTo>
                <a:lnTo>
                  <a:pt x="91" y="0"/>
                </a:lnTo>
                <a:lnTo>
                  <a:pt x="94" y="0"/>
                </a:lnTo>
                <a:lnTo>
                  <a:pt x="97" y="6"/>
                </a:lnTo>
                <a:lnTo>
                  <a:pt x="100" y="10"/>
                </a:lnTo>
                <a:lnTo>
                  <a:pt x="103" y="16"/>
                </a:lnTo>
                <a:lnTo>
                  <a:pt x="106" y="16"/>
                </a:lnTo>
                <a:lnTo>
                  <a:pt x="110" y="19"/>
                </a:lnTo>
                <a:lnTo>
                  <a:pt x="110" y="25"/>
                </a:lnTo>
                <a:lnTo>
                  <a:pt x="113" y="31"/>
                </a:lnTo>
                <a:lnTo>
                  <a:pt x="113" y="38"/>
                </a:lnTo>
                <a:lnTo>
                  <a:pt x="113" y="47"/>
                </a:lnTo>
                <a:lnTo>
                  <a:pt x="113" y="50"/>
                </a:lnTo>
                <a:lnTo>
                  <a:pt x="110" y="53"/>
                </a:lnTo>
                <a:lnTo>
                  <a:pt x="106" y="53"/>
                </a:lnTo>
                <a:lnTo>
                  <a:pt x="106" y="60"/>
                </a:lnTo>
                <a:lnTo>
                  <a:pt x="103" y="60"/>
                </a:lnTo>
                <a:lnTo>
                  <a:pt x="103" y="63"/>
                </a:lnTo>
                <a:lnTo>
                  <a:pt x="106" y="66"/>
                </a:lnTo>
                <a:lnTo>
                  <a:pt x="103" y="69"/>
                </a:lnTo>
                <a:lnTo>
                  <a:pt x="100" y="66"/>
                </a:lnTo>
                <a:lnTo>
                  <a:pt x="97" y="69"/>
                </a:lnTo>
                <a:lnTo>
                  <a:pt x="97" y="72"/>
                </a:lnTo>
                <a:lnTo>
                  <a:pt x="97" y="75"/>
                </a:lnTo>
                <a:lnTo>
                  <a:pt x="97" y="78"/>
                </a:lnTo>
                <a:lnTo>
                  <a:pt x="97" y="82"/>
                </a:lnTo>
                <a:lnTo>
                  <a:pt x="100" y="82"/>
                </a:lnTo>
                <a:lnTo>
                  <a:pt x="100" y="85"/>
                </a:lnTo>
                <a:lnTo>
                  <a:pt x="103" y="88"/>
                </a:lnTo>
                <a:lnTo>
                  <a:pt x="103" y="94"/>
                </a:lnTo>
                <a:lnTo>
                  <a:pt x="106" y="97"/>
                </a:lnTo>
                <a:lnTo>
                  <a:pt x="110" y="94"/>
                </a:lnTo>
                <a:lnTo>
                  <a:pt x="119" y="91"/>
                </a:lnTo>
                <a:lnTo>
                  <a:pt x="119" y="94"/>
                </a:lnTo>
                <a:lnTo>
                  <a:pt x="119" y="97"/>
                </a:lnTo>
                <a:lnTo>
                  <a:pt x="122" y="100"/>
                </a:lnTo>
                <a:lnTo>
                  <a:pt x="125" y="97"/>
                </a:lnTo>
                <a:lnTo>
                  <a:pt x="128" y="100"/>
                </a:lnTo>
                <a:lnTo>
                  <a:pt x="125" y="107"/>
                </a:lnTo>
                <a:lnTo>
                  <a:pt x="128" y="110"/>
                </a:lnTo>
                <a:lnTo>
                  <a:pt x="135" y="110"/>
                </a:lnTo>
                <a:lnTo>
                  <a:pt x="132" y="110"/>
                </a:lnTo>
                <a:lnTo>
                  <a:pt x="135" y="113"/>
                </a:lnTo>
                <a:lnTo>
                  <a:pt x="135" y="113"/>
                </a:lnTo>
                <a:lnTo>
                  <a:pt x="141" y="113"/>
                </a:lnTo>
                <a:lnTo>
                  <a:pt x="144" y="113"/>
                </a:lnTo>
                <a:lnTo>
                  <a:pt x="144" y="116"/>
                </a:lnTo>
                <a:lnTo>
                  <a:pt x="141" y="119"/>
                </a:lnTo>
                <a:lnTo>
                  <a:pt x="141" y="122"/>
                </a:lnTo>
                <a:lnTo>
                  <a:pt x="138" y="128"/>
                </a:lnTo>
                <a:lnTo>
                  <a:pt x="135" y="135"/>
                </a:lnTo>
                <a:lnTo>
                  <a:pt x="135" y="135"/>
                </a:lnTo>
                <a:lnTo>
                  <a:pt x="138" y="135"/>
                </a:lnTo>
                <a:lnTo>
                  <a:pt x="144" y="135"/>
                </a:lnTo>
                <a:lnTo>
                  <a:pt x="144" y="138"/>
                </a:lnTo>
                <a:lnTo>
                  <a:pt x="147" y="135"/>
                </a:lnTo>
                <a:lnTo>
                  <a:pt x="150" y="138"/>
                </a:lnTo>
                <a:lnTo>
                  <a:pt x="150" y="141"/>
                </a:lnTo>
                <a:lnTo>
                  <a:pt x="150" y="147"/>
                </a:lnTo>
                <a:lnTo>
                  <a:pt x="157" y="147"/>
                </a:lnTo>
                <a:lnTo>
                  <a:pt x="160" y="147"/>
                </a:lnTo>
                <a:lnTo>
                  <a:pt x="163" y="147"/>
                </a:lnTo>
                <a:lnTo>
                  <a:pt x="172" y="141"/>
                </a:lnTo>
                <a:lnTo>
                  <a:pt x="175" y="144"/>
                </a:lnTo>
                <a:lnTo>
                  <a:pt x="175" y="147"/>
                </a:lnTo>
                <a:lnTo>
                  <a:pt x="169" y="150"/>
                </a:lnTo>
                <a:lnTo>
                  <a:pt x="163" y="153"/>
                </a:lnTo>
                <a:lnTo>
                  <a:pt x="163" y="157"/>
                </a:lnTo>
                <a:lnTo>
                  <a:pt x="163" y="160"/>
                </a:lnTo>
                <a:lnTo>
                  <a:pt x="163" y="163"/>
                </a:lnTo>
                <a:lnTo>
                  <a:pt x="160" y="166"/>
                </a:lnTo>
                <a:lnTo>
                  <a:pt x="157" y="166"/>
                </a:lnTo>
                <a:lnTo>
                  <a:pt x="153" y="172"/>
                </a:lnTo>
                <a:lnTo>
                  <a:pt x="150" y="172"/>
                </a:lnTo>
                <a:lnTo>
                  <a:pt x="144" y="172"/>
                </a:lnTo>
                <a:lnTo>
                  <a:pt x="144" y="175"/>
                </a:lnTo>
                <a:lnTo>
                  <a:pt x="147" y="179"/>
                </a:lnTo>
                <a:lnTo>
                  <a:pt x="144" y="179"/>
                </a:lnTo>
                <a:lnTo>
                  <a:pt x="141" y="179"/>
                </a:lnTo>
                <a:lnTo>
                  <a:pt x="138" y="182"/>
                </a:lnTo>
                <a:lnTo>
                  <a:pt x="138" y="188"/>
                </a:lnTo>
                <a:lnTo>
                  <a:pt x="138" y="188"/>
                </a:lnTo>
                <a:lnTo>
                  <a:pt x="132" y="188"/>
                </a:lnTo>
                <a:lnTo>
                  <a:pt x="128" y="191"/>
                </a:lnTo>
                <a:lnTo>
                  <a:pt x="119" y="188"/>
                </a:lnTo>
                <a:lnTo>
                  <a:pt x="116" y="194"/>
                </a:lnTo>
                <a:lnTo>
                  <a:pt x="119" y="200"/>
                </a:lnTo>
                <a:lnTo>
                  <a:pt x="116" y="204"/>
                </a:lnTo>
                <a:lnTo>
                  <a:pt x="116" y="210"/>
                </a:lnTo>
                <a:lnTo>
                  <a:pt x="116" y="213"/>
                </a:lnTo>
                <a:lnTo>
                  <a:pt x="113" y="216"/>
                </a:lnTo>
                <a:lnTo>
                  <a:pt x="106" y="216"/>
                </a:lnTo>
                <a:lnTo>
                  <a:pt x="110" y="219"/>
                </a:lnTo>
                <a:lnTo>
                  <a:pt x="110" y="219"/>
                </a:lnTo>
                <a:lnTo>
                  <a:pt x="116" y="225"/>
                </a:lnTo>
                <a:lnTo>
                  <a:pt x="116" y="229"/>
                </a:lnTo>
                <a:lnTo>
                  <a:pt x="119" y="232"/>
                </a:lnTo>
                <a:lnTo>
                  <a:pt x="122" y="235"/>
                </a:lnTo>
                <a:lnTo>
                  <a:pt x="128" y="244"/>
                </a:lnTo>
                <a:lnTo>
                  <a:pt x="132" y="247"/>
                </a:lnTo>
                <a:lnTo>
                  <a:pt x="135" y="250"/>
                </a:lnTo>
                <a:lnTo>
                  <a:pt x="135" y="257"/>
                </a:lnTo>
                <a:lnTo>
                  <a:pt x="138" y="257"/>
                </a:lnTo>
                <a:lnTo>
                  <a:pt x="138" y="263"/>
                </a:lnTo>
                <a:lnTo>
                  <a:pt x="135" y="263"/>
                </a:lnTo>
                <a:lnTo>
                  <a:pt x="135" y="266"/>
                </a:lnTo>
                <a:lnTo>
                  <a:pt x="135" y="275"/>
                </a:lnTo>
                <a:lnTo>
                  <a:pt x="135" y="279"/>
                </a:lnTo>
                <a:lnTo>
                  <a:pt x="132" y="282"/>
                </a:lnTo>
                <a:lnTo>
                  <a:pt x="135" y="288"/>
                </a:lnTo>
                <a:lnTo>
                  <a:pt x="135" y="294"/>
                </a:lnTo>
                <a:lnTo>
                  <a:pt x="138" y="301"/>
                </a:lnTo>
                <a:lnTo>
                  <a:pt x="144" y="304"/>
                </a:lnTo>
                <a:lnTo>
                  <a:pt x="150" y="310"/>
                </a:lnTo>
                <a:lnTo>
                  <a:pt x="153" y="316"/>
                </a:lnTo>
                <a:lnTo>
                  <a:pt x="150" y="319"/>
                </a:lnTo>
                <a:lnTo>
                  <a:pt x="153" y="326"/>
                </a:lnTo>
                <a:lnTo>
                  <a:pt x="153" y="329"/>
                </a:lnTo>
                <a:lnTo>
                  <a:pt x="153" y="332"/>
                </a:lnTo>
                <a:lnTo>
                  <a:pt x="157" y="338"/>
                </a:lnTo>
                <a:lnTo>
                  <a:pt x="157" y="341"/>
                </a:lnTo>
                <a:lnTo>
                  <a:pt x="157" y="347"/>
                </a:lnTo>
                <a:lnTo>
                  <a:pt x="160" y="351"/>
                </a:lnTo>
                <a:lnTo>
                  <a:pt x="160" y="357"/>
                </a:lnTo>
                <a:lnTo>
                  <a:pt x="157" y="360"/>
                </a:lnTo>
                <a:lnTo>
                  <a:pt x="153" y="369"/>
                </a:lnTo>
                <a:lnTo>
                  <a:pt x="147" y="372"/>
                </a:lnTo>
                <a:lnTo>
                  <a:pt x="147" y="379"/>
                </a:lnTo>
                <a:lnTo>
                  <a:pt x="144" y="382"/>
                </a:lnTo>
                <a:lnTo>
                  <a:pt x="144" y="385"/>
                </a:lnTo>
                <a:lnTo>
                  <a:pt x="144" y="385"/>
                </a:lnTo>
                <a:lnTo>
                  <a:pt x="144" y="388"/>
                </a:lnTo>
                <a:lnTo>
                  <a:pt x="141" y="394"/>
                </a:lnTo>
                <a:lnTo>
                  <a:pt x="141" y="388"/>
                </a:lnTo>
                <a:lnTo>
                  <a:pt x="141" y="382"/>
                </a:lnTo>
                <a:lnTo>
                  <a:pt x="138" y="379"/>
                </a:lnTo>
                <a:lnTo>
                  <a:pt x="138" y="379"/>
                </a:lnTo>
                <a:lnTo>
                  <a:pt x="141" y="379"/>
                </a:lnTo>
                <a:lnTo>
                  <a:pt x="141" y="379"/>
                </a:lnTo>
                <a:lnTo>
                  <a:pt x="144" y="372"/>
                </a:lnTo>
                <a:lnTo>
                  <a:pt x="144" y="369"/>
                </a:lnTo>
                <a:lnTo>
                  <a:pt x="144" y="369"/>
                </a:lnTo>
                <a:lnTo>
                  <a:pt x="144" y="363"/>
                </a:lnTo>
                <a:lnTo>
                  <a:pt x="144" y="363"/>
                </a:lnTo>
                <a:lnTo>
                  <a:pt x="144" y="360"/>
                </a:lnTo>
                <a:lnTo>
                  <a:pt x="144" y="357"/>
                </a:lnTo>
                <a:lnTo>
                  <a:pt x="147" y="354"/>
                </a:lnTo>
                <a:lnTo>
                  <a:pt x="144" y="351"/>
                </a:lnTo>
                <a:lnTo>
                  <a:pt x="141" y="347"/>
                </a:lnTo>
                <a:lnTo>
                  <a:pt x="141" y="341"/>
                </a:lnTo>
                <a:lnTo>
                  <a:pt x="144" y="341"/>
                </a:lnTo>
                <a:lnTo>
                  <a:pt x="141" y="338"/>
                </a:lnTo>
                <a:lnTo>
                  <a:pt x="141" y="335"/>
                </a:lnTo>
                <a:lnTo>
                  <a:pt x="138" y="322"/>
                </a:lnTo>
                <a:lnTo>
                  <a:pt x="135" y="322"/>
                </a:lnTo>
                <a:lnTo>
                  <a:pt x="135" y="316"/>
                </a:lnTo>
                <a:lnTo>
                  <a:pt x="132" y="313"/>
                </a:lnTo>
                <a:lnTo>
                  <a:pt x="132" y="319"/>
                </a:lnTo>
                <a:lnTo>
                  <a:pt x="132" y="319"/>
                </a:lnTo>
                <a:lnTo>
                  <a:pt x="132" y="316"/>
                </a:lnTo>
                <a:lnTo>
                  <a:pt x="128" y="313"/>
                </a:lnTo>
                <a:lnTo>
                  <a:pt x="128" y="304"/>
                </a:lnTo>
                <a:lnTo>
                  <a:pt x="125" y="301"/>
                </a:lnTo>
                <a:lnTo>
                  <a:pt x="125" y="297"/>
                </a:lnTo>
                <a:lnTo>
                  <a:pt x="128" y="294"/>
                </a:lnTo>
                <a:lnTo>
                  <a:pt x="122" y="291"/>
                </a:lnTo>
                <a:lnTo>
                  <a:pt x="122" y="285"/>
                </a:lnTo>
                <a:lnTo>
                  <a:pt x="122" y="285"/>
                </a:lnTo>
                <a:lnTo>
                  <a:pt x="119" y="269"/>
                </a:lnTo>
                <a:lnTo>
                  <a:pt x="116" y="269"/>
                </a:lnTo>
                <a:lnTo>
                  <a:pt x="116" y="266"/>
                </a:lnTo>
                <a:lnTo>
                  <a:pt x="116" y="266"/>
                </a:lnTo>
                <a:lnTo>
                  <a:pt x="116" y="263"/>
                </a:lnTo>
                <a:lnTo>
                  <a:pt x="116" y="257"/>
                </a:lnTo>
                <a:lnTo>
                  <a:pt x="116" y="257"/>
                </a:lnTo>
                <a:lnTo>
                  <a:pt x="116" y="254"/>
                </a:lnTo>
                <a:lnTo>
                  <a:pt x="116" y="257"/>
                </a:lnTo>
                <a:lnTo>
                  <a:pt x="113" y="257"/>
                </a:lnTo>
                <a:lnTo>
                  <a:pt x="110" y="257"/>
                </a:lnTo>
                <a:lnTo>
                  <a:pt x="106" y="254"/>
                </a:lnTo>
                <a:lnTo>
                  <a:pt x="106" y="250"/>
                </a:lnTo>
                <a:lnTo>
                  <a:pt x="103" y="241"/>
                </a:lnTo>
                <a:lnTo>
                  <a:pt x="100" y="241"/>
                </a:lnTo>
                <a:lnTo>
                  <a:pt x="100" y="241"/>
                </a:lnTo>
                <a:lnTo>
                  <a:pt x="100" y="238"/>
                </a:lnTo>
                <a:lnTo>
                  <a:pt x="97" y="235"/>
                </a:lnTo>
                <a:lnTo>
                  <a:pt x="97" y="238"/>
                </a:lnTo>
                <a:lnTo>
                  <a:pt x="97" y="241"/>
                </a:lnTo>
                <a:lnTo>
                  <a:pt x="97" y="241"/>
                </a:lnTo>
                <a:lnTo>
                  <a:pt x="100" y="244"/>
                </a:lnTo>
                <a:lnTo>
                  <a:pt x="100" y="247"/>
                </a:lnTo>
                <a:lnTo>
                  <a:pt x="97" y="250"/>
                </a:lnTo>
                <a:lnTo>
                  <a:pt x="97" y="254"/>
                </a:lnTo>
                <a:lnTo>
                  <a:pt x="94" y="257"/>
                </a:lnTo>
                <a:lnTo>
                  <a:pt x="91" y="257"/>
                </a:lnTo>
                <a:lnTo>
                  <a:pt x="88" y="254"/>
                </a:lnTo>
                <a:lnTo>
                  <a:pt x="85" y="254"/>
                </a:lnTo>
                <a:lnTo>
                  <a:pt x="88" y="257"/>
                </a:lnTo>
                <a:lnTo>
                  <a:pt x="88" y="257"/>
                </a:lnTo>
                <a:lnTo>
                  <a:pt x="91" y="257"/>
                </a:lnTo>
                <a:lnTo>
                  <a:pt x="85" y="260"/>
                </a:lnTo>
                <a:lnTo>
                  <a:pt x="85" y="260"/>
                </a:lnTo>
                <a:lnTo>
                  <a:pt x="81" y="260"/>
                </a:lnTo>
                <a:lnTo>
                  <a:pt x="81" y="263"/>
                </a:lnTo>
                <a:lnTo>
                  <a:pt x="72" y="269"/>
                </a:lnTo>
                <a:lnTo>
                  <a:pt x="69" y="269"/>
                </a:lnTo>
                <a:lnTo>
                  <a:pt x="69" y="269"/>
                </a:lnTo>
                <a:lnTo>
                  <a:pt x="66" y="269"/>
                </a:lnTo>
                <a:lnTo>
                  <a:pt x="66" y="266"/>
                </a:lnTo>
                <a:lnTo>
                  <a:pt x="66" y="269"/>
                </a:lnTo>
                <a:lnTo>
                  <a:pt x="63" y="269"/>
                </a:lnTo>
                <a:lnTo>
                  <a:pt x="60" y="266"/>
                </a:lnTo>
                <a:lnTo>
                  <a:pt x="56" y="269"/>
                </a:lnTo>
                <a:lnTo>
                  <a:pt x="56" y="272"/>
                </a:lnTo>
                <a:lnTo>
                  <a:pt x="53" y="272"/>
                </a:lnTo>
                <a:lnTo>
                  <a:pt x="53" y="266"/>
                </a:lnTo>
                <a:lnTo>
                  <a:pt x="60" y="263"/>
                </a:lnTo>
                <a:lnTo>
                  <a:pt x="60" y="257"/>
                </a:lnTo>
                <a:lnTo>
                  <a:pt x="56" y="263"/>
                </a:lnTo>
                <a:lnTo>
                  <a:pt x="53" y="266"/>
                </a:lnTo>
                <a:lnTo>
                  <a:pt x="50" y="269"/>
                </a:lnTo>
                <a:lnTo>
                  <a:pt x="47" y="269"/>
                </a:lnTo>
                <a:lnTo>
                  <a:pt x="50" y="266"/>
                </a:lnTo>
                <a:lnTo>
                  <a:pt x="47" y="263"/>
                </a:lnTo>
                <a:lnTo>
                  <a:pt x="50" y="244"/>
                </a:lnTo>
                <a:lnTo>
                  <a:pt x="56" y="241"/>
                </a:lnTo>
                <a:lnTo>
                  <a:pt x="53" y="238"/>
                </a:lnTo>
                <a:lnTo>
                  <a:pt x="50" y="232"/>
                </a:lnTo>
                <a:lnTo>
                  <a:pt x="50" y="222"/>
                </a:lnTo>
                <a:lnTo>
                  <a:pt x="47" y="222"/>
                </a:lnTo>
                <a:lnTo>
                  <a:pt x="47" y="219"/>
                </a:lnTo>
                <a:lnTo>
                  <a:pt x="47" y="219"/>
                </a:lnTo>
                <a:lnTo>
                  <a:pt x="44" y="216"/>
                </a:lnTo>
                <a:lnTo>
                  <a:pt x="44" y="210"/>
                </a:lnTo>
                <a:lnTo>
                  <a:pt x="41" y="207"/>
                </a:lnTo>
                <a:lnTo>
                  <a:pt x="41" y="204"/>
                </a:lnTo>
                <a:lnTo>
                  <a:pt x="41" y="200"/>
                </a:lnTo>
                <a:lnTo>
                  <a:pt x="35" y="197"/>
                </a:lnTo>
                <a:lnTo>
                  <a:pt x="38" y="200"/>
                </a:lnTo>
                <a:lnTo>
                  <a:pt x="38" y="210"/>
                </a:lnTo>
                <a:lnTo>
                  <a:pt x="31" y="207"/>
                </a:lnTo>
                <a:lnTo>
                  <a:pt x="28" y="204"/>
                </a:lnTo>
                <a:lnTo>
                  <a:pt x="25" y="200"/>
                </a:lnTo>
                <a:lnTo>
                  <a:pt x="22" y="197"/>
                </a:lnTo>
                <a:lnTo>
                  <a:pt x="22" y="194"/>
                </a:lnTo>
                <a:lnTo>
                  <a:pt x="25" y="194"/>
                </a:lnTo>
                <a:lnTo>
                  <a:pt x="28" y="197"/>
                </a:lnTo>
                <a:lnTo>
                  <a:pt x="31" y="200"/>
                </a:lnTo>
                <a:lnTo>
                  <a:pt x="31" y="197"/>
                </a:lnTo>
                <a:lnTo>
                  <a:pt x="31" y="197"/>
                </a:lnTo>
                <a:lnTo>
                  <a:pt x="28" y="194"/>
                </a:lnTo>
                <a:lnTo>
                  <a:pt x="31" y="194"/>
                </a:lnTo>
                <a:lnTo>
                  <a:pt x="31" y="194"/>
                </a:lnTo>
                <a:lnTo>
                  <a:pt x="35" y="194"/>
                </a:lnTo>
                <a:lnTo>
                  <a:pt x="35" y="191"/>
                </a:lnTo>
                <a:lnTo>
                  <a:pt x="31" y="185"/>
                </a:lnTo>
                <a:lnTo>
                  <a:pt x="25" y="185"/>
                </a:lnTo>
                <a:lnTo>
                  <a:pt x="22" y="182"/>
                </a:lnTo>
                <a:lnTo>
                  <a:pt x="19" y="182"/>
                </a:lnTo>
                <a:lnTo>
                  <a:pt x="19" y="179"/>
                </a:lnTo>
                <a:lnTo>
                  <a:pt x="19" y="182"/>
                </a:lnTo>
                <a:lnTo>
                  <a:pt x="16" y="182"/>
                </a:lnTo>
                <a:lnTo>
                  <a:pt x="16" y="179"/>
                </a:lnTo>
                <a:lnTo>
                  <a:pt x="19" y="175"/>
                </a:lnTo>
                <a:lnTo>
                  <a:pt x="13" y="175"/>
                </a:lnTo>
                <a:lnTo>
                  <a:pt x="10" y="175"/>
                </a:lnTo>
                <a:lnTo>
                  <a:pt x="10" y="175"/>
                </a:lnTo>
                <a:lnTo>
                  <a:pt x="13" y="179"/>
                </a:lnTo>
                <a:lnTo>
                  <a:pt x="3" y="172"/>
                </a:lnTo>
                <a:lnTo>
                  <a:pt x="3" y="166"/>
                </a:lnTo>
                <a:lnTo>
                  <a:pt x="0" y="163"/>
                </a:lnTo>
                <a:lnTo>
                  <a:pt x="0" y="163"/>
                </a:lnTo>
                <a:lnTo>
                  <a:pt x="0" y="160"/>
                </a:lnTo>
                <a:lnTo>
                  <a:pt x="0" y="157"/>
                </a:lnTo>
                <a:lnTo>
                  <a:pt x="3" y="153"/>
                </a:lnTo>
                <a:lnTo>
                  <a:pt x="6" y="153"/>
                </a:lnTo>
                <a:lnTo>
                  <a:pt x="10" y="150"/>
                </a:lnTo>
                <a:lnTo>
                  <a:pt x="10" y="141"/>
                </a:lnTo>
                <a:lnTo>
                  <a:pt x="10" y="138"/>
                </a:lnTo>
                <a:lnTo>
                  <a:pt x="13" y="138"/>
                </a:lnTo>
                <a:lnTo>
                  <a:pt x="13" y="138"/>
                </a:lnTo>
                <a:lnTo>
                  <a:pt x="16" y="132"/>
                </a:lnTo>
                <a:lnTo>
                  <a:pt x="16" y="128"/>
                </a:lnTo>
                <a:lnTo>
                  <a:pt x="16" y="122"/>
                </a:lnTo>
                <a:lnTo>
                  <a:pt x="16" y="119"/>
                </a:lnTo>
                <a:lnTo>
                  <a:pt x="19" y="119"/>
                </a:lnTo>
                <a:lnTo>
                  <a:pt x="19" y="110"/>
                </a:lnTo>
                <a:lnTo>
                  <a:pt x="19" y="107"/>
                </a:lnTo>
                <a:lnTo>
                  <a:pt x="16" y="97"/>
                </a:lnTo>
                <a:lnTo>
                  <a:pt x="22" y="97"/>
                </a:lnTo>
                <a:lnTo>
                  <a:pt x="25" y="97"/>
                </a:lnTo>
                <a:lnTo>
                  <a:pt x="28" y="97"/>
                </a:lnTo>
                <a:lnTo>
                  <a:pt x="31" y="91"/>
                </a:lnTo>
                <a:lnTo>
                  <a:pt x="35" y="82"/>
                </a:lnTo>
                <a:lnTo>
                  <a:pt x="38" y="72"/>
                </a:lnTo>
                <a:lnTo>
                  <a:pt x="35" y="69"/>
                </a:lnTo>
                <a:lnTo>
                  <a:pt x="35" y="66"/>
                </a:lnTo>
                <a:lnTo>
                  <a:pt x="41" y="57"/>
                </a:lnTo>
                <a:lnTo>
                  <a:pt x="41" y="50"/>
                </a:lnTo>
                <a:lnTo>
                  <a:pt x="41" y="47"/>
                </a:lnTo>
                <a:lnTo>
                  <a:pt x="41" y="44"/>
                </a:lnTo>
                <a:lnTo>
                  <a:pt x="47" y="31"/>
                </a:lnTo>
                <a:lnTo>
                  <a:pt x="53" y="31"/>
                </a:lnTo>
                <a:lnTo>
                  <a:pt x="56" y="25"/>
                </a:lnTo>
                <a:lnTo>
                  <a:pt x="60" y="19"/>
                </a:lnTo>
                <a:lnTo>
                  <a:pt x="66" y="19"/>
                </a:lnTo>
                <a:lnTo>
                  <a:pt x="69" y="16"/>
                </a:lnTo>
                <a:lnTo>
                  <a:pt x="75" y="16"/>
                </a:lnTo>
                <a:lnTo>
                  <a:pt x="78" y="19"/>
                </a:lnTo>
                <a:lnTo>
                  <a:pt x="75" y="16"/>
                </a:lnTo>
                <a:lnTo>
                  <a:pt x="75" y="10"/>
                </a:lnTo>
                <a:lnTo>
                  <a:pt x="81" y="6"/>
                </a:lnTo>
                <a:lnTo>
                  <a:pt x="78" y="3"/>
                </a:lnTo>
                <a:lnTo>
                  <a:pt x="78" y="3"/>
                </a:lnTo>
                <a:lnTo>
                  <a:pt x="78" y="3"/>
                </a:lnTo>
                <a:close/>
                <a:moveTo>
                  <a:pt x="25" y="210"/>
                </a:moveTo>
                <a:lnTo>
                  <a:pt x="28" y="213"/>
                </a:lnTo>
                <a:lnTo>
                  <a:pt x="31" y="216"/>
                </a:lnTo>
                <a:lnTo>
                  <a:pt x="31" y="213"/>
                </a:lnTo>
                <a:lnTo>
                  <a:pt x="28" y="210"/>
                </a:lnTo>
                <a:lnTo>
                  <a:pt x="25" y="21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6" name="Freeform 34">
            <a:extLst>
              <a:ext uri="{FF2B5EF4-FFF2-40B4-BE49-F238E27FC236}">
                <a16:creationId xmlns:a16="http://schemas.microsoft.com/office/drawing/2014/main" id="{05631AEE-C463-EC61-914A-B345926258E6}"/>
              </a:ext>
            </a:extLst>
          </p:cNvPr>
          <p:cNvSpPr>
            <a:spLocks noEditPoints="1"/>
          </p:cNvSpPr>
          <p:nvPr userDrawn="1"/>
        </p:nvSpPr>
        <p:spPr bwMode="auto">
          <a:xfrm>
            <a:off x="18150292" y="8759109"/>
            <a:ext cx="139693" cy="250826"/>
          </a:xfrm>
          <a:custGeom>
            <a:avLst/>
            <a:gdLst>
              <a:gd name="T0" fmla="*/ 0 w 44"/>
              <a:gd name="T1" fmla="*/ 35 h 79"/>
              <a:gd name="T2" fmla="*/ 3 w 44"/>
              <a:gd name="T3" fmla="*/ 29 h 79"/>
              <a:gd name="T4" fmla="*/ 0 w 44"/>
              <a:gd name="T5" fmla="*/ 32 h 79"/>
              <a:gd name="T6" fmla="*/ 0 w 44"/>
              <a:gd name="T7" fmla="*/ 38 h 79"/>
              <a:gd name="T8" fmla="*/ 6 w 44"/>
              <a:gd name="T9" fmla="*/ 7 h 79"/>
              <a:gd name="T10" fmla="*/ 3 w 44"/>
              <a:gd name="T11" fmla="*/ 0 h 79"/>
              <a:gd name="T12" fmla="*/ 9 w 44"/>
              <a:gd name="T13" fmla="*/ 0 h 79"/>
              <a:gd name="T14" fmla="*/ 6 w 44"/>
              <a:gd name="T15" fmla="*/ 4 h 79"/>
              <a:gd name="T16" fmla="*/ 6 w 44"/>
              <a:gd name="T17" fmla="*/ 7 h 79"/>
              <a:gd name="T18" fmla="*/ 16 w 44"/>
              <a:gd name="T19" fmla="*/ 0 h 79"/>
              <a:gd name="T20" fmla="*/ 19 w 44"/>
              <a:gd name="T21" fmla="*/ 7 h 79"/>
              <a:gd name="T22" fmla="*/ 19 w 44"/>
              <a:gd name="T23" fmla="*/ 7 h 79"/>
              <a:gd name="T24" fmla="*/ 16 w 44"/>
              <a:gd name="T25" fmla="*/ 7 h 79"/>
              <a:gd name="T26" fmla="*/ 9 w 44"/>
              <a:gd name="T27" fmla="*/ 4 h 79"/>
              <a:gd name="T28" fmla="*/ 13 w 44"/>
              <a:gd name="T29" fmla="*/ 4 h 79"/>
              <a:gd name="T30" fmla="*/ 13 w 44"/>
              <a:gd name="T31" fmla="*/ 0 h 79"/>
              <a:gd name="T32" fmla="*/ 9 w 44"/>
              <a:gd name="T33" fmla="*/ 7 h 79"/>
              <a:gd name="T34" fmla="*/ 9 w 44"/>
              <a:gd name="T35" fmla="*/ 10 h 79"/>
              <a:gd name="T36" fmla="*/ 9 w 44"/>
              <a:gd name="T37" fmla="*/ 13 h 79"/>
              <a:gd name="T38" fmla="*/ 6 w 44"/>
              <a:gd name="T39" fmla="*/ 19 h 79"/>
              <a:gd name="T40" fmla="*/ 3 w 44"/>
              <a:gd name="T41" fmla="*/ 16 h 79"/>
              <a:gd name="T42" fmla="*/ 0 w 44"/>
              <a:gd name="T43" fmla="*/ 16 h 79"/>
              <a:gd name="T44" fmla="*/ 3 w 44"/>
              <a:gd name="T45" fmla="*/ 19 h 79"/>
              <a:gd name="T46" fmla="*/ 3 w 44"/>
              <a:gd name="T47" fmla="*/ 22 h 79"/>
              <a:gd name="T48" fmla="*/ 3 w 44"/>
              <a:gd name="T49" fmla="*/ 32 h 79"/>
              <a:gd name="T50" fmla="*/ 3 w 44"/>
              <a:gd name="T51" fmla="*/ 41 h 79"/>
              <a:gd name="T52" fmla="*/ 3 w 44"/>
              <a:gd name="T53" fmla="*/ 51 h 79"/>
              <a:gd name="T54" fmla="*/ 6 w 44"/>
              <a:gd name="T55" fmla="*/ 63 h 79"/>
              <a:gd name="T56" fmla="*/ 13 w 44"/>
              <a:gd name="T57" fmla="*/ 79 h 79"/>
              <a:gd name="T58" fmla="*/ 19 w 44"/>
              <a:gd name="T59" fmla="*/ 79 h 79"/>
              <a:gd name="T60" fmla="*/ 31 w 44"/>
              <a:gd name="T61" fmla="*/ 76 h 79"/>
              <a:gd name="T62" fmla="*/ 41 w 44"/>
              <a:gd name="T63" fmla="*/ 63 h 79"/>
              <a:gd name="T64" fmla="*/ 44 w 44"/>
              <a:gd name="T65" fmla="*/ 57 h 79"/>
              <a:gd name="T66" fmla="*/ 44 w 44"/>
              <a:gd name="T67" fmla="*/ 51 h 79"/>
              <a:gd name="T68" fmla="*/ 44 w 44"/>
              <a:gd name="T69" fmla="*/ 44 h 79"/>
              <a:gd name="T70" fmla="*/ 38 w 44"/>
              <a:gd name="T71" fmla="*/ 35 h 79"/>
              <a:gd name="T72" fmla="*/ 31 w 44"/>
              <a:gd name="T73" fmla="*/ 29 h 79"/>
              <a:gd name="T74" fmla="*/ 28 w 44"/>
              <a:gd name="T75" fmla="*/ 29 h 79"/>
              <a:gd name="T76" fmla="*/ 31 w 44"/>
              <a:gd name="T77" fmla="*/ 22 h 79"/>
              <a:gd name="T78" fmla="*/ 25 w 44"/>
              <a:gd name="T79" fmla="*/ 19 h 79"/>
              <a:gd name="T80" fmla="*/ 22 w 44"/>
              <a:gd name="T81" fmla="*/ 16 h 79"/>
              <a:gd name="T82" fmla="*/ 22 w 44"/>
              <a:gd name="T83" fmla="*/ 10 h 79"/>
              <a:gd name="T84" fmla="*/ 16 w 44"/>
              <a:gd name="T85" fmla="*/ 10 h 79"/>
              <a:gd name="T86" fmla="*/ 13 w 44"/>
              <a:gd name="T87" fmla="*/ 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 h="79">
                <a:moveTo>
                  <a:pt x="0" y="38"/>
                </a:moveTo>
                <a:lnTo>
                  <a:pt x="0" y="35"/>
                </a:lnTo>
                <a:lnTo>
                  <a:pt x="0" y="32"/>
                </a:lnTo>
                <a:lnTo>
                  <a:pt x="3" y="29"/>
                </a:lnTo>
                <a:lnTo>
                  <a:pt x="3" y="32"/>
                </a:lnTo>
                <a:lnTo>
                  <a:pt x="0" y="32"/>
                </a:lnTo>
                <a:lnTo>
                  <a:pt x="3" y="35"/>
                </a:lnTo>
                <a:lnTo>
                  <a:pt x="0" y="38"/>
                </a:lnTo>
                <a:lnTo>
                  <a:pt x="0" y="38"/>
                </a:lnTo>
                <a:close/>
                <a:moveTo>
                  <a:pt x="6" y="7"/>
                </a:moveTo>
                <a:lnTo>
                  <a:pt x="3" y="4"/>
                </a:lnTo>
                <a:lnTo>
                  <a:pt x="3" y="0"/>
                </a:lnTo>
                <a:lnTo>
                  <a:pt x="9" y="0"/>
                </a:lnTo>
                <a:lnTo>
                  <a:pt x="9" y="0"/>
                </a:lnTo>
                <a:lnTo>
                  <a:pt x="9" y="4"/>
                </a:lnTo>
                <a:lnTo>
                  <a:pt x="6" y="4"/>
                </a:lnTo>
                <a:lnTo>
                  <a:pt x="6" y="7"/>
                </a:lnTo>
                <a:lnTo>
                  <a:pt x="6" y="7"/>
                </a:lnTo>
                <a:close/>
                <a:moveTo>
                  <a:pt x="13" y="0"/>
                </a:moveTo>
                <a:lnTo>
                  <a:pt x="16" y="0"/>
                </a:lnTo>
                <a:lnTo>
                  <a:pt x="16" y="4"/>
                </a:lnTo>
                <a:lnTo>
                  <a:pt x="19" y="7"/>
                </a:lnTo>
                <a:lnTo>
                  <a:pt x="22" y="10"/>
                </a:lnTo>
                <a:lnTo>
                  <a:pt x="19" y="7"/>
                </a:lnTo>
                <a:lnTo>
                  <a:pt x="16" y="7"/>
                </a:lnTo>
                <a:lnTo>
                  <a:pt x="16" y="7"/>
                </a:lnTo>
                <a:lnTo>
                  <a:pt x="9" y="4"/>
                </a:lnTo>
                <a:lnTo>
                  <a:pt x="9" y="4"/>
                </a:lnTo>
                <a:lnTo>
                  <a:pt x="13" y="4"/>
                </a:lnTo>
                <a:lnTo>
                  <a:pt x="13" y="4"/>
                </a:lnTo>
                <a:lnTo>
                  <a:pt x="13" y="0"/>
                </a:lnTo>
                <a:lnTo>
                  <a:pt x="13" y="0"/>
                </a:lnTo>
                <a:close/>
                <a:moveTo>
                  <a:pt x="9" y="7"/>
                </a:moveTo>
                <a:lnTo>
                  <a:pt x="9" y="7"/>
                </a:lnTo>
                <a:lnTo>
                  <a:pt x="9" y="10"/>
                </a:lnTo>
                <a:lnTo>
                  <a:pt x="9" y="10"/>
                </a:lnTo>
                <a:lnTo>
                  <a:pt x="9" y="10"/>
                </a:lnTo>
                <a:lnTo>
                  <a:pt x="9" y="13"/>
                </a:lnTo>
                <a:lnTo>
                  <a:pt x="9" y="13"/>
                </a:lnTo>
                <a:lnTo>
                  <a:pt x="6" y="19"/>
                </a:lnTo>
                <a:lnTo>
                  <a:pt x="6" y="16"/>
                </a:lnTo>
                <a:lnTo>
                  <a:pt x="3" y="16"/>
                </a:lnTo>
                <a:lnTo>
                  <a:pt x="0" y="16"/>
                </a:lnTo>
                <a:lnTo>
                  <a:pt x="0" y="16"/>
                </a:lnTo>
                <a:lnTo>
                  <a:pt x="3" y="16"/>
                </a:lnTo>
                <a:lnTo>
                  <a:pt x="3" y="19"/>
                </a:lnTo>
                <a:lnTo>
                  <a:pt x="3" y="19"/>
                </a:lnTo>
                <a:lnTo>
                  <a:pt x="3" y="22"/>
                </a:lnTo>
                <a:lnTo>
                  <a:pt x="3" y="29"/>
                </a:lnTo>
                <a:lnTo>
                  <a:pt x="3" y="32"/>
                </a:lnTo>
                <a:lnTo>
                  <a:pt x="3" y="41"/>
                </a:lnTo>
                <a:lnTo>
                  <a:pt x="3" y="41"/>
                </a:lnTo>
                <a:lnTo>
                  <a:pt x="0" y="44"/>
                </a:lnTo>
                <a:lnTo>
                  <a:pt x="3" y="51"/>
                </a:lnTo>
                <a:lnTo>
                  <a:pt x="3" y="54"/>
                </a:lnTo>
                <a:lnTo>
                  <a:pt x="6" y="63"/>
                </a:lnTo>
                <a:lnTo>
                  <a:pt x="9" y="72"/>
                </a:lnTo>
                <a:lnTo>
                  <a:pt x="13" y="79"/>
                </a:lnTo>
                <a:lnTo>
                  <a:pt x="16" y="79"/>
                </a:lnTo>
                <a:lnTo>
                  <a:pt x="19" y="79"/>
                </a:lnTo>
                <a:lnTo>
                  <a:pt x="25" y="79"/>
                </a:lnTo>
                <a:lnTo>
                  <a:pt x="31" y="76"/>
                </a:lnTo>
                <a:lnTo>
                  <a:pt x="38" y="69"/>
                </a:lnTo>
                <a:lnTo>
                  <a:pt x="41" y="63"/>
                </a:lnTo>
                <a:lnTo>
                  <a:pt x="44" y="60"/>
                </a:lnTo>
                <a:lnTo>
                  <a:pt x="44" y="57"/>
                </a:lnTo>
                <a:lnTo>
                  <a:pt x="44" y="57"/>
                </a:lnTo>
                <a:lnTo>
                  <a:pt x="44" y="51"/>
                </a:lnTo>
                <a:lnTo>
                  <a:pt x="41" y="47"/>
                </a:lnTo>
                <a:lnTo>
                  <a:pt x="44" y="44"/>
                </a:lnTo>
                <a:lnTo>
                  <a:pt x="41" y="44"/>
                </a:lnTo>
                <a:lnTo>
                  <a:pt x="38" y="35"/>
                </a:lnTo>
                <a:lnTo>
                  <a:pt x="34" y="29"/>
                </a:lnTo>
                <a:lnTo>
                  <a:pt x="31" y="29"/>
                </a:lnTo>
                <a:lnTo>
                  <a:pt x="31" y="29"/>
                </a:lnTo>
                <a:lnTo>
                  <a:pt x="28" y="29"/>
                </a:lnTo>
                <a:lnTo>
                  <a:pt x="31" y="26"/>
                </a:lnTo>
                <a:lnTo>
                  <a:pt x="31" y="22"/>
                </a:lnTo>
                <a:lnTo>
                  <a:pt x="28" y="22"/>
                </a:lnTo>
                <a:lnTo>
                  <a:pt x="25" y="19"/>
                </a:lnTo>
                <a:lnTo>
                  <a:pt x="25" y="19"/>
                </a:lnTo>
                <a:lnTo>
                  <a:pt x="22" y="16"/>
                </a:lnTo>
                <a:lnTo>
                  <a:pt x="22" y="13"/>
                </a:lnTo>
                <a:lnTo>
                  <a:pt x="22" y="10"/>
                </a:lnTo>
                <a:lnTo>
                  <a:pt x="16" y="10"/>
                </a:lnTo>
                <a:lnTo>
                  <a:pt x="16" y="10"/>
                </a:lnTo>
                <a:lnTo>
                  <a:pt x="13" y="10"/>
                </a:lnTo>
                <a:lnTo>
                  <a:pt x="13" y="7"/>
                </a:lnTo>
                <a:lnTo>
                  <a:pt x="9" y="7"/>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7" name="Freeform 35">
            <a:extLst>
              <a:ext uri="{FF2B5EF4-FFF2-40B4-BE49-F238E27FC236}">
                <a16:creationId xmlns:a16="http://schemas.microsoft.com/office/drawing/2014/main" id="{0EBC6A7B-56C6-A77E-D094-FBBC13C53B83}"/>
              </a:ext>
            </a:extLst>
          </p:cNvPr>
          <p:cNvSpPr>
            <a:spLocks noEditPoints="1"/>
          </p:cNvSpPr>
          <p:nvPr userDrawn="1"/>
        </p:nvSpPr>
        <p:spPr bwMode="auto">
          <a:xfrm>
            <a:off x="17375639" y="7162085"/>
            <a:ext cx="1755662" cy="1708150"/>
          </a:xfrm>
          <a:custGeom>
            <a:avLst/>
            <a:gdLst>
              <a:gd name="T0" fmla="*/ 188 w 553"/>
              <a:gd name="T1" fmla="*/ 47 h 538"/>
              <a:gd name="T2" fmla="*/ 219 w 553"/>
              <a:gd name="T3" fmla="*/ 62 h 538"/>
              <a:gd name="T4" fmla="*/ 225 w 553"/>
              <a:gd name="T5" fmla="*/ 103 h 538"/>
              <a:gd name="T6" fmla="*/ 288 w 553"/>
              <a:gd name="T7" fmla="*/ 128 h 538"/>
              <a:gd name="T8" fmla="*/ 360 w 553"/>
              <a:gd name="T9" fmla="*/ 147 h 538"/>
              <a:gd name="T10" fmla="*/ 388 w 553"/>
              <a:gd name="T11" fmla="*/ 119 h 538"/>
              <a:gd name="T12" fmla="*/ 419 w 553"/>
              <a:gd name="T13" fmla="*/ 144 h 538"/>
              <a:gd name="T14" fmla="*/ 444 w 553"/>
              <a:gd name="T15" fmla="*/ 122 h 538"/>
              <a:gd name="T16" fmla="*/ 472 w 553"/>
              <a:gd name="T17" fmla="*/ 100 h 538"/>
              <a:gd name="T18" fmla="*/ 513 w 553"/>
              <a:gd name="T19" fmla="*/ 87 h 538"/>
              <a:gd name="T20" fmla="*/ 535 w 553"/>
              <a:gd name="T21" fmla="*/ 87 h 538"/>
              <a:gd name="T22" fmla="*/ 550 w 553"/>
              <a:gd name="T23" fmla="*/ 109 h 538"/>
              <a:gd name="T24" fmla="*/ 525 w 553"/>
              <a:gd name="T25" fmla="*/ 137 h 538"/>
              <a:gd name="T26" fmla="*/ 503 w 553"/>
              <a:gd name="T27" fmla="*/ 197 h 538"/>
              <a:gd name="T28" fmla="*/ 488 w 553"/>
              <a:gd name="T29" fmla="*/ 234 h 538"/>
              <a:gd name="T30" fmla="*/ 478 w 553"/>
              <a:gd name="T31" fmla="*/ 244 h 538"/>
              <a:gd name="T32" fmla="*/ 463 w 553"/>
              <a:gd name="T33" fmla="*/ 209 h 538"/>
              <a:gd name="T34" fmla="*/ 450 w 553"/>
              <a:gd name="T35" fmla="*/ 216 h 538"/>
              <a:gd name="T36" fmla="*/ 457 w 553"/>
              <a:gd name="T37" fmla="*/ 200 h 538"/>
              <a:gd name="T38" fmla="*/ 453 w 553"/>
              <a:gd name="T39" fmla="*/ 175 h 538"/>
              <a:gd name="T40" fmla="*/ 413 w 553"/>
              <a:gd name="T41" fmla="*/ 163 h 538"/>
              <a:gd name="T42" fmla="*/ 400 w 553"/>
              <a:gd name="T43" fmla="*/ 153 h 538"/>
              <a:gd name="T44" fmla="*/ 388 w 553"/>
              <a:gd name="T45" fmla="*/ 150 h 538"/>
              <a:gd name="T46" fmla="*/ 394 w 553"/>
              <a:gd name="T47" fmla="*/ 175 h 538"/>
              <a:gd name="T48" fmla="*/ 400 w 553"/>
              <a:gd name="T49" fmla="*/ 219 h 538"/>
              <a:gd name="T50" fmla="*/ 407 w 553"/>
              <a:gd name="T51" fmla="*/ 256 h 538"/>
              <a:gd name="T52" fmla="*/ 391 w 553"/>
              <a:gd name="T53" fmla="*/ 250 h 538"/>
              <a:gd name="T54" fmla="*/ 388 w 553"/>
              <a:gd name="T55" fmla="*/ 250 h 538"/>
              <a:gd name="T56" fmla="*/ 366 w 553"/>
              <a:gd name="T57" fmla="*/ 278 h 538"/>
              <a:gd name="T58" fmla="*/ 341 w 553"/>
              <a:gd name="T59" fmla="*/ 294 h 538"/>
              <a:gd name="T60" fmla="*/ 303 w 553"/>
              <a:gd name="T61" fmla="*/ 341 h 538"/>
              <a:gd name="T62" fmla="*/ 269 w 553"/>
              <a:gd name="T63" fmla="*/ 375 h 538"/>
              <a:gd name="T64" fmla="*/ 247 w 553"/>
              <a:gd name="T65" fmla="*/ 413 h 538"/>
              <a:gd name="T66" fmla="*/ 244 w 553"/>
              <a:gd name="T67" fmla="*/ 494 h 538"/>
              <a:gd name="T68" fmla="*/ 238 w 553"/>
              <a:gd name="T69" fmla="*/ 519 h 538"/>
              <a:gd name="T70" fmla="*/ 213 w 553"/>
              <a:gd name="T71" fmla="*/ 535 h 538"/>
              <a:gd name="T72" fmla="*/ 169 w 553"/>
              <a:gd name="T73" fmla="*/ 485 h 538"/>
              <a:gd name="T74" fmla="*/ 144 w 553"/>
              <a:gd name="T75" fmla="*/ 438 h 538"/>
              <a:gd name="T76" fmla="*/ 122 w 553"/>
              <a:gd name="T77" fmla="*/ 391 h 538"/>
              <a:gd name="T78" fmla="*/ 103 w 553"/>
              <a:gd name="T79" fmla="*/ 331 h 538"/>
              <a:gd name="T80" fmla="*/ 91 w 553"/>
              <a:gd name="T81" fmla="*/ 288 h 538"/>
              <a:gd name="T82" fmla="*/ 88 w 553"/>
              <a:gd name="T83" fmla="*/ 256 h 538"/>
              <a:gd name="T84" fmla="*/ 88 w 553"/>
              <a:gd name="T85" fmla="*/ 241 h 538"/>
              <a:gd name="T86" fmla="*/ 72 w 553"/>
              <a:gd name="T87" fmla="*/ 272 h 538"/>
              <a:gd name="T88" fmla="*/ 13 w 553"/>
              <a:gd name="T89" fmla="*/ 244 h 538"/>
              <a:gd name="T90" fmla="*/ 28 w 553"/>
              <a:gd name="T91" fmla="*/ 244 h 538"/>
              <a:gd name="T92" fmla="*/ 32 w 553"/>
              <a:gd name="T93" fmla="*/ 234 h 538"/>
              <a:gd name="T94" fmla="*/ 0 w 553"/>
              <a:gd name="T95" fmla="*/ 216 h 538"/>
              <a:gd name="T96" fmla="*/ 44 w 553"/>
              <a:gd name="T97" fmla="*/ 197 h 538"/>
              <a:gd name="T98" fmla="*/ 41 w 553"/>
              <a:gd name="T99" fmla="*/ 169 h 538"/>
              <a:gd name="T100" fmla="*/ 13 w 553"/>
              <a:gd name="T101" fmla="*/ 144 h 538"/>
              <a:gd name="T102" fmla="*/ 47 w 553"/>
              <a:gd name="T103" fmla="*/ 122 h 538"/>
              <a:gd name="T104" fmla="*/ 91 w 553"/>
              <a:gd name="T105" fmla="*/ 69 h 538"/>
              <a:gd name="T106" fmla="*/ 110 w 553"/>
              <a:gd name="T107" fmla="*/ 25 h 538"/>
              <a:gd name="T108" fmla="*/ 163 w 553"/>
              <a:gd name="T109" fmla="*/ 6 h 538"/>
              <a:gd name="T110" fmla="*/ 400 w 553"/>
              <a:gd name="T111" fmla="*/ 253 h 538"/>
              <a:gd name="T112" fmla="*/ 394 w 553"/>
              <a:gd name="T113" fmla="*/ 259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3" h="538">
                <a:moveTo>
                  <a:pt x="178" y="15"/>
                </a:moveTo>
                <a:lnTo>
                  <a:pt x="178" y="19"/>
                </a:lnTo>
                <a:lnTo>
                  <a:pt x="178" y="22"/>
                </a:lnTo>
                <a:lnTo>
                  <a:pt x="185" y="25"/>
                </a:lnTo>
                <a:lnTo>
                  <a:pt x="185" y="31"/>
                </a:lnTo>
                <a:lnTo>
                  <a:pt x="185" y="34"/>
                </a:lnTo>
                <a:lnTo>
                  <a:pt x="185" y="37"/>
                </a:lnTo>
                <a:lnTo>
                  <a:pt x="188" y="41"/>
                </a:lnTo>
                <a:lnTo>
                  <a:pt x="188" y="44"/>
                </a:lnTo>
                <a:lnTo>
                  <a:pt x="188" y="47"/>
                </a:lnTo>
                <a:lnTo>
                  <a:pt x="191" y="47"/>
                </a:lnTo>
                <a:lnTo>
                  <a:pt x="191" y="50"/>
                </a:lnTo>
                <a:lnTo>
                  <a:pt x="197" y="53"/>
                </a:lnTo>
                <a:lnTo>
                  <a:pt x="197" y="50"/>
                </a:lnTo>
                <a:lnTo>
                  <a:pt x="203" y="50"/>
                </a:lnTo>
                <a:lnTo>
                  <a:pt x="203" y="50"/>
                </a:lnTo>
                <a:lnTo>
                  <a:pt x="210" y="53"/>
                </a:lnTo>
                <a:lnTo>
                  <a:pt x="213" y="56"/>
                </a:lnTo>
                <a:lnTo>
                  <a:pt x="216" y="56"/>
                </a:lnTo>
                <a:lnTo>
                  <a:pt x="219" y="62"/>
                </a:lnTo>
                <a:lnTo>
                  <a:pt x="222" y="62"/>
                </a:lnTo>
                <a:lnTo>
                  <a:pt x="222" y="66"/>
                </a:lnTo>
                <a:lnTo>
                  <a:pt x="222" y="66"/>
                </a:lnTo>
                <a:lnTo>
                  <a:pt x="225" y="72"/>
                </a:lnTo>
                <a:lnTo>
                  <a:pt x="222" y="81"/>
                </a:lnTo>
                <a:lnTo>
                  <a:pt x="222" y="87"/>
                </a:lnTo>
                <a:lnTo>
                  <a:pt x="216" y="97"/>
                </a:lnTo>
                <a:lnTo>
                  <a:pt x="219" y="100"/>
                </a:lnTo>
                <a:lnTo>
                  <a:pt x="222" y="100"/>
                </a:lnTo>
                <a:lnTo>
                  <a:pt x="225" y="103"/>
                </a:lnTo>
                <a:lnTo>
                  <a:pt x="228" y="103"/>
                </a:lnTo>
                <a:lnTo>
                  <a:pt x="232" y="106"/>
                </a:lnTo>
                <a:lnTo>
                  <a:pt x="238" y="109"/>
                </a:lnTo>
                <a:lnTo>
                  <a:pt x="247" y="112"/>
                </a:lnTo>
                <a:lnTo>
                  <a:pt x="253" y="122"/>
                </a:lnTo>
                <a:lnTo>
                  <a:pt x="263" y="122"/>
                </a:lnTo>
                <a:lnTo>
                  <a:pt x="266" y="125"/>
                </a:lnTo>
                <a:lnTo>
                  <a:pt x="272" y="125"/>
                </a:lnTo>
                <a:lnTo>
                  <a:pt x="278" y="131"/>
                </a:lnTo>
                <a:lnTo>
                  <a:pt x="288" y="128"/>
                </a:lnTo>
                <a:lnTo>
                  <a:pt x="291" y="131"/>
                </a:lnTo>
                <a:lnTo>
                  <a:pt x="300" y="128"/>
                </a:lnTo>
                <a:lnTo>
                  <a:pt x="310" y="131"/>
                </a:lnTo>
                <a:lnTo>
                  <a:pt x="313" y="137"/>
                </a:lnTo>
                <a:lnTo>
                  <a:pt x="316" y="141"/>
                </a:lnTo>
                <a:lnTo>
                  <a:pt x="328" y="144"/>
                </a:lnTo>
                <a:lnTo>
                  <a:pt x="332" y="141"/>
                </a:lnTo>
                <a:lnTo>
                  <a:pt x="338" y="141"/>
                </a:lnTo>
                <a:lnTo>
                  <a:pt x="353" y="147"/>
                </a:lnTo>
                <a:lnTo>
                  <a:pt x="360" y="147"/>
                </a:lnTo>
                <a:lnTo>
                  <a:pt x="366" y="150"/>
                </a:lnTo>
                <a:lnTo>
                  <a:pt x="378" y="147"/>
                </a:lnTo>
                <a:lnTo>
                  <a:pt x="378" y="137"/>
                </a:lnTo>
                <a:lnTo>
                  <a:pt x="375" y="131"/>
                </a:lnTo>
                <a:lnTo>
                  <a:pt x="378" y="122"/>
                </a:lnTo>
                <a:lnTo>
                  <a:pt x="375" y="116"/>
                </a:lnTo>
                <a:lnTo>
                  <a:pt x="375" y="116"/>
                </a:lnTo>
                <a:lnTo>
                  <a:pt x="382" y="112"/>
                </a:lnTo>
                <a:lnTo>
                  <a:pt x="385" y="112"/>
                </a:lnTo>
                <a:lnTo>
                  <a:pt x="388" y="119"/>
                </a:lnTo>
                <a:lnTo>
                  <a:pt x="388" y="122"/>
                </a:lnTo>
                <a:lnTo>
                  <a:pt x="391" y="125"/>
                </a:lnTo>
                <a:lnTo>
                  <a:pt x="391" y="125"/>
                </a:lnTo>
                <a:lnTo>
                  <a:pt x="391" y="128"/>
                </a:lnTo>
                <a:lnTo>
                  <a:pt x="391" y="134"/>
                </a:lnTo>
                <a:lnTo>
                  <a:pt x="394" y="137"/>
                </a:lnTo>
                <a:lnTo>
                  <a:pt x="400" y="141"/>
                </a:lnTo>
                <a:lnTo>
                  <a:pt x="403" y="137"/>
                </a:lnTo>
                <a:lnTo>
                  <a:pt x="413" y="144"/>
                </a:lnTo>
                <a:lnTo>
                  <a:pt x="419" y="144"/>
                </a:lnTo>
                <a:lnTo>
                  <a:pt x="422" y="141"/>
                </a:lnTo>
                <a:lnTo>
                  <a:pt x="425" y="137"/>
                </a:lnTo>
                <a:lnTo>
                  <a:pt x="428" y="141"/>
                </a:lnTo>
                <a:lnTo>
                  <a:pt x="438" y="137"/>
                </a:lnTo>
                <a:lnTo>
                  <a:pt x="441" y="137"/>
                </a:lnTo>
                <a:lnTo>
                  <a:pt x="450" y="137"/>
                </a:lnTo>
                <a:lnTo>
                  <a:pt x="450" y="134"/>
                </a:lnTo>
                <a:lnTo>
                  <a:pt x="450" y="128"/>
                </a:lnTo>
                <a:lnTo>
                  <a:pt x="444" y="125"/>
                </a:lnTo>
                <a:lnTo>
                  <a:pt x="444" y="122"/>
                </a:lnTo>
                <a:lnTo>
                  <a:pt x="444" y="116"/>
                </a:lnTo>
                <a:lnTo>
                  <a:pt x="447" y="116"/>
                </a:lnTo>
                <a:lnTo>
                  <a:pt x="453" y="116"/>
                </a:lnTo>
                <a:lnTo>
                  <a:pt x="457" y="116"/>
                </a:lnTo>
                <a:lnTo>
                  <a:pt x="460" y="109"/>
                </a:lnTo>
                <a:lnTo>
                  <a:pt x="463" y="106"/>
                </a:lnTo>
                <a:lnTo>
                  <a:pt x="466" y="109"/>
                </a:lnTo>
                <a:lnTo>
                  <a:pt x="466" y="106"/>
                </a:lnTo>
                <a:lnTo>
                  <a:pt x="469" y="103"/>
                </a:lnTo>
                <a:lnTo>
                  <a:pt x="472" y="100"/>
                </a:lnTo>
                <a:lnTo>
                  <a:pt x="475" y="97"/>
                </a:lnTo>
                <a:lnTo>
                  <a:pt x="478" y="97"/>
                </a:lnTo>
                <a:lnTo>
                  <a:pt x="485" y="94"/>
                </a:lnTo>
                <a:lnTo>
                  <a:pt x="491" y="87"/>
                </a:lnTo>
                <a:lnTo>
                  <a:pt x="491" y="84"/>
                </a:lnTo>
                <a:lnTo>
                  <a:pt x="494" y="84"/>
                </a:lnTo>
                <a:lnTo>
                  <a:pt x="497" y="81"/>
                </a:lnTo>
                <a:lnTo>
                  <a:pt x="500" y="84"/>
                </a:lnTo>
                <a:lnTo>
                  <a:pt x="507" y="84"/>
                </a:lnTo>
                <a:lnTo>
                  <a:pt x="513" y="87"/>
                </a:lnTo>
                <a:lnTo>
                  <a:pt x="516" y="84"/>
                </a:lnTo>
                <a:lnTo>
                  <a:pt x="516" y="81"/>
                </a:lnTo>
                <a:lnTo>
                  <a:pt x="522" y="75"/>
                </a:lnTo>
                <a:lnTo>
                  <a:pt x="525" y="78"/>
                </a:lnTo>
                <a:lnTo>
                  <a:pt x="528" y="81"/>
                </a:lnTo>
                <a:lnTo>
                  <a:pt x="532" y="78"/>
                </a:lnTo>
                <a:lnTo>
                  <a:pt x="532" y="81"/>
                </a:lnTo>
                <a:lnTo>
                  <a:pt x="528" y="87"/>
                </a:lnTo>
                <a:lnTo>
                  <a:pt x="532" y="91"/>
                </a:lnTo>
                <a:lnTo>
                  <a:pt x="535" y="87"/>
                </a:lnTo>
                <a:lnTo>
                  <a:pt x="535" y="87"/>
                </a:lnTo>
                <a:lnTo>
                  <a:pt x="538" y="91"/>
                </a:lnTo>
                <a:lnTo>
                  <a:pt x="541" y="94"/>
                </a:lnTo>
                <a:lnTo>
                  <a:pt x="541" y="97"/>
                </a:lnTo>
                <a:lnTo>
                  <a:pt x="538" y="100"/>
                </a:lnTo>
                <a:lnTo>
                  <a:pt x="538" y="103"/>
                </a:lnTo>
                <a:lnTo>
                  <a:pt x="541" y="106"/>
                </a:lnTo>
                <a:lnTo>
                  <a:pt x="544" y="103"/>
                </a:lnTo>
                <a:lnTo>
                  <a:pt x="547" y="106"/>
                </a:lnTo>
                <a:lnTo>
                  <a:pt x="550" y="109"/>
                </a:lnTo>
                <a:lnTo>
                  <a:pt x="553" y="112"/>
                </a:lnTo>
                <a:lnTo>
                  <a:pt x="547" y="116"/>
                </a:lnTo>
                <a:lnTo>
                  <a:pt x="547" y="122"/>
                </a:lnTo>
                <a:lnTo>
                  <a:pt x="550" y="125"/>
                </a:lnTo>
                <a:lnTo>
                  <a:pt x="547" y="122"/>
                </a:lnTo>
                <a:lnTo>
                  <a:pt x="541" y="122"/>
                </a:lnTo>
                <a:lnTo>
                  <a:pt x="538" y="125"/>
                </a:lnTo>
                <a:lnTo>
                  <a:pt x="532" y="125"/>
                </a:lnTo>
                <a:lnTo>
                  <a:pt x="528" y="131"/>
                </a:lnTo>
                <a:lnTo>
                  <a:pt x="525" y="137"/>
                </a:lnTo>
                <a:lnTo>
                  <a:pt x="519" y="137"/>
                </a:lnTo>
                <a:lnTo>
                  <a:pt x="513" y="150"/>
                </a:lnTo>
                <a:lnTo>
                  <a:pt x="513" y="153"/>
                </a:lnTo>
                <a:lnTo>
                  <a:pt x="513" y="156"/>
                </a:lnTo>
                <a:lnTo>
                  <a:pt x="513" y="163"/>
                </a:lnTo>
                <a:lnTo>
                  <a:pt x="507" y="172"/>
                </a:lnTo>
                <a:lnTo>
                  <a:pt x="507" y="175"/>
                </a:lnTo>
                <a:lnTo>
                  <a:pt x="510" y="178"/>
                </a:lnTo>
                <a:lnTo>
                  <a:pt x="507" y="188"/>
                </a:lnTo>
                <a:lnTo>
                  <a:pt x="503" y="197"/>
                </a:lnTo>
                <a:lnTo>
                  <a:pt x="500" y="203"/>
                </a:lnTo>
                <a:lnTo>
                  <a:pt x="497" y="203"/>
                </a:lnTo>
                <a:lnTo>
                  <a:pt x="494" y="203"/>
                </a:lnTo>
                <a:lnTo>
                  <a:pt x="488" y="203"/>
                </a:lnTo>
                <a:lnTo>
                  <a:pt x="491" y="213"/>
                </a:lnTo>
                <a:lnTo>
                  <a:pt x="491" y="216"/>
                </a:lnTo>
                <a:lnTo>
                  <a:pt x="491" y="225"/>
                </a:lnTo>
                <a:lnTo>
                  <a:pt x="488" y="225"/>
                </a:lnTo>
                <a:lnTo>
                  <a:pt x="488" y="228"/>
                </a:lnTo>
                <a:lnTo>
                  <a:pt x="488" y="234"/>
                </a:lnTo>
                <a:lnTo>
                  <a:pt x="488" y="238"/>
                </a:lnTo>
                <a:lnTo>
                  <a:pt x="485" y="244"/>
                </a:lnTo>
                <a:lnTo>
                  <a:pt x="485" y="244"/>
                </a:lnTo>
                <a:lnTo>
                  <a:pt x="482" y="244"/>
                </a:lnTo>
                <a:lnTo>
                  <a:pt x="482" y="247"/>
                </a:lnTo>
                <a:lnTo>
                  <a:pt x="482" y="250"/>
                </a:lnTo>
                <a:lnTo>
                  <a:pt x="478" y="250"/>
                </a:lnTo>
                <a:lnTo>
                  <a:pt x="478" y="247"/>
                </a:lnTo>
                <a:lnTo>
                  <a:pt x="478" y="247"/>
                </a:lnTo>
                <a:lnTo>
                  <a:pt x="478" y="244"/>
                </a:lnTo>
                <a:lnTo>
                  <a:pt x="475" y="241"/>
                </a:lnTo>
                <a:lnTo>
                  <a:pt x="475" y="238"/>
                </a:lnTo>
                <a:lnTo>
                  <a:pt x="472" y="228"/>
                </a:lnTo>
                <a:lnTo>
                  <a:pt x="472" y="225"/>
                </a:lnTo>
                <a:lnTo>
                  <a:pt x="472" y="222"/>
                </a:lnTo>
                <a:lnTo>
                  <a:pt x="472" y="216"/>
                </a:lnTo>
                <a:lnTo>
                  <a:pt x="469" y="213"/>
                </a:lnTo>
                <a:lnTo>
                  <a:pt x="469" y="213"/>
                </a:lnTo>
                <a:lnTo>
                  <a:pt x="466" y="213"/>
                </a:lnTo>
                <a:lnTo>
                  <a:pt x="463" y="209"/>
                </a:lnTo>
                <a:lnTo>
                  <a:pt x="460" y="213"/>
                </a:lnTo>
                <a:lnTo>
                  <a:pt x="463" y="213"/>
                </a:lnTo>
                <a:lnTo>
                  <a:pt x="460" y="216"/>
                </a:lnTo>
                <a:lnTo>
                  <a:pt x="460" y="216"/>
                </a:lnTo>
                <a:lnTo>
                  <a:pt x="460" y="219"/>
                </a:lnTo>
                <a:lnTo>
                  <a:pt x="460" y="222"/>
                </a:lnTo>
                <a:lnTo>
                  <a:pt x="460" y="225"/>
                </a:lnTo>
                <a:lnTo>
                  <a:pt x="457" y="225"/>
                </a:lnTo>
                <a:lnTo>
                  <a:pt x="453" y="219"/>
                </a:lnTo>
                <a:lnTo>
                  <a:pt x="450" y="216"/>
                </a:lnTo>
                <a:lnTo>
                  <a:pt x="450" y="216"/>
                </a:lnTo>
                <a:lnTo>
                  <a:pt x="447" y="213"/>
                </a:lnTo>
                <a:lnTo>
                  <a:pt x="447" y="209"/>
                </a:lnTo>
                <a:lnTo>
                  <a:pt x="447" y="206"/>
                </a:lnTo>
                <a:lnTo>
                  <a:pt x="447" y="203"/>
                </a:lnTo>
                <a:lnTo>
                  <a:pt x="450" y="203"/>
                </a:lnTo>
                <a:lnTo>
                  <a:pt x="453" y="200"/>
                </a:lnTo>
                <a:lnTo>
                  <a:pt x="453" y="200"/>
                </a:lnTo>
                <a:lnTo>
                  <a:pt x="457" y="200"/>
                </a:lnTo>
                <a:lnTo>
                  <a:pt x="457" y="200"/>
                </a:lnTo>
                <a:lnTo>
                  <a:pt x="457" y="197"/>
                </a:lnTo>
                <a:lnTo>
                  <a:pt x="460" y="194"/>
                </a:lnTo>
                <a:lnTo>
                  <a:pt x="463" y="188"/>
                </a:lnTo>
                <a:lnTo>
                  <a:pt x="463" y="184"/>
                </a:lnTo>
                <a:lnTo>
                  <a:pt x="466" y="178"/>
                </a:lnTo>
                <a:lnTo>
                  <a:pt x="463" y="178"/>
                </a:lnTo>
                <a:lnTo>
                  <a:pt x="460" y="175"/>
                </a:lnTo>
                <a:lnTo>
                  <a:pt x="457" y="175"/>
                </a:lnTo>
                <a:lnTo>
                  <a:pt x="457" y="175"/>
                </a:lnTo>
                <a:lnTo>
                  <a:pt x="453" y="175"/>
                </a:lnTo>
                <a:lnTo>
                  <a:pt x="447" y="175"/>
                </a:lnTo>
                <a:lnTo>
                  <a:pt x="441" y="175"/>
                </a:lnTo>
                <a:lnTo>
                  <a:pt x="432" y="175"/>
                </a:lnTo>
                <a:lnTo>
                  <a:pt x="428" y="175"/>
                </a:lnTo>
                <a:lnTo>
                  <a:pt x="422" y="172"/>
                </a:lnTo>
                <a:lnTo>
                  <a:pt x="419" y="175"/>
                </a:lnTo>
                <a:lnTo>
                  <a:pt x="416" y="172"/>
                </a:lnTo>
                <a:lnTo>
                  <a:pt x="416" y="169"/>
                </a:lnTo>
                <a:lnTo>
                  <a:pt x="416" y="166"/>
                </a:lnTo>
                <a:lnTo>
                  <a:pt x="413" y="163"/>
                </a:lnTo>
                <a:lnTo>
                  <a:pt x="413" y="159"/>
                </a:lnTo>
                <a:lnTo>
                  <a:pt x="410" y="153"/>
                </a:lnTo>
                <a:lnTo>
                  <a:pt x="410" y="153"/>
                </a:lnTo>
                <a:lnTo>
                  <a:pt x="410" y="156"/>
                </a:lnTo>
                <a:lnTo>
                  <a:pt x="403" y="153"/>
                </a:lnTo>
                <a:lnTo>
                  <a:pt x="403" y="153"/>
                </a:lnTo>
                <a:lnTo>
                  <a:pt x="400" y="150"/>
                </a:lnTo>
                <a:lnTo>
                  <a:pt x="397" y="150"/>
                </a:lnTo>
                <a:lnTo>
                  <a:pt x="397" y="153"/>
                </a:lnTo>
                <a:lnTo>
                  <a:pt x="400" y="153"/>
                </a:lnTo>
                <a:lnTo>
                  <a:pt x="397" y="153"/>
                </a:lnTo>
                <a:lnTo>
                  <a:pt x="394" y="153"/>
                </a:lnTo>
                <a:lnTo>
                  <a:pt x="391" y="150"/>
                </a:lnTo>
                <a:lnTo>
                  <a:pt x="391" y="147"/>
                </a:lnTo>
                <a:lnTo>
                  <a:pt x="388" y="144"/>
                </a:lnTo>
                <a:lnTo>
                  <a:pt x="388" y="144"/>
                </a:lnTo>
                <a:lnTo>
                  <a:pt x="385" y="147"/>
                </a:lnTo>
                <a:lnTo>
                  <a:pt x="385" y="147"/>
                </a:lnTo>
                <a:lnTo>
                  <a:pt x="385" y="147"/>
                </a:lnTo>
                <a:lnTo>
                  <a:pt x="388" y="150"/>
                </a:lnTo>
                <a:lnTo>
                  <a:pt x="385" y="156"/>
                </a:lnTo>
                <a:lnTo>
                  <a:pt x="382" y="159"/>
                </a:lnTo>
                <a:lnTo>
                  <a:pt x="382" y="166"/>
                </a:lnTo>
                <a:lnTo>
                  <a:pt x="388" y="169"/>
                </a:lnTo>
                <a:lnTo>
                  <a:pt x="394" y="166"/>
                </a:lnTo>
                <a:lnTo>
                  <a:pt x="397" y="166"/>
                </a:lnTo>
                <a:lnTo>
                  <a:pt x="397" y="169"/>
                </a:lnTo>
                <a:lnTo>
                  <a:pt x="397" y="175"/>
                </a:lnTo>
                <a:lnTo>
                  <a:pt x="394" y="175"/>
                </a:lnTo>
                <a:lnTo>
                  <a:pt x="394" y="175"/>
                </a:lnTo>
                <a:lnTo>
                  <a:pt x="391" y="178"/>
                </a:lnTo>
                <a:lnTo>
                  <a:pt x="388" y="181"/>
                </a:lnTo>
                <a:lnTo>
                  <a:pt x="385" y="184"/>
                </a:lnTo>
                <a:lnTo>
                  <a:pt x="385" y="191"/>
                </a:lnTo>
                <a:lnTo>
                  <a:pt x="388" y="197"/>
                </a:lnTo>
                <a:lnTo>
                  <a:pt x="394" y="197"/>
                </a:lnTo>
                <a:lnTo>
                  <a:pt x="400" y="203"/>
                </a:lnTo>
                <a:lnTo>
                  <a:pt x="400" y="209"/>
                </a:lnTo>
                <a:lnTo>
                  <a:pt x="400" y="216"/>
                </a:lnTo>
                <a:lnTo>
                  <a:pt x="400" y="219"/>
                </a:lnTo>
                <a:lnTo>
                  <a:pt x="400" y="225"/>
                </a:lnTo>
                <a:lnTo>
                  <a:pt x="407" y="234"/>
                </a:lnTo>
                <a:lnTo>
                  <a:pt x="407" y="238"/>
                </a:lnTo>
                <a:lnTo>
                  <a:pt x="410" y="241"/>
                </a:lnTo>
                <a:lnTo>
                  <a:pt x="410" y="247"/>
                </a:lnTo>
                <a:lnTo>
                  <a:pt x="407" y="247"/>
                </a:lnTo>
                <a:lnTo>
                  <a:pt x="410" y="253"/>
                </a:lnTo>
                <a:lnTo>
                  <a:pt x="410" y="256"/>
                </a:lnTo>
                <a:lnTo>
                  <a:pt x="407" y="253"/>
                </a:lnTo>
                <a:lnTo>
                  <a:pt x="407" y="256"/>
                </a:lnTo>
                <a:lnTo>
                  <a:pt x="403" y="253"/>
                </a:lnTo>
                <a:lnTo>
                  <a:pt x="400" y="250"/>
                </a:lnTo>
                <a:lnTo>
                  <a:pt x="400" y="247"/>
                </a:lnTo>
                <a:lnTo>
                  <a:pt x="400" y="250"/>
                </a:lnTo>
                <a:lnTo>
                  <a:pt x="400" y="250"/>
                </a:lnTo>
                <a:lnTo>
                  <a:pt x="400" y="250"/>
                </a:lnTo>
                <a:lnTo>
                  <a:pt x="397" y="250"/>
                </a:lnTo>
                <a:lnTo>
                  <a:pt x="394" y="250"/>
                </a:lnTo>
                <a:lnTo>
                  <a:pt x="394" y="253"/>
                </a:lnTo>
                <a:lnTo>
                  <a:pt x="391" y="250"/>
                </a:lnTo>
                <a:lnTo>
                  <a:pt x="391" y="247"/>
                </a:lnTo>
                <a:lnTo>
                  <a:pt x="391" y="244"/>
                </a:lnTo>
                <a:lnTo>
                  <a:pt x="388" y="241"/>
                </a:lnTo>
                <a:lnTo>
                  <a:pt x="385" y="241"/>
                </a:lnTo>
                <a:lnTo>
                  <a:pt x="385" y="241"/>
                </a:lnTo>
                <a:lnTo>
                  <a:pt x="388" y="241"/>
                </a:lnTo>
                <a:lnTo>
                  <a:pt x="391" y="244"/>
                </a:lnTo>
                <a:lnTo>
                  <a:pt x="388" y="244"/>
                </a:lnTo>
                <a:lnTo>
                  <a:pt x="388" y="247"/>
                </a:lnTo>
                <a:lnTo>
                  <a:pt x="388" y="250"/>
                </a:lnTo>
                <a:lnTo>
                  <a:pt x="385" y="253"/>
                </a:lnTo>
                <a:lnTo>
                  <a:pt x="372" y="259"/>
                </a:lnTo>
                <a:lnTo>
                  <a:pt x="369" y="259"/>
                </a:lnTo>
                <a:lnTo>
                  <a:pt x="369" y="263"/>
                </a:lnTo>
                <a:lnTo>
                  <a:pt x="366" y="266"/>
                </a:lnTo>
                <a:lnTo>
                  <a:pt x="369" y="269"/>
                </a:lnTo>
                <a:lnTo>
                  <a:pt x="369" y="272"/>
                </a:lnTo>
                <a:lnTo>
                  <a:pt x="369" y="275"/>
                </a:lnTo>
                <a:lnTo>
                  <a:pt x="369" y="275"/>
                </a:lnTo>
                <a:lnTo>
                  <a:pt x="366" y="278"/>
                </a:lnTo>
                <a:lnTo>
                  <a:pt x="366" y="281"/>
                </a:lnTo>
                <a:lnTo>
                  <a:pt x="363" y="285"/>
                </a:lnTo>
                <a:lnTo>
                  <a:pt x="363" y="285"/>
                </a:lnTo>
                <a:lnTo>
                  <a:pt x="357" y="291"/>
                </a:lnTo>
                <a:lnTo>
                  <a:pt x="357" y="294"/>
                </a:lnTo>
                <a:lnTo>
                  <a:pt x="347" y="297"/>
                </a:lnTo>
                <a:lnTo>
                  <a:pt x="344" y="297"/>
                </a:lnTo>
                <a:lnTo>
                  <a:pt x="344" y="294"/>
                </a:lnTo>
                <a:lnTo>
                  <a:pt x="344" y="294"/>
                </a:lnTo>
                <a:lnTo>
                  <a:pt x="341" y="294"/>
                </a:lnTo>
                <a:lnTo>
                  <a:pt x="338" y="297"/>
                </a:lnTo>
                <a:lnTo>
                  <a:pt x="338" y="297"/>
                </a:lnTo>
                <a:lnTo>
                  <a:pt x="335" y="303"/>
                </a:lnTo>
                <a:lnTo>
                  <a:pt x="338" y="300"/>
                </a:lnTo>
                <a:lnTo>
                  <a:pt x="341" y="300"/>
                </a:lnTo>
                <a:lnTo>
                  <a:pt x="341" y="300"/>
                </a:lnTo>
                <a:lnTo>
                  <a:pt x="328" y="313"/>
                </a:lnTo>
                <a:lnTo>
                  <a:pt x="325" y="322"/>
                </a:lnTo>
                <a:lnTo>
                  <a:pt x="307" y="335"/>
                </a:lnTo>
                <a:lnTo>
                  <a:pt x="303" y="341"/>
                </a:lnTo>
                <a:lnTo>
                  <a:pt x="300" y="344"/>
                </a:lnTo>
                <a:lnTo>
                  <a:pt x="294" y="347"/>
                </a:lnTo>
                <a:lnTo>
                  <a:pt x="288" y="353"/>
                </a:lnTo>
                <a:lnTo>
                  <a:pt x="288" y="356"/>
                </a:lnTo>
                <a:lnTo>
                  <a:pt x="288" y="360"/>
                </a:lnTo>
                <a:lnTo>
                  <a:pt x="285" y="366"/>
                </a:lnTo>
                <a:lnTo>
                  <a:pt x="282" y="369"/>
                </a:lnTo>
                <a:lnTo>
                  <a:pt x="272" y="366"/>
                </a:lnTo>
                <a:lnTo>
                  <a:pt x="269" y="369"/>
                </a:lnTo>
                <a:lnTo>
                  <a:pt x="269" y="375"/>
                </a:lnTo>
                <a:lnTo>
                  <a:pt x="263" y="381"/>
                </a:lnTo>
                <a:lnTo>
                  <a:pt x="260" y="381"/>
                </a:lnTo>
                <a:lnTo>
                  <a:pt x="257" y="378"/>
                </a:lnTo>
                <a:lnTo>
                  <a:pt x="257" y="378"/>
                </a:lnTo>
                <a:lnTo>
                  <a:pt x="250" y="385"/>
                </a:lnTo>
                <a:lnTo>
                  <a:pt x="247" y="388"/>
                </a:lnTo>
                <a:lnTo>
                  <a:pt x="247" y="394"/>
                </a:lnTo>
                <a:lnTo>
                  <a:pt x="250" y="403"/>
                </a:lnTo>
                <a:lnTo>
                  <a:pt x="247" y="410"/>
                </a:lnTo>
                <a:lnTo>
                  <a:pt x="247" y="413"/>
                </a:lnTo>
                <a:lnTo>
                  <a:pt x="247" y="428"/>
                </a:lnTo>
                <a:lnTo>
                  <a:pt x="253" y="432"/>
                </a:lnTo>
                <a:lnTo>
                  <a:pt x="253" y="441"/>
                </a:lnTo>
                <a:lnTo>
                  <a:pt x="250" y="453"/>
                </a:lnTo>
                <a:lnTo>
                  <a:pt x="244" y="463"/>
                </a:lnTo>
                <a:lnTo>
                  <a:pt x="244" y="469"/>
                </a:lnTo>
                <a:lnTo>
                  <a:pt x="247" y="472"/>
                </a:lnTo>
                <a:lnTo>
                  <a:pt x="247" y="488"/>
                </a:lnTo>
                <a:lnTo>
                  <a:pt x="247" y="494"/>
                </a:lnTo>
                <a:lnTo>
                  <a:pt x="244" y="494"/>
                </a:lnTo>
                <a:lnTo>
                  <a:pt x="241" y="494"/>
                </a:lnTo>
                <a:lnTo>
                  <a:pt x="238" y="494"/>
                </a:lnTo>
                <a:lnTo>
                  <a:pt x="235" y="497"/>
                </a:lnTo>
                <a:lnTo>
                  <a:pt x="235" y="500"/>
                </a:lnTo>
                <a:lnTo>
                  <a:pt x="232" y="507"/>
                </a:lnTo>
                <a:lnTo>
                  <a:pt x="228" y="510"/>
                </a:lnTo>
                <a:lnTo>
                  <a:pt x="228" y="513"/>
                </a:lnTo>
                <a:lnTo>
                  <a:pt x="235" y="516"/>
                </a:lnTo>
                <a:lnTo>
                  <a:pt x="238" y="516"/>
                </a:lnTo>
                <a:lnTo>
                  <a:pt x="238" y="519"/>
                </a:lnTo>
                <a:lnTo>
                  <a:pt x="235" y="516"/>
                </a:lnTo>
                <a:lnTo>
                  <a:pt x="232" y="516"/>
                </a:lnTo>
                <a:lnTo>
                  <a:pt x="225" y="519"/>
                </a:lnTo>
                <a:lnTo>
                  <a:pt x="222" y="516"/>
                </a:lnTo>
                <a:lnTo>
                  <a:pt x="216" y="519"/>
                </a:lnTo>
                <a:lnTo>
                  <a:pt x="213" y="525"/>
                </a:lnTo>
                <a:lnTo>
                  <a:pt x="213" y="525"/>
                </a:lnTo>
                <a:lnTo>
                  <a:pt x="213" y="529"/>
                </a:lnTo>
                <a:lnTo>
                  <a:pt x="213" y="529"/>
                </a:lnTo>
                <a:lnTo>
                  <a:pt x="213" y="535"/>
                </a:lnTo>
                <a:lnTo>
                  <a:pt x="203" y="538"/>
                </a:lnTo>
                <a:lnTo>
                  <a:pt x="197" y="538"/>
                </a:lnTo>
                <a:lnTo>
                  <a:pt x="191" y="535"/>
                </a:lnTo>
                <a:lnTo>
                  <a:pt x="185" y="525"/>
                </a:lnTo>
                <a:lnTo>
                  <a:pt x="178" y="513"/>
                </a:lnTo>
                <a:lnTo>
                  <a:pt x="178" y="503"/>
                </a:lnTo>
                <a:lnTo>
                  <a:pt x="175" y="497"/>
                </a:lnTo>
                <a:lnTo>
                  <a:pt x="172" y="488"/>
                </a:lnTo>
                <a:lnTo>
                  <a:pt x="172" y="485"/>
                </a:lnTo>
                <a:lnTo>
                  <a:pt x="169" y="485"/>
                </a:lnTo>
                <a:lnTo>
                  <a:pt x="169" y="478"/>
                </a:lnTo>
                <a:lnTo>
                  <a:pt x="166" y="472"/>
                </a:lnTo>
                <a:lnTo>
                  <a:pt x="160" y="466"/>
                </a:lnTo>
                <a:lnTo>
                  <a:pt x="157" y="460"/>
                </a:lnTo>
                <a:lnTo>
                  <a:pt x="157" y="460"/>
                </a:lnTo>
                <a:lnTo>
                  <a:pt x="150" y="453"/>
                </a:lnTo>
                <a:lnTo>
                  <a:pt x="147" y="450"/>
                </a:lnTo>
                <a:lnTo>
                  <a:pt x="147" y="447"/>
                </a:lnTo>
                <a:lnTo>
                  <a:pt x="147" y="441"/>
                </a:lnTo>
                <a:lnTo>
                  <a:pt x="144" y="438"/>
                </a:lnTo>
                <a:lnTo>
                  <a:pt x="141" y="428"/>
                </a:lnTo>
                <a:lnTo>
                  <a:pt x="138" y="422"/>
                </a:lnTo>
                <a:lnTo>
                  <a:pt x="138" y="416"/>
                </a:lnTo>
                <a:lnTo>
                  <a:pt x="135" y="413"/>
                </a:lnTo>
                <a:lnTo>
                  <a:pt x="135" y="407"/>
                </a:lnTo>
                <a:lnTo>
                  <a:pt x="135" y="407"/>
                </a:lnTo>
                <a:lnTo>
                  <a:pt x="128" y="400"/>
                </a:lnTo>
                <a:lnTo>
                  <a:pt x="128" y="397"/>
                </a:lnTo>
                <a:lnTo>
                  <a:pt x="128" y="397"/>
                </a:lnTo>
                <a:lnTo>
                  <a:pt x="122" y="391"/>
                </a:lnTo>
                <a:lnTo>
                  <a:pt x="122" y="388"/>
                </a:lnTo>
                <a:lnTo>
                  <a:pt x="119" y="385"/>
                </a:lnTo>
                <a:lnTo>
                  <a:pt x="119" y="381"/>
                </a:lnTo>
                <a:lnTo>
                  <a:pt x="116" y="378"/>
                </a:lnTo>
                <a:lnTo>
                  <a:pt x="113" y="369"/>
                </a:lnTo>
                <a:lnTo>
                  <a:pt x="113" y="360"/>
                </a:lnTo>
                <a:lnTo>
                  <a:pt x="103" y="341"/>
                </a:lnTo>
                <a:lnTo>
                  <a:pt x="103" y="338"/>
                </a:lnTo>
                <a:lnTo>
                  <a:pt x="100" y="331"/>
                </a:lnTo>
                <a:lnTo>
                  <a:pt x="103" y="331"/>
                </a:lnTo>
                <a:lnTo>
                  <a:pt x="97" y="322"/>
                </a:lnTo>
                <a:lnTo>
                  <a:pt x="97" y="319"/>
                </a:lnTo>
                <a:lnTo>
                  <a:pt x="100" y="319"/>
                </a:lnTo>
                <a:lnTo>
                  <a:pt x="100" y="316"/>
                </a:lnTo>
                <a:lnTo>
                  <a:pt x="97" y="313"/>
                </a:lnTo>
                <a:lnTo>
                  <a:pt x="94" y="300"/>
                </a:lnTo>
                <a:lnTo>
                  <a:pt x="91" y="294"/>
                </a:lnTo>
                <a:lnTo>
                  <a:pt x="94" y="294"/>
                </a:lnTo>
                <a:lnTo>
                  <a:pt x="91" y="291"/>
                </a:lnTo>
                <a:lnTo>
                  <a:pt x="91" y="288"/>
                </a:lnTo>
                <a:lnTo>
                  <a:pt x="94" y="285"/>
                </a:lnTo>
                <a:lnTo>
                  <a:pt x="94" y="278"/>
                </a:lnTo>
                <a:lnTo>
                  <a:pt x="91" y="272"/>
                </a:lnTo>
                <a:lnTo>
                  <a:pt x="91" y="272"/>
                </a:lnTo>
                <a:lnTo>
                  <a:pt x="88" y="263"/>
                </a:lnTo>
                <a:lnTo>
                  <a:pt x="91" y="259"/>
                </a:lnTo>
                <a:lnTo>
                  <a:pt x="94" y="256"/>
                </a:lnTo>
                <a:lnTo>
                  <a:pt x="97" y="256"/>
                </a:lnTo>
                <a:lnTo>
                  <a:pt x="94" y="256"/>
                </a:lnTo>
                <a:lnTo>
                  <a:pt x="88" y="256"/>
                </a:lnTo>
                <a:lnTo>
                  <a:pt x="88" y="256"/>
                </a:lnTo>
                <a:lnTo>
                  <a:pt x="88" y="253"/>
                </a:lnTo>
                <a:lnTo>
                  <a:pt x="85" y="250"/>
                </a:lnTo>
                <a:lnTo>
                  <a:pt x="85" y="247"/>
                </a:lnTo>
                <a:lnTo>
                  <a:pt x="88" y="244"/>
                </a:lnTo>
                <a:lnTo>
                  <a:pt x="88" y="244"/>
                </a:lnTo>
                <a:lnTo>
                  <a:pt x="94" y="241"/>
                </a:lnTo>
                <a:lnTo>
                  <a:pt x="94" y="241"/>
                </a:lnTo>
                <a:lnTo>
                  <a:pt x="91" y="241"/>
                </a:lnTo>
                <a:lnTo>
                  <a:pt x="88" y="241"/>
                </a:lnTo>
                <a:lnTo>
                  <a:pt x="85" y="241"/>
                </a:lnTo>
                <a:lnTo>
                  <a:pt x="82" y="238"/>
                </a:lnTo>
                <a:lnTo>
                  <a:pt x="82" y="241"/>
                </a:lnTo>
                <a:lnTo>
                  <a:pt x="82" y="244"/>
                </a:lnTo>
                <a:lnTo>
                  <a:pt x="78" y="253"/>
                </a:lnTo>
                <a:lnTo>
                  <a:pt x="82" y="256"/>
                </a:lnTo>
                <a:lnTo>
                  <a:pt x="82" y="263"/>
                </a:lnTo>
                <a:lnTo>
                  <a:pt x="78" y="266"/>
                </a:lnTo>
                <a:lnTo>
                  <a:pt x="78" y="269"/>
                </a:lnTo>
                <a:lnTo>
                  <a:pt x="72" y="272"/>
                </a:lnTo>
                <a:lnTo>
                  <a:pt x="60" y="278"/>
                </a:lnTo>
                <a:lnTo>
                  <a:pt x="57" y="278"/>
                </a:lnTo>
                <a:lnTo>
                  <a:pt x="50" y="278"/>
                </a:lnTo>
                <a:lnTo>
                  <a:pt x="35" y="266"/>
                </a:lnTo>
                <a:lnTo>
                  <a:pt x="28" y="256"/>
                </a:lnTo>
                <a:lnTo>
                  <a:pt x="28" y="256"/>
                </a:lnTo>
                <a:lnTo>
                  <a:pt x="25" y="256"/>
                </a:lnTo>
                <a:lnTo>
                  <a:pt x="22" y="253"/>
                </a:lnTo>
                <a:lnTo>
                  <a:pt x="16" y="247"/>
                </a:lnTo>
                <a:lnTo>
                  <a:pt x="13" y="244"/>
                </a:lnTo>
                <a:lnTo>
                  <a:pt x="16" y="241"/>
                </a:lnTo>
                <a:lnTo>
                  <a:pt x="16" y="241"/>
                </a:lnTo>
                <a:lnTo>
                  <a:pt x="19" y="241"/>
                </a:lnTo>
                <a:lnTo>
                  <a:pt x="19" y="241"/>
                </a:lnTo>
                <a:lnTo>
                  <a:pt x="19" y="247"/>
                </a:lnTo>
                <a:lnTo>
                  <a:pt x="22" y="247"/>
                </a:lnTo>
                <a:lnTo>
                  <a:pt x="25" y="244"/>
                </a:lnTo>
                <a:lnTo>
                  <a:pt x="25" y="244"/>
                </a:lnTo>
                <a:lnTo>
                  <a:pt x="28" y="247"/>
                </a:lnTo>
                <a:lnTo>
                  <a:pt x="28" y="244"/>
                </a:lnTo>
                <a:lnTo>
                  <a:pt x="38" y="238"/>
                </a:lnTo>
                <a:lnTo>
                  <a:pt x="41" y="238"/>
                </a:lnTo>
                <a:lnTo>
                  <a:pt x="44" y="231"/>
                </a:lnTo>
                <a:lnTo>
                  <a:pt x="44" y="231"/>
                </a:lnTo>
                <a:lnTo>
                  <a:pt x="47" y="228"/>
                </a:lnTo>
                <a:lnTo>
                  <a:pt x="41" y="228"/>
                </a:lnTo>
                <a:lnTo>
                  <a:pt x="41" y="228"/>
                </a:lnTo>
                <a:lnTo>
                  <a:pt x="41" y="228"/>
                </a:lnTo>
                <a:lnTo>
                  <a:pt x="41" y="231"/>
                </a:lnTo>
                <a:lnTo>
                  <a:pt x="32" y="234"/>
                </a:lnTo>
                <a:lnTo>
                  <a:pt x="28" y="234"/>
                </a:lnTo>
                <a:lnTo>
                  <a:pt x="25" y="234"/>
                </a:lnTo>
                <a:lnTo>
                  <a:pt x="13" y="231"/>
                </a:lnTo>
                <a:lnTo>
                  <a:pt x="7" y="225"/>
                </a:lnTo>
                <a:lnTo>
                  <a:pt x="3" y="222"/>
                </a:lnTo>
                <a:lnTo>
                  <a:pt x="3" y="219"/>
                </a:lnTo>
                <a:lnTo>
                  <a:pt x="7" y="213"/>
                </a:lnTo>
                <a:lnTo>
                  <a:pt x="13" y="213"/>
                </a:lnTo>
                <a:lnTo>
                  <a:pt x="7" y="213"/>
                </a:lnTo>
                <a:lnTo>
                  <a:pt x="0" y="216"/>
                </a:lnTo>
                <a:lnTo>
                  <a:pt x="0" y="209"/>
                </a:lnTo>
                <a:lnTo>
                  <a:pt x="3" y="209"/>
                </a:lnTo>
                <a:lnTo>
                  <a:pt x="7" y="206"/>
                </a:lnTo>
                <a:lnTo>
                  <a:pt x="10" y="203"/>
                </a:lnTo>
                <a:lnTo>
                  <a:pt x="13" y="203"/>
                </a:lnTo>
                <a:lnTo>
                  <a:pt x="16" y="200"/>
                </a:lnTo>
                <a:lnTo>
                  <a:pt x="28" y="203"/>
                </a:lnTo>
                <a:lnTo>
                  <a:pt x="38" y="200"/>
                </a:lnTo>
                <a:lnTo>
                  <a:pt x="38" y="197"/>
                </a:lnTo>
                <a:lnTo>
                  <a:pt x="44" y="197"/>
                </a:lnTo>
                <a:lnTo>
                  <a:pt x="41" y="200"/>
                </a:lnTo>
                <a:lnTo>
                  <a:pt x="44" y="200"/>
                </a:lnTo>
                <a:lnTo>
                  <a:pt x="47" y="200"/>
                </a:lnTo>
                <a:lnTo>
                  <a:pt x="50" y="197"/>
                </a:lnTo>
                <a:lnTo>
                  <a:pt x="50" y="197"/>
                </a:lnTo>
                <a:lnTo>
                  <a:pt x="50" y="194"/>
                </a:lnTo>
                <a:lnTo>
                  <a:pt x="47" y="181"/>
                </a:lnTo>
                <a:lnTo>
                  <a:pt x="41" y="175"/>
                </a:lnTo>
                <a:lnTo>
                  <a:pt x="44" y="172"/>
                </a:lnTo>
                <a:lnTo>
                  <a:pt x="41" y="169"/>
                </a:lnTo>
                <a:lnTo>
                  <a:pt x="38" y="172"/>
                </a:lnTo>
                <a:lnTo>
                  <a:pt x="32" y="166"/>
                </a:lnTo>
                <a:lnTo>
                  <a:pt x="28" y="159"/>
                </a:lnTo>
                <a:lnTo>
                  <a:pt x="28" y="153"/>
                </a:lnTo>
                <a:lnTo>
                  <a:pt x="25" y="147"/>
                </a:lnTo>
                <a:lnTo>
                  <a:pt x="22" y="147"/>
                </a:lnTo>
                <a:lnTo>
                  <a:pt x="22" y="150"/>
                </a:lnTo>
                <a:lnTo>
                  <a:pt x="16" y="147"/>
                </a:lnTo>
                <a:lnTo>
                  <a:pt x="13" y="147"/>
                </a:lnTo>
                <a:lnTo>
                  <a:pt x="13" y="144"/>
                </a:lnTo>
                <a:lnTo>
                  <a:pt x="16" y="134"/>
                </a:lnTo>
                <a:lnTo>
                  <a:pt x="19" y="134"/>
                </a:lnTo>
                <a:lnTo>
                  <a:pt x="25" y="125"/>
                </a:lnTo>
                <a:lnTo>
                  <a:pt x="25" y="122"/>
                </a:lnTo>
                <a:lnTo>
                  <a:pt x="28" y="122"/>
                </a:lnTo>
                <a:lnTo>
                  <a:pt x="32" y="119"/>
                </a:lnTo>
                <a:lnTo>
                  <a:pt x="35" y="122"/>
                </a:lnTo>
                <a:lnTo>
                  <a:pt x="38" y="125"/>
                </a:lnTo>
                <a:lnTo>
                  <a:pt x="38" y="125"/>
                </a:lnTo>
                <a:lnTo>
                  <a:pt x="47" y="122"/>
                </a:lnTo>
                <a:lnTo>
                  <a:pt x="57" y="122"/>
                </a:lnTo>
                <a:lnTo>
                  <a:pt x="63" y="116"/>
                </a:lnTo>
                <a:lnTo>
                  <a:pt x="66" y="103"/>
                </a:lnTo>
                <a:lnTo>
                  <a:pt x="75" y="97"/>
                </a:lnTo>
                <a:lnTo>
                  <a:pt x="78" y="91"/>
                </a:lnTo>
                <a:lnTo>
                  <a:pt x="78" y="84"/>
                </a:lnTo>
                <a:lnTo>
                  <a:pt x="85" y="78"/>
                </a:lnTo>
                <a:lnTo>
                  <a:pt x="91" y="75"/>
                </a:lnTo>
                <a:lnTo>
                  <a:pt x="91" y="72"/>
                </a:lnTo>
                <a:lnTo>
                  <a:pt x="91" y="69"/>
                </a:lnTo>
                <a:lnTo>
                  <a:pt x="91" y="66"/>
                </a:lnTo>
                <a:lnTo>
                  <a:pt x="94" y="59"/>
                </a:lnTo>
                <a:lnTo>
                  <a:pt x="97" y="56"/>
                </a:lnTo>
                <a:lnTo>
                  <a:pt x="97" y="53"/>
                </a:lnTo>
                <a:lnTo>
                  <a:pt x="100" y="44"/>
                </a:lnTo>
                <a:lnTo>
                  <a:pt x="97" y="34"/>
                </a:lnTo>
                <a:lnTo>
                  <a:pt x="97" y="34"/>
                </a:lnTo>
                <a:lnTo>
                  <a:pt x="103" y="28"/>
                </a:lnTo>
                <a:lnTo>
                  <a:pt x="107" y="28"/>
                </a:lnTo>
                <a:lnTo>
                  <a:pt x="110" y="25"/>
                </a:lnTo>
                <a:lnTo>
                  <a:pt x="113" y="25"/>
                </a:lnTo>
                <a:lnTo>
                  <a:pt x="119" y="19"/>
                </a:lnTo>
                <a:lnTo>
                  <a:pt x="122" y="9"/>
                </a:lnTo>
                <a:lnTo>
                  <a:pt x="128" y="3"/>
                </a:lnTo>
                <a:lnTo>
                  <a:pt x="135" y="3"/>
                </a:lnTo>
                <a:lnTo>
                  <a:pt x="138" y="0"/>
                </a:lnTo>
                <a:lnTo>
                  <a:pt x="141" y="0"/>
                </a:lnTo>
                <a:lnTo>
                  <a:pt x="150" y="6"/>
                </a:lnTo>
                <a:lnTo>
                  <a:pt x="157" y="3"/>
                </a:lnTo>
                <a:lnTo>
                  <a:pt x="163" y="6"/>
                </a:lnTo>
                <a:lnTo>
                  <a:pt x="166" y="12"/>
                </a:lnTo>
                <a:lnTo>
                  <a:pt x="169" y="9"/>
                </a:lnTo>
                <a:lnTo>
                  <a:pt x="178" y="15"/>
                </a:lnTo>
                <a:lnTo>
                  <a:pt x="178" y="15"/>
                </a:lnTo>
                <a:lnTo>
                  <a:pt x="178" y="15"/>
                </a:lnTo>
                <a:close/>
                <a:moveTo>
                  <a:pt x="400" y="253"/>
                </a:moveTo>
                <a:lnTo>
                  <a:pt x="400" y="256"/>
                </a:lnTo>
                <a:lnTo>
                  <a:pt x="400" y="256"/>
                </a:lnTo>
                <a:lnTo>
                  <a:pt x="400" y="253"/>
                </a:lnTo>
                <a:lnTo>
                  <a:pt x="400" y="253"/>
                </a:lnTo>
                <a:close/>
                <a:moveTo>
                  <a:pt x="397" y="253"/>
                </a:moveTo>
                <a:lnTo>
                  <a:pt x="397" y="253"/>
                </a:lnTo>
                <a:lnTo>
                  <a:pt x="397" y="256"/>
                </a:lnTo>
                <a:lnTo>
                  <a:pt x="397" y="256"/>
                </a:lnTo>
                <a:lnTo>
                  <a:pt x="397" y="253"/>
                </a:lnTo>
                <a:lnTo>
                  <a:pt x="397" y="253"/>
                </a:lnTo>
                <a:lnTo>
                  <a:pt x="397" y="253"/>
                </a:lnTo>
                <a:close/>
                <a:moveTo>
                  <a:pt x="394" y="253"/>
                </a:moveTo>
                <a:lnTo>
                  <a:pt x="394" y="256"/>
                </a:lnTo>
                <a:lnTo>
                  <a:pt x="394" y="259"/>
                </a:lnTo>
                <a:lnTo>
                  <a:pt x="394" y="256"/>
                </a:lnTo>
                <a:lnTo>
                  <a:pt x="394" y="253"/>
                </a:lnTo>
                <a:lnTo>
                  <a:pt x="394" y="253"/>
                </a:lnTo>
                <a:close/>
                <a:moveTo>
                  <a:pt x="388" y="253"/>
                </a:moveTo>
                <a:lnTo>
                  <a:pt x="388" y="256"/>
                </a:lnTo>
                <a:lnTo>
                  <a:pt x="388" y="256"/>
                </a:lnTo>
                <a:lnTo>
                  <a:pt x="391" y="250"/>
                </a:lnTo>
                <a:lnTo>
                  <a:pt x="391" y="250"/>
                </a:lnTo>
                <a:lnTo>
                  <a:pt x="388" y="253"/>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8" name="Freeform 36">
            <a:extLst>
              <a:ext uri="{FF2B5EF4-FFF2-40B4-BE49-F238E27FC236}">
                <a16:creationId xmlns:a16="http://schemas.microsoft.com/office/drawing/2014/main" id="{81877DC8-D975-B54F-5496-4F957CEBC3AC}"/>
              </a:ext>
            </a:extLst>
          </p:cNvPr>
          <p:cNvSpPr>
            <a:spLocks noEditPoints="1"/>
          </p:cNvSpPr>
          <p:nvPr userDrawn="1"/>
        </p:nvSpPr>
        <p:spPr bwMode="auto">
          <a:xfrm>
            <a:off x="18588413" y="7619285"/>
            <a:ext cx="317481" cy="415926"/>
          </a:xfrm>
          <a:custGeom>
            <a:avLst/>
            <a:gdLst>
              <a:gd name="T0" fmla="*/ 31 w 32"/>
              <a:gd name="T1" fmla="*/ 37 h 42"/>
              <a:gd name="T2" fmla="*/ 29 w 32"/>
              <a:gd name="T3" fmla="*/ 39 h 42"/>
              <a:gd name="T4" fmla="*/ 29 w 32"/>
              <a:gd name="T5" fmla="*/ 42 h 42"/>
              <a:gd name="T6" fmla="*/ 27 w 32"/>
              <a:gd name="T7" fmla="*/ 38 h 42"/>
              <a:gd name="T8" fmla="*/ 27 w 32"/>
              <a:gd name="T9" fmla="*/ 35 h 42"/>
              <a:gd name="T10" fmla="*/ 26 w 32"/>
              <a:gd name="T11" fmla="*/ 36 h 42"/>
              <a:gd name="T12" fmla="*/ 26 w 32"/>
              <a:gd name="T13" fmla="*/ 33 h 42"/>
              <a:gd name="T14" fmla="*/ 23 w 32"/>
              <a:gd name="T15" fmla="*/ 27 h 42"/>
              <a:gd name="T16" fmla="*/ 22 w 32"/>
              <a:gd name="T17" fmla="*/ 27 h 42"/>
              <a:gd name="T18" fmla="*/ 19 w 32"/>
              <a:gd name="T19" fmla="*/ 26 h 42"/>
              <a:gd name="T20" fmla="*/ 16 w 32"/>
              <a:gd name="T21" fmla="*/ 24 h 42"/>
              <a:gd name="T22" fmla="*/ 17 w 32"/>
              <a:gd name="T23" fmla="*/ 28 h 42"/>
              <a:gd name="T24" fmla="*/ 18 w 32"/>
              <a:gd name="T25" fmla="*/ 30 h 42"/>
              <a:gd name="T26" fmla="*/ 15 w 32"/>
              <a:gd name="T27" fmla="*/ 34 h 42"/>
              <a:gd name="T28" fmla="*/ 15 w 32"/>
              <a:gd name="T29" fmla="*/ 32 h 42"/>
              <a:gd name="T30" fmla="*/ 14 w 32"/>
              <a:gd name="T31" fmla="*/ 33 h 42"/>
              <a:gd name="T32" fmla="*/ 14 w 32"/>
              <a:gd name="T33" fmla="*/ 29 h 42"/>
              <a:gd name="T34" fmla="*/ 13 w 32"/>
              <a:gd name="T35" fmla="*/ 30 h 42"/>
              <a:gd name="T36" fmla="*/ 13 w 32"/>
              <a:gd name="T37" fmla="*/ 33 h 42"/>
              <a:gd name="T38" fmla="*/ 13 w 32"/>
              <a:gd name="T39" fmla="*/ 34 h 42"/>
              <a:gd name="T40" fmla="*/ 11 w 32"/>
              <a:gd name="T41" fmla="*/ 35 h 42"/>
              <a:gd name="T42" fmla="*/ 9 w 32"/>
              <a:gd name="T43" fmla="*/ 33 h 42"/>
              <a:gd name="T44" fmla="*/ 8 w 32"/>
              <a:gd name="T45" fmla="*/ 30 h 42"/>
              <a:gd name="T46" fmla="*/ 6 w 32"/>
              <a:gd name="T47" fmla="*/ 24 h 42"/>
              <a:gd name="T48" fmla="*/ 6 w 32"/>
              <a:gd name="T49" fmla="*/ 19 h 42"/>
              <a:gd name="T50" fmla="*/ 1 w 32"/>
              <a:gd name="T51" fmla="*/ 15 h 42"/>
              <a:gd name="T52" fmla="*/ 3 w 32"/>
              <a:gd name="T53" fmla="*/ 11 h 42"/>
              <a:gd name="T54" fmla="*/ 5 w 32"/>
              <a:gd name="T55" fmla="*/ 10 h 42"/>
              <a:gd name="T56" fmla="*/ 4 w 32"/>
              <a:gd name="T57" fmla="*/ 7 h 42"/>
              <a:gd name="T58" fmla="*/ 0 w 32"/>
              <a:gd name="T59" fmla="*/ 5 h 42"/>
              <a:gd name="T60" fmla="*/ 1 w 32"/>
              <a:gd name="T61" fmla="*/ 1 h 42"/>
              <a:gd name="T62" fmla="*/ 2 w 32"/>
              <a:gd name="T63" fmla="*/ 0 h 42"/>
              <a:gd name="T64" fmla="*/ 3 w 32"/>
              <a:gd name="T65" fmla="*/ 2 h 42"/>
              <a:gd name="T66" fmla="*/ 6 w 32"/>
              <a:gd name="T67" fmla="*/ 3 h 42"/>
              <a:gd name="T68" fmla="*/ 6 w 32"/>
              <a:gd name="T69" fmla="*/ 2 h 42"/>
              <a:gd name="T70" fmla="*/ 9 w 32"/>
              <a:gd name="T71" fmla="*/ 4 h 42"/>
              <a:gd name="T72" fmla="*/ 10 w 32"/>
              <a:gd name="T73" fmla="*/ 5 h 42"/>
              <a:gd name="T74" fmla="*/ 11 w 32"/>
              <a:gd name="T75" fmla="*/ 8 h 42"/>
              <a:gd name="T76" fmla="*/ 13 w 32"/>
              <a:gd name="T77" fmla="*/ 9 h 42"/>
              <a:gd name="T78" fmla="*/ 19 w 32"/>
              <a:gd name="T79" fmla="*/ 10 h 42"/>
              <a:gd name="T80" fmla="*/ 24 w 32"/>
              <a:gd name="T81" fmla="*/ 10 h 42"/>
              <a:gd name="T82" fmla="*/ 26 w 32"/>
              <a:gd name="T83" fmla="*/ 11 h 42"/>
              <a:gd name="T84" fmla="*/ 26 w 32"/>
              <a:gd name="T85" fmla="*/ 14 h 42"/>
              <a:gd name="T86" fmla="*/ 24 w 32"/>
              <a:gd name="T87" fmla="*/ 18 h 42"/>
              <a:gd name="T88" fmla="*/ 23 w 32"/>
              <a:gd name="T89" fmla="*/ 18 h 42"/>
              <a:gd name="T90" fmla="*/ 21 w 32"/>
              <a:gd name="T91" fmla="*/ 20 h 42"/>
              <a:gd name="T92" fmla="*/ 22 w 32"/>
              <a:gd name="T93" fmla="*/ 23 h 42"/>
              <a:gd name="T94" fmla="*/ 24 w 32"/>
              <a:gd name="T95" fmla="*/ 26 h 42"/>
              <a:gd name="T96" fmla="*/ 25 w 32"/>
              <a:gd name="T97" fmla="*/ 24 h 42"/>
              <a:gd name="T98" fmla="*/ 26 w 32"/>
              <a:gd name="T99" fmla="*/ 22 h 42"/>
              <a:gd name="T100" fmla="*/ 27 w 32"/>
              <a:gd name="T101" fmla="*/ 22 h 42"/>
              <a:gd name="T102" fmla="*/ 29 w 32"/>
              <a:gd name="T103" fmla="*/ 23 h 42"/>
              <a:gd name="T104" fmla="*/ 29 w 32"/>
              <a:gd name="T105" fmla="*/ 27 h 42"/>
              <a:gd name="T106" fmla="*/ 31 w 32"/>
              <a:gd name="T107" fmla="*/ 32 h 42"/>
              <a:gd name="T108" fmla="*/ 31 w 32"/>
              <a:gd name="T109" fmla="*/ 34 h 42"/>
              <a:gd name="T110" fmla="*/ 23 w 32"/>
              <a:gd name="T111" fmla="*/ 29 h 42"/>
              <a:gd name="T112" fmla="*/ 23 w 32"/>
              <a:gd name="T113" fmla="*/ 30 h 42"/>
              <a:gd name="T114" fmla="*/ 21 w 32"/>
              <a:gd name="T115" fmla="*/ 30 h 42"/>
              <a:gd name="T116" fmla="*/ 22 w 32"/>
              <a:gd name="T117" fmla="*/ 30 h 42"/>
              <a:gd name="T118" fmla="*/ 20 w 32"/>
              <a:gd name="T119" fmla="*/ 29 h 42"/>
              <a:gd name="T120" fmla="*/ 18 w 32"/>
              <a:gd name="T121" fmla="*/ 29 h 42"/>
              <a:gd name="T122" fmla="*/ 19 w 32"/>
              <a:gd name="T123" fmla="*/ 2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 h="42">
                <a:moveTo>
                  <a:pt x="32" y="34"/>
                </a:moveTo>
                <a:cubicBezTo>
                  <a:pt x="32" y="36"/>
                  <a:pt x="32" y="36"/>
                  <a:pt x="32" y="36"/>
                </a:cubicBezTo>
                <a:cubicBezTo>
                  <a:pt x="31" y="37"/>
                  <a:pt x="31" y="37"/>
                  <a:pt x="31" y="37"/>
                </a:cubicBezTo>
                <a:cubicBezTo>
                  <a:pt x="30" y="37"/>
                  <a:pt x="30" y="37"/>
                  <a:pt x="30" y="37"/>
                </a:cubicBezTo>
                <a:cubicBezTo>
                  <a:pt x="29" y="38"/>
                  <a:pt x="29" y="38"/>
                  <a:pt x="29" y="38"/>
                </a:cubicBezTo>
                <a:cubicBezTo>
                  <a:pt x="29" y="39"/>
                  <a:pt x="29" y="39"/>
                  <a:pt x="29" y="39"/>
                </a:cubicBezTo>
                <a:cubicBezTo>
                  <a:pt x="29" y="40"/>
                  <a:pt x="29" y="40"/>
                  <a:pt x="29" y="40"/>
                </a:cubicBezTo>
                <a:cubicBezTo>
                  <a:pt x="29" y="40"/>
                  <a:pt x="29" y="40"/>
                  <a:pt x="29" y="40"/>
                </a:cubicBezTo>
                <a:cubicBezTo>
                  <a:pt x="29" y="42"/>
                  <a:pt x="29" y="42"/>
                  <a:pt x="29" y="42"/>
                </a:cubicBezTo>
                <a:cubicBezTo>
                  <a:pt x="29" y="42"/>
                  <a:pt x="29" y="42"/>
                  <a:pt x="29" y="42"/>
                </a:cubicBezTo>
                <a:cubicBezTo>
                  <a:pt x="28" y="39"/>
                  <a:pt x="28" y="39"/>
                  <a:pt x="28" y="39"/>
                </a:cubicBezTo>
                <a:cubicBezTo>
                  <a:pt x="27" y="38"/>
                  <a:pt x="27" y="38"/>
                  <a:pt x="27" y="38"/>
                </a:cubicBezTo>
                <a:cubicBezTo>
                  <a:pt x="27" y="37"/>
                  <a:pt x="27" y="37"/>
                  <a:pt x="27" y="37"/>
                </a:cubicBezTo>
                <a:cubicBezTo>
                  <a:pt x="27" y="36"/>
                  <a:pt x="27" y="36"/>
                  <a:pt x="27" y="36"/>
                </a:cubicBezTo>
                <a:cubicBezTo>
                  <a:pt x="27" y="35"/>
                  <a:pt x="27" y="35"/>
                  <a:pt x="27" y="35"/>
                </a:cubicBezTo>
                <a:cubicBezTo>
                  <a:pt x="27" y="36"/>
                  <a:pt x="27" y="36"/>
                  <a:pt x="27" y="36"/>
                </a:cubicBezTo>
                <a:cubicBezTo>
                  <a:pt x="26" y="37"/>
                  <a:pt x="26" y="37"/>
                  <a:pt x="26" y="37"/>
                </a:cubicBezTo>
                <a:cubicBezTo>
                  <a:pt x="26" y="36"/>
                  <a:pt x="26" y="36"/>
                  <a:pt x="26" y="36"/>
                </a:cubicBezTo>
                <a:cubicBezTo>
                  <a:pt x="26" y="34"/>
                  <a:pt x="26" y="34"/>
                  <a:pt x="26" y="34"/>
                </a:cubicBezTo>
                <a:cubicBezTo>
                  <a:pt x="26" y="34"/>
                  <a:pt x="26" y="34"/>
                  <a:pt x="26" y="34"/>
                </a:cubicBezTo>
                <a:cubicBezTo>
                  <a:pt x="26" y="33"/>
                  <a:pt x="26" y="33"/>
                  <a:pt x="26" y="33"/>
                </a:cubicBezTo>
                <a:cubicBezTo>
                  <a:pt x="26" y="32"/>
                  <a:pt x="26" y="32"/>
                  <a:pt x="26" y="32"/>
                </a:cubicBezTo>
                <a:cubicBezTo>
                  <a:pt x="25" y="31"/>
                  <a:pt x="25" y="31"/>
                  <a:pt x="25" y="31"/>
                </a:cubicBezTo>
                <a:cubicBezTo>
                  <a:pt x="23" y="27"/>
                  <a:pt x="23" y="27"/>
                  <a:pt x="23" y="27"/>
                </a:cubicBezTo>
                <a:cubicBezTo>
                  <a:pt x="23" y="27"/>
                  <a:pt x="23" y="27"/>
                  <a:pt x="23" y="27"/>
                </a:cubicBezTo>
                <a:cubicBezTo>
                  <a:pt x="23" y="27"/>
                  <a:pt x="23" y="27"/>
                  <a:pt x="23" y="27"/>
                </a:cubicBezTo>
                <a:cubicBezTo>
                  <a:pt x="22" y="27"/>
                  <a:pt x="22" y="27"/>
                  <a:pt x="22" y="27"/>
                </a:cubicBezTo>
                <a:cubicBezTo>
                  <a:pt x="21" y="28"/>
                  <a:pt x="21" y="28"/>
                  <a:pt x="21" y="28"/>
                </a:cubicBezTo>
                <a:cubicBezTo>
                  <a:pt x="19" y="27"/>
                  <a:pt x="19" y="27"/>
                  <a:pt x="19" y="27"/>
                </a:cubicBezTo>
                <a:cubicBezTo>
                  <a:pt x="19" y="26"/>
                  <a:pt x="19" y="26"/>
                  <a:pt x="19" y="26"/>
                </a:cubicBezTo>
                <a:cubicBezTo>
                  <a:pt x="18" y="26"/>
                  <a:pt x="18" y="26"/>
                  <a:pt x="18" y="26"/>
                </a:cubicBezTo>
                <a:cubicBezTo>
                  <a:pt x="17" y="25"/>
                  <a:pt x="17" y="25"/>
                  <a:pt x="17" y="25"/>
                </a:cubicBezTo>
                <a:cubicBezTo>
                  <a:pt x="16" y="24"/>
                  <a:pt x="16" y="24"/>
                  <a:pt x="16" y="24"/>
                </a:cubicBezTo>
                <a:cubicBezTo>
                  <a:pt x="17" y="26"/>
                  <a:pt x="17" y="26"/>
                  <a:pt x="17" y="26"/>
                </a:cubicBezTo>
                <a:cubicBezTo>
                  <a:pt x="17" y="27"/>
                  <a:pt x="17" y="27"/>
                  <a:pt x="17" y="27"/>
                </a:cubicBezTo>
                <a:cubicBezTo>
                  <a:pt x="17" y="28"/>
                  <a:pt x="17" y="28"/>
                  <a:pt x="17" y="28"/>
                </a:cubicBezTo>
                <a:cubicBezTo>
                  <a:pt x="16" y="28"/>
                  <a:pt x="16" y="28"/>
                  <a:pt x="16" y="28"/>
                </a:cubicBezTo>
                <a:cubicBezTo>
                  <a:pt x="17" y="28"/>
                  <a:pt x="17" y="28"/>
                  <a:pt x="17" y="28"/>
                </a:cubicBezTo>
                <a:cubicBezTo>
                  <a:pt x="18" y="30"/>
                  <a:pt x="18" y="30"/>
                  <a:pt x="18" y="30"/>
                </a:cubicBezTo>
                <a:cubicBezTo>
                  <a:pt x="17" y="32"/>
                  <a:pt x="17" y="32"/>
                  <a:pt x="17" y="32"/>
                </a:cubicBezTo>
                <a:cubicBezTo>
                  <a:pt x="16" y="32"/>
                  <a:pt x="16" y="32"/>
                  <a:pt x="16" y="32"/>
                </a:cubicBezTo>
                <a:cubicBezTo>
                  <a:pt x="15" y="34"/>
                  <a:pt x="15" y="34"/>
                  <a:pt x="15" y="34"/>
                </a:cubicBezTo>
                <a:cubicBezTo>
                  <a:pt x="14" y="33"/>
                  <a:pt x="14" y="33"/>
                  <a:pt x="14" y="33"/>
                </a:cubicBezTo>
                <a:cubicBezTo>
                  <a:pt x="15" y="32"/>
                  <a:pt x="15" y="32"/>
                  <a:pt x="15" y="32"/>
                </a:cubicBezTo>
                <a:cubicBezTo>
                  <a:pt x="15" y="32"/>
                  <a:pt x="15" y="32"/>
                  <a:pt x="15" y="32"/>
                </a:cubicBezTo>
                <a:cubicBezTo>
                  <a:pt x="16" y="31"/>
                  <a:pt x="16" y="31"/>
                  <a:pt x="16" y="31"/>
                </a:cubicBezTo>
                <a:cubicBezTo>
                  <a:pt x="15" y="32"/>
                  <a:pt x="15" y="32"/>
                  <a:pt x="15" y="32"/>
                </a:cubicBezTo>
                <a:cubicBezTo>
                  <a:pt x="14" y="33"/>
                  <a:pt x="14" y="33"/>
                  <a:pt x="14" y="33"/>
                </a:cubicBezTo>
                <a:cubicBezTo>
                  <a:pt x="13" y="32"/>
                  <a:pt x="13" y="32"/>
                  <a:pt x="13" y="32"/>
                </a:cubicBezTo>
                <a:cubicBezTo>
                  <a:pt x="14" y="30"/>
                  <a:pt x="14" y="30"/>
                  <a:pt x="14" y="30"/>
                </a:cubicBezTo>
                <a:cubicBezTo>
                  <a:pt x="14" y="29"/>
                  <a:pt x="14" y="29"/>
                  <a:pt x="14" y="29"/>
                </a:cubicBezTo>
                <a:cubicBezTo>
                  <a:pt x="13" y="29"/>
                  <a:pt x="13" y="29"/>
                  <a:pt x="13" y="29"/>
                </a:cubicBezTo>
                <a:cubicBezTo>
                  <a:pt x="14" y="29"/>
                  <a:pt x="14" y="29"/>
                  <a:pt x="14" y="29"/>
                </a:cubicBezTo>
                <a:cubicBezTo>
                  <a:pt x="13" y="30"/>
                  <a:pt x="13" y="30"/>
                  <a:pt x="13" y="30"/>
                </a:cubicBezTo>
                <a:cubicBezTo>
                  <a:pt x="13" y="31"/>
                  <a:pt x="13" y="31"/>
                  <a:pt x="13" y="31"/>
                </a:cubicBezTo>
                <a:cubicBezTo>
                  <a:pt x="13" y="32"/>
                  <a:pt x="13" y="32"/>
                  <a:pt x="13" y="32"/>
                </a:cubicBezTo>
                <a:cubicBezTo>
                  <a:pt x="13" y="33"/>
                  <a:pt x="13" y="33"/>
                  <a:pt x="13" y="33"/>
                </a:cubicBezTo>
                <a:cubicBezTo>
                  <a:pt x="13" y="34"/>
                  <a:pt x="13" y="34"/>
                  <a:pt x="13" y="34"/>
                </a:cubicBezTo>
                <a:cubicBezTo>
                  <a:pt x="13" y="34"/>
                  <a:pt x="13" y="34"/>
                  <a:pt x="13" y="34"/>
                </a:cubicBezTo>
                <a:cubicBezTo>
                  <a:pt x="13" y="34"/>
                  <a:pt x="13" y="34"/>
                  <a:pt x="13" y="34"/>
                </a:cubicBezTo>
                <a:cubicBezTo>
                  <a:pt x="12" y="34"/>
                  <a:pt x="12" y="34"/>
                  <a:pt x="12" y="34"/>
                </a:cubicBezTo>
                <a:cubicBezTo>
                  <a:pt x="11" y="34"/>
                  <a:pt x="11" y="34"/>
                  <a:pt x="11" y="34"/>
                </a:cubicBezTo>
                <a:cubicBezTo>
                  <a:pt x="11" y="35"/>
                  <a:pt x="11" y="35"/>
                  <a:pt x="11" y="35"/>
                </a:cubicBezTo>
                <a:cubicBezTo>
                  <a:pt x="10" y="35"/>
                  <a:pt x="10" y="35"/>
                  <a:pt x="10" y="35"/>
                </a:cubicBezTo>
                <a:cubicBezTo>
                  <a:pt x="10" y="34"/>
                  <a:pt x="10" y="34"/>
                  <a:pt x="10" y="34"/>
                </a:cubicBezTo>
                <a:cubicBezTo>
                  <a:pt x="9" y="33"/>
                  <a:pt x="9" y="33"/>
                  <a:pt x="9" y="33"/>
                </a:cubicBezTo>
                <a:cubicBezTo>
                  <a:pt x="9" y="33"/>
                  <a:pt x="9" y="33"/>
                  <a:pt x="9" y="33"/>
                </a:cubicBezTo>
                <a:cubicBezTo>
                  <a:pt x="9" y="31"/>
                  <a:pt x="9" y="31"/>
                  <a:pt x="9" y="31"/>
                </a:cubicBezTo>
                <a:cubicBezTo>
                  <a:pt x="8" y="30"/>
                  <a:pt x="8" y="30"/>
                  <a:pt x="8" y="30"/>
                </a:cubicBezTo>
                <a:cubicBezTo>
                  <a:pt x="8" y="29"/>
                  <a:pt x="8" y="29"/>
                  <a:pt x="8" y="29"/>
                </a:cubicBezTo>
                <a:cubicBezTo>
                  <a:pt x="6" y="26"/>
                  <a:pt x="6" y="26"/>
                  <a:pt x="6" y="26"/>
                </a:cubicBezTo>
                <a:cubicBezTo>
                  <a:pt x="6" y="24"/>
                  <a:pt x="6" y="24"/>
                  <a:pt x="6" y="24"/>
                </a:cubicBezTo>
                <a:cubicBezTo>
                  <a:pt x="6" y="23"/>
                  <a:pt x="6" y="23"/>
                  <a:pt x="6" y="23"/>
                </a:cubicBezTo>
                <a:cubicBezTo>
                  <a:pt x="6" y="21"/>
                  <a:pt x="6" y="21"/>
                  <a:pt x="6" y="21"/>
                </a:cubicBezTo>
                <a:cubicBezTo>
                  <a:pt x="6" y="19"/>
                  <a:pt x="6" y="19"/>
                  <a:pt x="6" y="19"/>
                </a:cubicBezTo>
                <a:cubicBezTo>
                  <a:pt x="4" y="17"/>
                  <a:pt x="4" y="17"/>
                  <a:pt x="4" y="17"/>
                </a:cubicBezTo>
                <a:cubicBezTo>
                  <a:pt x="2" y="17"/>
                  <a:pt x="2" y="17"/>
                  <a:pt x="2" y="17"/>
                </a:cubicBezTo>
                <a:cubicBezTo>
                  <a:pt x="1" y="15"/>
                  <a:pt x="1" y="15"/>
                  <a:pt x="1" y="15"/>
                </a:cubicBezTo>
                <a:cubicBezTo>
                  <a:pt x="1" y="13"/>
                  <a:pt x="1" y="13"/>
                  <a:pt x="1" y="13"/>
                </a:cubicBezTo>
                <a:cubicBezTo>
                  <a:pt x="2" y="12"/>
                  <a:pt x="2" y="12"/>
                  <a:pt x="2" y="12"/>
                </a:cubicBezTo>
                <a:cubicBezTo>
                  <a:pt x="3" y="11"/>
                  <a:pt x="3" y="11"/>
                  <a:pt x="3" y="11"/>
                </a:cubicBezTo>
                <a:cubicBezTo>
                  <a:pt x="4" y="10"/>
                  <a:pt x="4" y="10"/>
                  <a:pt x="4" y="10"/>
                </a:cubicBezTo>
                <a:cubicBezTo>
                  <a:pt x="4" y="10"/>
                  <a:pt x="4" y="10"/>
                  <a:pt x="4" y="10"/>
                </a:cubicBezTo>
                <a:cubicBezTo>
                  <a:pt x="5" y="10"/>
                  <a:pt x="5" y="10"/>
                  <a:pt x="5" y="10"/>
                </a:cubicBezTo>
                <a:cubicBezTo>
                  <a:pt x="5" y="8"/>
                  <a:pt x="5" y="8"/>
                  <a:pt x="5" y="8"/>
                </a:cubicBezTo>
                <a:cubicBezTo>
                  <a:pt x="5" y="7"/>
                  <a:pt x="5" y="7"/>
                  <a:pt x="5" y="7"/>
                </a:cubicBezTo>
                <a:cubicBezTo>
                  <a:pt x="4" y="7"/>
                  <a:pt x="4" y="7"/>
                  <a:pt x="4" y="7"/>
                </a:cubicBezTo>
                <a:cubicBezTo>
                  <a:pt x="2" y="8"/>
                  <a:pt x="2" y="8"/>
                  <a:pt x="2" y="8"/>
                </a:cubicBezTo>
                <a:cubicBezTo>
                  <a:pt x="0" y="7"/>
                  <a:pt x="0" y="7"/>
                  <a:pt x="0" y="7"/>
                </a:cubicBezTo>
                <a:cubicBezTo>
                  <a:pt x="0" y="5"/>
                  <a:pt x="0" y="5"/>
                  <a:pt x="0" y="5"/>
                </a:cubicBezTo>
                <a:cubicBezTo>
                  <a:pt x="1" y="4"/>
                  <a:pt x="1" y="4"/>
                  <a:pt x="1" y="4"/>
                </a:cubicBezTo>
                <a:cubicBezTo>
                  <a:pt x="2" y="2"/>
                  <a:pt x="2" y="2"/>
                  <a:pt x="2" y="2"/>
                </a:cubicBezTo>
                <a:cubicBezTo>
                  <a:pt x="1" y="1"/>
                  <a:pt x="1" y="1"/>
                  <a:pt x="1" y="1"/>
                </a:cubicBezTo>
                <a:cubicBezTo>
                  <a:pt x="1" y="1"/>
                  <a:pt x="1" y="1"/>
                  <a:pt x="1" y="1"/>
                </a:cubicBezTo>
                <a:cubicBezTo>
                  <a:pt x="1" y="1"/>
                  <a:pt x="1" y="1"/>
                  <a:pt x="1" y="1"/>
                </a:cubicBezTo>
                <a:cubicBezTo>
                  <a:pt x="2" y="0"/>
                  <a:pt x="2" y="0"/>
                  <a:pt x="2" y="0"/>
                </a:cubicBezTo>
                <a:cubicBezTo>
                  <a:pt x="2" y="0"/>
                  <a:pt x="2" y="0"/>
                  <a:pt x="2" y="0"/>
                </a:cubicBezTo>
                <a:cubicBezTo>
                  <a:pt x="3" y="1"/>
                  <a:pt x="3" y="1"/>
                  <a:pt x="3" y="1"/>
                </a:cubicBezTo>
                <a:cubicBezTo>
                  <a:pt x="3" y="2"/>
                  <a:pt x="3" y="2"/>
                  <a:pt x="3" y="2"/>
                </a:cubicBezTo>
                <a:cubicBezTo>
                  <a:pt x="4" y="3"/>
                  <a:pt x="4" y="3"/>
                  <a:pt x="4" y="3"/>
                </a:cubicBezTo>
                <a:cubicBezTo>
                  <a:pt x="5" y="3"/>
                  <a:pt x="5" y="3"/>
                  <a:pt x="5" y="3"/>
                </a:cubicBezTo>
                <a:cubicBezTo>
                  <a:pt x="6" y="3"/>
                  <a:pt x="6" y="3"/>
                  <a:pt x="6" y="3"/>
                </a:cubicBezTo>
                <a:cubicBezTo>
                  <a:pt x="5" y="3"/>
                  <a:pt x="5" y="3"/>
                  <a:pt x="5" y="3"/>
                </a:cubicBezTo>
                <a:cubicBezTo>
                  <a:pt x="5" y="2"/>
                  <a:pt x="5" y="2"/>
                  <a:pt x="5" y="2"/>
                </a:cubicBezTo>
                <a:cubicBezTo>
                  <a:pt x="6" y="2"/>
                  <a:pt x="6" y="2"/>
                  <a:pt x="6" y="2"/>
                </a:cubicBezTo>
                <a:cubicBezTo>
                  <a:pt x="7" y="3"/>
                  <a:pt x="7" y="3"/>
                  <a:pt x="7" y="3"/>
                </a:cubicBezTo>
                <a:cubicBezTo>
                  <a:pt x="7" y="3"/>
                  <a:pt x="7" y="3"/>
                  <a:pt x="7" y="3"/>
                </a:cubicBezTo>
                <a:cubicBezTo>
                  <a:pt x="9" y="4"/>
                  <a:pt x="9" y="4"/>
                  <a:pt x="9" y="4"/>
                </a:cubicBezTo>
                <a:cubicBezTo>
                  <a:pt x="9" y="3"/>
                  <a:pt x="9" y="3"/>
                  <a:pt x="9" y="3"/>
                </a:cubicBezTo>
                <a:cubicBezTo>
                  <a:pt x="9" y="3"/>
                  <a:pt x="9" y="3"/>
                  <a:pt x="9" y="3"/>
                </a:cubicBezTo>
                <a:cubicBezTo>
                  <a:pt x="10" y="5"/>
                  <a:pt x="10" y="5"/>
                  <a:pt x="10" y="5"/>
                </a:cubicBezTo>
                <a:cubicBezTo>
                  <a:pt x="10" y="6"/>
                  <a:pt x="10" y="6"/>
                  <a:pt x="10" y="6"/>
                </a:cubicBezTo>
                <a:cubicBezTo>
                  <a:pt x="11" y="7"/>
                  <a:pt x="11" y="7"/>
                  <a:pt x="11" y="7"/>
                </a:cubicBezTo>
                <a:cubicBezTo>
                  <a:pt x="11" y="8"/>
                  <a:pt x="11" y="8"/>
                  <a:pt x="11" y="8"/>
                </a:cubicBezTo>
                <a:cubicBezTo>
                  <a:pt x="11" y="9"/>
                  <a:pt x="11" y="9"/>
                  <a:pt x="11" y="9"/>
                </a:cubicBezTo>
                <a:cubicBezTo>
                  <a:pt x="12" y="10"/>
                  <a:pt x="12" y="10"/>
                  <a:pt x="12" y="10"/>
                </a:cubicBezTo>
                <a:cubicBezTo>
                  <a:pt x="13" y="9"/>
                  <a:pt x="13" y="9"/>
                  <a:pt x="13" y="9"/>
                </a:cubicBezTo>
                <a:cubicBezTo>
                  <a:pt x="15" y="10"/>
                  <a:pt x="15" y="10"/>
                  <a:pt x="15" y="10"/>
                </a:cubicBezTo>
                <a:cubicBezTo>
                  <a:pt x="16" y="10"/>
                  <a:pt x="16" y="10"/>
                  <a:pt x="16" y="10"/>
                </a:cubicBezTo>
                <a:cubicBezTo>
                  <a:pt x="19" y="10"/>
                  <a:pt x="19" y="10"/>
                  <a:pt x="19" y="10"/>
                </a:cubicBezTo>
                <a:cubicBezTo>
                  <a:pt x="21" y="10"/>
                  <a:pt x="21" y="10"/>
                  <a:pt x="21" y="10"/>
                </a:cubicBezTo>
                <a:cubicBezTo>
                  <a:pt x="23" y="10"/>
                  <a:pt x="23" y="10"/>
                  <a:pt x="23" y="10"/>
                </a:cubicBezTo>
                <a:cubicBezTo>
                  <a:pt x="24" y="10"/>
                  <a:pt x="24" y="10"/>
                  <a:pt x="24" y="10"/>
                </a:cubicBezTo>
                <a:cubicBezTo>
                  <a:pt x="24" y="10"/>
                  <a:pt x="24" y="10"/>
                  <a:pt x="24" y="10"/>
                </a:cubicBezTo>
                <a:cubicBezTo>
                  <a:pt x="25" y="10"/>
                  <a:pt x="25" y="10"/>
                  <a:pt x="25" y="10"/>
                </a:cubicBezTo>
                <a:cubicBezTo>
                  <a:pt x="26" y="11"/>
                  <a:pt x="26" y="11"/>
                  <a:pt x="26" y="11"/>
                </a:cubicBezTo>
                <a:cubicBezTo>
                  <a:pt x="27" y="11"/>
                  <a:pt x="27" y="11"/>
                  <a:pt x="27" y="11"/>
                </a:cubicBezTo>
                <a:cubicBezTo>
                  <a:pt x="26" y="13"/>
                  <a:pt x="26" y="13"/>
                  <a:pt x="26" y="13"/>
                </a:cubicBezTo>
                <a:cubicBezTo>
                  <a:pt x="26" y="14"/>
                  <a:pt x="26" y="14"/>
                  <a:pt x="26" y="14"/>
                </a:cubicBezTo>
                <a:cubicBezTo>
                  <a:pt x="25" y="16"/>
                  <a:pt x="25" y="16"/>
                  <a:pt x="25" y="16"/>
                </a:cubicBezTo>
                <a:cubicBezTo>
                  <a:pt x="24" y="17"/>
                  <a:pt x="24" y="17"/>
                  <a:pt x="24" y="17"/>
                </a:cubicBezTo>
                <a:cubicBezTo>
                  <a:pt x="24" y="18"/>
                  <a:pt x="24" y="18"/>
                  <a:pt x="24" y="18"/>
                </a:cubicBezTo>
                <a:cubicBezTo>
                  <a:pt x="24" y="18"/>
                  <a:pt x="24" y="18"/>
                  <a:pt x="24" y="18"/>
                </a:cubicBezTo>
                <a:cubicBezTo>
                  <a:pt x="23" y="18"/>
                  <a:pt x="23" y="18"/>
                  <a:pt x="23" y="18"/>
                </a:cubicBezTo>
                <a:cubicBezTo>
                  <a:pt x="23" y="18"/>
                  <a:pt x="23" y="18"/>
                  <a:pt x="23" y="18"/>
                </a:cubicBezTo>
                <a:cubicBezTo>
                  <a:pt x="22" y="19"/>
                  <a:pt x="22" y="19"/>
                  <a:pt x="22" y="19"/>
                </a:cubicBezTo>
                <a:cubicBezTo>
                  <a:pt x="21" y="19"/>
                  <a:pt x="21" y="19"/>
                  <a:pt x="21" y="19"/>
                </a:cubicBezTo>
                <a:cubicBezTo>
                  <a:pt x="21" y="20"/>
                  <a:pt x="21" y="20"/>
                  <a:pt x="21" y="20"/>
                </a:cubicBezTo>
                <a:cubicBezTo>
                  <a:pt x="21" y="21"/>
                  <a:pt x="21" y="21"/>
                  <a:pt x="21" y="21"/>
                </a:cubicBezTo>
                <a:cubicBezTo>
                  <a:pt x="21" y="22"/>
                  <a:pt x="21" y="22"/>
                  <a:pt x="21" y="22"/>
                </a:cubicBezTo>
                <a:cubicBezTo>
                  <a:pt x="22" y="23"/>
                  <a:pt x="22" y="23"/>
                  <a:pt x="22" y="23"/>
                </a:cubicBezTo>
                <a:cubicBezTo>
                  <a:pt x="22" y="23"/>
                  <a:pt x="22" y="23"/>
                  <a:pt x="22" y="23"/>
                </a:cubicBezTo>
                <a:cubicBezTo>
                  <a:pt x="23" y="24"/>
                  <a:pt x="23" y="24"/>
                  <a:pt x="23" y="24"/>
                </a:cubicBezTo>
                <a:cubicBezTo>
                  <a:pt x="24" y="26"/>
                  <a:pt x="24" y="26"/>
                  <a:pt x="24" y="26"/>
                </a:cubicBezTo>
                <a:cubicBezTo>
                  <a:pt x="25" y="26"/>
                  <a:pt x="25" y="26"/>
                  <a:pt x="25" y="26"/>
                </a:cubicBezTo>
                <a:cubicBezTo>
                  <a:pt x="25" y="25"/>
                  <a:pt x="25" y="25"/>
                  <a:pt x="25" y="25"/>
                </a:cubicBezTo>
                <a:cubicBezTo>
                  <a:pt x="25" y="24"/>
                  <a:pt x="25" y="24"/>
                  <a:pt x="25" y="24"/>
                </a:cubicBezTo>
                <a:cubicBezTo>
                  <a:pt x="25" y="23"/>
                  <a:pt x="25" y="23"/>
                  <a:pt x="25" y="23"/>
                </a:cubicBezTo>
                <a:cubicBezTo>
                  <a:pt x="25" y="23"/>
                  <a:pt x="25" y="23"/>
                  <a:pt x="25" y="23"/>
                </a:cubicBezTo>
                <a:cubicBezTo>
                  <a:pt x="26" y="22"/>
                  <a:pt x="26" y="22"/>
                  <a:pt x="26" y="22"/>
                </a:cubicBezTo>
                <a:cubicBezTo>
                  <a:pt x="25" y="22"/>
                  <a:pt x="25" y="22"/>
                  <a:pt x="25" y="22"/>
                </a:cubicBezTo>
                <a:cubicBezTo>
                  <a:pt x="26" y="21"/>
                  <a:pt x="26" y="21"/>
                  <a:pt x="26" y="21"/>
                </a:cubicBezTo>
                <a:cubicBezTo>
                  <a:pt x="27" y="22"/>
                  <a:pt x="27" y="22"/>
                  <a:pt x="27" y="22"/>
                </a:cubicBezTo>
                <a:cubicBezTo>
                  <a:pt x="28" y="22"/>
                  <a:pt x="28" y="22"/>
                  <a:pt x="28" y="22"/>
                </a:cubicBezTo>
                <a:cubicBezTo>
                  <a:pt x="28" y="22"/>
                  <a:pt x="28" y="22"/>
                  <a:pt x="28" y="22"/>
                </a:cubicBezTo>
                <a:cubicBezTo>
                  <a:pt x="29" y="23"/>
                  <a:pt x="29" y="23"/>
                  <a:pt x="29" y="23"/>
                </a:cubicBezTo>
                <a:cubicBezTo>
                  <a:pt x="29" y="25"/>
                  <a:pt x="29" y="25"/>
                  <a:pt x="29" y="25"/>
                </a:cubicBezTo>
                <a:cubicBezTo>
                  <a:pt x="29" y="26"/>
                  <a:pt x="29" y="26"/>
                  <a:pt x="29" y="26"/>
                </a:cubicBezTo>
                <a:cubicBezTo>
                  <a:pt x="29" y="27"/>
                  <a:pt x="29" y="27"/>
                  <a:pt x="29" y="27"/>
                </a:cubicBezTo>
                <a:cubicBezTo>
                  <a:pt x="30" y="30"/>
                  <a:pt x="30" y="30"/>
                  <a:pt x="30" y="30"/>
                </a:cubicBezTo>
                <a:cubicBezTo>
                  <a:pt x="30" y="31"/>
                  <a:pt x="30" y="31"/>
                  <a:pt x="30" y="31"/>
                </a:cubicBezTo>
                <a:cubicBezTo>
                  <a:pt x="31" y="32"/>
                  <a:pt x="31" y="32"/>
                  <a:pt x="31" y="32"/>
                </a:cubicBezTo>
                <a:cubicBezTo>
                  <a:pt x="31" y="33"/>
                  <a:pt x="31" y="33"/>
                  <a:pt x="31" y="33"/>
                </a:cubicBezTo>
                <a:cubicBezTo>
                  <a:pt x="31" y="33"/>
                  <a:pt x="31" y="33"/>
                  <a:pt x="31" y="33"/>
                </a:cubicBezTo>
                <a:cubicBezTo>
                  <a:pt x="31" y="34"/>
                  <a:pt x="31" y="34"/>
                  <a:pt x="31" y="34"/>
                </a:cubicBezTo>
                <a:cubicBezTo>
                  <a:pt x="32" y="34"/>
                  <a:pt x="32" y="34"/>
                  <a:pt x="32" y="34"/>
                </a:cubicBezTo>
                <a:close/>
                <a:moveTo>
                  <a:pt x="23" y="29"/>
                </a:moveTo>
                <a:cubicBezTo>
                  <a:pt x="23" y="29"/>
                  <a:pt x="23" y="29"/>
                  <a:pt x="23" y="29"/>
                </a:cubicBezTo>
                <a:cubicBezTo>
                  <a:pt x="22" y="29"/>
                  <a:pt x="22" y="29"/>
                  <a:pt x="22" y="29"/>
                </a:cubicBezTo>
                <a:cubicBezTo>
                  <a:pt x="22" y="30"/>
                  <a:pt x="22" y="30"/>
                  <a:pt x="22" y="30"/>
                </a:cubicBezTo>
                <a:cubicBezTo>
                  <a:pt x="23" y="30"/>
                  <a:pt x="23" y="30"/>
                  <a:pt x="23" y="30"/>
                </a:cubicBezTo>
                <a:cubicBezTo>
                  <a:pt x="23" y="29"/>
                  <a:pt x="23" y="29"/>
                  <a:pt x="23" y="29"/>
                </a:cubicBezTo>
                <a:close/>
                <a:moveTo>
                  <a:pt x="20" y="29"/>
                </a:moveTo>
                <a:cubicBezTo>
                  <a:pt x="21" y="30"/>
                  <a:pt x="21" y="30"/>
                  <a:pt x="21" y="30"/>
                </a:cubicBezTo>
                <a:cubicBezTo>
                  <a:pt x="20" y="31"/>
                  <a:pt x="20" y="31"/>
                  <a:pt x="20" y="31"/>
                </a:cubicBezTo>
                <a:cubicBezTo>
                  <a:pt x="21" y="32"/>
                  <a:pt x="21" y="32"/>
                  <a:pt x="21" y="32"/>
                </a:cubicBezTo>
                <a:cubicBezTo>
                  <a:pt x="22" y="30"/>
                  <a:pt x="22" y="30"/>
                  <a:pt x="22" y="30"/>
                </a:cubicBezTo>
                <a:cubicBezTo>
                  <a:pt x="21" y="29"/>
                  <a:pt x="21" y="29"/>
                  <a:pt x="21" y="29"/>
                </a:cubicBezTo>
                <a:cubicBezTo>
                  <a:pt x="20" y="28"/>
                  <a:pt x="20" y="28"/>
                  <a:pt x="20" y="28"/>
                </a:cubicBezTo>
                <a:cubicBezTo>
                  <a:pt x="20" y="28"/>
                  <a:pt x="20" y="29"/>
                  <a:pt x="20" y="29"/>
                </a:cubicBezTo>
                <a:close/>
                <a:moveTo>
                  <a:pt x="19" y="28"/>
                </a:moveTo>
                <a:cubicBezTo>
                  <a:pt x="17" y="28"/>
                  <a:pt x="17" y="28"/>
                  <a:pt x="17" y="28"/>
                </a:cubicBezTo>
                <a:cubicBezTo>
                  <a:pt x="18" y="29"/>
                  <a:pt x="18" y="29"/>
                  <a:pt x="18" y="29"/>
                </a:cubicBezTo>
                <a:cubicBezTo>
                  <a:pt x="18" y="31"/>
                  <a:pt x="18" y="31"/>
                  <a:pt x="18" y="31"/>
                </a:cubicBezTo>
                <a:cubicBezTo>
                  <a:pt x="20" y="31"/>
                  <a:pt x="20" y="31"/>
                  <a:pt x="20" y="31"/>
                </a:cubicBezTo>
                <a:cubicBezTo>
                  <a:pt x="19" y="29"/>
                  <a:pt x="19" y="29"/>
                  <a:pt x="19" y="29"/>
                </a:cubicBezTo>
                <a:lnTo>
                  <a:pt x="19" y="28"/>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9" name="Freeform 37">
            <a:extLst>
              <a:ext uri="{FF2B5EF4-FFF2-40B4-BE49-F238E27FC236}">
                <a16:creationId xmlns:a16="http://schemas.microsoft.com/office/drawing/2014/main" id="{11CF9471-B7F1-C599-0021-134AD647234B}"/>
              </a:ext>
            </a:extLst>
          </p:cNvPr>
          <p:cNvSpPr>
            <a:spLocks/>
          </p:cNvSpPr>
          <p:nvPr userDrawn="1"/>
        </p:nvSpPr>
        <p:spPr bwMode="auto">
          <a:xfrm>
            <a:off x="18616987" y="7508159"/>
            <a:ext cx="187314" cy="111126"/>
          </a:xfrm>
          <a:custGeom>
            <a:avLst/>
            <a:gdLst>
              <a:gd name="T0" fmla="*/ 0 w 59"/>
              <a:gd name="T1" fmla="*/ 16 h 35"/>
              <a:gd name="T2" fmla="*/ 3 w 59"/>
              <a:gd name="T3" fmla="*/ 13 h 35"/>
              <a:gd name="T4" fmla="*/ 9 w 59"/>
              <a:gd name="T5" fmla="*/ 7 h 35"/>
              <a:gd name="T6" fmla="*/ 19 w 59"/>
              <a:gd name="T7" fmla="*/ 0 h 35"/>
              <a:gd name="T8" fmla="*/ 25 w 59"/>
              <a:gd name="T9" fmla="*/ 0 h 35"/>
              <a:gd name="T10" fmla="*/ 28 w 59"/>
              <a:gd name="T11" fmla="*/ 3 h 35"/>
              <a:gd name="T12" fmla="*/ 37 w 59"/>
              <a:gd name="T13" fmla="*/ 3 h 35"/>
              <a:gd name="T14" fmla="*/ 41 w 59"/>
              <a:gd name="T15" fmla="*/ 3 h 35"/>
              <a:gd name="T16" fmla="*/ 44 w 59"/>
              <a:gd name="T17" fmla="*/ 3 h 35"/>
              <a:gd name="T18" fmla="*/ 50 w 59"/>
              <a:gd name="T19" fmla="*/ 3 h 35"/>
              <a:gd name="T20" fmla="*/ 53 w 59"/>
              <a:gd name="T21" fmla="*/ 7 h 35"/>
              <a:gd name="T22" fmla="*/ 53 w 59"/>
              <a:gd name="T23" fmla="*/ 7 h 35"/>
              <a:gd name="T24" fmla="*/ 53 w 59"/>
              <a:gd name="T25" fmla="*/ 13 h 35"/>
              <a:gd name="T26" fmla="*/ 53 w 59"/>
              <a:gd name="T27" fmla="*/ 16 h 35"/>
              <a:gd name="T28" fmla="*/ 59 w 59"/>
              <a:gd name="T29" fmla="*/ 19 h 35"/>
              <a:gd name="T30" fmla="*/ 59 w 59"/>
              <a:gd name="T31" fmla="*/ 25 h 35"/>
              <a:gd name="T32" fmla="*/ 59 w 59"/>
              <a:gd name="T33" fmla="*/ 28 h 35"/>
              <a:gd name="T34" fmla="*/ 50 w 59"/>
              <a:gd name="T35" fmla="*/ 28 h 35"/>
              <a:gd name="T36" fmla="*/ 47 w 59"/>
              <a:gd name="T37" fmla="*/ 28 h 35"/>
              <a:gd name="T38" fmla="*/ 37 w 59"/>
              <a:gd name="T39" fmla="*/ 32 h 35"/>
              <a:gd name="T40" fmla="*/ 34 w 59"/>
              <a:gd name="T41" fmla="*/ 28 h 35"/>
              <a:gd name="T42" fmla="*/ 31 w 59"/>
              <a:gd name="T43" fmla="*/ 32 h 35"/>
              <a:gd name="T44" fmla="*/ 28 w 59"/>
              <a:gd name="T45" fmla="*/ 35 h 35"/>
              <a:gd name="T46" fmla="*/ 22 w 59"/>
              <a:gd name="T47" fmla="*/ 35 h 35"/>
              <a:gd name="T48" fmla="*/ 12 w 59"/>
              <a:gd name="T49" fmla="*/ 28 h 35"/>
              <a:gd name="T50" fmla="*/ 9 w 59"/>
              <a:gd name="T51" fmla="*/ 32 h 35"/>
              <a:gd name="T52" fmla="*/ 3 w 59"/>
              <a:gd name="T53" fmla="*/ 28 h 35"/>
              <a:gd name="T54" fmla="*/ 0 w 59"/>
              <a:gd name="T55" fmla="*/ 25 h 35"/>
              <a:gd name="T56" fmla="*/ 0 w 59"/>
              <a:gd name="T57" fmla="*/ 19 h 35"/>
              <a:gd name="T58" fmla="*/ 0 w 59"/>
              <a:gd name="T59" fmla="*/ 1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9" h="35">
                <a:moveTo>
                  <a:pt x="0" y="16"/>
                </a:moveTo>
                <a:lnTo>
                  <a:pt x="3" y="13"/>
                </a:lnTo>
                <a:lnTo>
                  <a:pt x="9" y="7"/>
                </a:lnTo>
                <a:lnTo>
                  <a:pt x="19" y="0"/>
                </a:lnTo>
                <a:lnTo>
                  <a:pt x="25" y="0"/>
                </a:lnTo>
                <a:lnTo>
                  <a:pt x="28" y="3"/>
                </a:lnTo>
                <a:lnTo>
                  <a:pt x="37" y="3"/>
                </a:lnTo>
                <a:lnTo>
                  <a:pt x="41" y="3"/>
                </a:lnTo>
                <a:lnTo>
                  <a:pt x="44" y="3"/>
                </a:lnTo>
                <a:lnTo>
                  <a:pt x="50" y="3"/>
                </a:lnTo>
                <a:lnTo>
                  <a:pt x="53" y="7"/>
                </a:lnTo>
                <a:lnTo>
                  <a:pt x="53" y="7"/>
                </a:lnTo>
                <a:lnTo>
                  <a:pt x="53" y="13"/>
                </a:lnTo>
                <a:lnTo>
                  <a:pt x="53" y="16"/>
                </a:lnTo>
                <a:lnTo>
                  <a:pt x="59" y="19"/>
                </a:lnTo>
                <a:lnTo>
                  <a:pt x="59" y="25"/>
                </a:lnTo>
                <a:lnTo>
                  <a:pt x="59" y="28"/>
                </a:lnTo>
                <a:lnTo>
                  <a:pt x="50" y="28"/>
                </a:lnTo>
                <a:lnTo>
                  <a:pt x="47" y="28"/>
                </a:lnTo>
                <a:lnTo>
                  <a:pt x="37" y="32"/>
                </a:lnTo>
                <a:lnTo>
                  <a:pt x="34" y="28"/>
                </a:lnTo>
                <a:lnTo>
                  <a:pt x="31" y="32"/>
                </a:lnTo>
                <a:lnTo>
                  <a:pt x="28" y="35"/>
                </a:lnTo>
                <a:lnTo>
                  <a:pt x="22" y="35"/>
                </a:lnTo>
                <a:lnTo>
                  <a:pt x="12" y="28"/>
                </a:lnTo>
                <a:lnTo>
                  <a:pt x="9" y="32"/>
                </a:lnTo>
                <a:lnTo>
                  <a:pt x="3" y="28"/>
                </a:lnTo>
                <a:lnTo>
                  <a:pt x="0" y="25"/>
                </a:lnTo>
                <a:lnTo>
                  <a:pt x="0" y="19"/>
                </a:lnTo>
                <a:lnTo>
                  <a:pt x="0" y="16"/>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0" name="Freeform 38">
            <a:extLst>
              <a:ext uri="{FF2B5EF4-FFF2-40B4-BE49-F238E27FC236}">
                <a16:creationId xmlns:a16="http://schemas.microsoft.com/office/drawing/2014/main" id="{F14DD383-CD13-C224-A9E6-3BFF9D6B5D46}"/>
              </a:ext>
            </a:extLst>
          </p:cNvPr>
          <p:cNvSpPr>
            <a:spLocks/>
          </p:cNvSpPr>
          <p:nvPr userDrawn="1"/>
        </p:nvSpPr>
        <p:spPr bwMode="auto">
          <a:xfrm>
            <a:off x="18061399" y="7358932"/>
            <a:ext cx="514317" cy="279400"/>
          </a:xfrm>
          <a:custGeom>
            <a:avLst/>
            <a:gdLst>
              <a:gd name="T0" fmla="*/ 9 w 162"/>
              <a:gd name="T1" fmla="*/ 0 h 88"/>
              <a:gd name="T2" fmla="*/ 16 w 162"/>
              <a:gd name="T3" fmla="*/ 7 h 88"/>
              <a:gd name="T4" fmla="*/ 22 w 162"/>
              <a:gd name="T5" fmla="*/ 7 h 88"/>
              <a:gd name="T6" fmla="*/ 28 w 162"/>
              <a:gd name="T7" fmla="*/ 4 h 88"/>
              <a:gd name="T8" fmla="*/ 37 w 162"/>
              <a:gd name="T9" fmla="*/ 10 h 88"/>
              <a:gd name="T10" fmla="*/ 47 w 162"/>
              <a:gd name="T11" fmla="*/ 10 h 88"/>
              <a:gd name="T12" fmla="*/ 56 w 162"/>
              <a:gd name="T13" fmla="*/ 16 h 88"/>
              <a:gd name="T14" fmla="*/ 62 w 162"/>
              <a:gd name="T15" fmla="*/ 22 h 88"/>
              <a:gd name="T16" fmla="*/ 66 w 162"/>
              <a:gd name="T17" fmla="*/ 29 h 88"/>
              <a:gd name="T18" fmla="*/ 69 w 162"/>
              <a:gd name="T19" fmla="*/ 22 h 88"/>
              <a:gd name="T20" fmla="*/ 72 w 162"/>
              <a:gd name="T21" fmla="*/ 22 h 88"/>
              <a:gd name="T22" fmla="*/ 81 w 162"/>
              <a:gd name="T23" fmla="*/ 25 h 88"/>
              <a:gd name="T24" fmla="*/ 87 w 162"/>
              <a:gd name="T25" fmla="*/ 35 h 88"/>
              <a:gd name="T26" fmla="*/ 97 w 162"/>
              <a:gd name="T27" fmla="*/ 35 h 88"/>
              <a:gd name="T28" fmla="*/ 100 w 162"/>
              <a:gd name="T29" fmla="*/ 47 h 88"/>
              <a:gd name="T30" fmla="*/ 109 w 162"/>
              <a:gd name="T31" fmla="*/ 47 h 88"/>
              <a:gd name="T32" fmla="*/ 116 w 162"/>
              <a:gd name="T33" fmla="*/ 44 h 88"/>
              <a:gd name="T34" fmla="*/ 125 w 162"/>
              <a:gd name="T35" fmla="*/ 41 h 88"/>
              <a:gd name="T36" fmla="*/ 131 w 162"/>
              <a:gd name="T37" fmla="*/ 50 h 88"/>
              <a:gd name="T38" fmla="*/ 141 w 162"/>
              <a:gd name="T39" fmla="*/ 57 h 88"/>
              <a:gd name="T40" fmla="*/ 150 w 162"/>
              <a:gd name="T41" fmla="*/ 57 h 88"/>
              <a:gd name="T42" fmla="*/ 156 w 162"/>
              <a:gd name="T43" fmla="*/ 54 h 88"/>
              <a:gd name="T44" fmla="*/ 162 w 162"/>
              <a:gd name="T45" fmla="*/ 60 h 88"/>
              <a:gd name="T46" fmla="*/ 162 w 162"/>
              <a:gd name="T47" fmla="*/ 75 h 88"/>
              <a:gd name="T48" fmla="*/ 150 w 162"/>
              <a:gd name="T49" fmla="*/ 88 h 88"/>
              <a:gd name="T50" fmla="*/ 137 w 162"/>
              <a:gd name="T51" fmla="*/ 85 h 88"/>
              <a:gd name="T52" fmla="*/ 116 w 162"/>
              <a:gd name="T53" fmla="*/ 79 h 88"/>
              <a:gd name="T54" fmla="*/ 100 w 162"/>
              <a:gd name="T55" fmla="*/ 79 h 88"/>
              <a:gd name="T56" fmla="*/ 94 w 162"/>
              <a:gd name="T57" fmla="*/ 69 h 88"/>
              <a:gd name="T58" fmla="*/ 75 w 162"/>
              <a:gd name="T59" fmla="*/ 69 h 88"/>
              <a:gd name="T60" fmla="*/ 62 w 162"/>
              <a:gd name="T61" fmla="*/ 69 h 88"/>
              <a:gd name="T62" fmla="*/ 50 w 162"/>
              <a:gd name="T63" fmla="*/ 63 h 88"/>
              <a:gd name="T64" fmla="*/ 37 w 162"/>
              <a:gd name="T65" fmla="*/ 60 h 88"/>
              <a:gd name="T66" fmla="*/ 22 w 162"/>
              <a:gd name="T67" fmla="*/ 47 h 88"/>
              <a:gd name="T68" fmla="*/ 12 w 162"/>
              <a:gd name="T69" fmla="*/ 41 h 88"/>
              <a:gd name="T70" fmla="*/ 6 w 162"/>
              <a:gd name="T71" fmla="*/ 38 h 88"/>
              <a:gd name="T72" fmla="*/ 0 w 162"/>
              <a:gd name="T73" fmla="*/ 35 h 88"/>
              <a:gd name="T74" fmla="*/ 6 w 162"/>
              <a:gd name="T75" fmla="*/ 19 h 88"/>
              <a:gd name="T76" fmla="*/ 6 w 162"/>
              <a:gd name="T77" fmla="*/ 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88">
                <a:moveTo>
                  <a:pt x="6" y="4"/>
                </a:moveTo>
                <a:lnTo>
                  <a:pt x="9" y="0"/>
                </a:lnTo>
                <a:lnTo>
                  <a:pt x="16" y="4"/>
                </a:lnTo>
                <a:lnTo>
                  <a:pt x="16" y="7"/>
                </a:lnTo>
                <a:lnTo>
                  <a:pt x="19" y="7"/>
                </a:lnTo>
                <a:lnTo>
                  <a:pt x="22" y="7"/>
                </a:lnTo>
                <a:lnTo>
                  <a:pt x="25" y="4"/>
                </a:lnTo>
                <a:lnTo>
                  <a:pt x="28" y="4"/>
                </a:lnTo>
                <a:lnTo>
                  <a:pt x="37" y="7"/>
                </a:lnTo>
                <a:lnTo>
                  <a:pt x="37" y="10"/>
                </a:lnTo>
                <a:lnTo>
                  <a:pt x="44" y="10"/>
                </a:lnTo>
                <a:lnTo>
                  <a:pt x="47" y="10"/>
                </a:lnTo>
                <a:lnTo>
                  <a:pt x="53" y="16"/>
                </a:lnTo>
                <a:lnTo>
                  <a:pt x="56" y="16"/>
                </a:lnTo>
                <a:lnTo>
                  <a:pt x="59" y="19"/>
                </a:lnTo>
                <a:lnTo>
                  <a:pt x="62" y="22"/>
                </a:lnTo>
                <a:lnTo>
                  <a:pt x="66" y="25"/>
                </a:lnTo>
                <a:lnTo>
                  <a:pt x="66" y="29"/>
                </a:lnTo>
                <a:lnTo>
                  <a:pt x="69" y="29"/>
                </a:lnTo>
                <a:lnTo>
                  <a:pt x="69" y="22"/>
                </a:lnTo>
                <a:lnTo>
                  <a:pt x="72" y="22"/>
                </a:lnTo>
                <a:lnTo>
                  <a:pt x="72" y="22"/>
                </a:lnTo>
                <a:lnTo>
                  <a:pt x="78" y="22"/>
                </a:lnTo>
                <a:lnTo>
                  <a:pt x="81" y="25"/>
                </a:lnTo>
                <a:lnTo>
                  <a:pt x="81" y="32"/>
                </a:lnTo>
                <a:lnTo>
                  <a:pt x="87" y="35"/>
                </a:lnTo>
                <a:lnTo>
                  <a:pt x="94" y="35"/>
                </a:lnTo>
                <a:lnTo>
                  <a:pt x="97" y="35"/>
                </a:lnTo>
                <a:lnTo>
                  <a:pt x="97" y="41"/>
                </a:lnTo>
                <a:lnTo>
                  <a:pt x="100" y="47"/>
                </a:lnTo>
                <a:lnTo>
                  <a:pt x="103" y="47"/>
                </a:lnTo>
                <a:lnTo>
                  <a:pt x="109" y="47"/>
                </a:lnTo>
                <a:lnTo>
                  <a:pt x="109" y="47"/>
                </a:lnTo>
                <a:lnTo>
                  <a:pt x="116" y="44"/>
                </a:lnTo>
                <a:lnTo>
                  <a:pt x="119" y="41"/>
                </a:lnTo>
                <a:lnTo>
                  <a:pt x="125" y="41"/>
                </a:lnTo>
                <a:lnTo>
                  <a:pt x="131" y="44"/>
                </a:lnTo>
                <a:lnTo>
                  <a:pt x="131" y="50"/>
                </a:lnTo>
                <a:lnTo>
                  <a:pt x="137" y="50"/>
                </a:lnTo>
                <a:lnTo>
                  <a:pt x="141" y="57"/>
                </a:lnTo>
                <a:lnTo>
                  <a:pt x="144" y="57"/>
                </a:lnTo>
                <a:lnTo>
                  <a:pt x="150" y="57"/>
                </a:lnTo>
                <a:lnTo>
                  <a:pt x="150" y="57"/>
                </a:lnTo>
                <a:lnTo>
                  <a:pt x="156" y="54"/>
                </a:lnTo>
                <a:lnTo>
                  <a:pt x="159" y="54"/>
                </a:lnTo>
                <a:lnTo>
                  <a:pt x="162" y="60"/>
                </a:lnTo>
                <a:lnTo>
                  <a:pt x="159" y="69"/>
                </a:lnTo>
                <a:lnTo>
                  <a:pt x="162" y="75"/>
                </a:lnTo>
                <a:lnTo>
                  <a:pt x="162" y="85"/>
                </a:lnTo>
                <a:lnTo>
                  <a:pt x="150" y="88"/>
                </a:lnTo>
                <a:lnTo>
                  <a:pt x="144" y="85"/>
                </a:lnTo>
                <a:lnTo>
                  <a:pt x="137" y="85"/>
                </a:lnTo>
                <a:lnTo>
                  <a:pt x="122" y="79"/>
                </a:lnTo>
                <a:lnTo>
                  <a:pt x="116" y="79"/>
                </a:lnTo>
                <a:lnTo>
                  <a:pt x="112" y="82"/>
                </a:lnTo>
                <a:lnTo>
                  <a:pt x="100" y="79"/>
                </a:lnTo>
                <a:lnTo>
                  <a:pt x="97" y="75"/>
                </a:lnTo>
                <a:lnTo>
                  <a:pt x="94" y="69"/>
                </a:lnTo>
                <a:lnTo>
                  <a:pt x="84" y="66"/>
                </a:lnTo>
                <a:lnTo>
                  <a:pt x="75" y="69"/>
                </a:lnTo>
                <a:lnTo>
                  <a:pt x="72" y="66"/>
                </a:lnTo>
                <a:lnTo>
                  <a:pt x="62" y="69"/>
                </a:lnTo>
                <a:lnTo>
                  <a:pt x="56" y="63"/>
                </a:lnTo>
                <a:lnTo>
                  <a:pt x="50" y="63"/>
                </a:lnTo>
                <a:lnTo>
                  <a:pt x="47" y="60"/>
                </a:lnTo>
                <a:lnTo>
                  <a:pt x="37" y="60"/>
                </a:lnTo>
                <a:lnTo>
                  <a:pt x="31" y="50"/>
                </a:lnTo>
                <a:lnTo>
                  <a:pt x="22" y="47"/>
                </a:lnTo>
                <a:lnTo>
                  <a:pt x="16" y="44"/>
                </a:lnTo>
                <a:lnTo>
                  <a:pt x="12" y="41"/>
                </a:lnTo>
                <a:lnTo>
                  <a:pt x="9" y="41"/>
                </a:lnTo>
                <a:lnTo>
                  <a:pt x="6" y="38"/>
                </a:lnTo>
                <a:lnTo>
                  <a:pt x="3" y="38"/>
                </a:lnTo>
                <a:lnTo>
                  <a:pt x="0" y="35"/>
                </a:lnTo>
                <a:lnTo>
                  <a:pt x="6" y="25"/>
                </a:lnTo>
                <a:lnTo>
                  <a:pt x="6" y="19"/>
                </a:lnTo>
                <a:lnTo>
                  <a:pt x="9" y="10"/>
                </a:lnTo>
                <a:lnTo>
                  <a:pt x="6" y="4"/>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1" name="Freeform 39">
            <a:extLst>
              <a:ext uri="{FF2B5EF4-FFF2-40B4-BE49-F238E27FC236}">
                <a16:creationId xmlns:a16="http://schemas.microsoft.com/office/drawing/2014/main" id="{E1CD081F-6D7B-1DAE-9FD8-3557668C3584}"/>
              </a:ext>
            </a:extLst>
          </p:cNvPr>
          <p:cNvSpPr>
            <a:spLocks/>
          </p:cNvSpPr>
          <p:nvPr userDrawn="1"/>
        </p:nvSpPr>
        <p:spPr bwMode="auto">
          <a:xfrm>
            <a:off x="16880371" y="6904909"/>
            <a:ext cx="863544" cy="952502"/>
          </a:xfrm>
          <a:custGeom>
            <a:avLst/>
            <a:gdLst>
              <a:gd name="T0" fmla="*/ 163 w 272"/>
              <a:gd name="T1" fmla="*/ 287 h 300"/>
              <a:gd name="T2" fmla="*/ 184 w 272"/>
              <a:gd name="T3" fmla="*/ 284 h 300"/>
              <a:gd name="T4" fmla="*/ 197 w 272"/>
              <a:gd name="T5" fmla="*/ 281 h 300"/>
              <a:gd name="T6" fmla="*/ 206 w 272"/>
              <a:gd name="T7" fmla="*/ 278 h 300"/>
              <a:gd name="T8" fmla="*/ 200 w 272"/>
              <a:gd name="T9" fmla="*/ 253 h 300"/>
              <a:gd name="T10" fmla="*/ 184 w 272"/>
              <a:gd name="T11" fmla="*/ 240 h 300"/>
              <a:gd name="T12" fmla="*/ 178 w 272"/>
              <a:gd name="T13" fmla="*/ 231 h 300"/>
              <a:gd name="T14" fmla="*/ 172 w 272"/>
              <a:gd name="T15" fmla="*/ 215 h 300"/>
              <a:gd name="T16" fmla="*/ 184 w 272"/>
              <a:gd name="T17" fmla="*/ 203 h 300"/>
              <a:gd name="T18" fmla="*/ 194 w 272"/>
              <a:gd name="T19" fmla="*/ 206 h 300"/>
              <a:gd name="T20" fmla="*/ 222 w 272"/>
              <a:gd name="T21" fmla="*/ 184 h 300"/>
              <a:gd name="T22" fmla="*/ 241 w 272"/>
              <a:gd name="T23" fmla="*/ 159 h 300"/>
              <a:gd name="T24" fmla="*/ 247 w 272"/>
              <a:gd name="T25" fmla="*/ 147 h 300"/>
              <a:gd name="T26" fmla="*/ 256 w 272"/>
              <a:gd name="T27" fmla="*/ 125 h 300"/>
              <a:gd name="T28" fmla="*/ 263 w 272"/>
              <a:gd name="T29" fmla="*/ 109 h 300"/>
              <a:gd name="T30" fmla="*/ 272 w 272"/>
              <a:gd name="T31" fmla="*/ 96 h 300"/>
              <a:gd name="T32" fmla="*/ 253 w 272"/>
              <a:gd name="T33" fmla="*/ 90 h 300"/>
              <a:gd name="T34" fmla="*/ 231 w 272"/>
              <a:gd name="T35" fmla="*/ 75 h 300"/>
              <a:gd name="T36" fmla="*/ 228 w 272"/>
              <a:gd name="T37" fmla="*/ 46 h 300"/>
              <a:gd name="T38" fmla="*/ 228 w 272"/>
              <a:gd name="T39" fmla="*/ 34 h 300"/>
              <a:gd name="T40" fmla="*/ 213 w 272"/>
              <a:gd name="T41" fmla="*/ 18 h 300"/>
              <a:gd name="T42" fmla="*/ 203 w 272"/>
              <a:gd name="T43" fmla="*/ 9 h 300"/>
              <a:gd name="T44" fmla="*/ 200 w 272"/>
              <a:gd name="T45" fmla="*/ 0 h 300"/>
              <a:gd name="T46" fmla="*/ 181 w 272"/>
              <a:gd name="T47" fmla="*/ 12 h 300"/>
              <a:gd name="T48" fmla="*/ 175 w 272"/>
              <a:gd name="T49" fmla="*/ 46 h 300"/>
              <a:gd name="T50" fmla="*/ 169 w 272"/>
              <a:gd name="T51" fmla="*/ 65 h 300"/>
              <a:gd name="T52" fmla="*/ 163 w 272"/>
              <a:gd name="T53" fmla="*/ 71 h 300"/>
              <a:gd name="T54" fmla="*/ 156 w 272"/>
              <a:gd name="T55" fmla="*/ 84 h 300"/>
              <a:gd name="T56" fmla="*/ 153 w 272"/>
              <a:gd name="T57" fmla="*/ 103 h 300"/>
              <a:gd name="T58" fmla="*/ 144 w 272"/>
              <a:gd name="T59" fmla="*/ 112 h 300"/>
              <a:gd name="T60" fmla="*/ 134 w 272"/>
              <a:gd name="T61" fmla="*/ 115 h 300"/>
              <a:gd name="T62" fmla="*/ 125 w 272"/>
              <a:gd name="T63" fmla="*/ 125 h 300"/>
              <a:gd name="T64" fmla="*/ 109 w 272"/>
              <a:gd name="T65" fmla="*/ 131 h 300"/>
              <a:gd name="T66" fmla="*/ 100 w 272"/>
              <a:gd name="T67" fmla="*/ 140 h 300"/>
              <a:gd name="T68" fmla="*/ 103 w 272"/>
              <a:gd name="T69" fmla="*/ 159 h 300"/>
              <a:gd name="T70" fmla="*/ 81 w 272"/>
              <a:gd name="T71" fmla="*/ 168 h 300"/>
              <a:gd name="T72" fmla="*/ 56 w 272"/>
              <a:gd name="T73" fmla="*/ 172 h 300"/>
              <a:gd name="T74" fmla="*/ 0 w 272"/>
              <a:gd name="T75" fmla="*/ 165 h 300"/>
              <a:gd name="T76" fmla="*/ 22 w 272"/>
              <a:gd name="T77" fmla="*/ 193 h 300"/>
              <a:gd name="T78" fmla="*/ 34 w 272"/>
              <a:gd name="T79" fmla="*/ 200 h 300"/>
              <a:gd name="T80" fmla="*/ 41 w 272"/>
              <a:gd name="T81" fmla="*/ 215 h 300"/>
              <a:gd name="T82" fmla="*/ 53 w 272"/>
              <a:gd name="T83" fmla="*/ 231 h 300"/>
              <a:gd name="T84" fmla="*/ 34 w 272"/>
              <a:gd name="T85" fmla="*/ 234 h 300"/>
              <a:gd name="T86" fmla="*/ 22 w 272"/>
              <a:gd name="T87" fmla="*/ 250 h 300"/>
              <a:gd name="T88" fmla="*/ 25 w 272"/>
              <a:gd name="T89" fmla="*/ 265 h 300"/>
              <a:gd name="T90" fmla="*/ 37 w 272"/>
              <a:gd name="T91" fmla="*/ 265 h 300"/>
              <a:gd name="T92" fmla="*/ 47 w 272"/>
              <a:gd name="T93" fmla="*/ 262 h 300"/>
              <a:gd name="T94" fmla="*/ 56 w 272"/>
              <a:gd name="T95" fmla="*/ 262 h 300"/>
              <a:gd name="T96" fmla="*/ 66 w 272"/>
              <a:gd name="T97" fmla="*/ 262 h 300"/>
              <a:gd name="T98" fmla="*/ 72 w 272"/>
              <a:gd name="T99" fmla="*/ 262 h 300"/>
              <a:gd name="T100" fmla="*/ 87 w 272"/>
              <a:gd name="T101" fmla="*/ 259 h 300"/>
              <a:gd name="T102" fmla="*/ 97 w 272"/>
              <a:gd name="T103" fmla="*/ 259 h 300"/>
              <a:gd name="T104" fmla="*/ 116 w 272"/>
              <a:gd name="T105" fmla="*/ 259 h 300"/>
              <a:gd name="T106" fmla="*/ 122 w 272"/>
              <a:gd name="T107" fmla="*/ 269 h 300"/>
              <a:gd name="T108" fmla="*/ 128 w 272"/>
              <a:gd name="T109" fmla="*/ 269 h 300"/>
              <a:gd name="T110" fmla="*/ 134 w 272"/>
              <a:gd name="T111" fmla="*/ 284 h 300"/>
              <a:gd name="T112" fmla="*/ 137 w 272"/>
              <a:gd name="T113" fmla="*/ 290 h 300"/>
              <a:gd name="T114" fmla="*/ 153 w 272"/>
              <a:gd name="T115" fmla="*/ 29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2" h="300">
                <a:moveTo>
                  <a:pt x="156" y="297"/>
                </a:moveTo>
                <a:lnTo>
                  <a:pt x="156" y="290"/>
                </a:lnTo>
                <a:lnTo>
                  <a:pt x="159" y="290"/>
                </a:lnTo>
                <a:lnTo>
                  <a:pt x="163" y="287"/>
                </a:lnTo>
                <a:lnTo>
                  <a:pt x="166" y="284"/>
                </a:lnTo>
                <a:lnTo>
                  <a:pt x="169" y="284"/>
                </a:lnTo>
                <a:lnTo>
                  <a:pt x="172" y="281"/>
                </a:lnTo>
                <a:lnTo>
                  <a:pt x="184" y="284"/>
                </a:lnTo>
                <a:lnTo>
                  <a:pt x="194" y="281"/>
                </a:lnTo>
                <a:lnTo>
                  <a:pt x="194" y="278"/>
                </a:lnTo>
                <a:lnTo>
                  <a:pt x="200" y="278"/>
                </a:lnTo>
                <a:lnTo>
                  <a:pt x="197" y="281"/>
                </a:lnTo>
                <a:lnTo>
                  <a:pt x="200" y="281"/>
                </a:lnTo>
                <a:lnTo>
                  <a:pt x="203" y="281"/>
                </a:lnTo>
                <a:lnTo>
                  <a:pt x="206" y="278"/>
                </a:lnTo>
                <a:lnTo>
                  <a:pt x="206" y="278"/>
                </a:lnTo>
                <a:lnTo>
                  <a:pt x="206" y="275"/>
                </a:lnTo>
                <a:lnTo>
                  <a:pt x="203" y="262"/>
                </a:lnTo>
                <a:lnTo>
                  <a:pt x="197" y="256"/>
                </a:lnTo>
                <a:lnTo>
                  <a:pt x="200" y="253"/>
                </a:lnTo>
                <a:lnTo>
                  <a:pt x="197" y="250"/>
                </a:lnTo>
                <a:lnTo>
                  <a:pt x="194" y="253"/>
                </a:lnTo>
                <a:lnTo>
                  <a:pt x="188" y="247"/>
                </a:lnTo>
                <a:lnTo>
                  <a:pt x="184" y="240"/>
                </a:lnTo>
                <a:lnTo>
                  <a:pt x="184" y="234"/>
                </a:lnTo>
                <a:lnTo>
                  <a:pt x="181" y="228"/>
                </a:lnTo>
                <a:lnTo>
                  <a:pt x="178" y="228"/>
                </a:lnTo>
                <a:lnTo>
                  <a:pt x="178" y="231"/>
                </a:lnTo>
                <a:lnTo>
                  <a:pt x="172" y="228"/>
                </a:lnTo>
                <a:lnTo>
                  <a:pt x="169" y="228"/>
                </a:lnTo>
                <a:lnTo>
                  <a:pt x="169" y="225"/>
                </a:lnTo>
                <a:lnTo>
                  <a:pt x="172" y="215"/>
                </a:lnTo>
                <a:lnTo>
                  <a:pt x="175" y="215"/>
                </a:lnTo>
                <a:lnTo>
                  <a:pt x="181" y="206"/>
                </a:lnTo>
                <a:lnTo>
                  <a:pt x="181" y="203"/>
                </a:lnTo>
                <a:lnTo>
                  <a:pt x="184" y="203"/>
                </a:lnTo>
                <a:lnTo>
                  <a:pt x="188" y="200"/>
                </a:lnTo>
                <a:lnTo>
                  <a:pt x="191" y="203"/>
                </a:lnTo>
                <a:lnTo>
                  <a:pt x="194" y="206"/>
                </a:lnTo>
                <a:lnTo>
                  <a:pt x="194" y="206"/>
                </a:lnTo>
                <a:lnTo>
                  <a:pt x="203" y="203"/>
                </a:lnTo>
                <a:lnTo>
                  <a:pt x="213" y="203"/>
                </a:lnTo>
                <a:lnTo>
                  <a:pt x="219" y="197"/>
                </a:lnTo>
                <a:lnTo>
                  <a:pt x="222" y="184"/>
                </a:lnTo>
                <a:lnTo>
                  <a:pt x="231" y="178"/>
                </a:lnTo>
                <a:lnTo>
                  <a:pt x="234" y="172"/>
                </a:lnTo>
                <a:lnTo>
                  <a:pt x="234" y="165"/>
                </a:lnTo>
                <a:lnTo>
                  <a:pt x="241" y="159"/>
                </a:lnTo>
                <a:lnTo>
                  <a:pt x="247" y="156"/>
                </a:lnTo>
                <a:lnTo>
                  <a:pt x="247" y="153"/>
                </a:lnTo>
                <a:lnTo>
                  <a:pt x="247" y="150"/>
                </a:lnTo>
                <a:lnTo>
                  <a:pt x="247" y="147"/>
                </a:lnTo>
                <a:lnTo>
                  <a:pt x="250" y="140"/>
                </a:lnTo>
                <a:lnTo>
                  <a:pt x="253" y="137"/>
                </a:lnTo>
                <a:lnTo>
                  <a:pt x="253" y="134"/>
                </a:lnTo>
                <a:lnTo>
                  <a:pt x="256" y="125"/>
                </a:lnTo>
                <a:lnTo>
                  <a:pt x="253" y="115"/>
                </a:lnTo>
                <a:lnTo>
                  <a:pt x="253" y="115"/>
                </a:lnTo>
                <a:lnTo>
                  <a:pt x="259" y="109"/>
                </a:lnTo>
                <a:lnTo>
                  <a:pt x="263" y="109"/>
                </a:lnTo>
                <a:lnTo>
                  <a:pt x="266" y="106"/>
                </a:lnTo>
                <a:lnTo>
                  <a:pt x="269" y="106"/>
                </a:lnTo>
                <a:lnTo>
                  <a:pt x="272" y="103"/>
                </a:lnTo>
                <a:lnTo>
                  <a:pt x="272" y="96"/>
                </a:lnTo>
                <a:lnTo>
                  <a:pt x="266" y="96"/>
                </a:lnTo>
                <a:lnTo>
                  <a:pt x="263" y="96"/>
                </a:lnTo>
                <a:lnTo>
                  <a:pt x="256" y="96"/>
                </a:lnTo>
                <a:lnTo>
                  <a:pt x="253" y="90"/>
                </a:lnTo>
                <a:lnTo>
                  <a:pt x="247" y="87"/>
                </a:lnTo>
                <a:lnTo>
                  <a:pt x="241" y="87"/>
                </a:lnTo>
                <a:lnTo>
                  <a:pt x="231" y="81"/>
                </a:lnTo>
                <a:lnTo>
                  <a:pt x="231" y="75"/>
                </a:lnTo>
                <a:lnTo>
                  <a:pt x="228" y="62"/>
                </a:lnTo>
                <a:lnTo>
                  <a:pt x="225" y="56"/>
                </a:lnTo>
                <a:lnTo>
                  <a:pt x="225" y="50"/>
                </a:lnTo>
                <a:lnTo>
                  <a:pt x="228" y="46"/>
                </a:lnTo>
                <a:lnTo>
                  <a:pt x="228" y="43"/>
                </a:lnTo>
                <a:lnTo>
                  <a:pt x="234" y="40"/>
                </a:lnTo>
                <a:lnTo>
                  <a:pt x="234" y="37"/>
                </a:lnTo>
                <a:lnTo>
                  <a:pt x="228" y="34"/>
                </a:lnTo>
                <a:lnTo>
                  <a:pt x="228" y="31"/>
                </a:lnTo>
                <a:lnTo>
                  <a:pt x="222" y="28"/>
                </a:lnTo>
                <a:lnTo>
                  <a:pt x="216" y="21"/>
                </a:lnTo>
                <a:lnTo>
                  <a:pt x="213" y="18"/>
                </a:lnTo>
                <a:lnTo>
                  <a:pt x="209" y="18"/>
                </a:lnTo>
                <a:lnTo>
                  <a:pt x="206" y="21"/>
                </a:lnTo>
                <a:lnTo>
                  <a:pt x="203" y="18"/>
                </a:lnTo>
                <a:lnTo>
                  <a:pt x="203" y="9"/>
                </a:lnTo>
                <a:lnTo>
                  <a:pt x="213" y="3"/>
                </a:lnTo>
                <a:lnTo>
                  <a:pt x="209" y="0"/>
                </a:lnTo>
                <a:lnTo>
                  <a:pt x="206" y="0"/>
                </a:lnTo>
                <a:lnTo>
                  <a:pt x="200" y="0"/>
                </a:lnTo>
                <a:lnTo>
                  <a:pt x="194" y="3"/>
                </a:lnTo>
                <a:lnTo>
                  <a:pt x="188" y="6"/>
                </a:lnTo>
                <a:lnTo>
                  <a:pt x="184" y="6"/>
                </a:lnTo>
                <a:lnTo>
                  <a:pt x="181" y="12"/>
                </a:lnTo>
                <a:lnTo>
                  <a:pt x="178" y="15"/>
                </a:lnTo>
                <a:lnTo>
                  <a:pt x="184" y="28"/>
                </a:lnTo>
                <a:lnTo>
                  <a:pt x="184" y="34"/>
                </a:lnTo>
                <a:lnTo>
                  <a:pt x="175" y="46"/>
                </a:lnTo>
                <a:lnTo>
                  <a:pt x="181" y="53"/>
                </a:lnTo>
                <a:lnTo>
                  <a:pt x="181" y="59"/>
                </a:lnTo>
                <a:lnTo>
                  <a:pt x="175" y="65"/>
                </a:lnTo>
                <a:lnTo>
                  <a:pt x="169" y="65"/>
                </a:lnTo>
                <a:lnTo>
                  <a:pt x="163" y="62"/>
                </a:lnTo>
                <a:lnTo>
                  <a:pt x="156" y="65"/>
                </a:lnTo>
                <a:lnTo>
                  <a:pt x="159" y="71"/>
                </a:lnTo>
                <a:lnTo>
                  <a:pt x="163" y="71"/>
                </a:lnTo>
                <a:lnTo>
                  <a:pt x="166" y="78"/>
                </a:lnTo>
                <a:lnTo>
                  <a:pt x="166" y="81"/>
                </a:lnTo>
                <a:lnTo>
                  <a:pt x="159" y="84"/>
                </a:lnTo>
                <a:lnTo>
                  <a:pt x="156" y="84"/>
                </a:lnTo>
                <a:lnTo>
                  <a:pt x="153" y="87"/>
                </a:lnTo>
                <a:lnTo>
                  <a:pt x="153" y="93"/>
                </a:lnTo>
                <a:lnTo>
                  <a:pt x="153" y="100"/>
                </a:lnTo>
                <a:lnTo>
                  <a:pt x="153" y="103"/>
                </a:lnTo>
                <a:lnTo>
                  <a:pt x="150" y="103"/>
                </a:lnTo>
                <a:lnTo>
                  <a:pt x="153" y="112"/>
                </a:lnTo>
                <a:lnTo>
                  <a:pt x="147" y="118"/>
                </a:lnTo>
                <a:lnTo>
                  <a:pt x="144" y="112"/>
                </a:lnTo>
                <a:lnTo>
                  <a:pt x="141" y="112"/>
                </a:lnTo>
                <a:lnTo>
                  <a:pt x="141" y="115"/>
                </a:lnTo>
                <a:lnTo>
                  <a:pt x="137" y="115"/>
                </a:lnTo>
                <a:lnTo>
                  <a:pt x="134" y="115"/>
                </a:lnTo>
                <a:lnTo>
                  <a:pt x="131" y="115"/>
                </a:lnTo>
                <a:lnTo>
                  <a:pt x="128" y="118"/>
                </a:lnTo>
                <a:lnTo>
                  <a:pt x="122" y="122"/>
                </a:lnTo>
                <a:lnTo>
                  <a:pt x="125" y="125"/>
                </a:lnTo>
                <a:lnTo>
                  <a:pt x="122" y="128"/>
                </a:lnTo>
                <a:lnTo>
                  <a:pt x="116" y="131"/>
                </a:lnTo>
                <a:lnTo>
                  <a:pt x="112" y="128"/>
                </a:lnTo>
                <a:lnTo>
                  <a:pt x="109" y="131"/>
                </a:lnTo>
                <a:lnTo>
                  <a:pt x="106" y="131"/>
                </a:lnTo>
                <a:lnTo>
                  <a:pt x="106" y="134"/>
                </a:lnTo>
                <a:lnTo>
                  <a:pt x="103" y="137"/>
                </a:lnTo>
                <a:lnTo>
                  <a:pt x="100" y="140"/>
                </a:lnTo>
                <a:lnTo>
                  <a:pt x="100" y="147"/>
                </a:lnTo>
                <a:lnTo>
                  <a:pt x="100" y="153"/>
                </a:lnTo>
                <a:lnTo>
                  <a:pt x="100" y="156"/>
                </a:lnTo>
                <a:lnTo>
                  <a:pt x="103" y="159"/>
                </a:lnTo>
                <a:lnTo>
                  <a:pt x="100" y="162"/>
                </a:lnTo>
                <a:lnTo>
                  <a:pt x="94" y="165"/>
                </a:lnTo>
                <a:lnTo>
                  <a:pt x="87" y="165"/>
                </a:lnTo>
                <a:lnTo>
                  <a:pt x="81" y="168"/>
                </a:lnTo>
                <a:lnTo>
                  <a:pt x="69" y="168"/>
                </a:lnTo>
                <a:lnTo>
                  <a:pt x="62" y="168"/>
                </a:lnTo>
                <a:lnTo>
                  <a:pt x="62" y="172"/>
                </a:lnTo>
                <a:lnTo>
                  <a:pt x="56" y="172"/>
                </a:lnTo>
                <a:lnTo>
                  <a:pt x="47" y="175"/>
                </a:lnTo>
                <a:lnTo>
                  <a:pt x="25" y="175"/>
                </a:lnTo>
                <a:lnTo>
                  <a:pt x="0" y="165"/>
                </a:lnTo>
                <a:lnTo>
                  <a:pt x="0" y="165"/>
                </a:lnTo>
                <a:lnTo>
                  <a:pt x="9" y="181"/>
                </a:lnTo>
                <a:lnTo>
                  <a:pt x="12" y="184"/>
                </a:lnTo>
                <a:lnTo>
                  <a:pt x="16" y="190"/>
                </a:lnTo>
                <a:lnTo>
                  <a:pt x="22" y="193"/>
                </a:lnTo>
                <a:lnTo>
                  <a:pt x="22" y="193"/>
                </a:lnTo>
                <a:lnTo>
                  <a:pt x="28" y="193"/>
                </a:lnTo>
                <a:lnTo>
                  <a:pt x="34" y="197"/>
                </a:lnTo>
                <a:lnTo>
                  <a:pt x="34" y="200"/>
                </a:lnTo>
                <a:lnTo>
                  <a:pt x="37" y="200"/>
                </a:lnTo>
                <a:lnTo>
                  <a:pt x="37" y="206"/>
                </a:lnTo>
                <a:lnTo>
                  <a:pt x="41" y="209"/>
                </a:lnTo>
                <a:lnTo>
                  <a:pt x="41" y="215"/>
                </a:lnTo>
                <a:lnTo>
                  <a:pt x="41" y="218"/>
                </a:lnTo>
                <a:lnTo>
                  <a:pt x="47" y="218"/>
                </a:lnTo>
                <a:lnTo>
                  <a:pt x="53" y="222"/>
                </a:lnTo>
                <a:lnTo>
                  <a:pt x="53" y="231"/>
                </a:lnTo>
                <a:lnTo>
                  <a:pt x="50" y="234"/>
                </a:lnTo>
                <a:lnTo>
                  <a:pt x="44" y="231"/>
                </a:lnTo>
                <a:lnTo>
                  <a:pt x="34" y="234"/>
                </a:lnTo>
                <a:lnTo>
                  <a:pt x="34" y="234"/>
                </a:lnTo>
                <a:lnTo>
                  <a:pt x="28" y="237"/>
                </a:lnTo>
                <a:lnTo>
                  <a:pt x="25" y="240"/>
                </a:lnTo>
                <a:lnTo>
                  <a:pt x="25" y="247"/>
                </a:lnTo>
                <a:lnTo>
                  <a:pt x="22" y="250"/>
                </a:lnTo>
                <a:lnTo>
                  <a:pt x="25" y="253"/>
                </a:lnTo>
                <a:lnTo>
                  <a:pt x="25" y="262"/>
                </a:lnTo>
                <a:lnTo>
                  <a:pt x="25" y="265"/>
                </a:lnTo>
                <a:lnTo>
                  <a:pt x="25" y="265"/>
                </a:lnTo>
                <a:lnTo>
                  <a:pt x="25" y="269"/>
                </a:lnTo>
                <a:lnTo>
                  <a:pt x="28" y="269"/>
                </a:lnTo>
                <a:lnTo>
                  <a:pt x="34" y="265"/>
                </a:lnTo>
                <a:lnTo>
                  <a:pt x="37" y="265"/>
                </a:lnTo>
                <a:lnTo>
                  <a:pt x="37" y="265"/>
                </a:lnTo>
                <a:lnTo>
                  <a:pt x="41" y="265"/>
                </a:lnTo>
                <a:lnTo>
                  <a:pt x="44" y="262"/>
                </a:lnTo>
                <a:lnTo>
                  <a:pt x="47" y="262"/>
                </a:lnTo>
                <a:lnTo>
                  <a:pt x="50" y="262"/>
                </a:lnTo>
                <a:lnTo>
                  <a:pt x="53" y="262"/>
                </a:lnTo>
                <a:lnTo>
                  <a:pt x="53" y="262"/>
                </a:lnTo>
                <a:lnTo>
                  <a:pt x="56" y="262"/>
                </a:lnTo>
                <a:lnTo>
                  <a:pt x="56" y="262"/>
                </a:lnTo>
                <a:lnTo>
                  <a:pt x="59" y="259"/>
                </a:lnTo>
                <a:lnTo>
                  <a:pt x="62" y="262"/>
                </a:lnTo>
                <a:lnTo>
                  <a:pt x="66" y="262"/>
                </a:lnTo>
                <a:lnTo>
                  <a:pt x="66" y="259"/>
                </a:lnTo>
                <a:lnTo>
                  <a:pt x="69" y="259"/>
                </a:lnTo>
                <a:lnTo>
                  <a:pt x="69" y="262"/>
                </a:lnTo>
                <a:lnTo>
                  <a:pt x="72" y="262"/>
                </a:lnTo>
                <a:lnTo>
                  <a:pt x="75" y="265"/>
                </a:lnTo>
                <a:lnTo>
                  <a:pt x="78" y="265"/>
                </a:lnTo>
                <a:lnTo>
                  <a:pt x="81" y="259"/>
                </a:lnTo>
                <a:lnTo>
                  <a:pt x="87" y="259"/>
                </a:lnTo>
                <a:lnTo>
                  <a:pt x="91" y="262"/>
                </a:lnTo>
                <a:lnTo>
                  <a:pt x="94" y="259"/>
                </a:lnTo>
                <a:lnTo>
                  <a:pt x="97" y="259"/>
                </a:lnTo>
                <a:lnTo>
                  <a:pt x="97" y="259"/>
                </a:lnTo>
                <a:lnTo>
                  <a:pt x="100" y="259"/>
                </a:lnTo>
                <a:lnTo>
                  <a:pt x="103" y="259"/>
                </a:lnTo>
                <a:lnTo>
                  <a:pt x="109" y="259"/>
                </a:lnTo>
                <a:lnTo>
                  <a:pt x="116" y="259"/>
                </a:lnTo>
                <a:lnTo>
                  <a:pt x="119" y="262"/>
                </a:lnTo>
                <a:lnTo>
                  <a:pt x="122" y="265"/>
                </a:lnTo>
                <a:lnTo>
                  <a:pt x="122" y="269"/>
                </a:lnTo>
                <a:lnTo>
                  <a:pt x="122" y="269"/>
                </a:lnTo>
                <a:lnTo>
                  <a:pt x="119" y="269"/>
                </a:lnTo>
                <a:lnTo>
                  <a:pt x="119" y="272"/>
                </a:lnTo>
                <a:lnTo>
                  <a:pt x="122" y="272"/>
                </a:lnTo>
                <a:lnTo>
                  <a:pt x="128" y="269"/>
                </a:lnTo>
                <a:lnTo>
                  <a:pt x="128" y="272"/>
                </a:lnTo>
                <a:lnTo>
                  <a:pt x="134" y="278"/>
                </a:lnTo>
                <a:lnTo>
                  <a:pt x="134" y="284"/>
                </a:lnTo>
                <a:lnTo>
                  <a:pt x="134" y="284"/>
                </a:lnTo>
                <a:lnTo>
                  <a:pt x="134" y="287"/>
                </a:lnTo>
                <a:lnTo>
                  <a:pt x="134" y="290"/>
                </a:lnTo>
                <a:lnTo>
                  <a:pt x="134" y="290"/>
                </a:lnTo>
                <a:lnTo>
                  <a:pt x="137" y="290"/>
                </a:lnTo>
                <a:lnTo>
                  <a:pt x="137" y="294"/>
                </a:lnTo>
                <a:lnTo>
                  <a:pt x="141" y="294"/>
                </a:lnTo>
                <a:lnTo>
                  <a:pt x="147" y="294"/>
                </a:lnTo>
                <a:lnTo>
                  <a:pt x="153" y="297"/>
                </a:lnTo>
                <a:lnTo>
                  <a:pt x="153" y="300"/>
                </a:lnTo>
                <a:lnTo>
                  <a:pt x="156" y="297"/>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2" name="Freeform 40">
            <a:extLst>
              <a:ext uri="{FF2B5EF4-FFF2-40B4-BE49-F238E27FC236}">
                <a16:creationId xmlns:a16="http://schemas.microsoft.com/office/drawing/2014/main" id="{EF75F18B-48DB-3DA4-661D-37CB0987743A}"/>
              </a:ext>
            </a:extLst>
          </p:cNvPr>
          <p:cNvSpPr>
            <a:spLocks/>
          </p:cNvSpPr>
          <p:nvPr userDrawn="1"/>
        </p:nvSpPr>
        <p:spPr bwMode="auto">
          <a:xfrm>
            <a:off x="17524857" y="6854111"/>
            <a:ext cx="457170" cy="377826"/>
          </a:xfrm>
          <a:custGeom>
            <a:avLst/>
            <a:gdLst>
              <a:gd name="T0" fmla="*/ 72 w 144"/>
              <a:gd name="T1" fmla="*/ 116 h 119"/>
              <a:gd name="T2" fmla="*/ 81 w 144"/>
              <a:gd name="T3" fmla="*/ 100 h 119"/>
              <a:gd name="T4" fmla="*/ 91 w 144"/>
              <a:gd name="T5" fmla="*/ 97 h 119"/>
              <a:gd name="T6" fmla="*/ 103 w 144"/>
              <a:gd name="T7" fmla="*/ 103 h 119"/>
              <a:gd name="T8" fmla="*/ 116 w 144"/>
              <a:gd name="T9" fmla="*/ 103 h 119"/>
              <a:gd name="T10" fmla="*/ 122 w 144"/>
              <a:gd name="T11" fmla="*/ 106 h 119"/>
              <a:gd name="T12" fmla="*/ 138 w 144"/>
              <a:gd name="T13" fmla="*/ 106 h 119"/>
              <a:gd name="T14" fmla="*/ 141 w 144"/>
              <a:gd name="T15" fmla="*/ 109 h 119"/>
              <a:gd name="T16" fmla="*/ 141 w 144"/>
              <a:gd name="T17" fmla="*/ 100 h 119"/>
              <a:gd name="T18" fmla="*/ 135 w 144"/>
              <a:gd name="T19" fmla="*/ 91 h 119"/>
              <a:gd name="T20" fmla="*/ 131 w 144"/>
              <a:gd name="T21" fmla="*/ 72 h 119"/>
              <a:gd name="T22" fmla="*/ 122 w 144"/>
              <a:gd name="T23" fmla="*/ 62 h 119"/>
              <a:gd name="T24" fmla="*/ 113 w 144"/>
              <a:gd name="T25" fmla="*/ 47 h 119"/>
              <a:gd name="T26" fmla="*/ 100 w 144"/>
              <a:gd name="T27" fmla="*/ 41 h 119"/>
              <a:gd name="T28" fmla="*/ 94 w 144"/>
              <a:gd name="T29" fmla="*/ 34 h 119"/>
              <a:gd name="T30" fmla="*/ 78 w 144"/>
              <a:gd name="T31" fmla="*/ 34 h 119"/>
              <a:gd name="T32" fmla="*/ 72 w 144"/>
              <a:gd name="T33" fmla="*/ 31 h 119"/>
              <a:gd name="T34" fmla="*/ 69 w 144"/>
              <a:gd name="T35" fmla="*/ 22 h 119"/>
              <a:gd name="T36" fmla="*/ 56 w 144"/>
              <a:gd name="T37" fmla="*/ 3 h 119"/>
              <a:gd name="T38" fmla="*/ 50 w 144"/>
              <a:gd name="T39" fmla="*/ 0 h 119"/>
              <a:gd name="T40" fmla="*/ 47 w 144"/>
              <a:gd name="T41" fmla="*/ 3 h 119"/>
              <a:gd name="T42" fmla="*/ 41 w 144"/>
              <a:gd name="T43" fmla="*/ 3 h 119"/>
              <a:gd name="T44" fmla="*/ 35 w 144"/>
              <a:gd name="T45" fmla="*/ 0 h 119"/>
              <a:gd name="T46" fmla="*/ 35 w 144"/>
              <a:gd name="T47" fmla="*/ 3 h 119"/>
              <a:gd name="T48" fmla="*/ 22 w 144"/>
              <a:gd name="T49" fmla="*/ 12 h 119"/>
              <a:gd name="T50" fmla="*/ 10 w 144"/>
              <a:gd name="T51" fmla="*/ 19 h 119"/>
              <a:gd name="T52" fmla="*/ 0 w 144"/>
              <a:gd name="T53" fmla="*/ 34 h 119"/>
              <a:gd name="T54" fmla="*/ 6 w 144"/>
              <a:gd name="T55" fmla="*/ 34 h 119"/>
              <a:gd name="T56" fmla="*/ 13 w 144"/>
              <a:gd name="T57" fmla="*/ 37 h 119"/>
              <a:gd name="T58" fmla="*/ 25 w 144"/>
              <a:gd name="T59" fmla="*/ 47 h 119"/>
              <a:gd name="T60" fmla="*/ 31 w 144"/>
              <a:gd name="T61" fmla="*/ 53 h 119"/>
              <a:gd name="T62" fmla="*/ 25 w 144"/>
              <a:gd name="T63" fmla="*/ 59 h 119"/>
              <a:gd name="T64" fmla="*/ 22 w 144"/>
              <a:gd name="T65" fmla="*/ 66 h 119"/>
              <a:gd name="T66" fmla="*/ 25 w 144"/>
              <a:gd name="T67" fmla="*/ 78 h 119"/>
              <a:gd name="T68" fmla="*/ 28 w 144"/>
              <a:gd name="T69" fmla="*/ 97 h 119"/>
              <a:gd name="T70" fmla="*/ 44 w 144"/>
              <a:gd name="T71" fmla="*/ 103 h 119"/>
              <a:gd name="T72" fmla="*/ 53 w 144"/>
              <a:gd name="T73" fmla="*/ 112 h 119"/>
              <a:gd name="T74" fmla="*/ 63 w 144"/>
              <a:gd name="T75" fmla="*/ 112 h 119"/>
              <a:gd name="T76" fmla="*/ 69 w 144"/>
              <a:gd name="T7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4" h="119">
                <a:moveTo>
                  <a:pt x="69" y="119"/>
                </a:moveTo>
                <a:lnTo>
                  <a:pt x="72" y="116"/>
                </a:lnTo>
                <a:lnTo>
                  <a:pt x="75" y="106"/>
                </a:lnTo>
                <a:lnTo>
                  <a:pt x="81" y="100"/>
                </a:lnTo>
                <a:lnTo>
                  <a:pt x="88" y="100"/>
                </a:lnTo>
                <a:lnTo>
                  <a:pt x="91" y="97"/>
                </a:lnTo>
                <a:lnTo>
                  <a:pt x="94" y="97"/>
                </a:lnTo>
                <a:lnTo>
                  <a:pt x="103" y="103"/>
                </a:lnTo>
                <a:lnTo>
                  <a:pt x="110" y="100"/>
                </a:lnTo>
                <a:lnTo>
                  <a:pt x="116" y="103"/>
                </a:lnTo>
                <a:lnTo>
                  <a:pt x="119" y="109"/>
                </a:lnTo>
                <a:lnTo>
                  <a:pt x="122" y="106"/>
                </a:lnTo>
                <a:lnTo>
                  <a:pt x="131" y="112"/>
                </a:lnTo>
                <a:lnTo>
                  <a:pt x="138" y="106"/>
                </a:lnTo>
                <a:lnTo>
                  <a:pt x="141" y="106"/>
                </a:lnTo>
                <a:lnTo>
                  <a:pt x="141" y="109"/>
                </a:lnTo>
                <a:lnTo>
                  <a:pt x="144" y="106"/>
                </a:lnTo>
                <a:lnTo>
                  <a:pt x="141" y="100"/>
                </a:lnTo>
                <a:lnTo>
                  <a:pt x="138" y="91"/>
                </a:lnTo>
                <a:lnTo>
                  <a:pt x="135" y="91"/>
                </a:lnTo>
                <a:lnTo>
                  <a:pt x="131" y="81"/>
                </a:lnTo>
                <a:lnTo>
                  <a:pt x="131" y="72"/>
                </a:lnTo>
                <a:lnTo>
                  <a:pt x="128" y="66"/>
                </a:lnTo>
                <a:lnTo>
                  <a:pt x="122" y="62"/>
                </a:lnTo>
                <a:lnTo>
                  <a:pt x="116" y="56"/>
                </a:lnTo>
                <a:lnTo>
                  <a:pt x="113" y="47"/>
                </a:lnTo>
                <a:lnTo>
                  <a:pt x="106" y="44"/>
                </a:lnTo>
                <a:lnTo>
                  <a:pt x="100" y="41"/>
                </a:lnTo>
                <a:lnTo>
                  <a:pt x="97" y="37"/>
                </a:lnTo>
                <a:lnTo>
                  <a:pt x="94" y="34"/>
                </a:lnTo>
                <a:lnTo>
                  <a:pt x="88" y="37"/>
                </a:lnTo>
                <a:lnTo>
                  <a:pt x="78" y="34"/>
                </a:lnTo>
                <a:lnTo>
                  <a:pt x="75" y="31"/>
                </a:lnTo>
                <a:lnTo>
                  <a:pt x="72" y="31"/>
                </a:lnTo>
                <a:lnTo>
                  <a:pt x="72" y="25"/>
                </a:lnTo>
                <a:lnTo>
                  <a:pt x="69" y="22"/>
                </a:lnTo>
                <a:lnTo>
                  <a:pt x="60" y="9"/>
                </a:lnTo>
                <a:lnTo>
                  <a:pt x="56" y="3"/>
                </a:lnTo>
                <a:lnTo>
                  <a:pt x="53" y="0"/>
                </a:lnTo>
                <a:lnTo>
                  <a:pt x="50" y="0"/>
                </a:lnTo>
                <a:lnTo>
                  <a:pt x="50" y="0"/>
                </a:lnTo>
                <a:lnTo>
                  <a:pt x="47" y="3"/>
                </a:lnTo>
                <a:lnTo>
                  <a:pt x="44" y="3"/>
                </a:lnTo>
                <a:lnTo>
                  <a:pt x="41" y="3"/>
                </a:lnTo>
                <a:lnTo>
                  <a:pt x="38" y="0"/>
                </a:lnTo>
                <a:lnTo>
                  <a:pt x="35" y="0"/>
                </a:lnTo>
                <a:lnTo>
                  <a:pt x="35" y="3"/>
                </a:lnTo>
                <a:lnTo>
                  <a:pt x="35" y="3"/>
                </a:lnTo>
                <a:lnTo>
                  <a:pt x="31" y="9"/>
                </a:lnTo>
                <a:lnTo>
                  <a:pt x="22" y="12"/>
                </a:lnTo>
                <a:lnTo>
                  <a:pt x="6" y="16"/>
                </a:lnTo>
                <a:lnTo>
                  <a:pt x="10" y="19"/>
                </a:lnTo>
                <a:lnTo>
                  <a:pt x="0" y="25"/>
                </a:lnTo>
                <a:lnTo>
                  <a:pt x="0" y="34"/>
                </a:lnTo>
                <a:lnTo>
                  <a:pt x="3" y="37"/>
                </a:lnTo>
                <a:lnTo>
                  <a:pt x="6" y="34"/>
                </a:lnTo>
                <a:lnTo>
                  <a:pt x="10" y="34"/>
                </a:lnTo>
                <a:lnTo>
                  <a:pt x="13" y="37"/>
                </a:lnTo>
                <a:lnTo>
                  <a:pt x="19" y="44"/>
                </a:lnTo>
                <a:lnTo>
                  <a:pt x="25" y="47"/>
                </a:lnTo>
                <a:lnTo>
                  <a:pt x="25" y="50"/>
                </a:lnTo>
                <a:lnTo>
                  <a:pt x="31" y="53"/>
                </a:lnTo>
                <a:lnTo>
                  <a:pt x="31" y="56"/>
                </a:lnTo>
                <a:lnTo>
                  <a:pt x="25" y="59"/>
                </a:lnTo>
                <a:lnTo>
                  <a:pt x="25" y="62"/>
                </a:lnTo>
                <a:lnTo>
                  <a:pt x="22" y="66"/>
                </a:lnTo>
                <a:lnTo>
                  <a:pt x="22" y="72"/>
                </a:lnTo>
                <a:lnTo>
                  <a:pt x="25" y="78"/>
                </a:lnTo>
                <a:lnTo>
                  <a:pt x="28" y="91"/>
                </a:lnTo>
                <a:lnTo>
                  <a:pt x="28" y="97"/>
                </a:lnTo>
                <a:lnTo>
                  <a:pt x="38" y="103"/>
                </a:lnTo>
                <a:lnTo>
                  <a:pt x="44" y="103"/>
                </a:lnTo>
                <a:lnTo>
                  <a:pt x="50" y="106"/>
                </a:lnTo>
                <a:lnTo>
                  <a:pt x="53" y="112"/>
                </a:lnTo>
                <a:lnTo>
                  <a:pt x="60" y="112"/>
                </a:lnTo>
                <a:lnTo>
                  <a:pt x="63" y="112"/>
                </a:lnTo>
                <a:lnTo>
                  <a:pt x="69" y="112"/>
                </a:lnTo>
                <a:lnTo>
                  <a:pt x="69" y="119"/>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3" name="Freeform 41">
            <a:extLst>
              <a:ext uri="{FF2B5EF4-FFF2-40B4-BE49-F238E27FC236}">
                <a16:creationId xmlns:a16="http://schemas.microsoft.com/office/drawing/2014/main" id="{CEB80832-BD29-51A3-376B-BB36B7A8A1EC}"/>
              </a:ext>
            </a:extLst>
          </p:cNvPr>
          <p:cNvSpPr>
            <a:spLocks/>
          </p:cNvSpPr>
          <p:nvPr userDrawn="1"/>
        </p:nvSpPr>
        <p:spPr bwMode="auto">
          <a:xfrm>
            <a:off x="16810533" y="6765211"/>
            <a:ext cx="834972" cy="695326"/>
          </a:xfrm>
          <a:custGeom>
            <a:avLst/>
            <a:gdLst>
              <a:gd name="T0" fmla="*/ 241 w 263"/>
              <a:gd name="T1" fmla="*/ 22 h 219"/>
              <a:gd name="T2" fmla="*/ 253 w 263"/>
              <a:gd name="T3" fmla="*/ 22 h 219"/>
              <a:gd name="T4" fmla="*/ 256 w 263"/>
              <a:gd name="T5" fmla="*/ 31 h 219"/>
              <a:gd name="T6" fmla="*/ 247 w 263"/>
              <a:gd name="T7" fmla="*/ 40 h 219"/>
              <a:gd name="T8" fmla="*/ 216 w 263"/>
              <a:gd name="T9" fmla="*/ 47 h 219"/>
              <a:gd name="T10" fmla="*/ 203 w 263"/>
              <a:gd name="T11" fmla="*/ 56 h 219"/>
              <a:gd name="T12" fmla="*/ 206 w 263"/>
              <a:gd name="T13" fmla="*/ 78 h 219"/>
              <a:gd name="T14" fmla="*/ 203 w 263"/>
              <a:gd name="T15" fmla="*/ 103 h 219"/>
              <a:gd name="T16" fmla="*/ 185 w 263"/>
              <a:gd name="T17" fmla="*/ 106 h 219"/>
              <a:gd name="T18" fmla="*/ 185 w 263"/>
              <a:gd name="T19" fmla="*/ 115 h 219"/>
              <a:gd name="T20" fmla="*/ 181 w 263"/>
              <a:gd name="T21" fmla="*/ 128 h 219"/>
              <a:gd name="T22" fmla="*/ 175 w 263"/>
              <a:gd name="T23" fmla="*/ 137 h 219"/>
              <a:gd name="T24" fmla="*/ 172 w 263"/>
              <a:gd name="T25" fmla="*/ 147 h 219"/>
              <a:gd name="T26" fmla="*/ 166 w 263"/>
              <a:gd name="T27" fmla="*/ 156 h 219"/>
              <a:gd name="T28" fmla="*/ 159 w 263"/>
              <a:gd name="T29" fmla="*/ 159 h 219"/>
              <a:gd name="T30" fmla="*/ 150 w 263"/>
              <a:gd name="T31" fmla="*/ 162 h 219"/>
              <a:gd name="T32" fmla="*/ 144 w 263"/>
              <a:gd name="T33" fmla="*/ 172 h 219"/>
              <a:gd name="T34" fmla="*/ 131 w 263"/>
              <a:gd name="T35" fmla="*/ 175 h 219"/>
              <a:gd name="T36" fmla="*/ 125 w 263"/>
              <a:gd name="T37" fmla="*/ 181 h 219"/>
              <a:gd name="T38" fmla="*/ 122 w 263"/>
              <a:gd name="T39" fmla="*/ 197 h 219"/>
              <a:gd name="T40" fmla="*/ 122 w 263"/>
              <a:gd name="T41" fmla="*/ 206 h 219"/>
              <a:gd name="T42" fmla="*/ 103 w 263"/>
              <a:gd name="T43" fmla="*/ 212 h 219"/>
              <a:gd name="T44" fmla="*/ 84 w 263"/>
              <a:gd name="T45" fmla="*/ 216 h 219"/>
              <a:gd name="T46" fmla="*/ 47 w 263"/>
              <a:gd name="T47" fmla="*/ 219 h 219"/>
              <a:gd name="T48" fmla="*/ 38 w 263"/>
              <a:gd name="T49" fmla="*/ 187 h 219"/>
              <a:gd name="T50" fmla="*/ 31 w 263"/>
              <a:gd name="T51" fmla="*/ 169 h 219"/>
              <a:gd name="T52" fmla="*/ 13 w 263"/>
              <a:gd name="T53" fmla="*/ 156 h 219"/>
              <a:gd name="T54" fmla="*/ 6 w 263"/>
              <a:gd name="T55" fmla="*/ 134 h 219"/>
              <a:gd name="T56" fmla="*/ 13 w 263"/>
              <a:gd name="T57" fmla="*/ 122 h 219"/>
              <a:gd name="T58" fmla="*/ 3 w 263"/>
              <a:gd name="T59" fmla="*/ 109 h 219"/>
              <a:gd name="T60" fmla="*/ 3 w 263"/>
              <a:gd name="T61" fmla="*/ 100 h 219"/>
              <a:gd name="T62" fmla="*/ 9 w 263"/>
              <a:gd name="T63" fmla="*/ 94 h 219"/>
              <a:gd name="T64" fmla="*/ 9 w 263"/>
              <a:gd name="T65" fmla="*/ 87 h 219"/>
              <a:gd name="T66" fmla="*/ 9 w 263"/>
              <a:gd name="T67" fmla="*/ 75 h 219"/>
              <a:gd name="T68" fmla="*/ 16 w 263"/>
              <a:gd name="T69" fmla="*/ 75 h 219"/>
              <a:gd name="T70" fmla="*/ 25 w 263"/>
              <a:gd name="T71" fmla="*/ 75 h 219"/>
              <a:gd name="T72" fmla="*/ 34 w 263"/>
              <a:gd name="T73" fmla="*/ 81 h 219"/>
              <a:gd name="T74" fmla="*/ 44 w 263"/>
              <a:gd name="T75" fmla="*/ 81 h 219"/>
              <a:gd name="T76" fmla="*/ 50 w 263"/>
              <a:gd name="T77" fmla="*/ 72 h 219"/>
              <a:gd name="T78" fmla="*/ 63 w 263"/>
              <a:gd name="T79" fmla="*/ 65 h 219"/>
              <a:gd name="T80" fmla="*/ 69 w 263"/>
              <a:gd name="T81" fmla="*/ 59 h 219"/>
              <a:gd name="T82" fmla="*/ 75 w 263"/>
              <a:gd name="T83" fmla="*/ 44 h 219"/>
              <a:gd name="T84" fmla="*/ 72 w 263"/>
              <a:gd name="T85" fmla="*/ 37 h 219"/>
              <a:gd name="T86" fmla="*/ 81 w 263"/>
              <a:gd name="T87" fmla="*/ 34 h 219"/>
              <a:gd name="T88" fmla="*/ 94 w 263"/>
              <a:gd name="T89" fmla="*/ 28 h 219"/>
              <a:gd name="T90" fmla="*/ 103 w 263"/>
              <a:gd name="T91" fmla="*/ 31 h 219"/>
              <a:gd name="T92" fmla="*/ 116 w 263"/>
              <a:gd name="T93" fmla="*/ 34 h 219"/>
              <a:gd name="T94" fmla="*/ 125 w 263"/>
              <a:gd name="T95" fmla="*/ 31 h 219"/>
              <a:gd name="T96" fmla="*/ 141 w 263"/>
              <a:gd name="T97" fmla="*/ 37 h 219"/>
              <a:gd name="T98" fmla="*/ 150 w 263"/>
              <a:gd name="T99" fmla="*/ 31 h 219"/>
              <a:gd name="T100" fmla="*/ 156 w 263"/>
              <a:gd name="T101" fmla="*/ 34 h 219"/>
              <a:gd name="T102" fmla="*/ 159 w 263"/>
              <a:gd name="T103" fmla="*/ 28 h 219"/>
              <a:gd name="T104" fmla="*/ 166 w 263"/>
              <a:gd name="T105" fmla="*/ 22 h 219"/>
              <a:gd name="T106" fmla="*/ 172 w 263"/>
              <a:gd name="T107" fmla="*/ 25 h 219"/>
              <a:gd name="T108" fmla="*/ 175 w 263"/>
              <a:gd name="T109" fmla="*/ 12 h 219"/>
              <a:gd name="T110" fmla="*/ 181 w 263"/>
              <a:gd name="T111" fmla="*/ 0 h 219"/>
              <a:gd name="T112" fmla="*/ 194 w 263"/>
              <a:gd name="T113" fmla="*/ 6 h 219"/>
              <a:gd name="T114" fmla="*/ 194 w 263"/>
              <a:gd name="T115" fmla="*/ 15 h 219"/>
              <a:gd name="T116" fmla="*/ 197 w 263"/>
              <a:gd name="T117" fmla="*/ 25 h 219"/>
              <a:gd name="T118" fmla="*/ 200 w 263"/>
              <a:gd name="T119" fmla="*/ 40 h 219"/>
              <a:gd name="T120" fmla="*/ 210 w 263"/>
              <a:gd name="T121" fmla="*/ 44 h 219"/>
              <a:gd name="T122" fmla="*/ 222 w 263"/>
              <a:gd name="T123" fmla="*/ 37 h 219"/>
              <a:gd name="T124" fmla="*/ 228 w 263"/>
              <a:gd name="T125" fmla="*/ 28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3" h="219">
                <a:moveTo>
                  <a:pt x="228" y="28"/>
                </a:moveTo>
                <a:lnTo>
                  <a:pt x="238" y="22"/>
                </a:lnTo>
                <a:lnTo>
                  <a:pt x="241" y="22"/>
                </a:lnTo>
                <a:lnTo>
                  <a:pt x="244" y="25"/>
                </a:lnTo>
                <a:lnTo>
                  <a:pt x="250" y="25"/>
                </a:lnTo>
                <a:lnTo>
                  <a:pt x="253" y="22"/>
                </a:lnTo>
                <a:lnTo>
                  <a:pt x="260" y="22"/>
                </a:lnTo>
                <a:lnTo>
                  <a:pt x="263" y="25"/>
                </a:lnTo>
                <a:lnTo>
                  <a:pt x="256" y="31"/>
                </a:lnTo>
                <a:lnTo>
                  <a:pt x="260" y="31"/>
                </a:lnTo>
                <a:lnTo>
                  <a:pt x="256" y="37"/>
                </a:lnTo>
                <a:lnTo>
                  <a:pt x="247" y="40"/>
                </a:lnTo>
                <a:lnTo>
                  <a:pt x="228" y="44"/>
                </a:lnTo>
                <a:lnTo>
                  <a:pt x="222" y="44"/>
                </a:lnTo>
                <a:lnTo>
                  <a:pt x="216" y="47"/>
                </a:lnTo>
                <a:lnTo>
                  <a:pt x="210" y="50"/>
                </a:lnTo>
                <a:lnTo>
                  <a:pt x="206" y="50"/>
                </a:lnTo>
                <a:lnTo>
                  <a:pt x="203" y="56"/>
                </a:lnTo>
                <a:lnTo>
                  <a:pt x="200" y="59"/>
                </a:lnTo>
                <a:lnTo>
                  <a:pt x="206" y="72"/>
                </a:lnTo>
                <a:lnTo>
                  <a:pt x="206" y="78"/>
                </a:lnTo>
                <a:lnTo>
                  <a:pt x="197" y="90"/>
                </a:lnTo>
                <a:lnTo>
                  <a:pt x="203" y="97"/>
                </a:lnTo>
                <a:lnTo>
                  <a:pt x="203" y="103"/>
                </a:lnTo>
                <a:lnTo>
                  <a:pt x="197" y="109"/>
                </a:lnTo>
                <a:lnTo>
                  <a:pt x="191" y="109"/>
                </a:lnTo>
                <a:lnTo>
                  <a:pt x="185" y="106"/>
                </a:lnTo>
                <a:lnTo>
                  <a:pt x="178" y="109"/>
                </a:lnTo>
                <a:lnTo>
                  <a:pt x="181" y="115"/>
                </a:lnTo>
                <a:lnTo>
                  <a:pt x="185" y="115"/>
                </a:lnTo>
                <a:lnTo>
                  <a:pt x="188" y="122"/>
                </a:lnTo>
                <a:lnTo>
                  <a:pt x="188" y="125"/>
                </a:lnTo>
                <a:lnTo>
                  <a:pt x="181" y="128"/>
                </a:lnTo>
                <a:lnTo>
                  <a:pt x="178" y="128"/>
                </a:lnTo>
                <a:lnTo>
                  <a:pt x="175" y="131"/>
                </a:lnTo>
                <a:lnTo>
                  <a:pt x="175" y="137"/>
                </a:lnTo>
                <a:lnTo>
                  <a:pt x="175" y="144"/>
                </a:lnTo>
                <a:lnTo>
                  <a:pt x="175" y="147"/>
                </a:lnTo>
                <a:lnTo>
                  <a:pt x="172" y="147"/>
                </a:lnTo>
                <a:lnTo>
                  <a:pt x="175" y="156"/>
                </a:lnTo>
                <a:lnTo>
                  <a:pt x="169" y="162"/>
                </a:lnTo>
                <a:lnTo>
                  <a:pt x="166" y="156"/>
                </a:lnTo>
                <a:lnTo>
                  <a:pt x="163" y="156"/>
                </a:lnTo>
                <a:lnTo>
                  <a:pt x="163" y="159"/>
                </a:lnTo>
                <a:lnTo>
                  <a:pt x="159" y="159"/>
                </a:lnTo>
                <a:lnTo>
                  <a:pt x="156" y="159"/>
                </a:lnTo>
                <a:lnTo>
                  <a:pt x="153" y="159"/>
                </a:lnTo>
                <a:lnTo>
                  <a:pt x="150" y="162"/>
                </a:lnTo>
                <a:lnTo>
                  <a:pt x="144" y="166"/>
                </a:lnTo>
                <a:lnTo>
                  <a:pt x="147" y="169"/>
                </a:lnTo>
                <a:lnTo>
                  <a:pt x="144" y="172"/>
                </a:lnTo>
                <a:lnTo>
                  <a:pt x="138" y="175"/>
                </a:lnTo>
                <a:lnTo>
                  <a:pt x="134" y="172"/>
                </a:lnTo>
                <a:lnTo>
                  <a:pt x="131" y="175"/>
                </a:lnTo>
                <a:lnTo>
                  <a:pt x="128" y="175"/>
                </a:lnTo>
                <a:lnTo>
                  <a:pt x="128" y="178"/>
                </a:lnTo>
                <a:lnTo>
                  <a:pt x="125" y="181"/>
                </a:lnTo>
                <a:lnTo>
                  <a:pt x="122" y="184"/>
                </a:lnTo>
                <a:lnTo>
                  <a:pt x="122" y="191"/>
                </a:lnTo>
                <a:lnTo>
                  <a:pt x="122" y="197"/>
                </a:lnTo>
                <a:lnTo>
                  <a:pt x="122" y="200"/>
                </a:lnTo>
                <a:lnTo>
                  <a:pt x="125" y="203"/>
                </a:lnTo>
                <a:lnTo>
                  <a:pt x="122" y="206"/>
                </a:lnTo>
                <a:lnTo>
                  <a:pt x="116" y="209"/>
                </a:lnTo>
                <a:lnTo>
                  <a:pt x="109" y="209"/>
                </a:lnTo>
                <a:lnTo>
                  <a:pt x="103" y="212"/>
                </a:lnTo>
                <a:lnTo>
                  <a:pt x="91" y="212"/>
                </a:lnTo>
                <a:lnTo>
                  <a:pt x="84" y="212"/>
                </a:lnTo>
                <a:lnTo>
                  <a:pt x="84" y="216"/>
                </a:lnTo>
                <a:lnTo>
                  <a:pt x="78" y="216"/>
                </a:lnTo>
                <a:lnTo>
                  <a:pt x="69" y="219"/>
                </a:lnTo>
                <a:lnTo>
                  <a:pt x="47" y="219"/>
                </a:lnTo>
                <a:lnTo>
                  <a:pt x="22" y="209"/>
                </a:lnTo>
                <a:lnTo>
                  <a:pt x="34" y="191"/>
                </a:lnTo>
                <a:lnTo>
                  <a:pt x="38" y="187"/>
                </a:lnTo>
                <a:lnTo>
                  <a:pt x="34" y="181"/>
                </a:lnTo>
                <a:lnTo>
                  <a:pt x="34" y="175"/>
                </a:lnTo>
                <a:lnTo>
                  <a:pt x="31" y="169"/>
                </a:lnTo>
                <a:lnTo>
                  <a:pt x="16" y="169"/>
                </a:lnTo>
                <a:lnTo>
                  <a:pt x="16" y="159"/>
                </a:lnTo>
                <a:lnTo>
                  <a:pt x="13" y="156"/>
                </a:lnTo>
                <a:lnTo>
                  <a:pt x="13" y="153"/>
                </a:lnTo>
                <a:lnTo>
                  <a:pt x="13" y="144"/>
                </a:lnTo>
                <a:lnTo>
                  <a:pt x="6" y="134"/>
                </a:lnTo>
                <a:lnTo>
                  <a:pt x="6" y="131"/>
                </a:lnTo>
                <a:lnTo>
                  <a:pt x="13" y="122"/>
                </a:lnTo>
                <a:lnTo>
                  <a:pt x="13" y="122"/>
                </a:lnTo>
                <a:lnTo>
                  <a:pt x="3" y="122"/>
                </a:lnTo>
                <a:lnTo>
                  <a:pt x="3" y="115"/>
                </a:lnTo>
                <a:lnTo>
                  <a:pt x="3" y="109"/>
                </a:lnTo>
                <a:lnTo>
                  <a:pt x="3" y="109"/>
                </a:lnTo>
                <a:lnTo>
                  <a:pt x="6" y="103"/>
                </a:lnTo>
                <a:lnTo>
                  <a:pt x="3" y="100"/>
                </a:lnTo>
                <a:lnTo>
                  <a:pt x="0" y="100"/>
                </a:lnTo>
                <a:lnTo>
                  <a:pt x="6" y="97"/>
                </a:lnTo>
                <a:lnTo>
                  <a:pt x="9" y="94"/>
                </a:lnTo>
                <a:lnTo>
                  <a:pt x="9" y="90"/>
                </a:lnTo>
                <a:lnTo>
                  <a:pt x="13" y="90"/>
                </a:lnTo>
                <a:lnTo>
                  <a:pt x="9" y="87"/>
                </a:lnTo>
                <a:lnTo>
                  <a:pt x="9" y="84"/>
                </a:lnTo>
                <a:lnTo>
                  <a:pt x="9" y="81"/>
                </a:lnTo>
                <a:lnTo>
                  <a:pt x="9" y="75"/>
                </a:lnTo>
                <a:lnTo>
                  <a:pt x="9" y="75"/>
                </a:lnTo>
                <a:lnTo>
                  <a:pt x="13" y="75"/>
                </a:lnTo>
                <a:lnTo>
                  <a:pt x="16" y="75"/>
                </a:lnTo>
                <a:lnTo>
                  <a:pt x="19" y="78"/>
                </a:lnTo>
                <a:lnTo>
                  <a:pt x="22" y="78"/>
                </a:lnTo>
                <a:lnTo>
                  <a:pt x="25" y="75"/>
                </a:lnTo>
                <a:lnTo>
                  <a:pt x="28" y="75"/>
                </a:lnTo>
                <a:lnTo>
                  <a:pt x="31" y="78"/>
                </a:lnTo>
                <a:lnTo>
                  <a:pt x="34" y="81"/>
                </a:lnTo>
                <a:lnTo>
                  <a:pt x="34" y="84"/>
                </a:lnTo>
                <a:lnTo>
                  <a:pt x="38" y="81"/>
                </a:lnTo>
                <a:lnTo>
                  <a:pt x="44" y="81"/>
                </a:lnTo>
                <a:lnTo>
                  <a:pt x="47" y="78"/>
                </a:lnTo>
                <a:lnTo>
                  <a:pt x="47" y="75"/>
                </a:lnTo>
                <a:lnTo>
                  <a:pt x="50" y="72"/>
                </a:lnTo>
                <a:lnTo>
                  <a:pt x="47" y="69"/>
                </a:lnTo>
                <a:lnTo>
                  <a:pt x="53" y="65"/>
                </a:lnTo>
                <a:lnTo>
                  <a:pt x="63" y="65"/>
                </a:lnTo>
                <a:lnTo>
                  <a:pt x="63" y="62"/>
                </a:lnTo>
                <a:lnTo>
                  <a:pt x="66" y="59"/>
                </a:lnTo>
                <a:lnTo>
                  <a:pt x="69" y="59"/>
                </a:lnTo>
                <a:lnTo>
                  <a:pt x="69" y="53"/>
                </a:lnTo>
                <a:lnTo>
                  <a:pt x="69" y="50"/>
                </a:lnTo>
                <a:lnTo>
                  <a:pt x="75" y="44"/>
                </a:lnTo>
                <a:lnTo>
                  <a:pt x="75" y="40"/>
                </a:lnTo>
                <a:lnTo>
                  <a:pt x="72" y="40"/>
                </a:lnTo>
                <a:lnTo>
                  <a:pt x="72" y="37"/>
                </a:lnTo>
                <a:lnTo>
                  <a:pt x="75" y="37"/>
                </a:lnTo>
                <a:lnTo>
                  <a:pt x="78" y="34"/>
                </a:lnTo>
                <a:lnTo>
                  <a:pt x="81" y="34"/>
                </a:lnTo>
                <a:lnTo>
                  <a:pt x="84" y="34"/>
                </a:lnTo>
                <a:lnTo>
                  <a:pt x="91" y="28"/>
                </a:lnTo>
                <a:lnTo>
                  <a:pt x="94" y="28"/>
                </a:lnTo>
                <a:lnTo>
                  <a:pt x="97" y="31"/>
                </a:lnTo>
                <a:lnTo>
                  <a:pt x="103" y="28"/>
                </a:lnTo>
                <a:lnTo>
                  <a:pt x="103" y="31"/>
                </a:lnTo>
                <a:lnTo>
                  <a:pt x="109" y="28"/>
                </a:lnTo>
                <a:lnTo>
                  <a:pt x="116" y="31"/>
                </a:lnTo>
                <a:lnTo>
                  <a:pt x="116" y="34"/>
                </a:lnTo>
                <a:lnTo>
                  <a:pt x="119" y="34"/>
                </a:lnTo>
                <a:lnTo>
                  <a:pt x="122" y="31"/>
                </a:lnTo>
                <a:lnTo>
                  <a:pt x="125" y="31"/>
                </a:lnTo>
                <a:lnTo>
                  <a:pt x="131" y="37"/>
                </a:lnTo>
                <a:lnTo>
                  <a:pt x="134" y="37"/>
                </a:lnTo>
                <a:lnTo>
                  <a:pt x="141" y="37"/>
                </a:lnTo>
                <a:lnTo>
                  <a:pt x="144" y="34"/>
                </a:lnTo>
                <a:lnTo>
                  <a:pt x="147" y="31"/>
                </a:lnTo>
                <a:lnTo>
                  <a:pt x="150" y="31"/>
                </a:lnTo>
                <a:lnTo>
                  <a:pt x="150" y="28"/>
                </a:lnTo>
                <a:lnTo>
                  <a:pt x="153" y="31"/>
                </a:lnTo>
                <a:lnTo>
                  <a:pt x="156" y="34"/>
                </a:lnTo>
                <a:lnTo>
                  <a:pt x="163" y="34"/>
                </a:lnTo>
                <a:lnTo>
                  <a:pt x="163" y="31"/>
                </a:lnTo>
                <a:lnTo>
                  <a:pt x="159" y="28"/>
                </a:lnTo>
                <a:lnTo>
                  <a:pt x="159" y="25"/>
                </a:lnTo>
                <a:lnTo>
                  <a:pt x="166" y="25"/>
                </a:lnTo>
                <a:lnTo>
                  <a:pt x="166" y="22"/>
                </a:lnTo>
                <a:lnTo>
                  <a:pt x="169" y="22"/>
                </a:lnTo>
                <a:lnTo>
                  <a:pt x="169" y="25"/>
                </a:lnTo>
                <a:lnTo>
                  <a:pt x="172" y="25"/>
                </a:lnTo>
                <a:lnTo>
                  <a:pt x="175" y="22"/>
                </a:lnTo>
                <a:lnTo>
                  <a:pt x="175" y="15"/>
                </a:lnTo>
                <a:lnTo>
                  <a:pt x="175" y="12"/>
                </a:lnTo>
                <a:lnTo>
                  <a:pt x="178" y="9"/>
                </a:lnTo>
                <a:lnTo>
                  <a:pt x="178" y="3"/>
                </a:lnTo>
                <a:lnTo>
                  <a:pt x="181" y="0"/>
                </a:lnTo>
                <a:lnTo>
                  <a:pt x="185" y="0"/>
                </a:lnTo>
                <a:lnTo>
                  <a:pt x="188" y="3"/>
                </a:lnTo>
                <a:lnTo>
                  <a:pt x="194" y="6"/>
                </a:lnTo>
                <a:lnTo>
                  <a:pt x="194" y="9"/>
                </a:lnTo>
                <a:lnTo>
                  <a:pt x="191" y="12"/>
                </a:lnTo>
                <a:lnTo>
                  <a:pt x="194" y="15"/>
                </a:lnTo>
                <a:lnTo>
                  <a:pt x="197" y="15"/>
                </a:lnTo>
                <a:lnTo>
                  <a:pt x="197" y="18"/>
                </a:lnTo>
                <a:lnTo>
                  <a:pt x="197" y="25"/>
                </a:lnTo>
                <a:lnTo>
                  <a:pt x="197" y="28"/>
                </a:lnTo>
                <a:lnTo>
                  <a:pt x="197" y="37"/>
                </a:lnTo>
                <a:lnTo>
                  <a:pt x="200" y="40"/>
                </a:lnTo>
                <a:lnTo>
                  <a:pt x="200" y="44"/>
                </a:lnTo>
                <a:lnTo>
                  <a:pt x="203" y="44"/>
                </a:lnTo>
                <a:lnTo>
                  <a:pt x="210" y="44"/>
                </a:lnTo>
                <a:lnTo>
                  <a:pt x="213" y="40"/>
                </a:lnTo>
                <a:lnTo>
                  <a:pt x="213" y="40"/>
                </a:lnTo>
                <a:lnTo>
                  <a:pt x="222" y="37"/>
                </a:lnTo>
                <a:lnTo>
                  <a:pt x="225" y="34"/>
                </a:lnTo>
                <a:lnTo>
                  <a:pt x="225" y="31"/>
                </a:lnTo>
                <a:lnTo>
                  <a:pt x="228" y="28"/>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4" name="Freeform 42">
            <a:extLst>
              <a:ext uri="{FF2B5EF4-FFF2-40B4-BE49-F238E27FC236}">
                <a16:creationId xmlns:a16="http://schemas.microsoft.com/office/drawing/2014/main" id="{3ACBBCA8-3F6C-4F52-B72A-1D059B9D4D77}"/>
              </a:ext>
            </a:extLst>
          </p:cNvPr>
          <p:cNvSpPr>
            <a:spLocks noEditPoints="1"/>
          </p:cNvSpPr>
          <p:nvPr userDrawn="1"/>
        </p:nvSpPr>
        <p:spPr bwMode="auto">
          <a:xfrm>
            <a:off x="13584941" y="5285656"/>
            <a:ext cx="387325" cy="307976"/>
          </a:xfrm>
          <a:custGeom>
            <a:avLst/>
            <a:gdLst>
              <a:gd name="T0" fmla="*/ 30 w 39"/>
              <a:gd name="T1" fmla="*/ 30 h 31"/>
              <a:gd name="T2" fmla="*/ 31 w 39"/>
              <a:gd name="T3" fmla="*/ 28 h 31"/>
              <a:gd name="T4" fmla="*/ 28 w 39"/>
              <a:gd name="T5" fmla="*/ 28 h 31"/>
              <a:gd name="T6" fmla="*/ 28 w 39"/>
              <a:gd name="T7" fmla="*/ 29 h 31"/>
              <a:gd name="T8" fmla="*/ 37 w 39"/>
              <a:gd name="T9" fmla="*/ 24 h 31"/>
              <a:gd name="T10" fmla="*/ 37 w 39"/>
              <a:gd name="T11" fmla="*/ 22 h 31"/>
              <a:gd name="T12" fmla="*/ 25 w 39"/>
              <a:gd name="T13" fmla="*/ 19 h 31"/>
              <a:gd name="T14" fmla="*/ 21 w 39"/>
              <a:gd name="T15" fmla="*/ 24 h 31"/>
              <a:gd name="T16" fmla="*/ 18 w 39"/>
              <a:gd name="T17" fmla="*/ 22 h 31"/>
              <a:gd name="T18" fmla="*/ 18 w 39"/>
              <a:gd name="T19" fmla="*/ 19 h 31"/>
              <a:gd name="T20" fmla="*/ 19 w 39"/>
              <a:gd name="T21" fmla="*/ 19 h 31"/>
              <a:gd name="T22" fmla="*/ 22 w 39"/>
              <a:gd name="T23" fmla="*/ 19 h 31"/>
              <a:gd name="T24" fmla="*/ 22 w 39"/>
              <a:gd name="T25" fmla="*/ 16 h 31"/>
              <a:gd name="T26" fmla="*/ 24 w 39"/>
              <a:gd name="T27" fmla="*/ 20 h 31"/>
              <a:gd name="T28" fmla="*/ 24 w 39"/>
              <a:gd name="T29" fmla="*/ 22 h 31"/>
              <a:gd name="T30" fmla="*/ 22 w 39"/>
              <a:gd name="T31" fmla="*/ 25 h 31"/>
              <a:gd name="T32" fmla="*/ 24 w 39"/>
              <a:gd name="T33" fmla="*/ 25 h 31"/>
              <a:gd name="T34" fmla="*/ 18 w 39"/>
              <a:gd name="T35" fmla="*/ 25 h 31"/>
              <a:gd name="T36" fmla="*/ 21 w 39"/>
              <a:gd name="T37" fmla="*/ 26 h 31"/>
              <a:gd name="T38" fmla="*/ 22 w 39"/>
              <a:gd name="T39" fmla="*/ 27 h 31"/>
              <a:gd name="T40" fmla="*/ 20 w 39"/>
              <a:gd name="T41" fmla="*/ 28 h 31"/>
              <a:gd name="T42" fmla="*/ 17 w 39"/>
              <a:gd name="T43" fmla="*/ 27 h 31"/>
              <a:gd name="T44" fmla="*/ 13 w 39"/>
              <a:gd name="T45" fmla="*/ 19 h 31"/>
              <a:gd name="T46" fmla="*/ 14 w 39"/>
              <a:gd name="T47" fmla="*/ 19 h 31"/>
              <a:gd name="T48" fmla="*/ 14 w 39"/>
              <a:gd name="T49" fmla="*/ 26 h 31"/>
              <a:gd name="T50" fmla="*/ 15 w 39"/>
              <a:gd name="T51" fmla="*/ 26 h 31"/>
              <a:gd name="T52" fmla="*/ 15 w 39"/>
              <a:gd name="T53" fmla="*/ 24 h 31"/>
              <a:gd name="T54" fmla="*/ 14 w 39"/>
              <a:gd name="T55" fmla="*/ 21 h 31"/>
              <a:gd name="T56" fmla="*/ 13 w 39"/>
              <a:gd name="T57" fmla="*/ 25 h 31"/>
              <a:gd name="T58" fmla="*/ 9 w 39"/>
              <a:gd name="T59" fmla="*/ 22 h 31"/>
              <a:gd name="T60" fmla="*/ 17 w 39"/>
              <a:gd name="T61" fmla="*/ 4 h 31"/>
              <a:gd name="T62" fmla="*/ 3 w 39"/>
              <a:gd name="T63" fmla="*/ 9 h 31"/>
              <a:gd name="T64" fmla="*/ 4 w 39"/>
              <a:gd name="T65" fmla="*/ 10 h 31"/>
              <a:gd name="T66" fmla="*/ 3 w 39"/>
              <a:gd name="T67" fmla="*/ 9 h 31"/>
              <a:gd name="T68" fmla="*/ 8 w 39"/>
              <a:gd name="T69" fmla="*/ 8 h 31"/>
              <a:gd name="T70" fmla="*/ 12 w 39"/>
              <a:gd name="T71" fmla="*/ 8 h 31"/>
              <a:gd name="T72" fmla="*/ 13 w 39"/>
              <a:gd name="T73" fmla="*/ 2 h 31"/>
              <a:gd name="T74" fmla="*/ 10 w 39"/>
              <a:gd name="T75" fmla="*/ 3 h 31"/>
              <a:gd name="T76" fmla="*/ 6 w 39"/>
              <a:gd name="T77" fmla="*/ 6 h 31"/>
              <a:gd name="T78" fmla="*/ 2 w 39"/>
              <a:gd name="T79" fmla="*/ 7 h 31"/>
              <a:gd name="T80" fmla="*/ 2 w 39"/>
              <a:gd name="T81" fmla="*/ 10 h 31"/>
              <a:gd name="T82" fmla="*/ 9 w 39"/>
              <a:gd name="T83" fmla="*/ 25 h 31"/>
              <a:gd name="T84" fmla="*/ 8 w 39"/>
              <a:gd name="T85" fmla="*/ 23 h 31"/>
              <a:gd name="T86" fmla="*/ 10 w 39"/>
              <a:gd name="T87" fmla="*/ 20 h 31"/>
              <a:gd name="T88" fmla="*/ 12 w 39"/>
              <a:gd name="T89" fmla="*/ 18 h 31"/>
              <a:gd name="T90" fmla="*/ 14 w 39"/>
              <a:gd name="T91" fmla="*/ 14 h 31"/>
              <a:gd name="T92" fmla="*/ 16 w 39"/>
              <a:gd name="T93" fmla="*/ 14 h 31"/>
              <a:gd name="T94" fmla="*/ 13 w 39"/>
              <a:gd name="T95" fmla="*/ 13 h 31"/>
              <a:gd name="T96" fmla="*/ 11 w 39"/>
              <a:gd name="T97" fmla="*/ 10 h 31"/>
              <a:gd name="T98" fmla="*/ 7 w 39"/>
              <a:gd name="T99" fmla="*/ 8 h 31"/>
              <a:gd name="T100" fmla="*/ 7 w 39"/>
              <a:gd name="T101" fmla="*/ 11 h 31"/>
              <a:gd name="T102" fmla="*/ 6 w 39"/>
              <a:gd name="T103" fmla="*/ 12 h 31"/>
              <a:gd name="T104" fmla="*/ 5 w 39"/>
              <a:gd name="T105" fmla="*/ 10 h 31"/>
              <a:gd name="T106" fmla="*/ 3 w 39"/>
              <a:gd name="T107" fmla="*/ 12 h 31"/>
              <a:gd name="T108" fmla="*/ 2 w 39"/>
              <a:gd name="T109" fmla="*/ 13 h 31"/>
              <a:gd name="T110" fmla="*/ 0 w 39"/>
              <a:gd name="T111" fmla="*/ 16 h 31"/>
              <a:gd name="T112" fmla="*/ 0 w 39"/>
              <a:gd name="T113" fmla="*/ 19 h 31"/>
              <a:gd name="T114" fmla="*/ 3 w 39"/>
              <a:gd name="T115" fmla="*/ 22 h 31"/>
              <a:gd name="T116" fmla="*/ 4 w 39"/>
              <a:gd name="T117"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 h="31">
                <a:moveTo>
                  <a:pt x="28" y="30"/>
                </a:moveTo>
                <a:cubicBezTo>
                  <a:pt x="28" y="31"/>
                  <a:pt x="28" y="31"/>
                  <a:pt x="28" y="31"/>
                </a:cubicBezTo>
                <a:cubicBezTo>
                  <a:pt x="30" y="31"/>
                  <a:pt x="30" y="31"/>
                  <a:pt x="30" y="31"/>
                </a:cubicBezTo>
                <a:cubicBezTo>
                  <a:pt x="30" y="30"/>
                  <a:pt x="30" y="30"/>
                  <a:pt x="30" y="30"/>
                </a:cubicBezTo>
                <a:cubicBezTo>
                  <a:pt x="31" y="30"/>
                  <a:pt x="31" y="30"/>
                  <a:pt x="31" y="30"/>
                </a:cubicBezTo>
                <a:cubicBezTo>
                  <a:pt x="31" y="30"/>
                  <a:pt x="31" y="30"/>
                  <a:pt x="31" y="30"/>
                </a:cubicBezTo>
                <a:cubicBezTo>
                  <a:pt x="31" y="29"/>
                  <a:pt x="31" y="29"/>
                  <a:pt x="31" y="29"/>
                </a:cubicBezTo>
                <a:cubicBezTo>
                  <a:pt x="31" y="28"/>
                  <a:pt x="31" y="28"/>
                  <a:pt x="31" y="28"/>
                </a:cubicBezTo>
                <a:cubicBezTo>
                  <a:pt x="30" y="28"/>
                  <a:pt x="30" y="28"/>
                  <a:pt x="30" y="28"/>
                </a:cubicBezTo>
                <a:cubicBezTo>
                  <a:pt x="30" y="28"/>
                  <a:pt x="30" y="28"/>
                  <a:pt x="30" y="28"/>
                </a:cubicBezTo>
                <a:cubicBezTo>
                  <a:pt x="29" y="28"/>
                  <a:pt x="29" y="28"/>
                  <a:pt x="29" y="28"/>
                </a:cubicBezTo>
                <a:cubicBezTo>
                  <a:pt x="28" y="28"/>
                  <a:pt x="28" y="28"/>
                  <a:pt x="28" y="28"/>
                </a:cubicBezTo>
                <a:cubicBezTo>
                  <a:pt x="28" y="29"/>
                  <a:pt x="28" y="29"/>
                  <a:pt x="28" y="29"/>
                </a:cubicBezTo>
                <a:cubicBezTo>
                  <a:pt x="29" y="29"/>
                  <a:pt x="29" y="29"/>
                  <a:pt x="29" y="29"/>
                </a:cubicBezTo>
                <a:cubicBezTo>
                  <a:pt x="29" y="29"/>
                  <a:pt x="29" y="29"/>
                  <a:pt x="29" y="29"/>
                </a:cubicBezTo>
                <a:cubicBezTo>
                  <a:pt x="28" y="29"/>
                  <a:pt x="28" y="29"/>
                  <a:pt x="28" y="29"/>
                </a:cubicBezTo>
                <a:cubicBezTo>
                  <a:pt x="28" y="30"/>
                  <a:pt x="28" y="30"/>
                  <a:pt x="28" y="30"/>
                </a:cubicBezTo>
                <a:close/>
                <a:moveTo>
                  <a:pt x="37" y="22"/>
                </a:moveTo>
                <a:cubicBezTo>
                  <a:pt x="37" y="23"/>
                  <a:pt x="37" y="23"/>
                  <a:pt x="37" y="23"/>
                </a:cubicBezTo>
                <a:cubicBezTo>
                  <a:pt x="37" y="24"/>
                  <a:pt x="37" y="24"/>
                  <a:pt x="37" y="24"/>
                </a:cubicBezTo>
                <a:cubicBezTo>
                  <a:pt x="39" y="25"/>
                  <a:pt x="39" y="25"/>
                  <a:pt x="39" y="25"/>
                </a:cubicBezTo>
                <a:cubicBezTo>
                  <a:pt x="39" y="24"/>
                  <a:pt x="39" y="24"/>
                  <a:pt x="39" y="24"/>
                </a:cubicBezTo>
                <a:cubicBezTo>
                  <a:pt x="38" y="22"/>
                  <a:pt x="38" y="22"/>
                  <a:pt x="38" y="22"/>
                </a:cubicBezTo>
                <a:cubicBezTo>
                  <a:pt x="37" y="22"/>
                  <a:pt x="37" y="22"/>
                  <a:pt x="37" y="22"/>
                </a:cubicBezTo>
                <a:close/>
                <a:moveTo>
                  <a:pt x="25" y="19"/>
                </a:moveTo>
                <a:cubicBezTo>
                  <a:pt x="24" y="20"/>
                  <a:pt x="24" y="20"/>
                  <a:pt x="24" y="20"/>
                </a:cubicBezTo>
                <a:cubicBezTo>
                  <a:pt x="25" y="20"/>
                  <a:pt x="25" y="20"/>
                  <a:pt x="25" y="20"/>
                </a:cubicBezTo>
                <a:cubicBezTo>
                  <a:pt x="25" y="19"/>
                  <a:pt x="25" y="19"/>
                  <a:pt x="25" y="19"/>
                </a:cubicBezTo>
                <a:close/>
                <a:moveTo>
                  <a:pt x="22" y="25"/>
                </a:moveTo>
                <a:cubicBezTo>
                  <a:pt x="21" y="25"/>
                  <a:pt x="21" y="25"/>
                  <a:pt x="21" y="25"/>
                </a:cubicBezTo>
                <a:cubicBezTo>
                  <a:pt x="20" y="24"/>
                  <a:pt x="20" y="24"/>
                  <a:pt x="20" y="24"/>
                </a:cubicBezTo>
                <a:cubicBezTo>
                  <a:pt x="21" y="24"/>
                  <a:pt x="21" y="24"/>
                  <a:pt x="21" y="24"/>
                </a:cubicBezTo>
                <a:cubicBezTo>
                  <a:pt x="21" y="23"/>
                  <a:pt x="21" y="23"/>
                  <a:pt x="21" y="23"/>
                </a:cubicBezTo>
                <a:cubicBezTo>
                  <a:pt x="19" y="23"/>
                  <a:pt x="19" y="23"/>
                  <a:pt x="19" y="23"/>
                </a:cubicBezTo>
                <a:cubicBezTo>
                  <a:pt x="18" y="23"/>
                  <a:pt x="18" y="23"/>
                  <a:pt x="18" y="23"/>
                </a:cubicBezTo>
                <a:cubicBezTo>
                  <a:pt x="18" y="22"/>
                  <a:pt x="18" y="22"/>
                  <a:pt x="18" y="22"/>
                </a:cubicBezTo>
                <a:cubicBezTo>
                  <a:pt x="18" y="21"/>
                  <a:pt x="18" y="21"/>
                  <a:pt x="18" y="21"/>
                </a:cubicBezTo>
                <a:cubicBezTo>
                  <a:pt x="17" y="20"/>
                  <a:pt x="17" y="20"/>
                  <a:pt x="17" y="20"/>
                </a:cubicBezTo>
                <a:cubicBezTo>
                  <a:pt x="17" y="19"/>
                  <a:pt x="17" y="19"/>
                  <a:pt x="17" y="19"/>
                </a:cubicBezTo>
                <a:cubicBezTo>
                  <a:pt x="18" y="19"/>
                  <a:pt x="18" y="19"/>
                  <a:pt x="18" y="19"/>
                </a:cubicBezTo>
                <a:cubicBezTo>
                  <a:pt x="18" y="18"/>
                  <a:pt x="18" y="18"/>
                  <a:pt x="18" y="18"/>
                </a:cubicBezTo>
                <a:cubicBezTo>
                  <a:pt x="19" y="17"/>
                  <a:pt x="19" y="17"/>
                  <a:pt x="19" y="17"/>
                </a:cubicBezTo>
                <a:cubicBezTo>
                  <a:pt x="19" y="18"/>
                  <a:pt x="19" y="18"/>
                  <a:pt x="19" y="18"/>
                </a:cubicBezTo>
                <a:cubicBezTo>
                  <a:pt x="19" y="19"/>
                  <a:pt x="19" y="19"/>
                  <a:pt x="19" y="19"/>
                </a:cubicBezTo>
                <a:cubicBezTo>
                  <a:pt x="21" y="19"/>
                  <a:pt x="21" y="19"/>
                  <a:pt x="21" y="19"/>
                </a:cubicBezTo>
                <a:cubicBezTo>
                  <a:pt x="21" y="19"/>
                  <a:pt x="21" y="19"/>
                  <a:pt x="21" y="19"/>
                </a:cubicBezTo>
                <a:cubicBezTo>
                  <a:pt x="22" y="19"/>
                  <a:pt x="22" y="19"/>
                  <a:pt x="22" y="19"/>
                </a:cubicBezTo>
                <a:cubicBezTo>
                  <a:pt x="22" y="19"/>
                  <a:pt x="22" y="19"/>
                  <a:pt x="22" y="19"/>
                </a:cubicBezTo>
                <a:cubicBezTo>
                  <a:pt x="21" y="18"/>
                  <a:pt x="21" y="18"/>
                  <a:pt x="21" y="18"/>
                </a:cubicBezTo>
                <a:cubicBezTo>
                  <a:pt x="20" y="17"/>
                  <a:pt x="20" y="17"/>
                  <a:pt x="20" y="17"/>
                </a:cubicBezTo>
                <a:cubicBezTo>
                  <a:pt x="21" y="16"/>
                  <a:pt x="21" y="16"/>
                  <a:pt x="21" y="16"/>
                </a:cubicBezTo>
                <a:cubicBezTo>
                  <a:pt x="22" y="16"/>
                  <a:pt x="22" y="16"/>
                  <a:pt x="22" y="16"/>
                </a:cubicBezTo>
                <a:cubicBezTo>
                  <a:pt x="24" y="16"/>
                  <a:pt x="24" y="16"/>
                  <a:pt x="24" y="16"/>
                </a:cubicBezTo>
                <a:cubicBezTo>
                  <a:pt x="24" y="17"/>
                  <a:pt x="24" y="17"/>
                  <a:pt x="24" y="17"/>
                </a:cubicBezTo>
                <a:cubicBezTo>
                  <a:pt x="24" y="18"/>
                  <a:pt x="24" y="18"/>
                  <a:pt x="24" y="18"/>
                </a:cubicBezTo>
                <a:cubicBezTo>
                  <a:pt x="24" y="20"/>
                  <a:pt x="24" y="20"/>
                  <a:pt x="24" y="20"/>
                </a:cubicBezTo>
                <a:cubicBezTo>
                  <a:pt x="23" y="20"/>
                  <a:pt x="23" y="20"/>
                  <a:pt x="23" y="20"/>
                </a:cubicBezTo>
                <a:cubicBezTo>
                  <a:pt x="23" y="21"/>
                  <a:pt x="23" y="21"/>
                  <a:pt x="23" y="21"/>
                </a:cubicBezTo>
                <a:cubicBezTo>
                  <a:pt x="24" y="22"/>
                  <a:pt x="24" y="22"/>
                  <a:pt x="24" y="22"/>
                </a:cubicBezTo>
                <a:cubicBezTo>
                  <a:pt x="24" y="22"/>
                  <a:pt x="24" y="22"/>
                  <a:pt x="24" y="22"/>
                </a:cubicBezTo>
                <a:cubicBezTo>
                  <a:pt x="23" y="23"/>
                  <a:pt x="23" y="23"/>
                  <a:pt x="23" y="23"/>
                </a:cubicBezTo>
                <a:cubicBezTo>
                  <a:pt x="22" y="23"/>
                  <a:pt x="22" y="23"/>
                  <a:pt x="22" y="23"/>
                </a:cubicBezTo>
                <a:cubicBezTo>
                  <a:pt x="22" y="24"/>
                  <a:pt x="22" y="24"/>
                  <a:pt x="22" y="24"/>
                </a:cubicBezTo>
                <a:cubicBezTo>
                  <a:pt x="22" y="25"/>
                  <a:pt x="22" y="25"/>
                  <a:pt x="22" y="25"/>
                </a:cubicBezTo>
                <a:close/>
                <a:moveTo>
                  <a:pt x="22" y="25"/>
                </a:moveTo>
                <a:cubicBezTo>
                  <a:pt x="23" y="26"/>
                  <a:pt x="23" y="26"/>
                  <a:pt x="23" y="26"/>
                </a:cubicBezTo>
                <a:cubicBezTo>
                  <a:pt x="23" y="25"/>
                  <a:pt x="23" y="25"/>
                  <a:pt x="23" y="25"/>
                </a:cubicBezTo>
                <a:cubicBezTo>
                  <a:pt x="24" y="25"/>
                  <a:pt x="24" y="25"/>
                  <a:pt x="24" y="25"/>
                </a:cubicBezTo>
                <a:cubicBezTo>
                  <a:pt x="24" y="24"/>
                  <a:pt x="24" y="24"/>
                  <a:pt x="24" y="24"/>
                </a:cubicBezTo>
                <a:cubicBezTo>
                  <a:pt x="23" y="25"/>
                  <a:pt x="23" y="25"/>
                  <a:pt x="23" y="25"/>
                </a:cubicBezTo>
                <a:cubicBezTo>
                  <a:pt x="22" y="25"/>
                  <a:pt x="22" y="25"/>
                  <a:pt x="22" y="25"/>
                </a:cubicBezTo>
                <a:close/>
                <a:moveTo>
                  <a:pt x="18" y="25"/>
                </a:moveTo>
                <a:cubicBezTo>
                  <a:pt x="19" y="27"/>
                  <a:pt x="19" y="27"/>
                  <a:pt x="19" y="27"/>
                </a:cubicBezTo>
                <a:cubicBezTo>
                  <a:pt x="20" y="27"/>
                  <a:pt x="20" y="27"/>
                  <a:pt x="20" y="27"/>
                </a:cubicBezTo>
                <a:cubicBezTo>
                  <a:pt x="20" y="27"/>
                  <a:pt x="20" y="27"/>
                  <a:pt x="20" y="27"/>
                </a:cubicBezTo>
                <a:cubicBezTo>
                  <a:pt x="21" y="26"/>
                  <a:pt x="21" y="26"/>
                  <a:pt x="21" y="26"/>
                </a:cubicBezTo>
                <a:cubicBezTo>
                  <a:pt x="22" y="26"/>
                  <a:pt x="22" y="26"/>
                  <a:pt x="22" y="26"/>
                </a:cubicBezTo>
                <a:cubicBezTo>
                  <a:pt x="22" y="25"/>
                  <a:pt x="22" y="25"/>
                  <a:pt x="22" y="25"/>
                </a:cubicBezTo>
                <a:cubicBezTo>
                  <a:pt x="22" y="26"/>
                  <a:pt x="22" y="26"/>
                  <a:pt x="22" y="26"/>
                </a:cubicBezTo>
                <a:cubicBezTo>
                  <a:pt x="22" y="27"/>
                  <a:pt x="22" y="27"/>
                  <a:pt x="22" y="27"/>
                </a:cubicBezTo>
                <a:cubicBezTo>
                  <a:pt x="22" y="28"/>
                  <a:pt x="22" y="28"/>
                  <a:pt x="22" y="28"/>
                </a:cubicBezTo>
                <a:cubicBezTo>
                  <a:pt x="21" y="28"/>
                  <a:pt x="21" y="28"/>
                  <a:pt x="21" y="28"/>
                </a:cubicBezTo>
                <a:cubicBezTo>
                  <a:pt x="21" y="27"/>
                  <a:pt x="21" y="27"/>
                  <a:pt x="21" y="27"/>
                </a:cubicBezTo>
                <a:cubicBezTo>
                  <a:pt x="20" y="28"/>
                  <a:pt x="20" y="28"/>
                  <a:pt x="20" y="28"/>
                </a:cubicBezTo>
                <a:cubicBezTo>
                  <a:pt x="19" y="28"/>
                  <a:pt x="19" y="28"/>
                  <a:pt x="19" y="28"/>
                </a:cubicBezTo>
                <a:cubicBezTo>
                  <a:pt x="17" y="28"/>
                  <a:pt x="17" y="28"/>
                  <a:pt x="17" y="28"/>
                </a:cubicBezTo>
                <a:cubicBezTo>
                  <a:pt x="16" y="27"/>
                  <a:pt x="16" y="27"/>
                  <a:pt x="16" y="27"/>
                </a:cubicBezTo>
                <a:cubicBezTo>
                  <a:pt x="17" y="27"/>
                  <a:pt x="17" y="27"/>
                  <a:pt x="17" y="27"/>
                </a:cubicBezTo>
                <a:cubicBezTo>
                  <a:pt x="17" y="26"/>
                  <a:pt x="17" y="26"/>
                  <a:pt x="17" y="26"/>
                </a:cubicBezTo>
                <a:cubicBezTo>
                  <a:pt x="17" y="25"/>
                  <a:pt x="17" y="25"/>
                  <a:pt x="17" y="25"/>
                </a:cubicBezTo>
                <a:cubicBezTo>
                  <a:pt x="18" y="25"/>
                  <a:pt x="18" y="25"/>
                  <a:pt x="18" y="25"/>
                </a:cubicBezTo>
                <a:close/>
                <a:moveTo>
                  <a:pt x="13" y="19"/>
                </a:moveTo>
                <a:cubicBezTo>
                  <a:pt x="14" y="18"/>
                  <a:pt x="14" y="18"/>
                  <a:pt x="14" y="18"/>
                </a:cubicBezTo>
                <a:cubicBezTo>
                  <a:pt x="14" y="16"/>
                  <a:pt x="14" y="16"/>
                  <a:pt x="14" y="16"/>
                </a:cubicBezTo>
                <a:cubicBezTo>
                  <a:pt x="14" y="18"/>
                  <a:pt x="14" y="18"/>
                  <a:pt x="14" y="18"/>
                </a:cubicBezTo>
                <a:cubicBezTo>
                  <a:pt x="14" y="19"/>
                  <a:pt x="14" y="19"/>
                  <a:pt x="14" y="19"/>
                </a:cubicBezTo>
                <a:cubicBezTo>
                  <a:pt x="13" y="19"/>
                  <a:pt x="13" y="19"/>
                  <a:pt x="13" y="19"/>
                </a:cubicBezTo>
                <a:close/>
                <a:moveTo>
                  <a:pt x="13" y="26"/>
                </a:moveTo>
                <a:cubicBezTo>
                  <a:pt x="14" y="27"/>
                  <a:pt x="14" y="27"/>
                  <a:pt x="14" y="27"/>
                </a:cubicBezTo>
                <a:cubicBezTo>
                  <a:pt x="14" y="26"/>
                  <a:pt x="14" y="26"/>
                  <a:pt x="14" y="26"/>
                </a:cubicBezTo>
                <a:cubicBezTo>
                  <a:pt x="13" y="26"/>
                  <a:pt x="13" y="26"/>
                  <a:pt x="13" y="26"/>
                </a:cubicBezTo>
                <a:close/>
                <a:moveTo>
                  <a:pt x="15" y="24"/>
                </a:moveTo>
                <a:cubicBezTo>
                  <a:pt x="15" y="25"/>
                  <a:pt x="15" y="25"/>
                  <a:pt x="15" y="25"/>
                </a:cubicBezTo>
                <a:cubicBezTo>
                  <a:pt x="15" y="26"/>
                  <a:pt x="15" y="26"/>
                  <a:pt x="15" y="26"/>
                </a:cubicBezTo>
                <a:cubicBezTo>
                  <a:pt x="15" y="27"/>
                  <a:pt x="15" y="27"/>
                  <a:pt x="15" y="27"/>
                </a:cubicBezTo>
                <a:cubicBezTo>
                  <a:pt x="16" y="26"/>
                  <a:pt x="16" y="26"/>
                  <a:pt x="16" y="26"/>
                </a:cubicBezTo>
                <a:cubicBezTo>
                  <a:pt x="16" y="25"/>
                  <a:pt x="16" y="25"/>
                  <a:pt x="16" y="25"/>
                </a:cubicBezTo>
                <a:cubicBezTo>
                  <a:pt x="16" y="25"/>
                  <a:pt x="15" y="24"/>
                  <a:pt x="15" y="24"/>
                </a:cubicBezTo>
                <a:close/>
                <a:moveTo>
                  <a:pt x="10" y="20"/>
                </a:moveTo>
                <a:cubicBezTo>
                  <a:pt x="12" y="20"/>
                  <a:pt x="12" y="20"/>
                  <a:pt x="12" y="20"/>
                </a:cubicBezTo>
                <a:cubicBezTo>
                  <a:pt x="13" y="21"/>
                  <a:pt x="13" y="21"/>
                  <a:pt x="13" y="21"/>
                </a:cubicBezTo>
                <a:cubicBezTo>
                  <a:pt x="14" y="21"/>
                  <a:pt x="14" y="21"/>
                  <a:pt x="14" y="21"/>
                </a:cubicBezTo>
                <a:cubicBezTo>
                  <a:pt x="15" y="22"/>
                  <a:pt x="15" y="22"/>
                  <a:pt x="15" y="22"/>
                </a:cubicBezTo>
                <a:cubicBezTo>
                  <a:pt x="15" y="23"/>
                  <a:pt x="15" y="23"/>
                  <a:pt x="15" y="23"/>
                </a:cubicBezTo>
                <a:cubicBezTo>
                  <a:pt x="14" y="25"/>
                  <a:pt x="14" y="25"/>
                  <a:pt x="14" y="25"/>
                </a:cubicBezTo>
                <a:cubicBezTo>
                  <a:pt x="13" y="25"/>
                  <a:pt x="13" y="25"/>
                  <a:pt x="13" y="25"/>
                </a:cubicBezTo>
                <a:cubicBezTo>
                  <a:pt x="12" y="25"/>
                  <a:pt x="12" y="25"/>
                  <a:pt x="12" y="25"/>
                </a:cubicBezTo>
                <a:cubicBezTo>
                  <a:pt x="11" y="25"/>
                  <a:pt x="11" y="25"/>
                  <a:pt x="11" y="25"/>
                </a:cubicBezTo>
                <a:cubicBezTo>
                  <a:pt x="10" y="23"/>
                  <a:pt x="10" y="23"/>
                  <a:pt x="10" y="23"/>
                </a:cubicBezTo>
                <a:cubicBezTo>
                  <a:pt x="9" y="22"/>
                  <a:pt x="9" y="22"/>
                  <a:pt x="9" y="22"/>
                </a:cubicBezTo>
                <a:cubicBezTo>
                  <a:pt x="10" y="20"/>
                  <a:pt x="10" y="20"/>
                  <a:pt x="10" y="20"/>
                </a:cubicBezTo>
                <a:close/>
                <a:moveTo>
                  <a:pt x="15" y="5"/>
                </a:moveTo>
                <a:cubicBezTo>
                  <a:pt x="15" y="4"/>
                  <a:pt x="15" y="4"/>
                  <a:pt x="15" y="4"/>
                </a:cubicBezTo>
                <a:cubicBezTo>
                  <a:pt x="17" y="4"/>
                  <a:pt x="17" y="4"/>
                  <a:pt x="17" y="4"/>
                </a:cubicBezTo>
                <a:cubicBezTo>
                  <a:pt x="16" y="5"/>
                  <a:pt x="16" y="5"/>
                  <a:pt x="16" y="5"/>
                </a:cubicBezTo>
                <a:cubicBezTo>
                  <a:pt x="15" y="5"/>
                  <a:pt x="15" y="5"/>
                  <a:pt x="15" y="5"/>
                </a:cubicBezTo>
                <a:close/>
                <a:moveTo>
                  <a:pt x="4" y="11"/>
                </a:moveTo>
                <a:cubicBezTo>
                  <a:pt x="3" y="9"/>
                  <a:pt x="3" y="9"/>
                  <a:pt x="3" y="9"/>
                </a:cubicBezTo>
                <a:cubicBezTo>
                  <a:pt x="4" y="8"/>
                  <a:pt x="4" y="8"/>
                  <a:pt x="4" y="8"/>
                </a:cubicBezTo>
                <a:cubicBezTo>
                  <a:pt x="5" y="8"/>
                  <a:pt x="5" y="8"/>
                  <a:pt x="5" y="8"/>
                </a:cubicBezTo>
                <a:cubicBezTo>
                  <a:pt x="5" y="9"/>
                  <a:pt x="5" y="9"/>
                  <a:pt x="5" y="9"/>
                </a:cubicBezTo>
                <a:cubicBezTo>
                  <a:pt x="4" y="10"/>
                  <a:pt x="4" y="10"/>
                  <a:pt x="4" y="10"/>
                </a:cubicBezTo>
                <a:cubicBezTo>
                  <a:pt x="4" y="11"/>
                  <a:pt x="4" y="11"/>
                  <a:pt x="4" y="11"/>
                </a:cubicBezTo>
                <a:close/>
                <a:moveTo>
                  <a:pt x="3" y="11"/>
                </a:moveTo>
                <a:cubicBezTo>
                  <a:pt x="3" y="10"/>
                  <a:pt x="3" y="10"/>
                  <a:pt x="3" y="10"/>
                </a:cubicBezTo>
                <a:cubicBezTo>
                  <a:pt x="3" y="9"/>
                  <a:pt x="3" y="9"/>
                  <a:pt x="3" y="9"/>
                </a:cubicBezTo>
                <a:cubicBezTo>
                  <a:pt x="5" y="7"/>
                  <a:pt x="5" y="7"/>
                  <a:pt x="5" y="7"/>
                </a:cubicBezTo>
                <a:cubicBezTo>
                  <a:pt x="5" y="8"/>
                  <a:pt x="5" y="8"/>
                  <a:pt x="5" y="8"/>
                </a:cubicBezTo>
                <a:cubicBezTo>
                  <a:pt x="7" y="7"/>
                  <a:pt x="7" y="7"/>
                  <a:pt x="7" y="7"/>
                </a:cubicBezTo>
                <a:cubicBezTo>
                  <a:pt x="8" y="8"/>
                  <a:pt x="8" y="8"/>
                  <a:pt x="8" y="8"/>
                </a:cubicBezTo>
                <a:cubicBezTo>
                  <a:pt x="9" y="7"/>
                  <a:pt x="9" y="7"/>
                  <a:pt x="9" y="7"/>
                </a:cubicBezTo>
                <a:cubicBezTo>
                  <a:pt x="10" y="7"/>
                  <a:pt x="10" y="7"/>
                  <a:pt x="10" y="7"/>
                </a:cubicBezTo>
                <a:cubicBezTo>
                  <a:pt x="11" y="8"/>
                  <a:pt x="11" y="8"/>
                  <a:pt x="11" y="8"/>
                </a:cubicBezTo>
                <a:cubicBezTo>
                  <a:pt x="12" y="8"/>
                  <a:pt x="12" y="8"/>
                  <a:pt x="12" y="8"/>
                </a:cubicBezTo>
                <a:cubicBezTo>
                  <a:pt x="13" y="5"/>
                  <a:pt x="13" y="5"/>
                  <a:pt x="13" y="5"/>
                </a:cubicBezTo>
                <a:cubicBezTo>
                  <a:pt x="13" y="4"/>
                  <a:pt x="13" y="4"/>
                  <a:pt x="13" y="4"/>
                </a:cubicBezTo>
                <a:cubicBezTo>
                  <a:pt x="13" y="4"/>
                  <a:pt x="13" y="4"/>
                  <a:pt x="13" y="4"/>
                </a:cubicBezTo>
                <a:cubicBezTo>
                  <a:pt x="13" y="2"/>
                  <a:pt x="13" y="2"/>
                  <a:pt x="13" y="2"/>
                </a:cubicBezTo>
                <a:cubicBezTo>
                  <a:pt x="14" y="1"/>
                  <a:pt x="14" y="1"/>
                  <a:pt x="14" y="1"/>
                </a:cubicBezTo>
                <a:cubicBezTo>
                  <a:pt x="13" y="0"/>
                  <a:pt x="13" y="0"/>
                  <a:pt x="13" y="0"/>
                </a:cubicBezTo>
                <a:cubicBezTo>
                  <a:pt x="12" y="2"/>
                  <a:pt x="12" y="2"/>
                  <a:pt x="12" y="2"/>
                </a:cubicBezTo>
                <a:cubicBezTo>
                  <a:pt x="10" y="3"/>
                  <a:pt x="10" y="3"/>
                  <a:pt x="10" y="3"/>
                </a:cubicBezTo>
                <a:cubicBezTo>
                  <a:pt x="9" y="3"/>
                  <a:pt x="9" y="3"/>
                  <a:pt x="9" y="3"/>
                </a:cubicBezTo>
                <a:cubicBezTo>
                  <a:pt x="8" y="4"/>
                  <a:pt x="8" y="4"/>
                  <a:pt x="8" y="4"/>
                </a:cubicBezTo>
                <a:cubicBezTo>
                  <a:pt x="8" y="5"/>
                  <a:pt x="8" y="5"/>
                  <a:pt x="8" y="5"/>
                </a:cubicBezTo>
                <a:cubicBezTo>
                  <a:pt x="6" y="6"/>
                  <a:pt x="6" y="6"/>
                  <a:pt x="6" y="6"/>
                </a:cubicBezTo>
                <a:cubicBezTo>
                  <a:pt x="5" y="6"/>
                  <a:pt x="5" y="6"/>
                  <a:pt x="5" y="6"/>
                </a:cubicBezTo>
                <a:cubicBezTo>
                  <a:pt x="3" y="7"/>
                  <a:pt x="3" y="7"/>
                  <a:pt x="3" y="7"/>
                </a:cubicBezTo>
                <a:cubicBezTo>
                  <a:pt x="3" y="7"/>
                  <a:pt x="3" y="7"/>
                  <a:pt x="3" y="7"/>
                </a:cubicBezTo>
                <a:cubicBezTo>
                  <a:pt x="2" y="7"/>
                  <a:pt x="2" y="7"/>
                  <a:pt x="2" y="7"/>
                </a:cubicBezTo>
                <a:cubicBezTo>
                  <a:pt x="2" y="9"/>
                  <a:pt x="2" y="9"/>
                  <a:pt x="2" y="9"/>
                </a:cubicBezTo>
                <a:cubicBezTo>
                  <a:pt x="1" y="10"/>
                  <a:pt x="1" y="10"/>
                  <a:pt x="1" y="10"/>
                </a:cubicBezTo>
                <a:cubicBezTo>
                  <a:pt x="1" y="10"/>
                  <a:pt x="1" y="10"/>
                  <a:pt x="1" y="10"/>
                </a:cubicBezTo>
                <a:cubicBezTo>
                  <a:pt x="2" y="10"/>
                  <a:pt x="2" y="10"/>
                  <a:pt x="2" y="10"/>
                </a:cubicBezTo>
                <a:cubicBezTo>
                  <a:pt x="3" y="11"/>
                  <a:pt x="3" y="11"/>
                  <a:pt x="3" y="11"/>
                </a:cubicBezTo>
                <a:close/>
                <a:moveTo>
                  <a:pt x="9" y="26"/>
                </a:moveTo>
                <a:cubicBezTo>
                  <a:pt x="8" y="26"/>
                  <a:pt x="8" y="26"/>
                  <a:pt x="8" y="26"/>
                </a:cubicBezTo>
                <a:cubicBezTo>
                  <a:pt x="9" y="25"/>
                  <a:pt x="9" y="25"/>
                  <a:pt x="9" y="25"/>
                </a:cubicBezTo>
                <a:cubicBezTo>
                  <a:pt x="8" y="24"/>
                  <a:pt x="8" y="24"/>
                  <a:pt x="8" y="24"/>
                </a:cubicBezTo>
                <a:cubicBezTo>
                  <a:pt x="7" y="24"/>
                  <a:pt x="7" y="24"/>
                  <a:pt x="7" y="24"/>
                </a:cubicBezTo>
                <a:cubicBezTo>
                  <a:pt x="8" y="24"/>
                  <a:pt x="8" y="24"/>
                  <a:pt x="8" y="24"/>
                </a:cubicBezTo>
                <a:cubicBezTo>
                  <a:pt x="8" y="23"/>
                  <a:pt x="8" y="23"/>
                  <a:pt x="8" y="23"/>
                </a:cubicBezTo>
                <a:cubicBezTo>
                  <a:pt x="8" y="22"/>
                  <a:pt x="8" y="22"/>
                  <a:pt x="8" y="22"/>
                </a:cubicBezTo>
                <a:cubicBezTo>
                  <a:pt x="8" y="22"/>
                  <a:pt x="8" y="22"/>
                  <a:pt x="8" y="22"/>
                </a:cubicBezTo>
                <a:cubicBezTo>
                  <a:pt x="8" y="21"/>
                  <a:pt x="8" y="21"/>
                  <a:pt x="8" y="21"/>
                </a:cubicBezTo>
                <a:cubicBezTo>
                  <a:pt x="10" y="20"/>
                  <a:pt x="10" y="20"/>
                  <a:pt x="10" y="20"/>
                </a:cubicBezTo>
                <a:cubicBezTo>
                  <a:pt x="10" y="19"/>
                  <a:pt x="10" y="19"/>
                  <a:pt x="10" y="19"/>
                </a:cubicBezTo>
                <a:cubicBezTo>
                  <a:pt x="11" y="18"/>
                  <a:pt x="11" y="18"/>
                  <a:pt x="11" y="18"/>
                </a:cubicBezTo>
                <a:cubicBezTo>
                  <a:pt x="11" y="18"/>
                  <a:pt x="11" y="18"/>
                  <a:pt x="11" y="18"/>
                </a:cubicBezTo>
                <a:cubicBezTo>
                  <a:pt x="12" y="18"/>
                  <a:pt x="12" y="18"/>
                  <a:pt x="12" y="18"/>
                </a:cubicBezTo>
                <a:cubicBezTo>
                  <a:pt x="12" y="16"/>
                  <a:pt x="12" y="16"/>
                  <a:pt x="12" y="16"/>
                </a:cubicBezTo>
                <a:cubicBezTo>
                  <a:pt x="12" y="15"/>
                  <a:pt x="12" y="15"/>
                  <a:pt x="12" y="15"/>
                </a:cubicBezTo>
                <a:cubicBezTo>
                  <a:pt x="13" y="14"/>
                  <a:pt x="13" y="14"/>
                  <a:pt x="13" y="14"/>
                </a:cubicBezTo>
                <a:cubicBezTo>
                  <a:pt x="14" y="14"/>
                  <a:pt x="14" y="14"/>
                  <a:pt x="14" y="14"/>
                </a:cubicBezTo>
                <a:cubicBezTo>
                  <a:pt x="14" y="15"/>
                  <a:pt x="14" y="15"/>
                  <a:pt x="14" y="15"/>
                </a:cubicBezTo>
                <a:cubicBezTo>
                  <a:pt x="15" y="15"/>
                  <a:pt x="15" y="15"/>
                  <a:pt x="15" y="15"/>
                </a:cubicBezTo>
                <a:cubicBezTo>
                  <a:pt x="15" y="15"/>
                  <a:pt x="15" y="15"/>
                  <a:pt x="15" y="15"/>
                </a:cubicBezTo>
                <a:cubicBezTo>
                  <a:pt x="16" y="14"/>
                  <a:pt x="16" y="14"/>
                  <a:pt x="16" y="14"/>
                </a:cubicBezTo>
                <a:cubicBezTo>
                  <a:pt x="16" y="13"/>
                  <a:pt x="16" y="13"/>
                  <a:pt x="16" y="13"/>
                </a:cubicBezTo>
                <a:cubicBezTo>
                  <a:pt x="15" y="12"/>
                  <a:pt x="15" y="12"/>
                  <a:pt x="15" y="12"/>
                </a:cubicBezTo>
                <a:cubicBezTo>
                  <a:pt x="14" y="13"/>
                  <a:pt x="14" y="13"/>
                  <a:pt x="14" y="13"/>
                </a:cubicBezTo>
                <a:cubicBezTo>
                  <a:pt x="13" y="13"/>
                  <a:pt x="13" y="13"/>
                  <a:pt x="13" y="13"/>
                </a:cubicBezTo>
                <a:cubicBezTo>
                  <a:pt x="12" y="12"/>
                  <a:pt x="12" y="12"/>
                  <a:pt x="12" y="12"/>
                </a:cubicBezTo>
                <a:cubicBezTo>
                  <a:pt x="12" y="11"/>
                  <a:pt x="12" y="11"/>
                  <a:pt x="12" y="11"/>
                </a:cubicBezTo>
                <a:cubicBezTo>
                  <a:pt x="11" y="11"/>
                  <a:pt x="11" y="11"/>
                  <a:pt x="11" y="11"/>
                </a:cubicBezTo>
                <a:cubicBezTo>
                  <a:pt x="11" y="10"/>
                  <a:pt x="11" y="10"/>
                  <a:pt x="11" y="10"/>
                </a:cubicBezTo>
                <a:cubicBezTo>
                  <a:pt x="11" y="9"/>
                  <a:pt x="11" y="9"/>
                  <a:pt x="11" y="9"/>
                </a:cubicBezTo>
                <a:cubicBezTo>
                  <a:pt x="10" y="8"/>
                  <a:pt x="10" y="8"/>
                  <a:pt x="10" y="8"/>
                </a:cubicBezTo>
                <a:cubicBezTo>
                  <a:pt x="8" y="8"/>
                  <a:pt x="8" y="8"/>
                  <a:pt x="8" y="8"/>
                </a:cubicBezTo>
                <a:cubicBezTo>
                  <a:pt x="7" y="8"/>
                  <a:pt x="7" y="8"/>
                  <a:pt x="7" y="8"/>
                </a:cubicBezTo>
                <a:cubicBezTo>
                  <a:pt x="6" y="8"/>
                  <a:pt x="6" y="8"/>
                  <a:pt x="6" y="8"/>
                </a:cubicBezTo>
                <a:cubicBezTo>
                  <a:pt x="6" y="9"/>
                  <a:pt x="6" y="9"/>
                  <a:pt x="6" y="9"/>
                </a:cubicBezTo>
                <a:cubicBezTo>
                  <a:pt x="7" y="10"/>
                  <a:pt x="7" y="10"/>
                  <a:pt x="7" y="10"/>
                </a:cubicBezTo>
                <a:cubicBezTo>
                  <a:pt x="7" y="11"/>
                  <a:pt x="7" y="11"/>
                  <a:pt x="7" y="11"/>
                </a:cubicBezTo>
                <a:cubicBezTo>
                  <a:pt x="8" y="12"/>
                  <a:pt x="8" y="12"/>
                  <a:pt x="8" y="12"/>
                </a:cubicBezTo>
                <a:cubicBezTo>
                  <a:pt x="8" y="12"/>
                  <a:pt x="8" y="12"/>
                  <a:pt x="8" y="12"/>
                </a:cubicBezTo>
                <a:cubicBezTo>
                  <a:pt x="7" y="12"/>
                  <a:pt x="7" y="12"/>
                  <a:pt x="7" y="12"/>
                </a:cubicBezTo>
                <a:cubicBezTo>
                  <a:pt x="6" y="12"/>
                  <a:pt x="6" y="12"/>
                  <a:pt x="6" y="12"/>
                </a:cubicBezTo>
                <a:cubicBezTo>
                  <a:pt x="5" y="12"/>
                  <a:pt x="5" y="12"/>
                  <a:pt x="5" y="12"/>
                </a:cubicBezTo>
                <a:cubicBezTo>
                  <a:pt x="6" y="11"/>
                  <a:pt x="6" y="11"/>
                  <a:pt x="6" y="11"/>
                </a:cubicBezTo>
                <a:cubicBezTo>
                  <a:pt x="5" y="10"/>
                  <a:pt x="5" y="10"/>
                  <a:pt x="5" y="10"/>
                </a:cubicBezTo>
                <a:cubicBezTo>
                  <a:pt x="5" y="10"/>
                  <a:pt x="5" y="10"/>
                  <a:pt x="5" y="10"/>
                </a:cubicBezTo>
                <a:cubicBezTo>
                  <a:pt x="4" y="11"/>
                  <a:pt x="4" y="11"/>
                  <a:pt x="4" y="11"/>
                </a:cubicBezTo>
                <a:cubicBezTo>
                  <a:pt x="5" y="12"/>
                  <a:pt x="5" y="12"/>
                  <a:pt x="5" y="12"/>
                </a:cubicBezTo>
                <a:cubicBezTo>
                  <a:pt x="4" y="13"/>
                  <a:pt x="4" y="13"/>
                  <a:pt x="4" y="13"/>
                </a:cubicBezTo>
                <a:cubicBezTo>
                  <a:pt x="3" y="12"/>
                  <a:pt x="3" y="12"/>
                  <a:pt x="3" y="12"/>
                </a:cubicBezTo>
                <a:cubicBezTo>
                  <a:pt x="2" y="12"/>
                  <a:pt x="2" y="12"/>
                  <a:pt x="2" y="12"/>
                </a:cubicBezTo>
                <a:cubicBezTo>
                  <a:pt x="1" y="11"/>
                  <a:pt x="1" y="11"/>
                  <a:pt x="1" y="11"/>
                </a:cubicBezTo>
                <a:cubicBezTo>
                  <a:pt x="0" y="12"/>
                  <a:pt x="0" y="12"/>
                  <a:pt x="0" y="12"/>
                </a:cubicBezTo>
                <a:cubicBezTo>
                  <a:pt x="2" y="13"/>
                  <a:pt x="2" y="13"/>
                  <a:pt x="2" y="13"/>
                </a:cubicBezTo>
                <a:cubicBezTo>
                  <a:pt x="2" y="15"/>
                  <a:pt x="2" y="15"/>
                  <a:pt x="2" y="15"/>
                </a:cubicBezTo>
                <a:cubicBezTo>
                  <a:pt x="1" y="14"/>
                  <a:pt x="1" y="14"/>
                  <a:pt x="1" y="14"/>
                </a:cubicBezTo>
                <a:cubicBezTo>
                  <a:pt x="0" y="14"/>
                  <a:pt x="0" y="14"/>
                  <a:pt x="0" y="14"/>
                </a:cubicBezTo>
                <a:cubicBezTo>
                  <a:pt x="0" y="16"/>
                  <a:pt x="0" y="16"/>
                  <a:pt x="0" y="16"/>
                </a:cubicBezTo>
                <a:cubicBezTo>
                  <a:pt x="1" y="16"/>
                  <a:pt x="1" y="16"/>
                  <a:pt x="1" y="16"/>
                </a:cubicBezTo>
                <a:cubicBezTo>
                  <a:pt x="1" y="18"/>
                  <a:pt x="1" y="18"/>
                  <a:pt x="1" y="18"/>
                </a:cubicBezTo>
                <a:cubicBezTo>
                  <a:pt x="2" y="18"/>
                  <a:pt x="2" y="18"/>
                  <a:pt x="2" y="18"/>
                </a:cubicBezTo>
                <a:cubicBezTo>
                  <a:pt x="0" y="19"/>
                  <a:pt x="0" y="19"/>
                  <a:pt x="0" y="19"/>
                </a:cubicBezTo>
                <a:cubicBezTo>
                  <a:pt x="0" y="21"/>
                  <a:pt x="0" y="21"/>
                  <a:pt x="0" y="21"/>
                </a:cubicBezTo>
                <a:cubicBezTo>
                  <a:pt x="0" y="21"/>
                  <a:pt x="0" y="21"/>
                  <a:pt x="0" y="21"/>
                </a:cubicBezTo>
                <a:cubicBezTo>
                  <a:pt x="1" y="21"/>
                  <a:pt x="1" y="21"/>
                  <a:pt x="1" y="21"/>
                </a:cubicBezTo>
                <a:cubicBezTo>
                  <a:pt x="3" y="22"/>
                  <a:pt x="3" y="22"/>
                  <a:pt x="3" y="22"/>
                </a:cubicBezTo>
                <a:cubicBezTo>
                  <a:pt x="3" y="24"/>
                  <a:pt x="3" y="24"/>
                  <a:pt x="3" y="24"/>
                </a:cubicBezTo>
                <a:cubicBezTo>
                  <a:pt x="3" y="24"/>
                  <a:pt x="3" y="24"/>
                  <a:pt x="3" y="24"/>
                </a:cubicBezTo>
                <a:cubicBezTo>
                  <a:pt x="3" y="25"/>
                  <a:pt x="3" y="25"/>
                  <a:pt x="3" y="25"/>
                </a:cubicBezTo>
                <a:cubicBezTo>
                  <a:pt x="4" y="25"/>
                  <a:pt x="4" y="25"/>
                  <a:pt x="4" y="25"/>
                </a:cubicBezTo>
                <a:cubicBezTo>
                  <a:pt x="7" y="26"/>
                  <a:pt x="7" y="26"/>
                  <a:pt x="7" y="26"/>
                </a:cubicBezTo>
                <a:cubicBezTo>
                  <a:pt x="7" y="26"/>
                  <a:pt x="7" y="26"/>
                  <a:pt x="7" y="26"/>
                </a:cubicBezTo>
                <a:lnTo>
                  <a:pt x="9" y="26"/>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5" name="Freeform 43">
            <a:extLst>
              <a:ext uri="{FF2B5EF4-FFF2-40B4-BE49-F238E27FC236}">
                <a16:creationId xmlns:a16="http://schemas.microsoft.com/office/drawing/2014/main" id="{0E7476C6-83FD-51F6-1CFF-62791C16F857}"/>
              </a:ext>
            </a:extLst>
          </p:cNvPr>
          <p:cNvSpPr>
            <a:spLocks noEditPoints="1"/>
          </p:cNvSpPr>
          <p:nvPr userDrawn="1"/>
        </p:nvSpPr>
        <p:spPr bwMode="auto">
          <a:xfrm>
            <a:off x="13388104" y="3815635"/>
            <a:ext cx="1260396" cy="1457326"/>
          </a:xfrm>
          <a:custGeom>
            <a:avLst/>
            <a:gdLst>
              <a:gd name="T0" fmla="*/ 122 w 127"/>
              <a:gd name="T1" fmla="*/ 18 h 147"/>
              <a:gd name="T2" fmla="*/ 126 w 127"/>
              <a:gd name="T3" fmla="*/ 10 h 147"/>
              <a:gd name="T4" fmla="*/ 117 w 127"/>
              <a:gd name="T5" fmla="*/ 6 h 147"/>
              <a:gd name="T6" fmla="*/ 111 w 127"/>
              <a:gd name="T7" fmla="*/ 7 h 147"/>
              <a:gd name="T8" fmla="*/ 108 w 127"/>
              <a:gd name="T9" fmla="*/ 0 h 147"/>
              <a:gd name="T10" fmla="*/ 104 w 127"/>
              <a:gd name="T11" fmla="*/ 9 h 147"/>
              <a:gd name="T12" fmla="*/ 95 w 127"/>
              <a:gd name="T13" fmla="*/ 13 h 147"/>
              <a:gd name="T14" fmla="*/ 91 w 127"/>
              <a:gd name="T15" fmla="*/ 5 h 147"/>
              <a:gd name="T16" fmla="*/ 88 w 127"/>
              <a:gd name="T17" fmla="*/ 15 h 147"/>
              <a:gd name="T18" fmla="*/ 81 w 127"/>
              <a:gd name="T19" fmla="*/ 17 h 147"/>
              <a:gd name="T20" fmla="*/ 72 w 127"/>
              <a:gd name="T21" fmla="*/ 25 h 147"/>
              <a:gd name="T22" fmla="*/ 69 w 127"/>
              <a:gd name="T23" fmla="*/ 27 h 147"/>
              <a:gd name="T24" fmla="*/ 62 w 127"/>
              <a:gd name="T25" fmla="*/ 27 h 147"/>
              <a:gd name="T26" fmla="*/ 56 w 127"/>
              <a:gd name="T27" fmla="*/ 36 h 147"/>
              <a:gd name="T28" fmla="*/ 55 w 127"/>
              <a:gd name="T29" fmla="*/ 40 h 147"/>
              <a:gd name="T30" fmla="*/ 49 w 127"/>
              <a:gd name="T31" fmla="*/ 45 h 147"/>
              <a:gd name="T32" fmla="*/ 50 w 127"/>
              <a:gd name="T33" fmla="*/ 50 h 147"/>
              <a:gd name="T34" fmla="*/ 44 w 127"/>
              <a:gd name="T35" fmla="*/ 57 h 147"/>
              <a:gd name="T36" fmla="*/ 43 w 127"/>
              <a:gd name="T37" fmla="*/ 62 h 147"/>
              <a:gd name="T38" fmla="*/ 40 w 127"/>
              <a:gd name="T39" fmla="*/ 71 h 147"/>
              <a:gd name="T40" fmla="*/ 33 w 127"/>
              <a:gd name="T41" fmla="*/ 79 h 147"/>
              <a:gd name="T42" fmla="*/ 25 w 127"/>
              <a:gd name="T43" fmla="*/ 89 h 147"/>
              <a:gd name="T44" fmla="*/ 34 w 127"/>
              <a:gd name="T45" fmla="*/ 88 h 147"/>
              <a:gd name="T46" fmla="*/ 23 w 127"/>
              <a:gd name="T47" fmla="*/ 92 h 147"/>
              <a:gd name="T48" fmla="*/ 20 w 127"/>
              <a:gd name="T49" fmla="*/ 98 h 147"/>
              <a:gd name="T50" fmla="*/ 14 w 127"/>
              <a:gd name="T51" fmla="*/ 99 h 147"/>
              <a:gd name="T52" fmla="*/ 12 w 127"/>
              <a:gd name="T53" fmla="*/ 104 h 147"/>
              <a:gd name="T54" fmla="*/ 2 w 127"/>
              <a:gd name="T55" fmla="*/ 106 h 147"/>
              <a:gd name="T56" fmla="*/ 3 w 127"/>
              <a:gd name="T57" fmla="*/ 112 h 147"/>
              <a:gd name="T58" fmla="*/ 9 w 127"/>
              <a:gd name="T59" fmla="*/ 114 h 147"/>
              <a:gd name="T60" fmla="*/ 12 w 127"/>
              <a:gd name="T61" fmla="*/ 117 h 147"/>
              <a:gd name="T62" fmla="*/ 3 w 127"/>
              <a:gd name="T63" fmla="*/ 120 h 147"/>
              <a:gd name="T64" fmla="*/ 11 w 127"/>
              <a:gd name="T65" fmla="*/ 122 h 147"/>
              <a:gd name="T66" fmla="*/ 5 w 127"/>
              <a:gd name="T67" fmla="*/ 131 h 147"/>
              <a:gd name="T68" fmla="*/ 9 w 127"/>
              <a:gd name="T69" fmla="*/ 138 h 147"/>
              <a:gd name="T70" fmla="*/ 15 w 127"/>
              <a:gd name="T71" fmla="*/ 147 h 147"/>
              <a:gd name="T72" fmla="*/ 26 w 127"/>
              <a:gd name="T73" fmla="*/ 136 h 147"/>
              <a:gd name="T74" fmla="*/ 31 w 127"/>
              <a:gd name="T75" fmla="*/ 132 h 147"/>
              <a:gd name="T76" fmla="*/ 39 w 127"/>
              <a:gd name="T77" fmla="*/ 137 h 147"/>
              <a:gd name="T78" fmla="*/ 40 w 127"/>
              <a:gd name="T79" fmla="*/ 103 h 147"/>
              <a:gd name="T80" fmla="*/ 48 w 127"/>
              <a:gd name="T81" fmla="*/ 62 h 147"/>
              <a:gd name="T82" fmla="*/ 64 w 127"/>
              <a:gd name="T83" fmla="*/ 38 h 147"/>
              <a:gd name="T84" fmla="*/ 75 w 127"/>
              <a:gd name="T85" fmla="*/ 28 h 147"/>
              <a:gd name="T86" fmla="*/ 97 w 127"/>
              <a:gd name="T87" fmla="*/ 31 h 147"/>
              <a:gd name="T88" fmla="*/ 112 w 127"/>
              <a:gd name="T89" fmla="*/ 15 h 147"/>
              <a:gd name="T90" fmla="*/ 4 w 127"/>
              <a:gd name="T91" fmla="*/ 127 h 147"/>
              <a:gd name="T92" fmla="*/ 2 w 127"/>
              <a:gd name="T93" fmla="*/ 124 h 147"/>
              <a:gd name="T94" fmla="*/ 5 w 127"/>
              <a:gd name="T95" fmla="*/ 104 h 147"/>
              <a:gd name="T96" fmla="*/ 22 w 127"/>
              <a:gd name="T97" fmla="*/ 90 h 147"/>
              <a:gd name="T98" fmla="*/ 37 w 127"/>
              <a:gd name="T99" fmla="*/ 68 h 147"/>
              <a:gd name="T100" fmla="*/ 38 w 127"/>
              <a:gd name="T101" fmla="*/ 46 h 147"/>
              <a:gd name="T102" fmla="*/ 47 w 127"/>
              <a:gd name="T103" fmla="*/ 35 h 147"/>
              <a:gd name="T104" fmla="*/ 51 w 127"/>
              <a:gd name="T105" fmla="*/ 30 h 147"/>
              <a:gd name="T106" fmla="*/ 50 w 127"/>
              <a:gd name="T107" fmla="*/ 34 h 147"/>
              <a:gd name="T108" fmla="*/ 62 w 127"/>
              <a:gd name="T109" fmla="*/ 25 h 147"/>
              <a:gd name="T110" fmla="*/ 62 w 127"/>
              <a:gd name="T111" fmla="*/ 25 h 147"/>
              <a:gd name="T112" fmla="*/ 69 w 127"/>
              <a:gd name="T113" fmla="*/ 19 h 147"/>
              <a:gd name="T114" fmla="*/ 72 w 127"/>
              <a:gd name="T115" fmla="*/ 15 h 147"/>
              <a:gd name="T116" fmla="*/ 88 w 127"/>
              <a:gd name="T117" fmla="*/ 9 h 147"/>
              <a:gd name="T118" fmla="*/ 88 w 127"/>
              <a:gd name="T119" fmla="*/ 6 h 147"/>
              <a:gd name="T120" fmla="*/ 100 w 127"/>
              <a:gd name="T121" fmla="*/ 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7" h="147">
                <a:moveTo>
                  <a:pt x="118" y="26"/>
                </a:moveTo>
                <a:cubicBezTo>
                  <a:pt x="119" y="26"/>
                  <a:pt x="119" y="26"/>
                  <a:pt x="119" y="26"/>
                </a:cubicBezTo>
                <a:cubicBezTo>
                  <a:pt x="119" y="24"/>
                  <a:pt x="119" y="24"/>
                  <a:pt x="119" y="24"/>
                </a:cubicBezTo>
                <a:cubicBezTo>
                  <a:pt x="121" y="22"/>
                  <a:pt x="121" y="22"/>
                  <a:pt x="121" y="22"/>
                </a:cubicBezTo>
                <a:cubicBezTo>
                  <a:pt x="122" y="22"/>
                  <a:pt x="122" y="22"/>
                  <a:pt x="122" y="22"/>
                </a:cubicBezTo>
                <a:cubicBezTo>
                  <a:pt x="123" y="21"/>
                  <a:pt x="123" y="21"/>
                  <a:pt x="123" y="21"/>
                </a:cubicBezTo>
                <a:cubicBezTo>
                  <a:pt x="123" y="19"/>
                  <a:pt x="123" y="19"/>
                  <a:pt x="123" y="19"/>
                </a:cubicBezTo>
                <a:cubicBezTo>
                  <a:pt x="124" y="19"/>
                  <a:pt x="124" y="19"/>
                  <a:pt x="124" y="19"/>
                </a:cubicBezTo>
                <a:cubicBezTo>
                  <a:pt x="125" y="19"/>
                  <a:pt x="125" y="19"/>
                  <a:pt x="125" y="19"/>
                </a:cubicBezTo>
                <a:cubicBezTo>
                  <a:pt x="126" y="18"/>
                  <a:pt x="126" y="18"/>
                  <a:pt x="126" y="18"/>
                </a:cubicBezTo>
                <a:cubicBezTo>
                  <a:pt x="126" y="17"/>
                  <a:pt x="126" y="17"/>
                  <a:pt x="126" y="17"/>
                </a:cubicBezTo>
                <a:cubicBezTo>
                  <a:pt x="126" y="17"/>
                  <a:pt x="126" y="17"/>
                  <a:pt x="126" y="17"/>
                </a:cubicBezTo>
                <a:cubicBezTo>
                  <a:pt x="125" y="16"/>
                  <a:pt x="125" y="16"/>
                  <a:pt x="125" y="16"/>
                </a:cubicBezTo>
                <a:cubicBezTo>
                  <a:pt x="124" y="16"/>
                  <a:pt x="124" y="16"/>
                  <a:pt x="124" y="16"/>
                </a:cubicBezTo>
                <a:cubicBezTo>
                  <a:pt x="124" y="17"/>
                  <a:pt x="124" y="17"/>
                  <a:pt x="124" y="17"/>
                </a:cubicBezTo>
                <a:cubicBezTo>
                  <a:pt x="124" y="17"/>
                  <a:pt x="124" y="17"/>
                  <a:pt x="124" y="17"/>
                </a:cubicBezTo>
                <a:cubicBezTo>
                  <a:pt x="123" y="17"/>
                  <a:pt x="123" y="17"/>
                  <a:pt x="123" y="17"/>
                </a:cubicBezTo>
                <a:cubicBezTo>
                  <a:pt x="123" y="16"/>
                  <a:pt x="123" y="16"/>
                  <a:pt x="123" y="16"/>
                </a:cubicBezTo>
                <a:cubicBezTo>
                  <a:pt x="122" y="16"/>
                  <a:pt x="122" y="16"/>
                  <a:pt x="122" y="16"/>
                </a:cubicBezTo>
                <a:cubicBezTo>
                  <a:pt x="123" y="17"/>
                  <a:pt x="123" y="17"/>
                  <a:pt x="123" y="17"/>
                </a:cubicBezTo>
                <a:cubicBezTo>
                  <a:pt x="122" y="18"/>
                  <a:pt x="122" y="18"/>
                  <a:pt x="122" y="18"/>
                </a:cubicBezTo>
                <a:cubicBezTo>
                  <a:pt x="122" y="18"/>
                  <a:pt x="122" y="18"/>
                  <a:pt x="122" y="18"/>
                </a:cubicBezTo>
                <a:cubicBezTo>
                  <a:pt x="121" y="17"/>
                  <a:pt x="121" y="17"/>
                  <a:pt x="121" y="17"/>
                </a:cubicBezTo>
                <a:cubicBezTo>
                  <a:pt x="120" y="18"/>
                  <a:pt x="120" y="18"/>
                  <a:pt x="120" y="18"/>
                </a:cubicBezTo>
                <a:cubicBezTo>
                  <a:pt x="120" y="18"/>
                  <a:pt x="120" y="18"/>
                  <a:pt x="120" y="18"/>
                </a:cubicBezTo>
                <a:cubicBezTo>
                  <a:pt x="120" y="17"/>
                  <a:pt x="120" y="17"/>
                  <a:pt x="120" y="17"/>
                </a:cubicBezTo>
                <a:cubicBezTo>
                  <a:pt x="120" y="16"/>
                  <a:pt x="120" y="16"/>
                  <a:pt x="120" y="16"/>
                </a:cubicBezTo>
                <a:cubicBezTo>
                  <a:pt x="119" y="16"/>
                  <a:pt x="119" y="16"/>
                  <a:pt x="119" y="16"/>
                </a:cubicBezTo>
                <a:cubicBezTo>
                  <a:pt x="119" y="15"/>
                  <a:pt x="119" y="15"/>
                  <a:pt x="119" y="15"/>
                </a:cubicBezTo>
                <a:cubicBezTo>
                  <a:pt x="118" y="14"/>
                  <a:pt x="118" y="14"/>
                  <a:pt x="118" y="14"/>
                </a:cubicBezTo>
                <a:cubicBezTo>
                  <a:pt x="117" y="14"/>
                  <a:pt x="117" y="14"/>
                  <a:pt x="117" y="14"/>
                </a:cubicBezTo>
                <a:cubicBezTo>
                  <a:pt x="116" y="14"/>
                  <a:pt x="116" y="14"/>
                  <a:pt x="116" y="14"/>
                </a:cubicBezTo>
                <a:cubicBezTo>
                  <a:pt x="115" y="14"/>
                  <a:pt x="115" y="14"/>
                  <a:pt x="115" y="14"/>
                </a:cubicBezTo>
                <a:cubicBezTo>
                  <a:pt x="114" y="13"/>
                  <a:pt x="114" y="13"/>
                  <a:pt x="114" y="13"/>
                </a:cubicBezTo>
                <a:cubicBezTo>
                  <a:pt x="114" y="13"/>
                  <a:pt x="114" y="13"/>
                  <a:pt x="114" y="13"/>
                </a:cubicBezTo>
                <a:cubicBezTo>
                  <a:pt x="116" y="13"/>
                  <a:pt x="116" y="13"/>
                  <a:pt x="116" y="13"/>
                </a:cubicBezTo>
                <a:cubicBezTo>
                  <a:pt x="118" y="13"/>
                  <a:pt x="118" y="13"/>
                  <a:pt x="118" y="13"/>
                </a:cubicBezTo>
                <a:cubicBezTo>
                  <a:pt x="119" y="13"/>
                  <a:pt x="119" y="13"/>
                  <a:pt x="119" y="13"/>
                </a:cubicBezTo>
                <a:cubicBezTo>
                  <a:pt x="121" y="14"/>
                  <a:pt x="121" y="14"/>
                  <a:pt x="121" y="14"/>
                </a:cubicBezTo>
                <a:cubicBezTo>
                  <a:pt x="123" y="13"/>
                  <a:pt x="123" y="13"/>
                  <a:pt x="123" y="13"/>
                </a:cubicBezTo>
                <a:cubicBezTo>
                  <a:pt x="124" y="11"/>
                  <a:pt x="124" y="11"/>
                  <a:pt x="124" y="11"/>
                </a:cubicBezTo>
                <a:cubicBezTo>
                  <a:pt x="126" y="10"/>
                  <a:pt x="126" y="10"/>
                  <a:pt x="126" y="10"/>
                </a:cubicBezTo>
                <a:cubicBezTo>
                  <a:pt x="127" y="9"/>
                  <a:pt x="127" y="9"/>
                  <a:pt x="127" y="9"/>
                </a:cubicBezTo>
                <a:cubicBezTo>
                  <a:pt x="127" y="9"/>
                  <a:pt x="127" y="9"/>
                  <a:pt x="127" y="9"/>
                </a:cubicBezTo>
                <a:cubicBezTo>
                  <a:pt x="127" y="9"/>
                  <a:pt x="127" y="9"/>
                  <a:pt x="127" y="9"/>
                </a:cubicBezTo>
                <a:cubicBezTo>
                  <a:pt x="126" y="8"/>
                  <a:pt x="126" y="8"/>
                  <a:pt x="126" y="8"/>
                </a:cubicBezTo>
                <a:cubicBezTo>
                  <a:pt x="126" y="8"/>
                  <a:pt x="126" y="8"/>
                  <a:pt x="126" y="8"/>
                </a:cubicBezTo>
                <a:cubicBezTo>
                  <a:pt x="125" y="8"/>
                  <a:pt x="125" y="8"/>
                  <a:pt x="125" y="8"/>
                </a:cubicBezTo>
                <a:cubicBezTo>
                  <a:pt x="123" y="7"/>
                  <a:pt x="123" y="7"/>
                  <a:pt x="123" y="7"/>
                </a:cubicBezTo>
                <a:cubicBezTo>
                  <a:pt x="122" y="7"/>
                  <a:pt x="122" y="7"/>
                  <a:pt x="122" y="7"/>
                </a:cubicBezTo>
                <a:cubicBezTo>
                  <a:pt x="121" y="8"/>
                  <a:pt x="121" y="8"/>
                  <a:pt x="121" y="8"/>
                </a:cubicBezTo>
                <a:cubicBezTo>
                  <a:pt x="121" y="8"/>
                  <a:pt x="121" y="8"/>
                  <a:pt x="121" y="8"/>
                </a:cubicBezTo>
                <a:cubicBezTo>
                  <a:pt x="120" y="7"/>
                  <a:pt x="120" y="7"/>
                  <a:pt x="120" y="7"/>
                </a:cubicBezTo>
                <a:cubicBezTo>
                  <a:pt x="121" y="7"/>
                  <a:pt x="121" y="7"/>
                  <a:pt x="121" y="7"/>
                </a:cubicBezTo>
                <a:cubicBezTo>
                  <a:pt x="121" y="6"/>
                  <a:pt x="121" y="6"/>
                  <a:pt x="121" y="6"/>
                </a:cubicBezTo>
                <a:cubicBezTo>
                  <a:pt x="120" y="5"/>
                  <a:pt x="120" y="5"/>
                  <a:pt x="120" y="5"/>
                </a:cubicBezTo>
                <a:cubicBezTo>
                  <a:pt x="120" y="5"/>
                  <a:pt x="120" y="5"/>
                  <a:pt x="120" y="5"/>
                </a:cubicBezTo>
                <a:cubicBezTo>
                  <a:pt x="119" y="5"/>
                  <a:pt x="119" y="5"/>
                  <a:pt x="119" y="5"/>
                </a:cubicBezTo>
                <a:cubicBezTo>
                  <a:pt x="118" y="7"/>
                  <a:pt x="118" y="7"/>
                  <a:pt x="118" y="7"/>
                </a:cubicBezTo>
                <a:cubicBezTo>
                  <a:pt x="118" y="7"/>
                  <a:pt x="118" y="7"/>
                  <a:pt x="118" y="7"/>
                </a:cubicBezTo>
                <a:cubicBezTo>
                  <a:pt x="118" y="6"/>
                  <a:pt x="118" y="6"/>
                  <a:pt x="118" y="6"/>
                </a:cubicBezTo>
                <a:cubicBezTo>
                  <a:pt x="117" y="6"/>
                  <a:pt x="117" y="6"/>
                  <a:pt x="117" y="6"/>
                </a:cubicBezTo>
                <a:cubicBezTo>
                  <a:pt x="117" y="6"/>
                  <a:pt x="117" y="6"/>
                  <a:pt x="117" y="6"/>
                </a:cubicBezTo>
                <a:cubicBezTo>
                  <a:pt x="116" y="6"/>
                  <a:pt x="116" y="6"/>
                  <a:pt x="116" y="6"/>
                </a:cubicBezTo>
                <a:cubicBezTo>
                  <a:pt x="116" y="6"/>
                  <a:pt x="116" y="6"/>
                  <a:pt x="116" y="6"/>
                </a:cubicBezTo>
                <a:cubicBezTo>
                  <a:pt x="117" y="5"/>
                  <a:pt x="117" y="5"/>
                  <a:pt x="117" y="5"/>
                </a:cubicBezTo>
                <a:cubicBezTo>
                  <a:pt x="117" y="4"/>
                  <a:pt x="117" y="4"/>
                  <a:pt x="117" y="4"/>
                </a:cubicBezTo>
                <a:cubicBezTo>
                  <a:pt x="116" y="4"/>
                  <a:pt x="116" y="4"/>
                  <a:pt x="116" y="4"/>
                </a:cubicBezTo>
                <a:cubicBezTo>
                  <a:pt x="115" y="4"/>
                  <a:pt x="115" y="4"/>
                  <a:pt x="115" y="4"/>
                </a:cubicBezTo>
                <a:cubicBezTo>
                  <a:pt x="114" y="4"/>
                  <a:pt x="114" y="4"/>
                  <a:pt x="114" y="4"/>
                </a:cubicBezTo>
                <a:cubicBezTo>
                  <a:pt x="114" y="6"/>
                  <a:pt x="114" y="6"/>
                  <a:pt x="114" y="6"/>
                </a:cubicBezTo>
                <a:cubicBezTo>
                  <a:pt x="113" y="6"/>
                  <a:pt x="113" y="6"/>
                  <a:pt x="113" y="6"/>
                </a:cubicBezTo>
                <a:cubicBezTo>
                  <a:pt x="113" y="7"/>
                  <a:pt x="113" y="7"/>
                  <a:pt x="113" y="7"/>
                </a:cubicBezTo>
                <a:cubicBezTo>
                  <a:pt x="114" y="9"/>
                  <a:pt x="114" y="9"/>
                  <a:pt x="114" y="9"/>
                </a:cubicBezTo>
                <a:cubicBezTo>
                  <a:pt x="113" y="9"/>
                  <a:pt x="113" y="9"/>
                  <a:pt x="113" y="9"/>
                </a:cubicBezTo>
                <a:cubicBezTo>
                  <a:pt x="113" y="10"/>
                  <a:pt x="113" y="10"/>
                  <a:pt x="113" y="10"/>
                </a:cubicBezTo>
                <a:cubicBezTo>
                  <a:pt x="112" y="9"/>
                  <a:pt x="112" y="9"/>
                  <a:pt x="112" y="9"/>
                </a:cubicBezTo>
                <a:cubicBezTo>
                  <a:pt x="112" y="9"/>
                  <a:pt x="112" y="9"/>
                  <a:pt x="112" y="9"/>
                </a:cubicBezTo>
                <a:cubicBezTo>
                  <a:pt x="111" y="9"/>
                  <a:pt x="111" y="9"/>
                  <a:pt x="111" y="9"/>
                </a:cubicBezTo>
                <a:cubicBezTo>
                  <a:pt x="110" y="9"/>
                  <a:pt x="110" y="9"/>
                  <a:pt x="110" y="9"/>
                </a:cubicBezTo>
                <a:cubicBezTo>
                  <a:pt x="109" y="10"/>
                  <a:pt x="109" y="10"/>
                  <a:pt x="109" y="10"/>
                </a:cubicBezTo>
                <a:cubicBezTo>
                  <a:pt x="110" y="8"/>
                  <a:pt x="110" y="8"/>
                  <a:pt x="110" y="8"/>
                </a:cubicBezTo>
                <a:cubicBezTo>
                  <a:pt x="111" y="8"/>
                  <a:pt x="111" y="8"/>
                  <a:pt x="111" y="8"/>
                </a:cubicBezTo>
                <a:cubicBezTo>
                  <a:pt x="111" y="7"/>
                  <a:pt x="111" y="7"/>
                  <a:pt x="111" y="7"/>
                </a:cubicBezTo>
                <a:cubicBezTo>
                  <a:pt x="111" y="6"/>
                  <a:pt x="111" y="6"/>
                  <a:pt x="111" y="6"/>
                </a:cubicBezTo>
                <a:cubicBezTo>
                  <a:pt x="111" y="6"/>
                  <a:pt x="111" y="6"/>
                  <a:pt x="111" y="6"/>
                </a:cubicBezTo>
                <a:cubicBezTo>
                  <a:pt x="110" y="7"/>
                  <a:pt x="110" y="7"/>
                  <a:pt x="110" y="7"/>
                </a:cubicBezTo>
                <a:cubicBezTo>
                  <a:pt x="109" y="7"/>
                  <a:pt x="109" y="7"/>
                  <a:pt x="109" y="7"/>
                </a:cubicBezTo>
                <a:cubicBezTo>
                  <a:pt x="109" y="6"/>
                  <a:pt x="109" y="6"/>
                  <a:pt x="109" y="6"/>
                </a:cubicBezTo>
                <a:cubicBezTo>
                  <a:pt x="110" y="6"/>
                  <a:pt x="110" y="6"/>
                  <a:pt x="110" y="6"/>
                </a:cubicBezTo>
                <a:cubicBezTo>
                  <a:pt x="110" y="5"/>
                  <a:pt x="110" y="5"/>
                  <a:pt x="110" y="5"/>
                </a:cubicBezTo>
                <a:cubicBezTo>
                  <a:pt x="109" y="5"/>
                  <a:pt x="109" y="5"/>
                  <a:pt x="109" y="5"/>
                </a:cubicBezTo>
                <a:cubicBezTo>
                  <a:pt x="109" y="4"/>
                  <a:pt x="109" y="4"/>
                  <a:pt x="109" y="4"/>
                </a:cubicBezTo>
                <a:cubicBezTo>
                  <a:pt x="110" y="4"/>
                  <a:pt x="110" y="4"/>
                  <a:pt x="110" y="4"/>
                </a:cubicBezTo>
                <a:cubicBezTo>
                  <a:pt x="110" y="4"/>
                  <a:pt x="110" y="4"/>
                  <a:pt x="110" y="4"/>
                </a:cubicBezTo>
                <a:cubicBezTo>
                  <a:pt x="111" y="4"/>
                  <a:pt x="111" y="4"/>
                  <a:pt x="111" y="4"/>
                </a:cubicBezTo>
                <a:cubicBezTo>
                  <a:pt x="112" y="2"/>
                  <a:pt x="112" y="2"/>
                  <a:pt x="112" y="2"/>
                </a:cubicBezTo>
                <a:cubicBezTo>
                  <a:pt x="112" y="2"/>
                  <a:pt x="112" y="2"/>
                  <a:pt x="112" y="2"/>
                </a:cubicBezTo>
                <a:cubicBezTo>
                  <a:pt x="111" y="2"/>
                  <a:pt x="111" y="2"/>
                  <a:pt x="111" y="2"/>
                </a:cubicBezTo>
                <a:cubicBezTo>
                  <a:pt x="110" y="2"/>
                  <a:pt x="110" y="2"/>
                  <a:pt x="110" y="2"/>
                </a:cubicBezTo>
                <a:cubicBezTo>
                  <a:pt x="110" y="1"/>
                  <a:pt x="110" y="1"/>
                  <a:pt x="110" y="1"/>
                </a:cubicBezTo>
                <a:cubicBezTo>
                  <a:pt x="110" y="0"/>
                  <a:pt x="110" y="0"/>
                  <a:pt x="110" y="0"/>
                </a:cubicBezTo>
                <a:cubicBezTo>
                  <a:pt x="109" y="1"/>
                  <a:pt x="109" y="1"/>
                  <a:pt x="109" y="1"/>
                </a:cubicBezTo>
                <a:cubicBezTo>
                  <a:pt x="108" y="0"/>
                  <a:pt x="108" y="0"/>
                  <a:pt x="108" y="0"/>
                </a:cubicBezTo>
                <a:cubicBezTo>
                  <a:pt x="108" y="0"/>
                  <a:pt x="108" y="0"/>
                  <a:pt x="108" y="0"/>
                </a:cubicBezTo>
                <a:cubicBezTo>
                  <a:pt x="107" y="1"/>
                  <a:pt x="107" y="1"/>
                  <a:pt x="107" y="1"/>
                </a:cubicBezTo>
                <a:cubicBezTo>
                  <a:pt x="107" y="1"/>
                  <a:pt x="107" y="1"/>
                  <a:pt x="107" y="1"/>
                </a:cubicBezTo>
                <a:cubicBezTo>
                  <a:pt x="108" y="2"/>
                  <a:pt x="108" y="2"/>
                  <a:pt x="108" y="2"/>
                </a:cubicBezTo>
                <a:cubicBezTo>
                  <a:pt x="107" y="3"/>
                  <a:pt x="107" y="3"/>
                  <a:pt x="107" y="3"/>
                </a:cubicBezTo>
                <a:cubicBezTo>
                  <a:pt x="107" y="3"/>
                  <a:pt x="107" y="3"/>
                  <a:pt x="107" y="3"/>
                </a:cubicBezTo>
                <a:cubicBezTo>
                  <a:pt x="106" y="2"/>
                  <a:pt x="106" y="2"/>
                  <a:pt x="106" y="2"/>
                </a:cubicBezTo>
                <a:cubicBezTo>
                  <a:pt x="105" y="2"/>
                  <a:pt x="105" y="2"/>
                  <a:pt x="105" y="2"/>
                </a:cubicBezTo>
                <a:cubicBezTo>
                  <a:pt x="105" y="3"/>
                  <a:pt x="105" y="3"/>
                  <a:pt x="105" y="3"/>
                </a:cubicBezTo>
                <a:cubicBezTo>
                  <a:pt x="105" y="4"/>
                  <a:pt x="105" y="4"/>
                  <a:pt x="105" y="4"/>
                </a:cubicBezTo>
                <a:cubicBezTo>
                  <a:pt x="106" y="4"/>
                  <a:pt x="106" y="4"/>
                  <a:pt x="106" y="4"/>
                </a:cubicBezTo>
                <a:cubicBezTo>
                  <a:pt x="106" y="4"/>
                  <a:pt x="106" y="4"/>
                  <a:pt x="106" y="4"/>
                </a:cubicBezTo>
                <a:cubicBezTo>
                  <a:pt x="106" y="5"/>
                  <a:pt x="106" y="5"/>
                  <a:pt x="106" y="5"/>
                </a:cubicBezTo>
                <a:cubicBezTo>
                  <a:pt x="106" y="5"/>
                  <a:pt x="106" y="5"/>
                  <a:pt x="106" y="5"/>
                </a:cubicBezTo>
                <a:cubicBezTo>
                  <a:pt x="106" y="6"/>
                  <a:pt x="106" y="6"/>
                  <a:pt x="106" y="6"/>
                </a:cubicBezTo>
                <a:cubicBezTo>
                  <a:pt x="105" y="6"/>
                  <a:pt x="105" y="6"/>
                  <a:pt x="105" y="6"/>
                </a:cubicBezTo>
                <a:cubicBezTo>
                  <a:pt x="105" y="7"/>
                  <a:pt x="105" y="7"/>
                  <a:pt x="105" y="7"/>
                </a:cubicBezTo>
                <a:cubicBezTo>
                  <a:pt x="105" y="8"/>
                  <a:pt x="105" y="8"/>
                  <a:pt x="105" y="8"/>
                </a:cubicBezTo>
                <a:cubicBezTo>
                  <a:pt x="104" y="8"/>
                  <a:pt x="104" y="8"/>
                  <a:pt x="104" y="8"/>
                </a:cubicBezTo>
                <a:cubicBezTo>
                  <a:pt x="105" y="9"/>
                  <a:pt x="105" y="9"/>
                  <a:pt x="105" y="9"/>
                </a:cubicBezTo>
                <a:cubicBezTo>
                  <a:pt x="104" y="10"/>
                  <a:pt x="104" y="10"/>
                  <a:pt x="104" y="10"/>
                </a:cubicBezTo>
                <a:cubicBezTo>
                  <a:pt x="104" y="9"/>
                  <a:pt x="104" y="9"/>
                  <a:pt x="104" y="9"/>
                </a:cubicBezTo>
                <a:cubicBezTo>
                  <a:pt x="103" y="10"/>
                  <a:pt x="103" y="10"/>
                  <a:pt x="103" y="10"/>
                </a:cubicBezTo>
                <a:cubicBezTo>
                  <a:pt x="103" y="10"/>
                  <a:pt x="103" y="10"/>
                  <a:pt x="103" y="10"/>
                </a:cubicBezTo>
                <a:cubicBezTo>
                  <a:pt x="102" y="11"/>
                  <a:pt x="102" y="11"/>
                  <a:pt x="102" y="11"/>
                </a:cubicBezTo>
                <a:cubicBezTo>
                  <a:pt x="102" y="9"/>
                  <a:pt x="102" y="9"/>
                  <a:pt x="102" y="9"/>
                </a:cubicBezTo>
                <a:cubicBezTo>
                  <a:pt x="103" y="7"/>
                  <a:pt x="103" y="7"/>
                  <a:pt x="103" y="7"/>
                </a:cubicBezTo>
                <a:cubicBezTo>
                  <a:pt x="102" y="7"/>
                  <a:pt x="102" y="7"/>
                  <a:pt x="102" y="7"/>
                </a:cubicBezTo>
                <a:cubicBezTo>
                  <a:pt x="102" y="6"/>
                  <a:pt x="102" y="6"/>
                  <a:pt x="102" y="6"/>
                </a:cubicBezTo>
                <a:cubicBezTo>
                  <a:pt x="103" y="6"/>
                  <a:pt x="103" y="6"/>
                  <a:pt x="103" y="6"/>
                </a:cubicBezTo>
                <a:cubicBezTo>
                  <a:pt x="103" y="4"/>
                  <a:pt x="103" y="4"/>
                  <a:pt x="103" y="4"/>
                </a:cubicBezTo>
                <a:cubicBezTo>
                  <a:pt x="102" y="3"/>
                  <a:pt x="102" y="3"/>
                  <a:pt x="102" y="3"/>
                </a:cubicBezTo>
                <a:cubicBezTo>
                  <a:pt x="102" y="3"/>
                  <a:pt x="102" y="3"/>
                  <a:pt x="102" y="3"/>
                </a:cubicBezTo>
                <a:cubicBezTo>
                  <a:pt x="100" y="6"/>
                  <a:pt x="100" y="6"/>
                  <a:pt x="100" y="6"/>
                </a:cubicBezTo>
                <a:cubicBezTo>
                  <a:pt x="100" y="7"/>
                  <a:pt x="100" y="7"/>
                  <a:pt x="100" y="7"/>
                </a:cubicBezTo>
                <a:cubicBezTo>
                  <a:pt x="99" y="9"/>
                  <a:pt x="99" y="9"/>
                  <a:pt x="99" y="9"/>
                </a:cubicBezTo>
                <a:cubicBezTo>
                  <a:pt x="98" y="11"/>
                  <a:pt x="98" y="11"/>
                  <a:pt x="98" y="11"/>
                </a:cubicBezTo>
                <a:cubicBezTo>
                  <a:pt x="98" y="12"/>
                  <a:pt x="98" y="12"/>
                  <a:pt x="98" y="12"/>
                </a:cubicBezTo>
                <a:cubicBezTo>
                  <a:pt x="98" y="13"/>
                  <a:pt x="98" y="13"/>
                  <a:pt x="98" y="13"/>
                </a:cubicBezTo>
                <a:cubicBezTo>
                  <a:pt x="97" y="15"/>
                  <a:pt x="97" y="15"/>
                  <a:pt x="97" y="15"/>
                </a:cubicBezTo>
                <a:cubicBezTo>
                  <a:pt x="96" y="15"/>
                  <a:pt x="96" y="15"/>
                  <a:pt x="96" y="15"/>
                </a:cubicBezTo>
                <a:cubicBezTo>
                  <a:pt x="96" y="14"/>
                  <a:pt x="96" y="14"/>
                  <a:pt x="96" y="14"/>
                </a:cubicBezTo>
                <a:cubicBezTo>
                  <a:pt x="95" y="13"/>
                  <a:pt x="95" y="13"/>
                  <a:pt x="95" y="13"/>
                </a:cubicBezTo>
                <a:cubicBezTo>
                  <a:pt x="97" y="11"/>
                  <a:pt x="97" y="11"/>
                  <a:pt x="97" y="11"/>
                </a:cubicBezTo>
                <a:cubicBezTo>
                  <a:pt x="96" y="10"/>
                  <a:pt x="96" y="10"/>
                  <a:pt x="96" y="10"/>
                </a:cubicBezTo>
                <a:cubicBezTo>
                  <a:pt x="97" y="10"/>
                  <a:pt x="97" y="10"/>
                  <a:pt x="97" y="10"/>
                </a:cubicBezTo>
                <a:cubicBezTo>
                  <a:pt x="96" y="8"/>
                  <a:pt x="96" y="8"/>
                  <a:pt x="96" y="8"/>
                </a:cubicBezTo>
                <a:cubicBezTo>
                  <a:pt x="98" y="6"/>
                  <a:pt x="98" y="6"/>
                  <a:pt x="98" y="6"/>
                </a:cubicBezTo>
                <a:cubicBezTo>
                  <a:pt x="98" y="5"/>
                  <a:pt x="98" y="5"/>
                  <a:pt x="98" y="5"/>
                </a:cubicBezTo>
                <a:cubicBezTo>
                  <a:pt x="99" y="5"/>
                  <a:pt x="99" y="5"/>
                  <a:pt x="99" y="5"/>
                </a:cubicBezTo>
                <a:cubicBezTo>
                  <a:pt x="99" y="4"/>
                  <a:pt x="99" y="4"/>
                  <a:pt x="99" y="4"/>
                </a:cubicBezTo>
                <a:cubicBezTo>
                  <a:pt x="98" y="4"/>
                  <a:pt x="98" y="4"/>
                  <a:pt x="98" y="4"/>
                </a:cubicBezTo>
                <a:cubicBezTo>
                  <a:pt x="97" y="3"/>
                  <a:pt x="97" y="3"/>
                  <a:pt x="97" y="3"/>
                </a:cubicBezTo>
                <a:cubicBezTo>
                  <a:pt x="96" y="3"/>
                  <a:pt x="96" y="3"/>
                  <a:pt x="96" y="3"/>
                </a:cubicBezTo>
                <a:cubicBezTo>
                  <a:pt x="96" y="4"/>
                  <a:pt x="96" y="4"/>
                  <a:pt x="96" y="4"/>
                </a:cubicBezTo>
                <a:cubicBezTo>
                  <a:pt x="96" y="5"/>
                  <a:pt x="96" y="5"/>
                  <a:pt x="96" y="5"/>
                </a:cubicBezTo>
                <a:cubicBezTo>
                  <a:pt x="95" y="4"/>
                  <a:pt x="95" y="4"/>
                  <a:pt x="95" y="4"/>
                </a:cubicBezTo>
                <a:cubicBezTo>
                  <a:pt x="95" y="3"/>
                  <a:pt x="95" y="3"/>
                  <a:pt x="95" y="3"/>
                </a:cubicBezTo>
                <a:cubicBezTo>
                  <a:pt x="94" y="3"/>
                  <a:pt x="94" y="3"/>
                  <a:pt x="94" y="3"/>
                </a:cubicBezTo>
                <a:cubicBezTo>
                  <a:pt x="93" y="4"/>
                  <a:pt x="93" y="4"/>
                  <a:pt x="93" y="4"/>
                </a:cubicBezTo>
                <a:cubicBezTo>
                  <a:pt x="93" y="5"/>
                  <a:pt x="93" y="5"/>
                  <a:pt x="93" y="5"/>
                </a:cubicBezTo>
                <a:cubicBezTo>
                  <a:pt x="93" y="6"/>
                  <a:pt x="93" y="6"/>
                  <a:pt x="93" y="6"/>
                </a:cubicBezTo>
                <a:cubicBezTo>
                  <a:pt x="92" y="5"/>
                  <a:pt x="92" y="5"/>
                  <a:pt x="92" y="5"/>
                </a:cubicBezTo>
                <a:cubicBezTo>
                  <a:pt x="91" y="5"/>
                  <a:pt x="91" y="5"/>
                  <a:pt x="91" y="5"/>
                </a:cubicBezTo>
                <a:cubicBezTo>
                  <a:pt x="91" y="5"/>
                  <a:pt x="91" y="5"/>
                  <a:pt x="91" y="5"/>
                </a:cubicBezTo>
                <a:cubicBezTo>
                  <a:pt x="91" y="6"/>
                  <a:pt x="91" y="6"/>
                  <a:pt x="91" y="6"/>
                </a:cubicBezTo>
                <a:cubicBezTo>
                  <a:pt x="93" y="7"/>
                  <a:pt x="93" y="7"/>
                  <a:pt x="93" y="7"/>
                </a:cubicBezTo>
                <a:cubicBezTo>
                  <a:pt x="93" y="8"/>
                  <a:pt x="93" y="8"/>
                  <a:pt x="93" y="8"/>
                </a:cubicBezTo>
                <a:cubicBezTo>
                  <a:pt x="93" y="8"/>
                  <a:pt x="93" y="8"/>
                  <a:pt x="93" y="8"/>
                </a:cubicBezTo>
                <a:cubicBezTo>
                  <a:pt x="92" y="8"/>
                  <a:pt x="92" y="8"/>
                  <a:pt x="92" y="8"/>
                </a:cubicBezTo>
                <a:cubicBezTo>
                  <a:pt x="91" y="8"/>
                  <a:pt x="91" y="8"/>
                  <a:pt x="91" y="8"/>
                </a:cubicBezTo>
                <a:cubicBezTo>
                  <a:pt x="91" y="9"/>
                  <a:pt x="91" y="9"/>
                  <a:pt x="91" y="9"/>
                </a:cubicBezTo>
                <a:cubicBezTo>
                  <a:pt x="91" y="9"/>
                  <a:pt x="91" y="9"/>
                  <a:pt x="91" y="9"/>
                </a:cubicBezTo>
                <a:cubicBezTo>
                  <a:pt x="91" y="10"/>
                  <a:pt x="91" y="10"/>
                  <a:pt x="91" y="10"/>
                </a:cubicBezTo>
                <a:cubicBezTo>
                  <a:pt x="90" y="9"/>
                  <a:pt x="90" y="9"/>
                  <a:pt x="90" y="9"/>
                </a:cubicBezTo>
                <a:cubicBezTo>
                  <a:pt x="89" y="9"/>
                  <a:pt x="89" y="9"/>
                  <a:pt x="89" y="9"/>
                </a:cubicBezTo>
                <a:cubicBezTo>
                  <a:pt x="89" y="10"/>
                  <a:pt x="89" y="10"/>
                  <a:pt x="89" y="10"/>
                </a:cubicBezTo>
                <a:cubicBezTo>
                  <a:pt x="88" y="11"/>
                  <a:pt x="88" y="11"/>
                  <a:pt x="88" y="11"/>
                </a:cubicBezTo>
                <a:cubicBezTo>
                  <a:pt x="88" y="11"/>
                  <a:pt x="88" y="11"/>
                  <a:pt x="88" y="11"/>
                </a:cubicBezTo>
                <a:cubicBezTo>
                  <a:pt x="88" y="12"/>
                  <a:pt x="88" y="12"/>
                  <a:pt x="88" y="12"/>
                </a:cubicBezTo>
                <a:cubicBezTo>
                  <a:pt x="87" y="12"/>
                  <a:pt x="87" y="12"/>
                  <a:pt x="87" y="12"/>
                </a:cubicBezTo>
                <a:cubicBezTo>
                  <a:pt x="87" y="13"/>
                  <a:pt x="87" y="13"/>
                  <a:pt x="87" y="13"/>
                </a:cubicBezTo>
                <a:cubicBezTo>
                  <a:pt x="88" y="14"/>
                  <a:pt x="88" y="14"/>
                  <a:pt x="88" y="14"/>
                </a:cubicBezTo>
                <a:cubicBezTo>
                  <a:pt x="87" y="15"/>
                  <a:pt x="87" y="15"/>
                  <a:pt x="87" y="15"/>
                </a:cubicBezTo>
                <a:cubicBezTo>
                  <a:pt x="88" y="15"/>
                  <a:pt x="88" y="15"/>
                  <a:pt x="88" y="15"/>
                </a:cubicBezTo>
                <a:cubicBezTo>
                  <a:pt x="89" y="16"/>
                  <a:pt x="89" y="16"/>
                  <a:pt x="89" y="16"/>
                </a:cubicBezTo>
                <a:cubicBezTo>
                  <a:pt x="88" y="16"/>
                  <a:pt x="88" y="16"/>
                  <a:pt x="88" y="16"/>
                </a:cubicBezTo>
                <a:cubicBezTo>
                  <a:pt x="86" y="16"/>
                  <a:pt x="86" y="16"/>
                  <a:pt x="86" y="16"/>
                </a:cubicBezTo>
                <a:cubicBezTo>
                  <a:pt x="86" y="15"/>
                  <a:pt x="86" y="15"/>
                  <a:pt x="86" y="15"/>
                </a:cubicBezTo>
                <a:cubicBezTo>
                  <a:pt x="85" y="14"/>
                  <a:pt x="85" y="14"/>
                  <a:pt x="85" y="14"/>
                </a:cubicBezTo>
                <a:cubicBezTo>
                  <a:pt x="86" y="14"/>
                  <a:pt x="86" y="14"/>
                  <a:pt x="86" y="14"/>
                </a:cubicBezTo>
                <a:cubicBezTo>
                  <a:pt x="85" y="13"/>
                  <a:pt x="85" y="13"/>
                  <a:pt x="85" y="13"/>
                </a:cubicBezTo>
                <a:cubicBezTo>
                  <a:pt x="84" y="13"/>
                  <a:pt x="84" y="13"/>
                  <a:pt x="84" y="13"/>
                </a:cubicBezTo>
                <a:cubicBezTo>
                  <a:pt x="83" y="13"/>
                  <a:pt x="83" y="13"/>
                  <a:pt x="83" y="13"/>
                </a:cubicBezTo>
                <a:cubicBezTo>
                  <a:pt x="81" y="12"/>
                  <a:pt x="81" y="12"/>
                  <a:pt x="81" y="12"/>
                </a:cubicBezTo>
                <a:cubicBezTo>
                  <a:pt x="80" y="12"/>
                  <a:pt x="80" y="12"/>
                  <a:pt x="80" y="12"/>
                </a:cubicBezTo>
                <a:cubicBezTo>
                  <a:pt x="80" y="12"/>
                  <a:pt x="80" y="12"/>
                  <a:pt x="80" y="12"/>
                </a:cubicBezTo>
                <a:cubicBezTo>
                  <a:pt x="79" y="12"/>
                  <a:pt x="79" y="12"/>
                  <a:pt x="79" y="12"/>
                </a:cubicBezTo>
                <a:cubicBezTo>
                  <a:pt x="78" y="12"/>
                  <a:pt x="78" y="12"/>
                  <a:pt x="78" y="12"/>
                </a:cubicBezTo>
                <a:cubicBezTo>
                  <a:pt x="77" y="13"/>
                  <a:pt x="77" y="13"/>
                  <a:pt x="77" y="13"/>
                </a:cubicBezTo>
                <a:cubicBezTo>
                  <a:pt x="77" y="13"/>
                  <a:pt x="77" y="13"/>
                  <a:pt x="77" y="13"/>
                </a:cubicBezTo>
                <a:cubicBezTo>
                  <a:pt x="78" y="15"/>
                  <a:pt x="78" y="15"/>
                  <a:pt x="78" y="15"/>
                </a:cubicBezTo>
                <a:cubicBezTo>
                  <a:pt x="79" y="15"/>
                  <a:pt x="79" y="15"/>
                  <a:pt x="79" y="15"/>
                </a:cubicBezTo>
                <a:cubicBezTo>
                  <a:pt x="80" y="15"/>
                  <a:pt x="80" y="15"/>
                  <a:pt x="80" y="15"/>
                </a:cubicBezTo>
                <a:cubicBezTo>
                  <a:pt x="81" y="16"/>
                  <a:pt x="81" y="16"/>
                  <a:pt x="81" y="16"/>
                </a:cubicBezTo>
                <a:cubicBezTo>
                  <a:pt x="81" y="17"/>
                  <a:pt x="81" y="17"/>
                  <a:pt x="81" y="17"/>
                </a:cubicBezTo>
                <a:cubicBezTo>
                  <a:pt x="81" y="18"/>
                  <a:pt x="81" y="18"/>
                  <a:pt x="81" y="18"/>
                </a:cubicBezTo>
                <a:cubicBezTo>
                  <a:pt x="82" y="19"/>
                  <a:pt x="82" y="19"/>
                  <a:pt x="82" y="19"/>
                </a:cubicBezTo>
                <a:cubicBezTo>
                  <a:pt x="81" y="20"/>
                  <a:pt x="81" y="20"/>
                  <a:pt x="81" y="20"/>
                </a:cubicBezTo>
                <a:cubicBezTo>
                  <a:pt x="81" y="19"/>
                  <a:pt x="81" y="19"/>
                  <a:pt x="81" y="19"/>
                </a:cubicBezTo>
                <a:cubicBezTo>
                  <a:pt x="80" y="18"/>
                  <a:pt x="80" y="18"/>
                  <a:pt x="80" y="18"/>
                </a:cubicBezTo>
                <a:cubicBezTo>
                  <a:pt x="79" y="17"/>
                  <a:pt x="79" y="17"/>
                  <a:pt x="79" y="17"/>
                </a:cubicBezTo>
                <a:cubicBezTo>
                  <a:pt x="78" y="17"/>
                  <a:pt x="78" y="17"/>
                  <a:pt x="78" y="17"/>
                </a:cubicBezTo>
                <a:cubicBezTo>
                  <a:pt x="78" y="18"/>
                  <a:pt x="78" y="18"/>
                  <a:pt x="78" y="18"/>
                </a:cubicBezTo>
                <a:cubicBezTo>
                  <a:pt x="77" y="19"/>
                  <a:pt x="77" y="19"/>
                  <a:pt x="77" y="19"/>
                </a:cubicBezTo>
                <a:cubicBezTo>
                  <a:pt x="77" y="17"/>
                  <a:pt x="77" y="17"/>
                  <a:pt x="77" y="17"/>
                </a:cubicBezTo>
                <a:cubicBezTo>
                  <a:pt x="76" y="18"/>
                  <a:pt x="76" y="18"/>
                  <a:pt x="76" y="18"/>
                </a:cubicBezTo>
                <a:cubicBezTo>
                  <a:pt x="76" y="18"/>
                  <a:pt x="76" y="18"/>
                  <a:pt x="76" y="18"/>
                </a:cubicBezTo>
                <a:cubicBezTo>
                  <a:pt x="75" y="19"/>
                  <a:pt x="75" y="19"/>
                  <a:pt x="75" y="19"/>
                </a:cubicBezTo>
                <a:cubicBezTo>
                  <a:pt x="75" y="20"/>
                  <a:pt x="75" y="20"/>
                  <a:pt x="75" y="20"/>
                </a:cubicBezTo>
                <a:cubicBezTo>
                  <a:pt x="76" y="21"/>
                  <a:pt x="76" y="21"/>
                  <a:pt x="76" y="21"/>
                </a:cubicBezTo>
                <a:cubicBezTo>
                  <a:pt x="77" y="22"/>
                  <a:pt x="77" y="22"/>
                  <a:pt x="77" y="22"/>
                </a:cubicBezTo>
                <a:cubicBezTo>
                  <a:pt x="76" y="22"/>
                  <a:pt x="76" y="22"/>
                  <a:pt x="76" y="22"/>
                </a:cubicBezTo>
                <a:cubicBezTo>
                  <a:pt x="75" y="21"/>
                  <a:pt x="75" y="21"/>
                  <a:pt x="75" y="21"/>
                </a:cubicBezTo>
                <a:cubicBezTo>
                  <a:pt x="74" y="23"/>
                  <a:pt x="74" y="23"/>
                  <a:pt x="74" y="23"/>
                </a:cubicBezTo>
                <a:cubicBezTo>
                  <a:pt x="74" y="24"/>
                  <a:pt x="74" y="24"/>
                  <a:pt x="74" y="24"/>
                </a:cubicBezTo>
                <a:cubicBezTo>
                  <a:pt x="72" y="25"/>
                  <a:pt x="72" y="25"/>
                  <a:pt x="72" y="25"/>
                </a:cubicBezTo>
                <a:cubicBezTo>
                  <a:pt x="72" y="24"/>
                  <a:pt x="72" y="24"/>
                  <a:pt x="72" y="24"/>
                </a:cubicBezTo>
                <a:cubicBezTo>
                  <a:pt x="73" y="23"/>
                  <a:pt x="73" y="23"/>
                  <a:pt x="73" y="23"/>
                </a:cubicBezTo>
                <a:cubicBezTo>
                  <a:pt x="73" y="23"/>
                  <a:pt x="73" y="23"/>
                  <a:pt x="73" y="23"/>
                </a:cubicBezTo>
                <a:cubicBezTo>
                  <a:pt x="74" y="21"/>
                  <a:pt x="74" y="21"/>
                  <a:pt x="74" y="21"/>
                </a:cubicBezTo>
                <a:cubicBezTo>
                  <a:pt x="73" y="17"/>
                  <a:pt x="73" y="17"/>
                  <a:pt x="73" y="17"/>
                </a:cubicBezTo>
                <a:cubicBezTo>
                  <a:pt x="72" y="18"/>
                  <a:pt x="72" y="18"/>
                  <a:pt x="72" y="18"/>
                </a:cubicBezTo>
                <a:cubicBezTo>
                  <a:pt x="71" y="20"/>
                  <a:pt x="71" y="20"/>
                  <a:pt x="71" y="20"/>
                </a:cubicBezTo>
                <a:cubicBezTo>
                  <a:pt x="71" y="22"/>
                  <a:pt x="71" y="22"/>
                  <a:pt x="71" y="22"/>
                </a:cubicBezTo>
                <a:cubicBezTo>
                  <a:pt x="71" y="22"/>
                  <a:pt x="71" y="22"/>
                  <a:pt x="71" y="22"/>
                </a:cubicBezTo>
                <a:cubicBezTo>
                  <a:pt x="70" y="24"/>
                  <a:pt x="70" y="24"/>
                  <a:pt x="70" y="24"/>
                </a:cubicBezTo>
                <a:cubicBezTo>
                  <a:pt x="70" y="22"/>
                  <a:pt x="70" y="22"/>
                  <a:pt x="70" y="22"/>
                </a:cubicBezTo>
                <a:cubicBezTo>
                  <a:pt x="71" y="21"/>
                  <a:pt x="71" y="21"/>
                  <a:pt x="71" y="21"/>
                </a:cubicBezTo>
                <a:cubicBezTo>
                  <a:pt x="70" y="19"/>
                  <a:pt x="70" y="19"/>
                  <a:pt x="70" y="19"/>
                </a:cubicBezTo>
                <a:cubicBezTo>
                  <a:pt x="70" y="19"/>
                  <a:pt x="70" y="19"/>
                  <a:pt x="70" y="19"/>
                </a:cubicBezTo>
                <a:cubicBezTo>
                  <a:pt x="68" y="20"/>
                  <a:pt x="68" y="20"/>
                  <a:pt x="68" y="20"/>
                </a:cubicBezTo>
                <a:cubicBezTo>
                  <a:pt x="67" y="22"/>
                  <a:pt x="67" y="22"/>
                  <a:pt x="67" y="22"/>
                </a:cubicBezTo>
                <a:cubicBezTo>
                  <a:pt x="68" y="23"/>
                  <a:pt x="68" y="23"/>
                  <a:pt x="68" y="23"/>
                </a:cubicBezTo>
                <a:cubicBezTo>
                  <a:pt x="68" y="24"/>
                  <a:pt x="68" y="24"/>
                  <a:pt x="68" y="24"/>
                </a:cubicBezTo>
                <a:cubicBezTo>
                  <a:pt x="70" y="25"/>
                  <a:pt x="70" y="25"/>
                  <a:pt x="70" y="25"/>
                </a:cubicBezTo>
                <a:cubicBezTo>
                  <a:pt x="70" y="26"/>
                  <a:pt x="70" y="26"/>
                  <a:pt x="70" y="26"/>
                </a:cubicBezTo>
                <a:cubicBezTo>
                  <a:pt x="69" y="27"/>
                  <a:pt x="69" y="27"/>
                  <a:pt x="69" y="27"/>
                </a:cubicBezTo>
                <a:cubicBezTo>
                  <a:pt x="69" y="26"/>
                  <a:pt x="69" y="26"/>
                  <a:pt x="69" y="26"/>
                </a:cubicBezTo>
                <a:cubicBezTo>
                  <a:pt x="68" y="25"/>
                  <a:pt x="68" y="25"/>
                  <a:pt x="68" y="25"/>
                </a:cubicBezTo>
                <a:cubicBezTo>
                  <a:pt x="67" y="23"/>
                  <a:pt x="67" y="23"/>
                  <a:pt x="67" y="23"/>
                </a:cubicBezTo>
                <a:cubicBezTo>
                  <a:pt x="66" y="23"/>
                  <a:pt x="66" y="23"/>
                  <a:pt x="66" y="23"/>
                </a:cubicBezTo>
                <a:cubicBezTo>
                  <a:pt x="65" y="23"/>
                  <a:pt x="65" y="23"/>
                  <a:pt x="65" y="23"/>
                </a:cubicBezTo>
                <a:cubicBezTo>
                  <a:pt x="65" y="24"/>
                  <a:pt x="65" y="24"/>
                  <a:pt x="65" y="24"/>
                </a:cubicBezTo>
                <a:cubicBezTo>
                  <a:pt x="66" y="25"/>
                  <a:pt x="66" y="25"/>
                  <a:pt x="66" y="25"/>
                </a:cubicBezTo>
                <a:cubicBezTo>
                  <a:pt x="67" y="25"/>
                  <a:pt x="67" y="25"/>
                  <a:pt x="67" y="25"/>
                </a:cubicBezTo>
                <a:cubicBezTo>
                  <a:pt x="67" y="26"/>
                  <a:pt x="67" y="26"/>
                  <a:pt x="67" y="26"/>
                </a:cubicBezTo>
                <a:cubicBezTo>
                  <a:pt x="66" y="26"/>
                  <a:pt x="66" y="26"/>
                  <a:pt x="66" y="26"/>
                </a:cubicBezTo>
                <a:cubicBezTo>
                  <a:pt x="65" y="26"/>
                  <a:pt x="65" y="26"/>
                  <a:pt x="65" y="26"/>
                </a:cubicBezTo>
                <a:cubicBezTo>
                  <a:pt x="66" y="27"/>
                  <a:pt x="66" y="27"/>
                  <a:pt x="66" y="27"/>
                </a:cubicBezTo>
                <a:cubicBezTo>
                  <a:pt x="65" y="26"/>
                  <a:pt x="65" y="26"/>
                  <a:pt x="65" y="26"/>
                </a:cubicBezTo>
                <a:cubicBezTo>
                  <a:pt x="65" y="25"/>
                  <a:pt x="65" y="25"/>
                  <a:pt x="65" y="25"/>
                </a:cubicBezTo>
                <a:cubicBezTo>
                  <a:pt x="64" y="24"/>
                  <a:pt x="64" y="24"/>
                  <a:pt x="64" y="24"/>
                </a:cubicBezTo>
                <a:cubicBezTo>
                  <a:pt x="64" y="24"/>
                  <a:pt x="64" y="24"/>
                  <a:pt x="64" y="24"/>
                </a:cubicBezTo>
                <a:cubicBezTo>
                  <a:pt x="63" y="24"/>
                  <a:pt x="63" y="24"/>
                  <a:pt x="63" y="24"/>
                </a:cubicBezTo>
                <a:cubicBezTo>
                  <a:pt x="63" y="26"/>
                  <a:pt x="63" y="26"/>
                  <a:pt x="63" y="26"/>
                </a:cubicBezTo>
                <a:cubicBezTo>
                  <a:pt x="63" y="26"/>
                  <a:pt x="63" y="26"/>
                  <a:pt x="63" y="26"/>
                </a:cubicBezTo>
                <a:cubicBezTo>
                  <a:pt x="63" y="28"/>
                  <a:pt x="63" y="28"/>
                  <a:pt x="63" y="28"/>
                </a:cubicBezTo>
                <a:cubicBezTo>
                  <a:pt x="62" y="27"/>
                  <a:pt x="62" y="27"/>
                  <a:pt x="62" y="27"/>
                </a:cubicBezTo>
                <a:cubicBezTo>
                  <a:pt x="61" y="27"/>
                  <a:pt x="61" y="27"/>
                  <a:pt x="61" y="27"/>
                </a:cubicBezTo>
                <a:cubicBezTo>
                  <a:pt x="60" y="29"/>
                  <a:pt x="60" y="29"/>
                  <a:pt x="60" y="29"/>
                </a:cubicBezTo>
                <a:cubicBezTo>
                  <a:pt x="60" y="29"/>
                  <a:pt x="60" y="29"/>
                  <a:pt x="60" y="29"/>
                </a:cubicBezTo>
                <a:cubicBezTo>
                  <a:pt x="61" y="29"/>
                  <a:pt x="61" y="29"/>
                  <a:pt x="61" y="29"/>
                </a:cubicBezTo>
                <a:cubicBezTo>
                  <a:pt x="62" y="30"/>
                  <a:pt x="62" y="30"/>
                  <a:pt x="62" y="30"/>
                </a:cubicBezTo>
                <a:cubicBezTo>
                  <a:pt x="61" y="30"/>
                  <a:pt x="61" y="30"/>
                  <a:pt x="61" y="30"/>
                </a:cubicBezTo>
                <a:cubicBezTo>
                  <a:pt x="60" y="30"/>
                  <a:pt x="60" y="30"/>
                  <a:pt x="60" y="30"/>
                </a:cubicBezTo>
                <a:cubicBezTo>
                  <a:pt x="61" y="31"/>
                  <a:pt x="61" y="31"/>
                  <a:pt x="61" y="31"/>
                </a:cubicBezTo>
                <a:cubicBezTo>
                  <a:pt x="61" y="32"/>
                  <a:pt x="61" y="32"/>
                  <a:pt x="61" y="32"/>
                </a:cubicBezTo>
                <a:cubicBezTo>
                  <a:pt x="60" y="32"/>
                  <a:pt x="60" y="32"/>
                  <a:pt x="60" y="32"/>
                </a:cubicBezTo>
                <a:cubicBezTo>
                  <a:pt x="60" y="32"/>
                  <a:pt x="60" y="32"/>
                  <a:pt x="60" y="32"/>
                </a:cubicBezTo>
                <a:cubicBezTo>
                  <a:pt x="60" y="32"/>
                  <a:pt x="60" y="32"/>
                  <a:pt x="60" y="32"/>
                </a:cubicBezTo>
                <a:cubicBezTo>
                  <a:pt x="59" y="33"/>
                  <a:pt x="59" y="33"/>
                  <a:pt x="59" y="33"/>
                </a:cubicBezTo>
                <a:cubicBezTo>
                  <a:pt x="59" y="32"/>
                  <a:pt x="59" y="32"/>
                  <a:pt x="59" y="32"/>
                </a:cubicBezTo>
                <a:cubicBezTo>
                  <a:pt x="58" y="32"/>
                  <a:pt x="58" y="32"/>
                  <a:pt x="58" y="32"/>
                </a:cubicBezTo>
                <a:cubicBezTo>
                  <a:pt x="57" y="33"/>
                  <a:pt x="57" y="33"/>
                  <a:pt x="57" y="33"/>
                </a:cubicBezTo>
                <a:cubicBezTo>
                  <a:pt x="57" y="34"/>
                  <a:pt x="57" y="34"/>
                  <a:pt x="57" y="34"/>
                </a:cubicBezTo>
                <a:cubicBezTo>
                  <a:pt x="57" y="34"/>
                  <a:pt x="57" y="34"/>
                  <a:pt x="57" y="34"/>
                </a:cubicBezTo>
                <a:cubicBezTo>
                  <a:pt x="56" y="34"/>
                  <a:pt x="56" y="34"/>
                  <a:pt x="56" y="34"/>
                </a:cubicBezTo>
                <a:cubicBezTo>
                  <a:pt x="55" y="36"/>
                  <a:pt x="55" y="36"/>
                  <a:pt x="55" y="36"/>
                </a:cubicBezTo>
                <a:cubicBezTo>
                  <a:pt x="56" y="36"/>
                  <a:pt x="56" y="36"/>
                  <a:pt x="56" y="36"/>
                </a:cubicBezTo>
                <a:cubicBezTo>
                  <a:pt x="59" y="35"/>
                  <a:pt x="59" y="35"/>
                  <a:pt x="59" y="35"/>
                </a:cubicBezTo>
                <a:cubicBezTo>
                  <a:pt x="59" y="35"/>
                  <a:pt x="59" y="35"/>
                  <a:pt x="59" y="35"/>
                </a:cubicBezTo>
                <a:cubicBezTo>
                  <a:pt x="61" y="35"/>
                  <a:pt x="61" y="35"/>
                  <a:pt x="61" y="35"/>
                </a:cubicBezTo>
                <a:cubicBezTo>
                  <a:pt x="61" y="35"/>
                  <a:pt x="61" y="35"/>
                  <a:pt x="61" y="35"/>
                </a:cubicBezTo>
                <a:cubicBezTo>
                  <a:pt x="61" y="36"/>
                  <a:pt x="61" y="36"/>
                  <a:pt x="61" y="36"/>
                </a:cubicBezTo>
                <a:cubicBezTo>
                  <a:pt x="61" y="37"/>
                  <a:pt x="61" y="37"/>
                  <a:pt x="61" y="37"/>
                </a:cubicBezTo>
                <a:cubicBezTo>
                  <a:pt x="60" y="38"/>
                  <a:pt x="60" y="38"/>
                  <a:pt x="60" y="38"/>
                </a:cubicBezTo>
                <a:cubicBezTo>
                  <a:pt x="60" y="39"/>
                  <a:pt x="60" y="39"/>
                  <a:pt x="60" y="39"/>
                </a:cubicBezTo>
                <a:cubicBezTo>
                  <a:pt x="60" y="38"/>
                  <a:pt x="60" y="38"/>
                  <a:pt x="60" y="38"/>
                </a:cubicBezTo>
                <a:cubicBezTo>
                  <a:pt x="59" y="37"/>
                  <a:pt x="59" y="37"/>
                  <a:pt x="59" y="37"/>
                </a:cubicBezTo>
                <a:cubicBezTo>
                  <a:pt x="58" y="37"/>
                  <a:pt x="58" y="37"/>
                  <a:pt x="58" y="37"/>
                </a:cubicBezTo>
                <a:cubicBezTo>
                  <a:pt x="58" y="37"/>
                  <a:pt x="58" y="37"/>
                  <a:pt x="58" y="37"/>
                </a:cubicBezTo>
                <a:cubicBezTo>
                  <a:pt x="57" y="37"/>
                  <a:pt x="57" y="37"/>
                  <a:pt x="57" y="37"/>
                </a:cubicBezTo>
                <a:cubicBezTo>
                  <a:pt x="57" y="37"/>
                  <a:pt x="57" y="37"/>
                  <a:pt x="57" y="37"/>
                </a:cubicBezTo>
                <a:cubicBezTo>
                  <a:pt x="57" y="38"/>
                  <a:pt x="57" y="38"/>
                  <a:pt x="57" y="38"/>
                </a:cubicBezTo>
                <a:cubicBezTo>
                  <a:pt x="56" y="37"/>
                  <a:pt x="56" y="37"/>
                  <a:pt x="56" y="37"/>
                </a:cubicBezTo>
                <a:cubicBezTo>
                  <a:pt x="55" y="38"/>
                  <a:pt x="55" y="38"/>
                  <a:pt x="55" y="38"/>
                </a:cubicBezTo>
                <a:cubicBezTo>
                  <a:pt x="56" y="38"/>
                  <a:pt x="56" y="38"/>
                  <a:pt x="56" y="38"/>
                </a:cubicBezTo>
                <a:cubicBezTo>
                  <a:pt x="56" y="39"/>
                  <a:pt x="56" y="39"/>
                  <a:pt x="56" y="39"/>
                </a:cubicBezTo>
                <a:cubicBezTo>
                  <a:pt x="56" y="39"/>
                  <a:pt x="56" y="39"/>
                  <a:pt x="56" y="39"/>
                </a:cubicBezTo>
                <a:cubicBezTo>
                  <a:pt x="55" y="40"/>
                  <a:pt x="55" y="40"/>
                  <a:pt x="55" y="40"/>
                </a:cubicBezTo>
                <a:cubicBezTo>
                  <a:pt x="56" y="41"/>
                  <a:pt x="56" y="41"/>
                  <a:pt x="56" y="41"/>
                </a:cubicBezTo>
                <a:cubicBezTo>
                  <a:pt x="55" y="41"/>
                  <a:pt x="55" y="41"/>
                  <a:pt x="55" y="41"/>
                </a:cubicBezTo>
                <a:cubicBezTo>
                  <a:pt x="55" y="41"/>
                  <a:pt x="55" y="41"/>
                  <a:pt x="55" y="41"/>
                </a:cubicBezTo>
                <a:cubicBezTo>
                  <a:pt x="55" y="40"/>
                  <a:pt x="55" y="40"/>
                  <a:pt x="55" y="40"/>
                </a:cubicBezTo>
                <a:cubicBezTo>
                  <a:pt x="54" y="38"/>
                  <a:pt x="54" y="38"/>
                  <a:pt x="54" y="38"/>
                </a:cubicBezTo>
                <a:cubicBezTo>
                  <a:pt x="53" y="39"/>
                  <a:pt x="53" y="39"/>
                  <a:pt x="53" y="39"/>
                </a:cubicBezTo>
                <a:cubicBezTo>
                  <a:pt x="52" y="40"/>
                  <a:pt x="52" y="40"/>
                  <a:pt x="52" y="40"/>
                </a:cubicBezTo>
                <a:cubicBezTo>
                  <a:pt x="52" y="39"/>
                  <a:pt x="52" y="39"/>
                  <a:pt x="52" y="39"/>
                </a:cubicBezTo>
                <a:cubicBezTo>
                  <a:pt x="52" y="38"/>
                  <a:pt x="52" y="38"/>
                  <a:pt x="52" y="38"/>
                </a:cubicBezTo>
                <a:cubicBezTo>
                  <a:pt x="51" y="38"/>
                  <a:pt x="51" y="38"/>
                  <a:pt x="51" y="38"/>
                </a:cubicBezTo>
                <a:cubicBezTo>
                  <a:pt x="50" y="39"/>
                  <a:pt x="50" y="39"/>
                  <a:pt x="50" y="39"/>
                </a:cubicBezTo>
                <a:cubicBezTo>
                  <a:pt x="51" y="40"/>
                  <a:pt x="51" y="40"/>
                  <a:pt x="51" y="40"/>
                </a:cubicBezTo>
                <a:cubicBezTo>
                  <a:pt x="53" y="40"/>
                  <a:pt x="53" y="40"/>
                  <a:pt x="53" y="40"/>
                </a:cubicBezTo>
                <a:cubicBezTo>
                  <a:pt x="54" y="41"/>
                  <a:pt x="54" y="41"/>
                  <a:pt x="54" y="41"/>
                </a:cubicBezTo>
                <a:cubicBezTo>
                  <a:pt x="53" y="42"/>
                  <a:pt x="53" y="42"/>
                  <a:pt x="53" y="42"/>
                </a:cubicBezTo>
                <a:cubicBezTo>
                  <a:pt x="51" y="42"/>
                  <a:pt x="51" y="42"/>
                  <a:pt x="51" y="42"/>
                </a:cubicBezTo>
                <a:cubicBezTo>
                  <a:pt x="50" y="42"/>
                  <a:pt x="50" y="42"/>
                  <a:pt x="50" y="42"/>
                </a:cubicBezTo>
                <a:cubicBezTo>
                  <a:pt x="49" y="42"/>
                  <a:pt x="49" y="42"/>
                  <a:pt x="49" y="42"/>
                </a:cubicBezTo>
                <a:cubicBezTo>
                  <a:pt x="49" y="43"/>
                  <a:pt x="49" y="43"/>
                  <a:pt x="49" y="43"/>
                </a:cubicBezTo>
                <a:cubicBezTo>
                  <a:pt x="50" y="44"/>
                  <a:pt x="50" y="44"/>
                  <a:pt x="50" y="44"/>
                </a:cubicBezTo>
                <a:cubicBezTo>
                  <a:pt x="49" y="45"/>
                  <a:pt x="49" y="45"/>
                  <a:pt x="49" y="45"/>
                </a:cubicBezTo>
                <a:cubicBezTo>
                  <a:pt x="50" y="44"/>
                  <a:pt x="50" y="44"/>
                  <a:pt x="50" y="44"/>
                </a:cubicBezTo>
                <a:cubicBezTo>
                  <a:pt x="51" y="43"/>
                  <a:pt x="51" y="43"/>
                  <a:pt x="51" y="43"/>
                </a:cubicBezTo>
                <a:cubicBezTo>
                  <a:pt x="52" y="43"/>
                  <a:pt x="52" y="43"/>
                  <a:pt x="52" y="43"/>
                </a:cubicBezTo>
                <a:cubicBezTo>
                  <a:pt x="53" y="44"/>
                  <a:pt x="53" y="44"/>
                  <a:pt x="53" y="44"/>
                </a:cubicBezTo>
                <a:cubicBezTo>
                  <a:pt x="51" y="44"/>
                  <a:pt x="51" y="44"/>
                  <a:pt x="51" y="44"/>
                </a:cubicBezTo>
                <a:cubicBezTo>
                  <a:pt x="51" y="45"/>
                  <a:pt x="51" y="45"/>
                  <a:pt x="51" y="45"/>
                </a:cubicBezTo>
                <a:cubicBezTo>
                  <a:pt x="51" y="46"/>
                  <a:pt x="51" y="46"/>
                  <a:pt x="51" y="46"/>
                </a:cubicBezTo>
                <a:cubicBezTo>
                  <a:pt x="53" y="47"/>
                  <a:pt x="53" y="47"/>
                  <a:pt x="53" y="47"/>
                </a:cubicBezTo>
                <a:cubicBezTo>
                  <a:pt x="53" y="48"/>
                  <a:pt x="53" y="48"/>
                  <a:pt x="53" y="48"/>
                </a:cubicBezTo>
                <a:cubicBezTo>
                  <a:pt x="52" y="47"/>
                  <a:pt x="52" y="47"/>
                  <a:pt x="52" y="47"/>
                </a:cubicBezTo>
                <a:cubicBezTo>
                  <a:pt x="51" y="47"/>
                  <a:pt x="51" y="47"/>
                  <a:pt x="51" y="47"/>
                </a:cubicBezTo>
                <a:cubicBezTo>
                  <a:pt x="50" y="46"/>
                  <a:pt x="50" y="46"/>
                  <a:pt x="50" y="46"/>
                </a:cubicBezTo>
                <a:cubicBezTo>
                  <a:pt x="49" y="46"/>
                  <a:pt x="49" y="46"/>
                  <a:pt x="49" y="46"/>
                </a:cubicBezTo>
                <a:cubicBezTo>
                  <a:pt x="49" y="47"/>
                  <a:pt x="49" y="47"/>
                  <a:pt x="49" y="47"/>
                </a:cubicBezTo>
                <a:cubicBezTo>
                  <a:pt x="50" y="48"/>
                  <a:pt x="50" y="48"/>
                  <a:pt x="50" y="48"/>
                </a:cubicBezTo>
                <a:cubicBezTo>
                  <a:pt x="48" y="48"/>
                  <a:pt x="48" y="48"/>
                  <a:pt x="48" y="48"/>
                </a:cubicBezTo>
                <a:cubicBezTo>
                  <a:pt x="47" y="49"/>
                  <a:pt x="47" y="49"/>
                  <a:pt x="47" y="49"/>
                </a:cubicBezTo>
                <a:cubicBezTo>
                  <a:pt x="47" y="49"/>
                  <a:pt x="47" y="49"/>
                  <a:pt x="47" y="49"/>
                </a:cubicBezTo>
                <a:cubicBezTo>
                  <a:pt x="48" y="50"/>
                  <a:pt x="48" y="50"/>
                  <a:pt x="48" y="50"/>
                </a:cubicBezTo>
                <a:cubicBezTo>
                  <a:pt x="49" y="49"/>
                  <a:pt x="49" y="49"/>
                  <a:pt x="49" y="49"/>
                </a:cubicBezTo>
                <a:cubicBezTo>
                  <a:pt x="50" y="50"/>
                  <a:pt x="50" y="50"/>
                  <a:pt x="50" y="50"/>
                </a:cubicBezTo>
                <a:cubicBezTo>
                  <a:pt x="51" y="50"/>
                  <a:pt x="51" y="50"/>
                  <a:pt x="51" y="50"/>
                </a:cubicBezTo>
                <a:cubicBezTo>
                  <a:pt x="52" y="51"/>
                  <a:pt x="52" y="51"/>
                  <a:pt x="52" y="51"/>
                </a:cubicBezTo>
                <a:cubicBezTo>
                  <a:pt x="52" y="51"/>
                  <a:pt x="52" y="51"/>
                  <a:pt x="52" y="51"/>
                </a:cubicBezTo>
                <a:cubicBezTo>
                  <a:pt x="52" y="52"/>
                  <a:pt x="52" y="52"/>
                  <a:pt x="52" y="52"/>
                </a:cubicBezTo>
                <a:cubicBezTo>
                  <a:pt x="51" y="51"/>
                  <a:pt x="51" y="51"/>
                  <a:pt x="51" y="51"/>
                </a:cubicBezTo>
                <a:cubicBezTo>
                  <a:pt x="49" y="51"/>
                  <a:pt x="49" y="51"/>
                  <a:pt x="49" y="51"/>
                </a:cubicBezTo>
                <a:cubicBezTo>
                  <a:pt x="49" y="51"/>
                  <a:pt x="49" y="51"/>
                  <a:pt x="49" y="51"/>
                </a:cubicBezTo>
                <a:cubicBezTo>
                  <a:pt x="47" y="51"/>
                  <a:pt x="47" y="51"/>
                  <a:pt x="47" y="51"/>
                </a:cubicBezTo>
                <a:cubicBezTo>
                  <a:pt x="47" y="52"/>
                  <a:pt x="47" y="52"/>
                  <a:pt x="47" y="52"/>
                </a:cubicBezTo>
                <a:cubicBezTo>
                  <a:pt x="46" y="53"/>
                  <a:pt x="46" y="53"/>
                  <a:pt x="46" y="53"/>
                </a:cubicBezTo>
                <a:cubicBezTo>
                  <a:pt x="46" y="52"/>
                  <a:pt x="46" y="52"/>
                  <a:pt x="46" y="52"/>
                </a:cubicBezTo>
                <a:cubicBezTo>
                  <a:pt x="44" y="53"/>
                  <a:pt x="44" y="53"/>
                  <a:pt x="44" y="53"/>
                </a:cubicBezTo>
                <a:cubicBezTo>
                  <a:pt x="43" y="53"/>
                  <a:pt x="43" y="53"/>
                  <a:pt x="43" y="53"/>
                </a:cubicBezTo>
                <a:cubicBezTo>
                  <a:pt x="43" y="54"/>
                  <a:pt x="43" y="54"/>
                  <a:pt x="43" y="54"/>
                </a:cubicBezTo>
                <a:cubicBezTo>
                  <a:pt x="44" y="54"/>
                  <a:pt x="44" y="54"/>
                  <a:pt x="44" y="54"/>
                </a:cubicBezTo>
                <a:cubicBezTo>
                  <a:pt x="45" y="55"/>
                  <a:pt x="45" y="55"/>
                  <a:pt x="45" y="55"/>
                </a:cubicBezTo>
                <a:cubicBezTo>
                  <a:pt x="44" y="55"/>
                  <a:pt x="44" y="55"/>
                  <a:pt x="44" y="55"/>
                </a:cubicBezTo>
                <a:cubicBezTo>
                  <a:pt x="43" y="55"/>
                  <a:pt x="43" y="55"/>
                  <a:pt x="43" y="55"/>
                </a:cubicBezTo>
                <a:cubicBezTo>
                  <a:pt x="43" y="56"/>
                  <a:pt x="43" y="56"/>
                  <a:pt x="43" y="56"/>
                </a:cubicBezTo>
                <a:cubicBezTo>
                  <a:pt x="44" y="56"/>
                  <a:pt x="44" y="56"/>
                  <a:pt x="44" y="56"/>
                </a:cubicBezTo>
                <a:cubicBezTo>
                  <a:pt x="44" y="57"/>
                  <a:pt x="44" y="57"/>
                  <a:pt x="44" y="57"/>
                </a:cubicBezTo>
                <a:cubicBezTo>
                  <a:pt x="42" y="57"/>
                  <a:pt x="42" y="57"/>
                  <a:pt x="42" y="57"/>
                </a:cubicBezTo>
                <a:cubicBezTo>
                  <a:pt x="42" y="56"/>
                  <a:pt x="42" y="56"/>
                  <a:pt x="42" y="56"/>
                </a:cubicBezTo>
                <a:cubicBezTo>
                  <a:pt x="42" y="57"/>
                  <a:pt x="42" y="57"/>
                  <a:pt x="42" y="57"/>
                </a:cubicBezTo>
                <a:cubicBezTo>
                  <a:pt x="43" y="57"/>
                  <a:pt x="43" y="57"/>
                  <a:pt x="43" y="57"/>
                </a:cubicBezTo>
                <a:cubicBezTo>
                  <a:pt x="42" y="58"/>
                  <a:pt x="42" y="58"/>
                  <a:pt x="42" y="58"/>
                </a:cubicBezTo>
                <a:cubicBezTo>
                  <a:pt x="42" y="58"/>
                  <a:pt x="42" y="58"/>
                  <a:pt x="42" y="58"/>
                </a:cubicBezTo>
                <a:cubicBezTo>
                  <a:pt x="43" y="58"/>
                  <a:pt x="43" y="58"/>
                  <a:pt x="43" y="58"/>
                </a:cubicBezTo>
                <a:cubicBezTo>
                  <a:pt x="42" y="59"/>
                  <a:pt x="42" y="59"/>
                  <a:pt x="42" y="59"/>
                </a:cubicBezTo>
                <a:cubicBezTo>
                  <a:pt x="42" y="59"/>
                  <a:pt x="42" y="59"/>
                  <a:pt x="42" y="59"/>
                </a:cubicBezTo>
                <a:cubicBezTo>
                  <a:pt x="41" y="59"/>
                  <a:pt x="41" y="59"/>
                  <a:pt x="41" y="59"/>
                </a:cubicBezTo>
                <a:cubicBezTo>
                  <a:pt x="41" y="59"/>
                  <a:pt x="41" y="59"/>
                  <a:pt x="41" y="59"/>
                </a:cubicBezTo>
                <a:cubicBezTo>
                  <a:pt x="41" y="60"/>
                  <a:pt x="41" y="60"/>
                  <a:pt x="41" y="60"/>
                </a:cubicBezTo>
                <a:cubicBezTo>
                  <a:pt x="41" y="60"/>
                  <a:pt x="41" y="60"/>
                  <a:pt x="41" y="60"/>
                </a:cubicBezTo>
                <a:cubicBezTo>
                  <a:pt x="43" y="61"/>
                  <a:pt x="43" y="61"/>
                  <a:pt x="43" y="61"/>
                </a:cubicBezTo>
                <a:cubicBezTo>
                  <a:pt x="43" y="62"/>
                  <a:pt x="43" y="62"/>
                  <a:pt x="43" y="62"/>
                </a:cubicBezTo>
                <a:cubicBezTo>
                  <a:pt x="44" y="62"/>
                  <a:pt x="44" y="62"/>
                  <a:pt x="44" y="62"/>
                </a:cubicBezTo>
                <a:cubicBezTo>
                  <a:pt x="45" y="61"/>
                  <a:pt x="45" y="61"/>
                  <a:pt x="45" y="61"/>
                </a:cubicBezTo>
                <a:cubicBezTo>
                  <a:pt x="44" y="62"/>
                  <a:pt x="44" y="62"/>
                  <a:pt x="44" y="62"/>
                </a:cubicBezTo>
                <a:cubicBezTo>
                  <a:pt x="44" y="63"/>
                  <a:pt x="44" y="63"/>
                  <a:pt x="44" y="63"/>
                </a:cubicBezTo>
                <a:cubicBezTo>
                  <a:pt x="43" y="63"/>
                  <a:pt x="43" y="63"/>
                  <a:pt x="43" y="63"/>
                </a:cubicBezTo>
                <a:cubicBezTo>
                  <a:pt x="43" y="62"/>
                  <a:pt x="43" y="62"/>
                  <a:pt x="43" y="62"/>
                </a:cubicBezTo>
                <a:cubicBezTo>
                  <a:pt x="41" y="62"/>
                  <a:pt x="41" y="62"/>
                  <a:pt x="41" y="62"/>
                </a:cubicBezTo>
                <a:cubicBezTo>
                  <a:pt x="40" y="63"/>
                  <a:pt x="40" y="63"/>
                  <a:pt x="40" y="63"/>
                </a:cubicBezTo>
                <a:cubicBezTo>
                  <a:pt x="40" y="64"/>
                  <a:pt x="40" y="64"/>
                  <a:pt x="40" y="64"/>
                </a:cubicBezTo>
                <a:cubicBezTo>
                  <a:pt x="41" y="64"/>
                  <a:pt x="41" y="64"/>
                  <a:pt x="41" y="64"/>
                </a:cubicBezTo>
                <a:cubicBezTo>
                  <a:pt x="41" y="64"/>
                  <a:pt x="41" y="64"/>
                  <a:pt x="41" y="64"/>
                </a:cubicBezTo>
                <a:cubicBezTo>
                  <a:pt x="42" y="65"/>
                  <a:pt x="42" y="65"/>
                  <a:pt x="42" y="65"/>
                </a:cubicBezTo>
                <a:cubicBezTo>
                  <a:pt x="42" y="66"/>
                  <a:pt x="42" y="66"/>
                  <a:pt x="42" y="66"/>
                </a:cubicBezTo>
                <a:cubicBezTo>
                  <a:pt x="41" y="65"/>
                  <a:pt x="41" y="65"/>
                  <a:pt x="41" y="65"/>
                </a:cubicBezTo>
                <a:cubicBezTo>
                  <a:pt x="41" y="65"/>
                  <a:pt x="41" y="65"/>
                  <a:pt x="41" y="65"/>
                </a:cubicBezTo>
                <a:cubicBezTo>
                  <a:pt x="40" y="66"/>
                  <a:pt x="40" y="66"/>
                  <a:pt x="40" y="66"/>
                </a:cubicBezTo>
                <a:cubicBezTo>
                  <a:pt x="40" y="67"/>
                  <a:pt x="40" y="67"/>
                  <a:pt x="40" y="67"/>
                </a:cubicBezTo>
                <a:cubicBezTo>
                  <a:pt x="40" y="67"/>
                  <a:pt x="40" y="67"/>
                  <a:pt x="40" y="67"/>
                </a:cubicBezTo>
                <a:cubicBezTo>
                  <a:pt x="40" y="68"/>
                  <a:pt x="40" y="68"/>
                  <a:pt x="40" y="68"/>
                </a:cubicBezTo>
                <a:cubicBezTo>
                  <a:pt x="41" y="68"/>
                  <a:pt x="41" y="68"/>
                  <a:pt x="41" y="68"/>
                </a:cubicBezTo>
                <a:cubicBezTo>
                  <a:pt x="40" y="68"/>
                  <a:pt x="40" y="68"/>
                  <a:pt x="40" y="68"/>
                </a:cubicBezTo>
                <a:cubicBezTo>
                  <a:pt x="39" y="68"/>
                  <a:pt x="39" y="68"/>
                  <a:pt x="39" y="68"/>
                </a:cubicBezTo>
                <a:cubicBezTo>
                  <a:pt x="39" y="68"/>
                  <a:pt x="39" y="68"/>
                  <a:pt x="39" y="68"/>
                </a:cubicBezTo>
                <a:cubicBezTo>
                  <a:pt x="39" y="69"/>
                  <a:pt x="39" y="69"/>
                  <a:pt x="39" y="69"/>
                </a:cubicBezTo>
                <a:cubicBezTo>
                  <a:pt x="40" y="69"/>
                  <a:pt x="40" y="69"/>
                  <a:pt x="40" y="69"/>
                </a:cubicBezTo>
                <a:cubicBezTo>
                  <a:pt x="40" y="70"/>
                  <a:pt x="40" y="70"/>
                  <a:pt x="40" y="70"/>
                </a:cubicBezTo>
                <a:cubicBezTo>
                  <a:pt x="40" y="71"/>
                  <a:pt x="40" y="71"/>
                  <a:pt x="40" y="71"/>
                </a:cubicBezTo>
                <a:cubicBezTo>
                  <a:pt x="39" y="70"/>
                  <a:pt x="39" y="70"/>
                  <a:pt x="39" y="70"/>
                </a:cubicBezTo>
                <a:cubicBezTo>
                  <a:pt x="38" y="70"/>
                  <a:pt x="38" y="70"/>
                  <a:pt x="38" y="70"/>
                </a:cubicBezTo>
                <a:cubicBezTo>
                  <a:pt x="38" y="71"/>
                  <a:pt x="38" y="71"/>
                  <a:pt x="38" y="71"/>
                </a:cubicBezTo>
                <a:cubicBezTo>
                  <a:pt x="39" y="71"/>
                  <a:pt x="39" y="71"/>
                  <a:pt x="39" y="71"/>
                </a:cubicBezTo>
                <a:cubicBezTo>
                  <a:pt x="39" y="72"/>
                  <a:pt x="39" y="72"/>
                  <a:pt x="39" y="72"/>
                </a:cubicBezTo>
                <a:cubicBezTo>
                  <a:pt x="39" y="73"/>
                  <a:pt x="39" y="73"/>
                  <a:pt x="39" y="73"/>
                </a:cubicBezTo>
                <a:cubicBezTo>
                  <a:pt x="40" y="73"/>
                  <a:pt x="40" y="73"/>
                  <a:pt x="40" y="73"/>
                </a:cubicBezTo>
                <a:cubicBezTo>
                  <a:pt x="40" y="72"/>
                  <a:pt x="40" y="72"/>
                  <a:pt x="40" y="72"/>
                </a:cubicBezTo>
                <a:cubicBezTo>
                  <a:pt x="41" y="72"/>
                  <a:pt x="41" y="72"/>
                  <a:pt x="41" y="72"/>
                </a:cubicBezTo>
                <a:cubicBezTo>
                  <a:pt x="40" y="74"/>
                  <a:pt x="40" y="74"/>
                  <a:pt x="40" y="74"/>
                </a:cubicBezTo>
                <a:cubicBezTo>
                  <a:pt x="39" y="74"/>
                  <a:pt x="39" y="74"/>
                  <a:pt x="39" y="74"/>
                </a:cubicBezTo>
                <a:cubicBezTo>
                  <a:pt x="38" y="75"/>
                  <a:pt x="38" y="75"/>
                  <a:pt x="38" y="75"/>
                </a:cubicBezTo>
                <a:cubicBezTo>
                  <a:pt x="38" y="75"/>
                  <a:pt x="38" y="75"/>
                  <a:pt x="38" y="75"/>
                </a:cubicBezTo>
                <a:cubicBezTo>
                  <a:pt x="37" y="75"/>
                  <a:pt x="37" y="75"/>
                  <a:pt x="37" y="75"/>
                </a:cubicBezTo>
                <a:cubicBezTo>
                  <a:pt x="37" y="76"/>
                  <a:pt x="37" y="76"/>
                  <a:pt x="37" y="76"/>
                </a:cubicBezTo>
                <a:cubicBezTo>
                  <a:pt x="36" y="76"/>
                  <a:pt x="36" y="76"/>
                  <a:pt x="36" y="76"/>
                </a:cubicBezTo>
                <a:cubicBezTo>
                  <a:pt x="35" y="77"/>
                  <a:pt x="35" y="77"/>
                  <a:pt x="35" y="77"/>
                </a:cubicBezTo>
                <a:cubicBezTo>
                  <a:pt x="36" y="77"/>
                  <a:pt x="36" y="77"/>
                  <a:pt x="36" y="77"/>
                </a:cubicBezTo>
                <a:cubicBezTo>
                  <a:pt x="36" y="78"/>
                  <a:pt x="36" y="78"/>
                  <a:pt x="36" y="78"/>
                </a:cubicBezTo>
                <a:cubicBezTo>
                  <a:pt x="34" y="78"/>
                  <a:pt x="34" y="78"/>
                  <a:pt x="34" y="78"/>
                </a:cubicBezTo>
                <a:cubicBezTo>
                  <a:pt x="33" y="79"/>
                  <a:pt x="33" y="79"/>
                  <a:pt x="33" y="79"/>
                </a:cubicBezTo>
                <a:cubicBezTo>
                  <a:pt x="33" y="80"/>
                  <a:pt x="33" y="80"/>
                  <a:pt x="33" y="80"/>
                </a:cubicBezTo>
                <a:cubicBezTo>
                  <a:pt x="35" y="80"/>
                  <a:pt x="35" y="80"/>
                  <a:pt x="35" y="80"/>
                </a:cubicBezTo>
                <a:cubicBezTo>
                  <a:pt x="34" y="80"/>
                  <a:pt x="34" y="80"/>
                  <a:pt x="34" y="80"/>
                </a:cubicBezTo>
                <a:cubicBezTo>
                  <a:pt x="33" y="81"/>
                  <a:pt x="33" y="81"/>
                  <a:pt x="33" y="81"/>
                </a:cubicBezTo>
                <a:cubicBezTo>
                  <a:pt x="32" y="82"/>
                  <a:pt x="32" y="82"/>
                  <a:pt x="32" y="82"/>
                </a:cubicBezTo>
                <a:cubicBezTo>
                  <a:pt x="32" y="81"/>
                  <a:pt x="32" y="81"/>
                  <a:pt x="32" y="81"/>
                </a:cubicBezTo>
                <a:cubicBezTo>
                  <a:pt x="31" y="80"/>
                  <a:pt x="31" y="80"/>
                  <a:pt x="31" y="80"/>
                </a:cubicBezTo>
                <a:cubicBezTo>
                  <a:pt x="31" y="81"/>
                  <a:pt x="31" y="81"/>
                  <a:pt x="31" y="81"/>
                </a:cubicBezTo>
                <a:cubicBezTo>
                  <a:pt x="30" y="81"/>
                  <a:pt x="30" y="81"/>
                  <a:pt x="30" y="81"/>
                </a:cubicBezTo>
                <a:cubicBezTo>
                  <a:pt x="30" y="81"/>
                  <a:pt x="30" y="81"/>
                  <a:pt x="30" y="81"/>
                </a:cubicBezTo>
                <a:cubicBezTo>
                  <a:pt x="30" y="82"/>
                  <a:pt x="30" y="82"/>
                  <a:pt x="30" y="82"/>
                </a:cubicBezTo>
                <a:cubicBezTo>
                  <a:pt x="30" y="83"/>
                  <a:pt x="30" y="83"/>
                  <a:pt x="30" y="83"/>
                </a:cubicBezTo>
                <a:cubicBezTo>
                  <a:pt x="30" y="83"/>
                  <a:pt x="30" y="83"/>
                  <a:pt x="30" y="83"/>
                </a:cubicBezTo>
                <a:cubicBezTo>
                  <a:pt x="29" y="83"/>
                  <a:pt x="29" y="83"/>
                  <a:pt x="29" y="83"/>
                </a:cubicBezTo>
                <a:cubicBezTo>
                  <a:pt x="28" y="84"/>
                  <a:pt x="28" y="84"/>
                  <a:pt x="28" y="84"/>
                </a:cubicBezTo>
                <a:cubicBezTo>
                  <a:pt x="28" y="85"/>
                  <a:pt x="28" y="85"/>
                  <a:pt x="28" y="85"/>
                </a:cubicBezTo>
                <a:cubicBezTo>
                  <a:pt x="27" y="86"/>
                  <a:pt x="27" y="86"/>
                  <a:pt x="27" y="86"/>
                </a:cubicBezTo>
                <a:cubicBezTo>
                  <a:pt x="27" y="86"/>
                  <a:pt x="27" y="86"/>
                  <a:pt x="27" y="86"/>
                </a:cubicBezTo>
                <a:cubicBezTo>
                  <a:pt x="27" y="87"/>
                  <a:pt x="27" y="87"/>
                  <a:pt x="27" y="87"/>
                </a:cubicBezTo>
                <a:cubicBezTo>
                  <a:pt x="26" y="88"/>
                  <a:pt x="26" y="88"/>
                  <a:pt x="26" y="88"/>
                </a:cubicBezTo>
                <a:cubicBezTo>
                  <a:pt x="25" y="89"/>
                  <a:pt x="25" y="89"/>
                  <a:pt x="25" y="89"/>
                </a:cubicBezTo>
                <a:cubicBezTo>
                  <a:pt x="25" y="90"/>
                  <a:pt x="25" y="90"/>
                  <a:pt x="25" y="90"/>
                </a:cubicBezTo>
                <a:cubicBezTo>
                  <a:pt x="27" y="89"/>
                  <a:pt x="27" y="89"/>
                  <a:pt x="27" y="89"/>
                </a:cubicBezTo>
                <a:cubicBezTo>
                  <a:pt x="27" y="89"/>
                  <a:pt x="27" y="89"/>
                  <a:pt x="27" y="89"/>
                </a:cubicBezTo>
                <a:cubicBezTo>
                  <a:pt x="27" y="89"/>
                  <a:pt x="27" y="89"/>
                  <a:pt x="27" y="89"/>
                </a:cubicBezTo>
                <a:cubicBezTo>
                  <a:pt x="26" y="90"/>
                  <a:pt x="26" y="90"/>
                  <a:pt x="26" y="90"/>
                </a:cubicBezTo>
                <a:cubicBezTo>
                  <a:pt x="26" y="91"/>
                  <a:pt x="26" y="91"/>
                  <a:pt x="26" y="91"/>
                </a:cubicBezTo>
                <a:cubicBezTo>
                  <a:pt x="27" y="92"/>
                  <a:pt x="27" y="92"/>
                  <a:pt x="27" y="92"/>
                </a:cubicBezTo>
                <a:cubicBezTo>
                  <a:pt x="28" y="91"/>
                  <a:pt x="28" y="91"/>
                  <a:pt x="28" y="91"/>
                </a:cubicBezTo>
                <a:cubicBezTo>
                  <a:pt x="30" y="91"/>
                  <a:pt x="30" y="91"/>
                  <a:pt x="30" y="91"/>
                </a:cubicBezTo>
                <a:cubicBezTo>
                  <a:pt x="32" y="89"/>
                  <a:pt x="32" y="89"/>
                  <a:pt x="32" y="89"/>
                </a:cubicBezTo>
                <a:cubicBezTo>
                  <a:pt x="32" y="88"/>
                  <a:pt x="32" y="88"/>
                  <a:pt x="32" y="88"/>
                </a:cubicBezTo>
                <a:cubicBezTo>
                  <a:pt x="31" y="89"/>
                  <a:pt x="31" y="89"/>
                  <a:pt x="31" y="89"/>
                </a:cubicBezTo>
                <a:cubicBezTo>
                  <a:pt x="32" y="88"/>
                  <a:pt x="32" y="88"/>
                  <a:pt x="32" y="88"/>
                </a:cubicBezTo>
                <a:cubicBezTo>
                  <a:pt x="32" y="86"/>
                  <a:pt x="32" y="86"/>
                  <a:pt x="32" y="86"/>
                </a:cubicBezTo>
                <a:cubicBezTo>
                  <a:pt x="32" y="86"/>
                  <a:pt x="32" y="86"/>
                  <a:pt x="32" y="86"/>
                </a:cubicBezTo>
                <a:cubicBezTo>
                  <a:pt x="33" y="86"/>
                  <a:pt x="33" y="86"/>
                  <a:pt x="33" y="86"/>
                </a:cubicBezTo>
                <a:cubicBezTo>
                  <a:pt x="34" y="86"/>
                  <a:pt x="34" y="86"/>
                  <a:pt x="34" y="86"/>
                </a:cubicBezTo>
                <a:cubicBezTo>
                  <a:pt x="35" y="86"/>
                  <a:pt x="35" y="86"/>
                  <a:pt x="35" y="86"/>
                </a:cubicBezTo>
                <a:cubicBezTo>
                  <a:pt x="33" y="87"/>
                  <a:pt x="33" y="87"/>
                  <a:pt x="33" y="87"/>
                </a:cubicBezTo>
                <a:cubicBezTo>
                  <a:pt x="33" y="88"/>
                  <a:pt x="33" y="88"/>
                  <a:pt x="33" y="88"/>
                </a:cubicBezTo>
                <a:cubicBezTo>
                  <a:pt x="34" y="88"/>
                  <a:pt x="34" y="88"/>
                  <a:pt x="34" y="88"/>
                </a:cubicBezTo>
                <a:cubicBezTo>
                  <a:pt x="34" y="89"/>
                  <a:pt x="34" y="89"/>
                  <a:pt x="34" y="89"/>
                </a:cubicBezTo>
                <a:cubicBezTo>
                  <a:pt x="33" y="89"/>
                  <a:pt x="33" y="89"/>
                  <a:pt x="33" y="89"/>
                </a:cubicBezTo>
                <a:cubicBezTo>
                  <a:pt x="31" y="91"/>
                  <a:pt x="31" y="91"/>
                  <a:pt x="31" y="91"/>
                </a:cubicBezTo>
                <a:cubicBezTo>
                  <a:pt x="32" y="91"/>
                  <a:pt x="32" y="91"/>
                  <a:pt x="32" y="91"/>
                </a:cubicBezTo>
                <a:cubicBezTo>
                  <a:pt x="32" y="92"/>
                  <a:pt x="32" y="92"/>
                  <a:pt x="32" y="92"/>
                </a:cubicBezTo>
                <a:cubicBezTo>
                  <a:pt x="32" y="93"/>
                  <a:pt x="32" y="93"/>
                  <a:pt x="32" y="93"/>
                </a:cubicBezTo>
                <a:cubicBezTo>
                  <a:pt x="31" y="93"/>
                  <a:pt x="31" y="93"/>
                  <a:pt x="31" y="93"/>
                </a:cubicBezTo>
                <a:cubicBezTo>
                  <a:pt x="30" y="92"/>
                  <a:pt x="30" y="92"/>
                  <a:pt x="30" y="92"/>
                </a:cubicBezTo>
                <a:cubicBezTo>
                  <a:pt x="28" y="92"/>
                  <a:pt x="28" y="92"/>
                  <a:pt x="28" y="92"/>
                </a:cubicBezTo>
                <a:cubicBezTo>
                  <a:pt x="28" y="93"/>
                  <a:pt x="28" y="93"/>
                  <a:pt x="28" y="93"/>
                </a:cubicBezTo>
                <a:cubicBezTo>
                  <a:pt x="28" y="94"/>
                  <a:pt x="28" y="94"/>
                  <a:pt x="28" y="94"/>
                </a:cubicBezTo>
                <a:cubicBezTo>
                  <a:pt x="27" y="95"/>
                  <a:pt x="27" y="95"/>
                  <a:pt x="27" y="95"/>
                </a:cubicBezTo>
                <a:cubicBezTo>
                  <a:pt x="26" y="95"/>
                  <a:pt x="26" y="95"/>
                  <a:pt x="26" y="95"/>
                </a:cubicBezTo>
                <a:cubicBezTo>
                  <a:pt x="26" y="94"/>
                  <a:pt x="26" y="94"/>
                  <a:pt x="26" y="94"/>
                </a:cubicBezTo>
                <a:cubicBezTo>
                  <a:pt x="27" y="94"/>
                  <a:pt x="27" y="94"/>
                  <a:pt x="27" y="94"/>
                </a:cubicBezTo>
                <a:cubicBezTo>
                  <a:pt x="26" y="93"/>
                  <a:pt x="26" y="93"/>
                  <a:pt x="26" y="93"/>
                </a:cubicBezTo>
                <a:cubicBezTo>
                  <a:pt x="26" y="92"/>
                  <a:pt x="26" y="92"/>
                  <a:pt x="26" y="92"/>
                </a:cubicBezTo>
                <a:cubicBezTo>
                  <a:pt x="25" y="91"/>
                  <a:pt x="25" y="91"/>
                  <a:pt x="25" y="91"/>
                </a:cubicBezTo>
                <a:cubicBezTo>
                  <a:pt x="24" y="91"/>
                  <a:pt x="24" y="91"/>
                  <a:pt x="24" y="91"/>
                </a:cubicBezTo>
                <a:cubicBezTo>
                  <a:pt x="24" y="91"/>
                  <a:pt x="24" y="91"/>
                  <a:pt x="24" y="91"/>
                </a:cubicBezTo>
                <a:cubicBezTo>
                  <a:pt x="23" y="92"/>
                  <a:pt x="23" y="92"/>
                  <a:pt x="23" y="92"/>
                </a:cubicBezTo>
                <a:cubicBezTo>
                  <a:pt x="23" y="92"/>
                  <a:pt x="23" y="92"/>
                  <a:pt x="23" y="92"/>
                </a:cubicBezTo>
                <a:cubicBezTo>
                  <a:pt x="24" y="92"/>
                  <a:pt x="24" y="92"/>
                  <a:pt x="24" y="92"/>
                </a:cubicBezTo>
                <a:cubicBezTo>
                  <a:pt x="23" y="94"/>
                  <a:pt x="23" y="94"/>
                  <a:pt x="23" y="94"/>
                </a:cubicBezTo>
                <a:cubicBezTo>
                  <a:pt x="22" y="93"/>
                  <a:pt x="22" y="93"/>
                  <a:pt x="22" y="93"/>
                </a:cubicBezTo>
                <a:cubicBezTo>
                  <a:pt x="21" y="93"/>
                  <a:pt x="21" y="93"/>
                  <a:pt x="21" y="93"/>
                </a:cubicBezTo>
                <a:cubicBezTo>
                  <a:pt x="20" y="94"/>
                  <a:pt x="20" y="94"/>
                  <a:pt x="20" y="94"/>
                </a:cubicBezTo>
                <a:cubicBezTo>
                  <a:pt x="20" y="95"/>
                  <a:pt x="20" y="95"/>
                  <a:pt x="20" y="95"/>
                </a:cubicBezTo>
                <a:cubicBezTo>
                  <a:pt x="21" y="94"/>
                  <a:pt x="21" y="94"/>
                  <a:pt x="21" y="94"/>
                </a:cubicBezTo>
                <a:cubicBezTo>
                  <a:pt x="21" y="95"/>
                  <a:pt x="21" y="95"/>
                  <a:pt x="21" y="95"/>
                </a:cubicBezTo>
                <a:cubicBezTo>
                  <a:pt x="20" y="95"/>
                  <a:pt x="20" y="95"/>
                  <a:pt x="20" y="95"/>
                </a:cubicBezTo>
                <a:cubicBezTo>
                  <a:pt x="19" y="96"/>
                  <a:pt x="19" y="96"/>
                  <a:pt x="19" y="96"/>
                </a:cubicBezTo>
                <a:cubicBezTo>
                  <a:pt x="19" y="96"/>
                  <a:pt x="19" y="96"/>
                  <a:pt x="19" y="96"/>
                </a:cubicBezTo>
                <a:cubicBezTo>
                  <a:pt x="18" y="96"/>
                  <a:pt x="18" y="96"/>
                  <a:pt x="18" y="96"/>
                </a:cubicBezTo>
                <a:cubicBezTo>
                  <a:pt x="18" y="96"/>
                  <a:pt x="18" y="96"/>
                  <a:pt x="18" y="96"/>
                </a:cubicBezTo>
                <a:cubicBezTo>
                  <a:pt x="19" y="97"/>
                  <a:pt x="19" y="97"/>
                  <a:pt x="19" y="97"/>
                </a:cubicBezTo>
                <a:cubicBezTo>
                  <a:pt x="21" y="97"/>
                  <a:pt x="21" y="97"/>
                  <a:pt x="21" y="97"/>
                </a:cubicBezTo>
                <a:cubicBezTo>
                  <a:pt x="21" y="98"/>
                  <a:pt x="21" y="98"/>
                  <a:pt x="21" y="98"/>
                </a:cubicBezTo>
                <a:cubicBezTo>
                  <a:pt x="21" y="98"/>
                  <a:pt x="21" y="98"/>
                  <a:pt x="21" y="98"/>
                </a:cubicBezTo>
                <a:cubicBezTo>
                  <a:pt x="21" y="99"/>
                  <a:pt x="21" y="99"/>
                  <a:pt x="21" y="99"/>
                </a:cubicBezTo>
                <a:cubicBezTo>
                  <a:pt x="20" y="98"/>
                  <a:pt x="20" y="98"/>
                  <a:pt x="20" y="98"/>
                </a:cubicBezTo>
                <a:cubicBezTo>
                  <a:pt x="20" y="98"/>
                  <a:pt x="20" y="98"/>
                  <a:pt x="20" y="98"/>
                </a:cubicBezTo>
                <a:cubicBezTo>
                  <a:pt x="18" y="98"/>
                  <a:pt x="18" y="98"/>
                  <a:pt x="18" y="98"/>
                </a:cubicBezTo>
                <a:cubicBezTo>
                  <a:pt x="17" y="97"/>
                  <a:pt x="17" y="97"/>
                  <a:pt x="17" y="97"/>
                </a:cubicBezTo>
                <a:cubicBezTo>
                  <a:pt x="17" y="96"/>
                  <a:pt x="17" y="96"/>
                  <a:pt x="17" y="96"/>
                </a:cubicBezTo>
                <a:cubicBezTo>
                  <a:pt x="17" y="96"/>
                  <a:pt x="17" y="96"/>
                  <a:pt x="17" y="96"/>
                </a:cubicBezTo>
                <a:cubicBezTo>
                  <a:pt x="16" y="97"/>
                  <a:pt x="16" y="97"/>
                  <a:pt x="16" y="97"/>
                </a:cubicBezTo>
                <a:cubicBezTo>
                  <a:pt x="18" y="98"/>
                  <a:pt x="18" y="98"/>
                  <a:pt x="18" y="98"/>
                </a:cubicBezTo>
                <a:cubicBezTo>
                  <a:pt x="19" y="99"/>
                  <a:pt x="19" y="99"/>
                  <a:pt x="19" y="99"/>
                </a:cubicBezTo>
                <a:cubicBezTo>
                  <a:pt x="20" y="99"/>
                  <a:pt x="20" y="99"/>
                  <a:pt x="20" y="99"/>
                </a:cubicBezTo>
                <a:cubicBezTo>
                  <a:pt x="20" y="100"/>
                  <a:pt x="20" y="100"/>
                  <a:pt x="20" y="100"/>
                </a:cubicBezTo>
                <a:cubicBezTo>
                  <a:pt x="19" y="100"/>
                  <a:pt x="19" y="100"/>
                  <a:pt x="19" y="100"/>
                </a:cubicBezTo>
                <a:cubicBezTo>
                  <a:pt x="17" y="99"/>
                  <a:pt x="17" y="99"/>
                  <a:pt x="17" y="99"/>
                </a:cubicBezTo>
                <a:cubicBezTo>
                  <a:pt x="16" y="97"/>
                  <a:pt x="16" y="97"/>
                  <a:pt x="16" y="97"/>
                </a:cubicBezTo>
                <a:cubicBezTo>
                  <a:pt x="15" y="98"/>
                  <a:pt x="15" y="98"/>
                  <a:pt x="15" y="98"/>
                </a:cubicBezTo>
                <a:cubicBezTo>
                  <a:pt x="14" y="97"/>
                  <a:pt x="14" y="97"/>
                  <a:pt x="14" y="97"/>
                </a:cubicBezTo>
                <a:cubicBezTo>
                  <a:pt x="13" y="97"/>
                  <a:pt x="13" y="97"/>
                  <a:pt x="13" y="97"/>
                </a:cubicBezTo>
                <a:cubicBezTo>
                  <a:pt x="12" y="97"/>
                  <a:pt x="12" y="97"/>
                  <a:pt x="12" y="97"/>
                </a:cubicBezTo>
                <a:cubicBezTo>
                  <a:pt x="12" y="97"/>
                  <a:pt x="12" y="97"/>
                  <a:pt x="12" y="97"/>
                </a:cubicBezTo>
                <a:cubicBezTo>
                  <a:pt x="12" y="98"/>
                  <a:pt x="12" y="98"/>
                  <a:pt x="12" y="98"/>
                </a:cubicBezTo>
                <a:cubicBezTo>
                  <a:pt x="11" y="99"/>
                  <a:pt x="11" y="99"/>
                  <a:pt x="11" y="99"/>
                </a:cubicBezTo>
                <a:cubicBezTo>
                  <a:pt x="12" y="100"/>
                  <a:pt x="12" y="100"/>
                  <a:pt x="12" y="100"/>
                </a:cubicBezTo>
                <a:cubicBezTo>
                  <a:pt x="14" y="99"/>
                  <a:pt x="14" y="99"/>
                  <a:pt x="14" y="99"/>
                </a:cubicBezTo>
                <a:cubicBezTo>
                  <a:pt x="15" y="100"/>
                  <a:pt x="15" y="100"/>
                  <a:pt x="15" y="100"/>
                </a:cubicBezTo>
                <a:cubicBezTo>
                  <a:pt x="14" y="100"/>
                  <a:pt x="14" y="100"/>
                  <a:pt x="14" y="100"/>
                </a:cubicBezTo>
                <a:cubicBezTo>
                  <a:pt x="14" y="100"/>
                  <a:pt x="14" y="100"/>
                  <a:pt x="14" y="100"/>
                </a:cubicBezTo>
                <a:cubicBezTo>
                  <a:pt x="16" y="100"/>
                  <a:pt x="16" y="100"/>
                  <a:pt x="16" y="100"/>
                </a:cubicBezTo>
                <a:cubicBezTo>
                  <a:pt x="16" y="100"/>
                  <a:pt x="16" y="100"/>
                  <a:pt x="16" y="100"/>
                </a:cubicBezTo>
                <a:cubicBezTo>
                  <a:pt x="16" y="100"/>
                  <a:pt x="16" y="100"/>
                  <a:pt x="16" y="100"/>
                </a:cubicBezTo>
                <a:cubicBezTo>
                  <a:pt x="14" y="101"/>
                  <a:pt x="14" y="101"/>
                  <a:pt x="14" y="101"/>
                </a:cubicBezTo>
                <a:cubicBezTo>
                  <a:pt x="14" y="102"/>
                  <a:pt x="14" y="102"/>
                  <a:pt x="14" y="102"/>
                </a:cubicBezTo>
                <a:cubicBezTo>
                  <a:pt x="12" y="102"/>
                  <a:pt x="12" y="102"/>
                  <a:pt x="12" y="102"/>
                </a:cubicBezTo>
                <a:cubicBezTo>
                  <a:pt x="11" y="100"/>
                  <a:pt x="11" y="100"/>
                  <a:pt x="11" y="100"/>
                </a:cubicBezTo>
                <a:cubicBezTo>
                  <a:pt x="11" y="100"/>
                  <a:pt x="11" y="100"/>
                  <a:pt x="11" y="100"/>
                </a:cubicBezTo>
                <a:cubicBezTo>
                  <a:pt x="10" y="101"/>
                  <a:pt x="10" y="101"/>
                  <a:pt x="10" y="101"/>
                </a:cubicBezTo>
                <a:cubicBezTo>
                  <a:pt x="9" y="100"/>
                  <a:pt x="9" y="100"/>
                  <a:pt x="9" y="100"/>
                </a:cubicBezTo>
                <a:cubicBezTo>
                  <a:pt x="8" y="101"/>
                  <a:pt x="8" y="101"/>
                  <a:pt x="8" y="101"/>
                </a:cubicBezTo>
                <a:cubicBezTo>
                  <a:pt x="8" y="100"/>
                  <a:pt x="8" y="100"/>
                  <a:pt x="8" y="100"/>
                </a:cubicBezTo>
                <a:cubicBezTo>
                  <a:pt x="7" y="101"/>
                  <a:pt x="7" y="101"/>
                  <a:pt x="7" y="101"/>
                </a:cubicBezTo>
                <a:cubicBezTo>
                  <a:pt x="7" y="101"/>
                  <a:pt x="7" y="101"/>
                  <a:pt x="7" y="101"/>
                </a:cubicBezTo>
                <a:cubicBezTo>
                  <a:pt x="9" y="102"/>
                  <a:pt x="9" y="102"/>
                  <a:pt x="9" y="102"/>
                </a:cubicBezTo>
                <a:cubicBezTo>
                  <a:pt x="10" y="102"/>
                  <a:pt x="10" y="102"/>
                  <a:pt x="10" y="102"/>
                </a:cubicBezTo>
                <a:cubicBezTo>
                  <a:pt x="12" y="103"/>
                  <a:pt x="12" y="103"/>
                  <a:pt x="12" y="103"/>
                </a:cubicBezTo>
                <a:cubicBezTo>
                  <a:pt x="12" y="104"/>
                  <a:pt x="12" y="104"/>
                  <a:pt x="12" y="104"/>
                </a:cubicBezTo>
                <a:cubicBezTo>
                  <a:pt x="12" y="105"/>
                  <a:pt x="12" y="105"/>
                  <a:pt x="12" y="105"/>
                </a:cubicBezTo>
                <a:cubicBezTo>
                  <a:pt x="11" y="106"/>
                  <a:pt x="11" y="106"/>
                  <a:pt x="11" y="106"/>
                </a:cubicBezTo>
                <a:cubicBezTo>
                  <a:pt x="11" y="105"/>
                  <a:pt x="11" y="105"/>
                  <a:pt x="11" y="105"/>
                </a:cubicBezTo>
                <a:cubicBezTo>
                  <a:pt x="11" y="103"/>
                  <a:pt x="11" y="103"/>
                  <a:pt x="11" y="103"/>
                </a:cubicBezTo>
                <a:cubicBezTo>
                  <a:pt x="10" y="103"/>
                  <a:pt x="10" y="103"/>
                  <a:pt x="10" y="103"/>
                </a:cubicBezTo>
                <a:cubicBezTo>
                  <a:pt x="9" y="103"/>
                  <a:pt x="9" y="103"/>
                  <a:pt x="9" y="103"/>
                </a:cubicBezTo>
                <a:cubicBezTo>
                  <a:pt x="9" y="104"/>
                  <a:pt x="9" y="104"/>
                  <a:pt x="9" y="104"/>
                </a:cubicBezTo>
                <a:cubicBezTo>
                  <a:pt x="9" y="105"/>
                  <a:pt x="9" y="105"/>
                  <a:pt x="9" y="105"/>
                </a:cubicBezTo>
                <a:cubicBezTo>
                  <a:pt x="7" y="104"/>
                  <a:pt x="7" y="104"/>
                  <a:pt x="7" y="104"/>
                </a:cubicBezTo>
                <a:cubicBezTo>
                  <a:pt x="6" y="105"/>
                  <a:pt x="6" y="105"/>
                  <a:pt x="6" y="105"/>
                </a:cubicBezTo>
                <a:cubicBezTo>
                  <a:pt x="7" y="106"/>
                  <a:pt x="7" y="106"/>
                  <a:pt x="7" y="106"/>
                </a:cubicBezTo>
                <a:cubicBezTo>
                  <a:pt x="6" y="106"/>
                  <a:pt x="6" y="106"/>
                  <a:pt x="6" y="106"/>
                </a:cubicBezTo>
                <a:cubicBezTo>
                  <a:pt x="6" y="106"/>
                  <a:pt x="6" y="106"/>
                  <a:pt x="6" y="106"/>
                </a:cubicBezTo>
                <a:cubicBezTo>
                  <a:pt x="5" y="105"/>
                  <a:pt x="5" y="105"/>
                  <a:pt x="5" y="105"/>
                </a:cubicBezTo>
                <a:cubicBezTo>
                  <a:pt x="4" y="105"/>
                  <a:pt x="4" y="105"/>
                  <a:pt x="4" y="105"/>
                </a:cubicBezTo>
                <a:cubicBezTo>
                  <a:pt x="4" y="106"/>
                  <a:pt x="4" y="106"/>
                  <a:pt x="4" y="106"/>
                </a:cubicBezTo>
                <a:cubicBezTo>
                  <a:pt x="4" y="107"/>
                  <a:pt x="4" y="107"/>
                  <a:pt x="4" y="107"/>
                </a:cubicBezTo>
                <a:cubicBezTo>
                  <a:pt x="3" y="106"/>
                  <a:pt x="3" y="106"/>
                  <a:pt x="3" y="106"/>
                </a:cubicBezTo>
                <a:cubicBezTo>
                  <a:pt x="2" y="105"/>
                  <a:pt x="2" y="105"/>
                  <a:pt x="2" y="105"/>
                </a:cubicBezTo>
                <a:cubicBezTo>
                  <a:pt x="2" y="105"/>
                  <a:pt x="2" y="105"/>
                  <a:pt x="2" y="105"/>
                </a:cubicBezTo>
                <a:cubicBezTo>
                  <a:pt x="2" y="106"/>
                  <a:pt x="2" y="106"/>
                  <a:pt x="2" y="106"/>
                </a:cubicBezTo>
                <a:cubicBezTo>
                  <a:pt x="3" y="107"/>
                  <a:pt x="3" y="107"/>
                  <a:pt x="3" y="107"/>
                </a:cubicBezTo>
                <a:cubicBezTo>
                  <a:pt x="2" y="107"/>
                  <a:pt x="2" y="107"/>
                  <a:pt x="2" y="107"/>
                </a:cubicBezTo>
                <a:cubicBezTo>
                  <a:pt x="3" y="108"/>
                  <a:pt x="3" y="108"/>
                  <a:pt x="3" y="108"/>
                </a:cubicBezTo>
                <a:cubicBezTo>
                  <a:pt x="4" y="107"/>
                  <a:pt x="4" y="107"/>
                  <a:pt x="4" y="107"/>
                </a:cubicBezTo>
                <a:cubicBezTo>
                  <a:pt x="6" y="108"/>
                  <a:pt x="6" y="108"/>
                  <a:pt x="6" y="108"/>
                </a:cubicBezTo>
                <a:cubicBezTo>
                  <a:pt x="7" y="109"/>
                  <a:pt x="7" y="109"/>
                  <a:pt x="7" y="109"/>
                </a:cubicBezTo>
                <a:cubicBezTo>
                  <a:pt x="9" y="109"/>
                  <a:pt x="9" y="109"/>
                  <a:pt x="9" y="109"/>
                </a:cubicBezTo>
                <a:cubicBezTo>
                  <a:pt x="10" y="108"/>
                  <a:pt x="10" y="108"/>
                  <a:pt x="10" y="108"/>
                </a:cubicBezTo>
                <a:cubicBezTo>
                  <a:pt x="11" y="108"/>
                  <a:pt x="11" y="108"/>
                  <a:pt x="11" y="108"/>
                </a:cubicBezTo>
                <a:cubicBezTo>
                  <a:pt x="9" y="109"/>
                  <a:pt x="9" y="109"/>
                  <a:pt x="9" y="109"/>
                </a:cubicBezTo>
                <a:cubicBezTo>
                  <a:pt x="8" y="109"/>
                  <a:pt x="8" y="109"/>
                  <a:pt x="8" y="109"/>
                </a:cubicBezTo>
                <a:cubicBezTo>
                  <a:pt x="7" y="109"/>
                  <a:pt x="7" y="109"/>
                  <a:pt x="7" y="109"/>
                </a:cubicBezTo>
                <a:cubicBezTo>
                  <a:pt x="5" y="108"/>
                  <a:pt x="5" y="108"/>
                  <a:pt x="5" y="108"/>
                </a:cubicBezTo>
                <a:cubicBezTo>
                  <a:pt x="4" y="109"/>
                  <a:pt x="4" y="109"/>
                  <a:pt x="4" y="109"/>
                </a:cubicBezTo>
                <a:cubicBezTo>
                  <a:pt x="3" y="108"/>
                  <a:pt x="3" y="108"/>
                  <a:pt x="3" y="108"/>
                </a:cubicBezTo>
                <a:cubicBezTo>
                  <a:pt x="2" y="109"/>
                  <a:pt x="2" y="109"/>
                  <a:pt x="2" y="109"/>
                </a:cubicBezTo>
                <a:cubicBezTo>
                  <a:pt x="1" y="109"/>
                  <a:pt x="1" y="109"/>
                  <a:pt x="1" y="109"/>
                </a:cubicBezTo>
                <a:cubicBezTo>
                  <a:pt x="1" y="110"/>
                  <a:pt x="1" y="110"/>
                  <a:pt x="1" y="110"/>
                </a:cubicBezTo>
                <a:cubicBezTo>
                  <a:pt x="3" y="111"/>
                  <a:pt x="3" y="111"/>
                  <a:pt x="3" y="111"/>
                </a:cubicBezTo>
                <a:cubicBezTo>
                  <a:pt x="2" y="112"/>
                  <a:pt x="2" y="112"/>
                  <a:pt x="2" y="112"/>
                </a:cubicBezTo>
                <a:cubicBezTo>
                  <a:pt x="3" y="112"/>
                  <a:pt x="3" y="112"/>
                  <a:pt x="3" y="112"/>
                </a:cubicBezTo>
                <a:cubicBezTo>
                  <a:pt x="4" y="112"/>
                  <a:pt x="4" y="112"/>
                  <a:pt x="4" y="112"/>
                </a:cubicBezTo>
                <a:cubicBezTo>
                  <a:pt x="6" y="112"/>
                  <a:pt x="6" y="112"/>
                  <a:pt x="6" y="112"/>
                </a:cubicBezTo>
                <a:cubicBezTo>
                  <a:pt x="4" y="112"/>
                  <a:pt x="4" y="112"/>
                  <a:pt x="4" y="112"/>
                </a:cubicBezTo>
                <a:cubicBezTo>
                  <a:pt x="3" y="112"/>
                  <a:pt x="3" y="112"/>
                  <a:pt x="3" y="112"/>
                </a:cubicBezTo>
                <a:cubicBezTo>
                  <a:pt x="2" y="113"/>
                  <a:pt x="2" y="113"/>
                  <a:pt x="2" y="113"/>
                </a:cubicBezTo>
                <a:cubicBezTo>
                  <a:pt x="2" y="112"/>
                  <a:pt x="2" y="112"/>
                  <a:pt x="2" y="112"/>
                </a:cubicBezTo>
                <a:cubicBezTo>
                  <a:pt x="2" y="113"/>
                  <a:pt x="2" y="113"/>
                  <a:pt x="2" y="113"/>
                </a:cubicBezTo>
                <a:cubicBezTo>
                  <a:pt x="3" y="113"/>
                  <a:pt x="3" y="113"/>
                  <a:pt x="3" y="113"/>
                </a:cubicBezTo>
                <a:cubicBezTo>
                  <a:pt x="3" y="113"/>
                  <a:pt x="3" y="113"/>
                  <a:pt x="3" y="113"/>
                </a:cubicBezTo>
                <a:cubicBezTo>
                  <a:pt x="2" y="114"/>
                  <a:pt x="2" y="114"/>
                  <a:pt x="2" y="114"/>
                </a:cubicBezTo>
                <a:cubicBezTo>
                  <a:pt x="2" y="114"/>
                  <a:pt x="2" y="114"/>
                  <a:pt x="2" y="114"/>
                </a:cubicBezTo>
                <a:cubicBezTo>
                  <a:pt x="2" y="115"/>
                  <a:pt x="2" y="115"/>
                  <a:pt x="2" y="115"/>
                </a:cubicBezTo>
                <a:cubicBezTo>
                  <a:pt x="2" y="115"/>
                  <a:pt x="2" y="115"/>
                  <a:pt x="2" y="115"/>
                </a:cubicBezTo>
                <a:cubicBezTo>
                  <a:pt x="3" y="116"/>
                  <a:pt x="3" y="116"/>
                  <a:pt x="3" y="116"/>
                </a:cubicBezTo>
                <a:cubicBezTo>
                  <a:pt x="4" y="116"/>
                  <a:pt x="4" y="116"/>
                  <a:pt x="4" y="116"/>
                </a:cubicBezTo>
                <a:cubicBezTo>
                  <a:pt x="5" y="115"/>
                  <a:pt x="5" y="115"/>
                  <a:pt x="5" y="115"/>
                </a:cubicBezTo>
                <a:cubicBezTo>
                  <a:pt x="7" y="115"/>
                  <a:pt x="7" y="115"/>
                  <a:pt x="7" y="115"/>
                </a:cubicBezTo>
                <a:cubicBezTo>
                  <a:pt x="8" y="115"/>
                  <a:pt x="8" y="115"/>
                  <a:pt x="8" y="115"/>
                </a:cubicBezTo>
                <a:cubicBezTo>
                  <a:pt x="9" y="115"/>
                  <a:pt x="9" y="115"/>
                  <a:pt x="9" y="115"/>
                </a:cubicBezTo>
                <a:cubicBezTo>
                  <a:pt x="9" y="115"/>
                  <a:pt x="9" y="115"/>
                  <a:pt x="9" y="115"/>
                </a:cubicBezTo>
                <a:cubicBezTo>
                  <a:pt x="9" y="114"/>
                  <a:pt x="9" y="114"/>
                  <a:pt x="9" y="114"/>
                </a:cubicBezTo>
                <a:cubicBezTo>
                  <a:pt x="10" y="114"/>
                  <a:pt x="10" y="114"/>
                  <a:pt x="10" y="114"/>
                </a:cubicBezTo>
                <a:cubicBezTo>
                  <a:pt x="11" y="115"/>
                  <a:pt x="11" y="115"/>
                  <a:pt x="11" y="115"/>
                </a:cubicBezTo>
                <a:cubicBezTo>
                  <a:pt x="12" y="115"/>
                  <a:pt x="12" y="115"/>
                  <a:pt x="12" y="115"/>
                </a:cubicBezTo>
                <a:cubicBezTo>
                  <a:pt x="13" y="114"/>
                  <a:pt x="13" y="114"/>
                  <a:pt x="13" y="114"/>
                </a:cubicBezTo>
                <a:cubicBezTo>
                  <a:pt x="13" y="114"/>
                  <a:pt x="13" y="114"/>
                  <a:pt x="13" y="114"/>
                </a:cubicBezTo>
                <a:cubicBezTo>
                  <a:pt x="13" y="114"/>
                  <a:pt x="13" y="114"/>
                  <a:pt x="13" y="114"/>
                </a:cubicBezTo>
                <a:cubicBezTo>
                  <a:pt x="13" y="115"/>
                  <a:pt x="13" y="115"/>
                  <a:pt x="13" y="115"/>
                </a:cubicBezTo>
                <a:cubicBezTo>
                  <a:pt x="14" y="115"/>
                  <a:pt x="14" y="115"/>
                  <a:pt x="14" y="115"/>
                </a:cubicBezTo>
                <a:cubicBezTo>
                  <a:pt x="14" y="114"/>
                  <a:pt x="14" y="114"/>
                  <a:pt x="14" y="114"/>
                </a:cubicBezTo>
                <a:cubicBezTo>
                  <a:pt x="14" y="114"/>
                  <a:pt x="14" y="114"/>
                  <a:pt x="14" y="114"/>
                </a:cubicBezTo>
                <a:cubicBezTo>
                  <a:pt x="15" y="112"/>
                  <a:pt x="15" y="112"/>
                  <a:pt x="15" y="112"/>
                </a:cubicBezTo>
                <a:cubicBezTo>
                  <a:pt x="15" y="113"/>
                  <a:pt x="15" y="113"/>
                  <a:pt x="15" y="113"/>
                </a:cubicBezTo>
                <a:cubicBezTo>
                  <a:pt x="16" y="115"/>
                  <a:pt x="16" y="115"/>
                  <a:pt x="16" y="115"/>
                </a:cubicBezTo>
                <a:cubicBezTo>
                  <a:pt x="15" y="116"/>
                  <a:pt x="15" y="116"/>
                  <a:pt x="15" y="116"/>
                </a:cubicBezTo>
                <a:cubicBezTo>
                  <a:pt x="13" y="116"/>
                  <a:pt x="13" y="116"/>
                  <a:pt x="13" y="116"/>
                </a:cubicBezTo>
                <a:cubicBezTo>
                  <a:pt x="13" y="117"/>
                  <a:pt x="13" y="117"/>
                  <a:pt x="13" y="117"/>
                </a:cubicBezTo>
                <a:cubicBezTo>
                  <a:pt x="13" y="117"/>
                  <a:pt x="13" y="117"/>
                  <a:pt x="13" y="117"/>
                </a:cubicBezTo>
                <a:cubicBezTo>
                  <a:pt x="12" y="118"/>
                  <a:pt x="12" y="118"/>
                  <a:pt x="12" y="118"/>
                </a:cubicBezTo>
                <a:cubicBezTo>
                  <a:pt x="11" y="118"/>
                  <a:pt x="11" y="118"/>
                  <a:pt x="11" y="118"/>
                </a:cubicBezTo>
                <a:cubicBezTo>
                  <a:pt x="11" y="117"/>
                  <a:pt x="11" y="117"/>
                  <a:pt x="11" y="117"/>
                </a:cubicBezTo>
                <a:cubicBezTo>
                  <a:pt x="12" y="117"/>
                  <a:pt x="12" y="117"/>
                  <a:pt x="12" y="117"/>
                </a:cubicBezTo>
                <a:cubicBezTo>
                  <a:pt x="12" y="116"/>
                  <a:pt x="12" y="116"/>
                  <a:pt x="12" y="116"/>
                </a:cubicBezTo>
                <a:cubicBezTo>
                  <a:pt x="10" y="116"/>
                  <a:pt x="10" y="116"/>
                  <a:pt x="10" y="116"/>
                </a:cubicBezTo>
                <a:cubicBezTo>
                  <a:pt x="9" y="117"/>
                  <a:pt x="9" y="117"/>
                  <a:pt x="9" y="117"/>
                </a:cubicBezTo>
                <a:cubicBezTo>
                  <a:pt x="9" y="117"/>
                  <a:pt x="9" y="117"/>
                  <a:pt x="9" y="117"/>
                </a:cubicBezTo>
                <a:cubicBezTo>
                  <a:pt x="8" y="116"/>
                  <a:pt x="8" y="116"/>
                  <a:pt x="8" y="116"/>
                </a:cubicBezTo>
                <a:cubicBezTo>
                  <a:pt x="7" y="116"/>
                  <a:pt x="7" y="116"/>
                  <a:pt x="7" y="116"/>
                </a:cubicBezTo>
                <a:cubicBezTo>
                  <a:pt x="6" y="116"/>
                  <a:pt x="6" y="116"/>
                  <a:pt x="6" y="116"/>
                </a:cubicBezTo>
                <a:cubicBezTo>
                  <a:pt x="5" y="116"/>
                  <a:pt x="5" y="116"/>
                  <a:pt x="5" y="116"/>
                </a:cubicBezTo>
                <a:cubicBezTo>
                  <a:pt x="3" y="117"/>
                  <a:pt x="3" y="117"/>
                  <a:pt x="3" y="117"/>
                </a:cubicBezTo>
                <a:cubicBezTo>
                  <a:pt x="3" y="117"/>
                  <a:pt x="3" y="117"/>
                  <a:pt x="3" y="117"/>
                </a:cubicBezTo>
                <a:cubicBezTo>
                  <a:pt x="2" y="116"/>
                  <a:pt x="2" y="116"/>
                  <a:pt x="2" y="116"/>
                </a:cubicBezTo>
                <a:cubicBezTo>
                  <a:pt x="1" y="116"/>
                  <a:pt x="1" y="116"/>
                  <a:pt x="1" y="116"/>
                </a:cubicBezTo>
                <a:cubicBezTo>
                  <a:pt x="2" y="118"/>
                  <a:pt x="2" y="118"/>
                  <a:pt x="2" y="118"/>
                </a:cubicBezTo>
                <a:cubicBezTo>
                  <a:pt x="1" y="118"/>
                  <a:pt x="1" y="118"/>
                  <a:pt x="1" y="118"/>
                </a:cubicBezTo>
                <a:cubicBezTo>
                  <a:pt x="2" y="119"/>
                  <a:pt x="2" y="119"/>
                  <a:pt x="2" y="119"/>
                </a:cubicBezTo>
                <a:cubicBezTo>
                  <a:pt x="3" y="118"/>
                  <a:pt x="3" y="118"/>
                  <a:pt x="3" y="118"/>
                </a:cubicBezTo>
                <a:cubicBezTo>
                  <a:pt x="3" y="118"/>
                  <a:pt x="3" y="118"/>
                  <a:pt x="3" y="118"/>
                </a:cubicBezTo>
                <a:cubicBezTo>
                  <a:pt x="4" y="118"/>
                  <a:pt x="4" y="118"/>
                  <a:pt x="4" y="118"/>
                </a:cubicBezTo>
                <a:cubicBezTo>
                  <a:pt x="3" y="119"/>
                  <a:pt x="3" y="119"/>
                  <a:pt x="3" y="119"/>
                </a:cubicBezTo>
                <a:cubicBezTo>
                  <a:pt x="3" y="120"/>
                  <a:pt x="3" y="120"/>
                  <a:pt x="3" y="120"/>
                </a:cubicBezTo>
                <a:cubicBezTo>
                  <a:pt x="3" y="120"/>
                  <a:pt x="3" y="120"/>
                  <a:pt x="3" y="120"/>
                </a:cubicBezTo>
                <a:cubicBezTo>
                  <a:pt x="2" y="120"/>
                  <a:pt x="2" y="120"/>
                  <a:pt x="2" y="120"/>
                </a:cubicBezTo>
                <a:cubicBezTo>
                  <a:pt x="2" y="121"/>
                  <a:pt x="2" y="121"/>
                  <a:pt x="2" y="121"/>
                </a:cubicBezTo>
                <a:cubicBezTo>
                  <a:pt x="3" y="122"/>
                  <a:pt x="3" y="122"/>
                  <a:pt x="3" y="122"/>
                </a:cubicBezTo>
                <a:cubicBezTo>
                  <a:pt x="5" y="120"/>
                  <a:pt x="5" y="120"/>
                  <a:pt x="5" y="120"/>
                </a:cubicBezTo>
                <a:cubicBezTo>
                  <a:pt x="6" y="120"/>
                  <a:pt x="6" y="120"/>
                  <a:pt x="6" y="120"/>
                </a:cubicBezTo>
                <a:cubicBezTo>
                  <a:pt x="6" y="121"/>
                  <a:pt x="6" y="121"/>
                  <a:pt x="6" y="121"/>
                </a:cubicBezTo>
                <a:cubicBezTo>
                  <a:pt x="6" y="122"/>
                  <a:pt x="6" y="122"/>
                  <a:pt x="6" y="122"/>
                </a:cubicBezTo>
                <a:cubicBezTo>
                  <a:pt x="4" y="123"/>
                  <a:pt x="4" y="123"/>
                  <a:pt x="4" y="123"/>
                </a:cubicBezTo>
                <a:cubicBezTo>
                  <a:pt x="5" y="123"/>
                  <a:pt x="5" y="123"/>
                  <a:pt x="5" y="123"/>
                </a:cubicBezTo>
                <a:cubicBezTo>
                  <a:pt x="5" y="123"/>
                  <a:pt x="5" y="123"/>
                  <a:pt x="5" y="123"/>
                </a:cubicBezTo>
                <a:cubicBezTo>
                  <a:pt x="5" y="124"/>
                  <a:pt x="5" y="124"/>
                  <a:pt x="5" y="124"/>
                </a:cubicBezTo>
                <a:cubicBezTo>
                  <a:pt x="6" y="125"/>
                  <a:pt x="6" y="125"/>
                  <a:pt x="6" y="125"/>
                </a:cubicBezTo>
                <a:cubicBezTo>
                  <a:pt x="5" y="126"/>
                  <a:pt x="5" y="126"/>
                  <a:pt x="5" y="126"/>
                </a:cubicBezTo>
                <a:cubicBezTo>
                  <a:pt x="6" y="126"/>
                  <a:pt x="6" y="126"/>
                  <a:pt x="6" y="126"/>
                </a:cubicBezTo>
                <a:cubicBezTo>
                  <a:pt x="7" y="125"/>
                  <a:pt x="7" y="125"/>
                  <a:pt x="7" y="125"/>
                </a:cubicBezTo>
                <a:cubicBezTo>
                  <a:pt x="7" y="124"/>
                  <a:pt x="7" y="124"/>
                  <a:pt x="7" y="124"/>
                </a:cubicBezTo>
                <a:cubicBezTo>
                  <a:pt x="8" y="123"/>
                  <a:pt x="8" y="123"/>
                  <a:pt x="8" y="123"/>
                </a:cubicBezTo>
                <a:cubicBezTo>
                  <a:pt x="10" y="122"/>
                  <a:pt x="10" y="122"/>
                  <a:pt x="10" y="122"/>
                </a:cubicBezTo>
                <a:cubicBezTo>
                  <a:pt x="11" y="122"/>
                  <a:pt x="11" y="122"/>
                  <a:pt x="11" y="122"/>
                </a:cubicBezTo>
                <a:cubicBezTo>
                  <a:pt x="12" y="122"/>
                  <a:pt x="12" y="122"/>
                  <a:pt x="12" y="122"/>
                </a:cubicBezTo>
                <a:cubicBezTo>
                  <a:pt x="11" y="122"/>
                  <a:pt x="11" y="122"/>
                  <a:pt x="11" y="122"/>
                </a:cubicBezTo>
                <a:cubicBezTo>
                  <a:pt x="10" y="123"/>
                  <a:pt x="10" y="123"/>
                  <a:pt x="10" y="123"/>
                </a:cubicBezTo>
                <a:cubicBezTo>
                  <a:pt x="10" y="125"/>
                  <a:pt x="10" y="125"/>
                  <a:pt x="10" y="125"/>
                </a:cubicBezTo>
                <a:cubicBezTo>
                  <a:pt x="10" y="125"/>
                  <a:pt x="10" y="125"/>
                  <a:pt x="10" y="125"/>
                </a:cubicBezTo>
                <a:cubicBezTo>
                  <a:pt x="10" y="125"/>
                  <a:pt x="10" y="125"/>
                  <a:pt x="10" y="125"/>
                </a:cubicBezTo>
                <a:cubicBezTo>
                  <a:pt x="9" y="123"/>
                  <a:pt x="9" y="123"/>
                  <a:pt x="9" y="123"/>
                </a:cubicBezTo>
                <a:cubicBezTo>
                  <a:pt x="9" y="123"/>
                  <a:pt x="9" y="123"/>
                  <a:pt x="9" y="123"/>
                </a:cubicBezTo>
                <a:cubicBezTo>
                  <a:pt x="8" y="125"/>
                  <a:pt x="8" y="125"/>
                  <a:pt x="8" y="125"/>
                </a:cubicBezTo>
                <a:cubicBezTo>
                  <a:pt x="7" y="125"/>
                  <a:pt x="7" y="125"/>
                  <a:pt x="7" y="125"/>
                </a:cubicBezTo>
                <a:cubicBezTo>
                  <a:pt x="8" y="125"/>
                  <a:pt x="8" y="125"/>
                  <a:pt x="8" y="125"/>
                </a:cubicBezTo>
                <a:cubicBezTo>
                  <a:pt x="7" y="127"/>
                  <a:pt x="7" y="127"/>
                  <a:pt x="7" y="127"/>
                </a:cubicBezTo>
                <a:cubicBezTo>
                  <a:pt x="7" y="127"/>
                  <a:pt x="7" y="127"/>
                  <a:pt x="7" y="127"/>
                </a:cubicBezTo>
                <a:cubicBezTo>
                  <a:pt x="6" y="128"/>
                  <a:pt x="6" y="128"/>
                  <a:pt x="6" y="128"/>
                </a:cubicBezTo>
                <a:cubicBezTo>
                  <a:pt x="7" y="128"/>
                  <a:pt x="7" y="128"/>
                  <a:pt x="7" y="128"/>
                </a:cubicBezTo>
                <a:cubicBezTo>
                  <a:pt x="9" y="128"/>
                  <a:pt x="9" y="128"/>
                  <a:pt x="9" y="128"/>
                </a:cubicBezTo>
                <a:cubicBezTo>
                  <a:pt x="9" y="129"/>
                  <a:pt x="9" y="129"/>
                  <a:pt x="9" y="129"/>
                </a:cubicBezTo>
                <a:cubicBezTo>
                  <a:pt x="8" y="129"/>
                  <a:pt x="8" y="129"/>
                  <a:pt x="8" y="129"/>
                </a:cubicBezTo>
                <a:cubicBezTo>
                  <a:pt x="7" y="129"/>
                  <a:pt x="7" y="129"/>
                  <a:pt x="7" y="129"/>
                </a:cubicBezTo>
                <a:cubicBezTo>
                  <a:pt x="7" y="130"/>
                  <a:pt x="7" y="130"/>
                  <a:pt x="7" y="130"/>
                </a:cubicBezTo>
                <a:cubicBezTo>
                  <a:pt x="6" y="129"/>
                  <a:pt x="6" y="129"/>
                  <a:pt x="6" y="129"/>
                </a:cubicBezTo>
                <a:cubicBezTo>
                  <a:pt x="5" y="130"/>
                  <a:pt x="5" y="130"/>
                  <a:pt x="5" y="130"/>
                </a:cubicBezTo>
                <a:cubicBezTo>
                  <a:pt x="5" y="131"/>
                  <a:pt x="5" y="131"/>
                  <a:pt x="5" y="131"/>
                </a:cubicBezTo>
                <a:cubicBezTo>
                  <a:pt x="5" y="130"/>
                  <a:pt x="5" y="130"/>
                  <a:pt x="5" y="130"/>
                </a:cubicBezTo>
                <a:cubicBezTo>
                  <a:pt x="4" y="130"/>
                  <a:pt x="4" y="130"/>
                  <a:pt x="4" y="130"/>
                </a:cubicBezTo>
                <a:cubicBezTo>
                  <a:pt x="3" y="132"/>
                  <a:pt x="3" y="132"/>
                  <a:pt x="3" y="132"/>
                </a:cubicBezTo>
                <a:cubicBezTo>
                  <a:pt x="3" y="133"/>
                  <a:pt x="3" y="133"/>
                  <a:pt x="3" y="133"/>
                </a:cubicBezTo>
                <a:cubicBezTo>
                  <a:pt x="5" y="134"/>
                  <a:pt x="5" y="134"/>
                  <a:pt x="5" y="134"/>
                </a:cubicBezTo>
                <a:cubicBezTo>
                  <a:pt x="5" y="133"/>
                  <a:pt x="5" y="133"/>
                  <a:pt x="5" y="133"/>
                </a:cubicBezTo>
                <a:cubicBezTo>
                  <a:pt x="6" y="134"/>
                  <a:pt x="6" y="134"/>
                  <a:pt x="6" y="134"/>
                </a:cubicBezTo>
                <a:cubicBezTo>
                  <a:pt x="7" y="133"/>
                  <a:pt x="7" y="133"/>
                  <a:pt x="7" y="133"/>
                </a:cubicBezTo>
                <a:cubicBezTo>
                  <a:pt x="6" y="133"/>
                  <a:pt x="6" y="133"/>
                  <a:pt x="6" y="133"/>
                </a:cubicBezTo>
                <a:cubicBezTo>
                  <a:pt x="7" y="132"/>
                  <a:pt x="7" y="132"/>
                  <a:pt x="7" y="132"/>
                </a:cubicBezTo>
                <a:cubicBezTo>
                  <a:pt x="8" y="133"/>
                  <a:pt x="8" y="133"/>
                  <a:pt x="8" y="133"/>
                </a:cubicBezTo>
                <a:cubicBezTo>
                  <a:pt x="8" y="133"/>
                  <a:pt x="8" y="133"/>
                  <a:pt x="8" y="133"/>
                </a:cubicBezTo>
                <a:cubicBezTo>
                  <a:pt x="8" y="134"/>
                  <a:pt x="8" y="134"/>
                  <a:pt x="8" y="134"/>
                </a:cubicBezTo>
                <a:cubicBezTo>
                  <a:pt x="8" y="135"/>
                  <a:pt x="8" y="135"/>
                  <a:pt x="8" y="135"/>
                </a:cubicBezTo>
                <a:cubicBezTo>
                  <a:pt x="7" y="135"/>
                  <a:pt x="7" y="135"/>
                  <a:pt x="7" y="135"/>
                </a:cubicBezTo>
                <a:cubicBezTo>
                  <a:pt x="8" y="137"/>
                  <a:pt x="8" y="137"/>
                  <a:pt x="8" y="137"/>
                </a:cubicBezTo>
                <a:cubicBezTo>
                  <a:pt x="9" y="137"/>
                  <a:pt x="9" y="137"/>
                  <a:pt x="9" y="137"/>
                </a:cubicBezTo>
                <a:cubicBezTo>
                  <a:pt x="10" y="136"/>
                  <a:pt x="10" y="136"/>
                  <a:pt x="10" y="136"/>
                </a:cubicBezTo>
                <a:cubicBezTo>
                  <a:pt x="11" y="137"/>
                  <a:pt x="11" y="137"/>
                  <a:pt x="11" y="137"/>
                </a:cubicBezTo>
                <a:cubicBezTo>
                  <a:pt x="9" y="137"/>
                  <a:pt x="9" y="137"/>
                  <a:pt x="9" y="137"/>
                </a:cubicBezTo>
                <a:cubicBezTo>
                  <a:pt x="9" y="138"/>
                  <a:pt x="9" y="138"/>
                  <a:pt x="9" y="138"/>
                </a:cubicBezTo>
                <a:cubicBezTo>
                  <a:pt x="9" y="139"/>
                  <a:pt x="9" y="139"/>
                  <a:pt x="9" y="139"/>
                </a:cubicBezTo>
                <a:cubicBezTo>
                  <a:pt x="9" y="139"/>
                  <a:pt x="9" y="139"/>
                  <a:pt x="9" y="139"/>
                </a:cubicBezTo>
                <a:cubicBezTo>
                  <a:pt x="7" y="137"/>
                  <a:pt x="7" y="137"/>
                  <a:pt x="7" y="137"/>
                </a:cubicBezTo>
                <a:cubicBezTo>
                  <a:pt x="6" y="138"/>
                  <a:pt x="6" y="138"/>
                  <a:pt x="6" y="138"/>
                </a:cubicBezTo>
                <a:cubicBezTo>
                  <a:pt x="6" y="137"/>
                  <a:pt x="6" y="137"/>
                  <a:pt x="6" y="137"/>
                </a:cubicBezTo>
                <a:cubicBezTo>
                  <a:pt x="5" y="137"/>
                  <a:pt x="5" y="137"/>
                  <a:pt x="5" y="137"/>
                </a:cubicBezTo>
                <a:cubicBezTo>
                  <a:pt x="5" y="138"/>
                  <a:pt x="5" y="138"/>
                  <a:pt x="5" y="138"/>
                </a:cubicBezTo>
                <a:cubicBezTo>
                  <a:pt x="4" y="139"/>
                  <a:pt x="4" y="139"/>
                  <a:pt x="4" y="139"/>
                </a:cubicBezTo>
                <a:cubicBezTo>
                  <a:pt x="6" y="141"/>
                  <a:pt x="6" y="141"/>
                  <a:pt x="6" y="141"/>
                </a:cubicBezTo>
                <a:cubicBezTo>
                  <a:pt x="7" y="142"/>
                  <a:pt x="7" y="142"/>
                  <a:pt x="7" y="142"/>
                </a:cubicBezTo>
                <a:cubicBezTo>
                  <a:pt x="9" y="143"/>
                  <a:pt x="9" y="143"/>
                  <a:pt x="9" y="143"/>
                </a:cubicBezTo>
                <a:cubicBezTo>
                  <a:pt x="11" y="144"/>
                  <a:pt x="11" y="144"/>
                  <a:pt x="11" y="144"/>
                </a:cubicBezTo>
                <a:cubicBezTo>
                  <a:pt x="11" y="145"/>
                  <a:pt x="11" y="145"/>
                  <a:pt x="11" y="145"/>
                </a:cubicBezTo>
                <a:cubicBezTo>
                  <a:pt x="11" y="145"/>
                  <a:pt x="11" y="145"/>
                  <a:pt x="11" y="145"/>
                </a:cubicBezTo>
                <a:cubicBezTo>
                  <a:pt x="12" y="146"/>
                  <a:pt x="12" y="146"/>
                  <a:pt x="12" y="146"/>
                </a:cubicBezTo>
                <a:cubicBezTo>
                  <a:pt x="12" y="146"/>
                  <a:pt x="12" y="146"/>
                  <a:pt x="12" y="146"/>
                </a:cubicBezTo>
                <a:cubicBezTo>
                  <a:pt x="12" y="144"/>
                  <a:pt x="12" y="144"/>
                  <a:pt x="12" y="144"/>
                </a:cubicBezTo>
                <a:cubicBezTo>
                  <a:pt x="13" y="144"/>
                  <a:pt x="13" y="144"/>
                  <a:pt x="13" y="144"/>
                </a:cubicBezTo>
                <a:cubicBezTo>
                  <a:pt x="14" y="145"/>
                  <a:pt x="14" y="145"/>
                  <a:pt x="14" y="145"/>
                </a:cubicBezTo>
                <a:cubicBezTo>
                  <a:pt x="13" y="145"/>
                  <a:pt x="13" y="145"/>
                  <a:pt x="13" y="145"/>
                </a:cubicBezTo>
                <a:cubicBezTo>
                  <a:pt x="15" y="147"/>
                  <a:pt x="15" y="147"/>
                  <a:pt x="15" y="147"/>
                </a:cubicBezTo>
                <a:cubicBezTo>
                  <a:pt x="15" y="146"/>
                  <a:pt x="15" y="146"/>
                  <a:pt x="15" y="146"/>
                </a:cubicBezTo>
                <a:cubicBezTo>
                  <a:pt x="16" y="146"/>
                  <a:pt x="16" y="146"/>
                  <a:pt x="16" y="146"/>
                </a:cubicBezTo>
                <a:cubicBezTo>
                  <a:pt x="17" y="146"/>
                  <a:pt x="17" y="146"/>
                  <a:pt x="17" y="146"/>
                </a:cubicBezTo>
                <a:cubicBezTo>
                  <a:pt x="18" y="145"/>
                  <a:pt x="18" y="145"/>
                  <a:pt x="18" y="145"/>
                </a:cubicBezTo>
                <a:cubicBezTo>
                  <a:pt x="19" y="145"/>
                  <a:pt x="19" y="145"/>
                  <a:pt x="19" y="145"/>
                </a:cubicBezTo>
                <a:cubicBezTo>
                  <a:pt x="19" y="144"/>
                  <a:pt x="19" y="144"/>
                  <a:pt x="19" y="144"/>
                </a:cubicBezTo>
                <a:cubicBezTo>
                  <a:pt x="19" y="144"/>
                  <a:pt x="19" y="144"/>
                  <a:pt x="19" y="144"/>
                </a:cubicBezTo>
                <a:cubicBezTo>
                  <a:pt x="20" y="145"/>
                  <a:pt x="20" y="145"/>
                  <a:pt x="20" y="145"/>
                </a:cubicBezTo>
                <a:cubicBezTo>
                  <a:pt x="21" y="145"/>
                  <a:pt x="21" y="145"/>
                  <a:pt x="21" y="145"/>
                </a:cubicBezTo>
                <a:cubicBezTo>
                  <a:pt x="23" y="143"/>
                  <a:pt x="23" y="143"/>
                  <a:pt x="23" y="143"/>
                </a:cubicBezTo>
                <a:cubicBezTo>
                  <a:pt x="23" y="142"/>
                  <a:pt x="23" y="142"/>
                  <a:pt x="23" y="142"/>
                </a:cubicBezTo>
                <a:cubicBezTo>
                  <a:pt x="22" y="141"/>
                  <a:pt x="22" y="141"/>
                  <a:pt x="22" y="141"/>
                </a:cubicBezTo>
                <a:cubicBezTo>
                  <a:pt x="23" y="142"/>
                  <a:pt x="23" y="142"/>
                  <a:pt x="23" y="142"/>
                </a:cubicBezTo>
                <a:cubicBezTo>
                  <a:pt x="25" y="141"/>
                  <a:pt x="25" y="141"/>
                  <a:pt x="25" y="141"/>
                </a:cubicBezTo>
                <a:cubicBezTo>
                  <a:pt x="24" y="140"/>
                  <a:pt x="24" y="140"/>
                  <a:pt x="24" y="140"/>
                </a:cubicBezTo>
                <a:cubicBezTo>
                  <a:pt x="25" y="140"/>
                  <a:pt x="25" y="140"/>
                  <a:pt x="25" y="140"/>
                </a:cubicBezTo>
                <a:cubicBezTo>
                  <a:pt x="25" y="139"/>
                  <a:pt x="25" y="139"/>
                  <a:pt x="25" y="139"/>
                </a:cubicBezTo>
                <a:cubicBezTo>
                  <a:pt x="26" y="138"/>
                  <a:pt x="26" y="138"/>
                  <a:pt x="26" y="138"/>
                </a:cubicBezTo>
                <a:cubicBezTo>
                  <a:pt x="27" y="138"/>
                  <a:pt x="27" y="138"/>
                  <a:pt x="27" y="138"/>
                </a:cubicBezTo>
                <a:cubicBezTo>
                  <a:pt x="27" y="137"/>
                  <a:pt x="27" y="137"/>
                  <a:pt x="27" y="137"/>
                </a:cubicBezTo>
                <a:cubicBezTo>
                  <a:pt x="26" y="136"/>
                  <a:pt x="26" y="136"/>
                  <a:pt x="26" y="136"/>
                </a:cubicBezTo>
                <a:cubicBezTo>
                  <a:pt x="27" y="135"/>
                  <a:pt x="27" y="135"/>
                  <a:pt x="27" y="135"/>
                </a:cubicBezTo>
                <a:cubicBezTo>
                  <a:pt x="26" y="134"/>
                  <a:pt x="26" y="134"/>
                  <a:pt x="26" y="134"/>
                </a:cubicBezTo>
                <a:cubicBezTo>
                  <a:pt x="25" y="133"/>
                  <a:pt x="25" y="133"/>
                  <a:pt x="25" y="133"/>
                </a:cubicBezTo>
                <a:cubicBezTo>
                  <a:pt x="25" y="132"/>
                  <a:pt x="25" y="132"/>
                  <a:pt x="25" y="132"/>
                </a:cubicBezTo>
                <a:cubicBezTo>
                  <a:pt x="25" y="133"/>
                  <a:pt x="25" y="133"/>
                  <a:pt x="25" y="133"/>
                </a:cubicBezTo>
                <a:cubicBezTo>
                  <a:pt x="26" y="134"/>
                  <a:pt x="26" y="134"/>
                  <a:pt x="26" y="134"/>
                </a:cubicBezTo>
                <a:cubicBezTo>
                  <a:pt x="27" y="136"/>
                  <a:pt x="27" y="136"/>
                  <a:pt x="27" y="136"/>
                </a:cubicBezTo>
                <a:cubicBezTo>
                  <a:pt x="27" y="136"/>
                  <a:pt x="27" y="136"/>
                  <a:pt x="27" y="136"/>
                </a:cubicBezTo>
                <a:cubicBezTo>
                  <a:pt x="28" y="136"/>
                  <a:pt x="28" y="136"/>
                  <a:pt x="28" y="136"/>
                </a:cubicBezTo>
                <a:cubicBezTo>
                  <a:pt x="28" y="137"/>
                  <a:pt x="28" y="137"/>
                  <a:pt x="28" y="137"/>
                </a:cubicBezTo>
                <a:cubicBezTo>
                  <a:pt x="28" y="138"/>
                  <a:pt x="28" y="138"/>
                  <a:pt x="28" y="138"/>
                </a:cubicBezTo>
                <a:cubicBezTo>
                  <a:pt x="30" y="137"/>
                  <a:pt x="30" y="137"/>
                  <a:pt x="30" y="137"/>
                </a:cubicBezTo>
                <a:cubicBezTo>
                  <a:pt x="29" y="136"/>
                  <a:pt x="29" y="136"/>
                  <a:pt x="29" y="136"/>
                </a:cubicBezTo>
                <a:cubicBezTo>
                  <a:pt x="29" y="136"/>
                  <a:pt x="29" y="136"/>
                  <a:pt x="29" y="136"/>
                </a:cubicBezTo>
                <a:cubicBezTo>
                  <a:pt x="29" y="135"/>
                  <a:pt x="29" y="135"/>
                  <a:pt x="29" y="135"/>
                </a:cubicBezTo>
                <a:cubicBezTo>
                  <a:pt x="30" y="136"/>
                  <a:pt x="30" y="136"/>
                  <a:pt x="30" y="136"/>
                </a:cubicBezTo>
                <a:cubicBezTo>
                  <a:pt x="30" y="137"/>
                  <a:pt x="30" y="137"/>
                  <a:pt x="30" y="137"/>
                </a:cubicBezTo>
                <a:cubicBezTo>
                  <a:pt x="32" y="135"/>
                  <a:pt x="32" y="135"/>
                  <a:pt x="32" y="135"/>
                </a:cubicBezTo>
                <a:cubicBezTo>
                  <a:pt x="32" y="134"/>
                  <a:pt x="32" y="134"/>
                  <a:pt x="32" y="134"/>
                </a:cubicBezTo>
                <a:cubicBezTo>
                  <a:pt x="32" y="132"/>
                  <a:pt x="32" y="132"/>
                  <a:pt x="32" y="132"/>
                </a:cubicBezTo>
                <a:cubicBezTo>
                  <a:pt x="31" y="132"/>
                  <a:pt x="31" y="132"/>
                  <a:pt x="31" y="132"/>
                </a:cubicBezTo>
                <a:cubicBezTo>
                  <a:pt x="31" y="131"/>
                  <a:pt x="31" y="131"/>
                  <a:pt x="31" y="131"/>
                </a:cubicBezTo>
                <a:cubicBezTo>
                  <a:pt x="31" y="131"/>
                  <a:pt x="31" y="131"/>
                  <a:pt x="31" y="131"/>
                </a:cubicBezTo>
                <a:cubicBezTo>
                  <a:pt x="31" y="131"/>
                  <a:pt x="31" y="131"/>
                  <a:pt x="31" y="131"/>
                </a:cubicBezTo>
                <a:cubicBezTo>
                  <a:pt x="32" y="130"/>
                  <a:pt x="32" y="130"/>
                  <a:pt x="32" y="130"/>
                </a:cubicBezTo>
                <a:cubicBezTo>
                  <a:pt x="32" y="130"/>
                  <a:pt x="32" y="130"/>
                  <a:pt x="32" y="130"/>
                </a:cubicBezTo>
                <a:cubicBezTo>
                  <a:pt x="32" y="129"/>
                  <a:pt x="32" y="129"/>
                  <a:pt x="32" y="129"/>
                </a:cubicBezTo>
                <a:cubicBezTo>
                  <a:pt x="32" y="128"/>
                  <a:pt x="32" y="128"/>
                  <a:pt x="32" y="128"/>
                </a:cubicBezTo>
                <a:cubicBezTo>
                  <a:pt x="33" y="127"/>
                  <a:pt x="33" y="127"/>
                  <a:pt x="33" y="127"/>
                </a:cubicBezTo>
                <a:cubicBezTo>
                  <a:pt x="34" y="128"/>
                  <a:pt x="34" y="128"/>
                  <a:pt x="34" y="128"/>
                </a:cubicBezTo>
                <a:cubicBezTo>
                  <a:pt x="33" y="129"/>
                  <a:pt x="33" y="129"/>
                  <a:pt x="33" y="129"/>
                </a:cubicBezTo>
                <a:cubicBezTo>
                  <a:pt x="33" y="131"/>
                  <a:pt x="33" y="131"/>
                  <a:pt x="33" y="131"/>
                </a:cubicBezTo>
                <a:cubicBezTo>
                  <a:pt x="33" y="132"/>
                  <a:pt x="33" y="132"/>
                  <a:pt x="33" y="132"/>
                </a:cubicBezTo>
                <a:cubicBezTo>
                  <a:pt x="34" y="133"/>
                  <a:pt x="34" y="133"/>
                  <a:pt x="34" y="133"/>
                </a:cubicBezTo>
                <a:cubicBezTo>
                  <a:pt x="34" y="134"/>
                  <a:pt x="34" y="134"/>
                  <a:pt x="34" y="134"/>
                </a:cubicBezTo>
                <a:cubicBezTo>
                  <a:pt x="35" y="135"/>
                  <a:pt x="35" y="135"/>
                  <a:pt x="35" y="135"/>
                </a:cubicBezTo>
                <a:cubicBezTo>
                  <a:pt x="37" y="135"/>
                  <a:pt x="37" y="135"/>
                  <a:pt x="37" y="135"/>
                </a:cubicBezTo>
                <a:cubicBezTo>
                  <a:pt x="37" y="135"/>
                  <a:pt x="37" y="135"/>
                  <a:pt x="37" y="135"/>
                </a:cubicBezTo>
                <a:cubicBezTo>
                  <a:pt x="37" y="136"/>
                  <a:pt x="37" y="136"/>
                  <a:pt x="37" y="136"/>
                </a:cubicBezTo>
                <a:cubicBezTo>
                  <a:pt x="38" y="137"/>
                  <a:pt x="38" y="137"/>
                  <a:pt x="38" y="137"/>
                </a:cubicBezTo>
                <a:cubicBezTo>
                  <a:pt x="38" y="138"/>
                  <a:pt x="38" y="138"/>
                  <a:pt x="38" y="138"/>
                </a:cubicBezTo>
                <a:cubicBezTo>
                  <a:pt x="39" y="137"/>
                  <a:pt x="39" y="137"/>
                  <a:pt x="39" y="137"/>
                </a:cubicBezTo>
                <a:cubicBezTo>
                  <a:pt x="39" y="133"/>
                  <a:pt x="39" y="133"/>
                  <a:pt x="39" y="133"/>
                </a:cubicBezTo>
                <a:cubicBezTo>
                  <a:pt x="38" y="131"/>
                  <a:pt x="38" y="131"/>
                  <a:pt x="38" y="131"/>
                </a:cubicBezTo>
                <a:cubicBezTo>
                  <a:pt x="38" y="130"/>
                  <a:pt x="38" y="130"/>
                  <a:pt x="38" y="130"/>
                </a:cubicBezTo>
                <a:cubicBezTo>
                  <a:pt x="39" y="129"/>
                  <a:pt x="39" y="129"/>
                  <a:pt x="39" y="129"/>
                </a:cubicBezTo>
                <a:cubicBezTo>
                  <a:pt x="39" y="128"/>
                  <a:pt x="39" y="128"/>
                  <a:pt x="39" y="128"/>
                </a:cubicBezTo>
                <a:cubicBezTo>
                  <a:pt x="39" y="127"/>
                  <a:pt x="39" y="127"/>
                  <a:pt x="39" y="127"/>
                </a:cubicBezTo>
                <a:cubicBezTo>
                  <a:pt x="41" y="127"/>
                  <a:pt x="41" y="127"/>
                  <a:pt x="41" y="127"/>
                </a:cubicBezTo>
                <a:cubicBezTo>
                  <a:pt x="41" y="126"/>
                  <a:pt x="41" y="126"/>
                  <a:pt x="41" y="126"/>
                </a:cubicBezTo>
                <a:cubicBezTo>
                  <a:pt x="41" y="125"/>
                  <a:pt x="41" y="125"/>
                  <a:pt x="41" y="125"/>
                </a:cubicBezTo>
                <a:cubicBezTo>
                  <a:pt x="42" y="123"/>
                  <a:pt x="42" y="123"/>
                  <a:pt x="42" y="123"/>
                </a:cubicBezTo>
                <a:cubicBezTo>
                  <a:pt x="41" y="122"/>
                  <a:pt x="41" y="122"/>
                  <a:pt x="41" y="122"/>
                </a:cubicBezTo>
                <a:cubicBezTo>
                  <a:pt x="41" y="119"/>
                  <a:pt x="41" y="119"/>
                  <a:pt x="41" y="119"/>
                </a:cubicBezTo>
                <a:cubicBezTo>
                  <a:pt x="40" y="117"/>
                  <a:pt x="40" y="117"/>
                  <a:pt x="40" y="117"/>
                </a:cubicBezTo>
                <a:cubicBezTo>
                  <a:pt x="40" y="116"/>
                  <a:pt x="40" y="116"/>
                  <a:pt x="40" y="116"/>
                </a:cubicBezTo>
                <a:cubicBezTo>
                  <a:pt x="43" y="115"/>
                  <a:pt x="43" y="115"/>
                  <a:pt x="43" y="115"/>
                </a:cubicBezTo>
                <a:cubicBezTo>
                  <a:pt x="43" y="113"/>
                  <a:pt x="43" y="113"/>
                  <a:pt x="43" y="113"/>
                </a:cubicBezTo>
                <a:cubicBezTo>
                  <a:pt x="43" y="111"/>
                  <a:pt x="43" y="111"/>
                  <a:pt x="43" y="111"/>
                </a:cubicBezTo>
                <a:cubicBezTo>
                  <a:pt x="41" y="109"/>
                  <a:pt x="41" y="109"/>
                  <a:pt x="41" y="109"/>
                </a:cubicBezTo>
                <a:cubicBezTo>
                  <a:pt x="39" y="108"/>
                  <a:pt x="39" y="108"/>
                  <a:pt x="39" y="108"/>
                </a:cubicBezTo>
                <a:cubicBezTo>
                  <a:pt x="39" y="106"/>
                  <a:pt x="39" y="106"/>
                  <a:pt x="39" y="106"/>
                </a:cubicBezTo>
                <a:cubicBezTo>
                  <a:pt x="40" y="103"/>
                  <a:pt x="40" y="103"/>
                  <a:pt x="40" y="103"/>
                </a:cubicBezTo>
                <a:cubicBezTo>
                  <a:pt x="39" y="101"/>
                  <a:pt x="39" y="101"/>
                  <a:pt x="39" y="101"/>
                </a:cubicBezTo>
                <a:cubicBezTo>
                  <a:pt x="39" y="99"/>
                  <a:pt x="39" y="99"/>
                  <a:pt x="39" y="99"/>
                </a:cubicBezTo>
                <a:cubicBezTo>
                  <a:pt x="39" y="97"/>
                  <a:pt x="39" y="97"/>
                  <a:pt x="39" y="97"/>
                </a:cubicBezTo>
                <a:cubicBezTo>
                  <a:pt x="39" y="94"/>
                  <a:pt x="39" y="94"/>
                  <a:pt x="39" y="94"/>
                </a:cubicBezTo>
                <a:cubicBezTo>
                  <a:pt x="38" y="91"/>
                  <a:pt x="38" y="91"/>
                  <a:pt x="38" y="91"/>
                </a:cubicBezTo>
                <a:cubicBezTo>
                  <a:pt x="39" y="88"/>
                  <a:pt x="39" y="88"/>
                  <a:pt x="39" y="88"/>
                </a:cubicBezTo>
                <a:cubicBezTo>
                  <a:pt x="40" y="85"/>
                  <a:pt x="40" y="85"/>
                  <a:pt x="40" y="85"/>
                </a:cubicBezTo>
                <a:cubicBezTo>
                  <a:pt x="41" y="84"/>
                  <a:pt x="41" y="84"/>
                  <a:pt x="41" y="84"/>
                </a:cubicBezTo>
                <a:cubicBezTo>
                  <a:pt x="43" y="85"/>
                  <a:pt x="43" y="85"/>
                  <a:pt x="43" y="85"/>
                </a:cubicBezTo>
                <a:cubicBezTo>
                  <a:pt x="45" y="85"/>
                  <a:pt x="45" y="85"/>
                  <a:pt x="45" y="85"/>
                </a:cubicBezTo>
                <a:cubicBezTo>
                  <a:pt x="46" y="83"/>
                  <a:pt x="46" y="83"/>
                  <a:pt x="46" y="83"/>
                </a:cubicBezTo>
                <a:cubicBezTo>
                  <a:pt x="46" y="81"/>
                  <a:pt x="46" y="81"/>
                  <a:pt x="46" y="81"/>
                </a:cubicBezTo>
                <a:cubicBezTo>
                  <a:pt x="46" y="80"/>
                  <a:pt x="46" y="80"/>
                  <a:pt x="46" y="80"/>
                </a:cubicBezTo>
                <a:cubicBezTo>
                  <a:pt x="46" y="79"/>
                  <a:pt x="46" y="79"/>
                  <a:pt x="46" y="79"/>
                </a:cubicBezTo>
                <a:cubicBezTo>
                  <a:pt x="48" y="73"/>
                  <a:pt x="48" y="73"/>
                  <a:pt x="48" y="73"/>
                </a:cubicBezTo>
                <a:cubicBezTo>
                  <a:pt x="48" y="70"/>
                  <a:pt x="48" y="70"/>
                  <a:pt x="48" y="70"/>
                </a:cubicBezTo>
                <a:cubicBezTo>
                  <a:pt x="48" y="68"/>
                  <a:pt x="48" y="68"/>
                  <a:pt x="48" y="68"/>
                </a:cubicBezTo>
                <a:cubicBezTo>
                  <a:pt x="49" y="66"/>
                  <a:pt x="49" y="66"/>
                  <a:pt x="49" y="66"/>
                </a:cubicBezTo>
                <a:cubicBezTo>
                  <a:pt x="49" y="64"/>
                  <a:pt x="49" y="64"/>
                  <a:pt x="49" y="64"/>
                </a:cubicBezTo>
                <a:cubicBezTo>
                  <a:pt x="48" y="63"/>
                  <a:pt x="48" y="63"/>
                  <a:pt x="48" y="63"/>
                </a:cubicBezTo>
                <a:cubicBezTo>
                  <a:pt x="48" y="62"/>
                  <a:pt x="48" y="62"/>
                  <a:pt x="48" y="62"/>
                </a:cubicBezTo>
                <a:cubicBezTo>
                  <a:pt x="50" y="61"/>
                  <a:pt x="50" y="61"/>
                  <a:pt x="50" y="61"/>
                </a:cubicBezTo>
                <a:cubicBezTo>
                  <a:pt x="52" y="60"/>
                  <a:pt x="52" y="60"/>
                  <a:pt x="52" y="60"/>
                </a:cubicBezTo>
                <a:cubicBezTo>
                  <a:pt x="53" y="59"/>
                  <a:pt x="53" y="59"/>
                  <a:pt x="53" y="59"/>
                </a:cubicBezTo>
                <a:cubicBezTo>
                  <a:pt x="53" y="58"/>
                  <a:pt x="53" y="58"/>
                  <a:pt x="53" y="58"/>
                </a:cubicBezTo>
                <a:cubicBezTo>
                  <a:pt x="55" y="55"/>
                  <a:pt x="55" y="55"/>
                  <a:pt x="55" y="55"/>
                </a:cubicBezTo>
                <a:cubicBezTo>
                  <a:pt x="57" y="53"/>
                  <a:pt x="57" y="53"/>
                  <a:pt x="57" y="53"/>
                </a:cubicBezTo>
                <a:cubicBezTo>
                  <a:pt x="57" y="51"/>
                  <a:pt x="57" y="51"/>
                  <a:pt x="57" y="51"/>
                </a:cubicBezTo>
                <a:cubicBezTo>
                  <a:pt x="57" y="49"/>
                  <a:pt x="57" y="49"/>
                  <a:pt x="57" y="49"/>
                </a:cubicBezTo>
                <a:cubicBezTo>
                  <a:pt x="56" y="49"/>
                  <a:pt x="56" y="49"/>
                  <a:pt x="56" y="49"/>
                </a:cubicBezTo>
                <a:cubicBezTo>
                  <a:pt x="56" y="46"/>
                  <a:pt x="56" y="46"/>
                  <a:pt x="56" y="46"/>
                </a:cubicBezTo>
                <a:cubicBezTo>
                  <a:pt x="57" y="45"/>
                  <a:pt x="57" y="45"/>
                  <a:pt x="57" y="45"/>
                </a:cubicBezTo>
                <a:cubicBezTo>
                  <a:pt x="58" y="44"/>
                  <a:pt x="58" y="44"/>
                  <a:pt x="58" y="44"/>
                </a:cubicBezTo>
                <a:cubicBezTo>
                  <a:pt x="58" y="43"/>
                  <a:pt x="58" y="43"/>
                  <a:pt x="58" y="43"/>
                </a:cubicBezTo>
                <a:cubicBezTo>
                  <a:pt x="59" y="42"/>
                  <a:pt x="59" y="42"/>
                  <a:pt x="59" y="42"/>
                </a:cubicBezTo>
                <a:cubicBezTo>
                  <a:pt x="60" y="40"/>
                  <a:pt x="60" y="40"/>
                  <a:pt x="60" y="40"/>
                </a:cubicBezTo>
                <a:cubicBezTo>
                  <a:pt x="61" y="39"/>
                  <a:pt x="61" y="39"/>
                  <a:pt x="61" y="39"/>
                </a:cubicBezTo>
                <a:cubicBezTo>
                  <a:pt x="63" y="40"/>
                  <a:pt x="63" y="40"/>
                  <a:pt x="63" y="40"/>
                </a:cubicBezTo>
                <a:cubicBezTo>
                  <a:pt x="63" y="41"/>
                  <a:pt x="63" y="41"/>
                  <a:pt x="63" y="41"/>
                </a:cubicBezTo>
                <a:cubicBezTo>
                  <a:pt x="64" y="40"/>
                  <a:pt x="64" y="40"/>
                  <a:pt x="64" y="40"/>
                </a:cubicBezTo>
                <a:cubicBezTo>
                  <a:pt x="65" y="40"/>
                  <a:pt x="65" y="40"/>
                  <a:pt x="65" y="40"/>
                </a:cubicBezTo>
                <a:cubicBezTo>
                  <a:pt x="64" y="38"/>
                  <a:pt x="64" y="38"/>
                  <a:pt x="64" y="38"/>
                </a:cubicBezTo>
                <a:cubicBezTo>
                  <a:pt x="65" y="38"/>
                  <a:pt x="65" y="38"/>
                  <a:pt x="65" y="38"/>
                </a:cubicBezTo>
                <a:cubicBezTo>
                  <a:pt x="65" y="37"/>
                  <a:pt x="65" y="37"/>
                  <a:pt x="65" y="37"/>
                </a:cubicBezTo>
                <a:cubicBezTo>
                  <a:pt x="65" y="36"/>
                  <a:pt x="65" y="36"/>
                  <a:pt x="65" y="36"/>
                </a:cubicBezTo>
                <a:cubicBezTo>
                  <a:pt x="64" y="35"/>
                  <a:pt x="64" y="35"/>
                  <a:pt x="64" y="35"/>
                </a:cubicBezTo>
                <a:cubicBezTo>
                  <a:pt x="65" y="34"/>
                  <a:pt x="65" y="34"/>
                  <a:pt x="65" y="34"/>
                </a:cubicBezTo>
                <a:cubicBezTo>
                  <a:pt x="67" y="34"/>
                  <a:pt x="67" y="34"/>
                  <a:pt x="67" y="34"/>
                </a:cubicBezTo>
                <a:cubicBezTo>
                  <a:pt x="68" y="33"/>
                  <a:pt x="68" y="33"/>
                  <a:pt x="68" y="33"/>
                </a:cubicBezTo>
                <a:cubicBezTo>
                  <a:pt x="70" y="34"/>
                  <a:pt x="70" y="34"/>
                  <a:pt x="70" y="34"/>
                </a:cubicBezTo>
                <a:cubicBezTo>
                  <a:pt x="71" y="35"/>
                  <a:pt x="71" y="35"/>
                  <a:pt x="71" y="35"/>
                </a:cubicBezTo>
                <a:cubicBezTo>
                  <a:pt x="73" y="35"/>
                  <a:pt x="73" y="35"/>
                  <a:pt x="73" y="35"/>
                </a:cubicBezTo>
                <a:cubicBezTo>
                  <a:pt x="74" y="36"/>
                  <a:pt x="74" y="36"/>
                  <a:pt x="74" y="36"/>
                </a:cubicBezTo>
                <a:cubicBezTo>
                  <a:pt x="74" y="35"/>
                  <a:pt x="74" y="35"/>
                  <a:pt x="74" y="35"/>
                </a:cubicBezTo>
                <a:cubicBezTo>
                  <a:pt x="75" y="36"/>
                  <a:pt x="75" y="36"/>
                  <a:pt x="75" y="36"/>
                </a:cubicBezTo>
                <a:cubicBezTo>
                  <a:pt x="75" y="34"/>
                  <a:pt x="75" y="34"/>
                  <a:pt x="75" y="34"/>
                </a:cubicBezTo>
                <a:cubicBezTo>
                  <a:pt x="74" y="33"/>
                  <a:pt x="74" y="33"/>
                  <a:pt x="74" y="33"/>
                </a:cubicBezTo>
                <a:cubicBezTo>
                  <a:pt x="74" y="31"/>
                  <a:pt x="74" y="31"/>
                  <a:pt x="74" y="31"/>
                </a:cubicBezTo>
                <a:cubicBezTo>
                  <a:pt x="75" y="31"/>
                  <a:pt x="75" y="31"/>
                  <a:pt x="75" y="31"/>
                </a:cubicBezTo>
                <a:cubicBezTo>
                  <a:pt x="75" y="30"/>
                  <a:pt x="75" y="30"/>
                  <a:pt x="75" y="30"/>
                </a:cubicBezTo>
                <a:cubicBezTo>
                  <a:pt x="74" y="29"/>
                  <a:pt x="74" y="29"/>
                  <a:pt x="74" y="29"/>
                </a:cubicBezTo>
                <a:cubicBezTo>
                  <a:pt x="74" y="28"/>
                  <a:pt x="74" y="28"/>
                  <a:pt x="74" y="28"/>
                </a:cubicBezTo>
                <a:cubicBezTo>
                  <a:pt x="75" y="28"/>
                  <a:pt x="75" y="28"/>
                  <a:pt x="75" y="28"/>
                </a:cubicBezTo>
                <a:cubicBezTo>
                  <a:pt x="77" y="28"/>
                  <a:pt x="77" y="28"/>
                  <a:pt x="77" y="28"/>
                </a:cubicBezTo>
                <a:cubicBezTo>
                  <a:pt x="77" y="28"/>
                  <a:pt x="77" y="28"/>
                  <a:pt x="77" y="28"/>
                </a:cubicBezTo>
                <a:cubicBezTo>
                  <a:pt x="77" y="28"/>
                  <a:pt x="77" y="28"/>
                  <a:pt x="77" y="28"/>
                </a:cubicBezTo>
                <a:cubicBezTo>
                  <a:pt x="77" y="27"/>
                  <a:pt x="77" y="27"/>
                  <a:pt x="77" y="27"/>
                </a:cubicBezTo>
                <a:cubicBezTo>
                  <a:pt x="78" y="28"/>
                  <a:pt x="78" y="28"/>
                  <a:pt x="78" y="28"/>
                </a:cubicBezTo>
                <a:cubicBezTo>
                  <a:pt x="78" y="27"/>
                  <a:pt x="78" y="27"/>
                  <a:pt x="78" y="27"/>
                </a:cubicBezTo>
                <a:cubicBezTo>
                  <a:pt x="78" y="26"/>
                  <a:pt x="78" y="26"/>
                  <a:pt x="78" y="26"/>
                </a:cubicBezTo>
                <a:cubicBezTo>
                  <a:pt x="78" y="25"/>
                  <a:pt x="78" y="25"/>
                  <a:pt x="78" y="25"/>
                </a:cubicBezTo>
                <a:cubicBezTo>
                  <a:pt x="79" y="24"/>
                  <a:pt x="79" y="24"/>
                  <a:pt x="79" y="24"/>
                </a:cubicBezTo>
                <a:cubicBezTo>
                  <a:pt x="80" y="25"/>
                  <a:pt x="80" y="25"/>
                  <a:pt x="80" y="25"/>
                </a:cubicBezTo>
                <a:cubicBezTo>
                  <a:pt x="81" y="26"/>
                  <a:pt x="81" y="26"/>
                  <a:pt x="81" y="26"/>
                </a:cubicBezTo>
                <a:cubicBezTo>
                  <a:pt x="84" y="28"/>
                  <a:pt x="84" y="28"/>
                  <a:pt x="84" y="28"/>
                </a:cubicBezTo>
                <a:cubicBezTo>
                  <a:pt x="84" y="30"/>
                  <a:pt x="84" y="30"/>
                  <a:pt x="84" y="30"/>
                </a:cubicBezTo>
                <a:cubicBezTo>
                  <a:pt x="85" y="31"/>
                  <a:pt x="85" y="31"/>
                  <a:pt x="85" y="31"/>
                </a:cubicBezTo>
                <a:cubicBezTo>
                  <a:pt x="87" y="32"/>
                  <a:pt x="87" y="32"/>
                  <a:pt x="87" y="32"/>
                </a:cubicBezTo>
                <a:cubicBezTo>
                  <a:pt x="90" y="32"/>
                  <a:pt x="90" y="32"/>
                  <a:pt x="90" y="32"/>
                </a:cubicBezTo>
                <a:cubicBezTo>
                  <a:pt x="92" y="30"/>
                  <a:pt x="92" y="30"/>
                  <a:pt x="92" y="30"/>
                </a:cubicBezTo>
                <a:cubicBezTo>
                  <a:pt x="93" y="29"/>
                  <a:pt x="93" y="29"/>
                  <a:pt x="93" y="29"/>
                </a:cubicBezTo>
                <a:cubicBezTo>
                  <a:pt x="94" y="29"/>
                  <a:pt x="94" y="29"/>
                  <a:pt x="94" y="29"/>
                </a:cubicBezTo>
                <a:cubicBezTo>
                  <a:pt x="96" y="31"/>
                  <a:pt x="96" y="31"/>
                  <a:pt x="96" y="31"/>
                </a:cubicBezTo>
                <a:cubicBezTo>
                  <a:pt x="97" y="31"/>
                  <a:pt x="97" y="31"/>
                  <a:pt x="97" y="31"/>
                </a:cubicBezTo>
                <a:cubicBezTo>
                  <a:pt x="98" y="30"/>
                  <a:pt x="98" y="30"/>
                  <a:pt x="98" y="30"/>
                </a:cubicBezTo>
                <a:cubicBezTo>
                  <a:pt x="99" y="29"/>
                  <a:pt x="99" y="29"/>
                  <a:pt x="99" y="29"/>
                </a:cubicBezTo>
                <a:cubicBezTo>
                  <a:pt x="100" y="28"/>
                  <a:pt x="100" y="28"/>
                  <a:pt x="100" y="28"/>
                </a:cubicBezTo>
                <a:cubicBezTo>
                  <a:pt x="101" y="28"/>
                  <a:pt x="101" y="28"/>
                  <a:pt x="101" y="28"/>
                </a:cubicBezTo>
                <a:cubicBezTo>
                  <a:pt x="102" y="28"/>
                  <a:pt x="102" y="28"/>
                  <a:pt x="102" y="28"/>
                </a:cubicBezTo>
                <a:cubicBezTo>
                  <a:pt x="102" y="27"/>
                  <a:pt x="102" y="27"/>
                  <a:pt x="102" y="27"/>
                </a:cubicBezTo>
                <a:cubicBezTo>
                  <a:pt x="102" y="26"/>
                  <a:pt x="102" y="26"/>
                  <a:pt x="102" y="26"/>
                </a:cubicBezTo>
                <a:cubicBezTo>
                  <a:pt x="101" y="24"/>
                  <a:pt x="101" y="24"/>
                  <a:pt x="101" y="24"/>
                </a:cubicBezTo>
                <a:cubicBezTo>
                  <a:pt x="102" y="21"/>
                  <a:pt x="102" y="21"/>
                  <a:pt x="102" y="21"/>
                </a:cubicBezTo>
                <a:cubicBezTo>
                  <a:pt x="102" y="20"/>
                  <a:pt x="102" y="20"/>
                  <a:pt x="102" y="20"/>
                </a:cubicBezTo>
                <a:cubicBezTo>
                  <a:pt x="102" y="19"/>
                  <a:pt x="102" y="19"/>
                  <a:pt x="102" y="19"/>
                </a:cubicBezTo>
                <a:cubicBezTo>
                  <a:pt x="102" y="18"/>
                  <a:pt x="102" y="18"/>
                  <a:pt x="102" y="18"/>
                </a:cubicBezTo>
                <a:cubicBezTo>
                  <a:pt x="103" y="17"/>
                  <a:pt x="103" y="17"/>
                  <a:pt x="103" y="17"/>
                </a:cubicBezTo>
                <a:cubicBezTo>
                  <a:pt x="103" y="16"/>
                  <a:pt x="103" y="16"/>
                  <a:pt x="103" y="16"/>
                </a:cubicBezTo>
                <a:cubicBezTo>
                  <a:pt x="104" y="16"/>
                  <a:pt x="104" y="16"/>
                  <a:pt x="104" y="16"/>
                </a:cubicBezTo>
                <a:cubicBezTo>
                  <a:pt x="106" y="16"/>
                  <a:pt x="106" y="16"/>
                  <a:pt x="106" y="16"/>
                </a:cubicBezTo>
                <a:cubicBezTo>
                  <a:pt x="107" y="16"/>
                  <a:pt x="107" y="16"/>
                  <a:pt x="107" y="16"/>
                </a:cubicBezTo>
                <a:cubicBezTo>
                  <a:pt x="107" y="15"/>
                  <a:pt x="107" y="15"/>
                  <a:pt x="107" y="15"/>
                </a:cubicBezTo>
                <a:cubicBezTo>
                  <a:pt x="108" y="14"/>
                  <a:pt x="108" y="14"/>
                  <a:pt x="108" y="14"/>
                </a:cubicBezTo>
                <a:cubicBezTo>
                  <a:pt x="111" y="14"/>
                  <a:pt x="111" y="14"/>
                  <a:pt x="111" y="14"/>
                </a:cubicBezTo>
                <a:cubicBezTo>
                  <a:pt x="112" y="15"/>
                  <a:pt x="112" y="15"/>
                  <a:pt x="112" y="15"/>
                </a:cubicBezTo>
                <a:cubicBezTo>
                  <a:pt x="113" y="17"/>
                  <a:pt x="113" y="17"/>
                  <a:pt x="113" y="17"/>
                </a:cubicBezTo>
                <a:cubicBezTo>
                  <a:pt x="114" y="18"/>
                  <a:pt x="114" y="18"/>
                  <a:pt x="114" y="18"/>
                </a:cubicBezTo>
                <a:cubicBezTo>
                  <a:pt x="116" y="18"/>
                  <a:pt x="116" y="18"/>
                  <a:pt x="116" y="18"/>
                </a:cubicBezTo>
                <a:cubicBezTo>
                  <a:pt x="118" y="18"/>
                  <a:pt x="118" y="18"/>
                  <a:pt x="118" y="18"/>
                </a:cubicBezTo>
                <a:cubicBezTo>
                  <a:pt x="118" y="19"/>
                  <a:pt x="118" y="19"/>
                  <a:pt x="118" y="19"/>
                </a:cubicBezTo>
                <a:cubicBezTo>
                  <a:pt x="119" y="21"/>
                  <a:pt x="119" y="21"/>
                  <a:pt x="119" y="21"/>
                </a:cubicBezTo>
                <a:cubicBezTo>
                  <a:pt x="119" y="22"/>
                  <a:pt x="119" y="22"/>
                  <a:pt x="119" y="22"/>
                </a:cubicBezTo>
                <a:cubicBezTo>
                  <a:pt x="118" y="24"/>
                  <a:pt x="118" y="24"/>
                  <a:pt x="118" y="24"/>
                </a:cubicBezTo>
                <a:cubicBezTo>
                  <a:pt x="118" y="26"/>
                  <a:pt x="118" y="26"/>
                  <a:pt x="118" y="26"/>
                </a:cubicBezTo>
                <a:close/>
                <a:moveTo>
                  <a:pt x="5" y="135"/>
                </a:moveTo>
                <a:cubicBezTo>
                  <a:pt x="6" y="136"/>
                  <a:pt x="6" y="136"/>
                  <a:pt x="6" y="136"/>
                </a:cubicBezTo>
                <a:cubicBezTo>
                  <a:pt x="5" y="136"/>
                  <a:pt x="5" y="136"/>
                  <a:pt x="5" y="136"/>
                </a:cubicBezTo>
                <a:cubicBezTo>
                  <a:pt x="5" y="135"/>
                  <a:pt x="5" y="135"/>
                  <a:pt x="5" y="135"/>
                </a:cubicBezTo>
                <a:close/>
                <a:moveTo>
                  <a:pt x="2" y="128"/>
                </a:moveTo>
                <a:cubicBezTo>
                  <a:pt x="2" y="128"/>
                  <a:pt x="3" y="128"/>
                  <a:pt x="3" y="128"/>
                </a:cubicBezTo>
                <a:cubicBezTo>
                  <a:pt x="4" y="129"/>
                  <a:pt x="4" y="129"/>
                  <a:pt x="4" y="129"/>
                </a:cubicBezTo>
                <a:cubicBezTo>
                  <a:pt x="3" y="130"/>
                  <a:pt x="3" y="130"/>
                  <a:pt x="3" y="130"/>
                </a:cubicBezTo>
                <a:cubicBezTo>
                  <a:pt x="2" y="128"/>
                  <a:pt x="2" y="128"/>
                  <a:pt x="2" y="128"/>
                </a:cubicBezTo>
                <a:close/>
                <a:moveTo>
                  <a:pt x="5" y="126"/>
                </a:moveTo>
                <a:cubicBezTo>
                  <a:pt x="5" y="127"/>
                  <a:pt x="5" y="127"/>
                  <a:pt x="5" y="127"/>
                </a:cubicBezTo>
                <a:cubicBezTo>
                  <a:pt x="4" y="127"/>
                  <a:pt x="4" y="127"/>
                  <a:pt x="4" y="127"/>
                </a:cubicBezTo>
                <a:cubicBezTo>
                  <a:pt x="5" y="126"/>
                  <a:pt x="5" y="126"/>
                  <a:pt x="5" y="126"/>
                </a:cubicBezTo>
                <a:close/>
                <a:moveTo>
                  <a:pt x="4" y="125"/>
                </a:moveTo>
                <a:cubicBezTo>
                  <a:pt x="3" y="126"/>
                  <a:pt x="3" y="126"/>
                  <a:pt x="3" y="126"/>
                </a:cubicBezTo>
                <a:cubicBezTo>
                  <a:pt x="2" y="126"/>
                  <a:pt x="2" y="126"/>
                  <a:pt x="2" y="126"/>
                </a:cubicBezTo>
                <a:cubicBezTo>
                  <a:pt x="4" y="125"/>
                  <a:pt x="4" y="125"/>
                  <a:pt x="4" y="125"/>
                </a:cubicBezTo>
                <a:close/>
                <a:moveTo>
                  <a:pt x="1" y="120"/>
                </a:moveTo>
                <a:cubicBezTo>
                  <a:pt x="0" y="120"/>
                  <a:pt x="0" y="120"/>
                  <a:pt x="0" y="120"/>
                </a:cubicBezTo>
                <a:cubicBezTo>
                  <a:pt x="1" y="119"/>
                  <a:pt x="1" y="119"/>
                  <a:pt x="1" y="119"/>
                </a:cubicBezTo>
                <a:cubicBezTo>
                  <a:pt x="1" y="119"/>
                  <a:pt x="1" y="120"/>
                  <a:pt x="1" y="120"/>
                </a:cubicBezTo>
                <a:close/>
                <a:moveTo>
                  <a:pt x="1" y="121"/>
                </a:moveTo>
                <a:cubicBezTo>
                  <a:pt x="2" y="121"/>
                  <a:pt x="2" y="121"/>
                  <a:pt x="2" y="121"/>
                </a:cubicBezTo>
                <a:cubicBezTo>
                  <a:pt x="1" y="122"/>
                  <a:pt x="1" y="122"/>
                  <a:pt x="1" y="122"/>
                </a:cubicBezTo>
                <a:cubicBezTo>
                  <a:pt x="1" y="121"/>
                  <a:pt x="1" y="121"/>
                  <a:pt x="1" y="121"/>
                </a:cubicBezTo>
                <a:close/>
                <a:moveTo>
                  <a:pt x="3" y="123"/>
                </a:moveTo>
                <a:cubicBezTo>
                  <a:pt x="3" y="123"/>
                  <a:pt x="4" y="124"/>
                  <a:pt x="4" y="124"/>
                </a:cubicBezTo>
                <a:cubicBezTo>
                  <a:pt x="4" y="125"/>
                  <a:pt x="4" y="125"/>
                  <a:pt x="4" y="125"/>
                </a:cubicBezTo>
                <a:cubicBezTo>
                  <a:pt x="3" y="123"/>
                  <a:pt x="3" y="123"/>
                  <a:pt x="3" y="123"/>
                </a:cubicBezTo>
                <a:close/>
                <a:moveTo>
                  <a:pt x="2" y="124"/>
                </a:moveTo>
                <a:cubicBezTo>
                  <a:pt x="1" y="123"/>
                  <a:pt x="1" y="123"/>
                  <a:pt x="1" y="123"/>
                </a:cubicBezTo>
                <a:cubicBezTo>
                  <a:pt x="2" y="123"/>
                  <a:pt x="2" y="123"/>
                  <a:pt x="2" y="123"/>
                </a:cubicBezTo>
                <a:cubicBezTo>
                  <a:pt x="2" y="124"/>
                  <a:pt x="2" y="124"/>
                  <a:pt x="2" y="124"/>
                </a:cubicBezTo>
                <a:close/>
                <a:moveTo>
                  <a:pt x="1" y="117"/>
                </a:moveTo>
                <a:cubicBezTo>
                  <a:pt x="0" y="118"/>
                  <a:pt x="0" y="118"/>
                  <a:pt x="0" y="118"/>
                </a:cubicBezTo>
                <a:cubicBezTo>
                  <a:pt x="0" y="118"/>
                  <a:pt x="0" y="118"/>
                  <a:pt x="0" y="118"/>
                </a:cubicBezTo>
                <a:cubicBezTo>
                  <a:pt x="1" y="117"/>
                  <a:pt x="1" y="117"/>
                  <a:pt x="1" y="117"/>
                </a:cubicBezTo>
                <a:cubicBezTo>
                  <a:pt x="1" y="117"/>
                  <a:pt x="1" y="117"/>
                  <a:pt x="1" y="117"/>
                </a:cubicBezTo>
                <a:close/>
                <a:moveTo>
                  <a:pt x="0" y="108"/>
                </a:moveTo>
                <a:cubicBezTo>
                  <a:pt x="2" y="109"/>
                  <a:pt x="2" y="109"/>
                  <a:pt x="2" y="109"/>
                </a:cubicBezTo>
                <a:cubicBezTo>
                  <a:pt x="1" y="109"/>
                  <a:pt x="1" y="109"/>
                  <a:pt x="1" y="109"/>
                </a:cubicBezTo>
                <a:cubicBezTo>
                  <a:pt x="0" y="108"/>
                  <a:pt x="0" y="108"/>
                  <a:pt x="0" y="108"/>
                </a:cubicBezTo>
                <a:close/>
                <a:moveTo>
                  <a:pt x="1" y="106"/>
                </a:moveTo>
                <a:cubicBezTo>
                  <a:pt x="2" y="107"/>
                  <a:pt x="2" y="107"/>
                  <a:pt x="2" y="107"/>
                </a:cubicBezTo>
                <a:cubicBezTo>
                  <a:pt x="1" y="107"/>
                  <a:pt x="1" y="107"/>
                  <a:pt x="1" y="107"/>
                </a:cubicBezTo>
                <a:cubicBezTo>
                  <a:pt x="1" y="106"/>
                  <a:pt x="1" y="106"/>
                  <a:pt x="1" y="106"/>
                </a:cubicBezTo>
                <a:close/>
                <a:moveTo>
                  <a:pt x="4" y="103"/>
                </a:moveTo>
                <a:cubicBezTo>
                  <a:pt x="5" y="104"/>
                  <a:pt x="5" y="104"/>
                  <a:pt x="5" y="104"/>
                </a:cubicBezTo>
                <a:cubicBezTo>
                  <a:pt x="3" y="104"/>
                  <a:pt x="3" y="104"/>
                  <a:pt x="3" y="104"/>
                </a:cubicBezTo>
                <a:cubicBezTo>
                  <a:pt x="4" y="103"/>
                  <a:pt x="4" y="103"/>
                  <a:pt x="4" y="103"/>
                </a:cubicBezTo>
                <a:close/>
                <a:moveTo>
                  <a:pt x="5" y="103"/>
                </a:moveTo>
                <a:cubicBezTo>
                  <a:pt x="6" y="103"/>
                  <a:pt x="6" y="103"/>
                  <a:pt x="6" y="103"/>
                </a:cubicBezTo>
                <a:cubicBezTo>
                  <a:pt x="7" y="104"/>
                  <a:pt x="7" y="104"/>
                  <a:pt x="7" y="104"/>
                </a:cubicBezTo>
                <a:cubicBezTo>
                  <a:pt x="5" y="104"/>
                  <a:pt x="5" y="104"/>
                  <a:pt x="5" y="104"/>
                </a:cubicBezTo>
                <a:cubicBezTo>
                  <a:pt x="5" y="103"/>
                  <a:pt x="5" y="103"/>
                  <a:pt x="5" y="103"/>
                </a:cubicBezTo>
                <a:close/>
                <a:moveTo>
                  <a:pt x="16" y="95"/>
                </a:moveTo>
                <a:cubicBezTo>
                  <a:pt x="16" y="95"/>
                  <a:pt x="18" y="94"/>
                  <a:pt x="18" y="94"/>
                </a:cubicBezTo>
                <a:cubicBezTo>
                  <a:pt x="18" y="95"/>
                  <a:pt x="18" y="95"/>
                  <a:pt x="18" y="95"/>
                </a:cubicBezTo>
                <a:cubicBezTo>
                  <a:pt x="17" y="95"/>
                  <a:pt x="17" y="95"/>
                  <a:pt x="17" y="95"/>
                </a:cubicBezTo>
                <a:cubicBezTo>
                  <a:pt x="16" y="95"/>
                  <a:pt x="16" y="95"/>
                  <a:pt x="16" y="95"/>
                </a:cubicBezTo>
                <a:close/>
                <a:moveTo>
                  <a:pt x="17" y="93"/>
                </a:moveTo>
                <a:cubicBezTo>
                  <a:pt x="17" y="93"/>
                  <a:pt x="16" y="93"/>
                  <a:pt x="16" y="93"/>
                </a:cubicBezTo>
                <a:cubicBezTo>
                  <a:pt x="15" y="92"/>
                  <a:pt x="15" y="92"/>
                  <a:pt x="15" y="92"/>
                </a:cubicBezTo>
                <a:cubicBezTo>
                  <a:pt x="16" y="92"/>
                  <a:pt x="16" y="92"/>
                  <a:pt x="16" y="92"/>
                </a:cubicBezTo>
                <a:cubicBezTo>
                  <a:pt x="17" y="93"/>
                  <a:pt x="17" y="93"/>
                  <a:pt x="17" y="93"/>
                </a:cubicBezTo>
                <a:close/>
                <a:moveTo>
                  <a:pt x="18" y="90"/>
                </a:moveTo>
                <a:cubicBezTo>
                  <a:pt x="20" y="88"/>
                  <a:pt x="20" y="88"/>
                  <a:pt x="20" y="88"/>
                </a:cubicBezTo>
                <a:cubicBezTo>
                  <a:pt x="21" y="89"/>
                  <a:pt x="21" y="89"/>
                  <a:pt x="21" y="89"/>
                </a:cubicBezTo>
                <a:cubicBezTo>
                  <a:pt x="20" y="90"/>
                  <a:pt x="20" y="90"/>
                  <a:pt x="20" y="90"/>
                </a:cubicBezTo>
                <a:cubicBezTo>
                  <a:pt x="18" y="90"/>
                  <a:pt x="18" y="90"/>
                  <a:pt x="18" y="90"/>
                </a:cubicBezTo>
                <a:close/>
                <a:moveTo>
                  <a:pt x="18" y="92"/>
                </a:moveTo>
                <a:cubicBezTo>
                  <a:pt x="19" y="91"/>
                  <a:pt x="19" y="91"/>
                  <a:pt x="19" y="91"/>
                </a:cubicBezTo>
                <a:cubicBezTo>
                  <a:pt x="20" y="91"/>
                  <a:pt x="20" y="91"/>
                  <a:pt x="20" y="91"/>
                </a:cubicBezTo>
                <a:cubicBezTo>
                  <a:pt x="21" y="90"/>
                  <a:pt x="21" y="90"/>
                  <a:pt x="21" y="90"/>
                </a:cubicBezTo>
                <a:cubicBezTo>
                  <a:pt x="22" y="90"/>
                  <a:pt x="22" y="90"/>
                  <a:pt x="22" y="90"/>
                </a:cubicBezTo>
                <a:cubicBezTo>
                  <a:pt x="22" y="91"/>
                  <a:pt x="22" y="91"/>
                  <a:pt x="22" y="91"/>
                </a:cubicBezTo>
                <a:cubicBezTo>
                  <a:pt x="21" y="92"/>
                  <a:pt x="21" y="92"/>
                  <a:pt x="21" y="92"/>
                </a:cubicBezTo>
                <a:cubicBezTo>
                  <a:pt x="20" y="92"/>
                  <a:pt x="20" y="92"/>
                  <a:pt x="20" y="92"/>
                </a:cubicBezTo>
                <a:cubicBezTo>
                  <a:pt x="19" y="92"/>
                  <a:pt x="19" y="92"/>
                  <a:pt x="19" y="92"/>
                </a:cubicBezTo>
                <a:cubicBezTo>
                  <a:pt x="18" y="92"/>
                  <a:pt x="18" y="92"/>
                  <a:pt x="18" y="92"/>
                </a:cubicBezTo>
                <a:close/>
                <a:moveTo>
                  <a:pt x="35" y="75"/>
                </a:moveTo>
                <a:cubicBezTo>
                  <a:pt x="35" y="74"/>
                  <a:pt x="35" y="74"/>
                  <a:pt x="35" y="74"/>
                </a:cubicBezTo>
                <a:cubicBezTo>
                  <a:pt x="37" y="73"/>
                  <a:pt x="37" y="73"/>
                  <a:pt x="37" y="73"/>
                </a:cubicBezTo>
                <a:cubicBezTo>
                  <a:pt x="35" y="75"/>
                  <a:pt x="35" y="75"/>
                  <a:pt x="35" y="75"/>
                </a:cubicBezTo>
                <a:cubicBezTo>
                  <a:pt x="35" y="75"/>
                  <a:pt x="35" y="75"/>
                  <a:pt x="35" y="75"/>
                </a:cubicBezTo>
                <a:close/>
                <a:moveTo>
                  <a:pt x="33" y="78"/>
                </a:moveTo>
                <a:cubicBezTo>
                  <a:pt x="33" y="77"/>
                  <a:pt x="33" y="77"/>
                  <a:pt x="33" y="77"/>
                </a:cubicBezTo>
                <a:cubicBezTo>
                  <a:pt x="32" y="77"/>
                  <a:pt x="32" y="77"/>
                  <a:pt x="32" y="77"/>
                </a:cubicBezTo>
                <a:cubicBezTo>
                  <a:pt x="33" y="76"/>
                  <a:pt x="33" y="76"/>
                  <a:pt x="33" y="76"/>
                </a:cubicBezTo>
                <a:cubicBezTo>
                  <a:pt x="34" y="76"/>
                  <a:pt x="34" y="76"/>
                  <a:pt x="34" y="76"/>
                </a:cubicBezTo>
                <a:cubicBezTo>
                  <a:pt x="35" y="75"/>
                  <a:pt x="35" y="75"/>
                  <a:pt x="35" y="75"/>
                </a:cubicBezTo>
                <a:cubicBezTo>
                  <a:pt x="34" y="77"/>
                  <a:pt x="34" y="77"/>
                  <a:pt x="34" y="77"/>
                </a:cubicBezTo>
                <a:cubicBezTo>
                  <a:pt x="33" y="78"/>
                  <a:pt x="33" y="78"/>
                  <a:pt x="33" y="78"/>
                </a:cubicBezTo>
                <a:close/>
                <a:moveTo>
                  <a:pt x="36" y="67"/>
                </a:moveTo>
                <a:cubicBezTo>
                  <a:pt x="37" y="67"/>
                  <a:pt x="37" y="67"/>
                  <a:pt x="37" y="67"/>
                </a:cubicBezTo>
                <a:cubicBezTo>
                  <a:pt x="37" y="68"/>
                  <a:pt x="37" y="68"/>
                  <a:pt x="37" y="68"/>
                </a:cubicBezTo>
                <a:cubicBezTo>
                  <a:pt x="36" y="69"/>
                  <a:pt x="36" y="69"/>
                  <a:pt x="36" y="69"/>
                </a:cubicBezTo>
                <a:cubicBezTo>
                  <a:pt x="36" y="68"/>
                  <a:pt x="36" y="68"/>
                  <a:pt x="36" y="68"/>
                </a:cubicBezTo>
                <a:cubicBezTo>
                  <a:pt x="36" y="67"/>
                  <a:pt x="36" y="67"/>
                  <a:pt x="36" y="67"/>
                </a:cubicBezTo>
                <a:close/>
                <a:moveTo>
                  <a:pt x="39" y="65"/>
                </a:moveTo>
                <a:cubicBezTo>
                  <a:pt x="39" y="64"/>
                  <a:pt x="39" y="64"/>
                  <a:pt x="39" y="64"/>
                </a:cubicBezTo>
                <a:cubicBezTo>
                  <a:pt x="40" y="64"/>
                  <a:pt x="40" y="64"/>
                  <a:pt x="40" y="64"/>
                </a:cubicBezTo>
                <a:cubicBezTo>
                  <a:pt x="39" y="65"/>
                  <a:pt x="39" y="65"/>
                  <a:pt x="39" y="65"/>
                </a:cubicBezTo>
                <a:cubicBezTo>
                  <a:pt x="39" y="65"/>
                  <a:pt x="39" y="65"/>
                  <a:pt x="39" y="65"/>
                </a:cubicBezTo>
                <a:close/>
                <a:moveTo>
                  <a:pt x="38" y="62"/>
                </a:moveTo>
                <a:cubicBezTo>
                  <a:pt x="39" y="61"/>
                  <a:pt x="39" y="61"/>
                  <a:pt x="39" y="61"/>
                </a:cubicBezTo>
                <a:cubicBezTo>
                  <a:pt x="39" y="62"/>
                  <a:pt x="39" y="62"/>
                  <a:pt x="39" y="62"/>
                </a:cubicBezTo>
                <a:cubicBezTo>
                  <a:pt x="38" y="64"/>
                  <a:pt x="38" y="64"/>
                  <a:pt x="38" y="64"/>
                </a:cubicBezTo>
                <a:cubicBezTo>
                  <a:pt x="38" y="62"/>
                  <a:pt x="38" y="62"/>
                  <a:pt x="38" y="62"/>
                </a:cubicBezTo>
                <a:close/>
                <a:moveTo>
                  <a:pt x="46" y="51"/>
                </a:moveTo>
                <a:cubicBezTo>
                  <a:pt x="46" y="51"/>
                  <a:pt x="46" y="51"/>
                  <a:pt x="46" y="51"/>
                </a:cubicBezTo>
                <a:cubicBezTo>
                  <a:pt x="47" y="51"/>
                  <a:pt x="47" y="51"/>
                  <a:pt x="47" y="51"/>
                </a:cubicBezTo>
                <a:cubicBezTo>
                  <a:pt x="46" y="52"/>
                  <a:pt x="46" y="52"/>
                  <a:pt x="46" y="52"/>
                </a:cubicBezTo>
                <a:cubicBezTo>
                  <a:pt x="46" y="51"/>
                  <a:pt x="46" y="51"/>
                  <a:pt x="46" y="51"/>
                </a:cubicBezTo>
                <a:close/>
                <a:moveTo>
                  <a:pt x="38" y="45"/>
                </a:moveTo>
                <a:cubicBezTo>
                  <a:pt x="39" y="45"/>
                  <a:pt x="39" y="45"/>
                  <a:pt x="39" y="45"/>
                </a:cubicBezTo>
                <a:cubicBezTo>
                  <a:pt x="38" y="46"/>
                  <a:pt x="38" y="46"/>
                  <a:pt x="38" y="46"/>
                </a:cubicBezTo>
                <a:cubicBezTo>
                  <a:pt x="38" y="46"/>
                  <a:pt x="38" y="46"/>
                  <a:pt x="38" y="46"/>
                </a:cubicBezTo>
                <a:cubicBezTo>
                  <a:pt x="38" y="45"/>
                  <a:pt x="38" y="45"/>
                  <a:pt x="38" y="45"/>
                </a:cubicBezTo>
                <a:close/>
                <a:moveTo>
                  <a:pt x="40" y="42"/>
                </a:moveTo>
                <a:cubicBezTo>
                  <a:pt x="39" y="43"/>
                  <a:pt x="39" y="43"/>
                  <a:pt x="39" y="43"/>
                </a:cubicBezTo>
                <a:cubicBezTo>
                  <a:pt x="39" y="42"/>
                  <a:pt x="39" y="42"/>
                  <a:pt x="39" y="42"/>
                </a:cubicBezTo>
                <a:cubicBezTo>
                  <a:pt x="40" y="40"/>
                  <a:pt x="40" y="40"/>
                  <a:pt x="40" y="40"/>
                </a:cubicBezTo>
                <a:cubicBezTo>
                  <a:pt x="40" y="42"/>
                  <a:pt x="40" y="42"/>
                  <a:pt x="40" y="42"/>
                </a:cubicBezTo>
                <a:close/>
                <a:moveTo>
                  <a:pt x="41" y="41"/>
                </a:moveTo>
                <a:cubicBezTo>
                  <a:pt x="41" y="40"/>
                  <a:pt x="41" y="40"/>
                  <a:pt x="41" y="40"/>
                </a:cubicBezTo>
                <a:cubicBezTo>
                  <a:pt x="41" y="39"/>
                  <a:pt x="41" y="39"/>
                  <a:pt x="41" y="39"/>
                </a:cubicBezTo>
                <a:cubicBezTo>
                  <a:pt x="42" y="40"/>
                  <a:pt x="42" y="40"/>
                  <a:pt x="42" y="40"/>
                </a:cubicBezTo>
                <a:cubicBezTo>
                  <a:pt x="41" y="41"/>
                  <a:pt x="41" y="41"/>
                  <a:pt x="41" y="41"/>
                </a:cubicBezTo>
                <a:close/>
                <a:moveTo>
                  <a:pt x="45" y="38"/>
                </a:moveTo>
                <a:cubicBezTo>
                  <a:pt x="45" y="39"/>
                  <a:pt x="45" y="39"/>
                  <a:pt x="45" y="39"/>
                </a:cubicBezTo>
                <a:cubicBezTo>
                  <a:pt x="42" y="41"/>
                  <a:pt x="42" y="41"/>
                  <a:pt x="42" y="41"/>
                </a:cubicBezTo>
                <a:cubicBezTo>
                  <a:pt x="43" y="38"/>
                  <a:pt x="43" y="38"/>
                  <a:pt x="43" y="38"/>
                </a:cubicBezTo>
                <a:cubicBezTo>
                  <a:pt x="45" y="38"/>
                  <a:pt x="45" y="38"/>
                  <a:pt x="45" y="38"/>
                </a:cubicBezTo>
                <a:close/>
                <a:moveTo>
                  <a:pt x="47" y="35"/>
                </a:moveTo>
                <a:cubicBezTo>
                  <a:pt x="48" y="34"/>
                  <a:pt x="48" y="34"/>
                  <a:pt x="48" y="34"/>
                </a:cubicBezTo>
                <a:cubicBezTo>
                  <a:pt x="49" y="35"/>
                  <a:pt x="49" y="35"/>
                  <a:pt x="49" y="35"/>
                </a:cubicBezTo>
                <a:cubicBezTo>
                  <a:pt x="47" y="35"/>
                  <a:pt x="47" y="35"/>
                  <a:pt x="47" y="35"/>
                </a:cubicBezTo>
                <a:close/>
                <a:moveTo>
                  <a:pt x="48" y="36"/>
                </a:moveTo>
                <a:cubicBezTo>
                  <a:pt x="48" y="38"/>
                  <a:pt x="48" y="38"/>
                  <a:pt x="48" y="38"/>
                </a:cubicBezTo>
                <a:cubicBezTo>
                  <a:pt x="47" y="37"/>
                  <a:pt x="47" y="37"/>
                  <a:pt x="47" y="37"/>
                </a:cubicBezTo>
                <a:cubicBezTo>
                  <a:pt x="45" y="38"/>
                  <a:pt x="45" y="38"/>
                  <a:pt x="45" y="38"/>
                </a:cubicBezTo>
                <a:cubicBezTo>
                  <a:pt x="46" y="37"/>
                  <a:pt x="46" y="37"/>
                  <a:pt x="46" y="37"/>
                </a:cubicBezTo>
                <a:cubicBezTo>
                  <a:pt x="48" y="36"/>
                  <a:pt x="48" y="36"/>
                  <a:pt x="48" y="36"/>
                </a:cubicBezTo>
                <a:close/>
                <a:moveTo>
                  <a:pt x="49" y="29"/>
                </a:moveTo>
                <a:cubicBezTo>
                  <a:pt x="50" y="31"/>
                  <a:pt x="50" y="31"/>
                  <a:pt x="50" y="31"/>
                </a:cubicBezTo>
                <a:cubicBezTo>
                  <a:pt x="50" y="33"/>
                  <a:pt x="50" y="33"/>
                  <a:pt x="50" y="33"/>
                </a:cubicBezTo>
                <a:cubicBezTo>
                  <a:pt x="48" y="34"/>
                  <a:pt x="48" y="34"/>
                  <a:pt x="48" y="34"/>
                </a:cubicBezTo>
                <a:cubicBezTo>
                  <a:pt x="47" y="33"/>
                  <a:pt x="47" y="33"/>
                  <a:pt x="47" y="33"/>
                </a:cubicBezTo>
                <a:cubicBezTo>
                  <a:pt x="49" y="32"/>
                  <a:pt x="49" y="32"/>
                  <a:pt x="49" y="32"/>
                </a:cubicBezTo>
                <a:cubicBezTo>
                  <a:pt x="48" y="32"/>
                  <a:pt x="48" y="32"/>
                  <a:pt x="48" y="32"/>
                </a:cubicBezTo>
                <a:cubicBezTo>
                  <a:pt x="46" y="33"/>
                  <a:pt x="46" y="33"/>
                  <a:pt x="46" y="33"/>
                </a:cubicBezTo>
                <a:cubicBezTo>
                  <a:pt x="46" y="32"/>
                  <a:pt x="46" y="32"/>
                  <a:pt x="46" y="32"/>
                </a:cubicBezTo>
                <a:cubicBezTo>
                  <a:pt x="46" y="31"/>
                  <a:pt x="46" y="31"/>
                  <a:pt x="46" y="31"/>
                </a:cubicBezTo>
                <a:cubicBezTo>
                  <a:pt x="48" y="31"/>
                  <a:pt x="48" y="31"/>
                  <a:pt x="48" y="31"/>
                </a:cubicBezTo>
                <a:cubicBezTo>
                  <a:pt x="49" y="30"/>
                  <a:pt x="49" y="30"/>
                  <a:pt x="49" y="30"/>
                </a:cubicBezTo>
                <a:cubicBezTo>
                  <a:pt x="48" y="30"/>
                  <a:pt x="48" y="30"/>
                  <a:pt x="48" y="30"/>
                </a:cubicBezTo>
                <a:cubicBezTo>
                  <a:pt x="49" y="29"/>
                  <a:pt x="49" y="29"/>
                  <a:pt x="49" y="29"/>
                </a:cubicBezTo>
                <a:close/>
                <a:moveTo>
                  <a:pt x="51" y="30"/>
                </a:moveTo>
                <a:cubicBezTo>
                  <a:pt x="50" y="30"/>
                  <a:pt x="50" y="30"/>
                  <a:pt x="50" y="30"/>
                </a:cubicBezTo>
                <a:cubicBezTo>
                  <a:pt x="50" y="28"/>
                  <a:pt x="50" y="28"/>
                  <a:pt x="50" y="28"/>
                </a:cubicBezTo>
                <a:cubicBezTo>
                  <a:pt x="52" y="27"/>
                  <a:pt x="52" y="27"/>
                  <a:pt x="52" y="27"/>
                </a:cubicBezTo>
                <a:cubicBezTo>
                  <a:pt x="52" y="25"/>
                  <a:pt x="52" y="25"/>
                  <a:pt x="52" y="25"/>
                </a:cubicBezTo>
                <a:cubicBezTo>
                  <a:pt x="53" y="25"/>
                  <a:pt x="53" y="25"/>
                  <a:pt x="53" y="25"/>
                </a:cubicBezTo>
                <a:cubicBezTo>
                  <a:pt x="54" y="26"/>
                  <a:pt x="54" y="26"/>
                  <a:pt x="54" y="26"/>
                </a:cubicBezTo>
                <a:cubicBezTo>
                  <a:pt x="52" y="27"/>
                  <a:pt x="52" y="27"/>
                  <a:pt x="52" y="27"/>
                </a:cubicBezTo>
                <a:cubicBezTo>
                  <a:pt x="52" y="28"/>
                  <a:pt x="52" y="28"/>
                  <a:pt x="52" y="28"/>
                </a:cubicBezTo>
                <a:cubicBezTo>
                  <a:pt x="51" y="30"/>
                  <a:pt x="51" y="30"/>
                  <a:pt x="51" y="30"/>
                </a:cubicBezTo>
                <a:close/>
                <a:moveTo>
                  <a:pt x="55" y="31"/>
                </a:moveTo>
                <a:cubicBezTo>
                  <a:pt x="56" y="32"/>
                  <a:pt x="56" y="32"/>
                  <a:pt x="56" y="32"/>
                </a:cubicBezTo>
                <a:cubicBezTo>
                  <a:pt x="54" y="35"/>
                  <a:pt x="54" y="35"/>
                  <a:pt x="54" y="35"/>
                </a:cubicBezTo>
                <a:cubicBezTo>
                  <a:pt x="53" y="36"/>
                  <a:pt x="53" y="36"/>
                  <a:pt x="53" y="36"/>
                </a:cubicBezTo>
                <a:cubicBezTo>
                  <a:pt x="52" y="37"/>
                  <a:pt x="52" y="37"/>
                  <a:pt x="52" y="37"/>
                </a:cubicBezTo>
                <a:cubicBezTo>
                  <a:pt x="51" y="36"/>
                  <a:pt x="51" y="36"/>
                  <a:pt x="51" y="36"/>
                </a:cubicBezTo>
                <a:cubicBezTo>
                  <a:pt x="51" y="35"/>
                  <a:pt x="51" y="35"/>
                  <a:pt x="51" y="35"/>
                </a:cubicBezTo>
                <a:cubicBezTo>
                  <a:pt x="50" y="37"/>
                  <a:pt x="50" y="37"/>
                  <a:pt x="50" y="37"/>
                </a:cubicBezTo>
                <a:cubicBezTo>
                  <a:pt x="49" y="37"/>
                  <a:pt x="49" y="37"/>
                  <a:pt x="49" y="37"/>
                </a:cubicBezTo>
                <a:cubicBezTo>
                  <a:pt x="50" y="35"/>
                  <a:pt x="50" y="35"/>
                  <a:pt x="50" y="35"/>
                </a:cubicBezTo>
                <a:cubicBezTo>
                  <a:pt x="50" y="35"/>
                  <a:pt x="50" y="35"/>
                  <a:pt x="50" y="35"/>
                </a:cubicBezTo>
                <a:cubicBezTo>
                  <a:pt x="50" y="34"/>
                  <a:pt x="50" y="34"/>
                  <a:pt x="50" y="34"/>
                </a:cubicBezTo>
                <a:cubicBezTo>
                  <a:pt x="51" y="33"/>
                  <a:pt x="51" y="33"/>
                  <a:pt x="51" y="33"/>
                </a:cubicBezTo>
                <a:cubicBezTo>
                  <a:pt x="51" y="32"/>
                  <a:pt x="51" y="32"/>
                  <a:pt x="51" y="32"/>
                </a:cubicBezTo>
                <a:cubicBezTo>
                  <a:pt x="52" y="29"/>
                  <a:pt x="52" y="29"/>
                  <a:pt x="52" y="29"/>
                </a:cubicBezTo>
                <a:cubicBezTo>
                  <a:pt x="52" y="33"/>
                  <a:pt x="52" y="33"/>
                  <a:pt x="52" y="33"/>
                </a:cubicBezTo>
                <a:cubicBezTo>
                  <a:pt x="52" y="34"/>
                  <a:pt x="52" y="34"/>
                  <a:pt x="52" y="34"/>
                </a:cubicBezTo>
                <a:cubicBezTo>
                  <a:pt x="53" y="32"/>
                  <a:pt x="53" y="32"/>
                  <a:pt x="53" y="32"/>
                </a:cubicBezTo>
                <a:cubicBezTo>
                  <a:pt x="55" y="32"/>
                  <a:pt x="55" y="32"/>
                  <a:pt x="55" y="32"/>
                </a:cubicBezTo>
                <a:cubicBezTo>
                  <a:pt x="54" y="31"/>
                  <a:pt x="54" y="31"/>
                  <a:pt x="54" y="31"/>
                </a:cubicBezTo>
                <a:cubicBezTo>
                  <a:pt x="54" y="30"/>
                  <a:pt x="54" y="30"/>
                  <a:pt x="54" y="30"/>
                </a:cubicBezTo>
                <a:cubicBezTo>
                  <a:pt x="55" y="31"/>
                  <a:pt x="55" y="31"/>
                  <a:pt x="55" y="31"/>
                </a:cubicBezTo>
                <a:close/>
                <a:moveTo>
                  <a:pt x="55" y="29"/>
                </a:moveTo>
                <a:cubicBezTo>
                  <a:pt x="54" y="29"/>
                  <a:pt x="54" y="29"/>
                  <a:pt x="54" y="29"/>
                </a:cubicBezTo>
                <a:cubicBezTo>
                  <a:pt x="55" y="29"/>
                  <a:pt x="55" y="29"/>
                  <a:pt x="55" y="29"/>
                </a:cubicBezTo>
                <a:cubicBezTo>
                  <a:pt x="56" y="29"/>
                  <a:pt x="56" y="29"/>
                  <a:pt x="56" y="29"/>
                </a:cubicBezTo>
                <a:cubicBezTo>
                  <a:pt x="56" y="30"/>
                  <a:pt x="56" y="30"/>
                  <a:pt x="56" y="30"/>
                </a:cubicBezTo>
                <a:cubicBezTo>
                  <a:pt x="55" y="29"/>
                  <a:pt x="55" y="29"/>
                  <a:pt x="55" y="29"/>
                </a:cubicBezTo>
                <a:close/>
                <a:moveTo>
                  <a:pt x="58" y="31"/>
                </a:moveTo>
                <a:cubicBezTo>
                  <a:pt x="58" y="30"/>
                  <a:pt x="58" y="30"/>
                  <a:pt x="58" y="30"/>
                </a:cubicBezTo>
                <a:cubicBezTo>
                  <a:pt x="59" y="31"/>
                  <a:pt x="59" y="31"/>
                  <a:pt x="59" y="31"/>
                </a:cubicBezTo>
                <a:cubicBezTo>
                  <a:pt x="58" y="31"/>
                  <a:pt x="58" y="31"/>
                  <a:pt x="58" y="31"/>
                </a:cubicBezTo>
                <a:close/>
                <a:moveTo>
                  <a:pt x="62" y="25"/>
                </a:moveTo>
                <a:cubicBezTo>
                  <a:pt x="62" y="25"/>
                  <a:pt x="62" y="25"/>
                  <a:pt x="62" y="25"/>
                </a:cubicBezTo>
                <a:cubicBezTo>
                  <a:pt x="62" y="26"/>
                  <a:pt x="62" y="26"/>
                  <a:pt x="62" y="26"/>
                </a:cubicBezTo>
                <a:cubicBezTo>
                  <a:pt x="61" y="27"/>
                  <a:pt x="61" y="27"/>
                  <a:pt x="61" y="27"/>
                </a:cubicBezTo>
                <a:cubicBezTo>
                  <a:pt x="61" y="27"/>
                  <a:pt x="61" y="27"/>
                  <a:pt x="61" y="27"/>
                </a:cubicBezTo>
                <a:cubicBezTo>
                  <a:pt x="59" y="27"/>
                  <a:pt x="59" y="27"/>
                  <a:pt x="59" y="27"/>
                </a:cubicBezTo>
                <a:cubicBezTo>
                  <a:pt x="59" y="29"/>
                  <a:pt x="59" y="29"/>
                  <a:pt x="59" y="29"/>
                </a:cubicBezTo>
                <a:cubicBezTo>
                  <a:pt x="58" y="29"/>
                  <a:pt x="58" y="29"/>
                  <a:pt x="58" y="29"/>
                </a:cubicBezTo>
                <a:cubicBezTo>
                  <a:pt x="58" y="28"/>
                  <a:pt x="58" y="28"/>
                  <a:pt x="58" y="28"/>
                </a:cubicBezTo>
                <a:cubicBezTo>
                  <a:pt x="57" y="27"/>
                  <a:pt x="57" y="27"/>
                  <a:pt x="57" y="27"/>
                </a:cubicBezTo>
                <a:cubicBezTo>
                  <a:pt x="58" y="26"/>
                  <a:pt x="58" y="26"/>
                  <a:pt x="58" y="26"/>
                </a:cubicBezTo>
                <a:cubicBezTo>
                  <a:pt x="57" y="26"/>
                  <a:pt x="57" y="26"/>
                  <a:pt x="57" y="26"/>
                </a:cubicBezTo>
                <a:cubicBezTo>
                  <a:pt x="57" y="25"/>
                  <a:pt x="57" y="25"/>
                  <a:pt x="57" y="25"/>
                </a:cubicBezTo>
                <a:cubicBezTo>
                  <a:pt x="59" y="24"/>
                  <a:pt x="59" y="24"/>
                  <a:pt x="59" y="24"/>
                </a:cubicBezTo>
                <a:cubicBezTo>
                  <a:pt x="58" y="24"/>
                  <a:pt x="58" y="24"/>
                  <a:pt x="58" y="24"/>
                </a:cubicBezTo>
                <a:cubicBezTo>
                  <a:pt x="58" y="22"/>
                  <a:pt x="58" y="22"/>
                  <a:pt x="58" y="22"/>
                </a:cubicBezTo>
                <a:cubicBezTo>
                  <a:pt x="59" y="23"/>
                  <a:pt x="59" y="23"/>
                  <a:pt x="59" y="23"/>
                </a:cubicBezTo>
                <a:cubicBezTo>
                  <a:pt x="59" y="22"/>
                  <a:pt x="59" y="22"/>
                  <a:pt x="59" y="22"/>
                </a:cubicBezTo>
                <a:cubicBezTo>
                  <a:pt x="61" y="22"/>
                  <a:pt x="61" y="22"/>
                  <a:pt x="61" y="22"/>
                </a:cubicBezTo>
                <a:cubicBezTo>
                  <a:pt x="61" y="23"/>
                  <a:pt x="61" y="23"/>
                  <a:pt x="61" y="23"/>
                </a:cubicBezTo>
                <a:cubicBezTo>
                  <a:pt x="62" y="23"/>
                  <a:pt x="62" y="23"/>
                  <a:pt x="62" y="23"/>
                </a:cubicBezTo>
                <a:cubicBezTo>
                  <a:pt x="62" y="25"/>
                  <a:pt x="62" y="25"/>
                  <a:pt x="62" y="25"/>
                </a:cubicBezTo>
                <a:close/>
                <a:moveTo>
                  <a:pt x="62" y="21"/>
                </a:moveTo>
                <a:cubicBezTo>
                  <a:pt x="64" y="21"/>
                  <a:pt x="64" y="21"/>
                  <a:pt x="64" y="21"/>
                </a:cubicBezTo>
                <a:cubicBezTo>
                  <a:pt x="64" y="20"/>
                  <a:pt x="64" y="20"/>
                  <a:pt x="64" y="20"/>
                </a:cubicBezTo>
                <a:cubicBezTo>
                  <a:pt x="66" y="20"/>
                  <a:pt x="66" y="20"/>
                  <a:pt x="66" y="20"/>
                </a:cubicBezTo>
                <a:cubicBezTo>
                  <a:pt x="66" y="19"/>
                  <a:pt x="66" y="19"/>
                  <a:pt x="66" y="19"/>
                </a:cubicBezTo>
                <a:cubicBezTo>
                  <a:pt x="67" y="20"/>
                  <a:pt x="67" y="20"/>
                  <a:pt x="67" y="20"/>
                </a:cubicBezTo>
                <a:cubicBezTo>
                  <a:pt x="66" y="21"/>
                  <a:pt x="66" y="21"/>
                  <a:pt x="66" y="21"/>
                </a:cubicBezTo>
                <a:cubicBezTo>
                  <a:pt x="66" y="22"/>
                  <a:pt x="66" y="22"/>
                  <a:pt x="66" y="22"/>
                </a:cubicBezTo>
                <a:cubicBezTo>
                  <a:pt x="65" y="22"/>
                  <a:pt x="65" y="22"/>
                  <a:pt x="65" y="22"/>
                </a:cubicBezTo>
                <a:cubicBezTo>
                  <a:pt x="64" y="23"/>
                  <a:pt x="64" y="23"/>
                  <a:pt x="64" y="23"/>
                </a:cubicBezTo>
                <a:cubicBezTo>
                  <a:pt x="62" y="21"/>
                  <a:pt x="62" y="21"/>
                  <a:pt x="62" y="21"/>
                </a:cubicBezTo>
                <a:close/>
                <a:moveTo>
                  <a:pt x="67" y="14"/>
                </a:moveTo>
                <a:cubicBezTo>
                  <a:pt x="67" y="13"/>
                  <a:pt x="67" y="13"/>
                  <a:pt x="67" y="13"/>
                </a:cubicBezTo>
                <a:cubicBezTo>
                  <a:pt x="68" y="13"/>
                  <a:pt x="68" y="13"/>
                  <a:pt x="68" y="13"/>
                </a:cubicBezTo>
                <a:cubicBezTo>
                  <a:pt x="67" y="14"/>
                  <a:pt x="67" y="14"/>
                  <a:pt x="67" y="14"/>
                </a:cubicBezTo>
                <a:close/>
                <a:moveTo>
                  <a:pt x="65" y="16"/>
                </a:moveTo>
                <a:cubicBezTo>
                  <a:pt x="65" y="15"/>
                  <a:pt x="65" y="15"/>
                  <a:pt x="65" y="15"/>
                </a:cubicBezTo>
                <a:cubicBezTo>
                  <a:pt x="67" y="14"/>
                  <a:pt x="67" y="14"/>
                  <a:pt x="67" y="14"/>
                </a:cubicBezTo>
                <a:cubicBezTo>
                  <a:pt x="67" y="15"/>
                  <a:pt x="67" y="15"/>
                  <a:pt x="67" y="15"/>
                </a:cubicBezTo>
                <a:cubicBezTo>
                  <a:pt x="67" y="15"/>
                  <a:pt x="65" y="16"/>
                  <a:pt x="65" y="16"/>
                </a:cubicBezTo>
                <a:close/>
                <a:moveTo>
                  <a:pt x="69" y="19"/>
                </a:moveTo>
                <a:cubicBezTo>
                  <a:pt x="70" y="17"/>
                  <a:pt x="70" y="17"/>
                  <a:pt x="70" y="17"/>
                </a:cubicBezTo>
                <a:cubicBezTo>
                  <a:pt x="70" y="18"/>
                  <a:pt x="70" y="18"/>
                  <a:pt x="70" y="18"/>
                </a:cubicBezTo>
                <a:cubicBezTo>
                  <a:pt x="69" y="19"/>
                  <a:pt x="69" y="19"/>
                  <a:pt x="69" y="19"/>
                </a:cubicBezTo>
                <a:close/>
                <a:moveTo>
                  <a:pt x="69" y="18"/>
                </a:moveTo>
                <a:cubicBezTo>
                  <a:pt x="68" y="19"/>
                  <a:pt x="68" y="19"/>
                  <a:pt x="68" y="19"/>
                </a:cubicBezTo>
                <a:cubicBezTo>
                  <a:pt x="67" y="19"/>
                  <a:pt x="67" y="19"/>
                  <a:pt x="67" y="19"/>
                </a:cubicBezTo>
                <a:cubicBezTo>
                  <a:pt x="66" y="17"/>
                  <a:pt x="66" y="17"/>
                  <a:pt x="66" y="17"/>
                </a:cubicBezTo>
                <a:cubicBezTo>
                  <a:pt x="68" y="16"/>
                  <a:pt x="68" y="16"/>
                  <a:pt x="68" y="16"/>
                </a:cubicBezTo>
                <a:cubicBezTo>
                  <a:pt x="68" y="16"/>
                  <a:pt x="68" y="16"/>
                  <a:pt x="68" y="16"/>
                </a:cubicBezTo>
                <a:cubicBezTo>
                  <a:pt x="69" y="16"/>
                  <a:pt x="69" y="16"/>
                  <a:pt x="69" y="16"/>
                </a:cubicBezTo>
                <a:cubicBezTo>
                  <a:pt x="70" y="16"/>
                  <a:pt x="70" y="16"/>
                  <a:pt x="70" y="16"/>
                </a:cubicBezTo>
                <a:cubicBezTo>
                  <a:pt x="69" y="17"/>
                  <a:pt x="69" y="17"/>
                  <a:pt x="69" y="17"/>
                </a:cubicBezTo>
                <a:cubicBezTo>
                  <a:pt x="69" y="18"/>
                  <a:pt x="69" y="18"/>
                  <a:pt x="69" y="18"/>
                </a:cubicBezTo>
                <a:close/>
                <a:moveTo>
                  <a:pt x="72" y="15"/>
                </a:moveTo>
                <a:cubicBezTo>
                  <a:pt x="71" y="16"/>
                  <a:pt x="71" y="16"/>
                  <a:pt x="71" y="16"/>
                </a:cubicBezTo>
                <a:cubicBezTo>
                  <a:pt x="70" y="15"/>
                  <a:pt x="70" y="15"/>
                  <a:pt x="70" y="15"/>
                </a:cubicBezTo>
                <a:cubicBezTo>
                  <a:pt x="70" y="14"/>
                  <a:pt x="70" y="14"/>
                  <a:pt x="70" y="14"/>
                </a:cubicBezTo>
                <a:cubicBezTo>
                  <a:pt x="69" y="12"/>
                  <a:pt x="69" y="12"/>
                  <a:pt x="69" y="12"/>
                </a:cubicBezTo>
                <a:cubicBezTo>
                  <a:pt x="70" y="12"/>
                  <a:pt x="70" y="12"/>
                  <a:pt x="70" y="12"/>
                </a:cubicBezTo>
                <a:cubicBezTo>
                  <a:pt x="70" y="14"/>
                  <a:pt x="70" y="14"/>
                  <a:pt x="70" y="14"/>
                </a:cubicBezTo>
                <a:cubicBezTo>
                  <a:pt x="72" y="15"/>
                  <a:pt x="72" y="15"/>
                  <a:pt x="72" y="15"/>
                </a:cubicBezTo>
                <a:cubicBezTo>
                  <a:pt x="72" y="15"/>
                  <a:pt x="72" y="15"/>
                  <a:pt x="72" y="15"/>
                </a:cubicBezTo>
                <a:close/>
                <a:moveTo>
                  <a:pt x="75" y="17"/>
                </a:moveTo>
                <a:cubicBezTo>
                  <a:pt x="75" y="16"/>
                  <a:pt x="75" y="16"/>
                  <a:pt x="75" y="16"/>
                </a:cubicBezTo>
                <a:cubicBezTo>
                  <a:pt x="74" y="16"/>
                  <a:pt x="74" y="16"/>
                  <a:pt x="74" y="16"/>
                </a:cubicBezTo>
                <a:cubicBezTo>
                  <a:pt x="74" y="14"/>
                  <a:pt x="74" y="14"/>
                  <a:pt x="74" y="14"/>
                </a:cubicBezTo>
                <a:cubicBezTo>
                  <a:pt x="74" y="13"/>
                  <a:pt x="74" y="13"/>
                  <a:pt x="74" y="13"/>
                </a:cubicBezTo>
                <a:cubicBezTo>
                  <a:pt x="76" y="14"/>
                  <a:pt x="76" y="14"/>
                  <a:pt x="76" y="14"/>
                </a:cubicBezTo>
                <a:cubicBezTo>
                  <a:pt x="75" y="15"/>
                  <a:pt x="75" y="15"/>
                  <a:pt x="75" y="15"/>
                </a:cubicBezTo>
                <a:cubicBezTo>
                  <a:pt x="76" y="16"/>
                  <a:pt x="76" y="16"/>
                  <a:pt x="76" y="16"/>
                </a:cubicBezTo>
                <a:cubicBezTo>
                  <a:pt x="75" y="17"/>
                  <a:pt x="75" y="17"/>
                  <a:pt x="75" y="17"/>
                </a:cubicBezTo>
                <a:close/>
                <a:moveTo>
                  <a:pt x="85" y="12"/>
                </a:moveTo>
                <a:cubicBezTo>
                  <a:pt x="84" y="12"/>
                  <a:pt x="84" y="12"/>
                  <a:pt x="84" y="12"/>
                </a:cubicBezTo>
                <a:cubicBezTo>
                  <a:pt x="82" y="11"/>
                  <a:pt x="82" y="11"/>
                  <a:pt x="82" y="11"/>
                </a:cubicBezTo>
                <a:cubicBezTo>
                  <a:pt x="83" y="11"/>
                  <a:pt x="83" y="11"/>
                  <a:pt x="83" y="11"/>
                </a:cubicBezTo>
                <a:cubicBezTo>
                  <a:pt x="85" y="11"/>
                  <a:pt x="85" y="11"/>
                  <a:pt x="85" y="11"/>
                </a:cubicBezTo>
                <a:cubicBezTo>
                  <a:pt x="85" y="11"/>
                  <a:pt x="85" y="11"/>
                  <a:pt x="85" y="11"/>
                </a:cubicBezTo>
                <a:cubicBezTo>
                  <a:pt x="85" y="12"/>
                  <a:pt x="85" y="12"/>
                  <a:pt x="85" y="12"/>
                </a:cubicBezTo>
                <a:close/>
                <a:moveTo>
                  <a:pt x="86" y="11"/>
                </a:moveTo>
                <a:cubicBezTo>
                  <a:pt x="85" y="10"/>
                  <a:pt x="85" y="10"/>
                  <a:pt x="85" y="10"/>
                </a:cubicBezTo>
                <a:cubicBezTo>
                  <a:pt x="87" y="8"/>
                  <a:pt x="87" y="8"/>
                  <a:pt x="87" y="8"/>
                </a:cubicBezTo>
                <a:cubicBezTo>
                  <a:pt x="88" y="9"/>
                  <a:pt x="88" y="9"/>
                  <a:pt x="88" y="9"/>
                </a:cubicBezTo>
                <a:cubicBezTo>
                  <a:pt x="87" y="10"/>
                  <a:pt x="87" y="10"/>
                  <a:pt x="87" y="10"/>
                </a:cubicBezTo>
                <a:cubicBezTo>
                  <a:pt x="86" y="11"/>
                  <a:pt x="86" y="11"/>
                  <a:pt x="86" y="11"/>
                </a:cubicBezTo>
                <a:close/>
                <a:moveTo>
                  <a:pt x="84" y="9"/>
                </a:moveTo>
                <a:cubicBezTo>
                  <a:pt x="83" y="9"/>
                  <a:pt x="83" y="9"/>
                  <a:pt x="83" y="9"/>
                </a:cubicBezTo>
                <a:cubicBezTo>
                  <a:pt x="81" y="9"/>
                  <a:pt x="81" y="9"/>
                  <a:pt x="81" y="9"/>
                </a:cubicBezTo>
                <a:cubicBezTo>
                  <a:pt x="80" y="7"/>
                  <a:pt x="80" y="7"/>
                  <a:pt x="80" y="7"/>
                </a:cubicBezTo>
                <a:cubicBezTo>
                  <a:pt x="82" y="8"/>
                  <a:pt x="82" y="8"/>
                  <a:pt x="82" y="8"/>
                </a:cubicBezTo>
                <a:cubicBezTo>
                  <a:pt x="83" y="7"/>
                  <a:pt x="83" y="7"/>
                  <a:pt x="83" y="7"/>
                </a:cubicBezTo>
                <a:cubicBezTo>
                  <a:pt x="83" y="8"/>
                  <a:pt x="83" y="8"/>
                  <a:pt x="83" y="8"/>
                </a:cubicBezTo>
                <a:cubicBezTo>
                  <a:pt x="84" y="6"/>
                  <a:pt x="84" y="6"/>
                  <a:pt x="84" y="6"/>
                </a:cubicBezTo>
                <a:cubicBezTo>
                  <a:pt x="85" y="7"/>
                  <a:pt x="85" y="7"/>
                  <a:pt x="85" y="7"/>
                </a:cubicBezTo>
                <a:cubicBezTo>
                  <a:pt x="87" y="5"/>
                  <a:pt x="87" y="5"/>
                  <a:pt x="87" y="5"/>
                </a:cubicBezTo>
                <a:cubicBezTo>
                  <a:pt x="87" y="6"/>
                  <a:pt x="87" y="6"/>
                  <a:pt x="87" y="6"/>
                </a:cubicBezTo>
                <a:cubicBezTo>
                  <a:pt x="84" y="9"/>
                  <a:pt x="84" y="9"/>
                  <a:pt x="84" y="9"/>
                </a:cubicBezTo>
                <a:close/>
                <a:moveTo>
                  <a:pt x="88" y="6"/>
                </a:moveTo>
                <a:cubicBezTo>
                  <a:pt x="88" y="6"/>
                  <a:pt x="89" y="6"/>
                  <a:pt x="89" y="6"/>
                </a:cubicBezTo>
                <a:cubicBezTo>
                  <a:pt x="91" y="7"/>
                  <a:pt x="91" y="7"/>
                  <a:pt x="91" y="7"/>
                </a:cubicBezTo>
                <a:cubicBezTo>
                  <a:pt x="90" y="8"/>
                  <a:pt x="90" y="8"/>
                  <a:pt x="90" y="8"/>
                </a:cubicBezTo>
                <a:cubicBezTo>
                  <a:pt x="89" y="9"/>
                  <a:pt x="89" y="9"/>
                  <a:pt x="89" y="9"/>
                </a:cubicBezTo>
                <a:cubicBezTo>
                  <a:pt x="89" y="7"/>
                  <a:pt x="89" y="7"/>
                  <a:pt x="89" y="7"/>
                </a:cubicBezTo>
                <a:cubicBezTo>
                  <a:pt x="88" y="6"/>
                  <a:pt x="88" y="6"/>
                  <a:pt x="88" y="6"/>
                </a:cubicBezTo>
                <a:close/>
                <a:moveTo>
                  <a:pt x="91" y="3"/>
                </a:moveTo>
                <a:cubicBezTo>
                  <a:pt x="91" y="4"/>
                  <a:pt x="91" y="4"/>
                  <a:pt x="91" y="4"/>
                </a:cubicBezTo>
                <a:cubicBezTo>
                  <a:pt x="90" y="4"/>
                  <a:pt x="90" y="4"/>
                  <a:pt x="90" y="4"/>
                </a:cubicBezTo>
                <a:cubicBezTo>
                  <a:pt x="89" y="3"/>
                  <a:pt x="89" y="3"/>
                  <a:pt x="89" y="3"/>
                </a:cubicBezTo>
                <a:cubicBezTo>
                  <a:pt x="90" y="3"/>
                  <a:pt x="90" y="3"/>
                  <a:pt x="90" y="3"/>
                </a:cubicBezTo>
                <a:cubicBezTo>
                  <a:pt x="91" y="3"/>
                  <a:pt x="91" y="3"/>
                  <a:pt x="91" y="3"/>
                </a:cubicBezTo>
                <a:close/>
                <a:moveTo>
                  <a:pt x="94" y="2"/>
                </a:moveTo>
                <a:cubicBezTo>
                  <a:pt x="93" y="1"/>
                  <a:pt x="93" y="1"/>
                  <a:pt x="93" y="1"/>
                </a:cubicBezTo>
                <a:cubicBezTo>
                  <a:pt x="93" y="1"/>
                  <a:pt x="93" y="1"/>
                  <a:pt x="93" y="1"/>
                </a:cubicBezTo>
                <a:cubicBezTo>
                  <a:pt x="94" y="1"/>
                  <a:pt x="94" y="1"/>
                  <a:pt x="94" y="1"/>
                </a:cubicBezTo>
                <a:cubicBezTo>
                  <a:pt x="94" y="2"/>
                  <a:pt x="94" y="2"/>
                  <a:pt x="94" y="2"/>
                </a:cubicBezTo>
                <a:close/>
                <a:moveTo>
                  <a:pt x="96" y="2"/>
                </a:moveTo>
                <a:cubicBezTo>
                  <a:pt x="96" y="2"/>
                  <a:pt x="96" y="2"/>
                  <a:pt x="96" y="2"/>
                </a:cubicBezTo>
                <a:cubicBezTo>
                  <a:pt x="96" y="1"/>
                  <a:pt x="96" y="1"/>
                  <a:pt x="96" y="1"/>
                </a:cubicBezTo>
                <a:cubicBezTo>
                  <a:pt x="97" y="1"/>
                  <a:pt x="97" y="1"/>
                  <a:pt x="97" y="1"/>
                </a:cubicBezTo>
                <a:cubicBezTo>
                  <a:pt x="97" y="1"/>
                  <a:pt x="97" y="1"/>
                  <a:pt x="97" y="1"/>
                </a:cubicBezTo>
                <a:cubicBezTo>
                  <a:pt x="98" y="0"/>
                  <a:pt x="98" y="0"/>
                  <a:pt x="98" y="0"/>
                </a:cubicBezTo>
                <a:cubicBezTo>
                  <a:pt x="98" y="0"/>
                  <a:pt x="98" y="0"/>
                  <a:pt x="98" y="0"/>
                </a:cubicBezTo>
                <a:cubicBezTo>
                  <a:pt x="99" y="1"/>
                  <a:pt x="99" y="1"/>
                  <a:pt x="99" y="1"/>
                </a:cubicBezTo>
                <a:cubicBezTo>
                  <a:pt x="99" y="2"/>
                  <a:pt x="99" y="2"/>
                  <a:pt x="99" y="2"/>
                </a:cubicBezTo>
                <a:cubicBezTo>
                  <a:pt x="100" y="2"/>
                  <a:pt x="100" y="2"/>
                  <a:pt x="100" y="2"/>
                </a:cubicBezTo>
                <a:cubicBezTo>
                  <a:pt x="99" y="3"/>
                  <a:pt x="99" y="3"/>
                  <a:pt x="99" y="3"/>
                </a:cubicBezTo>
                <a:cubicBezTo>
                  <a:pt x="98" y="3"/>
                  <a:pt x="98" y="3"/>
                  <a:pt x="98" y="3"/>
                </a:cubicBezTo>
                <a:cubicBezTo>
                  <a:pt x="97" y="2"/>
                  <a:pt x="97" y="2"/>
                  <a:pt x="97" y="2"/>
                </a:cubicBezTo>
                <a:lnTo>
                  <a:pt x="96" y="2"/>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6" name="Freeform 44">
            <a:extLst>
              <a:ext uri="{FF2B5EF4-FFF2-40B4-BE49-F238E27FC236}">
                <a16:creationId xmlns:a16="http://schemas.microsoft.com/office/drawing/2014/main" id="{89FD7F2F-CD13-1839-AFAF-B688873840D2}"/>
              </a:ext>
            </a:extLst>
          </p:cNvPr>
          <p:cNvSpPr>
            <a:spLocks noEditPoints="1"/>
          </p:cNvSpPr>
          <p:nvPr userDrawn="1"/>
        </p:nvSpPr>
        <p:spPr bwMode="auto">
          <a:xfrm>
            <a:off x="13743678" y="4091856"/>
            <a:ext cx="615910" cy="1400176"/>
          </a:xfrm>
          <a:custGeom>
            <a:avLst/>
            <a:gdLst>
              <a:gd name="T0" fmla="*/ 7 w 194"/>
              <a:gd name="T1" fmla="*/ 319 h 441"/>
              <a:gd name="T2" fmla="*/ 19 w 194"/>
              <a:gd name="T3" fmla="*/ 297 h 441"/>
              <a:gd name="T4" fmla="*/ 22 w 194"/>
              <a:gd name="T5" fmla="*/ 260 h 441"/>
              <a:gd name="T6" fmla="*/ 10 w 194"/>
              <a:gd name="T7" fmla="*/ 216 h 441"/>
              <a:gd name="T8" fmla="*/ 28 w 194"/>
              <a:gd name="T9" fmla="*/ 179 h 441"/>
              <a:gd name="T10" fmla="*/ 38 w 194"/>
              <a:gd name="T11" fmla="*/ 125 h 441"/>
              <a:gd name="T12" fmla="*/ 53 w 194"/>
              <a:gd name="T13" fmla="*/ 97 h 441"/>
              <a:gd name="T14" fmla="*/ 63 w 194"/>
              <a:gd name="T15" fmla="*/ 57 h 441"/>
              <a:gd name="T16" fmla="*/ 85 w 194"/>
              <a:gd name="T17" fmla="*/ 38 h 441"/>
              <a:gd name="T18" fmla="*/ 91 w 194"/>
              <a:gd name="T19" fmla="*/ 25 h 441"/>
              <a:gd name="T20" fmla="*/ 116 w 194"/>
              <a:gd name="T21" fmla="*/ 22 h 441"/>
              <a:gd name="T22" fmla="*/ 122 w 194"/>
              <a:gd name="T23" fmla="*/ 10 h 441"/>
              <a:gd name="T24" fmla="*/ 132 w 194"/>
              <a:gd name="T25" fmla="*/ 3 h 441"/>
              <a:gd name="T26" fmla="*/ 166 w 194"/>
              <a:gd name="T27" fmla="*/ 25 h 441"/>
              <a:gd name="T28" fmla="*/ 178 w 194"/>
              <a:gd name="T29" fmla="*/ 41 h 441"/>
              <a:gd name="T30" fmla="*/ 182 w 194"/>
              <a:gd name="T31" fmla="*/ 66 h 441"/>
              <a:gd name="T32" fmla="*/ 188 w 194"/>
              <a:gd name="T33" fmla="*/ 100 h 441"/>
              <a:gd name="T34" fmla="*/ 188 w 194"/>
              <a:gd name="T35" fmla="*/ 116 h 441"/>
              <a:gd name="T36" fmla="*/ 169 w 194"/>
              <a:gd name="T37" fmla="*/ 116 h 441"/>
              <a:gd name="T38" fmla="*/ 157 w 194"/>
              <a:gd name="T39" fmla="*/ 119 h 441"/>
              <a:gd name="T40" fmla="*/ 157 w 194"/>
              <a:gd name="T41" fmla="*/ 135 h 441"/>
              <a:gd name="T42" fmla="*/ 157 w 194"/>
              <a:gd name="T43" fmla="*/ 138 h 441"/>
              <a:gd name="T44" fmla="*/ 157 w 194"/>
              <a:gd name="T45" fmla="*/ 157 h 441"/>
              <a:gd name="T46" fmla="*/ 150 w 194"/>
              <a:gd name="T47" fmla="*/ 175 h 441"/>
              <a:gd name="T48" fmla="*/ 135 w 194"/>
              <a:gd name="T49" fmla="*/ 194 h 441"/>
              <a:gd name="T50" fmla="*/ 122 w 194"/>
              <a:gd name="T51" fmla="*/ 207 h 441"/>
              <a:gd name="T52" fmla="*/ 110 w 194"/>
              <a:gd name="T53" fmla="*/ 210 h 441"/>
              <a:gd name="T54" fmla="*/ 100 w 194"/>
              <a:gd name="T55" fmla="*/ 229 h 441"/>
              <a:gd name="T56" fmla="*/ 97 w 194"/>
              <a:gd name="T57" fmla="*/ 250 h 441"/>
              <a:gd name="T58" fmla="*/ 97 w 194"/>
              <a:gd name="T59" fmla="*/ 266 h 441"/>
              <a:gd name="T60" fmla="*/ 100 w 194"/>
              <a:gd name="T61" fmla="*/ 285 h 441"/>
              <a:gd name="T62" fmla="*/ 119 w 194"/>
              <a:gd name="T63" fmla="*/ 297 h 441"/>
              <a:gd name="T64" fmla="*/ 119 w 194"/>
              <a:gd name="T65" fmla="*/ 326 h 441"/>
              <a:gd name="T66" fmla="*/ 100 w 194"/>
              <a:gd name="T67" fmla="*/ 319 h 441"/>
              <a:gd name="T68" fmla="*/ 85 w 194"/>
              <a:gd name="T69" fmla="*/ 322 h 441"/>
              <a:gd name="T70" fmla="*/ 97 w 194"/>
              <a:gd name="T71" fmla="*/ 326 h 441"/>
              <a:gd name="T72" fmla="*/ 119 w 194"/>
              <a:gd name="T73" fmla="*/ 332 h 441"/>
              <a:gd name="T74" fmla="*/ 110 w 194"/>
              <a:gd name="T75" fmla="*/ 335 h 441"/>
              <a:gd name="T76" fmla="*/ 97 w 194"/>
              <a:gd name="T77" fmla="*/ 347 h 441"/>
              <a:gd name="T78" fmla="*/ 91 w 194"/>
              <a:gd name="T79" fmla="*/ 357 h 441"/>
              <a:gd name="T80" fmla="*/ 94 w 194"/>
              <a:gd name="T81" fmla="*/ 372 h 441"/>
              <a:gd name="T82" fmla="*/ 94 w 194"/>
              <a:gd name="T83" fmla="*/ 397 h 441"/>
              <a:gd name="T84" fmla="*/ 78 w 194"/>
              <a:gd name="T85" fmla="*/ 419 h 441"/>
              <a:gd name="T86" fmla="*/ 57 w 194"/>
              <a:gd name="T87" fmla="*/ 435 h 441"/>
              <a:gd name="T88" fmla="*/ 35 w 194"/>
              <a:gd name="T89" fmla="*/ 438 h 441"/>
              <a:gd name="T90" fmla="*/ 35 w 194"/>
              <a:gd name="T91" fmla="*/ 413 h 441"/>
              <a:gd name="T92" fmla="*/ 16 w 194"/>
              <a:gd name="T93" fmla="*/ 388 h 441"/>
              <a:gd name="T94" fmla="*/ 10 w 194"/>
              <a:gd name="T95" fmla="*/ 369 h 441"/>
              <a:gd name="T96" fmla="*/ 7 w 194"/>
              <a:gd name="T97" fmla="*/ 360 h 441"/>
              <a:gd name="T98" fmla="*/ 0 w 194"/>
              <a:gd name="T99" fmla="*/ 347 h 441"/>
              <a:gd name="T100" fmla="*/ 122 w 194"/>
              <a:gd name="T101" fmla="*/ 332 h 441"/>
              <a:gd name="T102" fmla="*/ 7 w 194"/>
              <a:gd name="T103" fmla="*/ 366 h 441"/>
              <a:gd name="T104" fmla="*/ 138 w 194"/>
              <a:gd name="T105" fmla="*/ 357 h 441"/>
              <a:gd name="T106" fmla="*/ 141 w 194"/>
              <a:gd name="T107" fmla="*/ 372 h 441"/>
              <a:gd name="T108" fmla="*/ 128 w 194"/>
              <a:gd name="T109" fmla="*/ 401 h 441"/>
              <a:gd name="T110" fmla="*/ 135 w 194"/>
              <a:gd name="T111" fmla="*/ 385 h 441"/>
              <a:gd name="T112" fmla="*/ 128 w 194"/>
              <a:gd name="T113" fmla="*/ 376 h 441"/>
              <a:gd name="T114" fmla="*/ 125 w 194"/>
              <a:gd name="T115" fmla="*/ 394 h 441"/>
              <a:gd name="T116" fmla="*/ 94 w 194"/>
              <a:gd name="T117" fmla="*/ 419 h 441"/>
              <a:gd name="T118" fmla="*/ 100 w 194"/>
              <a:gd name="T119" fmla="*/ 39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4" h="441">
                <a:moveTo>
                  <a:pt x="3" y="338"/>
                </a:moveTo>
                <a:lnTo>
                  <a:pt x="7" y="341"/>
                </a:lnTo>
                <a:lnTo>
                  <a:pt x="7" y="344"/>
                </a:lnTo>
                <a:lnTo>
                  <a:pt x="10" y="341"/>
                </a:lnTo>
                <a:lnTo>
                  <a:pt x="10" y="329"/>
                </a:lnTo>
                <a:lnTo>
                  <a:pt x="7" y="322"/>
                </a:lnTo>
                <a:lnTo>
                  <a:pt x="7" y="319"/>
                </a:lnTo>
                <a:lnTo>
                  <a:pt x="10" y="316"/>
                </a:lnTo>
                <a:lnTo>
                  <a:pt x="10" y="313"/>
                </a:lnTo>
                <a:lnTo>
                  <a:pt x="10" y="310"/>
                </a:lnTo>
                <a:lnTo>
                  <a:pt x="16" y="310"/>
                </a:lnTo>
                <a:lnTo>
                  <a:pt x="16" y="307"/>
                </a:lnTo>
                <a:lnTo>
                  <a:pt x="16" y="304"/>
                </a:lnTo>
                <a:lnTo>
                  <a:pt x="19" y="297"/>
                </a:lnTo>
                <a:lnTo>
                  <a:pt x="16" y="294"/>
                </a:lnTo>
                <a:lnTo>
                  <a:pt x="16" y="285"/>
                </a:lnTo>
                <a:lnTo>
                  <a:pt x="13" y="279"/>
                </a:lnTo>
                <a:lnTo>
                  <a:pt x="13" y="275"/>
                </a:lnTo>
                <a:lnTo>
                  <a:pt x="22" y="272"/>
                </a:lnTo>
                <a:lnTo>
                  <a:pt x="22" y="266"/>
                </a:lnTo>
                <a:lnTo>
                  <a:pt x="22" y="260"/>
                </a:lnTo>
                <a:lnTo>
                  <a:pt x="16" y="254"/>
                </a:lnTo>
                <a:lnTo>
                  <a:pt x="10" y="250"/>
                </a:lnTo>
                <a:lnTo>
                  <a:pt x="10" y="244"/>
                </a:lnTo>
                <a:lnTo>
                  <a:pt x="13" y="235"/>
                </a:lnTo>
                <a:lnTo>
                  <a:pt x="10" y="229"/>
                </a:lnTo>
                <a:lnTo>
                  <a:pt x="10" y="222"/>
                </a:lnTo>
                <a:lnTo>
                  <a:pt x="10" y="216"/>
                </a:lnTo>
                <a:lnTo>
                  <a:pt x="10" y="207"/>
                </a:lnTo>
                <a:lnTo>
                  <a:pt x="7" y="197"/>
                </a:lnTo>
                <a:lnTo>
                  <a:pt x="10" y="188"/>
                </a:lnTo>
                <a:lnTo>
                  <a:pt x="13" y="179"/>
                </a:lnTo>
                <a:lnTo>
                  <a:pt x="16" y="175"/>
                </a:lnTo>
                <a:lnTo>
                  <a:pt x="22" y="179"/>
                </a:lnTo>
                <a:lnTo>
                  <a:pt x="28" y="179"/>
                </a:lnTo>
                <a:lnTo>
                  <a:pt x="32" y="172"/>
                </a:lnTo>
                <a:lnTo>
                  <a:pt x="32" y="166"/>
                </a:lnTo>
                <a:lnTo>
                  <a:pt x="32" y="163"/>
                </a:lnTo>
                <a:lnTo>
                  <a:pt x="32" y="160"/>
                </a:lnTo>
                <a:lnTo>
                  <a:pt x="38" y="141"/>
                </a:lnTo>
                <a:lnTo>
                  <a:pt x="38" y="132"/>
                </a:lnTo>
                <a:lnTo>
                  <a:pt x="38" y="125"/>
                </a:lnTo>
                <a:lnTo>
                  <a:pt x="41" y="119"/>
                </a:lnTo>
                <a:lnTo>
                  <a:pt x="41" y="113"/>
                </a:lnTo>
                <a:lnTo>
                  <a:pt x="38" y="110"/>
                </a:lnTo>
                <a:lnTo>
                  <a:pt x="38" y="107"/>
                </a:lnTo>
                <a:lnTo>
                  <a:pt x="44" y="103"/>
                </a:lnTo>
                <a:lnTo>
                  <a:pt x="50" y="100"/>
                </a:lnTo>
                <a:lnTo>
                  <a:pt x="53" y="97"/>
                </a:lnTo>
                <a:lnTo>
                  <a:pt x="53" y="94"/>
                </a:lnTo>
                <a:lnTo>
                  <a:pt x="60" y="85"/>
                </a:lnTo>
                <a:lnTo>
                  <a:pt x="66" y="78"/>
                </a:lnTo>
                <a:lnTo>
                  <a:pt x="66" y="72"/>
                </a:lnTo>
                <a:lnTo>
                  <a:pt x="66" y="66"/>
                </a:lnTo>
                <a:lnTo>
                  <a:pt x="63" y="66"/>
                </a:lnTo>
                <a:lnTo>
                  <a:pt x="63" y="57"/>
                </a:lnTo>
                <a:lnTo>
                  <a:pt x="66" y="53"/>
                </a:lnTo>
                <a:lnTo>
                  <a:pt x="69" y="50"/>
                </a:lnTo>
                <a:lnTo>
                  <a:pt x="69" y="47"/>
                </a:lnTo>
                <a:lnTo>
                  <a:pt x="72" y="44"/>
                </a:lnTo>
                <a:lnTo>
                  <a:pt x="75" y="38"/>
                </a:lnTo>
                <a:lnTo>
                  <a:pt x="78" y="35"/>
                </a:lnTo>
                <a:lnTo>
                  <a:pt x="85" y="38"/>
                </a:lnTo>
                <a:lnTo>
                  <a:pt x="85" y="41"/>
                </a:lnTo>
                <a:lnTo>
                  <a:pt x="88" y="38"/>
                </a:lnTo>
                <a:lnTo>
                  <a:pt x="91" y="38"/>
                </a:lnTo>
                <a:lnTo>
                  <a:pt x="88" y="31"/>
                </a:lnTo>
                <a:lnTo>
                  <a:pt x="91" y="31"/>
                </a:lnTo>
                <a:lnTo>
                  <a:pt x="91" y="28"/>
                </a:lnTo>
                <a:lnTo>
                  <a:pt x="91" y="25"/>
                </a:lnTo>
                <a:lnTo>
                  <a:pt x="88" y="22"/>
                </a:lnTo>
                <a:lnTo>
                  <a:pt x="91" y="19"/>
                </a:lnTo>
                <a:lnTo>
                  <a:pt x="97" y="19"/>
                </a:lnTo>
                <a:lnTo>
                  <a:pt x="100" y="16"/>
                </a:lnTo>
                <a:lnTo>
                  <a:pt x="107" y="19"/>
                </a:lnTo>
                <a:lnTo>
                  <a:pt x="110" y="22"/>
                </a:lnTo>
                <a:lnTo>
                  <a:pt x="116" y="22"/>
                </a:lnTo>
                <a:lnTo>
                  <a:pt x="119" y="25"/>
                </a:lnTo>
                <a:lnTo>
                  <a:pt x="119" y="22"/>
                </a:lnTo>
                <a:lnTo>
                  <a:pt x="122" y="25"/>
                </a:lnTo>
                <a:lnTo>
                  <a:pt x="122" y="19"/>
                </a:lnTo>
                <a:lnTo>
                  <a:pt x="119" y="16"/>
                </a:lnTo>
                <a:lnTo>
                  <a:pt x="119" y="10"/>
                </a:lnTo>
                <a:lnTo>
                  <a:pt x="122" y="10"/>
                </a:lnTo>
                <a:lnTo>
                  <a:pt x="122" y="6"/>
                </a:lnTo>
                <a:lnTo>
                  <a:pt x="119" y="3"/>
                </a:lnTo>
                <a:lnTo>
                  <a:pt x="119" y="0"/>
                </a:lnTo>
                <a:lnTo>
                  <a:pt x="122" y="0"/>
                </a:lnTo>
                <a:lnTo>
                  <a:pt x="128" y="0"/>
                </a:lnTo>
                <a:lnTo>
                  <a:pt x="128" y="0"/>
                </a:lnTo>
                <a:lnTo>
                  <a:pt x="132" y="3"/>
                </a:lnTo>
                <a:lnTo>
                  <a:pt x="138" y="6"/>
                </a:lnTo>
                <a:lnTo>
                  <a:pt x="144" y="13"/>
                </a:lnTo>
                <a:lnTo>
                  <a:pt x="150" y="16"/>
                </a:lnTo>
                <a:lnTo>
                  <a:pt x="157" y="19"/>
                </a:lnTo>
                <a:lnTo>
                  <a:pt x="160" y="19"/>
                </a:lnTo>
                <a:lnTo>
                  <a:pt x="163" y="19"/>
                </a:lnTo>
                <a:lnTo>
                  <a:pt x="166" y="25"/>
                </a:lnTo>
                <a:lnTo>
                  <a:pt x="169" y="28"/>
                </a:lnTo>
                <a:lnTo>
                  <a:pt x="169" y="28"/>
                </a:lnTo>
                <a:lnTo>
                  <a:pt x="172" y="28"/>
                </a:lnTo>
                <a:lnTo>
                  <a:pt x="175" y="35"/>
                </a:lnTo>
                <a:lnTo>
                  <a:pt x="178" y="35"/>
                </a:lnTo>
                <a:lnTo>
                  <a:pt x="178" y="38"/>
                </a:lnTo>
                <a:lnTo>
                  <a:pt x="178" y="41"/>
                </a:lnTo>
                <a:lnTo>
                  <a:pt x="178" y="44"/>
                </a:lnTo>
                <a:lnTo>
                  <a:pt x="175" y="50"/>
                </a:lnTo>
                <a:lnTo>
                  <a:pt x="178" y="53"/>
                </a:lnTo>
                <a:lnTo>
                  <a:pt x="182" y="53"/>
                </a:lnTo>
                <a:lnTo>
                  <a:pt x="185" y="60"/>
                </a:lnTo>
                <a:lnTo>
                  <a:pt x="182" y="63"/>
                </a:lnTo>
                <a:lnTo>
                  <a:pt x="182" y="66"/>
                </a:lnTo>
                <a:lnTo>
                  <a:pt x="185" y="69"/>
                </a:lnTo>
                <a:lnTo>
                  <a:pt x="185" y="78"/>
                </a:lnTo>
                <a:lnTo>
                  <a:pt x="185" y="82"/>
                </a:lnTo>
                <a:lnTo>
                  <a:pt x="185" y="85"/>
                </a:lnTo>
                <a:lnTo>
                  <a:pt x="185" y="91"/>
                </a:lnTo>
                <a:lnTo>
                  <a:pt x="185" y="94"/>
                </a:lnTo>
                <a:lnTo>
                  <a:pt x="188" y="100"/>
                </a:lnTo>
                <a:lnTo>
                  <a:pt x="191" y="100"/>
                </a:lnTo>
                <a:lnTo>
                  <a:pt x="194" y="107"/>
                </a:lnTo>
                <a:lnTo>
                  <a:pt x="194" y="110"/>
                </a:lnTo>
                <a:lnTo>
                  <a:pt x="194" y="116"/>
                </a:lnTo>
                <a:lnTo>
                  <a:pt x="194" y="116"/>
                </a:lnTo>
                <a:lnTo>
                  <a:pt x="194" y="116"/>
                </a:lnTo>
                <a:lnTo>
                  <a:pt x="188" y="116"/>
                </a:lnTo>
                <a:lnTo>
                  <a:pt x="188" y="113"/>
                </a:lnTo>
                <a:lnTo>
                  <a:pt x="182" y="116"/>
                </a:lnTo>
                <a:lnTo>
                  <a:pt x="178" y="116"/>
                </a:lnTo>
                <a:lnTo>
                  <a:pt x="178" y="119"/>
                </a:lnTo>
                <a:lnTo>
                  <a:pt x="175" y="116"/>
                </a:lnTo>
                <a:lnTo>
                  <a:pt x="172" y="113"/>
                </a:lnTo>
                <a:lnTo>
                  <a:pt x="169" y="116"/>
                </a:lnTo>
                <a:lnTo>
                  <a:pt x="166" y="113"/>
                </a:lnTo>
                <a:lnTo>
                  <a:pt x="166" y="116"/>
                </a:lnTo>
                <a:lnTo>
                  <a:pt x="166" y="119"/>
                </a:lnTo>
                <a:lnTo>
                  <a:pt x="163" y="122"/>
                </a:lnTo>
                <a:lnTo>
                  <a:pt x="160" y="122"/>
                </a:lnTo>
                <a:lnTo>
                  <a:pt x="160" y="119"/>
                </a:lnTo>
                <a:lnTo>
                  <a:pt x="157" y="119"/>
                </a:lnTo>
                <a:lnTo>
                  <a:pt x="160" y="122"/>
                </a:lnTo>
                <a:lnTo>
                  <a:pt x="160" y="125"/>
                </a:lnTo>
                <a:lnTo>
                  <a:pt x="157" y="128"/>
                </a:lnTo>
                <a:lnTo>
                  <a:pt x="153" y="128"/>
                </a:lnTo>
                <a:lnTo>
                  <a:pt x="150" y="128"/>
                </a:lnTo>
                <a:lnTo>
                  <a:pt x="157" y="132"/>
                </a:lnTo>
                <a:lnTo>
                  <a:pt x="157" y="135"/>
                </a:lnTo>
                <a:lnTo>
                  <a:pt x="153" y="135"/>
                </a:lnTo>
                <a:lnTo>
                  <a:pt x="153" y="132"/>
                </a:lnTo>
                <a:lnTo>
                  <a:pt x="150" y="132"/>
                </a:lnTo>
                <a:lnTo>
                  <a:pt x="150" y="132"/>
                </a:lnTo>
                <a:lnTo>
                  <a:pt x="150" y="135"/>
                </a:lnTo>
                <a:lnTo>
                  <a:pt x="153" y="135"/>
                </a:lnTo>
                <a:lnTo>
                  <a:pt x="157" y="138"/>
                </a:lnTo>
                <a:lnTo>
                  <a:pt x="153" y="141"/>
                </a:lnTo>
                <a:lnTo>
                  <a:pt x="150" y="147"/>
                </a:lnTo>
                <a:lnTo>
                  <a:pt x="153" y="150"/>
                </a:lnTo>
                <a:lnTo>
                  <a:pt x="147" y="150"/>
                </a:lnTo>
                <a:lnTo>
                  <a:pt x="150" y="153"/>
                </a:lnTo>
                <a:lnTo>
                  <a:pt x="153" y="153"/>
                </a:lnTo>
                <a:lnTo>
                  <a:pt x="157" y="157"/>
                </a:lnTo>
                <a:lnTo>
                  <a:pt x="153" y="157"/>
                </a:lnTo>
                <a:lnTo>
                  <a:pt x="157" y="160"/>
                </a:lnTo>
                <a:lnTo>
                  <a:pt x="160" y="160"/>
                </a:lnTo>
                <a:lnTo>
                  <a:pt x="153" y="166"/>
                </a:lnTo>
                <a:lnTo>
                  <a:pt x="153" y="166"/>
                </a:lnTo>
                <a:lnTo>
                  <a:pt x="150" y="169"/>
                </a:lnTo>
                <a:lnTo>
                  <a:pt x="150" y="175"/>
                </a:lnTo>
                <a:lnTo>
                  <a:pt x="147" y="182"/>
                </a:lnTo>
                <a:lnTo>
                  <a:pt x="144" y="182"/>
                </a:lnTo>
                <a:lnTo>
                  <a:pt x="141" y="188"/>
                </a:lnTo>
                <a:lnTo>
                  <a:pt x="138" y="185"/>
                </a:lnTo>
                <a:lnTo>
                  <a:pt x="138" y="188"/>
                </a:lnTo>
                <a:lnTo>
                  <a:pt x="138" y="191"/>
                </a:lnTo>
                <a:lnTo>
                  <a:pt x="135" y="194"/>
                </a:lnTo>
                <a:lnTo>
                  <a:pt x="132" y="197"/>
                </a:lnTo>
                <a:lnTo>
                  <a:pt x="128" y="197"/>
                </a:lnTo>
                <a:lnTo>
                  <a:pt x="128" y="194"/>
                </a:lnTo>
                <a:lnTo>
                  <a:pt x="125" y="194"/>
                </a:lnTo>
                <a:lnTo>
                  <a:pt x="125" y="197"/>
                </a:lnTo>
                <a:lnTo>
                  <a:pt x="125" y="204"/>
                </a:lnTo>
                <a:lnTo>
                  <a:pt x="122" y="207"/>
                </a:lnTo>
                <a:lnTo>
                  <a:pt x="119" y="204"/>
                </a:lnTo>
                <a:lnTo>
                  <a:pt x="119" y="204"/>
                </a:lnTo>
                <a:lnTo>
                  <a:pt x="116" y="207"/>
                </a:lnTo>
                <a:lnTo>
                  <a:pt x="116" y="207"/>
                </a:lnTo>
                <a:lnTo>
                  <a:pt x="113" y="207"/>
                </a:lnTo>
                <a:lnTo>
                  <a:pt x="110" y="207"/>
                </a:lnTo>
                <a:lnTo>
                  <a:pt x="110" y="210"/>
                </a:lnTo>
                <a:lnTo>
                  <a:pt x="113" y="213"/>
                </a:lnTo>
                <a:lnTo>
                  <a:pt x="113" y="213"/>
                </a:lnTo>
                <a:lnTo>
                  <a:pt x="107" y="219"/>
                </a:lnTo>
                <a:lnTo>
                  <a:pt x="103" y="219"/>
                </a:lnTo>
                <a:lnTo>
                  <a:pt x="103" y="219"/>
                </a:lnTo>
                <a:lnTo>
                  <a:pt x="103" y="222"/>
                </a:lnTo>
                <a:lnTo>
                  <a:pt x="100" y="229"/>
                </a:lnTo>
                <a:lnTo>
                  <a:pt x="94" y="229"/>
                </a:lnTo>
                <a:lnTo>
                  <a:pt x="91" y="229"/>
                </a:lnTo>
                <a:lnTo>
                  <a:pt x="97" y="235"/>
                </a:lnTo>
                <a:lnTo>
                  <a:pt x="97" y="238"/>
                </a:lnTo>
                <a:lnTo>
                  <a:pt x="97" y="241"/>
                </a:lnTo>
                <a:lnTo>
                  <a:pt x="97" y="244"/>
                </a:lnTo>
                <a:lnTo>
                  <a:pt x="97" y="250"/>
                </a:lnTo>
                <a:lnTo>
                  <a:pt x="97" y="254"/>
                </a:lnTo>
                <a:lnTo>
                  <a:pt x="97" y="257"/>
                </a:lnTo>
                <a:lnTo>
                  <a:pt x="97" y="254"/>
                </a:lnTo>
                <a:lnTo>
                  <a:pt x="94" y="257"/>
                </a:lnTo>
                <a:lnTo>
                  <a:pt x="97" y="263"/>
                </a:lnTo>
                <a:lnTo>
                  <a:pt x="94" y="266"/>
                </a:lnTo>
                <a:lnTo>
                  <a:pt x="97" y="266"/>
                </a:lnTo>
                <a:lnTo>
                  <a:pt x="97" y="269"/>
                </a:lnTo>
                <a:lnTo>
                  <a:pt x="94" y="269"/>
                </a:lnTo>
                <a:lnTo>
                  <a:pt x="97" y="275"/>
                </a:lnTo>
                <a:lnTo>
                  <a:pt x="94" y="279"/>
                </a:lnTo>
                <a:lnTo>
                  <a:pt x="97" y="282"/>
                </a:lnTo>
                <a:lnTo>
                  <a:pt x="97" y="282"/>
                </a:lnTo>
                <a:lnTo>
                  <a:pt x="100" y="285"/>
                </a:lnTo>
                <a:lnTo>
                  <a:pt x="100" y="288"/>
                </a:lnTo>
                <a:lnTo>
                  <a:pt x="103" y="285"/>
                </a:lnTo>
                <a:lnTo>
                  <a:pt x="103" y="291"/>
                </a:lnTo>
                <a:lnTo>
                  <a:pt x="107" y="285"/>
                </a:lnTo>
                <a:lnTo>
                  <a:pt x="110" y="288"/>
                </a:lnTo>
                <a:lnTo>
                  <a:pt x="113" y="291"/>
                </a:lnTo>
                <a:lnTo>
                  <a:pt x="119" y="297"/>
                </a:lnTo>
                <a:lnTo>
                  <a:pt x="116" y="301"/>
                </a:lnTo>
                <a:lnTo>
                  <a:pt x="122" y="304"/>
                </a:lnTo>
                <a:lnTo>
                  <a:pt x="122" y="307"/>
                </a:lnTo>
                <a:lnTo>
                  <a:pt x="128" y="310"/>
                </a:lnTo>
                <a:lnTo>
                  <a:pt x="125" y="316"/>
                </a:lnTo>
                <a:lnTo>
                  <a:pt x="119" y="319"/>
                </a:lnTo>
                <a:lnTo>
                  <a:pt x="119" y="326"/>
                </a:lnTo>
                <a:lnTo>
                  <a:pt x="113" y="326"/>
                </a:lnTo>
                <a:lnTo>
                  <a:pt x="110" y="322"/>
                </a:lnTo>
                <a:lnTo>
                  <a:pt x="110" y="322"/>
                </a:lnTo>
                <a:lnTo>
                  <a:pt x="107" y="319"/>
                </a:lnTo>
                <a:lnTo>
                  <a:pt x="103" y="319"/>
                </a:lnTo>
                <a:lnTo>
                  <a:pt x="103" y="319"/>
                </a:lnTo>
                <a:lnTo>
                  <a:pt x="100" y="319"/>
                </a:lnTo>
                <a:lnTo>
                  <a:pt x="100" y="319"/>
                </a:lnTo>
                <a:lnTo>
                  <a:pt x="97" y="319"/>
                </a:lnTo>
                <a:lnTo>
                  <a:pt x="94" y="319"/>
                </a:lnTo>
                <a:lnTo>
                  <a:pt x="91" y="322"/>
                </a:lnTo>
                <a:lnTo>
                  <a:pt x="91" y="319"/>
                </a:lnTo>
                <a:lnTo>
                  <a:pt x="88" y="322"/>
                </a:lnTo>
                <a:lnTo>
                  <a:pt x="85" y="322"/>
                </a:lnTo>
                <a:lnTo>
                  <a:pt x="82" y="322"/>
                </a:lnTo>
                <a:lnTo>
                  <a:pt x="82" y="326"/>
                </a:lnTo>
                <a:lnTo>
                  <a:pt x="88" y="326"/>
                </a:lnTo>
                <a:lnTo>
                  <a:pt x="88" y="326"/>
                </a:lnTo>
                <a:lnTo>
                  <a:pt x="88" y="326"/>
                </a:lnTo>
                <a:lnTo>
                  <a:pt x="94" y="326"/>
                </a:lnTo>
                <a:lnTo>
                  <a:pt x="97" y="326"/>
                </a:lnTo>
                <a:lnTo>
                  <a:pt x="100" y="326"/>
                </a:lnTo>
                <a:lnTo>
                  <a:pt x="103" y="329"/>
                </a:lnTo>
                <a:lnTo>
                  <a:pt x="107" y="329"/>
                </a:lnTo>
                <a:lnTo>
                  <a:pt x="110" y="329"/>
                </a:lnTo>
                <a:lnTo>
                  <a:pt x="113" y="326"/>
                </a:lnTo>
                <a:lnTo>
                  <a:pt x="116" y="329"/>
                </a:lnTo>
                <a:lnTo>
                  <a:pt x="119" y="332"/>
                </a:lnTo>
                <a:lnTo>
                  <a:pt x="119" y="335"/>
                </a:lnTo>
                <a:lnTo>
                  <a:pt x="116" y="335"/>
                </a:lnTo>
                <a:lnTo>
                  <a:pt x="116" y="335"/>
                </a:lnTo>
                <a:lnTo>
                  <a:pt x="110" y="341"/>
                </a:lnTo>
                <a:lnTo>
                  <a:pt x="110" y="341"/>
                </a:lnTo>
                <a:lnTo>
                  <a:pt x="110" y="338"/>
                </a:lnTo>
                <a:lnTo>
                  <a:pt x="110" y="335"/>
                </a:lnTo>
                <a:lnTo>
                  <a:pt x="107" y="338"/>
                </a:lnTo>
                <a:lnTo>
                  <a:pt x="107" y="341"/>
                </a:lnTo>
                <a:lnTo>
                  <a:pt x="103" y="341"/>
                </a:lnTo>
                <a:lnTo>
                  <a:pt x="103" y="344"/>
                </a:lnTo>
                <a:lnTo>
                  <a:pt x="100" y="347"/>
                </a:lnTo>
                <a:lnTo>
                  <a:pt x="97" y="344"/>
                </a:lnTo>
                <a:lnTo>
                  <a:pt x="97" y="347"/>
                </a:lnTo>
                <a:lnTo>
                  <a:pt x="97" y="351"/>
                </a:lnTo>
                <a:lnTo>
                  <a:pt x="94" y="351"/>
                </a:lnTo>
                <a:lnTo>
                  <a:pt x="94" y="351"/>
                </a:lnTo>
                <a:lnTo>
                  <a:pt x="91" y="351"/>
                </a:lnTo>
                <a:lnTo>
                  <a:pt x="94" y="354"/>
                </a:lnTo>
                <a:lnTo>
                  <a:pt x="97" y="357"/>
                </a:lnTo>
                <a:lnTo>
                  <a:pt x="91" y="357"/>
                </a:lnTo>
                <a:lnTo>
                  <a:pt x="97" y="360"/>
                </a:lnTo>
                <a:lnTo>
                  <a:pt x="97" y="360"/>
                </a:lnTo>
                <a:lnTo>
                  <a:pt x="94" y="366"/>
                </a:lnTo>
                <a:lnTo>
                  <a:pt x="100" y="369"/>
                </a:lnTo>
                <a:lnTo>
                  <a:pt x="94" y="369"/>
                </a:lnTo>
                <a:lnTo>
                  <a:pt x="91" y="369"/>
                </a:lnTo>
                <a:lnTo>
                  <a:pt x="94" y="372"/>
                </a:lnTo>
                <a:lnTo>
                  <a:pt x="91" y="376"/>
                </a:lnTo>
                <a:lnTo>
                  <a:pt x="94" y="379"/>
                </a:lnTo>
                <a:lnTo>
                  <a:pt x="91" y="382"/>
                </a:lnTo>
                <a:lnTo>
                  <a:pt x="94" y="385"/>
                </a:lnTo>
                <a:lnTo>
                  <a:pt x="91" y="388"/>
                </a:lnTo>
                <a:lnTo>
                  <a:pt x="91" y="394"/>
                </a:lnTo>
                <a:lnTo>
                  <a:pt x="94" y="397"/>
                </a:lnTo>
                <a:lnTo>
                  <a:pt x="94" y="401"/>
                </a:lnTo>
                <a:lnTo>
                  <a:pt x="91" y="410"/>
                </a:lnTo>
                <a:lnTo>
                  <a:pt x="88" y="413"/>
                </a:lnTo>
                <a:lnTo>
                  <a:pt x="88" y="419"/>
                </a:lnTo>
                <a:lnTo>
                  <a:pt x="85" y="426"/>
                </a:lnTo>
                <a:lnTo>
                  <a:pt x="82" y="423"/>
                </a:lnTo>
                <a:lnTo>
                  <a:pt x="78" y="419"/>
                </a:lnTo>
                <a:lnTo>
                  <a:pt x="72" y="423"/>
                </a:lnTo>
                <a:lnTo>
                  <a:pt x="66" y="423"/>
                </a:lnTo>
                <a:lnTo>
                  <a:pt x="66" y="419"/>
                </a:lnTo>
                <a:lnTo>
                  <a:pt x="63" y="426"/>
                </a:lnTo>
                <a:lnTo>
                  <a:pt x="57" y="426"/>
                </a:lnTo>
                <a:lnTo>
                  <a:pt x="57" y="432"/>
                </a:lnTo>
                <a:lnTo>
                  <a:pt x="57" y="435"/>
                </a:lnTo>
                <a:lnTo>
                  <a:pt x="57" y="438"/>
                </a:lnTo>
                <a:lnTo>
                  <a:pt x="53" y="441"/>
                </a:lnTo>
                <a:lnTo>
                  <a:pt x="50" y="438"/>
                </a:lnTo>
                <a:lnTo>
                  <a:pt x="38" y="441"/>
                </a:lnTo>
                <a:lnTo>
                  <a:pt x="35" y="441"/>
                </a:lnTo>
                <a:lnTo>
                  <a:pt x="32" y="441"/>
                </a:lnTo>
                <a:lnTo>
                  <a:pt x="35" y="438"/>
                </a:lnTo>
                <a:lnTo>
                  <a:pt x="35" y="429"/>
                </a:lnTo>
                <a:lnTo>
                  <a:pt x="28" y="426"/>
                </a:lnTo>
                <a:lnTo>
                  <a:pt x="28" y="423"/>
                </a:lnTo>
                <a:lnTo>
                  <a:pt x="25" y="423"/>
                </a:lnTo>
                <a:lnTo>
                  <a:pt x="25" y="419"/>
                </a:lnTo>
                <a:lnTo>
                  <a:pt x="32" y="419"/>
                </a:lnTo>
                <a:lnTo>
                  <a:pt x="35" y="413"/>
                </a:lnTo>
                <a:lnTo>
                  <a:pt x="35" y="407"/>
                </a:lnTo>
                <a:lnTo>
                  <a:pt x="28" y="410"/>
                </a:lnTo>
                <a:lnTo>
                  <a:pt x="25" y="407"/>
                </a:lnTo>
                <a:lnTo>
                  <a:pt x="25" y="404"/>
                </a:lnTo>
                <a:lnTo>
                  <a:pt x="19" y="401"/>
                </a:lnTo>
                <a:lnTo>
                  <a:pt x="19" y="397"/>
                </a:lnTo>
                <a:lnTo>
                  <a:pt x="16" y="388"/>
                </a:lnTo>
                <a:lnTo>
                  <a:pt x="16" y="388"/>
                </a:lnTo>
                <a:lnTo>
                  <a:pt x="13" y="382"/>
                </a:lnTo>
                <a:lnTo>
                  <a:pt x="10" y="382"/>
                </a:lnTo>
                <a:lnTo>
                  <a:pt x="7" y="379"/>
                </a:lnTo>
                <a:lnTo>
                  <a:pt x="10" y="376"/>
                </a:lnTo>
                <a:lnTo>
                  <a:pt x="10" y="372"/>
                </a:lnTo>
                <a:lnTo>
                  <a:pt x="10" y="369"/>
                </a:lnTo>
                <a:lnTo>
                  <a:pt x="10" y="366"/>
                </a:lnTo>
                <a:lnTo>
                  <a:pt x="13" y="363"/>
                </a:lnTo>
                <a:lnTo>
                  <a:pt x="13" y="360"/>
                </a:lnTo>
                <a:lnTo>
                  <a:pt x="10" y="360"/>
                </a:lnTo>
                <a:lnTo>
                  <a:pt x="10" y="357"/>
                </a:lnTo>
                <a:lnTo>
                  <a:pt x="7" y="357"/>
                </a:lnTo>
                <a:lnTo>
                  <a:pt x="7" y="360"/>
                </a:lnTo>
                <a:lnTo>
                  <a:pt x="10" y="363"/>
                </a:lnTo>
                <a:lnTo>
                  <a:pt x="7" y="363"/>
                </a:lnTo>
                <a:lnTo>
                  <a:pt x="7" y="360"/>
                </a:lnTo>
                <a:lnTo>
                  <a:pt x="7" y="360"/>
                </a:lnTo>
                <a:lnTo>
                  <a:pt x="3" y="357"/>
                </a:lnTo>
                <a:lnTo>
                  <a:pt x="3" y="351"/>
                </a:lnTo>
                <a:lnTo>
                  <a:pt x="0" y="347"/>
                </a:lnTo>
                <a:lnTo>
                  <a:pt x="0" y="341"/>
                </a:lnTo>
                <a:lnTo>
                  <a:pt x="3" y="338"/>
                </a:lnTo>
                <a:lnTo>
                  <a:pt x="3" y="338"/>
                </a:lnTo>
                <a:lnTo>
                  <a:pt x="3" y="338"/>
                </a:lnTo>
                <a:close/>
                <a:moveTo>
                  <a:pt x="119" y="326"/>
                </a:moveTo>
                <a:lnTo>
                  <a:pt x="122" y="332"/>
                </a:lnTo>
                <a:lnTo>
                  <a:pt x="122" y="332"/>
                </a:lnTo>
                <a:lnTo>
                  <a:pt x="122" y="329"/>
                </a:lnTo>
                <a:lnTo>
                  <a:pt x="125" y="326"/>
                </a:lnTo>
                <a:lnTo>
                  <a:pt x="125" y="319"/>
                </a:lnTo>
                <a:lnTo>
                  <a:pt x="122" y="319"/>
                </a:lnTo>
                <a:lnTo>
                  <a:pt x="119" y="326"/>
                </a:lnTo>
                <a:lnTo>
                  <a:pt x="119" y="326"/>
                </a:lnTo>
                <a:close/>
                <a:moveTo>
                  <a:pt x="7" y="366"/>
                </a:moveTo>
                <a:lnTo>
                  <a:pt x="3" y="369"/>
                </a:lnTo>
                <a:lnTo>
                  <a:pt x="7" y="369"/>
                </a:lnTo>
                <a:lnTo>
                  <a:pt x="7" y="366"/>
                </a:lnTo>
                <a:lnTo>
                  <a:pt x="7" y="366"/>
                </a:lnTo>
                <a:lnTo>
                  <a:pt x="7" y="366"/>
                </a:lnTo>
                <a:close/>
                <a:moveTo>
                  <a:pt x="135" y="354"/>
                </a:moveTo>
                <a:lnTo>
                  <a:pt x="138" y="357"/>
                </a:lnTo>
                <a:lnTo>
                  <a:pt x="138" y="354"/>
                </a:lnTo>
                <a:lnTo>
                  <a:pt x="138" y="354"/>
                </a:lnTo>
                <a:lnTo>
                  <a:pt x="135" y="354"/>
                </a:lnTo>
                <a:lnTo>
                  <a:pt x="135" y="354"/>
                </a:lnTo>
                <a:close/>
                <a:moveTo>
                  <a:pt x="138" y="372"/>
                </a:moveTo>
                <a:lnTo>
                  <a:pt x="138" y="372"/>
                </a:lnTo>
                <a:lnTo>
                  <a:pt x="141" y="372"/>
                </a:lnTo>
                <a:lnTo>
                  <a:pt x="144" y="369"/>
                </a:lnTo>
                <a:lnTo>
                  <a:pt x="144" y="369"/>
                </a:lnTo>
                <a:lnTo>
                  <a:pt x="138" y="369"/>
                </a:lnTo>
                <a:lnTo>
                  <a:pt x="138" y="372"/>
                </a:lnTo>
                <a:lnTo>
                  <a:pt x="138" y="372"/>
                </a:lnTo>
                <a:close/>
                <a:moveTo>
                  <a:pt x="122" y="401"/>
                </a:moveTo>
                <a:lnTo>
                  <a:pt x="128" y="401"/>
                </a:lnTo>
                <a:lnTo>
                  <a:pt x="128" y="397"/>
                </a:lnTo>
                <a:lnTo>
                  <a:pt x="128" y="397"/>
                </a:lnTo>
                <a:lnTo>
                  <a:pt x="128" y="394"/>
                </a:lnTo>
                <a:lnTo>
                  <a:pt x="132" y="391"/>
                </a:lnTo>
                <a:lnTo>
                  <a:pt x="135" y="388"/>
                </a:lnTo>
                <a:lnTo>
                  <a:pt x="135" y="385"/>
                </a:lnTo>
                <a:lnTo>
                  <a:pt x="135" y="385"/>
                </a:lnTo>
                <a:lnTo>
                  <a:pt x="132" y="382"/>
                </a:lnTo>
                <a:lnTo>
                  <a:pt x="135" y="379"/>
                </a:lnTo>
                <a:lnTo>
                  <a:pt x="135" y="376"/>
                </a:lnTo>
                <a:lnTo>
                  <a:pt x="138" y="376"/>
                </a:lnTo>
                <a:lnTo>
                  <a:pt x="135" y="372"/>
                </a:lnTo>
                <a:lnTo>
                  <a:pt x="132" y="376"/>
                </a:lnTo>
                <a:lnTo>
                  <a:pt x="128" y="376"/>
                </a:lnTo>
                <a:lnTo>
                  <a:pt x="125" y="379"/>
                </a:lnTo>
                <a:lnTo>
                  <a:pt x="122" y="382"/>
                </a:lnTo>
                <a:lnTo>
                  <a:pt x="122" y="385"/>
                </a:lnTo>
                <a:lnTo>
                  <a:pt x="122" y="388"/>
                </a:lnTo>
                <a:lnTo>
                  <a:pt x="119" y="388"/>
                </a:lnTo>
                <a:lnTo>
                  <a:pt x="125" y="394"/>
                </a:lnTo>
                <a:lnTo>
                  <a:pt x="125" y="394"/>
                </a:lnTo>
                <a:lnTo>
                  <a:pt x="125" y="397"/>
                </a:lnTo>
                <a:lnTo>
                  <a:pt x="122" y="401"/>
                </a:lnTo>
                <a:lnTo>
                  <a:pt x="122" y="401"/>
                </a:lnTo>
                <a:lnTo>
                  <a:pt x="122" y="401"/>
                </a:lnTo>
                <a:close/>
                <a:moveTo>
                  <a:pt x="94" y="413"/>
                </a:moveTo>
                <a:lnTo>
                  <a:pt x="94" y="416"/>
                </a:lnTo>
                <a:lnTo>
                  <a:pt x="94" y="419"/>
                </a:lnTo>
                <a:lnTo>
                  <a:pt x="97" y="423"/>
                </a:lnTo>
                <a:lnTo>
                  <a:pt x="97" y="419"/>
                </a:lnTo>
                <a:lnTo>
                  <a:pt x="100" y="413"/>
                </a:lnTo>
                <a:lnTo>
                  <a:pt x="100" y="404"/>
                </a:lnTo>
                <a:lnTo>
                  <a:pt x="103" y="397"/>
                </a:lnTo>
                <a:lnTo>
                  <a:pt x="103" y="394"/>
                </a:lnTo>
                <a:lnTo>
                  <a:pt x="100" y="391"/>
                </a:lnTo>
                <a:lnTo>
                  <a:pt x="97" y="394"/>
                </a:lnTo>
                <a:lnTo>
                  <a:pt x="100" y="397"/>
                </a:lnTo>
                <a:lnTo>
                  <a:pt x="97" y="401"/>
                </a:lnTo>
                <a:lnTo>
                  <a:pt x="94" y="404"/>
                </a:lnTo>
                <a:lnTo>
                  <a:pt x="94" y="413"/>
                </a:lnTo>
                <a:close/>
              </a:path>
            </a:pathLst>
          </a:custGeom>
          <a:solidFill>
            <a:schemeClr val="bg2"/>
          </a:solidFill>
          <a:ln>
            <a:solidFill>
              <a:schemeClr val="bg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7" name="Freeform 45">
            <a:extLst>
              <a:ext uri="{FF2B5EF4-FFF2-40B4-BE49-F238E27FC236}">
                <a16:creationId xmlns:a16="http://schemas.microsoft.com/office/drawing/2014/main" id="{3AD9F6E7-A387-2424-A86E-B39DF1D1198A}"/>
              </a:ext>
            </a:extLst>
          </p:cNvPr>
          <p:cNvSpPr>
            <a:spLocks noEditPoints="1"/>
          </p:cNvSpPr>
          <p:nvPr userDrawn="1"/>
        </p:nvSpPr>
        <p:spPr bwMode="auto">
          <a:xfrm>
            <a:off x="14150052" y="3952161"/>
            <a:ext cx="625437" cy="1123950"/>
          </a:xfrm>
          <a:custGeom>
            <a:avLst/>
            <a:gdLst>
              <a:gd name="T0" fmla="*/ 57 w 63"/>
              <a:gd name="T1" fmla="*/ 93 h 113"/>
              <a:gd name="T2" fmla="*/ 58 w 63"/>
              <a:gd name="T3" fmla="*/ 76 h 113"/>
              <a:gd name="T4" fmla="*/ 54 w 63"/>
              <a:gd name="T5" fmla="*/ 64 h 113"/>
              <a:gd name="T6" fmla="*/ 52 w 63"/>
              <a:gd name="T7" fmla="*/ 56 h 113"/>
              <a:gd name="T8" fmla="*/ 50 w 63"/>
              <a:gd name="T9" fmla="*/ 43 h 113"/>
              <a:gd name="T10" fmla="*/ 48 w 63"/>
              <a:gd name="T11" fmla="*/ 28 h 113"/>
              <a:gd name="T12" fmla="*/ 41 w 63"/>
              <a:gd name="T13" fmla="*/ 22 h 113"/>
              <a:gd name="T14" fmla="*/ 40 w 63"/>
              <a:gd name="T15" fmla="*/ 13 h 113"/>
              <a:gd name="T16" fmla="*/ 41 w 63"/>
              <a:gd name="T17" fmla="*/ 4 h 113"/>
              <a:gd name="T18" fmla="*/ 31 w 63"/>
              <a:gd name="T19" fmla="*/ 0 h 113"/>
              <a:gd name="T20" fmla="*/ 26 w 63"/>
              <a:gd name="T21" fmla="*/ 3 h 113"/>
              <a:gd name="T22" fmla="*/ 25 w 63"/>
              <a:gd name="T23" fmla="*/ 12 h 113"/>
              <a:gd name="T24" fmla="*/ 21 w 63"/>
              <a:gd name="T25" fmla="*/ 16 h 113"/>
              <a:gd name="T26" fmla="*/ 13 w 63"/>
              <a:gd name="T27" fmla="*/ 18 h 113"/>
              <a:gd name="T28" fmla="*/ 3 w 63"/>
              <a:gd name="T29" fmla="*/ 11 h 113"/>
              <a:gd name="T30" fmla="*/ 0 w 63"/>
              <a:gd name="T31" fmla="*/ 13 h 113"/>
              <a:gd name="T32" fmla="*/ 9 w 63"/>
              <a:gd name="T33" fmla="*/ 20 h 113"/>
              <a:gd name="T34" fmla="*/ 14 w 63"/>
              <a:gd name="T35" fmla="*/ 23 h 113"/>
              <a:gd name="T36" fmla="*/ 15 w 63"/>
              <a:gd name="T37" fmla="*/ 30 h 113"/>
              <a:gd name="T38" fmla="*/ 18 w 63"/>
              <a:gd name="T39" fmla="*/ 36 h 113"/>
              <a:gd name="T40" fmla="*/ 19 w 63"/>
              <a:gd name="T41" fmla="*/ 46 h 113"/>
              <a:gd name="T42" fmla="*/ 23 w 63"/>
              <a:gd name="T43" fmla="*/ 51 h 113"/>
              <a:gd name="T44" fmla="*/ 28 w 63"/>
              <a:gd name="T45" fmla="*/ 57 h 113"/>
              <a:gd name="T46" fmla="*/ 29 w 63"/>
              <a:gd name="T47" fmla="*/ 61 h 113"/>
              <a:gd name="T48" fmla="*/ 23 w 63"/>
              <a:gd name="T49" fmla="*/ 64 h 113"/>
              <a:gd name="T50" fmla="*/ 19 w 63"/>
              <a:gd name="T51" fmla="*/ 68 h 113"/>
              <a:gd name="T52" fmla="*/ 18 w 63"/>
              <a:gd name="T53" fmla="*/ 74 h 113"/>
              <a:gd name="T54" fmla="*/ 14 w 63"/>
              <a:gd name="T55" fmla="*/ 75 h 113"/>
              <a:gd name="T56" fmla="*/ 13 w 63"/>
              <a:gd name="T57" fmla="*/ 79 h 113"/>
              <a:gd name="T58" fmla="*/ 10 w 63"/>
              <a:gd name="T59" fmla="*/ 80 h 113"/>
              <a:gd name="T60" fmla="*/ 9 w 63"/>
              <a:gd name="T61" fmla="*/ 85 h 113"/>
              <a:gd name="T62" fmla="*/ 10 w 63"/>
              <a:gd name="T63" fmla="*/ 89 h 113"/>
              <a:gd name="T64" fmla="*/ 13 w 63"/>
              <a:gd name="T65" fmla="*/ 96 h 113"/>
              <a:gd name="T66" fmla="*/ 12 w 63"/>
              <a:gd name="T67" fmla="*/ 104 h 113"/>
              <a:gd name="T68" fmla="*/ 16 w 63"/>
              <a:gd name="T69" fmla="*/ 106 h 113"/>
              <a:gd name="T70" fmla="*/ 20 w 63"/>
              <a:gd name="T71" fmla="*/ 107 h 113"/>
              <a:gd name="T72" fmla="*/ 22 w 63"/>
              <a:gd name="T73" fmla="*/ 113 h 113"/>
              <a:gd name="T74" fmla="*/ 26 w 63"/>
              <a:gd name="T75" fmla="*/ 111 h 113"/>
              <a:gd name="T76" fmla="*/ 35 w 63"/>
              <a:gd name="T77" fmla="*/ 107 h 113"/>
              <a:gd name="T78" fmla="*/ 38 w 63"/>
              <a:gd name="T79" fmla="*/ 106 h 113"/>
              <a:gd name="T80" fmla="*/ 40 w 63"/>
              <a:gd name="T81" fmla="*/ 106 h 113"/>
              <a:gd name="T82" fmla="*/ 44 w 63"/>
              <a:gd name="T83" fmla="*/ 105 h 113"/>
              <a:gd name="T84" fmla="*/ 48 w 63"/>
              <a:gd name="T85" fmla="*/ 104 h 113"/>
              <a:gd name="T86" fmla="*/ 25 w 63"/>
              <a:gd name="T87" fmla="*/ 59 h 113"/>
              <a:gd name="T88" fmla="*/ 26 w 63"/>
              <a:gd name="T89" fmla="*/ 59 h 113"/>
              <a:gd name="T90" fmla="*/ 8 w 63"/>
              <a:gd name="T91" fmla="*/ 77 h 113"/>
              <a:gd name="T92" fmla="*/ 8 w 63"/>
              <a:gd name="T93" fmla="*/ 77 h 113"/>
              <a:gd name="T94" fmla="*/ 21 w 63"/>
              <a:gd name="T95" fmla="*/ 110 h 113"/>
              <a:gd name="T96" fmla="*/ 19 w 63"/>
              <a:gd name="T97" fmla="*/ 107 h 113"/>
              <a:gd name="T98" fmla="*/ 16 w 63"/>
              <a:gd name="T99" fmla="*/ 107 h 113"/>
              <a:gd name="T100" fmla="*/ 12 w 63"/>
              <a:gd name="T101" fmla="*/ 107 h 113"/>
              <a:gd name="T102" fmla="*/ 4 w 63"/>
              <a:gd name="T103" fmla="*/ 106 h 113"/>
              <a:gd name="T104" fmla="*/ 6 w 63"/>
              <a:gd name="T105" fmla="*/ 110 h 113"/>
              <a:gd name="T106" fmla="*/ 4 w 63"/>
              <a:gd name="T107" fmla="*/ 10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3" h="113">
                <a:moveTo>
                  <a:pt x="50" y="104"/>
                </a:moveTo>
                <a:cubicBezTo>
                  <a:pt x="50" y="103"/>
                  <a:pt x="50" y="103"/>
                  <a:pt x="50" y="103"/>
                </a:cubicBezTo>
                <a:cubicBezTo>
                  <a:pt x="53" y="100"/>
                  <a:pt x="53" y="100"/>
                  <a:pt x="53" y="100"/>
                </a:cubicBezTo>
                <a:cubicBezTo>
                  <a:pt x="54" y="99"/>
                  <a:pt x="54" y="99"/>
                  <a:pt x="54" y="99"/>
                </a:cubicBezTo>
                <a:cubicBezTo>
                  <a:pt x="56" y="96"/>
                  <a:pt x="56" y="96"/>
                  <a:pt x="56" y="96"/>
                </a:cubicBezTo>
                <a:cubicBezTo>
                  <a:pt x="57" y="93"/>
                  <a:pt x="57" y="93"/>
                  <a:pt x="57" y="93"/>
                </a:cubicBezTo>
                <a:cubicBezTo>
                  <a:pt x="59" y="90"/>
                  <a:pt x="59" y="90"/>
                  <a:pt x="59" y="90"/>
                </a:cubicBezTo>
                <a:cubicBezTo>
                  <a:pt x="61" y="86"/>
                  <a:pt x="61" y="86"/>
                  <a:pt x="61" y="86"/>
                </a:cubicBezTo>
                <a:cubicBezTo>
                  <a:pt x="63" y="82"/>
                  <a:pt x="63" y="82"/>
                  <a:pt x="63" y="82"/>
                </a:cubicBezTo>
                <a:cubicBezTo>
                  <a:pt x="63" y="80"/>
                  <a:pt x="63" y="80"/>
                  <a:pt x="63" y="80"/>
                </a:cubicBezTo>
                <a:cubicBezTo>
                  <a:pt x="60" y="77"/>
                  <a:pt x="60" y="77"/>
                  <a:pt x="60" y="77"/>
                </a:cubicBezTo>
                <a:cubicBezTo>
                  <a:pt x="58" y="76"/>
                  <a:pt x="58" y="76"/>
                  <a:pt x="58" y="76"/>
                </a:cubicBezTo>
                <a:cubicBezTo>
                  <a:pt x="55" y="72"/>
                  <a:pt x="55" y="72"/>
                  <a:pt x="55" y="72"/>
                </a:cubicBezTo>
                <a:cubicBezTo>
                  <a:pt x="56" y="70"/>
                  <a:pt x="56" y="70"/>
                  <a:pt x="56" y="70"/>
                </a:cubicBezTo>
                <a:cubicBezTo>
                  <a:pt x="57" y="68"/>
                  <a:pt x="57" y="68"/>
                  <a:pt x="57" y="68"/>
                </a:cubicBezTo>
                <a:cubicBezTo>
                  <a:pt x="57" y="67"/>
                  <a:pt x="57" y="67"/>
                  <a:pt x="57" y="67"/>
                </a:cubicBezTo>
                <a:cubicBezTo>
                  <a:pt x="55" y="65"/>
                  <a:pt x="55" y="65"/>
                  <a:pt x="55" y="65"/>
                </a:cubicBezTo>
                <a:cubicBezTo>
                  <a:pt x="54" y="64"/>
                  <a:pt x="54" y="64"/>
                  <a:pt x="54" y="64"/>
                </a:cubicBezTo>
                <a:cubicBezTo>
                  <a:pt x="54" y="62"/>
                  <a:pt x="54" y="62"/>
                  <a:pt x="54" y="62"/>
                </a:cubicBezTo>
                <a:cubicBezTo>
                  <a:pt x="55" y="61"/>
                  <a:pt x="55" y="61"/>
                  <a:pt x="55" y="61"/>
                </a:cubicBezTo>
                <a:cubicBezTo>
                  <a:pt x="54" y="60"/>
                  <a:pt x="54" y="60"/>
                  <a:pt x="54" y="60"/>
                </a:cubicBezTo>
                <a:cubicBezTo>
                  <a:pt x="53" y="59"/>
                  <a:pt x="53" y="59"/>
                  <a:pt x="53" y="59"/>
                </a:cubicBezTo>
                <a:cubicBezTo>
                  <a:pt x="52" y="58"/>
                  <a:pt x="52" y="58"/>
                  <a:pt x="52" y="58"/>
                </a:cubicBezTo>
                <a:cubicBezTo>
                  <a:pt x="52" y="56"/>
                  <a:pt x="52" y="56"/>
                  <a:pt x="52" y="56"/>
                </a:cubicBezTo>
                <a:cubicBezTo>
                  <a:pt x="53" y="55"/>
                  <a:pt x="53" y="55"/>
                  <a:pt x="53" y="55"/>
                </a:cubicBezTo>
                <a:cubicBezTo>
                  <a:pt x="52" y="55"/>
                  <a:pt x="52" y="55"/>
                  <a:pt x="52" y="55"/>
                </a:cubicBezTo>
                <a:cubicBezTo>
                  <a:pt x="52" y="54"/>
                  <a:pt x="52" y="54"/>
                  <a:pt x="52" y="54"/>
                </a:cubicBezTo>
                <a:cubicBezTo>
                  <a:pt x="52" y="50"/>
                  <a:pt x="52" y="50"/>
                  <a:pt x="52" y="50"/>
                </a:cubicBezTo>
                <a:cubicBezTo>
                  <a:pt x="53" y="49"/>
                  <a:pt x="53" y="49"/>
                  <a:pt x="53" y="49"/>
                </a:cubicBezTo>
                <a:cubicBezTo>
                  <a:pt x="50" y="43"/>
                  <a:pt x="50" y="43"/>
                  <a:pt x="50" y="43"/>
                </a:cubicBezTo>
                <a:cubicBezTo>
                  <a:pt x="48" y="38"/>
                  <a:pt x="48" y="38"/>
                  <a:pt x="48" y="38"/>
                </a:cubicBezTo>
                <a:cubicBezTo>
                  <a:pt x="47" y="36"/>
                  <a:pt x="47" y="36"/>
                  <a:pt x="47" y="36"/>
                </a:cubicBezTo>
                <a:cubicBezTo>
                  <a:pt x="46" y="35"/>
                  <a:pt x="46" y="35"/>
                  <a:pt x="46" y="35"/>
                </a:cubicBezTo>
                <a:cubicBezTo>
                  <a:pt x="47" y="32"/>
                  <a:pt x="47" y="32"/>
                  <a:pt x="47" y="32"/>
                </a:cubicBezTo>
                <a:cubicBezTo>
                  <a:pt x="48" y="30"/>
                  <a:pt x="48" y="30"/>
                  <a:pt x="48" y="30"/>
                </a:cubicBezTo>
                <a:cubicBezTo>
                  <a:pt x="48" y="28"/>
                  <a:pt x="48" y="28"/>
                  <a:pt x="48" y="28"/>
                </a:cubicBezTo>
                <a:cubicBezTo>
                  <a:pt x="48" y="27"/>
                  <a:pt x="48" y="27"/>
                  <a:pt x="48" y="27"/>
                </a:cubicBezTo>
                <a:cubicBezTo>
                  <a:pt x="45" y="25"/>
                  <a:pt x="45" y="25"/>
                  <a:pt x="45" y="25"/>
                </a:cubicBezTo>
                <a:cubicBezTo>
                  <a:pt x="44" y="24"/>
                  <a:pt x="44" y="24"/>
                  <a:pt x="44" y="24"/>
                </a:cubicBezTo>
                <a:cubicBezTo>
                  <a:pt x="43" y="23"/>
                  <a:pt x="43" y="23"/>
                  <a:pt x="43" y="23"/>
                </a:cubicBezTo>
                <a:cubicBezTo>
                  <a:pt x="42" y="22"/>
                  <a:pt x="42" y="22"/>
                  <a:pt x="42" y="22"/>
                </a:cubicBezTo>
                <a:cubicBezTo>
                  <a:pt x="41" y="22"/>
                  <a:pt x="41" y="22"/>
                  <a:pt x="41" y="22"/>
                </a:cubicBezTo>
                <a:cubicBezTo>
                  <a:pt x="40" y="19"/>
                  <a:pt x="40" y="19"/>
                  <a:pt x="40" y="19"/>
                </a:cubicBezTo>
                <a:cubicBezTo>
                  <a:pt x="39" y="18"/>
                  <a:pt x="39" y="18"/>
                  <a:pt x="39" y="18"/>
                </a:cubicBezTo>
                <a:cubicBezTo>
                  <a:pt x="39" y="16"/>
                  <a:pt x="39" y="16"/>
                  <a:pt x="39" y="16"/>
                </a:cubicBezTo>
                <a:cubicBezTo>
                  <a:pt x="40" y="14"/>
                  <a:pt x="40" y="14"/>
                  <a:pt x="40" y="14"/>
                </a:cubicBezTo>
                <a:cubicBezTo>
                  <a:pt x="39" y="14"/>
                  <a:pt x="39" y="14"/>
                  <a:pt x="39" y="14"/>
                </a:cubicBezTo>
                <a:cubicBezTo>
                  <a:pt x="40" y="13"/>
                  <a:pt x="40" y="13"/>
                  <a:pt x="40" y="13"/>
                </a:cubicBezTo>
                <a:cubicBezTo>
                  <a:pt x="41" y="12"/>
                  <a:pt x="41" y="12"/>
                  <a:pt x="41" y="12"/>
                </a:cubicBezTo>
                <a:cubicBezTo>
                  <a:pt x="41" y="10"/>
                  <a:pt x="41" y="10"/>
                  <a:pt x="41" y="10"/>
                </a:cubicBezTo>
                <a:cubicBezTo>
                  <a:pt x="42" y="8"/>
                  <a:pt x="42" y="8"/>
                  <a:pt x="42" y="8"/>
                </a:cubicBezTo>
                <a:cubicBezTo>
                  <a:pt x="42" y="7"/>
                  <a:pt x="42" y="7"/>
                  <a:pt x="42" y="7"/>
                </a:cubicBezTo>
                <a:cubicBezTo>
                  <a:pt x="41" y="5"/>
                  <a:pt x="41" y="5"/>
                  <a:pt x="41" y="5"/>
                </a:cubicBezTo>
                <a:cubicBezTo>
                  <a:pt x="41" y="4"/>
                  <a:pt x="41" y="4"/>
                  <a:pt x="41" y="4"/>
                </a:cubicBezTo>
                <a:cubicBezTo>
                  <a:pt x="39" y="4"/>
                  <a:pt x="39" y="4"/>
                  <a:pt x="39" y="4"/>
                </a:cubicBezTo>
                <a:cubicBezTo>
                  <a:pt x="37" y="4"/>
                  <a:pt x="37" y="4"/>
                  <a:pt x="37" y="4"/>
                </a:cubicBezTo>
                <a:cubicBezTo>
                  <a:pt x="36" y="3"/>
                  <a:pt x="36" y="3"/>
                  <a:pt x="36" y="3"/>
                </a:cubicBezTo>
                <a:cubicBezTo>
                  <a:pt x="35" y="1"/>
                  <a:pt x="35" y="1"/>
                  <a:pt x="35" y="1"/>
                </a:cubicBezTo>
                <a:cubicBezTo>
                  <a:pt x="34" y="0"/>
                  <a:pt x="34" y="0"/>
                  <a:pt x="34" y="0"/>
                </a:cubicBezTo>
                <a:cubicBezTo>
                  <a:pt x="31" y="0"/>
                  <a:pt x="31" y="0"/>
                  <a:pt x="31" y="0"/>
                </a:cubicBezTo>
                <a:cubicBezTo>
                  <a:pt x="30" y="1"/>
                  <a:pt x="30" y="1"/>
                  <a:pt x="30" y="1"/>
                </a:cubicBezTo>
                <a:cubicBezTo>
                  <a:pt x="30" y="2"/>
                  <a:pt x="30" y="2"/>
                  <a:pt x="30" y="2"/>
                </a:cubicBezTo>
                <a:cubicBezTo>
                  <a:pt x="29" y="2"/>
                  <a:pt x="29" y="2"/>
                  <a:pt x="29" y="2"/>
                </a:cubicBezTo>
                <a:cubicBezTo>
                  <a:pt x="27" y="2"/>
                  <a:pt x="27" y="2"/>
                  <a:pt x="27" y="2"/>
                </a:cubicBezTo>
                <a:cubicBezTo>
                  <a:pt x="26" y="2"/>
                  <a:pt x="26" y="2"/>
                  <a:pt x="26" y="2"/>
                </a:cubicBezTo>
                <a:cubicBezTo>
                  <a:pt x="26" y="3"/>
                  <a:pt x="26" y="3"/>
                  <a:pt x="26" y="3"/>
                </a:cubicBezTo>
                <a:cubicBezTo>
                  <a:pt x="25" y="4"/>
                  <a:pt x="25" y="4"/>
                  <a:pt x="25" y="4"/>
                </a:cubicBezTo>
                <a:cubicBezTo>
                  <a:pt x="25" y="5"/>
                  <a:pt x="25" y="5"/>
                  <a:pt x="25" y="5"/>
                </a:cubicBezTo>
                <a:cubicBezTo>
                  <a:pt x="25" y="6"/>
                  <a:pt x="25" y="6"/>
                  <a:pt x="25" y="6"/>
                </a:cubicBezTo>
                <a:cubicBezTo>
                  <a:pt x="25" y="7"/>
                  <a:pt x="25" y="7"/>
                  <a:pt x="25" y="7"/>
                </a:cubicBezTo>
                <a:cubicBezTo>
                  <a:pt x="24" y="10"/>
                  <a:pt x="24" y="10"/>
                  <a:pt x="24" y="10"/>
                </a:cubicBezTo>
                <a:cubicBezTo>
                  <a:pt x="25" y="12"/>
                  <a:pt x="25" y="12"/>
                  <a:pt x="25" y="12"/>
                </a:cubicBezTo>
                <a:cubicBezTo>
                  <a:pt x="25" y="13"/>
                  <a:pt x="25" y="13"/>
                  <a:pt x="25" y="13"/>
                </a:cubicBezTo>
                <a:cubicBezTo>
                  <a:pt x="25" y="14"/>
                  <a:pt x="25" y="14"/>
                  <a:pt x="25" y="14"/>
                </a:cubicBezTo>
                <a:cubicBezTo>
                  <a:pt x="24" y="14"/>
                  <a:pt x="24" y="14"/>
                  <a:pt x="24" y="14"/>
                </a:cubicBezTo>
                <a:cubicBezTo>
                  <a:pt x="23" y="14"/>
                  <a:pt x="23" y="14"/>
                  <a:pt x="23" y="14"/>
                </a:cubicBezTo>
                <a:cubicBezTo>
                  <a:pt x="22" y="15"/>
                  <a:pt x="22" y="15"/>
                  <a:pt x="22" y="15"/>
                </a:cubicBezTo>
                <a:cubicBezTo>
                  <a:pt x="21" y="16"/>
                  <a:pt x="21" y="16"/>
                  <a:pt x="21" y="16"/>
                </a:cubicBezTo>
                <a:cubicBezTo>
                  <a:pt x="20" y="17"/>
                  <a:pt x="20" y="17"/>
                  <a:pt x="20" y="17"/>
                </a:cubicBezTo>
                <a:cubicBezTo>
                  <a:pt x="19" y="17"/>
                  <a:pt x="19" y="17"/>
                  <a:pt x="19" y="17"/>
                </a:cubicBezTo>
                <a:cubicBezTo>
                  <a:pt x="17" y="15"/>
                  <a:pt x="17" y="15"/>
                  <a:pt x="17" y="15"/>
                </a:cubicBezTo>
                <a:cubicBezTo>
                  <a:pt x="16" y="15"/>
                  <a:pt x="16" y="15"/>
                  <a:pt x="16" y="15"/>
                </a:cubicBezTo>
                <a:cubicBezTo>
                  <a:pt x="15" y="16"/>
                  <a:pt x="15" y="16"/>
                  <a:pt x="15" y="16"/>
                </a:cubicBezTo>
                <a:cubicBezTo>
                  <a:pt x="13" y="18"/>
                  <a:pt x="13" y="18"/>
                  <a:pt x="13" y="18"/>
                </a:cubicBezTo>
                <a:cubicBezTo>
                  <a:pt x="10" y="18"/>
                  <a:pt x="10" y="18"/>
                  <a:pt x="10" y="18"/>
                </a:cubicBezTo>
                <a:cubicBezTo>
                  <a:pt x="8" y="17"/>
                  <a:pt x="8" y="17"/>
                  <a:pt x="8" y="17"/>
                </a:cubicBezTo>
                <a:cubicBezTo>
                  <a:pt x="7" y="16"/>
                  <a:pt x="7" y="16"/>
                  <a:pt x="7" y="16"/>
                </a:cubicBezTo>
                <a:cubicBezTo>
                  <a:pt x="7" y="14"/>
                  <a:pt x="7" y="14"/>
                  <a:pt x="7" y="14"/>
                </a:cubicBezTo>
                <a:cubicBezTo>
                  <a:pt x="4" y="12"/>
                  <a:pt x="4" y="12"/>
                  <a:pt x="4" y="12"/>
                </a:cubicBezTo>
                <a:cubicBezTo>
                  <a:pt x="3" y="11"/>
                  <a:pt x="3" y="11"/>
                  <a:pt x="3" y="11"/>
                </a:cubicBezTo>
                <a:cubicBezTo>
                  <a:pt x="2" y="10"/>
                  <a:pt x="2" y="10"/>
                  <a:pt x="2" y="10"/>
                </a:cubicBezTo>
                <a:cubicBezTo>
                  <a:pt x="1" y="11"/>
                  <a:pt x="1" y="11"/>
                  <a:pt x="1" y="11"/>
                </a:cubicBezTo>
                <a:cubicBezTo>
                  <a:pt x="1" y="12"/>
                  <a:pt x="1" y="12"/>
                  <a:pt x="1" y="12"/>
                </a:cubicBezTo>
                <a:cubicBezTo>
                  <a:pt x="1" y="13"/>
                  <a:pt x="1" y="13"/>
                  <a:pt x="1" y="13"/>
                </a:cubicBezTo>
                <a:cubicBezTo>
                  <a:pt x="1" y="14"/>
                  <a:pt x="1" y="14"/>
                  <a:pt x="1" y="14"/>
                </a:cubicBezTo>
                <a:cubicBezTo>
                  <a:pt x="0" y="13"/>
                  <a:pt x="0" y="13"/>
                  <a:pt x="0" y="13"/>
                </a:cubicBezTo>
                <a:cubicBezTo>
                  <a:pt x="0" y="14"/>
                  <a:pt x="0" y="14"/>
                  <a:pt x="0" y="14"/>
                </a:cubicBezTo>
                <a:cubicBezTo>
                  <a:pt x="1" y="15"/>
                  <a:pt x="1" y="15"/>
                  <a:pt x="1" y="15"/>
                </a:cubicBezTo>
                <a:cubicBezTo>
                  <a:pt x="3" y="16"/>
                  <a:pt x="3" y="16"/>
                  <a:pt x="3" y="16"/>
                </a:cubicBezTo>
                <a:cubicBezTo>
                  <a:pt x="5" y="18"/>
                  <a:pt x="5" y="18"/>
                  <a:pt x="5" y="18"/>
                </a:cubicBezTo>
                <a:cubicBezTo>
                  <a:pt x="7" y="19"/>
                  <a:pt x="7" y="19"/>
                  <a:pt x="7" y="19"/>
                </a:cubicBezTo>
                <a:cubicBezTo>
                  <a:pt x="9" y="20"/>
                  <a:pt x="9" y="20"/>
                  <a:pt x="9" y="20"/>
                </a:cubicBezTo>
                <a:cubicBezTo>
                  <a:pt x="10" y="20"/>
                  <a:pt x="10" y="20"/>
                  <a:pt x="10" y="20"/>
                </a:cubicBezTo>
                <a:cubicBezTo>
                  <a:pt x="11" y="20"/>
                  <a:pt x="11" y="20"/>
                  <a:pt x="11" y="20"/>
                </a:cubicBezTo>
                <a:cubicBezTo>
                  <a:pt x="12" y="22"/>
                  <a:pt x="12" y="22"/>
                  <a:pt x="12" y="22"/>
                </a:cubicBezTo>
                <a:cubicBezTo>
                  <a:pt x="13" y="23"/>
                  <a:pt x="13" y="23"/>
                  <a:pt x="13" y="23"/>
                </a:cubicBezTo>
                <a:cubicBezTo>
                  <a:pt x="13" y="23"/>
                  <a:pt x="13" y="23"/>
                  <a:pt x="13" y="23"/>
                </a:cubicBezTo>
                <a:cubicBezTo>
                  <a:pt x="14" y="23"/>
                  <a:pt x="14" y="23"/>
                  <a:pt x="14" y="23"/>
                </a:cubicBezTo>
                <a:cubicBezTo>
                  <a:pt x="15" y="25"/>
                  <a:pt x="15" y="25"/>
                  <a:pt x="15" y="25"/>
                </a:cubicBezTo>
                <a:cubicBezTo>
                  <a:pt x="16" y="25"/>
                  <a:pt x="16" y="25"/>
                  <a:pt x="16" y="25"/>
                </a:cubicBezTo>
                <a:cubicBezTo>
                  <a:pt x="16" y="26"/>
                  <a:pt x="16" y="26"/>
                  <a:pt x="16" y="26"/>
                </a:cubicBezTo>
                <a:cubicBezTo>
                  <a:pt x="16" y="27"/>
                  <a:pt x="16" y="27"/>
                  <a:pt x="16" y="27"/>
                </a:cubicBezTo>
                <a:cubicBezTo>
                  <a:pt x="16" y="28"/>
                  <a:pt x="16" y="28"/>
                  <a:pt x="16" y="28"/>
                </a:cubicBezTo>
                <a:cubicBezTo>
                  <a:pt x="15" y="30"/>
                  <a:pt x="15" y="30"/>
                  <a:pt x="15" y="30"/>
                </a:cubicBezTo>
                <a:cubicBezTo>
                  <a:pt x="16" y="31"/>
                  <a:pt x="16" y="31"/>
                  <a:pt x="16" y="31"/>
                </a:cubicBezTo>
                <a:cubicBezTo>
                  <a:pt x="17" y="31"/>
                  <a:pt x="17" y="31"/>
                  <a:pt x="17" y="31"/>
                </a:cubicBezTo>
                <a:cubicBezTo>
                  <a:pt x="18" y="33"/>
                  <a:pt x="18" y="33"/>
                  <a:pt x="18" y="33"/>
                </a:cubicBezTo>
                <a:cubicBezTo>
                  <a:pt x="17" y="34"/>
                  <a:pt x="17" y="34"/>
                  <a:pt x="17" y="34"/>
                </a:cubicBezTo>
                <a:cubicBezTo>
                  <a:pt x="17" y="35"/>
                  <a:pt x="17" y="35"/>
                  <a:pt x="17" y="35"/>
                </a:cubicBezTo>
                <a:cubicBezTo>
                  <a:pt x="18" y="36"/>
                  <a:pt x="18" y="36"/>
                  <a:pt x="18" y="36"/>
                </a:cubicBezTo>
                <a:cubicBezTo>
                  <a:pt x="18" y="39"/>
                  <a:pt x="18" y="39"/>
                  <a:pt x="18" y="39"/>
                </a:cubicBezTo>
                <a:cubicBezTo>
                  <a:pt x="18" y="40"/>
                  <a:pt x="18" y="40"/>
                  <a:pt x="18" y="40"/>
                </a:cubicBezTo>
                <a:cubicBezTo>
                  <a:pt x="18" y="41"/>
                  <a:pt x="18" y="41"/>
                  <a:pt x="18" y="41"/>
                </a:cubicBezTo>
                <a:cubicBezTo>
                  <a:pt x="18" y="43"/>
                  <a:pt x="18" y="43"/>
                  <a:pt x="18" y="43"/>
                </a:cubicBezTo>
                <a:cubicBezTo>
                  <a:pt x="18" y="44"/>
                  <a:pt x="18" y="44"/>
                  <a:pt x="18" y="44"/>
                </a:cubicBezTo>
                <a:cubicBezTo>
                  <a:pt x="19" y="46"/>
                  <a:pt x="19" y="46"/>
                  <a:pt x="19" y="46"/>
                </a:cubicBezTo>
                <a:cubicBezTo>
                  <a:pt x="20" y="46"/>
                  <a:pt x="20" y="46"/>
                  <a:pt x="20" y="46"/>
                </a:cubicBezTo>
                <a:cubicBezTo>
                  <a:pt x="21" y="48"/>
                  <a:pt x="21" y="48"/>
                  <a:pt x="21" y="48"/>
                </a:cubicBezTo>
                <a:cubicBezTo>
                  <a:pt x="21" y="49"/>
                  <a:pt x="21" y="49"/>
                  <a:pt x="21" y="49"/>
                </a:cubicBezTo>
                <a:cubicBezTo>
                  <a:pt x="21" y="51"/>
                  <a:pt x="21" y="51"/>
                  <a:pt x="21" y="51"/>
                </a:cubicBezTo>
                <a:cubicBezTo>
                  <a:pt x="22" y="51"/>
                  <a:pt x="22" y="51"/>
                  <a:pt x="22" y="51"/>
                </a:cubicBezTo>
                <a:cubicBezTo>
                  <a:pt x="23" y="51"/>
                  <a:pt x="23" y="51"/>
                  <a:pt x="23" y="51"/>
                </a:cubicBezTo>
                <a:cubicBezTo>
                  <a:pt x="24" y="52"/>
                  <a:pt x="24" y="52"/>
                  <a:pt x="24" y="52"/>
                </a:cubicBezTo>
                <a:cubicBezTo>
                  <a:pt x="27" y="52"/>
                  <a:pt x="27" y="52"/>
                  <a:pt x="27" y="52"/>
                </a:cubicBezTo>
                <a:cubicBezTo>
                  <a:pt x="28" y="54"/>
                  <a:pt x="28" y="54"/>
                  <a:pt x="28" y="54"/>
                </a:cubicBezTo>
                <a:cubicBezTo>
                  <a:pt x="27" y="54"/>
                  <a:pt x="27" y="54"/>
                  <a:pt x="27" y="54"/>
                </a:cubicBezTo>
                <a:cubicBezTo>
                  <a:pt x="28" y="55"/>
                  <a:pt x="28" y="55"/>
                  <a:pt x="28" y="55"/>
                </a:cubicBezTo>
                <a:cubicBezTo>
                  <a:pt x="28" y="57"/>
                  <a:pt x="28" y="57"/>
                  <a:pt x="28" y="57"/>
                </a:cubicBezTo>
                <a:cubicBezTo>
                  <a:pt x="28" y="57"/>
                  <a:pt x="28" y="57"/>
                  <a:pt x="28" y="57"/>
                </a:cubicBezTo>
                <a:cubicBezTo>
                  <a:pt x="29" y="59"/>
                  <a:pt x="29" y="59"/>
                  <a:pt x="29" y="59"/>
                </a:cubicBezTo>
                <a:cubicBezTo>
                  <a:pt x="28" y="59"/>
                  <a:pt x="28" y="59"/>
                  <a:pt x="28" y="59"/>
                </a:cubicBezTo>
                <a:cubicBezTo>
                  <a:pt x="28" y="59"/>
                  <a:pt x="28" y="59"/>
                  <a:pt x="28" y="59"/>
                </a:cubicBezTo>
                <a:cubicBezTo>
                  <a:pt x="29" y="60"/>
                  <a:pt x="29" y="60"/>
                  <a:pt x="29" y="60"/>
                </a:cubicBezTo>
                <a:cubicBezTo>
                  <a:pt x="29" y="61"/>
                  <a:pt x="29" y="61"/>
                  <a:pt x="29" y="61"/>
                </a:cubicBezTo>
                <a:cubicBezTo>
                  <a:pt x="27" y="60"/>
                  <a:pt x="27" y="60"/>
                  <a:pt x="27" y="60"/>
                </a:cubicBezTo>
                <a:cubicBezTo>
                  <a:pt x="26" y="60"/>
                  <a:pt x="26" y="60"/>
                  <a:pt x="26" y="60"/>
                </a:cubicBezTo>
                <a:cubicBezTo>
                  <a:pt x="24" y="61"/>
                  <a:pt x="24" y="61"/>
                  <a:pt x="24" y="61"/>
                </a:cubicBezTo>
                <a:cubicBezTo>
                  <a:pt x="24" y="62"/>
                  <a:pt x="24" y="62"/>
                  <a:pt x="24" y="62"/>
                </a:cubicBezTo>
                <a:cubicBezTo>
                  <a:pt x="23" y="63"/>
                  <a:pt x="23" y="63"/>
                  <a:pt x="23" y="63"/>
                </a:cubicBezTo>
                <a:cubicBezTo>
                  <a:pt x="23" y="64"/>
                  <a:pt x="23" y="64"/>
                  <a:pt x="23" y="64"/>
                </a:cubicBezTo>
                <a:cubicBezTo>
                  <a:pt x="22" y="65"/>
                  <a:pt x="22" y="65"/>
                  <a:pt x="22" y="65"/>
                </a:cubicBezTo>
                <a:cubicBezTo>
                  <a:pt x="21" y="67"/>
                  <a:pt x="21" y="67"/>
                  <a:pt x="21" y="67"/>
                </a:cubicBezTo>
                <a:cubicBezTo>
                  <a:pt x="20" y="69"/>
                  <a:pt x="20" y="69"/>
                  <a:pt x="20" y="69"/>
                </a:cubicBezTo>
                <a:cubicBezTo>
                  <a:pt x="20" y="69"/>
                  <a:pt x="20" y="69"/>
                  <a:pt x="20" y="69"/>
                </a:cubicBezTo>
                <a:cubicBezTo>
                  <a:pt x="19" y="68"/>
                  <a:pt x="19" y="68"/>
                  <a:pt x="19" y="68"/>
                </a:cubicBezTo>
                <a:cubicBezTo>
                  <a:pt x="19" y="68"/>
                  <a:pt x="19" y="68"/>
                  <a:pt x="19" y="68"/>
                </a:cubicBezTo>
                <a:cubicBezTo>
                  <a:pt x="19" y="70"/>
                  <a:pt x="19" y="70"/>
                  <a:pt x="19" y="70"/>
                </a:cubicBezTo>
                <a:cubicBezTo>
                  <a:pt x="19" y="71"/>
                  <a:pt x="19" y="71"/>
                  <a:pt x="19" y="71"/>
                </a:cubicBezTo>
                <a:cubicBezTo>
                  <a:pt x="18" y="71"/>
                  <a:pt x="18" y="71"/>
                  <a:pt x="18" y="71"/>
                </a:cubicBezTo>
                <a:cubicBezTo>
                  <a:pt x="17" y="72"/>
                  <a:pt x="17" y="72"/>
                  <a:pt x="17" y="72"/>
                </a:cubicBezTo>
                <a:cubicBezTo>
                  <a:pt x="17" y="73"/>
                  <a:pt x="17" y="73"/>
                  <a:pt x="17" y="73"/>
                </a:cubicBezTo>
                <a:cubicBezTo>
                  <a:pt x="18" y="74"/>
                  <a:pt x="18" y="74"/>
                  <a:pt x="18" y="74"/>
                </a:cubicBezTo>
                <a:cubicBezTo>
                  <a:pt x="17" y="74"/>
                  <a:pt x="17" y="74"/>
                  <a:pt x="17" y="74"/>
                </a:cubicBezTo>
                <a:cubicBezTo>
                  <a:pt x="16" y="73"/>
                  <a:pt x="16" y="73"/>
                  <a:pt x="16" y="73"/>
                </a:cubicBezTo>
                <a:cubicBezTo>
                  <a:pt x="15" y="73"/>
                  <a:pt x="15" y="73"/>
                  <a:pt x="15" y="73"/>
                </a:cubicBezTo>
                <a:cubicBezTo>
                  <a:pt x="15" y="75"/>
                  <a:pt x="15" y="75"/>
                  <a:pt x="15" y="75"/>
                </a:cubicBezTo>
                <a:cubicBezTo>
                  <a:pt x="15" y="75"/>
                  <a:pt x="15" y="75"/>
                  <a:pt x="15" y="75"/>
                </a:cubicBezTo>
                <a:cubicBezTo>
                  <a:pt x="14" y="75"/>
                  <a:pt x="14" y="75"/>
                  <a:pt x="14" y="75"/>
                </a:cubicBezTo>
                <a:cubicBezTo>
                  <a:pt x="14" y="75"/>
                  <a:pt x="14" y="75"/>
                  <a:pt x="14" y="75"/>
                </a:cubicBezTo>
                <a:cubicBezTo>
                  <a:pt x="15" y="76"/>
                  <a:pt x="15" y="76"/>
                  <a:pt x="15" y="76"/>
                </a:cubicBezTo>
                <a:cubicBezTo>
                  <a:pt x="15" y="77"/>
                  <a:pt x="15" y="77"/>
                  <a:pt x="15" y="77"/>
                </a:cubicBezTo>
                <a:cubicBezTo>
                  <a:pt x="14" y="78"/>
                  <a:pt x="14" y="78"/>
                  <a:pt x="14" y="78"/>
                </a:cubicBezTo>
                <a:cubicBezTo>
                  <a:pt x="14" y="78"/>
                  <a:pt x="14" y="78"/>
                  <a:pt x="14" y="78"/>
                </a:cubicBezTo>
                <a:cubicBezTo>
                  <a:pt x="13" y="79"/>
                  <a:pt x="13" y="79"/>
                  <a:pt x="13" y="79"/>
                </a:cubicBezTo>
                <a:cubicBezTo>
                  <a:pt x="12" y="79"/>
                  <a:pt x="12" y="79"/>
                  <a:pt x="12" y="79"/>
                </a:cubicBezTo>
                <a:cubicBezTo>
                  <a:pt x="12" y="78"/>
                  <a:pt x="12" y="78"/>
                  <a:pt x="12" y="78"/>
                </a:cubicBezTo>
                <a:cubicBezTo>
                  <a:pt x="11" y="78"/>
                  <a:pt x="11" y="78"/>
                  <a:pt x="11" y="78"/>
                </a:cubicBezTo>
                <a:cubicBezTo>
                  <a:pt x="10" y="78"/>
                  <a:pt x="10" y="78"/>
                  <a:pt x="10" y="78"/>
                </a:cubicBezTo>
                <a:cubicBezTo>
                  <a:pt x="10" y="79"/>
                  <a:pt x="10" y="79"/>
                  <a:pt x="10" y="79"/>
                </a:cubicBezTo>
                <a:cubicBezTo>
                  <a:pt x="10" y="80"/>
                  <a:pt x="10" y="80"/>
                  <a:pt x="10" y="80"/>
                </a:cubicBezTo>
                <a:cubicBezTo>
                  <a:pt x="10" y="81"/>
                  <a:pt x="10" y="81"/>
                  <a:pt x="10" y="81"/>
                </a:cubicBezTo>
                <a:cubicBezTo>
                  <a:pt x="10" y="82"/>
                  <a:pt x="10" y="82"/>
                  <a:pt x="10" y="82"/>
                </a:cubicBezTo>
                <a:cubicBezTo>
                  <a:pt x="9" y="82"/>
                  <a:pt x="9" y="82"/>
                  <a:pt x="9" y="82"/>
                </a:cubicBezTo>
                <a:cubicBezTo>
                  <a:pt x="9" y="83"/>
                  <a:pt x="9" y="83"/>
                  <a:pt x="9" y="83"/>
                </a:cubicBezTo>
                <a:cubicBezTo>
                  <a:pt x="9" y="85"/>
                  <a:pt x="9" y="85"/>
                  <a:pt x="9" y="85"/>
                </a:cubicBezTo>
                <a:cubicBezTo>
                  <a:pt x="9" y="85"/>
                  <a:pt x="9" y="85"/>
                  <a:pt x="9" y="85"/>
                </a:cubicBezTo>
                <a:cubicBezTo>
                  <a:pt x="9" y="86"/>
                  <a:pt x="9" y="86"/>
                  <a:pt x="9" y="86"/>
                </a:cubicBezTo>
                <a:cubicBezTo>
                  <a:pt x="9" y="87"/>
                  <a:pt x="9" y="87"/>
                  <a:pt x="9" y="87"/>
                </a:cubicBezTo>
                <a:cubicBezTo>
                  <a:pt x="10" y="87"/>
                  <a:pt x="10" y="87"/>
                  <a:pt x="10" y="87"/>
                </a:cubicBezTo>
                <a:cubicBezTo>
                  <a:pt x="11" y="87"/>
                  <a:pt x="11" y="87"/>
                  <a:pt x="11" y="87"/>
                </a:cubicBezTo>
                <a:cubicBezTo>
                  <a:pt x="10" y="89"/>
                  <a:pt x="10" y="89"/>
                  <a:pt x="10" y="89"/>
                </a:cubicBezTo>
                <a:cubicBezTo>
                  <a:pt x="10" y="89"/>
                  <a:pt x="10" y="89"/>
                  <a:pt x="10" y="89"/>
                </a:cubicBezTo>
                <a:cubicBezTo>
                  <a:pt x="11" y="91"/>
                  <a:pt x="11" y="91"/>
                  <a:pt x="11" y="91"/>
                </a:cubicBezTo>
                <a:cubicBezTo>
                  <a:pt x="10" y="91"/>
                  <a:pt x="10" y="91"/>
                  <a:pt x="10" y="91"/>
                </a:cubicBezTo>
                <a:cubicBezTo>
                  <a:pt x="12" y="93"/>
                  <a:pt x="12" y="93"/>
                  <a:pt x="12" y="93"/>
                </a:cubicBezTo>
                <a:cubicBezTo>
                  <a:pt x="12" y="94"/>
                  <a:pt x="12" y="94"/>
                  <a:pt x="12" y="94"/>
                </a:cubicBezTo>
                <a:cubicBezTo>
                  <a:pt x="12" y="94"/>
                  <a:pt x="12" y="94"/>
                  <a:pt x="12" y="94"/>
                </a:cubicBezTo>
                <a:cubicBezTo>
                  <a:pt x="13" y="96"/>
                  <a:pt x="13" y="96"/>
                  <a:pt x="13" y="96"/>
                </a:cubicBezTo>
                <a:cubicBezTo>
                  <a:pt x="12" y="96"/>
                  <a:pt x="12" y="96"/>
                  <a:pt x="12" y="96"/>
                </a:cubicBezTo>
                <a:cubicBezTo>
                  <a:pt x="12" y="98"/>
                  <a:pt x="12" y="98"/>
                  <a:pt x="12" y="98"/>
                </a:cubicBezTo>
                <a:cubicBezTo>
                  <a:pt x="12" y="99"/>
                  <a:pt x="12" y="99"/>
                  <a:pt x="12" y="99"/>
                </a:cubicBezTo>
                <a:cubicBezTo>
                  <a:pt x="11" y="102"/>
                  <a:pt x="11" y="102"/>
                  <a:pt x="11" y="102"/>
                </a:cubicBezTo>
                <a:cubicBezTo>
                  <a:pt x="12" y="102"/>
                  <a:pt x="12" y="102"/>
                  <a:pt x="12" y="102"/>
                </a:cubicBezTo>
                <a:cubicBezTo>
                  <a:pt x="12" y="104"/>
                  <a:pt x="12" y="104"/>
                  <a:pt x="12" y="104"/>
                </a:cubicBezTo>
                <a:cubicBezTo>
                  <a:pt x="12" y="105"/>
                  <a:pt x="12" y="105"/>
                  <a:pt x="12" y="105"/>
                </a:cubicBezTo>
                <a:cubicBezTo>
                  <a:pt x="12" y="105"/>
                  <a:pt x="12" y="105"/>
                  <a:pt x="12" y="105"/>
                </a:cubicBezTo>
                <a:cubicBezTo>
                  <a:pt x="14" y="105"/>
                  <a:pt x="14" y="105"/>
                  <a:pt x="14" y="105"/>
                </a:cubicBezTo>
                <a:cubicBezTo>
                  <a:pt x="14" y="105"/>
                  <a:pt x="14" y="105"/>
                  <a:pt x="14" y="105"/>
                </a:cubicBezTo>
                <a:cubicBezTo>
                  <a:pt x="15" y="104"/>
                  <a:pt x="15" y="104"/>
                  <a:pt x="15" y="104"/>
                </a:cubicBezTo>
                <a:cubicBezTo>
                  <a:pt x="16" y="106"/>
                  <a:pt x="16" y="106"/>
                  <a:pt x="16" y="106"/>
                </a:cubicBezTo>
                <a:cubicBezTo>
                  <a:pt x="17" y="106"/>
                  <a:pt x="17" y="106"/>
                  <a:pt x="17" y="106"/>
                </a:cubicBezTo>
                <a:cubicBezTo>
                  <a:pt x="18" y="107"/>
                  <a:pt x="18" y="107"/>
                  <a:pt x="18" y="107"/>
                </a:cubicBezTo>
                <a:cubicBezTo>
                  <a:pt x="19" y="106"/>
                  <a:pt x="19" y="106"/>
                  <a:pt x="19" y="106"/>
                </a:cubicBezTo>
                <a:cubicBezTo>
                  <a:pt x="20" y="107"/>
                  <a:pt x="20" y="107"/>
                  <a:pt x="20" y="107"/>
                </a:cubicBezTo>
                <a:cubicBezTo>
                  <a:pt x="20" y="107"/>
                  <a:pt x="20" y="107"/>
                  <a:pt x="20" y="107"/>
                </a:cubicBezTo>
                <a:cubicBezTo>
                  <a:pt x="20" y="107"/>
                  <a:pt x="20" y="107"/>
                  <a:pt x="20" y="107"/>
                </a:cubicBezTo>
                <a:cubicBezTo>
                  <a:pt x="22" y="106"/>
                  <a:pt x="22" y="106"/>
                  <a:pt x="22" y="106"/>
                </a:cubicBezTo>
                <a:cubicBezTo>
                  <a:pt x="22" y="107"/>
                  <a:pt x="22" y="107"/>
                  <a:pt x="22" y="107"/>
                </a:cubicBezTo>
                <a:cubicBezTo>
                  <a:pt x="21" y="108"/>
                  <a:pt x="21" y="108"/>
                  <a:pt x="21" y="108"/>
                </a:cubicBezTo>
                <a:cubicBezTo>
                  <a:pt x="23" y="111"/>
                  <a:pt x="23" y="111"/>
                  <a:pt x="23" y="111"/>
                </a:cubicBezTo>
                <a:cubicBezTo>
                  <a:pt x="23" y="111"/>
                  <a:pt x="23" y="111"/>
                  <a:pt x="23" y="111"/>
                </a:cubicBezTo>
                <a:cubicBezTo>
                  <a:pt x="22" y="113"/>
                  <a:pt x="22" y="113"/>
                  <a:pt x="22" y="113"/>
                </a:cubicBezTo>
                <a:cubicBezTo>
                  <a:pt x="23" y="113"/>
                  <a:pt x="23" y="113"/>
                  <a:pt x="23" y="113"/>
                </a:cubicBezTo>
                <a:cubicBezTo>
                  <a:pt x="24" y="111"/>
                  <a:pt x="24" y="111"/>
                  <a:pt x="24" y="111"/>
                </a:cubicBezTo>
                <a:cubicBezTo>
                  <a:pt x="24" y="111"/>
                  <a:pt x="24" y="111"/>
                  <a:pt x="24" y="111"/>
                </a:cubicBezTo>
                <a:cubicBezTo>
                  <a:pt x="24" y="111"/>
                  <a:pt x="24" y="111"/>
                  <a:pt x="24" y="111"/>
                </a:cubicBezTo>
                <a:cubicBezTo>
                  <a:pt x="26" y="111"/>
                  <a:pt x="26" y="111"/>
                  <a:pt x="26" y="111"/>
                </a:cubicBezTo>
                <a:cubicBezTo>
                  <a:pt x="26" y="111"/>
                  <a:pt x="26" y="111"/>
                  <a:pt x="26" y="111"/>
                </a:cubicBezTo>
                <a:cubicBezTo>
                  <a:pt x="28" y="109"/>
                  <a:pt x="28" y="109"/>
                  <a:pt x="28" y="109"/>
                </a:cubicBezTo>
                <a:cubicBezTo>
                  <a:pt x="30" y="109"/>
                  <a:pt x="30" y="109"/>
                  <a:pt x="30" y="109"/>
                </a:cubicBezTo>
                <a:cubicBezTo>
                  <a:pt x="32" y="108"/>
                  <a:pt x="32" y="108"/>
                  <a:pt x="32" y="108"/>
                </a:cubicBezTo>
                <a:cubicBezTo>
                  <a:pt x="32" y="107"/>
                  <a:pt x="32" y="107"/>
                  <a:pt x="32" y="107"/>
                </a:cubicBezTo>
                <a:cubicBezTo>
                  <a:pt x="34" y="108"/>
                  <a:pt x="34" y="108"/>
                  <a:pt x="34" y="108"/>
                </a:cubicBezTo>
                <a:cubicBezTo>
                  <a:pt x="35" y="107"/>
                  <a:pt x="35" y="107"/>
                  <a:pt x="35" y="107"/>
                </a:cubicBezTo>
                <a:cubicBezTo>
                  <a:pt x="36" y="106"/>
                  <a:pt x="36" y="106"/>
                  <a:pt x="36" y="106"/>
                </a:cubicBezTo>
                <a:cubicBezTo>
                  <a:pt x="36" y="106"/>
                  <a:pt x="36" y="106"/>
                  <a:pt x="36" y="106"/>
                </a:cubicBezTo>
                <a:cubicBezTo>
                  <a:pt x="36" y="107"/>
                  <a:pt x="36" y="107"/>
                  <a:pt x="36" y="107"/>
                </a:cubicBezTo>
                <a:cubicBezTo>
                  <a:pt x="36" y="108"/>
                  <a:pt x="36" y="108"/>
                  <a:pt x="36" y="108"/>
                </a:cubicBezTo>
                <a:cubicBezTo>
                  <a:pt x="37" y="106"/>
                  <a:pt x="37" y="106"/>
                  <a:pt x="37" y="106"/>
                </a:cubicBezTo>
                <a:cubicBezTo>
                  <a:pt x="38" y="106"/>
                  <a:pt x="38" y="106"/>
                  <a:pt x="38" y="106"/>
                </a:cubicBezTo>
                <a:cubicBezTo>
                  <a:pt x="37" y="105"/>
                  <a:pt x="37" y="105"/>
                  <a:pt x="37" y="105"/>
                </a:cubicBezTo>
                <a:cubicBezTo>
                  <a:pt x="38" y="105"/>
                  <a:pt x="38" y="105"/>
                  <a:pt x="38" y="105"/>
                </a:cubicBezTo>
                <a:cubicBezTo>
                  <a:pt x="38" y="106"/>
                  <a:pt x="38" y="106"/>
                  <a:pt x="38" y="106"/>
                </a:cubicBezTo>
                <a:cubicBezTo>
                  <a:pt x="39" y="106"/>
                  <a:pt x="39" y="106"/>
                  <a:pt x="39" y="106"/>
                </a:cubicBezTo>
                <a:cubicBezTo>
                  <a:pt x="39" y="105"/>
                  <a:pt x="39" y="105"/>
                  <a:pt x="39" y="105"/>
                </a:cubicBezTo>
                <a:cubicBezTo>
                  <a:pt x="40" y="106"/>
                  <a:pt x="40" y="106"/>
                  <a:pt x="40" y="106"/>
                </a:cubicBezTo>
                <a:cubicBezTo>
                  <a:pt x="41" y="106"/>
                  <a:pt x="41" y="106"/>
                  <a:pt x="41" y="106"/>
                </a:cubicBezTo>
                <a:cubicBezTo>
                  <a:pt x="41" y="105"/>
                  <a:pt x="41" y="105"/>
                  <a:pt x="41" y="105"/>
                </a:cubicBezTo>
                <a:cubicBezTo>
                  <a:pt x="41" y="105"/>
                  <a:pt x="41" y="105"/>
                  <a:pt x="41" y="105"/>
                </a:cubicBezTo>
                <a:cubicBezTo>
                  <a:pt x="42" y="106"/>
                  <a:pt x="42" y="106"/>
                  <a:pt x="42" y="106"/>
                </a:cubicBezTo>
                <a:cubicBezTo>
                  <a:pt x="42" y="105"/>
                  <a:pt x="42" y="105"/>
                  <a:pt x="42" y="105"/>
                </a:cubicBezTo>
                <a:cubicBezTo>
                  <a:pt x="44" y="105"/>
                  <a:pt x="44" y="105"/>
                  <a:pt x="44" y="105"/>
                </a:cubicBezTo>
                <a:cubicBezTo>
                  <a:pt x="45" y="106"/>
                  <a:pt x="45" y="106"/>
                  <a:pt x="45" y="106"/>
                </a:cubicBezTo>
                <a:cubicBezTo>
                  <a:pt x="47" y="106"/>
                  <a:pt x="47" y="106"/>
                  <a:pt x="47" y="106"/>
                </a:cubicBezTo>
                <a:cubicBezTo>
                  <a:pt x="47" y="105"/>
                  <a:pt x="47" y="105"/>
                  <a:pt x="47" y="105"/>
                </a:cubicBezTo>
                <a:cubicBezTo>
                  <a:pt x="47" y="104"/>
                  <a:pt x="47" y="104"/>
                  <a:pt x="47" y="104"/>
                </a:cubicBezTo>
                <a:cubicBezTo>
                  <a:pt x="47" y="104"/>
                  <a:pt x="47" y="104"/>
                  <a:pt x="47" y="104"/>
                </a:cubicBezTo>
                <a:cubicBezTo>
                  <a:pt x="48" y="104"/>
                  <a:pt x="48" y="104"/>
                  <a:pt x="48" y="104"/>
                </a:cubicBezTo>
                <a:cubicBezTo>
                  <a:pt x="48" y="105"/>
                  <a:pt x="48" y="105"/>
                  <a:pt x="48" y="105"/>
                </a:cubicBezTo>
                <a:cubicBezTo>
                  <a:pt x="49" y="105"/>
                  <a:pt x="49" y="105"/>
                  <a:pt x="49" y="105"/>
                </a:cubicBezTo>
                <a:cubicBezTo>
                  <a:pt x="49" y="105"/>
                  <a:pt x="50" y="105"/>
                  <a:pt x="50" y="104"/>
                </a:cubicBezTo>
                <a:close/>
                <a:moveTo>
                  <a:pt x="26" y="59"/>
                </a:moveTo>
                <a:cubicBezTo>
                  <a:pt x="26" y="59"/>
                  <a:pt x="26" y="59"/>
                  <a:pt x="26" y="59"/>
                </a:cubicBezTo>
                <a:cubicBezTo>
                  <a:pt x="25" y="59"/>
                  <a:pt x="25" y="59"/>
                  <a:pt x="25" y="59"/>
                </a:cubicBezTo>
                <a:cubicBezTo>
                  <a:pt x="24" y="58"/>
                  <a:pt x="24" y="58"/>
                  <a:pt x="24" y="58"/>
                </a:cubicBezTo>
                <a:cubicBezTo>
                  <a:pt x="25" y="57"/>
                  <a:pt x="25" y="57"/>
                  <a:pt x="25" y="57"/>
                </a:cubicBezTo>
                <a:cubicBezTo>
                  <a:pt x="27" y="57"/>
                  <a:pt x="27" y="57"/>
                  <a:pt x="27" y="57"/>
                </a:cubicBezTo>
                <a:cubicBezTo>
                  <a:pt x="27" y="58"/>
                  <a:pt x="27" y="58"/>
                  <a:pt x="27" y="58"/>
                </a:cubicBezTo>
                <a:cubicBezTo>
                  <a:pt x="26" y="58"/>
                  <a:pt x="26" y="58"/>
                  <a:pt x="26" y="58"/>
                </a:cubicBezTo>
                <a:cubicBezTo>
                  <a:pt x="26" y="59"/>
                  <a:pt x="26" y="59"/>
                  <a:pt x="26" y="59"/>
                </a:cubicBezTo>
                <a:close/>
                <a:moveTo>
                  <a:pt x="9" y="77"/>
                </a:moveTo>
                <a:cubicBezTo>
                  <a:pt x="9" y="76"/>
                  <a:pt x="9" y="76"/>
                  <a:pt x="9" y="76"/>
                </a:cubicBezTo>
                <a:cubicBezTo>
                  <a:pt x="10" y="76"/>
                  <a:pt x="10" y="76"/>
                  <a:pt x="10" y="76"/>
                </a:cubicBezTo>
                <a:cubicBezTo>
                  <a:pt x="9" y="77"/>
                  <a:pt x="9" y="77"/>
                  <a:pt x="9" y="77"/>
                </a:cubicBezTo>
                <a:cubicBezTo>
                  <a:pt x="9" y="77"/>
                  <a:pt x="9" y="77"/>
                  <a:pt x="9" y="77"/>
                </a:cubicBezTo>
                <a:close/>
                <a:moveTo>
                  <a:pt x="8" y="77"/>
                </a:moveTo>
                <a:cubicBezTo>
                  <a:pt x="9" y="78"/>
                  <a:pt x="9" y="78"/>
                  <a:pt x="9" y="78"/>
                </a:cubicBezTo>
                <a:cubicBezTo>
                  <a:pt x="10" y="78"/>
                  <a:pt x="10" y="78"/>
                  <a:pt x="10" y="78"/>
                </a:cubicBezTo>
                <a:cubicBezTo>
                  <a:pt x="10" y="79"/>
                  <a:pt x="10" y="79"/>
                  <a:pt x="10" y="79"/>
                </a:cubicBezTo>
                <a:cubicBezTo>
                  <a:pt x="9" y="79"/>
                  <a:pt x="9" y="79"/>
                  <a:pt x="9" y="79"/>
                </a:cubicBezTo>
                <a:cubicBezTo>
                  <a:pt x="8" y="78"/>
                  <a:pt x="8" y="78"/>
                  <a:pt x="8" y="78"/>
                </a:cubicBezTo>
                <a:cubicBezTo>
                  <a:pt x="8" y="77"/>
                  <a:pt x="8" y="77"/>
                  <a:pt x="8" y="77"/>
                </a:cubicBezTo>
                <a:close/>
                <a:moveTo>
                  <a:pt x="21" y="110"/>
                </a:moveTo>
                <a:cubicBezTo>
                  <a:pt x="21" y="111"/>
                  <a:pt x="21" y="111"/>
                  <a:pt x="21" y="111"/>
                </a:cubicBezTo>
                <a:cubicBezTo>
                  <a:pt x="21" y="112"/>
                  <a:pt x="21" y="112"/>
                  <a:pt x="21" y="112"/>
                </a:cubicBezTo>
                <a:cubicBezTo>
                  <a:pt x="20" y="111"/>
                  <a:pt x="20" y="111"/>
                  <a:pt x="20" y="111"/>
                </a:cubicBezTo>
                <a:cubicBezTo>
                  <a:pt x="21" y="111"/>
                  <a:pt x="21" y="111"/>
                  <a:pt x="21" y="111"/>
                </a:cubicBezTo>
                <a:cubicBezTo>
                  <a:pt x="21" y="110"/>
                  <a:pt x="21" y="110"/>
                  <a:pt x="21" y="110"/>
                </a:cubicBezTo>
                <a:close/>
                <a:moveTo>
                  <a:pt x="20" y="109"/>
                </a:moveTo>
                <a:cubicBezTo>
                  <a:pt x="20" y="109"/>
                  <a:pt x="20" y="110"/>
                  <a:pt x="20" y="110"/>
                </a:cubicBezTo>
                <a:cubicBezTo>
                  <a:pt x="19" y="110"/>
                  <a:pt x="19" y="110"/>
                  <a:pt x="19" y="110"/>
                </a:cubicBezTo>
                <a:cubicBezTo>
                  <a:pt x="20" y="109"/>
                  <a:pt x="20" y="109"/>
                  <a:pt x="20" y="109"/>
                </a:cubicBezTo>
                <a:close/>
                <a:moveTo>
                  <a:pt x="17" y="108"/>
                </a:moveTo>
                <a:cubicBezTo>
                  <a:pt x="19" y="107"/>
                  <a:pt x="19" y="107"/>
                  <a:pt x="19" y="107"/>
                </a:cubicBezTo>
                <a:cubicBezTo>
                  <a:pt x="19" y="108"/>
                  <a:pt x="19" y="108"/>
                  <a:pt x="19" y="108"/>
                </a:cubicBezTo>
                <a:cubicBezTo>
                  <a:pt x="18" y="109"/>
                  <a:pt x="18" y="109"/>
                  <a:pt x="18" y="109"/>
                </a:cubicBezTo>
                <a:cubicBezTo>
                  <a:pt x="17" y="108"/>
                  <a:pt x="17" y="108"/>
                  <a:pt x="17" y="108"/>
                </a:cubicBezTo>
                <a:cubicBezTo>
                  <a:pt x="17" y="108"/>
                  <a:pt x="17" y="108"/>
                  <a:pt x="17" y="108"/>
                </a:cubicBezTo>
                <a:close/>
                <a:moveTo>
                  <a:pt x="14" y="106"/>
                </a:moveTo>
                <a:cubicBezTo>
                  <a:pt x="16" y="107"/>
                  <a:pt x="16" y="107"/>
                  <a:pt x="16" y="107"/>
                </a:cubicBezTo>
                <a:cubicBezTo>
                  <a:pt x="15" y="107"/>
                  <a:pt x="15" y="107"/>
                  <a:pt x="15" y="107"/>
                </a:cubicBezTo>
                <a:cubicBezTo>
                  <a:pt x="14" y="107"/>
                  <a:pt x="14" y="107"/>
                  <a:pt x="14" y="107"/>
                </a:cubicBezTo>
                <a:cubicBezTo>
                  <a:pt x="14" y="106"/>
                  <a:pt x="14" y="106"/>
                  <a:pt x="14" y="106"/>
                </a:cubicBezTo>
                <a:close/>
                <a:moveTo>
                  <a:pt x="12" y="106"/>
                </a:moveTo>
                <a:cubicBezTo>
                  <a:pt x="13" y="106"/>
                  <a:pt x="13" y="106"/>
                  <a:pt x="13" y="106"/>
                </a:cubicBezTo>
                <a:cubicBezTo>
                  <a:pt x="12" y="107"/>
                  <a:pt x="12" y="107"/>
                  <a:pt x="12" y="107"/>
                </a:cubicBezTo>
                <a:cubicBezTo>
                  <a:pt x="12" y="107"/>
                  <a:pt x="12" y="106"/>
                  <a:pt x="12" y="106"/>
                </a:cubicBezTo>
                <a:close/>
                <a:moveTo>
                  <a:pt x="3" y="108"/>
                </a:moveTo>
                <a:cubicBezTo>
                  <a:pt x="5" y="108"/>
                  <a:pt x="5" y="108"/>
                  <a:pt x="5" y="108"/>
                </a:cubicBezTo>
                <a:cubicBezTo>
                  <a:pt x="5" y="108"/>
                  <a:pt x="5" y="108"/>
                  <a:pt x="5" y="108"/>
                </a:cubicBezTo>
                <a:cubicBezTo>
                  <a:pt x="4" y="107"/>
                  <a:pt x="4" y="107"/>
                  <a:pt x="4" y="107"/>
                </a:cubicBezTo>
                <a:cubicBezTo>
                  <a:pt x="4" y="106"/>
                  <a:pt x="4" y="106"/>
                  <a:pt x="4" y="106"/>
                </a:cubicBezTo>
                <a:cubicBezTo>
                  <a:pt x="5" y="106"/>
                  <a:pt x="5" y="106"/>
                  <a:pt x="5" y="106"/>
                </a:cubicBezTo>
                <a:cubicBezTo>
                  <a:pt x="7" y="107"/>
                  <a:pt x="7" y="107"/>
                  <a:pt x="7" y="107"/>
                </a:cubicBezTo>
                <a:cubicBezTo>
                  <a:pt x="7" y="108"/>
                  <a:pt x="7" y="108"/>
                  <a:pt x="7" y="108"/>
                </a:cubicBezTo>
                <a:cubicBezTo>
                  <a:pt x="6" y="108"/>
                  <a:pt x="6" y="108"/>
                  <a:pt x="6" y="108"/>
                </a:cubicBezTo>
                <a:cubicBezTo>
                  <a:pt x="6" y="109"/>
                  <a:pt x="6" y="109"/>
                  <a:pt x="6" y="109"/>
                </a:cubicBezTo>
                <a:cubicBezTo>
                  <a:pt x="6" y="110"/>
                  <a:pt x="6" y="110"/>
                  <a:pt x="6" y="110"/>
                </a:cubicBezTo>
                <a:cubicBezTo>
                  <a:pt x="7" y="110"/>
                  <a:pt x="7" y="110"/>
                  <a:pt x="7" y="110"/>
                </a:cubicBezTo>
                <a:cubicBezTo>
                  <a:pt x="7" y="111"/>
                  <a:pt x="7" y="111"/>
                  <a:pt x="7" y="111"/>
                </a:cubicBezTo>
                <a:cubicBezTo>
                  <a:pt x="7" y="111"/>
                  <a:pt x="7" y="111"/>
                  <a:pt x="7" y="111"/>
                </a:cubicBezTo>
                <a:cubicBezTo>
                  <a:pt x="5" y="110"/>
                  <a:pt x="5" y="110"/>
                  <a:pt x="5" y="110"/>
                </a:cubicBezTo>
                <a:cubicBezTo>
                  <a:pt x="4" y="110"/>
                  <a:pt x="4" y="110"/>
                  <a:pt x="4" y="110"/>
                </a:cubicBezTo>
                <a:cubicBezTo>
                  <a:pt x="4" y="109"/>
                  <a:pt x="4" y="109"/>
                  <a:pt x="4" y="109"/>
                </a:cubicBezTo>
                <a:cubicBezTo>
                  <a:pt x="3" y="109"/>
                  <a:pt x="3" y="109"/>
                  <a:pt x="3" y="109"/>
                </a:cubicBezTo>
                <a:lnTo>
                  <a:pt x="3" y="108"/>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8" name="Freeform 46">
            <a:extLst>
              <a:ext uri="{FF2B5EF4-FFF2-40B4-BE49-F238E27FC236}">
                <a16:creationId xmlns:a16="http://schemas.microsoft.com/office/drawing/2014/main" id="{BBD057DD-1111-FBC9-8E85-930CB025E0DE}"/>
              </a:ext>
            </a:extLst>
          </p:cNvPr>
          <p:cNvSpPr>
            <a:spLocks noEditPoints="1"/>
          </p:cNvSpPr>
          <p:nvPr userDrawn="1"/>
        </p:nvSpPr>
        <p:spPr bwMode="auto">
          <a:xfrm>
            <a:off x="14321493" y="5076108"/>
            <a:ext cx="336528" cy="228600"/>
          </a:xfrm>
          <a:custGeom>
            <a:avLst/>
            <a:gdLst>
              <a:gd name="T0" fmla="*/ 103 w 106"/>
              <a:gd name="T1" fmla="*/ 66 h 72"/>
              <a:gd name="T2" fmla="*/ 106 w 106"/>
              <a:gd name="T3" fmla="*/ 59 h 72"/>
              <a:gd name="T4" fmla="*/ 96 w 106"/>
              <a:gd name="T5" fmla="*/ 41 h 72"/>
              <a:gd name="T6" fmla="*/ 100 w 106"/>
              <a:gd name="T7" fmla="*/ 25 h 72"/>
              <a:gd name="T8" fmla="*/ 103 w 106"/>
              <a:gd name="T9" fmla="*/ 12 h 72"/>
              <a:gd name="T10" fmla="*/ 106 w 106"/>
              <a:gd name="T11" fmla="*/ 12 h 72"/>
              <a:gd name="T12" fmla="*/ 103 w 106"/>
              <a:gd name="T13" fmla="*/ 9 h 72"/>
              <a:gd name="T14" fmla="*/ 81 w 106"/>
              <a:gd name="T15" fmla="*/ 6 h 72"/>
              <a:gd name="T16" fmla="*/ 68 w 106"/>
              <a:gd name="T17" fmla="*/ 3 h 72"/>
              <a:gd name="T18" fmla="*/ 62 w 106"/>
              <a:gd name="T19" fmla="*/ 0 h 72"/>
              <a:gd name="T20" fmla="*/ 59 w 106"/>
              <a:gd name="T21" fmla="*/ 3 h 72"/>
              <a:gd name="T22" fmla="*/ 59 w 106"/>
              <a:gd name="T23" fmla="*/ 6 h 72"/>
              <a:gd name="T24" fmla="*/ 56 w 106"/>
              <a:gd name="T25" fmla="*/ 9 h 72"/>
              <a:gd name="T26" fmla="*/ 46 w 106"/>
              <a:gd name="T27" fmla="*/ 6 h 72"/>
              <a:gd name="T28" fmla="*/ 43 w 106"/>
              <a:gd name="T29" fmla="*/ 9 h 72"/>
              <a:gd name="T30" fmla="*/ 37 w 106"/>
              <a:gd name="T31" fmla="*/ 16 h 72"/>
              <a:gd name="T32" fmla="*/ 28 w 106"/>
              <a:gd name="T33" fmla="*/ 16 h 72"/>
              <a:gd name="T34" fmla="*/ 28 w 106"/>
              <a:gd name="T35" fmla="*/ 31 h 72"/>
              <a:gd name="T36" fmla="*/ 31 w 106"/>
              <a:gd name="T37" fmla="*/ 31 h 72"/>
              <a:gd name="T38" fmla="*/ 34 w 106"/>
              <a:gd name="T39" fmla="*/ 34 h 72"/>
              <a:gd name="T40" fmla="*/ 31 w 106"/>
              <a:gd name="T41" fmla="*/ 41 h 72"/>
              <a:gd name="T42" fmla="*/ 40 w 106"/>
              <a:gd name="T43" fmla="*/ 50 h 72"/>
              <a:gd name="T44" fmla="*/ 40 w 106"/>
              <a:gd name="T45" fmla="*/ 47 h 72"/>
              <a:gd name="T46" fmla="*/ 46 w 106"/>
              <a:gd name="T47" fmla="*/ 47 h 72"/>
              <a:gd name="T48" fmla="*/ 43 w 106"/>
              <a:gd name="T49" fmla="*/ 59 h 72"/>
              <a:gd name="T50" fmla="*/ 53 w 106"/>
              <a:gd name="T51" fmla="*/ 53 h 72"/>
              <a:gd name="T52" fmla="*/ 62 w 106"/>
              <a:gd name="T53" fmla="*/ 56 h 72"/>
              <a:gd name="T54" fmla="*/ 65 w 106"/>
              <a:gd name="T55" fmla="*/ 53 h 72"/>
              <a:gd name="T56" fmla="*/ 68 w 106"/>
              <a:gd name="T57" fmla="*/ 59 h 72"/>
              <a:gd name="T58" fmla="*/ 78 w 106"/>
              <a:gd name="T59" fmla="*/ 62 h 72"/>
              <a:gd name="T60" fmla="*/ 84 w 106"/>
              <a:gd name="T61" fmla="*/ 69 h 72"/>
              <a:gd name="T62" fmla="*/ 93 w 106"/>
              <a:gd name="T63" fmla="*/ 69 h 72"/>
              <a:gd name="T64" fmla="*/ 100 w 106"/>
              <a:gd name="T65" fmla="*/ 72 h 72"/>
              <a:gd name="T66" fmla="*/ 25 w 106"/>
              <a:gd name="T67" fmla="*/ 25 h 72"/>
              <a:gd name="T68" fmla="*/ 21 w 106"/>
              <a:gd name="T69" fmla="*/ 28 h 72"/>
              <a:gd name="T70" fmla="*/ 21 w 106"/>
              <a:gd name="T71" fmla="*/ 25 h 72"/>
              <a:gd name="T72" fmla="*/ 12 w 106"/>
              <a:gd name="T73" fmla="*/ 31 h 72"/>
              <a:gd name="T74" fmla="*/ 3 w 106"/>
              <a:gd name="T75" fmla="*/ 31 h 72"/>
              <a:gd name="T76" fmla="*/ 9 w 106"/>
              <a:gd name="T77" fmla="*/ 28 h 72"/>
              <a:gd name="T78" fmla="*/ 12 w 106"/>
              <a:gd name="T79" fmla="*/ 25 h 72"/>
              <a:gd name="T80" fmla="*/ 15 w 106"/>
              <a:gd name="T81" fmla="*/ 25 h 72"/>
              <a:gd name="T82" fmla="*/ 21 w 106"/>
              <a:gd name="T83" fmla="*/ 31 h 72"/>
              <a:gd name="T84" fmla="*/ 15 w 106"/>
              <a:gd name="T85" fmla="*/ 31 h 72"/>
              <a:gd name="T86" fmla="*/ 12 w 106"/>
              <a:gd name="T87" fmla="*/ 34 h 72"/>
              <a:gd name="T88" fmla="*/ 21 w 106"/>
              <a:gd name="T89" fmla="*/ 34 h 72"/>
              <a:gd name="T90" fmla="*/ 28 w 106"/>
              <a:gd name="T91" fmla="*/ 41 h 72"/>
              <a:gd name="T92" fmla="*/ 21 w 106"/>
              <a:gd name="T93" fmla="*/ 37 h 72"/>
              <a:gd name="T94" fmla="*/ 3 w 106"/>
              <a:gd name="T95" fmla="*/ 59 h 72"/>
              <a:gd name="T96" fmla="*/ 9 w 106"/>
              <a:gd name="T97" fmla="*/ 56 h 72"/>
              <a:gd name="T98" fmla="*/ 9 w 106"/>
              <a:gd name="T99" fmla="*/ 50 h 72"/>
              <a:gd name="T100" fmla="*/ 18 w 106"/>
              <a:gd name="T101" fmla="*/ 47 h 72"/>
              <a:gd name="T102" fmla="*/ 21 w 106"/>
              <a:gd name="T103" fmla="*/ 44 h 72"/>
              <a:gd name="T104" fmla="*/ 21 w 106"/>
              <a:gd name="T105" fmla="*/ 41 h 72"/>
              <a:gd name="T106" fmla="*/ 18 w 106"/>
              <a:gd name="T107" fmla="*/ 37 h 72"/>
              <a:gd name="T108" fmla="*/ 9 w 106"/>
              <a:gd name="T109" fmla="*/ 37 h 72"/>
              <a:gd name="T110" fmla="*/ 6 w 106"/>
              <a:gd name="T111" fmla="*/ 41 h 72"/>
              <a:gd name="T112" fmla="*/ 6 w 106"/>
              <a:gd name="T113" fmla="*/ 41 h 72"/>
              <a:gd name="T114" fmla="*/ 3 w 106"/>
              <a:gd name="T115" fmla="*/ 41 h 72"/>
              <a:gd name="T116" fmla="*/ 3 w 106"/>
              <a:gd name="T117" fmla="*/ 44 h 72"/>
              <a:gd name="T118" fmla="*/ 0 w 106"/>
              <a:gd name="T119" fmla="*/ 47 h 72"/>
              <a:gd name="T120" fmla="*/ 3 w 106"/>
              <a:gd name="T121" fmla="*/ 50 h 72"/>
              <a:gd name="T122" fmla="*/ 6 w 106"/>
              <a:gd name="T123" fmla="*/ 56 h 72"/>
              <a:gd name="T124" fmla="*/ 3 w 106"/>
              <a:gd name="T125" fmla="*/ 5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 h="72">
                <a:moveTo>
                  <a:pt x="100" y="72"/>
                </a:moveTo>
                <a:lnTo>
                  <a:pt x="103" y="66"/>
                </a:lnTo>
                <a:lnTo>
                  <a:pt x="103" y="62"/>
                </a:lnTo>
                <a:lnTo>
                  <a:pt x="106" y="59"/>
                </a:lnTo>
                <a:lnTo>
                  <a:pt x="106" y="56"/>
                </a:lnTo>
                <a:lnTo>
                  <a:pt x="96" y="41"/>
                </a:lnTo>
                <a:lnTo>
                  <a:pt x="96" y="25"/>
                </a:lnTo>
                <a:lnTo>
                  <a:pt x="100" y="25"/>
                </a:lnTo>
                <a:lnTo>
                  <a:pt x="100" y="19"/>
                </a:lnTo>
                <a:lnTo>
                  <a:pt x="103" y="12"/>
                </a:lnTo>
                <a:lnTo>
                  <a:pt x="106" y="12"/>
                </a:lnTo>
                <a:lnTo>
                  <a:pt x="106" y="12"/>
                </a:lnTo>
                <a:lnTo>
                  <a:pt x="103" y="9"/>
                </a:lnTo>
                <a:lnTo>
                  <a:pt x="103" y="9"/>
                </a:lnTo>
                <a:lnTo>
                  <a:pt x="87" y="9"/>
                </a:lnTo>
                <a:lnTo>
                  <a:pt x="81" y="6"/>
                </a:lnTo>
                <a:lnTo>
                  <a:pt x="71" y="6"/>
                </a:lnTo>
                <a:lnTo>
                  <a:pt x="68" y="3"/>
                </a:lnTo>
                <a:lnTo>
                  <a:pt x="65" y="6"/>
                </a:lnTo>
                <a:lnTo>
                  <a:pt x="62" y="0"/>
                </a:lnTo>
                <a:lnTo>
                  <a:pt x="62" y="3"/>
                </a:lnTo>
                <a:lnTo>
                  <a:pt x="59" y="3"/>
                </a:lnTo>
                <a:lnTo>
                  <a:pt x="59" y="6"/>
                </a:lnTo>
                <a:lnTo>
                  <a:pt x="59" y="6"/>
                </a:lnTo>
                <a:lnTo>
                  <a:pt x="56" y="9"/>
                </a:lnTo>
                <a:lnTo>
                  <a:pt x="56" y="9"/>
                </a:lnTo>
                <a:lnTo>
                  <a:pt x="46" y="9"/>
                </a:lnTo>
                <a:lnTo>
                  <a:pt x="46" y="6"/>
                </a:lnTo>
                <a:lnTo>
                  <a:pt x="46" y="9"/>
                </a:lnTo>
                <a:lnTo>
                  <a:pt x="43" y="9"/>
                </a:lnTo>
                <a:lnTo>
                  <a:pt x="37" y="9"/>
                </a:lnTo>
                <a:lnTo>
                  <a:pt x="37" y="16"/>
                </a:lnTo>
                <a:lnTo>
                  <a:pt x="34" y="12"/>
                </a:lnTo>
                <a:lnTo>
                  <a:pt x="28" y="16"/>
                </a:lnTo>
                <a:lnTo>
                  <a:pt x="28" y="19"/>
                </a:lnTo>
                <a:lnTo>
                  <a:pt x="28" y="31"/>
                </a:lnTo>
                <a:lnTo>
                  <a:pt x="31" y="34"/>
                </a:lnTo>
                <a:lnTo>
                  <a:pt x="31" y="31"/>
                </a:lnTo>
                <a:lnTo>
                  <a:pt x="34" y="31"/>
                </a:lnTo>
                <a:lnTo>
                  <a:pt x="34" y="34"/>
                </a:lnTo>
                <a:lnTo>
                  <a:pt x="31" y="34"/>
                </a:lnTo>
                <a:lnTo>
                  <a:pt x="31" y="41"/>
                </a:lnTo>
                <a:lnTo>
                  <a:pt x="34" y="44"/>
                </a:lnTo>
                <a:lnTo>
                  <a:pt x="40" y="50"/>
                </a:lnTo>
                <a:lnTo>
                  <a:pt x="40" y="50"/>
                </a:lnTo>
                <a:lnTo>
                  <a:pt x="40" y="47"/>
                </a:lnTo>
                <a:lnTo>
                  <a:pt x="43" y="44"/>
                </a:lnTo>
                <a:lnTo>
                  <a:pt x="46" y="47"/>
                </a:lnTo>
                <a:lnTo>
                  <a:pt x="43" y="56"/>
                </a:lnTo>
                <a:lnTo>
                  <a:pt x="43" y="59"/>
                </a:lnTo>
                <a:lnTo>
                  <a:pt x="46" y="59"/>
                </a:lnTo>
                <a:lnTo>
                  <a:pt x="53" y="53"/>
                </a:lnTo>
                <a:lnTo>
                  <a:pt x="56" y="53"/>
                </a:lnTo>
                <a:lnTo>
                  <a:pt x="62" y="56"/>
                </a:lnTo>
                <a:lnTo>
                  <a:pt x="65" y="56"/>
                </a:lnTo>
                <a:lnTo>
                  <a:pt x="65" y="53"/>
                </a:lnTo>
                <a:lnTo>
                  <a:pt x="68" y="56"/>
                </a:lnTo>
                <a:lnTo>
                  <a:pt x="68" y="59"/>
                </a:lnTo>
                <a:lnTo>
                  <a:pt x="71" y="59"/>
                </a:lnTo>
                <a:lnTo>
                  <a:pt x="78" y="62"/>
                </a:lnTo>
                <a:lnTo>
                  <a:pt x="81" y="66"/>
                </a:lnTo>
                <a:lnTo>
                  <a:pt x="84" y="69"/>
                </a:lnTo>
                <a:lnTo>
                  <a:pt x="87" y="72"/>
                </a:lnTo>
                <a:lnTo>
                  <a:pt x="93" y="69"/>
                </a:lnTo>
                <a:lnTo>
                  <a:pt x="100" y="72"/>
                </a:lnTo>
                <a:lnTo>
                  <a:pt x="100" y="72"/>
                </a:lnTo>
                <a:close/>
                <a:moveTo>
                  <a:pt x="21" y="25"/>
                </a:moveTo>
                <a:lnTo>
                  <a:pt x="25" y="25"/>
                </a:lnTo>
                <a:lnTo>
                  <a:pt x="25" y="28"/>
                </a:lnTo>
                <a:lnTo>
                  <a:pt x="21" y="28"/>
                </a:lnTo>
                <a:lnTo>
                  <a:pt x="21" y="25"/>
                </a:lnTo>
                <a:lnTo>
                  <a:pt x="21" y="25"/>
                </a:lnTo>
                <a:close/>
                <a:moveTo>
                  <a:pt x="12" y="34"/>
                </a:moveTo>
                <a:lnTo>
                  <a:pt x="12" y="31"/>
                </a:lnTo>
                <a:lnTo>
                  <a:pt x="9" y="31"/>
                </a:lnTo>
                <a:lnTo>
                  <a:pt x="3" y="31"/>
                </a:lnTo>
                <a:lnTo>
                  <a:pt x="3" y="31"/>
                </a:lnTo>
                <a:lnTo>
                  <a:pt x="9" y="28"/>
                </a:lnTo>
                <a:lnTo>
                  <a:pt x="12" y="25"/>
                </a:lnTo>
                <a:lnTo>
                  <a:pt x="12" y="25"/>
                </a:lnTo>
                <a:lnTo>
                  <a:pt x="12" y="25"/>
                </a:lnTo>
                <a:lnTo>
                  <a:pt x="15" y="25"/>
                </a:lnTo>
                <a:lnTo>
                  <a:pt x="18" y="28"/>
                </a:lnTo>
                <a:lnTo>
                  <a:pt x="21" y="31"/>
                </a:lnTo>
                <a:lnTo>
                  <a:pt x="18" y="31"/>
                </a:lnTo>
                <a:lnTo>
                  <a:pt x="15" y="31"/>
                </a:lnTo>
                <a:lnTo>
                  <a:pt x="12" y="34"/>
                </a:lnTo>
                <a:lnTo>
                  <a:pt x="12" y="34"/>
                </a:lnTo>
                <a:close/>
                <a:moveTo>
                  <a:pt x="21" y="37"/>
                </a:moveTo>
                <a:lnTo>
                  <a:pt x="21" y="34"/>
                </a:lnTo>
                <a:lnTo>
                  <a:pt x="25" y="34"/>
                </a:lnTo>
                <a:lnTo>
                  <a:pt x="28" y="41"/>
                </a:lnTo>
                <a:lnTo>
                  <a:pt x="25" y="41"/>
                </a:lnTo>
                <a:lnTo>
                  <a:pt x="21" y="37"/>
                </a:lnTo>
                <a:lnTo>
                  <a:pt x="21" y="37"/>
                </a:lnTo>
                <a:close/>
                <a:moveTo>
                  <a:pt x="3" y="59"/>
                </a:moveTo>
                <a:lnTo>
                  <a:pt x="6" y="59"/>
                </a:lnTo>
                <a:lnTo>
                  <a:pt x="9" y="56"/>
                </a:lnTo>
                <a:lnTo>
                  <a:pt x="9" y="56"/>
                </a:lnTo>
                <a:lnTo>
                  <a:pt x="9" y="50"/>
                </a:lnTo>
                <a:lnTo>
                  <a:pt x="15" y="50"/>
                </a:lnTo>
                <a:lnTo>
                  <a:pt x="18" y="47"/>
                </a:lnTo>
                <a:lnTo>
                  <a:pt x="21" y="44"/>
                </a:lnTo>
                <a:lnTo>
                  <a:pt x="21" y="44"/>
                </a:lnTo>
                <a:lnTo>
                  <a:pt x="25" y="44"/>
                </a:lnTo>
                <a:lnTo>
                  <a:pt x="21" y="41"/>
                </a:lnTo>
                <a:lnTo>
                  <a:pt x="21" y="41"/>
                </a:lnTo>
                <a:lnTo>
                  <a:pt x="18" y="37"/>
                </a:lnTo>
                <a:lnTo>
                  <a:pt x="12" y="37"/>
                </a:lnTo>
                <a:lnTo>
                  <a:pt x="9" y="37"/>
                </a:lnTo>
                <a:lnTo>
                  <a:pt x="9" y="41"/>
                </a:lnTo>
                <a:lnTo>
                  <a:pt x="6" y="41"/>
                </a:lnTo>
                <a:lnTo>
                  <a:pt x="6" y="41"/>
                </a:lnTo>
                <a:lnTo>
                  <a:pt x="6" y="41"/>
                </a:lnTo>
                <a:lnTo>
                  <a:pt x="3" y="41"/>
                </a:lnTo>
                <a:lnTo>
                  <a:pt x="3" y="41"/>
                </a:lnTo>
                <a:lnTo>
                  <a:pt x="0" y="41"/>
                </a:lnTo>
                <a:lnTo>
                  <a:pt x="3" y="44"/>
                </a:lnTo>
                <a:lnTo>
                  <a:pt x="3" y="44"/>
                </a:lnTo>
                <a:lnTo>
                  <a:pt x="0" y="47"/>
                </a:lnTo>
                <a:lnTo>
                  <a:pt x="0" y="47"/>
                </a:lnTo>
                <a:lnTo>
                  <a:pt x="3" y="50"/>
                </a:lnTo>
                <a:lnTo>
                  <a:pt x="6" y="53"/>
                </a:lnTo>
                <a:lnTo>
                  <a:pt x="6" y="56"/>
                </a:lnTo>
                <a:lnTo>
                  <a:pt x="6" y="56"/>
                </a:lnTo>
                <a:lnTo>
                  <a:pt x="3" y="59"/>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9" name="Freeform 47">
            <a:extLst>
              <a:ext uri="{FF2B5EF4-FFF2-40B4-BE49-F238E27FC236}">
                <a16:creationId xmlns:a16="http://schemas.microsoft.com/office/drawing/2014/main" id="{E31A3B04-C675-7E5F-6949-1BCE5871EB0F}"/>
              </a:ext>
            </a:extLst>
          </p:cNvPr>
          <p:cNvSpPr>
            <a:spLocks/>
          </p:cNvSpPr>
          <p:nvPr userDrawn="1"/>
        </p:nvSpPr>
        <p:spPr bwMode="auto">
          <a:xfrm>
            <a:off x="14289743" y="5244383"/>
            <a:ext cx="396852" cy="219078"/>
          </a:xfrm>
          <a:custGeom>
            <a:avLst/>
            <a:gdLst>
              <a:gd name="T0" fmla="*/ 125 w 125"/>
              <a:gd name="T1" fmla="*/ 47 h 69"/>
              <a:gd name="T2" fmla="*/ 119 w 125"/>
              <a:gd name="T3" fmla="*/ 38 h 69"/>
              <a:gd name="T4" fmla="*/ 116 w 125"/>
              <a:gd name="T5" fmla="*/ 31 h 69"/>
              <a:gd name="T6" fmla="*/ 116 w 125"/>
              <a:gd name="T7" fmla="*/ 25 h 69"/>
              <a:gd name="T8" fmla="*/ 113 w 125"/>
              <a:gd name="T9" fmla="*/ 22 h 69"/>
              <a:gd name="T10" fmla="*/ 103 w 125"/>
              <a:gd name="T11" fmla="*/ 16 h 69"/>
              <a:gd name="T12" fmla="*/ 94 w 125"/>
              <a:gd name="T13" fmla="*/ 16 h 69"/>
              <a:gd name="T14" fmla="*/ 88 w 125"/>
              <a:gd name="T15" fmla="*/ 9 h 69"/>
              <a:gd name="T16" fmla="*/ 78 w 125"/>
              <a:gd name="T17" fmla="*/ 6 h 69"/>
              <a:gd name="T18" fmla="*/ 75 w 125"/>
              <a:gd name="T19" fmla="*/ 0 h 69"/>
              <a:gd name="T20" fmla="*/ 72 w 125"/>
              <a:gd name="T21" fmla="*/ 3 h 69"/>
              <a:gd name="T22" fmla="*/ 63 w 125"/>
              <a:gd name="T23" fmla="*/ 0 h 69"/>
              <a:gd name="T24" fmla="*/ 53 w 125"/>
              <a:gd name="T25" fmla="*/ 6 h 69"/>
              <a:gd name="T26" fmla="*/ 56 w 125"/>
              <a:gd name="T27" fmla="*/ 19 h 69"/>
              <a:gd name="T28" fmla="*/ 47 w 125"/>
              <a:gd name="T29" fmla="*/ 31 h 69"/>
              <a:gd name="T30" fmla="*/ 38 w 125"/>
              <a:gd name="T31" fmla="*/ 28 h 69"/>
              <a:gd name="T32" fmla="*/ 28 w 125"/>
              <a:gd name="T33" fmla="*/ 16 h 69"/>
              <a:gd name="T34" fmla="*/ 25 w 125"/>
              <a:gd name="T35" fmla="*/ 9 h 69"/>
              <a:gd name="T36" fmla="*/ 19 w 125"/>
              <a:gd name="T37" fmla="*/ 16 h 69"/>
              <a:gd name="T38" fmla="*/ 13 w 125"/>
              <a:gd name="T39" fmla="*/ 16 h 69"/>
              <a:gd name="T40" fmla="*/ 10 w 125"/>
              <a:gd name="T41" fmla="*/ 25 h 69"/>
              <a:gd name="T42" fmla="*/ 6 w 125"/>
              <a:gd name="T43" fmla="*/ 31 h 69"/>
              <a:gd name="T44" fmla="*/ 3 w 125"/>
              <a:gd name="T45" fmla="*/ 41 h 69"/>
              <a:gd name="T46" fmla="*/ 0 w 125"/>
              <a:gd name="T47" fmla="*/ 47 h 69"/>
              <a:gd name="T48" fmla="*/ 3 w 125"/>
              <a:gd name="T49" fmla="*/ 60 h 69"/>
              <a:gd name="T50" fmla="*/ 6 w 125"/>
              <a:gd name="T51" fmla="*/ 60 h 69"/>
              <a:gd name="T52" fmla="*/ 16 w 125"/>
              <a:gd name="T53" fmla="*/ 50 h 69"/>
              <a:gd name="T54" fmla="*/ 31 w 125"/>
              <a:gd name="T55" fmla="*/ 47 h 69"/>
              <a:gd name="T56" fmla="*/ 38 w 125"/>
              <a:gd name="T57" fmla="*/ 50 h 69"/>
              <a:gd name="T58" fmla="*/ 44 w 125"/>
              <a:gd name="T59" fmla="*/ 47 h 69"/>
              <a:gd name="T60" fmla="*/ 50 w 125"/>
              <a:gd name="T61" fmla="*/ 50 h 69"/>
              <a:gd name="T62" fmla="*/ 60 w 125"/>
              <a:gd name="T63" fmla="*/ 53 h 69"/>
              <a:gd name="T64" fmla="*/ 66 w 125"/>
              <a:gd name="T65" fmla="*/ 50 h 69"/>
              <a:gd name="T66" fmla="*/ 81 w 125"/>
              <a:gd name="T67" fmla="*/ 53 h 69"/>
              <a:gd name="T68" fmla="*/ 91 w 125"/>
              <a:gd name="T69" fmla="*/ 60 h 69"/>
              <a:gd name="T70" fmla="*/ 100 w 125"/>
              <a:gd name="T71" fmla="*/ 66 h 69"/>
              <a:gd name="T72" fmla="*/ 100 w 125"/>
              <a:gd name="T73" fmla="*/ 69 h 69"/>
              <a:gd name="T74" fmla="*/ 116 w 125"/>
              <a:gd name="T75" fmla="*/ 63 h 69"/>
              <a:gd name="T76" fmla="*/ 119 w 125"/>
              <a:gd name="T77" fmla="*/ 56 h 69"/>
              <a:gd name="T78" fmla="*/ 125 w 125"/>
              <a:gd name="T79" fmla="*/ 5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5" h="69">
                <a:moveTo>
                  <a:pt x="125" y="53"/>
                </a:moveTo>
                <a:lnTo>
                  <a:pt x="125" y="47"/>
                </a:lnTo>
                <a:lnTo>
                  <a:pt x="122" y="44"/>
                </a:lnTo>
                <a:lnTo>
                  <a:pt x="119" y="38"/>
                </a:lnTo>
                <a:lnTo>
                  <a:pt x="119" y="34"/>
                </a:lnTo>
                <a:lnTo>
                  <a:pt x="116" y="31"/>
                </a:lnTo>
                <a:lnTo>
                  <a:pt x="116" y="28"/>
                </a:lnTo>
                <a:lnTo>
                  <a:pt x="116" y="25"/>
                </a:lnTo>
                <a:lnTo>
                  <a:pt x="113" y="25"/>
                </a:lnTo>
                <a:lnTo>
                  <a:pt x="113" y="22"/>
                </a:lnTo>
                <a:lnTo>
                  <a:pt x="113" y="19"/>
                </a:lnTo>
                <a:lnTo>
                  <a:pt x="103" y="16"/>
                </a:lnTo>
                <a:lnTo>
                  <a:pt x="97" y="19"/>
                </a:lnTo>
                <a:lnTo>
                  <a:pt x="94" y="16"/>
                </a:lnTo>
                <a:lnTo>
                  <a:pt x="91" y="13"/>
                </a:lnTo>
                <a:lnTo>
                  <a:pt x="88" y="9"/>
                </a:lnTo>
                <a:lnTo>
                  <a:pt x="81" y="6"/>
                </a:lnTo>
                <a:lnTo>
                  <a:pt x="78" y="6"/>
                </a:lnTo>
                <a:lnTo>
                  <a:pt x="78" y="3"/>
                </a:lnTo>
                <a:lnTo>
                  <a:pt x="75" y="0"/>
                </a:lnTo>
                <a:lnTo>
                  <a:pt x="75" y="3"/>
                </a:lnTo>
                <a:lnTo>
                  <a:pt x="72" y="3"/>
                </a:lnTo>
                <a:lnTo>
                  <a:pt x="66" y="0"/>
                </a:lnTo>
                <a:lnTo>
                  <a:pt x="63" y="0"/>
                </a:lnTo>
                <a:lnTo>
                  <a:pt x="56" y="6"/>
                </a:lnTo>
                <a:lnTo>
                  <a:pt x="53" y="6"/>
                </a:lnTo>
                <a:lnTo>
                  <a:pt x="53" y="9"/>
                </a:lnTo>
                <a:lnTo>
                  <a:pt x="56" y="19"/>
                </a:lnTo>
                <a:lnTo>
                  <a:pt x="53" y="25"/>
                </a:lnTo>
                <a:lnTo>
                  <a:pt x="47" y="31"/>
                </a:lnTo>
                <a:lnTo>
                  <a:pt x="44" y="31"/>
                </a:lnTo>
                <a:lnTo>
                  <a:pt x="38" y="28"/>
                </a:lnTo>
                <a:lnTo>
                  <a:pt x="38" y="25"/>
                </a:lnTo>
                <a:lnTo>
                  <a:pt x="28" y="16"/>
                </a:lnTo>
                <a:lnTo>
                  <a:pt x="28" y="9"/>
                </a:lnTo>
                <a:lnTo>
                  <a:pt x="25" y="9"/>
                </a:lnTo>
                <a:lnTo>
                  <a:pt x="22" y="13"/>
                </a:lnTo>
                <a:lnTo>
                  <a:pt x="19" y="16"/>
                </a:lnTo>
                <a:lnTo>
                  <a:pt x="16" y="16"/>
                </a:lnTo>
                <a:lnTo>
                  <a:pt x="13" y="16"/>
                </a:lnTo>
                <a:lnTo>
                  <a:pt x="10" y="22"/>
                </a:lnTo>
                <a:lnTo>
                  <a:pt x="10" y="25"/>
                </a:lnTo>
                <a:lnTo>
                  <a:pt x="6" y="25"/>
                </a:lnTo>
                <a:lnTo>
                  <a:pt x="6" y="31"/>
                </a:lnTo>
                <a:lnTo>
                  <a:pt x="3" y="38"/>
                </a:lnTo>
                <a:lnTo>
                  <a:pt x="3" y="41"/>
                </a:lnTo>
                <a:lnTo>
                  <a:pt x="3" y="44"/>
                </a:lnTo>
                <a:lnTo>
                  <a:pt x="0" y="47"/>
                </a:lnTo>
                <a:lnTo>
                  <a:pt x="0" y="56"/>
                </a:lnTo>
                <a:lnTo>
                  <a:pt x="3" y="60"/>
                </a:lnTo>
                <a:lnTo>
                  <a:pt x="3" y="60"/>
                </a:lnTo>
                <a:lnTo>
                  <a:pt x="6" y="60"/>
                </a:lnTo>
                <a:lnTo>
                  <a:pt x="10" y="53"/>
                </a:lnTo>
                <a:lnTo>
                  <a:pt x="16" y="50"/>
                </a:lnTo>
                <a:lnTo>
                  <a:pt x="22" y="47"/>
                </a:lnTo>
                <a:lnTo>
                  <a:pt x="31" y="47"/>
                </a:lnTo>
                <a:lnTo>
                  <a:pt x="35" y="47"/>
                </a:lnTo>
                <a:lnTo>
                  <a:pt x="38" y="50"/>
                </a:lnTo>
                <a:lnTo>
                  <a:pt x="41" y="47"/>
                </a:lnTo>
                <a:lnTo>
                  <a:pt x="44" y="47"/>
                </a:lnTo>
                <a:lnTo>
                  <a:pt x="47" y="50"/>
                </a:lnTo>
                <a:lnTo>
                  <a:pt x="50" y="50"/>
                </a:lnTo>
                <a:lnTo>
                  <a:pt x="53" y="53"/>
                </a:lnTo>
                <a:lnTo>
                  <a:pt x="60" y="53"/>
                </a:lnTo>
                <a:lnTo>
                  <a:pt x="60" y="53"/>
                </a:lnTo>
                <a:lnTo>
                  <a:pt x="66" y="50"/>
                </a:lnTo>
                <a:lnTo>
                  <a:pt x="75" y="53"/>
                </a:lnTo>
                <a:lnTo>
                  <a:pt x="81" y="53"/>
                </a:lnTo>
                <a:lnTo>
                  <a:pt x="85" y="60"/>
                </a:lnTo>
                <a:lnTo>
                  <a:pt x="91" y="60"/>
                </a:lnTo>
                <a:lnTo>
                  <a:pt x="94" y="66"/>
                </a:lnTo>
                <a:lnTo>
                  <a:pt x="100" y="66"/>
                </a:lnTo>
                <a:lnTo>
                  <a:pt x="100" y="69"/>
                </a:lnTo>
                <a:lnTo>
                  <a:pt x="100" y="69"/>
                </a:lnTo>
                <a:lnTo>
                  <a:pt x="106" y="66"/>
                </a:lnTo>
                <a:lnTo>
                  <a:pt x="116" y="63"/>
                </a:lnTo>
                <a:lnTo>
                  <a:pt x="116" y="60"/>
                </a:lnTo>
                <a:lnTo>
                  <a:pt x="119" y="56"/>
                </a:lnTo>
                <a:lnTo>
                  <a:pt x="122" y="53"/>
                </a:lnTo>
                <a:lnTo>
                  <a:pt x="125" y="53"/>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0" name="Freeform 48">
            <a:extLst>
              <a:ext uri="{FF2B5EF4-FFF2-40B4-BE49-F238E27FC236}">
                <a16:creationId xmlns:a16="http://schemas.microsoft.com/office/drawing/2014/main" id="{73478B3B-959B-2208-AE1D-39D80EC1055F}"/>
              </a:ext>
            </a:extLst>
          </p:cNvPr>
          <p:cNvSpPr>
            <a:spLocks/>
          </p:cNvSpPr>
          <p:nvPr userDrawn="1"/>
        </p:nvSpPr>
        <p:spPr bwMode="auto">
          <a:xfrm>
            <a:off x="14299267" y="5393608"/>
            <a:ext cx="307956" cy="228600"/>
          </a:xfrm>
          <a:custGeom>
            <a:avLst/>
            <a:gdLst>
              <a:gd name="T0" fmla="*/ 32 w 97"/>
              <a:gd name="T1" fmla="*/ 50 h 72"/>
              <a:gd name="T2" fmla="*/ 32 w 97"/>
              <a:gd name="T3" fmla="*/ 44 h 72"/>
              <a:gd name="T4" fmla="*/ 35 w 97"/>
              <a:gd name="T5" fmla="*/ 41 h 72"/>
              <a:gd name="T6" fmla="*/ 32 w 97"/>
              <a:gd name="T7" fmla="*/ 41 h 72"/>
              <a:gd name="T8" fmla="*/ 28 w 97"/>
              <a:gd name="T9" fmla="*/ 38 h 72"/>
              <a:gd name="T10" fmla="*/ 28 w 97"/>
              <a:gd name="T11" fmla="*/ 34 h 72"/>
              <a:gd name="T12" fmla="*/ 25 w 97"/>
              <a:gd name="T13" fmla="*/ 34 h 72"/>
              <a:gd name="T14" fmla="*/ 19 w 97"/>
              <a:gd name="T15" fmla="*/ 34 h 72"/>
              <a:gd name="T16" fmla="*/ 13 w 97"/>
              <a:gd name="T17" fmla="*/ 31 h 72"/>
              <a:gd name="T18" fmla="*/ 10 w 97"/>
              <a:gd name="T19" fmla="*/ 25 h 72"/>
              <a:gd name="T20" fmla="*/ 3 w 97"/>
              <a:gd name="T21" fmla="*/ 28 h 72"/>
              <a:gd name="T22" fmla="*/ 0 w 97"/>
              <a:gd name="T23" fmla="*/ 25 h 72"/>
              <a:gd name="T24" fmla="*/ 3 w 97"/>
              <a:gd name="T25" fmla="*/ 22 h 72"/>
              <a:gd name="T26" fmla="*/ 0 w 97"/>
              <a:gd name="T27" fmla="*/ 19 h 72"/>
              <a:gd name="T28" fmla="*/ 0 w 97"/>
              <a:gd name="T29" fmla="*/ 13 h 72"/>
              <a:gd name="T30" fmla="*/ 3 w 97"/>
              <a:gd name="T31" fmla="*/ 13 h 72"/>
              <a:gd name="T32" fmla="*/ 7 w 97"/>
              <a:gd name="T33" fmla="*/ 6 h 72"/>
              <a:gd name="T34" fmla="*/ 13 w 97"/>
              <a:gd name="T35" fmla="*/ 3 h 72"/>
              <a:gd name="T36" fmla="*/ 19 w 97"/>
              <a:gd name="T37" fmla="*/ 0 h 72"/>
              <a:gd name="T38" fmla="*/ 28 w 97"/>
              <a:gd name="T39" fmla="*/ 0 h 72"/>
              <a:gd name="T40" fmla="*/ 32 w 97"/>
              <a:gd name="T41" fmla="*/ 0 h 72"/>
              <a:gd name="T42" fmla="*/ 35 w 97"/>
              <a:gd name="T43" fmla="*/ 3 h 72"/>
              <a:gd name="T44" fmla="*/ 38 w 97"/>
              <a:gd name="T45" fmla="*/ 0 h 72"/>
              <a:gd name="T46" fmla="*/ 41 w 97"/>
              <a:gd name="T47" fmla="*/ 0 h 72"/>
              <a:gd name="T48" fmla="*/ 44 w 97"/>
              <a:gd name="T49" fmla="*/ 3 h 72"/>
              <a:gd name="T50" fmla="*/ 47 w 97"/>
              <a:gd name="T51" fmla="*/ 3 h 72"/>
              <a:gd name="T52" fmla="*/ 50 w 97"/>
              <a:gd name="T53" fmla="*/ 6 h 72"/>
              <a:gd name="T54" fmla="*/ 57 w 97"/>
              <a:gd name="T55" fmla="*/ 6 h 72"/>
              <a:gd name="T56" fmla="*/ 57 w 97"/>
              <a:gd name="T57" fmla="*/ 6 h 72"/>
              <a:gd name="T58" fmla="*/ 63 w 97"/>
              <a:gd name="T59" fmla="*/ 3 h 72"/>
              <a:gd name="T60" fmla="*/ 72 w 97"/>
              <a:gd name="T61" fmla="*/ 6 h 72"/>
              <a:gd name="T62" fmla="*/ 78 w 97"/>
              <a:gd name="T63" fmla="*/ 6 h 72"/>
              <a:gd name="T64" fmla="*/ 82 w 97"/>
              <a:gd name="T65" fmla="*/ 13 h 72"/>
              <a:gd name="T66" fmla="*/ 88 w 97"/>
              <a:gd name="T67" fmla="*/ 13 h 72"/>
              <a:gd name="T68" fmla="*/ 91 w 97"/>
              <a:gd name="T69" fmla="*/ 19 h 72"/>
              <a:gd name="T70" fmla="*/ 97 w 97"/>
              <a:gd name="T71" fmla="*/ 19 h 72"/>
              <a:gd name="T72" fmla="*/ 97 w 97"/>
              <a:gd name="T73" fmla="*/ 22 h 72"/>
              <a:gd name="T74" fmla="*/ 94 w 97"/>
              <a:gd name="T75" fmla="*/ 28 h 72"/>
              <a:gd name="T76" fmla="*/ 97 w 97"/>
              <a:gd name="T77" fmla="*/ 28 h 72"/>
              <a:gd name="T78" fmla="*/ 97 w 97"/>
              <a:gd name="T79" fmla="*/ 31 h 72"/>
              <a:gd name="T80" fmla="*/ 91 w 97"/>
              <a:gd name="T81" fmla="*/ 34 h 72"/>
              <a:gd name="T82" fmla="*/ 88 w 97"/>
              <a:gd name="T83" fmla="*/ 41 h 72"/>
              <a:gd name="T84" fmla="*/ 85 w 97"/>
              <a:gd name="T85" fmla="*/ 44 h 72"/>
              <a:gd name="T86" fmla="*/ 82 w 97"/>
              <a:gd name="T87" fmla="*/ 50 h 72"/>
              <a:gd name="T88" fmla="*/ 88 w 97"/>
              <a:gd name="T89" fmla="*/ 50 h 72"/>
              <a:gd name="T90" fmla="*/ 88 w 97"/>
              <a:gd name="T91" fmla="*/ 56 h 72"/>
              <a:gd name="T92" fmla="*/ 85 w 97"/>
              <a:gd name="T93" fmla="*/ 56 h 72"/>
              <a:gd name="T94" fmla="*/ 82 w 97"/>
              <a:gd name="T95" fmla="*/ 53 h 72"/>
              <a:gd name="T96" fmla="*/ 78 w 97"/>
              <a:gd name="T97" fmla="*/ 53 h 72"/>
              <a:gd name="T98" fmla="*/ 75 w 97"/>
              <a:gd name="T99" fmla="*/ 59 h 72"/>
              <a:gd name="T100" fmla="*/ 72 w 97"/>
              <a:gd name="T101" fmla="*/ 59 h 72"/>
              <a:gd name="T102" fmla="*/ 72 w 97"/>
              <a:gd name="T103" fmla="*/ 66 h 72"/>
              <a:gd name="T104" fmla="*/ 69 w 97"/>
              <a:gd name="T105" fmla="*/ 66 h 72"/>
              <a:gd name="T106" fmla="*/ 66 w 97"/>
              <a:gd name="T107" fmla="*/ 69 h 72"/>
              <a:gd name="T108" fmla="*/ 60 w 97"/>
              <a:gd name="T109" fmla="*/ 66 h 72"/>
              <a:gd name="T110" fmla="*/ 53 w 97"/>
              <a:gd name="T111" fmla="*/ 69 h 72"/>
              <a:gd name="T112" fmla="*/ 47 w 97"/>
              <a:gd name="T113" fmla="*/ 72 h 72"/>
              <a:gd name="T114" fmla="*/ 44 w 97"/>
              <a:gd name="T115" fmla="*/ 66 h 72"/>
              <a:gd name="T116" fmla="*/ 47 w 97"/>
              <a:gd name="T117" fmla="*/ 63 h 72"/>
              <a:gd name="T118" fmla="*/ 44 w 97"/>
              <a:gd name="T119" fmla="*/ 56 h 72"/>
              <a:gd name="T120" fmla="*/ 41 w 97"/>
              <a:gd name="T121" fmla="*/ 53 h 72"/>
              <a:gd name="T122" fmla="*/ 38 w 97"/>
              <a:gd name="T123" fmla="*/ 50 h 72"/>
              <a:gd name="T124" fmla="*/ 32 w 97"/>
              <a:gd name="T125" fmla="*/ 5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7" h="72">
                <a:moveTo>
                  <a:pt x="32" y="50"/>
                </a:moveTo>
                <a:lnTo>
                  <a:pt x="32" y="44"/>
                </a:lnTo>
                <a:lnTo>
                  <a:pt x="35" y="41"/>
                </a:lnTo>
                <a:lnTo>
                  <a:pt x="32" y="41"/>
                </a:lnTo>
                <a:lnTo>
                  <a:pt x="28" y="38"/>
                </a:lnTo>
                <a:lnTo>
                  <a:pt x="28" y="34"/>
                </a:lnTo>
                <a:lnTo>
                  <a:pt x="25" y="34"/>
                </a:lnTo>
                <a:lnTo>
                  <a:pt x="19" y="34"/>
                </a:lnTo>
                <a:lnTo>
                  <a:pt x="13" y="31"/>
                </a:lnTo>
                <a:lnTo>
                  <a:pt x="10" y="25"/>
                </a:lnTo>
                <a:lnTo>
                  <a:pt x="3" y="28"/>
                </a:lnTo>
                <a:lnTo>
                  <a:pt x="0" y="25"/>
                </a:lnTo>
                <a:lnTo>
                  <a:pt x="3" y="22"/>
                </a:lnTo>
                <a:lnTo>
                  <a:pt x="0" y="19"/>
                </a:lnTo>
                <a:lnTo>
                  <a:pt x="0" y="13"/>
                </a:lnTo>
                <a:lnTo>
                  <a:pt x="3" y="13"/>
                </a:lnTo>
                <a:lnTo>
                  <a:pt x="7" y="6"/>
                </a:lnTo>
                <a:lnTo>
                  <a:pt x="13" y="3"/>
                </a:lnTo>
                <a:lnTo>
                  <a:pt x="19" y="0"/>
                </a:lnTo>
                <a:lnTo>
                  <a:pt x="28" y="0"/>
                </a:lnTo>
                <a:lnTo>
                  <a:pt x="32" y="0"/>
                </a:lnTo>
                <a:lnTo>
                  <a:pt x="35" y="3"/>
                </a:lnTo>
                <a:lnTo>
                  <a:pt x="38" y="0"/>
                </a:lnTo>
                <a:lnTo>
                  <a:pt x="41" y="0"/>
                </a:lnTo>
                <a:lnTo>
                  <a:pt x="44" y="3"/>
                </a:lnTo>
                <a:lnTo>
                  <a:pt x="47" y="3"/>
                </a:lnTo>
                <a:lnTo>
                  <a:pt x="50" y="6"/>
                </a:lnTo>
                <a:lnTo>
                  <a:pt x="57" y="6"/>
                </a:lnTo>
                <a:lnTo>
                  <a:pt x="57" y="6"/>
                </a:lnTo>
                <a:lnTo>
                  <a:pt x="63" y="3"/>
                </a:lnTo>
                <a:lnTo>
                  <a:pt x="72" y="6"/>
                </a:lnTo>
                <a:lnTo>
                  <a:pt x="78" y="6"/>
                </a:lnTo>
                <a:lnTo>
                  <a:pt x="82" y="13"/>
                </a:lnTo>
                <a:lnTo>
                  <a:pt x="88" y="13"/>
                </a:lnTo>
                <a:lnTo>
                  <a:pt x="91" y="19"/>
                </a:lnTo>
                <a:lnTo>
                  <a:pt x="97" y="19"/>
                </a:lnTo>
                <a:lnTo>
                  <a:pt x="97" y="22"/>
                </a:lnTo>
                <a:lnTo>
                  <a:pt x="94" y="28"/>
                </a:lnTo>
                <a:lnTo>
                  <a:pt x="97" y="28"/>
                </a:lnTo>
                <a:lnTo>
                  <a:pt x="97" y="31"/>
                </a:lnTo>
                <a:lnTo>
                  <a:pt x="91" y="34"/>
                </a:lnTo>
                <a:lnTo>
                  <a:pt x="88" y="41"/>
                </a:lnTo>
                <a:lnTo>
                  <a:pt x="85" y="44"/>
                </a:lnTo>
                <a:lnTo>
                  <a:pt x="82" y="50"/>
                </a:lnTo>
                <a:lnTo>
                  <a:pt x="88" y="50"/>
                </a:lnTo>
                <a:lnTo>
                  <a:pt x="88" y="56"/>
                </a:lnTo>
                <a:lnTo>
                  <a:pt x="85" y="56"/>
                </a:lnTo>
                <a:lnTo>
                  <a:pt x="82" y="53"/>
                </a:lnTo>
                <a:lnTo>
                  <a:pt x="78" y="53"/>
                </a:lnTo>
                <a:lnTo>
                  <a:pt x="75" y="59"/>
                </a:lnTo>
                <a:lnTo>
                  <a:pt x="72" y="59"/>
                </a:lnTo>
                <a:lnTo>
                  <a:pt x="72" y="66"/>
                </a:lnTo>
                <a:lnTo>
                  <a:pt x="69" y="66"/>
                </a:lnTo>
                <a:lnTo>
                  <a:pt x="66" y="69"/>
                </a:lnTo>
                <a:lnTo>
                  <a:pt x="60" y="66"/>
                </a:lnTo>
                <a:lnTo>
                  <a:pt x="53" y="69"/>
                </a:lnTo>
                <a:lnTo>
                  <a:pt x="47" y="72"/>
                </a:lnTo>
                <a:lnTo>
                  <a:pt x="44" y="66"/>
                </a:lnTo>
                <a:lnTo>
                  <a:pt x="47" y="63"/>
                </a:lnTo>
                <a:lnTo>
                  <a:pt x="44" y="56"/>
                </a:lnTo>
                <a:lnTo>
                  <a:pt x="41" y="53"/>
                </a:lnTo>
                <a:lnTo>
                  <a:pt x="38" y="50"/>
                </a:lnTo>
                <a:lnTo>
                  <a:pt x="32" y="5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1" name="Freeform 49">
            <a:extLst>
              <a:ext uri="{FF2B5EF4-FFF2-40B4-BE49-F238E27FC236}">
                <a16:creationId xmlns:a16="http://schemas.microsoft.com/office/drawing/2014/main" id="{99298F62-8D5E-06AC-CB19-7CE5DF2B2E3F}"/>
              </a:ext>
            </a:extLst>
          </p:cNvPr>
          <p:cNvSpPr>
            <a:spLocks/>
          </p:cNvSpPr>
          <p:nvPr userDrawn="1"/>
        </p:nvSpPr>
        <p:spPr bwMode="auto">
          <a:xfrm>
            <a:off x="14448482" y="5412659"/>
            <a:ext cx="527016" cy="396878"/>
          </a:xfrm>
          <a:custGeom>
            <a:avLst/>
            <a:gdLst>
              <a:gd name="T0" fmla="*/ 6 w 166"/>
              <a:gd name="T1" fmla="*/ 63 h 125"/>
              <a:gd name="T2" fmla="*/ 19 w 166"/>
              <a:gd name="T3" fmla="*/ 63 h 125"/>
              <a:gd name="T4" fmla="*/ 25 w 166"/>
              <a:gd name="T5" fmla="*/ 60 h 125"/>
              <a:gd name="T6" fmla="*/ 28 w 166"/>
              <a:gd name="T7" fmla="*/ 53 h 125"/>
              <a:gd name="T8" fmla="*/ 35 w 166"/>
              <a:gd name="T9" fmla="*/ 47 h 125"/>
              <a:gd name="T10" fmla="*/ 41 w 166"/>
              <a:gd name="T11" fmla="*/ 50 h 125"/>
              <a:gd name="T12" fmla="*/ 35 w 166"/>
              <a:gd name="T13" fmla="*/ 44 h 125"/>
              <a:gd name="T14" fmla="*/ 41 w 166"/>
              <a:gd name="T15" fmla="*/ 35 h 125"/>
              <a:gd name="T16" fmla="*/ 50 w 166"/>
              <a:gd name="T17" fmla="*/ 25 h 125"/>
              <a:gd name="T18" fmla="*/ 47 w 166"/>
              <a:gd name="T19" fmla="*/ 22 h 125"/>
              <a:gd name="T20" fmla="*/ 56 w 166"/>
              <a:gd name="T21" fmla="*/ 13 h 125"/>
              <a:gd name="T22" fmla="*/ 66 w 166"/>
              <a:gd name="T23" fmla="*/ 7 h 125"/>
              <a:gd name="T24" fmla="*/ 72 w 166"/>
              <a:gd name="T25" fmla="*/ 0 h 125"/>
              <a:gd name="T26" fmla="*/ 78 w 166"/>
              <a:gd name="T27" fmla="*/ 0 h 125"/>
              <a:gd name="T28" fmla="*/ 88 w 166"/>
              <a:gd name="T29" fmla="*/ 7 h 125"/>
              <a:gd name="T30" fmla="*/ 97 w 166"/>
              <a:gd name="T31" fmla="*/ 3 h 125"/>
              <a:gd name="T32" fmla="*/ 106 w 166"/>
              <a:gd name="T33" fmla="*/ 7 h 125"/>
              <a:gd name="T34" fmla="*/ 113 w 166"/>
              <a:gd name="T35" fmla="*/ 7 h 125"/>
              <a:gd name="T36" fmla="*/ 125 w 166"/>
              <a:gd name="T37" fmla="*/ 10 h 125"/>
              <a:gd name="T38" fmla="*/ 125 w 166"/>
              <a:gd name="T39" fmla="*/ 19 h 125"/>
              <a:gd name="T40" fmla="*/ 128 w 166"/>
              <a:gd name="T41" fmla="*/ 28 h 125"/>
              <a:gd name="T42" fmla="*/ 135 w 166"/>
              <a:gd name="T43" fmla="*/ 41 h 125"/>
              <a:gd name="T44" fmla="*/ 144 w 166"/>
              <a:gd name="T45" fmla="*/ 50 h 125"/>
              <a:gd name="T46" fmla="*/ 153 w 166"/>
              <a:gd name="T47" fmla="*/ 60 h 125"/>
              <a:gd name="T48" fmla="*/ 160 w 166"/>
              <a:gd name="T49" fmla="*/ 69 h 125"/>
              <a:gd name="T50" fmla="*/ 163 w 166"/>
              <a:gd name="T51" fmla="*/ 72 h 125"/>
              <a:gd name="T52" fmla="*/ 150 w 166"/>
              <a:gd name="T53" fmla="*/ 82 h 125"/>
              <a:gd name="T54" fmla="*/ 144 w 166"/>
              <a:gd name="T55" fmla="*/ 82 h 125"/>
              <a:gd name="T56" fmla="*/ 147 w 166"/>
              <a:gd name="T57" fmla="*/ 91 h 125"/>
              <a:gd name="T58" fmla="*/ 150 w 166"/>
              <a:gd name="T59" fmla="*/ 103 h 125"/>
              <a:gd name="T60" fmla="*/ 150 w 166"/>
              <a:gd name="T61" fmla="*/ 107 h 125"/>
              <a:gd name="T62" fmla="*/ 138 w 166"/>
              <a:gd name="T63" fmla="*/ 110 h 125"/>
              <a:gd name="T64" fmla="*/ 135 w 166"/>
              <a:gd name="T65" fmla="*/ 125 h 125"/>
              <a:gd name="T66" fmla="*/ 125 w 166"/>
              <a:gd name="T67" fmla="*/ 122 h 125"/>
              <a:gd name="T68" fmla="*/ 116 w 166"/>
              <a:gd name="T69" fmla="*/ 122 h 125"/>
              <a:gd name="T70" fmla="*/ 110 w 166"/>
              <a:gd name="T71" fmla="*/ 125 h 125"/>
              <a:gd name="T72" fmla="*/ 103 w 166"/>
              <a:gd name="T73" fmla="*/ 122 h 125"/>
              <a:gd name="T74" fmla="*/ 94 w 166"/>
              <a:gd name="T75" fmla="*/ 125 h 125"/>
              <a:gd name="T76" fmla="*/ 85 w 166"/>
              <a:gd name="T77" fmla="*/ 122 h 125"/>
              <a:gd name="T78" fmla="*/ 81 w 166"/>
              <a:gd name="T79" fmla="*/ 122 h 125"/>
              <a:gd name="T80" fmla="*/ 69 w 166"/>
              <a:gd name="T81" fmla="*/ 122 h 125"/>
              <a:gd name="T82" fmla="*/ 66 w 166"/>
              <a:gd name="T83" fmla="*/ 119 h 125"/>
              <a:gd name="T84" fmla="*/ 47 w 166"/>
              <a:gd name="T85" fmla="*/ 113 h 125"/>
              <a:gd name="T86" fmla="*/ 41 w 166"/>
              <a:gd name="T87" fmla="*/ 119 h 125"/>
              <a:gd name="T88" fmla="*/ 22 w 166"/>
              <a:gd name="T89" fmla="*/ 119 h 125"/>
              <a:gd name="T90" fmla="*/ 13 w 166"/>
              <a:gd name="T91" fmla="*/ 119 h 125"/>
              <a:gd name="T92" fmla="*/ 10 w 166"/>
              <a:gd name="T93" fmla="*/ 116 h 125"/>
              <a:gd name="T94" fmla="*/ 3 w 166"/>
              <a:gd name="T95" fmla="*/ 103 h 125"/>
              <a:gd name="T96" fmla="*/ 10 w 166"/>
              <a:gd name="T97" fmla="*/ 97 h 125"/>
              <a:gd name="T98" fmla="*/ 10 w 166"/>
              <a:gd name="T99" fmla="*/ 85 h 125"/>
              <a:gd name="T100" fmla="*/ 3 w 166"/>
              <a:gd name="T101" fmla="*/ 75 h 125"/>
              <a:gd name="T102" fmla="*/ 0 w 166"/>
              <a:gd name="T103" fmla="*/ 6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6" h="125">
                <a:moveTo>
                  <a:pt x="0" y="66"/>
                </a:moveTo>
                <a:lnTo>
                  <a:pt x="6" y="63"/>
                </a:lnTo>
                <a:lnTo>
                  <a:pt x="13" y="60"/>
                </a:lnTo>
                <a:lnTo>
                  <a:pt x="19" y="63"/>
                </a:lnTo>
                <a:lnTo>
                  <a:pt x="22" y="60"/>
                </a:lnTo>
                <a:lnTo>
                  <a:pt x="25" y="60"/>
                </a:lnTo>
                <a:lnTo>
                  <a:pt x="25" y="53"/>
                </a:lnTo>
                <a:lnTo>
                  <a:pt x="28" y="53"/>
                </a:lnTo>
                <a:lnTo>
                  <a:pt x="31" y="47"/>
                </a:lnTo>
                <a:lnTo>
                  <a:pt x="35" y="47"/>
                </a:lnTo>
                <a:lnTo>
                  <a:pt x="38" y="50"/>
                </a:lnTo>
                <a:lnTo>
                  <a:pt x="41" y="50"/>
                </a:lnTo>
                <a:lnTo>
                  <a:pt x="41" y="44"/>
                </a:lnTo>
                <a:lnTo>
                  <a:pt x="35" y="44"/>
                </a:lnTo>
                <a:lnTo>
                  <a:pt x="38" y="38"/>
                </a:lnTo>
                <a:lnTo>
                  <a:pt x="41" y="35"/>
                </a:lnTo>
                <a:lnTo>
                  <a:pt x="44" y="28"/>
                </a:lnTo>
                <a:lnTo>
                  <a:pt x="50" y="25"/>
                </a:lnTo>
                <a:lnTo>
                  <a:pt x="50" y="22"/>
                </a:lnTo>
                <a:lnTo>
                  <a:pt x="47" y="22"/>
                </a:lnTo>
                <a:lnTo>
                  <a:pt x="50" y="16"/>
                </a:lnTo>
                <a:lnTo>
                  <a:pt x="56" y="13"/>
                </a:lnTo>
                <a:lnTo>
                  <a:pt x="66" y="10"/>
                </a:lnTo>
                <a:lnTo>
                  <a:pt x="66" y="7"/>
                </a:lnTo>
                <a:lnTo>
                  <a:pt x="69" y="3"/>
                </a:lnTo>
                <a:lnTo>
                  <a:pt x="72" y="0"/>
                </a:lnTo>
                <a:lnTo>
                  <a:pt x="75" y="0"/>
                </a:lnTo>
                <a:lnTo>
                  <a:pt x="78" y="0"/>
                </a:lnTo>
                <a:lnTo>
                  <a:pt x="85" y="0"/>
                </a:lnTo>
                <a:lnTo>
                  <a:pt x="88" y="7"/>
                </a:lnTo>
                <a:lnTo>
                  <a:pt x="94" y="3"/>
                </a:lnTo>
                <a:lnTo>
                  <a:pt x="97" y="3"/>
                </a:lnTo>
                <a:lnTo>
                  <a:pt x="100" y="10"/>
                </a:lnTo>
                <a:lnTo>
                  <a:pt x="106" y="7"/>
                </a:lnTo>
                <a:lnTo>
                  <a:pt x="113" y="3"/>
                </a:lnTo>
                <a:lnTo>
                  <a:pt x="113" y="7"/>
                </a:lnTo>
                <a:lnTo>
                  <a:pt x="116" y="7"/>
                </a:lnTo>
                <a:lnTo>
                  <a:pt x="125" y="10"/>
                </a:lnTo>
                <a:lnTo>
                  <a:pt x="125" y="16"/>
                </a:lnTo>
                <a:lnTo>
                  <a:pt x="125" y="19"/>
                </a:lnTo>
                <a:lnTo>
                  <a:pt x="128" y="25"/>
                </a:lnTo>
                <a:lnTo>
                  <a:pt x="128" y="28"/>
                </a:lnTo>
                <a:lnTo>
                  <a:pt x="131" y="35"/>
                </a:lnTo>
                <a:lnTo>
                  <a:pt x="135" y="41"/>
                </a:lnTo>
                <a:lnTo>
                  <a:pt x="141" y="47"/>
                </a:lnTo>
                <a:lnTo>
                  <a:pt x="144" y="50"/>
                </a:lnTo>
                <a:lnTo>
                  <a:pt x="147" y="57"/>
                </a:lnTo>
                <a:lnTo>
                  <a:pt x="153" y="60"/>
                </a:lnTo>
                <a:lnTo>
                  <a:pt x="160" y="66"/>
                </a:lnTo>
                <a:lnTo>
                  <a:pt x="160" y="69"/>
                </a:lnTo>
                <a:lnTo>
                  <a:pt x="166" y="72"/>
                </a:lnTo>
                <a:lnTo>
                  <a:pt x="163" y="72"/>
                </a:lnTo>
                <a:lnTo>
                  <a:pt x="160" y="82"/>
                </a:lnTo>
                <a:lnTo>
                  <a:pt x="150" y="82"/>
                </a:lnTo>
                <a:lnTo>
                  <a:pt x="144" y="78"/>
                </a:lnTo>
                <a:lnTo>
                  <a:pt x="144" y="82"/>
                </a:lnTo>
                <a:lnTo>
                  <a:pt x="144" y="85"/>
                </a:lnTo>
                <a:lnTo>
                  <a:pt x="147" y="91"/>
                </a:lnTo>
                <a:lnTo>
                  <a:pt x="147" y="97"/>
                </a:lnTo>
                <a:lnTo>
                  <a:pt x="150" y="103"/>
                </a:lnTo>
                <a:lnTo>
                  <a:pt x="150" y="107"/>
                </a:lnTo>
                <a:lnTo>
                  <a:pt x="150" y="107"/>
                </a:lnTo>
                <a:lnTo>
                  <a:pt x="141" y="110"/>
                </a:lnTo>
                <a:lnTo>
                  <a:pt x="138" y="110"/>
                </a:lnTo>
                <a:lnTo>
                  <a:pt x="135" y="116"/>
                </a:lnTo>
                <a:lnTo>
                  <a:pt x="135" y="125"/>
                </a:lnTo>
                <a:lnTo>
                  <a:pt x="128" y="125"/>
                </a:lnTo>
                <a:lnTo>
                  <a:pt x="125" y="122"/>
                </a:lnTo>
                <a:lnTo>
                  <a:pt x="119" y="122"/>
                </a:lnTo>
                <a:lnTo>
                  <a:pt x="116" y="122"/>
                </a:lnTo>
                <a:lnTo>
                  <a:pt x="113" y="122"/>
                </a:lnTo>
                <a:lnTo>
                  <a:pt x="110" y="125"/>
                </a:lnTo>
                <a:lnTo>
                  <a:pt x="106" y="125"/>
                </a:lnTo>
                <a:lnTo>
                  <a:pt x="103" y="122"/>
                </a:lnTo>
                <a:lnTo>
                  <a:pt x="100" y="119"/>
                </a:lnTo>
                <a:lnTo>
                  <a:pt x="94" y="125"/>
                </a:lnTo>
                <a:lnTo>
                  <a:pt x="91" y="122"/>
                </a:lnTo>
                <a:lnTo>
                  <a:pt x="85" y="122"/>
                </a:lnTo>
                <a:lnTo>
                  <a:pt x="81" y="122"/>
                </a:lnTo>
                <a:lnTo>
                  <a:pt x="81" y="122"/>
                </a:lnTo>
                <a:lnTo>
                  <a:pt x="78" y="122"/>
                </a:lnTo>
                <a:lnTo>
                  <a:pt x="69" y="122"/>
                </a:lnTo>
                <a:lnTo>
                  <a:pt x="69" y="122"/>
                </a:lnTo>
                <a:lnTo>
                  <a:pt x="66" y="119"/>
                </a:lnTo>
                <a:lnTo>
                  <a:pt x="53" y="116"/>
                </a:lnTo>
                <a:lnTo>
                  <a:pt x="47" y="113"/>
                </a:lnTo>
                <a:lnTo>
                  <a:pt x="47" y="113"/>
                </a:lnTo>
                <a:lnTo>
                  <a:pt x="41" y="119"/>
                </a:lnTo>
                <a:lnTo>
                  <a:pt x="35" y="119"/>
                </a:lnTo>
                <a:lnTo>
                  <a:pt x="22" y="119"/>
                </a:lnTo>
                <a:lnTo>
                  <a:pt x="19" y="122"/>
                </a:lnTo>
                <a:lnTo>
                  <a:pt x="13" y="119"/>
                </a:lnTo>
                <a:lnTo>
                  <a:pt x="10" y="119"/>
                </a:lnTo>
                <a:lnTo>
                  <a:pt x="10" y="116"/>
                </a:lnTo>
                <a:lnTo>
                  <a:pt x="6" y="110"/>
                </a:lnTo>
                <a:lnTo>
                  <a:pt x="3" y="103"/>
                </a:lnTo>
                <a:lnTo>
                  <a:pt x="6" y="100"/>
                </a:lnTo>
                <a:lnTo>
                  <a:pt x="10" y="97"/>
                </a:lnTo>
                <a:lnTo>
                  <a:pt x="10" y="85"/>
                </a:lnTo>
                <a:lnTo>
                  <a:pt x="10" y="85"/>
                </a:lnTo>
                <a:lnTo>
                  <a:pt x="6" y="78"/>
                </a:lnTo>
                <a:lnTo>
                  <a:pt x="3" y="75"/>
                </a:lnTo>
                <a:lnTo>
                  <a:pt x="3" y="66"/>
                </a:lnTo>
                <a:lnTo>
                  <a:pt x="0" y="66"/>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2" name="Freeform 50">
            <a:extLst>
              <a:ext uri="{FF2B5EF4-FFF2-40B4-BE49-F238E27FC236}">
                <a16:creationId xmlns:a16="http://schemas.microsoft.com/office/drawing/2014/main" id="{E040B357-EC93-20CD-95CC-92375C1BEA56}"/>
              </a:ext>
            </a:extLst>
          </p:cNvPr>
          <p:cNvSpPr>
            <a:spLocks/>
          </p:cNvSpPr>
          <p:nvPr userDrawn="1"/>
        </p:nvSpPr>
        <p:spPr bwMode="auto">
          <a:xfrm>
            <a:off x="14410385" y="5730156"/>
            <a:ext cx="1031811" cy="638176"/>
          </a:xfrm>
          <a:custGeom>
            <a:avLst/>
            <a:gdLst>
              <a:gd name="T0" fmla="*/ 47 w 325"/>
              <a:gd name="T1" fmla="*/ 19 h 201"/>
              <a:gd name="T2" fmla="*/ 78 w 325"/>
              <a:gd name="T3" fmla="*/ 19 h 201"/>
              <a:gd name="T4" fmla="*/ 93 w 325"/>
              <a:gd name="T5" fmla="*/ 22 h 201"/>
              <a:gd name="T6" fmla="*/ 115 w 325"/>
              <a:gd name="T7" fmla="*/ 22 h 201"/>
              <a:gd name="T8" fmla="*/ 131 w 325"/>
              <a:gd name="T9" fmla="*/ 22 h 201"/>
              <a:gd name="T10" fmla="*/ 150 w 325"/>
              <a:gd name="T11" fmla="*/ 10 h 201"/>
              <a:gd name="T12" fmla="*/ 172 w 325"/>
              <a:gd name="T13" fmla="*/ 3 h 201"/>
              <a:gd name="T14" fmla="*/ 203 w 325"/>
              <a:gd name="T15" fmla="*/ 0 h 201"/>
              <a:gd name="T16" fmla="*/ 225 w 325"/>
              <a:gd name="T17" fmla="*/ 22 h 201"/>
              <a:gd name="T18" fmla="*/ 234 w 325"/>
              <a:gd name="T19" fmla="*/ 44 h 201"/>
              <a:gd name="T20" fmla="*/ 262 w 325"/>
              <a:gd name="T21" fmla="*/ 50 h 201"/>
              <a:gd name="T22" fmla="*/ 284 w 325"/>
              <a:gd name="T23" fmla="*/ 63 h 201"/>
              <a:gd name="T24" fmla="*/ 306 w 325"/>
              <a:gd name="T25" fmla="*/ 63 h 201"/>
              <a:gd name="T26" fmla="*/ 325 w 325"/>
              <a:gd name="T27" fmla="*/ 69 h 201"/>
              <a:gd name="T28" fmla="*/ 322 w 325"/>
              <a:gd name="T29" fmla="*/ 94 h 201"/>
              <a:gd name="T30" fmla="*/ 306 w 325"/>
              <a:gd name="T31" fmla="*/ 113 h 201"/>
              <a:gd name="T32" fmla="*/ 297 w 325"/>
              <a:gd name="T33" fmla="*/ 132 h 201"/>
              <a:gd name="T34" fmla="*/ 278 w 325"/>
              <a:gd name="T35" fmla="*/ 138 h 201"/>
              <a:gd name="T36" fmla="*/ 262 w 325"/>
              <a:gd name="T37" fmla="*/ 144 h 201"/>
              <a:gd name="T38" fmla="*/ 247 w 325"/>
              <a:gd name="T39" fmla="*/ 144 h 201"/>
              <a:gd name="T40" fmla="*/ 243 w 325"/>
              <a:gd name="T41" fmla="*/ 157 h 201"/>
              <a:gd name="T42" fmla="*/ 243 w 325"/>
              <a:gd name="T43" fmla="*/ 151 h 201"/>
              <a:gd name="T44" fmla="*/ 231 w 325"/>
              <a:gd name="T45" fmla="*/ 160 h 201"/>
              <a:gd name="T46" fmla="*/ 215 w 325"/>
              <a:gd name="T47" fmla="*/ 160 h 201"/>
              <a:gd name="T48" fmla="*/ 231 w 325"/>
              <a:gd name="T49" fmla="*/ 166 h 201"/>
              <a:gd name="T50" fmla="*/ 234 w 325"/>
              <a:gd name="T51" fmla="*/ 172 h 201"/>
              <a:gd name="T52" fmla="*/ 243 w 325"/>
              <a:gd name="T53" fmla="*/ 179 h 201"/>
              <a:gd name="T54" fmla="*/ 234 w 325"/>
              <a:gd name="T55" fmla="*/ 160 h 201"/>
              <a:gd name="T56" fmla="*/ 253 w 325"/>
              <a:gd name="T57" fmla="*/ 182 h 201"/>
              <a:gd name="T58" fmla="*/ 268 w 325"/>
              <a:gd name="T59" fmla="*/ 176 h 201"/>
              <a:gd name="T60" fmla="*/ 268 w 325"/>
              <a:gd name="T61" fmla="*/ 185 h 201"/>
              <a:gd name="T62" fmla="*/ 240 w 325"/>
              <a:gd name="T63" fmla="*/ 191 h 201"/>
              <a:gd name="T64" fmla="*/ 215 w 325"/>
              <a:gd name="T65" fmla="*/ 197 h 201"/>
              <a:gd name="T66" fmla="*/ 206 w 325"/>
              <a:gd name="T67" fmla="*/ 182 h 201"/>
              <a:gd name="T68" fmla="*/ 215 w 325"/>
              <a:gd name="T69" fmla="*/ 169 h 201"/>
              <a:gd name="T70" fmla="*/ 212 w 325"/>
              <a:gd name="T71" fmla="*/ 163 h 201"/>
              <a:gd name="T72" fmla="*/ 190 w 325"/>
              <a:gd name="T73" fmla="*/ 160 h 201"/>
              <a:gd name="T74" fmla="*/ 181 w 325"/>
              <a:gd name="T75" fmla="*/ 154 h 201"/>
              <a:gd name="T76" fmla="*/ 187 w 325"/>
              <a:gd name="T77" fmla="*/ 151 h 201"/>
              <a:gd name="T78" fmla="*/ 184 w 325"/>
              <a:gd name="T79" fmla="*/ 144 h 201"/>
              <a:gd name="T80" fmla="*/ 175 w 325"/>
              <a:gd name="T81" fmla="*/ 147 h 201"/>
              <a:gd name="T82" fmla="*/ 162 w 325"/>
              <a:gd name="T83" fmla="*/ 157 h 201"/>
              <a:gd name="T84" fmla="*/ 147 w 325"/>
              <a:gd name="T85" fmla="*/ 176 h 201"/>
              <a:gd name="T86" fmla="*/ 147 w 325"/>
              <a:gd name="T87" fmla="*/ 182 h 201"/>
              <a:gd name="T88" fmla="*/ 128 w 325"/>
              <a:gd name="T89" fmla="*/ 182 h 201"/>
              <a:gd name="T90" fmla="*/ 125 w 325"/>
              <a:gd name="T91" fmla="*/ 172 h 201"/>
              <a:gd name="T92" fmla="*/ 134 w 325"/>
              <a:gd name="T93" fmla="*/ 154 h 201"/>
              <a:gd name="T94" fmla="*/ 147 w 325"/>
              <a:gd name="T95" fmla="*/ 147 h 201"/>
              <a:gd name="T96" fmla="*/ 134 w 325"/>
              <a:gd name="T97" fmla="*/ 132 h 201"/>
              <a:gd name="T98" fmla="*/ 118 w 325"/>
              <a:gd name="T99" fmla="*/ 110 h 201"/>
              <a:gd name="T100" fmla="*/ 100 w 325"/>
              <a:gd name="T101" fmla="*/ 104 h 201"/>
              <a:gd name="T102" fmla="*/ 84 w 325"/>
              <a:gd name="T103" fmla="*/ 100 h 201"/>
              <a:gd name="T104" fmla="*/ 81 w 325"/>
              <a:gd name="T105" fmla="*/ 113 h 201"/>
              <a:gd name="T106" fmla="*/ 53 w 325"/>
              <a:gd name="T107" fmla="*/ 125 h 201"/>
              <a:gd name="T108" fmla="*/ 28 w 325"/>
              <a:gd name="T109" fmla="*/ 119 h 201"/>
              <a:gd name="T110" fmla="*/ 9 w 325"/>
              <a:gd name="T111" fmla="*/ 113 h 201"/>
              <a:gd name="T112" fmla="*/ 6 w 325"/>
              <a:gd name="T113" fmla="*/ 91 h 201"/>
              <a:gd name="T114" fmla="*/ 25 w 325"/>
              <a:gd name="T115" fmla="*/ 60 h 201"/>
              <a:gd name="T116" fmla="*/ 28 w 325"/>
              <a:gd name="T117" fmla="*/ 44 h 201"/>
              <a:gd name="T118" fmla="*/ 22 w 325"/>
              <a:gd name="T119" fmla="*/ 2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5" h="201">
                <a:moveTo>
                  <a:pt x="22" y="19"/>
                </a:moveTo>
                <a:lnTo>
                  <a:pt x="25" y="19"/>
                </a:lnTo>
                <a:lnTo>
                  <a:pt x="31" y="22"/>
                </a:lnTo>
                <a:lnTo>
                  <a:pt x="34" y="19"/>
                </a:lnTo>
                <a:lnTo>
                  <a:pt x="47" y="19"/>
                </a:lnTo>
                <a:lnTo>
                  <a:pt x="53" y="19"/>
                </a:lnTo>
                <a:lnTo>
                  <a:pt x="59" y="13"/>
                </a:lnTo>
                <a:lnTo>
                  <a:pt x="59" y="13"/>
                </a:lnTo>
                <a:lnTo>
                  <a:pt x="65" y="16"/>
                </a:lnTo>
                <a:lnTo>
                  <a:pt x="78" y="19"/>
                </a:lnTo>
                <a:lnTo>
                  <a:pt x="81" y="22"/>
                </a:lnTo>
                <a:lnTo>
                  <a:pt x="81" y="22"/>
                </a:lnTo>
                <a:lnTo>
                  <a:pt x="90" y="22"/>
                </a:lnTo>
                <a:lnTo>
                  <a:pt x="93" y="22"/>
                </a:lnTo>
                <a:lnTo>
                  <a:pt x="93" y="22"/>
                </a:lnTo>
                <a:lnTo>
                  <a:pt x="97" y="22"/>
                </a:lnTo>
                <a:lnTo>
                  <a:pt x="103" y="22"/>
                </a:lnTo>
                <a:lnTo>
                  <a:pt x="106" y="25"/>
                </a:lnTo>
                <a:lnTo>
                  <a:pt x="112" y="19"/>
                </a:lnTo>
                <a:lnTo>
                  <a:pt x="115" y="22"/>
                </a:lnTo>
                <a:lnTo>
                  <a:pt x="118" y="25"/>
                </a:lnTo>
                <a:lnTo>
                  <a:pt x="122" y="25"/>
                </a:lnTo>
                <a:lnTo>
                  <a:pt x="125" y="22"/>
                </a:lnTo>
                <a:lnTo>
                  <a:pt x="128" y="22"/>
                </a:lnTo>
                <a:lnTo>
                  <a:pt x="131" y="22"/>
                </a:lnTo>
                <a:lnTo>
                  <a:pt x="137" y="22"/>
                </a:lnTo>
                <a:lnTo>
                  <a:pt x="140" y="25"/>
                </a:lnTo>
                <a:lnTo>
                  <a:pt x="147" y="25"/>
                </a:lnTo>
                <a:lnTo>
                  <a:pt x="147" y="16"/>
                </a:lnTo>
                <a:lnTo>
                  <a:pt x="150" y="10"/>
                </a:lnTo>
                <a:lnTo>
                  <a:pt x="153" y="10"/>
                </a:lnTo>
                <a:lnTo>
                  <a:pt x="162" y="7"/>
                </a:lnTo>
                <a:lnTo>
                  <a:pt x="165" y="7"/>
                </a:lnTo>
                <a:lnTo>
                  <a:pt x="172" y="7"/>
                </a:lnTo>
                <a:lnTo>
                  <a:pt x="172" y="3"/>
                </a:lnTo>
                <a:lnTo>
                  <a:pt x="175" y="0"/>
                </a:lnTo>
                <a:lnTo>
                  <a:pt x="184" y="3"/>
                </a:lnTo>
                <a:lnTo>
                  <a:pt x="193" y="3"/>
                </a:lnTo>
                <a:lnTo>
                  <a:pt x="197" y="0"/>
                </a:lnTo>
                <a:lnTo>
                  <a:pt x="203" y="0"/>
                </a:lnTo>
                <a:lnTo>
                  <a:pt x="206" y="10"/>
                </a:lnTo>
                <a:lnTo>
                  <a:pt x="209" y="13"/>
                </a:lnTo>
                <a:lnTo>
                  <a:pt x="206" y="19"/>
                </a:lnTo>
                <a:lnTo>
                  <a:pt x="212" y="25"/>
                </a:lnTo>
                <a:lnTo>
                  <a:pt x="225" y="22"/>
                </a:lnTo>
                <a:lnTo>
                  <a:pt x="228" y="25"/>
                </a:lnTo>
                <a:lnTo>
                  <a:pt x="228" y="32"/>
                </a:lnTo>
                <a:lnTo>
                  <a:pt x="231" y="32"/>
                </a:lnTo>
                <a:lnTo>
                  <a:pt x="231" y="38"/>
                </a:lnTo>
                <a:lnTo>
                  <a:pt x="234" y="44"/>
                </a:lnTo>
                <a:lnTo>
                  <a:pt x="243" y="50"/>
                </a:lnTo>
                <a:lnTo>
                  <a:pt x="247" y="47"/>
                </a:lnTo>
                <a:lnTo>
                  <a:pt x="253" y="50"/>
                </a:lnTo>
                <a:lnTo>
                  <a:pt x="256" y="50"/>
                </a:lnTo>
                <a:lnTo>
                  <a:pt x="262" y="50"/>
                </a:lnTo>
                <a:lnTo>
                  <a:pt x="268" y="44"/>
                </a:lnTo>
                <a:lnTo>
                  <a:pt x="272" y="44"/>
                </a:lnTo>
                <a:lnTo>
                  <a:pt x="275" y="54"/>
                </a:lnTo>
                <a:lnTo>
                  <a:pt x="281" y="60"/>
                </a:lnTo>
                <a:lnTo>
                  <a:pt x="284" y="63"/>
                </a:lnTo>
                <a:lnTo>
                  <a:pt x="284" y="60"/>
                </a:lnTo>
                <a:lnTo>
                  <a:pt x="293" y="60"/>
                </a:lnTo>
                <a:lnTo>
                  <a:pt x="297" y="60"/>
                </a:lnTo>
                <a:lnTo>
                  <a:pt x="303" y="63"/>
                </a:lnTo>
                <a:lnTo>
                  <a:pt x="306" y="63"/>
                </a:lnTo>
                <a:lnTo>
                  <a:pt x="312" y="66"/>
                </a:lnTo>
                <a:lnTo>
                  <a:pt x="315" y="66"/>
                </a:lnTo>
                <a:lnTo>
                  <a:pt x="319" y="63"/>
                </a:lnTo>
                <a:lnTo>
                  <a:pt x="322" y="69"/>
                </a:lnTo>
                <a:lnTo>
                  <a:pt x="325" y="69"/>
                </a:lnTo>
                <a:lnTo>
                  <a:pt x="325" y="75"/>
                </a:lnTo>
                <a:lnTo>
                  <a:pt x="322" y="79"/>
                </a:lnTo>
                <a:lnTo>
                  <a:pt x="315" y="82"/>
                </a:lnTo>
                <a:lnTo>
                  <a:pt x="315" y="88"/>
                </a:lnTo>
                <a:lnTo>
                  <a:pt x="322" y="94"/>
                </a:lnTo>
                <a:lnTo>
                  <a:pt x="322" y="97"/>
                </a:lnTo>
                <a:lnTo>
                  <a:pt x="319" y="107"/>
                </a:lnTo>
                <a:lnTo>
                  <a:pt x="322" y="110"/>
                </a:lnTo>
                <a:lnTo>
                  <a:pt x="315" y="113"/>
                </a:lnTo>
                <a:lnTo>
                  <a:pt x="306" y="113"/>
                </a:lnTo>
                <a:lnTo>
                  <a:pt x="303" y="122"/>
                </a:lnTo>
                <a:lnTo>
                  <a:pt x="300" y="122"/>
                </a:lnTo>
                <a:lnTo>
                  <a:pt x="300" y="132"/>
                </a:lnTo>
                <a:lnTo>
                  <a:pt x="297" y="132"/>
                </a:lnTo>
                <a:lnTo>
                  <a:pt x="297" y="132"/>
                </a:lnTo>
                <a:lnTo>
                  <a:pt x="293" y="132"/>
                </a:lnTo>
                <a:lnTo>
                  <a:pt x="287" y="132"/>
                </a:lnTo>
                <a:lnTo>
                  <a:pt x="284" y="132"/>
                </a:lnTo>
                <a:lnTo>
                  <a:pt x="281" y="135"/>
                </a:lnTo>
                <a:lnTo>
                  <a:pt x="278" y="138"/>
                </a:lnTo>
                <a:lnTo>
                  <a:pt x="275" y="138"/>
                </a:lnTo>
                <a:lnTo>
                  <a:pt x="272" y="141"/>
                </a:lnTo>
                <a:lnTo>
                  <a:pt x="268" y="144"/>
                </a:lnTo>
                <a:lnTo>
                  <a:pt x="268" y="144"/>
                </a:lnTo>
                <a:lnTo>
                  <a:pt x="262" y="144"/>
                </a:lnTo>
                <a:lnTo>
                  <a:pt x="259" y="147"/>
                </a:lnTo>
                <a:lnTo>
                  <a:pt x="256" y="147"/>
                </a:lnTo>
                <a:lnTo>
                  <a:pt x="250" y="147"/>
                </a:lnTo>
                <a:lnTo>
                  <a:pt x="250" y="147"/>
                </a:lnTo>
                <a:lnTo>
                  <a:pt x="247" y="144"/>
                </a:lnTo>
                <a:lnTo>
                  <a:pt x="243" y="144"/>
                </a:lnTo>
                <a:lnTo>
                  <a:pt x="247" y="147"/>
                </a:lnTo>
                <a:lnTo>
                  <a:pt x="247" y="151"/>
                </a:lnTo>
                <a:lnTo>
                  <a:pt x="247" y="151"/>
                </a:lnTo>
                <a:lnTo>
                  <a:pt x="243" y="157"/>
                </a:lnTo>
                <a:lnTo>
                  <a:pt x="240" y="160"/>
                </a:lnTo>
                <a:lnTo>
                  <a:pt x="240" y="157"/>
                </a:lnTo>
                <a:lnTo>
                  <a:pt x="240" y="157"/>
                </a:lnTo>
                <a:lnTo>
                  <a:pt x="243" y="151"/>
                </a:lnTo>
                <a:lnTo>
                  <a:pt x="243" y="151"/>
                </a:lnTo>
                <a:lnTo>
                  <a:pt x="240" y="151"/>
                </a:lnTo>
                <a:lnTo>
                  <a:pt x="240" y="151"/>
                </a:lnTo>
                <a:lnTo>
                  <a:pt x="234" y="157"/>
                </a:lnTo>
                <a:lnTo>
                  <a:pt x="231" y="157"/>
                </a:lnTo>
                <a:lnTo>
                  <a:pt x="231" y="160"/>
                </a:lnTo>
                <a:lnTo>
                  <a:pt x="228" y="160"/>
                </a:lnTo>
                <a:lnTo>
                  <a:pt x="225" y="160"/>
                </a:lnTo>
                <a:lnTo>
                  <a:pt x="222" y="160"/>
                </a:lnTo>
                <a:lnTo>
                  <a:pt x="218" y="160"/>
                </a:lnTo>
                <a:lnTo>
                  <a:pt x="215" y="160"/>
                </a:lnTo>
                <a:lnTo>
                  <a:pt x="218" y="163"/>
                </a:lnTo>
                <a:lnTo>
                  <a:pt x="225" y="163"/>
                </a:lnTo>
                <a:lnTo>
                  <a:pt x="228" y="166"/>
                </a:lnTo>
                <a:lnTo>
                  <a:pt x="231" y="166"/>
                </a:lnTo>
                <a:lnTo>
                  <a:pt x="231" y="166"/>
                </a:lnTo>
                <a:lnTo>
                  <a:pt x="234" y="169"/>
                </a:lnTo>
                <a:lnTo>
                  <a:pt x="231" y="169"/>
                </a:lnTo>
                <a:lnTo>
                  <a:pt x="231" y="172"/>
                </a:lnTo>
                <a:lnTo>
                  <a:pt x="234" y="172"/>
                </a:lnTo>
                <a:lnTo>
                  <a:pt x="234" y="172"/>
                </a:lnTo>
                <a:lnTo>
                  <a:pt x="234" y="176"/>
                </a:lnTo>
                <a:lnTo>
                  <a:pt x="237" y="172"/>
                </a:lnTo>
                <a:lnTo>
                  <a:pt x="240" y="172"/>
                </a:lnTo>
                <a:lnTo>
                  <a:pt x="240" y="179"/>
                </a:lnTo>
                <a:lnTo>
                  <a:pt x="243" y="179"/>
                </a:lnTo>
                <a:lnTo>
                  <a:pt x="247" y="182"/>
                </a:lnTo>
                <a:lnTo>
                  <a:pt x="250" y="182"/>
                </a:lnTo>
                <a:lnTo>
                  <a:pt x="243" y="176"/>
                </a:lnTo>
                <a:lnTo>
                  <a:pt x="234" y="166"/>
                </a:lnTo>
                <a:lnTo>
                  <a:pt x="234" y="160"/>
                </a:lnTo>
                <a:lnTo>
                  <a:pt x="234" y="160"/>
                </a:lnTo>
                <a:lnTo>
                  <a:pt x="237" y="163"/>
                </a:lnTo>
                <a:lnTo>
                  <a:pt x="240" y="169"/>
                </a:lnTo>
                <a:lnTo>
                  <a:pt x="250" y="179"/>
                </a:lnTo>
                <a:lnTo>
                  <a:pt x="253" y="182"/>
                </a:lnTo>
                <a:lnTo>
                  <a:pt x="256" y="176"/>
                </a:lnTo>
                <a:lnTo>
                  <a:pt x="256" y="176"/>
                </a:lnTo>
                <a:lnTo>
                  <a:pt x="259" y="179"/>
                </a:lnTo>
                <a:lnTo>
                  <a:pt x="262" y="176"/>
                </a:lnTo>
                <a:lnTo>
                  <a:pt x="268" y="176"/>
                </a:lnTo>
                <a:lnTo>
                  <a:pt x="275" y="176"/>
                </a:lnTo>
                <a:lnTo>
                  <a:pt x="272" y="179"/>
                </a:lnTo>
                <a:lnTo>
                  <a:pt x="272" y="179"/>
                </a:lnTo>
                <a:lnTo>
                  <a:pt x="272" y="182"/>
                </a:lnTo>
                <a:lnTo>
                  <a:pt x="268" y="185"/>
                </a:lnTo>
                <a:lnTo>
                  <a:pt x="262" y="185"/>
                </a:lnTo>
                <a:lnTo>
                  <a:pt x="256" y="185"/>
                </a:lnTo>
                <a:lnTo>
                  <a:pt x="250" y="188"/>
                </a:lnTo>
                <a:lnTo>
                  <a:pt x="247" y="191"/>
                </a:lnTo>
                <a:lnTo>
                  <a:pt x="240" y="191"/>
                </a:lnTo>
                <a:lnTo>
                  <a:pt x="231" y="197"/>
                </a:lnTo>
                <a:lnTo>
                  <a:pt x="225" y="201"/>
                </a:lnTo>
                <a:lnTo>
                  <a:pt x="218" y="201"/>
                </a:lnTo>
                <a:lnTo>
                  <a:pt x="215" y="197"/>
                </a:lnTo>
                <a:lnTo>
                  <a:pt x="215" y="197"/>
                </a:lnTo>
                <a:lnTo>
                  <a:pt x="218" y="191"/>
                </a:lnTo>
                <a:lnTo>
                  <a:pt x="218" y="188"/>
                </a:lnTo>
                <a:lnTo>
                  <a:pt x="212" y="182"/>
                </a:lnTo>
                <a:lnTo>
                  <a:pt x="209" y="182"/>
                </a:lnTo>
                <a:lnTo>
                  <a:pt x="206" y="182"/>
                </a:lnTo>
                <a:lnTo>
                  <a:pt x="203" y="182"/>
                </a:lnTo>
                <a:lnTo>
                  <a:pt x="200" y="182"/>
                </a:lnTo>
                <a:lnTo>
                  <a:pt x="203" y="176"/>
                </a:lnTo>
                <a:lnTo>
                  <a:pt x="209" y="172"/>
                </a:lnTo>
                <a:lnTo>
                  <a:pt x="215" y="169"/>
                </a:lnTo>
                <a:lnTo>
                  <a:pt x="218" y="169"/>
                </a:lnTo>
                <a:lnTo>
                  <a:pt x="215" y="166"/>
                </a:lnTo>
                <a:lnTo>
                  <a:pt x="215" y="160"/>
                </a:lnTo>
                <a:lnTo>
                  <a:pt x="212" y="160"/>
                </a:lnTo>
                <a:lnTo>
                  <a:pt x="212" y="163"/>
                </a:lnTo>
                <a:lnTo>
                  <a:pt x="209" y="163"/>
                </a:lnTo>
                <a:lnTo>
                  <a:pt x="203" y="160"/>
                </a:lnTo>
                <a:lnTo>
                  <a:pt x="200" y="160"/>
                </a:lnTo>
                <a:lnTo>
                  <a:pt x="193" y="163"/>
                </a:lnTo>
                <a:lnTo>
                  <a:pt x="190" y="160"/>
                </a:lnTo>
                <a:lnTo>
                  <a:pt x="187" y="160"/>
                </a:lnTo>
                <a:lnTo>
                  <a:pt x="184" y="157"/>
                </a:lnTo>
                <a:lnTo>
                  <a:pt x="187" y="157"/>
                </a:lnTo>
                <a:lnTo>
                  <a:pt x="187" y="154"/>
                </a:lnTo>
                <a:lnTo>
                  <a:pt x="181" y="154"/>
                </a:lnTo>
                <a:lnTo>
                  <a:pt x="175" y="154"/>
                </a:lnTo>
                <a:lnTo>
                  <a:pt x="175" y="151"/>
                </a:lnTo>
                <a:lnTo>
                  <a:pt x="178" y="151"/>
                </a:lnTo>
                <a:lnTo>
                  <a:pt x="184" y="151"/>
                </a:lnTo>
                <a:lnTo>
                  <a:pt x="187" y="151"/>
                </a:lnTo>
                <a:lnTo>
                  <a:pt x="190" y="151"/>
                </a:lnTo>
                <a:lnTo>
                  <a:pt x="193" y="147"/>
                </a:lnTo>
                <a:lnTo>
                  <a:pt x="190" y="147"/>
                </a:lnTo>
                <a:lnTo>
                  <a:pt x="187" y="147"/>
                </a:lnTo>
                <a:lnTo>
                  <a:pt x="184" y="144"/>
                </a:lnTo>
                <a:lnTo>
                  <a:pt x="181" y="144"/>
                </a:lnTo>
                <a:lnTo>
                  <a:pt x="181" y="147"/>
                </a:lnTo>
                <a:lnTo>
                  <a:pt x="178" y="147"/>
                </a:lnTo>
                <a:lnTo>
                  <a:pt x="175" y="147"/>
                </a:lnTo>
                <a:lnTo>
                  <a:pt x="175" y="147"/>
                </a:lnTo>
                <a:lnTo>
                  <a:pt x="175" y="144"/>
                </a:lnTo>
                <a:lnTo>
                  <a:pt x="168" y="151"/>
                </a:lnTo>
                <a:lnTo>
                  <a:pt x="165" y="151"/>
                </a:lnTo>
                <a:lnTo>
                  <a:pt x="162" y="154"/>
                </a:lnTo>
                <a:lnTo>
                  <a:pt x="162" y="157"/>
                </a:lnTo>
                <a:lnTo>
                  <a:pt x="159" y="163"/>
                </a:lnTo>
                <a:lnTo>
                  <a:pt x="156" y="163"/>
                </a:lnTo>
                <a:lnTo>
                  <a:pt x="156" y="166"/>
                </a:lnTo>
                <a:lnTo>
                  <a:pt x="150" y="176"/>
                </a:lnTo>
                <a:lnTo>
                  <a:pt x="147" y="176"/>
                </a:lnTo>
                <a:lnTo>
                  <a:pt x="147" y="172"/>
                </a:lnTo>
                <a:lnTo>
                  <a:pt x="147" y="176"/>
                </a:lnTo>
                <a:lnTo>
                  <a:pt x="143" y="176"/>
                </a:lnTo>
                <a:lnTo>
                  <a:pt x="147" y="179"/>
                </a:lnTo>
                <a:lnTo>
                  <a:pt x="147" y="182"/>
                </a:lnTo>
                <a:lnTo>
                  <a:pt x="147" y="182"/>
                </a:lnTo>
                <a:lnTo>
                  <a:pt x="143" y="179"/>
                </a:lnTo>
                <a:lnTo>
                  <a:pt x="137" y="182"/>
                </a:lnTo>
                <a:lnTo>
                  <a:pt x="134" y="182"/>
                </a:lnTo>
                <a:lnTo>
                  <a:pt x="128" y="182"/>
                </a:lnTo>
                <a:lnTo>
                  <a:pt x="122" y="182"/>
                </a:lnTo>
                <a:lnTo>
                  <a:pt x="118" y="176"/>
                </a:lnTo>
                <a:lnTo>
                  <a:pt x="122" y="172"/>
                </a:lnTo>
                <a:lnTo>
                  <a:pt x="125" y="176"/>
                </a:lnTo>
                <a:lnTo>
                  <a:pt x="125" y="172"/>
                </a:lnTo>
                <a:lnTo>
                  <a:pt x="128" y="166"/>
                </a:lnTo>
                <a:lnTo>
                  <a:pt x="131" y="166"/>
                </a:lnTo>
                <a:lnTo>
                  <a:pt x="131" y="160"/>
                </a:lnTo>
                <a:lnTo>
                  <a:pt x="131" y="154"/>
                </a:lnTo>
                <a:lnTo>
                  <a:pt x="134" y="154"/>
                </a:lnTo>
                <a:lnTo>
                  <a:pt x="140" y="151"/>
                </a:lnTo>
                <a:lnTo>
                  <a:pt x="143" y="154"/>
                </a:lnTo>
                <a:lnTo>
                  <a:pt x="147" y="154"/>
                </a:lnTo>
                <a:lnTo>
                  <a:pt x="150" y="151"/>
                </a:lnTo>
                <a:lnTo>
                  <a:pt x="147" y="147"/>
                </a:lnTo>
                <a:lnTo>
                  <a:pt x="147" y="144"/>
                </a:lnTo>
                <a:lnTo>
                  <a:pt x="147" y="141"/>
                </a:lnTo>
                <a:lnTo>
                  <a:pt x="140" y="138"/>
                </a:lnTo>
                <a:lnTo>
                  <a:pt x="137" y="135"/>
                </a:lnTo>
                <a:lnTo>
                  <a:pt x="134" y="132"/>
                </a:lnTo>
                <a:lnTo>
                  <a:pt x="131" y="129"/>
                </a:lnTo>
                <a:lnTo>
                  <a:pt x="131" y="125"/>
                </a:lnTo>
                <a:lnTo>
                  <a:pt x="131" y="116"/>
                </a:lnTo>
                <a:lnTo>
                  <a:pt x="125" y="116"/>
                </a:lnTo>
                <a:lnTo>
                  <a:pt x="118" y="110"/>
                </a:lnTo>
                <a:lnTo>
                  <a:pt x="118" y="110"/>
                </a:lnTo>
                <a:lnTo>
                  <a:pt x="115" y="110"/>
                </a:lnTo>
                <a:lnTo>
                  <a:pt x="109" y="110"/>
                </a:lnTo>
                <a:lnTo>
                  <a:pt x="103" y="104"/>
                </a:lnTo>
                <a:lnTo>
                  <a:pt x="100" y="104"/>
                </a:lnTo>
                <a:lnTo>
                  <a:pt x="97" y="100"/>
                </a:lnTo>
                <a:lnTo>
                  <a:pt x="93" y="100"/>
                </a:lnTo>
                <a:lnTo>
                  <a:pt x="90" y="100"/>
                </a:lnTo>
                <a:lnTo>
                  <a:pt x="87" y="104"/>
                </a:lnTo>
                <a:lnTo>
                  <a:pt x="84" y="100"/>
                </a:lnTo>
                <a:lnTo>
                  <a:pt x="84" y="104"/>
                </a:lnTo>
                <a:lnTo>
                  <a:pt x="81" y="100"/>
                </a:lnTo>
                <a:lnTo>
                  <a:pt x="81" y="107"/>
                </a:lnTo>
                <a:lnTo>
                  <a:pt x="81" y="110"/>
                </a:lnTo>
                <a:lnTo>
                  <a:pt x="81" y="113"/>
                </a:lnTo>
                <a:lnTo>
                  <a:pt x="78" y="116"/>
                </a:lnTo>
                <a:lnTo>
                  <a:pt x="72" y="116"/>
                </a:lnTo>
                <a:lnTo>
                  <a:pt x="59" y="119"/>
                </a:lnTo>
                <a:lnTo>
                  <a:pt x="56" y="122"/>
                </a:lnTo>
                <a:lnTo>
                  <a:pt x="53" y="125"/>
                </a:lnTo>
                <a:lnTo>
                  <a:pt x="47" y="125"/>
                </a:lnTo>
                <a:lnTo>
                  <a:pt x="40" y="125"/>
                </a:lnTo>
                <a:lnTo>
                  <a:pt x="40" y="122"/>
                </a:lnTo>
                <a:lnTo>
                  <a:pt x="34" y="119"/>
                </a:lnTo>
                <a:lnTo>
                  <a:pt x="28" y="119"/>
                </a:lnTo>
                <a:lnTo>
                  <a:pt x="22" y="113"/>
                </a:lnTo>
                <a:lnTo>
                  <a:pt x="18" y="113"/>
                </a:lnTo>
                <a:lnTo>
                  <a:pt x="15" y="116"/>
                </a:lnTo>
                <a:lnTo>
                  <a:pt x="12" y="116"/>
                </a:lnTo>
                <a:lnTo>
                  <a:pt x="9" y="113"/>
                </a:lnTo>
                <a:lnTo>
                  <a:pt x="6" y="110"/>
                </a:lnTo>
                <a:lnTo>
                  <a:pt x="0" y="107"/>
                </a:lnTo>
                <a:lnTo>
                  <a:pt x="3" y="104"/>
                </a:lnTo>
                <a:lnTo>
                  <a:pt x="3" y="97"/>
                </a:lnTo>
                <a:lnTo>
                  <a:pt x="6" y="91"/>
                </a:lnTo>
                <a:lnTo>
                  <a:pt x="9" y="91"/>
                </a:lnTo>
                <a:lnTo>
                  <a:pt x="12" y="85"/>
                </a:lnTo>
                <a:lnTo>
                  <a:pt x="9" y="79"/>
                </a:lnTo>
                <a:lnTo>
                  <a:pt x="22" y="66"/>
                </a:lnTo>
                <a:lnTo>
                  <a:pt x="25" y="60"/>
                </a:lnTo>
                <a:lnTo>
                  <a:pt x="28" y="57"/>
                </a:lnTo>
                <a:lnTo>
                  <a:pt x="31" y="57"/>
                </a:lnTo>
                <a:lnTo>
                  <a:pt x="31" y="50"/>
                </a:lnTo>
                <a:lnTo>
                  <a:pt x="31" y="47"/>
                </a:lnTo>
                <a:lnTo>
                  <a:pt x="28" y="44"/>
                </a:lnTo>
                <a:lnTo>
                  <a:pt x="31" y="41"/>
                </a:lnTo>
                <a:lnTo>
                  <a:pt x="25" y="41"/>
                </a:lnTo>
                <a:lnTo>
                  <a:pt x="25" y="35"/>
                </a:lnTo>
                <a:lnTo>
                  <a:pt x="22" y="32"/>
                </a:lnTo>
                <a:lnTo>
                  <a:pt x="22" y="22"/>
                </a:lnTo>
                <a:lnTo>
                  <a:pt x="22" y="19"/>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3" name="Freeform 51">
            <a:extLst>
              <a:ext uri="{FF2B5EF4-FFF2-40B4-BE49-F238E27FC236}">
                <a16:creationId xmlns:a16="http://schemas.microsoft.com/office/drawing/2014/main" id="{54ABFC5D-212F-F1EB-9626-435D73F29D21}"/>
              </a:ext>
            </a:extLst>
          </p:cNvPr>
          <p:cNvSpPr>
            <a:spLocks/>
          </p:cNvSpPr>
          <p:nvPr userDrawn="1"/>
        </p:nvSpPr>
        <p:spPr bwMode="auto">
          <a:xfrm>
            <a:off x="14667542" y="6047659"/>
            <a:ext cx="219064" cy="241302"/>
          </a:xfrm>
          <a:custGeom>
            <a:avLst/>
            <a:gdLst>
              <a:gd name="T0" fmla="*/ 0 w 69"/>
              <a:gd name="T1" fmla="*/ 13 h 76"/>
              <a:gd name="T2" fmla="*/ 0 w 69"/>
              <a:gd name="T3" fmla="*/ 10 h 76"/>
              <a:gd name="T4" fmla="*/ 0 w 69"/>
              <a:gd name="T5" fmla="*/ 7 h 76"/>
              <a:gd name="T6" fmla="*/ 0 w 69"/>
              <a:gd name="T7" fmla="*/ 0 h 76"/>
              <a:gd name="T8" fmla="*/ 3 w 69"/>
              <a:gd name="T9" fmla="*/ 4 h 76"/>
              <a:gd name="T10" fmla="*/ 3 w 69"/>
              <a:gd name="T11" fmla="*/ 0 h 76"/>
              <a:gd name="T12" fmla="*/ 6 w 69"/>
              <a:gd name="T13" fmla="*/ 4 h 76"/>
              <a:gd name="T14" fmla="*/ 9 w 69"/>
              <a:gd name="T15" fmla="*/ 0 h 76"/>
              <a:gd name="T16" fmla="*/ 12 w 69"/>
              <a:gd name="T17" fmla="*/ 0 h 76"/>
              <a:gd name="T18" fmla="*/ 16 w 69"/>
              <a:gd name="T19" fmla="*/ 0 h 76"/>
              <a:gd name="T20" fmla="*/ 19 w 69"/>
              <a:gd name="T21" fmla="*/ 4 h 76"/>
              <a:gd name="T22" fmla="*/ 22 w 69"/>
              <a:gd name="T23" fmla="*/ 4 h 76"/>
              <a:gd name="T24" fmla="*/ 28 w 69"/>
              <a:gd name="T25" fmla="*/ 10 h 76"/>
              <a:gd name="T26" fmla="*/ 34 w 69"/>
              <a:gd name="T27" fmla="*/ 10 h 76"/>
              <a:gd name="T28" fmla="*/ 37 w 69"/>
              <a:gd name="T29" fmla="*/ 10 h 76"/>
              <a:gd name="T30" fmla="*/ 37 w 69"/>
              <a:gd name="T31" fmla="*/ 10 h 76"/>
              <a:gd name="T32" fmla="*/ 44 w 69"/>
              <a:gd name="T33" fmla="*/ 16 h 76"/>
              <a:gd name="T34" fmla="*/ 50 w 69"/>
              <a:gd name="T35" fmla="*/ 16 h 76"/>
              <a:gd name="T36" fmla="*/ 50 w 69"/>
              <a:gd name="T37" fmla="*/ 25 h 76"/>
              <a:gd name="T38" fmla="*/ 50 w 69"/>
              <a:gd name="T39" fmla="*/ 29 h 76"/>
              <a:gd name="T40" fmla="*/ 53 w 69"/>
              <a:gd name="T41" fmla="*/ 32 h 76"/>
              <a:gd name="T42" fmla="*/ 56 w 69"/>
              <a:gd name="T43" fmla="*/ 35 h 76"/>
              <a:gd name="T44" fmla="*/ 59 w 69"/>
              <a:gd name="T45" fmla="*/ 38 h 76"/>
              <a:gd name="T46" fmla="*/ 66 w 69"/>
              <a:gd name="T47" fmla="*/ 41 h 76"/>
              <a:gd name="T48" fmla="*/ 66 w 69"/>
              <a:gd name="T49" fmla="*/ 44 h 76"/>
              <a:gd name="T50" fmla="*/ 66 w 69"/>
              <a:gd name="T51" fmla="*/ 47 h 76"/>
              <a:gd name="T52" fmla="*/ 69 w 69"/>
              <a:gd name="T53" fmla="*/ 51 h 76"/>
              <a:gd name="T54" fmla="*/ 66 w 69"/>
              <a:gd name="T55" fmla="*/ 54 h 76"/>
              <a:gd name="T56" fmla="*/ 62 w 69"/>
              <a:gd name="T57" fmla="*/ 54 h 76"/>
              <a:gd name="T58" fmla="*/ 59 w 69"/>
              <a:gd name="T59" fmla="*/ 51 h 76"/>
              <a:gd name="T60" fmla="*/ 53 w 69"/>
              <a:gd name="T61" fmla="*/ 54 h 76"/>
              <a:gd name="T62" fmla="*/ 50 w 69"/>
              <a:gd name="T63" fmla="*/ 54 h 76"/>
              <a:gd name="T64" fmla="*/ 50 w 69"/>
              <a:gd name="T65" fmla="*/ 60 h 76"/>
              <a:gd name="T66" fmla="*/ 50 w 69"/>
              <a:gd name="T67" fmla="*/ 66 h 76"/>
              <a:gd name="T68" fmla="*/ 47 w 69"/>
              <a:gd name="T69" fmla="*/ 66 h 76"/>
              <a:gd name="T70" fmla="*/ 44 w 69"/>
              <a:gd name="T71" fmla="*/ 72 h 76"/>
              <a:gd name="T72" fmla="*/ 44 w 69"/>
              <a:gd name="T73" fmla="*/ 76 h 76"/>
              <a:gd name="T74" fmla="*/ 41 w 69"/>
              <a:gd name="T75" fmla="*/ 72 h 76"/>
              <a:gd name="T76" fmla="*/ 37 w 69"/>
              <a:gd name="T77" fmla="*/ 76 h 76"/>
              <a:gd name="T78" fmla="*/ 37 w 69"/>
              <a:gd name="T79" fmla="*/ 76 h 76"/>
              <a:gd name="T80" fmla="*/ 34 w 69"/>
              <a:gd name="T81" fmla="*/ 69 h 76"/>
              <a:gd name="T82" fmla="*/ 34 w 69"/>
              <a:gd name="T83" fmla="*/ 51 h 76"/>
              <a:gd name="T84" fmla="*/ 31 w 69"/>
              <a:gd name="T85" fmla="*/ 47 h 76"/>
              <a:gd name="T86" fmla="*/ 31 w 69"/>
              <a:gd name="T87" fmla="*/ 41 h 76"/>
              <a:gd name="T88" fmla="*/ 19 w 69"/>
              <a:gd name="T89" fmla="*/ 32 h 76"/>
              <a:gd name="T90" fmla="*/ 19 w 69"/>
              <a:gd name="T91" fmla="*/ 29 h 76"/>
              <a:gd name="T92" fmla="*/ 9 w 69"/>
              <a:gd name="T93" fmla="*/ 22 h 76"/>
              <a:gd name="T94" fmla="*/ 9 w 69"/>
              <a:gd name="T95" fmla="*/ 13 h 76"/>
              <a:gd name="T96" fmla="*/ 0 w 69"/>
              <a:gd name="T97" fmla="*/ 1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 h="76">
                <a:moveTo>
                  <a:pt x="0" y="13"/>
                </a:moveTo>
                <a:lnTo>
                  <a:pt x="0" y="10"/>
                </a:lnTo>
                <a:lnTo>
                  <a:pt x="0" y="7"/>
                </a:lnTo>
                <a:lnTo>
                  <a:pt x="0" y="0"/>
                </a:lnTo>
                <a:lnTo>
                  <a:pt x="3" y="4"/>
                </a:lnTo>
                <a:lnTo>
                  <a:pt x="3" y="0"/>
                </a:lnTo>
                <a:lnTo>
                  <a:pt x="6" y="4"/>
                </a:lnTo>
                <a:lnTo>
                  <a:pt x="9" y="0"/>
                </a:lnTo>
                <a:lnTo>
                  <a:pt x="12" y="0"/>
                </a:lnTo>
                <a:lnTo>
                  <a:pt x="16" y="0"/>
                </a:lnTo>
                <a:lnTo>
                  <a:pt x="19" y="4"/>
                </a:lnTo>
                <a:lnTo>
                  <a:pt x="22" y="4"/>
                </a:lnTo>
                <a:lnTo>
                  <a:pt x="28" y="10"/>
                </a:lnTo>
                <a:lnTo>
                  <a:pt x="34" y="10"/>
                </a:lnTo>
                <a:lnTo>
                  <a:pt x="37" y="10"/>
                </a:lnTo>
                <a:lnTo>
                  <a:pt x="37" y="10"/>
                </a:lnTo>
                <a:lnTo>
                  <a:pt x="44" y="16"/>
                </a:lnTo>
                <a:lnTo>
                  <a:pt x="50" y="16"/>
                </a:lnTo>
                <a:lnTo>
                  <a:pt x="50" y="25"/>
                </a:lnTo>
                <a:lnTo>
                  <a:pt x="50" y="29"/>
                </a:lnTo>
                <a:lnTo>
                  <a:pt x="53" y="32"/>
                </a:lnTo>
                <a:lnTo>
                  <a:pt x="56" y="35"/>
                </a:lnTo>
                <a:lnTo>
                  <a:pt x="59" y="38"/>
                </a:lnTo>
                <a:lnTo>
                  <a:pt x="66" y="41"/>
                </a:lnTo>
                <a:lnTo>
                  <a:pt x="66" y="44"/>
                </a:lnTo>
                <a:lnTo>
                  <a:pt x="66" y="47"/>
                </a:lnTo>
                <a:lnTo>
                  <a:pt x="69" y="51"/>
                </a:lnTo>
                <a:lnTo>
                  <a:pt x="66" y="54"/>
                </a:lnTo>
                <a:lnTo>
                  <a:pt x="62" y="54"/>
                </a:lnTo>
                <a:lnTo>
                  <a:pt x="59" y="51"/>
                </a:lnTo>
                <a:lnTo>
                  <a:pt x="53" y="54"/>
                </a:lnTo>
                <a:lnTo>
                  <a:pt x="50" y="54"/>
                </a:lnTo>
                <a:lnTo>
                  <a:pt x="50" y="60"/>
                </a:lnTo>
                <a:lnTo>
                  <a:pt x="50" y="66"/>
                </a:lnTo>
                <a:lnTo>
                  <a:pt x="47" y="66"/>
                </a:lnTo>
                <a:lnTo>
                  <a:pt x="44" y="72"/>
                </a:lnTo>
                <a:lnTo>
                  <a:pt x="44" y="76"/>
                </a:lnTo>
                <a:lnTo>
                  <a:pt x="41" y="72"/>
                </a:lnTo>
                <a:lnTo>
                  <a:pt x="37" y="76"/>
                </a:lnTo>
                <a:lnTo>
                  <a:pt x="37" y="76"/>
                </a:lnTo>
                <a:lnTo>
                  <a:pt x="34" y="69"/>
                </a:lnTo>
                <a:lnTo>
                  <a:pt x="34" y="51"/>
                </a:lnTo>
                <a:lnTo>
                  <a:pt x="31" y="47"/>
                </a:lnTo>
                <a:lnTo>
                  <a:pt x="31" y="41"/>
                </a:lnTo>
                <a:lnTo>
                  <a:pt x="19" y="32"/>
                </a:lnTo>
                <a:lnTo>
                  <a:pt x="19" y="29"/>
                </a:lnTo>
                <a:lnTo>
                  <a:pt x="9" y="22"/>
                </a:lnTo>
                <a:lnTo>
                  <a:pt x="9" y="13"/>
                </a:lnTo>
                <a:lnTo>
                  <a:pt x="0" y="13"/>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4" name="Freeform 52">
            <a:extLst>
              <a:ext uri="{FF2B5EF4-FFF2-40B4-BE49-F238E27FC236}">
                <a16:creationId xmlns:a16="http://schemas.microsoft.com/office/drawing/2014/main" id="{2663AFAC-2AEC-512C-15F1-54599A3221FE}"/>
              </a:ext>
            </a:extLst>
          </p:cNvPr>
          <p:cNvSpPr>
            <a:spLocks/>
          </p:cNvSpPr>
          <p:nvPr userDrawn="1"/>
        </p:nvSpPr>
        <p:spPr bwMode="auto">
          <a:xfrm>
            <a:off x="14321493" y="6088935"/>
            <a:ext cx="555590" cy="346078"/>
          </a:xfrm>
          <a:custGeom>
            <a:avLst/>
            <a:gdLst>
              <a:gd name="T0" fmla="*/ 43 w 175"/>
              <a:gd name="T1" fmla="*/ 3 h 109"/>
              <a:gd name="T2" fmla="*/ 50 w 175"/>
              <a:gd name="T3" fmla="*/ 0 h 109"/>
              <a:gd name="T4" fmla="*/ 62 w 175"/>
              <a:gd name="T5" fmla="*/ 6 h 109"/>
              <a:gd name="T6" fmla="*/ 68 w 175"/>
              <a:gd name="T7" fmla="*/ 12 h 109"/>
              <a:gd name="T8" fmla="*/ 81 w 175"/>
              <a:gd name="T9" fmla="*/ 12 h 109"/>
              <a:gd name="T10" fmla="*/ 87 w 175"/>
              <a:gd name="T11" fmla="*/ 6 h 109"/>
              <a:gd name="T12" fmla="*/ 106 w 175"/>
              <a:gd name="T13" fmla="*/ 3 h 109"/>
              <a:gd name="T14" fmla="*/ 118 w 175"/>
              <a:gd name="T15" fmla="*/ 9 h 109"/>
              <a:gd name="T16" fmla="*/ 128 w 175"/>
              <a:gd name="T17" fmla="*/ 19 h 109"/>
              <a:gd name="T18" fmla="*/ 140 w 175"/>
              <a:gd name="T19" fmla="*/ 34 h 109"/>
              <a:gd name="T20" fmla="*/ 143 w 175"/>
              <a:gd name="T21" fmla="*/ 56 h 109"/>
              <a:gd name="T22" fmla="*/ 150 w 175"/>
              <a:gd name="T23" fmla="*/ 69 h 109"/>
              <a:gd name="T24" fmla="*/ 162 w 175"/>
              <a:gd name="T25" fmla="*/ 69 h 109"/>
              <a:gd name="T26" fmla="*/ 171 w 175"/>
              <a:gd name="T27" fmla="*/ 66 h 109"/>
              <a:gd name="T28" fmla="*/ 171 w 175"/>
              <a:gd name="T29" fmla="*/ 72 h 109"/>
              <a:gd name="T30" fmla="*/ 175 w 175"/>
              <a:gd name="T31" fmla="*/ 75 h 109"/>
              <a:gd name="T32" fmla="*/ 168 w 175"/>
              <a:gd name="T33" fmla="*/ 81 h 109"/>
              <a:gd name="T34" fmla="*/ 159 w 175"/>
              <a:gd name="T35" fmla="*/ 88 h 109"/>
              <a:gd name="T36" fmla="*/ 159 w 175"/>
              <a:gd name="T37" fmla="*/ 94 h 109"/>
              <a:gd name="T38" fmla="*/ 156 w 175"/>
              <a:gd name="T39" fmla="*/ 100 h 109"/>
              <a:gd name="T40" fmla="*/ 153 w 175"/>
              <a:gd name="T41" fmla="*/ 106 h 109"/>
              <a:gd name="T42" fmla="*/ 146 w 175"/>
              <a:gd name="T43" fmla="*/ 103 h 109"/>
              <a:gd name="T44" fmla="*/ 140 w 175"/>
              <a:gd name="T45" fmla="*/ 100 h 109"/>
              <a:gd name="T46" fmla="*/ 128 w 175"/>
              <a:gd name="T47" fmla="*/ 97 h 109"/>
              <a:gd name="T48" fmla="*/ 112 w 175"/>
              <a:gd name="T49" fmla="*/ 103 h 109"/>
              <a:gd name="T50" fmla="*/ 106 w 175"/>
              <a:gd name="T51" fmla="*/ 109 h 109"/>
              <a:gd name="T52" fmla="*/ 96 w 175"/>
              <a:gd name="T53" fmla="*/ 109 h 109"/>
              <a:gd name="T54" fmla="*/ 87 w 175"/>
              <a:gd name="T55" fmla="*/ 106 h 109"/>
              <a:gd name="T56" fmla="*/ 81 w 175"/>
              <a:gd name="T57" fmla="*/ 109 h 109"/>
              <a:gd name="T58" fmla="*/ 68 w 175"/>
              <a:gd name="T59" fmla="*/ 109 h 109"/>
              <a:gd name="T60" fmla="*/ 65 w 175"/>
              <a:gd name="T61" fmla="*/ 106 h 109"/>
              <a:gd name="T62" fmla="*/ 56 w 175"/>
              <a:gd name="T63" fmla="*/ 109 h 109"/>
              <a:gd name="T64" fmla="*/ 53 w 175"/>
              <a:gd name="T65" fmla="*/ 103 h 109"/>
              <a:gd name="T66" fmla="*/ 53 w 175"/>
              <a:gd name="T67" fmla="*/ 100 h 109"/>
              <a:gd name="T68" fmla="*/ 46 w 175"/>
              <a:gd name="T69" fmla="*/ 94 h 109"/>
              <a:gd name="T70" fmla="*/ 46 w 175"/>
              <a:gd name="T71" fmla="*/ 88 h 109"/>
              <a:gd name="T72" fmla="*/ 37 w 175"/>
              <a:gd name="T73" fmla="*/ 91 h 109"/>
              <a:gd name="T74" fmla="*/ 31 w 175"/>
              <a:gd name="T75" fmla="*/ 88 h 109"/>
              <a:gd name="T76" fmla="*/ 21 w 175"/>
              <a:gd name="T77" fmla="*/ 84 h 109"/>
              <a:gd name="T78" fmla="*/ 25 w 175"/>
              <a:gd name="T79" fmla="*/ 78 h 109"/>
              <a:gd name="T80" fmla="*/ 12 w 175"/>
              <a:gd name="T81" fmla="*/ 69 h 109"/>
              <a:gd name="T82" fmla="*/ 6 w 175"/>
              <a:gd name="T83" fmla="*/ 59 h 109"/>
              <a:gd name="T84" fmla="*/ 0 w 175"/>
              <a:gd name="T85" fmla="*/ 56 h 109"/>
              <a:gd name="T86" fmla="*/ 9 w 175"/>
              <a:gd name="T87" fmla="*/ 50 h 109"/>
              <a:gd name="T88" fmla="*/ 15 w 175"/>
              <a:gd name="T89" fmla="*/ 47 h 109"/>
              <a:gd name="T90" fmla="*/ 18 w 175"/>
              <a:gd name="T91" fmla="*/ 41 h 109"/>
              <a:gd name="T92" fmla="*/ 31 w 175"/>
              <a:gd name="T93" fmla="*/ 19 h 109"/>
              <a:gd name="T94" fmla="*/ 37 w 175"/>
              <a:gd name="T95" fmla="*/ 9 h 109"/>
              <a:gd name="T96" fmla="*/ 40 w 175"/>
              <a:gd name="T97" fmla="*/ 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5" h="109">
                <a:moveTo>
                  <a:pt x="40" y="3"/>
                </a:moveTo>
                <a:lnTo>
                  <a:pt x="43" y="3"/>
                </a:lnTo>
                <a:lnTo>
                  <a:pt x="46" y="0"/>
                </a:lnTo>
                <a:lnTo>
                  <a:pt x="50" y="0"/>
                </a:lnTo>
                <a:lnTo>
                  <a:pt x="56" y="6"/>
                </a:lnTo>
                <a:lnTo>
                  <a:pt x="62" y="6"/>
                </a:lnTo>
                <a:lnTo>
                  <a:pt x="68" y="9"/>
                </a:lnTo>
                <a:lnTo>
                  <a:pt x="68" y="12"/>
                </a:lnTo>
                <a:lnTo>
                  <a:pt x="75" y="12"/>
                </a:lnTo>
                <a:lnTo>
                  <a:pt x="81" y="12"/>
                </a:lnTo>
                <a:lnTo>
                  <a:pt x="84" y="9"/>
                </a:lnTo>
                <a:lnTo>
                  <a:pt x="87" y="6"/>
                </a:lnTo>
                <a:lnTo>
                  <a:pt x="100" y="3"/>
                </a:lnTo>
                <a:lnTo>
                  <a:pt x="106" y="3"/>
                </a:lnTo>
                <a:lnTo>
                  <a:pt x="118" y="0"/>
                </a:lnTo>
                <a:lnTo>
                  <a:pt x="118" y="9"/>
                </a:lnTo>
                <a:lnTo>
                  <a:pt x="128" y="16"/>
                </a:lnTo>
                <a:lnTo>
                  <a:pt x="128" y="19"/>
                </a:lnTo>
                <a:lnTo>
                  <a:pt x="140" y="28"/>
                </a:lnTo>
                <a:lnTo>
                  <a:pt x="140" y="34"/>
                </a:lnTo>
                <a:lnTo>
                  <a:pt x="143" y="38"/>
                </a:lnTo>
                <a:lnTo>
                  <a:pt x="143" y="56"/>
                </a:lnTo>
                <a:lnTo>
                  <a:pt x="146" y="63"/>
                </a:lnTo>
                <a:lnTo>
                  <a:pt x="150" y="69"/>
                </a:lnTo>
                <a:lnTo>
                  <a:pt x="156" y="69"/>
                </a:lnTo>
                <a:lnTo>
                  <a:pt x="162" y="69"/>
                </a:lnTo>
                <a:lnTo>
                  <a:pt x="165" y="69"/>
                </a:lnTo>
                <a:lnTo>
                  <a:pt x="171" y="66"/>
                </a:lnTo>
                <a:lnTo>
                  <a:pt x="175" y="69"/>
                </a:lnTo>
                <a:lnTo>
                  <a:pt x="171" y="72"/>
                </a:lnTo>
                <a:lnTo>
                  <a:pt x="175" y="72"/>
                </a:lnTo>
                <a:lnTo>
                  <a:pt x="175" y="75"/>
                </a:lnTo>
                <a:lnTo>
                  <a:pt x="171" y="81"/>
                </a:lnTo>
                <a:lnTo>
                  <a:pt x="168" y="81"/>
                </a:lnTo>
                <a:lnTo>
                  <a:pt x="159" y="81"/>
                </a:lnTo>
                <a:lnTo>
                  <a:pt x="159" y="88"/>
                </a:lnTo>
                <a:lnTo>
                  <a:pt x="156" y="91"/>
                </a:lnTo>
                <a:lnTo>
                  <a:pt x="159" y="94"/>
                </a:lnTo>
                <a:lnTo>
                  <a:pt x="159" y="97"/>
                </a:lnTo>
                <a:lnTo>
                  <a:pt x="156" y="100"/>
                </a:lnTo>
                <a:lnTo>
                  <a:pt x="159" y="106"/>
                </a:lnTo>
                <a:lnTo>
                  <a:pt x="153" y="106"/>
                </a:lnTo>
                <a:lnTo>
                  <a:pt x="153" y="103"/>
                </a:lnTo>
                <a:lnTo>
                  <a:pt x="146" y="103"/>
                </a:lnTo>
                <a:lnTo>
                  <a:pt x="143" y="103"/>
                </a:lnTo>
                <a:lnTo>
                  <a:pt x="140" y="100"/>
                </a:lnTo>
                <a:lnTo>
                  <a:pt x="134" y="97"/>
                </a:lnTo>
                <a:lnTo>
                  <a:pt x="128" y="97"/>
                </a:lnTo>
                <a:lnTo>
                  <a:pt x="125" y="100"/>
                </a:lnTo>
                <a:lnTo>
                  <a:pt x="112" y="103"/>
                </a:lnTo>
                <a:lnTo>
                  <a:pt x="109" y="106"/>
                </a:lnTo>
                <a:lnTo>
                  <a:pt x="106" y="109"/>
                </a:lnTo>
                <a:lnTo>
                  <a:pt x="103" y="109"/>
                </a:lnTo>
                <a:lnTo>
                  <a:pt x="96" y="109"/>
                </a:lnTo>
                <a:lnTo>
                  <a:pt x="93" y="109"/>
                </a:lnTo>
                <a:lnTo>
                  <a:pt x="87" y="106"/>
                </a:lnTo>
                <a:lnTo>
                  <a:pt x="84" y="109"/>
                </a:lnTo>
                <a:lnTo>
                  <a:pt x="81" y="109"/>
                </a:lnTo>
                <a:lnTo>
                  <a:pt x="75" y="109"/>
                </a:lnTo>
                <a:lnTo>
                  <a:pt x="68" y="109"/>
                </a:lnTo>
                <a:lnTo>
                  <a:pt x="65" y="109"/>
                </a:lnTo>
                <a:lnTo>
                  <a:pt x="65" y="106"/>
                </a:lnTo>
                <a:lnTo>
                  <a:pt x="59" y="106"/>
                </a:lnTo>
                <a:lnTo>
                  <a:pt x="56" y="109"/>
                </a:lnTo>
                <a:lnTo>
                  <a:pt x="53" y="106"/>
                </a:lnTo>
                <a:lnTo>
                  <a:pt x="53" y="103"/>
                </a:lnTo>
                <a:lnTo>
                  <a:pt x="53" y="100"/>
                </a:lnTo>
                <a:lnTo>
                  <a:pt x="53" y="100"/>
                </a:lnTo>
                <a:lnTo>
                  <a:pt x="46" y="97"/>
                </a:lnTo>
                <a:lnTo>
                  <a:pt x="46" y="94"/>
                </a:lnTo>
                <a:lnTo>
                  <a:pt x="43" y="91"/>
                </a:lnTo>
                <a:lnTo>
                  <a:pt x="46" y="88"/>
                </a:lnTo>
                <a:lnTo>
                  <a:pt x="40" y="84"/>
                </a:lnTo>
                <a:lnTo>
                  <a:pt x="37" y="91"/>
                </a:lnTo>
                <a:lnTo>
                  <a:pt x="34" y="88"/>
                </a:lnTo>
                <a:lnTo>
                  <a:pt x="31" y="88"/>
                </a:lnTo>
                <a:lnTo>
                  <a:pt x="28" y="84"/>
                </a:lnTo>
                <a:lnTo>
                  <a:pt x="21" y="84"/>
                </a:lnTo>
                <a:lnTo>
                  <a:pt x="21" y="81"/>
                </a:lnTo>
                <a:lnTo>
                  <a:pt x="25" y="78"/>
                </a:lnTo>
                <a:lnTo>
                  <a:pt x="18" y="72"/>
                </a:lnTo>
                <a:lnTo>
                  <a:pt x="12" y="69"/>
                </a:lnTo>
                <a:lnTo>
                  <a:pt x="12" y="66"/>
                </a:lnTo>
                <a:lnTo>
                  <a:pt x="6" y="59"/>
                </a:lnTo>
                <a:lnTo>
                  <a:pt x="6" y="56"/>
                </a:lnTo>
                <a:lnTo>
                  <a:pt x="0" y="56"/>
                </a:lnTo>
                <a:lnTo>
                  <a:pt x="6" y="50"/>
                </a:lnTo>
                <a:lnTo>
                  <a:pt x="9" y="50"/>
                </a:lnTo>
                <a:lnTo>
                  <a:pt x="9" y="47"/>
                </a:lnTo>
                <a:lnTo>
                  <a:pt x="15" y="47"/>
                </a:lnTo>
                <a:lnTo>
                  <a:pt x="18" y="44"/>
                </a:lnTo>
                <a:lnTo>
                  <a:pt x="18" y="41"/>
                </a:lnTo>
                <a:lnTo>
                  <a:pt x="25" y="31"/>
                </a:lnTo>
                <a:lnTo>
                  <a:pt x="31" y="19"/>
                </a:lnTo>
                <a:lnTo>
                  <a:pt x="34" y="9"/>
                </a:lnTo>
                <a:lnTo>
                  <a:pt x="37" y="9"/>
                </a:lnTo>
                <a:lnTo>
                  <a:pt x="40" y="6"/>
                </a:lnTo>
                <a:lnTo>
                  <a:pt x="40" y="3"/>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5" name="Freeform 53">
            <a:extLst>
              <a:ext uri="{FF2B5EF4-FFF2-40B4-BE49-F238E27FC236}">
                <a16:creationId xmlns:a16="http://schemas.microsoft.com/office/drawing/2014/main" id="{1D2E6A65-E949-A9BB-6C2C-70BA5DCB6AB9}"/>
              </a:ext>
            </a:extLst>
          </p:cNvPr>
          <p:cNvSpPr>
            <a:spLocks/>
          </p:cNvSpPr>
          <p:nvPr userDrawn="1"/>
        </p:nvSpPr>
        <p:spPr bwMode="auto">
          <a:xfrm>
            <a:off x="14092905" y="6069880"/>
            <a:ext cx="355577" cy="228600"/>
          </a:xfrm>
          <a:custGeom>
            <a:avLst/>
            <a:gdLst>
              <a:gd name="T0" fmla="*/ 72 w 112"/>
              <a:gd name="T1" fmla="*/ 62 h 72"/>
              <a:gd name="T2" fmla="*/ 78 w 112"/>
              <a:gd name="T3" fmla="*/ 56 h 72"/>
              <a:gd name="T4" fmla="*/ 81 w 112"/>
              <a:gd name="T5" fmla="*/ 56 h 72"/>
              <a:gd name="T6" fmla="*/ 81 w 112"/>
              <a:gd name="T7" fmla="*/ 53 h 72"/>
              <a:gd name="T8" fmla="*/ 87 w 112"/>
              <a:gd name="T9" fmla="*/ 53 h 72"/>
              <a:gd name="T10" fmla="*/ 90 w 112"/>
              <a:gd name="T11" fmla="*/ 50 h 72"/>
              <a:gd name="T12" fmla="*/ 90 w 112"/>
              <a:gd name="T13" fmla="*/ 47 h 72"/>
              <a:gd name="T14" fmla="*/ 97 w 112"/>
              <a:gd name="T15" fmla="*/ 37 h 72"/>
              <a:gd name="T16" fmla="*/ 103 w 112"/>
              <a:gd name="T17" fmla="*/ 25 h 72"/>
              <a:gd name="T18" fmla="*/ 106 w 112"/>
              <a:gd name="T19" fmla="*/ 15 h 72"/>
              <a:gd name="T20" fmla="*/ 109 w 112"/>
              <a:gd name="T21" fmla="*/ 15 h 72"/>
              <a:gd name="T22" fmla="*/ 112 w 112"/>
              <a:gd name="T23" fmla="*/ 12 h 72"/>
              <a:gd name="T24" fmla="*/ 109 w 112"/>
              <a:gd name="T25" fmla="*/ 6 h 72"/>
              <a:gd name="T26" fmla="*/ 106 w 112"/>
              <a:gd name="T27" fmla="*/ 3 h 72"/>
              <a:gd name="T28" fmla="*/ 100 w 112"/>
              <a:gd name="T29" fmla="*/ 0 h 72"/>
              <a:gd name="T30" fmla="*/ 97 w 112"/>
              <a:gd name="T31" fmla="*/ 3 h 72"/>
              <a:gd name="T32" fmla="*/ 90 w 112"/>
              <a:gd name="T33" fmla="*/ 0 h 72"/>
              <a:gd name="T34" fmla="*/ 84 w 112"/>
              <a:gd name="T35" fmla="*/ 0 h 72"/>
              <a:gd name="T36" fmla="*/ 78 w 112"/>
              <a:gd name="T37" fmla="*/ 0 h 72"/>
              <a:gd name="T38" fmla="*/ 72 w 112"/>
              <a:gd name="T39" fmla="*/ 0 h 72"/>
              <a:gd name="T40" fmla="*/ 68 w 112"/>
              <a:gd name="T41" fmla="*/ 6 h 72"/>
              <a:gd name="T42" fmla="*/ 65 w 112"/>
              <a:gd name="T43" fmla="*/ 9 h 72"/>
              <a:gd name="T44" fmla="*/ 65 w 112"/>
              <a:gd name="T45" fmla="*/ 12 h 72"/>
              <a:gd name="T46" fmla="*/ 59 w 112"/>
              <a:gd name="T47" fmla="*/ 6 h 72"/>
              <a:gd name="T48" fmla="*/ 53 w 112"/>
              <a:gd name="T49" fmla="*/ 12 h 72"/>
              <a:gd name="T50" fmla="*/ 47 w 112"/>
              <a:gd name="T51" fmla="*/ 12 h 72"/>
              <a:gd name="T52" fmla="*/ 47 w 112"/>
              <a:gd name="T53" fmla="*/ 15 h 72"/>
              <a:gd name="T54" fmla="*/ 37 w 112"/>
              <a:gd name="T55" fmla="*/ 18 h 72"/>
              <a:gd name="T56" fmla="*/ 28 w 112"/>
              <a:gd name="T57" fmla="*/ 18 h 72"/>
              <a:gd name="T58" fmla="*/ 22 w 112"/>
              <a:gd name="T59" fmla="*/ 18 h 72"/>
              <a:gd name="T60" fmla="*/ 9 w 112"/>
              <a:gd name="T61" fmla="*/ 12 h 72"/>
              <a:gd name="T62" fmla="*/ 9 w 112"/>
              <a:gd name="T63" fmla="*/ 12 h 72"/>
              <a:gd name="T64" fmla="*/ 9 w 112"/>
              <a:gd name="T65" fmla="*/ 18 h 72"/>
              <a:gd name="T66" fmla="*/ 9 w 112"/>
              <a:gd name="T67" fmla="*/ 22 h 72"/>
              <a:gd name="T68" fmla="*/ 0 w 112"/>
              <a:gd name="T69" fmla="*/ 22 h 72"/>
              <a:gd name="T70" fmla="*/ 0 w 112"/>
              <a:gd name="T71" fmla="*/ 25 h 72"/>
              <a:gd name="T72" fmla="*/ 3 w 112"/>
              <a:gd name="T73" fmla="*/ 28 h 72"/>
              <a:gd name="T74" fmla="*/ 3 w 112"/>
              <a:gd name="T75" fmla="*/ 31 h 72"/>
              <a:gd name="T76" fmla="*/ 3 w 112"/>
              <a:gd name="T77" fmla="*/ 34 h 72"/>
              <a:gd name="T78" fmla="*/ 3 w 112"/>
              <a:gd name="T79" fmla="*/ 40 h 72"/>
              <a:gd name="T80" fmla="*/ 0 w 112"/>
              <a:gd name="T81" fmla="*/ 44 h 72"/>
              <a:gd name="T82" fmla="*/ 0 w 112"/>
              <a:gd name="T83" fmla="*/ 44 h 72"/>
              <a:gd name="T84" fmla="*/ 6 w 112"/>
              <a:gd name="T85" fmla="*/ 50 h 72"/>
              <a:gd name="T86" fmla="*/ 6 w 112"/>
              <a:gd name="T87" fmla="*/ 56 h 72"/>
              <a:gd name="T88" fmla="*/ 9 w 112"/>
              <a:gd name="T89" fmla="*/ 56 h 72"/>
              <a:gd name="T90" fmla="*/ 15 w 112"/>
              <a:gd name="T91" fmla="*/ 62 h 72"/>
              <a:gd name="T92" fmla="*/ 22 w 112"/>
              <a:gd name="T93" fmla="*/ 65 h 72"/>
              <a:gd name="T94" fmla="*/ 25 w 112"/>
              <a:gd name="T95" fmla="*/ 69 h 72"/>
              <a:gd name="T96" fmla="*/ 34 w 112"/>
              <a:gd name="T97" fmla="*/ 69 h 72"/>
              <a:gd name="T98" fmla="*/ 40 w 112"/>
              <a:gd name="T99" fmla="*/ 72 h 72"/>
              <a:gd name="T100" fmla="*/ 43 w 112"/>
              <a:gd name="T101" fmla="*/ 69 h 72"/>
              <a:gd name="T102" fmla="*/ 47 w 112"/>
              <a:gd name="T103" fmla="*/ 69 h 72"/>
              <a:gd name="T104" fmla="*/ 50 w 112"/>
              <a:gd name="T105" fmla="*/ 65 h 72"/>
              <a:gd name="T106" fmla="*/ 53 w 112"/>
              <a:gd name="T107" fmla="*/ 65 h 72"/>
              <a:gd name="T108" fmla="*/ 56 w 112"/>
              <a:gd name="T109" fmla="*/ 65 h 72"/>
              <a:gd name="T110" fmla="*/ 59 w 112"/>
              <a:gd name="T111" fmla="*/ 62 h 72"/>
              <a:gd name="T112" fmla="*/ 62 w 112"/>
              <a:gd name="T113" fmla="*/ 59 h 72"/>
              <a:gd name="T114" fmla="*/ 65 w 112"/>
              <a:gd name="T115" fmla="*/ 59 h 72"/>
              <a:gd name="T116" fmla="*/ 72 w 112"/>
              <a:gd name="T117" fmla="*/ 59 h 72"/>
              <a:gd name="T118" fmla="*/ 72 w 112"/>
              <a:gd name="T119"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2" h="72">
                <a:moveTo>
                  <a:pt x="72" y="62"/>
                </a:moveTo>
                <a:lnTo>
                  <a:pt x="78" y="56"/>
                </a:lnTo>
                <a:lnTo>
                  <a:pt x="81" y="56"/>
                </a:lnTo>
                <a:lnTo>
                  <a:pt x="81" y="53"/>
                </a:lnTo>
                <a:lnTo>
                  <a:pt x="87" y="53"/>
                </a:lnTo>
                <a:lnTo>
                  <a:pt x="90" y="50"/>
                </a:lnTo>
                <a:lnTo>
                  <a:pt x="90" y="47"/>
                </a:lnTo>
                <a:lnTo>
                  <a:pt x="97" y="37"/>
                </a:lnTo>
                <a:lnTo>
                  <a:pt x="103" y="25"/>
                </a:lnTo>
                <a:lnTo>
                  <a:pt x="106" y="15"/>
                </a:lnTo>
                <a:lnTo>
                  <a:pt x="109" y="15"/>
                </a:lnTo>
                <a:lnTo>
                  <a:pt x="112" y="12"/>
                </a:lnTo>
                <a:lnTo>
                  <a:pt x="109" y="6"/>
                </a:lnTo>
                <a:lnTo>
                  <a:pt x="106" y="3"/>
                </a:lnTo>
                <a:lnTo>
                  <a:pt x="100" y="0"/>
                </a:lnTo>
                <a:lnTo>
                  <a:pt x="97" y="3"/>
                </a:lnTo>
                <a:lnTo>
                  <a:pt x="90" y="0"/>
                </a:lnTo>
                <a:lnTo>
                  <a:pt x="84" y="0"/>
                </a:lnTo>
                <a:lnTo>
                  <a:pt x="78" y="0"/>
                </a:lnTo>
                <a:lnTo>
                  <a:pt x="72" y="0"/>
                </a:lnTo>
                <a:lnTo>
                  <a:pt x="68" y="6"/>
                </a:lnTo>
                <a:lnTo>
                  <a:pt x="65" y="9"/>
                </a:lnTo>
                <a:lnTo>
                  <a:pt x="65" y="12"/>
                </a:lnTo>
                <a:lnTo>
                  <a:pt x="59" y="6"/>
                </a:lnTo>
                <a:lnTo>
                  <a:pt x="53" y="12"/>
                </a:lnTo>
                <a:lnTo>
                  <a:pt x="47" y="12"/>
                </a:lnTo>
                <a:lnTo>
                  <a:pt x="47" y="15"/>
                </a:lnTo>
                <a:lnTo>
                  <a:pt x="37" y="18"/>
                </a:lnTo>
                <a:lnTo>
                  <a:pt x="28" y="18"/>
                </a:lnTo>
                <a:lnTo>
                  <a:pt x="22" y="18"/>
                </a:lnTo>
                <a:lnTo>
                  <a:pt x="9" y="12"/>
                </a:lnTo>
                <a:lnTo>
                  <a:pt x="9" y="12"/>
                </a:lnTo>
                <a:lnTo>
                  <a:pt x="9" y="18"/>
                </a:lnTo>
                <a:lnTo>
                  <a:pt x="9" y="22"/>
                </a:lnTo>
                <a:lnTo>
                  <a:pt x="0" y="22"/>
                </a:lnTo>
                <a:lnTo>
                  <a:pt x="0" y="25"/>
                </a:lnTo>
                <a:lnTo>
                  <a:pt x="3" y="28"/>
                </a:lnTo>
                <a:lnTo>
                  <a:pt x="3" y="31"/>
                </a:lnTo>
                <a:lnTo>
                  <a:pt x="3" y="34"/>
                </a:lnTo>
                <a:lnTo>
                  <a:pt x="3" y="40"/>
                </a:lnTo>
                <a:lnTo>
                  <a:pt x="0" y="44"/>
                </a:lnTo>
                <a:lnTo>
                  <a:pt x="0" y="44"/>
                </a:lnTo>
                <a:lnTo>
                  <a:pt x="6" y="50"/>
                </a:lnTo>
                <a:lnTo>
                  <a:pt x="6" y="56"/>
                </a:lnTo>
                <a:lnTo>
                  <a:pt x="9" y="56"/>
                </a:lnTo>
                <a:lnTo>
                  <a:pt x="15" y="62"/>
                </a:lnTo>
                <a:lnTo>
                  <a:pt x="22" y="65"/>
                </a:lnTo>
                <a:lnTo>
                  <a:pt x="25" y="69"/>
                </a:lnTo>
                <a:lnTo>
                  <a:pt x="34" y="69"/>
                </a:lnTo>
                <a:lnTo>
                  <a:pt x="40" y="72"/>
                </a:lnTo>
                <a:lnTo>
                  <a:pt x="43" y="69"/>
                </a:lnTo>
                <a:lnTo>
                  <a:pt x="47" y="69"/>
                </a:lnTo>
                <a:lnTo>
                  <a:pt x="50" y="65"/>
                </a:lnTo>
                <a:lnTo>
                  <a:pt x="53" y="65"/>
                </a:lnTo>
                <a:lnTo>
                  <a:pt x="56" y="65"/>
                </a:lnTo>
                <a:lnTo>
                  <a:pt x="59" y="62"/>
                </a:lnTo>
                <a:lnTo>
                  <a:pt x="62" y="59"/>
                </a:lnTo>
                <a:lnTo>
                  <a:pt x="65" y="59"/>
                </a:lnTo>
                <a:lnTo>
                  <a:pt x="72" y="59"/>
                </a:lnTo>
                <a:lnTo>
                  <a:pt x="72" y="62"/>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6" name="Freeform 54">
            <a:extLst>
              <a:ext uri="{FF2B5EF4-FFF2-40B4-BE49-F238E27FC236}">
                <a16:creationId xmlns:a16="http://schemas.microsoft.com/office/drawing/2014/main" id="{B3F79F7F-C229-21C0-753A-FF664F1631B9}"/>
              </a:ext>
            </a:extLst>
          </p:cNvPr>
          <p:cNvSpPr>
            <a:spLocks/>
          </p:cNvSpPr>
          <p:nvPr userDrawn="1"/>
        </p:nvSpPr>
        <p:spPr bwMode="auto">
          <a:xfrm>
            <a:off x="14121479" y="6000032"/>
            <a:ext cx="307956" cy="127000"/>
          </a:xfrm>
          <a:custGeom>
            <a:avLst/>
            <a:gdLst>
              <a:gd name="T0" fmla="*/ 0 w 97"/>
              <a:gd name="T1" fmla="*/ 34 h 40"/>
              <a:gd name="T2" fmla="*/ 13 w 97"/>
              <a:gd name="T3" fmla="*/ 40 h 40"/>
              <a:gd name="T4" fmla="*/ 19 w 97"/>
              <a:gd name="T5" fmla="*/ 40 h 40"/>
              <a:gd name="T6" fmla="*/ 28 w 97"/>
              <a:gd name="T7" fmla="*/ 40 h 40"/>
              <a:gd name="T8" fmla="*/ 38 w 97"/>
              <a:gd name="T9" fmla="*/ 37 h 40"/>
              <a:gd name="T10" fmla="*/ 38 w 97"/>
              <a:gd name="T11" fmla="*/ 34 h 40"/>
              <a:gd name="T12" fmla="*/ 44 w 97"/>
              <a:gd name="T13" fmla="*/ 34 h 40"/>
              <a:gd name="T14" fmla="*/ 50 w 97"/>
              <a:gd name="T15" fmla="*/ 28 h 40"/>
              <a:gd name="T16" fmla="*/ 56 w 97"/>
              <a:gd name="T17" fmla="*/ 34 h 40"/>
              <a:gd name="T18" fmla="*/ 56 w 97"/>
              <a:gd name="T19" fmla="*/ 31 h 40"/>
              <a:gd name="T20" fmla="*/ 59 w 97"/>
              <a:gd name="T21" fmla="*/ 28 h 40"/>
              <a:gd name="T22" fmla="*/ 63 w 97"/>
              <a:gd name="T23" fmla="*/ 22 h 40"/>
              <a:gd name="T24" fmla="*/ 69 w 97"/>
              <a:gd name="T25" fmla="*/ 22 h 40"/>
              <a:gd name="T26" fmla="*/ 75 w 97"/>
              <a:gd name="T27" fmla="*/ 22 h 40"/>
              <a:gd name="T28" fmla="*/ 81 w 97"/>
              <a:gd name="T29" fmla="*/ 22 h 40"/>
              <a:gd name="T30" fmla="*/ 88 w 97"/>
              <a:gd name="T31" fmla="*/ 25 h 40"/>
              <a:gd name="T32" fmla="*/ 94 w 97"/>
              <a:gd name="T33" fmla="*/ 19 h 40"/>
              <a:gd name="T34" fmla="*/ 94 w 97"/>
              <a:gd name="T35" fmla="*/ 12 h 40"/>
              <a:gd name="T36" fmla="*/ 97 w 97"/>
              <a:gd name="T37" fmla="*/ 6 h 40"/>
              <a:gd name="T38" fmla="*/ 97 w 97"/>
              <a:gd name="T39" fmla="*/ 6 h 40"/>
              <a:gd name="T40" fmla="*/ 88 w 97"/>
              <a:gd name="T41" fmla="*/ 0 h 40"/>
              <a:gd name="T42" fmla="*/ 81 w 97"/>
              <a:gd name="T43" fmla="*/ 0 h 40"/>
              <a:gd name="T44" fmla="*/ 78 w 97"/>
              <a:gd name="T45" fmla="*/ 0 h 40"/>
              <a:gd name="T46" fmla="*/ 75 w 97"/>
              <a:gd name="T47" fmla="*/ 0 h 40"/>
              <a:gd name="T48" fmla="*/ 72 w 97"/>
              <a:gd name="T49" fmla="*/ 0 h 40"/>
              <a:gd name="T50" fmla="*/ 72 w 97"/>
              <a:gd name="T51" fmla="*/ 3 h 40"/>
              <a:gd name="T52" fmla="*/ 69 w 97"/>
              <a:gd name="T53" fmla="*/ 0 h 40"/>
              <a:gd name="T54" fmla="*/ 63 w 97"/>
              <a:gd name="T55" fmla="*/ 0 h 40"/>
              <a:gd name="T56" fmla="*/ 59 w 97"/>
              <a:gd name="T57" fmla="*/ 0 h 40"/>
              <a:gd name="T58" fmla="*/ 56 w 97"/>
              <a:gd name="T59" fmla="*/ 0 h 40"/>
              <a:gd name="T60" fmla="*/ 53 w 97"/>
              <a:gd name="T61" fmla="*/ 6 h 40"/>
              <a:gd name="T62" fmla="*/ 50 w 97"/>
              <a:gd name="T63" fmla="*/ 6 h 40"/>
              <a:gd name="T64" fmla="*/ 50 w 97"/>
              <a:gd name="T65" fmla="*/ 3 h 40"/>
              <a:gd name="T66" fmla="*/ 50 w 97"/>
              <a:gd name="T67" fmla="*/ 3 h 40"/>
              <a:gd name="T68" fmla="*/ 41 w 97"/>
              <a:gd name="T69" fmla="*/ 3 h 40"/>
              <a:gd name="T70" fmla="*/ 38 w 97"/>
              <a:gd name="T71" fmla="*/ 6 h 40"/>
              <a:gd name="T72" fmla="*/ 31 w 97"/>
              <a:gd name="T73" fmla="*/ 9 h 40"/>
              <a:gd name="T74" fmla="*/ 25 w 97"/>
              <a:gd name="T75" fmla="*/ 12 h 40"/>
              <a:gd name="T76" fmla="*/ 19 w 97"/>
              <a:gd name="T77" fmla="*/ 15 h 40"/>
              <a:gd name="T78" fmla="*/ 13 w 97"/>
              <a:gd name="T79" fmla="*/ 19 h 40"/>
              <a:gd name="T80" fmla="*/ 9 w 97"/>
              <a:gd name="T81" fmla="*/ 15 h 40"/>
              <a:gd name="T82" fmla="*/ 6 w 97"/>
              <a:gd name="T83" fmla="*/ 15 h 40"/>
              <a:gd name="T84" fmla="*/ 0 w 97"/>
              <a:gd name="T85" fmla="*/ 19 h 40"/>
              <a:gd name="T86" fmla="*/ 0 w 97"/>
              <a:gd name="T87" fmla="*/ 19 h 40"/>
              <a:gd name="T88" fmla="*/ 0 w 97"/>
              <a:gd name="T89" fmla="*/ 25 h 40"/>
              <a:gd name="T90" fmla="*/ 0 w 97"/>
              <a:gd name="T91" fmla="*/ 3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40">
                <a:moveTo>
                  <a:pt x="0" y="34"/>
                </a:moveTo>
                <a:lnTo>
                  <a:pt x="13" y="40"/>
                </a:lnTo>
                <a:lnTo>
                  <a:pt x="19" y="40"/>
                </a:lnTo>
                <a:lnTo>
                  <a:pt x="28" y="40"/>
                </a:lnTo>
                <a:lnTo>
                  <a:pt x="38" y="37"/>
                </a:lnTo>
                <a:lnTo>
                  <a:pt x="38" y="34"/>
                </a:lnTo>
                <a:lnTo>
                  <a:pt x="44" y="34"/>
                </a:lnTo>
                <a:lnTo>
                  <a:pt x="50" y="28"/>
                </a:lnTo>
                <a:lnTo>
                  <a:pt x="56" y="34"/>
                </a:lnTo>
                <a:lnTo>
                  <a:pt x="56" y="31"/>
                </a:lnTo>
                <a:lnTo>
                  <a:pt x="59" y="28"/>
                </a:lnTo>
                <a:lnTo>
                  <a:pt x="63" y="22"/>
                </a:lnTo>
                <a:lnTo>
                  <a:pt x="69" y="22"/>
                </a:lnTo>
                <a:lnTo>
                  <a:pt x="75" y="22"/>
                </a:lnTo>
                <a:lnTo>
                  <a:pt x="81" y="22"/>
                </a:lnTo>
                <a:lnTo>
                  <a:pt x="88" y="25"/>
                </a:lnTo>
                <a:lnTo>
                  <a:pt x="94" y="19"/>
                </a:lnTo>
                <a:lnTo>
                  <a:pt x="94" y="12"/>
                </a:lnTo>
                <a:lnTo>
                  <a:pt x="97" y="6"/>
                </a:lnTo>
                <a:lnTo>
                  <a:pt x="97" y="6"/>
                </a:lnTo>
                <a:lnTo>
                  <a:pt x="88" y="0"/>
                </a:lnTo>
                <a:lnTo>
                  <a:pt x="81" y="0"/>
                </a:lnTo>
                <a:lnTo>
                  <a:pt x="78" y="0"/>
                </a:lnTo>
                <a:lnTo>
                  <a:pt x="75" y="0"/>
                </a:lnTo>
                <a:lnTo>
                  <a:pt x="72" y="0"/>
                </a:lnTo>
                <a:lnTo>
                  <a:pt x="72" y="3"/>
                </a:lnTo>
                <a:lnTo>
                  <a:pt x="69" y="0"/>
                </a:lnTo>
                <a:lnTo>
                  <a:pt x="63" y="0"/>
                </a:lnTo>
                <a:lnTo>
                  <a:pt x="59" y="0"/>
                </a:lnTo>
                <a:lnTo>
                  <a:pt x="56" y="0"/>
                </a:lnTo>
                <a:lnTo>
                  <a:pt x="53" y="6"/>
                </a:lnTo>
                <a:lnTo>
                  <a:pt x="50" y="6"/>
                </a:lnTo>
                <a:lnTo>
                  <a:pt x="50" y="3"/>
                </a:lnTo>
                <a:lnTo>
                  <a:pt x="50" y="3"/>
                </a:lnTo>
                <a:lnTo>
                  <a:pt x="41" y="3"/>
                </a:lnTo>
                <a:lnTo>
                  <a:pt x="38" y="6"/>
                </a:lnTo>
                <a:lnTo>
                  <a:pt x="31" y="9"/>
                </a:lnTo>
                <a:lnTo>
                  <a:pt x="25" y="12"/>
                </a:lnTo>
                <a:lnTo>
                  <a:pt x="19" y="15"/>
                </a:lnTo>
                <a:lnTo>
                  <a:pt x="13" y="19"/>
                </a:lnTo>
                <a:lnTo>
                  <a:pt x="9" y="15"/>
                </a:lnTo>
                <a:lnTo>
                  <a:pt x="6" y="15"/>
                </a:lnTo>
                <a:lnTo>
                  <a:pt x="0" y="19"/>
                </a:lnTo>
                <a:lnTo>
                  <a:pt x="0" y="19"/>
                </a:lnTo>
                <a:lnTo>
                  <a:pt x="0" y="25"/>
                </a:lnTo>
                <a:lnTo>
                  <a:pt x="0" y="34"/>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7" name="Freeform 55">
            <a:extLst>
              <a:ext uri="{FF2B5EF4-FFF2-40B4-BE49-F238E27FC236}">
                <a16:creationId xmlns:a16="http://schemas.microsoft.com/office/drawing/2014/main" id="{6283180F-B03D-B8B6-D208-8180118EE81A}"/>
              </a:ext>
            </a:extLst>
          </p:cNvPr>
          <p:cNvSpPr>
            <a:spLocks/>
          </p:cNvSpPr>
          <p:nvPr userDrawn="1"/>
        </p:nvSpPr>
        <p:spPr bwMode="auto">
          <a:xfrm>
            <a:off x="14458010" y="6396908"/>
            <a:ext cx="368278" cy="228600"/>
          </a:xfrm>
          <a:custGeom>
            <a:avLst/>
            <a:gdLst>
              <a:gd name="T0" fmla="*/ 10 w 116"/>
              <a:gd name="T1" fmla="*/ 3 h 72"/>
              <a:gd name="T2" fmla="*/ 10 w 116"/>
              <a:gd name="T3" fmla="*/ 6 h 72"/>
              <a:gd name="T4" fmla="*/ 13 w 116"/>
              <a:gd name="T5" fmla="*/ 12 h 72"/>
              <a:gd name="T6" fmla="*/ 22 w 116"/>
              <a:gd name="T7" fmla="*/ 9 h 72"/>
              <a:gd name="T8" fmla="*/ 25 w 116"/>
              <a:gd name="T9" fmla="*/ 12 h 72"/>
              <a:gd name="T10" fmla="*/ 38 w 116"/>
              <a:gd name="T11" fmla="*/ 12 h 72"/>
              <a:gd name="T12" fmla="*/ 44 w 116"/>
              <a:gd name="T13" fmla="*/ 9 h 72"/>
              <a:gd name="T14" fmla="*/ 53 w 116"/>
              <a:gd name="T15" fmla="*/ 12 h 72"/>
              <a:gd name="T16" fmla="*/ 63 w 116"/>
              <a:gd name="T17" fmla="*/ 12 h 72"/>
              <a:gd name="T18" fmla="*/ 69 w 116"/>
              <a:gd name="T19" fmla="*/ 6 h 72"/>
              <a:gd name="T20" fmla="*/ 85 w 116"/>
              <a:gd name="T21" fmla="*/ 0 h 72"/>
              <a:gd name="T22" fmla="*/ 97 w 116"/>
              <a:gd name="T23" fmla="*/ 3 h 72"/>
              <a:gd name="T24" fmla="*/ 103 w 116"/>
              <a:gd name="T25" fmla="*/ 6 h 72"/>
              <a:gd name="T26" fmla="*/ 110 w 116"/>
              <a:gd name="T27" fmla="*/ 9 h 72"/>
              <a:gd name="T28" fmla="*/ 116 w 116"/>
              <a:gd name="T29" fmla="*/ 9 h 72"/>
              <a:gd name="T30" fmla="*/ 113 w 116"/>
              <a:gd name="T31" fmla="*/ 19 h 72"/>
              <a:gd name="T32" fmla="*/ 103 w 116"/>
              <a:gd name="T33" fmla="*/ 25 h 72"/>
              <a:gd name="T34" fmla="*/ 103 w 116"/>
              <a:gd name="T35" fmla="*/ 38 h 72"/>
              <a:gd name="T36" fmla="*/ 97 w 116"/>
              <a:gd name="T37" fmla="*/ 44 h 72"/>
              <a:gd name="T38" fmla="*/ 103 w 116"/>
              <a:gd name="T39" fmla="*/ 50 h 72"/>
              <a:gd name="T40" fmla="*/ 107 w 116"/>
              <a:gd name="T41" fmla="*/ 53 h 72"/>
              <a:gd name="T42" fmla="*/ 100 w 116"/>
              <a:gd name="T43" fmla="*/ 56 h 72"/>
              <a:gd name="T44" fmla="*/ 88 w 116"/>
              <a:gd name="T45" fmla="*/ 50 h 72"/>
              <a:gd name="T46" fmla="*/ 85 w 116"/>
              <a:gd name="T47" fmla="*/ 53 h 72"/>
              <a:gd name="T48" fmla="*/ 82 w 116"/>
              <a:gd name="T49" fmla="*/ 56 h 72"/>
              <a:gd name="T50" fmla="*/ 72 w 116"/>
              <a:gd name="T51" fmla="*/ 63 h 72"/>
              <a:gd name="T52" fmla="*/ 75 w 116"/>
              <a:gd name="T53" fmla="*/ 69 h 72"/>
              <a:gd name="T54" fmla="*/ 63 w 116"/>
              <a:gd name="T55" fmla="*/ 72 h 72"/>
              <a:gd name="T56" fmla="*/ 57 w 116"/>
              <a:gd name="T57" fmla="*/ 72 h 72"/>
              <a:gd name="T58" fmla="*/ 50 w 116"/>
              <a:gd name="T59" fmla="*/ 72 h 72"/>
              <a:gd name="T60" fmla="*/ 47 w 116"/>
              <a:gd name="T61" fmla="*/ 69 h 72"/>
              <a:gd name="T62" fmla="*/ 35 w 116"/>
              <a:gd name="T63" fmla="*/ 69 h 72"/>
              <a:gd name="T64" fmla="*/ 28 w 116"/>
              <a:gd name="T65" fmla="*/ 72 h 72"/>
              <a:gd name="T66" fmla="*/ 19 w 116"/>
              <a:gd name="T67" fmla="*/ 72 h 72"/>
              <a:gd name="T68" fmla="*/ 19 w 116"/>
              <a:gd name="T69" fmla="*/ 69 h 72"/>
              <a:gd name="T70" fmla="*/ 13 w 116"/>
              <a:gd name="T71" fmla="*/ 53 h 72"/>
              <a:gd name="T72" fmla="*/ 3 w 116"/>
              <a:gd name="T73" fmla="*/ 47 h 72"/>
              <a:gd name="T74" fmla="*/ 3 w 116"/>
              <a:gd name="T75" fmla="*/ 41 h 72"/>
              <a:gd name="T76" fmla="*/ 10 w 116"/>
              <a:gd name="T77" fmla="*/ 31 h 72"/>
              <a:gd name="T78" fmla="*/ 10 w 116"/>
              <a:gd name="T79" fmla="*/ 22 h 72"/>
              <a:gd name="T80" fmla="*/ 0 w 116"/>
              <a:gd name="T81" fmla="*/ 9 h 72"/>
              <a:gd name="T82" fmla="*/ 3 w 116"/>
              <a:gd name="T83"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6" h="72">
                <a:moveTo>
                  <a:pt x="3" y="0"/>
                </a:moveTo>
                <a:lnTo>
                  <a:pt x="10" y="3"/>
                </a:lnTo>
                <a:lnTo>
                  <a:pt x="10" y="3"/>
                </a:lnTo>
                <a:lnTo>
                  <a:pt x="10" y="6"/>
                </a:lnTo>
                <a:lnTo>
                  <a:pt x="10" y="9"/>
                </a:lnTo>
                <a:lnTo>
                  <a:pt x="13" y="12"/>
                </a:lnTo>
                <a:lnTo>
                  <a:pt x="16" y="9"/>
                </a:lnTo>
                <a:lnTo>
                  <a:pt x="22" y="9"/>
                </a:lnTo>
                <a:lnTo>
                  <a:pt x="22" y="12"/>
                </a:lnTo>
                <a:lnTo>
                  <a:pt x="25" y="12"/>
                </a:lnTo>
                <a:lnTo>
                  <a:pt x="32" y="12"/>
                </a:lnTo>
                <a:lnTo>
                  <a:pt x="38" y="12"/>
                </a:lnTo>
                <a:lnTo>
                  <a:pt x="41" y="12"/>
                </a:lnTo>
                <a:lnTo>
                  <a:pt x="44" y="9"/>
                </a:lnTo>
                <a:lnTo>
                  <a:pt x="50" y="12"/>
                </a:lnTo>
                <a:lnTo>
                  <a:pt x="53" y="12"/>
                </a:lnTo>
                <a:lnTo>
                  <a:pt x="60" y="12"/>
                </a:lnTo>
                <a:lnTo>
                  <a:pt x="63" y="12"/>
                </a:lnTo>
                <a:lnTo>
                  <a:pt x="66" y="9"/>
                </a:lnTo>
                <a:lnTo>
                  <a:pt x="69" y="6"/>
                </a:lnTo>
                <a:lnTo>
                  <a:pt x="82" y="3"/>
                </a:lnTo>
                <a:lnTo>
                  <a:pt x="85" y="0"/>
                </a:lnTo>
                <a:lnTo>
                  <a:pt x="91" y="0"/>
                </a:lnTo>
                <a:lnTo>
                  <a:pt x="97" y="3"/>
                </a:lnTo>
                <a:lnTo>
                  <a:pt x="100" y="6"/>
                </a:lnTo>
                <a:lnTo>
                  <a:pt x="103" y="6"/>
                </a:lnTo>
                <a:lnTo>
                  <a:pt x="110" y="6"/>
                </a:lnTo>
                <a:lnTo>
                  <a:pt x="110" y="9"/>
                </a:lnTo>
                <a:lnTo>
                  <a:pt x="116" y="9"/>
                </a:lnTo>
                <a:lnTo>
                  <a:pt x="116" y="9"/>
                </a:lnTo>
                <a:lnTo>
                  <a:pt x="113" y="19"/>
                </a:lnTo>
                <a:lnTo>
                  <a:pt x="113" y="19"/>
                </a:lnTo>
                <a:lnTo>
                  <a:pt x="107" y="19"/>
                </a:lnTo>
                <a:lnTo>
                  <a:pt x="103" y="25"/>
                </a:lnTo>
                <a:lnTo>
                  <a:pt x="103" y="34"/>
                </a:lnTo>
                <a:lnTo>
                  <a:pt x="103" y="38"/>
                </a:lnTo>
                <a:lnTo>
                  <a:pt x="97" y="41"/>
                </a:lnTo>
                <a:lnTo>
                  <a:pt x="97" y="44"/>
                </a:lnTo>
                <a:lnTo>
                  <a:pt x="100" y="44"/>
                </a:lnTo>
                <a:lnTo>
                  <a:pt x="103" y="50"/>
                </a:lnTo>
                <a:lnTo>
                  <a:pt x="107" y="53"/>
                </a:lnTo>
                <a:lnTo>
                  <a:pt x="107" y="53"/>
                </a:lnTo>
                <a:lnTo>
                  <a:pt x="103" y="53"/>
                </a:lnTo>
                <a:lnTo>
                  <a:pt x="100" y="56"/>
                </a:lnTo>
                <a:lnTo>
                  <a:pt x="94" y="50"/>
                </a:lnTo>
                <a:lnTo>
                  <a:pt x="88" y="50"/>
                </a:lnTo>
                <a:lnTo>
                  <a:pt x="88" y="53"/>
                </a:lnTo>
                <a:lnTo>
                  <a:pt x="85" y="53"/>
                </a:lnTo>
                <a:lnTo>
                  <a:pt x="82" y="56"/>
                </a:lnTo>
                <a:lnTo>
                  <a:pt x="82" y="56"/>
                </a:lnTo>
                <a:lnTo>
                  <a:pt x="78" y="56"/>
                </a:lnTo>
                <a:lnTo>
                  <a:pt x="72" y="63"/>
                </a:lnTo>
                <a:lnTo>
                  <a:pt x="72" y="66"/>
                </a:lnTo>
                <a:lnTo>
                  <a:pt x="75" y="69"/>
                </a:lnTo>
                <a:lnTo>
                  <a:pt x="72" y="72"/>
                </a:lnTo>
                <a:lnTo>
                  <a:pt x="63" y="72"/>
                </a:lnTo>
                <a:lnTo>
                  <a:pt x="60" y="72"/>
                </a:lnTo>
                <a:lnTo>
                  <a:pt x="57" y="72"/>
                </a:lnTo>
                <a:lnTo>
                  <a:pt x="53" y="72"/>
                </a:lnTo>
                <a:lnTo>
                  <a:pt x="50" y="72"/>
                </a:lnTo>
                <a:lnTo>
                  <a:pt x="47" y="72"/>
                </a:lnTo>
                <a:lnTo>
                  <a:pt x="47" y="69"/>
                </a:lnTo>
                <a:lnTo>
                  <a:pt x="41" y="69"/>
                </a:lnTo>
                <a:lnTo>
                  <a:pt x="35" y="69"/>
                </a:lnTo>
                <a:lnTo>
                  <a:pt x="32" y="72"/>
                </a:lnTo>
                <a:lnTo>
                  <a:pt x="28" y="72"/>
                </a:lnTo>
                <a:lnTo>
                  <a:pt x="22" y="72"/>
                </a:lnTo>
                <a:lnTo>
                  <a:pt x="19" y="72"/>
                </a:lnTo>
                <a:lnTo>
                  <a:pt x="19" y="72"/>
                </a:lnTo>
                <a:lnTo>
                  <a:pt x="19" y="69"/>
                </a:lnTo>
                <a:lnTo>
                  <a:pt x="19" y="63"/>
                </a:lnTo>
                <a:lnTo>
                  <a:pt x="13" y="53"/>
                </a:lnTo>
                <a:lnTo>
                  <a:pt x="3" y="47"/>
                </a:lnTo>
                <a:lnTo>
                  <a:pt x="3" y="47"/>
                </a:lnTo>
                <a:lnTo>
                  <a:pt x="7" y="44"/>
                </a:lnTo>
                <a:lnTo>
                  <a:pt x="3" y="41"/>
                </a:lnTo>
                <a:lnTo>
                  <a:pt x="3" y="38"/>
                </a:lnTo>
                <a:lnTo>
                  <a:pt x="10" y="31"/>
                </a:lnTo>
                <a:lnTo>
                  <a:pt x="13" y="28"/>
                </a:lnTo>
                <a:lnTo>
                  <a:pt x="10" y="22"/>
                </a:lnTo>
                <a:lnTo>
                  <a:pt x="3" y="16"/>
                </a:lnTo>
                <a:lnTo>
                  <a:pt x="0" y="9"/>
                </a:lnTo>
                <a:lnTo>
                  <a:pt x="3" y="6"/>
                </a:lnTo>
                <a:lnTo>
                  <a:pt x="3"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8" name="Freeform 56">
            <a:extLst>
              <a:ext uri="{FF2B5EF4-FFF2-40B4-BE49-F238E27FC236}">
                <a16:creationId xmlns:a16="http://schemas.microsoft.com/office/drawing/2014/main" id="{0C21C5A5-0BFD-47A6-7CA9-70A9477BAF06}"/>
              </a:ext>
            </a:extLst>
          </p:cNvPr>
          <p:cNvSpPr>
            <a:spLocks/>
          </p:cNvSpPr>
          <p:nvPr userDrawn="1"/>
        </p:nvSpPr>
        <p:spPr bwMode="auto">
          <a:xfrm>
            <a:off x="14359590" y="6546130"/>
            <a:ext cx="158740" cy="130176"/>
          </a:xfrm>
          <a:custGeom>
            <a:avLst/>
            <a:gdLst>
              <a:gd name="T0" fmla="*/ 34 w 50"/>
              <a:gd name="T1" fmla="*/ 0 h 41"/>
              <a:gd name="T2" fmla="*/ 44 w 50"/>
              <a:gd name="T3" fmla="*/ 6 h 41"/>
              <a:gd name="T4" fmla="*/ 50 w 50"/>
              <a:gd name="T5" fmla="*/ 16 h 41"/>
              <a:gd name="T6" fmla="*/ 50 w 50"/>
              <a:gd name="T7" fmla="*/ 22 h 41"/>
              <a:gd name="T8" fmla="*/ 50 w 50"/>
              <a:gd name="T9" fmla="*/ 25 h 41"/>
              <a:gd name="T10" fmla="*/ 47 w 50"/>
              <a:gd name="T11" fmla="*/ 28 h 41"/>
              <a:gd name="T12" fmla="*/ 44 w 50"/>
              <a:gd name="T13" fmla="*/ 28 h 41"/>
              <a:gd name="T14" fmla="*/ 41 w 50"/>
              <a:gd name="T15" fmla="*/ 31 h 41"/>
              <a:gd name="T16" fmla="*/ 31 w 50"/>
              <a:gd name="T17" fmla="*/ 31 h 41"/>
              <a:gd name="T18" fmla="*/ 25 w 50"/>
              <a:gd name="T19" fmla="*/ 31 h 41"/>
              <a:gd name="T20" fmla="*/ 25 w 50"/>
              <a:gd name="T21" fmla="*/ 34 h 41"/>
              <a:gd name="T22" fmla="*/ 19 w 50"/>
              <a:gd name="T23" fmla="*/ 34 h 41"/>
              <a:gd name="T24" fmla="*/ 13 w 50"/>
              <a:gd name="T25" fmla="*/ 41 h 41"/>
              <a:gd name="T26" fmla="*/ 13 w 50"/>
              <a:gd name="T27" fmla="*/ 41 h 41"/>
              <a:gd name="T28" fmla="*/ 9 w 50"/>
              <a:gd name="T29" fmla="*/ 37 h 41"/>
              <a:gd name="T30" fmla="*/ 6 w 50"/>
              <a:gd name="T31" fmla="*/ 34 h 41"/>
              <a:gd name="T32" fmla="*/ 3 w 50"/>
              <a:gd name="T33" fmla="*/ 28 h 41"/>
              <a:gd name="T34" fmla="*/ 0 w 50"/>
              <a:gd name="T35" fmla="*/ 22 h 41"/>
              <a:gd name="T36" fmla="*/ 3 w 50"/>
              <a:gd name="T37" fmla="*/ 12 h 41"/>
              <a:gd name="T38" fmla="*/ 3 w 50"/>
              <a:gd name="T39" fmla="*/ 16 h 41"/>
              <a:gd name="T40" fmla="*/ 3 w 50"/>
              <a:gd name="T41" fmla="*/ 12 h 41"/>
              <a:gd name="T42" fmla="*/ 3 w 50"/>
              <a:gd name="T43" fmla="*/ 9 h 41"/>
              <a:gd name="T44" fmla="*/ 9 w 50"/>
              <a:gd name="T45" fmla="*/ 6 h 41"/>
              <a:gd name="T46" fmla="*/ 13 w 50"/>
              <a:gd name="T47" fmla="*/ 6 h 41"/>
              <a:gd name="T48" fmla="*/ 16 w 50"/>
              <a:gd name="T49" fmla="*/ 3 h 41"/>
              <a:gd name="T50" fmla="*/ 25 w 50"/>
              <a:gd name="T51" fmla="*/ 3 h 41"/>
              <a:gd name="T52" fmla="*/ 28 w 50"/>
              <a:gd name="T53" fmla="*/ 3 h 41"/>
              <a:gd name="T54" fmla="*/ 31 w 50"/>
              <a:gd name="T55" fmla="*/ 0 h 41"/>
              <a:gd name="T56" fmla="*/ 34 w 50"/>
              <a:gd name="T5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1">
                <a:moveTo>
                  <a:pt x="34" y="0"/>
                </a:moveTo>
                <a:lnTo>
                  <a:pt x="44" y="6"/>
                </a:lnTo>
                <a:lnTo>
                  <a:pt x="50" y="16"/>
                </a:lnTo>
                <a:lnTo>
                  <a:pt x="50" y="22"/>
                </a:lnTo>
                <a:lnTo>
                  <a:pt x="50" y="25"/>
                </a:lnTo>
                <a:lnTo>
                  <a:pt x="47" y="28"/>
                </a:lnTo>
                <a:lnTo>
                  <a:pt x="44" y="28"/>
                </a:lnTo>
                <a:lnTo>
                  <a:pt x="41" y="31"/>
                </a:lnTo>
                <a:lnTo>
                  <a:pt x="31" y="31"/>
                </a:lnTo>
                <a:lnTo>
                  <a:pt x="25" y="31"/>
                </a:lnTo>
                <a:lnTo>
                  <a:pt x="25" y="34"/>
                </a:lnTo>
                <a:lnTo>
                  <a:pt x="19" y="34"/>
                </a:lnTo>
                <a:lnTo>
                  <a:pt x="13" y="41"/>
                </a:lnTo>
                <a:lnTo>
                  <a:pt x="13" y="41"/>
                </a:lnTo>
                <a:lnTo>
                  <a:pt x="9" y="37"/>
                </a:lnTo>
                <a:lnTo>
                  <a:pt x="6" y="34"/>
                </a:lnTo>
                <a:lnTo>
                  <a:pt x="3" y="28"/>
                </a:lnTo>
                <a:lnTo>
                  <a:pt x="0" y="22"/>
                </a:lnTo>
                <a:lnTo>
                  <a:pt x="3" y="12"/>
                </a:lnTo>
                <a:lnTo>
                  <a:pt x="3" y="16"/>
                </a:lnTo>
                <a:lnTo>
                  <a:pt x="3" y="12"/>
                </a:lnTo>
                <a:lnTo>
                  <a:pt x="3" y="9"/>
                </a:lnTo>
                <a:lnTo>
                  <a:pt x="9" y="6"/>
                </a:lnTo>
                <a:lnTo>
                  <a:pt x="13" y="6"/>
                </a:lnTo>
                <a:lnTo>
                  <a:pt x="16" y="3"/>
                </a:lnTo>
                <a:lnTo>
                  <a:pt x="25" y="3"/>
                </a:lnTo>
                <a:lnTo>
                  <a:pt x="28" y="3"/>
                </a:lnTo>
                <a:lnTo>
                  <a:pt x="31" y="0"/>
                </a:lnTo>
                <a:lnTo>
                  <a:pt x="34"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9" name="Freeform 57">
            <a:extLst>
              <a:ext uri="{FF2B5EF4-FFF2-40B4-BE49-F238E27FC236}">
                <a16:creationId xmlns:a16="http://schemas.microsoft.com/office/drawing/2014/main" id="{D0EE23B8-A6EA-FA9A-56A4-34888B259B72}"/>
              </a:ext>
            </a:extLst>
          </p:cNvPr>
          <p:cNvSpPr>
            <a:spLocks/>
          </p:cNvSpPr>
          <p:nvPr userDrawn="1"/>
        </p:nvSpPr>
        <p:spPr bwMode="auto">
          <a:xfrm>
            <a:off x="14280222" y="6527080"/>
            <a:ext cx="120642" cy="228600"/>
          </a:xfrm>
          <a:custGeom>
            <a:avLst/>
            <a:gdLst>
              <a:gd name="T0" fmla="*/ 28 w 38"/>
              <a:gd name="T1" fmla="*/ 18 h 72"/>
              <a:gd name="T2" fmla="*/ 25 w 38"/>
              <a:gd name="T3" fmla="*/ 28 h 72"/>
              <a:gd name="T4" fmla="*/ 28 w 38"/>
              <a:gd name="T5" fmla="*/ 34 h 72"/>
              <a:gd name="T6" fmla="*/ 31 w 38"/>
              <a:gd name="T7" fmla="*/ 40 h 72"/>
              <a:gd name="T8" fmla="*/ 34 w 38"/>
              <a:gd name="T9" fmla="*/ 43 h 72"/>
              <a:gd name="T10" fmla="*/ 38 w 38"/>
              <a:gd name="T11" fmla="*/ 47 h 72"/>
              <a:gd name="T12" fmla="*/ 38 w 38"/>
              <a:gd name="T13" fmla="*/ 53 h 72"/>
              <a:gd name="T14" fmla="*/ 34 w 38"/>
              <a:gd name="T15" fmla="*/ 59 h 72"/>
              <a:gd name="T16" fmla="*/ 25 w 38"/>
              <a:gd name="T17" fmla="*/ 59 h 72"/>
              <a:gd name="T18" fmla="*/ 25 w 38"/>
              <a:gd name="T19" fmla="*/ 65 h 72"/>
              <a:gd name="T20" fmla="*/ 22 w 38"/>
              <a:gd name="T21" fmla="*/ 72 h 72"/>
              <a:gd name="T22" fmla="*/ 19 w 38"/>
              <a:gd name="T23" fmla="*/ 72 h 72"/>
              <a:gd name="T24" fmla="*/ 16 w 38"/>
              <a:gd name="T25" fmla="*/ 68 h 72"/>
              <a:gd name="T26" fmla="*/ 13 w 38"/>
              <a:gd name="T27" fmla="*/ 59 h 72"/>
              <a:gd name="T28" fmla="*/ 6 w 38"/>
              <a:gd name="T29" fmla="*/ 59 h 72"/>
              <a:gd name="T30" fmla="*/ 3 w 38"/>
              <a:gd name="T31" fmla="*/ 56 h 72"/>
              <a:gd name="T32" fmla="*/ 6 w 38"/>
              <a:gd name="T33" fmla="*/ 53 h 72"/>
              <a:gd name="T34" fmla="*/ 3 w 38"/>
              <a:gd name="T35" fmla="*/ 50 h 72"/>
              <a:gd name="T36" fmla="*/ 3 w 38"/>
              <a:gd name="T37" fmla="*/ 43 h 72"/>
              <a:gd name="T38" fmla="*/ 6 w 38"/>
              <a:gd name="T39" fmla="*/ 40 h 72"/>
              <a:gd name="T40" fmla="*/ 3 w 38"/>
              <a:gd name="T41" fmla="*/ 34 h 72"/>
              <a:gd name="T42" fmla="*/ 3 w 38"/>
              <a:gd name="T43" fmla="*/ 25 h 72"/>
              <a:gd name="T44" fmla="*/ 6 w 38"/>
              <a:gd name="T45" fmla="*/ 25 h 72"/>
              <a:gd name="T46" fmla="*/ 6 w 38"/>
              <a:gd name="T47" fmla="*/ 22 h 72"/>
              <a:gd name="T48" fmla="*/ 0 w 38"/>
              <a:gd name="T49" fmla="*/ 18 h 72"/>
              <a:gd name="T50" fmla="*/ 0 w 38"/>
              <a:gd name="T51" fmla="*/ 12 h 72"/>
              <a:gd name="T52" fmla="*/ 3 w 38"/>
              <a:gd name="T53" fmla="*/ 6 h 72"/>
              <a:gd name="T54" fmla="*/ 9 w 38"/>
              <a:gd name="T55" fmla="*/ 0 h 72"/>
              <a:gd name="T56" fmla="*/ 9 w 38"/>
              <a:gd name="T57" fmla="*/ 3 h 72"/>
              <a:gd name="T58" fmla="*/ 13 w 38"/>
              <a:gd name="T59" fmla="*/ 6 h 72"/>
              <a:gd name="T60" fmla="*/ 16 w 38"/>
              <a:gd name="T61" fmla="*/ 0 h 72"/>
              <a:gd name="T62" fmla="*/ 16 w 38"/>
              <a:gd name="T63" fmla="*/ 0 h 72"/>
              <a:gd name="T64" fmla="*/ 16 w 38"/>
              <a:gd name="T65" fmla="*/ 3 h 72"/>
              <a:gd name="T66" fmla="*/ 19 w 38"/>
              <a:gd name="T67" fmla="*/ 6 h 72"/>
              <a:gd name="T68" fmla="*/ 22 w 38"/>
              <a:gd name="T69" fmla="*/ 6 h 72"/>
              <a:gd name="T70" fmla="*/ 25 w 38"/>
              <a:gd name="T71" fmla="*/ 9 h 72"/>
              <a:gd name="T72" fmla="*/ 25 w 38"/>
              <a:gd name="T73" fmla="*/ 12 h 72"/>
              <a:gd name="T74" fmla="*/ 25 w 38"/>
              <a:gd name="T75" fmla="*/ 18 h 72"/>
              <a:gd name="T76" fmla="*/ 28 w 38"/>
              <a:gd name="T77" fmla="*/ 1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 h="72">
                <a:moveTo>
                  <a:pt x="28" y="18"/>
                </a:moveTo>
                <a:lnTo>
                  <a:pt x="25" y="28"/>
                </a:lnTo>
                <a:lnTo>
                  <a:pt x="28" y="34"/>
                </a:lnTo>
                <a:lnTo>
                  <a:pt x="31" y="40"/>
                </a:lnTo>
                <a:lnTo>
                  <a:pt x="34" y="43"/>
                </a:lnTo>
                <a:lnTo>
                  <a:pt x="38" y="47"/>
                </a:lnTo>
                <a:lnTo>
                  <a:pt x="38" y="53"/>
                </a:lnTo>
                <a:lnTo>
                  <a:pt x="34" y="59"/>
                </a:lnTo>
                <a:lnTo>
                  <a:pt x="25" y="59"/>
                </a:lnTo>
                <a:lnTo>
                  <a:pt x="25" y="65"/>
                </a:lnTo>
                <a:lnTo>
                  <a:pt x="22" y="72"/>
                </a:lnTo>
                <a:lnTo>
                  <a:pt x="19" y="72"/>
                </a:lnTo>
                <a:lnTo>
                  <a:pt x="16" y="68"/>
                </a:lnTo>
                <a:lnTo>
                  <a:pt x="13" y="59"/>
                </a:lnTo>
                <a:lnTo>
                  <a:pt x="6" y="59"/>
                </a:lnTo>
                <a:lnTo>
                  <a:pt x="3" y="56"/>
                </a:lnTo>
                <a:lnTo>
                  <a:pt x="6" y="53"/>
                </a:lnTo>
                <a:lnTo>
                  <a:pt x="3" y="50"/>
                </a:lnTo>
                <a:lnTo>
                  <a:pt x="3" y="43"/>
                </a:lnTo>
                <a:lnTo>
                  <a:pt x="6" y="40"/>
                </a:lnTo>
                <a:lnTo>
                  <a:pt x="3" y="34"/>
                </a:lnTo>
                <a:lnTo>
                  <a:pt x="3" y="25"/>
                </a:lnTo>
                <a:lnTo>
                  <a:pt x="6" y="25"/>
                </a:lnTo>
                <a:lnTo>
                  <a:pt x="6" y="22"/>
                </a:lnTo>
                <a:lnTo>
                  <a:pt x="0" y="18"/>
                </a:lnTo>
                <a:lnTo>
                  <a:pt x="0" y="12"/>
                </a:lnTo>
                <a:lnTo>
                  <a:pt x="3" y="6"/>
                </a:lnTo>
                <a:lnTo>
                  <a:pt x="9" y="0"/>
                </a:lnTo>
                <a:lnTo>
                  <a:pt x="9" y="3"/>
                </a:lnTo>
                <a:lnTo>
                  <a:pt x="13" y="6"/>
                </a:lnTo>
                <a:lnTo>
                  <a:pt x="16" y="0"/>
                </a:lnTo>
                <a:lnTo>
                  <a:pt x="16" y="0"/>
                </a:lnTo>
                <a:lnTo>
                  <a:pt x="16" y="3"/>
                </a:lnTo>
                <a:lnTo>
                  <a:pt x="19" y="6"/>
                </a:lnTo>
                <a:lnTo>
                  <a:pt x="22" y="6"/>
                </a:lnTo>
                <a:lnTo>
                  <a:pt x="25" y="9"/>
                </a:lnTo>
                <a:lnTo>
                  <a:pt x="25" y="12"/>
                </a:lnTo>
                <a:lnTo>
                  <a:pt x="25" y="18"/>
                </a:lnTo>
                <a:lnTo>
                  <a:pt x="28" y="18"/>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0" name="Freeform 58">
            <a:extLst>
              <a:ext uri="{FF2B5EF4-FFF2-40B4-BE49-F238E27FC236}">
                <a16:creationId xmlns:a16="http://schemas.microsoft.com/office/drawing/2014/main" id="{8051A9B8-277E-1527-9635-3324B81C21D7}"/>
              </a:ext>
            </a:extLst>
          </p:cNvPr>
          <p:cNvSpPr>
            <a:spLocks/>
          </p:cNvSpPr>
          <p:nvPr userDrawn="1"/>
        </p:nvSpPr>
        <p:spPr bwMode="auto">
          <a:xfrm>
            <a:off x="14242119" y="6257211"/>
            <a:ext cx="257159" cy="339726"/>
          </a:xfrm>
          <a:custGeom>
            <a:avLst/>
            <a:gdLst>
              <a:gd name="T0" fmla="*/ 3 w 81"/>
              <a:gd name="T1" fmla="*/ 6 h 107"/>
              <a:gd name="T2" fmla="*/ 9 w 81"/>
              <a:gd name="T3" fmla="*/ 6 h 107"/>
              <a:gd name="T4" fmla="*/ 15 w 81"/>
              <a:gd name="T5" fmla="*/ 0 h 107"/>
              <a:gd name="T6" fmla="*/ 25 w 81"/>
              <a:gd name="T7" fmla="*/ 0 h 107"/>
              <a:gd name="T8" fmla="*/ 31 w 81"/>
              <a:gd name="T9" fmla="*/ 6 h 107"/>
              <a:gd name="T10" fmla="*/ 37 w 81"/>
              <a:gd name="T11" fmla="*/ 16 h 107"/>
              <a:gd name="T12" fmla="*/ 50 w 81"/>
              <a:gd name="T13" fmla="*/ 25 h 107"/>
              <a:gd name="T14" fmla="*/ 46 w 81"/>
              <a:gd name="T15" fmla="*/ 31 h 107"/>
              <a:gd name="T16" fmla="*/ 56 w 81"/>
              <a:gd name="T17" fmla="*/ 35 h 107"/>
              <a:gd name="T18" fmla="*/ 62 w 81"/>
              <a:gd name="T19" fmla="*/ 38 h 107"/>
              <a:gd name="T20" fmla="*/ 71 w 81"/>
              <a:gd name="T21" fmla="*/ 35 h 107"/>
              <a:gd name="T22" fmla="*/ 71 w 81"/>
              <a:gd name="T23" fmla="*/ 41 h 107"/>
              <a:gd name="T24" fmla="*/ 68 w 81"/>
              <a:gd name="T25" fmla="*/ 53 h 107"/>
              <a:gd name="T26" fmla="*/ 78 w 81"/>
              <a:gd name="T27" fmla="*/ 66 h 107"/>
              <a:gd name="T28" fmla="*/ 78 w 81"/>
              <a:gd name="T29" fmla="*/ 75 h 107"/>
              <a:gd name="T30" fmla="*/ 71 w 81"/>
              <a:gd name="T31" fmla="*/ 85 h 107"/>
              <a:gd name="T32" fmla="*/ 71 w 81"/>
              <a:gd name="T33" fmla="*/ 91 h 107"/>
              <a:gd name="T34" fmla="*/ 65 w 81"/>
              <a:gd name="T35" fmla="*/ 94 h 107"/>
              <a:gd name="T36" fmla="*/ 53 w 81"/>
              <a:gd name="T37" fmla="*/ 94 h 107"/>
              <a:gd name="T38" fmla="*/ 46 w 81"/>
              <a:gd name="T39" fmla="*/ 97 h 107"/>
              <a:gd name="T40" fmla="*/ 40 w 81"/>
              <a:gd name="T41" fmla="*/ 103 h 107"/>
              <a:gd name="T42" fmla="*/ 37 w 81"/>
              <a:gd name="T43" fmla="*/ 103 h 107"/>
              <a:gd name="T44" fmla="*/ 37 w 81"/>
              <a:gd name="T45" fmla="*/ 94 h 107"/>
              <a:gd name="T46" fmla="*/ 31 w 81"/>
              <a:gd name="T47" fmla="*/ 91 h 107"/>
              <a:gd name="T48" fmla="*/ 28 w 81"/>
              <a:gd name="T49" fmla="*/ 85 h 107"/>
              <a:gd name="T50" fmla="*/ 31 w 81"/>
              <a:gd name="T51" fmla="*/ 82 h 107"/>
              <a:gd name="T52" fmla="*/ 25 w 81"/>
              <a:gd name="T53" fmla="*/ 75 h 107"/>
              <a:gd name="T54" fmla="*/ 18 w 81"/>
              <a:gd name="T55" fmla="*/ 72 h 107"/>
              <a:gd name="T56" fmla="*/ 15 w 81"/>
              <a:gd name="T57" fmla="*/ 69 h 107"/>
              <a:gd name="T58" fmla="*/ 12 w 81"/>
              <a:gd name="T59" fmla="*/ 63 h 107"/>
              <a:gd name="T60" fmla="*/ 9 w 81"/>
              <a:gd name="T61" fmla="*/ 53 h 107"/>
              <a:gd name="T62" fmla="*/ 15 w 81"/>
              <a:gd name="T63" fmla="*/ 53 h 107"/>
              <a:gd name="T64" fmla="*/ 12 w 81"/>
              <a:gd name="T65" fmla="*/ 50 h 107"/>
              <a:gd name="T66" fmla="*/ 6 w 81"/>
              <a:gd name="T67" fmla="*/ 44 h 107"/>
              <a:gd name="T68" fmla="*/ 9 w 81"/>
              <a:gd name="T69" fmla="*/ 35 h 107"/>
              <a:gd name="T70" fmla="*/ 6 w 81"/>
              <a:gd name="T71" fmla="*/ 31 h 107"/>
              <a:gd name="T72" fmla="*/ 3 w 81"/>
              <a:gd name="T73" fmla="*/ 31 h 107"/>
              <a:gd name="T74" fmla="*/ 9 w 81"/>
              <a:gd name="T75" fmla="*/ 25 h 107"/>
              <a:gd name="T76" fmla="*/ 9 w 81"/>
              <a:gd name="T77" fmla="*/ 25 h 107"/>
              <a:gd name="T78" fmla="*/ 3 w 81"/>
              <a:gd name="T79" fmla="*/ 22 h 107"/>
              <a:gd name="T80" fmla="*/ 0 w 81"/>
              <a:gd name="T81" fmla="*/ 1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07">
                <a:moveTo>
                  <a:pt x="0" y="10"/>
                </a:moveTo>
                <a:lnTo>
                  <a:pt x="3" y="6"/>
                </a:lnTo>
                <a:lnTo>
                  <a:pt x="6" y="6"/>
                </a:lnTo>
                <a:lnTo>
                  <a:pt x="9" y="6"/>
                </a:lnTo>
                <a:lnTo>
                  <a:pt x="12" y="3"/>
                </a:lnTo>
                <a:lnTo>
                  <a:pt x="15" y="0"/>
                </a:lnTo>
                <a:lnTo>
                  <a:pt x="18" y="0"/>
                </a:lnTo>
                <a:lnTo>
                  <a:pt x="25" y="0"/>
                </a:lnTo>
                <a:lnTo>
                  <a:pt x="31" y="3"/>
                </a:lnTo>
                <a:lnTo>
                  <a:pt x="31" y="6"/>
                </a:lnTo>
                <a:lnTo>
                  <a:pt x="37" y="13"/>
                </a:lnTo>
                <a:lnTo>
                  <a:pt x="37" y="16"/>
                </a:lnTo>
                <a:lnTo>
                  <a:pt x="43" y="19"/>
                </a:lnTo>
                <a:lnTo>
                  <a:pt x="50" y="25"/>
                </a:lnTo>
                <a:lnTo>
                  <a:pt x="46" y="28"/>
                </a:lnTo>
                <a:lnTo>
                  <a:pt x="46" y="31"/>
                </a:lnTo>
                <a:lnTo>
                  <a:pt x="53" y="31"/>
                </a:lnTo>
                <a:lnTo>
                  <a:pt x="56" y="35"/>
                </a:lnTo>
                <a:lnTo>
                  <a:pt x="59" y="35"/>
                </a:lnTo>
                <a:lnTo>
                  <a:pt x="62" y="38"/>
                </a:lnTo>
                <a:lnTo>
                  <a:pt x="65" y="31"/>
                </a:lnTo>
                <a:lnTo>
                  <a:pt x="71" y="35"/>
                </a:lnTo>
                <a:lnTo>
                  <a:pt x="68" y="38"/>
                </a:lnTo>
                <a:lnTo>
                  <a:pt x="71" y="41"/>
                </a:lnTo>
                <a:lnTo>
                  <a:pt x="71" y="50"/>
                </a:lnTo>
                <a:lnTo>
                  <a:pt x="68" y="53"/>
                </a:lnTo>
                <a:lnTo>
                  <a:pt x="71" y="60"/>
                </a:lnTo>
                <a:lnTo>
                  <a:pt x="78" y="66"/>
                </a:lnTo>
                <a:lnTo>
                  <a:pt x="81" y="72"/>
                </a:lnTo>
                <a:lnTo>
                  <a:pt x="78" y="75"/>
                </a:lnTo>
                <a:lnTo>
                  <a:pt x="71" y="82"/>
                </a:lnTo>
                <a:lnTo>
                  <a:pt x="71" y="85"/>
                </a:lnTo>
                <a:lnTo>
                  <a:pt x="75" y="88"/>
                </a:lnTo>
                <a:lnTo>
                  <a:pt x="71" y="91"/>
                </a:lnTo>
                <a:lnTo>
                  <a:pt x="68" y="91"/>
                </a:lnTo>
                <a:lnTo>
                  <a:pt x="65" y="94"/>
                </a:lnTo>
                <a:lnTo>
                  <a:pt x="62" y="94"/>
                </a:lnTo>
                <a:lnTo>
                  <a:pt x="53" y="94"/>
                </a:lnTo>
                <a:lnTo>
                  <a:pt x="50" y="97"/>
                </a:lnTo>
                <a:lnTo>
                  <a:pt x="46" y="97"/>
                </a:lnTo>
                <a:lnTo>
                  <a:pt x="40" y="100"/>
                </a:lnTo>
                <a:lnTo>
                  <a:pt x="40" y="103"/>
                </a:lnTo>
                <a:lnTo>
                  <a:pt x="40" y="107"/>
                </a:lnTo>
                <a:lnTo>
                  <a:pt x="37" y="103"/>
                </a:lnTo>
                <a:lnTo>
                  <a:pt x="37" y="97"/>
                </a:lnTo>
                <a:lnTo>
                  <a:pt x="37" y="94"/>
                </a:lnTo>
                <a:lnTo>
                  <a:pt x="34" y="91"/>
                </a:lnTo>
                <a:lnTo>
                  <a:pt x="31" y="91"/>
                </a:lnTo>
                <a:lnTo>
                  <a:pt x="28" y="88"/>
                </a:lnTo>
                <a:lnTo>
                  <a:pt x="28" y="85"/>
                </a:lnTo>
                <a:lnTo>
                  <a:pt x="28" y="85"/>
                </a:lnTo>
                <a:lnTo>
                  <a:pt x="31" y="82"/>
                </a:lnTo>
                <a:lnTo>
                  <a:pt x="31" y="75"/>
                </a:lnTo>
                <a:lnTo>
                  <a:pt x="25" y="75"/>
                </a:lnTo>
                <a:lnTo>
                  <a:pt x="21" y="72"/>
                </a:lnTo>
                <a:lnTo>
                  <a:pt x="18" y="72"/>
                </a:lnTo>
                <a:lnTo>
                  <a:pt x="15" y="72"/>
                </a:lnTo>
                <a:lnTo>
                  <a:pt x="15" y="69"/>
                </a:lnTo>
                <a:lnTo>
                  <a:pt x="12" y="63"/>
                </a:lnTo>
                <a:lnTo>
                  <a:pt x="12" y="63"/>
                </a:lnTo>
                <a:lnTo>
                  <a:pt x="9" y="56"/>
                </a:lnTo>
                <a:lnTo>
                  <a:pt x="9" y="53"/>
                </a:lnTo>
                <a:lnTo>
                  <a:pt x="12" y="50"/>
                </a:lnTo>
                <a:lnTo>
                  <a:pt x="15" y="53"/>
                </a:lnTo>
                <a:lnTo>
                  <a:pt x="15" y="50"/>
                </a:lnTo>
                <a:lnTo>
                  <a:pt x="12" y="50"/>
                </a:lnTo>
                <a:lnTo>
                  <a:pt x="12" y="47"/>
                </a:lnTo>
                <a:lnTo>
                  <a:pt x="6" y="44"/>
                </a:lnTo>
                <a:lnTo>
                  <a:pt x="6" y="41"/>
                </a:lnTo>
                <a:lnTo>
                  <a:pt x="9" y="35"/>
                </a:lnTo>
                <a:lnTo>
                  <a:pt x="9" y="31"/>
                </a:lnTo>
                <a:lnTo>
                  <a:pt x="6" y="31"/>
                </a:lnTo>
                <a:lnTo>
                  <a:pt x="6" y="31"/>
                </a:lnTo>
                <a:lnTo>
                  <a:pt x="3" y="31"/>
                </a:lnTo>
                <a:lnTo>
                  <a:pt x="3" y="28"/>
                </a:lnTo>
                <a:lnTo>
                  <a:pt x="9" y="25"/>
                </a:lnTo>
                <a:lnTo>
                  <a:pt x="9" y="25"/>
                </a:lnTo>
                <a:lnTo>
                  <a:pt x="9" y="25"/>
                </a:lnTo>
                <a:lnTo>
                  <a:pt x="6" y="22"/>
                </a:lnTo>
                <a:lnTo>
                  <a:pt x="3" y="22"/>
                </a:lnTo>
                <a:lnTo>
                  <a:pt x="3" y="16"/>
                </a:lnTo>
                <a:lnTo>
                  <a:pt x="0" y="10"/>
                </a:lnTo>
                <a:lnTo>
                  <a:pt x="0" y="1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1" name="Freeform 59">
            <a:extLst>
              <a:ext uri="{FF2B5EF4-FFF2-40B4-BE49-F238E27FC236}">
                <a16:creationId xmlns:a16="http://schemas.microsoft.com/office/drawing/2014/main" id="{A8F52D4C-83F9-5B28-34EE-4D7D1A25460C}"/>
              </a:ext>
            </a:extLst>
          </p:cNvPr>
          <p:cNvSpPr>
            <a:spLocks/>
          </p:cNvSpPr>
          <p:nvPr userDrawn="1"/>
        </p:nvSpPr>
        <p:spPr bwMode="auto">
          <a:xfrm>
            <a:off x="14229423" y="6447713"/>
            <a:ext cx="111119" cy="136526"/>
          </a:xfrm>
          <a:custGeom>
            <a:avLst/>
            <a:gdLst>
              <a:gd name="T0" fmla="*/ 16 w 35"/>
              <a:gd name="T1" fmla="*/ 43 h 43"/>
              <a:gd name="T2" fmla="*/ 16 w 35"/>
              <a:gd name="T3" fmla="*/ 37 h 43"/>
              <a:gd name="T4" fmla="*/ 19 w 35"/>
              <a:gd name="T5" fmla="*/ 31 h 43"/>
              <a:gd name="T6" fmla="*/ 25 w 35"/>
              <a:gd name="T7" fmla="*/ 25 h 43"/>
              <a:gd name="T8" fmla="*/ 25 w 35"/>
              <a:gd name="T9" fmla="*/ 28 h 43"/>
              <a:gd name="T10" fmla="*/ 29 w 35"/>
              <a:gd name="T11" fmla="*/ 31 h 43"/>
              <a:gd name="T12" fmla="*/ 32 w 35"/>
              <a:gd name="T13" fmla="*/ 25 h 43"/>
              <a:gd name="T14" fmla="*/ 32 w 35"/>
              <a:gd name="T15" fmla="*/ 25 h 43"/>
              <a:gd name="T16" fmla="*/ 35 w 35"/>
              <a:gd name="T17" fmla="*/ 22 h 43"/>
              <a:gd name="T18" fmla="*/ 35 w 35"/>
              <a:gd name="T19" fmla="*/ 15 h 43"/>
              <a:gd name="T20" fmla="*/ 29 w 35"/>
              <a:gd name="T21" fmla="*/ 15 h 43"/>
              <a:gd name="T22" fmla="*/ 25 w 35"/>
              <a:gd name="T23" fmla="*/ 12 h 43"/>
              <a:gd name="T24" fmla="*/ 22 w 35"/>
              <a:gd name="T25" fmla="*/ 12 h 43"/>
              <a:gd name="T26" fmla="*/ 19 w 35"/>
              <a:gd name="T27" fmla="*/ 12 h 43"/>
              <a:gd name="T28" fmla="*/ 19 w 35"/>
              <a:gd name="T29" fmla="*/ 9 h 43"/>
              <a:gd name="T30" fmla="*/ 16 w 35"/>
              <a:gd name="T31" fmla="*/ 3 h 43"/>
              <a:gd name="T32" fmla="*/ 16 w 35"/>
              <a:gd name="T33" fmla="*/ 3 h 43"/>
              <a:gd name="T34" fmla="*/ 13 w 35"/>
              <a:gd name="T35" fmla="*/ 3 h 43"/>
              <a:gd name="T36" fmla="*/ 10 w 35"/>
              <a:gd name="T37" fmla="*/ 0 h 43"/>
              <a:gd name="T38" fmla="*/ 7 w 35"/>
              <a:gd name="T39" fmla="*/ 3 h 43"/>
              <a:gd name="T40" fmla="*/ 7 w 35"/>
              <a:gd name="T41" fmla="*/ 6 h 43"/>
              <a:gd name="T42" fmla="*/ 10 w 35"/>
              <a:gd name="T43" fmla="*/ 6 h 43"/>
              <a:gd name="T44" fmla="*/ 10 w 35"/>
              <a:gd name="T45" fmla="*/ 9 h 43"/>
              <a:gd name="T46" fmla="*/ 7 w 35"/>
              <a:gd name="T47" fmla="*/ 12 h 43"/>
              <a:gd name="T48" fmla="*/ 7 w 35"/>
              <a:gd name="T49" fmla="*/ 12 h 43"/>
              <a:gd name="T50" fmla="*/ 4 w 35"/>
              <a:gd name="T51" fmla="*/ 15 h 43"/>
              <a:gd name="T52" fmla="*/ 4 w 35"/>
              <a:gd name="T53" fmla="*/ 22 h 43"/>
              <a:gd name="T54" fmla="*/ 0 w 35"/>
              <a:gd name="T55" fmla="*/ 25 h 43"/>
              <a:gd name="T56" fmla="*/ 0 w 35"/>
              <a:gd name="T57" fmla="*/ 25 h 43"/>
              <a:gd name="T58" fmla="*/ 0 w 35"/>
              <a:gd name="T59" fmla="*/ 28 h 43"/>
              <a:gd name="T60" fmla="*/ 4 w 35"/>
              <a:gd name="T61" fmla="*/ 31 h 43"/>
              <a:gd name="T62" fmla="*/ 13 w 35"/>
              <a:gd name="T63" fmla="*/ 40 h 43"/>
              <a:gd name="T64" fmla="*/ 13 w 35"/>
              <a:gd name="T65" fmla="*/ 40 h 43"/>
              <a:gd name="T66" fmla="*/ 16 w 35"/>
              <a:gd name="T6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3">
                <a:moveTo>
                  <a:pt x="16" y="43"/>
                </a:moveTo>
                <a:lnTo>
                  <a:pt x="16" y="37"/>
                </a:lnTo>
                <a:lnTo>
                  <a:pt x="19" y="31"/>
                </a:lnTo>
                <a:lnTo>
                  <a:pt x="25" y="25"/>
                </a:lnTo>
                <a:lnTo>
                  <a:pt x="25" y="28"/>
                </a:lnTo>
                <a:lnTo>
                  <a:pt x="29" y="31"/>
                </a:lnTo>
                <a:lnTo>
                  <a:pt x="32" y="25"/>
                </a:lnTo>
                <a:lnTo>
                  <a:pt x="32" y="25"/>
                </a:lnTo>
                <a:lnTo>
                  <a:pt x="35" y="22"/>
                </a:lnTo>
                <a:lnTo>
                  <a:pt x="35" y="15"/>
                </a:lnTo>
                <a:lnTo>
                  <a:pt x="29" y="15"/>
                </a:lnTo>
                <a:lnTo>
                  <a:pt x="25" y="12"/>
                </a:lnTo>
                <a:lnTo>
                  <a:pt x="22" y="12"/>
                </a:lnTo>
                <a:lnTo>
                  <a:pt x="19" y="12"/>
                </a:lnTo>
                <a:lnTo>
                  <a:pt x="19" y="9"/>
                </a:lnTo>
                <a:lnTo>
                  <a:pt x="16" y="3"/>
                </a:lnTo>
                <a:lnTo>
                  <a:pt x="16" y="3"/>
                </a:lnTo>
                <a:lnTo>
                  <a:pt x="13" y="3"/>
                </a:lnTo>
                <a:lnTo>
                  <a:pt x="10" y="0"/>
                </a:lnTo>
                <a:lnTo>
                  <a:pt x="7" y="3"/>
                </a:lnTo>
                <a:lnTo>
                  <a:pt x="7" y="6"/>
                </a:lnTo>
                <a:lnTo>
                  <a:pt x="10" y="6"/>
                </a:lnTo>
                <a:lnTo>
                  <a:pt x="10" y="9"/>
                </a:lnTo>
                <a:lnTo>
                  <a:pt x="7" y="12"/>
                </a:lnTo>
                <a:lnTo>
                  <a:pt x="7" y="12"/>
                </a:lnTo>
                <a:lnTo>
                  <a:pt x="4" y="15"/>
                </a:lnTo>
                <a:lnTo>
                  <a:pt x="4" y="22"/>
                </a:lnTo>
                <a:lnTo>
                  <a:pt x="0" y="25"/>
                </a:lnTo>
                <a:lnTo>
                  <a:pt x="0" y="25"/>
                </a:lnTo>
                <a:lnTo>
                  <a:pt x="0" y="28"/>
                </a:lnTo>
                <a:lnTo>
                  <a:pt x="4" y="31"/>
                </a:lnTo>
                <a:lnTo>
                  <a:pt x="13" y="40"/>
                </a:lnTo>
                <a:lnTo>
                  <a:pt x="13" y="40"/>
                </a:lnTo>
                <a:lnTo>
                  <a:pt x="16" y="43"/>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2" name="Freeform 60">
            <a:extLst>
              <a:ext uri="{FF2B5EF4-FFF2-40B4-BE49-F238E27FC236}">
                <a16:creationId xmlns:a16="http://schemas.microsoft.com/office/drawing/2014/main" id="{6DEBDA55-8335-A6F8-E0E1-8BB6B3830C20}"/>
              </a:ext>
            </a:extLst>
          </p:cNvPr>
          <p:cNvSpPr>
            <a:spLocks noEditPoints="1"/>
          </p:cNvSpPr>
          <p:nvPr userDrawn="1"/>
        </p:nvSpPr>
        <p:spPr bwMode="auto">
          <a:xfrm>
            <a:off x="13934166" y="6247680"/>
            <a:ext cx="336528" cy="257176"/>
          </a:xfrm>
          <a:custGeom>
            <a:avLst/>
            <a:gdLst>
              <a:gd name="T0" fmla="*/ 34 w 34"/>
              <a:gd name="T1" fmla="*/ 9 h 26"/>
              <a:gd name="T2" fmla="*/ 33 w 34"/>
              <a:gd name="T3" fmla="*/ 8 h 26"/>
              <a:gd name="T4" fmla="*/ 31 w 34"/>
              <a:gd name="T5" fmla="*/ 4 h 26"/>
              <a:gd name="T6" fmla="*/ 27 w 34"/>
              <a:gd name="T7" fmla="*/ 4 h 26"/>
              <a:gd name="T8" fmla="*/ 21 w 34"/>
              <a:gd name="T9" fmla="*/ 2 h 26"/>
              <a:gd name="T10" fmla="*/ 18 w 34"/>
              <a:gd name="T11" fmla="*/ 0 h 26"/>
              <a:gd name="T12" fmla="*/ 11 w 34"/>
              <a:gd name="T13" fmla="*/ 4 h 26"/>
              <a:gd name="T14" fmla="*/ 7 w 34"/>
              <a:gd name="T15" fmla="*/ 7 h 26"/>
              <a:gd name="T16" fmla="*/ 2 w 34"/>
              <a:gd name="T17" fmla="*/ 7 h 26"/>
              <a:gd name="T18" fmla="*/ 0 w 34"/>
              <a:gd name="T19" fmla="*/ 10 h 26"/>
              <a:gd name="T20" fmla="*/ 2 w 34"/>
              <a:gd name="T21" fmla="*/ 12 h 26"/>
              <a:gd name="T22" fmla="*/ 5 w 34"/>
              <a:gd name="T23" fmla="*/ 8 h 26"/>
              <a:gd name="T24" fmla="*/ 8 w 34"/>
              <a:gd name="T25" fmla="*/ 10 h 26"/>
              <a:gd name="T26" fmla="*/ 11 w 34"/>
              <a:gd name="T27" fmla="*/ 15 h 26"/>
              <a:gd name="T28" fmla="*/ 12 w 34"/>
              <a:gd name="T29" fmla="*/ 16 h 26"/>
              <a:gd name="T30" fmla="*/ 11 w 34"/>
              <a:gd name="T31" fmla="*/ 18 h 26"/>
              <a:gd name="T32" fmla="*/ 15 w 34"/>
              <a:gd name="T33" fmla="*/ 20 h 26"/>
              <a:gd name="T34" fmla="*/ 17 w 34"/>
              <a:gd name="T35" fmla="*/ 22 h 26"/>
              <a:gd name="T36" fmla="*/ 25 w 34"/>
              <a:gd name="T37" fmla="*/ 26 h 26"/>
              <a:gd name="T38" fmla="*/ 23 w 34"/>
              <a:gd name="T39" fmla="*/ 26 h 26"/>
              <a:gd name="T40" fmla="*/ 25 w 34"/>
              <a:gd name="T41" fmla="*/ 25 h 26"/>
              <a:gd name="T42" fmla="*/ 15 w 34"/>
              <a:gd name="T43" fmla="*/ 15 h 26"/>
              <a:gd name="T44" fmla="*/ 15 w 34"/>
              <a:gd name="T45" fmla="*/ 13 h 26"/>
              <a:gd name="T46" fmla="*/ 13 w 34"/>
              <a:gd name="T47" fmla="*/ 10 h 26"/>
              <a:gd name="T48" fmla="*/ 14 w 34"/>
              <a:gd name="T49" fmla="*/ 8 h 26"/>
              <a:gd name="T50" fmla="*/ 16 w 34"/>
              <a:gd name="T51" fmla="*/ 10 h 26"/>
              <a:gd name="T52" fmla="*/ 18 w 34"/>
              <a:gd name="T53" fmla="*/ 9 h 26"/>
              <a:gd name="T54" fmla="*/ 21 w 34"/>
              <a:gd name="T55" fmla="*/ 8 h 26"/>
              <a:gd name="T56" fmla="*/ 23 w 34"/>
              <a:gd name="T57" fmla="*/ 9 h 26"/>
              <a:gd name="T58" fmla="*/ 26 w 34"/>
              <a:gd name="T59" fmla="*/ 9 h 26"/>
              <a:gd name="T60" fmla="*/ 29 w 34"/>
              <a:gd name="T61" fmla="*/ 9 h 26"/>
              <a:gd name="T62" fmla="*/ 32 w 34"/>
              <a:gd name="T63" fmla="*/ 11 h 26"/>
              <a:gd name="T64" fmla="*/ 22 w 34"/>
              <a:gd name="T65" fmla="*/ 26 h 26"/>
              <a:gd name="T66" fmla="*/ 18 w 34"/>
              <a:gd name="T67" fmla="*/ 24 h 26"/>
              <a:gd name="T68" fmla="*/ 18 w 34"/>
              <a:gd name="T69" fmla="*/ 24 h 26"/>
              <a:gd name="T70" fmla="*/ 21 w 34"/>
              <a:gd name="T71" fmla="*/ 23 h 26"/>
              <a:gd name="T72" fmla="*/ 18 w 34"/>
              <a:gd name="T73" fmla="*/ 23 h 26"/>
              <a:gd name="T74" fmla="*/ 11 w 34"/>
              <a:gd name="T75" fmla="*/ 16 h 26"/>
              <a:gd name="T76" fmla="*/ 8 w 34"/>
              <a:gd name="T77" fmla="*/ 13 h 26"/>
              <a:gd name="T78" fmla="*/ 8 w 34"/>
              <a:gd name="T79" fmla="*/ 13 h 26"/>
              <a:gd name="T80" fmla="*/ 10 w 34"/>
              <a:gd name="T81" fmla="*/ 19 h 26"/>
              <a:gd name="T82" fmla="*/ 8 w 34"/>
              <a:gd name="T83" fmla="*/ 15 h 26"/>
              <a:gd name="T84" fmla="*/ 5 w 34"/>
              <a:gd name="T85" fmla="*/ 11 h 26"/>
              <a:gd name="T86" fmla="*/ 6 w 34"/>
              <a:gd name="T87" fmla="*/ 14 h 26"/>
              <a:gd name="T88" fmla="*/ 5 w 34"/>
              <a:gd name="T89" fmla="*/ 11 h 26"/>
              <a:gd name="T90" fmla="*/ 6 w 34"/>
              <a:gd name="T91" fmla="*/ 12 h 26"/>
              <a:gd name="T92" fmla="*/ 5 w 34"/>
              <a:gd name="T93" fmla="*/ 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 h="26">
                <a:moveTo>
                  <a:pt x="32" y="11"/>
                </a:moveTo>
                <a:cubicBezTo>
                  <a:pt x="32" y="10"/>
                  <a:pt x="32" y="10"/>
                  <a:pt x="32" y="10"/>
                </a:cubicBezTo>
                <a:cubicBezTo>
                  <a:pt x="34" y="9"/>
                  <a:pt x="34" y="9"/>
                  <a:pt x="34" y="9"/>
                </a:cubicBezTo>
                <a:cubicBezTo>
                  <a:pt x="34" y="9"/>
                  <a:pt x="34" y="9"/>
                  <a:pt x="34" y="9"/>
                </a:cubicBezTo>
                <a:cubicBezTo>
                  <a:pt x="34" y="9"/>
                  <a:pt x="34" y="9"/>
                  <a:pt x="34" y="9"/>
                </a:cubicBezTo>
                <a:cubicBezTo>
                  <a:pt x="33" y="8"/>
                  <a:pt x="33" y="8"/>
                  <a:pt x="33" y="8"/>
                </a:cubicBezTo>
                <a:cubicBezTo>
                  <a:pt x="32" y="8"/>
                  <a:pt x="32" y="8"/>
                  <a:pt x="32" y="8"/>
                </a:cubicBezTo>
                <a:cubicBezTo>
                  <a:pt x="32" y="6"/>
                  <a:pt x="32" y="6"/>
                  <a:pt x="32" y="6"/>
                </a:cubicBezTo>
                <a:cubicBezTo>
                  <a:pt x="31" y="4"/>
                  <a:pt x="31" y="4"/>
                  <a:pt x="31" y="4"/>
                </a:cubicBezTo>
                <a:cubicBezTo>
                  <a:pt x="30" y="4"/>
                  <a:pt x="30" y="4"/>
                  <a:pt x="30" y="4"/>
                </a:cubicBezTo>
                <a:cubicBezTo>
                  <a:pt x="29" y="5"/>
                  <a:pt x="29" y="5"/>
                  <a:pt x="29" y="5"/>
                </a:cubicBezTo>
                <a:cubicBezTo>
                  <a:pt x="27" y="4"/>
                  <a:pt x="27" y="4"/>
                  <a:pt x="27" y="4"/>
                </a:cubicBezTo>
                <a:cubicBezTo>
                  <a:pt x="24" y="4"/>
                  <a:pt x="24" y="4"/>
                  <a:pt x="24" y="4"/>
                </a:cubicBezTo>
                <a:cubicBezTo>
                  <a:pt x="23" y="3"/>
                  <a:pt x="23" y="3"/>
                  <a:pt x="23" y="3"/>
                </a:cubicBezTo>
                <a:cubicBezTo>
                  <a:pt x="21" y="2"/>
                  <a:pt x="21" y="2"/>
                  <a:pt x="21" y="2"/>
                </a:cubicBezTo>
                <a:cubicBezTo>
                  <a:pt x="19" y="0"/>
                  <a:pt x="19" y="0"/>
                  <a:pt x="19" y="0"/>
                </a:cubicBezTo>
                <a:cubicBezTo>
                  <a:pt x="18" y="0"/>
                  <a:pt x="18" y="0"/>
                  <a:pt x="18" y="0"/>
                </a:cubicBezTo>
                <a:cubicBezTo>
                  <a:pt x="18" y="0"/>
                  <a:pt x="18" y="0"/>
                  <a:pt x="18" y="0"/>
                </a:cubicBezTo>
                <a:cubicBezTo>
                  <a:pt x="15" y="0"/>
                  <a:pt x="15" y="0"/>
                  <a:pt x="15" y="0"/>
                </a:cubicBezTo>
                <a:cubicBezTo>
                  <a:pt x="11" y="2"/>
                  <a:pt x="11" y="2"/>
                  <a:pt x="11" y="2"/>
                </a:cubicBezTo>
                <a:cubicBezTo>
                  <a:pt x="11" y="4"/>
                  <a:pt x="11" y="4"/>
                  <a:pt x="11" y="4"/>
                </a:cubicBezTo>
                <a:cubicBezTo>
                  <a:pt x="9" y="5"/>
                  <a:pt x="9" y="5"/>
                  <a:pt x="9" y="5"/>
                </a:cubicBezTo>
                <a:cubicBezTo>
                  <a:pt x="9" y="7"/>
                  <a:pt x="9" y="7"/>
                  <a:pt x="9" y="7"/>
                </a:cubicBezTo>
                <a:cubicBezTo>
                  <a:pt x="7" y="7"/>
                  <a:pt x="7" y="7"/>
                  <a:pt x="7" y="7"/>
                </a:cubicBezTo>
                <a:cubicBezTo>
                  <a:pt x="5" y="6"/>
                  <a:pt x="5" y="6"/>
                  <a:pt x="5" y="6"/>
                </a:cubicBezTo>
                <a:cubicBezTo>
                  <a:pt x="4" y="6"/>
                  <a:pt x="4" y="6"/>
                  <a:pt x="4" y="6"/>
                </a:cubicBezTo>
                <a:cubicBezTo>
                  <a:pt x="2" y="7"/>
                  <a:pt x="2" y="7"/>
                  <a:pt x="2" y="7"/>
                </a:cubicBezTo>
                <a:cubicBezTo>
                  <a:pt x="0" y="8"/>
                  <a:pt x="0" y="8"/>
                  <a:pt x="0" y="8"/>
                </a:cubicBezTo>
                <a:cubicBezTo>
                  <a:pt x="0" y="8"/>
                  <a:pt x="0" y="8"/>
                  <a:pt x="0" y="8"/>
                </a:cubicBezTo>
                <a:cubicBezTo>
                  <a:pt x="0" y="10"/>
                  <a:pt x="0" y="10"/>
                  <a:pt x="0" y="10"/>
                </a:cubicBezTo>
                <a:cubicBezTo>
                  <a:pt x="2" y="12"/>
                  <a:pt x="2" y="12"/>
                  <a:pt x="2" y="12"/>
                </a:cubicBezTo>
                <a:cubicBezTo>
                  <a:pt x="2" y="12"/>
                  <a:pt x="2" y="12"/>
                  <a:pt x="2" y="12"/>
                </a:cubicBezTo>
                <a:cubicBezTo>
                  <a:pt x="2" y="12"/>
                  <a:pt x="2" y="12"/>
                  <a:pt x="2" y="12"/>
                </a:cubicBezTo>
                <a:cubicBezTo>
                  <a:pt x="4" y="10"/>
                  <a:pt x="4" y="10"/>
                  <a:pt x="4" y="10"/>
                </a:cubicBezTo>
                <a:cubicBezTo>
                  <a:pt x="4" y="9"/>
                  <a:pt x="4" y="9"/>
                  <a:pt x="4" y="9"/>
                </a:cubicBezTo>
                <a:cubicBezTo>
                  <a:pt x="5" y="8"/>
                  <a:pt x="5" y="8"/>
                  <a:pt x="5" y="8"/>
                </a:cubicBezTo>
                <a:cubicBezTo>
                  <a:pt x="6" y="8"/>
                  <a:pt x="6" y="8"/>
                  <a:pt x="6" y="8"/>
                </a:cubicBezTo>
                <a:cubicBezTo>
                  <a:pt x="7" y="9"/>
                  <a:pt x="7" y="9"/>
                  <a:pt x="7" y="9"/>
                </a:cubicBezTo>
                <a:cubicBezTo>
                  <a:pt x="8" y="10"/>
                  <a:pt x="8" y="10"/>
                  <a:pt x="8" y="10"/>
                </a:cubicBezTo>
                <a:cubicBezTo>
                  <a:pt x="8" y="12"/>
                  <a:pt x="8" y="12"/>
                  <a:pt x="8" y="12"/>
                </a:cubicBezTo>
                <a:cubicBezTo>
                  <a:pt x="9" y="13"/>
                  <a:pt x="9" y="13"/>
                  <a:pt x="9" y="13"/>
                </a:cubicBezTo>
                <a:cubicBezTo>
                  <a:pt x="11" y="15"/>
                  <a:pt x="11" y="15"/>
                  <a:pt x="11" y="15"/>
                </a:cubicBezTo>
                <a:cubicBezTo>
                  <a:pt x="12" y="15"/>
                  <a:pt x="12" y="15"/>
                  <a:pt x="12" y="15"/>
                </a:cubicBezTo>
                <a:cubicBezTo>
                  <a:pt x="13" y="16"/>
                  <a:pt x="13" y="16"/>
                  <a:pt x="13" y="16"/>
                </a:cubicBezTo>
                <a:cubicBezTo>
                  <a:pt x="12" y="16"/>
                  <a:pt x="12" y="16"/>
                  <a:pt x="12" y="16"/>
                </a:cubicBezTo>
                <a:cubicBezTo>
                  <a:pt x="11" y="16"/>
                  <a:pt x="11" y="16"/>
                  <a:pt x="11" y="16"/>
                </a:cubicBezTo>
                <a:cubicBezTo>
                  <a:pt x="10" y="17"/>
                  <a:pt x="10" y="17"/>
                  <a:pt x="10" y="17"/>
                </a:cubicBezTo>
                <a:cubicBezTo>
                  <a:pt x="11" y="18"/>
                  <a:pt x="11" y="18"/>
                  <a:pt x="11" y="18"/>
                </a:cubicBezTo>
                <a:cubicBezTo>
                  <a:pt x="12" y="18"/>
                  <a:pt x="12" y="18"/>
                  <a:pt x="12" y="18"/>
                </a:cubicBezTo>
                <a:cubicBezTo>
                  <a:pt x="14" y="20"/>
                  <a:pt x="14" y="20"/>
                  <a:pt x="14" y="20"/>
                </a:cubicBezTo>
                <a:cubicBezTo>
                  <a:pt x="15" y="20"/>
                  <a:pt x="15" y="20"/>
                  <a:pt x="15" y="20"/>
                </a:cubicBezTo>
                <a:cubicBezTo>
                  <a:pt x="15" y="21"/>
                  <a:pt x="15" y="21"/>
                  <a:pt x="15" y="21"/>
                </a:cubicBezTo>
                <a:cubicBezTo>
                  <a:pt x="16" y="22"/>
                  <a:pt x="16" y="22"/>
                  <a:pt x="16" y="22"/>
                </a:cubicBezTo>
                <a:cubicBezTo>
                  <a:pt x="17" y="22"/>
                  <a:pt x="17" y="22"/>
                  <a:pt x="17" y="22"/>
                </a:cubicBezTo>
                <a:cubicBezTo>
                  <a:pt x="20" y="22"/>
                  <a:pt x="20" y="22"/>
                  <a:pt x="20" y="22"/>
                </a:cubicBezTo>
                <a:cubicBezTo>
                  <a:pt x="22" y="23"/>
                  <a:pt x="22" y="23"/>
                  <a:pt x="22" y="23"/>
                </a:cubicBezTo>
                <a:cubicBezTo>
                  <a:pt x="25" y="26"/>
                  <a:pt x="25" y="26"/>
                  <a:pt x="25" y="26"/>
                </a:cubicBezTo>
                <a:cubicBezTo>
                  <a:pt x="24" y="26"/>
                  <a:pt x="24" y="26"/>
                  <a:pt x="24" y="26"/>
                </a:cubicBezTo>
                <a:cubicBezTo>
                  <a:pt x="22" y="25"/>
                  <a:pt x="22" y="25"/>
                  <a:pt x="22" y="25"/>
                </a:cubicBezTo>
                <a:cubicBezTo>
                  <a:pt x="23" y="26"/>
                  <a:pt x="23" y="26"/>
                  <a:pt x="23" y="26"/>
                </a:cubicBezTo>
                <a:cubicBezTo>
                  <a:pt x="25" y="26"/>
                  <a:pt x="25" y="26"/>
                  <a:pt x="25" y="26"/>
                </a:cubicBezTo>
                <a:cubicBezTo>
                  <a:pt x="25" y="26"/>
                  <a:pt x="25" y="26"/>
                  <a:pt x="25" y="26"/>
                </a:cubicBezTo>
                <a:cubicBezTo>
                  <a:pt x="25" y="25"/>
                  <a:pt x="25" y="25"/>
                  <a:pt x="25" y="25"/>
                </a:cubicBezTo>
                <a:cubicBezTo>
                  <a:pt x="21" y="20"/>
                  <a:pt x="21" y="20"/>
                  <a:pt x="21" y="20"/>
                </a:cubicBezTo>
                <a:cubicBezTo>
                  <a:pt x="16" y="16"/>
                  <a:pt x="16" y="16"/>
                  <a:pt x="16" y="16"/>
                </a:cubicBezTo>
                <a:cubicBezTo>
                  <a:pt x="15" y="15"/>
                  <a:pt x="15" y="15"/>
                  <a:pt x="15" y="15"/>
                </a:cubicBezTo>
                <a:cubicBezTo>
                  <a:pt x="16" y="15"/>
                  <a:pt x="16" y="15"/>
                  <a:pt x="16" y="15"/>
                </a:cubicBezTo>
                <a:cubicBezTo>
                  <a:pt x="15" y="14"/>
                  <a:pt x="15" y="14"/>
                  <a:pt x="15" y="14"/>
                </a:cubicBezTo>
                <a:cubicBezTo>
                  <a:pt x="15" y="13"/>
                  <a:pt x="15" y="13"/>
                  <a:pt x="15" y="13"/>
                </a:cubicBezTo>
                <a:cubicBezTo>
                  <a:pt x="13" y="11"/>
                  <a:pt x="13" y="11"/>
                  <a:pt x="13" y="11"/>
                </a:cubicBezTo>
                <a:cubicBezTo>
                  <a:pt x="13" y="11"/>
                  <a:pt x="13" y="11"/>
                  <a:pt x="13" y="11"/>
                </a:cubicBezTo>
                <a:cubicBezTo>
                  <a:pt x="13" y="10"/>
                  <a:pt x="13" y="10"/>
                  <a:pt x="13" y="10"/>
                </a:cubicBezTo>
                <a:cubicBezTo>
                  <a:pt x="13" y="10"/>
                  <a:pt x="13" y="10"/>
                  <a:pt x="13" y="10"/>
                </a:cubicBezTo>
                <a:cubicBezTo>
                  <a:pt x="13" y="8"/>
                  <a:pt x="13" y="8"/>
                  <a:pt x="13" y="8"/>
                </a:cubicBezTo>
                <a:cubicBezTo>
                  <a:pt x="14" y="8"/>
                  <a:pt x="14" y="8"/>
                  <a:pt x="14" y="8"/>
                </a:cubicBezTo>
                <a:cubicBezTo>
                  <a:pt x="15" y="9"/>
                  <a:pt x="15" y="9"/>
                  <a:pt x="15" y="9"/>
                </a:cubicBezTo>
                <a:cubicBezTo>
                  <a:pt x="16" y="10"/>
                  <a:pt x="16" y="10"/>
                  <a:pt x="16" y="10"/>
                </a:cubicBezTo>
                <a:cubicBezTo>
                  <a:pt x="16" y="10"/>
                  <a:pt x="16" y="10"/>
                  <a:pt x="16" y="10"/>
                </a:cubicBezTo>
                <a:cubicBezTo>
                  <a:pt x="16" y="9"/>
                  <a:pt x="16" y="9"/>
                  <a:pt x="16" y="9"/>
                </a:cubicBezTo>
                <a:cubicBezTo>
                  <a:pt x="18" y="8"/>
                  <a:pt x="18" y="8"/>
                  <a:pt x="18" y="8"/>
                </a:cubicBezTo>
                <a:cubicBezTo>
                  <a:pt x="18" y="9"/>
                  <a:pt x="18" y="9"/>
                  <a:pt x="18" y="9"/>
                </a:cubicBezTo>
                <a:cubicBezTo>
                  <a:pt x="19" y="8"/>
                  <a:pt x="19" y="8"/>
                  <a:pt x="19" y="8"/>
                </a:cubicBezTo>
                <a:cubicBezTo>
                  <a:pt x="20" y="8"/>
                  <a:pt x="20" y="8"/>
                  <a:pt x="20" y="8"/>
                </a:cubicBezTo>
                <a:cubicBezTo>
                  <a:pt x="21" y="8"/>
                  <a:pt x="21" y="8"/>
                  <a:pt x="21" y="8"/>
                </a:cubicBezTo>
                <a:cubicBezTo>
                  <a:pt x="22" y="8"/>
                  <a:pt x="22" y="8"/>
                  <a:pt x="22" y="8"/>
                </a:cubicBezTo>
                <a:cubicBezTo>
                  <a:pt x="22" y="9"/>
                  <a:pt x="22" y="9"/>
                  <a:pt x="22" y="9"/>
                </a:cubicBezTo>
                <a:cubicBezTo>
                  <a:pt x="23" y="9"/>
                  <a:pt x="23" y="9"/>
                  <a:pt x="23" y="9"/>
                </a:cubicBezTo>
                <a:cubicBezTo>
                  <a:pt x="24" y="9"/>
                  <a:pt x="24" y="9"/>
                  <a:pt x="24" y="9"/>
                </a:cubicBezTo>
                <a:cubicBezTo>
                  <a:pt x="25" y="9"/>
                  <a:pt x="25" y="9"/>
                  <a:pt x="25" y="9"/>
                </a:cubicBezTo>
                <a:cubicBezTo>
                  <a:pt x="26" y="9"/>
                  <a:pt x="26" y="9"/>
                  <a:pt x="26" y="9"/>
                </a:cubicBezTo>
                <a:cubicBezTo>
                  <a:pt x="27" y="9"/>
                  <a:pt x="27" y="9"/>
                  <a:pt x="27" y="9"/>
                </a:cubicBezTo>
                <a:cubicBezTo>
                  <a:pt x="28" y="9"/>
                  <a:pt x="28" y="9"/>
                  <a:pt x="28" y="9"/>
                </a:cubicBezTo>
                <a:cubicBezTo>
                  <a:pt x="29" y="9"/>
                  <a:pt x="29" y="9"/>
                  <a:pt x="29" y="9"/>
                </a:cubicBezTo>
                <a:cubicBezTo>
                  <a:pt x="31" y="10"/>
                  <a:pt x="31" y="10"/>
                  <a:pt x="31" y="10"/>
                </a:cubicBezTo>
                <a:cubicBezTo>
                  <a:pt x="32" y="10"/>
                  <a:pt x="32" y="10"/>
                  <a:pt x="32" y="10"/>
                </a:cubicBezTo>
                <a:cubicBezTo>
                  <a:pt x="32" y="11"/>
                  <a:pt x="32" y="11"/>
                  <a:pt x="32" y="11"/>
                </a:cubicBezTo>
                <a:close/>
                <a:moveTo>
                  <a:pt x="19" y="25"/>
                </a:moveTo>
                <a:cubicBezTo>
                  <a:pt x="19" y="25"/>
                  <a:pt x="22" y="25"/>
                  <a:pt x="22" y="25"/>
                </a:cubicBezTo>
                <a:cubicBezTo>
                  <a:pt x="22" y="26"/>
                  <a:pt x="22" y="26"/>
                  <a:pt x="22" y="26"/>
                </a:cubicBezTo>
                <a:cubicBezTo>
                  <a:pt x="20" y="26"/>
                  <a:pt x="20" y="26"/>
                  <a:pt x="20" y="26"/>
                </a:cubicBezTo>
                <a:cubicBezTo>
                  <a:pt x="19" y="25"/>
                  <a:pt x="19" y="25"/>
                  <a:pt x="19" y="25"/>
                </a:cubicBezTo>
                <a:close/>
                <a:moveTo>
                  <a:pt x="18" y="24"/>
                </a:moveTo>
                <a:cubicBezTo>
                  <a:pt x="21" y="24"/>
                  <a:pt x="21" y="24"/>
                  <a:pt x="21" y="24"/>
                </a:cubicBezTo>
                <a:cubicBezTo>
                  <a:pt x="20" y="25"/>
                  <a:pt x="20" y="25"/>
                  <a:pt x="20" y="25"/>
                </a:cubicBezTo>
                <a:cubicBezTo>
                  <a:pt x="18" y="24"/>
                  <a:pt x="18" y="24"/>
                  <a:pt x="18" y="24"/>
                </a:cubicBezTo>
                <a:close/>
                <a:moveTo>
                  <a:pt x="18" y="23"/>
                </a:moveTo>
                <a:cubicBezTo>
                  <a:pt x="20" y="23"/>
                  <a:pt x="20" y="23"/>
                  <a:pt x="20" y="23"/>
                </a:cubicBezTo>
                <a:cubicBezTo>
                  <a:pt x="21" y="23"/>
                  <a:pt x="21" y="23"/>
                  <a:pt x="21" y="23"/>
                </a:cubicBezTo>
                <a:cubicBezTo>
                  <a:pt x="20" y="24"/>
                  <a:pt x="20" y="24"/>
                  <a:pt x="20" y="24"/>
                </a:cubicBezTo>
                <a:cubicBezTo>
                  <a:pt x="19" y="23"/>
                  <a:pt x="19" y="23"/>
                  <a:pt x="19" y="23"/>
                </a:cubicBezTo>
                <a:cubicBezTo>
                  <a:pt x="18" y="23"/>
                  <a:pt x="18" y="23"/>
                  <a:pt x="18" y="23"/>
                </a:cubicBezTo>
                <a:close/>
                <a:moveTo>
                  <a:pt x="9" y="15"/>
                </a:moveTo>
                <a:cubicBezTo>
                  <a:pt x="10" y="15"/>
                  <a:pt x="10" y="15"/>
                  <a:pt x="10" y="15"/>
                </a:cubicBezTo>
                <a:cubicBezTo>
                  <a:pt x="11" y="16"/>
                  <a:pt x="11" y="16"/>
                  <a:pt x="11" y="16"/>
                </a:cubicBezTo>
                <a:cubicBezTo>
                  <a:pt x="10" y="16"/>
                  <a:pt x="10" y="16"/>
                  <a:pt x="10" y="16"/>
                </a:cubicBezTo>
                <a:cubicBezTo>
                  <a:pt x="9" y="15"/>
                  <a:pt x="9" y="15"/>
                  <a:pt x="9" y="15"/>
                </a:cubicBezTo>
                <a:close/>
                <a:moveTo>
                  <a:pt x="8" y="13"/>
                </a:moveTo>
                <a:cubicBezTo>
                  <a:pt x="9" y="14"/>
                  <a:pt x="9" y="14"/>
                  <a:pt x="9" y="14"/>
                </a:cubicBezTo>
                <a:cubicBezTo>
                  <a:pt x="8" y="14"/>
                  <a:pt x="8" y="14"/>
                  <a:pt x="8" y="14"/>
                </a:cubicBezTo>
                <a:cubicBezTo>
                  <a:pt x="8" y="13"/>
                  <a:pt x="8" y="13"/>
                  <a:pt x="8" y="13"/>
                </a:cubicBezTo>
                <a:close/>
                <a:moveTo>
                  <a:pt x="8" y="17"/>
                </a:moveTo>
                <a:cubicBezTo>
                  <a:pt x="10" y="18"/>
                  <a:pt x="10" y="18"/>
                  <a:pt x="10" y="18"/>
                </a:cubicBezTo>
                <a:cubicBezTo>
                  <a:pt x="10" y="19"/>
                  <a:pt x="10" y="19"/>
                  <a:pt x="10" y="19"/>
                </a:cubicBezTo>
                <a:cubicBezTo>
                  <a:pt x="8" y="17"/>
                  <a:pt x="8" y="17"/>
                  <a:pt x="8" y="17"/>
                </a:cubicBezTo>
                <a:close/>
                <a:moveTo>
                  <a:pt x="7" y="15"/>
                </a:moveTo>
                <a:cubicBezTo>
                  <a:pt x="8" y="15"/>
                  <a:pt x="8" y="15"/>
                  <a:pt x="8" y="15"/>
                </a:cubicBezTo>
                <a:cubicBezTo>
                  <a:pt x="8" y="16"/>
                  <a:pt x="8" y="16"/>
                  <a:pt x="8" y="16"/>
                </a:cubicBezTo>
                <a:cubicBezTo>
                  <a:pt x="7" y="15"/>
                  <a:pt x="7" y="15"/>
                  <a:pt x="7" y="15"/>
                </a:cubicBezTo>
                <a:close/>
                <a:moveTo>
                  <a:pt x="5" y="11"/>
                </a:moveTo>
                <a:cubicBezTo>
                  <a:pt x="6" y="12"/>
                  <a:pt x="6" y="12"/>
                  <a:pt x="6" y="12"/>
                </a:cubicBezTo>
                <a:cubicBezTo>
                  <a:pt x="7" y="14"/>
                  <a:pt x="7" y="14"/>
                  <a:pt x="7" y="14"/>
                </a:cubicBezTo>
                <a:cubicBezTo>
                  <a:pt x="6" y="14"/>
                  <a:pt x="6" y="14"/>
                  <a:pt x="6" y="14"/>
                </a:cubicBezTo>
                <a:cubicBezTo>
                  <a:pt x="5" y="13"/>
                  <a:pt x="5" y="13"/>
                  <a:pt x="5" y="13"/>
                </a:cubicBezTo>
                <a:cubicBezTo>
                  <a:pt x="5" y="13"/>
                  <a:pt x="5" y="13"/>
                  <a:pt x="5" y="13"/>
                </a:cubicBezTo>
                <a:cubicBezTo>
                  <a:pt x="5" y="11"/>
                  <a:pt x="5" y="11"/>
                  <a:pt x="5" y="11"/>
                </a:cubicBezTo>
                <a:close/>
                <a:moveTo>
                  <a:pt x="6" y="9"/>
                </a:moveTo>
                <a:cubicBezTo>
                  <a:pt x="7" y="11"/>
                  <a:pt x="7" y="11"/>
                  <a:pt x="7" y="11"/>
                </a:cubicBezTo>
                <a:cubicBezTo>
                  <a:pt x="6" y="12"/>
                  <a:pt x="6" y="12"/>
                  <a:pt x="6" y="12"/>
                </a:cubicBezTo>
                <a:cubicBezTo>
                  <a:pt x="6" y="11"/>
                  <a:pt x="6" y="11"/>
                  <a:pt x="6" y="11"/>
                </a:cubicBezTo>
                <a:cubicBezTo>
                  <a:pt x="5" y="11"/>
                  <a:pt x="5" y="11"/>
                  <a:pt x="5" y="11"/>
                </a:cubicBezTo>
                <a:cubicBezTo>
                  <a:pt x="5" y="9"/>
                  <a:pt x="5" y="9"/>
                  <a:pt x="5" y="9"/>
                </a:cubicBezTo>
                <a:cubicBezTo>
                  <a:pt x="5" y="9"/>
                  <a:pt x="5" y="9"/>
                  <a:pt x="6" y="9"/>
                </a:cubicBez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3" name="Freeform 61">
            <a:extLst>
              <a:ext uri="{FF2B5EF4-FFF2-40B4-BE49-F238E27FC236}">
                <a16:creationId xmlns:a16="http://schemas.microsoft.com/office/drawing/2014/main" id="{AE1C3309-A63A-A2F1-86C8-ACE4C0326D5C}"/>
              </a:ext>
            </a:extLst>
          </p:cNvPr>
          <p:cNvSpPr>
            <a:spLocks/>
          </p:cNvSpPr>
          <p:nvPr userDrawn="1"/>
        </p:nvSpPr>
        <p:spPr bwMode="auto">
          <a:xfrm>
            <a:off x="14061155" y="6327061"/>
            <a:ext cx="228585" cy="200026"/>
          </a:xfrm>
          <a:custGeom>
            <a:avLst/>
            <a:gdLst>
              <a:gd name="T0" fmla="*/ 38 w 72"/>
              <a:gd name="T1" fmla="*/ 53 h 63"/>
              <a:gd name="T2" fmla="*/ 10 w 72"/>
              <a:gd name="T3" fmla="*/ 25 h 63"/>
              <a:gd name="T4" fmla="*/ 10 w 72"/>
              <a:gd name="T5" fmla="*/ 22 h 63"/>
              <a:gd name="T6" fmla="*/ 7 w 72"/>
              <a:gd name="T7" fmla="*/ 16 h 63"/>
              <a:gd name="T8" fmla="*/ 0 w 72"/>
              <a:gd name="T9" fmla="*/ 9 h 63"/>
              <a:gd name="T10" fmla="*/ 0 w 72"/>
              <a:gd name="T11" fmla="*/ 6 h 63"/>
              <a:gd name="T12" fmla="*/ 3 w 72"/>
              <a:gd name="T13" fmla="*/ 0 h 63"/>
              <a:gd name="T14" fmla="*/ 10 w 72"/>
              <a:gd name="T15" fmla="*/ 6 h 63"/>
              <a:gd name="T16" fmla="*/ 10 w 72"/>
              <a:gd name="T17" fmla="*/ 3 h 63"/>
              <a:gd name="T18" fmla="*/ 16 w 72"/>
              <a:gd name="T19" fmla="*/ 3 h 63"/>
              <a:gd name="T20" fmla="*/ 22 w 72"/>
              <a:gd name="T21" fmla="*/ 0 h 63"/>
              <a:gd name="T22" fmla="*/ 28 w 72"/>
              <a:gd name="T23" fmla="*/ 0 h 63"/>
              <a:gd name="T24" fmla="*/ 32 w 72"/>
              <a:gd name="T25" fmla="*/ 3 h 63"/>
              <a:gd name="T26" fmla="*/ 38 w 72"/>
              <a:gd name="T27" fmla="*/ 3 h 63"/>
              <a:gd name="T28" fmla="*/ 44 w 72"/>
              <a:gd name="T29" fmla="*/ 3 h 63"/>
              <a:gd name="T30" fmla="*/ 50 w 72"/>
              <a:gd name="T31" fmla="*/ 3 h 63"/>
              <a:gd name="T32" fmla="*/ 60 w 72"/>
              <a:gd name="T33" fmla="*/ 6 h 63"/>
              <a:gd name="T34" fmla="*/ 63 w 72"/>
              <a:gd name="T35" fmla="*/ 9 h 63"/>
              <a:gd name="T36" fmla="*/ 66 w 72"/>
              <a:gd name="T37" fmla="*/ 13 h 63"/>
              <a:gd name="T38" fmla="*/ 63 w 72"/>
              <a:gd name="T39" fmla="*/ 22 h 63"/>
              <a:gd name="T40" fmla="*/ 69 w 72"/>
              <a:gd name="T41" fmla="*/ 28 h 63"/>
              <a:gd name="T42" fmla="*/ 72 w 72"/>
              <a:gd name="T43" fmla="*/ 31 h 63"/>
              <a:gd name="T44" fmla="*/ 66 w 72"/>
              <a:gd name="T45" fmla="*/ 31 h 63"/>
              <a:gd name="T46" fmla="*/ 69 w 72"/>
              <a:gd name="T47" fmla="*/ 41 h 63"/>
              <a:gd name="T48" fmla="*/ 66 w 72"/>
              <a:gd name="T49" fmla="*/ 41 h 63"/>
              <a:gd name="T50" fmla="*/ 60 w 72"/>
              <a:gd name="T51" fmla="*/ 41 h 63"/>
              <a:gd name="T52" fmla="*/ 63 w 72"/>
              <a:gd name="T53" fmla="*/ 44 h 63"/>
              <a:gd name="T54" fmla="*/ 60 w 72"/>
              <a:gd name="T55" fmla="*/ 50 h 63"/>
              <a:gd name="T56" fmla="*/ 57 w 72"/>
              <a:gd name="T57" fmla="*/ 53 h 63"/>
              <a:gd name="T58" fmla="*/ 53 w 72"/>
              <a:gd name="T59" fmla="*/ 63 h 63"/>
              <a:gd name="T60" fmla="*/ 47 w 72"/>
              <a:gd name="T61" fmla="*/ 60 h 63"/>
              <a:gd name="T62" fmla="*/ 38 w 72"/>
              <a:gd name="T63" fmla="*/ 60 h 63"/>
              <a:gd name="T64" fmla="*/ 38 w 72"/>
              <a:gd name="T65" fmla="*/ 5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63">
                <a:moveTo>
                  <a:pt x="38" y="56"/>
                </a:moveTo>
                <a:lnTo>
                  <a:pt x="38" y="53"/>
                </a:lnTo>
                <a:lnTo>
                  <a:pt x="25" y="38"/>
                </a:lnTo>
                <a:lnTo>
                  <a:pt x="10" y="25"/>
                </a:lnTo>
                <a:lnTo>
                  <a:pt x="7" y="22"/>
                </a:lnTo>
                <a:lnTo>
                  <a:pt x="10" y="22"/>
                </a:lnTo>
                <a:lnTo>
                  <a:pt x="7" y="19"/>
                </a:lnTo>
                <a:lnTo>
                  <a:pt x="7" y="16"/>
                </a:lnTo>
                <a:lnTo>
                  <a:pt x="0" y="9"/>
                </a:lnTo>
                <a:lnTo>
                  <a:pt x="0" y="9"/>
                </a:lnTo>
                <a:lnTo>
                  <a:pt x="0" y="6"/>
                </a:lnTo>
                <a:lnTo>
                  <a:pt x="0" y="6"/>
                </a:lnTo>
                <a:lnTo>
                  <a:pt x="0" y="0"/>
                </a:lnTo>
                <a:lnTo>
                  <a:pt x="3" y="0"/>
                </a:lnTo>
                <a:lnTo>
                  <a:pt x="7" y="3"/>
                </a:lnTo>
                <a:lnTo>
                  <a:pt x="10" y="6"/>
                </a:lnTo>
                <a:lnTo>
                  <a:pt x="10" y="6"/>
                </a:lnTo>
                <a:lnTo>
                  <a:pt x="10" y="3"/>
                </a:lnTo>
                <a:lnTo>
                  <a:pt x="16" y="0"/>
                </a:lnTo>
                <a:lnTo>
                  <a:pt x="16" y="3"/>
                </a:lnTo>
                <a:lnTo>
                  <a:pt x="19" y="0"/>
                </a:lnTo>
                <a:lnTo>
                  <a:pt x="22" y="0"/>
                </a:lnTo>
                <a:lnTo>
                  <a:pt x="25" y="0"/>
                </a:lnTo>
                <a:lnTo>
                  <a:pt x="28" y="0"/>
                </a:lnTo>
                <a:lnTo>
                  <a:pt x="28" y="3"/>
                </a:lnTo>
                <a:lnTo>
                  <a:pt x="32" y="3"/>
                </a:lnTo>
                <a:lnTo>
                  <a:pt x="35" y="3"/>
                </a:lnTo>
                <a:lnTo>
                  <a:pt x="38" y="3"/>
                </a:lnTo>
                <a:lnTo>
                  <a:pt x="41" y="3"/>
                </a:lnTo>
                <a:lnTo>
                  <a:pt x="44" y="3"/>
                </a:lnTo>
                <a:lnTo>
                  <a:pt x="47" y="3"/>
                </a:lnTo>
                <a:lnTo>
                  <a:pt x="50" y="3"/>
                </a:lnTo>
                <a:lnTo>
                  <a:pt x="57" y="6"/>
                </a:lnTo>
                <a:lnTo>
                  <a:pt x="60" y="6"/>
                </a:lnTo>
                <a:lnTo>
                  <a:pt x="63" y="9"/>
                </a:lnTo>
                <a:lnTo>
                  <a:pt x="63" y="9"/>
                </a:lnTo>
                <a:lnTo>
                  <a:pt x="66" y="9"/>
                </a:lnTo>
                <a:lnTo>
                  <a:pt x="66" y="13"/>
                </a:lnTo>
                <a:lnTo>
                  <a:pt x="63" y="19"/>
                </a:lnTo>
                <a:lnTo>
                  <a:pt x="63" y="22"/>
                </a:lnTo>
                <a:lnTo>
                  <a:pt x="69" y="25"/>
                </a:lnTo>
                <a:lnTo>
                  <a:pt x="69" y="28"/>
                </a:lnTo>
                <a:lnTo>
                  <a:pt x="72" y="28"/>
                </a:lnTo>
                <a:lnTo>
                  <a:pt x="72" y="31"/>
                </a:lnTo>
                <a:lnTo>
                  <a:pt x="69" y="28"/>
                </a:lnTo>
                <a:lnTo>
                  <a:pt x="66" y="31"/>
                </a:lnTo>
                <a:lnTo>
                  <a:pt x="66" y="34"/>
                </a:lnTo>
                <a:lnTo>
                  <a:pt x="69" y="41"/>
                </a:lnTo>
                <a:lnTo>
                  <a:pt x="69" y="41"/>
                </a:lnTo>
                <a:lnTo>
                  <a:pt x="66" y="41"/>
                </a:lnTo>
                <a:lnTo>
                  <a:pt x="63" y="38"/>
                </a:lnTo>
                <a:lnTo>
                  <a:pt x="60" y="41"/>
                </a:lnTo>
                <a:lnTo>
                  <a:pt x="60" y="44"/>
                </a:lnTo>
                <a:lnTo>
                  <a:pt x="63" y="44"/>
                </a:lnTo>
                <a:lnTo>
                  <a:pt x="63" y="47"/>
                </a:lnTo>
                <a:lnTo>
                  <a:pt x="60" y="50"/>
                </a:lnTo>
                <a:lnTo>
                  <a:pt x="60" y="50"/>
                </a:lnTo>
                <a:lnTo>
                  <a:pt x="57" y="53"/>
                </a:lnTo>
                <a:lnTo>
                  <a:pt x="57" y="60"/>
                </a:lnTo>
                <a:lnTo>
                  <a:pt x="53" y="63"/>
                </a:lnTo>
                <a:lnTo>
                  <a:pt x="53" y="63"/>
                </a:lnTo>
                <a:lnTo>
                  <a:pt x="47" y="60"/>
                </a:lnTo>
                <a:lnTo>
                  <a:pt x="47" y="60"/>
                </a:lnTo>
                <a:lnTo>
                  <a:pt x="38" y="60"/>
                </a:lnTo>
                <a:lnTo>
                  <a:pt x="38" y="56"/>
                </a:lnTo>
                <a:lnTo>
                  <a:pt x="38" y="56"/>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4" name="Freeform 62">
            <a:extLst>
              <a:ext uri="{FF2B5EF4-FFF2-40B4-BE49-F238E27FC236}">
                <a16:creationId xmlns:a16="http://schemas.microsoft.com/office/drawing/2014/main" id="{97B7A77F-8433-BE01-679E-3BA4F6A72EB4}"/>
              </a:ext>
            </a:extLst>
          </p:cNvPr>
          <p:cNvSpPr>
            <a:spLocks/>
          </p:cNvSpPr>
          <p:nvPr userDrawn="1"/>
        </p:nvSpPr>
        <p:spPr bwMode="auto">
          <a:xfrm>
            <a:off x="13924645" y="6209583"/>
            <a:ext cx="187314" cy="117478"/>
          </a:xfrm>
          <a:custGeom>
            <a:avLst/>
            <a:gdLst>
              <a:gd name="T0" fmla="*/ 3 w 59"/>
              <a:gd name="T1" fmla="*/ 37 h 37"/>
              <a:gd name="T2" fmla="*/ 9 w 59"/>
              <a:gd name="T3" fmla="*/ 34 h 37"/>
              <a:gd name="T4" fmla="*/ 15 w 59"/>
              <a:gd name="T5" fmla="*/ 31 h 37"/>
              <a:gd name="T6" fmla="*/ 18 w 59"/>
              <a:gd name="T7" fmla="*/ 31 h 37"/>
              <a:gd name="T8" fmla="*/ 25 w 59"/>
              <a:gd name="T9" fmla="*/ 34 h 37"/>
              <a:gd name="T10" fmla="*/ 31 w 59"/>
              <a:gd name="T11" fmla="*/ 34 h 37"/>
              <a:gd name="T12" fmla="*/ 31 w 59"/>
              <a:gd name="T13" fmla="*/ 28 h 37"/>
              <a:gd name="T14" fmla="*/ 37 w 59"/>
              <a:gd name="T15" fmla="*/ 25 h 37"/>
              <a:gd name="T16" fmla="*/ 37 w 59"/>
              <a:gd name="T17" fmla="*/ 18 h 37"/>
              <a:gd name="T18" fmla="*/ 50 w 59"/>
              <a:gd name="T19" fmla="*/ 12 h 37"/>
              <a:gd name="T20" fmla="*/ 59 w 59"/>
              <a:gd name="T21" fmla="*/ 12 h 37"/>
              <a:gd name="T22" fmla="*/ 59 w 59"/>
              <a:gd name="T23" fmla="*/ 6 h 37"/>
              <a:gd name="T24" fmla="*/ 53 w 59"/>
              <a:gd name="T25" fmla="*/ 0 h 37"/>
              <a:gd name="T26" fmla="*/ 46 w 59"/>
              <a:gd name="T27" fmla="*/ 0 h 37"/>
              <a:gd name="T28" fmla="*/ 40 w 59"/>
              <a:gd name="T29" fmla="*/ 6 h 37"/>
              <a:gd name="T30" fmla="*/ 37 w 59"/>
              <a:gd name="T31" fmla="*/ 6 h 37"/>
              <a:gd name="T32" fmla="*/ 34 w 59"/>
              <a:gd name="T33" fmla="*/ 6 h 37"/>
              <a:gd name="T34" fmla="*/ 31 w 59"/>
              <a:gd name="T35" fmla="*/ 9 h 37"/>
              <a:gd name="T36" fmla="*/ 25 w 59"/>
              <a:gd name="T37" fmla="*/ 9 h 37"/>
              <a:gd name="T38" fmla="*/ 21 w 59"/>
              <a:gd name="T39" fmla="*/ 9 h 37"/>
              <a:gd name="T40" fmla="*/ 18 w 59"/>
              <a:gd name="T41" fmla="*/ 6 h 37"/>
              <a:gd name="T42" fmla="*/ 9 w 59"/>
              <a:gd name="T43" fmla="*/ 6 h 37"/>
              <a:gd name="T44" fmla="*/ 6 w 59"/>
              <a:gd name="T45" fmla="*/ 6 h 37"/>
              <a:gd name="T46" fmla="*/ 3 w 59"/>
              <a:gd name="T47" fmla="*/ 12 h 37"/>
              <a:gd name="T48" fmla="*/ 3 w 59"/>
              <a:gd name="T49" fmla="*/ 15 h 37"/>
              <a:gd name="T50" fmla="*/ 0 w 59"/>
              <a:gd name="T51" fmla="*/ 21 h 37"/>
              <a:gd name="T52" fmla="*/ 3 w 59"/>
              <a:gd name="T53" fmla="*/ 28 h 37"/>
              <a:gd name="T54" fmla="*/ 3 w 59"/>
              <a:gd name="T55" fmla="*/ 28 h 37"/>
              <a:gd name="T56" fmla="*/ 6 w 59"/>
              <a:gd name="T57" fmla="*/ 28 h 37"/>
              <a:gd name="T58" fmla="*/ 6 w 59"/>
              <a:gd name="T59" fmla="*/ 31 h 37"/>
              <a:gd name="T60" fmla="*/ 3 w 59"/>
              <a:gd name="T61" fmla="*/ 31 h 37"/>
              <a:gd name="T62" fmla="*/ 3 w 59"/>
              <a:gd name="T6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 h="37">
                <a:moveTo>
                  <a:pt x="3" y="37"/>
                </a:moveTo>
                <a:lnTo>
                  <a:pt x="9" y="34"/>
                </a:lnTo>
                <a:lnTo>
                  <a:pt x="15" y="31"/>
                </a:lnTo>
                <a:lnTo>
                  <a:pt x="18" y="31"/>
                </a:lnTo>
                <a:lnTo>
                  <a:pt x="25" y="34"/>
                </a:lnTo>
                <a:lnTo>
                  <a:pt x="31" y="34"/>
                </a:lnTo>
                <a:lnTo>
                  <a:pt x="31" y="28"/>
                </a:lnTo>
                <a:lnTo>
                  <a:pt x="37" y="25"/>
                </a:lnTo>
                <a:lnTo>
                  <a:pt x="37" y="18"/>
                </a:lnTo>
                <a:lnTo>
                  <a:pt x="50" y="12"/>
                </a:lnTo>
                <a:lnTo>
                  <a:pt x="59" y="12"/>
                </a:lnTo>
                <a:lnTo>
                  <a:pt x="59" y="6"/>
                </a:lnTo>
                <a:lnTo>
                  <a:pt x="53" y="0"/>
                </a:lnTo>
                <a:lnTo>
                  <a:pt x="46" y="0"/>
                </a:lnTo>
                <a:lnTo>
                  <a:pt x="40" y="6"/>
                </a:lnTo>
                <a:lnTo>
                  <a:pt x="37" y="6"/>
                </a:lnTo>
                <a:lnTo>
                  <a:pt x="34" y="6"/>
                </a:lnTo>
                <a:lnTo>
                  <a:pt x="31" y="9"/>
                </a:lnTo>
                <a:lnTo>
                  <a:pt x="25" y="9"/>
                </a:lnTo>
                <a:lnTo>
                  <a:pt x="21" y="9"/>
                </a:lnTo>
                <a:lnTo>
                  <a:pt x="18" y="6"/>
                </a:lnTo>
                <a:lnTo>
                  <a:pt x="9" y="6"/>
                </a:lnTo>
                <a:lnTo>
                  <a:pt x="6" y="6"/>
                </a:lnTo>
                <a:lnTo>
                  <a:pt x="3" y="12"/>
                </a:lnTo>
                <a:lnTo>
                  <a:pt x="3" y="15"/>
                </a:lnTo>
                <a:lnTo>
                  <a:pt x="0" y="21"/>
                </a:lnTo>
                <a:lnTo>
                  <a:pt x="3" y="28"/>
                </a:lnTo>
                <a:lnTo>
                  <a:pt x="3" y="28"/>
                </a:lnTo>
                <a:lnTo>
                  <a:pt x="6" y="28"/>
                </a:lnTo>
                <a:lnTo>
                  <a:pt x="6" y="31"/>
                </a:lnTo>
                <a:lnTo>
                  <a:pt x="3" y="31"/>
                </a:lnTo>
                <a:lnTo>
                  <a:pt x="3" y="37"/>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5" name="Freeform 63">
            <a:extLst>
              <a:ext uri="{FF2B5EF4-FFF2-40B4-BE49-F238E27FC236}">
                <a16:creationId xmlns:a16="http://schemas.microsoft.com/office/drawing/2014/main" id="{02F5B7E7-4EAA-829B-C130-6DBC8032A7BF}"/>
              </a:ext>
            </a:extLst>
          </p:cNvPr>
          <p:cNvSpPr>
            <a:spLocks/>
          </p:cNvSpPr>
          <p:nvPr userDrawn="1"/>
        </p:nvSpPr>
        <p:spPr bwMode="auto">
          <a:xfrm>
            <a:off x="13696060" y="6028611"/>
            <a:ext cx="425422" cy="209550"/>
          </a:xfrm>
          <a:custGeom>
            <a:avLst/>
            <a:gdLst>
              <a:gd name="T0" fmla="*/ 81 w 134"/>
              <a:gd name="T1" fmla="*/ 63 h 66"/>
              <a:gd name="T2" fmla="*/ 93 w 134"/>
              <a:gd name="T3" fmla="*/ 66 h 66"/>
              <a:gd name="T4" fmla="*/ 103 w 134"/>
              <a:gd name="T5" fmla="*/ 66 h 66"/>
              <a:gd name="T6" fmla="*/ 109 w 134"/>
              <a:gd name="T7" fmla="*/ 63 h 66"/>
              <a:gd name="T8" fmla="*/ 118 w 134"/>
              <a:gd name="T9" fmla="*/ 57 h 66"/>
              <a:gd name="T10" fmla="*/ 128 w 134"/>
              <a:gd name="T11" fmla="*/ 53 h 66"/>
              <a:gd name="T12" fmla="*/ 128 w 134"/>
              <a:gd name="T13" fmla="*/ 44 h 66"/>
              <a:gd name="T14" fmla="*/ 125 w 134"/>
              <a:gd name="T15" fmla="*/ 38 h 66"/>
              <a:gd name="T16" fmla="*/ 134 w 134"/>
              <a:gd name="T17" fmla="*/ 35 h 66"/>
              <a:gd name="T18" fmla="*/ 134 w 134"/>
              <a:gd name="T19" fmla="*/ 25 h 66"/>
              <a:gd name="T20" fmla="*/ 134 w 134"/>
              <a:gd name="T21" fmla="*/ 10 h 66"/>
              <a:gd name="T22" fmla="*/ 122 w 134"/>
              <a:gd name="T23" fmla="*/ 6 h 66"/>
              <a:gd name="T24" fmla="*/ 112 w 134"/>
              <a:gd name="T25" fmla="*/ 6 h 66"/>
              <a:gd name="T26" fmla="*/ 100 w 134"/>
              <a:gd name="T27" fmla="*/ 3 h 66"/>
              <a:gd name="T28" fmla="*/ 93 w 134"/>
              <a:gd name="T29" fmla="*/ 3 h 66"/>
              <a:gd name="T30" fmla="*/ 90 w 134"/>
              <a:gd name="T31" fmla="*/ 10 h 66"/>
              <a:gd name="T32" fmla="*/ 84 w 134"/>
              <a:gd name="T33" fmla="*/ 13 h 66"/>
              <a:gd name="T34" fmla="*/ 72 w 134"/>
              <a:gd name="T35" fmla="*/ 6 h 66"/>
              <a:gd name="T36" fmla="*/ 72 w 134"/>
              <a:gd name="T37" fmla="*/ 13 h 66"/>
              <a:gd name="T38" fmla="*/ 65 w 134"/>
              <a:gd name="T39" fmla="*/ 16 h 66"/>
              <a:gd name="T40" fmla="*/ 56 w 134"/>
              <a:gd name="T41" fmla="*/ 25 h 66"/>
              <a:gd name="T42" fmla="*/ 62 w 134"/>
              <a:gd name="T43" fmla="*/ 31 h 66"/>
              <a:gd name="T44" fmla="*/ 59 w 134"/>
              <a:gd name="T45" fmla="*/ 35 h 66"/>
              <a:gd name="T46" fmla="*/ 50 w 134"/>
              <a:gd name="T47" fmla="*/ 35 h 66"/>
              <a:gd name="T48" fmla="*/ 43 w 134"/>
              <a:gd name="T49" fmla="*/ 35 h 66"/>
              <a:gd name="T50" fmla="*/ 34 w 134"/>
              <a:gd name="T51" fmla="*/ 38 h 66"/>
              <a:gd name="T52" fmla="*/ 28 w 134"/>
              <a:gd name="T53" fmla="*/ 38 h 66"/>
              <a:gd name="T54" fmla="*/ 18 w 134"/>
              <a:gd name="T55" fmla="*/ 35 h 66"/>
              <a:gd name="T56" fmla="*/ 15 w 134"/>
              <a:gd name="T57" fmla="*/ 41 h 66"/>
              <a:gd name="T58" fmla="*/ 9 w 134"/>
              <a:gd name="T59" fmla="*/ 41 h 66"/>
              <a:gd name="T60" fmla="*/ 3 w 134"/>
              <a:gd name="T61" fmla="*/ 38 h 66"/>
              <a:gd name="T62" fmla="*/ 0 w 134"/>
              <a:gd name="T63" fmla="*/ 38 h 66"/>
              <a:gd name="T64" fmla="*/ 0 w 134"/>
              <a:gd name="T65" fmla="*/ 44 h 66"/>
              <a:gd name="T66" fmla="*/ 3 w 134"/>
              <a:gd name="T67" fmla="*/ 50 h 66"/>
              <a:gd name="T68" fmla="*/ 9 w 134"/>
              <a:gd name="T69" fmla="*/ 47 h 66"/>
              <a:gd name="T70" fmla="*/ 15 w 134"/>
              <a:gd name="T71" fmla="*/ 50 h 66"/>
              <a:gd name="T72" fmla="*/ 22 w 134"/>
              <a:gd name="T73" fmla="*/ 53 h 66"/>
              <a:gd name="T74" fmla="*/ 28 w 134"/>
              <a:gd name="T75" fmla="*/ 53 h 66"/>
              <a:gd name="T76" fmla="*/ 40 w 134"/>
              <a:gd name="T77" fmla="*/ 50 h 66"/>
              <a:gd name="T78" fmla="*/ 47 w 134"/>
              <a:gd name="T79" fmla="*/ 53 h 66"/>
              <a:gd name="T80" fmla="*/ 68 w 134"/>
              <a:gd name="T81" fmla="*/ 63 h 66"/>
              <a:gd name="T82" fmla="*/ 78 w 134"/>
              <a:gd name="T83" fmla="*/ 6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4" h="66">
                <a:moveTo>
                  <a:pt x="78" y="63"/>
                </a:moveTo>
                <a:lnTo>
                  <a:pt x="81" y="63"/>
                </a:lnTo>
                <a:lnTo>
                  <a:pt x="90" y="63"/>
                </a:lnTo>
                <a:lnTo>
                  <a:pt x="93" y="66"/>
                </a:lnTo>
                <a:lnTo>
                  <a:pt x="97" y="66"/>
                </a:lnTo>
                <a:lnTo>
                  <a:pt x="103" y="66"/>
                </a:lnTo>
                <a:lnTo>
                  <a:pt x="106" y="63"/>
                </a:lnTo>
                <a:lnTo>
                  <a:pt x="109" y="63"/>
                </a:lnTo>
                <a:lnTo>
                  <a:pt x="112" y="63"/>
                </a:lnTo>
                <a:lnTo>
                  <a:pt x="118" y="57"/>
                </a:lnTo>
                <a:lnTo>
                  <a:pt x="125" y="57"/>
                </a:lnTo>
                <a:lnTo>
                  <a:pt x="128" y="53"/>
                </a:lnTo>
                <a:lnTo>
                  <a:pt x="128" y="47"/>
                </a:lnTo>
                <a:lnTo>
                  <a:pt x="128" y="44"/>
                </a:lnTo>
                <a:lnTo>
                  <a:pt x="128" y="41"/>
                </a:lnTo>
                <a:lnTo>
                  <a:pt x="125" y="38"/>
                </a:lnTo>
                <a:lnTo>
                  <a:pt x="125" y="35"/>
                </a:lnTo>
                <a:lnTo>
                  <a:pt x="134" y="35"/>
                </a:lnTo>
                <a:lnTo>
                  <a:pt x="134" y="31"/>
                </a:lnTo>
                <a:lnTo>
                  <a:pt x="134" y="25"/>
                </a:lnTo>
                <a:lnTo>
                  <a:pt x="134" y="16"/>
                </a:lnTo>
                <a:lnTo>
                  <a:pt x="134" y="10"/>
                </a:lnTo>
                <a:lnTo>
                  <a:pt x="125" y="6"/>
                </a:lnTo>
                <a:lnTo>
                  <a:pt x="122" y="6"/>
                </a:lnTo>
                <a:lnTo>
                  <a:pt x="118" y="6"/>
                </a:lnTo>
                <a:lnTo>
                  <a:pt x="112" y="6"/>
                </a:lnTo>
                <a:lnTo>
                  <a:pt x="106" y="3"/>
                </a:lnTo>
                <a:lnTo>
                  <a:pt x="100" y="3"/>
                </a:lnTo>
                <a:lnTo>
                  <a:pt x="97" y="0"/>
                </a:lnTo>
                <a:lnTo>
                  <a:pt x="93" y="3"/>
                </a:lnTo>
                <a:lnTo>
                  <a:pt x="93" y="6"/>
                </a:lnTo>
                <a:lnTo>
                  <a:pt x="90" y="10"/>
                </a:lnTo>
                <a:lnTo>
                  <a:pt x="87" y="10"/>
                </a:lnTo>
                <a:lnTo>
                  <a:pt x="84" y="13"/>
                </a:lnTo>
                <a:lnTo>
                  <a:pt x="75" y="6"/>
                </a:lnTo>
                <a:lnTo>
                  <a:pt x="72" y="6"/>
                </a:lnTo>
                <a:lnTo>
                  <a:pt x="72" y="10"/>
                </a:lnTo>
                <a:lnTo>
                  <a:pt x="72" y="13"/>
                </a:lnTo>
                <a:lnTo>
                  <a:pt x="68" y="13"/>
                </a:lnTo>
                <a:lnTo>
                  <a:pt x="65" y="16"/>
                </a:lnTo>
                <a:lnTo>
                  <a:pt x="62" y="19"/>
                </a:lnTo>
                <a:lnTo>
                  <a:pt x="56" y="25"/>
                </a:lnTo>
                <a:lnTo>
                  <a:pt x="56" y="28"/>
                </a:lnTo>
                <a:lnTo>
                  <a:pt x="62" y="31"/>
                </a:lnTo>
                <a:lnTo>
                  <a:pt x="62" y="35"/>
                </a:lnTo>
                <a:lnTo>
                  <a:pt x="59" y="35"/>
                </a:lnTo>
                <a:lnTo>
                  <a:pt x="56" y="35"/>
                </a:lnTo>
                <a:lnTo>
                  <a:pt x="50" y="35"/>
                </a:lnTo>
                <a:lnTo>
                  <a:pt x="47" y="35"/>
                </a:lnTo>
                <a:lnTo>
                  <a:pt x="43" y="35"/>
                </a:lnTo>
                <a:lnTo>
                  <a:pt x="37" y="38"/>
                </a:lnTo>
                <a:lnTo>
                  <a:pt x="34" y="38"/>
                </a:lnTo>
                <a:lnTo>
                  <a:pt x="31" y="38"/>
                </a:lnTo>
                <a:lnTo>
                  <a:pt x="28" y="38"/>
                </a:lnTo>
                <a:lnTo>
                  <a:pt x="25" y="38"/>
                </a:lnTo>
                <a:lnTo>
                  <a:pt x="18" y="35"/>
                </a:lnTo>
                <a:lnTo>
                  <a:pt x="12" y="38"/>
                </a:lnTo>
                <a:lnTo>
                  <a:pt x="15" y="41"/>
                </a:lnTo>
                <a:lnTo>
                  <a:pt x="12" y="41"/>
                </a:lnTo>
                <a:lnTo>
                  <a:pt x="9" y="41"/>
                </a:lnTo>
                <a:lnTo>
                  <a:pt x="6" y="38"/>
                </a:lnTo>
                <a:lnTo>
                  <a:pt x="3" y="38"/>
                </a:lnTo>
                <a:lnTo>
                  <a:pt x="0" y="38"/>
                </a:lnTo>
                <a:lnTo>
                  <a:pt x="0" y="38"/>
                </a:lnTo>
                <a:lnTo>
                  <a:pt x="0" y="41"/>
                </a:lnTo>
                <a:lnTo>
                  <a:pt x="0" y="44"/>
                </a:lnTo>
                <a:lnTo>
                  <a:pt x="3" y="44"/>
                </a:lnTo>
                <a:lnTo>
                  <a:pt x="3" y="50"/>
                </a:lnTo>
                <a:lnTo>
                  <a:pt x="6" y="50"/>
                </a:lnTo>
                <a:lnTo>
                  <a:pt x="9" y="47"/>
                </a:lnTo>
                <a:lnTo>
                  <a:pt x="12" y="53"/>
                </a:lnTo>
                <a:lnTo>
                  <a:pt x="15" y="50"/>
                </a:lnTo>
                <a:lnTo>
                  <a:pt x="18" y="50"/>
                </a:lnTo>
                <a:lnTo>
                  <a:pt x="22" y="53"/>
                </a:lnTo>
                <a:lnTo>
                  <a:pt x="22" y="53"/>
                </a:lnTo>
                <a:lnTo>
                  <a:pt x="28" y="53"/>
                </a:lnTo>
                <a:lnTo>
                  <a:pt x="37" y="50"/>
                </a:lnTo>
                <a:lnTo>
                  <a:pt x="40" y="50"/>
                </a:lnTo>
                <a:lnTo>
                  <a:pt x="50" y="50"/>
                </a:lnTo>
                <a:lnTo>
                  <a:pt x="47" y="53"/>
                </a:lnTo>
                <a:lnTo>
                  <a:pt x="56" y="60"/>
                </a:lnTo>
                <a:lnTo>
                  <a:pt x="68" y="63"/>
                </a:lnTo>
                <a:lnTo>
                  <a:pt x="75" y="60"/>
                </a:lnTo>
                <a:lnTo>
                  <a:pt x="78" y="63"/>
                </a:lnTo>
                <a:lnTo>
                  <a:pt x="78" y="63"/>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6" name="Freeform 64">
            <a:extLst>
              <a:ext uri="{FF2B5EF4-FFF2-40B4-BE49-F238E27FC236}">
                <a16:creationId xmlns:a16="http://schemas.microsoft.com/office/drawing/2014/main" id="{A853D176-7B95-95F0-0F45-E7520FB6DEDD}"/>
              </a:ext>
            </a:extLst>
          </p:cNvPr>
          <p:cNvSpPr>
            <a:spLocks/>
          </p:cNvSpPr>
          <p:nvPr userDrawn="1"/>
        </p:nvSpPr>
        <p:spPr bwMode="auto">
          <a:xfrm>
            <a:off x="13934166" y="5533306"/>
            <a:ext cx="574641" cy="485776"/>
          </a:xfrm>
          <a:custGeom>
            <a:avLst/>
            <a:gdLst>
              <a:gd name="T0" fmla="*/ 109 w 181"/>
              <a:gd name="T1" fmla="*/ 153 h 153"/>
              <a:gd name="T2" fmla="*/ 115 w 181"/>
              <a:gd name="T3" fmla="*/ 147 h 153"/>
              <a:gd name="T4" fmla="*/ 122 w 181"/>
              <a:gd name="T5" fmla="*/ 147 h 153"/>
              <a:gd name="T6" fmla="*/ 131 w 181"/>
              <a:gd name="T7" fmla="*/ 150 h 153"/>
              <a:gd name="T8" fmla="*/ 134 w 181"/>
              <a:gd name="T9" fmla="*/ 147 h 153"/>
              <a:gd name="T10" fmla="*/ 140 w 181"/>
              <a:gd name="T11" fmla="*/ 147 h 153"/>
              <a:gd name="T12" fmla="*/ 156 w 181"/>
              <a:gd name="T13" fmla="*/ 153 h 153"/>
              <a:gd name="T14" fmla="*/ 162 w 181"/>
              <a:gd name="T15" fmla="*/ 147 h 153"/>
              <a:gd name="T16" fmla="*/ 172 w 181"/>
              <a:gd name="T17" fmla="*/ 128 h 153"/>
              <a:gd name="T18" fmla="*/ 178 w 181"/>
              <a:gd name="T19" fmla="*/ 119 h 153"/>
              <a:gd name="T20" fmla="*/ 181 w 181"/>
              <a:gd name="T21" fmla="*/ 112 h 153"/>
              <a:gd name="T22" fmla="*/ 178 w 181"/>
              <a:gd name="T23" fmla="*/ 106 h 153"/>
              <a:gd name="T24" fmla="*/ 175 w 181"/>
              <a:gd name="T25" fmla="*/ 103 h 153"/>
              <a:gd name="T26" fmla="*/ 172 w 181"/>
              <a:gd name="T27" fmla="*/ 94 h 153"/>
              <a:gd name="T28" fmla="*/ 172 w 181"/>
              <a:gd name="T29" fmla="*/ 78 h 153"/>
              <a:gd name="T30" fmla="*/ 165 w 181"/>
              <a:gd name="T31" fmla="*/ 65 h 153"/>
              <a:gd name="T32" fmla="*/ 172 w 181"/>
              <a:gd name="T33" fmla="*/ 59 h 153"/>
              <a:gd name="T34" fmla="*/ 172 w 181"/>
              <a:gd name="T35" fmla="*/ 47 h 153"/>
              <a:gd name="T36" fmla="*/ 165 w 181"/>
              <a:gd name="T37" fmla="*/ 37 h 153"/>
              <a:gd name="T38" fmla="*/ 159 w 181"/>
              <a:gd name="T39" fmla="*/ 22 h 153"/>
              <a:gd name="T40" fmla="*/ 159 w 181"/>
              <a:gd name="T41" fmla="*/ 12 h 153"/>
              <a:gd name="T42" fmla="*/ 153 w 181"/>
              <a:gd name="T43" fmla="*/ 6 h 153"/>
              <a:gd name="T44" fmla="*/ 100 w 181"/>
              <a:gd name="T45" fmla="*/ 9 h 153"/>
              <a:gd name="T46" fmla="*/ 90 w 181"/>
              <a:gd name="T47" fmla="*/ 15 h 153"/>
              <a:gd name="T48" fmla="*/ 84 w 181"/>
              <a:gd name="T49" fmla="*/ 15 h 153"/>
              <a:gd name="T50" fmla="*/ 97 w 181"/>
              <a:gd name="T51" fmla="*/ 6 h 153"/>
              <a:gd name="T52" fmla="*/ 90 w 181"/>
              <a:gd name="T53" fmla="*/ 12 h 153"/>
              <a:gd name="T54" fmla="*/ 75 w 181"/>
              <a:gd name="T55" fmla="*/ 12 h 153"/>
              <a:gd name="T56" fmla="*/ 75 w 181"/>
              <a:gd name="T57" fmla="*/ 3 h 153"/>
              <a:gd name="T58" fmla="*/ 81 w 181"/>
              <a:gd name="T59" fmla="*/ 6 h 153"/>
              <a:gd name="T60" fmla="*/ 75 w 181"/>
              <a:gd name="T61" fmla="*/ 3 h 153"/>
              <a:gd name="T62" fmla="*/ 56 w 181"/>
              <a:gd name="T63" fmla="*/ 3 h 153"/>
              <a:gd name="T64" fmla="*/ 47 w 181"/>
              <a:gd name="T65" fmla="*/ 6 h 153"/>
              <a:gd name="T66" fmla="*/ 37 w 181"/>
              <a:gd name="T67" fmla="*/ 9 h 153"/>
              <a:gd name="T68" fmla="*/ 34 w 181"/>
              <a:gd name="T69" fmla="*/ 19 h 153"/>
              <a:gd name="T70" fmla="*/ 18 w 181"/>
              <a:gd name="T71" fmla="*/ 22 h 153"/>
              <a:gd name="T72" fmla="*/ 9 w 181"/>
              <a:gd name="T73" fmla="*/ 28 h 153"/>
              <a:gd name="T74" fmla="*/ 6 w 181"/>
              <a:gd name="T75" fmla="*/ 34 h 153"/>
              <a:gd name="T76" fmla="*/ 6 w 181"/>
              <a:gd name="T77" fmla="*/ 34 h 153"/>
              <a:gd name="T78" fmla="*/ 6 w 181"/>
              <a:gd name="T79" fmla="*/ 50 h 153"/>
              <a:gd name="T80" fmla="*/ 0 w 181"/>
              <a:gd name="T81" fmla="*/ 56 h 153"/>
              <a:gd name="T82" fmla="*/ 6 w 181"/>
              <a:gd name="T83" fmla="*/ 65 h 153"/>
              <a:gd name="T84" fmla="*/ 9 w 181"/>
              <a:gd name="T85" fmla="*/ 75 h 153"/>
              <a:gd name="T86" fmla="*/ 9 w 181"/>
              <a:gd name="T87" fmla="*/ 81 h 153"/>
              <a:gd name="T88" fmla="*/ 15 w 181"/>
              <a:gd name="T89" fmla="*/ 91 h 153"/>
              <a:gd name="T90" fmla="*/ 18 w 181"/>
              <a:gd name="T91" fmla="*/ 103 h 153"/>
              <a:gd name="T92" fmla="*/ 18 w 181"/>
              <a:gd name="T93" fmla="*/ 109 h 153"/>
              <a:gd name="T94" fmla="*/ 22 w 181"/>
              <a:gd name="T95" fmla="*/ 106 h 153"/>
              <a:gd name="T96" fmla="*/ 34 w 181"/>
              <a:gd name="T97" fmla="*/ 106 h 153"/>
              <a:gd name="T98" fmla="*/ 37 w 181"/>
              <a:gd name="T99" fmla="*/ 112 h 153"/>
              <a:gd name="T100" fmla="*/ 43 w 181"/>
              <a:gd name="T101" fmla="*/ 116 h 153"/>
              <a:gd name="T102" fmla="*/ 40 w 181"/>
              <a:gd name="T103" fmla="*/ 122 h 153"/>
              <a:gd name="T104" fmla="*/ 43 w 181"/>
              <a:gd name="T105" fmla="*/ 128 h 153"/>
              <a:gd name="T106" fmla="*/ 47 w 181"/>
              <a:gd name="T107" fmla="*/ 125 h 153"/>
              <a:gd name="T108" fmla="*/ 47 w 181"/>
              <a:gd name="T109" fmla="*/ 119 h 153"/>
              <a:gd name="T110" fmla="*/ 56 w 181"/>
              <a:gd name="T111" fmla="*/ 125 h 153"/>
              <a:gd name="T112" fmla="*/ 62 w 181"/>
              <a:gd name="T113" fmla="*/ 125 h 153"/>
              <a:gd name="T114" fmla="*/ 72 w 181"/>
              <a:gd name="T115" fmla="*/ 128 h 153"/>
              <a:gd name="T116" fmla="*/ 90 w 181"/>
              <a:gd name="T117" fmla="*/ 137 h 153"/>
              <a:gd name="T118" fmla="*/ 97 w 181"/>
              <a:gd name="T119" fmla="*/ 144 h 153"/>
              <a:gd name="T120" fmla="*/ 106 w 181"/>
              <a:gd name="T121" fmla="*/ 144 h 153"/>
              <a:gd name="T122" fmla="*/ 109 w 181"/>
              <a:gd name="T123" fmla="*/ 1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 h="153">
                <a:moveTo>
                  <a:pt x="109" y="150"/>
                </a:moveTo>
                <a:lnTo>
                  <a:pt x="109" y="153"/>
                </a:lnTo>
                <a:lnTo>
                  <a:pt x="112" y="153"/>
                </a:lnTo>
                <a:lnTo>
                  <a:pt x="115" y="147"/>
                </a:lnTo>
                <a:lnTo>
                  <a:pt x="118" y="147"/>
                </a:lnTo>
                <a:lnTo>
                  <a:pt x="122" y="147"/>
                </a:lnTo>
                <a:lnTo>
                  <a:pt x="128" y="147"/>
                </a:lnTo>
                <a:lnTo>
                  <a:pt x="131" y="150"/>
                </a:lnTo>
                <a:lnTo>
                  <a:pt x="131" y="147"/>
                </a:lnTo>
                <a:lnTo>
                  <a:pt x="134" y="147"/>
                </a:lnTo>
                <a:lnTo>
                  <a:pt x="137" y="147"/>
                </a:lnTo>
                <a:lnTo>
                  <a:pt x="140" y="147"/>
                </a:lnTo>
                <a:lnTo>
                  <a:pt x="147" y="147"/>
                </a:lnTo>
                <a:lnTo>
                  <a:pt x="156" y="153"/>
                </a:lnTo>
                <a:lnTo>
                  <a:pt x="159" y="153"/>
                </a:lnTo>
                <a:lnTo>
                  <a:pt x="162" y="147"/>
                </a:lnTo>
                <a:lnTo>
                  <a:pt x="159" y="141"/>
                </a:lnTo>
                <a:lnTo>
                  <a:pt x="172" y="128"/>
                </a:lnTo>
                <a:lnTo>
                  <a:pt x="175" y="122"/>
                </a:lnTo>
                <a:lnTo>
                  <a:pt x="178" y="119"/>
                </a:lnTo>
                <a:lnTo>
                  <a:pt x="181" y="119"/>
                </a:lnTo>
                <a:lnTo>
                  <a:pt x="181" y="112"/>
                </a:lnTo>
                <a:lnTo>
                  <a:pt x="181" y="109"/>
                </a:lnTo>
                <a:lnTo>
                  <a:pt x="178" y="106"/>
                </a:lnTo>
                <a:lnTo>
                  <a:pt x="181" y="103"/>
                </a:lnTo>
                <a:lnTo>
                  <a:pt x="175" y="103"/>
                </a:lnTo>
                <a:lnTo>
                  <a:pt x="175" y="97"/>
                </a:lnTo>
                <a:lnTo>
                  <a:pt x="172" y="94"/>
                </a:lnTo>
                <a:lnTo>
                  <a:pt x="172" y="84"/>
                </a:lnTo>
                <a:lnTo>
                  <a:pt x="172" y="78"/>
                </a:lnTo>
                <a:lnTo>
                  <a:pt x="168" y="72"/>
                </a:lnTo>
                <a:lnTo>
                  <a:pt x="165" y="65"/>
                </a:lnTo>
                <a:lnTo>
                  <a:pt x="168" y="62"/>
                </a:lnTo>
                <a:lnTo>
                  <a:pt x="172" y="59"/>
                </a:lnTo>
                <a:lnTo>
                  <a:pt x="172" y="47"/>
                </a:lnTo>
                <a:lnTo>
                  <a:pt x="172" y="47"/>
                </a:lnTo>
                <a:lnTo>
                  <a:pt x="168" y="40"/>
                </a:lnTo>
                <a:lnTo>
                  <a:pt x="165" y="37"/>
                </a:lnTo>
                <a:lnTo>
                  <a:pt x="165" y="28"/>
                </a:lnTo>
                <a:lnTo>
                  <a:pt x="159" y="22"/>
                </a:lnTo>
                <a:lnTo>
                  <a:pt x="162" y="19"/>
                </a:lnTo>
                <a:lnTo>
                  <a:pt x="159" y="12"/>
                </a:lnTo>
                <a:lnTo>
                  <a:pt x="156" y="9"/>
                </a:lnTo>
                <a:lnTo>
                  <a:pt x="153" y="6"/>
                </a:lnTo>
                <a:lnTo>
                  <a:pt x="125" y="9"/>
                </a:lnTo>
                <a:lnTo>
                  <a:pt x="100" y="9"/>
                </a:lnTo>
                <a:lnTo>
                  <a:pt x="100" y="9"/>
                </a:lnTo>
                <a:lnTo>
                  <a:pt x="90" y="15"/>
                </a:lnTo>
                <a:lnTo>
                  <a:pt x="87" y="15"/>
                </a:lnTo>
                <a:lnTo>
                  <a:pt x="84" y="15"/>
                </a:lnTo>
                <a:lnTo>
                  <a:pt x="90" y="12"/>
                </a:lnTo>
                <a:lnTo>
                  <a:pt x="97" y="6"/>
                </a:lnTo>
                <a:lnTo>
                  <a:pt x="93" y="6"/>
                </a:lnTo>
                <a:lnTo>
                  <a:pt x="90" y="12"/>
                </a:lnTo>
                <a:lnTo>
                  <a:pt x="81" y="15"/>
                </a:lnTo>
                <a:lnTo>
                  <a:pt x="75" y="12"/>
                </a:lnTo>
                <a:lnTo>
                  <a:pt x="72" y="6"/>
                </a:lnTo>
                <a:lnTo>
                  <a:pt x="75" y="3"/>
                </a:lnTo>
                <a:lnTo>
                  <a:pt x="78" y="6"/>
                </a:lnTo>
                <a:lnTo>
                  <a:pt x="81" y="6"/>
                </a:lnTo>
                <a:lnTo>
                  <a:pt x="81" y="6"/>
                </a:lnTo>
                <a:lnTo>
                  <a:pt x="75" y="3"/>
                </a:lnTo>
                <a:lnTo>
                  <a:pt x="65" y="0"/>
                </a:lnTo>
                <a:lnTo>
                  <a:pt x="56" y="3"/>
                </a:lnTo>
                <a:lnTo>
                  <a:pt x="53" y="3"/>
                </a:lnTo>
                <a:lnTo>
                  <a:pt x="47" y="6"/>
                </a:lnTo>
                <a:lnTo>
                  <a:pt x="43" y="9"/>
                </a:lnTo>
                <a:lnTo>
                  <a:pt x="37" y="9"/>
                </a:lnTo>
                <a:lnTo>
                  <a:pt x="34" y="15"/>
                </a:lnTo>
                <a:lnTo>
                  <a:pt x="34" y="19"/>
                </a:lnTo>
                <a:lnTo>
                  <a:pt x="28" y="19"/>
                </a:lnTo>
                <a:lnTo>
                  <a:pt x="18" y="22"/>
                </a:lnTo>
                <a:lnTo>
                  <a:pt x="12" y="22"/>
                </a:lnTo>
                <a:lnTo>
                  <a:pt x="9" y="28"/>
                </a:lnTo>
                <a:lnTo>
                  <a:pt x="6" y="31"/>
                </a:lnTo>
                <a:lnTo>
                  <a:pt x="6" y="34"/>
                </a:lnTo>
                <a:lnTo>
                  <a:pt x="6" y="34"/>
                </a:lnTo>
                <a:lnTo>
                  <a:pt x="6" y="34"/>
                </a:lnTo>
                <a:lnTo>
                  <a:pt x="6" y="44"/>
                </a:lnTo>
                <a:lnTo>
                  <a:pt x="6" y="50"/>
                </a:lnTo>
                <a:lnTo>
                  <a:pt x="0" y="53"/>
                </a:lnTo>
                <a:lnTo>
                  <a:pt x="0" y="56"/>
                </a:lnTo>
                <a:lnTo>
                  <a:pt x="6" y="62"/>
                </a:lnTo>
                <a:lnTo>
                  <a:pt x="6" y="65"/>
                </a:lnTo>
                <a:lnTo>
                  <a:pt x="9" y="72"/>
                </a:lnTo>
                <a:lnTo>
                  <a:pt x="9" y="75"/>
                </a:lnTo>
                <a:lnTo>
                  <a:pt x="9" y="78"/>
                </a:lnTo>
                <a:lnTo>
                  <a:pt x="9" y="81"/>
                </a:lnTo>
                <a:lnTo>
                  <a:pt x="12" y="87"/>
                </a:lnTo>
                <a:lnTo>
                  <a:pt x="15" y="91"/>
                </a:lnTo>
                <a:lnTo>
                  <a:pt x="18" y="94"/>
                </a:lnTo>
                <a:lnTo>
                  <a:pt x="18" y="103"/>
                </a:lnTo>
                <a:lnTo>
                  <a:pt x="15" y="106"/>
                </a:lnTo>
                <a:lnTo>
                  <a:pt x="18" y="109"/>
                </a:lnTo>
                <a:lnTo>
                  <a:pt x="18" y="106"/>
                </a:lnTo>
                <a:lnTo>
                  <a:pt x="22" y="106"/>
                </a:lnTo>
                <a:lnTo>
                  <a:pt x="25" y="106"/>
                </a:lnTo>
                <a:lnTo>
                  <a:pt x="34" y="106"/>
                </a:lnTo>
                <a:lnTo>
                  <a:pt x="34" y="109"/>
                </a:lnTo>
                <a:lnTo>
                  <a:pt x="37" y="112"/>
                </a:lnTo>
                <a:lnTo>
                  <a:pt x="40" y="112"/>
                </a:lnTo>
                <a:lnTo>
                  <a:pt x="43" y="116"/>
                </a:lnTo>
                <a:lnTo>
                  <a:pt x="40" y="119"/>
                </a:lnTo>
                <a:lnTo>
                  <a:pt x="40" y="122"/>
                </a:lnTo>
                <a:lnTo>
                  <a:pt x="43" y="122"/>
                </a:lnTo>
                <a:lnTo>
                  <a:pt x="43" y="128"/>
                </a:lnTo>
                <a:lnTo>
                  <a:pt x="47" y="128"/>
                </a:lnTo>
                <a:lnTo>
                  <a:pt x="47" y="125"/>
                </a:lnTo>
                <a:lnTo>
                  <a:pt x="50" y="125"/>
                </a:lnTo>
                <a:lnTo>
                  <a:pt x="47" y="119"/>
                </a:lnTo>
                <a:lnTo>
                  <a:pt x="47" y="119"/>
                </a:lnTo>
                <a:lnTo>
                  <a:pt x="56" y="125"/>
                </a:lnTo>
                <a:lnTo>
                  <a:pt x="62" y="122"/>
                </a:lnTo>
                <a:lnTo>
                  <a:pt x="62" y="125"/>
                </a:lnTo>
                <a:lnTo>
                  <a:pt x="65" y="131"/>
                </a:lnTo>
                <a:lnTo>
                  <a:pt x="72" y="128"/>
                </a:lnTo>
                <a:lnTo>
                  <a:pt x="78" y="131"/>
                </a:lnTo>
                <a:lnTo>
                  <a:pt x="90" y="137"/>
                </a:lnTo>
                <a:lnTo>
                  <a:pt x="93" y="144"/>
                </a:lnTo>
                <a:lnTo>
                  <a:pt x="97" y="144"/>
                </a:lnTo>
                <a:lnTo>
                  <a:pt x="100" y="144"/>
                </a:lnTo>
                <a:lnTo>
                  <a:pt x="106" y="144"/>
                </a:lnTo>
                <a:lnTo>
                  <a:pt x="109" y="147"/>
                </a:lnTo>
                <a:lnTo>
                  <a:pt x="109" y="15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7" name="Freeform 65">
            <a:extLst>
              <a:ext uri="{FF2B5EF4-FFF2-40B4-BE49-F238E27FC236}">
                <a16:creationId xmlns:a16="http://schemas.microsoft.com/office/drawing/2014/main" id="{D0EED0F1-2DF2-07D5-4365-4462ECF724FC}"/>
              </a:ext>
            </a:extLst>
          </p:cNvPr>
          <p:cNvSpPr>
            <a:spLocks/>
          </p:cNvSpPr>
          <p:nvPr userDrawn="1"/>
        </p:nvSpPr>
        <p:spPr bwMode="auto">
          <a:xfrm>
            <a:off x="13823046" y="5869861"/>
            <a:ext cx="457170" cy="200026"/>
          </a:xfrm>
          <a:custGeom>
            <a:avLst/>
            <a:gdLst>
              <a:gd name="T0" fmla="*/ 53 w 144"/>
              <a:gd name="T1" fmla="*/ 3 h 63"/>
              <a:gd name="T2" fmla="*/ 57 w 144"/>
              <a:gd name="T3" fmla="*/ 0 h 63"/>
              <a:gd name="T4" fmla="*/ 69 w 144"/>
              <a:gd name="T5" fmla="*/ 0 h 63"/>
              <a:gd name="T6" fmla="*/ 72 w 144"/>
              <a:gd name="T7" fmla="*/ 6 h 63"/>
              <a:gd name="T8" fmla="*/ 78 w 144"/>
              <a:gd name="T9" fmla="*/ 10 h 63"/>
              <a:gd name="T10" fmla="*/ 75 w 144"/>
              <a:gd name="T11" fmla="*/ 16 h 63"/>
              <a:gd name="T12" fmla="*/ 78 w 144"/>
              <a:gd name="T13" fmla="*/ 22 h 63"/>
              <a:gd name="T14" fmla="*/ 82 w 144"/>
              <a:gd name="T15" fmla="*/ 19 h 63"/>
              <a:gd name="T16" fmla="*/ 82 w 144"/>
              <a:gd name="T17" fmla="*/ 13 h 63"/>
              <a:gd name="T18" fmla="*/ 91 w 144"/>
              <a:gd name="T19" fmla="*/ 19 h 63"/>
              <a:gd name="T20" fmla="*/ 97 w 144"/>
              <a:gd name="T21" fmla="*/ 19 h 63"/>
              <a:gd name="T22" fmla="*/ 107 w 144"/>
              <a:gd name="T23" fmla="*/ 22 h 63"/>
              <a:gd name="T24" fmla="*/ 125 w 144"/>
              <a:gd name="T25" fmla="*/ 31 h 63"/>
              <a:gd name="T26" fmla="*/ 132 w 144"/>
              <a:gd name="T27" fmla="*/ 38 h 63"/>
              <a:gd name="T28" fmla="*/ 141 w 144"/>
              <a:gd name="T29" fmla="*/ 38 h 63"/>
              <a:gd name="T30" fmla="*/ 144 w 144"/>
              <a:gd name="T31" fmla="*/ 44 h 63"/>
              <a:gd name="T32" fmla="*/ 132 w 144"/>
              <a:gd name="T33" fmla="*/ 47 h 63"/>
              <a:gd name="T34" fmla="*/ 119 w 144"/>
              <a:gd name="T35" fmla="*/ 53 h 63"/>
              <a:gd name="T36" fmla="*/ 107 w 144"/>
              <a:gd name="T37" fmla="*/ 60 h 63"/>
              <a:gd name="T38" fmla="*/ 100 w 144"/>
              <a:gd name="T39" fmla="*/ 56 h 63"/>
              <a:gd name="T40" fmla="*/ 85 w 144"/>
              <a:gd name="T41" fmla="*/ 56 h 63"/>
              <a:gd name="T42" fmla="*/ 78 w 144"/>
              <a:gd name="T43" fmla="*/ 56 h 63"/>
              <a:gd name="T44" fmla="*/ 66 w 144"/>
              <a:gd name="T45" fmla="*/ 53 h 63"/>
              <a:gd name="T46" fmla="*/ 57 w 144"/>
              <a:gd name="T47" fmla="*/ 50 h 63"/>
              <a:gd name="T48" fmla="*/ 53 w 144"/>
              <a:gd name="T49" fmla="*/ 56 h 63"/>
              <a:gd name="T50" fmla="*/ 47 w 144"/>
              <a:gd name="T51" fmla="*/ 60 h 63"/>
              <a:gd name="T52" fmla="*/ 35 w 144"/>
              <a:gd name="T53" fmla="*/ 56 h 63"/>
              <a:gd name="T54" fmla="*/ 32 w 144"/>
              <a:gd name="T55" fmla="*/ 56 h 63"/>
              <a:gd name="T56" fmla="*/ 19 w 144"/>
              <a:gd name="T57" fmla="*/ 44 h 63"/>
              <a:gd name="T58" fmla="*/ 10 w 144"/>
              <a:gd name="T59" fmla="*/ 38 h 63"/>
              <a:gd name="T60" fmla="*/ 10 w 144"/>
              <a:gd name="T61" fmla="*/ 28 h 63"/>
              <a:gd name="T62" fmla="*/ 0 w 144"/>
              <a:gd name="T63" fmla="*/ 19 h 63"/>
              <a:gd name="T64" fmla="*/ 0 w 144"/>
              <a:gd name="T65" fmla="*/ 16 h 63"/>
              <a:gd name="T66" fmla="*/ 7 w 144"/>
              <a:gd name="T67" fmla="*/ 19 h 63"/>
              <a:gd name="T68" fmla="*/ 16 w 144"/>
              <a:gd name="T69" fmla="*/ 13 h 63"/>
              <a:gd name="T70" fmla="*/ 25 w 144"/>
              <a:gd name="T71" fmla="*/ 6 h 63"/>
              <a:gd name="T72" fmla="*/ 35 w 144"/>
              <a:gd name="T73" fmla="*/ 3 h 63"/>
              <a:gd name="T74" fmla="*/ 38 w 144"/>
              <a:gd name="T75" fmla="*/ 3 h 63"/>
              <a:gd name="T76" fmla="*/ 44 w 144"/>
              <a:gd name="T77" fmla="*/ 0 h 63"/>
              <a:gd name="T78" fmla="*/ 50 w 144"/>
              <a:gd name="T7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4" h="63">
                <a:moveTo>
                  <a:pt x="50" y="0"/>
                </a:moveTo>
                <a:lnTo>
                  <a:pt x="53" y="3"/>
                </a:lnTo>
                <a:lnTo>
                  <a:pt x="53" y="0"/>
                </a:lnTo>
                <a:lnTo>
                  <a:pt x="57" y="0"/>
                </a:lnTo>
                <a:lnTo>
                  <a:pt x="60" y="0"/>
                </a:lnTo>
                <a:lnTo>
                  <a:pt x="69" y="0"/>
                </a:lnTo>
                <a:lnTo>
                  <a:pt x="69" y="3"/>
                </a:lnTo>
                <a:lnTo>
                  <a:pt x="72" y="6"/>
                </a:lnTo>
                <a:lnTo>
                  <a:pt x="75" y="6"/>
                </a:lnTo>
                <a:lnTo>
                  <a:pt x="78" y="10"/>
                </a:lnTo>
                <a:lnTo>
                  <a:pt x="75" y="13"/>
                </a:lnTo>
                <a:lnTo>
                  <a:pt x="75" y="16"/>
                </a:lnTo>
                <a:lnTo>
                  <a:pt x="78" y="16"/>
                </a:lnTo>
                <a:lnTo>
                  <a:pt x="78" y="22"/>
                </a:lnTo>
                <a:lnTo>
                  <a:pt x="82" y="22"/>
                </a:lnTo>
                <a:lnTo>
                  <a:pt x="82" y="19"/>
                </a:lnTo>
                <a:lnTo>
                  <a:pt x="85" y="19"/>
                </a:lnTo>
                <a:lnTo>
                  <a:pt x="82" y="13"/>
                </a:lnTo>
                <a:lnTo>
                  <a:pt x="82" y="13"/>
                </a:lnTo>
                <a:lnTo>
                  <a:pt x="91" y="19"/>
                </a:lnTo>
                <a:lnTo>
                  <a:pt x="97" y="16"/>
                </a:lnTo>
                <a:lnTo>
                  <a:pt x="97" y="19"/>
                </a:lnTo>
                <a:lnTo>
                  <a:pt x="100" y="25"/>
                </a:lnTo>
                <a:lnTo>
                  <a:pt x="107" y="22"/>
                </a:lnTo>
                <a:lnTo>
                  <a:pt x="113" y="25"/>
                </a:lnTo>
                <a:lnTo>
                  <a:pt x="125" y="31"/>
                </a:lnTo>
                <a:lnTo>
                  <a:pt x="128" y="38"/>
                </a:lnTo>
                <a:lnTo>
                  <a:pt x="132" y="38"/>
                </a:lnTo>
                <a:lnTo>
                  <a:pt x="135" y="38"/>
                </a:lnTo>
                <a:lnTo>
                  <a:pt x="141" y="38"/>
                </a:lnTo>
                <a:lnTo>
                  <a:pt x="144" y="41"/>
                </a:lnTo>
                <a:lnTo>
                  <a:pt x="144" y="44"/>
                </a:lnTo>
                <a:lnTo>
                  <a:pt x="135" y="44"/>
                </a:lnTo>
                <a:lnTo>
                  <a:pt x="132" y="47"/>
                </a:lnTo>
                <a:lnTo>
                  <a:pt x="125" y="50"/>
                </a:lnTo>
                <a:lnTo>
                  <a:pt x="119" y="53"/>
                </a:lnTo>
                <a:lnTo>
                  <a:pt x="113" y="56"/>
                </a:lnTo>
                <a:lnTo>
                  <a:pt x="107" y="60"/>
                </a:lnTo>
                <a:lnTo>
                  <a:pt x="103" y="56"/>
                </a:lnTo>
                <a:lnTo>
                  <a:pt x="100" y="56"/>
                </a:lnTo>
                <a:lnTo>
                  <a:pt x="94" y="60"/>
                </a:lnTo>
                <a:lnTo>
                  <a:pt x="85" y="56"/>
                </a:lnTo>
                <a:lnTo>
                  <a:pt x="82" y="56"/>
                </a:lnTo>
                <a:lnTo>
                  <a:pt x="78" y="56"/>
                </a:lnTo>
                <a:lnTo>
                  <a:pt x="72" y="56"/>
                </a:lnTo>
                <a:lnTo>
                  <a:pt x="66" y="53"/>
                </a:lnTo>
                <a:lnTo>
                  <a:pt x="60" y="53"/>
                </a:lnTo>
                <a:lnTo>
                  <a:pt x="57" y="50"/>
                </a:lnTo>
                <a:lnTo>
                  <a:pt x="53" y="53"/>
                </a:lnTo>
                <a:lnTo>
                  <a:pt x="53" y="56"/>
                </a:lnTo>
                <a:lnTo>
                  <a:pt x="50" y="60"/>
                </a:lnTo>
                <a:lnTo>
                  <a:pt x="47" y="60"/>
                </a:lnTo>
                <a:lnTo>
                  <a:pt x="44" y="63"/>
                </a:lnTo>
                <a:lnTo>
                  <a:pt x="35" y="56"/>
                </a:lnTo>
                <a:lnTo>
                  <a:pt x="32" y="56"/>
                </a:lnTo>
                <a:lnTo>
                  <a:pt x="32" y="56"/>
                </a:lnTo>
                <a:lnTo>
                  <a:pt x="25" y="47"/>
                </a:lnTo>
                <a:lnTo>
                  <a:pt x="19" y="44"/>
                </a:lnTo>
                <a:lnTo>
                  <a:pt x="13" y="41"/>
                </a:lnTo>
                <a:lnTo>
                  <a:pt x="10" y="38"/>
                </a:lnTo>
                <a:lnTo>
                  <a:pt x="10" y="35"/>
                </a:lnTo>
                <a:lnTo>
                  <a:pt x="10" y="28"/>
                </a:lnTo>
                <a:lnTo>
                  <a:pt x="3" y="22"/>
                </a:lnTo>
                <a:lnTo>
                  <a:pt x="0" y="19"/>
                </a:lnTo>
                <a:lnTo>
                  <a:pt x="0" y="16"/>
                </a:lnTo>
                <a:lnTo>
                  <a:pt x="0" y="16"/>
                </a:lnTo>
                <a:lnTo>
                  <a:pt x="3" y="19"/>
                </a:lnTo>
                <a:lnTo>
                  <a:pt x="7" y="19"/>
                </a:lnTo>
                <a:lnTo>
                  <a:pt x="13" y="13"/>
                </a:lnTo>
                <a:lnTo>
                  <a:pt x="16" y="13"/>
                </a:lnTo>
                <a:lnTo>
                  <a:pt x="19" y="6"/>
                </a:lnTo>
                <a:lnTo>
                  <a:pt x="25" y="6"/>
                </a:lnTo>
                <a:lnTo>
                  <a:pt x="25" y="3"/>
                </a:lnTo>
                <a:lnTo>
                  <a:pt x="35" y="3"/>
                </a:lnTo>
                <a:lnTo>
                  <a:pt x="35" y="6"/>
                </a:lnTo>
                <a:lnTo>
                  <a:pt x="38" y="3"/>
                </a:lnTo>
                <a:lnTo>
                  <a:pt x="38" y="0"/>
                </a:lnTo>
                <a:lnTo>
                  <a:pt x="44" y="0"/>
                </a:lnTo>
                <a:lnTo>
                  <a:pt x="47" y="0"/>
                </a:lnTo>
                <a:lnTo>
                  <a:pt x="50" y="0"/>
                </a:lnTo>
                <a:lnTo>
                  <a:pt x="50" y="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8" name="Freeform 66">
            <a:extLst>
              <a:ext uri="{FF2B5EF4-FFF2-40B4-BE49-F238E27FC236}">
                <a16:creationId xmlns:a16="http://schemas.microsoft.com/office/drawing/2014/main" id="{3BAF052D-6FEE-BAA5-C27F-8C70DFCE5D77}"/>
              </a:ext>
            </a:extLst>
          </p:cNvPr>
          <p:cNvSpPr>
            <a:spLocks/>
          </p:cNvSpPr>
          <p:nvPr userDrawn="1"/>
        </p:nvSpPr>
        <p:spPr bwMode="auto">
          <a:xfrm>
            <a:off x="13467470" y="5533309"/>
            <a:ext cx="523844" cy="625478"/>
          </a:xfrm>
          <a:custGeom>
            <a:avLst/>
            <a:gdLst>
              <a:gd name="T0" fmla="*/ 59 w 165"/>
              <a:gd name="T1" fmla="*/ 3 h 197"/>
              <a:gd name="T2" fmla="*/ 69 w 165"/>
              <a:gd name="T3" fmla="*/ 12 h 197"/>
              <a:gd name="T4" fmla="*/ 72 w 165"/>
              <a:gd name="T5" fmla="*/ 22 h 197"/>
              <a:gd name="T6" fmla="*/ 81 w 165"/>
              <a:gd name="T7" fmla="*/ 19 h 197"/>
              <a:gd name="T8" fmla="*/ 90 w 165"/>
              <a:gd name="T9" fmla="*/ 19 h 197"/>
              <a:gd name="T10" fmla="*/ 84 w 165"/>
              <a:gd name="T11" fmla="*/ 25 h 197"/>
              <a:gd name="T12" fmla="*/ 94 w 165"/>
              <a:gd name="T13" fmla="*/ 28 h 197"/>
              <a:gd name="T14" fmla="*/ 109 w 165"/>
              <a:gd name="T15" fmla="*/ 22 h 197"/>
              <a:gd name="T16" fmla="*/ 115 w 165"/>
              <a:gd name="T17" fmla="*/ 15 h 197"/>
              <a:gd name="T18" fmla="*/ 115 w 165"/>
              <a:gd name="T19" fmla="*/ 19 h 197"/>
              <a:gd name="T20" fmla="*/ 122 w 165"/>
              <a:gd name="T21" fmla="*/ 19 h 197"/>
              <a:gd name="T22" fmla="*/ 134 w 165"/>
              <a:gd name="T23" fmla="*/ 25 h 197"/>
              <a:gd name="T24" fmla="*/ 144 w 165"/>
              <a:gd name="T25" fmla="*/ 34 h 197"/>
              <a:gd name="T26" fmla="*/ 153 w 165"/>
              <a:gd name="T27" fmla="*/ 44 h 197"/>
              <a:gd name="T28" fmla="*/ 153 w 165"/>
              <a:gd name="T29" fmla="*/ 62 h 197"/>
              <a:gd name="T30" fmla="*/ 156 w 165"/>
              <a:gd name="T31" fmla="*/ 78 h 197"/>
              <a:gd name="T32" fmla="*/ 165 w 165"/>
              <a:gd name="T33" fmla="*/ 94 h 197"/>
              <a:gd name="T34" fmla="*/ 156 w 165"/>
              <a:gd name="T35" fmla="*/ 106 h 197"/>
              <a:gd name="T36" fmla="*/ 147 w 165"/>
              <a:gd name="T37" fmla="*/ 109 h 197"/>
              <a:gd name="T38" fmla="*/ 128 w 165"/>
              <a:gd name="T39" fmla="*/ 119 h 197"/>
              <a:gd name="T40" fmla="*/ 112 w 165"/>
              <a:gd name="T41" fmla="*/ 122 h 197"/>
              <a:gd name="T42" fmla="*/ 122 w 165"/>
              <a:gd name="T43" fmla="*/ 134 h 197"/>
              <a:gd name="T44" fmla="*/ 131 w 165"/>
              <a:gd name="T45" fmla="*/ 150 h 197"/>
              <a:gd name="T46" fmla="*/ 144 w 165"/>
              <a:gd name="T47" fmla="*/ 169 h 197"/>
              <a:gd name="T48" fmla="*/ 128 w 165"/>
              <a:gd name="T49" fmla="*/ 181 h 197"/>
              <a:gd name="T50" fmla="*/ 131 w 165"/>
              <a:gd name="T51" fmla="*/ 191 h 197"/>
              <a:gd name="T52" fmla="*/ 115 w 165"/>
              <a:gd name="T53" fmla="*/ 191 h 197"/>
              <a:gd name="T54" fmla="*/ 100 w 165"/>
              <a:gd name="T55" fmla="*/ 194 h 197"/>
              <a:gd name="T56" fmla="*/ 87 w 165"/>
              <a:gd name="T57" fmla="*/ 197 h 197"/>
              <a:gd name="T58" fmla="*/ 75 w 165"/>
              <a:gd name="T59" fmla="*/ 194 h 197"/>
              <a:gd name="T60" fmla="*/ 62 w 165"/>
              <a:gd name="T61" fmla="*/ 191 h 197"/>
              <a:gd name="T62" fmla="*/ 56 w 165"/>
              <a:gd name="T63" fmla="*/ 187 h 197"/>
              <a:gd name="T64" fmla="*/ 44 w 165"/>
              <a:gd name="T65" fmla="*/ 191 h 197"/>
              <a:gd name="T66" fmla="*/ 37 w 165"/>
              <a:gd name="T67" fmla="*/ 187 h 197"/>
              <a:gd name="T68" fmla="*/ 37 w 165"/>
              <a:gd name="T69" fmla="*/ 172 h 197"/>
              <a:gd name="T70" fmla="*/ 40 w 165"/>
              <a:gd name="T71" fmla="*/ 156 h 197"/>
              <a:gd name="T72" fmla="*/ 25 w 165"/>
              <a:gd name="T73" fmla="*/ 153 h 197"/>
              <a:gd name="T74" fmla="*/ 15 w 165"/>
              <a:gd name="T75" fmla="*/ 150 h 197"/>
              <a:gd name="T76" fmla="*/ 9 w 165"/>
              <a:gd name="T77" fmla="*/ 137 h 197"/>
              <a:gd name="T78" fmla="*/ 6 w 165"/>
              <a:gd name="T79" fmla="*/ 122 h 197"/>
              <a:gd name="T80" fmla="*/ 3 w 165"/>
              <a:gd name="T81" fmla="*/ 109 h 197"/>
              <a:gd name="T82" fmla="*/ 3 w 165"/>
              <a:gd name="T83" fmla="*/ 91 h 197"/>
              <a:gd name="T84" fmla="*/ 19 w 165"/>
              <a:gd name="T85" fmla="*/ 84 h 197"/>
              <a:gd name="T86" fmla="*/ 22 w 165"/>
              <a:gd name="T87" fmla="*/ 72 h 197"/>
              <a:gd name="T88" fmla="*/ 15 w 165"/>
              <a:gd name="T89" fmla="*/ 65 h 197"/>
              <a:gd name="T90" fmla="*/ 25 w 165"/>
              <a:gd name="T91" fmla="*/ 59 h 197"/>
              <a:gd name="T92" fmla="*/ 28 w 165"/>
              <a:gd name="T93" fmla="*/ 50 h 197"/>
              <a:gd name="T94" fmla="*/ 22 w 165"/>
              <a:gd name="T95" fmla="*/ 44 h 197"/>
              <a:gd name="T96" fmla="*/ 37 w 165"/>
              <a:gd name="T97" fmla="*/ 37 h 197"/>
              <a:gd name="T98" fmla="*/ 40 w 165"/>
              <a:gd name="T99" fmla="*/ 40 h 197"/>
              <a:gd name="T100" fmla="*/ 44 w 165"/>
              <a:gd name="T101" fmla="*/ 44 h 197"/>
              <a:gd name="T102" fmla="*/ 47 w 165"/>
              <a:gd name="T103" fmla="*/ 37 h 197"/>
              <a:gd name="T104" fmla="*/ 59 w 165"/>
              <a:gd name="T105" fmla="*/ 31 h 197"/>
              <a:gd name="T106" fmla="*/ 59 w 165"/>
              <a:gd name="T107" fmla="*/ 31 h 197"/>
              <a:gd name="T108" fmla="*/ 56 w 165"/>
              <a:gd name="T109" fmla="*/ 25 h 197"/>
              <a:gd name="T110" fmla="*/ 47 w 165"/>
              <a:gd name="T111" fmla="*/ 15 h 197"/>
              <a:gd name="T112" fmla="*/ 50 w 165"/>
              <a:gd name="T113" fmla="*/ 6 h 197"/>
              <a:gd name="T114" fmla="*/ 47 w 165"/>
              <a:gd name="T11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5" h="197">
                <a:moveTo>
                  <a:pt x="47" y="0"/>
                </a:moveTo>
                <a:lnTo>
                  <a:pt x="50" y="0"/>
                </a:lnTo>
                <a:lnTo>
                  <a:pt x="59" y="3"/>
                </a:lnTo>
                <a:lnTo>
                  <a:pt x="59" y="3"/>
                </a:lnTo>
                <a:lnTo>
                  <a:pt x="65" y="3"/>
                </a:lnTo>
                <a:lnTo>
                  <a:pt x="69" y="6"/>
                </a:lnTo>
                <a:lnTo>
                  <a:pt x="72" y="6"/>
                </a:lnTo>
                <a:lnTo>
                  <a:pt x="69" y="12"/>
                </a:lnTo>
                <a:lnTo>
                  <a:pt x="69" y="15"/>
                </a:lnTo>
                <a:lnTo>
                  <a:pt x="69" y="15"/>
                </a:lnTo>
                <a:lnTo>
                  <a:pt x="72" y="19"/>
                </a:lnTo>
                <a:lnTo>
                  <a:pt x="72" y="22"/>
                </a:lnTo>
                <a:lnTo>
                  <a:pt x="75" y="19"/>
                </a:lnTo>
                <a:lnTo>
                  <a:pt x="78" y="15"/>
                </a:lnTo>
                <a:lnTo>
                  <a:pt x="78" y="15"/>
                </a:lnTo>
                <a:lnTo>
                  <a:pt x="81" y="19"/>
                </a:lnTo>
                <a:lnTo>
                  <a:pt x="84" y="22"/>
                </a:lnTo>
                <a:lnTo>
                  <a:pt x="87" y="19"/>
                </a:lnTo>
                <a:lnTo>
                  <a:pt x="90" y="15"/>
                </a:lnTo>
                <a:lnTo>
                  <a:pt x="90" y="19"/>
                </a:lnTo>
                <a:lnTo>
                  <a:pt x="90" y="22"/>
                </a:lnTo>
                <a:lnTo>
                  <a:pt x="87" y="25"/>
                </a:lnTo>
                <a:lnTo>
                  <a:pt x="87" y="25"/>
                </a:lnTo>
                <a:lnTo>
                  <a:pt x="84" y="25"/>
                </a:lnTo>
                <a:lnTo>
                  <a:pt x="87" y="28"/>
                </a:lnTo>
                <a:lnTo>
                  <a:pt x="90" y="28"/>
                </a:lnTo>
                <a:lnTo>
                  <a:pt x="94" y="28"/>
                </a:lnTo>
                <a:lnTo>
                  <a:pt x="94" y="28"/>
                </a:lnTo>
                <a:lnTo>
                  <a:pt x="100" y="28"/>
                </a:lnTo>
                <a:lnTo>
                  <a:pt x="100" y="25"/>
                </a:lnTo>
                <a:lnTo>
                  <a:pt x="103" y="22"/>
                </a:lnTo>
                <a:lnTo>
                  <a:pt x="109" y="22"/>
                </a:lnTo>
                <a:lnTo>
                  <a:pt x="109" y="19"/>
                </a:lnTo>
                <a:lnTo>
                  <a:pt x="112" y="19"/>
                </a:lnTo>
                <a:lnTo>
                  <a:pt x="112" y="15"/>
                </a:lnTo>
                <a:lnTo>
                  <a:pt x="115" y="15"/>
                </a:lnTo>
                <a:lnTo>
                  <a:pt x="122" y="15"/>
                </a:lnTo>
                <a:lnTo>
                  <a:pt x="115" y="15"/>
                </a:lnTo>
                <a:lnTo>
                  <a:pt x="115" y="19"/>
                </a:lnTo>
                <a:lnTo>
                  <a:pt x="115" y="19"/>
                </a:lnTo>
                <a:lnTo>
                  <a:pt x="112" y="19"/>
                </a:lnTo>
                <a:lnTo>
                  <a:pt x="112" y="22"/>
                </a:lnTo>
                <a:lnTo>
                  <a:pt x="119" y="19"/>
                </a:lnTo>
                <a:lnTo>
                  <a:pt x="122" y="19"/>
                </a:lnTo>
                <a:lnTo>
                  <a:pt x="125" y="19"/>
                </a:lnTo>
                <a:lnTo>
                  <a:pt x="125" y="19"/>
                </a:lnTo>
                <a:lnTo>
                  <a:pt x="128" y="19"/>
                </a:lnTo>
                <a:lnTo>
                  <a:pt x="134" y="25"/>
                </a:lnTo>
                <a:lnTo>
                  <a:pt x="137" y="25"/>
                </a:lnTo>
                <a:lnTo>
                  <a:pt x="140" y="28"/>
                </a:lnTo>
                <a:lnTo>
                  <a:pt x="137" y="31"/>
                </a:lnTo>
                <a:lnTo>
                  <a:pt x="144" y="34"/>
                </a:lnTo>
                <a:lnTo>
                  <a:pt x="147" y="34"/>
                </a:lnTo>
                <a:lnTo>
                  <a:pt x="147" y="34"/>
                </a:lnTo>
                <a:lnTo>
                  <a:pt x="153" y="34"/>
                </a:lnTo>
                <a:lnTo>
                  <a:pt x="153" y="44"/>
                </a:lnTo>
                <a:lnTo>
                  <a:pt x="153" y="50"/>
                </a:lnTo>
                <a:lnTo>
                  <a:pt x="147" y="53"/>
                </a:lnTo>
                <a:lnTo>
                  <a:pt x="147" y="56"/>
                </a:lnTo>
                <a:lnTo>
                  <a:pt x="153" y="62"/>
                </a:lnTo>
                <a:lnTo>
                  <a:pt x="153" y="65"/>
                </a:lnTo>
                <a:lnTo>
                  <a:pt x="156" y="72"/>
                </a:lnTo>
                <a:lnTo>
                  <a:pt x="156" y="75"/>
                </a:lnTo>
                <a:lnTo>
                  <a:pt x="156" y="78"/>
                </a:lnTo>
                <a:lnTo>
                  <a:pt x="156" y="81"/>
                </a:lnTo>
                <a:lnTo>
                  <a:pt x="159" y="87"/>
                </a:lnTo>
                <a:lnTo>
                  <a:pt x="162" y="91"/>
                </a:lnTo>
                <a:lnTo>
                  <a:pt x="165" y="94"/>
                </a:lnTo>
                <a:lnTo>
                  <a:pt x="165" y="103"/>
                </a:lnTo>
                <a:lnTo>
                  <a:pt x="162" y="106"/>
                </a:lnTo>
                <a:lnTo>
                  <a:pt x="159" y="106"/>
                </a:lnTo>
                <a:lnTo>
                  <a:pt x="156" y="106"/>
                </a:lnTo>
                <a:lnTo>
                  <a:pt x="150" y="106"/>
                </a:lnTo>
                <a:lnTo>
                  <a:pt x="150" y="109"/>
                </a:lnTo>
                <a:lnTo>
                  <a:pt x="147" y="112"/>
                </a:lnTo>
                <a:lnTo>
                  <a:pt x="147" y="109"/>
                </a:lnTo>
                <a:lnTo>
                  <a:pt x="137" y="109"/>
                </a:lnTo>
                <a:lnTo>
                  <a:pt x="137" y="112"/>
                </a:lnTo>
                <a:lnTo>
                  <a:pt x="131" y="112"/>
                </a:lnTo>
                <a:lnTo>
                  <a:pt x="128" y="119"/>
                </a:lnTo>
                <a:lnTo>
                  <a:pt x="125" y="119"/>
                </a:lnTo>
                <a:lnTo>
                  <a:pt x="119" y="125"/>
                </a:lnTo>
                <a:lnTo>
                  <a:pt x="115" y="125"/>
                </a:lnTo>
                <a:lnTo>
                  <a:pt x="112" y="122"/>
                </a:lnTo>
                <a:lnTo>
                  <a:pt x="112" y="122"/>
                </a:lnTo>
                <a:lnTo>
                  <a:pt x="112" y="125"/>
                </a:lnTo>
                <a:lnTo>
                  <a:pt x="115" y="128"/>
                </a:lnTo>
                <a:lnTo>
                  <a:pt x="122" y="134"/>
                </a:lnTo>
                <a:lnTo>
                  <a:pt x="122" y="141"/>
                </a:lnTo>
                <a:lnTo>
                  <a:pt x="122" y="144"/>
                </a:lnTo>
                <a:lnTo>
                  <a:pt x="125" y="147"/>
                </a:lnTo>
                <a:lnTo>
                  <a:pt x="131" y="150"/>
                </a:lnTo>
                <a:lnTo>
                  <a:pt x="137" y="153"/>
                </a:lnTo>
                <a:lnTo>
                  <a:pt x="144" y="162"/>
                </a:lnTo>
                <a:lnTo>
                  <a:pt x="144" y="166"/>
                </a:lnTo>
                <a:lnTo>
                  <a:pt x="144" y="169"/>
                </a:lnTo>
                <a:lnTo>
                  <a:pt x="140" y="169"/>
                </a:lnTo>
                <a:lnTo>
                  <a:pt x="137" y="172"/>
                </a:lnTo>
                <a:lnTo>
                  <a:pt x="134" y="175"/>
                </a:lnTo>
                <a:lnTo>
                  <a:pt x="128" y="181"/>
                </a:lnTo>
                <a:lnTo>
                  <a:pt x="128" y="184"/>
                </a:lnTo>
                <a:lnTo>
                  <a:pt x="134" y="187"/>
                </a:lnTo>
                <a:lnTo>
                  <a:pt x="134" y="191"/>
                </a:lnTo>
                <a:lnTo>
                  <a:pt x="131" y="191"/>
                </a:lnTo>
                <a:lnTo>
                  <a:pt x="128" y="191"/>
                </a:lnTo>
                <a:lnTo>
                  <a:pt x="122" y="191"/>
                </a:lnTo>
                <a:lnTo>
                  <a:pt x="119" y="191"/>
                </a:lnTo>
                <a:lnTo>
                  <a:pt x="115" y="191"/>
                </a:lnTo>
                <a:lnTo>
                  <a:pt x="109" y="194"/>
                </a:lnTo>
                <a:lnTo>
                  <a:pt x="106" y="194"/>
                </a:lnTo>
                <a:lnTo>
                  <a:pt x="103" y="194"/>
                </a:lnTo>
                <a:lnTo>
                  <a:pt x="100" y="194"/>
                </a:lnTo>
                <a:lnTo>
                  <a:pt x="97" y="194"/>
                </a:lnTo>
                <a:lnTo>
                  <a:pt x="90" y="191"/>
                </a:lnTo>
                <a:lnTo>
                  <a:pt x="84" y="194"/>
                </a:lnTo>
                <a:lnTo>
                  <a:pt x="87" y="197"/>
                </a:lnTo>
                <a:lnTo>
                  <a:pt x="84" y="197"/>
                </a:lnTo>
                <a:lnTo>
                  <a:pt x="81" y="197"/>
                </a:lnTo>
                <a:lnTo>
                  <a:pt x="78" y="194"/>
                </a:lnTo>
                <a:lnTo>
                  <a:pt x="75" y="194"/>
                </a:lnTo>
                <a:lnTo>
                  <a:pt x="72" y="194"/>
                </a:lnTo>
                <a:lnTo>
                  <a:pt x="72" y="194"/>
                </a:lnTo>
                <a:lnTo>
                  <a:pt x="69" y="194"/>
                </a:lnTo>
                <a:lnTo>
                  <a:pt x="62" y="191"/>
                </a:lnTo>
                <a:lnTo>
                  <a:pt x="59" y="191"/>
                </a:lnTo>
                <a:lnTo>
                  <a:pt x="59" y="191"/>
                </a:lnTo>
                <a:lnTo>
                  <a:pt x="56" y="191"/>
                </a:lnTo>
                <a:lnTo>
                  <a:pt x="56" y="187"/>
                </a:lnTo>
                <a:lnTo>
                  <a:pt x="50" y="187"/>
                </a:lnTo>
                <a:lnTo>
                  <a:pt x="50" y="191"/>
                </a:lnTo>
                <a:lnTo>
                  <a:pt x="50" y="194"/>
                </a:lnTo>
                <a:lnTo>
                  <a:pt x="44" y="191"/>
                </a:lnTo>
                <a:lnTo>
                  <a:pt x="40" y="194"/>
                </a:lnTo>
                <a:lnTo>
                  <a:pt x="37" y="194"/>
                </a:lnTo>
                <a:lnTo>
                  <a:pt x="37" y="194"/>
                </a:lnTo>
                <a:lnTo>
                  <a:pt x="37" y="187"/>
                </a:lnTo>
                <a:lnTo>
                  <a:pt x="34" y="187"/>
                </a:lnTo>
                <a:lnTo>
                  <a:pt x="34" y="181"/>
                </a:lnTo>
                <a:lnTo>
                  <a:pt x="34" y="175"/>
                </a:lnTo>
                <a:lnTo>
                  <a:pt x="37" y="172"/>
                </a:lnTo>
                <a:lnTo>
                  <a:pt x="37" y="169"/>
                </a:lnTo>
                <a:lnTo>
                  <a:pt x="40" y="162"/>
                </a:lnTo>
                <a:lnTo>
                  <a:pt x="44" y="159"/>
                </a:lnTo>
                <a:lnTo>
                  <a:pt x="40" y="156"/>
                </a:lnTo>
                <a:lnTo>
                  <a:pt x="37" y="156"/>
                </a:lnTo>
                <a:lnTo>
                  <a:pt x="31" y="153"/>
                </a:lnTo>
                <a:lnTo>
                  <a:pt x="28" y="153"/>
                </a:lnTo>
                <a:lnTo>
                  <a:pt x="25" y="153"/>
                </a:lnTo>
                <a:lnTo>
                  <a:pt x="22" y="153"/>
                </a:lnTo>
                <a:lnTo>
                  <a:pt x="19" y="156"/>
                </a:lnTo>
                <a:lnTo>
                  <a:pt x="15" y="153"/>
                </a:lnTo>
                <a:lnTo>
                  <a:pt x="15" y="150"/>
                </a:lnTo>
                <a:lnTo>
                  <a:pt x="12" y="147"/>
                </a:lnTo>
                <a:lnTo>
                  <a:pt x="12" y="147"/>
                </a:lnTo>
                <a:lnTo>
                  <a:pt x="12" y="141"/>
                </a:lnTo>
                <a:lnTo>
                  <a:pt x="9" y="137"/>
                </a:lnTo>
                <a:lnTo>
                  <a:pt x="9" y="134"/>
                </a:lnTo>
                <a:lnTo>
                  <a:pt x="6" y="128"/>
                </a:lnTo>
                <a:lnTo>
                  <a:pt x="3" y="128"/>
                </a:lnTo>
                <a:lnTo>
                  <a:pt x="6" y="122"/>
                </a:lnTo>
                <a:lnTo>
                  <a:pt x="3" y="119"/>
                </a:lnTo>
                <a:lnTo>
                  <a:pt x="3" y="116"/>
                </a:lnTo>
                <a:lnTo>
                  <a:pt x="0" y="112"/>
                </a:lnTo>
                <a:lnTo>
                  <a:pt x="3" y="109"/>
                </a:lnTo>
                <a:lnTo>
                  <a:pt x="0" y="109"/>
                </a:lnTo>
                <a:lnTo>
                  <a:pt x="3" y="103"/>
                </a:lnTo>
                <a:lnTo>
                  <a:pt x="3" y="97"/>
                </a:lnTo>
                <a:lnTo>
                  <a:pt x="3" y="91"/>
                </a:lnTo>
                <a:lnTo>
                  <a:pt x="6" y="87"/>
                </a:lnTo>
                <a:lnTo>
                  <a:pt x="9" y="84"/>
                </a:lnTo>
                <a:lnTo>
                  <a:pt x="12" y="84"/>
                </a:lnTo>
                <a:lnTo>
                  <a:pt x="19" y="84"/>
                </a:lnTo>
                <a:lnTo>
                  <a:pt x="22" y="81"/>
                </a:lnTo>
                <a:lnTo>
                  <a:pt x="19" y="78"/>
                </a:lnTo>
                <a:lnTo>
                  <a:pt x="22" y="78"/>
                </a:lnTo>
                <a:lnTo>
                  <a:pt x="22" y="72"/>
                </a:lnTo>
                <a:lnTo>
                  <a:pt x="22" y="72"/>
                </a:lnTo>
                <a:lnTo>
                  <a:pt x="22" y="69"/>
                </a:lnTo>
                <a:lnTo>
                  <a:pt x="15" y="69"/>
                </a:lnTo>
                <a:lnTo>
                  <a:pt x="15" y="65"/>
                </a:lnTo>
                <a:lnTo>
                  <a:pt x="19" y="62"/>
                </a:lnTo>
                <a:lnTo>
                  <a:pt x="22" y="65"/>
                </a:lnTo>
                <a:lnTo>
                  <a:pt x="25" y="62"/>
                </a:lnTo>
                <a:lnTo>
                  <a:pt x="25" y="59"/>
                </a:lnTo>
                <a:lnTo>
                  <a:pt x="25" y="56"/>
                </a:lnTo>
                <a:lnTo>
                  <a:pt x="25" y="53"/>
                </a:lnTo>
                <a:lnTo>
                  <a:pt x="28" y="50"/>
                </a:lnTo>
                <a:lnTo>
                  <a:pt x="28" y="50"/>
                </a:lnTo>
                <a:lnTo>
                  <a:pt x="28" y="50"/>
                </a:lnTo>
                <a:lnTo>
                  <a:pt x="28" y="47"/>
                </a:lnTo>
                <a:lnTo>
                  <a:pt x="22" y="47"/>
                </a:lnTo>
                <a:lnTo>
                  <a:pt x="22" y="44"/>
                </a:lnTo>
                <a:lnTo>
                  <a:pt x="22" y="37"/>
                </a:lnTo>
                <a:lnTo>
                  <a:pt x="31" y="37"/>
                </a:lnTo>
                <a:lnTo>
                  <a:pt x="31" y="34"/>
                </a:lnTo>
                <a:lnTo>
                  <a:pt x="37" y="37"/>
                </a:lnTo>
                <a:lnTo>
                  <a:pt x="37" y="44"/>
                </a:lnTo>
                <a:lnTo>
                  <a:pt x="40" y="47"/>
                </a:lnTo>
                <a:lnTo>
                  <a:pt x="44" y="44"/>
                </a:lnTo>
                <a:lnTo>
                  <a:pt x="40" y="40"/>
                </a:lnTo>
                <a:lnTo>
                  <a:pt x="40" y="37"/>
                </a:lnTo>
                <a:lnTo>
                  <a:pt x="44" y="37"/>
                </a:lnTo>
                <a:lnTo>
                  <a:pt x="44" y="40"/>
                </a:lnTo>
                <a:lnTo>
                  <a:pt x="44" y="44"/>
                </a:lnTo>
                <a:lnTo>
                  <a:pt x="50" y="50"/>
                </a:lnTo>
                <a:lnTo>
                  <a:pt x="47" y="47"/>
                </a:lnTo>
                <a:lnTo>
                  <a:pt x="47" y="40"/>
                </a:lnTo>
                <a:lnTo>
                  <a:pt x="47" y="37"/>
                </a:lnTo>
                <a:lnTo>
                  <a:pt x="50" y="34"/>
                </a:lnTo>
                <a:lnTo>
                  <a:pt x="53" y="31"/>
                </a:lnTo>
                <a:lnTo>
                  <a:pt x="56" y="34"/>
                </a:lnTo>
                <a:lnTo>
                  <a:pt x="59" y="31"/>
                </a:lnTo>
                <a:lnTo>
                  <a:pt x="65" y="40"/>
                </a:lnTo>
                <a:lnTo>
                  <a:pt x="75" y="40"/>
                </a:lnTo>
                <a:lnTo>
                  <a:pt x="65" y="37"/>
                </a:lnTo>
                <a:lnTo>
                  <a:pt x="59" y="31"/>
                </a:lnTo>
                <a:lnTo>
                  <a:pt x="56" y="31"/>
                </a:lnTo>
                <a:lnTo>
                  <a:pt x="53" y="28"/>
                </a:lnTo>
                <a:lnTo>
                  <a:pt x="53" y="25"/>
                </a:lnTo>
                <a:lnTo>
                  <a:pt x="56" y="25"/>
                </a:lnTo>
                <a:lnTo>
                  <a:pt x="53" y="22"/>
                </a:lnTo>
                <a:lnTo>
                  <a:pt x="53" y="19"/>
                </a:lnTo>
                <a:lnTo>
                  <a:pt x="47" y="19"/>
                </a:lnTo>
                <a:lnTo>
                  <a:pt x="47" y="15"/>
                </a:lnTo>
                <a:lnTo>
                  <a:pt x="50" y="15"/>
                </a:lnTo>
                <a:lnTo>
                  <a:pt x="56" y="12"/>
                </a:lnTo>
                <a:lnTo>
                  <a:pt x="50" y="9"/>
                </a:lnTo>
                <a:lnTo>
                  <a:pt x="50" y="6"/>
                </a:lnTo>
                <a:lnTo>
                  <a:pt x="50" y="6"/>
                </a:lnTo>
                <a:lnTo>
                  <a:pt x="47" y="6"/>
                </a:lnTo>
                <a:lnTo>
                  <a:pt x="47" y="3"/>
                </a:lnTo>
                <a:lnTo>
                  <a:pt x="47" y="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9" name="Freeform 67">
            <a:extLst>
              <a:ext uri="{FF2B5EF4-FFF2-40B4-BE49-F238E27FC236}">
                <a16:creationId xmlns:a16="http://schemas.microsoft.com/office/drawing/2014/main" id="{E4FBC5A0-5349-97B7-A00A-2FDB0A2347A5}"/>
              </a:ext>
            </a:extLst>
          </p:cNvPr>
          <p:cNvSpPr>
            <a:spLocks/>
          </p:cNvSpPr>
          <p:nvPr userDrawn="1"/>
        </p:nvSpPr>
        <p:spPr bwMode="auto">
          <a:xfrm>
            <a:off x="13696058" y="6168309"/>
            <a:ext cx="9525" cy="19050"/>
          </a:xfrm>
          <a:custGeom>
            <a:avLst/>
            <a:gdLst>
              <a:gd name="T0" fmla="*/ 0 w 3"/>
              <a:gd name="T1" fmla="*/ 0 h 6"/>
              <a:gd name="T2" fmla="*/ 3 w 3"/>
              <a:gd name="T3" fmla="*/ 0 h 6"/>
              <a:gd name="T4" fmla="*/ 3 w 3"/>
              <a:gd name="T5" fmla="*/ 6 h 6"/>
              <a:gd name="T6" fmla="*/ 0 w 3"/>
              <a:gd name="T7" fmla="*/ 6 h 6"/>
              <a:gd name="T8" fmla="*/ 0 w 3"/>
              <a:gd name="T9" fmla="*/ 3 h 6"/>
              <a:gd name="T10" fmla="*/ 0 w 3"/>
              <a:gd name="T11" fmla="*/ 0 h 6"/>
              <a:gd name="T12" fmla="*/ 0 w 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 h="6">
                <a:moveTo>
                  <a:pt x="0" y="0"/>
                </a:moveTo>
                <a:lnTo>
                  <a:pt x="3" y="0"/>
                </a:lnTo>
                <a:lnTo>
                  <a:pt x="3" y="6"/>
                </a:lnTo>
                <a:lnTo>
                  <a:pt x="0" y="6"/>
                </a:lnTo>
                <a:lnTo>
                  <a:pt x="0" y="3"/>
                </a:lnTo>
                <a:lnTo>
                  <a:pt x="0" y="0"/>
                </a:lnTo>
                <a:lnTo>
                  <a:pt x="0" y="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0" name="Freeform 68">
            <a:extLst>
              <a:ext uri="{FF2B5EF4-FFF2-40B4-BE49-F238E27FC236}">
                <a16:creationId xmlns:a16="http://schemas.microsoft.com/office/drawing/2014/main" id="{7DDF81D5-4C50-6EC4-D10E-3377107E7EF7}"/>
              </a:ext>
            </a:extLst>
          </p:cNvPr>
          <p:cNvSpPr>
            <a:spLocks/>
          </p:cNvSpPr>
          <p:nvPr userDrawn="1"/>
        </p:nvSpPr>
        <p:spPr bwMode="auto">
          <a:xfrm>
            <a:off x="13477000" y="6127035"/>
            <a:ext cx="288907" cy="161926"/>
          </a:xfrm>
          <a:custGeom>
            <a:avLst/>
            <a:gdLst>
              <a:gd name="T0" fmla="*/ 37 w 91"/>
              <a:gd name="T1" fmla="*/ 7 h 51"/>
              <a:gd name="T2" fmla="*/ 47 w 91"/>
              <a:gd name="T3" fmla="*/ 7 h 51"/>
              <a:gd name="T4" fmla="*/ 47 w 91"/>
              <a:gd name="T5" fmla="*/ 0 h 51"/>
              <a:gd name="T6" fmla="*/ 53 w 91"/>
              <a:gd name="T7" fmla="*/ 4 h 51"/>
              <a:gd name="T8" fmla="*/ 56 w 91"/>
              <a:gd name="T9" fmla="*/ 4 h 51"/>
              <a:gd name="T10" fmla="*/ 66 w 91"/>
              <a:gd name="T11" fmla="*/ 7 h 51"/>
              <a:gd name="T12" fmla="*/ 69 w 91"/>
              <a:gd name="T13" fmla="*/ 13 h 51"/>
              <a:gd name="T14" fmla="*/ 69 w 91"/>
              <a:gd name="T15" fmla="*/ 19 h 51"/>
              <a:gd name="T16" fmla="*/ 78 w 91"/>
              <a:gd name="T17" fmla="*/ 16 h 51"/>
              <a:gd name="T18" fmla="*/ 84 w 91"/>
              <a:gd name="T19" fmla="*/ 19 h 51"/>
              <a:gd name="T20" fmla="*/ 91 w 91"/>
              <a:gd name="T21" fmla="*/ 22 h 51"/>
              <a:gd name="T22" fmla="*/ 87 w 91"/>
              <a:gd name="T23" fmla="*/ 32 h 51"/>
              <a:gd name="T24" fmla="*/ 78 w 91"/>
              <a:gd name="T25" fmla="*/ 41 h 51"/>
              <a:gd name="T26" fmla="*/ 72 w 91"/>
              <a:gd name="T27" fmla="*/ 38 h 51"/>
              <a:gd name="T28" fmla="*/ 62 w 91"/>
              <a:gd name="T29" fmla="*/ 41 h 51"/>
              <a:gd name="T30" fmla="*/ 59 w 91"/>
              <a:gd name="T31" fmla="*/ 44 h 51"/>
              <a:gd name="T32" fmla="*/ 53 w 91"/>
              <a:gd name="T33" fmla="*/ 38 h 51"/>
              <a:gd name="T34" fmla="*/ 41 w 91"/>
              <a:gd name="T35" fmla="*/ 47 h 51"/>
              <a:gd name="T36" fmla="*/ 28 w 91"/>
              <a:gd name="T37" fmla="*/ 51 h 51"/>
              <a:gd name="T38" fmla="*/ 22 w 91"/>
              <a:gd name="T39" fmla="*/ 44 h 51"/>
              <a:gd name="T40" fmla="*/ 19 w 91"/>
              <a:gd name="T41" fmla="*/ 38 h 51"/>
              <a:gd name="T42" fmla="*/ 12 w 91"/>
              <a:gd name="T43" fmla="*/ 35 h 51"/>
              <a:gd name="T44" fmla="*/ 9 w 91"/>
              <a:gd name="T45" fmla="*/ 41 h 51"/>
              <a:gd name="T46" fmla="*/ 3 w 91"/>
              <a:gd name="T47" fmla="*/ 44 h 51"/>
              <a:gd name="T48" fmla="*/ 3 w 91"/>
              <a:gd name="T49" fmla="*/ 38 h 51"/>
              <a:gd name="T50" fmla="*/ 6 w 91"/>
              <a:gd name="T51" fmla="*/ 35 h 51"/>
              <a:gd name="T52" fmla="*/ 12 w 91"/>
              <a:gd name="T53" fmla="*/ 22 h 51"/>
              <a:gd name="T54" fmla="*/ 19 w 91"/>
              <a:gd name="T55" fmla="*/ 16 h 51"/>
              <a:gd name="T56" fmla="*/ 22 w 91"/>
              <a:gd name="T57" fmla="*/ 10 h 51"/>
              <a:gd name="T58" fmla="*/ 19 w 91"/>
              <a:gd name="T59" fmla="*/ 4 h 51"/>
              <a:gd name="T60" fmla="*/ 25 w 91"/>
              <a:gd name="T61" fmla="*/ 7 h 51"/>
              <a:gd name="T62" fmla="*/ 34 w 91"/>
              <a:gd name="T63" fmla="*/ 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51">
                <a:moveTo>
                  <a:pt x="34" y="7"/>
                </a:moveTo>
                <a:lnTo>
                  <a:pt x="37" y="7"/>
                </a:lnTo>
                <a:lnTo>
                  <a:pt x="41" y="4"/>
                </a:lnTo>
                <a:lnTo>
                  <a:pt x="47" y="7"/>
                </a:lnTo>
                <a:lnTo>
                  <a:pt x="47" y="4"/>
                </a:lnTo>
                <a:lnTo>
                  <a:pt x="47" y="0"/>
                </a:lnTo>
                <a:lnTo>
                  <a:pt x="53" y="0"/>
                </a:lnTo>
                <a:lnTo>
                  <a:pt x="53" y="4"/>
                </a:lnTo>
                <a:lnTo>
                  <a:pt x="56" y="4"/>
                </a:lnTo>
                <a:lnTo>
                  <a:pt x="56" y="4"/>
                </a:lnTo>
                <a:lnTo>
                  <a:pt x="59" y="4"/>
                </a:lnTo>
                <a:lnTo>
                  <a:pt x="66" y="7"/>
                </a:lnTo>
                <a:lnTo>
                  <a:pt x="69" y="10"/>
                </a:lnTo>
                <a:lnTo>
                  <a:pt x="69" y="13"/>
                </a:lnTo>
                <a:lnTo>
                  <a:pt x="69" y="16"/>
                </a:lnTo>
                <a:lnTo>
                  <a:pt x="69" y="19"/>
                </a:lnTo>
                <a:lnTo>
                  <a:pt x="75" y="19"/>
                </a:lnTo>
                <a:lnTo>
                  <a:pt x="78" y="16"/>
                </a:lnTo>
                <a:lnTo>
                  <a:pt x="81" y="22"/>
                </a:lnTo>
                <a:lnTo>
                  <a:pt x="84" y="19"/>
                </a:lnTo>
                <a:lnTo>
                  <a:pt x="87" y="19"/>
                </a:lnTo>
                <a:lnTo>
                  <a:pt x="91" y="22"/>
                </a:lnTo>
                <a:lnTo>
                  <a:pt x="84" y="26"/>
                </a:lnTo>
                <a:lnTo>
                  <a:pt x="87" y="32"/>
                </a:lnTo>
                <a:lnTo>
                  <a:pt x="81" y="35"/>
                </a:lnTo>
                <a:lnTo>
                  <a:pt x="78" y="41"/>
                </a:lnTo>
                <a:lnTo>
                  <a:pt x="75" y="38"/>
                </a:lnTo>
                <a:lnTo>
                  <a:pt x="72" y="38"/>
                </a:lnTo>
                <a:lnTo>
                  <a:pt x="62" y="35"/>
                </a:lnTo>
                <a:lnTo>
                  <a:pt x="62" y="41"/>
                </a:lnTo>
                <a:lnTo>
                  <a:pt x="59" y="47"/>
                </a:lnTo>
                <a:lnTo>
                  <a:pt x="59" y="44"/>
                </a:lnTo>
                <a:lnTo>
                  <a:pt x="53" y="41"/>
                </a:lnTo>
                <a:lnTo>
                  <a:pt x="53" y="38"/>
                </a:lnTo>
                <a:lnTo>
                  <a:pt x="47" y="35"/>
                </a:lnTo>
                <a:lnTo>
                  <a:pt x="41" y="47"/>
                </a:lnTo>
                <a:lnTo>
                  <a:pt x="34" y="44"/>
                </a:lnTo>
                <a:lnTo>
                  <a:pt x="28" y="51"/>
                </a:lnTo>
                <a:lnTo>
                  <a:pt x="25" y="47"/>
                </a:lnTo>
                <a:lnTo>
                  <a:pt x="22" y="44"/>
                </a:lnTo>
                <a:lnTo>
                  <a:pt x="22" y="44"/>
                </a:lnTo>
                <a:lnTo>
                  <a:pt x="19" y="38"/>
                </a:lnTo>
                <a:lnTo>
                  <a:pt x="19" y="35"/>
                </a:lnTo>
                <a:lnTo>
                  <a:pt x="12" y="35"/>
                </a:lnTo>
                <a:lnTo>
                  <a:pt x="9" y="38"/>
                </a:lnTo>
                <a:lnTo>
                  <a:pt x="9" y="41"/>
                </a:lnTo>
                <a:lnTo>
                  <a:pt x="6" y="44"/>
                </a:lnTo>
                <a:lnTo>
                  <a:pt x="3" y="44"/>
                </a:lnTo>
                <a:lnTo>
                  <a:pt x="0" y="41"/>
                </a:lnTo>
                <a:lnTo>
                  <a:pt x="3" y="38"/>
                </a:lnTo>
                <a:lnTo>
                  <a:pt x="6" y="38"/>
                </a:lnTo>
                <a:lnTo>
                  <a:pt x="6" y="35"/>
                </a:lnTo>
                <a:lnTo>
                  <a:pt x="6" y="29"/>
                </a:lnTo>
                <a:lnTo>
                  <a:pt x="12" y="22"/>
                </a:lnTo>
                <a:lnTo>
                  <a:pt x="16" y="19"/>
                </a:lnTo>
                <a:lnTo>
                  <a:pt x="19" y="16"/>
                </a:lnTo>
                <a:lnTo>
                  <a:pt x="22" y="13"/>
                </a:lnTo>
                <a:lnTo>
                  <a:pt x="22" y="10"/>
                </a:lnTo>
                <a:lnTo>
                  <a:pt x="19" y="7"/>
                </a:lnTo>
                <a:lnTo>
                  <a:pt x="19" y="4"/>
                </a:lnTo>
                <a:lnTo>
                  <a:pt x="25" y="4"/>
                </a:lnTo>
                <a:lnTo>
                  <a:pt x="25" y="7"/>
                </a:lnTo>
                <a:lnTo>
                  <a:pt x="28" y="7"/>
                </a:lnTo>
                <a:lnTo>
                  <a:pt x="34" y="7"/>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1" name="Freeform 69">
            <a:extLst>
              <a:ext uri="{FF2B5EF4-FFF2-40B4-BE49-F238E27FC236}">
                <a16:creationId xmlns:a16="http://schemas.microsoft.com/office/drawing/2014/main" id="{B36EF9A7-06E3-9340-8321-C72B67438A75}"/>
              </a:ext>
            </a:extLst>
          </p:cNvPr>
          <p:cNvSpPr>
            <a:spLocks noEditPoints="1"/>
          </p:cNvSpPr>
          <p:nvPr userDrawn="1"/>
        </p:nvSpPr>
        <p:spPr bwMode="auto">
          <a:xfrm>
            <a:off x="13327779" y="5673008"/>
            <a:ext cx="228585" cy="206376"/>
          </a:xfrm>
          <a:custGeom>
            <a:avLst/>
            <a:gdLst>
              <a:gd name="T0" fmla="*/ 47 w 72"/>
              <a:gd name="T1" fmla="*/ 59 h 65"/>
              <a:gd name="T2" fmla="*/ 47 w 72"/>
              <a:gd name="T3" fmla="*/ 47 h 65"/>
              <a:gd name="T4" fmla="*/ 53 w 72"/>
              <a:gd name="T5" fmla="*/ 40 h 65"/>
              <a:gd name="T6" fmla="*/ 63 w 72"/>
              <a:gd name="T7" fmla="*/ 40 h 65"/>
              <a:gd name="T8" fmla="*/ 63 w 72"/>
              <a:gd name="T9" fmla="*/ 34 h 65"/>
              <a:gd name="T10" fmla="*/ 66 w 72"/>
              <a:gd name="T11" fmla="*/ 28 h 65"/>
              <a:gd name="T12" fmla="*/ 66 w 72"/>
              <a:gd name="T13" fmla="*/ 25 h 65"/>
              <a:gd name="T14" fmla="*/ 59 w 72"/>
              <a:gd name="T15" fmla="*/ 21 h 65"/>
              <a:gd name="T16" fmla="*/ 66 w 72"/>
              <a:gd name="T17" fmla="*/ 21 h 65"/>
              <a:gd name="T18" fmla="*/ 69 w 72"/>
              <a:gd name="T19" fmla="*/ 15 h 65"/>
              <a:gd name="T20" fmla="*/ 69 w 72"/>
              <a:gd name="T21" fmla="*/ 9 h 65"/>
              <a:gd name="T22" fmla="*/ 72 w 72"/>
              <a:gd name="T23" fmla="*/ 6 h 65"/>
              <a:gd name="T24" fmla="*/ 66 w 72"/>
              <a:gd name="T25" fmla="*/ 3 h 65"/>
              <a:gd name="T26" fmla="*/ 53 w 72"/>
              <a:gd name="T27" fmla="*/ 0 h 65"/>
              <a:gd name="T28" fmla="*/ 47 w 72"/>
              <a:gd name="T29" fmla="*/ 3 h 65"/>
              <a:gd name="T30" fmla="*/ 41 w 72"/>
              <a:gd name="T31" fmla="*/ 3 h 65"/>
              <a:gd name="T32" fmla="*/ 28 w 72"/>
              <a:gd name="T33" fmla="*/ 12 h 65"/>
              <a:gd name="T34" fmla="*/ 22 w 72"/>
              <a:gd name="T35" fmla="*/ 12 h 65"/>
              <a:gd name="T36" fmla="*/ 19 w 72"/>
              <a:gd name="T37" fmla="*/ 21 h 65"/>
              <a:gd name="T38" fmla="*/ 19 w 72"/>
              <a:gd name="T39" fmla="*/ 31 h 65"/>
              <a:gd name="T40" fmla="*/ 16 w 72"/>
              <a:gd name="T41" fmla="*/ 34 h 65"/>
              <a:gd name="T42" fmla="*/ 12 w 72"/>
              <a:gd name="T43" fmla="*/ 40 h 65"/>
              <a:gd name="T44" fmla="*/ 22 w 72"/>
              <a:gd name="T45" fmla="*/ 47 h 65"/>
              <a:gd name="T46" fmla="*/ 16 w 72"/>
              <a:gd name="T47" fmla="*/ 47 h 65"/>
              <a:gd name="T48" fmla="*/ 16 w 72"/>
              <a:gd name="T49" fmla="*/ 50 h 65"/>
              <a:gd name="T50" fmla="*/ 19 w 72"/>
              <a:gd name="T51" fmla="*/ 53 h 65"/>
              <a:gd name="T52" fmla="*/ 9 w 72"/>
              <a:gd name="T53" fmla="*/ 50 h 65"/>
              <a:gd name="T54" fmla="*/ 3 w 72"/>
              <a:gd name="T55" fmla="*/ 50 h 65"/>
              <a:gd name="T56" fmla="*/ 9 w 72"/>
              <a:gd name="T57" fmla="*/ 53 h 65"/>
              <a:gd name="T58" fmla="*/ 12 w 72"/>
              <a:gd name="T59" fmla="*/ 53 h 65"/>
              <a:gd name="T60" fmla="*/ 12 w 72"/>
              <a:gd name="T61" fmla="*/ 56 h 65"/>
              <a:gd name="T62" fmla="*/ 6 w 72"/>
              <a:gd name="T63" fmla="*/ 53 h 65"/>
              <a:gd name="T64" fmla="*/ 0 w 72"/>
              <a:gd name="T65" fmla="*/ 53 h 65"/>
              <a:gd name="T66" fmla="*/ 6 w 72"/>
              <a:gd name="T67" fmla="*/ 59 h 65"/>
              <a:gd name="T68" fmla="*/ 9 w 72"/>
              <a:gd name="T69" fmla="*/ 59 h 65"/>
              <a:gd name="T70" fmla="*/ 16 w 72"/>
              <a:gd name="T71" fmla="*/ 56 h 65"/>
              <a:gd name="T72" fmla="*/ 19 w 72"/>
              <a:gd name="T73" fmla="*/ 56 h 65"/>
              <a:gd name="T74" fmla="*/ 28 w 72"/>
              <a:gd name="T75" fmla="*/ 53 h 65"/>
              <a:gd name="T76" fmla="*/ 34 w 72"/>
              <a:gd name="T77" fmla="*/ 56 h 65"/>
              <a:gd name="T78" fmla="*/ 41 w 72"/>
              <a:gd name="T79" fmla="*/ 56 h 65"/>
              <a:gd name="T80" fmla="*/ 41 w 72"/>
              <a:gd name="T81" fmla="*/ 62 h 65"/>
              <a:gd name="T82" fmla="*/ 44 w 72"/>
              <a:gd name="T83" fmla="*/ 65 h 65"/>
              <a:gd name="T84" fmla="*/ 12 w 72"/>
              <a:gd name="T85" fmla="*/ 47 h 65"/>
              <a:gd name="T86" fmla="*/ 9 w 72"/>
              <a:gd name="T87" fmla="*/ 50 h 65"/>
              <a:gd name="T88" fmla="*/ 6 w 72"/>
              <a:gd name="T89" fmla="*/ 47 h 65"/>
              <a:gd name="T90" fmla="*/ 9 w 72"/>
              <a:gd name="T91" fmla="*/ 43 h 65"/>
              <a:gd name="T92" fmla="*/ 16 w 72"/>
              <a:gd name="T93" fmla="*/ 43 h 65"/>
              <a:gd name="T94" fmla="*/ 12 w 72"/>
              <a:gd name="T95" fmla="*/ 47 h 65"/>
              <a:gd name="T96" fmla="*/ 9 w 72"/>
              <a:gd name="T97" fmla="*/ 4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 h="65">
                <a:moveTo>
                  <a:pt x="44" y="65"/>
                </a:moveTo>
                <a:lnTo>
                  <a:pt x="47" y="59"/>
                </a:lnTo>
                <a:lnTo>
                  <a:pt x="47" y="53"/>
                </a:lnTo>
                <a:lnTo>
                  <a:pt x="47" y="47"/>
                </a:lnTo>
                <a:lnTo>
                  <a:pt x="50" y="43"/>
                </a:lnTo>
                <a:lnTo>
                  <a:pt x="53" y="40"/>
                </a:lnTo>
                <a:lnTo>
                  <a:pt x="56" y="40"/>
                </a:lnTo>
                <a:lnTo>
                  <a:pt x="63" y="40"/>
                </a:lnTo>
                <a:lnTo>
                  <a:pt x="66" y="37"/>
                </a:lnTo>
                <a:lnTo>
                  <a:pt x="63" y="34"/>
                </a:lnTo>
                <a:lnTo>
                  <a:pt x="66" y="34"/>
                </a:lnTo>
                <a:lnTo>
                  <a:pt x="66" y="28"/>
                </a:lnTo>
                <a:lnTo>
                  <a:pt x="66" y="28"/>
                </a:lnTo>
                <a:lnTo>
                  <a:pt x="66" y="25"/>
                </a:lnTo>
                <a:lnTo>
                  <a:pt x="59" y="25"/>
                </a:lnTo>
                <a:lnTo>
                  <a:pt x="59" y="21"/>
                </a:lnTo>
                <a:lnTo>
                  <a:pt x="63" y="18"/>
                </a:lnTo>
                <a:lnTo>
                  <a:pt x="66" y="21"/>
                </a:lnTo>
                <a:lnTo>
                  <a:pt x="69" y="18"/>
                </a:lnTo>
                <a:lnTo>
                  <a:pt x="69" y="15"/>
                </a:lnTo>
                <a:lnTo>
                  <a:pt x="69" y="12"/>
                </a:lnTo>
                <a:lnTo>
                  <a:pt x="69" y="9"/>
                </a:lnTo>
                <a:lnTo>
                  <a:pt x="72" y="6"/>
                </a:lnTo>
                <a:lnTo>
                  <a:pt x="72" y="6"/>
                </a:lnTo>
                <a:lnTo>
                  <a:pt x="69" y="6"/>
                </a:lnTo>
                <a:lnTo>
                  <a:pt x="66" y="3"/>
                </a:lnTo>
                <a:lnTo>
                  <a:pt x="59" y="0"/>
                </a:lnTo>
                <a:lnTo>
                  <a:pt x="53" y="0"/>
                </a:lnTo>
                <a:lnTo>
                  <a:pt x="50" y="3"/>
                </a:lnTo>
                <a:lnTo>
                  <a:pt x="47" y="3"/>
                </a:lnTo>
                <a:lnTo>
                  <a:pt x="44" y="3"/>
                </a:lnTo>
                <a:lnTo>
                  <a:pt x="41" y="3"/>
                </a:lnTo>
                <a:lnTo>
                  <a:pt x="34" y="9"/>
                </a:lnTo>
                <a:lnTo>
                  <a:pt x="28" y="12"/>
                </a:lnTo>
                <a:lnTo>
                  <a:pt x="25" y="12"/>
                </a:lnTo>
                <a:lnTo>
                  <a:pt x="22" y="12"/>
                </a:lnTo>
                <a:lnTo>
                  <a:pt x="22" y="18"/>
                </a:lnTo>
                <a:lnTo>
                  <a:pt x="19" y="21"/>
                </a:lnTo>
                <a:lnTo>
                  <a:pt x="19" y="25"/>
                </a:lnTo>
                <a:lnTo>
                  <a:pt x="19" y="31"/>
                </a:lnTo>
                <a:lnTo>
                  <a:pt x="16" y="34"/>
                </a:lnTo>
                <a:lnTo>
                  <a:pt x="16" y="34"/>
                </a:lnTo>
                <a:lnTo>
                  <a:pt x="12" y="37"/>
                </a:lnTo>
                <a:lnTo>
                  <a:pt x="12" y="40"/>
                </a:lnTo>
                <a:lnTo>
                  <a:pt x="19" y="43"/>
                </a:lnTo>
                <a:lnTo>
                  <a:pt x="22" y="47"/>
                </a:lnTo>
                <a:lnTo>
                  <a:pt x="16" y="47"/>
                </a:lnTo>
                <a:lnTo>
                  <a:pt x="16" y="47"/>
                </a:lnTo>
                <a:lnTo>
                  <a:pt x="12" y="50"/>
                </a:lnTo>
                <a:lnTo>
                  <a:pt x="16" y="50"/>
                </a:lnTo>
                <a:lnTo>
                  <a:pt x="19" y="53"/>
                </a:lnTo>
                <a:lnTo>
                  <a:pt x="19" y="53"/>
                </a:lnTo>
                <a:lnTo>
                  <a:pt x="12" y="53"/>
                </a:lnTo>
                <a:lnTo>
                  <a:pt x="9" y="50"/>
                </a:lnTo>
                <a:lnTo>
                  <a:pt x="6" y="50"/>
                </a:lnTo>
                <a:lnTo>
                  <a:pt x="3" y="50"/>
                </a:lnTo>
                <a:lnTo>
                  <a:pt x="6" y="53"/>
                </a:lnTo>
                <a:lnTo>
                  <a:pt x="9" y="53"/>
                </a:lnTo>
                <a:lnTo>
                  <a:pt x="12" y="56"/>
                </a:lnTo>
                <a:lnTo>
                  <a:pt x="12" y="53"/>
                </a:lnTo>
                <a:lnTo>
                  <a:pt x="16" y="56"/>
                </a:lnTo>
                <a:lnTo>
                  <a:pt x="12" y="56"/>
                </a:lnTo>
                <a:lnTo>
                  <a:pt x="9" y="56"/>
                </a:lnTo>
                <a:lnTo>
                  <a:pt x="6" y="53"/>
                </a:lnTo>
                <a:lnTo>
                  <a:pt x="0" y="53"/>
                </a:lnTo>
                <a:lnTo>
                  <a:pt x="0" y="53"/>
                </a:lnTo>
                <a:lnTo>
                  <a:pt x="3" y="56"/>
                </a:lnTo>
                <a:lnTo>
                  <a:pt x="6" y="59"/>
                </a:lnTo>
                <a:lnTo>
                  <a:pt x="9" y="59"/>
                </a:lnTo>
                <a:lnTo>
                  <a:pt x="9" y="59"/>
                </a:lnTo>
                <a:lnTo>
                  <a:pt x="12" y="59"/>
                </a:lnTo>
                <a:lnTo>
                  <a:pt x="16" y="56"/>
                </a:lnTo>
                <a:lnTo>
                  <a:pt x="16" y="56"/>
                </a:lnTo>
                <a:lnTo>
                  <a:pt x="19" y="56"/>
                </a:lnTo>
                <a:lnTo>
                  <a:pt x="22" y="53"/>
                </a:lnTo>
                <a:lnTo>
                  <a:pt x="28" y="53"/>
                </a:lnTo>
                <a:lnTo>
                  <a:pt x="31" y="56"/>
                </a:lnTo>
                <a:lnTo>
                  <a:pt x="34" y="56"/>
                </a:lnTo>
                <a:lnTo>
                  <a:pt x="34" y="59"/>
                </a:lnTo>
                <a:lnTo>
                  <a:pt x="41" y="56"/>
                </a:lnTo>
                <a:lnTo>
                  <a:pt x="41" y="59"/>
                </a:lnTo>
                <a:lnTo>
                  <a:pt x="41" y="62"/>
                </a:lnTo>
                <a:lnTo>
                  <a:pt x="44" y="65"/>
                </a:lnTo>
                <a:lnTo>
                  <a:pt x="44" y="65"/>
                </a:lnTo>
                <a:close/>
                <a:moveTo>
                  <a:pt x="6" y="47"/>
                </a:moveTo>
                <a:lnTo>
                  <a:pt x="12" y="47"/>
                </a:lnTo>
                <a:lnTo>
                  <a:pt x="12" y="47"/>
                </a:lnTo>
                <a:lnTo>
                  <a:pt x="9" y="50"/>
                </a:lnTo>
                <a:lnTo>
                  <a:pt x="9" y="47"/>
                </a:lnTo>
                <a:lnTo>
                  <a:pt x="6" y="47"/>
                </a:lnTo>
                <a:lnTo>
                  <a:pt x="6" y="47"/>
                </a:lnTo>
                <a:close/>
                <a:moveTo>
                  <a:pt x="9" y="43"/>
                </a:moveTo>
                <a:lnTo>
                  <a:pt x="12" y="43"/>
                </a:lnTo>
                <a:lnTo>
                  <a:pt x="16" y="43"/>
                </a:lnTo>
                <a:lnTo>
                  <a:pt x="16" y="47"/>
                </a:lnTo>
                <a:lnTo>
                  <a:pt x="12" y="47"/>
                </a:lnTo>
                <a:lnTo>
                  <a:pt x="12" y="43"/>
                </a:lnTo>
                <a:lnTo>
                  <a:pt x="9" y="43"/>
                </a:lnTo>
                <a:lnTo>
                  <a:pt x="9" y="43"/>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2" name="Freeform 70">
            <a:extLst>
              <a:ext uri="{FF2B5EF4-FFF2-40B4-BE49-F238E27FC236}">
                <a16:creationId xmlns:a16="http://schemas.microsoft.com/office/drawing/2014/main" id="{DAC5685F-802A-EC37-2518-BD6487F9D724}"/>
              </a:ext>
            </a:extLst>
          </p:cNvPr>
          <p:cNvSpPr>
            <a:spLocks/>
          </p:cNvSpPr>
          <p:nvPr userDrawn="1"/>
        </p:nvSpPr>
        <p:spPr bwMode="auto">
          <a:xfrm>
            <a:off x="13308732" y="5841285"/>
            <a:ext cx="177788" cy="149226"/>
          </a:xfrm>
          <a:custGeom>
            <a:avLst/>
            <a:gdLst>
              <a:gd name="T0" fmla="*/ 53 w 56"/>
              <a:gd name="T1" fmla="*/ 31 h 47"/>
              <a:gd name="T2" fmla="*/ 56 w 56"/>
              <a:gd name="T3" fmla="*/ 25 h 47"/>
              <a:gd name="T4" fmla="*/ 53 w 56"/>
              <a:gd name="T5" fmla="*/ 22 h 47"/>
              <a:gd name="T6" fmla="*/ 53 w 56"/>
              <a:gd name="T7" fmla="*/ 19 h 47"/>
              <a:gd name="T8" fmla="*/ 50 w 56"/>
              <a:gd name="T9" fmla="*/ 15 h 47"/>
              <a:gd name="T10" fmla="*/ 53 w 56"/>
              <a:gd name="T11" fmla="*/ 12 h 47"/>
              <a:gd name="T12" fmla="*/ 47 w 56"/>
              <a:gd name="T13" fmla="*/ 9 h 47"/>
              <a:gd name="T14" fmla="*/ 47 w 56"/>
              <a:gd name="T15" fmla="*/ 6 h 47"/>
              <a:gd name="T16" fmla="*/ 47 w 56"/>
              <a:gd name="T17" fmla="*/ 3 h 47"/>
              <a:gd name="T18" fmla="*/ 40 w 56"/>
              <a:gd name="T19" fmla="*/ 6 h 47"/>
              <a:gd name="T20" fmla="*/ 40 w 56"/>
              <a:gd name="T21" fmla="*/ 3 h 47"/>
              <a:gd name="T22" fmla="*/ 37 w 56"/>
              <a:gd name="T23" fmla="*/ 3 h 47"/>
              <a:gd name="T24" fmla="*/ 34 w 56"/>
              <a:gd name="T25" fmla="*/ 0 h 47"/>
              <a:gd name="T26" fmla="*/ 28 w 56"/>
              <a:gd name="T27" fmla="*/ 0 h 47"/>
              <a:gd name="T28" fmla="*/ 25 w 56"/>
              <a:gd name="T29" fmla="*/ 3 h 47"/>
              <a:gd name="T30" fmla="*/ 22 w 56"/>
              <a:gd name="T31" fmla="*/ 3 h 47"/>
              <a:gd name="T32" fmla="*/ 22 w 56"/>
              <a:gd name="T33" fmla="*/ 3 h 47"/>
              <a:gd name="T34" fmla="*/ 18 w 56"/>
              <a:gd name="T35" fmla="*/ 6 h 47"/>
              <a:gd name="T36" fmla="*/ 15 w 56"/>
              <a:gd name="T37" fmla="*/ 6 h 47"/>
              <a:gd name="T38" fmla="*/ 15 w 56"/>
              <a:gd name="T39" fmla="*/ 6 h 47"/>
              <a:gd name="T40" fmla="*/ 12 w 56"/>
              <a:gd name="T41" fmla="*/ 6 h 47"/>
              <a:gd name="T42" fmla="*/ 9 w 56"/>
              <a:gd name="T43" fmla="*/ 3 h 47"/>
              <a:gd name="T44" fmla="*/ 6 w 56"/>
              <a:gd name="T45" fmla="*/ 0 h 47"/>
              <a:gd name="T46" fmla="*/ 3 w 56"/>
              <a:gd name="T47" fmla="*/ 3 h 47"/>
              <a:gd name="T48" fmla="*/ 0 w 56"/>
              <a:gd name="T49" fmla="*/ 9 h 47"/>
              <a:gd name="T50" fmla="*/ 3 w 56"/>
              <a:gd name="T51" fmla="*/ 9 h 47"/>
              <a:gd name="T52" fmla="*/ 3 w 56"/>
              <a:gd name="T53" fmla="*/ 19 h 47"/>
              <a:gd name="T54" fmla="*/ 9 w 56"/>
              <a:gd name="T55" fmla="*/ 19 h 47"/>
              <a:gd name="T56" fmla="*/ 9 w 56"/>
              <a:gd name="T57" fmla="*/ 22 h 47"/>
              <a:gd name="T58" fmla="*/ 15 w 56"/>
              <a:gd name="T59" fmla="*/ 28 h 47"/>
              <a:gd name="T60" fmla="*/ 15 w 56"/>
              <a:gd name="T61" fmla="*/ 28 h 47"/>
              <a:gd name="T62" fmla="*/ 18 w 56"/>
              <a:gd name="T63" fmla="*/ 28 h 47"/>
              <a:gd name="T64" fmla="*/ 22 w 56"/>
              <a:gd name="T65" fmla="*/ 31 h 47"/>
              <a:gd name="T66" fmla="*/ 22 w 56"/>
              <a:gd name="T67" fmla="*/ 34 h 47"/>
              <a:gd name="T68" fmla="*/ 25 w 56"/>
              <a:gd name="T69" fmla="*/ 37 h 47"/>
              <a:gd name="T70" fmla="*/ 28 w 56"/>
              <a:gd name="T71" fmla="*/ 37 h 47"/>
              <a:gd name="T72" fmla="*/ 31 w 56"/>
              <a:gd name="T73" fmla="*/ 37 h 47"/>
              <a:gd name="T74" fmla="*/ 31 w 56"/>
              <a:gd name="T75" fmla="*/ 37 h 47"/>
              <a:gd name="T76" fmla="*/ 34 w 56"/>
              <a:gd name="T77" fmla="*/ 37 h 47"/>
              <a:gd name="T78" fmla="*/ 40 w 56"/>
              <a:gd name="T79" fmla="*/ 44 h 47"/>
              <a:gd name="T80" fmla="*/ 43 w 56"/>
              <a:gd name="T81" fmla="*/ 44 h 47"/>
              <a:gd name="T82" fmla="*/ 47 w 56"/>
              <a:gd name="T83" fmla="*/ 47 h 47"/>
              <a:gd name="T84" fmla="*/ 50 w 56"/>
              <a:gd name="T85" fmla="*/ 47 h 47"/>
              <a:gd name="T86" fmla="*/ 53 w 56"/>
              <a:gd name="T87" fmla="*/ 47 h 47"/>
              <a:gd name="T88" fmla="*/ 53 w 56"/>
              <a:gd name="T89" fmla="*/ 44 h 47"/>
              <a:gd name="T90" fmla="*/ 50 w 56"/>
              <a:gd name="T91" fmla="*/ 44 h 47"/>
              <a:gd name="T92" fmla="*/ 50 w 56"/>
              <a:gd name="T93" fmla="*/ 40 h 47"/>
              <a:gd name="T94" fmla="*/ 50 w 56"/>
              <a:gd name="T95" fmla="*/ 37 h 47"/>
              <a:gd name="T96" fmla="*/ 50 w 56"/>
              <a:gd name="T97" fmla="*/ 34 h 47"/>
              <a:gd name="T98" fmla="*/ 53 w 56"/>
              <a:gd name="T99" fmla="*/ 31 h 47"/>
              <a:gd name="T100" fmla="*/ 53 w 56"/>
              <a:gd name="T101" fmla="*/ 3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 h="47">
                <a:moveTo>
                  <a:pt x="53" y="31"/>
                </a:moveTo>
                <a:lnTo>
                  <a:pt x="56" y="25"/>
                </a:lnTo>
                <a:lnTo>
                  <a:pt x="53" y="22"/>
                </a:lnTo>
                <a:lnTo>
                  <a:pt x="53" y="19"/>
                </a:lnTo>
                <a:lnTo>
                  <a:pt x="50" y="15"/>
                </a:lnTo>
                <a:lnTo>
                  <a:pt x="53" y="12"/>
                </a:lnTo>
                <a:lnTo>
                  <a:pt x="47" y="9"/>
                </a:lnTo>
                <a:lnTo>
                  <a:pt x="47" y="6"/>
                </a:lnTo>
                <a:lnTo>
                  <a:pt x="47" y="3"/>
                </a:lnTo>
                <a:lnTo>
                  <a:pt x="40" y="6"/>
                </a:lnTo>
                <a:lnTo>
                  <a:pt x="40" y="3"/>
                </a:lnTo>
                <a:lnTo>
                  <a:pt x="37" y="3"/>
                </a:lnTo>
                <a:lnTo>
                  <a:pt x="34" y="0"/>
                </a:lnTo>
                <a:lnTo>
                  <a:pt x="28" y="0"/>
                </a:lnTo>
                <a:lnTo>
                  <a:pt x="25" y="3"/>
                </a:lnTo>
                <a:lnTo>
                  <a:pt x="22" y="3"/>
                </a:lnTo>
                <a:lnTo>
                  <a:pt x="22" y="3"/>
                </a:lnTo>
                <a:lnTo>
                  <a:pt x="18" y="6"/>
                </a:lnTo>
                <a:lnTo>
                  <a:pt x="15" y="6"/>
                </a:lnTo>
                <a:lnTo>
                  <a:pt x="15" y="6"/>
                </a:lnTo>
                <a:lnTo>
                  <a:pt x="12" y="6"/>
                </a:lnTo>
                <a:lnTo>
                  <a:pt x="9" y="3"/>
                </a:lnTo>
                <a:lnTo>
                  <a:pt x="6" y="0"/>
                </a:lnTo>
                <a:lnTo>
                  <a:pt x="3" y="3"/>
                </a:lnTo>
                <a:lnTo>
                  <a:pt x="0" y="9"/>
                </a:lnTo>
                <a:lnTo>
                  <a:pt x="3" y="9"/>
                </a:lnTo>
                <a:lnTo>
                  <a:pt x="3" y="19"/>
                </a:lnTo>
                <a:lnTo>
                  <a:pt x="9" y="19"/>
                </a:lnTo>
                <a:lnTo>
                  <a:pt x="9" y="22"/>
                </a:lnTo>
                <a:lnTo>
                  <a:pt x="15" y="28"/>
                </a:lnTo>
                <a:lnTo>
                  <a:pt x="15" y="28"/>
                </a:lnTo>
                <a:lnTo>
                  <a:pt x="18" y="28"/>
                </a:lnTo>
                <a:lnTo>
                  <a:pt x="22" y="31"/>
                </a:lnTo>
                <a:lnTo>
                  <a:pt x="22" y="34"/>
                </a:lnTo>
                <a:lnTo>
                  <a:pt x="25" y="37"/>
                </a:lnTo>
                <a:lnTo>
                  <a:pt x="28" y="37"/>
                </a:lnTo>
                <a:lnTo>
                  <a:pt x="31" y="37"/>
                </a:lnTo>
                <a:lnTo>
                  <a:pt x="31" y="37"/>
                </a:lnTo>
                <a:lnTo>
                  <a:pt x="34" y="37"/>
                </a:lnTo>
                <a:lnTo>
                  <a:pt x="40" y="44"/>
                </a:lnTo>
                <a:lnTo>
                  <a:pt x="43" y="44"/>
                </a:lnTo>
                <a:lnTo>
                  <a:pt x="47" y="47"/>
                </a:lnTo>
                <a:lnTo>
                  <a:pt x="50" y="47"/>
                </a:lnTo>
                <a:lnTo>
                  <a:pt x="53" y="47"/>
                </a:lnTo>
                <a:lnTo>
                  <a:pt x="53" y="44"/>
                </a:lnTo>
                <a:lnTo>
                  <a:pt x="50" y="44"/>
                </a:lnTo>
                <a:lnTo>
                  <a:pt x="50" y="40"/>
                </a:lnTo>
                <a:lnTo>
                  <a:pt x="50" y="37"/>
                </a:lnTo>
                <a:lnTo>
                  <a:pt x="50" y="34"/>
                </a:lnTo>
                <a:lnTo>
                  <a:pt x="53" y="31"/>
                </a:lnTo>
                <a:lnTo>
                  <a:pt x="53" y="31"/>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3" name="Freeform 71">
            <a:extLst>
              <a:ext uri="{FF2B5EF4-FFF2-40B4-BE49-F238E27FC236}">
                <a16:creationId xmlns:a16="http://schemas.microsoft.com/office/drawing/2014/main" id="{A4177FDA-15C5-3B80-EC95-D1F92566B90F}"/>
              </a:ext>
            </a:extLst>
          </p:cNvPr>
          <p:cNvSpPr>
            <a:spLocks/>
          </p:cNvSpPr>
          <p:nvPr userDrawn="1"/>
        </p:nvSpPr>
        <p:spPr bwMode="auto">
          <a:xfrm>
            <a:off x="13467470" y="5939711"/>
            <a:ext cx="38100" cy="60326"/>
          </a:xfrm>
          <a:custGeom>
            <a:avLst/>
            <a:gdLst>
              <a:gd name="T0" fmla="*/ 3 w 12"/>
              <a:gd name="T1" fmla="*/ 16 h 19"/>
              <a:gd name="T2" fmla="*/ 3 w 12"/>
              <a:gd name="T3" fmla="*/ 13 h 19"/>
              <a:gd name="T4" fmla="*/ 0 w 12"/>
              <a:gd name="T5" fmla="*/ 13 h 19"/>
              <a:gd name="T6" fmla="*/ 0 w 12"/>
              <a:gd name="T7" fmla="*/ 9 h 19"/>
              <a:gd name="T8" fmla="*/ 0 w 12"/>
              <a:gd name="T9" fmla="*/ 6 h 19"/>
              <a:gd name="T10" fmla="*/ 0 w 12"/>
              <a:gd name="T11" fmla="*/ 3 h 19"/>
              <a:gd name="T12" fmla="*/ 3 w 12"/>
              <a:gd name="T13" fmla="*/ 0 h 19"/>
              <a:gd name="T14" fmla="*/ 6 w 12"/>
              <a:gd name="T15" fmla="*/ 0 h 19"/>
              <a:gd name="T16" fmla="*/ 9 w 12"/>
              <a:gd name="T17" fmla="*/ 6 h 19"/>
              <a:gd name="T18" fmla="*/ 9 w 12"/>
              <a:gd name="T19" fmla="*/ 9 h 19"/>
              <a:gd name="T20" fmla="*/ 12 w 12"/>
              <a:gd name="T21" fmla="*/ 13 h 19"/>
              <a:gd name="T22" fmla="*/ 12 w 12"/>
              <a:gd name="T23" fmla="*/ 19 h 19"/>
              <a:gd name="T24" fmla="*/ 9 w 12"/>
              <a:gd name="T25" fmla="*/ 19 h 19"/>
              <a:gd name="T26" fmla="*/ 3 w 12"/>
              <a:gd name="T27" fmla="*/ 19 h 19"/>
              <a:gd name="T28" fmla="*/ 3 w 12"/>
              <a:gd name="T29" fmla="*/ 16 h 19"/>
              <a:gd name="T30" fmla="*/ 3 w 12"/>
              <a:gd name="T31"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9">
                <a:moveTo>
                  <a:pt x="3" y="16"/>
                </a:moveTo>
                <a:lnTo>
                  <a:pt x="3" y="13"/>
                </a:lnTo>
                <a:lnTo>
                  <a:pt x="0" y="13"/>
                </a:lnTo>
                <a:lnTo>
                  <a:pt x="0" y="9"/>
                </a:lnTo>
                <a:lnTo>
                  <a:pt x="0" y="6"/>
                </a:lnTo>
                <a:lnTo>
                  <a:pt x="0" y="3"/>
                </a:lnTo>
                <a:lnTo>
                  <a:pt x="3" y="0"/>
                </a:lnTo>
                <a:lnTo>
                  <a:pt x="6" y="0"/>
                </a:lnTo>
                <a:lnTo>
                  <a:pt x="9" y="6"/>
                </a:lnTo>
                <a:lnTo>
                  <a:pt x="9" y="9"/>
                </a:lnTo>
                <a:lnTo>
                  <a:pt x="12" y="13"/>
                </a:lnTo>
                <a:lnTo>
                  <a:pt x="12" y="19"/>
                </a:lnTo>
                <a:lnTo>
                  <a:pt x="9" y="19"/>
                </a:lnTo>
                <a:lnTo>
                  <a:pt x="3" y="19"/>
                </a:lnTo>
                <a:lnTo>
                  <a:pt x="3" y="16"/>
                </a:lnTo>
                <a:lnTo>
                  <a:pt x="3" y="16"/>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4" name="Freeform 72">
            <a:extLst>
              <a:ext uri="{FF2B5EF4-FFF2-40B4-BE49-F238E27FC236}">
                <a16:creationId xmlns:a16="http://schemas.microsoft.com/office/drawing/2014/main" id="{F79750A8-9725-333F-BE2E-01353D19D9DC}"/>
              </a:ext>
            </a:extLst>
          </p:cNvPr>
          <p:cNvSpPr>
            <a:spLocks noEditPoints="1"/>
          </p:cNvSpPr>
          <p:nvPr userDrawn="1"/>
        </p:nvSpPr>
        <p:spPr bwMode="auto">
          <a:xfrm>
            <a:off x="12772187" y="4837985"/>
            <a:ext cx="38100" cy="98426"/>
          </a:xfrm>
          <a:custGeom>
            <a:avLst/>
            <a:gdLst>
              <a:gd name="T0" fmla="*/ 2 w 4"/>
              <a:gd name="T1" fmla="*/ 8 h 10"/>
              <a:gd name="T2" fmla="*/ 3 w 4"/>
              <a:gd name="T3" fmla="*/ 10 h 10"/>
              <a:gd name="T4" fmla="*/ 3 w 4"/>
              <a:gd name="T5" fmla="*/ 9 h 10"/>
              <a:gd name="T6" fmla="*/ 3 w 4"/>
              <a:gd name="T7" fmla="*/ 8 h 10"/>
              <a:gd name="T8" fmla="*/ 2 w 4"/>
              <a:gd name="T9" fmla="*/ 8 h 10"/>
              <a:gd name="T10" fmla="*/ 3 w 4"/>
              <a:gd name="T11" fmla="*/ 5 h 10"/>
              <a:gd name="T12" fmla="*/ 2 w 4"/>
              <a:gd name="T13" fmla="*/ 5 h 10"/>
              <a:gd name="T14" fmla="*/ 3 w 4"/>
              <a:gd name="T15" fmla="*/ 6 h 10"/>
              <a:gd name="T16" fmla="*/ 3 w 4"/>
              <a:gd name="T17" fmla="*/ 5 h 10"/>
              <a:gd name="T18" fmla="*/ 3 w 4"/>
              <a:gd name="T19" fmla="*/ 5 h 10"/>
              <a:gd name="T20" fmla="*/ 0 w 4"/>
              <a:gd name="T21" fmla="*/ 1 h 10"/>
              <a:gd name="T22" fmla="*/ 0 w 4"/>
              <a:gd name="T23" fmla="*/ 2 h 10"/>
              <a:gd name="T24" fmla="*/ 1 w 4"/>
              <a:gd name="T25" fmla="*/ 3 h 10"/>
              <a:gd name="T26" fmla="*/ 0 w 4"/>
              <a:gd name="T27" fmla="*/ 1 h 10"/>
              <a:gd name="T28" fmla="*/ 3 w 4"/>
              <a:gd name="T29" fmla="*/ 0 h 10"/>
              <a:gd name="T30" fmla="*/ 4 w 4"/>
              <a:gd name="T31" fmla="*/ 1 h 10"/>
              <a:gd name="T32" fmla="*/ 4 w 4"/>
              <a:gd name="T33" fmla="*/ 0 h 10"/>
              <a:gd name="T34" fmla="*/ 3 w 4"/>
              <a:gd name="T35" fmla="*/ 0 h 10"/>
              <a:gd name="T36" fmla="*/ 1 w 4"/>
              <a:gd name="T37" fmla="*/ 0 h 10"/>
              <a:gd name="T38" fmla="*/ 2 w 4"/>
              <a:gd name="T39" fmla="*/ 0 h 10"/>
              <a:gd name="T40" fmla="*/ 3 w 4"/>
              <a:gd name="T41" fmla="*/ 1 h 10"/>
              <a:gd name="T42" fmla="*/ 3 w 4"/>
              <a:gd name="T43" fmla="*/ 2 h 10"/>
              <a:gd name="T44" fmla="*/ 2 w 4"/>
              <a:gd name="T45" fmla="*/ 1 h 10"/>
              <a:gd name="T46" fmla="*/ 1 w 4"/>
              <a:gd name="T47" fmla="*/ 0 h 10"/>
              <a:gd name="T48" fmla="*/ 1 w 4"/>
              <a:gd name="T49" fmla="*/ 0 h 10"/>
              <a:gd name="T50" fmla="*/ 3 w 4"/>
              <a:gd name="T51" fmla="*/ 3 h 10"/>
              <a:gd name="T52" fmla="*/ 4 w 4"/>
              <a:gd name="T53" fmla="*/ 4 h 10"/>
              <a:gd name="T54" fmla="*/ 3 w 4"/>
              <a:gd name="T55" fmla="*/ 4 h 10"/>
              <a:gd name="T56" fmla="*/ 1 w 4"/>
              <a:gd name="T57" fmla="*/ 2 h 10"/>
              <a:gd name="T58" fmla="*/ 1 w 4"/>
              <a:gd name="T59" fmla="*/ 1 h 10"/>
              <a:gd name="T60" fmla="*/ 1 w 4"/>
              <a:gd name="T6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 h="10">
                <a:moveTo>
                  <a:pt x="2" y="8"/>
                </a:moveTo>
                <a:cubicBezTo>
                  <a:pt x="3" y="10"/>
                  <a:pt x="3" y="10"/>
                  <a:pt x="3" y="10"/>
                </a:cubicBezTo>
                <a:cubicBezTo>
                  <a:pt x="3" y="9"/>
                  <a:pt x="3" y="9"/>
                  <a:pt x="3" y="9"/>
                </a:cubicBezTo>
                <a:cubicBezTo>
                  <a:pt x="3" y="8"/>
                  <a:pt x="3" y="8"/>
                  <a:pt x="3" y="8"/>
                </a:cubicBezTo>
                <a:cubicBezTo>
                  <a:pt x="2" y="8"/>
                  <a:pt x="2" y="8"/>
                  <a:pt x="2" y="8"/>
                </a:cubicBezTo>
                <a:close/>
                <a:moveTo>
                  <a:pt x="3" y="5"/>
                </a:moveTo>
                <a:cubicBezTo>
                  <a:pt x="2" y="5"/>
                  <a:pt x="2" y="5"/>
                  <a:pt x="2" y="5"/>
                </a:cubicBezTo>
                <a:cubicBezTo>
                  <a:pt x="3" y="6"/>
                  <a:pt x="3" y="6"/>
                  <a:pt x="3" y="6"/>
                </a:cubicBezTo>
                <a:cubicBezTo>
                  <a:pt x="3" y="5"/>
                  <a:pt x="3" y="5"/>
                  <a:pt x="3" y="5"/>
                </a:cubicBezTo>
                <a:cubicBezTo>
                  <a:pt x="3" y="5"/>
                  <a:pt x="3" y="5"/>
                  <a:pt x="3" y="5"/>
                </a:cubicBezTo>
                <a:close/>
                <a:moveTo>
                  <a:pt x="0" y="1"/>
                </a:moveTo>
                <a:cubicBezTo>
                  <a:pt x="0" y="2"/>
                  <a:pt x="0" y="2"/>
                  <a:pt x="0" y="2"/>
                </a:cubicBezTo>
                <a:cubicBezTo>
                  <a:pt x="1" y="3"/>
                  <a:pt x="1" y="3"/>
                  <a:pt x="1" y="3"/>
                </a:cubicBezTo>
                <a:cubicBezTo>
                  <a:pt x="0" y="1"/>
                  <a:pt x="0" y="1"/>
                  <a:pt x="0" y="1"/>
                </a:cubicBezTo>
                <a:close/>
                <a:moveTo>
                  <a:pt x="3" y="0"/>
                </a:moveTo>
                <a:cubicBezTo>
                  <a:pt x="4" y="1"/>
                  <a:pt x="4" y="1"/>
                  <a:pt x="4" y="1"/>
                </a:cubicBezTo>
                <a:cubicBezTo>
                  <a:pt x="4" y="0"/>
                  <a:pt x="4" y="0"/>
                  <a:pt x="4" y="0"/>
                </a:cubicBezTo>
                <a:cubicBezTo>
                  <a:pt x="3" y="0"/>
                  <a:pt x="3" y="0"/>
                  <a:pt x="3" y="0"/>
                </a:cubicBezTo>
                <a:close/>
                <a:moveTo>
                  <a:pt x="1" y="0"/>
                </a:moveTo>
                <a:cubicBezTo>
                  <a:pt x="1" y="0"/>
                  <a:pt x="2" y="0"/>
                  <a:pt x="2" y="0"/>
                </a:cubicBezTo>
                <a:cubicBezTo>
                  <a:pt x="3" y="1"/>
                  <a:pt x="3" y="1"/>
                  <a:pt x="3" y="1"/>
                </a:cubicBezTo>
                <a:cubicBezTo>
                  <a:pt x="3" y="2"/>
                  <a:pt x="3" y="2"/>
                  <a:pt x="3" y="2"/>
                </a:cubicBezTo>
                <a:cubicBezTo>
                  <a:pt x="2" y="1"/>
                  <a:pt x="2" y="1"/>
                  <a:pt x="2" y="1"/>
                </a:cubicBezTo>
                <a:cubicBezTo>
                  <a:pt x="1" y="0"/>
                  <a:pt x="1" y="0"/>
                  <a:pt x="1" y="0"/>
                </a:cubicBezTo>
                <a:close/>
                <a:moveTo>
                  <a:pt x="1" y="0"/>
                </a:moveTo>
                <a:cubicBezTo>
                  <a:pt x="3" y="3"/>
                  <a:pt x="3" y="3"/>
                  <a:pt x="3" y="3"/>
                </a:cubicBezTo>
                <a:cubicBezTo>
                  <a:pt x="4" y="4"/>
                  <a:pt x="4" y="4"/>
                  <a:pt x="4" y="4"/>
                </a:cubicBezTo>
                <a:cubicBezTo>
                  <a:pt x="3" y="4"/>
                  <a:pt x="3" y="4"/>
                  <a:pt x="3" y="4"/>
                </a:cubicBezTo>
                <a:cubicBezTo>
                  <a:pt x="1" y="2"/>
                  <a:pt x="1" y="2"/>
                  <a:pt x="1" y="2"/>
                </a:cubicBezTo>
                <a:cubicBezTo>
                  <a:pt x="1" y="1"/>
                  <a:pt x="1" y="1"/>
                  <a:pt x="1" y="1"/>
                </a:cubicBezTo>
                <a:lnTo>
                  <a:pt x="1"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5" name="Freeform 73">
            <a:extLst>
              <a:ext uri="{FF2B5EF4-FFF2-40B4-BE49-F238E27FC236}">
                <a16:creationId xmlns:a16="http://schemas.microsoft.com/office/drawing/2014/main" id="{2BA1BC17-A3E3-8031-DDB4-979C88C0B844}"/>
              </a:ext>
            </a:extLst>
          </p:cNvPr>
          <p:cNvSpPr>
            <a:spLocks/>
          </p:cNvSpPr>
          <p:nvPr userDrawn="1"/>
        </p:nvSpPr>
        <p:spPr bwMode="auto">
          <a:xfrm>
            <a:off x="12572183" y="5492035"/>
            <a:ext cx="250810" cy="339726"/>
          </a:xfrm>
          <a:custGeom>
            <a:avLst/>
            <a:gdLst>
              <a:gd name="T0" fmla="*/ 35 w 79"/>
              <a:gd name="T1" fmla="*/ 104 h 107"/>
              <a:gd name="T2" fmla="*/ 41 w 79"/>
              <a:gd name="T3" fmla="*/ 97 h 107"/>
              <a:gd name="T4" fmla="*/ 47 w 79"/>
              <a:gd name="T5" fmla="*/ 94 h 107"/>
              <a:gd name="T6" fmla="*/ 60 w 79"/>
              <a:gd name="T7" fmla="*/ 91 h 107"/>
              <a:gd name="T8" fmla="*/ 66 w 79"/>
              <a:gd name="T9" fmla="*/ 88 h 107"/>
              <a:gd name="T10" fmla="*/ 69 w 79"/>
              <a:gd name="T11" fmla="*/ 85 h 107"/>
              <a:gd name="T12" fmla="*/ 75 w 79"/>
              <a:gd name="T13" fmla="*/ 75 h 107"/>
              <a:gd name="T14" fmla="*/ 79 w 79"/>
              <a:gd name="T15" fmla="*/ 60 h 107"/>
              <a:gd name="T16" fmla="*/ 79 w 79"/>
              <a:gd name="T17" fmla="*/ 53 h 107"/>
              <a:gd name="T18" fmla="*/ 72 w 79"/>
              <a:gd name="T19" fmla="*/ 41 h 107"/>
              <a:gd name="T20" fmla="*/ 72 w 79"/>
              <a:gd name="T21" fmla="*/ 38 h 107"/>
              <a:gd name="T22" fmla="*/ 60 w 79"/>
              <a:gd name="T23" fmla="*/ 25 h 107"/>
              <a:gd name="T24" fmla="*/ 54 w 79"/>
              <a:gd name="T25" fmla="*/ 35 h 107"/>
              <a:gd name="T26" fmla="*/ 54 w 79"/>
              <a:gd name="T27" fmla="*/ 16 h 107"/>
              <a:gd name="T28" fmla="*/ 60 w 79"/>
              <a:gd name="T29" fmla="*/ 10 h 107"/>
              <a:gd name="T30" fmla="*/ 66 w 79"/>
              <a:gd name="T31" fmla="*/ 7 h 107"/>
              <a:gd name="T32" fmla="*/ 60 w 79"/>
              <a:gd name="T33" fmla="*/ 3 h 107"/>
              <a:gd name="T34" fmla="*/ 54 w 79"/>
              <a:gd name="T35" fmla="*/ 13 h 107"/>
              <a:gd name="T36" fmla="*/ 54 w 79"/>
              <a:gd name="T37" fmla="*/ 3 h 107"/>
              <a:gd name="T38" fmla="*/ 50 w 79"/>
              <a:gd name="T39" fmla="*/ 7 h 107"/>
              <a:gd name="T40" fmla="*/ 44 w 79"/>
              <a:gd name="T41" fmla="*/ 10 h 107"/>
              <a:gd name="T42" fmla="*/ 44 w 79"/>
              <a:gd name="T43" fmla="*/ 13 h 107"/>
              <a:gd name="T44" fmla="*/ 41 w 79"/>
              <a:gd name="T45" fmla="*/ 16 h 107"/>
              <a:gd name="T46" fmla="*/ 41 w 79"/>
              <a:gd name="T47" fmla="*/ 22 h 107"/>
              <a:gd name="T48" fmla="*/ 47 w 79"/>
              <a:gd name="T49" fmla="*/ 22 h 107"/>
              <a:gd name="T50" fmla="*/ 38 w 79"/>
              <a:gd name="T51" fmla="*/ 28 h 107"/>
              <a:gd name="T52" fmla="*/ 29 w 79"/>
              <a:gd name="T53" fmla="*/ 32 h 107"/>
              <a:gd name="T54" fmla="*/ 16 w 79"/>
              <a:gd name="T55" fmla="*/ 28 h 107"/>
              <a:gd name="T56" fmla="*/ 13 w 79"/>
              <a:gd name="T57" fmla="*/ 32 h 107"/>
              <a:gd name="T58" fmla="*/ 16 w 79"/>
              <a:gd name="T59" fmla="*/ 38 h 107"/>
              <a:gd name="T60" fmla="*/ 10 w 79"/>
              <a:gd name="T61" fmla="*/ 35 h 107"/>
              <a:gd name="T62" fmla="*/ 19 w 79"/>
              <a:gd name="T63" fmla="*/ 41 h 107"/>
              <a:gd name="T64" fmla="*/ 16 w 79"/>
              <a:gd name="T65" fmla="*/ 47 h 107"/>
              <a:gd name="T66" fmla="*/ 10 w 79"/>
              <a:gd name="T67" fmla="*/ 50 h 107"/>
              <a:gd name="T68" fmla="*/ 13 w 79"/>
              <a:gd name="T69" fmla="*/ 53 h 107"/>
              <a:gd name="T70" fmla="*/ 29 w 79"/>
              <a:gd name="T71" fmla="*/ 57 h 107"/>
              <a:gd name="T72" fmla="*/ 19 w 79"/>
              <a:gd name="T73" fmla="*/ 66 h 107"/>
              <a:gd name="T74" fmla="*/ 10 w 79"/>
              <a:gd name="T75" fmla="*/ 75 h 107"/>
              <a:gd name="T76" fmla="*/ 19 w 79"/>
              <a:gd name="T77" fmla="*/ 75 h 107"/>
              <a:gd name="T78" fmla="*/ 29 w 79"/>
              <a:gd name="T79" fmla="*/ 72 h 107"/>
              <a:gd name="T80" fmla="*/ 16 w 79"/>
              <a:gd name="T81" fmla="*/ 75 h 107"/>
              <a:gd name="T82" fmla="*/ 13 w 79"/>
              <a:gd name="T83" fmla="*/ 82 h 107"/>
              <a:gd name="T84" fmla="*/ 10 w 79"/>
              <a:gd name="T85" fmla="*/ 85 h 107"/>
              <a:gd name="T86" fmla="*/ 7 w 79"/>
              <a:gd name="T87" fmla="*/ 82 h 107"/>
              <a:gd name="T88" fmla="*/ 13 w 79"/>
              <a:gd name="T89" fmla="*/ 88 h 107"/>
              <a:gd name="T90" fmla="*/ 4 w 79"/>
              <a:gd name="T91" fmla="*/ 94 h 107"/>
              <a:gd name="T92" fmla="*/ 16 w 79"/>
              <a:gd name="T93" fmla="*/ 94 h 107"/>
              <a:gd name="T94" fmla="*/ 10 w 79"/>
              <a:gd name="T95" fmla="*/ 100 h 107"/>
              <a:gd name="T96" fmla="*/ 10 w 79"/>
              <a:gd name="T97" fmla="*/ 104 h 107"/>
              <a:gd name="T98" fmla="*/ 19 w 79"/>
              <a:gd name="T99" fmla="*/ 10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 h="107">
                <a:moveTo>
                  <a:pt x="19" y="107"/>
                </a:moveTo>
                <a:lnTo>
                  <a:pt x="29" y="104"/>
                </a:lnTo>
                <a:lnTo>
                  <a:pt x="35" y="104"/>
                </a:lnTo>
                <a:lnTo>
                  <a:pt x="38" y="100"/>
                </a:lnTo>
                <a:lnTo>
                  <a:pt x="38" y="94"/>
                </a:lnTo>
                <a:lnTo>
                  <a:pt x="41" y="97"/>
                </a:lnTo>
                <a:lnTo>
                  <a:pt x="38" y="97"/>
                </a:lnTo>
                <a:lnTo>
                  <a:pt x="44" y="97"/>
                </a:lnTo>
                <a:lnTo>
                  <a:pt x="47" y="94"/>
                </a:lnTo>
                <a:lnTo>
                  <a:pt x="50" y="94"/>
                </a:lnTo>
                <a:lnTo>
                  <a:pt x="50" y="91"/>
                </a:lnTo>
                <a:lnTo>
                  <a:pt x="60" y="91"/>
                </a:lnTo>
                <a:lnTo>
                  <a:pt x="63" y="88"/>
                </a:lnTo>
                <a:lnTo>
                  <a:pt x="63" y="91"/>
                </a:lnTo>
                <a:lnTo>
                  <a:pt x="66" y="88"/>
                </a:lnTo>
                <a:lnTo>
                  <a:pt x="69" y="88"/>
                </a:lnTo>
                <a:lnTo>
                  <a:pt x="75" y="88"/>
                </a:lnTo>
                <a:lnTo>
                  <a:pt x="69" y="85"/>
                </a:lnTo>
                <a:lnTo>
                  <a:pt x="72" y="82"/>
                </a:lnTo>
                <a:lnTo>
                  <a:pt x="75" y="78"/>
                </a:lnTo>
                <a:lnTo>
                  <a:pt x="75" y="75"/>
                </a:lnTo>
                <a:lnTo>
                  <a:pt x="79" y="72"/>
                </a:lnTo>
                <a:lnTo>
                  <a:pt x="79" y="69"/>
                </a:lnTo>
                <a:lnTo>
                  <a:pt x="79" y="60"/>
                </a:lnTo>
                <a:lnTo>
                  <a:pt x="75" y="57"/>
                </a:lnTo>
                <a:lnTo>
                  <a:pt x="79" y="57"/>
                </a:lnTo>
                <a:lnTo>
                  <a:pt x="79" y="53"/>
                </a:lnTo>
                <a:lnTo>
                  <a:pt x="75" y="47"/>
                </a:lnTo>
                <a:lnTo>
                  <a:pt x="75" y="44"/>
                </a:lnTo>
                <a:lnTo>
                  <a:pt x="72" y="41"/>
                </a:lnTo>
                <a:lnTo>
                  <a:pt x="75" y="41"/>
                </a:lnTo>
                <a:lnTo>
                  <a:pt x="79" y="41"/>
                </a:lnTo>
                <a:lnTo>
                  <a:pt x="72" y="38"/>
                </a:lnTo>
                <a:lnTo>
                  <a:pt x="69" y="38"/>
                </a:lnTo>
                <a:lnTo>
                  <a:pt x="66" y="28"/>
                </a:lnTo>
                <a:lnTo>
                  <a:pt x="60" y="25"/>
                </a:lnTo>
                <a:lnTo>
                  <a:pt x="60" y="28"/>
                </a:lnTo>
                <a:lnTo>
                  <a:pt x="57" y="35"/>
                </a:lnTo>
                <a:lnTo>
                  <a:pt x="54" y="35"/>
                </a:lnTo>
                <a:lnTo>
                  <a:pt x="47" y="25"/>
                </a:lnTo>
                <a:lnTo>
                  <a:pt x="50" y="19"/>
                </a:lnTo>
                <a:lnTo>
                  <a:pt x="54" y="16"/>
                </a:lnTo>
                <a:lnTo>
                  <a:pt x="57" y="13"/>
                </a:lnTo>
                <a:lnTo>
                  <a:pt x="60" y="13"/>
                </a:lnTo>
                <a:lnTo>
                  <a:pt x="60" y="10"/>
                </a:lnTo>
                <a:lnTo>
                  <a:pt x="60" y="10"/>
                </a:lnTo>
                <a:lnTo>
                  <a:pt x="63" y="7"/>
                </a:lnTo>
                <a:lnTo>
                  <a:pt x="66" y="7"/>
                </a:lnTo>
                <a:lnTo>
                  <a:pt x="63" y="3"/>
                </a:lnTo>
                <a:lnTo>
                  <a:pt x="60" y="0"/>
                </a:lnTo>
                <a:lnTo>
                  <a:pt x="60" y="3"/>
                </a:lnTo>
                <a:lnTo>
                  <a:pt x="57" y="3"/>
                </a:lnTo>
                <a:lnTo>
                  <a:pt x="57" y="7"/>
                </a:lnTo>
                <a:lnTo>
                  <a:pt x="54" y="13"/>
                </a:lnTo>
                <a:lnTo>
                  <a:pt x="54" y="10"/>
                </a:lnTo>
                <a:lnTo>
                  <a:pt x="57" y="7"/>
                </a:lnTo>
                <a:lnTo>
                  <a:pt x="54" y="3"/>
                </a:lnTo>
                <a:lnTo>
                  <a:pt x="50" y="3"/>
                </a:lnTo>
                <a:lnTo>
                  <a:pt x="54" y="7"/>
                </a:lnTo>
                <a:lnTo>
                  <a:pt x="50" y="7"/>
                </a:lnTo>
                <a:lnTo>
                  <a:pt x="47" y="7"/>
                </a:lnTo>
                <a:lnTo>
                  <a:pt x="44" y="7"/>
                </a:lnTo>
                <a:lnTo>
                  <a:pt x="44" y="10"/>
                </a:lnTo>
                <a:lnTo>
                  <a:pt x="41" y="10"/>
                </a:lnTo>
                <a:lnTo>
                  <a:pt x="41" y="13"/>
                </a:lnTo>
                <a:lnTo>
                  <a:pt x="44" y="13"/>
                </a:lnTo>
                <a:lnTo>
                  <a:pt x="41" y="16"/>
                </a:lnTo>
                <a:lnTo>
                  <a:pt x="38" y="16"/>
                </a:lnTo>
                <a:lnTo>
                  <a:pt x="41" y="16"/>
                </a:lnTo>
                <a:lnTo>
                  <a:pt x="35" y="19"/>
                </a:lnTo>
                <a:lnTo>
                  <a:pt x="38" y="22"/>
                </a:lnTo>
                <a:lnTo>
                  <a:pt x="41" y="22"/>
                </a:lnTo>
                <a:lnTo>
                  <a:pt x="41" y="22"/>
                </a:lnTo>
                <a:lnTo>
                  <a:pt x="44" y="22"/>
                </a:lnTo>
                <a:lnTo>
                  <a:pt x="47" y="22"/>
                </a:lnTo>
                <a:lnTo>
                  <a:pt x="41" y="25"/>
                </a:lnTo>
                <a:lnTo>
                  <a:pt x="35" y="28"/>
                </a:lnTo>
                <a:lnTo>
                  <a:pt x="38" y="28"/>
                </a:lnTo>
                <a:lnTo>
                  <a:pt x="32" y="32"/>
                </a:lnTo>
                <a:lnTo>
                  <a:pt x="29" y="28"/>
                </a:lnTo>
                <a:lnTo>
                  <a:pt x="29" y="32"/>
                </a:lnTo>
                <a:lnTo>
                  <a:pt x="25" y="28"/>
                </a:lnTo>
                <a:lnTo>
                  <a:pt x="16" y="28"/>
                </a:lnTo>
                <a:lnTo>
                  <a:pt x="16" y="28"/>
                </a:lnTo>
                <a:lnTo>
                  <a:pt x="13" y="28"/>
                </a:lnTo>
                <a:lnTo>
                  <a:pt x="10" y="32"/>
                </a:lnTo>
                <a:lnTo>
                  <a:pt x="13" y="32"/>
                </a:lnTo>
                <a:lnTo>
                  <a:pt x="13" y="35"/>
                </a:lnTo>
                <a:lnTo>
                  <a:pt x="16" y="35"/>
                </a:lnTo>
                <a:lnTo>
                  <a:pt x="16" y="38"/>
                </a:lnTo>
                <a:lnTo>
                  <a:pt x="13" y="38"/>
                </a:lnTo>
                <a:lnTo>
                  <a:pt x="13" y="35"/>
                </a:lnTo>
                <a:lnTo>
                  <a:pt x="10" y="35"/>
                </a:lnTo>
                <a:lnTo>
                  <a:pt x="16" y="41"/>
                </a:lnTo>
                <a:lnTo>
                  <a:pt x="19" y="38"/>
                </a:lnTo>
                <a:lnTo>
                  <a:pt x="19" y="41"/>
                </a:lnTo>
                <a:lnTo>
                  <a:pt x="16" y="44"/>
                </a:lnTo>
                <a:lnTo>
                  <a:pt x="13" y="44"/>
                </a:lnTo>
                <a:lnTo>
                  <a:pt x="16" y="47"/>
                </a:lnTo>
                <a:lnTo>
                  <a:pt x="10" y="47"/>
                </a:lnTo>
                <a:lnTo>
                  <a:pt x="10" y="50"/>
                </a:lnTo>
                <a:lnTo>
                  <a:pt x="10" y="50"/>
                </a:lnTo>
                <a:lnTo>
                  <a:pt x="13" y="53"/>
                </a:lnTo>
                <a:lnTo>
                  <a:pt x="16" y="53"/>
                </a:lnTo>
                <a:lnTo>
                  <a:pt x="13" y="53"/>
                </a:lnTo>
                <a:lnTo>
                  <a:pt x="19" y="53"/>
                </a:lnTo>
                <a:lnTo>
                  <a:pt x="19" y="57"/>
                </a:lnTo>
                <a:lnTo>
                  <a:pt x="29" y="57"/>
                </a:lnTo>
                <a:lnTo>
                  <a:pt x="25" y="63"/>
                </a:lnTo>
                <a:lnTo>
                  <a:pt x="22" y="60"/>
                </a:lnTo>
                <a:lnTo>
                  <a:pt x="19" y="66"/>
                </a:lnTo>
                <a:lnTo>
                  <a:pt x="22" y="66"/>
                </a:lnTo>
                <a:lnTo>
                  <a:pt x="19" y="72"/>
                </a:lnTo>
                <a:lnTo>
                  <a:pt x="10" y="75"/>
                </a:lnTo>
                <a:lnTo>
                  <a:pt x="13" y="75"/>
                </a:lnTo>
                <a:lnTo>
                  <a:pt x="19" y="72"/>
                </a:lnTo>
                <a:lnTo>
                  <a:pt x="19" y="75"/>
                </a:lnTo>
                <a:lnTo>
                  <a:pt x="25" y="75"/>
                </a:lnTo>
                <a:lnTo>
                  <a:pt x="29" y="72"/>
                </a:lnTo>
                <a:lnTo>
                  <a:pt x="29" y="72"/>
                </a:lnTo>
                <a:lnTo>
                  <a:pt x="32" y="72"/>
                </a:lnTo>
                <a:lnTo>
                  <a:pt x="22" y="75"/>
                </a:lnTo>
                <a:lnTo>
                  <a:pt x="16" y="75"/>
                </a:lnTo>
                <a:lnTo>
                  <a:pt x="16" y="78"/>
                </a:lnTo>
                <a:lnTo>
                  <a:pt x="10" y="78"/>
                </a:lnTo>
                <a:lnTo>
                  <a:pt x="13" y="82"/>
                </a:lnTo>
                <a:lnTo>
                  <a:pt x="13" y="85"/>
                </a:lnTo>
                <a:lnTo>
                  <a:pt x="13" y="85"/>
                </a:lnTo>
                <a:lnTo>
                  <a:pt x="10" y="85"/>
                </a:lnTo>
                <a:lnTo>
                  <a:pt x="7" y="82"/>
                </a:lnTo>
                <a:lnTo>
                  <a:pt x="7" y="85"/>
                </a:lnTo>
                <a:lnTo>
                  <a:pt x="7" y="82"/>
                </a:lnTo>
                <a:lnTo>
                  <a:pt x="0" y="85"/>
                </a:lnTo>
                <a:lnTo>
                  <a:pt x="0" y="88"/>
                </a:lnTo>
                <a:lnTo>
                  <a:pt x="13" y="88"/>
                </a:lnTo>
                <a:lnTo>
                  <a:pt x="10" y="91"/>
                </a:lnTo>
                <a:lnTo>
                  <a:pt x="4" y="91"/>
                </a:lnTo>
                <a:lnTo>
                  <a:pt x="4" y="94"/>
                </a:lnTo>
                <a:lnTo>
                  <a:pt x="7" y="94"/>
                </a:lnTo>
                <a:lnTo>
                  <a:pt x="7" y="97"/>
                </a:lnTo>
                <a:lnTo>
                  <a:pt x="16" y="94"/>
                </a:lnTo>
                <a:lnTo>
                  <a:pt x="10" y="100"/>
                </a:lnTo>
                <a:lnTo>
                  <a:pt x="7" y="100"/>
                </a:lnTo>
                <a:lnTo>
                  <a:pt x="10" y="100"/>
                </a:lnTo>
                <a:lnTo>
                  <a:pt x="16" y="97"/>
                </a:lnTo>
                <a:lnTo>
                  <a:pt x="16" y="100"/>
                </a:lnTo>
                <a:lnTo>
                  <a:pt x="10" y="104"/>
                </a:lnTo>
                <a:lnTo>
                  <a:pt x="13" y="104"/>
                </a:lnTo>
                <a:lnTo>
                  <a:pt x="13" y="104"/>
                </a:lnTo>
                <a:lnTo>
                  <a:pt x="19" y="104"/>
                </a:lnTo>
                <a:lnTo>
                  <a:pt x="19" y="107"/>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6" name="Freeform 74">
            <a:extLst>
              <a:ext uri="{FF2B5EF4-FFF2-40B4-BE49-F238E27FC236}">
                <a16:creationId xmlns:a16="http://schemas.microsoft.com/office/drawing/2014/main" id="{DC1883C7-77E8-DEE7-E566-29F0A9830EBA}"/>
              </a:ext>
            </a:extLst>
          </p:cNvPr>
          <p:cNvSpPr>
            <a:spLocks noEditPoints="1"/>
          </p:cNvSpPr>
          <p:nvPr userDrawn="1"/>
        </p:nvSpPr>
        <p:spPr bwMode="auto">
          <a:xfrm>
            <a:off x="12721394" y="4987207"/>
            <a:ext cx="536541" cy="981078"/>
          </a:xfrm>
          <a:custGeom>
            <a:avLst/>
            <a:gdLst>
              <a:gd name="T0" fmla="*/ 2 w 54"/>
              <a:gd name="T1" fmla="*/ 56 h 99"/>
              <a:gd name="T2" fmla="*/ 12 w 54"/>
              <a:gd name="T3" fmla="*/ 57 h 99"/>
              <a:gd name="T4" fmla="*/ 11 w 54"/>
              <a:gd name="T5" fmla="*/ 62 h 99"/>
              <a:gd name="T6" fmla="*/ 39 w 54"/>
              <a:gd name="T7" fmla="*/ 0 h 99"/>
              <a:gd name="T8" fmla="*/ 38 w 54"/>
              <a:gd name="T9" fmla="*/ 1 h 99"/>
              <a:gd name="T10" fmla="*/ 36 w 54"/>
              <a:gd name="T11" fmla="*/ 4 h 99"/>
              <a:gd name="T12" fmla="*/ 50 w 54"/>
              <a:gd name="T13" fmla="*/ 86 h 99"/>
              <a:gd name="T14" fmla="*/ 36 w 54"/>
              <a:gd name="T15" fmla="*/ 93 h 99"/>
              <a:gd name="T16" fmla="*/ 6 w 54"/>
              <a:gd name="T17" fmla="*/ 41 h 99"/>
              <a:gd name="T18" fmla="*/ 9 w 54"/>
              <a:gd name="T19" fmla="*/ 37 h 99"/>
              <a:gd name="T20" fmla="*/ 26 w 54"/>
              <a:gd name="T21" fmla="*/ 19 h 99"/>
              <a:gd name="T22" fmla="*/ 25 w 54"/>
              <a:gd name="T23" fmla="*/ 22 h 99"/>
              <a:gd name="T24" fmla="*/ 11 w 54"/>
              <a:gd name="T25" fmla="*/ 26 h 99"/>
              <a:gd name="T26" fmla="*/ 7 w 54"/>
              <a:gd name="T27" fmla="*/ 29 h 99"/>
              <a:gd name="T28" fmla="*/ 4 w 54"/>
              <a:gd name="T29" fmla="*/ 33 h 99"/>
              <a:gd name="T30" fmla="*/ 5 w 54"/>
              <a:gd name="T31" fmla="*/ 35 h 99"/>
              <a:gd name="T32" fmla="*/ 9 w 54"/>
              <a:gd name="T33" fmla="*/ 34 h 99"/>
              <a:gd name="T34" fmla="*/ 11 w 54"/>
              <a:gd name="T35" fmla="*/ 34 h 99"/>
              <a:gd name="T36" fmla="*/ 12 w 54"/>
              <a:gd name="T37" fmla="*/ 42 h 99"/>
              <a:gd name="T38" fmla="*/ 12 w 54"/>
              <a:gd name="T39" fmla="*/ 47 h 99"/>
              <a:gd name="T40" fmla="*/ 16 w 54"/>
              <a:gd name="T41" fmla="*/ 52 h 99"/>
              <a:gd name="T42" fmla="*/ 17 w 54"/>
              <a:gd name="T43" fmla="*/ 63 h 99"/>
              <a:gd name="T44" fmla="*/ 16 w 54"/>
              <a:gd name="T45" fmla="*/ 98 h 99"/>
              <a:gd name="T46" fmla="*/ 24 w 54"/>
              <a:gd name="T47" fmla="*/ 97 h 99"/>
              <a:gd name="T48" fmla="*/ 31 w 54"/>
              <a:gd name="T49" fmla="*/ 93 h 99"/>
              <a:gd name="T50" fmla="*/ 40 w 54"/>
              <a:gd name="T51" fmla="*/ 92 h 99"/>
              <a:gd name="T52" fmla="*/ 51 w 54"/>
              <a:gd name="T53" fmla="*/ 89 h 99"/>
              <a:gd name="T54" fmla="*/ 48 w 54"/>
              <a:gd name="T55" fmla="*/ 86 h 99"/>
              <a:gd name="T56" fmla="*/ 50 w 54"/>
              <a:gd name="T57" fmla="*/ 82 h 99"/>
              <a:gd name="T58" fmla="*/ 53 w 54"/>
              <a:gd name="T59" fmla="*/ 80 h 99"/>
              <a:gd name="T60" fmla="*/ 44 w 54"/>
              <a:gd name="T61" fmla="*/ 73 h 99"/>
              <a:gd name="T62" fmla="*/ 40 w 54"/>
              <a:gd name="T63" fmla="*/ 66 h 99"/>
              <a:gd name="T64" fmla="*/ 42 w 54"/>
              <a:gd name="T65" fmla="*/ 62 h 99"/>
              <a:gd name="T66" fmla="*/ 33 w 54"/>
              <a:gd name="T67" fmla="*/ 50 h 99"/>
              <a:gd name="T68" fmla="*/ 23 w 54"/>
              <a:gd name="T69" fmla="*/ 45 h 99"/>
              <a:gd name="T70" fmla="*/ 25 w 54"/>
              <a:gd name="T71" fmla="*/ 43 h 99"/>
              <a:gd name="T72" fmla="*/ 31 w 54"/>
              <a:gd name="T73" fmla="*/ 34 h 99"/>
              <a:gd name="T74" fmla="*/ 24 w 54"/>
              <a:gd name="T75" fmla="*/ 32 h 99"/>
              <a:gd name="T76" fmla="*/ 21 w 54"/>
              <a:gd name="T77" fmla="*/ 29 h 99"/>
              <a:gd name="T78" fmla="*/ 22 w 54"/>
              <a:gd name="T79" fmla="*/ 24 h 99"/>
              <a:gd name="T80" fmla="*/ 16 w 54"/>
              <a:gd name="T81" fmla="*/ 24 h 99"/>
              <a:gd name="T82" fmla="*/ 14 w 54"/>
              <a:gd name="T83" fmla="*/ 30 h 99"/>
              <a:gd name="T84" fmla="*/ 13 w 54"/>
              <a:gd name="T85" fmla="*/ 33 h 99"/>
              <a:gd name="T86" fmla="*/ 13 w 54"/>
              <a:gd name="T87" fmla="*/ 35 h 99"/>
              <a:gd name="T88" fmla="*/ 12 w 54"/>
              <a:gd name="T89" fmla="*/ 39 h 99"/>
              <a:gd name="T90" fmla="*/ 13 w 54"/>
              <a:gd name="T91" fmla="*/ 42 h 99"/>
              <a:gd name="T92" fmla="*/ 13 w 54"/>
              <a:gd name="T93" fmla="*/ 48 h 99"/>
              <a:gd name="T94" fmla="*/ 14 w 54"/>
              <a:gd name="T95" fmla="*/ 48 h 99"/>
              <a:gd name="T96" fmla="*/ 17 w 54"/>
              <a:gd name="T97" fmla="*/ 45 h 99"/>
              <a:gd name="T98" fmla="*/ 16 w 54"/>
              <a:gd name="T99" fmla="*/ 56 h 99"/>
              <a:gd name="T100" fmla="*/ 22 w 54"/>
              <a:gd name="T101" fmla="*/ 57 h 99"/>
              <a:gd name="T102" fmla="*/ 28 w 54"/>
              <a:gd name="T103" fmla="*/ 62 h 99"/>
              <a:gd name="T104" fmla="*/ 27 w 54"/>
              <a:gd name="T105" fmla="*/ 69 h 99"/>
              <a:gd name="T106" fmla="*/ 17 w 54"/>
              <a:gd name="T107" fmla="*/ 74 h 99"/>
              <a:gd name="T108" fmla="*/ 19 w 54"/>
              <a:gd name="T109" fmla="*/ 80 h 99"/>
              <a:gd name="T110" fmla="*/ 16 w 54"/>
              <a:gd name="T111" fmla="*/ 85 h 99"/>
              <a:gd name="T112" fmla="*/ 24 w 54"/>
              <a:gd name="T113" fmla="*/ 86 h 99"/>
              <a:gd name="T114" fmla="*/ 27 w 54"/>
              <a:gd name="T115" fmla="*/ 89 h 99"/>
              <a:gd name="T116" fmla="*/ 16 w 54"/>
              <a:gd name="T117" fmla="*/ 94 h 99"/>
              <a:gd name="T118" fmla="*/ 15 w 54"/>
              <a:gd name="T119"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 h="99">
                <a:moveTo>
                  <a:pt x="10" y="64"/>
                </a:moveTo>
                <a:cubicBezTo>
                  <a:pt x="8" y="63"/>
                  <a:pt x="8" y="63"/>
                  <a:pt x="8" y="63"/>
                </a:cubicBezTo>
                <a:cubicBezTo>
                  <a:pt x="7" y="63"/>
                  <a:pt x="7" y="63"/>
                  <a:pt x="7" y="63"/>
                </a:cubicBezTo>
                <a:cubicBezTo>
                  <a:pt x="6" y="60"/>
                  <a:pt x="6" y="60"/>
                  <a:pt x="6" y="60"/>
                </a:cubicBezTo>
                <a:cubicBezTo>
                  <a:pt x="4" y="59"/>
                  <a:pt x="4" y="59"/>
                  <a:pt x="4" y="59"/>
                </a:cubicBezTo>
                <a:cubicBezTo>
                  <a:pt x="4" y="60"/>
                  <a:pt x="4" y="60"/>
                  <a:pt x="4" y="60"/>
                </a:cubicBezTo>
                <a:cubicBezTo>
                  <a:pt x="3" y="62"/>
                  <a:pt x="3" y="62"/>
                  <a:pt x="3" y="62"/>
                </a:cubicBezTo>
                <a:cubicBezTo>
                  <a:pt x="2" y="62"/>
                  <a:pt x="2" y="62"/>
                  <a:pt x="2" y="62"/>
                </a:cubicBezTo>
                <a:cubicBezTo>
                  <a:pt x="0" y="59"/>
                  <a:pt x="0" y="59"/>
                  <a:pt x="0" y="59"/>
                </a:cubicBezTo>
                <a:cubicBezTo>
                  <a:pt x="1" y="57"/>
                  <a:pt x="1" y="57"/>
                  <a:pt x="1" y="57"/>
                </a:cubicBezTo>
                <a:cubicBezTo>
                  <a:pt x="2" y="56"/>
                  <a:pt x="2" y="56"/>
                  <a:pt x="2" y="56"/>
                </a:cubicBezTo>
                <a:cubicBezTo>
                  <a:pt x="3" y="55"/>
                  <a:pt x="3" y="55"/>
                  <a:pt x="3" y="55"/>
                </a:cubicBezTo>
                <a:cubicBezTo>
                  <a:pt x="4" y="55"/>
                  <a:pt x="4" y="55"/>
                  <a:pt x="4" y="55"/>
                </a:cubicBezTo>
                <a:cubicBezTo>
                  <a:pt x="4" y="54"/>
                  <a:pt x="4" y="54"/>
                  <a:pt x="4" y="54"/>
                </a:cubicBezTo>
                <a:cubicBezTo>
                  <a:pt x="5" y="54"/>
                  <a:pt x="5" y="54"/>
                  <a:pt x="5" y="54"/>
                </a:cubicBezTo>
                <a:cubicBezTo>
                  <a:pt x="6" y="54"/>
                  <a:pt x="6" y="54"/>
                  <a:pt x="6" y="54"/>
                </a:cubicBezTo>
                <a:cubicBezTo>
                  <a:pt x="7" y="54"/>
                  <a:pt x="7" y="54"/>
                  <a:pt x="7" y="54"/>
                </a:cubicBezTo>
                <a:cubicBezTo>
                  <a:pt x="8" y="53"/>
                  <a:pt x="8" y="53"/>
                  <a:pt x="8" y="53"/>
                </a:cubicBezTo>
                <a:cubicBezTo>
                  <a:pt x="10" y="53"/>
                  <a:pt x="10" y="53"/>
                  <a:pt x="10" y="53"/>
                </a:cubicBezTo>
                <a:cubicBezTo>
                  <a:pt x="11" y="53"/>
                  <a:pt x="11" y="53"/>
                  <a:pt x="11" y="53"/>
                </a:cubicBezTo>
                <a:cubicBezTo>
                  <a:pt x="11" y="55"/>
                  <a:pt x="11" y="55"/>
                  <a:pt x="11" y="55"/>
                </a:cubicBezTo>
                <a:cubicBezTo>
                  <a:pt x="12" y="57"/>
                  <a:pt x="12" y="57"/>
                  <a:pt x="12" y="57"/>
                </a:cubicBezTo>
                <a:cubicBezTo>
                  <a:pt x="12" y="58"/>
                  <a:pt x="12" y="58"/>
                  <a:pt x="12" y="58"/>
                </a:cubicBezTo>
                <a:cubicBezTo>
                  <a:pt x="13" y="58"/>
                  <a:pt x="13" y="58"/>
                  <a:pt x="13" y="58"/>
                </a:cubicBezTo>
                <a:cubicBezTo>
                  <a:pt x="14" y="61"/>
                  <a:pt x="14" y="61"/>
                  <a:pt x="14" y="61"/>
                </a:cubicBezTo>
                <a:cubicBezTo>
                  <a:pt x="13" y="59"/>
                  <a:pt x="13" y="59"/>
                  <a:pt x="13" y="59"/>
                </a:cubicBezTo>
                <a:cubicBezTo>
                  <a:pt x="12" y="59"/>
                  <a:pt x="12" y="59"/>
                  <a:pt x="12" y="59"/>
                </a:cubicBezTo>
                <a:cubicBezTo>
                  <a:pt x="13" y="59"/>
                  <a:pt x="13" y="59"/>
                  <a:pt x="13" y="59"/>
                </a:cubicBezTo>
                <a:cubicBezTo>
                  <a:pt x="12" y="60"/>
                  <a:pt x="12" y="60"/>
                  <a:pt x="12" y="60"/>
                </a:cubicBezTo>
                <a:cubicBezTo>
                  <a:pt x="13" y="61"/>
                  <a:pt x="13" y="61"/>
                  <a:pt x="13" y="61"/>
                </a:cubicBezTo>
                <a:cubicBezTo>
                  <a:pt x="13" y="62"/>
                  <a:pt x="13" y="62"/>
                  <a:pt x="13" y="62"/>
                </a:cubicBezTo>
                <a:cubicBezTo>
                  <a:pt x="11" y="61"/>
                  <a:pt x="11" y="61"/>
                  <a:pt x="11" y="61"/>
                </a:cubicBezTo>
                <a:cubicBezTo>
                  <a:pt x="11" y="62"/>
                  <a:pt x="11" y="62"/>
                  <a:pt x="11" y="62"/>
                </a:cubicBezTo>
                <a:cubicBezTo>
                  <a:pt x="10" y="63"/>
                  <a:pt x="10" y="63"/>
                  <a:pt x="10" y="63"/>
                </a:cubicBezTo>
                <a:cubicBezTo>
                  <a:pt x="10" y="63"/>
                  <a:pt x="10" y="63"/>
                  <a:pt x="10" y="63"/>
                </a:cubicBezTo>
                <a:cubicBezTo>
                  <a:pt x="10" y="64"/>
                  <a:pt x="10" y="64"/>
                  <a:pt x="10" y="64"/>
                </a:cubicBezTo>
                <a:cubicBezTo>
                  <a:pt x="10" y="64"/>
                  <a:pt x="10" y="64"/>
                  <a:pt x="10" y="64"/>
                </a:cubicBezTo>
                <a:close/>
                <a:moveTo>
                  <a:pt x="36" y="9"/>
                </a:moveTo>
                <a:cubicBezTo>
                  <a:pt x="37" y="8"/>
                  <a:pt x="37" y="8"/>
                  <a:pt x="37" y="8"/>
                </a:cubicBezTo>
                <a:cubicBezTo>
                  <a:pt x="37" y="8"/>
                  <a:pt x="37" y="8"/>
                  <a:pt x="37" y="8"/>
                </a:cubicBezTo>
                <a:cubicBezTo>
                  <a:pt x="36" y="9"/>
                  <a:pt x="36" y="9"/>
                  <a:pt x="36" y="9"/>
                </a:cubicBezTo>
                <a:close/>
                <a:moveTo>
                  <a:pt x="38" y="1"/>
                </a:moveTo>
                <a:cubicBezTo>
                  <a:pt x="38" y="1"/>
                  <a:pt x="38" y="1"/>
                  <a:pt x="38" y="1"/>
                </a:cubicBezTo>
                <a:cubicBezTo>
                  <a:pt x="39" y="0"/>
                  <a:pt x="39" y="0"/>
                  <a:pt x="39" y="0"/>
                </a:cubicBezTo>
                <a:cubicBezTo>
                  <a:pt x="38" y="1"/>
                  <a:pt x="38" y="1"/>
                  <a:pt x="38" y="1"/>
                </a:cubicBezTo>
                <a:close/>
                <a:moveTo>
                  <a:pt x="36" y="4"/>
                </a:moveTo>
                <a:cubicBezTo>
                  <a:pt x="36" y="3"/>
                  <a:pt x="36" y="3"/>
                  <a:pt x="36" y="3"/>
                </a:cubicBezTo>
                <a:cubicBezTo>
                  <a:pt x="35" y="3"/>
                  <a:pt x="35" y="3"/>
                  <a:pt x="35" y="3"/>
                </a:cubicBezTo>
                <a:cubicBezTo>
                  <a:pt x="35" y="4"/>
                  <a:pt x="35" y="4"/>
                  <a:pt x="35" y="4"/>
                </a:cubicBezTo>
                <a:cubicBezTo>
                  <a:pt x="35" y="4"/>
                  <a:pt x="36" y="4"/>
                  <a:pt x="36" y="4"/>
                </a:cubicBezTo>
                <a:close/>
                <a:moveTo>
                  <a:pt x="37" y="3"/>
                </a:moveTo>
                <a:cubicBezTo>
                  <a:pt x="36" y="3"/>
                  <a:pt x="36" y="3"/>
                  <a:pt x="36" y="3"/>
                </a:cubicBezTo>
                <a:cubicBezTo>
                  <a:pt x="37" y="2"/>
                  <a:pt x="37" y="2"/>
                  <a:pt x="37" y="2"/>
                </a:cubicBezTo>
                <a:cubicBezTo>
                  <a:pt x="37" y="1"/>
                  <a:pt x="37" y="1"/>
                  <a:pt x="37" y="1"/>
                </a:cubicBezTo>
                <a:cubicBezTo>
                  <a:pt x="38" y="1"/>
                  <a:pt x="38" y="1"/>
                  <a:pt x="38" y="1"/>
                </a:cubicBezTo>
                <a:cubicBezTo>
                  <a:pt x="38" y="3"/>
                  <a:pt x="38" y="3"/>
                  <a:pt x="38" y="3"/>
                </a:cubicBezTo>
                <a:cubicBezTo>
                  <a:pt x="37" y="3"/>
                  <a:pt x="37" y="3"/>
                  <a:pt x="37" y="3"/>
                </a:cubicBezTo>
                <a:close/>
                <a:moveTo>
                  <a:pt x="37" y="7"/>
                </a:moveTo>
                <a:cubicBezTo>
                  <a:pt x="36" y="6"/>
                  <a:pt x="36" y="6"/>
                  <a:pt x="36" y="6"/>
                </a:cubicBezTo>
                <a:cubicBezTo>
                  <a:pt x="35" y="6"/>
                  <a:pt x="35" y="6"/>
                  <a:pt x="35" y="6"/>
                </a:cubicBezTo>
                <a:cubicBezTo>
                  <a:pt x="34" y="5"/>
                  <a:pt x="34" y="5"/>
                  <a:pt x="34" y="5"/>
                </a:cubicBezTo>
                <a:cubicBezTo>
                  <a:pt x="35" y="5"/>
                  <a:pt x="35" y="5"/>
                  <a:pt x="35" y="5"/>
                </a:cubicBezTo>
                <a:cubicBezTo>
                  <a:pt x="36" y="5"/>
                  <a:pt x="36" y="5"/>
                  <a:pt x="36" y="5"/>
                </a:cubicBezTo>
                <a:cubicBezTo>
                  <a:pt x="36" y="5"/>
                  <a:pt x="36" y="5"/>
                  <a:pt x="36" y="5"/>
                </a:cubicBezTo>
                <a:cubicBezTo>
                  <a:pt x="36" y="4"/>
                  <a:pt x="36" y="4"/>
                  <a:pt x="36" y="4"/>
                </a:cubicBezTo>
                <a:cubicBezTo>
                  <a:pt x="36" y="4"/>
                  <a:pt x="36" y="4"/>
                  <a:pt x="36" y="4"/>
                </a:cubicBezTo>
                <a:cubicBezTo>
                  <a:pt x="37" y="4"/>
                  <a:pt x="37" y="4"/>
                  <a:pt x="37" y="4"/>
                </a:cubicBezTo>
                <a:cubicBezTo>
                  <a:pt x="38" y="4"/>
                  <a:pt x="38" y="4"/>
                  <a:pt x="38" y="4"/>
                </a:cubicBezTo>
                <a:cubicBezTo>
                  <a:pt x="37" y="5"/>
                  <a:pt x="37" y="5"/>
                  <a:pt x="37" y="5"/>
                </a:cubicBezTo>
                <a:cubicBezTo>
                  <a:pt x="38" y="6"/>
                  <a:pt x="38" y="6"/>
                  <a:pt x="38" y="6"/>
                </a:cubicBezTo>
                <a:cubicBezTo>
                  <a:pt x="37" y="6"/>
                  <a:pt x="37" y="6"/>
                  <a:pt x="37" y="6"/>
                </a:cubicBezTo>
                <a:cubicBezTo>
                  <a:pt x="37" y="7"/>
                  <a:pt x="37" y="7"/>
                  <a:pt x="37" y="7"/>
                </a:cubicBezTo>
                <a:cubicBezTo>
                  <a:pt x="37" y="7"/>
                  <a:pt x="37" y="7"/>
                  <a:pt x="37" y="7"/>
                </a:cubicBezTo>
                <a:close/>
                <a:moveTo>
                  <a:pt x="49" y="86"/>
                </a:moveTo>
                <a:cubicBezTo>
                  <a:pt x="49" y="86"/>
                  <a:pt x="49" y="86"/>
                  <a:pt x="49" y="86"/>
                </a:cubicBezTo>
                <a:cubicBezTo>
                  <a:pt x="50" y="86"/>
                  <a:pt x="50" y="86"/>
                  <a:pt x="50" y="86"/>
                </a:cubicBezTo>
                <a:cubicBezTo>
                  <a:pt x="50" y="86"/>
                  <a:pt x="50" y="86"/>
                  <a:pt x="50" y="86"/>
                </a:cubicBezTo>
                <a:cubicBezTo>
                  <a:pt x="49" y="85"/>
                  <a:pt x="49" y="85"/>
                  <a:pt x="49" y="85"/>
                </a:cubicBezTo>
                <a:cubicBezTo>
                  <a:pt x="49" y="86"/>
                  <a:pt x="49" y="86"/>
                  <a:pt x="49" y="86"/>
                </a:cubicBezTo>
                <a:close/>
                <a:moveTo>
                  <a:pt x="36" y="93"/>
                </a:moveTo>
                <a:cubicBezTo>
                  <a:pt x="37" y="92"/>
                  <a:pt x="37" y="92"/>
                  <a:pt x="37" y="92"/>
                </a:cubicBezTo>
                <a:cubicBezTo>
                  <a:pt x="38" y="92"/>
                  <a:pt x="38" y="92"/>
                  <a:pt x="38" y="92"/>
                </a:cubicBezTo>
                <a:cubicBezTo>
                  <a:pt x="39" y="92"/>
                  <a:pt x="39" y="92"/>
                  <a:pt x="39" y="92"/>
                </a:cubicBezTo>
                <a:cubicBezTo>
                  <a:pt x="38" y="93"/>
                  <a:pt x="38" y="93"/>
                  <a:pt x="38" y="93"/>
                </a:cubicBezTo>
                <a:cubicBezTo>
                  <a:pt x="38" y="94"/>
                  <a:pt x="38" y="94"/>
                  <a:pt x="38" y="94"/>
                </a:cubicBezTo>
                <a:cubicBezTo>
                  <a:pt x="37" y="94"/>
                  <a:pt x="37" y="94"/>
                  <a:pt x="37" y="94"/>
                </a:cubicBezTo>
                <a:cubicBezTo>
                  <a:pt x="37" y="93"/>
                  <a:pt x="37" y="93"/>
                  <a:pt x="37" y="93"/>
                </a:cubicBezTo>
                <a:cubicBezTo>
                  <a:pt x="36" y="93"/>
                  <a:pt x="36" y="93"/>
                  <a:pt x="36" y="93"/>
                </a:cubicBezTo>
                <a:close/>
                <a:moveTo>
                  <a:pt x="16" y="47"/>
                </a:moveTo>
                <a:cubicBezTo>
                  <a:pt x="15" y="48"/>
                  <a:pt x="15" y="48"/>
                  <a:pt x="15" y="48"/>
                </a:cubicBezTo>
                <a:cubicBezTo>
                  <a:pt x="16" y="49"/>
                  <a:pt x="16" y="49"/>
                  <a:pt x="16" y="49"/>
                </a:cubicBezTo>
                <a:cubicBezTo>
                  <a:pt x="16" y="48"/>
                  <a:pt x="16" y="48"/>
                  <a:pt x="16" y="48"/>
                </a:cubicBezTo>
                <a:cubicBezTo>
                  <a:pt x="16" y="47"/>
                  <a:pt x="16" y="47"/>
                  <a:pt x="16" y="47"/>
                </a:cubicBezTo>
                <a:close/>
                <a:moveTo>
                  <a:pt x="10" y="46"/>
                </a:moveTo>
                <a:cubicBezTo>
                  <a:pt x="10" y="45"/>
                  <a:pt x="10" y="45"/>
                  <a:pt x="10" y="45"/>
                </a:cubicBezTo>
                <a:cubicBezTo>
                  <a:pt x="10" y="46"/>
                  <a:pt x="10" y="46"/>
                  <a:pt x="10" y="46"/>
                </a:cubicBezTo>
                <a:cubicBezTo>
                  <a:pt x="10" y="46"/>
                  <a:pt x="10" y="46"/>
                  <a:pt x="10" y="46"/>
                </a:cubicBezTo>
                <a:close/>
                <a:moveTo>
                  <a:pt x="6" y="42"/>
                </a:moveTo>
                <a:cubicBezTo>
                  <a:pt x="6" y="41"/>
                  <a:pt x="6" y="41"/>
                  <a:pt x="6" y="41"/>
                </a:cubicBezTo>
                <a:cubicBezTo>
                  <a:pt x="7" y="41"/>
                  <a:pt x="7" y="41"/>
                  <a:pt x="7" y="41"/>
                </a:cubicBezTo>
                <a:cubicBezTo>
                  <a:pt x="6" y="42"/>
                  <a:pt x="6" y="42"/>
                  <a:pt x="6" y="42"/>
                </a:cubicBezTo>
                <a:close/>
                <a:moveTo>
                  <a:pt x="8" y="41"/>
                </a:moveTo>
                <a:cubicBezTo>
                  <a:pt x="9" y="40"/>
                  <a:pt x="9" y="40"/>
                  <a:pt x="9" y="40"/>
                </a:cubicBezTo>
                <a:cubicBezTo>
                  <a:pt x="9" y="41"/>
                  <a:pt x="9" y="41"/>
                  <a:pt x="9" y="41"/>
                </a:cubicBezTo>
                <a:cubicBezTo>
                  <a:pt x="8" y="41"/>
                  <a:pt x="8" y="41"/>
                  <a:pt x="8" y="41"/>
                </a:cubicBezTo>
                <a:close/>
                <a:moveTo>
                  <a:pt x="10" y="39"/>
                </a:moveTo>
                <a:cubicBezTo>
                  <a:pt x="11" y="38"/>
                  <a:pt x="11" y="38"/>
                  <a:pt x="11" y="38"/>
                </a:cubicBezTo>
                <a:cubicBezTo>
                  <a:pt x="10" y="38"/>
                  <a:pt x="10" y="38"/>
                  <a:pt x="10" y="38"/>
                </a:cubicBezTo>
                <a:cubicBezTo>
                  <a:pt x="10" y="39"/>
                  <a:pt x="10" y="39"/>
                  <a:pt x="10" y="39"/>
                </a:cubicBezTo>
                <a:close/>
                <a:moveTo>
                  <a:pt x="9" y="37"/>
                </a:moveTo>
                <a:cubicBezTo>
                  <a:pt x="10" y="38"/>
                  <a:pt x="10" y="38"/>
                  <a:pt x="10" y="38"/>
                </a:cubicBezTo>
                <a:cubicBezTo>
                  <a:pt x="10" y="38"/>
                  <a:pt x="10" y="38"/>
                  <a:pt x="10" y="38"/>
                </a:cubicBezTo>
                <a:cubicBezTo>
                  <a:pt x="10" y="37"/>
                  <a:pt x="10" y="37"/>
                  <a:pt x="10" y="37"/>
                </a:cubicBezTo>
                <a:cubicBezTo>
                  <a:pt x="9" y="37"/>
                  <a:pt x="9" y="37"/>
                  <a:pt x="9" y="37"/>
                </a:cubicBezTo>
                <a:close/>
                <a:moveTo>
                  <a:pt x="25" y="18"/>
                </a:moveTo>
                <a:cubicBezTo>
                  <a:pt x="26" y="19"/>
                  <a:pt x="26" y="19"/>
                  <a:pt x="26" y="19"/>
                </a:cubicBezTo>
                <a:cubicBezTo>
                  <a:pt x="26" y="18"/>
                  <a:pt x="26" y="18"/>
                  <a:pt x="26" y="18"/>
                </a:cubicBezTo>
                <a:cubicBezTo>
                  <a:pt x="25" y="18"/>
                  <a:pt x="25" y="18"/>
                  <a:pt x="25" y="18"/>
                </a:cubicBezTo>
                <a:close/>
                <a:moveTo>
                  <a:pt x="24" y="19"/>
                </a:moveTo>
                <a:cubicBezTo>
                  <a:pt x="25" y="19"/>
                  <a:pt x="25" y="19"/>
                  <a:pt x="25" y="19"/>
                </a:cubicBezTo>
                <a:cubicBezTo>
                  <a:pt x="26" y="19"/>
                  <a:pt x="26" y="19"/>
                  <a:pt x="26" y="19"/>
                </a:cubicBezTo>
                <a:cubicBezTo>
                  <a:pt x="25" y="20"/>
                  <a:pt x="25" y="20"/>
                  <a:pt x="25" y="20"/>
                </a:cubicBezTo>
                <a:cubicBezTo>
                  <a:pt x="27" y="20"/>
                  <a:pt x="27" y="20"/>
                  <a:pt x="27" y="20"/>
                </a:cubicBezTo>
                <a:cubicBezTo>
                  <a:pt x="27" y="21"/>
                  <a:pt x="27" y="21"/>
                  <a:pt x="27" y="21"/>
                </a:cubicBezTo>
                <a:cubicBezTo>
                  <a:pt x="26" y="20"/>
                  <a:pt x="26" y="20"/>
                  <a:pt x="26" y="20"/>
                </a:cubicBezTo>
                <a:cubicBezTo>
                  <a:pt x="25" y="20"/>
                  <a:pt x="25" y="20"/>
                  <a:pt x="25" y="20"/>
                </a:cubicBezTo>
                <a:cubicBezTo>
                  <a:pt x="25" y="20"/>
                  <a:pt x="25" y="20"/>
                  <a:pt x="25" y="20"/>
                </a:cubicBezTo>
                <a:cubicBezTo>
                  <a:pt x="25" y="20"/>
                  <a:pt x="25" y="20"/>
                  <a:pt x="25" y="20"/>
                </a:cubicBezTo>
                <a:cubicBezTo>
                  <a:pt x="24" y="20"/>
                  <a:pt x="24" y="20"/>
                  <a:pt x="24" y="20"/>
                </a:cubicBezTo>
                <a:cubicBezTo>
                  <a:pt x="24" y="19"/>
                  <a:pt x="24" y="19"/>
                  <a:pt x="24" y="19"/>
                </a:cubicBezTo>
                <a:close/>
                <a:moveTo>
                  <a:pt x="24" y="21"/>
                </a:moveTo>
                <a:cubicBezTo>
                  <a:pt x="25" y="22"/>
                  <a:pt x="25" y="22"/>
                  <a:pt x="25" y="22"/>
                </a:cubicBezTo>
                <a:cubicBezTo>
                  <a:pt x="25" y="21"/>
                  <a:pt x="25" y="21"/>
                  <a:pt x="25" y="21"/>
                </a:cubicBezTo>
                <a:cubicBezTo>
                  <a:pt x="25" y="21"/>
                  <a:pt x="25" y="21"/>
                  <a:pt x="25" y="21"/>
                </a:cubicBezTo>
                <a:cubicBezTo>
                  <a:pt x="24" y="21"/>
                  <a:pt x="24" y="21"/>
                  <a:pt x="24" y="21"/>
                </a:cubicBezTo>
                <a:close/>
                <a:moveTo>
                  <a:pt x="6" y="28"/>
                </a:moveTo>
                <a:cubicBezTo>
                  <a:pt x="7" y="28"/>
                  <a:pt x="7" y="28"/>
                  <a:pt x="7" y="28"/>
                </a:cubicBezTo>
                <a:cubicBezTo>
                  <a:pt x="6" y="27"/>
                  <a:pt x="6" y="27"/>
                  <a:pt x="6" y="27"/>
                </a:cubicBezTo>
                <a:cubicBezTo>
                  <a:pt x="7" y="26"/>
                  <a:pt x="7" y="26"/>
                  <a:pt x="7" y="26"/>
                </a:cubicBezTo>
                <a:cubicBezTo>
                  <a:pt x="8" y="27"/>
                  <a:pt x="8" y="27"/>
                  <a:pt x="8" y="27"/>
                </a:cubicBezTo>
                <a:cubicBezTo>
                  <a:pt x="8" y="26"/>
                  <a:pt x="8" y="26"/>
                  <a:pt x="8" y="26"/>
                </a:cubicBezTo>
                <a:cubicBezTo>
                  <a:pt x="10" y="24"/>
                  <a:pt x="10" y="24"/>
                  <a:pt x="10" y="24"/>
                </a:cubicBezTo>
                <a:cubicBezTo>
                  <a:pt x="11" y="26"/>
                  <a:pt x="11" y="26"/>
                  <a:pt x="11" y="26"/>
                </a:cubicBezTo>
                <a:cubicBezTo>
                  <a:pt x="10" y="27"/>
                  <a:pt x="10" y="27"/>
                  <a:pt x="10" y="27"/>
                </a:cubicBezTo>
                <a:cubicBezTo>
                  <a:pt x="9" y="28"/>
                  <a:pt x="9" y="28"/>
                  <a:pt x="9" y="28"/>
                </a:cubicBezTo>
                <a:cubicBezTo>
                  <a:pt x="10" y="28"/>
                  <a:pt x="10" y="28"/>
                  <a:pt x="10" y="28"/>
                </a:cubicBezTo>
                <a:cubicBezTo>
                  <a:pt x="9" y="29"/>
                  <a:pt x="9" y="29"/>
                  <a:pt x="9" y="29"/>
                </a:cubicBezTo>
                <a:cubicBezTo>
                  <a:pt x="8" y="29"/>
                  <a:pt x="8" y="29"/>
                  <a:pt x="8" y="29"/>
                </a:cubicBezTo>
                <a:cubicBezTo>
                  <a:pt x="7" y="29"/>
                  <a:pt x="7" y="29"/>
                  <a:pt x="7" y="29"/>
                </a:cubicBezTo>
                <a:cubicBezTo>
                  <a:pt x="6" y="28"/>
                  <a:pt x="6" y="28"/>
                  <a:pt x="6" y="28"/>
                </a:cubicBezTo>
                <a:close/>
                <a:moveTo>
                  <a:pt x="6" y="30"/>
                </a:moveTo>
                <a:cubicBezTo>
                  <a:pt x="7" y="31"/>
                  <a:pt x="7" y="31"/>
                  <a:pt x="7" y="31"/>
                </a:cubicBezTo>
                <a:cubicBezTo>
                  <a:pt x="8" y="30"/>
                  <a:pt x="8" y="30"/>
                  <a:pt x="8" y="30"/>
                </a:cubicBezTo>
                <a:cubicBezTo>
                  <a:pt x="7" y="29"/>
                  <a:pt x="7" y="29"/>
                  <a:pt x="7" y="29"/>
                </a:cubicBezTo>
                <a:cubicBezTo>
                  <a:pt x="7" y="29"/>
                  <a:pt x="7" y="29"/>
                  <a:pt x="7" y="29"/>
                </a:cubicBezTo>
                <a:cubicBezTo>
                  <a:pt x="6" y="30"/>
                  <a:pt x="6" y="30"/>
                  <a:pt x="6" y="30"/>
                </a:cubicBezTo>
                <a:cubicBezTo>
                  <a:pt x="6" y="30"/>
                  <a:pt x="6" y="30"/>
                  <a:pt x="6" y="30"/>
                </a:cubicBezTo>
                <a:close/>
                <a:moveTo>
                  <a:pt x="6" y="32"/>
                </a:moveTo>
                <a:cubicBezTo>
                  <a:pt x="5" y="32"/>
                  <a:pt x="5" y="32"/>
                  <a:pt x="5" y="32"/>
                </a:cubicBezTo>
                <a:cubicBezTo>
                  <a:pt x="4" y="32"/>
                  <a:pt x="4" y="32"/>
                  <a:pt x="4" y="32"/>
                </a:cubicBezTo>
                <a:cubicBezTo>
                  <a:pt x="4" y="31"/>
                  <a:pt x="4" y="31"/>
                  <a:pt x="4" y="31"/>
                </a:cubicBezTo>
                <a:cubicBezTo>
                  <a:pt x="6" y="31"/>
                  <a:pt x="6" y="31"/>
                  <a:pt x="6" y="31"/>
                </a:cubicBezTo>
                <a:cubicBezTo>
                  <a:pt x="6" y="32"/>
                  <a:pt x="6" y="32"/>
                  <a:pt x="6" y="32"/>
                </a:cubicBezTo>
                <a:close/>
                <a:moveTo>
                  <a:pt x="5" y="34"/>
                </a:moveTo>
                <a:cubicBezTo>
                  <a:pt x="4" y="33"/>
                  <a:pt x="4" y="33"/>
                  <a:pt x="4" y="33"/>
                </a:cubicBezTo>
                <a:cubicBezTo>
                  <a:pt x="4" y="33"/>
                  <a:pt x="4" y="33"/>
                  <a:pt x="4" y="33"/>
                </a:cubicBezTo>
                <a:cubicBezTo>
                  <a:pt x="5" y="33"/>
                  <a:pt x="5" y="33"/>
                  <a:pt x="5" y="33"/>
                </a:cubicBezTo>
                <a:cubicBezTo>
                  <a:pt x="5" y="34"/>
                  <a:pt x="5" y="34"/>
                  <a:pt x="5" y="34"/>
                </a:cubicBezTo>
                <a:close/>
                <a:moveTo>
                  <a:pt x="4" y="37"/>
                </a:moveTo>
                <a:cubicBezTo>
                  <a:pt x="4" y="37"/>
                  <a:pt x="4" y="37"/>
                  <a:pt x="4" y="37"/>
                </a:cubicBezTo>
                <a:cubicBezTo>
                  <a:pt x="3" y="38"/>
                  <a:pt x="3" y="38"/>
                  <a:pt x="3" y="38"/>
                </a:cubicBezTo>
                <a:cubicBezTo>
                  <a:pt x="3" y="37"/>
                  <a:pt x="3" y="37"/>
                  <a:pt x="3" y="37"/>
                </a:cubicBezTo>
                <a:cubicBezTo>
                  <a:pt x="4" y="37"/>
                  <a:pt x="4" y="37"/>
                  <a:pt x="4" y="37"/>
                </a:cubicBezTo>
                <a:close/>
                <a:moveTo>
                  <a:pt x="5" y="36"/>
                </a:moveTo>
                <a:cubicBezTo>
                  <a:pt x="5" y="35"/>
                  <a:pt x="5" y="35"/>
                  <a:pt x="5" y="35"/>
                </a:cubicBezTo>
                <a:cubicBezTo>
                  <a:pt x="5" y="35"/>
                  <a:pt x="5" y="35"/>
                  <a:pt x="5" y="35"/>
                </a:cubicBezTo>
                <a:cubicBezTo>
                  <a:pt x="5" y="34"/>
                  <a:pt x="5" y="34"/>
                  <a:pt x="5" y="34"/>
                </a:cubicBezTo>
                <a:cubicBezTo>
                  <a:pt x="4" y="34"/>
                  <a:pt x="4" y="34"/>
                  <a:pt x="4" y="34"/>
                </a:cubicBezTo>
                <a:cubicBezTo>
                  <a:pt x="4" y="34"/>
                  <a:pt x="4" y="34"/>
                  <a:pt x="4" y="34"/>
                </a:cubicBezTo>
                <a:cubicBezTo>
                  <a:pt x="4" y="35"/>
                  <a:pt x="4" y="35"/>
                  <a:pt x="4" y="35"/>
                </a:cubicBezTo>
                <a:cubicBezTo>
                  <a:pt x="4" y="36"/>
                  <a:pt x="4" y="36"/>
                  <a:pt x="4" y="36"/>
                </a:cubicBezTo>
                <a:cubicBezTo>
                  <a:pt x="5" y="36"/>
                  <a:pt x="5" y="36"/>
                  <a:pt x="5" y="36"/>
                </a:cubicBezTo>
                <a:close/>
                <a:moveTo>
                  <a:pt x="11" y="37"/>
                </a:moveTo>
                <a:cubicBezTo>
                  <a:pt x="11" y="36"/>
                  <a:pt x="11" y="36"/>
                  <a:pt x="11" y="36"/>
                </a:cubicBezTo>
                <a:cubicBezTo>
                  <a:pt x="10" y="36"/>
                  <a:pt x="10" y="36"/>
                  <a:pt x="10" y="36"/>
                </a:cubicBezTo>
                <a:cubicBezTo>
                  <a:pt x="9" y="34"/>
                  <a:pt x="9" y="34"/>
                  <a:pt x="9" y="34"/>
                </a:cubicBezTo>
                <a:cubicBezTo>
                  <a:pt x="9" y="34"/>
                  <a:pt x="9" y="34"/>
                  <a:pt x="9" y="34"/>
                </a:cubicBezTo>
                <a:cubicBezTo>
                  <a:pt x="9" y="34"/>
                  <a:pt x="9" y="34"/>
                  <a:pt x="9" y="34"/>
                </a:cubicBezTo>
                <a:cubicBezTo>
                  <a:pt x="9" y="34"/>
                  <a:pt x="9" y="34"/>
                  <a:pt x="9" y="34"/>
                </a:cubicBezTo>
                <a:cubicBezTo>
                  <a:pt x="7" y="33"/>
                  <a:pt x="7" y="33"/>
                  <a:pt x="7" y="33"/>
                </a:cubicBezTo>
                <a:cubicBezTo>
                  <a:pt x="8" y="33"/>
                  <a:pt x="8" y="33"/>
                  <a:pt x="8" y="33"/>
                </a:cubicBezTo>
                <a:cubicBezTo>
                  <a:pt x="8" y="33"/>
                  <a:pt x="8" y="33"/>
                  <a:pt x="8" y="33"/>
                </a:cubicBezTo>
                <a:cubicBezTo>
                  <a:pt x="8" y="32"/>
                  <a:pt x="8" y="32"/>
                  <a:pt x="8" y="32"/>
                </a:cubicBezTo>
                <a:cubicBezTo>
                  <a:pt x="10" y="33"/>
                  <a:pt x="10" y="33"/>
                  <a:pt x="10" y="33"/>
                </a:cubicBezTo>
                <a:cubicBezTo>
                  <a:pt x="9" y="32"/>
                  <a:pt x="9" y="32"/>
                  <a:pt x="9" y="32"/>
                </a:cubicBezTo>
                <a:cubicBezTo>
                  <a:pt x="10" y="31"/>
                  <a:pt x="10" y="31"/>
                  <a:pt x="10" y="31"/>
                </a:cubicBezTo>
                <a:cubicBezTo>
                  <a:pt x="11" y="32"/>
                  <a:pt x="11" y="32"/>
                  <a:pt x="11" y="32"/>
                </a:cubicBezTo>
                <a:cubicBezTo>
                  <a:pt x="11" y="34"/>
                  <a:pt x="11" y="34"/>
                  <a:pt x="11" y="34"/>
                </a:cubicBezTo>
                <a:cubicBezTo>
                  <a:pt x="12" y="35"/>
                  <a:pt x="12" y="35"/>
                  <a:pt x="12" y="35"/>
                </a:cubicBezTo>
                <a:cubicBezTo>
                  <a:pt x="12" y="35"/>
                  <a:pt x="12" y="35"/>
                  <a:pt x="12" y="35"/>
                </a:cubicBezTo>
                <a:cubicBezTo>
                  <a:pt x="13" y="35"/>
                  <a:pt x="13" y="35"/>
                  <a:pt x="13" y="35"/>
                </a:cubicBezTo>
                <a:cubicBezTo>
                  <a:pt x="12" y="36"/>
                  <a:pt x="12" y="36"/>
                  <a:pt x="12" y="36"/>
                </a:cubicBezTo>
                <a:cubicBezTo>
                  <a:pt x="12" y="37"/>
                  <a:pt x="12" y="37"/>
                  <a:pt x="12" y="37"/>
                </a:cubicBezTo>
                <a:cubicBezTo>
                  <a:pt x="11" y="37"/>
                  <a:pt x="11" y="37"/>
                  <a:pt x="11" y="37"/>
                </a:cubicBezTo>
                <a:close/>
                <a:moveTo>
                  <a:pt x="9" y="44"/>
                </a:moveTo>
                <a:cubicBezTo>
                  <a:pt x="12" y="43"/>
                  <a:pt x="12" y="43"/>
                  <a:pt x="12" y="43"/>
                </a:cubicBezTo>
                <a:cubicBezTo>
                  <a:pt x="12" y="44"/>
                  <a:pt x="12" y="44"/>
                  <a:pt x="12" y="44"/>
                </a:cubicBezTo>
                <a:cubicBezTo>
                  <a:pt x="13" y="43"/>
                  <a:pt x="13" y="43"/>
                  <a:pt x="13" y="43"/>
                </a:cubicBezTo>
                <a:cubicBezTo>
                  <a:pt x="12" y="42"/>
                  <a:pt x="12" y="42"/>
                  <a:pt x="12" y="42"/>
                </a:cubicBezTo>
                <a:cubicBezTo>
                  <a:pt x="12" y="42"/>
                  <a:pt x="12" y="42"/>
                  <a:pt x="12" y="42"/>
                </a:cubicBezTo>
                <a:cubicBezTo>
                  <a:pt x="11" y="40"/>
                  <a:pt x="11" y="40"/>
                  <a:pt x="11" y="40"/>
                </a:cubicBezTo>
                <a:cubicBezTo>
                  <a:pt x="9" y="41"/>
                  <a:pt x="9" y="41"/>
                  <a:pt x="9" y="41"/>
                </a:cubicBezTo>
                <a:cubicBezTo>
                  <a:pt x="11" y="42"/>
                  <a:pt x="11" y="42"/>
                  <a:pt x="11" y="42"/>
                </a:cubicBezTo>
                <a:cubicBezTo>
                  <a:pt x="10" y="43"/>
                  <a:pt x="10" y="43"/>
                  <a:pt x="10" y="43"/>
                </a:cubicBezTo>
                <a:cubicBezTo>
                  <a:pt x="10" y="43"/>
                  <a:pt x="10" y="43"/>
                  <a:pt x="10" y="43"/>
                </a:cubicBezTo>
                <a:cubicBezTo>
                  <a:pt x="9" y="44"/>
                  <a:pt x="9" y="44"/>
                  <a:pt x="9" y="44"/>
                </a:cubicBezTo>
                <a:close/>
                <a:moveTo>
                  <a:pt x="11" y="48"/>
                </a:moveTo>
                <a:cubicBezTo>
                  <a:pt x="11" y="47"/>
                  <a:pt x="11" y="47"/>
                  <a:pt x="11" y="47"/>
                </a:cubicBezTo>
                <a:cubicBezTo>
                  <a:pt x="13" y="45"/>
                  <a:pt x="13" y="45"/>
                  <a:pt x="13" y="45"/>
                </a:cubicBezTo>
                <a:cubicBezTo>
                  <a:pt x="12" y="47"/>
                  <a:pt x="12" y="47"/>
                  <a:pt x="12" y="47"/>
                </a:cubicBezTo>
                <a:cubicBezTo>
                  <a:pt x="11" y="48"/>
                  <a:pt x="11" y="48"/>
                  <a:pt x="11" y="48"/>
                </a:cubicBezTo>
                <a:close/>
                <a:moveTo>
                  <a:pt x="9" y="50"/>
                </a:moveTo>
                <a:cubicBezTo>
                  <a:pt x="11" y="49"/>
                  <a:pt x="11" y="49"/>
                  <a:pt x="11" y="49"/>
                </a:cubicBezTo>
                <a:cubicBezTo>
                  <a:pt x="10" y="47"/>
                  <a:pt x="10" y="47"/>
                  <a:pt x="10" y="47"/>
                </a:cubicBezTo>
                <a:cubicBezTo>
                  <a:pt x="8" y="48"/>
                  <a:pt x="8" y="48"/>
                  <a:pt x="8" y="48"/>
                </a:cubicBezTo>
                <a:cubicBezTo>
                  <a:pt x="8" y="49"/>
                  <a:pt x="8" y="49"/>
                  <a:pt x="8" y="49"/>
                </a:cubicBezTo>
                <a:cubicBezTo>
                  <a:pt x="10" y="48"/>
                  <a:pt x="10" y="48"/>
                  <a:pt x="10" y="48"/>
                </a:cubicBezTo>
                <a:cubicBezTo>
                  <a:pt x="9" y="50"/>
                  <a:pt x="9" y="50"/>
                  <a:pt x="9" y="50"/>
                </a:cubicBezTo>
                <a:close/>
                <a:moveTo>
                  <a:pt x="14" y="49"/>
                </a:moveTo>
                <a:cubicBezTo>
                  <a:pt x="14" y="51"/>
                  <a:pt x="14" y="51"/>
                  <a:pt x="14" y="51"/>
                </a:cubicBezTo>
                <a:cubicBezTo>
                  <a:pt x="16" y="52"/>
                  <a:pt x="16" y="52"/>
                  <a:pt x="16" y="52"/>
                </a:cubicBezTo>
                <a:cubicBezTo>
                  <a:pt x="16" y="50"/>
                  <a:pt x="16" y="50"/>
                  <a:pt x="16" y="50"/>
                </a:cubicBezTo>
                <a:cubicBezTo>
                  <a:pt x="15" y="49"/>
                  <a:pt x="15" y="49"/>
                  <a:pt x="15" y="49"/>
                </a:cubicBezTo>
                <a:cubicBezTo>
                  <a:pt x="14" y="49"/>
                  <a:pt x="14" y="49"/>
                  <a:pt x="14" y="49"/>
                </a:cubicBezTo>
                <a:close/>
                <a:moveTo>
                  <a:pt x="18" y="70"/>
                </a:moveTo>
                <a:cubicBezTo>
                  <a:pt x="20" y="71"/>
                  <a:pt x="20" y="71"/>
                  <a:pt x="20" y="71"/>
                </a:cubicBezTo>
                <a:cubicBezTo>
                  <a:pt x="21" y="70"/>
                  <a:pt x="21" y="70"/>
                  <a:pt x="21" y="70"/>
                </a:cubicBezTo>
                <a:cubicBezTo>
                  <a:pt x="20" y="70"/>
                  <a:pt x="20" y="70"/>
                  <a:pt x="20" y="70"/>
                </a:cubicBezTo>
                <a:cubicBezTo>
                  <a:pt x="20" y="69"/>
                  <a:pt x="20" y="69"/>
                  <a:pt x="20" y="69"/>
                </a:cubicBezTo>
                <a:cubicBezTo>
                  <a:pt x="19" y="69"/>
                  <a:pt x="19" y="69"/>
                  <a:pt x="19" y="69"/>
                </a:cubicBezTo>
                <a:cubicBezTo>
                  <a:pt x="19" y="69"/>
                  <a:pt x="18" y="70"/>
                  <a:pt x="18" y="70"/>
                </a:cubicBezTo>
                <a:close/>
                <a:moveTo>
                  <a:pt x="17" y="63"/>
                </a:moveTo>
                <a:cubicBezTo>
                  <a:pt x="17" y="62"/>
                  <a:pt x="17" y="62"/>
                  <a:pt x="17" y="62"/>
                </a:cubicBezTo>
                <a:cubicBezTo>
                  <a:pt x="20" y="60"/>
                  <a:pt x="20" y="60"/>
                  <a:pt x="20" y="60"/>
                </a:cubicBezTo>
                <a:cubicBezTo>
                  <a:pt x="19" y="61"/>
                  <a:pt x="19" y="61"/>
                  <a:pt x="19" y="61"/>
                </a:cubicBezTo>
                <a:cubicBezTo>
                  <a:pt x="20" y="62"/>
                  <a:pt x="20" y="62"/>
                  <a:pt x="20" y="62"/>
                </a:cubicBezTo>
                <a:cubicBezTo>
                  <a:pt x="18" y="63"/>
                  <a:pt x="18" y="63"/>
                  <a:pt x="18" y="63"/>
                </a:cubicBezTo>
                <a:cubicBezTo>
                  <a:pt x="17" y="63"/>
                  <a:pt x="17" y="63"/>
                  <a:pt x="17" y="63"/>
                </a:cubicBezTo>
                <a:close/>
                <a:moveTo>
                  <a:pt x="15" y="99"/>
                </a:moveTo>
                <a:cubicBezTo>
                  <a:pt x="15" y="98"/>
                  <a:pt x="15" y="98"/>
                  <a:pt x="15" y="98"/>
                </a:cubicBezTo>
                <a:cubicBezTo>
                  <a:pt x="15" y="98"/>
                  <a:pt x="15" y="98"/>
                  <a:pt x="15" y="98"/>
                </a:cubicBezTo>
                <a:cubicBezTo>
                  <a:pt x="16" y="97"/>
                  <a:pt x="16" y="97"/>
                  <a:pt x="16" y="97"/>
                </a:cubicBezTo>
                <a:cubicBezTo>
                  <a:pt x="16" y="98"/>
                  <a:pt x="16" y="98"/>
                  <a:pt x="16" y="98"/>
                </a:cubicBezTo>
                <a:cubicBezTo>
                  <a:pt x="17" y="97"/>
                  <a:pt x="17" y="97"/>
                  <a:pt x="17" y="97"/>
                </a:cubicBezTo>
                <a:cubicBezTo>
                  <a:pt x="17" y="97"/>
                  <a:pt x="17" y="97"/>
                  <a:pt x="17" y="97"/>
                </a:cubicBezTo>
                <a:cubicBezTo>
                  <a:pt x="18" y="96"/>
                  <a:pt x="18" y="96"/>
                  <a:pt x="18" y="96"/>
                </a:cubicBezTo>
                <a:cubicBezTo>
                  <a:pt x="19" y="96"/>
                  <a:pt x="19" y="96"/>
                  <a:pt x="19" y="96"/>
                </a:cubicBezTo>
                <a:cubicBezTo>
                  <a:pt x="20" y="96"/>
                  <a:pt x="20" y="96"/>
                  <a:pt x="20" y="96"/>
                </a:cubicBezTo>
                <a:cubicBezTo>
                  <a:pt x="20" y="96"/>
                  <a:pt x="20" y="96"/>
                  <a:pt x="20" y="96"/>
                </a:cubicBezTo>
                <a:cubicBezTo>
                  <a:pt x="21" y="96"/>
                  <a:pt x="21" y="96"/>
                  <a:pt x="21" y="96"/>
                </a:cubicBezTo>
                <a:cubicBezTo>
                  <a:pt x="21" y="96"/>
                  <a:pt x="21" y="96"/>
                  <a:pt x="21" y="96"/>
                </a:cubicBezTo>
                <a:cubicBezTo>
                  <a:pt x="22" y="96"/>
                  <a:pt x="22" y="96"/>
                  <a:pt x="22" y="96"/>
                </a:cubicBezTo>
                <a:cubicBezTo>
                  <a:pt x="23" y="97"/>
                  <a:pt x="23" y="97"/>
                  <a:pt x="23" y="97"/>
                </a:cubicBezTo>
                <a:cubicBezTo>
                  <a:pt x="24" y="97"/>
                  <a:pt x="24" y="97"/>
                  <a:pt x="24" y="97"/>
                </a:cubicBezTo>
                <a:cubicBezTo>
                  <a:pt x="24" y="96"/>
                  <a:pt x="24" y="96"/>
                  <a:pt x="24" y="96"/>
                </a:cubicBezTo>
                <a:cubicBezTo>
                  <a:pt x="25" y="96"/>
                  <a:pt x="25" y="96"/>
                  <a:pt x="25" y="96"/>
                </a:cubicBezTo>
                <a:cubicBezTo>
                  <a:pt x="25" y="95"/>
                  <a:pt x="25" y="95"/>
                  <a:pt x="25" y="95"/>
                </a:cubicBezTo>
                <a:cubicBezTo>
                  <a:pt x="25" y="94"/>
                  <a:pt x="25" y="94"/>
                  <a:pt x="25" y="94"/>
                </a:cubicBezTo>
                <a:cubicBezTo>
                  <a:pt x="25" y="94"/>
                  <a:pt x="25" y="94"/>
                  <a:pt x="25" y="94"/>
                </a:cubicBezTo>
                <a:cubicBezTo>
                  <a:pt x="26" y="93"/>
                  <a:pt x="26" y="93"/>
                  <a:pt x="26" y="93"/>
                </a:cubicBezTo>
                <a:cubicBezTo>
                  <a:pt x="26" y="93"/>
                  <a:pt x="26" y="93"/>
                  <a:pt x="26" y="93"/>
                </a:cubicBezTo>
                <a:cubicBezTo>
                  <a:pt x="28" y="93"/>
                  <a:pt x="28" y="93"/>
                  <a:pt x="28" y="93"/>
                </a:cubicBezTo>
                <a:cubicBezTo>
                  <a:pt x="29" y="93"/>
                  <a:pt x="29" y="93"/>
                  <a:pt x="29" y="93"/>
                </a:cubicBezTo>
                <a:cubicBezTo>
                  <a:pt x="31" y="94"/>
                  <a:pt x="31" y="94"/>
                  <a:pt x="31" y="94"/>
                </a:cubicBezTo>
                <a:cubicBezTo>
                  <a:pt x="31" y="93"/>
                  <a:pt x="31" y="93"/>
                  <a:pt x="31" y="93"/>
                </a:cubicBezTo>
                <a:cubicBezTo>
                  <a:pt x="33" y="93"/>
                  <a:pt x="33" y="93"/>
                  <a:pt x="33" y="93"/>
                </a:cubicBezTo>
                <a:cubicBezTo>
                  <a:pt x="34" y="94"/>
                  <a:pt x="34" y="94"/>
                  <a:pt x="34" y="94"/>
                </a:cubicBezTo>
                <a:cubicBezTo>
                  <a:pt x="34" y="93"/>
                  <a:pt x="34" y="93"/>
                  <a:pt x="34" y="93"/>
                </a:cubicBezTo>
                <a:cubicBezTo>
                  <a:pt x="35" y="92"/>
                  <a:pt x="35" y="92"/>
                  <a:pt x="35" y="92"/>
                </a:cubicBezTo>
                <a:cubicBezTo>
                  <a:pt x="36" y="92"/>
                  <a:pt x="36" y="92"/>
                  <a:pt x="36" y="92"/>
                </a:cubicBezTo>
                <a:cubicBezTo>
                  <a:pt x="37" y="91"/>
                  <a:pt x="37" y="91"/>
                  <a:pt x="37" y="91"/>
                </a:cubicBezTo>
                <a:cubicBezTo>
                  <a:pt x="38" y="92"/>
                  <a:pt x="38" y="92"/>
                  <a:pt x="38" y="92"/>
                </a:cubicBezTo>
                <a:cubicBezTo>
                  <a:pt x="39" y="92"/>
                  <a:pt x="39" y="92"/>
                  <a:pt x="39" y="92"/>
                </a:cubicBezTo>
                <a:cubicBezTo>
                  <a:pt x="40" y="91"/>
                  <a:pt x="40" y="91"/>
                  <a:pt x="40" y="91"/>
                </a:cubicBezTo>
                <a:cubicBezTo>
                  <a:pt x="40" y="92"/>
                  <a:pt x="40" y="92"/>
                  <a:pt x="40" y="92"/>
                </a:cubicBezTo>
                <a:cubicBezTo>
                  <a:pt x="40" y="92"/>
                  <a:pt x="40" y="92"/>
                  <a:pt x="40" y="92"/>
                </a:cubicBezTo>
                <a:cubicBezTo>
                  <a:pt x="41" y="91"/>
                  <a:pt x="41" y="91"/>
                  <a:pt x="41" y="91"/>
                </a:cubicBezTo>
                <a:cubicBezTo>
                  <a:pt x="43" y="91"/>
                  <a:pt x="43" y="91"/>
                  <a:pt x="43" y="91"/>
                </a:cubicBezTo>
                <a:cubicBezTo>
                  <a:pt x="45" y="91"/>
                  <a:pt x="45" y="91"/>
                  <a:pt x="45" y="91"/>
                </a:cubicBezTo>
                <a:cubicBezTo>
                  <a:pt x="46" y="92"/>
                  <a:pt x="46" y="92"/>
                  <a:pt x="46" y="92"/>
                </a:cubicBezTo>
                <a:cubicBezTo>
                  <a:pt x="47" y="92"/>
                  <a:pt x="47" y="92"/>
                  <a:pt x="47" y="92"/>
                </a:cubicBezTo>
                <a:cubicBezTo>
                  <a:pt x="47" y="91"/>
                  <a:pt x="47" y="91"/>
                  <a:pt x="47" y="91"/>
                </a:cubicBezTo>
                <a:cubicBezTo>
                  <a:pt x="49" y="91"/>
                  <a:pt x="49" y="91"/>
                  <a:pt x="49" y="91"/>
                </a:cubicBezTo>
                <a:cubicBezTo>
                  <a:pt x="49" y="90"/>
                  <a:pt x="49" y="90"/>
                  <a:pt x="49" y="90"/>
                </a:cubicBezTo>
                <a:cubicBezTo>
                  <a:pt x="50" y="90"/>
                  <a:pt x="50" y="90"/>
                  <a:pt x="50" y="90"/>
                </a:cubicBezTo>
                <a:cubicBezTo>
                  <a:pt x="51" y="90"/>
                  <a:pt x="51" y="90"/>
                  <a:pt x="51" y="90"/>
                </a:cubicBezTo>
                <a:cubicBezTo>
                  <a:pt x="51" y="89"/>
                  <a:pt x="51" y="89"/>
                  <a:pt x="51" y="89"/>
                </a:cubicBezTo>
                <a:cubicBezTo>
                  <a:pt x="52" y="88"/>
                  <a:pt x="52" y="88"/>
                  <a:pt x="52" y="88"/>
                </a:cubicBezTo>
                <a:cubicBezTo>
                  <a:pt x="53" y="88"/>
                  <a:pt x="53" y="88"/>
                  <a:pt x="53" y="88"/>
                </a:cubicBezTo>
                <a:cubicBezTo>
                  <a:pt x="53" y="87"/>
                  <a:pt x="53" y="87"/>
                  <a:pt x="53" y="87"/>
                </a:cubicBezTo>
                <a:cubicBezTo>
                  <a:pt x="53" y="87"/>
                  <a:pt x="53" y="87"/>
                  <a:pt x="53" y="87"/>
                </a:cubicBezTo>
                <a:cubicBezTo>
                  <a:pt x="53" y="86"/>
                  <a:pt x="53" y="86"/>
                  <a:pt x="53" y="86"/>
                </a:cubicBezTo>
                <a:cubicBezTo>
                  <a:pt x="51" y="86"/>
                  <a:pt x="51" y="86"/>
                  <a:pt x="51" y="86"/>
                </a:cubicBezTo>
                <a:cubicBezTo>
                  <a:pt x="50" y="86"/>
                  <a:pt x="50" y="86"/>
                  <a:pt x="50" y="86"/>
                </a:cubicBezTo>
                <a:cubicBezTo>
                  <a:pt x="50" y="86"/>
                  <a:pt x="50" y="86"/>
                  <a:pt x="50" y="86"/>
                </a:cubicBezTo>
                <a:cubicBezTo>
                  <a:pt x="48" y="86"/>
                  <a:pt x="48" y="86"/>
                  <a:pt x="48" y="86"/>
                </a:cubicBezTo>
                <a:cubicBezTo>
                  <a:pt x="48" y="86"/>
                  <a:pt x="48" y="86"/>
                  <a:pt x="48" y="86"/>
                </a:cubicBezTo>
                <a:cubicBezTo>
                  <a:pt x="48" y="86"/>
                  <a:pt x="48" y="86"/>
                  <a:pt x="48" y="86"/>
                </a:cubicBezTo>
                <a:cubicBezTo>
                  <a:pt x="49" y="85"/>
                  <a:pt x="49" y="85"/>
                  <a:pt x="49" y="85"/>
                </a:cubicBezTo>
                <a:cubicBezTo>
                  <a:pt x="49" y="85"/>
                  <a:pt x="49" y="85"/>
                  <a:pt x="49" y="85"/>
                </a:cubicBezTo>
                <a:cubicBezTo>
                  <a:pt x="48" y="85"/>
                  <a:pt x="48" y="85"/>
                  <a:pt x="48" y="85"/>
                </a:cubicBezTo>
                <a:cubicBezTo>
                  <a:pt x="47" y="85"/>
                  <a:pt x="47" y="85"/>
                  <a:pt x="47" y="85"/>
                </a:cubicBezTo>
                <a:cubicBezTo>
                  <a:pt x="48" y="84"/>
                  <a:pt x="48" y="84"/>
                  <a:pt x="48" y="84"/>
                </a:cubicBezTo>
                <a:cubicBezTo>
                  <a:pt x="49" y="85"/>
                  <a:pt x="49" y="85"/>
                  <a:pt x="49" y="85"/>
                </a:cubicBezTo>
                <a:cubicBezTo>
                  <a:pt x="50" y="84"/>
                  <a:pt x="50" y="84"/>
                  <a:pt x="50" y="84"/>
                </a:cubicBezTo>
                <a:cubicBezTo>
                  <a:pt x="50" y="83"/>
                  <a:pt x="50" y="83"/>
                  <a:pt x="50" y="83"/>
                </a:cubicBezTo>
                <a:cubicBezTo>
                  <a:pt x="49" y="83"/>
                  <a:pt x="49" y="83"/>
                  <a:pt x="49" y="83"/>
                </a:cubicBezTo>
                <a:cubicBezTo>
                  <a:pt x="49" y="83"/>
                  <a:pt x="49" y="83"/>
                  <a:pt x="49" y="83"/>
                </a:cubicBezTo>
                <a:cubicBezTo>
                  <a:pt x="50" y="82"/>
                  <a:pt x="50" y="82"/>
                  <a:pt x="50" y="82"/>
                </a:cubicBezTo>
                <a:cubicBezTo>
                  <a:pt x="51" y="83"/>
                  <a:pt x="51" y="83"/>
                  <a:pt x="51" y="83"/>
                </a:cubicBezTo>
                <a:cubicBezTo>
                  <a:pt x="51" y="82"/>
                  <a:pt x="51" y="82"/>
                  <a:pt x="51" y="82"/>
                </a:cubicBezTo>
                <a:cubicBezTo>
                  <a:pt x="52" y="81"/>
                  <a:pt x="52" y="81"/>
                  <a:pt x="52" y="81"/>
                </a:cubicBezTo>
                <a:cubicBezTo>
                  <a:pt x="51" y="81"/>
                  <a:pt x="51" y="81"/>
                  <a:pt x="51" y="81"/>
                </a:cubicBezTo>
                <a:cubicBezTo>
                  <a:pt x="52" y="81"/>
                  <a:pt x="52" y="81"/>
                  <a:pt x="52" y="81"/>
                </a:cubicBezTo>
                <a:cubicBezTo>
                  <a:pt x="51" y="81"/>
                  <a:pt x="51" y="81"/>
                  <a:pt x="51" y="81"/>
                </a:cubicBezTo>
                <a:cubicBezTo>
                  <a:pt x="51" y="80"/>
                  <a:pt x="51" y="80"/>
                  <a:pt x="51" y="80"/>
                </a:cubicBezTo>
                <a:cubicBezTo>
                  <a:pt x="52" y="80"/>
                  <a:pt x="52" y="80"/>
                  <a:pt x="52" y="80"/>
                </a:cubicBezTo>
                <a:cubicBezTo>
                  <a:pt x="52" y="81"/>
                  <a:pt x="52" y="81"/>
                  <a:pt x="52" y="81"/>
                </a:cubicBezTo>
                <a:cubicBezTo>
                  <a:pt x="53" y="80"/>
                  <a:pt x="53" y="80"/>
                  <a:pt x="53" y="80"/>
                </a:cubicBezTo>
                <a:cubicBezTo>
                  <a:pt x="53" y="80"/>
                  <a:pt x="53" y="80"/>
                  <a:pt x="53" y="80"/>
                </a:cubicBezTo>
                <a:cubicBezTo>
                  <a:pt x="53" y="78"/>
                  <a:pt x="53" y="78"/>
                  <a:pt x="53" y="78"/>
                </a:cubicBezTo>
                <a:cubicBezTo>
                  <a:pt x="54" y="76"/>
                  <a:pt x="54" y="76"/>
                  <a:pt x="54" y="76"/>
                </a:cubicBezTo>
                <a:cubicBezTo>
                  <a:pt x="54" y="75"/>
                  <a:pt x="54" y="75"/>
                  <a:pt x="54" y="75"/>
                </a:cubicBezTo>
                <a:cubicBezTo>
                  <a:pt x="53" y="74"/>
                  <a:pt x="53" y="74"/>
                  <a:pt x="53" y="74"/>
                </a:cubicBezTo>
                <a:cubicBezTo>
                  <a:pt x="51" y="72"/>
                  <a:pt x="51" y="72"/>
                  <a:pt x="51" y="72"/>
                </a:cubicBezTo>
                <a:cubicBezTo>
                  <a:pt x="48" y="72"/>
                  <a:pt x="48" y="72"/>
                  <a:pt x="48" y="72"/>
                </a:cubicBezTo>
                <a:cubicBezTo>
                  <a:pt x="46" y="72"/>
                  <a:pt x="46" y="72"/>
                  <a:pt x="46" y="72"/>
                </a:cubicBezTo>
                <a:cubicBezTo>
                  <a:pt x="46" y="73"/>
                  <a:pt x="46" y="73"/>
                  <a:pt x="46" y="73"/>
                </a:cubicBezTo>
                <a:cubicBezTo>
                  <a:pt x="46" y="74"/>
                  <a:pt x="46" y="74"/>
                  <a:pt x="46" y="74"/>
                </a:cubicBezTo>
                <a:cubicBezTo>
                  <a:pt x="45" y="73"/>
                  <a:pt x="45" y="73"/>
                  <a:pt x="45" y="73"/>
                </a:cubicBezTo>
                <a:cubicBezTo>
                  <a:pt x="44" y="73"/>
                  <a:pt x="44" y="73"/>
                  <a:pt x="44" y="73"/>
                </a:cubicBezTo>
                <a:cubicBezTo>
                  <a:pt x="46" y="71"/>
                  <a:pt x="46" y="71"/>
                  <a:pt x="46" y="71"/>
                </a:cubicBezTo>
                <a:cubicBezTo>
                  <a:pt x="46" y="70"/>
                  <a:pt x="46" y="70"/>
                  <a:pt x="46" y="70"/>
                </a:cubicBezTo>
                <a:cubicBezTo>
                  <a:pt x="44" y="68"/>
                  <a:pt x="44" y="68"/>
                  <a:pt x="44" y="68"/>
                </a:cubicBezTo>
                <a:cubicBezTo>
                  <a:pt x="44" y="68"/>
                  <a:pt x="44" y="68"/>
                  <a:pt x="44" y="68"/>
                </a:cubicBezTo>
                <a:cubicBezTo>
                  <a:pt x="42" y="67"/>
                  <a:pt x="42" y="67"/>
                  <a:pt x="42" y="67"/>
                </a:cubicBezTo>
                <a:cubicBezTo>
                  <a:pt x="42" y="66"/>
                  <a:pt x="42" y="66"/>
                  <a:pt x="42" y="66"/>
                </a:cubicBezTo>
                <a:cubicBezTo>
                  <a:pt x="41" y="66"/>
                  <a:pt x="41" y="66"/>
                  <a:pt x="41" y="66"/>
                </a:cubicBezTo>
                <a:cubicBezTo>
                  <a:pt x="41" y="66"/>
                  <a:pt x="41" y="66"/>
                  <a:pt x="41" y="66"/>
                </a:cubicBezTo>
                <a:cubicBezTo>
                  <a:pt x="40" y="66"/>
                  <a:pt x="40" y="66"/>
                  <a:pt x="40" y="66"/>
                </a:cubicBezTo>
                <a:cubicBezTo>
                  <a:pt x="39" y="66"/>
                  <a:pt x="39" y="66"/>
                  <a:pt x="39" y="66"/>
                </a:cubicBezTo>
                <a:cubicBezTo>
                  <a:pt x="40" y="66"/>
                  <a:pt x="40" y="66"/>
                  <a:pt x="40" y="66"/>
                </a:cubicBezTo>
                <a:cubicBezTo>
                  <a:pt x="41" y="66"/>
                  <a:pt x="41" y="66"/>
                  <a:pt x="41" y="66"/>
                </a:cubicBezTo>
                <a:cubicBezTo>
                  <a:pt x="42" y="66"/>
                  <a:pt x="42" y="66"/>
                  <a:pt x="42" y="66"/>
                </a:cubicBezTo>
                <a:cubicBezTo>
                  <a:pt x="42" y="66"/>
                  <a:pt x="42" y="66"/>
                  <a:pt x="42" y="66"/>
                </a:cubicBezTo>
                <a:cubicBezTo>
                  <a:pt x="43" y="66"/>
                  <a:pt x="43" y="66"/>
                  <a:pt x="43" y="66"/>
                </a:cubicBezTo>
                <a:cubicBezTo>
                  <a:pt x="43" y="66"/>
                  <a:pt x="43" y="66"/>
                  <a:pt x="43" y="66"/>
                </a:cubicBezTo>
                <a:cubicBezTo>
                  <a:pt x="44" y="66"/>
                  <a:pt x="44" y="66"/>
                  <a:pt x="44" y="66"/>
                </a:cubicBezTo>
                <a:cubicBezTo>
                  <a:pt x="42" y="64"/>
                  <a:pt x="42" y="64"/>
                  <a:pt x="42" y="64"/>
                </a:cubicBezTo>
                <a:cubicBezTo>
                  <a:pt x="42" y="63"/>
                  <a:pt x="42" y="63"/>
                  <a:pt x="42" y="63"/>
                </a:cubicBezTo>
                <a:cubicBezTo>
                  <a:pt x="42" y="63"/>
                  <a:pt x="42" y="63"/>
                  <a:pt x="42" y="63"/>
                </a:cubicBezTo>
                <a:cubicBezTo>
                  <a:pt x="43" y="62"/>
                  <a:pt x="43" y="62"/>
                  <a:pt x="43" y="62"/>
                </a:cubicBezTo>
                <a:cubicBezTo>
                  <a:pt x="42" y="62"/>
                  <a:pt x="42" y="62"/>
                  <a:pt x="42" y="62"/>
                </a:cubicBezTo>
                <a:cubicBezTo>
                  <a:pt x="41" y="61"/>
                  <a:pt x="41" y="61"/>
                  <a:pt x="41" y="61"/>
                </a:cubicBezTo>
                <a:cubicBezTo>
                  <a:pt x="41" y="61"/>
                  <a:pt x="41" y="61"/>
                  <a:pt x="41" y="61"/>
                </a:cubicBezTo>
                <a:cubicBezTo>
                  <a:pt x="40" y="59"/>
                  <a:pt x="40" y="59"/>
                  <a:pt x="40" y="59"/>
                </a:cubicBezTo>
                <a:cubicBezTo>
                  <a:pt x="39" y="59"/>
                  <a:pt x="39" y="59"/>
                  <a:pt x="39" y="59"/>
                </a:cubicBezTo>
                <a:cubicBezTo>
                  <a:pt x="36" y="58"/>
                  <a:pt x="36" y="58"/>
                  <a:pt x="36" y="58"/>
                </a:cubicBezTo>
                <a:cubicBezTo>
                  <a:pt x="36" y="57"/>
                  <a:pt x="36" y="57"/>
                  <a:pt x="36" y="57"/>
                </a:cubicBezTo>
                <a:cubicBezTo>
                  <a:pt x="36" y="57"/>
                  <a:pt x="36" y="57"/>
                  <a:pt x="36" y="57"/>
                </a:cubicBezTo>
                <a:cubicBezTo>
                  <a:pt x="35" y="55"/>
                  <a:pt x="35" y="55"/>
                  <a:pt x="35" y="55"/>
                </a:cubicBezTo>
                <a:cubicBezTo>
                  <a:pt x="34" y="54"/>
                  <a:pt x="34" y="54"/>
                  <a:pt x="34" y="54"/>
                </a:cubicBezTo>
                <a:cubicBezTo>
                  <a:pt x="34" y="51"/>
                  <a:pt x="34" y="51"/>
                  <a:pt x="34" y="51"/>
                </a:cubicBezTo>
                <a:cubicBezTo>
                  <a:pt x="33" y="50"/>
                  <a:pt x="33" y="50"/>
                  <a:pt x="33" y="50"/>
                </a:cubicBezTo>
                <a:cubicBezTo>
                  <a:pt x="33" y="50"/>
                  <a:pt x="33" y="50"/>
                  <a:pt x="33" y="50"/>
                </a:cubicBezTo>
                <a:cubicBezTo>
                  <a:pt x="31" y="47"/>
                  <a:pt x="31" y="47"/>
                  <a:pt x="31" y="47"/>
                </a:cubicBezTo>
                <a:cubicBezTo>
                  <a:pt x="30" y="47"/>
                  <a:pt x="30" y="47"/>
                  <a:pt x="30" y="47"/>
                </a:cubicBezTo>
                <a:cubicBezTo>
                  <a:pt x="29" y="46"/>
                  <a:pt x="29" y="46"/>
                  <a:pt x="29" y="46"/>
                </a:cubicBezTo>
                <a:cubicBezTo>
                  <a:pt x="28" y="46"/>
                  <a:pt x="28" y="46"/>
                  <a:pt x="28" y="46"/>
                </a:cubicBezTo>
                <a:cubicBezTo>
                  <a:pt x="27" y="46"/>
                  <a:pt x="27" y="46"/>
                  <a:pt x="27" y="46"/>
                </a:cubicBezTo>
                <a:cubicBezTo>
                  <a:pt x="26" y="47"/>
                  <a:pt x="26" y="47"/>
                  <a:pt x="26" y="47"/>
                </a:cubicBezTo>
                <a:cubicBezTo>
                  <a:pt x="25" y="46"/>
                  <a:pt x="25" y="46"/>
                  <a:pt x="25" y="46"/>
                </a:cubicBezTo>
                <a:cubicBezTo>
                  <a:pt x="24" y="46"/>
                  <a:pt x="24" y="46"/>
                  <a:pt x="24" y="46"/>
                </a:cubicBezTo>
                <a:cubicBezTo>
                  <a:pt x="23" y="46"/>
                  <a:pt x="23" y="46"/>
                  <a:pt x="23" y="46"/>
                </a:cubicBezTo>
                <a:cubicBezTo>
                  <a:pt x="23" y="45"/>
                  <a:pt x="23" y="45"/>
                  <a:pt x="23" y="45"/>
                </a:cubicBezTo>
                <a:cubicBezTo>
                  <a:pt x="23" y="46"/>
                  <a:pt x="23" y="46"/>
                  <a:pt x="23" y="46"/>
                </a:cubicBezTo>
                <a:cubicBezTo>
                  <a:pt x="25" y="46"/>
                  <a:pt x="25" y="46"/>
                  <a:pt x="25" y="46"/>
                </a:cubicBezTo>
                <a:cubicBezTo>
                  <a:pt x="26" y="45"/>
                  <a:pt x="26" y="45"/>
                  <a:pt x="26" y="45"/>
                </a:cubicBezTo>
                <a:cubicBezTo>
                  <a:pt x="26" y="45"/>
                  <a:pt x="26" y="45"/>
                  <a:pt x="26" y="45"/>
                </a:cubicBezTo>
                <a:cubicBezTo>
                  <a:pt x="27" y="45"/>
                  <a:pt x="27" y="45"/>
                  <a:pt x="27" y="45"/>
                </a:cubicBezTo>
                <a:cubicBezTo>
                  <a:pt x="28" y="44"/>
                  <a:pt x="28" y="44"/>
                  <a:pt x="28" y="44"/>
                </a:cubicBezTo>
                <a:cubicBezTo>
                  <a:pt x="27" y="43"/>
                  <a:pt x="27" y="43"/>
                  <a:pt x="27" y="43"/>
                </a:cubicBezTo>
                <a:cubicBezTo>
                  <a:pt x="27" y="43"/>
                  <a:pt x="27" y="43"/>
                  <a:pt x="27" y="43"/>
                </a:cubicBezTo>
                <a:cubicBezTo>
                  <a:pt x="27" y="42"/>
                  <a:pt x="27" y="42"/>
                  <a:pt x="27" y="42"/>
                </a:cubicBezTo>
                <a:cubicBezTo>
                  <a:pt x="25" y="43"/>
                  <a:pt x="25" y="43"/>
                  <a:pt x="25" y="43"/>
                </a:cubicBezTo>
                <a:cubicBezTo>
                  <a:pt x="25" y="43"/>
                  <a:pt x="25" y="43"/>
                  <a:pt x="25" y="43"/>
                </a:cubicBezTo>
                <a:cubicBezTo>
                  <a:pt x="26" y="42"/>
                  <a:pt x="26" y="42"/>
                  <a:pt x="26" y="42"/>
                </a:cubicBezTo>
                <a:cubicBezTo>
                  <a:pt x="28" y="42"/>
                  <a:pt x="28" y="42"/>
                  <a:pt x="28" y="42"/>
                </a:cubicBezTo>
                <a:cubicBezTo>
                  <a:pt x="28" y="41"/>
                  <a:pt x="28" y="41"/>
                  <a:pt x="28" y="41"/>
                </a:cubicBezTo>
                <a:cubicBezTo>
                  <a:pt x="29" y="41"/>
                  <a:pt x="29" y="41"/>
                  <a:pt x="29" y="41"/>
                </a:cubicBezTo>
                <a:cubicBezTo>
                  <a:pt x="29" y="40"/>
                  <a:pt x="29" y="40"/>
                  <a:pt x="29" y="40"/>
                </a:cubicBezTo>
                <a:cubicBezTo>
                  <a:pt x="30" y="39"/>
                  <a:pt x="30" y="39"/>
                  <a:pt x="30" y="39"/>
                </a:cubicBezTo>
                <a:cubicBezTo>
                  <a:pt x="31" y="38"/>
                  <a:pt x="31" y="38"/>
                  <a:pt x="31" y="38"/>
                </a:cubicBezTo>
                <a:cubicBezTo>
                  <a:pt x="30" y="37"/>
                  <a:pt x="30" y="37"/>
                  <a:pt x="30" y="37"/>
                </a:cubicBezTo>
                <a:cubicBezTo>
                  <a:pt x="31" y="36"/>
                  <a:pt x="31" y="36"/>
                  <a:pt x="31" y="36"/>
                </a:cubicBezTo>
                <a:cubicBezTo>
                  <a:pt x="31" y="36"/>
                  <a:pt x="31" y="36"/>
                  <a:pt x="31" y="36"/>
                </a:cubicBezTo>
                <a:cubicBezTo>
                  <a:pt x="31" y="34"/>
                  <a:pt x="31" y="34"/>
                  <a:pt x="31" y="34"/>
                </a:cubicBezTo>
                <a:cubicBezTo>
                  <a:pt x="32" y="33"/>
                  <a:pt x="32" y="33"/>
                  <a:pt x="32" y="33"/>
                </a:cubicBezTo>
                <a:cubicBezTo>
                  <a:pt x="32" y="33"/>
                  <a:pt x="32" y="33"/>
                  <a:pt x="32" y="33"/>
                </a:cubicBezTo>
                <a:cubicBezTo>
                  <a:pt x="31" y="31"/>
                  <a:pt x="31" y="31"/>
                  <a:pt x="31" y="31"/>
                </a:cubicBezTo>
                <a:cubicBezTo>
                  <a:pt x="31" y="31"/>
                  <a:pt x="31" y="31"/>
                  <a:pt x="31" y="31"/>
                </a:cubicBezTo>
                <a:cubicBezTo>
                  <a:pt x="28" y="31"/>
                  <a:pt x="28" y="31"/>
                  <a:pt x="28" y="31"/>
                </a:cubicBezTo>
                <a:cubicBezTo>
                  <a:pt x="27" y="31"/>
                  <a:pt x="27" y="31"/>
                  <a:pt x="27" y="31"/>
                </a:cubicBezTo>
                <a:cubicBezTo>
                  <a:pt x="26" y="32"/>
                  <a:pt x="26" y="32"/>
                  <a:pt x="26" y="32"/>
                </a:cubicBezTo>
                <a:cubicBezTo>
                  <a:pt x="25" y="32"/>
                  <a:pt x="25" y="32"/>
                  <a:pt x="25" y="32"/>
                </a:cubicBezTo>
                <a:cubicBezTo>
                  <a:pt x="24" y="31"/>
                  <a:pt x="24" y="31"/>
                  <a:pt x="24" y="31"/>
                </a:cubicBezTo>
                <a:cubicBezTo>
                  <a:pt x="24" y="31"/>
                  <a:pt x="24" y="31"/>
                  <a:pt x="24" y="31"/>
                </a:cubicBezTo>
                <a:cubicBezTo>
                  <a:pt x="24" y="32"/>
                  <a:pt x="24" y="32"/>
                  <a:pt x="24" y="32"/>
                </a:cubicBezTo>
                <a:cubicBezTo>
                  <a:pt x="23" y="32"/>
                  <a:pt x="23" y="32"/>
                  <a:pt x="23" y="32"/>
                </a:cubicBezTo>
                <a:cubicBezTo>
                  <a:pt x="22" y="32"/>
                  <a:pt x="22" y="32"/>
                  <a:pt x="22" y="32"/>
                </a:cubicBezTo>
                <a:cubicBezTo>
                  <a:pt x="21" y="32"/>
                  <a:pt x="21" y="32"/>
                  <a:pt x="21" y="32"/>
                </a:cubicBezTo>
                <a:cubicBezTo>
                  <a:pt x="21" y="33"/>
                  <a:pt x="21" y="33"/>
                  <a:pt x="21" y="33"/>
                </a:cubicBezTo>
                <a:cubicBezTo>
                  <a:pt x="20" y="33"/>
                  <a:pt x="20" y="33"/>
                  <a:pt x="20" y="33"/>
                </a:cubicBezTo>
                <a:cubicBezTo>
                  <a:pt x="21" y="32"/>
                  <a:pt x="21" y="32"/>
                  <a:pt x="21" y="32"/>
                </a:cubicBezTo>
                <a:cubicBezTo>
                  <a:pt x="22" y="30"/>
                  <a:pt x="22" y="30"/>
                  <a:pt x="22" y="30"/>
                </a:cubicBezTo>
                <a:cubicBezTo>
                  <a:pt x="22" y="30"/>
                  <a:pt x="22" y="30"/>
                  <a:pt x="22" y="30"/>
                </a:cubicBezTo>
                <a:cubicBezTo>
                  <a:pt x="21" y="30"/>
                  <a:pt x="21" y="30"/>
                  <a:pt x="21" y="30"/>
                </a:cubicBezTo>
                <a:cubicBezTo>
                  <a:pt x="21" y="30"/>
                  <a:pt x="21" y="30"/>
                  <a:pt x="21" y="30"/>
                </a:cubicBezTo>
                <a:cubicBezTo>
                  <a:pt x="21" y="29"/>
                  <a:pt x="21" y="29"/>
                  <a:pt x="21" y="29"/>
                </a:cubicBezTo>
                <a:cubicBezTo>
                  <a:pt x="24" y="27"/>
                  <a:pt x="24" y="27"/>
                  <a:pt x="24" y="27"/>
                </a:cubicBezTo>
                <a:cubicBezTo>
                  <a:pt x="25" y="26"/>
                  <a:pt x="25" y="26"/>
                  <a:pt x="25" y="26"/>
                </a:cubicBezTo>
                <a:cubicBezTo>
                  <a:pt x="25" y="26"/>
                  <a:pt x="25" y="26"/>
                  <a:pt x="25" y="26"/>
                </a:cubicBezTo>
                <a:cubicBezTo>
                  <a:pt x="26" y="25"/>
                  <a:pt x="26" y="25"/>
                  <a:pt x="26" y="25"/>
                </a:cubicBezTo>
                <a:cubicBezTo>
                  <a:pt x="25" y="24"/>
                  <a:pt x="25" y="24"/>
                  <a:pt x="25" y="24"/>
                </a:cubicBezTo>
                <a:cubicBezTo>
                  <a:pt x="26" y="23"/>
                  <a:pt x="26" y="23"/>
                  <a:pt x="26" y="23"/>
                </a:cubicBezTo>
                <a:cubicBezTo>
                  <a:pt x="26" y="23"/>
                  <a:pt x="26" y="23"/>
                  <a:pt x="26" y="23"/>
                </a:cubicBezTo>
                <a:cubicBezTo>
                  <a:pt x="25" y="23"/>
                  <a:pt x="25" y="23"/>
                  <a:pt x="25" y="23"/>
                </a:cubicBezTo>
                <a:cubicBezTo>
                  <a:pt x="24" y="23"/>
                  <a:pt x="24" y="23"/>
                  <a:pt x="24" y="23"/>
                </a:cubicBezTo>
                <a:cubicBezTo>
                  <a:pt x="23" y="23"/>
                  <a:pt x="23" y="23"/>
                  <a:pt x="23" y="23"/>
                </a:cubicBezTo>
                <a:cubicBezTo>
                  <a:pt x="22" y="24"/>
                  <a:pt x="22" y="24"/>
                  <a:pt x="22" y="24"/>
                </a:cubicBezTo>
                <a:cubicBezTo>
                  <a:pt x="21" y="24"/>
                  <a:pt x="21" y="24"/>
                  <a:pt x="21" y="24"/>
                </a:cubicBezTo>
                <a:cubicBezTo>
                  <a:pt x="20" y="24"/>
                  <a:pt x="20" y="24"/>
                  <a:pt x="20" y="24"/>
                </a:cubicBezTo>
                <a:cubicBezTo>
                  <a:pt x="20" y="24"/>
                  <a:pt x="20" y="24"/>
                  <a:pt x="20" y="24"/>
                </a:cubicBezTo>
                <a:cubicBezTo>
                  <a:pt x="19" y="25"/>
                  <a:pt x="19" y="25"/>
                  <a:pt x="19" y="25"/>
                </a:cubicBezTo>
                <a:cubicBezTo>
                  <a:pt x="19" y="24"/>
                  <a:pt x="19" y="24"/>
                  <a:pt x="19" y="24"/>
                </a:cubicBezTo>
                <a:cubicBezTo>
                  <a:pt x="19" y="24"/>
                  <a:pt x="19" y="24"/>
                  <a:pt x="19" y="24"/>
                </a:cubicBezTo>
                <a:cubicBezTo>
                  <a:pt x="18" y="25"/>
                  <a:pt x="18" y="25"/>
                  <a:pt x="18" y="25"/>
                </a:cubicBezTo>
                <a:cubicBezTo>
                  <a:pt x="18" y="24"/>
                  <a:pt x="18" y="24"/>
                  <a:pt x="18" y="24"/>
                </a:cubicBezTo>
                <a:cubicBezTo>
                  <a:pt x="16" y="23"/>
                  <a:pt x="16" y="23"/>
                  <a:pt x="16" y="23"/>
                </a:cubicBezTo>
                <a:cubicBezTo>
                  <a:pt x="16" y="24"/>
                  <a:pt x="16" y="24"/>
                  <a:pt x="16" y="24"/>
                </a:cubicBezTo>
                <a:cubicBezTo>
                  <a:pt x="16" y="24"/>
                  <a:pt x="16" y="24"/>
                  <a:pt x="16" y="24"/>
                </a:cubicBezTo>
                <a:cubicBezTo>
                  <a:pt x="16" y="25"/>
                  <a:pt x="16" y="25"/>
                  <a:pt x="16" y="25"/>
                </a:cubicBezTo>
                <a:cubicBezTo>
                  <a:pt x="16" y="25"/>
                  <a:pt x="16" y="25"/>
                  <a:pt x="16" y="25"/>
                </a:cubicBezTo>
                <a:cubicBezTo>
                  <a:pt x="16" y="26"/>
                  <a:pt x="16" y="26"/>
                  <a:pt x="16" y="26"/>
                </a:cubicBezTo>
                <a:cubicBezTo>
                  <a:pt x="15" y="26"/>
                  <a:pt x="15" y="26"/>
                  <a:pt x="15" y="26"/>
                </a:cubicBezTo>
                <a:cubicBezTo>
                  <a:pt x="15" y="27"/>
                  <a:pt x="15" y="27"/>
                  <a:pt x="15" y="27"/>
                </a:cubicBezTo>
                <a:cubicBezTo>
                  <a:pt x="15" y="28"/>
                  <a:pt x="15" y="28"/>
                  <a:pt x="15" y="28"/>
                </a:cubicBezTo>
                <a:cubicBezTo>
                  <a:pt x="14" y="28"/>
                  <a:pt x="14" y="28"/>
                  <a:pt x="14" y="28"/>
                </a:cubicBezTo>
                <a:cubicBezTo>
                  <a:pt x="15" y="29"/>
                  <a:pt x="15" y="29"/>
                  <a:pt x="15" y="29"/>
                </a:cubicBezTo>
                <a:cubicBezTo>
                  <a:pt x="16" y="30"/>
                  <a:pt x="16" y="30"/>
                  <a:pt x="16" y="30"/>
                </a:cubicBezTo>
                <a:cubicBezTo>
                  <a:pt x="15" y="29"/>
                  <a:pt x="15" y="29"/>
                  <a:pt x="15" y="29"/>
                </a:cubicBezTo>
                <a:cubicBezTo>
                  <a:pt x="14" y="30"/>
                  <a:pt x="14" y="30"/>
                  <a:pt x="14" y="30"/>
                </a:cubicBezTo>
                <a:cubicBezTo>
                  <a:pt x="13" y="29"/>
                  <a:pt x="13" y="29"/>
                  <a:pt x="13" y="29"/>
                </a:cubicBezTo>
                <a:cubicBezTo>
                  <a:pt x="13" y="30"/>
                  <a:pt x="13" y="30"/>
                  <a:pt x="13" y="30"/>
                </a:cubicBezTo>
                <a:cubicBezTo>
                  <a:pt x="13" y="30"/>
                  <a:pt x="13" y="30"/>
                  <a:pt x="13" y="30"/>
                </a:cubicBezTo>
                <a:cubicBezTo>
                  <a:pt x="13" y="31"/>
                  <a:pt x="13" y="31"/>
                  <a:pt x="13" y="31"/>
                </a:cubicBezTo>
                <a:cubicBezTo>
                  <a:pt x="13" y="30"/>
                  <a:pt x="13" y="30"/>
                  <a:pt x="13" y="30"/>
                </a:cubicBezTo>
                <a:cubicBezTo>
                  <a:pt x="12" y="31"/>
                  <a:pt x="12" y="31"/>
                  <a:pt x="12" y="31"/>
                </a:cubicBezTo>
                <a:cubicBezTo>
                  <a:pt x="13" y="31"/>
                  <a:pt x="13" y="31"/>
                  <a:pt x="13" y="31"/>
                </a:cubicBezTo>
                <a:cubicBezTo>
                  <a:pt x="12" y="32"/>
                  <a:pt x="12" y="32"/>
                  <a:pt x="12" y="32"/>
                </a:cubicBezTo>
                <a:cubicBezTo>
                  <a:pt x="13" y="33"/>
                  <a:pt x="13" y="33"/>
                  <a:pt x="13" y="33"/>
                </a:cubicBezTo>
                <a:cubicBezTo>
                  <a:pt x="14" y="33"/>
                  <a:pt x="14" y="33"/>
                  <a:pt x="14" y="33"/>
                </a:cubicBezTo>
                <a:cubicBezTo>
                  <a:pt x="13" y="33"/>
                  <a:pt x="13" y="33"/>
                  <a:pt x="13" y="33"/>
                </a:cubicBezTo>
                <a:cubicBezTo>
                  <a:pt x="12" y="32"/>
                  <a:pt x="12" y="32"/>
                  <a:pt x="12" y="32"/>
                </a:cubicBezTo>
                <a:cubicBezTo>
                  <a:pt x="12" y="34"/>
                  <a:pt x="12" y="34"/>
                  <a:pt x="12" y="34"/>
                </a:cubicBezTo>
                <a:cubicBezTo>
                  <a:pt x="12" y="34"/>
                  <a:pt x="12" y="34"/>
                  <a:pt x="12" y="34"/>
                </a:cubicBezTo>
                <a:cubicBezTo>
                  <a:pt x="14" y="34"/>
                  <a:pt x="14" y="34"/>
                  <a:pt x="14" y="34"/>
                </a:cubicBezTo>
                <a:cubicBezTo>
                  <a:pt x="13" y="35"/>
                  <a:pt x="13" y="35"/>
                  <a:pt x="13" y="35"/>
                </a:cubicBezTo>
                <a:cubicBezTo>
                  <a:pt x="13" y="35"/>
                  <a:pt x="13" y="35"/>
                  <a:pt x="13" y="35"/>
                </a:cubicBezTo>
                <a:cubicBezTo>
                  <a:pt x="13" y="35"/>
                  <a:pt x="13" y="35"/>
                  <a:pt x="13" y="35"/>
                </a:cubicBezTo>
                <a:cubicBezTo>
                  <a:pt x="14" y="35"/>
                  <a:pt x="14" y="35"/>
                  <a:pt x="14" y="35"/>
                </a:cubicBezTo>
                <a:cubicBezTo>
                  <a:pt x="14" y="35"/>
                  <a:pt x="14" y="35"/>
                  <a:pt x="14" y="35"/>
                </a:cubicBezTo>
                <a:cubicBezTo>
                  <a:pt x="14" y="35"/>
                  <a:pt x="14" y="35"/>
                  <a:pt x="14" y="35"/>
                </a:cubicBezTo>
                <a:cubicBezTo>
                  <a:pt x="13" y="35"/>
                  <a:pt x="13" y="35"/>
                  <a:pt x="13" y="35"/>
                </a:cubicBezTo>
                <a:cubicBezTo>
                  <a:pt x="13" y="35"/>
                  <a:pt x="13" y="35"/>
                  <a:pt x="13" y="35"/>
                </a:cubicBezTo>
                <a:cubicBezTo>
                  <a:pt x="13" y="36"/>
                  <a:pt x="13" y="36"/>
                  <a:pt x="13" y="36"/>
                </a:cubicBezTo>
                <a:cubicBezTo>
                  <a:pt x="13" y="36"/>
                  <a:pt x="13" y="36"/>
                  <a:pt x="13" y="36"/>
                </a:cubicBezTo>
                <a:cubicBezTo>
                  <a:pt x="13" y="36"/>
                  <a:pt x="13" y="36"/>
                  <a:pt x="13" y="36"/>
                </a:cubicBezTo>
                <a:cubicBezTo>
                  <a:pt x="12" y="37"/>
                  <a:pt x="12" y="37"/>
                  <a:pt x="12" y="37"/>
                </a:cubicBezTo>
                <a:cubicBezTo>
                  <a:pt x="13" y="37"/>
                  <a:pt x="13" y="37"/>
                  <a:pt x="13" y="37"/>
                </a:cubicBezTo>
                <a:cubicBezTo>
                  <a:pt x="13" y="38"/>
                  <a:pt x="13" y="38"/>
                  <a:pt x="13" y="38"/>
                </a:cubicBezTo>
                <a:cubicBezTo>
                  <a:pt x="12" y="37"/>
                  <a:pt x="12" y="37"/>
                  <a:pt x="12" y="37"/>
                </a:cubicBezTo>
                <a:cubicBezTo>
                  <a:pt x="12" y="38"/>
                  <a:pt x="12" y="38"/>
                  <a:pt x="12" y="38"/>
                </a:cubicBezTo>
                <a:cubicBezTo>
                  <a:pt x="12" y="38"/>
                  <a:pt x="12" y="38"/>
                  <a:pt x="12" y="38"/>
                </a:cubicBezTo>
                <a:cubicBezTo>
                  <a:pt x="12" y="39"/>
                  <a:pt x="12" y="39"/>
                  <a:pt x="12" y="39"/>
                </a:cubicBezTo>
                <a:cubicBezTo>
                  <a:pt x="12" y="39"/>
                  <a:pt x="12" y="39"/>
                  <a:pt x="12" y="39"/>
                </a:cubicBezTo>
                <a:cubicBezTo>
                  <a:pt x="10" y="39"/>
                  <a:pt x="10" y="39"/>
                  <a:pt x="10" y="39"/>
                </a:cubicBezTo>
                <a:cubicBezTo>
                  <a:pt x="10" y="40"/>
                  <a:pt x="10" y="40"/>
                  <a:pt x="10" y="40"/>
                </a:cubicBezTo>
                <a:cubicBezTo>
                  <a:pt x="10" y="40"/>
                  <a:pt x="10" y="40"/>
                  <a:pt x="10" y="40"/>
                </a:cubicBezTo>
                <a:cubicBezTo>
                  <a:pt x="11" y="40"/>
                  <a:pt x="11" y="40"/>
                  <a:pt x="11" y="40"/>
                </a:cubicBezTo>
                <a:cubicBezTo>
                  <a:pt x="12" y="40"/>
                  <a:pt x="12" y="40"/>
                  <a:pt x="12" y="40"/>
                </a:cubicBezTo>
                <a:cubicBezTo>
                  <a:pt x="12" y="40"/>
                  <a:pt x="12" y="40"/>
                  <a:pt x="12" y="40"/>
                </a:cubicBezTo>
                <a:cubicBezTo>
                  <a:pt x="11" y="40"/>
                  <a:pt x="11" y="40"/>
                  <a:pt x="11" y="40"/>
                </a:cubicBezTo>
                <a:cubicBezTo>
                  <a:pt x="12" y="41"/>
                  <a:pt x="12" y="41"/>
                  <a:pt x="12" y="41"/>
                </a:cubicBezTo>
                <a:cubicBezTo>
                  <a:pt x="12" y="41"/>
                  <a:pt x="12" y="41"/>
                  <a:pt x="12" y="41"/>
                </a:cubicBezTo>
                <a:cubicBezTo>
                  <a:pt x="13" y="42"/>
                  <a:pt x="13" y="42"/>
                  <a:pt x="13" y="42"/>
                </a:cubicBezTo>
                <a:cubicBezTo>
                  <a:pt x="15" y="39"/>
                  <a:pt x="15" y="39"/>
                  <a:pt x="15" y="39"/>
                </a:cubicBezTo>
                <a:cubicBezTo>
                  <a:pt x="15" y="40"/>
                  <a:pt x="15" y="40"/>
                  <a:pt x="15" y="40"/>
                </a:cubicBezTo>
                <a:cubicBezTo>
                  <a:pt x="15" y="40"/>
                  <a:pt x="15" y="40"/>
                  <a:pt x="15" y="40"/>
                </a:cubicBezTo>
                <a:cubicBezTo>
                  <a:pt x="15" y="40"/>
                  <a:pt x="15" y="40"/>
                  <a:pt x="15" y="40"/>
                </a:cubicBezTo>
                <a:cubicBezTo>
                  <a:pt x="14" y="42"/>
                  <a:pt x="14" y="42"/>
                  <a:pt x="14" y="42"/>
                </a:cubicBezTo>
                <a:cubicBezTo>
                  <a:pt x="14" y="42"/>
                  <a:pt x="14" y="42"/>
                  <a:pt x="14" y="42"/>
                </a:cubicBezTo>
                <a:cubicBezTo>
                  <a:pt x="13" y="44"/>
                  <a:pt x="13" y="44"/>
                  <a:pt x="13" y="44"/>
                </a:cubicBezTo>
                <a:cubicBezTo>
                  <a:pt x="14" y="44"/>
                  <a:pt x="14" y="44"/>
                  <a:pt x="14" y="44"/>
                </a:cubicBezTo>
                <a:cubicBezTo>
                  <a:pt x="13" y="46"/>
                  <a:pt x="13" y="46"/>
                  <a:pt x="13" y="46"/>
                </a:cubicBezTo>
                <a:cubicBezTo>
                  <a:pt x="13" y="47"/>
                  <a:pt x="13" y="47"/>
                  <a:pt x="13" y="47"/>
                </a:cubicBezTo>
                <a:cubicBezTo>
                  <a:pt x="13" y="48"/>
                  <a:pt x="13" y="48"/>
                  <a:pt x="13" y="48"/>
                </a:cubicBezTo>
                <a:cubicBezTo>
                  <a:pt x="13" y="48"/>
                  <a:pt x="13" y="48"/>
                  <a:pt x="13" y="48"/>
                </a:cubicBezTo>
                <a:cubicBezTo>
                  <a:pt x="13" y="48"/>
                  <a:pt x="13" y="48"/>
                  <a:pt x="13" y="48"/>
                </a:cubicBezTo>
                <a:cubicBezTo>
                  <a:pt x="13" y="49"/>
                  <a:pt x="13" y="49"/>
                  <a:pt x="13" y="49"/>
                </a:cubicBezTo>
                <a:cubicBezTo>
                  <a:pt x="13" y="51"/>
                  <a:pt x="13" y="51"/>
                  <a:pt x="13" y="51"/>
                </a:cubicBezTo>
                <a:cubicBezTo>
                  <a:pt x="12" y="52"/>
                  <a:pt x="12" y="52"/>
                  <a:pt x="12" y="52"/>
                </a:cubicBezTo>
                <a:cubicBezTo>
                  <a:pt x="12" y="52"/>
                  <a:pt x="12" y="52"/>
                  <a:pt x="12" y="52"/>
                </a:cubicBezTo>
                <a:cubicBezTo>
                  <a:pt x="13" y="52"/>
                  <a:pt x="13" y="52"/>
                  <a:pt x="13" y="52"/>
                </a:cubicBezTo>
                <a:cubicBezTo>
                  <a:pt x="13" y="51"/>
                  <a:pt x="13" y="51"/>
                  <a:pt x="13" y="51"/>
                </a:cubicBezTo>
                <a:cubicBezTo>
                  <a:pt x="14" y="50"/>
                  <a:pt x="14" y="50"/>
                  <a:pt x="14" y="50"/>
                </a:cubicBezTo>
                <a:cubicBezTo>
                  <a:pt x="14" y="49"/>
                  <a:pt x="14" y="49"/>
                  <a:pt x="14" y="49"/>
                </a:cubicBezTo>
                <a:cubicBezTo>
                  <a:pt x="14" y="48"/>
                  <a:pt x="14" y="48"/>
                  <a:pt x="14" y="48"/>
                </a:cubicBezTo>
                <a:cubicBezTo>
                  <a:pt x="14" y="46"/>
                  <a:pt x="14" y="46"/>
                  <a:pt x="14" y="46"/>
                </a:cubicBezTo>
                <a:cubicBezTo>
                  <a:pt x="14" y="46"/>
                  <a:pt x="14" y="46"/>
                  <a:pt x="14" y="46"/>
                </a:cubicBezTo>
                <a:cubicBezTo>
                  <a:pt x="16" y="44"/>
                  <a:pt x="16" y="44"/>
                  <a:pt x="16" y="44"/>
                </a:cubicBezTo>
                <a:cubicBezTo>
                  <a:pt x="15" y="46"/>
                  <a:pt x="15" y="46"/>
                  <a:pt x="15" y="46"/>
                </a:cubicBezTo>
                <a:cubicBezTo>
                  <a:pt x="15" y="47"/>
                  <a:pt x="15" y="47"/>
                  <a:pt x="15" y="47"/>
                </a:cubicBezTo>
                <a:cubicBezTo>
                  <a:pt x="15" y="47"/>
                  <a:pt x="15" y="47"/>
                  <a:pt x="15" y="47"/>
                </a:cubicBezTo>
                <a:cubicBezTo>
                  <a:pt x="15" y="47"/>
                  <a:pt x="15" y="47"/>
                  <a:pt x="15" y="47"/>
                </a:cubicBezTo>
                <a:cubicBezTo>
                  <a:pt x="16" y="46"/>
                  <a:pt x="16" y="46"/>
                  <a:pt x="16" y="46"/>
                </a:cubicBezTo>
                <a:cubicBezTo>
                  <a:pt x="16" y="47"/>
                  <a:pt x="16" y="47"/>
                  <a:pt x="16" y="47"/>
                </a:cubicBezTo>
                <a:cubicBezTo>
                  <a:pt x="17" y="46"/>
                  <a:pt x="17" y="46"/>
                  <a:pt x="17" y="46"/>
                </a:cubicBezTo>
                <a:cubicBezTo>
                  <a:pt x="17" y="45"/>
                  <a:pt x="17" y="45"/>
                  <a:pt x="17" y="45"/>
                </a:cubicBezTo>
                <a:cubicBezTo>
                  <a:pt x="17" y="44"/>
                  <a:pt x="17" y="44"/>
                  <a:pt x="17" y="44"/>
                </a:cubicBezTo>
                <a:cubicBezTo>
                  <a:pt x="17" y="46"/>
                  <a:pt x="17" y="46"/>
                  <a:pt x="17" y="46"/>
                </a:cubicBezTo>
                <a:cubicBezTo>
                  <a:pt x="18" y="47"/>
                  <a:pt x="18" y="47"/>
                  <a:pt x="18" y="47"/>
                </a:cubicBezTo>
                <a:cubicBezTo>
                  <a:pt x="17" y="46"/>
                  <a:pt x="17" y="46"/>
                  <a:pt x="17" y="46"/>
                </a:cubicBezTo>
                <a:cubicBezTo>
                  <a:pt x="17" y="48"/>
                  <a:pt x="17" y="48"/>
                  <a:pt x="17" y="48"/>
                </a:cubicBezTo>
                <a:cubicBezTo>
                  <a:pt x="17" y="49"/>
                  <a:pt x="17" y="49"/>
                  <a:pt x="17" y="49"/>
                </a:cubicBezTo>
                <a:cubicBezTo>
                  <a:pt x="18" y="50"/>
                  <a:pt x="18" y="50"/>
                  <a:pt x="18" y="50"/>
                </a:cubicBezTo>
                <a:cubicBezTo>
                  <a:pt x="18" y="51"/>
                  <a:pt x="18" y="51"/>
                  <a:pt x="18" y="51"/>
                </a:cubicBezTo>
                <a:cubicBezTo>
                  <a:pt x="17" y="52"/>
                  <a:pt x="17" y="52"/>
                  <a:pt x="17" y="52"/>
                </a:cubicBezTo>
                <a:cubicBezTo>
                  <a:pt x="16" y="54"/>
                  <a:pt x="16" y="54"/>
                  <a:pt x="16" y="54"/>
                </a:cubicBezTo>
                <a:cubicBezTo>
                  <a:pt x="16" y="56"/>
                  <a:pt x="16" y="56"/>
                  <a:pt x="16" y="56"/>
                </a:cubicBezTo>
                <a:cubicBezTo>
                  <a:pt x="15" y="55"/>
                  <a:pt x="15" y="55"/>
                  <a:pt x="15" y="55"/>
                </a:cubicBezTo>
                <a:cubicBezTo>
                  <a:pt x="16" y="56"/>
                  <a:pt x="16" y="56"/>
                  <a:pt x="16" y="56"/>
                </a:cubicBezTo>
                <a:cubicBezTo>
                  <a:pt x="17" y="58"/>
                  <a:pt x="17" y="58"/>
                  <a:pt x="17" y="58"/>
                </a:cubicBezTo>
                <a:cubicBezTo>
                  <a:pt x="16" y="56"/>
                  <a:pt x="16" y="56"/>
                  <a:pt x="16" y="56"/>
                </a:cubicBezTo>
                <a:cubicBezTo>
                  <a:pt x="17" y="56"/>
                  <a:pt x="17" y="56"/>
                  <a:pt x="17" y="56"/>
                </a:cubicBezTo>
                <a:cubicBezTo>
                  <a:pt x="19" y="58"/>
                  <a:pt x="19" y="58"/>
                  <a:pt x="19" y="58"/>
                </a:cubicBezTo>
                <a:cubicBezTo>
                  <a:pt x="19" y="57"/>
                  <a:pt x="19" y="57"/>
                  <a:pt x="19" y="57"/>
                </a:cubicBezTo>
                <a:cubicBezTo>
                  <a:pt x="19" y="56"/>
                  <a:pt x="19" y="56"/>
                  <a:pt x="19" y="56"/>
                </a:cubicBezTo>
                <a:cubicBezTo>
                  <a:pt x="19" y="56"/>
                  <a:pt x="19" y="56"/>
                  <a:pt x="19" y="56"/>
                </a:cubicBezTo>
                <a:cubicBezTo>
                  <a:pt x="21" y="57"/>
                  <a:pt x="21" y="57"/>
                  <a:pt x="21" y="57"/>
                </a:cubicBezTo>
                <a:cubicBezTo>
                  <a:pt x="22" y="57"/>
                  <a:pt x="22" y="57"/>
                  <a:pt x="22" y="57"/>
                </a:cubicBezTo>
                <a:cubicBezTo>
                  <a:pt x="22" y="56"/>
                  <a:pt x="22" y="56"/>
                  <a:pt x="22" y="56"/>
                </a:cubicBezTo>
                <a:cubicBezTo>
                  <a:pt x="23" y="56"/>
                  <a:pt x="23" y="56"/>
                  <a:pt x="23" y="56"/>
                </a:cubicBezTo>
                <a:cubicBezTo>
                  <a:pt x="24" y="55"/>
                  <a:pt x="24" y="55"/>
                  <a:pt x="24" y="55"/>
                </a:cubicBezTo>
                <a:cubicBezTo>
                  <a:pt x="27" y="55"/>
                  <a:pt x="27" y="55"/>
                  <a:pt x="27" y="55"/>
                </a:cubicBezTo>
                <a:cubicBezTo>
                  <a:pt x="25" y="56"/>
                  <a:pt x="25" y="56"/>
                  <a:pt x="25" y="56"/>
                </a:cubicBezTo>
                <a:cubicBezTo>
                  <a:pt x="23" y="59"/>
                  <a:pt x="23" y="59"/>
                  <a:pt x="23" y="59"/>
                </a:cubicBezTo>
                <a:cubicBezTo>
                  <a:pt x="25" y="62"/>
                  <a:pt x="25" y="62"/>
                  <a:pt x="25" y="62"/>
                </a:cubicBezTo>
                <a:cubicBezTo>
                  <a:pt x="26" y="62"/>
                  <a:pt x="26" y="62"/>
                  <a:pt x="26" y="62"/>
                </a:cubicBezTo>
                <a:cubicBezTo>
                  <a:pt x="26" y="63"/>
                  <a:pt x="26" y="63"/>
                  <a:pt x="26" y="63"/>
                </a:cubicBezTo>
                <a:cubicBezTo>
                  <a:pt x="27" y="62"/>
                  <a:pt x="27" y="62"/>
                  <a:pt x="27" y="62"/>
                </a:cubicBezTo>
                <a:cubicBezTo>
                  <a:pt x="28" y="62"/>
                  <a:pt x="28" y="62"/>
                  <a:pt x="28" y="62"/>
                </a:cubicBezTo>
                <a:cubicBezTo>
                  <a:pt x="28" y="63"/>
                  <a:pt x="28" y="63"/>
                  <a:pt x="28" y="63"/>
                </a:cubicBezTo>
                <a:cubicBezTo>
                  <a:pt x="28" y="64"/>
                  <a:pt x="28" y="64"/>
                  <a:pt x="28" y="64"/>
                </a:cubicBezTo>
                <a:cubicBezTo>
                  <a:pt x="27" y="65"/>
                  <a:pt x="27" y="65"/>
                  <a:pt x="27" y="65"/>
                </a:cubicBezTo>
                <a:cubicBezTo>
                  <a:pt x="27" y="66"/>
                  <a:pt x="27" y="66"/>
                  <a:pt x="27" y="66"/>
                </a:cubicBezTo>
                <a:cubicBezTo>
                  <a:pt x="26" y="68"/>
                  <a:pt x="26" y="68"/>
                  <a:pt x="26" y="68"/>
                </a:cubicBezTo>
                <a:cubicBezTo>
                  <a:pt x="27" y="69"/>
                  <a:pt x="27" y="69"/>
                  <a:pt x="27" y="69"/>
                </a:cubicBezTo>
                <a:cubicBezTo>
                  <a:pt x="28" y="69"/>
                  <a:pt x="28" y="69"/>
                  <a:pt x="28" y="69"/>
                </a:cubicBezTo>
                <a:cubicBezTo>
                  <a:pt x="29" y="70"/>
                  <a:pt x="29" y="70"/>
                  <a:pt x="29" y="70"/>
                </a:cubicBezTo>
                <a:cubicBezTo>
                  <a:pt x="28" y="70"/>
                  <a:pt x="28" y="70"/>
                  <a:pt x="28" y="70"/>
                </a:cubicBezTo>
                <a:cubicBezTo>
                  <a:pt x="27" y="70"/>
                  <a:pt x="27" y="70"/>
                  <a:pt x="27" y="70"/>
                </a:cubicBezTo>
                <a:cubicBezTo>
                  <a:pt x="27" y="69"/>
                  <a:pt x="27" y="69"/>
                  <a:pt x="27" y="69"/>
                </a:cubicBezTo>
                <a:cubicBezTo>
                  <a:pt x="26" y="69"/>
                  <a:pt x="26" y="69"/>
                  <a:pt x="26" y="69"/>
                </a:cubicBezTo>
                <a:cubicBezTo>
                  <a:pt x="27" y="70"/>
                  <a:pt x="27" y="70"/>
                  <a:pt x="27" y="70"/>
                </a:cubicBezTo>
                <a:cubicBezTo>
                  <a:pt x="27" y="71"/>
                  <a:pt x="27" y="71"/>
                  <a:pt x="27" y="71"/>
                </a:cubicBezTo>
                <a:cubicBezTo>
                  <a:pt x="26" y="70"/>
                  <a:pt x="26" y="70"/>
                  <a:pt x="26" y="70"/>
                </a:cubicBezTo>
                <a:cubicBezTo>
                  <a:pt x="25" y="70"/>
                  <a:pt x="25" y="70"/>
                  <a:pt x="25" y="70"/>
                </a:cubicBezTo>
                <a:cubicBezTo>
                  <a:pt x="23" y="70"/>
                  <a:pt x="23" y="70"/>
                  <a:pt x="23" y="70"/>
                </a:cubicBezTo>
                <a:cubicBezTo>
                  <a:pt x="23" y="70"/>
                  <a:pt x="23" y="70"/>
                  <a:pt x="23" y="70"/>
                </a:cubicBezTo>
                <a:cubicBezTo>
                  <a:pt x="21" y="71"/>
                  <a:pt x="21" y="71"/>
                  <a:pt x="21" y="71"/>
                </a:cubicBezTo>
                <a:cubicBezTo>
                  <a:pt x="19" y="73"/>
                  <a:pt x="19" y="73"/>
                  <a:pt x="19" y="73"/>
                </a:cubicBezTo>
                <a:cubicBezTo>
                  <a:pt x="18" y="74"/>
                  <a:pt x="18" y="74"/>
                  <a:pt x="18" y="74"/>
                </a:cubicBezTo>
                <a:cubicBezTo>
                  <a:pt x="17" y="74"/>
                  <a:pt x="17" y="74"/>
                  <a:pt x="17" y="74"/>
                </a:cubicBezTo>
                <a:cubicBezTo>
                  <a:pt x="18" y="74"/>
                  <a:pt x="18" y="74"/>
                  <a:pt x="18" y="74"/>
                </a:cubicBezTo>
                <a:cubicBezTo>
                  <a:pt x="19" y="74"/>
                  <a:pt x="19" y="74"/>
                  <a:pt x="19" y="74"/>
                </a:cubicBezTo>
                <a:cubicBezTo>
                  <a:pt x="19" y="74"/>
                  <a:pt x="19" y="74"/>
                  <a:pt x="19" y="74"/>
                </a:cubicBezTo>
                <a:cubicBezTo>
                  <a:pt x="21" y="73"/>
                  <a:pt x="21" y="73"/>
                  <a:pt x="21" y="73"/>
                </a:cubicBezTo>
                <a:cubicBezTo>
                  <a:pt x="21" y="74"/>
                  <a:pt x="21" y="74"/>
                  <a:pt x="21" y="74"/>
                </a:cubicBezTo>
                <a:cubicBezTo>
                  <a:pt x="22" y="75"/>
                  <a:pt x="22" y="75"/>
                  <a:pt x="22" y="75"/>
                </a:cubicBezTo>
                <a:cubicBezTo>
                  <a:pt x="21" y="76"/>
                  <a:pt x="21" y="76"/>
                  <a:pt x="21" y="76"/>
                </a:cubicBezTo>
                <a:cubicBezTo>
                  <a:pt x="21" y="77"/>
                  <a:pt x="21" y="77"/>
                  <a:pt x="21" y="77"/>
                </a:cubicBezTo>
                <a:cubicBezTo>
                  <a:pt x="22" y="77"/>
                  <a:pt x="22" y="77"/>
                  <a:pt x="22" y="77"/>
                </a:cubicBezTo>
                <a:cubicBezTo>
                  <a:pt x="20" y="79"/>
                  <a:pt x="20" y="79"/>
                  <a:pt x="20" y="79"/>
                </a:cubicBezTo>
                <a:cubicBezTo>
                  <a:pt x="19" y="80"/>
                  <a:pt x="19" y="80"/>
                  <a:pt x="19" y="80"/>
                </a:cubicBezTo>
                <a:cubicBezTo>
                  <a:pt x="18" y="80"/>
                  <a:pt x="18" y="80"/>
                  <a:pt x="18" y="80"/>
                </a:cubicBezTo>
                <a:cubicBezTo>
                  <a:pt x="18" y="80"/>
                  <a:pt x="18" y="80"/>
                  <a:pt x="18" y="80"/>
                </a:cubicBezTo>
                <a:cubicBezTo>
                  <a:pt x="17" y="81"/>
                  <a:pt x="17" y="81"/>
                  <a:pt x="17" y="81"/>
                </a:cubicBezTo>
                <a:cubicBezTo>
                  <a:pt x="16" y="81"/>
                  <a:pt x="16" y="81"/>
                  <a:pt x="16" y="81"/>
                </a:cubicBezTo>
                <a:cubicBezTo>
                  <a:pt x="14" y="82"/>
                  <a:pt x="14" y="82"/>
                  <a:pt x="14" y="82"/>
                </a:cubicBezTo>
                <a:cubicBezTo>
                  <a:pt x="15" y="82"/>
                  <a:pt x="15" y="82"/>
                  <a:pt x="15" y="82"/>
                </a:cubicBezTo>
                <a:cubicBezTo>
                  <a:pt x="15" y="83"/>
                  <a:pt x="15" y="83"/>
                  <a:pt x="15" y="83"/>
                </a:cubicBezTo>
                <a:cubicBezTo>
                  <a:pt x="15" y="84"/>
                  <a:pt x="15" y="84"/>
                  <a:pt x="15" y="84"/>
                </a:cubicBezTo>
                <a:cubicBezTo>
                  <a:pt x="16" y="84"/>
                  <a:pt x="16" y="84"/>
                  <a:pt x="16" y="84"/>
                </a:cubicBezTo>
                <a:cubicBezTo>
                  <a:pt x="16" y="84"/>
                  <a:pt x="16" y="84"/>
                  <a:pt x="16" y="84"/>
                </a:cubicBezTo>
                <a:cubicBezTo>
                  <a:pt x="16" y="85"/>
                  <a:pt x="16" y="85"/>
                  <a:pt x="16" y="85"/>
                </a:cubicBezTo>
                <a:cubicBezTo>
                  <a:pt x="17" y="84"/>
                  <a:pt x="17" y="84"/>
                  <a:pt x="17" y="84"/>
                </a:cubicBezTo>
                <a:cubicBezTo>
                  <a:pt x="18" y="84"/>
                  <a:pt x="18" y="84"/>
                  <a:pt x="18" y="84"/>
                </a:cubicBezTo>
                <a:cubicBezTo>
                  <a:pt x="20" y="83"/>
                  <a:pt x="20" y="83"/>
                  <a:pt x="20" y="83"/>
                </a:cubicBezTo>
                <a:cubicBezTo>
                  <a:pt x="20" y="84"/>
                  <a:pt x="20" y="84"/>
                  <a:pt x="20" y="84"/>
                </a:cubicBezTo>
                <a:cubicBezTo>
                  <a:pt x="21" y="84"/>
                  <a:pt x="21" y="84"/>
                  <a:pt x="21" y="84"/>
                </a:cubicBezTo>
                <a:cubicBezTo>
                  <a:pt x="20" y="85"/>
                  <a:pt x="20" y="85"/>
                  <a:pt x="20" y="85"/>
                </a:cubicBezTo>
                <a:cubicBezTo>
                  <a:pt x="20" y="85"/>
                  <a:pt x="20" y="85"/>
                  <a:pt x="20" y="85"/>
                </a:cubicBezTo>
                <a:cubicBezTo>
                  <a:pt x="22" y="85"/>
                  <a:pt x="22" y="85"/>
                  <a:pt x="22" y="85"/>
                </a:cubicBezTo>
                <a:cubicBezTo>
                  <a:pt x="22" y="85"/>
                  <a:pt x="22" y="85"/>
                  <a:pt x="22" y="85"/>
                </a:cubicBezTo>
                <a:cubicBezTo>
                  <a:pt x="23" y="85"/>
                  <a:pt x="23" y="85"/>
                  <a:pt x="23" y="85"/>
                </a:cubicBezTo>
                <a:cubicBezTo>
                  <a:pt x="24" y="86"/>
                  <a:pt x="24" y="86"/>
                  <a:pt x="24" y="86"/>
                </a:cubicBezTo>
                <a:cubicBezTo>
                  <a:pt x="24" y="87"/>
                  <a:pt x="24" y="87"/>
                  <a:pt x="24" y="87"/>
                </a:cubicBezTo>
                <a:cubicBezTo>
                  <a:pt x="26" y="87"/>
                  <a:pt x="26" y="87"/>
                  <a:pt x="26" y="87"/>
                </a:cubicBezTo>
                <a:cubicBezTo>
                  <a:pt x="27" y="86"/>
                  <a:pt x="27" y="86"/>
                  <a:pt x="27" y="86"/>
                </a:cubicBezTo>
                <a:cubicBezTo>
                  <a:pt x="28" y="85"/>
                  <a:pt x="28" y="85"/>
                  <a:pt x="28" y="85"/>
                </a:cubicBezTo>
                <a:cubicBezTo>
                  <a:pt x="29" y="85"/>
                  <a:pt x="29" y="85"/>
                  <a:pt x="29" y="85"/>
                </a:cubicBezTo>
                <a:cubicBezTo>
                  <a:pt x="30" y="84"/>
                  <a:pt x="30" y="84"/>
                  <a:pt x="30" y="84"/>
                </a:cubicBezTo>
                <a:cubicBezTo>
                  <a:pt x="31" y="84"/>
                  <a:pt x="31" y="84"/>
                  <a:pt x="31" y="84"/>
                </a:cubicBezTo>
                <a:cubicBezTo>
                  <a:pt x="29" y="85"/>
                  <a:pt x="29" y="85"/>
                  <a:pt x="29" y="85"/>
                </a:cubicBezTo>
                <a:cubicBezTo>
                  <a:pt x="28" y="87"/>
                  <a:pt x="28" y="87"/>
                  <a:pt x="28" y="87"/>
                </a:cubicBezTo>
                <a:cubicBezTo>
                  <a:pt x="28" y="89"/>
                  <a:pt x="28" y="89"/>
                  <a:pt x="28" y="89"/>
                </a:cubicBezTo>
                <a:cubicBezTo>
                  <a:pt x="27" y="89"/>
                  <a:pt x="27" y="89"/>
                  <a:pt x="27" y="89"/>
                </a:cubicBezTo>
                <a:cubicBezTo>
                  <a:pt x="26" y="89"/>
                  <a:pt x="26" y="89"/>
                  <a:pt x="26" y="89"/>
                </a:cubicBezTo>
                <a:cubicBezTo>
                  <a:pt x="25" y="88"/>
                  <a:pt x="25" y="88"/>
                  <a:pt x="25" y="88"/>
                </a:cubicBezTo>
                <a:cubicBezTo>
                  <a:pt x="22" y="88"/>
                  <a:pt x="22" y="88"/>
                  <a:pt x="22" y="88"/>
                </a:cubicBezTo>
                <a:cubicBezTo>
                  <a:pt x="20" y="89"/>
                  <a:pt x="20" y="89"/>
                  <a:pt x="20" y="89"/>
                </a:cubicBezTo>
                <a:cubicBezTo>
                  <a:pt x="20" y="89"/>
                  <a:pt x="20" y="89"/>
                  <a:pt x="20" y="89"/>
                </a:cubicBezTo>
                <a:cubicBezTo>
                  <a:pt x="20" y="90"/>
                  <a:pt x="20" y="90"/>
                  <a:pt x="20" y="90"/>
                </a:cubicBezTo>
                <a:cubicBezTo>
                  <a:pt x="19" y="90"/>
                  <a:pt x="19" y="90"/>
                  <a:pt x="19" y="90"/>
                </a:cubicBezTo>
                <a:cubicBezTo>
                  <a:pt x="18" y="92"/>
                  <a:pt x="18" y="92"/>
                  <a:pt x="18" y="92"/>
                </a:cubicBezTo>
                <a:cubicBezTo>
                  <a:pt x="17" y="93"/>
                  <a:pt x="17" y="93"/>
                  <a:pt x="17" y="93"/>
                </a:cubicBezTo>
                <a:cubicBezTo>
                  <a:pt x="17" y="94"/>
                  <a:pt x="17" y="94"/>
                  <a:pt x="17" y="94"/>
                </a:cubicBezTo>
                <a:cubicBezTo>
                  <a:pt x="16" y="94"/>
                  <a:pt x="16" y="94"/>
                  <a:pt x="16" y="94"/>
                </a:cubicBezTo>
                <a:cubicBezTo>
                  <a:pt x="16" y="95"/>
                  <a:pt x="16" y="95"/>
                  <a:pt x="16" y="95"/>
                </a:cubicBezTo>
                <a:cubicBezTo>
                  <a:pt x="15" y="95"/>
                  <a:pt x="15" y="95"/>
                  <a:pt x="15" y="95"/>
                </a:cubicBezTo>
                <a:cubicBezTo>
                  <a:pt x="15" y="96"/>
                  <a:pt x="15" y="96"/>
                  <a:pt x="15" y="96"/>
                </a:cubicBezTo>
                <a:cubicBezTo>
                  <a:pt x="13" y="97"/>
                  <a:pt x="13" y="97"/>
                  <a:pt x="13" y="97"/>
                </a:cubicBezTo>
                <a:cubicBezTo>
                  <a:pt x="13" y="97"/>
                  <a:pt x="13" y="97"/>
                  <a:pt x="13" y="97"/>
                </a:cubicBezTo>
                <a:cubicBezTo>
                  <a:pt x="12" y="98"/>
                  <a:pt x="12" y="98"/>
                  <a:pt x="12" y="98"/>
                </a:cubicBezTo>
                <a:cubicBezTo>
                  <a:pt x="12" y="99"/>
                  <a:pt x="12" y="99"/>
                  <a:pt x="12" y="99"/>
                </a:cubicBezTo>
                <a:cubicBezTo>
                  <a:pt x="13" y="99"/>
                  <a:pt x="13" y="99"/>
                  <a:pt x="13" y="99"/>
                </a:cubicBezTo>
                <a:cubicBezTo>
                  <a:pt x="13" y="98"/>
                  <a:pt x="13" y="98"/>
                  <a:pt x="13" y="98"/>
                </a:cubicBezTo>
                <a:cubicBezTo>
                  <a:pt x="14" y="98"/>
                  <a:pt x="14" y="98"/>
                  <a:pt x="14" y="98"/>
                </a:cubicBezTo>
                <a:lnTo>
                  <a:pt x="15" y="99"/>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7" name="Freeform 75">
            <a:extLst>
              <a:ext uri="{FF2B5EF4-FFF2-40B4-BE49-F238E27FC236}">
                <a16:creationId xmlns:a16="http://schemas.microsoft.com/office/drawing/2014/main" id="{3E1B5730-BCA9-FC8A-FC99-A7AEB9E18597}"/>
              </a:ext>
            </a:extLst>
          </p:cNvPr>
          <p:cNvSpPr>
            <a:spLocks noEditPoints="1"/>
          </p:cNvSpPr>
          <p:nvPr userDrawn="1"/>
        </p:nvSpPr>
        <p:spPr bwMode="auto">
          <a:xfrm>
            <a:off x="12889659" y="5869863"/>
            <a:ext cx="815923" cy="755650"/>
          </a:xfrm>
          <a:custGeom>
            <a:avLst/>
            <a:gdLst>
              <a:gd name="T0" fmla="*/ 204 w 257"/>
              <a:gd name="T1" fmla="*/ 116 h 238"/>
              <a:gd name="T2" fmla="*/ 188 w 257"/>
              <a:gd name="T3" fmla="*/ 125 h 238"/>
              <a:gd name="T4" fmla="*/ 191 w 257"/>
              <a:gd name="T5" fmla="*/ 110 h 238"/>
              <a:gd name="T6" fmla="*/ 207 w 257"/>
              <a:gd name="T7" fmla="*/ 91 h 238"/>
              <a:gd name="T8" fmla="*/ 213 w 257"/>
              <a:gd name="T9" fmla="*/ 88 h 238"/>
              <a:gd name="T10" fmla="*/ 216 w 257"/>
              <a:gd name="T11" fmla="*/ 69 h 238"/>
              <a:gd name="T12" fmla="*/ 222 w 257"/>
              <a:gd name="T13" fmla="*/ 50 h 238"/>
              <a:gd name="T14" fmla="*/ 204 w 257"/>
              <a:gd name="T15" fmla="*/ 47 h 238"/>
              <a:gd name="T16" fmla="*/ 191 w 257"/>
              <a:gd name="T17" fmla="*/ 41 h 238"/>
              <a:gd name="T18" fmla="*/ 175 w 257"/>
              <a:gd name="T19" fmla="*/ 35 h 238"/>
              <a:gd name="T20" fmla="*/ 160 w 257"/>
              <a:gd name="T21" fmla="*/ 28 h 238"/>
              <a:gd name="T22" fmla="*/ 147 w 257"/>
              <a:gd name="T23" fmla="*/ 19 h 238"/>
              <a:gd name="T24" fmla="*/ 135 w 257"/>
              <a:gd name="T25" fmla="*/ 0 h 238"/>
              <a:gd name="T26" fmla="*/ 119 w 257"/>
              <a:gd name="T27" fmla="*/ 6 h 238"/>
              <a:gd name="T28" fmla="*/ 110 w 257"/>
              <a:gd name="T29" fmla="*/ 28 h 238"/>
              <a:gd name="T30" fmla="*/ 88 w 257"/>
              <a:gd name="T31" fmla="*/ 38 h 238"/>
              <a:gd name="T32" fmla="*/ 75 w 257"/>
              <a:gd name="T33" fmla="*/ 44 h 238"/>
              <a:gd name="T34" fmla="*/ 66 w 257"/>
              <a:gd name="T35" fmla="*/ 35 h 238"/>
              <a:gd name="T36" fmla="*/ 54 w 257"/>
              <a:gd name="T37" fmla="*/ 38 h 238"/>
              <a:gd name="T38" fmla="*/ 60 w 257"/>
              <a:gd name="T39" fmla="*/ 56 h 238"/>
              <a:gd name="T40" fmla="*/ 50 w 257"/>
              <a:gd name="T41" fmla="*/ 60 h 238"/>
              <a:gd name="T42" fmla="*/ 32 w 257"/>
              <a:gd name="T43" fmla="*/ 56 h 238"/>
              <a:gd name="T44" fmla="*/ 16 w 257"/>
              <a:gd name="T45" fmla="*/ 60 h 238"/>
              <a:gd name="T46" fmla="*/ 4 w 257"/>
              <a:gd name="T47" fmla="*/ 69 h 238"/>
              <a:gd name="T48" fmla="*/ 7 w 257"/>
              <a:gd name="T49" fmla="*/ 69 h 238"/>
              <a:gd name="T50" fmla="*/ 10 w 257"/>
              <a:gd name="T51" fmla="*/ 75 h 238"/>
              <a:gd name="T52" fmla="*/ 10 w 257"/>
              <a:gd name="T53" fmla="*/ 85 h 238"/>
              <a:gd name="T54" fmla="*/ 25 w 257"/>
              <a:gd name="T55" fmla="*/ 85 h 238"/>
              <a:gd name="T56" fmla="*/ 38 w 257"/>
              <a:gd name="T57" fmla="*/ 88 h 238"/>
              <a:gd name="T58" fmla="*/ 44 w 257"/>
              <a:gd name="T59" fmla="*/ 97 h 238"/>
              <a:gd name="T60" fmla="*/ 54 w 257"/>
              <a:gd name="T61" fmla="*/ 97 h 238"/>
              <a:gd name="T62" fmla="*/ 47 w 257"/>
              <a:gd name="T63" fmla="*/ 107 h 238"/>
              <a:gd name="T64" fmla="*/ 66 w 257"/>
              <a:gd name="T65" fmla="*/ 119 h 238"/>
              <a:gd name="T66" fmla="*/ 66 w 257"/>
              <a:gd name="T67" fmla="*/ 135 h 238"/>
              <a:gd name="T68" fmla="*/ 72 w 257"/>
              <a:gd name="T69" fmla="*/ 141 h 238"/>
              <a:gd name="T70" fmla="*/ 69 w 257"/>
              <a:gd name="T71" fmla="*/ 160 h 238"/>
              <a:gd name="T72" fmla="*/ 60 w 257"/>
              <a:gd name="T73" fmla="*/ 191 h 238"/>
              <a:gd name="T74" fmla="*/ 69 w 257"/>
              <a:gd name="T75" fmla="*/ 197 h 238"/>
              <a:gd name="T76" fmla="*/ 94 w 257"/>
              <a:gd name="T77" fmla="*/ 207 h 238"/>
              <a:gd name="T78" fmla="*/ 116 w 257"/>
              <a:gd name="T79" fmla="*/ 207 h 238"/>
              <a:gd name="T80" fmla="*/ 141 w 257"/>
              <a:gd name="T81" fmla="*/ 213 h 238"/>
              <a:gd name="T82" fmla="*/ 154 w 257"/>
              <a:gd name="T83" fmla="*/ 185 h 238"/>
              <a:gd name="T84" fmla="*/ 169 w 257"/>
              <a:gd name="T85" fmla="*/ 191 h 238"/>
              <a:gd name="T86" fmla="*/ 201 w 257"/>
              <a:gd name="T87" fmla="*/ 197 h 238"/>
              <a:gd name="T88" fmla="*/ 219 w 257"/>
              <a:gd name="T89" fmla="*/ 178 h 238"/>
              <a:gd name="T90" fmla="*/ 207 w 257"/>
              <a:gd name="T91" fmla="*/ 153 h 238"/>
              <a:gd name="T92" fmla="*/ 207 w 257"/>
              <a:gd name="T93" fmla="*/ 135 h 238"/>
              <a:gd name="T94" fmla="*/ 251 w 257"/>
              <a:gd name="T95" fmla="*/ 238 h 238"/>
              <a:gd name="T96" fmla="*/ 244 w 257"/>
              <a:gd name="T97" fmla="*/ 229 h 238"/>
              <a:gd name="T98" fmla="*/ 241 w 257"/>
              <a:gd name="T99" fmla="*/ 222 h 238"/>
              <a:gd name="T100" fmla="*/ 241 w 257"/>
              <a:gd name="T101" fmla="*/ 216 h 238"/>
              <a:gd name="T102" fmla="*/ 251 w 257"/>
              <a:gd name="T103" fmla="*/ 207 h 238"/>
              <a:gd name="T104" fmla="*/ 254 w 257"/>
              <a:gd name="T105" fmla="*/ 197 h 238"/>
              <a:gd name="T106" fmla="*/ 257 w 257"/>
              <a:gd name="T107" fmla="*/ 22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7" h="238">
                <a:moveTo>
                  <a:pt x="210" y="128"/>
                </a:moveTo>
                <a:lnTo>
                  <a:pt x="207" y="125"/>
                </a:lnTo>
                <a:lnTo>
                  <a:pt x="207" y="125"/>
                </a:lnTo>
                <a:lnTo>
                  <a:pt x="204" y="119"/>
                </a:lnTo>
                <a:lnTo>
                  <a:pt x="204" y="116"/>
                </a:lnTo>
                <a:lnTo>
                  <a:pt x="197" y="116"/>
                </a:lnTo>
                <a:lnTo>
                  <a:pt x="194" y="119"/>
                </a:lnTo>
                <a:lnTo>
                  <a:pt x="194" y="122"/>
                </a:lnTo>
                <a:lnTo>
                  <a:pt x="191" y="125"/>
                </a:lnTo>
                <a:lnTo>
                  <a:pt x="188" y="125"/>
                </a:lnTo>
                <a:lnTo>
                  <a:pt x="185" y="122"/>
                </a:lnTo>
                <a:lnTo>
                  <a:pt x="188" y="119"/>
                </a:lnTo>
                <a:lnTo>
                  <a:pt x="191" y="119"/>
                </a:lnTo>
                <a:lnTo>
                  <a:pt x="191" y="116"/>
                </a:lnTo>
                <a:lnTo>
                  <a:pt x="191" y="110"/>
                </a:lnTo>
                <a:lnTo>
                  <a:pt x="197" y="103"/>
                </a:lnTo>
                <a:lnTo>
                  <a:pt x="201" y="100"/>
                </a:lnTo>
                <a:lnTo>
                  <a:pt x="204" y="97"/>
                </a:lnTo>
                <a:lnTo>
                  <a:pt x="207" y="94"/>
                </a:lnTo>
                <a:lnTo>
                  <a:pt x="207" y="91"/>
                </a:lnTo>
                <a:lnTo>
                  <a:pt x="204" y="88"/>
                </a:lnTo>
                <a:lnTo>
                  <a:pt x="204" y="85"/>
                </a:lnTo>
                <a:lnTo>
                  <a:pt x="210" y="85"/>
                </a:lnTo>
                <a:lnTo>
                  <a:pt x="210" y="88"/>
                </a:lnTo>
                <a:lnTo>
                  <a:pt x="213" y="88"/>
                </a:lnTo>
                <a:lnTo>
                  <a:pt x="219" y="88"/>
                </a:lnTo>
                <a:lnTo>
                  <a:pt x="219" y="81"/>
                </a:lnTo>
                <a:lnTo>
                  <a:pt x="216" y="81"/>
                </a:lnTo>
                <a:lnTo>
                  <a:pt x="216" y="75"/>
                </a:lnTo>
                <a:lnTo>
                  <a:pt x="216" y="69"/>
                </a:lnTo>
                <a:lnTo>
                  <a:pt x="219" y="66"/>
                </a:lnTo>
                <a:lnTo>
                  <a:pt x="219" y="63"/>
                </a:lnTo>
                <a:lnTo>
                  <a:pt x="222" y="56"/>
                </a:lnTo>
                <a:lnTo>
                  <a:pt x="226" y="53"/>
                </a:lnTo>
                <a:lnTo>
                  <a:pt x="222" y="50"/>
                </a:lnTo>
                <a:lnTo>
                  <a:pt x="219" y="50"/>
                </a:lnTo>
                <a:lnTo>
                  <a:pt x="213" y="47"/>
                </a:lnTo>
                <a:lnTo>
                  <a:pt x="210" y="47"/>
                </a:lnTo>
                <a:lnTo>
                  <a:pt x="207" y="47"/>
                </a:lnTo>
                <a:lnTo>
                  <a:pt x="204" y="47"/>
                </a:lnTo>
                <a:lnTo>
                  <a:pt x="201" y="50"/>
                </a:lnTo>
                <a:lnTo>
                  <a:pt x="197" y="47"/>
                </a:lnTo>
                <a:lnTo>
                  <a:pt x="197" y="44"/>
                </a:lnTo>
                <a:lnTo>
                  <a:pt x="194" y="41"/>
                </a:lnTo>
                <a:lnTo>
                  <a:pt x="191" y="41"/>
                </a:lnTo>
                <a:lnTo>
                  <a:pt x="185" y="41"/>
                </a:lnTo>
                <a:lnTo>
                  <a:pt x="185" y="38"/>
                </a:lnTo>
                <a:lnTo>
                  <a:pt x="182" y="38"/>
                </a:lnTo>
                <a:lnTo>
                  <a:pt x="179" y="38"/>
                </a:lnTo>
                <a:lnTo>
                  <a:pt x="175" y="35"/>
                </a:lnTo>
                <a:lnTo>
                  <a:pt x="172" y="35"/>
                </a:lnTo>
                <a:lnTo>
                  <a:pt x="166" y="28"/>
                </a:lnTo>
                <a:lnTo>
                  <a:pt x="163" y="28"/>
                </a:lnTo>
                <a:lnTo>
                  <a:pt x="163" y="28"/>
                </a:lnTo>
                <a:lnTo>
                  <a:pt x="160" y="28"/>
                </a:lnTo>
                <a:lnTo>
                  <a:pt x="157" y="28"/>
                </a:lnTo>
                <a:lnTo>
                  <a:pt x="154" y="25"/>
                </a:lnTo>
                <a:lnTo>
                  <a:pt x="154" y="22"/>
                </a:lnTo>
                <a:lnTo>
                  <a:pt x="150" y="19"/>
                </a:lnTo>
                <a:lnTo>
                  <a:pt x="147" y="19"/>
                </a:lnTo>
                <a:lnTo>
                  <a:pt x="147" y="19"/>
                </a:lnTo>
                <a:lnTo>
                  <a:pt x="141" y="13"/>
                </a:lnTo>
                <a:lnTo>
                  <a:pt x="141" y="10"/>
                </a:lnTo>
                <a:lnTo>
                  <a:pt x="135" y="10"/>
                </a:lnTo>
                <a:lnTo>
                  <a:pt x="135" y="0"/>
                </a:lnTo>
                <a:lnTo>
                  <a:pt x="132" y="0"/>
                </a:lnTo>
                <a:lnTo>
                  <a:pt x="132" y="0"/>
                </a:lnTo>
                <a:lnTo>
                  <a:pt x="125" y="3"/>
                </a:lnTo>
                <a:lnTo>
                  <a:pt x="122" y="3"/>
                </a:lnTo>
                <a:lnTo>
                  <a:pt x="119" y="6"/>
                </a:lnTo>
                <a:lnTo>
                  <a:pt x="116" y="10"/>
                </a:lnTo>
                <a:lnTo>
                  <a:pt x="116" y="13"/>
                </a:lnTo>
                <a:lnTo>
                  <a:pt x="116" y="22"/>
                </a:lnTo>
                <a:lnTo>
                  <a:pt x="110" y="25"/>
                </a:lnTo>
                <a:lnTo>
                  <a:pt x="110" y="28"/>
                </a:lnTo>
                <a:lnTo>
                  <a:pt x="104" y="31"/>
                </a:lnTo>
                <a:lnTo>
                  <a:pt x="100" y="31"/>
                </a:lnTo>
                <a:lnTo>
                  <a:pt x="97" y="28"/>
                </a:lnTo>
                <a:lnTo>
                  <a:pt x="91" y="35"/>
                </a:lnTo>
                <a:lnTo>
                  <a:pt x="88" y="38"/>
                </a:lnTo>
                <a:lnTo>
                  <a:pt x="88" y="38"/>
                </a:lnTo>
                <a:lnTo>
                  <a:pt x="94" y="41"/>
                </a:lnTo>
                <a:lnTo>
                  <a:pt x="88" y="44"/>
                </a:lnTo>
                <a:lnTo>
                  <a:pt x="82" y="44"/>
                </a:lnTo>
                <a:lnTo>
                  <a:pt x="75" y="44"/>
                </a:lnTo>
                <a:lnTo>
                  <a:pt x="72" y="41"/>
                </a:lnTo>
                <a:lnTo>
                  <a:pt x="69" y="44"/>
                </a:lnTo>
                <a:lnTo>
                  <a:pt x="66" y="41"/>
                </a:lnTo>
                <a:lnTo>
                  <a:pt x="66" y="38"/>
                </a:lnTo>
                <a:lnTo>
                  <a:pt x="66" y="35"/>
                </a:lnTo>
                <a:lnTo>
                  <a:pt x="63" y="35"/>
                </a:lnTo>
                <a:lnTo>
                  <a:pt x="60" y="35"/>
                </a:lnTo>
                <a:lnTo>
                  <a:pt x="57" y="35"/>
                </a:lnTo>
                <a:lnTo>
                  <a:pt x="54" y="35"/>
                </a:lnTo>
                <a:lnTo>
                  <a:pt x="54" y="38"/>
                </a:lnTo>
                <a:lnTo>
                  <a:pt x="54" y="41"/>
                </a:lnTo>
                <a:lnTo>
                  <a:pt x="60" y="47"/>
                </a:lnTo>
                <a:lnTo>
                  <a:pt x="60" y="50"/>
                </a:lnTo>
                <a:lnTo>
                  <a:pt x="60" y="53"/>
                </a:lnTo>
                <a:lnTo>
                  <a:pt x="60" y="56"/>
                </a:lnTo>
                <a:lnTo>
                  <a:pt x="60" y="56"/>
                </a:lnTo>
                <a:lnTo>
                  <a:pt x="63" y="60"/>
                </a:lnTo>
                <a:lnTo>
                  <a:pt x="54" y="60"/>
                </a:lnTo>
                <a:lnTo>
                  <a:pt x="50" y="63"/>
                </a:lnTo>
                <a:lnTo>
                  <a:pt x="50" y="60"/>
                </a:lnTo>
                <a:lnTo>
                  <a:pt x="44" y="63"/>
                </a:lnTo>
                <a:lnTo>
                  <a:pt x="44" y="60"/>
                </a:lnTo>
                <a:lnTo>
                  <a:pt x="41" y="63"/>
                </a:lnTo>
                <a:lnTo>
                  <a:pt x="35" y="56"/>
                </a:lnTo>
                <a:lnTo>
                  <a:pt x="32" y="56"/>
                </a:lnTo>
                <a:lnTo>
                  <a:pt x="25" y="56"/>
                </a:lnTo>
                <a:lnTo>
                  <a:pt x="22" y="60"/>
                </a:lnTo>
                <a:lnTo>
                  <a:pt x="22" y="60"/>
                </a:lnTo>
                <a:lnTo>
                  <a:pt x="19" y="60"/>
                </a:lnTo>
                <a:lnTo>
                  <a:pt x="16" y="60"/>
                </a:lnTo>
                <a:lnTo>
                  <a:pt x="13" y="60"/>
                </a:lnTo>
                <a:lnTo>
                  <a:pt x="10" y="63"/>
                </a:lnTo>
                <a:lnTo>
                  <a:pt x="4" y="63"/>
                </a:lnTo>
                <a:lnTo>
                  <a:pt x="0" y="66"/>
                </a:lnTo>
                <a:lnTo>
                  <a:pt x="4" y="69"/>
                </a:lnTo>
                <a:lnTo>
                  <a:pt x="7" y="66"/>
                </a:lnTo>
                <a:lnTo>
                  <a:pt x="10" y="69"/>
                </a:lnTo>
                <a:lnTo>
                  <a:pt x="10" y="69"/>
                </a:lnTo>
                <a:lnTo>
                  <a:pt x="7" y="69"/>
                </a:lnTo>
                <a:lnTo>
                  <a:pt x="7" y="69"/>
                </a:lnTo>
                <a:lnTo>
                  <a:pt x="7" y="72"/>
                </a:lnTo>
                <a:lnTo>
                  <a:pt x="7" y="69"/>
                </a:lnTo>
                <a:lnTo>
                  <a:pt x="10" y="72"/>
                </a:lnTo>
                <a:lnTo>
                  <a:pt x="10" y="72"/>
                </a:lnTo>
                <a:lnTo>
                  <a:pt x="10" y="75"/>
                </a:lnTo>
                <a:lnTo>
                  <a:pt x="4" y="75"/>
                </a:lnTo>
                <a:lnTo>
                  <a:pt x="4" y="75"/>
                </a:lnTo>
                <a:lnTo>
                  <a:pt x="10" y="75"/>
                </a:lnTo>
                <a:lnTo>
                  <a:pt x="10" y="81"/>
                </a:lnTo>
                <a:lnTo>
                  <a:pt x="10" y="85"/>
                </a:lnTo>
                <a:lnTo>
                  <a:pt x="13" y="81"/>
                </a:lnTo>
                <a:lnTo>
                  <a:pt x="16" y="81"/>
                </a:lnTo>
                <a:lnTo>
                  <a:pt x="19" y="81"/>
                </a:lnTo>
                <a:lnTo>
                  <a:pt x="25" y="85"/>
                </a:lnTo>
                <a:lnTo>
                  <a:pt x="25" y="85"/>
                </a:lnTo>
                <a:lnTo>
                  <a:pt x="29" y="85"/>
                </a:lnTo>
                <a:lnTo>
                  <a:pt x="32" y="88"/>
                </a:lnTo>
                <a:lnTo>
                  <a:pt x="35" y="85"/>
                </a:lnTo>
                <a:lnTo>
                  <a:pt x="38" y="85"/>
                </a:lnTo>
                <a:lnTo>
                  <a:pt x="38" y="88"/>
                </a:lnTo>
                <a:lnTo>
                  <a:pt x="38" y="91"/>
                </a:lnTo>
                <a:lnTo>
                  <a:pt x="41" y="88"/>
                </a:lnTo>
                <a:lnTo>
                  <a:pt x="44" y="91"/>
                </a:lnTo>
                <a:lnTo>
                  <a:pt x="41" y="94"/>
                </a:lnTo>
                <a:lnTo>
                  <a:pt x="44" y="97"/>
                </a:lnTo>
                <a:lnTo>
                  <a:pt x="47" y="97"/>
                </a:lnTo>
                <a:lnTo>
                  <a:pt x="50" y="94"/>
                </a:lnTo>
                <a:lnTo>
                  <a:pt x="54" y="94"/>
                </a:lnTo>
                <a:lnTo>
                  <a:pt x="57" y="97"/>
                </a:lnTo>
                <a:lnTo>
                  <a:pt x="54" y="97"/>
                </a:lnTo>
                <a:lnTo>
                  <a:pt x="50" y="97"/>
                </a:lnTo>
                <a:lnTo>
                  <a:pt x="47" y="100"/>
                </a:lnTo>
                <a:lnTo>
                  <a:pt x="50" y="100"/>
                </a:lnTo>
                <a:lnTo>
                  <a:pt x="50" y="103"/>
                </a:lnTo>
                <a:lnTo>
                  <a:pt x="47" y="107"/>
                </a:lnTo>
                <a:lnTo>
                  <a:pt x="50" y="110"/>
                </a:lnTo>
                <a:lnTo>
                  <a:pt x="54" y="110"/>
                </a:lnTo>
                <a:lnTo>
                  <a:pt x="57" y="116"/>
                </a:lnTo>
                <a:lnTo>
                  <a:pt x="63" y="116"/>
                </a:lnTo>
                <a:lnTo>
                  <a:pt x="66" y="119"/>
                </a:lnTo>
                <a:lnTo>
                  <a:pt x="66" y="122"/>
                </a:lnTo>
                <a:lnTo>
                  <a:pt x="69" y="125"/>
                </a:lnTo>
                <a:lnTo>
                  <a:pt x="66" y="132"/>
                </a:lnTo>
                <a:lnTo>
                  <a:pt x="66" y="132"/>
                </a:lnTo>
                <a:lnTo>
                  <a:pt x="66" y="135"/>
                </a:lnTo>
                <a:lnTo>
                  <a:pt x="69" y="135"/>
                </a:lnTo>
                <a:lnTo>
                  <a:pt x="75" y="138"/>
                </a:lnTo>
                <a:lnTo>
                  <a:pt x="79" y="150"/>
                </a:lnTo>
                <a:lnTo>
                  <a:pt x="75" y="144"/>
                </a:lnTo>
                <a:lnTo>
                  <a:pt x="72" y="141"/>
                </a:lnTo>
                <a:lnTo>
                  <a:pt x="69" y="138"/>
                </a:lnTo>
                <a:lnTo>
                  <a:pt x="66" y="141"/>
                </a:lnTo>
                <a:lnTo>
                  <a:pt x="66" y="150"/>
                </a:lnTo>
                <a:lnTo>
                  <a:pt x="66" y="157"/>
                </a:lnTo>
                <a:lnTo>
                  <a:pt x="69" y="160"/>
                </a:lnTo>
                <a:lnTo>
                  <a:pt x="66" y="160"/>
                </a:lnTo>
                <a:lnTo>
                  <a:pt x="63" y="175"/>
                </a:lnTo>
                <a:lnTo>
                  <a:pt x="60" y="185"/>
                </a:lnTo>
                <a:lnTo>
                  <a:pt x="57" y="188"/>
                </a:lnTo>
                <a:lnTo>
                  <a:pt x="60" y="191"/>
                </a:lnTo>
                <a:lnTo>
                  <a:pt x="60" y="191"/>
                </a:lnTo>
                <a:lnTo>
                  <a:pt x="63" y="191"/>
                </a:lnTo>
                <a:lnTo>
                  <a:pt x="63" y="197"/>
                </a:lnTo>
                <a:lnTo>
                  <a:pt x="63" y="200"/>
                </a:lnTo>
                <a:lnTo>
                  <a:pt x="69" y="197"/>
                </a:lnTo>
                <a:lnTo>
                  <a:pt x="75" y="200"/>
                </a:lnTo>
                <a:lnTo>
                  <a:pt x="79" y="207"/>
                </a:lnTo>
                <a:lnTo>
                  <a:pt x="85" y="204"/>
                </a:lnTo>
                <a:lnTo>
                  <a:pt x="88" y="210"/>
                </a:lnTo>
                <a:lnTo>
                  <a:pt x="94" y="207"/>
                </a:lnTo>
                <a:lnTo>
                  <a:pt x="97" y="210"/>
                </a:lnTo>
                <a:lnTo>
                  <a:pt x="100" y="207"/>
                </a:lnTo>
                <a:lnTo>
                  <a:pt x="110" y="207"/>
                </a:lnTo>
                <a:lnTo>
                  <a:pt x="113" y="207"/>
                </a:lnTo>
                <a:lnTo>
                  <a:pt x="116" y="207"/>
                </a:lnTo>
                <a:lnTo>
                  <a:pt x="122" y="210"/>
                </a:lnTo>
                <a:lnTo>
                  <a:pt x="132" y="210"/>
                </a:lnTo>
                <a:lnTo>
                  <a:pt x="138" y="213"/>
                </a:lnTo>
                <a:lnTo>
                  <a:pt x="141" y="213"/>
                </a:lnTo>
                <a:lnTo>
                  <a:pt x="141" y="213"/>
                </a:lnTo>
                <a:lnTo>
                  <a:pt x="141" y="207"/>
                </a:lnTo>
                <a:lnTo>
                  <a:pt x="141" y="200"/>
                </a:lnTo>
                <a:lnTo>
                  <a:pt x="141" y="197"/>
                </a:lnTo>
                <a:lnTo>
                  <a:pt x="147" y="191"/>
                </a:lnTo>
                <a:lnTo>
                  <a:pt x="154" y="185"/>
                </a:lnTo>
                <a:lnTo>
                  <a:pt x="154" y="185"/>
                </a:lnTo>
                <a:lnTo>
                  <a:pt x="157" y="188"/>
                </a:lnTo>
                <a:lnTo>
                  <a:pt x="163" y="188"/>
                </a:lnTo>
                <a:lnTo>
                  <a:pt x="166" y="191"/>
                </a:lnTo>
                <a:lnTo>
                  <a:pt x="169" y="191"/>
                </a:lnTo>
                <a:lnTo>
                  <a:pt x="172" y="188"/>
                </a:lnTo>
                <a:lnTo>
                  <a:pt x="175" y="188"/>
                </a:lnTo>
                <a:lnTo>
                  <a:pt x="188" y="194"/>
                </a:lnTo>
                <a:lnTo>
                  <a:pt x="191" y="197"/>
                </a:lnTo>
                <a:lnTo>
                  <a:pt x="201" y="197"/>
                </a:lnTo>
                <a:lnTo>
                  <a:pt x="204" y="194"/>
                </a:lnTo>
                <a:lnTo>
                  <a:pt x="204" y="194"/>
                </a:lnTo>
                <a:lnTo>
                  <a:pt x="207" y="188"/>
                </a:lnTo>
                <a:lnTo>
                  <a:pt x="219" y="178"/>
                </a:lnTo>
                <a:lnTo>
                  <a:pt x="219" y="178"/>
                </a:lnTo>
                <a:lnTo>
                  <a:pt x="216" y="175"/>
                </a:lnTo>
                <a:lnTo>
                  <a:pt x="219" y="169"/>
                </a:lnTo>
                <a:lnTo>
                  <a:pt x="213" y="169"/>
                </a:lnTo>
                <a:lnTo>
                  <a:pt x="207" y="166"/>
                </a:lnTo>
                <a:lnTo>
                  <a:pt x="207" y="153"/>
                </a:lnTo>
                <a:lnTo>
                  <a:pt x="204" y="150"/>
                </a:lnTo>
                <a:lnTo>
                  <a:pt x="204" y="147"/>
                </a:lnTo>
                <a:lnTo>
                  <a:pt x="210" y="147"/>
                </a:lnTo>
                <a:lnTo>
                  <a:pt x="210" y="141"/>
                </a:lnTo>
                <a:lnTo>
                  <a:pt x="207" y="135"/>
                </a:lnTo>
                <a:lnTo>
                  <a:pt x="207" y="132"/>
                </a:lnTo>
                <a:lnTo>
                  <a:pt x="207" y="128"/>
                </a:lnTo>
                <a:lnTo>
                  <a:pt x="210" y="128"/>
                </a:lnTo>
                <a:lnTo>
                  <a:pt x="210" y="128"/>
                </a:lnTo>
                <a:close/>
                <a:moveTo>
                  <a:pt x="251" y="238"/>
                </a:moveTo>
                <a:lnTo>
                  <a:pt x="244" y="235"/>
                </a:lnTo>
                <a:lnTo>
                  <a:pt x="241" y="232"/>
                </a:lnTo>
                <a:lnTo>
                  <a:pt x="244" y="232"/>
                </a:lnTo>
                <a:lnTo>
                  <a:pt x="244" y="232"/>
                </a:lnTo>
                <a:lnTo>
                  <a:pt x="244" y="229"/>
                </a:lnTo>
                <a:lnTo>
                  <a:pt x="244" y="229"/>
                </a:lnTo>
                <a:lnTo>
                  <a:pt x="244" y="225"/>
                </a:lnTo>
                <a:lnTo>
                  <a:pt x="241" y="225"/>
                </a:lnTo>
                <a:lnTo>
                  <a:pt x="238" y="222"/>
                </a:lnTo>
                <a:lnTo>
                  <a:pt x="241" y="222"/>
                </a:lnTo>
                <a:lnTo>
                  <a:pt x="241" y="222"/>
                </a:lnTo>
                <a:lnTo>
                  <a:pt x="238" y="219"/>
                </a:lnTo>
                <a:lnTo>
                  <a:pt x="238" y="216"/>
                </a:lnTo>
                <a:lnTo>
                  <a:pt x="238" y="216"/>
                </a:lnTo>
                <a:lnTo>
                  <a:pt x="241" y="216"/>
                </a:lnTo>
                <a:lnTo>
                  <a:pt x="238" y="213"/>
                </a:lnTo>
                <a:lnTo>
                  <a:pt x="241" y="207"/>
                </a:lnTo>
                <a:lnTo>
                  <a:pt x="247" y="207"/>
                </a:lnTo>
                <a:lnTo>
                  <a:pt x="247" y="204"/>
                </a:lnTo>
                <a:lnTo>
                  <a:pt x="251" y="207"/>
                </a:lnTo>
                <a:lnTo>
                  <a:pt x="254" y="207"/>
                </a:lnTo>
                <a:lnTo>
                  <a:pt x="254" y="204"/>
                </a:lnTo>
                <a:lnTo>
                  <a:pt x="254" y="200"/>
                </a:lnTo>
                <a:lnTo>
                  <a:pt x="254" y="197"/>
                </a:lnTo>
                <a:lnTo>
                  <a:pt x="254" y="197"/>
                </a:lnTo>
                <a:lnTo>
                  <a:pt x="257" y="204"/>
                </a:lnTo>
                <a:lnTo>
                  <a:pt x="257" y="207"/>
                </a:lnTo>
                <a:lnTo>
                  <a:pt x="257" y="216"/>
                </a:lnTo>
                <a:lnTo>
                  <a:pt x="254" y="225"/>
                </a:lnTo>
                <a:lnTo>
                  <a:pt x="257" y="229"/>
                </a:lnTo>
                <a:lnTo>
                  <a:pt x="254" y="235"/>
                </a:lnTo>
                <a:lnTo>
                  <a:pt x="251" y="238"/>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8" name="Freeform 76">
            <a:extLst>
              <a:ext uri="{FF2B5EF4-FFF2-40B4-BE49-F238E27FC236}">
                <a16:creationId xmlns:a16="http://schemas.microsoft.com/office/drawing/2014/main" id="{F08762F7-E9B7-93CF-639B-C3CE9FA8BB2D}"/>
              </a:ext>
            </a:extLst>
          </p:cNvPr>
          <p:cNvSpPr>
            <a:spLocks/>
          </p:cNvSpPr>
          <p:nvPr userDrawn="1"/>
        </p:nvSpPr>
        <p:spPr bwMode="auto">
          <a:xfrm>
            <a:off x="14013539" y="7031909"/>
            <a:ext cx="19049" cy="19050"/>
          </a:xfrm>
          <a:custGeom>
            <a:avLst/>
            <a:gdLst>
              <a:gd name="T0" fmla="*/ 0 w 6"/>
              <a:gd name="T1" fmla="*/ 0 h 6"/>
              <a:gd name="T2" fmla="*/ 0 w 6"/>
              <a:gd name="T3" fmla="*/ 3 h 6"/>
              <a:gd name="T4" fmla="*/ 3 w 6"/>
              <a:gd name="T5" fmla="*/ 6 h 6"/>
              <a:gd name="T6" fmla="*/ 6 w 6"/>
              <a:gd name="T7" fmla="*/ 3 h 6"/>
              <a:gd name="T8" fmla="*/ 6 w 6"/>
              <a:gd name="T9" fmla="*/ 0 h 6"/>
              <a:gd name="T10" fmla="*/ 0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0" y="0"/>
                </a:moveTo>
                <a:lnTo>
                  <a:pt x="0" y="3"/>
                </a:lnTo>
                <a:lnTo>
                  <a:pt x="3" y="6"/>
                </a:lnTo>
                <a:lnTo>
                  <a:pt x="6" y="3"/>
                </a:lnTo>
                <a:lnTo>
                  <a:pt x="6" y="0"/>
                </a:lnTo>
                <a:lnTo>
                  <a:pt x="0" y="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9" name="Freeform 77">
            <a:extLst>
              <a:ext uri="{FF2B5EF4-FFF2-40B4-BE49-F238E27FC236}">
                <a16:creationId xmlns:a16="http://schemas.microsoft.com/office/drawing/2014/main" id="{F33C48FF-74FE-7EC6-0B97-DCB2E5F08E2B}"/>
              </a:ext>
            </a:extLst>
          </p:cNvPr>
          <p:cNvSpPr>
            <a:spLocks noEditPoints="1"/>
          </p:cNvSpPr>
          <p:nvPr userDrawn="1"/>
        </p:nvSpPr>
        <p:spPr bwMode="auto">
          <a:xfrm>
            <a:off x="13537322" y="6187361"/>
            <a:ext cx="704804" cy="796926"/>
          </a:xfrm>
          <a:custGeom>
            <a:avLst/>
            <a:gdLst>
              <a:gd name="T0" fmla="*/ 3 w 222"/>
              <a:gd name="T1" fmla="*/ 66 h 251"/>
              <a:gd name="T2" fmla="*/ 6 w 222"/>
              <a:gd name="T3" fmla="*/ 41 h 251"/>
              <a:gd name="T4" fmla="*/ 15 w 222"/>
              <a:gd name="T5" fmla="*/ 25 h 251"/>
              <a:gd name="T6" fmla="*/ 40 w 222"/>
              <a:gd name="T7" fmla="*/ 25 h 251"/>
              <a:gd name="T8" fmla="*/ 56 w 222"/>
              <a:gd name="T9" fmla="*/ 19 h 251"/>
              <a:gd name="T10" fmla="*/ 72 w 222"/>
              <a:gd name="T11" fmla="*/ 3 h 251"/>
              <a:gd name="T12" fmla="*/ 97 w 222"/>
              <a:gd name="T13" fmla="*/ 3 h 251"/>
              <a:gd name="T14" fmla="*/ 125 w 222"/>
              <a:gd name="T15" fmla="*/ 19 h 251"/>
              <a:gd name="T16" fmla="*/ 115 w 222"/>
              <a:gd name="T17" fmla="*/ 35 h 251"/>
              <a:gd name="T18" fmla="*/ 100 w 222"/>
              <a:gd name="T19" fmla="*/ 44 h 251"/>
              <a:gd name="T20" fmla="*/ 103 w 222"/>
              <a:gd name="T21" fmla="*/ 63 h 251"/>
              <a:gd name="T22" fmla="*/ 122 w 222"/>
              <a:gd name="T23" fmla="*/ 82 h 251"/>
              <a:gd name="T24" fmla="*/ 137 w 222"/>
              <a:gd name="T25" fmla="*/ 107 h 251"/>
              <a:gd name="T26" fmla="*/ 156 w 222"/>
              <a:gd name="T27" fmla="*/ 122 h 251"/>
              <a:gd name="T28" fmla="*/ 178 w 222"/>
              <a:gd name="T29" fmla="*/ 125 h 251"/>
              <a:gd name="T30" fmla="*/ 178 w 222"/>
              <a:gd name="T31" fmla="*/ 138 h 251"/>
              <a:gd name="T32" fmla="*/ 218 w 222"/>
              <a:gd name="T33" fmla="*/ 157 h 251"/>
              <a:gd name="T34" fmla="*/ 222 w 222"/>
              <a:gd name="T35" fmla="*/ 172 h 251"/>
              <a:gd name="T36" fmla="*/ 212 w 222"/>
              <a:gd name="T37" fmla="*/ 166 h 251"/>
              <a:gd name="T38" fmla="*/ 197 w 222"/>
              <a:gd name="T39" fmla="*/ 160 h 251"/>
              <a:gd name="T40" fmla="*/ 190 w 222"/>
              <a:gd name="T41" fmla="*/ 169 h 251"/>
              <a:gd name="T42" fmla="*/ 190 w 222"/>
              <a:gd name="T43" fmla="*/ 179 h 251"/>
              <a:gd name="T44" fmla="*/ 197 w 222"/>
              <a:gd name="T45" fmla="*/ 197 h 251"/>
              <a:gd name="T46" fmla="*/ 184 w 222"/>
              <a:gd name="T47" fmla="*/ 219 h 251"/>
              <a:gd name="T48" fmla="*/ 172 w 222"/>
              <a:gd name="T49" fmla="*/ 213 h 251"/>
              <a:gd name="T50" fmla="*/ 178 w 222"/>
              <a:gd name="T51" fmla="*/ 200 h 251"/>
              <a:gd name="T52" fmla="*/ 178 w 222"/>
              <a:gd name="T53" fmla="*/ 185 h 251"/>
              <a:gd name="T54" fmla="*/ 168 w 222"/>
              <a:gd name="T55" fmla="*/ 169 h 251"/>
              <a:gd name="T56" fmla="*/ 156 w 222"/>
              <a:gd name="T57" fmla="*/ 163 h 251"/>
              <a:gd name="T58" fmla="*/ 147 w 222"/>
              <a:gd name="T59" fmla="*/ 150 h 251"/>
              <a:gd name="T60" fmla="*/ 131 w 222"/>
              <a:gd name="T61" fmla="*/ 141 h 251"/>
              <a:gd name="T62" fmla="*/ 118 w 222"/>
              <a:gd name="T63" fmla="*/ 138 h 251"/>
              <a:gd name="T64" fmla="*/ 93 w 222"/>
              <a:gd name="T65" fmla="*/ 116 h 251"/>
              <a:gd name="T66" fmla="*/ 75 w 222"/>
              <a:gd name="T67" fmla="*/ 100 h 251"/>
              <a:gd name="T68" fmla="*/ 65 w 222"/>
              <a:gd name="T69" fmla="*/ 82 h 251"/>
              <a:gd name="T70" fmla="*/ 50 w 222"/>
              <a:gd name="T71" fmla="*/ 69 h 251"/>
              <a:gd name="T72" fmla="*/ 15 w 222"/>
              <a:gd name="T73" fmla="*/ 78 h 251"/>
              <a:gd name="T74" fmla="*/ 34 w 222"/>
              <a:gd name="T75" fmla="*/ 141 h 251"/>
              <a:gd name="T76" fmla="*/ 28 w 222"/>
              <a:gd name="T77" fmla="*/ 144 h 251"/>
              <a:gd name="T78" fmla="*/ 78 w 222"/>
              <a:gd name="T79" fmla="*/ 113 h 251"/>
              <a:gd name="T80" fmla="*/ 72 w 222"/>
              <a:gd name="T81" fmla="*/ 104 h 251"/>
              <a:gd name="T82" fmla="*/ 62 w 222"/>
              <a:gd name="T83" fmla="*/ 104 h 251"/>
              <a:gd name="T84" fmla="*/ 47 w 222"/>
              <a:gd name="T85" fmla="*/ 194 h 251"/>
              <a:gd name="T86" fmla="*/ 56 w 222"/>
              <a:gd name="T87" fmla="*/ 191 h 251"/>
              <a:gd name="T88" fmla="*/ 53 w 222"/>
              <a:gd name="T89" fmla="*/ 160 h 251"/>
              <a:gd name="T90" fmla="*/ 53 w 222"/>
              <a:gd name="T91" fmla="*/ 144 h 251"/>
              <a:gd name="T92" fmla="*/ 34 w 222"/>
              <a:gd name="T93" fmla="*/ 150 h 251"/>
              <a:gd name="T94" fmla="*/ 31 w 222"/>
              <a:gd name="T95" fmla="*/ 160 h 251"/>
              <a:gd name="T96" fmla="*/ 37 w 222"/>
              <a:gd name="T97" fmla="*/ 172 h 251"/>
              <a:gd name="T98" fmla="*/ 37 w 222"/>
              <a:gd name="T99" fmla="*/ 194 h 251"/>
              <a:gd name="T100" fmla="*/ 165 w 222"/>
              <a:gd name="T101" fmla="*/ 244 h 251"/>
              <a:gd name="T102" fmla="*/ 168 w 222"/>
              <a:gd name="T103" fmla="*/ 216 h 251"/>
              <a:gd name="T104" fmla="*/ 150 w 222"/>
              <a:gd name="T105" fmla="*/ 219 h 251"/>
              <a:gd name="T106" fmla="*/ 122 w 222"/>
              <a:gd name="T107" fmla="*/ 216 h 251"/>
              <a:gd name="T108" fmla="*/ 115 w 222"/>
              <a:gd name="T109" fmla="*/ 229 h 251"/>
              <a:gd name="T110" fmla="*/ 143 w 222"/>
              <a:gd name="T111" fmla="*/ 241 h 251"/>
              <a:gd name="T112" fmla="*/ 162 w 222"/>
              <a:gd name="T113" fmla="*/ 251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2" h="251">
                <a:moveTo>
                  <a:pt x="15" y="78"/>
                </a:moveTo>
                <a:lnTo>
                  <a:pt x="12" y="75"/>
                </a:lnTo>
                <a:lnTo>
                  <a:pt x="15" y="69"/>
                </a:lnTo>
                <a:lnTo>
                  <a:pt x="9" y="69"/>
                </a:lnTo>
                <a:lnTo>
                  <a:pt x="3" y="66"/>
                </a:lnTo>
                <a:lnTo>
                  <a:pt x="3" y="53"/>
                </a:lnTo>
                <a:lnTo>
                  <a:pt x="0" y="50"/>
                </a:lnTo>
                <a:lnTo>
                  <a:pt x="0" y="47"/>
                </a:lnTo>
                <a:lnTo>
                  <a:pt x="6" y="47"/>
                </a:lnTo>
                <a:lnTo>
                  <a:pt x="6" y="41"/>
                </a:lnTo>
                <a:lnTo>
                  <a:pt x="3" y="35"/>
                </a:lnTo>
                <a:lnTo>
                  <a:pt x="3" y="32"/>
                </a:lnTo>
                <a:lnTo>
                  <a:pt x="3" y="28"/>
                </a:lnTo>
                <a:lnTo>
                  <a:pt x="9" y="32"/>
                </a:lnTo>
                <a:lnTo>
                  <a:pt x="15" y="25"/>
                </a:lnTo>
                <a:lnTo>
                  <a:pt x="22" y="28"/>
                </a:lnTo>
                <a:lnTo>
                  <a:pt x="28" y="16"/>
                </a:lnTo>
                <a:lnTo>
                  <a:pt x="34" y="19"/>
                </a:lnTo>
                <a:lnTo>
                  <a:pt x="34" y="22"/>
                </a:lnTo>
                <a:lnTo>
                  <a:pt x="40" y="25"/>
                </a:lnTo>
                <a:lnTo>
                  <a:pt x="40" y="28"/>
                </a:lnTo>
                <a:lnTo>
                  <a:pt x="43" y="22"/>
                </a:lnTo>
                <a:lnTo>
                  <a:pt x="43" y="16"/>
                </a:lnTo>
                <a:lnTo>
                  <a:pt x="53" y="19"/>
                </a:lnTo>
                <a:lnTo>
                  <a:pt x="56" y="19"/>
                </a:lnTo>
                <a:lnTo>
                  <a:pt x="59" y="22"/>
                </a:lnTo>
                <a:lnTo>
                  <a:pt x="62" y="16"/>
                </a:lnTo>
                <a:lnTo>
                  <a:pt x="68" y="13"/>
                </a:lnTo>
                <a:lnTo>
                  <a:pt x="65" y="7"/>
                </a:lnTo>
                <a:lnTo>
                  <a:pt x="72" y="3"/>
                </a:lnTo>
                <a:lnTo>
                  <a:pt x="78" y="3"/>
                </a:lnTo>
                <a:lnTo>
                  <a:pt x="87" y="0"/>
                </a:lnTo>
                <a:lnTo>
                  <a:pt x="90" y="0"/>
                </a:lnTo>
                <a:lnTo>
                  <a:pt x="100" y="0"/>
                </a:lnTo>
                <a:lnTo>
                  <a:pt x="97" y="3"/>
                </a:lnTo>
                <a:lnTo>
                  <a:pt x="106" y="10"/>
                </a:lnTo>
                <a:lnTo>
                  <a:pt x="118" y="13"/>
                </a:lnTo>
                <a:lnTo>
                  <a:pt x="125" y="10"/>
                </a:lnTo>
                <a:lnTo>
                  <a:pt x="128" y="13"/>
                </a:lnTo>
                <a:lnTo>
                  <a:pt x="125" y="19"/>
                </a:lnTo>
                <a:lnTo>
                  <a:pt x="125" y="22"/>
                </a:lnTo>
                <a:lnTo>
                  <a:pt x="122" y="28"/>
                </a:lnTo>
                <a:lnTo>
                  <a:pt x="125" y="35"/>
                </a:lnTo>
                <a:lnTo>
                  <a:pt x="118" y="32"/>
                </a:lnTo>
                <a:lnTo>
                  <a:pt x="115" y="35"/>
                </a:lnTo>
                <a:lnTo>
                  <a:pt x="115" y="38"/>
                </a:lnTo>
                <a:lnTo>
                  <a:pt x="109" y="38"/>
                </a:lnTo>
                <a:lnTo>
                  <a:pt x="106" y="41"/>
                </a:lnTo>
                <a:lnTo>
                  <a:pt x="103" y="41"/>
                </a:lnTo>
                <a:lnTo>
                  <a:pt x="100" y="44"/>
                </a:lnTo>
                <a:lnTo>
                  <a:pt x="103" y="47"/>
                </a:lnTo>
                <a:lnTo>
                  <a:pt x="106" y="50"/>
                </a:lnTo>
                <a:lnTo>
                  <a:pt x="103" y="57"/>
                </a:lnTo>
                <a:lnTo>
                  <a:pt x="100" y="57"/>
                </a:lnTo>
                <a:lnTo>
                  <a:pt x="103" y="63"/>
                </a:lnTo>
                <a:lnTo>
                  <a:pt x="103" y="69"/>
                </a:lnTo>
                <a:lnTo>
                  <a:pt x="106" y="72"/>
                </a:lnTo>
                <a:lnTo>
                  <a:pt x="112" y="75"/>
                </a:lnTo>
                <a:lnTo>
                  <a:pt x="118" y="78"/>
                </a:lnTo>
                <a:lnTo>
                  <a:pt x="122" y="82"/>
                </a:lnTo>
                <a:lnTo>
                  <a:pt x="134" y="94"/>
                </a:lnTo>
                <a:lnTo>
                  <a:pt x="134" y="97"/>
                </a:lnTo>
                <a:lnTo>
                  <a:pt x="134" y="97"/>
                </a:lnTo>
                <a:lnTo>
                  <a:pt x="134" y="104"/>
                </a:lnTo>
                <a:lnTo>
                  <a:pt x="137" y="107"/>
                </a:lnTo>
                <a:lnTo>
                  <a:pt x="140" y="110"/>
                </a:lnTo>
                <a:lnTo>
                  <a:pt x="143" y="116"/>
                </a:lnTo>
                <a:lnTo>
                  <a:pt x="150" y="119"/>
                </a:lnTo>
                <a:lnTo>
                  <a:pt x="153" y="122"/>
                </a:lnTo>
                <a:lnTo>
                  <a:pt x="156" y="122"/>
                </a:lnTo>
                <a:lnTo>
                  <a:pt x="159" y="125"/>
                </a:lnTo>
                <a:lnTo>
                  <a:pt x="165" y="125"/>
                </a:lnTo>
                <a:lnTo>
                  <a:pt x="168" y="125"/>
                </a:lnTo>
                <a:lnTo>
                  <a:pt x="175" y="125"/>
                </a:lnTo>
                <a:lnTo>
                  <a:pt x="178" y="125"/>
                </a:lnTo>
                <a:lnTo>
                  <a:pt x="178" y="129"/>
                </a:lnTo>
                <a:lnTo>
                  <a:pt x="172" y="132"/>
                </a:lnTo>
                <a:lnTo>
                  <a:pt x="172" y="135"/>
                </a:lnTo>
                <a:lnTo>
                  <a:pt x="175" y="138"/>
                </a:lnTo>
                <a:lnTo>
                  <a:pt x="178" y="138"/>
                </a:lnTo>
                <a:lnTo>
                  <a:pt x="184" y="138"/>
                </a:lnTo>
                <a:lnTo>
                  <a:pt x="200" y="147"/>
                </a:lnTo>
                <a:lnTo>
                  <a:pt x="206" y="150"/>
                </a:lnTo>
                <a:lnTo>
                  <a:pt x="212" y="157"/>
                </a:lnTo>
                <a:lnTo>
                  <a:pt x="218" y="157"/>
                </a:lnTo>
                <a:lnTo>
                  <a:pt x="222" y="160"/>
                </a:lnTo>
                <a:lnTo>
                  <a:pt x="222" y="163"/>
                </a:lnTo>
                <a:lnTo>
                  <a:pt x="222" y="166"/>
                </a:lnTo>
                <a:lnTo>
                  <a:pt x="218" y="169"/>
                </a:lnTo>
                <a:lnTo>
                  <a:pt x="222" y="172"/>
                </a:lnTo>
                <a:lnTo>
                  <a:pt x="218" y="172"/>
                </a:lnTo>
                <a:lnTo>
                  <a:pt x="218" y="175"/>
                </a:lnTo>
                <a:lnTo>
                  <a:pt x="215" y="172"/>
                </a:lnTo>
                <a:lnTo>
                  <a:pt x="212" y="169"/>
                </a:lnTo>
                <a:lnTo>
                  <a:pt x="212" y="166"/>
                </a:lnTo>
                <a:lnTo>
                  <a:pt x="212" y="163"/>
                </a:lnTo>
                <a:lnTo>
                  <a:pt x="209" y="163"/>
                </a:lnTo>
                <a:lnTo>
                  <a:pt x="203" y="163"/>
                </a:lnTo>
                <a:lnTo>
                  <a:pt x="203" y="160"/>
                </a:lnTo>
                <a:lnTo>
                  <a:pt x="197" y="160"/>
                </a:lnTo>
                <a:lnTo>
                  <a:pt x="197" y="160"/>
                </a:lnTo>
                <a:lnTo>
                  <a:pt x="193" y="160"/>
                </a:lnTo>
                <a:lnTo>
                  <a:pt x="193" y="166"/>
                </a:lnTo>
                <a:lnTo>
                  <a:pt x="190" y="166"/>
                </a:lnTo>
                <a:lnTo>
                  <a:pt x="190" y="169"/>
                </a:lnTo>
                <a:lnTo>
                  <a:pt x="190" y="172"/>
                </a:lnTo>
                <a:lnTo>
                  <a:pt x="187" y="175"/>
                </a:lnTo>
                <a:lnTo>
                  <a:pt x="187" y="179"/>
                </a:lnTo>
                <a:lnTo>
                  <a:pt x="187" y="179"/>
                </a:lnTo>
                <a:lnTo>
                  <a:pt x="190" y="179"/>
                </a:lnTo>
                <a:lnTo>
                  <a:pt x="197" y="185"/>
                </a:lnTo>
                <a:lnTo>
                  <a:pt x="197" y="188"/>
                </a:lnTo>
                <a:lnTo>
                  <a:pt x="197" y="191"/>
                </a:lnTo>
                <a:lnTo>
                  <a:pt x="200" y="194"/>
                </a:lnTo>
                <a:lnTo>
                  <a:pt x="197" y="197"/>
                </a:lnTo>
                <a:lnTo>
                  <a:pt x="193" y="197"/>
                </a:lnTo>
                <a:lnTo>
                  <a:pt x="190" y="200"/>
                </a:lnTo>
                <a:lnTo>
                  <a:pt x="190" y="210"/>
                </a:lnTo>
                <a:lnTo>
                  <a:pt x="184" y="213"/>
                </a:lnTo>
                <a:lnTo>
                  <a:pt x="184" y="219"/>
                </a:lnTo>
                <a:lnTo>
                  <a:pt x="181" y="222"/>
                </a:lnTo>
                <a:lnTo>
                  <a:pt x="175" y="222"/>
                </a:lnTo>
                <a:lnTo>
                  <a:pt x="172" y="219"/>
                </a:lnTo>
                <a:lnTo>
                  <a:pt x="172" y="216"/>
                </a:lnTo>
                <a:lnTo>
                  <a:pt x="172" y="213"/>
                </a:lnTo>
                <a:lnTo>
                  <a:pt x="175" y="213"/>
                </a:lnTo>
                <a:lnTo>
                  <a:pt x="178" y="210"/>
                </a:lnTo>
                <a:lnTo>
                  <a:pt x="178" y="207"/>
                </a:lnTo>
                <a:lnTo>
                  <a:pt x="178" y="204"/>
                </a:lnTo>
                <a:lnTo>
                  <a:pt x="178" y="200"/>
                </a:lnTo>
                <a:lnTo>
                  <a:pt x="178" y="200"/>
                </a:lnTo>
                <a:lnTo>
                  <a:pt x="181" y="200"/>
                </a:lnTo>
                <a:lnTo>
                  <a:pt x="181" y="194"/>
                </a:lnTo>
                <a:lnTo>
                  <a:pt x="178" y="191"/>
                </a:lnTo>
                <a:lnTo>
                  <a:pt x="178" y="185"/>
                </a:lnTo>
                <a:lnTo>
                  <a:pt x="175" y="182"/>
                </a:lnTo>
                <a:lnTo>
                  <a:pt x="175" y="175"/>
                </a:lnTo>
                <a:lnTo>
                  <a:pt x="172" y="169"/>
                </a:lnTo>
                <a:lnTo>
                  <a:pt x="168" y="169"/>
                </a:lnTo>
                <a:lnTo>
                  <a:pt x="168" y="169"/>
                </a:lnTo>
                <a:lnTo>
                  <a:pt x="162" y="169"/>
                </a:lnTo>
                <a:lnTo>
                  <a:pt x="162" y="166"/>
                </a:lnTo>
                <a:lnTo>
                  <a:pt x="156" y="166"/>
                </a:lnTo>
                <a:lnTo>
                  <a:pt x="156" y="163"/>
                </a:lnTo>
                <a:lnTo>
                  <a:pt x="156" y="163"/>
                </a:lnTo>
                <a:lnTo>
                  <a:pt x="156" y="157"/>
                </a:lnTo>
                <a:lnTo>
                  <a:pt x="153" y="154"/>
                </a:lnTo>
                <a:lnTo>
                  <a:pt x="150" y="154"/>
                </a:lnTo>
                <a:lnTo>
                  <a:pt x="147" y="154"/>
                </a:lnTo>
                <a:lnTo>
                  <a:pt x="147" y="150"/>
                </a:lnTo>
                <a:lnTo>
                  <a:pt x="143" y="150"/>
                </a:lnTo>
                <a:lnTo>
                  <a:pt x="140" y="150"/>
                </a:lnTo>
                <a:lnTo>
                  <a:pt x="140" y="150"/>
                </a:lnTo>
                <a:lnTo>
                  <a:pt x="134" y="141"/>
                </a:lnTo>
                <a:lnTo>
                  <a:pt x="131" y="141"/>
                </a:lnTo>
                <a:lnTo>
                  <a:pt x="128" y="141"/>
                </a:lnTo>
                <a:lnTo>
                  <a:pt x="125" y="144"/>
                </a:lnTo>
                <a:lnTo>
                  <a:pt x="122" y="144"/>
                </a:lnTo>
                <a:lnTo>
                  <a:pt x="122" y="138"/>
                </a:lnTo>
                <a:lnTo>
                  <a:pt x="118" y="138"/>
                </a:lnTo>
                <a:lnTo>
                  <a:pt x="112" y="138"/>
                </a:lnTo>
                <a:lnTo>
                  <a:pt x="106" y="132"/>
                </a:lnTo>
                <a:lnTo>
                  <a:pt x="97" y="119"/>
                </a:lnTo>
                <a:lnTo>
                  <a:pt x="97" y="119"/>
                </a:lnTo>
                <a:lnTo>
                  <a:pt x="93" y="116"/>
                </a:lnTo>
                <a:lnTo>
                  <a:pt x="90" y="113"/>
                </a:lnTo>
                <a:lnTo>
                  <a:pt x="84" y="113"/>
                </a:lnTo>
                <a:lnTo>
                  <a:pt x="84" y="107"/>
                </a:lnTo>
                <a:lnTo>
                  <a:pt x="78" y="104"/>
                </a:lnTo>
                <a:lnTo>
                  <a:pt x="75" y="100"/>
                </a:lnTo>
                <a:lnTo>
                  <a:pt x="72" y="97"/>
                </a:lnTo>
                <a:lnTo>
                  <a:pt x="72" y="91"/>
                </a:lnTo>
                <a:lnTo>
                  <a:pt x="68" y="91"/>
                </a:lnTo>
                <a:lnTo>
                  <a:pt x="68" y="85"/>
                </a:lnTo>
                <a:lnTo>
                  <a:pt x="65" y="82"/>
                </a:lnTo>
                <a:lnTo>
                  <a:pt x="62" y="78"/>
                </a:lnTo>
                <a:lnTo>
                  <a:pt x="62" y="75"/>
                </a:lnTo>
                <a:lnTo>
                  <a:pt x="62" y="72"/>
                </a:lnTo>
                <a:lnTo>
                  <a:pt x="56" y="69"/>
                </a:lnTo>
                <a:lnTo>
                  <a:pt x="50" y="69"/>
                </a:lnTo>
                <a:lnTo>
                  <a:pt x="37" y="66"/>
                </a:lnTo>
                <a:lnTo>
                  <a:pt x="28" y="69"/>
                </a:lnTo>
                <a:lnTo>
                  <a:pt x="28" y="72"/>
                </a:lnTo>
                <a:lnTo>
                  <a:pt x="25" y="78"/>
                </a:lnTo>
                <a:lnTo>
                  <a:pt x="15" y="78"/>
                </a:lnTo>
                <a:lnTo>
                  <a:pt x="15" y="78"/>
                </a:lnTo>
                <a:close/>
                <a:moveTo>
                  <a:pt x="28" y="144"/>
                </a:moveTo>
                <a:lnTo>
                  <a:pt x="31" y="144"/>
                </a:lnTo>
                <a:lnTo>
                  <a:pt x="31" y="144"/>
                </a:lnTo>
                <a:lnTo>
                  <a:pt x="34" y="141"/>
                </a:lnTo>
                <a:lnTo>
                  <a:pt x="31" y="141"/>
                </a:lnTo>
                <a:lnTo>
                  <a:pt x="31" y="141"/>
                </a:lnTo>
                <a:lnTo>
                  <a:pt x="28" y="144"/>
                </a:lnTo>
                <a:lnTo>
                  <a:pt x="28" y="144"/>
                </a:lnTo>
                <a:lnTo>
                  <a:pt x="28" y="144"/>
                </a:lnTo>
                <a:close/>
                <a:moveTo>
                  <a:pt x="78" y="113"/>
                </a:moveTo>
                <a:lnTo>
                  <a:pt x="81" y="116"/>
                </a:lnTo>
                <a:lnTo>
                  <a:pt x="81" y="113"/>
                </a:lnTo>
                <a:lnTo>
                  <a:pt x="78" y="113"/>
                </a:lnTo>
                <a:lnTo>
                  <a:pt x="78" y="113"/>
                </a:lnTo>
                <a:close/>
                <a:moveTo>
                  <a:pt x="62" y="104"/>
                </a:moveTo>
                <a:lnTo>
                  <a:pt x="62" y="104"/>
                </a:lnTo>
                <a:lnTo>
                  <a:pt x="65" y="107"/>
                </a:lnTo>
                <a:lnTo>
                  <a:pt x="68" y="104"/>
                </a:lnTo>
                <a:lnTo>
                  <a:pt x="72" y="104"/>
                </a:lnTo>
                <a:lnTo>
                  <a:pt x="72" y="100"/>
                </a:lnTo>
                <a:lnTo>
                  <a:pt x="68" y="100"/>
                </a:lnTo>
                <a:lnTo>
                  <a:pt x="68" y="100"/>
                </a:lnTo>
                <a:lnTo>
                  <a:pt x="62" y="104"/>
                </a:lnTo>
                <a:lnTo>
                  <a:pt x="62" y="104"/>
                </a:lnTo>
                <a:close/>
                <a:moveTo>
                  <a:pt x="40" y="197"/>
                </a:moveTo>
                <a:lnTo>
                  <a:pt x="40" y="197"/>
                </a:lnTo>
                <a:lnTo>
                  <a:pt x="43" y="197"/>
                </a:lnTo>
                <a:lnTo>
                  <a:pt x="47" y="197"/>
                </a:lnTo>
                <a:lnTo>
                  <a:pt x="47" y="194"/>
                </a:lnTo>
                <a:lnTo>
                  <a:pt x="47" y="191"/>
                </a:lnTo>
                <a:lnTo>
                  <a:pt x="50" y="191"/>
                </a:lnTo>
                <a:lnTo>
                  <a:pt x="53" y="194"/>
                </a:lnTo>
                <a:lnTo>
                  <a:pt x="56" y="194"/>
                </a:lnTo>
                <a:lnTo>
                  <a:pt x="56" y="191"/>
                </a:lnTo>
                <a:lnTo>
                  <a:pt x="56" y="182"/>
                </a:lnTo>
                <a:lnTo>
                  <a:pt x="59" y="182"/>
                </a:lnTo>
                <a:lnTo>
                  <a:pt x="56" y="172"/>
                </a:lnTo>
                <a:lnTo>
                  <a:pt x="59" y="166"/>
                </a:lnTo>
                <a:lnTo>
                  <a:pt x="53" y="160"/>
                </a:lnTo>
                <a:lnTo>
                  <a:pt x="59" y="160"/>
                </a:lnTo>
                <a:lnTo>
                  <a:pt x="59" y="157"/>
                </a:lnTo>
                <a:lnTo>
                  <a:pt x="56" y="150"/>
                </a:lnTo>
                <a:lnTo>
                  <a:pt x="56" y="147"/>
                </a:lnTo>
                <a:lnTo>
                  <a:pt x="53" y="144"/>
                </a:lnTo>
                <a:lnTo>
                  <a:pt x="50" y="144"/>
                </a:lnTo>
                <a:lnTo>
                  <a:pt x="47" y="141"/>
                </a:lnTo>
                <a:lnTo>
                  <a:pt x="43" y="141"/>
                </a:lnTo>
                <a:lnTo>
                  <a:pt x="37" y="150"/>
                </a:lnTo>
                <a:lnTo>
                  <a:pt x="34" y="150"/>
                </a:lnTo>
                <a:lnTo>
                  <a:pt x="28" y="147"/>
                </a:lnTo>
                <a:lnTo>
                  <a:pt x="28" y="154"/>
                </a:lnTo>
                <a:lnTo>
                  <a:pt x="28" y="154"/>
                </a:lnTo>
                <a:lnTo>
                  <a:pt x="31" y="157"/>
                </a:lnTo>
                <a:lnTo>
                  <a:pt x="31" y="160"/>
                </a:lnTo>
                <a:lnTo>
                  <a:pt x="34" y="163"/>
                </a:lnTo>
                <a:lnTo>
                  <a:pt x="34" y="169"/>
                </a:lnTo>
                <a:lnTo>
                  <a:pt x="31" y="172"/>
                </a:lnTo>
                <a:lnTo>
                  <a:pt x="34" y="172"/>
                </a:lnTo>
                <a:lnTo>
                  <a:pt x="37" y="172"/>
                </a:lnTo>
                <a:lnTo>
                  <a:pt x="37" y="175"/>
                </a:lnTo>
                <a:lnTo>
                  <a:pt x="34" y="179"/>
                </a:lnTo>
                <a:lnTo>
                  <a:pt x="34" y="185"/>
                </a:lnTo>
                <a:lnTo>
                  <a:pt x="34" y="188"/>
                </a:lnTo>
                <a:lnTo>
                  <a:pt x="37" y="194"/>
                </a:lnTo>
                <a:lnTo>
                  <a:pt x="40" y="197"/>
                </a:lnTo>
                <a:lnTo>
                  <a:pt x="40" y="197"/>
                </a:lnTo>
                <a:close/>
                <a:moveTo>
                  <a:pt x="162" y="251"/>
                </a:moveTo>
                <a:lnTo>
                  <a:pt x="162" y="244"/>
                </a:lnTo>
                <a:lnTo>
                  <a:pt x="165" y="244"/>
                </a:lnTo>
                <a:lnTo>
                  <a:pt x="165" y="238"/>
                </a:lnTo>
                <a:lnTo>
                  <a:pt x="162" y="235"/>
                </a:lnTo>
                <a:lnTo>
                  <a:pt x="165" y="226"/>
                </a:lnTo>
                <a:lnTo>
                  <a:pt x="168" y="222"/>
                </a:lnTo>
                <a:lnTo>
                  <a:pt x="168" y="216"/>
                </a:lnTo>
                <a:lnTo>
                  <a:pt x="165" y="213"/>
                </a:lnTo>
                <a:lnTo>
                  <a:pt x="162" y="216"/>
                </a:lnTo>
                <a:lnTo>
                  <a:pt x="159" y="216"/>
                </a:lnTo>
                <a:lnTo>
                  <a:pt x="156" y="213"/>
                </a:lnTo>
                <a:lnTo>
                  <a:pt x="150" y="219"/>
                </a:lnTo>
                <a:lnTo>
                  <a:pt x="140" y="219"/>
                </a:lnTo>
                <a:lnTo>
                  <a:pt x="134" y="219"/>
                </a:lnTo>
                <a:lnTo>
                  <a:pt x="128" y="219"/>
                </a:lnTo>
                <a:lnTo>
                  <a:pt x="125" y="216"/>
                </a:lnTo>
                <a:lnTo>
                  <a:pt x="122" y="216"/>
                </a:lnTo>
                <a:lnTo>
                  <a:pt x="118" y="219"/>
                </a:lnTo>
                <a:lnTo>
                  <a:pt x="118" y="216"/>
                </a:lnTo>
                <a:lnTo>
                  <a:pt x="112" y="219"/>
                </a:lnTo>
                <a:lnTo>
                  <a:pt x="112" y="226"/>
                </a:lnTo>
                <a:lnTo>
                  <a:pt x="115" y="229"/>
                </a:lnTo>
                <a:lnTo>
                  <a:pt x="122" y="229"/>
                </a:lnTo>
                <a:lnTo>
                  <a:pt x="128" y="235"/>
                </a:lnTo>
                <a:lnTo>
                  <a:pt x="131" y="235"/>
                </a:lnTo>
                <a:lnTo>
                  <a:pt x="137" y="238"/>
                </a:lnTo>
                <a:lnTo>
                  <a:pt x="143" y="241"/>
                </a:lnTo>
                <a:lnTo>
                  <a:pt x="147" y="241"/>
                </a:lnTo>
                <a:lnTo>
                  <a:pt x="150" y="244"/>
                </a:lnTo>
                <a:lnTo>
                  <a:pt x="150" y="247"/>
                </a:lnTo>
                <a:lnTo>
                  <a:pt x="159" y="251"/>
                </a:lnTo>
                <a:lnTo>
                  <a:pt x="162" y="251"/>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0" name="Freeform 78">
            <a:extLst>
              <a:ext uri="{FF2B5EF4-FFF2-40B4-BE49-F238E27FC236}">
                <a16:creationId xmlns:a16="http://schemas.microsoft.com/office/drawing/2014/main" id="{4AED8873-22A0-5B23-479A-4AF076176712}"/>
              </a:ext>
            </a:extLst>
          </p:cNvPr>
          <p:cNvSpPr>
            <a:spLocks noEditPoints="1"/>
          </p:cNvSpPr>
          <p:nvPr userDrawn="1"/>
        </p:nvSpPr>
        <p:spPr bwMode="auto">
          <a:xfrm>
            <a:off x="12632503" y="6435008"/>
            <a:ext cx="774652" cy="587376"/>
          </a:xfrm>
          <a:custGeom>
            <a:avLst/>
            <a:gdLst>
              <a:gd name="T0" fmla="*/ 45 w 78"/>
              <a:gd name="T1" fmla="*/ 4 h 59"/>
              <a:gd name="T2" fmla="*/ 46 w 78"/>
              <a:gd name="T3" fmla="*/ 7 h 59"/>
              <a:gd name="T4" fmla="*/ 51 w 78"/>
              <a:gd name="T5" fmla="*/ 9 h 59"/>
              <a:gd name="T6" fmla="*/ 56 w 78"/>
              <a:gd name="T7" fmla="*/ 9 h 59"/>
              <a:gd name="T8" fmla="*/ 61 w 78"/>
              <a:gd name="T9" fmla="*/ 9 h 59"/>
              <a:gd name="T10" fmla="*/ 65 w 78"/>
              <a:gd name="T11" fmla="*/ 10 h 59"/>
              <a:gd name="T12" fmla="*/ 71 w 78"/>
              <a:gd name="T13" fmla="*/ 11 h 59"/>
              <a:gd name="T14" fmla="*/ 70 w 78"/>
              <a:gd name="T15" fmla="*/ 15 h 59"/>
              <a:gd name="T16" fmla="*/ 67 w 78"/>
              <a:gd name="T17" fmla="*/ 19 h 59"/>
              <a:gd name="T18" fmla="*/ 62 w 78"/>
              <a:gd name="T19" fmla="*/ 21 h 59"/>
              <a:gd name="T20" fmla="*/ 60 w 78"/>
              <a:gd name="T21" fmla="*/ 23 h 59"/>
              <a:gd name="T22" fmla="*/ 58 w 78"/>
              <a:gd name="T23" fmla="*/ 25 h 59"/>
              <a:gd name="T24" fmla="*/ 56 w 78"/>
              <a:gd name="T25" fmla="*/ 28 h 59"/>
              <a:gd name="T26" fmla="*/ 52 w 78"/>
              <a:gd name="T27" fmla="*/ 33 h 59"/>
              <a:gd name="T28" fmla="*/ 54 w 78"/>
              <a:gd name="T29" fmla="*/ 37 h 59"/>
              <a:gd name="T30" fmla="*/ 52 w 78"/>
              <a:gd name="T31" fmla="*/ 41 h 59"/>
              <a:gd name="T32" fmla="*/ 50 w 78"/>
              <a:gd name="T33" fmla="*/ 47 h 59"/>
              <a:gd name="T34" fmla="*/ 48 w 78"/>
              <a:gd name="T35" fmla="*/ 49 h 59"/>
              <a:gd name="T36" fmla="*/ 42 w 78"/>
              <a:gd name="T37" fmla="*/ 54 h 59"/>
              <a:gd name="T38" fmla="*/ 39 w 78"/>
              <a:gd name="T39" fmla="*/ 53 h 59"/>
              <a:gd name="T40" fmla="*/ 36 w 78"/>
              <a:gd name="T41" fmla="*/ 53 h 59"/>
              <a:gd name="T42" fmla="*/ 31 w 78"/>
              <a:gd name="T43" fmla="*/ 53 h 59"/>
              <a:gd name="T44" fmla="*/ 26 w 78"/>
              <a:gd name="T45" fmla="*/ 56 h 59"/>
              <a:gd name="T46" fmla="*/ 23 w 78"/>
              <a:gd name="T47" fmla="*/ 58 h 59"/>
              <a:gd name="T48" fmla="*/ 17 w 78"/>
              <a:gd name="T49" fmla="*/ 57 h 59"/>
              <a:gd name="T50" fmla="*/ 13 w 78"/>
              <a:gd name="T51" fmla="*/ 51 h 59"/>
              <a:gd name="T52" fmla="*/ 10 w 78"/>
              <a:gd name="T53" fmla="*/ 49 h 59"/>
              <a:gd name="T54" fmla="*/ 13 w 78"/>
              <a:gd name="T55" fmla="*/ 43 h 59"/>
              <a:gd name="T56" fmla="*/ 10 w 78"/>
              <a:gd name="T57" fmla="*/ 40 h 59"/>
              <a:gd name="T58" fmla="*/ 11 w 78"/>
              <a:gd name="T59" fmla="*/ 35 h 59"/>
              <a:gd name="T60" fmla="*/ 12 w 78"/>
              <a:gd name="T61" fmla="*/ 32 h 59"/>
              <a:gd name="T62" fmla="*/ 14 w 78"/>
              <a:gd name="T63" fmla="*/ 27 h 59"/>
              <a:gd name="T64" fmla="*/ 16 w 78"/>
              <a:gd name="T65" fmla="*/ 19 h 59"/>
              <a:gd name="T66" fmla="*/ 16 w 78"/>
              <a:gd name="T67" fmla="*/ 16 h 59"/>
              <a:gd name="T68" fmla="*/ 12 w 78"/>
              <a:gd name="T69" fmla="*/ 15 h 59"/>
              <a:gd name="T70" fmla="*/ 6 w 78"/>
              <a:gd name="T71" fmla="*/ 15 h 59"/>
              <a:gd name="T72" fmla="*/ 2 w 78"/>
              <a:gd name="T73" fmla="*/ 13 h 59"/>
              <a:gd name="T74" fmla="*/ 2 w 78"/>
              <a:gd name="T75" fmla="*/ 12 h 59"/>
              <a:gd name="T76" fmla="*/ 3 w 78"/>
              <a:gd name="T77" fmla="*/ 9 h 59"/>
              <a:gd name="T78" fmla="*/ 2 w 78"/>
              <a:gd name="T79" fmla="*/ 8 h 59"/>
              <a:gd name="T80" fmla="*/ 0 w 78"/>
              <a:gd name="T81" fmla="*/ 7 h 59"/>
              <a:gd name="T82" fmla="*/ 3 w 78"/>
              <a:gd name="T83" fmla="*/ 4 h 59"/>
              <a:gd name="T84" fmla="*/ 7 w 78"/>
              <a:gd name="T85" fmla="*/ 3 h 59"/>
              <a:gd name="T86" fmla="*/ 8 w 78"/>
              <a:gd name="T87" fmla="*/ 1 h 59"/>
              <a:gd name="T88" fmla="*/ 11 w 78"/>
              <a:gd name="T89" fmla="*/ 1 h 59"/>
              <a:gd name="T90" fmla="*/ 15 w 78"/>
              <a:gd name="T91" fmla="*/ 1 h 59"/>
              <a:gd name="T92" fmla="*/ 20 w 78"/>
              <a:gd name="T93" fmla="*/ 1 h 59"/>
              <a:gd name="T94" fmla="*/ 26 w 78"/>
              <a:gd name="T95" fmla="*/ 3 h 59"/>
              <a:gd name="T96" fmla="*/ 34 w 78"/>
              <a:gd name="T97" fmla="*/ 2 h 59"/>
              <a:gd name="T98" fmla="*/ 37 w 78"/>
              <a:gd name="T99" fmla="*/ 3 h 59"/>
              <a:gd name="T100" fmla="*/ 42 w 78"/>
              <a:gd name="T101" fmla="*/ 4 h 59"/>
              <a:gd name="T102" fmla="*/ 74 w 78"/>
              <a:gd name="T103" fmla="*/ 31 h 59"/>
              <a:gd name="T104" fmla="*/ 78 w 78"/>
              <a:gd name="T105" fmla="*/ 31 h 59"/>
              <a:gd name="T106" fmla="*/ 74 w 78"/>
              <a:gd name="T107" fmla="*/ 31 h 59"/>
              <a:gd name="T108" fmla="*/ 73 w 78"/>
              <a:gd name="T109" fmla="*/ 32 h 59"/>
              <a:gd name="T110" fmla="*/ 69 w 78"/>
              <a:gd name="T111" fmla="*/ 33 h 59"/>
              <a:gd name="T112" fmla="*/ 71 w 78"/>
              <a:gd name="T113" fmla="*/ 35 h 59"/>
              <a:gd name="T114" fmla="*/ 64 w 78"/>
              <a:gd name="T115" fmla="*/ 37 h 59"/>
              <a:gd name="T116" fmla="*/ 62 w 78"/>
              <a:gd name="T117" fmla="*/ 3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 h="59">
                <a:moveTo>
                  <a:pt x="44" y="3"/>
                </a:moveTo>
                <a:cubicBezTo>
                  <a:pt x="45" y="4"/>
                  <a:pt x="45" y="4"/>
                  <a:pt x="45" y="4"/>
                </a:cubicBezTo>
                <a:cubicBezTo>
                  <a:pt x="45" y="4"/>
                  <a:pt x="45" y="4"/>
                  <a:pt x="45" y="4"/>
                </a:cubicBezTo>
                <a:cubicBezTo>
                  <a:pt x="46" y="4"/>
                  <a:pt x="46" y="4"/>
                  <a:pt x="46" y="4"/>
                </a:cubicBezTo>
                <a:cubicBezTo>
                  <a:pt x="46" y="6"/>
                  <a:pt x="46" y="6"/>
                  <a:pt x="46" y="6"/>
                </a:cubicBezTo>
                <a:cubicBezTo>
                  <a:pt x="46" y="7"/>
                  <a:pt x="46" y="7"/>
                  <a:pt x="46" y="7"/>
                </a:cubicBezTo>
                <a:cubicBezTo>
                  <a:pt x="48" y="6"/>
                  <a:pt x="48" y="6"/>
                  <a:pt x="48" y="6"/>
                </a:cubicBezTo>
                <a:cubicBezTo>
                  <a:pt x="50" y="7"/>
                  <a:pt x="50" y="7"/>
                  <a:pt x="50" y="7"/>
                </a:cubicBezTo>
                <a:cubicBezTo>
                  <a:pt x="51" y="9"/>
                  <a:pt x="51" y="9"/>
                  <a:pt x="51" y="9"/>
                </a:cubicBezTo>
                <a:cubicBezTo>
                  <a:pt x="53" y="8"/>
                  <a:pt x="53" y="8"/>
                  <a:pt x="53" y="8"/>
                </a:cubicBezTo>
                <a:cubicBezTo>
                  <a:pt x="54" y="10"/>
                  <a:pt x="54" y="10"/>
                  <a:pt x="54" y="10"/>
                </a:cubicBezTo>
                <a:cubicBezTo>
                  <a:pt x="56" y="9"/>
                  <a:pt x="56" y="9"/>
                  <a:pt x="56" y="9"/>
                </a:cubicBezTo>
                <a:cubicBezTo>
                  <a:pt x="57" y="10"/>
                  <a:pt x="57" y="10"/>
                  <a:pt x="57" y="10"/>
                </a:cubicBezTo>
                <a:cubicBezTo>
                  <a:pt x="58" y="9"/>
                  <a:pt x="58" y="9"/>
                  <a:pt x="58" y="9"/>
                </a:cubicBezTo>
                <a:cubicBezTo>
                  <a:pt x="61" y="9"/>
                  <a:pt x="61" y="9"/>
                  <a:pt x="61" y="9"/>
                </a:cubicBezTo>
                <a:cubicBezTo>
                  <a:pt x="62" y="9"/>
                  <a:pt x="62" y="9"/>
                  <a:pt x="62" y="9"/>
                </a:cubicBezTo>
                <a:cubicBezTo>
                  <a:pt x="63" y="9"/>
                  <a:pt x="63" y="9"/>
                  <a:pt x="63" y="9"/>
                </a:cubicBezTo>
                <a:cubicBezTo>
                  <a:pt x="65" y="10"/>
                  <a:pt x="65" y="10"/>
                  <a:pt x="65" y="10"/>
                </a:cubicBezTo>
                <a:cubicBezTo>
                  <a:pt x="68" y="10"/>
                  <a:pt x="68" y="10"/>
                  <a:pt x="68" y="10"/>
                </a:cubicBezTo>
                <a:cubicBezTo>
                  <a:pt x="70" y="11"/>
                  <a:pt x="70" y="11"/>
                  <a:pt x="70" y="11"/>
                </a:cubicBezTo>
                <a:cubicBezTo>
                  <a:pt x="71" y="11"/>
                  <a:pt x="71" y="11"/>
                  <a:pt x="71" y="11"/>
                </a:cubicBezTo>
                <a:cubicBezTo>
                  <a:pt x="71" y="12"/>
                  <a:pt x="71" y="12"/>
                  <a:pt x="71" y="12"/>
                </a:cubicBezTo>
                <a:cubicBezTo>
                  <a:pt x="70" y="13"/>
                  <a:pt x="70" y="13"/>
                  <a:pt x="70" y="13"/>
                </a:cubicBezTo>
                <a:cubicBezTo>
                  <a:pt x="70" y="15"/>
                  <a:pt x="70" y="15"/>
                  <a:pt x="70" y="15"/>
                </a:cubicBezTo>
                <a:cubicBezTo>
                  <a:pt x="70" y="16"/>
                  <a:pt x="70" y="16"/>
                  <a:pt x="70" y="16"/>
                </a:cubicBezTo>
                <a:cubicBezTo>
                  <a:pt x="70" y="17"/>
                  <a:pt x="70" y="17"/>
                  <a:pt x="70" y="17"/>
                </a:cubicBezTo>
                <a:cubicBezTo>
                  <a:pt x="67" y="19"/>
                  <a:pt x="67" y="19"/>
                  <a:pt x="67" y="19"/>
                </a:cubicBezTo>
                <a:cubicBezTo>
                  <a:pt x="67" y="19"/>
                  <a:pt x="66" y="20"/>
                  <a:pt x="66" y="20"/>
                </a:cubicBezTo>
                <a:cubicBezTo>
                  <a:pt x="66" y="20"/>
                  <a:pt x="64" y="21"/>
                  <a:pt x="64" y="21"/>
                </a:cubicBezTo>
                <a:cubicBezTo>
                  <a:pt x="62" y="21"/>
                  <a:pt x="62" y="21"/>
                  <a:pt x="62" y="21"/>
                </a:cubicBezTo>
                <a:cubicBezTo>
                  <a:pt x="60" y="22"/>
                  <a:pt x="60" y="22"/>
                  <a:pt x="60" y="22"/>
                </a:cubicBezTo>
                <a:cubicBezTo>
                  <a:pt x="59" y="23"/>
                  <a:pt x="59" y="23"/>
                  <a:pt x="59" y="23"/>
                </a:cubicBezTo>
                <a:cubicBezTo>
                  <a:pt x="60" y="23"/>
                  <a:pt x="60" y="23"/>
                  <a:pt x="60" y="23"/>
                </a:cubicBezTo>
                <a:cubicBezTo>
                  <a:pt x="59" y="25"/>
                  <a:pt x="59" y="25"/>
                  <a:pt x="59" y="25"/>
                </a:cubicBezTo>
                <a:cubicBezTo>
                  <a:pt x="58" y="25"/>
                  <a:pt x="58" y="25"/>
                  <a:pt x="58" y="25"/>
                </a:cubicBezTo>
                <a:cubicBezTo>
                  <a:pt x="58" y="25"/>
                  <a:pt x="58" y="25"/>
                  <a:pt x="58" y="25"/>
                </a:cubicBezTo>
                <a:cubicBezTo>
                  <a:pt x="58" y="25"/>
                  <a:pt x="58" y="25"/>
                  <a:pt x="58" y="25"/>
                </a:cubicBezTo>
                <a:cubicBezTo>
                  <a:pt x="58" y="25"/>
                  <a:pt x="58" y="25"/>
                  <a:pt x="58" y="25"/>
                </a:cubicBezTo>
                <a:cubicBezTo>
                  <a:pt x="56" y="28"/>
                  <a:pt x="56" y="28"/>
                  <a:pt x="56" y="28"/>
                </a:cubicBezTo>
                <a:cubicBezTo>
                  <a:pt x="55" y="28"/>
                  <a:pt x="55" y="28"/>
                  <a:pt x="55" y="28"/>
                </a:cubicBezTo>
                <a:cubicBezTo>
                  <a:pt x="52" y="32"/>
                  <a:pt x="52" y="32"/>
                  <a:pt x="52" y="32"/>
                </a:cubicBezTo>
                <a:cubicBezTo>
                  <a:pt x="52" y="33"/>
                  <a:pt x="52" y="33"/>
                  <a:pt x="52" y="33"/>
                </a:cubicBezTo>
                <a:cubicBezTo>
                  <a:pt x="53" y="35"/>
                  <a:pt x="53" y="35"/>
                  <a:pt x="53" y="35"/>
                </a:cubicBezTo>
                <a:cubicBezTo>
                  <a:pt x="53" y="36"/>
                  <a:pt x="53" y="36"/>
                  <a:pt x="53" y="36"/>
                </a:cubicBezTo>
                <a:cubicBezTo>
                  <a:pt x="54" y="37"/>
                  <a:pt x="54" y="37"/>
                  <a:pt x="54" y="37"/>
                </a:cubicBezTo>
                <a:cubicBezTo>
                  <a:pt x="55" y="39"/>
                  <a:pt x="55" y="39"/>
                  <a:pt x="55" y="39"/>
                </a:cubicBezTo>
                <a:cubicBezTo>
                  <a:pt x="54" y="40"/>
                  <a:pt x="54" y="40"/>
                  <a:pt x="54" y="40"/>
                </a:cubicBezTo>
                <a:cubicBezTo>
                  <a:pt x="52" y="41"/>
                  <a:pt x="52" y="41"/>
                  <a:pt x="52" y="41"/>
                </a:cubicBezTo>
                <a:cubicBezTo>
                  <a:pt x="52" y="42"/>
                  <a:pt x="52" y="42"/>
                  <a:pt x="52" y="42"/>
                </a:cubicBezTo>
                <a:cubicBezTo>
                  <a:pt x="50" y="45"/>
                  <a:pt x="50" y="45"/>
                  <a:pt x="50" y="45"/>
                </a:cubicBezTo>
                <a:cubicBezTo>
                  <a:pt x="50" y="47"/>
                  <a:pt x="50" y="47"/>
                  <a:pt x="50" y="47"/>
                </a:cubicBezTo>
                <a:cubicBezTo>
                  <a:pt x="50" y="48"/>
                  <a:pt x="50" y="48"/>
                  <a:pt x="50" y="48"/>
                </a:cubicBezTo>
                <a:cubicBezTo>
                  <a:pt x="50" y="48"/>
                  <a:pt x="50" y="48"/>
                  <a:pt x="50" y="48"/>
                </a:cubicBezTo>
                <a:cubicBezTo>
                  <a:pt x="48" y="49"/>
                  <a:pt x="48" y="49"/>
                  <a:pt x="48" y="49"/>
                </a:cubicBezTo>
                <a:cubicBezTo>
                  <a:pt x="44" y="50"/>
                  <a:pt x="44" y="50"/>
                  <a:pt x="44" y="50"/>
                </a:cubicBezTo>
                <a:cubicBezTo>
                  <a:pt x="44" y="52"/>
                  <a:pt x="44" y="52"/>
                  <a:pt x="44" y="52"/>
                </a:cubicBezTo>
                <a:cubicBezTo>
                  <a:pt x="42" y="54"/>
                  <a:pt x="42" y="54"/>
                  <a:pt x="42" y="54"/>
                </a:cubicBezTo>
                <a:cubicBezTo>
                  <a:pt x="41" y="53"/>
                  <a:pt x="41" y="53"/>
                  <a:pt x="41" y="53"/>
                </a:cubicBezTo>
                <a:cubicBezTo>
                  <a:pt x="40" y="52"/>
                  <a:pt x="40" y="52"/>
                  <a:pt x="40" y="52"/>
                </a:cubicBezTo>
                <a:cubicBezTo>
                  <a:pt x="39" y="53"/>
                  <a:pt x="39" y="53"/>
                  <a:pt x="39" y="53"/>
                </a:cubicBezTo>
                <a:cubicBezTo>
                  <a:pt x="38" y="54"/>
                  <a:pt x="38" y="54"/>
                  <a:pt x="38" y="54"/>
                </a:cubicBezTo>
                <a:cubicBezTo>
                  <a:pt x="37" y="53"/>
                  <a:pt x="37" y="53"/>
                  <a:pt x="37" y="53"/>
                </a:cubicBezTo>
                <a:cubicBezTo>
                  <a:pt x="36" y="53"/>
                  <a:pt x="36" y="53"/>
                  <a:pt x="36" y="53"/>
                </a:cubicBezTo>
                <a:cubicBezTo>
                  <a:pt x="36" y="54"/>
                  <a:pt x="36" y="54"/>
                  <a:pt x="36" y="54"/>
                </a:cubicBezTo>
                <a:cubicBezTo>
                  <a:pt x="34" y="54"/>
                  <a:pt x="34" y="54"/>
                  <a:pt x="34" y="54"/>
                </a:cubicBezTo>
                <a:cubicBezTo>
                  <a:pt x="31" y="53"/>
                  <a:pt x="31" y="53"/>
                  <a:pt x="31" y="53"/>
                </a:cubicBezTo>
                <a:cubicBezTo>
                  <a:pt x="30" y="54"/>
                  <a:pt x="30" y="54"/>
                  <a:pt x="30" y="54"/>
                </a:cubicBezTo>
                <a:cubicBezTo>
                  <a:pt x="28" y="54"/>
                  <a:pt x="28" y="54"/>
                  <a:pt x="28" y="54"/>
                </a:cubicBezTo>
                <a:cubicBezTo>
                  <a:pt x="26" y="56"/>
                  <a:pt x="26" y="56"/>
                  <a:pt x="26" y="56"/>
                </a:cubicBezTo>
                <a:cubicBezTo>
                  <a:pt x="24" y="56"/>
                  <a:pt x="24" y="56"/>
                  <a:pt x="24" y="56"/>
                </a:cubicBezTo>
                <a:cubicBezTo>
                  <a:pt x="23" y="57"/>
                  <a:pt x="23" y="57"/>
                  <a:pt x="23" y="57"/>
                </a:cubicBezTo>
                <a:cubicBezTo>
                  <a:pt x="23" y="58"/>
                  <a:pt x="23" y="58"/>
                  <a:pt x="23" y="58"/>
                </a:cubicBezTo>
                <a:cubicBezTo>
                  <a:pt x="21" y="59"/>
                  <a:pt x="21" y="59"/>
                  <a:pt x="21" y="59"/>
                </a:cubicBezTo>
                <a:cubicBezTo>
                  <a:pt x="19" y="59"/>
                  <a:pt x="19" y="59"/>
                  <a:pt x="19" y="59"/>
                </a:cubicBezTo>
                <a:cubicBezTo>
                  <a:pt x="17" y="57"/>
                  <a:pt x="17" y="57"/>
                  <a:pt x="17" y="57"/>
                </a:cubicBezTo>
                <a:cubicBezTo>
                  <a:pt x="16" y="54"/>
                  <a:pt x="16" y="54"/>
                  <a:pt x="16" y="54"/>
                </a:cubicBezTo>
                <a:cubicBezTo>
                  <a:pt x="16" y="53"/>
                  <a:pt x="16" y="53"/>
                  <a:pt x="16" y="53"/>
                </a:cubicBezTo>
                <a:cubicBezTo>
                  <a:pt x="13" y="51"/>
                  <a:pt x="13" y="51"/>
                  <a:pt x="13" y="51"/>
                </a:cubicBezTo>
                <a:cubicBezTo>
                  <a:pt x="12" y="51"/>
                  <a:pt x="12" y="51"/>
                  <a:pt x="12" y="51"/>
                </a:cubicBezTo>
                <a:cubicBezTo>
                  <a:pt x="11" y="50"/>
                  <a:pt x="11" y="50"/>
                  <a:pt x="11" y="50"/>
                </a:cubicBezTo>
                <a:cubicBezTo>
                  <a:pt x="10" y="49"/>
                  <a:pt x="10" y="49"/>
                  <a:pt x="10" y="49"/>
                </a:cubicBezTo>
                <a:cubicBezTo>
                  <a:pt x="10" y="47"/>
                  <a:pt x="10" y="47"/>
                  <a:pt x="10" y="47"/>
                </a:cubicBezTo>
                <a:cubicBezTo>
                  <a:pt x="11" y="45"/>
                  <a:pt x="11" y="45"/>
                  <a:pt x="11" y="45"/>
                </a:cubicBezTo>
                <a:cubicBezTo>
                  <a:pt x="13" y="43"/>
                  <a:pt x="13" y="43"/>
                  <a:pt x="13" y="43"/>
                </a:cubicBezTo>
                <a:cubicBezTo>
                  <a:pt x="13" y="42"/>
                  <a:pt x="13" y="42"/>
                  <a:pt x="13" y="42"/>
                </a:cubicBezTo>
                <a:cubicBezTo>
                  <a:pt x="11" y="42"/>
                  <a:pt x="11" y="42"/>
                  <a:pt x="11" y="42"/>
                </a:cubicBezTo>
                <a:cubicBezTo>
                  <a:pt x="10" y="40"/>
                  <a:pt x="10" y="40"/>
                  <a:pt x="10" y="40"/>
                </a:cubicBezTo>
                <a:cubicBezTo>
                  <a:pt x="12" y="38"/>
                  <a:pt x="12" y="38"/>
                  <a:pt x="12" y="38"/>
                </a:cubicBezTo>
                <a:cubicBezTo>
                  <a:pt x="12" y="36"/>
                  <a:pt x="12" y="36"/>
                  <a:pt x="12" y="36"/>
                </a:cubicBezTo>
                <a:cubicBezTo>
                  <a:pt x="11" y="35"/>
                  <a:pt x="11" y="35"/>
                  <a:pt x="11" y="35"/>
                </a:cubicBezTo>
                <a:cubicBezTo>
                  <a:pt x="9" y="32"/>
                  <a:pt x="9" y="32"/>
                  <a:pt x="9" y="32"/>
                </a:cubicBezTo>
                <a:cubicBezTo>
                  <a:pt x="11" y="31"/>
                  <a:pt x="11" y="31"/>
                  <a:pt x="11" y="31"/>
                </a:cubicBezTo>
                <a:cubicBezTo>
                  <a:pt x="12" y="32"/>
                  <a:pt x="12" y="32"/>
                  <a:pt x="12" y="32"/>
                </a:cubicBezTo>
                <a:cubicBezTo>
                  <a:pt x="14" y="29"/>
                  <a:pt x="14" y="29"/>
                  <a:pt x="14" y="29"/>
                </a:cubicBezTo>
                <a:cubicBezTo>
                  <a:pt x="12" y="28"/>
                  <a:pt x="12" y="28"/>
                  <a:pt x="12" y="28"/>
                </a:cubicBezTo>
                <a:cubicBezTo>
                  <a:pt x="14" y="27"/>
                  <a:pt x="14" y="27"/>
                  <a:pt x="14" y="27"/>
                </a:cubicBezTo>
                <a:cubicBezTo>
                  <a:pt x="14" y="23"/>
                  <a:pt x="14" y="23"/>
                  <a:pt x="14" y="23"/>
                </a:cubicBezTo>
                <a:cubicBezTo>
                  <a:pt x="14" y="21"/>
                  <a:pt x="14" y="21"/>
                  <a:pt x="14" y="21"/>
                </a:cubicBezTo>
                <a:cubicBezTo>
                  <a:pt x="16" y="19"/>
                  <a:pt x="16" y="19"/>
                  <a:pt x="16" y="19"/>
                </a:cubicBezTo>
                <a:cubicBezTo>
                  <a:pt x="17" y="19"/>
                  <a:pt x="17" y="19"/>
                  <a:pt x="17" y="19"/>
                </a:cubicBezTo>
                <a:cubicBezTo>
                  <a:pt x="17" y="18"/>
                  <a:pt x="17" y="18"/>
                  <a:pt x="17" y="18"/>
                </a:cubicBezTo>
                <a:cubicBezTo>
                  <a:pt x="16" y="16"/>
                  <a:pt x="16" y="16"/>
                  <a:pt x="16" y="16"/>
                </a:cubicBezTo>
                <a:cubicBezTo>
                  <a:pt x="16" y="14"/>
                  <a:pt x="16" y="14"/>
                  <a:pt x="16" y="14"/>
                </a:cubicBezTo>
                <a:cubicBezTo>
                  <a:pt x="13" y="14"/>
                  <a:pt x="13" y="14"/>
                  <a:pt x="13" y="14"/>
                </a:cubicBezTo>
                <a:cubicBezTo>
                  <a:pt x="12" y="15"/>
                  <a:pt x="12" y="15"/>
                  <a:pt x="12" y="15"/>
                </a:cubicBezTo>
                <a:cubicBezTo>
                  <a:pt x="8" y="14"/>
                  <a:pt x="8" y="14"/>
                  <a:pt x="8" y="14"/>
                </a:cubicBezTo>
                <a:cubicBezTo>
                  <a:pt x="6" y="16"/>
                  <a:pt x="6" y="16"/>
                  <a:pt x="6" y="16"/>
                </a:cubicBezTo>
                <a:cubicBezTo>
                  <a:pt x="6" y="15"/>
                  <a:pt x="6" y="15"/>
                  <a:pt x="6" y="15"/>
                </a:cubicBezTo>
                <a:cubicBezTo>
                  <a:pt x="6" y="13"/>
                  <a:pt x="6" y="13"/>
                  <a:pt x="6" y="13"/>
                </a:cubicBezTo>
                <a:cubicBezTo>
                  <a:pt x="5" y="13"/>
                  <a:pt x="5" y="13"/>
                  <a:pt x="5" y="13"/>
                </a:cubicBezTo>
                <a:cubicBezTo>
                  <a:pt x="2" y="13"/>
                  <a:pt x="2" y="13"/>
                  <a:pt x="2" y="13"/>
                </a:cubicBezTo>
                <a:cubicBezTo>
                  <a:pt x="2" y="13"/>
                  <a:pt x="2" y="13"/>
                  <a:pt x="2" y="13"/>
                </a:cubicBezTo>
                <a:cubicBezTo>
                  <a:pt x="3" y="12"/>
                  <a:pt x="3" y="12"/>
                  <a:pt x="3" y="12"/>
                </a:cubicBezTo>
                <a:cubicBezTo>
                  <a:pt x="2" y="12"/>
                  <a:pt x="2" y="12"/>
                  <a:pt x="2" y="12"/>
                </a:cubicBezTo>
                <a:cubicBezTo>
                  <a:pt x="3" y="11"/>
                  <a:pt x="3" y="11"/>
                  <a:pt x="3" y="11"/>
                </a:cubicBezTo>
                <a:cubicBezTo>
                  <a:pt x="3" y="10"/>
                  <a:pt x="3" y="10"/>
                  <a:pt x="3" y="10"/>
                </a:cubicBezTo>
                <a:cubicBezTo>
                  <a:pt x="3" y="9"/>
                  <a:pt x="3" y="9"/>
                  <a:pt x="3" y="9"/>
                </a:cubicBezTo>
                <a:cubicBezTo>
                  <a:pt x="2" y="10"/>
                  <a:pt x="2" y="10"/>
                  <a:pt x="2" y="10"/>
                </a:cubicBezTo>
                <a:cubicBezTo>
                  <a:pt x="1" y="10"/>
                  <a:pt x="1" y="10"/>
                  <a:pt x="1" y="10"/>
                </a:cubicBezTo>
                <a:cubicBezTo>
                  <a:pt x="2" y="8"/>
                  <a:pt x="2" y="8"/>
                  <a:pt x="2" y="8"/>
                </a:cubicBezTo>
                <a:cubicBezTo>
                  <a:pt x="1" y="8"/>
                  <a:pt x="1" y="8"/>
                  <a:pt x="1" y="8"/>
                </a:cubicBezTo>
                <a:cubicBezTo>
                  <a:pt x="1" y="7"/>
                  <a:pt x="1" y="7"/>
                  <a:pt x="1" y="7"/>
                </a:cubicBezTo>
                <a:cubicBezTo>
                  <a:pt x="0" y="7"/>
                  <a:pt x="0" y="7"/>
                  <a:pt x="0" y="7"/>
                </a:cubicBezTo>
                <a:cubicBezTo>
                  <a:pt x="0" y="6"/>
                  <a:pt x="0" y="6"/>
                  <a:pt x="0" y="6"/>
                </a:cubicBezTo>
                <a:cubicBezTo>
                  <a:pt x="1" y="5"/>
                  <a:pt x="1" y="5"/>
                  <a:pt x="1" y="5"/>
                </a:cubicBezTo>
                <a:cubicBezTo>
                  <a:pt x="3" y="4"/>
                  <a:pt x="3" y="4"/>
                  <a:pt x="3" y="4"/>
                </a:cubicBezTo>
                <a:cubicBezTo>
                  <a:pt x="4" y="4"/>
                  <a:pt x="4" y="4"/>
                  <a:pt x="4" y="4"/>
                </a:cubicBezTo>
                <a:cubicBezTo>
                  <a:pt x="6" y="4"/>
                  <a:pt x="6" y="4"/>
                  <a:pt x="6" y="4"/>
                </a:cubicBezTo>
                <a:cubicBezTo>
                  <a:pt x="7" y="3"/>
                  <a:pt x="7" y="3"/>
                  <a:pt x="7" y="3"/>
                </a:cubicBezTo>
                <a:cubicBezTo>
                  <a:pt x="6" y="3"/>
                  <a:pt x="6" y="3"/>
                  <a:pt x="6" y="3"/>
                </a:cubicBezTo>
                <a:cubicBezTo>
                  <a:pt x="6" y="2"/>
                  <a:pt x="6" y="2"/>
                  <a:pt x="6" y="2"/>
                </a:cubicBezTo>
                <a:cubicBezTo>
                  <a:pt x="8" y="1"/>
                  <a:pt x="8" y="1"/>
                  <a:pt x="8" y="1"/>
                </a:cubicBezTo>
                <a:cubicBezTo>
                  <a:pt x="8" y="1"/>
                  <a:pt x="8" y="1"/>
                  <a:pt x="8" y="1"/>
                </a:cubicBezTo>
                <a:cubicBezTo>
                  <a:pt x="9" y="0"/>
                  <a:pt x="9" y="0"/>
                  <a:pt x="9" y="0"/>
                </a:cubicBezTo>
                <a:cubicBezTo>
                  <a:pt x="11" y="1"/>
                  <a:pt x="11" y="1"/>
                  <a:pt x="11" y="1"/>
                </a:cubicBezTo>
                <a:cubicBezTo>
                  <a:pt x="12" y="2"/>
                  <a:pt x="12" y="2"/>
                  <a:pt x="12" y="2"/>
                </a:cubicBezTo>
                <a:cubicBezTo>
                  <a:pt x="13" y="1"/>
                  <a:pt x="13" y="1"/>
                  <a:pt x="13" y="1"/>
                </a:cubicBezTo>
                <a:cubicBezTo>
                  <a:pt x="15" y="1"/>
                  <a:pt x="15" y="1"/>
                  <a:pt x="15" y="1"/>
                </a:cubicBezTo>
                <a:cubicBezTo>
                  <a:pt x="16" y="2"/>
                  <a:pt x="16" y="2"/>
                  <a:pt x="16" y="2"/>
                </a:cubicBezTo>
                <a:cubicBezTo>
                  <a:pt x="18" y="1"/>
                  <a:pt x="18" y="1"/>
                  <a:pt x="18" y="1"/>
                </a:cubicBezTo>
                <a:cubicBezTo>
                  <a:pt x="20" y="1"/>
                  <a:pt x="20" y="1"/>
                  <a:pt x="20" y="1"/>
                </a:cubicBezTo>
                <a:cubicBezTo>
                  <a:pt x="20" y="1"/>
                  <a:pt x="20" y="1"/>
                  <a:pt x="20" y="1"/>
                </a:cubicBezTo>
                <a:cubicBezTo>
                  <a:pt x="22" y="2"/>
                  <a:pt x="22" y="2"/>
                  <a:pt x="22" y="2"/>
                </a:cubicBezTo>
                <a:cubicBezTo>
                  <a:pt x="26" y="3"/>
                  <a:pt x="26" y="3"/>
                  <a:pt x="26" y="3"/>
                </a:cubicBezTo>
                <a:cubicBezTo>
                  <a:pt x="28" y="3"/>
                  <a:pt x="28" y="3"/>
                  <a:pt x="28" y="3"/>
                </a:cubicBezTo>
                <a:cubicBezTo>
                  <a:pt x="31" y="2"/>
                  <a:pt x="31" y="2"/>
                  <a:pt x="31" y="2"/>
                </a:cubicBezTo>
                <a:cubicBezTo>
                  <a:pt x="34" y="2"/>
                  <a:pt x="34" y="2"/>
                  <a:pt x="34" y="2"/>
                </a:cubicBezTo>
                <a:cubicBezTo>
                  <a:pt x="34" y="3"/>
                  <a:pt x="34" y="3"/>
                  <a:pt x="34" y="3"/>
                </a:cubicBezTo>
                <a:cubicBezTo>
                  <a:pt x="36" y="4"/>
                  <a:pt x="36" y="4"/>
                  <a:pt x="36" y="4"/>
                </a:cubicBezTo>
                <a:cubicBezTo>
                  <a:pt x="37" y="3"/>
                  <a:pt x="37" y="3"/>
                  <a:pt x="37" y="3"/>
                </a:cubicBezTo>
                <a:cubicBezTo>
                  <a:pt x="39" y="3"/>
                  <a:pt x="39" y="3"/>
                  <a:pt x="39" y="3"/>
                </a:cubicBezTo>
                <a:cubicBezTo>
                  <a:pt x="42" y="5"/>
                  <a:pt x="42" y="5"/>
                  <a:pt x="42" y="5"/>
                </a:cubicBezTo>
                <a:cubicBezTo>
                  <a:pt x="42" y="4"/>
                  <a:pt x="42" y="4"/>
                  <a:pt x="42" y="4"/>
                </a:cubicBezTo>
                <a:cubicBezTo>
                  <a:pt x="43" y="4"/>
                  <a:pt x="43" y="4"/>
                  <a:pt x="43" y="4"/>
                </a:cubicBezTo>
                <a:cubicBezTo>
                  <a:pt x="44" y="3"/>
                  <a:pt x="44" y="3"/>
                  <a:pt x="44" y="3"/>
                </a:cubicBezTo>
                <a:close/>
                <a:moveTo>
                  <a:pt x="74" y="31"/>
                </a:moveTo>
                <a:cubicBezTo>
                  <a:pt x="76" y="31"/>
                  <a:pt x="76" y="31"/>
                  <a:pt x="76" y="31"/>
                </a:cubicBezTo>
                <a:cubicBezTo>
                  <a:pt x="77" y="31"/>
                  <a:pt x="77" y="31"/>
                  <a:pt x="77" y="31"/>
                </a:cubicBezTo>
                <a:cubicBezTo>
                  <a:pt x="78" y="31"/>
                  <a:pt x="78" y="31"/>
                  <a:pt x="78" y="31"/>
                </a:cubicBezTo>
                <a:cubicBezTo>
                  <a:pt x="76" y="30"/>
                  <a:pt x="76" y="30"/>
                  <a:pt x="76" y="30"/>
                </a:cubicBezTo>
                <a:cubicBezTo>
                  <a:pt x="74" y="30"/>
                  <a:pt x="74" y="30"/>
                  <a:pt x="74" y="30"/>
                </a:cubicBezTo>
                <a:cubicBezTo>
                  <a:pt x="74" y="31"/>
                  <a:pt x="74" y="31"/>
                  <a:pt x="74" y="31"/>
                </a:cubicBezTo>
                <a:close/>
                <a:moveTo>
                  <a:pt x="71" y="35"/>
                </a:moveTo>
                <a:cubicBezTo>
                  <a:pt x="71" y="33"/>
                  <a:pt x="71" y="33"/>
                  <a:pt x="71" y="33"/>
                </a:cubicBezTo>
                <a:cubicBezTo>
                  <a:pt x="73" y="32"/>
                  <a:pt x="73" y="32"/>
                  <a:pt x="73" y="32"/>
                </a:cubicBezTo>
                <a:cubicBezTo>
                  <a:pt x="71" y="32"/>
                  <a:pt x="71" y="32"/>
                  <a:pt x="71" y="32"/>
                </a:cubicBezTo>
                <a:cubicBezTo>
                  <a:pt x="70" y="32"/>
                  <a:pt x="70" y="32"/>
                  <a:pt x="70" y="32"/>
                </a:cubicBezTo>
                <a:cubicBezTo>
                  <a:pt x="69" y="33"/>
                  <a:pt x="69" y="33"/>
                  <a:pt x="69" y="33"/>
                </a:cubicBezTo>
                <a:cubicBezTo>
                  <a:pt x="68" y="34"/>
                  <a:pt x="68" y="34"/>
                  <a:pt x="68" y="34"/>
                </a:cubicBezTo>
                <a:cubicBezTo>
                  <a:pt x="70" y="34"/>
                  <a:pt x="70" y="34"/>
                  <a:pt x="70" y="34"/>
                </a:cubicBezTo>
                <a:cubicBezTo>
                  <a:pt x="71" y="35"/>
                  <a:pt x="71" y="35"/>
                  <a:pt x="71" y="35"/>
                </a:cubicBezTo>
                <a:close/>
                <a:moveTo>
                  <a:pt x="63" y="39"/>
                </a:moveTo>
                <a:cubicBezTo>
                  <a:pt x="64" y="38"/>
                  <a:pt x="64" y="38"/>
                  <a:pt x="64" y="38"/>
                </a:cubicBezTo>
                <a:cubicBezTo>
                  <a:pt x="64" y="37"/>
                  <a:pt x="64" y="37"/>
                  <a:pt x="64" y="37"/>
                </a:cubicBezTo>
                <a:cubicBezTo>
                  <a:pt x="64" y="37"/>
                  <a:pt x="64" y="37"/>
                  <a:pt x="64" y="37"/>
                </a:cubicBezTo>
                <a:cubicBezTo>
                  <a:pt x="62" y="37"/>
                  <a:pt x="62" y="37"/>
                  <a:pt x="62" y="37"/>
                </a:cubicBezTo>
                <a:cubicBezTo>
                  <a:pt x="62" y="38"/>
                  <a:pt x="62" y="38"/>
                  <a:pt x="62" y="38"/>
                </a:cubicBezTo>
                <a:lnTo>
                  <a:pt x="63" y="39"/>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1" name="Freeform 79">
            <a:extLst>
              <a:ext uri="{FF2B5EF4-FFF2-40B4-BE49-F238E27FC236}">
                <a16:creationId xmlns:a16="http://schemas.microsoft.com/office/drawing/2014/main" id="{0C2E9019-2DB8-DB83-A415-165CE5E5A2E3}"/>
              </a:ext>
            </a:extLst>
          </p:cNvPr>
          <p:cNvSpPr>
            <a:spLocks/>
          </p:cNvSpPr>
          <p:nvPr userDrawn="1"/>
        </p:nvSpPr>
        <p:spPr bwMode="auto">
          <a:xfrm>
            <a:off x="12613456" y="6565183"/>
            <a:ext cx="187314" cy="387350"/>
          </a:xfrm>
          <a:custGeom>
            <a:avLst/>
            <a:gdLst>
              <a:gd name="T0" fmla="*/ 37 w 59"/>
              <a:gd name="T1" fmla="*/ 113 h 122"/>
              <a:gd name="T2" fmla="*/ 41 w 59"/>
              <a:gd name="T3" fmla="*/ 100 h 122"/>
              <a:gd name="T4" fmla="*/ 47 w 59"/>
              <a:gd name="T5" fmla="*/ 91 h 122"/>
              <a:gd name="T6" fmla="*/ 37 w 59"/>
              <a:gd name="T7" fmla="*/ 85 h 122"/>
              <a:gd name="T8" fmla="*/ 44 w 59"/>
              <a:gd name="T9" fmla="*/ 72 h 122"/>
              <a:gd name="T10" fmla="*/ 34 w 59"/>
              <a:gd name="T11" fmla="*/ 60 h 122"/>
              <a:gd name="T12" fmla="*/ 44 w 59"/>
              <a:gd name="T13" fmla="*/ 60 h 122"/>
              <a:gd name="T14" fmla="*/ 44 w 59"/>
              <a:gd name="T15" fmla="*/ 47 h 122"/>
              <a:gd name="T16" fmla="*/ 50 w 59"/>
              <a:gd name="T17" fmla="*/ 31 h 122"/>
              <a:gd name="T18" fmla="*/ 56 w 59"/>
              <a:gd name="T19" fmla="*/ 19 h 122"/>
              <a:gd name="T20" fmla="*/ 59 w 59"/>
              <a:gd name="T21" fmla="*/ 16 h 122"/>
              <a:gd name="T22" fmla="*/ 56 w 59"/>
              <a:gd name="T23" fmla="*/ 3 h 122"/>
              <a:gd name="T24" fmla="*/ 44 w 59"/>
              <a:gd name="T25" fmla="*/ 6 h 122"/>
              <a:gd name="T26" fmla="*/ 25 w 59"/>
              <a:gd name="T27" fmla="*/ 10 h 122"/>
              <a:gd name="T28" fmla="*/ 25 w 59"/>
              <a:gd name="T29" fmla="*/ 0 h 122"/>
              <a:gd name="T30" fmla="*/ 12 w 59"/>
              <a:gd name="T31" fmla="*/ 0 h 122"/>
              <a:gd name="T32" fmla="*/ 16 w 59"/>
              <a:gd name="T33" fmla="*/ 13 h 122"/>
              <a:gd name="T34" fmla="*/ 16 w 59"/>
              <a:gd name="T35" fmla="*/ 25 h 122"/>
              <a:gd name="T36" fmla="*/ 16 w 59"/>
              <a:gd name="T37" fmla="*/ 35 h 122"/>
              <a:gd name="T38" fmla="*/ 12 w 59"/>
              <a:gd name="T39" fmla="*/ 44 h 122"/>
              <a:gd name="T40" fmla="*/ 6 w 59"/>
              <a:gd name="T41" fmla="*/ 56 h 122"/>
              <a:gd name="T42" fmla="*/ 3 w 59"/>
              <a:gd name="T43" fmla="*/ 66 h 122"/>
              <a:gd name="T44" fmla="*/ 0 w 59"/>
              <a:gd name="T45" fmla="*/ 81 h 122"/>
              <a:gd name="T46" fmla="*/ 6 w 59"/>
              <a:gd name="T47" fmla="*/ 78 h 122"/>
              <a:gd name="T48" fmla="*/ 9 w 59"/>
              <a:gd name="T49" fmla="*/ 78 h 122"/>
              <a:gd name="T50" fmla="*/ 3 w 59"/>
              <a:gd name="T51" fmla="*/ 85 h 122"/>
              <a:gd name="T52" fmla="*/ 6 w 59"/>
              <a:gd name="T53" fmla="*/ 91 h 122"/>
              <a:gd name="T54" fmla="*/ 12 w 59"/>
              <a:gd name="T55" fmla="*/ 88 h 122"/>
              <a:gd name="T56" fmla="*/ 12 w 59"/>
              <a:gd name="T57" fmla="*/ 94 h 122"/>
              <a:gd name="T58" fmla="*/ 12 w 59"/>
              <a:gd name="T59" fmla="*/ 110 h 122"/>
              <a:gd name="T60" fmla="*/ 9 w 59"/>
              <a:gd name="T61" fmla="*/ 119 h 122"/>
              <a:gd name="T62" fmla="*/ 16 w 59"/>
              <a:gd name="T63" fmla="*/ 116 h 122"/>
              <a:gd name="T64" fmla="*/ 28 w 59"/>
              <a:gd name="T65" fmla="*/ 122 h 122"/>
              <a:gd name="T66" fmla="*/ 37 w 59"/>
              <a:gd name="T67" fmla="*/ 119 h 122"/>
              <a:gd name="T68" fmla="*/ 41 w 59"/>
              <a:gd name="T69" fmla="*/ 11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122">
                <a:moveTo>
                  <a:pt x="41" y="116"/>
                </a:moveTo>
                <a:lnTo>
                  <a:pt x="37" y="113"/>
                </a:lnTo>
                <a:lnTo>
                  <a:pt x="37" y="107"/>
                </a:lnTo>
                <a:lnTo>
                  <a:pt x="41" y="100"/>
                </a:lnTo>
                <a:lnTo>
                  <a:pt x="47" y="94"/>
                </a:lnTo>
                <a:lnTo>
                  <a:pt x="47" y="91"/>
                </a:lnTo>
                <a:lnTo>
                  <a:pt x="41" y="91"/>
                </a:lnTo>
                <a:lnTo>
                  <a:pt x="37" y="85"/>
                </a:lnTo>
                <a:lnTo>
                  <a:pt x="44" y="78"/>
                </a:lnTo>
                <a:lnTo>
                  <a:pt x="44" y="72"/>
                </a:lnTo>
                <a:lnTo>
                  <a:pt x="41" y="69"/>
                </a:lnTo>
                <a:lnTo>
                  <a:pt x="34" y="60"/>
                </a:lnTo>
                <a:lnTo>
                  <a:pt x="41" y="56"/>
                </a:lnTo>
                <a:lnTo>
                  <a:pt x="44" y="60"/>
                </a:lnTo>
                <a:lnTo>
                  <a:pt x="50" y="50"/>
                </a:lnTo>
                <a:lnTo>
                  <a:pt x="44" y="47"/>
                </a:lnTo>
                <a:lnTo>
                  <a:pt x="50" y="44"/>
                </a:lnTo>
                <a:lnTo>
                  <a:pt x="50" y="31"/>
                </a:lnTo>
                <a:lnTo>
                  <a:pt x="50" y="25"/>
                </a:lnTo>
                <a:lnTo>
                  <a:pt x="56" y="19"/>
                </a:lnTo>
                <a:lnTo>
                  <a:pt x="59" y="19"/>
                </a:lnTo>
                <a:lnTo>
                  <a:pt x="59" y="16"/>
                </a:lnTo>
                <a:lnTo>
                  <a:pt x="56" y="10"/>
                </a:lnTo>
                <a:lnTo>
                  <a:pt x="56" y="3"/>
                </a:lnTo>
                <a:lnTo>
                  <a:pt x="47" y="3"/>
                </a:lnTo>
                <a:lnTo>
                  <a:pt x="44" y="6"/>
                </a:lnTo>
                <a:lnTo>
                  <a:pt x="31" y="3"/>
                </a:lnTo>
                <a:lnTo>
                  <a:pt x="25" y="10"/>
                </a:lnTo>
                <a:lnTo>
                  <a:pt x="25" y="6"/>
                </a:lnTo>
                <a:lnTo>
                  <a:pt x="25" y="0"/>
                </a:lnTo>
                <a:lnTo>
                  <a:pt x="22" y="0"/>
                </a:lnTo>
                <a:lnTo>
                  <a:pt x="12" y="0"/>
                </a:lnTo>
                <a:lnTo>
                  <a:pt x="12" y="6"/>
                </a:lnTo>
                <a:lnTo>
                  <a:pt x="16" y="13"/>
                </a:lnTo>
                <a:lnTo>
                  <a:pt x="16" y="25"/>
                </a:lnTo>
                <a:lnTo>
                  <a:pt x="16" y="25"/>
                </a:lnTo>
                <a:lnTo>
                  <a:pt x="12" y="31"/>
                </a:lnTo>
                <a:lnTo>
                  <a:pt x="16" y="35"/>
                </a:lnTo>
                <a:lnTo>
                  <a:pt x="16" y="38"/>
                </a:lnTo>
                <a:lnTo>
                  <a:pt x="12" y="44"/>
                </a:lnTo>
                <a:lnTo>
                  <a:pt x="12" y="50"/>
                </a:lnTo>
                <a:lnTo>
                  <a:pt x="6" y="56"/>
                </a:lnTo>
                <a:lnTo>
                  <a:pt x="6" y="60"/>
                </a:lnTo>
                <a:lnTo>
                  <a:pt x="3" y="66"/>
                </a:lnTo>
                <a:lnTo>
                  <a:pt x="0" y="78"/>
                </a:lnTo>
                <a:lnTo>
                  <a:pt x="0" y="81"/>
                </a:lnTo>
                <a:lnTo>
                  <a:pt x="3" y="81"/>
                </a:lnTo>
                <a:lnTo>
                  <a:pt x="6" y="78"/>
                </a:lnTo>
                <a:lnTo>
                  <a:pt x="9" y="75"/>
                </a:lnTo>
                <a:lnTo>
                  <a:pt x="9" y="78"/>
                </a:lnTo>
                <a:lnTo>
                  <a:pt x="9" y="81"/>
                </a:lnTo>
                <a:lnTo>
                  <a:pt x="3" y="85"/>
                </a:lnTo>
                <a:lnTo>
                  <a:pt x="3" y="88"/>
                </a:lnTo>
                <a:lnTo>
                  <a:pt x="6" y="91"/>
                </a:lnTo>
                <a:lnTo>
                  <a:pt x="9" y="88"/>
                </a:lnTo>
                <a:lnTo>
                  <a:pt x="12" y="88"/>
                </a:lnTo>
                <a:lnTo>
                  <a:pt x="12" y="91"/>
                </a:lnTo>
                <a:lnTo>
                  <a:pt x="12" y="94"/>
                </a:lnTo>
                <a:lnTo>
                  <a:pt x="12" y="100"/>
                </a:lnTo>
                <a:lnTo>
                  <a:pt x="12" y="110"/>
                </a:lnTo>
                <a:lnTo>
                  <a:pt x="9" y="116"/>
                </a:lnTo>
                <a:lnTo>
                  <a:pt x="9" y="119"/>
                </a:lnTo>
                <a:lnTo>
                  <a:pt x="9" y="119"/>
                </a:lnTo>
                <a:lnTo>
                  <a:pt x="16" y="116"/>
                </a:lnTo>
                <a:lnTo>
                  <a:pt x="22" y="119"/>
                </a:lnTo>
                <a:lnTo>
                  <a:pt x="28" y="122"/>
                </a:lnTo>
                <a:lnTo>
                  <a:pt x="34" y="119"/>
                </a:lnTo>
                <a:lnTo>
                  <a:pt x="37" y="119"/>
                </a:lnTo>
                <a:lnTo>
                  <a:pt x="37" y="116"/>
                </a:lnTo>
                <a:lnTo>
                  <a:pt x="41" y="116"/>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2" name="Freeform 80">
            <a:extLst>
              <a:ext uri="{FF2B5EF4-FFF2-40B4-BE49-F238E27FC236}">
                <a16:creationId xmlns:a16="http://schemas.microsoft.com/office/drawing/2014/main" id="{CA301A15-4F2F-F086-955C-468CB385F47F}"/>
              </a:ext>
            </a:extLst>
          </p:cNvPr>
          <p:cNvSpPr>
            <a:spLocks noEditPoints="1"/>
          </p:cNvSpPr>
          <p:nvPr userDrawn="1"/>
        </p:nvSpPr>
        <p:spPr bwMode="auto">
          <a:xfrm>
            <a:off x="14308789" y="6574709"/>
            <a:ext cx="536541" cy="527050"/>
          </a:xfrm>
          <a:custGeom>
            <a:avLst/>
            <a:gdLst>
              <a:gd name="T0" fmla="*/ 33 w 54"/>
              <a:gd name="T1" fmla="*/ 5 h 53"/>
              <a:gd name="T2" fmla="*/ 22 w 54"/>
              <a:gd name="T3" fmla="*/ 5 h 53"/>
              <a:gd name="T4" fmla="*/ 9 w 54"/>
              <a:gd name="T5" fmla="*/ 10 h 53"/>
              <a:gd name="T6" fmla="*/ 6 w 54"/>
              <a:gd name="T7" fmla="*/ 22 h 53"/>
              <a:gd name="T8" fmla="*/ 14 w 54"/>
              <a:gd name="T9" fmla="*/ 29 h 53"/>
              <a:gd name="T10" fmla="*/ 20 w 54"/>
              <a:gd name="T11" fmla="*/ 31 h 53"/>
              <a:gd name="T12" fmla="*/ 10 w 54"/>
              <a:gd name="T13" fmla="*/ 31 h 53"/>
              <a:gd name="T14" fmla="*/ 16 w 54"/>
              <a:gd name="T15" fmla="*/ 40 h 53"/>
              <a:gd name="T16" fmla="*/ 19 w 54"/>
              <a:gd name="T17" fmla="*/ 41 h 53"/>
              <a:gd name="T18" fmla="*/ 20 w 54"/>
              <a:gd name="T19" fmla="*/ 35 h 53"/>
              <a:gd name="T20" fmla="*/ 24 w 54"/>
              <a:gd name="T21" fmla="*/ 35 h 53"/>
              <a:gd name="T22" fmla="*/ 26 w 54"/>
              <a:gd name="T23" fmla="*/ 32 h 53"/>
              <a:gd name="T24" fmla="*/ 22 w 54"/>
              <a:gd name="T25" fmla="*/ 26 h 53"/>
              <a:gd name="T26" fmla="*/ 20 w 54"/>
              <a:gd name="T27" fmla="*/ 21 h 53"/>
              <a:gd name="T28" fmla="*/ 20 w 54"/>
              <a:gd name="T29" fmla="*/ 18 h 53"/>
              <a:gd name="T30" fmla="*/ 19 w 54"/>
              <a:gd name="T31" fmla="*/ 12 h 53"/>
              <a:gd name="T32" fmla="*/ 24 w 54"/>
              <a:gd name="T33" fmla="*/ 14 h 53"/>
              <a:gd name="T34" fmla="*/ 28 w 54"/>
              <a:gd name="T35" fmla="*/ 13 h 53"/>
              <a:gd name="T36" fmla="*/ 30 w 54"/>
              <a:gd name="T37" fmla="*/ 9 h 53"/>
              <a:gd name="T38" fmla="*/ 40 w 54"/>
              <a:gd name="T39" fmla="*/ 7 h 53"/>
              <a:gd name="T40" fmla="*/ 26 w 54"/>
              <a:gd name="T41" fmla="*/ 50 h 53"/>
              <a:gd name="T42" fmla="*/ 35 w 54"/>
              <a:gd name="T43" fmla="*/ 53 h 53"/>
              <a:gd name="T44" fmla="*/ 42 w 54"/>
              <a:gd name="T45" fmla="*/ 50 h 53"/>
              <a:gd name="T46" fmla="*/ 37 w 54"/>
              <a:gd name="T47" fmla="*/ 49 h 53"/>
              <a:gd name="T48" fmla="*/ 29 w 54"/>
              <a:gd name="T49" fmla="*/ 48 h 53"/>
              <a:gd name="T50" fmla="*/ 27 w 54"/>
              <a:gd name="T51" fmla="*/ 49 h 53"/>
              <a:gd name="T52" fmla="*/ 1 w 54"/>
              <a:gd name="T53" fmla="*/ 19 h 53"/>
              <a:gd name="T54" fmla="*/ 7 w 54"/>
              <a:gd name="T55" fmla="*/ 25 h 53"/>
              <a:gd name="T56" fmla="*/ 7 w 54"/>
              <a:gd name="T57" fmla="*/ 29 h 53"/>
              <a:gd name="T58" fmla="*/ 6 w 54"/>
              <a:gd name="T59" fmla="*/ 30 h 53"/>
              <a:gd name="T60" fmla="*/ 8 w 54"/>
              <a:gd name="T61" fmla="*/ 34 h 53"/>
              <a:gd name="T62" fmla="*/ 48 w 54"/>
              <a:gd name="T63" fmla="*/ 46 h 53"/>
              <a:gd name="T64" fmla="*/ 48 w 54"/>
              <a:gd name="T65" fmla="*/ 50 h 53"/>
              <a:gd name="T66" fmla="*/ 54 w 54"/>
              <a:gd name="T67" fmla="*/ 42 h 53"/>
              <a:gd name="T68" fmla="*/ 51 w 54"/>
              <a:gd name="T69" fmla="*/ 46 h 53"/>
              <a:gd name="T70" fmla="*/ 43 w 54"/>
              <a:gd name="T71" fmla="*/ 32 h 53"/>
              <a:gd name="T72" fmla="*/ 43 w 54"/>
              <a:gd name="T73" fmla="*/ 33 h 53"/>
              <a:gd name="T74" fmla="*/ 39 w 54"/>
              <a:gd name="T75" fmla="*/ 28 h 53"/>
              <a:gd name="T76" fmla="*/ 38 w 54"/>
              <a:gd name="T77" fmla="*/ 22 h 53"/>
              <a:gd name="T78" fmla="*/ 42 w 54"/>
              <a:gd name="T79" fmla="*/ 23 h 53"/>
              <a:gd name="T80" fmla="*/ 39 w 54"/>
              <a:gd name="T81" fmla="*/ 23 h 53"/>
              <a:gd name="T82" fmla="*/ 33 w 54"/>
              <a:gd name="T83" fmla="*/ 15 h 53"/>
              <a:gd name="T84" fmla="*/ 33 w 54"/>
              <a:gd name="T85" fmla="*/ 16 h 53"/>
              <a:gd name="T86" fmla="*/ 29 w 54"/>
              <a:gd name="T87" fmla="*/ 10 h 53"/>
              <a:gd name="T88" fmla="*/ 23 w 54"/>
              <a:gd name="T89" fmla="*/ 22 h 53"/>
              <a:gd name="T90" fmla="*/ 31 w 54"/>
              <a:gd name="T91" fmla="*/ 25 h 53"/>
              <a:gd name="T92" fmla="*/ 40 w 54"/>
              <a:gd name="T93" fmla="*/ 35 h 53"/>
              <a:gd name="T94" fmla="*/ 31 w 54"/>
              <a:gd name="T95" fmla="*/ 38 h 53"/>
              <a:gd name="T96" fmla="*/ 30 w 54"/>
              <a:gd name="T97" fmla="*/ 34 h 53"/>
              <a:gd name="T98" fmla="*/ 37 w 54"/>
              <a:gd name="T99" fmla="*/ 39 h 53"/>
              <a:gd name="T100" fmla="*/ 37 w 54"/>
              <a:gd name="T101" fmla="*/ 35 h 53"/>
              <a:gd name="T102" fmla="*/ 32 w 54"/>
              <a:gd name="T103" fmla="*/ 32 h 53"/>
              <a:gd name="T104" fmla="*/ 21 w 54"/>
              <a:gd name="T105" fmla="*/ 23 h 53"/>
              <a:gd name="T106" fmla="*/ 29 w 54"/>
              <a:gd name="T107" fmla="*/ 28 h 53"/>
              <a:gd name="T108" fmla="*/ 30 w 54"/>
              <a:gd name="T109" fmla="*/ 32 h 53"/>
              <a:gd name="T110" fmla="*/ 24 w 54"/>
              <a:gd name="T111" fmla="*/ 26 h 53"/>
              <a:gd name="T112" fmla="*/ 22 w 54"/>
              <a:gd name="T113" fmla="*/ 42 h 53"/>
              <a:gd name="T114" fmla="*/ 22 w 54"/>
              <a:gd name="T115" fmla="*/ 4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53">
                <a:moveTo>
                  <a:pt x="41" y="0"/>
                </a:moveTo>
                <a:cubicBezTo>
                  <a:pt x="40" y="0"/>
                  <a:pt x="40" y="0"/>
                  <a:pt x="40" y="0"/>
                </a:cubicBezTo>
                <a:cubicBezTo>
                  <a:pt x="38" y="2"/>
                  <a:pt x="38" y="2"/>
                  <a:pt x="38" y="2"/>
                </a:cubicBezTo>
                <a:cubicBezTo>
                  <a:pt x="38" y="3"/>
                  <a:pt x="38" y="3"/>
                  <a:pt x="38" y="3"/>
                </a:cubicBezTo>
                <a:cubicBezTo>
                  <a:pt x="39" y="4"/>
                  <a:pt x="39" y="4"/>
                  <a:pt x="39" y="4"/>
                </a:cubicBezTo>
                <a:cubicBezTo>
                  <a:pt x="38" y="5"/>
                  <a:pt x="38" y="5"/>
                  <a:pt x="38" y="5"/>
                </a:cubicBezTo>
                <a:cubicBezTo>
                  <a:pt x="35" y="5"/>
                  <a:pt x="35" y="5"/>
                  <a:pt x="35" y="5"/>
                </a:cubicBezTo>
                <a:cubicBezTo>
                  <a:pt x="34" y="5"/>
                  <a:pt x="34" y="5"/>
                  <a:pt x="34" y="5"/>
                </a:cubicBezTo>
                <a:cubicBezTo>
                  <a:pt x="33" y="5"/>
                  <a:pt x="33" y="5"/>
                  <a:pt x="33" y="5"/>
                </a:cubicBezTo>
                <a:cubicBezTo>
                  <a:pt x="32" y="5"/>
                  <a:pt x="32" y="5"/>
                  <a:pt x="32" y="5"/>
                </a:cubicBezTo>
                <a:cubicBezTo>
                  <a:pt x="31" y="5"/>
                  <a:pt x="31" y="5"/>
                  <a:pt x="31" y="5"/>
                </a:cubicBezTo>
                <a:cubicBezTo>
                  <a:pt x="30" y="5"/>
                  <a:pt x="30" y="5"/>
                  <a:pt x="30" y="5"/>
                </a:cubicBezTo>
                <a:cubicBezTo>
                  <a:pt x="30" y="4"/>
                  <a:pt x="30" y="4"/>
                  <a:pt x="30" y="4"/>
                </a:cubicBezTo>
                <a:cubicBezTo>
                  <a:pt x="28" y="4"/>
                  <a:pt x="28" y="4"/>
                  <a:pt x="28" y="4"/>
                </a:cubicBezTo>
                <a:cubicBezTo>
                  <a:pt x="26" y="4"/>
                  <a:pt x="26" y="4"/>
                  <a:pt x="26" y="4"/>
                </a:cubicBezTo>
                <a:cubicBezTo>
                  <a:pt x="25" y="5"/>
                  <a:pt x="25" y="5"/>
                  <a:pt x="25" y="5"/>
                </a:cubicBezTo>
                <a:cubicBezTo>
                  <a:pt x="24" y="5"/>
                  <a:pt x="24" y="5"/>
                  <a:pt x="24" y="5"/>
                </a:cubicBezTo>
                <a:cubicBezTo>
                  <a:pt x="22" y="5"/>
                  <a:pt x="22" y="5"/>
                  <a:pt x="22" y="5"/>
                </a:cubicBezTo>
                <a:cubicBezTo>
                  <a:pt x="21" y="5"/>
                  <a:pt x="21" y="5"/>
                  <a:pt x="21" y="5"/>
                </a:cubicBezTo>
                <a:cubicBezTo>
                  <a:pt x="20" y="6"/>
                  <a:pt x="20" y="6"/>
                  <a:pt x="20" y="6"/>
                </a:cubicBezTo>
                <a:cubicBezTo>
                  <a:pt x="19" y="6"/>
                  <a:pt x="19" y="6"/>
                  <a:pt x="19" y="6"/>
                </a:cubicBezTo>
                <a:cubicBezTo>
                  <a:pt x="18" y="7"/>
                  <a:pt x="18" y="7"/>
                  <a:pt x="18" y="7"/>
                </a:cubicBezTo>
                <a:cubicBezTo>
                  <a:pt x="15" y="7"/>
                  <a:pt x="15" y="7"/>
                  <a:pt x="15" y="7"/>
                </a:cubicBezTo>
                <a:cubicBezTo>
                  <a:pt x="13" y="7"/>
                  <a:pt x="13" y="7"/>
                  <a:pt x="13" y="7"/>
                </a:cubicBezTo>
                <a:cubicBezTo>
                  <a:pt x="13" y="8"/>
                  <a:pt x="13" y="8"/>
                  <a:pt x="13" y="8"/>
                </a:cubicBezTo>
                <a:cubicBezTo>
                  <a:pt x="11" y="8"/>
                  <a:pt x="11" y="8"/>
                  <a:pt x="11" y="8"/>
                </a:cubicBezTo>
                <a:cubicBezTo>
                  <a:pt x="9" y="10"/>
                  <a:pt x="9" y="10"/>
                  <a:pt x="9" y="10"/>
                </a:cubicBezTo>
                <a:cubicBezTo>
                  <a:pt x="9" y="12"/>
                  <a:pt x="9" y="12"/>
                  <a:pt x="9" y="12"/>
                </a:cubicBezTo>
                <a:cubicBezTo>
                  <a:pt x="8" y="14"/>
                  <a:pt x="8" y="14"/>
                  <a:pt x="8" y="14"/>
                </a:cubicBezTo>
                <a:cubicBezTo>
                  <a:pt x="5" y="14"/>
                  <a:pt x="5" y="14"/>
                  <a:pt x="5" y="14"/>
                </a:cubicBezTo>
                <a:cubicBezTo>
                  <a:pt x="5" y="16"/>
                  <a:pt x="5" y="16"/>
                  <a:pt x="5" y="16"/>
                </a:cubicBezTo>
                <a:cubicBezTo>
                  <a:pt x="4" y="18"/>
                  <a:pt x="4" y="18"/>
                  <a:pt x="4" y="18"/>
                </a:cubicBezTo>
                <a:cubicBezTo>
                  <a:pt x="3" y="18"/>
                  <a:pt x="3" y="18"/>
                  <a:pt x="3" y="18"/>
                </a:cubicBezTo>
                <a:cubicBezTo>
                  <a:pt x="4" y="18"/>
                  <a:pt x="4" y="18"/>
                  <a:pt x="4" y="18"/>
                </a:cubicBezTo>
                <a:cubicBezTo>
                  <a:pt x="4" y="20"/>
                  <a:pt x="4" y="20"/>
                  <a:pt x="4" y="20"/>
                </a:cubicBezTo>
                <a:cubicBezTo>
                  <a:pt x="6" y="22"/>
                  <a:pt x="6" y="22"/>
                  <a:pt x="6" y="22"/>
                </a:cubicBezTo>
                <a:cubicBezTo>
                  <a:pt x="7" y="24"/>
                  <a:pt x="7" y="24"/>
                  <a:pt x="7" y="24"/>
                </a:cubicBezTo>
                <a:cubicBezTo>
                  <a:pt x="8" y="24"/>
                  <a:pt x="8" y="24"/>
                  <a:pt x="8" y="24"/>
                </a:cubicBezTo>
                <a:cubicBezTo>
                  <a:pt x="8" y="24"/>
                  <a:pt x="8" y="24"/>
                  <a:pt x="8" y="24"/>
                </a:cubicBezTo>
                <a:cubicBezTo>
                  <a:pt x="9" y="27"/>
                  <a:pt x="9" y="27"/>
                  <a:pt x="9" y="27"/>
                </a:cubicBezTo>
                <a:cubicBezTo>
                  <a:pt x="10" y="28"/>
                  <a:pt x="10" y="28"/>
                  <a:pt x="10" y="28"/>
                </a:cubicBezTo>
                <a:cubicBezTo>
                  <a:pt x="11" y="29"/>
                  <a:pt x="11" y="29"/>
                  <a:pt x="11" y="29"/>
                </a:cubicBezTo>
                <a:cubicBezTo>
                  <a:pt x="12" y="27"/>
                  <a:pt x="12" y="27"/>
                  <a:pt x="12" y="27"/>
                </a:cubicBezTo>
                <a:cubicBezTo>
                  <a:pt x="13" y="29"/>
                  <a:pt x="13" y="29"/>
                  <a:pt x="13" y="29"/>
                </a:cubicBezTo>
                <a:cubicBezTo>
                  <a:pt x="14" y="29"/>
                  <a:pt x="14" y="29"/>
                  <a:pt x="14" y="29"/>
                </a:cubicBezTo>
                <a:cubicBezTo>
                  <a:pt x="15" y="28"/>
                  <a:pt x="15" y="28"/>
                  <a:pt x="15" y="28"/>
                </a:cubicBezTo>
                <a:cubicBezTo>
                  <a:pt x="16" y="28"/>
                  <a:pt x="16" y="28"/>
                  <a:pt x="16" y="28"/>
                </a:cubicBezTo>
                <a:cubicBezTo>
                  <a:pt x="17" y="29"/>
                  <a:pt x="17" y="29"/>
                  <a:pt x="17" y="29"/>
                </a:cubicBezTo>
                <a:cubicBezTo>
                  <a:pt x="18" y="29"/>
                  <a:pt x="18" y="29"/>
                  <a:pt x="18" y="29"/>
                </a:cubicBezTo>
                <a:cubicBezTo>
                  <a:pt x="19" y="29"/>
                  <a:pt x="19" y="29"/>
                  <a:pt x="19" y="29"/>
                </a:cubicBezTo>
                <a:cubicBezTo>
                  <a:pt x="19" y="29"/>
                  <a:pt x="19" y="29"/>
                  <a:pt x="19" y="29"/>
                </a:cubicBezTo>
                <a:cubicBezTo>
                  <a:pt x="20" y="30"/>
                  <a:pt x="20" y="30"/>
                  <a:pt x="20" y="30"/>
                </a:cubicBezTo>
                <a:cubicBezTo>
                  <a:pt x="21" y="30"/>
                  <a:pt x="21" y="30"/>
                  <a:pt x="21" y="30"/>
                </a:cubicBezTo>
                <a:cubicBezTo>
                  <a:pt x="20" y="31"/>
                  <a:pt x="20" y="31"/>
                  <a:pt x="20" y="31"/>
                </a:cubicBezTo>
                <a:cubicBezTo>
                  <a:pt x="20" y="32"/>
                  <a:pt x="20" y="32"/>
                  <a:pt x="20" y="32"/>
                </a:cubicBezTo>
                <a:cubicBezTo>
                  <a:pt x="19" y="31"/>
                  <a:pt x="19" y="31"/>
                  <a:pt x="19" y="31"/>
                </a:cubicBezTo>
                <a:cubicBezTo>
                  <a:pt x="18" y="31"/>
                  <a:pt x="18" y="31"/>
                  <a:pt x="18" y="31"/>
                </a:cubicBezTo>
                <a:cubicBezTo>
                  <a:pt x="15" y="29"/>
                  <a:pt x="15" y="29"/>
                  <a:pt x="15" y="29"/>
                </a:cubicBezTo>
                <a:cubicBezTo>
                  <a:pt x="14" y="29"/>
                  <a:pt x="14" y="29"/>
                  <a:pt x="14" y="29"/>
                </a:cubicBezTo>
                <a:cubicBezTo>
                  <a:pt x="13" y="30"/>
                  <a:pt x="13" y="30"/>
                  <a:pt x="13" y="30"/>
                </a:cubicBezTo>
                <a:cubicBezTo>
                  <a:pt x="12" y="29"/>
                  <a:pt x="12" y="29"/>
                  <a:pt x="12" y="29"/>
                </a:cubicBezTo>
                <a:cubicBezTo>
                  <a:pt x="11" y="31"/>
                  <a:pt x="11" y="31"/>
                  <a:pt x="11" y="31"/>
                </a:cubicBezTo>
                <a:cubicBezTo>
                  <a:pt x="10" y="31"/>
                  <a:pt x="10" y="31"/>
                  <a:pt x="10" y="31"/>
                </a:cubicBezTo>
                <a:cubicBezTo>
                  <a:pt x="10" y="32"/>
                  <a:pt x="10" y="32"/>
                  <a:pt x="10" y="32"/>
                </a:cubicBezTo>
                <a:cubicBezTo>
                  <a:pt x="11" y="33"/>
                  <a:pt x="11" y="33"/>
                  <a:pt x="11" y="33"/>
                </a:cubicBezTo>
                <a:cubicBezTo>
                  <a:pt x="13" y="34"/>
                  <a:pt x="13" y="34"/>
                  <a:pt x="13" y="34"/>
                </a:cubicBezTo>
                <a:cubicBezTo>
                  <a:pt x="14" y="35"/>
                  <a:pt x="14" y="35"/>
                  <a:pt x="14" y="35"/>
                </a:cubicBezTo>
                <a:cubicBezTo>
                  <a:pt x="14" y="36"/>
                  <a:pt x="14" y="36"/>
                  <a:pt x="14" y="36"/>
                </a:cubicBezTo>
                <a:cubicBezTo>
                  <a:pt x="14" y="37"/>
                  <a:pt x="14" y="37"/>
                  <a:pt x="14" y="37"/>
                </a:cubicBezTo>
                <a:cubicBezTo>
                  <a:pt x="14" y="38"/>
                  <a:pt x="14" y="38"/>
                  <a:pt x="14" y="38"/>
                </a:cubicBezTo>
                <a:cubicBezTo>
                  <a:pt x="15" y="39"/>
                  <a:pt x="15" y="39"/>
                  <a:pt x="15" y="39"/>
                </a:cubicBezTo>
                <a:cubicBezTo>
                  <a:pt x="16" y="40"/>
                  <a:pt x="16" y="40"/>
                  <a:pt x="16" y="40"/>
                </a:cubicBezTo>
                <a:cubicBezTo>
                  <a:pt x="16" y="39"/>
                  <a:pt x="16" y="39"/>
                  <a:pt x="16" y="39"/>
                </a:cubicBezTo>
                <a:cubicBezTo>
                  <a:pt x="16" y="39"/>
                  <a:pt x="16" y="39"/>
                  <a:pt x="16" y="39"/>
                </a:cubicBezTo>
                <a:cubicBezTo>
                  <a:pt x="16" y="38"/>
                  <a:pt x="16" y="38"/>
                  <a:pt x="16" y="38"/>
                </a:cubicBezTo>
                <a:cubicBezTo>
                  <a:pt x="17" y="39"/>
                  <a:pt x="17" y="39"/>
                  <a:pt x="17" y="39"/>
                </a:cubicBezTo>
                <a:cubicBezTo>
                  <a:pt x="18" y="40"/>
                  <a:pt x="18" y="40"/>
                  <a:pt x="18" y="40"/>
                </a:cubicBezTo>
                <a:cubicBezTo>
                  <a:pt x="19" y="41"/>
                  <a:pt x="19" y="41"/>
                  <a:pt x="19" y="41"/>
                </a:cubicBezTo>
                <a:cubicBezTo>
                  <a:pt x="18" y="42"/>
                  <a:pt x="18" y="42"/>
                  <a:pt x="18" y="42"/>
                </a:cubicBezTo>
                <a:cubicBezTo>
                  <a:pt x="19" y="43"/>
                  <a:pt x="19" y="43"/>
                  <a:pt x="19" y="43"/>
                </a:cubicBezTo>
                <a:cubicBezTo>
                  <a:pt x="19" y="41"/>
                  <a:pt x="19" y="41"/>
                  <a:pt x="19" y="41"/>
                </a:cubicBezTo>
                <a:cubicBezTo>
                  <a:pt x="20" y="39"/>
                  <a:pt x="20" y="39"/>
                  <a:pt x="20" y="39"/>
                </a:cubicBezTo>
                <a:cubicBezTo>
                  <a:pt x="21" y="39"/>
                  <a:pt x="21" y="39"/>
                  <a:pt x="21" y="39"/>
                </a:cubicBezTo>
                <a:cubicBezTo>
                  <a:pt x="21" y="41"/>
                  <a:pt x="21" y="41"/>
                  <a:pt x="21" y="41"/>
                </a:cubicBezTo>
                <a:cubicBezTo>
                  <a:pt x="23" y="42"/>
                  <a:pt x="23" y="42"/>
                  <a:pt x="23" y="42"/>
                </a:cubicBezTo>
                <a:cubicBezTo>
                  <a:pt x="22" y="41"/>
                  <a:pt x="22" y="41"/>
                  <a:pt x="22" y="41"/>
                </a:cubicBezTo>
                <a:cubicBezTo>
                  <a:pt x="22" y="40"/>
                  <a:pt x="22" y="40"/>
                  <a:pt x="22" y="40"/>
                </a:cubicBezTo>
                <a:cubicBezTo>
                  <a:pt x="22" y="38"/>
                  <a:pt x="22" y="38"/>
                  <a:pt x="22" y="38"/>
                </a:cubicBezTo>
                <a:cubicBezTo>
                  <a:pt x="21" y="36"/>
                  <a:pt x="21" y="36"/>
                  <a:pt x="21" y="36"/>
                </a:cubicBezTo>
                <a:cubicBezTo>
                  <a:pt x="20" y="35"/>
                  <a:pt x="20" y="35"/>
                  <a:pt x="20" y="35"/>
                </a:cubicBezTo>
                <a:cubicBezTo>
                  <a:pt x="20" y="35"/>
                  <a:pt x="20" y="35"/>
                  <a:pt x="20" y="35"/>
                </a:cubicBezTo>
                <a:cubicBezTo>
                  <a:pt x="21" y="35"/>
                  <a:pt x="21" y="35"/>
                  <a:pt x="21" y="35"/>
                </a:cubicBezTo>
                <a:cubicBezTo>
                  <a:pt x="22" y="35"/>
                  <a:pt x="22" y="35"/>
                  <a:pt x="22" y="35"/>
                </a:cubicBezTo>
                <a:cubicBezTo>
                  <a:pt x="22" y="36"/>
                  <a:pt x="22" y="36"/>
                  <a:pt x="22" y="36"/>
                </a:cubicBezTo>
                <a:cubicBezTo>
                  <a:pt x="22" y="36"/>
                  <a:pt x="22" y="36"/>
                  <a:pt x="22" y="36"/>
                </a:cubicBezTo>
                <a:cubicBezTo>
                  <a:pt x="23" y="36"/>
                  <a:pt x="23" y="36"/>
                  <a:pt x="23" y="36"/>
                </a:cubicBezTo>
                <a:cubicBezTo>
                  <a:pt x="25" y="36"/>
                  <a:pt x="25" y="36"/>
                  <a:pt x="25" y="36"/>
                </a:cubicBezTo>
                <a:cubicBezTo>
                  <a:pt x="25" y="36"/>
                  <a:pt x="25" y="36"/>
                  <a:pt x="25" y="36"/>
                </a:cubicBezTo>
                <a:cubicBezTo>
                  <a:pt x="24" y="35"/>
                  <a:pt x="24" y="35"/>
                  <a:pt x="24" y="35"/>
                </a:cubicBezTo>
                <a:cubicBezTo>
                  <a:pt x="24" y="35"/>
                  <a:pt x="24" y="35"/>
                  <a:pt x="24" y="35"/>
                </a:cubicBezTo>
                <a:cubicBezTo>
                  <a:pt x="23" y="35"/>
                  <a:pt x="23" y="35"/>
                  <a:pt x="23" y="35"/>
                </a:cubicBezTo>
                <a:cubicBezTo>
                  <a:pt x="22" y="34"/>
                  <a:pt x="22" y="34"/>
                  <a:pt x="22" y="34"/>
                </a:cubicBezTo>
                <a:cubicBezTo>
                  <a:pt x="22" y="33"/>
                  <a:pt x="22" y="33"/>
                  <a:pt x="22" y="33"/>
                </a:cubicBezTo>
                <a:cubicBezTo>
                  <a:pt x="21" y="32"/>
                  <a:pt x="21" y="32"/>
                  <a:pt x="21" y="32"/>
                </a:cubicBezTo>
                <a:cubicBezTo>
                  <a:pt x="22" y="32"/>
                  <a:pt x="22" y="32"/>
                  <a:pt x="22" y="32"/>
                </a:cubicBezTo>
                <a:cubicBezTo>
                  <a:pt x="23" y="32"/>
                  <a:pt x="23" y="32"/>
                  <a:pt x="23" y="32"/>
                </a:cubicBezTo>
                <a:cubicBezTo>
                  <a:pt x="24" y="31"/>
                  <a:pt x="24" y="31"/>
                  <a:pt x="24" y="31"/>
                </a:cubicBezTo>
                <a:cubicBezTo>
                  <a:pt x="26" y="32"/>
                  <a:pt x="26" y="32"/>
                  <a:pt x="26" y="32"/>
                </a:cubicBezTo>
                <a:cubicBezTo>
                  <a:pt x="26" y="33"/>
                  <a:pt x="26" y="33"/>
                  <a:pt x="26" y="33"/>
                </a:cubicBezTo>
                <a:cubicBezTo>
                  <a:pt x="27" y="33"/>
                  <a:pt x="27" y="33"/>
                  <a:pt x="27" y="33"/>
                </a:cubicBezTo>
                <a:cubicBezTo>
                  <a:pt x="28" y="32"/>
                  <a:pt x="28" y="32"/>
                  <a:pt x="28" y="32"/>
                </a:cubicBezTo>
                <a:cubicBezTo>
                  <a:pt x="27" y="31"/>
                  <a:pt x="27" y="31"/>
                  <a:pt x="27" y="31"/>
                </a:cubicBezTo>
                <a:cubicBezTo>
                  <a:pt x="27" y="29"/>
                  <a:pt x="27" y="29"/>
                  <a:pt x="27" y="29"/>
                </a:cubicBezTo>
                <a:cubicBezTo>
                  <a:pt x="26" y="29"/>
                  <a:pt x="26" y="29"/>
                  <a:pt x="26" y="29"/>
                </a:cubicBezTo>
                <a:cubicBezTo>
                  <a:pt x="23" y="27"/>
                  <a:pt x="23" y="27"/>
                  <a:pt x="23" y="27"/>
                </a:cubicBezTo>
                <a:cubicBezTo>
                  <a:pt x="23" y="27"/>
                  <a:pt x="23" y="27"/>
                  <a:pt x="23" y="27"/>
                </a:cubicBezTo>
                <a:cubicBezTo>
                  <a:pt x="22" y="26"/>
                  <a:pt x="22" y="26"/>
                  <a:pt x="22" y="26"/>
                </a:cubicBezTo>
                <a:cubicBezTo>
                  <a:pt x="21" y="26"/>
                  <a:pt x="21" y="26"/>
                  <a:pt x="21" y="26"/>
                </a:cubicBezTo>
                <a:cubicBezTo>
                  <a:pt x="21" y="25"/>
                  <a:pt x="21" y="25"/>
                  <a:pt x="21" y="25"/>
                </a:cubicBezTo>
                <a:cubicBezTo>
                  <a:pt x="20" y="25"/>
                  <a:pt x="20" y="25"/>
                  <a:pt x="20" y="25"/>
                </a:cubicBezTo>
                <a:cubicBezTo>
                  <a:pt x="18" y="24"/>
                  <a:pt x="18" y="24"/>
                  <a:pt x="18" y="24"/>
                </a:cubicBezTo>
                <a:cubicBezTo>
                  <a:pt x="20" y="24"/>
                  <a:pt x="20" y="24"/>
                  <a:pt x="20" y="24"/>
                </a:cubicBezTo>
                <a:cubicBezTo>
                  <a:pt x="20" y="23"/>
                  <a:pt x="20" y="23"/>
                  <a:pt x="20" y="23"/>
                </a:cubicBezTo>
                <a:cubicBezTo>
                  <a:pt x="20" y="22"/>
                  <a:pt x="20" y="22"/>
                  <a:pt x="20" y="22"/>
                </a:cubicBezTo>
                <a:cubicBezTo>
                  <a:pt x="19" y="22"/>
                  <a:pt x="19" y="22"/>
                  <a:pt x="19" y="22"/>
                </a:cubicBezTo>
                <a:cubicBezTo>
                  <a:pt x="20" y="21"/>
                  <a:pt x="20" y="21"/>
                  <a:pt x="20" y="21"/>
                </a:cubicBezTo>
                <a:cubicBezTo>
                  <a:pt x="20" y="20"/>
                  <a:pt x="20" y="20"/>
                  <a:pt x="20" y="20"/>
                </a:cubicBezTo>
                <a:cubicBezTo>
                  <a:pt x="21" y="21"/>
                  <a:pt x="21" y="21"/>
                  <a:pt x="21" y="21"/>
                </a:cubicBezTo>
                <a:cubicBezTo>
                  <a:pt x="22" y="21"/>
                  <a:pt x="22" y="21"/>
                  <a:pt x="22" y="21"/>
                </a:cubicBezTo>
                <a:cubicBezTo>
                  <a:pt x="21" y="22"/>
                  <a:pt x="21" y="22"/>
                  <a:pt x="21" y="22"/>
                </a:cubicBezTo>
                <a:cubicBezTo>
                  <a:pt x="21" y="23"/>
                  <a:pt x="21" y="23"/>
                  <a:pt x="21" y="23"/>
                </a:cubicBezTo>
                <a:cubicBezTo>
                  <a:pt x="22" y="23"/>
                  <a:pt x="22" y="23"/>
                  <a:pt x="22" y="23"/>
                </a:cubicBezTo>
                <a:cubicBezTo>
                  <a:pt x="22" y="21"/>
                  <a:pt x="22" y="21"/>
                  <a:pt x="22" y="21"/>
                </a:cubicBezTo>
                <a:cubicBezTo>
                  <a:pt x="22" y="20"/>
                  <a:pt x="22" y="20"/>
                  <a:pt x="22" y="20"/>
                </a:cubicBezTo>
                <a:cubicBezTo>
                  <a:pt x="20" y="18"/>
                  <a:pt x="20" y="18"/>
                  <a:pt x="20" y="18"/>
                </a:cubicBezTo>
                <a:cubicBezTo>
                  <a:pt x="19" y="17"/>
                  <a:pt x="19" y="17"/>
                  <a:pt x="19" y="17"/>
                </a:cubicBezTo>
                <a:cubicBezTo>
                  <a:pt x="19" y="16"/>
                  <a:pt x="19" y="16"/>
                  <a:pt x="19" y="16"/>
                </a:cubicBezTo>
                <a:cubicBezTo>
                  <a:pt x="17" y="15"/>
                  <a:pt x="17" y="15"/>
                  <a:pt x="17" y="15"/>
                </a:cubicBezTo>
                <a:cubicBezTo>
                  <a:pt x="18" y="14"/>
                  <a:pt x="18" y="14"/>
                  <a:pt x="18" y="14"/>
                </a:cubicBezTo>
                <a:cubicBezTo>
                  <a:pt x="17" y="12"/>
                  <a:pt x="17" y="12"/>
                  <a:pt x="17" y="12"/>
                </a:cubicBezTo>
                <a:cubicBezTo>
                  <a:pt x="18" y="11"/>
                  <a:pt x="18" y="11"/>
                  <a:pt x="18" y="11"/>
                </a:cubicBezTo>
                <a:cubicBezTo>
                  <a:pt x="20" y="10"/>
                  <a:pt x="20" y="10"/>
                  <a:pt x="20" y="10"/>
                </a:cubicBezTo>
                <a:cubicBezTo>
                  <a:pt x="20" y="12"/>
                  <a:pt x="20" y="12"/>
                  <a:pt x="20" y="12"/>
                </a:cubicBezTo>
                <a:cubicBezTo>
                  <a:pt x="19" y="12"/>
                  <a:pt x="19" y="12"/>
                  <a:pt x="19" y="12"/>
                </a:cubicBezTo>
                <a:cubicBezTo>
                  <a:pt x="19" y="12"/>
                  <a:pt x="19" y="12"/>
                  <a:pt x="19" y="12"/>
                </a:cubicBezTo>
                <a:cubicBezTo>
                  <a:pt x="21" y="13"/>
                  <a:pt x="21" y="13"/>
                  <a:pt x="21" y="13"/>
                </a:cubicBezTo>
                <a:cubicBezTo>
                  <a:pt x="22" y="15"/>
                  <a:pt x="22" y="15"/>
                  <a:pt x="22" y="15"/>
                </a:cubicBezTo>
                <a:cubicBezTo>
                  <a:pt x="23" y="16"/>
                  <a:pt x="23" y="16"/>
                  <a:pt x="23" y="16"/>
                </a:cubicBezTo>
                <a:cubicBezTo>
                  <a:pt x="24" y="16"/>
                  <a:pt x="24" y="16"/>
                  <a:pt x="24" y="16"/>
                </a:cubicBezTo>
                <a:cubicBezTo>
                  <a:pt x="23" y="15"/>
                  <a:pt x="23" y="15"/>
                  <a:pt x="23" y="15"/>
                </a:cubicBezTo>
                <a:cubicBezTo>
                  <a:pt x="23" y="14"/>
                  <a:pt x="23" y="14"/>
                  <a:pt x="23" y="14"/>
                </a:cubicBezTo>
                <a:cubicBezTo>
                  <a:pt x="23" y="13"/>
                  <a:pt x="23" y="13"/>
                  <a:pt x="23" y="13"/>
                </a:cubicBezTo>
                <a:cubicBezTo>
                  <a:pt x="24" y="14"/>
                  <a:pt x="24" y="14"/>
                  <a:pt x="24" y="14"/>
                </a:cubicBezTo>
                <a:cubicBezTo>
                  <a:pt x="25" y="15"/>
                  <a:pt x="25" y="15"/>
                  <a:pt x="25" y="15"/>
                </a:cubicBezTo>
                <a:cubicBezTo>
                  <a:pt x="26" y="15"/>
                  <a:pt x="26" y="15"/>
                  <a:pt x="26" y="15"/>
                </a:cubicBezTo>
                <a:cubicBezTo>
                  <a:pt x="26" y="14"/>
                  <a:pt x="26" y="14"/>
                  <a:pt x="26" y="14"/>
                </a:cubicBezTo>
                <a:cubicBezTo>
                  <a:pt x="26" y="14"/>
                  <a:pt x="26" y="14"/>
                  <a:pt x="26" y="14"/>
                </a:cubicBezTo>
                <a:cubicBezTo>
                  <a:pt x="25" y="13"/>
                  <a:pt x="25" y="13"/>
                  <a:pt x="25" y="13"/>
                </a:cubicBezTo>
                <a:cubicBezTo>
                  <a:pt x="25" y="13"/>
                  <a:pt x="25" y="13"/>
                  <a:pt x="25" y="13"/>
                </a:cubicBezTo>
                <a:cubicBezTo>
                  <a:pt x="27" y="13"/>
                  <a:pt x="27" y="13"/>
                  <a:pt x="27" y="13"/>
                </a:cubicBezTo>
                <a:cubicBezTo>
                  <a:pt x="28" y="14"/>
                  <a:pt x="28" y="14"/>
                  <a:pt x="28" y="14"/>
                </a:cubicBezTo>
                <a:cubicBezTo>
                  <a:pt x="28" y="13"/>
                  <a:pt x="28" y="13"/>
                  <a:pt x="28" y="13"/>
                </a:cubicBezTo>
                <a:cubicBezTo>
                  <a:pt x="27" y="12"/>
                  <a:pt x="27" y="12"/>
                  <a:pt x="27" y="12"/>
                </a:cubicBezTo>
                <a:cubicBezTo>
                  <a:pt x="26" y="12"/>
                  <a:pt x="26" y="12"/>
                  <a:pt x="26" y="12"/>
                </a:cubicBezTo>
                <a:cubicBezTo>
                  <a:pt x="24" y="10"/>
                  <a:pt x="24" y="10"/>
                  <a:pt x="24" y="10"/>
                </a:cubicBezTo>
                <a:cubicBezTo>
                  <a:pt x="25" y="10"/>
                  <a:pt x="25" y="10"/>
                  <a:pt x="25" y="10"/>
                </a:cubicBezTo>
                <a:cubicBezTo>
                  <a:pt x="26" y="10"/>
                  <a:pt x="26" y="10"/>
                  <a:pt x="26" y="10"/>
                </a:cubicBezTo>
                <a:cubicBezTo>
                  <a:pt x="27" y="9"/>
                  <a:pt x="27" y="9"/>
                  <a:pt x="27" y="9"/>
                </a:cubicBezTo>
                <a:cubicBezTo>
                  <a:pt x="28" y="8"/>
                  <a:pt x="28" y="8"/>
                  <a:pt x="28" y="8"/>
                </a:cubicBezTo>
                <a:cubicBezTo>
                  <a:pt x="29" y="7"/>
                  <a:pt x="29" y="7"/>
                  <a:pt x="29" y="7"/>
                </a:cubicBezTo>
                <a:cubicBezTo>
                  <a:pt x="30" y="9"/>
                  <a:pt x="30" y="9"/>
                  <a:pt x="30" y="9"/>
                </a:cubicBezTo>
                <a:cubicBezTo>
                  <a:pt x="31" y="9"/>
                  <a:pt x="31" y="9"/>
                  <a:pt x="31" y="9"/>
                </a:cubicBezTo>
                <a:cubicBezTo>
                  <a:pt x="32" y="7"/>
                  <a:pt x="32" y="7"/>
                  <a:pt x="32" y="7"/>
                </a:cubicBezTo>
                <a:cubicBezTo>
                  <a:pt x="32" y="7"/>
                  <a:pt x="32" y="7"/>
                  <a:pt x="32" y="7"/>
                </a:cubicBezTo>
                <a:cubicBezTo>
                  <a:pt x="33" y="7"/>
                  <a:pt x="33" y="7"/>
                  <a:pt x="33" y="7"/>
                </a:cubicBezTo>
                <a:cubicBezTo>
                  <a:pt x="34" y="8"/>
                  <a:pt x="34" y="8"/>
                  <a:pt x="34" y="8"/>
                </a:cubicBezTo>
                <a:cubicBezTo>
                  <a:pt x="36" y="8"/>
                  <a:pt x="36" y="8"/>
                  <a:pt x="36" y="8"/>
                </a:cubicBezTo>
                <a:cubicBezTo>
                  <a:pt x="38" y="8"/>
                  <a:pt x="38" y="8"/>
                  <a:pt x="38" y="8"/>
                </a:cubicBezTo>
                <a:cubicBezTo>
                  <a:pt x="40" y="8"/>
                  <a:pt x="40" y="8"/>
                  <a:pt x="40" y="8"/>
                </a:cubicBezTo>
                <a:cubicBezTo>
                  <a:pt x="40" y="7"/>
                  <a:pt x="40" y="7"/>
                  <a:pt x="40" y="7"/>
                </a:cubicBezTo>
                <a:cubicBezTo>
                  <a:pt x="40" y="5"/>
                  <a:pt x="40" y="5"/>
                  <a:pt x="40" y="5"/>
                </a:cubicBezTo>
                <a:cubicBezTo>
                  <a:pt x="42" y="4"/>
                  <a:pt x="42" y="4"/>
                  <a:pt x="42" y="4"/>
                </a:cubicBezTo>
                <a:cubicBezTo>
                  <a:pt x="42" y="3"/>
                  <a:pt x="42" y="3"/>
                  <a:pt x="42" y="3"/>
                </a:cubicBezTo>
                <a:cubicBezTo>
                  <a:pt x="40" y="2"/>
                  <a:pt x="40" y="2"/>
                  <a:pt x="40" y="2"/>
                </a:cubicBezTo>
                <a:cubicBezTo>
                  <a:pt x="41" y="0"/>
                  <a:pt x="41" y="0"/>
                  <a:pt x="41" y="0"/>
                </a:cubicBezTo>
                <a:close/>
                <a:moveTo>
                  <a:pt x="27" y="49"/>
                </a:moveTo>
                <a:cubicBezTo>
                  <a:pt x="26" y="48"/>
                  <a:pt x="26" y="48"/>
                  <a:pt x="26" y="48"/>
                </a:cubicBezTo>
                <a:cubicBezTo>
                  <a:pt x="26" y="49"/>
                  <a:pt x="26" y="49"/>
                  <a:pt x="26" y="49"/>
                </a:cubicBezTo>
                <a:cubicBezTo>
                  <a:pt x="26" y="50"/>
                  <a:pt x="26" y="50"/>
                  <a:pt x="26" y="50"/>
                </a:cubicBezTo>
                <a:cubicBezTo>
                  <a:pt x="26" y="51"/>
                  <a:pt x="26" y="51"/>
                  <a:pt x="26" y="51"/>
                </a:cubicBezTo>
                <a:cubicBezTo>
                  <a:pt x="27" y="51"/>
                  <a:pt x="27" y="51"/>
                  <a:pt x="27" y="51"/>
                </a:cubicBezTo>
                <a:cubicBezTo>
                  <a:pt x="29" y="51"/>
                  <a:pt x="29" y="51"/>
                  <a:pt x="29" y="51"/>
                </a:cubicBezTo>
                <a:cubicBezTo>
                  <a:pt x="30" y="51"/>
                  <a:pt x="30" y="51"/>
                  <a:pt x="30" y="51"/>
                </a:cubicBezTo>
                <a:cubicBezTo>
                  <a:pt x="31" y="51"/>
                  <a:pt x="31" y="51"/>
                  <a:pt x="31" y="51"/>
                </a:cubicBezTo>
                <a:cubicBezTo>
                  <a:pt x="32" y="51"/>
                  <a:pt x="32" y="51"/>
                  <a:pt x="32" y="51"/>
                </a:cubicBezTo>
                <a:cubicBezTo>
                  <a:pt x="33" y="52"/>
                  <a:pt x="33" y="52"/>
                  <a:pt x="33" y="52"/>
                </a:cubicBezTo>
                <a:cubicBezTo>
                  <a:pt x="33" y="53"/>
                  <a:pt x="33" y="53"/>
                  <a:pt x="33" y="53"/>
                </a:cubicBezTo>
                <a:cubicBezTo>
                  <a:pt x="35" y="53"/>
                  <a:pt x="35" y="53"/>
                  <a:pt x="35" y="53"/>
                </a:cubicBezTo>
                <a:cubicBezTo>
                  <a:pt x="36" y="52"/>
                  <a:pt x="36" y="52"/>
                  <a:pt x="36" y="52"/>
                </a:cubicBezTo>
                <a:cubicBezTo>
                  <a:pt x="38" y="52"/>
                  <a:pt x="38" y="52"/>
                  <a:pt x="38" y="52"/>
                </a:cubicBezTo>
                <a:cubicBezTo>
                  <a:pt x="40" y="52"/>
                  <a:pt x="40" y="52"/>
                  <a:pt x="40" y="52"/>
                </a:cubicBezTo>
                <a:cubicBezTo>
                  <a:pt x="42" y="52"/>
                  <a:pt x="42" y="52"/>
                  <a:pt x="42" y="52"/>
                </a:cubicBezTo>
                <a:cubicBezTo>
                  <a:pt x="43" y="52"/>
                  <a:pt x="43" y="52"/>
                  <a:pt x="43" y="52"/>
                </a:cubicBezTo>
                <a:cubicBezTo>
                  <a:pt x="43" y="51"/>
                  <a:pt x="43" y="51"/>
                  <a:pt x="43" y="51"/>
                </a:cubicBezTo>
                <a:cubicBezTo>
                  <a:pt x="43" y="50"/>
                  <a:pt x="43" y="50"/>
                  <a:pt x="43" y="50"/>
                </a:cubicBezTo>
                <a:cubicBezTo>
                  <a:pt x="43" y="49"/>
                  <a:pt x="43" y="49"/>
                  <a:pt x="43" y="49"/>
                </a:cubicBezTo>
                <a:cubicBezTo>
                  <a:pt x="42" y="50"/>
                  <a:pt x="42" y="50"/>
                  <a:pt x="42" y="50"/>
                </a:cubicBezTo>
                <a:cubicBezTo>
                  <a:pt x="42" y="51"/>
                  <a:pt x="42" y="51"/>
                  <a:pt x="42" y="51"/>
                </a:cubicBezTo>
                <a:cubicBezTo>
                  <a:pt x="42" y="51"/>
                  <a:pt x="42" y="51"/>
                  <a:pt x="42" y="51"/>
                </a:cubicBezTo>
                <a:cubicBezTo>
                  <a:pt x="41" y="51"/>
                  <a:pt x="41" y="51"/>
                  <a:pt x="41" y="51"/>
                </a:cubicBezTo>
                <a:cubicBezTo>
                  <a:pt x="40" y="51"/>
                  <a:pt x="40" y="51"/>
                  <a:pt x="40" y="51"/>
                </a:cubicBezTo>
                <a:cubicBezTo>
                  <a:pt x="40" y="51"/>
                  <a:pt x="40" y="51"/>
                  <a:pt x="40" y="51"/>
                </a:cubicBezTo>
                <a:cubicBezTo>
                  <a:pt x="40" y="50"/>
                  <a:pt x="40" y="50"/>
                  <a:pt x="40" y="50"/>
                </a:cubicBezTo>
                <a:cubicBezTo>
                  <a:pt x="39" y="49"/>
                  <a:pt x="39" y="49"/>
                  <a:pt x="39" y="49"/>
                </a:cubicBezTo>
                <a:cubicBezTo>
                  <a:pt x="39" y="49"/>
                  <a:pt x="39" y="49"/>
                  <a:pt x="39" y="49"/>
                </a:cubicBezTo>
                <a:cubicBezTo>
                  <a:pt x="37" y="49"/>
                  <a:pt x="37" y="49"/>
                  <a:pt x="37" y="49"/>
                </a:cubicBezTo>
                <a:cubicBezTo>
                  <a:pt x="36" y="49"/>
                  <a:pt x="36" y="49"/>
                  <a:pt x="36" y="49"/>
                </a:cubicBezTo>
                <a:cubicBezTo>
                  <a:pt x="34" y="49"/>
                  <a:pt x="34" y="49"/>
                  <a:pt x="34" y="49"/>
                </a:cubicBezTo>
                <a:cubicBezTo>
                  <a:pt x="33" y="50"/>
                  <a:pt x="33" y="50"/>
                  <a:pt x="33" y="50"/>
                </a:cubicBezTo>
                <a:cubicBezTo>
                  <a:pt x="31" y="50"/>
                  <a:pt x="31" y="50"/>
                  <a:pt x="31" y="50"/>
                </a:cubicBezTo>
                <a:cubicBezTo>
                  <a:pt x="31" y="49"/>
                  <a:pt x="31" y="49"/>
                  <a:pt x="31" y="49"/>
                </a:cubicBezTo>
                <a:cubicBezTo>
                  <a:pt x="30" y="49"/>
                  <a:pt x="30" y="49"/>
                  <a:pt x="30" y="49"/>
                </a:cubicBezTo>
                <a:cubicBezTo>
                  <a:pt x="29" y="49"/>
                  <a:pt x="29" y="49"/>
                  <a:pt x="29" y="49"/>
                </a:cubicBezTo>
                <a:cubicBezTo>
                  <a:pt x="30" y="49"/>
                  <a:pt x="30" y="49"/>
                  <a:pt x="30" y="49"/>
                </a:cubicBezTo>
                <a:cubicBezTo>
                  <a:pt x="29" y="48"/>
                  <a:pt x="29" y="48"/>
                  <a:pt x="29" y="48"/>
                </a:cubicBezTo>
                <a:cubicBezTo>
                  <a:pt x="28" y="48"/>
                  <a:pt x="28" y="48"/>
                  <a:pt x="28" y="48"/>
                </a:cubicBezTo>
                <a:cubicBezTo>
                  <a:pt x="29" y="48"/>
                  <a:pt x="29" y="48"/>
                  <a:pt x="29" y="48"/>
                </a:cubicBezTo>
                <a:cubicBezTo>
                  <a:pt x="29" y="48"/>
                  <a:pt x="29" y="48"/>
                  <a:pt x="29" y="48"/>
                </a:cubicBezTo>
                <a:cubicBezTo>
                  <a:pt x="29" y="49"/>
                  <a:pt x="29" y="49"/>
                  <a:pt x="29" y="49"/>
                </a:cubicBezTo>
                <a:cubicBezTo>
                  <a:pt x="28" y="49"/>
                  <a:pt x="28" y="49"/>
                  <a:pt x="28" y="49"/>
                </a:cubicBezTo>
                <a:cubicBezTo>
                  <a:pt x="27" y="48"/>
                  <a:pt x="27" y="48"/>
                  <a:pt x="27" y="48"/>
                </a:cubicBezTo>
                <a:cubicBezTo>
                  <a:pt x="27" y="48"/>
                  <a:pt x="27" y="48"/>
                  <a:pt x="27" y="48"/>
                </a:cubicBezTo>
                <a:cubicBezTo>
                  <a:pt x="27" y="48"/>
                  <a:pt x="27" y="48"/>
                  <a:pt x="27" y="48"/>
                </a:cubicBezTo>
                <a:cubicBezTo>
                  <a:pt x="27" y="49"/>
                  <a:pt x="27" y="49"/>
                  <a:pt x="27" y="49"/>
                </a:cubicBezTo>
                <a:cubicBezTo>
                  <a:pt x="27" y="49"/>
                  <a:pt x="27" y="49"/>
                  <a:pt x="27" y="49"/>
                </a:cubicBezTo>
                <a:close/>
                <a:moveTo>
                  <a:pt x="2" y="17"/>
                </a:moveTo>
                <a:cubicBezTo>
                  <a:pt x="2" y="19"/>
                  <a:pt x="2" y="19"/>
                  <a:pt x="2" y="19"/>
                </a:cubicBezTo>
                <a:cubicBezTo>
                  <a:pt x="2" y="19"/>
                  <a:pt x="2" y="19"/>
                  <a:pt x="2" y="19"/>
                </a:cubicBezTo>
                <a:cubicBezTo>
                  <a:pt x="3" y="20"/>
                  <a:pt x="3" y="20"/>
                  <a:pt x="3" y="20"/>
                </a:cubicBezTo>
                <a:cubicBezTo>
                  <a:pt x="3" y="20"/>
                  <a:pt x="3" y="20"/>
                  <a:pt x="3" y="20"/>
                </a:cubicBezTo>
                <a:cubicBezTo>
                  <a:pt x="3" y="20"/>
                  <a:pt x="3" y="20"/>
                  <a:pt x="3" y="20"/>
                </a:cubicBezTo>
                <a:cubicBezTo>
                  <a:pt x="2" y="20"/>
                  <a:pt x="2" y="20"/>
                  <a:pt x="2" y="20"/>
                </a:cubicBezTo>
                <a:cubicBezTo>
                  <a:pt x="1" y="19"/>
                  <a:pt x="1" y="19"/>
                  <a:pt x="1" y="19"/>
                </a:cubicBezTo>
                <a:cubicBezTo>
                  <a:pt x="1" y="18"/>
                  <a:pt x="1" y="18"/>
                  <a:pt x="1" y="18"/>
                </a:cubicBezTo>
                <a:cubicBezTo>
                  <a:pt x="0" y="18"/>
                  <a:pt x="0" y="18"/>
                  <a:pt x="0" y="18"/>
                </a:cubicBezTo>
                <a:cubicBezTo>
                  <a:pt x="0" y="18"/>
                  <a:pt x="0" y="18"/>
                  <a:pt x="0" y="18"/>
                </a:cubicBezTo>
                <a:cubicBezTo>
                  <a:pt x="1" y="17"/>
                  <a:pt x="1" y="17"/>
                  <a:pt x="1" y="17"/>
                </a:cubicBezTo>
                <a:cubicBezTo>
                  <a:pt x="2" y="17"/>
                  <a:pt x="2" y="17"/>
                  <a:pt x="2" y="17"/>
                </a:cubicBezTo>
                <a:close/>
                <a:moveTo>
                  <a:pt x="6" y="26"/>
                </a:moveTo>
                <a:cubicBezTo>
                  <a:pt x="6" y="26"/>
                  <a:pt x="6" y="26"/>
                  <a:pt x="6" y="26"/>
                </a:cubicBezTo>
                <a:cubicBezTo>
                  <a:pt x="7" y="25"/>
                  <a:pt x="7" y="25"/>
                  <a:pt x="7" y="25"/>
                </a:cubicBezTo>
                <a:cubicBezTo>
                  <a:pt x="7" y="25"/>
                  <a:pt x="7" y="25"/>
                  <a:pt x="7" y="25"/>
                </a:cubicBezTo>
                <a:cubicBezTo>
                  <a:pt x="8" y="26"/>
                  <a:pt x="8" y="26"/>
                  <a:pt x="8" y="26"/>
                </a:cubicBezTo>
                <a:cubicBezTo>
                  <a:pt x="7" y="26"/>
                  <a:pt x="7" y="26"/>
                  <a:pt x="7" y="26"/>
                </a:cubicBezTo>
                <a:cubicBezTo>
                  <a:pt x="7" y="27"/>
                  <a:pt x="7" y="27"/>
                  <a:pt x="7" y="27"/>
                </a:cubicBezTo>
                <a:cubicBezTo>
                  <a:pt x="6" y="26"/>
                  <a:pt x="6" y="26"/>
                  <a:pt x="6" y="26"/>
                </a:cubicBezTo>
                <a:close/>
                <a:moveTo>
                  <a:pt x="7" y="28"/>
                </a:moveTo>
                <a:cubicBezTo>
                  <a:pt x="7" y="27"/>
                  <a:pt x="7" y="27"/>
                  <a:pt x="7" y="27"/>
                </a:cubicBezTo>
                <a:cubicBezTo>
                  <a:pt x="7" y="27"/>
                  <a:pt x="7" y="27"/>
                  <a:pt x="7" y="27"/>
                </a:cubicBezTo>
                <a:cubicBezTo>
                  <a:pt x="8" y="28"/>
                  <a:pt x="8" y="28"/>
                  <a:pt x="8" y="28"/>
                </a:cubicBezTo>
                <a:cubicBezTo>
                  <a:pt x="7" y="29"/>
                  <a:pt x="7" y="29"/>
                  <a:pt x="7" y="29"/>
                </a:cubicBezTo>
                <a:cubicBezTo>
                  <a:pt x="8" y="29"/>
                  <a:pt x="8" y="29"/>
                  <a:pt x="8" y="29"/>
                </a:cubicBezTo>
                <a:cubicBezTo>
                  <a:pt x="8" y="30"/>
                  <a:pt x="8" y="30"/>
                  <a:pt x="8" y="30"/>
                </a:cubicBezTo>
                <a:cubicBezTo>
                  <a:pt x="8" y="30"/>
                  <a:pt x="8" y="30"/>
                  <a:pt x="8" y="30"/>
                </a:cubicBezTo>
                <a:cubicBezTo>
                  <a:pt x="8" y="31"/>
                  <a:pt x="8" y="31"/>
                  <a:pt x="8" y="31"/>
                </a:cubicBezTo>
                <a:cubicBezTo>
                  <a:pt x="7" y="31"/>
                  <a:pt x="7" y="31"/>
                  <a:pt x="7" y="31"/>
                </a:cubicBezTo>
                <a:cubicBezTo>
                  <a:pt x="6" y="30"/>
                  <a:pt x="6" y="30"/>
                  <a:pt x="6" y="30"/>
                </a:cubicBezTo>
                <a:cubicBezTo>
                  <a:pt x="6" y="30"/>
                  <a:pt x="6" y="30"/>
                  <a:pt x="6" y="30"/>
                </a:cubicBezTo>
                <a:cubicBezTo>
                  <a:pt x="6" y="29"/>
                  <a:pt x="6" y="29"/>
                  <a:pt x="6" y="29"/>
                </a:cubicBezTo>
                <a:cubicBezTo>
                  <a:pt x="6" y="30"/>
                  <a:pt x="6" y="30"/>
                  <a:pt x="6" y="30"/>
                </a:cubicBezTo>
                <a:cubicBezTo>
                  <a:pt x="6" y="30"/>
                  <a:pt x="6" y="30"/>
                  <a:pt x="6" y="30"/>
                </a:cubicBezTo>
                <a:cubicBezTo>
                  <a:pt x="5" y="30"/>
                  <a:pt x="5" y="30"/>
                  <a:pt x="5" y="30"/>
                </a:cubicBezTo>
                <a:cubicBezTo>
                  <a:pt x="5" y="29"/>
                  <a:pt x="5" y="29"/>
                  <a:pt x="5" y="29"/>
                </a:cubicBezTo>
                <a:cubicBezTo>
                  <a:pt x="6" y="28"/>
                  <a:pt x="6" y="28"/>
                  <a:pt x="6" y="28"/>
                </a:cubicBezTo>
                <a:cubicBezTo>
                  <a:pt x="7" y="28"/>
                  <a:pt x="7" y="28"/>
                  <a:pt x="7" y="28"/>
                </a:cubicBezTo>
                <a:close/>
                <a:moveTo>
                  <a:pt x="9" y="33"/>
                </a:moveTo>
                <a:cubicBezTo>
                  <a:pt x="9" y="33"/>
                  <a:pt x="9" y="33"/>
                  <a:pt x="9" y="33"/>
                </a:cubicBezTo>
                <a:cubicBezTo>
                  <a:pt x="9" y="33"/>
                  <a:pt x="9" y="33"/>
                  <a:pt x="9" y="33"/>
                </a:cubicBezTo>
                <a:cubicBezTo>
                  <a:pt x="8" y="34"/>
                  <a:pt x="8" y="34"/>
                  <a:pt x="8" y="34"/>
                </a:cubicBezTo>
                <a:cubicBezTo>
                  <a:pt x="8" y="34"/>
                  <a:pt x="8" y="34"/>
                  <a:pt x="8" y="34"/>
                </a:cubicBezTo>
                <a:cubicBezTo>
                  <a:pt x="7" y="33"/>
                  <a:pt x="7" y="33"/>
                  <a:pt x="7" y="33"/>
                </a:cubicBezTo>
                <a:cubicBezTo>
                  <a:pt x="7" y="32"/>
                  <a:pt x="7" y="32"/>
                  <a:pt x="7" y="32"/>
                </a:cubicBezTo>
                <a:cubicBezTo>
                  <a:pt x="7" y="32"/>
                  <a:pt x="7" y="32"/>
                  <a:pt x="7" y="32"/>
                </a:cubicBezTo>
                <a:cubicBezTo>
                  <a:pt x="8" y="32"/>
                  <a:pt x="8" y="32"/>
                  <a:pt x="8" y="32"/>
                </a:cubicBezTo>
                <a:cubicBezTo>
                  <a:pt x="9" y="33"/>
                  <a:pt x="9" y="33"/>
                  <a:pt x="9" y="33"/>
                </a:cubicBezTo>
                <a:close/>
                <a:moveTo>
                  <a:pt x="48" y="47"/>
                </a:moveTo>
                <a:cubicBezTo>
                  <a:pt x="48" y="46"/>
                  <a:pt x="48" y="46"/>
                  <a:pt x="48" y="46"/>
                </a:cubicBezTo>
                <a:cubicBezTo>
                  <a:pt x="48" y="46"/>
                  <a:pt x="48" y="46"/>
                  <a:pt x="48" y="46"/>
                </a:cubicBezTo>
                <a:cubicBezTo>
                  <a:pt x="48" y="46"/>
                  <a:pt x="48" y="46"/>
                  <a:pt x="48" y="46"/>
                </a:cubicBezTo>
                <a:cubicBezTo>
                  <a:pt x="48" y="47"/>
                  <a:pt x="48" y="47"/>
                  <a:pt x="48" y="47"/>
                </a:cubicBezTo>
                <a:close/>
                <a:moveTo>
                  <a:pt x="48" y="50"/>
                </a:moveTo>
                <a:cubicBezTo>
                  <a:pt x="47" y="49"/>
                  <a:pt x="47" y="49"/>
                  <a:pt x="47" y="49"/>
                </a:cubicBezTo>
                <a:cubicBezTo>
                  <a:pt x="47" y="48"/>
                  <a:pt x="47" y="48"/>
                  <a:pt x="47" y="48"/>
                </a:cubicBezTo>
                <a:cubicBezTo>
                  <a:pt x="48" y="47"/>
                  <a:pt x="48" y="47"/>
                  <a:pt x="48" y="47"/>
                </a:cubicBezTo>
                <a:cubicBezTo>
                  <a:pt x="48" y="48"/>
                  <a:pt x="48" y="48"/>
                  <a:pt x="48" y="48"/>
                </a:cubicBezTo>
                <a:cubicBezTo>
                  <a:pt x="48" y="48"/>
                  <a:pt x="48" y="48"/>
                  <a:pt x="48" y="48"/>
                </a:cubicBezTo>
                <a:cubicBezTo>
                  <a:pt x="48" y="50"/>
                  <a:pt x="48" y="50"/>
                  <a:pt x="48" y="50"/>
                </a:cubicBezTo>
                <a:cubicBezTo>
                  <a:pt x="48" y="50"/>
                  <a:pt x="48" y="50"/>
                  <a:pt x="48" y="50"/>
                </a:cubicBezTo>
                <a:close/>
                <a:moveTo>
                  <a:pt x="51" y="46"/>
                </a:moveTo>
                <a:cubicBezTo>
                  <a:pt x="50" y="46"/>
                  <a:pt x="50" y="46"/>
                  <a:pt x="50" y="46"/>
                </a:cubicBezTo>
                <a:cubicBezTo>
                  <a:pt x="51" y="45"/>
                  <a:pt x="51" y="45"/>
                  <a:pt x="51" y="45"/>
                </a:cubicBezTo>
                <a:cubicBezTo>
                  <a:pt x="51" y="45"/>
                  <a:pt x="51" y="45"/>
                  <a:pt x="51" y="45"/>
                </a:cubicBezTo>
                <a:cubicBezTo>
                  <a:pt x="51" y="44"/>
                  <a:pt x="51" y="44"/>
                  <a:pt x="51" y="44"/>
                </a:cubicBezTo>
                <a:cubicBezTo>
                  <a:pt x="52" y="43"/>
                  <a:pt x="52" y="43"/>
                  <a:pt x="52" y="43"/>
                </a:cubicBezTo>
                <a:cubicBezTo>
                  <a:pt x="53" y="42"/>
                  <a:pt x="53" y="42"/>
                  <a:pt x="53" y="42"/>
                </a:cubicBezTo>
                <a:cubicBezTo>
                  <a:pt x="54" y="42"/>
                  <a:pt x="54" y="42"/>
                  <a:pt x="54" y="42"/>
                </a:cubicBezTo>
                <a:cubicBezTo>
                  <a:pt x="54" y="43"/>
                  <a:pt x="54" y="43"/>
                  <a:pt x="54" y="43"/>
                </a:cubicBezTo>
                <a:cubicBezTo>
                  <a:pt x="54" y="43"/>
                  <a:pt x="54" y="43"/>
                  <a:pt x="54" y="43"/>
                </a:cubicBezTo>
                <a:cubicBezTo>
                  <a:pt x="54" y="44"/>
                  <a:pt x="54" y="44"/>
                  <a:pt x="54" y="44"/>
                </a:cubicBezTo>
                <a:cubicBezTo>
                  <a:pt x="53" y="44"/>
                  <a:pt x="53" y="44"/>
                  <a:pt x="53" y="44"/>
                </a:cubicBezTo>
                <a:cubicBezTo>
                  <a:pt x="53" y="45"/>
                  <a:pt x="53" y="45"/>
                  <a:pt x="53" y="45"/>
                </a:cubicBezTo>
                <a:cubicBezTo>
                  <a:pt x="53" y="45"/>
                  <a:pt x="53" y="45"/>
                  <a:pt x="53" y="45"/>
                </a:cubicBezTo>
                <a:cubicBezTo>
                  <a:pt x="52" y="45"/>
                  <a:pt x="52" y="45"/>
                  <a:pt x="52" y="45"/>
                </a:cubicBezTo>
                <a:cubicBezTo>
                  <a:pt x="51" y="46"/>
                  <a:pt x="51" y="46"/>
                  <a:pt x="51" y="46"/>
                </a:cubicBezTo>
                <a:cubicBezTo>
                  <a:pt x="51" y="46"/>
                  <a:pt x="51" y="46"/>
                  <a:pt x="51" y="46"/>
                </a:cubicBezTo>
                <a:close/>
                <a:moveTo>
                  <a:pt x="42" y="42"/>
                </a:moveTo>
                <a:cubicBezTo>
                  <a:pt x="42" y="42"/>
                  <a:pt x="42" y="42"/>
                  <a:pt x="42" y="42"/>
                </a:cubicBezTo>
                <a:cubicBezTo>
                  <a:pt x="42" y="41"/>
                  <a:pt x="42" y="41"/>
                  <a:pt x="42" y="41"/>
                </a:cubicBezTo>
                <a:cubicBezTo>
                  <a:pt x="43" y="41"/>
                  <a:pt x="43" y="41"/>
                  <a:pt x="43" y="41"/>
                </a:cubicBezTo>
                <a:cubicBezTo>
                  <a:pt x="44" y="41"/>
                  <a:pt x="44" y="41"/>
                  <a:pt x="44" y="41"/>
                </a:cubicBezTo>
                <a:cubicBezTo>
                  <a:pt x="43" y="42"/>
                  <a:pt x="43" y="42"/>
                  <a:pt x="43" y="42"/>
                </a:cubicBezTo>
                <a:cubicBezTo>
                  <a:pt x="43" y="42"/>
                  <a:pt x="42" y="42"/>
                  <a:pt x="42" y="42"/>
                </a:cubicBezTo>
                <a:close/>
                <a:moveTo>
                  <a:pt x="42" y="33"/>
                </a:moveTo>
                <a:cubicBezTo>
                  <a:pt x="43" y="32"/>
                  <a:pt x="43" y="32"/>
                  <a:pt x="43" y="32"/>
                </a:cubicBezTo>
                <a:cubicBezTo>
                  <a:pt x="44" y="32"/>
                  <a:pt x="44" y="32"/>
                  <a:pt x="44" y="32"/>
                </a:cubicBezTo>
                <a:cubicBezTo>
                  <a:pt x="45" y="33"/>
                  <a:pt x="45" y="33"/>
                  <a:pt x="45" y="33"/>
                </a:cubicBezTo>
                <a:cubicBezTo>
                  <a:pt x="45" y="33"/>
                  <a:pt x="45" y="33"/>
                  <a:pt x="45" y="33"/>
                </a:cubicBezTo>
                <a:cubicBezTo>
                  <a:pt x="45" y="33"/>
                  <a:pt x="45" y="33"/>
                  <a:pt x="45" y="33"/>
                </a:cubicBezTo>
                <a:cubicBezTo>
                  <a:pt x="46" y="33"/>
                  <a:pt x="46" y="33"/>
                  <a:pt x="46" y="33"/>
                </a:cubicBezTo>
                <a:cubicBezTo>
                  <a:pt x="45" y="34"/>
                  <a:pt x="45" y="34"/>
                  <a:pt x="45" y="34"/>
                </a:cubicBezTo>
                <a:cubicBezTo>
                  <a:pt x="45" y="34"/>
                  <a:pt x="45" y="34"/>
                  <a:pt x="45" y="34"/>
                </a:cubicBezTo>
                <a:cubicBezTo>
                  <a:pt x="44" y="34"/>
                  <a:pt x="44" y="34"/>
                  <a:pt x="44" y="34"/>
                </a:cubicBezTo>
                <a:cubicBezTo>
                  <a:pt x="43" y="33"/>
                  <a:pt x="43" y="33"/>
                  <a:pt x="43" y="33"/>
                </a:cubicBezTo>
                <a:cubicBezTo>
                  <a:pt x="43" y="33"/>
                  <a:pt x="43" y="33"/>
                  <a:pt x="43" y="33"/>
                </a:cubicBezTo>
                <a:cubicBezTo>
                  <a:pt x="42" y="34"/>
                  <a:pt x="42" y="34"/>
                  <a:pt x="42" y="34"/>
                </a:cubicBezTo>
                <a:cubicBezTo>
                  <a:pt x="42" y="33"/>
                  <a:pt x="42" y="33"/>
                  <a:pt x="42" y="33"/>
                </a:cubicBezTo>
                <a:close/>
                <a:moveTo>
                  <a:pt x="40" y="26"/>
                </a:moveTo>
                <a:cubicBezTo>
                  <a:pt x="40" y="28"/>
                  <a:pt x="40" y="28"/>
                  <a:pt x="40" y="28"/>
                </a:cubicBezTo>
                <a:cubicBezTo>
                  <a:pt x="40" y="29"/>
                  <a:pt x="40" y="29"/>
                  <a:pt x="40" y="29"/>
                </a:cubicBezTo>
                <a:cubicBezTo>
                  <a:pt x="39" y="29"/>
                  <a:pt x="39" y="29"/>
                  <a:pt x="39" y="29"/>
                </a:cubicBezTo>
                <a:cubicBezTo>
                  <a:pt x="39" y="29"/>
                  <a:pt x="39" y="29"/>
                  <a:pt x="39" y="29"/>
                </a:cubicBezTo>
                <a:cubicBezTo>
                  <a:pt x="39" y="28"/>
                  <a:pt x="39" y="28"/>
                  <a:pt x="39" y="28"/>
                </a:cubicBezTo>
                <a:cubicBezTo>
                  <a:pt x="39" y="28"/>
                  <a:pt x="39" y="28"/>
                  <a:pt x="39" y="28"/>
                </a:cubicBezTo>
                <a:cubicBezTo>
                  <a:pt x="39" y="27"/>
                  <a:pt x="39" y="27"/>
                  <a:pt x="39" y="27"/>
                </a:cubicBezTo>
                <a:cubicBezTo>
                  <a:pt x="38" y="27"/>
                  <a:pt x="38" y="27"/>
                  <a:pt x="38" y="27"/>
                </a:cubicBezTo>
                <a:cubicBezTo>
                  <a:pt x="38" y="26"/>
                  <a:pt x="38" y="26"/>
                  <a:pt x="38" y="26"/>
                </a:cubicBezTo>
                <a:cubicBezTo>
                  <a:pt x="39" y="26"/>
                  <a:pt x="39" y="26"/>
                  <a:pt x="39" y="26"/>
                </a:cubicBezTo>
                <a:cubicBezTo>
                  <a:pt x="40" y="26"/>
                  <a:pt x="40" y="26"/>
                  <a:pt x="40" y="26"/>
                </a:cubicBezTo>
                <a:cubicBezTo>
                  <a:pt x="40" y="26"/>
                  <a:pt x="40" y="26"/>
                  <a:pt x="40" y="26"/>
                </a:cubicBezTo>
                <a:close/>
                <a:moveTo>
                  <a:pt x="39" y="23"/>
                </a:moveTo>
                <a:cubicBezTo>
                  <a:pt x="38" y="22"/>
                  <a:pt x="38" y="22"/>
                  <a:pt x="38" y="22"/>
                </a:cubicBezTo>
                <a:cubicBezTo>
                  <a:pt x="38" y="21"/>
                  <a:pt x="38" y="21"/>
                  <a:pt x="38" y="21"/>
                </a:cubicBezTo>
                <a:cubicBezTo>
                  <a:pt x="40" y="21"/>
                  <a:pt x="40" y="21"/>
                  <a:pt x="40" y="21"/>
                </a:cubicBezTo>
                <a:cubicBezTo>
                  <a:pt x="40" y="20"/>
                  <a:pt x="40" y="20"/>
                  <a:pt x="40" y="20"/>
                </a:cubicBezTo>
                <a:cubicBezTo>
                  <a:pt x="42" y="20"/>
                  <a:pt x="42" y="20"/>
                  <a:pt x="42" y="20"/>
                </a:cubicBezTo>
                <a:cubicBezTo>
                  <a:pt x="42" y="20"/>
                  <a:pt x="42" y="20"/>
                  <a:pt x="42" y="20"/>
                </a:cubicBezTo>
                <a:cubicBezTo>
                  <a:pt x="42" y="21"/>
                  <a:pt x="42" y="21"/>
                  <a:pt x="42" y="21"/>
                </a:cubicBezTo>
                <a:cubicBezTo>
                  <a:pt x="42" y="21"/>
                  <a:pt x="42" y="21"/>
                  <a:pt x="42" y="21"/>
                </a:cubicBezTo>
                <a:cubicBezTo>
                  <a:pt x="42" y="22"/>
                  <a:pt x="42" y="22"/>
                  <a:pt x="42" y="22"/>
                </a:cubicBezTo>
                <a:cubicBezTo>
                  <a:pt x="42" y="23"/>
                  <a:pt x="42" y="23"/>
                  <a:pt x="42" y="23"/>
                </a:cubicBezTo>
                <a:cubicBezTo>
                  <a:pt x="41" y="23"/>
                  <a:pt x="41" y="23"/>
                  <a:pt x="41" y="23"/>
                </a:cubicBezTo>
                <a:cubicBezTo>
                  <a:pt x="40" y="23"/>
                  <a:pt x="40" y="23"/>
                  <a:pt x="40" y="23"/>
                </a:cubicBezTo>
                <a:cubicBezTo>
                  <a:pt x="40" y="22"/>
                  <a:pt x="40" y="22"/>
                  <a:pt x="40" y="22"/>
                </a:cubicBezTo>
                <a:cubicBezTo>
                  <a:pt x="41" y="22"/>
                  <a:pt x="41" y="22"/>
                  <a:pt x="41" y="22"/>
                </a:cubicBezTo>
                <a:cubicBezTo>
                  <a:pt x="41" y="21"/>
                  <a:pt x="41" y="21"/>
                  <a:pt x="41" y="21"/>
                </a:cubicBezTo>
                <a:cubicBezTo>
                  <a:pt x="40" y="21"/>
                  <a:pt x="40" y="21"/>
                  <a:pt x="40" y="21"/>
                </a:cubicBezTo>
                <a:cubicBezTo>
                  <a:pt x="40" y="22"/>
                  <a:pt x="40" y="22"/>
                  <a:pt x="40" y="22"/>
                </a:cubicBezTo>
                <a:cubicBezTo>
                  <a:pt x="39" y="23"/>
                  <a:pt x="39" y="23"/>
                  <a:pt x="39" y="23"/>
                </a:cubicBezTo>
                <a:cubicBezTo>
                  <a:pt x="39" y="23"/>
                  <a:pt x="39" y="23"/>
                  <a:pt x="39" y="23"/>
                </a:cubicBezTo>
                <a:cubicBezTo>
                  <a:pt x="39" y="23"/>
                  <a:pt x="39" y="23"/>
                  <a:pt x="39" y="23"/>
                </a:cubicBezTo>
                <a:close/>
                <a:moveTo>
                  <a:pt x="35" y="11"/>
                </a:moveTo>
                <a:cubicBezTo>
                  <a:pt x="36" y="11"/>
                  <a:pt x="36" y="11"/>
                  <a:pt x="36" y="11"/>
                </a:cubicBezTo>
                <a:cubicBezTo>
                  <a:pt x="36" y="11"/>
                  <a:pt x="36" y="11"/>
                  <a:pt x="36" y="11"/>
                </a:cubicBezTo>
                <a:cubicBezTo>
                  <a:pt x="37" y="11"/>
                  <a:pt x="37" y="11"/>
                  <a:pt x="37" y="11"/>
                </a:cubicBezTo>
                <a:cubicBezTo>
                  <a:pt x="37" y="12"/>
                  <a:pt x="37" y="12"/>
                  <a:pt x="37" y="12"/>
                </a:cubicBezTo>
                <a:cubicBezTo>
                  <a:pt x="37" y="12"/>
                  <a:pt x="37" y="12"/>
                  <a:pt x="37" y="12"/>
                </a:cubicBezTo>
                <a:cubicBezTo>
                  <a:pt x="35" y="11"/>
                  <a:pt x="35" y="11"/>
                  <a:pt x="35" y="11"/>
                </a:cubicBezTo>
                <a:close/>
                <a:moveTo>
                  <a:pt x="33" y="15"/>
                </a:moveTo>
                <a:cubicBezTo>
                  <a:pt x="34" y="15"/>
                  <a:pt x="34" y="15"/>
                  <a:pt x="34" y="15"/>
                </a:cubicBezTo>
                <a:cubicBezTo>
                  <a:pt x="34" y="15"/>
                  <a:pt x="34" y="15"/>
                  <a:pt x="34" y="15"/>
                </a:cubicBezTo>
                <a:cubicBezTo>
                  <a:pt x="35" y="14"/>
                  <a:pt x="35" y="14"/>
                  <a:pt x="35" y="14"/>
                </a:cubicBezTo>
                <a:cubicBezTo>
                  <a:pt x="35" y="15"/>
                  <a:pt x="35" y="15"/>
                  <a:pt x="35" y="15"/>
                </a:cubicBezTo>
                <a:cubicBezTo>
                  <a:pt x="35" y="16"/>
                  <a:pt x="35" y="16"/>
                  <a:pt x="35" y="16"/>
                </a:cubicBezTo>
                <a:cubicBezTo>
                  <a:pt x="34" y="17"/>
                  <a:pt x="34" y="17"/>
                  <a:pt x="34" y="17"/>
                </a:cubicBezTo>
                <a:cubicBezTo>
                  <a:pt x="34" y="16"/>
                  <a:pt x="34" y="16"/>
                  <a:pt x="34" y="16"/>
                </a:cubicBezTo>
                <a:cubicBezTo>
                  <a:pt x="33" y="17"/>
                  <a:pt x="33" y="17"/>
                  <a:pt x="33" y="17"/>
                </a:cubicBezTo>
                <a:cubicBezTo>
                  <a:pt x="33" y="16"/>
                  <a:pt x="33" y="16"/>
                  <a:pt x="33" y="16"/>
                </a:cubicBezTo>
                <a:cubicBezTo>
                  <a:pt x="32" y="15"/>
                  <a:pt x="32" y="15"/>
                  <a:pt x="32" y="15"/>
                </a:cubicBezTo>
                <a:cubicBezTo>
                  <a:pt x="33" y="15"/>
                  <a:pt x="33" y="15"/>
                  <a:pt x="33" y="15"/>
                </a:cubicBezTo>
                <a:close/>
                <a:moveTo>
                  <a:pt x="30" y="9"/>
                </a:moveTo>
                <a:cubicBezTo>
                  <a:pt x="30" y="9"/>
                  <a:pt x="30" y="9"/>
                  <a:pt x="30" y="9"/>
                </a:cubicBezTo>
                <a:cubicBezTo>
                  <a:pt x="31" y="9"/>
                  <a:pt x="31" y="9"/>
                  <a:pt x="31" y="9"/>
                </a:cubicBezTo>
                <a:cubicBezTo>
                  <a:pt x="31" y="10"/>
                  <a:pt x="31" y="10"/>
                  <a:pt x="31" y="10"/>
                </a:cubicBezTo>
                <a:cubicBezTo>
                  <a:pt x="30" y="11"/>
                  <a:pt x="30" y="11"/>
                  <a:pt x="30" y="11"/>
                </a:cubicBezTo>
                <a:cubicBezTo>
                  <a:pt x="30" y="10"/>
                  <a:pt x="30" y="10"/>
                  <a:pt x="30" y="10"/>
                </a:cubicBezTo>
                <a:cubicBezTo>
                  <a:pt x="29" y="10"/>
                  <a:pt x="29" y="10"/>
                  <a:pt x="29" y="10"/>
                </a:cubicBezTo>
                <a:cubicBezTo>
                  <a:pt x="30" y="9"/>
                  <a:pt x="30" y="9"/>
                  <a:pt x="30" y="9"/>
                </a:cubicBezTo>
                <a:close/>
                <a:moveTo>
                  <a:pt x="24" y="22"/>
                </a:moveTo>
                <a:cubicBezTo>
                  <a:pt x="24" y="22"/>
                  <a:pt x="24" y="22"/>
                  <a:pt x="24" y="22"/>
                </a:cubicBezTo>
                <a:cubicBezTo>
                  <a:pt x="25" y="22"/>
                  <a:pt x="25" y="22"/>
                  <a:pt x="25" y="22"/>
                </a:cubicBezTo>
                <a:cubicBezTo>
                  <a:pt x="25" y="23"/>
                  <a:pt x="25" y="23"/>
                  <a:pt x="25" y="23"/>
                </a:cubicBezTo>
                <a:cubicBezTo>
                  <a:pt x="25" y="23"/>
                  <a:pt x="25" y="23"/>
                  <a:pt x="25" y="23"/>
                </a:cubicBezTo>
                <a:cubicBezTo>
                  <a:pt x="24" y="22"/>
                  <a:pt x="24" y="22"/>
                  <a:pt x="24" y="22"/>
                </a:cubicBezTo>
                <a:close/>
                <a:moveTo>
                  <a:pt x="23" y="22"/>
                </a:moveTo>
                <a:cubicBezTo>
                  <a:pt x="23" y="22"/>
                  <a:pt x="23" y="22"/>
                  <a:pt x="23" y="22"/>
                </a:cubicBezTo>
                <a:cubicBezTo>
                  <a:pt x="24" y="22"/>
                  <a:pt x="24" y="22"/>
                  <a:pt x="24" y="22"/>
                </a:cubicBezTo>
                <a:cubicBezTo>
                  <a:pt x="23" y="22"/>
                  <a:pt x="23" y="22"/>
                  <a:pt x="23" y="22"/>
                </a:cubicBezTo>
                <a:cubicBezTo>
                  <a:pt x="23" y="22"/>
                  <a:pt x="23" y="22"/>
                  <a:pt x="23" y="22"/>
                </a:cubicBezTo>
                <a:close/>
                <a:moveTo>
                  <a:pt x="30" y="23"/>
                </a:moveTo>
                <a:cubicBezTo>
                  <a:pt x="30" y="23"/>
                  <a:pt x="30" y="23"/>
                  <a:pt x="30" y="23"/>
                </a:cubicBezTo>
                <a:cubicBezTo>
                  <a:pt x="31" y="24"/>
                  <a:pt x="31" y="24"/>
                  <a:pt x="31" y="24"/>
                </a:cubicBezTo>
                <a:cubicBezTo>
                  <a:pt x="32" y="24"/>
                  <a:pt x="32" y="24"/>
                  <a:pt x="32" y="24"/>
                </a:cubicBezTo>
                <a:cubicBezTo>
                  <a:pt x="32" y="25"/>
                  <a:pt x="32" y="25"/>
                  <a:pt x="32" y="25"/>
                </a:cubicBezTo>
                <a:cubicBezTo>
                  <a:pt x="31" y="25"/>
                  <a:pt x="31" y="25"/>
                  <a:pt x="31" y="25"/>
                </a:cubicBezTo>
                <a:cubicBezTo>
                  <a:pt x="31" y="24"/>
                  <a:pt x="31" y="24"/>
                  <a:pt x="31" y="24"/>
                </a:cubicBezTo>
                <a:cubicBezTo>
                  <a:pt x="31" y="24"/>
                  <a:pt x="31" y="24"/>
                  <a:pt x="31" y="24"/>
                </a:cubicBezTo>
                <a:cubicBezTo>
                  <a:pt x="30" y="23"/>
                  <a:pt x="30" y="23"/>
                  <a:pt x="30" y="23"/>
                </a:cubicBezTo>
                <a:close/>
                <a:moveTo>
                  <a:pt x="40" y="35"/>
                </a:moveTo>
                <a:cubicBezTo>
                  <a:pt x="40" y="35"/>
                  <a:pt x="40" y="35"/>
                  <a:pt x="40" y="35"/>
                </a:cubicBezTo>
                <a:cubicBezTo>
                  <a:pt x="40" y="34"/>
                  <a:pt x="40" y="34"/>
                  <a:pt x="40" y="34"/>
                </a:cubicBezTo>
                <a:cubicBezTo>
                  <a:pt x="41" y="34"/>
                  <a:pt x="41" y="34"/>
                  <a:pt x="41" y="34"/>
                </a:cubicBezTo>
                <a:cubicBezTo>
                  <a:pt x="41" y="34"/>
                  <a:pt x="41" y="34"/>
                  <a:pt x="41" y="34"/>
                </a:cubicBezTo>
                <a:cubicBezTo>
                  <a:pt x="40" y="35"/>
                  <a:pt x="40" y="35"/>
                  <a:pt x="40" y="35"/>
                </a:cubicBezTo>
                <a:close/>
                <a:moveTo>
                  <a:pt x="30" y="42"/>
                </a:moveTo>
                <a:cubicBezTo>
                  <a:pt x="30" y="41"/>
                  <a:pt x="30" y="41"/>
                  <a:pt x="30" y="41"/>
                </a:cubicBezTo>
                <a:cubicBezTo>
                  <a:pt x="31" y="41"/>
                  <a:pt x="31" y="41"/>
                  <a:pt x="31" y="41"/>
                </a:cubicBezTo>
                <a:cubicBezTo>
                  <a:pt x="31" y="41"/>
                  <a:pt x="31" y="41"/>
                  <a:pt x="31" y="41"/>
                </a:cubicBezTo>
                <a:cubicBezTo>
                  <a:pt x="30" y="42"/>
                  <a:pt x="30" y="42"/>
                  <a:pt x="30" y="42"/>
                </a:cubicBezTo>
                <a:cubicBezTo>
                  <a:pt x="30" y="42"/>
                  <a:pt x="30" y="42"/>
                  <a:pt x="30" y="42"/>
                </a:cubicBezTo>
                <a:close/>
                <a:moveTo>
                  <a:pt x="30" y="38"/>
                </a:moveTo>
                <a:cubicBezTo>
                  <a:pt x="31" y="37"/>
                  <a:pt x="31" y="37"/>
                  <a:pt x="31" y="37"/>
                </a:cubicBezTo>
                <a:cubicBezTo>
                  <a:pt x="31" y="38"/>
                  <a:pt x="31" y="38"/>
                  <a:pt x="31" y="38"/>
                </a:cubicBezTo>
                <a:cubicBezTo>
                  <a:pt x="30" y="38"/>
                  <a:pt x="30" y="38"/>
                  <a:pt x="30" y="38"/>
                </a:cubicBezTo>
                <a:close/>
                <a:moveTo>
                  <a:pt x="30" y="37"/>
                </a:moveTo>
                <a:cubicBezTo>
                  <a:pt x="30" y="36"/>
                  <a:pt x="30" y="36"/>
                  <a:pt x="30" y="36"/>
                </a:cubicBezTo>
                <a:cubicBezTo>
                  <a:pt x="31" y="36"/>
                  <a:pt x="31" y="36"/>
                  <a:pt x="31" y="36"/>
                </a:cubicBezTo>
                <a:cubicBezTo>
                  <a:pt x="31" y="36"/>
                  <a:pt x="31" y="36"/>
                  <a:pt x="31" y="36"/>
                </a:cubicBezTo>
                <a:cubicBezTo>
                  <a:pt x="31" y="36"/>
                  <a:pt x="30" y="37"/>
                  <a:pt x="30" y="37"/>
                </a:cubicBezTo>
                <a:close/>
                <a:moveTo>
                  <a:pt x="29" y="35"/>
                </a:moveTo>
                <a:cubicBezTo>
                  <a:pt x="29" y="35"/>
                  <a:pt x="29" y="35"/>
                  <a:pt x="29" y="35"/>
                </a:cubicBezTo>
                <a:cubicBezTo>
                  <a:pt x="30" y="34"/>
                  <a:pt x="30" y="34"/>
                  <a:pt x="30" y="34"/>
                </a:cubicBezTo>
                <a:cubicBezTo>
                  <a:pt x="30" y="35"/>
                  <a:pt x="30" y="35"/>
                  <a:pt x="30" y="35"/>
                </a:cubicBezTo>
                <a:cubicBezTo>
                  <a:pt x="29" y="35"/>
                  <a:pt x="29" y="35"/>
                  <a:pt x="29" y="35"/>
                </a:cubicBezTo>
                <a:close/>
                <a:moveTo>
                  <a:pt x="35" y="39"/>
                </a:moveTo>
                <a:cubicBezTo>
                  <a:pt x="35" y="38"/>
                  <a:pt x="35" y="38"/>
                  <a:pt x="35" y="38"/>
                </a:cubicBezTo>
                <a:cubicBezTo>
                  <a:pt x="35" y="37"/>
                  <a:pt x="35" y="37"/>
                  <a:pt x="35" y="37"/>
                </a:cubicBezTo>
                <a:cubicBezTo>
                  <a:pt x="35" y="37"/>
                  <a:pt x="35" y="37"/>
                  <a:pt x="35" y="37"/>
                </a:cubicBezTo>
                <a:cubicBezTo>
                  <a:pt x="36" y="38"/>
                  <a:pt x="36" y="38"/>
                  <a:pt x="36" y="38"/>
                </a:cubicBezTo>
                <a:cubicBezTo>
                  <a:pt x="35" y="39"/>
                  <a:pt x="35" y="39"/>
                  <a:pt x="35" y="39"/>
                </a:cubicBezTo>
                <a:close/>
                <a:moveTo>
                  <a:pt x="37" y="39"/>
                </a:moveTo>
                <a:cubicBezTo>
                  <a:pt x="36" y="38"/>
                  <a:pt x="36" y="38"/>
                  <a:pt x="36" y="38"/>
                </a:cubicBezTo>
                <a:cubicBezTo>
                  <a:pt x="37" y="37"/>
                  <a:pt x="37" y="37"/>
                  <a:pt x="37" y="37"/>
                </a:cubicBezTo>
                <a:cubicBezTo>
                  <a:pt x="38" y="37"/>
                  <a:pt x="38" y="37"/>
                  <a:pt x="38" y="37"/>
                </a:cubicBezTo>
                <a:cubicBezTo>
                  <a:pt x="38" y="38"/>
                  <a:pt x="38" y="38"/>
                  <a:pt x="38" y="38"/>
                </a:cubicBezTo>
                <a:cubicBezTo>
                  <a:pt x="37" y="39"/>
                  <a:pt x="37" y="39"/>
                  <a:pt x="37" y="39"/>
                </a:cubicBezTo>
                <a:cubicBezTo>
                  <a:pt x="37" y="39"/>
                  <a:pt x="37" y="39"/>
                  <a:pt x="37" y="39"/>
                </a:cubicBezTo>
                <a:close/>
                <a:moveTo>
                  <a:pt x="36" y="36"/>
                </a:moveTo>
                <a:cubicBezTo>
                  <a:pt x="36" y="35"/>
                  <a:pt x="36" y="35"/>
                  <a:pt x="36" y="35"/>
                </a:cubicBezTo>
                <a:cubicBezTo>
                  <a:pt x="37" y="35"/>
                  <a:pt x="37" y="35"/>
                  <a:pt x="37" y="35"/>
                </a:cubicBezTo>
                <a:cubicBezTo>
                  <a:pt x="36" y="36"/>
                  <a:pt x="36" y="36"/>
                  <a:pt x="36" y="36"/>
                </a:cubicBezTo>
                <a:close/>
                <a:moveTo>
                  <a:pt x="34" y="34"/>
                </a:moveTo>
                <a:cubicBezTo>
                  <a:pt x="35" y="34"/>
                  <a:pt x="35" y="34"/>
                  <a:pt x="35" y="34"/>
                </a:cubicBezTo>
                <a:cubicBezTo>
                  <a:pt x="36" y="35"/>
                  <a:pt x="36" y="35"/>
                  <a:pt x="36" y="35"/>
                </a:cubicBezTo>
                <a:cubicBezTo>
                  <a:pt x="36" y="35"/>
                  <a:pt x="36" y="35"/>
                  <a:pt x="36" y="35"/>
                </a:cubicBezTo>
                <a:cubicBezTo>
                  <a:pt x="35" y="35"/>
                  <a:pt x="35" y="35"/>
                  <a:pt x="35" y="35"/>
                </a:cubicBezTo>
                <a:cubicBezTo>
                  <a:pt x="34" y="34"/>
                  <a:pt x="34" y="34"/>
                  <a:pt x="34" y="34"/>
                </a:cubicBezTo>
                <a:close/>
                <a:moveTo>
                  <a:pt x="32" y="32"/>
                </a:moveTo>
                <a:cubicBezTo>
                  <a:pt x="32" y="32"/>
                  <a:pt x="32" y="32"/>
                  <a:pt x="32" y="32"/>
                </a:cubicBezTo>
                <a:cubicBezTo>
                  <a:pt x="33" y="32"/>
                  <a:pt x="33" y="32"/>
                  <a:pt x="33" y="32"/>
                </a:cubicBezTo>
                <a:cubicBezTo>
                  <a:pt x="34" y="33"/>
                  <a:pt x="34" y="33"/>
                  <a:pt x="34" y="33"/>
                </a:cubicBezTo>
                <a:cubicBezTo>
                  <a:pt x="34" y="34"/>
                  <a:pt x="34" y="34"/>
                  <a:pt x="34" y="34"/>
                </a:cubicBezTo>
                <a:cubicBezTo>
                  <a:pt x="33" y="34"/>
                  <a:pt x="33" y="34"/>
                  <a:pt x="33" y="34"/>
                </a:cubicBezTo>
                <a:cubicBezTo>
                  <a:pt x="32" y="33"/>
                  <a:pt x="32" y="33"/>
                  <a:pt x="32" y="33"/>
                </a:cubicBezTo>
                <a:cubicBezTo>
                  <a:pt x="31" y="32"/>
                  <a:pt x="31" y="32"/>
                  <a:pt x="31" y="32"/>
                </a:cubicBezTo>
                <a:cubicBezTo>
                  <a:pt x="32" y="32"/>
                  <a:pt x="32" y="32"/>
                  <a:pt x="32" y="32"/>
                </a:cubicBezTo>
                <a:close/>
                <a:moveTo>
                  <a:pt x="20" y="24"/>
                </a:moveTo>
                <a:cubicBezTo>
                  <a:pt x="21" y="23"/>
                  <a:pt x="21" y="23"/>
                  <a:pt x="21" y="23"/>
                </a:cubicBezTo>
                <a:cubicBezTo>
                  <a:pt x="22" y="23"/>
                  <a:pt x="22" y="23"/>
                  <a:pt x="22" y="23"/>
                </a:cubicBezTo>
                <a:cubicBezTo>
                  <a:pt x="23" y="24"/>
                  <a:pt x="23" y="24"/>
                  <a:pt x="23" y="24"/>
                </a:cubicBezTo>
                <a:cubicBezTo>
                  <a:pt x="25" y="25"/>
                  <a:pt x="25" y="25"/>
                  <a:pt x="25" y="25"/>
                </a:cubicBezTo>
                <a:cubicBezTo>
                  <a:pt x="26" y="25"/>
                  <a:pt x="26" y="25"/>
                  <a:pt x="26" y="25"/>
                </a:cubicBezTo>
                <a:cubicBezTo>
                  <a:pt x="26" y="25"/>
                  <a:pt x="26" y="25"/>
                  <a:pt x="26" y="25"/>
                </a:cubicBezTo>
                <a:cubicBezTo>
                  <a:pt x="27" y="25"/>
                  <a:pt x="27" y="25"/>
                  <a:pt x="27" y="25"/>
                </a:cubicBezTo>
                <a:cubicBezTo>
                  <a:pt x="27" y="25"/>
                  <a:pt x="27" y="25"/>
                  <a:pt x="27" y="25"/>
                </a:cubicBezTo>
                <a:cubicBezTo>
                  <a:pt x="28" y="27"/>
                  <a:pt x="28" y="27"/>
                  <a:pt x="28" y="27"/>
                </a:cubicBezTo>
                <a:cubicBezTo>
                  <a:pt x="29" y="28"/>
                  <a:pt x="29" y="28"/>
                  <a:pt x="29" y="28"/>
                </a:cubicBezTo>
                <a:cubicBezTo>
                  <a:pt x="29" y="28"/>
                  <a:pt x="29" y="28"/>
                  <a:pt x="29" y="28"/>
                </a:cubicBezTo>
                <a:cubicBezTo>
                  <a:pt x="29" y="29"/>
                  <a:pt x="29" y="29"/>
                  <a:pt x="29" y="29"/>
                </a:cubicBezTo>
                <a:cubicBezTo>
                  <a:pt x="29" y="30"/>
                  <a:pt x="29" y="30"/>
                  <a:pt x="29" y="30"/>
                </a:cubicBezTo>
                <a:cubicBezTo>
                  <a:pt x="30" y="31"/>
                  <a:pt x="30" y="31"/>
                  <a:pt x="30" y="31"/>
                </a:cubicBezTo>
                <a:cubicBezTo>
                  <a:pt x="30" y="30"/>
                  <a:pt x="30" y="30"/>
                  <a:pt x="30" y="30"/>
                </a:cubicBezTo>
                <a:cubicBezTo>
                  <a:pt x="31" y="30"/>
                  <a:pt x="31" y="30"/>
                  <a:pt x="31" y="30"/>
                </a:cubicBezTo>
                <a:cubicBezTo>
                  <a:pt x="31" y="32"/>
                  <a:pt x="31" y="32"/>
                  <a:pt x="31" y="32"/>
                </a:cubicBezTo>
                <a:cubicBezTo>
                  <a:pt x="30" y="31"/>
                  <a:pt x="30" y="31"/>
                  <a:pt x="30" y="31"/>
                </a:cubicBezTo>
                <a:cubicBezTo>
                  <a:pt x="30" y="32"/>
                  <a:pt x="30" y="32"/>
                  <a:pt x="30" y="32"/>
                </a:cubicBezTo>
                <a:cubicBezTo>
                  <a:pt x="29" y="31"/>
                  <a:pt x="29" y="31"/>
                  <a:pt x="29" y="31"/>
                </a:cubicBezTo>
                <a:cubicBezTo>
                  <a:pt x="28" y="30"/>
                  <a:pt x="28" y="30"/>
                  <a:pt x="28" y="30"/>
                </a:cubicBezTo>
                <a:cubicBezTo>
                  <a:pt x="28" y="30"/>
                  <a:pt x="28" y="30"/>
                  <a:pt x="28" y="30"/>
                </a:cubicBezTo>
                <a:cubicBezTo>
                  <a:pt x="28" y="29"/>
                  <a:pt x="28" y="29"/>
                  <a:pt x="28" y="29"/>
                </a:cubicBezTo>
                <a:cubicBezTo>
                  <a:pt x="27" y="28"/>
                  <a:pt x="27" y="28"/>
                  <a:pt x="27" y="28"/>
                </a:cubicBezTo>
                <a:cubicBezTo>
                  <a:pt x="27" y="28"/>
                  <a:pt x="27" y="28"/>
                  <a:pt x="27" y="28"/>
                </a:cubicBezTo>
                <a:cubicBezTo>
                  <a:pt x="26" y="28"/>
                  <a:pt x="26" y="28"/>
                  <a:pt x="26" y="28"/>
                </a:cubicBezTo>
                <a:cubicBezTo>
                  <a:pt x="25" y="27"/>
                  <a:pt x="25" y="27"/>
                  <a:pt x="25" y="27"/>
                </a:cubicBezTo>
                <a:cubicBezTo>
                  <a:pt x="24" y="26"/>
                  <a:pt x="24" y="26"/>
                  <a:pt x="24" y="26"/>
                </a:cubicBezTo>
                <a:cubicBezTo>
                  <a:pt x="24" y="26"/>
                  <a:pt x="24" y="26"/>
                  <a:pt x="24" y="26"/>
                </a:cubicBezTo>
                <a:cubicBezTo>
                  <a:pt x="23" y="25"/>
                  <a:pt x="23" y="25"/>
                  <a:pt x="23" y="25"/>
                </a:cubicBezTo>
                <a:cubicBezTo>
                  <a:pt x="22" y="25"/>
                  <a:pt x="22" y="25"/>
                  <a:pt x="22" y="25"/>
                </a:cubicBezTo>
                <a:cubicBezTo>
                  <a:pt x="22" y="25"/>
                  <a:pt x="22" y="25"/>
                  <a:pt x="22" y="25"/>
                </a:cubicBezTo>
                <a:cubicBezTo>
                  <a:pt x="22" y="24"/>
                  <a:pt x="22" y="24"/>
                  <a:pt x="22" y="24"/>
                </a:cubicBezTo>
                <a:cubicBezTo>
                  <a:pt x="21" y="24"/>
                  <a:pt x="21" y="24"/>
                  <a:pt x="21" y="24"/>
                </a:cubicBezTo>
                <a:cubicBezTo>
                  <a:pt x="20" y="24"/>
                  <a:pt x="20" y="24"/>
                  <a:pt x="20" y="24"/>
                </a:cubicBezTo>
                <a:close/>
                <a:moveTo>
                  <a:pt x="22" y="43"/>
                </a:moveTo>
                <a:cubicBezTo>
                  <a:pt x="22" y="42"/>
                  <a:pt x="22" y="42"/>
                  <a:pt x="22" y="42"/>
                </a:cubicBezTo>
                <a:cubicBezTo>
                  <a:pt x="22" y="43"/>
                  <a:pt x="22" y="43"/>
                  <a:pt x="22" y="43"/>
                </a:cubicBezTo>
                <a:cubicBezTo>
                  <a:pt x="23" y="44"/>
                  <a:pt x="23" y="44"/>
                  <a:pt x="23" y="44"/>
                </a:cubicBezTo>
                <a:cubicBezTo>
                  <a:pt x="22" y="45"/>
                  <a:pt x="22" y="45"/>
                  <a:pt x="22" y="45"/>
                </a:cubicBezTo>
                <a:cubicBezTo>
                  <a:pt x="22" y="45"/>
                  <a:pt x="22" y="45"/>
                  <a:pt x="22" y="45"/>
                </a:cubicBezTo>
                <a:cubicBezTo>
                  <a:pt x="22" y="44"/>
                  <a:pt x="22" y="44"/>
                  <a:pt x="22" y="44"/>
                </a:cubicBezTo>
                <a:cubicBezTo>
                  <a:pt x="21" y="43"/>
                  <a:pt x="21" y="43"/>
                  <a:pt x="21" y="43"/>
                </a:cubicBezTo>
                <a:cubicBezTo>
                  <a:pt x="22" y="43"/>
                  <a:pt x="22" y="43"/>
                  <a:pt x="22" y="43"/>
                </a:cubicBezTo>
                <a:close/>
                <a:moveTo>
                  <a:pt x="22" y="42"/>
                </a:moveTo>
                <a:cubicBezTo>
                  <a:pt x="22" y="42"/>
                  <a:pt x="22" y="42"/>
                  <a:pt x="22" y="42"/>
                </a:cubicBezTo>
                <a:cubicBezTo>
                  <a:pt x="22" y="42"/>
                  <a:pt x="22" y="42"/>
                  <a:pt x="22" y="42"/>
                </a:cubicBez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3" name="Freeform 81">
            <a:extLst>
              <a:ext uri="{FF2B5EF4-FFF2-40B4-BE49-F238E27FC236}">
                <a16:creationId xmlns:a16="http://schemas.microsoft.com/office/drawing/2014/main" id="{EEECA377-8AC4-DACF-343B-9CF53DE9D8FF}"/>
              </a:ext>
            </a:extLst>
          </p:cNvPr>
          <p:cNvSpPr>
            <a:spLocks noEditPoints="1"/>
          </p:cNvSpPr>
          <p:nvPr userDrawn="1"/>
        </p:nvSpPr>
        <p:spPr bwMode="auto">
          <a:xfrm>
            <a:off x="15797773" y="6546137"/>
            <a:ext cx="339704" cy="288926"/>
          </a:xfrm>
          <a:custGeom>
            <a:avLst/>
            <a:gdLst>
              <a:gd name="T0" fmla="*/ 0 w 107"/>
              <a:gd name="T1" fmla="*/ 16 h 91"/>
              <a:gd name="T2" fmla="*/ 19 w 107"/>
              <a:gd name="T3" fmla="*/ 19 h 91"/>
              <a:gd name="T4" fmla="*/ 35 w 107"/>
              <a:gd name="T5" fmla="*/ 22 h 91"/>
              <a:gd name="T6" fmla="*/ 32 w 107"/>
              <a:gd name="T7" fmla="*/ 12 h 91"/>
              <a:gd name="T8" fmla="*/ 28 w 107"/>
              <a:gd name="T9" fmla="*/ 3 h 91"/>
              <a:gd name="T10" fmla="*/ 44 w 107"/>
              <a:gd name="T11" fmla="*/ 9 h 91"/>
              <a:gd name="T12" fmla="*/ 57 w 107"/>
              <a:gd name="T13" fmla="*/ 16 h 91"/>
              <a:gd name="T14" fmla="*/ 63 w 107"/>
              <a:gd name="T15" fmla="*/ 9 h 91"/>
              <a:gd name="T16" fmla="*/ 75 w 107"/>
              <a:gd name="T17" fmla="*/ 3 h 91"/>
              <a:gd name="T18" fmla="*/ 82 w 107"/>
              <a:gd name="T19" fmla="*/ 16 h 91"/>
              <a:gd name="T20" fmla="*/ 91 w 107"/>
              <a:gd name="T21" fmla="*/ 25 h 91"/>
              <a:gd name="T22" fmla="*/ 94 w 107"/>
              <a:gd name="T23" fmla="*/ 31 h 91"/>
              <a:gd name="T24" fmla="*/ 103 w 107"/>
              <a:gd name="T25" fmla="*/ 34 h 91"/>
              <a:gd name="T26" fmla="*/ 103 w 107"/>
              <a:gd name="T27" fmla="*/ 37 h 91"/>
              <a:gd name="T28" fmla="*/ 97 w 107"/>
              <a:gd name="T29" fmla="*/ 41 h 91"/>
              <a:gd name="T30" fmla="*/ 91 w 107"/>
              <a:gd name="T31" fmla="*/ 50 h 91"/>
              <a:gd name="T32" fmla="*/ 91 w 107"/>
              <a:gd name="T33" fmla="*/ 56 h 91"/>
              <a:gd name="T34" fmla="*/ 91 w 107"/>
              <a:gd name="T35" fmla="*/ 62 h 91"/>
              <a:gd name="T36" fmla="*/ 88 w 107"/>
              <a:gd name="T37" fmla="*/ 66 h 91"/>
              <a:gd name="T38" fmla="*/ 88 w 107"/>
              <a:gd name="T39" fmla="*/ 75 h 91"/>
              <a:gd name="T40" fmla="*/ 88 w 107"/>
              <a:gd name="T41" fmla="*/ 69 h 91"/>
              <a:gd name="T42" fmla="*/ 85 w 107"/>
              <a:gd name="T43" fmla="*/ 69 h 91"/>
              <a:gd name="T44" fmla="*/ 85 w 107"/>
              <a:gd name="T45" fmla="*/ 75 h 91"/>
              <a:gd name="T46" fmla="*/ 85 w 107"/>
              <a:gd name="T47" fmla="*/ 81 h 91"/>
              <a:gd name="T48" fmla="*/ 82 w 107"/>
              <a:gd name="T49" fmla="*/ 91 h 91"/>
              <a:gd name="T50" fmla="*/ 78 w 107"/>
              <a:gd name="T51" fmla="*/ 87 h 91"/>
              <a:gd name="T52" fmla="*/ 69 w 107"/>
              <a:gd name="T53" fmla="*/ 78 h 91"/>
              <a:gd name="T54" fmla="*/ 69 w 107"/>
              <a:gd name="T55" fmla="*/ 72 h 91"/>
              <a:gd name="T56" fmla="*/ 72 w 107"/>
              <a:gd name="T57" fmla="*/ 66 h 91"/>
              <a:gd name="T58" fmla="*/ 66 w 107"/>
              <a:gd name="T59" fmla="*/ 62 h 91"/>
              <a:gd name="T60" fmla="*/ 66 w 107"/>
              <a:gd name="T61" fmla="*/ 59 h 91"/>
              <a:gd name="T62" fmla="*/ 60 w 107"/>
              <a:gd name="T63" fmla="*/ 62 h 91"/>
              <a:gd name="T64" fmla="*/ 53 w 107"/>
              <a:gd name="T65" fmla="*/ 66 h 91"/>
              <a:gd name="T66" fmla="*/ 47 w 107"/>
              <a:gd name="T67" fmla="*/ 72 h 91"/>
              <a:gd name="T68" fmla="*/ 44 w 107"/>
              <a:gd name="T69" fmla="*/ 75 h 91"/>
              <a:gd name="T70" fmla="*/ 41 w 107"/>
              <a:gd name="T71" fmla="*/ 78 h 91"/>
              <a:gd name="T72" fmla="*/ 38 w 107"/>
              <a:gd name="T73" fmla="*/ 75 h 91"/>
              <a:gd name="T74" fmla="*/ 41 w 107"/>
              <a:gd name="T75" fmla="*/ 72 h 91"/>
              <a:gd name="T76" fmla="*/ 41 w 107"/>
              <a:gd name="T77" fmla="*/ 66 h 91"/>
              <a:gd name="T78" fmla="*/ 32 w 107"/>
              <a:gd name="T79" fmla="*/ 59 h 91"/>
              <a:gd name="T80" fmla="*/ 19 w 107"/>
              <a:gd name="T81" fmla="*/ 50 h 91"/>
              <a:gd name="T82" fmla="*/ 22 w 107"/>
              <a:gd name="T83" fmla="*/ 44 h 91"/>
              <a:gd name="T84" fmla="*/ 16 w 107"/>
              <a:gd name="T85" fmla="*/ 31 h 91"/>
              <a:gd name="T86" fmla="*/ 13 w 107"/>
              <a:gd name="T87" fmla="*/ 22 h 91"/>
              <a:gd name="T88" fmla="*/ 0 w 107"/>
              <a:gd name="T89" fmla="*/ 19 h 91"/>
              <a:gd name="T90" fmla="*/ 35 w 107"/>
              <a:gd name="T91" fmla="*/ 78 h 91"/>
              <a:gd name="T92" fmla="*/ 19 w 107"/>
              <a:gd name="T93" fmla="*/ 62 h 91"/>
              <a:gd name="T94" fmla="*/ 13 w 107"/>
              <a:gd name="T95" fmla="*/ 56 h 91"/>
              <a:gd name="T96" fmla="*/ 7 w 107"/>
              <a:gd name="T97" fmla="*/ 53 h 91"/>
              <a:gd name="T98" fmla="*/ 0 w 107"/>
              <a:gd name="T99" fmla="*/ 56 h 91"/>
              <a:gd name="T100" fmla="*/ 0 w 107"/>
              <a:gd name="T101" fmla="*/ 56 h 91"/>
              <a:gd name="T102" fmla="*/ 7 w 107"/>
              <a:gd name="T103" fmla="*/ 59 h 91"/>
              <a:gd name="T104" fmla="*/ 7 w 107"/>
              <a:gd name="T105" fmla="*/ 66 h 91"/>
              <a:gd name="T106" fmla="*/ 16 w 107"/>
              <a:gd name="T107" fmla="*/ 75 h 91"/>
              <a:gd name="T108" fmla="*/ 28 w 107"/>
              <a:gd name="T109" fmla="*/ 78 h 91"/>
              <a:gd name="T110" fmla="*/ 35 w 107"/>
              <a:gd name="T111" fmla="*/ 7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 h="91">
                <a:moveTo>
                  <a:pt x="0" y="19"/>
                </a:moveTo>
                <a:lnTo>
                  <a:pt x="0" y="16"/>
                </a:lnTo>
                <a:lnTo>
                  <a:pt x="10" y="12"/>
                </a:lnTo>
                <a:lnTo>
                  <a:pt x="19" y="19"/>
                </a:lnTo>
                <a:lnTo>
                  <a:pt x="28" y="19"/>
                </a:lnTo>
                <a:lnTo>
                  <a:pt x="35" y="22"/>
                </a:lnTo>
                <a:lnTo>
                  <a:pt x="35" y="16"/>
                </a:lnTo>
                <a:lnTo>
                  <a:pt x="32" y="12"/>
                </a:lnTo>
                <a:lnTo>
                  <a:pt x="28" y="9"/>
                </a:lnTo>
                <a:lnTo>
                  <a:pt x="28" y="3"/>
                </a:lnTo>
                <a:lnTo>
                  <a:pt x="35" y="3"/>
                </a:lnTo>
                <a:lnTo>
                  <a:pt x="44" y="9"/>
                </a:lnTo>
                <a:lnTo>
                  <a:pt x="47" y="16"/>
                </a:lnTo>
                <a:lnTo>
                  <a:pt x="57" y="16"/>
                </a:lnTo>
                <a:lnTo>
                  <a:pt x="57" y="12"/>
                </a:lnTo>
                <a:lnTo>
                  <a:pt x="63" y="9"/>
                </a:lnTo>
                <a:lnTo>
                  <a:pt x="69" y="0"/>
                </a:lnTo>
                <a:lnTo>
                  <a:pt x="75" y="3"/>
                </a:lnTo>
                <a:lnTo>
                  <a:pt x="82" y="12"/>
                </a:lnTo>
                <a:lnTo>
                  <a:pt x="82" y="16"/>
                </a:lnTo>
                <a:lnTo>
                  <a:pt x="82" y="22"/>
                </a:lnTo>
                <a:lnTo>
                  <a:pt x="91" y="25"/>
                </a:lnTo>
                <a:lnTo>
                  <a:pt x="91" y="28"/>
                </a:lnTo>
                <a:lnTo>
                  <a:pt x="94" y="31"/>
                </a:lnTo>
                <a:lnTo>
                  <a:pt x="100" y="31"/>
                </a:lnTo>
                <a:lnTo>
                  <a:pt x="103" y="34"/>
                </a:lnTo>
                <a:lnTo>
                  <a:pt x="107" y="37"/>
                </a:lnTo>
                <a:lnTo>
                  <a:pt x="103" y="37"/>
                </a:lnTo>
                <a:lnTo>
                  <a:pt x="103" y="41"/>
                </a:lnTo>
                <a:lnTo>
                  <a:pt x="97" y="41"/>
                </a:lnTo>
                <a:lnTo>
                  <a:pt x="91" y="44"/>
                </a:lnTo>
                <a:lnTo>
                  <a:pt x="91" y="50"/>
                </a:lnTo>
                <a:lnTo>
                  <a:pt x="91" y="53"/>
                </a:lnTo>
                <a:lnTo>
                  <a:pt x="91" y="56"/>
                </a:lnTo>
                <a:lnTo>
                  <a:pt x="91" y="59"/>
                </a:lnTo>
                <a:lnTo>
                  <a:pt x="91" y="62"/>
                </a:lnTo>
                <a:lnTo>
                  <a:pt x="91" y="66"/>
                </a:lnTo>
                <a:lnTo>
                  <a:pt x="88" y="66"/>
                </a:lnTo>
                <a:lnTo>
                  <a:pt x="88" y="72"/>
                </a:lnTo>
                <a:lnTo>
                  <a:pt x="88" y="75"/>
                </a:lnTo>
                <a:lnTo>
                  <a:pt x="88" y="75"/>
                </a:lnTo>
                <a:lnTo>
                  <a:pt x="88" y="69"/>
                </a:lnTo>
                <a:lnTo>
                  <a:pt x="85" y="66"/>
                </a:lnTo>
                <a:lnTo>
                  <a:pt x="85" y="69"/>
                </a:lnTo>
                <a:lnTo>
                  <a:pt x="82" y="72"/>
                </a:lnTo>
                <a:lnTo>
                  <a:pt x="85" y="75"/>
                </a:lnTo>
                <a:lnTo>
                  <a:pt x="85" y="78"/>
                </a:lnTo>
                <a:lnTo>
                  <a:pt x="85" y="81"/>
                </a:lnTo>
                <a:lnTo>
                  <a:pt x="85" y="87"/>
                </a:lnTo>
                <a:lnTo>
                  <a:pt x="82" y="91"/>
                </a:lnTo>
                <a:lnTo>
                  <a:pt x="78" y="87"/>
                </a:lnTo>
                <a:lnTo>
                  <a:pt x="78" y="87"/>
                </a:lnTo>
                <a:lnTo>
                  <a:pt x="75" y="84"/>
                </a:lnTo>
                <a:lnTo>
                  <a:pt x="69" y="78"/>
                </a:lnTo>
                <a:lnTo>
                  <a:pt x="75" y="72"/>
                </a:lnTo>
                <a:lnTo>
                  <a:pt x="69" y="72"/>
                </a:lnTo>
                <a:lnTo>
                  <a:pt x="69" y="69"/>
                </a:lnTo>
                <a:lnTo>
                  <a:pt x="72" y="66"/>
                </a:lnTo>
                <a:lnTo>
                  <a:pt x="69" y="62"/>
                </a:lnTo>
                <a:lnTo>
                  <a:pt x="66" y="62"/>
                </a:lnTo>
                <a:lnTo>
                  <a:pt x="66" y="59"/>
                </a:lnTo>
                <a:lnTo>
                  <a:pt x="66" y="59"/>
                </a:lnTo>
                <a:lnTo>
                  <a:pt x="63" y="59"/>
                </a:lnTo>
                <a:lnTo>
                  <a:pt x="60" y="62"/>
                </a:lnTo>
                <a:lnTo>
                  <a:pt x="57" y="62"/>
                </a:lnTo>
                <a:lnTo>
                  <a:pt x="53" y="66"/>
                </a:lnTo>
                <a:lnTo>
                  <a:pt x="53" y="66"/>
                </a:lnTo>
                <a:lnTo>
                  <a:pt x="47" y="72"/>
                </a:lnTo>
                <a:lnTo>
                  <a:pt x="47" y="72"/>
                </a:lnTo>
                <a:lnTo>
                  <a:pt x="44" y="75"/>
                </a:lnTo>
                <a:lnTo>
                  <a:pt x="44" y="75"/>
                </a:lnTo>
                <a:lnTo>
                  <a:pt x="41" y="78"/>
                </a:lnTo>
                <a:lnTo>
                  <a:pt x="38" y="75"/>
                </a:lnTo>
                <a:lnTo>
                  <a:pt x="38" y="75"/>
                </a:lnTo>
                <a:lnTo>
                  <a:pt x="38" y="72"/>
                </a:lnTo>
                <a:lnTo>
                  <a:pt x="41" y="72"/>
                </a:lnTo>
                <a:lnTo>
                  <a:pt x="38" y="66"/>
                </a:lnTo>
                <a:lnTo>
                  <a:pt x="41" y="66"/>
                </a:lnTo>
                <a:lnTo>
                  <a:pt x="38" y="59"/>
                </a:lnTo>
                <a:lnTo>
                  <a:pt x="32" y="59"/>
                </a:lnTo>
                <a:lnTo>
                  <a:pt x="22" y="56"/>
                </a:lnTo>
                <a:lnTo>
                  <a:pt x="19" y="50"/>
                </a:lnTo>
                <a:lnTo>
                  <a:pt x="22" y="47"/>
                </a:lnTo>
                <a:lnTo>
                  <a:pt x="22" y="44"/>
                </a:lnTo>
                <a:lnTo>
                  <a:pt x="16" y="34"/>
                </a:lnTo>
                <a:lnTo>
                  <a:pt x="16" y="31"/>
                </a:lnTo>
                <a:lnTo>
                  <a:pt x="16" y="28"/>
                </a:lnTo>
                <a:lnTo>
                  <a:pt x="13" y="22"/>
                </a:lnTo>
                <a:lnTo>
                  <a:pt x="3" y="22"/>
                </a:lnTo>
                <a:lnTo>
                  <a:pt x="0" y="19"/>
                </a:lnTo>
                <a:lnTo>
                  <a:pt x="0" y="19"/>
                </a:lnTo>
                <a:close/>
                <a:moveTo>
                  <a:pt x="35" y="78"/>
                </a:moveTo>
                <a:lnTo>
                  <a:pt x="25" y="62"/>
                </a:lnTo>
                <a:lnTo>
                  <a:pt x="19" y="62"/>
                </a:lnTo>
                <a:lnTo>
                  <a:pt x="16" y="56"/>
                </a:lnTo>
                <a:lnTo>
                  <a:pt x="13" y="56"/>
                </a:lnTo>
                <a:lnTo>
                  <a:pt x="13" y="59"/>
                </a:lnTo>
                <a:lnTo>
                  <a:pt x="7" y="53"/>
                </a:lnTo>
                <a:lnTo>
                  <a:pt x="3" y="56"/>
                </a:lnTo>
                <a:lnTo>
                  <a:pt x="0" y="56"/>
                </a:lnTo>
                <a:lnTo>
                  <a:pt x="0" y="56"/>
                </a:lnTo>
                <a:lnTo>
                  <a:pt x="0" y="56"/>
                </a:lnTo>
                <a:lnTo>
                  <a:pt x="3" y="59"/>
                </a:lnTo>
                <a:lnTo>
                  <a:pt x="7" y="59"/>
                </a:lnTo>
                <a:lnTo>
                  <a:pt x="10" y="62"/>
                </a:lnTo>
                <a:lnTo>
                  <a:pt x="7" y="66"/>
                </a:lnTo>
                <a:lnTo>
                  <a:pt x="16" y="72"/>
                </a:lnTo>
                <a:lnTo>
                  <a:pt x="16" y="75"/>
                </a:lnTo>
                <a:lnTo>
                  <a:pt x="22" y="78"/>
                </a:lnTo>
                <a:lnTo>
                  <a:pt x="28" y="78"/>
                </a:lnTo>
                <a:lnTo>
                  <a:pt x="32" y="81"/>
                </a:lnTo>
                <a:lnTo>
                  <a:pt x="35" y="78"/>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4" name="Freeform 82">
            <a:extLst>
              <a:ext uri="{FF2B5EF4-FFF2-40B4-BE49-F238E27FC236}">
                <a16:creationId xmlns:a16="http://schemas.microsoft.com/office/drawing/2014/main" id="{DE9BCCB0-08C2-2007-D231-67770D30D14F}"/>
              </a:ext>
            </a:extLst>
          </p:cNvPr>
          <p:cNvSpPr>
            <a:spLocks/>
          </p:cNvSpPr>
          <p:nvPr userDrawn="1"/>
        </p:nvSpPr>
        <p:spPr bwMode="auto">
          <a:xfrm>
            <a:off x="15769198" y="6723933"/>
            <a:ext cx="1279443" cy="1035050"/>
          </a:xfrm>
          <a:custGeom>
            <a:avLst/>
            <a:gdLst>
              <a:gd name="T0" fmla="*/ 19 w 403"/>
              <a:gd name="T1" fmla="*/ 6 h 326"/>
              <a:gd name="T2" fmla="*/ 37 w 403"/>
              <a:gd name="T3" fmla="*/ 22 h 326"/>
              <a:gd name="T4" fmla="*/ 50 w 403"/>
              <a:gd name="T5" fmla="*/ 22 h 326"/>
              <a:gd name="T6" fmla="*/ 62 w 403"/>
              <a:gd name="T7" fmla="*/ 10 h 326"/>
              <a:gd name="T8" fmla="*/ 75 w 403"/>
              <a:gd name="T9" fmla="*/ 3 h 326"/>
              <a:gd name="T10" fmla="*/ 78 w 403"/>
              <a:gd name="T11" fmla="*/ 13 h 326"/>
              <a:gd name="T12" fmla="*/ 87 w 403"/>
              <a:gd name="T13" fmla="*/ 31 h 326"/>
              <a:gd name="T14" fmla="*/ 97 w 403"/>
              <a:gd name="T15" fmla="*/ 38 h 326"/>
              <a:gd name="T16" fmla="*/ 103 w 403"/>
              <a:gd name="T17" fmla="*/ 53 h 326"/>
              <a:gd name="T18" fmla="*/ 125 w 403"/>
              <a:gd name="T19" fmla="*/ 57 h 326"/>
              <a:gd name="T20" fmla="*/ 153 w 403"/>
              <a:gd name="T21" fmla="*/ 72 h 326"/>
              <a:gd name="T22" fmla="*/ 200 w 403"/>
              <a:gd name="T23" fmla="*/ 69 h 326"/>
              <a:gd name="T24" fmla="*/ 209 w 403"/>
              <a:gd name="T25" fmla="*/ 50 h 326"/>
              <a:gd name="T26" fmla="*/ 234 w 403"/>
              <a:gd name="T27" fmla="*/ 35 h 326"/>
              <a:gd name="T28" fmla="*/ 253 w 403"/>
              <a:gd name="T29" fmla="*/ 31 h 326"/>
              <a:gd name="T30" fmla="*/ 284 w 403"/>
              <a:gd name="T31" fmla="*/ 44 h 326"/>
              <a:gd name="T32" fmla="*/ 303 w 403"/>
              <a:gd name="T33" fmla="*/ 53 h 326"/>
              <a:gd name="T34" fmla="*/ 334 w 403"/>
              <a:gd name="T35" fmla="*/ 75 h 326"/>
              <a:gd name="T36" fmla="*/ 337 w 403"/>
              <a:gd name="T37" fmla="*/ 94 h 326"/>
              <a:gd name="T38" fmla="*/ 337 w 403"/>
              <a:gd name="T39" fmla="*/ 107 h 326"/>
              <a:gd name="T40" fmla="*/ 331 w 403"/>
              <a:gd name="T41" fmla="*/ 122 h 326"/>
              <a:gd name="T42" fmla="*/ 341 w 403"/>
              <a:gd name="T43" fmla="*/ 135 h 326"/>
              <a:gd name="T44" fmla="*/ 341 w 403"/>
              <a:gd name="T45" fmla="*/ 169 h 326"/>
              <a:gd name="T46" fmla="*/ 362 w 403"/>
              <a:gd name="T47" fmla="*/ 194 h 326"/>
              <a:gd name="T48" fmla="*/ 362 w 403"/>
              <a:gd name="T49" fmla="*/ 241 h 326"/>
              <a:gd name="T50" fmla="*/ 384 w 403"/>
              <a:gd name="T51" fmla="*/ 254 h 326"/>
              <a:gd name="T52" fmla="*/ 391 w 403"/>
              <a:gd name="T53" fmla="*/ 272 h 326"/>
              <a:gd name="T54" fmla="*/ 400 w 403"/>
              <a:gd name="T55" fmla="*/ 291 h 326"/>
              <a:gd name="T56" fmla="*/ 375 w 403"/>
              <a:gd name="T57" fmla="*/ 297 h 326"/>
              <a:gd name="T58" fmla="*/ 375 w 403"/>
              <a:gd name="T59" fmla="*/ 322 h 326"/>
              <a:gd name="T60" fmla="*/ 356 w 403"/>
              <a:gd name="T61" fmla="*/ 319 h 326"/>
              <a:gd name="T62" fmla="*/ 347 w 403"/>
              <a:gd name="T63" fmla="*/ 319 h 326"/>
              <a:gd name="T64" fmla="*/ 319 w 403"/>
              <a:gd name="T65" fmla="*/ 316 h 326"/>
              <a:gd name="T66" fmla="*/ 297 w 403"/>
              <a:gd name="T67" fmla="*/ 313 h 326"/>
              <a:gd name="T68" fmla="*/ 281 w 403"/>
              <a:gd name="T69" fmla="*/ 297 h 326"/>
              <a:gd name="T70" fmla="*/ 272 w 403"/>
              <a:gd name="T71" fmla="*/ 282 h 326"/>
              <a:gd name="T72" fmla="*/ 253 w 403"/>
              <a:gd name="T73" fmla="*/ 282 h 326"/>
              <a:gd name="T74" fmla="*/ 222 w 403"/>
              <a:gd name="T75" fmla="*/ 288 h 326"/>
              <a:gd name="T76" fmla="*/ 203 w 403"/>
              <a:gd name="T77" fmla="*/ 282 h 326"/>
              <a:gd name="T78" fmla="*/ 191 w 403"/>
              <a:gd name="T79" fmla="*/ 272 h 326"/>
              <a:gd name="T80" fmla="*/ 169 w 403"/>
              <a:gd name="T81" fmla="*/ 266 h 326"/>
              <a:gd name="T82" fmla="*/ 153 w 403"/>
              <a:gd name="T83" fmla="*/ 244 h 326"/>
              <a:gd name="T84" fmla="*/ 153 w 403"/>
              <a:gd name="T85" fmla="*/ 241 h 326"/>
              <a:gd name="T86" fmla="*/ 137 w 403"/>
              <a:gd name="T87" fmla="*/ 216 h 326"/>
              <a:gd name="T88" fmla="*/ 125 w 403"/>
              <a:gd name="T89" fmla="*/ 216 h 326"/>
              <a:gd name="T90" fmla="*/ 116 w 403"/>
              <a:gd name="T91" fmla="*/ 213 h 326"/>
              <a:gd name="T92" fmla="*/ 112 w 403"/>
              <a:gd name="T93" fmla="*/ 219 h 326"/>
              <a:gd name="T94" fmla="*/ 103 w 403"/>
              <a:gd name="T95" fmla="*/ 213 h 326"/>
              <a:gd name="T96" fmla="*/ 91 w 403"/>
              <a:gd name="T97" fmla="*/ 188 h 326"/>
              <a:gd name="T98" fmla="*/ 81 w 403"/>
              <a:gd name="T99" fmla="*/ 163 h 326"/>
              <a:gd name="T100" fmla="*/ 53 w 403"/>
              <a:gd name="T101" fmla="*/ 153 h 326"/>
              <a:gd name="T102" fmla="*/ 50 w 403"/>
              <a:gd name="T103" fmla="*/ 141 h 326"/>
              <a:gd name="T104" fmla="*/ 44 w 403"/>
              <a:gd name="T105" fmla="*/ 132 h 326"/>
              <a:gd name="T106" fmla="*/ 47 w 403"/>
              <a:gd name="T107" fmla="*/ 113 h 326"/>
              <a:gd name="T108" fmla="*/ 50 w 403"/>
              <a:gd name="T109" fmla="*/ 97 h 326"/>
              <a:gd name="T110" fmla="*/ 53 w 403"/>
              <a:gd name="T111" fmla="*/ 91 h 326"/>
              <a:gd name="T112" fmla="*/ 31 w 403"/>
              <a:gd name="T113" fmla="*/ 85 h 326"/>
              <a:gd name="T114" fmla="*/ 22 w 403"/>
              <a:gd name="T115" fmla="*/ 69 h 326"/>
              <a:gd name="T116" fmla="*/ 16 w 403"/>
              <a:gd name="T117" fmla="*/ 57 h 326"/>
              <a:gd name="T118" fmla="*/ 9 w 403"/>
              <a:gd name="T119" fmla="*/ 35 h 326"/>
              <a:gd name="T120" fmla="*/ 3 w 403"/>
              <a:gd name="T121" fmla="*/ 13 h 326"/>
              <a:gd name="T122" fmla="*/ 9 w 403"/>
              <a:gd name="T123"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3" h="326">
                <a:moveTo>
                  <a:pt x="9" y="0"/>
                </a:moveTo>
                <a:lnTo>
                  <a:pt x="9" y="0"/>
                </a:lnTo>
                <a:lnTo>
                  <a:pt x="12" y="3"/>
                </a:lnTo>
                <a:lnTo>
                  <a:pt x="16" y="3"/>
                </a:lnTo>
                <a:lnTo>
                  <a:pt x="19" y="6"/>
                </a:lnTo>
                <a:lnTo>
                  <a:pt x="16" y="10"/>
                </a:lnTo>
                <a:lnTo>
                  <a:pt x="25" y="16"/>
                </a:lnTo>
                <a:lnTo>
                  <a:pt x="25" y="19"/>
                </a:lnTo>
                <a:lnTo>
                  <a:pt x="31" y="22"/>
                </a:lnTo>
                <a:lnTo>
                  <a:pt x="37" y="22"/>
                </a:lnTo>
                <a:lnTo>
                  <a:pt x="41" y="25"/>
                </a:lnTo>
                <a:lnTo>
                  <a:pt x="44" y="22"/>
                </a:lnTo>
                <a:lnTo>
                  <a:pt x="44" y="22"/>
                </a:lnTo>
                <a:lnTo>
                  <a:pt x="47" y="19"/>
                </a:lnTo>
                <a:lnTo>
                  <a:pt x="50" y="22"/>
                </a:lnTo>
                <a:lnTo>
                  <a:pt x="53" y="19"/>
                </a:lnTo>
                <a:lnTo>
                  <a:pt x="53" y="19"/>
                </a:lnTo>
                <a:lnTo>
                  <a:pt x="56" y="16"/>
                </a:lnTo>
                <a:lnTo>
                  <a:pt x="56" y="16"/>
                </a:lnTo>
                <a:lnTo>
                  <a:pt x="62" y="10"/>
                </a:lnTo>
                <a:lnTo>
                  <a:pt x="62" y="10"/>
                </a:lnTo>
                <a:lnTo>
                  <a:pt x="66" y="6"/>
                </a:lnTo>
                <a:lnTo>
                  <a:pt x="69" y="6"/>
                </a:lnTo>
                <a:lnTo>
                  <a:pt x="72" y="3"/>
                </a:lnTo>
                <a:lnTo>
                  <a:pt x="75" y="3"/>
                </a:lnTo>
                <a:lnTo>
                  <a:pt x="75" y="3"/>
                </a:lnTo>
                <a:lnTo>
                  <a:pt x="75" y="6"/>
                </a:lnTo>
                <a:lnTo>
                  <a:pt x="78" y="6"/>
                </a:lnTo>
                <a:lnTo>
                  <a:pt x="81" y="10"/>
                </a:lnTo>
                <a:lnTo>
                  <a:pt x="78" y="13"/>
                </a:lnTo>
                <a:lnTo>
                  <a:pt x="78" y="16"/>
                </a:lnTo>
                <a:lnTo>
                  <a:pt x="84" y="16"/>
                </a:lnTo>
                <a:lnTo>
                  <a:pt x="78" y="22"/>
                </a:lnTo>
                <a:lnTo>
                  <a:pt x="84" y="28"/>
                </a:lnTo>
                <a:lnTo>
                  <a:pt x="87" y="31"/>
                </a:lnTo>
                <a:lnTo>
                  <a:pt x="87" y="31"/>
                </a:lnTo>
                <a:lnTo>
                  <a:pt x="91" y="35"/>
                </a:lnTo>
                <a:lnTo>
                  <a:pt x="94" y="31"/>
                </a:lnTo>
                <a:lnTo>
                  <a:pt x="94" y="35"/>
                </a:lnTo>
                <a:lnTo>
                  <a:pt x="97" y="38"/>
                </a:lnTo>
                <a:lnTo>
                  <a:pt x="97" y="41"/>
                </a:lnTo>
                <a:lnTo>
                  <a:pt x="97" y="47"/>
                </a:lnTo>
                <a:lnTo>
                  <a:pt x="97" y="47"/>
                </a:lnTo>
                <a:lnTo>
                  <a:pt x="100" y="50"/>
                </a:lnTo>
                <a:lnTo>
                  <a:pt x="103" y="53"/>
                </a:lnTo>
                <a:lnTo>
                  <a:pt x="109" y="53"/>
                </a:lnTo>
                <a:lnTo>
                  <a:pt x="112" y="53"/>
                </a:lnTo>
                <a:lnTo>
                  <a:pt x="116" y="53"/>
                </a:lnTo>
                <a:lnTo>
                  <a:pt x="122" y="57"/>
                </a:lnTo>
                <a:lnTo>
                  <a:pt x="125" y="57"/>
                </a:lnTo>
                <a:lnTo>
                  <a:pt x="125" y="60"/>
                </a:lnTo>
                <a:lnTo>
                  <a:pt x="128" y="63"/>
                </a:lnTo>
                <a:lnTo>
                  <a:pt x="137" y="69"/>
                </a:lnTo>
                <a:lnTo>
                  <a:pt x="144" y="69"/>
                </a:lnTo>
                <a:lnTo>
                  <a:pt x="153" y="72"/>
                </a:lnTo>
                <a:lnTo>
                  <a:pt x="159" y="72"/>
                </a:lnTo>
                <a:lnTo>
                  <a:pt x="172" y="69"/>
                </a:lnTo>
                <a:lnTo>
                  <a:pt x="184" y="66"/>
                </a:lnTo>
                <a:lnTo>
                  <a:pt x="194" y="66"/>
                </a:lnTo>
                <a:lnTo>
                  <a:pt x="200" y="69"/>
                </a:lnTo>
                <a:lnTo>
                  <a:pt x="200" y="63"/>
                </a:lnTo>
                <a:lnTo>
                  <a:pt x="197" y="60"/>
                </a:lnTo>
                <a:lnTo>
                  <a:pt x="197" y="53"/>
                </a:lnTo>
                <a:lnTo>
                  <a:pt x="200" y="50"/>
                </a:lnTo>
                <a:lnTo>
                  <a:pt x="209" y="50"/>
                </a:lnTo>
                <a:lnTo>
                  <a:pt x="209" y="44"/>
                </a:lnTo>
                <a:lnTo>
                  <a:pt x="212" y="41"/>
                </a:lnTo>
                <a:lnTo>
                  <a:pt x="216" y="41"/>
                </a:lnTo>
                <a:lnTo>
                  <a:pt x="225" y="35"/>
                </a:lnTo>
                <a:lnTo>
                  <a:pt x="234" y="35"/>
                </a:lnTo>
                <a:lnTo>
                  <a:pt x="241" y="35"/>
                </a:lnTo>
                <a:lnTo>
                  <a:pt x="241" y="31"/>
                </a:lnTo>
                <a:lnTo>
                  <a:pt x="247" y="28"/>
                </a:lnTo>
                <a:lnTo>
                  <a:pt x="250" y="31"/>
                </a:lnTo>
                <a:lnTo>
                  <a:pt x="253" y="31"/>
                </a:lnTo>
                <a:lnTo>
                  <a:pt x="262" y="38"/>
                </a:lnTo>
                <a:lnTo>
                  <a:pt x="266" y="38"/>
                </a:lnTo>
                <a:lnTo>
                  <a:pt x="278" y="44"/>
                </a:lnTo>
                <a:lnTo>
                  <a:pt x="281" y="44"/>
                </a:lnTo>
                <a:lnTo>
                  <a:pt x="284" y="44"/>
                </a:lnTo>
                <a:lnTo>
                  <a:pt x="294" y="47"/>
                </a:lnTo>
                <a:lnTo>
                  <a:pt x="297" y="47"/>
                </a:lnTo>
                <a:lnTo>
                  <a:pt x="297" y="53"/>
                </a:lnTo>
                <a:lnTo>
                  <a:pt x="300" y="53"/>
                </a:lnTo>
                <a:lnTo>
                  <a:pt x="303" y="53"/>
                </a:lnTo>
                <a:lnTo>
                  <a:pt x="312" y="57"/>
                </a:lnTo>
                <a:lnTo>
                  <a:pt x="319" y="66"/>
                </a:lnTo>
                <a:lnTo>
                  <a:pt x="328" y="66"/>
                </a:lnTo>
                <a:lnTo>
                  <a:pt x="331" y="69"/>
                </a:lnTo>
                <a:lnTo>
                  <a:pt x="334" y="75"/>
                </a:lnTo>
                <a:lnTo>
                  <a:pt x="334" y="78"/>
                </a:lnTo>
                <a:lnTo>
                  <a:pt x="337" y="82"/>
                </a:lnTo>
                <a:lnTo>
                  <a:pt x="337" y="85"/>
                </a:lnTo>
                <a:lnTo>
                  <a:pt x="337" y="88"/>
                </a:lnTo>
                <a:lnTo>
                  <a:pt x="337" y="94"/>
                </a:lnTo>
                <a:lnTo>
                  <a:pt x="337" y="97"/>
                </a:lnTo>
                <a:lnTo>
                  <a:pt x="337" y="100"/>
                </a:lnTo>
                <a:lnTo>
                  <a:pt x="341" y="103"/>
                </a:lnTo>
                <a:lnTo>
                  <a:pt x="337" y="103"/>
                </a:lnTo>
                <a:lnTo>
                  <a:pt x="337" y="107"/>
                </a:lnTo>
                <a:lnTo>
                  <a:pt x="334" y="110"/>
                </a:lnTo>
                <a:lnTo>
                  <a:pt x="328" y="113"/>
                </a:lnTo>
                <a:lnTo>
                  <a:pt x="331" y="113"/>
                </a:lnTo>
                <a:lnTo>
                  <a:pt x="334" y="116"/>
                </a:lnTo>
                <a:lnTo>
                  <a:pt x="331" y="122"/>
                </a:lnTo>
                <a:lnTo>
                  <a:pt x="331" y="122"/>
                </a:lnTo>
                <a:lnTo>
                  <a:pt x="331" y="128"/>
                </a:lnTo>
                <a:lnTo>
                  <a:pt x="331" y="135"/>
                </a:lnTo>
                <a:lnTo>
                  <a:pt x="341" y="135"/>
                </a:lnTo>
                <a:lnTo>
                  <a:pt x="341" y="135"/>
                </a:lnTo>
                <a:lnTo>
                  <a:pt x="334" y="144"/>
                </a:lnTo>
                <a:lnTo>
                  <a:pt x="334" y="147"/>
                </a:lnTo>
                <a:lnTo>
                  <a:pt x="341" y="157"/>
                </a:lnTo>
                <a:lnTo>
                  <a:pt x="341" y="166"/>
                </a:lnTo>
                <a:lnTo>
                  <a:pt x="341" y="169"/>
                </a:lnTo>
                <a:lnTo>
                  <a:pt x="344" y="172"/>
                </a:lnTo>
                <a:lnTo>
                  <a:pt x="344" y="182"/>
                </a:lnTo>
                <a:lnTo>
                  <a:pt x="359" y="182"/>
                </a:lnTo>
                <a:lnTo>
                  <a:pt x="362" y="188"/>
                </a:lnTo>
                <a:lnTo>
                  <a:pt x="362" y="194"/>
                </a:lnTo>
                <a:lnTo>
                  <a:pt x="366" y="200"/>
                </a:lnTo>
                <a:lnTo>
                  <a:pt x="362" y="204"/>
                </a:lnTo>
                <a:lnTo>
                  <a:pt x="350" y="222"/>
                </a:lnTo>
                <a:lnTo>
                  <a:pt x="359" y="238"/>
                </a:lnTo>
                <a:lnTo>
                  <a:pt x="362" y="241"/>
                </a:lnTo>
                <a:lnTo>
                  <a:pt x="366" y="247"/>
                </a:lnTo>
                <a:lnTo>
                  <a:pt x="372" y="250"/>
                </a:lnTo>
                <a:lnTo>
                  <a:pt x="372" y="250"/>
                </a:lnTo>
                <a:lnTo>
                  <a:pt x="378" y="250"/>
                </a:lnTo>
                <a:lnTo>
                  <a:pt x="384" y="254"/>
                </a:lnTo>
                <a:lnTo>
                  <a:pt x="384" y="257"/>
                </a:lnTo>
                <a:lnTo>
                  <a:pt x="387" y="257"/>
                </a:lnTo>
                <a:lnTo>
                  <a:pt x="387" y="263"/>
                </a:lnTo>
                <a:lnTo>
                  <a:pt x="391" y="266"/>
                </a:lnTo>
                <a:lnTo>
                  <a:pt x="391" y="272"/>
                </a:lnTo>
                <a:lnTo>
                  <a:pt x="391" y="275"/>
                </a:lnTo>
                <a:lnTo>
                  <a:pt x="397" y="275"/>
                </a:lnTo>
                <a:lnTo>
                  <a:pt x="403" y="279"/>
                </a:lnTo>
                <a:lnTo>
                  <a:pt x="403" y="288"/>
                </a:lnTo>
                <a:lnTo>
                  <a:pt x="400" y="291"/>
                </a:lnTo>
                <a:lnTo>
                  <a:pt x="394" y="288"/>
                </a:lnTo>
                <a:lnTo>
                  <a:pt x="384" y="291"/>
                </a:lnTo>
                <a:lnTo>
                  <a:pt x="384" y="291"/>
                </a:lnTo>
                <a:lnTo>
                  <a:pt x="378" y="294"/>
                </a:lnTo>
                <a:lnTo>
                  <a:pt x="375" y="297"/>
                </a:lnTo>
                <a:lnTo>
                  <a:pt x="375" y="304"/>
                </a:lnTo>
                <a:lnTo>
                  <a:pt x="372" y="307"/>
                </a:lnTo>
                <a:lnTo>
                  <a:pt x="375" y="310"/>
                </a:lnTo>
                <a:lnTo>
                  <a:pt x="375" y="319"/>
                </a:lnTo>
                <a:lnTo>
                  <a:pt x="375" y="322"/>
                </a:lnTo>
                <a:lnTo>
                  <a:pt x="372" y="322"/>
                </a:lnTo>
                <a:lnTo>
                  <a:pt x="372" y="322"/>
                </a:lnTo>
                <a:lnTo>
                  <a:pt x="369" y="326"/>
                </a:lnTo>
                <a:lnTo>
                  <a:pt x="362" y="322"/>
                </a:lnTo>
                <a:lnTo>
                  <a:pt x="356" y="319"/>
                </a:lnTo>
                <a:lnTo>
                  <a:pt x="356" y="316"/>
                </a:lnTo>
                <a:lnTo>
                  <a:pt x="353" y="316"/>
                </a:lnTo>
                <a:lnTo>
                  <a:pt x="353" y="319"/>
                </a:lnTo>
                <a:lnTo>
                  <a:pt x="350" y="322"/>
                </a:lnTo>
                <a:lnTo>
                  <a:pt x="347" y="319"/>
                </a:lnTo>
                <a:lnTo>
                  <a:pt x="347" y="319"/>
                </a:lnTo>
                <a:lnTo>
                  <a:pt x="344" y="319"/>
                </a:lnTo>
                <a:lnTo>
                  <a:pt x="334" y="316"/>
                </a:lnTo>
                <a:lnTo>
                  <a:pt x="328" y="316"/>
                </a:lnTo>
                <a:lnTo>
                  <a:pt x="319" y="316"/>
                </a:lnTo>
                <a:lnTo>
                  <a:pt x="312" y="310"/>
                </a:lnTo>
                <a:lnTo>
                  <a:pt x="309" y="310"/>
                </a:lnTo>
                <a:lnTo>
                  <a:pt x="306" y="316"/>
                </a:lnTo>
                <a:lnTo>
                  <a:pt x="303" y="313"/>
                </a:lnTo>
                <a:lnTo>
                  <a:pt x="297" y="313"/>
                </a:lnTo>
                <a:lnTo>
                  <a:pt x="287" y="313"/>
                </a:lnTo>
                <a:lnTo>
                  <a:pt x="287" y="310"/>
                </a:lnTo>
                <a:lnTo>
                  <a:pt x="284" y="310"/>
                </a:lnTo>
                <a:lnTo>
                  <a:pt x="284" y="304"/>
                </a:lnTo>
                <a:lnTo>
                  <a:pt x="281" y="297"/>
                </a:lnTo>
                <a:lnTo>
                  <a:pt x="278" y="288"/>
                </a:lnTo>
                <a:lnTo>
                  <a:pt x="275" y="285"/>
                </a:lnTo>
                <a:lnTo>
                  <a:pt x="275" y="282"/>
                </a:lnTo>
                <a:lnTo>
                  <a:pt x="272" y="282"/>
                </a:lnTo>
                <a:lnTo>
                  <a:pt x="272" y="282"/>
                </a:lnTo>
                <a:lnTo>
                  <a:pt x="266" y="279"/>
                </a:lnTo>
                <a:lnTo>
                  <a:pt x="262" y="282"/>
                </a:lnTo>
                <a:lnTo>
                  <a:pt x="256" y="285"/>
                </a:lnTo>
                <a:lnTo>
                  <a:pt x="253" y="285"/>
                </a:lnTo>
                <a:lnTo>
                  <a:pt x="253" y="282"/>
                </a:lnTo>
                <a:lnTo>
                  <a:pt x="253" y="285"/>
                </a:lnTo>
                <a:lnTo>
                  <a:pt x="244" y="291"/>
                </a:lnTo>
                <a:lnTo>
                  <a:pt x="237" y="297"/>
                </a:lnTo>
                <a:lnTo>
                  <a:pt x="228" y="291"/>
                </a:lnTo>
                <a:lnTo>
                  <a:pt x="222" y="288"/>
                </a:lnTo>
                <a:lnTo>
                  <a:pt x="219" y="291"/>
                </a:lnTo>
                <a:lnTo>
                  <a:pt x="216" y="291"/>
                </a:lnTo>
                <a:lnTo>
                  <a:pt x="209" y="285"/>
                </a:lnTo>
                <a:lnTo>
                  <a:pt x="206" y="285"/>
                </a:lnTo>
                <a:lnTo>
                  <a:pt x="203" y="282"/>
                </a:lnTo>
                <a:lnTo>
                  <a:pt x="200" y="282"/>
                </a:lnTo>
                <a:lnTo>
                  <a:pt x="194" y="275"/>
                </a:lnTo>
                <a:lnTo>
                  <a:pt x="194" y="272"/>
                </a:lnTo>
                <a:lnTo>
                  <a:pt x="194" y="272"/>
                </a:lnTo>
                <a:lnTo>
                  <a:pt x="191" y="272"/>
                </a:lnTo>
                <a:lnTo>
                  <a:pt x="191" y="269"/>
                </a:lnTo>
                <a:lnTo>
                  <a:pt x="184" y="269"/>
                </a:lnTo>
                <a:lnTo>
                  <a:pt x="181" y="266"/>
                </a:lnTo>
                <a:lnTo>
                  <a:pt x="175" y="266"/>
                </a:lnTo>
                <a:lnTo>
                  <a:pt x="169" y="266"/>
                </a:lnTo>
                <a:lnTo>
                  <a:pt x="166" y="263"/>
                </a:lnTo>
                <a:lnTo>
                  <a:pt x="159" y="250"/>
                </a:lnTo>
                <a:lnTo>
                  <a:pt x="159" y="247"/>
                </a:lnTo>
                <a:lnTo>
                  <a:pt x="156" y="247"/>
                </a:lnTo>
                <a:lnTo>
                  <a:pt x="153" y="244"/>
                </a:lnTo>
                <a:lnTo>
                  <a:pt x="153" y="244"/>
                </a:lnTo>
                <a:lnTo>
                  <a:pt x="156" y="244"/>
                </a:lnTo>
                <a:lnTo>
                  <a:pt x="156" y="244"/>
                </a:lnTo>
                <a:lnTo>
                  <a:pt x="156" y="241"/>
                </a:lnTo>
                <a:lnTo>
                  <a:pt x="153" y="241"/>
                </a:lnTo>
                <a:lnTo>
                  <a:pt x="150" y="241"/>
                </a:lnTo>
                <a:lnTo>
                  <a:pt x="150" y="235"/>
                </a:lnTo>
                <a:lnTo>
                  <a:pt x="144" y="225"/>
                </a:lnTo>
                <a:lnTo>
                  <a:pt x="141" y="222"/>
                </a:lnTo>
                <a:lnTo>
                  <a:pt x="137" y="216"/>
                </a:lnTo>
                <a:lnTo>
                  <a:pt x="134" y="216"/>
                </a:lnTo>
                <a:lnTo>
                  <a:pt x="128" y="219"/>
                </a:lnTo>
                <a:lnTo>
                  <a:pt x="128" y="219"/>
                </a:lnTo>
                <a:lnTo>
                  <a:pt x="125" y="216"/>
                </a:lnTo>
                <a:lnTo>
                  <a:pt x="125" y="216"/>
                </a:lnTo>
                <a:lnTo>
                  <a:pt x="119" y="216"/>
                </a:lnTo>
                <a:lnTo>
                  <a:pt x="119" y="213"/>
                </a:lnTo>
                <a:lnTo>
                  <a:pt x="122" y="210"/>
                </a:lnTo>
                <a:lnTo>
                  <a:pt x="119" y="213"/>
                </a:lnTo>
                <a:lnTo>
                  <a:pt x="116" y="213"/>
                </a:lnTo>
                <a:lnTo>
                  <a:pt x="116" y="213"/>
                </a:lnTo>
                <a:lnTo>
                  <a:pt x="119" y="213"/>
                </a:lnTo>
                <a:lnTo>
                  <a:pt x="119" y="219"/>
                </a:lnTo>
                <a:lnTo>
                  <a:pt x="116" y="219"/>
                </a:lnTo>
                <a:lnTo>
                  <a:pt x="112" y="219"/>
                </a:lnTo>
                <a:lnTo>
                  <a:pt x="109" y="216"/>
                </a:lnTo>
                <a:lnTo>
                  <a:pt x="109" y="216"/>
                </a:lnTo>
                <a:lnTo>
                  <a:pt x="109" y="216"/>
                </a:lnTo>
                <a:lnTo>
                  <a:pt x="106" y="216"/>
                </a:lnTo>
                <a:lnTo>
                  <a:pt x="103" y="213"/>
                </a:lnTo>
                <a:lnTo>
                  <a:pt x="100" y="210"/>
                </a:lnTo>
                <a:lnTo>
                  <a:pt x="97" y="197"/>
                </a:lnTo>
                <a:lnTo>
                  <a:pt x="91" y="197"/>
                </a:lnTo>
                <a:lnTo>
                  <a:pt x="91" y="194"/>
                </a:lnTo>
                <a:lnTo>
                  <a:pt x="91" y="188"/>
                </a:lnTo>
                <a:lnTo>
                  <a:pt x="94" y="185"/>
                </a:lnTo>
                <a:lnTo>
                  <a:pt x="91" y="175"/>
                </a:lnTo>
                <a:lnTo>
                  <a:pt x="87" y="172"/>
                </a:lnTo>
                <a:lnTo>
                  <a:pt x="84" y="166"/>
                </a:lnTo>
                <a:lnTo>
                  <a:pt x="81" y="163"/>
                </a:lnTo>
                <a:lnTo>
                  <a:pt x="78" y="166"/>
                </a:lnTo>
                <a:lnTo>
                  <a:pt x="62" y="157"/>
                </a:lnTo>
                <a:lnTo>
                  <a:pt x="59" y="157"/>
                </a:lnTo>
                <a:lnTo>
                  <a:pt x="59" y="157"/>
                </a:lnTo>
                <a:lnTo>
                  <a:pt x="53" y="153"/>
                </a:lnTo>
                <a:lnTo>
                  <a:pt x="56" y="150"/>
                </a:lnTo>
                <a:lnTo>
                  <a:pt x="53" y="150"/>
                </a:lnTo>
                <a:lnTo>
                  <a:pt x="56" y="147"/>
                </a:lnTo>
                <a:lnTo>
                  <a:pt x="53" y="144"/>
                </a:lnTo>
                <a:lnTo>
                  <a:pt x="50" y="141"/>
                </a:lnTo>
                <a:lnTo>
                  <a:pt x="47" y="138"/>
                </a:lnTo>
                <a:lnTo>
                  <a:pt x="44" y="135"/>
                </a:lnTo>
                <a:lnTo>
                  <a:pt x="41" y="135"/>
                </a:lnTo>
                <a:lnTo>
                  <a:pt x="41" y="135"/>
                </a:lnTo>
                <a:lnTo>
                  <a:pt x="44" y="132"/>
                </a:lnTo>
                <a:lnTo>
                  <a:pt x="41" y="128"/>
                </a:lnTo>
                <a:lnTo>
                  <a:pt x="44" y="125"/>
                </a:lnTo>
                <a:lnTo>
                  <a:pt x="44" y="119"/>
                </a:lnTo>
                <a:lnTo>
                  <a:pt x="47" y="116"/>
                </a:lnTo>
                <a:lnTo>
                  <a:pt x="47" y="113"/>
                </a:lnTo>
                <a:lnTo>
                  <a:pt x="50" y="113"/>
                </a:lnTo>
                <a:lnTo>
                  <a:pt x="50" y="110"/>
                </a:lnTo>
                <a:lnTo>
                  <a:pt x="50" y="103"/>
                </a:lnTo>
                <a:lnTo>
                  <a:pt x="50" y="103"/>
                </a:lnTo>
                <a:lnTo>
                  <a:pt x="50" y="97"/>
                </a:lnTo>
                <a:lnTo>
                  <a:pt x="50" y="97"/>
                </a:lnTo>
                <a:lnTo>
                  <a:pt x="56" y="94"/>
                </a:lnTo>
                <a:lnTo>
                  <a:pt x="56" y="94"/>
                </a:lnTo>
                <a:lnTo>
                  <a:pt x="56" y="94"/>
                </a:lnTo>
                <a:lnTo>
                  <a:pt x="53" y="91"/>
                </a:lnTo>
                <a:lnTo>
                  <a:pt x="47" y="94"/>
                </a:lnTo>
                <a:lnTo>
                  <a:pt x="44" y="91"/>
                </a:lnTo>
                <a:lnTo>
                  <a:pt x="37" y="88"/>
                </a:lnTo>
                <a:lnTo>
                  <a:pt x="34" y="88"/>
                </a:lnTo>
                <a:lnTo>
                  <a:pt x="31" y="85"/>
                </a:lnTo>
                <a:lnTo>
                  <a:pt x="31" y="82"/>
                </a:lnTo>
                <a:lnTo>
                  <a:pt x="28" y="78"/>
                </a:lnTo>
                <a:lnTo>
                  <a:pt x="25" y="78"/>
                </a:lnTo>
                <a:lnTo>
                  <a:pt x="22" y="72"/>
                </a:lnTo>
                <a:lnTo>
                  <a:pt x="22" y="69"/>
                </a:lnTo>
                <a:lnTo>
                  <a:pt x="22" y="66"/>
                </a:lnTo>
                <a:lnTo>
                  <a:pt x="19" y="66"/>
                </a:lnTo>
                <a:lnTo>
                  <a:pt x="19" y="66"/>
                </a:lnTo>
                <a:lnTo>
                  <a:pt x="19" y="63"/>
                </a:lnTo>
                <a:lnTo>
                  <a:pt x="16" y="57"/>
                </a:lnTo>
                <a:lnTo>
                  <a:pt x="12" y="50"/>
                </a:lnTo>
                <a:lnTo>
                  <a:pt x="6" y="47"/>
                </a:lnTo>
                <a:lnTo>
                  <a:pt x="6" y="44"/>
                </a:lnTo>
                <a:lnTo>
                  <a:pt x="6" y="38"/>
                </a:lnTo>
                <a:lnTo>
                  <a:pt x="9" y="35"/>
                </a:lnTo>
                <a:lnTo>
                  <a:pt x="9" y="31"/>
                </a:lnTo>
                <a:lnTo>
                  <a:pt x="3" y="31"/>
                </a:lnTo>
                <a:lnTo>
                  <a:pt x="3" y="25"/>
                </a:lnTo>
                <a:lnTo>
                  <a:pt x="3" y="22"/>
                </a:lnTo>
                <a:lnTo>
                  <a:pt x="3" y="13"/>
                </a:lnTo>
                <a:lnTo>
                  <a:pt x="0" y="10"/>
                </a:lnTo>
                <a:lnTo>
                  <a:pt x="0" y="10"/>
                </a:lnTo>
                <a:lnTo>
                  <a:pt x="6" y="6"/>
                </a:lnTo>
                <a:lnTo>
                  <a:pt x="6" y="3"/>
                </a:lnTo>
                <a:lnTo>
                  <a:pt x="9" y="0"/>
                </a:lnTo>
                <a:lnTo>
                  <a:pt x="9" y="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5" name="Freeform 83">
            <a:extLst>
              <a:ext uri="{FF2B5EF4-FFF2-40B4-BE49-F238E27FC236}">
                <a16:creationId xmlns:a16="http://schemas.microsoft.com/office/drawing/2014/main" id="{81077EF9-181D-0F61-8857-1AEC3AF4FC7D}"/>
              </a:ext>
            </a:extLst>
          </p:cNvPr>
          <p:cNvSpPr>
            <a:spLocks/>
          </p:cNvSpPr>
          <p:nvPr userDrawn="1"/>
        </p:nvSpPr>
        <p:spPr bwMode="auto">
          <a:xfrm>
            <a:off x="15708874" y="6606463"/>
            <a:ext cx="219064" cy="187326"/>
          </a:xfrm>
          <a:custGeom>
            <a:avLst/>
            <a:gdLst>
              <a:gd name="T0" fmla="*/ 0 w 69"/>
              <a:gd name="T1" fmla="*/ 3 h 59"/>
              <a:gd name="T2" fmla="*/ 6 w 69"/>
              <a:gd name="T3" fmla="*/ 0 h 59"/>
              <a:gd name="T4" fmla="*/ 16 w 69"/>
              <a:gd name="T5" fmla="*/ 0 h 59"/>
              <a:gd name="T6" fmla="*/ 16 w 69"/>
              <a:gd name="T7" fmla="*/ 0 h 59"/>
              <a:gd name="T8" fmla="*/ 28 w 69"/>
              <a:gd name="T9" fmla="*/ 0 h 59"/>
              <a:gd name="T10" fmla="*/ 31 w 69"/>
              <a:gd name="T11" fmla="*/ 3 h 59"/>
              <a:gd name="T12" fmla="*/ 41 w 69"/>
              <a:gd name="T13" fmla="*/ 3 h 59"/>
              <a:gd name="T14" fmla="*/ 44 w 69"/>
              <a:gd name="T15" fmla="*/ 9 h 59"/>
              <a:gd name="T16" fmla="*/ 44 w 69"/>
              <a:gd name="T17" fmla="*/ 12 h 59"/>
              <a:gd name="T18" fmla="*/ 44 w 69"/>
              <a:gd name="T19" fmla="*/ 15 h 59"/>
              <a:gd name="T20" fmla="*/ 50 w 69"/>
              <a:gd name="T21" fmla="*/ 25 h 59"/>
              <a:gd name="T22" fmla="*/ 50 w 69"/>
              <a:gd name="T23" fmla="*/ 28 h 59"/>
              <a:gd name="T24" fmla="*/ 47 w 69"/>
              <a:gd name="T25" fmla="*/ 31 h 59"/>
              <a:gd name="T26" fmla="*/ 50 w 69"/>
              <a:gd name="T27" fmla="*/ 37 h 59"/>
              <a:gd name="T28" fmla="*/ 60 w 69"/>
              <a:gd name="T29" fmla="*/ 40 h 59"/>
              <a:gd name="T30" fmla="*/ 66 w 69"/>
              <a:gd name="T31" fmla="*/ 40 h 59"/>
              <a:gd name="T32" fmla="*/ 69 w 69"/>
              <a:gd name="T33" fmla="*/ 47 h 59"/>
              <a:gd name="T34" fmla="*/ 66 w 69"/>
              <a:gd name="T35" fmla="*/ 47 h 59"/>
              <a:gd name="T36" fmla="*/ 69 w 69"/>
              <a:gd name="T37" fmla="*/ 53 h 59"/>
              <a:gd name="T38" fmla="*/ 66 w 69"/>
              <a:gd name="T39" fmla="*/ 53 h 59"/>
              <a:gd name="T40" fmla="*/ 66 w 69"/>
              <a:gd name="T41" fmla="*/ 56 h 59"/>
              <a:gd name="T42" fmla="*/ 63 w 69"/>
              <a:gd name="T43" fmla="*/ 59 h 59"/>
              <a:gd name="T44" fmla="*/ 53 w 69"/>
              <a:gd name="T45" fmla="*/ 43 h 59"/>
              <a:gd name="T46" fmla="*/ 47 w 69"/>
              <a:gd name="T47" fmla="*/ 43 h 59"/>
              <a:gd name="T48" fmla="*/ 44 w 69"/>
              <a:gd name="T49" fmla="*/ 37 h 59"/>
              <a:gd name="T50" fmla="*/ 41 w 69"/>
              <a:gd name="T51" fmla="*/ 37 h 59"/>
              <a:gd name="T52" fmla="*/ 41 w 69"/>
              <a:gd name="T53" fmla="*/ 40 h 59"/>
              <a:gd name="T54" fmla="*/ 35 w 69"/>
              <a:gd name="T55" fmla="*/ 34 h 59"/>
              <a:gd name="T56" fmla="*/ 31 w 69"/>
              <a:gd name="T57" fmla="*/ 37 h 59"/>
              <a:gd name="T58" fmla="*/ 28 w 69"/>
              <a:gd name="T59" fmla="*/ 37 h 59"/>
              <a:gd name="T60" fmla="*/ 25 w 69"/>
              <a:gd name="T61" fmla="*/ 34 h 59"/>
              <a:gd name="T62" fmla="*/ 22 w 69"/>
              <a:gd name="T63" fmla="*/ 31 h 59"/>
              <a:gd name="T64" fmla="*/ 19 w 69"/>
              <a:gd name="T65" fmla="*/ 31 h 59"/>
              <a:gd name="T66" fmla="*/ 13 w 69"/>
              <a:gd name="T67" fmla="*/ 31 h 59"/>
              <a:gd name="T68" fmla="*/ 6 w 69"/>
              <a:gd name="T69" fmla="*/ 28 h 59"/>
              <a:gd name="T70" fmla="*/ 6 w 69"/>
              <a:gd name="T71" fmla="*/ 18 h 59"/>
              <a:gd name="T72" fmla="*/ 10 w 69"/>
              <a:gd name="T73" fmla="*/ 12 h 59"/>
              <a:gd name="T74" fmla="*/ 6 w 69"/>
              <a:gd name="T75" fmla="*/ 9 h 59"/>
              <a:gd name="T76" fmla="*/ 3 w 69"/>
              <a:gd name="T77" fmla="*/ 9 h 59"/>
              <a:gd name="T78" fmla="*/ 3 w 69"/>
              <a:gd name="T79" fmla="*/ 6 h 59"/>
              <a:gd name="T80" fmla="*/ 0 w 69"/>
              <a:gd name="T81"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9" h="59">
                <a:moveTo>
                  <a:pt x="0" y="3"/>
                </a:moveTo>
                <a:lnTo>
                  <a:pt x="6" y="0"/>
                </a:lnTo>
                <a:lnTo>
                  <a:pt x="16" y="0"/>
                </a:lnTo>
                <a:lnTo>
                  <a:pt x="16" y="0"/>
                </a:lnTo>
                <a:lnTo>
                  <a:pt x="28" y="0"/>
                </a:lnTo>
                <a:lnTo>
                  <a:pt x="31" y="3"/>
                </a:lnTo>
                <a:lnTo>
                  <a:pt x="41" y="3"/>
                </a:lnTo>
                <a:lnTo>
                  <a:pt x="44" y="9"/>
                </a:lnTo>
                <a:lnTo>
                  <a:pt x="44" y="12"/>
                </a:lnTo>
                <a:lnTo>
                  <a:pt x="44" y="15"/>
                </a:lnTo>
                <a:lnTo>
                  <a:pt x="50" y="25"/>
                </a:lnTo>
                <a:lnTo>
                  <a:pt x="50" y="28"/>
                </a:lnTo>
                <a:lnTo>
                  <a:pt x="47" y="31"/>
                </a:lnTo>
                <a:lnTo>
                  <a:pt x="50" y="37"/>
                </a:lnTo>
                <a:lnTo>
                  <a:pt x="60" y="40"/>
                </a:lnTo>
                <a:lnTo>
                  <a:pt x="66" y="40"/>
                </a:lnTo>
                <a:lnTo>
                  <a:pt x="69" y="47"/>
                </a:lnTo>
                <a:lnTo>
                  <a:pt x="66" y="47"/>
                </a:lnTo>
                <a:lnTo>
                  <a:pt x="69" y="53"/>
                </a:lnTo>
                <a:lnTo>
                  <a:pt x="66" y="53"/>
                </a:lnTo>
                <a:lnTo>
                  <a:pt x="66" y="56"/>
                </a:lnTo>
                <a:lnTo>
                  <a:pt x="63" y="59"/>
                </a:lnTo>
                <a:lnTo>
                  <a:pt x="53" y="43"/>
                </a:lnTo>
                <a:lnTo>
                  <a:pt x="47" y="43"/>
                </a:lnTo>
                <a:lnTo>
                  <a:pt x="44" y="37"/>
                </a:lnTo>
                <a:lnTo>
                  <a:pt x="41" y="37"/>
                </a:lnTo>
                <a:lnTo>
                  <a:pt x="41" y="40"/>
                </a:lnTo>
                <a:lnTo>
                  <a:pt x="35" y="34"/>
                </a:lnTo>
                <a:lnTo>
                  <a:pt x="31" y="37"/>
                </a:lnTo>
                <a:lnTo>
                  <a:pt x="28" y="37"/>
                </a:lnTo>
                <a:lnTo>
                  <a:pt x="25" y="34"/>
                </a:lnTo>
                <a:lnTo>
                  <a:pt x="22" y="31"/>
                </a:lnTo>
                <a:lnTo>
                  <a:pt x="19" y="31"/>
                </a:lnTo>
                <a:lnTo>
                  <a:pt x="13" y="31"/>
                </a:lnTo>
                <a:lnTo>
                  <a:pt x="6" y="28"/>
                </a:lnTo>
                <a:lnTo>
                  <a:pt x="6" y="18"/>
                </a:lnTo>
                <a:lnTo>
                  <a:pt x="10" y="12"/>
                </a:lnTo>
                <a:lnTo>
                  <a:pt x="6" y="9"/>
                </a:lnTo>
                <a:lnTo>
                  <a:pt x="3" y="9"/>
                </a:lnTo>
                <a:lnTo>
                  <a:pt x="3" y="6"/>
                </a:lnTo>
                <a:lnTo>
                  <a:pt x="0" y="3"/>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6" name="Freeform 84">
            <a:extLst>
              <a:ext uri="{FF2B5EF4-FFF2-40B4-BE49-F238E27FC236}">
                <a16:creationId xmlns:a16="http://schemas.microsoft.com/office/drawing/2014/main" id="{C6E24D87-74E0-8C03-D90B-BF66EDB66FAB}"/>
              </a:ext>
            </a:extLst>
          </p:cNvPr>
          <p:cNvSpPr>
            <a:spLocks noEditPoints="1"/>
          </p:cNvSpPr>
          <p:nvPr userDrawn="1"/>
        </p:nvSpPr>
        <p:spPr bwMode="auto">
          <a:xfrm>
            <a:off x="14667547" y="6555661"/>
            <a:ext cx="1161974" cy="466726"/>
          </a:xfrm>
          <a:custGeom>
            <a:avLst/>
            <a:gdLst>
              <a:gd name="T0" fmla="*/ 19 w 366"/>
              <a:gd name="T1" fmla="*/ 16 h 147"/>
              <a:gd name="T2" fmla="*/ 28 w 366"/>
              <a:gd name="T3" fmla="*/ 0 h 147"/>
              <a:gd name="T4" fmla="*/ 53 w 366"/>
              <a:gd name="T5" fmla="*/ 16 h 147"/>
              <a:gd name="T6" fmla="*/ 50 w 366"/>
              <a:gd name="T7" fmla="*/ 28 h 147"/>
              <a:gd name="T8" fmla="*/ 22 w 366"/>
              <a:gd name="T9" fmla="*/ 41 h 147"/>
              <a:gd name="T10" fmla="*/ 16 w 366"/>
              <a:gd name="T11" fmla="*/ 38 h 147"/>
              <a:gd name="T12" fmla="*/ 6 w 366"/>
              <a:gd name="T13" fmla="*/ 31 h 147"/>
              <a:gd name="T14" fmla="*/ 278 w 366"/>
              <a:gd name="T15" fmla="*/ 25 h 147"/>
              <a:gd name="T16" fmla="*/ 256 w 366"/>
              <a:gd name="T17" fmla="*/ 22 h 147"/>
              <a:gd name="T18" fmla="*/ 222 w 366"/>
              <a:gd name="T19" fmla="*/ 25 h 147"/>
              <a:gd name="T20" fmla="*/ 197 w 366"/>
              <a:gd name="T21" fmla="*/ 19 h 147"/>
              <a:gd name="T22" fmla="*/ 181 w 366"/>
              <a:gd name="T23" fmla="*/ 9 h 147"/>
              <a:gd name="T24" fmla="*/ 159 w 366"/>
              <a:gd name="T25" fmla="*/ 3 h 147"/>
              <a:gd name="T26" fmla="*/ 125 w 366"/>
              <a:gd name="T27" fmla="*/ 6 h 147"/>
              <a:gd name="T28" fmla="*/ 106 w 366"/>
              <a:gd name="T29" fmla="*/ 22 h 147"/>
              <a:gd name="T30" fmla="*/ 81 w 366"/>
              <a:gd name="T31" fmla="*/ 22 h 147"/>
              <a:gd name="T32" fmla="*/ 66 w 366"/>
              <a:gd name="T33" fmla="*/ 34 h 147"/>
              <a:gd name="T34" fmla="*/ 56 w 366"/>
              <a:gd name="T35" fmla="*/ 41 h 147"/>
              <a:gd name="T36" fmla="*/ 47 w 366"/>
              <a:gd name="T37" fmla="*/ 44 h 147"/>
              <a:gd name="T38" fmla="*/ 28 w 366"/>
              <a:gd name="T39" fmla="*/ 44 h 147"/>
              <a:gd name="T40" fmla="*/ 12 w 366"/>
              <a:gd name="T41" fmla="*/ 63 h 147"/>
              <a:gd name="T42" fmla="*/ 28 w 366"/>
              <a:gd name="T43" fmla="*/ 66 h 147"/>
              <a:gd name="T44" fmla="*/ 25 w 366"/>
              <a:gd name="T45" fmla="*/ 81 h 147"/>
              <a:gd name="T46" fmla="*/ 28 w 366"/>
              <a:gd name="T47" fmla="*/ 88 h 147"/>
              <a:gd name="T48" fmla="*/ 16 w 366"/>
              <a:gd name="T49" fmla="*/ 91 h 147"/>
              <a:gd name="T50" fmla="*/ 25 w 366"/>
              <a:gd name="T51" fmla="*/ 100 h 147"/>
              <a:gd name="T52" fmla="*/ 34 w 366"/>
              <a:gd name="T53" fmla="*/ 116 h 147"/>
              <a:gd name="T54" fmla="*/ 37 w 366"/>
              <a:gd name="T55" fmla="*/ 125 h 147"/>
              <a:gd name="T56" fmla="*/ 37 w 366"/>
              <a:gd name="T57" fmla="*/ 131 h 147"/>
              <a:gd name="T58" fmla="*/ 50 w 366"/>
              <a:gd name="T59" fmla="*/ 135 h 147"/>
              <a:gd name="T60" fmla="*/ 62 w 366"/>
              <a:gd name="T61" fmla="*/ 131 h 147"/>
              <a:gd name="T62" fmla="*/ 72 w 366"/>
              <a:gd name="T63" fmla="*/ 138 h 147"/>
              <a:gd name="T64" fmla="*/ 87 w 366"/>
              <a:gd name="T65" fmla="*/ 141 h 147"/>
              <a:gd name="T66" fmla="*/ 100 w 366"/>
              <a:gd name="T67" fmla="*/ 131 h 147"/>
              <a:gd name="T68" fmla="*/ 134 w 366"/>
              <a:gd name="T69" fmla="*/ 141 h 147"/>
              <a:gd name="T70" fmla="*/ 169 w 366"/>
              <a:gd name="T71" fmla="*/ 141 h 147"/>
              <a:gd name="T72" fmla="*/ 197 w 366"/>
              <a:gd name="T73" fmla="*/ 131 h 147"/>
              <a:gd name="T74" fmla="*/ 200 w 366"/>
              <a:gd name="T75" fmla="*/ 138 h 147"/>
              <a:gd name="T76" fmla="*/ 216 w 366"/>
              <a:gd name="T77" fmla="*/ 144 h 147"/>
              <a:gd name="T78" fmla="*/ 228 w 366"/>
              <a:gd name="T79" fmla="*/ 131 h 147"/>
              <a:gd name="T80" fmla="*/ 256 w 366"/>
              <a:gd name="T81" fmla="*/ 125 h 147"/>
              <a:gd name="T82" fmla="*/ 288 w 366"/>
              <a:gd name="T83" fmla="*/ 119 h 147"/>
              <a:gd name="T84" fmla="*/ 322 w 366"/>
              <a:gd name="T85" fmla="*/ 119 h 147"/>
              <a:gd name="T86" fmla="*/ 353 w 366"/>
              <a:gd name="T87" fmla="*/ 113 h 147"/>
              <a:gd name="T88" fmla="*/ 363 w 366"/>
              <a:gd name="T89" fmla="*/ 110 h 147"/>
              <a:gd name="T90" fmla="*/ 356 w 366"/>
              <a:gd name="T91" fmla="*/ 84 h 147"/>
              <a:gd name="T92" fmla="*/ 347 w 366"/>
              <a:gd name="T93" fmla="*/ 63 h 147"/>
              <a:gd name="T94" fmla="*/ 347 w 366"/>
              <a:gd name="T95" fmla="*/ 47 h 147"/>
              <a:gd name="T96" fmla="*/ 331 w 366"/>
              <a:gd name="T97" fmla="*/ 25 h 147"/>
              <a:gd name="T98" fmla="*/ 309 w 366"/>
              <a:gd name="T99" fmla="*/ 13 h 147"/>
              <a:gd name="T100" fmla="*/ 294 w 366"/>
              <a:gd name="T101" fmla="*/ 9 h 147"/>
              <a:gd name="T102" fmla="*/ 47 w 366"/>
              <a:gd name="T103" fmla="*/ 138 h 147"/>
              <a:gd name="T104" fmla="*/ 9 w 366"/>
              <a:gd name="T105" fmla="*/ 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6" h="147">
                <a:moveTo>
                  <a:pt x="6" y="31"/>
                </a:moveTo>
                <a:lnTo>
                  <a:pt x="12" y="31"/>
                </a:lnTo>
                <a:lnTo>
                  <a:pt x="12" y="28"/>
                </a:lnTo>
                <a:lnTo>
                  <a:pt x="12" y="22"/>
                </a:lnTo>
                <a:lnTo>
                  <a:pt x="19" y="19"/>
                </a:lnTo>
                <a:lnTo>
                  <a:pt x="19" y="16"/>
                </a:lnTo>
                <a:lnTo>
                  <a:pt x="12" y="13"/>
                </a:lnTo>
                <a:lnTo>
                  <a:pt x="16" y="6"/>
                </a:lnTo>
                <a:lnTo>
                  <a:pt x="19" y="3"/>
                </a:lnTo>
                <a:lnTo>
                  <a:pt x="22" y="3"/>
                </a:lnTo>
                <a:lnTo>
                  <a:pt x="22" y="0"/>
                </a:lnTo>
                <a:lnTo>
                  <a:pt x="28" y="0"/>
                </a:lnTo>
                <a:lnTo>
                  <a:pt x="34" y="6"/>
                </a:lnTo>
                <a:lnTo>
                  <a:pt x="37" y="3"/>
                </a:lnTo>
                <a:lnTo>
                  <a:pt x="41" y="3"/>
                </a:lnTo>
                <a:lnTo>
                  <a:pt x="41" y="13"/>
                </a:lnTo>
                <a:lnTo>
                  <a:pt x="47" y="16"/>
                </a:lnTo>
                <a:lnTo>
                  <a:pt x="53" y="16"/>
                </a:lnTo>
                <a:lnTo>
                  <a:pt x="56" y="22"/>
                </a:lnTo>
                <a:lnTo>
                  <a:pt x="59" y="25"/>
                </a:lnTo>
                <a:lnTo>
                  <a:pt x="59" y="25"/>
                </a:lnTo>
                <a:lnTo>
                  <a:pt x="56" y="31"/>
                </a:lnTo>
                <a:lnTo>
                  <a:pt x="53" y="28"/>
                </a:lnTo>
                <a:lnTo>
                  <a:pt x="50" y="28"/>
                </a:lnTo>
                <a:lnTo>
                  <a:pt x="44" y="28"/>
                </a:lnTo>
                <a:lnTo>
                  <a:pt x="44" y="28"/>
                </a:lnTo>
                <a:lnTo>
                  <a:pt x="37" y="28"/>
                </a:lnTo>
                <a:lnTo>
                  <a:pt x="34" y="31"/>
                </a:lnTo>
                <a:lnTo>
                  <a:pt x="31" y="38"/>
                </a:lnTo>
                <a:lnTo>
                  <a:pt x="22" y="41"/>
                </a:lnTo>
                <a:lnTo>
                  <a:pt x="12" y="50"/>
                </a:lnTo>
                <a:lnTo>
                  <a:pt x="12" y="47"/>
                </a:lnTo>
                <a:lnTo>
                  <a:pt x="12" y="41"/>
                </a:lnTo>
                <a:lnTo>
                  <a:pt x="16" y="41"/>
                </a:lnTo>
                <a:lnTo>
                  <a:pt x="19" y="38"/>
                </a:lnTo>
                <a:lnTo>
                  <a:pt x="16" y="38"/>
                </a:lnTo>
                <a:lnTo>
                  <a:pt x="12" y="38"/>
                </a:lnTo>
                <a:lnTo>
                  <a:pt x="12" y="38"/>
                </a:lnTo>
                <a:lnTo>
                  <a:pt x="9" y="34"/>
                </a:lnTo>
                <a:lnTo>
                  <a:pt x="6" y="31"/>
                </a:lnTo>
                <a:lnTo>
                  <a:pt x="6" y="31"/>
                </a:lnTo>
                <a:lnTo>
                  <a:pt x="6" y="31"/>
                </a:lnTo>
                <a:close/>
                <a:moveTo>
                  <a:pt x="294" y="9"/>
                </a:moveTo>
                <a:lnTo>
                  <a:pt x="294" y="9"/>
                </a:lnTo>
                <a:lnTo>
                  <a:pt x="291" y="16"/>
                </a:lnTo>
                <a:lnTo>
                  <a:pt x="288" y="19"/>
                </a:lnTo>
                <a:lnTo>
                  <a:pt x="281" y="22"/>
                </a:lnTo>
                <a:lnTo>
                  <a:pt x="278" y="25"/>
                </a:lnTo>
                <a:lnTo>
                  <a:pt x="272" y="25"/>
                </a:lnTo>
                <a:lnTo>
                  <a:pt x="269" y="25"/>
                </a:lnTo>
                <a:lnTo>
                  <a:pt x="263" y="25"/>
                </a:lnTo>
                <a:lnTo>
                  <a:pt x="259" y="22"/>
                </a:lnTo>
                <a:lnTo>
                  <a:pt x="256" y="22"/>
                </a:lnTo>
                <a:lnTo>
                  <a:pt x="256" y="22"/>
                </a:lnTo>
                <a:lnTo>
                  <a:pt x="253" y="22"/>
                </a:lnTo>
                <a:lnTo>
                  <a:pt x="244" y="25"/>
                </a:lnTo>
                <a:lnTo>
                  <a:pt x="238" y="28"/>
                </a:lnTo>
                <a:lnTo>
                  <a:pt x="231" y="25"/>
                </a:lnTo>
                <a:lnTo>
                  <a:pt x="225" y="22"/>
                </a:lnTo>
                <a:lnTo>
                  <a:pt x="222" y="25"/>
                </a:lnTo>
                <a:lnTo>
                  <a:pt x="216" y="22"/>
                </a:lnTo>
                <a:lnTo>
                  <a:pt x="212" y="19"/>
                </a:lnTo>
                <a:lnTo>
                  <a:pt x="203" y="16"/>
                </a:lnTo>
                <a:lnTo>
                  <a:pt x="203" y="16"/>
                </a:lnTo>
                <a:lnTo>
                  <a:pt x="200" y="19"/>
                </a:lnTo>
                <a:lnTo>
                  <a:pt x="197" y="19"/>
                </a:lnTo>
                <a:lnTo>
                  <a:pt x="194" y="13"/>
                </a:lnTo>
                <a:lnTo>
                  <a:pt x="194" y="9"/>
                </a:lnTo>
                <a:lnTo>
                  <a:pt x="191" y="6"/>
                </a:lnTo>
                <a:lnTo>
                  <a:pt x="187" y="6"/>
                </a:lnTo>
                <a:lnTo>
                  <a:pt x="184" y="9"/>
                </a:lnTo>
                <a:lnTo>
                  <a:pt x="181" y="9"/>
                </a:lnTo>
                <a:lnTo>
                  <a:pt x="181" y="9"/>
                </a:lnTo>
                <a:lnTo>
                  <a:pt x="172" y="3"/>
                </a:lnTo>
                <a:lnTo>
                  <a:pt x="172" y="0"/>
                </a:lnTo>
                <a:lnTo>
                  <a:pt x="172" y="0"/>
                </a:lnTo>
                <a:lnTo>
                  <a:pt x="166" y="3"/>
                </a:lnTo>
                <a:lnTo>
                  <a:pt x="159" y="3"/>
                </a:lnTo>
                <a:lnTo>
                  <a:pt x="156" y="0"/>
                </a:lnTo>
                <a:lnTo>
                  <a:pt x="153" y="3"/>
                </a:lnTo>
                <a:lnTo>
                  <a:pt x="144" y="3"/>
                </a:lnTo>
                <a:lnTo>
                  <a:pt x="137" y="3"/>
                </a:lnTo>
                <a:lnTo>
                  <a:pt x="128" y="6"/>
                </a:lnTo>
                <a:lnTo>
                  <a:pt x="125" y="6"/>
                </a:lnTo>
                <a:lnTo>
                  <a:pt x="119" y="9"/>
                </a:lnTo>
                <a:lnTo>
                  <a:pt x="116" y="13"/>
                </a:lnTo>
                <a:lnTo>
                  <a:pt x="112" y="13"/>
                </a:lnTo>
                <a:lnTo>
                  <a:pt x="109" y="16"/>
                </a:lnTo>
                <a:lnTo>
                  <a:pt x="106" y="16"/>
                </a:lnTo>
                <a:lnTo>
                  <a:pt x="106" y="22"/>
                </a:lnTo>
                <a:lnTo>
                  <a:pt x="103" y="22"/>
                </a:lnTo>
                <a:lnTo>
                  <a:pt x="103" y="25"/>
                </a:lnTo>
                <a:lnTo>
                  <a:pt x="97" y="25"/>
                </a:lnTo>
                <a:lnTo>
                  <a:pt x="87" y="22"/>
                </a:lnTo>
                <a:lnTo>
                  <a:pt x="84" y="22"/>
                </a:lnTo>
                <a:lnTo>
                  <a:pt x="81" y="22"/>
                </a:lnTo>
                <a:lnTo>
                  <a:pt x="78" y="22"/>
                </a:lnTo>
                <a:lnTo>
                  <a:pt x="72" y="25"/>
                </a:lnTo>
                <a:lnTo>
                  <a:pt x="69" y="22"/>
                </a:lnTo>
                <a:lnTo>
                  <a:pt x="62" y="25"/>
                </a:lnTo>
                <a:lnTo>
                  <a:pt x="62" y="28"/>
                </a:lnTo>
                <a:lnTo>
                  <a:pt x="66" y="34"/>
                </a:lnTo>
                <a:lnTo>
                  <a:pt x="72" y="34"/>
                </a:lnTo>
                <a:lnTo>
                  <a:pt x="75" y="34"/>
                </a:lnTo>
                <a:lnTo>
                  <a:pt x="75" y="34"/>
                </a:lnTo>
                <a:lnTo>
                  <a:pt x="66" y="38"/>
                </a:lnTo>
                <a:lnTo>
                  <a:pt x="59" y="38"/>
                </a:lnTo>
                <a:lnTo>
                  <a:pt x="56" y="41"/>
                </a:lnTo>
                <a:lnTo>
                  <a:pt x="59" y="44"/>
                </a:lnTo>
                <a:lnTo>
                  <a:pt x="62" y="41"/>
                </a:lnTo>
                <a:lnTo>
                  <a:pt x="66" y="44"/>
                </a:lnTo>
                <a:lnTo>
                  <a:pt x="62" y="47"/>
                </a:lnTo>
                <a:lnTo>
                  <a:pt x="53" y="47"/>
                </a:lnTo>
                <a:lnTo>
                  <a:pt x="47" y="44"/>
                </a:lnTo>
                <a:lnTo>
                  <a:pt x="44" y="47"/>
                </a:lnTo>
                <a:lnTo>
                  <a:pt x="41" y="44"/>
                </a:lnTo>
                <a:lnTo>
                  <a:pt x="37" y="44"/>
                </a:lnTo>
                <a:lnTo>
                  <a:pt x="34" y="47"/>
                </a:lnTo>
                <a:lnTo>
                  <a:pt x="31" y="47"/>
                </a:lnTo>
                <a:lnTo>
                  <a:pt x="28" y="44"/>
                </a:lnTo>
                <a:lnTo>
                  <a:pt x="22" y="44"/>
                </a:lnTo>
                <a:lnTo>
                  <a:pt x="12" y="50"/>
                </a:lnTo>
                <a:lnTo>
                  <a:pt x="12" y="53"/>
                </a:lnTo>
                <a:lnTo>
                  <a:pt x="12" y="56"/>
                </a:lnTo>
                <a:lnTo>
                  <a:pt x="12" y="59"/>
                </a:lnTo>
                <a:lnTo>
                  <a:pt x="12" y="63"/>
                </a:lnTo>
                <a:lnTo>
                  <a:pt x="12" y="66"/>
                </a:lnTo>
                <a:lnTo>
                  <a:pt x="12" y="66"/>
                </a:lnTo>
                <a:lnTo>
                  <a:pt x="19" y="66"/>
                </a:lnTo>
                <a:lnTo>
                  <a:pt x="19" y="66"/>
                </a:lnTo>
                <a:lnTo>
                  <a:pt x="22" y="66"/>
                </a:lnTo>
                <a:lnTo>
                  <a:pt x="28" y="66"/>
                </a:lnTo>
                <a:lnTo>
                  <a:pt x="22" y="69"/>
                </a:lnTo>
                <a:lnTo>
                  <a:pt x="25" y="72"/>
                </a:lnTo>
                <a:lnTo>
                  <a:pt x="25" y="75"/>
                </a:lnTo>
                <a:lnTo>
                  <a:pt x="25" y="78"/>
                </a:lnTo>
                <a:lnTo>
                  <a:pt x="25" y="78"/>
                </a:lnTo>
                <a:lnTo>
                  <a:pt x="25" y="81"/>
                </a:lnTo>
                <a:lnTo>
                  <a:pt x="31" y="78"/>
                </a:lnTo>
                <a:lnTo>
                  <a:pt x="31" y="81"/>
                </a:lnTo>
                <a:lnTo>
                  <a:pt x="28" y="81"/>
                </a:lnTo>
                <a:lnTo>
                  <a:pt x="22" y="84"/>
                </a:lnTo>
                <a:lnTo>
                  <a:pt x="25" y="88"/>
                </a:lnTo>
                <a:lnTo>
                  <a:pt x="28" y="88"/>
                </a:lnTo>
                <a:lnTo>
                  <a:pt x="25" y="88"/>
                </a:lnTo>
                <a:lnTo>
                  <a:pt x="22" y="91"/>
                </a:lnTo>
                <a:lnTo>
                  <a:pt x="22" y="91"/>
                </a:lnTo>
                <a:lnTo>
                  <a:pt x="19" y="88"/>
                </a:lnTo>
                <a:lnTo>
                  <a:pt x="19" y="88"/>
                </a:lnTo>
                <a:lnTo>
                  <a:pt x="16" y="91"/>
                </a:lnTo>
                <a:lnTo>
                  <a:pt x="19" y="94"/>
                </a:lnTo>
                <a:lnTo>
                  <a:pt x="16" y="94"/>
                </a:lnTo>
                <a:lnTo>
                  <a:pt x="16" y="97"/>
                </a:lnTo>
                <a:lnTo>
                  <a:pt x="19" y="100"/>
                </a:lnTo>
                <a:lnTo>
                  <a:pt x="22" y="97"/>
                </a:lnTo>
                <a:lnTo>
                  <a:pt x="25" y="100"/>
                </a:lnTo>
                <a:lnTo>
                  <a:pt x="28" y="100"/>
                </a:lnTo>
                <a:lnTo>
                  <a:pt x="31" y="103"/>
                </a:lnTo>
                <a:lnTo>
                  <a:pt x="34" y="110"/>
                </a:lnTo>
                <a:lnTo>
                  <a:pt x="31" y="113"/>
                </a:lnTo>
                <a:lnTo>
                  <a:pt x="34" y="113"/>
                </a:lnTo>
                <a:lnTo>
                  <a:pt x="34" y="116"/>
                </a:lnTo>
                <a:lnTo>
                  <a:pt x="34" y="116"/>
                </a:lnTo>
                <a:lnTo>
                  <a:pt x="41" y="122"/>
                </a:lnTo>
                <a:lnTo>
                  <a:pt x="37" y="125"/>
                </a:lnTo>
                <a:lnTo>
                  <a:pt x="34" y="122"/>
                </a:lnTo>
                <a:lnTo>
                  <a:pt x="34" y="125"/>
                </a:lnTo>
                <a:lnTo>
                  <a:pt x="37" y="125"/>
                </a:lnTo>
                <a:lnTo>
                  <a:pt x="44" y="125"/>
                </a:lnTo>
                <a:lnTo>
                  <a:pt x="50" y="125"/>
                </a:lnTo>
                <a:lnTo>
                  <a:pt x="50" y="125"/>
                </a:lnTo>
                <a:lnTo>
                  <a:pt x="50" y="128"/>
                </a:lnTo>
                <a:lnTo>
                  <a:pt x="44" y="131"/>
                </a:lnTo>
                <a:lnTo>
                  <a:pt x="37" y="131"/>
                </a:lnTo>
                <a:lnTo>
                  <a:pt x="37" y="131"/>
                </a:lnTo>
                <a:lnTo>
                  <a:pt x="41" y="135"/>
                </a:lnTo>
                <a:lnTo>
                  <a:pt x="44" y="131"/>
                </a:lnTo>
                <a:lnTo>
                  <a:pt x="47" y="131"/>
                </a:lnTo>
                <a:lnTo>
                  <a:pt x="50" y="131"/>
                </a:lnTo>
                <a:lnTo>
                  <a:pt x="50" y="135"/>
                </a:lnTo>
                <a:lnTo>
                  <a:pt x="50" y="135"/>
                </a:lnTo>
                <a:lnTo>
                  <a:pt x="53" y="131"/>
                </a:lnTo>
                <a:lnTo>
                  <a:pt x="56" y="128"/>
                </a:lnTo>
                <a:lnTo>
                  <a:pt x="59" y="128"/>
                </a:lnTo>
                <a:lnTo>
                  <a:pt x="59" y="131"/>
                </a:lnTo>
                <a:lnTo>
                  <a:pt x="62" y="131"/>
                </a:lnTo>
                <a:lnTo>
                  <a:pt x="66" y="135"/>
                </a:lnTo>
                <a:lnTo>
                  <a:pt x="69" y="131"/>
                </a:lnTo>
                <a:lnTo>
                  <a:pt x="72" y="131"/>
                </a:lnTo>
                <a:lnTo>
                  <a:pt x="72" y="135"/>
                </a:lnTo>
                <a:lnTo>
                  <a:pt x="69" y="135"/>
                </a:lnTo>
                <a:lnTo>
                  <a:pt x="72" y="138"/>
                </a:lnTo>
                <a:lnTo>
                  <a:pt x="72" y="141"/>
                </a:lnTo>
                <a:lnTo>
                  <a:pt x="75" y="144"/>
                </a:lnTo>
                <a:lnTo>
                  <a:pt x="78" y="141"/>
                </a:lnTo>
                <a:lnTo>
                  <a:pt x="81" y="144"/>
                </a:lnTo>
                <a:lnTo>
                  <a:pt x="87" y="144"/>
                </a:lnTo>
                <a:lnTo>
                  <a:pt x="87" y="141"/>
                </a:lnTo>
                <a:lnTo>
                  <a:pt x="91" y="141"/>
                </a:lnTo>
                <a:lnTo>
                  <a:pt x="94" y="141"/>
                </a:lnTo>
                <a:lnTo>
                  <a:pt x="97" y="141"/>
                </a:lnTo>
                <a:lnTo>
                  <a:pt x="100" y="141"/>
                </a:lnTo>
                <a:lnTo>
                  <a:pt x="100" y="135"/>
                </a:lnTo>
                <a:lnTo>
                  <a:pt x="100" y="131"/>
                </a:lnTo>
                <a:lnTo>
                  <a:pt x="100" y="128"/>
                </a:lnTo>
                <a:lnTo>
                  <a:pt x="109" y="128"/>
                </a:lnTo>
                <a:lnTo>
                  <a:pt x="116" y="128"/>
                </a:lnTo>
                <a:lnTo>
                  <a:pt x="125" y="135"/>
                </a:lnTo>
                <a:lnTo>
                  <a:pt x="128" y="135"/>
                </a:lnTo>
                <a:lnTo>
                  <a:pt x="134" y="141"/>
                </a:lnTo>
                <a:lnTo>
                  <a:pt x="141" y="144"/>
                </a:lnTo>
                <a:lnTo>
                  <a:pt x="156" y="144"/>
                </a:lnTo>
                <a:lnTo>
                  <a:pt x="162" y="141"/>
                </a:lnTo>
                <a:lnTo>
                  <a:pt x="166" y="141"/>
                </a:lnTo>
                <a:lnTo>
                  <a:pt x="166" y="141"/>
                </a:lnTo>
                <a:lnTo>
                  <a:pt x="169" y="141"/>
                </a:lnTo>
                <a:lnTo>
                  <a:pt x="169" y="138"/>
                </a:lnTo>
                <a:lnTo>
                  <a:pt x="178" y="125"/>
                </a:lnTo>
                <a:lnTo>
                  <a:pt x="178" y="125"/>
                </a:lnTo>
                <a:lnTo>
                  <a:pt x="187" y="128"/>
                </a:lnTo>
                <a:lnTo>
                  <a:pt x="194" y="131"/>
                </a:lnTo>
                <a:lnTo>
                  <a:pt x="197" y="131"/>
                </a:lnTo>
                <a:lnTo>
                  <a:pt x="200" y="128"/>
                </a:lnTo>
                <a:lnTo>
                  <a:pt x="203" y="125"/>
                </a:lnTo>
                <a:lnTo>
                  <a:pt x="206" y="125"/>
                </a:lnTo>
                <a:lnTo>
                  <a:pt x="206" y="128"/>
                </a:lnTo>
                <a:lnTo>
                  <a:pt x="203" y="135"/>
                </a:lnTo>
                <a:lnTo>
                  <a:pt x="200" y="138"/>
                </a:lnTo>
                <a:lnTo>
                  <a:pt x="200" y="138"/>
                </a:lnTo>
                <a:lnTo>
                  <a:pt x="203" y="144"/>
                </a:lnTo>
                <a:lnTo>
                  <a:pt x="203" y="147"/>
                </a:lnTo>
                <a:lnTo>
                  <a:pt x="206" y="147"/>
                </a:lnTo>
                <a:lnTo>
                  <a:pt x="209" y="147"/>
                </a:lnTo>
                <a:lnTo>
                  <a:pt x="216" y="144"/>
                </a:lnTo>
                <a:lnTo>
                  <a:pt x="216" y="141"/>
                </a:lnTo>
                <a:lnTo>
                  <a:pt x="216" y="138"/>
                </a:lnTo>
                <a:lnTo>
                  <a:pt x="216" y="131"/>
                </a:lnTo>
                <a:lnTo>
                  <a:pt x="219" y="128"/>
                </a:lnTo>
                <a:lnTo>
                  <a:pt x="225" y="128"/>
                </a:lnTo>
                <a:lnTo>
                  <a:pt x="228" y="131"/>
                </a:lnTo>
                <a:lnTo>
                  <a:pt x="238" y="125"/>
                </a:lnTo>
                <a:lnTo>
                  <a:pt x="238" y="125"/>
                </a:lnTo>
                <a:lnTo>
                  <a:pt x="241" y="125"/>
                </a:lnTo>
                <a:lnTo>
                  <a:pt x="253" y="122"/>
                </a:lnTo>
                <a:lnTo>
                  <a:pt x="256" y="125"/>
                </a:lnTo>
                <a:lnTo>
                  <a:pt x="256" y="125"/>
                </a:lnTo>
                <a:lnTo>
                  <a:pt x="263" y="128"/>
                </a:lnTo>
                <a:lnTo>
                  <a:pt x="272" y="128"/>
                </a:lnTo>
                <a:lnTo>
                  <a:pt x="275" y="125"/>
                </a:lnTo>
                <a:lnTo>
                  <a:pt x="278" y="125"/>
                </a:lnTo>
                <a:lnTo>
                  <a:pt x="281" y="122"/>
                </a:lnTo>
                <a:lnTo>
                  <a:pt x="288" y="119"/>
                </a:lnTo>
                <a:lnTo>
                  <a:pt x="294" y="119"/>
                </a:lnTo>
                <a:lnTo>
                  <a:pt x="297" y="119"/>
                </a:lnTo>
                <a:lnTo>
                  <a:pt x="306" y="119"/>
                </a:lnTo>
                <a:lnTo>
                  <a:pt x="316" y="116"/>
                </a:lnTo>
                <a:lnTo>
                  <a:pt x="322" y="116"/>
                </a:lnTo>
                <a:lnTo>
                  <a:pt x="322" y="119"/>
                </a:lnTo>
                <a:lnTo>
                  <a:pt x="328" y="113"/>
                </a:lnTo>
                <a:lnTo>
                  <a:pt x="331" y="113"/>
                </a:lnTo>
                <a:lnTo>
                  <a:pt x="334" y="113"/>
                </a:lnTo>
                <a:lnTo>
                  <a:pt x="341" y="113"/>
                </a:lnTo>
                <a:lnTo>
                  <a:pt x="350" y="113"/>
                </a:lnTo>
                <a:lnTo>
                  <a:pt x="353" y="113"/>
                </a:lnTo>
                <a:lnTo>
                  <a:pt x="356" y="113"/>
                </a:lnTo>
                <a:lnTo>
                  <a:pt x="356" y="119"/>
                </a:lnTo>
                <a:lnTo>
                  <a:pt x="359" y="119"/>
                </a:lnTo>
                <a:lnTo>
                  <a:pt x="366" y="119"/>
                </a:lnTo>
                <a:lnTo>
                  <a:pt x="366" y="116"/>
                </a:lnTo>
                <a:lnTo>
                  <a:pt x="363" y="110"/>
                </a:lnTo>
                <a:lnTo>
                  <a:pt x="359" y="103"/>
                </a:lnTo>
                <a:lnTo>
                  <a:pt x="353" y="100"/>
                </a:lnTo>
                <a:lnTo>
                  <a:pt x="353" y="97"/>
                </a:lnTo>
                <a:lnTo>
                  <a:pt x="353" y="91"/>
                </a:lnTo>
                <a:lnTo>
                  <a:pt x="356" y="88"/>
                </a:lnTo>
                <a:lnTo>
                  <a:pt x="356" y="84"/>
                </a:lnTo>
                <a:lnTo>
                  <a:pt x="350" y="84"/>
                </a:lnTo>
                <a:lnTo>
                  <a:pt x="350" y="78"/>
                </a:lnTo>
                <a:lnTo>
                  <a:pt x="350" y="75"/>
                </a:lnTo>
                <a:lnTo>
                  <a:pt x="350" y="66"/>
                </a:lnTo>
                <a:lnTo>
                  <a:pt x="347" y="63"/>
                </a:lnTo>
                <a:lnTo>
                  <a:pt x="347" y="63"/>
                </a:lnTo>
                <a:lnTo>
                  <a:pt x="353" y="59"/>
                </a:lnTo>
                <a:lnTo>
                  <a:pt x="353" y="56"/>
                </a:lnTo>
                <a:lnTo>
                  <a:pt x="356" y="53"/>
                </a:lnTo>
                <a:lnTo>
                  <a:pt x="353" y="50"/>
                </a:lnTo>
                <a:lnTo>
                  <a:pt x="350" y="47"/>
                </a:lnTo>
                <a:lnTo>
                  <a:pt x="347" y="47"/>
                </a:lnTo>
                <a:lnTo>
                  <a:pt x="341" y="47"/>
                </a:lnTo>
                <a:lnTo>
                  <a:pt x="334" y="44"/>
                </a:lnTo>
                <a:lnTo>
                  <a:pt x="334" y="34"/>
                </a:lnTo>
                <a:lnTo>
                  <a:pt x="338" y="28"/>
                </a:lnTo>
                <a:lnTo>
                  <a:pt x="334" y="25"/>
                </a:lnTo>
                <a:lnTo>
                  <a:pt x="331" y="25"/>
                </a:lnTo>
                <a:lnTo>
                  <a:pt x="331" y="22"/>
                </a:lnTo>
                <a:lnTo>
                  <a:pt x="328" y="19"/>
                </a:lnTo>
                <a:lnTo>
                  <a:pt x="325" y="19"/>
                </a:lnTo>
                <a:lnTo>
                  <a:pt x="316" y="9"/>
                </a:lnTo>
                <a:lnTo>
                  <a:pt x="313" y="9"/>
                </a:lnTo>
                <a:lnTo>
                  <a:pt x="309" y="13"/>
                </a:lnTo>
                <a:lnTo>
                  <a:pt x="306" y="13"/>
                </a:lnTo>
                <a:lnTo>
                  <a:pt x="303" y="9"/>
                </a:lnTo>
                <a:lnTo>
                  <a:pt x="300" y="13"/>
                </a:lnTo>
                <a:lnTo>
                  <a:pt x="297" y="13"/>
                </a:lnTo>
                <a:lnTo>
                  <a:pt x="297" y="9"/>
                </a:lnTo>
                <a:lnTo>
                  <a:pt x="294" y="9"/>
                </a:lnTo>
                <a:lnTo>
                  <a:pt x="294" y="9"/>
                </a:lnTo>
                <a:close/>
                <a:moveTo>
                  <a:pt x="44" y="135"/>
                </a:moveTo>
                <a:lnTo>
                  <a:pt x="47" y="135"/>
                </a:lnTo>
                <a:lnTo>
                  <a:pt x="47" y="135"/>
                </a:lnTo>
                <a:lnTo>
                  <a:pt x="47" y="135"/>
                </a:lnTo>
                <a:lnTo>
                  <a:pt x="47" y="138"/>
                </a:lnTo>
                <a:lnTo>
                  <a:pt x="44" y="135"/>
                </a:lnTo>
                <a:lnTo>
                  <a:pt x="44" y="135"/>
                </a:lnTo>
                <a:close/>
                <a:moveTo>
                  <a:pt x="0" y="47"/>
                </a:moveTo>
                <a:lnTo>
                  <a:pt x="3" y="50"/>
                </a:lnTo>
                <a:lnTo>
                  <a:pt x="9" y="47"/>
                </a:lnTo>
                <a:lnTo>
                  <a:pt x="9" y="47"/>
                </a:lnTo>
                <a:lnTo>
                  <a:pt x="6" y="44"/>
                </a:lnTo>
                <a:lnTo>
                  <a:pt x="6" y="47"/>
                </a:lnTo>
                <a:lnTo>
                  <a:pt x="3" y="47"/>
                </a:lnTo>
                <a:lnTo>
                  <a:pt x="0" y="47"/>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7" name="Freeform 85">
            <a:extLst>
              <a:ext uri="{FF2B5EF4-FFF2-40B4-BE49-F238E27FC236}">
                <a16:creationId xmlns:a16="http://schemas.microsoft.com/office/drawing/2014/main" id="{22EBD02A-0AE3-DF38-08C5-A9ADFFE9D284}"/>
              </a:ext>
            </a:extLst>
          </p:cNvPr>
          <p:cNvSpPr>
            <a:spLocks/>
          </p:cNvSpPr>
          <p:nvPr userDrawn="1"/>
        </p:nvSpPr>
        <p:spPr bwMode="auto">
          <a:xfrm>
            <a:off x="15512043" y="6914431"/>
            <a:ext cx="603211" cy="574678"/>
          </a:xfrm>
          <a:custGeom>
            <a:avLst/>
            <a:gdLst>
              <a:gd name="T0" fmla="*/ 187 w 190"/>
              <a:gd name="T1" fmla="*/ 156 h 181"/>
              <a:gd name="T2" fmla="*/ 181 w 190"/>
              <a:gd name="T3" fmla="*/ 150 h 181"/>
              <a:gd name="T4" fmla="*/ 172 w 190"/>
              <a:gd name="T5" fmla="*/ 137 h 181"/>
              <a:gd name="T6" fmla="*/ 172 w 190"/>
              <a:gd name="T7" fmla="*/ 128 h 181"/>
              <a:gd name="T8" fmla="*/ 172 w 190"/>
              <a:gd name="T9" fmla="*/ 115 h 181"/>
              <a:gd name="T10" fmla="*/ 165 w 190"/>
              <a:gd name="T11" fmla="*/ 106 h 181"/>
              <a:gd name="T12" fmla="*/ 159 w 190"/>
              <a:gd name="T13" fmla="*/ 106 h 181"/>
              <a:gd name="T14" fmla="*/ 140 w 190"/>
              <a:gd name="T15" fmla="*/ 97 h 181"/>
              <a:gd name="T16" fmla="*/ 134 w 190"/>
              <a:gd name="T17" fmla="*/ 93 h 181"/>
              <a:gd name="T18" fmla="*/ 134 w 190"/>
              <a:gd name="T19" fmla="*/ 90 h 181"/>
              <a:gd name="T20" fmla="*/ 134 w 190"/>
              <a:gd name="T21" fmla="*/ 84 h 181"/>
              <a:gd name="T22" fmla="*/ 128 w 190"/>
              <a:gd name="T23" fmla="*/ 78 h 181"/>
              <a:gd name="T24" fmla="*/ 122 w 190"/>
              <a:gd name="T25" fmla="*/ 75 h 181"/>
              <a:gd name="T26" fmla="*/ 125 w 190"/>
              <a:gd name="T27" fmla="*/ 72 h 181"/>
              <a:gd name="T28" fmla="*/ 125 w 190"/>
              <a:gd name="T29" fmla="*/ 65 h 181"/>
              <a:gd name="T30" fmla="*/ 128 w 190"/>
              <a:gd name="T31" fmla="*/ 56 h 181"/>
              <a:gd name="T32" fmla="*/ 131 w 190"/>
              <a:gd name="T33" fmla="*/ 53 h 181"/>
              <a:gd name="T34" fmla="*/ 131 w 190"/>
              <a:gd name="T35" fmla="*/ 43 h 181"/>
              <a:gd name="T36" fmla="*/ 131 w 190"/>
              <a:gd name="T37" fmla="*/ 37 h 181"/>
              <a:gd name="T38" fmla="*/ 137 w 190"/>
              <a:gd name="T39" fmla="*/ 34 h 181"/>
              <a:gd name="T40" fmla="*/ 137 w 190"/>
              <a:gd name="T41" fmla="*/ 34 h 181"/>
              <a:gd name="T42" fmla="*/ 128 w 190"/>
              <a:gd name="T43" fmla="*/ 34 h 181"/>
              <a:gd name="T44" fmla="*/ 118 w 190"/>
              <a:gd name="T45" fmla="*/ 28 h 181"/>
              <a:gd name="T46" fmla="*/ 112 w 190"/>
              <a:gd name="T47" fmla="*/ 25 h 181"/>
              <a:gd name="T48" fmla="*/ 109 w 190"/>
              <a:gd name="T49" fmla="*/ 18 h 181"/>
              <a:gd name="T50" fmla="*/ 103 w 190"/>
              <a:gd name="T51" fmla="*/ 12 h 181"/>
              <a:gd name="T52" fmla="*/ 103 w 190"/>
              <a:gd name="T53" fmla="*/ 6 h 181"/>
              <a:gd name="T54" fmla="*/ 93 w 190"/>
              <a:gd name="T55" fmla="*/ 6 h 181"/>
              <a:gd name="T56" fmla="*/ 90 w 190"/>
              <a:gd name="T57" fmla="*/ 0 h 181"/>
              <a:gd name="T58" fmla="*/ 84 w 190"/>
              <a:gd name="T59" fmla="*/ 0 h 181"/>
              <a:gd name="T60" fmla="*/ 68 w 190"/>
              <a:gd name="T61" fmla="*/ 0 h 181"/>
              <a:gd name="T62" fmla="*/ 62 w 190"/>
              <a:gd name="T63" fmla="*/ 0 h 181"/>
              <a:gd name="T64" fmla="*/ 56 w 190"/>
              <a:gd name="T65" fmla="*/ 6 h 181"/>
              <a:gd name="T66" fmla="*/ 53 w 190"/>
              <a:gd name="T67" fmla="*/ 9 h 181"/>
              <a:gd name="T68" fmla="*/ 40 w 190"/>
              <a:gd name="T69" fmla="*/ 15 h 181"/>
              <a:gd name="T70" fmla="*/ 37 w 190"/>
              <a:gd name="T71" fmla="*/ 28 h 181"/>
              <a:gd name="T72" fmla="*/ 40 w 190"/>
              <a:gd name="T73" fmla="*/ 40 h 181"/>
              <a:gd name="T74" fmla="*/ 37 w 190"/>
              <a:gd name="T75" fmla="*/ 50 h 181"/>
              <a:gd name="T76" fmla="*/ 34 w 190"/>
              <a:gd name="T77" fmla="*/ 62 h 181"/>
              <a:gd name="T78" fmla="*/ 0 w 190"/>
              <a:gd name="T79" fmla="*/ 90 h 181"/>
              <a:gd name="T80" fmla="*/ 0 w 190"/>
              <a:gd name="T81" fmla="*/ 90 h 181"/>
              <a:gd name="T82" fmla="*/ 25 w 190"/>
              <a:gd name="T83" fmla="*/ 115 h 181"/>
              <a:gd name="T84" fmla="*/ 156 w 190"/>
              <a:gd name="T85" fmla="*/ 181 h 181"/>
              <a:gd name="T86" fmla="*/ 162 w 190"/>
              <a:gd name="T87" fmla="*/ 162 h 181"/>
              <a:gd name="T88" fmla="*/ 178 w 190"/>
              <a:gd name="T89" fmla="*/ 162 h 181"/>
              <a:gd name="T90" fmla="*/ 184 w 190"/>
              <a:gd name="T91" fmla="*/ 162 h 181"/>
              <a:gd name="T92" fmla="*/ 190 w 190"/>
              <a:gd name="T93" fmla="*/ 15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0" h="181">
                <a:moveTo>
                  <a:pt x="190" y="156"/>
                </a:moveTo>
                <a:lnTo>
                  <a:pt x="187" y="156"/>
                </a:lnTo>
                <a:lnTo>
                  <a:pt x="184" y="153"/>
                </a:lnTo>
                <a:lnTo>
                  <a:pt x="181" y="150"/>
                </a:lnTo>
                <a:lnTo>
                  <a:pt x="178" y="137"/>
                </a:lnTo>
                <a:lnTo>
                  <a:pt x="172" y="137"/>
                </a:lnTo>
                <a:lnTo>
                  <a:pt x="172" y="134"/>
                </a:lnTo>
                <a:lnTo>
                  <a:pt x="172" y="128"/>
                </a:lnTo>
                <a:lnTo>
                  <a:pt x="175" y="125"/>
                </a:lnTo>
                <a:lnTo>
                  <a:pt x="172" y="115"/>
                </a:lnTo>
                <a:lnTo>
                  <a:pt x="168" y="112"/>
                </a:lnTo>
                <a:lnTo>
                  <a:pt x="165" y="106"/>
                </a:lnTo>
                <a:lnTo>
                  <a:pt x="162" y="103"/>
                </a:lnTo>
                <a:lnTo>
                  <a:pt x="159" y="106"/>
                </a:lnTo>
                <a:lnTo>
                  <a:pt x="143" y="97"/>
                </a:lnTo>
                <a:lnTo>
                  <a:pt x="140" y="97"/>
                </a:lnTo>
                <a:lnTo>
                  <a:pt x="140" y="97"/>
                </a:lnTo>
                <a:lnTo>
                  <a:pt x="134" y="93"/>
                </a:lnTo>
                <a:lnTo>
                  <a:pt x="137" y="90"/>
                </a:lnTo>
                <a:lnTo>
                  <a:pt x="134" y="90"/>
                </a:lnTo>
                <a:lnTo>
                  <a:pt x="137" y="87"/>
                </a:lnTo>
                <a:lnTo>
                  <a:pt x="134" y="84"/>
                </a:lnTo>
                <a:lnTo>
                  <a:pt x="131" y="81"/>
                </a:lnTo>
                <a:lnTo>
                  <a:pt x="128" y="78"/>
                </a:lnTo>
                <a:lnTo>
                  <a:pt x="125" y="75"/>
                </a:lnTo>
                <a:lnTo>
                  <a:pt x="122" y="75"/>
                </a:lnTo>
                <a:lnTo>
                  <a:pt x="122" y="75"/>
                </a:lnTo>
                <a:lnTo>
                  <a:pt x="125" y="72"/>
                </a:lnTo>
                <a:lnTo>
                  <a:pt x="122" y="68"/>
                </a:lnTo>
                <a:lnTo>
                  <a:pt x="125" y="65"/>
                </a:lnTo>
                <a:lnTo>
                  <a:pt x="125" y="59"/>
                </a:lnTo>
                <a:lnTo>
                  <a:pt x="128" y="56"/>
                </a:lnTo>
                <a:lnTo>
                  <a:pt x="128" y="53"/>
                </a:lnTo>
                <a:lnTo>
                  <a:pt x="131" y="53"/>
                </a:lnTo>
                <a:lnTo>
                  <a:pt x="131" y="50"/>
                </a:lnTo>
                <a:lnTo>
                  <a:pt x="131" y="43"/>
                </a:lnTo>
                <a:lnTo>
                  <a:pt x="131" y="43"/>
                </a:lnTo>
                <a:lnTo>
                  <a:pt x="131" y="37"/>
                </a:lnTo>
                <a:lnTo>
                  <a:pt x="131" y="37"/>
                </a:lnTo>
                <a:lnTo>
                  <a:pt x="137" y="34"/>
                </a:lnTo>
                <a:lnTo>
                  <a:pt x="137" y="34"/>
                </a:lnTo>
                <a:lnTo>
                  <a:pt x="137" y="34"/>
                </a:lnTo>
                <a:lnTo>
                  <a:pt x="134" y="31"/>
                </a:lnTo>
                <a:lnTo>
                  <a:pt x="128" y="34"/>
                </a:lnTo>
                <a:lnTo>
                  <a:pt x="125" y="31"/>
                </a:lnTo>
                <a:lnTo>
                  <a:pt x="118" y="28"/>
                </a:lnTo>
                <a:lnTo>
                  <a:pt x="115" y="28"/>
                </a:lnTo>
                <a:lnTo>
                  <a:pt x="112" y="25"/>
                </a:lnTo>
                <a:lnTo>
                  <a:pt x="112" y="22"/>
                </a:lnTo>
                <a:lnTo>
                  <a:pt x="109" y="18"/>
                </a:lnTo>
                <a:lnTo>
                  <a:pt x="106" y="18"/>
                </a:lnTo>
                <a:lnTo>
                  <a:pt x="103" y="12"/>
                </a:lnTo>
                <a:lnTo>
                  <a:pt x="103" y="9"/>
                </a:lnTo>
                <a:lnTo>
                  <a:pt x="103" y="6"/>
                </a:lnTo>
                <a:lnTo>
                  <a:pt x="100" y="6"/>
                </a:lnTo>
                <a:lnTo>
                  <a:pt x="93" y="6"/>
                </a:lnTo>
                <a:lnTo>
                  <a:pt x="90" y="6"/>
                </a:lnTo>
                <a:lnTo>
                  <a:pt x="90" y="0"/>
                </a:lnTo>
                <a:lnTo>
                  <a:pt x="87" y="0"/>
                </a:lnTo>
                <a:lnTo>
                  <a:pt x="84" y="0"/>
                </a:lnTo>
                <a:lnTo>
                  <a:pt x="75" y="0"/>
                </a:lnTo>
                <a:lnTo>
                  <a:pt x="68" y="0"/>
                </a:lnTo>
                <a:lnTo>
                  <a:pt x="65" y="0"/>
                </a:lnTo>
                <a:lnTo>
                  <a:pt x="62" y="0"/>
                </a:lnTo>
                <a:lnTo>
                  <a:pt x="56" y="6"/>
                </a:lnTo>
                <a:lnTo>
                  <a:pt x="56" y="6"/>
                </a:lnTo>
                <a:lnTo>
                  <a:pt x="56" y="9"/>
                </a:lnTo>
                <a:lnTo>
                  <a:pt x="53" y="9"/>
                </a:lnTo>
                <a:lnTo>
                  <a:pt x="50" y="12"/>
                </a:lnTo>
                <a:lnTo>
                  <a:pt x="40" y="15"/>
                </a:lnTo>
                <a:lnTo>
                  <a:pt x="37" y="22"/>
                </a:lnTo>
                <a:lnTo>
                  <a:pt x="37" y="28"/>
                </a:lnTo>
                <a:lnTo>
                  <a:pt x="40" y="34"/>
                </a:lnTo>
                <a:lnTo>
                  <a:pt x="40" y="40"/>
                </a:lnTo>
                <a:lnTo>
                  <a:pt x="37" y="47"/>
                </a:lnTo>
                <a:lnTo>
                  <a:pt x="37" y="50"/>
                </a:lnTo>
                <a:lnTo>
                  <a:pt x="37" y="56"/>
                </a:lnTo>
                <a:lnTo>
                  <a:pt x="34" y="62"/>
                </a:lnTo>
                <a:lnTo>
                  <a:pt x="34" y="65"/>
                </a:lnTo>
                <a:lnTo>
                  <a:pt x="0" y="90"/>
                </a:lnTo>
                <a:lnTo>
                  <a:pt x="0" y="90"/>
                </a:lnTo>
                <a:lnTo>
                  <a:pt x="0" y="90"/>
                </a:lnTo>
                <a:lnTo>
                  <a:pt x="9" y="115"/>
                </a:lnTo>
                <a:lnTo>
                  <a:pt x="25" y="115"/>
                </a:lnTo>
                <a:lnTo>
                  <a:pt x="118" y="181"/>
                </a:lnTo>
                <a:lnTo>
                  <a:pt x="156" y="181"/>
                </a:lnTo>
                <a:lnTo>
                  <a:pt x="159" y="172"/>
                </a:lnTo>
                <a:lnTo>
                  <a:pt x="162" y="162"/>
                </a:lnTo>
                <a:lnTo>
                  <a:pt x="172" y="159"/>
                </a:lnTo>
                <a:lnTo>
                  <a:pt x="178" y="162"/>
                </a:lnTo>
                <a:lnTo>
                  <a:pt x="184" y="159"/>
                </a:lnTo>
                <a:lnTo>
                  <a:pt x="184" y="162"/>
                </a:lnTo>
                <a:lnTo>
                  <a:pt x="187" y="156"/>
                </a:lnTo>
                <a:lnTo>
                  <a:pt x="190" y="156"/>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8" name="Freeform 86">
            <a:extLst>
              <a:ext uri="{FF2B5EF4-FFF2-40B4-BE49-F238E27FC236}">
                <a16:creationId xmlns:a16="http://schemas.microsoft.com/office/drawing/2014/main" id="{239BC775-BCCD-2BB4-6489-846312735CCE}"/>
              </a:ext>
            </a:extLst>
          </p:cNvPr>
          <p:cNvSpPr>
            <a:spLocks/>
          </p:cNvSpPr>
          <p:nvPr userDrawn="1"/>
        </p:nvSpPr>
        <p:spPr bwMode="auto">
          <a:xfrm>
            <a:off x="16007309" y="7419259"/>
            <a:ext cx="98420" cy="111126"/>
          </a:xfrm>
          <a:custGeom>
            <a:avLst/>
            <a:gdLst>
              <a:gd name="T0" fmla="*/ 0 w 31"/>
              <a:gd name="T1" fmla="*/ 22 h 35"/>
              <a:gd name="T2" fmla="*/ 3 w 31"/>
              <a:gd name="T3" fmla="*/ 13 h 35"/>
              <a:gd name="T4" fmla="*/ 6 w 31"/>
              <a:gd name="T5" fmla="*/ 3 h 35"/>
              <a:gd name="T6" fmla="*/ 16 w 31"/>
              <a:gd name="T7" fmla="*/ 0 h 35"/>
              <a:gd name="T8" fmla="*/ 22 w 31"/>
              <a:gd name="T9" fmla="*/ 3 h 35"/>
              <a:gd name="T10" fmla="*/ 28 w 31"/>
              <a:gd name="T11" fmla="*/ 0 h 35"/>
              <a:gd name="T12" fmla="*/ 28 w 31"/>
              <a:gd name="T13" fmla="*/ 3 h 35"/>
              <a:gd name="T14" fmla="*/ 28 w 31"/>
              <a:gd name="T15" fmla="*/ 3 h 35"/>
              <a:gd name="T16" fmla="*/ 31 w 31"/>
              <a:gd name="T17" fmla="*/ 13 h 35"/>
              <a:gd name="T18" fmla="*/ 19 w 31"/>
              <a:gd name="T19" fmla="*/ 16 h 35"/>
              <a:gd name="T20" fmla="*/ 28 w 31"/>
              <a:gd name="T21" fmla="*/ 19 h 35"/>
              <a:gd name="T22" fmla="*/ 28 w 31"/>
              <a:gd name="T23" fmla="*/ 19 h 35"/>
              <a:gd name="T24" fmla="*/ 28 w 31"/>
              <a:gd name="T25" fmla="*/ 22 h 35"/>
              <a:gd name="T26" fmla="*/ 28 w 31"/>
              <a:gd name="T27" fmla="*/ 25 h 35"/>
              <a:gd name="T28" fmla="*/ 31 w 31"/>
              <a:gd name="T29" fmla="*/ 25 h 35"/>
              <a:gd name="T30" fmla="*/ 31 w 31"/>
              <a:gd name="T31" fmla="*/ 25 h 35"/>
              <a:gd name="T32" fmla="*/ 31 w 31"/>
              <a:gd name="T33" fmla="*/ 28 h 35"/>
              <a:gd name="T34" fmla="*/ 31 w 31"/>
              <a:gd name="T35" fmla="*/ 28 h 35"/>
              <a:gd name="T36" fmla="*/ 19 w 31"/>
              <a:gd name="T37" fmla="*/ 35 h 35"/>
              <a:gd name="T38" fmla="*/ 19 w 31"/>
              <a:gd name="T39" fmla="*/ 28 h 35"/>
              <a:gd name="T40" fmla="*/ 0 w 31"/>
              <a:gd name="T41" fmla="*/ 22 h 35"/>
              <a:gd name="T42" fmla="*/ 0 w 31"/>
              <a:gd name="T43"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5">
                <a:moveTo>
                  <a:pt x="0" y="22"/>
                </a:moveTo>
                <a:lnTo>
                  <a:pt x="3" y="13"/>
                </a:lnTo>
                <a:lnTo>
                  <a:pt x="6" y="3"/>
                </a:lnTo>
                <a:lnTo>
                  <a:pt x="16" y="0"/>
                </a:lnTo>
                <a:lnTo>
                  <a:pt x="22" y="3"/>
                </a:lnTo>
                <a:lnTo>
                  <a:pt x="28" y="0"/>
                </a:lnTo>
                <a:lnTo>
                  <a:pt x="28" y="3"/>
                </a:lnTo>
                <a:lnTo>
                  <a:pt x="28" y="3"/>
                </a:lnTo>
                <a:lnTo>
                  <a:pt x="31" y="13"/>
                </a:lnTo>
                <a:lnTo>
                  <a:pt x="19" y="16"/>
                </a:lnTo>
                <a:lnTo>
                  <a:pt x="28" y="19"/>
                </a:lnTo>
                <a:lnTo>
                  <a:pt x="28" y="19"/>
                </a:lnTo>
                <a:lnTo>
                  <a:pt x="28" y="22"/>
                </a:lnTo>
                <a:lnTo>
                  <a:pt x="28" y="25"/>
                </a:lnTo>
                <a:lnTo>
                  <a:pt x="31" y="25"/>
                </a:lnTo>
                <a:lnTo>
                  <a:pt x="31" y="25"/>
                </a:lnTo>
                <a:lnTo>
                  <a:pt x="31" y="28"/>
                </a:lnTo>
                <a:lnTo>
                  <a:pt x="31" y="28"/>
                </a:lnTo>
                <a:lnTo>
                  <a:pt x="19" y="35"/>
                </a:lnTo>
                <a:lnTo>
                  <a:pt x="19" y="28"/>
                </a:lnTo>
                <a:lnTo>
                  <a:pt x="0" y="22"/>
                </a:lnTo>
                <a:lnTo>
                  <a:pt x="0" y="22"/>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9" name="Freeform 87">
            <a:extLst>
              <a:ext uri="{FF2B5EF4-FFF2-40B4-BE49-F238E27FC236}">
                <a16:creationId xmlns:a16="http://schemas.microsoft.com/office/drawing/2014/main" id="{6951549B-0CB6-8403-7057-290677120776}"/>
              </a:ext>
            </a:extLst>
          </p:cNvPr>
          <p:cNvSpPr>
            <a:spLocks/>
          </p:cNvSpPr>
          <p:nvPr userDrawn="1"/>
        </p:nvSpPr>
        <p:spPr bwMode="auto">
          <a:xfrm>
            <a:off x="15092967" y="7041432"/>
            <a:ext cx="139693" cy="79376"/>
          </a:xfrm>
          <a:custGeom>
            <a:avLst/>
            <a:gdLst>
              <a:gd name="T0" fmla="*/ 10 w 44"/>
              <a:gd name="T1" fmla="*/ 25 h 25"/>
              <a:gd name="T2" fmla="*/ 3 w 44"/>
              <a:gd name="T3" fmla="*/ 22 h 25"/>
              <a:gd name="T4" fmla="*/ 0 w 44"/>
              <a:gd name="T5" fmla="*/ 19 h 25"/>
              <a:gd name="T6" fmla="*/ 0 w 44"/>
              <a:gd name="T7" fmla="*/ 13 h 25"/>
              <a:gd name="T8" fmla="*/ 3 w 44"/>
              <a:gd name="T9" fmla="*/ 13 h 25"/>
              <a:gd name="T10" fmla="*/ 7 w 44"/>
              <a:gd name="T11" fmla="*/ 10 h 25"/>
              <a:gd name="T12" fmla="*/ 10 w 44"/>
              <a:gd name="T13" fmla="*/ 13 h 25"/>
              <a:gd name="T14" fmla="*/ 13 w 44"/>
              <a:gd name="T15" fmla="*/ 13 h 25"/>
              <a:gd name="T16" fmla="*/ 13 w 44"/>
              <a:gd name="T17" fmla="*/ 10 h 25"/>
              <a:gd name="T18" fmla="*/ 13 w 44"/>
              <a:gd name="T19" fmla="*/ 7 h 25"/>
              <a:gd name="T20" fmla="*/ 19 w 44"/>
              <a:gd name="T21" fmla="*/ 7 h 25"/>
              <a:gd name="T22" fmla="*/ 22 w 44"/>
              <a:gd name="T23" fmla="*/ 10 h 25"/>
              <a:gd name="T24" fmla="*/ 25 w 44"/>
              <a:gd name="T25" fmla="*/ 7 h 25"/>
              <a:gd name="T26" fmla="*/ 35 w 44"/>
              <a:gd name="T27" fmla="*/ 3 h 25"/>
              <a:gd name="T28" fmla="*/ 41 w 44"/>
              <a:gd name="T29" fmla="*/ 0 h 25"/>
              <a:gd name="T30" fmla="*/ 44 w 44"/>
              <a:gd name="T31" fmla="*/ 0 h 25"/>
              <a:gd name="T32" fmla="*/ 44 w 44"/>
              <a:gd name="T33" fmla="*/ 0 h 25"/>
              <a:gd name="T34" fmla="*/ 44 w 44"/>
              <a:gd name="T35" fmla="*/ 3 h 25"/>
              <a:gd name="T36" fmla="*/ 38 w 44"/>
              <a:gd name="T37" fmla="*/ 7 h 25"/>
              <a:gd name="T38" fmla="*/ 35 w 44"/>
              <a:gd name="T39" fmla="*/ 10 h 25"/>
              <a:gd name="T40" fmla="*/ 35 w 44"/>
              <a:gd name="T41" fmla="*/ 16 h 25"/>
              <a:gd name="T42" fmla="*/ 35 w 44"/>
              <a:gd name="T43" fmla="*/ 19 h 25"/>
              <a:gd name="T44" fmla="*/ 32 w 44"/>
              <a:gd name="T45" fmla="*/ 19 h 25"/>
              <a:gd name="T46" fmla="*/ 28 w 44"/>
              <a:gd name="T47" fmla="*/ 19 h 25"/>
              <a:gd name="T48" fmla="*/ 22 w 44"/>
              <a:gd name="T49" fmla="*/ 22 h 25"/>
              <a:gd name="T50" fmla="*/ 19 w 44"/>
              <a:gd name="T51" fmla="*/ 25 h 25"/>
              <a:gd name="T52" fmla="*/ 16 w 44"/>
              <a:gd name="T53" fmla="*/ 25 h 25"/>
              <a:gd name="T54" fmla="*/ 13 w 44"/>
              <a:gd name="T55" fmla="*/ 25 h 25"/>
              <a:gd name="T56" fmla="*/ 10 w 44"/>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 h="25">
                <a:moveTo>
                  <a:pt x="10" y="25"/>
                </a:moveTo>
                <a:lnTo>
                  <a:pt x="3" y="22"/>
                </a:lnTo>
                <a:lnTo>
                  <a:pt x="0" y="19"/>
                </a:lnTo>
                <a:lnTo>
                  <a:pt x="0" y="13"/>
                </a:lnTo>
                <a:lnTo>
                  <a:pt x="3" y="13"/>
                </a:lnTo>
                <a:lnTo>
                  <a:pt x="7" y="10"/>
                </a:lnTo>
                <a:lnTo>
                  <a:pt x="10" y="13"/>
                </a:lnTo>
                <a:lnTo>
                  <a:pt x="13" y="13"/>
                </a:lnTo>
                <a:lnTo>
                  <a:pt x="13" y="10"/>
                </a:lnTo>
                <a:lnTo>
                  <a:pt x="13" y="7"/>
                </a:lnTo>
                <a:lnTo>
                  <a:pt x="19" y="7"/>
                </a:lnTo>
                <a:lnTo>
                  <a:pt x="22" y="10"/>
                </a:lnTo>
                <a:lnTo>
                  <a:pt x="25" y="7"/>
                </a:lnTo>
                <a:lnTo>
                  <a:pt x="35" y="3"/>
                </a:lnTo>
                <a:lnTo>
                  <a:pt x="41" y="0"/>
                </a:lnTo>
                <a:lnTo>
                  <a:pt x="44" y="0"/>
                </a:lnTo>
                <a:lnTo>
                  <a:pt x="44" y="0"/>
                </a:lnTo>
                <a:lnTo>
                  <a:pt x="44" y="3"/>
                </a:lnTo>
                <a:lnTo>
                  <a:pt x="38" y="7"/>
                </a:lnTo>
                <a:lnTo>
                  <a:pt x="35" y="10"/>
                </a:lnTo>
                <a:lnTo>
                  <a:pt x="35" y="16"/>
                </a:lnTo>
                <a:lnTo>
                  <a:pt x="35" y="19"/>
                </a:lnTo>
                <a:lnTo>
                  <a:pt x="32" y="19"/>
                </a:lnTo>
                <a:lnTo>
                  <a:pt x="28" y="19"/>
                </a:lnTo>
                <a:lnTo>
                  <a:pt x="22" y="22"/>
                </a:lnTo>
                <a:lnTo>
                  <a:pt x="19" y="25"/>
                </a:lnTo>
                <a:lnTo>
                  <a:pt x="16" y="25"/>
                </a:lnTo>
                <a:lnTo>
                  <a:pt x="13" y="25"/>
                </a:lnTo>
                <a:lnTo>
                  <a:pt x="10" y="25"/>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0" name="Freeform 88">
            <a:extLst>
              <a:ext uri="{FF2B5EF4-FFF2-40B4-BE49-F238E27FC236}">
                <a16:creationId xmlns:a16="http://schemas.microsoft.com/office/drawing/2014/main" id="{A9F214AB-770D-1909-1CD0-6A6BC67938CE}"/>
              </a:ext>
            </a:extLst>
          </p:cNvPr>
          <p:cNvSpPr>
            <a:spLocks/>
          </p:cNvSpPr>
          <p:nvPr userDrawn="1"/>
        </p:nvSpPr>
        <p:spPr bwMode="auto">
          <a:xfrm>
            <a:off x="15302505" y="6923961"/>
            <a:ext cx="387325" cy="346078"/>
          </a:xfrm>
          <a:custGeom>
            <a:avLst/>
            <a:gdLst>
              <a:gd name="T0" fmla="*/ 100 w 122"/>
              <a:gd name="T1" fmla="*/ 62 h 109"/>
              <a:gd name="T2" fmla="*/ 103 w 122"/>
              <a:gd name="T3" fmla="*/ 53 h 109"/>
              <a:gd name="T4" fmla="*/ 103 w 122"/>
              <a:gd name="T5" fmla="*/ 44 h 109"/>
              <a:gd name="T6" fmla="*/ 106 w 122"/>
              <a:gd name="T7" fmla="*/ 31 h 109"/>
              <a:gd name="T8" fmla="*/ 103 w 122"/>
              <a:gd name="T9" fmla="*/ 19 h 109"/>
              <a:gd name="T10" fmla="*/ 116 w 122"/>
              <a:gd name="T11" fmla="*/ 9 h 109"/>
              <a:gd name="T12" fmla="*/ 122 w 122"/>
              <a:gd name="T13" fmla="*/ 6 h 109"/>
              <a:gd name="T14" fmla="*/ 122 w 122"/>
              <a:gd name="T15" fmla="*/ 0 h 109"/>
              <a:gd name="T16" fmla="*/ 106 w 122"/>
              <a:gd name="T17" fmla="*/ 3 h 109"/>
              <a:gd name="T18" fmla="*/ 94 w 122"/>
              <a:gd name="T19" fmla="*/ 3 h 109"/>
              <a:gd name="T20" fmla="*/ 81 w 122"/>
              <a:gd name="T21" fmla="*/ 6 h 109"/>
              <a:gd name="T22" fmla="*/ 75 w 122"/>
              <a:gd name="T23" fmla="*/ 9 h 109"/>
              <a:gd name="T24" fmla="*/ 63 w 122"/>
              <a:gd name="T25" fmla="*/ 12 h 109"/>
              <a:gd name="T26" fmla="*/ 56 w 122"/>
              <a:gd name="T27" fmla="*/ 9 h 109"/>
              <a:gd name="T28" fmla="*/ 41 w 122"/>
              <a:gd name="T29" fmla="*/ 9 h 109"/>
              <a:gd name="T30" fmla="*/ 38 w 122"/>
              <a:gd name="T31" fmla="*/ 9 h 109"/>
              <a:gd name="T32" fmla="*/ 25 w 122"/>
              <a:gd name="T33" fmla="*/ 12 h 109"/>
              <a:gd name="T34" fmla="*/ 16 w 122"/>
              <a:gd name="T35" fmla="*/ 15 h 109"/>
              <a:gd name="T36" fmla="*/ 16 w 122"/>
              <a:gd name="T37" fmla="*/ 25 h 109"/>
              <a:gd name="T38" fmla="*/ 9 w 122"/>
              <a:gd name="T39" fmla="*/ 31 h 109"/>
              <a:gd name="T40" fmla="*/ 3 w 122"/>
              <a:gd name="T41" fmla="*/ 31 h 109"/>
              <a:gd name="T42" fmla="*/ 0 w 122"/>
              <a:gd name="T43" fmla="*/ 31 h 109"/>
              <a:gd name="T44" fmla="*/ 3 w 122"/>
              <a:gd name="T45" fmla="*/ 44 h 109"/>
              <a:gd name="T46" fmla="*/ 3 w 122"/>
              <a:gd name="T47" fmla="*/ 53 h 109"/>
              <a:gd name="T48" fmla="*/ 12 w 122"/>
              <a:gd name="T49" fmla="*/ 62 h 109"/>
              <a:gd name="T50" fmla="*/ 19 w 122"/>
              <a:gd name="T51" fmla="*/ 65 h 109"/>
              <a:gd name="T52" fmla="*/ 19 w 122"/>
              <a:gd name="T53" fmla="*/ 75 h 109"/>
              <a:gd name="T54" fmla="*/ 16 w 122"/>
              <a:gd name="T55" fmla="*/ 78 h 109"/>
              <a:gd name="T56" fmla="*/ 9 w 122"/>
              <a:gd name="T57" fmla="*/ 84 h 109"/>
              <a:gd name="T58" fmla="*/ 6 w 122"/>
              <a:gd name="T59" fmla="*/ 87 h 109"/>
              <a:gd name="T60" fmla="*/ 9 w 122"/>
              <a:gd name="T61" fmla="*/ 94 h 109"/>
              <a:gd name="T62" fmla="*/ 9 w 122"/>
              <a:gd name="T63" fmla="*/ 103 h 109"/>
              <a:gd name="T64" fmla="*/ 19 w 122"/>
              <a:gd name="T65" fmla="*/ 106 h 109"/>
              <a:gd name="T66" fmla="*/ 22 w 122"/>
              <a:gd name="T67" fmla="*/ 109 h 109"/>
              <a:gd name="T68" fmla="*/ 66 w 122"/>
              <a:gd name="T69" fmla="*/ 8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2" h="109">
                <a:moveTo>
                  <a:pt x="66" y="87"/>
                </a:moveTo>
                <a:lnTo>
                  <a:pt x="100" y="62"/>
                </a:lnTo>
                <a:lnTo>
                  <a:pt x="100" y="59"/>
                </a:lnTo>
                <a:lnTo>
                  <a:pt x="103" y="53"/>
                </a:lnTo>
                <a:lnTo>
                  <a:pt x="103" y="47"/>
                </a:lnTo>
                <a:lnTo>
                  <a:pt x="103" y="44"/>
                </a:lnTo>
                <a:lnTo>
                  <a:pt x="106" y="37"/>
                </a:lnTo>
                <a:lnTo>
                  <a:pt x="106" y="31"/>
                </a:lnTo>
                <a:lnTo>
                  <a:pt x="103" y="25"/>
                </a:lnTo>
                <a:lnTo>
                  <a:pt x="103" y="19"/>
                </a:lnTo>
                <a:lnTo>
                  <a:pt x="106" y="12"/>
                </a:lnTo>
                <a:lnTo>
                  <a:pt x="116" y="9"/>
                </a:lnTo>
                <a:lnTo>
                  <a:pt x="119" y="6"/>
                </a:lnTo>
                <a:lnTo>
                  <a:pt x="122" y="6"/>
                </a:lnTo>
                <a:lnTo>
                  <a:pt x="122" y="3"/>
                </a:lnTo>
                <a:lnTo>
                  <a:pt x="122" y="0"/>
                </a:lnTo>
                <a:lnTo>
                  <a:pt x="116" y="0"/>
                </a:lnTo>
                <a:lnTo>
                  <a:pt x="106" y="3"/>
                </a:lnTo>
                <a:lnTo>
                  <a:pt x="97" y="3"/>
                </a:lnTo>
                <a:lnTo>
                  <a:pt x="94" y="3"/>
                </a:lnTo>
                <a:lnTo>
                  <a:pt x="88" y="3"/>
                </a:lnTo>
                <a:lnTo>
                  <a:pt x="81" y="6"/>
                </a:lnTo>
                <a:lnTo>
                  <a:pt x="78" y="9"/>
                </a:lnTo>
                <a:lnTo>
                  <a:pt x="75" y="9"/>
                </a:lnTo>
                <a:lnTo>
                  <a:pt x="72" y="12"/>
                </a:lnTo>
                <a:lnTo>
                  <a:pt x="63" y="12"/>
                </a:lnTo>
                <a:lnTo>
                  <a:pt x="56" y="9"/>
                </a:lnTo>
                <a:lnTo>
                  <a:pt x="56" y="9"/>
                </a:lnTo>
                <a:lnTo>
                  <a:pt x="53" y="6"/>
                </a:lnTo>
                <a:lnTo>
                  <a:pt x="41" y="9"/>
                </a:lnTo>
                <a:lnTo>
                  <a:pt x="38" y="9"/>
                </a:lnTo>
                <a:lnTo>
                  <a:pt x="38" y="9"/>
                </a:lnTo>
                <a:lnTo>
                  <a:pt x="28" y="15"/>
                </a:lnTo>
                <a:lnTo>
                  <a:pt x="25" y="12"/>
                </a:lnTo>
                <a:lnTo>
                  <a:pt x="19" y="12"/>
                </a:lnTo>
                <a:lnTo>
                  <a:pt x="16" y="15"/>
                </a:lnTo>
                <a:lnTo>
                  <a:pt x="16" y="22"/>
                </a:lnTo>
                <a:lnTo>
                  <a:pt x="16" y="25"/>
                </a:lnTo>
                <a:lnTo>
                  <a:pt x="16" y="28"/>
                </a:lnTo>
                <a:lnTo>
                  <a:pt x="9" y="31"/>
                </a:lnTo>
                <a:lnTo>
                  <a:pt x="6" y="31"/>
                </a:lnTo>
                <a:lnTo>
                  <a:pt x="3" y="31"/>
                </a:lnTo>
                <a:lnTo>
                  <a:pt x="3" y="31"/>
                </a:lnTo>
                <a:lnTo>
                  <a:pt x="0" y="31"/>
                </a:lnTo>
                <a:lnTo>
                  <a:pt x="0" y="37"/>
                </a:lnTo>
                <a:lnTo>
                  <a:pt x="3" y="44"/>
                </a:lnTo>
                <a:lnTo>
                  <a:pt x="6" y="50"/>
                </a:lnTo>
                <a:lnTo>
                  <a:pt x="3" y="53"/>
                </a:lnTo>
                <a:lnTo>
                  <a:pt x="3" y="59"/>
                </a:lnTo>
                <a:lnTo>
                  <a:pt x="12" y="62"/>
                </a:lnTo>
                <a:lnTo>
                  <a:pt x="16" y="65"/>
                </a:lnTo>
                <a:lnTo>
                  <a:pt x="19" y="65"/>
                </a:lnTo>
                <a:lnTo>
                  <a:pt x="19" y="72"/>
                </a:lnTo>
                <a:lnTo>
                  <a:pt x="19" y="75"/>
                </a:lnTo>
                <a:lnTo>
                  <a:pt x="16" y="78"/>
                </a:lnTo>
                <a:lnTo>
                  <a:pt x="16" y="78"/>
                </a:lnTo>
                <a:lnTo>
                  <a:pt x="9" y="78"/>
                </a:lnTo>
                <a:lnTo>
                  <a:pt x="9" y="84"/>
                </a:lnTo>
                <a:lnTo>
                  <a:pt x="6" y="87"/>
                </a:lnTo>
                <a:lnTo>
                  <a:pt x="6" y="87"/>
                </a:lnTo>
                <a:lnTo>
                  <a:pt x="6" y="90"/>
                </a:lnTo>
                <a:lnTo>
                  <a:pt x="9" y="94"/>
                </a:lnTo>
                <a:lnTo>
                  <a:pt x="9" y="100"/>
                </a:lnTo>
                <a:lnTo>
                  <a:pt x="9" y="103"/>
                </a:lnTo>
                <a:lnTo>
                  <a:pt x="12" y="103"/>
                </a:lnTo>
                <a:lnTo>
                  <a:pt x="19" y="106"/>
                </a:lnTo>
                <a:lnTo>
                  <a:pt x="22" y="109"/>
                </a:lnTo>
                <a:lnTo>
                  <a:pt x="22" y="109"/>
                </a:lnTo>
                <a:lnTo>
                  <a:pt x="25" y="109"/>
                </a:lnTo>
                <a:lnTo>
                  <a:pt x="66" y="87"/>
                </a:lnTo>
                <a:lnTo>
                  <a:pt x="66" y="87"/>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1" name="Freeform 89">
            <a:extLst>
              <a:ext uri="{FF2B5EF4-FFF2-40B4-BE49-F238E27FC236}">
                <a16:creationId xmlns:a16="http://schemas.microsoft.com/office/drawing/2014/main" id="{1F848FEE-3FEE-988B-C64F-C2442FDC3FCC}"/>
              </a:ext>
            </a:extLst>
          </p:cNvPr>
          <p:cNvSpPr>
            <a:spLocks/>
          </p:cNvSpPr>
          <p:nvPr userDrawn="1"/>
        </p:nvSpPr>
        <p:spPr bwMode="auto">
          <a:xfrm>
            <a:off x="15223132" y="7200182"/>
            <a:ext cx="98420" cy="279400"/>
          </a:xfrm>
          <a:custGeom>
            <a:avLst/>
            <a:gdLst>
              <a:gd name="T0" fmla="*/ 19 w 31"/>
              <a:gd name="T1" fmla="*/ 88 h 88"/>
              <a:gd name="T2" fmla="*/ 22 w 31"/>
              <a:gd name="T3" fmla="*/ 85 h 88"/>
              <a:gd name="T4" fmla="*/ 22 w 31"/>
              <a:gd name="T5" fmla="*/ 85 h 88"/>
              <a:gd name="T6" fmla="*/ 22 w 31"/>
              <a:gd name="T7" fmla="*/ 82 h 88"/>
              <a:gd name="T8" fmla="*/ 25 w 31"/>
              <a:gd name="T9" fmla="*/ 79 h 88"/>
              <a:gd name="T10" fmla="*/ 25 w 31"/>
              <a:gd name="T11" fmla="*/ 75 h 88"/>
              <a:gd name="T12" fmla="*/ 25 w 31"/>
              <a:gd name="T13" fmla="*/ 69 h 88"/>
              <a:gd name="T14" fmla="*/ 25 w 31"/>
              <a:gd name="T15" fmla="*/ 63 h 88"/>
              <a:gd name="T16" fmla="*/ 25 w 31"/>
              <a:gd name="T17" fmla="*/ 63 h 88"/>
              <a:gd name="T18" fmla="*/ 25 w 31"/>
              <a:gd name="T19" fmla="*/ 60 h 88"/>
              <a:gd name="T20" fmla="*/ 28 w 31"/>
              <a:gd name="T21" fmla="*/ 54 h 88"/>
              <a:gd name="T22" fmla="*/ 28 w 31"/>
              <a:gd name="T23" fmla="*/ 50 h 88"/>
              <a:gd name="T24" fmla="*/ 28 w 31"/>
              <a:gd name="T25" fmla="*/ 44 h 88"/>
              <a:gd name="T26" fmla="*/ 25 w 31"/>
              <a:gd name="T27" fmla="*/ 44 h 88"/>
              <a:gd name="T28" fmla="*/ 25 w 31"/>
              <a:gd name="T29" fmla="*/ 44 h 88"/>
              <a:gd name="T30" fmla="*/ 22 w 31"/>
              <a:gd name="T31" fmla="*/ 44 h 88"/>
              <a:gd name="T32" fmla="*/ 19 w 31"/>
              <a:gd name="T33" fmla="*/ 44 h 88"/>
              <a:gd name="T34" fmla="*/ 19 w 31"/>
              <a:gd name="T35" fmla="*/ 38 h 88"/>
              <a:gd name="T36" fmla="*/ 19 w 31"/>
              <a:gd name="T37" fmla="*/ 29 h 88"/>
              <a:gd name="T38" fmla="*/ 19 w 31"/>
              <a:gd name="T39" fmla="*/ 25 h 88"/>
              <a:gd name="T40" fmla="*/ 19 w 31"/>
              <a:gd name="T41" fmla="*/ 19 h 88"/>
              <a:gd name="T42" fmla="*/ 25 w 31"/>
              <a:gd name="T43" fmla="*/ 19 h 88"/>
              <a:gd name="T44" fmla="*/ 25 w 31"/>
              <a:gd name="T45" fmla="*/ 22 h 88"/>
              <a:gd name="T46" fmla="*/ 25 w 31"/>
              <a:gd name="T47" fmla="*/ 25 h 88"/>
              <a:gd name="T48" fmla="*/ 28 w 31"/>
              <a:gd name="T49" fmla="*/ 22 h 88"/>
              <a:gd name="T50" fmla="*/ 28 w 31"/>
              <a:gd name="T51" fmla="*/ 19 h 88"/>
              <a:gd name="T52" fmla="*/ 28 w 31"/>
              <a:gd name="T53" fmla="*/ 19 h 88"/>
              <a:gd name="T54" fmla="*/ 28 w 31"/>
              <a:gd name="T55" fmla="*/ 19 h 88"/>
              <a:gd name="T56" fmla="*/ 28 w 31"/>
              <a:gd name="T57" fmla="*/ 16 h 88"/>
              <a:gd name="T58" fmla="*/ 28 w 31"/>
              <a:gd name="T59" fmla="*/ 10 h 88"/>
              <a:gd name="T60" fmla="*/ 28 w 31"/>
              <a:gd name="T61" fmla="*/ 3 h 88"/>
              <a:gd name="T62" fmla="*/ 31 w 31"/>
              <a:gd name="T63" fmla="*/ 0 h 88"/>
              <a:gd name="T64" fmla="*/ 28 w 31"/>
              <a:gd name="T65" fmla="*/ 0 h 88"/>
              <a:gd name="T66" fmla="*/ 28 w 31"/>
              <a:gd name="T67" fmla="*/ 7 h 88"/>
              <a:gd name="T68" fmla="*/ 22 w 31"/>
              <a:gd name="T69" fmla="*/ 7 h 88"/>
              <a:gd name="T70" fmla="*/ 19 w 31"/>
              <a:gd name="T71" fmla="*/ 7 h 88"/>
              <a:gd name="T72" fmla="*/ 12 w 31"/>
              <a:gd name="T73" fmla="*/ 10 h 88"/>
              <a:gd name="T74" fmla="*/ 12 w 31"/>
              <a:gd name="T75" fmla="*/ 25 h 88"/>
              <a:gd name="T76" fmla="*/ 6 w 31"/>
              <a:gd name="T77" fmla="*/ 35 h 88"/>
              <a:gd name="T78" fmla="*/ 0 w 31"/>
              <a:gd name="T79" fmla="*/ 44 h 88"/>
              <a:gd name="T80" fmla="*/ 3 w 31"/>
              <a:gd name="T81" fmla="*/ 44 h 88"/>
              <a:gd name="T82" fmla="*/ 6 w 31"/>
              <a:gd name="T83" fmla="*/ 50 h 88"/>
              <a:gd name="T84" fmla="*/ 9 w 31"/>
              <a:gd name="T85" fmla="*/ 57 h 88"/>
              <a:gd name="T86" fmla="*/ 16 w 31"/>
              <a:gd name="T87" fmla="*/ 66 h 88"/>
              <a:gd name="T88" fmla="*/ 19 w 31"/>
              <a:gd name="T89" fmla="*/ 75 h 88"/>
              <a:gd name="T90" fmla="*/ 16 w 31"/>
              <a:gd name="T91" fmla="*/ 82 h 88"/>
              <a:gd name="T92" fmla="*/ 19 w 31"/>
              <a:gd name="T9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1" h="88">
                <a:moveTo>
                  <a:pt x="19" y="88"/>
                </a:moveTo>
                <a:lnTo>
                  <a:pt x="22" y="85"/>
                </a:lnTo>
                <a:lnTo>
                  <a:pt x="22" y="85"/>
                </a:lnTo>
                <a:lnTo>
                  <a:pt x="22" y="82"/>
                </a:lnTo>
                <a:lnTo>
                  <a:pt x="25" y="79"/>
                </a:lnTo>
                <a:lnTo>
                  <a:pt x="25" y="75"/>
                </a:lnTo>
                <a:lnTo>
                  <a:pt x="25" y="69"/>
                </a:lnTo>
                <a:lnTo>
                  <a:pt x="25" y="63"/>
                </a:lnTo>
                <a:lnTo>
                  <a:pt x="25" y="63"/>
                </a:lnTo>
                <a:lnTo>
                  <a:pt x="25" y="60"/>
                </a:lnTo>
                <a:lnTo>
                  <a:pt x="28" y="54"/>
                </a:lnTo>
                <a:lnTo>
                  <a:pt x="28" y="50"/>
                </a:lnTo>
                <a:lnTo>
                  <a:pt x="28" y="44"/>
                </a:lnTo>
                <a:lnTo>
                  <a:pt x="25" y="44"/>
                </a:lnTo>
                <a:lnTo>
                  <a:pt x="25" y="44"/>
                </a:lnTo>
                <a:lnTo>
                  <a:pt x="22" y="44"/>
                </a:lnTo>
                <a:lnTo>
                  <a:pt x="19" y="44"/>
                </a:lnTo>
                <a:lnTo>
                  <a:pt x="19" y="38"/>
                </a:lnTo>
                <a:lnTo>
                  <a:pt x="19" y="29"/>
                </a:lnTo>
                <a:lnTo>
                  <a:pt x="19" y="25"/>
                </a:lnTo>
                <a:lnTo>
                  <a:pt x="19" y="19"/>
                </a:lnTo>
                <a:lnTo>
                  <a:pt x="25" y="19"/>
                </a:lnTo>
                <a:lnTo>
                  <a:pt x="25" y="22"/>
                </a:lnTo>
                <a:lnTo>
                  <a:pt x="25" y="25"/>
                </a:lnTo>
                <a:lnTo>
                  <a:pt x="28" y="22"/>
                </a:lnTo>
                <a:lnTo>
                  <a:pt x="28" y="19"/>
                </a:lnTo>
                <a:lnTo>
                  <a:pt x="28" y="19"/>
                </a:lnTo>
                <a:lnTo>
                  <a:pt x="28" y="19"/>
                </a:lnTo>
                <a:lnTo>
                  <a:pt x="28" y="16"/>
                </a:lnTo>
                <a:lnTo>
                  <a:pt x="28" y="10"/>
                </a:lnTo>
                <a:lnTo>
                  <a:pt x="28" y="3"/>
                </a:lnTo>
                <a:lnTo>
                  <a:pt x="31" y="0"/>
                </a:lnTo>
                <a:lnTo>
                  <a:pt x="28" y="0"/>
                </a:lnTo>
                <a:lnTo>
                  <a:pt x="28" y="7"/>
                </a:lnTo>
                <a:lnTo>
                  <a:pt x="22" y="7"/>
                </a:lnTo>
                <a:lnTo>
                  <a:pt x="19" y="7"/>
                </a:lnTo>
                <a:lnTo>
                  <a:pt x="12" y="10"/>
                </a:lnTo>
                <a:lnTo>
                  <a:pt x="12" y="25"/>
                </a:lnTo>
                <a:lnTo>
                  <a:pt x="6" y="35"/>
                </a:lnTo>
                <a:lnTo>
                  <a:pt x="0" y="44"/>
                </a:lnTo>
                <a:lnTo>
                  <a:pt x="3" y="44"/>
                </a:lnTo>
                <a:lnTo>
                  <a:pt x="6" y="50"/>
                </a:lnTo>
                <a:lnTo>
                  <a:pt x="9" y="57"/>
                </a:lnTo>
                <a:lnTo>
                  <a:pt x="16" y="66"/>
                </a:lnTo>
                <a:lnTo>
                  <a:pt x="19" y="75"/>
                </a:lnTo>
                <a:lnTo>
                  <a:pt x="16" y="82"/>
                </a:lnTo>
                <a:lnTo>
                  <a:pt x="19" y="88"/>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2" name="Freeform 90">
            <a:extLst>
              <a:ext uri="{FF2B5EF4-FFF2-40B4-BE49-F238E27FC236}">
                <a16:creationId xmlns:a16="http://schemas.microsoft.com/office/drawing/2014/main" id="{CFFA66D9-E570-6028-038D-5E4D639F2DC9}"/>
              </a:ext>
            </a:extLst>
          </p:cNvPr>
          <p:cNvSpPr>
            <a:spLocks/>
          </p:cNvSpPr>
          <p:nvPr userDrawn="1"/>
        </p:nvSpPr>
        <p:spPr bwMode="auto">
          <a:xfrm>
            <a:off x="15312028" y="7200183"/>
            <a:ext cx="19049" cy="60326"/>
          </a:xfrm>
          <a:custGeom>
            <a:avLst/>
            <a:gdLst>
              <a:gd name="T0" fmla="*/ 0 w 6"/>
              <a:gd name="T1" fmla="*/ 19 h 19"/>
              <a:gd name="T2" fmla="*/ 0 w 6"/>
              <a:gd name="T3" fmla="*/ 19 h 19"/>
              <a:gd name="T4" fmla="*/ 0 w 6"/>
              <a:gd name="T5" fmla="*/ 16 h 19"/>
              <a:gd name="T6" fmla="*/ 0 w 6"/>
              <a:gd name="T7" fmla="*/ 10 h 19"/>
              <a:gd name="T8" fmla="*/ 0 w 6"/>
              <a:gd name="T9" fmla="*/ 3 h 19"/>
              <a:gd name="T10" fmla="*/ 3 w 6"/>
              <a:gd name="T11" fmla="*/ 0 h 19"/>
              <a:gd name="T12" fmla="*/ 3 w 6"/>
              <a:gd name="T13" fmla="*/ 0 h 19"/>
              <a:gd name="T14" fmla="*/ 3 w 6"/>
              <a:gd name="T15" fmla="*/ 3 h 19"/>
              <a:gd name="T16" fmla="*/ 6 w 6"/>
              <a:gd name="T17" fmla="*/ 7 h 19"/>
              <a:gd name="T18" fmla="*/ 6 w 6"/>
              <a:gd name="T19" fmla="*/ 13 h 19"/>
              <a:gd name="T20" fmla="*/ 6 w 6"/>
              <a:gd name="T21" fmla="*/ 16 h 19"/>
              <a:gd name="T22" fmla="*/ 6 w 6"/>
              <a:gd name="T23" fmla="*/ 16 h 19"/>
              <a:gd name="T24" fmla="*/ 3 w 6"/>
              <a:gd name="T25" fmla="*/ 19 h 19"/>
              <a:gd name="T26" fmla="*/ 3 w 6"/>
              <a:gd name="T27" fmla="*/ 19 h 19"/>
              <a:gd name="T28" fmla="*/ 0 w 6"/>
              <a:gd name="T2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19">
                <a:moveTo>
                  <a:pt x="0" y="19"/>
                </a:moveTo>
                <a:lnTo>
                  <a:pt x="0" y="19"/>
                </a:lnTo>
                <a:lnTo>
                  <a:pt x="0" y="16"/>
                </a:lnTo>
                <a:lnTo>
                  <a:pt x="0" y="10"/>
                </a:lnTo>
                <a:lnTo>
                  <a:pt x="0" y="3"/>
                </a:lnTo>
                <a:lnTo>
                  <a:pt x="3" y="0"/>
                </a:lnTo>
                <a:lnTo>
                  <a:pt x="3" y="0"/>
                </a:lnTo>
                <a:lnTo>
                  <a:pt x="3" y="3"/>
                </a:lnTo>
                <a:lnTo>
                  <a:pt x="6" y="7"/>
                </a:lnTo>
                <a:lnTo>
                  <a:pt x="6" y="13"/>
                </a:lnTo>
                <a:lnTo>
                  <a:pt x="6" y="16"/>
                </a:lnTo>
                <a:lnTo>
                  <a:pt x="6" y="16"/>
                </a:lnTo>
                <a:lnTo>
                  <a:pt x="3" y="19"/>
                </a:lnTo>
                <a:lnTo>
                  <a:pt x="3" y="19"/>
                </a:lnTo>
                <a:lnTo>
                  <a:pt x="0" y="19"/>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3" name="Freeform 91">
            <a:extLst>
              <a:ext uri="{FF2B5EF4-FFF2-40B4-BE49-F238E27FC236}">
                <a16:creationId xmlns:a16="http://schemas.microsoft.com/office/drawing/2014/main" id="{BE593F9C-1812-016E-E4FF-B02A0B51C4B1}"/>
              </a:ext>
            </a:extLst>
          </p:cNvPr>
          <p:cNvSpPr>
            <a:spLocks/>
          </p:cNvSpPr>
          <p:nvPr userDrawn="1"/>
        </p:nvSpPr>
        <p:spPr bwMode="auto">
          <a:xfrm>
            <a:off x="15283451" y="7260506"/>
            <a:ext cx="28574" cy="79376"/>
          </a:xfrm>
          <a:custGeom>
            <a:avLst/>
            <a:gdLst>
              <a:gd name="T0" fmla="*/ 6 w 9"/>
              <a:gd name="T1" fmla="*/ 25 h 25"/>
              <a:gd name="T2" fmla="*/ 6 w 9"/>
              <a:gd name="T3" fmla="*/ 25 h 25"/>
              <a:gd name="T4" fmla="*/ 3 w 9"/>
              <a:gd name="T5" fmla="*/ 25 h 25"/>
              <a:gd name="T6" fmla="*/ 0 w 9"/>
              <a:gd name="T7" fmla="*/ 25 h 25"/>
              <a:gd name="T8" fmla="*/ 0 w 9"/>
              <a:gd name="T9" fmla="*/ 19 h 25"/>
              <a:gd name="T10" fmla="*/ 0 w 9"/>
              <a:gd name="T11" fmla="*/ 10 h 25"/>
              <a:gd name="T12" fmla="*/ 0 w 9"/>
              <a:gd name="T13" fmla="*/ 6 h 25"/>
              <a:gd name="T14" fmla="*/ 0 w 9"/>
              <a:gd name="T15" fmla="*/ 0 h 25"/>
              <a:gd name="T16" fmla="*/ 6 w 9"/>
              <a:gd name="T17" fmla="*/ 0 h 25"/>
              <a:gd name="T18" fmla="*/ 6 w 9"/>
              <a:gd name="T19" fmla="*/ 3 h 25"/>
              <a:gd name="T20" fmla="*/ 6 w 9"/>
              <a:gd name="T21" fmla="*/ 6 h 25"/>
              <a:gd name="T22" fmla="*/ 9 w 9"/>
              <a:gd name="T23" fmla="*/ 3 h 25"/>
              <a:gd name="T24" fmla="*/ 9 w 9"/>
              <a:gd name="T25" fmla="*/ 3 h 25"/>
              <a:gd name="T26" fmla="*/ 9 w 9"/>
              <a:gd name="T27" fmla="*/ 6 h 25"/>
              <a:gd name="T28" fmla="*/ 9 w 9"/>
              <a:gd name="T29" fmla="*/ 10 h 25"/>
              <a:gd name="T30" fmla="*/ 9 w 9"/>
              <a:gd name="T31" fmla="*/ 13 h 25"/>
              <a:gd name="T32" fmla="*/ 9 w 9"/>
              <a:gd name="T33" fmla="*/ 16 h 25"/>
              <a:gd name="T34" fmla="*/ 9 w 9"/>
              <a:gd name="T35" fmla="*/ 25 h 25"/>
              <a:gd name="T36" fmla="*/ 6 w 9"/>
              <a:gd name="T3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25">
                <a:moveTo>
                  <a:pt x="6" y="25"/>
                </a:moveTo>
                <a:lnTo>
                  <a:pt x="6" y="25"/>
                </a:lnTo>
                <a:lnTo>
                  <a:pt x="3" y="25"/>
                </a:lnTo>
                <a:lnTo>
                  <a:pt x="0" y="25"/>
                </a:lnTo>
                <a:lnTo>
                  <a:pt x="0" y="19"/>
                </a:lnTo>
                <a:lnTo>
                  <a:pt x="0" y="10"/>
                </a:lnTo>
                <a:lnTo>
                  <a:pt x="0" y="6"/>
                </a:lnTo>
                <a:lnTo>
                  <a:pt x="0" y="0"/>
                </a:lnTo>
                <a:lnTo>
                  <a:pt x="6" y="0"/>
                </a:lnTo>
                <a:lnTo>
                  <a:pt x="6" y="3"/>
                </a:lnTo>
                <a:lnTo>
                  <a:pt x="6" y="6"/>
                </a:lnTo>
                <a:lnTo>
                  <a:pt x="9" y="3"/>
                </a:lnTo>
                <a:lnTo>
                  <a:pt x="9" y="3"/>
                </a:lnTo>
                <a:lnTo>
                  <a:pt x="9" y="6"/>
                </a:lnTo>
                <a:lnTo>
                  <a:pt x="9" y="10"/>
                </a:lnTo>
                <a:lnTo>
                  <a:pt x="9" y="13"/>
                </a:lnTo>
                <a:lnTo>
                  <a:pt x="9" y="16"/>
                </a:lnTo>
                <a:lnTo>
                  <a:pt x="9" y="25"/>
                </a:lnTo>
                <a:lnTo>
                  <a:pt x="6" y="25"/>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4" name="Freeform 92">
            <a:extLst>
              <a:ext uri="{FF2B5EF4-FFF2-40B4-BE49-F238E27FC236}">
                <a16:creationId xmlns:a16="http://schemas.microsoft.com/office/drawing/2014/main" id="{D925FD80-E3F1-940A-AEF5-6D54017A2971}"/>
              </a:ext>
            </a:extLst>
          </p:cNvPr>
          <p:cNvSpPr>
            <a:spLocks/>
          </p:cNvSpPr>
          <p:nvPr userDrawn="1"/>
        </p:nvSpPr>
        <p:spPr bwMode="auto">
          <a:xfrm>
            <a:off x="15283451" y="7111283"/>
            <a:ext cx="79371" cy="111126"/>
          </a:xfrm>
          <a:custGeom>
            <a:avLst/>
            <a:gdLst>
              <a:gd name="T0" fmla="*/ 0 w 25"/>
              <a:gd name="T1" fmla="*/ 35 h 35"/>
              <a:gd name="T2" fmla="*/ 3 w 25"/>
              <a:gd name="T3" fmla="*/ 35 h 35"/>
              <a:gd name="T4" fmla="*/ 9 w 25"/>
              <a:gd name="T5" fmla="*/ 35 h 35"/>
              <a:gd name="T6" fmla="*/ 9 w 25"/>
              <a:gd name="T7" fmla="*/ 28 h 35"/>
              <a:gd name="T8" fmla="*/ 12 w 25"/>
              <a:gd name="T9" fmla="*/ 28 h 35"/>
              <a:gd name="T10" fmla="*/ 15 w 25"/>
              <a:gd name="T11" fmla="*/ 25 h 35"/>
              <a:gd name="T12" fmla="*/ 15 w 25"/>
              <a:gd name="T13" fmla="*/ 19 h 35"/>
              <a:gd name="T14" fmla="*/ 22 w 25"/>
              <a:gd name="T15" fmla="*/ 19 h 35"/>
              <a:gd name="T16" fmla="*/ 22 w 25"/>
              <a:gd name="T17" fmla="*/ 19 h 35"/>
              <a:gd name="T18" fmla="*/ 25 w 25"/>
              <a:gd name="T19" fmla="*/ 16 h 35"/>
              <a:gd name="T20" fmla="*/ 25 w 25"/>
              <a:gd name="T21" fmla="*/ 13 h 35"/>
              <a:gd name="T22" fmla="*/ 25 w 25"/>
              <a:gd name="T23" fmla="*/ 6 h 35"/>
              <a:gd name="T24" fmla="*/ 22 w 25"/>
              <a:gd name="T25" fmla="*/ 6 h 35"/>
              <a:gd name="T26" fmla="*/ 18 w 25"/>
              <a:gd name="T27" fmla="*/ 3 h 35"/>
              <a:gd name="T28" fmla="*/ 9 w 25"/>
              <a:gd name="T29" fmla="*/ 0 h 35"/>
              <a:gd name="T30" fmla="*/ 9 w 25"/>
              <a:gd name="T31" fmla="*/ 3 h 35"/>
              <a:gd name="T32" fmla="*/ 6 w 25"/>
              <a:gd name="T33" fmla="*/ 3 h 35"/>
              <a:gd name="T34" fmla="*/ 6 w 25"/>
              <a:gd name="T35" fmla="*/ 16 h 35"/>
              <a:gd name="T36" fmla="*/ 3 w 25"/>
              <a:gd name="T37" fmla="*/ 22 h 35"/>
              <a:gd name="T38" fmla="*/ 0 w 25"/>
              <a:gd name="T39" fmla="*/ 28 h 35"/>
              <a:gd name="T40" fmla="*/ 0 w 25"/>
              <a:gd name="T41" fmla="*/ 31 h 35"/>
              <a:gd name="T42" fmla="*/ 0 w 25"/>
              <a:gd name="T4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35">
                <a:moveTo>
                  <a:pt x="0" y="35"/>
                </a:moveTo>
                <a:lnTo>
                  <a:pt x="3" y="35"/>
                </a:lnTo>
                <a:lnTo>
                  <a:pt x="9" y="35"/>
                </a:lnTo>
                <a:lnTo>
                  <a:pt x="9" y="28"/>
                </a:lnTo>
                <a:lnTo>
                  <a:pt x="12" y="28"/>
                </a:lnTo>
                <a:lnTo>
                  <a:pt x="15" y="25"/>
                </a:lnTo>
                <a:lnTo>
                  <a:pt x="15" y="19"/>
                </a:lnTo>
                <a:lnTo>
                  <a:pt x="22" y="19"/>
                </a:lnTo>
                <a:lnTo>
                  <a:pt x="22" y="19"/>
                </a:lnTo>
                <a:lnTo>
                  <a:pt x="25" y="16"/>
                </a:lnTo>
                <a:lnTo>
                  <a:pt x="25" y="13"/>
                </a:lnTo>
                <a:lnTo>
                  <a:pt x="25" y="6"/>
                </a:lnTo>
                <a:lnTo>
                  <a:pt x="22" y="6"/>
                </a:lnTo>
                <a:lnTo>
                  <a:pt x="18" y="3"/>
                </a:lnTo>
                <a:lnTo>
                  <a:pt x="9" y="0"/>
                </a:lnTo>
                <a:lnTo>
                  <a:pt x="9" y="3"/>
                </a:lnTo>
                <a:lnTo>
                  <a:pt x="6" y="3"/>
                </a:lnTo>
                <a:lnTo>
                  <a:pt x="6" y="16"/>
                </a:lnTo>
                <a:lnTo>
                  <a:pt x="3" y="22"/>
                </a:lnTo>
                <a:lnTo>
                  <a:pt x="0" y="28"/>
                </a:lnTo>
                <a:lnTo>
                  <a:pt x="0" y="31"/>
                </a:lnTo>
                <a:lnTo>
                  <a:pt x="0" y="35"/>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5" name="Freeform 93">
            <a:extLst>
              <a:ext uri="{FF2B5EF4-FFF2-40B4-BE49-F238E27FC236}">
                <a16:creationId xmlns:a16="http://schemas.microsoft.com/office/drawing/2014/main" id="{14B79F9A-3E2F-786E-C342-5B5A8613AD4C}"/>
              </a:ext>
            </a:extLst>
          </p:cNvPr>
          <p:cNvSpPr>
            <a:spLocks/>
          </p:cNvSpPr>
          <p:nvPr userDrawn="1"/>
        </p:nvSpPr>
        <p:spPr bwMode="auto">
          <a:xfrm>
            <a:off x="15283451" y="7200182"/>
            <a:ext cx="257159" cy="307976"/>
          </a:xfrm>
          <a:custGeom>
            <a:avLst/>
            <a:gdLst>
              <a:gd name="T0" fmla="*/ 3 w 81"/>
              <a:gd name="T1" fmla="*/ 85 h 97"/>
              <a:gd name="T2" fmla="*/ 3 w 81"/>
              <a:gd name="T3" fmla="*/ 85 h 97"/>
              <a:gd name="T4" fmla="*/ 3 w 81"/>
              <a:gd name="T5" fmla="*/ 82 h 97"/>
              <a:gd name="T6" fmla="*/ 6 w 81"/>
              <a:gd name="T7" fmla="*/ 79 h 97"/>
              <a:gd name="T8" fmla="*/ 6 w 81"/>
              <a:gd name="T9" fmla="*/ 75 h 97"/>
              <a:gd name="T10" fmla="*/ 6 w 81"/>
              <a:gd name="T11" fmla="*/ 69 h 97"/>
              <a:gd name="T12" fmla="*/ 6 w 81"/>
              <a:gd name="T13" fmla="*/ 63 h 97"/>
              <a:gd name="T14" fmla="*/ 6 w 81"/>
              <a:gd name="T15" fmla="*/ 63 h 97"/>
              <a:gd name="T16" fmla="*/ 6 w 81"/>
              <a:gd name="T17" fmla="*/ 60 h 97"/>
              <a:gd name="T18" fmla="*/ 9 w 81"/>
              <a:gd name="T19" fmla="*/ 54 h 97"/>
              <a:gd name="T20" fmla="*/ 9 w 81"/>
              <a:gd name="T21" fmla="*/ 50 h 97"/>
              <a:gd name="T22" fmla="*/ 9 w 81"/>
              <a:gd name="T23" fmla="*/ 35 h 97"/>
              <a:gd name="T24" fmla="*/ 9 w 81"/>
              <a:gd name="T25" fmla="*/ 32 h 97"/>
              <a:gd name="T26" fmla="*/ 9 w 81"/>
              <a:gd name="T27" fmla="*/ 29 h 97"/>
              <a:gd name="T28" fmla="*/ 9 w 81"/>
              <a:gd name="T29" fmla="*/ 25 h 97"/>
              <a:gd name="T30" fmla="*/ 9 w 81"/>
              <a:gd name="T31" fmla="*/ 22 h 97"/>
              <a:gd name="T32" fmla="*/ 9 w 81"/>
              <a:gd name="T33" fmla="*/ 19 h 97"/>
              <a:gd name="T34" fmla="*/ 12 w 81"/>
              <a:gd name="T35" fmla="*/ 19 h 97"/>
              <a:gd name="T36" fmla="*/ 12 w 81"/>
              <a:gd name="T37" fmla="*/ 19 h 97"/>
              <a:gd name="T38" fmla="*/ 15 w 81"/>
              <a:gd name="T39" fmla="*/ 16 h 97"/>
              <a:gd name="T40" fmla="*/ 18 w 81"/>
              <a:gd name="T41" fmla="*/ 16 h 97"/>
              <a:gd name="T42" fmla="*/ 25 w 81"/>
              <a:gd name="T43" fmla="*/ 19 h 97"/>
              <a:gd name="T44" fmla="*/ 28 w 81"/>
              <a:gd name="T45" fmla="*/ 22 h 97"/>
              <a:gd name="T46" fmla="*/ 28 w 81"/>
              <a:gd name="T47" fmla="*/ 22 h 97"/>
              <a:gd name="T48" fmla="*/ 31 w 81"/>
              <a:gd name="T49" fmla="*/ 22 h 97"/>
              <a:gd name="T50" fmla="*/ 72 w 81"/>
              <a:gd name="T51" fmla="*/ 0 h 97"/>
              <a:gd name="T52" fmla="*/ 81 w 81"/>
              <a:gd name="T53" fmla="*/ 25 h 97"/>
              <a:gd name="T54" fmla="*/ 78 w 81"/>
              <a:gd name="T55" fmla="*/ 25 h 97"/>
              <a:gd name="T56" fmla="*/ 72 w 81"/>
              <a:gd name="T57" fmla="*/ 32 h 97"/>
              <a:gd name="T58" fmla="*/ 44 w 81"/>
              <a:gd name="T59" fmla="*/ 41 h 97"/>
              <a:gd name="T60" fmla="*/ 65 w 81"/>
              <a:gd name="T61" fmla="*/ 66 h 97"/>
              <a:gd name="T62" fmla="*/ 56 w 81"/>
              <a:gd name="T63" fmla="*/ 75 h 97"/>
              <a:gd name="T64" fmla="*/ 56 w 81"/>
              <a:gd name="T65" fmla="*/ 82 h 97"/>
              <a:gd name="T66" fmla="*/ 40 w 81"/>
              <a:gd name="T67" fmla="*/ 82 h 97"/>
              <a:gd name="T68" fmla="*/ 28 w 81"/>
              <a:gd name="T69" fmla="*/ 97 h 97"/>
              <a:gd name="T70" fmla="*/ 6 w 81"/>
              <a:gd name="T71" fmla="*/ 91 h 97"/>
              <a:gd name="T72" fmla="*/ 0 w 81"/>
              <a:gd name="T73" fmla="*/ 91 h 97"/>
              <a:gd name="T74" fmla="*/ 3 w 81"/>
              <a:gd name="T75" fmla="*/ 91 h 97"/>
              <a:gd name="T76" fmla="*/ 3 w 81"/>
              <a:gd name="T77" fmla="*/ 85 h 97"/>
              <a:gd name="T78" fmla="*/ 3 w 81"/>
              <a:gd name="T79" fmla="*/ 85 h 97"/>
              <a:gd name="T80" fmla="*/ 3 w 81"/>
              <a:gd name="T81" fmla="*/ 8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97">
                <a:moveTo>
                  <a:pt x="3" y="85"/>
                </a:moveTo>
                <a:lnTo>
                  <a:pt x="3" y="85"/>
                </a:lnTo>
                <a:lnTo>
                  <a:pt x="3" y="82"/>
                </a:lnTo>
                <a:lnTo>
                  <a:pt x="6" y="79"/>
                </a:lnTo>
                <a:lnTo>
                  <a:pt x="6" y="75"/>
                </a:lnTo>
                <a:lnTo>
                  <a:pt x="6" y="69"/>
                </a:lnTo>
                <a:lnTo>
                  <a:pt x="6" y="63"/>
                </a:lnTo>
                <a:lnTo>
                  <a:pt x="6" y="63"/>
                </a:lnTo>
                <a:lnTo>
                  <a:pt x="6" y="60"/>
                </a:lnTo>
                <a:lnTo>
                  <a:pt x="9" y="54"/>
                </a:lnTo>
                <a:lnTo>
                  <a:pt x="9" y="50"/>
                </a:lnTo>
                <a:lnTo>
                  <a:pt x="9" y="35"/>
                </a:lnTo>
                <a:lnTo>
                  <a:pt x="9" y="32"/>
                </a:lnTo>
                <a:lnTo>
                  <a:pt x="9" y="29"/>
                </a:lnTo>
                <a:lnTo>
                  <a:pt x="9" y="25"/>
                </a:lnTo>
                <a:lnTo>
                  <a:pt x="9" y="22"/>
                </a:lnTo>
                <a:lnTo>
                  <a:pt x="9" y="19"/>
                </a:lnTo>
                <a:lnTo>
                  <a:pt x="12" y="19"/>
                </a:lnTo>
                <a:lnTo>
                  <a:pt x="12" y="19"/>
                </a:lnTo>
                <a:lnTo>
                  <a:pt x="15" y="16"/>
                </a:lnTo>
                <a:lnTo>
                  <a:pt x="18" y="16"/>
                </a:lnTo>
                <a:lnTo>
                  <a:pt x="25" y="19"/>
                </a:lnTo>
                <a:lnTo>
                  <a:pt x="28" y="22"/>
                </a:lnTo>
                <a:lnTo>
                  <a:pt x="28" y="22"/>
                </a:lnTo>
                <a:lnTo>
                  <a:pt x="31" y="22"/>
                </a:lnTo>
                <a:lnTo>
                  <a:pt x="72" y="0"/>
                </a:lnTo>
                <a:lnTo>
                  <a:pt x="81" y="25"/>
                </a:lnTo>
                <a:lnTo>
                  <a:pt x="78" y="25"/>
                </a:lnTo>
                <a:lnTo>
                  <a:pt x="72" y="32"/>
                </a:lnTo>
                <a:lnTo>
                  <a:pt x="44" y="41"/>
                </a:lnTo>
                <a:lnTo>
                  <a:pt x="65" y="66"/>
                </a:lnTo>
                <a:lnTo>
                  <a:pt x="56" y="75"/>
                </a:lnTo>
                <a:lnTo>
                  <a:pt x="56" y="82"/>
                </a:lnTo>
                <a:lnTo>
                  <a:pt x="40" y="82"/>
                </a:lnTo>
                <a:lnTo>
                  <a:pt x="28" y="97"/>
                </a:lnTo>
                <a:lnTo>
                  <a:pt x="6" y="91"/>
                </a:lnTo>
                <a:lnTo>
                  <a:pt x="0" y="91"/>
                </a:lnTo>
                <a:lnTo>
                  <a:pt x="3" y="91"/>
                </a:lnTo>
                <a:lnTo>
                  <a:pt x="3" y="85"/>
                </a:lnTo>
                <a:lnTo>
                  <a:pt x="3" y="85"/>
                </a:lnTo>
                <a:lnTo>
                  <a:pt x="3" y="85"/>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6" name="Freeform 94">
            <a:extLst>
              <a:ext uri="{FF2B5EF4-FFF2-40B4-BE49-F238E27FC236}">
                <a16:creationId xmlns:a16="http://schemas.microsoft.com/office/drawing/2014/main" id="{C128A7BA-E35E-E6E8-D3E8-8DB53DFC319A}"/>
              </a:ext>
            </a:extLst>
          </p:cNvPr>
          <p:cNvSpPr>
            <a:spLocks/>
          </p:cNvSpPr>
          <p:nvPr userDrawn="1"/>
        </p:nvSpPr>
        <p:spPr bwMode="auto">
          <a:xfrm>
            <a:off x="15283454" y="7279558"/>
            <a:ext cx="1288966" cy="1092200"/>
          </a:xfrm>
          <a:custGeom>
            <a:avLst/>
            <a:gdLst>
              <a:gd name="T0" fmla="*/ 247 w 406"/>
              <a:gd name="T1" fmla="*/ 72 h 344"/>
              <a:gd name="T2" fmla="*/ 97 w 406"/>
              <a:gd name="T3" fmla="*/ 0 h 344"/>
              <a:gd name="T4" fmla="*/ 44 w 406"/>
              <a:gd name="T5" fmla="*/ 16 h 344"/>
              <a:gd name="T6" fmla="*/ 56 w 406"/>
              <a:gd name="T7" fmla="*/ 57 h 344"/>
              <a:gd name="T8" fmla="*/ 6 w 406"/>
              <a:gd name="T9" fmla="*/ 66 h 344"/>
              <a:gd name="T10" fmla="*/ 0 w 406"/>
              <a:gd name="T11" fmla="*/ 82 h 344"/>
              <a:gd name="T12" fmla="*/ 3 w 406"/>
              <a:gd name="T13" fmla="*/ 88 h 344"/>
              <a:gd name="T14" fmla="*/ 9 w 406"/>
              <a:gd name="T15" fmla="*/ 91 h 344"/>
              <a:gd name="T16" fmla="*/ 18 w 406"/>
              <a:gd name="T17" fmla="*/ 107 h 344"/>
              <a:gd name="T18" fmla="*/ 25 w 406"/>
              <a:gd name="T19" fmla="*/ 113 h 344"/>
              <a:gd name="T20" fmla="*/ 34 w 406"/>
              <a:gd name="T21" fmla="*/ 129 h 344"/>
              <a:gd name="T22" fmla="*/ 37 w 406"/>
              <a:gd name="T23" fmla="*/ 135 h 344"/>
              <a:gd name="T24" fmla="*/ 50 w 406"/>
              <a:gd name="T25" fmla="*/ 151 h 344"/>
              <a:gd name="T26" fmla="*/ 53 w 406"/>
              <a:gd name="T27" fmla="*/ 160 h 344"/>
              <a:gd name="T28" fmla="*/ 56 w 406"/>
              <a:gd name="T29" fmla="*/ 169 h 344"/>
              <a:gd name="T30" fmla="*/ 65 w 406"/>
              <a:gd name="T31" fmla="*/ 172 h 344"/>
              <a:gd name="T32" fmla="*/ 78 w 406"/>
              <a:gd name="T33" fmla="*/ 185 h 344"/>
              <a:gd name="T34" fmla="*/ 81 w 406"/>
              <a:gd name="T35" fmla="*/ 191 h 344"/>
              <a:gd name="T36" fmla="*/ 90 w 406"/>
              <a:gd name="T37" fmla="*/ 207 h 344"/>
              <a:gd name="T38" fmla="*/ 87 w 406"/>
              <a:gd name="T39" fmla="*/ 216 h 344"/>
              <a:gd name="T40" fmla="*/ 90 w 406"/>
              <a:gd name="T41" fmla="*/ 235 h 344"/>
              <a:gd name="T42" fmla="*/ 106 w 406"/>
              <a:gd name="T43" fmla="*/ 251 h 344"/>
              <a:gd name="T44" fmla="*/ 115 w 406"/>
              <a:gd name="T45" fmla="*/ 257 h 344"/>
              <a:gd name="T46" fmla="*/ 125 w 406"/>
              <a:gd name="T47" fmla="*/ 266 h 344"/>
              <a:gd name="T48" fmla="*/ 131 w 406"/>
              <a:gd name="T49" fmla="*/ 269 h 344"/>
              <a:gd name="T50" fmla="*/ 140 w 406"/>
              <a:gd name="T51" fmla="*/ 294 h 344"/>
              <a:gd name="T52" fmla="*/ 159 w 406"/>
              <a:gd name="T53" fmla="*/ 319 h 344"/>
              <a:gd name="T54" fmla="*/ 172 w 406"/>
              <a:gd name="T55" fmla="*/ 329 h 344"/>
              <a:gd name="T56" fmla="*/ 181 w 406"/>
              <a:gd name="T57" fmla="*/ 323 h 344"/>
              <a:gd name="T58" fmla="*/ 184 w 406"/>
              <a:gd name="T59" fmla="*/ 307 h 344"/>
              <a:gd name="T60" fmla="*/ 222 w 406"/>
              <a:gd name="T61" fmla="*/ 316 h 344"/>
              <a:gd name="T62" fmla="*/ 275 w 406"/>
              <a:gd name="T63" fmla="*/ 294 h 344"/>
              <a:gd name="T64" fmla="*/ 403 w 406"/>
              <a:gd name="T65" fmla="*/ 197 h 344"/>
              <a:gd name="T66" fmla="*/ 337 w 406"/>
              <a:gd name="T67" fmla="*/ 194 h 344"/>
              <a:gd name="T68" fmla="*/ 331 w 406"/>
              <a:gd name="T69" fmla="*/ 169 h 344"/>
              <a:gd name="T70" fmla="*/ 328 w 406"/>
              <a:gd name="T71" fmla="*/ 166 h 344"/>
              <a:gd name="T72" fmla="*/ 325 w 406"/>
              <a:gd name="T73" fmla="*/ 160 h 344"/>
              <a:gd name="T74" fmla="*/ 315 w 406"/>
              <a:gd name="T75" fmla="*/ 157 h 344"/>
              <a:gd name="T76" fmla="*/ 309 w 406"/>
              <a:gd name="T77" fmla="*/ 151 h 344"/>
              <a:gd name="T78" fmla="*/ 297 w 406"/>
              <a:gd name="T79" fmla="*/ 129 h 344"/>
              <a:gd name="T80" fmla="*/ 297 w 406"/>
              <a:gd name="T81" fmla="*/ 119 h 344"/>
              <a:gd name="T82" fmla="*/ 290 w 406"/>
              <a:gd name="T83" fmla="*/ 113 h 344"/>
              <a:gd name="T84" fmla="*/ 281 w 406"/>
              <a:gd name="T85" fmla="*/ 100 h 344"/>
              <a:gd name="T86" fmla="*/ 284 w 406"/>
              <a:gd name="T87" fmla="*/ 97 h 344"/>
              <a:gd name="T88" fmla="*/ 272 w 406"/>
              <a:gd name="T89" fmla="*/ 94 h 344"/>
              <a:gd name="T90" fmla="*/ 262 w 406"/>
              <a:gd name="T91" fmla="*/ 79 h 344"/>
              <a:gd name="T92" fmla="*/ 259 w 406"/>
              <a:gd name="T93" fmla="*/ 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6" h="344">
                <a:moveTo>
                  <a:pt x="259" y="72"/>
                </a:moveTo>
                <a:lnTo>
                  <a:pt x="247" y="79"/>
                </a:lnTo>
                <a:lnTo>
                  <a:pt x="247" y="72"/>
                </a:lnTo>
                <a:lnTo>
                  <a:pt x="228" y="66"/>
                </a:lnTo>
                <a:lnTo>
                  <a:pt x="190" y="66"/>
                </a:lnTo>
                <a:lnTo>
                  <a:pt x="97" y="0"/>
                </a:lnTo>
                <a:lnTo>
                  <a:pt x="78" y="0"/>
                </a:lnTo>
                <a:lnTo>
                  <a:pt x="72" y="7"/>
                </a:lnTo>
                <a:lnTo>
                  <a:pt x="44" y="16"/>
                </a:lnTo>
                <a:lnTo>
                  <a:pt x="65" y="41"/>
                </a:lnTo>
                <a:lnTo>
                  <a:pt x="56" y="50"/>
                </a:lnTo>
                <a:lnTo>
                  <a:pt x="56" y="57"/>
                </a:lnTo>
                <a:lnTo>
                  <a:pt x="40" y="57"/>
                </a:lnTo>
                <a:lnTo>
                  <a:pt x="28" y="72"/>
                </a:lnTo>
                <a:lnTo>
                  <a:pt x="6" y="66"/>
                </a:lnTo>
                <a:lnTo>
                  <a:pt x="0" y="66"/>
                </a:lnTo>
                <a:lnTo>
                  <a:pt x="0" y="72"/>
                </a:lnTo>
                <a:lnTo>
                  <a:pt x="0" y="82"/>
                </a:lnTo>
                <a:lnTo>
                  <a:pt x="0" y="88"/>
                </a:lnTo>
                <a:lnTo>
                  <a:pt x="0" y="91"/>
                </a:lnTo>
                <a:lnTo>
                  <a:pt x="3" y="88"/>
                </a:lnTo>
                <a:lnTo>
                  <a:pt x="3" y="91"/>
                </a:lnTo>
                <a:lnTo>
                  <a:pt x="6" y="88"/>
                </a:lnTo>
                <a:lnTo>
                  <a:pt x="9" y="91"/>
                </a:lnTo>
                <a:lnTo>
                  <a:pt x="9" y="91"/>
                </a:lnTo>
                <a:lnTo>
                  <a:pt x="18" y="100"/>
                </a:lnTo>
                <a:lnTo>
                  <a:pt x="18" y="107"/>
                </a:lnTo>
                <a:lnTo>
                  <a:pt x="22" y="107"/>
                </a:lnTo>
                <a:lnTo>
                  <a:pt x="22" y="110"/>
                </a:lnTo>
                <a:lnTo>
                  <a:pt x="25" y="113"/>
                </a:lnTo>
                <a:lnTo>
                  <a:pt x="28" y="113"/>
                </a:lnTo>
                <a:lnTo>
                  <a:pt x="34" y="126"/>
                </a:lnTo>
                <a:lnTo>
                  <a:pt x="34" y="129"/>
                </a:lnTo>
                <a:lnTo>
                  <a:pt x="34" y="132"/>
                </a:lnTo>
                <a:lnTo>
                  <a:pt x="37" y="132"/>
                </a:lnTo>
                <a:lnTo>
                  <a:pt x="37" y="135"/>
                </a:lnTo>
                <a:lnTo>
                  <a:pt x="40" y="138"/>
                </a:lnTo>
                <a:lnTo>
                  <a:pt x="47" y="141"/>
                </a:lnTo>
                <a:lnTo>
                  <a:pt x="50" y="151"/>
                </a:lnTo>
                <a:lnTo>
                  <a:pt x="53" y="151"/>
                </a:lnTo>
                <a:lnTo>
                  <a:pt x="53" y="157"/>
                </a:lnTo>
                <a:lnTo>
                  <a:pt x="53" y="160"/>
                </a:lnTo>
                <a:lnTo>
                  <a:pt x="53" y="163"/>
                </a:lnTo>
                <a:lnTo>
                  <a:pt x="56" y="166"/>
                </a:lnTo>
                <a:lnTo>
                  <a:pt x="56" y="169"/>
                </a:lnTo>
                <a:lnTo>
                  <a:pt x="59" y="172"/>
                </a:lnTo>
                <a:lnTo>
                  <a:pt x="62" y="169"/>
                </a:lnTo>
                <a:lnTo>
                  <a:pt x="65" y="172"/>
                </a:lnTo>
                <a:lnTo>
                  <a:pt x="72" y="176"/>
                </a:lnTo>
                <a:lnTo>
                  <a:pt x="78" y="179"/>
                </a:lnTo>
                <a:lnTo>
                  <a:pt x="78" y="185"/>
                </a:lnTo>
                <a:lnTo>
                  <a:pt x="81" y="185"/>
                </a:lnTo>
                <a:lnTo>
                  <a:pt x="81" y="188"/>
                </a:lnTo>
                <a:lnTo>
                  <a:pt x="81" y="191"/>
                </a:lnTo>
                <a:lnTo>
                  <a:pt x="84" y="197"/>
                </a:lnTo>
                <a:lnTo>
                  <a:pt x="87" y="201"/>
                </a:lnTo>
                <a:lnTo>
                  <a:pt x="90" y="207"/>
                </a:lnTo>
                <a:lnTo>
                  <a:pt x="90" y="210"/>
                </a:lnTo>
                <a:lnTo>
                  <a:pt x="87" y="216"/>
                </a:lnTo>
                <a:lnTo>
                  <a:pt x="87" y="216"/>
                </a:lnTo>
                <a:lnTo>
                  <a:pt x="87" y="219"/>
                </a:lnTo>
                <a:lnTo>
                  <a:pt x="90" y="229"/>
                </a:lnTo>
                <a:lnTo>
                  <a:pt x="90" y="235"/>
                </a:lnTo>
                <a:lnTo>
                  <a:pt x="94" y="238"/>
                </a:lnTo>
                <a:lnTo>
                  <a:pt x="97" y="241"/>
                </a:lnTo>
                <a:lnTo>
                  <a:pt x="106" y="251"/>
                </a:lnTo>
                <a:lnTo>
                  <a:pt x="109" y="254"/>
                </a:lnTo>
                <a:lnTo>
                  <a:pt x="112" y="254"/>
                </a:lnTo>
                <a:lnTo>
                  <a:pt x="115" y="257"/>
                </a:lnTo>
                <a:lnTo>
                  <a:pt x="119" y="257"/>
                </a:lnTo>
                <a:lnTo>
                  <a:pt x="122" y="263"/>
                </a:lnTo>
                <a:lnTo>
                  <a:pt x="125" y="266"/>
                </a:lnTo>
                <a:lnTo>
                  <a:pt x="128" y="266"/>
                </a:lnTo>
                <a:lnTo>
                  <a:pt x="128" y="269"/>
                </a:lnTo>
                <a:lnTo>
                  <a:pt x="131" y="269"/>
                </a:lnTo>
                <a:lnTo>
                  <a:pt x="134" y="288"/>
                </a:lnTo>
                <a:lnTo>
                  <a:pt x="140" y="288"/>
                </a:lnTo>
                <a:lnTo>
                  <a:pt x="140" y="294"/>
                </a:lnTo>
                <a:lnTo>
                  <a:pt x="153" y="310"/>
                </a:lnTo>
                <a:lnTo>
                  <a:pt x="156" y="310"/>
                </a:lnTo>
                <a:lnTo>
                  <a:pt x="159" y="319"/>
                </a:lnTo>
                <a:lnTo>
                  <a:pt x="165" y="319"/>
                </a:lnTo>
                <a:lnTo>
                  <a:pt x="169" y="329"/>
                </a:lnTo>
                <a:lnTo>
                  <a:pt x="172" y="329"/>
                </a:lnTo>
                <a:lnTo>
                  <a:pt x="175" y="332"/>
                </a:lnTo>
                <a:lnTo>
                  <a:pt x="175" y="329"/>
                </a:lnTo>
                <a:lnTo>
                  <a:pt x="181" y="323"/>
                </a:lnTo>
                <a:lnTo>
                  <a:pt x="178" y="316"/>
                </a:lnTo>
                <a:lnTo>
                  <a:pt x="181" y="307"/>
                </a:lnTo>
                <a:lnTo>
                  <a:pt x="184" y="307"/>
                </a:lnTo>
                <a:lnTo>
                  <a:pt x="190" y="310"/>
                </a:lnTo>
                <a:lnTo>
                  <a:pt x="203" y="310"/>
                </a:lnTo>
                <a:lnTo>
                  <a:pt x="222" y="316"/>
                </a:lnTo>
                <a:lnTo>
                  <a:pt x="237" y="326"/>
                </a:lnTo>
                <a:lnTo>
                  <a:pt x="237" y="344"/>
                </a:lnTo>
                <a:lnTo>
                  <a:pt x="275" y="294"/>
                </a:lnTo>
                <a:lnTo>
                  <a:pt x="403" y="257"/>
                </a:lnTo>
                <a:lnTo>
                  <a:pt x="406" y="213"/>
                </a:lnTo>
                <a:lnTo>
                  <a:pt x="403" y="197"/>
                </a:lnTo>
                <a:lnTo>
                  <a:pt x="403" y="197"/>
                </a:lnTo>
                <a:lnTo>
                  <a:pt x="397" y="204"/>
                </a:lnTo>
                <a:lnTo>
                  <a:pt x="337" y="194"/>
                </a:lnTo>
                <a:lnTo>
                  <a:pt x="334" y="179"/>
                </a:lnTo>
                <a:lnTo>
                  <a:pt x="331" y="176"/>
                </a:lnTo>
                <a:lnTo>
                  <a:pt x="331" y="169"/>
                </a:lnTo>
                <a:lnTo>
                  <a:pt x="331" y="169"/>
                </a:lnTo>
                <a:lnTo>
                  <a:pt x="328" y="169"/>
                </a:lnTo>
                <a:lnTo>
                  <a:pt x="328" y="166"/>
                </a:lnTo>
                <a:lnTo>
                  <a:pt x="328" y="163"/>
                </a:lnTo>
                <a:lnTo>
                  <a:pt x="328" y="160"/>
                </a:lnTo>
                <a:lnTo>
                  <a:pt x="325" y="160"/>
                </a:lnTo>
                <a:lnTo>
                  <a:pt x="325" y="160"/>
                </a:lnTo>
                <a:lnTo>
                  <a:pt x="322" y="160"/>
                </a:lnTo>
                <a:lnTo>
                  <a:pt x="315" y="157"/>
                </a:lnTo>
                <a:lnTo>
                  <a:pt x="315" y="154"/>
                </a:lnTo>
                <a:lnTo>
                  <a:pt x="312" y="157"/>
                </a:lnTo>
                <a:lnTo>
                  <a:pt x="309" y="151"/>
                </a:lnTo>
                <a:lnTo>
                  <a:pt x="309" y="147"/>
                </a:lnTo>
                <a:lnTo>
                  <a:pt x="300" y="135"/>
                </a:lnTo>
                <a:lnTo>
                  <a:pt x="297" y="129"/>
                </a:lnTo>
                <a:lnTo>
                  <a:pt x="300" y="129"/>
                </a:lnTo>
                <a:lnTo>
                  <a:pt x="300" y="129"/>
                </a:lnTo>
                <a:lnTo>
                  <a:pt x="297" y="119"/>
                </a:lnTo>
                <a:lnTo>
                  <a:pt x="297" y="116"/>
                </a:lnTo>
                <a:lnTo>
                  <a:pt x="294" y="113"/>
                </a:lnTo>
                <a:lnTo>
                  <a:pt x="290" y="113"/>
                </a:lnTo>
                <a:lnTo>
                  <a:pt x="284" y="104"/>
                </a:lnTo>
                <a:lnTo>
                  <a:pt x="281" y="104"/>
                </a:lnTo>
                <a:lnTo>
                  <a:pt x="281" y="100"/>
                </a:lnTo>
                <a:lnTo>
                  <a:pt x="281" y="97"/>
                </a:lnTo>
                <a:lnTo>
                  <a:pt x="281" y="97"/>
                </a:lnTo>
                <a:lnTo>
                  <a:pt x="284" y="97"/>
                </a:lnTo>
                <a:lnTo>
                  <a:pt x="281" y="97"/>
                </a:lnTo>
                <a:lnTo>
                  <a:pt x="278" y="94"/>
                </a:lnTo>
                <a:lnTo>
                  <a:pt x="272" y="94"/>
                </a:lnTo>
                <a:lnTo>
                  <a:pt x="269" y="85"/>
                </a:lnTo>
                <a:lnTo>
                  <a:pt x="265" y="79"/>
                </a:lnTo>
                <a:lnTo>
                  <a:pt x="262" y="79"/>
                </a:lnTo>
                <a:lnTo>
                  <a:pt x="262" y="75"/>
                </a:lnTo>
                <a:lnTo>
                  <a:pt x="262" y="75"/>
                </a:lnTo>
                <a:lnTo>
                  <a:pt x="259" y="72"/>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7" name="Freeform 95">
            <a:extLst>
              <a:ext uri="{FF2B5EF4-FFF2-40B4-BE49-F238E27FC236}">
                <a16:creationId xmlns:a16="http://schemas.microsoft.com/office/drawing/2014/main" id="{C66698BB-650A-3C9C-6301-3E84B12E28A2}"/>
              </a:ext>
            </a:extLst>
          </p:cNvPr>
          <p:cNvSpPr>
            <a:spLocks/>
          </p:cNvSpPr>
          <p:nvPr userDrawn="1"/>
        </p:nvSpPr>
        <p:spPr bwMode="auto">
          <a:xfrm>
            <a:off x="16273987" y="7689133"/>
            <a:ext cx="50797" cy="98426"/>
          </a:xfrm>
          <a:custGeom>
            <a:avLst/>
            <a:gdLst>
              <a:gd name="T0" fmla="*/ 13 w 16"/>
              <a:gd name="T1" fmla="*/ 31 h 31"/>
              <a:gd name="T2" fmla="*/ 10 w 16"/>
              <a:gd name="T3" fmla="*/ 31 h 31"/>
              <a:gd name="T4" fmla="*/ 3 w 16"/>
              <a:gd name="T5" fmla="*/ 28 h 31"/>
              <a:gd name="T6" fmla="*/ 3 w 16"/>
              <a:gd name="T7" fmla="*/ 25 h 31"/>
              <a:gd name="T8" fmla="*/ 3 w 16"/>
              <a:gd name="T9" fmla="*/ 25 h 31"/>
              <a:gd name="T10" fmla="*/ 3 w 16"/>
              <a:gd name="T11" fmla="*/ 22 h 31"/>
              <a:gd name="T12" fmla="*/ 3 w 16"/>
              <a:gd name="T13" fmla="*/ 18 h 31"/>
              <a:gd name="T14" fmla="*/ 0 w 16"/>
              <a:gd name="T15" fmla="*/ 18 h 31"/>
              <a:gd name="T16" fmla="*/ 3 w 16"/>
              <a:gd name="T17" fmla="*/ 12 h 31"/>
              <a:gd name="T18" fmla="*/ 3 w 16"/>
              <a:gd name="T19" fmla="*/ 12 h 31"/>
              <a:gd name="T20" fmla="*/ 3 w 16"/>
              <a:gd name="T21" fmla="*/ 12 h 31"/>
              <a:gd name="T22" fmla="*/ 3 w 16"/>
              <a:gd name="T23" fmla="*/ 6 h 31"/>
              <a:gd name="T24" fmla="*/ 3 w 16"/>
              <a:gd name="T25" fmla="*/ 6 h 31"/>
              <a:gd name="T26" fmla="*/ 3 w 16"/>
              <a:gd name="T27" fmla="*/ 3 h 31"/>
              <a:gd name="T28" fmla="*/ 7 w 16"/>
              <a:gd name="T29" fmla="*/ 3 h 31"/>
              <a:gd name="T30" fmla="*/ 7 w 16"/>
              <a:gd name="T31" fmla="*/ 0 h 31"/>
              <a:gd name="T32" fmla="*/ 7 w 16"/>
              <a:gd name="T33" fmla="*/ 0 h 31"/>
              <a:gd name="T34" fmla="*/ 7 w 16"/>
              <a:gd name="T35" fmla="*/ 0 h 31"/>
              <a:gd name="T36" fmla="*/ 10 w 16"/>
              <a:gd name="T37" fmla="*/ 0 h 31"/>
              <a:gd name="T38" fmla="*/ 13 w 16"/>
              <a:gd name="T39" fmla="*/ 0 h 31"/>
              <a:gd name="T40" fmla="*/ 13 w 16"/>
              <a:gd name="T41" fmla="*/ 3 h 31"/>
              <a:gd name="T42" fmla="*/ 13 w 16"/>
              <a:gd name="T43" fmla="*/ 3 h 31"/>
              <a:gd name="T44" fmla="*/ 16 w 16"/>
              <a:gd name="T45" fmla="*/ 3 h 31"/>
              <a:gd name="T46" fmla="*/ 13 w 16"/>
              <a:gd name="T47" fmla="*/ 12 h 31"/>
              <a:gd name="T48" fmla="*/ 13 w 16"/>
              <a:gd name="T49" fmla="*/ 12 h 31"/>
              <a:gd name="T50" fmla="*/ 13 w 16"/>
              <a:gd name="T51" fmla="*/ 18 h 31"/>
              <a:gd name="T52" fmla="*/ 16 w 16"/>
              <a:gd name="T53" fmla="*/ 18 h 31"/>
              <a:gd name="T54" fmla="*/ 16 w 16"/>
              <a:gd name="T55" fmla="*/ 22 h 31"/>
              <a:gd name="T56" fmla="*/ 16 w 16"/>
              <a:gd name="T57" fmla="*/ 31 h 31"/>
              <a:gd name="T58" fmla="*/ 13 w 16"/>
              <a:gd name="T59" fmla="*/ 31 h 31"/>
              <a:gd name="T60" fmla="*/ 13 w 16"/>
              <a:gd name="T6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 h="31">
                <a:moveTo>
                  <a:pt x="13" y="31"/>
                </a:moveTo>
                <a:lnTo>
                  <a:pt x="10" y="31"/>
                </a:lnTo>
                <a:lnTo>
                  <a:pt x="3" y="28"/>
                </a:lnTo>
                <a:lnTo>
                  <a:pt x="3" y="25"/>
                </a:lnTo>
                <a:lnTo>
                  <a:pt x="3" y="25"/>
                </a:lnTo>
                <a:lnTo>
                  <a:pt x="3" y="22"/>
                </a:lnTo>
                <a:lnTo>
                  <a:pt x="3" y="18"/>
                </a:lnTo>
                <a:lnTo>
                  <a:pt x="0" y="18"/>
                </a:lnTo>
                <a:lnTo>
                  <a:pt x="3" y="12"/>
                </a:lnTo>
                <a:lnTo>
                  <a:pt x="3" y="12"/>
                </a:lnTo>
                <a:lnTo>
                  <a:pt x="3" y="12"/>
                </a:lnTo>
                <a:lnTo>
                  <a:pt x="3" y="6"/>
                </a:lnTo>
                <a:lnTo>
                  <a:pt x="3" y="6"/>
                </a:lnTo>
                <a:lnTo>
                  <a:pt x="3" y="3"/>
                </a:lnTo>
                <a:lnTo>
                  <a:pt x="7" y="3"/>
                </a:lnTo>
                <a:lnTo>
                  <a:pt x="7" y="0"/>
                </a:lnTo>
                <a:lnTo>
                  <a:pt x="7" y="0"/>
                </a:lnTo>
                <a:lnTo>
                  <a:pt x="7" y="0"/>
                </a:lnTo>
                <a:lnTo>
                  <a:pt x="10" y="0"/>
                </a:lnTo>
                <a:lnTo>
                  <a:pt x="13" y="0"/>
                </a:lnTo>
                <a:lnTo>
                  <a:pt x="13" y="3"/>
                </a:lnTo>
                <a:lnTo>
                  <a:pt x="13" y="3"/>
                </a:lnTo>
                <a:lnTo>
                  <a:pt x="16" y="3"/>
                </a:lnTo>
                <a:lnTo>
                  <a:pt x="13" y="12"/>
                </a:lnTo>
                <a:lnTo>
                  <a:pt x="13" y="12"/>
                </a:lnTo>
                <a:lnTo>
                  <a:pt x="13" y="18"/>
                </a:lnTo>
                <a:lnTo>
                  <a:pt x="16" y="18"/>
                </a:lnTo>
                <a:lnTo>
                  <a:pt x="16" y="22"/>
                </a:lnTo>
                <a:lnTo>
                  <a:pt x="16" y="31"/>
                </a:lnTo>
                <a:lnTo>
                  <a:pt x="13" y="31"/>
                </a:lnTo>
                <a:lnTo>
                  <a:pt x="13" y="31"/>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8" name="Freeform 96">
            <a:extLst>
              <a:ext uri="{FF2B5EF4-FFF2-40B4-BE49-F238E27FC236}">
                <a16:creationId xmlns:a16="http://schemas.microsoft.com/office/drawing/2014/main" id="{4D8C8FF9-133B-C058-D6F4-BB6AFBB2CE32}"/>
              </a:ext>
            </a:extLst>
          </p:cNvPr>
          <p:cNvSpPr>
            <a:spLocks/>
          </p:cNvSpPr>
          <p:nvPr userDrawn="1"/>
        </p:nvSpPr>
        <p:spPr bwMode="auto">
          <a:xfrm>
            <a:off x="16334312" y="7689137"/>
            <a:ext cx="298431" cy="238126"/>
          </a:xfrm>
          <a:custGeom>
            <a:avLst/>
            <a:gdLst>
              <a:gd name="T0" fmla="*/ 0 w 94"/>
              <a:gd name="T1" fmla="*/ 40 h 75"/>
              <a:gd name="T2" fmla="*/ 0 w 94"/>
              <a:gd name="T3" fmla="*/ 47 h 75"/>
              <a:gd name="T4" fmla="*/ 3 w 94"/>
              <a:gd name="T5" fmla="*/ 50 h 75"/>
              <a:gd name="T6" fmla="*/ 6 w 94"/>
              <a:gd name="T7" fmla="*/ 65 h 75"/>
              <a:gd name="T8" fmla="*/ 66 w 94"/>
              <a:gd name="T9" fmla="*/ 75 h 75"/>
              <a:gd name="T10" fmla="*/ 72 w 94"/>
              <a:gd name="T11" fmla="*/ 68 h 75"/>
              <a:gd name="T12" fmla="*/ 88 w 94"/>
              <a:gd name="T13" fmla="*/ 18 h 75"/>
              <a:gd name="T14" fmla="*/ 94 w 94"/>
              <a:gd name="T15" fmla="*/ 18 h 75"/>
              <a:gd name="T16" fmla="*/ 91 w 94"/>
              <a:gd name="T17" fmla="*/ 12 h 75"/>
              <a:gd name="T18" fmla="*/ 91 w 94"/>
              <a:gd name="T19" fmla="*/ 9 h 75"/>
              <a:gd name="T20" fmla="*/ 91 w 94"/>
              <a:gd name="T21" fmla="*/ 9 h 75"/>
              <a:gd name="T22" fmla="*/ 88 w 94"/>
              <a:gd name="T23" fmla="*/ 9 h 75"/>
              <a:gd name="T24" fmla="*/ 88 w 94"/>
              <a:gd name="T25" fmla="*/ 9 h 75"/>
              <a:gd name="T26" fmla="*/ 88 w 94"/>
              <a:gd name="T27" fmla="*/ 9 h 75"/>
              <a:gd name="T28" fmla="*/ 88 w 94"/>
              <a:gd name="T29" fmla="*/ 3 h 75"/>
              <a:gd name="T30" fmla="*/ 84 w 94"/>
              <a:gd name="T31" fmla="*/ 0 h 75"/>
              <a:gd name="T32" fmla="*/ 84 w 94"/>
              <a:gd name="T33" fmla="*/ 3 h 75"/>
              <a:gd name="T34" fmla="*/ 81 w 94"/>
              <a:gd name="T35" fmla="*/ 6 h 75"/>
              <a:gd name="T36" fmla="*/ 69 w 94"/>
              <a:gd name="T37" fmla="*/ 12 h 75"/>
              <a:gd name="T38" fmla="*/ 69 w 94"/>
              <a:gd name="T39" fmla="*/ 18 h 75"/>
              <a:gd name="T40" fmla="*/ 59 w 94"/>
              <a:gd name="T41" fmla="*/ 28 h 75"/>
              <a:gd name="T42" fmla="*/ 56 w 94"/>
              <a:gd name="T43" fmla="*/ 31 h 75"/>
              <a:gd name="T44" fmla="*/ 59 w 94"/>
              <a:gd name="T45" fmla="*/ 31 h 75"/>
              <a:gd name="T46" fmla="*/ 59 w 94"/>
              <a:gd name="T47" fmla="*/ 34 h 75"/>
              <a:gd name="T48" fmla="*/ 56 w 94"/>
              <a:gd name="T49" fmla="*/ 40 h 75"/>
              <a:gd name="T50" fmla="*/ 53 w 94"/>
              <a:gd name="T51" fmla="*/ 37 h 75"/>
              <a:gd name="T52" fmla="*/ 50 w 94"/>
              <a:gd name="T53" fmla="*/ 37 h 75"/>
              <a:gd name="T54" fmla="*/ 50 w 94"/>
              <a:gd name="T55" fmla="*/ 37 h 75"/>
              <a:gd name="T56" fmla="*/ 50 w 94"/>
              <a:gd name="T57" fmla="*/ 40 h 75"/>
              <a:gd name="T58" fmla="*/ 47 w 94"/>
              <a:gd name="T59" fmla="*/ 40 h 75"/>
              <a:gd name="T60" fmla="*/ 47 w 94"/>
              <a:gd name="T61" fmla="*/ 43 h 75"/>
              <a:gd name="T62" fmla="*/ 41 w 94"/>
              <a:gd name="T63" fmla="*/ 43 h 75"/>
              <a:gd name="T64" fmla="*/ 38 w 94"/>
              <a:gd name="T65" fmla="*/ 43 h 75"/>
              <a:gd name="T66" fmla="*/ 34 w 94"/>
              <a:gd name="T67" fmla="*/ 43 h 75"/>
              <a:gd name="T68" fmla="*/ 31 w 94"/>
              <a:gd name="T69" fmla="*/ 43 h 75"/>
              <a:gd name="T70" fmla="*/ 31 w 94"/>
              <a:gd name="T71" fmla="*/ 40 h 75"/>
              <a:gd name="T72" fmla="*/ 28 w 94"/>
              <a:gd name="T73" fmla="*/ 43 h 75"/>
              <a:gd name="T74" fmla="*/ 22 w 94"/>
              <a:gd name="T75" fmla="*/ 40 h 75"/>
              <a:gd name="T76" fmla="*/ 13 w 94"/>
              <a:gd name="T77" fmla="*/ 47 h 75"/>
              <a:gd name="T78" fmla="*/ 9 w 94"/>
              <a:gd name="T79" fmla="*/ 47 h 75"/>
              <a:gd name="T80" fmla="*/ 6 w 94"/>
              <a:gd name="T81" fmla="*/ 47 h 75"/>
              <a:gd name="T82" fmla="*/ 3 w 94"/>
              <a:gd name="T83" fmla="*/ 47 h 75"/>
              <a:gd name="T84" fmla="*/ 3 w 94"/>
              <a:gd name="T85" fmla="*/ 37 h 75"/>
              <a:gd name="T86" fmla="*/ 0 w 94"/>
              <a:gd name="T87" fmla="*/ 40 h 75"/>
              <a:gd name="T88" fmla="*/ 0 w 94"/>
              <a:gd name="T89" fmla="*/ 4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75">
                <a:moveTo>
                  <a:pt x="0" y="40"/>
                </a:moveTo>
                <a:lnTo>
                  <a:pt x="0" y="47"/>
                </a:lnTo>
                <a:lnTo>
                  <a:pt x="3" y="50"/>
                </a:lnTo>
                <a:lnTo>
                  <a:pt x="6" y="65"/>
                </a:lnTo>
                <a:lnTo>
                  <a:pt x="66" y="75"/>
                </a:lnTo>
                <a:lnTo>
                  <a:pt x="72" y="68"/>
                </a:lnTo>
                <a:lnTo>
                  <a:pt x="88" y="18"/>
                </a:lnTo>
                <a:lnTo>
                  <a:pt x="94" y="18"/>
                </a:lnTo>
                <a:lnTo>
                  <a:pt x="91" y="12"/>
                </a:lnTo>
                <a:lnTo>
                  <a:pt x="91" y="9"/>
                </a:lnTo>
                <a:lnTo>
                  <a:pt x="91" y="9"/>
                </a:lnTo>
                <a:lnTo>
                  <a:pt x="88" y="9"/>
                </a:lnTo>
                <a:lnTo>
                  <a:pt x="88" y="9"/>
                </a:lnTo>
                <a:lnTo>
                  <a:pt x="88" y="9"/>
                </a:lnTo>
                <a:lnTo>
                  <a:pt x="88" y="3"/>
                </a:lnTo>
                <a:lnTo>
                  <a:pt x="84" y="0"/>
                </a:lnTo>
                <a:lnTo>
                  <a:pt x="84" y="3"/>
                </a:lnTo>
                <a:lnTo>
                  <a:pt x="81" y="6"/>
                </a:lnTo>
                <a:lnTo>
                  <a:pt x="69" y="12"/>
                </a:lnTo>
                <a:lnTo>
                  <a:pt x="69" y="18"/>
                </a:lnTo>
                <a:lnTo>
                  <a:pt x="59" y="28"/>
                </a:lnTo>
                <a:lnTo>
                  <a:pt x="56" y="31"/>
                </a:lnTo>
                <a:lnTo>
                  <a:pt x="59" y="31"/>
                </a:lnTo>
                <a:lnTo>
                  <a:pt x="59" y="34"/>
                </a:lnTo>
                <a:lnTo>
                  <a:pt x="56" y="40"/>
                </a:lnTo>
                <a:lnTo>
                  <a:pt x="53" y="37"/>
                </a:lnTo>
                <a:lnTo>
                  <a:pt x="50" y="37"/>
                </a:lnTo>
                <a:lnTo>
                  <a:pt x="50" y="37"/>
                </a:lnTo>
                <a:lnTo>
                  <a:pt x="50" y="40"/>
                </a:lnTo>
                <a:lnTo>
                  <a:pt x="47" y="40"/>
                </a:lnTo>
                <a:lnTo>
                  <a:pt x="47" y="43"/>
                </a:lnTo>
                <a:lnTo>
                  <a:pt x="41" y="43"/>
                </a:lnTo>
                <a:lnTo>
                  <a:pt x="38" y="43"/>
                </a:lnTo>
                <a:lnTo>
                  <a:pt x="34" y="43"/>
                </a:lnTo>
                <a:lnTo>
                  <a:pt x="31" y="43"/>
                </a:lnTo>
                <a:lnTo>
                  <a:pt x="31" y="40"/>
                </a:lnTo>
                <a:lnTo>
                  <a:pt x="28" y="43"/>
                </a:lnTo>
                <a:lnTo>
                  <a:pt x="22" y="40"/>
                </a:lnTo>
                <a:lnTo>
                  <a:pt x="13" y="47"/>
                </a:lnTo>
                <a:lnTo>
                  <a:pt x="9" y="47"/>
                </a:lnTo>
                <a:lnTo>
                  <a:pt x="6" y="47"/>
                </a:lnTo>
                <a:lnTo>
                  <a:pt x="3" y="47"/>
                </a:lnTo>
                <a:lnTo>
                  <a:pt x="3" y="37"/>
                </a:lnTo>
                <a:lnTo>
                  <a:pt x="0" y="40"/>
                </a:lnTo>
                <a:lnTo>
                  <a:pt x="0" y="4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9" name="Freeform 97">
            <a:extLst>
              <a:ext uri="{FF2B5EF4-FFF2-40B4-BE49-F238E27FC236}">
                <a16:creationId xmlns:a16="http://schemas.microsoft.com/office/drawing/2014/main" id="{DBBE649A-91DD-412E-E9F9-4EC6B0209ACE}"/>
              </a:ext>
            </a:extLst>
          </p:cNvPr>
          <p:cNvSpPr>
            <a:spLocks noEditPoints="1"/>
          </p:cNvSpPr>
          <p:nvPr userDrawn="1"/>
        </p:nvSpPr>
        <p:spPr bwMode="auto">
          <a:xfrm>
            <a:off x="11470524" y="6812832"/>
            <a:ext cx="190490" cy="79376"/>
          </a:xfrm>
          <a:custGeom>
            <a:avLst/>
            <a:gdLst>
              <a:gd name="T0" fmla="*/ 25 w 60"/>
              <a:gd name="T1" fmla="*/ 0 h 25"/>
              <a:gd name="T2" fmla="*/ 29 w 60"/>
              <a:gd name="T3" fmla="*/ 0 h 25"/>
              <a:gd name="T4" fmla="*/ 29 w 60"/>
              <a:gd name="T5" fmla="*/ 0 h 25"/>
              <a:gd name="T6" fmla="*/ 25 w 60"/>
              <a:gd name="T7" fmla="*/ 0 h 25"/>
              <a:gd name="T8" fmla="*/ 25 w 60"/>
              <a:gd name="T9" fmla="*/ 0 h 25"/>
              <a:gd name="T10" fmla="*/ 25 w 60"/>
              <a:gd name="T11" fmla="*/ 0 h 25"/>
              <a:gd name="T12" fmla="*/ 7 w 60"/>
              <a:gd name="T13" fmla="*/ 0 h 25"/>
              <a:gd name="T14" fmla="*/ 13 w 60"/>
              <a:gd name="T15" fmla="*/ 3 h 25"/>
              <a:gd name="T16" fmla="*/ 10 w 60"/>
              <a:gd name="T17" fmla="*/ 0 h 25"/>
              <a:gd name="T18" fmla="*/ 7 w 60"/>
              <a:gd name="T19" fmla="*/ 0 h 25"/>
              <a:gd name="T20" fmla="*/ 7 w 60"/>
              <a:gd name="T21" fmla="*/ 0 h 25"/>
              <a:gd name="T22" fmla="*/ 0 w 60"/>
              <a:gd name="T23" fmla="*/ 3 h 25"/>
              <a:gd name="T24" fmla="*/ 0 w 60"/>
              <a:gd name="T25" fmla="*/ 7 h 25"/>
              <a:gd name="T26" fmla="*/ 7 w 60"/>
              <a:gd name="T27" fmla="*/ 7 h 25"/>
              <a:gd name="T28" fmla="*/ 7 w 60"/>
              <a:gd name="T29" fmla="*/ 7 h 25"/>
              <a:gd name="T30" fmla="*/ 4 w 60"/>
              <a:gd name="T31" fmla="*/ 3 h 25"/>
              <a:gd name="T32" fmla="*/ 0 w 60"/>
              <a:gd name="T33" fmla="*/ 3 h 25"/>
              <a:gd name="T34" fmla="*/ 0 w 60"/>
              <a:gd name="T35" fmla="*/ 3 h 25"/>
              <a:gd name="T36" fmla="*/ 54 w 60"/>
              <a:gd name="T37" fmla="*/ 22 h 25"/>
              <a:gd name="T38" fmla="*/ 51 w 60"/>
              <a:gd name="T39" fmla="*/ 22 h 25"/>
              <a:gd name="T40" fmla="*/ 54 w 60"/>
              <a:gd name="T41" fmla="*/ 25 h 25"/>
              <a:gd name="T42" fmla="*/ 57 w 60"/>
              <a:gd name="T43" fmla="*/ 25 h 25"/>
              <a:gd name="T44" fmla="*/ 60 w 60"/>
              <a:gd name="T45" fmla="*/ 22 h 25"/>
              <a:gd name="T46" fmla="*/ 57 w 60"/>
              <a:gd name="T47" fmla="*/ 22 h 25"/>
              <a:gd name="T48" fmla="*/ 54 w 60"/>
              <a:gd name="T49" fmla="*/ 2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25">
                <a:moveTo>
                  <a:pt x="25" y="0"/>
                </a:moveTo>
                <a:lnTo>
                  <a:pt x="29" y="0"/>
                </a:lnTo>
                <a:lnTo>
                  <a:pt x="29" y="0"/>
                </a:lnTo>
                <a:lnTo>
                  <a:pt x="25" y="0"/>
                </a:lnTo>
                <a:lnTo>
                  <a:pt x="25" y="0"/>
                </a:lnTo>
                <a:lnTo>
                  <a:pt x="25" y="0"/>
                </a:lnTo>
                <a:close/>
                <a:moveTo>
                  <a:pt x="7" y="0"/>
                </a:moveTo>
                <a:lnTo>
                  <a:pt x="13" y="3"/>
                </a:lnTo>
                <a:lnTo>
                  <a:pt x="10" y="0"/>
                </a:lnTo>
                <a:lnTo>
                  <a:pt x="7" y="0"/>
                </a:lnTo>
                <a:lnTo>
                  <a:pt x="7" y="0"/>
                </a:lnTo>
                <a:close/>
                <a:moveTo>
                  <a:pt x="0" y="3"/>
                </a:moveTo>
                <a:lnTo>
                  <a:pt x="0" y="7"/>
                </a:lnTo>
                <a:lnTo>
                  <a:pt x="7" y="7"/>
                </a:lnTo>
                <a:lnTo>
                  <a:pt x="7" y="7"/>
                </a:lnTo>
                <a:lnTo>
                  <a:pt x="4" y="3"/>
                </a:lnTo>
                <a:lnTo>
                  <a:pt x="0" y="3"/>
                </a:lnTo>
                <a:lnTo>
                  <a:pt x="0" y="3"/>
                </a:lnTo>
                <a:close/>
                <a:moveTo>
                  <a:pt x="54" y="22"/>
                </a:moveTo>
                <a:lnTo>
                  <a:pt x="51" y="22"/>
                </a:lnTo>
                <a:lnTo>
                  <a:pt x="54" y="25"/>
                </a:lnTo>
                <a:lnTo>
                  <a:pt x="57" y="25"/>
                </a:lnTo>
                <a:lnTo>
                  <a:pt x="60" y="22"/>
                </a:lnTo>
                <a:lnTo>
                  <a:pt x="57" y="22"/>
                </a:lnTo>
                <a:lnTo>
                  <a:pt x="54" y="22"/>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0" name="Freeform 98">
            <a:extLst>
              <a:ext uri="{FF2B5EF4-FFF2-40B4-BE49-F238E27FC236}">
                <a16:creationId xmlns:a16="http://schemas.microsoft.com/office/drawing/2014/main" id="{E579E179-B3FD-62F8-AFF8-4CD284D2A47B}"/>
              </a:ext>
            </a:extLst>
          </p:cNvPr>
          <p:cNvSpPr>
            <a:spLocks/>
          </p:cNvSpPr>
          <p:nvPr userDrawn="1"/>
        </p:nvSpPr>
        <p:spPr bwMode="auto">
          <a:xfrm>
            <a:off x="12137232" y="7241461"/>
            <a:ext cx="28574" cy="19050"/>
          </a:xfrm>
          <a:custGeom>
            <a:avLst/>
            <a:gdLst>
              <a:gd name="T0" fmla="*/ 2 w 3"/>
              <a:gd name="T1" fmla="*/ 2 h 2"/>
              <a:gd name="T2" fmla="*/ 1 w 3"/>
              <a:gd name="T3" fmla="*/ 1 h 2"/>
              <a:gd name="T4" fmla="*/ 0 w 3"/>
              <a:gd name="T5" fmla="*/ 1 h 2"/>
              <a:gd name="T6" fmla="*/ 2 w 3"/>
              <a:gd name="T7" fmla="*/ 0 h 2"/>
              <a:gd name="T8" fmla="*/ 3 w 3"/>
              <a:gd name="T9" fmla="*/ 2 h 2"/>
              <a:gd name="T10" fmla="*/ 2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2" y="2"/>
                </a:moveTo>
                <a:cubicBezTo>
                  <a:pt x="1" y="1"/>
                  <a:pt x="1" y="1"/>
                  <a:pt x="1" y="1"/>
                </a:cubicBezTo>
                <a:cubicBezTo>
                  <a:pt x="0" y="1"/>
                  <a:pt x="0" y="1"/>
                  <a:pt x="0" y="1"/>
                </a:cubicBezTo>
                <a:cubicBezTo>
                  <a:pt x="2" y="0"/>
                  <a:pt x="2" y="0"/>
                  <a:pt x="2" y="0"/>
                </a:cubicBezTo>
                <a:cubicBezTo>
                  <a:pt x="3" y="2"/>
                  <a:pt x="3" y="2"/>
                  <a:pt x="3" y="2"/>
                </a:cubicBezTo>
                <a:cubicBezTo>
                  <a:pt x="3" y="2"/>
                  <a:pt x="2" y="2"/>
                  <a:pt x="2" y="2"/>
                </a:cubicBez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1" name="Freeform 99">
            <a:extLst>
              <a:ext uri="{FF2B5EF4-FFF2-40B4-BE49-F238E27FC236}">
                <a16:creationId xmlns:a16="http://schemas.microsoft.com/office/drawing/2014/main" id="{B098398C-7962-95BC-3C49-7BB86C43B29D}"/>
              </a:ext>
            </a:extLst>
          </p:cNvPr>
          <p:cNvSpPr>
            <a:spLocks noEditPoints="1"/>
          </p:cNvSpPr>
          <p:nvPr userDrawn="1"/>
        </p:nvSpPr>
        <p:spPr bwMode="auto">
          <a:xfrm>
            <a:off x="12076917" y="7508156"/>
            <a:ext cx="288907" cy="101600"/>
          </a:xfrm>
          <a:custGeom>
            <a:avLst/>
            <a:gdLst>
              <a:gd name="T0" fmla="*/ 5 w 29"/>
              <a:gd name="T1" fmla="*/ 7 h 10"/>
              <a:gd name="T2" fmla="*/ 5 w 29"/>
              <a:gd name="T3" fmla="*/ 7 h 10"/>
              <a:gd name="T4" fmla="*/ 5 w 29"/>
              <a:gd name="T5" fmla="*/ 6 h 10"/>
              <a:gd name="T6" fmla="*/ 5 w 29"/>
              <a:gd name="T7" fmla="*/ 6 h 10"/>
              <a:gd name="T8" fmla="*/ 5 w 29"/>
              <a:gd name="T9" fmla="*/ 7 h 10"/>
              <a:gd name="T10" fmla="*/ 5 w 29"/>
              <a:gd name="T11" fmla="*/ 7 h 10"/>
              <a:gd name="T12" fmla="*/ 1 w 29"/>
              <a:gd name="T13" fmla="*/ 10 h 10"/>
              <a:gd name="T14" fmla="*/ 0 w 29"/>
              <a:gd name="T15" fmla="*/ 9 h 10"/>
              <a:gd name="T16" fmla="*/ 1 w 29"/>
              <a:gd name="T17" fmla="*/ 9 h 10"/>
              <a:gd name="T18" fmla="*/ 1 w 29"/>
              <a:gd name="T19" fmla="*/ 9 h 10"/>
              <a:gd name="T20" fmla="*/ 1 w 29"/>
              <a:gd name="T21" fmla="*/ 9 h 10"/>
              <a:gd name="T22" fmla="*/ 1 w 29"/>
              <a:gd name="T23" fmla="*/ 10 h 10"/>
              <a:gd name="T24" fmla="*/ 1 w 29"/>
              <a:gd name="T25" fmla="*/ 10 h 10"/>
              <a:gd name="T26" fmla="*/ 2 w 29"/>
              <a:gd name="T27" fmla="*/ 4 h 10"/>
              <a:gd name="T28" fmla="*/ 2 w 29"/>
              <a:gd name="T29" fmla="*/ 3 h 10"/>
              <a:gd name="T30" fmla="*/ 1 w 29"/>
              <a:gd name="T31" fmla="*/ 2 h 10"/>
              <a:gd name="T32" fmla="*/ 2 w 29"/>
              <a:gd name="T33" fmla="*/ 1 h 10"/>
              <a:gd name="T34" fmla="*/ 3 w 29"/>
              <a:gd name="T35" fmla="*/ 2 h 10"/>
              <a:gd name="T36" fmla="*/ 3 w 29"/>
              <a:gd name="T37" fmla="*/ 4 h 10"/>
              <a:gd name="T38" fmla="*/ 2 w 29"/>
              <a:gd name="T39" fmla="*/ 4 h 10"/>
              <a:gd name="T40" fmla="*/ 12 w 29"/>
              <a:gd name="T41" fmla="*/ 6 h 10"/>
              <a:gd name="T42" fmla="*/ 10 w 29"/>
              <a:gd name="T43" fmla="*/ 6 h 10"/>
              <a:gd name="T44" fmla="*/ 8 w 29"/>
              <a:gd name="T45" fmla="*/ 7 h 10"/>
              <a:gd name="T46" fmla="*/ 7 w 29"/>
              <a:gd name="T47" fmla="*/ 7 h 10"/>
              <a:gd name="T48" fmla="*/ 7 w 29"/>
              <a:gd name="T49" fmla="*/ 6 h 10"/>
              <a:gd name="T50" fmla="*/ 8 w 29"/>
              <a:gd name="T51" fmla="*/ 5 h 10"/>
              <a:gd name="T52" fmla="*/ 9 w 29"/>
              <a:gd name="T53" fmla="*/ 5 h 10"/>
              <a:gd name="T54" fmla="*/ 10 w 29"/>
              <a:gd name="T55" fmla="*/ 5 h 10"/>
              <a:gd name="T56" fmla="*/ 11 w 29"/>
              <a:gd name="T57" fmla="*/ 4 h 10"/>
              <a:gd name="T58" fmla="*/ 12 w 29"/>
              <a:gd name="T59" fmla="*/ 4 h 10"/>
              <a:gd name="T60" fmla="*/ 12 w 29"/>
              <a:gd name="T61" fmla="*/ 6 h 10"/>
              <a:gd name="T62" fmla="*/ 14 w 29"/>
              <a:gd name="T63" fmla="*/ 6 h 10"/>
              <a:gd name="T64" fmla="*/ 14 w 29"/>
              <a:gd name="T65" fmla="*/ 8 h 10"/>
              <a:gd name="T66" fmla="*/ 15 w 29"/>
              <a:gd name="T67" fmla="*/ 9 h 10"/>
              <a:gd name="T68" fmla="*/ 16 w 29"/>
              <a:gd name="T69" fmla="*/ 8 h 10"/>
              <a:gd name="T70" fmla="*/ 17 w 29"/>
              <a:gd name="T71" fmla="*/ 8 h 10"/>
              <a:gd name="T72" fmla="*/ 16 w 29"/>
              <a:gd name="T73" fmla="*/ 7 h 10"/>
              <a:gd name="T74" fmla="*/ 15 w 29"/>
              <a:gd name="T75" fmla="*/ 6 h 10"/>
              <a:gd name="T76" fmla="*/ 14 w 29"/>
              <a:gd name="T77" fmla="*/ 6 h 10"/>
              <a:gd name="T78" fmla="*/ 26 w 29"/>
              <a:gd name="T79" fmla="*/ 2 h 10"/>
              <a:gd name="T80" fmla="*/ 27 w 29"/>
              <a:gd name="T81" fmla="*/ 0 h 10"/>
              <a:gd name="T82" fmla="*/ 28 w 29"/>
              <a:gd name="T83" fmla="*/ 0 h 10"/>
              <a:gd name="T84" fmla="*/ 29 w 29"/>
              <a:gd name="T85" fmla="*/ 1 h 10"/>
              <a:gd name="T86" fmla="*/ 27 w 29"/>
              <a:gd name="T87" fmla="*/ 1 h 10"/>
              <a:gd name="T88" fmla="*/ 26 w 29"/>
              <a:gd name="T89" fmla="*/ 2 h 10"/>
              <a:gd name="T90" fmla="*/ 22 w 29"/>
              <a:gd name="T91" fmla="*/ 7 h 10"/>
              <a:gd name="T92" fmla="*/ 24 w 29"/>
              <a:gd name="T93" fmla="*/ 5 h 10"/>
              <a:gd name="T94" fmla="*/ 24 w 29"/>
              <a:gd name="T95" fmla="*/ 4 h 10"/>
              <a:gd name="T96" fmla="*/ 26 w 29"/>
              <a:gd name="T97" fmla="*/ 3 h 10"/>
              <a:gd name="T98" fmla="*/ 26 w 29"/>
              <a:gd name="T99" fmla="*/ 5 h 10"/>
              <a:gd name="T100" fmla="*/ 24 w 29"/>
              <a:gd name="T101" fmla="*/ 7 h 10"/>
              <a:gd name="T102" fmla="*/ 23 w 29"/>
              <a:gd name="T103" fmla="*/ 7 h 10"/>
              <a:gd name="T104" fmla="*/ 22 w 29"/>
              <a:gd name="T105"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 h="10">
                <a:moveTo>
                  <a:pt x="5" y="7"/>
                </a:moveTo>
                <a:cubicBezTo>
                  <a:pt x="5" y="7"/>
                  <a:pt x="5" y="7"/>
                  <a:pt x="5" y="7"/>
                </a:cubicBezTo>
                <a:cubicBezTo>
                  <a:pt x="5" y="6"/>
                  <a:pt x="5" y="6"/>
                  <a:pt x="5" y="6"/>
                </a:cubicBezTo>
                <a:cubicBezTo>
                  <a:pt x="5" y="6"/>
                  <a:pt x="5" y="6"/>
                  <a:pt x="5" y="6"/>
                </a:cubicBezTo>
                <a:cubicBezTo>
                  <a:pt x="5" y="7"/>
                  <a:pt x="5" y="7"/>
                  <a:pt x="5" y="7"/>
                </a:cubicBezTo>
                <a:cubicBezTo>
                  <a:pt x="5" y="7"/>
                  <a:pt x="5" y="7"/>
                  <a:pt x="5" y="7"/>
                </a:cubicBezTo>
                <a:close/>
                <a:moveTo>
                  <a:pt x="1" y="10"/>
                </a:moveTo>
                <a:cubicBezTo>
                  <a:pt x="0" y="9"/>
                  <a:pt x="0" y="9"/>
                  <a:pt x="0" y="9"/>
                </a:cubicBezTo>
                <a:cubicBezTo>
                  <a:pt x="1" y="9"/>
                  <a:pt x="1" y="9"/>
                  <a:pt x="1" y="9"/>
                </a:cubicBezTo>
                <a:cubicBezTo>
                  <a:pt x="1" y="9"/>
                  <a:pt x="1" y="9"/>
                  <a:pt x="1" y="9"/>
                </a:cubicBezTo>
                <a:cubicBezTo>
                  <a:pt x="1" y="9"/>
                  <a:pt x="1" y="9"/>
                  <a:pt x="1" y="9"/>
                </a:cubicBezTo>
                <a:cubicBezTo>
                  <a:pt x="1" y="10"/>
                  <a:pt x="1" y="10"/>
                  <a:pt x="1" y="10"/>
                </a:cubicBezTo>
                <a:cubicBezTo>
                  <a:pt x="1" y="10"/>
                  <a:pt x="1" y="10"/>
                  <a:pt x="1" y="10"/>
                </a:cubicBezTo>
                <a:close/>
                <a:moveTo>
                  <a:pt x="2" y="4"/>
                </a:moveTo>
                <a:cubicBezTo>
                  <a:pt x="2" y="3"/>
                  <a:pt x="2" y="3"/>
                  <a:pt x="2" y="3"/>
                </a:cubicBezTo>
                <a:cubicBezTo>
                  <a:pt x="1" y="2"/>
                  <a:pt x="1" y="2"/>
                  <a:pt x="1" y="2"/>
                </a:cubicBezTo>
                <a:cubicBezTo>
                  <a:pt x="1" y="2"/>
                  <a:pt x="2" y="1"/>
                  <a:pt x="2" y="1"/>
                </a:cubicBezTo>
                <a:cubicBezTo>
                  <a:pt x="2" y="1"/>
                  <a:pt x="3" y="2"/>
                  <a:pt x="3" y="2"/>
                </a:cubicBezTo>
                <a:cubicBezTo>
                  <a:pt x="3" y="4"/>
                  <a:pt x="3" y="4"/>
                  <a:pt x="3" y="4"/>
                </a:cubicBezTo>
                <a:cubicBezTo>
                  <a:pt x="3" y="4"/>
                  <a:pt x="2" y="4"/>
                  <a:pt x="2" y="4"/>
                </a:cubicBezTo>
                <a:close/>
                <a:moveTo>
                  <a:pt x="12" y="6"/>
                </a:moveTo>
                <a:cubicBezTo>
                  <a:pt x="10" y="6"/>
                  <a:pt x="10" y="6"/>
                  <a:pt x="10" y="6"/>
                </a:cubicBezTo>
                <a:cubicBezTo>
                  <a:pt x="8" y="7"/>
                  <a:pt x="8" y="7"/>
                  <a:pt x="8" y="7"/>
                </a:cubicBezTo>
                <a:cubicBezTo>
                  <a:pt x="7" y="7"/>
                  <a:pt x="7" y="7"/>
                  <a:pt x="7" y="7"/>
                </a:cubicBezTo>
                <a:cubicBezTo>
                  <a:pt x="7" y="6"/>
                  <a:pt x="7" y="6"/>
                  <a:pt x="7" y="6"/>
                </a:cubicBezTo>
                <a:cubicBezTo>
                  <a:pt x="8" y="5"/>
                  <a:pt x="8" y="5"/>
                  <a:pt x="8" y="5"/>
                </a:cubicBezTo>
                <a:cubicBezTo>
                  <a:pt x="9" y="5"/>
                  <a:pt x="9" y="5"/>
                  <a:pt x="9" y="5"/>
                </a:cubicBezTo>
                <a:cubicBezTo>
                  <a:pt x="10" y="5"/>
                  <a:pt x="10" y="5"/>
                  <a:pt x="10" y="5"/>
                </a:cubicBezTo>
                <a:cubicBezTo>
                  <a:pt x="11" y="4"/>
                  <a:pt x="11" y="4"/>
                  <a:pt x="11" y="4"/>
                </a:cubicBezTo>
                <a:cubicBezTo>
                  <a:pt x="12" y="4"/>
                  <a:pt x="12" y="4"/>
                  <a:pt x="12" y="4"/>
                </a:cubicBezTo>
                <a:cubicBezTo>
                  <a:pt x="12" y="6"/>
                  <a:pt x="12" y="6"/>
                  <a:pt x="12" y="6"/>
                </a:cubicBezTo>
                <a:close/>
                <a:moveTo>
                  <a:pt x="14" y="6"/>
                </a:moveTo>
                <a:cubicBezTo>
                  <a:pt x="14" y="8"/>
                  <a:pt x="14" y="8"/>
                  <a:pt x="14" y="8"/>
                </a:cubicBezTo>
                <a:cubicBezTo>
                  <a:pt x="15" y="9"/>
                  <a:pt x="15" y="9"/>
                  <a:pt x="15" y="9"/>
                </a:cubicBezTo>
                <a:cubicBezTo>
                  <a:pt x="16" y="8"/>
                  <a:pt x="16" y="8"/>
                  <a:pt x="16" y="8"/>
                </a:cubicBezTo>
                <a:cubicBezTo>
                  <a:pt x="17" y="8"/>
                  <a:pt x="17" y="8"/>
                  <a:pt x="17" y="8"/>
                </a:cubicBezTo>
                <a:cubicBezTo>
                  <a:pt x="16" y="7"/>
                  <a:pt x="16" y="7"/>
                  <a:pt x="16" y="7"/>
                </a:cubicBezTo>
                <a:cubicBezTo>
                  <a:pt x="15" y="6"/>
                  <a:pt x="15" y="6"/>
                  <a:pt x="15" y="6"/>
                </a:cubicBezTo>
                <a:cubicBezTo>
                  <a:pt x="14" y="6"/>
                  <a:pt x="14" y="6"/>
                  <a:pt x="14" y="6"/>
                </a:cubicBezTo>
                <a:close/>
                <a:moveTo>
                  <a:pt x="26" y="2"/>
                </a:moveTo>
                <a:cubicBezTo>
                  <a:pt x="27" y="0"/>
                  <a:pt x="27" y="0"/>
                  <a:pt x="27" y="0"/>
                </a:cubicBezTo>
                <a:cubicBezTo>
                  <a:pt x="28" y="0"/>
                  <a:pt x="28" y="0"/>
                  <a:pt x="28" y="0"/>
                </a:cubicBezTo>
                <a:cubicBezTo>
                  <a:pt x="29" y="1"/>
                  <a:pt x="29" y="1"/>
                  <a:pt x="29" y="1"/>
                </a:cubicBezTo>
                <a:cubicBezTo>
                  <a:pt x="27" y="1"/>
                  <a:pt x="27" y="1"/>
                  <a:pt x="27" y="1"/>
                </a:cubicBezTo>
                <a:cubicBezTo>
                  <a:pt x="26" y="2"/>
                  <a:pt x="26" y="2"/>
                  <a:pt x="26" y="2"/>
                </a:cubicBezTo>
                <a:close/>
                <a:moveTo>
                  <a:pt x="22" y="7"/>
                </a:moveTo>
                <a:cubicBezTo>
                  <a:pt x="24" y="5"/>
                  <a:pt x="24" y="5"/>
                  <a:pt x="24" y="5"/>
                </a:cubicBezTo>
                <a:cubicBezTo>
                  <a:pt x="24" y="4"/>
                  <a:pt x="24" y="4"/>
                  <a:pt x="24" y="4"/>
                </a:cubicBezTo>
                <a:cubicBezTo>
                  <a:pt x="26" y="3"/>
                  <a:pt x="26" y="3"/>
                  <a:pt x="26" y="3"/>
                </a:cubicBezTo>
                <a:cubicBezTo>
                  <a:pt x="26" y="5"/>
                  <a:pt x="26" y="5"/>
                  <a:pt x="26" y="5"/>
                </a:cubicBezTo>
                <a:cubicBezTo>
                  <a:pt x="24" y="7"/>
                  <a:pt x="24" y="7"/>
                  <a:pt x="24" y="7"/>
                </a:cubicBezTo>
                <a:cubicBezTo>
                  <a:pt x="23" y="7"/>
                  <a:pt x="23" y="7"/>
                  <a:pt x="23" y="7"/>
                </a:cubicBezTo>
                <a:lnTo>
                  <a:pt x="22" y="7"/>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2" name="Freeform 100">
            <a:extLst>
              <a:ext uri="{FF2B5EF4-FFF2-40B4-BE49-F238E27FC236}">
                <a16:creationId xmlns:a16="http://schemas.microsoft.com/office/drawing/2014/main" id="{CC0C2875-68AC-4012-FA16-ECCD3C8D43C7}"/>
              </a:ext>
            </a:extLst>
          </p:cNvPr>
          <p:cNvSpPr>
            <a:spLocks noEditPoints="1"/>
          </p:cNvSpPr>
          <p:nvPr userDrawn="1"/>
        </p:nvSpPr>
        <p:spPr bwMode="auto">
          <a:xfrm>
            <a:off x="11610217" y="8282861"/>
            <a:ext cx="158740" cy="149226"/>
          </a:xfrm>
          <a:custGeom>
            <a:avLst/>
            <a:gdLst>
              <a:gd name="T0" fmla="*/ 2 w 16"/>
              <a:gd name="T1" fmla="*/ 1 h 15"/>
              <a:gd name="T2" fmla="*/ 3 w 16"/>
              <a:gd name="T3" fmla="*/ 0 h 15"/>
              <a:gd name="T4" fmla="*/ 3 w 16"/>
              <a:gd name="T5" fmla="*/ 0 h 15"/>
              <a:gd name="T6" fmla="*/ 2 w 16"/>
              <a:gd name="T7" fmla="*/ 0 h 15"/>
              <a:gd name="T8" fmla="*/ 1 w 16"/>
              <a:gd name="T9" fmla="*/ 0 h 15"/>
              <a:gd name="T10" fmla="*/ 0 w 16"/>
              <a:gd name="T11" fmla="*/ 0 h 15"/>
              <a:gd name="T12" fmla="*/ 1 w 16"/>
              <a:gd name="T13" fmla="*/ 1 h 15"/>
              <a:gd name="T14" fmla="*/ 2 w 16"/>
              <a:gd name="T15" fmla="*/ 1 h 15"/>
              <a:gd name="T16" fmla="*/ 3 w 16"/>
              <a:gd name="T17" fmla="*/ 2 h 15"/>
              <a:gd name="T18" fmla="*/ 3 w 16"/>
              <a:gd name="T19" fmla="*/ 1 h 15"/>
              <a:gd name="T20" fmla="*/ 3 w 16"/>
              <a:gd name="T21" fmla="*/ 1 h 15"/>
              <a:gd name="T22" fmla="*/ 4 w 16"/>
              <a:gd name="T23" fmla="*/ 1 h 15"/>
              <a:gd name="T24" fmla="*/ 4 w 16"/>
              <a:gd name="T25" fmla="*/ 2 h 15"/>
              <a:gd name="T26" fmla="*/ 3 w 16"/>
              <a:gd name="T27" fmla="*/ 2 h 15"/>
              <a:gd name="T28" fmla="*/ 8 w 16"/>
              <a:gd name="T29" fmla="*/ 4 h 15"/>
              <a:gd name="T30" fmla="*/ 8 w 16"/>
              <a:gd name="T31" fmla="*/ 4 h 15"/>
              <a:gd name="T32" fmla="*/ 7 w 16"/>
              <a:gd name="T33" fmla="*/ 4 h 15"/>
              <a:gd name="T34" fmla="*/ 7 w 16"/>
              <a:gd name="T35" fmla="*/ 3 h 15"/>
              <a:gd name="T36" fmla="*/ 7 w 16"/>
              <a:gd name="T37" fmla="*/ 3 h 15"/>
              <a:gd name="T38" fmla="*/ 8 w 16"/>
              <a:gd name="T39" fmla="*/ 3 h 15"/>
              <a:gd name="T40" fmla="*/ 8 w 16"/>
              <a:gd name="T41" fmla="*/ 3 h 15"/>
              <a:gd name="T42" fmla="*/ 8 w 16"/>
              <a:gd name="T43" fmla="*/ 4 h 15"/>
              <a:gd name="T44" fmla="*/ 8 w 16"/>
              <a:gd name="T45" fmla="*/ 4 h 15"/>
              <a:gd name="T46" fmla="*/ 10 w 16"/>
              <a:gd name="T47" fmla="*/ 4 h 15"/>
              <a:gd name="T48" fmla="*/ 9 w 16"/>
              <a:gd name="T49" fmla="*/ 4 h 15"/>
              <a:gd name="T50" fmla="*/ 9 w 16"/>
              <a:gd name="T51" fmla="*/ 3 h 15"/>
              <a:gd name="T52" fmla="*/ 9 w 16"/>
              <a:gd name="T53" fmla="*/ 3 h 15"/>
              <a:gd name="T54" fmla="*/ 10 w 16"/>
              <a:gd name="T55" fmla="*/ 4 h 15"/>
              <a:gd name="T56" fmla="*/ 15 w 16"/>
              <a:gd name="T57" fmla="*/ 3 h 15"/>
              <a:gd name="T58" fmla="*/ 15 w 16"/>
              <a:gd name="T59" fmla="*/ 2 h 15"/>
              <a:gd name="T60" fmla="*/ 16 w 16"/>
              <a:gd name="T61" fmla="*/ 1 h 15"/>
              <a:gd name="T62" fmla="*/ 16 w 16"/>
              <a:gd name="T63" fmla="*/ 3 h 15"/>
              <a:gd name="T64" fmla="*/ 15 w 16"/>
              <a:gd name="T65" fmla="*/ 3 h 15"/>
              <a:gd name="T66" fmla="*/ 15 w 16"/>
              <a:gd name="T67" fmla="*/ 7 h 15"/>
              <a:gd name="T68" fmla="*/ 14 w 16"/>
              <a:gd name="T69" fmla="*/ 6 h 15"/>
              <a:gd name="T70" fmla="*/ 15 w 16"/>
              <a:gd name="T71" fmla="*/ 6 h 15"/>
              <a:gd name="T72" fmla="*/ 16 w 16"/>
              <a:gd name="T73" fmla="*/ 6 h 15"/>
              <a:gd name="T74" fmla="*/ 16 w 16"/>
              <a:gd name="T75" fmla="*/ 7 h 15"/>
              <a:gd name="T76" fmla="*/ 16 w 16"/>
              <a:gd name="T77" fmla="*/ 7 h 15"/>
              <a:gd name="T78" fmla="*/ 15 w 16"/>
              <a:gd name="T79" fmla="*/ 7 h 15"/>
              <a:gd name="T80" fmla="*/ 14 w 16"/>
              <a:gd name="T81" fmla="*/ 13 h 15"/>
              <a:gd name="T82" fmla="*/ 13 w 16"/>
              <a:gd name="T83" fmla="*/ 12 h 15"/>
              <a:gd name="T84" fmla="*/ 14 w 16"/>
              <a:gd name="T85" fmla="*/ 12 h 15"/>
              <a:gd name="T86" fmla="*/ 14 w 16"/>
              <a:gd name="T87" fmla="*/ 13 h 15"/>
              <a:gd name="T88" fmla="*/ 14 w 16"/>
              <a:gd name="T89" fmla="*/ 13 h 15"/>
              <a:gd name="T90" fmla="*/ 10 w 16"/>
              <a:gd name="T91" fmla="*/ 14 h 15"/>
              <a:gd name="T92" fmla="*/ 10 w 16"/>
              <a:gd name="T93" fmla="*/ 13 h 15"/>
              <a:gd name="T94" fmla="*/ 10 w 16"/>
              <a:gd name="T95" fmla="*/ 12 h 15"/>
              <a:gd name="T96" fmla="*/ 11 w 16"/>
              <a:gd name="T97" fmla="*/ 12 h 15"/>
              <a:gd name="T98" fmla="*/ 12 w 16"/>
              <a:gd name="T99" fmla="*/ 14 h 15"/>
              <a:gd name="T100" fmla="*/ 12 w 16"/>
              <a:gd name="T101" fmla="*/ 15 h 15"/>
              <a:gd name="T102" fmla="*/ 10 w 16"/>
              <a:gd name="T103"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 h="15">
                <a:moveTo>
                  <a:pt x="2" y="1"/>
                </a:moveTo>
                <a:cubicBezTo>
                  <a:pt x="3" y="0"/>
                  <a:pt x="3" y="0"/>
                  <a:pt x="3" y="0"/>
                </a:cubicBezTo>
                <a:cubicBezTo>
                  <a:pt x="3" y="0"/>
                  <a:pt x="3" y="0"/>
                  <a:pt x="3" y="0"/>
                </a:cubicBezTo>
                <a:cubicBezTo>
                  <a:pt x="2" y="0"/>
                  <a:pt x="2" y="0"/>
                  <a:pt x="2" y="0"/>
                </a:cubicBezTo>
                <a:cubicBezTo>
                  <a:pt x="1" y="0"/>
                  <a:pt x="1" y="0"/>
                  <a:pt x="1" y="0"/>
                </a:cubicBezTo>
                <a:cubicBezTo>
                  <a:pt x="0" y="0"/>
                  <a:pt x="0" y="0"/>
                  <a:pt x="0" y="0"/>
                </a:cubicBezTo>
                <a:cubicBezTo>
                  <a:pt x="1" y="1"/>
                  <a:pt x="1" y="1"/>
                  <a:pt x="1" y="1"/>
                </a:cubicBezTo>
                <a:cubicBezTo>
                  <a:pt x="1" y="1"/>
                  <a:pt x="1" y="1"/>
                  <a:pt x="2" y="1"/>
                </a:cubicBezTo>
                <a:close/>
                <a:moveTo>
                  <a:pt x="3" y="2"/>
                </a:moveTo>
                <a:cubicBezTo>
                  <a:pt x="3" y="1"/>
                  <a:pt x="3" y="1"/>
                  <a:pt x="3" y="1"/>
                </a:cubicBezTo>
                <a:cubicBezTo>
                  <a:pt x="3" y="1"/>
                  <a:pt x="3" y="1"/>
                  <a:pt x="3" y="1"/>
                </a:cubicBezTo>
                <a:cubicBezTo>
                  <a:pt x="4" y="1"/>
                  <a:pt x="4" y="1"/>
                  <a:pt x="4" y="1"/>
                </a:cubicBezTo>
                <a:cubicBezTo>
                  <a:pt x="4" y="2"/>
                  <a:pt x="4" y="2"/>
                  <a:pt x="4" y="2"/>
                </a:cubicBezTo>
                <a:cubicBezTo>
                  <a:pt x="4" y="2"/>
                  <a:pt x="3" y="2"/>
                  <a:pt x="3" y="2"/>
                </a:cubicBezTo>
                <a:close/>
                <a:moveTo>
                  <a:pt x="8" y="4"/>
                </a:moveTo>
                <a:cubicBezTo>
                  <a:pt x="8" y="4"/>
                  <a:pt x="8" y="4"/>
                  <a:pt x="8" y="4"/>
                </a:cubicBezTo>
                <a:cubicBezTo>
                  <a:pt x="7" y="4"/>
                  <a:pt x="7" y="4"/>
                  <a:pt x="7" y="4"/>
                </a:cubicBezTo>
                <a:cubicBezTo>
                  <a:pt x="7" y="3"/>
                  <a:pt x="7" y="3"/>
                  <a:pt x="7" y="3"/>
                </a:cubicBezTo>
                <a:cubicBezTo>
                  <a:pt x="7" y="3"/>
                  <a:pt x="7" y="3"/>
                  <a:pt x="7" y="3"/>
                </a:cubicBezTo>
                <a:cubicBezTo>
                  <a:pt x="8" y="3"/>
                  <a:pt x="8" y="3"/>
                  <a:pt x="8" y="3"/>
                </a:cubicBezTo>
                <a:cubicBezTo>
                  <a:pt x="8" y="3"/>
                  <a:pt x="8" y="3"/>
                  <a:pt x="8" y="3"/>
                </a:cubicBezTo>
                <a:cubicBezTo>
                  <a:pt x="8" y="4"/>
                  <a:pt x="8" y="4"/>
                  <a:pt x="8" y="4"/>
                </a:cubicBezTo>
                <a:cubicBezTo>
                  <a:pt x="8" y="4"/>
                  <a:pt x="8" y="4"/>
                  <a:pt x="8" y="4"/>
                </a:cubicBezTo>
                <a:close/>
                <a:moveTo>
                  <a:pt x="10" y="4"/>
                </a:moveTo>
                <a:cubicBezTo>
                  <a:pt x="9" y="4"/>
                  <a:pt x="9" y="4"/>
                  <a:pt x="9" y="4"/>
                </a:cubicBezTo>
                <a:cubicBezTo>
                  <a:pt x="9" y="3"/>
                  <a:pt x="9" y="3"/>
                  <a:pt x="9" y="3"/>
                </a:cubicBezTo>
                <a:cubicBezTo>
                  <a:pt x="9" y="3"/>
                  <a:pt x="9" y="3"/>
                  <a:pt x="9" y="3"/>
                </a:cubicBezTo>
                <a:cubicBezTo>
                  <a:pt x="10" y="4"/>
                  <a:pt x="10" y="4"/>
                  <a:pt x="10" y="4"/>
                </a:cubicBezTo>
                <a:close/>
                <a:moveTo>
                  <a:pt x="15" y="3"/>
                </a:moveTo>
                <a:cubicBezTo>
                  <a:pt x="15" y="2"/>
                  <a:pt x="15" y="2"/>
                  <a:pt x="15" y="2"/>
                </a:cubicBezTo>
                <a:cubicBezTo>
                  <a:pt x="16" y="1"/>
                  <a:pt x="16" y="1"/>
                  <a:pt x="16" y="1"/>
                </a:cubicBezTo>
                <a:cubicBezTo>
                  <a:pt x="16" y="3"/>
                  <a:pt x="16" y="3"/>
                  <a:pt x="16" y="3"/>
                </a:cubicBezTo>
                <a:cubicBezTo>
                  <a:pt x="15" y="3"/>
                  <a:pt x="15" y="3"/>
                  <a:pt x="15" y="3"/>
                </a:cubicBezTo>
                <a:close/>
                <a:moveTo>
                  <a:pt x="15" y="7"/>
                </a:moveTo>
                <a:cubicBezTo>
                  <a:pt x="14" y="6"/>
                  <a:pt x="14" y="6"/>
                  <a:pt x="14" y="6"/>
                </a:cubicBezTo>
                <a:cubicBezTo>
                  <a:pt x="15" y="6"/>
                  <a:pt x="15" y="6"/>
                  <a:pt x="15" y="6"/>
                </a:cubicBezTo>
                <a:cubicBezTo>
                  <a:pt x="16" y="6"/>
                  <a:pt x="16" y="6"/>
                  <a:pt x="16" y="6"/>
                </a:cubicBezTo>
                <a:cubicBezTo>
                  <a:pt x="16" y="7"/>
                  <a:pt x="16" y="7"/>
                  <a:pt x="16" y="7"/>
                </a:cubicBezTo>
                <a:cubicBezTo>
                  <a:pt x="16" y="7"/>
                  <a:pt x="16" y="7"/>
                  <a:pt x="16" y="7"/>
                </a:cubicBezTo>
                <a:cubicBezTo>
                  <a:pt x="15" y="7"/>
                  <a:pt x="15" y="7"/>
                  <a:pt x="15" y="7"/>
                </a:cubicBezTo>
                <a:close/>
                <a:moveTo>
                  <a:pt x="14" y="13"/>
                </a:moveTo>
                <a:cubicBezTo>
                  <a:pt x="13" y="12"/>
                  <a:pt x="13" y="12"/>
                  <a:pt x="13" y="12"/>
                </a:cubicBezTo>
                <a:cubicBezTo>
                  <a:pt x="14" y="12"/>
                  <a:pt x="14" y="12"/>
                  <a:pt x="14" y="12"/>
                </a:cubicBezTo>
                <a:cubicBezTo>
                  <a:pt x="14" y="13"/>
                  <a:pt x="14" y="13"/>
                  <a:pt x="14" y="13"/>
                </a:cubicBezTo>
                <a:cubicBezTo>
                  <a:pt x="14" y="13"/>
                  <a:pt x="14" y="13"/>
                  <a:pt x="14" y="13"/>
                </a:cubicBezTo>
                <a:close/>
                <a:moveTo>
                  <a:pt x="10" y="14"/>
                </a:moveTo>
                <a:cubicBezTo>
                  <a:pt x="10" y="13"/>
                  <a:pt x="10" y="13"/>
                  <a:pt x="10" y="13"/>
                </a:cubicBezTo>
                <a:cubicBezTo>
                  <a:pt x="10" y="12"/>
                  <a:pt x="10" y="12"/>
                  <a:pt x="10" y="12"/>
                </a:cubicBezTo>
                <a:cubicBezTo>
                  <a:pt x="11" y="12"/>
                  <a:pt x="11" y="12"/>
                  <a:pt x="11" y="12"/>
                </a:cubicBezTo>
                <a:cubicBezTo>
                  <a:pt x="12" y="14"/>
                  <a:pt x="12" y="14"/>
                  <a:pt x="12" y="14"/>
                </a:cubicBezTo>
                <a:cubicBezTo>
                  <a:pt x="12" y="15"/>
                  <a:pt x="12" y="15"/>
                  <a:pt x="12" y="15"/>
                </a:cubicBezTo>
                <a:lnTo>
                  <a:pt x="10" y="14"/>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3" name="Freeform 101">
            <a:extLst>
              <a:ext uri="{FF2B5EF4-FFF2-40B4-BE49-F238E27FC236}">
                <a16:creationId xmlns:a16="http://schemas.microsoft.com/office/drawing/2014/main" id="{79DD08C0-E6B2-D617-C333-B26FB0AC0D1B}"/>
              </a:ext>
            </a:extLst>
          </p:cNvPr>
          <p:cNvSpPr>
            <a:spLocks noEditPoints="1"/>
          </p:cNvSpPr>
          <p:nvPr userDrawn="1"/>
        </p:nvSpPr>
        <p:spPr bwMode="auto">
          <a:xfrm>
            <a:off x="16385104" y="7657385"/>
            <a:ext cx="466696" cy="666750"/>
          </a:xfrm>
          <a:custGeom>
            <a:avLst/>
            <a:gdLst>
              <a:gd name="T0" fmla="*/ 56 w 147"/>
              <a:gd name="T1" fmla="*/ 138 h 210"/>
              <a:gd name="T2" fmla="*/ 56 w 147"/>
              <a:gd name="T3" fmla="*/ 78 h 210"/>
              <a:gd name="T4" fmla="*/ 78 w 147"/>
              <a:gd name="T5" fmla="*/ 28 h 210"/>
              <a:gd name="T6" fmla="*/ 84 w 147"/>
              <a:gd name="T7" fmla="*/ 47 h 210"/>
              <a:gd name="T8" fmla="*/ 97 w 147"/>
              <a:gd name="T9" fmla="*/ 60 h 210"/>
              <a:gd name="T10" fmla="*/ 103 w 147"/>
              <a:gd name="T11" fmla="*/ 60 h 210"/>
              <a:gd name="T12" fmla="*/ 115 w 147"/>
              <a:gd name="T13" fmla="*/ 60 h 210"/>
              <a:gd name="T14" fmla="*/ 122 w 147"/>
              <a:gd name="T15" fmla="*/ 60 h 210"/>
              <a:gd name="T16" fmla="*/ 131 w 147"/>
              <a:gd name="T17" fmla="*/ 72 h 210"/>
              <a:gd name="T18" fmla="*/ 134 w 147"/>
              <a:gd name="T19" fmla="*/ 78 h 210"/>
              <a:gd name="T20" fmla="*/ 147 w 147"/>
              <a:gd name="T21" fmla="*/ 85 h 210"/>
              <a:gd name="T22" fmla="*/ 147 w 147"/>
              <a:gd name="T23" fmla="*/ 91 h 210"/>
              <a:gd name="T24" fmla="*/ 143 w 147"/>
              <a:gd name="T25" fmla="*/ 97 h 210"/>
              <a:gd name="T26" fmla="*/ 137 w 147"/>
              <a:gd name="T27" fmla="*/ 113 h 210"/>
              <a:gd name="T28" fmla="*/ 131 w 147"/>
              <a:gd name="T29" fmla="*/ 119 h 210"/>
              <a:gd name="T30" fmla="*/ 125 w 147"/>
              <a:gd name="T31" fmla="*/ 129 h 210"/>
              <a:gd name="T32" fmla="*/ 122 w 147"/>
              <a:gd name="T33" fmla="*/ 129 h 210"/>
              <a:gd name="T34" fmla="*/ 122 w 147"/>
              <a:gd name="T35" fmla="*/ 125 h 210"/>
              <a:gd name="T36" fmla="*/ 118 w 147"/>
              <a:gd name="T37" fmla="*/ 125 h 210"/>
              <a:gd name="T38" fmla="*/ 115 w 147"/>
              <a:gd name="T39" fmla="*/ 129 h 210"/>
              <a:gd name="T40" fmla="*/ 115 w 147"/>
              <a:gd name="T41" fmla="*/ 132 h 210"/>
              <a:gd name="T42" fmla="*/ 112 w 147"/>
              <a:gd name="T43" fmla="*/ 144 h 210"/>
              <a:gd name="T44" fmla="*/ 112 w 147"/>
              <a:gd name="T45" fmla="*/ 147 h 210"/>
              <a:gd name="T46" fmla="*/ 112 w 147"/>
              <a:gd name="T47" fmla="*/ 150 h 210"/>
              <a:gd name="T48" fmla="*/ 115 w 147"/>
              <a:gd name="T49" fmla="*/ 160 h 210"/>
              <a:gd name="T50" fmla="*/ 106 w 147"/>
              <a:gd name="T51" fmla="*/ 160 h 210"/>
              <a:gd name="T52" fmla="*/ 100 w 147"/>
              <a:gd name="T53" fmla="*/ 160 h 210"/>
              <a:gd name="T54" fmla="*/ 90 w 147"/>
              <a:gd name="T55" fmla="*/ 172 h 210"/>
              <a:gd name="T56" fmla="*/ 87 w 147"/>
              <a:gd name="T57" fmla="*/ 179 h 210"/>
              <a:gd name="T58" fmla="*/ 81 w 147"/>
              <a:gd name="T59" fmla="*/ 182 h 210"/>
              <a:gd name="T60" fmla="*/ 68 w 147"/>
              <a:gd name="T61" fmla="*/ 182 h 210"/>
              <a:gd name="T62" fmla="*/ 65 w 147"/>
              <a:gd name="T63" fmla="*/ 188 h 210"/>
              <a:gd name="T64" fmla="*/ 65 w 147"/>
              <a:gd name="T65" fmla="*/ 191 h 210"/>
              <a:gd name="T66" fmla="*/ 65 w 147"/>
              <a:gd name="T67" fmla="*/ 194 h 210"/>
              <a:gd name="T68" fmla="*/ 65 w 147"/>
              <a:gd name="T69" fmla="*/ 194 h 210"/>
              <a:gd name="T70" fmla="*/ 59 w 147"/>
              <a:gd name="T71" fmla="*/ 204 h 210"/>
              <a:gd name="T72" fmla="*/ 53 w 147"/>
              <a:gd name="T73" fmla="*/ 200 h 210"/>
              <a:gd name="T74" fmla="*/ 40 w 147"/>
              <a:gd name="T75" fmla="*/ 204 h 210"/>
              <a:gd name="T76" fmla="*/ 34 w 147"/>
              <a:gd name="T77" fmla="*/ 210 h 210"/>
              <a:gd name="T78" fmla="*/ 31 w 147"/>
              <a:gd name="T79" fmla="*/ 210 h 210"/>
              <a:gd name="T80" fmla="*/ 15 w 147"/>
              <a:gd name="T81" fmla="*/ 194 h 210"/>
              <a:gd name="T82" fmla="*/ 0 w 147"/>
              <a:gd name="T83" fmla="*/ 163 h 210"/>
              <a:gd name="T84" fmla="*/ 3 w 147"/>
              <a:gd name="T85" fmla="*/ 154 h 210"/>
              <a:gd name="T86" fmla="*/ 72 w 147"/>
              <a:gd name="T87" fmla="*/ 16 h 210"/>
              <a:gd name="T88" fmla="*/ 75 w 147"/>
              <a:gd name="T89" fmla="*/ 7 h 210"/>
              <a:gd name="T90" fmla="*/ 75 w 147"/>
              <a:gd name="T91" fmla="*/ 3 h 210"/>
              <a:gd name="T92" fmla="*/ 75 w 147"/>
              <a:gd name="T93" fmla="*/ 3 h 210"/>
              <a:gd name="T94" fmla="*/ 75 w 147"/>
              <a:gd name="T95" fmla="*/ 0 h 210"/>
              <a:gd name="T96" fmla="*/ 72 w 147"/>
              <a:gd name="T97" fmla="*/ 0 h 210"/>
              <a:gd name="T98" fmla="*/ 68 w 147"/>
              <a:gd name="T99" fmla="*/ 10 h 210"/>
              <a:gd name="T100" fmla="*/ 68 w 147"/>
              <a:gd name="T101" fmla="*/ 10 h 210"/>
              <a:gd name="T102" fmla="*/ 72 w 147"/>
              <a:gd name="T103" fmla="*/ 13 h 210"/>
              <a:gd name="T104" fmla="*/ 72 w 147"/>
              <a:gd name="T105" fmla="*/ 1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7" h="210">
                <a:moveTo>
                  <a:pt x="3" y="154"/>
                </a:moveTo>
                <a:lnTo>
                  <a:pt x="56" y="138"/>
                </a:lnTo>
                <a:lnTo>
                  <a:pt x="59" y="94"/>
                </a:lnTo>
                <a:lnTo>
                  <a:pt x="56" y="78"/>
                </a:lnTo>
                <a:lnTo>
                  <a:pt x="72" y="28"/>
                </a:lnTo>
                <a:lnTo>
                  <a:pt x="78" y="28"/>
                </a:lnTo>
                <a:lnTo>
                  <a:pt x="78" y="38"/>
                </a:lnTo>
                <a:lnTo>
                  <a:pt x="84" y="47"/>
                </a:lnTo>
                <a:lnTo>
                  <a:pt x="84" y="50"/>
                </a:lnTo>
                <a:lnTo>
                  <a:pt x="97" y="60"/>
                </a:lnTo>
                <a:lnTo>
                  <a:pt x="100" y="60"/>
                </a:lnTo>
                <a:lnTo>
                  <a:pt x="103" y="60"/>
                </a:lnTo>
                <a:lnTo>
                  <a:pt x="106" y="60"/>
                </a:lnTo>
                <a:lnTo>
                  <a:pt x="115" y="60"/>
                </a:lnTo>
                <a:lnTo>
                  <a:pt x="122" y="60"/>
                </a:lnTo>
                <a:lnTo>
                  <a:pt x="122" y="60"/>
                </a:lnTo>
                <a:lnTo>
                  <a:pt x="128" y="66"/>
                </a:lnTo>
                <a:lnTo>
                  <a:pt x="131" y="72"/>
                </a:lnTo>
                <a:lnTo>
                  <a:pt x="134" y="75"/>
                </a:lnTo>
                <a:lnTo>
                  <a:pt x="134" y="78"/>
                </a:lnTo>
                <a:lnTo>
                  <a:pt x="143" y="85"/>
                </a:lnTo>
                <a:lnTo>
                  <a:pt x="147" y="85"/>
                </a:lnTo>
                <a:lnTo>
                  <a:pt x="147" y="88"/>
                </a:lnTo>
                <a:lnTo>
                  <a:pt x="147" y="91"/>
                </a:lnTo>
                <a:lnTo>
                  <a:pt x="143" y="94"/>
                </a:lnTo>
                <a:lnTo>
                  <a:pt x="143" y="97"/>
                </a:lnTo>
                <a:lnTo>
                  <a:pt x="143" y="100"/>
                </a:lnTo>
                <a:lnTo>
                  <a:pt x="137" y="113"/>
                </a:lnTo>
                <a:lnTo>
                  <a:pt x="131" y="116"/>
                </a:lnTo>
                <a:lnTo>
                  <a:pt x="131" y="119"/>
                </a:lnTo>
                <a:lnTo>
                  <a:pt x="128" y="122"/>
                </a:lnTo>
                <a:lnTo>
                  <a:pt x="125" y="129"/>
                </a:lnTo>
                <a:lnTo>
                  <a:pt x="125" y="129"/>
                </a:lnTo>
                <a:lnTo>
                  <a:pt x="122" y="129"/>
                </a:lnTo>
                <a:lnTo>
                  <a:pt x="122" y="125"/>
                </a:lnTo>
                <a:lnTo>
                  <a:pt x="122" y="125"/>
                </a:lnTo>
                <a:lnTo>
                  <a:pt x="122" y="122"/>
                </a:lnTo>
                <a:lnTo>
                  <a:pt x="118" y="125"/>
                </a:lnTo>
                <a:lnTo>
                  <a:pt x="115" y="129"/>
                </a:lnTo>
                <a:lnTo>
                  <a:pt x="115" y="129"/>
                </a:lnTo>
                <a:lnTo>
                  <a:pt x="118" y="132"/>
                </a:lnTo>
                <a:lnTo>
                  <a:pt x="115" y="132"/>
                </a:lnTo>
                <a:lnTo>
                  <a:pt x="112" y="138"/>
                </a:lnTo>
                <a:lnTo>
                  <a:pt x="112" y="144"/>
                </a:lnTo>
                <a:lnTo>
                  <a:pt x="109" y="147"/>
                </a:lnTo>
                <a:lnTo>
                  <a:pt x="112" y="147"/>
                </a:lnTo>
                <a:lnTo>
                  <a:pt x="112" y="150"/>
                </a:lnTo>
                <a:lnTo>
                  <a:pt x="112" y="150"/>
                </a:lnTo>
                <a:lnTo>
                  <a:pt x="115" y="157"/>
                </a:lnTo>
                <a:lnTo>
                  <a:pt x="115" y="160"/>
                </a:lnTo>
                <a:lnTo>
                  <a:pt x="115" y="160"/>
                </a:lnTo>
                <a:lnTo>
                  <a:pt x="106" y="160"/>
                </a:lnTo>
                <a:lnTo>
                  <a:pt x="103" y="163"/>
                </a:lnTo>
                <a:lnTo>
                  <a:pt x="100" y="160"/>
                </a:lnTo>
                <a:lnTo>
                  <a:pt x="97" y="163"/>
                </a:lnTo>
                <a:lnTo>
                  <a:pt x="90" y="172"/>
                </a:lnTo>
                <a:lnTo>
                  <a:pt x="90" y="179"/>
                </a:lnTo>
                <a:lnTo>
                  <a:pt x="87" y="179"/>
                </a:lnTo>
                <a:lnTo>
                  <a:pt x="84" y="182"/>
                </a:lnTo>
                <a:lnTo>
                  <a:pt x="81" y="182"/>
                </a:lnTo>
                <a:lnTo>
                  <a:pt x="75" y="182"/>
                </a:lnTo>
                <a:lnTo>
                  <a:pt x="68" y="182"/>
                </a:lnTo>
                <a:lnTo>
                  <a:pt x="68" y="185"/>
                </a:lnTo>
                <a:lnTo>
                  <a:pt x="65" y="188"/>
                </a:lnTo>
                <a:lnTo>
                  <a:pt x="65" y="188"/>
                </a:lnTo>
                <a:lnTo>
                  <a:pt x="65" y="191"/>
                </a:lnTo>
                <a:lnTo>
                  <a:pt x="65" y="191"/>
                </a:lnTo>
                <a:lnTo>
                  <a:pt x="65" y="194"/>
                </a:lnTo>
                <a:lnTo>
                  <a:pt x="65" y="194"/>
                </a:lnTo>
                <a:lnTo>
                  <a:pt x="65" y="194"/>
                </a:lnTo>
                <a:lnTo>
                  <a:pt x="62" y="204"/>
                </a:lnTo>
                <a:lnTo>
                  <a:pt x="59" y="204"/>
                </a:lnTo>
                <a:lnTo>
                  <a:pt x="56" y="200"/>
                </a:lnTo>
                <a:lnTo>
                  <a:pt x="53" y="200"/>
                </a:lnTo>
                <a:lnTo>
                  <a:pt x="50" y="200"/>
                </a:lnTo>
                <a:lnTo>
                  <a:pt x="40" y="204"/>
                </a:lnTo>
                <a:lnTo>
                  <a:pt x="37" y="204"/>
                </a:lnTo>
                <a:lnTo>
                  <a:pt x="34" y="210"/>
                </a:lnTo>
                <a:lnTo>
                  <a:pt x="31" y="210"/>
                </a:lnTo>
                <a:lnTo>
                  <a:pt x="31" y="210"/>
                </a:lnTo>
                <a:lnTo>
                  <a:pt x="28" y="210"/>
                </a:lnTo>
                <a:lnTo>
                  <a:pt x="15" y="194"/>
                </a:lnTo>
                <a:lnTo>
                  <a:pt x="18" y="188"/>
                </a:lnTo>
                <a:lnTo>
                  <a:pt x="0" y="163"/>
                </a:lnTo>
                <a:lnTo>
                  <a:pt x="3" y="154"/>
                </a:lnTo>
                <a:lnTo>
                  <a:pt x="3" y="154"/>
                </a:lnTo>
                <a:close/>
                <a:moveTo>
                  <a:pt x="72" y="19"/>
                </a:moveTo>
                <a:lnTo>
                  <a:pt x="72" y="16"/>
                </a:lnTo>
                <a:lnTo>
                  <a:pt x="75" y="13"/>
                </a:lnTo>
                <a:lnTo>
                  <a:pt x="75" y="7"/>
                </a:lnTo>
                <a:lnTo>
                  <a:pt x="75" y="7"/>
                </a:lnTo>
                <a:lnTo>
                  <a:pt x="75" y="3"/>
                </a:lnTo>
                <a:lnTo>
                  <a:pt x="75" y="3"/>
                </a:lnTo>
                <a:lnTo>
                  <a:pt x="75" y="3"/>
                </a:lnTo>
                <a:lnTo>
                  <a:pt x="75" y="3"/>
                </a:lnTo>
                <a:lnTo>
                  <a:pt x="75" y="0"/>
                </a:lnTo>
                <a:lnTo>
                  <a:pt x="72" y="3"/>
                </a:lnTo>
                <a:lnTo>
                  <a:pt x="72" y="0"/>
                </a:lnTo>
                <a:lnTo>
                  <a:pt x="72" y="7"/>
                </a:lnTo>
                <a:lnTo>
                  <a:pt x="68" y="10"/>
                </a:lnTo>
                <a:lnTo>
                  <a:pt x="68" y="7"/>
                </a:lnTo>
                <a:lnTo>
                  <a:pt x="68" y="10"/>
                </a:lnTo>
                <a:lnTo>
                  <a:pt x="68" y="10"/>
                </a:lnTo>
                <a:lnTo>
                  <a:pt x="72" y="13"/>
                </a:lnTo>
                <a:lnTo>
                  <a:pt x="72" y="19"/>
                </a:lnTo>
                <a:lnTo>
                  <a:pt x="72" y="19"/>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4" name="Freeform 102">
            <a:extLst>
              <a:ext uri="{FF2B5EF4-FFF2-40B4-BE49-F238E27FC236}">
                <a16:creationId xmlns:a16="http://schemas.microsoft.com/office/drawing/2014/main" id="{AE2672CD-7498-1E06-78DD-70D596BE1FC3}"/>
              </a:ext>
            </a:extLst>
          </p:cNvPr>
          <p:cNvSpPr>
            <a:spLocks noEditPoints="1"/>
          </p:cNvSpPr>
          <p:nvPr userDrawn="1"/>
        </p:nvSpPr>
        <p:spPr bwMode="auto">
          <a:xfrm>
            <a:off x="15807296" y="8146333"/>
            <a:ext cx="755601" cy="466726"/>
          </a:xfrm>
          <a:custGeom>
            <a:avLst/>
            <a:gdLst>
              <a:gd name="T0" fmla="*/ 7 w 238"/>
              <a:gd name="T1" fmla="*/ 56 h 147"/>
              <a:gd name="T2" fmla="*/ 10 w 238"/>
              <a:gd name="T3" fmla="*/ 56 h 147"/>
              <a:gd name="T4" fmla="*/ 13 w 238"/>
              <a:gd name="T5" fmla="*/ 43 h 147"/>
              <a:gd name="T6" fmla="*/ 19 w 238"/>
              <a:gd name="T7" fmla="*/ 34 h 147"/>
              <a:gd name="T8" fmla="*/ 38 w 238"/>
              <a:gd name="T9" fmla="*/ 37 h 147"/>
              <a:gd name="T10" fmla="*/ 72 w 238"/>
              <a:gd name="T11" fmla="*/ 53 h 147"/>
              <a:gd name="T12" fmla="*/ 110 w 238"/>
              <a:gd name="T13" fmla="*/ 21 h 147"/>
              <a:gd name="T14" fmla="*/ 182 w 238"/>
              <a:gd name="T15" fmla="*/ 9 h 147"/>
              <a:gd name="T16" fmla="*/ 197 w 238"/>
              <a:gd name="T17" fmla="*/ 40 h 147"/>
              <a:gd name="T18" fmla="*/ 204 w 238"/>
              <a:gd name="T19" fmla="*/ 56 h 147"/>
              <a:gd name="T20" fmla="*/ 191 w 238"/>
              <a:gd name="T21" fmla="*/ 65 h 147"/>
              <a:gd name="T22" fmla="*/ 191 w 238"/>
              <a:gd name="T23" fmla="*/ 71 h 147"/>
              <a:gd name="T24" fmla="*/ 191 w 238"/>
              <a:gd name="T25" fmla="*/ 75 h 147"/>
              <a:gd name="T26" fmla="*/ 179 w 238"/>
              <a:gd name="T27" fmla="*/ 81 h 147"/>
              <a:gd name="T28" fmla="*/ 160 w 238"/>
              <a:gd name="T29" fmla="*/ 87 h 147"/>
              <a:gd name="T30" fmla="*/ 135 w 238"/>
              <a:gd name="T31" fmla="*/ 97 h 147"/>
              <a:gd name="T32" fmla="*/ 132 w 238"/>
              <a:gd name="T33" fmla="*/ 97 h 147"/>
              <a:gd name="T34" fmla="*/ 119 w 238"/>
              <a:gd name="T35" fmla="*/ 109 h 147"/>
              <a:gd name="T36" fmla="*/ 116 w 238"/>
              <a:gd name="T37" fmla="*/ 109 h 147"/>
              <a:gd name="T38" fmla="*/ 113 w 238"/>
              <a:gd name="T39" fmla="*/ 109 h 147"/>
              <a:gd name="T40" fmla="*/ 107 w 238"/>
              <a:gd name="T41" fmla="*/ 109 h 147"/>
              <a:gd name="T42" fmla="*/ 100 w 238"/>
              <a:gd name="T43" fmla="*/ 115 h 147"/>
              <a:gd name="T44" fmla="*/ 88 w 238"/>
              <a:gd name="T45" fmla="*/ 118 h 147"/>
              <a:gd name="T46" fmla="*/ 75 w 238"/>
              <a:gd name="T47" fmla="*/ 122 h 147"/>
              <a:gd name="T48" fmla="*/ 69 w 238"/>
              <a:gd name="T49" fmla="*/ 122 h 147"/>
              <a:gd name="T50" fmla="*/ 66 w 238"/>
              <a:gd name="T51" fmla="*/ 118 h 147"/>
              <a:gd name="T52" fmla="*/ 57 w 238"/>
              <a:gd name="T53" fmla="*/ 122 h 147"/>
              <a:gd name="T54" fmla="*/ 54 w 238"/>
              <a:gd name="T55" fmla="*/ 128 h 147"/>
              <a:gd name="T56" fmla="*/ 47 w 238"/>
              <a:gd name="T57" fmla="*/ 134 h 147"/>
              <a:gd name="T58" fmla="*/ 41 w 238"/>
              <a:gd name="T59" fmla="*/ 134 h 147"/>
              <a:gd name="T60" fmla="*/ 32 w 238"/>
              <a:gd name="T61" fmla="*/ 137 h 147"/>
              <a:gd name="T62" fmla="*/ 25 w 238"/>
              <a:gd name="T63" fmla="*/ 137 h 147"/>
              <a:gd name="T64" fmla="*/ 22 w 238"/>
              <a:gd name="T65" fmla="*/ 134 h 147"/>
              <a:gd name="T66" fmla="*/ 16 w 238"/>
              <a:gd name="T67" fmla="*/ 125 h 147"/>
              <a:gd name="T68" fmla="*/ 16 w 238"/>
              <a:gd name="T69" fmla="*/ 118 h 147"/>
              <a:gd name="T70" fmla="*/ 10 w 238"/>
              <a:gd name="T71" fmla="*/ 109 h 147"/>
              <a:gd name="T72" fmla="*/ 4 w 238"/>
              <a:gd name="T73" fmla="*/ 84 h 147"/>
              <a:gd name="T74" fmla="*/ 0 w 238"/>
              <a:gd name="T75" fmla="*/ 81 h 147"/>
              <a:gd name="T76" fmla="*/ 4 w 238"/>
              <a:gd name="T77" fmla="*/ 78 h 147"/>
              <a:gd name="T78" fmla="*/ 4 w 238"/>
              <a:gd name="T79" fmla="*/ 78 h 147"/>
              <a:gd name="T80" fmla="*/ 4 w 238"/>
              <a:gd name="T81" fmla="*/ 59 h 147"/>
              <a:gd name="T82" fmla="*/ 4 w 238"/>
              <a:gd name="T83" fmla="*/ 56 h 147"/>
              <a:gd name="T84" fmla="*/ 194 w 238"/>
              <a:gd name="T85" fmla="*/ 147 h 147"/>
              <a:gd name="T86" fmla="*/ 194 w 238"/>
              <a:gd name="T87" fmla="*/ 147 h 147"/>
              <a:gd name="T88" fmla="*/ 191 w 238"/>
              <a:gd name="T89" fmla="*/ 147 h 147"/>
              <a:gd name="T90" fmla="*/ 216 w 238"/>
              <a:gd name="T91" fmla="*/ 140 h 147"/>
              <a:gd name="T92" fmla="*/ 219 w 238"/>
              <a:gd name="T93" fmla="*/ 134 h 147"/>
              <a:gd name="T94" fmla="*/ 222 w 238"/>
              <a:gd name="T95" fmla="*/ 137 h 147"/>
              <a:gd name="T96" fmla="*/ 229 w 238"/>
              <a:gd name="T97" fmla="*/ 137 h 147"/>
              <a:gd name="T98" fmla="*/ 235 w 238"/>
              <a:gd name="T99" fmla="*/ 137 h 147"/>
              <a:gd name="T100" fmla="*/ 238 w 238"/>
              <a:gd name="T101" fmla="*/ 140 h 147"/>
              <a:gd name="T102" fmla="*/ 235 w 238"/>
              <a:gd name="T103" fmla="*/ 140 h 147"/>
              <a:gd name="T104" fmla="*/ 225 w 238"/>
              <a:gd name="T105" fmla="*/ 143 h 147"/>
              <a:gd name="T106" fmla="*/ 216 w 238"/>
              <a:gd name="T107" fmla="*/ 14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8" h="147">
                <a:moveTo>
                  <a:pt x="4" y="56"/>
                </a:moveTo>
                <a:lnTo>
                  <a:pt x="7" y="56"/>
                </a:lnTo>
                <a:lnTo>
                  <a:pt x="10" y="59"/>
                </a:lnTo>
                <a:lnTo>
                  <a:pt x="10" y="56"/>
                </a:lnTo>
                <a:lnTo>
                  <a:pt x="16" y="50"/>
                </a:lnTo>
                <a:lnTo>
                  <a:pt x="13" y="43"/>
                </a:lnTo>
                <a:lnTo>
                  <a:pt x="16" y="34"/>
                </a:lnTo>
                <a:lnTo>
                  <a:pt x="19" y="34"/>
                </a:lnTo>
                <a:lnTo>
                  <a:pt x="25" y="37"/>
                </a:lnTo>
                <a:lnTo>
                  <a:pt x="38" y="37"/>
                </a:lnTo>
                <a:lnTo>
                  <a:pt x="57" y="43"/>
                </a:lnTo>
                <a:lnTo>
                  <a:pt x="72" y="53"/>
                </a:lnTo>
                <a:lnTo>
                  <a:pt x="72" y="71"/>
                </a:lnTo>
                <a:lnTo>
                  <a:pt x="110" y="21"/>
                </a:lnTo>
                <a:lnTo>
                  <a:pt x="185" y="0"/>
                </a:lnTo>
                <a:lnTo>
                  <a:pt x="182" y="9"/>
                </a:lnTo>
                <a:lnTo>
                  <a:pt x="200" y="34"/>
                </a:lnTo>
                <a:lnTo>
                  <a:pt x="197" y="40"/>
                </a:lnTo>
                <a:lnTo>
                  <a:pt x="210" y="56"/>
                </a:lnTo>
                <a:lnTo>
                  <a:pt x="204" y="56"/>
                </a:lnTo>
                <a:lnTo>
                  <a:pt x="197" y="59"/>
                </a:lnTo>
                <a:lnTo>
                  <a:pt x="191" y="65"/>
                </a:lnTo>
                <a:lnTo>
                  <a:pt x="191" y="71"/>
                </a:lnTo>
                <a:lnTo>
                  <a:pt x="191" y="71"/>
                </a:lnTo>
                <a:lnTo>
                  <a:pt x="191" y="75"/>
                </a:lnTo>
                <a:lnTo>
                  <a:pt x="191" y="75"/>
                </a:lnTo>
                <a:lnTo>
                  <a:pt x="182" y="78"/>
                </a:lnTo>
                <a:lnTo>
                  <a:pt x="179" y="81"/>
                </a:lnTo>
                <a:lnTo>
                  <a:pt x="172" y="84"/>
                </a:lnTo>
                <a:lnTo>
                  <a:pt x="160" y="87"/>
                </a:lnTo>
                <a:lnTo>
                  <a:pt x="157" y="90"/>
                </a:lnTo>
                <a:lnTo>
                  <a:pt x="135" y="97"/>
                </a:lnTo>
                <a:lnTo>
                  <a:pt x="135" y="97"/>
                </a:lnTo>
                <a:lnTo>
                  <a:pt x="132" y="97"/>
                </a:lnTo>
                <a:lnTo>
                  <a:pt x="125" y="103"/>
                </a:lnTo>
                <a:lnTo>
                  <a:pt x="119" y="109"/>
                </a:lnTo>
                <a:lnTo>
                  <a:pt x="119" y="109"/>
                </a:lnTo>
                <a:lnTo>
                  <a:pt x="116" y="109"/>
                </a:lnTo>
                <a:lnTo>
                  <a:pt x="116" y="109"/>
                </a:lnTo>
                <a:lnTo>
                  <a:pt x="113" y="109"/>
                </a:lnTo>
                <a:lnTo>
                  <a:pt x="110" y="109"/>
                </a:lnTo>
                <a:lnTo>
                  <a:pt x="107" y="109"/>
                </a:lnTo>
                <a:lnTo>
                  <a:pt x="100" y="112"/>
                </a:lnTo>
                <a:lnTo>
                  <a:pt x="100" y="115"/>
                </a:lnTo>
                <a:lnTo>
                  <a:pt x="97" y="118"/>
                </a:lnTo>
                <a:lnTo>
                  <a:pt x="88" y="118"/>
                </a:lnTo>
                <a:lnTo>
                  <a:pt x="79" y="122"/>
                </a:lnTo>
                <a:lnTo>
                  <a:pt x="75" y="122"/>
                </a:lnTo>
                <a:lnTo>
                  <a:pt x="75" y="118"/>
                </a:lnTo>
                <a:lnTo>
                  <a:pt x="69" y="122"/>
                </a:lnTo>
                <a:lnTo>
                  <a:pt x="69" y="118"/>
                </a:lnTo>
                <a:lnTo>
                  <a:pt x="66" y="118"/>
                </a:lnTo>
                <a:lnTo>
                  <a:pt x="63" y="118"/>
                </a:lnTo>
                <a:lnTo>
                  <a:pt x="57" y="122"/>
                </a:lnTo>
                <a:lnTo>
                  <a:pt x="57" y="128"/>
                </a:lnTo>
                <a:lnTo>
                  <a:pt x="54" y="128"/>
                </a:lnTo>
                <a:lnTo>
                  <a:pt x="50" y="134"/>
                </a:lnTo>
                <a:lnTo>
                  <a:pt x="47" y="134"/>
                </a:lnTo>
                <a:lnTo>
                  <a:pt x="44" y="134"/>
                </a:lnTo>
                <a:lnTo>
                  <a:pt x="41" y="134"/>
                </a:lnTo>
                <a:lnTo>
                  <a:pt x="35" y="137"/>
                </a:lnTo>
                <a:lnTo>
                  <a:pt x="32" y="137"/>
                </a:lnTo>
                <a:lnTo>
                  <a:pt x="29" y="134"/>
                </a:lnTo>
                <a:lnTo>
                  <a:pt x="25" y="137"/>
                </a:lnTo>
                <a:lnTo>
                  <a:pt x="22" y="137"/>
                </a:lnTo>
                <a:lnTo>
                  <a:pt x="22" y="134"/>
                </a:lnTo>
                <a:lnTo>
                  <a:pt x="19" y="128"/>
                </a:lnTo>
                <a:lnTo>
                  <a:pt x="16" y="125"/>
                </a:lnTo>
                <a:lnTo>
                  <a:pt x="13" y="118"/>
                </a:lnTo>
                <a:lnTo>
                  <a:pt x="16" y="118"/>
                </a:lnTo>
                <a:lnTo>
                  <a:pt x="16" y="112"/>
                </a:lnTo>
                <a:lnTo>
                  <a:pt x="10" y="109"/>
                </a:lnTo>
                <a:lnTo>
                  <a:pt x="7" y="90"/>
                </a:lnTo>
                <a:lnTo>
                  <a:pt x="4" y="84"/>
                </a:lnTo>
                <a:lnTo>
                  <a:pt x="4" y="81"/>
                </a:lnTo>
                <a:lnTo>
                  <a:pt x="0" y="81"/>
                </a:lnTo>
                <a:lnTo>
                  <a:pt x="0" y="78"/>
                </a:lnTo>
                <a:lnTo>
                  <a:pt x="4" y="78"/>
                </a:lnTo>
                <a:lnTo>
                  <a:pt x="4" y="78"/>
                </a:lnTo>
                <a:lnTo>
                  <a:pt x="4" y="78"/>
                </a:lnTo>
                <a:lnTo>
                  <a:pt x="7" y="71"/>
                </a:lnTo>
                <a:lnTo>
                  <a:pt x="4" y="59"/>
                </a:lnTo>
                <a:lnTo>
                  <a:pt x="4" y="56"/>
                </a:lnTo>
                <a:lnTo>
                  <a:pt x="4" y="56"/>
                </a:lnTo>
                <a:close/>
                <a:moveTo>
                  <a:pt x="191" y="147"/>
                </a:moveTo>
                <a:lnTo>
                  <a:pt x="194" y="147"/>
                </a:lnTo>
                <a:lnTo>
                  <a:pt x="200" y="147"/>
                </a:lnTo>
                <a:lnTo>
                  <a:pt x="194" y="147"/>
                </a:lnTo>
                <a:lnTo>
                  <a:pt x="191" y="147"/>
                </a:lnTo>
                <a:lnTo>
                  <a:pt x="191" y="147"/>
                </a:lnTo>
                <a:close/>
                <a:moveTo>
                  <a:pt x="216" y="140"/>
                </a:moveTo>
                <a:lnTo>
                  <a:pt x="216" y="140"/>
                </a:lnTo>
                <a:lnTo>
                  <a:pt x="216" y="137"/>
                </a:lnTo>
                <a:lnTo>
                  <a:pt x="219" y="134"/>
                </a:lnTo>
                <a:lnTo>
                  <a:pt x="222" y="134"/>
                </a:lnTo>
                <a:lnTo>
                  <a:pt x="222" y="137"/>
                </a:lnTo>
                <a:lnTo>
                  <a:pt x="225" y="137"/>
                </a:lnTo>
                <a:lnTo>
                  <a:pt x="229" y="137"/>
                </a:lnTo>
                <a:lnTo>
                  <a:pt x="232" y="137"/>
                </a:lnTo>
                <a:lnTo>
                  <a:pt x="235" y="137"/>
                </a:lnTo>
                <a:lnTo>
                  <a:pt x="238" y="137"/>
                </a:lnTo>
                <a:lnTo>
                  <a:pt x="238" y="140"/>
                </a:lnTo>
                <a:lnTo>
                  <a:pt x="238" y="140"/>
                </a:lnTo>
                <a:lnTo>
                  <a:pt x="235" y="140"/>
                </a:lnTo>
                <a:lnTo>
                  <a:pt x="229" y="143"/>
                </a:lnTo>
                <a:lnTo>
                  <a:pt x="225" y="143"/>
                </a:lnTo>
                <a:lnTo>
                  <a:pt x="219" y="143"/>
                </a:lnTo>
                <a:lnTo>
                  <a:pt x="216" y="143"/>
                </a:lnTo>
                <a:lnTo>
                  <a:pt x="216" y="14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5" name="Freeform 103">
            <a:extLst>
              <a:ext uri="{FF2B5EF4-FFF2-40B4-BE49-F238E27FC236}">
                <a16:creationId xmlns:a16="http://schemas.microsoft.com/office/drawing/2014/main" id="{DFBB5B58-F92C-7E82-6714-7E6C209E4B74}"/>
              </a:ext>
            </a:extLst>
          </p:cNvPr>
          <p:cNvSpPr>
            <a:spLocks/>
          </p:cNvSpPr>
          <p:nvPr userDrawn="1"/>
        </p:nvSpPr>
        <p:spPr bwMode="auto">
          <a:xfrm>
            <a:off x="14658021" y="7320837"/>
            <a:ext cx="784175" cy="654050"/>
          </a:xfrm>
          <a:custGeom>
            <a:avLst/>
            <a:gdLst>
              <a:gd name="T0" fmla="*/ 197 w 247"/>
              <a:gd name="T1" fmla="*/ 37 h 206"/>
              <a:gd name="T2" fmla="*/ 184 w 247"/>
              <a:gd name="T3" fmla="*/ 12 h 206"/>
              <a:gd name="T4" fmla="*/ 175 w 247"/>
              <a:gd name="T5" fmla="*/ 9 h 206"/>
              <a:gd name="T6" fmla="*/ 150 w 247"/>
              <a:gd name="T7" fmla="*/ 12 h 206"/>
              <a:gd name="T8" fmla="*/ 144 w 247"/>
              <a:gd name="T9" fmla="*/ 16 h 206"/>
              <a:gd name="T10" fmla="*/ 137 w 247"/>
              <a:gd name="T11" fmla="*/ 9 h 206"/>
              <a:gd name="T12" fmla="*/ 134 w 247"/>
              <a:gd name="T13" fmla="*/ 3 h 206"/>
              <a:gd name="T14" fmla="*/ 122 w 247"/>
              <a:gd name="T15" fmla="*/ 3 h 206"/>
              <a:gd name="T16" fmla="*/ 125 w 247"/>
              <a:gd name="T17" fmla="*/ 6 h 206"/>
              <a:gd name="T18" fmla="*/ 112 w 247"/>
              <a:gd name="T19" fmla="*/ 6 h 206"/>
              <a:gd name="T20" fmla="*/ 115 w 247"/>
              <a:gd name="T21" fmla="*/ 3 h 206"/>
              <a:gd name="T22" fmla="*/ 109 w 247"/>
              <a:gd name="T23" fmla="*/ 3 h 206"/>
              <a:gd name="T24" fmla="*/ 100 w 247"/>
              <a:gd name="T25" fmla="*/ 9 h 206"/>
              <a:gd name="T26" fmla="*/ 87 w 247"/>
              <a:gd name="T27" fmla="*/ 16 h 206"/>
              <a:gd name="T28" fmla="*/ 72 w 247"/>
              <a:gd name="T29" fmla="*/ 12 h 206"/>
              <a:gd name="T30" fmla="*/ 56 w 247"/>
              <a:gd name="T31" fmla="*/ 9 h 206"/>
              <a:gd name="T32" fmla="*/ 40 w 247"/>
              <a:gd name="T33" fmla="*/ 6 h 206"/>
              <a:gd name="T34" fmla="*/ 9 w 247"/>
              <a:gd name="T35" fmla="*/ 3 h 206"/>
              <a:gd name="T36" fmla="*/ 6 w 247"/>
              <a:gd name="T37" fmla="*/ 6 h 206"/>
              <a:gd name="T38" fmla="*/ 6 w 247"/>
              <a:gd name="T39" fmla="*/ 25 h 206"/>
              <a:gd name="T40" fmla="*/ 3 w 247"/>
              <a:gd name="T41" fmla="*/ 41 h 206"/>
              <a:gd name="T42" fmla="*/ 247 w 247"/>
              <a:gd name="T43" fmla="*/ 206 h 206"/>
              <a:gd name="T44" fmla="*/ 241 w 247"/>
              <a:gd name="T45" fmla="*/ 200 h 206"/>
              <a:gd name="T46" fmla="*/ 231 w 247"/>
              <a:gd name="T47" fmla="*/ 191 h 206"/>
              <a:gd name="T48" fmla="*/ 219 w 247"/>
              <a:gd name="T49" fmla="*/ 188 h 206"/>
              <a:gd name="T50" fmla="*/ 215 w 247"/>
              <a:gd name="T51" fmla="*/ 169 h 206"/>
              <a:gd name="T52" fmla="*/ 219 w 247"/>
              <a:gd name="T53" fmla="*/ 166 h 206"/>
              <a:gd name="T54" fmla="*/ 219 w 247"/>
              <a:gd name="T55" fmla="*/ 166 h 206"/>
              <a:gd name="T56" fmla="*/ 215 w 247"/>
              <a:gd name="T57" fmla="*/ 159 h 206"/>
              <a:gd name="T58" fmla="*/ 203 w 247"/>
              <a:gd name="T59" fmla="*/ 141 h 206"/>
              <a:gd name="T60" fmla="*/ 187 w 247"/>
              <a:gd name="T61" fmla="*/ 116 h 206"/>
              <a:gd name="T62" fmla="*/ 184 w 247"/>
              <a:gd name="T63" fmla="*/ 100 h 206"/>
              <a:gd name="T64" fmla="*/ 175 w 247"/>
              <a:gd name="T65" fmla="*/ 87 h 206"/>
              <a:gd name="T66" fmla="*/ 172 w 247"/>
              <a:gd name="T67" fmla="*/ 78 h 206"/>
              <a:gd name="T68" fmla="*/ 153 w 247"/>
              <a:gd name="T69" fmla="*/ 56 h 206"/>
              <a:gd name="T70" fmla="*/ 150 w 247"/>
              <a:gd name="T71" fmla="*/ 44 h 206"/>
              <a:gd name="T72" fmla="*/ 150 w 247"/>
              <a:gd name="T73" fmla="*/ 41 h 206"/>
              <a:gd name="T74" fmla="*/ 156 w 247"/>
              <a:gd name="T75" fmla="*/ 50 h 206"/>
              <a:gd name="T76" fmla="*/ 165 w 247"/>
              <a:gd name="T77" fmla="*/ 62 h 206"/>
              <a:gd name="T78" fmla="*/ 172 w 247"/>
              <a:gd name="T79" fmla="*/ 72 h 206"/>
              <a:gd name="T80" fmla="*/ 187 w 247"/>
              <a:gd name="T81" fmla="*/ 84 h 206"/>
              <a:gd name="T82" fmla="*/ 194 w 247"/>
              <a:gd name="T83" fmla="*/ 75 h 206"/>
              <a:gd name="T84" fmla="*/ 194 w 247"/>
              <a:gd name="T85" fmla="*/ 6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7" h="206">
                <a:moveTo>
                  <a:pt x="197" y="50"/>
                </a:moveTo>
                <a:lnTo>
                  <a:pt x="194" y="44"/>
                </a:lnTo>
                <a:lnTo>
                  <a:pt x="197" y="37"/>
                </a:lnTo>
                <a:lnTo>
                  <a:pt x="194" y="28"/>
                </a:lnTo>
                <a:lnTo>
                  <a:pt x="187" y="19"/>
                </a:lnTo>
                <a:lnTo>
                  <a:pt x="184" y="12"/>
                </a:lnTo>
                <a:lnTo>
                  <a:pt x="181" y="6"/>
                </a:lnTo>
                <a:lnTo>
                  <a:pt x="178" y="6"/>
                </a:lnTo>
                <a:lnTo>
                  <a:pt x="175" y="9"/>
                </a:lnTo>
                <a:lnTo>
                  <a:pt x="172" y="12"/>
                </a:lnTo>
                <a:lnTo>
                  <a:pt x="159" y="9"/>
                </a:lnTo>
                <a:lnTo>
                  <a:pt x="150" y="12"/>
                </a:lnTo>
                <a:lnTo>
                  <a:pt x="140" y="6"/>
                </a:lnTo>
                <a:lnTo>
                  <a:pt x="140" y="9"/>
                </a:lnTo>
                <a:lnTo>
                  <a:pt x="144" y="16"/>
                </a:lnTo>
                <a:lnTo>
                  <a:pt x="144" y="16"/>
                </a:lnTo>
                <a:lnTo>
                  <a:pt x="140" y="12"/>
                </a:lnTo>
                <a:lnTo>
                  <a:pt x="137" y="9"/>
                </a:lnTo>
                <a:lnTo>
                  <a:pt x="134" y="6"/>
                </a:lnTo>
                <a:lnTo>
                  <a:pt x="137" y="6"/>
                </a:lnTo>
                <a:lnTo>
                  <a:pt x="134" y="3"/>
                </a:lnTo>
                <a:lnTo>
                  <a:pt x="131" y="6"/>
                </a:lnTo>
                <a:lnTo>
                  <a:pt x="128" y="3"/>
                </a:lnTo>
                <a:lnTo>
                  <a:pt x="122" y="3"/>
                </a:lnTo>
                <a:lnTo>
                  <a:pt x="122" y="3"/>
                </a:lnTo>
                <a:lnTo>
                  <a:pt x="125" y="3"/>
                </a:lnTo>
                <a:lnTo>
                  <a:pt x="125" y="6"/>
                </a:lnTo>
                <a:lnTo>
                  <a:pt x="122" y="6"/>
                </a:lnTo>
                <a:lnTo>
                  <a:pt x="115" y="6"/>
                </a:lnTo>
                <a:lnTo>
                  <a:pt x="112" y="6"/>
                </a:lnTo>
                <a:lnTo>
                  <a:pt x="112" y="6"/>
                </a:lnTo>
                <a:lnTo>
                  <a:pt x="112" y="3"/>
                </a:lnTo>
                <a:lnTo>
                  <a:pt x="115" y="3"/>
                </a:lnTo>
                <a:lnTo>
                  <a:pt x="119" y="3"/>
                </a:lnTo>
                <a:lnTo>
                  <a:pt x="115" y="3"/>
                </a:lnTo>
                <a:lnTo>
                  <a:pt x="109" y="3"/>
                </a:lnTo>
                <a:lnTo>
                  <a:pt x="106" y="6"/>
                </a:lnTo>
                <a:lnTo>
                  <a:pt x="100" y="9"/>
                </a:lnTo>
                <a:lnTo>
                  <a:pt x="100" y="9"/>
                </a:lnTo>
                <a:lnTo>
                  <a:pt x="94" y="12"/>
                </a:lnTo>
                <a:lnTo>
                  <a:pt x="90" y="16"/>
                </a:lnTo>
                <a:lnTo>
                  <a:pt x="87" y="16"/>
                </a:lnTo>
                <a:lnTo>
                  <a:pt x="81" y="16"/>
                </a:lnTo>
                <a:lnTo>
                  <a:pt x="75" y="12"/>
                </a:lnTo>
                <a:lnTo>
                  <a:pt x="72" y="12"/>
                </a:lnTo>
                <a:lnTo>
                  <a:pt x="62" y="12"/>
                </a:lnTo>
                <a:lnTo>
                  <a:pt x="59" y="9"/>
                </a:lnTo>
                <a:lnTo>
                  <a:pt x="56" y="9"/>
                </a:lnTo>
                <a:lnTo>
                  <a:pt x="53" y="9"/>
                </a:lnTo>
                <a:lnTo>
                  <a:pt x="47" y="6"/>
                </a:lnTo>
                <a:lnTo>
                  <a:pt x="40" y="6"/>
                </a:lnTo>
                <a:lnTo>
                  <a:pt x="25" y="3"/>
                </a:lnTo>
                <a:lnTo>
                  <a:pt x="19" y="0"/>
                </a:lnTo>
                <a:lnTo>
                  <a:pt x="9" y="3"/>
                </a:lnTo>
                <a:lnTo>
                  <a:pt x="6" y="3"/>
                </a:lnTo>
                <a:lnTo>
                  <a:pt x="6" y="3"/>
                </a:lnTo>
                <a:lnTo>
                  <a:pt x="6" y="6"/>
                </a:lnTo>
                <a:lnTo>
                  <a:pt x="3" y="12"/>
                </a:lnTo>
                <a:lnTo>
                  <a:pt x="6" y="19"/>
                </a:lnTo>
                <a:lnTo>
                  <a:pt x="6" y="25"/>
                </a:lnTo>
                <a:lnTo>
                  <a:pt x="3" y="31"/>
                </a:lnTo>
                <a:lnTo>
                  <a:pt x="0" y="37"/>
                </a:lnTo>
                <a:lnTo>
                  <a:pt x="3" y="41"/>
                </a:lnTo>
                <a:lnTo>
                  <a:pt x="6" y="53"/>
                </a:lnTo>
                <a:lnTo>
                  <a:pt x="12" y="206"/>
                </a:lnTo>
                <a:lnTo>
                  <a:pt x="247" y="206"/>
                </a:lnTo>
                <a:lnTo>
                  <a:pt x="247" y="206"/>
                </a:lnTo>
                <a:lnTo>
                  <a:pt x="244" y="203"/>
                </a:lnTo>
                <a:lnTo>
                  <a:pt x="241" y="200"/>
                </a:lnTo>
                <a:lnTo>
                  <a:pt x="237" y="197"/>
                </a:lnTo>
                <a:lnTo>
                  <a:pt x="234" y="197"/>
                </a:lnTo>
                <a:lnTo>
                  <a:pt x="231" y="191"/>
                </a:lnTo>
                <a:lnTo>
                  <a:pt x="228" y="191"/>
                </a:lnTo>
                <a:lnTo>
                  <a:pt x="225" y="191"/>
                </a:lnTo>
                <a:lnTo>
                  <a:pt x="219" y="188"/>
                </a:lnTo>
                <a:lnTo>
                  <a:pt x="215" y="178"/>
                </a:lnTo>
                <a:lnTo>
                  <a:pt x="215" y="175"/>
                </a:lnTo>
                <a:lnTo>
                  <a:pt x="215" y="169"/>
                </a:lnTo>
                <a:lnTo>
                  <a:pt x="215" y="166"/>
                </a:lnTo>
                <a:lnTo>
                  <a:pt x="215" y="166"/>
                </a:lnTo>
                <a:lnTo>
                  <a:pt x="219" y="166"/>
                </a:lnTo>
                <a:lnTo>
                  <a:pt x="222" y="166"/>
                </a:lnTo>
                <a:lnTo>
                  <a:pt x="222" y="166"/>
                </a:lnTo>
                <a:lnTo>
                  <a:pt x="219" y="166"/>
                </a:lnTo>
                <a:lnTo>
                  <a:pt x="215" y="159"/>
                </a:lnTo>
                <a:lnTo>
                  <a:pt x="215" y="159"/>
                </a:lnTo>
                <a:lnTo>
                  <a:pt x="215" y="159"/>
                </a:lnTo>
                <a:lnTo>
                  <a:pt x="212" y="156"/>
                </a:lnTo>
                <a:lnTo>
                  <a:pt x="209" y="153"/>
                </a:lnTo>
                <a:lnTo>
                  <a:pt x="203" y="141"/>
                </a:lnTo>
                <a:lnTo>
                  <a:pt x="200" y="138"/>
                </a:lnTo>
                <a:lnTo>
                  <a:pt x="197" y="131"/>
                </a:lnTo>
                <a:lnTo>
                  <a:pt x="187" y="116"/>
                </a:lnTo>
                <a:lnTo>
                  <a:pt x="187" y="109"/>
                </a:lnTo>
                <a:lnTo>
                  <a:pt x="184" y="106"/>
                </a:lnTo>
                <a:lnTo>
                  <a:pt x="184" y="100"/>
                </a:lnTo>
                <a:lnTo>
                  <a:pt x="181" y="97"/>
                </a:lnTo>
                <a:lnTo>
                  <a:pt x="181" y="94"/>
                </a:lnTo>
                <a:lnTo>
                  <a:pt x="175" y="87"/>
                </a:lnTo>
                <a:lnTo>
                  <a:pt x="175" y="84"/>
                </a:lnTo>
                <a:lnTo>
                  <a:pt x="175" y="81"/>
                </a:lnTo>
                <a:lnTo>
                  <a:pt x="172" y="78"/>
                </a:lnTo>
                <a:lnTo>
                  <a:pt x="162" y="69"/>
                </a:lnTo>
                <a:lnTo>
                  <a:pt x="162" y="66"/>
                </a:lnTo>
                <a:lnTo>
                  <a:pt x="153" y="56"/>
                </a:lnTo>
                <a:lnTo>
                  <a:pt x="153" y="53"/>
                </a:lnTo>
                <a:lnTo>
                  <a:pt x="150" y="47"/>
                </a:lnTo>
                <a:lnTo>
                  <a:pt x="150" y="44"/>
                </a:lnTo>
                <a:lnTo>
                  <a:pt x="150" y="41"/>
                </a:lnTo>
                <a:lnTo>
                  <a:pt x="150" y="41"/>
                </a:lnTo>
                <a:lnTo>
                  <a:pt x="150" y="41"/>
                </a:lnTo>
                <a:lnTo>
                  <a:pt x="153" y="41"/>
                </a:lnTo>
                <a:lnTo>
                  <a:pt x="153" y="47"/>
                </a:lnTo>
                <a:lnTo>
                  <a:pt x="156" y="50"/>
                </a:lnTo>
                <a:lnTo>
                  <a:pt x="156" y="50"/>
                </a:lnTo>
                <a:lnTo>
                  <a:pt x="165" y="59"/>
                </a:lnTo>
                <a:lnTo>
                  <a:pt x="165" y="62"/>
                </a:lnTo>
                <a:lnTo>
                  <a:pt x="165" y="66"/>
                </a:lnTo>
                <a:lnTo>
                  <a:pt x="172" y="69"/>
                </a:lnTo>
                <a:lnTo>
                  <a:pt x="172" y="72"/>
                </a:lnTo>
                <a:lnTo>
                  <a:pt x="181" y="81"/>
                </a:lnTo>
                <a:lnTo>
                  <a:pt x="187" y="84"/>
                </a:lnTo>
                <a:lnTo>
                  <a:pt x="187" y="84"/>
                </a:lnTo>
                <a:lnTo>
                  <a:pt x="187" y="84"/>
                </a:lnTo>
                <a:lnTo>
                  <a:pt x="190" y="81"/>
                </a:lnTo>
                <a:lnTo>
                  <a:pt x="194" y="75"/>
                </a:lnTo>
                <a:lnTo>
                  <a:pt x="190" y="72"/>
                </a:lnTo>
                <a:lnTo>
                  <a:pt x="194" y="66"/>
                </a:lnTo>
                <a:lnTo>
                  <a:pt x="194" y="62"/>
                </a:lnTo>
                <a:lnTo>
                  <a:pt x="197" y="50"/>
                </a:lnTo>
                <a:lnTo>
                  <a:pt x="197" y="5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6" name="Freeform 104">
            <a:extLst>
              <a:ext uri="{FF2B5EF4-FFF2-40B4-BE49-F238E27FC236}">
                <a16:creationId xmlns:a16="http://schemas.microsoft.com/office/drawing/2014/main" id="{D2717C56-0CA3-E711-DF12-62A7CBA3542F}"/>
              </a:ext>
            </a:extLst>
          </p:cNvPr>
          <p:cNvSpPr>
            <a:spLocks/>
          </p:cNvSpPr>
          <p:nvPr userDrawn="1"/>
        </p:nvSpPr>
        <p:spPr bwMode="auto">
          <a:xfrm>
            <a:off x="14518328" y="7974883"/>
            <a:ext cx="1031811" cy="1184278"/>
          </a:xfrm>
          <a:custGeom>
            <a:avLst/>
            <a:gdLst>
              <a:gd name="T0" fmla="*/ 291 w 325"/>
              <a:gd name="T1" fmla="*/ 3 h 373"/>
              <a:gd name="T2" fmla="*/ 294 w 325"/>
              <a:gd name="T3" fmla="*/ 13 h 373"/>
              <a:gd name="T4" fmla="*/ 294 w 325"/>
              <a:gd name="T5" fmla="*/ 16 h 373"/>
              <a:gd name="T6" fmla="*/ 300 w 325"/>
              <a:gd name="T7" fmla="*/ 50 h 373"/>
              <a:gd name="T8" fmla="*/ 316 w 325"/>
              <a:gd name="T9" fmla="*/ 75 h 373"/>
              <a:gd name="T10" fmla="*/ 325 w 325"/>
              <a:gd name="T11" fmla="*/ 85 h 373"/>
              <a:gd name="T12" fmla="*/ 310 w 325"/>
              <a:gd name="T13" fmla="*/ 91 h 373"/>
              <a:gd name="T14" fmla="*/ 300 w 325"/>
              <a:gd name="T15" fmla="*/ 97 h 373"/>
              <a:gd name="T16" fmla="*/ 300 w 325"/>
              <a:gd name="T17" fmla="*/ 113 h 373"/>
              <a:gd name="T18" fmla="*/ 291 w 325"/>
              <a:gd name="T19" fmla="*/ 138 h 373"/>
              <a:gd name="T20" fmla="*/ 291 w 325"/>
              <a:gd name="T21" fmla="*/ 157 h 373"/>
              <a:gd name="T22" fmla="*/ 281 w 325"/>
              <a:gd name="T23" fmla="*/ 188 h 373"/>
              <a:gd name="T24" fmla="*/ 269 w 325"/>
              <a:gd name="T25" fmla="*/ 201 h 373"/>
              <a:gd name="T26" fmla="*/ 253 w 325"/>
              <a:gd name="T27" fmla="*/ 226 h 373"/>
              <a:gd name="T28" fmla="*/ 250 w 325"/>
              <a:gd name="T29" fmla="*/ 244 h 373"/>
              <a:gd name="T30" fmla="*/ 244 w 325"/>
              <a:gd name="T31" fmla="*/ 273 h 373"/>
              <a:gd name="T32" fmla="*/ 228 w 325"/>
              <a:gd name="T33" fmla="*/ 273 h 373"/>
              <a:gd name="T34" fmla="*/ 228 w 325"/>
              <a:gd name="T35" fmla="*/ 288 h 373"/>
              <a:gd name="T36" fmla="*/ 244 w 325"/>
              <a:gd name="T37" fmla="*/ 298 h 373"/>
              <a:gd name="T38" fmla="*/ 256 w 325"/>
              <a:gd name="T39" fmla="*/ 307 h 373"/>
              <a:gd name="T40" fmla="*/ 266 w 325"/>
              <a:gd name="T41" fmla="*/ 329 h 373"/>
              <a:gd name="T42" fmla="*/ 250 w 325"/>
              <a:gd name="T43" fmla="*/ 351 h 373"/>
              <a:gd name="T44" fmla="*/ 241 w 325"/>
              <a:gd name="T45" fmla="*/ 360 h 373"/>
              <a:gd name="T46" fmla="*/ 219 w 325"/>
              <a:gd name="T47" fmla="*/ 366 h 373"/>
              <a:gd name="T48" fmla="*/ 209 w 325"/>
              <a:gd name="T49" fmla="*/ 373 h 373"/>
              <a:gd name="T50" fmla="*/ 194 w 325"/>
              <a:gd name="T51" fmla="*/ 369 h 373"/>
              <a:gd name="T52" fmla="*/ 184 w 325"/>
              <a:gd name="T53" fmla="*/ 373 h 373"/>
              <a:gd name="T54" fmla="*/ 175 w 325"/>
              <a:gd name="T55" fmla="*/ 369 h 373"/>
              <a:gd name="T56" fmla="*/ 166 w 325"/>
              <a:gd name="T57" fmla="*/ 357 h 373"/>
              <a:gd name="T58" fmla="*/ 153 w 325"/>
              <a:gd name="T59" fmla="*/ 348 h 373"/>
              <a:gd name="T60" fmla="*/ 144 w 325"/>
              <a:gd name="T61" fmla="*/ 354 h 373"/>
              <a:gd name="T62" fmla="*/ 131 w 325"/>
              <a:gd name="T63" fmla="*/ 357 h 373"/>
              <a:gd name="T64" fmla="*/ 116 w 325"/>
              <a:gd name="T65" fmla="*/ 348 h 373"/>
              <a:gd name="T66" fmla="*/ 109 w 325"/>
              <a:gd name="T67" fmla="*/ 338 h 373"/>
              <a:gd name="T68" fmla="*/ 97 w 325"/>
              <a:gd name="T69" fmla="*/ 323 h 373"/>
              <a:gd name="T70" fmla="*/ 88 w 325"/>
              <a:gd name="T71" fmla="*/ 313 h 373"/>
              <a:gd name="T72" fmla="*/ 75 w 325"/>
              <a:gd name="T73" fmla="*/ 301 h 373"/>
              <a:gd name="T74" fmla="*/ 69 w 325"/>
              <a:gd name="T75" fmla="*/ 294 h 373"/>
              <a:gd name="T76" fmla="*/ 63 w 325"/>
              <a:gd name="T77" fmla="*/ 285 h 373"/>
              <a:gd name="T78" fmla="*/ 47 w 325"/>
              <a:gd name="T79" fmla="*/ 276 h 373"/>
              <a:gd name="T80" fmla="*/ 41 w 325"/>
              <a:gd name="T81" fmla="*/ 269 h 373"/>
              <a:gd name="T82" fmla="*/ 34 w 325"/>
              <a:gd name="T83" fmla="*/ 254 h 373"/>
              <a:gd name="T84" fmla="*/ 25 w 325"/>
              <a:gd name="T85" fmla="*/ 232 h 373"/>
              <a:gd name="T86" fmla="*/ 19 w 325"/>
              <a:gd name="T87" fmla="*/ 219 h 373"/>
              <a:gd name="T88" fmla="*/ 13 w 325"/>
              <a:gd name="T89" fmla="*/ 207 h 373"/>
              <a:gd name="T90" fmla="*/ 9 w 325"/>
              <a:gd name="T91" fmla="*/ 191 h 373"/>
              <a:gd name="T92" fmla="*/ 0 w 325"/>
              <a:gd name="T93" fmla="*/ 185 h 373"/>
              <a:gd name="T94" fmla="*/ 6 w 325"/>
              <a:gd name="T95" fmla="*/ 166 h 373"/>
              <a:gd name="T96" fmla="*/ 13 w 325"/>
              <a:gd name="T97" fmla="*/ 151 h 373"/>
              <a:gd name="T98" fmla="*/ 22 w 325"/>
              <a:gd name="T99" fmla="*/ 132 h 373"/>
              <a:gd name="T100" fmla="*/ 41 w 325"/>
              <a:gd name="T101" fmla="*/ 125 h 373"/>
              <a:gd name="T102" fmla="*/ 56 w 325"/>
              <a:gd name="T103"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5" h="373">
                <a:moveTo>
                  <a:pt x="56" y="0"/>
                </a:moveTo>
                <a:lnTo>
                  <a:pt x="291" y="0"/>
                </a:lnTo>
                <a:lnTo>
                  <a:pt x="291" y="0"/>
                </a:lnTo>
                <a:lnTo>
                  <a:pt x="291" y="3"/>
                </a:lnTo>
                <a:lnTo>
                  <a:pt x="291" y="3"/>
                </a:lnTo>
                <a:lnTo>
                  <a:pt x="291" y="7"/>
                </a:lnTo>
                <a:lnTo>
                  <a:pt x="291" y="7"/>
                </a:lnTo>
                <a:lnTo>
                  <a:pt x="291" y="7"/>
                </a:lnTo>
                <a:lnTo>
                  <a:pt x="291" y="10"/>
                </a:lnTo>
                <a:lnTo>
                  <a:pt x="294" y="13"/>
                </a:lnTo>
                <a:lnTo>
                  <a:pt x="297" y="19"/>
                </a:lnTo>
                <a:lnTo>
                  <a:pt x="297" y="19"/>
                </a:lnTo>
                <a:lnTo>
                  <a:pt x="297" y="19"/>
                </a:lnTo>
                <a:lnTo>
                  <a:pt x="297" y="19"/>
                </a:lnTo>
                <a:lnTo>
                  <a:pt x="294" y="16"/>
                </a:lnTo>
                <a:lnTo>
                  <a:pt x="294" y="19"/>
                </a:lnTo>
                <a:lnTo>
                  <a:pt x="294" y="22"/>
                </a:lnTo>
                <a:lnTo>
                  <a:pt x="300" y="35"/>
                </a:lnTo>
                <a:lnTo>
                  <a:pt x="300" y="44"/>
                </a:lnTo>
                <a:lnTo>
                  <a:pt x="300" y="50"/>
                </a:lnTo>
                <a:lnTo>
                  <a:pt x="300" y="60"/>
                </a:lnTo>
                <a:lnTo>
                  <a:pt x="306" y="66"/>
                </a:lnTo>
                <a:lnTo>
                  <a:pt x="310" y="66"/>
                </a:lnTo>
                <a:lnTo>
                  <a:pt x="316" y="72"/>
                </a:lnTo>
                <a:lnTo>
                  <a:pt x="316" y="75"/>
                </a:lnTo>
                <a:lnTo>
                  <a:pt x="322" y="75"/>
                </a:lnTo>
                <a:lnTo>
                  <a:pt x="325" y="79"/>
                </a:lnTo>
                <a:lnTo>
                  <a:pt x="325" y="82"/>
                </a:lnTo>
                <a:lnTo>
                  <a:pt x="325" y="82"/>
                </a:lnTo>
                <a:lnTo>
                  <a:pt x="325" y="85"/>
                </a:lnTo>
                <a:lnTo>
                  <a:pt x="322" y="88"/>
                </a:lnTo>
                <a:lnTo>
                  <a:pt x="316" y="88"/>
                </a:lnTo>
                <a:lnTo>
                  <a:pt x="316" y="91"/>
                </a:lnTo>
                <a:lnTo>
                  <a:pt x="313" y="91"/>
                </a:lnTo>
                <a:lnTo>
                  <a:pt x="310" y="91"/>
                </a:lnTo>
                <a:lnTo>
                  <a:pt x="306" y="91"/>
                </a:lnTo>
                <a:lnTo>
                  <a:pt x="306" y="94"/>
                </a:lnTo>
                <a:lnTo>
                  <a:pt x="306" y="97"/>
                </a:lnTo>
                <a:lnTo>
                  <a:pt x="306" y="97"/>
                </a:lnTo>
                <a:lnTo>
                  <a:pt x="300" y="97"/>
                </a:lnTo>
                <a:lnTo>
                  <a:pt x="297" y="100"/>
                </a:lnTo>
                <a:lnTo>
                  <a:pt x="297" y="104"/>
                </a:lnTo>
                <a:lnTo>
                  <a:pt x="297" y="110"/>
                </a:lnTo>
                <a:lnTo>
                  <a:pt x="297" y="110"/>
                </a:lnTo>
                <a:lnTo>
                  <a:pt x="300" y="113"/>
                </a:lnTo>
                <a:lnTo>
                  <a:pt x="297" y="113"/>
                </a:lnTo>
                <a:lnTo>
                  <a:pt x="294" y="119"/>
                </a:lnTo>
                <a:lnTo>
                  <a:pt x="294" y="129"/>
                </a:lnTo>
                <a:lnTo>
                  <a:pt x="291" y="135"/>
                </a:lnTo>
                <a:lnTo>
                  <a:pt x="291" y="138"/>
                </a:lnTo>
                <a:lnTo>
                  <a:pt x="288" y="141"/>
                </a:lnTo>
                <a:lnTo>
                  <a:pt x="288" y="144"/>
                </a:lnTo>
                <a:lnTo>
                  <a:pt x="291" y="154"/>
                </a:lnTo>
                <a:lnTo>
                  <a:pt x="291" y="157"/>
                </a:lnTo>
                <a:lnTo>
                  <a:pt x="291" y="157"/>
                </a:lnTo>
                <a:lnTo>
                  <a:pt x="291" y="160"/>
                </a:lnTo>
                <a:lnTo>
                  <a:pt x="288" y="163"/>
                </a:lnTo>
                <a:lnTo>
                  <a:pt x="288" y="172"/>
                </a:lnTo>
                <a:lnTo>
                  <a:pt x="285" y="182"/>
                </a:lnTo>
                <a:lnTo>
                  <a:pt x="281" y="188"/>
                </a:lnTo>
                <a:lnTo>
                  <a:pt x="278" y="185"/>
                </a:lnTo>
                <a:lnTo>
                  <a:pt x="275" y="188"/>
                </a:lnTo>
                <a:lnTo>
                  <a:pt x="275" y="191"/>
                </a:lnTo>
                <a:lnTo>
                  <a:pt x="272" y="197"/>
                </a:lnTo>
                <a:lnTo>
                  <a:pt x="269" y="201"/>
                </a:lnTo>
                <a:lnTo>
                  <a:pt x="266" y="207"/>
                </a:lnTo>
                <a:lnTo>
                  <a:pt x="263" y="210"/>
                </a:lnTo>
                <a:lnTo>
                  <a:pt x="259" y="226"/>
                </a:lnTo>
                <a:lnTo>
                  <a:pt x="256" y="226"/>
                </a:lnTo>
                <a:lnTo>
                  <a:pt x="253" y="226"/>
                </a:lnTo>
                <a:lnTo>
                  <a:pt x="253" y="229"/>
                </a:lnTo>
                <a:lnTo>
                  <a:pt x="250" y="235"/>
                </a:lnTo>
                <a:lnTo>
                  <a:pt x="247" y="238"/>
                </a:lnTo>
                <a:lnTo>
                  <a:pt x="250" y="241"/>
                </a:lnTo>
                <a:lnTo>
                  <a:pt x="250" y="244"/>
                </a:lnTo>
                <a:lnTo>
                  <a:pt x="247" y="247"/>
                </a:lnTo>
                <a:lnTo>
                  <a:pt x="244" y="254"/>
                </a:lnTo>
                <a:lnTo>
                  <a:pt x="247" y="263"/>
                </a:lnTo>
                <a:lnTo>
                  <a:pt x="244" y="273"/>
                </a:lnTo>
                <a:lnTo>
                  <a:pt x="244" y="273"/>
                </a:lnTo>
                <a:lnTo>
                  <a:pt x="241" y="276"/>
                </a:lnTo>
                <a:lnTo>
                  <a:pt x="238" y="276"/>
                </a:lnTo>
                <a:lnTo>
                  <a:pt x="238" y="273"/>
                </a:lnTo>
                <a:lnTo>
                  <a:pt x="234" y="276"/>
                </a:lnTo>
                <a:lnTo>
                  <a:pt x="228" y="273"/>
                </a:lnTo>
                <a:lnTo>
                  <a:pt x="228" y="279"/>
                </a:lnTo>
                <a:lnTo>
                  <a:pt x="225" y="279"/>
                </a:lnTo>
                <a:lnTo>
                  <a:pt x="222" y="282"/>
                </a:lnTo>
                <a:lnTo>
                  <a:pt x="225" y="285"/>
                </a:lnTo>
                <a:lnTo>
                  <a:pt x="228" y="288"/>
                </a:lnTo>
                <a:lnTo>
                  <a:pt x="238" y="288"/>
                </a:lnTo>
                <a:lnTo>
                  <a:pt x="238" y="288"/>
                </a:lnTo>
                <a:lnTo>
                  <a:pt x="241" y="294"/>
                </a:lnTo>
                <a:lnTo>
                  <a:pt x="244" y="294"/>
                </a:lnTo>
                <a:lnTo>
                  <a:pt x="244" y="298"/>
                </a:lnTo>
                <a:lnTo>
                  <a:pt x="247" y="304"/>
                </a:lnTo>
                <a:lnTo>
                  <a:pt x="250" y="304"/>
                </a:lnTo>
                <a:lnTo>
                  <a:pt x="250" y="307"/>
                </a:lnTo>
                <a:lnTo>
                  <a:pt x="253" y="307"/>
                </a:lnTo>
                <a:lnTo>
                  <a:pt x="256" y="307"/>
                </a:lnTo>
                <a:lnTo>
                  <a:pt x="259" y="310"/>
                </a:lnTo>
                <a:lnTo>
                  <a:pt x="259" y="313"/>
                </a:lnTo>
                <a:lnTo>
                  <a:pt x="263" y="316"/>
                </a:lnTo>
                <a:lnTo>
                  <a:pt x="266" y="326"/>
                </a:lnTo>
                <a:lnTo>
                  <a:pt x="266" y="329"/>
                </a:lnTo>
                <a:lnTo>
                  <a:pt x="269" y="335"/>
                </a:lnTo>
                <a:lnTo>
                  <a:pt x="263" y="341"/>
                </a:lnTo>
                <a:lnTo>
                  <a:pt x="256" y="348"/>
                </a:lnTo>
                <a:lnTo>
                  <a:pt x="253" y="348"/>
                </a:lnTo>
                <a:lnTo>
                  <a:pt x="250" y="351"/>
                </a:lnTo>
                <a:lnTo>
                  <a:pt x="250" y="354"/>
                </a:lnTo>
                <a:lnTo>
                  <a:pt x="247" y="354"/>
                </a:lnTo>
                <a:lnTo>
                  <a:pt x="244" y="357"/>
                </a:lnTo>
                <a:lnTo>
                  <a:pt x="244" y="357"/>
                </a:lnTo>
                <a:lnTo>
                  <a:pt x="241" y="360"/>
                </a:lnTo>
                <a:lnTo>
                  <a:pt x="238" y="363"/>
                </a:lnTo>
                <a:lnTo>
                  <a:pt x="234" y="366"/>
                </a:lnTo>
                <a:lnTo>
                  <a:pt x="228" y="366"/>
                </a:lnTo>
                <a:lnTo>
                  <a:pt x="222" y="366"/>
                </a:lnTo>
                <a:lnTo>
                  <a:pt x="219" y="366"/>
                </a:lnTo>
                <a:lnTo>
                  <a:pt x="216" y="366"/>
                </a:lnTo>
                <a:lnTo>
                  <a:pt x="213" y="369"/>
                </a:lnTo>
                <a:lnTo>
                  <a:pt x="209" y="366"/>
                </a:lnTo>
                <a:lnTo>
                  <a:pt x="209" y="369"/>
                </a:lnTo>
                <a:lnTo>
                  <a:pt x="209" y="373"/>
                </a:lnTo>
                <a:lnTo>
                  <a:pt x="206" y="373"/>
                </a:lnTo>
                <a:lnTo>
                  <a:pt x="200" y="373"/>
                </a:lnTo>
                <a:lnTo>
                  <a:pt x="200" y="369"/>
                </a:lnTo>
                <a:lnTo>
                  <a:pt x="197" y="366"/>
                </a:lnTo>
                <a:lnTo>
                  <a:pt x="194" y="369"/>
                </a:lnTo>
                <a:lnTo>
                  <a:pt x="191" y="366"/>
                </a:lnTo>
                <a:lnTo>
                  <a:pt x="184" y="366"/>
                </a:lnTo>
                <a:lnTo>
                  <a:pt x="184" y="366"/>
                </a:lnTo>
                <a:lnTo>
                  <a:pt x="184" y="369"/>
                </a:lnTo>
                <a:lnTo>
                  <a:pt x="184" y="373"/>
                </a:lnTo>
                <a:lnTo>
                  <a:pt x="184" y="373"/>
                </a:lnTo>
                <a:lnTo>
                  <a:pt x="181" y="373"/>
                </a:lnTo>
                <a:lnTo>
                  <a:pt x="178" y="373"/>
                </a:lnTo>
                <a:lnTo>
                  <a:pt x="175" y="373"/>
                </a:lnTo>
                <a:lnTo>
                  <a:pt x="175" y="369"/>
                </a:lnTo>
                <a:lnTo>
                  <a:pt x="175" y="366"/>
                </a:lnTo>
                <a:lnTo>
                  <a:pt x="175" y="366"/>
                </a:lnTo>
                <a:lnTo>
                  <a:pt x="172" y="363"/>
                </a:lnTo>
                <a:lnTo>
                  <a:pt x="169" y="360"/>
                </a:lnTo>
                <a:lnTo>
                  <a:pt x="166" y="357"/>
                </a:lnTo>
                <a:lnTo>
                  <a:pt x="163" y="357"/>
                </a:lnTo>
                <a:lnTo>
                  <a:pt x="163" y="354"/>
                </a:lnTo>
                <a:lnTo>
                  <a:pt x="159" y="348"/>
                </a:lnTo>
                <a:lnTo>
                  <a:pt x="156" y="348"/>
                </a:lnTo>
                <a:lnTo>
                  <a:pt x="153" y="348"/>
                </a:lnTo>
                <a:lnTo>
                  <a:pt x="150" y="351"/>
                </a:lnTo>
                <a:lnTo>
                  <a:pt x="150" y="354"/>
                </a:lnTo>
                <a:lnTo>
                  <a:pt x="147" y="354"/>
                </a:lnTo>
                <a:lnTo>
                  <a:pt x="144" y="354"/>
                </a:lnTo>
                <a:lnTo>
                  <a:pt x="144" y="354"/>
                </a:lnTo>
                <a:lnTo>
                  <a:pt x="141" y="354"/>
                </a:lnTo>
                <a:lnTo>
                  <a:pt x="138" y="354"/>
                </a:lnTo>
                <a:lnTo>
                  <a:pt x="134" y="354"/>
                </a:lnTo>
                <a:lnTo>
                  <a:pt x="131" y="357"/>
                </a:lnTo>
                <a:lnTo>
                  <a:pt x="131" y="357"/>
                </a:lnTo>
                <a:lnTo>
                  <a:pt x="125" y="354"/>
                </a:lnTo>
                <a:lnTo>
                  <a:pt x="122" y="351"/>
                </a:lnTo>
                <a:lnTo>
                  <a:pt x="119" y="351"/>
                </a:lnTo>
                <a:lnTo>
                  <a:pt x="119" y="348"/>
                </a:lnTo>
                <a:lnTo>
                  <a:pt x="116" y="348"/>
                </a:lnTo>
                <a:lnTo>
                  <a:pt x="116" y="344"/>
                </a:lnTo>
                <a:lnTo>
                  <a:pt x="116" y="344"/>
                </a:lnTo>
                <a:lnTo>
                  <a:pt x="116" y="341"/>
                </a:lnTo>
                <a:lnTo>
                  <a:pt x="113" y="341"/>
                </a:lnTo>
                <a:lnTo>
                  <a:pt x="109" y="338"/>
                </a:lnTo>
                <a:lnTo>
                  <a:pt x="106" y="335"/>
                </a:lnTo>
                <a:lnTo>
                  <a:pt x="106" y="329"/>
                </a:lnTo>
                <a:lnTo>
                  <a:pt x="106" y="329"/>
                </a:lnTo>
                <a:lnTo>
                  <a:pt x="103" y="326"/>
                </a:lnTo>
                <a:lnTo>
                  <a:pt x="97" y="323"/>
                </a:lnTo>
                <a:lnTo>
                  <a:pt x="97" y="323"/>
                </a:lnTo>
                <a:lnTo>
                  <a:pt x="97" y="319"/>
                </a:lnTo>
                <a:lnTo>
                  <a:pt x="94" y="316"/>
                </a:lnTo>
                <a:lnTo>
                  <a:pt x="91" y="316"/>
                </a:lnTo>
                <a:lnTo>
                  <a:pt x="88" y="313"/>
                </a:lnTo>
                <a:lnTo>
                  <a:pt x="88" y="307"/>
                </a:lnTo>
                <a:lnTo>
                  <a:pt x="88" y="307"/>
                </a:lnTo>
                <a:lnTo>
                  <a:pt x="81" y="301"/>
                </a:lnTo>
                <a:lnTo>
                  <a:pt x="78" y="301"/>
                </a:lnTo>
                <a:lnTo>
                  <a:pt x="75" y="301"/>
                </a:lnTo>
                <a:lnTo>
                  <a:pt x="75" y="301"/>
                </a:lnTo>
                <a:lnTo>
                  <a:pt x="72" y="301"/>
                </a:lnTo>
                <a:lnTo>
                  <a:pt x="66" y="298"/>
                </a:lnTo>
                <a:lnTo>
                  <a:pt x="69" y="294"/>
                </a:lnTo>
                <a:lnTo>
                  <a:pt x="69" y="294"/>
                </a:lnTo>
                <a:lnTo>
                  <a:pt x="72" y="291"/>
                </a:lnTo>
                <a:lnTo>
                  <a:pt x="72" y="288"/>
                </a:lnTo>
                <a:lnTo>
                  <a:pt x="72" y="285"/>
                </a:lnTo>
                <a:lnTo>
                  <a:pt x="69" y="285"/>
                </a:lnTo>
                <a:lnTo>
                  <a:pt x="63" y="285"/>
                </a:lnTo>
                <a:lnTo>
                  <a:pt x="63" y="282"/>
                </a:lnTo>
                <a:lnTo>
                  <a:pt x="59" y="279"/>
                </a:lnTo>
                <a:lnTo>
                  <a:pt x="56" y="279"/>
                </a:lnTo>
                <a:lnTo>
                  <a:pt x="53" y="279"/>
                </a:lnTo>
                <a:lnTo>
                  <a:pt x="47" y="276"/>
                </a:lnTo>
                <a:lnTo>
                  <a:pt x="47" y="273"/>
                </a:lnTo>
                <a:lnTo>
                  <a:pt x="50" y="269"/>
                </a:lnTo>
                <a:lnTo>
                  <a:pt x="47" y="266"/>
                </a:lnTo>
                <a:lnTo>
                  <a:pt x="41" y="266"/>
                </a:lnTo>
                <a:lnTo>
                  <a:pt x="41" y="269"/>
                </a:lnTo>
                <a:lnTo>
                  <a:pt x="34" y="269"/>
                </a:lnTo>
                <a:lnTo>
                  <a:pt x="31" y="266"/>
                </a:lnTo>
                <a:lnTo>
                  <a:pt x="31" y="260"/>
                </a:lnTo>
                <a:lnTo>
                  <a:pt x="34" y="257"/>
                </a:lnTo>
                <a:lnTo>
                  <a:pt x="34" y="254"/>
                </a:lnTo>
                <a:lnTo>
                  <a:pt x="34" y="251"/>
                </a:lnTo>
                <a:lnTo>
                  <a:pt x="34" y="247"/>
                </a:lnTo>
                <a:lnTo>
                  <a:pt x="31" y="241"/>
                </a:lnTo>
                <a:lnTo>
                  <a:pt x="25" y="232"/>
                </a:lnTo>
                <a:lnTo>
                  <a:pt x="25" y="232"/>
                </a:lnTo>
                <a:lnTo>
                  <a:pt x="22" y="229"/>
                </a:lnTo>
                <a:lnTo>
                  <a:pt x="22" y="226"/>
                </a:lnTo>
                <a:lnTo>
                  <a:pt x="22" y="222"/>
                </a:lnTo>
                <a:lnTo>
                  <a:pt x="19" y="222"/>
                </a:lnTo>
                <a:lnTo>
                  <a:pt x="19" y="219"/>
                </a:lnTo>
                <a:lnTo>
                  <a:pt x="19" y="216"/>
                </a:lnTo>
                <a:lnTo>
                  <a:pt x="22" y="216"/>
                </a:lnTo>
                <a:lnTo>
                  <a:pt x="19" y="213"/>
                </a:lnTo>
                <a:lnTo>
                  <a:pt x="13" y="210"/>
                </a:lnTo>
                <a:lnTo>
                  <a:pt x="13" y="207"/>
                </a:lnTo>
                <a:lnTo>
                  <a:pt x="13" y="201"/>
                </a:lnTo>
                <a:lnTo>
                  <a:pt x="9" y="197"/>
                </a:lnTo>
                <a:lnTo>
                  <a:pt x="13" y="194"/>
                </a:lnTo>
                <a:lnTo>
                  <a:pt x="9" y="194"/>
                </a:lnTo>
                <a:lnTo>
                  <a:pt x="9" y="191"/>
                </a:lnTo>
                <a:lnTo>
                  <a:pt x="9" y="188"/>
                </a:lnTo>
                <a:lnTo>
                  <a:pt x="9" y="188"/>
                </a:lnTo>
                <a:lnTo>
                  <a:pt x="3" y="191"/>
                </a:lnTo>
                <a:lnTo>
                  <a:pt x="0" y="188"/>
                </a:lnTo>
                <a:lnTo>
                  <a:pt x="0" y="185"/>
                </a:lnTo>
                <a:lnTo>
                  <a:pt x="6" y="179"/>
                </a:lnTo>
                <a:lnTo>
                  <a:pt x="9" y="176"/>
                </a:lnTo>
                <a:lnTo>
                  <a:pt x="9" y="172"/>
                </a:lnTo>
                <a:lnTo>
                  <a:pt x="6" y="169"/>
                </a:lnTo>
                <a:lnTo>
                  <a:pt x="6" y="166"/>
                </a:lnTo>
                <a:lnTo>
                  <a:pt x="9" y="163"/>
                </a:lnTo>
                <a:lnTo>
                  <a:pt x="13" y="160"/>
                </a:lnTo>
                <a:lnTo>
                  <a:pt x="9" y="157"/>
                </a:lnTo>
                <a:lnTo>
                  <a:pt x="9" y="154"/>
                </a:lnTo>
                <a:lnTo>
                  <a:pt x="13" y="151"/>
                </a:lnTo>
                <a:lnTo>
                  <a:pt x="16" y="151"/>
                </a:lnTo>
                <a:lnTo>
                  <a:pt x="22" y="144"/>
                </a:lnTo>
                <a:lnTo>
                  <a:pt x="25" y="138"/>
                </a:lnTo>
                <a:lnTo>
                  <a:pt x="22" y="135"/>
                </a:lnTo>
                <a:lnTo>
                  <a:pt x="22" y="132"/>
                </a:lnTo>
                <a:lnTo>
                  <a:pt x="25" y="129"/>
                </a:lnTo>
                <a:lnTo>
                  <a:pt x="31" y="129"/>
                </a:lnTo>
                <a:lnTo>
                  <a:pt x="34" y="129"/>
                </a:lnTo>
                <a:lnTo>
                  <a:pt x="38" y="129"/>
                </a:lnTo>
                <a:lnTo>
                  <a:pt x="41" y="125"/>
                </a:lnTo>
                <a:lnTo>
                  <a:pt x="41" y="50"/>
                </a:lnTo>
                <a:lnTo>
                  <a:pt x="41" y="50"/>
                </a:lnTo>
                <a:lnTo>
                  <a:pt x="41" y="41"/>
                </a:lnTo>
                <a:lnTo>
                  <a:pt x="59" y="41"/>
                </a:lnTo>
                <a:lnTo>
                  <a:pt x="56"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7" name="Freeform 105">
            <a:extLst>
              <a:ext uri="{FF2B5EF4-FFF2-40B4-BE49-F238E27FC236}">
                <a16:creationId xmlns:a16="http://schemas.microsoft.com/office/drawing/2014/main" id="{78091744-904B-AC32-4490-3FC354D2570E}"/>
              </a:ext>
            </a:extLst>
          </p:cNvPr>
          <p:cNvSpPr>
            <a:spLocks/>
          </p:cNvSpPr>
          <p:nvPr userDrawn="1"/>
        </p:nvSpPr>
        <p:spPr bwMode="auto">
          <a:xfrm>
            <a:off x="15223130" y="8432083"/>
            <a:ext cx="952440" cy="727078"/>
          </a:xfrm>
          <a:custGeom>
            <a:avLst/>
            <a:gdLst>
              <a:gd name="T0" fmla="*/ 44 w 300"/>
              <a:gd name="T1" fmla="*/ 182 h 229"/>
              <a:gd name="T2" fmla="*/ 37 w 300"/>
              <a:gd name="T3" fmla="*/ 166 h 229"/>
              <a:gd name="T4" fmla="*/ 28 w 300"/>
              <a:gd name="T5" fmla="*/ 163 h 229"/>
              <a:gd name="T6" fmla="*/ 22 w 300"/>
              <a:gd name="T7" fmla="*/ 154 h 229"/>
              <a:gd name="T8" fmla="*/ 16 w 300"/>
              <a:gd name="T9" fmla="*/ 144 h 229"/>
              <a:gd name="T10" fmla="*/ 3 w 300"/>
              <a:gd name="T11" fmla="*/ 141 h 229"/>
              <a:gd name="T12" fmla="*/ 6 w 300"/>
              <a:gd name="T13" fmla="*/ 135 h 229"/>
              <a:gd name="T14" fmla="*/ 16 w 300"/>
              <a:gd name="T15" fmla="*/ 129 h 229"/>
              <a:gd name="T16" fmla="*/ 22 w 300"/>
              <a:gd name="T17" fmla="*/ 129 h 229"/>
              <a:gd name="T18" fmla="*/ 22 w 300"/>
              <a:gd name="T19" fmla="*/ 110 h 229"/>
              <a:gd name="T20" fmla="*/ 28 w 300"/>
              <a:gd name="T21" fmla="*/ 97 h 229"/>
              <a:gd name="T22" fmla="*/ 31 w 300"/>
              <a:gd name="T23" fmla="*/ 85 h 229"/>
              <a:gd name="T24" fmla="*/ 37 w 300"/>
              <a:gd name="T25" fmla="*/ 82 h 229"/>
              <a:gd name="T26" fmla="*/ 47 w 300"/>
              <a:gd name="T27" fmla="*/ 57 h 229"/>
              <a:gd name="T28" fmla="*/ 53 w 300"/>
              <a:gd name="T29" fmla="*/ 44 h 229"/>
              <a:gd name="T30" fmla="*/ 63 w 300"/>
              <a:gd name="T31" fmla="*/ 38 h 229"/>
              <a:gd name="T32" fmla="*/ 69 w 300"/>
              <a:gd name="T33" fmla="*/ 16 h 229"/>
              <a:gd name="T34" fmla="*/ 78 w 300"/>
              <a:gd name="T35" fmla="*/ 13 h 229"/>
              <a:gd name="T36" fmla="*/ 88 w 300"/>
              <a:gd name="T37" fmla="*/ 0 h 229"/>
              <a:gd name="T38" fmla="*/ 97 w 300"/>
              <a:gd name="T39" fmla="*/ 7 h 229"/>
              <a:gd name="T40" fmla="*/ 109 w 300"/>
              <a:gd name="T41" fmla="*/ 3 h 229"/>
              <a:gd name="T42" fmla="*/ 116 w 300"/>
              <a:gd name="T43" fmla="*/ 3 h 229"/>
              <a:gd name="T44" fmla="*/ 125 w 300"/>
              <a:gd name="T45" fmla="*/ 7 h 229"/>
              <a:gd name="T46" fmla="*/ 138 w 300"/>
              <a:gd name="T47" fmla="*/ 13 h 229"/>
              <a:gd name="T48" fmla="*/ 150 w 300"/>
              <a:gd name="T49" fmla="*/ 22 h 229"/>
              <a:gd name="T50" fmla="*/ 156 w 300"/>
              <a:gd name="T51" fmla="*/ 25 h 229"/>
              <a:gd name="T52" fmla="*/ 172 w 300"/>
              <a:gd name="T53" fmla="*/ 35 h 229"/>
              <a:gd name="T54" fmla="*/ 175 w 300"/>
              <a:gd name="T55" fmla="*/ 47 h 229"/>
              <a:gd name="T56" fmla="*/ 181 w 300"/>
              <a:gd name="T57" fmla="*/ 53 h 229"/>
              <a:gd name="T58" fmla="*/ 178 w 300"/>
              <a:gd name="T59" fmla="*/ 69 h 229"/>
              <a:gd name="T60" fmla="*/ 172 w 300"/>
              <a:gd name="T61" fmla="*/ 78 h 229"/>
              <a:gd name="T62" fmla="*/ 188 w 300"/>
              <a:gd name="T63" fmla="*/ 78 h 229"/>
              <a:gd name="T64" fmla="*/ 194 w 300"/>
              <a:gd name="T65" fmla="*/ 82 h 229"/>
              <a:gd name="T66" fmla="*/ 203 w 300"/>
              <a:gd name="T67" fmla="*/ 103 h 229"/>
              <a:gd name="T68" fmla="*/ 213 w 300"/>
              <a:gd name="T69" fmla="*/ 116 h 229"/>
              <a:gd name="T70" fmla="*/ 300 w 300"/>
              <a:gd name="T71" fmla="*/ 138 h 229"/>
              <a:gd name="T72" fmla="*/ 216 w 300"/>
              <a:gd name="T73" fmla="*/ 197 h 229"/>
              <a:gd name="T74" fmla="*/ 203 w 300"/>
              <a:gd name="T75" fmla="*/ 204 h 229"/>
              <a:gd name="T76" fmla="*/ 194 w 300"/>
              <a:gd name="T77" fmla="*/ 213 h 229"/>
              <a:gd name="T78" fmla="*/ 178 w 300"/>
              <a:gd name="T79" fmla="*/ 219 h 229"/>
              <a:gd name="T80" fmla="*/ 166 w 300"/>
              <a:gd name="T81" fmla="*/ 219 h 229"/>
              <a:gd name="T82" fmla="*/ 156 w 300"/>
              <a:gd name="T83" fmla="*/ 213 h 229"/>
              <a:gd name="T84" fmla="*/ 144 w 300"/>
              <a:gd name="T85" fmla="*/ 216 h 229"/>
              <a:gd name="T86" fmla="*/ 131 w 300"/>
              <a:gd name="T87" fmla="*/ 229 h 229"/>
              <a:gd name="T88" fmla="*/ 122 w 300"/>
              <a:gd name="T89" fmla="*/ 225 h 229"/>
              <a:gd name="T90" fmla="*/ 106 w 300"/>
              <a:gd name="T91" fmla="*/ 225 h 229"/>
              <a:gd name="T92" fmla="*/ 94 w 300"/>
              <a:gd name="T93" fmla="*/ 216 h 229"/>
              <a:gd name="T94" fmla="*/ 72 w 300"/>
              <a:gd name="T95" fmla="*/ 207 h 229"/>
              <a:gd name="T96" fmla="*/ 59 w 300"/>
              <a:gd name="T97" fmla="*/ 207 h 229"/>
              <a:gd name="T98" fmla="*/ 53 w 300"/>
              <a:gd name="T99" fmla="*/ 191 h 229"/>
              <a:gd name="T100" fmla="*/ 47 w 300"/>
              <a:gd name="T101" fmla="*/ 19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229">
                <a:moveTo>
                  <a:pt x="47" y="191"/>
                </a:moveTo>
                <a:lnTo>
                  <a:pt x="44" y="185"/>
                </a:lnTo>
                <a:lnTo>
                  <a:pt x="44" y="182"/>
                </a:lnTo>
                <a:lnTo>
                  <a:pt x="41" y="172"/>
                </a:lnTo>
                <a:lnTo>
                  <a:pt x="37" y="169"/>
                </a:lnTo>
                <a:lnTo>
                  <a:pt x="37" y="166"/>
                </a:lnTo>
                <a:lnTo>
                  <a:pt x="34" y="163"/>
                </a:lnTo>
                <a:lnTo>
                  <a:pt x="31" y="163"/>
                </a:lnTo>
                <a:lnTo>
                  <a:pt x="28" y="163"/>
                </a:lnTo>
                <a:lnTo>
                  <a:pt x="28" y="160"/>
                </a:lnTo>
                <a:lnTo>
                  <a:pt x="25" y="160"/>
                </a:lnTo>
                <a:lnTo>
                  <a:pt x="22" y="154"/>
                </a:lnTo>
                <a:lnTo>
                  <a:pt x="22" y="150"/>
                </a:lnTo>
                <a:lnTo>
                  <a:pt x="19" y="150"/>
                </a:lnTo>
                <a:lnTo>
                  <a:pt x="16" y="144"/>
                </a:lnTo>
                <a:lnTo>
                  <a:pt x="16" y="144"/>
                </a:lnTo>
                <a:lnTo>
                  <a:pt x="6" y="144"/>
                </a:lnTo>
                <a:lnTo>
                  <a:pt x="3" y="141"/>
                </a:lnTo>
                <a:lnTo>
                  <a:pt x="0" y="138"/>
                </a:lnTo>
                <a:lnTo>
                  <a:pt x="3" y="135"/>
                </a:lnTo>
                <a:lnTo>
                  <a:pt x="6" y="135"/>
                </a:lnTo>
                <a:lnTo>
                  <a:pt x="6" y="129"/>
                </a:lnTo>
                <a:lnTo>
                  <a:pt x="12" y="132"/>
                </a:lnTo>
                <a:lnTo>
                  <a:pt x="16" y="129"/>
                </a:lnTo>
                <a:lnTo>
                  <a:pt x="16" y="132"/>
                </a:lnTo>
                <a:lnTo>
                  <a:pt x="19" y="132"/>
                </a:lnTo>
                <a:lnTo>
                  <a:pt x="22" y="129"/>
                </a:lnTo>
                <a:lnTo>
                  <a:pt x="22" y="129"/>
                </a:lnTo>
                <a:lnTo>
                  <a:pt x="25" y="119"/>
                </a:lnTo>
                <a:lnTo>
                  <a:pt x="22" y="110"/>
                </a:lnTo>
                <a:lnTo>
                  <a:pt x="25" y="103"/>
                </a:lnTo>
                <a:lnTo>
                  <a:pt x="28" y="100"/>
                </a:lnTo>
                <a:lnTo>
                  <a:pt x="28" y="97"/>
                </a:lnTo>
                <a:lnTo>
                  <a:pt x="25" y="94"/>
                </a:lnTo>
                <a:lnTo>
                  <a:pt x="28" y="91"/>
                </a:lnTo>
                <a:lnTo>
                  <a:pt x="31" y="85"/>
                </a:lnTo>
                <a:lnTo>
                  <a:pt x="31" y="82"/>
                </a:lnTo>
                <a:lnTo>
                  <a:pt x="34" y="82"/>
                </a:lnTo>
                <a:lnTo>
                  <a:pt x="37" y="82"/>
                </a:lnTo>
                <a:lnTo>
                  <a:pt x="41" y="66"/>
                </a:lnTo>
                <a:lnTo>
                  <a:pt x="44" y="63"/>
                </a:lnTo>
                <a:lnTo>
                  <a:pt x="47" y="57"/>
                </a:lnTo>
                <a:lnTo>
                  <a:pt x="50" y="53"/>
                </a:lnTo>
                <a:lnTo>
                  <a:pt x="53" y="47"/>
                </a:lnTo>
                <a:lnTo>
                  <a:pt x="53" y="44"/>
                </a:lnTo>
                <a:lnTo>
                  <a:pt x="56" y="41"/>
                </a:lnTo>
                <a:lnTo>
                  <a:pt x="59" y="44"/>
                </a:lnTo>
                <a:lnTo>
                  <a:pt x="63" y="38"/>
                </a:lnTo>
                <a:lnTo>
                  <a:pt x="66" y="28"/>
                </a:lnTo>
                <a:lnTo>
                  <a:pt x="66" y="19"/>
                </a:lnTo>
                <a:lnTo>
                  <a:pt x="69" y="16"/>
                </a:lnTo>
                <a:lnTo>
                  <a:pt x="69" y="13"/>
                </a:lnTo>
                <a:lnTo>
                  <a:pt x="72" y="13"/>
                </a:lnTo>
                <a:lnTo>
                  <a:pt x="78" y="13"/>
                </a:lnTo>
                <a:lnTo>
                  <a:pt x="78" y="13"/>
                </a:lnTo>
                <a:lnTo>
                  <a:pt x="81" y="13"/>
                </a:lnTo>
                <a:lnTo>
                  <a:pt x="88" y="0"/>
                </a:lnTo>
                <a:lnTo>
                  <a:pt x="88" y="3"/>
                </a:lnTo>
                <a:lnTo>
                  <a:pt x="91" y="3"/>
                </a:lnTo>
                <a:lnTo>
                  <a:pt x="97" y="7"/>
                </a:lnTo>
                <a:lnTo>
                  <a:pt x="100" y="7"/>
                </a:lnTo>
                <a:lnTo>
                  <a:pt x="106" y="3"/>
                </a:lnTo>
                <a:lnTo>
                  <a:pt x="109" y="3"/>
                </a:lnTo>
                <a:lnTo>
                  <a:pt x="113" y="7"/>
                </a:lnTo>
                <a:lnTo>
                  <a:pt x="113" y="3"/>
                </a:lnTo>
                <a:lnTo>
                  <a:pt x="116" y="3"/>
                </a:lnTo>
                <a:lnTo>
                  <a:pt x="122" y="10"/>
                </a:lnTo>
                <a:lnTo>
                  <a:pt x="122" y="10"/>
                </a:lnTo>
                <a:lnTo>
                  <a:pt x="125" y="7"/>
                </a:lnTo>
                <a:lnTo>
                  <a:pt x="131" y="10"/>
                </a:lnTo>
                <a:lnTo>
                  <a:pt x="134" y="13"/>
                </a:lnTo>
                <a:lnTo>
                  <a:pt x="138" y="13"/>
                </a:lnTo>
                <a:lnTo>
                  <a:pt x="144" y="19"/>
                </a:lnTo>
                <a:lnTo>
                  <a:pt x="144" y="22"/>
                </a:lnTo>
                <a:lnTo>
                  <a:pt x="150" y="22"/>
                </a:lnTo>
                <a:lnTo>
                  <a:pt x="150" y="22"/>
                </a:lnTo>
                <a:lnTo>
                  <a:pt x="156" y="25"/>
                </a:lnTo>
                <a:lnTo>
                  <a:pt x="156" y="25"/>
                </a:lnTo>
                <a:lnTo>
                  <a:pt x="163" y="28"/>
                </a:lnTo>
                <a:lnTo>
                  <a:pt x="166" y="35"/>
                </a:lnTo>
                <a:lnTo>
                  <a:pt x="172" y="35"/>
                </a:lnTo>
                <a:lnTo>
                  <a:pt x="175" y="41"/>
                </a:lnTo>
                <a:lnTo>
                  <a:pt x="175" y="44"/>
                </a:lnTo>
                <a:lnTo>
                  <a:pt x="175" y="47"/>
                </a:lnTo>
                <a:lnTo>
                  <a:pt x="178" y="47"/>
                </a:lnTo>
                <a:lnTo>
                  <a:pt x="184" y="53"/>
                </a:lnTo>
                <a:lnTo>
                  <a:pt x="181" y="53"/>
                </a:lnTo>
                <a:lnTo>
                  <a:pt x="178" y="60"/>
                </a:lnTo>
                <a:lnTo>
                  <a:pt x="178" y="63"/>
                </a:lnTo>
                <a:lnTo>
                  <a:pt x="178" y="69"/>
                </a:lnTo>
                <a:lnTo>
                  <a:pt x="175" y="72"/>
                </a:lnTo>
                <a:lnTo>
                  <a:pt x="175" y="75"/>
                </a:lnTo>
                <a:lnTo>
                  <a:pt x="172" y="78"/>
                </a:lnTo>
                <a:lnTo>
                  <a:pt x="175" y="82"/>
                </a:lnTo>
                <a:lnTo>
                  <a:pt x="181" y="82"/>
                </a:lnTo>
                <a:lnTo>
                  <a:pt x="188" y="78"/>
                </a:lnTo>
                <a:lnTo>
                  <a:pt x="191" y="78"/>
                </a:lnTo>
                <a:lnTo>
                  <a:pt x="197" y="78"/>
                </a:lnTo>
                <a:lnTo>
                  <a:pt x="194" y="82"/>
                </a:lnTo>
                <a:lnTo>
                  <a:pt x="197" y="88"/>
                </a:lnTo>
                <a:lnTo>
                  <a:pt x="200" y="100"/>
                </a:lnTo>
                <a:lnTo>
                  <a:pt x="203" y="103"/>
                </a:lnTo>
                <a:lnTo>
                  <a:pt x="203" y="110"/>
                </a:lnTo>
                <a:lnTo>
                  <a:pt x="206" y="113"/>
                </a:lnTo>
                <a:lnTo>
                  <a:pt x="213" y="116"/>
                </a:lnTo>
                <a:lnTo>
                  <a:pt x="219" y="119"/>
                </a:lnTo>
                <a:lnTo>
                  <a:pt x="275" y="138"/>
                </a:lnTo>
                <a:lnTo>
                  <a:pt x="300" y="138"/>
                </a:lnTo>
                <a:lnTo>
                  <a:pt x="241" y="197"/>
                </a:lnTo>
                <a:lnTo>
                  <a:pt x="228" y="197"/>
                </a:lnTo>
                <a:lnTo>
                  <a:pt x="216" y="197"/>
                </a:lnTo>
                <a:lnTo>
                  <a:pt x="213" y="200"/>
                </a:lnTo>
                <a:lnTo>
                  <a:pt x="209" y="200"/>
                </a:lnTo>
                <a:lnTo>
                  <a:pt x="203" y="204"/>
                </a:lnTo>
                <a:lnTo>
                  <a:pt x="203" y="207"/>
                </a:lnTo>
                <a:lnTo>
                  <a:pt x="197" y="210"/>
                </a:lnTo>
                <a:lnTo>
                  <a:pt x="194" y="213"/>
                </a:lnTo>
                <a:lnTo>
                  <a:pt x="188" y="213"/>
                </a:lnTo>
                <a:lnTo>
                  <a:pt x="181" y="216"/>
                </a:lnTo>
                <a:lnTo>
                  <a:pt x="178" y="219"/>
                </a:lnTo>
                <a:lnTo>
                  <a:pt x="178" y="219"/>
                </a:lnTo>
                <a:lnTo>
                  <a:pt x="172" y="219"/>
                </a:lnTo>
                <a:lnTo>
                  <a:pt x="166" y="219"/>
                </a:lnTo>
                <a:lnTo>
                  <a:pt x="163" y="219"/>
                </a:lnTo>
                <a:lnTo>
                  <a:pt x="159" y="216"/>
                </a:lnTo>
                <a:lnTo>
                  <a:pt x="156" y="213"/>
                </a:lnTo>
                <a:lnTo>
                  <a:pt x="147" y="213"/>
                </a:lnTo>
                <a:lnTo>
                  <a:pt x="147" y="216"/>
                </a:lnTo>
                <a:lnTo>
                  <a:pt x="144" y="216"/>
                </a:lnTo>
                <a:lnTo>
                  <a:pt x="141" y="216"/>
                </a:lnTo>
                <a:lnTo>
                  <a:pt x="138" y="219"/>
                </a:lnTo>
                <a:lnTo>
                  <a:pt x="131" y="229"/>
                </a:lnTo>
                <a:lnTo>
                  <a:pt x="128" y="229"/>
                </a:lnTo>
                <a:lnTo>
                  <a:pt x="125" y="229"/>
                </a:lnTo>
                <a:lnTo>
                  <a:pt x="122" y="225"/>
                </a:lnTo>
                <a:lnTo>
                  <a:pt x="116" y="229"/>
                </a:lnTo>
                <a:lnTo>
                  <a:pt x="113" y="225"/>
                </a:lnTo>
                <a:lnTo>
                  <a:pt x="106" y="225"/>
                </a:lnTo>
                <a:lnTo>
                  <a:pt x="103" y="225"/>
                </a:lnTo>
                <a:lnTo>
                  <a:pt x="100" y="222"/>
                </a:lnTo>
                <a:lnTo>
                  <a:pt x="94" y="216"/>
                </a:lnTo>
                <a:lnTo>
                  <a:pt x="88" y="210"/>
                </a:lnTo>
                <a:lnTo>
                  <a:pt x="81" y="207"/>
                </a:lnTo>
                <a:lnTo>
                  <a:pt x="72" y="207"/>
                </a:lnTo>
                <a:lnTo>
                  <a:pt x="69" y="207"/>
                </a:lnTo>
                <a:lnTo>
                  <a:pt x="63" y="210"/>
                </a:lnTo>
                <a:lnTo>
                  <a:pt x="59" y="207"/>
                </a:lnTo>
                <a:lnTo>
                  <a:pt x="56" y="204"/>
                </a:lnTo>
                <a:lnTo>
                  <a:pt x="56" y="191"/>
                </a:lnTo>
                <a:lnTo>
                  <a:pt x="53" y="191"/>
                </a:lnTo>
                <a:lnTo>
                  <a:pt x="50" y="191"/>
                </a:lnTo>
                <a:lnTo>
                  <a:pt x="47" y="188"/>
                </a:lnTo>
                <a:lnTo>
                  <a:pt x="47" y="191"/>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8" name="Freeform 106">
            <a:extLst>
              <a:ext uri="{FF2B5EF4-FFF2-40B4-BE49-F238E27FC236}">
                <a16:creationId xmlns:a16="http://schemas.microsoft.com/office/drawing/2014/main" id="{A33C3AF8-0FFA-0F1B-D757-BDDA8E465DDB}"/>
              </a:ext>
            </a:extLst>
          </p:cNvPr>
          <p:cNvSpPr>
            <a:spLocks/>
          </p:cNvSpPr>
          <p:nvPr userDrawn="1"/>
        </p:nvSpPr>
        <p:spPr bwMode="auto">
          <a:xfrm>
            <a:off x="15432670" y="8235235"/>
            <a:ext cx="415899" cy="365126"/>
          </a:xfrm>
          <a:custGeom>
            <a:avLst/>
            <a:gdLst>
              <a:gd name="T0" fmla="*/ 112 w 131"/>
              <a:gd name="T1" fmla="*/ 109 h 115"/>
              <a:gd name="T2" fmla="*/ 109 w 131"/>
              <a:gd name="T3" fmla="*/ 106 h 115"/>
              <a:gd name="T4" fmla="*/ 106 w 131"/>
              <a:gd name="T5" fmla="*/ 97 h 115"/>
              <a:gd name="T6" fmla="*/ 97 w 131"/>
              <a:gd name="T7" fmla="*/ 90 h 115"/>
              <a:gd name="T8" fmla="*/ 90 w 131"/>
              <a:gd name="T9" fmla="*/ 87 h 115"/>
              <a:gd name="T10" fmla="*/ 84 w 131"/>
              <a:gd name="T11" fmla="*/ 84 h 115"/>
              <a:gd name="T12" fmla="*/ 78 w 131"/>
              <a:gd name="T13" fmla="*/ 81 h 115"/>
              <a:gd name="T14" fmla="*/ 68 w 131"/>
              <a:gd name="T15" fmla="*/ 75 h 115"/>
              <a:gd name="T16" fmla="*/ 59 w 131"/>
              <a:gd name="T17" fmla="*/ 69 h 115"/>
              <a:gd name="T18" fmla="*/ 56 w 131"/>
              <a:gd name="T19" fmla="*/ 72 h 115"/>
              <a:gd name="T20" fmla="*/ 47 w 131"/>
              <a:gd name="T21" fmla="*/ 65 h 115"/>
              <a:gd name="T22" fmla="*/ 43 w 131"/>
              <a:gd name="T23" fmla="*/ 65 h 115"/>
              <a:gd name="T24" fmla="*/ 34 w 131"/>
              <a:gd name="T25" fmla="*/ 69 h 115"/>
              <a:gd name="T26" fmla="*/ 25 w 131"/>
              <a:gd name="T27" fmla="*/ 65 h 115"/>
              <a:gd name="T28" fmla="*/ 22 w 131"/>
              <a:gd name="T29" fmla="*/ 62 h 115"/>
              <a:gd name="T30" fmla="*/ 12 w 131"/>
              <a:gd name="T31" fmla="*/ 75 h 115"/>
              <a:gd name="T32" fmla="*/ 6 w 131"/>
              <a:gd name="T33" fmla="*/ 75 h 115"/>
              <a:gd name="T34" fmla="*/ 3 w 131"/>
              <a:gd name="T35" fmla="*/ 72 h 115"/>
              <a:gd name="T36" fmla="*/ 0 w 131"/>
              <a:gd name="T37" fmla="*/ 59 h 115"/>
              <a:gd name="T38" fmla="*/ 3 w 131"/>
              <a:gd name="T39" fmla="*/ 53 h 115"/>
              <a:gd name="T40" fmla="*/ 6 w 131"/>
              <a:gd name="T41" fmla="*/ 37 h 115"/>
              <a:gd name="T42" fmla="*/ 12 w 131"/>
              <a:gd name="T43" fmla="*/ 31 h 115"/>
              <a:gd name="T44" fmla="*/ 9 w 131"/>
              <a:gd name="T45" fmla="*/ 28 h 115"/>
              <a:gd name="T46" fmla="*/ 9 w 131"/>
              <a:gd name="T47" fmla="*/ 18 h 115"/>
              <a:gd name="T48" fmla="*/ 18 w 131"/>
              <a:gd name="T49" fmla="*/ 15 h 115"/>
              <a:gd name="T50" fmla="*/ 18 w 131"/>
              <a:gd name="T51" fmla="*/ 12 h 115"/>
              <a:gd name="T52" fmla="*/ 22 w 131"/>
              <a:gd name="T53" fmla="*/ 9 h 115"/>
              <a:gd name="T54" fmla="*/ 28 w 131"/>
              <a:gd name="T55" fmla="*/ 9 h 115"/>
              <a:gd name="T56" fmla="*/ 34 w 131"/>
              <a:gd name="T57" fmla="*/ 6 h 115"/>
              <a:gd name="T58" fmla="*/ 37 w 131"/>
              <a:gd name="T59" fmla="*/ 0 h 115"/>
              <a:gd name="T60" fmla="*/ 43 w 131"/>
              <a:gd name="T61" fmla="*/ 3 h 115"/>
              <a:gd name="T62" fmla="*/ 53 w 131"/>
              <a:gd name="T63" fmla="*/ 40 h 115"/>
              <a:gd name="T64" fmla="*/ 56 w 131"/>
              <a:gd name="T65" fmla="*/ 47 h 115"/>
              <a:gd name="T66" fmla="*/ 59 w 131"/>
              <a:gd name="T67" fmla="*/ 47 h 115"/>
              <a:gd name="T68" fmla="*/ 62 w 131"/>
              <a:gd name="T69" fmla="*/ 59 h 115"/>
              <a:gd name="T70" fmla="*/ 65 w 131"/>
              <a:gd name="T71" fmla="*/ 53 h 115"/>
              <a:gd name="T72" fmla="*/ 65 w 131"/>
              <a:gd name="T73" fmla="*/ 50 h 115"/>
              <a:gd name="T74" fmla="*/ 68 w 131"/>
              <a:gd name="T75" fmla="*/ 53 h 115"/>
              <a:gd name="T76" fmla="*/ 72 w 131"/>
              <a:gd name="T77" fmla="*/ 59 h 115"/>
              <a:gd name="T78" fmla="*/ 75 w 131"/>
              <a:gd name="T79" fmla="*/ 62 h 115"/>
              <a:gd name="T80" fmla="*/ 81 w 131"/>
              <a:gd name="T81" fmla="*/ 62 h 115"/>
              <a:gd name="T82" fmla="*/ 87 w 131"/>
              <a:gd name="T83" fmla="*/ 65 h 115"/>
              <a:gd name="T84" fmla="*/ 93 w 131"/>
              <a:gd name="T85" fmla="*/ 69 h 115"/>
              <a:gd name="T86" fmla="*/ 100 w 131"/>
              <a:gd name="T87" fmla="*/ 78 h 115"/>
              <a:gd name="T88" fmla="*/ 109 w 131"/>
              <a:gd name="T89" fmla="*/ 84 h 115"/>
              <a:gd name="T90" fmla="*/ 112 w 131"/>
              <a:gd name="T91" fmla="*/ 87 h 115"/>
              <a:gd name="T92" fmla="*/ 115 w 131"/>
              <a:gd name="T93" fmla="*/ 90 h 115"/>
              <a:gd name="T94" fmla="*/ 118 w 131"/>
              <a:gd name="T95" fmla="*/ 97 h 115"/>
              <a:gd name="T96" fmla="*/ 122 w 131"/>
              <a:gd name="T97" fmla="*/ 103 h 115"/>
              <a:gd name="T98" fmla="*/ 125 w 131"/>
              <a:gd name="T99" fmla="*/ 106 h 115"/>
              <a:gd name="T100" fmla="*/ 128 w 131"/>
              <a:gd name="T101" fmla="*/ 106 h 115"/>
              <a:gd name="T102" fmla="*/ 131 w 131"/>
              <a:gd name="T103" fmla="*/ 109 h 115"/>
              <a:gd name="T104" fmla="*/ 125 w 131"/>
              <a:gd name="T105" fmla="*/ 112 h 115"/>
              <a:gd name="T106" fmla="*/ 118 w 131"/>
              <a:gd name="T10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1" h="115">
                <a:moveTo>
                  <a:pt x="118" y="115"/>
                </a:moveTo>
                <a:lnTo>
                  <a:pt x="112" y="109"/>
                </a:lnTo>
                <a:lnTo>
                  <a:pt x="109" y="109"/>
                </a:lnTo>
                <a:lnTo>
                  <a:pt x="109" y="106"/>
                </a:lnTo>
                <a:lnTo>
                  <a:pt x="109" y="103"/>
                </a:lnTo>
                <a:lnTo>
                  <a:pt x="106" y="97"/>
                </a:lnTo>
                <a:lnTo>
                  <a:pt x="100" y="97"/>
                </a:lnTo>
                <a:lnTo>
                  <a:pt x="97" y="90"/>
                </a:lnTo>
                <a:lnTo>
                  <a:pt x="90" y="87"/>
                </a:lnTo>
                <a:lnTo>
                  <a:pt x="90" y="87"/>
                </a:lnTo>
                <a:lnTo>
                  <a:pt x="84" y="84"/>
                </a:lnTo>
                <a:lnTo>
                  <a:pt x="84" y="84"/>
                </a:lnTo>
                <a:lnTo>
                  <a:pt x="78" y="84"/>
                </a:lnTo>
                <a:lnTo>
                  <a:pt x="78" y="81"/>
                </a:lnTo>
                <a:lnTo>
                  <a:pt x="72" y="75"/>
                </a:lnTo>
                <a:lnTo>
                  <a:pt x="68" y="75"/>
                </a:lnTo>
                <a:lnTo>
                  <a:pt x="65" y="72"/>
                </a:lnTo>
                <a:lnTo>
                  <a:pt x="59" y="69"/>
                </a:lnTo>
                <a:lnTo>
                  <a:pt x="56" y="72"/>
                </a:lnTo>
                <a:lnTo>
                  <a:pt x="56" y="72"/>
                </a:lnTo>
                <a:lnTo>
                  <a:pt x="50" y="65"/>
                </a:lnTo>
                <a:lnTo>
                  <a:pt x="47" y="65"/>
                </a:lnTo>
                <a:lnTo>
                  <a:pt x="47" y="69"/>
                </a:lnTo>
                <a:lnTo>
                  <a:pt x="43" y="65"/>
                </a:lnTo>
                <a:lnTo>
                  <a:pt x="40" y="65"/>
                </a:lnTo>
                <a:lnTo>
                  <a:pt x="34" y="69"/>
                </a:lnTo>
                <a:lnTo>
                  <a:pt x="31" y="69"/>
                </a:lnTo>
                <a:lnTo>
                  <a:pt x="25" y="65"/>
                </a:lnTo>
                <a:lnTo>
                  <a:pt x="22" y="65"/>
                </a:lnTo>
                <a:lnTo>
                  <a:pt x="22" y="62"/>
                </a:lnTo>
                <a:lnTo>
                  <a:pt x="15" y="75"/>
                </a:lnTo>
                <a:lnTo>
                  <a:pt x="12" y="75"/>
                </a:lnTo>
                <a:lnTo>
                  <a:pt x="12" y="75"/>
                </a:lnTo>
                <a:lnTo>
                  <a:pt x="6" y="75"/>
                </a:lnTo>
                <a:lnTo>
                  <a:pt x="3" y="75"/>
                </a:lnTo>
                <a:lnTo>
                  <a:pt x="3" y="72"/>
                </a:lnTo>
                <a:lnTo>
                  <a:pt x="0" y="62"/>
                </a:lnTo>
                <a:lnTo>
                  <a:pt x="0" y="59"/>
                </a:lnTo>
                <a:lnTo>
                  <a:pt x="3" y="56"/>
                </a:lnTo>
                <a:lnTo>
                  <a:pt x="3" y="53"/>
                </a:lnTo>
                <a:lnTo>
                  <a:pt x="6" y="47"/>
                </a:lnTo>
                <a:lnTo>
                  <a:pt x="6" y="37"/>
                </a:lnTo>
                <a:lnTo>
                  <a:pt x="9" y="31"/>
                </a:lnTo>
                <a:lnTo>
                  <a:pt x="12" y="31"/>
                </a:lnTo>
                <a:lnTo>
                  <a:pt x="9" y="28"/>
                </a:lnTo>
                <a:lnTo>
                  <a:pt x="9" y="28"/>
                </a:lnTo>
                <a:lnTo>
                  <a:pt x="9" y="22"/>
                </a:lnTo>
                <a:lnTo>
                  <a:pt x="9" y="18"/>
                </a:lnTo>
                <a:lnTo>
                  <a:pt x="12" y="15"/>
                </a:lnTo>
                <a:lnTo>
                  <a:pt x="18" y="15"/>
                </a:lnTo>
                <a:lnTo>
                  <a:pt x="18" y="15"/>
                </a:lnTo>
                <a:lnTo>
                  <a:pt x="18" y="12"/>
                </a:lnTo>
                <a:lnTo>
                  <a:pt x="18" y="9"/>
                </a:lnTo>
                <a:lnTo>
                  <a:pt x="22" y="9"/>
                </a:lnTo>
                <a:lnTo>
                  <a:pt x="25" y="9"/>
                </a:lnTo>
                <a:lnTo>
                  <a:pt x="28" y="9"/>
                </a:lnTo>
                <a:lnTo>
                  <a:pt x="28" y="6"/>
                </a:lnTo>
                <a:lnTo>
                  <a:pt x="34" y="6"/>
                </a:lnTo>
                <a:lnTo>
                  <a:pt x="37" y="3"/>
                </a:lnTo>
                <a:lnTo>
                  <a:pt x="37" y="0"/>
                </a:lnTo>
                <a:lnTo>
                  <a:pt x="37" y="0"/>
                </a:lnTo>
                <a:lnTo>
                  <a:pt x="43" y="3"/>
                </a:lnTo>
                <a:lnTo>
                  <a:pt x="53" y="25"/>
                </a:lnTo>
                <a:lnTo>
                  <a:pt x="53" y="40"/>
                </a:lnTo>
                <a:lnTo>
                  <a:pt x="56" y="40"/>
                </a:lnTo>
                <a:lnTo>
                  <a:pt x="56" y="47"/>
                </a:lnTo>
                <a:lnTo>
                  <a:pt x="56" y="47"/>
                </a:lnTo>
                <a:lnTo>
                  <a:pt x="59" y="47"/>
                </a:lnTo>
                <a:lnTo>
                  <a:pt x="62" y="53"/>
                </a:lnTo>
                <a:lnTo>
                  <a:pt x="62" y="59"/>
                </a:lnTo>
                <a:lnTo>
                  <a:pt x="65" y="59"/>
                </a:lnTo>
                <a:lnTo>
                  <a:pt x="65" y="53"/>
                </a:lnTo>
                <a:lnTo>
                  <a:pt x="65" y="53"/>
                </a:lnTo>
                <a:lnTo>
                  <a:pt x="65" y="50"/>
                </a:lnTo>
                <a:lnTo>
                  <a:pt x="65" y="50"/>
                </a:lnTo>
                <a:lnTo>
                  <a:pt x="68" y="53"/>
                </a:lnTo>
                <a:lnTo>
                  <a:pt x="68" y="56"/>
                </a:lnTo>
                <a:lnTo>
                  <a:pt x="72" y="59"/>
                </a:lnTo>
                <a:lnTo>
                  <a:pt x="75" y="62"/>
                </a:lnTo>
                <a:lnTo>
                  <a:pt x="75" y="62"/>
                </a:lnTo>
                <a:lnTo>
                  <a:pt x="78" y="62"/>
                </a:lnTo>
                <a:lnTo>
                  <a:pt x="81" y="62"/>
                </a:lnTo>
                <a:lnTo>
                  <a:pt x="81" y="62"/>
                </a:lnTo>
                <a:lnTo>
                  <a:pt x="87" y="65"/>
                </a:lnTo>
                <a:lnTo>
                  <a:pt x="87" y="69"/>
                </a:lnTo>
                <a:lnTo>
                  <a:pt x="93" y="69"/>
                </a:lnTo>
                <a:lnTo>
                  <a:pt x="93" y="72"/>
                </a:lnTo>
                <a:lnTo>
                  <a:pt x="100" y="78"/>
                </a:lnTo>
                <a:lnTo>
                  <a:pt x="103" y="84"/>
                </a:lnTo>
                <a:lnTo>
                  <a:pt x="109" y="84"/>
                </a:lnTo>
                <a:lnTo>
                  <a:pt x="112" y="87"/>
                </a:lnTo>
                <a:lnTo>
                  <a:pt x="112" y="87"/>
                </a:lnTo>
                <a:lnTo>
                  <a:pt x="112" y="87"/>
                </a:lnTo>
                <a:lnTo>
                  <a:pt x="115" y="90"/>
                </a:lnTo>
                <a:lnTo>
                  <a:pt x="118" y="97"/>
                </a:lnTo>
                <a:lnTo>
                  <a:pt x="118" y="97"/>
                </a:lnTo>
                <a:lnTo>
                  <a:pt x="122" y="103"/>
                </a:lnTo>
                <a:lnTo>
                  <a:pt x="122" y="103"/>
                </a:lnTo>
                <a:lnTo>
                  <a:pt x="125" y="106"/>
                </a:lnTo>
                <a:lnTo>
                  <a:pt x="125" y="106"/>
                </a:lnTo>
                <a:lnTo>
                  <a:pt x="128" y="106"/>
                </a:lnTo>
                <a:lnTo>
                  <a:pt x="128" y="106"/>
                </a:lnTo>
                <a:lnTo>
                  <a:pt x="131" y="106"/>
                </a:lnTo>
                <a:lnTo>
                  <a:pt x="131" y="109"/>
                </a:lnTo>
                <a:lnTo>
                  <a:pt x="128" y="112"/>
                </a:lnTo>
                <a:lnTo>
                  <a:pt x="125" y="112"/>
                </a:lnTo>
                <a:lnTo>
                  <a:pt x="122" y="115"/>
                </a:lnTo>
                <a:lnTo>
                  <a:pt x="118" y="115"/>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9" name="Freeform 107">
            <a:extLst>
              <a:ext uri="{FF2B5EF4-FFF2-40B4-BE49-F238E27FC236}">
                <a16:creationId xmlns:a16="http://schemas.microsoft.com/office/drawing/2014/main" id="{6C5E7DDC-1570-0808-97E9-35745D32FDAF}"/>
              </a:ext>
            </a:extLst>
          </p:cNvPr>
          <p:cNvSpPr>
            <a:spLocks/>
          </p:cNvSpPr>
          <p:nvPr userDrawn="1"/>
        </p:nvSpPr>
        <p:spPr bwMode="auto">
          <a:xfrm>
            <a:off x="15769196" y="8581311"/>
            <a:ext cx="98420" cy="111126"/>
          </a:xfrm>
          <a:custGeom>
            <a:avLst/>
            <a:gdLst>
              <a:gd name="T0" fmla="*/ 25 w 31"/>
              <a:gd name="T1" fmla="*/ 31 h 35"/>
              <a:gd name="T2" fmla="*/ 19 w 31"/>
              <a:gd name="T3" fmla="*/ 31 h 35"/>
              <a:gd name="T4" fmla="*/ 16 w 31"/>
              <a:gd name="T5" fmla="*/ 31 h 35"/>
              <a:gd name="T6" fmla="*/ 9 w 31"/>
              <a:gd name="T7" fmla="*/ 35 h 35"/>
              <a:gd name="T8" fmla="*/ 3 w 31"/>
              <a:gd name="T9" fmla="*/ 35 h 35"/>
              <a:gd name="T10" fmla="*/ 0 w 31"/>
              <a:gd name="T11" fmla="*/ 31 h 35"/>
              <a:gd name="T12" fmla="*/ 3 w 31"/>
              <a:gd name="T13" fmla="*/ 28 h 35"/>
              <a:gd name="T14" fmla="*/ 3 w 31"/>
              <a:gd name="T15" fmla="*/ 25 h 35"/>
              <a:gd name="T16" fmla="*/ 6 w 31"/>
              <a:gd name="T17" fmla="*/ 22 h 35"/>
              <a:gd name="T18" fmla="*/ 6 w 31"/>
              <a:gd name="T19" fmla="*/ 16 h 35"/>
              <a:gd name="T20" fmla="*/ 6 w 31"/>
              <a:gd name="T21" fmla="*/ 13 h 35"/>
              <a:gd name="T22" fmla="*/ 9 w 31"/>
              <a:gd name="T23" fmla="*/ 6 h 35"/>
              <a:gd name="T24" fmla="*/ 16 w 31"/>
              <a:gd name="T25" fmla="*/ 6 h 35"/>
              <a:gd name="T26" fmla="*/ 19 w 31"/>
              <a:gd name="T27" fmla="*/ 3 h 35"/>
              <a:gd name="T28" fmla="*/ 22 w 31"/>
              <a:gd name="T29" fmla="*/ 3 h 35"/>
              <a:gd name="T30" fmla="*/ 25 w 31"/>
              <a:gd name="T31" fmla="*/ 0 h 35"/>
              <a:gd name="T32" fmla="*/ 25 w 31"/>
              <a:gd name="T33" fmla="*/ 0 h 35"/>
              <a:gd name="T34" fmla="*/ 25 w 31"/>
              <a:gd name="T35" fmla="*/ 0 h 35"/>
              <a:gd name="T36" fmla="*/ 28 w 31"/>
              <a:gd name="T37" fmla="*/ 3 h 35"/>
              <a:gd name="T38" fmla="*/ 31 w 31"/>
              <a:gd name="T39" fmla="*/ 3 h 35"/>
              <a:gd name="T40" fmla="*/ 31 w 31"/>
              <a:gd name="T41" fmla="*/ 6 h 35"/>
              <a:gd name="T42" fmla="*/ 31 w 31"/>
              <a:gd name="T43" fmla="*/ 13 h 35"/>
              <a:gd name="T44" fmla="*/ 28 w 31"/>
              <a:gd name="T45" fmla="*/ 13 h 35"/>
              <a:gd name="T46" fmla="*/ 25 w 31"/>
              <a:gd name="T47" fmla="*/ 19 h 35"/>
              <a:gd name="T48" fmla="*/ 22 w 31"/>
              <a:gd name="T49" fmla="*/ 19 h 35"/>
              <a:gd name="T50" fmla="*/ 22 w 31"/>
              <a:gd name="T51" fmla="*/ 22 h 35"/>
              <a:gd name="T52" fmla="*/ 16 w 31"/>
              <a:gd name="T53" fmla="*/ 22 h 35"/>
              <a:gd name="T54" fmla="*/ 19 w 31"/>
              <a:gd name="T55" fmla="*/ 22 h 35"/>
              <a:gd name="T56" fmla="*/ 19 w 31"/>
              <a:gd name="T57" fmla="*/ 22 h 35"/>
              <a:gd name="T58" fmla="*/ 22 w 31"/>
              <a:gd name="T59" fmla="*/ 22 h 35"/>
              <a:gd name="T60" fmla="*/ 28 w 31"/>
              <a:gd name="T61" fmla="*/ 22 h 35"/>
              <a:gd name="T62" fmla="*/ 28 w 31"/>
              <a:gd name="T63" fmla="*/ 22 h 35"/>
              <a:gd name="T64" fmla="*/ 25 w 31"/>
              <a:gd name="T65" fmla="*/ 31 h 35"/>
              <a:gd name="T66" fmla="*/ 25 w 31"/>
              <a:gd name="T67"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 h="35">
                <a:moveTo>
                  <a:pt x="25" y="31"/>
                </a:moveTo>
                <a:lnTo>
                  <a:pt x="19" y="31"/>
                </a:lnTo>
                <a:lnTo>
                  <a:pt x="16" y="31"/>
                </a:lnTo>
                <a:lnTo>
                  <a:pt x="9" y="35"/>
                </a:lnTo>
                <a:lnTo>
                  <a:pt x="3" y="35"/>
                </a:lnTo>
                <a:lnTo>
                  <a:pt x="0" y="31"/>
                </a:lnTo>
                <a:lnTo>
                  <a:pt x="3" y="28"/>
                </a:lnTo>
                <a:lnTo>
                  <a:pt x="3" y="25"/>
                </a:lnTo>
                <a:lnTo>
                  <a:pt x="6" y="22"/>
                </a:lnTo>
                <a:lnTo>
                  <a:pt x="6" y="16"/>
                </a:lnTo>
                <a:lnTo>
                  <a:pt x="6" y="13"/>
                </a:lnTo>
                <a:lnTo>
                  <a:pt x="9" y="6"/>
                </a:lnTo>
                <a:lnTo>
                  <a:pt x="16" y="6"/>
                </a:lnTo>
                <a:lnTo>
                  <a:pt x="19" y="3"/>
                </a:lnTo>
                <a:lnTo>
                  <a:pt x="22" y="3"/>
                </a:lnTo>
                <a:lnTo>
                  <a:pt x="25" y="0"/>
                </a:lnTo>
                <a:lnTo>
                  <a:pt x="25" y="0"/>
                </a:lnTo>
                <a:lnTo>
                  <a:pt x="25" y="0"/>
                </a:lnTo>
                <a:lnTo>
                  <a:pt x="28" y="3"/>
                </a:lnTo>
                <a:lnTo>
                  <a:pt x="31" y="3"/>
                </a:lnTo>
                <a:lnTo>
                  <a:pt x="31" y="6"/>
                </a:lnTo>
                <a:lnTo>
                  <a:pt x="31" y="13"/>
                </a:lnTo>
                <a:lnTo>
                  <a:pt x="28" y="13"/>
                </a:lnTo>
                <a:lnTo>
                  <a:pt x="25" y="19"/>
                </a:lnTo>
                <a:lnTo>
                  <a:pt x="22" y="19"/>
                </a:lnTo>
                <a:lnTo>
                  <a:pt x="22" y="22"/>
                </a:lnTo>
                <a:lnTo>
                  <a:pt x="16" y="22"/>
                </a:lnTo>
                <a:lnTo>
                  <a:pt x="19" y="22"/>
                </a:lnTo>
                <a:lnTo>
                  <a:pt x="19" y="22"/>
                </a:lnTo>
                <a:lnTo>
                  <a:pt x="22" y="22"/>
                </a:lnTo>
                <a:lnTo>
                  <a:pt x="28" y="22"/>
                </a:lnTo>
                <a:lnTo>
                  <a:pt x="28" y="22"/>
                </a:lnTo>
                <a:lnTo>
                  <a:pt x="25" y="31"/>
                </a:lnTo>
                <a:lnTo>
                  <a:pt x="25" y="31"/>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0" name="Freeform 108">
            <a:extLst>
              <a:ext uri="{FF2B5EF4-FFF2-40B4-BE49-F238E27FC236}">
                <a16:creationId xmlns:a16="http://schemas.microsoft.com/office/drawing/2014/main" id="{D33FA7C1-8373-6F3E-717F-3BC291EFAC19}"/>
              </a:ext>
            </a:extLst>
          </p:cNvPr>
          <p:cNvSpPr>
            <a:spLocks/>
          </p:cNvSpPr>
          <p:nvPr userDrawn="1"/>
        </p:nvSpPr>
        <p:spPr bwMode="auto">
          <a:xfrm>
            <a:off x="15727923" y="8622585"/>
            <a:ext cx="647660" cy="854078"/>
          </a:xfrm>
          <a:custGeom>
            <a:avLst/>
            <a:gdLst>
              <a:gd name="T0" fmla="*/ 22 w 204"/>
              <a:gd name="T1" fmla="*/ 156 h 269"/>
              <a:gd name="T2" fmla="*/ 38 w 204"/>
              <a:gd name="T3" fmla="*/ 150 h 269"/>
              <a:gd name="T4" fmla="*/ 50 w 204"/>
              <a:gd name="T5" fmla="*/ 140 h 269"/>
              <a:gd name="T6" fmla="*/ 69 w 204"/>
              <a:gd name="T7" fmla="*/ 137 h 269"/>
              <a:gd name="T8" fmla="*/ 116 w 204"/>
              <a:gd name="T9" fmla="*/ 78 h 269"/>
              <a:gd name="T10" fmla="*/ 47 w 204"/>
              <a:gd name="T11" fmla="*/ 53 h 269"/>
              <a:gd name="T12" fmla="*/ 41 w 204"/>
              <a:gd name="T13" fmla="*/ 40 h 269"/>
              <a:gd name="T14" fmla="*/ 38 w 204"/>
              <a:gd name="T15" fmla="*/ 18 h 269"/>
              <a:gd name="T16" fmla="*/ 44 w 204"/>
              <a:gd name="T17" fmla="*/ 12 h 269"/>
              <a:gd name="T18" fmla="*/ 60 w 204"/>
              <a:gd name="T19" fmla="*/ 31 h 269"/>
              <a:gd name="T20" fmla="*/ 75 w 204"/>
              <a:gd name="T21" fmla="*/ 34 h 269"/>
              <a:gd name="T22" fmla="*/ 85 w 204"/>
              <a:gd name="T23" fmla="*/ 28 h 269"/>
              <a:gd name="T24" fmla="*/ 94 w 204"/>
              <a:gd name="T25" fmla="*/ 25 h 269"/>
              <a:gd name="T26" fmla="*/ 107 w 204"/>
              <a:gd name="T27" fmla="*/ 25 h 269"/>
              <a:gd name="T28" fmla="*/ 125 w 204"/>
              <a:gd name="T29" fmla="*/ 18 h 269"/>
              <a:gd name="T30" fmla="*/ 138 w 204"/>
              <a:gd name="T31" fmla="*/ 18 h 269"/>
              <a:gd name="T32" fmla="*/ 154 w 204"/>
              <a:gd name="T33" fmla="*/ 15 h 269"/>
              <a:gd name="T34" fmla="*/ 169 w 204"/>
              <a:gd name="T35" fmla="*/ 12 h 269"/>
              <a:gd name="T36" fmla="*/ 175 w 204"/>
              <a:gd name="T37" fmla="*/ 9 h 269"/>
              <a:gd name="T38" fmla="*/ 185 w 204"/>
              <a:gd name="T39" fmla="*/ 6 h 269"/>
              <a:gd name="T40" fmla="*/ 188 w 204"/>
              <a:gd name="T41" fmla="*/ 0 h 269"/>
              <a:gd name="T42" fmla="*/ 194 w 204"/>
              <a:gd name="T43" fmla="*/ 3 h 269"/>
              <a:gd name="T44" fmla="*/ 200 w 204"/>
              <a:gd name="T45" fmla="*/ 3 h 269"/>
              <a:gd name="T46" fmla="*/ 197 w 204"/>
              <a:gd name="T47" fmla="*/ 12 h 269"/>
              <a:gd name="T48" fmla="*/ 200 w 204"/>
              <a:gd name="T49" fmla="*/ 18 h 269"/>
              <a:gd name="T50" fmla="*/ 197 w 204"/>
              <a:gd name="T51" fmla="*/ 25 h 269"/>
              <a:gd name="T52" fmla="*/ 197 w 204"/>
              <a:gd name="T53" fmla="*/ 34 h 269"/>
              <a:gd name="T54" fmla="*/ 200 w 204"/>
              <a:gd name="T55" fmla="*/ 31 h 269"/>
              <a:gd name="T56" fmla="*/ 200 w 204"/>
              <a:gd name="T57" fmla="*/ 34 h 269"/>
              <a:gd name="T58" fmla="*/ 194 w 204"/>
              <a:gd name="T59" fmla="*/ 40 h 269"/>
              <a:gd name="T60" fmla="*/ 194 w 204"/>
              <a:gd name="T61" fmla="*/ 50 h 269"/>
              <a:gd name="T62" fmla="*/ 182 w 204"/>
              <a:gd name="T63" fmla="*/ 75 h 269"/>
              <a:gd name="T64" fmla="*/ 172 w 204"/>
              <a:gd name="T65" fmla="*/ 81 h 269"/>
              <a:gd name="T66" fmla="*/ 172 w 204"/>
              <a:gd name="T67" fmla="*/ 87 h 269"/>
              <a:gd name="T68" fmla="*/ 154 w 204"/>
              <a:gd name="T69" fmla="*/ 125 h 269"/>
              <a:gd name="T70" fmla="*/ 138 w 204"/>
              <a:gd name="T71" fmla="*/ 153 h 269"/>
              <a:gd name="T72" fmla="*/ 100 w 204"/>
              <a:gd name="T73" fmla="*/ 191 h 269"/>
              <a:gd name="T74" fmla="*/ 79 w 204"/>
              <a:gd name="T75" fmla="*/ 203 h 269"/>
              <a:gd name="T76" fmla="*/ 57 w 204"/>
              <a:gd name="T77" fmla="*/ 222 h 269"/>
              <a:gd name="T78" fmla="*/ 41 w 204"/>
              <a:gd name="T79" fmla="*/ 241 h 269"/>
              <a:gd name="T80" fmla="*/ 32 w 204"/>
              <a:gd name="T81" fmla="*/ 250 h 269"/>
              <a:gd name="T82" fmla="*/ 0 w 204"/>
              <a:gd name="T83" fmla="*/ 256 h 269"/>
              <a:gd name="T84" fmla="*/ 19 w 204"/>
              <a:gd name="T85" fmla="*/ 15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4" h="269">
                <a:moveTo>
                  <a:pt x="19" y="159"/>
                </a:moveTo>
                <a:lnTo>
                  <a:pt x="19" y="159"/>
                </a:lnTo>
                <a:lnTo>
                  <a:pt x="22" y="156"/>
                </a:lnTo>
                <a:lnTo>
                  <a:pt x="29" y="153"/>
                </a:lnTo>
                <a:lnTo>
                  <a:pt x="35" y="153"/>
                </a:lnTo>
                <a:lnTo>
                  <a:pt x="38" y="150"/>
                </a:lnTo>
                <a:lnTo>
                  <a:pt x="44" y="147"/>
                </a:lnTo>
                <a:lnTo>
                  <a:pt x="44" y="144"/>
                </a:lnTo>
                <a:lnTo>
                  <a:pt x="50" y="140"/>
                </a:lnTo>
                <a:lnTo>
                  <a:pt x="54" y="140"/>
                </a:lnTo>
                <a:lnTo>
                  <a:pt x="57" y="137"/>
                </a:lnTo>
                <a:lnTo>
                  <a:pt x="69" y="137"/>
                </a:lnTo>
                <a:lnTo>
                  <a:pt x="82" y="137"/>
                </a:lnTo>
                <a:lnTo>
                  <a:pt x="141" y="78"/>
                </a:lnTo>
                <a:lnTo>
                  <a:pt x="116" y="78"/>
                </a:lnTo>
                <a:lnTo>
                  <a:pt x="60" y="59"/>
                </a:lnTo>
                <a:lnTo>
                  <a:pt x="54" y="56"/>
                </a:lnTo>
                <a:lnTo>
                  <a:pt x="47" y="53"/>
                </a:lnTo>
                <a:lnTo>
                  <a:pt x="44" y="50"/>
                </a:lnTo>
                <a:lnTo>
                  <a:pt x="44" y="43"/>
                </a:lnTo>
                <a:lnTo>
                  <a:pt x="41" y="40"/>
                </a:lnTo>
                <a:lnTo>
                  <a:pt x="38" y="28"/>
                </a:lnTo>
                <a:lnTo>
                  <a:pt x="35" y="22"/>
                </a:lnTo>
                <a:lnTo>
                  <a:pt x="38" y="18"/>
                </a:lnTo>
                <a:lnTo>
                  <a:pt x="41" y="9"/>
                </a:lnTo>
                <a:lnTo>
                  <a:pt x="44" y="12"/>
                </a:lnTo>
                <a:lnTo>
                  <a:pt x="44" y="12"/>
                </a:lnTo>
                <a:lnTo>
                  <a:pt x="57" y="28"/>
                </a:lnTo>
                <a:lnTo>
                  <a:pt x="57" y="28"/>
                </a:lnTo>
                <a:lnTo>
                  <a:pt x="60" y="31"/>
                </a:lnTo>
                <a:lnTo>
                  <a:pt x="63" y="34"/>
                </a:lnTo>
                <a:lnTo>
                  <a:pt x="69" y="34"/>
                </a:lnTo>
                <a:lnTo>
                  <a:pt x="75" y="34"/>
                </a:lnTo>
                <a:lnTo>
                  <a:pt x="75" y="34"/>
                </a:lnTo>
                <a:lnTo>
                  <a:pt x="82" y="31"/>
                </a:lnTo>
                <a:lnTo>
                  <a:pt x="85" y="28"/>
                </a:lnTo>
                <a:lnTo>
                  <a:pt x="91" y="25"/>
                </a:lnTo>
                <a:lnTo>
                  <a:pt x="94" y="25"/>
                </a:lnTo>
                <a:lnTo>
                  <a:pt x="94" y="25"/>
                </a:lnTo>
                <a:lnTo>
                  <a:pt x="100" y="25"/>
                </a:lnTo>
                <a:lnTo>
                  <a:pt x="100" y="25"/>
                </a:lnTo>
                <a:lnTo>
                  <a:pt x="107" y="25"/>
                </a:lnTo>
                <a:lnTo>
                  <a:pt x="110" y="25"/>
                </a:lnTo>
                <a:lnTo>
                  <a:pt x="122" y="18"/>
                </a:lnTo>
                <a:lnTo>
                  <a:pt x="125" y="18"/>
                </a:lnTo>
                <a:lnTo>
                  <a:pt x="132" y="18"/>
                </a:lnTo>
                <a:lnTo>
                  <a:pt x="135" y="18"/>
                </a:lnTo>
                <a:lnTo>
                  <a:pt x="138" y="18"/>
                </a:lnTo>
                <a:lnTo>
                  <a:pt x="144" y="15"/>
                </a:lnTo>
                <a:lnTo>
                  <a:pt x="150" y="15"/>
                </a:lnTo>
                <a:lnTo>
                  <a:pt x="154" y="15"/>
                </a:lnTo>
                <a:lnTo>
                  <a:pt x="154" y="15"/>
                </a:lnTo>
                <a:lnTo>
                  <a:pt x="163" y="15"/>
                </a:lnTo>
                <a:lnTo>
                  <a:pt x="169" y="12"/>
                </a:lnTo>
                <a:lnTo>
                  <a:pt x="172" y="12"/>
                </a:lnTo>
                <a:lnTo>
                  <a:pt x="175" y="12"/>
                </a:lnTo>
                <a:lnTo>
                  <a:pt x="175" y="9"/>
                </a:lnTo>
                <a:lnTo>
                  <a:pt x="182" y="9"/>
                </a:lnTo>
                <a:lnTo>
                  <a:pt x="185" y="6"/>
                </a:lnTo>
                <a:lnTo>
                  <a:pt x="185" y="6"/>
                </a:lnTo>
                <a:lnTo>
                  <a:pt x="188" y="3"/>
                </a:lnTo>
                <a:lnTo>
                  <a:pt x="188" y="3"/>
                </a:lnTo>
                <a:lnTo>
                  <a:pt x="188" y="0"/>
                </a:lnTo>
                <a:lnTo>
                  <a:pt x="191" y="3"/>
                </a:lnTo>
                <a:lnTo>
                  <a:pt x="191" y="0"/>
                </a:lnTo>
                <a:lnTo>
                  <a:pt x="194" y="3"/>
                </a:lnTo>
                <a:lnTo>
                  <a:pt x="197" y="3"/>
                </a:lnTo>
                <a:lnTo>
                  <a:pt x="200" y="3"/>
                </a:lnTo>
                <a:lnTo>
                  <a:pt x="200" y="3"/>
                </a:lnTo>
                <a:lnTo>
                  <a:pt x="200" y="6"/>
                </a:lnTo>
                <a:lnTo>
                  <a:pt x="197" y="9"/>
                </a:lnTo>
                <a:lnTo>
                  <a:pt x="197" y="12"/>
                </a:lnTo>
                <a:lnTo>
                  <a:pt x="197" y="15"/>
                </a:lnTo>
                <a:lnTo>
                  <a:pt x="197" y="18"/>
                </a:lnTo>
                <a:lnTo>
                  <a:pt x="200" y="18"/>
                </a:lnTo>
                <a:lnTo>
                  <a:pt x="200" y="18"/>
                </a:lnTo>
                <a:lnTo>
                  <a:pt x="197" y="22"/>
                </a:lnTo>
                <a:lnTo>
                  <a:pt x="197" y="25"/>
                </a:lnTo>
                <a:lnTo>
                  <a:pt x="197" y="28"/>
                </a:lnTo>
                <a:lnTo>
                  <a:pt x="200" y="31"/>
                </a:lnTo>
                <a:lnTo>
                  <a:pt x="197" y="34"/>
                </a:lnTo>
                <a:lnTo>
                  <a:pt x="200" y="34"/>
                </a:lnTo>
                <a:lnTo>
                  <a:pt x="200" y="31"/>
                </a:lnTo>
                <a:lnTo>
                  <a:pt x="200" y="31"/>
                </a:lnTo>
                <a:lnTo>
                  <a:pt x="204" y="34"/>
                </a:lnTo>
                <a:lnTo>
                  <a:pt x="200" y="34"/>
                </a:lnTo>
                <a:lnTo>
                  <a:pt x="200" y="34"/>
                </a:lnTo>
                <a:lnTo>
                  <a:pt x="197" y="34"/>
                </a:lnTo>
                <a:lnTo>
                  <a:pt x="197" y="34"/>
                </a:lnTo>
                <a:lnTo>
                  <a:pt x="194" y="40"/>
                </a:lnTo>
                <a:lnTo>
                  <a:pt x="194" y="43"/>
                </a:lnTo>
                <a:lnTo>
                  <a:pt x="194" y="47"/>
                </a:lnTo>
                <a:lnTo>
                  <a:pt x="194" y="50"/>
                </a:lnTo>
                <a:lnTo>
                  <a:pt x="194" y="53"/>
                </a:lnTo>
                <a:lnTo>
                  <a:pt x="188" y="62"/>
                </a:lnTo>
                <a:lnTo>
                  <a:pt x="182" y="75"/>
                </a:lnTo>
                <a:lnTo>
                  <a:pt x="179" y="78"/>
                </a:lnTo>
                <a:lnTo>
                  <a:pt x="179" y="78"/>
                </a:lnTo>
                <a:lnTo>
                  <a:pt x="172" y="81"/>
                </a:lnTo>
                <a:lnTo>
                  <a:pt x="172" y="84"/>
                </a:lnTo>
                <a:lnTo>
                  <a:pt x="175" y="87"/>
                </a:lnTo>
                <a:lnTo>
                  <a:pt x="172" y="87"/>
                </a:lnTo>
                <a:lnTo>
                  <a:pt x="160" y="109"/>
                </a:lnTo>
                <a:lnTo>
                  <a:pt x="160" y="115"/>
                </a:lnTo>
                <a:lnTo>
                  <a:pt x="154" y="125"/>
                </a:lnTo>
                <a:lnTo>
                  <a:pt x="154" y="128"/>
                </a:lnTo>
                <a:lnTo>
                  <a:pt x="141" y="147"/>
                </a:lnTo>
                <a:lnTo>
                  <a:pt x="138" y="153"/>
                </a:lnTo>
                <a:lnTo>
                  <a:pt x="132" y="159"/>
                </a:lnTo>
                <a:lnTo>
                  <a:pt x="122" y="172"/>
                </a:lnTo>
                <a:lnTo>
                  <a:pt x="100" y="191"/>
                </a:lnTo>
                <a:lnTo>
                  <a:pt x="91" y="197"/>
                </a:lnTo>
                <a:lnTo>
                  <a:pt x="85" y="200"/>
                </a:lnTo>
                <a:lnTo>
                  <a:pt x="79" y="203"/>
                </a:lnTo>
                <a:lnTo>
                  <a:pt x="72" y="209"/>
                </a:lnTo>
                <a:lnTo>
                  <a:pt x="60" y="222"/>
                </a:lnTo>
                <a:lnTo>
                  <a:pt x="57" y="222"/>
                </a:lnTo>
                <a:lnTo>
                  <a:pt x="44" y="234"/>
                </a:lnTo>
                <a:lnTo>
                  <a:pt x="44" y="237"/>
                </a:lnTo>
                <a:lnTo>
                  <a:pt x="41" y="241"/>
                </a:lnTo>
                <a:lnTo>
                  <a:pt x="38" y="241"/>
                </a:lnTo>
                <a:lnTo>
                  <a:pt x="32" y="244"/>
                </a:lnTo>
                <a:lnTo>
                  <a:pt x="32" y="250"/>
                </a:lnTo>
                <a:lnTo>
                  <a:pt x="16" y="266"/>
                </a:lnTo>
                <a:lnTo>
                  <a:pt x="16" y="269"/>
                </a:lnTo>
                <a:lnTo>
                  <a:pt x="0" y="256"/>
                </a:lnTo>
                <a:lnTo>
                  <a:pt x="0" y="178"/>
                </a:lnTo>
                <a:lnTo>
                  <a:pt x="19" y="159"/>
                </a:lnTo>
                <a:lnTo>
                  <a:pt x="19" y="159"/>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1" name="Freeform 109">
            <a:extLst>
              <a:ext uri="{FF2B5EF4-FFF2-40B4-BE49-F238E27FC236}">
                <a16:creationId xmlns:a16="http://schemas.microsoft.com/office/drawing/2014/main" id="{03582BF7-9EC8-C967-E3A8-F7D8EE4EBBC9}"/>
              </a:ext>
            </a:extLst>
          </p:cNvPr>
          <p:cNvSpPr>
            <a:spLocks noEditPoints="1"/>
          </p:cNvSpPr>
          <p:nvPr userDrawn="1"/>
        </p:nvSpPr>
        <p:spPr bwMode="auto">
          <a:xfrm>
            <a:off x="15134242" y="9028982"/>
            <a:ext cx="654007" cy="635000"/>
          </a:xfrm>
          <a:custGeom>
            <a:avLst/>
            <a:gdLst>
              <a:gd name="T0" fmla="*/ 53 w 206"/>
              <a:gd name="T1" fmla="*/ 22 h 200"/>
              <a:gd name="T2" fmla="*/ 56 w 206"/>
              <a:gd name="T3" fmla="*/ 19 h 200"/>
              <a:gd name="T4" fmla="*/ 62 w 206"/>
              <a:gd name="T5" fmla="*/ 16 h 200"/>
              <a:gd name="T6" fmla="*/ 75 w 206"/>
              <a:gd name="T7" fmla="*/ 0 h 200"/>
              <a:gd name="T8" fmla="*/ 81 w 206"/>
              <a:gd name="T9" fmla="*/ 3 h 200"/>
              <a:gd name="T10" fmla="*/ 84 w 206"/>
              <a:gd name="T11" fmla="*/ 16 h 200"/>
              <a:gd name="T12" fmla="*/ 91 w 206"/>
              <a:gd name="T13" fmla="*/ 22 h 200"/>
              <a:gd name="T14" fmla="*/ 100 w 206"/>
              <a:gd name="T15" fmla="*/ 19 h 200"/>
              <a:gd name="T16" fmla="*/ 116 w 206"/>
              <a:gd name="T17" fmla="*/ 22 h 200"/>
              <a:gd name="T18" fmla="*/ 128 w 206"/>
              <a:gd name="T19" fmla="*/ 34 h 200"/>
              <a:gd name="T20" fmla="*/ 134 w 206"/>
              <a:gd name="T21" fmla="*/ 37 h 200"/>
              <a:gd name="T22" fmla="*/ 144 w 206"/>
              <a:gd name="T23" fmla="*/ 41 h 200"/>
              <a:gd name="T24" fmla="*/ 153 w 206"/>
              <a:gd name="T25" fmla="*/ 41 h 200"/>
              <a:gd name="T26" fmla="*/ 159 w 206"/>
              <a:gd name="T27" fmla="*/ 41 h 200"/>
              <a:gd name="T28" fmla="*/ 169 w 206"/>
              <a:gd name="T29" fmla="*/ 28 h 200"/>
              <a:gd name="T30" fmla="*/ 175 w 206"/>
              <a:gd name="T31" fmla="*/ 28 h 200"/>
              <a:gd name="T32" fmla="*/ 184 w 206"/>
              <a:gd name="T33" fmla="*/ 25 h 200"/>
              <a:gd name="T34" fmla="*/ 191 w 206"/>
              <a:gd name="T35" fmla="*/ 31 h 200"/>
              <a:gd name="T36" fmla="*/ 200 w 206"/>
              <a:gd name="T37" fmla="*/ 31 h 200"/>
              <a:gd name="T38" fmla="*/ 187 w 206"/>
              <a:gd name="T39" fmla="*/ 50 h 200"/>
              <a:gd name="T40" fmla="*/ 203 w 206"/>
              <a:gd name="T41" fmla="*/ 141 h 200"/>
              <a:gd name="T42" fmla="*/ 194 w 206"/>
              <a:gd name="T43" fmla="*/ 147 h 200"/>
              <a:gd name="T44" fmla="*/ 191 w 206"/>
              <a:gd name="T45" fmla="*/ 150 h 200"/>
              <a:gd name="T46" fmla="*/ 184 w 206"/>
              <a:gd name="T47" fmla="*/ 156 h 200"/>
              <a:gd name="T48" fmla="*/ 175 w 206"/>
              <a:gd name="T49" fmla="*/ 159 h 200"/>
              <a:gd name="T50" fmla="*/ 175 w 206"/>
              <a:gd name="T51" fmla="*/ 163 h 200"/>
              <a:gd name="T52" fmla="*/ 172 w 206"/>
              <a:gd name="T53" fmla="*/ 169 h 200"/>
              <a:gd name="T54" fmla="*/ 169 w 206"/>
              <a:gd name="T55" fmla="*/ 175 h 200"/>
              <a:gd name="T56" fmla="*/ 166 w 206"/>
              <a:gd name="T57" fmla="*/ 181 h 200"/>
              <a:gd name="T58" fmla="*/ 156 w 206"/>
              <a:gd name="T59" fmla="*/ 200 h 200"/>
              <a:gd name="T60" fmla="*/ 150 w 206"/>
              <a:gd name="T61" fmla="*/ 200 h 200"/>
              <a:gd name="T62" fmla="*/ 125 w 206"/>
              <a:gd name="T63" fmla="*/ 181 h 200"/>
              <a:gd name="T64" fmla="*/ 125 w 206"/>
              <a:gd name="T65" fmla="*/ 178 h 200"/>
              <a:gd name="T66" fmla="*/ 47 w 206"/>
              <a:gd name="T67" fmla="*/ 128 h 200"/>
              <a:gd name="T68" fmla="*/ 47 w 206"/>
              <a:gd name="T69" fmla="*/ 109 h 200"/>
              <a:gd name="T70" fmla="*/ 53 w 206"/>
              <a:gd name="T71" fmla="*/ 100 h 200"/>
              <a:gd name="T72" fmla="*/ 56 w 206"/>
              <a:gd name="T73" fmla="*/ 94 h 200"/>
              <a:gd name="T74" fmla="*/ 62 w 206"/>
              <a:gd name="T75" fmla="*/ 88 h 200"/>
              <a:gd name="T76" fmla="*/ 69 w 206"/>
              <a:gd name="T77" fmla="*/ 84 h 200"/>
              <a:gd name="T78" fmla="*/ 69 w 206"/>
              <a:gd name="T79" fmla="*/ 78 h 200"/>
              <a:gd name="T80" fmla="*/ 75 w 206"/>
              <a:gd name="T81" fmla="*/ 69 h 200"/>
              <a:gd name="T82" fmla="*/ 69 w 206"/>
              <a:gd name="T83" fmla="*/ 63 h 200"/>
              <a:gd name="T84" fmla="*/ 69 w 206"/>
              <a:gd name="T85" fmla="*/ 59 h 200"/>
              <a:gd name="T86" fmla="*/ 65 w 206"/>
              <a:gd name="T87" fmla="*/ 50 h 200"/>
              <a:gd name="T88" fmla="*/ 59 w 206"/>
              <a:gd name="T89" fmla="*/ 44 h 200"/>
              <a:gd name="T90" fmla="*/ 56 w 206"/>
              <a:gd name="T91" fmla="*/ 37 h 200"/>
              <a:gd name="T92" fmla="*/ 53 w 206"/>
              <a:gd name="T93" fmla="*/ 34 h 200"/>
              <a:gd name="T94" fmla="*/ 50 w 206"/>
              <a:gd name="T95" fmla="*/ 25 h 200"/>
              <a:gd name="T96" fmla="*/ 50 w 206"/>
              <a:gd name="T97" fmla="*/ 25 h 200"/>
              <a:gd name="T98" fmla="*/ 0 w 206"/>
              <a:gd name="T99" fmla="*/ 131 h 200"/>
              <a:gd name="T100" fmla="*/ 15 w 206"/>
              <a:gd name="T101" fmla="*/ 131 h 200"/>
              <a:gd name="T102" fmla="*/ 0 w 206"/>
              <a:gd name="T103" fmla="*/ 13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6" h="200">
                <a:moveTo>
                  <a:pt x="50" y="25"/>
                </a:moveTo>
                <a:lnTo>
                  <a:pt x="53" y="22"/>
                </a:lnTo>
                <a:lnTo>
                  <a:pt x="56" y="22"/>
                </a:lnTo>
                <a:lnTo>
                  <a:pt x="56" y="19"/>
                </a:lnTo>
                <a:lnTo>
                  <a:pt x="59" y="16"/>
                </a:lnTo>
                <a:lnTo>
                  <a:pt x="62" y="16"/>
                </a:lnTo>
                <a:lnTo>
                  <a:pt x="69" y="9"/>
                </a:lnTo>
                <a:lnTo>
                  <a:pt x="75" y="0"/>
                </a:lnTo>
                <a:lnTo>
                  <a:pt x="78" y="3"/>
                </a:lnTo>
                <a:lnTo>
                  <a:pt x="81" y="3"/>
                </a:lnTo>
                <a:lnTo>
                  <a:pt x="84" y="3"/>
                </a:lnTo>
                <a:lnTo>
                  <a:pt x="84" y="16"/>
                </a:lnTo>
                <a:lnTo>
                  <a:pt x="87" y="19"/>
                </a:lnTo>
                <a:lnTo>
                  <a:pt x="91" y="22"/>
                </a:lnTo>
                <a:lnTo>
                  <a:pt x="97" y="19"/>
                </a:lnTo>
                <a:lnTo>
                  <a:pt x="100" y="19"/>
                </a:lnTo>
                <a:lnTo>
                  <a:pt x="109" y="19"/>
                </a:lnTo>
                <a:lnTo>
                  <a:pt x="116" y="22"/>
                </a:lnTo>
                <a:lnTo>
                  <a:pt x="122" y="28"/>
                </a:lnTo>
                <a:lnTo>
                  <a:pt x="128" y="34"/>
                </a:lnTo>
                <a:lnTo>
                  <a:pt x="131" y="37"/>
                </a:lnTo>
                <a:lnTo>
                  <a:pt x="134" y="37"/>
                </a:lnTo>
                <a:lnTo>
                  <a:pt x="141" y="37"/>
                </a:lnTo>
                <a:lnTo>
                  <a:pt x="144" y="41"/>
                </a:lnTo>
                <a:lnTo>
                  <a:pt x="150" y="37"/>
                </a:lnTo>
                <a:lnTo>
                  <a:pt x="153" y="41"/>
                </a:lnTo>
                <a:lnTo>
                  <a:pt x="156" y="41"/>
                </a:lnTo>
                <a:lnTo>
                  <a:pt x="159" y="41"/>
                </a:lnTo>
                <a:lnTo>
                  <a:pt x="166" y="31"/>
                </a:lnTo>
                <a:lnTo>
                  <a:pt x="169" y="28"/>
                </a:lnTo>
                <a:lnTo>
                  <a:pt x="172" y="28"/>
                </a:lnTo>
                <a:lnTo>
                  <a:pt x="175" y="28"/>
                </a:lnTo>
                <a:lnTo>
                  <a:pt x="175" y="25"/>
                </a:lnTo>
                <a:lnTo>
                  <a:pt x="184" y="25"/>
                </a:lnTo>
                <a:lnTo>
                  <a:pt x="187" y="28"/>
                </a:lnTo>
                <a:lnTo>
                  <a:pt x="191" y="31"/>
                </a:lnTo>
                <a:lnTo>
                  <a:pt x="194" y="31"/>
                </a:lnTo>
                <a:lnTo>
                  <a:pt x="200" y="31"/>
                </a:lnTo>
                <a:lnTo>
                  <a:pt x="206" y="31"/>
                </a:lnTo>
                <a:lnTo>
                  <a:pt x="187" y="50"/>
                </a:lnTo>
                <a:lnTo>
                  <a:pt x="187" y="128"/>
                </a:lnTo>
                <a:lnTo>
                  <a:pt x="203" y="141"/>
                </a:lnTo>
                <a:lnTo>
                  <a:pt x="203" y="141"/>
                </a:lnTo>
                <a:lnTo>
                  <a:pt x="194" y="147"/>
                </a:lnTo>
                <a:lnTo>
                  <a:pt x="194" y="150"/>
                </a:lnTo>
                <a:lnTo>
                  <a:pt x="191" y="150"/>
                </a:lnTo>
                <a:lnTo>
                  <a:pt x="194" y="153"/>
                </a:lnTo>
                <a:lnTo>
                  <a:pt x="184" y="156"/>
                </a:lnTo>
                <a:lnTo>
                  <a:pt x="181" y="159"/>
                </a:lnTo>
                <a:lnTo>
                  <a:pt x="175" y="159"/>
                </a:lnTo>
                <a:lnTo>
                  <a:pt x="175" y="163"/>
                </a:lnTo>
                <a:lnTo>
                  <a:pt x="175" y="163"/>
                </a:lnTo>
                <a:lnTo>
                  <a:pt x="172" y="166"/>
                </a:lnTo>
                <a:lnTo>
                  <a:pt x="172" y="169"/>
                </a:lnTo>
                <a:lnTo>
                  <a:pt x="172" y="169"/>
                </a:lnTo>
                <a:lnTo>
                  <a:pt x="169" y="175"/>
                </a:lnTo>
                <a:lnTo>
                  <a:pt x="166" y="178"/>
                </a:lnTo>
                <a:lnTo>
                  <a:pt x="166" y="181"/>
                </a:lnTo>
                <a:lnTo>
                  <a:pt x="162" y="188"/>
                </a:lnTo>
                <a:lnTo>
                  <a:pt x="156" y="200"/>
                </a:lnTo>
                <a:lnTo>
                  <a:pt x="150" y="200"/>
                </a:lnTo>
                <a:lnTo>
                  <a:pt x="150" y="200"/>
                </a:lnTo>
                <a:lnTo>
                  <a:pt x="125" y="185"/>
                </a:lnTo>
                <a:lnTo>
                  <a:pt x="125" y="181"/>
                </a:lnTo>
                <a:lnTo>
                  <a:pt x="122" y="178"/>
                </a:lnTo>
                <a:lnTo>
                  <a:pt x="125" y="178"/>
                </a:lnTo>
                <a:lnTo>
                  <a:pt x="119" y="172"/>
                </a:lnTo>
                <a:lnTo>
                  <a:pt x="47" y="128"/>
                </a:lnTo>
                <a:lnTo>
                  <a:pt x="44" y="128"/>
                </a:lnTo>
                <a:lnTo>
                  <a:pt x="47" y="109"/>
                </a:lnTo>
                <a:lnTo>
                  <a:pt x="47" y="103"/>
                </a:lnTo>
                <a:lnTo>
                  <a:pt x="53" y="100"/>
                </a:lnTo>
                <a:lnTo>
                  <a:pt x="53" y="97"/>
                </a:lnTo>
                <a:lnTo>
                  <a:pt x="56" y="94"/>
                </a:lnTo>
                <a:lnTo>
                  <a:pt x="59" y="91"/>
                </a:lnTo>
                <a:lnTo>
                  <a:pt x="62" y="88"/>
                </a:lnTo>
                <a:lnTo>
                  <a:pt x="59" y="84"/>
                </a:lnTo>
                <a:lnTo>
                  <a:pt x="69" y="84"/>
                </a:lnTo>
                <a:lnTo>
                  <a:pt x="69" y="81"/>
                </a:lnTo>
                <a:lnTo>
                  <a:pt x="69" y="78"/>
                </a:lnTo>
                <a:lnTo>
                  <a:pt x="75" y="72"/>
                </a:lnTo>
                <a:lnTo>
                  <a:pt x="75" y="69"/>
                </a:lnTo>
                <a:lnTo>
                  <a:pt x="72" y="66"/>
                </a:lnTo>
                <a:lnTo>
                  <a:pt x="69" y="63"/>
                </a:lnTo>
                <a:lnTo>
                  <a:pt x="72" y="59"/>
                </a:lnTo>
                <a:lnTo>
                  <a:pt x="69" y="59"/>
                </a:lnTo>
                <a:lnTo>
                  <a:pt x="65" y="56"/>
                </a:lnTo>
                <a:lnTo>
                  <a:pt x="65" y="50"/>
                </a:lnTo>
                <a:lnTo>
                  <a:pt x="59" y="47"/>
                </a:lnTo>
                <a:lnTo>
                  <a:pt x="59" y="44"/>
                </a:lnTo>
                <a:lnTo>
                  <a:pt x="59" y="37"/>
                </a:lnTo>
                <a:lnTo>
                  <a:pt x="56" y="37"/>
                </a:lnTo>
                <a:lnTo>
                  <a:pt x="56" y="34"/>
                </a:lnTo>
                <a:lnTo>
                  <a:pt x="53" y="34"/>
                </a:lnTo>
                <a:lnTo>
                  <a:pt x="53" y="28"/>
                </a:lnTo>
                <a:lnTo>
                  <a:pt x="50" y="25"/>
                </a:lnTo>
                <a:lnTo>
                  <a:pt x="50" y="25"/>
                </a:lnTo>
                <a:lnTo>
                  <a:pt x="50" y="25"/>
                </a:lnTo>
                <a:lnTo>
                  <a:pt x="50" y="25"/>
                </a:lnTo>
                <a:close/>
                <a:moveTo>
                  <a:pt x="0" y="131"/>
                </a:moveTo>
                <a:lnTo>
                  <a:pt x="6" y="131"/>
                </a:lnTo>
                <a:lnTo>
                  <a:pt x="15" y="131"/>
                </a:lnTo>
                <a:lnTo>
                  <a:pt x="0" y="131"/>
                </a:lnTo>
                <a:lnTo>
                  <a:pt x="0" y="131"/>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2" name="Freeform 110">
            <a:extLst>
              <a:ext uri="{FF2B5EF4-FFF2-40B4-BE49-F238E27FC236}">
                <a16:creationId xmlns:a16="http://schemas.microsoft.com/office/drawing/2014/main" id="{E0EBD3E9-9003-52B9-FA3B-D9676863D9F0}"/>
              </a:ext>
            </a:extLst>
          </p:cNvPr>
          <p:cNvSpPr>
            <a:spLocks/>
          </p:cNvSpPr>
          <p:nvPr userDrawn="1"/>
        </p:nvSpPr>
        <p:spPr bwMode="auto">
          <a:xfrm>
            <a:off x="15004070" y="9108358"/>
            <a:ext cx="368278" cy="358776"/>
          </a:xfrm>
          <a:custGeom>
            <a:avLst/>
            <a:gdLst>
              <a:gd name="T0" fmla="*/ 88 w 116"/>
              <a:gd name="T1" fmla="*/ 78 h 113"/>
              <a:gd name="T2" fmla="*/ 94 w 116"/>
              <a:gd name="T3" fmla="*/ 72 h 113"/>
              <a:gd name="T4" fmla="*/ 100 w 116"/>
              <a:gd name="T5" fmla="*/ 66 h 113"/>
              <a:gd name="T6" fmla="*/ 100 w 116"/>
              <a:gd name="T7" fmla="*/ 59 h 113"/>
              <a:gd name="T8" fmla="*/ 110 w 116"/>
              <a:gd name="T9" fmla="*/ 56 h 113"/>
              <a:gd name="T10" fmla="*/ 116 w 116"/>
              <a:gd name="T11" fmla="*/ 47 h 113"/>
              <a:gd name="T12" fmla="*/ 113 w 116"/>
              <a:gd name="T13" fmla="*/ 41 h 113"/>
              <a:gd name="T14" fmla="*/ 113 w 116"/>
              <a:gd name="T15" fmla="*/ 34 h 113"/>
              <a:gd name="T16" fmla="*/ 106 w 116"/>
              <a:gd name="T17" fmla="*/ 31 h 113"/>
              <a:gd name="T18" fmla="*/ 100 w 116"/>
              <a:gd name="T19" fmla="*/ 22 h 113"/>
              <a:gd name="T20" fmla="*/ 100 w 116"/>
              <a:gd name="T21" fmla="*/ 12 h 113"/>
              <a:gd name="T22" fmla="*/ 97 w 116"/>
              <a:gd name="T23" fmla="*/ 9 h 113"/>
              <a:gd name="T24" fmla="*/ 94 w 116"/>
              <a:gd name="T25" fmla="*/ 3 h 113"/>
              <a:gd name="T26" fmla="*/ 88 w 116"/>
              <a:gd name="T27" fmla="*/ 3 h 113"/>
              <a:gd name="T28" fmla="*/ 81 w 116"/>
              <a:gd name="T29" fmla="*/ 9 h 113"/>
              <a:gd name="T30" fmla="*/ 69 w 116"/>
              <a:gd name="T31" fmla="*/ 9 h 113"/>
              <a:gd name="T32" fmla="*/ 63 w 116"/>
              <a:gd name="T33" fmla="*/ 9 h 113"/>
              <a:gd name="T34" fmla="*/ 56 w 116"/>
              <a:gd name="T35" fmla="*/ 9 h 113"/>
              <a:gd name="T36" fmla="*/ 56 w 116"/>
              <a:gd name="T37" fmla="*/ 16 h 113"/>
              <a:gd name="T38" fmla="*/ 47 w 116"/>
              <a:gd name="T39" fmla="*/ 16 h 113"/>
              <a:gd name="T40" fmla="*/ 44 w 116"/>
              <a:gd name="T41" fmla="*/ 9 h 113"/>
              <a:gd name="T42" fmla="*/ 38 w 116"/>
              <a:gd name="T43" fmla="*/ 9 h 113"/>
              <a:gd name="T44" fmla="*/ 31 w 116"/>
              <a:gd name="T45" fmla="*/ 9 h 113"/>
              <a:gd name="T46" fmla="*/ 31 w 116"/>
              <a:gd name="T47" fmla="*/ 16 h 113"/>
              <a:gd name="T48" fmla="*/ 31 w 116"/>
              <a:gd name="T49" fmla="*/ 16 h 113"/>
              <a:gd name="T50" fmla="*/ 28 w 116"/>
              <a:gd name="T51" fmla="*/ 22 h 113"/>
              <a:gd name="T52" fmla="*/ 25 w 116"/>
              <a:gd name="T53" fmla="*/ 34 h 113"/>
              <a:gd name="T54" fmla="*/ 28 w 116"/>
              <a:gd name="T55" fmla="*/ 41 h 113"/>
              <a:gd name="T56" fmla="*/ 31 w 116"/>
              <a:gd name="T57" fmla="*/ 47 h 113"/>
              <a:gd name="T58" fmla="*/ 22 w 116"/>
              <a:gd name="T59" fmla="*/ 63 h 113"/>
              <a:gd name="T60" fmla="*/ 13 w 116"/>
              <a:gd name="T61" fmla="*/ 72 h 113"/>
              <a:gd name="T62" fmla="*/ 3 w 116"/>
              <a:gd name="T63" fmla="*/ 88 h 113"/>
              <a:gd name="T64" fmla="*/ 3 w 116"/>
              <a:gd name="T65" fmla="*/ 100 h 113"/>
              <a:gd name="T66" fmla="*/ 0 w 116"/>
              <a:gd name="T67" fmla="*/ 113 h 113"/>
              <a:gd name="T68" fmla="*/ 0 w 116"/>
              <a:gd name="T69" fmla="*/ 113 h 113"/>
              <a:gd name="T70" fmla="*/ 10 w 116"/>
              <a:gd name="T71" fmla="*/ 109 h 113"/>
              <a:gd name="T72" fmla="*/ 13 w 116"/>
              <a:gd name="T73" fmla="*/ 113 h 113"/>
              <a:gd name="T74" fmla="*/ 16 w 116"/>
              <a:gd name="T75" fmla="*/ 113 h 113"/>
              <a:gd name="T76" fmla="*/ 19 w 116"/>
              <a:gd name="T77" fmla="*/ 109 h 113"/>
              <a:gd name="T78" fmla="*/ 22 w 116"/>
              <a:gd name="T79" fmla="*/ 106 h 113"/>
              <a:gd name="T80" fmla="*/ 25 w 116"/>
              <a:gd name="T81" fmla="*/ 106 h 113"/>
              <a:gd name="T82" fmla="*/ 41 w 116"/>
              <a:gd name="T83" fmla="*/ 106 h 113"/>
              <a:gd name="T84" fmla="*/ 85 w 116"/>
              <a:gd name="T85" fmla="*/ 10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6" h="113">
                <a:moveTo>
                  <a:pt x="88" y="84"/>
                </a:moveTo>
                <a:lnTo>
                  <a:pt x="88" y="78"/>
                </a:lnTo>
                <a:lnTo>
                  <a:pt x="94" y="75"/>
                </a:lnTo>
                <a:lnTo>
                  <a:pt x="94" y="72"/>
                </a:lnTo>
                <a:lnTo>
                  <a:pt x="97" y="69"/>
                </a:lnTo>
                <a:lnTo>
                  <a:pt x="100" y="66"/>
                </a:lnTo>
                <a:lnTo>
                  <a:pt x="103" y="63"/>
                </a:lnTo>
                <a:lnTo>
                  <a:pt x="100" y="59"/>
                </a:lnTo>
                <a:lnTo>
                  <a:pt x="110" y="59"/>
                </a:lnTo>
                <a:lnTo>
                  <a:pt x="110" y="56"/>
                </a:lnTo>
                <a:lnTo>
                  <a:pt x="110" y="53"/>
                </a:lnTo>
                <a:lnTo>
                  <a:pt x="116" y="47"/>
                </a:lnTo>
                <a:lnTo>
                  <a:pt x="116" y="44"/>
                </a:lnTo>
                <a:lnTo>
                  <a:pt x="113" y="41"/>
                </a:lnTo>
                <a:lnTo>
                  <a:pt x="110" y="38"/>
                </a:lnTo>
                <a:lnTo>
                  <a:pt x="113" y="34"/>
                </a:lnTo>
                <a:lnTo>
                  <a:pt x="110" y="34"/>
                </a:lnTo>
                <a:lnTo>
                  <a:pt x="106" y="31"/>
                </a:lnTo>
                <a:lnTo>
                  <a:pt x="106" y="25"/>
                </a:lnTo>
                <a:lnTo>
                  <a:pt x="100" y="22"/>
                </a:lnTo>
                <a:lnTo>
                  <a:pt x="100" y="19"/>
                </a:lnTo>
                <a:lnTo>
                  <a:pt x="100" y="12"/>
                </a:lnTo>
                <a:lnTo>
                  <a:pt x="97" y="12"/>
                </a:lnTo>
                <a:lnTo>
                  <a:pt x="97" y="9"/>
                </a:lnTo>
                <a:lnTo>
                  <a:pt x="94" y="9"/>
                </a:lnTo>
                <a:lnTo>
                  <a:pt x="94" y="3"/>
                </a:lnTo>
                <a:lnTo>
                  <a:pt x="91" y="0"/>
                </a:lnTo>
                <a:lnTo>
                  <a:pt x="88" y="3"/>
                </a:lnTo>
                <a:lnTo>
                  <a:pt x="85" y="6"/>
                </a:lnTo>
                <a:lnTo>
                  <a:pt x="81" y="9"/>
                </a:lnTo>
                <a:lnTo>
                  <a:pt x="75" y="9"/>
                </a:lnTo>
                <a:lnTo>
                  <a:pt x="69" y="9"/>
                </a:lnTo>
                <a:lnTo>
                  <a:pt x="66" y="9"/>
                </a:lnTo>
                <a:lnTo>
                  <a:pt x="63" y="9"/>
                </a:lnTo>
                <a:lnTo>
                  <a:pt x="60" y="12"/>
                </a:lnTo>
                <a:lnTo>
                  <a:pt x="56" y="9"/>
                </a:lnTo>
                <a:lnTo>
                  <a:pt x="56" y="12"/>
                </a:lnTo>
                <a:lnTo>
                  <a:pt x="56" y="16"/>
                </a:lnTo>
                <a:lnTo>
                  <a:pt x="53" y="16"/>
                </a:lnTo>
                <a:lnTo>
                  <a:pt x="47" y="16"/>
                </a:lnTo>
                <a:lnTo>
                  <a:pt x="47" y="12"/>
                </a:lnTo>
                <a:lnTo>
                  <a:pt x="44" y="9"/>
                </a:lnTo>
                <a:lnTo>
                  <a:pt x="41" y="12"/>
                </a:lnTo>
                <a:lnTo>
                  <a:pt x="38" y="9"/>
                </a:lnTo>
                <a:lnTo>
                  <a:pt x="31" y="9"/>
                </a:lnTo>
                <a:lnTo>
                  <a:pt x="31" y="9"/>
                </a:lnTo>
                <a:lnTo>
                  <a:pt x="31" y="12"/>
                </a:lnTo>
                <a:lnTo>
                  <a:pt x="31" y="16"/>
                </a:lnTo>
                <a:lnTo>
                  <a:pt x="31" y="16"/>
                </a:lnTo>
                <a:lnTo>
                  <a:pt x="31" y="16"/>
                </a:lnTo>
                <a:lnTo>
                  <a:pt x="28" y="19"/>
                </a:lnTo>
                <a:lnTo>
                  <a:pt x="28" y="22"/>
                </a:lnTo>
                <a:lnTo>
                  <a:pt x="28" y="28"/>
                </a:lnTo>
                <a:lnTo>
                  <a:pt x="25" y="34"/>
                </a:lnTo>
                <a:lnTo>
                  <a:pt x="25" y="38"/>
                </a:lnTo>
                <a:lnTo>
                  <a:pt x="28" y="41"/>
                </a:lnTo>
                <a:lnTo>
                  <a:pt x="31" y="44"/>
                </a:lnTo>
                <a:lnTo>
                  <a:pt x="31" y="47"/>
                </a:lnTo>
                <a:lnTo>
                  <a:pt x="31" y="50"/>
                </a:lnTo>
                <a:lnTo>
                  <a:pt x="22" y="63"/>
                </a:lnTo>
                <a:lnTo>
                  <a:pt x="16" y="69"/>
                </a:lnTo>
                <a:lnTo>
                  <a:pt x="13" y="72"/>
                </a:lnTo>
                <a:lnTo>
                  <a:pt x="6" y="84"/>
                </a:lnTo>
                <a:lnTo>
                  <a:pt x="3" y="88"/>
                </a:lnTo>
                <a:lnTo>
                  <a:pt x="3" y="94"/>
                </a:lnTo>
                <a:lnTo>
                  <a:pt x="3" y="100"/>
                </a:lnTo>
                <a:lnTo>
                  <a:pt x="0" y="106"/>
                </a:lnTo>
                <a:lnTo>
                  <a:pt x="0" y="113"/>
                </a:lnTo>
                <a:lnTo>
                  <a:pt x="0" y="113"/>
                </a:lnTo>
                <a:lnTo>
                  <a:pt x="0" y="113"/>
                </a:lnTo>
                <a:lnTo>
                  <a:pt x="3" y="113"/>
                </a:lnTo>
                <a:lnTo>
                  <a:pt x="10" y="109"/>
                </a:lnTo>
                <a:lnTo>
                  <a:pt x="10" y="113"/>
                </a:lnTo>
                <a:lnTo>
                  <a:pt x="13" y="113"/>
                </a:lnTo>
                <a:lnTo>
                  <a:pt x="16" y="113"/>
                </a:lnTo>
                <a:lnTo>
                  <a:pt x="16" y="113"/>
                </a:lnTo>
                <a:lnTo>
                  <a:pt x="16" y="109"/>
                </a:lnTo>
                <a:lnTo>
                  <a:pt x="19" y="109"/>
                </a:lnTo>
                <a:lnTo>
                  <a:pt x="19" y="109"/>
                </a:lnTo>
                <a:lnTo>
                  <a:pt x="22" y="106"/>
                </a:lnTo>
                <a:lnTo>
                  <a:pt x="22" y="106"/>
                </a:lnTo>
                <a:lnTo>
                  <a:pt x="25" y="106"/>
                </a:lnTo>
                <a:lnTo>
                  <a:pt x="41" y="106"/>
                </a:lnTo>
                <a:lnTo>
                  <a:pt x="41" y="106"/>
                </a:lnTo>
                <a:lnTo>
                  <a:pt x="56" y="106"/>
                </a:lnTo>
                <a:lnTo>
                  <a:pt x="85" y="103"/>
                </a:lnTo>
                <a:lnTo>
                  <a:pt x="88" y="84"/>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3" name="Freeform 111">
            <a:extLst>
              <a:ext uri="{FF2B5EF4-FFF2-40B4-BE49-F238E27FC236}">
                <a16:creationId xmlns:a16="http://schemas.microsoft.com/office/drawing/2014/main" id="{DB9F04C6-5A37-A0A1-C344-0C16117E3E28}"/>
              </a:ext>
            </a:extLst>
          </p:cNvPr>
          <p:cNvSpPr>
            <a:spLocks/>
          </p:cNvSpPr>
          <p:nvPr userDrawn="1"/>
        </p:nvSpPr>
        <p:spPr bwMode="auto">
          <a:xfrm>
            <a:off x="14070682" y="8679735"/>
            <a:ext cx="815923" cy="549278"/>
          </a:xfrm>
          <a:custGeom>
            <a:avLst/>
            <a:gdLst>
              <a:gd name="T0" fmla="*/ 163 w 257"/>
              <a:gd name="T1" fmla="*/ 7 h 173"/>
              <a:gd name="T2" fmla="*/ 175 w 257"/>
              <a:gd name="T3" fmla="*/ 25 h 173"/>
              <a:gd name="T4" fmla="*/ 172 w 257"/>
              <a:gd name="T5" fmla="*/ 38 h 173"/>
              <a:gd name="T6" fmla="*/ 182 w 257"/>
              <a:gd name="T7" fmla="*/ 44 h 173"/>
              <a:gd name="T8" fmla="*/ 188 w 257"/>
              <a:gd name="T9" fmla="*/ 54 h 173"/>
              <a:gd name="T10" fmla="*/ 204 w 257"/>
              <a:gd name="T11" fmla="*/ 60 h 173"/>
              <a:gd name="T12" fmla="*/ 213 w 257"/>
              <a:gd name="T13" fmla="*/ 66 h 173"/>
              <a:gd name="T14" fmla="*/ 207 w 257"/>
              <a:gd name="T15" fmla="*/ 76 h 173"/>
              <a:gd name="T16" fmla="*/ 219 w 257"/>
              <a:gd name="T17" fmla="*/ 79 h 173"/>
              <a:gd name="T18" fmla="*/ 229 w 257"/>
              <a:gd name="T19" fmla="*/ 91 h 173"/>
              <a:gd name="T20" fmla="*/ 238 w 257"/>
              <a:gd name="T21" fmla="*/ 101 h 173"/>
              <a:gd name="T22" fmla="*/ 247 w 257"/>
              <a:gd name="T23" fmla="*/ 107 h 173"/>
              <a:gd name="T24" fmla="*/ 257 w 257"/>
              <a:gd name="T25" fmla="*/ 119 h 173"/>
              <a:gd name="T26" fmla="*/ 247 w 257"/>
              <a:gd name="T27" fmla="*/ 119 h 173"/>
              <a:gd name="T28" fmla="*/ 229 w 257"/>
              <a:gd name="T29" fmla="*/ 119 h 173"/>
              <a:gd name="T30" fmla="*/ 219 w 257"/>
              <a:gd name="T31" fmla="*/ 116 h 173"/>
              <a:gd name="T32" fmla="*/ 213 w 257"/>
              <a:gd name="T33" fmla="*/ 116 h 173"/>
              <a:gd name="T34" fmla="*/ 200 w 257"/>
              <a:gd name="T35" fmla="*/ 122 h 173"/>
              <a:gd name="T36" fmla="*/ 194 w 257"/>
              <a:gd name="T37" fmla="*/ 122 h 173"/>
              <a:gd name="T38" fmla="*/ 182 w 257"/>
              <a:gd name="T39" fmla="*/ 126 h 173"/>
              <a:gd name="T40" fmla="*/ 166 w 257"/>
              <a:gd name="T41" fmla="*/ 126 h 173"/>
              <a:gd name="T42" fmla="*/ 154 w 257"/>
              <a:gd name="T43" fmla="*/ 132 h 173"/>
              <a:gd name="T44" fmla="*/ 150 w 257"/>
              <a:gd name="T45" fmla="*/ 138 h 173"/>
              <a:gd name="T46" fmla="*/ 138 w 257"/>
              <a:gd name="T47" fmla="*/ 135 h 173"/>
              <a:gd name="T48" fmla="*/ 122 w 257"/>
              <a:gd name="T49" fmla="*/ 132 h 173"/>
              <a:gd name="T50" fmla="*/ 110 w 257"/>
              <a:gd name="T51" fmla="*/ 126 h 173"/>
              <a:gd name="T52" fmla="*/ 97 w 257"/>
              <a:gd name="T53" fmla="*/ 119 h 173"/>
              <a:gd name="T54" fmla="*/ 88 w 257"/>
              <a:gd name="T55" fmla="*/ 122 h 173"/>
              <a:gd name="T56" fmla="*/ 85 w 257"/>
              <a:gd name="T57" fmla="*/ 132 h 173"/>
              <a:gd name="T58" fmla="*/ 82 w 257"/>
              <a:gd name="T59" fmla="*/ 141 h 173"/>
              <a:gd name="T60" fmla="*/ 79 w 257"/>
              <a:gd name="T61" fmla="*/ 147 h 173"/>
              <a:gd name="T62" fmla="*/ 69 w 257"/>
              <a:gd name="T63" fmla="*/ 144 h 173"/>
              <a:gd name="T64" fmla="*/ 50 w 257"/>
              <a:gd name="T65" fmla="*/ 151 h 173"/>
              <a:gd name="T66" fmla="*/ 32 w 257"/>
              <a:gd name="T67" fmla="*/ 173 h 173"/>
              <a:gd name="T68" fmla="*/ 32 w 257"/>
              <a:gd name="T69" fmla="*/ 163 h 173"/>
              <a:gd name="T70" fmla="*/ 16 w 257"/>
              <a:gd name="T71" fmla="*/ 144 h 173"/>
              <a:gd name="T72" fmla="*/ 4 w 257"/>
              <a:gd name="T73" fmla="*/ 132 h 173"/>
              <a:gd name="T74" fmla="*/ 0 w 257"/>
              <a:gd name="T75" fmla="*/ 110 h 173"/>
              <a:gd name="T76" fmla="*/ 4 w 257"/>
              <a:gd name="T77" fmla="*/ 94 h 173"/>
              <a:gd name="T78" fmla="*/ 16 w 257"/>
              <a:gd name="T79" fmla="*/ 76 h 173"/>
              <a:gd name="T80" fmla="*/ 22 w 257"/>
              <a:gd name="T81" fmla="*/ 69 h 173"/>
              <a:gd name="T82" fmla="*/ 35 w 257"/>
              <a:gd name="T83" fmla="*/ 72 h 173"/>
              <a:gd name="T84" fmla="*/ 44 w 257"/>
              <a:gd name="T85" fmla="*/ 63 h 173"/>
              <a:gd name="T86" fmla="*/ 54 w 257"/>
              <a:gd name="T87" fmla="*/ 66 h 173"/>
              <a:gd name="T88" fmla="*/ 82 w 257"/>
              <a:gd name="T89" fmla="*/ 57 h 173"/>
              <a:gd name="T90" fmla="*/ 88 w 257"/>
              <a:gd name="T91" fmla="*/ 47 h 173"/>
              <a:gd name="T92" fmla="*/ 91 w 257"/>
              <a:gd name="T93" fmla="*/ 41 h 173"/>
              <a:gd name="T94" fmla="*/ 110 w 257"/>
              <a:gd name="T95" fmla="*/ 41 h 173"/>
              <a:gd name="T96" fmla="*/ 122 w 257"/>
              <a:gd name="T97" fmla="*/ 32 h 173"/>
              <a:gd name="T98" fmla="*/ 125 w 257"/>
              <a:gd name="T99" fmla="*/ 22 h 173"/>
              <a:gd name="T100" fmla="*/ 138 w 257"/>
              <a:gd name="T101" fmla="*/ 13 h 173"/>
              <a:gd name="T102" fmla="*/ 144 w 257"/>
              <a:gd name="T103" fmla="*/ 4 h 173"/>
              <a:gd name="T104" fmla="*/ 160 w 257"/>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7" h="173">
                <a:moveTo>
                  <a:pt x="160" y="0"/>
                </a:moveTo>
                <a:lnTo>
                  <a:pt x="163" y="0"/>
                </a:lnTo>
                <a:lnTo>
                  <a:pt x="163" y="4"/>
                </a:lnTo>
                <a:lnTo>
                  <a:pt x="163" y="7"/>
                </a:lnTo>
                <a:lnTo>
                  <a:pt x="166" y="10"/>
                </a:lnTo>
                <a:lnTo>
                  <a:pt x="166" y="10"/>
                </a:lnTo>
                <a:lnTo>
                  <a:pt x="172" y="19"/>
                </a:lnTo>
                <a:lnTo>
                  <a:pt x="175" y="25"/>
                </a:lnTo>
                <a:lnTo>
                  <a:pt x="175" y="29"/>
                </a:lnTo>
                <a:lnTo>
                  <a:pt x="175" y="32"/>
                </a:lnTo>
                <a:lnTo>
                  <a:pt x="175" y="35"/>
                </a:lnTo>
                <a:lnTo>
                  <a:pt x="172" y="38"/>
                </a:lnTo>
                <a:lnTo>
                  <a:pt x="172" y="44"/>
                </a:lnTo>
                <a:lnTo>
                  <a:pt x="175" y="47"/>
                </a:lnTo>
                <a:lnTo>
                  <a:pt x="182" y="47"/>
                </a:lnTo>
                <a:lnTo>
                  <a:pt x="182" y="44"/>
                </a:lnTo>
                <a:lnTo>
                  <a:pt x="188" y="44"/>
                </a:lnTo>
                <a:lnTo>
                  <a:pt x="191" y="47"/>
                </a:lnTo>
                <a:lnTo>
                  <a:pt x="188" y="51"/>
                </a:lnTo>
                <a:lnTo>
                  <a:pt x="188" y="54"/>
                </a:lnTo>
                <a:lnTo>
                  <a:pt x="194" y="57"/>
                </a:lnTo>
                <a:lnTo>
                  <a:pt x="197" y="57"/>
                </a:lnTo>
                <a:lnTo>
                  <a:pt x="200" y="57"/>
                </a:lnTo>
                <a:lnTo>
                  <a:pt x="204" y="60"/>
                </a:lnTo>
                <a:lnTo>
                  <a:pt x="204" y="63"/>
                </a:lnTo>
                <a:lnTo>
                  <a:pt x="210" y="63"/>
                </a:lnTo>
                <a:lnTo>
                  <a:pt x="213" y="63"/>
                </a:lnTo>
                <a:lnTo>
                  <a:pt x="213" y="66"/>
                </a:lnTo>
                <a:lnTo>
                  <a:pt x="213" y="69"/>
                </a:lnTo>
                <a:lnTo>
                  <a:pt x="210" y="72"/>
                </a:lnTo>
                <a:lnTo>
                  <a:pt x="210" y="72"/>
                </a:lnTo>
                <a:lnTo>
                  <a:pt x="207" y="76"/>
                </a:lnTo>
                <a:lnTo>
                  <a:pt x="213" y="79"/>
                </a:lnTo>
                <a:lnTo>
                  <a:pt x="216" y="79"/>
                </a:lnTo>
                <a:lnTo>
                  <a:pt x="216" y="79"/>
                </a:lnTo>
                <a:lnTo>
                  <a:pt x="219" y="79"/>
                </a:lnTo>
                <a:lnTo>
                  <a:pt x="222" y="79"/>
                </a:lnTo>
                <a:lnTo>
                  <a:pt x="229" y="85"/>
                </a:lnTo>
                <a:lnTo>
                  <a:pt x="229" y="85"/>
                </a:lnTo>
                <a:lnTo>
                  <a:pt x="229" y="91"/>
                </a:lnTo>
                <a:lnTo>
                  <a:pt x="232" y="94"/>
                </a:lnTo>
                <a:lnTo>
                  <a:pt x="235" y="94"/>
                </a:lnTo>
                <a:lnTo>
                  <a:pt x="238" y="97"/>
                </a:lnTo>
                <a:lnTo>
                  <a:pt x="238" y="101"/>
                </a:lnTo>
                <a:lnTo>
                  <a:pt x="238" y="101"/>
                </a:lnTo>
                <a:lnTo>
                  <a:pt x="244" y="104"/>
                </a:lnTo>
                <a:lnTo>
                  <a:pt x="247" y="107"/>
                </a:lnTo>
                <a:lnTo>
                  <a:pt x="247" y="107"/>
                </a:lnTo>
                <a:lnTo>
                  <a:pt x="247" y="113"/>
                </a:lnTo>
                <a:lnTo>
                  <a:pt x="250" y="116"/>
                </a:lnTo>
                <a:lnTo>
                  <a:pt x="254" y="119"/>
                </a:lnTo>
                <a:lnTo>
                  <a:pt x="257" y="119"/>
                </a:lnTo>
                <a:lnTo>
                  <a:pt x="257" y="122"/>
                </a:lnTo>
                <a:lnTo>
                  <a:pt x="254" y="119"/>
                </a:lnTo>
                <a:lnTo>
                  <a:pt x="250" y="119"/>
                </a:lnTo>
                <a:lnTo>
                  <a:pt x="247" y="119"/>
                </a:lnTo>
                <a:lnTo>
                  <a:pt x="241" y="122"/>
                </a:lnTo>
                <a:lnTo>
                  <a:pt x="238" y="119"/>
                </a:lnTo>
                <a:lnTo>
                  <a:pt x="232" y="119"/>
                </a:lnTo>
                <a:lnTo>
                  <a:pt x="229" y="119"/>
                </a:lnTo>
                <a:lnTo>
                  <a:pt x="225" y="119"/>
                </a:lnTo>
                <a:lnTo>
                  <a:pt x="225" y="116"/>
                </a:lnTo>
                <a:lnTo>
                  <a:pt x="222" y="116"/>
                </a:lnTo>
                <a:lnTo>
                  <a:pt x="219" y="116"/>
                </a:lnTo>
                <a:lnTo>
                  <a:pt x="216" y="113"/>
                </a:lnTo>
                <a:lnTo>
                  <a:pt x="213" y="116"/>
                </a:lnTo>
                <a:lnTo>
                  <a:pt x="213" y="116"/>
                </a:lnTo>
                <a:lnTo>
                  <a:pt x="213" y="116"/>
                </a:lnTo>
                <a:lnTo>
                  <a:pt x="210" y="122"/>
                </a:lnTo>
                <a:lnTo>
                  <a:pt x="210" y="122"/>
                </a:lnTo>
                <a:lnTo>
                  <a:pt x="207" y="122"/>
                </a:lnTo>
                <a:lnTo>
                  <a:pt x="200" y="122"/>
                </a:lnTo>
                <a:lnTo>
                  <a:pt x="200" y="122"/>
                </a:lnTo>
                <a:lnTo>
                  <a:pt x="197" y="122"/>
                </a:lnTo>
                <a:lnTo>
                  <a:pt x="197" y="122"/>
                </a:lnTo>
                <a:lnTo>
                  <a:pt x="194" y="122"/>
                </a:lnTo>
                <a:lnTo>
                  <a:pt x="194" y="119"/>
                </a:lnTo>
                <a:lnTo>
                  <a:pt x="191" y="119"/>
                </a:lnTo>
                <a:lnTo>
                  <a:pt x="185" y="122"/>
                </a:lnTo>
                <a:lnTo>
                  <a:pt x="182" y="126"/>
                </a:lnTo>
                <a:lnTo>
                  <a:pt x="179" y="126"/>
                </a:lnTo>
                <a:lnTo>
                  <a:pt x="172" y="129"/>
                </a:lnTo>
                <a:lnTo>
                  <a:pt x="169" y="129"/>
                </a:lnTo>
                <a:lnTo>
                  <a:pt x="166" y="126"/>
                </a:lnTo>
                <a:lnTo>
                  <a:pt x="163" y="126"/>
                </a:lnTo>
                <a:lnTo>
                  <a:pt x="160" y="126"/>
                </a:lnTo>
                <a:lnTo>
                  <a:pt x="157" y="129"/>
                </a:lnTo>
                <a:lnTo>
                  <a:pt x="154" y="132"/>
                </a:lnTo>
                <a:lnTo>
                  <a:pt x="154" y="135"/>
                </a:lnTo>
                <a:lnTo>
                  <a:pt x="154" y="135"/>
                </a:lnTo>
                <a:lnTo>
                  <a:pt x="154" y="138"/>
                </a:lnTo>
                <a:lnTo>
                  <a:pt x="150" y="138"/>
                </a:lnTo>
                <a:lnTo>
                  <a:pt x="147" y="138"/>
                </a:lnTo>
                <a:lnTo>
                  <a:pt x="144" y="135"/>
                </a:lnTo>
                <a:lnTo>
                  <a:pt x="141" y="135"/>
                </a:lnTo>
                <a:lnTo>
                  <a:pt x="138" y="135"/>
                </a:lnTo>
                <a:lnTo>
                  <a:pt x="135" y="135"/>
                </a:lnTo>
                <a:lnTo>
                  <a:pt x="132" y="135"/>
                </a:lnTo>
                <a:lnTo>
                  <a:pt x="129" y="135"/>
                </a:lnTo>
                <a:lnTo>
                  <a:pt x="122" y="132"/>
                </a:lnTo>
                <a:lnTo>
                  <a:pt x="119" y="132"/>
                </a:lnTo>
                <a:lnTo>
                  <a:pt x="119" y="132"/>
                </a:lnTo>
                <a:lnTo>
                  <a:pt x="113" y="129"/>
                </a:lnTo>
                <a:lnTo>
                  <a:pt x="110" y="126"/>
                </a:lnTo>
                <a:lnTo>
                  <a:pt x="104" y="122"/>
                </a:lnTo>
                <a:lnTo>
                  <a:pt x="100" y="122"/>
                </a:lnTo>
                <a:lnTo>
                  <a:pt x="97" y="119"/>
                </a:lnTo>
                <a:lnTo>
                  <a:pt x="97" y="119"/>
                </a:lnTo>
                <a:lnTo>
                  <a:pt x="97" y="122"/>
                </a:lnTo>
                <a:lnTo>
                  <a:pt x="94" y="119"/>
                </a:lnTo>
                <a:lnTo>
                  <a:pt x="91" y="122"/>
                </a:lnTo>
                <a:lnTo>
                  <a:pt x="88" y="122"/>
                </a:lnTo>
                <a:lnTo>
                  <a:pt x="85" y="126"/>
                </a:lnTo>
                <a:lnTo>
                  <a:pt x="85" y="129"/>
                </a:lnTo>
                <a:lnTo>
                  <a:pt x="85" y="129"/>
                </a:lnTo>
                <a:lnTo>
                  <a:pt x="85" y="132"/>
                </a:lnTo>
                <a:lnTo>
                  <a:pt x="82" y="132"/>
                </a:lnTo>
                <a:lnTo>
                  <a:pt x="79" y="135"/>
                </a:lnTo>
                <a:lnTo>
                  <a:pt x="79" y="135"/>
                </a:lnTo>
                <a:lnTo>
                  <a:pt x="82" y="141"/>
                </a:lnTo>
                <a:lnTo>
                  <a:pt x="82" y="141"/>
                </a:lnTo>
                <a:lnTo>
                  <a:pt x="82" y="144"/>
                </a:lnTo>
                <a:lnTo>
                  <a:pt x="82" y="147"/>
                </a:lnTo>
                <a:lnTo>
                  <a:pt x="79" y="147"/>
                </a:lnTo>
                <a:lnTo>
                  <a:pt x="75" y="147"/>
                </a:lnTo>
                <a:lnTo>
                  <a:pt x="72" y="147"/>
                </a:lnTo>
                <a:lnTo>
                  <a:pt x="72" y="144"/>
                </a:lnTo>
                <a:lnTo>
                  <a:pt x="69" y="144"/>
                </a:lnTo>
                <a:lnTo>
                  <a:pt x="66" y="144"/>
                </a:lnTo>
                <a:lnTo>
                  <a:pt x="63" y="147"/>
                </a:lnTo>
                <a:lnTo>
                  <a:pt x="60" y="147"/>
                </a:lnTo>
                <a:lnTo>
                  <a:pt x="50" y="151"/>
                </a:lnTo>
                <a:lnTo>
                  <a:pt x="50" y="151"/>
                </a:lnTo>
                <a:lnTo>
                  <a:pt x="47" y="154"/>
                </a:lnTo>
                <a:lnTo>
                  <a:pt x="41" y="157"/>
                </a:lnTo>
                <a:lnTo>
                  <a:pt x="32" y="173"/>
                </a:lnTo>
                <a:lnTo>
                  <a:pt x="32" y="173"/>
                </a:lnTo>
                <a:lnTo>
                  <a:pt x="32" y="169"/>
                </a:lnTo>
                <a:lnTo>
                  <a:pt x="32" y="166"/>
                </a:lnTo>
                <a:lnTo>
                  <a:pt x="32" y="163"/>
                </a:lnTo>
                <a:lnTo>
                  <a:pt x="25" y="157"/>
                </a:lnTo>
                <a:lnTo>
                  <a:pt x="22" y="157"/>
                </a:lnTo>
                <a:lnTo>
                  <a:pt x="19" y="151"/>
                </a:lnTo>
                <a:lnTo>
                  <a:pt x="16" y="144"/>
                </a:lnTo>
                <a:lnTo>
                  <a:pt x="13" y="138"/>
                </a:lnTo>
                <a:lnTo>
                  <a:pt x="10" y="135"/>
                </a:lnTo>
                <a:lnTo>
                  <a:pt x="4" y="132"/>
                </a:lnTo>
                <a:lnTo>
                  <a:pt x="4" y="132"/>
                </a:lnTo>
                <a:lnTo>
                  <a:pt x="4" y="122"/>
                </a:lnTo>
                <a:lnTo>
                  <a:pt x="4" y="119"/>
                </a:lnTo>
                <a:lnTo>
                  <a:pt x="0" y="113"/>
                </a:lnTo>
                <a:lnTo>
                  <a:pt x="0" y="110"/>
                </a:lnTo>
                <a:lnTo>
                  <a:pt x="0" y="104"/>
                </a:lnTo>
                <a:lnTo>
                  <a:pt x="0" y="101"/>
                </a:lnTo>
                <a:lnTo>
                  <a:pt x="0" y="97"/>
                </a:lnTo>
                <a:lnTo>
                  <a:pt x="4" y="94"/>
                </a:lnTo>
                <a:lnTo>
                  <a:pt x="7" y="91"/>
                </a:lnTo>
                <a:lnTo>
                  <a:pt x="10" y="85"/>
                </a:lnTo>
                <a:lnTo>
                  <a:pt x="13" y="79"/>
                </a:lnTo>
                <a:lnTo>
                  <a:pt x="16" y="76"/>
                </a:lnTo>
                <a:lnTo>
                  <a:pt x="19" y="72"/>
                </a:lnTo>
                <a:lnTo>
                  <a:pt x="22" y="69"/>
                </a:lnTo>
                <a:lnTo>
                  <a:pt x="22" y="66"/>
                </a:lnTo>
                <a:lnTo>
                  <a:pt x="22" y="69"/>
                </a:lnTo>
                <a:lnTo>
                  <a:pt x="25" y="72"/>
                </a:lnTo>
                <a:lnTo>
                  <a:pt x="29" y="72"/>
                </a:lnTo>
                <a:lnTo>
                  <a:pt x="32" y="72"/>
                </a:lnTo>
                <a:lnTo>
                  <a:pt x="35" y="72"/>
                </a:lnTo>
                <a:lnTo>
                  <a:pt x="38" y="69"/>
                </a:lnTo>
                <a:lnTo>
                  <a:pt x="38" y="63"/>
                </a:lnTo>
                <a:lnTo>
                  <a:pt x="41" y="63"/>
                </a:lnTo>
                <a:lnTo>
                  <a:pt x="44" y="63"/>
                </a:lnTo>
                <a:lnTo>
                  <a:pt x="44" y="69"/>
                </a:lnTo>
                <a:lnTo>
                  <a:pt x="47" y="69"/>
                </a:lnTo>
                <a:lnTo>
                  <a:pt x="50" y="69"/>
                </a:lnTo>
                <a:lnTo>
                  <a:pt x="54" y="66"/>
                </a:lnTo>
                <a:lnTo>
                  <a:pt x="60" y="63"/>
                </a:lnTo>
                <a:lnTo>
                  <a:pt x="66" y="60"/>
                </a:lnTo>
                <a:lnTo>
                  <a:pt x="75" y="57"/>
                </a:lnTo>
                <a:lnTo>
                  <a:pt x="82" y="57"/>
                </a:lnTo>
                <a:lnTo>
                  <a:pt x="85" y="54"/>
                </a:lnTo>
                <a:lnTo>
                  <a:pt x="91" y="51"/>
                </a:lnTo>
                <a:lnTo>
                  <a:pt x="91" y="47"/>
                </a:lnTo>
                <a:lnTo>
                  <a:pt x="88" y="47"/>
                </a:lnTo>
                <a:lnTo>
                  <a:pt x="85" y="44"/>
                </a:lnTo>
                <a:lnTo>
                  <a:pt x="85" y="41"/>
                </a:lnTo>
                <a:lnTo>
                  <a:pt x="88" y="38"/>
                </a:lnTo>
                <a:lnTo>
                  <a:pt x="91" y="41"/>
                </a:lnTo>
                <a:lnTo>
                  <a:pt x="94" y="38"/>
                </a:lnTo>
                <a:lnTo>
                  <a:pt x="97" y="41"/>
                </a:lnTo>
                <a:lnTo>
                  <a:pt x="104" y="41"/>
                </a:lnTo>
                <a:lnTo>
                  <a:pt x="110" y="41"/>
                </a:lnTo>
                <a:lnTo>
                  <a:pt x="116" y="41"/>
                </a:lnTo>
                <a:lnTo>
                  <a:pt x="119" y="38"/>
                </a:lnTo>
                <a:lnTo>
                  <a:pt x="122" y="35"/>
                </a:lnTo>
                <a:lnTo>
                  <a:pt x="122" y="32"/>
                </a:lnTo>
                <a:lnTo>
                  <a:pt x="122" y="29"/>
                </a:lnTo>
                <a:lnTo>
                  <a:pt x="122" y="25"/>
                </a:lnTo>
                <a:lnTo>
                  <a:pt x="125" y="25"/>
                </a:lnTo>
                <a:lnTo>
                  <a:pt x="125" y="22"/>
                </a:lnTo>
                <a:lnTo>
                  <a:pt x="129" y="19"/>
                </a:lnTo>
                <a:lnTo>
                  <a:pt x="132" y="19"/>
                </a:lnTo>
                <a:lnTo>
                  <a:pt x="132" y="19"/>
                </a:lnTo>
                <a:lnTo>
                  <a:pt x="138" y="13"/>
                </a:lnTo>
                <a:lnTo>
                  <a:pt x="138" y="13"/>
                </a:lnTo>
                <a:lnTo>
                  <a:pt x="138" y="10"/>
                </a:lnTo>
                <a:lnTo>
                  <a:pt x="138" y="7"/>
                </a:lnTo>
                <a:lnTo>
                  <a:pt x="144" y="4"/>
                </a:lnTo>
                <a:lnTo>
                  <a:pt x="147" y="0"/>
                </a:lnTo>
                <a:lnTo>
                  <a:pt x="154" y="0"/>
                </a:lnTo>
                <a:lnTo>
                  <a:pt x="154" y="4"/>
                </a:lnTo>
                <a:lnTo>
                  <a:pt x="160" y="0"/>
                </a:lnTo>
                <a:lnTo>
                  <a:pt x="160"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4" name="Freeform 112">
            <a:extLst>
              <a:ext uri="{FF2B5EF4-FFF2-40B4-BE49-F238E27FC236}">
                <a16:creationId xmlns:a16="http://schemas.microsoft.com/office/drawing/2014/main" id="{2E9068E9-7B1C-2387-F7CF-B38D02113EB4}"/>
              </a:ext>
            </a:extLst>
          </p:cNvPr>
          <p:cNvSpPr>
            <a:spLocks/>
          </p:cNvSpPr>
          <p:nvPr userDrawn="1"/>
        </p:nvSpPr>
        <p:spPr bwMode="auto">
          <a:xfrm>
            <a:off x="13734159" y="7231933"/>
            <a:ext cx="971487" cy="901702"/>
          </a:xfrm>
          <a:custGeom>
            <a:avLst/>
            <a:gdLst>
              <a:gd name="T0" fmla="*/ 288 w 306"/>
              <a:gd name="T1" fmla="*/ 275 h 284"/>
              <a:gd name="T2" fmla="*/ 297 w 306"/>
              <a:gd name="T3" fmla="*/ 81 h 284"/>
              <a:gd name="T4" fmla="*/ 291 w 306"/>
              <a:gd name="T5" fmla="*/ 65 h 284"/>
              <a:gd name="T6" fmla="*/ 297 w 306"/>
              <a:gd name="T7" fmla="*/ 53 h 284"/>
              <a:gd name="T8" fmla="*/ 294 w 306"/>
              <a:gd name="T9" fmla="*/ 40 h 284"/>
              <a:gd name="T10" fmla="*/ 297 w 306"/>
              <a:gd name="T11" fmla="*/ 31 h 284"/>
              <a:gd name="T12" fmla="*/ 294 w 306"/>
              <a:gd name="T13" fmla="*/ 22 h 284"/>
              <a:gd name="T14" fmla="*/ 285 w 306"/>
              <a:gd name="T15" fmla="*/ 22 h 284"/>
              <a:gd name="T16" fmla="*/ 269 w 306"/>
              <a:gd name="T17" fmla="*/ 19 h 284"/>
              <a:gd name="T18" fmla="*/ 260 w 306"/>
              <a:gd name="T19" fmla="*/ 15 h 284"/>
              <a:gd name="T20" fmla="*/ 260 w 306"/>
              <a:gd name="T21" fmla="*/ 12 h 284"/>
              <a:gd name="T22" fmla="*/ 250 w 306"/>
              <a:gd name="T23" fmla="*/ 6 h 284"/>
              <a:gd name="T24" fmla="*/ 238 w 306"/>
              <a:gd name="T25" fmla="*/ 3 h 284"/>
              <a:gd name="T26" fmla="*/ 235 w 306"/>
              <a:gd name="T27" fmla="*/ 6 h 284"/>
              <a:gd name="T28" fmla="*/ 228 w 306"/>
              <a:gd name="T29" fmla="*/ 3 h 284"/>
              <a:gd name="T30" fmla="*/ 213 w 306"/>
              <a:gd name="T31" fmla="*/ 6 h 284"/>
              <a:gd name="T32" fmla="*/ 200 w 306"/>
              <a:gd name="T33" fmla="*/ 15 h 284"/>
              <a:gd name="T34" fmla="*/ 197 w 306"/>
              <a:gd name="T35" fmla="*/ 22 h 284"/>
              <a:gd name="T36" fmla="*/ 200 w 306"/>
              <a:gd name="T37" fmla="*/ 37 h 284"/>
              <a:gd name="T38" fmla="*/ 200 w 306"/>
              <a:gd name="T39" fmla="*/ 50 h 284"/>
              <a:gd name="T40" fmla="*/ 194 w 306"/>
              <a:gd name="T41" fmla="*/ 56 h 284"/>
              <a:gd name="T42" fmla="*/ 185 w 306"/>
              <a:gd name="T43" fmla="*/ 65 h 284"/>
              <a:gd name="T44" fmla="*/ 169 w 306"/>
              <a:gd name="T45" fmla="*/ 56 h 284"/>
              <a:gd name="T46" fmla="*/ 153 w 306"/>
              <a:gd name="T47" fmla="*/ 47 h 284"/>
              <a:gd name="T48" fmla="*/ 131 w 306"/>
              <a:gd name="T49" fmla="*/ 37 h 284"/>
              <a:gd name="T50" fmla="*/ 122 w 306"/>
              <a:gd name="T51" fmla="*/ 40 h 284"/>
              <a:gd name="T52" fmla="*/ 110 w 306"/>
              <a:gd name="T53" fmla="*/ 25 h 284"/>
              <a:gd name="T54" fmla="*/ 103 w 306"/>
              <a:gd name="T55" fmla="*/ 12 h 284"/>
              <a:gd name="T56" fmla="*/ 85 w 306"/>
              <a:gd name="T57" fmla="*/ 6 h 284"/>
              <a:gd name="T58" fmla="*/ 69 w 306"/>
              <a:gd name="T59" fmla="*/ 3 h 284"/>
              <a:gd name="T60" fmla="*/ 44 w 306"/>
              <a:gd name="T61" fmla="*/ 3 h 284"/>
              <a:gd name="T62" fmla="*/ 38 w 306"/>
              <a:gd name="T63" fmla="*/ 0 h 284"/>
              <a:gd name="T64" fmla="*/ 38 w 306"/>
              <a:gd name="T65" fmla="*/ 9 h 284"/>
              <a:gd name="T66" fmla="*/ 35 w 306"/>
              <a:gd name="T67" fmla="*/ 15 h 284"/>
              <a:gd name="T68" fmla="*/ 22 w 306"/>
              <a:gd name="T69" fmla="*/ 28 h 284"/>
              <a:gd name="T70" fmla="*/ 16 w 306"/>
              <a:gd name="T71" fmla="*/ 31 h 284"/>
              <a:gd name="T72" fmla="*/ 13 w 306"/>
              <a:gd name="T73" fmla="*/ 34 h 284"/>
              <a:gd name="T74" fmla="*/ 13 w 306"/>
              <a:gd name="T75" fmla="*/ 44 h 284"/>
              <a:gd name="T76" fmla="*/ 13 w 306"/>
              <a:gd name="T77" fmla="*/ 50 h 284"/>
              <a:gd name="T78" fmla="*/ 13 w 306"/>
              <a:gd name="T79" fmla="*/ 53 h 284"/>
              <a:gd name="T80" fmla="*/ 6 w 306"/>
              <a:gd name="T81" fmla="*/ 59 h 284"/>
              <a:gd name="T82" fmla="*/ 3 w 306"/>
              <a:gd name="T83" fmla="*/ 59 h 284"/>
              <a:gd name="T84" fmla="*/ 0 w 306"/>
              <a:gd name="T85" fmla="*/ 62 h 284"/>
              <a:gd name="T86" fmla="*/ 3 w 306"/>
              <a:gd name="T87" fmla="*/ 69 h 284"/>
              <a:gd name="T88" fmla="*/ 6 w 306"/>
              <a:gd name="T89" fmla="*/ 87 h 284"/>
              <a:gd name="T90" fmla="*/ 6 w 306"/>
              <a:gd name="T91" fmla="*/ 97 h 284"/>
              <a:gd name="T92" fmla="*/ 10 w 306"/>
              <a:gd name="T93" fmla="*/ 112 h 284"/>
              <a:gd name="T94" fmla="*/ 6 w 306"/>
              <a:gd name="T95" fmla="*/ 125 h 284"/>
              <a:gd name="T96" fmla="*/ 10 w 306"/>
              <a:gd name="T97" fmla="*/ 137 h 284"/>
              <a:gd name="T98" fmla="*/ 3 w 306"/>
              <a:gd name="T99" fmla="*/ 141 h 284"/>
              <a:gd name="T100" fmla="*/ 0 w 306"/>
              <a:gd name="T101" fmla="*/ 147 h 284"/>
              <a:gd name="T102" fmla="*/ 6 w 306"/>
              <a:gd name="T103" fmla="*/ 156 h 284"/>
              <a:gd name="T104" fmla="*/ 13 w 306"/>
              <a:gd name="T105" fmla="*/ 162 h 284"/>
              <a:gd name="T106" fmla="*/ 13 w 306"/>
              <a:gd name="T107" fmla="*/ 172 h 284"/>
              <a:gd name="T108" fmla="*/ 16 w 306"/>
              <a:gd name="T109" fmla="*/ 178 h 284"/>
              <a:gd name="T110" fmla="*/ 19 w 306"/>
              <a:gd name="T111" fmla="*/ 184 h 284"/>
              <a:gd name="T112" fmla="*/ 35 w 306"/>
              <a:gd name="T113" fmla="*/ 184 h 284"/>
              <a:gd name="T114" fmla="*/ 41 w 306"/>
              <a:gd name="T115" fmla="*/ 191 h 284"/>
              <a:gd name="T116" fmla="*/ 47 w 306"/>
              <a:gd name="T117" fmla="*/ 203 h 284"/>
              <a:gd name="T118" fmla="*/ 50 w 306"/>
              <a:gd name="T119" fmla="*/ 206 h 284"/>
              <a:gd name="T120" fmla="*/ 88 w 306"/>
              <a:gd name="T121" fmla="*/ 219 h 284"/>
              <a:gd name="T122" fmla="*/ 288 w 306"/>
              <a:gd name="T123" fmla="*/ 284 h 284"/>
              <a:gd name="T124" fmla="*/ 288 w 306"/>
              <a:gd name="T125"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 h="284">
                <a:moveTo>
                  <a:pt x="288" y="284"/>
                </a:moveTo>
                <a:lnTo>
                  <a:pt x="288" y="275"/>
                </a:lnTo>
                <a:lnTo>
                  <a:pt x="306" y="275"/>
                </a:lnTo>
                <a:lnTo>
                  <a:pt x="297" y="81"/>
                </a:lnTo>
                <a:lnTo>
                  <a:pt x="294" y="69"/>
                </a:lnTo>
                <a:lnTo>
                  <a:pt x="291" y="65"/>
                </a:lnTo>
                <a:lnTo>
                  <a:pt x="294" y="59"/>
                </a:lnTo>
                <a:lnTo>
                  <a:pt x="297" y="53"/>
                </a:lnTo>
                <a:lnTo>
                  <a:pt x="297" y="47"/>
                </a:lnTo>
                <a:lnTo>
                  <a:pt x="294" y="40"/>
                </a:lnTo>
                <a:lnTo>
                  <a:pt x="297" y="34"/>
                </a:lnTo>
                <a:lnTo>
                  <a:pt x="297" y="31"/>
                </a:lnTo>
                <a:lnTo>
                  <a:pt x="297" y="25"/>
                </a:lnTo>
                <a:lnTo>
                  <a:pt x="294" y="22"/>
                </a:lnTo>
                <a:lnTo>
                  <a:pt x="291" y="22"/>
                </a:lnTo>
                <a:lnTo>
                  <a:pt x="285" y="22"/>
                </a:lnTo>
                <a:lnTo>
                  <a:pt x="272" y="19"/>
                </a:lnTo>
                <a:lnTo>
                  <a:pt x="269" y="19"/>
                </a:lnTo>
                <a:lnTo>
                  <a:pt x="266" y="19"/>
                </a:lnTo>
                <a:lnTo>
                  <a:pt x="260" y="15"/>
                </a:lnTo>
                <a:lnTo>
                  <a:pt x="256" y="12"/>
                </a:lnTo>
                <a:lnTo>
                  <a:pt x="260" y="12"/>
                </a:lnTo>
                <a:lnTo>
                  <a:pt x="256" y="9"/>
                </a:lnTo>
                <a:lnTo>
                  <a:pt x="250" y="6"/>
                </a:lnTo>
                <a:lnTo>
                  <a:pt x="244" y="6"/>
                </a:lnTo>
                <a:lnTo>
                  <a:pt x="238" y="3"/>
                </a:lnTo>
                <a:lnTo>
                  <a:pt x="238" y="3"/>
                </a:lnTo>
                <a:lnTo>
                  <a:pt x="235" y="6"/>
                </a:lnTo>
                <a:lnTo>
                  <a:pt x="231" y="3"/>
                </a:lnTo>
                <a:lnTo>
                  <a:pt x="228" y="3"/>
                </a:lnTo>
                <a:lnTo>
                  <a:pt x="222" y="6"/>
                </a:lnTo>
                <a:lnTo>
                  <a:pt x="213" y="6"/>
                </a:lnTo>
                <a:lnTo>
                  <a:pt x="206" y="9"/>
                </a:lnTo>
                <a:lnTo>
                  <a:pt x="200" y="15"/>
                </a:lnTo>
                <a:lnTo>
                  <a:pt x="200" y="22"/>
                </a:lnTo>
                <a:lnTo>
                  <a:pt x="197" y="22"/>
                </a:lnTo>
                <a:lnTo>
                  <a:pt x="197" y="31"/>
                </a:lnTo>
                <a:lnTo>
                  <a:pt x="200" y="37"/>
                </a:lnTo>
                <a:lnTo>
                  <a:pt x="203" y="47"/>
                </a:lnTo>
                <a:lnTo>
                  <a:pt x="200" y="50"/>
                </a:lnTo>
                <a:lnTo>
                  <a:pt x="194" y="56"/>
                </a:lnTo>
                <a:lnTo>
                  <a:pt x="194" y="56"/>
                </a:lnTo>
                <a:lnTo>
                  <a:pt x="188" y="62"/>
                </a:lnTo>
                <a:lnTo>
                  <a:pt x="185" y="65"/>
                </a:lnTo>
                <a:lnTo>
                  <a:pt x="175" y="62"/>
                </a:lnTo>
                <a:lnTo>
                  <a:pt x="169" y="56"/>
                </a:lnTo>
                <a:lnTo>
                  <a:pt x="163" y="50"/>
                </a:lnTo>
                <a:lnTo>
                  <a:pt x="153" y="47"/>
                </a:lnTo>
                <a:lnTo>
                  <a:pt x="138" y="40"/>
                </a:lnTo>
                <a:lnTo>
                  <a:pt x="131" y="37"/>
                </a:lnTo>
                <a:lnTo>
                  <a:pt x="128" y="40"/>
                </a:lnTo>
                <a:lnTo>
                  <a:pt x="122" y="40"/>
                </a:lnTo>
                <a:lnTo>
                  <a:pt x="116" y="37"/>
                </a:lnTo>
                <a:lnTo>
                  <a:pt x="110" y="25"/>
                </a:lnTo>
                <a:lnTo>
                  <a:pt x="110" y="19"/>
                </a:lnTo>
                <a:lnTo>
                  <a:pt x="103" y="12"/>
                </a:lnTo>
                <a:lnTo>
                  <a:pt x="91" y="9"/>
                </a:lnTo>
                <a:lnTo>
                  <a:pt x="85" y="6"/>
                </a:lnTo>
                <a:lnTo>
                  <a:pt x="75" y="6"/>
                </a:lnTo>
                <a:lnTo>
                  <a:pt x="69" y="3"/>
                </a:lnTo>
                <a:lnTo>
                  <a:pt x="53" y="6"/>
                </a:lnTo>
                <a:lnTo>
                  <a:pt x="44" y="3"/>
                </a:lnTo>
                <a:lnTo>
                  <a:pt x="41" y="0"/>
                </a:lnTo>
                <a:lnTo>
                  <a:pt x="38" y="0"/>
                </a:lnTo>
                <a:lnTo>
                  <a:pt x="38" y="0"/>
                </a:lnTo>
                <a:lnTo>
                  <a:pt x="38" y="9"/>
                </a:lnTo>
                <a:lnTo>
                  <a:pt x="38" y="9"/>
                </a:lnTo>
                <a:lnTo>
                  <a:pt x="35" y="15"/>
                </a:lnTo>
                <a:lnTo>
                  <a:pt x="22" y="25"/>
                </a:lnTo>
                <a:lnTo>
                  <a:pt x="22" y="28"/>
                </a:lnTo>
                <a:lnTo>
                  <a:pt x="19" y="31"/>
                </a:lnTo>
                <a:lnTo>
                  <a:pt x="16" y="31"/>
                </a:lnTo>
                <a:lnTo>
                  <a:pt x="13" y="34"/>
                </a:lnTo>
                <a:lnTo>
                  <a:pt x="13" y="34"/>
                </a:lnTo>
                <a:lnTo>
                  <a:pt x="13" y="37"/>
                </a:lnTo>
                <a:lnTo>
                  <a:pt x="13" y="44"/>
                </a:lnTo>
                <a:lnTo>
                  <a:pt x="13" y="50"/>
                </a:lnTo>
                <a:lnTo>
                  <a:pt x="13" y="50"/>
                </a:lnTo>
                <a:lnTo>
                  <a:pt x="13" y="53"/>
                </a:lnTo>
                <a:lnTo>
                  <a:pt x="13" y="53"/>
                </a:lnTo>
                <a:lnTo>
                  <a:pt x="10" y="56"/>
                </a:lnTo>
                <a:lnTo>
                  <a:pt x="6" y="59"/>
                </a:lnTo>
                <a:lnTo>
                  <a:pt x="6" y="59"/>
                </a:lnTo>
                <a:lnTo>
                  <a:pt x="3" y="59"/>
                </a:lnTo>
                <a:lnTo>
                  <a:pt x="3" y="59"/>
                </a:lnTo>
                <a:lnTo>
                  <a:pt x="0" y="62"/>
                </a:lnTo>
                <a:lnTo>
                  <a:pt x="0" y="69"/>
                </a:lnTo>
                <a:lnTo>
                  <a:pt x="3" y="69"/>
                </a:lnTo>
                <a:lnTo>
                  <a:pt x="6" y="75"/>
                </a:lnTo>
                <a:lnTo>
                  <a:pt x="6" y="87"/>
                </a:lnTo>
                <a:lnTo>
                  <a:pt x="6" y="94"/>
                </a:lnTo>
                <a:lnTo>
                  <a:pt x="6" y="97"/>
                </a:lnTo>
                <a:lnTo>
                  <a:pt x="6" y="106"/>
                </a:lnTo>
                <a:lnTo>
                  <a:pt x="10" y="112"/>
                </a:lnTo>
                <a:lnTo>
                  <a:pt x="6" y="122"/>
                </a:lnTo>
                <a:lnTo>
                  <a:pt x="6" y="125"/>
                </a:lnTo>
                <a:lnTo>
                  <a:pt x="10" y="128"/>
                </a:lnTo>
                <a:lnTo>
                  <a:pt x="10" y="137"/>
                </a:lnTo>
                <a:lnTo>
                  <a:pt x="6" y="137"/>
                </a:lnTo>
                <a:lnTo>
                  <a:pt x="3" y="141"/>
                </a:lnTo>
                <a:lnTo>
                  <a:pt x="0" y="144"/>
                </a:lnTo>
                <a:lnTo>
                  <a:pt x="0" y="147"/>
                </a:lnTo>
                <a:lnTo>
                  <a:pt x="3" y="150"/>
                </a:lnTo>
                <a:lnTo>
                  <a:pt x="6" y="156"/>
                </a:lnTo>
                <a:lnTo>
                  <a:pt x="13" y="162"/>
                </a:lnTo>
                <a:lnTo>
                  <a:pt x="13" y="162"/>
                </a:lnTo>
                <a:lnTo>
                  <a:pt x="13" y="169"/>
                </a:lnTo>
                <a:lnTo>
                  <a:pt x="13" y="172"/>
                </a:lnTo>
                <a:lnTo>
                  <a:pt x="13" y="175"/>
                </a:lnTo>
                <a:lnTo>
                  <a:pt x="16" y="178"/>
                </a:lnTo>
                <a:lnTo>
                  <a:pt x="16" y="181"/>
                </a:lnTo>
                <a:lnTo>
                  <a:pt x="19" y="184"/>
                </a:lnTo>
                <a:lnTo>
                  <a:pt x="25" y="184"/>
                </a:lnTo>
                <a:lnTo>
                  <a:pt x="35" y="184"/>
                </a:lnTo>
                <a:lnTo>
                  <a:pt x="38" y="187"/>
                </a:lnTo>
                <a:lnTo>
                  <a:pt x="41" y="191"/>
                </a:lnTo>
                <a:lnTo>
                  <a:pt x="44" y="200"/>
                </a:lnTo>
                <a:lnTo>
                  <a:pt x="47" y="203"/>
                </a:lnTo>
                <a:lnTo>
                  <a:pt x="47" y="206"/>
                </a:lnTo>
                <a:lnTo>
                  <a:pt x="50" y="206"/>
                </a:lnTo>
                <a:lnTo>
                  <a:pt x="85" y="216"/>
                </a:lnTo>
                <a:lnTo>
                  <a:pt x="88" y="219"/>
                </a:lnTo>
                <a:lnTo>
                  <a:pt x="128" y="203"/>
                </a:lnTo>
                <a:lnTo>
                  <a:pt x="288" y="284"/>
                </a:lnTo>
                <a:lnTo>
                  <a:pt x="288" y="284"/>
                </a:lnTo>
                <a:lnTo>
                  <a:pt x="288" y="284"/>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5" name="Freeform 113">
            <a:extLst>
              <a:ext uri="{FF2B5EF4-FFF2-40B4-BE49-F238E27FC236}">
                <a16:creationId xmlns:a16="http://schemas.microsoft.com/office/drawing/2014/main" id="{110F2053-89AE-A154-378B-F0E5264E54C7}"/>
              </a:ext>
            </a:extLst>
          </p:cNvPr>
          <p:cNvSpPr>
            <a:spLocks noEditPoints="1"/>
          </p:cNvSpPr>
          <p:nvPr userDrawn="1"/>
        </p:nvSpPr>
        <p:spPr bwMode="auto">
          <a:xfrm>
            <a:off x="13616688" y="6933480"/>
            <a:ext cx="238111" cy="485776"/>
          </a:xfrm>
          <a:custGeom>
            <a:avLst/>
            <a:gdLst>
              <a:gd name="T0" fmla="*/ 43 w 75"/>
              <a:gd name="T1" fmla="*/ 153 h 153"/>
              <a:gd name="T2" fmla="*/ 47 w 75"/>
              <a:gd name="T3" fmla="*/ 150 h 153"/>
              <a:gd name="T4" fmla="*/ 50 w 75"/>
              <a:gd name="T5" fmla="*/ 147 h 153"/>
              <a:gd name="T6" fmla="*/ 50 w 75"/>
              <a:gd name="T7" fmla="*/ 144 h 153"/>
              <a:gd name="T8" fmla="*/ 50 w 75"/>
              <a:gd name="T9" fmla="*/ 131 h 153"/>
              <a:gd name="T10" fmla="*/ 50 w 75"/>
              <a:gd name="T11" fmla="*/ 128 h 153"/>
              <a:gd name="T12" fmla="*/ 56 w 75"/>
              <a:gd name="T13" fmla="*/ 125 h 153"/>
              <a:gd name="T14" fmla="*/ 59 w 75"/>
              <a:gd name="T15" fmla="*/ 119 h 153"/>
              <a:gd name="T16" fmla="*/ 75 w 75"/>
              <a:gd name="T17" fmla="*/ 103 h 153"/>
              <a:gd name="T18" fmla="*/ 75 w 75"/>
              <a:gd name="T19" fmla="*/ 94 h 153"/>
              <a:gd name="T20" fmla="*/ 72 w 75"/>
              <a:gd name="T21" fmla="*/ 94 h 153"/>
              <a:gd name="T22" fmla="*/ 65 w 75"/>
              <a:gd name="T23" fmla="*/ 87 h 153"/>
              <a:gd name="T24" fmla="*/ 62 w 75"/>
              <a:gd name="T25" fmla="*/ 84 h 153"/>
              <a:gd name="T26" fmla="*/ 62 w 75"/>
              <a:gd name="T27" fmla="*/ 84 h 153"/>
              <a:gd name="T28" fmla="*/ 56 w 75"/>
              <a:gd name="T29" fmla="*/ 84 h 153"/>
              <a:gd name="T30" fmla="*/ 53 w 75"/>
              <a:gd name="T31" fmla="*/ 84 h 153"/>
              <a:gd name="T32" fmla="*/ 43 w 75"/>
              <a:gd name="T33" fmla="*/ 72 h 153"/>
              <a:gd name="T34" fmla="*/ 56 w 75"/>
              <a:gd name="T35" fmla="*/ 59 h 153"/>
              <a:gd name="T36" fmla="*/ 62 w 75"/>
              <a:gd name="T37" fmla="*/ 53 h 153"/>
              <a:gd name="T38" fmla="*/ 62 w 75"/>
              <a:gd name="T39" fmla="*/ 50 h 153"/>
              <a:gd name="T40" fmla="*/ 62 w 75"/>
              <a:gd name="T41" fmla="*/ 44 h 153"/>
              <a:gd name="T42" fmla="*/ 56 w 75"/>
              <a:gd name="T43" fmla="*/ 37 h 153"/>
              <a:gd name="T44" fmla="*/ 53 w 75"/>
              <a:gd name="T45" fmla="*/ 25 h 153"/>
              <a:gd name="T46" fmla="*/ 56 w 75"/>
              <a:gd name="T47" fmla="*/ 19 h 153"/>
              <a:gd name="T48" fmla="*/ 59 w 75"/>
              <a:gd name="T49" fmla="*/ 9 h 153"/>
              <a:gd name="T50" fmla="*/ 53 w 75"/>
              <a:gd name="T51" fmla="*/ 12 h 153"/>
              <a:gd name="T52" fmla="*/ 47 w 75"/>
              <a:gd name="T53" fmla="*/ 16 h 153"/>
              <a:gd name="T54" fmla="*/ 43 w 75"/>
              <a:gd name="T55" fmla="*/ 6 h 153"/>
              <a:gd name="T56" fmla="*/ 40 w 75"/>
              <a:gd name="T57" fmla="*/ 0 h 153"/>
              <a:gd name="T58" fmla="*/ 37 w 75"/>
              <a:gd name="T59" fmla="*/ 3 h 153"/>
              <a:gd name="T60" fmla="*/ 28 w 75"/>
              <a:gd name="T61" fmla="*/ 3 h 153"/>
              <a:gd name="T62" fmla="*/ 15 w 75"/>
              <a:gd name="T63" fmla="*/ 9 h 153"/>
              <a:gd name="T64" fmla="*/ 15 w 75"/>
              <a:gd name="T65" fmla="*/ 12 h 153"/>
              <a:gd name="T66" fmla="*/ 15 w 75"/>
              <a:gd name="T67" fmla="*/ 22 h 153"/>
              <a:gd name="T68" fmla="*/ 12 w 75"/>
              <a:gd name="T69" fmla="*/ 37 h 153"/>
              <a:gd name="T70" fmla="*/ 15 w 75"/>
              <a:gd name="T71" fmla="*/ 47 h 153"/>
              <a:gd name="T72" fmla="*/ 15 w 75"/>
              <a:gd name="T73" fmla="*/ 47 h 153"/>
              <a:gd name="T74" fmla="*/ 15 w 75"/>
              <a:gd name="T75" fmla="*/ 53 h 153"/>
              <a:gd name="T76" fmla="*/ 12 w 75"/>
              <a:gd name="T77" fmla="*/ 62 h 153"/>
              <a:gd name="T78" fmla="*/ 9 w 75"/>
              <a:gd name="T79" fmla="*/ 66 h 153"/>
              <a:gd name="T80" fmla="*/ 3 w 75"/>
              <a:gd name="T81" fmla="*/ 72 h 153"/>
              <a:gd name="T82" fmla="*/ 0 w 75"/>
              <a:gd name="T83" fmla="*/ 84 h 153"/>
              <a:gd name="T84" fmla="*/ 3 w 75"/>
              <a:gd name="T85" fmla="*/ 91 h 153"/>
              <a:gd name="T86" fmla="*/ 6 w 75"/>
              <a:gd name="T87" fmla="*/ 94 h 153"/>
              <a:gd name="T88" fmla="*/ 12 w 75"/>
              <a:gd name="T89" fmla="*/ 103 h 153"/>
              <a:gd name="T90" fmla="*/ 18 w 75"/>
              <a:gd name="T91" fmla="*/ 109 h 153"/>
              <a:gd name="T92" fmla="*/ 28 w 75"/>
              <a:gd name="T93" fmla="*/ 116 h 153"/>
              <a:gd name="T94" fmla="*/ 40 w 75"/>
              <a:gd name="T95" fmla="*/ 153 h 153"/>
              <a:gd name="T96" fmla="*/ 59 w 75"/>
              <a:gd name="T97" fmla="*/ 78 h 153"/>
              <a:gd name="T98" fmla="*/ 62 w 75"/>
              <a:gd name="T99" fmla="*/ 81 h 153"/>
              <a:gd name="T100" fmla="*/ 56 w 75"/>
              <a:gd name="T101" fmla="*/ 7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5" h="153">
                <a:moveTo>
                  <a:pt x="40" y="153"/>
                </a:moveTo>
                <a:lnTo>
                  <a:pt x="43" y="153"/>
                </a:lnTo>
                <a:lnTo>
                  <a:pt x="43" y="153"/>
                </a:lnTo>
                <a:lnTo>
                  <a:pt x="47" y="150"/>
                </a:lnTo>
                <a:lnTo>
                  <a:pt x="50" y="147"/>
                </a:lnTo>
                <a:lnTo>
                  <a:pt x="50" y="147"/>
                </a:lnTo>
                <a:lnTo>
                  <a:pt x="50" y="144"/>
                </a:lnTo>
                <a:lnTo>
                  <a:pt x="50" y="144"/>
                </a:lnTo>
                <a:lnTo>
                  <a:pt x="50" y="138"/>
                </a:lnTo>
                <a:lnTo>
                  <a:pt x="50" y="131"/>
                </a:lnTo>
                <a:lnTo>
                  <a:pt x="50" y="128"/>
                </a:lnTo>
                <a:lnTo>
                  <a:pt x="50" y="128"/>
                </a:lnTo>
                <a:lnTo>
                  <a:pt x="53" y="125"/>
                </a:lnTo>
                <a:lnTo>
                  <a:pt x="56" y="125"/>
                </a:lnTo>
                <a:lnTo>
                  <a:pt x="59" y="122"/>
                </a:lnTo>
                <a:lnTo>
                  <a:pt x="59" y="119"/>
                </a:lnTo>
                <a:lnTo>
                  <a:pt x="72" y="109"/>
                </a:lnTo>
                <a:lnTo>
                  <a:pt x="75" y="103"/>
                </a:lnTo>
                <a:lnTo>
                  <a:pt x="75" y="103"/>
                </a:lnTo>
                <a:lnTo>
                  <a:pt x="75" y="94"/>
                </a:lnTo>
                <a:lnTo>
                  <a:pt x="75" y="94"/>
                </a:lnTo>
                <a:lnTo>
                  <a:pt x="72" y="94"/>
                </a:lnTo>
                <a:lnTo>
                  <a:pt x="65" y="91"/>
                </a:lnTo>
                <a:lnTo>
                  <a:pt x="65" y="87"/>
                </a:lnTo>
                <a:lnTo>
                  <a:pt x="65" y="84"/>
                </a:lnTo>
                <a:lnTo>
                  <a:pt x="62" y="84"/>
                </a:lnTo>
                <a:lnTo>
                  <a:pt x="62" y="84"/>
                </a:lnTo>
                <a:lnTo>
                  <a:pt x="62" y="84"/>
                </a:lnTo>
                <a:lnTo>
                  <a:pt x="59" y="87"/>
                </a:lnTo>
                <a:lnTo>
                  <a:pt x="56" y="84"/>
                </a:lnTo>
                <a:lnTo>
                  <a:pt x="56" y="81"/>
                </a:lnTo>
                <a:lnTo>
                  <a:pt x="53" y="84"/>
                </a:lnTo>
                <a:lnTo>
                  <a:pt x="47" y="78"/>
                </a:lnTo>
                <a:lnTo>
                  <a:pt x="43" y="72"/>
                </a:lnTo>
                <a:lnTo>
                  <a:pt x="47" y="66"/>
                </a:lnTo>
                <a:lnTo>
                  <a:pt x="56" y="59"/>
                </a:lnTo>
                <a:lnTo>
                  <a:pt x="62" y="53"/>
                </a:lnTo>
                <a:lnTo>
                  <a:pt x="62" y="53"/>
                </a:lnTo>
                <a:lnTo>
                  <a:pt x="62" y="50"/>
                </a:lnTo>
                <a:lnTo>
                  <a:pt x="62" y="50"/>
                </a:lnTo>
                <a:lnTo>
                  <a:pt x="62" y="47"/>
                </a:lnTo>
                <a:lnTo>
                  <a:pt x="62" y="44"/>
                </a:lnTo>
                <a:lnTo>
                  <a:pt x="62" y="37"/>
                </a:lnTo>
                <a:lnTo>
                  <a:pt x="56" y="37"/>
                </a:lnTo>
                <a:lnTo>
                  <a:pt x="50" y="28"/>
                </a:lnTo>
                <a:lnTo>
                  <a:pt x="53" y="25"/>
                </a:lnTo>
                <a:lnTo>
                  <a:pt x="56" y="22"/>
                </a:lnTo>
                <a:lnTo>
                  <a:pt x="56" y="19"/>
                </a:lnTo>
                <a:lnTo>
                  <a:pt x="59" y="12"/>
                </a:lnTo>
                <a:lnTo>
                  <a:pt x="59" y="9"/>
                </a:lnTo>
                <a:lnTo>
                  <a:pt x="59" y="6"/>
                </a:lnTo>
                <a:lnTo>
                  <a:pt x="53" y="12"/>
                </a:lnTo>
                <a:lnTo>
                  <a:pt x="50" y="16"/>
                </a:lnTo>
                <a:lnTo>
                  <a:pt x="47" y="16"/>
                </a:lnTo>
                <a:lnTo>
                  <a:pt x="43" y="6"/>
                </a:lnTo>
                <a:lnTo>
                  <a:pt x="43" y="6"/>
                </a:lnTo>
                <a:lnTo>
                  <a:pt x="43" y="3"/>
                </a:lnTo>
                <a:lnTo>
                  <a:pt x="40" y="0"/>
                </a:lnTo>
                <a:lnTo>
                  <a:pt x="37" y="3"/>
                </a:lnTo>
                <a:lnTo>
                  <a:pt x="37" y="3"/>
                </a:lnTo>
                <a:lnTo>
                  <a:pt x="34" y="3"/>
                </a:lnTo>
                <a:lnTo>
                  <a:pt x="28" y="3"/>
                </a:lnTo>
                <a:lnTo>
                  <a:pt x="22" y="6"/>
                </a:lnTo>
                <a:lnTo>
                  <a:pt x="15" y="9"/>
                </a:lnTo>
                <a:lnTo>
                  <a:pt x="15" y="9"/>
                </a:lnTo>
                <a:lnTo>
                  <a:pt x="15" y="12"/>
                </a:lnTo>
                <a:lnTo>
                  <a:pt x="15" y="16"/>
                </a:lnTo>
                <a:lnTo>
                  <a:pt x="15" y="22"/>
                </a:lnTo>
                <a:lnTo>
                  <a:pt x="15" y="28"/>
                </a:lnTo>
                <a:lnTo>
                  <a:pt x="12" y="37"/>
                </a:lnTo>
                <a:lnTo>
                  <a:pt x="12" y="44"/>
                </a:lnTo>
                <a:lnTo>
                  <a:pt x="15" y="47"/>
                </a:lnTo>
                <a:lnTo>
                  <a:pt x="15" y="47"/>
                </a:lnTo>
                <a:lnTo>
                  <a:pt x="15" y="47"/>
                </a:lnTo>
                <a:lnTo>
                  <a:pt x="12" y="50"/>
                </a:lnTo>
                <a:lnTo>
                  <a:pt x="15" y="53"/>
                </a:lnTo>
                <a:lnTo>
                  <a:pt x="15" y="56"/>
                </a:lnTo>
                <a:lnTo>
                  <a:pt x="12" y="62"/>
                </a:lnTo>
                <a:lnTo>
                  <a:pt x="9" y="66"/>
                </a:lnTo>
                <a:lnTo>
                  <a:pt x="9" y="66"/>
                </a:lnTo>
                <a:lnTo>
                  <a:pt x="6" y="69"/>
                </a:lnTo>
                <a:lnTo>
                  <a:pt x="3" y="72"/>
                </a:lnTo>
                <a:lnTo>
                  <a:pt x="0" y="81"/>
                </a:lnTo>
                <a:lnTo>
                  <a:pt x="0" y="84"/>
                </a:lnTo>
                <a:lnTo>
                  <a:pt x="3" y="87"/>
                </a:lnTo>
                <a:lnTo>
                  <a:pt x="3" y="91"/>
                </a:lnTo>
                <a:lnTo>
                  <a:pt x="6" y="94"/>
                </a:lnTo>
                <a:lnTo>
                  <a:pt x="6" y="94"/>
                </a:lnTo>
                <a:lnTo>
                  <a:pt x="12" y="100"/>
                </a:lnTo>
                <a:lnTo>
                  <a:pt x="12" y="103"/>
                </a:lnTo>
                <a:lnTo>
                  <a:pt x="18" y="106"/>
                </a:lnTo>
                <a:lnTo>
                  <a:pt x="18" y="109"/>
                </a:lnTo>
                <a:lnTo>
                  <a:pt x="22" y="109"/>
                </a:lnTo>
                <a:lnTo>
                  <a:pt x="28" y="116"/>
                </a:lnTo>
                <a:lnTo>
                  <a:pt x="40" y="153"/>
                </a:lnTo>
                <a:lnTo>
                  <a:pt x="40" y="153"/>
                </a:lnTo>
                <a:close/>
                <a:moveTo>
                  <a:pt x="56" y="78"/>
                </a:moveTo>
                <a:lnTo>
                  <a:pt x="59" y="78"/>
                </a:lnTo>
                <a:lnTo>
                  <a:pt x="62" y="78"/>
                </a:lnTo>
                <a:lnTo>
                  <a:pt x="62" y="81"/>
                </a:lnTo>
                <a:lnTo>
                  <a:pt x="59" y="81"/>
                </a:lnTo>
                <a:lnTo>
                  <a:pt x="56" y="78"/>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6" name="Freeform 114">
            <a:extLst>
              <a:ext uri="{FF2B5EF4-FFF2-40B4-BE49-F238E27FC236}">
                <a16:creationId xmlns:a16="http://schemas.microsoft.com/office/drawing/2014/main" id="{E920A03B-2FF5-5BCE-10F0-C715AC6434E3}"/>
              </a:ext>
            </a:extLst>
          </p:cNvPr>
          <p:cNvSpPr>
            <a:spLocks/>
          </p:cNvSpPr>
          <p:nvPr userDrawn="1"/>
        </p:nvSpPr>
        <p:spPr bwMode="auto">
          <a:xfrm>
            <a:off x="12642028" y="6952535"/>
            <a:ext cx="1250869" cy="1212850"/>
          </a:xfrm>
          <a:custGeom>
            <a:avLst/>
            <a:gdLst>
              <a:gd name="T0" fmla="*/ 391 w 394"/>
              <a:gd name="T1" fmla="*/ 291 h 382"/>
              <a:gd name="T2" fmla="*/ 382 w 394"/>
              <a:gd name="T3" fmla="*/ 275 h 382"/>
              <a:gd name="T4" fmla="*/ 363 w 394"/>
              <a:gd name="T5" fmla="*/ 272 h 382"/>
              <a:gd name="T6" fmla="*/ 357 w 394"/>
              <a:gd name="T7" fmla="*/ 263 h 382"/>
              <a:gd name="T8" fmla="*/ 357 w 394"/>
              <a:gd name="T9" fmla="*/ 250 h 382"/>
              <a:gd name="T10" fmla="*/ 347 w 394"/>
              <a:gd name="T11" fmla="*/ 238 h 382"/>
              <a:gd name="T12" fmla="*/ 347 w 394"/>
              <a:gd name="T13" fmla="*/ 229 h 382"/>
              <a:gd name="T14" fmla="*/ 354 w 394"/>
              <a:gd name="T15" fmla="*/ 216 h 382"/>
              <a:gd name="T16" fmla="*/ 354 w 394"/>
              <a:gd name="T17" fmla="*/ 200 h 382"/>
              <a:gd name="T18" fmla="*/ 350 w 394"/>
              <a:gd name="T19" fmla="*/ 182 h 382"/>
              <a:gd name="T20" fmla="*/ 347 w 394"/>
              <a:gd name="T21" fmla="*/ 157 h 382"/>
              <a:gd name="T22" fmla="*/ 347 w 394"/>
              <a:gd name="T23" fmla="*/ 147 h 382"/>
              <a:gd name="T24" fmla="*/ 325 w 394"/>
              <a:gd name="T25" fmla="*/ 103 h 382"/>
              <a:gd name="T26" fmla="*/ 319 w 394"/>
              <a:gd name="T27" fmla="*/ 94 h 382"/>
              <a:gd name="T28" fmla="*/ 310 w 394"/>
              <a:gd name="T29" fmla="*/ 85 h 382"/>
              <a:gd name="T30" fmla="*/ 307 w 394"/>
              <a:gd name="T31" fmla="*/ 75 h 382"/>
              <a:gd name="T32" fmla="*/ 316 w 394"/>
              <a:gd name="T33" fmla="*/ 60 h 382"/>
              <a:gd name="T34" fmla="*/ 322 w 394"/>
              <a:gd name="T35" fmla="*/ 50 h 382"/>
              <a:gd name="T36" fmla="*/ 322 w 394"/>
              <a:gd name="T37" fmla="*/ 41 h 382"/>
              <a:gd name="T38" fmla="*/ 319 w 394"/>
              <a:gd name="T39" fmla="*/ 38 h 382"/>
              <a:gd name="T40" fmla="*/ 322 w 394"/>
              <a:gd name="T41" fmla="*/ 16 h 382"/>
              <a:gd name="T42" fmla="*/ 322 w 394"/>
              <a:gd name="T43" fmla="*/ 3 h 382"/>
              <a:gd name="T44" fmla="*/ 313 w 394"/>
              <a:gd name="T45" fmla="*/ 3 h 382"/>
              <a:gd name="T46" fmla="*/ 297 w 394"/>
              <a:gd name="T47" fmla="*/ 0 h 382"/>
              <a:gd name="T48" fmla="*/ 285 w 394"/>
              <a:gd name="T49" fmla="*/ 6 h 382"/>
              <a:gd name="T50" fmla="*/ 279 w 394"/>
              <a:gd name="T51" fmla="*/ 0 h 382"/>
              <a:gd name="T52" fmla="*/ 272 w 394"/>
              <a:gd name="T53" fmla="*/ 6 h 382"/>
              <a:gd name="T54" fmla="*/ 263 w 394"/>
              <a:gd name="T55" fmla="*/ 10 h 382"/>
              <a:gd name="T56" fmla="*/ 250 w 394"/>
              <a:gd name="T57" fmla="*/ 6 h 382"/>
              <a:gd name="T58" fmla="*/ 238 w 394"/>
              <a:gd name="T59" fmla="*/ 6 h 382"/>
              <a:gd name="T60" fmla="*/ 232 w 394"/>
              <a:gd name="T61" fmla="*/ 3 h 382"/>
              <a:gd name="T62" fmla="*/ 219 w 394"/>
              <a:gd name="T63" fmla="*/ 6 h 382"/>
              <a:gd name="T64" fmla="*/ 207 w 394"/>
              <a:gd name="T65" fmla="*/ 10 h 382"/>
              <a:gd name="T66" fmla="*/ 191 w 394"/>
              <a:gd name="T67" fmla="*/ 10 h 382"/>
              <a:gd name="T68" fmla="*/ 175 w 394"/>
              <a:gd name="T69" fmla="*/ 19 h 382"/>
              <a:gd name="T70" fmla="*/ 166 w 394"/>
              <a:gd name="T71" fmla="*/ 28 h 382"/>
              <a:gd name="T72" fmla="*/ 160 w 394"/>
              <a:gd name="T73" fmla="*/ 28 h 382"/>
              <a:gd name="T74" fmla="*/ 150 w 394"/>
              <a:gd name="T75" fmla="*/ 31 h 382"/>
              <a:gd name="T76" fmla="*/ 144 w 394"/>
              <a:gd name="T77" fmla="*/ 38 h 382"/>
              <a:gd name="T78" fmla="*/ 128 w 394"/>
              <a:gd name="T79" fmla="*/ 44 h 382"/>
              <a:gd name="T80" fmla="*/ 135 w 394"/>
              <a:gd name="T81" fmla="*/ 50 h 382"/>
              <a:gd name="T82" fmla="*/ 135 w 394"/>
              <a:gd name="T83" fmla="*/ 63 h 382"/>
              <a:gd name="T84" fmla="*/ 138 w 394"/>
              <a:gd name="T85" fmla="*/ 88 h 382"/>
              <a:gd name="T86" fmla="*/ 144 w 394"/>
              <a:gd name="T87" fmla="*/ 97 h 382"/>
              <a:gd name="T88" fmla="*/ 150 w 394"/>
              <a:gd name="T89" fmla="*/ 100 h 382"/>
              <a:gd name="T90" fmla="*/ 144 w 394"/>
              <a:gd name="T91" fmla="*/ 113 h 382"/>
              <a:gd name="T92" fmla="*/ 113 w 394"/>
              <a:gd name="T93" fmla="*/ 119 h 382"/>
              <a:gd name="T94" fmla="*/ 107 w 394"/>
              <a:gd name="T95" fmla="*/ 135 h 382"/>
              <a:gd name="T96" fmla="*/ 72 w 394"/>
              <a:gd name="T97" fmla="*/ 160 h 382"/>
              <a:gd name="T98" fmla="*/ 41 w 394"/>
              <a:gd name="T99" fmla="*/ 172 h 382"/>
              <a:gd name="T100" fmla="*/ 19 w 394"/>
              <a:gd name="T101" fmla="*/ 175 h 382"/>
              <a:gd name="T102" fmla="*/ 0 w 394"/>
              <a:gd name="T103" fmla="*/ 191 h 382"/>
              <a:gd name="T104" fmla="*/ 0 w 394"/>
              <a:gd name="T105" fmla="*/ 213 h 382"/>
              <a:gd name="T106" fmla="*/ 72 w 394"/>
              <a:gd name="T107" fmla="*/ 260 h 382"/>
              <a:gd name="T108" fmla="*/ 203 w 394"/>
              <a:gd name="T109" fmla="*/ 354 h 382"/>
              <a:gd name="T110" fmla="*/ 219 w 394"/>
              <a:gd name="T111" fmla="*/ 360 h 382"/>
              <a:gd name="T112" fmla="*/ 232 w 394"/>
              <a:gd name="T113" fmla="*/ 369 h 382"/>
              <a:gd name="T114" fmla="*/ 232 w 394"/>
              <a:gd name="T115" fmla="*/ 382 h 382"/>
              <a:gd name="T116" fmla="*/ 253 w 394"/>
              <a:gd name="T117" fmla="*/ 379 h 382"/>
              <a:gd name="T118" fmla="*/ 282 w 394"/>
              <a:gd name="T119" fmla="*/ 372 h 382"/>
              <a:gd name="T120" fmla="*/ 394 w 394"/>
              <a:gd name="T121" fmla="*/ 294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4" h="382">
                <a:moveTo>
                  <a:pt x="394" y="294"/>
                </a:moveTo>
                <a:lnTo>
                  <a:pt x="391" y="294"/>
                </a:lnTo>
                <a:lnTo>
                  <a:pt x="391" y="291"/>
                </a:lnTo>
                <a:lnTo>
                  <a:pt x="388" y="288"/>
                </a:lnTo>
                <a:lnTo>
                  <a:pt x="385" y="279"/>
                </a:lnTo>
                <a:lnTo>
                  <a:pt x="382" y="275"/>
                </a:lnTo>
                <a:lnTo>
                  <a:pt x="379" y="272"/>
                </a:lnTo>
                <a:lnTo>
                  <a:pt x="369" y="272"/>
                </a:lnTo>
                <a:lnTo>
                  <a:pt x="363" y="272"/>
                </a:lnTo>
                <a:lnTo>
                  <a:pt x="360" y="269"/>
                </a:lnTo>
                <a:lnTo>
                  <a:pt x="360" y="266"/>
                </a:lnTo>
                <a:lnTo>
                  <a:pt x="357" y="263"/>
                </a:lnTo>
                <a:lnTo>
                  <a:pt x="357" y="260"/>
                </a:lnTo>
                <a:lnTo>
                  <a:pt x="357" y="257"/>
                </a:lnTo>
                <a:lnTo>
                  <a:pt x="357" y="250"/>
                </a:lnTo>
                <a:lnTo>
                  <a:pt x="357" y="250"/>
                </a:lnTo>
                <a:lnTo>
                  <a:pt x="350" y="244"/>
                </a:lnTo>
                <a:lnTo>
                  <a:pt x="347" y="238"/>
                </a:lnTo>
                <a:lnTo>
                  <a:pt x="344" y="235"/>
                </a:lnTo>
                <a:lnTo>
                  <a:pt x="344" y="232"/>
                </a:lnTo>
                <a:lnTo>
                  <a:pt x="347" y="229"/>
                </a:lnTo>
                <a:lnTo>
                  <a:pt x="350" y="225"/>
                </a:lnTo>
                <a:lnTo>
                  <a:pt x="354" y="225"/>
                </a:lnTo>
                <a:lnTo>
                  <a:pt x="354" y="216"/>
                </a:lnTo>
                <a:lnTo>
                  <a:pt x="350" y="213"/>
                </a:lnTo>
                <a:lnTo>
                  <a:pt x="350" y="210"/>
                </a:lnTo>
                <a:lnTo>
                  <a:pt x="354" y="200"/>
                </a:lnTo>
                <a:lnTo>
                  <a:pt x="350" y="194"/>
                </a:lnTo>
                <a:lnTo>
                  <a:pt x="350" y="185"/>
                </a:lnTo>
                <a:lnTo>
                  <a:pt x="350" y="182"/>
                </a:lnTo>
                <a:lnTo>
                  <a:pt x="350" y="175"/>
                </a:lnTo>
                <a:lnTo>
                  <a:pt x="350" y="163"/>
                </a:lnTo>
                <a:lnTo>
                  <a:pt x="347" y="157"/>
                </a:lnTo>
                <a:lnTo>
                  <a:pt x="344" y="157"/>
                </a:lnTo>
                <a:lnTo>
                  <a:pt x="344" y="150"/>
                </a:lnTo>
                <a:lnTo>
                  <a:pt x="347" y="147"/>
                </a:lnTo>
                <a:lnTo>
                  <a:pt x="335" y="110"/>
                </a:lnTo>
                <a:lnTo>
                  <a:pt x="329" y="103"/>
                </a:lnTo>
                <a:lnTo>
                  <a:pt x="325" y="103"/>
                </a:lnTo>
                <a:lnTo>
                  <a:pt x="325" y="100"/>
                </a:lnTo>
                <a:lnTo>
                  <a:pt x="319" y="97"/>
                </a:lnTo>
                <a:lnTo>
                  <a:pt x="319" y="94"/>
                </a:lnTo>
                <a:lnTo>
                  <a:pt x="313" y="88"/>
                </a:lnTo>
                <a:lnTo>
                  <a:pt x="313" y="88"/>
                </a:lnTo>
                <a:lnTo>
                  <a:pt x="310" y="85"/>
                </a:lnTo>
                <a:lnTo>
                  <a:pt x="310" y="81"/>
                </a:lnTo>
                <a:lnTo>
                  <a:pt x="307" y="78"/>
                </a:lnTo>
                <a:lnTo>
                  <a:pt x="307" y="75"/>
                </a:lnTo>
                <a:lnTo>
                  <a:pt x="310" y="66"/>
                </a:lnTo>
                <a:lnTo>
                  <a:pt x="313" y="63"/>
                </a:lnTo>
                <a:lnTo>
                  <a:pt x="316" y="60"/>
                </a:lnTo>
                <a:lnTo>
                  <a:pt x="316" y="60"/>
                </a:lnTo>
                <a:lnTo>
                  <a:pt x="319" y="56"/>
                </a:lnTo>
                <a:lnTo>
                  <a:pt x="322" y="50"/>
                </a:lnTo>
                <a:lnTo>
                  <a:pt x="322" y="47"/>
                </a:lnTo>
                <a:lnTo>
                  <a:pt x="319" y="44"/>
                </a:lnTo>
                <a:lnTo>
                  <a:pt x="322" y="41"/>
                </a:lnTo>
                <a:lnTo>
                  <a:pt x="322" y="41"/>
                </a:lnTo>
                <a:lnTo>
                  <a:pt x="322" y="41"/>
                </a:lnTo>
                <a:lnTo>
                  <a:pt x="319" y="38"/>
                </a:lnTo>
                <a:lnTo>
                  <a:pt x="319" y="31"/>
                </a:lnTo>
                <a:lnTo>
                  <a:pt x="322" y="22"/>
                </a:lnTo>
                <a:lnTo>
                  <a:pt x="322" y="16"/>
                </a:lnTo>
                <a:lnTo>
                  <a:pt x="322" y="10"/>
                </a:lnTo>
                <a:lnTo>
                  <a:pt x="322" y="6"/>
                </a:lnTo>
                <a:lnTo>
                  <a:pt x="322" y="3"/>
                </a:lnTo>
                <a:lnTo>
                  <a:pt x="322" y="3"/>
                </a:lnTo>
                <a:lnTo>
                  <a:pt x="316" y="3"/>
                </a:lnTo>
                <a:lnTo>
                  <a:pt x="313" y="3"/>
                </a:lnTo>
                <a:lnTo>
                  <a:pt x="307" y="6"/>
                </a:lnTo>
                <a:lnTo>
                  <a:pt x="300" y="3"/>
                </a:lnTo>
                <a:lnTo>
                  <a:pt x="297" y="0"/>
                </a:lnTo>
                <a:lnTo>
                  <a:pt x="297" y="3"/>
                </a:lnTo>
                <a:lnTo>
                  <a:pt x="291" y="6"/>
                </a:lnTo>
                <a:lnTo>
                  <a:pt x="285" y="6"/>
                </a:lnTo>
                <a:lnTo>
                  <a:pt x="285" y="3"/>
                </a:lnTo>
                <a:lnTo>
                  <a:pt x="282" y="0"/>
                </a:lnTo>
                <a:lnTo>
                  <a:pt x="279" y="0"/>
                </a:lnTo>
                <a:lnTo>
                  <a:pt x="279" y="3"/>
                </a:lnTo>
                <a:lnTo>
                  <a:pt x="272" y="3"/>
                </a:lnTo>
                <a:lnTo>
                  <a:pt x="272" y="6"/>
                </a:lnTo>
                <a:lnTo>
                  <a:pt x="269" y="6"/>
                </a:lnTo>
                <a:lnTo>
                  <a:pt x="266" y="6"/>
                </a:lnTo>
                <a:lnTo>
                  <a:pt x="263" y="10"/>
                </a:lnTo>
                <a:lnTo>
                  <a:pt x="257" y="10"/>
                </a:lnTo>
                <a:lnTo>
                  <a:pt x="257" y="6"/>
                </a:lnTo>
                <a:lnTo>
                  <a:pt x="250" y="6"/>
                </a:lnTo>
                <a:lnTo>
                  <a:pt x="247" y="3"/>
                </a:lnTo>
                <a:lnTo>
                  <a:pt x="241" y="6"/>
                </a:lnTo>
                <a:lnTo>
                  <a:pt x="238" y="6"/>
                </a:lnTo>
                <a:lnTo>
                  <a:pt x="235" y="6"/>
                </a:lnTo>
                <a:lnTo>
                  <a:pt x="232" y="3"/>
                </a:lnTo>
                <a:lnTo>
                  <a:pt x="232" y="3"/>
                </a:lnTo>
                <a:lnTo>
                  <a:pt x="228" y="10"/>
                </a:lnTo>
                <a:lnTo>
                  <a:pt x="225" y="10"/>
                </a:lnTo>
                <a:lnTo>
                  <a:pt x="219" y="6"/>
                </a:lnTo>
                <a:lnTo>
                  <a:pt x="216" y="13"/>
                </a:lnTo>
                <a:lnTo>
                  <a:pt x="213" y="13"/>
                </a:lnTo>
                <a:lnTo>
                  <a:pt x="207" y="10"/>
                </a:lnTo>
                <a:lnTo>
                  <a:pt x="203" y="10"/>
                </a:lnTo>
                <a:lnTo>
                  <a:pt x="197" y="13"/>
                </a:lnTo>
                <a:lnTo>
                  <a:pt x="191" y="10"/>
                </a:lnTo>
                <a:lnTo>
                  <a:pt x="182" y="19"/>
                </a:lnTo>
                <a:lnTo>
                  <a:pt x="175" y="19"/>
                </a:lnTo>
                <a:lnTo>
                  <a:pt x="175" y="19"/>
                </a:lnTo>
                <a:lnTo>
                  <a:pt x="169" y="22"/>
                </a:lnTo>
                <a:lnTo>
                  <a:pt x="169" y="25"/>
                </a:lnTo>
                <a:lnTo>
                  <a:pt x="166" y="28"/>
                </a:lnTo>
                <a:lnTo>
                  <a:pt x="166" y="28"/>
                </a:lnTo>
                <a:lnTo>
                  <a:pt x="163" y="28"/>
                </a:lnTo>
                <a:lnTo>
                  <a:pt x="160" y="28"/>
                </a:lnTo>
                <a:lnTo>
                  <a:pt x="160" y="28"/>
                </a:lnTo>
                <a:lnTo>
                  <a:pt x="157" y="31"/>
                </a:lnTo>
                <a:lnTo>
                  <a:pt x="150" y="31"/>
                </a:lnTo>
                <a:lnTo>
                  <a:pt x="147" y="31"/>
                </a:lnTo>
                <a:lnTo>
                  <a:pt x="144" y="35"/>
                </a:lnTo>
                <a:lnTo>
                  <a:pt x="144" y="38"/>
                </a:lnTo>
                <a:lnTo>
                  <a:pt x="141" y="41"/>
                </a:lnTo>
                <a:lnTo>
                  <a:pt x="135" y="44"/>
                </a:lnTo>
                <a:lnTo>
                  <a:pt x="128" y="44"/>
                </a:lnTo>
                <a:lnTo>
                  <a:pt x="132" y="47"/>
                </a:lnTo>
                <a:lnTo>
                  <a:pt x="132" y="47"/>
                </a:lnTo>
                <a:lnTo>
                  <a:pt x="135" y="50"/>
                </a:lnTo>
                <a:lnTo>
                  <a:pt x="135" y="53"/>
                </a:lnTo>
                <a:lnTo>
                  <a:pt x="135" y="56"/>
                </a:lnTo>
                <a:lnTo>
                  <a:pt x="135" y="63"/>
                </a:lnTo>
                <a:lnTo>
                  <a:pt x="135" y="69"/>
                </a:lnTo>
                <a:lnTo>
                  <a:pt x="135" y="72"/>
                </a:lnTo>
                <a:lnTo>
                  <a:pt x="138" y="88"/>
                </a:lnTo>
                <a:lnTo>
                  <a:pt x="141" y="94"/>
                </a:lnTo>
                <a:lnTo>
                  <a:pt x="141" y="97"/>
                </a:lnTo>
                <a:lnTo>
                  <a:pt x="144" y="97"/>
                </a:lnTo>
                <a:lnTo>
                  <a:pt x="147" y="100"/>
                </a:lnTo>
                <a:lnTo>
                  <a:pt x="147" y="100"/>
                </a:lnTo>
                <a:lnTo>
                  <a:pt x="150" y="100"/>
                </a:lnTo>
                <a:lnTo>
                  <a:pt x="147" y="107"/>
                </a:lnTo>
                <a:lnTo>
                  <a:pt x="147" y="107"/>
                </a:lnTo>
                <a:lnTo>
                  <a:pt x="144" y="113"/>
                </a:lnTo>
                <a:lnTo>
                  <a:pt x="122" y="113"/>
                </a:lnTo>
                <a:lnTo>
                  <a:pt x="119" y="113"/>
                </a:lnTo>
                <a:lnTo>
                  <a:pt x="113" y="119"/>
                </a:lnTo>
                <a:lnTo>
                  <a:pt x="110" y="122"/>
                </a:lnTo>
                <a:lnTo>
                  <a:pt x="107" y="128"/>
                </a:lnTo>
                <a:lnTo>
                  <a:pt x="107" y="135"/>
                </a:lnTo>
                <a:lnTo>
                  <a:pt x="107" y="138"/>
                </a:lnTo>
                <a:lnTo>
                  <a:pt x="91" y="147"/>
                </a:lnTo>
                <a:lnTo>
                  <a:pt x="72" y="160"/>
                </a:lnTo>
                <a:lnTo>
                  <a:pt x="53" y="169"/>
                </a:lnTo>
                <a:lnTo>
                  <a:pt x="47" y="172"/>
                </a:lnTo>
                <a:lnTo>
                  <a:pt x="41" y="172"/>
                </a:lnTo>
                <a:lnTo>
                  <a:pt x="35" y="172"/>
                </a:lnTo>
                <a:lnTo>
                  <a:pt x="32" y="172"/>
                </a:lnTo>
                <a:lnTo>
                  <a:pt x="19" y="175"/>
                </a:lnTo>
                <a:lnTo>
                  <a:pt x="13" y="178"/>
                </a:lnTo>
                <a:lnTo>
                  <a:pt x="10" y="182"/>
                </a:lnTo>
                <a:lnTo>
                  <a:pt x="0" y="191"/>
                </a:lnTo>
                <a:lnTo>
                  <a:pt x="0" y="207"/>
                </a:lnTo>
                <a:lnTo>
                  <a:pt x="0" y="207"/>
                </a:lnTo>
                <a:lnTo>
                  <a:pt x="0" y="213"/>
                </a:lnTo>
                <a:lnTo>
                  <a:pt x="0" y="213"/>
                </a:lnTo>
                <a:lnTo>
                  <a:pt x="0" y="213"/>
                </a:lnTo>
                <a:lnTo>
                  <a:pt x="72" y="260"/>
                </a:lnTo>
                <a:lnTo>
                  <a:pt x="72" y="260"/>
                </a:lnTo>
                <a:lnTo>
                  <a:pt x="200" y="344"/>
                </a:lnTo>
                <a:lnTo>
                  <a:pt x="203" y="354"/>
                </a:lnTo>
                <a:lnTo>
                  <a:pt x="207" y="357"/>
                </a:lnTo>
                <a:lnTo>
                  <a:pt x="213" y="357"/>
                </a:lnTo>
                <a:lnTo>
                  <a:pt x="219" y="360"/>
                </a:lnTo>
                <a:lnTo>
                  <a:pt x="222" y="363"/>
                </a:lnTo>
                <a:lnTo>
                  <a:pt x="228" y="366"/>
                </a:lnTo>
                <a:lnTo>
                  <a:pt x="232" y="369"/>
                </a:lnTo>
                <a:lnTo>
                  <a:pt x="232" y="372"/>
                </a:lnTo>
                <a:lnTo>
                  <a:pt x="228" y="379"/>
                </a:lnTo>
                <a:lnTo>
                  <a:pt x="232" y="382"/>
                </a:lnTo>
                <a:lnTo>
                  <a:pt x="235" y="382"/>
                </a:lnTo>
                <a:lnTo>
                  <a:pt x="244" y="382"/>
                </a:lnTo>
                <a:lnTo>
                  <a:pt x="253" y="379"/>
                </a:lnTo>
                <a:lnTo>
                  <a:pt x="253" y="379"/>
                </a:lnTo>
                <a:lnTo>
                  <a:pt x="253" y="379"/>
                </a:lnTo>
                <a:lnTo>
                  <a:pt x="282" y="372"/>
                </a:lnTo>
                <a:lnTo>
                  <a:pt x="307" y="351"/>
                </a:lnTo>
                <a:lnTo>
                  <a:pt x="394" y="294"/>
                </a:lnTo>
                <a:lnTo>
                  <a:pt x="394" y="294"/>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7" name="Freeform 115">
            <a:extLst>
              <a:ext uri="{FF2B5EF4-FFF2-40B4-BE49-F238E27FC236}">
                <a16:creationId xmlns:a16="http://schemas.microsoft.com/office/drawing/2014/main" id="{3178F600-193A-5956-2E3F-5727CB179D45}"/>
              </a:ext>
            </a:extLst>
          </p:cNvPr>
          <p:cNvSpPr>
            <a:spLocks/>
          </p:cNvSpPr>
          <p:nvPr userDrawn="1"/>
        </p:nvSpPr>
        <p:spPr bwMode="auto">
          <a:xfrm>
            <a:off x="12394392" y="7031909"/>
            <a:ext cx="723855" cy="577850"/>
          </a:xfrm>
          <a:custGeom>
            <a:avLst/>
            <a:gdLst>
              <a:gd name="T0" fmla="*/ 78 w 228"/>
              <a:gd name="T1" fmla="*/ 166 h 182"/>
              <a:gd name="T2" fmla="*/ 91 w 228"/>
              <a:gd name="T3" fmla="*/ 153 h 182"/>
              <a:gd name="T4" fmla="*/ 110 w 228"/>
              <a:gd name="T5" fmla="*/ 147 h 182"/>
              <a:gd name="T6" fmla="*/ 119 w 228"/>
              <a:gd name="T7" fmla="*/ 147 h 182"/>
              <a:gd name="T8" fmla="*/ 131 w 228"/>
              <a:gd name="T9" fmla="*/ 144 h 182"/>
              <a:gd name="T10" fmla="*/ 169 w 228"/>
              <a:gd name="T11" fmla="*/ 122 h 182"/>
              <a:gd name="T12" fmla="*/ 185 w 228"/>
              <a:gd name="T13" fmla="*/ 110 h 182"/>
              <a:gd name="T14" fmla="*/ 188 w 228"/>
              <a:gd name="T15" fmla="*/ 97 h 182"/>
              <a:gd name="T16" fmla="*/ 197 w 228"/>
              <a:gd name="T17" fmla="*/ 88 h 182"/>
              <a:gd name="T18" fmla="*/ 222 w 228"/>
              <a:gd name="T19" fmla="*/ 88 h 182"/>
              <a:gd name="T20" fmla="*/ 225 w 228"/>
              <a:gd name="T21" fmla="*/ 82 h 182"/>
              <a:gd name="T22" fmla="*/ 225 w 228"/>
              <a:gd name="T23" fmla="*/ 75 h 182"/>
              <a:gd name="T24" fmla="*/ 222 w 228"/>
              <a:gd name="T25" fmla="*/ 72 h 182"/>
              <a:gd name="T26" fmla="*/ 219 w 228"/>
              <a:gd name="T27" fmla="*/ 69 h 182"/>
              <a:gd name="T28" fmla="*/ 213 w 228"/>
              <a:gd name="T29" fmla="*/ 47 h 182"/>
              <a:gd name="T30" fmla="*/ 213 w 228"/>
              <a:gd name="T31" fmla="*/ 38 h 182"/>
              <a:gd name="T32" fmla="*/ 213 w 228"/>
              <a:gd name="T33" fmla="*/ 28 h 182"/>
              <a:gd name="T34" fmla="*/ 210 w 228"/>
              <a:gd name="T35" fmla="*/ 22 h 182"/>
              <a:gd name="T36" fmla="*/ 206 w 228"/>
              <a:gd name="T37" fmla="*/ 19 h 182"/>
              <a:gd name="T38" fmla="*/ 194 w 228"/>
              <a:gd name="T39" fmla="*/ 19 h 182"/>
              <a:gd name="T40" fmla="*/ 191 w 228"/>
              <a:gd name="T41" fmla="*/ 13 h 182"/>
              <a:gd name="T42" fmla="*/ 188 w 228"/>
              <a:gd name="T43" fmla="*/ 10 h 182"/>
              <a:gd name="T44" fmla="*/ 178 w 228"/>
              <a:gd name="T45" fmla="*/ 16 h 182"/>
              <a:gd name="T46" fmla="*/ 169 w 228"/>
              <a:gd name="T47" fmla="*/ 13 h 182"/>
              <a:gd name="T48" fmla="*/ 160 w 228"/>
              <a:gd name="T49" fmla="*/ 16 h 182"/>
              <a:gd name="T50" fmla="*/ 150 w 228"/>
              <a:gd name="T51" fmla="*/ 10 h 182"/>
              <a:gd name="T52" fmla="*/ 147 w 228"/>
              <a:gd name="T53" fmla="*/ 6 h 182"/>
              <a:gd name="T54" fmla="*/ 147 w 228"/>
              <a:gd name="T55" fmla="*/ 3 h 182"/>
              <a:gd name="T56" fmla="*/ 141 w 228"/>
              <a:gd name="T57" fmla="*/ 3 h 182"/>
              <a:gd name="T58" fmla="*/ 138 w 228"/>
              <a:gd name="T59" fmla="*/ 3 h 182"/>
              <a:gd name="T60" fmla="*/ 131 w 228"/>
              <a:gd name="T61" fmla="*/ 19 h 182"/>
              <a:gd name="T62" fmla="*/ 128 w 228"/>
              <a:gd name="T63" fmla="*/ 31 h 182"/>
              <a:gd name="T64" fmla="*/ 116 w 228"/>
              <a:gd name="T65" fmla="*/ 44 h 182"/>
              <a:gd name="T66" fmla="*/ 110 w 228"/>
              <a:gd name="T67" fmla="*/ 47 h 182"/>
              <a:gd name="T68" fmla="*/ 97 w 228"/>
              <a:gd name="T69" fmla="*/ 56 h 182"/>
              <a:gd name="T70" fmla="*/ 88 w 228"/>
              <a:gd name="T71" fmla="*/ 63 h 182"/>
              <a:gd name="T72" fmla="*/ 78 w 228"/>
              <a:gd name="T73" fmla="*/ 69 h 182"/>
              <a:gd name="T74" fmla="*/ 72 w 228"/>
              <a:gd name="T75" fmla="*/ 82 h 182"/>
              <a:gd name="T76" fmla="*/ 66 w 228"/>
              <a:gd name="T77" fmla="*/ 94 h 182"/>
              <a:gd name="T78" fmla="*/ 60 w 228"/>
              <a:gd name="T79" fmla="*/ 107 h 182"/>
              <a:gd name="T80" fmla="*/ 60 w 228"/>
              <a:gd name="T81" fmla="*/ 122 h 182"/>
              <a:gd name="T82" fmla="*/ 63 w 228"/>
              <a:gd name="T83" fmla="*/ 125 h 182"/>
              <a:gd name="T84" fmla="*/ 50 w 228"/>
              <a:gd name="T85" fmla="*/ 144 h 182"/>
              <a:gd name="T86" fmla="*/ 44 w 228"/>
              <a:gd name="T87" fmla="*/ 157 h 182"/>
              <a:gd name="T88" fmla="*/ 25 w 228"/>
              <a:gd name="T89" fmla="*/ 169 h 182"/>
              <a:gd name="T90" fmla="*/ 0 w 228"/>
              <a:gd name="T91" fmla="*/ 182 h 182"/>
              <a:gd name="T92" fmla="*/ 78 w 228"/>
              <a:gd name="T93"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8" h="182">
                <a:moveTo>
                  <a:pt x="78" y="182"/>
                </a:moveTo>
                <a:lnTo>
                  <a:pt x="78" y="166"/>
                </a:lnTo>
                <a:lnTo>
                  <a:pt x="88" y="157"/>
                </a:lnTo>
                <a:lnTo>
                  <a:pt x="91" y="153"/>
                </a:lnTo>
                <a:lnTo>
                  <a:pt x="97" y="150"/>
                </a:lnTo>
                <a:lnTo>
                  <a:pt x="110" y="147"/>
                </a:lnTo>
                <a:lnTo>
                  <a:pt x="113" y="147"/>
                </a:lnTo>
                <a:lnTo>
                  <a:pt x="119" y="147"/>
                </a:lnTo>
                <a:lnTo>
                  <a:pt x="125" y="147"/>
                </a:lnTo>
                <a:lnTo>
                  <a:pt x="131" y="144"/>
                </a:lnTo>
                <a:lnTo>
                  <a:pt x="150" y="135"/>
                </a:lnTo>
                <a:lnTo>
                  <a:pt x="169" y="122"/>
                </a:lnTo>
                <a:lnTo>
                  <a:pt x="185" y="113"/>
                </a:lnTo>
                <a:lnTo>
                  <a:pt x="185" y="110"/>
                </a:lnTo>
                <a:lnTo>
                  <a:pt x="185" y="103"/>
                </a:lnTo>
                <a:lnTo>
                  <a:pt x="188" y="97"/>
                </a:lnTo>
                <a:lnTo>
                  <a:pt x="191" y="94"/>
                </a:lnTo>
                <a:lnTo>
                  <a:pt x="197" y="88"/>
                </a:lnTo>
                <a:lnTo>
                  <a:pt x="200" y="88"/>
                </a:lnTo>
                <a:lnTo>
                  <a:pt x="222" y="88"/>
                </a:lnTo>
                <a:lnTo>
                  <a:pt x="225" y="82"/>
                </a:lnTo>
                <a:lnTo>
                  <a:pt x="225" y="82"/>
                </a:lnTo>
                <a:lnTo>
                  <a:pt x="228" y="75"/>
                </a:lnTo>
                <a:lnTo>
                  <a:pt x="225" y="75"/>
                </a:lnTo>
                <a:lnTo>
                  <a:pt x="225" y="75"/>
                </a:lnTo>
                <a:lnTo>
                  <a:pt x="222" y="72"/>
                </a:lnTo>
                <a:lnTo>
                  <a:pt x="219" y="72"/>
                </a:lnTo>
                <a:lnTo>
                  <a:pt x="219" y="69"/>
                </a:lnTo>
                <a:lnTo>
                  <a:pt x="216" y="63"/>
                </a:lnTo>
                <a:lnTo>
                  <a:pt x="213" y="47"/>
                </a:lnTo>
                <a:lnTo>
                  <a:pt x="213" y="44"/>
                </a:lnTo>
                <a:lnTo>
                  <a:pt x="213" y="38"/>
                </a:lnTo>
                <a:lnTo>
                  <a:pt x="213" y="31"/>
                </a:lnTo>
                <a:lnTo>
                  <a:pt x="213" y="28"/>
                </a:lnTo>
                <a:lnTo>
                  <a:pt x="213" y="25"/>
                </a:lnTo>
                <a:lnTo>
                  <a:pt x="210" y="22"/>
                </a:lnTo>
                <a:lnTo>
                  <a:pt x="210" y="22"/>
                </a:lnTo>
                <a:lnTo>
                  <a:pt x="206" y="19"/>
                </a:lnTo>
                <a:lnTo>
                  <a:pt x="203" y="19"/>
                </a:lnTo>
                <a:lnTo>
                  <a:pt x="194" y="19"/>
                </a:lnTo>
                <a:lnTo>
                  <a:pt x="191" y="16"/>
                </a:lnTo>
                <a:lnTo>
                  <a:pt x="191" y="13"/>
                </a:lnTo>
                <a:lnTo>
                  <a:pt x="188" y="10"/>
                </a:lnTo>
                <a:lnTo>
                  <a:pt x="188" y="10"/>
                </a:lnTo>
                <a:lnTo>
                  <a:pt x="185" y="16"/>
                </a:lnTo>
                <a:lnTo>
                  <a:pt x="178" y="16"/>
                </a:lnTo>
                <a:lnTo>
                  <a:pt x="172" y="16"/>
                </a:lnTo>
                <a:lnTo>
                  <a:pt x="169" y="13"/>
                </a:lnTo>
                <a:lnTo>
                  <a:pt x="166" y="16"/>
                </a:lnTo>
                <a:lnTo>
                  <a:pt x="160" y="16"/>
                </a:lnTo>
                <a:lnTo>
                  <a:pt x="153" y="16"/>
                </a:lnTo>
                <a:lnTo>
                  <a:pt x="150" y="10"/>
                </a:lnTo>
                <a:lnTo>
                  <a:pt x="147" y="10"/>
                </a:lnTo>
                <a:lnTo>
                  <a:pt x="147" y="6"/>
                </a:lnTo>
                <a:lnTo>
                  <a:pt x="147" y="3"/>
                </a:lnTo>
                <a:lnTo>
                  <a:pt x="147" y="3"/>
                </a:lnTo>
                <a:lnTo>
                  <a:pt x="144" y="0"/>
                </a:lnTo>
                <a:lnTo>
                  <a:pt x="141" y="3"/>
                </a:lnTo>
                <a:lnTo>
                  <a:pt x="141" y="3"/>
                </a:lnTo>
                <a:lnTo>
                  <a:pt x="138" y="3"/>
                </a:lnTo>
                <a:lnTo>
                  <a:pt x="135" y="6"/>
                </a:lnTo>
                <a:lnTo>
                  <a:pt x="131" y="19"/>
                </a:lnTo>
                <a:lnTo>
                  <a:pt x="128" y="25"/>
                </a:lnTo>
                <a:lnTo>
                  <a:pt x="128" y="31"/>
                </a:lnTo>
                <a:lnTo>
                  <a:pt x="125" y="38"/>
                </a:lnTo>
                <a:lnTo>
                  <a:pt x="116" y="44"/>
                </a:lnTo>
                <a:lnTo>
                  <a:pt x="113" y="44"/>
                </a:lnTo>
                <a:lnTo>
                  <a:pt x="110" y="47"/>
                </a:lnTo>
                <a:lnTo>
                  <a:pt x="103" y="50"/>
                </a:lnTo>
                <a:lnTo>
                  <a:pt x="97" y="56"/>
                </a:lnTo>
                <a:lnTo>
                  <a:pt x="94" y="56"/>
                </a:lnTo>
                <a:lnTo>
                  <a:pt x="88" y="63"/>
                </a:lnTo>
                <a:lnTo>
                  <a:pt x="81" y="63"/>
                </a:lnTo>
                <a:lnTo>
                  <a:pt x="78" y="69"/>
                </a:lnTo>
                <a:lnTo>
                  <a:pt x="69" y="75"/>
                </a:lnTo>
                <a:lnTo>
                  <a:pt x="72" y="82"/>
                </a:lnTo>
                <a:lnTo>
                  <a:pt x="72" y="85"/>
                </a:lnTo>
                <a:lnTo>
                  <a:pt x="66" y="94"/>
                </a:lnTo>
                <a:lnTo>
                  <a:pt x="60" y="103"/>
                </a:lnTo>
                <a:lnTo>
                  <a:pt x="60" y="107"/>
                </a:lnTo>
                <a:lnTo>
                  <a:pt x="63" y="113"/>
                </a:lnTo>
                <a:lnTo>
                  <a:pt x="60" y="122"/>
                </a:lnTo>
                <a:lnTo>
                  <a:pt x="63" y="122"/>
                </a:lnTo>
                <a:lnTo>
                  <a:pt x="63" y="125"/>
                </a:lnTo>
                <a:lnTo>
                  <a:pt x="63" y="132"/>
                </a:lnTo>
                <a:lnTo>
                  <a:pt x="50" y="144"/>
                </a:lnTo>
                <a:lnTo>
                  <a:pt x="50" y="150"/>
                </a:lnTo>
                <a:lnTo>
                  <a:pt x="44" y="157"/>
                </a:lnTo>
                <a:lnTo>
                  <a:pt x="38" y="157"/>
                </a:lnTo>
                <a:lnTo>
                  <a:pt x="25" y="169"/>
                </a:lnTo>
                <a:lnTo>
                  <a:pt x="3" y="172"/>
                </a:lnTo>
                <a:lnTo>
                  <a:pt x="0" y="182"/>
                </a:lnTo>
                <a:lnTo>
                  <a:pt x="78" y="182"/>
                </a:lnTo>
                <a:lnTo>
                  <a:pt x="78" y="182"/>
                </a:lnTo>
                <a:lnTo>
                  <a:pt x="78" y="182"/>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8" name="Freeform 116">
            <a:extLst>
              <a:ext uri="{FF2B5EF4-FFF2-40B4-BE49-F238E27FC236}">
                <a16:creationId xmlns:a16="http://schemas.microsoft.com/office/drawing/2014/main" id="{410972D6-96EE-C511-5928-A4D17BAEC05E}"/>
              </a:ext>
            </a:extLst>
          </p:cNvPr>
          <p:cNvSpPr>
            <a:spLocks/>
          </p:cNvSpPr>
          <p:nvPr userDrawn="1"/>
        </p:nvSpPr>
        <p:spPr bwMode="auto">
          <a:xfrm>
            <a:off x="12137235" y="7609756"/>
            <a:ext cx="504793" cy="406400"/>
          </a:xfrm>
          <a:custGeom>
            <a:avLst/>
            <a:gdLst>
              <a:gd name="T0" fmla="*/ 159 w 159"/>
              <a:gd name="T1" fmla="*/ 6 h 128"/>
              <a:gd name="T2" fmla="*/ 159 w 159"/>
              <a:gd name="T3" fmla="*/ 0 h 128"/>
              <a:gd name="T4" fmla="*/ 81 w 159"/>
              <a:gd name="T5" fmla="*/ 0 h 128"/>
              <a:gd name="T6" fmla="*/ 72 w 159"/>
              <a:gd name="T7" fmla="*/ 9 h 128"/>
              <a:gd name="T8" fmla="*/ 72 w 159"/>
              <a:gd name="T9" fmla="*/ 15 h 128"/>
              <a:gd name="T10" fmla="*/ 69 w 159"/>
              <a:gd name="T11" fmla="*/ 15 h 128"/>
              <a:gd name="T12" fmla="*/ 56 w 159"/>
              <a:gd name="T13" fmla="*/ 25 h 128"/>
              <a:gd name="T14" fmla="*/ 56 w 159"/>
              <a:gd name="T15" fmla="*/ 28 h 128"/>
              <a:gd name="T16" fmla="*/ 50 w 159"/>
              <a:gd name="T17" fmla="*/ 31 h 128"/>
              <a:gd name="T18" fmla="*/ 50 w 159"/>
              <a:gd name="T19" fmla="*/ 37 h 128"/>
              <a:gd name="T20" fmla="*/ 37 w 159"/>
              <a:gd name="T21" fmla="*/ 53 h 128"/>
              <a:gd name="T22" fmla="*/ 37 w 159"/>
              <a:gd name="T23" fmla="*/ 59 h 128"/>
              <a:gd name="T24" fmla="*/ 28 w 159"/>
              <a:gd name="T25" fmla="*/ 68 h 128"/>
              <a:gd name="T26" fmla="*/ 25 w 159"/>
              <a:gd name="T27" fmla="*/ 68 h 128"/>
              <a:gd name="T28" fmla="*/ 22 w 159"/>
              <a:gd name="T29" fmla="*/ 81 h 128"/>
              <a:gd name="T30" fmla="*/ 22 w 159"/>
              <a:gd name="T31" fmla="*/ 84 h 128"/>
              <a:gd name="T32" fmla="*/ 12 w 159"/>
              <a:gd name="T33" fmla="*/ 93 h 128"/>
              <a:gd name="T34" fmla="*/ 12 w 159"/>
              <a:gd name="T35" fmla="*/ 97 h 128"/>
              <a:gd name="T36" fmla="*/ 16 w 159"/>
              <a:gd name="T37" fmla="*/ 97 h 128"/>
              <a:gd name="T38" fmla="*/ 12 w 159"/>
              <a:gd name="T39" fmla="*/ 100 h 128"/>
              <a:gd name="T40" fmla="*/ 6 w 159"/>
              <a:gd name="T41" fmla="*/ 109 h 128"/>
              <a:gd name="T42" fmla="*/ 3 w 159"/>
              <a:gd name="T43" fmla="*/ 109 h 128"/>
              <a:gd name="T44" fmla="*/ 0 w 159"/>
              <a:gd name="T45" fmla="*/ 112 h 128"/>
              <a:gd name="T46" fmla="*/ 0 w 159"/>
              <a:gd name="T47" fmla="*/ 118 h 128"/>
              <a:gd name="T48" fmla="*/ 0 w 159"/>
              <a:gd name="T49" fmla="*/ 122 h 128"/>
              <a:gd name="T50" fmla="*/ 0 w 159"/>
              <a:gd name="T51" fmla="*/ 128 h 128"/>
              <a:gd name="T52" fmla="*/ 78 w 159"/>
              <a:gd name="T53" fmla="*/ 128 h 128"/>
              <a:gd name="T54" fmla="*/ 78 w 159"/>
              <a:gd name="T55" fmla="*/ 93 h 128"/>
              <a:gd name="T56" fmla="*/ 81 w 159"/>
              <a:gd name="T57" fmla="*/ 87 h 128"/>
              <a:gd name="T58" fmla="*/ 84 w 159"/>
              <a:gd name="T59" fmla="*/ 84 h 128"/>
              <a:gd name="T60" fmla="*/ 91 w 159"/>
              <a:gd name="T61" fmla="*/ 84 h 128"/>
              <a:gd name="T62" fmla="*/ 97 w 159"/>
              <a:gd name="T63" fmla="*/ 84 h 128"/>
              <a:gd name="T64" fmla="*/ 97 w 159"/>
              <a:gd name="T65" fmla="*/ 31 h 128"/>
              <a:gd name="T66" fmla="*/ 159 w 159"/>
              <a:gd name="T67" fmla="*/ 34 h 128"/>
              <a:gd name="T68" fmla="*/ 159 w 159"/>
              <a:gd name="T69" fmla="*/ 6 h 128"/>
              <a:gd name="T70" fmla="*/ 159 w 159"/>
              <a:gd name="T71" fmla="*/ 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28">
                <a:moveTo>
                  <a:pt x="159" y="6"/>
                </a:moveTo>
                <a:lnTo>
                  <a:pt x="159" y="0"/>
                </a:lnTo>
                <a:lnTo>
                  <a:pt x="81" y="0"/>
                </a:lnTo>
                <a:lnTo>
                  <a:pt x="72" y="9"/>
                </a:lnTo>
                <a:lnTo>
                  <a:pt x="72" y="15"/>
                </a:lnTo>
                <a:lnTo>
                  <a:pt x="69" y="15"/>
                </a:lnTo>
                <a:lnTo>
                  <a:pt x="56" y="25"/>
                </a:lnTo>
                <a:lnTo>
                  <a:pt x="56" y="28"/>
                </a:lnTo>
                <a:lnTo>
                  <a:pt x="50" y="31"/>
                </a:lnTo>
                <a:lnTo>
                  <a:pt x="50" y="37"/>
                </a:lnTo>
                <a:lnTo>
                  <a:pt x="37" y="53"/>
                </a:lnTo>
                <a:lnTo>
                  <a:pt x="37" y="59"/>
                </a:lnTo>
                <a:lnTo>
                  <a:pt x="28" y="68"/>
                </a:lnTo>
                <a:lnTo>
                  <a:pt x="25" y="68"/>
                </a:lnTo>
                <a:lnTo>
                  <a:pt x="22" y="81"/>
                </a:lnTo>
                <a:lnTo>
                  <a:pt x="22" y="84"/>
                </a:lnTo>
                <a:lnTo>
                  <a:pt x="12" y="93"/>
                </a:lnTo>
                <a:lnTo>
                  <a:pt x="12" y="97"/>
                </a:lnTo>
                <a:lnTo>
                  <a:pt x="16" y="97"/>
                </a:lnTo>
                <a:lnTo>
                  <a:pt x="12" y="100"/>
                </a:lnTo>
                <a:lnTo>
                  <a:pt x="6" y="109"/>
                </a:lnTo>
                <a:lnTo>
                  <a:pt x="3" y="109"/>
                </a:lnTo>
                <a:lnTo>
                  <a:pt x="0" y="112"/>
                </a:lnTo>
                <a:lnTo>
                  <a:pt x="0" y="118"/>
                </a:lnTo>
                <a:lnTo>
                  <a:pt x="0" y="122"/>
                </a:lnTo>
                <a:lnTo>
                  <a:pt x="0" y="128"/>
                </a:lnTo>
                <a:lnTo>
                  <a:pt x="78" y="128"/>
                </a:lnTo>
                <a:lnTo>
                  <a:pt x="78" y="93"/>
                </a:lnTo>
                <a:lnTo>
                  <a:pt x="81" y="87"/>
                </a:lnTo>
                <a:lnTo>
                  <a:pt x="84" y="84"/>
                </a:lnTo>
                <a:lnTo>
                  <a:pt x="91" y="84"/>
                </a:lnTo>
                <a:lnTo>
                  <a:pt x="97" y="84"/>
                </a:lnTo>
                <a:lnTo>
                  <a:pt x="97" y="31"/>
                </a:lnTo>
                <a:lnTo>
                  <a:pt x="159" y="34"/>
                </a:lnTo>
                <a:lnTo>
                  <a:pt x="159" y="6"/>
                </a:lnTo>
                <a:lnTo>
                  <a:pt x="159" y="6"/>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9" name="Freeform 117">
            <a:extLst>
              <a:ext uri="{FF2B5EF4-FFF2-40B4-BE49-F238E27FC236}">
                <a16:creationId xmlns:a16="http://schemas.microsoft.com/office/drawing/2014/main" id="{9F97AA04-E302-134D-90C9-36CDDF49BD4C}"/>
              </a:ext>
            </a:extLst>
          </p:cNvPr>
          <p:cNvSpPr>
            <a:spLocks/>
          </p:cNvSpPr>
          <p:nvPr userDrawn="1"/>
        </p:nvSpPr>
        <p:spPr bwMode="auto">
          <a:xfrm>
            <a:off x="12127709" y="7628809"/>
            <a:ext cx="742902" cy="803278"/>
          </a:xfrm>
          <a:custGeom>
            <a:avLst/>
            <a:gdLst>
              <a:gd name="T0" fmla="*/ 81 w 234"/>
              <a:gd name="T1" fmla="*/ 122 h 253"/>
              <a:gd name="T2" fmla="*/ 84 w 234"/>
              <a:gd name="T3" fmla="*/ 81 h 253"/>
              <a:gd name="T4" fmla="*/ 94 w 234"/>
              <a:gd name="T5" fmla="*/ 78 h 253"/>
              <a:gd name="T6" fmla="*/ 100 w 234"/>
              <a:gd name="T7" fmla="*/ 25 h 253"/>
              <a:gd name="T8" fmla="*/ 162 w 234"/>
              <a:gd name="T9" fmla="*/ 0 h 253"/>
              <a:gd name="T10" fmla="*/ 234 w 234"/>
              <a:gd name="T11" fmla="*/ 47 h 253"/>
              <a:gd name="T12" fmla="*/ 209 w 234"/>
              <a:gd name="T13" fmla="*/ 47 h 253"/>
              <a:gd name="T14" fmla="*/ 231 w 234"/>
              <a:gd name="T15" fmla="*/ 225 h 253"/>
              <a:gd name="T16" fmla="*/ 156 w 234"/>
              <a:gd name="T17" fmla="*/ 241 h 253"/>
              <a:gd name="T18" fmla="*/ 150 w 234"/>
              <a:gd name="T19" fmla="*/ 238 h 253"/>
              <a:gd name="T20" fmla="*/ 144 w 234"/>
              <a:gd name="T21" fmla="*/ 241 h 253"/>
              <a:gd name="T22" fmla="*/ 144 w 234"/>
              <a:gd name="T23" fmla="*/ 234 h 253"/>
              <a:gd name="T24" fmla="*/ 128 w 234"/>
              <a:gd name="T25" fmla="*/ 238 h 253"/>
              <a:gd name="T26" fmla="*/ 122 w 234"/>
              <a:gd name="T27" fmla="*/ 244 h 253"/>
              <a:gd name="T28" fmla="*/ 119 w 234"/>
              <a:gd name="T29" fmla="*/ 234 h 253"/>
              <a:gd name="T30" fmla="*/ 106 w 234"/>
              <a:gd name="T31" fmla="*/ 234 h 253"/>
              <a:gd name="T32" fmla="*/ 106 w 234"/>
              <a:gd name="T33" fmla="*/ 244 h 253"/>
              <a:gd name="T34" fmla="*/ 100 w 234"/>
              <a:gd name="T35" fmla="*/ 250 h 253"/>
              <a:gd name="T36" fmla="*/ 94 w 234"/>
              <a:gd name="T37" fmla="*/ 253 h 253"/>
              <a:gd name="T38" fmla="*/ 87 w 234"/>
              <a:gd name="T39" fmla="*/ 247 h 253"/>
              <a:gd name="T40" fmla="*/ 84 w 234"/>
              <a:gd name="T41" fmla="*/ 244 h 253"/>
              <a:gd name="T42" fmla="*/ 78 w 234"/>
              <a:gd name="T43" fmla="*/ 238 h 253"/>
              <a:gd name="T44" fmla="*/ 75 w 234"/>
              <a:gd name="T45" fmla="*/ 228 h 253"/>
              <a:gd name="T46" fmla="*/ 69 w 234"/>
              <a:gd name="T47" fmla="*/ 228 h 253"/>
              <a:gd name="T48" fmla="*/ 65 w 234"/>
              <a:gd name="T49" fmla="*/ 228 h 253"/>
              <a:gd name="T50" fmla="*/ 62 w 234"/>
              <a:gd name="T51" fmla="*/ 225 h 253"/>
              <a:gd name="T52" fmla="*/ 53 w 234"/>
              <a:gd name="T53" fmla="*/ 219 h 253"/>
              <a:gd name="T54" fmla="*/ 40 w 234"/>
              <a:gd name="T55" fmla="*/ 216 h 253"/>
              <a:gd name="T56" fmla="*/ 19 w 234"/>
              <a:gd name="T57" fmla="*/ 222 h 253"/>
              <a:gd name="T58" fmla="*/ 12 w 234"/>
              <a:gd name="T59" fmla="*/ 225 h 253"/>
              <a:gd name="T60" fmla="*/ 9 w 234"/>
              <a:gd name="T61" fmla="*/ 219 h 253"/>
              <a:gd name="T62" fmla="*/ 19 w 234"/>
              <a:gd name="T63" fmla="*/ 200 h 253"/>
              <a:gd name="T64" fmla="*/ 15 w 234"/>
              <a:gd name="T65" fmla="*/ 166 h 253"/>
              <a:gd name="T66" fmla="*/ 12 w 234"/>
              <a:gd name="T67" fmla="*/ 156 h 253"/>
              <a:gd name="T68" fmla="*/ 15 w 234"/>
              <a:gd name="T69" fmla="*/ 150 h 253"/>
              <a:gd name="T70" fmla="*/ 15 w 234"/>
              <a:gd name="T71" fmla="*/ 144 h 253"/>
              <a:gd name="T72" fmla="*/ 9 w 234"/>
              <a:gd name="T73" fmla="*/ 138 h 253"/>
              <a:gd name="T74" fmla="*/ 6 w 234"/>
              <a:gd name="T75" fmla="*/ 131 h 253"/>
              <a:gd name="T76" fmla="*/ 0 w 234"/>
              <a:gd name="T77" fmla="*/ 128 h 253"/>
              <a:gd name="T78" fmla="*/ 3 w 234"/>
              <a:gd name="T79" fmla="*/ 122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253">
                <a:moveTo>
                  <a:pt x="3" y="122"/>
                </a:moveTo>
                <a:lnTo>
                  <a:pt x="81" y="122"/>
                </a:lnTo>
                <a:lnTo>
                  <a:pt x="81" y="87"/>
                </a:lnTo>
                <a:lnTo>
                  <a:pt x="84" y="81"/>
                </a:lnTo>
                <a:lnTo>
                  <a:pt x="87" y="78"/>
                </a:lnTo>
                <a:lnTo>
                  <a:pt x="94" y="78"/>
                </a:lnTo>
                <a:lnTo>
                  <a:pt x="100" y="78"/>
                </a:lnTo>
                <a:lnTo>
                  <a:pt x="100" y="25"/>
                </a:lnTo>
                <a:lnTo>
                  <a:pt x="162" y="28"/>
                </a:lnTo>
                <a:lnTo>
                  <a:pt x="162" y="0"/>
                </a:lnTo>
                <a:lnTo>
                  <a:pt x="234" y="47"/>
                </a:lnTo>
                <a:lnTo>
                  <a:pt x="234" y="47"/>
                </a:lnTo>
                <a:lnTo>
                  <a:pt x="234" y="47"/>
                </a:lnTo>
                <a:lnTo>
                  <a:pt x="209" y="47"/>
                </a:lnTo>
                <a:lnTo>
                  <a:pt x="225" y="219"/>
                </a:lnTo>
                <a:lnTo>
                  <a:pt x="231" y="225"/>
                </a:lnTo>
                <a:lnTo>
                  <a:pt x="225" y="241"/>
                </a:lnTo>
                <a:lnTo>
                  <a:pt x="156" y="241"/>
                </a:lnTo>
                <a:lnTo>
                  <a:pt x="153" y="241"/>
                </a:lnTo>
                <a:lnTo>
                  <a:pt x="150" y="238"/>
                </a:lnTo>
                <a:lnTo>
                  <a:pt x="147" y="238"/>
                </a:lnTo>
                <a:lnTo>
                  <a:pt x="144" y="241"/>
                </a:lnTo>
                <a:lnTo>
                  <a:pt x="144" y="241"/>
                </a:lnTo>
                <a:lnTo>
                  <a:pt x="144" y="234"/>
                </a:lnTo>
                <a:lnTo>
                  <a:pt x="137" y="231"/>
                </a:lnTo>
                <a:lnTo>
                  <a:pt x="128" y="238"/>
                </a:lnTo>
                <a:lnTo>
                  <a:pt x="122" y="247"/>
                </a:lnTo>
                <a:lnTo>
                  <a:pt x="122" y="244"/>
                </a:lnTo>
                <a:lnTo>
                  <a:pt x="119" y="238"/>
                </a:lnTo>
                <a:lnTo>
                  <a:pt x="119" y="234"/>
                </a:lnTo>
                <a:lnTo>
                  <a:pt x="112" y="234"/>
                </a:lnTo>
                <a:lnTo>
                  <a:pt x="106" y="234"/>
                </a:lnTo>
                <a:lnTo>
                  <a:pt x="106" y="244"/>
                </a:lnTo>
                <a:lnTo>
                  <a:pt x="106" y="244"/>
                </a:lnTo>
                <a:lnTo>
                  <a:pt x="103" y="250"/>
                </a:lnTo>
                <a:lnTo>
                  <a:pt x="100" y="250"/>
                </a:lnTo>
                <a:lnTo>
                  <a:pt x="94" y="253"/>
                </a:lnTo>
                <a:lnTo>
                  <a:pt x="94" y="253"/>
                </a:lnTo>
                <a:lnTo>
                  <a:pt x="94" y="250"/>
                </a:lnTo>
                <a:lnTo>
                  <a:pt x="87" y="247"/>
                </a:lnTo>
                <a:lnTo>
                  <a:pt x="84" y="247"/>
                </a:lnTo>
                <a:lnTo>
                  <a:pt x="84" y="244"/>
                </a:lnTo>
                <a:lnTo>
                  <a:pt x="78" y="241"/>
                </a:lnTo>
                <a:lnTo>
                  <a:pt x="78" y="238"/>
                </a:lnTo>
                <a:lnTo>
                  <a:pt x="75" y="234"/>
                </a:lnTo>
                <a:lnTo>
                  <a:pt x="75" y="228"/>
                </a:lnTo>
                <a:lnTo>
                  <a:pt x="72" y="228"/>
                </a:lnTo>
                <a:lnTo>
                  <a:pt x="69" y="228"/>
                </a:lnTo>
                <a:lnTo>
                  <a:pt x="69" y="228"/>
                </a:lnTo>
                <a:lnTo>
                  <a:pt x="65" y="228"/>
                </a:lnTo>
                <a:lnTo>
                  <a:pt x="62" y="228"/>
                </a:lnTo>
                <a:lnTo>
                  <a:pt x="62" y="225"/>
                </a:lnTo>
                <a:lnTo>
                  <a:pt x="56" y="219"/>
                </a:lnTo>
                <a:lnTo>
                  <a:pt x="53" y="219"/>
                </a:lnTo>
                <a:lnTo>
                  <a:pt x="44" y="216"/>
                </a:lnTo>
                <a:lnTo>
                  <a:pt x="40" y="216"/>
                </a:lnTo>
                <a:lnTo>
                  <a:pt x="28" y="219"/>
                </a:lnTo>
                <a:lnTo>
                  <a:pt x="19" y="222"/>
                </a:lnTo>
                <a:lnTo>
                  <a:pt x="15" y="225"/>
                </a:lnTo>
                <a:lnTo>
                  <a:pt x="12" y="225"/>
                </a:lnTo>
                <a:lnTo>
                  <a:pt x="9" y="228"/>
                </a:lnTo>
                <a:lnTo>
                  <a:pt x="9" y="219"/>
                </a:lnTo>
                <a:lnTo>
                  <a:pt x="12" y="206"/>
                </a:lnTo>
                <a:lnTo>
                  <a:pt x="19" y="200"/>
                </a:lnTo>
                <a:lnTo>
                  <a:pt x="19" y="188"/>
                </a:lnTo>
                <a:lnTo>
                  <a:pt x="15" y="166"/>
                </a:lnTo>
                <a:lnTo>
                  <a:pt x="9" y="156"/>
                </a:lnTo>
                <a:lnTo>
                  <a:pt x="12" y="156"/>
                </a:lnTo>
                <a:lnTo>
                  <a:pt x="15" y="156"/>
                </a:lnTo>
                <a:lnTo>
                  <a:pt x="15" y="150"/>
                </a:lnTo>
                <a:lnTo>
                  <a:pt x="15" y="144"/>
                </a:lnTo>
                <a:lnTo>
                  <a:pt x="15" y="144"/>
                </a:lnTo>
                <a:lnTo>
                  <a:pt x="12" y="134"/>
                </a:lnTo>
                <a:lnTo>
                  <a:pt x="9" y="138"/>
                </a:lnTo>
                <a:lnTo>
                  <a:pt x="6" y="134"/>
                </a:lnTo>
                <a:lnTo>
                  <a:pt x="6" y="131"/>
                </a:lnTo>
                <a:lnTo>
                  <a:pt x="0" y="134"/>
                </a:lnTo>
                <a:lnTo>
                  <a:pt x="0" y="128"/>
                </a:lnTo>
                <a:lnTo>
                  <a:pt x="3" y="125"/>
                </a:lnTo>
                <a:lnTo>
                  <a:pt x="3" y="122"/>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0" name="Freeform 118">
            <a:extLst>
              <a:ext uri="{FF2B5EF4-FFF2-40B4-BE49-F238E27FC236}">
                <a16:creationId xmlns:a16="http://schemas.microsoft.com/office/drawing/2014/main" id="{71C38E70-D65E-47CF-03BC-BE49FD036274}"/>
              </a:ext>
            </a:extLst>
          </p:cNvPr>
          <p:cNvSpPr>
            <a:spLocks/>
          </p:cNvSpPr>
          <p:nvPr userDrawn="1"/>
        </p:nvSpPr>
        <p:spPr bwMode="auto">
          <a:xfrm>
            <a:off x="12426139" y="7778032"/>
            <a:ext cx="1019110" cy="942976"/>
          </a:xfrm>
          <a:custGeom>
            <a:avLst/>
            <a:gdLst>
              <a:gd name="T0" fmla="*/ 9 w 321"/>
              <a:gd name="T1" fmla="*/ 203 h 297"/>
              <a:gd name="T2" fmla="*/ 12 w 321"/>
              <a:gd name="T3" fmla="*/ 187 h 297"/>
              <a:gd name="T4" fmla="*/ 25 w 321"/>
              <a:gd name="T5" fmla="*/ 191 h 297"/>
              <a:gd name="T6" fmla="*/ 34 w 321"/>
              <a:gd name="T7" fmla="*/ 191 h 297"/>
              <a:gd name="T8" fmla="*/ 50 w 321"/>
              <a:gd name="T9" fmla="*/ 194 h 297"/>
              <a:gd name="T10" fmla="*/ 56 w 321"/>
              <a:gd name="T11" fmla="*/ 191 h 297"/>
              <a:gd name="T12" fmla="*/ 131 w 321"/>
              <a:gd name="T13" fmla="*/ 194 h 297"/>
              <a:gd name="T14" fmla="*/ 115 w 321"/>
              <a:gd name="T15" fmla="*/ 0 h 297"/>
              <a:gd name="T16" fmla="*/ 271 w 321"/>
              <a:gd name="T17" fmla="*/ 94 h 297"/>
              <a:gd name="T18" fmla="*/ 287 w 321"/>
              <a:gd name="T19" fmla="*/ 100 h 297"/>
              <a:gd name="T20" fmla="*/ 300 w 321"/>
              <a:gd name="T21" fmla="*/ 109 h 297"/>
              <a:gd name="T22" fmla="*/ 300 w 321"/>
              <a:gd name="T23" fmla="*/ 122 h 297"/>
              <a:gd name="T24" fmla="*/ 321 w 321"/>
              <a:gd name="T25" fmla="*/ 119 h 297"/>
              <a:gd name="T26" fmla="*/ 318 w 321"/>
              <a:gd name="T27" fmla="*/ 175 h 297"/>
              <a:gd name="T28" fmla="*/ 312 w 321"/>
              <a:gd name="T29" fmla="*/ 187 h 297"/>
              <a:gd name="T30" fmla="*/ 290 w 321"/>
              <a:gd name="T31" fmla="*/ 197 h 297"/>
              <a:gd name="T32" fmla="*/ 275 w 321"/>
              <a:gd name="T33" fmla="*/ 200 h 297"/>
              <a:gd name="T34" fmla="*/ 250 w 321"/>
              <a:gd name="T35" fmla="*/ 203 h 297"/>
              <a:gd name="T36" fmla="*/ 243 w 321"/>
              <a:gd name="T37" fmla="*/ 203 h 297"/>
              <a:gd name="T38" fmla="*/ 231 w 321"/>
              <a:gd name="T39" fmla="*/ 200 h 297"/>
              <a:gd name="T40" fmla="*/ 209 w 321"/>
              <a:gd name="T41" fmla="*/ 209 h 297"/>
              <a:gd name="T42" fmla="*/ 181 w 321"/>
              <a:gd name="T43" fmla="*/ 228 h 297"/>
              <a:gd name="T44" fmla="*/ 162 w 321"/>
              <a:gd name="T45" fmla="*/ 231 h 297"/>
              <a:gd name="T46" fmla="*/ 156 w 321"/>
              <a:gd name="T47" fmla="*/ 244 h 297"/>
              <a:gd name="T48" fmla="*/ 146 w 321"/>
              <a:gd name="T49" fmla="*/ 263 h 297"/>
              <a:gd name="T50" fmla="*/ 137 w 321"/>
              <a:gd name="T51" fmla="*/ 272 h 297"/>
              <a:gd name="T52" fmla="*/ 134 w 321"/>
              <a:gd name="T53" fmla="*/ 281 h 297"/>
              <a:gd name="T54" fmla="*/ 134 w 321"/>
              <a:gd name="T55" fmla="*/ 291 h 297"/>
              <a:gd name="T56" fmla="*/ 121 w 321"/>
              <a:gd name="T57" fmla="*/ 294 h 297"/>
              <a:gd name="T58" fmla="*/ 112 w 321"/>
              <a:gd name="T59" fmla="*/ 294 h 297"/>
              <a:gd name="T60" fmla="*/ 103 w 321"/>
              <a:gd name="T61" fmla="*/ 294 h 297"/>
              <a:gd name="T62" fmla="*/ 87 w 321"/>
              <a:gd name="T63" fmla="*/ 297 h 297"/>
              <a:gd name="T64" fmla="*/ 81 w 321"/>
              <a:gd name="T65" fmla="*/ 291 h 297"/>
              <a:gd name="T66" fmla="*/ 81 w 321"/>
              <a:gd name="T67" fmla="*/ 284 h 297"/>
              <a:gd name="T68" fmla="*/ 71 w 321"/>
              <a:gd name="T69" fmla="*/ 288 h 297"/>
              <a:gd name="T70" fmla="*/ 78 w 321"/>
              <a:gd name="T71" fmla="*/ 275 h 297"/>
              <a:gd name="T72" fmla="*/ 71 w 321"/>
              <a:gd name="T73" fmla="*/ 266 h 297"/>
              <a:gd name="T74" fmla="*/ 65 w 321"/>
              <a:gd name="T75" fmla="*/ 256 h 297"/>
              <a:gd name="T76" fmla="*/ 56 w 321"/>
              <a:gd name="T77" fmla="*/ 256 h 297"/>
              <a:gd name="T78" fmla="*/ 43 w 321"/>
              <a:gd name="T79" fmla="*/ 263 h 297"/>
              <a:gd name="T80" fmla="*/ 31 w 321"/>
              <a:gd name="T81" fmla="*/ 263 h 297"/>
              <a:gd name="T82" fmla="*/ 21 w 321"/>
              <a:gd name="T83" fmla="*/ 263 h 297"/>
              <a:gd name="T84" fmla="*/ 25 w 321"/>
              <a:gd name="T85" fmla="*/ 256 h 297"/>
              <a:gd name="T86" fmla="*/ 18 w 321"/>
              <a:gd name="T87" fmla="*/ 247 h 297"/>
              <a:gd name="T88" fmla="*/ 15 w 321"/>
              <a:gd name="T89" fmla="*/ 241 h 297"/>
              <a:gd name="T90" fmla="*/ 9 w 321"/>
              <a:gd name="T91" fmla="*/ 238 h 297"/>
              <a:gd name="T92" fmla="*/ 3 w 321"/>
              <a:gd name="T93" fmla="*/ 225 h 297"/>
              <a:gd name="T94" fmla="*/ 3 w 321"/>
              <a:gd name="T95" fmla="*/ 209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1" h="297">
                <a:moveTo>
                  <a:pt x="0" y="206"/>
                </a:moveTo>
                <a:lnTo>
                  <a:pt x="6" y="203"/>
                </a:lnTo>
                <a:lnTo>
                  <a:pt x="9" y="203"/>
                </a:lnTo>
                <a:lnTo>
                  <a:pt x="12" y="197"/>
                </a:lnTo>
                <a:lnTo>
                  <a:pt x="12" y="197"/>
                </a:lnTo>
                <a:lnTo>
                  <a:pt x="12" y="187"/>
                </a:lnTo>
                <a:lnTo>
                  <a:pt x="18" y="187"/>
                </a:lnTo>
                <a:lnTo>
                  <a:pt x="25" y="187"/>
                </a:lnTo>
                <a:lnTo>
                  <a:pt x="25" y="191"/>
                </a:lnTo>
                <a:lnTo>
                  <a:pt x="28" y="197"/>
                </a:lnTo>
                <a:lnTo>
                  <a:pt x="28" y="200"/>
                </a:lnTo>
                <a:lnTo>
                  <a:pt x="34" y="191"/>
                </a:lnTo>
                <a:lnTo>
                  <a:pt x="43" y="184"/>
                </a:lnTo>
                <a:lnTo>
                  <a:pt x="50" y="187"/>
                </a:lnTo>
                <a:lnTo>
                  <a:pt x="50" y="194"/>
                </a:lnTo>
                <a:lnTo>
                  <a:pt x="50" y="194"/>
                </a:lnTo>
                <a:lnTo>
                  <a:pt x="53" y="191"/>
                </a:lnTo>
                <a:lnTo>
                  <a:pt x="56" y="191"/>
                </a:lnTo>
                <a:lnTo>
                  <a:pt x="59" y="194"/>
                </a:lnTo>
                <a:lnTo>
                  <a:pt x="62" y="194"/>
                </a:lnTo>
                <a:lnTo>
                  <a:pt x="131" y="194"/>
                </a:lnTo>
                <a:lnTo>
                  <a:pt x="137" y="178"/>
                </a:lnTo>
                <a:lnTo>
                  <a:pt x="131" y="172"/>
                </a:lnTo>
                <a:lnTo>
                  <a:pt x="115" y="0"/>
                </a:lnTo>
                <a:lnTo>
                  <a:pt x="140" y="0"/>
                </a:lnTo>
                <a:lnTo>
                  <a:pt x="268" y="84"/>
                </a:lnTo>
                <a:lnTo>
                  <a:pt x="271" y="94"/>
                </a:lnTo>
                <a:lnTo>
                  <a:pt x="275" y="97"/>
                </a:lnTo>
                <a:lnTo>
                  <a:pt x="281" y="97"/>
                </a:lnTo>
                <a:lnTo>
                  <a:pt x="287" y="100"/>
                </a:lnTo>
                <a:lnTo>
                  <a:pt x="290" y="103"/>
                </a:lnTo>
                <a:lnTo>
                  <a:pt x="296" y="106"/>
                </a:lnTo>
                <a:lnTo>
                  <a:pt x="300" y="109"/>
                </a:lnTo>
                <a:lnTo>
                  <a:pt x="300" y="112"/>
                </a:lnTo>
                <a:lnTo>
                  <a:pt x="296" y="119"/>
                </a:lnTo>
                <a:lnTo>
                  <a:pt x="300" y="122"/>
                </a:lnTo>
                <a:lnTo>
                  <a:pt x="303" y="122"/>
                </a:lnTo>
                <a:lnTo>
                  <a:pt x="312" y="122"/>
                </a:lnTo>
                <a:lnTo>
                  <a:pt x="321" y="119"/>
                </a:lnTo>
                <a:lnTo>
                  <a:pt x="321" y="119"/>
                </a:lnTo>
                <a:lnTo>
                  <a:pt x="318" y="156"/>
                </a:lnTo>
                <a:lnTo>
                  <a:pt x="318" y="175"/>
                </a:lnTo>
                <a:lnTo>
                  <a:pt x="315" y="178"/>
                </a:lnTo>
                <a:lnTo>
                  <a:pt x="315" y="184"/>
                </a:lnTo>
                <a:lnTo>
                  <a:pt x="312" y="187"/>
                </a:lnTo>
                <a:lnTo>
                  <a:pt x="303" y="194"/>
                </a:lnTo>
                <a:lnTo>
                  <a:pt x="296" y="197"/>
                </a:lnTo>
                <a:lnTo>
                  <a:pt x="290" y="197"/>
                </a:lnTo>
                <a:lnTo>
                  <a:pt x="287" y="200"/>
                </a:lnTo>
                <a:lnTo>
                  <a:pt x="281" y="200"/>
                </a:lnTo>
                <a:lnTo>
                  <a:pt x="275" y="200"/>
                </a:lnTo>
                <a:lnTo>
                  <a:pt x="268" y="203"/>
                </a:lnTo>
                <a:lnTo>
                  <a:pt x="262" y="203"/>
                </a:lnTo>
                <a:lnTo>
                  <a:pt x="250" y="203"/>
                </a:lnTo>
                <a:lnTo>
                  <a:pt x="246" y="203"/>
                </a:lnTo>
                <a:lnTo>
                  <a:pt x="246" y="203"/>
                </a:lnTo>
                <a:lnTo>
                  <a:pt x="243" y="203"/>
                </a:lnTo>
                <a:lnTo>
                  <a:pt x="240" y="203"/>
                </a:lnTo>
                <a:lnTo>
                  <a:pt x="234" y="200"/>
                </a:lnTo>
                <a:lnTo>
                  <a:pt x="231" y="200"/>
                </a:lnTo>
                <a:lnTo>
                  <a:pt x="221" y="203"/>
                </a:lnTo>
                <a:lnTo>
                  <a:pt x="215" y="206"/>
                </a:lnTo>
                <a:lnTo>
                  <a:pt x="209" y="209"/>
                </a:lnTo>
                <a:lnTo>
                  <a:pt x="193" y="219"/>
                </a:lnTo>
                <a:lnTo>
                  <a:pt x="184" y="225"/>
                </a:lnTo>
                <a:lnTo>
                  <a:pt x="181" y="228"/>
                </a:lnTo>
                <a:lnTo>
                  <a:pt x="171" y="231"/>
                </a:lnTo>
                <a:lnTo>
                  <a:pt x="168" y="231"/>
                </a:lnTo>
                <a:lnTo>
                  <a:pt x="162" y="231"/>
                </a:lnTo>
                <a:lnTo>
                  <a:pt x="162" y="234"/>
                </a:lnTo>
                <a:lnTo>
                  <a:pt x="159" y="234"/>
                </a:lnTo>
                <a:lnTo>
                  <a:pt x="156" y="244"/>
                </a:lnTo>
                <a:lnTo>
                  <a:pt x="156" y="247"/>
                </a:lnTo>
                <a:lnTo>
                  <a:pt x="150" y="253"/>
                </a:lnTo>
                <a:lnTo>
                  <a:pt x="146" y="263"/>
                </a:lnTo>
                <a:lnTo>
                  <a:pt x="140" y="266"/>
                </a:lnTo>
                <a:lnTo>
                  <a:pt x="137" y="269"/>
                </a:lnTo>
                <a:lnTo>
                  <a:pt x="137" y="272"/>
                </a:lnTo>
                <a:lnTo>
                  <a:pt x="140" y="278"/>
                </a:lnTo>
                <a:lnTo>
                  <a:pt x="134" y="278"/>
                </a:lnTo>
                <a:lnTo>
                  <a:pt x="134" y="281"/>
                </a:lnTo>
                <a:lnTo>
                  <a:pt x="137" y="284"/>
                </a:lnTo>
                <a:lnTo>
                  <a:pt x="134" y="291"/>
                </a:lnTo>
                <a:lnTo>
                  <a:pt x="134" y="291"/>
                </a:lnTo>
                <a:lnTo>
                  <a:pt x="131" y="297"/>
                </a:lnTo>
                <a:lnTo>
                  <a:pt x="125" y="297"/>
                </a:lnTo>
                <a:lnTo>
                  <a:pt x="121" y="294"/>
                </a:lnTo>
                <a:lnTo>
                  <a:pt x="121" y="291"/>
                </a:lnTo>
                <a:lnTo>
                  <a:pt x="118" y="291"/>
                </a:lnTo>
                <a:lnTo>
                  <a:pt x="112" y="294"/>
                </a:lnTo>
                <a:lnTo>
                  <a:pt x="112" y="294"/>
                </a:lnTo>
                <a:lnTo>
                  <a:pt x="109" y="297"/>
                </a:lnTo>
                <a:lnTo>
                  <a:pt x="103" y="294"/>
                </a:lnTo>
                <a:lnTo>
                  <a:pt x="96" y="294"/>
                </a:lnTo>
                <a:lnTo>
                  <a:pt x="93" y="294"/>
                </a:lnTo>
                <a:lnTo>
                  <a:pt x="87" y="297"/>
                </a:lnTo>
                <a:lnTo>
                  <a:pt x="87" y="294"/>
                </a:lnTo>
                <a:lnTo>
                  <a:pt x="87" y="291"/>
                </a:lnTo>
                <a:lnTo>
                  <a:pt x="81" y="291"/>
                </a:lnTo>
                <a:lnTo>
                  <a:pt x="81" y="291"/>
                </a:lnTo>
                <a:lnTo>
                  <a:pt x="81" y="288"/>
                </a:lnTo>
                <a:lnTo>
                  <a:pt x="81" y="284"/>
                </a:lnTo>
                <a:lnTo>
                  <a:pt x="78" y="284"/>
                </a:lnTo>
                <a:lnTo>
                  <a:pt x="75" y="284"/>
                </a:lnTo>
                <a:lnTo>
                  <a:pt x="71" y="288"/>
                </a:lnTo>
                <a:lnTo>
                  <a:pt x="75" y="281"/>
                </a:lnTo>
                <a:lnTo>
                  <a:pt x="78" y="275"/>
                </a:lnTo>
                <a:lnTo>
                  <a:pt x="78" y="275"/>
                </a:lnTo>
                <a:lnTo>
                  <a:pt x="71" y="272"/>
                </a:lnTo>
                <a:lnTo>
                  <a:pt x="71" y="272"/>
                </a:lnTo>
                <a:lnTo>
                  <a:pt x="71" y="266"/>
                </a:lnTo>
                <a:lnTo>
                  <a:pt x="71" y="263"/>
                </a:lnTo>
                <a:lnTo>
                  <a:pt x="65" y="259"/>
                </a:lnTo>
                <a:lnTo>
                  <a:pt x="65" y="256"/>
                </a:lnTo>
                <a:lnTo>
                  <a:pt x="62" y="256"/>
                </a:lnTo>
                <a:lnTo>
                  <a:pt x="59" y="259"/>
                </a:lnTo>
                <a:lnTo>
                  <a:pt x="56" y="256"/>
                </a:lnTo>
                <a:lnTo>
                  <a:pt x="50" y="256"/>
                </a:lnTo>
                <a:lnTo>
                  <a:pt x="46" y="263"/>
                </a:lnTo>
                <a:lnTo>
                  <a:pt x="43" y="263"/>
                </a:lnTo>
                <a:lnTo>
                  <a:pt x="40" y="266"/>
                </a:lnTo>
                <a:lnTo>
                  <a:pt x="37" y="266"/>
                </a:lnTo>
                <a:lnTo>
                  <a:pt x="31" y="263"/>
                </a:lnTo>
                <a:lnTo>
                  <a:pt x="28" y="263"/>
                </a:lnTo>
                <a:lnTo>
                  <a:pt x="25" y="263"/>
                </a:lnTo>
                <a:lnTo>
                  <a:pt x="21" y="263"/>
                </a:lnTo>
                <a:lnTo>
                  <a:pt x="21" y="263"/>
                </a:lnTo>
                <a:lnTo>
                  <a:pt x="25" y="259"/>
                </a:lnTo>
                <a:lnTo>
                  <a:pt x="25" y="256"/>
                </a:lnTo>
                <a:lnTo>
                  <a:pt x="18" y="253"/>
                </a:lnTo>
                <a:lnTo>
                  <a:pt x="18" y="250"/>
                </a:lnTo>
                <a:lnTo>
                  <a:pt x="18" y="247"/>
                </a:lnTo>
                <a:lnTo>
                  <a:pt x="18" y="247"/>
                </a:lnTo>
                <a:lnTo>
                  <a:pt x="15" y="244"/>
                </a:lnTo>
                <a:lnTo>
                  <a:pt x="15" y="241"/>
                </a:lnTo>
                <a:lnTo>
                  <a:pt x="12" y="238"/>
                </a:lnTo>
                <a:lnTo>
                  <a:pt x="12" y="238"/>
                </a:lnTo>
                <a:lnTo>
                  <a:pt x="9" y="238"/>
                </a:lnTo>
                <a:lnTo>
                  <a:pt x="6" y="231"/>
                </a:lnTo>
                <a:lnTo>
                  <a:pt x="3" y="228"/>
                </a:lnTo>
                <a:lnTo>
                  <a:pt x="3" y="225"/>
                </a:lnTo>
                <a:lnTo>
                  <a:pt x="3" y="216"/>
                </a:lnTo>
                <a:lnTo>
                  <a:pt x="3" y="213"/>
                </a:lnTo>
                <a:lnTo>
                  <a:pt x="3" y="209"/>
                </a:lnTo>
                <a:lnTo>
                  <a:pt x="0" y="206"/>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1" name="Freeform 119">
            <a:extLst>
              <a:ext uri="{FF2B5EF4-FFF2-40B4-BE49-F238E27FC236}">
                <a16:creationId xmlns:a16="http://schemas.microsoft.com/office/drawing/2014/main" id="{F41BA9EA-3123-4343-6262-66564A7208E8}"/>
              </a:ext>
            </a:extLst>
          </p:cNvPr>
          <p:cNvSpPr>
            <a:spLocks/>
          </p:cNvSpPr>
          <p:nvPr userDrawn="1"/>
        </p:nvSpPr>
        <p:spPr bwMode="auto">
          <a:xfrm>
            <a:off x="12851565" y="8413033"/>
            <a:ext cx="476219" cy="346078"/>
          </a:xfrm>
          <a:custGeom>
            <a:avLst/>
            <a:gdLst>
              <a:gd name="T0" fmla="*/ 3 w 150"/>
              <a:gd name="T1" fmla="*/ 84 h 109"/>
              <a:gd name="T2" fmla="*/ 0 w 150"/>
              <a:gd name="T3" fmla="*/ 78 h 109"/>
              <a:gd name="T4" fmla="*/ 3 w 150"/>
              <a:gd name="T5" fmla="*/ 72 h 109"/>
              <a:gd name="T6" fmla="*/ 6 w 150"/>
              <a:gd name="T7" fmla="*/ 66 h 109"/>
              <a:gd name="T8" fmla="*/ 16 w 150"/>
              <a:gd name="T9" fmla="*/ 53 h 109"/>
              <a:gd name="T10" fmla="*/ 22 w 150"/>
              <a:gd name="T11" fmla="*/ 44 h 109"/>
              <a:gd name="T12" fmla="*/ 28 w 150"/>
              <a:gd name="T13" fmla="*/ 34 h 109"/>
              <a:gd name="T14" fmla="*/ 34 w 150"/>
              <a:gd name="T15" fmla="*/ 31 h 109"/>
              <a:gd name="T16" fmla="*/ 47 w 150"/>
              <a:gd name="T17" fmla="*/ 28 h 109"/>
              <a:gd name="T18" fmla="*/ 59 w 150"/>
              <a:gd name="T19" fmla="*/ 19 h 109"/>
              <a:gd name="T20" fmla="*/ 81 w 150"/>
              <a:gd name="T21" fmla="*/ 6 h 109"/>
              <a:gd name="T22" fmla="*/ 97 w 150"/>
              <a:gd name="T23" fmla="*/ 0 h 109"/>
              <a:gd name="T24" fmla="*/ 106 w 150"/>
              <a:gd name="T25" fmla="*/ 3 h 109"/>
              <a:gd name="T26" fmla="*/ 112 w 150"/>
              <a:gd name="T27" fmla="*/ 3 h 109"/>
              <a:gd name="T28" fmla="*/ 109 w 150"/>
              <a:gd name="T29" fmla="*/ 9 h 109"/>
              <a:gd name="T30" fmla="*/ 106 w 150"/>
              <a:gd name="T31" fmla="*/ 22 h 109"/>
              <a:gd name="T32" fmla="*/ 125 w 150"/>
              <a:gd name="T33" fmla="*/ 41 h 109"/>
              <a:gd name="T34" fmla="*/ 141 w 150"/>
              <a:gd name="T35" fmla="*/ 41 h 109"/>
              <a:gd name="T36" fmla="*/ 144 w 150"/>
              <a:gd name="T37" fmla="*/ 44 h 109"/>
              <a:gd name="T38" fmla="*/ 147 w 150"/>
              <a:gd name="T39" fmla="*/ 50 h 109"/>
              <a:gd name="T40" fmla="*/ 147 w 150"/>
              <a:gd name="T41" fmla="*/ 59 h 109"/>
              <a:gd name="T42" fmla="*/ 150 w 150"/>
              <a:gd name="T43" fmla="*/ 63 h 109"/>
              <a:gd name="T44" fmla="*/ 141 w 150"/>
              <a:gd name="T45" fmla="*/ 69 h 109"/>
              <a:gd name="T46" fmla="*/ 134 w 150"/>
              <a:gd name="T47" fmla="*/ 69 h 109"/>
              <a:gd name="T48" fmla="*/ 128 w 150"/>
              <a:gd name="T49" fmla="*/ 75 h 109"/>
              <a:gd name="T50" fmla="*/ 128 w 150"/>
              <a:gd name="T51" fmla="*/ 81 h 109"/>
              <a:gd name="T52" fmla="*/ 122 w 150"/>
              <a:gd name="T53" fmla="*/ 84 h 109"/>
              <a:gd name="T54" fmla="*/ 100 w 150"/>
              <a:gd name="T55" fmla="*/ 78 h 109"/>
              <a:gd name="T56" fmla="*/ 97 w 150"/>
              <a:gd name="T57" fmla="*/ 78 h 109"/>
              <a:gd name="T58" fmla="*/ 87 w 150"/>
              <a:gd name="T59" fmla="*/ 81 h 109"/>
              <a:gd name="T60" fmla="*/ 72 w 150"/>
              <a:gd name="T61" fmla="*/ 81 h 109"/>
              <a:gd name="T62" fmla="*/ 56 w 150"/>
              <a:gd name="T63" fmla="*/ 84 h 109"/>
              <a:gd name="T64" fmla="*/ 47 w 150"/>
              <a:gd name="T65" fmla="*/ 88 h 109"/>
              <a:gd name="T66" fmla="*/ 50 w 150"/>
              <a:gd name="T67" fmla="*/ 97 h 109"/>
              <a:gd name="T68" fmla="*/ 53 w 150"/>
              <a:gd name="T69" fmla="*/ 106 h 109"/>
              <a:gd name="T70" fmla="*/ 47 w 150"/>
              <a:gd name="T71" fmla="*/ 103 h 109"/>
              <a:gd name="T72" fmla="*/ 41 w 150"/>
              <a:gd name="T73" fmla="*/ 106 h 109"/>
              <a:gd name="T74" fmla="*/ 28 w 150"/>
              <a:gd name="T75" fmla="*/ 106 h 109"/>
              <a:gd name="T76" fmla="*/ 22 w 150"/>
              <a:gd name="T77" fmla="*/ 100 h 109"/>
              <a:gd name="T78" fmla="*/ 19 w 150"/>
              <a:gd name="T79" fmla="*/ 100 h 109"/>
              <a:gd name="T80" fmla="*/ 6 w 150"/>
              <a:gd name="T81" fmla="*/ 94 h 109"/>
              <a:gd name="T82" fmla="*/ 0 w 150"/>
              <a:gd name="T83" fmla="*/ 9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09">
                <a:moveTo>
                  <a:pt x="0" y="91"/>
                </a:moveTo>
                <a:lnTo>
                  <a:pt x="3" y="84"/>
                </a:lnTo>
                <a:lnTo>
                  <a:pt x="0" y="81"/>
                </a:lnTo>
                <a:lnTo>
                  <a:pt x="0" y="78"/>
                </a:lnTo>
                <a:lnTo>
                  <a:pt x="6" y="78"/>
                </a:lnTo>
                <a:lnTo>
                  <a:pt x="3" y="72"/>
                </a:lnTo>
                <a:lnTo>
                  <a:pt x="3" y="69"/>
                </a:lnTo>
                <a:lnTo>
                  <a:pt x="6" y="66"/>
                </a:lnTo>
                <a:lnTo>
                  <a:pt x="12" y="63"/>
                </a:lnTo>
                <a:lnTo>
                  <a:pt x="16" y="53"/>
                </a:lnTo>
                <a:lnTo>
                  <a:pt x="22" y="47"/>
                </a:lnTo>
                <a:lnTo>
                  <a:pt x="22" y="44"/>
                </a:lnTo>
                <a:lnTo>
                  <a:pt x="25" y="34"/>
                </a:lnTo>
                <a:lnTo>
                  <a:pt x="28" y="34"/>
                </a:lnTo>
                <a:lnTo>
                  <a:pt x="28" y="31"/>
                </a:lnTo>
                <a:lnTo>
                  <a:pt x="34" y="31"/>
                </a:lnTo>
                <a:lnTo>
                  <a:pt x="37" y="31"/>
                </a:lnTo>
                <a:lnTo>
                  <a:pt x="47" y="28"/>
                </a:lnTo>
                <a:lnTo>
                  <a:pt x="50" y="25"/>
                </a:lnTo>
                <a:lnTo>
                  <a:pt x="59" y="19"/>
                </a:lnTo>
                <a:lnTo>
                  <a:pt x="75" y="9"/>
                </a:lnTo>
                <a:lnTo>
                  <a:pt x="81" y="6"/>
                </a:lnTo>
                <a:lnTo>
                  <a:pt x="87" y="3"/>
                </a:lnTo>
                <a:lnTo>
                  <a:pt x="97" y="0"/>
                </a:lnTo>
                <a:lnTo>
                  <a:pt x="100" y="0"/>
                </a:lnTo>
                <a:lnTo>
                  <a:pt x="106" y="3"/>
                </a:lnTo>
                <a:lnTo>
                  <a:pt x="109" y="3"/>
                </a:lnTo>
                <a:lnTo>
                  <a:pt x="112" y="3"/>
                </a:lnTo>
                <a:lnTo>
                  <a:pt x="109" y="6"/>
                </a:lnTo>
                <a:lnTo>
                  <a:pt x="109" y="9"/>
                </a:lnTo>
                <a:lnTo>
                  <a:pt x="106" y="16"/>
                </a:lnTo>
                <a:lnTo>
                  <a:pt x="106" y="22"/>
                </a:lnTo>
                <a:lnTo>
                  <a:pt x="125" y="34"/>
                </a:lnTo>
                <a:lnTo>
                  <a:pt x="125" y="41"/>
                </a:lnTo>
                <a:lnTo>
                  <a:pt x="134" y="47"/>
                </a:lnTo>
                <a:lnTo>
                  <a:pt x="141" y="41"/>
                </a:lnTo>
                <a:lnTo>
                  <a:pt x="144" y="44"/>
                </a:lnTo>
                <a:lnTo>
                  <a:pt x="144" y="44"/>
                </a:lnTo>
                <a:lnTo>
                  <a:pt x="147" y="47"/>
                </a:lnTo>
                <a:lnTo>
                  <a:pt x="147" y="50"/>
                </a:lnTo>
                <a:lnTo>
                  <a:pt x="144" y="53"/>
                </a:lnTo>
                <a:lnTo>
                  <a:pt x="147" y="59"/>
                </a:lnTo>
                <a:lnTo>
                  <a:pt x="150" y="59"/>
                </a:lnTo>
                <a:lnTo>
                  <a:pt x="150" y="63"/>
                </a:lnTo>
                <a:lnTo>
                  <a:pt x="144" y="66"/>
                </a:lnTo>
                <a:lnTo>
                  <a:pt x="141" y="69"/>
                </a:lnTo>
                <a:lnTo>
                  <a:pt x="134" y="72"/>
                </a:lnTo>
                <a:lnTo>
                  <a:pt x="134" y="69"/>
                </a:lnTo>
                <a:lnTo>
                  <a:pt x="128" y="72"/>
                </a:lnTo>
                <a:lnTo>
                  <a:pt x="128" y="75"/>
                </a:lnTo>
                <a:lnTo>
                  <a:pt x="125" y="78"/>
                </a:lnTo>
                <a:lnTo>
                  <a:pt x="128" y="81"/>
                </a:lnTo>
                <a:lnTo>
                  <a:pt x="122" y="81"/>
                </a:lnTo>
                <a:lnTo>
                  <a:pt x="122" y="84"/>
                </a:lnTo>
                <a:lnTo>
                  <a:pt x="100" y="78"/>
                </a:lnTo>
                <a:lnTo>
                  <a:pt x="100" y="78"/>
                </a:lnTo>
                <a:lnTo>
                  <a:pt x="100" y="78"/>
                </a:lnTo>
                <a:lnTo>
                  <a:pt x="97" y="78"/>
                </a:lnTo>
                <a:lnTo>
                  <a:pt x="94" y="81"/>
                </a:lnTo>
                <a:lnTo>
                  <a:pt x="87" y="81"/>
                </a:lnTo>
                <a:lnTo>
                  <a:pt x="81" y="81"/>
                </a:lnTo>
                <a:lnTo>
                  <a:pt x="72" y="81"/>
                </a:lnTo>
                <a:lnTo>
                  <a:pt x="69" y="84"/>
                </a:lnTo>
                <a:lnTo>
                  <a:pt x="56" y="84"/>
                </a:lnTo>
                <a:lnTo>
                  <a:pt x="47" y="84"/>
                </a:lnTo>
                <a:lnTo>
                  <a:pt x="47" y="88"/>
                </a:lnTo>
                <a:lnTo>
                  <a:pt x="50" y="94"/>
                </a:lnTo>
                <a:lnTo>
                  <a:pt x="50" y="97"/>
                </a:lnTo>
                <a:lnTo>
                  <a:pt x="53" y="100"/>
                </a:lnTo>
                <a:lnTo>
                  <a:pt x="53" y="106"/>
                </a:lnTo>
                <a:lnTo>
                  <a:pt x="50" y="106"/>
                </a:lnTo>
                <a:lnTo>
                  <a:pt x="47" y="103"/>
                </a:lnTo>
                <a:lnTo>
                  <a:pt x="44" y="103"/>
                </a:lnTo>
                <a:lnTo>
                  <a:pt x="41" y="106"/>
                </a:lnTo>
                <a:lnTo>
                  <a:pt x="34" y="109"/>
                </a:lnTo>
                <a:lnTo>
                  <a:pt x="28" y="106"/>
                </a:lnTo>
                <a:lnTo>
                  <a:pt x="28" y="103"/>
                </a:lnTo>
                <a:lnTo>
                  <a:pt x="22" y="100"/>
                </a:lnTo>
                <a:lnTo>
                  <a:pt x="19" y="100"/>
                </a:lnTo>
                <a:lnTo>
                  <a:pt x="19" y="100"/>
                </a:lnTo>
                <a:lnTo>
                  <a:pt x="16" y="100"/>
                </a:lnTo>
                <a:lnTo>
                  <a:pt x="6" y="94"/>
                </a:lnTo>
                <a:lnTo>
                  <a:pt x="3" y="91"/>
                </a:lnTo>
                <a:lnTo>
                  <a:pt x="0" y="91"/>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2" name="Freeform 120">
            <a:extLst>
              <a:ext uri="{FF2B5EF4-FFF2-40B4-BE49-F238E27FC236}">
                <a16:creationId xmlns:a16="http://schemas.microsoft.com/office/drawing/2014/main" id="{4302D1DE-5C0F-9D2E-EF90-40F0AEB86807}"/>
              </a:ext>
            </a:extLst>
          </p:cNvPr>
          <p:cNvSpPr>
            <a:spLocks/>
          </p:cNvSpPr>
          <p:nvPr userDrawn="1"/>
        </p:nvSpPr>
        <p:spPr bwMode="auto">
          <a:xfrm>
            <a:off x="12095961" y="8314613"/>
            <a:ext cx="409549" cy="298450"/>
          </a:xfrm>
          <a:custGeom>
            <a:avLst/>
            <a:gdLst>
              <a:gd name="T0" fmla="*/ 22 w 129"/>
              <a:gd name="T1" fmla="*/ 9 h 94"/>
              <a:gd name="T2" fmla="*/ 29 w 129"/>
              <a:gd name="T3" fmla="*/ 6 h 94"/>
              <a:gd name="T4" fmla="*/ 50 w 129"/>
              <a:gd name="T5" fmla="*/ 0 h 94"/>
              <a:gd name="T6" fmla="*/ 63 w 129"/>
              <a:gd name="T7" fmla="*/ 3 h 94"/>
              <a:gd name="T8" fmla="*/ 72 w 129"/>
              <a:gd name="T9" fmla="*/ 9 h 94"/>
              <a:gd name="T10" fmla="*/ 75 w 129"/>
              <a:gd name="T11" fmla="*/ 12 h 94"/>
              <a:gd name="T12" fmla="*/ 79 w 129"/>
              <a:gd name="T13" fmla="*/ 12 h 94"/>
              <a:gd name="T14" fmla="*/ 85 w 129"/>
              <a:gd name="T15" fmla="*/ 12 h 94"/>
              <a:gd name="T16" fmla="*/ 88 w 129"/>
              <a:gd name="T17" fmla="*/ 22 h 94"/>
              <a:gd name="T18" fmla="*/ 94 w 129"/>
              <a:gd name="T19" fmla="*/ 28 h 94"/>
              <a:gd name="T20" fmla="*/ 97 w 129"/>
              <a:gd name="T21" fmla="*/ 31 h 94"/>
              <a:gd name="T22" fmla="*/ 104 w 129"/>
              <a:gd name="T23" fmla="*/ 37 h 94"/>
              <a:gd name="T24" fmla="*/ 107 w 129"/>
              <a:gd name="T25" fmla="*/ 44 h 94"/>
              <a:gd name="T26" fmla="*/ 107 w 129"/>
              <a:gd name="T27" fmla="*/ 56 h 94"/>
              <a:gd name="T28" fmla="*/ 110 w 129"/>
              <a:gd name="T29" fmla="*/ 62 h 94"/>
              <a:gd name="T30" fmla="*/ 116 w 129"/>
              <a:gd name="T31" fmla="*/ 69 h 94"/>
              <a:gd name="T32" fmla="*/ 119 w 129"/>
              <a:gd name="T33" fmla="*/ 72 h 94"/>
              <a:gd name="T34" fmla="*/ 122 w 129"/>
              <a:gd name="T35" fmla="*/ 78 h 94"/>
              <a:gd name="T36" fmla="*/ 122 w 129"/>
              <a:gd name="T37" fmla="*/ 81 h 94"/>
              <a:gd name="T38" fmla="*/ 129 w 129"/>
              <a:gd name="T39" fmla="*/ 87 h 94"/>
              <a:gd name="T40" fmla="*/ 125 w 129"/>
              <a:gd name="T41" fmla="*/ 94 h 94"/>
              <a:gd name="T42" fmla="*/ 122 w 129"/>
              <a:gd name="T43" fmla="*/ 90 h 94"/>
              <a:gd name="T44" fmla="*/ 116 w 129"/>
              <a:gd name="T45" fmla="*/ 87 h 94"/>
              <a:gd name="T46" fmla="*/ 107 w 129"/>
              <a:gd name="T47" fmla="*/ 87 h 94"/>
              <a:gd name="T48" fmla="*/ 97 w 129"/>
              <a:gd name="T49" fmla="*/ 84 h 94"/>
              <a:gd name="T50" fmla="*/ 75 w 129"/>
              <a:gd name="T51" fmla="*/ 81 h 94"/>
              <a:gd name="T52" fmla="*/ 72 w 129"/>
              <a:gd name="T53" fmla="*/ 81 h 94"/>
              <a:gd name="T54" fmla="*/ 50 w 129"/>
              <a:gd name="T55" fmla="*/ 78 h 94"/>
              <a:gd name="T56" fmla="*/ 41 w 129"/>
              <a:gd name="T57" fmla="*/ 87 h 94"/>
              <a:gd name="T58" fmla="*/ 19 w 129"/>
              <a:gd name="T59" fmla="*/ 87 h 94"/>
              <a:gd name="T60" fmla="*/ 16 w 129"/>
              <a:gd name="T61" fmla="*/ 84 h 94"/>
              <a:gd name="T62" fmla="*/ 16 w 129"/>
              <a:gd name="T63" fmla="*/ 84 h 94"/>
              <a:gd name="T64" fmla="*/ 22 w 129"/>
              <a:gd name="T65" fmla="*/ 81 h 94"/>
              <a:gd name="T66" fmla="*/ 13 w 129"/>
              <a:gd name="T67" fmla="*/ 81 h 94"/>
              <a:gd name="T68" fmla="*/ 13 w 129"/>
              <a:gd name="T69" fmla="*/ 78 h 94"/>
              <a:gd name="T70" fmla="*/ 16 w 129"/>
              <a:gd name="T71" fmla="*/ 72 h 94"/>
              <a:gd name="T72" fmla="*/ 32 w 129"/>
              <a:gd name="T73" fmla="*/ 69 h 94"/>
              <a:gd name="T74" fmla="*/ 38 w 129"/>
              <a:gd name="T75" fmla="*/ 62 h 94"/>
              <a:gd name="T76" fmla="*/ 41 w 129"/>
              <a:gd name="T77" fmla="*/ 65 h 94"/>
              <a:gd name="T78" fmla="*/ 47 w 129"/>
              <a:gd name="T79" fmla="*/ 62 h 94"/>
              <a:gd name="T80" fmla="*/ 57 w 129"/>
              <a:gd name="T81" fmla="*/ 65 h 94"/>
              <a:gd name="T82" fmla="*/ 66 w 129"/>
              <a:gd name="T83" fmla="*/ 69 h 94"/>
              <a:gd name="T84" fmla="*/ 72 w 129"/>
              <a:gd name="T85" fmla="*/ 65 h 94"/>
              <a:gd name="T86" fmla="*/ 69 w 129"/>
              <a:gd name="T87" fmla="*/ 65 h 94"/>
              <a:gd name="T88" fmla="*/ 57 w 129"/>
              <a:gd name="T89" fmla="*/ 59 h 94"/>
              <a:gd name="T90" fmla="*/ 47 w 129"/>
              <a:gd name="T91" fmla="*/ 56 h 94"/>
              <a:gd name="T92" fmla="*/ 38 w 129"/>
              <a:gd name="T93" fmla="*/ 56 h 94"/>
              <a:gd name="T94" fmla="*/ 29 w 129"/>
              <a:gd name="T95" fmla="*/ 62 h 94"/>
              <a:gd name="T96" fmla="*/ 16 w 129"/>
              <a:gd name="T97" fmla="*/ 62 h 94"/>
              <a:gd name="T98" fmla="*/ 19 w 129"/>
              <a:gd name="T99" fmla="*/ 59 h 94"/>
              <a:gd name="T100" fmla="*/ 16 w 129"/>
              <a:gd name="T101" fmla="*/ 56 h 94"/>
              <a:gd name="T102" fmla="*/ 13 w 129"/>
              <a:gd name="T103" fmla="*/ 53 h 94"/>
              <a:gd name="T104" fmla="*/ 0 w 129"/>
              <a:gd name="T105" fmla="*/ 37 h 94"/>
              <a:gd name="T106" fmla="*/ 19 w 129"/>
              <a:gd name="T107" fmla="*/ 1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9" h="94">
                <a:moveTo>
                  <a:pt x="19" y="12"/>
                </a:moveTo>
                <a:lnTo>
                  <a:pt x="22" y="9"/>
                </a:lnTo>
                <a:lnTo>
                  <a:pt x="25" y="9"/>
                </a:lnTo>
                <a:lnTo>
                  <a:pt x="29" y="6"/>
                </a:lnTo>
                <a:lnTo>
                  <a:pt x="38" y="3"/>
                </a:lnTo>
                <a:lnTo>
                  <a:pt x="50" y="0"/>
                </a:lnTo>
                <a:lnTo>
                  <a:pt x="54" y="0"/>
                </a:lnTo>
                <a:lnTo>
                  <a:pt x="63" y="3"/>
                </a:lnTo>
                <a:lnTo>
                  <a:pt x="66" y="3"/>
                </a:lnTo>
                <a:lnTo>
                  <a:pt x="72" y="9"/>
                </a:lnTo>
                <a:lnTo>
                  <a:pt x="72" y="12"/>
                </a:lnTo>
                <a:lnTo>
                  <a:pt x="75" y="12"/>
                </a:lnTo>
                <a:lnTo>
                  <a:pt x="79" y="12"/>
                </a:lnTo>
                <a:lnTo>
                  <a:pt x="79" y="12"/>
                </a:lnTo>
                <a:lnTo>
                  <a:pt x="82" y="12"/>
                </a:lnTo>
                <a:lnTo>
                  <a:pt x="85" y="12"/>
                </a:lnTo>
                <a:lnTo>
                  <a:pt x="85" y="18"/>
                </a:lnTo>
                <a:lnTo>
                  <a:pt x="88" y="22"/>
                </a:lnTo>
                <a:lnTo>
                  <a:pt x="88" y="25"/>
                </a:lnTo>
                <a:lnTo>
                  <a:pt x="94" y="28"/>
                </a:lnTo>
                <a:lnTo>
                  <a:pt x="94" y="31"/>
                </a:lnTo>
                <a:lnTo>
                  <a:pt x="97" y="31"/>
                </a:lnTo>
                <a:lnTo>
                  <a:pt x="104" y="34"/>
                </a:lnTo>
                <a:lnTo>
                  <a:pt x="104" y="37"/>
                </a:lnTo>
                <a:lnTo>
                  <a:pt x="107" y="40"/>
                </a:lnTo>
                <a:lnTo>
                  <a:pt x="107" y="44"/>
                </a:lnTo>
                <a:lnTo>
                  <a:pt x="107" y="47"/>
                </a:lnTo>
                <a:lnTo>
                  <a:pt x="107" y="56"/>
                </a:lnTo>
                <a:lnTo>
                  <a:pt x="107" y="59"/>
                </a:lnTo>
                <a:lnTo>
                  <a:pt x="110" y="62"/>
                </a:lnTo>
                <a:lnTo>
                  <a:pt x="113" y="69"/>
                </a:lnTo>
                <a:lnTo>
                  <a:pt x="116" y="69"/>
                </a:lnTo>
                <a:lnTo>
                  <a:pt x="116" y="69"/>
                </a:lnTo>
                <a:lnTo>
                  <a:pt x="119" y="72"/>
                </a:lnTo>
                <a:lnTo>
                  <a:pt x="119" y="75"/>
                </a:lnTo>
                <a:lnTo>
                  <a:pt x="122" y="78"/>
                </a:lnTo>
                <a:lnTo>
                  <a:pt x="122" y="78"/>
                </a:lnTo>
                <a:lnTo>
                  <a:pt x="122" y="81"/>
                </a:lnTo>
                <a:lnTo>
                  <a:pt x="122" y="84"/>
                </a:lnTo>
                <a:lnTo>
                  <a:pt x="129" y="87"/>
                </a:lnTo>
                <a:lnTo>
                  <a:pt x="129" y="90"/>
                </a:lnTo>
                <a:lnTo>
                  <a:pt x="125" y="94"/>
                </a:lnTo>
                <a:lnTo>
                  <a:pt x="125" y="90"/>
                </a:lnTo>
                <a:lnTo>
                  <a:pt x="122" y="90"/>
                </a:lnTo>
                <a:lnTo>
                  <a:pt x="119" y="87"/>
                </a:lnTo>
                <a:lnTo>
                  <a:pt x="116" y="87"/>
                </a:lnTo>
                <a:lnTo>
                  <a:pt x="113" y="87"/>
                </a:lnTo>
                <a:lnTo>
                  <a:pt x="107" y="87"/>
                </a:lnTo>
                <a:lnTo>
                  <a:pt x="100" y="87"/>
                </a:lnTo>
                <a:lnTo>
                  <a:pt x="97" y="84"/>
                </a:lnTo>
                <a:lnTo>
                  <a:pt x="88" y="81"/>
                </a:lnTo>
                <a:lnTo>
                  <a:pt x="75" y="81"/>
                </a:lnTo>
                <a:lnTo>
                  <a:pt x="72" y="81"/>
                </a:lnTo>
                <a:lnTo>
                  <a:pt x="72" y="81"/>
                </a:lnTo>
                <a:lnTo>
                  <a:pt x="69" y="78"/>
                </a:lnTo>
                <a:lnTo>
                  <a:pt x="50" y="78"/>
                </a:lnTo>
                <a:lnTo>
                  <a:pt x="44" y="81"/>
                </a:lnTo>
                <a:lnTo>
                  <a:pt x="41" y="87"/>
                </a:lnTo>
                <a:lnTo>
                  <a:pt x="25" y="84"/>
                </a:lnTo>
                <a:lnTo>
                  <a:pt x="19" y="87"/>
                </a:lnTo>
                <a:lnTo>
                  <a:pt x="16" y="87"/>
                </a:lnTo>
                <a:lnTo>
                  <a:pt x="16" y="84"/>
                </a:lnTo>
                <a:lnTo>
                  <a:pt x="13" y="81"/>
                </a:lnTo>
                <a:lnTo>
                  <a:pt x="16" y="84"/>
                </a:lnTo>
                <a:lnTo>
                  <a:pt x="19" y="84"/>
                </a:lnTo>
                <a:lnTo>
                  <a:pt x="22" y="81"/>
                </a:lnTo>
                <a:lnTo>
                  <a:pt x="16" y="78"/>
                </a:lnTo>
                <a:lnTo>
                  <a:pt x="13" y="81"/>
                </a:lnTo>
                <a:lnTo>
                  <a:pt x="10" y="81"/>
                </a:lnTo>
                <a:lnTo>
                  <a:pt x="13" y="78"/>
                </a:lnTo>
                <a:lnTo>
                  <a:pt x="13" y="72"/>
                </a:lnTo>
                <a:lnTo>
                  <a:pt x="16" y="72"/>
                </a:lnTo>
                <a:lnTo>
                  <a:pt x="29" y="72"/>
                </a:lnTo>
                <a:lnTo>
                  <a:pt x="32" y="69"/>
                </a:lnTo>
                <a:lnTo>
                  <a:pt x="35" y="65"/>
                </a:lnTo>
                <a:lnTo>
                  <a:pt x="38" y="62"/>
                </a:lnTo>
                <a:lnTo>
                  <a:pt x="41" y="65"/>
                </a:lnTo>
                <a:lnTo>
                  <a:pt x="41" y="65"/>
                </a:lnTo>
                <a:lnTo>
                  <a:pt x="44" y="62"/>
                </a:lnTo>
                <a:lnTo>
                  <a:pt x="47" y="62"/>
                </a:lnTo>
                <a:lnTo>
                  <a:pt x="50" y="65"/>
                </a:lnTo>
                <a:lnTo>
                  <a:pt x="57" y="65"/>
                </a:lnTo>
                <a:lnTo>
                  <a:pt x="60" y="65"/>
                </a:lnTo>
                <a:lnTo>
                  <a:pt x="66" y="69"/>
                </a:lnTo>
                <a:lnTo>
                  <a:pt x="72" y="69"/>
                </a:lnTo>
                <a:lnTo>
                  <a:pt x="72" y="65"/>
                </a:lnTo>
                <a:lnTo>
                  <a:pt x="72" y="65"/>
                </a:lnTo>
                <a:lnTo>
                  <a:pt x="69" y="65"/>
                </a:lnTo>
                <a:lnTo>
                  <a:pt x="63" y="59"/>
                </a:lnTo>
                <a:lnTo>
                  <a:pt x="57" y="59"/>
                </a:lnTo>
                <a:lnTo>
                  <a:pt x="50" y="56"/>
                </a:lnTo>
                <a:lnTo>
                  <a:pt x="47" y="56"/>
                </a:lnTo>
                <a:lnTo>
                  <a:pt x="44" y="53"/>
                </a:lnTo>
                <a:lnTo>
                  <a:pt x="38" y="56"/>
                </a:lnTo>
                <a:lnTo>
                  <a:pt x="32" y="62"/>
                </a:lnTo>
                <a:lnTo>
                  <a:pt x="29" y="62"/>
                </a:lnTo>
                <a:lnTo>
                  <a:pt x="25" y="62"/>
                </a:lnTo>
                <a:lnTo>
                  <a:pt x="16" y="62"/>
                </a:lnTo>
                <a:lnTo>
                  <a:pt x="16" y="62"/>
                </a:lnTo>
                <a:lnTo>
                  <a:pt x="19" y="59"/>
                </a:lnTo>
                <a:lnTo>
                  <a:pt x="13" y="56"/>
                </a:lnTo>
                <a:lnTo>
                  <a:pt x="16" y="56"/>
                </a:lnTo>
                <a:lnTo>
                  <a:pt x="16" y="53"/>
                </a:lnTo>
                <a:lnTo>
                  <a:pt x="13" y="53"/>
                </a:lnTo>
                <a:lnTo>
                  <a:pt x="7" y="44"/>
                </a:lnTo>
                <a:lnTo>
                  <a:pt x="0" y="37"/>
                </a:lnTo>
                <a:lnTo>
                  <a:pt x="13" y="28"/>
                </a:lnTo>
                <a:lnTo>
                  <a:pt x="19" y="18"/>
                </a:lnTo>
                <a:lnTo>
                  <a:pt x="19" y="12"/>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3" name="Freeform 121">
            <a:extLst>
              <a:ext uri="{FF2B5EF4-FFF2-40B4-BE49-F238E27FC236}">
                <a16:creationId xmlns:a16="http://schemas.microsoft.com/office/drawing/2014/main" id="{96F1264B-D7F3-A9BF-CB18-4FBBF2D2D0B0}"/>
              </a:ext>
            </a:extLst>
          </p:cNvPr>
          <p:cNvSpPr>
            <a:spLocks/>
          </p:cNvSpPr>
          <p:nvPr userDrawn="1"/>
        </p:nvSpPr>
        <p:spPr bwMode="auto">
          <a:xfrm>
            <a:off x="12127712" y="8482885"/>
            <a:ext cx="196837" cy="60326"/>
          </a:xfrm>
          <a:custGeom>
            <a:avLst/>
            <a:gdLst>
              <a:gd name="T0" fmla="*/ 3 w 62"/>
              <a:gd name="T1" fmla="*/ 19 h 19"/>
              <a:gd name="T2" fmla="*/ 6 w 62"/>
              <a:gd name="T3" fmla="*/ 19 h 19"/>
              <a:gd name="T4" fmla="*/ 19 w 62"/>
              <a:gd name="T5" fmla="*/ 19 h 19"/>
              <a:gd name="T6" fmla="*/ 22 w 62"/>
              <a:gd name="T7" fmla="*/ 16 h 19"/>
              <a:gd name="T8" fmla="*/ 25 w 62"/>
              <a:gd name="T9" fmla="*/ 12 h 19"/>
              <a:gd name="T10" fmla="*/ 28 w 62"/>
              <a:gd name="T11" fmla="*/ 9 h 19"/>
              <a:gd name="T12" fmla="*/ 31 w 62"/>
              <a:gd name="T13" fmla="*/ 12 h 19"/>
              <a:gd name="T14" fmla="*/ 31 w 62"/>
              <a:gd name="T15" fmla="*/ 12 h 19"/>
              <a:gd name="T16" fmla="*/ 34 w 62"/>
              <a:gd name="T17" fmla="*/ 9 h 19"/>
              <a:gd name="T18" fmla="*/ 37 w 62"/>
              <a:gd name="T19" fmla="*/ 9 h 19"/>
              <a:gd name="T20" fmla="*/ 40 w 62"/>
              <a:gd name="T21" fmla="*/ 12 h 19"/>
              <a:gd name="T22" fmla="*/ 47 w 62"/>
              <a:gd name="T23" fmla="*/ 12 h 19"/>
              <a:gd name="T24" fmla="*/ 50 w 62"/>
              <a:gd name="T25" fmla="*/ 12 h 19"/>
              <a:gd name="T26" fmla="*/ 56 w 62"/>
              <a:gd name="T27" fmla="*/ 16 h 19"/>
              <a:gd name="T28" fmla="*/ 62 w 62"/>
              <a:gd name="T29" fmla="*/ 16 h 19"/>
              <a:gd name="T30" fmla="*/ 62 w 62"/>
              <a:gd name="T31" fmla="*/ 12 h 19"/>
              <a:gd name="T32" fmla="*/ 62 w 62"/>
              <a:gd name="T33" fmla="*/ 12 h 19"/>
              <a:gd name="T34" fmla="*/ 59 w 62"/>
              <a:gd name="T35" fmla="*/ 12 h 19"/>
              <a:gd name="T36" fmla="*/ 53 w 62"/>
              <a:gd name="T37" fmla="*/ 6 h 19"/>
              <a:gd name="T38" fmla="*/ 47 w 62"/>
              <a:gd name="T39" fmla="*/ 6 h 19"/>
              <a:gd name="T40" fmla="*/ 40 w 62"/>
              <a:gd name="T41" fmla="*/ 3 h 19"/>
              <a:gd name="T42" fmla="*/ 37 w 62"/>
              <a:gd name="T43" fmla="*/ 3 h 19"/>
              <a:gd name="T44" fmla="*/ 34 w 62"/>
              <a:gd name="T45" fmla="*/ 0 h 19"/>
              <a:gd name="T46" fmla="*/ 28 w 62"/>
              <a:gd name="T47" fmla="*/ 3 h 19"/>
              <a:gd name="T48" fmla="*/ 22 w 62"/>
              <a:gd name="T49" fmla="*/ 9 h 19"/>
              <a:gd name="T50" fmla="*/ 19 w 62"/>
              <a:gd name="T51" fmla="*/ 9 h 19"/>
              <a:gd name="T52" fmla="*/ 15 w 62"/>
              <a:gd name="T53" fmla="*/ 9 h 19"/>
              <a:gd name="T54" fmla="*/ 6 w 62"/>
              <a:gd name="T55" fmla="*/ 9 h 19"/>
              <a:gd name="T56" fmla="*/ 6 w 62"/>
              <a:gd name="T57" fmla="*/ 12 h 19"/>
              <a:gd name="T58" fmla="*/ 12 w 62"/>
              <a:gd name="T59" fmla="*/ 16 h 19"/>
              <a:gd name="T60" fmla="*/ 15 w 62"/>
              <a:gd name="T61" fmla="*/ 16 h 19"/>
              <a:gd name="T62" fmla="*/ 12 w 62"/>
              <a:gd name="T63" fmla="*/ 19 h 19"/>
              <a:gd name="T64" fmla="*/ 9 w 62"/>
              <a:gd name="T65" fmla="*/ 19 h 19"/>
              <a:gd name="T66" fmla="*/ 3 w 62"/>
              <a:gd name="T67" fmla="*/ 12 h 19"/>
              <a:gd name="T68" fmla="*/ 0 w 62"/>
              <a:gd name="T69" fmla="*/ 16 h 19"/>
              <a:gd name="T70" fmla="*/ 3 w 62"/>
              <a:gd name="T71" fmla="*/ 19 h 19"/>
              <a:gd name="T72" fmla="*/ 3 w 62"/>
              <a:gd name="T7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19">
                <a:moveTo>
                  <a:pt x="3" y="19"/>
                </a:moveTo>
                <a:lnTo>
                  <a:pt x="6" y="19"/>
                </a:lnTo>
                <a:lnTo>
                  <a:pt x="19" y="19"/>
                </a:lnTo>
                <a:lnTo>
                  <a:pt x="22" y="16"/>
                </a:lnTo>
                <a:lnTo>
                  <a:pt x="25" y="12"/>
                </a:lnTo>
                <a:lnTo>
                  <a:pt x="28" y="9"/>
                </a:lnTo>
                <a:lnTo>
                  <a:pt x="31" y="12"/>
                </a:lnTo>
                <a:lnTo>
                  <a:pt x="31" y="12"/>
                </a:lnTo>
                <a:lnTo>
                  <a:pt x="34" y="9"/>
                </a:lnTo>
                <a:lnTo>
                  <a:pt x="37" y="9"/>
                </a:lnTo>
                <a:lnTo>
                  <a:pt x="40" y="12"/>
                </a:lnTo>
                <a:lnTo>
                  <a:pt x="47" y="12"/>
                </a:lnTo>
                <a:lnTo>
                  <a:pt x="50" y="12"/>
                </a:lnTo>
                <a:lnTo>
                  <a:pt x="56" y="16"/>
                </a:lnTo>
                <a:lnTo>
                  <a:pt x="62" y="16"/>
                </a:lnTo>
                <a:lnTo>
                  <a:pt x="62" y="12"/>
                </a:lnTo>
                <a:lnTo>
                  <a:pt x="62" y="12"/>
                </a:lnTo>
                <a:lnTo>
                  <a:pt x="59" y="12"/>
                </a:lnTo>
                <a:lnTo>
                  <a:pt x="53" y="6"/>
                </a:lnTo>
                <a:lnTo>
                  <a:pt x="47" y="6"/>
                </a:lnTo>
                <a:lnTo>
                  <a:pt x="40" y="3"/>
                </a:lnTo>
                <a:lnTo>
                  <a:pt x="37" y="3"/>
                </a:lnTo>
                <a:lnTo>
                  <a:pt x="34" y="0"/>
                </a:lnTo>
                <a:lnTo>
                  <a:pt x="28" y="3"/>
                </a:lnTo>
                <a:lnTo>
                  <a:pt x="22" y="9"/>
                </a:lnTo>
                <a:lnTo>
                  <a:pt x="19" y="9"/>
                </a:lnTo>
                <a:lnTo>
                  <a:pt x="15" y="9"/>
                </a:lnTo>
                <a:lnTo>
                  <a:pt x="6" y="9"/>
                </a:lnTo>
                <a:lnTo>
                  <a:pt x="6" y="12"/>
                </a:lnTo>
                <a:lnTo>
                  <a:pt x="12" y="16"/>
                </a:lnTo>
                <a:lnTo>
                  <a:pt x="15" y="16"/>
                </a:lnTo>
                <a:lnTo>
                  <a:pt x="12" y="19"/>
                </a:lnTo>
                <a:lnTo>
                  <a:pt x="9" y="19"/>
                </a:lnTo>
                <a:lnTo>
                  <a:pt x="3" y="12"/>
                </a:lnTo>
                <a:lnTo>
                  <a:pt x="0" y="16"/>
                </a:lnTo>
                <a:lnTo>
                  <a:pt x="3" y="19"/>
                </a:lnTo>
                <a:lnTo>
                  <a:pt x="3" y="19"/>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4" name="Freeform 122">
            <a:extLst>
              <a:ext uri="{FF2B5EF4-FFF2-40B4-BE49-F238E27FC236}">
                <a16:creationId xmlns:a16="http://schemas.microsoft.com/office/drawing/2014/main" id="{FFE84A1A-5839-392D-3923-150B65C9DA21}"/>
              </a:ext>
            </a:extLst>
          </p:cNvPr>
          <p:cNvSpPr>
            <a:spLocks/>
          </p:cNvSpPr>
          <p:nvPr userDrawn="1"/>
        </p:nvSpPr>
        <p:spPr bwMode="auto">
          <a:xfrm>
            <a:off x="12146758" y="8562259"/>
            <a:ext cx="187314" cy="117478"/>
          </a:xfrm>
          <a:custGeom>
            <a:avLst/>
            <a:gdLst>
              <a:gd name="T0" fmla="*/ 0 w 59"/>
              <a:gd name="T1" fmla="*/ 9 h 37"/>
              <a:gd name="T2" fmla="*/ 3 w 59"/>
              <a:gd name="T3" fmla="*/ 9 h 37"/>
              <a:gd name="T4" fmla="*/ 9 w 59"/>
              <a:gd name="T5" fmla="*/ 6 h 37"/>
              <a:gd name="T6" fmla="*/ 25 w 59"/>
              <a:gd name="T7" fmla="*/ 9 h 37"/>
              <a:gd name="T8" fmla="*/ 28 w 59"/>
              <a:gd name="T9" fmla="*/ 3 h 37"/>
              <a:gd name="T10" fmla="*/ 34 w 59"/>
              <a:gd name="T11" fmla="*/ 0 h 37"/>
              <a:gd name="T12" fmla="*/ 53 w 59"/>
              <a:gd name="T13" fmla="*/ 0 h 37"/>
              <a:gd name="T14" fmla="*/ 56 w 59"/>
              <a:gd name="T15" fmla="*/ 3 h 37"/>
              <a:gd name="T16" fmla="*/ 56 w 59"/>
              <a:gd name="T17" fmla="*/ 9 h 37"/>
              <a:gd name="T18" fmla="*/ 56 w 59"/>
              <a:gd name="T19" fmla="*/ 12 h 37"/>
              <a:gd name="T20" fmla="*/ 56 w 59"/>
              <a:gd name="T21" fmla="*/ 19 h 37"/>
              <a:gd name="T22" fmla="*/ 59 w 59"/>
              <a:gd name="T23" fmla="*/ 22 h 37"/>
              <a:gd name="T24" fmla="*/ 59 w 59"/>
              <a:gd name="T25" fmla="*/ 25 h 37"/>
              <a:gd name="T26" fmla="*/ 56 w 59"/>
              <a:gd name="T27" fmla="*/ 28 h 37"/>
              <a:gd name="T28" fmla="*/ 50 w 59"/>
              <a:gd name="T29" fmla="*/ 28 h 37"/>
              <a:gd name="T30" fmla="*/ 44 w 59"/>
              <a:gd name="T31" fmla="*/ 31 h 37"/>
              <a:gd name="T32" fmla="*/ 41 w 59"/>
              <a:gd name="T33" fmla="*/ 31 h 37"/>
              <a:gd name="T34" fmla="*/ 38 w 59"/>
              <a:gd name="T35" fmla="*/ 37 h 37"/>
              <a:gd name="T36" fmla="*/ 31 w 59"/>
              <a:gd name="T37" fmla="*/ 37 h 37"/>
              <a:gd name="T38" fmla="*/ 31 w 59"/>
              <a:gd name="T39" fmla="*/ 37 h 37"/>
              <a:gd name="T40" fmla="*/ 31 w 59"/>
              <a:gd name="T41" fmla="*/ 34 h 37"/>
              <a:gd name="T42" fmla="*/ 25 w 59"/>
              <a:gd name="T43" fmla="*/ 34 h 37"/>
              <a:gd name="T44" fmla="*/ 28 w 59"/>
              <a:gd name="T45" fmla="*/ 28 h 37"/>
              <a:gd name="T46" fmla="*/ 25 w 59"/>
              <a:gd name="T47" fmla="*/ 28 h 37"/>
              <a:gd name="T48" fmla="*/ 28 w 59"/>
              <a:gd name="T49" fmla="*/ 28 h 37"/>
              <a:gd name="T50" fmla="*/ 25 w 59"/>
              <a:gd name="T51" fmla="*/ 25 h 37"/>
              <a:gd name="T52" fmla="*/ 22 w 59"/>
              <a:gd name="T53" fmla="*/ 25 h 37"/>
              <a:gd name="T54" fmla="*/ 22 w 59"/>
              <a:gd name="T55" fmla="*/ 25 h 37"/>
              <a:gd name="T56" fmla="*/ 31 w 59"/>
              <a:gd name="T57" fmla="*/ 22 h 37"/>
              <a:gd name="T58" fmla="*/ 31 w 59"/>
              <a:gd name="T59" fmla="*/ 22 h 37"/>
              <a:gd name="T60" fmla="*/ 28 w 59"/>
              <a:gd name="T61" fmla="*/ 19 h 37"/>
              <a:gd name="T62" fmla="*/ 22 w 59"/>
              <a:gd name="T63" fmla="*/ 19 h 37"/>
              <a:gd name="T64" fmla="*/ 19 w 59"/>
              <a:gd name="T65" fmla="*/ 22 h 37"/>
              <a:gd name="T66" fmla="*/ 16 w 59"/>
              <a:gd name="T67" fmla="*/ 22 h 37"/>
              <a:gd name="T68" fmla="*/ 13 w 59"/>
              <a:gd name="T69" fmla="*/ 19 h 37"/>
              <a:gd name="T70" fmla="*/ 9 w 59"/>
              <a:gd name="T71" fmla="*/ 19 h 37"/>
              <a:gd name="T72" fmla="*/ 6 w 59"/>
              <a:gd name="T73" fmla="*/ 16 h 37"/>
              <a:gd name="T74" fmla="*/ 9 w 59"/>
              <a:gd name="T75" fmla="*/ 12 h 37"/>
              <a:gd name="T76" fmla="*/ 6 w 59"/>
              <a:gd name="T77" fmla="*/ 12 h 37"/>
              <a:gd name="T78" fmla="*/ 0 w 59"/>
              <a:gd name="T79" fmla="*/ 12 h 37"/>
              <a:gd name="T80" fmla="*/ 0 w 59"/>
              <a:gd name="T81" fmla="*/ 9 h 37"/>
              <a:gd name="T82" fmla="*/ 0 w 59"/>
              <a:gd name="T83" fmla="*/ 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9" h="37">
                <a:moveTo>
                  <a:pt x="0" y="9"/>
                </a:moveTo>
                <a:lnTo>
                  <a:pt x="3" y="9"/>
                </a:lnTo>
                <a:lnTo>
                  <a:pt x="9" y="6"/>
                </a:lnTo>
                <a:lnTo>
                  <a:pt x="25" y="9"/>
                </a:lnTo>
                <a:lnTo>
                  <a:pt x="28" y="3"/>
                </a:lnTo>
                <a:lnTo>
                  <a:pt x="34" y="0"/>
                </a:lnTo>
                <a:lnTo>
                  <a:pt x="53" y="0"/>
                </a:lnTo>
                <a:lnTo>
                  <a:pt x="56" y="3"/>
                </a:lnTo>
                <a:lnTo>
                  <a:pt x="56" y="9"/>
                </a:lnTo>
                <a:lnTo>
                  <a:pt x="56" y="12"/>
                </a:lnTo>
                <a:lnTo>
                  <a:pt x="56" y="19"/>
                </a:lnTo>
                <a:lnTo>
                  <a:pt x="59" y="22"/>
                </a:lnTo>
                <a:lnTo>
                  <a:pt x="59" y="25"/>
                </a:lnTo>
                <a:lnTo>
                  <a:pt x="56" y="28"/>
                </a:lnTo>
                <a:lnTo>
                  <a:pt x="50" y="28"/>
                </a:lnTo>
                <a:lnTo>
                  <a:pt x="44" y="31"/>
                </a:lnTo>
                <a:lnTo>
                  <a:pt x="41" y="31"/>
                </a:lnTo>
                <a:lnTo>
                  <a:pt x="38" y="37"/>
                </a:lnTo>
                <a:lnTo>
                  <a:pt x="31" y="37"/>
                </a:lnTo>
                <a:lnTo>
                  <a:pt x="31" y="37"/>
                </a:lnTo>
                <a:lnTo>
                  <a:pt x="31" y="34"/>
                </a:lnTo>
                <a:lnTo>
                  <a:pt x="25" y="34"/>
                </a:lnTo>
                <a:lnTo>
                  <a:pt x="28" y="28"/>
                </a:lnTo>
                <a:lnTo>
                  <a:pt x="25" y="28"/>
                </a:lnTo>
                <a:lnTo>
                  <a:pt x="28" y="28"/>
                </a:lnTo>
                <a:lnTo>
                  <a:pt x="25" y="25"/>
                </a:lnTo>
                <a:lnTo>
                  <a:pt x="22" y="25"/>
                </a:lnTo>
                <a:lnTo>
                  <a:pt x="22" y="25"/>
                </a:lnTo>
                <a:lnTo>
                  <a:pt x="31" y="22"/>
                </a:lnTo>
                <a:lnTo>
                  <a:pt x="31" y="22"/>
                </a:lnTo>
                <a:lnTo>
                  <a:pt x="28" y="19"/>
                </a:lnTo>
                <a:lnTo>
                  <a:pt x="22" y="19"/>
                </a:lnTo>
                <a:lnTo>
                  <a:pt x="19" y="22"/>
                </a:lnTo>
                <a:lnTo>
                  <a:pt x="16" y="22"/>
                </a:lnTo>
                <a:lnTo>
                  <a:pt x="13" y="19"/>
                </a:lnTo>
                <a:lnTo>
                  <a:pt x="9" y="19"/>
                </a:lnTo>
                <a:lnTo>
                  <a:pt x="6" y="16"/>
                </a:lnTo>
                <a:lnTo>
                  <a:pt x="9" y="12"/>
                </a:lnTo>
                <a:lnTo>
                  <a:pt x="6" y="12"/>
                </a:lnTo>
                <a:lnTo>
                  <a:pt x="0" y="12"/>
                </a:lnTo>
                <a:lnTo>
                  <a:pt x="0" y="9"/>
                </a:lnTo>
                <a:lnTo>
                  <a:pt x="0" y="9"/>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5" name="Freeform 123">
            <a:extLst>
              <a:ext uri="{FF2B5EF4-FFF2-40B4-BE49-F238E27FC236}">
                <a16:creationId xmlns:a16="http://schemas.microsoft.com/office/drawing/2014/main" id="{7A6F06F7-CA01-4CB6-1480-85CF1CC468AB}"/>
              </a:ext>
            </a:extLst>
          </p:cNvPr>
          <p:cNvSpPr>
            <a:spLocks/>
          </p:cNvSpPr>
          <p:nvPr userDrawn="1"/>
        </p:nvSpPr>
        <p:spPr bwMode="auto">
          <a:xfrm>
            <a:off x="12267399" y="8571783"/>
            <a:ext cx="434948" cy="438150"/>
          </a:xfrm>
          <a:custGeom>
            <a:avLst/>
            <a:gdLst>
              <a:gd name="T0" fmla="*/ 3 w 137"/>
              <a:gd name="T1" fmla="*/ 28 h 138"/>
              <a:gd name="T2" fmla="*/ 12 w 137"/>
              <a:gd name="T3" fmla="*/ 25 h 138"/>
              <a:gd name="T4" fmla="*/ 21 w 137"/>
              <a:gd name="T5" fmla="*/ 22 h 138"/>
              <a:gd name="T6" fmla="*/ 18 w 137"/>
              <a:gd name="T7" fmla="*/ 16 h 138"/>
              <a:gd name="T8" fmla="*/ 18 w 137"/>
              <a:gd name="T9" fmla="*/ 6 h 138"/>
              <a:gd name="T10" fmla="*/ 21 w 137"/>
              <a:gd name="T11" fmla="*/ 0 h 138"/>
              <a:gd name="T12" fmla="*/ 43 w 137"/>
              <a:gd name="T13" fmla="*/ 3 h 138"/>
              <a:gd name="T14" fmla="*/ 53 w 137"/>
              <a:gd name="T15" fmla="*/ 6 h 138"/>
              <a:gd name="T16" fmla="*/ 62 w 137"/>
              <a:gd name="T17" fmla="*/ 6 h 138"/>
              <a:gd name="T18" fmla="*/ 68 w 137"/>
              <a:gd name="T19" fmla="*/ 9 h 138"/>
              <a:gd name="T20" fmla="*/ 71 w 137"/>
              <a:gd name="T21" fmla="*/ 13 h 138"/>
              <a:gd name="T22" fmla="*/ 78 w 137"/>
              <a:gd name="T23" fmla="*/ 13 h 138"/>
              <a:gd name="T24" fmla="*/ 87 w 137"/>
              <a:gd name="T25" fmla="*/ 16 h 138"/>
              <a:gd name="T26" fmla="*/ 93 w 137"/>
              <a:gd name="T27" fmla="*/ 13 h 138"/>
              <a:gd name="T28" fmla="*/ 100 w 137"/>
              <a:gd name="T29" fmla="*/ 6 h 138"/>
              <a:gd name="T30" fmla="*/ 109 w 137"/>
              <a:gd name="T31" fmla="*/ 9 h 138"/>
              <a:gd name="T32" fmla="*/ 115 w 137"/>
              <a:gd name="T33" fmla="*/ 6 h 138"/>
              <a:gd name="T34" fmla="*/ 121 w 137"/>
              <a:gd name="T35" fmla="*/ 13 h 138"/>
              <a:gd name="T36" fmla="*/ 121 w 137"/>
              <a:gd name="T37" fmla="*/ 22 h 138"/>
              <a:gd name="T38" fmla="*/ 128 w 137"/>
              <a:gd name="T39" fmla="*/ 25 h 138"/>
              <a:gd name="T40" fmla="*/ 125 w 137"/>
              <a:gd name="T41" fmla="*/ 31 h 138"/>
              <a:gd name="T42" fmla="*/ 125 w 137"/>
              <a:gd name="T43" fmla="*/ 34 h 138"/>
              <a:gd name="T44" fmla="*/ 131 w 137"/>
              <a:gd name="T45" fmla="*/ 34 h 138"/>
              <a:gd name="T46" fmla="*/ 131 w 137"/>
              <a:gd name="T47" fmla="*/ 41 h 138"/>
              <a:gd name="T48" fmla="*/ 137 w 137"/>
              <a:gd name="T49" fmla="*/ 41 h 138"/>
              <a:gd name="T50" fmla="*/ 137 w 137"/>
              <a:gd name="T51" fmla="*/ 47 h 138"/>
              <a:gd name="T52" fmla="*/ 131 w 137"/>
              <a:gd name="T53" fmla="*/ 50 h 138"/>
              <a:gd name="T54" fmla="*/ 131 w 137"/>
              <a:gd name="T55" fmla="*/ 56 h 138"/>
              <a:gd name="T56" fmla="*/ 131 w 137"/>
              <a:gd name="T57" fmla="*/ 66 h 138"/>
              <a:gd name="T58" fmla="*/ 134 w 137"/>
              <a:gd name="T59" fmla="*/ 75 h 138"/>
              <a:gd name="T60" fmla="*/ 134 w 137"/>
              <a:gd name="T61" fmla="*/ 81 h 138"/>
              <a:gd name="T62" fmla="*/ 131 w 137"/>
              <a:gd name="T63" fmla="*/ 81 h 138"/>
              <a:gd name="T64" fmla="*/ 134 w 137"/>
              <a:gd name="T65" fmla="*/ 91 h 138"/>
              <a:gd name="T66" fmla="*/ 134 w 137"/>
              <a:gd name="T67" fmla="*/ 97 h 138"/>
              <a:gd name="T68" fmla="*/ 125 w 137"/>
              <a:gd name="T69" fmla="*/ 110 h 138"/>
              <a:gd name="T70" fmla="*/ 125 w 137"/>
              <a:gd name="T71" fmla="*/ 116 h 138"/>
              <a:gd name="T72" fmla="*/ 121 w 137"/>
              <a:gd name="T73" fmla="*/ 125 h 138"/>
              <a:gd name="T74" fmla="*/ 90 w 137"/>
              <a:gd name="T75" fmla="*/ 138 h 138"/>
              <a:gd name="T76" fmla="*/ 81 w 137"/>
              <a:gd name="T77" fmla="*/ 131 h 138"/>
              <a:gd name="T78" fmla="*/ 71 w 137"/>
              <a:gd name="T79" fmla="*/ 122 h 138"/>
              <a:gd name="T80" fmla="*/ 71 w 137"/>
              <a:gd name="T81" fmla="*/ 119 h 138"/>
              <a:gd name="T82" fmla="*/ 84 w 137"/>
              <a:gd name="T83" fmla="*/ 88 h 138"/>
              <a:gd name="T84" fmla="*/ 81 w 137"/>
              <a:gd name="T85" fmla="*/ 85 h 138"/>
              <a:gd name="T86" fmla="*/ 84 w 137"/>
              <a:gd name="T87" fmla="*/ 78 h 138"/>
              <a:gd name="T88" fmla="*/ 81 w 137"/>
              <a:gd name="T89" fmla="*/ 72 h 138"/>
              <a:gd name="T90" fmla="*/ 75 w 137"/>
              <a:gd name="T91" fmla="*/ 59 h 138"/>
              <a:gd name="T92" fmla="*/ 71 w 137"/>
              <a:gd name="T93" fmla="*/ 53 h 138"/>
              <a:gd name="T94" fmla="*/ 50 w 137"/>
              <a:gd name="T95" fmla="*/ 53 h 138"/>
              <a:gd name="T96" fmla="*/ 40 w 137"/>
              <a:gd name="T97" fmla="*/ 63 h 138"/>
              <a:gd name="T98" fmla="*/ 34 w 137"/>
              <a:gd name="T99" fmla="*/ 69 h 138"/>
              <a:gd name="T100" fmla="*/ 28 w 137"/>
              <a:gd name="T101" fmla="*/ 66 h 138"/>
              <a:gd name="T102" fmla="*/ 21 w 137"/>
              <a:gd name="T103" fmla="*/ 56 h 138"/>
              <a:gd name="T104" fmla="*/ 15 w 137"/>
              <a:gd name="T105" fmla="*/ 56 h 138"/>
              <a:gd name="T106" fmla="*/ 18 w 137"/>
              <a:gd name="T107" fmla="*/ 50 h 138"/>
              <a:gd name="T108" fmla="*/ 12 w 137"/>
              <a:gd name="T109" fmla="*/ 53 h 138"/>
              <a:gd name="T110" fmla="*/ 6 w 137"/>
              <a:gd name="T111" fmla="*/ 50 h 138"/>
              <a:gd name="T112" fmla="*/ 3 w 137"/>
              <a:gd name="T113" fmla="*/ 38 h 138"/>
              <a:gd name="T114" fmla="*/ 0 w 137"/>
              <a:gd name="T115" fmla="*/ 3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7" h="138">
                <a:moveTo>
                  <a:pt x="0" y="34"/>
                </a:moveTo>
                <a:lnTo>
                  <a:pt x="3" y="28"/>
                </a:lnTo>
                <a:lnTo>
                  <a:pt x="6" y="28"/>
                </a:lnTo>
                <a:lnTo>
                  <a:pt x="12" y="25"/>
                </a:lnTo>
                <a:lnTo>
                  <a:pt x="18" y="25"/>
                </a:lnTo>
                <a:lnTo>
                  <a:pt x="21" y="22"/>
                </a:lnTo>
                <a:lnTo>
                  <a:pt x="21" y="19"/>
                </a:lnTo>
                <a:lnTo>
                  <a:pt x="18" y="16"/>
                </a:lnTo>
                <a:lnTo>
                  <a:pt x="18" y="9"/>
                </a:lnTo>
                <a:lnTo>
                  <a:pt x="18" y="6"/>
                </a:lnTo>
                <a:lnTo>
                  <a:pt x="18" y="0"/>
                </a:lnTo>
                <a:lnTo>
                  <a:pt x="21" y="0"/>
                </a:lnTo>
                <a:lnTo>
                  <a:pt x="34" y="0"/>
                </a:lnTo>
                <a:lnTo>
                  <a:pt x="43" y="3"/>
                </a:lnTo>
                <a:lnTo>
                  <a:pt x="46" y="6"/>
                </a:lnTo>
                <a:lnTo>
                  <a:pt x="53" y="6"/>
                </a:lnTo>
                <a:lnTo>
                  <a:pt x="59" y="6"/>
                </a:lnTo>
                <a:lnTo>
                  <a:pt x="62" y="6"/>
                </a:lnTo>
                <a:lnTo>
                  <a:pt x="65" y="6"/>
                </a:lnTo>
                <a:lnTo>
                  <a:pt x="68" y="9"/>
                </a:lnTo>
                <a:lnTo>
                  <a:pt x="71" y="9"/>
                </a:lnTo>
                <a:lnTo>
                  <a:pt x="71" y="13"/>
                </a:lnTo>
                <a:lnTo>
                  <a:pt x="75" y="13"/>
                </a:lnTo>
                <a:lnTo>
                  <a:pt x="78" y="13"/>
                </a:lnTo>
                <a:lnTo>
                  <a:pt x="81" y="13"/>
                </a:lnTo>
                <a:lnTo>
                  <a:pt x="87" y="16"/>
                </a:lnTo>
                <a:lnTo>
                  <a:pt x="90" y="16"/>
                </a:lnTo>
                <a:lnTo>
                  <a:pt x="93" y="13"/>
                </a:lnTo>
                <a:lnTo>
                  <a:pt x="96" y="13"/>
                </a:lnTo>
                <a:lnTo>
                  <a:pt x="100" y="6"/>
                </a:lnTo>
                <a:lnTo>
                  <a:pt x="106" y="6"/>
                </a:lnTo>
                <a:lnTo>
                  <a:pt x="109" y="9"/>
                </a:lnTo>
                <a:lnTo>
                  <a:pt x="112" y="6"/>
                </a:lnTo>
                <a:lnTo>
                  <a:pt x="115" y="6"/>
                </a:lnTo>
                <a:lnTo>
                  <a:pt x="115" y="9"/>
                </a:lnTo>
                <a:lnTo>
                  <a:pt x="121" y="13"/>
                </a:lnTo>
                <a:lnTo>
                  <a:pt x="121" y="16"/>
                </a:lnTo>
                <a:lnTo>
                  <a:pt x="121" y="22"/>
                </a:lnTo>
                <a:lnTo>
                  <a:pt x="121" y="22"/>
                </a:lnTo>
                <a:lnTo>
                  <a:pt x="128" y="25"/>
                </a:lnTo>
                <a:lnTo>
                  <a:pt x="128" y="25"/>
                </a:lnTo>
                <a:lnTo>
                  <a:pt x="125" y="31"/>
                </a:lnTo>
                <a:lnTo>
                  <a:pt x="121" y="38"/>
                </a:lnTo>
                <a:lnTo>
                  <a:pt x="125" y="34"/>
                </a:lnTo>
                <a:lnTo>
                  <a:pt x="128" y="34"/>
                </a:lnTo>
                <a:lnTo>
                  <a:pt x="131" y="34"/>
                </a:lnTo>
                <a:lnTo>
                  <a:pt x="131" y="38"/>
                </a:lnTo>
                <a:lnTo>
                  <a:pt x="131" y="41"/>
                </a:lnTo>
                <a:lnTo>
                  <a:pt x="131" y="41"/>
                </a:lnTo>
                <a:lnTo>
                  <a:pt x="137" y="41"/>
                </a:lnTo>
                <a:lnTo>
                  <a:pt x="137" y="44"/>
                </a:lnTo>
                <a:lnTo>
                  <a:pt x="137" y="47"/>
                </a:lnTo>
                <a:lnTo>
                  <a:pt x="137" y="47"/>
                </a:lnTo>
                <a:lnTo>
                  <a:pt x="131" y="50"/>
                </a:lnTo>
                <a:lnTo>
                  <a:pt x="131" y="53"/>
                </a:lnTo>
                <a:lnTo>
                  <a:pt x="131" y="56"/>
                </a:lnTo>
                <a:lnTo>
                  <a:pt x="131" y="63"/>
                </a:lnTo>
                <a:lnTo>
                  <a:pt x="131" y="66"/>
                </a:lnTo>
                <a:lnTo>
                  <a:pt x="131" y="75"/>
                </a:lnTo>
                <a:lnTo>
                  <a:pt x="134" y="75"/>
                </a:lnTo>
                <a:lnTo>
                  <a:pt x="137" y="78"/>
                </a:lnTo>
                <a:lnTo>
                  <a:pt x="134" y="81"/>
                </a:lnTo>
                <a:lnTo>
                  <a:pt x="131" y="81"/>
                </a:lnTo>
                <a:lnTo>
                  <a:pt x="131" y="81"/>
                </a:lnTo>
                <a:lnTo>
                  <a:pt x="131" y="85"/>
                </a:lnTo>
                <a:lnTo>
                  <a:pt x="134" y="91"/>
                </a:lnTo>
                <a:lnTo>
                  <a:pt x="134" y="91"/>
                </a:lnTo>
                <a:lnTo>
                  <a:pt x="134" y="97"/>
                </a:lnTo>
                <a:lnTo>
                  <a:pt x="128" y="106"/>
                </a:lnTo>
                <a:lnTo>
                  <a:pt x="125" y="110"/>
                </a:lnTo>
                <a:lnTo>
                  <a:pt x="125" y="110"/>
                </a:lnTo>
                <a:lnTo>
                  <a:pt x="125" y="116"/>
                </a:lnTo>
                <a:lnTo>
                  <a:pt x="121" y="122"/>
                </a:lnTo>
                <a:lnTo>
                  <a:pt x="121" y="125"/>
                </a:lnTo>
                <a:lnTo>
                  <a:pt x="121" y="125"/>
                </a:lnTo>
                <a:lnTo>
                  <a:pt x="90" y="138"/>
                </a:lnTo>
                <a:lnTo>
                  <a:pt x="84" y="131"/>
                </a:lnTo>
                <a:lnTo>
                  <a:pt x="81" y="131"/>
                </a:lnTo>
                <a:lnTo>
                  <a:pt x="75" y="125"/>
                </a:lnTo>
                <a:lnTo>
                  <a:pt x="71" y="122"/>
                </a:lnTo>
                <a:lnTo>
                  <a:pt x="75" y="119"/>
                </a:lnTo>
                <a:lnTo>
                  <a:pt x="71" y="119"/>
                </a:lnTo>
                <a:lnTo>
                  <a:pt x="81" y="113"/>
                </a:lnTo>
                <a:lnTo>
                  <a:pt x="84" y="88"/>
                </a:lnTo>
                <a:lnTo>
                  <a:pt x="84" y="85"/>
                </a:lnTo>
                <a:lnTo>
                  <a:pt x="81" y="85"/>
                </a:lnTo>
                <a:lnTo>
                  <a:pt x="81" y="81"/>
                </a:lnTo>
                <a:lnTo>
                  <a:pt x="84" y="78"/>
                </a:lnTo>
                <a:lnTo>
                  <a:pt x="84" y="75"/>
                </a:lnTo>
                <a:lnTo>
                  <a:pt x="81" y="72"/>
                </a:lnTo>
                <a:lnTo>
                  <a:pt x="81" y="69"/>
                </a:lnTo>
                <a:lnTo>
                  <a:pt x="75" y="59"/>
                </a:lnTo>
                <a:lnTo>
                  <a:pt x="75" y="56"/>
                </a:lnTo>
                <a:lnTo>
                  <a:pt x="71" y="53"/>
                </a:lnTo>
                <a:lnTo>
                  <a:pt x="56" y="53"/>
                </a:lnTo>
                <a:lnTo>
                  <a:pt x="50" y="53"/>
                </a:lnTo>
                <a:lnTo>
                  <a:pt x="46" y="56"/>
                </a:lnTo>
                <a:lnTo>
                  <a:pt x="40" y="63"/>
                </a:lnTo>
                <a:lnTo>
                  <a:pt x="40" y="66"/>
                </a:lnTo>
                <a:lnTo>
                  <a:pt x="34" y="69"/>
                </a:lnTo>
                <a:lnTo>
                  <a:pt x="31" y="69"/>
                </a:lnTo>
                <a:lnTo>
                  <a:pt x="28" y="66"/>
                </a:lnTo>
                <a:lnTo>
                  <a:pt x="25" y="63"/>
                </a:lnTo>
                <a:lnTo>
                  <a:pt x="21" y="56"/>
                </a:lnTo>
                <a:lnTo>
                  <a:pt x="18" y="56"/>
                </a:lnTo>
                <a:lnTo>
                  <a:pt x="15" y="56"/>
                </a:lnTo>
                <a:lnTo>
                  <a:pt x="15" y="53"/>
                </a:lnTo>
                <a:lnTo>
                  <a:pt x="18" y="50"/>
                </a:lnTo>
                <a:lnTo>
                  <a:pt x="15" y="50"/>
                </a:lnTo>
                <a:lnTo>
                  <a:pt x="12" y="53"/>
                </a:lnTo>
                <a:lnTo>
                  <a:pt x="9" y="50"/>
                </a:lnTo>
                <a:lnTo>
                  <a:pt x="6" y="50"/>
                </a:lnTo>
                <a:lnTo>
                  <a:pt x="0" y="44"/>
                </a:lnTo>
                <a:lnTo>
                  <a:pt x="3" y="38"/>
                </a:lnTo>
                <a:lnTo>
                  <a:pt x="0" y="34"/>
                </a:lnTo>
                <a:lnTo>
                  <a:pt x="0" y="34"/>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6" name="Freeform 124">
            <a:extLst>
              <a:ext uri="{FF2B5EF4-FFF2-40B4-BE49-F238E27FC236}">
                <a16:creationId xmlns:a16="http://schemas.microsoft.com/office/drawing/2014/main" id="{B676D579-1110-A2E1-343B-10F06E0C65F2}"/>
              </a:ext>
            </a:extLst>
          </p:cNvPr>
          <p:cNvSpPr>
            <a:spLocks noEditPoints="1"/>
          </p:cNvSpPr>
          <p:nvPr userDrawn="1"/>
        </p:nvSpPr>
        <p:spPr bwMode="auto">
          <a:xfrm>
            <a:off x="12365816" y="8740063"/>
            <a:ext cx="168267" cy="209550"/>
          </a:xfrm>
          <a:custGeom>
            <a:avLst/>
            <a:gdLst>
              <a:gd name="T0" fmla="*/ 12 w 53"/>
              <a:gd name="T1" fmla="*/ 57 h 66"/>
              <a:gd name="T2" fmla="*/ 12 w 53"/>
              <a:gd name="T3" fmla="*/ 53 h 66"/>
              <a:gd name="T4" fmla="*/ 12 w 53"/>
              <a:gd name="T5" fmla="*/ 53 h 66"/>
              <a:gd name="T6" fmla="*/ 9 w 53"/>
              <a:gd name="T7" fmla="*/ 50 h 66"/>
              <a:gd name="T8" fmla="*/ 9 w 53"/>
              <a:gd name="T9" fmla="*/ 53 h 66"/>
              <a:gd name="T10" fmla="*/ 9 w 53"/>
              <a:gd name="T11" fmla="*/ 53 h 66"/>
              <a:gd name="T12" fmla="*/ 12 w 53"/>
              <a:gd name="T13" fmla="*/ 57 h 66"/>
              <a:gd name="T14" fmla="*/ 12 w 53"/>
              <a:gd name="T15" fmla="*/ 57 h 66"/>
              <a:gd name="T16" fmla="*/ 12 w 53"/>
              <a:gd name="T17" fmla="*/ 57 h 66"/>
              <a:gd name="T18" fmla="*/ 0 w 53"/>
              <a:gd name="T19" fmla="*/ 16 h 66"/>
              <a:gd name="T20" fmla="*/ 3 w 53"/>
              <a:gd name="T21" fmla="*/ 16 h 66"/>
              <a:gd name="T22" fmla="*/ 9 w 53"/>
              <a:gd name="T23" fmla="*/ 13 h 66"/>
              <a:gd name="T24" fmla="*/ 9 w 53"/>
              <a:gd name="T25" fmla="*/ 10 h 66"/>
              <a:gd name="T26" fmla="*/ 15 w 53"/>
              <a:gd name="T27" fmla="*/ 3 h 66"/>
              <a:gd name="T28" fmla="*/ 19 w 53"/>
              <a:gd name="T29" fmla="*/ 0 h 66"/>
              <a:gd name="T30" fmla="*/ 25 w 53"/>
              <a:gd name="T31" fmla="*/ 0 h 66"/>
              <a:gd name="T32" fmla="*/ 40 w 53"/>
              <a:gd name="T33" fmla="*/ 0 h 66"/>
              <a:gd name="T34" fmla="*/ 44 w 53"/>
              <a:gd name="T35" fmla="*/ 3 h 66"/>
              <a:gd name="T36" fmla="*/ 44 w 53"/>
              <a:gd name="T37" fmla="*/ 6 h 66"/>
              <a:gd name="T38" fmla="*/ 50 w 53"/>
              <a:gd name="T39" fmla="*/ 16 h 66"/>
              <a:gd name="T40" fmla="*/ 50 w 53"/>
              <a:gd name="T41" fmla="*/ 19 h 66"/>
              <a:gd name="T42" fmla="*/ 53 w 53"/>
              <a:gd name="T43" fmla="*/ 22 h 66"/>
              <a:gd name="T44" fmla="*/ 53 w 53"/>
              <a:gd name="T45" fmla="*/ 25 h 66"/>
              <a:gd name="T46" fmla="*/ 50 w 53"/>
              <a:gd name="T47" fmla="*/ 28 h 66"/>
              <a:gd name="T48" fmla="*/ 50 w 53"/>
              <a:gd name="T49" fmla="*/ 32 h 66"/>
              <a:gd name="T50" fmla="*/ 53 w 53"/>
              <a:gd name="T51" fmla="*/ 32 h 66"/>
              <a:gd name="T52" fmla="*/ 53 w 53"/>
              <a:gd name="T53" fmla="*/ 35 h 66"/>
              <a:gd name="T54" fmla="*/ 50 w 53"/>
              <a:gd name="T55" fmla="*/ 60 h 66"/>
              <a:gd name="T56" fmla="*/ 40 w 53"/>
              <a:gd name="T57" fmla="*/ 66 h 66"/>
              <a:gd name="T58" fmla="*/ 40 w 53"/>
              <a:gd name="T59" fmla="*/ 66 h 66"/>
              <a:gd name="T60" fmla="*/ 31 w 53"/>
              <a:gd name="T61" fmla="*/ 66 h 66"/>
              <a:gd name="T62" fmla="*/ 22 w 53"/>
              <a:gd name="T63" fmla="*/ 60 h 66"/>
              <a:gd name="T64" fmla="*/ 19 w 53"/>
              <a:gd name="T65" fmla="*/ 60 h 66"/>
              <a:gd name="T66" fmla="*/ 19 w 53"/>
              <a:gd name="T67" fmla="*/ 57 h 66"/>
              <a:gd name="T68" fmla="*/ 15 w 53"/>
              <a:gd name="T69" fmla="*/ 53 h 66"/>
              <a:gd name="T70" fmla="*/ 12 w 53"/>
              <a:gd name="T71" fmla="*/ 50 h 66"/>
              <a:gd name="T72" fmla="*/ 15 w 53"/>
              <a:gd name="T73" fmla="*/ 47 h 66"/>
              <a:gd name="T74" fmla="*/ 15 w 53"/>
              <a:gd name="T75" fmla="*/ 47 h 66"/>
              <a:gd name="T76" fmla="*/ 9 w 53"/>
              <a:gd name="T77" fmla="*/ 47 h 66"/>
              <a:gd name="T78" fmla="*/ 6 w 53"/>
              <a:gd name="T79" fmla="*/ 44 h 66"/>
              <a:gd name="T80" fmla="*/ 6 w 53"/>
              <a:gd name="T81" fmla="*/ 38 h 66"/>
              <a:gd name="T82" fmla="*/ 3 w 53"/>
              <a:gd name="T83" fmla="*/ 32 h 66"/>
              <a:gd name="T84" fmla="*/ 0 w 53"/>
              <a:gd name="T85" fmla="*/ 32 h 66"/>
              <a:gd name="T86" fmla="*/ 0 w 53"/>
              <a:gd name="T87" fmla="*/ 28 h 66"/>
              <a:gd name="T88" fmla="*/ 3 w 53"/>
              <a:gd name="T89" fmla="*/ 25 h 66"/>
              <a:gd name="T90" fmla="*/ 0 w 53"/>
              <a:gd name="T91" fmla="*/ 22 h 66"/>
              <a:gd name="T92" fmla="*/ 0 w 53"/>
              <a:gd name="T93" fmla="*/ 19 h 66"/>
              <a:gd name="T94" fmla="*/ 0 w 53"/>
              <a:gd name="T95" fmla="*/ 16 h 66"/>
              <a:gd name="T96" fmla="*/ 0 w 53"/>
              <a:gd name="T97"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66">
                <a:moveTo>
                  <a:pt x="12" y="57"/>
                </a:moveTo>
                <a:lnTo>
                  <a:pt x="12" y="53"/>
                </a:lnTo>
                <a:lnTo>
                  <a:pt x="12" y="53"/>
                </a:lnTo>
                <a:lnTo>
                  <a:pt x="9" y="50"/>
                </a:lnTo>
                <a:lnTo>
                  <a:pt x="9" y="53"/>
                </a:lnTo>
                <a:lnTo>
                  <a:pt x="9" y="53"/>
                </a:lnTo>
                <a:lnTo>
                  <a:pt x="12" y="57"/>
                </a:lnTo>
                <a:lnTo>
                  <a:pt x="12" y="57"/>
                </a:lnTo>
                <a:lnTo>
                  <a:pt x="12" y="57"/>
                </a:lnTo>
                <a:close/>
                <a:moveTo>
                  <a:pt x="0" y="16"/>
                </a:moveTo>
                <a:lnTo>
                  <a:pt x="3" y="16"/>
                </a:lnTo>
                <a:lnTo>
                  <a:pt x="9" y="13"/>
                </a:lnTo>
                <a:lnTo>
                  <a:pt x="9" y="10"/>
                </a:lnTo>
                <a:lnTo>
                  <a:pt x="15" y="3"/>
                </a:lnTo>
                <a:lnTo>
                  <a:pt x="19" y="0"/>
                </a:lnTo>
                <a:lnTo>
                  <a:pt x="25" y="0"/>
                </a:lnTo>
                <a:lnTo>
                  <a:pt x="40" y="0"/>
                </a:lnTo>
                <a:lnTo>
                  <a:pt x="44" y="3"/>
                </a:lnTo>
                <a:lnTo>
                  <a:pt x="44" y="6"/>
                </a:lnTo>
                <a:lnTo>
                  <a:pt x="50" y="16"/>
                </a:lnTo>
                <a:lnTo>
                  <a:pt x="50" y="19"/>
                </a:lnTo>
                <a:lnTo>
                  <a:pt x="53" y="22"/>
                </a:lnTo>
                <a:lnTo>
                  <a:pt x="53" y="25"/>
                </a:lnTo>
                <a:lnTo>
                  <a:pt x="50" y="28"/>
                </a:lnTo>
                <a:lnTo>
                  <a:pt x="50" y="32"/>
                </a:lnTo>
                <a:lnTo>
                  <a:pt x="53" y="32"/>
                </a:lnTo>
                <a:lnTo>
                  <a:pt x="53" y="35"/>
                </a:lnTo>
                <a:lnTo>
                  <a:pt x="50" y="60"/>
                </a:lnTo>
                <a:lnTo>
                  <a:pt x="40" y="66"/>
                </a:lnTo>
                <a:lnTo>
                  <a:pt x="40" y="66"/>
                </a:lnTo>
                <a:lnTo>
                  <a:pt x="31" y="66"/>
                </a:lnTo>
                <a:lnTo>
                  <a:pt x="22" y="60"/>
                </a:lnTo>
                <a:lnTo>
                  <a:pt x="19" y="60"/>
                </a:lnTo>
                <a:lnTo>
                  <a:pt x="19" y="57"/>
                </a:lnTo>
                <a:lnTo>
                  <a:pt x="15" y="53"/>
                </a:lnTo>
                <a:lnTo>
                  <a:pt x="12" y="50"/>
                </a:lnTo>
                <a:lnTo>
                  <a:pt x="15" y="47"/>
                </a:lnTo>
                <a:lnTo>
                  <a:pt x="15" y="47"/>
                </a:lnTo>
                <a:lnTo>
                  <a:pt x="9" y="47"/>
                </a:lnTo>
                <a:lnTo>
                  <a:pt x="6" y="44"/>
                </a:lnTo>
                <a:lnTo>
                  <a:pt x="6" y="38"/>
                </a:lnTo>
                <a:lnTo>
                  <a:pt x="3" y="32"/>
                </a:lnTo>
                <a:lnTo>
                  <a:pt x="0" y="32"/>
                </a:lnTo>
                <a:lnTo>
                  <a:pt x="0" y="28"/>
                </a:lnTo>
                <a:lnTo>
                  <a:pt x="3" y="25"/>
                </a:lnTo>
                <a:lnTo>
                  <a:pt x="0" y="22"/>
                </a:lnTo>
                <a:lnTo>
                  <a:pt x="0" y="19"/>
                </a:lnTo>
                <a:lnTo>
                  <a:pt x="0" y="16"/>
                </a:lnTo>
                <a:lnTo>
                  <a:pt x="0" y="16"/>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7" name="Freeform 125">
            <a:extLst>
              <a:ext uri="{FF2B5EF4-FFF2-40B4-BE49-F238E27FC236}">
                <a16:creationId xmlns:a16="http://schemas.microsoft.com/office/drawing/2014/main" id="{C7F7CED0-DA03-7A65-742A-A99592A7E76E}"/>
              </a:ext>
            </a:extLst>
          </p:cNvPr>
          <p:cNvSpPr>
            <a:spLocks/>
          </p:cNvSpPr>
          <p:nvPr userDrawn="1"/>
        </p:nvSpPr>
        <p:spPr bwMode="auto">
          <a:xfrm>
            <a:off x="12473761" y="8828958"/>
            <a:ext cx="247634" cy="279400"/>
          </a:xfrm>
          <a:custGeom>
            <a:avLst/>
            <a:gdLst>
              <a:gd name="T0" fmla="*/ 0 w 78"/>
              <a:gd name="T1" fmla="*/ 38 h 88"/>
              <a:gd name="T2" fmla="*/ 0 w 78"/>
              <a:gd name="T3" fmla="*/ 35 h 88"/>
              <a:gd name="T4" fmla="*/ 3 w 78"/>
              <a:gd name="T5" fmla="*/ 29 h 88"/>
              <a:gd name="T6" fmla="*/ 6 w 78"/>
              <a:gd name="T7" fmla="*/ 25 h 88"/>
              <a:gd name="T8" fmla="*/ 13 w 78"/>
              <a:gd name="T9" fmla="*/ 22 h 88"/>
              <a:gd name="T10" fmla="*/ 13 w 78"/>
              <a:gd name="T11" fmla="*/ 19 h 88"/>
              <a:gd name="T12" fmla="*/ 13 w 78"/>
              <a:gd name="T13" fmla="*/ 13 h 88"/>
              <a:gd name="T14" fmla="*/ 16 w 78"/>
              <a:gd name="T15" fmla="*/ 13 h 88"/>
              <a:gd name="T16" fmla="*/ 16 w 78"/>
              <a:gd name="T17" fmla="*/ 10 h 88"/>
              <a:gd name="T18" fmla="*/ 16 w 78"/>
              <a:gd name="T19" fmla="*/ 7 h 88"/>
              <a:gd name="T20" fmla="*/ 22 w 78"/>
              <a:gd name="T21" fmla="*/ 4 h 88"/>
              <a:gd name="T22" fmla="*/ 25 w 78"/>
              <a:gd name="T23" fmla="*/ 4 h 88"/>
              <a:gd name="T24" fmla="*/ 31 w 78"/>
              <a:gd name="T25" fmla="*/ 0 h 88"/>
              <a:gd name="T26" fmla="*/ 35 w 78"/>
              <a:gd name="T27" fmla="*/ 4 h 88"/>
              <a:gd name="T28" fmla="*/ 38 w 78"/>
              <a:gd name="T29" fmla="*/ 7 h 88"/>
              <a:gd name="T30" fmla="*/ 41 w 78"/>
              <a:gd name="T31" fmla="*/ 10 h 88"/>
              <a:gd name="T32" fmla="*/ 41 w 78"/>
              <a:gd name="T33" fmla="*/ 16 h 88"/>
              <a:gd name="T34" fmla="*/ 41 w 78"/>
              <a:gd name="T35" fmla="*/ 22 h 88"/>
              <a:gd name="T36" fmla="*/ 47 w 78"/>
              <a:gd name="T37" fmla="*/ 29 h 88"/>
              <a:gd name="T38" fmla="*/ 47 w 78"/>
              <a:gd name="T39" fmla="*/ 25 h 88"/>
              <a:gd name="T40" fmla="*/ 53 w 78"/>
              <a:gd name="T41" fmla="*/ 22 h 88"/>
              <a:gd name="T42" fmla="*/ 56 w 78"/>
              <a:gd name="T43" fmla="*/ 22 h 88"/>
              <a:gd name="T44" fmla="*/ 60 w 78"/>
              <a:gd name="T45" fmla="*/ 25 h 88"/>
              <a:gd name="T46" fmla="*/ 60 w 78"/>
              <a:gd name="T47" fmla="*/ 29 h 88"/>
              <a:gd name="T48" fmla="*/ 60 w 78"/>
              <a:gd name="T49" fmla="*/ 29 h 88"/>
              <a:gd name="T50" fmla="*/ 60 w 78"/>
              <a:gd name="T51" fmla="*/ 35 h 88"/>
              <a:gd name="T52" fmla="*/ 56 w 78"/>
              <a:gd name="T53" fmla="*/ 41 h 88"/>
              <a:gd name="T54" fmla="*/ 56 w 78"/>
              <a:gd name="T55" fmla="*/ 44 h 88"/>
              <a:gd name="T56" fmla="*/ 56 w 78"/>
              <a:gd name="T57" fmla="*/ 47 h 88"/>
              <a:gd name="T58" fmla="*/ 60 w 78"/>
              <a:gd name="T59" fmla="*/ 47 h 88"/>
              <a:gd name="T60" fmla="*/ 60 w 78"/>
              <a:gd name="T61" fmla="*/ 47 h 88"/>
              <a:gd name="T62" fmla="*/ 63 w 78"/>
              <a:gd name="T63" fmla="*/ 47 h 88"/>
              <a:gd name="T64" fmla="*/ 66 w 78"/>
              <a:gd name="T65" fmla="*/ 50 h 88"/>
              <a:gd name="T66" fmla="*/ 69 w 78"/>
              <a:gd name="T67" fmla="*/ 50 h 88"/>
              <a:gd name="T68" fmla="*/ 72 w 78"/>
              <a:gd name="T69" fmla="*/ 50 h 88"/>
              <a:gd name="T70" fmla="*/ 72 w 78"/>
              <a:gd name="T71" fmla="*/ 54 h 88"/>
              <a:gd name="T72" fmla="*/ 75 w 78"/>
              <a:gd name="T73" fmla="*/ 57 h 88"/>
              <a:gd name="T74" fmla="*/ 78 w 78"/>
              <a:gd name="T75" fmla="*/ 57 h 88"/>
              <a:gd name="T76" fmla="*/ 78 w 78"/>
              <a:gd name="T77" fmla="*/ 60 h 88"/>
              <a:gd name="T78" fmla="*/ 75 w 78"/>
              <a:gd name="T79" fmla="*/ 63 h 88"/>
              <a:gd name="T80" fmla="*/ 78 w 78"/>
              <a:gd name="T81" fmla="*/ 66 h 88"/>
              <a:gd name="T82" fmla="*/ 75 w 78"/>
              <a:gd name="T83" fmla="*/ 69 h 88"/>
              <a:gd name="T84" fmla="*/ 75 w 78"/>
              <a:gd name="T85" fmla="*/ 72 h 88"/>
              <a:gd name="T86" fmla="*/ 75 w 78"/>
              <a:gd name="T87" fmla="*/ 75 h 88"/>
              <a:gd name="T88" fmla="*/ 75 w 78"/>
              <a:gd name="T89" fmla="*/ 79 h 88"/>
              <a:gd name="T90" fmla="*/ 78 w 78"/>
              <a:gd name="T91" fmla="*/ 82 h 88"/>
              <a:gd name="T92" fmla="*/ 78 w 78"/>
              <a:gd name="T93" fmla="*/ 88 h 88"/>
              <a:gd name="T94" fmla="*/ 56 w 78"/>
              <a:gd name="T95" fmla="*/ 79 h 88"/>
              <a:gd name="T96" fmla="*/ 44 w 78"/>
              <a:gd name="T97" fmla="*/ 69 h 88"/>
              <a:gd name="T98" fmla="*/ 38 w 78"/>
              <a:gd name="T99" fmla="*/ 69 h 88"/>
              <a:gd name="T100" fmla="*/ 25 w 78"/>
              <a:gd name="T101" fmla="*/ 57 h 88"/>
              <a:gd name="T102" fmla="*/ 19 w 78"/>
              <a:gd name="T103" fmla="*/ 50 h 88"/>
              <a:gd name="T104" fmla="*/ 16 w 78"/>
              <a:gd name="T105" fmla="*/ 50 h 88"/>
              <a:gd name="T106" fmla="*/ 10 w 78"/>
              <a:gd name="T107" fmla="*/ 44 h 88"/>
              <a:gd name="T108" fmla="*/ 6 w 78"/>
              <a:gd name="T109" fmla="*/ 41 h 88"/>
              <a:gd name="T110" fmla="*/ 10 w 78"/>
              <a:gd name="T111" fmla="*/ 38 h 88"/>
              <a:gd name="T112" fmla="*/ 6 w 78"/>
              <a:gd name="T113" fmla="*/ 38 h 88"/>
              <a:gd name="T114" fmla="*/ 0 w 78"/>
              <a:gd name="T115" fmla="*/ 3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 h="88">
                <a:moveTo>
                  <a:pt x="0" y="38"/>
                </a:moveTo>
                <a:lnTo>
                  <a:pt x="0" y="35"/>
                </a:lnTo>
                <a:lnTo>
                  <a:pt x="3" y="29"/>
                </a:lnTo>
                <a:lnTo>
                  <a:pt x="6" y="25"/>
                </a:lnTo>
                <a:lnTo>
                  <a:pt x="13" y="22"/>
                </a:lnTo>
                <a:lnTo>
                  <a:pt x="13" y="19"/>
                </a:lnTo>
                <a:lnTo>
                  <a:pt x="13" y="13"/>
                </a:lnTo>
                <a:lnTo>
                  <a:pt x="16" y="13"/>
                </a:lnTo>
                <a:lnTo>
                  <a:pt x="16" y="10"/>
                </a:lnTo>
                <a:lnTo>
                  <a:pt x="16" y="7"/>
                </a:lnTo>
                <a:lnTo>
                  <a:pt x="22" y="4"/>
                </a:lnTo>
                <a:lnTo>
                  <a:pt x="25" y="4"/>
                </a:lnTo>
                <a:lnTo>
                  <a:pt x="31" y="0"/>
                </a:lnTo>
                <a:lnTo>
                  <a:pt x="35" y="4"/>
                </a:lnTo>
                <a:lnTo>
                  <a:pt x="38" y="7"/>
                </a:lnTo>
                <a:lnTo>
                  <a:pt x="41" y="10"/>
                </a:lnTo>
                <a:lnTo>
                  <a:pt x="41" y="16"/>
                </a:lnTo>
                <a:lnTo>
                  <a:pt x="41" y="22"/>
                </a:lnTo>
                <a:lnTo>
                  <a:pt x="47" y="29"/>
                </a:lnTo>
                <a:lnTo>
                  <a:pt x="47" y="25"/>
                </a:lnTo>
                <a:lnTo>
                  <a:pt x="53" y="22"/>
                </a:lnTo>
                <a:lnTo>
                  <a:pt x="56" y="22"/>
                </a:lnTo>
                <a:lnTo>
                  <a:pt x="60" y="25"/>
                </a:lnTo>
                <a:lnTo>
                  <a:pt x="60" y="29"/>
                </a:lnTo>
                <a:lnTo>
                  <a:pt x="60" y="29"/>
                </a:lnTo>
                <a:lnTo>
                  <a:pt x="60" y="35"/>
                </a:lnTo>
                <a:lnTo>
                  <a:pt x="56" y="41"/>
                </a:lnTo>
                <a:lnTo>
                  <a:pt x="56" y="44"/>
                </a:lnTo>
                <a:lnTo>
                  <a:pt x="56" y="47"/>
                </a:lnTo>
                <a:lnTo>
                  <a:pt x="60" y="47"/>
                </a:lnTo>
                <a:lnTo>
                  <a:pt x="60" y="47"/>
                </a:lnTo>
                <a:lnTo>
                  <a:pt x="63" y="47"/>
                </a:lnTo>
                <a:lnTo>
                  <a:pt x="66" y="50"/>
                </a:lnTo>
                <a:lnTo>
                  <a:pt x="69" y="50"/>
                </a:lnTo>
                <a:lnTo>
                  <a:pt x="72" y="50"/>
                </a:lnTo>
                <a:lnTo>
                  <a:pt x="72" y="54"/>
                </a:lnTo>
                <a:lnTo>
                  <a:pt x="75" y="57"/>
                </a:lnTo>
                <a:lnTo>
                  <a:pt x="78" y="57"/>
                </a:lnTo>
                <a:lnTo>
                  <a:pt x="78" y="60"/>
                </a:lnTo>
                <a:lnTo>
                  <a:pt x="75" y="63"/>
                </a:lnTo>
                <a:lnTo>
                  <a:pt x="78" y="66"/>
                </a:lnTo>
                <a:lnTo>
                  <a:pt x="75" y="69"/>
                </a:lnTo>
                <a:lnTo>
                  <a:pt x="75" y="72"/>
                </a:lnTo>
                <a:lnTo>
                  <a:pt x="75" y="75"/>
                </a:lnTo>
                <a:lnTo>
                  <a:pt x="75" y="79"/>
                </a:lnTo>
                <a:lnTo>
                  <a:pt x="78" y="82"/>
                </a:lnTo>
                <a:lnTo>
                  <a:pt x="78" y="88"/>
                </a:lnTo>
                <a:lnTo>
                  <a:pt x="56" y="79"/>
                </a:lnTo>
                <a:lnTo>
                  <a:pt x="44" y="69"/>
                </a:lnTo>
                <a:lnTo>
                  <a:pt x="38" y="69"/>
                </a:lnTo>
                <a:lnTo>
                  <a:pt x="25" y="57"/>
                </a:lnTo>
                <a:lnTo>
                  <a:pt x="19" y="50"/>
                </a:lnTo>
                <a:lnTo>
                  <a:pt x="16" y="50"/>
                </a:lnTo>
                <a:lnTo>
                  <a:pt x="10" y="44"/>
                </a:lnTo>
                <a:lnTo>
                  <a:pt x="6" y="41"/>
                </a:lnTo>
                <a:lnTo>
                  <a:pt x="10" y="38"/>
                </a:lnTo>
                <a:lnTo>
                  <a:pt x="6" y="38"/>
                </a:lnTo>
                <a:lnTo>
                  <a:pt x="0" y="38"/>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8" name="Freeform 126">
            <a:extLst>
              <a:ext uri="{FF2B5EF4-FFF2-40B4-BE49-F238E27FC236}">
                <a16:creationId xmlns:a16="http://schemas.microsoft.com/office/drawing/2014/main" id="{89769378-639F-4321-4969-B329792BDDFA}"/>
              </a:ext>
            </a:extLst>
          </p:cNvPr>
          <p:cNvSpPr>
            <a:spLocks/>
          </p:cNvSpPr>
          <p:nvPr userDrawn="1"/>
        </p:nvSpPr>
        <p:spPr bwMode="auto">
          <a:xfrm>
            <a:off x="12651549" y="8701956"/>
            <a:ext cx="387325" cy="406400"/>
          </a:xfrm>
          <a:custGeom>
            <a:avLst/>
            <a:gdLst>
              <a:gd name="T0" fmla="*/ 22 w 122"/>
              <a:gd name="T1" fmla="*/ 122 h 128"/>
              <a:gd name="T2" fmla="*/ 19 w 122"/>
              <a:gd name="T3" fmla="*/ 115 h 128"/>
              <a:gd name="T4" fmla="*/ 19 w 122"/>
              <a:gd name="T5" fmla="*/ 109 h 128"/>
              <a:gd name="T6" fmla="*/ 19 w 122"/>
              <a:gd name="T7" fmla="*/ 103 h 128"/>
              <a:gd name="T8" fmla="*/ 22 w 122"/>
              <a:gd name="T9" fmla="*/ 97 h 128"/>
              <a:gd name="T10" fmla="*/ 16 w 122"/>
              <a:gd name="T11" fmla="*/ 94 h 128"/>
              <a:gd name="T12" fmla="*/ 13 w 122"/>
              <a:gd name="T13" fmla="*/ 90 h 128"/>
              <a:gd name="T14" fmla="*/ 7 w 122"/>
              <a:gd name="T15" fmla="*/ 87 h 128"/>
              <a:gd name="T16" fmla="*/ 4 w 122"/>
              <a:gd name="T17" fmla="*/ 87 h 128"/>
              <a:gd name="T18" fmla="*/ 0 w 122"/>
              <a:gd name="T19" fmla="*/ 84 h 128"/>
              <a:gd name="T20" fmla="*/ 4 w 122"/>
              <a:gd name="T21" fmla="*/ 75 h 128"/>
              <a:gd name="T22" fmla="*/ 4 w 122"/>
              <a:gd name="T23" fmla="*/ 69 h 128"/>
              <a:gd name="T24" fmla="*/ 13 w 122"/>
              <a:gd name="T25" fmla="*/ 56 h 128"/>
              <a:gd name="T26" fmla="*/ 13 w 122"/>
              <a:gd name="T27" fmla="*/ 50 h 128"/>
              <a:gd name="T28" fmla="*/ 10 w 122"/>
              <a:gd name="T29" fmla="*/ 40 h 128"/>
              <a:gd name="T30" fmla="*/ 13 w 122"/>
              <a:gd name="T31" fmla="*/ 40 h 128"/>
              <a:gd name="T32" fmla="*/ 13 w 122"/>
              <a:gd name="T33" fmla="*/ 34 h 128"/>
              <a:gd name="T34" fmla="*/ 10 w 122"/>
              <a:gd name="T35" fmla="*/ 25 h 128"/>
              <a:gd name="T36" fmla="*/ 10 w 122"/>
              <a:gd name="T37" fmla="*/ 15 h 128"/>
              <a:gd name="T38" fmla="*/ 10 w 122"/>
              <a:gd name="T39" fmla="*/ 9 h 128"/>
              <a:gd name="T40" fmla="*/ 22 w 122"/>
              <a:gd name="T41" fmla="*/ 3 h 128"/>
              <a:gd name="T42" fmla="*/ 32 w 122"/>
              <a:gd name="T43" fmla="*/ 3 h 128"/>
              <a:gd name="T44" fmla="*/ 41 w 122"/>
              <a:gd name="T45" fmla="*/ 3 h 128"/>
              <a:gd name="T46" fmla="*/ 47 w 122"/>
              <a:gd name="T47" fmla="*/ 0 h 128"/>
              <a:gd name="T48" fmla="*/ 50 w 122"/>
              <a:gd name="T49" fmla="*/ 3 h 128"/>
              <a:gd name="T50" fmla="*/ 60 w 122"/>
              <a:gd name="T51" fmla="*/ 6 h 128"/>
              <a:gd name="T52" fmla="*/ 66 w 122"/>
              <a:gd name="T53" fmla="*/ 0 h 128"/>
              <a:gd name="T54" fmla="*/ 79 w 122"/>
              <a:gd name="T55" fmla="*/ 9 h 128"/>
              <a:gd name="T56" fmla="*/ 82 w 122"/>
              <a:gd name="T57" fmla="*/ 9 h 128"/>
              <a:gd name="T58" fmla="*/ 91 w 122"/>
              <a:gd name="T59" fmla="*/ 12 h 128"/>
              <a:gd name="T60" fmla="*/ 97 w 122"/>
              <a:gd name="T61" fmla="*/ 18 h 128"/>
              <a:gd name="T62" fmla="*/ 107 w 122"/>
              <a:gd name="T63" fmla="*/ 12 h 128"/>
              <a:gd name="T64" fmla="*/ 113 w 122"/>
              <a:gd name="T65" fmla="*/ 15 h 128"/>
              <a:gd name="T66" fmla="*/ 116 w 122"/>
              <a:gd name="T67" fmla="*/ 18 h 128"/>
              <a:gd name="T68" fmla="*/ 116 w 122"/>
              <a:gd name="T69" fmla="*/ 28 h 128"/>
              <a:gd name="T70" fmla="*/ 119 w 122"/>
              <a:gd name="T71" fmla="*/ 34 h 128"/>
              <a:gd name="T72" fmla="*/ 119 w 122"/>
              <a:gd name="T73" fmla="*/ 44 h 128"/>
              <a:gd name="T74" fmla="*/ 116 w 122"/>
              <a:gd name="T75" fmla="*/ 50 h 128"/>
              <a:gd name="T76" fmla="*/ 110 w 122"/>
              <a:gd name="T77" fmla="*/ 62 h 128"/>
              <a:gd name="T78" fmla="*/ 107 w 122"/>
              <a:gd name="T79" fmla="*/ 72 h 128"/>
              <a:gd name="T80" fmla="*/ 107 w 122"/>
              <a:gd name="T81" fmla="*/ 81 h 128"/>
              <a:gd name="T82" fmla="*/ 104 w 122"/>
              <a:gd name="T83" fmla="*/ 84 h 128"/>
              <a:gd name="T84" fmla="*/ 110 w 122"/>
              <a:gd name="T85" fmla="*/ 94 h 128"/>
              <a:gd name="T86" fmla="*/ 116 w 122"/>
              <a:gd name="T87" fmla="*/ 100 h 128"/>
              <a:gd name="T88" fmla="*/ 116 w 122"/>
              <a:gd name="T89" fmla="*/ 109 h 128"/>
              <a:gd name="T90" fmla="*/ 110 w 122"/>
              <a:gd name="T91" fmla="*/ 109 h 128"/>
              <a:gd name="T92" fmla="*/ 107 w 122"/>
              <a:gd name="T93" fmla="*/ 106 h 128"/>
              <a:gd name="T94" fmla="*/ 100 w 122"/>
              <a:gd name="T95" fmla="*/ 112 h 128"/>
              <a:gd name="T96" fmla="*/ 82 w 122"/>
              <a:gd name="T97" fmla="*/ 112 h 128"/>
              <a:gd name="T98" fmla="*/ 50 w 122"/>
              <a:gd name="T99" fmla="*/ 112 h 128"/>
              <a:gd name="T100" fmla="*/ 35 w 122"/>
              <a:gd name="T101" fmla="*/ 119 h 128"/>
              <a:gd name="T102" fmla="*/ 29 w 122"/>
              <a:gd name="T103" fmla="*/ 122 h 128"/>
              <a:gd name="T104" fmla="*/ 22 w 122"/>
              <a:gd name="T10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2" h="128">
                <a:moveTo>
                  <a:pt x="22" y="128"/>
                </a:moveTo>
                <a:lnTo>
                  <a:pt x="22" y="122"/>
                </a:lnTo>
                <a:lnTo>
                  <a:pt x="19" y="119"/>
                </a:lnTo>
                <a:lnTo>
                  <a:pt x="19" y="115"/>
                </a:lnTo>
                <a:lnTo>
                  <a:pt x="19" y="112"/>
                </a:lnTo>
                <a:lnTo>
                  <a:pt x="19" y="109"/>
                </a:lnTo>
                <a:lnTo>
                  <a:pt x="22" y="106"/>
                </a:lnTo>
                <a:lnTo>
                  <a:pt x="19" y="103"/>
                </a:lnTo>
                <a:lnTo>
                  <a:pt x="22" y="100"/>
                </a:lnTo>
                <a:lnTo>
                  <a:pt x="22" y="97"/>
                </a:lnTo>
                <a:lnTo>
                  <a:pt x="19" y="97"/>
                </a:lnTo>
                <a:lnTo>
                  <a:pt x="16" y="94"/>
                </a:lnTo>
                <a:lnTo>
                  <a:pt x="16" y="90"/>
                </a:lnTo>
                <a:lnTo>
                  <a:pt x="13" y="90"/>
                </a:lnTo>
                <a:lnTo>
                  <a:pt x="10" y="90"/>
                </a:lnTo>
                <a:lnTo>
                  <a:pt x="7" y="87"/>
                </a:lnTo>
                <a:lnTo>
                  <a:pt x="4" y="87"/>
                </a:lnTo>
                <a:lnTo>
                  <a:pt x="4" y="87"/>
                </a:lnTo>
                <a:lnTo>
                  <a:pt x="0" y="87"/>
                </a:lnTo>
                <a:lnTo>
                  <a:pt x="0" y="84"/>
                </a:lnTo>
                <a:lnTo>
                  <a:pt x="0" y="81"/>
                </a:lnTo>
                <a:lnTo>
                  <a:pt x="4" y="75"/>
                </a:lnTo>
                <a:lnTo>
                  <a:pt x="4" y="69"/>
                </a:lnTo>
                <a:lnTo>
                  <a:pt x="4" y="69"/>
                </a:lnTo>
                <a:lnTo>
                  <a:pt x="7" y="65"/>
                </a:lnTo>
                <a:lnTo>
                  <a:pt x="13" y="56"/>
                </a:lnTo>
                <a:lnTo>
                  <a:pt x="13" y="50"/>
                </a:lnTo>
                <a:lnTo>
                  <a:pt x="13" y="50"/>
                </a:lnTo>
                <a:lnTo>
                  <a:pt x="10" y="44"/>
                </a:lnTo>
                <a:lnTo>
                  <a:pt x="10" y="40"/>
                </a:lnTo>
                <a:lnTo>
                  <a:pt x="10" y="40"/>
                </a:lnTo>
                <a:lnTo>
                  <a:pt x="13" y="40"/>
                </a:lnTo>
                <a:lnTo>
                  <a:pt x="16" y="37"/>
                </a:lnTo>
                <a:lnTo>
                  <a:pt x="13" y="34"/>
                </a:lnTo>
                <a:lnTo>
                  <a:pt x="10" y="34"/>
                </a:lnTo>
                <a:lnTo>
                  <a:pt x="10" y="25"/>
                </a:lnTo>
                <a:lnTo>
                  <a:pt x="10" y="22"/>
                </a:lnTo>
                <a:lnTo>
                  <a:pt x="10" y="15"/>
                </a:lnTo>
                <a:lnTo>
                  <a:pt x="10" y="12"/>
                </a:lnTo>
                <a:lnTo>
                  <a:pt x="10" y="9"/>
                </a:lnTo>
                <a:lnTo>
                  <a:pt x="16" y="6"/>
                </a:lnTo>
                <a:lnTo>
                  <a:pt x="22" y="3"/>
                </a:lnTo>
                <a:lnTo>
                  <a:pt x="25" y="3"/>
                </a:lnTo>
                <a:lnTo>
                  <a:pt x="32" y="3"/>
                </a:lnTo>
                <a:lnTo>
                  <a:pt x="38" y="6"/>
                </a:lnTo>
                <a:lnTo>
                  <a:pt x="41" y="3"/>
                </a:lnTo>
                <a:lnTo>
                  <a:pt x="41" y="3"/>
                </a:lnTo>
                <a:lnTo>
                  <a:pt x="47" y="0"/>
                </a:lnTo>
                <a:lnTo>
                  <a:pt x="50" y="0"/>
                </a:lnTo>
                <a:lnTo>
                  <a:pt x="50" y="3"/>
                </a:lnTo>
                <a:lnTo>
                  <a:pt x="54" y="6"/>
                </a:lnTo>
                <a:lnTo>
                  <a:pt x="60" y="6"/>
                </a:lnTo>
                <a:lnTo>
                  <a:pt x="63" y="0"/>
                </a:lnTo>
                <a:lnTo>
                  <a:pt x="66" y="0"/>
                </a:lnTo>
                <a:lnTo>
                  <a:pt x="69" y="3"/>
                </a:lnTo>
                <a:lnTo>
                  <a:pt x="79" y="9"/>
                </a:lnTo>
                <a:lnTo>
                  <a:pt x="82" y="9"/>
                </a:lnTo>
                <a:lnTo>
                  <a:pt x="82" y="9"/>
                </a:lnTo>
                <a:lnTo>
                  <a:pt x="85" y="9"/>
                </a:lnTo>
                <a:lnTo>
                  <a:pt x="91" y="12"/>
                </a:lnTo>
                <a:lnTo>
                  <a:pt x="91" y="15"/>
                </a:lnTo>
                <a:lnTo>
                  <a:pt x="97" y="18"/>
                </a:lnTo>
                <a:lnTo>
                  <a:pt x="104" y="15"/>
                </a:lnTo>
                <a:lnTo>
                  <a:pt x="107" y="12"/>
                </a:lnTo>
                <a:lnTo>
                  <a:pt x="110" y="12"/>
                </a:lnTo>
                <a:lnTo>
                  <a:pt x="113" y="15"/>
                </a:lnTo>
                <a:lnTo>
                  <a:pt x="116" y="15"/>
                </a:lnTo>
                <a:lnTo>
                  <a:pt x="116" y="18"/>
                </a:lnTo>
                <a:lnTo>
                  <a:pt x="116" y="25"/>
                </a:lnTo>
                <a:lnTo>
                  <a:pt x="116" y="28"/>
                </a:lnTo>
                <a:lnTo>
                  <a:pt x="116" y="31"/>
                </a:lnTo>
                <a:lnTo>
                  <a:pt x="119" y="34"/>
                </a:lnTo>
                <a:lnTo>
                  <a:pt x="122" y="40"/>
                </a:lnTo>
                <a:lnTo>
                  <a:pt x="119" y="44"/>
                </a:lnTo>
                <a:lnTo>
                  <a:pt x="119" y="47"/>
                </a:lnTo>
                <a:lnTo>
                  <a:pt x="116" y="50"/>
                </a:lnTo>
                <a:lnTo>
                  <a:pt x="110" y="59"/>
                </a:lnTo>
                <a:lnTo>
                  <a:pt x="110" y="62"/>
                </a:lnTo>
                <a:lnTo>
                  <a:pt x="110" y="65"/>
                </a:lnTo>
                <a:lnTo>
                  <a:pt x="107" y="72"/>
                </a:lnTo>
                <a:lnTo>
                  <a:pt x="107" y="75"/>
                </a:lnTo>
                <a:lnTo>
                  <a:pt x="107" y="81"/>
                </a:lnTo>
                <a:lnTo>
                  <a:pt x="104" y="84"/>
                </a:lnTo>
                <a:lnTo>
                  <a:pt x="104" y="84"/>
                </a:lnTo>
                <a:lnTo>
                  <a:pt x="107" y="87"/>
                </a:lnTo>
                <a:lnTo>
                  <a:pt x="110" y="94"/>
                </a:lnTo>
                <a:lnTo>
                  <a:pt x="110" y="100"/>
                </a:lnTo>
                <a:lnTo>
                  <a:pt x="116" y="100"/>
                </a:lnTo>
                <a:lnTo>
                  <a:pt x="116" y="103"/>
                </a:lnTo>
                <a:lnTo>
                  <a:pt x="116" y="109"/>
                </a:lnTo>
                <a:lnTo>
                  <a:pt x="113" y="109"/>
                </a:lnTo>
                <a:lnTo>
                  <a:pt x="110" y="109"/>
                </a:lnTo>
                <a:lnTo>
                  <a:pt x="110" y="112"/>
                </a:lnTo>
                <a:lnTo>
                  <a:pt x="107" y="106"/>
                </a:lnTo>
                <a:lnTo>
                  <a:pt x="104" y="109"/>
                </a:lnTo>
                <a:lnTo>
                  <a:pt x="100" y="112"/>
                </a:lnTo>
                <a:lnTo>
                  <a:pt x="91" y="109"/>
                </a:lnTo>
                <a:lnTo>
                  <a:pt x="82" y="112"/>
                </a:lnTo>
                <a:lnTo>
                  <a:pt x="57" y="112"/>
                </a:lnTo>
                <a:lnTo>
                  <a:pt x="50" y="112"/>
                </a:lnTo>
                <a:lnTo>
                  <a:pt x="50" y="115"/>
                </a:lnTo>
                <a:lnTo>
                  <a:pt x="35" y="119"/>
                </a:lnTo>
                <a:lnTo>
                  <a:pt x="35" y="122"/>
                </a:lnTo>
                <a:lnTo>
                  <a:pt x="29" y="122"/>
                </a:lnTo>
                <a:lnTo>
                  <a:pt x="22" y="128"/>
                </a:lnTo>
                <a:lnTo>
                  <a:pt x="22" y="128"/>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9" name="Freeform 127">
            <a:extLst>
              <a:ext uri="{FF2B5EF4-FFF2-40B4-BE49-F238E27FC236}">
                <a16:creationId xmlns:a16="http://schemas.microsoft.com/office/drawing/2014/main" id="{15E9201F-2285-B51D-6933-6B8EB5BAA359}"/>
              </a:ext>
            </a:extLst>
          </p:cNvPr>
          <p:cNvSpPr>
            <a:spLocks/>
          </p:cNvSpPr>
          <p:nvPr userDrawn="1"/>
        </p:nvSpPr>
        <p:spPr bwMode="auto">
          <a:xfrm>
            <a:off x="12981730" y="8660683"/>
            <a:ext cx="266685" cy="419102"/>
          </a:xfrm>
          <a:custGeom>
            <a:avLst/>
            <a:gdLst>
              <a:gd name="T0" fmla="*/ 6 w 84"/>
              <a:gd name="T1" fmla="*/ 122 h 132"/>
              <a:gd name="T2" fmla="*/ 12 w 84"/>
              <a:gd name="T3" fmla="*/ 122 h 132"/>
              <a:gd name="T4" fmla="*/ 12 w 84"/>
              <a:gd name="T5" fmla="*/ 113 h 132"/>
              <a:gd name="T6" fmla="*/ 6 w 84"/>
              <a:gd name="T7" fmla="*/ 107 h 132"/>
              <a:gd name="T8" fmla="*/ 0 w 84"/>
              <a:gd name="T9" fmla="*/ 97 h 132"/>
              <a:gd name="T10" fmla="*/ 3 w 84"/>
              <a:gd name="T11" fmla="*/ 94 h 132"/>
              <a:gd name="T12" fmla="*/ 3 w 84"/>
              <a:gd name="T13" fmla="*/ 85 h 132"/>
              <a:gd name="T14" fmla="*/ 6 w 84"/>
              <a:gd name="T15" fmla="*/ 75 h 132"/>
              <a:gd name="T16" fmla="*/ 12 w 84"/>
              <a:gd name="T17" fmla="*/ 63 h 132"/>
              <a:gd name="T18" fmla="*/ 15 w 84"/>
              <a:gd name="T19" fmla="*/ 57 h 132"/>
              <a:gd name="T20" fmla="*/ 15 w 84"/>
              <a:gd name="T21" fmla="*/ 47 h 132"/>
              <a:gd name="T22" fmla="*/ 12 w 84"/>
              <a:gd name="T23" fmla="*/ 41 h 132"/>
              <a:gd name="T24" fmla="*/ 12 w 84"/>
              <a:gd name="T25" fmla="*/ 31 h 132"/>
              <a:gd name="T26" fmla="*/ 9 w 84"/>
              <a:gd name="T27" fmla="*/ 19 h 132"/>
              <a:gd name="T28" fmla="*/ 6 w 84"/>
              <a:gd name="T29" fmla="*/ 10 h 132"/>
              <a:gd name="T30" fmla="*/ 15 w 84"/>
              <a:gd name="T31" fmla="*/ 6 h 132"/>
              <a:gd name="T32" fmla="*/ 31 w 84"/>
              <a:gd name="T33" fmla="*/ 3 h 132"/>
              <a:gd name="T34" fmla="*/ 46 w 84"/>
              <a:gd name="T35" fmla="*/ 3 h 132"/>
              <a:gd name="T36" fmla="*/ 56 w 84"/>
              <a:gd name="T37" fmla="*/ 0 h 132"/>
              <a:gd name="T38" fmla="*/ 59 w 84"/>
              <a:gd name="T39" fmla="*/ 6 h 132"/>
              <a:gd name="T40" fmla="*/ 62 w 84"/>
              <a:gd name="T41" fmla="*/ 13 h 132"/>
              <a:gd name="T42" fmla="*/ 68 w 84"/>
              <a:gd name="T43" fmla="*/ 19 h 132"/>
              <a:gd name="T44" fmla="*/ 71 w 84"/>
              <a:gd name="T45" fmla="*/ 25 h 132"/>
              <a:gd name="T46" fmla="*/ 75 w 84"/>
              <a:gd name="T47" fmla="*/ 35 h 132"/>
              <a:gd name="T48" fmla="*/ 75 w 84"/>
              <a:gd name="T49" fmla="*/ 41 h 132"/>
              <a:gd name="T50" fmla="*/ 75 w 84"/>
              <a:gd name="T51" fmla="*/ 47 h 132"/>
              <a:gd name="T52" fmla="*/ 75 w 84"/>
              <a:gd name="T53" fmla="*/ 53 h 132"/>
              <a:gd name="T54" fmla="*/ 75 w 84"/>
              <a:gd name="T55" fmla="*/ 60 h 132"/>
              <a:gd name="T56" fmla="*/ 78 w 84"/>
              <a:gd name="T57" fmla="*/ 69 h 132"/>
              <a:gd name="T58" fmla="*/ 75 w 84"/>
              <a:gd name="T59" fmla="*/ 85 h 132"/>
              <a:gd name="T60" fmla="*/ 75 w 84"/>
              <a:gd name="T61" fmla="*/ 91 h 132"/>
              <a:gd name="T62" fmla="*/ 78 w 84"/>
              <a:gd name="T63" fmla="*/ 100 h 132"/>
              <a:gd name="T64" fmla="*/ 81 w 84"/>
              <a:gd name="T65" fmla="*/ 103 h 132"/>
              <a:gd name="T66" fmla="*/ 71 w 84"/>
              <a:gd name="T67" fmla="*/ 110 h 132"/>
              <a:gd name="T68" fmla="*/ 53 w 84"/>
              <a:gd name="T69" fmla="*/ 122 h 132"/>
              <a:gd name="T70" fmla="*/ 25 w 84"/>
              <a:gd name="T71" fmla="*/ 132 h 132"/>
              <a:gd name="T72" fmla="*/ 6 w 84"/>
              <a:gd name="T73" fmla="*/ 12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4" h="132">
                <a:moveTo>
                  <a:pt x="6" y="125"/>
                </a:moveTo>
                <a:lnTo>
                  <a:pt x="6" y="122"/>
                </a:lnTo>
                <a:lnTo>
                  <a:pt x="9" y="122"/>
                </a:lnTo>
                <a:lnTo>
                  <a:pt x="12" y="122"/>
                </a:lnTo>
                <a:lnTo>
                  <a:pt x="12" y="116"/>
                </a:lnTo>
                <a:lnTo>
                  <a:pt x="12" y="113"/>
                </a:lnTo>
                <a:lnTo>
                  <a:pt x="6" y="113"/>
                </a:lnTo>
                <a:lnTo>
                  <a:pt x="6" y="107"/>
                </a:lnTo>
                <a:lnTo>
                  <a:pt x="3" y="100"/>
                </a:lnTo>
                <a:lnTo>
                  <a:pt x="0" y="97"/>
                </a:lnTo>
                <a:lnTo>
                  <a:pt x="0" y="97"/>
                </a:lnTo>
                <a:lnTo>
                  <a:pt x="3" y="94"/>
                </a:lnTo>
                <a:lnTo>
                  <a:pt x="3" y="88"/>
                </a:lnTo>
                <a:lnTo>
                  <a:pt x="3" y="85"/>
                </a:lnTo>
                <a:lnTo>
                  <a:pt x="6" y="78"/>
                </a:lnTo>
                <a:lnTo>
                  <a:pt x="6" y="75"/>
                </a:lnTo>
                <a:lnTo>
                  <a:pt x="6" y="72"/>
                </a:lnTo>
                <a:lnTo>
                  <a:pt x="12" y="63"/>
                </a:lnTo>
                <a:lnTo>
                  <a:pt x="15" y="60"/>
                </a:lnTo>
                <a:lnTo>
                  <a:pt x="15" y="57"/>
                </a:lnTo>
                <a:lnTo>
                  <a:pt x="18" y="53"/>
                </a:lnTo>
                <a:lnTo>
                  <a:pt x="15" y="47"/>
                </a:lnTo>
                <a:lnTo>
                  <a:pt x="12" y="44"/>
                </a:lnTo>
                <a:lnTo>
                  <a:pt x="12" y="41"/>
                </a:lnTo>
                <a:lnTo>
                  <a:pt x="12" y="38"/>
                </a:lnTo>
                <a:lnTo>
                  <a:pt x="12" y="31"/>
                </a:lnTo>
                <a:lnTo>
                  <a:pt x="12" y="22"/>
                </a:lnTo>
                <a:lnTo>
                  <a:pt x="9" y="19"/>
                </a:lnTo>
                <a:lnTo>
                  <a:pt x="9" y="16"/>
                </a:lnTo>
                <a:lnTo>
                  <a:pt x="6" y="10"/>
                </a:lnTo>
                <a:lnTo>
                  <a:pt x="6" y="6"/>
                </a:lnTo>
                <a:lnTo>
                  <a:pt x="15" y="6"/>
                </a:lnTo>
                <a:lnTo>
                  <a:pt x="28" y="6"/>
                </a:lnTo>
                <a:lnTo>
                  <a:pt x="31" y="3"/>
                </a:lnTo>
                <a:lnTo>
                  <a:pt x="40" y="3"/>
                </a:lnTo>
                <a:lnTo>
                  <a:pt x="46" y="3"/>
                </a:lnTo>
                <a:lnTo>
                  <a:pt x="53" y="3"/>
                </a:lnTo>
                <a:lnTo>
                  <a:pt x="56" y="0"/>
                </a:lnTo>
                <a:lnTo>
                  <a:pt x="59" y="0"/>
                </a:lnTo>
                <a:lnTo>
                  <a:pt x="59" y="6"/>
                </a:lnTo>
                <a:lnTo>
                  <a:pt x="62" y="10"/>
                </a:lnTo>
                <a:lnTo>
                  <a:pt x="62" y="13"/>
                </a:lnTo>
                <a:lnTo>
                  <a:pt x="65" y="16"/>
                </a:lnTo>
                <a:lnTo>
                  <a:pt x="68" y="19"/>
                </a:lnTo>
                <a:lnTo>
                  <a:pt x="71" y="22"/>
                </a:lnTo>
                <a:lnTo>
                  <a:pt x="71" y="25"/>
                </a:lnTo>
                <a:lnTo>
                  <a:pt x="71" y="35"/>
                </a:lnTo>
                <a:lnTo>
                  <a:pt x="75" y="35"/>
                </a:lnTo>
                <a:lnTo>
                  <a:pt x="75" y="35"/>
                </a:lnTo>
                <a:lnTo>
                  <a:pt x="75" y="41"/>
                </a:lnTo>
                <a:lnTo>
                  <a:pt x="75" y="44"/>
                </a:lnTo>
                <a:lnTo>
                  <a:pt x="75" y="47"/>
                </a:lnTo>
                <a:lnTo>
                  <a:pt x="75" y="50"/>
                </a:lnTo>
                <a:lnTo>
                  <a:pt x="75" y="53"/>
                </a:lnTo>
                <a:lnTo>
                  <a:pt x="75" y="57"/>
                </a:lnTo>
                <a:lnTo>
                  <a:pt x="75" y="60"/>
                </a:lnTo>
                <a:lnTo>
                  <a:pt x="75" y="66"/>
                </a:lnTo>
                <a:lnTo>
                  <a:pt x="78" y="69"/>
                </a:lnTo>
                <a:lnTo>
                  <a:pt x="78" y="82"/>
                </a:lnTo>
                <a:lnTo>
                  <a:pt x="75" y="85"/>
                </a:lnTo>
                <a:lnTo>
                  <a:pt x="75" y="88"/>
                </a:lnTo>
                <a:lnTo>
                  <a:pt x="75" y="91"/>
                </a:lnTo>
                <a:lnTo>
                  <a:pt x="75" y="97"/>
                </a:lnTo>
                <a:lnTo>
                  <a:pt x="78" y="100"/>
                </a:lnTo>
                <a:lnTo>
                  <a:pt x="78" y="103"/>
                </a:lnTo>
                <a:lnTo>
                  <a:pt x="81" y="103"/>
                </a:lnTo>
                <a:lnTo>
                  <a:pt x="84" y="107"/>
                </a:lnTo>
                <a:lnTo>
                  <a:pt x="71" y="110"/>
                </a:lnTo>
                <a:lnTo>
                  <a:pt x="62" y="113"/>
                </a:lnTo>
                <a:lnTo>
                  <a:pt x="53" y="122"/>
                </a:lnTo>
                <a:lnTo>
                  <a:pt x="40" y="122"/>
                </a:lnTo>
                <a:lnTo>
                  <a:pt x="25" y="132"/>
                </a:lnTo>
                <a:lnTo>
                  <a:pt x="15" y="128"/>
                </a:lnTo>
                <a:lnTo>
                  <a:pt x="6" y="125"/>
                </a:lnTo>
                <a:lnTo>
                  <a:pt x="6" y="125"/>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0" name="Freeform 128">
            <a:extLst>
              <a:ext uri="{FF2B5EF4-FFF2-40B4-BE49-F238E27FC236}">
                <a16:creationId xmlns:a16="http://schemas.microsoft.com/office/drawing/2014/main" id="{1B4BEC92-97C8-F932-A108-33B3ADB34002}"/>
              </a:ext>
            </a:extLst>
          </p:cNvPr>
          <p:cNvSpPr>
            <a:spLocks/>
          </p:cNvSpPr>
          <p:nvPr userDrawn="1"/>
        </p:nvSpPr>
        <p:spPr bwMode="auto">
          <a:xfrm>
            <a:off x="13169040" y="8660687"/>
            <a:ext cx="117470" cy="339726"/>
          </a:xfrm>
          <a:custGeom>
            <a:avLst/>
            <a:gdLst>
              <a:gd name="T0" fmla="*/ 22 w 37"/>
              <a:gd name="T1" fmla="*/ 6 h 107"/>
              <a:gd name="T2" fmla="*/ 0 w 37"/>
              <a:gd name="T3" fmla="*/ 0 h 107"/>
              <a:gd name="T4" fmla="*/ 0 w 37"/>
              <a:gd name="T5" fmla="*/ 0 h 107"/>
              <a:gd name="T6" fmla="*/ 0 w 37"/>
              <a:gd name="T7" fmla="*/ 6 h 107"/>
              <a:gd name="T8" fmla="*/ 3 w 37"/>
              <a:gd name="T9" fmla="*/ 10 h 107"/>
              <a:gd name="T10" fmla="*/ 3 w 37"/>
              <a:gd name="T11" fmla="*/ 13 h 107"/>
              <a:gd name="T12" fmla="*/ 6 w 37"/>
              <a:gd name="T13" fmla="*/ 16 h 107"/>
              <a:gd name="T14" fmla="*/ 9 w 37"/>
              <a:gd name="T15" fmla="*/ 19 h 107"/>
              <a:gd name="T16" fmla="*/ 12 w 37"/>
              <a:gd name="T17" fmla="*/ 22 h 107"/>
              <a:gd name="T18" fmla="*/ 12 w 37"/>
              <a:gd name="T19" fmla="*/ 25 h 107"/>
              <a:gd name="T20" fmla="*/ 12 w 37"/>
              <a:gd name="T21" fmla="*/ 35 h 107"/>
              <a:gd name="T22" fmla="*/ 16 w 37"/>
              <a:gd name="T23" fmla="*/ 35 h 107"/>
              <a:gd name="T24" fmla="*/ 16 w 37"/>
              <a:gd name="T25" fmla="*/ 35 h 107"/>
              <a:gd name="T26" fmla="*/ 16 w 37"/>
              <a:gd name="T27" fmla="*/ 41 h 107"/>
              <a:gd name="T28" fmla="*/ 16 w 37"/>
              <a:gd name="T29" fmla="*/ 44 h 107"/>
              <a:gd name="T30" fmla="*/ 16 w 37"/>
              <a:gd name="T31" fmla="*/ 47 h 107"/>
              <a:gd name="T32" fmla="*/ 16 w 37"/>
              <a:gd name="T33" fmla="*/ 50 h 107"/>
              <a:gd name="T34" fmla="*/ 16 w 37"/>
              <a:gd name="T35" fmla="*/ 53 h 107"/>
              <a:gd name="T36" fmla="*/ 16 w 37"/>
              <a:gd name="T37" fmla="*/ 57 h 107"/>
              <a:gd name="T38" fmla="*/ 16 w 37"/>
              <a:gd name="T39" fmla="*/ 60 h 107"/>
              <a:gd name="T40" fmla="*/ 16 w 37"/>
              <a:gd name="T41" fmla="*/ 66 h 107"/>
              <a:gd name="T42" fmla="*/ 19 w 37"/>
              <a:gd name="T43" fmla="*/ 69 h 107"/>
              <a:gd name="T44" fmla="*/ 19 w 37"/>
              <a:gd name="T45" fmla="*/ 82 h 107"/>
              <a:gd name="T46" fmla="*/ 16 w 37"/>
              <a:gd name="T47" fmla="*/ 85 h 107"/>
              <a:gd name="T48" fmla="*/ 16 w 37"/>
              <a:gd name="T49" fmla="*/ 88 h 107"/>
              <a:gd name="T50" fmla="*/ 16 w 37"/>
              <a:gd name="T51" fmla="*/ 91 h 107"/>
              <a:gd name="T52" fmla="*/ 16 w 37"/>
              <a:gd name="T53" fmla="*/ 97 h 107"/>
              <a:gd name="T54" fmla="*/ 19 w 37"/>
              <a:gd name="T55" fmla="*/ 100 h 107"/>
              <a:gd name="T56" fmla="*/ 19 w 37"/>
              <a:gd name="T57" fmla="*/ 103 h 107"/>
              <a:gd name="T58" fmla="*/ 22 w 37"/>
              <a:gd name="T59" fmla="*/ 103 h 107"/>
              <a:gd name="T60" fmla="*/ 25 w 37"/>
              <a:gd name="T61" fmla="*/ 107 h 107"/>
              <a:gd name="T62" fmla="*/ 25 w 37"/>
              <a:gd name="T63" fmla="*/ 107 h 107"/>
              <a:gd name="T64" fmla="*/ 37 w 37"/>
              <a:gd name="T65" fmla="*/ 100 h 107"/>
              <a:gd name="T66" fmla="*/ 37 w 37"/>
              <a:gd name="T67" fmla="*/ 100 h 107"/>
              <a:gd name="T68" fmla="*/ 37 w 37"/>
              <a:gd name="T69" fmla="*/ 97 h 107"/>
              <a:gd name="T70" fmla="*/ 37 w 37"/>
              <a:gd name="T71" fmla="*/ 94 h 107"/>
              <a:gd name="T72" fmla="*/ 37 w 37"/>
              <a:gd name="T73" fmla="*/ 88 h 107"/>
              <a:gd name="T74" fmla="*/ 34 w 37"/>
              <a:gd name="T75" fmla="*/ 82 h 107"/>
              <a:gd name="T76" fmla="*/ 34 w 37"/>
              <a:gd name="T77" fmla="*/ 60 h 107"/>
              <a:gd name="T78" fmla="*/ 34 w 37"/>
              <a:gd name="T79" fmla="*/ 57 h 107"/>
              <a:gd name="T80" fmla="*/ 37 w 37"/>
              <a:gd name="T81" fmla="*/ 53 h 107"/>
              <a:gd name="T82" fmla="*/ 37 w 37"/>
              <a:gd name="T83" fmla="*/ 47 h 107"/>
              <a:gd name="T84" fmla="*/ 37 w 37"/>
              <a:gd name="T85" fmla="*/ 44 h 107"/>
              <a:gd name="T86" fmla="*/ 37 w 37"/>
              <a:gd name="T87" fmla="*/ 41 h 107"/>
              <a:gd name="T88" fmla="*/ 34 w 37"/>
              <a:gd name="T89" fmla="*/ 31 h 107"/>
              <a:gd name="T90" fmla="*/ 31 w 37"/>
              <a:gd name="T91" fmla="*/ 22 h 107"/>
              <a:gd name="T92" fmla="*/ 28 w 37"/>
              <a:gd name="T93" fmla="*/ 19 h 107"/>
              <a:gd name="T94" fmla="*/ 25 w 37"/>
              <a:gd name="T95" fmla="*/ 16 h 107"/>
              <a:gd name="T96" fmla="*/ 22 w 37"/>
              <a:gd name="T97" fmla="*/ 16 h 107"/>
              <a:gd name="T98" fmla="*/ 19 w 37"/>
              <a:gd name="T99" fmla="*/ 10 h 107"/>
              <a:gd name="T100" fmla="*/ 22 w 37"/>
              <a:gd name="T101" fmla="*/ 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 h="107">
                <a:moveTo>
                  <a:pt x="22" y="6"/>
                </a:moveTo>
                <a:lnTo>
                  <a:pt x="0" y="0"/>
                </a:lnTo>
                <a:lnTo>
                  <a:pt x="0" y="0"/>
                </a:lnTo>
                <a:lnTo>
                  <a:pt x="0" y="6"/>
                </a:lnTo>
                <a:lnTo>
                  <a:pt x="3" y="10"/>
                </a:lnTo>
                <a:lnTo>
                  <a:pt x="3" y="13"/>
                </a:lnTo>
                <a:lnTo>
                  <a:pt x="6" y="16"/>
                </a:lnTo>
                <a:lnTo>
                  <a:pt x="9" y="19"/>
                </a:lnTo>
                <a:lnTo>
                  <a:pt x="12" y="22"/>
                </a:lnTo>
                <a:lnTo>
                  <a:pt x="12" y="25"/>
                </a:lnTo>
                <a:lnTo>
                  <a:pt x="12" y="35"/>
                </a:lnTo>
                <a:lnTo>
                  <a:pt x="16" y="35"/>
                </a:lnTo>
                <a:lnTo>
                  <a:pt x="16" y="35"/>
                </a:lnTo>
                <a:lnTo>
                  <a:pt x="16" y="41"/>
                </a:lnTo>
                <a:lnTo>
                  <a:pt x="16" y="44"/>
                </a:lnTo>
                <a:lnTo>
                  <a:pt x="16" y="47"/>
                </a:lnTo>
                <a:lnTo>
                  <a:pt x="16" y="50"/>
                </a:lnTo>
                <a:lnTo>
                  <a:pt x="16" y="53"/>
                </a:lnTo>
                <a:lnTo>
                  <a:pt x="16" y="57"/>
                </a:lnTo>
                <a:lnTo>
                  <a:pt x="16" y="60"/>
                </a:lnTo>
                <a:lnTo>
                  <a:pt x="16" y="66"/>
                </a:lnTo>
                <a:lnTo>
                  <a:pt x="19" y="69"/>
                </a:lnTo>
                <a:lnTo>
                  <a:pt x="19" y="82"/>
                </a:lnTo>
                <a:lnTo>
                  <a:pt x="16" y="85"/>
                </a:lnTo>
                <a:lnTo>
                  <a:pt x="16" y="88"/>
                </a:lnTo>
                <a:lnTo>
                  <a:pt x="16" y="91"/>
                </a:lnTo>
                <a:lnTo>
                  <a:pt x="16" y="97"/>
                </a:lnTo>
                <a:lnTo>
                  <a:pt x="19" y="100"/>
                </a:lnTo>
                <a:lnTo>
                  <a:pt x="19" y="103"/>
                </a:lnTo>
                <a:lnTo>
                  <a:pt x="22" y="103"/>
                </a:lnTo>
                <a:lnTo>
                  <a:pt x="25" y="107"/>
                </a:lnTo>
                <a:lnTo>
                  <a:pt x="25" y="107"/>
                </a:lnTo>
                <a:lnTo>
                  <a:pt x="37" y="100"/>
                </a:lnTo>
                <a:lnTo>
                  <a:pt x="37" y="100"/>
                </a:lnTo>
                <a:lnTo>
                  <a:pt x="37" y="97"/>
                </a:lnTo>
                <a:lnTo>
                  <a:pt x="37" y="94"/>
                </a:lnTo>
                <a:lnTo>
                  <a:pt x="37" y="88"/>
                </a:lnTo>
                <a:lnTo>
                  <a:pt x="34" y="82"/>
                </a:lnTo>
                <a:lnTo>
                  <a:pt x="34" y="60"/>
                </a:lnTo>
                <a:lnTo>
                  <a:pt x="34" y="57"/>
                </a:lnTo>
                <a:lnTo>
                  <a:pt x="37" y="53"/>
                </a:lnTo>
                <a:lnTo>
                  <a:pt x="37" y="47"/>
                </a:lnTo>
                <a:lnTo>
                  <a:pt x="37" y="44"/>
                </a:lnTo>
                <a:lnTo>
                  <a:pt x="37" y="41"/>
                </a:lnTo>
                <a:lnTo>
                  <a:pt x="34" y="31"/>
                </a:lnTo>
                <a:lnTo>
                  <a:pt x="31" y="22"/>
                </a:lnTo>
                <a:lnTo>
                  <a:pt x="28" y="19"/>
                </a:lnTo>
                <a:lnTo>
                  <a:pt x="25" y="16"/>
                </a:lnTo>
                <a:lnTo>
                  <a:pt x="22" y="16"/>
                </a:lnTo>
                <a:lnTo>
                  <a:pt x="19" y="10"/>
                </a:lnTo>
                <a:lnTo>
                  <a:pt x="22" y="6"/>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1" name="Freeform 129">
            <a:extLst>
              <a:ext uri="{FF2B5EF4-FFF2-40B4-BE49-F238E27FC236}">
                <a16:creationId xmlns:a16="http://schemas.microsoft.com/office/drawing/2014/main" id="{DF9710B4-EED7-3A8B-9FE9-26463D806B2E}"/>
              </a:ext>
            </a:extLst>
          </p:cNvPr>
          <p:cNvSpPr>
            <a:spLocks/>
          </p:cNvSpPr>
          <p:nvPr userDrawn="1"/>
        </p:nvSpPr>
        <p:spPr bwMode="auto">
          <a:xfrm>
            <a:off x="13229366" y="8581306"/>
            <a:ext cx="196837" cy="406400"/>
          </a:xfrm>
          <a:custGeom>
            <a:avLst/>
            <a:gdLst>
              <a:gd name="T0" fmla="*/ 31 w 62"/>
              <a:gd name="T1" fmla="*/ 10 h 128"/>
              <a:gd name="T2" fmla="*/ 22 w 62"/>
              <a:gd name="T3" fmla="*/ 16 h 128"/>
              <a:gd name="T4" fmla="*/ 15 w 62"/>
              <a:gd name="T5" fmla="*/ 16 h 128"/>
              <a:gd name="T6" fmla="*/ 9 w 62"/>
              <a:gd name="T7" fmla="*/ 22 h 128"/>
              <a:gd name="T8" fmla="*/ 9 w 62"/>
              <a:gd name="T9" fmla="*/ 28 h 128"/>
              <a:gd name="T10" fmla="*/ 0 w 62"/>
              <a:gd name="T11" fmla="*/ 35 h 128"/>
              <a:gd name="T12" fmla="*/ 6 w 62"/>
              <a:gd name="T13" fmla="*/ 41 h 128"/>
              <a:gd name="T14" fmla="*/ 12 w 62"/>
              <a:gd name="T15" fmla="*/ 47 h 128"/>
              <a:gd name="T16" fmla="*/ 18 w 62"/>
              <a:gd name="T17" fmla="*/ 66 h 128"/>
              <a:gd name="T18" fmla="*/ 18 w 62"/>
              <a:gd name="T19" fmla="*/ 72 h 128"/>
              <a:gd name="T20" fmla="*/ 15 w 62"/>
              <a:gd name="T21" fmla="*/ 82 h 128"/>
              <a:gd name="T22" fmla="*/ 15 w 62"/>
              <a:gd name="T23" fmla="*/ 107 h 128"/>
              <a:gd name="T24" fmla="*/ 18 w 62"/>
              <a:gd name="T25" fmla="*/ 119 h 128"/>
              <a:gd name="T26" fmla="*/ 18 w 62"/>
              <a:gd name="T27" fmla="*/ 125 h 128"/>
              <a:gd name="T28" fmla="*/ 40 w 62"/>
              <a:gd name="T29" fmla="*/ 122 h 128"/>
              <a:gd name="T30" fmla="*/ 40 w 62"/>
              <a:gd name="T31" fmla="*/ 119 h 128"/>
              <a:gd name="T32" fmla="*/ 40 w 62"/>
              <a:gd name="T33" fmla="*/ 107 h 128"/>
              <a:gd name="T34" fmla="*/ 40 w 62"/>
              <a:gd name="T35" fmla="*/ 94 h 128"/>
              <a:gd name="T36" fmla="*/ 40 w 62"/>
              <a:gd name="T37" fmla="*/ 91 h 128"/>
              <a:gd name="T38" fmla="*/ 40 w 62"/>
              <a:gd name="T39" fmla="*/ 88 h 128"/>
              <a:gd name="T40" fmla="*/ 40 w 62"/>
              <a:gd name="T41" fmla="*/ 82 h 128"/>
              <a:gd name="T42" fmla="*/ 40 w 62"/>
              <a:gd name="T43" fmla="*/ 75 h 128"/>
              <a:gd name="T44" fmla="*/ 40 w 62"/>
              <a:gd name="T45" fmla="*/ 69 h 128"/>
              <a:gd name="T46" fmla="*/ 47 w 62"/>
              <a:gd name="T47" fmla="*/ 66 h 128"/>
              <a:gd name="T48" fmla="*/ 50 w 62"/>
              <a:gd name="T49" fmla="*/ 63 h 128"/>
              <a:gd name="T50" fmla="*/ 53 w 62"/>
              <a:gd name="T51" fmla="*/ 53 h 128"/>
              <a:gd name="T52" fmla="*/ 59 w 62"/>
              <a:gd name="T53" fmla="*/ 53 h 128"/>
              <a:gd name="T54" fmla="*/ 56 w 62"/>
              <a:gd name="T55" fmla="*/ 47 h 128"/>
              <a:gd name="T56" fmla="*/ 59 w 62"/>
              <a:gd name="T57" fmla="*/ 41 h 128"/>
              <a:gd name="T58" fmla="*/ 62 w 62"/>
              <a:gd name="T59" fmla="*/ 38 h 128"/>
              <a:gd name="T60" fmla="*/ 62 w 62"/>
              <a:gd name="T61" fmla="*/ 28 h 128"/>
              <a:gd name="T62" fmla="*/ 56 w 62"/>
              <a:gd name="T63" fmla="*/ 19 h 128"/>
              <a:gd name="T64" fmla="*/ 56 w 62"/>
              <a:gd name="T65" fmla="*/ 16 h 128"/>
              <a:gd name="T66" fmla="*/ 47 w 62"/>
              <a:gd name="T67" fmla="*/ 10 h 128"/>
              <a:gd name="T68" fmla="*/ 37 w 62"/>
              <a:gd name="T69" fmla="*/ 0 h 128"/>
              <a:gd name="T70" fmla="*/ 37 w 62"/>
              <a:gd name="T71" fmla="*/ 3 h 128"/>
              <a:gd name="T72" fmla="*/ 31 w 62"/>
              <a:gd name="T73" fmla="*/ 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128">
                <a:moveTo>
                  <a:pt x="31" y="6"/>
                </a:moveTo>
                <a:lnTo>
                  <a:pt x="31" y="10"/>
                </a:lnTo>
                <a:lnTo>
                  <a:pt x="25" y="13"/>
                </a:lnTo>
                <a:lnTo>
                  <a:pt x="22" y="16"/>
                </a:lnTo>
                <a:lnTo>
                  <a:pt x="15" y="19"/>
                </a:lnTo>
                <a:lnTo>
                  <a:pt x="15" y="16"/>
                </a:lnTo>
                <a:lnTo>
                  <a:pt x="9" y="19"/>
                </a:lnTo>
                <a:lnTo>
                  <a:pt x="9" y="22"/>
                </a:lnTo>
                <a:lnTo>
                  <a:pt x="6" y="25"/>
                </a:lnTo>
                <a:lnTo>
                  <a:pt x="9" y="28"/>
                </a:lnTo>
                <a:lnTo>
                  <a:pt x="3" y="28"/>
                </a:lnTo>
                <a:lnTo>
                  <a:pt x="0" y="35"/>
                </a:lnTo>
                <a:lnTo>
                  <a:pt x="3" y="41"/>
                </a:lnTo>
                <a:lnTo>
                  <a:pt x="6" y="41"/>
                </a:lnTo>
                <a:lnTo>
                  <a:pt x="9" y="44"/>
                </a:lnTo>
                <a:lnTo>
                  <a:pt x="12" y="47"/>
                </a:lnTo>
                <a:lnTo>
                  <a:pt x="15" y="56"/>
                </a:lnTo>
                <a:lnTo>
                  <a:pt x="18" y="66"/>
                </a:lnTo>
                <a:lnTo>
                  <a:pt x="18" y="69"/>
                </a:lnTo>
                <a:lnTo>
                  <a:pt x="18" y="72"/>
                </a:lnTo>
                <a:lnTo>
                  <a:pt x="18" y="78"/>
                </a:lnTo>
                <a:lnTo>
                  <a:pt x="15" y="82"/>
                </a:lnTo>
                <a:lnTo>
                  <a:pt x="15" y="85"/>
                </a:lnTo>
                <a:lnTo>
                  <a:pt x="15" y="107"/>
                </a:lnTo>
                <a:lnTo>
                  <a:pt x="18" y="113"/>
                </a:lnTo>
                <a:lnTo>
                  <a:pt x="18" y="119"/>
                </a:lnTo>
                <a:lnTo>
                  <a:pt x="18" y="122"/>
                </a:lnTo>
                <a:lnTo>
                  <a:pt x="18" y="125"/>
                </a:lnTo>
                <a:lnTo>
                  <a:pt x="28" y="128"/>
                </a:lnTo>
                <a:lnTo>
                  <a:pt x="40" y="122"/>
                </a:lnTo>
                <a:lnTo>
                  <a:pt x="40" y="122"/>
                </a:lnTo>
                <a:lnTo>
                  <a:pt x="40" y="119"/>
                </a:lnTo>
                <a:lnTo>
                  <a:pt x="40" y="110"/>
                </a:lnTo>
                <a:lnTo>
                  <a:pt x="40" y="107"/>
                </a:lnTo>
                <a:lnTo>
                  <a:pt x="40" y="103"/>
                </a:lnTo>
                <a:lnTo>
                  <a:pt x="40" y="94"/>
                </a:lnTo>
                <a:lnTo>
                  <a:pt x="40" y="91"/>
                </a:lnTo>
                <a:lnTo>
                  <a:pt x="40" y="91"/>
                </a:lnTo>
                <a:lnTo>
                  <a:pt x="40" y="88"/>
                </a:lnTo>
                <a:lnTo>
                  <a:pt x="40" y="88"/>
                </a:lnTo>
                <a:lnTo>
                  <a:pt x="40" y="85"/>
                </a:lnTo>
                <a:lnTo>
                  <a:pt x="40" y="82"/>
                </a:lnTo>
                <a:lnTo>
                  <a:pt x="40" y="78"/>
                </a:lnTo>
                <a:lnTo>
                  <a:pt x="40" y="75"/>
                </a:lnTo>
                <a:lnTo>
                  <a:pt x="40" y="72"/>
                </a:lnTo>
                <a:lnTo>
                  <a:pt x="40" y="69"/>
                </a:lnTo>
                <a:lnTo>
                  <a:pt x="43" y="69"/>
                </a:lnTo>
                <a:lnTo>
                  <a:pt x="47" y="66"/>
                </a:lnTo>
                <a:lnTo>
                  <a:pt x="50" y="66"/>
                </a:lnTo>
                <a:lnTo>
                  <a:pt x="50" y="63"/>
                </a:lnTo>
                <a:lnTo>
                  <a:pt x="53" y="56"/>
                </a:lnTo>
                <a:lnTo>
                  <a:pt x="53" y="53"/>
                </a:lnTo>
                <a:lnTo>
                  <a:pt x="56" y="53"/>
                </a:lnTo>
                <a:lnTo>
                  <a:pt x="59" y="53"/>
                </a:lnTo>
                <a:lnTo>
                  <a:pt x="59" y="50"/>
                </a:lnTo>
                <a:lnTo>
                  <a:pt x="56" y="47"/>
                </a:lnTo>
                <a:lnTo>
                  <a:pt x="56" y="44"/>
                </a:lnTo>
                <a:lnTo>
                  <a:pt x="59" y="41"/>
                </a:lnTo>
                <a:lnTo>
                  <a:pt x="62" y="41"/>
                </a:lnTo>
                <a:lnTo>
                  <a:pt x="62" y="38"/>
                </a:lnTo>
                <a:lnTo>
                  <a:pt x="62" y="31"/>
                </a:lnTo>
                <a:lnTo>
                  <a:pt x="62" y="28"/>
                </a:lnTo>
                <a:lnTo>
                  <a:pt x="56" y="22"/>
                </a:lnTo>
                <a:lnTo>
                  <a:pt x="56" y="19"/>
                </a:lnTo>
                <a:lnTo>
                  <a:pt x="56" y="16"/>
                </a:lnTo>
                <a:lnTo>
                  <a:pt x="56" y="16"/>
                </a:lnTo>
                <a:lnTo>
                  <a:pt x="53" y="10"/>
                </a:lnTo>
                <a:lnTo>
                  <a:pt x="47" y="10"/>
                </a:lnTo>
                <a:lnTo>
                  <a:pt x="43" y="3"/>
                </a:lnTo>
                <a:lnTo>
                  <a:pt x="37" y="0"/>
                </a:lnTo>
                <a:lnTo>
                  <a:pt x="34" y="3"/>
                </a:lnTo>
                <a:lnTo>
                  <a:pt x="37" y="3"/>
                </a:lnTo>
                <a:lnTo>
                  <a:pt x="31" y="6"/>
                </a:lnTo>
                <a:lnTo>
                  <a:pt x="31" y="6"/>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2" name="Freeform 130">
            <a:extLst>
              <a:ext uri="{FF2B5EF4-FFF2-40B4-BE49-F238E27FC236}">
                <a16:creationId xmlns:a16="http://schemas.microsoft.com/office/drawing/2014/main" id="{0DDA314E-1F4E-8AB7-B3F4-CBFEBA1F6917}"/>
              </a:ext>
            </a:extLst>
          </p:cNvPr>
          <p:cNvSpPr>
            <a:spLocks noEditPoints="1"/>
          </p:cNvSpPr>
          <p:nvPr userDrawn="1"/>
        </p:nvSpPr>
        <p:spPr bwMode="auto">
          <a:xfrm>
            <a:off x="13924645" y="7876459"/>
            <a:ext cx="723855" cy="1031878"/>
          </a:xfrm>
          <a:custGeom>
            <a:avLst/>
            <a:gdLst>
              <a:gd name="T0" fmla="*/ 228 w 228"/>
              <a:gd name="T1" fmla="*/ 81 h 325"/>
              <a:gd name="T2" fmla="*/ 221 w 228"/>
              <a:gd name="T3" fmla="*/ 160 h 325"/>
              <a:gd name="T4" fmla="*/ 209 w 228"/>
              <a:gd name="T5" fmla="*/ 163 h 325"/>
              <a:gd name="T6" fmla="*/ 209 w 228"/>
              <a:gd name="T7" fmla="*/ 175 h 325"/>
              <a:gd name="T8" fmla="*/ 196 w 228"/>
              <a:gd name="T9" fmla="*/ 185 h 325"/>
              <a:gd name="T10" fmla="*/ 196 w 228"/>
              <a:gd name="T11" fmla="*/ 194 h 325"/>
              <a:gd name="T12" fmla="*/ 196 w 228"/>
              <a:gd name="T13" fmla="*/ 203 h 325"/>
              <a:gd name="T14" fmla="*/ 187 w 228"/>
              <a:gd name="T15" fmla="*/ 216 h 325"/>
              <a:gd name="T16" fmla="*/ 196 w 228"/>
              <a:gd name="T17" fmla="*/ 219 h 325"/>
              <a:gd name="T18" fmla="*/ 196 w 228"/>
              <a:gd name="T19" fmla="*/ 225 h 325"/>
              <a:gd name="T20" fmla="*/ 200 w 228"/>
              <a:gd name="T21" fmla="*/ 232 h 325"/>
              <a:gd name="T22" fmla="*/ 206 w 228"/>
              <a:gd name="T23" fmla="*/ 244 h 325"/>
              <a:gd name="T24" fmla="*/ 206 w 228"/>
              <a:gd name="T25" fmla="*/ 250 h 325"/>
              <a:gd name="T26" fmla="*/ 200 w 228"/>
              <a:gd name="T27" fmla="*/ 253 h 325"/>
              <a:gd name="T28" fmla="*/ 184 w 228"/>
              <a:gd name="T29" fmla="*/ 260 h 325"/>
              <a:gd name="T30" fmla="*/ 184 w 228"/>
              <a:gd name="T31" fmla="*/ 266 h 325"/>
              <a:gd name="T32" fmla="*/ 175 w 228"/>
              <a:gd name="T33" fmla="*/ 272 h 325"/>
              <a:gd name="T34" fmla="*/ 168 w 228"/>
              <a:gd name="T35" fmla="*/ 278 h 325"/>
              <a:gd name="T36" fmla="*/ 168 w 228"/>
              <a:gd name="T37" fmla="*/ 288 h 325"/>
              <a:gd name="T38" fmla="*/ 156 w 228"/>
              <a:gd name="T39" fmla="*/ 294 h 325"/>
              <a:gd name="T40" fmla="*/ 140 w 228"/>
              <a:gd name="T41" fmla="*/ 291 h 325"/>
              <a:gd name="T42" fmla="*/ 131 w 228"/>
              <a:gd name="T43" fmla="*/ 294 h 325"/>
              <a:gd name="T44" fmla="*/ 137 w 228"/>
              <a:gd name="T45" fmla="*/ 300 h 325"/>
              <a:gd name="T46" fmla="*/ 128 w 228"/>
              <a:gd name="T47" fmla="*/ 310 h 325"/>
              <a:gd name="T48" fmla="*/ 106 w 228"/>
              <a:gd name="T49" fmla="*/ 316 h 325"/>
              <a:gd name="T50" fmla="*/ 93 w 228"/>
              <a:gd name="T51" fmla="*/ 322 h 325"/>
              <a:gd name="T52" fmla="*/ 87 w 228"/>
              <a:gd name="T53" fmla="*/ 316 h 325"/>
              <a:gd name="T54" fmla="*/ 81 w 228"/>
              <a:gd name="T55" fmla="*/ 325 h 325"/>
              <a:gd name="T56" fmla="*/ 71 w 228"/>
              <a:gd name="T57" fmla="*/ 325 h 325"/>
              <a:gd name="T58" fmla="*/ 68 w 228"/>
              <a:gd name="T59" fmla="*/ 316 h 325"/>
              <a:gd name="T60" fmla="*/ 59 w 228"/>
              <a:gd name="T61" fmla="*/ 304 h 325"/>
              <a:gd name="T62" fmla="*/ 40 w 228"/>
              <a:gd name="T63" fmla="*/ 288 h 325"/>
              <a:gd name="T64" fmla="*/ 37 w 228"/>
              <a:gd name="T65" fmla="*/ 285 h 325"/>
              <a:gd name="T66" fmla="*/ 37 w 228"/>
              <a:gd name="T67" fmla="*/ 275 h 325"/>
              <a:gd name="T68" fmla="*/ 46 w 228"/>
              <a:gd name="T69" fmla="*/ 275 h 325"/>
              <a:gd name="T70" fmla="*/ 56 w 228"/>
              <a:gd name="T71" fmla="*/ 275 h 325"/>
              <a:gd name="T72" fmla="*/ 65 w 228"/>
              <a:gd name="T73" fmla="*/ 275 h 325"/>
              <a:gd name="T74" fmla="*/ 59 w 228"/>
              <a:gd name="T75" fmla="*/ 269 h 325"/>
              <a:gd name="T76" fmla="*/ 53 w 228"/>
              <a:gd name="T77" fmla="*/ 260 h 325"/>
              <a:gd name="T78" fmla="*/ 56 w 228"/>
              <a:gd name="T79" fmla="*/ 247 h 325"/>
              <a:gd name="T80" fmla="*/ 56 w 228"/>
              <a:gd name="T81" fmla="*/ 241 h 325"/>
              <a:gd name="T82" fmla="*/ 53 w 228"/>
              <a:gd name="T83" fmla="*/ 232 h 325"/>
              <a:gd name="T84" fmla="*/ 43 w 228"/>
              <a:gd name="T85" fmla="*/ 219 h 325"/>
              <a:gd name="T86" fmla="*/ 31 w 228"/>
              <a:gd name="T87" fmla="*/ 210 h 325"/>
              <a:gd name="T88" fmla="*/ 21 w 228"/>
              <a:gd name="T89" fmla="*/ 175 h 325"/>
              <a:gd name="T90" fmla="*/ 28 w 228"/>
              <a:gd name="T91" fmla="*/ 172 h 325"/>
              <a:gd name="T92" fmla="*/ 59 w 228"/>
              <a:gd name="T93" fmla="*/ 110 h 325"/>
              <a:gd name="T94" fmla="*/ 68 w 228"/>
              <a:gd name="T95" fmla="*/ 63 h 325"/>
              <a:gd name="T96" fmla="*/ 59 w 228"/>
              <a:gd name="T97" fmla="*/ 38 h 325"/>
              <a:gd name="T98" fmla="*/ 46 w 228"/>
              <a:gd name="T99" fmla="*/ 9 h 325"/>
              <a:gd name="T100" fmla="*/ 0 w 228"/>
              <a:gd name="T101" fmla="*/ 21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8" h="325">
                <a:moveTo>
                  <a:pt x="46" y="9"/>
                </a:moveTo>
                <a:lnTo>
                  <a:pt x="68" y="0"/>
                </a:lnTo>
                <a:lnTo>
                  <a:pt x="228" y="81"/>
                </a:lnTo>
                <a:lnTo>
                  <a:pt x="228" y="156"/>
                </a:lnTo>
                <a:lnTo>
                  <a:pt x="225" y="160"/>
                </a:lnTo>
                <a:lnTo>
                  <a:pt x="221" y="160"/>
                </a:lnTo>
                <a:lnTo>
                  <a:pt x="218" y="160"/>
                </a:lnTo>
                <a:lnTo>
                  <a:pt x="212" y="160"/>
                </a:lnTo>
                <a:lnTo>
                  <a:pt x="209" y="163"/>
                </a:lnTo>
                <a:lnTo>
                  <a:pt x="209" y="166"/>
                </a:lnTo>
                <a:lnTo>
                  <a:pt x="212" y="169"/>
                </a:lnTo>
                <a:lnTo>
                  <a:pt x="209" y="175"/>
                </a:lnTo>
                <a:lnTo>
                  <a:pt x="203" y="182"/>
                </a:lnTo>
                <a:lnTo>
                  <a:pt x="200" y="182"/>
                </a:lnTo>
                <a:lnTo>
                  <a:pt x="196" y="185"/>
                </a:lnTo>
                <a:lnTo>
                  <a:pt x="196" y="188"/>
                </a:lnTo>
                <a:lnTo>
                  <a:pt x="200" y="191"/>
                </a:lnTo>
                <a:lnTo>
                  <a:pt x="196" y="194"/>
                </a:lnTo>
                <a:lnTo>
                  <a:pt x="193" y="197"/>
                </a:lnTo>
                <a:lnTo>
                  <a:pt x="193" y="200"/>
                </a:lnTo>
                <a:lnTo>
                  <a:pt x="196" y="203"/>
                </a:lnTo>
                <a:lnTo>
                  <a:pt x="196" y="207"/>
                </a:lnTo>
                <a:lnTo>
                  <a:pt x="193" y="210"/>
                </a:lnTo>
                <a:lnTo>
                  <a:pt x="187" y="216"/>
                </a:lnTo>
                <a:lnTo>
                  <a:pt x="187" y="219"/>
                </a:lnTo>
                <a:lnTo>
                  <a:pt x="190" y="222"/>
                </a:lnTo>
                <a:lnTo>
                  <a:pt x="196" y="219"/>
                </a:lnTo>
                <a:lnTo>
                  <a:pt x="196" y="219"/>
                </a:lnTo>
                <a:lnTo>
                  <a:pt x="196" y="222"/>
                </a:lnTo>
                <a:lnTo>
                  <a:pt x="196" y="225"/>
                </a:lnTo>
                <a:lnTo>
                  <a:pt x="200" y="225"/>
                </a:lnTo>
                <a:lnTo>
                  <a:pt x="196" y="228"/>
                </a:lnTo>
                <a:lnTo>
                  <a:pt x="200" y="232"/>
                </a:lnTo>
                <a:lnTo>
                  <a:pt x="200" y="238"/>
                </a:lnTo>
                <a:lnTo>
                  <a:pt x="200" y="241"/>
                </a:lnTo>
                <a:lnTo>
                  <a:pt x="206" y="244"/>
                </a:lnTo>
                <a:lnTo>
                  <a:pt x="209" y="247"/>
                </a:lnTo>
                <a:lnTo>
                  <a:pt x="206" y="247"/>
                </a:lnTo>
                <a:lnTo>
                  <a:pt x="206" y="250"/>
                </a:lnTo>
                <a:lnTo>
                  <a:pt x="206" y="253"/>
                </a:lnTo>
                <a:lnTo>
                  <a:pt x="200" y="257"/>
                </a:lnTo>
                <a:lnTo>
                  <a:pt x="200" y="253"/>
                </a:lnTo>
                <a:lnTo>
                  <a:pt x="193" y="253"/>
                </a:lnTo>
                <a:lnTo>
                  <a:pt x="190" y="257"/>
                </a:lnTo>
                <a:lnTo>
                  <a:pt x="184" y="260"/>
                </a:lnTo>
                <a:lnTo>
                  <a:pt x="184" y="263"/>
                </a:lnTo>
                <a:lnTo>
                  <a:pt x="184" y="266"/>
                </a:lnTo>
                <a:lnTo>
                  <a:pt x="184" y="266"/>
                </a:lnTo>
                <a:lnTo>
                  <a:pt x="178" y="272"/>
                </a:lnTo>
                <a:lnTo>
                  <a:pt x="178" y="272"/>
                </a:lnTo>
                <a:lnTo>
                  <a:pt x="175" y="272"/>
                </a:lnTo>
                <a:lnTo>
                  <a:pt x="171" y="275"/>
                </a:lnTo>
                <a:lnTo>
                  <a:pt x="171" y="278"/>
                </a:lnTo>
                <a:lnTo>
                  <a:pt x="168" y="278"/>
                </a:lnTo>
                <a:lnTo>
                  <a:pt x="168" y="282"/>
                </a:lnTo>
                <a:lnTo>
                  <a:pt x="168" y="285"/>
                </a:lnTo>
                <a:lnTo>
                  <a:pt x="168" y="288"/>
                </a:lnTo>
                <a:lnTo>
                  <a:pt x="165" y="291"/>
                </a:lnTo>
                <a:lnTo>
                  <a:pt x="162" y="294"/>
                </a:lnTo>
                <a:lnTo>
                  <a:pt x="156" y="294"/>
                </a:lnTo>
                <a:lnTo>
                  <a:pt x="150" y="294"/>
                </a:lnTo>
                <a:lnTo>
                  <a:pt x="143" y="294"/>
                </a:lnTo>
                <a:lnTo>
                  <a:pt x="140" y="291"/>
                </a:lnTo>
                <a:lnTo>
                  <a:pt x="137" y="294"/>
                </a:lnTo>
                <a:lnTo>
                  <a:pt x="134" y="291"/>
                </a:lnTo>
                <a:lnTo>
                  <a:pt x="131" y="294"/>
                </a:lnTo>
                <a:lnTo>
                  <a:pt x="131" y="297"/>
                </a:lnTo>
                <a:lnTo>
                  <a:pt x="134" y="300"/>
                </a:lnTo>
                <a:lnTo>
                  <a:pt x="137" y="300"/>
                </a:lnTo>
                <a:lnTo>
                  <a:pt x="137" y="304"/>
                </a:lnTo>
                <a:lnTo>
                  <a:pt x="131" y="307"/>
                </a:lnTo>
                <a:lnTo>
                  <a:pt x="128" y="310"/>
                </a:lnTo>
                <a:lnTo>
                  <a:pt x="121" y="310"/>
                </a:lnTo>
                <a:lnTo>
                  <a:pt x="112" y="313"/>
                </a:lnTo>
                <a:lnTo>
                  <a:pt x="106" y="316"/>
                </a:lnTo>
                <a:lnTo>
                  <a:pt x="100" y="319"/>
                </a:lnTo>
                <a:lnTo>
                  <a:pt x="96" y="322"/>
                </a:lnTo>
                <a:lnTo>
                  <a:pt x="93" y="322"/>
                </a:lnTo>
                <a:lnTo>
                  <a:pt x="90" y="322"/>
                </a:lnTo>
                <a:lnTo>
                  <a:pt x="90" y="316"/>
                </a:lnTo>
                <a:lnTo>
                  <a:pt x="87" y="316"/>
                </a:lnTo>
                <a:lnTo>
                  <a:pt x="84" y="316"/>
                </a:lnTo>
                <a:lnTo>
                  <a:pt x="84" y="322"/>
                </a:lnTo>
                <a:lnTo>
                  <a:pt x="81" y="325"/>
                </a:lnTo>
                <a:lnTo>
                  <a:pt x="78" y="325"/>
                </a:lnTo>
                <a:lnTo>
                  <a:pt x="75" y="325"/>
                </a:lnTo>
                <a:lnTo>
                  <a:pt x="71" y="325"/>
                </a:lnTo>
                <a:lnTo>
                  <a:pt x="68" y="322"/>
                </a:lnTo>
                <a:lnTo>
                  <a:pt x="68" y="319"/>
                </a:lnTo>
                <a:lnTo>
                  <a:pt x="68" y="316"/>
                </a:lnTo>
                <a:lnTo>
                  <a:pt x="65" y="313"/>
                </a:lnTo>
                <a:lnTo>
                  <a:pt x="62" y="307"/>
                </a:lnTo>
                <a:lnTo>
                  <a:pt x="59" y="304"/>
                </a:lnTo>
                <a:lnTo>
                  <a:pt x="50" y="297"/>
                </a:lnTo>
                <a:lnTo>
                  <a:pt x="43" y="291"/>
                </a:lnTo>
                <a:lnTo>
                  <a:pt x="40" y="288"/>
                </a:lnTo>
                <a:lnTo>
                  <a:pt x="40" y="288"/>
                </a:lnTo>
                <a:lnTo>
                  <a:pt x="37" y="285"/>
                </a:lnTo>
                <a:lnTo>
                  <a:pt x="37" y="285"/>
                </a:lnTo>
                <a:lnTo>
                  <a:pt x="37" y="278"/>
                </a:lnTo>
                <a:lnTo>
                  <a:pt x="37" y="278"/>
                </a:lnTo>
                <a:lnTo>
                  <a:pt x="37" y="275"/>
                </a:lnTo>
                <a:lnTo>
                  <a:pt x="40" y="275"/>
                </a:lnTo>
                <a:lnTo>
                  <a:pt x="43" y="275"/>
                </a:lnTo>
                <a:lnTo>
                  <a:pt x="46" y="275"/>
                </a:lnTo>
                <a:lnTo>
                  <a:pt x="50" y="275"/>
                </a:lnTo>
                <a:lnTo>
                  <a:pt x="53" y="275"/>
                </a:lnTo>
                <a:lnTo>
                  <a:pt x="56" y="275"/>
                </a:lnTo>
                <a:lnTo>
                  <a:pt x="59" y="275"/>
                </a:lnTo>
                <a:lnTo>
                  <a:pt x="62" y="275"/>
                </a:lnTo>
                <a:lnTo>
                  <a:pt x="65" y="275"/>
                </a:lnTo>
                <a:lnTo>
                  <a:pt x="65" y="275"/>
                </a:lnTo>
                <a:lnTo>
                  <a:pt x="65" y="275"/>
                </a:lnTo>
                <a:lnTo>
                  <a:pt x="59" y="269"/>
                </a:lnTo>
                <a:lnTo>
                  <a:pt x="59" y="266"/>
                </a:lnTo>
                <a:lnTo>
                  <a:pt x="56" y="266"/>
                </a:lnTo>
                <a:lnTo>
                  <a:pt x="53" y="260"/>
                </a:lnTo>
                <a:lnTo>
                  <a:pt x="53" y="257"/>
                </a:lnTo>
                <a:lnTo>
                  <a:pt x="56" y="253"/>
                </a:lnTo>
                <a:lnTo>
                  <a:pt x="56" y="247"/>
                </a:lnTo>
                <a:lnTo>
                  <a:pt x="53" y="247"/>
                </a:lnTo>
                <a:lnTo>
                  <a:pt x="53" y="244"/>
                </a:lnTo>
                <a:lnTo>
                  <a:pt x="56" y="241"/>
                </a:lnTo>
                <a:lnTo>
                  <a:pt x="56" y="238"/>
                </a:lnTo>
                <a:lnTo>
                  <a:pt x="53" y="235"/>
                </a:lnTo>
                <a:lnTo>
                  <a:pt x="53" y="232"/>
                </a:lnTo>
                <a:lnTo>
                  <a:pt x="50" y="228"/>
                </a:lnTo>
                <a:lnTo>
                  <a:pt x="50" y="222"/>
                </a:lnTo>
                <a:lnTo>
                  <a:pt x="43" y="219"/>
                </a:lnTo>
                <a:lnTo>
                  <a:pt x="34" y="213"/>
                </a:lnTo>
                <a:lnTo>
                  <a:pt x="34" y="213"/>
                </a:lnTo>
                <a:lnTo>
                  <a:pt x="31" y="210"/>
                </a:lnTo>
                <a:lnTo>
                  <a:pt x="28" y="203"/>
                </a:lnTo>
                <a:lnTo>
                  <a:pt x="25" y="200"/>
                </a:lnTo>
                <a:lnTo>
                  <a:pt x="21" y="175"/>
                </a:lnTo>
                <a:lnTo>
                  <a:pt x="25" y="175"/>
                </a:lnTo>
                <a:lnTo>
                  <a:pt x="25" y="175"/>
                </a:lnTo>
                <a:lnTo>
                  <a:pt x="28" y="172"/>
                </a:lnTo>
                <a:lnTo>
                  <a:pt x="28" y="172"/>
                </a:lnTo>
                <a:lnTo>
                  <a:pt x="62" y="138"/>
                </a:lnTo>
                <a:lnTo>
                  <a:pt x="59" y="110"/>
                </a:lnTo>
                <a:lnTo>
                  <a:pt x="65" y="72"/>
                </a:lnTo>
                <a:lnTo>
                  <a:pt x="68" y="69"/>
                </a:lnTo>
                <a:lnTo>
                  <a:pt x="68" y="63"/>
                </a:lnTo>
                <a:lnTo>
                  <a:pt x="56" y="47"/>
                </a:lnTo>
                <a:lnTo>
                  <a:pt x="56" y="44"/>
                </a:lnTo>
                <a:lnTo>
                  <a:pt x="59" y="38"/>
                </a:lnTo>
                <a:lnTo>
                  <a:pt x="46" y="13"/>
                </a:lnTo>
                <a:lnTo>
                  <a:pt x="46" y="9"/>
                </a:lnTo>
                <a:lnTo>
                  <a:pt x="46" y="9"/>
                </a:lnTo>
                <a:close/>
                <a:moveTo>
                  <a:pt x="6" y="210"/>
                </a:moveTo>
                <a:lnTo>
                  <a:pt x="3" y="213"/>
                </a:lnTo>
                <a:lnTo>
                  <a:pt x="0" y="216"/>
                </a:lnTo>
                <a:lnTo>
                  <a:pt x="0" y="213"/>
                </a:lnTo>
                <a:lnTo>
                  <a:pt x="6" y="21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3" name="Freeform 131">
            <a:extLst>
              <a:ext uri="{FF2B5EF4-FFF2-40B4-BE49-F238E27FC236}">
                <a16:creationId xmlns:a16="http://schemas.microsoft.com/office/drawing/2014/main" id="{11ADA199-9207-1AB8-7C7B-624A09F08C1D}"/>
              </a:ext>
            </a:extLst>
          </p:cNvPr>
          <p:cNvSpPr>
            <a:spLocks/>
          </p:cNvSpPr>
          <p:nvPr userDrawn="1"/>
        </p:nvSpPr>
        <p:spPr bwMode="auto">
          <a:xfrm>
            <a:off x="13188091" y="7885985"/>
            <a:ext cx="952440" cy="746126"/>
          </a:xfrm>
          <a:custGeom>
            <a:avLst/>
            <a:gdLst>
              <a:gd name="T0" fmla="*/ 66 w 300"/>
              <a:gd name="T1" fmla="*/ 229 h 235"/>
              <a:gd name="T2" fmla="*/ 56 w 300"/>
              <a:gd name="T3" fmla="*/ 222 h 235"/>
              <a:gd name="T4" fmla="*/ 47 w 300"/>
              <a:gd name="T5" fmla="*/ 222 h 235"/>
              <a:gd name="T6" fmla="*/ 44 w 300"/>
              <a:gd name="T7" fmla="*/ 225 h 235"/>
              <a:gd name="T8" fmla="*/ 38 w 300"/>
              <a:gd name="T9" fmla="*/ 219 h 235"/>
              <a:gd name="T10" fmla="*/ 41 w 300"/>
              <a:gd name="T11" fmla="*/ 213 h 235"/>
              <a:gd name="T12" fmla="*/ 38 w 300"/>
              <a:gd name="T13" fmla="*/ 210 h 235"/>
              <a:gd name="T14" fmla="*/ 28 w 300"/>
              <a:gd name="T15" fmla="*/ 213 h 235"/>
              <a:gd name="T16" fmla="*/ 19 w 300"/>
              <a:gd name="T17" fmla="*/ 200 h 235"/>
              <a:gd name="T18" fmla="*/ 0 w 300"/>
              <a:gd name="T19" fmla="*/ 182 h 235"/>
              <a:gd name="T20" fmla="*/ 3 w 300"/>
              <a:gd name="T21" fmla="*/ 172 h 235"/>
              <a:gd name="T22" fmla="*/ 10 w 300"/>
              <a:gd name="T23" fmla="*/ 169 h 235"/>
              <a:gd name="T24" fmla="*/ 28 w 300"/>
              <a:gd name="T25" fmla="*/ 169 h 235"/>
              <a:gd name="T26" fmla="*/ 41 w 300"/>
              <a:gd name="T27" fmla="*/ 166 h 235"/>
              <a:gd name="T28" fmla="*/ 50 w 300"/>
              <a:gd name="T29" fmla="*/ 163 h 235"/>
              <a:gd name="T30" fmla="*/ 63 w 300"/>
              <a:gd name="T31" fmla="*/ 160 h 235"/>
              <a:gd name="T32" fmla="*/ 75 w 300"/>
              <a:gd name="T33" fmla="*/ 150 h 235"/>
              <a:gd name="T34" fmla="*/ 78 w 300"/>
              <a:gd name="T35" fmla="*/ 141 h 235"/>
              <a:gd name="T36" fmla="*/ 81 w 300"/>
              <a:gd name="T37" fmla="*/ 85 h 235"/>
              <a:gd name="T38" fmla="*/ 135 w 300"/>
              <a:gd name="T39" fmla="*/ 57 h 235"/>
              <a:gd name="T40" fmla="*/ 257 w 300"/>
              <a:gd name="T41" fmla="*/ 10 h 235"/>
              <a:gd name="T42" fmla="*/ 278 w 300"/>
              <a:gd name="T43" fmla="*/ 6 h 235"/>
              <a:gd name="T44" fmla="*/ 291 w 300"/>
              <a:gd name="T45" fmla="*/ 35 h 235"/>
              <a:gd name="T46" fmla="*/ 288 w 300"/>
              <a:gd name="T47" fmla="*/ 44 h 235"/>
              <a:gd name="T48" fmla="*/ 300 w 300"/>
              <a:gd name="T49" fmla="*/ 66 h 235"/>
              <a:gd name="T50" fmla="*/ 291 w 300"/>
              <a:gd name="T51" fmla="*/ 107 h 235"/>
              <a:gd name="T52" fmla="*/ 260 w 300"/>
              <a:gd name="T53" fmla="*/ 169 h 235"/>
              <a:gd name="T54" fmla="*/ 257 w 300"/>
              <a:gd name="T55" fmla="*/ 172 h 235"/>
              <a:gd name="T56" fmla="*/ 253 w 300"/>
              <a:gd name="T57" fmla="*/ 172 h 235"/>
              <a:gd name="T58" fmla="*/ 253 w 300"/>
              <a:gd name="T59" fmla="*/ 197 h 235"/>
              <a:gd name="T60" fmla="*/ 250 w 300"/>
              <a:gd name="T61" fmla="*/ 204 h 235"/>
              <a:gd name="T62" fmla="*/ 244 w 300"/>
              <a:gd name="T63" fmla="*/ 204 h 235"/>
              <a:gd name="T64" fmla="*/ 241 w 300"/>
              <a:gd name="T65" fmla="*/ 207 h 235"/>
              <a:gd name="T66" fmla="*/ 238 w 300"/>
              <a:gd name="T67" fmla="*/ 207 h 235"/>
              <a:gd name="T68" fmla="*/ 228 w 300"/>
              <a:gd name="T69" fmla="*/ 210 h 235"/>
              <a:gd name="T70" fmla="*/ 216 w 300"/>
              <a:gd name="T71" fmla="*/ 207 h 235"/>
              <a:gd name="T72" fmla="*/ 203 w 300"/>
              <a:gd name="T73" fmla="*/ 207 h 235"/>
              <a:gd name="T74" fmla="*/ 188 w 300"/>
              <a:gd name="T75" fmla="*/ 207 h 235"/>
              <a:gd name="T76" fmla="*/ 178 w 300"/>
              <a:gd name="T77" fmla="*/ 216 h 235"/>
              <a:gd name="T78" fmla="*/ 169 w 300"/>
              <a:gd name="T79" fmla="*/ 213 h 235"/>
              <a:gd name="T80" fmla="*/ 157 w 300"/>
              <a:gd name="T81" fmla="*/ 210 h 235"/>
              <a:gd name="T82" fmla="*/ 153 w 300"/>
              <a:gd name="T83" fmla="*/ 207 h 235"/>
              <a:gd name="T84" fmla="*/ 147 w 300"/>
              <a:gd name="T85" fmla="*/ 204 h 235"/>
              <a:gd name="T86" fmla="*/ 141 w 300"/>
              <a:gd name="T87" fmla="*/ 207 h 235"/>
              <a:gd name="T88" fmla="*/ 135 w 300"/>
              <a:gd name="T89" fmla="*/ 207 h 235"/>
              <a:gd name="T90" fmla="*/ 132 w 300"/>
              <a:gd name="T91" fmla="*/ 210 h 235"/>
              <a:gd name="T92" fmla="*/ 122 w 300"/>
              <a:gd name="T93" fmla="*/ 200 h 235"/>
              <a:gd name="T94" fmla="*/ 116 w 300"/>
              <a:gd name="T95" fmla="*/ 197 h 235"/>
              <a:gd name="T96" fmla="*/ 110 w 300"/>
              <a:gd name="T97" fmla="*/ 194 h 235"/>
              <a:gd name="T98" fmla="*/ 100 w 300"/>
              <a:gd name="T99" fmla="*/ 194 h 235"/>
              <a:gd name="T100" fmla="*/ 97 w 300"/>
              <a:gd name="T101" fmla="*/ 194 h 235"/>
              <a:gd name="T102" fmla="*/ 88 w 300"/>
              <a:gd name="T103" fmla="*/ 194 h 235"/>
              <a:gd name="T104" fmla="*/ 81 w 300"/>
              <a:gd name="T105" fmla="*/ 197 h 235"/>
              <a:gd name="T106" fmla="*/ 78 w 300"/>
              <a:gd name="T107" fmla="*/ 197 h 235"/>
              <a:gd name="T108" fmla="*/ 72 w 300"/>
              <a:gd name="T109" fmla="*/ 204 h 235"/>
              <a:gd name="T110" fmla="*/ 72 w 300"/>
              <a:gd name="T111" fmla="*/ 207 h 235"/>
              <a:gd name="T112" fmla="*/ 75 w 300"/>
              <a:gd name="T113" fmla="*/ 213 h 235"/>
              <a:gd name="T114" fmla="*/ 75 w 300"/>
              <a:gd name="T115" fmla="*/ 216 h 235"/>
              <a:gd name="T116" fmla="*/ 69 w 300"/>
              <a:gd name="T117" fmla="*/ 219 h 235"/>
              <a:gd name="T118" fmla="*/ 66 w 300"/>
              <a:gd name="T119" fmla="*/ 225 h 235"/>
              <a:gd name="T120" fmla="*/ 72 w 300"/>
              <a:gd name="T121" fmla="*/ 229 h 235"/>
              <a:gd name="T122" fmla="*/ 69 w 300"/>
              <a:gd name="T123"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0" h="235">
                <a:moveTo>
                  <a:pt x="69" y="235"/>
                </a:moveTo>
                <a:lnTo>
                  <a:pt x="66" y="229"/>
                </a:lnTo>
                <a:lnTo>
                  <a:pt x="60" y="229"/>
                </a:lnTo>
                <a:lnTo>
                  <a:pt x="56" y="222"/>
                </a:lnTo>
                <a:lnTo>
                  <a:pt x="50" y="219"/>
                </a:lnTo>
                <a:lnTo>
                  <a:pt x="47" y="222"/>
                </a:lnTo>
                <a:lnTo>
                  <a:pt x="50" y="222"/>
                </a:lnTo>
                <a:lnTo>
                  <a:pt x="44" y="225"/>
                </a:lnTo>
                <a:lnTo>
                  <a:pt x="41" y="225"/>
                </a:lnTo>
                <a:lnTo>
                  <a:pt x="38" y="219"/>
                </a:lnTo>
                <a:lnTo>
                  <a:pt x="41" y="216"/>
                </a:lnTo>
                <a:lnTo>
                  <a:pt x="41" y="213"/>
                </a:lnTo>
                <a:lnTo>
                  <a:pt x="38" y="210"/>
                </a:lnTo>
                <a:lnTo>
                  <a:pt x="38" y="210"/>
                </a:lnTo>
                <a:lnTo>
                  <a:pt x="35" y="207"/>
                </a:lnTo>
                <a:lnTo>
                  <a:pt x="28" y="213"/>
                </a:lnTo>
                <a:lnTo>
                  <a:pt x="19" y="207"/>
                </a:lnTo>
                <a:lnTo>
                  <a:pt x="19" y="200"/>
                </a:lnTo>
                <a:lnTo>
                  <a:pt x="0" y="188"/>
                </a:lnTo>
                <a:lnTo>
                  <a:pt x="0" y="182"/>
                </a:lnTo>
                <a:lnTo>
                  <a:pt x="3" y="175"/>
                </a:lnTo>
                <a:lnTo>
                  <a:pt x="3" y="172"/>
                </a:lnTo>
                <a:lnTo>
                  <a:pt x="6" y="169"/>
                </a:lnTo>
                <a:lnTo>
                  <a:pt x="10" y="169"/>
                </a:lnTo>
                <a:lnTo>
                  <a:pt x="22" y="169"/>
                </a:lnTo>
                <a:lnTo>
                  <a:pt x="28" y="169"/>
                </a:lnTo>
                <a:lnTo>
                  <a:pt x="35" y="166"/>
                </a:lnTo>
                <a:lnTo>
                  <a:pt x="41" y="166"/>
                </a:lnTo>
                <a:lnTo>
                  <a:pt x="47" y="166"/>
                </a:lnTo>
                <a:lnTo>
                  <a:pt x="50" y="163"/>
                </a:lnTo>
                <a:lnTo>
                  <a:pt x="56" y="163"/>
                </a:lnTo>
                <a:lnTo>
                  <a:pt x="63" y="160"/>
                </a:lnTo>
                <a:lnTo>
                  <a:pt x="72" y="153"/>
                </a:lnTo>
                <a:lnTo>
                  <a:pt x="75" y="150"/>
                </a:lnTo>
                <a:lnTo>
                  <a:pt x="75" y="144"/>
                </a:lnTo>
                <a:lnTo>
                  <a:pt x="78" y="141"/>
                </a:lnTo>
                <a:lnTo>
                  <a:pt x="78" y="122"/>
                </a:lnTo>
                <a:lnTo>
                  <a:pt x="81" y="85"/>
                </a:lnTo>
                <a:lnTo>
                  <a:pt x="110" y="78"/>
                </a:lnTo>
                <a:lnTo>
                  <a:pt x="135" y="57"/>
                </a:lnTo>
                <a:lnTo>
                  <a:pt x="222" y="0"/>
                </a:lnTo>
                <a:lnTo>
                  <a:pt x="257" y="10"/>
                </a:lnTo>
                <a:lnTo>
                  <a:pt x="260" y="13"/>
                </a:lnTo>
                <a:lnTo>
                  <a:pt x="278" y="6"/>
                </a:lnTo>
                <a:lnTo>
                  <a:pt x="278" y="10"/>
                </a:lnTo>
                <a:lnTo>
                  <a:pt x="291" y="35"/>
                </a:lnTo>
                <a:lnTo>
                  <a:pt x="288" y="41"/>
                </a:lnTo>
                <a:lnTo>
                  <a:pt x="288" y="44"/>
                </a:lnTo>
                <a:lnTo>
                  <a:pt x="300" y="60"/>
                </a:lnTo>
                <a:lnTo>
                  <a:pt x="300" y="66"/>
                </a:lnTo>
                <a:lnTo>
                  <a:pt x="297" y="69"/>
                </a:lnTo>
                <a:lnTo>
                  <a:pt x="291" y="107"/>
                </a:lnTo>
                <a:lnTo>
                  <a:pt x="294" y="135"/>
                </a:lnTo>
                <a:lnTo>
                  <a:pt x="260" y="169"/>
                </a:lnTo>
                <a:lnTo>
                  <a:pt x="260" y="169"/>
                </a:lnTo>
                <a:lnTo>
                  <a:pt x="257" y="172"/>
                </a:lnTo>
                <a:lnTo>
                  <a:pt x="257" y="172"/>
                </a:lnTo>
                <a:lnTo>
                  <a:pt x="253" y="172"/>
                </a:lnTo>
                <a:lnTo>
                  <a:pt x="257" y="197"/>
                </a:lnTo>
                <a:lnTo>
                  <a:pt x="253" y="197"/>
                </a:lnTo>
                <a:lnTo>
                  <a:pt x="250" y="200"/>
                </a:lnTo>
                <a:lnTo>
                  <a:pt x="250" y="204"/>
                </a:lnTo>
                <a:lnTo>
                  <a:pt x="247" y="204"/>
                </a:lnTo>
                <a:lnTo>
                  <a:pt x="244" y="204"/>
                </a:lnTo>
                <a:lnTo>
                  <a:pt x="241" y="204"/>
                </a:lnTo>
                <a:lnTo>
                  <a:pt x="241" y="207"/>
                </a:lnTo>
                <a:lnTo>
                  <a:pt x="238" y="207"/>
                </a:lnTo>
                <a:lnTo>
                  <a:pt x="238" y="207"/>
                </a:lnTo>
                <a:lnTo>
                  <a:pt x="232" y="210"/>
                </a:lnTo>
                <a:lnTo>
                  <a:pt x="228" y="210"/>
                </a:lnTo>
                <a:lnTo>
                  <a:pt x="222" y="210"/>
                </a:lnTo>
                <a:lnTo>
                  <a:pt x="216" y="207"/>
                </a:lnTo>
                <a:lnTo>
                  <a:pt x="207" y="204"/>
                </a:lnTo>
                <a:lnTo>
                  <a:pt x="203" y="207"/>
                </a:lnTo>
                <a:lnTo>
                  <a:pt x="194" y="207"/>
                </a:lnTo>
                <a:lnTo>
                  <a:pt x="188" y="207"/>
                </a:lnTo>
                <a:lnTo>
                  <a:pt x="185" y="213"/>
                </a:lnTo>
                <a:lnTo>
                  <a:pt x="178" y="216"/>
                </a:lnTo>
                <a:lnTo>
                  <a:pt x="175" y="216"/>
                </a:lnTo>
                <a:lnTo>
                  <a:pt x="169" y="213"/>
                </a:lnTo>
                <a:lnTo>
                  <a:pt x="163" y="213"/>
                </a:lnTo>
                <a:lnTo>
                  <a:pt x="157" y="210"/>
                </a:lnTo>
                <a:lnTo>
                  <a:pt x="153" y="207"/>
                </a:lnTo>
                <a:lnTo>
                  <a:pt x="153" y="207"/>
                </a:lnTo>
                <a:lnTo>
                  <a:pt x="150" y="204"/>
                </a:lnTo>
                <a:lnTo>
                  <a:pt x="147" y="204"/>
                </a:lnTo>
                <a:lnTo>
                  <a:pt x="147" y="204"/>
                </a:lnTo>
                <a:lnTo>
                  <a:pt x="141" y="207"/>
                </a:lnTo>
                <a:lnTo>
                  <a:pt x="138" y="207"/>
                </a:lnTo>
                <a:lnTo>
                  <a:pt x="135" y="207"/>
                </a:lnTo>
                <a:lnTo>
                  <a:pt x="132" y="210"/>
                </a:lnTo>
                <a:lnTo>
                  <a:pt x="132" y="210"/>
                </a:lnTo>
                <a:lnTo>
                  <a:pt x="125" y="207"/>
                </a:lnTo>
                <a:lnTo>
                  <a:pt x="122" y="200"/>
                </a:lnTo>
                <a:lnTo>
                  <a:pt x="119" y="200"/>
                </a:lnTo>
                <a:lnTo>
                  <a:pt x="116" y="197"/>
                </a:lnTo>
                <a:lnTo>
                  <a:pt x="113" y="197"/>
                </a:lnTo>
                <a:lnTo>
                  <a:pt x="110" y="194"/>
                </a:lnTo>
                <a:lnTo>
                  <a:pt x="103" y="194"/>
                </a:lnTo>
                <a:lnTo>
                  <a:pt x="100" y="194"/>
                </a:lnTo>
                <a:lnTo>
                  <a:pt x="97" y="194"/>
                </a:lnTo>
                <a:lnTo>
                  <a:pt x="97" y="194"/>
                </a:lnTo>
                <a:lnTo>
                  <a:pt x="91" y="194"/>
                </a:lnTo>
                <a:lnTo>
                  <a:pt x="88" y="194"/>
                </a:lnTo>
                <a:lnTo>
                  <a:pt x="85" y="194"/>
                </a:lnTo>
                <a:lnTo>
                  <a:pt x="81" y="197"/>
                </a:lnTo>
                <a:lnTo>
                  <a:pt x="81" y="197"/>
                </a:lnTo>
                <a:lnTo>
                  <a:pt x="78" y="197"/>
                </a:lnTo>
                <a:lnTo>
                  <a:pt x="75" y="200"/>
                </a:lnTo>
                <a:lnTo>
                  <a:pt x="72" y="204"/>
                </a:lnTo>
                <a:lnTo>
                  <a:pt x="75" y="207"/>
                </a:lnTo>
                <a:lnTo>
                  <a:pt x="72" y="207"/>
                </a:lnTo>
                <a:lnTo>
                  <a:pt x="72" y="207"/>
                </a:lnTo>
                <a:lnTo>
                  <a:pt x="75" y="213"/>
                </a:lnTo>
                <a:lnTo>
                  <a:pt x="75" y="213"/>
                </a:lnTo>
                <a:lnTo>
                  <a:pt x="75" y="216"/>
                </a:lnTo>
                <a:lnTo>
                  <a:pt x="72" y="216"/>
                </a:lnTo>
                <a:lnTo>
                  <a:pt x="69" y="219"/>
                </a:lnTo>
                <a:lnTo>
                  <a:pt x="69" y="222"/>
                </a:lnTo>
                <a:lnTo>
                  <a:pt x="66" y="225"/>
                </a:lnTo>
                <a:lnTo>
                  <a:pt x="69" y="229"/>
                </a:lnTo>
                <a:lnTo>
                  <a:pt x="72" y="229"/>
                </a:lnTo>
                <a:lnTo>
                  <a:pt x="72" y="232"/>
                </a:lnTo>
                <a:lnTo>
                  <a:pt x="69" y="235"/>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4" name="Freeform 132">
            <a:extLst>
              <a:ext uri="{FF2B5EF4-FFF2-40B4-BE49-F238E27FC236}">
                <a16:creationId xmlns:a16="http://schemas.microsoft.com/office/drawing/2014/main" id="{1E18DCF6-8314-F925-1AE2-2A2115080ABB}"/>
              </a:ext>
            </a:extLst>
          </p:cNvPr>
          <p:cNvSpPr>
            <a:spLocks/>
          </p:cNvSpPr>
          <p:nvPr userDrawn="1"/>
        </p:nvSpPr>
        <p:spPr bwMode="auto">
          <a:xfrm>
            <a:off x="13356352" y="8501937"/>
            <a:ext cx="714330" cy="615950"/>
          </a:xfrm>
          <a:custGeom>
            <a:avLst/>
            <a:gdLst>
              <a:gd name="T0" fmla="*/ 210 w 225"/>
              <a:gd name="T1" fmla="*/ 13 h 194"/>
              <a:gd name="T2" fmla="*/ 197 w 225"/>
              <a:gd name="T3" fmla="*/ 6 h 194"/>
              <a:gd name="T4" fmla="*/ 191 w 225"/>
              <a:gd name="T5" fmla="*/ 10 h 194"/>
              <a:gd name="T6" fmla="*/ 185 w 225"/>
              <a:gd name="T7" fmla="*/ 13 h 194"/>
              <a:gd name="T8" fmla="*/ 175 w 225"/>
              <a:gd name="T9" fmla="*/ 16 h 194"/>
              <a:gd name="T10" fmla="*/ 154 w 225"/>
              <a:gd name="T11" fmla="*/ 10 h 194"/>
              <a:gd name="T12" fmla="*/ 135 w 225"/>
              <a:gd name="T13" fmla="*/ 13 h 194"/>
              <a:gd name="T14" fmla="*/ 122 w 225"/>
              <a:gd name="T15" fmla="*/ 22 h 194"/>
              <a:gd name="T16" fmla="*/ 104 w 225"/>
              <a:gd name="T17" fmla="*/ 16 h 194"/>
              <a:gd name="T18" fmla="*/ 97 w 225"/>
              <a:gd name="T19" fmla="*/ 10 h 194"/>
              <a:gd name="T20" fmla="*/ 88 w 225"/>
              <a:gd name="T21" fmla="*/ 13 h 194"/>
              <a:gd name="T22" fmla="*/ 79 w 225"/>
              <a:gd name="T23" fmla="*/ 16 h 194"/>
              <a:gd name="T24" fmla="*/ 69 w 225"/>
              <a:gd name="T25" fmla="*/ 6 h 194"/>
              <a:gd name="T26" fmla="*/ 60 w 225"/>
              <a:gd name="T27" fmla="*/ 3 h 194"/>
              <a:gd name="T28" fmla="*/ 47 w 225"/>
              <a:gd name="T29" fmla="*/ 0 h 194"/>
              <a:gd name="T30" fmla="*/ 38 w 225"/>
              <a:gd name="T31" fmla="*/ 0 h 194"/>
              <a:gd name="T32" fmla="*/ 28 w 225"/>
              <a:gd name="T33" fmla="*/ 3 h 194"/>
              <a:gd name="T34" fmla="*/ 22 w 225"/>
              <a:gd name="T35" fmla="*/ 6 h 194"/>
              <a:gd name="T36" fmla="*/ 19 w 225"/>
              <a:gd name="T37" fmla="*/ 13 h 194"/>
              <a:gd name="T38" fmla="*/ 22 w 225"/>
              <a:gd name="T39" fmla="*/ 19 h 194"/>
              <a:gd name="T40" fmla="*/ 16 w 225"/>
              <a:gd name="T41" fmla="*/ 25 h 194"/>
              <a:gd name="T42" fmla="*/ 16 w 225"/>
              <a:gd name="T43" fmla="*/ 35 h 194"/>
              <a:gd name="T44" fmla="*/ 16 w 225"/>
              <a:gd name="T45" fmla="*/ 41 h 194"/>
              <a:gd name="T46" fmla="*/ 22 w 225"/>
              <a:gd name="T47" fmla="*/ 53 h 194"/>
              <a:gd name="T48" fmla="*/ 22 w 225"/>
              <a:gd name="T49" fmla="*/ 66 h 194"/>
              <a:gd name="T50" fmla="*/ 16 w 225"/>
              <a:gd name="T51" fmla="*/ 72 h 194"/>
              <a:gd name="T52" fmla="*/ 16 w 225"/>
              <a:gd name="T53" fmla="*/ 78 h 194"/>
              <a:gd name="T54" fmla="*/ 10 w 225"/>
              <a:gd name="T55" fmla="*/ 88 h 194"/>
              <a:gd name="T56" fmla="*/ 3 w 225"/>
              <a:gd name="T57" fmla="*/ 94 h 194"/>
              <a:gd name="T58" fmla="*/ 0 w 225"/>
              <a:gd name="T59" fmla="*/ 100 h 194"/>
              <a:gd name="T60" fmla="*/ 0 w 225"/>
              <a:gd name="T61" fmla="*/ 110 h 194"/>
              <a:gd name="T62" fmla="*/ 0 w 225"/>
              <a:gd name="T63" fmla="*/ 116 h 194"/>
              <a:gd name="T64" fmla="*/ 0 w 225"/>
              <a:gd name="T65" fmla="*/ 128 h 194"/>
              <a:gd name="T66" fmla="*/ 0 w 225"/>
              <a:gd name="T67" fmla="*/ 144 h 194"/>
              <a:gd name="T68" fmla="*/ 16 w 225"/>
              <a:gd name="T69" fmla="*/ 147 h 194"/>
              <a:gd name="T70" fmla="*/ 41 w 225"/>
              <a:gd name="T71" fmla="*/ 172 h 194"/>
              <a:gd name="T72" fmla="*/ 47 w 225"/>
              <a:gd name="T73" fmla="*/ 188 h 194"/>
              <a:gd name="T74" fmla="*/ 79 w 225"/>
              <a:gd name="T75" fmla="*/ 191 h 194"/>
              <a:gd name="T76" fmla="*/ 94 w 225"/>
              <a:gd name="T77" fmla="*/ 188 h 194"/>
              <a:gd name="T78" fmla="*/ 104 w 225"/>
              <a:gd name="T79" fmla="*/ 182 h 194"/>
              <a:gd name="T80" fmla="*/ 110 w 225"/>
              <a:gd name="T81" fmla="*/ 185 h 194"/>
              <a:gd name="T82" fmla="*/ 116 w 225"/>
              <a:gd name="T83" fmla="*/ 172 h 194"/>
              <a:gd name="T84" fmla="*/ 116 w 225"/>
              <a:gd name="T85" fmla="*/ 163 h 194"/>
              <a:gd name="T86" fmla="*/ 125 w 225"/>
              <a:gd name="T87" fmla="*/ 153 h 194"/>
              <a:gd name="T88" fmla="*/ 132 w 225"/>
              <a:gd name="T89" fmla="*/ 144 h 194"/>
              <a:gd name="T90" fmla="*/ 138 w 225"/>
              <a:gd name="T91" fmla="*/ 138 h 194"/>
              <a:gd name="T92" fmla="*/ 147 w 225"/>
              <a:gd name="T93" fmla="*/ 141 h 194"/>
              <a:gd name="T94" fmla="*/ 157 w 225"/>
              <a:gd name="T95" fmla="*/ 150 h 194"/>
              <a:gd name="T96" fmla="*/ 166 w 225"/>
              <a:gd name="T97" fmla="*/ 144 h 194"/>
              <a:gd name="T98" fmla="*/ 169 w 225"/>
              <a:gd name="T99" fmla="*/ 138 h 194"/>
              <a:gd name="T100" fmla="*/ 172 w 225"/>
              <a:gd name="T101" fmla="*/ 128 h 194"/>
              <a:gd name="T102" fmla="*/ 179 w 225"/>
              <a:gd name="T103" fmla="*/ 116 h 194"/>
              <a:gd name="T104" fmla="*/ 191 w 225"/>
              <a:gd name="T105" fmla="*/ 103 h 194"/>
              <a:gd name="T106" fmla="*/ 191 w 225"/>
              <a:gd name="T107" fmla="*/ 91 h 194"/>
              <a:gd name="T108" fmla="*/ 204 w 225"/>
              <a:gd name="T109" fmla="*/ 81 h 194"/>
              <a:gd name="T110" fmla="*/ 204 w 225"/>
              <a:gd name="T111" fmla="*/ 69 h 194"/>
              <a:gd name="T112" fmla="*/ 210 w 225"/>
              <a:gd name="T113" fmla="*/ 56 h 194"/>
              <a:gd name="T114" fmla="*/ 216 w 225"/>
              <a:gd name="T115" fmla="*/ 53 h 194"/>
              <a:gd name="T116" fmla="*/ 225 w 225"/>
              <a:gd name="T117" fmla="*/ 47 h 194"/>
              <a:gd name="T118" fmla="*/ 222 w 225"/>
              <a:gd name="T119" fmla="*/ 35 h 194"/>
              <a:gd name="T120" fmla="*/ 216 w 225"/>
              <a:gd name="T121" fmla="*/ 25 h 194"/>
              <a:gd name="T122" fmla="*/ 213 w 225"/>
              <a:gd name="T123" fmla="*/ 1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5" h="194">
                <a:moveTo>
                  <a:pt x="213" y="16"/>
                </a:moveTo>
                <a:lnTo>
                  <a:pt x="213" y="16"/>
                </a:lnTo>
                <a:lnTo>
                  <a:pt x="210" y="13"/>
                </a:lnTo>
                <a:lnTo>
                  <a:pt x="207" y="6"/>
                </a:lnTo>
                <a:lnTo>
                  <a:pt x="200" y="3"/>
                </a:lnTo>
                <a:lnTo>
                  <a:pt x="197" y="6"/>
                </a:lnTo>
                <a:lnTo>
                  <a:pt x="197" y="10"/>
                </a:lnTo>
                <a:lnTo>
                  <a:pt x="194" y="10"/>
                </a:lnTo>
                <a:lnTo>
                  <a:pt x="191" y="10"/>
                </a:lnTo>
                <a:lnTo>
                  <a:pt x="188" y="10"/>
                </a:lnTo>
                <a:lnTo>
                  <a:pt x="188" y="13"/>
                </a:lnTo>
                <a:lnTo>
                  <a:pt x="185" y="13"/>
                </a:lnTo>
                <a:lnTo>
                  <a:pt x="182" y="16"/>
                </a:lnTo>
                <a:lnTo>
                  <a:pt x="179" y="19"/>
                </a:lnTo>
                <a:lnTo>
                  <a:pt x="175" y="16"/>
                </a:lnTo>
                <a:lnTo>
                  <a:pt x="169" y="16"/>
                </a:lnTo>
                <a:lnTo>
                  <a:pt x="163" y="13"/>
                </a:lnTo>
                <a:lnTo>
                  <a:pt x="154" y="10"/>
                </a:lnTo>
                <a:lnTo>
                  <a:pt x="150" y="13"/>
                </a:lnTo>
                <a:lnTo>
                  <a:pt x="141" y="13"/>
                </a:lnTo>
                <a:lnTo>
                  <a:pt x="135" y="13"/>
                </a:lnTo>
                <a:lnTo>
                  <a:pt x="132" y="19"/>
                </a:lnTo>
                <a:lnTo>
                  <a:pt x="125" y="22"/>
                </a:lnTo>
                <a:lnTo>
                  <a:pt x="122" y="22"/>
                </a:lnTo>
                <a:lnTo>
                  <a:pt x="116" y="19"/>
                </a:lnTo>
                <a:lnTo>
                  <a:pt x="110" y="19"/>
                </a:lnTo>
                <a:lnTo>
                  <a:pt x="104" y="16"/>
                </a:lnTo>
                <a:lnTo>
                  <a:pt x="100" y="13"/>
                </a:lnTo>
                <a:lnTo>
                  <a:pt x="100" y="13"/>
                </a:lnTo>
                <a:lnTo>
                  <a:pt x="97" y="10"/>
                </a:lnTo>
                <a:lnTo>
                  <a:pt x="94" y="10"/>
                </a:lnTo>
                <a:lnTo>
                  <a:pt x="94" y="10"/>
                </a:lnTo>
                <a:lnTo>
                  <a:pt x="88" y="13"/>
                </a:lnTo>
                <a:lnTo>
                  <a:pt x="85" y="13"/>
                </a:lnTo>
                <a:lnTo>
                  <a:pt x="82" y="13"/>
                </a:lnTo>
                <a:lnTo>
                  <a:pt x="79" y="16"/>
                </a:lnTo>
                <a:lnTo>
                  <a:pt x="79" y="16"/>
                </a:lnTo>
                <a:lnTo>
                  <a:pt x="72" y="13"/>
                </a:lnTo>
                <a:lnTo>
                  <a:pt x="69" y="6"/>
                </a:lnTo>
                <a:lnTo>
                  <a:pt x="66" y="6"/>
                </a:lnTo>
                <a:lnTo>
                  <a:pt x="63" y="3"/>
                </a:lnTo>
                <a:lnTo>
                  <a:pt x="60" y="3"/>
                </a:lnTo>
                <a:lnTo>
                  <a:pt x="57" y="0"/>
                </a:lnTo>
                <a:lnTo>
                  <a:pt x="50" y="0"/>
                </a:lnTo>
                <a:lnTo>
                  <a:pt x="47" y="0"/>
                </a:lnTo>
                <a:lnTo>
                  <a:pt x="44" y="0"/>
                </a:lnTo>
                <a:lnTo>
                  <a:pt x="44" y="0"/>
                </a:lnTo>
                <a:lnTo>
                  <a:pt x="38" y="0"/>
                </a:lnTo>
                <a:lnTo>
                  <a:pt x="35" y="0"/>
                </a:lnTo>
                <a:lnTo>
                  <a:pt x="32" y="0"/>
                </a:lnTo>
                <a:lnTo>
                  <a:pt x="28" y="3"/>
                </a:lnTo>
                <a:lnTo>
                  <a:pt x="28" y="3"/>
                </a:lnTo>
                <a:lnTo>
                  <a:pt x="25" y="3"/>
                </a:lnTo>
                <a:lnTo>
                  <a:pt x="22" y="6"/>
                </a:lnTo>
                <a:lnTo>
                  <a:pt x="19" y="10"/>
                </a:lnTo>
                <a:lnTo>
                  <a:pt x="22" y="13"/>
                </a:lnTo>
                <a:lnTo>
                  <a:pt x="19" y="13"/>
                </a:lnTo>
                <a:lnTo>
                  <a:pt x="19" y="13"/>
                </a:lnTo>
                <a:lnTo>
                  <a:pt x="22" y="19"/>
                </a:lnTo>
                <a:lnTo>
                  <a:pt x="22" y="19"/>
                </a:lnTo>
                <a:lnTo>
                  <a:pt x="22" y="22"/>
                </a:lnTo>
                <a:lnTo>
                  <a:pt x="19" y="22"/>
                </a:lnTo>
                <a:lnTo>
                  <a:pt x="16" y="25"/>
                </a:lnTo>
                <a:lnTo>
                  <a:pt x="16" y="28"/>
                </a:lnTo>
                <a:lnTo>
                  <a:pt x="13" y="31"/>
                </a:lnTo>
                <a:lnTo>
                  <a:pt x="16" y="35"/>
                </a:lnTo>
                <a:lnTo>
                  <a:pt x="19" y="35"/>
                </a:lnTo>
                <a:lnTo>
                  <a:pt x="19" y="38"/>
                </a:lnTo>
                <a:lnTo>
                  <a:pt x="16" y="41"/>
                </a:lnTo>
                <a:lnTo>
                  <a:pt x="16" y="44"/>
                </a:lnTo>
                <a:lnTo>
                  <a:pt x="16" y="47"/>
                </a:lnTo>
                <a:lnTo>
                  <a:pt x="22" y="53"/>
                </a:lnTo>
                <a:lnTo>
                  <a:pt x="22" y="56"/>
                </a:lnTo>
                <a:lnTo>
                  <a:pt x="22" y="63"/>
                </a:lnTo>
                <a:lnTo>
                  <a:pt x="22" y="66"/>
                </a:lnTo>
                <a:lnTo>
                  <a:pt x="19" y="66"/>
                </a:lnTo>
                <a:lnTo>
                  <a:pt x="16" y="69"/>
                </a:lnTo>
                <a:lnTo>
                  <a:pt x="16" y="72"/>
                </a:lnTo>
                <a:lnTo>
                  <a:pt x="19" y="75"/>
                </a:lnTo>
                <a:lnTo>
                  <a:pt x="19" y="78"/>
                </a:lnTo>
                <a:lnTo>
                  <a:pt x="16" y="78"/>
                </a:lnTo>
                <a:lnTo>
                  <a:pt x="13" y="78"/>
                </a:lnTo>
                <a:lnTo>
                  <a:pt x="13" y="81"/>
                </a:lnTo>
                <a:lnTo>
                  <a:pt x="10" y="88"/>
                </a:lnTo>
                <a:lnTo>
                  <a:pt x="10" y="91"/>
                </a:lnTo>
                <a:lnTo>
                  <a:pt x="7" y="91"/>
                </a:lnTo>
                <a:lnTo>
                  <a:pt x="3" y="94"/>
                </a:lnTo>
                <a:lnTo>
                  <a:pt x="0" y="94"/>
                </a:lnTo>
                <a:lnTo>
                  <a:pt x="0" y="97"/>
                </a:lnTo>
                <a:lnTo>
                  <a:pt x="0" y="100"/>
                </a:lnTo>
                <a:lnTo>
                  <a:pt x="0" y="103"/>
                </a:lnTo>
                <a:lnTo>
                  <a:pt x="0" y="107"/>
                </a:lnTo>
                <a:lnTo>
                  <a:pt x="0" y="110"/>
                </a:lnTo>
                <a:lnTo>
                  <a:pt x="0" y="113"/>
                </a:lnTo>
                <a:lnTo>
                  <a:pt x="0" y="113"/>
                </a:lnTo>
                <a:lnTo>
                  <a:pt x="0" y="116"/>
                </a:lnTo>
                <a:lnTo>
                  <a:pt x="0" y="116"/>
                </a:lnTo>
                <a:lnTo>
                  <a:pt x="0" y="119"/>
                </a:lnTo>
                <a:lnTo>
                  <a:pt x="0" y="128"/>
                </a:lnTo>
                <a:lnTo>
                  <a:pt x="0" y="132"/>
                </a:lnTo>
                <a:lnTo>
                  <a:pt x="0" y="135"/>
                </a:lnTo>
                <a:lnTo>
                  <a:pt x="0" y="144"/>
                </a:lnTo>
                <a:lnTo>
                  <a:pt x="0" y="147"/>
                </a:lnTo>
                <a:lnTo>
                  <a:pt x="10" y="150"/>
                </a:lnTo>
                <a:lnTo>
                  <a:pt x="16" y="147"/>
                </a:lnTo>
                <a:lnTo>
                  <a:pt x="28" y="153"/>
                </a:lnTo>
                <a:lnTo>
                  <a:pt x="38" y="163"/>
                </a:lnTo>
                <a:lnTo>
                  <a:pt x="41" y="172"/>
                </a:lnTo>
                <a:lnTo>
                  <a:pt x="41" y="178"/>
                </a:lnTo>
                <a:lnTo>
                  <a:pt x="44" y="178"/>
                </a:lnTo>
                <a:lnTo>
                  <a:pt x="47" y="188"/>
                </a:lnTo>
                <a:lnTo>
                  <a:pt x="50" y="191"/>
                </a:lnTo>
                <a:lnTo>
                  <a:pt x="60" y="194"/>
                </a:lnTo>
                <a:lnTo>
                  <a:pt x="79" y="191"/>
                </a:lnTo>
                <a:lnTo>
                  <a:pt x="82" y="191"/>
                </a:lnTo>
                <a:lnTo>
                  <a:pt x="85" y="191"/>
                </a:lnTo>
                <a:lnTo>
                  <a:pt x="94" y="188"/>
                </a:lnTo>
                <a:lnTo>
                  <a:pt x="97" y="188"/>
                </a:lnTo>
                <a:lnTo>
                  <a:pt x="100" y="188"/>
                </a:lnTo>
                <a:lnTo>
                  <a:pt x="104" y="182"/>
                </a:lnTo>
                <a:lnTo>
                  <a:pt x="107" y="185"/>
                </a:lnTo>
                <a:lnTo>
                  <a:pt x="110" y="185"/>
                </a:lnTo>
                <a:lnTo>
                  <a:pt x="110" y="185"/>
                </a:lnTo>
                <a:lnTo>
                  <a:pt x="110" y="182"/>
                </a:lnTo>
                <a:lnTo>
                  <a:pt x="113" y="175"/>
                </a:lnTo>
                <a:lnTo>
                  <a:pt x="116" y="172"/>
                </a:lnTo>
                <a:lnTo>
                  <a:pt x="116" y="166"/>
                </a:lnTo>
                <a:lnTo>
                  <a:pt x="116" y="163"/>
                </a:lnTo>
                <a:lnTo>
                  <a:pt x="116" y="163"/>
                </a:lnTo>
                <a:lnTo>
                  <a:pt x="116" y="160"/>
                </a:lnTo>
                <a:lnTo>
                  <a:pt x="119" y="157"/>
                </a:lnTo>
                <a:lnTo>
                  <a:pt x="125" y="153"/>
                </a:lnTo>
                <a:lnTo>
                  <a:pt x="125" y="150"/>
                </a:lnTo>
                <a:lnTo>
                  <a:pt x="132" y="147"/>
                </a:lnTo>
                <a:lnTo>
                  <a:pt x="132" y="144"/>
                </a:lnTo>
                <a:lnTo>
                  <a:pt x="132" y="141"/>
                </a:lnTo>
                <a:lnTo>
                  <a:pt x="138" y="141"/>
                </a:lnTo>
                <a:lnTo>
                  <a:pt x="138" y="138"/>
                </a:lnTo>
                <a:lnTo>
                  <a:pt x="138" y="138"/>
                </a:lnTo>
                <a:lnTo>
                  <a:pt x="144" y="141"/>
                </a:lnTo>
                <a:lnTo>
                  <a:pt x="147" y="141"/>
                </a:lnTo>
                <a:lnTo>
                  <a:pt x="150" y="144"/>
                </a:lnTo>
                <a:lnTo>
                  <a:pt x="154" y="147"/>
                </a:lnTo>
                <a:lnTo>
                  <a:pt x="157" y="150"/>
                </a:lnTo>
                <a:lnTo>
                  <a:pt x="157" y="150"/>
                </a:lnTo>
                <a:lnTo>
                  <a:pt x="163" y="147"/>
                </a:lnTo>
                <a:lnTo>
                  <a:pt x="166" y="144"/>
                </a:lnTo>
                <a:lnTo>
                  <a:pt x="166" y="141"/>
                </a:lnTo>
                <a:lnTo>
                  <a:pt x="166" y="138"/>
                </a:lnTo>
                <a:lnTo>
                  <a:pt x="169" y="138"/>
                </a:lnTo>
                <a:lnTo>
                  <a:pt x="172" y="135"/>
                </a:lnTo>
                <a:lnTo>
                  <a:pt x="172" y="132"/>
                </a:lnTo>
                <a:lnTo>
                  <a:pt x="172" y="128"/>
                </a:lnTo>
                <a:lnTo>
                  <a:pt x="179" y="122"/>
                </a:lnTo>
                <a:lnTo>
                  <a:pt x="179" y="119"/>
                </a:lnTo>
                <a:lnTo>
                  <a:pt x="179" y="116"/>
                </a:lnTo>
                <a:lnTo>
                  <a:pt x="182" y="113"/>
                </a:lnTo>
                <a:lnTo>
                  <a:pt x="185" y="107"/>
                </a:lnTo>
                <a:lnTo>
                  <a:pt x="191" y="103"/>
                </a:lnTo>
                <a:lnTo>
                  <a:pt x="191" y="100"/>
                </a:lnTo>
                <a:lnTo>
                  <a:pt x="191" y="97"/>
                </a:lnTo>
                <a:lnTo>
                  <a:pt x="191" y="91"/>
                </a:lnTo>
                <a:lnTo>
                  <a:pt x="194" y="88"/>
                </a:lnTo>
                <a:lnTo>
                  <a:pt x="200" y="88"/>
                </a:lnTo>
                <a:lnTo>
                  <a:pt x="204" y="81"/>
                </a:lnTo>
                <a:lnTo>
                  <a:pt x="204" y="78"/>
                </a:lnTo>
                <a:lnTo>
                  <a:pt x="204" y="72"/>
                </a:lnTo>
                <a:lnTo>
                  <a:pt x="204" y="69"/>
                </a:lnTo>
                <a:lnTo>
                  <a:pt x="204" y="66"/>
                </a:lnTo>
                <a:lnTo>
                  <a:pt x="207" y="60"/>
                </a:lnTo>
                <a:lnTo>
                  <a:pt x="210" y="56"/>
                </a:lnTo>
                <a:lnTo>
                  <a:pt x="210" y="56"/>
                </a:lnTo>
                <a:lnTo>
                  <a:pt x="213" y="53"/>
                </a:lnTo>
                <a:lnTo>
                  <a:pt x="216" y="53"/>
                </a:lnTo>
                <a:lnTo>
                  <a:pt x="219" y="50"/>
                </a:lnTo>
                <a:lnTo>
                  <a:pt x="222" y="47"/>
                </a:lnTo>
                <a:lnTo>
                  <a:pt x="225" y="47"/>
                </a:lnTo>
                <a:lnTo>
                  <a:pt x="222" y="41"/>
                </a:lnTo>
                <a:lnTo>
                  <a:pt x="222" y="38"/>
                </a:lnTo>
                <a:lnTo>
                  <a:pt x="222" y="35"/>
                </a:lnTo>
                <a:lnTo>
                  <a:pt x="219" y="35"/>
                </a:lnTo>
                <a:lnTo>
                  <a:pt x="216" y="31"/>
                </a:lnTo>
                <a:lnTo>
                  <a:pt x="216" y="25"/>
                </a:lnTo>
                <a:lnTo>
                  <a:pt x="216" y="22"/>
                </a:lnTo>
                <a:lnTo>
                  <a:pt x="213" y="16"/>
                </a:lnTo>
                <a:lnTo>
                  <a:pt x="213" y="16"/>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5" name="Freeform 133">
            <a:extLst>
              <a:ext uri="{FF2B5EF4-FFF2-40B4-BE49-F238E27FC236}">
                <a16:creationId xmlns:a16="http://schemas.microsoft.com/office/drawing/2014/main" id="{68D6163C-0D54-0E2F-2FAB-5AFDAEABC7D5}"/>
              </a:ext>
            </a:extLst>
          </p:cNvPr>
          <p:cNvSpPr>
            <a:spLocks/>
          </p:cNvSpPr>
          <p:nvPr userDrawn="1"/>
        </p:nvSpPr>
        <p:spPr bwMode="auto">
          <a:xfrm>
            <a:off x="13565892" y="9356011"/>
            <a:ext cx="19049" cy="19050"/>
          </a:xfrm>
          <a:custGeom>
            <a:avLst/>
            <a:gdLst>
              <a:gd name="T0" fmla="*/ 0 w 6"/>
              <a:gd name="T1" fmla="*/ 6 h 6"/>
              <a:gd name="T2" fmla="*/ 0 w 6"/>
              <a:gd name="T3" fmla="*/ 3 h 6"/>
              <a:gd name="T4" fmla="*/ 3 w 6"/>
              <a:gd name="T5" fmla="*/ 0 h 6"/>
              <a:gd name="T6" fmla="*/ 6 w 6"/>
              <a:gd name="T7" fmla="*/ 3 h 6"/>
              <a:gd name="T8" fmla="*/ 3 w 6"/>
              <a:gd name="T9" fmla="*/ 6 h 6"/>
              <a:gd name="T10" fmla="*/ 3 w 6"/>
              <a:gd name="T11" fmla="*/ 6 h 6"/>
              <a:gd name="T12" fmla="*/ 0 w 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0" y="6"/>
                </a:moveTo>
                <a:lnTo>
                  <a:pt x="0" y="3"/>
                </a:lnTo>
                <a:lnTo>
                  <a:pt x="3" y="0"/>
                </a:lnTo>
                <a:lnTo>
                  <a:pt x="6" y="3"/>
                </a:lnTo>
                <a:lnTo>
                  <a:pt x="3" y="6"/>
                </a:lnTo>
                <a:lnTo>
                  <a:pt x="3" y="6"/>
                </a:lnTo>
                <a:lnTo>
                  <a:pt x="0" y="6"/>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6" name="Freeform 134">
            <a:extLst>
              <a:ext uri="{FF2B5EF4-FFF2-40B4-BE49-F238E27FC236}">
                <a16:creationId xmlns:a16="http://schemas.microsoft.com/office/drawing/2014/main" id="{87E5841B-3162-DD42-A2CB-B9D2A1014310}"/>
              </a:ext>
            </a:extLst>
          </p:cNvPr>
          <p:cNvSpPr>
            <a:spLocks/>
          </p:cNvSpPr>
          <p:nvPr userDrawn="1"/>
        </p:nvSpPr>
        <p:spPr bwMode="auto">
          <a:xfrm>
            <a:off x="13686531" y="9136930"/>
            <a:ext cx="28574" cy="50800"/>
          </a:xfrm>
          <a:custGeom>
            <a:avLst/>
            <a:gdLst>
              <a:gd name="T0" fmla="*/ 0 w 9"/>
              <a:gd name="T1" fmla="*/ 13 h 16"/>
              <a:gd name="T2" fmla="*/ 0 w 9"/>
              <a:gd name="T3" fmla="*/ 10 h 16"/>
              <a:gd name="T4" fmla="*/ 3 w 9"/>
              <a:gd name="T5" fmla="*/ 10 h 16"/>
              <a:gd name="T6" fmla="*/ 3 w 9"/>
              <a:gd name="T7" fmla="*/ 3 h 16"/>
              <a:gd name="T8" fmla="*/ 9 w 9"/>
              <a:gd name="T9" fmla="*/ 0 h 16"/>
              <a:gd name="T10" fmla="*/ 9 w 9"/>
              <a:gd name="T11" fmla="*/ 0 h 16"/>
              <a:gd name="T12" fmla="*/ 9 w 9"/>
              <a:gd name="T13" fmla="*/ 7 h 16"/>
              <a:gd name="T14" fmla="*/ 6 w 9"/>
              <a:gd name="T15" fmla="*/ 16 h 16"/>
              <a:gd name="T16" fmla="*/ 3 w 9"/>
              <a:gd name="T17" fmla="*/ 13 h 16"/>
              <a:gd name="T18" fmla="*/ 0 w 9"/>
              <a:gd name="T19"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6">
                <a:moveTo>
                  <a:pt x="0" y="13"/>
                </a:moveTo>
                <a:lnTo>
                  <a:pt x="0" y="10"/>
                </a:lnTo>
                <a:lnTo>
                  <a:pt x="3" y="10"/>
                </a:lnTo>
                <a:lnTo>
                  <a:pt x="3" y="3"/>
                </a:lnTo>
                <a:lnTo>
                  <a:pt x="9" y="0"/>
                </a:lnTo>
                <a:lnTo>
                  <a:pt x="9" y="0"/>
                </a:lnTo>
                <a:lnTo>
                  <a:pt x="9" y="7"/>
                </a:lnTo>
                <a:lnTo>
                  <a:pt x="6" y="16"/>
                </a:lnTo>
                <a:lnTo>
                  <a:pt x="3" y="13"/>
                </a:lnTo>
                <a:lnTo>
                  <a:pt x="0" y="13"/>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7" name="Freeform 135">
            <a:extLst>
              <a:ext uri="{FF2B5EF4-FFF2-40B4-BE49-F238E27FC236}">
                <a16:creationId xmlns:a16="http://schemas.microsoft.com/office/drawing/2014/main" id="{BDEEEF07-47B2-25A7-7546-DAE48128F2D7}"/>
              </a:ext>
            </a:extLst>
          </p:cNvPr>
          <p:cNvSpPr>
            <a:spLocks/>
          </p:cNvSpPr>
          <p:nvPr userDrawn="1"/>
        </p:nvSpPr>
        <p:spPr bwMode="auto">
          <a:xfrm>
            <a:off x="13705583" y="8552732"/>
            <a:ext cx="466696" cy="714376"/>
          </a:xfrm>
          <a:custGeom>
            <a:avLst/>
            <a:gdLst>
              <a:gd name="T0" fmla="*/ 3 w 147"/>
              <a:gd name="T1" fmla="*/ 159 h 225"/>
              <a:gd name="T2" fmla="*/ 6 w 147"/>
              <a:gd name="T3" fmla="*/ 147 h 225"/>
              <a:gd name="T4" fmla="*/ 9 w 147"/>
              <a:gd name="T5" fmla="*/ 141 h 225"/>
              <a:gd name="T6" fmla="*/ 22 w 147"/>
              <a:gd name="T7" fmla="*/ 131 h 225"/>
              <a:gd name="T8" fmla="*/ 28 w 147"/>
              <a:gd name="T9" fmla="*/ 125 h 225"/>
              <a:gd name="T10" fmla="*/ 34 w 147"/>
              <a:gd name="T11" fmla="*/ 125 h 225"/>
              <a:gd name="T12" fmla="*/ 44 w 147"/>
              <a:gd name="T13" fmla="*/ 131 h 225"/>
              <a:gd name="T14" fmla="*/ 53 w 147"/>
              <a:gd name="T15" fmla="*/ 131 h 225"/>
              <a:gd name="T16" fmla="*/ 56 w 147"/>
              <a:gd name="T17" fmla="*/ 122 h 225"/>
              <a:gd name="T18" fmla="*/ 62 w 147"/>
              <a:gd name="T19" fmla="*/ 116 h 225"/>
              <a:gd name="T20" fmla="*/ 69 w 147"/>
              <a:gd name="T21" fmla="*/ 103 h 225"/>
              <a:gd name="T22" fmla="*/ 75 w 147"/>
              <a:gd name="T23" fmla="*/ 91 h 225"/>
              <a:gd name="T24" fmla="*/ 81 w 147"/>
              <a:gd name="T25" fmla="*/ 81 h 225"/>
              <a:gd name="T26" fmla="*/ 90 w 147"/>
              <a:gd name="T27" fmla="*/ 72 h 225"/>
              <a:gd name="T28" fmla="*/ 94 w 147"/>
              <a:gd name="T29" fmla="*/ 56 h 225"/>
              <a:gd name="T30" fmla="*/ 97 w 147"/>
              <a:gd name="T31" fmla="*/ 44 h 225"/>
              <a:gd name="T32" fmla="*/ 103 w 147"/>
              <a:gd name="T33" fmla="*/ 37 h 225"/>
              <a:gd name="T34" fmla="*/ 112 w 147"/>
              <a:gd name="T35" fmla="*/ 31 h 225"/>
              <a:gd name="T36" fmla="*/ 112 w 147"/>
              <a:gd name="T37" fmla="*/ 22 h 225"/>
              <a:gd name="T38" fmla="*/ 106 w 147"/>
              <a:gd name="T39" fmla="*/ 15 h 225"/>
              <a:gd name="T40" fmla="*/ 103 w 147"/>
              <a:gd name="T41" fmla="*/ 0 h 225"/>
              <a:gd name="T42" fmla="*/ 119 w 147"/>
              <a:gd name="T43" fmla="*/ 15 h 225"/>
              <a:gd name="T44" fmla="*/ 125 w 147"/>
              <a:gd name="T45" fmla="*/ 25 h 225"/>
              <a:gd name="T46" fmla="*/ 122 w 147"/>
              <a:gd name="T47" fmla="*/ 34 h 225"/>
              <a:gd name="T48" fmla="*/ 122 w 147"/>
              <a:gd name="T49" fmla="*/ 44 h 225"/>
              <a:gd name="T50" fmla="*/ 128 w 147"/>
              <a:gd name="T51" fmla="*/ 53 h 225"/>
              <a:gd name="T52" fmla="*/ 134 w 147"/>
              <a:gd name="T53" fmla="*/ 62 h 225"/>
              <a:gd name="T54" fmla="*/ 128 w 147"/>
              <a:gd name="T55" fmla="*/ 62 h 225"/>
              <a:gd name="T56" fmla="*/ 119 w 147"/>
              <a:gd name="T57" fmla="*/ 62 h 225"/>
              <a:gd name="T58" fmla="*/ 109 w 147"/>
              <a:gd name="T59" fmla="*/ 62 h 225"/>
              <a:gd name="T60" fmla="*/ 106 w 147"/>
              <a:gd name="T61" fmla="*/ 65 h 225"/>
              <a:gd name="T62" fmla="*/ 109 w 147"/>
              <a:gd name="T63" fmla="*/ 75 h 225"/>
              <a:gd name="T64" fmla="*/ 119 w 147"/>
              <a:gd name="T65" fmla="*/ 84 h 225"/>
              <a:gd name="T66" fmla="*/ 134 w 147"/>
              <a:gd name="T67" fmla="*/ 100 h 225"/>
              <a:gd name="T68" fmla="*/ 134 w 147"/>
              <a:gd name="T69" fmla="*/ 112 h 225"/>
              <a:gd name="T70" fmla="*/ 125 w 147"/>
              <a:gd name="T71" fmla="*/ 125 h 225"/>
              <a:gd name="T72" fmla="*/ 115 w 147"/>
              <a:gd name="T73" fmla="*/ 137 h 225"/>
              <a:gd name="T74" fmla="*/ 115 w 147"/>
              <a:gd name="T75" fmla="*/ 150 h 225"/>
              <a:gd name="T76" fmla="*/ 119 w 147"/>
              <a:gd name="T77" fmla="*/ 162 h 225"/>
              <a:gd name="T78" fmla="*/ 125 w 147"/>
              <a:gd name="T79" fmla="*/ 175 h 225"/>
              <a:gd name="T80" fmla="*/ 134 w 147"/>
              <a:gd name="T81" fmla="*/ 191 h 225"/>
              <a:gd name="T82" fmla="*/ 147 w 147"/>
              <a:gd name="T83" fmla="*/ 203 h 225"/>
              <a:gd name="T84" fmla="*/ 147 w 147"/>
              <a:gd name="T85" fmla="*/ 213 h 225"/>
              <a:gd name="T86" fmla="*/ 147 w 147"/>
              <a:gd name="T87" fmla="*/ 216 h 225"/>
              <a:gd name="T88" fmla="*/ 144 w 147"/>
              <a:gd name="T89" fmla="*/ 225 h 225"/>
              <a:gd name="T90" fmla="*/ 140 w 147"/>
              <a:gd name="T91" fmla="*/ 225 h 225"/>
              <a:gd name="T92" fmla="*/ 137 w 147"/>
              <a:gd name="T93" fmla="*/ 225 h 225"/>
              <a:gd name="T94" fmla="*/ 128 w 147"/>
              <a:gd name="T95" fmla="*/ 222 h 225"/>
              <a:gd name="T96" fmla="*/ 125 w 147"/>
              <a:gd name="T97" fmla="*/ 222 h 225"/>
              <a:gd name="T98" fmla="*/ 119 w 147"/>
              <a:gd name="T99" fmla="*/ 222 h 225"/>
              <a:gd name="T100" fmla="*/ 115 w 147"/>
              <a:gd name="T101" fmla="*/ 222 h 225"/>
              <a:gd name="T102" fmla="*/ 84 w 147"/>
              <a:gd name="T103" fmla="*/ 219 h 225"/>
              <a:gd name="T104" fmla="*/ 78 w 147"/>
              <a:gd name="T105" fmla="*/ 219 h 225"/>
              <a:gd name="T106" fmla="*/ 72 w 147"/>
              <a:gd name="T107" fmla="*/ 219 h 225"/>
              <a:gd name="T108" fmla="*/ 62 w 147"/>
              <a:gd name="T109" fmla="*/ 216 h 225"/>
              <a:gd name="T110" fmla="*/ 53 w 147"/>
              <a:gd name="T111" fmla="*/ 219 h 225"/>
              <a:gd name="T112" fmla="*/ 50 w 147"/>
              <a:gd name="T113" fmla="*/ 219 h 225"/>
              <a:gd name="T114" fmla="*/ 25 w 147"/>
              <a:gd name="T115" fmla="*/ 219 h 225"/>
              <a:gd name="T116" fmla="*/ 22 w 147"/>
              <a:gd name="T117" fmla="*/ 213 h 225"/>
              <a:gd name="T118" fmla="*/ 19 w 147"/>
              <a:gd name="T119" fmla="*/ 194 h 225"/>
              <a:gd name="T120" fmla="*/ 19 w 147"/>
              <a:gd name="T121" fmla="*/ 181 h 225"/>
              <a:gd name="T122" fmla="*/ 6 w 147"/>
              <a:gd name="T123" fmla="*/ 181 h 225"/>
              <a:gd name="T124" fmla="*/ 0 w 147"/>
              <a:gd name="T125" fmla="*/ 169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7" h="225">
                <a:moveTo>
                  <a:pt x="0" y="169"/>
                </a:moveTo>
                <a:lnTo>
                  <a:pt x="0" y="166"/>
                </a:lnTo>
                <a:lnTo>
                  <a:pt x="3" y="159"/>
                </a:lnTo>
                <a:lnTo>
                  <a:pt x="6" y="156"/>
                </a:lnTo>
                <a:lnTo>
                  <a:pt x="6" y="150"/>
                </a:lnTo>
                <a:lnTo>
                  <a:pt x="6" y="147"/>
                </a:lnTo>
                <a:lnTo>
                  <a:pt x="6" y="147"/>
                </a:lnTo>
                <a:lnTo>
                  <a:pt x="6" y="144"/>
                </a:lnTo>
                <a:lnTo>
                  <a:pt x="9" y="141"/>
                </a:lnTo>
                <a:lnTo>
                  <a:pt x="15" y="137"/>
                </a:lnTo>
                <a:lnTo>
                  <a:pt x="15" y="134"/>
                </a:lnTo>
                <a:lnTo>
                  <a:pt x="22" y="131"/>
                </a:lnTo>
                <a:lnTo>
                  <a:pt x="22" y="128"/>
                </a:lnTo>
                <a:lnTo>
                  <a:pt x="22" y="125"/>
                </a:lnTo>
                <a:lnTo>
                  <a:pt x="28" y="125"/>
                </a:lnTo>
                <a:lnTo>
                  <a:pt x="28" y="122"/>
                </a:lnTo>
                <a:lnTo>
                  <a:pt x="28" y="122"/>
                </a:lnTo>
                <a:lnTo>
                  <a:pt x="34" y="125"/>
                </a:lnTo>
                <a:lnTo>
                  <a:pt x="37" y="125"/>
                </a:lnTo>
                <a:lnTo>
                  <a:pt x="40" y="128"/>
                </a:lnTo>
                <a:lnTo>
                  <a:pt x="44" y="131"/>
                </a:lnTo>
                <a:lnTo>
                  <a:pt x="47" y="134"/>
                </a:lnTo>
                <a:lnTo>
                  <a:pt x="47" y="134"/>
                </a:lnTo>
                <a:lnTo>
                  <a:pt x="53" y="131"/>
                </a:lnTo>
                <a:lnTo>
                  <a:pt x="56" y="128"/>
                </a:lnTo>
                <a:lnTo>
                  <a:pt x="56" y="125"/>
                </a:lnTo>
                <a:lnTo>
                  <a:pt x="56" y="122"/>
                </a:lnTo>
                <a:lnTo>
                  <a:pt x="59" y="122"/>
                </a:lnTo>
                <a:lnTo>
                  <a:pt x="62" y="119"/>
                </a:lnTo>
                <a:lnTo>
                  <a:pt x="62" y="116"/>
                </a:lnTo>
                <a:lnTo>
                  <a:pt x="62" y="112"/>
                </a:lnTo>
                <a:lnTo>
                  <a:pt x="69" y="106"/>
                </a:lnTo>
                <a:lnTo>
                  <a:pt x="69" y="103"/>
                </a:lnTo>
                <a:lnTo>
                  <a:pt x="69" y="100"/>
                </a:lnTo>
                <a:lnTo>
                  <a:pt x="72" y="97"/>
                </a:lnTo>
                <a:lnTo>
                  <a:pt x="75" y="91"/>
                </a:lnTo>
                <a:lnTo>
                  <a:pt x="81" y="87"/>
                </a:lnTo>
                <a:lnTo>
                  <a:pt x="81" y="84"/>
                </a:lnTo>
                <a:lnTo>
                  <a:pt x="81" y="81"/>
                </a:lnTo>
                <a:lnTo>
                  <a:pt x="81" y="75"/>
                </a:lnTo>
                <a:lnTo>
                  <a:pt x="84" y="72"/>
                </a:lnTo>
                <a:lnTo>
                  <a:pt x="90" y="72"/>
                </a:lnTo>
                <a:lnTo>
                  <a:pt x="94" y="65"/>
                </a:lnTo>
                <a:lnTo>
                  <a:pt x="94" y="62"/>
                </a:lnTo>
                <a:lnTo>
                  <a:pt x="94" y="56"/>
                </a:lnTo>
                <a:lnTo>
                  <a:pt x="94" y="53"/>
                </a:lnTo>
                <a:lnTo>
                  <a:pt x="94" y="50"/>
                </a:lnTo>
                <a:lnTo>
                  <a:pt x="97" y="44"/>
                </a:lnTo>
                <a:lnTo>
                  <a:pt x="100" y="40"/>
                </a:lnTo>
                <a:lnTo>
                  <a:pt x="100" y="40"/>
                </a:lnTo>
                <a:lnTo>
                  <a:pt x="103" y="37"/>
                </a:lnTo>
                <a:lnTo>
                  <a:pt x="106" y="37"/>
                </a:lnTo>
                <a:lnTo>
                  <a:pt x="109" y="34"/>
                </a:lnTo>
                <a:lnTo>
                  <a:pt x="112" y="31"/>
                </a:lnTo>
                <a:lnTo>
                  <a:pt x="115" y="31"/>
                </a:lnTo>
                <a:lnTo>
                  <a:pt x="112" y="25"/>
                </a:lnTo>
                <a:lnTo>
                  <a:pt x="112" y="22"/>
                </a:lnTo>
                <a:lnTo>
                  <a:pt x="112" y="19"/>
                </a:lnTo>
                <a:lnTo>
                  <a:pt x="109" y="19"/>
                </a:lnTo>
                <a:lnTo>
                  <a:pt x="106" y="15"/>
                </a:lnTo>
                <a:lnTo>
                  <a:pt x="106" y="9"/>
                </a:lnTo>
                <a:lnTo>
                  <a:pt x="106" y="6"/>
                </a:lnTo>
                <a:lnTo>
                  <a:pt x="103" y="0"/>
                </a:lnTo>
                <a:lnTo>
                  <a:pt x="112" y="6"/>
                </a:lnTo>
                <a:lnTo>
                  <a:pt x="119" y="9"/>
                </a:lnTo>
                <a:lnTo>
                  <a:pt x="119" y="15"/>
                </a:lnTo>
                <a:lnTo>
                  <a:pt x="122" y="19"/>
                </a:lnTo>
                <a:lnTo>
                  <a:pt x="122" y="22"/>
                </a:lnTo>
                <a:lnTo>
                  <a:pt x="125" y="25"/>
                </a:lnTo>
                <a:lnTo>
                  <a:pt x="125" y="28"/>
                </a:lnTo>
                <a:lnTo>
                  <a:pt x="122" y="31"/>
                </a:lnTo>
                <a:lnTo>
                  <a:pt x="122" y="34"/>
                </a:lnTo>
                <a:lnTo>
                  <a:pt x="125" y="34"/>
                </a:lnTo>
                <a:lnTo>
                  <a:pt x="125" y="40"/>
                </a:lnTo>
                <a:lnTo>
                  <a:pt x="122" y="44"/>
                </a:lnTo>
                <a:lnTo>
                  <a:pt x="122" y="47"/>
                </a:lnTo>
                <a:lnTo>
                  <a:pt x="125" y="53"/>
                </a:lnTo>
                <a:lnTo>
                  <a:pt x="128" y="53"/>
                </a:lnTo>
                <a:lnTo>
                  <a:pt x="128" y="56"/>
                </a:lnTo>
                <a:lnTo>
                  <a:pt x="134" y="62"/>
                </a:lnTo>
                <a:lnTo>
                  <a:pt x="134" y="62"/>
                </a:lnTo>
                <a:lnTo>
                  <a:pt x="134" y="62"/>
                </a:lnTo>
                <a:lnTo>
                  <a:pt x="131" y="62"/>
                </a:lnTo>
                <a:lnTo>
                  <a:pt x="128" y="62"/>
                </a:lnTo>
                <a:lnTo>
                  <a:pt x="125" y="62"/>
                </a:lnTo>
                <a:lnTo>
                  <a:pt x="122" y="62"/>
                </a:lnTo>
                <a:lnTo>
                  <a:pt x="119" y="62"/>
                </a:lnTo>
                <a:lnTo>
                  <a:pt x="115" y="62"/>
                </a:lnTo>
                <a:lnTo>
                  <a:pt x="112" y="62"/>
                </a:lnTo>
                <a:lnTo>
                  <a:pt x="109" y="62"/>
                </a:lnTo>
                <a:lnTo>
                  <a:pt x="106" y="62"/>
                </a:lnTo>
                <a:lnTo>
                  <a:pt x="106" y="65"/>
                </a:lnTo>
                <a:lnTo>
                  <a:pt x="106" y="65"/>
                </a:lnTo>
                <a:lnTo>
                  <a:pt x="106" y="72"/>
                </a:lnTo>
                <a:lnTo>
                  <a:pt x="106" y="72"/>
                </a:lnTo>
                <a:lnTo>
                  <a:pt x="109" y="75"/>
                </a:lnTo>
                <a:lnTo>
                  <a:pt x="109" y="75"/>
                </a:lnTo>
                <a:lnTo>
                  <a:pt x="112" y="78"/>
                </a:lnTo>
                <a:lnTo>
                  <a:pt x="119" y="84"/>
                </a:lnTo>
                <a:lnTo>
                  <a:pt x="128" y="91"/>
                </a:lnTo>
                <a:lnTo>
                  <a:pt x="131" y="94"/>
                </a:lnTo>
                <a:lnTo>
                  <a:pt x="134" y="100"/>
                </a:lnTo>
                <a:lnTo>
                  <a:pt x="137" y="103"/>
                </a:lnTo>
                <a:lnTo>
                  <a:pt x="137" y="109"/>
                </a:lnTo>
                <a:lnTo>
                  <a:pt x="134" y="112"/>
                </a:lnTo>
                <a:lnTo>
                  <a:pt x="131" y="116"/>
                </a:lnTo>
                <a:lnTo>
                  <a:pt x="128" y="119"/>
                </a:lnTo>
                <a:lnTo>
                  <a:pt x="125" y="125"/>
                </a:lnTo>
                <a:lnTo>
                  <a:pt x="122" y="131"/>
                </a:lnTo>
                <a:lnTo>
                  <a:pt x="119" y="134"/>
                </a:lnTo>
                <a:lnTo>
                  <a:pt x="115" y="137"/>
                </a:lnTo>
                <a:lnTo>
                  <a:pt x="115" y="141"/>
                </a:lnTo>
                <a:lnTo>
                  <a:pt x="115" y="144"/>
                </a:lnTo>
                <a:lnTo>
                  <a:pt x="115" y="150"/>
                </a:lnTo>
                <a:lnTo>
                  <a:pt x="115" y="153"/>
                </a:lnTo>
                <a:lnTo>
                  <a:pt x="119" y="159"/>
                </a:lnTo>
                <a:lnTo>
                  <a:pt x="119" y="162"/>
                </a:lnTo>
                <a:lnTo>
                  <a:pt x="119" y="172"/>
                </a:lnTo>
                <a:lnTo>
                  <a:pt x="119" y="172"/>
                </a:lnTo>
                <a:lnTo>
                  <a:pt x="125" y="175"/>
                </a:lnTo>
                <a:lnTo>
                  <a:pt x="128" y="178"/>
                </a:lnTo>
                <a:lnTo>
                  <a:pt x="131" y="184"/>
                </a:lnTo>
                <a:lnTo>
                  <a:pt x="134" y="191"/>
                </a:lnTo>
                <a:lnTo>
                  <a:pt x="137" y="197"/>
                </a:lnTo>
                <a:lnTo>
                  <a:pt x="140" y="197"/>
                </a:lnTo>
                <a:lnTo>
                  <a:pt x="147" y="203"/>
                </a:lnTo>
                <a:lnTo>
                  <a:pt x="147" y="206"/>
                </a:lnTo>
                <a:lnTo>
                  <a:pt x="147" y="209"/>
                </a:lnTo>
                <a:lnTo>
                  <a:pt x="147" y="213"/>
                </a:lnTo>
                <a:lnTo>
                  <a:pt x="147" y="213"/>
                </a:lnTo>
                <a:lnTo>
                  <a:pt x="147" y="213"/>
                </a:lnTo>
                <a:lnTo>
                  <a:pt x="147" y="216"/>
                </a:lnTo>
                <a:lnTo>
                  <a:pt x="144" y="219"/>
                </a:lnTo>
                <a:lnTo>
                  <a:pt x="144" y="219"/>
                </a:lnTo>
                <a:lnTo>
                  <a:pt x="144" y="225"/>
                </a:lnTo>
                <a:lnTo>
                  <a:pt x="144" y="225"/>
                </a:lnTo>
                <a:lnTo>
                  <a:pt x="144" y="225"/>
                </a:lnTo>
                <a:lnTo>
                  <a:pt x="140" y="225"/>
                </a:lnTo>
                <a:lnTo>
                  <a:pt x="140" y="225"/>
                </a:lnTo>
                <a:lnTo>
                  <a:pt x="137" y="225"/>
                </a:lnTo>
                <a:lnTo>
                  <a:pt x="137" y="225"/>
                </a:lnTo>
                <a:lnTo>
                  <a:pt x="134" y="225"/>
                </a:lnTo>
                <a:lnTo>
                  <a:pt x="131" y="225"/>
                </a:lnTo>
                <a:lnTo>
                  <a:pt x="128" y="222"/>
                </a:lnTo>
                <a:lnTo>
                  <a:pt x="128" y="222"/>
                </a:lnTo>
                <a:lnTo>
                  <a:pt x="125" y="222"/>
                </a:lnTo>
                <a:lnTo>
                  <a:pt x="125" y="222"/>
                </a:lnTo>
                <a:lnTo>
                  <a:pt x="122" y="222"/>
                </a:lnTo>
                <a:lnTo>
                  <a:pt x="122" y="222"/>
                </a:lnTo>
                <a:lnTo>
                  <a:pt x="119" y="222"/>
                </a:lnTo>
                <a:lnTo>
                  <a:pt x="115" y="219"/>
                </a:lnTo>
                <a:lnTo>
                  <a:pt x="115" y="219"/>
                </a:lnTo>
                <a:lnTo>
                  <a:pt x="115" y="222"/>
                </a:lnTo>
                <a:lnTo>
                  <a:pt x="112" y="219"/>
                </a:lnTo>
                <a:lnTo>
                  <a:pt x="87" y="219"/>
                </a:lnTo>
                <a:lnTo>
                  <a:pt x="84" y="219"/>
                </a:lnTo>
                <a:lnTo>
                  <a:pt x="84" y="219"/>
                </a:lnTo>
                <a:lnTo>
                  <a:pt x="84" y="219"/>
                </a:lnTo>
                <a:lnTo>
                  <a:pt x="78" y="219"/>
                </a:lnTo>
                <a:lnTo>
                  <a:pt x="78" y="216"/>
                </a:lnTo>
                <a:lnTo>
                  <a:pt x="75" y="216"/>
                </a:lnTo>
                <a:lnTo>
                  <a:pt x="72" y="219"/>
                </a:lnTo>
                <a:lnTo>
                  <a:pt x="69" y="216"/>
                </a:lnTo>
                <a:lnTo>
                  <a:pt x="62" y="216"/>
                </a:lnTo>
                <a:lnTo>
                  <a:pt x="62" y="216"/>
                </a:lnTo>
                <a:lnTo>
                  <a:pt x="56" y="216"/>
                </a:lnTo>
                <a:lnTo>
                  <a:pt x="56" y="219"/>
                </a:lnTo>
                <a:lnTo>
                  <a:pt x="53" y="219"/>
                </a:lnTo>
                <a:lnTo>
                  <a:pt x="50" y="219"/>
                </a:lnTo>
                <a:lnTo>
                  <a:pt x="50" y="219"/>
                </a:lnTo>
                <a:lnTo>
                  <a:pt x="50" y="219"/>
                </a:lnTo>
                <a:lnTo>
                  <a:pt x="28" y="219"/>
                </a:lnTo>
                <a:lnTo>
                  <a:pt x="25" y="219"/>
                </a:lnTo>
                <a:lnTo>
                  <a:pt x="25" y="219"/>
                </a:lnTo>
                <a:lnTo>
                  <a:pt x="22" y="219"/>
                </a:lnTo>
                <a:lnTo>
                  <a:pt x="25" y="216"/>
                </a:lnTo>
                <a:lnTo>
                  <a:pt x="22" y="213"/>
                </a:lnTo>
                <a:lnTo>
                  <a:pt x="25" y="206"/>
                </a:lnTo>
                <a:lnTo>
                  <a:pt x="22" y="200"/>
                </a:lnTo>
                <a:lnTo>
                  <a:pt x="19" y="194"/>
                </a:lnTo>
                <a:lnTo>
                  <a:pt x="19" y="187"/>
                </a:lnTo>
                <a:lnTo>
                  <a:pt x="22" y="184"/>
                </a:lnTo>
                <a:lnTo>
                  <a:pt x="19" y="181"/>
                </a:lnTo>
                <a:lnTo>
                  <a:pt x="12" y="184"/>
                </a:lnTo>
                <a:lnTo>
                  <a:pt x="9" y="181"/>
                </a:lnTo>
                <a:lnTo>
                  <a:pt x="6" y="181"/>
                </a:lnTo>
                <a:lnTo>
                  <a:pt x="6" y="169"/>
                </a:lnTo>
                <a:lnTo>
                  <a:pt x="3" y="172"/>
                </a:lnTo>
                <a:lnTo>
                  <a:pt x="0" y="169"/>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8" name="Freeform 136">
            <a:extLst>
              <a:ext uri="{FF2B5EF4-FFF2-40B4-BE49-F238E27FC236}">
                <a16:creationId xmlns:a16="http://schemas.microsoft.com/office/drawing/2014/main" id="{5750FE4B-144F-4393-8D4B-31B30F8722CB}"/>
              </a:ext>
            </a:extLst>
          </p:cNvPr>
          <p:cNvSpPr>
            <a:spLocks/>
          </p:cNvSpPr>
          <p:nvPr userDrawn="1"/>
        </p:nvSpPr>
        <p:spPr bwMode="auto">
          <a:xfrm>
            <a:off x="13705578" y="9238535"/>
            <a:ext cx="355577" cy="387350"/>
          </a:xfrm>
          <a:custGeom>
            <a:avLst/>
            <a:gdLst>
              <a:gd name="T0" fmla="*/ 50 w 112"/>
              <a:gd name="T1" fmla="*/ 3 h 122"/>
              <a:gd name="T2" fmla="*/ 56 w 112"/>
              <a:gd name="T3" fmla="*/ 3 h 122"/>
              <a:gd name="T4" fmla="*/ 62 w 112"/>
              <a:gd name="T5" fmla="*/ 0 h 122"/>
              <a:gd name="T6" fmla="*/ 69 w 112"/>
              <a:gd name="T7" fmla="*/ 0 h 122"/>
              <a:gd name="T8" fmla="*/ 75 w 112"/>
              <a:gd name="T9" fmla="*/ 0 h 122"/>
              <a:gd name="T10" fmla="*/ 78 w 112"/>
              <a:gd name="T11" fmla="*/ 3 h 122"/>
              <a:gd name="T12" fmla="*/ 84 w 112"/>
              <a:gd name="T13" fmla="*/ 3 h 122"/>
              <a:gd name="T14" fmla="*/ 87 w 112"/>
              <a:gd name="T15" fmla="*/ 3 h 122"/>
              <a:gd name="T16" fmla="*/ 84 w 112"/>
              <a:gd name="T17" fmla="*/ 6 h 122"/>
              <a:gd name="T18" fmla="*/ 87 w 112"/>
              <a:gd name="T19" fmla="*/ 15 h 122"/>
              <a:gd name="T20" fmla="*/ 87 w 112"/>
              <a:gd name="T21" fmla="*/ 22 h 122"/>
              <a:gd name="T22" fmla="*/ 90 w 112"/>
              <a:gd name="T23" fmla="*/ 22 h 122"/>
              <a:gd name="T24" fmla="*/ 100 w 112"/>
              <a:gd name="T25" fmla="*/ 22 h 122"/>
              <a:gd name="T26" fmla="*/ 109 w 112"/>
              <a:gd name="T27" fmla="*/ 18 h 122"/>
              <a:gd name="T28" fmla="*/ 112 w 112"/>
              <a:gd name="T29" fmla="*/ 25 h 122"/>
              <a:gd name="T30" fmla="*/ 112 w 112"/>
              <a:gd name="T31" fmla="*/ 31 h 122"/>
              <a:gd name="T32" fmla="*/ 109 w 112"/>
              <a:gd name="T33" fmla="*/ 34 h 122"/>
              <a:gd name="T34" fmla="*/ 103 w 112"/>
              <a:gd name="T35" fmla="*/ 40 h 122"/>
              <a:gd name="T36" fmla="*/ 106 w 112"/>
              <a:gd name="T37" fmla="*/ 43 h 122"/>
              <a:gd name="T38" fmla="*/ 103 w 112"/>
              <a:gd name="T39" fmla="*/ 47 h 122"/>
              <a:gd name="T40" fmla="*/ 100 w 112"/>
              <a:gd name="T41" fmla="*/ 47 h 122"/>
              <a:gd name="T42" fmla="*/ 103 w 112"/>
              <a:gd name="T43" fmla="*/ 50 h 122"/>
              <a:gd name="T44" fmla="*/ 106 w 112"/>
              <a:gd name="T45" fmla="*/ 53 h 122"/>
              <a:gd name="T46" fmla="*/ 109 w 112"/>
              <a:gd name="T47" fmla="*/ 59 h 122"/>
              <a:gd name="T48" fmla="*/ 112 w 112"/>
              <a:gd name="T49" fmla="*/ 65 h 122"/>
              <a:gd name="T50" fmla="*/ 106 w 112"/>
              <a:gd name="T51" fmla="*/ 87 h 122"/>
              <a:gd name="T52" fmla="*/ 106 w 112"/>
              <a:gd name="T53" fmla="*/ 93 h 122"/>
              <a:gd name="T54" fmla="*/ 103 w 112"/>
              <a:gd name="T55" fmla="*/ 90 h 122"/>
              <a:gd name="T56" fmla="*/ 94 w 112"/>
              <a:gd name="T57" fmla="*/ 90 h 122"/>
              <a:gd name="T58" fmla="*/ 90 w 112"/>
              <a:gd name="T59" fmla="*/ 90 h 122"/>
              <a:gd name="T60" fmla="*/ 81 w 112"/>
              <a:gd name="T61" fmla="*/ 90 h 122"/>
              <a:gd name="T62" fmla="*/ 75 w 112"/>
              <a:gd name="T63" fmla="*/ 81 h 122"/>
              <a:gd name="T64" fmla="*/ 75 w 112"/>
              <a:gd name="T65" fmla="*/ 87 h 122"/>
              <a:gd name="T66" fmla="*/ 65 w 112"/>
              <a:gd name="T67" fmla="*/ 90 h 122"/>
              <a:gd name="T68" fmla="*/ 62 w 112"/>
              <a:gd name="T69" fmla="*/ 93 h 122"/>
              <a:gd name="T70" fmla="*/ 56 w 112"/>
              <a:gd name="T71" fmla="*/ 93 h 122"/>
              <a:gd name="T72" fmla="*/ 50 w 112"/>
              <a:gd name="T73" fmla="*/ 97 h 122"/>
              <a:gd name="T74" fmla="*/ 53 w 112"/>
              <a:gd name="T75" fmla="*/ 103 h 122"/>
              <a:gd name="T76" fmla="*/ 59 w 112"/>
              <a:gd name="T77" fmla="*/ 100 h 122"/>
              <a:gd name="T78" fmla="*/ 62 w 112"/>
              <a:gd name="T79" fmla="*/ 103 h 122"/>
              <a:gd name="T80" fmla="*/ 62 w 112"/>
              <a:gd name="T81" fmla="*/ 119 h 122"/>
              <a:gd name="T82" fmla="*/ 56 w 112"/>
              <a:gd name="T83" fmla="*/ 112 h 122"/>
              <a:gd name="T84" fmla="*/ 53 w 112"/>
              <a:gd name="T85" fmla="*/ 115 h 122"/>
              <a:gd name="T86" fmla="*/ 50 w 112"/>
              <a:gd name="T87" fmla="*/ 119 h 122"/>
              <a:gd name="T88" fmla="*/ 47 w 112"/>
              <a:gd name="T89" fmla="*/ 122 h 122"/>
              <a:gd name="T90" fmla="*/ 40 w 112"/>
              <a:gd name="T91" fmla="*/ 119 h 122"/>
              <a:gd name="T92" fmla="*/ 31 w 112"/>
              <a:gd name="T93" fmla="*/ 109 h 122"/>
              <a:gd name="T94" fmla="*/ 19 w 112"/>
              <a:gd name="T95" fmla="*/ 97 h 122"/>
              <a:gd name="T96" fmla="*/ 15 w 112"/>
              <a:gd name="T97" fmla="*/ 90 h 122"/>
              <a:gd name="T98" fmla="*/ 9 w 112"/>
              <a:gd name="T99" fmla="*/ 84 h 122"/>
              <a:gd name="T100" fmla="*/ 6 w 112"/>
              <a:gd name="T101" fmla="*/ 75 h 122"/>
              <a:gd name="T102" fmla="*/ 3 w 112"/>
              <a:gd name="T103" fmla="*/ 68 h 122"/>
              <a:gd name="T104" fmla="*/ 0 w 112"/>
              <a:gd name="T105" fmla="*/ 59 h 122"/>
              <a:gd name="T106" fmla="*/ 9 w 112"/>
              <a:gd name="T107" fmla="*/ 56 h 122"/>
              <a:gd name="T108" fmla="*/ 9 w 112"/>
              <a:gd name="T109" fmla="*/ 40 h 122"/>
              <a:gd name="T110" fmla="*/ 22 w 112"/>
              <a:gd name="T111" fmla="*/ 40 h 122"/>
              <a:gd name="T112" fmla="*/ 12 w 112"/>
              <a:gd name="T113" fmla="*/ 34 h 122"/>
              <a:gd name="T114" fmla="*/ 15 w 112"/>
              <a:gd name="T115" fmla="*/ 28 h 122"/>
              <a:gd name="T116" fmla="*/ 19 w 112"/>
              <a:gd name="T117" fmla="*/ 25 h 122"/>
              <a:gd name="T118" fmla="*/ 25 w 112"/>
              <a:gd name="T119" fmla="*/ 28 h 122"/>
              <a:gd name="T120" fmla="*/ 50 w 112"/>
              <a:gd name="T121" fmla="*/ 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2" h="122">
                <a:moveTo>
                  <a:pt x="50" y="3"/>
                </a:moveTo>
                <a:lnTo>
                  <a:pt x="50" y="3"/>
                </a:lnTo>
                <a:lnTo>
                  <a:pt x="53" y="3"/>
                </a:lnTo>
                <a:lnTo>
                  <a:pt x="56" y="3"/>
                </a:lnTo>
                <a:lnTo>
                  <a:pt x="56" y="0"/>
                </a:lnTo>
                <a:lnTo>
                  <a:pt x="62" y="0"/>
                </a:lnTo>
                <a:lnTo>
                  <a:pt x="62" y="0"/>
                </a:lnTo>
                <a:lnTo>
                  <a:pt x="69" y="0"/>
                </a:lnTo>
                <a:lnTo>
                  <a:pt x="72" y="3"/>
                </a:lnTo>
                <a:lnTo>
                  <a:pt x="75" y="0"/>
                </a:lnTo>
                <a:lnTo>
                  <a:pt x="78" y="0"/>
                </a:lnTo>
                <a:lnTo>
                  <a:pt x="78" y="3"/>
                </a:lnTo>
                <a:lnTo>
                  <a:pt x="84" y="3"/>
                </a:lnTo>
                <a:lnTo>
                  <a:pt x="84" y="3"/>
                </a:lnTo>
                <a:lnTo>
                  <a:pt x="84" y="3"/>
                </a:lnTo>
                <a:lnTo>
                  <a:pt x="87" y="3"/>
                </a:lnTo>
                <a:lnTo>
                  <a:pt x="87" y="3"/>
                </a:lnTo>
                <a:lnTo>
                  <a:pt x="84" y="6"/>
                </a:lnTo>
                <a:lnTo>
                  <a:pt x="87" y="12"/>
                </a:lnTo>
                <a:lnTo>
                  <a:pt x="87" y="15"/>
                </a:lnTo>
                <a:lnTo>
                  <a:pt x="87" y="18"/>
                </a:lnTo>
                <a:lnTo>
                  <a:pt x="87" y="22"/>
                </a:lnTo>
                <a:lnTo>
                  <a:pt x="87" y="22"/>
                </a:lnTo>
                <a:lnTo>
                  <a:pt x="90" y="22"/>
                </a:lnTo>
                <a:lnTo>
                  <a:pt x="94" y="22"/>
                </a:lnTo>
                <a:lnTo>
                  <a:pt x="100" y="22"/>
                </a:lnTo>
                <a:lnTo>
                  <a:pt x="103" y="18"/>
                </a:lnTo>
                <a:lnTo>
                  <a:pt x="109" y="18"/>
                </a:lnTo>
                <a:lnTo>
                  <a:pt x="112" y="22"/>
                </a:lnTo>
                <a:lnTo>
                  <a:pt x="112" y="25"/>
                </a:lnTo>
                <a:lnTo>
                  <a:pt x="109" y="28"/>
                </a:lnTo>
                <a:lnTo>
                  <a:pt x="112" y="31"/>
                </a:lnTo>
                <a:lnTo>
                  <a:pt x="112" y="34"/>
                </a:lnTo>
                <a:lnTo>
                  <a:pt x="109" y="34"/>
                </a:lnTo>
                <a:lnTo>
                  <a:pt x="103" y="37"/>
                </a:lnTo>
                <a:lnTo>
                  <a:pt x="103" y="40"/>
                </a:lnTo>
                <a:lnTo>
                  <a:pt x="103" y="40"/>
                </a:lnTo>
                <a:lnTo>
                  <a:pt x="106" y="43"/>
                </a:lnTo>
                <a:lnTo>
                  <a:pt x="103" y="43"/>
                </a:lnTo>
                <a:lnTo>
                  <a:pt x="103" y="47"/>
                </a:lnTo>
                <a:lnTo>
                  <a:pt x="100" y="47"/>
                </a:lnTo>
                <a:lnTo>
                  <a:pt x="100" y="47"/>
                </a:lnTo>
                <a:lnTo>
                  <a:pt x="103" y="50"/>
                </a:lnTo>
                <a:lnTo>
                  <a:pt x="103" y="50"/>
                </a:lnTo>
                <a:lnTo>
                  <a:pt x="106" y="53"/>
                </a:lnTo>
                <a:lnTo>
                  <a:pt x="106" y="53"/>
                </a:lnTo>
                <a:lnTo>
                  <a:pt x="109" y="56"/>
                </a:lnTo>
                <a:lnTo>
                  <a:pt x="109" y="59"/>
                </a:lnTo>
                <a:lnTo>
                  <a:pt x="112" y="62"/>
                </a:lnTo>
                <a:lnTo>
                  <a:pt x="112" y="65"/>
                </a:lnTo>
                <a:lnTo>
                  <a:pt x="109" y="72"/>
                </a:lnTo>
                <a:lnTo>
                  <a:pt x="106" y="87"/>
                </a:lnTo>
                <a:lnTo>
                  <a:pt x="106" y="90"/>
                </a:lnTo>
                <a:lnTo>
                  <a:pt x="106" y="93"/>
                </a:lnTo>
                <a:lnTo>
                  <a:pt x="103" y="93"/>
                </a:lnTo>
                <a:lnTo>
                  <a:pt x="103" y="90"/>
                </a:lnTo>
                <a:lnTo>
                  <a:pt x="100" y="90"/>
                </a:lnTo>
                <a:lnTo>
                  <a:pt x="94" y="90"/>
                </a:lnTo>
                <a:lnTo>
                  <a:pt x="94" y="90"/>
                </a:lnTo>
                <a:lnTo>
                  <a:pt x="90" y="90"/>
                </a:lnTo>
                <a:lnTo>
                  <a:pt x="84" y="93"/>
                </a:lnTo>
                <a:lnTo>
                  <a:pt x="81" y="90"/>
                </a:lnTo>
                <a:lnTo>
                  <a:pt x="78" y="81"/>
                </a:lnTo>
                <a:lnTo>
                  <a:pt x="75" y="81"/>
                </a:lnTo>
                <a:lnTo>
                  <a:pt x="75" y="84"/>
                </a:lnTo>
                <a:lnTo>
                  <a:pt x="75" y="87"/>
                </a:lnTo>
                <a:lnTo>
                  <a:pt x="75" y="90"/>
                </a:lnTo>
                <a:lnTo>
                  <a:pt x="65" y="90"/>
                </a:lnTo>
                <a:lnTo>
                  <a:pt x="62" y="90"/>
                </a:lnTo>
                <a:lnTo>
                  <a:pt x="62" y="93"/>
                </a:lnTo>
                <a:lnTo>
                  <a:pt x="59" y="93"/>
                </a:lnTo>
                <a:lnTo>
                  <a:pt x="56" y="93"/>
                </a:lnTo>
                <a:lnTo>
                  <a:pt x="53" y="93"/>
                </a:lnTo>
                <a:lnTo>
                  <a:pt x="50" y="97"/>
                </a:lnTo>
                <a:lnTo>
                  <a:pt x="53" y="97"/>
                </a:lnTo>
                <a:lnTo>
                  <a:pt x="53" y="103"/>
                </a:lnTo>
                <a:lnTo>
                  <a:pt x="56" y="100"/>
                </a:lnTo>
                <a:lnTo>
                  <a:pt x="59" y="100"/>
                </a:lnTo>
                <a:lnTo>
                  <a:pt x="59" y="103"/>
                </a:lnTo>
                <a:lnTo>
                  <a:pt x="62" y="103"/>
                </a:lnTo>
                <a:lnTo>
                  <a:pt x="62" y="115"/>
                </a:lnTo>
                <a:lnTo>
                  <a:pt x="62" y="119"/>
                </a:lnTo>
                <a:lnTo>
                  <a:pt x="59" y="112"/>
                </a:lnTo>
                <a:lnTo>
                  <a:pt x="56" y="112"/>
                </a:lnTo>
                <a:lnTo>
                  <a:pt x="56" y="115"/>
                </a:lnTo>
                <a:lnTo>
                  <a:pt x="53" y="115"/>
                </a:lnTo>
                <a:lnTo>
                  <a:pt x="50" y="115"/>
                </a:lnTo>
                <a:lnTo>
                  <a:pt x="50" y="119"/>
                </a:lnTo>
                <a:lnTo>
                  <a:pt x="47" y="122"/>
                </a:lnTo>
                <a:lnTo>
                  <a:pt x="47" y="122"/>
                </a:lnTo>
                <a:lnTo>
                  <a:pt x="44" y="122"/>
                </a:lnTo>
                <a:lnTo>
                  <a:pt x="40" y="119"/>
                </a:lnTo>
                <a:lnTo>
                  <a:pt x="34" y="115"/>
                </a:lnTo>
                <a:lnTo>
                  <a:pt x="31" y="109"/>
                </a:lnTo>
                <a:lnTo>
                  <a:pt x="25" y="103"/>
                </a:lnTo>
                <a:lnTo>
                  <a:pt x="19" y="97"/>
                </a:lnTo>
                <a:lnTo>
                  <a:pt x="19" y="97"/>
                </a:lnTo>
                <a:lnTo>
                  <a:pt x="15" y="90"/>
                </a:lnTo>
                <a:lnTo>
                  <a:pt x="12" y="87"/>
                </a:lnTo>
                <a:lnTo>
                  <a:pt x="9" y="84"/>
                </a:lnTo>
                <a:lnTo>
                  <a:pt x="9" y="78"/>
                </a:lnTo>
                <a:lnTo>
                  <a:pt x="6" y="75"/>
                </a:lnTo>
                <a:lnTo>
                  <a:pt x="6" y="72"/>
                </a:lnTo>
                <a:lnTo>
                  <a:pt x="3" y="68"/>
                </a:lnTo>
                <a:lnTo>
                  <a:pt x="0" y="59"/>
                </a:lnTo>
                <a:lnTo>
                  <a:pt x="0" y="59"/>
                </a:lnTo>
                <a:lnTo>
                  <a:pt x="6" y="59"/>
                </a:lnTo>
                <a:lnTo>
                  <a:pt x="9" y="56"/>
                </a:lnTo>
                <a:lnTo>
                  <a:pt x="9" y="47"/>
                </a:lnTo>
                <a:lnTo>
                  <a:pt x="9" y="40"/>
                </a:lnTo>
                <a:lnTo>
                  <a:pt x="12" y="43"/>
                </a:lnTo>
                <a:lnTo>
                  <a:pt x="22" y="40"/>
                </a:lnTo>
                <a:lnTo>
                  <a:pt x="15" y="40"/>
                </a:lnTo>
                <a:lnTo>
                  <a:pt x="12" y="34"/>
                </a:lnTo>
                <a:lnTo>
                  <a:pt x="15" y="31"/>
                </a:lnTo>
                <a:lnTo>
                  <a:pt x="15" y="28"/>
                </a:lnTo>
                <a:lnTo>
                  <a:pt x="19" y="28"/>
                </a:lnTo>
                <a:lnTo>
                  <a:pt x="19" y="25"/>
                </a:lnTo>
                <a:lnTo>
                  <a:pt x="22" y="25"/>
                </a:lnTo>
                <a:lnTo>
                  <a:pt x="25" y="28"/>
                </a:lnTo>
                <a:lnTo>
                  <a:pt x="50" y="28"/>
                </a:lnTo>
                <a:lnTo>
                  <a:pt x="50" y="3"/>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9" name="Freeform 137">
            <a:extLst>
              <a:ext uri="{FF2B5EF4-FFF2-40B4-BE49-F238E27FC236}">
                <a16:creationId xmlns:a16="http://schemas.microsoft.com/office/drawing/2014/main" id="{23A3A45C-16CF-0185-40AF-0A7FB1AE0688}"/>
              </a:ext>
            </a:extLst>
          </p:cNvPr>
          <p:cNvSpPr>
            <a:spLocks/>
          </p:cNvSpPr>
          <p:nvPr userDrawn="1"/>
        </p:nvSpPr>
        <p:spPr bwMode="auto">
          <a:xfrm>
            <a:off x="13734152" y="9248056"/>
            <a:ext cx="130168" cy="79376"/>
          </a:xfrm>
          <a:custGeom>
            <a:avLst/>
            <a:gdLst>
              <a:gd name="T0" fmla="*/ 6 w 41"/>
              <a:gd name="T1" fmla="*/ 25 h 25"/>
              <a:gd name="T2" fmla="*/ 10 w 41"/>
              <a:gd name="T3" fmla="*/ 25 h 25"/>
              <a:gd name="T4" fmla="*/ 10 w 41"/>
              <a:gd name="T5" fmla="*/ 22 h 25"/>
              <a:gd name="T6" fmla="*/ 13 w 41"/>
              <a:gd name="T7" fmla="*/ 22 h 25"/>
              <a:gd name="T8" fmla="*/ 16 w 41"/>
              <a:gd name="T9" fmla="*/ 25 h 25"/>
              <a:gd name="T10" fmla="*/ 41 w 41"/>
              <a:gd name="T11" fmla="*/ 25 h 25"/>
              <a:gd name="T12" fmla="*/ 41 w 41"/>
              <a:gd name="T13" fmla="*/ 0 h 25"/>
              <a:gd name="T14" fmla="*/ 19 w 41"/>
              <a:gd name="T15" fmla="*/ 0 h 25"/>
              <a:gd name="T16" fmla="*/ 16 w 41"/>
              <a:gd name="T17" fmla="*/ 0 h 25"/>
              <a:gd name="T18" fmla="*/ 16 w 41"/>
              <a:gd name="T19" fmla="*/ 0 h 25"/>
              <a:gd name="T20" fmla="*/ 13 w 41"/>
              <a:gd name="T21" fmla="*/ 0 h 25"/>
              <a:gd name="T22" fmla="*/ 10 w 41"/>
              <a:gd name="T23" fmla="*/ 0 h 25"/>
              <a:gd name="T24" fmla="*/ 13 w 41"/>
              <a:gd name="T25" fmla="*/ 3 h 25"/>
              <a:gd name="T26" fmla="*/ 6 w 41"/>
              <a:gd name="T27" fmla="*/ 12 h 25"/>
              <a:gd name="T28" fmla="*/ 0 w 41"/>
              <a:gd name="T29" fmla="*/ 22 h 25"/>
              <a:gd name="T30" fmla="*/ 6 w 41"/>
              <a:gd name="T31" fmla="*/ 22 h 25"/>
              <a:gd name="T32" fmla="*/ 6 w 41"/>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 h="25">
                <a:moveTo>
                  <a:pt x="6" y="25"/>
                </a:moveTo>
                <a:lnTo>
                  <a:pt x="10" y="25"/>
                </a:lnTo>
                <a:lnTo>
                  <a:pt x="10" y="22"/>
                </a:lnTo>
                <a:lnTo>
                  <a:pt x="13" y="22"/>
                </a:lnTo>
                <a:lnTo>
                  <a:pt x="16" y="25"/>
                </a:lnTo>
                <a:lnTo>
                  <a:pt x="41" y="25"/>
                </a:lnTo>
                <a:lnTo>
                  <a:pt x="41" y="0"/>
                </a:lnTo>
                <a:lnTo>
                  <a:pt x="19" y="0"/>
                </a:lnTo>
                <a:lnTo>
                  <a:pt x="16" y="0"/>
                </a:lnTo>
                <a:lnTo>
                  <a:pt x="16" y="0"/>
                </a:lnTo>
                <a:lnTo>
                  <a:pt x="13" y="0"/>
                </a:lnTo>
                <a:lnTo>
                  <a:pt x="10" y="0"/>
                </a:lnTo>
                <a:lnTo>
                  <a:pt x="13" y="3"/>
                </a:lnTo>
                <a:lnTo>
                  <a:pt x="6" y="12"/>
                </a:lnTo>
                <a:lnTo>
                  <a:pt x="0" y="22"/>
                </a:lnTo>
                <a:lnTo>
                  <a:pt x="6" y="22"/>
                </a:lnTo>
                <a:lnTo>
                  <a:pt x="6" y="25"/>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0" name="Freeform 138">
            <a:extLst>
              <a:ext uri="{FF2B5EF4-FFF2-40B4-BE49-F238E27FC236}">
                <a16:creationId xmlns:a16="http://schemas.microsoft.com/office/drawing/2014/main" id="{3915A2D3-2717-6D12-CE57-80FED6575B36}"/>
              </a:ext>
            </a:extLst>
          </p:cNvPr>
          <p:cNvSpPr>
            <a:spLocks/>
          </p:cNvSpPr>
          <p:nvPr userDrawn="1"/>
        </p:nvSpPr>
        <p:spPr bwMode="auto">
          <a:xfrm>
            <a:off x="13854797" y="9136935"/>
            <a:ext cx="476219" cy="568326"/>
          </a:xfrm>
          <a:custGeom>
            <a:avLst/>
            <a:gdLst>
              <a:gd name="T0" fmla="*/ 3 w 150"/>
              <a:gd name="T1" fmla="*/ 147 h 179"/>
              <a:gd name="T2" fmla="*/ 9 w 150"/>
              <a:gd name="T3" fmla="*/ 144 h 179"/>
              <a:gd name="T4" fmla="*/ 15 w 150"/>
              <a:gd name="T5" fmla="*/ 147 h 179"/>
              <a:gd name="T6" fmla="*/ 12 w 150"/>
              <a:gd name="T7" fmla="*/ 132 h 179"/>
              <a:gd name="T8" fmla="*/ 6 w 150"/>
              <a:gd name="T9" fmla="*/ 129 h 179"/>
              <a:gd name="T10" fmla="*/ 9 w 150"/>
              <a:gd name="T11" fmla="*/ 125 h 179"/>
              <a:gd name="T12" fmla="*/ 15 w 150"/>
              <a:gd name="T13" fmla="*/ 122 h 179"/>
              <a:gd name="T14" fmla="*/ 28 w 150"/>
              <a:gd name="T15" fmla="*/ 119 h 179"/>
              <a:gd name="T16" fmla="*/ 31 w 150"/>
              <a:gd name="T17" fmla="*/ 113 h 179"/>
              <a:gd name="T18" fmla="*/ 43 w 150"/>
              <a:gd name="T19" fmla="*/ 122 h 179"/>
              <a:gd name="T20" fmla="*/ 53 w 150"/>
              <a:gd name="T21" fmla="*/ 122 h 179"/>
              <a:gd name="T22" fmla="*/ 59 w 150"/>
              <a:gd name="T23" fmla="*/ 125 h 179"/>
              <a:gd name="T24" fmla="*/ 62 w 150"/>
              <a:gd name="T25" fmla="*/ 104 h 179"/>
              <a:gd name="T26" fmla="*/ 62 w 150"/>
              <a:gd name="T27" fmla="*/ 91 h 179"/>
              <a:gd name="T28" fmla="*/ 59 w 150"/>
              <a:gd name="T29" fmla="*/ 85 h 179"/>
              <a:gd name="T30" fmla="*/ 53 w 150"/>
              <a:gd name="T31" fmla="*/ 79 h 179"/>
              <a:gd name="T32" fmla="*/ 56 w 150"/>
              <a:gd name="T33" fmla="*/ 75 h 179"/>
              <a:gd name="T34" fmla="*/ 56 w 150"/>
              <a:gd name="T35" fmla="*/ 72 h 179"/>
              <a:gd name="T36" fmla="*/ 65 w 150"/>
              <a:gd name="T37" fmla="*/ 66 h 179"/>
              <a:gd name="T38" fmla="*/ 65 w 150"/>
              <a:gd name="T39" fmla="*/ 57 h 179"/>
              <a:gd name="T40" fmla="*/ 56 w 150"/>
              <a:gd name="T41" fmla="*/ 50 h 179"/>
              <a:gd name="T42" fmla="*/ 43 w 150"/>
              <a:gd name="T43" fmla="*/ 54 h 179"/>
              <a:gd name="T44" fmla="*/ 40 w 150"/>
              <a:gd name="T45" fmla="*/ 50 h 179"/>
              <a:gd name="T46" fmla="*/ 37 w 150"/>
              <a:gd name="T47" fmla="*/ 38 h 179"/>
              <a:gd name="T48" fmla="*/ 68 w 150"/>
              <a:gd name="T49" fmla="*/ 38 h 179"/>
              <a:gd name="T50" fmla="*/ 72 w 150"/>
              <a:gd name="T51" fmla="*/ 38 h 179"/>
              <a:gd name="T52" fmla="*/ 78 w 150"/>
              <a:gd name="T53" fmla="*/ 38 h 179"/>
              <a:gd name="T54" fmla="*/ 81 w 150"/>
              <a:gd name="T55" fmla="*/ 38 h 179"/>
              <a:gd name="T56" fmla="*/ 90 w 150"/>
              <a:gd name="T57" fmla="*/ 41 h 179"/>
              <a:gd name="T58" fmla="*/ 93 w 150"/>
              <a:gd name="T59" fmla="*/ 41 h 179"/>
              <a:gd name="T60" fmla="*/ 97 w 150"/>
              <a:gd name="T61" fmla="*/ 41 h 179"/>
              <a:gd name="T62" fmla="*/ 100 w 150"/>
              <a:gd name="T63" fmla="*/ 32 h 179"/>
              <a:gd name="T64" fmla="*/ 115 w 150"/>
              <a:gd name="T65" fmla="*/ 10 h 179"/>
              <a:gd name="T66" fmla="*/ 128 w 150"/>
              <a:gd name="T67" fmla="*/ 3 h 179"/>
              <a:gd name="T68" fmla="*/ 137 w 150"/>
              <a:gd name="T69" fmla="*/ 0 h 179"/>
              <a:gd name="T70" fmla="*/ 143 w 150"/>
              <a:gd name="T71" fmla="*/ 3 h 179"/>
              <a:gd name="T72" fmla="*/ 147 w 150"/>
              <a:gd name="T73" fmla="*/ 3 h 179"/>
              <a:gd name="T74" fmla="*/ 147 w 150"/>
              <a:gd name="T75" fmla="*/ 19 h 179"/>
              <a:gd name="T76" fmla="*/ 137 w 150"/>
              <a:gd name="T77" fmla="*/ 41 h 179"/>
              <a:gd name="T78" fmla="*/ 134 w 150"/>
              <a:gd name="T79" fmla="*/ 50 h 179"/>
              <a:gd name="T80" fmla="*/ 134 w 150"/>
              <a:gd name="T81" fmla="*/ 66 h 179"/>
              <a:gd name="T82" fmla="*/ 131 w 150"/>
              <a:gd name="T83" fmla="*/ 75 h 179"/>
              <a:gd name="T84" fmla="*/ 122 w 150"/>
              <a:gd name="T85" fmla="*/ 97 h 179"/>
              <a:gd name="T86" fmla="*/ 112 w 150"/>
              <a:gd name="T87" fmla="*/ 100 h 179"/>
              <a:gd name="T88" fmla="*/ 106 w 150"/>
              <a:gd name="T89" fmla="*/ 113 h 179"/>
              <a:gd name="T90" fmla="*/ 97 w 150"/>
              <a:gd name="T91" fmla="*/ 129 h 179"/>
              <a:gd name="T92" fmla="*/ 97 w 150"/>
              <a:gd name="T93" fmla="*/ 147 h 179"/>
              <a:gd name="T94" fmla="*/ 90 w 150"/>
              <a:gd name="T95" fmla="*/ 157 h 179"/>
              <a:gd name="T96" fmla="*/ 78 w 150"/>
              <a:gd name="T97" fmla="*/ 169 h 179"/>
              <a:gd name="T98" fmla="*/ 65 w 150"/>
              <a:gd name="T99" fmla="*/ 172 h 179"/>
              <a:gd name="T100" fmla="*/ 65 w 150"/>
              <a:gd name="T101" fmla="*/ 163 h 179"/>
              <a:gd name="T102" fmla="*/ 56 w 150"/>
              <a:gd name="T103" fmla="*/ 166 h 179"/>
              <a:gd name="T104" fmla="*/ 50 w 150"/>
              <a:gd name="T105" fmla="*/ 172 h 179"/>
              <a:gd name="T106" fmla="*/ 43 w 150"/>
              <a:gd name="T107" fmla="*/ 172 h 179"/>
              <a:gd name="T108" fmla="*/ 37 w 150"/>
              <a:gd name="T109" fmla="*/ 172 h 179"/>
              <a:gd name="T110" fmla="*/ 34 w 150"/>
              <a:gd name="T111" fmla="*/ 166 h 179"/>
              <a:gd name="T112" fmla="*/ 28 w 150"/>
              <a:gd name="T113" fmla="*/ 166 h 179"/>
              <a:gd name="T114" fmla="*/ 22 w 150"/>
              <a:gd name="T115" fmla="*/ 172 h 179"/>
              <a:gd name="T116" fmla="*/ 15 w 150"/>
              <a:gd name="T117" fmla="*/ 179 h 179"/>
              <a:gd name="T118" fmla="*/ 12 w 150"/>
              <a:gd name="T119" fmla="*/ 169 h 179"/>
              <a:gd name="T120" fmla="*/ 3 w 150"/>
              <a:gd name="T121" fmla="*/ 16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179">
                <a:moveTo>
                  <a:pt x="0" y="154"/>
                </a:moveTo>
                <a:lnTo>
                  <a:pt x="3" y="151"/>
                </a:lnTo>
                <a:lnTo>
                  <a:pt x="3" y="147"/>
                </a:lnTo>
                <a:lnTo>
                  <a:pt x="6" y="147"/>
                </a:lnTo>
                <a:lnTo>
                  <a:pt x="9" y="147"/>
                </a:lnTo>
                <a:lnTo>
                  <a:pt x="9" y="144"/>
                </a:lnTo>
                <a:lnTo>
                  <a:pt x="12" y="144"/>
                </a:lnTo>
                <a:lnTo>
                  <a:pt x="15" y="151"/>
                </a:lnTo>
                <a:lnTo>
                  <a:pt x="15" y="147"/>
                </a:lnTo>
                <a:lnTo>
                  <a:pt x="15" y="135"/>
                </a:lnTo>
                <a:lnTo>
                  <a:pt x="12" y="135"/>
                </a:lnTo>
                <a:lnTo>
                  <a:pt x="12" y="132"/>
                </a:lnTo>
                <a:lnTo>
                  <a:pt x="9" y="132"/>
                </a:lnTo>
                <a:lnTo>
                  <a:pt x="6" y="135"/>
                </a:lnTo>
                <a:lnTo>
                  <a:pt x="6" y="129"/>
                </a:lnTo>
                <a:lnTo>
                  <a:pt x="3" y="129"/>
                </a:lnTo>
                <a:lnTo>
                  <a:pt x="6" y="125"/>
                </a:lnTo>
                <a:lnTo>
                  <a:pt x="9" y="125"/>
                </a:lnTo>
                <a:lnTo>
                  <a:pt x="12" y="125"/>
                </a:lnTo>
                <a:lnTo>
                  <a:pt x="15" y="125"/>
                </a:lnTo>
                <a:lnTo>
                  <a:pt x="15" y="122"/>
                </a:lnTo>
                <a:lnTo>
                  <a:pt x="18" y="122"/>
                </a:lnTo>
                <a:lnTo>
                  <a:pt x="28" y="122"/>
                </a:lnTo>
                <a:lnTo>
                  <a:pt x="28" y="119"/>
                </a:lnTo>
                <a:lnTo>
                  <a:pt x="28" y="116"/>
                </a:lnTo>
                <a:lnTo>
                  <a:pt x="28" y="113"/>
                </a:lnTo>
                <a:lnTo>
                  <a:pt x="31" y="113"/>
                </a:lnTo>
                <a:lnTo>
                  <a:pt x="34" y="122"/>
                </a:lnTo>
                <a:lnTo>
                  <a:pt x="37" y="125"/>
                </a:lnTo>
                <a:lnTo>
                  <a:pt x="43" y="122"/>
                </a:lnTo>
                <a:lnTo>
                  <a:pt x="47" y="122"/>
                </a:lnTo>
                <a:lnTo>
                  <a:pt x="47" y="122"/>
                </a:lnTo>
                <a:lnTo>
                  <a:pt x="53" y="122"/>
                </a:lnTo>
                <a:lnTo>
                  <a:pt x="56" y="122"/>
                </a:lnTo>
                <a:lnTo>
                  <a:pt x="56" y="125"/>
                </a:lnTo>
                <a:lnTo>
                  <a:pt x="59" y="125"/>
                </a:lnTo>
                <a:lnTo>
                  <a:pt x="59" y="122"/>
                </a:lnTo>
                <a:lnTo>
                  <a:pt x="59" y="119"/>
                </a:lnTo>
                <a:lnTo>
                  <a:pt x="62" y="104"/>
                </a:lnTo>
                <a:lnTo>
                  <a:pt x="65" y="97"/>
                </a:lnTo>
                <a:lnTo>
                  <a:pt x="65" y="94"/>
                </a:lnTo>
                <a:lnTo>
                  <a:pt x="62" y="91"/>
                </a:lnTo>
                <a:lnTo>
                  <a:pt x="62" y="88"/>
                </a:lnTo>
                <a:lnTo>
                  <a:pt x="59" y="85"/>
                </a:lnTo>
                <a:lnTo>
                  <a:pt x="59" y="85"/>
                </a:lnTo>
                <a:lnTo>
                  <a:pt x="56" y="82"/>
                </a:lnTo>
                <a:lnTo>
                  <a:pt x="56" y="82"/>
                </a:lnTo>
                <a:lnTo>
                  <a:pt x="53" y="79"/>
                </a:lnTo>
                <a:lnTo>
                  <a:pt x="53" y="79"/>
                </a:lnTo>
                <a:lnTo>
                  <a:pt x="56" y="79"/>
                </a:lnTo>
                <a:lnTo>
                  <a:pt x="56" y="75"/>
                </a:lnTo>
                <a:lnTo>
                  <a:pt x="59" y="75"/>
                </a:lnTo>
                <a:lnTo>
                  <a:pt x="56" y="72"/>
                </a:lnTo>
                <a:lnTo>
                  <a:pt x="56" y="72"/>
                </a:lnTo>
                <a:lnTo>
                  <a:pt x="56" y="69"/>
                </a:lnTo>
                <a:lnTo>
                  <a:pt x="62" y="66"/>
                </a:lnTo>
                <a:lnTo>
                  <a:pt x="65" y="66"/>
                </a:lnTo>
                <a:lnTo>
                  <a:pt x="65" y="63"/>
                </a:lnTo>
                <a:lnTo>
                  <a:pt x="62" y="60"/>
                </a:lnTo>
                <a:lnTo>
                  <a:pt x="65" y="57"/>
                </a:lnTo>
                <a:lnTo>
                  <a:pt x="65" y="54"/>
                </a:lnTo>
                <a:lnTo>
                  <a:pt x="62" y="50"/>
                </a:lnTo>
                <a:lnTo>
                  <a:pt x="56" y="50"/>
                </a:lnTo>
                <a:lnTo>
                  <a:pt x="53" y="54"/>
                </a:lnTo>
                <a:lnTo>
                  <a:pt x="47" y="54"/>
                </a:lnTo>
                <a:lnTo>
                  <a:pt x="43" y="54"/>
                </a:lnTo>
                <a:lnTo>
                  <a:pt x="40" y="54"/>
                </a:lnTo>
                <a:lnTo>
                  <a:pt x="40" y="54"/>
                </a:lnTo>
                <a:lnTo>
                  <a:pt x="40" y="50"/>
                </a:lnTo>
                <a:lnTo>
                  <a:pt x="40" y="47"/>
                </a:lnTo>
                <a:lnTo>
                  <a:pt x="40" y="44"/>
                </a:lnTo>
                <a:lnTo>
                  <a:pt x="37" y="38"/>
                </a:lnTo>
                <a:lnTo>
                  <a:pt x="40" y="35"/>
                </a:lnTo>
                <a:lnTo>
                  <a:pt x="65" y="35"/>
                </a:lnTo>
                <a:lnTo>
                  <a:pt x="68" y="38"/>
                </a:lnTo>
                <a:lnTo>
                  <a:pt x="68" y="35"/>
                </a:lnTo>
                <a:lnTo>
                  <a:pt x="68" y="35"/>
                </a:lnTo>
                <a:lnTo>
                  <a:pt x="72" y="38"/>
                </a:lnTo>
                <a:lnTo>
                  <a:pt x="75" y="38"/>
                </a:lnTo>
                <a:lnTo>
                  <a:pt x="75" y="38"/>
                </a:lnTo>
                <a:lnTo>
                  <a:pt x="78" y="38"/>
                </a:lnTo>
                <a:lnTo>
                  <a:pt x="78" y="38"/>
                </a:lnTo>
                <a:lnTo>
                  <a:pt x="81" y="38"/>
                </a:lnTo>
                <a:lnTo>
                  <a:pt x="81" y="38"/>
                </a:lnTo>
                <a:lnTo>
                  <a:pt x="84" y="41"/>
                </a:lnTo>
                <a:lnTo>
                  <a:pt x="87" y="41"/>
                </a:lnTo>
                <a:lnTo>
                  <a:pt x="90" y="41"/>
                </a:lnTo>
                <a:lnTo>
                  <a:pt x="90" y="41"/>
                </a:lnTo>
                <a:lnTo>
                  <a:pt x="93" y="41"/>
                </a:lnTo>
                <a:lnTo>
                  <a:pt x="93" y="41"/>
                </a:lnTo>
                <a:lnTo>
                  <a:pt x="97" y="41"/>
                </a:lnTo>
                <a:lnTo>
                  <a:pt x="97" y="41"/>
                </a:lnTo>
                <a:lnTo>
                  <a:pt x="97" y="41"/>
                </a:lnTo>
                <a:lnTo>
                  <a:pt x="97" y="35"/>
                </a:lnTo>
                <a:lnTo>
                  <a:pt x="97" y="35"/>
                </a:lnTo>
                <a:lnTo>
                  <a:pt x="100" y="32"/>
                </a:lnTo>
                <a:lnTo>
                  <a:pt x="100" y="29"/>
                </a:lnTo>
                <a:lnTo>
                  <a:pt x="109" y="13"/>
                </a:lnTo>
                <a:lnTo>
                  <a:pt x="115" y="10"/>
                </a:lnTo>
                <a:lnTo>
                  <a:pt x="118" y="7"/>
                </a:lnTo>
                <a:lnTo>
                  <a:pt x="118" y="7"/>
                </a:lnTo>
                <a:lnTo>
                  <a:pt x="128" y="3"/>
                </a:lnTo>
                <a:lnTo>
                  <a:pt x="131" y="3"/>
                </a:lnTo>
                <a:lnTo>
                  <a:pt x="134" y="0"/>
                </a:lnTo>
                <a:lnTo>
                  <a:pt x="137" y="0"/>
                </a:lnTo>
                <a:lnTo>
                  <a:pt x="140" y="0"/>
                </a:lnTo>
                <a:lnTo>
                  <a:pt x="140" y="3"/>
                </a:lnTo>
                <a:lnTo>
                  <a:pt x="143" y="3"/>
                </a:lnTo>
                <a:lnTo>
                  <a:pt x="147" y="3"/>
                </a:lnTo>
                <a:lnTo>
                  <a:pt x="150" y="3"/>
                </a:lnTo>
                <a:lnTo>
                  <a:pt x="147" y="3"/>
                </a:lnTo>
                <a:lnTo>
                  <a:pt x="150" y="10"/>
                </a:lnTo>
                <a:lnTo>
                  <a:pt x="150" y="16"/>
                </a:lnTo>
                <a:lnTo>
                  <a:pt x="147" y="19"/>
                </a:lnTo>
                <a:lnTo>
                  <a:pt x="147" y="22"/>
                </a:lnTo>
                <a:lnTo>
                  <a:pt x="137" y="32"/>
                </a:lnTo>
                <a:lnTo>
                  <a:pt x="137" y="41"/>
                </a:lnTo>
                <a:lnTo>
                  <a:pt x="137" y="44"/>
                </a:lnTo>
                <a:lnTo>
                  <a:pt x="137" y="47"/>
                </a:lnTo>
                <a:lnTo>
                  <a:pt x="134" y="50"/>
                </a:lnTo>
                <a:lnTo>
                  <a:pt x="134" y="57"/>
                </a:lnTo>
                <a:lnTo>
                  <a:pt x="134" y="60"/>
                </a:lnTo>
                <a:lnTo>
                  <a:pt x="134" y="66"/>
                </a:lnTo>
                <a:lnTo>
                  <a:pt x="134" y="66"/>
                </a:lnTo>
                <a:lnTo>
                  <a:pt x="134" y="72"/>
                </a:lnTo>
                <a:lnTo>
                  <a:pt x="131" y="75"/>
                </a:lnTo>
                <a:lnTo>
                  <a:pt x="128" y="82"/>
                </a:lnTo>
                <a:lnTo>
                  <a:pt x="128" y="88"/>
                </a:lnTo>
                <a:lnTo>
                  <a:pt x="122" y="97"/>
                </a:lnTo>
                <a:lnTo>
                  <a:pt x="118" y="97"/>
                </a:lnTo>
                <a:lnTo>
                  <a:pt x="115" y="100"/>
                </a:lnTo>
                <a:lnTo>
                  <a:pt x="112" y="100"/>
                </a:lnTo>
                <a:lnTo>
                  <a:pt x="109" y="104"/>
                </a:lnTo>
                <a:lnTo>
                  <a:pt x="106" y="107"/>
                </a:lnTo>
                <a:lnTo>
                  <a:pt x="106" y="113"/>
                </a:lnTo>
                <a:lnTo>
                  <a:pt x="100" y="119"/>
                </a:lnTo>
                <a:lnTo>
                  <a:pt x="97" y="122"/>
                </a:lnTo>
                <a:lnTo>
                  <a:pt x="97" y="129"/>
                </a:lnTo>
                <a:lnTo>
                  <a:pt x="100" y="129"/>
                </a:lnTo>
                <a:lnTo>
                  <a:pt x="97" y="141"/>
                </a:lnTo>
                <a:lnTo>
                  <a:pt x="97" y="147"/>
                </a:lnTo>
                <a:lnTo>
                  <a:pt x="97" y="151"/>
                </a:lnTo>
                <a:lnTo>
                  <a:pt x="93" y="154"/>
                </a:lnTo>
                <a:lnTo>
                  <a:pt x="90" y="157"/>
                </a:lnTo>
                <a:lnTo>
                  <a:pt x="87" y="157"/>
                </a:lnTo>
                <a:lnTo>
                  <a:pt x="84" y="160"/>
                </a:lnTo>
                <a:lnTo>
                  <a:pt x="78" y="169"/>
                </a:lnTo>
                <a:lnTo>
                  <a:pt x="75" y="172"/>
                </a:lnTo>
                <a:lnTo>
                  <a:pt x="68" y="176"/>
                </a:lnTo>
                <a:lnTo>
                  <a:pt x="65" y="172"/>
                </a:lnTo>
                <a:lnTo>
                  <a:pt x="65" y="169"/>
                </a:lnTo>
                <a:lnTo>
                  <a:pt x="62" y="169"/>
                </a:lnTo>
                <a:lnTo>
                  <a:pt x="65" y="163"/>
                </a:lnTo>
                <a:lnTo>
                  <a:pt x="65" y="163"/>
                </a:lnTo>
                <a:lnTo>
                  <a:pt x="59" y="163"/>
                </a:lnTo>
                <a:lnTo>
                  <a:pt x="56" y="166"/>
                </a:lnTo>
                <a:lnTo>
                  <a:pt x="53" y="166"/>
                </a:lnTo>
                <a:lnTo>
                  <a:pt x="50" y="166"/>
                </a:lnTo>
                <a:lnTo>
                  <a:pt x="50" y="172"/>
                </a:lnTo>
                <a:lnTo>
                  <a:pt x="47" y="172"/>
                </a:lnTo>
                <a:lnTo>
                  <a:pt x="43" y="172"/>
                </a:lnTo>
                <a:lnTo>
                  <a:pt x="43" y="172"/>
                </a:lnTo>
                <a:lnTo>
                  <a:pt x="43" y="169"/>
                </a:lnTo>
                <a:lnTo>
                  <a:pt x="40" y="172"/>
                </a:lnTo>
                <a:lnTo>
                  <a:pt x="37" y="172"/>
                </a:lnTo>
                <a:lnTo>
                  <a:pt x="37" y="172"/>
                </a:lnTo>
                <a:lnTo>
                  <a:pt x="37" y="169"/>
                </a:lnTo>
                <a:lnTo>
                  <a:pt x="34" y="166"/>
                </a:lnTo>
                <a:lnTo>
                  <a:pt x="34" y="163"/>
                </a:lnTo>
                <a:lnTo>
                  <a:pt x="31" y="163"/>
                </a:lnTo>
                <a:lnTo>
                  <a:pt x="28" y="166"/>
                </a:lnTo>
                <a:lnTo>
                  <a:pt x="25" y="166"/>
                </a:lnTo>
                <a:lnTo>
                  <a:pt x="25" y="169"/>
                </a:lnTo>
                <a:lnTo>
                  <a:pt x="22" y="172"/>
                </a:lnTo>
                <a:lnTo>
                  <a:pt x="18" y="172"/>
                </a:lnTo>
                <a:lnTo>
                  <a:pt x="18" y="176"/>
                </a:lnTo>
                <a:lnTo>
                  <a:pt x="15" y="179"/>
                </a:lnTo>
                <a:lnTo>
                  <a:pt x="12" y="176"/>
                </a:lnTo>
                <a:lnTo>
                  <a:pt x="15" y="172"/>
                </a:lnTo>
                <a:lnTo>
                  <a:pt x="12" y="169"/>
                </a:lnTo>
                <a:lnTo>
                  <a:pt x="9" y="166"/>
                </a:lnTo>
                <a:lnTo>
                  <a:pt x="6" y="160"/>
                </a:lnTo>
                <a:lnTo>
                  <a:pt x="3" y="160"/>
                </a:lnTo>
                <a:lnTo>
                  <a:pt x="0" y="154"/>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1" name="Freeform 139">
            <a:extLst>
              <a:ext uri="{FF2B5EF4-FFF2-40B4-BE49-F238E27FC236}">
                <a16:creationId xmlns:a16="http://schemas.microsoft.com/office/drawing/2014/main" id="{8BB3328A-4187-DC58-CF07-F1BA02A53C40}"/>
              </a:ext>
            </a:extLst>
          </p:cNvPr>
          <p:cNvSpPr>
            <a:spLocks/>
          </p:cNvSpPr>
          <p:nvPr userDrawn="1"/>
        </p:nvSpPr>
        <p:spPr bwMode="auto">
          <a:xfrm>
            <a:off x="13902418" y="9654461"/>
            <a:ext cx="69845" cy="98426"/>
          </a:xfrm>
          <a:custGeom>
            <a:avLst/>
            <a:gdLst>
              <a:gd name="T0" fmla="*/ 22 w 22"/>
              <a:gd name="T1" fmla="*/ 9 h 31"/>
              <a:gd name="T2" fmla="*/ 22 w 22"/>
              <a:gd name="T3" fmla="*/ 6 h 31"/>
              <a:gd name="T4" fmla="*/ 19 w 22"/>
              <a:gd name="T5" fmla="*/ 3 h 31"/>
              <a:gd name="T6" fmla="*/ 19 w 22"/>
              <a:gd name="T7" fmla="*/ 0 h 31"/>
              <a:gd name="T8" fmla="*/ 16 w 22"/>
              <a:gd name="T9" fmla="*/ 0 h 31"/>
              <a:gd name="T10" fmla="*/ 13 w 22"/>
              <a:gd name="T11" fmla="*/ 3 h 31"/>
              <a:gd name="T12" fmla="*/ 10 w 22"/>
              <a:gd name="T13" fmla="*/ 3 h 31"/>
              <a:gd name="T14" fmla="*/ 10 w 22"/>
              <a:gd name="T15" fmla="*/ 6 h 31"/>
              <a:gd name="T16" fmla="*/ 7 w 22"/>
              <a:gd name="T17" fmla="*/ 9 h 31"/>
              <a:gd name="T18" fmla="*/ 3 w 22"/>
              <a:gd name="T19" fmla="*/ 9 h 31"/>
              <a:gd name="T20" fmla="*/ 3 w 22"/>
              <a:gd name="T21" fmla="*/ 13 h 31"/>
              <a:gd name="T22" fmla="*/ 0 w 22"/>
              <a:gd name="T23" fmla="*/ 16 h 31"/>
              <a:gd name="T24" fmla="*/ 3 w 22"/>
              <a:gd name="T25" fmla="*/ 19 h 31"/>
              <a:gd name="T26" fmla="*/ 3 w 22"/>
              <a:gd name="T27" fmla="*/ 22 h 31"/>
              <a:gd name="T28" fmla="*/ 3 w 22"/>
              <a:gd name="T29" fmla="*/ 28 h 31"/>
              <a:gd name="T30" fmla="*/ 3 w 22"/>
              <a:gd name="T31" fmla="*/ 31 h 31"/>
              <a:gd name="T32" fmla="*/ 7 w 22"/>
              <a:gd name="T33" fmla="*/ 28 h 31"/>
              <a:gd name="T34" fmla="*/ 10 w 22"/>
              <a:gd name="T35" fmla="*/ 28 h 31"/>
              <a:gd name="T36" fmla="*/ 13 w 22"/>
              <a:gd name="T37" fmla="*/ 25 h 31"/>
              <a:gd name="T38" fmla="*/ 13 w 22"/>
              <a:gd name="T39" fmla="*/ 19 h 31"/>
              <a:gd name="T40" fmla="*/ 13 w 22"/>
              <a:gd name="T41" fmla="*/ 16 h 31"/>
              <a:gd name="T42" fmla="*/ 19 w 22"/>
              <a:gd name="T43" fmla="*/ 13 h 31"/>
              <a:gd name="T44" fmla="*/ 22 w 22"/>
              <a:gd name="T45"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31">
                <a:moveTo>
                  <a:pt x="22" y="9"/>
                </a:moveTo>
                <a:lnTo>
                  <a:pt x="22" y="6"/>
                </a:lnTo>
                <a:lnTo>
                  <a:pt x="19" y="3"/>
                </a:lnTo>
                <a:lnTo>
                  <a:pt x="19" y="0"/>
                </a:lnTo>
                <a:lnTo>
                  <a:pt x="16" y="0"/>
                </a:lnTo>
                <a:lnTo>
                  <a:pt x="13" y="3"/>
                </a:lnTo>
                <a:lnTo>
                  <a:pt x="10" y="3"/>
                </a:lnTo>
                <a:lnTo>
                  <a:pt x="10" y="6"/>
                </a:lnTo>
                <a:lnTo>
                  <a:pt x="7" y="9"/>
                </a:lnTo>
                <a:lnTo>
                  <a:pt x="3" y="9"/>
                </a:lnTo>
                <a:lnTo>
                  <a:pt x="3" y="13"/>
                </a:lnTo>
                <a:lnTo>
                  <a:pt x="0" y="16"/>
                </a:lnTo>
                <a:lnTo>
                  <a:pt x="3" y="19"/>
                </a:lnTo>
                <a:lnTo>
                  <a:pt x="3" y="22"/>
                </a:lnTo>
                <a:lnTo>
                  <a:pt x="3" y="28"/>
                </a:lnTo>
                <a:lnTo>
                  <a:pt x="3" y="31"/>
                </a:lnTo>
                <a:lnTo>
                  <a:pt x="7" y="28"/>
                </a:lnTo>
                <a:lnTo>
                  <a:pt x="10" y="28"/>
                </a:lnTo>
                <a:lnTo>
                  <a:pt x="13" y="25"/>
                </a:lnTo>
                <a:lnTo>
                  <a:pt x="13" y="19"/>
                </a:lnTo>
                <a:lnTo>
                  <a:pt x="13" y="16"/>
                </a:lnTo>
                <a:lnTo>
                  <a:pt x="19" y="13"/>
                </a:lnTo>
                <a:lnTo>
                  <a:pt x="22" y="9"/>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2" name="Freeform 140">
            <a:extLst>
              <a:ext uri="{FF2B5EF4-FFF2-40B4-BE49-F238E27FC236}">
                <a16:creationId xmlns:a16="http://schemas.microsoft.com/office/drawing/2014/main" id="{47AB13FF-1E1F-1922-4F4B-A1271DBE5B98}"/>
              </a:ext>
            </a:extLst>
          </p:cNvPr>
          <p:cNvSpPr>
            <a:spLocks/>
          </p:cNvSpPr>
          <p:nvPr userDrawn="1"/>
        </p:nvSpPr>
        <p:spPr bwMode="auto">
          <a:xfrm>
            <a:off x="14985028" y="9435382"/>
            <a:ext cx="704804" cy="714376"/>
          </a:xfrm>
          <a:custGeom>
            <a:avLst/>
            <a:gdLst>
              <a:gd name="T0" fmla="*/ 28 w 222"/>
              <a:gd name="T1" fmla="*/ 3 h 225"/>
              <a:gd name="T2" fmla="*/ 94 w 222"/>
              <a:gd name="T3" fmla="*/ 0 h 225"/>
              <a:gd name="T4" fmla="*/ 169 w 222"/>
              <a:gd name="T5" fmla="*/ 50 h 225"/>
              <a:gd name="T6" fmla="*/ 197 w 222"/>
              <a:gd name="T7" fmla="*/ 72 h 225"/>
              <a:gd name="T8" fmla="*/ 197 w 222"/>
              <a:gd name="T9" fmla="*/ 78 h 225"/>
              <a:gd name="T10" fmla="*/ 188 w 222"/>
              <a:gd name="T11" fmla="*/ 100 h 225"/>
              <a:gd name="T12" fmla="*/ 197 w 222"/>
              <a:gd name="T13" fmla="*/ 116 h 225"/>
              <a:gd name="T14" fmla="*/ 203 w 222"/>
              <a:gd name="T15" fmla="*/ 122 h 225"/>
              <a:gd name="T16" fmla="*/ 197 w 222"/>
              <a:gd name="T17" fmla="*/ 128 h 225"/>
              <a:gd name="T18" fmla="*/ 200 w 222"/>
              <a:gd name="T19" fmla="*/ 144 h 225"/>
              <a:gd name="T20" fmla="*/ 200 w 222"/>
              <a:gd name="T21" fmla="*/ 157 h 225"/>
              <a:gd name="T22" fmla="*/ 200 w 222"/>
              <a:gd name="T23" fmla="*/ 163 h 225"/>
              <a:gd name="T24" fmla="*/ 203 w 222"/>
              <a:gd name="T25" fmla="*/ 169 h 225"/>
              <a:gd name="T26" fmla="*/ 213 w 222"/>
              <a:gd name="T27" fmla="*/ 185 h 225"/>
              <a:gd name="T28" fmla="*/ 222 w 222"/>
              <a:gd name="T29" fmla="*/ 191 h 225"/>
              <a:gd name="T30" fmla="*/ 219 w 222"/>
              <a:gd name="T31" fmla="*/ 194 h 225"/>
              <a:gd name="T32" fmla="*/ 209 w 222"/>
              <a:gd name="T33" fmla="*/ 197 h 225"/>
              <a:gd name="T34" fmla="*/ 200 w 222"/>
              <a:gd name="T35" fmla="*/ 204 h 225"/>
              <a:gd name="T36" fmla="*/ 191 w 222"/>
              <a:gd name="T37" fmla="*/ 204 h 225"/>
              <a:gd name="T38" fmla="*/ 178 w 222"/>
              <a:gd name="T39" fmla="*/ 210 h 225"/>
              <a:gd name="T40" fmla="*/ 169 w 222"/>
              <a:gd name="T41" fmla="*/ 207 h 225"/>
              <a:gd name="T42" fmla="*/ 169 w 222"/>
              <a:gd name="T43" fmla="*/ 213 h 225"/>
              <a:gd name="T44" fmla="*/ 156 w 222"/>
              <a:gd name="T45" fmla="*/ 213 h 225"/>
              <a:gd name="T46" fmla="*/ 150 w 222"/>
              <a:gd name="T47" fmla="*/ 210 h 225"/>
              <a:gd name="T48" fmla="*/ 144 w 222"/>
              <a:gd name="T49" fmla="*/ 216 h 225"/>
              <a:gd name="T50" fmla="*/ 134 w 222"/>
              <a:gd name="T51" fmla="*/ 213 h 225"/>
              <a:gd name="T52" fmla="*/ 128 w 222"/>
              <a:gd name="T53" fmla="*/ 210 h 225"/>
              <a:gd name="T54" fmla="*/ 125 w 222"/>
              <a:gd name="T55" fmla="*/ 210 h 225"/>
              <a:gd name="T56" fmla="*/ 100 w 222"/>
              <a:gd name="T57" fmla="*/ 225 h 225"/>
              <a:gd name="T58" fmla="*/ 91 w 222"/>
              <a:gd name="T59" fmla="*/ 179 h 225"/>
              <a:gd name="T60" fmla="*/ 87 w 222"/>
              <a:gd name="T61" fmla="*/ 172 h 225"/>
              <a:gd name="T62" fmla="*/ 81 w 222"/>
              <a:gd name="T63" fmla="*/ 172 h 225"/>
              <a:gd name="T64" fmla="*/ 78 w 222"/>
              <a:gd name="T65" fmla="*/ 172 h 225"/>
              <a:gd name="T66" fmla="*/ 72 w 222"/>
              <a:gd name="T67" fmla="*/ 169 h 225"/>
              <a:gd name="T68" fmla="*/ 69 w 222"/>
              <a:gd name="T69" fmla="*/ 166 h 225"/>
              <a:gd name="T70" fmla="*/ 62 w 222"/>
              <a:gd name="T71" fmla="*/ 160 h 225"/>
              <a:gd name="T72" fmla="*/ 47 w 222"/>
              <a:gd name="T73" fmla="*/ 157 h 225"/>
              <a:gd name="T74" fmla="*/ 41 w 222"/>
              <a:gd name="T75" fmla="*/ 150 h 225"/>
              <a:gd name="T76" fmla="*/ 34 w 222"/>
              <a:gd name="T77" fmla="*/ 150 h 225"/>
              <a:gd name="T78" fmla="*/ 9 w 222"/>
              <a:gd name="T79" fmla="*/ 113 h 225"/>
              <a:gd name="T80" fmla="*/ 12 w 222"/>
              <a:gd name="T81" fmla="*/ 72 h 225"/>
              <a:gd name="T82" fmla="*/ 25 w 222"/>
              <a:gd name="T83" fmla="*/ 60 h 225"/>
              <a:gd name="T84" fmla="*/ 34 w 222"/>
              <a:gd name="T85" fmla="*/ 53 h 225"/>
              <a:gd name="T86" fmla="*/ 31 w 222"/>
              <a:gd name="T87" fmla="*/ 44 h 225"/>
              <a:gd name="T88" fmla="*/ 28 w 222"/>
              <a:gd name="T89" fmla="*/ 38 h 225"/>
              <a:gd name="T90" fmla="*/ 28 w 222"/>
              <a:gd name="T91" fmla="*/ 35 h 225"/>
              <a:gd name="T92" fmla="*/ 34 w 222"/>
              <a:gd name="T93" fmla="*/ 31 h 225"/>
              <a:gd name="T94" fmla="*/ 34 w 222"/>
              <a:gd name="T95" fmla="*/ 22 h 225"/>
              <a:gd name="T96" fmla="*/ 31 w 222"/>
              <a:gd name="T97" fmla="*/ 1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2" h="225">
                <a:moveTo>
                  <a:pt x="25" y="6"/>
                </a:moveTo>
                <a:lnTo>
                  <a:pt x="28" y="3"/>
                </a:lnTo>
                <a:lnTo>
                  <a:pt x="28" y="3"/>
                </a:lnTo>
                <a:lnTo>
                  <a:pt x="31" y="3"/>
                </a:lnTo>
                <a:lnTo>
                  <a:pt x="53" y="3"/>
                </a:lnTo>
                <a:lnTo>
                  <a:pt x="94" y="0"/>
                </a:lnTo>
                <a:lnTo>
                  <a:pt x="166" y="44"/>
                </a:lnTo>
                <a:lnTo>
                  <a:pt x="172" y="50"/>
                </a:lnTo>
                <a:lnTo>
                  <a:pt x="169" y="50"/>
                </a:lnTo>
                <a:lnTo>
                  <a:pt x="172" y="53"/>
                </a:lnTo>
                <a:lnTo>
                  <a:pt x="172" y="57"/>
                </a:lnTo>
                <a:lnTo>
                  <a:pt x="197" y="72"/>
                </a:lnTo>
                <a:lnTo>
                  <a:pt x="197" y="72"/>
                </a:lnTo>
                <a:lnTo>
                  <a:pt x="197" y="75"/>
                </a:lnTo>
                <a:lnTo>
                  <a:pt x="197" y="78"/>
                </a:lnTo>
                <a:lnTo>
                  <a:pt x="197" y="78"/>
                </a:lnTo>
                <a:lnTo>
                  <a:pt x="191" y="91"/>
                </a:lnTo>
                <a:lnTo>
                  <a:pt x="188" y="100"/>
                </a:lnTo>
                <a:lnTo>
                  <a:pt x="188" y="103"/>
                </a:lnTo>
                <a:lnTo>
                  <a:pt x="194" y="110"/>
                </a:lnTo>
                <a:lnTo>
                  <a:pt x="197" y="116"/>
                </a:lnTo>
                <a:lnTo>
                  <a:pt x="200" y="113"/>
                </a:lnTo>
                <a:lnTo>
                  <a:pt x="203" y="122"/>
                </a:lnTo>
                <a:lnTo>
                  <a:pt x="203" y="122"/>
                </a:lnTo>
                <a:lnTo>
                  <a:pt x="200" y="122"/>
                </a:lnTo>
                <a:lnTo>
                  <a:pt x="197" y="125"/>
                </a:lnTo>
                <a:lnTo>
                  <a:pt x="197" y="128"/>
                </a:lnTo>
                <a:lnTo>
                  <a:pt x="197" y="138"/>
                </a:lnTo>
                <a:lnTo>
                  <a:pt x="200" y="141"/>
                </a:lnTo>
                <a:lnTo>
                  <a:pt x="200" y="144"/>
                </a:lnTo>
                <a:lnTo>
                  <a:pt x="197" y="147"/>
                </a:lnTo>
                <a:lnTo>
                  <a:pt x="197" y="150"/>
                </a:lnTo>
                <a:lnTo>
                  <a:pt x="200" y="157"/>
                </a:lnTo>
                <a:lnTo>
                  <a:pt x="200" y="157"/>
                </a:lnTo>
                <a:lnTo>
                  <a:pt x="200" y="160"/>
                </a:lnTo>
                <a:lnTo>
                  <a:pt x="200" y="163"/>
                </a:lnTo>
                <a:lnTo>
                  <a:pt x="203" y="163"/>
                </a:lnTo>
                <a:lnTo>
                  <a:pt x="200" y="169"/>
                </a:lnTo>
                <a:lnTo>
                  <a:pt x="203" y="169"/>
                </a:lnTo>
                <a:lnTo>
                  <a:pt x="206" y="175"/>
                </a:lnTo>
                <a:lnTo>
                  <a:pt x="203" y="179"/>
                </a:lnTo>
                <a:lnTo>
                  <a:pt x="213" y="185"/>
                </a:lnTo>
                <a:lnTo>
                  <a:pt x="216" y="185"/>
                </a:lnTo>
                <a:lnTo>
                  <a:pt x="222" y="191"/>
                </a:lnTo>
                <a:lnTo>
                  <a:pt x="222" y="191"/>
                </a:lnTo>
                <a:lnTo>
                  <a:pt x="222" y="191"/>
                </a:lnTo>
                <a:lnTo>
                  <a:pt x="222" y="191"/>
                </a:lnTo>
                <a:lnTo>
                  <a:pt x="219" y="194"/>
                </a:lnTo>
                <a:lnTo>
                  <a:pt x="216" y="194"/>
                </a:lnTo>
                <a:lnTo>
                  <a:pt x="213" y="197"/>
                </a:lnTo>
                <a:lnTo>
                  <a:pt x="209" y="197"/>
                </a:lnTo>
                <a:lnTo>
                  <a:pt x="206" y="200"/>
                </a:lnTo>
                <a:lnTo>
                  <a:pt x="203" y="204"/>
                </a:lnTo>
                <a:lnTo>
                  <a:pt x="200" y="204"/>
                </a:lnTo>
                <a:lnTo>
                  <a:pt x="197" y="204"/>
                </a:lnTo>
                <a:lnTo>
                  <a:pt x="194" y="207"/>
                </a:lnTo>
                <a:lnTo>
                  <a:pt x="191" y="204"/>
                </a:lnTo>
                <a:lnTo>
                  <a:pt x="184" y="207"/>
                </a:lnTo>
                <a:lnTo>
                  <a:pt x="181" y="207"/>
                </a:lnTo>
                <a:lnTo>
                  <a:pt x="178" y="210"/>
                </a:lnTo>
                <a:lnTo>
                  <a:pt x="175" y="207"/>
                </a:lnTo>
                <a:lnTo>
                  <a:pt x="172" y="207"/>
                </a:lnTo>
                <a:lnTo>
                  <a:pt x="169" y="207"/>
                </a:lnTo>
                <a:lnTo>
                  <a:pt x="169" y="207"/>
                </a:lnTo>
                <a:lnTo>
                  <a:pt x="169" y="210"/>
                </a:lnTo>
                <a:lnTo>
                  <a:pt x="169" y="213"/>
                </a:lnTo>
                <a:lnTo>
                  <a:pt x="163" y="213"/>
                </a:lnTo>
                <a:lnTo>
                  <a:pt x="159" y="213"/>
                </a:lnTo>
                <a:lnTo>
                  <a:pt x="156" y="213"/>
                </a:lnTo>
                <a:lnTo>
                  <a:pt x="153" y="213"/>
                </a:lnTo>
                <a:lnTo>
                  <a:pt x="153" y="213"/>
                </a:lnTo>
                <a:lnTo>
                  <a:pt x="150" y="210"/>
                </a:lnTo>
                <a:lnTo>
                  <a:pt x="150" y="213"/>
                </a:lnTo>
                <a:lnTo>
                  <a:pt x="147" y="213"/>
                </a:lnTo>
                <a:lnTo>
                  <a:pt x="144" y="216"/>
                </a:lnTo>
                <a:lnTo>
                  <a:pt x="138" y="216"/>
                </a:lnTo>
                <a:lnTo>
                  <a:pt x="138" y="216"/>
                </a:lnTo>
                <a:lnTo>
                  <a:pt x="134" y="213"/>
                </a:lnTo>
                <a:lnTo>
                  <a:pt x="134" y="213"/>
                </a:lnTo>
                <a:lnTo>
                  <a:pt x="131" y="210"/>
                </a:lnTo>
                <a:lnTo>
                  <a:pt x="128" y="210"/>
                </a:lnTo>
                <a:lnTo>
                  <a:pt x="128" y="210"/>
                </a:lnTo>
                <a:lnTo>
                  <a:pt x="125" y="210"/>
                </a:lnTo>
                <a:lnTo>
                  <a:pt x="125" y="210"/>
                </a:lnTo>
                <a:lnTo>
                  <a:pt x="122" y="213"/>
                </a:lnTo>
                <a:lnTo>
                  <a:pt x="103" y="213"/>
                </a:lnTo>
                <a:lnTo>
                  <a:pt x="100" y="225"/>
                </a:lnTo>
                <a:lnTo>
                  <a:pt x="100" y="194"/>
                </a:lnTo>
                <a:lnTo>
                  <a:pt x="97" y="185"/>
                </a:lnTo>
                <a:lnTo>
                  <a:pt x="91" y="179"/>
                </a:lnTo>
                <a:lnTo>
                  <a:pt x="91" y="175"/>
                </a:lnTo>
                <a:lnTo>
                  <a:pt x="87" y="175"/>
                </a:lnTo>
                <a:lnTo>
                  <a:pt x="87" y="172"/>
                </a:lnTo>
                <a:lnTo>
                  <a:pt x="84" y="172"/>
                </a:lnTo>
                <a:lnTo>
                  <a:pt x="84" y="172"/>
                </a:lnTo>
                <a:lnTo>
                  <a:pt x="81" y="172"/>
                </a:lnTo>
                <a:lnTo>
                  <a:pt x="81" y="172"/>
                </a:lnTo>
                <a:lnTo>
                  <a:pt x="78" y="172"/>
                </a:lnTo>
                <a:lnTo>
                  <a:pt x="78" y="172"/>
                </a:lnTo>
                <a:lnTo>
                  <a:pt x="75" y="169"/>
                </a:lnTo>
                <a:lnTo>
                  <a:pt x="75" y="169"/>
                </a:lnTo>
                <a:lnTo>
                  <a:pt x="72" y="169"/>
                </a:lnTo>
                <a:lnTo>
                  <a:pt x="72" y="169"/>
                </a:lnTo>
                <a:lnTo>
                  <a:pt x="72" y="169"/>
                </a:lnTo>
                <a:lnTo>
                  <a:pt x="69" y="166"/>
                </a:lnTo>
                <a:lnTo>
                  <a:pt x="66" y="163"/>
                </a:lnTo>
                <a:lnTo>
                  <a:pt x="62" y="163"/>
                </a:lnTo>
                <a:lnTo>
                  <a:pt x="62" y="160"/>
                </a:lnTo>
                <a:lnTo>
                  <a:pt x="59" y="160"/>
                </a:lnTo>
                <a:lnTo>
                  <a:pt x="50" y="157"/>
                </a:lnTo>
                <a:lnTo>
                  <a:pt x="47" y="157"/>
                </a:lnTo>
                <a:lnTo>
                  <a:pt x="44" y="153"/>
                </a:lnTo>
                <a:lnTo>
                  <a:pt x="44" y="153"/>
                </a:lnTo>
                <a:lnTo>
                  <a:pt x="41" y="150"/>
                </a:lnTo>
                <a:lnTo>
                  <a:pt x="41" y="150"/>
                </a:lnTo>
                <a:lnTo>
                  <a:pt x="37" y="150"/>
                </a:lnTo>
                <a:lnTo>
                  <a:pt x="34" y="150"/>
                </a:lnTo>
                <a:lnTo>
                  <a:pt x="28" y="147"/>
                </a:lnTo>
                <a:lnTo>
                  <a:pt x="22" y="132"/>
                </a:lnTo>
                <a:lnTo>
                  <a:pt x="9" y="113"/>
                </a:lnTo>
                <a:lnTo>
                  <a:pt x="3" y="88"/>
                </a:lnTo>
                <a:lnTo>
                  <a:pt x="0" y="72"/>
                </a:lnTo>
                <a:lnTo>
                  <a:pt x="12" y="72"/>
                </a:lnTo>
                <a:lnTo>
                  <a:pt x="19" y="69"/>
                </a:lnTo>
                <a:lnTo>
                  <a:pt x="22" y="66"/>
                </a:lnTo>
                <a:lnTo>
                  <a:pt x="25" y="60"/>
                </a:lnTo>
                <a:lnTo>
                  <a:pt x="28" y="57"/>
                </a:lnTo>
                <a:lnTo>
                  <a:pt x="31" y="57"/>
                </a:lnTo>
                <a:lnTo>
                  <a:pt x="34" y="53"/>
                </a:lnTo>
                <a:lnTo>
                  <a:pt x="34" y="50"/>
                </a:lnTo>
                <a:lnTo>
                  <a:pt x="34" y="44"/>
                </a:lnTo>
                <a:lnTo>
                  <a:pt x="31" y="44"/>
                </a:lnTo>
                <a:lnTo>
                  <a:pt x="31" y="41"/>
                </a:lnTo>
                <a:lnTo>
                  <a:pt x="28" y="38"/>
                </a:lnTo>
                <a:lnTo>
                  <a:pt x="28" y="38"/>
                </a:lnTo>
                <a:lnTo>
                  <a:pt x="28" y="35"/>
                </a:lnTo>
                <a:lnTo>
                  <a:pt x="28" y="31"/>
                </a:lnTo>
                <a:lnTo>
                  <a:pt x="28" y="35"/>
                </a:lnTo>
                <a:lnTo>
                  <a:pt x="28" y="35"/>
                </a:lnTo>
                <a:lnTo>
                  <a:pt x="31" y="31"/>
                </a:lnTo>
                <a:lnTo>
                  <a:pt x="34" y="31"/>
                </a:lnTo>
                <a:lnTo>
                  <a:pt x="34" y="28"/>
                </a:lnTo>
                <a:lnTo>
                  <a:pt x="34" y="25"/>
                </a:lnTo>
                <a:lnTo>
                  <a:pt x="34" y="22"/>
                </a:lnTo>
                <a:lnTo>
                  <a:pt x="34" y="16"/>
                </a:lnTo>
                <a:lnTo>
                  <a:pt x="31" y="13"/>
                </a:lnTo>
                <a:lnTo>
                  <a:pt x="31" y="13"/>
                </a:lnTo>
                <a:lnTo>
                  <a:pt x="28" y="10"/>
                </a:lnTo>
                <a:lnTo>
                  <a:pt x="25" y="6"/>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3" name="Freeform 141">
            <a:extLst>
              <a:ext uri="{FF2B5EF4-FFF2-40B4-BE49-F238E27FC236}">
                <a16:creationId xmlns:a16="http://schemas.microsoft.com/office/drawing/2014/main" id="{F67283CD-3229-B831-58CE-9BD44605C78C}"/>
              </a:ext>
            </a:extLst>
          </p:cNvPr>
          <p:cNvSpPr>
            <a:spLocks/>
          </p:cNvSpPr>
          <p:nvPr userDrawn="1"/>
        </p:nvSpPr>
        <p:spPr bwMode="auto">
          <a:xfrm>
            <a:off x="14975496" y="9454432"/>
            <a:ext cx="117470" cy="101600"/>
          </a:xfrm>
          <a:custGeom>
            <a:avLst/>
            <a:gdLst>
              <a:gd name="T0" fmla="*/ 9 w 37"/>
              <a:gd name="T1" fmla="*/ 4 h 32"/>
              <a:gd name="T2" fmla="*/ 9 w 37"/>
              <a:gd name="T3" fmla="*/ 4 h 32"/>
              <a:gd name="T4" fmla="*/ 12 w 37"/>
              <a:gd name="T5" fmla="*/ 4 h 32"/>
              <a:gd name="T6" fmla="*/ 19 w 37"/>
              <a:gd name="T7" fmla="*/ 0 h 32"/>
              <a:gd name="T8" fmla="*/ 19 w 37"/>
              <a:gd name="T9" fmla="*/ 4 h 32"/>
              <a:gd name="T10" fmla="*/ 22 w 37"/>
              <a:gd name="T11" fmla="*/ 4 h 32"/>
              <a:gd name="T12" fmla="*/ 25 w 37"/>
              <a:gd name="T13" fmla="*/ 4 h 32"/>
              <a:gd name="T14" fmla="*/ 25 w 37"/>
              <a:gd name="T15" fmla="*/ 4 h 32"/>
              <a:gd name="T16" fmla="*/ 25 w 37"/>
              <a:gd name="T17" fmla="*/ 0 h 32"/>
              <a:gd name="T18" fmla="*/ 28 w 37"/>
              <a:gd name="T19" fmla="*/ 0 h 32"/>
              <a:gd name="T20" fmla="*/ 31 w 37"/>
              <a:gd name="T21" fmla="*/ 4 h 32"/>
              <a:gd name="T22" fmla="*/ 34 w 37"/>
              <a:gd name="T23" fmla="*/ 7 h 32"/>
              <a:gd name="T24" fmla="*/ 34 w 37"/>
              <a:gd name="T25" fmla="*/ 7 h 32"/>
              <a:gd name="T26" fmla="*/ 37 w 37"/>
              <a:gd name="T27" fmla="*/ 10 h 32"/>
              <a:gd name="T28" fmla="*/ 37 w 37"/>
              <a:gd name="T29" fmla="*/ 16 h 32"/>
              <a:gd name="T30" fmla="*/ 37 w 37"/>
              <a:gd name="T31" fmla="*/ 19 h 32"/>
              <a:gd name="T32" fmla="*/ 37 w 37"/>
              <a:gd name="T33" fmla="*/ 22 h 32"/>
              <a:gd name="T34" fmla="*/ 37 w 37"/>
              <a:gd name="T35" fmla="*/ 25 h 32"/>
              <a:gd name="T36" fmla="*/ 34 w 37"/>
              <a:gd name="T37" fmla="*/ 25 h 32"/>
              <a:gd name="T38" fmla="*/ 31 w 37"/>
              <a:gd name="T39" fmla="*/ 29 h 32"/>
              <a:gd name="T40" fmla="*/ 31 w 37"/>
              <a:gd name="T41" fmla="*/ 29 h 32"/>
              <a:gd name="T42" fmla="*/ 31 w 37"/>
              <a:gd name="T43" fmla="*/ 25 h 32"/>
              <a:gd name="T44" fmla="*/ 31 w 37"/>
              <a:gd name="T45" fmla="*/ 25 h 32"/>
              <a:gd name="T46" fmla="*/ 28 w 37"/>
              <a:gd name="T47" fmla="*/ 25 h 32"/>
              <a:gd name="T48" fmla="*/ 28 w 37"/>
              <a:gd name="T49" fmla="*/ 22 h 32"/>
              <a:gd name="T50" fmla="*/ 25 w 37"/>
              <a:gd name="T51" fmla="*/ 22 h 32"/>
              <a:gd name="T52" fmla="*/ 22 w 37"/>
              <a:gd name="T53" fmla="*/ 19 h 32"/>
              <a:gd name="T54" fmla="*/ 22 w 37"/>
              <a:gd name="T55" fmla="*/ 19 h 32"/>
              <a:gd name="T56" fmla="*/ 22 w 37"/>
              <a:gd name="T57" fmla="*/ 22 h 32"/>
              <a:gd name="T58" fmla="*/ 19 w 37"/>
              <a:gd name="T59" fmla="*/ 29 h 32"/>
              <a:gd name="T60" fmla="*/ 19 w 37"/>
              <a:gd name="T61" fmla="*/ 32 h 32"/>
              <a:gd name="T62" fmla="*/ 15 w 37"/>
              <a:gd name="T63" fmla="*/ 32 h 32"/>
              <a:gd name="T64" fmla="*/ 12 w 37"/>
              <a:gd name="T65" fmla="*/ 32 h 32"/>
              <a:gd name="T66" fmla="*/ 12 w 37"/>
              <a:gd name="T67" fmla="*/ 32 h 32"/>
              <a:gd name="T68" fmla="*/ 9 w 37"/>
              <a:gd name="T69" fmla="*/ 32 h 32"/>
              <a:gd name="T70" fmla="*/ 6 w 37"/>
              <a:gd name="T71" fmla="*/ 32 h 32"/>
              <a:gd name="T72" fmla="*/ 6 w 37"/>
              <a:gd name="T73" fmla="*/ 29 h 32"/>
              <a:gd name="T74" fmla="*/ 3 w 37"/>
              <a:gd name="T75" fmla="*/ 25 h 32"/>
              <a:gd name="T76" fmla="*/ 0 w 37"/>
              <a:gd name="T77" fmla="*/ 25 h 32"/>
              <a:gd name="T78" fmla="*/ 0 w 37"/>
              <a:gd name="T79" fmla="*/ 29 h 32"/>
              <a:gd name="T80" fmla="*/ 0 w 37"/>
              <a:gd name="T81" fmla="*/ 25 h 32"/>
              <a:gd name="T82" fmla="*/ 3 w 37"/>
              <a:gd name="T83" fmla="*/ 13 h 32"/>
              <a:gd name="T84" fmla="*/ 6 w 37"/>
              <a:gd name="T85" fmla="*/ 7 h 32"/>
              <a:gd name="T86" fmla="*/ 9 w 37"/>
              <a:gd name="T87"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 h="32">
                <a:moveTo>
                  <a:pt x="9" y="4"/>
                </a:moveTo>
                <a:lnTo>
                  <a:pt x="9" y="4"/>
                </a:lnTo>
                <a:lnTo>
                  <a:pt x="12" y="4"/>
                </a:lnTo>
                <a:lnTo>
                  <a:pt x="19" y="0"/>
                </a:lnTo>
                <a:lnTo>
                  <a:pt x="19" y="4"/>
                </a:lnTo>
                <a:lnTo>
                  <a:pt x="22" y="4"/>
                </a:lnTo>
                <a:lnTo>
                  <a:pt x="25" y="4"/>
                </a:lnTo>
                <a:lnTo>
                  <a:pt x="25" y="4"/>
                </a:lnTo>
                <a:lnTo>
                  <a:pt x="25" y="0"/>
                </a:lnTo>
                <a:lnTo>
                  <a:pt x="28" y="0"/>
                </a:lnTo>
                <a:lnTo>
                  <a:pt x="31" y="4"/>
                </a:lnTo>
                <a:lnTo>
                  <a:pt x="34" y="7"/>
                </a:lnTo>
                <a:lnTo>
                  <a:pt x="34" y="7"/>
                </a:lnTo>
                <a:lnTo>
                  <a:pt x="37" y="10"/>
                </a:lnTo>
                <a:lnTo>
                  <a:pt x="37" y="16"/>
                </a:lnTo>
                <a:lnTo>
                  <a:pt x="37" y="19"/>
                </a:lnTo>
                <a:lnTo>
                  <a:pt x="37" y="22"/>
                </a:lnTo>
                <a:lnTo>
                  <a:pt x="37" y="25"/>
                </a:lnTo>
                <a:lnTo>
                  <a:pt x="34" y="25"/>
                </a:lnTo>
                <a:lnTo>
                  <a:pt x="31" y="29"/>
                </a:lnTo>
                <a:lnTo>
                  <a:pt x="31" y="29"/>
                </a:lnTo>
                <a:lnTo>
                  <a:pt x="31" y="25"/>
                </a:lnTo>
                <a:lnTo>
                  <a:pt x="31" y="25"/>
                </a:lnTo>
                <a:lnTo>
                  <a:pt x="28" y="25"/>
                </a:lnTo>
                <a:lnTo>
                  <a:pt x="28" y="22"/>
                </a:lnTo>
                <a:lnTo>
                  <a:pt x="25" y="22"/>
                </a:lnTo>
                <a:lnTo>
                  <a:pt x="22" y="19"/>
                </a:lnTo>
                <a:lnTo>
                  <a:pt x="22" y="19"/>
                </a:lnTo>
                <a:lnTo>
                  <a:pt x="22" y="22"/>
                </a:lnTo>
                <a:lnTo>
                  <a:pt x="19" y="29"/>
                </a:lnTo>
                <a:lnTo>
                  <a:pt x="19" y="32"/>
                </a:lnTo>
                <a:lnTo>
                  <a:pt x="15" y="32"/>
                </a:lnTo>
                <a:lnTo>
                  <a:pt x="12" y="32"/>
                </a:lnTo>
                <a:lnTo>
                  <a:pt x="12" y="32"/>
                </a:lnTo>
                <a:lnTo>
                  <a:pt x="9" y="32"/>
                </a:lnTo>
                <a:lnTo>
                  <a:pt x="6" y="32"/>
                </a:lnTo>
                <a:lnTo>
                  <a:pt x="6" y="29"/>
                </a:lnTo>
                <a:lnTo>
                  <a:pt x="3" y="25"/>
                </a:lnTo>
                <a:lnTo>
                  <a:pt x="0" y="25"/>
                </a:lnTo>
                <a:lnTo>
                  <a:pt x="0" y="29"/>
                </a:lnTo>
                <a:lnTo>
                  <a:pt x="0" y="25"/>
                </a:lnTo>
                <a:lnTo>
                  <a:pt x="3" y="13"/>
                </a:lnTo>
                <a:lnTo>
                  <a:pt x="6" y="7"/>
                </a:lnTo>
                <a:lnTo>
                  <a:pt x="9" y="4"/>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4" name="Freeform 142">
            <a:extLst>
              <a:ext uri="{FF2B5EF4-FFF2-40B4-BE49-F238E27FC236}">
                <a16:creationId xmlns:a16="http://schemas.microsoft.com/office/drawing/2014/main" id="{921E20B6-3CA3-FDF9-2AF9-ED2E1DF49237}"/>
              </a:ext>
            </a:extLst>
          </p:cNvPr>
          <p:cNvSpPr>
            <a:spLocks/>
          </p:cNvSpPr>
          <p:nvPr userDrawn="1"/>
        </p:nvSpPr>
        <p:spPr bwMode="auto">
          <a:xfrm>
            <a:off x="14965974" y="9514761"/>
            <a:ext cx="126992" cy="149226"/>
          </a:xfrm>
          <a:custGeom>
            <a:avLst/>
            <a:gdLst>
              <a:gd name="T0" fmla="*/ 6 w 40"/>
              <a:gd name="T1" fmla="*/ 47 h 47"/>
              <a:gd name="T2" fmla="*/ 18 w 40"/>
              <a:gd name="T3" fmla="*/ 47 h 47"/>
              <a:gd name="T4" fmla="*/ 25 w 40"/>
              <a:gd name="T5" fmla="*/ 44 h 47"/>
              <a:gd name="T6" fmla="*/ 28 w 40"/>
              <a:gd name="T7" fmla="*/ 41 h 47"/>
              <a:gd name="T8" fmla="*/ 31 w 40"/>
              <a:gd name="T9" fmla="*/ 35 h 47"/>
              <a:gd name="T10" fmla="*/ 34 w 40"/>
              <a:gd name="T11" fmla="*/ 32 h 47"/>
              <a:gd name="T12" fmla="*/ 37 w 40"/>
              <a:gd name="T13" fmla="*/ 32 h 47"/>
              <a:gd name="T14" fmla="*/ 40 w 40"/>
              <a:gd name="T15" fmla="*/ 28 h 47"/>
              <a:gd name="T16" fmla="*/ 40 w 40"/>
              <a:gd name="T17" fmla="*/ 25 h 47"/>
              <a:gd name="T18" fmla="*/ 40 w 40"/>
              <a:gd name="T19" fmla="*/ 19 h 47"/>
              <a:gd name="T20" fmla="*/ 37 w 40"/>
              <a:gd name="T21" fmla="*/ 19 h 47"/>
              <a:gd name="T22" fmla="*/ 37 w 40"/>
              <a:gd name="T23" fmla="*/ 16 h 47"/>
              <a:gd name="T24" fmla="*/ 34 w 40"/>
              <a:gd name="T25" fmla="*/ 13 h 47"/>
              <a:gd name="T26" fmla="*/ 34 w 40"/>
              <a:gd name="T27" fmla="*/ 13 h 47"/>
              <a:gd name="T28" fmla="*/ 34 w 40"/>
              <a:gd name="T29" fmla="*/ 10 h 47"/>
              <a:gd name="T30" fmla="*/ 34 w 40"/>
              <a:gd name="T31" fmla="*/ 6 h 47"/>
              <a:gd name="T32" fmla="*/ 31 w 40"/>
              <a:gd name="T33" fmla="*/ 6 h 47"/>
              <a:gd name="T34" fmla="*/ 31 w 40"/>
              <a:gd name="T35" fmla="*/ 3 h 47"/>
              <a:gd name="T36" fmla="*/ 28 w 40"/>
              <a:gd name="T37" fmla="*/ 3 h 47"/>
              <a:gd name="T38" fmla="*/ 25 w 40"/>
              <a:gd name="T39" fmla="*/ 0 h 47"/>
              <a:gd name="T40" fmla="*/ 25 w 40"/>
              <a:gd name="T41" fmla="*/ 0 h 47"/>
              <a:gd name="T42" fmla="*/ 25 w 40"/>
              <a:gd name="T43" fmla="*/ 3 h 47"/>
              <a:gd name="T44" fmla="*/ 22 w 40"/>
              <a:gd name="T45" fmla="*/ 10 h 47"/>
              <a:gd name="T46" fmla="*/ 22 w 40"/>
              <a:gd name="T47" fmla="*/ 13 h 47"/>
              <a:gd name="T48" fmla="*/ 18 w 40"/>
              <a:gd name="T49" fmla="*/ 13 h 47"/>
              <a:gd name="T50" fmla="*/ 15 w 40"/>
              <a:gd name="T51" fmla="*/ 13 h 47"/>
              <a:gd name="T52" fmla="*/ 15 w 40"/>
              <a:gd name="T53" fmla="*/ 13 h 47"/>
              <a:gd name="T54" fmla="*/ 12 w 40"/>
              <a:gd name="T55" fmla="*/ 13 h 47"/>
              <a:gd name="T56" fmla="*/ 9 w 40"/>
              <a:gd name="T57" fmla="*/ 13 h 47"/>
              <a:gd name="T58" fmla="*/ 9 w 40"/>
              <a:gd name="T59" fmla="*/ 10 h 47"/>
              <a:gd name="T60" fmla="*/ 6 w 40"/>
              <a:gd name="T61" fmla="*/ 6 h 47"/>
              <a:gd name="T62" fmla="*/ 3 w 40"/>
              <a:gd name="T63" fmla="*/ 6 h 47"/>
              <a:gd name="T64" fmla="*/ 3 w 40"/>
              <a:gd name="T65" fmla="*/ 10 h 47"/>
              <a:gd name="T66" fmla="*/ 0 w 40"/>
              <a:gd name="T67" fmla="*/ 10 h 47"/>
              <a:gd name="T68" fmla="*/ 3 w 40"/>
              <a:gd name="T69" fmla="*/ 16 h 47"/>
              <a:gd name="T70" fmla="*/ 3 w 40"/>
              <a:gd name="T71" fmla="*/ 19 h 47"/>
              <a:gd name="T72" fmla="*/ 3 w 40"/>
              <a:gd name="T73" fmla="*/ 25 h 47"/>
              <a:gd name="T74" fmla="*/ 6 w 40"/>
              <a:gd name="T75"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7">
                <a:moveTo>
                  <a:pt x="6" y="47"/>
                </a:moveTo>
                <a:lnTo>
                  <a:pt x="18" y="47"/>
                </a:lnTo>
                <a:lnTo>
                  <a:pt x="25" y="44"/>
                </a:lnTo>
                <a:lnTo>
                  <a:pt x="28" y="41"/>
                </a:lnTo>
                <a:lnTo>
                  <a:pt x="31" y="35"/>
                </a:lnTo>
                <a:lnTo>
                  <a:pt x="34" y="32"/>
                </a:lnTo>
                <a:lnTo>
                  <a:pt x="37" y="32"/>
                </a:lnTo>
                <a:lnTo>
                  <a:pt x="40" y="28"/>
                </a:lnTo>
                <a:lnTo>
                  <a:pt x="40" y="25"/>
                </a:lnTo>
                <a:lnTo>
                  <a:pt x="40" y="19"/>
                </a:lnTo>
                <a:lnTo>
                  <a:pt x="37" y="19"/>
                </a:lnTo>
                <a:lnTo>
                  <a:pt x="37" y="16"/>
                </a:lnTo>
                <a:lnTo>
                  <a:pt x="34" y="13"/>
                </a:lnTo>
                <a:lnTo>
                  <a:pt x="34" y="13"/>
                </a:lnTo>
                <a:lnTo>
                  <a:pt x="34" y="10"/>
                </a:lnTo>
                <a:lnTo>
                  <a:pt x="34" y="6"/>
                </a:lnTo>
                <a:lnTo>
                  <a:pt x="31" y="6"/>
                </a:lnTo>
                <a:lnTo>
                  <a:pt x="31" y="3"/>
                </a:lnTo>
                <a:lnTo>
                  <a:pt x="28" y="3"/>
                </a:lnTo>
                <a:lnTo>
                  <a:pt x="25" y="0"/>
                </a:lnTo>
                <a:lnTo>
                  <a:pt x="25" y="0"/>
                </a:lnTo>
                <a:lnTo>
                  <a:pt x="25" y="3"/>
                </a:lnTo>
                <a:lnTo>
                  <a:pt x="22" y="10"/>
                </a:lnTo>
                <a:lnTo>
                  <a:pt x="22" y="13"/>
                </a:lnTo>
                <a:lnTo>
                  <a:pt x="18" y="13"/>
                </a:lnTo>
                <a:lnTo>
                  <a:pt x="15" y="13"/>
                </a:lnTo>
                <a:lnTo>
                  <a:pt x="15" y="13"/>
                </a:lnTo>
                <a:lnTo>
                  <a:pt x="12" y="13"/>
                </a:lnTo>
                <a:lnTo>
                  <a:pt x="9" y="13"/>
                </a:lnTo>
                <a:lnTo>
                  <a:pt x="9" y="10"/>
                </a:lnTo>
                <a:lnTo>
                  <a:pt x="6" y="6"/>
                </a:lnTo>
                <a:lnTo>
                  <a:pt x="3" y="6"/>
                </a:lnTo>
                <a:lnTo>
                  <a:pt x="3" y="10"/>
                </a:lnTo>
                <a:lnTo>
                  <a:pt x="0" y="10"/>
                </a:lnTo>
                <a:lnTo>
                  <a:pt x="3" y="16"/>
                </a:lnTo>
                <a:lnTo>
                  <a:pt x="3" y="19"/>
                </a:lnTo>
                <a:lnTo>
                  <a:pt x="3" y="25"/>
                </a:lnTo>
                <a:lnTo>
                  <a:pt x="6" y="47"/>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5" name="Freeform 143">
            <a:extLst>
              <a:ext uri="{FF2B5EF4-FFF2-40B4-BE49-F238E27FC236}">
                <a16:creationId xmlns:a16="http://schemas.microsoft.com/office/drawing/2014/main" id="{AB171244-B990-61F9-B8F9-7FF8D86BFDF1}"/>
              </a:ext>
            </a:extLst>
          </p:cNvPr>
          <p:cNvSpPr>
            <a:spLocks/>
          </p:cNvSpPr>
          <p:nvPr userDrawn="1"/>
        </p:nvSpPr>
        <p:spPr bwMode="auto">
          <a:xfrm>
            <a:off x="13911947" y="9038511"/>
            <a:ext cx="1190549" cy="1190626"/>
          </a:xfrm>
          <a:custGeom>
            <a:avLst/>
            <a:gdLst>
              <a:gd name="T0" fmla="*/ 10 w 375"/>
              <a:gd name="T1" fmla="*/ 210 h 375"/>
              <a:gd name="T2" fmla="*/ 25 w 375"/>
              <a:gd name="T3" fmla="*/ 203 h 375"/>
              <a:gd name="T4" fmla="*/ 41 w 375"/>
              <a:gd name="T5" fmla="*/ 194 h 375"/>
              <a:gd name="T6" fmla="*/ 50 w 375"/>
              <a:gd name="T7" fmla="*/ 207 h 375"/>
              <a:gd name="T8" fmla="*/ 75 w 375"/>
              <a:gd name="T9" fmla="*/ 185 h 375"/>
              <a:gd name="T10" fmla="*/ 79 w 375"/>
              <a:gd name="T11" fmla="*/ 153 h 375"/>
              <a:gd name="T12" fmla="*/ 97 w 375"/>
              <a:gd name="T13" fmla="*/ 131 h 375"/>
              <a:gd name="T14" fmla="*/ 116 w 375"/>
              <a:gd name="T15" fmla="*/ 103 h 375"/>
              <a:gd name="T16" fmla="*/ 119 w 375"/>
              <a:gd name="T17" fmla="*/ 78 h 375"/>
              <a:gd name="T18" fmla="*/ 132 w 375"/>
              <a:gd name="T19" fmla="*/ 47 h 375"/>
              <a:gd name="T20" fmla="*/ 129 w 375"/>
              <a:gd name="T21" fmla="*/ 22 h 375"/>
              <a:gd name="T22" fmla="*/ 135 w 375"/>
              <a:gd name="T23" fmla="*/ 13 h 375"/>
              <a:gd name="T24" fmla="*/ 147 w 375"/>
              <a:gd name="T25" fmla="*/ 6 h 375"/>
              <a:gd name="T26" fmla="*/ 169 w 375"/>
              <a:gd name="T27" fmla="*/ 19 h 375"/>
              <a:gd name="T28" fmla="*/ 191 w 375"/>
              <a:gd name="T29" fmla="*/ 22 h 375"/>
              <a:gd name="T30" fmla="*/ 204 w 375"/>
              <a:gd name="T31" fmla="*/ 22 h 375"/>
              <a:gd name="T32" fmla="*/ 219 w 375"/>
              <a:gd name="T33" fmla="*/ 16 h 375"/>
              <a:gd name="T34" fmla="*/ 244 w 375"/>
              <a:gd name="T35" fmla="*/ 6 h 375"/>
              <a:gd name="T36" fmla="*/ 257 w 375"/>
              <a:gd name="T37" fmla="*/ 9 h 375"/>
              <a:gd name="T38" fmla="*/ 266 w 375"/>
              <a:gd name="T39" fmla="*/ 0 h 375"/>
              <a:gd name="T40" fmla="*/ 282 w 375"/>
              <a:gd name="T41" fmla="*/ 6 h 375"/>
              <a:gd name="T42" fmla="*/ 307 w 375"/>
              <a:gd name="T43" fmla="*/ 9 h 375"/>
              <a:gd name="T44" fmla="*/ 322 w 375"/>
              <a:gd name="T45" fmla="*/ 22 h 375"/>
              <a:gd name="T46" fmla="*/ 335 w 375"/>
              <a:gd name="T47" fmla="*/ 19 h 375"/>
              <a:gd name="T48" fmla="*/ 350 w 375"/>
              <a:gd name="T49" fmla="*/ 13 h 375"/>
              <a:gd name="T50" fmla="*/ 366 w 375"/>
              <a:gd name="T51" fmla="*/ 31 h 375"/>
              <a:gd name="T52" fmla="*/ 375 w 375"/>
              <a:gd name="T53" fmla="*/ 38 h 375"/>
              <a:gd name="T54" fmla="*/ 372 w 375"/>
              <a:gd name="T55" fmla="*/ 63 h 375"/>
              <a:gd name="T56" fmla="*/ 357 w 375"/>
              <a:gd name="T57" fmla="*/ 94 h 375"/>
              <a:gd name="T58" fmla="*/ 344 w 375"/>
              <a:gd name="T59" fmla="*/ 135 h 375"/>
              <a:gd name="T60" fmla="*/ 335 w 375"/>
              <a:gd name="T61" fmla="*/ 169 h 375"/>
              <a:gd name="T62" fmla="*/ 363 w 375"/>
              <a:gd name="T63" fmla="*/ 269 h 375"/>
              <a:gd name="T64" fmla="*/ 329 w 375"/>
              <a:gd name="T65" fmla="*/ 304 h 375"/>
              <a:gd name="T66" fmla="*/ 325 w 375"/>
              <a:gd name="T67" fmla="*/ 316 h 375"/>
              <a:gd name="T68" fmla="*/ 319 w 375"/>
              <a:gd name="T69" fmla="*/ 344 h 375"/>
              <a:gd name="T70" fmla="*/ 341 w 375"/>
              <a:gd name="T71" fmla="*/ 357 h 375"/>
              <a:gd name="T72" fmla="*/ 344 w 375"/>
              <a:gd name="T73" fmla="*/ 375 h 375"/>
              <a:gd name="T74" fmla="*/ 332 w 375"/>
              <a:gd name="T75" fmla="*/ 375 h 375"/>
              <a:gd name="T76" fmla="*/ 304 w 375"/>
              <a:gd name="T77" fmla="*/ 354 h 375"/>
              <a:gd name="T78" fmla="*/ 294 w 375"/>
              <a:gd name="T79" fmla="*/ 338 h 375"/>
              <a:gd name="T80" fmla="*/ 279 w 375"/>
              <a:gd name="T81" fmla="*/ 347 h 375"/>
              <a:gd name="T82" fmla="*/ 260 w 375"/>
              <a:gd name="T83" fmla="*/ 341 h 375"/>
              <a:gd name="T84" fmla="*/ 250 w 375"/>
              <a:gd name="T85" fmla="*/ 332 h 375"/>
              <a:gd name="T86" fmla="*/ 241 w 375"/>
              <a:gd name="T87" fmla="*/ 335 h 375"/>
              <a:gd name="T88" fmla="*/ 232 w 375"/>
              <a:gd name="T89" fmla="*/ 329 h 375"/>
              <a:gd name="T90" fmla="*/ 216 w 375"/>
              <a:gd name="T91" fmla="*/ 332 h 375"/>
              <a:gd name="T92" fmla="*/ 200 w 375"/>
              <a:gd name="T93" fmla="*/ 329 h 375"/>
              <a:gd name="T94" fmla="*/ 197 w 375"/>
              <a:gd name="T95" fmla="*/ 322 h 375"/>
              <a:gd name="T96" fmla="*/ 194 w 375"/>
              <a:gd name="T97" fmla="*/ 310 h 375"/>
              <a:gd name="T98" fmla="*/ 191 w 375"/>
              <a:gd name="T99" fmla="*/ 297 h 375"/>
              <a:gd name="T100" fmla="*/ 191 w 375"/>
              <a:gd name="T101" fmla="*/ 278 h 375"/>
              <a:gd name="T102" fmla="*/ 188 w 375"/>
              <a:gd name="T103" fmla="*/ 266 h 375"/>
              <a:gd name="T104" fmla="*/ 166 w 375"/>
              <a:gd name="T105" fmla="*/ 250 h 375"/>
              <a:gd name="T106" fmla="*/ 141 w 375"/>
              <a:gd name="T107" fmla="*/ 253 h 375"/>
              <a:gd name="T108" fmla="*/ 122 w 375"/>
              <a:gd name="T109" fmla="*/ 269 h 375"/>
              <a:gd name="T110" fmla="*/ 100 w 375"/>
              <a:gd name="T111" fmla="*/ 260 h 375"/>
              <a:gd name="T112" fmla="*/ 94 w 375"/>
              <a:gd name="T113" fmla="*/ 244 h 375"/>
              <a:gd name="T114" fmla="*/ 91 w 375"/>
              <a:gd name="T115" fmla="*/ 228 h 375"/>
              <a:gd name="T116" fmla="*/ 44 w 375"/>
              <a:gd name="T117" fmla="*/ 225 h 375"/>
              <a:gd name="T118" fmla="*/ 19 w 375"/>
              <a:gd name="T119" fmla="*/ 225 h 375"/>
              <a:gd name="T120" fmla="*/ 10 w 375"/>
              <a:gd name="T121" fmla="*/ 228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5" h="375">
                <a:moveTo>
                  <a:pt x="0" y="225"/>
                </a:moveTo>
                <a:lnTo>
                  <a:pt x="4" y="222"/>
                </a:lnTo>
                <a:lnTo>
                  <a:pt x="7" y="222"/>
                </a:lnTo>
                <a:lnTo>
                  <a:pt x="10" y="219"/>
                </a:lnTo>
                <a:lnTo>
                  <a:pt x="10" y="213"/>
                </a:lnTo>
                <a:lnTo>
                  <a:pt x="10" y="210"/>
                </a:lnTo>
                <a:lnTo>
                  <a:pt x="16" y="207"/>
                </a:lnTo>
                <a:lnTo>
                  <a:pt x="19" y="203"/>
                </a:lnTo>
                <a:lnTo>
                  <a:pt x="22" y="203"/>
                </a:lnTo>
                <a:lnTo>
                  <a:pt x="25" y="200"/>
                </a:lnTo>
                <a:lnTo>
                  <a:pt x="25" y="203"/>
                </a:lnTo>
                <a:lnTo>
                  <a:pt x="25" y="203"/>
                </a:lnTo>
                <a:lnTo>
                  <a:pt x="29" y="203"/>
                </a:lnTo>
                <a:lnTo>
                  <a:pt x="32" y="203"/>
                </a:lnTo>
                <a:lnTo>
                  <a:pt x="32" y="197"/>
                </a:lnTo>
                <a:lnTo>
                  <a:pt x="35" y="197"/>
                </a:lnTo>
                <a:lnTo>
                  <a:pt x="38" y="197"/>
                </a:lnTo>
                <a:lnTo>
                  <a:pt x="41" y="194"/>
                </a:lnTo>
                <a:lnTo>
                  <a:pt x="47" y="194"/>
                </a:lnTo>
                <a:lnTo>
                  <a:pt x="47" y="194"/>
                </a:lnTo>
                <a:lnTo>
                  <a:pt x="44" y="200"/>
                </a:lnTo>
                <a:lnTo>
                  <a:pt x="47" y="200"/>
                </a:lnTo>
                <a:lnTo>
                  <a:pt x="47" y="203"/>
                </a:lnTo>
                <a:lnTo>
                  <a:pt x="50" y="207"/>
                </a:lnTo>
                <a:lnTo>
                  <a:pt x="57" y="203"/>
                </a:lnTo>
                <a:lnTo>
                  <a:pt x="60" y="200"/>
                </a:lnTo>
                <a:lnTo>
                  <a:pt x="66" y="191"/>
                </a:lnTo>
                <a:lnTo>
                  <a:pt x="69" y="188"/>
                </a:lnTo>
                <a:lnTo>
                  <a:pt x="72" y="188"/>
                </a:lnTo>
                <a:lnTo>
                  <a:pt x="75" y="185"/>
                </a:lnTo>
                <a:lnTo>
                  <a:pt x="79" y="182"/>
                </a:lnTo>
                <a:lnTo>
                  <a:pt x="79" y="178"/>
                </a:lnTo>
                <a:lnTo>
                  <a:pt x="79" y="172"/>
                </a:lnTo>
                <a:lnTo>
                  <a:pt x="82" y="160"/>
                </a:lnTo>
                <a:lnTo>
                  <a:pt x="79" y="160"/>
                </a:lnTo>
                <a:lnTo>
                  <a:pt x="79" y="153"/>
                </a:lnTo>
                <a:lnTo>
                  <a:pt x="82" y="150"/>
                </a:lnTo>
                <a:lnTo>
                  <a:pt x="88" y="144"/>
                </a:lnTo>
                <a:lnTo>
                  <a:pt x="88" y="138"/>
                </a:lnTo>
                <a:lnTo>
                  <a:pt x="91" y="135"/>
                </a:lnTo>
                <a:lnTo>
                  <a:pt x="94" y="131"/>
                </a:lnTo>
                <a:lnTo>
                  <a:pt x="97" y="131"/>
                </a:lnTo>
                <a:lnTo>
                  <a:pt x="100" y="128"/>
                </a:lnTo>
                <a:lnTo>
                  <a:pt x="104" y="128"/>
                </a:lnTo>
                <a:lnTo>
                  <a:pt x="110" y="119"/>
                </a:lnTo>
                <a:lnTo>
                  <a:pt x="110" y="113"/>
                </a:lnTo>
                <a:lnTo>
                  <a:pt x="113" y="106"/>
                </a:lnTo>
                <a:lnTo>
                  <a:pt x="116" y="103"/>
                </a:lnTo>
                <a:lnTo>
                  <a:pt x="116" y="97"/>
                </a:lnTo>
                <a:lnTo>
                  <a:pt x="116" y="97"/>
                </a:lnTo>
                <a:lnTo>
                  <a:pt x="116" y="91"/>
                </a:lnTo>
                <a:lnTo>
                  <a:pt x="116" y="88"/>
                </a:lnTo>
                <a:lnTo>
                  <a:pt x="116" y="81"/>
                </a:lnTo>
                <a:lnTo>
                  <a:pt x="119" y="78"/>
                </a:lnTo>
                <a:lnTo>
                  <a:pt x="119" y="75"/>
                </a:lnTo>
                <a:lnTo>
                  <a:pt x="119" y="72"/>
                </a:lnTo>
                <a:lnTo>
                  <a:pt x="119" y="63"/>
                </a:lnTo>
                <a:lnTo>
                  <a:pt x="129" y="53"/>
                </a:lnTo>
                <a:lnTo>
                  <a:pt x="129" y="50"/>
                </a:lnTo>
                <a:lnTo>
                  <a:pt x="132" y="47"/>
                </a:lnTo>
                <a:lnTo>
                  <a:pt x="132" y="41"/>
                </a:lnTo>
                <a:lnTo>
                  <a:pt x="129" y="34"/>
                </a:lnTo>
                <a:lnTo>
                  <a:pt x="132" y="31"/>
                </a:lnTo>
                <a:lnTo>
                  <a:pt x="132" y="28"/>
                </a:lnTo>
                <a:lnTo>
                  <a:pt x="132" y="28"/>
                </a:lnTo>
                <a:lnTo>
                  <a:pt x="129" y="22"/>
                </a:lnTo>
                <a:lnTo>
                  <a:pt x="129" y="22"/>
                </a:lnTo>
                <a:lnTo>
                  <a:pt x="132" y="19"/>
                </a:lnTo>
                <a:lnTo>
                  <a:pt x="135" y="19"/>
                </a:lnTo>
                <a:lnTo>
                  <a:pt x="135" y="16"/>
                </a:lnTo>
                <a:lnTo>
                  <a:pt x="135" y="16"/>
                </a:lnTo>
                <a:lnTo>
                  <a:pt x="135" y="13"/>
                </a:lnTo>
                <a:lnTo>
                  <a:pt x="138" y="9"/>
                </a:lnTo>
                <a:lnTo>
                  <a:pt x="141" y="9"/>
                </a:lnTo>
                <a:lnTo>
                  <a:pt x="144" y="6"/>
                </a:lnTo>
                <a:lnTo>
                  <a:pt x="147" y="9"/>
                </a:lnTo>
                <a:lnTo>
                  <a:pt x="147" y="6"/>
                </a:lnTo>
                <a:lnTo>
                  <a:pt x="147" y="6"/>
                </a:lnTo>
                <a:lnTo>
                  <a:pt x="150" y="9"/>
                </a:lnTo>
                <a:lnTo>
                  <a:pt x="154" y="9"/>
                </a:lnTo>
                <a:lnTo>
                  <a:pt x="160" y="13"/>
                </a:lnTo>
                <a:lnTo>
                  <a:pt x="163" y="16"/>
                </a:lnTo>
                <a:lnTo>
                  <a:pt x="169" y="19"/>
                </a:lnTo>
                <a:lnTo>
                  <a:pt x="169" y="19"/>
                </a:lnTo>
                <a:lnTo>
                  <a:pt x="172" y="19"/>
                </a:lnTo>
                <a:lnTo>
                  <a:pt x="179" y="22"/>
                </a:lnTo>
                <a:lnTo>
                  <a:pt x="182" y="22"/>
                </a:lnTo>
                <a:lnTo>
                  <a:pt x="185" y="22"/>
                </a:lnTo>
                <a:lnTo>
                  <a:pt x="188" y="22"/>
                </a:lnTo>
                <a:lnTo>
                  <a:pt x="191" y="22"/>
                </a:lnTo>
                <a:lnTo>
                  <a:pt x="194" y="22"/>
                </a:lnTo>
                <a:lnTo>
                  <a:pt x="197" y="25"/>
                </a:lnTo>
                <a:lnTo>
                  <a:pt x="200" y="25"/>
                </a:lnTo>
                <a:lnTo>
                  <a:pt x="204" y="25"/>
                </a:lnTo>
                <a:lnTo>
                  <a:pt x="204" y="22"/>
                </a:lnTo>
                <a:lnTo>
                  <a:pt x="204" y="22"/>
                </a:lnTo>
                <a:lnTo>
                  <a:pt x="204" y="19"/>
                </a:lnTo>
                <a:lnTo>
                  <a:pt x="207" y="16"/>
                </a:lnTo>
                <a:lnTo>
                  <a:pt x="210" y="13"/>
                </a:lnTo>
                <a:lnTo>
                  <a:pt x="213" y="13"/>
                </a:lnTo>
                <a:lnTo>
                  <a:pt x="216" y="13"/>
                </a:lnTo>
                <a:lnTo>
                  <a:pt x="219" y="16"/>
                </a:lnTo>
                <a:lnTo>
                  <a:pt x="222" y="16"/>
                </a:lnTo>
                <a:lnTo>
                  <a:pt x="229" y="13"/>
                </a:lnTo>
                <a:lnTo>
                  <a:pt x="232" y="13"/>
                </a:lnTo>
                <a:lnTo>
                  <a:pt x="235" y="9"/>
                </a:lnTo>
                <a:lnTo>
                  <a:pt x="241" y="6"/>
                </a:lnTo>
                <a:lnTo>
                  <a:pt x="244" y="6"/>
                </a:lnTo>
                <a:lnTo>
                  <a:pt x="244" y="9"/>
                </a:lnTo>
                <a:lnTo>
                  <a:pt x="247" y="9"/>
                </a:lnTo>
                <a:lnTo>
                  <a:pt x="247" y="9"/>
                </a:lnTo>
                <a:lnTo>
                  <a:pt x="250" y="9"/>
                </a:lnTo>
                <a:lnTo>
                  <a:pt x="250" y="9"/>
                </a:lnTo>
                <a:lnTo>
                  <a:pt x="257" y="9"/>
                </a:lnTo>
                <a:lnTo>
                  <a:pt x="260" y="9"/>
                </a:lnTo>
                <a:lnTo>
                  <a:pt x="260" y="9"/>
                </a:lnTo>
                <a:lnTo>
                  <a:pt x="263" y="3"/>
                </a:lnTo>
                <a:lnTo>
                  <a:pt x="263" y="3"/>
                </a:lnTo>
                <a:lnTo>
                  <a:pt x="263" y="3"/>
                </a:lnTo>
                <a:lnTo>
                  <a:pt x="266" y="0"/>
                </a:lnTo>
                <a:lnTo>
                  <a:pt x="269" y="3"/>
                </a:lnTo>
                <a:lnTo>
                  <a:pt x="272" y="3"/>
                </a:lnTo>
                <a:lnTo>
                  <a:pt x="275" y="3"/>
                </a:lnTo>
                <a:lnTo>
                  <a:pt x="275" y="6"/>
                </a:lnTo>
                <a:lnTo>
                  <a:pt x="279" y="6"/>
                </a:lnTo>
                <a:lnTo>
                  <a:pt x="282" y="6"/>
                </a:lnTo>
                <a:lnTo>
                  <a:pt x="288" y="6"/>
                </a:lnTo>
                <a:lnTo>
                  <a:pt x="291" y="9"/>
                </a:lnTo>
                <a:lnTo>
                  <a:pt x="297" y="6"/>
                </a:lnTo>
                <a:lnTo>
                  <a:pt x="300" y="6"/>
                </a:lnTo>
                <a:lnTo>
                  <a:pt x="304" y="6"/>
                </a:lnTo>
                <a:lnTo>
                  <a:pt x="307" y="9"/>
                </a:lnTo>
                <a:lnTo>
                  <a:pt x="307" y="13"/>
                </a:lnTo>
                <a:lnTo>
                  <a:pt x="310" y="13"/>
                </a:lnTo>
                <a:lnTo>
                  <a:pt x="310" y="16"/>
                </a:lnTo>
                <a:lnTo>
                  <a:pt x="313" y="16"/>
                </a:lnTo>
                <a:lnTo>
                  <a:pt x="316" y="19"/>
                </a:lnTo>
                <a:lnTo>
                  <a:pt x="322" y="22"/>
                </a:lnTo>
                <a:lnTo>
                  <a:pt x="322" y="22"/>
                </a:lnTo>
                <a:lnTo>
                  <a:pt x="325" y="19"/>
                </a:lnTo>
                <a:lnTo>
                  <a:pt x="329" y="19"/>
                </a:lnTo>
                <a:lnTo>
                  <a:pt x="332" y="19"/>
                </a:lnTo>
                <a:lnTo>
                  <a:pt x="335" y="19"/>
                </a:lnTo>
                <a:lnTo>
                  <a:pt x="335" y="19"/>
                </a:lnTo>
                <a:lnTo>
                  <a:pt x="338" y="19"/>
                </a:lnTo>
                <a:lnTo>
                  <a:pt x="341" y="19"/>
                </a:lnTo>
                <a:lnTo>
                  <a:pt x="341" y="16"/>
                </a:lnTo>
                <a:lnTo>
                  <a:pt x="344" y="13"/>
                </a:lnTo>
                <a:lnTo>
                  <a:pt x="347" y="13"/>
                </a:lnTo>
                <a:lnTo>
                  <a:pt x="350" y="13"/>
                </a:lnTo>
                <a:lnTo>
                  <a:pt x="354" y="19"/>
                </a:lnTo>
                <a:lnTo>
                  <a:pt x="354" y="22"/>
                </a:lnTo>
                <a:lnTo>
                  <a:pt x="357" y="22"/>
                </a:lnTo>
                <a:lnTo>
                  <a:pt x="360" y="25"/>
                </a:lnTo>
                <a:lnTo>
                  <a:pt x="363" y="28"/>
                </a:lnTo>
                <a:lnTo>
                  <a:pt x="366" y="31"/>
                </a:lnTo>
                <a:lnTo>
                  <a:pt x="366" y="31"/>
                </a:lnTo>
                <a:lnTo>
                  <a:pt x="366" y="34"/>
                </a:lnTo>
                <a:lnTo>
                  <a:pt x="366" y="38"/>
                </a:lnTo>
                <a:lnTo>
                  <a:pt x="369" y="38"/>
                </a:lnTo>
                <a:lnTo>
                  <a:pt x="372" y="38"/>
                </a:lnTo>
                <a:lnTo>
                  <a:pt x="375" y="38"/>
                </a:lnTo>
                <a:lnTo>
                  <a:pt x="372" y="41"/>
                </a:lnTo>
                <a:lnTo>
                  <a:pt x="372" y="44"/>
                </a:lnTo>
                <a:lnTo>
                  <a:pt x="372" y="50"/>
                </a:lnTo>
                <a:lnTo>
                  <a:pt x="369" y="56"/>
                </a:lnTo>
                <a:lnTo>
                  <a:pt x="369" y="60"/>
                </a:lnTo>
                <a:lnTo>
                  <a:pt x="372" y="63"/>
                </a:lnTo>
                <a:lnTo>
                  <a:pt x="375" y="66"/>
                </a:lnTo>
                <a:lnTo>
                  <a:pt x="375" y="69"/>
                </a:lnTo>
                <a:lnTo>
                  <a:pt x="375" y="72"/>
                </a:lnTo>
                <a:lnTo>
                  <a:pt x="366" y="85"/>
                </a:lnTo>
                <a:lnTo>
                  <a:pt x="360" y="91"/>
                </a:lnTo>
                <a:lnTo>
                  <a:pt x="357" y="94"/>
                </a:lnTo>
                <a:lnTo>
                  <a:pt x="350" y="106"/>
                </a:lnTo>
                <a:lnTo>
                  <a:pt x="347" y="110"/>
                </a:lnTo>
                <a:lnTo>
                  <a:pt x="347" y="116"/>
                </a:lnTo>
                <a:lnTo>
                  <a:pt x="347" y="122"/>
                </a:lnTo>
                <a:lnTo>
                  <a:pt x="344" y="128"/>
                </a:lnTo>
                <a:lnTo>
                  <a:pt x="344" y="135"/>
                </a:lnTo>
                <a:lnTo>
                  <a:pt x="341" y="138"/>
                </a:lnTo>
                <a:lnTo>
                  <a:pt x="338" y="144"/>
                </a:lnTo>
                <a:lnTo>
                  <a:pt x="335" y="156"/>
                </a:lnTo>
                <a:lnTo>
                  <a:pt x="332" y="160"/>
                </a:lnTo>
                <a:lnTo>
                  <a:pt x="335" y="166"/>
                </a:lnTo>
                <a:lnTo>
                  <a:pt x="335" y="169"/>
                </a:lnTo>
                <a:lnTo>
                  <a:pt x="335" y="175"/>
                </a:lnTo>
                <a:lnTo>
                  <a:pt x="341" y="213"/>
                </a:lnTo>
                <a:lnTo>
                  <a:pt x="347" y="238"/>
                </a:lnTo>
                <a:lnTo>
                  <a:pt x="360" y="257"/>
                </a:lnTo>
                <a:lnTo>
                  <a:pt x="366" y="272"/>
                </a:lnTo>
                <a:lnTo>
                  <a:pt x="363" y="269"/>
                </a:lnTo>
                <a:lnTo>
                  <a:pt x="332" y="278"/>
                </a:lnTo>
                <a:lnTo>
                  <a:pt x="322" y="294"/>
                </a:lnTo>
                <a:lnTo>
                  <a:pt x="322" y="297"/>
                </a:lnTo>
                <a:lnTo>
                  <a:pt x="325" y="300"/>
                </a:lnTo>
                <a:lnTo>
                  <a:pt x="329" y="300"/>
                </a:lnTo>
                <a:lnTo>
                  <a:pt x="329" y="304"/>
                </a:lnTo>
                <a:lnTo>
                  <a:pt x="325" y="304"/>
                </a:lnTo>
                <a:lnTo>
                  <a:pt x="325" y="307"/>
                </a:lnTo>
                <a:lnTo>
                  <a:pt x="325" y="310"/>
                </a:lnTo>
                <a:lnTo>
                  <a:pt x="325" y="313"/>
                </a:lnTo>
                <a:lnTo>
                  <a:pt x="325" y="316"/>
                </a:lnTo>
                <a:lnTo>
                  <a:pt x="325" y="316"/>
                </a:lnTo>
                <a:lnTo>
                  <a:pt x="325" y="319"/>
                </a:lnTo>
                <a:lnTo>
                  <a:pt x="325" y="319"/>
                </a:lnTo>
                <a:lnTo>
                  <a:pt x="319" y="325"/>
                </a:lnTo>
                <a:lnTo>
                  <a:pt x="319" y="325"/>
                </a:lnTo>
                <a:lnTo>
                  <a:pt x="319" y="338"/>
                </a:lnTo>
                <a:lnTo>
                  <a:pt x="319" y="344"/>
                </a:lnTo>
                <a:lnTo>
                  <a:pt x="322" y="344"/>
                </a:lnTo>
                <a:lnTo>
                  <a:pt x="329" y="350"/>
                </a:lnTo>
                <a:lnTo>
                  <a:pt x="329" y="354"/>
                </a:lnTo>
                <a:lnTo>
                  <a:pt x="332" y="357"/>
                </a:lnTo>
                <a:lnTo>
                  <a:pt x="338" y="357"/>
                </a:lnTo>
                <a:lnTo>
                  <a:pt x="341" y="357"/>
                </a:lnTo>
                <a:lnTo>
                  <a:pt x="338" y="354"/>
                </a:lnTo>
                <a:lnTo>
                  <a:pt x="338" y="350"/>
                </a:lnTo>
                <a:lnTo>
                  <a:pt x="344" y="350"/>
                </a:lnTo>
                <a:lnTo>
                  <a:pt x="344" y="350"/>
                </a:lnTo>
                <a:lnTo>
                  <a:pt x="347" y="372"/>
                </a:lnTo>
                <a:lnTo>
                  <a:pt x="344" y="375"/>
                </a:lnTo>
                <a:lnTo>
                  <a:pt x="341" y="372"/>
                </a:lnTo>
                <a:lnTo>
                  <a:pt x="341" y="372"/>
                </a:lnTo>
                <a:lnTo>
                  <a:pt x="341" y="372"/>
                </a:lnTo>
                <a:lnTo>
                  <a:pt x="338" y="372"/>
                </a:lnTo>
                <a:lnTo>
                  <a:pt x="335" y="375"/>
                </a:lnTo>
                <a:lnTo>
                  <a:pt x="332" y="375"/>
                </a:lnTo>
                <a:lnTo>
                  <a:pt x="329" y="369"/>
                </a:lnTo>
                <a:lnTo>
                  <a:pt x="322" y="366"/>
                </a:lnTo>
                <a:lnTo>
                  <a:pt x="319" y="363"/>
                </a:lnTo>
                <a:lnTo>
                  <a:pt x="316" y="357"/>
                </a:lnTo>
                <a:lnTo>
                  <a:pt x="313" y="354"/>
                </a:lnTo>
                <a:lnTo>
                  <a:pt x="304" y="354"/>
                </a:lnTo>
                <a:lnTo>
                  <a:pt x="300" y="350"/>
                </a:lnTo>
                <a:lnTo>
                  <a:pt x="300" y="347"/>
                </a:lnTo>
                <a:lnTo>
                  <a:pt x="297" y="344"/>
                </a:lnTo>
                <a:lnTo>
                  <a:pt x="297" y="338"/>
                </a:lnTo>
                <a:lnTo>
                  <a:pt x="294" y="338"/>
                </a:lnTo>
                <a:lnTo>
                  <a:pt x="294" y="338"/>
                </a:lnTo>
                <a:lnTo>
                  <a:pt x="291" y="338"/>
                </a:lnTo>
                <a:lnTo>
                  <a:pt x="288" y="344"/>
                </a:lnTo>
                <a:lnTo>
                  <a:pt x="288" y="347"/>
                </a:lnTo>
                <a:lnTo>
                  <a:pt x="282" y="347"/>
                </a:lnTo>
                <a:lnTo>
                  <a:pt x="279" y="347"/>
                </a:lnTo>
                <a:lnTo>
                  <a:pt x="279" y="347"/>
                </a:lnTo>
                <a:lnTo>
                  <a:pt x="275" y="347"/>
                </a:lnTo>
                <a:lnTo>
                  <a:pt x="269" y="344"/>
                </a:lnTo>
                <a:lnTo>
                  <a:pt x="266" y="341"/>
                </a:lnTo>
                <a:lnTo>
                  <a:pt x="263" y="341"/>
                </a:lnTo>
                <a:lnTo>
                  <a:pt x="260" y="341"/>
                </a:lnTo>
                <a:lnTo>
                  <a:pt x="260" y="341"/>
                </a:lnTo>
                <a:lnTo>
                  <a:pt x="260" y="338"/>
                </a:lnTo>
                <a:lnTo>
                  <a:pt x="260" y="335"/>
                </a:lnTo>
                <a:lnTo>
                  <a:pt x="257" y="335"/>
                </a:lnTo>
                <a:lnTo>
                  <a:pt x="257" y="332"/>
                </a:lnTo>
                <a:lnTo>
                  <a:pt x="257" y="329"/>
                </a:lnTo>
                <a:lnTo>
                  <a:pt x="250" y="332"/>
                </a:lnTo>
                <a:lnTo>
                  <a:pt x="250" y="332"/>
                </a:lnTo>
                <a:lnTo>
                  <a:pt x="247" y="332"/>
                </a:lnTo>
                <a:lnTo>
                  <a:pt x="244" y="335"/>
                </a:lnTo>
                <a:lnTo>
                  <a:pt x="241" y="335"/>
                </a:lnTo>
                <a:lnTo>
                  <a:pt x="241" y="335"/>
                </a:lnTo>
                <a:lnTo>
                  <a:pt x="241" y="335"/>
                </a:lnTo>
                <a:lnTo>
                  <a:pt x="241" y="332"/>
                </a:lnTo>
                <a:lnTo>
                  <a:pt x="238" y="329"/>
                </a:lnTo>
                <a:lnTo>
                  <a:pt x="235" y="329"/>
                </a:lnTo>
                <a:lnTo>
                  <a:pt x="235" y="329"/>
                </a:lnTo>
                <a:lnTo>
                  <a:pt x="232" y="329"/>
                </a:lnTo>
                <a:lnTo>
                  <a:pt x="232" y="329"/>
                </a:lnTo>
                <a:lnTo>
                  <a:pt x="229" y="329"/>
                </a:lnTo>
                <a:lnTo>
                  <a:pt x="225" y="329"/>
                </a:lnTo>
                <a:lnTo>
                  <a:pt x="222" y="332"/>
                </a:lnTo>
                <a:lnTo>
                  <a:pt x="219" y="332"/>
                </a:lnTo>
                <a:lnTo>
                  <a:pt x="219" y="332"/>
                </a:lnTo>
                <a:lnTo>
                  <a:pt x="216" y="332"/>
                </a:lnTo>
                <a:lnTo>
                  <a:pt x="210" y="332"/>
                </a:lnTo>
                <a:lnTo>
                  <a:pt x="210" y="332"/>
                </a:lnTo>
                <a:lnTo>
                  <a:pt x="207" y="329"/>
                </a:lnTo>
                <a:lnTo>
                  <a:pt x="204" y="329"/>
                </a:lnTo>
                <a:lnTo>
                  <a:pt x="204" y="329"/>
                </a:lnTo>
                <a:lnTo>
                  <a:pt x="200" y="329"/>
                </a:lnTo>
                <a:lnTo>
                  <a:pt x="200" y="332"/>
                </a:lnTo>
                <a:lnTo>
                  <a:pt x="197" y="332"/>
                </a:lnTo>
                <a:lnTo>
                  <a:pt x="197" y="329"/>
                </a:lnTo>
                <a:lnTo>
                  <a:pt x="197" y="325"/>
                </a:lnTo>
                <a:lnTo>
                  <a:pt x="197" y="325"/>
                </a:lnTo>
                <a:lnTo>
                  <a:pt x="197" y="322"/>
                </a:lnTo>
                <a:lnTo>
                  <a:pt x="200" y="322"/>
                </a:lnTo>
                <a:lnTo>
                  <a:pt x="197" y="319"/>
                </a:lnTo>
                <a:lnTo>
                  <a:pt x="197" y="316"/>
                </a:lnTo>
                <a:lnTo>
                  <a:pt x="197" y="313"/>
                </a:lnTo>
                <a:lnTo>
                  <a:pt x="197" y="313"/>
                </a:lnTo>
                <a:lnTo>
                  <a:pt x="194" y="310"/>
                </a:lnTo>
                <a:lnTo>
                  <a:pt x="194" y="307"/>
                </a:lnTo>
                <a:lnTo>
                  <a:pt x="197" y="304"/>
                </a:lnTo>
                <a:lnTo>
                  <a:pt x="194" y="304"/>
                </a:lnTo>
                <a:lnTo>
                  <a:pt x="194" y="300"/>
                </a:lnTo>
                <a:lnTo>
                  <a:pt x="194" y="300"/>
                </a:lnTo>
                <a:lnTo>
                  <a:pt x="191" y="297"/>
                </a:lnTo>
                <a:lnTo>
                  <a:pt x="191" y="297"/>
                </a:lnTo>
                <a:lnTo>
                  <a:pt x="191" y="294"/>
                </a:lnTo>
                <a:lnTo>
                  <a:pt x="191" y="291"/>
                </a:lnTo>
                <a:lnTo>
                  <a:pt x="188" y="291"/>
                </a:lnTo>
                <a:lnTo>
                  <a:pt x="191" y="288"/>
                </a:lnTo>
                <a:lnTo>
                  <a:pt x="191" y="278"/>
                </a:lnTo>
                <a:lnTo>
                  <a:pt x="188" y="275"/>
                </a:lnTo>
                <a:lnTo>
                  <a:pt x="188" y="275"/>
                </a:lnTo>
                <a:lnTo>
                  <a:pt x="191" y="275"/>
                </a:lnTo>
                <a:lnTo>
                  <a:pt x="191" y="272"/>
                </a:lnTo>
                <a:lnTo>
                  <a:pt x="188" y="269"/>
                </a:lnTo>
                <a:lnTo>
                  <a:pt x="188" y="266"/>
                </a:lnTo>
                <a:lnTo>
                  <a:pt x="191" y="263"/>
                </a:lnTo>
                <a:lnTo>
                  <a:pt x="191" y="260"/>
                </a:lnTo>
                <a:lnTo>
                  <a:pt x="191" y="257"/>
                </a:lnTo>
                <a:lnTo>
                  <a:pt x="191" y="253"/>
                </a:lnTo>
                <a:lnTo>
                  <a:pt x="166" y="250"/>
                </a:lnTo>
                <a:lnTo>
                  <a:pt x="166" y="250"/>
                </a:lnTo>
                <a:lnTo>
                  <a:pt x="169" y="247"/>
                </a:lnTo>
                <a:lnTo>
                  <a:pt x="169" y="244"/>
                </a:lnTo>
                <a:lnTo>
                  <a:pt x="163" y="244"/>
                </a:lnTo>
                <a:lnTo>
                  <a:pt x="163" y="247"/>
                </a:lnTo>
                <a:lnTo>
                  <a:pt x="144" y="247"/>
                </a:lnTo>
                <a:lnTo>
                  <a:pt x="141" y="253"/>
                </a:lnTo>
                <a:lnTo>
                  <a:pt x="141" y="257"/>
                </a:lnTo>
                <a:lnTo>
                  <a:pt x="138" y="257"/>
                </a:lnTo>
                <a:lnTo>
                  <a:pt x="141" y="260"/>
                </a:lnTo>
                <a:lnTo>
                  <a:pt x="141" y="266"/>
                </a:lnTo>
                <a:lnTo>
                  <a:pt x="125" y="266"/>
                </a:lnTo>
                <a:lnTo>
                  <a:pt x="122" y="269"/>
                </a:lnTo>
                <a:lnTo>
                  <a:pt x="116" y="269"/>
                </a:lnTo>
                <a:lnTo>
                  <a:pt x="113" y="266"/>
                </a:lnTo>
                <a:lnTo>
                  <a:pt x="110" y="269"/>
                </a:lnTo>
                <a:lnTo>
                  <a:pt x="104" y="269"/>
                </a:lnTo>
                <a:lnTo>
                  <a:pt x="104" y="266"/>
                </a:lnTo>
                <a:lnTo>
                  <a:pt x="100" y="260"/>
                </a:lnTo>
                <a:lnTo>
                  <a:pt x="100" y="257"/>
                </a:lnTo>
                <a:lnTo>
                  <a:pt x="97" y="253"/>
                </a:lnTo>
                <a:lnTo>
                  <a:pt x="94" y="253"/>
                </a:lnTo>
                <a:lnTo>
                  <a:pt x="94" y="250"/>
                </a:lnTo>
                <a:lnTo>
                  <a:pt x="94" y="247"/>
                </a:lnTo>
                <a:lnTo>
                  <a:pt x="94" y="244"/>
                </a:lnTo>
                <a:lnTo>
                  <a:pt x="91" y="241"/>
                </a:lnTo>
                <a:lnTo>
                  <a:pt x="91" y="238"/>
                </a:lnTo>
                <a:lnTo>
                  <a:pt x="94" y="235"/>
                </a:lnTo>
                <a:lnTo>
                  <a:pt x="91" y="232"/>
                </a:lnTo>
                <a:lnTo>
                  <a:pt x="91" y="232"/>
                </a:lnTo>
                <a:lnTo>
                  <a:pt x="91" y="228"/>
                </a:lnTo>
                <a:lnTo>
                  <a:pt x="91" y="228"/>
                </a:lnTo>
                <a:lnTo>
                  <a:pt x="91" y="225"/>
                </a:lnTo>
                <a:lnTo>
                  <a:pt x="69" y="225"/>
                </a:lnTo>
                <a:lnTo>
                  <a:pt x="57" y="225"/>
                </a:lnTo>
                <a:lnTo>
                  <a:pt x="50" y="225"/>
                </a:lnTo>
                <a:lnTo>
                  <a:pt x="44" y="225"/>
                </a:lnTo>
                <a:lnTo>
                  <a:pt x="41" y="225"/>
                </a:lnTo>
                <a:lnTo>
                  <a:pt x="35" y="225"/>
                </a:lnTo>
                <a:lnTo>
                  <a:pt x="29" y="225"/>
                </a:lnTo>
                <a:lnTo>
                  <a:pt x="25" y="225"/>
                </a:lnTo>
                <a:lnTo>
                  <a:pt x="22" y="225"/>
                </a:lnTo>
                <a:lnTo>
                  <a:pt x="19" y="225"/>
                </a:lnTo>
                <a:lnTo>
                  <a:pt x="16" y="225"/>
                </a:lnTo>
                <a:lnTo>
                  <a:pt x="13" y="225"/>
                </a:lnTo>
                <a:lnTo>
                  <a:pt x="13" y="228"/>
                </a:lnTo>
                <a:lnTo>
                  <a:pt x="10" y="228"/>
                </a:lnTo>
                <a:lnTo>
                  <a:pt x="10" y="228"/>
                </a:lnTo>
                <a:lnTo>
                  <a:pt x="10" y="228"/>
                </a:lnTo>
                <a:lnTo>
                  <a:pt x="10" y="228"/>
                </a:lnTo>
                <a:lnTo>
                  <a:pt x="10" y="228"/>
                </a:lnTo>
                <a:lnTo>
                  <a:pt x="7" y="225"/>
                </a:lnTo>
                <a:lnTo>
                  <a:pt x="0" y="225"/>
                </a:lnTo>
                <a:lnTo>
                  <a:pt x="0" y="225"/>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6" name="Freeform 144">
            <a:extLst>
              <a:ext uri="{FF2B5EF4-FFF2-40B4-BE49-F238E27FC236}">
                <a16:creationId xmlns:a16="http://schemas.microsoft.com/office/drawing/2014/main" id="{00D3CA52-0CF9-F2F6-19E7-BD9DFC18DA60}"/>
              </a:ext>
            </a:extLst>
          </p:cNvPr>
          <p:cNvSpPr>
            <a:spLocks/>
          </p:cNvSpPr>
          <p:nvPr userDrawn="1"/>
        </p:nvSpPr>
        <p:spPr bwMode="auto">
          <a:xfrm>
            <a:off x="15194562" y="9971961"/>
            <a:ext cx="196837" cy="498478"/>
          </a:xfrm>
          <a:custGeom>
            <a:avLst/>
            <a:gdLst>
              <a:gd name="T0" fmla="*/ 9 w 62"/>
              <a:gd name="T1" fmla="*/ 0 h 157"/>
              <a:gd name="T2" fmla="*/ 12 w 62"/>
              <a:gd name="T3" fmla="*/ 3 h 157"/>
              <a:gd name="T4" fmla="*/ 15 w 62"/>
              <a:gd name="T5" fmla="*/ 3 h 157"/>
              <a:gd name="T6" fmla="*/ 18 w 62"/>
              <a:gd name="T7" fmla="*/ 3 h 157"/>
              <a:gd name="T8" fmla="*/ 21 w 62"/>
              <a:gd name="T9" fmla="*/ 3 h 157"/>
              <a:gd name="T10" fmla="*/ 25 w 62"/>
              <a:gd name="T11" fmla="*/ 6 h 157"/>
              <a:gd name="T12" fmla="*/ 31 w 62"/>
              <a:gd name="T13" fmla="*/ 16 h 157"/>
              <a:gd name="T14" fmla="*/ 34 w 62"/>
              <a:gd name="T15" fmla="*/ 56 h 157"/>
              <a:gd name="T16" fmla="*/ 34 w 62"/>
              <a:gd name="T17" fmla="*/ 78 h 157"/>
              <a:gd name="T18" fmla="*/ 43 w 62"/>
              <a:gd name="T19" fmla="*/ 85 h 157"/>
              <a:gd name="T20" fmla="*/ 46 w 62"/>
              <a:gd name="T21" fmla="*/ 88 h 157"/>
              <a:gd name="T22" fmla="*/ 56 w 62"/>
              <a:gd name="T23" fmla="*/ 97 h 157"/>
              <a:gd name="T24" fmla="*/ 62 w 62"/>
              <a:gd name="T25" fmla="*/ 106 h 157"/>
              <a:gd name="T26" fmla="*/ 62 w 62"/>
              <a:gd name="T27" fmla="*/ 113 h 157"/>
              <a:gd name="T28" fmla="*/ 59 w 62"/>
              <a:gd name="T29" fmla="*/ 116 h 157"/>
              <a:gd name="T30" fmla="*/ 56 w 62"/>
              <a:gd name="T31" fmla="*/ 116 h 157"/>
              <a:gd name="T32" fmla="*/ 56 w 62"/>
              <a:gd name="T33" fmla="*/ 119 h 157"/>
              <a:gd name="T34" fmla="*/ 59 w 62"/>
              <a:gd name="T35" fmla="*/ 128 h 157"/>
              <a:gd name="T36" fmla="*/ 56 w 62"/>
              <a:gd name="T37" fmla="*/ 135 h 157"/>
              <a:gd name="T38" fmla="*/ 50 w 62"/>
              <a:gd name="T39" fmla="*/ 141 h 157"/>
              <a:gd name="T40" fmla="*/ 46 w 62"/>
              <a:gd name="T41" fmla="*/ 147 h 157"/>
              <a:gd name="T42" fmla="*/ 46 w 62"/>
              <a:gd name="T43" fmla="*/ 157 h 157"/>
              <a:gd name="T44" fmla="*/ 43 w 62"/>
              <a:gd name="T45" fmla="*/ 157 h 157"/>
              <a:gd name="T46" fmla="*/ 40 w 62"/>
              <a:gd name="T47" fmla="*/ 150 h 157"/>
              <a:gd name="T48" fmla="*/ 37 w 62"/>
              <a:gd name="T49" fmla="*/ 147 h 157"/>
              <a:gd name="T50" fmla="*/ 31 w 62"/>
              <a:gd name="T51" fmla="*/ 138 h 157"/>
              <a:gd name="T52" fmla="*/ 28 w 62"/>
              <a:gd name="T53" fmla="*/ 132 h 157"/>
              <a:gd name="T54" fmla="*/ 31 w 62"/>
              <a:gd name="T55" fmla="*/ 125 h 157"/>
              <a:gd name="T56" fmla="*/ 34 w 62"/>
              <a:gd name="T57" fmla="*/ 116 h 157"/>
              <a:gd name="T58" fmla="*/ 34 w 62"/>
              <a:gd name="T59" fmla="*/ 106 h 157"/>
              <a:gd name="T60" fmla="*/ 28 w 62"/>
              <a:gd name="T61" fmla="*/ 100 h 157"/>
              <a:gd name="T62" fmla="*/ 21 w 62"/>
              <a:gd name="T63" fmla="*/ 103 h 157"/>
              <a:gd name="T64" fmla="*/ 18 w 62"/>
              <a:gd name="T65" fmla="*/ 103 h 157"/>
              <a:gd name="T66" fmla="*/ 15 w 62"/>
              <a:gd name="T67" fmla="*/ 100 h 157"/>
              <a:gd name="T68" fmla="*/ 12 w 62"/>
              <a:gd name="T69" fmla="*/ 97 h 157"/>
              <a:gd name="T70" fmla="*/ 6 w 62"/>
              <a:gd name="T71" fmla="*/ 94 h 157"/>
              <a:gd name="T72" fmla="*/ 3 w 62"/>
              <a:gd name="T73" fmla="*/ 88 h 157"/>
              <a:gd name="T74" fmla="*/ 0 w 62"/>
              <a:gd name="T75" fmla="*/ 85 h 157"/>
              <a:gd name="T76" fmla="*/ 6 w 62"/>
              <a:gd name="T77" fmla="*/ 78 h 157"/>
              <a:gd name="T78" fmla="*/ 6 w 62"/>
              <a:gd name="T79" fmla="*/ 75 h 157"/>
              <a:gd name="T80" fmla="*/ 6 w 62"/>
              <a:gd name="T81" fmla="*/ 69 h 157"/>
              <a:gd name="T82" fmla="*/ 9 w 62"/>
              <a:gd name="T83" fmla="*/ 66 h 157"/>
              <a:gd name="T84" fmla="*/ 15 w 62"/>
              <a:gd name="T85" fmla="*/ 63 h 157"/>
              <a:gd name="T86" fmla="*/ 15 w 62"/>
              <a:gd name="T87" fmla="*/ 60 h 157"/>
              <a:gd name="T88" fmla="*/ 12 w 62"/>
              <a:gd name="T89" fmla="*/ 56 h 157"/>
              <a:gd name="T90" fmla="*/ 12 w 62"/>
              <a:gd name="T91" fmla="*/ 53 h 157"/>
              <a:gd name="T92" fmla="*/ 12 w 62"/>
              <a:gd name="T93" fmla="*/ 47 h 157"/>
              <a:gd name="T94" fmla="*/ 12 w 62"/>
              <a:gd name="T95" fmla="*/ 44 h 157"/>
              <a:gd name="T96" fmla="*/ 12 w 62"/>
              <a:gd name="T97" fmla="*/ 38 h 157"/>
              <a:gd name="T98" fmla="*/ 18 w 62"/>
              <a:gd name="T99" fmla="*/ 28 h 157"/>
              <a:gd name="T100" fmla="*/ 18 w 62"/>
              <a:gd name="T101" fmla="*/ 28 h 157"/>
              <a:gd name="T102" fmla="*/ 15 w 62"/>
              <a:gd name="T103" fmla="*/ 19 h 157"/>
              <a:gd name="T104" fmla="*/ 12 w 62"/>
              <a:gd name="T105" fmla="*/ 16 h 157"/>
              <a:gd name="T106" fmla="*/ 15 w 62"/>
              <a:gd name="T107" fmla="*/ 10 h 157"/>
              <a:gd name="T108" fmla="*/ 9 w 62"/>
              <a:gd name="T109" fmla="*/ 6 h 157"/>
              <a:gd name="T110" fmla="*/ 9 w 62"/>
              <a:gd name="T111" fmla="*/ 3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 h="157">
                <a:moveTo>
                  <a:pt x="6" y="0"/>
                </a:moveTo>
                <a:lnTo>
                  <a:pt x="9" y="0"/>
                </a:lnTo>
                <a:lnTo>
                  <a:pt x="9" y="0"/>
                </a:lnTo>
                <a:lnTo>
                  <a:pt x="12" y="3"/>
                </a:lnTo>
                <a:lnTo>
                  <a:pt x="12" y="3"/>
                </a:lnTo>
                <a:lnTo>
                  <a:pt x="15" y="3"/>
                </a:lnTo>
                <a:lnTo>
                  <a:pt x="15" y="3"/>
                </a:lnTo>
                <a:lnTo>
                  <a:pt x="18" y="3"/>
                </a:lnTo>
                <a:lnTo>
                  <a:pt x="18" y="3"/>
                </a:lnTo>
                <a:lnTo>
                  <a:pt x="21" y="3"/>
                </a:lnTo>
                <a:lnTo>
                  <a:pt x="21" y="6"/>
                </a:lnTo>
                <a:lnTo>
                  <a:pt x="25" y="6"/>
                </a:lnTo>
                <a:lnTo>
                  <a:pt x="25" y="10"/>
                </a:lnTo>
                <a:lnTo>
                  <a:pt x="31" y="16"/>
                </a:lnTo>
                <a:lnTo>
                  <a:pt x="34" y="25"/>
                </a:lnTo>
                <a:lnTo>
                  <a:pt x="34" y="56"/>
                </a:lnTo>
                <a:lnTo>
                  <a:pt x="31" y="60"/>
                </a:lnTo>
                <a:lnTo>
                  <a:pt x="34" y="78"/>
                </a:lnTo>
                <a:lnTo>
                  <a:pt x="40" y="81"/>
                </a:lnTo>
                <a:lnTo>
                  <a:pt x="43" y="85"/>
                </a:lnTo>
                <a:lnTo>
                  <a:pt x="46" y="88"/>
                </a:lnTo>
                <a:lnTo>
                  <a:pt x="46" y="88"/>
                </a:lnTo>
                <a:lnTo>
                  <a:pt x="53" y="94"/>
                </a:lnTo>
                <a:lnTo>
                  <a:pt x="56" y="97"/>
                </a:lnTo>
                <a:lnTo>
                  <a:pt x="59" y="103"/>
                </a:lnTo>
                <a:lnTo>
                  <a:pt x="62" y="106"/>
                </a:lnTo>
                <a:lnTo>
                  <a:pt x="62" y="110"/>
                </a:lnTo>
                <a:lnTo>
                  <a:pt x="62" y="113"/>
                </a:lnTo>
                <a:lnTo>
                  <a:pt x="59" y="113"/>
                </a:lnTo>
                <a:lnTo>
                  <a:pt x="59" y="116"/>
                </a:lnTo>
                <a:lnTo>
                  <a:pt x="56" y="116"/>
                </a:lnTo>
                <a:lnTo>
                  <a:pt x="56" y="116"/>
                </a:lnTo>
                <a:lnTo>
                  <a:pt x="59" y="119"/>
                </a:lnTo>
                <a:lnTo>
                  <a:pt x="56" y="119"/>
                </a:lnTo>
                <a:lnTo>
                  <a:pt x="59" y="122"/>
                </a:lnTo>
                <a:lnTo>
                  <a:pt x="59" y="128"/>
                </a:lnTo>
                <a:lnTo>
                  <a:pt x="59" y="132"/>
                </a:lnTo>
                <a:lnTo>
                  <a:pt x="56" y="135"/>
                </a:lnTo>
                <a:lnTo>
                  <a:pt x="50" y="135"/>
                </a:lnTo>
                <a:lnTo>
                  <a:pt x="50" y="141"/>
                </a:lnTo>
                <a:lnTo>
                  <a:pt x="50" y="144"/>
                </a:lnTo>
                <a:lnTo>
                  <a:pt x="46" y="147"/>
                </a:lnTo>
                <a:lnTo>
                  <a:pt x="46" y="153"/>
                </a:lnTo>
                <a:lnTo>
                  <a:pt x="46" y="157"/>
                </a:lnTo>
                <a:lnTo>
                  <a:pt x="43" y="157"/>
                </a:lnTo>
                <a:lnTo>
                  <a:pt x="43" y="157"/>
                </a:lnTo>
                <a:lnTo>
                  <a:pt x="43" y="153"/>
                </a:lnTo>
                <a:lnTo>
                  <a:pt x="40" y="150"/>
                </a:lnTo>
                <a:lnTo>
                  <a:pt x="40" y="147"/>
                </a:lnTo>
                <a:lnTo>
                  <a:pt x="37" y="147"/>
                </a:lnTo>
                <a:lnTo>
                  <a:pt x="34" y="144"/>
                </a:lnTo>
                <a:lnTo>
                  <a:pt x="31" y="138"/>
                </a:lnTo>
                <a:lnTo>
                  <a:pt x="28" y="135"/>
                </a:lnTo>
                <a:lnTo>
                  <a:pt x="28" y="132"/>
                </a:lnTo>
                <a:lnTo>
                  <a:pt x="28" y="128"/>
                </a:lnTo>
                <a:lnTo>
                  <a:pt x="31" y="125"/>
                </a:lnTo>
                <a:lnTo>
                  <a:pt x="31" y="119"/>
                </a:lnTo>
                <a:lnTo>
                  <a:pt x="34" y="116"/>
                </a:lnTo>
                <a:lnTo>
                  <a:pt x="34" y="110"/>
                </a:lnTo>
                <a:lnTo>
                  <a:pt x="34" y="106"/>
                </a:lnTo>
                <a:lnTo>
                  <a:pt x="34" y="103"/>
                </a:lnTo>
                <a:lnTo>
                  <a:pt x="28" y="100"/>
                </a:lnTo>
                <a:lnTo>
                  <a:pt x="25" y="100"/>
                </a:lnTo>
                <a:lnTo>
                  <a:pt x="21" y="103"/>
                </a:lnTo>
                <a:lnTo>
                  <a:pt x="18" y="103"/>
                </a:lnTo>
                <a:lnTo>
                  <a:pt x="18" y="103"/>
                </a:lnTo>
                <a:lnTo>
                  <a:pt x="15" y="103"/>
                </a:lnTo>
                <a:lnTo>
                  <a:pt x="15" y="100"/>
                </a:lnTo>
                <a:lnTo>
                  <a:pt x="12" y="97"/>
                </a:lnTo>
                <a:lnTo>
                  <a:pt x="12" y="97"/>
                </a:lnTo>
                <a:lnTo>
                  <a:pt x="12" y="94"/>
                </a:lnTo>
                <a:lnTo>
                  <a:pt x="6" y="94"/>
                </a:lnTo>
                <a:lnTo>
                  <a:pt x="6" y="94"/>
                </a:lnTo>
                <a:lnTo>
                  <a:pt x="3" y="88"/>
                </a:lnTo>
                <a:lnTo>
                  <a:pt x="0" y="85"/>
                </a:lnTo>
                <a:lnTo>
                  <a:pt x="0" y="85"/>
                </a:lnTo>
                <a:lnTo>
                  <a:pt x="3" y="81"/>
                </a:lnTo>
                <a:lnTo>
                  <a:pt x="6" y="78"/>
                </a:lnTo>
                <a:lnTo>
                  <a:pt x="6" y="75"/>
                </a:lnTo>
                <a:lnTo>
                  <a:pt x="6" y="75"/>
                </a:lnTo>
                <a:lnTo>
                  <a:pt x="6" y="72"/>
                </a:lnTo>
                <a:lnTo>
                  <a:pt x="6" y="69"/>
                </a:lnTo>
                <a:lnTo>
                  <a:pt x="6" y="69"/>
                </a:lnTo>
                <a:lnTo>
                  <a:pt x="9" y="66"/>
                </a:lnTo>
                <a:lnTo>
                  <a:pt x="12" y="63"/>
                </a:lnTo>
                <a:lnTo>
                  <a:pt x="15" y="63"/>
                </a:lnTo>
                <a:lnTo>
                  <a:pt x="15" y="63"/>
                </a:lnTo>
                <a:lnTo>
                  <a:pt x="15" y="60"/>
                </a:lnTo>
                <a:lnTo>
                  <a:pt x="15" y="60"/>
                </a:lnTo>
                <a:lnTo>
                  <a:pt x="12" y="56"/>
                </a:lnTo>
                <a:lnTo>
                  <a:pt x="12" y="53"/>
                </a:lnTo>
                <a:lnTo>
                  <a:pt x="12" y="53"/>
                </a:lnTo>
                <a:lnTo>
                  <a:pt x="15" y="50"/>
                </a:lnTo>
                <a:lnTo>
                  <a:pt x="12" y="47"/>
                </a:lnTo>
                <a:lnTo>
                  <a:pt x="15" y="47"/>
                </a:lnTo>
                <a:lnTo>
                  <a:pt x="12" y="44"/>
                </a:lnTo>
                <a:lnTo>
                  <a:pt x="12" y="41"/>
                </a:lnTo>
                <a:lnTo>
                  <a:pt x="12" y="38"/>
                </a:lnTo>
                <a:lnTo>
                  <a:pt x="12" y="35"/>
                </a:lnTo>
                <a:lnTo>
                  <a:pt x="18" y="28"/>
                </a:lnTo>
                <a:lnTo>
                  <a:pt x="18" y="28"/>
                </a:lnTo>
                <a:lnTo>
                  <a:pt x="18" y="28"/>
                </a:lnTo>
                <a:lnTo>
                  <a:pt x="18" y="22"/>
                </a:lnTo>
                <a:lnTo>
                  <a:pt x="15" y="19"/>
                </a:lnTo>
                <a:lnTo>
                  <a:pt x="12" y="19"/>
                </a:lnTo>
                <a:lnTo>
                  <a:pt x="12" y="16"/>
                </a:lnTo>
                <a:lnTo>
                  <a:pt x="15" y="10"/>
                </a:lnTo>
                <a:lnTo>
                  <a:pt x="15" y="10"/>
                </a:lnTo>
                <a:lnTo>
                  <a:pt x="12" y="10"/>
                </a:lnTo>
                <a:lnTo>
                  <a:pt x="9" y="6"/>
                </a:lnTo>
                <a:lnTo>
                  <a:pt x="9" y="3"/>
                </a:lnTo>
                <a:lnTo>
                  <a:pt x="9" y="3"/>
                </a:lnTo>
                <a:lnTo>
                  <a:pt x="6" y="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7" name="Freeform 145">
            <a:extLst>
              <a:ext uri="{FF2B5EF4-FFF2-40B4-BE49-F238E27FC236}">
                <a16:creationId xmlns:a16="http://schemas.microsoft.com/office/drawing/2014/main" id="{F90D4A4A-6A08-760A-F2EB-0F119E32C2E3}"/>
              </a:ext>
            </a:extLst>
          </p:cNvPr>
          <p:cNvSpPr>
            <a:spLocks/>
          </p:cNvSpPr>
          <p:nvPr userDrawn="1"/>
        </p:nvSpPr>
        <p:spPr bwMode="auto">
          <a:xfrm>
            <a:off x="14508802" y="9892582"/>
            <a:ext cx="742902" cy="635000"/>
          </a:xfrm>
          <a:custGeom>
            <a:avLst/>
            <a:gdLst>
              <a:gd name="T0" fmla="*/ 50 w 234"/>
              <a:gd name="T1" fmla="*/ 60 h 200"/>
              <a:gd name="T2" fmla="*/ 53 w 234"/>
              <a:gd name="T3" fmla="*/ 66 h 200"/>
              <a:gd name="T4" fmla="*/ 62 w 234"/>
              <a:gd name="T5" fmla="*/ 63 h 200"/>
              <a:gd name="T6" fmla="*/ 72 w 234"/>
              <a:gd name="T7" fmla="*/ 66 h 200"/>
              <a:gd name="T8" fmla="*/ 75 w 234"/>
              <a:gd name="T9" fmla="*/ 72 h 200"/>
              <a:gd name="T10" fmla="*/ 91 w 234"/>
              <a:gd name="T11" fmla="*/ 78 h 200"/>
              <a:gd name="T12" fmla="*/ 100 w 234"/>
              <a:gd name="T13" fmla="*/ 75 h 200"/>
              <a:gd name="T14" fmla="*/ 109 w 234"/>
              <a:gd name="T15" fmla="*/ 69 h 200"/>
              <a:gd name="T16" fmla="*/ 116 w 234"/>
              <a:gd name="T17" fmla="*/ 85 h 200"/>
              <a:gd name="T18" fmla="*/ 134 w 234"/>
              <a:gd name="T19" fmla="*/ 97 h 200"/>
              <a:gd name="T20" fmla="*/ 150 w 234"/>
              <a:gd name="T21" fmla="*/ 103 h 200"/>
              <a:gd name="T22" fmla="*/ 156 w 234"/>
              <a:gd name="T23" fmla="*/ 106 h 200"/>
              <a:gd name="T24" fmla="*/ 150 w 234"/>
              <a:gd name="T25" fmla="*/ 81 h 200"/>
              <a:gd name="T26" fmla="*/ 144 w 234"/>
              <a:gd name="T27" fmla="*/ 88 h 200"/>
              <a:gd name="T28" fmla="*/ 131 w 234"/>
              <a:gd name="T29" fmla="*/ 75 h 200"/>
              <a:gd name="T30" fmla="*/ 137 w 234"/>
              <a:gd name="T31" fmla="*/ 50 h 200"/>
              <a:gd name="T32" fmla="*/ 137 w 234"/>
              <a:gd name="T33" fmla="*/ 44 h 200"/>
              <a:gd name="T34" fmla="*/ 141 w 234"/>
              <a:gd name="T35" fmla="*/ 35 h 200"/>
              <a:gd name="T36" fmla="*/ 134 w 234"/>
              <a:gd name="T37" fmla="*/ 25 h 200"/>
              <a:gd name="T38" fmla="*/ 187 w 234"/>
              <a:gd name="T39" fmla="*/ 6 h 200"/>
              <a:gd name="T40" fmla="*/ 194 w 234"/>
              <a:gd name="T41" fmla="*/ 9 h 200"/>
              <a:gd name="T42" fmla="*/ 212 w 234"/>
              <a:gd name="T43" fmla="*/ 16 h 200"/>
              <a:gd name="T44" fmla="*/ 222 w 234"/>
              <a:gd name="T45" fmla="*/ 25 h 200"/>
              <a:gd name="T46" fmla="*/ 225 w 234"/>
              <a:gd name="T47" fmla="*/ 31 h 200"/>
              <a:gd name="T48" fmla="*/ 228 w 234"/>
              <a:gd name="T49" fmla="*/ 41 h 200"/>
              <a:gd name="T50" fmla="*/ 234 w 234"/>
              <a:gd name="T51" fmla="*/ 53 h 200"/>
              <a:gd name="T52" fmla="*/ 228 w 234"/>
              <a:gd name="T53" fmla="*/ 63 h 200"/>
              <a:gd name="T54" fmla="*/ 228 w 234"/>
              <a:gd name="T55" fmla="*/ 72 h 200"/>
              <a:gd name="T56" fmla="*/ 228 w 234"/>
              <a:gd name="T57" fmla="*/ 81 h 200"/>
              <a:gd name="T58" fmla="*/ 231 w 234"/>
              <a:gd name="T59" fmla="*/ 88 h 200"/>
              <a:gd name="T60" fmla="*/ 222 w 234"/>
              <a:gd name="T61" fmla="*/ 94 h 200"/>
              <a:gd name="T62" fmla="*/ 222 w 234"/>
              <a:gd name="T63" fmla="*/ 103 h 200"/>
              <a:gd name="T64" fmla="*/ 219 w 234"/>
              <a:gd name="T65" fmla="*/ 113 h 200"/>
              <a:gd name="T66" fmla="*/ 216 w 234"/>
              <a:gd name="T67" fmla="*/ 122 h 200"/>
              <a:gd name="T68" fmla="*/ 178 w 234"/>
              <a:gd name="T69" fmla="*/ 135 h 200"/>
              <a:gd name="T70" fmla="*/ 169 w 234"/>
              <a:gd name="T71" fmla="*/ 150 h 200"/>
              <a:gd name="T72" fmla="*/ 159 w 234"/>
              <a:gd name="T73" fmla="*/ 150 h 200"/>
              <a:gd name="T74" fmla="*/ 147 w 234"/>
              <a:gd name="T75" fmla="*/ 153 h 200"/>
              <a:gd name="T76" fmla="*/ 137 w 234"/>
              <a:gd name="T77" fmla="*/ 160 h 200"/>
              <a:gd name="T78" fmla="*/ 134 w 234"/>
              <a:gd name="T79" fmla="*/ 166 h 200"/>
              <a:gd name="T80" fmla="*/ 103 w 234"/>
              <a:gd name="T81" fmla="*/ 197 h 200"/>
              <a:gd name="T82" fmla="*/ 91 w 234"/>
              <a:gd name="T83" fmla="*/ 194 h 200"/>
              <a:gd name="T84" fmla="*/ 81 w 234"/>
              <a:gd name="T85" fmla="*/ 194 h 200"/>
              <a:gd name="T86" fmla="*/ 72 w 234"/>
              <a:gd name="T87" fmla="*/ 194 h 200"/>
              <a:gd name="T88" fmla="*/ 59 w 234"/>
              <a:gd name="T89" fmla="*/ 188 h 200"/>
              <a:gd name="T90" fmla="*/ 53 w 234"/>
              <a:gd name="T91" fmla="*/ 188 h 200"/>
              <a:gd name="T92" fmla="*/ 28 w 234"/>
              <a:gd name="T93" fmla="*/ 191 h 200"/>
              <a:gd name="T94" fmla="*/ 22 w 234"/>
              <a:gd name="T95" fmla="*/ 182 h 200"/>
              <a:gd name="T96" fmla="*/ 9 w 234"/>
              <a:gd name="T97" fmla="*/ 172 h 200"/>
              <a:gd name="T98" fmla="*/ 0 w 234"/>
              <a:gd name="T99" fmla="*/ 163 h 200"/>
              <a:gd name="T100" fmla="*/ 44 w 234"/>
              <a:gd name="T101" fmla="*/ 91 h 200"/>
              <a:gd name="T102" fmla="*/ 44 w 234"/>
              <a:gd name="T103" fmla="*/ 78 h 200"/>
              <a:gd name="T104" fmla="*/ 44 w 234"/>
              <a:gd name="T10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4" h="200">
                <a:moveTo>
                  <a:pt x="44" y="60"/>
                </a:moveTo>
                <a:lnTo>
                  <a:pt x="47" y="60"/>
                </a:lnTo>
                <a:lnTo>
                  <a:pt x="47" y="60"/>
                </a:lnTo>
                <a:lnTo>
                  <a:pt x="50" y="60"/>
                </a:lnTo>
                <a:lnTo>
                  <a:pt x="53" y="63"/>
                </a:lnTo>
                <a:lnTo>
                  <a:pt x="53" y="66"/>
                </a:lnTo>
                <a:lnTo>
                  <a:pt x="53" y="66"/>
                </a:lnTo>
                <a:lnTo>
                  <a:pt x="53" y="66"/>
                </a:lnTo>
                <a:lnTo>
                  <a:pt x="56" y="66"/>
                </a:lnTo>
                <a:lnTo>
                  <a:pt x="59" y="63"/>
                </a:lnTo>
                <a:lnTo>
                  <a:pt x="62" y="63"/>
                </a:lnTo>
                <a:lnTo>
                  <a:pt x="62" y="63"/>
                </a:lnTo>
                <a:lnTo>
                  <a:pt x="69" y="60"/>
                </a:lnTo>
                <a:lnTo>
                  <a:pt x="69" y="63"/>
                </a:lnTo>
                <a:lnTo>
                  <a:pt x="69" y="66"/>
                </a:lnTo>
                <a:lnTo>
                  <a:pt x="72" y="66"/>
                </a:lnTo>
                <a:lnTo>
                  <a:pt x="72" y="69"/>
                </a:lnTo>
                <a:lnTo>
                  <a:pt x="72" y="72"/>
                </a:lnTo>
                <a:lnTo>
                  <a:pt x="72" y="72"/>
                </a:lnTo>
                <a:lnTo>
                  <a:pt x="75" y="72"/>
                </a:lnTo>
                <a:lnTo>
                  <a:pt x="78" y="72"/>
                </a:lnTo>
                <a:lnTo>
                  <a:pt x="81" y="75"/>
                </a:lnTo>
                <a:lnTo>
                  <a:pt x="87" y="78"/>
                </a:lnTo>
                <a:lnTo>
                  <a:pt x="91" y="78"/>
                </a:lnTo>
                <a:lnTo>
                  <a:pt x="91" y="78"/>
                </a:lnTo>
                <a:lnTo>
                  <a:pt x="94" y="78"/>
                </a:lnTo>
                <a:lnTo>
                  <a:pt x="100" y="78"/>
                </a:lnTo>
                <a:lnTo>
                  <a:pt x="100" y="75"/>
                </a:lnTo>
                <a:lnTo>
                  <a:pt x="103" y="69"/>
                </a:lnTo>
                <a:lnTo>
                  <a:pt x="106" y="69"/>
                </a:lnTo>
                <a:lnTo>
                  <a:pt x="106" y="69"/>
                </a:lnTo>
                <a:lnTo>
                  <a:pt x="109" y="69"/>
                </a:lnTo>
                <a:lnTo>
                  <a:pt x="109" y="75"/>
                </a:lnTo>
                <a:lnTo>
                  <a:pt x="112" y="78"/>
                </a:lnTo>
                <a:lnTo>
                  <a:pt x="112" y="81"/>
                </a:lnTo>
                <a:lnTo>
                  <a:pt x="116" y="85"/>
                </a:lnTo>
                <a:lnTo>
                  <a:pt x="125" y="85"/>
                </a:lnTo>
                <a:lnTo>
                  <a:pt x="128" y="88"/>
                </a:lnTo>
                <a:lnTo>
                  <a:pt x="131" y="94"/>
                </a:lnTo>
                <a:lnTo>
                  <a:pt x="134" y="97"/>
                </a:lnTo>
                <a:lnTo>
                  <a:pt x="141" y="100"/>
                </a:lnTo>
                <a:lnTo>
                  <a:pt x="144" y="106"/>
                </a:lnTo>
                <a:lnTo>
                  <a:pt x="147" y="106"/>
                </a:lnTo>
                <a:lnTo>
                  <a:pt x="150" y="103"/>
                </a:lnTo>
                <a:lnTo>
                  <a:pt x="153" y="103"/>
                </a:lnTo>
                <a:lnTo>
                  <a:pt x="153" y="103"/>
                </a:lnTo>
                <a:lnTo>
                  <a:pt x="153" y="103"/>
                </a:lnTo>
                <a:lnTo>
                  <a:pt x="156" y="106"/>
                </a:lnTo>
                <a:lnTo>
                  <a:pt x="159" y="103"/>
                </a:lnTo>
                <a:lnTo>
                  <a:pt x="156" y="81"/>
                </a:lnTo>
                <a:lnTo>
                  <a:pt x="156" y="81"/>
                </a:lnTo>
                <a:lnTo>
                  <a:pt x="150" y="81"/>
                </a:lnTo>
                <a:lnTo>
                  <a:pt x="150" y="85"/>
                </a:lnTo>
                <a:lnTo>
                  <a:pt x="153" y="88"/>
                </a:lnTo>
                <a:lnTo>
                  <a:pt x="150" y="88"/>
                </a:lnTo>
                <a:lnTo>
                  <a:pt x="144" y="88"/>
                </a:lnTo>
                <a:lnTo>
                  <a:pt x="141" y="85"/>
                </a:lnTo>
                <a:lnTo>
                  <a:pt x="141" y="81"/>
                </a:lnTo>
                <a:lnTo>
                  <a:pt x="134" y="75"/>
                </a:lnTo>
                <a:lnTo>
                  <a:pt x="131" y="75"/>
                </a:lnTo>
                <a:lnTo>
                  <a:pt x="131" y="69"/>
                </a:lnTo>
                <a:lnTo>
                  <a:pt x="131" y="56"/>
                </a:lnTo>
                <a:lnTo>
                  <a:pt x="131" y="56"/>
                </a:lnTo>
                <a:lnTo>
                  <a:pt x="137" y="50"/>
                </a:lnTo>
                <a:lnTo>
                  <a:pt x="137" y="50"/>
                </a:lnTo>
                <a:lnTo>
                  <a:pt x="137" y="47"/>
                </a:lnTo>
                <a:lnTo>
                  <a:pt x="137" y="47"/>
                </a:lnTo>
                <a:lnTo>
                  <a:pt x="137" y="44"/>
                </a:lnTo>
                <a:lnTo>
                  <a:pt x="137" y="41"/>
                </a:lnTo>
                <a:lnTo>
                  <a:pt x="137" y="38"/>
                </a:lnTo>
                <a:lnTo>
                  <a:pt x="137" y="35"/>
                </a:lnTo>
                <a:lnTo>
                  <a:pt x="141" y="35"/>
                </a:lnTo>
                <a:lnTo>
                  <a:pt x="141" y="31"/>
                </a:lnTo>
                <a:lnTo>
                  <a:pt x="137" y="31"/>
                </a:lnTo>
                <a:lnTo>
                  <a:pt x="134" y="28"/>
                </a:lnTo>
                <a:lnTo>
                  <a:pt x="134" y="25"/>
                </a:lnTo>
                <a:lnTo>
                  <a:pt x="144" y="9"/>
                </a:lnTo>
                <a:lnTo>
                  <a:pt x="175" y="0"/>
                </a:lnTo>
                <a:lnTo>
                  <a:pt x="184" y="6"/>
                </a:lnTo>
                <a:lnTo>
                  <a:pt x="187" y="6"/>
                </a:lnTo>
                <a:lnTo>
                  <a:pt x="191" y="6"/>
                </a:lnTo>
                <a:lnTo>
                  <a:pt x="191" y="6"/>
                </a:lnTo>
                <a:lnTo>
                  <a:pt x="194" y="9"/>
                </a:lnTo>
                <a:lnTo>
                  <a:pt x="194" y="9"/>
                </a:lnTo>
                <a:lnTo>
                  <a:pt x="197" y="13"/>
                </a:lnTo>
                <a:lnTo>
                  <a:pt x="200" y="13"/>
                </a:lnTo>
                <a:lnTo>
                  <a:pt x="209" y="16"/>
                </a:lnTo>
                <a:lnTo>
                  <a:pt x="212" y="16"/>
                </a:lnTo>
                <a:lnTo>
                  <a:pt x="212" y="19"/>
                </a:lnTo>
                <a:lnTo>
                  <a:pt x="216" y="19"/>
                </a:lnTo>
                <a:lnTo>
                  <a:pt x="219" y="22"/>
                </a:lnTo>
                <a:lnTo>
                  <a:pt x="222" y="25"/>
                </a:lnTo>
                <a:lnTo>
                  <a:pt x="222" y="25"/>
                </a:lnTo>
                <a:lnTo>
                  <a:pt x="225" y="28"/>
                </a:lnTo>
                <a:lnTo>
                  <a:pt x="225" y="28"/>
                </a:lnTo>
                <a:lnTo>
                  <a:pt x="225" y="31"/>
                </a:lnTo>
                <a:lnTo>
                  <a:pt x="228" y="35"/>
                </a:lnTo>
                <a:lnTo>
                  <a:pt x="231" y="35"/>
                </a:lnTo>
                <a:lnTo>
                  <a:pt x="231" y="35"/>
                </a:lnTo>
                <a:lnTo>
                  <a:pt x="228" y="41"/>
                </a:lnTo>
                <a:lnTo>
                  <a:pt x="228" y="44"/>
                </a:lnTo>
                <a:lnTo>
                  <a:pt x="231" y="44"/>
                </a:lnTo>
                <a:lnTo>
                  <a:pt x="234" y="47"/>
                </a:lnTo>
                <a:lnTo>
                  <a:pt x="234" y="53"/>
                </a:lnTo>
                <a:lnTo>
                  <a:pt x="234" y="53"/>
                </a:lnTo>
                <a:lnTo>
                  <a:pt x="234" y="53"/>
                </a:lnTo>
                <a:lnTo>
                  <a:pt x="228" y="60"/>
                </a:lnTo>
                <a:lnTo>
                  <a:pt x="228" y="63"/>
                </a:lnTo>
                <a:lnTo>
                  <a:pt x="228" y="66"/>
                </a:lnTo>
                <a:lnTo>
                  <a:pt x="228" y="69"/>
                </a:lnTo>
                <a:lnTo>
                  <a:pt x="231" y="72"/>
                </a:lnTo>
                <a:lnTo>
                  <a:pt x="228" y="72"/>
                </a:lnTo>
                <a:lnTo>
                  <a:pt x="231" y="75"/>
                </a:lnTo>
                <a:lnTo>
                  <a:pt x="228" y="78"/>
                </a:lnTo>
                <a:lnTo>
                  <a:pt x="228" y="78"/>
                </a:lnTo>
                <a:lnTo>
                  <a:pt x="228" y="81"/>
                </a:lnTo>
                <a:lnTo>
                  <a:pt x="231" y="85"/>
                </a:lnTo>
                <a:lnTo>
                  <a:pt x="231" y="85"/>
                </a:lnTo>
                <a:lnTo>
                  <a:pt x="231" y="88"/>
                </a:lnTo>
                <a:lnTo>
                  <a:pt x="231" y="88"/>
                </a:lnTo>
                <a:lnTo>
                  <a:pt x="228" y="88"/>
                </a:lnTo>
                <a:lnTo>
                  <a:pt x="225" y="91"/>
                </a:lnTo>
                <a:lnTo>
                  <a:pt x="222" y="94"/>
                </a:lnTo>
                <a:lnTo>
                  <a:pt x="222" y="94"/>
                </a:lnTo>
                <a:lnTo>
                  <a:pt x="222" y="97"/>
                </a:lnTo>
                <a:lnTo>
                  <a:pt x="222" y="100"/>
                </a:lnTo>
                <a:lnTo>
                  <a:pt x="222" y="100"/>
                </a:lnTo>
                <a:lnTo>
                  <a:pt x="222" y="103"/>
                </a:lnTo>
                <a:lnTo>
                  <a:pt x="219" y="106"/>
                </a:lnTo>
                <a:lnTo>
                  <a:pt x="216" y="110"/>
                </a:lnTo>
                <a:lnTo>
                  <a:pt x="216" y="110"/>
                </a:lnTo>
                <a:lnTo>
                  <a:pt x="219" y="113"/>
                </a:lnTo>
                <a:lnTo>
                  <a:pt x="222" y="119"/>
                </a:lnTo>
                <a:lnTo>
                  <a:pt x="222" y="119"/>
                </a:lnTo>
                <a:lnTo>
                  <a:pt x="222" y="119"/>
                </a:lnTo>
                <a:lnTo>
                  <a:pt x="216" y="122"/>
                </a:lnTo>
                <a:lnTo>
                  <a:pt x="203" y="125"/>
                </a:lnTo>
                <a:lnTo>
                  <a:pt x="200" y="128"/>
                </a:lnTo>
                <a:lnTo>
                  <a:pt x="181" y="135"/>
                </a:lnTo>
                <a:lnTo>
                  <a:pt x="178" y="135"/>
                </a:lnTo>
                <a:lnTo>
                  <a:pt x="169" y="141"/>
                </a:lnTo>
                <a:lnTo>
                  <a:pt x="169" y="144"/>
                </a:lnTo>
                <a:lnTo>
                  <a:pt x="169" y="147"/>
                </a:lnTo>
                <a:lnTo>
                  <a:pt x="169" y="150"/>
                </a:lnTo>
                <a:lnTo>
                  <a:pt x="169" y="150"/>
                </a:lnTo>
                <a:lnTo>
                  <a:pt x="166" y="150"/>
                </a:lnTo>
                <a:lnTo>
                  <a:pt x="162" y="150"/>
                </a:lnTo>
                <a:lnTo>
                  <a:pt x="159" y="150"/>
                </a:lnTo>
                <a:lnTo>
                  <a:pt x="159" y="150"/>
                </a:lnTo>
                <a:lnTo>
                  <a:pt x="153" y="150"/>
                </a:lnTo>
                <a:lnTo>
                  <a:pt x="150" y="150"/>
                </a:lnTo>
                <a:lnTo>
                  <a:pt x="147" y="153"/>
                </a:lnTo>
                <a:lnTo>
                  <a:pt x="144" y="153"/>
                </a:lnTo>
                <a:lnTo>
                  <a:pt x="137" y="157"/>
                </a:lnTo>
                <a:lnTo>
                  <a:pt x="137" y="160"/>
                </a:lnTo>
                <a:lnTo>
                  <a:pt x="137" y="160"/>
                </a:lnTo>
                <a:lnTo>
                  <a:pt x="137" y="163"/>
                </a:lnTo>
                <a:lnTo>
                  <a:pt x="137" y="166"/>
                </a:lnTo>
                <a:lnTo>
                  <a:pt x="137" y="166"/>
                </a:lnTo>
                <a:lnTo>
                  <a:pt x="134" y="166"/>
                </a:lnTo>
                <a:lnTo>
                  <a:pt x="128" y="169"/>
                </a:lnTo>
                <a:lnTo>
                  <a:pt x="116" y="178"/>
                </a:lnTo>
                <a:lnTo>
                  <a:pt x="109" y="188"/>
                </a:lnTo>
                <a:lnTo>
                  <a:pt x="103" y="197"/>
                </a:lnTo>
                <a:lnTo>
                  <a:pt x="97" y="200"/>
                </a:lnTo>
                <a:lnTo>
                  <a:pt x="94" y="197"/>
                </a:lnTo>
                <a:lnTo>
                  <a:pt x="91" y="197"/>
                </a:lnTo>
                <a:lnTo>
                  <a:pt x="91" y="194"/>
                </a:lnTo>
                <a:lnTo>
                  <a:pt x="87" y="194"/>
                </a:lnTo>
                <a:lnTo>
                  <a:pt x="87" y="194"/>
                </a:lnTo>
                <a:lnTo>
                  <a:pt x="84" y="194"/>
                </a:lnTo>
                <a:lnTo>
                  <a:pt x="81" y="194"/>
                </a:lnTo>
                <a:lnTo>
                  <a:pt x="78" y="197"/>
                </a:lnTo>
                <a:lnTo>
                  <a:pt x="75" y="197"/>
                </a:lnTo>
                <a:lnTo>
                  <a:pt x="75" y="194"/>
                </a:lnTo>
                <a:lnTo>
                  <a:pt x="72" y="194"/>
                </a:lnTo>
                <a:lnTo>
                  <a:pt x="66" y="194"/>
                </a:lnTo>
                <a:lnTo>
                  <a:pt x="62" y="194"/>
                </a:lnTo>
                <a:lnTo>
                  <a:pt x="59" y="191"/>
                </a:lnTo>
                <a:lnTo>
                  <a:pt x="59" y="188"/>
                </a:lnTo>
                <a:lnTo>
                  <a:pt x="59" y="188"/>
                </a:lnTo>
                <a:lnTo>
                  <a:pt x="56" y="188"/>
                </a:lnTo>
                <a:lnTo>
                  <a:pt x="56" y="188"/>
                </a:lnTo>
                <a:lnTo>
                  <a:pt x="53" y="188"/>
                </a:lnTo>
                <a:lnTo>
                  <a:pt x="53" y="188"/>
                </a:lnTo>
                <a:lnTo>
                  <a:pt x="50" y="188"/>
                </a:lnTo>
                <a:lnTo>
                  <a:pt x="47" y="188"/>
                </a:lnTo>
                <a:lnTo>
                  <a:pt x="28" y="191"/>
                </a:lnTo>
                <a:lnTo>
                  <a:pt x="28" y="188"/>
                </a:lnTo>
                <a:lnTo>
                  <a:pt x="25" y="188"/>
                </a:lnTo>
                <a:lnTo>
                  <a:pt x="22" y="185"/>
                </a:lnTo>
                <a:lnTo>
                  <a:pt x="22" y="182"/>
                </a:lnTo>
                <a:lnTo>
                  <a:pt x="19" y="182"/>
                </a:lnTo>
                <a:lnTo>
                  <a:pt x="16" y="178"/>
                </a:lnTo>
                <a:lnTo>
                  <a:pt x="12" y="175"/>
                </a:lnTo>
                <a:lnTo>
                  <a:pt x="9" y="172"/>
                </a:lnTo>
                <a:lnTo>
                  <a:pt x="6" y="172"/>
                </a:lnTo>
                <a:lnTo>
                  <a:pt x="6" y="169"/>
                </a:lnTo>
                <a:lnTo>
                  <a:pt x="3" y="166"/>
                </a:lnTo>
                <a:lnTo>
                  <a:pt x="0" y="163"/>
                </a:lnTo>
                <a:lnTo>
                  <a:pt x="3" y="97"/>
                </a:lnTo>
                <a:lnTo>
                  <a:pt x="44" y="97"/>
                </a:lnTo>
                <a:lnTo>
                  <a:pt x="44" y="97"/>
                </a:lnTo>
                <a:lnTo>
                  <a:pt x="44" y="91"/>
                </a:lnTo>
                <a:lnTo>
                  <a:pt x="47" y="88"/>
                </a:lnTo>
                <a:lnTo>
                  <a:pt x="47" y="85"/>
                </a:lnTo>
                <a:lnTo>
                  <a:pt x="44" y="81"/>
                </a:lnTo>
                <a:lnTo>
                  <a:pt x="44" y="78"/>
                </a:lnTo>
                <a:lnTo>
                  <a:pt x="44" y="69"/>
                </a:lnTo>
                <a:lnTo>
                  <a:pt x="44" y="63"/>
                </a:lnTo>
                <a:lnTo>
                  <a:pt x="44" y="60"/>
                </a:lnTo>
                <a:lnTo>
                  <a:pt x="44" y="60"/>
                </a:lnTo>
                <a:lnTo>
                  <a:pt x="44" y="6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8" name="Freeform 146">
            <a:extLst>
              <a:ext uri="{FF2B5EF4-FFF2-40B4-BE49-F238E27FC236}">
                <a16:creationId xmlns:a16="http://schemas.microsoft.com/office/drawing/2014/main" id="{D6EDE0DC-D76E-6D14-0EC8-E7C3BF75322C}"/>
              </a:ext>
            </a:extLst>
          </p:cNvPr>
          <p:cNvSpPr>
            <a:spLocks/>
          </p:cNvSpPr>
          <p:nvPr userDrawn="1"/>
        </p:nvSpPr>
        <p:spPr bwMode="auto">
          <a:xfrm>
            <a:off x="13873848" y="9752883"/>
            <a:ext cx="784175" cy="774702"/>
          </a:xfrm>
          <a:custGeom>
            <a:avLst/>
            <a:gdLst>
              <a:gd name="T0" fmla="*/ 222 w 247"/>
              <a:gd name="T1" fmla="*/ 229 h 244"/>
              <a:gd name="T2" fmla="*/ 212 w 247"/>
              <a:gd name="T3" fmla="*/ 219 h 244"/>
              <a:gd name="T4" fmla="*/ 203 w 247"/>
              <a:gd name="T5" fmla="*/ 210 h 244"/>
              <a:gd name="T6" fmla="*/ 244 w 247"/>
              <a:gd name="T7" fmla="*/ 141 h 244"/>
              <a:gd name="T8" fmla="*/ 244 w 247"/>
              <a:gd name="T9" fmla="*/ 125 h 244"/>
              <a:gd name="T10" fmla="*/ 244 w 247"/>
              <a:gd name="T11" fmla="*/ 104 h 244"/>
              <a:gd name="T12" fmla="*/ 237 w 247"/>
              <a:gd name="T13" fmla="*/ 104 h 244"/>
              <a:gd name="T14" fmla="*/ 228 w 247"/>
              <a:gd name="T15" fmla="*/ 107 h 244"/>
              <a:gd name="T16" fmla="*/ 216 w 247"/>
              <a:gd name="T17" fmla="*/ 104 h 244"/>
              <a:gd name="T18" fmla="*/ 209 w 247"/>
              <a:gd name="T19" fmla="*/ 107 h 244"/>
              <a:gd name="T20" fmla="*/ 209 w 247"/>
              <a:gd name="T21" fmla="*/ 97 h 244"/>
              <a:gd name="T22" fmla="*/ 209 w 247"/>
              <a:gd name="T23" fmla="*/ 88 h 244"/>
              <a:gd name="T24" fmla="*/ 209 w 247"/>
              <a:gd name="T25" fmla="*/ 79 h 244"/>
              <a:gd name="T26" fmla="*/ 203 w 247"/>
              <a:gd name="T27" fmla="*/ 72 h 244"/>
              <a:gd name="T28" fmla="*/ 200 w 247"/>
              <a:gd name="T29" fmla="*/ 66 h 244"/>
              <a:gd name="T30" fmla="*/ 200 w 247"/>
              <a:gd name="T31" fmla="*/ 50 h 244"/>
              <a:gd name="T32" fmla="*/ 200 w 247"/>
              <a:gd name="T33" fmla="*/ 41 h 244"/>
              <a:gd name="T34" fmla="*/ 203 w 247"/>
              <a:gd name="T35" fmla="*/ 28 h 244"/>
              <a:gd name="T36" fmla="*/ 181 w 247"/>
              <a:gd name="T37" fmla="*/ 19 h 244"/>
              <a:gd name="T38" fmla="*/ 153 w 247"/>
              <a:gd name="T39" fmla="*/ 28 h 244"/>
              <a:gd name="T40" fmla="*/ 153 w 247"/>
              <a:gd name="T41" fmla="*/ 41 h 244"/>
              <a:gd name="T42" fmla="*/ 125 w 247"/>
              <a:gd name="T43" fmla="*/ 41 h 244"/>
              <a:gd name="T44" fmla="*/ 112 w 247"/>
              <a:gd name="T45" fmla="*/ 35 h 244"/>
              <a:gd name="T46" fmla="*/ 106 w 247"/>
              <a:gd name="T47" fmla="*/ 25 h 244"/>
              <a:gd name="T48" fmla="*/ 103 w 247"/>
              <a:gd name="T49" fmla="*/ 13 h 244"/>
              <a:gd name="T50" fmla="*/ 103 w 247"/>
              <a:gd name="T51" fmla="*/ 3 h 244"/>
              <a:gd name="T52" fmla="*/ 69 w 247"/>
              <a:gd name="T53" fmla="*/ 0 h 244"/>
              <a:gd name="T54" fmla="*/ 47 w 247"/>
              <a:gd name="T55" fmla="*/ 0 h 244"/>
              <a:gd name="T56" fmla="*/ 31 w 247"/>
              <a:gd name="T57" fmla="*/ 0 h 244"/>
              <a:gd name="T58" fmla="*/ 22 w 247"/>
              <a:gd name="T59" fmla="*/ 3 h 244"/>
              <a:gd name="T60" fmla="*/ 16 w 247"/>
              <a:gd name="T61" fmla="*/ 7 h 244"/>
              <a:gd name="T62" fmla="*/ 28 w 247"/>
              <a:gd name="T63" fmla="*/ 38 h 244"/>
              <a:gd name="T64" fmla="*/ 31 w 247"/>
              <a:gd name="T65" fmla="*/ 66 h 244"/>
              <a:gd name="T66" fmla="*/ 41 w 247"/>
              <a:gd name="T67" fmla="*/ 94 h 244"/>
              <a:gd name="T68" fmla="*/ 37 w 247"/>
              <a:gd name="T69" fmla="*/ 132 h 244"/>
              <a:gd name="T70" fmla="*/ 16 w 247"/>
              <a:gd name="T71" fmla="*/ 154 h 244"/>
              <a:gd name="T72" fmla="*/ 6 w 247"/>
              <a:gd name="T73" fmla="*/ 182 h 244"/>
              <a:gd name="T74" fmla="*/ 0 w 247"/>
              <a:gd name="T75" fmla="*/ 210 h 244"/>
              <a:gd name="T76" fmla="*/ 0 w 247"/>
              <a:gd name="T77" fmla="*/ 229 h 244"/>
              <a:gd name="T78" fmla="*/ 6 w 247"/>
              <a:gd name="T79" fmla="*/ 226 h 244"/>
              <a:gd name="T80" fmla="*/ 16 w 247"/>
              <a:gd name="T81" fmla="*/ 226 h 244"/>
              <a:gd name="T82" fmla="*/ 28 w 247"/>
              <a:gd name="T83" fmla="*/ 222 h 244"/>
              <a:gd name="T84" fmla="*/ 34 w 247"/>
              <a:gd name="T85" fmla="*/ 222 h 244"/>
              <a:gd name="T86" fmla="*/ 37 w 247"/>
              <a:gd name="T87" fmla="*/ 226 h 244"/>
              <a:gd name="T88" fmla="*/ 50 w 247"/>
              <a:gd name="T89" fmla="*/ 229 h 244"/>
              <a:gd name="T90" fmla="*/ 131 w 247"/>
              <a:gd name="T91" fmla="*/ 229 h 244"/>
              <a:gd name="T92" fmla="*/ 137 w 247"/>
              <a:gd name="T93" fmla="*/ 238 h 244"/>
              <a:gd name="T94" fmla="*/ 147 w 247"/>
              <a:gd name="T95" fmla="*/ 238 h 244"/>
              <a:gd name="T96" fmla="*/ 162 w 247"/>
              <a:gd name="T97" fmla="*/ 238 h 244"/>
              <a:gd name="T98" fmla="*/ 169 w 247"/>
              <a:gd name="T99" fmla="*/ 238 h 244"/>
              <a:gd name="T100" fmla="*/ 181 w 247"/>
              <a:gd name="T101" fmla="*/ 241 h 244"/>
              <a:gd name="T102" fmla="*/ 187 w 247"/>
              <a:gd name="T103" fmla="*/ 241 h 244"/>
              <a:gd name="T104" fmla="*/ 194 w 247"/>
              <a:gd name="T105" fmla="*/ 244 h 244"/>
              <a:gd name="T106" fmla="*/ 228 w 247"/>
              <a:gd name="T107" fmla="*/ 23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7" h="244">
                <a:moveTo>
                  <a:pt x="228" y="235"/>
                </a:moveTo>
                <a:lnTo>
                  <a:pt x="228" y="232"/>
                </a:lnTo>
                <a:lnTo>
                  <a:pt x="225" y="232"/>
                </a:lnTo>
                <a:lnTo>
                  <a:pt x="222" y="229"/>
                </a:lnTo>
                <a:lnTo>
                  <a:pt x="222" y="226"/>
                </a:lnTo>
                <a:lnTo>
                  <a:pt x="219" y="226"/>
                </a:lnTo>
                <a:lnTo>
                  <a:pt x="216" y="222"/>
                </a:lnTo>
                <a:lnTo>
                  <a:pt x="212" y="219"/>
                </a:lnTo>
                <a:lnTo>
                  <a:pt x="209" y="216"/>
                </a:lnTo>
                <a:lnTo>
                  <a:pt x="206" y="216"/>
                </a:lnTo>
                <a:lnTo>
                  <a:pt x="206" y="213"/>
                </a:lnTo>
                <a:lnTo>
                  <a:pt x="203" y="210"/>
                </a:lnTo>
                <a:lnTo>
                  <a:pt x="200" y="207"/>
                </a:lnTo>
                <a:lnTo>
                  <a:pt x="203" y="141"/>
                </a:lnTo>
                <a:lnTo>
                  <a:pt x="244" y="141"/>
                </a:lnTo>
                <a:lnTo>
                  <a:pt x="244" y="141"/>
                </a:lnTo>
                <a:lnTo>
                  <a:pt x="244" y="135"/>
                </a:lnTo>
                <a:lnTo>
                  <a:pt x="247" y="132"/>
                </a:lnTo>
                <a:lnTo>
                  <a:pt x="247" y="129"/>
                </a:lnTo>
                <a:lnTo>
                  <a:pt x="244" y="125"/>
                </a:lnTo>
                <a:lnTo>
                  <a:pt x="244" y="122"/>
                </a:lnTo>
                <a:lnTo>
                  <a:pt x="244" y="113"/>
                </a:lnTo>
                <a:lnTo>
                  <a:pt x="244" y="107"/>
                </a:lnTo>
                <a:lnTo>
                  <a:pt x="244" y="104"/>
                </a:lnTo>
                <a:lnTo>
                  <a:pt x="244" y="104"/>
                </a:lnTo>
                <a:lnTo>
                  <a:pt x="244" y="104"/>
                </a:lnTo>
                <a:lnTo>
                  <a:pt x="241" y="104"/>
                </a:lnTo>
                <a:lnTo>
                  <a:pt x="237" y="104"/>
                </a:lnTo>
                <a:lnTo>
                  <a:pt x="234" y="107"/>
                </a:lnTo>
                <a:lnTo>
                  <a:pt x="231" y="107"/>
                </a:lnTo>
                <a:lnTo>
                  <a:pt x="231" y="107"/>
                </a:lnTo>
                <a:lnTo>
                  <a:pt x="228" y="107"/>
                </a:lnTo>
                <a:lnTo>
                  <a:pt x="222" y="107"/>
                </a:lnTo>
                <a:lnTo>
                  <a:pt x="222" y="107"/>
                </a:lnTo>
                <a:lnTo>
                  <a:pt x="219" y="104"/>
                </a:lnTo>
                <a:lnTo>
                  <a:pt x="216" y="104"/>
                </a:lnTo>
                <a:lnTo>
                  <a:pt x="216" y="104"/>
                </a:lnTo>
                <a:lnTo>
                  <a:pt x="212" y="104"/>
                </a:lnTo>
                <a:lnTo>
                  <a:pt x="212" y="107"/>
                </a:lnTo>
                <a:lnTo>
                  <a:pt x="209" y="107"/>
                </a:lnTo>
                <a:lnTo>
                  <a:pt x="209" y="104"/>
                </a:lnTo>
                <a:lnTo>
                  <a:pt x="209" y="100"/>
                </a:lnTo>
                <a:lnTo>
                  <a:pt x="209" y="100"/>
                </a:lnTo>
                <a:lnTo>
                  <a:pt x="209" y="97"/>
                </a:lnTo>
                <a:lnTo>
                  <a:pt x="212" y="97"/>
                </a:lnTo>
                <a:lnTo>
                  <a:pt x="209" y="94"/>
                </a:lnTo>
                <a:lnTo>
                  <a:pt x="209" y="91"/>
                </a:lnTo>
                <a:lnTo>
                  <a:pt x="209" y="88"/>
                </a:lnTo>
                <a:lnTo>
                  <a:pt x="209" y="88"/>
                </a:lnTo>
                <a:lnTo>
                  <a:pt x="206" y="85"/>
                </a:lnTo>
                <a:lnTo>
                  <a:pt x="206" y="82"/>
                </a:lnTo>
                <a:lnTo>
                  <a:pt x="209" y="79"/>
                </a:lnTo>
                <a:lnTo>
                  <a:pt x="206" y="79"/>
                </a:lnTo>
                <a:lnTo>
                  <a:pt x="206" y="75"/>
                </a:lnTo>
                <a:lnTo>
                  <a:pt x="206" y="75"/>
                </a:lnTo>
                <a:lnTo>
                  <a:pt x="203" y="72"/>
                </a:lnTo>
                <a:lnTo>
                  <a:pt x="203" y="72"/>
                </a:lnTo>
                <a:lnTo>
                  <a:pt x="203" y="69"/>
                </a:lnTo>
                <a:lnTo>
                  <a:pt x="203" y="66"/>
                </a:lnTo>
                <a:lnTo>
                  <a:pt x="200" y="66"/>
                </a:lnTo>
                <a:lnTo>
                  <a:pt x="203" y="63"/>
                </a:lnTo>
                <a:lnTo>
                  <a:pt x="203" y="53"/>
                </a:lnTo>
                <a:lnTo>
                  <a:pt x="200" y="50"/>
                </a:lnTo>
                <a:lnTo>
                  <a:pt x="200" y="50"/>
                </a:lnTo>
                <a:lnTo>
                  <a:pt x="203" y="50"/>
                </a:lnTo>
                <a:lnTo>
                  <a:pt x="203" y="47"/>
                </a:lnTo>
                <a:lnTo>
                  <a:pt x="200" y="44"/>
                </a:lnTo>
                <a:lnTo>
                  <a:pt x="200" y="41"/>
                </a:lnTo>
                <a:lnTo>
                  <a:pt x="203" y="38"/>
                </a:lnTo>
                <a:lnTo>
                  <a:pt x="203" y="35"/>
                </a:lnTo>
                <a:lnTo>
                  <a:pt x="203" y="32"/>
                </a:lnTo>
                <a:lnTo>
                  <a:pt x="203" y="28"/>
                </a:lnTo>
                <a:lnTo>
                  <a:pt x="178" y="25"/>
                </a:lnTo>
                <a:lnTo>
                  <a:pt x="178" y="25"/>
                </a:lnTo>
                <a:lnTo>
                  <a:pt x="181" y="22"/>
                </a:lnTo>
                <a:lnTo>
                  <a:pt x="181" y="19"/>
                </a:lnTo>
                <a:lnTo>
                  <a:pt x="175" y="19"/>
                </a:lnTo>
                <a:lnTo>
                  <a:pt x="175" y="22"/>
                </a:lnTo>
                <a:lnTo>
                  <a:pt x="156" y="22"/>
                </a:lnTo>
                <a:lnTo>
                  <a:pt x="153" y="28"/>
                </a:lnTo>
                <a:lnTo>
                  <a:pt x="153" y="32"/>
                </a:lnTo>
                <a:lnTo>
                  <a:pt x="150" y="32"/>
                </a:lnTo>
                <a:lnTo>
                  <a:pt x="153" y="35"/>
                </a:lnTo>
                <a:lnTo>
                  <a:pt x="153" y="41"/>
                </a:lnTo>
                <a:lnTo>
                  <a:pt x="137" y="41"/>
                </a:lnTo>
                <a:lnTo>
                  <a:pt x="134" y="44"/>
                </a:lnTo>
                <a:lnTo>
                  <a:pt x="128" y="44"/>
                </a:lnTo>
                <a:lnTo>
                  <a:pt x="125" y="41"/>
                </a:lnTo>
                <a:lnTo>
                  <a:pt x="122" y="44"/>
                </a:lnTo>
                <a:lnTo>
                  <a:pt x="116" y="44"/>
                </a:lnTo>
                <a:lnTo>
                  <a:pt x="116" y="41"/>
                </a:lnTo>
                <a:lnTo>
                  <a:pt x="112" y="35"/>
                </a:lnTo>
                <a:lnTo>
                  <a:pt x="112" y="32"/>
                </a:lnTo>
                <a:lnTo>
                  <a:pt x="109" y="28"/>
                </a:lnTo>
                <a:lnTo>
                  <a:pt x="106" y="28"/>
                </a:lnTo>
                <a:lnTo>
                  <a:pt x="106" y="25"/>
                </a:lnTo>
                <a:lnTo>
                  <a:pt x="106" y="22"/>
                </a:lnTo>
                <a:lnTo>
                  <a:pt x="106" y="19"/>
                </a:lnTo>
                <a:lnTo>
                  <a:pt x="103" y="16"/>
                </a:lnTo>
                <a:lnTo>
                  <a:pt x="103" y="13"/>
                </a:lnTo>
                <a:lnTo>
                  <a:pt x="106" y="10"/>
                </a:lnTo>
                <a:lnTo>
                  <a:pt x="103" y="7"/>
                </a:lnTo>
                <a:lnTo>
                  <a:pt x="103" y="7"/>
                </a:lnTo>
                <a:lnTo>
                  <a:pt x="103" y="3"/>
                </a:lnTo>
                <a:lnTo>
                  <a:pt x="103" y="3"/>
                </a:lnTo>
                <a:lnTo>
                  <a:pt x="103" y="0"/>
                </a:lnTo>
                <a:lnTo>
                  <a:pt x="81" y="0"/>
                </a:lnTo>
                <a:lnTo>
                  <a:pt x="69" y="0"/>
                </a:lnTo>
                <a:lnTo>
                  <a:pt x="62" y="0"/>
                </a:lnTo>
                <a:lnTo>
                  <a:pt x="56" y="0"/>
                </a:lnTo>
                <a:lnTo>
                  <a:pt x="53" y="0"/>
                </a:lnTo>
                <a:lnTo>
                  <a:pt x="47" y="0"/>
                </a:lnTo>
                <a:lnTo>
                  <a:pt x="41" y="0"/>
                </a:lnTo>
                <a:lnTo>
                  <a:pt x="37" y="0"/>
                </a:lnTo>
                <a:lnTo>
                  <a:pt x="34" y="0"/>
                </a:lnTo>
                <a:lnTo>
                  <a:pt x="31" y="0"/>
                </a:lnTo>
                <a:lnTo>
                  <a:pt x="28" y="0"/>
                </a:lnTo>
                <a:lnTo>
                  <a:pt x="25" y="0"/>
                </a:lnTo>
                <a:lnTo>
                  <a:pt x="25" y="3"/>
                </a:lnTo>
                <a:lnTo>
                  <a:pt x="22" y="3"/>
                </a:lnTo>
                <a:lnTo>
                  <a:pt x="22" y="3"/>
                </a:lnTo>
                <a:lnTo>
                  <a:pt x="22" y="3"/>
                </a:lnTo>
                <a:lnTo>
                  <a:pt x="22" y="3"/>
                </a:lnTo>
                <a:lnTo>
                  <a:pt x="16" y="7"/>
                </a:lnTo>
                <a:lnTo>
                  <a:pt x="19" y="10"/>
                </a:lnTo>
                <a:lnTo>
                  <a:pt x="19" y="13"/>
                </a:lnTo>
                <a:lnTo>
                  <a:pt x="28" y="22"/>
                </a:lnTo>
                <a:lnTo>
                  <a:pt x="28" y="38"/>
                </a:lnTo>
                <a:lnTo>
                  <a:pt x="34" y="47"/>
                </a:lnTo>
                <a:lnTo>
                  <a:pt x="34" y="57"/>
                </a:lnTo>
                <a:lnTo>
                  <a:pt x="28" y="63"/>
                </a:lnTo>
                <a:lnTo>
                  <a:pt x="31" y="66"/>
                </a:lnTo>
                <a:lnTo>
                  <a:pt x="31" y="72"/>
                </a:lnTo>
                <a:lnTo>
                  <a:pt x="34" y="75"/>
                </a:lnTo>
                <a:lnTo>
                  <a:pt x="34" y="82"/>
                </a:lnTo>
                <a:lnTo>
                  <a:pt x="41" y="94"/>
                </a:lnTo>
                <a:lnTo>
                  <a:pt x="41" y="97"/>
                </a:lnTo>
                <a:lnTo>
                  <a:pt x="44" y="100"/>
                </a:lnTo>
                <a:lnTo>
                  <a:pt x="44" y="116"/>
                </a:lnTo>
                <a:lnTo>
                  <a:pt x="37" y="132"/>
                </a:lnTo>
                <a:lnTo>
                  <a:pt x="34" y="132"/>
                </a:lnTo>
                <a:lnTo>
                  <a:pt x="25" y="138"/>
                </a:lnTo>
                <a:lnTo>
                  <a:pt x="25" y="144"/>
                </a:lnTo>
                <a:lnTo>
                  <a:pt x="16" y="154"/>
                </a:lnTo>
                <a:lnTo>
                  <a:pt x="12" y="160"/>
                </a:lnTo>
                <a:lnTo>
                  <a:pt x="12" y="160"/>
                </a:lnTo>
                <a:lnTo>
                  <a:pt x="12" y="175"/>
                </a:lnTo>
                <a:lnTo>
                  <a:pt x="6" y="182"/>
                </a:lnTo>
                <a:lnTo>
                  <a:pt x="6" y="191"/>
                </a:lnTo>
                <a:lnTo>
                  <a:pt x="0" y="197"/>
                </a:lnTo>
                <a:lnTo>
                  <a:pt x="0" y="204"/>
                </a:lnTo>
                <a:lnTo>
                  <a:pt x="0" y="210"/>
                </a:lnTo>
                <a:lnTo>
                  <a:pt x="0" y="219"/>
                </a:lnTo>
                <a:lnTo>
                  <a:pt x="0" y="226"/>
                </a:lnTo>
                <a:lnTo>
                  <a:pt x="0" y="229"/>
                </a:lnTo>
                <a:lnTo>
                  <a:pt x="0" y="229"/>
                </a:lnTo>
                <a:lnTo>
                  <a:pt x="3" y="229"/>
                </a:lnTo>
                <a:lnTo>
                  <a:pt x="3" y="229"/>
                </a:lnTo>
                <a:lnTo>
                  <a:pt x="6" y="229"/>
                </a:lnTo>
                <a:lnTo>
                  <a:pt x="6" y="226"/>
                </a:lnTo>
                <a:lnTo>
                  <a:pt x="6" y="226"/>
                </a:lnTo>
                <a:lnTo>
                  <a:pt x="12" y="226"/>
                </a:lnTo>
                <a:lnTo>
                  <a:pt x="16" y="229"/>
                </a:lnTo>
                <a:lnTo>
                  <a:pt x="16" y="226"/>
                </a:lnTo>
                <a:lnTo>
                  <a:pt x="16" y="226"/>
                </a:lnTo>
                <a:lnTo>
                  <a:pt x="22" y="219"/>
                </a:lnTo>
                <a:lnTo>
                  <a:pt x="25" y="219"/>
                </a:lnTo>
                <a:lnTo>
                  <a:pt x="28" y="222"/>
                </a:lnTo>
                <a:lnTo>
                  <a:pt x="28" y="222"/>
                </a:lnTo>
                <a:lnTo>
                  <a:pt x="31" y="222"/>
                </a:lnTo>
                <a:lnTo>
                  <a:pt x="31" y="219"/>
                </a:lnTo>
                <a:lnTo>
                  <a:pt x="34" y="222"/>
                </a:lnTo>
                <a:lnTo>
                  <a:pt x="34" y="222"/>
                </a:lnTo>
                <a:lnTo>
                  <a:pt x="37" y="222"/>
                </a:lnTo>
                <a:lnTo>
                  <a:pt x="37" y="226"/>
                </a:lnTo>
                <a:lnTo>
                  <a:pt x="37" y="226"/>
                </a:lnTo>
                <a:lnTo>
                  <a:pt x="41" y="229"/>
                </a:lnTo>
                <a:lnTo>
                  <a:pt x="47" y="232"/>
                </a:lnTo>
                <a:lnTo>
                  <a:pt x="50" y="229"/>
                </a:lnTo>
                <a:lnTo>
                  <a:pt x="50" y="229"/>
                </a:lnTo>
                <a:lnTo>
                  <a:pt x="53" y="229"/>
                </a:lnTo>
                <a:lnTo>
                  <a:pt x="56" y="229"/>
                </a:lnTo>
                <a:lnTo>
                  <a:pt x="56" y="229"/>
                </a:lnTo>
                <a:lnTo>
                  <a:pt x="131" y="229"/>
                </a:lnTo>
                <a:lnTo>
                  <a:pt x="131" y="229"/>
                </a:lnTo>
                <a:lnTo>
                  <a:pt x="134" y="235"/>
                </a:lnTo>
                <a:lnTo>
                  <a:pt x="134" y="235"/>
                </a:lnTo>
                <a:lnTo>
                  <a:pt x="137" y="238"/>
                </a:lnTo>
                <a:lnTo>
                  <a:pt x="144" y="238"/>
                </a:lnTo>
                <a:lnTo>
                  <a:pt x="147" y="238"/>
                </a:lnTo>
                <a:lnTo>
                  <a:pt x="147" y="238"/>
                </a:lnTo>
                <a:lnTo>
                  <a:pt x="147" y="238"/>
                </a:lnTo>
                <a:lnTo>
                  <a:pt x="150" y="241"/>
                </a:lnTo>
                <a:lnTo>
                  <a:pt x="153" y="238"/>
                </a:lnTo>
                <a:lnTo>
                  <a:pt x="156" y="238"/>
                </a:lnTo>
                <a:lnTo>
                  <a:pt x="162" y="238"/>
                </a:lnTo>
                <a:lnTo>
                  <a:pt x="166" y="238"/>
                </a:lnTo>
                <a:lnTo>
                  <a:pt x="166" y="235"/>
                </a:lnTo>
                <a:lnTo>
                  <a:pt x="166" y="238"/>
                </a:lnTo>
                <a:lnTo>
                  <a:pt x="169" y="238"/>
                </a:lnTo>
                <a:lnTo>
                  <a:pt x="172" y="241"/>
                </a:lnTo>
                <a:lnTo>
                  <a:pt x="175" y="241"/>
                </a:lnTo>
                <a:lnTo>
                  <a:pt x="181" y="241"/>
                </a:lnTo>
                <a:lnTo>
                  <a:pt x="181" y="241"/>
                </a:lnTo>
                <a:lnTo>
                  <a:pt x="181" y="241"/>
                </a:lnTo>
                <a:lnTo>
                  <a:pt x="184" y="241"/>
                </a:lnTo>
                <a:lnTo>
                  <a:pt x="187" y="241"/>
                </a:lnTo>
                <a:lnTo>
                  <a:pt x="187" y="241"/>
                </a:lnTo>
                <a:lnTo>
                  <a:pt x="191" y="241"/>
                </a:lnTo>
                <a:lnTo>
                  <a:pt x="191" y="241"/>
                </a:lnTo>
                <a:lnTo>
                  <a:pt x="191" y="241"/>
                </a:lnTo>
                <a:lnTo>
                  <a:pt x="194" y="244"/>
                </a:lnTo>
                <a:lnTo>
                  <a:pt x="194" y="244"/>
                </a:lnTo>
                <a:lnTo>
                  <a:pt x="197" y="244"/>
                </a:lnTo>
                <a:lnTo>
                  <a:pt x="197" y="244"/>
                </a:lnTo>
                <a:lnTo>
                  <a:pt x="228" y="235"/>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9" name="Freeform 147">
            <a:extLst>
              <a:ext uri="{FF2B5EF4-FFF2-40B4-BE49-F238E27FC236}">
                <a16:creationId xmlns:a16="http://schemas.microsoft.com/office/drawing/2014/main" id="{ACD36C35-7F4E-848C-D6E7-B5F419B9C54A}"/>
              </a:ext>
            </a:extLst>
          </p:cNvPr>
          <p:cNvSpPr>
            <a:spLocks/>
          </p:cNvSpPr>
          <p:nvPr userDrawn="1"/>
        </p:nvSpPr>
        <p:spPr bwMode="auto">
          <a:xfrm>
            <a:off x="14705642" y="10368833"/>
            <a:ext cx="498446" cy="447678"/>
          </a:xfrm>
          <a:custGeom>
            <a:avLst/>
            <a:gdLst>
              <a:gd name="T0" fmla="*/ 10 w 157"/>
              <a:gd name="T1" fmla="*/ 44 h 141"/>
              <a:gd name="T2" fmla="*/ 16 w 157"/>
              <a:gd name="T3" fmla="*/ 47 h 141"/>
              <a:gd name="T4" fmla="*/ 25 w 157"/>
              <a:gd name="T5" fmla="*/ 44 h 141"/>
              <a:gd name="T6" fmla="*/ 29 w 157"/>
              <a:gd name="T7" fmla="*/ 47 h 141"/>
              <a:gd name="T8" fmla="*/ 41 w 157"/>
              <a:gd name="T9" fmla="*/ 47 h 141"/>
              <a:gd name="T10" fmla="*/ 66 w 157"/>
              <a:gd name="T11" fmla="*/ 19 h 141"/>
              <a:gd name="T12" fmla="*/ 75 w 157"/>
              <a:gd name="T13" fmla="*/ 16 h 141"/>
              <a:gd name="T14" fmla="*/ 75 w 157"/>
              <a:gd name="T15" fmla="*/ 10 h 141"/>
              <a:gd name="T16" fmla="*/ 85 w 157"/>
              <a:gd name="T17" fmla="*/ 3 h 141"/>
              <a:gd name="T18" fmla="*/ 97 w 157"/>
              <a:gd name="T19" fmla="*/ 0 h 141"/>
              <a:gd name="T20" fmla="*/ 104 w 157"/>
              <a:gd name="T21" fmla="*/ 0 h 141"/>
              <a:gd name="T22" fmla="*/ 107 w 157"/>
              <a:gd name="T23" fmla="*/ 7 h 141"/>
              <a:gd name="T24" fmla="*/ 119 w 157"/>
              <a:gd name="T25" fmla="*/ 10 h 141"/>
              <a:gd name="T26" fmla="*/ 125 w 157"/>
              <a:gd name="T27" fmla="*/ 10 h 141"/>
              <a:gd name="T28" fmla="*/ 138 w 157"/>
              <a:gd name="T29" fmla="*/ 19 h 141"/>
              <a:gd name="T30" fmla="*/ 150 w 157"/>
              <a:gd name="T31" fmla="*/ 22 h 141"/>
              <a:gd name="T32" fmla="*/ 154 w 157"/>
              <a:gd name="T33" fmla="*/ 32 h 141"/>
              <a:gd name="T34" fmla="*/ 154 w 157"/>
              <a:gd name="T35" fmla="*/ 38 h 141"/>
              <a:gd name="T36" fmla="*/ 154 w 157"/>
              <a:gd name="T37" fmla="*/ 50 h 141"/>
              <a:gd name="T38" fmla="*/ 154 w 157"/>
              <a:gd name="T39" fmla="*/ 53 h 141"/>
              <a:gd name="T40" fmla="*/ 150 w 157"/>
              <a:gd name="T41" fmla="*/ 63 h 141"/>
              <a:gd name="T42" fmla="*/ 147 w 157"/>
              <a:gd name="T43" fmla="*/ 69 h 141"/>
              <a:gd name="T44" fmla="*/ 150 w 157"/>
              <a:gd name="T45" fmla="*/ 78 h 141"/>
              <a:gd name="T46" fmla="*/ 154 w 157"/>
              <a:gd name="T47" fmla="*/ 85 h 141"/>
              <a:gd name="T48" fmla="*/ 144 w 157"/>
              <a:gd name="T49" fmla="*/ 94 h 141"/>
              <a:gd name="T50" fmla="*/ 144 w 157"/>
              <a:gd name="T51" fmla="*/ 100 h 141"/>
              <a:gd name="T52" fmla="*/ 141 w 157"/>
              <a:gd name="T53" fmla="*/ 113 h 141"/>
              <a:gd name="T54" fmla="*/ 116 w 157"/>
              <a:gd name="T55" fmla="*/ 138 h 141"/>
              <a:gd name="T56" fmla="*/ 100 w 157"/>
              <a:gd name="T57" fmla="*/ 138 h 141"/>
              <a:gd name="T58" fmla="*/ 91 w 157"/>
              <a:gd name="T59" fmla="*/ 135 h 141"/>
              <a:gd name="T60" fmla="*/ 79 w 157"/>
              <a:gd name="T61" fmla="*/ 132 h 141"/>
              <a:gd name="T62" fmla="*/ 75 w 157"/>
              <a:gd name="T63" fmla="*/ 125 h 141"/>
              <a:gd name="T64" fmla="*/ 69 w 157"/>
              <a:gd name="T65" fmla="*/ 122 h 141"/>
              <a:gd name="T66" fmla="*/ 60 w 157"/>
              <a:gd name="T67" fmla="*/ 122 h 141"/>
              <a:gd name="T68" fmla="*/ 47 w 157"/>
              <a:gd name="T69" fmla="*/ 113 h 141"/>
              <a:gd name="T70" fmla="*/ 47 w 157"/>
              <a:gd name="T71" fmla="*/ 103 h 141"/>
              <a:gd name="T72" fmla="*/ 41 w 157"/>
              <a:gd name="T73" fmla="*/ 97 h 141"/>
              <a:gd name="T74" fmla="*/ 41 w 157"/>
              <a:gd name="T75" fmla="*/ 94 h 141"/>
              <a:gd name="T76" fmla="*/ 32 w 157"/>
              <a:gd name="T77" fmla="*/ 88 h 141"/>
              <a:gd name="T78" fmla="*/ 22 w 157"/>
              <a:gd name="T79" fmla="*/ 72 h 141"/>
              <a:gd name="T80" fmla="*/ 16 w 157"/>
              <a:gd name="T81" fmla="*/ 69 h 141"/>
              <a:gd name="T82" fmla="*/ 13 w 157"/>
              <a:gd name="T83" fmla="*/ 60 h 141"/>
              <a:gd name="T84" fmla="*/ 10 w 157"/>
              <a:gd name="T85" fmla="*/ 57 h 141"/>
              <a:gd name="T86" fmla="*/ 4 w 157"/>
              <a:gd name="T87" fmla="*/ 50 h 141"/>
              <a:gd name="T88" fmla="*/ 4 w 157"/>
              <a:gd name="T89" fmla="*/ 44 h 141"/>
              <a:gd name="T90" fmla="*/ 0 w 157"/>
              <a:gd name="T91" fmla="*/ 4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7" h="141">
                <a:moveTo>
                  <a:pt x="0" y="44"/>
                </a:moveTo>
                <a:lnTo>
                  <a:pt x="4" y="44"/>
                </a:lnTo>
                <a:lnTo>
                  <a:pt x="10" y="44"/>
                </a:lnTo>
                <a:lnTo>
                  <a:pt x="13" y="44"/>
                </a:lnTo>
                <a:lnTo>
                  <a:pt x="13" y="47"/>
                </a:lnTo>
                <a:lnTo>
                  <a:pt x="16" y="47"/>
                </a:lnTo>
                <a:lnTo>
                  <a:pt x="19" y="44"/>
                </a:lnTo>
                <a:lnTo>
                  <a:pt x="22" y="44"/>
                </a:lnTo>
                <a:lnTo>
                  <a:pt x="25" y="44"/>
                </a:lnTo>
                <a:lnTo>
                  <a:pt x="25" y="44"/>
                </a:lnTo>
                <a:lnTo>
                  <a:pt x="29" y="44"/>
                </a:lnTo>
                <a:lnTo>
                  <a:pt x="29" y="47"/>
                </a:lnTo>
                <a:lnTo>
                  <a:pt x="32" y="47"/>
                </a:lnTo>
                <a:lnTo>
                  <a:pt x="35" y="50"/>
                </a:lnTo>
                <a:lnTo>
                  <a:pt x="41" y="47"/>
                </a:lnTo>
                <a:lnTo>
                  <a:pt x="47" y="38"/>
                </a:lnTo>
                <a:lnTo>
                  <a:pt x="54" y="28"/>
                </a:lnTo>
                <a:lnTo>
                  <a:pt x="66" y="19"/>
                </a:lnTo>
                <a:lnTo>
                  <a:pt x="72" y="16"/>
                </a:lnTo>
                <a:lnTo>
                  <a:pt x="75" y="16"/>
                </a:lnTo>
                <a:lnTo>
                  <a:pt x="75" y="16"/>
                </a:lnTo>
                <a:lnTo>
                  <a:pt x="75" y="13"/>
                </a:lnTo>
                <a:lnTo>
                  <a:pt x="75" y="10"/>
                </a:lnTo>
                <a:lnTo>
                  <a:pt x="75" y="10"/>
                </a:lnTo>
                <a:lnTo>
                  <a:pt x="75" y="7"/>
                </a:lnTo>
                <a:lnTo>
                  <a:pt x="82" y="3"/>
                </a:lnTo>
                <a:lnTo>
                  <a:pt x="85" y="3"/>
                </a:lnTo>
                <a:lnTo>
                  <a:pt x="88" y="0"/>
                </a:lnTo>
                <a:lnTo>
                  <a:pt x="91" y="0"/>
                </a:lnTo>
                <a:lnTo>
                  <a:pt x="97" y="0"/>
                </a:lnTo>
                <a:lnTo>
                  <a:pt x="97" y="0"/>
                </a:lnTo>
                <a:lnTo>
                  <a:pt x="100" y="0"/>
                </a:lnTo>
                <a:lnTo>
                  <a:pt x="104" y="0"/>
                </a:lnTo>
                <a:lnTo>
                  <a:pt x="107" y="0"/>
                </a:lnTo>
                <a:lnTo>
                  <a:pt x="107" y="0"/>
                </a:lnTo>
                <a:lnTo>
                  <a:pt x="107" y="7"/>
                </a:lnTo>
                <a:lnTo>
                  <a:pt x="113" y="7"/>
                </a:lnTo>
                <a:lnTo>
                  <a:pt x="116" y="10"/>
                </a:lnTo>
                <a:lnTo>
                  <a:pt x="119" y="10"/>
                </a:lnTo>
                <a:lnTo>
                  <a:pt x="119" y="10"/>
                </a:lnTo>
                <a:lnTo>
                  <a:pt x="122" y="7"/>
                </a:lnTo>
                <a:lnTo>
                  <a:pt x="125" y="10"/>
                </a:lnTo>
                <a:lnTo>
                  <a:pt x="132" y="13"/>
                </a:lnTo>
                <a:lnTo>
                  <a:pt x="135" y="16"/>
                </a:lnTo>
                <a:lnTo>
                  <a:pt x="138" y="19"/>
                </a:lnTo>
                <a:lnTo>
                  <a:pt x="144" y="19"/>
                </a:lnTo>
                <a:lnTo>
                  <a:pt x="150" y="22"/>
                </a:lnTo>
                <a:lnTo>
                  <a:pt x="150" y="22"/>
                </a:lnTo>
                <a:lnTo>
                  <a:pt x="157" y="25"/>
                </a:lnTo>
                <a:lnTo>
                  <a:pt x="157" y="28"/>
                </a:lnTo>
                <a:lnTo>
                  <a:pt x="154" y="32"/>
                </a:lnTo>
                <a:lnTo>
                  <a:pt x="154" y="35"/>
                </a:lnTo>
                <a:lnTo>
                  <a:pt x="154" y="35"/>
                </a:lnTo>
                <a:lnTo>
                  <a:pt x="154" y="38"/>
                </a:lnTo>
                <a:lnTo>
                  <a:pt x="154" y="41"/>
                </a:lnTo>
                <a:lnTo>
                  <a:pt x="154" y="44"/>
                </a:lnTo>
                <a:lnTo>
                  <a:pt x="154" y="50"/>
                </a:lnTo>
                <a:lnTo>
                  <a:pt x="150" y="53"/>
                </a:lnTo>
                <a:lnTo>
                  <a:pt x="150" y="53"/>
                </a:lnTo>
                <a:lnTo>
                  <a:pt x="154" y="53"/>
                </a:lnTo>
                <a:lnTo>
                  <a:pt x="154" y="57"/>
                </a:lnTo>
                <a:lnTo>
                  <a:pt x="150" y="60"/>
                </a:lnTo>
                <a:lnTo>
                  <a:pt x="150" y="63"/>
                </a:lnTo>
                <a:lnTo>
                  <a:pt x="150" y="66"/>
                </a:lnTo>
                <a:lnTo>
                  <a:pt x="147" y="66"/>
                </a:lnTo>
                <a:lnTo>
                  <a:pt x="147" y="69"/>
                </a:lnTo>
                <a:lnTo>
                  <a:pt x="150" y="72"/>
                </a:lnTo>
                <a:lnTo>
                  <a:pt x="150" y="75"/>
                </a:lnTo>
                <a:lnTo>
                  <a:pt x="150" y="78"/>
                </a:lnTo>
                <a:lnTo>
                  <a:pt x="150" y="82"/>
                </a:lnTo>
                <a:lnTo>
                  <a:pt x="150" y="82"/>
                </a:lnTo>
                <a:lnTo>
                  <a:pt x="154" y="85"/>
                </a:lnTo>
                <a:lnTo>
                  <a:pt x="150" y="91"/>
                </a:lnTo>
                <a:lnTo>
                  <a:pt x="147" y="91"/>
                </a:lnTo>
                <a:lnTo>
                  <a:pt x="144" y="94"/>
                </a:lnTo>
                <a:lnTo>
                  <a:pt x="144" y="94"/>
                </a:lnTo>
                <a:lnTo>
                  <a:pt x="141" y="97"/>
                </a:lnTo>
                <a:lnTo>
                  <a:pt x="144" y="100"/>
                </a:lnTo>
                <a:lnTo>
                  <a:pt x="141" y="103"/>
                </a:lnTo>
                <a:lnTo>
                  <a:pt x="141" y="110"/>
                </a:lnTo>
                <a:lnTo>
                  <a:pt x="141" y="113"/>
                </a:lnTo>
                <a:lnTo>
                  <a:pt x="141" y="119"/>
                </a:lnTo>
                <a:lnTo>
                  <a:pt x="119" y="141"/>
                </a:lnTo>
                <a:lnTo>
                  <a:pt x="116" y="138"/>
                </a:lnTo>
                <a:lnTo>
                  <a:pt x="110" y="135"/>
                </a:lnTo>
                <a:lnTo>
                  <a:pt x="104" y="138"/>
                </a:lnTo>
                <a:lnTo>
                  <a:pt x="100" y="138"/>
                </a:lnTo>
                <a:lnTo>
                  <a:pt x="100" y="138"/>
                </a:lnTo>
                <a:lnTo>
                  <a:pt x="94" y="135"/>
                </a:lnTo>
                <a:lnTo>
                  <a:pt x="91" y="135"/>
                </a:lnTo>
                <a:lnTo>
                  <a:pt x="91" y="132"/>
                </a:lnTo>
                <a:lnTo>
                  <a:pt x="85" y="132"/>
                </a:lnTo>
                <a:lnTo>
                  <a:pt x="79" y="132"/>
                </a:lnTo>
                <a:lnTo>
                  <a:pt x="79" y="132"/>
                </a:lnTo>
                <a:lnTo>
                  <a:pt x="75" y="129"/>
                </a:lnTo>
                <a:lnTo>
                  <a:pt x="75" y="125"/>
                </a:lnTo>
                <a:lnTo>
                  <a:pt x="75" y="125"/>
                </a:lnTo>
                <a:lnTo>
                  <a:pt x="72" y="125"/>
                </a:lnTo>
                <a:lnTo>
                  <a:pt x="69" y="122"/>
                </a:lnTo>
                <a:lnTo>
                  <a:pt x="66" y="122"/>
                </a:lnTo>
                <a:lnTo>
                  <a:pt x="60" y="119"/>
                </a:lnTo>
                <a:lnTo>
                  <a:pt x="60" y="122"/>
                </a:lnTo>
                <a:lnTo>
                  <a:pt x="54" y="119"/>
                </a:lnTo>
                <a:lnTo>
                  <a:pt x="54" y="116"/>
                </a:lnTo>
                <a:lnTo>
                  <a:pt x="47" y="113"/>
                </a:lnTo>
                <a:lnTo>
                  <a:pt x="47" y="110"/>
                </a:lnTo>
                <a:lnTo>
                  <a:pt x="47" y="107"/>
                </a:lnTo>
                <a:lnTo>
                  <a:pt x="47" y="103"/>
                </a:lnTo>
                <a:lnTo>
                  <a:pt x="47" y="100"/>
                </a:lnTo>
                <a:lnTo>
                  <a:pt x="44" y="97"/>
                </a:lnTo>
                <a:lnTo>
                  <a:pt x="41" y="97"/>
                </a:lnTo>
                <a:lnTo>
                  <a:pt x="41" y="94"/>
                </a:lnTo>
                <a:lnTo>
                  <a:pt x="41" y="94"/>
                </a:lnTo>
                <a:lnTo>
                  <a:pt x="41" y="94"/>
                </a:lnTo>
                <a:lnTo>
                  <a:pt x="38" y="91"/>
                </a:lnTo>
                <a:lnTo>
                  <a:pt x="35" y="91"/>
                </a:lnTo>
                <a:lnTo>
                  <a:pt x="32" y="88"/>
                </a:lnTo>
                <a:lnTo>
                  <a:pt x="29" y="85"/>
                </a:lnTo>
                <a:lnTo>
                  <a:pt x="22" y="75"/>
                </a:lnTo>
                <a:lnTo>
                  <a:pt x="22" y="72"/>
                </a:lnTo>
                <a:lnTo>
                  <a:pt x="19" y="72"/>
                </a:lnTo>
                <a:lnTo>
                  <a:pt x="19" y="72"/>
                </a:lnTo>
                <a:lnTo>
                  <a:pt x="16" y="69"/>
                </a:lnTo>
                <a:lnTo>
                  <a:pt x="16" y="66"/>
                </a:lnTo>
                <a:lnTo>
                  <a:pt x="13" y="63"/>
                </a:lnTo>
                <a:lnTo>
                  <a:pt x="13" y="60"/>
                </a:lnTo>
                <a:lnTo>
                  <a:pt x="10" y="60"/>
                </a:lnTo>
                <a:lnTo>
                  <a:pt x="10" y="57"/>
                </a:lnTo>
                <a:lnTo>
                  <a:pt x="10" y="57"/>
                </a:lnTo>
                <a:lnTo>
                  <a:pt x="7" y="53"/>
                </a:lnTo>
                <a:lnTo>
                  <a:pt x="7" y="53"/>
                </a:lnTo>
                <a:lnTo>
                  <a:pt x="4" y="50"/>
                </a:lnTo>
                <a:lnTo>
                  <a:pt x="4" y="47"/>
                </a:lnTo>
                <a:lnTo>
                  <a:pt x="4" y="47"/>
                </a:lnTo>
                <a:lnTo>
                  <a:pt x="4" y="44"/>
                </a:lnTo>
                <a:lnTo>
                  <a:pt x="0" y="44"/>
                </a:lnTo>
                <a:lnTo>
                  <a:pt x="0" y="44"/>
                </a:lnTo>
                <a:lnTo>
                  <a:pt x="0" y="44"/>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0" name="Freeform 148">
            <a:extLst>
              <a:ext uri="{FF2B5EF4-FFF2-40B4-BE49-F238E27FC236}">
                <a16:creationId xmlns:a16="http://schemas.microsoft.com/office/drawing/2014/main" id="{0AAD0F03-1EC6-4B27-6566-E2287E9D1BDF}"/>
              </a:ext>
            </a:extLst>
          </p:cNvPr>
          <p:cNvSpPr>
            <a:spLocks/>
          </p:cNvSpPr>
          <p:nvPr userDrawn="1"/>
        </p:nvSpPr>
        <p:spPr bwMode="auto">
          <a:xfrm>
            <a:off x="14369111" y="10508533"/>
            <a:ext cx="587338" cy="577850"/>
          </a:xfrm>
          <a:custGeom>
            <a:avLst/>
            <a:gdLst>
              <a:gd name="T0" fmla="*/ 110 w 185"/>
              <a:gd name="T1" fmla="*/ 3 h 182"/>
              <a:gd name="T2" fmla="*/ 113 w 185"/>
              <a:gd name="T3" fmla="*/ 9 h 182"/>
              <a:gd name="T4" fmla="*/ 116 w 185"/>
              <a:gd name="T5" fmla="*/ 13 h 182"/>
              <a:gd name="T6" fmla="*/ 119 w 185"/>
              <a:gd name="T7" fmla="*/ 19 h 182"/>
              <a:gd name="T8" fmla="*/ 125 w 185"/>
              <a:gd name="T9" fmla="*/ 28 h 182"/>
              <a:gd name="T10" fmla="*/ 128 w 185"/>
              <a:gd name="T11" fmla="*/ 31 h 182"/>
              <a:gd name="T12" fmla="*/ 141 w 185"/>
              <a:gd name="T13" fmla="*/ 47 h 182"/>
              <a:gd name="T14" fmla="*/ 147 w 185"/>
              <a:gd name="T15" fmla="*/ 50 h 182"/>
              <a:gd name="T16" fmla="*/ 150 w 185"/>
              <a:gd name="T17" fmla="*/ 53 h 182"/>
              <a:gd name="T18" fmla="*/ 153 w 185"/>
              <a:gd name="T19" fmla="*/ 63 h 182"/>
              <a:gd name="T20" fmla="*/ 160 w 185"/>
              <a:gd name="T21" fmla="*/ 72 h 182"/>
              <a:gd name="T22" fmla="*/ 166 w 185"/>
              <a:gd name="T23" fmla="*/ 75 h 182"/>
              <a:gd name="T24" fmla="*/ 178 w 185"/>
              <a:gd name="T25" fmla="*/ 81 h 182"/>
              <a:gd name="T26" fmla="*/ 181 w 185"/>
              <a:gd name="T27" fmla="*/ 85 h 182"/>
              <a:gd name="T28" fmla="*/ 185 w 185"/>
              <a:gd name="T29" fmla="*/ 88 h 182"/>
              <a:gd name="T30" fmla="*/ 175 w 185"/>
              <a:gd name="T31" fmla="*/ 91 h 182"/>
              <a:gd name="T32" fmla="*/ 172 w 185"/>
              <a:gd name="T33" fmla="*/ 97 h 182"/>
              <a:gd name="T34" fmla="*/ 166 w 185"/>
              <a:gd name="T35" fmla="*/ 100 h 182"/>
              <a:gd name="T36" fmla="*/ 156 w 185"/>
              <a:gd name="T37" fmla="*/ 103 h 182"/>
              <a:gd name="T38" fmla="*/ 150 w 185"/>
              <a:gd name="T39" fmla="*/ 110 h 182"/>
              <a:gd name="T40" fmla="*/ 144 w 185"/>
              <a:gd name="T41" fmla="*/ 113 h 182"/>
              <a:gd name="T42" fmla="*/ 135 w 185"/>
              <a:gd name="T43" fmla="*/ 125 h 182"/>
              <a:gd name="T44" fmla="*/ 135 w 185"/>
              <a:gd name="T45" fmla="*/ 131 h 182"/>
              <a:gd name="T46" fmla="*/ 128 w 185"/>
              <a:gd name="T47" fmla="*/ 135 h 182"/>
              <a:gd name="T48" fmla="*/ 125 w 185"/>
              <a:gd name="T49" fmla="*/ 141 h 182"/>
              <a:gd name="T50" fmla="*/ 113 w 185"/>
              <a:gd name="T51" fmla="*/ 144 h 182"/>
              <a:gd name="T52" fmla="*/ 110 w 185"/>
              <a:gd name="T53" fmla="*/ 153 h 182"/>
              <a:gd name="T54" fmla="*/ 110 w 185"/>
              <a:gd name="T55" fmla="*/ 163 h 182"/>
              <a:gd name="T56" fmla="*/ 103 w 185"/>
              <a:gd name="T57" fmla="*/ 163 h 182"/>
              <a:gd name="T58" fmla="*/ 91 w 185"/>
              <a:gd name="T59" fmla="*/ 163 h 182"/>
              <a:gd name="T60" fmla="*/ 78 w 185"/>
              <a:gd name="T61" fmla="*/ 160 h 182"/>
              <a:gd name="T62" fmla="*/ 66 w 185"/>
              <a:gd name="T63" fmla="*/ 153 h 182"/>
              <a:gd name="T64" fmla="*/ 53 w 185"/>
              <a:gd name="T65" fmla="*/ 169 h 182"/>
              <a:gd name="T66" fmla="*/ 41 w 185"/>
              <a:gd name="T67" fmla="*/ 175 h 182"/>
              <a:gd name="T68" fmla="*/ 31 w 185"/>
              <a:gd name="T69" fmla="*/ 182 h 182"/>
              <a:gd name="T70" fmla="*/ 19 w 185"/>
              <a:gd name="T71" fmla="*/ 182 h 182"/>
              <a:gd name="T72" fmla="*/ 16 w 185"/>
              <a:gd name="T73" fmla="*/ 172 h 182"/>
              <a:gd name="T74" fmla="*/ 10 w 185"/>
              <a:gd name="T75" fmla="*/ 150 h 182"/>
              <a:gd name="T76" fmla="*/ 0 w 185"/>
              <a:gd name="T77" fmla="*/ 147 h 182"/>
              <a:gd name="T78" fmla="*/ 22 w 185"/>
              <a:gd name="T79" fmla="*/ 85 h 182"/>
              <a:gd name="T80" fmla="*/ 60 w 185"/>
              <a:gd name="T81" fmla="*/ 9 h 182"/>
              <a:gd name="T82" fmla="*/ 69 w 185"/>
              <a:gd name="T83" fmla="*/ 6 h 182"/>
              <a:gd name="T84" fmla="*/ 72 w 185"/>
              <a:gd name="T85" fmla="*/ 13 h 182"/>
              <a:gd name="T86" fmla="*/ 72 w 185"/>
              <a:gd name="T87" fmla="*/ 16 h 182"/>
              <a:gd name="T88" fmla="*/ 88 w 185"/>
              <a:gd name="T89" fmla="*/ 3 h 182"/>
              <a:gd name="T90" fmla="*/ 94 w 185"/>
              <a:gd name="T91" fmla="*/ 3 h 182"/>
              <a:gd name="T92" fmla="*/ 106 w 185"/>
              <a:gd name="T9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5" h="182">
                <a:moveTo>
                  <a:pt x="106" y="0"/>
                </a:moveTo>
                <a:lnTo>
                  <a:pt x="110" y="0"/>
                </a:lnTo>
                <a:lnTo>
                  <a:pt x="110" y="3"/>
                </a:lnTo>
                <a:lnTo>
                  <a:pt x="110" y="3"/>
                </a:lnTo>
                <a:lnTo>
                  <a:pt x="110" y="6"/>
                </a:lnTo>
                <a:lnTo>
                  <a:pt x="113" y="9"/>
                </a:lnTo>
                <a:lnTo>
                  <a:pt x="113" y="9"/>
                </a:lnTo>
                <a:lnTo>
                  <a:pt x="116" y="13"/>
                </a:lnTo>
                <a:lnTo>
                  <a:pt x="116" y="13"/>
                </a:lnTo>
                <a:lnTo>
                  <a:pt x="116" y="16"/>
                </a:lnTo>
                <a:lnTo>
                  <a:pt x="119" y="16"/>
                </a:lnTo>
                <a:lnTo>
                  <a:pt x="119" y="19"/>
                </a:lnTo>
                <a:lnTo>
                  <a:pt x="122" y="22"/>
                </a:lnTo>
                <a:lnTo>
                  <a:pt x="122" y="25"/>
                </a:lnTo>
                <a:lnTo>
                  <a:pt x="125" y="28"/>
                </a:lnTo>
                <a:lnTo>
                  <a:pt x="125" y="28"/>
                </a:lnTo>
                <a:lnTo>
                  <a:pt x="128" y="28"/>
                </a:lnTo>
                <a:lnTo>
                  <a:pt x="128" y="31"/>
                </a:lnTo>
                <a:lnTo>
                  <a:pt x="135" y="41"/>
                </a:lnTo>
                <a:lnTo>
                  <a:pt x="138" y="44"/>
                </a:lnTo>
                <a:lnTo>
                  <a:pt x="141" y="47"/>
                </a:lnTo>
                <a:lnTo>
                  <a:pt x="144" y="47"/>
                </a:lnTo>
                <a:lnTo>
                  <a:pt x="147" y="50"/>
                </a:lnTo>
                <a:lnTo>
                  <a:pt x="147" y="50"/>
                </a:lnTo>
                <a:lnTo>
                  <a:pt x="147" y="50"/>
                </a:lnTo>
                <a:lnTo>
                  <a:pt x="147" y="53"/>
                </a:lnTo>
                <a:lnTo>
                  <a:pt x="150" y="53"/>
                </a:lnTo>
                <a:lnTo>
                  <a:pt x="153" y="56"/>
                </a:lnTo>
                <a:lnTo>
                  <a:pt x="153" y="59"/>
                </a:lnTo>
                <a:lnTo>
                  <a:pt x="153" y="63"/>
                </a:lnTo>
                <a:lnTo>
                  <a:pt x="153" y="66"/>
                </a:lnTo>
                <a:lnTo>
                  <a:pt x="153" y="69"/>
                </a:lnTo>
                <a:lnTo>
                  <a:pt x="160" y="72"/>
                </a:lnTo>
                <a:lnTo>
                  <a:pt x="160" y="75"/>
                </a:lnTo>
                <a:lnTo>
                  <a:pt x="166" y="78"/>
                </a:lnTo>
                <a:lnTo>
                  <a:pt x="166" y="75"/>
                </a:lnTo>
                <a:lnTo>
                  <a:pt x="172" y="78"/>
                </a:lnTo>
                <a:lnTo>
                  <a:pt x="175" y="78"/>
                </a:lnTo>
                <a:lnTo>
                  <a:pt x="178" y="81"/>
                </a:lnTo>
                <a:lnTo>
                  <a:pt x="181" y="81"/>
                </a:lnTo>
                <a:lnTo>
                  <a:pt x="181" y="81"/>
                </a:lnTo>
                <a:lnTo>
                  <a:pt x="181" y="85"/>
                </a:lnTo>
                <a:lnTo>
                  <a:pt x="185" y="88"/>
                </a:lnTo>
                <a:lnTo>
                  <a:pt x="185" y="88"/>
                </a:lnTo>
                <a:lnTo>
                  <a:pt x="185" y="88"/>
                </a:lnTo>
                <a:lnTo>
                  <a:pt x="181" y="91"/>
                </a:lnTo>
                <a:lnTo>
                  <a:pt x="178" y="91"/>
                </a:lnTo>
                <a:lnTo>
                  <a:pt x="175" y="91"/>
                </a:lnTo>
                <a:lnTo>
                  <a:pt x="175" y="94"/>
                </a:lnTo>
                <a:lnTo>
                  <a:pt x="175" y="97"/>
                </a:lnTo>
                <a:lnTo>
                  <a:pt x="172" y="97"/>
                </a:lnTo>
                <a:lnTo>
                  <a:pt x="169" y="100"/>
                </a:lnTo>
                <a:lnTo>
                  <a:pt x="166" y="100"/>
                </a:lnTo>
                <a:lnTo>
                  <a:pt x="166" y="100"/>
                </a:lnTo>
                <a:lnTo>
                  <a:pt x="163" y="100"/>
                </a:lnTo>
                <a:lnTo>
                  <a:pt x="160" y="100"/>
                </a:lnTo>
                <a:lnTo>
                  <a:pt x="156" y="103"/>
                </a:lnTo>
                <a:lnTo>
                  <a:pt x="153" y="106"/>
                </a:lnTo>
                <a:lnTo>
                  <a:pt x="150" y="106"/>
                </a:lnTo>
                <a:lnTo>
                  <a:pt x="150" y="110"/>
                </a:lnTo>
                <a:lnTo>
                  <a:pt x="147" y="110"/>
                </a:lnTo>
                <a:lnTo>
                  <a:pt x="147" y="113"/>
                </a:lnTo>
                <a:lnTo>
                  <a:pt x="144" y="113"/>
                </a:lnTo>
                <a:lnTo>
                  <a:pt x="141" y="113"/>
                </a:lnTo>
                <a:lnTo>
                  <a:pt x="135" y="122"/>
                </a:lnTo>
                <a:lnTo>
                  <a:pt x="135" y="125"/>
                </a:lnTo>
                <a:lnTo>
                  <a:pt x="135" y="128"/>
                </a:lnTo>
                <a:lnTo>
                  <a:pt x="135" y="131"/>
                </a:lnTo>
                <a:lnTo>
                  <a:pt x="135" y="131"/>
                </a:lnTo>
                <a:lnTo>
                  <a:pt x="131" y="131"/>
                </a:lnTo>
                <a:lnTo>
                  <a:pt x="128" y="135"/>
                </a:lnTo>
                <a:lnTo>
                  <a:pt x="128" y="135"/>
                </a:lnTo>
                <a:lnTo>
                  <a:pt x="125" y="138"/>
                </a:lnTo>
                <a:lnTo>
                  <a:pt x="125" y="138"/>
                </a:lnTo>
                <a:lnTo>
                  <a:pt x="125" y="141"/>
                </a:lnTo>
                <a:lnTo>
                  <a:pt x="122" y="141"/>
                </a:lnTo>
                <a:lnTo>
                  <a:pt x="119" y="144"/>
                </a:lnTo>
                <a:lnTo>
                  <a:pt x="113" y="144"/>
                </a:lnTo>
                <a:lnTo>
                  <a:pt x="113" y="147"/>
                </a:lnTo>
                <a:lnTo>
                  <a:pt x="113" y="153"/>
                </a:lnTo>
                <a:lnTo>
                  <a:pt x="110" y="153"/>
                </a:lnTo>
                <a:lnTo>
                  <a:pt x="110" y="156"/>
                </a:lnTo>
                <a:lnTo>
                  <a:pt x="110" y="160"/>
                </a:lnTo>
                <a:lnTo>
                  <a:pt x="110" y="163"/>
                </a:lnTo>
                <a:lnTo>
                  <a:pt x="106" y="166"/>
                </a:lnTo>
                <a:lnTo>
                  <a:pt x="103" y="163"/>
                </a:lnTo>
                <a:lnTo>
                  <a:pt x="103" y="163"/>
                </a:lnTo>
                <a:lnTo>
                  <a:pt x="100" y="163"/>
                </a:lnTo>
                <a:lnTo>
                  <a:pt x="94" y="163"/>
                </a:lnTo>
                <a:lnTo>
                  <a:pt x="91" y="163"/>
                </a:lnTo>
                <a:lnTo>
                  <a:pt x="88" y="163"/>
                </a:lnTo>
                <a:lnTo>
                  <a:pt x="85" y="163"/>
                </a:lnTo>
                <a:lnTo>
                  <a:pt x="78" y="160"/>
                </a:lnTo>
                <a:lnTo>
                  <a:pt x="75" y="156"/>
                </a:lnTo>
                <a:lnTo>
                  <a:pt x="72" y="156"/>
                </a:lnTo>
                <a:lnTo>
                  <a:pt x="66" y="153"/>
                </a:lnTo>
                <a:lnTo>
                  <a:pt x="63" y="156"/>
                </a:lnTo>
                <a:lnTo>
                  <a:pt x="56" y="160"/>
                </a:lnTo>
                <a:lnTo>
                  <a:pt x="53" y="169"/>
                </a:lnTo>
                <a:lnTo>
                  <a:pt x="50" y="172"/>
                </a:lnTo>
                <a:lnTo>
                  <a:pt x="44" y="175"/>
                </a:lnTo>
                <a:lnTo>
                  <a:pt x="41" y="175"/>
                </a:lnTo>
                <a:lnTo>
                  <a:pt x="38" y="178"/>
                </a:lnTo>
                <a:lnTo>
                  <a:pt x="35" y="182"/>
                </a:lnTo>
                <a:lnTo>
                  <a:pt x="31" y="182"/>
                </a:lnTo>
                <a:lnTo>
                  <a:pt x="25" y="182"/>
                </a:lnTo>
                <a:lnTo>
                  <a:pt x="22" y="182"/>
                </a:lnTo>
                <a:lnTo>
                  <a:pt x="19" y="182"/>
                </a:lnTo>
                <a:lnTo>
                  <a:pt x="13" y="182"/>
                </a:lnTo>
                <a:lnTo>
                  <a:pt x="13" y="178"/>
                </a:lnTo>
                <a:lnTo>
                  <a:pt x="16" y="172"/>
                </a:lnTo>
                <a:lnTo>
                  <a:pt x="16" y="166"/>
                </a:lnTo>
                <a:lnTo>
                  <a:pt x="10" y="156"/>
                </a:lnTo>
                <a:lnTo>
                  <a:pt x="10" y="150"/>
                </a:lnTo>
                <a:lnTo>
                  <a:pt x="3" y="147"/>
                </a:lnTo>
                <a:lnTo>
                  <a:pt x="3" y="147"/>
                </a:lnTo>
                <a:lnTo>
                  <a:pt x="0" y="147"/>
                </a:lnTo>
                <a:lnTo>
                  <a:pt x="0" y="147"/>
                </a:lnTo>
                <a:lnTo>
                  <a:pt x="6" y="85"/>
                </a:lnTo>
                <a:lnTo>
                  <a:pt x="22" y="85"/>
                </a:lnTo>
                <a:lnTo>
                  <a:pt x="25" y="13"/>
                </a:lnTo>
                <a:lnTo>
                  <a:pt x="41" y="13"/>
                </a:lnTo>
                <a:lnTo>
                  <a:pt x="60" y="9"/>
                </a:lnTo>
                <a:lnTo>
                  <a:pt x="66" y="6"/>
                </a:lnTo>
                <a:lnTo>
                  <a:pt x="69" y="6"/>
                </a:lnTo>
                <a:lnTo>
                  <a:pt x="69" y="6"/>
                </a:lnTo>
                <a:lnTo>
                  <a:pt x="69" y="6"/>
                </a:lnTo>
                <a:lnTo>
                  <a:pt x="72" y="9"/>
                </a:lnTo>
                <a:lnTo>
                  <a:pt x="72" y="13"/>
                </a:lnTo>
                <a:lnTo>
                  <a:pt x="72" y="13"/>
                </a:lnTo>
                <a:lnTo>
                  <a:pt x="72" y="16"/>
                </a:lnTo>
                <a:lnTo>
                  <a:pt x="72" y="16"/>
                </a:lnTo>
                <a:lnTo>
                  <a:pt x="78" y="13"/>
                </a:lnTo>
                <a:lnTo>
                  <a:pt x="85" y="6"/>
                </a:lnTo>
                <a:lnTo>
                  <a:pt x="88" y="3"/>
                </a:lnTo>
                <a:lnTo>
                  <a:pt x="91" y="3"/>
                </a:lnTo>
                <a:lnTo>
                  <a:pt x="91" y="3"/>
                </a:lnTo>
                <a:lnTo>
                  <a:pt x="94" y="3"/>
                </a:lnTo>
                <a:lnTo>
                  <a:pt x="97" y="3"/>
                </a:lnTo>
                <a:lnTo>
                  <a:pt x="103" y="0"/>
                </a:lnTo>
                <a:lnTo>
                  <a:pt x="106" y="0"/>
                </a:lnTo>
                <a:lnTo>
                  <a:pt x="106" y="0"/>
                </a:lnTo>
                <a:lnTo>
                  <a:pt x="106"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1" name="Freeform 149">
            <a:extLst>
              <a:ext uri="{FF2B5EF4-FFF2-40B4-BE49-F238E27FC236}">
                <a16:creationId xmlns:a16="http://schemas.microsoft.com/office/drawing/2014/main" id="{AA0C3FB0-CE55-293A-4248-75B5AEF92478}"/>
              </a:ext>
            </a:extLst>
          </p:cNvPr>
          <p:cNvSpPr>
            <a:spLocks/>
          </p:cNvSpPr>
          <p:nvPr userDrawn="1"/>
        </p:nvSpPr>
        <p:spPr bwMode="auto">
          <a:xfrm>
            <a:off x="13873848" y="10448211"/>
            <a:ext cx="831796" cy="796926"/>
          </a:xfrm>
          <a:custGeom>
            <a:avLst/>
            <a:gdLst>
              <a:gd name="T0" fmla="*/ 162 w 262"/>
              <a:gd name="T1" fmla="*/ 104 h 251"/>
              <a:gd name="T2" fmla="*/ 197 w 262"/>
              <a:gd name="T3" fmla="*/ 32 h 251"/>
              <a:gd name="T4" fmla="*/ 225 w 262"/>
              <a:gd name="T5" fmla="*/ 25 h 251"/>
              <a:gd name="T6" fmla="*/ 228 w 262"/>
              <a:gd name="T7" fmla="*/ 28 h 251"/>
              <a:gd name="T8" fmla="*/ 228 w 262"/>
              <a:gd name="T9" fmla="*/ 35 h 251"/>
              <a:gd name="T10" fmla="*/ 241 w 262"/>
              <a:gd name="T11" fmla="*/ 25 h 251"/>
              <a:gd name="T12" fmla="*/ 247 w 262"/>
              <a:gd name="T13" fmla="*/ 22 h 251"/>
              <a:gd name="T14" fmla="*/ 259 w 262"/>
              <a:gd name="T15" fmla="*/ 19 h 251"/>
              <a:gd name="T16" fmla="*/ 259 w 262"/>
              <a:gd name="T17" fmla="*/ 13 h 251"/>
              <a:gd name="T18" fmla="*/ 256 w 262"/>
              <a:gd name="T19" fmla="*/ 13 h 251"/>
              <a:gd name="T20" fmla="*/ 250 w 262"/>
              <a:gd name="T21" fmla="*/ 13 h 251"/>
              <a:gd name="T22" fmla="*/ 197 w 262"/>
              <a:gd name="T23" fmla="*/ 25 h 251"/>
              <a:gd name="T24" fmla="*/ 191 w 262"/>
              <a:gd name="T25" fmla="*/ 22 h 251"/>
              <a:gd name="T26" fmla="*/ 187 w 262"/>
              <a:gd name="T27" fmla="*/ 22 h 251"/>
              <a:gd name="T28" fmla="*/ 181 w 262"/>
              <a:gd name="T29" fmla="*/ 22 h 251"/>
              <a:gd name="T30" fmla="*/ 175 w 262"/>
              <a:gd name="T31" fmla="*/ 22 h 251"/>
              <a:gd name="T32" fmla="*/ 166 w 262"/>
              <a:gd name="T33" fmla="*/ 19 h 251"/>
              <a:gd name="T34" fmla="*/ 162 w 262"/>
              <a:gd name="T35" fmla="*/ 19 h 251"/>
              <a:gd name="T36" fmla="*/ 150 w 262"/>
              <a:gd name="T37" fmla="*/ 22 h 251"/>
              <a:gd name="T38" fmla="*/ 147 w 262"/>
              <a:gd name="T39" fmla="*/ 19 h 251"/>
              <a:gd name="T40" fmla="*/ 134 w 262"/>
              <a:gd name="T41" fmla="*/ 16 h 251"/>
              <a:gd name="T42" fmla="*/ 131 w 262"/>
              <a:gd name="T43" fmla="*/ 10 h 251"/>
              <a:gd name="T44" fmla="*/ 53 w 262"/>
              <a:gd name="T45" fmla="*/ 10 h 251"/>
              <a:gd name="T46" fmla="*/ 47 w 262"/>
              <a:gd name="T47" fmla="*/ 13 h 251"/>
              <a:gd name="T48" fmla="*/ 37 w 262"/>
              <a:gd name="T49" fmla="*/ 7 h 251"/>
              <a:gd name="T50" fmla="*/ 34 w 262"/>
              <a:gd name="T51" fmla="*/ 3 h 251"/>
              <a:gd name="T52" fmla="*/ 28 w 262"/>
              <a:gd name="T53" fmla="*/ 3 h 251"/>
              <a:gd name="T54" fmla="*/ 22 w 262"/>
              <a:gd name="T55" fmla="*/ 0 h 251"/>
              <a:gd name="T56" fmla="*/ 16 w 262"/>
              <a:gd name="T57" fmla="*/ 10 h 251"/>
              <a:gd name="T58" fmla="*/ 6 w 262"/>
              <a:gd name="T59" fmla="*/ 7 h 251"/>
              <a:gd name="T60" fmla="*/ 3 w 262"/>
              <a:gd name="T61" fmla="*/ 10 h 251"/>
              <a:gd name="T62" fmla="*/ 0 w 262"/>
              <a:gd name="T63" fmla="*/ 25 h 251"/>
              <a:gd name="T64" fmla="*/ 28 w 262"/>
              <a:gd name="T65" fmla="*/ 69 h 251"/>
              <a:gd name="T66" fmla="*/ 41 w 262"/>
              <a:gd name="T67" fmla="*/ 97 h 251"/>
              <a:gd name="T68" fmla="*/ 47 w 262"/>
              <a:gd name="T69" fmla="*/ 122 h 251"/>
              <a:gd name="T70" fmla="*/ 56 w 262"/>
              <a:gd name="T71" fmla="*/ 163 h 251"/>
              <a:gd name="T72" fmla="*/ 56 w 262"/>
              <a:gd name="T73" fmla="*/ 179 h 251"/>
              <a:gd name="T74" fmla="*/ 62 w 262"/>
              <a:gd name="T75" fmla="*/ 194 h 251"/>
              <a:gd name="T76" fmla="*/ 62 w 262"/>
              <a:gd name="T77" fmla="*/ 204 h 251"/>
              <a:gd name="T78" fmla="*/ 69 w 262"/>
              <a:gd name="T79" fmla="*/ 219 h 251"/>
              <a:gd name="T80" fmla="*/ 78 w 262"/>
              <a:gd name="T81" fmla="*/ 235 h 251"/>
              <a:gd name="T82" fmla="*/ 94 w 262"/>
              <a:gd name="T83" fmla="*/ 238 h 251"/>
              <a:gd name="T84" fmla="*/ 94 w 262"/>
              <a:gd name="T85" fmla="*/ 232 h 251"/>
              <a:gd name="T86" fmla="*/ 103 w 262"/>
              <a:gd name="T87" fmla="*/ 232 h 251"/>
              <a:gd name="T88" fmla="*/ 112 w 262"/>
              <a:gd name="T89" fmla="*/ 244 h 251"/>
              <a:gd name="T90" fmla="*/ 122 w 262"/>
              <a:gd name="T91" fmla="*/ 247 h 251"/>
              <a:gd name="T92" fmla="*/ 128 w 262"/>
              <a:gd name="T93" fmla="*/ 247 h 251"/>
              <a:gd name="T94" fmla="*/ 134 w 262"/>
              <a:gd name="T95" fmla="*/ 251 h 251"/>
              <a:gd name="T96" fmla="*/ 141 w 262"/>
              <a:gd name="T97" fmla="*/ 241 h 251"/>
              <a:gd name="T98" fmla="*/ 153 w 262"/>
              <a:gd name="T99" fmla="*/ 235 h 251"/>
              <a:gd name="T100" fmla="*/ 156 w 262"/>
              <a:gd name="T101" fmla="*/ 166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2" h="251">
                <a:moveTo>
                  <a:pt x="156" y="166"/>
                </a:moveTo>
                <a:lnTo>
                  <a:pt x="156" y="166"/>
                </a:lnTo>
                <a:lnTo>
                  <a:pt x="162" y="104"/>
                </a:lnTo>
                <a:lnTo>
                  <a:pt x="178" y="104"/>
                </a:lnTo>
                <a:lnTo>
                  <a:pt x="181" y="32"/>
                </a:lnTo>
                <a:lnTo>
                  <a:pt x="197" y="32"/>
                </a:lnTo>
                <a:lnTo>
                  <a:pt x="216" y="28"/>
                </a:lnTo>
                <a:lnTo>
                  <a:pt x="222" y="25"/>
                </a:lnTo>
                <a:lnTo>
                  <a:pt x="225" y="25"/>
                </a:lnTo>
                <a:lnTo>
                  <a:pt x="225" y="25"/>
                </a:lnTo>
                <a:lnTo>
                  <a:pt x="225" y="25"/>
                </a:lnTo>
                <a:lnTo>
                  <a:pt x="228" y="28"/>
                </a:lnTo>
                <a:lnTo>
                  <a:pt x="228" y="32"/>
                </a:lnTo>
                <a:lnTo>
                  <a:pt x="228" y="32"/>
                </a:lnTo>
                <a:lnTo>
                  <a:pt x="228" y="35"/>
                </a:lnTo>
                <a:lnTo>
                  <a:pt x="228" y="35"/>
                </a:lnTo>
                <a:lnTo>
                  <a:pt x="234" y="32"/>
                </a:lnTo>
                <a:lnTo>
                  <a:pt x="241" y="25"/>
                </a:lnTo>
                <a:lnTo>
                  <a:pt x="244" y="22"/>
                </a:lnTo>
                <a:lnTo>
                  <a:pt x="247" y="22"/>
                </a:lnTo>
                <a:lnTo>
                  <a:pt x="247" y="22"/>
                </a:lnTo>
                <a:lnTo>
                  <a:pt x="250" y="22"/>
                </a:lnTo>
                <a:lnTo>
                  <a:pt x="253" y="22"/>
                </a:lnTo>
                <a:lnTo>
                  <a:pt x="259" y="19"/>
                </a:lnTo>
                <a:lnTo>
                  <a:pt x="262" y="19"/>
                </a:lnTo>
                <a:lnTo>
                  <a:pt x="259" y="16"/>
                </a:lnTo>
                <a:lnTo>
                  <a:pt x="259" y="13"/>
                </a:lnTo>
                <a:lnTo>
                  <a:pt x="259" y="13"/>
                </a:lnTo>
                <a:lnTo>
                  <a:pt x="256" y="13"/>
                </a:lnTo>
                <a:lnTo>
                  <a:pt x="256" y="13"/>
                </a:lnTo>
                <a:lnTo>
                  <a:pt x="253" y="13"/>
                </a:lnTo>
                <a:lnTo>
                  <a:pt x="253" y="13"/>
                </a:lnTo>
                <a:lnTo>
                  <a:pt x="250" y="13"/>
                </a:lnTo>
                <a:lnTo>
                  <a:pt x="247" y="13"/>
                </a:lnTo>
                <a:lnTo>
                  <a:pt x="197" y="25"/>
                </a:lnTo>
                <a:lnTo>
                  <a:pt x="197" y="25"/>
                </a:lnTo>
                <a:lnTo>
                  <a:pt x="194" y="25"/>
                </a:lnTo>
                <a:lnTo>
                  <a:pt x="194" y="25"/>
                </a:lnTo>
                <a:lnTo>
                  <a:pt x="191" y="22"/>
                </a:lnTo>
                <a:lnTo>
                  <a:pt x="191" y="22"/>
                </a:lnTo>
                <a:lnTo>
                  <a:pt x="191" y="22"/>
                </a:lnTo>
                <a:lnTo>
                  <a:pt x="187" y="22"/>
                </a:lnTo>
                <a:lnTo>
                  <a:pt x="187" y="22"/>
                </a:lnTo>
                <a:lnTo>
                  <a:pt x="184" y="22"/>
                </a:lnTo>
                <a:lnTo>
                  <a:pt x="181" y="22"/>
                </a:lnTo>
                <a:lnTo>
                  <a:pt x="181" y="22"/>
                </a:lnTo>
                <a:lnTo>
                  <a:pt x="181" y="22"/>
                </a:lnTo>
                <a:lnTo>
                  <a:pt x="175" y="22"/>
                </a:lnTo>
                <a:lnTo>
                  <a:pt x="172" y="22"/>
                </a:lnTo>
                <a:lnTo>
                  <a:pt x="169" y="19"/>
                </a:lnTo>
                <a:lnTo>
                  <a:pt x="166" y="19"/>
                </a:lnTo>
                <a:lnTo>
                  <a:pt x="166" y="16"/>
                </a:lnTo>
                <a:lnTo>
                  <a:pt x="166" y="19"/>
                </a:lnTo>
                <a:lnTo>
                  <a:pt x="162" y="19"/>
                </a:lnTo>
                <a:lnTo>
                  <a:pt x="156" y="19"/>
                </a:lnTo>
                <a:lnTo>
                  <a:pt x="153" y="19"/>
                </a:lnTo>
                <a:lnTo>
                  <a:pt x="150" y="22"/>
                </a:lnTo>
                <a:lnTo>
                  <a:pt x="147" y="19"/>
                </a:lnTo>
                <a:lnTo>
                  <a:pt x="147" y="19"/>
                </a:lnTo>
                <a:lnTo>
                  <a:pt x="147" y="19"/>
                </a:lnTo>
                <a:lnTo>
                  <a:pt x="144" y="19"/>
                </a:lnTo>
                <a:lnTo>
                  <a:pt x="137" y="19"/>
                </a:lnTo>
                <a:lnTo>
                  <a:pt x="134" y="16"/>
                </a:lnTo>
                <a:lnTo>
                  <a:pt x="134" y="16"/>
                </a:lnTo>
                <a:lnTo>
                  <a:pt x="131" y="10"/>
                </a:lnTo>
                <a:lnTo>
                  <a:pt x="131" y="10"/>
                </a:lnTo>
                <a:lnTo>
                  <a:pt x="56" y="10"/>
                </a:lnTo>
                <a:lnTo>
                  <a:pt x="56" y="10"/>
                </a:lnTo>
                <a:lnTo>
                  <a:pt x="53" y="10"/>
                </a:lnTo>
                <a:lnTo>
                  <a:pt x="50" y="10"/>
                </a:lnTo>
                <a:lnTo>
                  <a:pt x="50" y="10"/>
                </a:lnTo>
                <a:lnTo>
                  <a:pt x="47" y="13"/>
                </a:lnTo>
                <a:lnTo>
                  <a:pt x="41" y="10"/>
                </a:lnTo>
                <a:lnTo>
                  <a:pt x="37" y="7"/>
                </a:lnTo>
                <a:lnTo>
                  <a:pt x="37" y="7"/>
                </a:lnTo>
                <a:lnTo>
                  <a:pt x="37" y="3"/>
                </a:lnTo>
                <a:lnTo>
                  <a:pt x="34" y="3"/>
                </a:lnTo>
                <a:lnTo>
                  <a:pt x="34" y="3"/>
                </a:lnTo>
                <a:lnTo>
                  <a:pt x="31" y="0"/>
                </a:lnTo>
                <a:lnTo>
                  <a:pt x="31" y="3"/>
                </a:lnTo>
                <a:lnTo>
                  <a:pt x="28" y="3"/>
                </a:lnTo>
                <a:lnTo>
                  <a:pt x="28" y="3"/>
                </a:lnTo>
                <a:lnTo>
                  <a:pt x="25" y="0"/>
                </a:lnTo>
                <a:lnTo>
                  <a:pt x="22" y="0"/>
                </a:lnTo>
                <a:lnTo>
                  <a:pt x="16" y="7"/>
                </a:lnTo>
                <a:lnTo>
                  <a:pt x="16" y="7"/>
                </a:lnTo>
                <a:lnTo>
                  <a:pt x="16" y="10"/>
                </a:lnTo>
                <a:lnTo>
                  <a:pt x="12" y="7"/>
                </a:lnTo>
                <a:lnTo>
                  <a:pt x="6" y="7"/>
                </a:lnTo>
                <a:lnTo>
                  <a:pt x="6" y="7"/>
                </a:lnTo>
                <a:lnTo>
                  <a:pt x="6" y="10"/>
                </a:lnTo>
                <a:lnTo>
                  <a:pt x="3" y="10"/>
                </a:lnTo>
                <a:lnTo>
                  <a:pt x="3" y="10"/>
                </a:lnTo>
                <a:lnTo>
                  <a:pt x="0" y="10"/>
                </a:lnTo>
                <a:lnTo>
                  <a:pt x="0" y="10"/>
                </a:lnTo>
                <a:lnTo>
                  <a:pt x="0" y="25"/>
                </a:lnTo>
                <a:lnTo>
                  <a:pt x="12" y="38"/>
                </a:lnTo>
                <a:lnTo>
                  <a:pt x="19" y="47"/>
                </a:lnTo>
                <a:lnTo>
                  <a:pt x="28" y="69"/>
                </a:lnTo>
                <a:lnTo>
                  <a:pt x="28" y="78"/>
                </a:lnTo>
                <a:lnTo>
                  <a:pt x="41" y="94"/>
                </a:lnTo>
                <a:lnTo>
                  <a:pt x="41" y="97"/>
                </a:lnTo>
                <a:lnTo>
                  <a:pt x="50" y="113"/>
                </a:lnTo>
                <a:lnTo>
                  <a:pt x="50" y="122"/>
                </a:lnTo>
                <a:lnTo>
                  <a:pt x="47" y="122"/>
                </a:lnTo>
                <a:lnTo>
                  <a:pt x="50" y="132"/>
                </a:lnTo>
                <a:lnTo>
                  <a:pt x="50" y="147"/>
                </a:lnTo>
                <a:lnTo>
                  <a:pt x="56" y="163"/>
                </a:lnTo>
                <a:lnTo>
                  <a:pt x="56" y="172"/>
                </a:lnTo>
                <a:lnTo>
                  <a:pt x="56" y="179"/>
                </a:lnTo>
                <a:lnTo>
                  <a:pt x="56" y="179"/>
                </a:lnTo>
                <a:lnTo>
                  <a:pt x="56" y="182"/>
                </a:lnTo>
                <a:lnTo>
                  <a:pt x="59" y="191"/>
                </a:lnTo>
                <a:lnTo>
                  <a:pt x="62" y="194"/>
                </a:lnTo>
                <a:lnTo>
                  <a:pt x="62" y="197"/>
                </a:lnTo>
                <a:lnTo>
                  <a:pt x="62" y="201"/>
                </a:lnTo>
                <a:lnTo>
                  <a:pt x="62" y="204"/>
                </a:lnTo>
                <a:lnTo>
                  <a:pt x="66" y="207"/>
                </a:lnTo>
                <a:lnTo>
                  <a:pt x="66" y="213"/>
                </a:lnTo>
                <a:lnTo>
                  <a:pt x="69" y="219"/>
                </a:lnTo>
                <a:lnTo>
                  <a:pt x="72" y="229"/>
                </a:lnTo>
                <a:lnTo>
                  <a:pt x="78" y="232"/>
                </a:lnTo>
                <a:lnTo>
                  <a:pt x="78" y="235"/>
                </a:lnTo>
                <a:lnTo>
                  <a:pt x="84" y="241"/>
                </a:lnTo>
                <a:lnTo>
                  <a:pt x="87" y="238"/>
                </a:lnTo>
                <a:lnTo>
                  <a:pt x="94" y="238"/>
                </a:lnTo>
                <a:lnTo>
                  <a:pt x="94" y="235"/>
                </a:lnTo>
                <a:lnTo>
                  <a:pt x="91" y="235"/>
                </a:lnTo>
                <a:lnTo>
                  <a:pt x="94" y="232"/>
                </a:lnTo>
                <a:lnTo>
                  <a:pt x="97" y="229"/>
                </a:lnTo>
                <a:lnTo>
                  <a:pt x="100" y="232"/>
                </a:lnTo>
                <a:lnTo>
                  <a:pt x="103" y="232"/>
                </a:lnTo>
                <a:lnTo>
                  <a:pt x="103" y="238"/>
                </a:lnTo>
                <a:lnTo>
                  <a:pt x="106" y="244"/>
                </a:lnTo>
                <a:lnTo>
                  <a:pt x="112" y="244"/>
                </a:lnTo>
                <a:lnTo>
                  <a:pt x="116" y="247"/>
                </a:lnTo>
                <a:lnTo>
                  <a:pt x="119" y="247"/>
                </a:lnTo>
                <a:lnTo>
                  <a:pt x="122" y="247"/>
                </a:lnTo>
                <a:lnTo>
                  <a:pt x="125" y="247"/>
                </a:lnTo>
                <a:lnTo>
                  <a:pt x="125" y="247"/>
                </a:lnTo>
                <a:lnTo>
                  <a:pt x="128" y="247"/>
                </a:lnTo>
                <a:lnTo>
                  <a:pt x="131" y="247"/>
                </a:lnTo>
                <a:lnTo>
                  <a:pt x="134" y="247"/>
                </a:lnTo>
                <a:lnTo>
                  <a:pt x="134" y="251"/>
                </a:lnTo>
                <a:lnTo>
                  <a:pt x="134" y="244"/>
                </a:lnTo>
                <a:lnTo>
                  <a:pt x="137" y="244"/>
                </a:lnTo>
                <a:lnTo>
                  <a:pt x="141" y="241"/>
                </a:lnTo>
                <a:lnTo>
                  <a:pt x="141" y="238"/>
                </a:lnTo>
                <a:lnTo>
                  <a:pt x="147" y="235"/>
                </a:lnTo>
                <a:lnTo>
                  <a:pt x="153" y="235"/>
                </a:lnTo>
                <a:lnTo>
                  <a:pt x="156" y="235"/>
                </a:lnTo>
                <a:lnTo>
                  <a:pt x="159" y="166"/>
                </a:lnTo>
                <a:lnTo>
                  <a:pt x="156" y="166"/>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2" name="Freeform 150">
            <a:extLst>
              <a:ext uri="{FF2B5EF4-FFF2-40B4-BE49-F238E27FC236}">
                <a16:creationId xmlns:a16="http://schemas.microsoft.com/office/drawing/2014/main" id="{E00C24A3-F715-0591-7D07-404A407B531C}"/>
              </a:ext>
            </a:extLst>
          </p:cNvPr>
          <p:cNvSpPr>
            <a:spLocks noEditPoints="1"/>
          </p:cNvSpPr>
          <p:nvPr userDrawn="1"/>
        </p:nvSpPr>
        <p:spPr bwMode="auto">
          <a:xfrm>
            <a:off x="23360130" y="10778408"/>
            <a:ext cx="247634" cy="177800"/>
          </a:xfrm>
          <a:custGeom>
            <a:avLst/>
            <a:gdLst>
              <a:gd name="T0" fmla="*/ 6 w 78"/>
              <a:gd name="T1" fmla="*/ 6 h 56"/>
              <a:gd name="T2" fmla="*/ 9 w 78"/>
              <a:gd name="T3" fmla="*/ 6 h 56"/>
              <a:gd name="T4" fmla="*/ 16 w 78"/>
              <a:gd name="T5" fmla="*/ 12 h 56"/>
              <a:gd name="T6" fmla="*/ 19 w 78"/>
              <a:gd name="T7" fmla="*/ 15 h 56"/>
              <a:gd name="T8" fmla="*/ 31 w 78"/>
              <a:gd name="T9" fmla="*/ 34 h 56"/>
              <a:gd name="T10" fmla="*/ 34 w 78"/>
              <a:gd name="T11" fmla="*/ 34 h 56"/>
              <a:gd name="T12" fmla="*/ 47 w 78"/>
              <a:gd name="T13" fmla="*/ 50 h 56"/>
              <a:gd name="T14" fmla="*/ 50 w 78"/>
              <a:gd name="T15" fmla="*/ 56 h 56"/>
              <a:gd name="T16" fmla="*/ 47 w 78"/>
              <a:gd name="T17" fmla="*/ 56 h 56"/>
              <a:gd name="T18" fmla="*/ 38 w 78"/>
              <a:gd name="T19" fmla="*/ 53 h 56"/>
              <a:gd name="T20" fmla="*/ 34 w 78"/>
              <a:gd name="T21" fmla="*/ 46 h 56"/>
              <a:gd name="T22" fmla="*/ 28 w 78"/>
              <a:gd name="T23" fmla="*/ 40 h 56"/>
              <a:gd name="T24" fmla="*/ 25 w 78"/>
              <a:gd name="T25" fmla="*/ 40 h 56"/>
              <a:gd name="T26" fmla="*/ 16 w 78"/>
              <a:gd name="T27" fmla="*/ 31 h 56"/>
              <a:gd name="T28" fmla="*/ 13 w 78"/>
              <a:gd name="T29" fmla="*/ 28 h 56"/>
              <a:gd name="T30" fmla="*/ 9 w 78"/>
              <a:gd name="T31" fmla="*/ 21 h 56"/>
              <a:gd name="T32" fmla="*/ 0 w 78"/>
              <a:gd name="T33" fmla="*/ 9 h 56"/>
              <a:gd name="T34" fmla="*/ 0 w 78"/>
              <a:gd name="T35" fmla="*/ 3 h 56"/>
              <a:gd name="T36" fmla="*/ 0 w 78"/>
              <a:gd name="T37" fmla="*/ 0 h 56"/>
              <a:gd name="T38" fmla="*/ 75 w 78"/>
              <a:gd name="T39" fmla="*/ 31 h 56"/>
              <a:gd name="T40" fmla="*/ 75 w 78"/>
              <a:gd name="T41" fmla="*/ 37 h 56"/>
              <a:gd name="T42" fmla="*/ 72 w 78"/>
              <a:gd name="T43" fmla="*/ 40 h 56"/>
              <a:gd name="T44" fmla="*/ 69 w 78"/>
              <a:gd name="T45" fmla="*/ 34 h 56"/>
              <a:gd name="T46" fmla="*/ 59 w 78"/>
              <a:gd name="T47" fmla="*/ 12 h 56"/>
              <a:gd name="T48" fmla="*/ 56 w 78"/>
              <a:gd name="T49" fmla="*/ 18 h 56"/>
              <a:gd name="T50" fmla="*/ 59 w 78"/>
              <a:gd name="T51" fmla="*/ 25 h 56"/>
              <a:gd name="T52" fmla="*/ 66 w 78"/>
              <a:gd name="T53" fmla="*/ 25 h 56"/>
              <a:gd name="T54" fmla="*/ 63 w 78"/>
              <a:gd name="T55" fmla="*/ 18 h 56"/>
              <a:gd name="T56" fmla="*/ 59 w 78"/>
              <a:gd name="T57" fmla="*/ 12 h 56"/>
              <a:gd name="T58" fmla="*/ 47 w 78"/>
              <a:gd name="T59" fmla="*/ 9 h 56"/>
              <a:gd name="T60" fmla="*/ 44 w 78"/>
              <a:gd name="T61" fmla="*/ 15 h 56"/>
              <a:gd name="T62" fmla="*/ 50 w 78"/>
              <a:gd name="T63" fmla="*/ 12 h 56"/>
              <a:gd name="T64" fmla="*/ 47 w 78"/>
              <a:gd name="T65" fmla="*/ 9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56">
                <a:moveTo>
                  <a:pt x="0" y="0"/>
                </a:moveTo>
                <a:lnTo>
                  <a:pt x="6" y="6"/>
                </a:lnTo>
                <a:lnTo>
                  <a:pt x="6" y="3"/>
                </a:lnTo>
                <a:lnTo>
                  <a:pt x="9" y="6"/>
                </a:lnTo>
                <a:lnTo>
                  <a:pt x="9" y="9"/>
                </a:lnTo>
                <a:lnTo>
                  <a:pt x="16" y="12"/>
                </a:lnTo>
                <a:lnTo>
                  <a:pt x="16" y="15"/>
                </a:lnTo>
                <a:lnTo>
                  <a:pt x="19" y="15"/>
                </a:lnTo>
                <a:lnTo>
                  <a:pt x="25" y="28"/>
                </a:lnTo>
                <a:lnTo>
                  <a:pt x="31" y="34"/>
                </a:lnTo>
                <a:lnTo>
                  <a:pt x="31" y="34"/>
                </a:lnTo>
                <a:lnTo>
                  <a:pt x="34" y="34"/>
                </a:lnTo>
                <a:lnTo>
                  <a:pt x="41" y="43"/>
                </a:lnTo>
                <a:lnTo>
                  <a:pt x="47" y="50"/>
                </a:lnTo>
                <a:lnTo>
                  <a:pt x="50" y="50"/>
                </a:lnTo>
                <a:lnTo>
                  <a:pt x="50" y="56"/>
                </a:lnTo>
                <a:lnTo>
                  <a:pt x="47" y="53"/>
                </a:lnTo>
                <a:lnTo>
                  <a:pt x="47" y="56"/>
                </a:lnTo>
                <a:lnTo>
                  <a:pt x="44" y="53"/>
                </a:lnTo>
                <a:lnTo>
                  <a:pt x="38" y="53"/>
                </a:lnTo>
                <a:lnTo>
                  <a:pt x="34" y="50"/>
                </a:lnTo>
                <a:lnTo>
                  <a:pt x="34" y="46"/>
                </a:lnTo>
                <a:lnTo>
                  <a:pt x="28" y="46"/>
                </a:lnTo>
                <a:lnTo>
                  <a:pt x="28" y="40"/>
                </a:lnTo>
                <a:lnTo>
                  <a:pt x="25" y="40"/>
                </a:lnTo>
                <a:lnTo>
                  <a:pt x="25" y="40"/>
                </a:lnTo>
                <a:lnTo>
                  <a:pt x="22" y="34"/>
                </a:lnTo>
                <a:lnTo>
                  <a:pt x="16" y="31"/>
                </a:lnTo>
                <a:lnTo>
                  <a:pt x="16" y="28"/>
                </a:lnTo>
                <a:lnTo>
                  <a:pt x="13" y="28"/>
                </a:lnTo>
                <a:lnTo>
                  <a:pt x="9" y="25"/>
                </a:lnTo>
                <a:lnTo>
                  <a:pt x="9" y="21"/>
                </a:lnTo>
                <a:lnTo>
                  <a:pt x="6" y="18"/>
                </a:lnTo>
                <a:lnTo>
                  <a:pt x="0" y="9"/>
                </a:lnTo>
                <a:lnTo>
                  <a:pt x="0" y="6"/>
                </a:lnTo>
                <a:lnTo>
                  <a:pt x="0" y="3"/>
                </a:lnTo>
                <a:lnTo>
                  <a:pt x="0" y="0"/>
                </a:lnTo>
                <a:lnTo>
                  <a:pt x="0" y="0"/>
                </a:lnTo>
                <a:close/>
                <a:moveTo>
                  <a:pt x="69" y="34"/>
                </a:moveTo>
                <a:lnTo>
                  <a:pt x="75" y="31"/>
                </a:lnTo>
                <a:lnTo>
                  <a:pt x="78" y="34"/>
                </a:lnTo>
                <a:lnTo>
                  <a:pt x="75" y="37"/>
                </a:lnTo>
                <a:lnTo>
                  <a:pt x="75" y="37"/>
                </a:lnTo>
                <a:lnTo>
                  <a:pt x="72" y="40"/>
                </a:lnTo>
                <a:lnTo>
                  <a:pt x="69" y="37"/>
                </a:lnTo>
                <a:lnTo>
                  <a:pt x="69" y="34"/>
                </a:lnTo>
                <a:lnTo>
                  <a:pt x="69" y="34"/>
                </a:lnTo>
                <a:close/>
                <a:moveTo>
                  <a:pt x="59" y="12"/>
                </a:moveTo>
                <a:lnTo>
                  <a:pt x="56" y="15"/>
                </a:lnTo>
                <a:lnTo>
                  <a:pt x="56" y="18"/>
                </a:lnTo>
                <a:lnTo>
                  <a:pt x="56" y="21"/>
                </a:lnTo>
                <a:lnTo>
                  <a:pt x="59" y="25"/>
                </a:lnTo>
                <a:lnTo>
                  <a:pt x="63" y="25"/>
                </a:lnTo>
                <a:lnTo>
                  <a:pt x="66" y="25"/>
                </a:lnTo>
                <a:lnTo>
                  <a:pt x="63" y="21"/>
                </a:lnTo>
                <a:lnTo>
                  <a:pt x="63" y="18"/>
                </a:lnTo>
                <a:lnTo>
                  <a:pt x="63" y="15"/>
                </a:lnTo>
                <a:lnTo>
                  <a:pt x="59" y="12"/>
                </a:lnTo>
                <a:lnTo>
                  <a:pt x="59" y="12"/>
                </a:lnTo>
                <a:close/>
                <a:moveTo>
                  <a:pt x="47" y="9"/>
                </a:moveTo>
                <a:lnTo>
                  <a:pt x="47" y="12"/>
                </a:lnTo>
                <a:lnTo>
                  <a:pt x="44" y="15"/>
                </a:lnTo>
                <a:lnTo>
                  <a:pt x="50" y="15"/>
                </a:lnTo>
                <a:lnTo>
                  <a:pt x="50" y="12"/>
                </a:lnTo>
                <a:lnTo>
                  <a:pt x="50" y="9"/>
                </a:lnTo>
                <a:lnTo>
                  <a:pt x="47" y="9"/>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3" name="Freeform 151">
            <a:extLst>
              <a:ext uri="{FF2B5EF4-FFF2-40B4-BE49-F238E27FC236}">
                <a16:creationId xmlns:a16="http://schemas.microsoft.com/office/drawing/2014/main" id="{9D047B05-BA44-7A1D-86CC-F5816076D425}"/>
              </a:ext>
            </a:extLst>
          </p:cNvPr>
          <p:cNvSpPr>
            <a:spLocks/>
          </p:cNvSpPr>
          <p:nvPr userDrawn="1"/>
        </p:nvSpPr>
        <p:spPr bwMode="auto">
          <a:xfrm>
            <a:off x="17258176" y="13210456"/>
            <a:ext cx="19049" cy="28576"/>
          </a:xfrm>
          <a:custGeom>
            <a:avLst/>
            <a:gdLst>
              <a:gd name="T0" fmla="*/ 0 w 6"/>
              <a:gd name="T1" fmla="*/ 0 h 9"/>
              <a:gd name="T2" fmla="*/ 0 w 6"/>
              <a:gd name="T3" fmla="*/ 3 h 9"/>
              <a:gd name="T4" fmla="*/ 0 w 6"/>
              <a:gd name="T5" fmla="*/ 6 h 9"/>
              <a:gd name="T6" fmla="*/ 3 w 6"/>
              <a:gd name="T7" fmla="*/ 6 h 9"/>
              <a:gd name="T8" fmla="*/ 3 w 6"/>
              <a:gd name="T9" fmla="*/ 9 h 9"/>
              <a:gd name="T10" fmla="*/ 6 w 6"/>
              <a:gd name="T11" fmla="*/ 9 h 9"/>
              <a:gd name="T12" fmla="*/ 3 w 6"/>
              <a:gd name="T13" fmla="*/ 3 h 9"/>
              <a:gd name="T14" fmla="*/ 0 w 6"/>
              <a:gd name="T15" fmla="*/ 0 h 9"/>
              <a:gd name="T16" fmla="*/ 0 w 6"/>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9">
                <a:moveTo>
                  <a:pt x="0" y="0"/>
                </a:moveTo>
                <a:lnTo>
                  <a:pt x="0" y="3"/>
                </a:lnTo>
                <a:lnTo>
                  <a:pt x="0" y="6"/>
                </a:lnTo>
                <a:lnTo>
                  <a:pt x="3" y="6"/>
                </a:lnTo>
                <a:lnTo>
                  <a:pt x="3" y="9"/>
                </a:lnTo>
                <a:lnTo>
                  <a:pt x="6" y="9"/>
                </a:lnTo>
                <a:lnTo>
                  <a:pt x="3" y="3"/>
                </a:lnTo>
                <a:lnTo>
                  <a:pt x="0" y="0"/>
                </a:lnTo>
                <a:lnTo>
                  <a:pt x="0" y="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4" name="Freeform 152">
            <a:extLst>
              <a:ext uri="{FF2B5EF4-FFF2-40B4-BE49-F238E27FC236}">
                <a16:creationId xmlns:a16="http://schemas.microsoft.com/office/drawing/2014/main" id="{5FDA97F5-1B37-ED2D-9DF1-7910AA7EADA5}"/>
              </a:ext>
            </a:extLst>
          </p:cNvPr>
          <p:cNvSpPr>
            <a:spLocks noEditPoints="1"/>
          </p:cNvSpPr>
          <p:nvPr userDrawn="1"/>
        </p:nvSpPr>
        <p:spPr bwMode="auto">
          <a:xfrm>
            <a:off x="17067687" y="12823106"/>
            <a:ext cx="101593" cy="79376"/>
          </a:xfrm>
          <a:custGeom>
            <a:avLst/>
            <a:gdLst>
              <a:gd name="T0" fmla="*/ 13 w 32"/>
              <a:gd name="T1" fmla="*/ 6 h 25"/>
              <a:gd name="T2" fmla="*/ 13 w 32"/>
              <a:gd name="T3" fmla="*/ 3 h 25"/>
              <a:gd name="T4" fmla="*/ 16 w 32"/>
              <a:gd name="T5" fmla="*/ 3 h 25"/>
              <a:gd name="T6" fmla="*/ 16 w 32"/>
              <a:gd name="T7" fmla="*/ 6 h 25"/>
              <a:gd name="T8" fmla="*/ 13 w 32"/>
              <a:gd name="T9" fmla="*/ 6 h 25"/>
              <a:gd name="T10" fmla="*/ 13 w 32"/>
              <a:gd name="T11" fmla="*/ 6 h 25"/>
              <a:gd name="T12" fmla="*/ 13 w 32"/>
              <a:gd name="T13" fmla="*/ 6 h 25"/>
              <a:gd name="T14" fmla="*/ 13 w 32"/>
              <a:gd name="T15" fmla="*/ 6 h 25"/>
              <a:gd name="T16" fmla="*/ 0 w 32"/>
              <a:gd name="T17" fmla="*/ 22 h 25"/>
              <a:gd name="T18" fmla="*/ 3 w 32"/>
              <a:gd name="T19" fmla="*/ 22 h 25"/>
              <a:gd name="T20" fmla="*/ 7 w 32"/>
              <a:gd name="T21" fmla="*/ 19 h 25"/>
              <a:gd name="T22" fmla="*/ 10 w 32"/>
              <a:gd name="T23" fmla="*/ 19 h 25"/>
              <a:gd name="T24" fmla="*/ 13 w 32"/>
              <a:gd name="T25" fmla="*/ 22 h 25"/>
              <a:gd name="T26" fmla="*/ 16 w 32"/>
              <a:gd name="T27" fmla="*/ 22 h 25"/>
              <a:gd name="T28" fmla="*/ 16 w 32"/>
              <a:gd name="T29" fmla="*/ 22 h 25"/>
              <a:gd name="T30" fmla="*/ 19 w 32"/>
              <a:gd name="T31" fmla="*/ 19 h 25"/>
              <a:gd name="T32" fmla="*/ 19 w 32"/>
              <a:gd name="T33" fmla="*/ 22 h 25"/>
              <a:gd name="T34" fmla="*/ 19 w 32"/>
              <a:gd name="T35" fmla="*/ 22 h 25"/>
              <a:gd name="T36" fmla="*/ 22 w 32"/>
              <a:gd name="T37" fmla="*/ 25 h 25"/>
              <a:gd name="T38" fmla="*/ 25 w 32"/>
              <a:gd name="T39" fmla="*/ 25 h 25"/>
              <a:gd name="T40" fmla="*/ 28 w 32"/>
              <a:gd name="T41" fmla="*/ 22 h 25"/>
              <a:gd name="T42" fmla="*/ 28 w 32"/>
              <a:gd name="T43" fmla="*/ 22 h 25"/>
              <a:gd name="T44" fmla="*/ 25 w 32"/>
              <a:gd name="T45" fmla="*/ 22 h 25"/>
              <a:gd name="T46" fmla="*/ 22 w 32"/>
              <a:gd name="T47" fmla="*/ 19 h 25"/>
              <a:gd name="T48" fmla="*/ 25 w 32"/>
              <a:gd name="T49" fmla="*/ 16 h 25"/>
              <a:gd name="T50" fmla="*/ 28 w 32"/>
              <a:gd name="T51" fmla="*/ 16 h 25"/>
              <a:gd name="T52" fmla="*/ 32 w 32"/>
              <a:gd name="T53" fmla="*/ 16 h 25"/>
              <a:gd name="T54" fmla="*/ 32 w 32"/>
              <a:gd name="T55" fmla="*/ 12 h 25"/>
              <a:gd name="T56" fmla="*/ 32 w 32"/>
              <a:gd name="T57" fmla="*/ 9 h 25"/>
              <a:gd name="T58" fmla="*/ 28 w 32"/>
              <a:gd name="T59" fmla="*/ 12 h 25"/>
              <a:gd name="T60" fmla="*/ 25 w 32"/>
              <a:gd name="T61" fmla="*/ 9 h 25"/>
              <a:gd name="T62" fmla="*/ 22 w 32"/>
              <a:gd name="T63" fmla="*/ 16 h 25"/>
              <a:gd name="T64" fmla="*/ 19 w 32"/>
              <a:gd name="T65" fmla="*/ 16 h 25"/>
              <a:gd name="T66" fmla="*/ 19 w 32"/>
              <a:gd name="T67" fmla="*/ 9 h 25"/>
              <a:gd name="T68" fmla="*/ 19 w 32"/>
              <a:gd name="T69" fmla="*/ 9 h 25"/>
              <a:gd name="T70" fmla="*/ 19 w 32"/>
              <a:gd name="T71" fmla="*/ 3 h 25"/>
              <a:gd name="T72" fmla="*/ 19 w 32"/>
              <a:gd name="T73" fmla="*/ 6 h 25"/>
              <a:gd name="T74" fmla="*/ 16 w 32"/>
              <a:gd name="T75" fmla="*/ 9 h 25"/>
              <a:gd name="T76" fmla="*/ 16 w 32"/>
              <a:gd name="T77" fmla="*/ 12 h 25"/>
              <a:gd name="T78" fmla="*/ 13 w 32"/>
              <a:gd name="T79" fmla="*/ 9 h 25"/>
              <a:gd name="T80" fmla="*/ 10 w 32"/>
              <a:gd name="T81" fmla="*/ 9 h 25"/>
              <a:gd name="T82" fmla="*/ 7 w 32"/>
              <a:gd name="T83" fmla="*/ 6 h 25"/>
              <a:gd name="T84" fmla="*/ 7 w 32"/>
              <a:gd name="T85" fmla="*/ 3 h 25"/>
              <a:gd name="T86" fmla="*/ 7 w 32"/>
              <a:gd name="T87" fmla="*/ 3 h 25"/>
              <a:gd name="T88" fmla="*/ 10 w 32"/>
              <a:gd name="T89" fmla="*/ 0 h 25"/>
              <a:gd name="T90" fmla="*/ 10 w 32"/>
              <a:gd name="T91" fmla="*/ 0 h 25"/>
              <a:gd name="T92" fmla="*/ 7 w 32"/>
              <a:gd name="T93" fmla="*/ 0 h 25"/>
              <a:gd name="T94" fmla="*/ 3 w 32"/>
              <a:gd name="T95" fmla="*/ 3 h 25"/>
              <a:gd name="T96" fmla="*/ 7 w 32"/>
              <a:gd name="T97" fmla="*/ 6 h 25"/>
              <a:gd name="T98" fmla="*/ 7 w 32"/>
              <a:gd name="T99" fmla="*/ 9 h 25"/>
              <a:gd name="T100" fmla="*/ 7 w 32"/>
              <a:gd name="T101" fmla="*/ 9 h 25"/>
              <a:gd name="T102" fmla="*/ 7 w 32"/>
              <a:gd name="T103" fmla="*/ 12 h 25"/>
              <a:gd name="T104" fmla="*/ 3 w 32"/>
              <a:gd name="T105" fmla="*/ 16 h 25"/>
              <a:gd name="T106" fmla="*/ 0 w 32"/>
              <a:gd name="T107" fmla="*/ 19 h 25"/>
              <a:gd name="T108" fmla="*/ 0 w 32"/>
              <a:gd name="T109" fmla="*/ 2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 h="25">
                <a:moveTo>
                  <a:pt x="13" y="6"/>
                </a:moveTo>
                <a:lnTo>
                  <a:pt x="13" y="3"/>
                </a:lnTo>
                <a:lnTo>
                  <a:pt x="16" y="3"/>
                </a:lnTo>
                <a:lnTo>
                  <a:pt x="16" y="6"/>
                </a:lnTo>
                <a:lnTo>
                  <a:pt x="13" y="6"/>
                </a:lnTo>
                <a:lnTo>
                  <a:pt x="13" y="6"/>
                </a:lnTo>
                <a:lnTo>
                  <a:pt x="13" y="6"/>
                </a:lnTo>
                <a:lnTo>
                  <a:pt x="13" y="6"/>
                </a:lnTo>
                <a:close/>
                <a:moveTo>
                  <a:pt x="0" y="22"/>
                </a:moveTo>
                <a:lnTo>
                  <a:pt x="3" y="22"/>
                </a:lnTo>
                <a:lnTo>
                  <a:pt x="7" y="19"/>
                </a:lnTo>
                <a:lnTo>
                  <a:pt x="10" y="19"/>
                </a:lnTo>
                <a:lnTo>
                  <a:pt x="13" y="22"/>
                </a:lnTo>
                <a:lnTo>
                  <a:pt x="16" y="22"/>
                </a:lnTo>
                <a:lnTo>
                  <a:pt x="16" y="22"/>
                </a:lnTo>
                <a:lnTo>
                  <a:pt x="19" y="19"/>
                </a:lnTo>
                <a:lnTo>
                  <a:pt x="19" y="22"/>
                </a:lnTo>
                <a:lnTo>
                  <a:pt x="19" y="22"/>
                </a:lnTo>
                <a:lnTo>
                  <a:pt x="22" y="25"/>
                </a:lnTo>
                <a:lnTo>
                  <a:pt x="25" y="25"/>
                </a:lnTo>
                <a:lnTo>
                  <a:pt x="28" y="22"/>
                </a:lnTo>
                <a:lnTo>
                  <a:pt x="28" y="22"/>
                </a:lnTo>
                <a:lnTo>
                  <a:pt x="25" y="22"/>
                </a:lnTo>
                <a:lnTo>
                  <a:pt x="22" y="19"/>
                </a:lnTo>
                <a:lnTo>
                  <a:pt x="25" y="16"/>
                </a:lnTo>
                <a:lnTo>
                  <a:pt x="28" y="16"/>
                </a:lnTo>
                <a:lnTo>
                  <a:pt x="32" y="16"/>
                </a:lnTo>
                <a:lnTo>
                  <a:pt x="32" y="12"/>
                </a:lnTo>
                <a:lnTo>
                  <a:pt x="32" y="9"/>
                </a:lnTo>
                <a:lnTo>
                  <a:pt x="28" y="12"/>
                </a:lnTo>
                <a:lnTo>
                  <a:pt x="25" y="9"/>
                </a:lnTo>
                <a:lnTo>
                  <a:pt x="22" y="16"/>
                </a:lnTo>
                <a:lnTo>
                  <a:pt x="19" y="16"/>
                </a:lnTo>
                <a:lnTo>
                  <a:pt x="19" y="9"/>
                </a:lnTo>
                <a:lnTo>
                  <a:pt x="19" y="9"/>
                </a:lnTo>
                <a:lnTo>
                  <a:pt x="19" y="3"/>
                </a:lnTo>
                <a:lnTo>
                  <a:pt x="19" y="6"/>
                </a:lnTo>
                <a:lnTo>
                  <a:pt x="16" y="9"/>
                </a:lnTo>
                <a:lnTo>
                  <a:pt x="16" y="12"/>
                </a:lnTo>
                <a:lnTo>
                  <a:pt x="13" y="9"/>
                </a:lnTo>
                <a:lnTo>
                  <a:pt x="10" y="9"/>
                </a:lnTo>
                <a:lnTo>
                  <a:pt x="7" y="6"/>
                </a:lnTo>
                <a:lnTo>
                  <a:pt x="7" y="3"/>
                </a:lnTo>
                <a:lnTo>
                  <a:pt x="7" y="3"/>
                </a:lnTo>
                <a:lnTo>
                  <a:pt x="10" y="0"/>
                </a:lnTo>
                <a:lnTo>
                  <a:pt x="10" y="0"/>
                </a:lnTo>
                <a:lnTo>
                  <a:pt x="7" y="0"/>
                </a:lnTo>
                <a:lnTo>
                  <a:pt x="3" y="3"/>
                </a:lnTo>
                <a:lnTo>
                  <a:pt x="7" y="6"/>
                </a:lnTo>
                <a:lnTo>
                  <a:pt x="7" y="9"/>
                </a:lnTo>
                <a:lnTo>
                  <a:pt x="7" y="9"/>
                </a:lnTo>
                <a:lnTo>
                  <a:pt x="7" y="12"/>
                </a:lnTo>
                <a:lnTo>
                  <a:pt x="3" y="16"/>
                </a:lnTo>
                <a:lnTo>
                  <a:pt x="0" y="19"/>
                </a:lnTo>
                <a:lnTo>
                  <a:pt x="0" y="22"/>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5" name="Freeform 153">
            <a:extLst>
              <a:ext uri="{FF2B5EF4-FFF2-40B4-BE49-F238E27FC236}">
                <a16:creationId xmlns:a16="http://schemas.microsoft.com/office/drawing/2014/main" id="{9A72455C-AB54-1E50-E7AE-DEDDA99F9F32}"/>
              </a:ext>
            </a:extLst>
          </p:cNvPr>
          <p:cNvSpPr>
            <a:spLocks/>
          </p:cNvSpPr>
          <p:nvPr userDrawn="1"/>
        </p:nvSpPr>
        <p:spPr bwMode="auto">
          <a:xfrm>
            <a:off x="16702586" y="10657759"/>
            <a:ext cx="38100" cy="38102"/>
          </a:xfrm>
          <a:custGeom>
            <a:avLst/>
            <a:gdLst>
              <a:gd name="T0" fmla="*/ 3 w 12"/>
              <a:gd name="T1" fmla="*/ 0 h 12"/>
              <a:gd name="T2" fmla="*/ 3 w 12"/>
              <a:gd name="T3" fmla="*/ 6 h 12"/>
              <a:gd name="T4" fmla="*/ 0 w 12"/>
              <a:gd name="T5" fmla="*/ 9 h 12"/>
              <a:gd name="T6" fmla="*/ 6 w 12"/>
              <a:gd name="T7" fmla="*/ 12 h 12"/>
              <a:gd name="T8" fmla="*/ 9 w 12"/>
              <a:gd name="T9" fmla="*/ 9 h 12"/>
              <a:gd name="T10" fmla="*/ 9 w 12"/>
              <a:gd name="T11" fmla="*/ 6 h 12"/>
              <a:gd name="T12" fmla="*/ 12 w 12"/>
              <a:gd name="T13" fmla="*/ 6 h 12"/>
              <a:gd name="T14" fmla="*/ 12 w 12"/>
              <a:gd name="T15" fmla="*/ 3 h 12"/>
              <a:gd name="T16" fmla="*/ 9 w 12"/>
              <a:gd name="T17" fmla="*/ 0 h 12"/>
              <a:gd name="T18" fmla="*/ 6 w 12"/>
              <a:gd name="T19" fmla="*/ 3 h 12"/>
              <a:gd name="T20" fmla="*/ 3 w 12"/>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2">
                <a:moveTo>
                  <a:pt x="3" y="0"/>
                </a:moveTo>
                <a:lnTo>
                  <a:pt x="3" y="6"/>
                </a:lnTo>
                <a:lnTo>
                  <a:pt x="0" y="9"/>
                </a:lnTo>
                <a:lnTo>
                  <a:pt x="6" y="12"/>
                </a:lnTo>
                <a:lnTo>
                  <a:pt x="9" y="9"/>
                </a:lnTo>
                <a:lnTo>
                  <a:pt x="9" y="6"/>
                </a:lnTo>
                <a:lnTo>
                  <a:pt x="12" y="6"/>
                </a:lnTo>
                <a:lnTo>
                  <a:pt x="12" y="3"/>
                </a:lnTo>
                <a:lnTo>
                  <a:pt x="9" y="0"/>
                </a:lnTo>
                <a:lnTo>
                  <a:pt x="6" y="3"/>
                </a:lnTo>
                <a:lnTo>
                  <a:pt x="3" y="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6" name="Freeform 154">
            <a:extLst>
              <a:ext uri="{FF2B5EF4-FFF2-40B4-BE49-F238E27FC236}">
                <a16:creationId xmlns:a16="http://schemas.microsoft.com/office/drawing/2014/main" id="{F6E4B5D1-8F67-9B9D-E3EB-6B5E91A6B2AB}"/>
              </a:ext>
            </a:extLst>
          </p:cNvPr>
          <p:cNvSpPr>
            <a:spLocks/>
          </p:cNvSpPr>
          <p:nvPr userDrawn="1"/>
        </p:nvSpPr>
        <p:spPr bwMode="auto">
          <a:xfrm>
            <a:off x="16581946" y="10708559"/>
            <a:ext cx="31748" cy="38102"/>
          </a:xfrm>
          <a:custGeom>
            <a:avLst/>
            <a:gdLst>
              <a:gd name="T0" fmla="*/ 0 w 10"/>
              <a:gd name="T1" fmla="*/ 0 h 12"/>
              <a:gd name="T2" fmla="*/ 0 w 10"/>
              <a:gd name="T3" fmla="*/ 6 h 12"/>
              <a:gd name="T4" fmla="*/ 3 w 10"/>
              <a:gd name="T5" fmla="*/ 12 h 12"/>
              <a:gd name="T6" fmla="*/ 6 w 10"/>
              <a:gd name="T7" fmla="*/ 12 h 12"/>
              <a:gd name="T8" fmla="*/ 10 w 10"/>
              <a:gd name="T9" fmla="*/ 9 h 12"/>
              <a:gd name="T10" fmla="*/ 10 w 10"/>
              <a:gd name="T11" fmla="*/ 6 h 12"/>
              <a:gd name="T12" fmla="*/ 6 w 10"/>
              <a:gd name="T13" fmla="*/ 3 h 12"/>
              <a:gd name="T14" fmla="*/ 0 w 10"/>
              <a:gd name="T15" fmla="*/ 0 h 12"/>
              <a:gd name="T16" fmla="*/ 0 w 1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2">
                <a:moveTo>
                  <a:pt x="0" y="0"/>
                </a:moveTo>
                <a:lnTo>
                  <a:pt x="0" y="6"/>
                </a:lnTo>
                <a:lnTo>
                  <a:pt x="3" y="12"/>
                </a:lnTo>
                <a:lnTo>
                  <a:pt x="6" y="12"/>
                </a:lnTo>
                <a:lnTo>
                  <a:pt x="10" y="9"/>
                </a:lnTo>
                <a:lnTo>
                  <a:pt x="10" y="6"/>
                </a:lnTo>
                <a:lnTo>
                  <a:pt x="6" y="3"/>
                </a:lnTo>
                <a:lnTo>
                  <a:pt x="0" y="0"/>
                </a:lnTo>
                <a:lnTo>
                  <a:pt x="0" y="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7" name="Freeform 155">
            <a:extLst>
              <a:ext uri="{FF2B5EF4-FFF2-40B4-BE49-F238E27FC236}">
                <a16:creationId xmlns:a16="http://schemas.microsoft.com/office/drawing/2014/main" id="{304CC159-8AE5-052B-110C-511BA6C1B458}"/>
              </a:ext>
            </a:extLst>
          </p:cNvPr>
          <p:cNvSpPr>
            <a:spLocks noEditPoints="1"/>
          </p:cNvSpPr>
          <p:nvPr userDrawn="1"/>
        </p:nvSpPr>
        <p:spPr bwMode="auto">
          <a:xfrm>
            <a:off x="15807294" y="10140237"/>
            <a:ext cx="476219" cy="885826"/>
          </a:xfrm>
          <a:custGeom>
            <a:avLst/>
            <a:gdLst>
              <a:gd name="T0" fmla="*/ 44 w 150"/>
              <a:gd name="T1" fmla="*/ 276 h 279"/>
              <a:gd name="T2" fmla="*/ 69 w 150"/>
              <a:gd name="T3" fmla="*/ 266 h 279"/>
              <a:gd name="T4" fmla="*/ 79 w 150"/>
              <a:gd name="T5" fmla="*/ 254 h 279"/>
              <a:gd name="T6" fmla="*/ 82 w 150"/>
              <a:gd name="T7" fmla="*/ 238 h 279"/>
              <a:gd name="T8" fmla="*/ 88 w 150"/>
              <a:gd name="T9" fmla="*/ 229 h 279"/>
              <a:gd name="T10" fmla="*/ 100 w 150"/>
              <a:gd name="T11" fmla="*/ 201 h 279"/>
              <a:gd name="T12" fmla="*/ 116 w 150"/>
              <a:gd name="T13" fmla="*/ 163 h 279"/>
              <a:gd name="T14" fmla="*/ 125 w 150"/>
              <a:gd name="T15" fmla="*/ 138 h 279"/>
              <a:gd name="T16" fmla="*/ 132 w 150"/>
              <a:gd name="T17" fmla="*/ 110 h 279"/>
              <a:gd name="T18" fmla="*/ 135 w 150"/>
              <a:gd name="T19" fmla="*/ 94 h 279"/>
              <a:gd name="T20" fmla="*/ 138 w 150"/>
              <a:gd name="T21" fmla="*/ 82 h 279"/>
              <a:gd name="T22" fmla="*/ 138 w 150"/>
              <a:gd name="T23" fmla="*/ 69 h 279"/>
              <a:gd name="T24" fmla="*/ 147 w 150"/>
              <a:gd name="T25" fmla="*/ 82 h 279"/>
              <a:gd name="T26" fmla="*/ 150 w 150"/>
              <a:gd name="T27" fmla="*/ 69 h 279"/>
              <a:gd name="T28" fmla="*/ 144 w 150"/>
              <a:gd name="T29" fmla="*/ 57 h 279"/>
              <a:gd name="T30" fmla="*/ 147 w 150"/>
              <a:gd name="T31" fmla="*/ 41 h 279"/>
              <a:gd name="T32" fmla="*/ 141 w 150"/>
              <a:gd name="T33" fmla="*/ 16 h 279"/>
              <a:gd name="T34" fmla="*/ 132 w 150"/>
              <a:gd name="T35" fmla="*/ 7 h 279"/>
              <a:gd name="T36" fmla="*/ 129 w 150"/>
              <a:gd name="T37" fmla="*/ 7 h 279"/>
              <a:gd name="T38" fmla="*/ 125 w 150"/>
              <a:gd name="T39" fmla="*/ 10 h 279"/>
              <a:gd name="T40" fmla="*/ 122 w 150"/>
              <a:gd name="T41" fmla="*/ 22 h 279"/>
              <a:gd name="T42" fmla="*/ 113 w 150"/>
              <a:gd name="T43" fmla="*/ 35 h 279"/>
              <a:gd name="T44" fmla="*/ 110 w 150"/>
              <a:gd name="T45" fmla="*/ 32 h 279"/>
              <a:gd name="T46" fmla="*/ 107 w 150"/>
              <a:gd name="T47" fmla="*/ 44 h 279"/>
              <a:gd name="T48" fmla="*/ 100 w 150"/>
              <a:gd name="T49" fmla="*/ 47 h 279"/>
              <a:gd name="T50" fmla="*/ 104 w 150"/>
              <a:gd name="T51" fmla="*/ 57 h 279"/>
              <a:gd name="T52" fmla="*/ 94 w 150"/>
              <a:gd name="T53" fmla="*/ 63 h 279"/>
              <a:gd name="T54" fmla="*/ 91 w 150"/>
              <a:gd name="T55" fmla="*/ 57 h 279"/>
              <a:gd name="T56" fmla="*/ 88 w 150"/>
              <a:gd name="T57" fmla="*/ 66 h 279"/>
              <a:gd name="T58" fmla="*/ 85 w 150"/>
              <a:gd name="T59" fmla="*/ 72 h 279"/>
              <a:gd name="T60" fmla="*/ 82 w 150"/>
              <a:gd name="T61" fmla="*/ 66 h 279"/>
              <a:gd name="T62" fmla="*/ 75 w 150"/>
              <a:gd name="T63" fmla="*/ 82 h 279"/>
              <a:gd name="T64" fmla="*/ 69 w 150"/>
              <a:gd name="T65" fmla="*/ 72 h 279"/>
              <a:gd name="T66" fmla="*/ 57 w 150"/>
              <a:gd name="T67" fmla="*/ 75 h 279"/>
              <a:gd name="T68" fmla="*/ 54 w 150"/>
              <a:gd name="T69" fmla="*/ 79 h 279"/>
              <a:gd name="T70" fmla="*/ 41 w 150"/>
              <a:gd name="T71" fmla="*/ 85 h 279"/>
              <a:gd name="T72" fmla="*/ 32 w 150"/>
              <a:gd name="T73" fmla="*/ 88 h 279"/>
              <a:gd name="T74" fmla="*/ 19 w 150"/>
              <a:gd name="T75" fmla="*/ 110 h 279"/>
              <a:gd name="T76" fmla="*/ 22 w 150"/>
              <a:gd name="T77" fmla="*/ 125 h 279"/>
              <a:gd name="T78" fmla="*/ 32 w 150"/>
              <a:gd name="T79" fmla="*/ 147 h 279"/>
              <a:gd name="T80" fmla="*/ 29 w 150"/>
              <a:gd name="T81" fmla="*/ 163 h 279"/>
              <a:gd name="T82" fmla="*/ 19 w 150"/>
              <a:gd name="T83" fmla="*/ 175 h 279"/>
              <a:gd name="T84" fmla="*/ 7 w 150"/>
              <a:gd name="T85" fmla="*/ 188 h 279"/>
              <a:gd name="T86" fmla="*/ 0 w 150"/>
              <a:gd name="T87" fmla="*/ 207 h 279"/>
              <a:gd name="T88" fmla="*/ 7 w 150"/>
              <a:gd name="T89" fmla="*/ 226 h 279"/>
              <a:gd name="T90" fmla="*/ 10 w 150"/>
              <a:gd name="T91" fmla="*/ 232 h 279"/>
              <a:gd name="T92" fmla="*/ 7 w 150"/>
              <a:gd name="T93" fmla="*/ 244 h 279"/>
              <a:gd name="T94" fmla="*/ 10 w 150"/>
              <a:gd name="T95" fmla="*/ 260 h 279"/>
              <a:gd name="T96" fmla="*/ 19 w 150"/>
              <a:gd name="T97" fmla="*/ 269 h 279"/>
              <a:gd name="T98" fmla="*/ 29 w 150"/>
              <a:gd name="T99" fmla="*/ 276 h 279"/>
              <a:gd name="T100" fmla="*/ 32 w 150"/>
              <a:gd name="T101" fmla="*/ 279 h 279"/>
              <a:gd name="T102" fmla="*/ 119 w 150"/>
              <a:gd name="T103" fmla="*/ 16 h 279"/>
              <a:gd name="T104" fmla="*/ 116 w 150"/>
              <a:gd name="T105" fmla="*/ 25 h 279"/>
              <a:gd name="T106" fmla="*/ 116 w 150"/>
              <a:gd name="T107" fmla="*/ 25 h 279"/>
              <a:gd name="T108" fmla="*/ 113 w 150"/>
              <a:gd name="T109" fmla="*/ 25 h 279"/>
              <a:gd name="T110" fmla="*/ 110 w 150"/>
              <a:gd name="T111" fmla="*/ 25 h 279"/>
              <a:gd name="T112" fmla="*/ 138 w 150"/>
              <a:gd name="T113" fmla="*/ 97 h 279"/>
              <a:gd name="T114" fmla="*/ 141 w 150"/>
              <a:gd name="T115" fmla="*/ 9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279">
                <a:moveTo>
                  <a:pt x="32" y="279"/>
                </a:moveTo>
                <a:lnTo>
                  <a:pt x="35" y="276"/>
                </a:lnTo>
                <a:lnTo>
                  <a:pt x="38" y="279"/>
                </a:lnTo>
                <a:lnTo>
                  <a:pt x="44" y="276"/>
                </a:lnTo>
                <a:lnTo>
                  <a:pt x="47" y="269"/>
                </a:lnTo>
                <a:lnTo>
                  <a:pt x="60" y="269"/>
                </a:lnTo>
                <a:lnTo>
                  <a:pt x="63" y="269"/>
                </a:lnTo>
                <a:lnTo>
                  <a:pt x="69" y="266"/>
                </a:lnTo>
                <a:lnTo>
                  <a:pt x="72" y="263"/>
                </a:lnTo>
                <a:lnTo>
                  <a:pt x="75" y="263"/>
                </a:lnTo>
                <a:lnTo>
                  <a:pt x="75" y="257"/>
                </a:lnTo>
                <a:lnTo>
                  <a:pt x="79" y="254"/>
                </a:lnTo>
                <a:lnTo>
                  <a:pt x="82" y="247"/>
                </a:lnTo>
                <a:lnTo>
                  <a:pt x="85" y="247"/>
                </a:lnTo>
                <a:lnTo>
                  <a:pt x="85" y="241"/>
                </a:lnTo>
                <a:lnTo>
                  <a:pt x="82" y="238"/>
                </a:lnTo>
                <a:lnTo>
                  <a:pt x="85" y="238"/>
                </a:lnTo>
                <a:lnTo>
                  <a:pt x="88" y="232"/>
                </a:lnTo>
                <a:lnTo>
                  <a:pt x="88" y="229"/>
                </a:lnTo>
                <a:lnTo>
                  <a:pt x="88" y="229"/>
                </a:lnTo>
                <a:lnTo>
                  <a:pt x="91" y="226"/>
                </a:lnTo>
                <a:lnTo>
                  <a:pt x="94" y="210"/>
                </a:lnTo>
                <a:lnTo>
                  <a:pt x="97" y="204"/>
                </a:lnTo>
                <a:lnTo>
                  <a:pt x="100" y="201"/>
                </a:lnTo>
                <a:lnTo>
                  <a:pt x="100" y="191"/>
                </a:lnTo>
                <a:lnTo>
                  <a:pt x="107" y="182"/>
                </a:lnTo>
                <a:lnTo>
                  <a:pt x="113" y="166"/>
                </a:lnTo>
                <a:lnTo>
                  <a:pt x="116" y="163"/>
                </a:lnTo>
                <a:lnTo>
                  <a:pt x="116" y="154"/>
                </a:lnTo>
                <a:lnTo>
                  <a:pt x="119" y="147"/>
                </a:lnTo>
                <a:lnTo>
                  <a:pt x="119" y="144"/>
                </a:lnTo>
                <a:lnTo>
                  <a:pt x="125" y="138"/>
                </a:lnTo>
                <a:lnTo>
                  <a:pt x="125" y="125"/>
                </a:lnTo>
                <a:lnTo>
                  <a:pt x="129" y="119"/>
                </a:lnTo>
                <a:lnTo>
                  <a:pt x="132" y="116"/>
                </a:lnTo>
                <a:lnTo>
                  <a:pt x="132" y="110"/>
                </a:lnTo>
                <a:lnTo>
                  <a:pt x="129" y="107"/>
                </a:lnTo>
                <a:lnTo>
                  <a:pt x="132" y="104"/>
                </a:lnTo>
                <a:lnTo>
                  <a:pt x="135" y="97"/>
                </a:lnTo>
                <a:lnTo>
                  <a:pt x="135" y="94"/>
                </a:lnTo>
                <a:lnTo>
                  <a:pt x="138" y="91"/>
                </a:lnTo>
                <a:lnTo>
                  <a:pt x="138" y="88"/>
                </a:lnTo>
                <a:lnTo>
                  <a:pt x="135" y="85"/>
                </a:lnTo>
                <a:lnTo>
                  <a:pt x="138" y="82"/>
                </a:lnTo>
                <a:lnTo>
                  <a:pt x="135" y="75"/>
                </a:lnTo>
                <a:lnTo>
                  <a:pt x="135" y="75"/>
                </a:lnTo>
                <a:lnTo>
                  <a:pt x="135" y="72"/>
                </a:lnTo>
                <a:lnTo>
                  <a:pt x="138" y="69"/>
                </a:lnTo>
                <a:lnTo>
                  <a:pt x="138" y="72"/>
                </a:lnTo>
                <a:lnTo>
                  <a:pt x="141" y="75"/>
                </a:lnTo>
                <a:lnTo>
                  <a:pt x="144" y="79"/>
                </a:lnTo>
                <a:lnTo>
                  <a:pt x="147" y="82"/>
                </a:lnTo>
                <a:lnTo>
                  <a:pt x="147" y="79"/>
                </a:lnTo>
                <a:lnTo>
                  <a:pt x="147" y="75"/>
                </a:lnTo>
                <a:lnTo>
                  <a:pt x="147" y="72"/>
                </a:lnTo>
                <a:lnTo>
                  <a:pt x="150" y="69"/>
                </a:lnTo>
                <a:lnTo>
                  <a:pt x="150" y="69"/>
                </a:lnTo>
                <a:lnTo>
                  <a:pt x="150" y="66"/>
                </a:lnTo>
                <a:lnTo>
                  <a:pt x="147" y="60"/>
                </a:lnTo>
                <a:lnTo>
                  <a:pt x="144" y="57"/>
                </a:lnTo>
                <a:lnTo>
                  <a:pt x="147" y="53"/>
                </a:lnTo>
                <a:lnTo>
                  <a:pt x="147" y="50"/>
                </a:lnTo>
                <a:lnTo>
                  <a:pt x="144" y="44"/>
                </a:lnTo>
                <a:lnTo>
                  <a:pt x="147" y="41"/>
                </a:lnTo>
                <a:lnTo>
                  <a:pt x="147" y="32"/>
                </a:lnTo>
                <a:lnTo>
                  <a:pt x="144" y="28"/>
                </a:lnTo>
                <a:lnTo>
                  <a:pt x="144" y="19"/>
                </a:lnTo>
                <a:lnTo>
                  <a:pt x="141" y="16"/>
                </a:lnTo>
                <a:lnTo>
                  <a:pt x="141" y="16"/>
                </a:lnTo>
                <a:lnTo>
                  <a:pt x="138" y="13"/>
                </a:lnTo>
                <a:lnTo>
                  <a:pt x="135" y="10"/>
                </a:lnTo>
                <a:lnTo>
                  <a:pt x="132" y="7"/>
                </a:lnTo>
                <a:lnTo>
                  <a:pt x="135" y="3"/>
                </a:lnTo>
                <a:lnTo>
                  <a:pt x="135" y="0"/>
                </a:lnTo>
                <a:lnTo>
                  <a:pt x="129" y="3"/>
                </a:lnTo>
                <a:lnTo>
                  <a:pt x="129" y="7"/>
                </a:lnTo>
                <a:lnTo>
                  <a:pt x="125" y="10"/>
                </a:lnTo>
                <a:lnTo>
                  <a:pt x="122" y="7"/>
                </a:lnTo>
                <a:lnTo>
                  <a:pt x="122" y="7"/>
                </a:lnTo>
                <a:lnTo>
                  <a:pt x="125" y="10"/>
                </a:lnTo>
                <a:lnTo>
                  <a:pt x="125" y="13"/>
                </a:lnTo>
                <a:lnTo>
                  <a:pt x="125" y="16"/>
                </a:lnTo>
                <a:lnTo>
                  <a:pt x="125" y="16"/>
                </a:lnTo>
                <a:lnTo>
                  <a:pt x="122" y="22"/>
                </a:lnTo>
                <a:lnTo>
                  <a:pt x="122" y="25"/>
                </a:lnTo>
                <a:lnTo>
                  <a:pt x="119" y="32"/>
                </a:lnTo>
                <a:lnTo>
                  <a:pt x="116" y="28"/>
                </a:lnTo>
                <a:lnTo>
                  <a:pt x="113" y="35"/>
                </a:lnTo>
                <a:lnTo>
                  <a:pt x="113" y="38"/>
                </a:lnTo>
                <a:lnTo>
                  <a:pt x="110" y="38"/>
                </a:lnTo>
                <a:lnTo>
                  <a:pt x="110" y="38"/>
                </a:lnTo>
                <a:lnTo>
                  <a:pt x="110" y="32"/>
                </a:lnTo>
                <a:lnTo>
                  <a:pt x="107" y="32"/>
                </a:lnTo>
                <a:lnTo>
                  <a:pt x="104" y="35"/>
                </a:lnTo>
                <a:lnTo>
                  <a:pt x="104" y="38"/>
                </a:lnTo>
                <a:lnTo>
                  <a:pt x="107" y="44"/>
                </a:lnTo>
                <a:lnTo>
                  <a:pt x="110" y="44"/>
                </a:lnTo>
                <a:lnTo>
                  <a:pt x="107" y="47"/>
                </a:lnTo>
                <a:lnTo>
                  <a:pt x="107" y="44"/>
                </a:lnTo>
                <a:lnTo>
                  <a:pt x="100" y="47"/>
                </a:lnTo>
                <a:lnTo>
                  <a:pt x="104" y="50"/>
                </a:lnTo>
                <a:lnTo>
                  <a:pt x="107" y="50"/>
                </a:lnTo>
                <a:lnTo>
                  <a:pt x="107" y="53"/>
                </a:lnTo>
                <a:lnTo>
                  <a:pt x="104" y="57"/>
                </a:lnTo>
                <a:lnTo>
                  <a:pt x="104" y="53"/>
                </a:lnTo>
                <a:lnTo>
                  <a:pt x="100" y="53"/>
                </a:lnTo>
                <a:lnTo>
                  <a:pt x="100" y="57"/>
                </a:lnTo>
                <a:lnTo>
                  <a:pt x="94" y="63"/>
                </a:lnTo>
                <a:lnTo>
                  <a:pt x="94" y="57"/>
                </a:lnTo>
                <a:lnTo>
                  <a:pt x="94" y="57"/>
                </a:lnTo>
                <a:lnTo>
                  <a:pt x="94" y="53"/>
                </a:lnTo>
                <a:lnTo>
                  <a:pt x="91" y="57"/>
                </a:lnTo>
                <a:lnTo>
                  <a:pt x="91" y="60"/>
                </a:lnTo>
                <a:lnTo>
                  <a:pt x="91" y="60"/>
                </a:lnTo>
                <a:lnTo>
                  <a:pt x="88" y="63"/>
                </a:lnTo>
                <a:lnTo>
                  <a:pt x="88" y="66"/>
                </a:lnTo>
                <a:lnTo>
                  <a:pt x="91" y="66"/>
                </a:lnTo>
                <a:lnTo>
                  <a:pt x="91" y="69"/>
                </a:lnTo>
                <a:lnTo>
                  <a:pt x="88" y="69"/>
                </a:lnTo>
                <a:lnTo>
                  <a:pt x="85" y="72"/>
                </a:lnTo>
                <a:lnTo>
                  <a:pt x="85" y="69"/>
                </a:lnTo>
                <a:lnTo>
                  <a:pt x="82" y="69"/>
                </a:lnTo>
                <a:lnTo>
                  <a:pt x="85" y="66"/>
                </a:lnTo>
                <a:lnTo>
                  <a:pt x="82" y="66"/>
                </a:lnTo>
                <a:lnTo>
                  <a:pt x="75" y="72"/>
                </a:lnTo>
                <a:lnTo>
                  <a:pt x="75" y="75"/>
                </a:lnTo>
                <a:lnTo>
                  <a:pt x="75" y="79"/>
                </a:lnTo>
                <a:lnTo>
                  <a:pt x="75" y="82"/>
                </a:lnTo>
                <a:lnTo>
                  <a:pt x="72" y="82"/>
                </a:lnTo>
                <a:lnTo>
                  <a:pt x="69" y="79"/>
                </a:lnTo>
                <a:lnTo>
                  <a:pt x="69" y="75"/>
                </a:lnTo>
                <a:lnTo>
                  <a:pt x="69" y="72"/>
                </a:lnTo>
                <a:lnTo>
                  <a:pt x="63" y="79"/>
                </a:lnTo>
                <a:lnTo>
                  <a:pt x="60" y="75"/>
                </a:lnTo>
                <a:lnTo>
                  <a:pt x="57" y="75"/>
                </a:lnTo>
                <a:lnTo>
                  <a:pt x="57" y="75"/>
                </a:lnTo>
                <a:lnTo>
                  <a:pt x="57" y="82"/>
                </a:lnTo>
                <a:lnTo>
                  <a:pt x="57" y="82"/>
                </a:lnTo>
                <a:lnTo>
                  <a:pt x="54" y="82"/>
                </a:lnTo>
                <a:lnTo>
                  <a:pt x="54" y="79"/>
                </a:lnTo>
                <a:lnTo>
                  <a:pt x="50" y="79"/>
                </a:lnTo>
                <a:lnTo>
                  <a:pt x="50" y="82"/>
                </a:lnTo>
                <a:lnTo>
                  <a:pt x="47" y="79"/>
                </a:lnTo>
                <a:lnTo>
                  <a:pt x="41" y="85"/>
                </a:lnTo>
                <a:lnTo>
                  <a:pt x="38" y="85"/>
                </a:lnTo>
                <a:lnTo>
                  <a:pt x="35" y="85"/>
                </a:lnTo>
                <a:lnTo>
                  <a:pt x="32" y="85"/>
                </a:lnTo>
                <a:lnTo>
                  <a:pt x="32" y="88"/>
                </a:lnTo>
                <a:lnTo>
                  <a:pt x="32" y="94"/>
                </a:lnTo>
                <a:lnTo>
                  <a:pt x="25" y="104"/>
                </a:lnTo>
                <a:lnTo>
                  <a:pt x="25" y="104"/>
                </a:lnTo>
                <a:lnTo>
                  <a:pt x="19" y="110"/>
                </a:lnTo>
                <a:lnTo>
                  <a:pt x="19" y="113"/>
                </a:lnTo>
                <a:lnTo>
                  <a:pt x="22" y="116"/>
                </a:lnTo>
                <a:lnTo>
                  <a:pt x="19" y="119"/>
                </a:lnTo>
                <a:lnTo>
                  <a:pt x="22" y="125"/>
                </a:lnTo>
                <a:lnTo>
                  <a:pt x="22" y="129"/>
                </a:lnTo>
                <a:lnTo>
                  <a:pt x="29" y="141"/>
                </a:lnTo>
                <a:lnTo>
                  <a:pt x="29" y="144"/>
                </a:lnTo>
                <a:lnTo>
                  <a:pt x="32" y="147"/>
                </a:lnTo>
                <a:lnTo>
                  <a:pt x="32" y="147"/>
                </a:lnTo>
                <a:lnTo>
                  <a:pt x="29" y="150"/>
                </a:lnTo>
                <a:lnTo>
                  <a:pt x="29" y="154"/>
                </a:lnTo>
                <a:lnTo>
                  <a:pt x="29" y="163"/>
                </a:lnTo>
                <a:lnTo>
                  <a:pt x="22" y="166"/>
                </a:lnTo>
                <a:lnTo>
                  <a:pt x="22" y="169"/>
                </a:lnTo>
                <a:lnTo>
                  <a:pt x="19" y="169"/>
                </a:lnTo>
                <a:lnTo>
                  <a:pt x="19" y="175"/>
                </a:lnTo>
                <a:lnTo>
                  <a:pt x="16" y="175"/>
                </a:lnTo>
                <a:lnTo>
                  <a:pt x="16" y="185"/>
                </a:lnTo>
                <a:lnTo>
                  <a:pt x="13" y="188"/>
                </a:lnTo>
                <a:lnTo>
                  <a:pt x="7" y="188"/>
                </a:lnTo>
                <a:lnTo>
                  <a:pt x="7" y="191"/>
                </a:lnTo>
                <a:lnTo>
                  <a:pt x="7" y="197"/>
                </a:lnTo>
                <a:lnTo>
                  <a:pt x="0" y="201"/>
                </a:lnTo>
                <a:lnTo>
                  <a:pt x="0" y="207"/>
                </a:lnTo>
                <a:lnTo>
                  <a:pt x="0" y="210"/>
                </a:lnTo>
                <a:lnTo>
                  <a:pt x="0" y="213"/>
                </a:lnTo>
                <a:lnTo>
                  <a:pt x="0" y="219"/>
                </a:lnTo>
                <a:lnTo>
                  <a:pt x="7" y="226"/>
                </a:lnTo>
                <a:lnTo>
                  <a:pt x="7" y="229"/>
                </a:lnTo>
                <a:lnTo>
                  <a:pt x="7" y="232"/>
                </a:lnTo>
                <a:lnTo>
                  <a:pt x="10" y="232"/>
                </a:lnTo>
                <a:lnTo>
                  <a:pt x="10" y="232"/>
                </a:lnTo>
                <a:lnTo>
                  <a:pt x="10" y="235"/>
                </a:lnTo>
                <a:lnTo>
                  <a:pt x="7" y="235"/>
                </a:lnTo>
                <a:lnTo>
                  <a:pt x="7" y="238"/>
                </a:lnTo>
                <a:lnTo>
                  <a:pt x="7" y="244"/>
                </a:lnTo>
                <a:lnTo>
                  <a:pt x="7" y="254"/>
                </a:lnTo>
                <a:lnTo>
                  <a:pt x="7" y="254"/>
                </a:lnTo>
                <a:lnTo>
                  <a:pt x="7" y="257"/>
                </a:lnTo>
                <a:lnTo>
                  <a:pt x="10" y="260"/>
                </a:lnTo>
                <a:lnTo>
                  <a:pt x="13" y="263"/>
                </a:lnTo>
                <a:lnTo>
                  <a:pt x="13" y="263"/>
                </a:lnTo>
                <a:lnTo>
                  <a:pt x="16" y="266"/>
                </a:lnTo>
                <a:lnTo>
                  <a:pt x="19" y="269"/>
                </a:lnTo>
                <a:lnTo>
                  <a:pt x="22" y="269"/>
                </a:lnTo>
                <a:lnTo>
                  <a:pt x="22" y="269"/>
                </a:lnTo>
                <a:lnTo>
                  <a:pt x="25" y="272"/>
                </a:lnTo>
                <a:lnTo>
                  <a:pt x="29" y="276"/>
                </a:lnTo>
                <a:lnTo>
                  <a:pt x="32" y="276"/>
                </a:lnTo>
                <a:lnTo>
                  <a:pt x="32" y="279"/>
                </a:lnTo>
                <a:lnTo>
                  <a:pt x="32" y="279"/>
                </a:lnTo>
                <a:lnTo>
                  <a:pt x="32" y="279"/>
                </a:lnTo>
                <a:close/>
                <a:moveTo>
                  <a:pt x="119" y="19"/>
                </a:moveTo>
                <a:lnTo>
                  <a:pt x="116" y="19"/>
                </a:lnTo>
                <a:lnTo>
                  <a:pt x="119" y="16"/>
                </a:lnTo>
                <a:lnTo>
                  <a:pt x="119" y="16"/>
                </a:lnTo>
                <a:lnTo>
                  <a:pt x="119" y="19"/>
                </a:lnTo>
                <a:lnTo>
                  <a:pt x="119" y="19"/>
                </a:lnTo>
                <a:close/>
                <a:moveTo>
                  <a:pt x="116" y="25"/>
                </a:moveTo>
                <a:lnTo>
                  <a:pt x="116" y="25"/>
                </a:lnTo>
                <a:lnTo>
                  <a:pt x="119" y="25"/>
                </a:lnTo>
                <a:lnTo>
                  <a:pt x="116" y="28"/>
                </a:lnTo>
                <a:lnTo>
                  <a:pt x="116" y="25"/>
                </a:lnTo>
                <a:lnTo>
                  <a:pt x="116" y="25"/>
                </a:lnTo>
                <a:close/>
                <a:moveTo>
                  <a:pt x="110" y="25"/>
                </a:moveTo>
                <a:lnTo>
                  <a:pt x="110" y="25"/>
                </a:lnTo>
                <a:lnTo>
                  <a:pt x="113" y="25"/>
                </a:lnTo>
                <a:lnTo>
                  <a:pt x="113" y="25"/>
                </a:lnTo>
                <a:lnTo>
                  <a:pt x="113" y="28"/>
                </a:lnTo>
                <a:lnTo>
                  <a:pt x="110" y="28"/>
                </a:lnTo>
                <a:lnTo>
                  <a:pt x="110" y="28"/>
                </a:lnTo>
                <a:lnTo>
                  <a:pt x="110" y="25"/>
                </a:lnTo>
                <a:lnTo>
                  <a:pt x="110" y="25"/>
                </a:lnTo>
                <a:close/>
                <a:moveTo>
                  <a:pt x="138" y="104"/>
                </a:moveTo>
                <a:lnTo>
                  <a:pt x="138" y="100"/>
                </a:lnTo>
                <a:lnTo>
                  <a:pt x="138" y="97"/>
                </a:lnTo>
                <a:lnTo>
                  <a:pt x="138" y="97"/>
                </a:lnTo>
                <a:lnTo>
                  <a:pt x="141" y="97"/>
                </a:lnTo>
                <a:lnTo>
                  <a:pt x="141" y="94"/>
                </a:lnTo>
                <a:lnTo>
                  <a:pt x="141" y="97"/>
                </a:lnTo>
                <a:lnTo>
                  <a:pt x="138" y="100"/>
                </a:lnTo>
                <a:lnTo>
                  <a:pt x="138" y="104"/>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8" name="Freeform 156">
            <a:extLst>
              <a:ext uri="{FF2B5EF4-FFF2-40B4-BE49-F238E27FC236}">
                <a16:creationId xmlns:a16="http://schemas.microsoft.com/office/drawing/2014/main" id="{73AFB262-E2F2-F8A6-EEF2-6243BEC4798F}"/>
              </a:ext>
            </a:extLst>
          </p:cNvPr>
          <p:cNvSpPr>
            <a:spLocks/>
          </p:cNvSpPr>
          <p:nvPr userDrawn="1"/>
        </p:nvSpPr>
        <p:spPr bwMode="auto">
          <a:xfrm>
            <a:off x="15045348" y="10041807"/>
            <a:ext cx="644484" cy="1054102"/>
          </a:xfrm>
          <a:custGeom>
            <a:avLst/>
            <a:gdLst>
              <a:gd name="T0" fmla="*/ 34 w 203"/>
              <a:gd name="T1" fmla="*/ 206 h 332"/>
              <a:gd name="T2" fmla="*/ 40 w 203"/>
              <a:gd name="T3" fmla="*/ 194 h 332"/>
              <a:gd name="T4" fmla="*/ 43 w 203"/>
              <a:gd name="T5" fmla="*/ 181 h 332"/>
              <a:gd name="T6" fmla="*/ 43 w 203"/>
              <a:gd name="T7" fmla="*/ 169 h 332"/>
              <a:gd name="T8" fmla="*/ 43 w 203"/>
              <a:gd name="T9" fmla="*/ 156 h 332"/>
              <a:gd name="T10" fmla="*/ 47 w 203"/>
              <a:gd name="T11" fmla="*/ 141 h 332"/>
              <a:gd name="T12" fmla="*/ 50 w 203"/>
              <a:gd name="T13" fmla="*/ 128 h 332"/>
              <a:gd name="T14" fmla="*/ 28 w 203"/>
              <a:gd name="T15" fmla="*/ 119 h 332"/>
              <a:gd name="T16" fmla="*/ 12 w 203"/>
              <a:gd name="T17" fmla="*/ 113 h 332"/>
              <a:gd name="T18" fmla="*/ 0 w 203"/>
              <a:gd name="T19" fmla="*/ 97 h 332"/>
              <a:gd name="T20" fmla="*/ 34 w 203"/>
              <a:gd name="T21" fmla="*/ 78 h 332"/>
              <a:gd name="T22" fmla="*/ 59 w 203"/>
              <a:gd name="T23" fmla="*/ 75 h 332"/>
              <a:gd name="T24" fmla="*/ 68 w 203"/>
              <a:gd name="T25" fmla="*/ 81 h 332"/>
              <a:gd name="T26" fmla="*/ 81 w 203"/>
              <a:gd name="T27" fmla="*/ 88 h 332"/>
              <a:gd name="T28" fmla="*/ 75 w 203"/>
              <a:gd name="T29" fmla="*/ 110 h 332"/>
              <a:gd name="T30" fmla="*/ 87 w 203"/>
              <a:gd name="T31" fmla="*/ 125 h 332"/>
              <a:gd name="T32" fmla="*/ 93 w 203"/>
              <a:gd name="T33" fmla="*/ 135 h 332"/>
              <a:gd name="T34" fmla="*/ 97 w 203"/>
              <a:gd name="T35" fmla="*/ 113 h 332"/>
              <a:gd name="T36" fmla="*/ 103 w 203"/>
              <a:gd name="T37" fmla="*/ 97 h 332"/>
              <a:gd name="T38" fmla="*/ 106 w 203"/>
              <a:gd name="T39" fmla="*/ 91 h 332"/>
              <a:gd name="T40" fmla="*/ 103 w 203"/>
              <a:gd name="T41" fmla="*/ 75 h 332"/>
              <a:gd name="T42" fmla="*/ 87 w 203"/>
              <a:gd name="T43" fmla="*/ 59 h 332"/>
              <a:gd name="T44" fmla="*/ 106 w 203"/>
              <a:gd name="T45" fmla="*/ 19 h 332"/>
              <a:gd name="T46" fmla="*/ 115 w 203"/>
              <a:gd name="T47" fmla="*/ 22 h 332"/>
              <a:gd name="T48" fmla="*/ 128 w 203"/>
              <a:gd name="T49" fmla="*/ 22 h 332"/>
              <a:gd name="T50" fmla="*/ 137 w 203"/>
              <a:gd name="T51" fmla="*/ 22 h 332"/>
              <a:gd name="T52" fmla="*/ 150 w 203"/>
              <a:gd name="T53" fmla="*/ 16 h 332"/>
              <a:gd name="T54" fmla="*/ 162 w 203"/>
              <a:gd name="T55" fmla="*/ 16 h 332"/>
              <a:gd name="T56" fmla="*/ 181 w 203"/>
              <a:gd name="T57" fmla="*/ 13 h 332"/>
              <a:gd name="T58" fmla="*/ 197 w 203"/>
              <a:gd name="T59" fmla="*/ 3 h 332"/>
              <a:gd name="T60" fmla="*/ 203 w 203"/>
              <a:gd name="T61" fmla="*/ 6 h 332"/>
              <a:gd name="T62" fmla="*/ 200 w 203"/>
              <a:gd name="T63" fmla="*/ 19 h 332"/>
              <a:gd name="T64" fmla="*/ 200 w 203"/>
              <a:gd name="T65" fmla="*/ 34 h 332"/>
              <a:gd name="T66" fmla="*/ 200 w 203"/>
              <a:gd name="T67" fmla="*/ 53 h 332"/>
              <a:gd name="T68" fmla="*/ 197 w 203"/>
              <a:gd name="T69" fmla="*/ 72 h 332"/>
              <a:gd name="T70" fmla="*/ 203 w 203"/>
              <a:gd name="T71" fmla="*/ 84 h 332"/>
              <a:gd name="T72" fmla="*/ 197 w 203"/>
              <a:gd name="T73" fmla="*/ 91 h 332"/>
              <a:gd name="T74" fmla="*/ 197 w 203"/>
              <a:gd name="T75" fmla="*/ 97 h 332"/>
              <a:gd name="T76" fmla="*/ 184 w 203"/>
              <a:gd name="T77" fmla="*/ 116 h 332"/>
              <a:gd name="T78" fmla="*/ 165 w 203"/>
              <a:gd name="T79" fmla="*/ 128 h 332"/>
              <a:gd name="T80" fmla="*/ 134 w 203"/>
              <a:gd name="T81" fmla="*/ 144 h 332"/>
              <a:gd name="T82" fmla="*/ 125 w 203"/>
              <a:gd name="T83" fmla="*/ 150 h 332"/>
              <a:gd name="T84" fmla="*/ 112 w 203"/>
              <a:gd name="T85" fmla="*/ 166 h 332"/>
              <a:gd name="T86" fmla="*/ 93 w 203"/>
              <a:gd name="T87" fmla="*/ 178 h 332"/>
              <a:gd name="T88" fmla="*/ 81 w 203"/>
              <a:gd name="T89" fmla="*/ 185 h 332"/>
              <a:gd name="T90" fmla="*/ 78 w 203"/>
              <a:gd name="T91" fmla="*/ 194 h 332"/>
              <a:gd name="T92" fmla="*/ 81 w 203"/>
              <a:gd name="T93" fmla="*/ 213 h 332"/>
              <a:gd name="T94" fmla="*/ 87 w 203"/>
              <a:gd name="T95" fmla="*/ 238 h 332"/>
              <a:gd name="T96" fmla="*/ 90 w 203"/>
              <a:gd name="T97" fmla="*/ 238 h 332"/>
              <a:gd name="T98" fmla="*/ 90 w 203"/>
              <a:gd name="T99" fmla="*/ 250 h 332"/>
              <a:gd name="T100" fmla="*/ 84 w 203"/>
              <a:gd name="T101" fmla="*/ 266 h 332"/>
              <a:gd name="T102" fmla="*/ 87 w 203"/>
              <a:gd name="T103" fmla="*/ 278 h 332"/>
              <a:gd name="T104" fmla="*/ 37 w 203"/>
              <a:gd name="T105" fmla="*/ 303 h 332"/>
              <a:gd name="T106" fmla="*/ 28 w 203"/>
              <a:gd name="T107" fmla="*/ 313 h 332"/>
              <a:gd name="T108" fmla="*/ 34 w 203"/>
              <a:gd name="T109" fmla="*/ 322 h 332"/>
              <a:gd name="T110" fmla="*/ 34 w 203"/>
              <a:gd name="T111" fmla="*/ 329 h 332"/>
              <a:gd name="T112" fmla="*/ 22 w 203"/>
              <a:gd name="T113" fmla="*/ 329 h 332"/>
              <a:gd name="T114" fmla="*/ 18 w 203"/>
              <a:gd name="T115" fmla="*/ 316 h 332"/>
              <a:gd name="T116" fmla="*/ 18 w 203"/>
              <a:gd name="T117" fmla="*/ 297 h 332"/>
              <a:gd name="T118" fmla="*/ 18 w 203"/>
              <a:gd name="T119" fmla="*/ 269 h 332"/>
              <a:gd name="T120" fmla="*/ 12 w 203"/>
              <a:gd name="T121" fmla="*/ 24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3" h="332">
                <a:moveTo>
                  <a:pt x="12" y="244"/>
                </a:moveTo>
                <a:lnTo>
                  <a:pt x="34" y="222"/>
                </a:lnTo>
                <a:lnTo>
                  <a:pt x="34" y="216"/>
                </a:lnTo>
                <a:lnTo>
                  <a:pt x="34" y="213"/>
                </a:lnTo>
                <a:lnTo>
                  <a:pt x="34" y="206"/>
                </a:lnTo>
                <a:lnTo>
                  <a:pt x="37" y="203"/>
                </a:lnTo>
                <a:lnTo>
                  <a:pt x="34" y="200"/>
                </a:lnTo>
                <a:lnTo>
                  <a:pt x="37" y="197"/>
                </a:lnTo>
                <a:lnTo>
                  <a:pt x="37" y="197"/>
                </a:lnTo>
                <a:lnTo>
                  <a:pt x="40" y="194"/>
                </a:lnTo>
                <a:lnTo>
                  <a:pt x="43" y="194"/>
                </a:lnTo>
                <a:lnTo>
                  <a:pt x="47" y="188"/>
                </a:lnTo>
                <a:lnTo>
                  <a:pt x="43" y="185"/>
                </a:lnTo>
                <a:lnTo>
                  <a:pt x="43" y="185"/>
                </a:lnTo>
                <a:lnTo>
                  <a:pt x="43" y="181"/>
                </a:lnTo>
                <a:lnTo>
                  <a:pt x="43" y="178"/>
                </a:lnTo>
                <a:lnTo>
                  <a:pt x="43" y="175"/>
                </a:lnTo>
                <a:lnTo>
                  <a:pt x="40" y="172"/>
                </a:lnTo>
                <a:lnTo>
                  <a:pt x="40" y="169"/>
                </a:lnTo>
                <a:lnTo>
                  <a:pt x="43" y="169"/>
                </a:lnTo>
                <a:lnTo>
                  <a:pt x="43" y="166"/>
                </a:lnTo>
                <a:lnTo>
                  <a:pt x="43" y="163"/>
                </a:lnTo>
                <a:lnTo>
                  <a:pt x="47" y="160"/>
                </a:lnTo>
                <a:lnTo>
                  <a:pt x="47" y="156"/>
                </a:lnTo>
                <a:lnTo>
                  <a:pt x="43" y="156"/>
                </a:lnTo>
                <a:lnTo>
                  <a:pt x="43" y="156"/>
                </a:lnTo>
                <a:lnTo>
                  <a:pt x="47" y="153"/>
                </a:lnTo>
                <a:lnTo>
                  <a:pt x="47" y="147"/>
                </a:lnTo>
                <a:lnTo>
                  <a:pt x="47" y="144"/>
                </a:lnTo>
                <a:lnTo>
                  <a:pt x="47" y="141"/>
                </a:lnTo>
                <a:lnTo>
                  <a:pt x="47" y="138"/>
                </a:lnTo>
                <a:lnTo>
                  <a:pt x="47" y="138"/>
                </a:lnTo>
                <a:lnTo>
                  <a:pt x="47" y="135"/>
                </a:lnTo>
                <a:lnTo>
                  <a:pt x="50" y="131"/>
                </a:lnTo>
                <a:lnTo>
                  <a:pt x="50" y="128"/>
                </a:lnTo>
                <a:lnTo>
                  <a:pt x="43" y="125"/>
                </a:lnTo>
                <a:lnTo>
                  <a:pt x="43" y="125"/>
                </a:lnTo>
                <a:lnTo>
                  <a:pt x="37" y="122"/>
                </a:lnTo>
                <a:lnTo>
                  <a:pt x="31" y="122"/>
                </a:lnTo>
                <a:lnTo>
                  <a:pt x="28" y="119"/>
                </a:lnTo>
                <a:lnTo>
                  <a:pt x="25" y="116"/>
                </a:lnTo>
                <a:lnTo>
                  <a:pt x="18" y="113"/>
                </a:lnTo>
                <a:lnTo>
                  <a:pt x="15" y="110"/>
                </a:lnTo>
                <a:lnTo>
                  <a:pt x="12" y="113"/>
                </a:lnTo>
                <a:lnTo>
                  <a:pt x="12" y="113"/>
                </a:lnTo>
                <a:lnTo>
                  <a:pt x="9" y="113"/>
                </a:lnTo>
                <a:lnTo>
                  <a:pt x="6" y="110"/>
                </a:lnTo>
                <a:lnTo>
                  <a:pt x="0" y="110"/>
                </a:lnTo>
                <a:lnTo>
                  <a:pt x="0" y="100"/>
                </a:lnTo>
                <a:lnTo>
                  <a:pt x="0" y="97"/>
                </a:lnTo>
                <a:lnTo>
                  <a:pt x="0" y="94"/>
                </a:lnTo>
                <a:lnTo>
                  <a:pt x="9" y="88"/>
                </a:lnTo>
                <a:lnTo>
                  <a:pt x="12" y="88"/>
                </a:lnTo>
                <a:lnTo>
                  <a:pt x="31" y="81"/>
                </a:lnTo>
                <a:lnTo>
                  <a:pt x="34" y="78"/>
                </a:lnTo>
                <a:lnTo>
                  <a:pt x="47" y="75"/>
                </a:lnTo>
                <a:lnTo>
                  <a:pt x="53" y="72"/>
                </a:lnTo>
                <a:lnTo>
                  <a:pt x="59" y="72"/>
                </a:lnTo>
                <a:lnTo>
                  <a:pt x="59" y="75"/>
                </a:lnTo>
                <a:lnTo>
                  <a:pt x="59" y="75"/>
                </a:lnTo>
                <a:lnTo>
                  <a:pt x="62" y="78"/>
                </a:lnTo>
                <a:lnTo>
                  <a:pt x="62" y="81"/>
                </a:lnTo>
                <a:lnTo>
                  <a:pt x="65" y="81"/>
                </a:lnTo>
                <a:lnTo>
                  <a:pt x="65" y="81"/>
                </a:lnTo>
                <a:lnTo>
                  <a:pt x="68" y="81"/>
                </a:lnTo>
                <a:lnTo>
                  <a:pt x="72" y="78"/>
                </a:lnTo>
                <a:lnTo>
                  <a:pt x="75" y="78"/>
                </a:lnTo>
                <a:lnTo>
                  <a:pt x="81" y="81"/>
                </a:lnTo>
                <a:lnTo>
                  <a:pt x="81" y="84"/>
                </a:lnTo>
                <a:lnTo>
                  <a:pt x="81" y="88"/>
                </a:lnTo>
                <a:lnTo>
                  <a:pt x="81" y="94"/>
                </a:lnTo>
                <a:lnTo>
                  <a:pt x="78" y="97"/>
                </a:lnTo>
                <a:lnTo>
                  <a:pt x="78" y="103"/>
                </a:lnTo>
                <a:lnTo>
                  <a:pt x="75" y="106"/>
                </a:lnTo>
                <a:lnTo>
                  <a:pt x="75" y="110"/>
                </a:lnTo>
                <a:lnTo>
                  <a:pt x="75" y="113"/>
                </a:lnTo>
                <a:lnTo>
                  <a:pt x="78" y="116"/>
                </a:lnTo>
                <a:lnTo>
                  <a:pt x="81" y="122"/>
                </a:lnTo>
                <a:lnTo>
                  <a:pt x="84" y="125"/>
                </a:lnTo>
                <a:lnTo>
                  <a:pt x="87" y="125"/>
                </a:lnTo>
                <a:lnTo>
                  <a:pt x="87" y="128"/>
                </a:lnTo>
                <a:lnTo>
                  <a:pt x="90" y="131"/>
                </a:lnTo>
                <a:lnTo>
                  <a:pt x="90" y="135"/>
                </a:lnTo>
                <a:lnTo>
                  <a:pt x="90" y="135"/>
                </a:lnTo>
                <a:lnTo>
                  <a:pt x="93" y="135"/>
                </a:lnTo>
                <a:lnTo>
                  <a:pt x="93" y="131"/>
                </a:lnTo>
                <a:lnTo>
                  <a:pt x="93" y="125"/>
                </a:lnTo>
                <a:lnTo>
                  <a:pt x="97" y="122"/>
                </a:lnTo>
                <a:lnTo>
                  <a:pt x="97" y="119"/>
                </a:lnTo>
                <a:lnTo>
                  <a:pt x="97" y="113"/>
                </a:lnTo>
                <a:lnTo>
                  <a:pt x="103" y="113"/>
                </a:lnTo>
                <a:lnTo>
                  <a:pt x="106" y="110"/>
                </a:lnTo>
                <a:lnTo>
                  <a:pt x="106" y="106"/>
                </a:lnTo>
                <a:lnTo>
                  <a:pt x="106" y="100"/>
                </a:lnTo>
                <a:lnTo>
                  <a:pt x="103" y="97"/>
                </a:lnTo>
                <a:lnTo>
                  <a:pt x="106" y="97"/>
                </a:lnTo>
                <a:lnTo>
                  <a:pt x="103" y="94"/>
                </a:lnTo>
                <a:lnTo>
                  <a:pt x="103" y="94"/>
                </a:lnTo>
                <a:lnTo>
                  <a:pt x="106" y="94"/>
                </a:lnTo>
                <a:lnTo>
                  <a:pt x="106" y="91"/>
                </a:lnTo>
                <a:lnTo>
                  <a:pt x="109" y="91"/>
                </a:lnTo>
                <a:lnTo>
                  <a:pt x="109" y="88"/>
                </a:lnTo>
                <a:lnTo>
                  <a:pt x="109" y="84"/>
                </a:lnTo>
                <a:lnTo>
                  <a:pt x="106" y="81"/>
                </a:lnTo>
                <a:lnTo>
                  <a:pt x="103" y="75"/>
                </a:lnTo>
                <a:lnTo>
                  <a:pt x="100" y="72"/>
                </a:lnTo>
                <a:lnTo>
                  <a:pt x="93" y="66"/>
                </a:lnTo>
                <a:lnTo>
                  <a:pt x="93" y="66"/>
                </a:lnTo>
                <a:lnTo>
                  <a:pt x="90" y="63"/>
                </a:lnTo>
                <a:lnTo>
                  <a:pt x="87" y="59"/>
                </a:lnTo>
                <a:lnTo>
                  <a:pt x="81" y="56"/>
                </a:lnTo>
                <a:lnTo>
                  <a:pt x="78" y="38"/>
                </a:lnTo>
                <a:lnTo>
                  <a:pt x="84" y="22"/>
                </a:lnTo>
                <a:lnTo>
                  <a:pt x="103" y="22"/>
                </a:lnTo>
                <a:lnTo>
                  <a:pt x="106" y="19"/>
                </a:lnTo>
                <a:lnTo>
                  <a:pt x="106" y="19"/>
                </a:lnTo>
                <a:lnTo>
                  <a:pt x="109" y="19"/>
                </a:lnTo>
                <a:lnTo>
                  <a:pt x="109" y="19"/>
                </a:lnTo>
                <a:lnTo>
                  <a:pt x="112" y="19"/>
                </a:lnTo>
                <a:lnTo>
                  <a:pt x="115" y="22"/>
                </a:lnTo>
                <a:lnTo>
                  <a:pt x="115" y="22"/>
                </a:lnTo>
                <a:lnTo>
                  <a:pt x="119" y="25"/>
                </a:lnTo>
                <a:lnTo>
                  <a:pt x="119" y="25"/>
                </a:lnTo>
                <a:lnTo>
                  <a:pt x="125" y="25"/>
                </a:lnTo>
                <a:lnTo>
                  <a:pt x="128" y="22"/>
                </a:lnTo>
                <a:lnTo>
                  <a:pt x="131" y="22"/>
                </a:lnTo>
                <a:lnTo>
                  <a:pt x="131" y="19"/>
                </a:lnTo>
                <a:lnTo>
                  <a:pt x="134" y="22"/>
                </a:lnTo>
                <a:lnTo>
                  <a:pt x="134" y="22"/>
                </a:lnTo>
                <a:lnTo>
                  <a:pt x="137" y="22"/>
                </a:lnTo>
                <a:lnTo>
                  <a:pt x="140" y="22"/>
                </a:lnTo>
                <a:lnTo>
                  <a:pt x="144" y="22"/>
                </a:lnTo>
                <a:lnTo>
                  <a:pt x="150" y="22"/>
                </a:lnTo>
                <a:lnTo>
                  <a:pt x="150" y="19"/>
                </a:lnTo>
                <a:lnTo>
                  <a:pt x="150" y="16"/>
                </a:lnTo>
                <a:lnTo>
                  <a:pt x="150" y="16"/>
                </a:lnTo>
                <a:lnTo>
                  <a:pt x="153" y="16"/>
                </a:lnTo>
                <a:lnTo>
                  <a:pt x="156" y="16"/>
                </a:lnTo>
                <a:lnTo>
                  <a:pt x="159" y="19"/>
                </a:lnTo>
                <a:lnTo>
                  <a:pt x="162" y="16"/>
                </a:lnTo>
                <a:lnTo>
                  <a:pt x="165" y="16"/>
                </a:lnTo>
                <a:lnTo>
                  <a:pt x="172" y="13"/>
                </a:lnTo>
                <a:lnTo>
                  <a:pt x="175" y="16"/>
                </a:lnTo>
                <a:lnTo>
                  <a:pt x="178" y="13"/>
                </a:lnTo>
                <a:lnTo>
                  <a:pt x="181" y="13"/>
                </a:lnTo>
                <a:lnTo>
                  <a:pt x="184" y="13"/>
                </a:lnTo>
                <a:lnTo>
                  <a:pt x="187" y="9"/>
                </a:lnTo>
                <a:lnTo>
                  <a:pt x="190" y="6"/>
                </a:lnTo>
                <a:lnTo>
                  <a:pt x="194" y="6"/>
                </a:lnTo>
                <a:lnTo>
                  <a:pt x="197" y="3"/>
                </a:lnTo>
                <a:lnTo>
                  <a:pt x="200" y="3"/>
                </a:lnTo>
                <a:lnTo>
                  <a:pt x="203" y="0"/>
                </a:lnTo>
                <a:lnTo>
                  <a:pt x="203" y="0"/>
                </a:lnTo>
                <a:lnTo>
                  <a:pt x="203" y="3"/>
                </a:lnTo>
                <a:lnTo>
                  <a:pt x="203" y="6"/>
                </a:lnTo>
                <a:lnTo>
                  <a:pt x="203" y="9"/>
                </a:lnTo>
                <a:lnTo>
                  <a:pt x="203" y="9"/>
                </a:lnTo>
                <a:lnTo>
                  <a:pt x="200" y="16"/>
                </a:lnTo>
                <a:lnTo>
                  <a:pt x="200" y="19"/>
                </a:lnTo>
                <a:lnTo>
                  <a:pt x="200" y="19"/>
                </a:lnTo>
                <a:lnTo>
                  <a:pt x="200" y="19"/>
                </a:lnTo>
                <a:lnTo>
                  <a:pt x="197" y="22"/>
                </a:lnTo>
                <a:lnTo>
                  <a:pt x="200" y="28"/>
                </a:lnTo>
                <a:lnTo>
                  <a:pt x="200" y="31"/>
                </a:lnTo>
                <a:lnTo>
                  <a:pt x="200" y="34"/>
                </a:lnTo>
                <a:lnTo>
                  <a:pt x="200" y="38"/>
                </a:lnTo>
                <a:lnTo>
                  <a:pt x="200" y="41"/>
                </a:lnTo>
                <a:lnTo>
                  <a:pt x="203" y="44"/>
                </a:lnTo>
                <a:lnTo>
                  <a:pt x="200" y="47"/>
                </a:lnTo>
                <a:lnTo>
                  <a:pt x="200" y="53"/>
                </a:lnTo>
                <a:lnTo>
                  <a:pt x="200" y="63"/>
                </a:lnTo>
                <a:lnTo>
                  <a:pt x="197" y="63"/>
                </a:lnTo>
                <a:lnTo>
                  <a:pt x="200" y="63"/>
                </a:lnTo>
                <a:lnTo>
                  <a:pt x="200" y="72"/>
                </a:lnTo>
                <a:lnTo>
                  <a:pt x="197" y="72"/>
                </a:lnTo>
                <a:lnTo>
                  <a:pt x="197" y="75"/>
                </a:lnTo>
                <a:lnTo>
                  <a:pt x="197" y="75"/>
                </a:lnTo>
                <a:lnTo>
                  <a:pt x="200" y="75"/>
                </a:lnTo>
                <a:lnTo>
                  <a:pt x="203" y="75"/>
                </a:lnTo>
                <a:lnTo>
                  <a:pt x="203" y="84"/>
                </a:lnTo>
                <a:lnTo>
                  <a:pt x="200" y="88"/>
                </a:lnTo>
                <a:lnTo>
                  <a:pt x="200" y="88"/>
                </a:lnTo>
                <a:lnTo>
                  <a:pt x="200" y="91"/>
                </a:lnTo>
                <a:lnTo>
                  <a:pt x="200" y="91"/>
                </a:lnTo>
                <a:lnTo>
                  <a:pt x="197" y="91"/>
                </a:lnTo>
                <a:lnTo>
                  <a:pt x="194" y="94"/>
                </a:lnTo>
                <a:lnTo>
                  <a:pt x="194" y="97"/>
                </a:lnTo>
                <a:lnTo>
                  <a:pt x="197" y="94"/>
                </a:lnTo>
                <a:lnTo>
                  <a:pt x="197" y="94"/>
                </a:lnTo>
                <a:lnTo>
                  <a:pt x="197" y="97"/>
                </a:lnTo>
                <a:lnTo>
                  <a:pt x="197" y="103"/>
                </a:lnTo>
                <a:lnTo>
                  <a:pt x="194" y="103"/>
                </a:lnTo>
                <a:lnTo>
                  <a:pt x="190" y="106"/>
                </a:lnTo>
                <a:lnTo>
                  <a:pt x="190" y="110"/>
                </a:lnTo>
                <a:lnTo>
                  <a:pt x="184" y="116"/>
                </a:lnTo>
                <a:lnTo>
                  <a:pt x="181" y="116"/>
                </a:lnTo>
                <a:lnTo>
                  <a:pt x="181" y="119"/>
                </a:lnTo>
                <a:lnTo>
                  <a:pt x="169" y="128"/>
                </a:lnTo>
                <a:lnTo>
                  <a:pt x="169" y="128"/>
                </a:lnTo>
                <a:lnTo>
                  <a:pt x="165" y="128"/>
                </a:lnTo>
                <a:lnTo>
                  <a:pt x="153" y="138"/>
                </a:lnTo>
                <a:lnTo>
                  <a:pt x="150" y="135"/>
                </a:lnTo>
                <a:lnTo>
                  <a:pt x="150" y="138"/>
                </a:lnTo>
                <a:lnTo>
                  <a:pt x="144" y="141"/>
                </a:lnTo>
                <a:lnTo>
                  <a:pt x="134" y="144"/>
                </a:lnTo>
                <a:lnTo>
                  <a:pt x="134" y="144"/>
                </a:lnTo>
                <a:lnTo>
                  <a:pt x="134" y="147"/>
                </a:lnTo>
                <a:lnTo>
                  <a:pt x="128" y="150"/>
                </a:lnTo>
                <a:lnTo>
                  <a:pt x="125" y="153"/>
                </a:lnTo>
                <a:lnTo>
                  <a:pt x="125" y="150"/>
                </a:lnTo>
                <a:lnTo>
                  <a:pt x="125" y="153"/>
                </a:lnTo>
                <a:lnTo>
                  <a:pt x="122" y="156"/>
                </a:lnTo>
                <a:lnTo>
                  <a:pt x="122" y="160"/>
                </a:lnTo>
                <a:lnTo>
                  <a:pt x="112" y="163"/>
                </a:lnTo>
                <a:lnTo>
                  <a:pt x="112" y="166"/>
                </a:lnTo>
                <a:lnTo>
                  <a:pt x="109" y="166"/>
                </a:lnTo>
                <a:lnTo>
                  <a:pt x="109" y="166"/>
                </a:lnTo>
                <a:lnTo>
                  <a:pt x="109" y="169"/>
                </a:lnTo>
                <a:lnTo>
                  <a:pt x="103" y="169"/>
                </a:lnTo>
                <a:lnTo>
                  <a:pt x="93" y="178"/>
                </a:lnTo>
                <a:lnTo>
                  <a:pt x="93" y="181"/>
                </a:lnTo>
                <a:lnTo>
                  <a:pt x="90" y="185"/>
                </a:lnTo>
                <a:lnTo>
                  <a:pt x="87" y="185"/>
                </a:lnTo>
                <a:lnTo>
                  <a:pt x="84" y="188"/>
                </a:lnTo>
                <a:lnTo>
                  <a:pt x="81" y="185"/>
                </a:lnTo>
                <a:lnTo>
                  <a:pt x="78" y="185"/>
                </a:lnTo>
                <a:lnTo>
                  <a:pt x="78" y="188"/>
                </a:lnTo>
                <a:lnTo>
                  <a:pt x="81" y="188"/>
                </a:lnTo>
                <a:lnTo>
                  <a:pt x="81" y="191"/>
                </a:lnTo>
                <a:lnTo>
                  <a:pt x="78" y="194"/>
                </a:lnTo>
                <a:lnTo>
                  <a:pt x="78" y="197"/>
                </a:lnTo>
                <a:lnTo>
                  <a:pt x="78" y="200"/>
                </a:lnTo>
                <a:lnTo>
                  <a:pt x="84" y="206"/>
                </a:lnTo>
                <a:lnTo>
                  <a:pt x="84" y="210"/>
                </a:lnTo>
                <a:lnTo>
                  <a:pt x="81" y="213"/>
                </a:lnTo>
                <a:lnTo>
                  <a:pt x="81" y="213"/>
                </a:lnTo>
                <a:lnTo>
                  <a:pt x="84" y="216"/>
                </a:lnTo>
                <a:lnTo>
                  <a:pt x="84" y="222"/>
                </a:lnTo>
                <a:lnTo>
                  <a:pt x="87" y="225"/>
                </a:lnTo>
                <a:lnTo>
                  <a:pt x="87" y="238"/>
                </a:lnTo>
                <a:lnTo>
                  <a:pt x="87" y="241"/>
                </a:lnTo>
                <a:lnTo>
                  <a:pt x="87" y="241"/>
                </a:lnTo>
                <a:lnTo>
                  <a:pt x="87" y="238"/>
                </a:lnTo>
                <a:lnTo>
                  <a:pt x="90" y="235"/>
                </a:lnTo>
                <a:lnTo>
                  <a:pt x="90" y="238"/>
                </a:lnTo>
                <a:lnTo>
                  <a:pt x="93" y="238"/>
                </a:lnTo>
                <a:lnTo>
                  <a:pt x="90" y="244"/>
                </a:lnTo>
                <a:lnTo>
                  <a:pt x="90" y="244"/>
                </a:lnTo>
                <a:lnTo>
                  <a:pt x="90" y="250"/>
                </a:lnTo>
                <a:lnTo>
                  <a:pt x="90" y="250"/>
                </a:lnTo>
                <a:lnTo>
                  <a:pt x="87" y="257"/>
                </a:lnTo>
                <a:lnTo>
                  <a:pt x="87" y="260"/>
                </a:lnTo>
                <a:lnTo>
                  <a:pt x="87" y="263"/>
                </a:lnTo>
                <a:lnTo>
                  <a:pt x="87" y="266"/>
                </a:lnTo>
                <a:lnTo>
                  <a:pt x="84" y="266"/>
                </a:lnTo>
                <a:lnTo>
                  <a:pt x="87" y="269"/>
                </a:lnTo>
                <a:lnTo>
                  <a:pt x="90" y="269"/>
                </a:lnTo>
                <a:lnTo>
                  <a:pt x="90" y="269"/>
                </a:lnTo>
                <a:lnTo>
                  <a:pt x="87" y="275"/>
                </a:lnTo>
                <a:lnTo>
                  <a:pt x="87" y="278"/>
                </a:lnTo>
                <a:lnTo>
                  <a:pt x="78" y="288"/>
                </a:lnTo>
                <a:lnTo>
                  <a:pt x="65" y="294"/>
                </a:lnTo>
                <a:lnTo>
                  <a:pt x="50" y="297"/>
                </a:lnTo>
                <a:lnTo>
                  <a:pt x="43" y="303"/>
                </a:lnTo>
                <a:lnTo>
                  <a:pt x="37" y="303"/>
                </a:lnTo>
                <a:lnTo>
                  <a:pt x="37" y="307"/>
                </a:lnTo>
                <a:lnTo>
                  <a:pt x="34" y="307"/>
                </a:lnTo>
                <a:lnTo>
                  <a:pt x="31" y="313"/>
                </a:lnTo>
                <a:lnTo>
                  <a:pt x="31" y="313"/>
                </a:lnTo>
                <a:lnTo>
                  <a:pt x="28" y="313"/>
                </a:lnTo>
                <a:lnTo>
                  <a:pt x="28" y="316"/>
                </a:lnTo>
                <a:lnTo>
                  <a:pt x="31" y="319"/>
                </a:lnTo>
                <a:lnTo>
                  <a:pt x="31" y="322"/>
                </a:lnTo>
                <a:lnTo>
                  <a:pt x="31" y="319"/>
                </a:lnTo>
                <a:lnTo>
                  <a:pt x="34" y="322"/>
                </a:lnTo>
                <a:lnTo>
                  <a:pt x="37" y="316"/>
                </a:lnTo>
                <a:lnTo>
                  <a:pt x="37" y="316"/>
                </a:lnTo>
                <a:lnTo>
                  <a:pt x="37" y="319"/>
                </a:lnTo>
                <a:lnTo>
                  <a:pt x="37" y="325"/>
                </a:lnTo>
                <a:lnTo>
                  <a:pt x="34" y="329"/>
                </a:lnTo>
                <a:lnTo>
                  <a:pt x="34" y="332"/>
                </a:lnTo>
                <a:lnTo>
                  <a:pt x="31" y="332"/>
                </a:lnTo>
                <a:lnTo>
                  <a:pt x="25" y="329"/>
                </a:lnTo>
                <a:lnTo>
                  <a:pt x="22" y="329"/>
                </a:lnTo>
                <a:lnTo>
                  <a:pt x="22" y="329"/>
                </a:lnTo>
                <a:lnTo>
                  <a:pt x="22" y="325"/>
                </a:lnTo>
                <a:lnTo>
                  <a:pt x="22" y="322"/>
                </a:lnTo>
                <a:lnTo>
                  <a:pt x="25" y="322"/>
                </a:lnTo>
                <a:lnTo>
                  <a:pt x="22" y="319"/>
                </a:lnTo>
                <a:lnTo>
                  <a:pt x="18" y="316"/>
                </a:lnTo>
                <a:lnTo>
                  <a:pt x="18" y="316"/>
                </a:lnTo>
                <a:lnTo>
                  <a:pt x="18" y="316"/>
                </a:lnTo>
                <a:lnTo>
                  <a:pt x="18" y="307"/>
                </a:lnTo>
                <a:lnTo>
                  <a:pt x="18" y="303"/>
                </a:lnTo>
                <a:lnTo>
                  <a:pt x="18" y="297"/>
                </a:lnTo>
                <a:lnTo>
                  <a:pt x="18" y="282"/>
                </a:lnTo>
                <a:lnTo>
                  <a:pt x="18" y="275"/>
                </a:lnTo>
                <a:lnTo>
                  <a:pt x="15" y="272"/>
                </a:lnTo>
                <a:lnTo>
                  <a:pt x="15" y="269"/>
                </a:lnTo>
                <a:lnTo>
                  <a:pt x="18" y="269"/>
                </a:lnTo>
                <a:lnTo>
                  <a:pt x="18" y="260"/>
                </a:lnTo>
                <a:lnTo>
                  <a:pt x="15" y="253"/>
                </a:lnTo>
                <a:lnTo>
                  <a:pt x="12" y="247"/>
                </a:lnTo>
                <a:lnTo>
                  <a:pt x="12" y="244"/>
                </a:lnTo>
                <a:lnTo>
                  <a:pt x="12" y="244"/>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9" name="Freeform 157">
            <a:extLst>
              <a:ext uri="{FF2B5EF4-FFF2-40B4-BE49-F238E27FC236}">
                <a16:creationId xmlns:a16="http://schemas.microsoft.com/office/drawing/2014/main" id="{52C8BAFF-ABC4-6E30-EECF-786EC218382B}"/>
              </a:ext>
            </a:extLst>
          </p:cNvPr>
          <p:cNvSpPr>
            <a:spLocks/>
          </p:cNvSpPr>
          <p:nvPr userDrawn="1"/>
        </p:nvSpPr>
        <p:spPr bwMode="auto">
          <a:xfrm>
            <a:off x="15035816" y="11016533"/>
            <a:ext cx="88896" cy="98426"/>
          </a:xfrm>
          <a:custGeom>
            <a:avLst/>
            <a:gdLst>
              <a:gd name="T0" fmla="*/ 21 w 28"/>
              <a:gd name="T1" fmla="*/ 9 h 31"/>
              <a:gd name="T2" fmla="*/ 21 w 28"/>
              <a:gd name="T3" fmla="*/ 9 h 31"/>
              <a:gd name="T4" fmla="*/ 21 w 28"/>
              <a:gd name="T5" fmla="*/ 9 h 31"/>
              <a:gd name="T6" fmla="*/ 25 w 28"/>
              <a:gd name="T7" fmla="*/ 12 h 31"/>
              <a:gd name="T8" fmla="*/ 28 w 28"/>
              <a:gd name="T9" fmla="*/ 15 h 31"/>
              <a:gd name="T10" fmla="*/ 25 w 28"/>
              <a:gd name="T11" fmla="*/ 15 h 31"/>
              <a:gd name="T12" fmla="*/ 25 w 28"/>
              <a:gd name="T13" fmla="*/ 18 h 31"/>
              <a:gd name="T14" fmla="*/ 25 w 28"/>
              <a:gd name="T15" fmla="*/ 22 h 31"/>
              <a:gd name="T16" fmla="*/ 25 w 28"/>
              <a:gd name="T17" fmla="*/ 22 h 31"/>
              <a:gd name="T18" fmla="*/ 25 w 28"/>
              <a:gd name="T19" fmla="*/ 25 h 31"/>
              <a:gd name="T20" fmla="*/ 21 w 28"/>
              <a:gd name="T21" fmla="*/ 25 h 31"/>
              <a:gd name="T22" fmla="*/ 21 w 28"/>
              <a:gd name="T23" fmla="*/ 28 h 31"/>
              <a:gd name="T24" fmla="*/ 21 w 28"/>
              <a:gd name="T25" fmla="*/ 31 h 31"/>
              <a:gd name="T26" fmla="*/ 18 w 28"/>
              <a:gd name="T27" fmla="*/ 31 h 31"/>
              <a:gd name="T28" fmla="*/ 9 w 28"/>
              <a:gd name="T29" fmla="*/ 31 h 31"/>
              <a:gd name="T30" fmla="*/ 3 w 28"/>
              <a:gd name="T31" fmla="*/ 28 h 31"/>
              <a:gd name="T32" fmla="*/ 3 w 28"/>
              <a:gd name="T33" fmla="*/ 25 h 31"/>
              <a:gd name="T34" fmla="*/ 0 w 28"/>
              <a:gd name="T35" fmla="*/ 22 h 31"/>
              <a:gd name="T36" fmla="*/ 0 w 28"/>
              <a:gd name="T37" fmla="*/ 18 h 31"/>
              <a:gd name="T38" fmla="*/ 0 w 28"/>
              <a:gd name="T39" fmla="*/ 15 h 31"/>
              <a:gd name="T40" fmla="*/ 6 w 28"/>
              <a:gd name="T41" fmla="*/ 6 h 31"/>
              <a:gd name="T42" fmla="*/ 6 w 28"/>
              <a:gd name="T43" fmla="*/ 3 h 31"/>
              <a:gd name="T44" fmla="*/ 9 w 28"/>
              <a:gd name="T45" fmla="*/ 0 h 31"/>
              <a:gd name="T46" fmla="*/ 15 w 28"/>
              <a:gd name="T47" fmla="*/ 3 h 31"/>
              <a:gd name="T48" fmla="*/ 18 w 28"/>
              <a:gd name="T49" fmla="*/ 6 h 31"/>
              <a:gd name="T50" fmla="*/ 21 w 28"/>
              <a:gd name="T51" fmla="*/ 9 h 31"/>
              <a:gd name="T52" fmla="*/ 21 w 28"/>
              <a:gd name="T53"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31">
                <a:moveTo>
                  <a:pt x="21" y="9"/>
                </a:moveTo>
                <a:lnTo>
                  <a:pt x="21" y="9"/>
                </a:lnTo>
                <a:lnTo>
                  <a:pt x="21" y="9"/>
                </a:lnTo>
                <a:lnTo>
                  <a:pt x="25" y="12"/>
                </a:lnTo>
                <a:lnTo>
                  <a:pt x="28" y="15"/>
                </a:lnTo>
                <a:lnTo>
                  <a:pt x="25" y="15"/>
                </a:lnTo>
                <a:lnTo>
                  <a:pt x="25" y="18"/>
                </a:lnTo>
                <a:lnTo>
                  <a:pt x="25" y="22"/>
                </a:lnTo>
                <a:lnTo>
                  <a:pt x="25" y="22"/>
                </a:lnTo>
                <a:lnTo>
                  <a:pt x="25" y="25"/>
                </a:lnTo>
                <a:lnTo>
                  <a:pt x="21" y="25"/>
                </a:lnTo>
                <a:lnTo>
                  <a:pt x="21" y="28"/>
                </a:lnTo>
                <a:lnTo>
                  <a:pt x="21" y="31"/>
                </a:lnTo>
                <a:lnTo>
                  <a:pt x="18" y="31"/>
                </a:lnTo>
                <a:lnTo>
                  <a:pt x="9" y="31"/>
                </a:lnTo>
                <a:lnTo>
                  <a:pt x="3" y="28"/>
                </a:lnTo>
                <a:lnTo>
                  <a:pt x="3" y="25"/>
                </a:lnTo>
                <a:lnTo>
                  <a:pt x="0" y="22"/>
                </a:lnTo>
                <a:lnTo>
                  <a:pt x="0" y="18"/>
                </a:lnTo>
                <a:lnTo>
                  <a:pt x="0" y="15"/>
                </a:lnTo>
                <a:lnTo>
                  <a:pt x="6" y="6"/>
                </a:lnTo>
                <a:lnTo>
                  <a:pt x="6" y="3"/>
                </a:lnTo>
                <a:lnTo>
                  <a:pt x="9" y="0"/>
                </a:lnTo>
                <a:lnTo>
                  <a:pt x="15" y="3"/>
                </a:lnTo>
                <a:lnTo>
                  <a:pt x="18" y="6"/>
                </a:lnTo>
                <a:lnTo>
                  <a:pt x="21" y="9"/>
                </a:lnTo>
                <a:lnTo>
                  <a:pt x="21" y="9"/>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0" name="Freeform 158">
            <a:extLst>
              <a:ext uri="{FF2B5EF4-FFF2-40B4-BE49-F238E27FC236}">
                <a16:creationId xmlns:a16="http://schemas.microsoft.com/office/drawing/2014/main" id="{25217F5F-8652-3689-97A5-45743312DDE6}"/>
              </a:ext>
            </a:extLst>
          </p:cNvPr>
          <p:cNvSpPr>
            <a:spLocks noEditPoints="1"/>
          </p:cNvSpPr>
          <p:nvPr userDrawn="1"/>
        </p:nvSpPr>
        <p:spPr bwMode="auto">
          <a:xfrm>
            <a:off x="14140531" y="10787930"/>
            <a:ext cx="1012760" cy="863600"/>
          </a:xfrm>
          <a:custGeom>
            <a:avLst/>
            <a:gdLst>
              <a:gd name="T0" fmla="*/ 7 w 319"/>
              <a:gd name="T1" fmla="*/ 128 h 272"/>
              <a:gd name="T2" fmla="*/ 19 w 319"/>
              <a:gd name="T3" fmla="*/ 131 h 272"/>
              <a:gd name="T4" fmla="*/ 38 w 319"/>
              <a:gd name="T5" fmla="*/ 140 h 272"/>
              <a:gd name="T6" fmla="*/ 50 w 319"/>
              <a:gd name="T7" fmla="*/ 140 h 272"/>
              <a:gd name="T8" fmla="*/ 57 w 319"/>
              <a:gd name="T9" fmla="*/ 131 h 272"/>
              <a:gd name="T10" fmla="*/ 82 w 319"/>
              <a:gd name="T11" fmla="*/ 62 h 272"/>
              <a:gd name="T12" fmla="*/ 85 w 319"/>
              <a:gd name="T13" fmla="*/ 94 h 272"/>
              <a:gd name="T14" fmla="*/ 107 w 319"/>
              <a:gd name="T15" fmla="*/ 94 h 272"/>
              <a:gd name="T16" fmla="*/ 125 w 319"/>
              <a:gd name="T17" fmla="*/ 81 h 272"/>
              <a:gd name="T18" fmla="*/ 147 w 319"/>
              <a:gd name="T19" fmla="*/ 68 h 272"/>
              <a:gd name="T20" fmla="*/ 166 w 319"/>
              <a:gd name="T21" fmla="*/ 75 h 272"/>
              <a:gd name="T22" fmla="*/ 182 w 319"/>
              <a:gd name="T23" fmla="*/ 75 h 272"/>
              <a:gd name="T24" fmla="*/ 185 w 319"/>
              <a:gd name="T25" fmla="*/ 59 h 272"/>
              <a:gd name="T26" fmla="*/ 197 w 319"/>
              <a:gd name="T27" fmla="*/ 50 h 272"/>
              <a:gd name="T28" fmla="*/ 207 w 319"/>
              <a:gd name="T29" fmla="*/ 43 h 272"/>
              <a:gd name="T30" fmla="*/ 213 w 319"/>
              <a:gd name="T31" fmla="*/ 25 h 272"/>
              <a:gd name="T32" fmla="*/ 222 w 319"/>
              <a:gd name="T33" fmla="*/ 18 h 272"/>
              <a:gd name="T34" fmla="*/ 238 w 319"/>
              <a:gd name="T35" fmla="*/ 12 h 272"/>
              <a:gd name="T36" fmla="*/ 247 w 319"/>
              <a:gd name="T37" fmla="*/ 6 h 272"/>
              <a:gd name="T38" fmla="*/ 263 w 319"/>
              <a:gd name="T39" fmla="*/ 0 h 272"/>
              <a:gd name="T40" fmla="*/ 278 w 319"/>
              <a:gd name="T41" fmla="*/ 6 h 272"/>
              <a:gd name="T42" fmla="*/ 297 w 319"/>
              <a:gd name="T43" fmla="*/ 12 h 272"/>
              <a:gd name="T44" fmla="*/ 300 w 319"/>
              <a:gd name="T45" fmla="*/ 37 h 272"/>
              <a:gd name="T46" fmla="*/ 303 w 319"/>
              <a:gd name="T47" fmla="*/ 72 h 272"/>
              <a:gd name="T48" fmla="*/ 288 w 319"/>
              <a:gd name="T49" fmla="*/ 75 h 272"/>
              <a:gd name="T50" fmla="*/ 285 w 319"/>
              <a:gd name="T51" fmla="*/ 97 h 272"/>
              <a:gd name="T52" fmla="*/ 303 w 319"/>
              <a:gd name="T53" fmla="*/ 100 h 272"/>
              <a:gd name="T54" fmla="*/ 319 w 319"/>
              <a:gd name="T55" fmla="*/ 97 h 272"/>
              <a:gd name="T56" fmla="*/ 316 w 319"/>
              <a:gd name="T57" fmla="*/ 112 h 272"/>
              <a:gd name="T58" fmla="*/ 300 w 319"/>
              <a:gd name="T59" fmla="*/ 140 h 272"/>
              <a:gd name="T60" fmla="*/ 288 w 319"/>
              <a:gd name="T61" fmla="*/ 150 h 272"/>
              <a:gd name="T62" fmla="*/ 275 w 319"/>
              <a:gd name="T63" fmla="*/ 165 h 272"/>
              <a:gd name="T64" fmla="*/ 253 w 319"/>
              <a:gd name="T65" fmla="*/ 197 h 272"/>
              <a:gd name="T66" fmla="*/ 225 w 319"/>
              <a:gd name="T67" fmla="*/ 225 h 272"/>
              <a:gd name="T68" fmla="*/ 200 w 319"/>
              <a:gd name="T69" fmla="*/ 241 h 272"/>
              <a:gd name="T70" fmla="*/ 182 w 319"/>
              <a:gd name="T71" fmla="*/ 247 h 272"/>
              <a:gd name="T72" fmla="*/ 172 w 319"/>
              <a:gd name="T73" fmla="*/ 256 h 272"/>
              <a:gd name="T74" fmla="*/ 157 w 319"/>
              <a:gd name="T75" fmla="*/ 259 h 272"/>
              <a:gd name="T76" fmla="*/ 128 w 319"/>
              <a:gd name="T77" fmla="*/ 253 h 272"/>
              <a:gd name="T78" fmla="*/ 107 w 319"/>
              <a:gd name="T79" fmla="*/ 256 h 272"/>
              <a:gd name="T80" fmla="*/ 97 w 319"/>
              <a:gd name="T81" fmla="*/ 262 h 272"/>
              <a:gd name="T82" fmla="*/ 78 w 319"/>
              <a:gd name="T83" fmla="*/ 262 h 272"/>
              <a:gd name="T84" fmla="*/ 63 w 319"/>
              <a:gd name="T85" fmla="*/ 269 h 272"/>
              <a:gd name="T86" fmla="*/ 44 w 319"/>
              <a:gd name="T87" fmla="*/ 259 h 272"/>
              <a:gd name="T88" fmla="*/ 35 w 319"/>
              <a:gd name="T89" fmla="*/ 256 h 272"/>
              <a:gd name="T90" fmla="*/ 32 w 319"/>
              <a:gd name="T91" fmla="*/ 253 h 272"/>
              <a:gd name="T92" fmla="*/ 22 w 319"/>
              <a:gd name="T93" fmla="*/ 228 h 272"/>
              <a:gd name="T94" fmla="*/ 32 w 319"/>
              <a:gd name="T95" fmla="*/ 222 h 272"/>
              <a:gd name="T96" fmla="*/ 25 w 319"/>
              <a:gd name="T97" fmla="*/ 190 h 272"/>
              <a:gd name="T98" fmla="*/ 10 w 319"/>
              <a:gd name="T99" fmla="*/ 144 h 272"/>
              <a:gd name="T100" fmla="*/ 210 w 319"/>
              <a:gd name="T101" fmla="*/ 172 h 272"/>
              <a:gd name="T102" fmla="*/ 225 w 319"/>
              <a:gd name="T103" fmla="*/ 178 h 272"/>
              <a:gd name="T104" fmla="*/ 238 w 319"/>
              <a:gd name="T105" fmla="*/ 165 h 272"/>
              <a:gd name="T106" fmla="*/ 241 w 319"/>
              <a:gd name="T107" fmla="*/ 159 h 272"/>
              <a:gd name="T108" fmla="*/ 241 w 319"/>
              <a:gd name="T109" fmla="*/ 137 h 272"/>
              <a:gd name="T110" fmla="*/ 228 w 319"/>
              <a:gd name="T111" fmla="*/ 137 h 272"/>
              <a:gd name="T112" fmla="*/ 213 w 319"/>
              <a:gd name="T113" fmla="*/ 147 h 272"/>
              <a:gd name="T114" fmla="*/ 207 w 319"/>
              <a:gd name="T115" fmla="*/ 16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9" h="272">
                <a:moveTo>
                  <a:pt x="0" y="134"/>
                </a:moveTo>
                <a:lnTo>
                  <a:pt x="3" y="131"/>
                </a:lnTo>
                <a:lnTo>
                  <a:pt x="10" y="131"/>
                </a:lnTo>
                <a:lnTo>
                  <a:pt x="10" y="128"/>
                </a:lnTo>
                <a:lnTo>
                  <a:pt x="7" y="128"/>
                </a:lnTo>
                <a:lnTo>
                  <a:pt x="10" y="125"/>
                </a:lnTo>
                <a:lnTo>
                  <a:pt x="13" y="122"/>
                </a:lnTo>
                <a:lnTo>
                  <a:pt x="16" y="125"/>
                </a:lnTo>
                <a:lnTo>
                  <a:pt x="19" y="125"/>
                </a:lnTo>
                <a:lnTo>
                  <a:pt x="19" y="131"/>
                </a:lnTo>
                <a:lnTo>
                  <a:pt x="22" y="137"/>
                </a:lnTo>
                <a:lnTo>
                  <a:pt x="28" y="137"/>
                </a:lnTo>
                <a:lnTo>
                  <a:pt x="32" y="140"/>
                </a:lnTo>
                <a:lnTo>
                  <a:pt x="35" y="140"/>
                </a:lnTo>
                <a:lnTo>
                  <a:pt x="38" y="140"/>
                </a:lnTo>
                <a:lnTo>
                  <a:pt x="41" y="140"/>
                </a:lnTo>
                <a:lnTo>
                  <a:pt x="41" y="140"/>
                </a:lnTo>
                <a:lnTo>
                  <a:pt x="44" y="140"/>
                </a:lnTo>
                <a:lnTo>
                  <a:pt x="47" y="140"/>
                </a:lnTo>
                <a:lnTo>
                  <a:pt x="50" y="140"/>
                </a:lnTo>
                <a:lnTo>
                  <a:pt x="50" y="144"/>
                </a:lnTo>
                <a:lnTo>
                  <a:pt x="50" y="137"/>
                </a:lnTo>
                <a:lnTo>
                  <a:pt x="53" y="137"/>
                </a:lnTo>
                <a:lnTo>
                  <a:pt x="57" y="134"/>
                </a:lnTo>
                <a:lnTo>
                  <a:pt x="57" y="131"/>
                </a:lnTo>
                <a:lnTo>
                  <a:pt x="63" y="128"/>
                </a:lnTo>
                <a:lnTo>
                  <a:pt x="69" y="128"/>
                </a:lnTo>
                <a:lnTo>
                  <a:pt x="72" y="128"/>
                </a:lnTo>
                <a:lnTo>
                  <a:pt x="75" y="59"/>
                </a:lnTo>
                <a:lnTo>
                  <a:pt x="82" y="62"/>
                </a:lnTo>
                <a:lnTo>
                  <a:pt x="82" y="68"/>
                </a:lnTo>
                <a:lnTo>
                  <a:pt x="88" y="78"/>
                </a:lnTo>
                <a:lnTo>
                  <a:pt x="88" y="84"/>
                </a:lnTo>
                <a:lnTo>
                  <a:pt x="85" y="90"/>
                </a:lnTo>
                <a:lnTo>
                  <a:pt x="85" y="94"/>
                </a:lnTo>
                <a:lnTo>
                  <a:pt x="91" y="94"/>
                </a:lnTo>
                <a:lnTo>
                  <a:pt x="94" y="94"/>
                </a:lnTo>
                <a:lnTo>
                  <a:pt x="97" y="94"/>
                </a:lnTo>
                <a:lnTo>
                  <a:pt x="103" y="94"/>
                </a:lnTo>
                <a:lnTo>
                  <a:pt x="107" y="94"/>
                </a:lnTo>
                <a:lnTo>
                  <a:pt x="110" y="90"/>
                </a:lnTo>
                <a:lnTo>
                  <a:pt x="113" y="87"/>
                </a:lnTo>
                <a:lnTo>
                  <a:pt x="116" y="87"/>
                </a:lnTo>
                <a:lnTo>
                  <a:pt x="122" y="84"/>
                </a:lnTo>
                <a:lnTo>
                  <a:pt x="125" y="81"/>
                </a:lnTo>
                <a:lnTo>
                  <a:pt x="128" y="72"/>
                </a:lnTo>
                <a:lnTo>
                  <a:pt x="135" y="68"/>
                </a:lnTo>
                <a:lnTo>
                  <a:pt x="138" y="65"/>
                </a:lnTo>
                <a:lnTo>
                  <a:pt x="144" y="68"/>
                </a:lnTo>
                <a:lnTo>
                  <a:pt x="147" y="68"/>
                </a:lnTo>
                <a:lnTo>
                  <a:pt x="150" y="72"/>
                </a:lnTo>
                <a:lnTo>
                  <a:pt x="157" y="75"/>
                </a:lnTo>
                <a:lnTo>
                  <a:pt x="160" y="75"/>
                </a:lnTo>
                <a:lnTo>
                  <a:pt x="163" y="75"/>
                </a:lnTo>
                <a:lnTo>
                  <a:pt x="166" y="75"/>
                </a:lnTo>
                <a:lnTo>
                  <a:pt x="172" y="75"/>
                </a:lnTo>
                <a:lnTo>
                  <a:pt x="175" y="75"/>
                </a:lnTo>
                <a:lnTo>
                  <a:pt x="175" y="75"/>
                </a:lnTo>
                <a:lnTo>
                  <a:pt x="178" y="78"/>
                </a:lnTo>
                <a:lnTo>
                  <a:pt x="182" y="75"/>
                </a:lnTo>
                <a:lnTo>
                  <a:pt x="182" y="72"/>
                </a:lnTo>
                <a:lnTo>
                  <a:pt x="182" y="68"/>
                </a:lnTo>
                <a:lnTo>
                  <a:pt x="182" y="65"/>
                </a:lnTo>
                <a:lnTo>
                  <a:pt x="185" y="65"/>
                </a:lnTo>
                <a:lnTo>
                  <a:pt x="185" y="59"/>
                </a:lnTo>
                <a:lnTo>
                  <a:pt x="185" y="56"/>
                </a:lnTo>
                <a:lnTo>
                  <a:pt x="191" y="56"/>
                </a:lnTo>
                <a:lnTo>
                  <a:pt x="194" y="53"/>
                </a:lnTo>
                <a:lnTo>
                  <a:pt x="197" y="53"/>
                </a:lnTo>
                <a:lnTo>
                  <a:pt x="197" y="50"/>
                </a:lnTo>
                <a:lnTo>
                  <a:pt x="197" y="50"/>
                </a:lnTo>
                <a:lnTo>
                  <a:pt x="200" y="47"/>
                </a:lnTo>
                <a:lnTo>
                  <a:pt x="200" y="47"/>
                </a:lnTo>
                <a:lnTo>
                  <a:pt x="203" y="43"/>
                </a:lnTo>
                <a:lnTo>
                  <a:pt x="207" y="43"/>
                </a:lnTo>
                <a:lnTo>
                  <a:pt x="207" y="43"/>
                </a:lnTo>
                <a:lnTo>
                  <a:pt x="207" y="40"/>
                </a:lnTo>
                <a:lnTo>
                  <a:pt x="207" y="37"/>
                </a:lnTo>
                <a:lnTo>
                  <a:pt x="207" y="34"/>
                </a:lnTo>
                <a:lnTo>
                  <a:pt x="213" y="25"/>
                </a:lnTo>
                <a:lnTo>
                  <a:pt x="216" y="25"/>
                </a:lnTo>
                <a:lnTo>
                  <a:pt x="219" y="25"/>
                </a:lnTo>
                <a:lnTo>
                  <a:pt x="219" y="22"/>
                </a:lnTo>
                <a:lnTo>
                  <a:pt x="222" y="22"/>
                </a:lnTo>
                <a:lnTo>
                  <a:pt x="222" y="18"/>
                </a:lnTo>
                <a:lnTo>
                  <a:pt x="225" y="18"/>
                </a:lnTo>
                <a:lnTo>
                  <a:pt x="228" y="15"/>
                </a:lnTo>
                <a:lnTo>
                  <a:pt x="232" y="12"/>
                </a:lnTo>
                <a:lnTo>
                  <a:pt x="235" y="12"/>
                </a:lnTo>
                <a:lnTo>
                  <a:pt x="238" y="12"/>
                </a:lnTo>
                <a:lnTo>
                  <a:pt x="238" y="12"/>
                </a:lnTo>
                <a:lnTo>
                  <a:pt x="241" y="12"/>
                </a:lnTo>
                <a:lnTo>
                  <a:pt x="244" y="9"/>
                </a:lnTo>
                <a:lnTo>
                  <a:pt x="247" y="9"/>
                </a:lnTo>
                <a:lnTo>
                  <a:pt x="247" y="6"/>
                </a:lnTo>
                <a:lnTo>
                  <a:pt x="247" y="3"/>
                </a:lnTo>
                <a:lnTo>
                  <a:pt x="250" y="3"/>
                </a:lnTo>
                <a:lnTo>
                  <a:pt x="253" y="3"/>
                </a:lnTo>
                <a:lnTo>
                  <a:pt x="257" y="0"/>
                </a:lnTo>
                <a:lnTo>
                  <a:pt x="263" y="0"/>
                </a:lnTo>
                <a:lnTo>
                  <a:pt x="269" y="0"/>
                </a:lnTo>
                <a:lnTo>
                  <a:pt x="269" y="3"/>
                </a:lnTo>
                <a:lnTo>
                  <a:pt x="272" y="3"/>
                </a:lnTo>
                <a:lnTo>
                  <a:pt x="278" y="6"/>
                </a:lnTo>
                <a:lnTo>
                  <a:pt x="278" y="6"/>
                </a:lnTo>
                <a:lnTo>
                  <a:pt x="282" y="6"/>
                </a:lnTo>
                <a:lnTo>
                  <a:pt x="288" y="3"/>
                </a:lnTo>
                <a:lnTo>
                  <a:pt x="294" y="6"/>
                </a:lnTo>
                <a:lnTo>
                  <a:pt x="297" y="9"/>
                </a:lnTo>
                <a:lnTo>
                  <a:pt x="297" y="12"/>
                </a:lnTo>
                <a:lnTo>
                  <a:pt x="300" y="18"/>
                </a:lnTo>
                <a:lnTo>
                  <a:pt x="303" y="25"/>
                </a:lnTo>
                <a:lnTo>
                  <a:pt x="303" y="34"/>
                </a:lnTo>
                <a:lnTo>
                  <a:pt x="300" y="34"/>
                </a:lnTo>
                <a:lnTo>
                  <a:pt x="300" y="37"/>
                </a:lnTo>
                <a:lnTo>
                  <a:pt x="303" y="40"/>
                </a:lnTo>
                <a:lnTo>
                  <a:pt x="303" y="47"/>
                </a:lnTo>
                <a:lnTo>
                  <a:pt x="303" y="62"/>
                </a:lnTo>
                <a:lnTo>
                  <a:pt x="303" y="68"/>
                </a:lnTo>
                <a:lnTo>
                  <a:pt x="303" y="72"/>
                </a:lnTo>
                <a:lnTo>
                  <a:pt x="303" y="81"/>
                </a:lnTo>
                <a:lnTo>
                  <a:pt x="300" y="78"/>
                </a:lnTo>
                <a:lnTo>
                  <a:pt x="297" y="75"/>
                </a:lnTo>
                <a:lnTo>
                  <a:pt x="291" y="72"/>
                </a:lnTo>
                <a:lnTo>
                  <a:pt x="288" y="75"/>
                </a:lnTo>
                <a:lnTo>
                  <a:pt x="288" y="78"/>
                </a:lnTo>
                <a:lnTo>
                  <a:pt x="282" y="87"/>
                </a:lnTo>
                <a:lnTo>
                  <a:pt x="282" y="90"/>
                </a:lnTo>
                <a:lnTo>
                  <a:pt x="282" y="94"/>
                </a:lnTo>
                <a:lnTo>
                  <a:pt x="285" y="97"/>
                </a:lnTo>
                <a:lnTo>
                  <a:pt x="285" y="100"/>
                </a:lnTo>
                <a:lnTo>
                  <a:pt x="291" y="103"/>
                </a:lnTo>
                <a:lnTo>
                  <a:pt x="300" y="103"/>
                </a:lnTo>
                <a:lnTo>
                  <a:pt x="303" y="103"/>
                </a:lnTo>
                <a:lnTo>
                  <a:pt x="303" y="100"/>
                </a:lnTo>
                <a:lnTo>
                  <a:pt x="303" y="97"/>
                </a:lnTo>
                <a:lnTo>
                  <a:pt x="307" y="97"/>
                </a:lnTo>
                <a:lnTo>
                  <a:pt x="310" y="94"/>
                </a:lnTo>
                <a:lnTo>
                  <a:pt x="316" y="97"/>
                </a:lnTo>
                <a:lnTo>
                  <a:pt x="319" y="97"/>
                </a:lnTo>
                <a:lnTo>
                  <a:pt x="319" y="97"/>
                </a:lnTo>
                <a:lnTo>
                  <a:pt x="316" y="100"/>
                </a:lnTo>
                <a:lnTo>
                  <a:pt x="319" y="100"/>
                </a:lnTo>
                <a:lnTo>
                  <a:pt x="316" y="109"/>
                </a:lnTo>
                <a:lnTo>
                  <a:pt x="316" y="112"/>
                </a:lnTo>
                <a:lnTo>
                  <a:pt x="313" y="119"/>
                </a:lnTo>
                <a:lnTo>
                  <a:pt x="310" y="128"/>
                </a:lnTo>
                <a:lnTo>
                  <a:pt x="307" y="131"/>
                </a:lnTo>
                <a:lnTo>
                  <a:pt x="307" y="134"/>
                </a:lnTo>
                <a:lnTo>
                  <a:pt x="300" y="140"/>
                </a:lnTo>
                <a:lnTo>
                  <a:pt x="300" y="140"/>
                </a:lnTo>
                <a:lnTo>
                  <a:pt x="297" y="144"/>
                </a:lnTo>
                <a:lnTo>
                  <a:pt x="294" y="144"/>
                </a:lnTo>
                <a:lnTo>
                  <a:pt x="294" y="147"/>
                </a:lnTo>
                <a:lnTo>
                  <a:pt x="288" y="150"/>
                </a:lnTo>
                <a:lnTo>
                  <a:pt x="285" y="153"/>
                </a:lnTo>
                <a:lnTo>
                  <a:pt x="282" y="159"/>
                </a:lnTo>
                <a:lnTo>
                  <a:pt x="282" y="159"/>
                </a:lnTo>
                <a:lnTo>
                  <a:pt x="278" y="165"/>
                </a:lnTo>
                <a:lnTo>
                  <a:pt x="275" y="165"/>
                </a:lnTo>
                <a:lnTo>
                  <a:pt x="272" y="172"/>
                </a:lnTo>
                <a:lnTo>
                  <a:pt x="266" y="184"/>
                </a:lnTo>
                <a:lnTo>
                  <a:pt x="260" y="190"/>
                </a:lnTo>
                <a:lnTo>
                  <a:pt x="257" y="197"/>
                </a:lnTo>
                <a:lnTo>
                  <a:pt x="253" y="197"/>
                </a:lnTo>
                <a:lnTo>
                  <a:pt x="250" y="200"/>
                </a:lnTo>
                <a:lnTo>
                  <a:pt x="247" y="200"/>
                </a:lnTo>
                <a:lnTo>
                  <a:pt x="247" y="203"/>
                </a:lnTo>
                <a:lnTo>
                  <a:pt x="225" y="222"/>
                </a:lnTo>
                <a:lnTo>
                  <a:pt x="225" y="225"/>
                </a:lnTo>
                <a:lnTo>
                  <a:pt x="225" y="225"/>
                </a:lnTo>
                <a:lnTo>
                  <a:pt x="222" y="228"/>
                </a:lnTo>
                <a:lnTo>
                  <a:pt x="207" y="237"/>
                </a:lnTo>
                <a:lnTo>
                  <a:pt x="203" y="241"/>
                </a:lnTo>
                <a:lnTo>
                  <a:pt x="200" y="241"/>
                </a:lnTo>
                <a:lnTo>
                  <a:pt x="200" y="244"/>
                </a:lnTo>
                <a:lnTo>
                  <a:pt x="191" y="244"/>
                </a:lnTo>
                <a:lnTo>
                  <a:pt x="188" y="247"/>
                </a:lnTo>
                <a:lnTo>
                  <a:pt x="185" y="247"/>
                </a:lnTo>
                <a:lnTo>
                  <a:pt x="182" y="247"/>
                </a:lnTo>
                <a:lnTo>
                  <a:pt x="175" y="247"/>
                </a:lnTo>
                <a:lnTo>
                  <a:pt x="172" y="247"/>
                </a:lnTo>
                <a:lnTo>
                  <a:pt x="169" y="253"/>
                </a:lnTo>
                <a:lnTo>
                  <a:pt x="172" y="253"/>
                </a:lnTo>
                <a:lnTo>
                  <a:pt x="172" y="256"/>
                </a:lnTo>
                <a:lnTo>
                  <a:pt x="166" y="256"/>
                </a:lnTo>
                <a:lnTo>
                  <a:pt x="160" y="253"/>
                </a:lnTo>
                <a:lnTo>
                  <a:pt x="157" y="253"/>
                </a:lnTo>
                <a:lnTo>
                  <a:pt x="153" y="256"/>
                </a:lnTo>
                <a:lnTo>
                  <a:pt x="157" y="259"/>
                </a:lnTo>
                <a:lnTo>
                  <a:pt x="153" y="259"/>
                </a:lnTo>
                <a:lnTo>
                  <a:pt x="144" y="256"/>
                </a:lnTo>
                <a:lnTo>
                  <a:pt x="141" y="256"/>
                </a:lnTo>
                <a:lnTo>
                  <a:pt x="135" y="253"/>
                </a:lnTo>
                <a:lnTo>
                  <a:pt x="128" y="253"/>
                </a:lnTo>
                <a:lnTo>
                  <a:pt x="128" y="256"/>
                </a:lnTo>
                <a:lnTo>
                  <a:pt x="125" y="256"/>
                </a:lnTo>
                <a:lnTo>
                  <a:pt x="119" y="253"/>
                </a:lnTo>
                <a:lnTo>
                  <a:pt x="110" y="253"/>
                </a:lnTo>
                <a:lnTo>
                  <a:pt x="107" y="256"/>
                </a:lnTo>
                <a:lnTo>
                  <a:pt x="103" y="259"/>
                </a:lnTo>
                <a:lnTo>
                  <a:pt x="103" y="259"/>
                </a:lnTo>
                <a:lnTo>
                  <a:pt x="100" y="259"/>
                </a:lnTo>
                <a:lnTo>
                  <a:pt x="97" y="259"/>
                </a:lnTo>
                <a:lnTo>
                  <a:pt x="97" y="262"/>
                </a:lnTo>
                <a:lnTo>
                  <a:pt x="91" y="262"/>
                </a:lnTo>
                <a:lnTo>
                  <a:pt x="91" y="262"/>
                </a:lnTo>
                <a:lnTo>
                  <a:pt x="85" y="262"/>
                </a:lnTo>
                <a:lnTo>
                  <a:pt x="78" y="262"/>
                </a:lnTo>
                <a:lnTo>
                  <a:pt x="78" y="262"/>
                </a:lnTo>
                <a:lnTo>
                  <a:pt x="72" y="262"/>
                </a:lnTo>
                <a:lnTo>
                  <a:pt x="69" y="266"/>
                </a:lnTo>
                <a:lnTo>
                  <a:pt x="66" y="269"/>
                </a:lnTo>
                <a:lnTo>
                  <a:pt x="63" y="272"/>
                </a:lnTo>
                <a:lnTo>
                  <a:pt x="63" y="269"/>
                </a:lnTo>
                <a:lnTo>
                  <a:pt x="60" y="272"/>
                </a:lnTo>
                <a:lnTo>
                  <a:pt x="50" y="266"/>
                </a:lnTo>
                <a:lnTo>
                  <a:pt x="47" y="266"/>
                </a:lnTo>
                <a:lnTo>
                  <a:pt x="47" y="262"/>
                </a:lnTo>
                <a:lnTo>
                  <a:pt x="44" y="259"/>
                </a:lnTo>
                <a:lnTo>
                  <a:pt x="41" y="262"/>
                </a:lnTo>
                <a:lnTo>
                  <a:pt x="41" y="262"/>
                </a:lnTo>
                <a:lnTo>
                  <a:pt x="41" y="259"/>
                </a:lnTo>
                <a:lnTo>
                  <a:pt x="41" y="256"/>
                </a:lnTo>
                <a:lnTo>
                  <a:pt x="35" y="256"/>
                </a:lnTo>
                <a:lnTo>
                  <a:pt x="32" y="256"/>
                </a:lnTo>
                <a:lnTo>
                  <a:pt x="32" y="262"/>
                </a:lnTo>
                <a:lnTo>
                  <a:pt x="32" y="259"/>
                </a:lnTo>
                <a:lnTo>
                  <a:pt x="32" y="256"/>
                </a:lnTo>
                <a:lnTo>
                  <a:pt x="32" y="253"/>
                </a:lnTo>
                <a:lnTo>
                  <a:pt x="32" y="247"/>
                </a:lnTo>
                <a:lnTo>
                  <a:pt x="35" y="244"/>
                </a:lnTo>
                <a:lnTo>
                  <a:pt x="28" y="237"/>
                </a:lnTo>
                <a:lnTo>
                  <a:pt x="25" y="234"/>
                </a:lnTo>
                <a:lnTo>
                  <a:pt x="22" y="228"/>
                </a:lnTo>
                <a:lnTo>
                  <a:pt x="22" y="222"/>
                </a:lnTo>
                <a:lnTo>
                  <a:pt x="25" y="222"/>
                </a:lnTo>
                <a:lnTo>
                  <a:pt x="28" y="225"/>
                </a:lnTo>
                <a:lnTo>
                  <a:pt x="28" y="225"/>
                </a:lnTo>
                <a:lnTo>
                  <a:pt x="32" y="222"/>
                </a:lnTo>
                <a:lnTo>
                  <a:pt x="32" y="216"/>
                </a:lnTo>
                <a:lnTo>
                  <a:pt x="32" y="209"/>
                </a:lnTo>
                <a:lnTo>
                  <a:pt x="32" y="206"/>
                </a:lnTo>
                <a:lnTo>
                  <a:pt x="25" y="197"/>
                </a:lnTo>
                <a:lnTo>
                  <a:pt x="25" y="190"/>
                </a:lnTo>
                <a:lnTo>
                  <a:pt x="19" y="184"/>
                </a:lnTo>
                <a:lnTo>
                  <a:pt x="16" y="172"/>
                </a:lnTo>
                <a:lnTo>
                  <a:pt x="13" y="162"/>
                </a:lnTo>
                <a:lnTo>
                  <a:pt x="13" y="156"/>
                </a:lnTo>
                <a:lnTo>
                  <a:pt x="10" y="144"/>
                </a:lnTo>
                <a:lnTo>
                  <a:pt x="3" y="140"/>
                </a:lnTo>
                <a:lnTo>
                  <a:pt x="0" y="134"/>
                </a:lnTo>
                <a:lnTo>
                  <a:pt x="0" y="134"/>
                </a:lnTo>
                <a:lnTo>
                  <a:pt x="0" y="134"/>
                </a:lnTo>
                <a:close/>
                <a:moveTo>
                  <a:pt x="210" y="172"/>
                </a:moveTo>
                <a:lnTo>
                  <a:pt x="213" y="175"/>
                </a:lnTo>
                <a:lnTo>
                  <a:pt x="216" y="178"/>
                </a:lnTo>
                <a:lnTo>
                  <a:pt x="219" y="178"/>
                </a:lnTo>
                <a:lnTo>
                  <a:pt x="225" y="178"/>
                </a:lnTo>
                <a:lnTo>
                  <a:pt x="225" y="178"/>
                </a:lnTo>
                <a:lnTo>
                  <a:pt x="225" y="175"/>
                </a:lnTo>
                <a:lnTo>
                  <a:pt x="228" y="172"/>
                </a:lnTo>
                <a:lnTo>
                  <a:pt x="232" y="169"/>
                </a:lnTo>
                <a:lnTo>
                  <a:pt x="235" y="169"/>
                </a:lnTo>
                <a:lnTo>
                  <a:pt x="238" y="165"/>
                </a:lnTo>
                <a:lnTo>
                  <a:pt x="241" y="169"/>
                </a:lnTo>
                <a:lnTo>
                  <a:pt x="244" y="165"/>
                </a:lnTo>
                <a:lnTo>
                  <a:pt x="244" y="162"/>
                </a:lnTo>
                <a:lnTo>
                  <a:pt x="244" y="159"/>
                </a:lnTo>
                <a:lnTo>
                  <a:pt x="241" y="159"/>
                </a:lnTo>
                <a:lnTo>
                  <a:pt x="247" y="156"/>
                </a:lnTo>
                <a:lnTo>
                  <a:pt x="250" y="153"/>
                </a:lnTo>
                <a:lnTo>
                  <a:pt x="250" y="150"/>
                </a:lnTo>
                <a:lnTo>
                  <a:pt x="247" y="140"/>
                </a:lnTo>
                <a:lnTo>
                  <a:pt x="241" y="137"/>
                </a:lnTo>
                <a:lnTo>
                  <a:pt x="238" y="137"/>
                </a:lnTo>
                <a:lnTo>
                  <a:pt x="235" y="137"/>
                </a:lnTo>
                <a:lnTo>
                  <a:pt x="235" y="137"/>
                </a:lnTo>
                <a:lnTo>
                  <a:pt x="232" y="137"/>
                </a:lnTo>
                <a:lnTo>
                  <a:pt x="228" y="137"/>
                </a:lnTo>
                <a:lnTo>
                  <a:pt x="228" y="137"/>
                </a:lnTo>
                <a:lnTo>
                  <a:pt x="225" y="140"/>
                </a:lnTo>
                <a:lnTo>
                  <a:pt x="225" y="140"/>
                </a:lnTo>
                <a:lnTo>
                  <a:pt x="219" y="144"/>
                </a:lnTo>
                <a:lnTo>
                  <a:pt x="213" y="147"/>
                </a:lnTo>
                <a:lnTo>
                  <a:pt x="213" y="150"/>
                </a:lnTo>
                <a:lnTo>
                  <a:pt x="207" y="156"/>
                </a:lnTo>
                <a:lnTo>
                  <a:pt x="203" y="156"/>
                </a:lnTo>
                <a:lnTo>
                  <a:pt x="207" y="159"/>
                </a:lnTo>
                <a:lnTo>
                  <a:pt x="207" y="162"/>
                </a:lnTo>
                <a:lnTo>
                  <a:pt x="210" y="165"/>
                </a:lnTo>
                <a:lnTo>
                  <a:pt x="210" y="169"/>
                </a:lnTo>
                <a:lnTo>
                  <a:pt x="210" y="172"/>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1" name="Freeform 159">
            <a:extLst>
              <a:ext uri="{FF2B5EF4-FFF2-40B4-BE49-F238E27FC236}">
                <a16:creationId xmlns:a16="http://schemas.microsoft.com/office/drawing/2014/main" id="{10D1D9A2-A60C-1EC9-1EDC-B4203E4A3BDE}"/>
              </a:ext>
            </a:extLst>
          </p:cNvPr>
          <p:cNvSpPr>
            <a:spLocks/>
          </p:cNvSpPr>
          <p:nvPr userDrawn="1"/>
        </p:nvSpPr>
        <p:spPr bwMode="auto">
          <a:xfrm>
            <a:off x="14785013" y="11222906"/>
            <a:ext cx="149216" cy="130176"/>
          </a:xfrm>
          <a:custGeom>
            <a:avLst/>
            <a:gdLst>
              <a:gd name="T0" fmla="*/ 7 w 47"/>
              <a:gd name="T1" fmla="*/ 35 h 41"/>
              <a:gd name="T2" fmla="*/ 7 w 47"/>
              <a:gd name="T3" fmla="*/ 32 h 41"/>
              <a:gd name="T4" fmla="*/ 7 w 47"/>
              <a:gd name="T5" fmla="*/ 28 h 41"/>
              <a:gd name="T6" fmla="*/ 4 w 47"/>
              <a:gd name="T7" fmla="*/ 25 h 41"/>
              <a:gd name="T8" fmla="*/ 4 w 47"/>
              <a:gd name="T9" fmla="*/ 22 h 41"/>
              <a:gd name="T10" fmla="*/ 0 w 47"/>
              <a:gd name="T11" fmla="*/ 19 h 41"/>
              <a:gd name="T12" fmla="*/ 4 w 47"/>
              <a:gd name="T13" fmla="*/ 19 h 41"/>
              <a:gd name="T14" fmla="*/ 10 w 47"/>
              <a:gd name="T15" fmla="*/ 13 h 41"/>
              <a:gd name="T16" fmla="*/ 10 w 47"/>
              <a:gd name="T17" fmla="*/ 10 h 41"/>
              <a:gd name="T18" fmla="*/ 16 w 47"/>
              <a:gd name="T19" fmla="*/ 7 h 41"/>
              <a:gd name="T20" fmla="*/ 22 w 47"/>
              <a:gd name="T21" fmla="*/ 3 h 41"/>
              <a:gd name="T22" fmla="*/ 22 w 47"/>
              <a:gd name="T23" fmla="*/ 3 h 41"/>
              <a:gd name="T24" fmla="*/ 25 w 47"/>
              <a:gd name="T25" fmla="*/ 0 h 41"/>
              <a:gd name="T26" fmla="*/ 25 w 47"/>
              <a:gd name="T27" fmla="*/ 0 h 41"/>
              <a:gd name="T28" fmla="*/ 29 w 47"/>
              <a:gd name="T29" fmla="*/ 0 h 41"/>
              <a:gd name="T30" fmla="*/ 32 w 47"/>
              <a:gd name="T31" fmla="*/ 0 h 41"/>
              <a:gd name="T32" fmla="*/ 32 w 47"/>
              <a:gd name="T33" fmla="*/ 0 h 41"/>
              <a:gd name="T34" fmla="*/ 35 w 47"/>
              <a:gd name="T35" fmla="*/ 0 h 41"/>
              <a:gd name="T36" fmla="*/ 38 w 47"/>
              <a:gd name="T37" fmla="*/ 0 h 41"/>
              <a:gd name="T38" fmla="*/ 44 w 47"/>
              <a:gd name="T39" fmla="*/ 3 h 41"/>
              <a:gd name="T40" fmla="*/ 47 w 47"/>
              <a:gd name="T41" fmla="*/ 13 h 41"/>
              <a:gd name="T42" fmla="*/ 47 w 47"/>
              <a:gd name="T43" fmla="*/ 16 h 41"/>
              <a:gd name="T44" fmla="*/ 44 w 47"/>
              <a:gd name="T45" fmla="*/ 19 h 41"/>
              <a:gd name="T46" fmla="*/ 38 w 47"/>
              <a:gd name="T47" fmla="*/ 22 h 41"/>
              <a:gd name="T48" fmla="*/ 41 w 47"/>
              <a:gd name="T49" fmla="*/ 22 h 41"/>
              <a:gd name="T50" fmla="*/ 41 w 47"/>
              <a:gd name="T51" fmla="*/ 25 h 41"/>
              <a:gd name="T52" fmla="*/ 41 w 47"/>
              <a:gd name="T53" fmla="*/ 28 h 41"/>
              <a:gd name="T54" fmla="*/ 38 w 47"/>
              <a:gd name="T55" fmla="*/ 32 h 41"/>
              <a:gd name="T56" fmla="*/ 35 w 47"/>
              <a:gd name="T57" fmla="*/ 28 h 41"/>
              <a:gd name="T58" fmla="*/ 32 w 47"/>
              <a:gd name="T59" fmla="*/ 32 h 41"/>
              <a:gd name="T60" fmla="*/ 29 w 47"/>
              <a:gd name="T61" fmla="*/ 32 h 41"/>
              <a:gd name="T62" fmla="*/ 25 w 47"/>
              <a:gd name="T63" fmla="*/ 35 h 41"/>
              <a:gd name="T64" fmla="*/ 22 w 47"/>
              <a:gd name="T65" fmla="*/ 38 h 41"/>
              <a:gd name="T66" fmla="*/ 22 w 47"/>
              <a:gd name="T67" fmla="*/ 41 h 41"/>
              <a:gd name="T68" fmla="*/ 22 w 47"/>
              <a:gd name="T69" fmla="*/ 41 h 41"/>
              <a:gd name="T70" fmla="*/ 16 w 47"/>
              <a:gd name="T71" fmla="*/ 41 h 41"/>
              <a:gd name="T72" fmla="*/ 13 w 47"/>
              <a:gd name="T73" fmla="*/ 41 h 41"/>
              <a:gd name="T74" fmla="*/ 10 w 47"/>
              <a:gd name="T75" fmla="*/ 38 h 41"/>
              <a:gd name="T76" fmla="*/ 7 w 47"/>
              <a:gd name="T77" fmla="*/ 3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 h="41">
                <a:moveTo>
                  <a:pt x="7" y="35"/>
                </a:moveTo>
                <a:lnTo>
                  <a:pt x="7" y="32"/>
                </a:lnTo>
                <a:lnTo>
                  <a:pt x="7" y="28"/>
                </a:lnTo>
                <a:lnTo>
                  <a:pt x="4" y="25"/>
                </a:lnTo>
                <a:lnTo>
                  <a:pt x="4" y="22"/>
                </a:lnTo>
                <a:lnTo>
                  <a:pt x="0" y="19"/>
                </a:lnTo>
                <a:lnTo>
                  <a:pt x="4" y="19"/>
                </a:lnTo>
                <a:lnTo>
                  <a:pt x="10" y="13"/>
                </a:lnTo>
                <a:lnTo>
                  <a:pt x="10" y="10"/>
                </a:lnTo>
                <a:lnTo>
                  <a:pt x="16" y="7"/>
                </a:lnTo>
                <a:lnTo>
                  <a:pt x="22" y="3"/>
                </a:lnTo>
                <a:lnTo>
                  <a:pt x="22" y="3"/>
                </a:lnTo>
                <a:lnTo>
                  <a:pt x="25" y="0"/>
                </a:lnTo>
                <a:lnTo>
                  <a:pt x="25" y="0"/>
                </a:lnTo>
                <a:lnTo>
                  <a:pt x="29" y="0"/>
                </a:lnTo>
                <a:lnTo>
                  <a:pt x="32" y="0"/>
                </a:lnTo>
                <a:lnTo>
                  <a:pt x="32" y="0"/>
                </a:lnTo>
                <a:lnTo>
                  <a:pt x="35" y="0"/>
                </a:lnTo>
                <a:lnTo>
                  <a:pt x="38" y="0"/>
                </a:lnTo>
                <a:lnTo>
                  <a:pt x="44" y="3"/>
                </a:lnTo>
                <a:lnTo>
                  <a:pt x="47" y="13"/>
                </a:lnTo>
                <a:lnTo>
                  <a:pt x="47" y="16"/>
                </a:lnTo>
                <a:lnTo>
                  <a:pt x="44" y="19"/>
                </a:lnTo>
                <a:lnTo>
                  <a:pt x="38" y="22"/>
                </a:lnTo>
                <a:lnTo>
                  <a:pt x="41" y="22"/>
                </a:lnTo>
                <a:lnTo>
                  <a:pt x="41" y="25"/>
                </a:lnTo>
                <a:lnTo>
                  <a:pt x="41" y="28"/>
                </a:lnTo>
                <a:lnTo>
                  <a:pt x="38" y="32"/>
                </a:lnTo>
                <a:lnTo>
                  <a:pt x="35" y="28"/>
                </a:lnTo>
                <a:lnTo>
                  <a:pt x="32" y="32"/>
                </a:lnTo>
                <a:lnTo>
                  <a:pt x="29" y="32"/>
                </a:lnTo>
                <a:lnTo>
                  <a:pt x="25" y="35"/>
                </a:lnTo>
                <a:lnTo>
                  <a:pt x="22" y="38"/>
                </a:lnTo>
                <a:lnTo>
                  <a:pt x="22" y="41"/>
                </a:lnTo>
                <a:lnTo>
                  <a:pt x="22" y="41"/>
                </a:lnTo>
                <a:lnTo>
                  <a:pt x="16" y="41"/>
                </a:lnTo>
                <a:lnTo>
                  <a:pt x="13" y="41"/>
                </a:lnTo>
                <a:lnTo>
                  <a:pt x="10" y="38"/>
                </a:lnTo>
                <a:lnTo>
                  <a:pt x="7" y="35"/>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2" name="Freeform 160">
            <a:extLst>
              <a:ext uri="{FF2B5EF4-FFF2-40B4-BE49-F238E27FC236}">
                <a16:creationId xmlns:a16="http://schemas.microsoft.com/office/drawing/2014/main" id="{B8B0AD6F-52B0-69CD-CE2E-A3AB56BBB8FD}"/>
              </a:ext>
            </a:extLst>
          </p:cNvPr>
          <p:cNvSpPr>
            <a:spLocks noEditPoints="1"/>
          </p:cNvSpPr>
          <p:nvPr userDrawn="1"/>
        </p:nvSpPr>
        <p:spPr bwMode="auto">
          <a:xfrm>
            <a:off x="20115490" y="10051330"/>
            <a:ext cx="2530313" cy="2720976"/>
          </a:xfrm>
          <a:custGeom>
            <a:avLst/>
            <a:gdLst>
              <a:gd name="T0" fmla="*/ 252 w 255"/>
              <a:gd name="T1" fmla="*/ 115 h 274"/>
              <a:gd name="T2" fmla="*/ 217 w 255"/>
              <a:gd name="T3" fmla="*/ 59 h 274"/>
              <a:gd name="T4" fmla="*/ 174 w 255"/>
              <a:gd name="T5" fmla="*/ 47 h 274"/>
              <a:gd name="T6" fmla="*/ 156 w 255"/>
              <a:gd name="T7" fmla="*/ 26 h 274"/>
              <a:gd name="T8" fmla="*/ 158 w 255"/>
              <a:gd name="T9" fmla="*/ 28 h 274"/>
              <a:gd name="T10" fmla="*/ 154 w 255"/>
              <a:gd name="T11" fmla="*/ 11 h 274"/>
              <a:gd name="T12" fmla="*/ 121 w 255"/>
              <a:gd name="T13" fmla="*/ 8 h 274"/>
              <a:gd name="T14" fmla="*/ 120 w 255"/>
              <a:gd name="T15" fmla="*/ 8 h 274"/>
              <a:gd name="T16" fmla="*/ 82 w 255"/>
              <a:gd name="T17" fmla="*/ 36 h 274"/>
              <a:gd name="T18" fmla="*/ 1 w 255"/>
              <a:gd name="T19" fmla="*/ 103 h 274"/>
              <a:gd name="T20" fmla="*/ 138 w 255"/>
              <a:gd name="T21" fmla="*/ 196 h 274"/>
              <a:gd name="T22" fmla="*/ 187 w 255"/>
              <a:gd name="T23" fmla="*/ 226 h 274"/>
              <a:gd name="T24" fmla="*/ 172 w 255"/>
              <a:gd name="T25" fmla="*/ 241 h 274"/>
              <a:gd name="T26" fmla="*/ 192 w 255"/>
              <a:gd name="T27" fmla="*/ 237 h 274"/>
              <a:gd name="T28" fmla="*/ 186 w 255"/>
              <a:gd name="T29" fmla="*/ 265 h 274"/>
              <a:gd name="T30" fmla="*/ 169 w 255"/>
              <a:gd name="T31" fmla="*/ 263 h 274"/>
              <a:gd name="T32" fmla="*/ 173 w 255"/>
              <a:gd name="T33" fmla="*/ 245 h 274"/>
              <a:gd name="T34" fmla="*/ 191 w 255"/>
              <a:gd name="T35" fmla="*/ 247 h 274"/>
              <a:gd name="T36" fmla="*/ 184 w 255"/>
              <a:gd name="T37" fmla="*/ 266 h 274"/>
              <a:gd name="T38" fmla="*/ 176 w 255"/>
              <a:gd name="T39" fmla="*/ 272 h 274"/>
              <a:gd name="T40" fmla="*/ 12 w 255"/>
              <a:gd name="T41" fmla="*/ 181 h 274"/>
              <a:gd name="T42" fmla="*/ 30 w 255"/>
              <a:gd name="T43" fmla="*/ 175 h 274"/>
              <a:gd name="T44" fmla="*/ 53 w 255"/>
              <a:gd name="T45" fmla="*/ 173 h 274"/>
              <a:gd name="T46" fmla="*/ 82 w 255"/>
              <a:gd name="T47" fmla="*/ 161 h 274"/>
              <a:gd name="T48" fmla="*/ 117 w 255"/>
              <a:gd name="T49" fmla="*/ 160 h 274"/>
              <a:gd name="T50" fmla="*/ 128 w 255"/>
              <a:gd name="T51" fmla="*/ 182 h 274"/>
              <a:gd name="T52" fmla="*/ 139 w 255"/>
              <a:gd name="T53" fmla="*/ 176 h 274"/>
              <a:gd name="T54" fmla="*/ 141 w 255"/>
              <a:gd name="T55" fmla="*/ 183 h 274"/>
              <a:gd name="T56" fmla="*/ 143 w 255"/>
              <a:gd name="T57" fmla="*/ 193 h 274"/>
              <a:gd name="T58" fmla="*/ 149 w 255"/>
              <a:gd name="T59" fmla="*/ 209 h 274"/>
              <a:gd name="T60" fmla="*/ 170 w 255"/>
              <a:gd name="T61" fmla="*/ 225 h 274"/>
              <a:gd name="T62" fmla="*/ 183 w 255"/>
              <a:gd name="T63" fmla="*/ 223 h 274"/>
              <a:gd name="T64" fmla="*/ 196 w 255"/>
              <a:gd name="T65" fmla="*/ 220 h 274"/>
              <a:gd name="T66" fmla="*/ 215 w 255"/>
              <a:gd name="T67" fmla="*/ 203 h 274"/>
              <a:gd name="T68" fmla="*/ 236 w 255"/>
              <a:gd name="T69" fmla="*/ 173 h 274"/>
              <a:gd name="T70" fmla="*/ 248 w 255"/>
              <a:gd name="T71" fmla="*/ 145 h 274"/>
              <a:gd name="T72" fmla="*/ 251 w 255"/>
              <a:gd name="T73" fmla="*/ 113 h 274"/>
              <a:gd name="T74" fmla="*/ 240 w 255"/>
              <a:gd name="T75" fmla="*/ 94 h 274"/>
              <a:gd name="T76" fmla="*/ 234 w 255"/>
              <a:gd name="T77" fmla="*/ 83 h 274"/>
              <a:gd name="T78" fmla="*/ 224 w 255"/>
              <a:gd name="T79" fmla="*/ 69 h 274"/>
              <a:gd name="T80" fmla="*/ 215 w 255"/>
              <a:gd name="T81" fmla="*/ 49 h 274"/>
              <a:gd name="T82" fmla="*/ 206 w 255"/>
              <a:gd name="T83" fmla="*/ 29 h 274"/>
              <a:gd name="T84" fmla="*/ 199 w 255"/>
              <a:gd name="T85" fmla="*/ 9 h 274"/>
              <a:gd name="T86" fmla="*/ 191 w 255"/>
              <a:gd name="T87" fmla="*/ 21 h 274"/>
              <a:gd name="T88" fmla="*/ 183 w 255"/>
              <a:gd name="T89" fmla="*/ 52 h 274"/>
              <a:gd name="T90" fmla="*/ 160 w 255"/>
              <a:gd name="T91" fmla="*/ 40 h 274"/>
              <a:gd name="T92" fmla="*/ 155 w 255"/>
              <a:gd name="T93" fmla="*/ 22 h 274"/>
              <a:gd name="T94" fmla="*/ 157 w 255"/>
              <a:gd name="T95" fmla="*/ 15 h 274"/>
              <a:gd name="T96" fmla="*/ 148 w 255"/>
              <a:gd name="T97" fmla="*/ 13 h 274"/>
              <a:gd name="T98" fmla="*/ 131 w 255"/>
              <a:gd name="T99" fmla="*/ 8 h 274"/>
              <a:gd name="T100" fmla="*/ 124 w 255"/>
              <a:gd name="T101" fmla="*/ 16 h 274"/>
              <a:gd name="T102" fmla="*/ 115 w 255"/>
              <a:gd name="T103" fmla="*/ 25 h 274"/>
              <a:gd name="T104" fmla="*/ 111 w 255"/>
              <a:gd name="T105" fmla="*/ 33 h 274"/>
              <a:gd name="T106" fmla="*/ 103 w 255"/>
              <a:gd name="T107" fmla="*/ 35 h 274"/>
              <a:gd name="T108" fmla="*/ 91 w 255"/>
              <a:gd name="T109" fmla="*/ 27 h 274"/>
              <a:gd name="T110" fmla="*/ 83 w 255"/>
              <a:gd name="T111" fmla="*/ 35 h 274"/>
              <a:gd name="T112" fmla="*/ 78 w 255"/>
              <a:gd name="T113" fmla="*/ 43 h 274"/>
              <a:gd name="T114" fmla="*/ 71 w 255"/>
              <a:gd name="T115" fmla="*/ 45 h 274"/>
              <a:gd name="T116" fmla="*/ 60 w 255"/>
              <a:gd name="T117" fmla="*/ 59 h 274"/>
              <a:gd name="T118" fmla="*/ 29 w 255"/>
              <a:gd name="T119" fmla="*/ 72 h 274"/>
              <a:gd name="T120" fmla="*/ 9 w 255"/>
              <a:gd name="T121" fmla="*/ 82 h 274"/>
              <a:gd name="T122" fmla="*/ 5 w 255"/>
              <a:gd name="T123" fmla="*/ 110 h 274"/>
              <a:gd name="T124" fmla="*/ 8 w 255"/>
              <a:gd name="T125" fmla="*/ 145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5" h="274">
                <a:moveTo>
                  <a:pt x="252" y="131"/>
                </a:moveTo>
                <a:cubicBezTo>
                  <a:pt x="252" y="129"/>
                  <a:pt x="252" y="129"/>
                  <a:pt x="252" y="129"/>
                </a:cubicBezTo>
                <a:cubicBezTo>
                  <a:pt x="252" y="130"/>
                  <a:pt x="252" y="130"/>
                  <a:pt x="252" y="130"/>
                </a:cubicBezTo>
                <a:cubicBezTo>
                  <a:pt x="252" y="131"/>
                  <a:pt x="252" y="131"/>
                  <a:pt x="252" y="131"/>
                </a:cubicBezTo>
                <a:close/>
                <a:moveTo>
                  <a:pt x="252" y="115"/>
                </a:moveTo>
                <a:cubicBezTo>
                  <a:pt x="252" y="113"/>
                  <a:pt x="252" y="113"/>
                  <a:pt x="252" y="113"/>
                </a:cubicBezTo>
                <a:cubicBezTo>
                  <a:pt x="252" y="112"/>
                  <a:pt x="252" y="112"/>
                  <a:pt x="252" y="112"/>
                </a:cubicBezTo>
                <a:cubicBezTo>
                  <a:pt x="252" y="111"/>
                  <a:pt x="252" y="111"/>
                  <a:pt x="252" y="111"/>
                </a:cubicBezTo>
                <a:cubicBezTo>
                  <a:pt x="253" y="110"/>
                  <a:pt x="253" y="110"/>
                  <a:pt x="253" y="110"/>
                </a:cubicBezTo>
                <a:cubicBezTo>
                  <a:pt x="254" y="108"/>
                  <a:pt x="254" y="108"/>
                  <a:pt x="254" y="108"/>
                </a:cubicBezTo>
                <a:cubicBezTo>
                  <a:pt x="254" y="107"/>
                  <a:pt x="254" y="107"/>
                  <a:pt x="254" y="107"/>
                </a:cubicBezTo>
                <a:cubicBezTo>
                  <a:pt x="254" y="106"/>
                  <a:pt x="254" y="106"/>
                  <a:pt x="254" y="106"/>
                </a:cubicBezTo>
                <a:cubicBezTo>
                  <a:pt x="254" y="106"/>
                  <a:pt x="254" y="106"/>
                  <a:pt x="254" y="106"/>
                </a:cubicBezTo>
                <a:cubicBezTo>
                  <a:pt x="255" y="108"/>
                  <a:pt x="255" y="108"/>
                  <a:pt x="255" y="108"/>
                </a:cubicBezTo>
                <a:cubicBezTo>
                  <a:pt x="254" y="110"/>
                  <a:pt x="254" y="110"/>
                  <a:pt x="254" y="110"/>
                </a:cubicBezTo>
                <a:cubicBezTo>
                  <a:pt x="253" y="112"/>
                  <a:pt x="253" y="112"/>
                  <a:pt x="253" y="112"/>
                </a:cubicBezTo>
                <a:cubicBezTo>
                  <a:pt x="253" y="114"/>
                  <a:pt x="253" y="114"/>
                  <a:pt x="253" y="114"/>
                </a:cubicBezTo>
                <a:cubicBezTo>
                  <a:pt x="253" y="115"/>
                  <a:pt x="253" y="115"/>
                  <a:pt x="253" y="115"/>
                </a:cubicBezTo>
                <a:cubicBezTo>
                  <a:pt x="252" y="115"/>
                  <a:pt x="252" y="115"/>
                  <a:pt x="252" y="115"/>
                </a:cubicBezTo>
                <a:close/>
                <a:moveTo>
                  <a:pt x="242" y="97"/>
                </a:moveTo>
                <a:cubicBezTo>
                  <a:pt x="243" y="98"/>
                  <a:pt x="243" y="98"/>
                  <a:pt x="243" y="98"/>
                </a:cubicBezTo>
                <a:cubicBezTo>
                  <a:pt x="244" y="99"/>
                  <a:pt x="244" y="99"/>
                  <a:pt x="244" y="99"/>
                </a:cubicBezTo>
                <a:cubicBezTo>
                  <a:pt x="244" y="98"/>
                  <a:pt x="244" y="98"/>
                  <a:pt x="244" y="98"/>
                </a:cubicBezTo>
                <a:cubicBezTo>
                  <a:pt x="243" y="97"/>
                  <a:pt x="243" y="97"/>
                  <a:pt x="243" y="97"/>
                </a:cubicBezTo>
                <a:cubicBezTo>
                  <a:pt x="243" y="97"/>
                  <a:pt x="243" y="97"/>
                  <a:pt x="243" y="97"/>
                </a:cubicBezTo>
                <a:cubicBezTo>
                  <a:pt x="243" y="97"/>
                  <a:pt x="243" y="97"/>
                  <a:pt x="243" y="97"/>
                </a:cubicBezTo>
                <a:cubicBezTo>
                  <a:pt x="242" y="96"/>
                  <a:pt x="242" y="96"/>
                  <a:pt x="242" y="96"/>
                </a:cubicBezTo>
                <a:cubicBezTo>
                  <a:pt x="242" y="97"/>
                  <a:pt x="242" y="97"/>
                  <a:pt x="242" y="97"/>
                </a:cubicBezTo>
                <a:close/>
                <a:moveTo>
                  <a:pt x="240" y="88"/>
                </a:moveTo>
                <a:cubicBezTo>
                  <a:pt x="240" y="87"/>
                  <a:pt x="240" y="87"/>
                  <a:pt x="240" y="87"/>
                </a:cubicBezTo>
                <a:cubicBezTo>
                  <a:pt x="240" y="87"/>
                  <a:pt x="240" y="87"/>
                  <a:pt x="240" y="87"/>
                </a:cubicBezTo>
                <a:cubicBezTo>
                  <a:pt x="240" y="88"/>
                  <a:pt x="240" y="88"/>
                  <a:pt x="240" y="88"/>
                </a:cubicBezTo>
                <a:close/>
                <a:moveTo>
                  <a:pt x="216" y="60"/>
                </a:moveTo>
                <a:cubicBezTo>
                  <a:pt x="217" y="59"/>
                  <a:pt x="217" y="59"/>
                  <a:pt x="217" y="59"/>
                </a:cubicBezTo>
                <a:cubicBezTo>
                  <a:pt x="216" y="58"/>
                  <a:pt x="216" y="58"/>
                  <a:pt x="216" y="58"/>
                </a:cubicBezTo>
                <a:cubicBezTo>
                  <a:pt x="217" y="58"/>
                  <a:pt x="217" y="58"/>
                  <a:pt x="217" y="58"/>
                </a:cubicBezTo>
                <a:cubicBezTo>
                  <a:pt x="217" y="57"/>
                  <a:pt x="217" y="57"/>
                  <a:pt x="217" y="57"/>
                </a:cubicBezTo>
                <a:cubicBezTo>
                  <a:pt x="217" y="59"/>
                  <a:pt x="217" y="59"/>
                  <a:pt x="217" y="59"/>
                </a:cubicBezTo>
                <a:cubicBezTo>
                  <a:pt x="217" y="61"/>
                  <a:pt x="217" y="61"/>
                  <a:pt x="217" y="61"/>
                </a:cubicBezTo>
                <a:cubicBezTo>
                  <a:pt x="216" y="60"/>
                  <a:pt x="216" y="60"/>
                  <a:pt x="216" y="60"/>
                </a:cubicBezTo>
                <a:close/>
                <a:moveTo>
                  <a:pt x="196" y="0"/>
                </a:moveTo>
                <a:cubicBezTo>
                  <a:pt x="196" y="1"/>
                  <a:pt x="196" y="1"/>
                  <a:pt x="196" y="1"/>
                </a:cubicBezTo>
                <a:cubicBezTo>
                  <a:pt x="197" y="0"/>
                  <a:pt x="197" y="0"/>
                  <a:pt x="197" y="0"/>
                </a:cubicBezTo>
                <a:cubicBezTo>
                  <a:pt x="196" y="0"/>
                  <a:pt x="196" y="0"/>
                  <a:pt x="196" y="0"/>
                </a:cubicBezTo>
                <a:close/>
                <a:moveTo>
                  <a:pt x="195" y="3"/>
                </a:moveTo>
                <a:cubicBezTo>
                  <a:pt x="195" y="5"/>
                  <a:pt x="195" y="5"/>
                  <a:pt x="195" y="5"/>
                </a:cubicBezTo>
                <a:cubicBezTo>
                  <a:pt x="195" y="5"/>
                  <a:pt x="195" y="5"/>
                  <a:pt x="195" y="5"/>
                </a:cubicBezTo>
                <a:cubicBezTo>
                  <a:pt x="196" y="5"/>
                  <a:pt x="196" y="5"/>
                  <a:pt x="196" y="5"/>
                </a:cubicBezTo>
                <a:cubicBezTo>
                  <a:pt x="196" y="4"/>
                  <a:pt x="196" y="4"/>
                  <a:pt x="196" y="4"/>
                </a:cubicBezTo>
                <a:cubicBezTo>
                  <a:pt x="195" y="3"/>
                  <a:pt x="195" y="3"/>
                  <a:pt x="195" y="3"/>
                </a:cubicBezTo>
                <a:close/>
                <a:moveTo>
                  <a:pt x="175" y="49"/>
                </a:moveTo>
                <a:cubicBezTo>
                  <a:pt x="175" y="49"/>
                  <a:pt x="175" y="49"/>
                  <a:pt x="175" y="49"/>
                </a:cubicBezTo>
                <a:cubicBezTo>
                  <a:pt x="176" y="49"/>
                  <a:pt x="176" y="49"/>
                  <a:pt x="176" y="49"/>
                </a:cubicBezTo>
                <a:cubicBezTo>
                  <a:pt x="176" y="48"/>
                  <a:pt x="176" y="48"/>
                  <a:pt x="176" y="48"/>
                </a:cubicBezTo>
                <a:cubicBezTo>
                  <a:pt x="175" y="49"/>
                  <a:pt x="175" y="49"/>
                  <a:pt x="175" y="49"/>
                </a:cubicBezTo>
                <a:close/>
                <a:moveTo>
                  <a:pt x="173" y="46"/>
                </a:moveTo>
                <a:cubicBezTo>
                  <a:pt x="174" y="47"/>
                  <a:pt x="174" y="47"/>
                  <a:pt x="174" y="47"/>
                </a:cubicBezTo>
                <a:cubicBezTo>
                  <a:pt x="174" y="46"/>
                  <a:pt x="174" y="46"/>
                  <a:pt x="174" y="46"/>
                </a:cubicBezTo>
                <a:cubicBezTo>
                  <a:pt x="175" y="45"/>
                  <a:pt x="175" y="45"/>
                  <a:pt x="175" y="45"/>
                </a:cubicBezTo>
                <a:cubicBezTo>
                  <a:pt x="177" y="45"/>
                  <a:pt x="177" y="45"/>
                  <a:pt x="177" y="45"/>
                </a:cubicBezTo>
                <a:cubicBezTo>
                  <a:pt x="177" y="45"/>
                  <a:pt x="177" y="45"/>
                  <a:pt x="177" y="45"/>
                </a:cubicBezTo>
                <a:cubicBezTo>
                  <a:pt x="175" y="44"/>
                  <a:pt x="175" y="44"/>
                  <a:pt x="175" y="44"/>
                </a:cubicBezTo>
                <a:cubicBezTo>
                  <a:pt x="173" y="45"/>
                  <a:pt x="173" y="45"/>
                  <a:pt x="173" y="45"/>
                </a:cubicBezTo>
                <a:cubicBezTo>
                  <a:pt x="173" y="45"/>
                  <a:pt x="173" y="46"/>
                  <a:pt x="173" y="46"/>
                </a:cubicBezTo>
                <a:close/>
                <a:moveTo>
                  <a:pt x="160" y="40"/>
                </a:moveTo>
                <a:cubicBezTo>
                  <a:pt x="160" y="39"/>
                  <a:pt x="160" y="39"/>
                  <a:pt x="160" y="39"/>
                </a:cubicBezTo>
                <a:cubicBezTo>
                  <a:pt x="160" y="38"/>
                  <a:pt x="160" y="38"/>
                  <a:pt x="160" y="38"/>
                </a:cubicBezTo>
                <a:cubicBezTo>
                  <a:pt x="161" y="39"/>
                  <a:pt x="161" y="39"/>
                  <a:pt x="161" y="39"/>
                </a:cubicBezTo>
                <a:cubicBezTo>
                  <a:pt x="160" y="40"/>
                  <a:pt x="160" y="40"/>
                  <a:pt x="160" y="40"/>
                </a:cubicBezTo>
                <a:close/>
                <a:moveTo>
                  <a:pt x="156" y="26"/>
                </a:moveTo>
                <a:cubicBezTo>
                  <a:pt x="156" y="26"/>
                  <a:pt x="156" y="26"/>
                  <a:pt x="156" y="26"/>
                </a:cubicBezTo>
                <a:cubicBezTo>
                  <a:pt x="156" y="26"/>
                  <a:pt x="156" y="26"/>
                  <a:pt x="156" y="26"/>
                </a:cubicBezTo>
                <a:cubicBezTo>
                  <a:pt x="156" y="25"/>
                  <a:pt x="156" y="25"/>
                  <a:pt x="156" y="25"/>
                </a:cubicBezTo>
                <a:cubicBezTo>
                  <a:pt x="156" y="25"/>
                  <a:pt x="156" y="25"/>
                  <a:pt x="156" y="25"/>
                </a:cubicBezTo>
                <a:cubicBezTo>
                  <a:pt x="157" y="26"/>
                  <a:pt x="157" y="26"/>
                  <a:pt x="157" y="26"/>
                </a:cubicBezTo>
                <a:cubicBezTo>
                  <a:pt x="156" y="26"/>
                  <a:pt x="156" y="26"/>
                  <a:pt x="156" y="26"/>
                </a:cubicBezTo>
                <a:close/>
                <a:moveTo>
                  <a:pt x="158" y="28"/>
                </a:moveTo>
                <a:cubicBezTo>
                  <a:pt x="157" y="29"/>
                  <a:pt x="157" y="29"/>
                  <a:pt x="157" y="29"/>
                </a:cubicBezTo>
                <a:cubicBezTo>
                  <a:pt x="158" y="29"/>
                  <a:pt x="158" y="29"/>
                  <a:pt x="158" y="29"/>
                </a:cubicBezTo>
                <a:cubicBezTo>
                  <a:pt x="159" y="28"/>
                  <a:pt x="159" y="28"/>
                  <a:pt x="159" y="28"/>
                </a:cubicBezTo>
                <a:cubicBezTo>
                  <a:pt x="160" y="28"/>
                  <a:pt x="160" y="28"/>
                  <a:pt x="160" y="28"/>
                </a:cubicBezTo>
                <a:cubicBezTo>
                  <a:pt x="161" y="27"/>
                  <a:pt x="161" y="27"/>
                  <a:pt x="161" y="27"/>
                </a:cubicBezTo>
                <a:cubicBezTo>
                  <a:pt x="160" y="27"/>
                  <a:pt x="160" y="27"/>
                  <a:pt x="160" y="27"/>
                </a:cubicBezTo>
                <a:cubicBezTo>
                  <a:pt x="160" y="27"/>
                  <a:pt x="160" y="27"/>
                  <a:pt x="160" y="27"/>
                </a:cubicBezTo>
                <a:cubicBezTo>
                  <a:pt x="159" y="27"/>
                  <a:pt x="159" y="27"/>
                  <a:pt x="159" y="27"/>
                </a:cubicBezTo>
                <a:cubicBezTo>
                  <a:pt x="160" y="26"/>
                  <a:pt x="160" y="26"/>
                  <a:pt x="160" y="26"/>
                </a:cubicBezTo>
                <a:cubicBezTo>
                  <a:pt x="160" y="26"/>
                  <a:pt x="160" y="26"/>
                  <a:pt x="160" y="26"/>
                </a:cubicBezTo>
                <a:cubicBezTo>
                  <a:pt x="159" y="26"/>
                  <a:pt x="159" y="26"/>
                  <a:pt x="159" y="26"/>
                </a:cubicBezTo>
                <a:cubicBezTo>
                  <a:pt x="159" y="25"/>
                  <a:pt x="159" y="25"/>
                  <a:pt x="159" y="25"/>
                </a:cubicBezTo>
                <a:cubicBezTo>
                  <a:pt x="159" y="25"/>
                  <a:pt x="159" y="25"/>
                  <a:pt x="159" y="25"/>
                </a:cubicBezTo>
                <a:cubicBezTo>
                  <a:pt x="158" y="26"/>
                  <a:pt x="158" y="26"/>
                  <a:pt x="158" y="26"/>
                </a:cubicBezTo>
                <a:cubicBezTo>
                  <a:pt x="157" y="26"/>
                  <a:pt x="157" y="26"/>
                  <a:pt x="157" y="26"/>
                </a:cubicBezTo>
                <a:cubicBezTo>
                  <a:pt x="158" y="26"/>
                  <a:pt x="158" y="26"/>
                  <a:pt x="158" y="26"/>
                </a:cubicBezTo>
                <a:cubicBezTo>
                  <a:pt x="157" y="27"/>
                  <a:pt x="157" y="27"/>
                  <a:pt x="157" y="27"/>
                </a:cubicBezTo>
                <a:cubicBezTo>
                  <a:pt x="158" y="28"/>
                  <a:pt x="158" y="28"/>
                  <a:pt x="158" y="28"/>
                </a:cubicBezTo>
                <a:close/>
                <a:moveTo>
                  <a:pt x="159" y="9"/>
                </a:moveTo>
                <a:cubicBezTo>
                  <a:pt x="160" y="9"/>
                  <a:pt x="160" y="9"/>
                  <a:pt x="160" y="9"/>
                </a:cubicBezTo>
                <a:cubicBezTo>
                  <a:pt x="160" y="8"/>
                  <a:pt x="160" y="8"/>
                  <a:pt x="160" y="8"/>
                </a:cubicBezTo>
                <a:cubicBezTo>
                  <a:pt x="161" y="7"/>
                  <a:pt x="161" y="7"/>
                  <a:pt x="161" y="7"/>
                </a:cubicBezTo>
                <a:cubicBezTo>
                  <a:pt x="160" y="7"/>
                  <a:pt x="160" y="7"/>
                  <a:pt x="160" y="7"/>
                </a:cubicBezTo>
                <a:cubicBezTo>
                  <a:pt x="159" y="8"/>
                  <a:pt x="159" y="8"/>
                  <a:pt x="159" y="8"/>
                </a:cubicBezTo>
                <a:cubicBezTo>
                  <a:pt x="159" y="9"/>
                  <a:pt x="159" y="9"/>
                  <a:pt x="159" y="9"/>
                </a:cubicBezTo>
                <a:close/>
                <a:moveTo>
                  <a:pt x="157" y="10"/>
                </a:moveTo>
                <a:cubicBezTo>
                  <a:pt x="158" y="10"/>
                  <a:pt x="158" y="10"/>
                  <a:pt x="158" y="10"/>
                </a:cubicBezTo>
                <a:cubicBezTo>
                  <a:pt x="158" y="9"/>
                  <a:pt x="158" y="9"/>
                  <a:pt x="158" y="9"/>
                </a:cubicBezTo>
                <a:cubicBezTo>
                  <a:pt x="157" y="10"/>
                  <a:pt x="157" y="10"/>
                  <a:pt x="157" y="10"/>
                </a:cubicBezTo>
                <a:close/>
                <a:moveTo>
                  <a:pt x="156" y="10"/>
                </a:moveTo>
                <a:cubicBezTo>
                  <a:pt x="157" y="11"/>
                  <a:pt x="157" y="11"/>
                  <a:pt x="157" y="11"/>
                </a:cubicBezTo>
                <a:cubicBezTo>
                  <a:pt x="157" y="10"/>
                  <a:pt x="157" y="10"/>
                  <a:pt x="157" y="10"/>
                </a:cubicBezTo>
                <a:cubicBezTo>
                  <a:pt x="156" y="10"/>
                  <a:pt x="156" y="10"/>
                  <a:pt x="156" y="10"/>
                </a:cubicBezTo>
                <a:close/>
                <a:moveTo>
                  <a:pt x="154" y="11"/>
                </a:moveTo>
                <a:cubicBezTo>
                  <a:pt x="155" y="11"/>
                  <a:pt x="155" y="11"/>
                  <a:pt x="155" y="11"/>
                </a:cubicBezTo>
                <a:cubicBezTo>
                  <a:pt x="155" y="11"/>
                  <a:pt x="155" y="11"/>
                  <a:pt x="155" y="11"/>
                </a:cubicBezTo>
                <a:cubicBezTo>
                  <a:pt x="154" y="11"/>
                  <a:pt x="154" y="11"/>
                  <a:pt x="154" y="11"/>
                </a:cubicBezTo>
                <a:close/>
                <a:moveTo>
                  <a:pt x="153" y="13"/>
                </a:moveTo>
                <a:cubicBezTo>
                  <a:pt x="152" y="12"/>
                  <a:pt x="152" y="12"/>
                  <a:pt x="152" y="12"/>
                </a:cubicBezTo>
                <a:cubicBezTo>
                  <a:pt x="154" y="12"/>
                  <a:pt x="154" y="12"/>
                  <a:pt x="154" y="12"/>
                </a:cubicBezTo>
                <a:cubicBezTo>
                  <a:pt x="155" y="12"/>
                  <a:pt x="155" y="12"/>
                  <a:pt x="155" y="12"/>
                </a:cubicBezTo>
                <a:cubicBezTo>
                  <a:pt x="154" y="12"/>
                  <a:pt x="154" y="12"/>
                  <a:pt x="154" y="12"/>
                </a:cubicBezTo>
                <a:cubicBezTo>
                  <a:pt x="153" y="13"/>
                  <a:pt x="153" y="13"/>
                  <a:pt x="153" y="13"/>
                </a:cubicBezTo>
                <a:cubicBezTo>
                  <a:pt x="153" y="13"/>
                  <a:pt x="153" y="13"/>
                  <a:pt x="153" y="13"/>
                </a:cubicBezTo>
                <a:close/>
                <a:moveTo>
                  <a:pt x="151" y="14"/>
                </a:moveTo>
                <a:cubicBezTo>
                  <a:pt x="151" y="14"/>
                  <a:pt x="151" y="14"/>
                  <a:pt x="151" y="14"/>
                </a:cubicBezTo>
                <a:cubicBezTo>
                  <a:pt x="152" y="14"/>
                  <a:pt x="152" y="14"/>
                  <a:pt x="152" y="14"/>
                </a:cubicBezTo>
                <a:cubicBezTo>
                  <a:pt x="152" y="13"/>
                  <a:pt x="152" y="13"/>
                  <a:pt x="152" y="13"/>
                </a:cubicBezTo>
                <a:cubicBezTo>
                  <a:pt x="151" y="14"/>
                  <a:pt x="151" y="14"/>
                  <a:pt x="151" y="14"/>
                </a:cubicBezTo>
                <a:close/>
                <a:moveTo>
                  <a:pt x="135" y="9"/>
                </a:moveTo>
                <a:cubicBezTo>
                  <a:pt x="134" y="7"/>
                  <a:pt x="134" y="7"/>
                  <a:pt x="134" y="7"/>
                </a:cubicBezTo>
                <a:cubicBezTo>
                  <a:pt x="134" y="6"/>
                  <a:pt x="134" y="6"/>
                  <a:pt x="134" y="6"/>
                </a:cubicBezTo>
                <a:cubicBezTo>
                  <a:pt x="135" y="6"/>
                  <a:pt x="135" y="6"/>
                  <a:pt x="135" y="6"/>
                </a:cubicBezTo>
                <a:cubicBezTo>
                  <a:pt x="135" y="7"/>
                  <a:pt x="135" y="7"/>
                  <a:pt x="135" y="7"/>
                </a:cubicBezTo>
                <a:cubicBezTo>
                  <a:pt x="135" y="9"/>
                  <a:pt x="135" y="9"/>
                  <a:pt x="135" y="9"/>
                </a:cubicBezTo>
                <a:close/>
                <a:moveTo>
                  <a:pt x="121" y="8"/>
                </a:moveTo>
                <a:cubicBezTo>
                  <a:pt x="121" y="9"/>
                  <a:pt x="121" y="9"/>
                  <a:pt x="121" y="9"/>
                </a:cubicBezTo>
                <a:cubicBezTo>
                  <a:pt x="122" y="11"/>
                  <a:pt x="122" y="11"/>
                  <a:pt x="122" y="11"/>
                </a:cubicBezTo>
                <a:cubicBezTo>
                  <a:pt x="123" y="12"/>
                  <a:pt x="123" y="12"/>
                  <a:pt x="123" y="12"/>
                </a:cubicBezTo>
                <a:cubicBezTo>
                  <a:pt x="124" y="13"/>
                  <a:pt x="124" y="13"/>
                  <a:pt x="124" y="13"/>
                </a:cubicBezTo>
                <a:cubicBezTo>
                  <a:pt x="127" y="10"/>
                  <a:pt x="127" y="10"/>
                  <a:pt x="127" y="10"/>
                </a:cubicBezTo>
                <a:cubicBezTo>
                  <a:pt x="127" y="10"/>
                  <a:pt x="127" y="10"/>
                  <a:pt x="127" y="10"/>
                </a:cubicBezTo>
                <a:cubicBezTo>
                  <a:pt x="127" y="10"/>
                  <a:pt x="127" y="10"/>
                  <a:pt x="127" y="10"/>
                </a:cubicBezTo>
                <a:cubicBezTo>
                  <a:pt x="128" y="9"/>
                  <a:pt x="128" y="9"/>
                  <a:pt x="128" y="9"/>
                </a:cubicBezTo>
                <a:cubicBezTo>
                  <a:pt x="127" y="9"/>
                  <a:pt x="127" y="9"/>
                  <a:pt x="127" y="9"/>
                </a:cubicBezTo>
                <a:cubicBezTo>
                  <a:pt x="127" y="8"/>
                  <a:pt x="127" y="8"/>
                  <a:pt x="127" y="8"/>
                </a:cubicBezTo>
                <a:cubicBezTo>
                  <a:pt x="126" y="8"/>
                  <a:pt x="126" y="8"/>
                  <a:pt x="126" y="8"/>
                </a:cubicBezTo>
                <a:cubicBezTo>
                  <a:pt x="126" y="8"/>
                  <a:pt x="126" y="8"/>
                  <a:pt x="126" y="8"/>
                </a:cubicBezTo>
                <a:cubicBezTo>
                  <a:pt x="124" y="8"/>
                  <a:pt x="124" y="8"/>
                  <a:pt x="124" y="8"/>
                </a:cubicBezTo>
                <a:cubicBezTo>
                  <a:pt x="123" y="9"/>
                  <a:pt x="123" y="9"/>
                  <a:pt x="123" y="9"/>
                </a:cubicBezTo>
                <a:cubicBezTo>
                  <a:pt x="123" y="9"/>
                  <a:pt x="123" y="9"/>
                  <a:pt x="123" y="9"/>
                </a:cubicBezTo>
                <a:cubicBezTo>
                  <a:pt x="122" y="8"/>
                  <a:pt x="122" y="8"/>
                  <a:pt x="122" y="8"/>
                </a:cubicBezTo>
                <a:cubicBezTo>
                  <a:pt x="122" y="8"/>
                  <a:pt x="122" y="8"/>
                  <a:pt x="122" y="8"/>
                </a:cubicBezTo>
                <a:cubicBezTo>
                  <a:pt x="121" y="8"/>
                  <a:pt x="121" y="8"/>
                  <a:pt x="121" y="8"/>
                </a:cubicBezTo>
                <a:cubicBezTo>
                  <a:pt x="120" y="8"/>
                  <a:pt x="120" y="8"/>
                  <a:pt x="120" y="8"/>
                </a:cubicBezTo>
                <a:cubicBezTo>
                  <a:pt x="121" y="8"/>
                  <a:pt x="121" y="8"/>
                  <a:pt x="121" y="8"/>
                </a:cubicBezTo>
                <a:close/>
                <a:moveTo>
                  <a:pt x="120" y="8"/>
                </a:moveTo>
                <a:cubicBezTo>
                  <a:pt x="121" y="11"/>
                  <a:pt x="121" y="11"/>
                  <a:pt x="121" y="11"/>
                </a:cubicBezTo>
                <a:cubicBezTo>
                  <a:pt x="122" y="11"/>
                  <a:pt x="122" y="11"/>
                  <a:pt x="122" y="11"/>
                </a:cubicBezTo>
                <a:cubicBezTo>
                  <a:pt x="122" y="11"/>
                  <a:pt x="122" y="11"/>
                  <a:pt x="122" y="11"/>
                </a:cubicBezTo>
                <a:cubicBezTo>
                  <a:pt x="121" y="11"/>
                  <a:pt x="121" y="11"/>
                  <a:pt x="121" y="11"/>
                </a:cubicBezTo>
                <a:cubicBezTo>
                  <a:pt x="120" y="11"/>
                  <a:pt x="120" y="11"/>
                  <a:pt x="120" y="11"/>
                </a:cubicBezTo>
                <a:cubicBezTo>
                  <a:pt x="119" y="11"/>
                  <a:pt x="119" y="11"/>
                  <a:pt x="119" y="11"/>
                </a:cubicBezTo>
                <a:cubicBezTo>
                  <a:pt x="119" y="10"/>
                  <a:pt x="119" y="10"/>
                  <a:pt x="119" y="10"/>
                </a:cubicBezTo>
                <a:cubicBezTo>
                  <a:pt x="119" y="10"/>
                  <a:pt x="119" y="10"/>
                  <a:pt x="119" y="10"/>
                </a:cubicBezTo>
                <a:cubicBezTo>
                  <a:pt x="120" y="10"/>
                  <a:pt x="120" y="10"/>
                  <a:pt x="120" y="10"/>
                </a:cubicBezTo>
                <a:cubicBezTo>
                  <a:pt x="120" y="10"/>
                  <a:pt x="120" y="10"/>
                  <a:pt x="120" y="10"/>
                </a:cubicBezTo>
                <a:cubicBezTo>
                  <a:pt x="119" y="10"/>
                  <a:pt x="119" y="10"/>
                  <a:pt x="119" y="10"/>
                </a:cubicBezTo>
                <a:cubicBezTo>
                  <a:pt x="120" y="9"/>
                  <a:pt x="120" y="9"/>
                  <a:pt x="120" y="9"/>
                </a:cubicBezTo>
                <a:cubicBezTo>
                  <a:pt x="119" y="9"/>
                  <a:pt x="119" y="9"/>
                  <a:pt x="119" y="9"/>
                </a:cubicBezTo>
                <a:cubicBezTo>
                  <a:pt x="120" y="8"/>
                  <a:pt x="120" y="8"/>
                  <a:pt x="120" y="8"/>
                </a:cubicBezTo>
                <a:close/>
                <a:moveTo>
                  <a:pt x="80" y="35"/>
                </a:moveTo>
                <a:cubicBezTo>
                  <a:pt x="81" y="36"/>
                  <a:pt x="81" y="36"/>
                  <a:pt x="81" y="36"/>
                </a:cubicBezTo>
                <a:cubicBezTo>
                  <a:pt x="82" y="36"/>
                  <a:pt x="82" y="36"/>
                  <a:pt x="82" y="36"/>
                </a:cubicBezTo>
                <a:cubicBezTo>
                  <a:pt x="81" y="35"/>
                  <a:pt x="81" y="35"/>
                  <a:pt x="81" y="35"/>
                </a:cubicBezTo>
                <a:cubicBezTo>
                  <a:pt x="81" y="35"/>
                  <a:pt x="80" y="35"/>
                  <a:pt x="80" y="35"/>
                </a:cubicBezTo>
                <a:close/>
                <a:moveTo>
                  <a:pt x="80" y="40"/>
                </a:moveTo>
                <a:cubicBezTo>
                  <a:pt x="80" y="38"/>
                  <a:pt x="80" y="38"/>
                  <a:pt x="80" y="38"/>
                </a:cubicBezTo>
                <a:cubicBezTo>
                  <a:pt x="80" y="37"/>
                  <a:pt x="80" y="37"/>
                  <a:pt x="80" y="37"/>
                </a:cubicBezTo>
                <a:cubicBezTo>
                  <a:pt x="80" y="39"/>
                  <a:pt x="80" y="39"/>
                  <a:pt x="80" y="39"/>
                </a:cubicBezTo>
                <a:cubicBezTo>
                  <a:pt x="80" y="40"/>
                  <a:pt x="80" y="40"/>
                  <a:pt x="80" y="40"/>
                </a:cubicBezTo>
                <a:close/>
                <a:moveTo>
                  <a:pt x="86" y="30"/>
                </a:moveTo>
                <a:cubicBezTo>
                  <a:pt x="85" y="30"/>
                  <a:pt x="85" y="30"/>
                  <a:pt x="85" y="30"/>
                </a:cubicBezTo>
                <a:cubicBezTo>
                  <a:pt x="85" y="30"/>
                  <a:pt x="85" y="30"/>
                  <a:pt x="85" y="30"/>
                </a:cubicBezTo>
                <a:cubicBezTo>
                  <a:pt x="86" y="30"/>
                  <a:pt x="86" y="30"/>
                  <a:pt x="86" y="30"/>
                </a:cubicBezTo>
                <a:cubicBezTo>
                  <a:pt x="86" y="30"/>
                  <a:pt x="86" y="30"/>
                  <a:pt x="86" y="30"/>
                </a:cubicBezTo>
                <a:close/>
                <a:moveTo>
                  <a:pt x="19" y="74"/>
                </a:moveTo>
                <a:cubicBezTo>
                  <a:pt x="19" y="73"/>
                  <a:pt x="19" y="73"/>
                  <a:pt x="19" y="73"/>
                </a:cubicBezTo>
                <a:cubicBezTo>
                  <a:pt x="20" y="71"/>
                  <a:pt x="20" y="71"/>
                  <a:pt x="20" y="71"/>
                </a:cubicBezTo>
                <a:cubicBezTo>
                  <a:pt x="20" y="73"/>
                  <a:pt x="20" y="73"/>
                  <a:pt x="20" y="73"/>
                </a:cubicBezTo>
                <a:cubicBezTo>
                  <a:pt x="19" y="74"/>
                  <a:pt x="19" y="74"/>
                  <a:pt x="19" y="74"/>
                </a:cubicBezTo>
                <a:close/>
                <a:moveTo>
                  <a:pt x="0" y="106"/>
                </a:moveTo>
                <a:cubicBezTo>
                  <a:pt x="1" y="103"/>
                  <a:pt x="1" y="103"/>
                  <a:pt x="1" y="103"/>
                </a:cubicBezTo>
                <a:cubicBezTo>
                  <a:pt x="1" y="105"/>
                  <a:pt x="1" y="105"/>
                  <a:pt x="1" y="105"/>
                </a:cubicBezTo>
                <a:cubicBezTo>
                  <a:pt x="1" y="105"/>
                  <a:pt x="0" y="106"/>
                  <a:pt x="0" y="106"/>
                </a:cubicBezTo>
                <a:close/>
                <a:moveTo>
                  <a:pt x="0" y="111"/>
                </a:moveTo>
                <a:cubicBezTo>
                  <a:pt x="0" y="108"/>
                  <a:pt x="0" y="108"/>
                  <a:pt x="0" y="108"/>
                </a:cubicBezTo>
                <a:cubicBezTo>
                  <a:pt x="0" y="107"/>
                  <a:pt x="0" y="107"/>
                  <a:pt x="0" y="107"/>
                </a:cubicBezTo>
                <a:cubicBezTo>
                  <a:pt x="1" y="109"/>
                  <a:pt x="1" y="109"/>
                  <a:pt x="1" y="109"/>
                </a:cubicBezTo>
                <a:cubicBezTo>
                  <a:pt x="0" y="111"/>
                  <a:pt x="0" y="111"/>
                  <a:pt x="0" y="111"/>
                </a:cubicBezTo>
                <a:close/>
                <a:moveTo>
                  <a:pt x="139" y="192"/>
                </a:moveTo>
                <a:cubicBezTo>
                  <a:pt x="139" y="193"/>
                  <a:pt x="139" y="193"/>
                  <a:pt x="139" y="193"/>
                </a:cubicBezTo>
                <a:cubicBezTo>
                  <a:pt x="140" y="194"/>
                  <a:pt x="140" y="194"/>
                  <a:pt x="140" y="194"/>
                </a:cubicBezTo>
                <a:cubicBezTo>
                  <a:pt x="140" y="194"/>
                  <a:pt x="140" y="194"/>
                  <a:pt x="140" y="194"/>
                </a:cubicBezTo>
                <a:cubicBezTo>
                  <a:pt x="140" y="195"/>
                  <a:pt x="140" y="195"/>
                  <a:pt x="140" y="195"/>
                </a:cubicBezTo>
                <a:cubicBezTo>
                  <a:pt x="141" y="195"/>
                  <a:pt x="141" y="195"/>
                  <a:pt x="141" y="195"/>
                </a:cubicBezTo>
                <a:cubicBezTo>
                  <a:pt x="142" y="194"/>
                  <a:pt x="142" y="194"/>
                  <a:pt x="142" y="194"/>
                </a:cubicBezTo>
                <a:cubicBezTo>
                  <a:pt x="143" y="195"/>
                  <a:pt x="143" y="195"/>
                  <a:pt x="143" y="195"/>
                </a:cubicBezTo>
                <a:cubicBezTo>
                  <a:pt x="142" y="195"/>
                  <a:pt x="142" y="195"/>
                  <a:pt x="142" y="195"/>
                </a:cubicBezTo>
                <a:cubicBezTo>
                  <a:pt x="139" y="195"/>
                  <a:pt x="139" y="195"/>
                  <a:pt x="139" y="195"/>
                </a:cubicBezTo>
                <a:cubicBezTo>
                  <a:pt x="139" y="196"/>
                  <a:pt x="139" y="196"/>
                  <a:pt x="139" y="196"/>
                </a:cubicBezTo>
                <a:cubicBezTo>
                  <a:pt x="138" y="196"/>
                  <a:pt x="138" y="196"/>
                  <a:pt x="138" y="196"/>
                </a:cubicBezTo>
                <a:cubicBezTo>
                  <a:pt x="138" y="196"/>
                  <a:pt x="138" y="196"/>
                  <a:pt x="138" y="196"/>
                </a:cubicBezTo>
                <a:cubicBezTo>
                  <a:pt x="138" y="196"/>
                  <a:pt x="138" y="196"/>
                  <a:pt x="138" y="196"/>
                </a:cubicBezTo>
                <a:cubicBezTo>
                  <a:pt x="137" y="196"/>
                  <a:pt x="137" y="196"/>
                  <a:pt x="137" y="196"/>
                </a:cubicBezTo>
                <a:cubicBezTo>
                  <a:pt x="136" y="196"/>
                  <a:pt x="136" y="196"/>
                  <a:pt x="136" y="196"/>
                </a:cubicBezTo>
                <a:cubicBezTo>
                  <a:pt x="135" y="196"/>
                  <a:pt x="135" y="196"/>
                  <a:pt x="135" y="196"/>
                </a:cubicBezTo>
                <a:cubicBezTo>
                  <a:pt x="135" y="196"/>
                  <a:pt x="135" y="196"/>
                  <a:pt x="135" y="196"/>
                </a:cubicBezTo>
                <a:cubicBezTo>
                  <a:pt x="133" y="196"/>
                  <a:pt x="133" y="196"/>
                  <a:pt x="133" y="196"/>
                </a:cubicBezTo>
                <a:cubicBezTo>
                  <a:pt x="132" y="195"/>
                  <a:pt x="132" y="195"/>
                  <a:pt x="132" y="195"/>
                </a:cubicBezTo>
                <a:cubicBezTo>
                  <a:pt x="133" y="194"/>
                  <a:pt x="133" y="194"/>
                  <a:pt x="133" y="194"/>
                </a:cubicBezTo>
                <a:cubicBezTo>
                  <a:pt x="134" y="194"/>
                  <a:pt x="134" y="194"/>
                  <a:pt x="134" y="194"/>
                </a:cubicBezTo>
                <a:cubicBezTo>
                  <a:pt x="137" y="193"/>
                  <a:pt x="137" y="193"/>
                  <a:pt x="137" y="193"/>
                </a:cubicBezTo>
                <a:cubicBezTo>
                  <a:pt x="139" y="193"/>
                  <a:pt x="139" y="193"/>
                  <a:pt x="139" y="193"/>
                </a:cubicBezTo>
                <a:cubicBezTo>
                  <a:pt x="139" y="192"/>
                  <a:pt x="139" y="192"/>
                  <a:pt x="139" y="192"/>
                </a:cubicBezTo>
                <a:close/>
                <a:moveTo>
                  <a:pt x="180" y="222"/>
                </a:moveTo>
                <a:cubicBezTo>
                  <a:pt x="181" y="222"/>
                  <a:pt x="181" y="222"/>
                  <a:pt x="181" y="222"/>
                </a:cubicBezTo>
                <a:cubicBezTo>
                  <a:pt x="181" y="222"/>
                  <a:pt x="181" y="222"/>
                  <a:pt x="181" y="222"/>
                </a:cubicBezTo>
                <a:cubicBezTo>
                  <a:pt x="181" y="223"/>
                  <a:pt x="181" y="223"/>
                  <a:pt x="181" y="223"/>
                </a:cubicBezTo>
                <a:cubicBezTo>
                  <a:pt x="180" y="222"/>
                  <a:pt x="180" y="222"/>
                  <a:pt x="180" y="222"/>
                </a:cubicBezTo>
                <a:close/>
                <a:moveTo>
                  <a:pt x="187" y="226"/>
                </a:moveTo>
                <a:cubicBezTo>
                  <a:pt x="187" y="227"/>
                  <a:pt x="187" y="227"/>
                  <a:pt x="187" y="227"/>
                </a:cubicBezTo>
                <a:cubicBezTo>
                  <a:pt x="188" y="226"/>
                  <a:pt x="188" y="226"/>
                  <a:pt x="188" y="226"/>
                </a:cubicBezTo>
                <a:cubicBezTo>
                  <a:pt x="187" y="226"/>
                  <a:pt x="187" y="226"/>
                  <a:pt x="187" y="226"/>
                </a:cubicBezTo>
                <a:close/>
                <a:moveTo>
                  <a:pt x="172" y="243"/>
                </a:moveTo>
                <a:cubicBezTo>
                  <a:pt x="172" y="244"/>
                  <a:pt x="172" y="244"/>
                  <a:pt x="172" y="244"/>
                </a:cubicBezTo>
                <a:cubicBezTo>
                  <a:pt x="173" y="244"/>
                  <a:pt x="173" y="244"/>
                  <a:pt x="173" y="244"/>
                </a:cubicBezTo>
                <a:cubicBezTo>
                  <a:pt x="173" y="244"/>
                  <a:pt x="173" y="244"/>
                  <a:pt x="173" y="244"/>
                </a:cubicBezTo>
                <a:cubicBezTo>
                  <a:pt x="173" y="243"/>
                  <a:pt x="173" y="243"/>
                  <a:pt x="173" y="243"/>
                </a:cubicBezTo>
                <a:cubicBezTo>
                  <a:pt x="172" y="243"/>
                  <a:pt x="172" y="243"/>
                  <a:pt x="172" y="243"/>
                </a:cubicBezTo>
                <a:close/>
                <a:moveTo>
                  <a:pt x="172" y="241"/>
                </a:moveTo>
                <a:cubicBezTo>
                  <a:pt x="172" y="242"/>
                  <a:pt x="172" y="242"/>
                  <a:pt x="172" y="242"/>
                </a:cubicBezTo>
                <a:cubicBezTo>
                  <a:pt x="173" y="242"/>
                  <a:pt x="173" y="242"/>
                  <a:pt x="173" y="242"/>
                </a:cubicBezTo>
                <a:cubicBezTo>
                  <a:pt x="173" y="241"/>
                  <a:pt x="173" y="241"/>
                  <a:pt x="173" y="241"/>
                </a:cubicBezTo>
                <a:cubicBezTo>
                  <a:pt x="172" y="241"/>
                  <a:pt x="172" y="241"/>
                  <a:pt x="172" y="241"/>
                </a:cubicBezTo>
                <a:close/>
                <a:moveTo>
                  <a:pt x="171" y="242"/>
                </a:moveTo>
                <a:cubicBezTo>
                  <a:pt x="171" y="242"/>
                  <a:pt x="171" y="242"/>
                  <a:pt x="171" y="242"/>
                </a:cubicBezTo>
                <a:cubicBezTo>
                  <a:pt x="171" y="241"/>
                  <a:pt x="171" y="241"/>
                  <a:pt x="171" y="241"/>
                </a:cubicBezTo>
                <a:cubicBezTo>
                  <a:pt x="172" y="240"/>
                  <a:pt x="172" y="240"/>
                  <a:pt x="172" y="240"/>
                </a:cubicBezTo>
                <a:cubicBezTo>
                  <a:pt x="172" y="241"/>
                  <a:pt x="172" y="241"/>
                  <a:pt x="172" y="241"/>
                </a:cubicBezTo>
                <a:cubicBezTo>
                  <a:pt x="171" y="242"/>
                  <a:pt x="171" y="242"/>
                  <a:pt x="171" y="242"/>
                </a:cubicBezTo>
                <a:close/>
                <a:moveTo>
                  <a:pt x="167" y="238"/>
                </a:moveTo>
                <a:cubicBezTo>
                  <a:pt x="167" y="237"/>
                  <a:pt x="167" y="237"/>
                  <a:pt x="167" y="237"/>
                </a:cubicBezTo>
                <a:cubicBezTo>
                  <a:pt x="167" y="236"/>
                  <a:pt x="167" y="236"/>
                  <a:pt x="167" y="236"/>
                </a:cubicBezTo>
                <a:cubicBezTo>
                  <a:pt x="168" y="235"/>
                  <a:pt x="168" y="235"/>
                  <a:pt x="168" y="235"/>
                </a:cubicBezTo>
                <a:cubicBezTo>
                  <a:pt x="168" y="234"/>
                  <a:pt x="168" y="234"/>
                  <a:pt x="168" y="234"/>
                </a:cubicBezTo>
                <a:cubicBezTo>
                  <a:pt x="169" y="233"/>
                  <a:pt x="169" y="233"/>
                  <a:pt x="169" y="233"/>
                </a:cubicBezTo>
                <a:cubicBezTo>
                  <a:pt x="169" y="232"/>
                  <a:pt x="169" y="232"/>
                  <a:pt x="169" y="232"/>
                </a:cubicBezTo>
                <a:cubicBezTo>
                  <a:pt x="170" y="233"/>
                  <a:pt x="170" y="233"/>
                  <a:pt x="170" y="233"/>
                </a:cubicBezTo>
                <a:cubicBezTo>
                  <a:pt x="170" y="235"/>
                  <a:pt x="170" y="235"/>
                  <a:pt x="170" y="235"/>
                </a:cubicBezTo>
                <a:cubicBezTo>
                  <a:pt x="170" y="235"/>
                  <a:pt x="170" y="235"/>
                  <a:pt x="170" y="235"/>
                </a:cubicBezTo>
                <a:cubicBezTo>
                  <a:pt x="169" y="237"/>
                  <a:pt x="169" y="237"/>
                  <a:pt x="169" y="237"/>
                </a:cubicBezTo>
                <a:cubicBezTo>
                  <a:pt x="169" y="237"/>
                  <a:pt x="169" y="237"/>
                  <a:pt x="169" y="237"/>
                </a:cubicBezTo>
                <a:cubicBezTo>
                  <a:pt x="168" y="238"/>
                  <a:pt x="168" y="238"/>
                  <a:pt x="168" y="238"/>
                </a:cubicBezTo>
                <a:cubicBezTo>
                  <a:pt x="167" y="238"/>
                  <a:pt x="167" y="238"/>
                  <a:pt x="167" y="238"/>
                </a:cubicBezTo>
                <a:close/>
                <a:moveTo>
                  <a:pt x="192" y="241"/>
                </a:moveTo>
                <a:cubicBezTo>
                  <a:pt x="195" y="240"/>
                  <a:pt x="195" y="240"/>
                  <a:pt x="195" y="240"/>
                </a:cubicBezTo>
                <a:cubicBezTo>
                  <a:pt x="195" y="239"/>
                  <a:pt x="195" y="239"/>
                  <a:pt x="195" y="239"/>
                </a:cubicBezTo>
                <a:cubicBezTo>
                  <a:pt x="192" y="237"/>
                  <a:pt x="192" y="237"/>
                  <a:pt x="192" y="237"/>
                </a:cubicBezTo>
                <a:cubicBezTo>
                  <a:pt x="192" y="237"/>
                  <a:pt x="192" y="237"/>
                  <a:pt x="192" y="237"/>
                </a:cubicBezTo>
                <a:cubicBezTo>
                  <a:pt x="192" y="238"/>
                  <a:pt x="192" y="238"/>
                  <a:pt x="192" y="238"/>
                </a:cubicBezTo>
                <a:cubicBezTo>
                  <a:pt x="191" y="239"/>
                  <a:pt x="191" y="239"/>
                  <a:pt x="191" y="239"/>
                </a:cubicBezTo>
                <a:cubicBezTo>
                  <a:pt x="192" y="240"/>
                  <a:pt x="192" y="240"/>
                  <a:pt x="192" y="240"/>
                </a:cubicBezTo>
                <a:cubicBezTo>
                  <a:pt x="192" y="241"/>
                  <a:pt x="192" y="241"/>
                  <a:pt x="192" y="241"/>
                </a:cubicBezTo>
                <a:close/>
                <a:moveTo>
                  <a:pt x="191" y="242"/>
                </a:moveTo>
                <a:cubicBezTo>
                  <a:pt x="191" y="243"/>
                  <a:pt x="191" y="243"/>
                  <a:pt x="191" y="243"/>
                </a:cubicBezTo>
                <a:cubicBezTo>
                  <a:pt x="193" y="243"/>
                  <a:pt x="193" y="243"/>
                  <a:pt x="193" y="243"/>
                </a:cubicBezTo>
                <a:cubicBezTo>
                  <a:pt x="194" y="244"/>
                  <a:pt x="194" y="244"/>
                  <a:pt x="194" y="244"/>
                </a:cubicBezTo>
                <a:cubicBezTo>
                  <a:pt x="195" y="243"/>
                  <a:pt x="195" y="243"/>
                  <a:pt x="195" y="243"/>
                </a:cubicBezTo>
                <a:cubicBezTo>
                  <a:pt x="193" y="242"/>
                  <a:pt x="193" y="242"/>
                  <a:pt x="193" y="242"/>
                </a:cubicBezTo>
                <a:cubicBezTo>
                  <a:pt x="192" y="242"/>
                  <a:pt x="192" y="242"/>
                  <a:pt x="192" y="242"/>
                </a:cubicBezTo>
                <a:cubicBezTo>
                  <a:pt x="191" y="242"/>
                  <a:pt x="191" y="242"/>
                  <a:pt x="191" y="242"/>
                </a:cubicBezTo>
                <a:close/>
                <a:moveTo>
                  <a:pt x="192" y="245"/>
                </a:moveTo>
                <a:cubicBezTo>
                  <a:pt x="192" y="245"/>
                  <a:pt x="192" y="245"/>
                  <a:pt x="192" y="245"/>
                </a:cubicBezTo>
                <a:cubicBezTo>
                  <a:pt x="193" y="244"/>
                  <a:pt x="193" y="244"/>
                  <a:pt x="193" y="244"/>
                </a:cubicBezTo>
                <a:cubicBezTo>
                  <a:pt x="192" y="245"/>
                  <a:pt x="192" y="245"/>
                  <a:pt x="192" y="245"/>
                </a:cubicBezTo>
                <a:close/>
                <a:moveTo>
                  <a:pt x="186" y="266"/>
                </a:moveTo>
                <a:cubicBezTo>
                  <a:pt x="186" y="265"/>
                  <a:pt x="186" y="265"/>
                  <a:pt x="186" y="265"/>
                </a:cubicBezTo>
                <a:cubicBezTo>
                  <a:pt x="186" y="265"/>
                  <a:pt x="186" y="265"/>
                  <a:pt x="186" y="265"/>
                </a:cubicBezTo>
                <a:cubicBezTo>
                  <a:pt x="186" y="266"/>
                  <a:pt x="186" y="266"/>
                  <a:pt x="186" y="266"/>
                </a:cubicBezTo>
                <a:close/>
                <a:moveTo>
                  <a:pt x="178" y="273"/>
                </a:moveTo>
                <a:cubicBezTo>
                  <a:pt x="177" y="272"/>
                  <a:pt x="177" y="272"/>
                  <a:pt x="177" y="272"/>
                </a:cubicBezTo>
                <a:cubicBezTo>
                  <a:pt x="178" y="271"/>
                  <a:pt x="178" y="271"/>
                  <a:pt x="178" y="271"/>
                </a:cubicBezTo>
                <a:cubicBezTo>
                  <a:pt x="178" y="270"/>
                  <a:pt x="178" y="270"/>
                  <a:pt x="178" y="270"/>
                </a:cubicBezTo>
                <a:cubicBezTo>
                  <a:pt x="179" y="270"/>
                  <a:pt x="179" y="270"/>
                  <a:pt x="179" y="270"/>
                </a:cubicBezTo>
                <a:cubicBezTo>
                  <a:pt x="179" y="270"/>
                  <a:pt x="179" y="270"/>
                  <a:pt x="179" y="270"/>
                </a:cubicBezTo>
                <a:cubicBezTo>
                  <a:pt x="179" y="271"/>
                  <a:pt x="179" y="271"/>
                  <a:pt x="179" y="271"/>
                </a:cubicBezTo>
                <a:cubicBezTo>
                  <a:pt x="178" y="273"/>
                  <a:pt x="178" y="273"/>
                  <a:pt x="178" y="273"/>
                </a:cubicBezTo>
                <a:close/>
                <a:moveTo>
                  <a:pt x="170" y="272"/>
                </a:moveTo>
                <a:cubicBezTo>
                  <a:pt x="170" y="271"/>
                  <a:pt x="170" y="271"/>
                  <a:pt x="170" y="271"/>
                </a:cubicBezTo>
                <a:cubicBezTo>
                  <a:pt x="171" y="270"/>
                  <a:pt x="171" y="270"/>
                  <a:pt x="171" y="270"/>
                </a:cubicBezTo>
                <a:cubicBezTo>
                  <a:pt x="170" y="270"/>
                  <a:pt x="170" y="270"/>
                  <a:pt x="170" y="270"/>
                </a:cubicBezTo>
                <a:cubicBezTo>
                  <a:pt x="169" y="268"/>
                  <a:pt x="169" y="268"/>
                  <a:pt x="169" y="268"/>
                </a:cubicBezTo>
                <a:cubicBezTo>
                  <a:pt x="170" y="268"/>
                  <a:pt x="170" y="268"/>
                  <a:pt x="170" y="268"/>
                </a:cubicBezTo>
                <a:cubicBezTo>
                  <a:pt x="169" y="267"/>
                  <a:pt x="169" y="267"/>
                  <a:pt x="169" y="267"/>
                </a:cubicBezTo>
                <a:cubicBezTo>
                  <a:pt x="169" y="264"/>
                  <a:pt x="169" y="264"/>
                  <a:pt x="169" y="264"/>
                </a:cubicBezTo>
                <a:cubicBezTo>
                  <a:pt x="169" y="263"/>
                  <a:pt x="169" y="263"/>
                  <a:pt x="169" y="263"/>
                </a:cubicBezTo>
                <a:cubicBezTo>
                  <a:pt x="168" y="262"/>
                  <a:pt x="168" y="262"/>
                  <a:pt x="168" y="262"/>
                </a:cubicBezTo>
                <a:cubicBezTo>
                  <a:pt x="168" y="260"/>
                  <a:pt x="168" y="260"/>
                  <a:pt x="168" y="260"/>
                </a:cubicBezTo>
                <a:cubicBezTo>
                  <a:pt x="169" y="259"/>
                  <a:pt x="169" y="259"/>
                  <a:pt x="169" y="259"/>
                </a:cubicBezTo>
                <a:cubicBezTo>
                  <a:pt x="170" y="260"/>
                  <a:pt x="170" y="260"/>
                  <a:pt x="170" y="260"/>
                </a:cubicBezTo>
                <a:cubicBezTo>
                  <a:pt x="171" y="260"/>
                  <a:pt x="171" y="260"/>
                  <a:pt x="171" y="260"/>
                </a:cubicBezTo>
                <a:cubicBezTo>
                  <a:pt x="170" y="259"/>
                  <a:pt x="170" y="259"/>
                  <a:pt x="170" y="259"/>
                </a:cubicBezTo>
                <a:cubicBezTo>
                  <a:pt x="170" y="258"/>
                  <a:pt x="170" y="258"/>
                  <a:pt x="170" y="258"/>
                </a:cubicBezTo>
                <a:cubicBezTo>
                  <a:pt x="169" y="258"/>
                  <a:pt x="169" y="258"/>
                  <a:pt x="169" y="258"/>
                </a:cubicBezTo>
                <a:cubicBezTo>
                  <a:pt x="170" y="256"/>
                  <a:pt x="170" y="256"/>
                  <a:pt x="170" y="256"/>
                </a:cubicBezTo>
                <a:cubicBezTo>
                  <a:pt x="169" y="254"/>
                  <a:pt x="169" y="254"/>
                  <a:pt x="169" y="254"/>
                </a:cubicBezTo>
                <a:cubicBezTo>
                  <a:pt x="169" y="251"/>
                  <a:pt x="169" y="251"/>
                  <a:pt x="169" y="251"/>
                </a:cubicBezTo>
                <a:cubicBezTo>
                  <a:pt x="170" y="249"/>
                  <a:pt x="170" y="249"/>
                  <a:pt x="170" y="249"/>
                </a:cubicBezTo>
                <a:cubicBezTo>
                  <a:pt x="169" y="247"/>
                  <a:pt x="169" y="247"/>
                  <a:pt x="169" y="247"/>
                </a:cubicBezTo>
                <a:cubicBezTo>
                  <a:pt x="169" y="246"/>
                  <a:pt x="169" y="246"/>
                  <a:pt x="169" y="246"/>
                </a:cubicBezTo>
                <a:cubicBezTo>
                  <a:pt x="170" y="245"/>
                  <a:pt x="170" y="245"/>
                  <a:pt x="170" y="245"/>
                </a:cubicBezTo>
                <a:cubicBezTo>
                  <a:pt x="170" y="244"/>
                  <a:pt x="170" y="244"/>
                  <a:pt x="170" y="244"/>
                </a:cubicBezTo>
                <a:cubicBezTo>
                  <a:pt x="170" y="243"/>
                  <a:pt x="170" y="243"/>
                  <a:pt x="170" y="243"/>
                </a:cubicBezTo>
                <a:cubicBezTo>
                  <a:pt x="171" y="244"/>
                  <a:pt x="171" y="244"/>
                  <a:pt x="171" y="244"/>
                </a:cubicBezTo>
                <a:cubicBezTo>
                  <a:pt x="173" y="245"/>
                  <a:pt x="173" y="245"/>
                  <a:pt x="173" y="245"/>
                </a:cubicBezTo>
                <a:cubicBezTo>
                  <a:pt x="173" y="246"/>
                  <a:pt x="173" y="246"/>
                  <a:pt x="173" y="246"/>
                </a:cubicBezTo>
                <a:cubicBezTo>
                  <a:pt x="174" y="245"/>
                  <a:pt x="174" y="245"/>
                  <a:pt x="174" y="245"/>
                </a:cubicBezTo>
                <a:cubicBezTo>
                  <a:pt x="174" y="244"/>
                  <a:pt x="174" y="244"/>
                  <a:pt x="174" y="244"/>
                </a:cubicBezTo>
                <a:cubicBezTo>
                  <a:pt x="174" y="246"/>
                  <a:pt x="174" y="246"/>
                  <a:pt x="174" y="246"/>
                </a:cubicBezTo>
                <a:cubicBezTo>
                  <a:pt x="176" y="247"/>
                  <a:pt x="176" y="247"/>
                  <a:pt x="176" y="247"/>
                </a:cubicBezTo>
                <a:cubicBezTo>
                  <a:pt x="178" y="249"/>
                  <a:pt x="178" y="249"/>
                  <a:pt x="178" y="249"/>
                </a:cubicBezTo>
                <a:cubicBezTo>
                  <a:pt x="179" y="250"/>
                  <a:pt x="179" y="250"/>
                  <a:pt x="179" y="250"/>
                </a:cubicBezTo>
                <a:cubicBezTo>
                  <a:pt x="180" y="249"/>
                  <a:pt x="180" y="249"/>
                  <a:pt x="180" y="249"/>
                </a:cubicBezTo>
                <a:cubicBezTo>
                  <a:pt x="181" y="249"/>
                  <a:pt x="181" y="249"/>
                  <a:pt x="181" y="249"/>
                </a:cubicBezTo>
                <a:cubicBezTo>
                  <a:pt x="182" y="250"/>
                  <a:pt x="182" y="250"/>
                  <a:pt x="182" y="250"/>
                </a:cubicBezTo>
                <a:cubicBezTo>
                  <a:pt x="182" y="249"/>
                  <a:pt x="182" y="249"/>
                  <a:pt x="182" y="249"/>
                </a:cubicBezTo>
                <a:cubicBezTo>
                  <a:pt x="183" y="248"/>
                  <a:pt x="183" y="248"/>
                  <a:pt x="183" y="248"/>
                </a:cubicBezTo>
                <a:cubicBezTo>
                  <a:pt x="187" y="249"/>
                  <a:pt x="187" y="249"/>
                  <a:pt x="187" y="249"/>
                </a:cubicBezTo>
                <a:cubicBezTo>
                  <a:pt x="187" y="248"/>
                  <a:pt x="187" y="248"/>
                  <a:pt x="187" y="248"/>
                </a:cubicBezTo>
                <a:cubicBezTo>
                  <a:pt x="188" y="247"/>
                  <a:pt x="188" y="247"/>
                  <a:pt x="188" y="247"/>
                </a:cubicBezTo>
                <a:cubicBezTo>
                  <a:pt x="189" y="247"/>
                  <a:pt x="189" y="247"/>
                  <a:pt x="189" y="247"/>
                </a:cubicBezTo>
                <a:cubicBezTo>
                  <a:pt x="189" y="248"/>
                  <a:pt x="189" y="248"/>
                  <a:pt x="189" y="248"/>
                </a:cubicBezTo>
                <a:cubicBezTo>
                  <a:pt x="190" y="247"/>
                  <a:pt x="190" y="247"/>
                  <a:pt x="190" y="247"/>
                </a:cubicBezTo>
                <a:cubicBezTo>
                  <a:pt x="191" y="247"/>
                  <a:pt x="191" y="247"/>
                  <a:pt x="191" y="247"/>
                </a:cubicBezTo>
                <a:cubicBezTo>
                  <a:pt x="192" y="248"/>
                  <a:pt x="192" y="248"/>
                  <a:pt x="192" y="248"/>
                </a:cubicBezTo>
                <a:cubicBezTo>
                  <a:pt x="192" y="249"/>
                  <a:pt x="192" y="249"/>
                  <a:pt x="192" y="249"/>
                </a:cubicBezTo>
                <a:cubicBezTo>
                  <a:pt x="191" y="252"/>
                  <a:pt x="191" y="252"/>
                  <a:pt x="191" y="252"/>
                </a:cubicBezTo>
                <a:cubicBezTo>
                  <a:pt x="190" y="253"/>
                  <a:pt x="190" y="253"/>
                  <a:pt x="190" y="253"/>
                </a:cubicBezTo>
                <a:cubicBezTo>
                  <a:pt x="190" y="256"/>
                  <a:pt x="190" y="256"/>
                  <a:pt x="190" y="256"/>
                </a:cubicBezTo>
                <a:cubicBezTo>
                  <a:pt x="189" y="257"/>
                  <a:pt x="189" y="257"/>
                  <a:pt x="189" y="257"/>
                </a:cubicBezTo>
                <a:cubicBezTo>
                  <a:pt x="189" y="258"/>
                  <a:pt x="189" y="258"/>
                  <a:pt x="189" y="258"/>
                </a:cubicBezTo>
                <a:cubicBezTo>
                  <a:pt x="189" y="259"/>
                  <a:pt x="189" y="259"/>
                  <a:pt x="189" y="259"/>
                </a:cubicBezTo>
                <a:cubicBezTo>
                  <a:pt x="189" y="260"/>
                  <a:pt x="189" y="260"/>
                  <a:pt x="189" y="260"/>
                </a:cubicBezTo>
                <a:cubicBezTo>
                  <a:pt x="188" y="262"/>
                  <a:pt x="188" y="262"/>
                  <a:pt x="188" y="262"/>
                </a:cubicBezTo>
                <a:cubicBezTo>
                  <a:pt x="188" y="261"/>
                  <a:pt x="188" y="261"/>
                  <a:pt x="188" y="261"/>
                </a:cubicBezTo>
                <a:cubicBezTo>
                  <a:pt x="188" y="259"/>
                  <a:pt x="188" y="259"/>
                  <a:pt x="188" y="259"/>
                </a:cubicBezTo>
                <a:cubicBezTo>
                  <a:pt x="187" y="260"/>
                  <a:pt x="187" y="260"/>
                  <a:pt x="187" y="260"/>
                </a:cubicBezTo>
                <a:cubicBezTo>
                  <a:pt x="186" y="261"/>
                  <a:pt x="186" y="261"/>
                  <a:pt x="186" y="261"/>
                </a:cubicBezTo>
                <a:cubicBezTo>
                  <a:pt x="186" y="263"/>
                  <a:pt x="186" y="263"/>
                  <a:pt x="186" y="263"/>
                </a:cubicBezTo>
                <a:cubicBezTo>
                  <a:pt x="186" y="264"/>
                  <a:pt x="186" y="264"/>
                  <a:pt x="186" y="264"/>
                </a:cubicBezTo>
                <a:cubicBezTo>
                  <a:pt x="185" y="264"/>
                  <a:pt x="185" y="264"/>
                  <a:pt x="185" y="264"/>
                </a:cubicBezTo>
                <a:cubicBezTo>
                  <a:pt x="185" y="265"/>
                  <a:pt x="185" y="265"/>
                  <a:pt x="185" y="265"/>
                </a:cubicBezTo>
                <a:cubicBezTo>
                  <a:pt x="184" y="266"/>
                  <a:pt x="184" y="266"/>
                  <a:pt x="184" y="266"/>
                </a:cubicBezTo>
                <a:cubicBezTo>
                  <a:pt x="185" y="267"/>
                  <a:pt x="185" y="267"/>
                  <a:pt x="185" y="267"/>
                </a:cubicBezTo>
                <a:cubicBezTo>
                  <a:pt x="185" y="268"/>
                  <a:pt x="185" y="268"/>
                  <a:pt x="185" y="268"/>
                </a:cubicBezTo>
                <a:cubicBezTo>
                  <a:pt x="183" y="270"/>
                  <a:pt x="183" y="270"/>
                  <a:pt x="183" y="270"/>
                </a:cubicBezTo>
                <a:cubicBezTo>
                  <a:pt x="183" y="270"/>
                  <a:pt x="183" y="270"/>
                  <a:pt x="183" y="270"/>
                </a:cubicBezTo>
                <a:cubicBezTo>
                  <a:pt x="182" y="270"/>
                  <a:pt x="182" y="270"/>
                  <a:pt x="182" y="270"/>
                </a:cubicBezTo>
                <a:cubicBezTo>
                  <a:pt x="182" y="268"/>
                  <a:pt x="182" y="268"/>
                  <a:pt x="182" y="268"/>
                </a:cubicBezTo>
                <a:cubicBezTo>
                  <a:pt x="183" y="269"/>
                  <a:pt x="183" y="269"/>
                  <a:pt x="183" y="269"/>
                </a:cubicBezTo>
                <a:cubicBezTo>
                  <a:pt x="183" y="268"/>
                  <a:pt x="183" y="268"/>
                  <a:pt x="183" y="268"/>
                </a:cubicBezTo>
                <a:cubicBezTo>
                  <a:pt x="182" y="267"/>
                  <a:pt x="182" y="267"/>
                  <a:pt x="182" y="267"/>
                </a:cubicBezTo>
                <a:cubicBezTo>
                  <a:pt x="181" y="267"/>
                  <a:pt x="181" y="267"/>
                  <a:pt x="181" y="267"/>
                </a:cubicBezTo>
                <a:cubicBezTo>
                  <a:pt x="181" y="269"/>
                  <a:pt x="181" y="269"/>
                  <a:pt x="181" y="269"/>
                </a:cubicBezTo>
                <a:cubicBezTo>
                  <a:pt x="180" y="268"/>
                  <a:pt x="180" y="268"/>
                  <a:pt x="180" y="268"/>
                </a:cubicBezTo>
                <a:cubicBezTo>
                  <a:pt x="180" y="267"/>
                  <a:pt x="180" y="267"/>
                  <a:pt x="180" y="267"/>
                </a:cubicBezTo>
                <a:cubicBezTo>
                  <a:pt x="179" y="268"/>
                  <a:pt x="179" y="268"/>
                  <a:pt x="179" y="268"/>
                </a:cubicBezTo>
                <a:cubicBezTo>
                  <a:pt x="178" y="269"/>
                  <a:pt x="178" y="269"/>
                  <a:pt x="178" y="269"/>
                </a:cubicBezTo>
                <a:cubicBezTo>
                  <a:pt x="178" y="270"/>
                  <a:pt x="178" y="270"/>
                  <a:pt x="178" y="270"/>
                </a:cubicBezTo>
                <a:cubicBezTo>
                  <a:pt x="177" y="269"/>
                  <a:pt x="177" y="269"/>
                  <a:pt x="177" y="269"/>
                </a:cubicBezTo>
                <a:cubicBezTo>
                  <a:pt x="177" y="271"/>
                  <a:pt x="177" y="271"/>
                  <a:pt x="177" y="271"/>
                </a:cubicBezTo>
                <a:cubicBezTo>
                  <a:pt x="176" y="272"/>
                  <a:pt x="176" y="272"/>
                  <a:pt x="176" y="272"/>
                </a:cubicBezTo>
                <a:cubicBezTo>
                  <a:pt x="175" y="274"/>
                  <a:pt x="175" y="274"/>
                  <a:pt x="175" y="274"/>
                </a:cubicBezTo>
                <a:cubicBezTo>
                  <a:pt x="174" y="274"/>
                  <a:pt x="174" y="274"/>
                  <a:pt x="174" y="274"/>
                </a:cubicBezTo>
                <a:cubicBezTo>
                  <a:pt x="174" y="273"/>
                  <a:pt x="174" y="273"/>
                  <a:pt x="174" y="273"/>
                </a:cubicBezTo>
                <a:cubicBezTo>
                  <a:pt x="174" y="272"/>
                  <a:pt x="174" y="272"/>
                  <a:pt x="174" y="272"/>
                </a:cubicBezTo>
                <a:cubicBezTo>
                  <a:pt x="173" y="273"/>
                  <a:pt x="173" y="273"/>
                  <a:pt x="173" y="273"/>
                </a:cubicBezTo>
                <a:cubicBezTo>
                  <a:pt x="172" y="272"/>
                  <a:pt x="172" y="272"/>
                  <a:pt x="172" y="272"/>
                </a:cubicBezTo>
                <a:cubicBezTo>
                  <a:pt x="171" y="273"/>
                  <a:pt x="171" y="273"/>
                  <a:pt x="171" y="273"/>
                </a:cubicBezTo>
                <a:cubicBezTo>
                  <a:pt x="171" y="273"/>
                  <a:pt x="170" y="272"/>
                  <a:pt x="170" y="272"/>
                </a:cubicBezTo>
                <a:close/>
                <a:moveTo>
                  <a:pt x="2" y="174"/>
                </a:moveTo>
                <a:cubicBezTo>
                  <a:pt x="3" y="175"/>
                  <a:pt x="3" y="175"/>
                  <a:pt x="3" y="175"/>
                </a:cubicBezTo>
                <a:cubicBezTo>
                  <a:pt x="4" y="175"/>
                  <a:pt x="4" y="175"/>
                  <a:pt x="4" y="175"/>
                </a:cubicBezTo>
                <a:cubicBezTo>
                  <a:pt x="7" y="177"/>
                  <a:pt x="7" y="177"/>
                  <a:pt x="7" y="177"/>
                </a:cubicBezTo>
                <a:cubicBezTo>
                  <a:pt x="7" y="178"/>
                  <a:pt x="7" y="178"/>
                  <a:pt x="7" y="178"/>
                </a:cubicBezTo>
                <a:cubicBezTo>
                  <a:pt x="7" y="179"/>
                  <a:pt x="7" y="179"/>
                  <a:pt x="7" y="179"/>
                </a:cubicBezTo>
                <a:cubicBezTo>
                  <a:pt x="9" y="179"/>
                  <a:pt x="9" y="179"/>
                  <a:pt x="9" y="179"/>
                </a:cubicBezTo>
                <a:cubicBezTo>
                  <a:pt x="9" y="180"/>
                  <a:pt x="9" y="180"/>
                  <a:pt x="9" y="180"/>
                </a:cubicBezTo>
                <a:cubicBezTo>
                  <a:pt x="11" y="180"/>
                  <a:pt x="11" y="180"/>
                  <a:pt x="11" y="180"/>
                </a:cubicBezTo>
                <a:cubicBezTo>
                  <a:pt x="12" y="180"/>
                  <a:pt x="12" y="180"/>
                  <a:pt x="12" y="180"/>
                </a:cubicBezTo>
                <a:cubicBezTo>
                  <a:pt x="12" y="181"/>
                  <a:pt x="12" y="181"/>
                  <a:pt x="12" y="181"/>
                </a:cubicBezTo>
                <a:cubicBezTo>
                  <a:pt x="14" y="181"/>
                  <a:pt x="14" y="181"/>
                  <a:pt x="14" y="181"/>
                </a:cubicBezTo>
                <a:cubicBezTo>
                  <a:pt x="15" y="180"/>
                  <a:pt x="15" y="180"/>
                  <a:pt x="15" y="180"/>
                </a:cubicBezTo>
                <a:cubicBezTo>
                  <a:pt x="16" y="181"/>
                  <a:pt x="16" y="181"/>
                  <a:pt x="16" y="181"/>
                </a:cubicBezTo>
                <a:cubicBezTo>
                  <a:pt x="16" y="181"/>
                  <a:pt x="16" y="181"/>
                  <a:pt x="16" y="181"/>
                </a:cubicBezTo>
                <a:cubicBezTo>
                  <a:pt x="17" y="181"/>
                  <a:pt x="17" y="181"/>
                  <a:pt x="17" y="181"/>
                </a:cubicBezTo>
                <a:cubicBezTo>
                  <a:pt x="19" y="181"/>
                  <a:pt x="19" y="181"/>
                  <a:pt x="19" y="181"/>
                </a:cubicBezTo>
                <a:cubicBezTo>
                  <a:pt x="20" y="181"/>
                  <a:pt x="20" y="181"/>
                  <a:pt x="20" y="181"/>
                </a:cubicBezTo>
                <a:cubicBezTo>
                  <a:pt x="20" y="180"/>
                  <a:pt x="20" y="180"/>
                  <a:pt x="20" y="180"/>
                </a:cubicBezTo>
                <a:cubicBezTo>
                  <a:pt x="21" y="180"/>
                  <a:pt x="21" y="180"/>
                  <a:pt x="21" y="180"/>
                </a:cubicBezTo>
                <a:cubicBezTo>
                  <a:pt x="22" y="178"/>
                  <a:pt x="22" y="178"/>
                  <a:pt x="22" y="178"/>
                </a:cubicBezTo>
                <a:cubicBezTo>
                  <a:pt x="24" y="178"/>
                  <a:pt x="24" y="178"/>
                  <a:pt x="24" y="178"/>
                </a:cubicBezTo>
                <a:cubicBezTo>
                  <a:pt x="24" y="177"/>
                  <a:pt x="24" y="177"/>
                  <a:pt x="24" y="177"/>
                </a:cubicBezTo>
                <a:cubicBezTo>
                  <a:pt x="25" y="177"/>
                  <a:pt x="25" y="177"/>
                  <a:pt x="25" y="177"/>
                </a:cubicBezTo>
                <a:cubicBezTo>
                  <a:pt x="26" y="177"/>
                  <a:pt x="26" y="177"/>
                  <a:pt x="26" y="177"/>
                </a:cubicBezTo>
                <a:cubicBezTo>
                  <a:pt x="27" y="178"/>
                  <a:pt x="27" y="178"/>
                  <a:pt x="27" y="178"/>
                </a:cubicBezTo>
                <a:cubicBezTo>
                  <a:pt x="28" y="176"/>
                  <a:pt x="28" y="176"/>
                  <a:pt x="28" y="176"/>
                </a:cubicBezTo>
                <a:cubicBezTo>
                  <a:pt x="29" y="176"/>
                  <a:pt x="29" y="176"/>
                  <a:pt x="29" y="176"/>
                </a:cubicBezTo>
                <a:cubicBezTo>
                  <a:pt x="29" y="176"/>
                  <a:pt x="29" y="176"/>
                  <a:pt x="29" y="176"/>
                </a:cubicBezTo>
                <a:cubicBezTo>
                  <a:pt x="30" y="175"/>
                  <a:pt x="30" y="175"/>
                  <a:pt x="30" y="175"/>
                </a:cubicBezTo>
                <a:cubicBezTo>
                  <a:pt x="33" y="172"/>
                  <a:pt x="33" y="172"/>
                  <a:pt x="33" y="172"/>
                </a:cubicBezTo>
                <a:cubicBezTo>
                  <a:pt x="34" y="173"/>
                  <a:pt x="34" y="173"/>
                  <a:pt x="34" y="173"/>
                </a:cubicBezTo>
                <a:cubicBezTo>
                  <a:pt x="35" y="173"/>
                  <a:pt x="35" y="173"/>
                  <a:pt x="35" y="173"/>
                </a:cubicBezTo>
                <a:cubicBezTo>
                  <a:pt x="36" y="172"/>
                  <a:pt x="36" y="172"/>
                  <a:pt x="36" y="172"/>
                </a:cubicBezTo>
                <a:cubicBezTo>
                  <a:pt x="40" y="172"/>
                  <a:pt x="40" y="172"/>
                  <a:pt x="40" y="172"/>
                </a:cubicBezTo>
                <a:cubicBezTo>
                  <a:pt x="40" y="172"/>
                  <a:pt x="40" y="172"/>
                  <a:pt x="40" y="172"/>
                </a:cubicBezTo>
                <a:cubicBezTo>
                  <a:pt x="42" y="172"/>
                  <a:pt x="42" y="172"/>
                  <a:pt x="42" y="172"/>
                </a:cubicBezTo>
                <a:cubicBezTo>
                  <a:pt x="43" y="172"/>
                  <a:pt x="43" y="172"/>
                  <a:pt x="43" y="172"/>
                </a:cubicBezTo>
                <a:cubicBezTo>
                  <a:pt x="44" y="172"/>
                  <a:pt x="44" y="172"/>
                  <a:pt x="44" y="172"/>
                </a:cubicBezTo>
                <a:cubicBezTo>
                  <a:pt x="45" y="172"/>
                  <a:pt x="45" y="172"/>
                  <a:pt x="45" y="172"/>
                </a:cubicBezTo>
                <a:cubicBezTo>
                  <a:pt x="46" y="173"/>
                  <a:pt x="46" y="173"/>
                  <a:pt x="46" y="173"/>
                </a:cubicBezTo>
                <a:cubicBezTo>
                  <a:pt x="47" y="173"/>
                  <a:pt x="47" y="173"/>
                  <a:pt x="47" y="173"/>
                </a:cubicBezTo>
                <a:cubicBezTo>
                  <a:pt x="48" y="173"/>
                  <a:pt x="48" y="173"/>
                  <a:pt x="48" y="173"/>
                </a:cubicBezTo>
                <a:cubicBezTo>
                  <a:pt x="48" y="173"/>
                  <a:pt x="48" y="173"/>
                  <a:pt x="48" y="173"/>
                </a:cubicBezTo>
                <a:cubicBezTo>
                  <a:pt x="49" y="173"/>
                  <a:pt x="49" y="173"/>
                  <a:pt x="49" y="173"/>
                </a:cubicBezTo>
                <a:cubicBezTo>
                  <a:pt x="52" y="173"/>
                  <a:pt x="52" y="173"/>
                  <a:pt x="52" y="173"/>
                </a:cubicBezTo>
                <a:cubicBezTo>
                  <a:pt x="51" y="174"/>
                  <a:pt x="51" y="174"/>
                  <a:pt x="51" y="174"/>
                </a:cubicBezTo>
                <a:cubicBezTo>
                  <a:pt x="52" y="174"/>
                  <a:pt x="52" y="174"/>
                  <a:pt x="52" y="174"/>
                </a:cubicBezTo>
                <a:cubicBezTo>
                  <a:pt x="53" y="173"/>
                  <a:pt x="53" y="173"/>
                  <a:pt x="53" y="173"/>
                </a:cubicBezTo>
                <a:cubicBezTo>
                  <a:pt x="55" y="173"/>
                  <a:pt x="55" y="173"/>
                  <a:pt x="55" y="173"/>
                </a:cubicBezTo>
                <a:cubicBezTo>
                  <a:pt x="56" y="172"/>
                  <a:pt x="56" y="172"/>
                  <a:pt x="56" y="172"/>
                </a:cubicBezTo>
                <a:cubicBezTo>
                  <a:pt x="57" y="170"/>
                  <a:pt x="57" y="170"/>
                  <a:pt x="57" y="170"/>
                </a:cubicBezTo>
                <a:cubicBezTo>
                  <a:pt x="57" y="170"/>
                  <a:pt x="57" y="170"/>
                  <a:pt x="57" y="170"/>
                </a:cubicBezTo>
                <a:cubicBezTo>
                  <a:pt x="59" y="169"/>
                  <a:pt x="59" y="169"/>
                  <a:pt x="59" y="169"/>
                </a:cubicBezTo>
                <a:cubicBezTo>
                  <a:pt x="60" y="167"/>
                  <a:pt x="60" y="167"/>
                  <a:pt x="60" y="167"/>
                </a:cubicBezTo>
                <a:cubicBezTo>
                  <a:pt x="61" y="165"/>
                  <a:pt x="61" y="165"/>
                  <a:pt x="61" y="165"/>
                </a:cubicBezTo>
                <a:cubicBezTo>
                  <a:pt x="63" y="165"/>
                  <a:pt x="63" y="165"/>
                  <a:pt x="63" y="165"/>
                </a:cubicBezTo>
                <a:cubicBezTo>
                  <a:pt x="64" y="165"/>
                  <a:pt x="64" y="165"/>
                  <a:pt x="64" y="165"/>
                </a:cubicBezTo>
                <a:cubicBezTo>
                  <a:pt x="66" y="164"/>
                  <a:pt x="66" y="164"/>
                  <a:pt x="66" y="164"/>
                </a:cubicBezTo>
                <a:cubicBezTo>
                  <a:pt x="69" y="162"/>
                  <a:pt x="69" y="162"/>
                  <a:pt x="69" y="162"/>
                </a:cubicBezTo>
                <a:cubicBezTo>
                  <a:pt x="72" y="160"/>
                  <a:pt x="72" y="160"/>
                  <a:pt x="72" y="160"/>
                </a:cubicBezTo>
                <a:cubicBezTo>
                  <a:pt x="72" y="160"/>
                  <a:pt x="72" y="160"/>
                  <a:pt x="72" y="160"/>
                </a:cubicBezTo>
                <a:cubicBezTo>
                  <a:pt x="73" y="160"/>
                  <a:pt x="73" y="160"/>
                  <a:pt x="73" y="160"/>
                </a:cubicBezTo>
                <a:cubicBezTo>
                  <a:pt x="74" y="160"/>
                  <a:pt x="74" y="160"/>
                  <a:pt x="74" y="160"/>
                </a:cubicBezTo>
                <a:cubicBezTo>
                  <a:pt x="76" y="161"/>
                  <a:pt x="76" y="161"/>
                  <a:pt x="76" y="161"/>
                </a:cubicBezTo>
                <a:cubicBezTo>
                  <a:pt x="78" y="161"/>
                  <a:pt x="78" y="161"/>
                  <a:pt x="78" y="161"/>
                </a:cubicBezTo>
                <a:cubicBezTo>
                  <a:pt x="79" y="161"/>
                  <a:pt x="79" y="161"/>
                  <a:pt x="79" y="161"/>
                </a:cubicBezTo>
                <a:cubicBezTo>
                  <a:pt x="82" y="161"/>
                  <a:pt x="82" y="161"/>
                  <a:pt x="82" y="161"/>
                </a:cubicBezTo>
                <a:cubicBezTo>
                  <a:pt x="85" y="159"/>
                  <a:pt x="85" y="159"/>
                  <a:pt x="85" y="159"/>
                </a:cubicBezTo>
                <a:cubicBezTo>
                  <a:pt x="87" y="159"/>
                  <a:pt x="87" y="159"/>
                  <a:pt x="87" y="159"/>
                </a:cubicBezTo>
                <a:cubicBezTo>
                  <a:pt x="89" y="158"/>
                  <a:pt x="89" y="158"/>
                  <a:pt x="89" y="158"/>
                </a:cubicBezTo>
                <a:cubicBezTo>
                  <a:pt x="90" y="158"/>
                  <a:pt x="90" y="158"/>
                  <a:pt x="90" y="158"/>
                </a:cubicBezTo>
                <a:cubicBezTo>
                  <a:pt x="91" y="157"/>
                  <a:pt x="91" y="157"/>
                  <a:pt x="91" y="157"/>
                </a:cubicBezTo>
                <a:cubicBezTo>
                  <a:pt x="94" y="156"/>
                  <a:pt x="94" y="156"/>
                  <a:pt x="94" y="156"/>
                </a:cubicBezTo>
                <a:cubicBezTo>
                  <a:pt x="101" y="156"/>
                  <a:pt x="101" y="156"/>
                  <a:pt x="101" y="156"/>
                </a:cubicBezTo>
                <a:cubicBezTo>
                  <a:pt x="103" y="157"/>
                  <a:pt x="103" y="157"/>
                  <a:pt x="103" y="157"/>
                </a:cubicBezTo>
                <a:cubicBezTo>
                  <a:pt x="105" y="157"/>
                  <a:pt x="105" y="157"/>
                  <a:pt x="105" y="157"/>
                </a:cubicBezTo>
                <a:cubicBezTo>
                  <a:pt x="107" y="156"/>
                  <a:pt x="107" y="156"/>
                  <a:pt x="107" y="156"/>
                </a:cubicBezTo>
                <a:cubicBezTo>
                  <a:pt x="108" y="156"/>
                  <a:pt x="108" y="156"/>
                  <a:pt x="108" y="156"/>
                </a:cubicBezTo>
                <a:cubicBezTo>
                  <a:pt x="110" y="158"/>
                  <a:pt x="110" y="158"/>
                  <a:pt x="110" y="158"/>
                </a:cubicBezTo>
                <a:cubicBezTo>
                  <a:pt x="112" y="160"/>
                  <a:pt x="112" y="160"/>
                  <a:pt x="112" y="160"/>
                </a:cubicBezTo>
                <a:cubicBezTo>
                  <a:pt x="113" y="161"/>
                  <a:pt x="113" y="161"/>
                  <a:pt x="113" y="161"/>
                </a:cubicBezTo>
                <a:cubicBezTo>
                  <a:pt x="113" y="160"/>
                  <a:pt x="113" y="160"/>
                  <a:pt x="113" y="160"/>
                </a:cubicBezTo>
                <a:cubicBezTo>
                  <a:pt x="114" y="160"/>
                  <a:pt x="114" y="160"/>
                  <a:pt x="114" y="160"/>
                </a:cubicBezTo>
                <a:cubicBezTo>
                  <a:pt x="115" y="160"/>
                  <a:pt x="115" y="160"/>
                  <a:pt x="115" y="160"/>
                </a:cubicBezTo>
                <a:cubicBezTo>
                  <a:pt x="116" y="160"/>
                  <a:pt x="116" y="160"/>
                  <a:pt x="116" y="160"/>
                </a:cubicBezTo>
                <a:cubicBezTo>
                  <a:pt x="117" y="160"/>
                  <a:pt x="117" y="160"/>
                  <a:pt x="117" y="160"/>
                </a:cubicBezTo>
                <a:cubicBezTo>
                  <a:pt x="118" y="162"/>
                  <a:pt x="118" y="162"/>
                  <a:pt x="118" y="162"/>
                </a:cubicBezTo>
                <a:cubicBezTo>
                  <a:pt x="120" y="162"/>
                  <a:pt x="120" y="162"/>
                  <a:pt x="120" y="162"/>
                </a:cubicBezTo>
                <a:cubicBezTo>
                  <a:pt x="120" y="162"/>
                  <a:pt x="120" y="162"/>
                  <a:pt x="120" y="162"/>
                </a:cubicBezTo>
                <a:cubicBezTo>
                  <a:pt x="123" y="164"/>
                  <a:pt x="123" y="164"/>
                  <a:pt x="123" y="164"/>
                </a:cubicBezTo>
                <a:cubicBezTo>
                  <a:pt x="123" y="165"/>
                  <a:pt x="123" y="165"/>
                  <a:pt x="123" y="165"/>
                </a:cubicBezTo>
                <a:cubicBezTo>
                  <a:pt x="124" y="165"/>
                  <a:pt x="124" y="165"/>
                  <a:pt x="124" y="165"/>
                </a:cubicBezTo>
                <a:cubicBezTo>
                  <a:pt x="125" y="166"/>
                  <a:pt x="125" y="166"/>
                  <a:pt x="125" y="166"/>
                </a:cubicBezTo>
                <a:cubicBezTo>
                  <a:pt x="124" y="167"/>
                  <a:pt x="124" y="167"/>
                  <a:pt x="124" y="167"/>
                </a:cubicBezTo>
                <a:cubicBezTo>
                  <a:pt x="123" y="167"/>
                  <a:pt x="123" y="167"/>
                  <a:pt x="123" y="167"/>
                </a:cubicBezTo>
                <a:cubicBezTo>
                  <a:pt x="123" y="168"/>
                  <a:pt x="123" y="168"/>
                  <a:pt x="123" y="168"/>
                </a:cubicBezTo>
                <a:cubicBezTo>
                  <a:pt x="124" y="170"/>
                  <a:pt x="124" y="170"/>
                  <a:pt x="124" y="170"/>
                </a:cubicBezTo>
                <a:cubicBezTo>
                  <a:pt x="125" y="170"/>
                  <a:pt x="125" y="170"/>
                  <a:pt x="125" y="170"/>
                </a:cubicBezTo>
                <a:cubicBezTo>
                  <a:pt x="126" y="172"/>
                  <a:pt x="126" y="172"/>
                  <a:pt x="126" y="172"/>
                </a:cubicBezTo>
                <a:cubicBezTo>
                  <a:pt x="127" y="173"/>
                  <a:pt x="127" y="173"/>
                  <a:pt x="127" y="173"/>
                </a:cubicBezTo>
                <a:cubicBezTo>
                  <a:pt x="127" y="175"/>
                  <a:pt x="127" y="175"/>
                  <a:pt x="127" y="175"/>
                </a:cubicBezTo>
                <a:cubicBezTo>
                  <a:pt x="128" y="178"/>
                  <a:pt x="128" y="178"/>
                  <a:pt x="128" y="178"/>
                </a:cubicBezTo>
                <a:cubicBezTo>
                  <a:pt x="128" y="179"/>
                  <a:pt x="128" y="179"/>
                  <a:pt x="128" y="179"/>
                </a:cubicBezTo>
                <a:cubicBezTo>
                  <a:pt x="128" y="180"/>
                  <a:pt x="128" y="180"/>
                  <a:pt x="128" y="180"/>
                </a:cubicBezTo>
                <a:cubicBezTo>
                  <a:pt x="128" y="182"/>
                  <a:pt x="128" y="182"/>
                  <a:pt x="128" y="182"/>
                </a:cubicBezTo>
                <a:cubicBezTo>
                  <a:pt x="127" y="183"/>
                  <a:pt x="127" y="183"/>
                  <a:pt x="127" y="183"/>
                </a:cubicBezTo>
                <a:cubicBezTo>
                  <a:pt x="127" y="182"/>
                  <a:pt x="127" y="182"/>
                  <a:pt x="127" y="182"/>
                </a:cubicBezTo>
                <a:cubicBezTo>
                  <a:pt x="126" y="182"/>
                  <a:pt x="126" y="182"/>
                  <a:pt x="126" y="182"/>
                </a:cubicBezTo>
                <a:cubicBezTo>
                  <a:pt x="127" y="184"/>
                  <a:pt x="127" y="184"/>
                  <a:pt x="127" y="184"/>
                </a:cubicBezTo>
                <a:cubicBezTo>
                  <a:pt x="128" y="184"/>
                  <a:pt x="128" y="184"/>
                  <a:pt x="128" y="184"/>
                </a:cubicBezTo>
                <a:cubicBezTo>
                  <a:pt x="129" y="186"/>
                  <a:pt x="129" y="186"/>
                  <a:pt x="129" y="186"/>
                </a:cubicBezTo>
                <a:cubicBezTo>
                  <a:pt x="130" y="185"/>
                  <a:pt x="130" y="185"/>
                  <a:pt x="130" y="185"/>
                </a:cubicBezTo>
                <a:cubicBezTo>
                  <a:pt x="131" y="186"/>
                  <a:pt x="131" y="186"/>
                  <a:pt x="131" y="186"/>
                </a:cubicBezTo>
                <a:cubicBezTo>
                  <a:pt x="131" y="185"/>
                  <a:pt x="131" y="185"/>
                  <a:pt x="131" y="185"/>
                </a:cubicBezTo>
                <a:cubicBezTo>
                  <a:pt x="130" y="184"/>
                  <a:pt x="130" y="184"/>
                  <a:pt x="130" y="184"/>
                </a:cubicBezTo>
                <a:cubicBezTo>
                  <a:pt x="131" y="183"/>
                  <a:pt x="131" y="183"/>
                  <a:pt x="131" y="183"/>
                </a:cubicBezTo>
                <a:cubicBezTo>
                  <a:pt x="132" y="182"/>
                  <a:pt x="132" y="182"/>
                  <a:pt x="132" y="182"/>
                </a:cubicBezTo>
                <a:cubicBezTo>
                  <a:pt x="133" y="182"/>
                  <a:pt x="133" y="182"/>
                  <a:pt x="133" y="182"/>
                </a:cubicBezTo>
                <a:cubicBezTo>
                  <a:pt x="133" y="181"/>
                  <a:pt x="133" y="181"/>
                  <a:pt x="133" y="181"/>
                </a:cubicBezTo>
                <a:cubicBezTo>
                  <a:pt x="134" y="180"/>
                  <a:pt x="134" y="180"/>
                  <a:pt x="134" y="180"/>
                </a:cubicBezTo>
                <a:cubicBezTo>
                  <a:pt x="135" y="179"/>
                  <a:pt x="135" y="179"/>
                  <a:pt x="135" y="179"/>
                </a:cubicBezTo>
                <a:cubicBezTo>
                  <a:pt x="136" y="178"/>
                  <a:pt x="136" y="178"/>
                  <a:pt x="136" y="178"/>
                </a:cubicBezTo>
                <a:cubicBezTo>
                  <a:pt x="138" y="176"/>
                  <a:pt x="138" y="176"/>
                  <a:pt x="138" y="176"/>
                </a:cubicBezTo>
                <a:cubicBezTo>
                  <a:pt x="139" y="176"/>
                  <a:pt x="139" y="176"/>
                  <a:pt x="139" y="176"/>
                </a:cubicBezTo>
                <a:cubicBezTo>
                  <a:pt x="139" y="176"/>
                  <a:pt x="139" y="176"/>
                  <a:pt x="139" y="176"/>
                </a:cubicBezTo>
                <a:cubicBezTo>
                  <a:pt x="141" y="175"/>
                  <a:pt x="141" y="175"/>
                  <a:pt x="141" y="175"/>
                </a:cubicBezTo>
                <a:cubicBezTo>
                  <a:pt x="142" y="173"/>
                  <a:pt x="142" y="173"/>
                  <a:pt x="142" y="173"/>
                </a:cubicBezTo>
                <a:cubicBezTo>
                  <a:pt x="143" y="170"/>
                  <a:pt x="143" y="170"/>
                  <a:pt x="143" y="170"/>
                </a:cubicBezTo>
                <a:cubicBezTo>
                  <a:pt x="145" y="170"/>
                  <a:pt x="145" y="170"/>
                  <a:pt x="145" y="170"/>
                </a:cubicBezTo>
                <a:cubicBezTo>
                  <a:pt x="146" y="169"/>
                  <a:pt x="146" y="169"/>
                  <a:pt x="146" y="169"/>
                </a:cubicBezTo>
                <a:cubicBezTo>
                  <a:pt x="145" y="167"/>
                  <a:pt x="145" y="167"/>
                  <a:pt x="145" y="167"/>
                </a:cubicBezTo>
                <a:cubicBezTo>
                  <a:pt x="146" y="166"/>
                  <a:pt x="146" y="166"/>
                  <a:pt x="146" y="166"/>
                </a:cubicBezTo>
                <a:cubicBezTo>
                  <a:pt x="147" y="168"/>
                  <a:pt x="147" y="168"/>
                  <a:pt x="147" y="168"/>
                </a:cubicBezTo>
                <a:cubicBezTo>
                  <a:pt x="147" y="169"/>
                  <a:pt x="147" y="169"/>
                  <a:pt x="147" y="169"/>
                </a:cubicBezTo>
                <a:cubicBezTo>
                  <a:pt x="147" y="171"/>
                  <a:pt x="147" y="171"/>
                  <a:pt x="147" y="171"/>
                </a:cubicBezTo>
                <a:cubicBezTo>
                  <a:pt x="146" y="172"/>
                  <a:pt x="146" y="172"/>
                  <a:pt x="146" y="172"/>
                </a:cubicBezTo>
                <a:cubicBezTo>
                  <a:pt x="145" y="175"/>
                  <a:pt x="145" y="175"/>
                  <a:pt x="145" y="175"/>
                </a:cubicBezTo>
                <a:cubicBezTo>
                  <a:pt x="143" y="177"/>
                  <a:pt x="143" y="177"/>
                  <a:pt x="143" y="177"/>
                </a:cubicBezTo>
                <a:cubicBezTo>
                  <a:pt x="142" y="178"/>
                  <a:pt x="142" y="178"/>
                  <a:pt x="142" y="178"/>
                </a:cubicBezTo>
                <a:cubicBezTo>
                  <a:pt x="142" y="179"/>
                  <a:pt x="142" y="179"/>
                  <a:pt x="142" y="179"/>
                </a:cubicBezTo>
                <a:cubicBezTo>
                  <a:pt x="142" y="181"/>
                  <a:pt x="142" y="181"/>
                  <a:pt x="142" y="181"/>
                </a:cubicBezTo>
                <a:cubicBezTo>
                  <a:pt x="140" y="183"/>
                  <a:pt x="140" y="183"/>
                  <a:pt x="140" y="183"/>
                </a:cubicBezTo>
                <a:cubicBezTo>
                  <a:pt x="141" y="183"/>
                  <a:pt x="141" y="183"/>
                  <a:pt x="141" y="183"/>
                </a:cubicBezTo>
                <a:cubicBezTo>
                  <a:pt x="140" y="186"/>
                  <a:pt x="140" y="186"/>
                  <a:pt x="140" y="186"/>
                </a:cubicBezTo>
                <a:cubicBezTo>
                  <a:pt x="137" y="186"/>
                  <a:pt x="137" y="186"/>
                  <a:pt x="137" y="186"/>
                </a:cubicBezTo>
                <a:cubicBezTo>
                  <a:pt x="136" y="188"/>
                  <a:pt x="136" y="188"/>
                  <a:pt x="136" y="188"/>
                </a:cubicBezTo>
                <a:cubicBezTo>
                  <a:pt x="135" y="189"/>
                  <a:pt x="135" y="189"/>
                  <a:pt x="135" y="189"/>
                </a:cubicBezTo>
                <a:cubicBezTo>
                  <a:pt x="135" y="189"/>
                  <a:pt x="135" y="189"/>
                  <a:pt x="135" y="189"/>
                </a:cubicBezTo>
                <a:cubicBezTo>
                  <a:pt x="137" y="189"/>
                  <a:pt x="137" y="189"/>
                  <a:pt x="137" y="189"/>
                </a:cubicBezTo>
                <a:cubicBezTo>
                  <a:pt x="139" y="188"/>
                  <a:pt x="139" y="188"/>
                  <a:pt x="139" y="188"/>
                </a:cubicBezTo>
                <a:cubicBezTo>
                  <a:pt x="141" y="189"/>
                  <a:pt x="141" y="189"/>
                  <a:pt x="141" y="189"/>
                </a:cubicBezTo>
                <a:cubicBezTo>
                  <a:pt x="143" y="185"/>
                  <a:pt x="143" y="185"/>
                  <a:pt x="143" y="185"/>
                </a:cubicBezTo>
                <a:cubicBezTo>
                  <a:pt x="144" y="182"/>
                  <a:pt x="144" y="182"/>
                  <a:pt x="144" y="182"/>
                </a:cubicBezTo>
                <a:cubicBezTo>
                  <a:pt x="145" y="180"/>
                  <a:pt x="145" y="180"/>
                  <a:pt x="145" y="180"/>
                </a:cubicBezTo>
                <a:cubicBezTo>
                  <a:pt x="146" y="181"/>
                  <a:pt x="146" y="181"/>
                  <a:pt x="146" y="181"/>
                </a:cubicBezTo>
                <a:cubicBezTo>
                  <a:pt x="146" y="184"/>
                  <a:pt x="146" y="184"/>
                  <a:pt x="146" y="184"/>
                </a:cubicBezTo>
                <a:cubicBezTo>
                  <a:pt x="147" y="186"/>
                  <a:pt x="147" y="186"/>
                  <a:pt x="147" y="186"/>
                </a:cubicBezTo>
                <a:cubicBezTo>
                  <a:pt x="146" y="186"/>
                  <a:pt x="146" y="186"/>
                  <a:pt x="146" y="186"/>
                </a:cubicBezTo>
                <a:cubicBezTo>
                  <a:pt x="146" y="189"/>
                  <a:pt x="146" y="189"/>
                  <a:pt x="146" y="189"/>
                </a:cubicBezTo>
                <a:cubicBezTo>
                  <a:pt x="145" y="191"/>
                  <a:pt x="145" y="191"/>
                  <a:pt x="145" y="191"/>
                </a:cubicBezTo>
                <a:cubicBezTo>
                  <a:pt x="143" y="192"/>
                  <a:pt x="143" y="192"/>
                  <a:pt x="143" y="192"/>
                </a:cubicBezTo>
                <a:cubicBezTo>
                  <a:pt x="143" y="193"/>
                  <a:pt x="143" y="193"/>
                  <a:pt x="143" y="193"/>
                </a:cubicBezTo>
                <a:cubicBezTo>
                  <a:pt x="144" y="193"/>
                  <a:pt x="144" y="193"/>
                  <a:pt x="144" y="193"/>
                </a:cubicBezTo>
                <a:cubicBezTo>
                  <a:pt x="146" y="193"/>
                  <a:pt x="146" y="193"/>
                  <a:pt x="146" y="193"/>
                </a:cubicBezTo>
                <a:cubicBezTo>
                  <a:pt x="147" y="192"/>
                  <a:pt x="147" y="192"/>
                  <a:pt x="147" y="192"/>
                </a:cubicBezTo>
                <a:cubicBezTo>
                  <a:pt x="148" y="192"/>
                  <a:pt x="148" y="192"/>
                  <a:pt x="148" y="192"/>
                </a:cubicBezTo>
                <a:cubicBezTo>
                  <a:pt x="149" y="191"/>
                  <a:pt x="149" y="191"/>
                  <a:pt x="149" y="191"/>
                </a:cubicBezTo>
                <a:cubicBezTo>
                  <a:pt x="150" y="191"/>
                  <a:pt x="150" y="191"/>
                  <a:pt x="150" y="191"/>
                </a:cubicBezTo>
                <a:cubicBezTo>
                  <a:pt x="151" y="191"/>
                  <a:pt x="151" y="191"/>
                  <a:pt x="151" y="191"/>
                </a:cubicBezTo>
                <a:cubicBezTo>
                  <a:pt x="150" y="192"/>
                  <a:pt x="150" y="192"/>
                  <a:pt x="150" y="192"/>
                </a:cubicBezTo>
                <a:cubicBezTo>
                  <a:pt x="150" y="193"/>
                  <a:pt x="150" y="193"/>
                  <a:pt x="150" y="193"/>
                </a:cubicBezTo>
                <a:cubicBezTo>
                  <a:pt x="149" y="193"/>
                  <a:pt x="149" y="193"/>
                  <a:pt x="149" y="193"/>
                </a:cubicBezTo>
                <a:cubicBezTo>
                  <a:pt x="148" y="194"/>
                  <a:pt x="148" y="194"/>
                  <a:pt x="148" y="194"/>
                </a:cubicBezTo>
                <a:cubicBezTo>
                  <a:pt x="149" y="196"/>
                  <a:pt x="149" y="196"/>
                  <a:pt x="149" y="196"/>
                </a:cubicBezTo>
                <a:cubicBezTo>
                  <a:pt x="150" y="197"/>
                  <a:pt x="150" y="197"/>
                  <a:pt x="150" y="197"/>
                </a:cubicBezTo>
                <a:cubicBezTo>
                  <a:pt x="151" y="199"/>
                  <a:pt x="151" y="199"/>
                  <a:pt x="151" y="199"/>
                </a:cubicBezTo>
                <a:cubicBezTo>
                  <a:pt x="151" y="201"/>
                  <a:pt x="151" y="201"/>
                  <a:pt x="151" y="201"/>
                </a:cubicBezTo>
                <a:cubicBezTo>
                  <a:pt x="151" y="204"/>
                  <a:pt x="151" y="204"/>
                  <a:pt x="151" y="204"/>
                </a:cubicBezTo>
                <a:cubicBezTo>
                  <a:pt x="149" y="206"/>
                  <a:pt x="149" y="206"/>
                  <a:pt x="149" y="206"/>
                </a:cubicBezTo>
                <a:cubicBezTo>
                  <a:pt x="149" y="207"/>
                  <a:pt x="149" y="207"/>
                  <a:pt x="149" y="207"/>
                </a:cubicBezTo>
                <a:cubicBezTo>
                  <a:pt x="149" y="209"/>
                  <a:pt x="149" y="209"/>
                  <a:pt x="149" y="209"/>
                </a:cubicBezTo>
                <a:cubicBezTo>
                  <a:pt x="150" y="210"/>
                  <a:pt x="150" y="210"/>
                  <a:pt x="150" y="210"/>
                </a:cubicBezTo>
                <a:cubicBezTo>
                  <a:pt x="151" y="211"/>
                  <a:pt x="151" y="211"/>
                  <a:pt x="151" y="211"/>
                </a:cubicBezTo>
                <a:cubicBezTo>
                  <a:pt x="151" y="213"/>
                  <a:pt x="151" y="213"/>
                  <a:pt x="151" y="213"/>
                </a:cubicBezTo>
                <a:cubicBezTo>
                  <a:pt x="154" y="216"/>
                  <a:pt x="154" y="216"/>
                  <a:pt x="154" y="216"/>
                </a:cubicBezTo>
                <a:cubicBezTo>
                  <a:pt x="155" y="217"/>
                  <a:pt x="155" y="217"/>
                  <a:pt x="155" y="217"/>
                </a:cubicBezTo>
                <a:cubicBezTo>
                  <a:pt x="157" y="218"/>
                  <a:pt x="157" y="218"/>
                  <a:pt x="157" y="218"/>
                </a:cubicBezTo>
                <a:cubicBezTo>
                  <a:pt x="157" y="219"/>
                  <a:pt x="157" y="219"/>
                  <a:pt x="157" y="219"/>
                </a:cubicBezTo>
                <a:cubicBezTo>
                  <a:pt x="158" y="219"/>
                  <a:pt x="158" y="219"/>
                  <a:pt x="158" y="219"/>
                </a:cubicBezTo>
                <a:cubicBezTo>
                  <a:pt x="159" y="219"/>
                  <a:pt x="159" y="219"/>
                  <a:pt x="159" y="219"/>
                </a:cubicBezTo>
                <a:cubicBezTo>
                  <a:pt x="159" y="219"/>
                  <a:pt x="159" y="219"/>
                  <a:pt x="159" y="219"/>
                </a:cubicBezTo>
                <a:cubicBezTo>
                  <a:pt x="161" y="219"/>
                  <a:pt x="161" y="219"/>
                  <a:pt x="161" y="219"/>
                </a:cubicBezTo>
                <a:cubicBezTo>
                  <a:pt x="162" y="221"/>
                  <a:pt x="162" y="221"/>
                  <a:pt x="162" y="221"/>
                </a:cubicBezTo>
                <a:cubicBezTo>
                  <a:pt x="164" y="221"/>
                  <a:pt x="164" y="221"/>
                  <a:pt x="164" y="221"/>
                </a:cubicBezTo>
                <a:cubicBezTo>
                  <a:pt x="165" y="222"/>
                  <a:pt x="165" y="222"/>
                  <a:pt x="165" y="222"/>
                </a:cubicBezTo>
                <a:cubicBezTo>
                  <a:pt x="166" y="224"/>
                  <a:pt x="166" y="224"/>
                  <a:pt x="166" y="224"/>
                </a:cubicBezTo>
                <a:cubicBezTo>
                  <a:pt x="167" y="224"/>
                  <a:pt x="167" y="224"/>
                  <a:pt x="167" y="224"/>
                </a:cubicBezTo>
                <a:cubicBezTo>
                  <a:pt x="168" y="225"/>
                  <a:pt x="168" y="225"/>
                  <a:pt x="168" y="225"/>
                </a:cubicBezTo>
                <a:cubicBezTo>
                  <a:pt x="169" y="225"/>
                  <a:pt x="169" y="225"/>
                  <a:pt x="169" y="225"/>
                </a:cubicBezTo>
                <a:cubicBezTo>
                  <a:pt x="170" y="225"/>
                  <a:pt x="170" y="225"/>
                  <a:pt x="170" y="225"/>
                </a:cubicBezTo>
                <a:cubicBezTo>
                  <a:pt x="172" y="223"/>
                  <a:pt x="172" y="223"/>
                  <a:pt x="172" y="223"/>
                </a:cubicBezTo>
                <a:cubicBezTo>
                  <a:pt x="173" y="222"/>
                  <a:pt x="173" y="222"/>
                  <a:pt x="173" y="222"/>
                </a:cubicBezTo>
                <a:cubicBezTo>
                  <a:pt x="174" y="222"/>
                  <a:pt x="174" y="222"/>
                  <a:pt x="174" y="222"/>
                </a:cubicBezTo>
                <a:cubicBezTo>
                  <a:pt x="176" y="221"/>
                  <a:pt x="176" y="221"/>
                  <a:pt x="176" y="221"/>
                </a:cubicBezTo>
                <a:cubicBezTo>
                  <a:pt x="177" y="221"/>
                  <a:pt x="177" y="221"/>
                  <a:pt x="177" y="221"/>
                </a:cubicBezTo>
                <a:cubicBezTo>
                  <a:pt x="177" y="220"/>
                  <a:pt x="177" y="220"/>
                  <a:pt x="177" y="220"/>
                </a:cubicBezTo>
                <a:cubicBezTo>
                  <a:pt x="177" y="220"/>
                  <a:pt x="177" y="220"/>
                  <a:pt x="177" y="220"/>
                </a:cubicBezTo>
                <a:cubicBezTo>
                  <a:pt x="176" y="219"/>
                  <a:pt x="176" y="219"/>
                  <a:pt x="176" y="219"/>
                </a:cubicBezTo>
                <a:cubicBezTo>
                  <a:pt x="176" y="219"/>
                  <a:pt x="176" y="219"/>
                  <a:pt x="176" y="219"/>
                </a:cubicBezTo>
                <a:cubicBezTo>
                  <a:pt x="179" y="217"/>
                  <a:pt x="179" y="217"/>
                  <a:pt x="179" y="217"/>
                </a:cubicBezTo>
                <a:cubicBezTo>
                  <a:pt x="181" y="218"/>
                  <a:pt x="181" y="218"/>
                  <a:pt x="181" y="218"/>
                </a:cubicBezTo>
                <a:cubicBezTo>
                  <a:pt x="181" y="220"/>
                  <a:pt x="181" y="220"/>
                  <a:pt x="181" y="220"/>
                </a:cubicBezTo>
                <a:cubicBezTo>
                  <a:pt x="178" y="221"/>
                  <a:pt x="178" y="221"/>
                  <a:pt x="178" y="221"/>
                </a:cubicBezTo>
                <a:cubicBezTo>
                  <a:pt x="179" y="222"/>
                  <a:pt x="179" y="222"/>
                  <a:pt x="179" y="222"/>
                </a:cubicBezTo>
                <a:cubicBezTo>
                  <a:pt x="180" y="222"/>
                  <a:pt x="180" y="222"/>
                  <a:pt x="180" y="222"/>
                </a:cubicBezTo>
                <a:cubicBezTo>
                  <a:pt x="180" y="221"/>
                  <a:pt x="180" y="221"/>
                  <a:pt x="180" y="221"/>
                </a:cubicBezTo>
                <a:cubicBezTo>
                  <a:pt x="182" y="221"/>
                  <a:pt x="182" y="221"/>
                  <a:pt x="182" y="221"/>
                </a:cubicBezTo>
                <a:cubicBezTo>
                  <a:pt x="183" y="221"/>
                  <a:pt x="183" y="221"/>
                  <a:pt x="183" y="221"/>
                </a:cubicBezTo>
                <a:cubicBezTo>
                  <a:pt x="183" y="223"/>
                  <a:pt x="183" y="223"/>
                  <a:pt x="183" y="223"/>
                </a:cubicBezTo>
                <a:cubicBezTo>
                  <a:pt x="182" y="223"/>
                  <a:pt x="182" y="223"/>
                  <a:pt x="182" y="223"/>
                </a:cubicBezTo>
                <a:cubicBezTo>
                  <a:pt x="181" y="224"/>
                  <a:pt x="181" y="224"/>
                  <a:pt x="181" y="224"/>
                </a:cubicBezTo>
                <a:cubicBezTo>
                  <a:pt x="183" y="226"/>
                  <a:pt x="183" y="226"/>
                  <a:pt x="183" y="226"/>
                </a:cubicBezTo>
                <a:cubicBezTo>
                  <a:pt x="183" y="228"/>
                  <a:pt x="183" y="228"/>
                  <a:pt x="183" y="228"/>
                </a:cubicBezTo>
                <a:cubicBezTo>
                  <a:pt x="184" y="227"/>
                  <a:pt x="184" y="227"/>
                  <a:pt x="184" y="227"/>
                </a:cubicBezTo>
                <a:cubicBezTo>
                  <a:pt x="184" y="227"/>
                  <a:pt x="184" y="227"/>
                  <a:pt x="184" y="227"/>
                </a:cubicBezTo>
                <a:cubicBezTo>
                  <a:pt x="184" y="229"/>
                  <a:pt x="184" y="229"/>
                  <a:pt x="184" y="229"/>
                </a:cubicBezTo>
                <a:cubicBezTo>
                  <a:pt x="185" y="230"/>
                  <a:pt x="185" y="230"/>
                  <a:pt x="185" y="230"/>
                </a:cubicBezTo>
                <a:cubicBezTo>
                  <a:pt x="186" y="228"/>
                  <a:pt x="186" y="228"/>
                  <a:pt x="186" y="228"/>
                </a:cubicBezTo>
                <a:cubicBezTo>
                  <a:pt x="186" y="227"/>
                  <a:pt x="186" y="227"/>
                  <a:pt x="186" y="227"/>
                </a:cubicBezTo>
                <a:cubicBezTo>
                  <a:pt x="185" y="227"/>
                  <a:pt x="185" y="227"/>
                  <a:pt x="185" y="227"/>
                </a:cubicBezTo>
                <a:cubicBezTo>
                  <a:pt x="185" y="227"/>
                  <a:pt x="185" y="227"/>
                  <a:pt x="185" y="227"/>
                </a:cubicBezTo>
                <a:cubicBezTo>
                  <a:pt x="186" y="226"/>
                  <a:pt x="186" y="226"/>
                  <a:pt x="186" y="226"/>
                </a:cubicBezTo>
                <a:cubicBezTo>
                  <a:pt x="189" y="226"/>
                  <a:pt x="189" y="226"/>
                  <a:pt x="189" y="226"/>
                </a:cubicBezTo>
                <a:cubicBezTo>
                  <a:pt x="189" y="227"/>
                  <a:pt x="189" y="227"/>
                  <a:pt x="189" y="227"/>
                </a:cubicBezTo>
                <a:cubicBezTo>
                  <a:pt x="190" y="226"/>
                  <a:pt x="190" y="226"/>
                  <a:pt x="190" y="226"/>
                </a:cubicBezTo>
                <a:cubicBezTo>
                  <a:pt x="191" y="224"/>
                  <a:pt x="191" y="224"/>
                  <a:pt x="191" y="224"/>
                </a:cubicBezTo>
                <a:cubicBezTo>
                  <a:pt x="194" y="222"/>
                  <a:pt x="194" y="222"/>
                  <a:pt x="194" y="222"/>
                </a:cubicBezTo>
                <a:cubicBezTo>
                  <a:pt x="196" y="220"/>
                  <a:pt x="196" y="220"/>
                  <a:pt x="196" y="220"/>
                </a:cubicBezTo>
                <a:cubicBezTo>
                  <a:pt x="195" y="220"/>
                  <a:pt x="195" y="220"/>
                  <a:pt x="195" y="220"/>
                </a:cubicBezTo>
                <a:cubicBezTo>
                  <a:pt x="195" y="221"/>
                  <a:pt x="195" y="221"/>
                  <a:pt x="195" y="221"/>
                </a:cubicBezTo>
                <a:cubicBezTo>
                  <a:pt x="195" y="220"/>
                  <a:pt x="195" y="220"/>
                  <a:pt x="195" y="220"/>
                </a:cubicBezTo>
                <a:cubicBezTo>
                  <a:pt x="194" y="220"/>
                  <a:pt x="194" y="220"/>
                  <a:pt x="194" y="220"/>
                </a:cubicBezTo>
                <a:cubicBezTo>
                  <a:pt x="195" y="220"/>
                  <a:pt x="195" y="220"/>
                  <a:pt x="195" y="220"/>
                </a:cubicBezTo>
                <a:cubicBezTo>
                  <a:pt x="197" y="220"/>
                  <a:pt x="197" y="220"/>
                  <a:pt x="197" y="220"/>
                </a:cubicBezTo>
                <a:cubicBezTo>
                  <a:pt x="199" y="219"/>
                  <a:pt x="199" y="219"/>
                  <a:pt x="199" y="219"/>
                </a:cubicBezTo>
                <a:cubicBezTo>
                  <a:pt x="204" y="218"/>
                  <a:pt x="204" y="218"/>
                  <a:pt x="204" y="218"/>
                </a:cubicBezTo>
                <a:cubicBezTo>
                  <a:pt x="208" y="219"/>
                  <a:pt x="208" y="219"/>
                  <a:pt x="208" y="219"/>
                </a:cubicBezTo>
                <a:cubicBezTo>
                  <a:pt x="209" y="218"/>
                  <a:pt x="209" y="218"/>
                  <a:pt x="209" y="218"/>
                </a:cubicBezTo>
                <a:cubicBezTo>
                  <a:pt x="209" y="217"/>
                  <a:pt x="209" y="217"/>
                  <a:pt x="209" y="217"/>
                </a:cubicBezTo>
                <a:cubicBezTo>
                  <a:pt x="210" y="217"/>
                  <a:pt x="210" y="217"/>
                  <a:pt x="210" y="217"/>
                </a:cubicBezTo>
                <a:cubicBezTo>
                  <a:pt x="212" y="216"/>
                  <a:pt x="212" y="216"/>
                  <a:pt x="212" y="216"/>
                </a:cubicBezTo>
                <a:cubicBezTo>
                  <a:pt x="213" y="214"/>
                  <a:pt x="213" y="214"/>
                  <a:pt x="213" y="214"/>
                </a:cubicBezTo>
                <a:cubicBezTo>
                  <a:pt x="212" y="211"/>
                  <a:pt x="212" y="211"/>
                  <a:pt x="212" y="211"/>
                </a:cubicBezTo>
                <a:cubicBezTo>
                  <a:pt x="212" y="210"/>
                  <a:pt x="212" y="210"/>
                  <a:pt x="212" y="210"/>
                </a:cubicBezTo>
                <a:cubicBezTo>
                  <a:pt x="214" y="208"/>
                  <a:pt x="214" y="208"/>
                  <a:pt x="214" y="208"/>
                </a:cubicBezTo>
                <a:cubicBezTo>
                  <a:pt x="214" y="204"/>
                  <a:pt x="214" y="204"/>
                  <a:pt x="214" y="204"/>
                </a:cubicBezTo>
                <a:cubicBezTo>
                  <a:pt x="215" y="203"/>
                  <a:pt x="215" y="203"/>
                  <a:pt x="215" y="203"/>
                </a:cubicBezTo>
                <a:cubicBezTo>
                  <a:pt x="216" y="200"/>
                  <a:pt x="216" y="200"/>
                  <a:pt x="216" y="200"/>
                </a:cubicBezTo>
                <a:cubicBezTo>
                  <a:pt x="217" y="200"/>
                  <a:pt x="217" y="200"/>
                  <a:pt x="217" y="200"/>
                </a:cubicBezTo>
                <a:cubicBezTo>
                  <a:pt x="217" y="198"/>
                  <a:pt x="217" y="198"/>
                  <a:pt x="217" y="198"/>
                </a:cubicBezTo>
                <a:cubicBezTo>
                  <a:pt x="221" y="194"/>
                  <a:pt x="221" y="194"/>
                  <a:pt x="221" y="194"/>
                </a:cubicBezTo>
                <a:cubicBezTo>
                  <a:pt x="222" y="194"/>
                  <a:pt x="222" y="194"/>
                  <a:pt x="222" y="194"/>
                </a:cubicBezTo>
                <a:cubicBezTo>
                  <a:pt x="222" y="191"/>
                  <a:pt x="222" y="191"/>
                  <a:pt x="222" y="191"/>
                </a:cubicBezTo>
                <a:cubicBezTo>
                  <a:pt x="224" y="189"/>
                  <a:pt x="224" y="189"/>
                  <a:pt x="224" y="189"/>
                </a:cubicBezTo>
                <a:cubicBezTo>
                  <a:pt x="225" y="186"/>
                  <a:pt x="225" y="186"/>
                  <a:pt x="225" y="186"/>
                </a:cubicBezTo>
                <a:cubicBezTo>
                  <a:pt x="226" y="185"/>
                  <a:pt x="226" y="185"/>
                  <a:pt x="226" y="185"/>
                </a:cubicBezTo>
                <a:cubicBezTo>
                  <a:pt x="226" y="183"/>
                  <a:pt x="226" y="183"/>
                  <a:pt x="226" y="183"/>
                </a:cubicBezTo>
                <a:cubicBezTo>
                  <a:pt x="227" y="183"/>
                  <a:pt x="227" y="183"/>
                  <a:pt x="227" y="183"/>
                </a:cubicBezTo>
                <a:cubicBezTo>
                  <a:pt x="228" y="180"/>
                  <a:pt x="228" y="180"/>
                  <a:pt x="228" y="180"/>
                </a:cubicBezTo>
                <a:cubicBezTo>
                  <a:pt x="227" y="180"/>
                  <a:pt x="227" y="180"/>
                  <a:pt x="227" y="180"/>
                </a:cubicBezTo>
                <a:cubicBezTo>
                  <a:pt x="229" y="179"/>
                  <a:pt x="229" y="179"/>
                  <a:pt x="229" y="179"/>
                </a:cubicBezTo>
                <a:cubicBezTo>
                  <a:pt x="231" y="177"/>
                  <a:pt x="231" y="177"/>
                  <a:pt x="231" y="177"/>
                </a:cubicBezTo>
                <a:cubicBezTo>
                  <a:pt x="232" y="176"/>
                  <a:pt x="232" y="176"/>
                  <a:pt x="232" y="176"/>
                </a:cubicBezTo>
                <a:cubicBezTo>
                  <a:pt x="233" y="174"/>
                  <a:pt x="233" y="174"/>
                  <a:pt x="233" y="174"/>
                </a:cubicBezTo>
                <a:cubicBezTo>
                  <a:pt x="234" y="173"/>
                  <a:pt x="234" y="173"/>
                  <a:pt x="234" y="173"/>
                </a:cubicBezTo>
                <a:cubicBezTo>
                  <a:pt x="236" y="173"/>
                  <a:pt x="236" y="173"/>
                  <a:pt x="236" y="173"/>
                </a:cubicBezTo>
                <a:cubicBezTo>
                  <a:pt x="234" y="173"/>
                  <a:pt x="234" y="173"/>
                  <a:pt x="234" y="173"/>
                </a:cubicBezTo>
                <a:cubicBezTo>
                  <a:pt x="234" y="172"/>
                  <a:pt x="234" y="172"/>
                  <a:pt x="234" y="172"/>
                </a:cubicBezTo>
                <a:cubicBezTo>
                  <a:pt x="236" y="172"/>
                  <a:pt x="236" y="172"/>
                  <a:pt x="236" y="172"/>
                </a:cubicBezTo>
                <a:cubicBezTo>
                  <a:pt x="238" y="171"/>
                  <a:pt x="238" y="171"/>
                  <a:pt x="238" y="171"/>
                </a:cubicBezTo>
                <a:cubicBezTo>
                  <a:pt x="239" y="169"/>
                  <a:pt x="239" y="169"/>
                  <a:pt x="239" y="169"/>
                </a:cubicBezTo>
                <a:cubicBezTo>
                  <a:pt x="238" y="168"/>
                  <a:pt x="238" y="168"/>
                  <a:pt x="238" y="168"/>
                </a:cubicBezTo>
                <a:cubicBezTo>
                  <a:pt x="239" y="167"/>
                  <a:pt x="239" y="167"/>
                  <a:pt x="239" y="167"/>
                </a:cubicBezTo>
                <a:cubicBezTo>
                  <a:pt x="241" y="166"/>
                  <a:pt x="241" y="166"/>
                  <a:pt x="241" y="166"/>
                </a:cubicBezTo>
                <a:cubicBezTo>
                  <a:pt x="241" y="164"/>
                  <a:pt x="241" y="164"/>
                  <a:pt x="241" y="164"/>
                </a:cubicBezTo>
                <a:cubicBezTo>
                  <a:pt x="242" y="164"/>
                  <a:pt x="242" y="164"/>
                  <a:pt x="242" y="164"/>
                </a:cubicBezTo>
                <a:cubicBezTo>
                  <a:pt x="244" y="161"/>
                  <a:pt x="244" y="161"/>
                  <a:pt x="244" y="161"/>
                </a:cubicBezTo>
                <a:cubicBezTo>
                  <a:pt x="243" y="160"/>
                  <a:pt x="243" y="160"/>
                  <a:pt x="243" y="160"/>
                </a:cubicBezTo>
                <a:cubicBezTo>
                  <a:pt x="244" y="158"/>
                  <a:pt x="244" y="158"/>
                  <a:pt x="244" y="158"/>
                </a:cubicBezTo>
                <a:cubicBezTo>
                  <a:pt x="244" y="158"/>
                  <a:pt x="244" y="158"/>
                  <a:pt x="244" y="158"/>
                </a:cubicBezTo>
                <a:cubicBezTo>
                  <a:pt x="244" y="157"/>
                  <a:pt x="244" y="157"/>
                  <a:pt x="244" y="157"/>
                </a:cubicBezTo>
                <a:cubicBezTo>
                  <a:pt x="246" y="152"/>
                  <a:pt x="246" y="152"/>
                  <a:pt x="246" y="152"/>
                </a:cubicBezTo>
                <a:cubicBezTo>
                  <a:pt x="246" y="150"/>
                  <a:pt x="246" y="150"/>
                  <a:pt x="246" y="150"/>
                </a:cubicBezTo>
                <a:cubicBezTo>
                  <a:pt x="248" y="146"/>
                  <a:pt x="248" y="146"/>
                  <a:pt x="248" y="146"/>
                </a:cubicBezTo>
                <a:cubicBezTo>
                  <a:pt x="248" y="145"/>
                  <a:pt x="248" y="145"/>
                  <a:pt x="248" y="145"/>
                </a:cubicBezTo>
                <a:cubicBezTo>
                  <a:pt x="249" y="142"/>
                  <a:pt x="249" y="142"/>
                  <a:pt x="249" y="142"/>
                </a:cubicBezTo>
                <a:cubicBezTo>
                  <a:pt x="251" y="140"/>
                  <a:pt x="251" y="140"/>
                  <a:pt x="251" y="140"/>
                </a:cubicBezTo>
                <a:cubicBezTo>
                  <a:pt x="252" y="139"/>
                  <a:pt x="252" y="139"/>
                  <a:pt x="252" y="139"/>
                </a:cubicBezTo>
                <a:cubicBezTo>
                  <a:pt x="251" y="137"/>
                  <a:pt x="251" y="137"/>
                  <a:pt x="251" y="137"/>
                </a:cubicBezTo>
                <a:cubicBezTo>
                  <a:pt x="252" y="135"/>
                  <a:pt x="252" y="135"/>
                  <a:pt x="252" y="135"/>
                </a:cubicBezTo>
                <a:cubicBezTo>
                  <a:pt x="251" y="133"/>
                  <a:pt x="251" y="133"/>
                  <a:pt x="251" y="133"/>
                </a:cubicBezTo>
                <a:cubicBezTo>
                  <a:pt x="251" y="131"/>
                  <a:pt x="251" y="131"/>
                  <a:pt x="251" y="131"/>
                </a:cubicBezTo>
                <a:cubicBezTo>
                  <a:pt x="251" y="129"/>
                  <a:pt x="251" y="129"/>
                  <a:pt x="251" y="129"/>
                </a:cubicBezTo>
                <a:cubicBezTo>
                  <a:pt x="250" y="128"/>
                  <a:pt x="250" y="128"/>
                  <a:pt x="250" y="128"/>
                </a:cubicBezTo>
                <a:cubicBezTo>
                  <a:pt x="250" y="127"/>
                  <a:pt x="250" y="127"/>
                  <a:pt x="250" y="127"/>
                </a:cubicBezTo>
                <a:cubicBezTo>
                  <a:pt x="251" y="126"/>
                  <a:pt x="251" y="126"/>
                  <a:pt x="251" y="126"/>
                </a:cubicBezTo>
                <a:cubicBezTo>
                  <a:pt x="251" y="125"/>
                  <a:pt x="251" y="125"/>
                  <a:pt x="251" y="125"/>
                </a:cubicBezTo>
                <a:cubicBezTo>
                  <a:pt x="252" y="123"/>
                  <a:pt x="252" y="123"/>
                  <a:pt x="252" y="123"/>
                </a:cubicBezTo>
                <a:cubicBezTo>
                  <a:pt x="252" y="122"/>
                  <a:pt x="252" y="122"/>
                  <a:pt x="252" y="122"/>
                </a:cubicBezTo>
                <a:cubicBezTo>
                  <a:pt x="252" y="119"/>
                  <a:pt x="252" y="119"/>
                  <a:pt x="252" y="119"/>
                </a:cubicBezTo>
                <a:cubicBezTo>
                  <a:pt x="252" y="117"/>
                  <a:pt x="252" y="117"/>
                  <a:pt x="252" y="117"/>
                </a:cubicBezTo>
                <a:cubicBezTo>
                  <a:pt x="252" y="117"/>
                  <a:pt x="252" y="117"/>
                  <a:pt x="252" y="117"/>
                </a:cubicBezTo>
                <a:cubicBezTo>
                  <a:pt x="251" y="115"/>
                  <a:pt x="251" y="115"/>
                  <a:pt x="251" y="115"/>
                </a:cubicBezTo>
                <a:cubicBezTo>
                  <a:pt x="251" y="113"/>
                  <a:pt x="251" y="113"/>
                  <a:pt x="251" y="113"/>
                </a:cubicBezTo>
                <a:cubicBezTo>
                  <a:pt x="251" y="113"/>
                  <a:pt x="251" y="113"/>
                  <a:pt x="251" y="113"/>
                </a:cubicBezTo>
                <a:cubicBezTo>
                  <a:pt x="252" y="111"/>
                  <a:pt x="252" y="111"/>
                  <a:pt x="252" y="111"/>
                </a:cubicBezTo>
                <a:cubicBezTo>
                  <a:pt x="250" y="111"/>
                  <a:pt x="250" y="111"/>
                  <a:pt x="250" y="111"/>
                </a:cubicBezTo>
                <a:cubicBezTo>
                  <a:pt x="250" y="110"/>
                  <a:pt x="250" y="110"/>
                  <a:pt x="250" y="110"/>
                </a:cubicBezTo>
                <a:cubicBezTo>
                  <a:pt x="250" y="108"/>
                  <a:pt x="250" y="108"/>
                  <a:pt x="250" y="108"/>
                </a:cubicBezTo>
                <a:cubicBezTo>
                  <a:pt x="248" y="107"/>
                  <a:pt x="248" y="107"/>
                  <a:pt x="248" y="107"/>
                </a:cubicBezTo>
                <a:cubicBezTo>
                  <a:pt x="247" y="105"/>
                  <a:pt x="247" y="105"/>
                  <a:pt x="247" y="105"/>
                </a:cubicBezTo>
                <a:cubicBezTo>
                  <a:pt x="247" y="103"/>
                  <a:pt x="247" y="103"/>
                  <a:pt x="247" y="103"/>
                </a:cubicBezTo>
                <a:cubicBezTo>
                  <a:pt x="246" y="102"/>
                  <a:pt x="246" y="102"/>
                  <a:pt x="246" y="102"/>
                </a:cubicBezTo>
                <a:cubicBezTo>
                  <a:pt x="245" y="102"/>
                  <a:pt x="245" y="102"/>
                  <a:pt x="245" y="102"/>
                </a:cubicBezTo>
                <a:cubicBezTo>
                  <a:pt x="244" y="102"/>
                  <a:pt x="244" y="102"/>
                  <a:pt x="244" y="102"/>
                </a:cubicBezTo>
                <a:cubicBezTo>
                  <a:pt x="244" y="101"/>
                  <a:pt x="244" y="101"/>
                  <a:pt x="244" y="101"/>
                </a:cubicBezTo>
                <a:cubicBezTo>
                  <a:pt x="243" y="100"/>
                  <a:pt x="243" y="100"/>
                  <a:pt x="243" y="100"/>
                </a:cubicBezTo>
                <a:cubicBezTo>
                  <a:pt x="243" y="99"/>
                  <a:pt x="243" y="99"/>
                  <a:pt x="243" y="99"/>
                </a:cubicBezTo>
                <a:cubicBezTo>
                  <a:pt x="243" y="99"/>
                  <a:pt x="243" y="99"/>
                  <a:pt x="243" y="99"/>
                </a:cubicBezTo>
                <a:cubicBezTo>
                  <a:pt x="241" y="97"/>
                  <a:pt x="241" y="97"/>
                  <a:pt x="241" y="97"/>
                </a:cubicBezTo>
                <a:cubicBezTo>
                  <a:pt x="240" y="97"/>
                  <a:pt x="240" y="97"/>
                  <a:pt x="240" y="97"/>
                </a:cubicBezTo>
                <a:cubicBezTo>
                  <a:pt x="241" y="96"/>
                  <a:pt x="241" y="96"/>
                  <a:pt x="241" y="96"/>
                </a:cubicBezTo>
                <a:cubicBezTo>
                  <a:pt x="240" y="94"/>
                  <a:pt x="240" y="94"/>
                  <a:pt x="240" y="94"/>
                </a:cubicBezTo>
                <a:cubicBezTo>
                  <a:pt x="241" y="93"/>
                  <a:pt x="241" y="93"/>
                  <a:pt x="241" y="93"/>
                </a:cubicBezTo>
                <a:cubicBezTo>
                  <a:pt x="241" y="91"/>
                  <a:pt x="241" y="91"/>
                  <a:pt x="241" y="91"/>
                </a:cubicBezTo>
                <a:cubicBezTo>
                  <a:pt x="241" y="90"/>
                  <a:pt x="241" y="90"/>
                  <a:pt x="241" y="90"/>
                </a:cubicBezTo>
                <a:cubicBezTo>
                  <a:pt x="241" y="89"/>
                  <a:pt x="241" y="89"/>
                  <a:pt x="241" y="89"/>
                </a:cubicBezTo>
                <a:cubicBezTo>
                  <a:pt x="240" y="88"/>
                  <a:pt x="240" y="88"/>
                  <a:pt x="240" y="88"/>
                </a:cubicBezTo>
                <a:cubicBezTo>
                  <a:pt x="240" y="89"/>
                  <a:pt x="240" y="89"/>
                  <a:pt x="240" y="89"/>
                </a:cubicBezTo>
                <a:cubicBezTo>
                  <a:pt x="240" y="89"/>
                  <a:pt x="240" y="89"/>
                  <a:pt x="240" y="89"/>
                </a:cubicBezTo>
                <a:cubicBezTo>
                  <a:pt x="240" y="90"/>
                  <a:pt x="240" y="90"/>
                  <a:pt x="240" y="90"/>
                </a:cubicBezTo>
                <a:cubicBezTo>
                  <a:pt x="237" y="87"/>
                  <a:pt x="237" y="87"/>
                  <a:pt x="237" y="87"/>
                </a:cubicBezTo>
                <a:cubicBezTo>
                  <a:pt x="237" y="86"/>
                  <a:pt x="237" y="86"/>
                  <a:pt x="237" y="86"/>
                </a:cubicBezTo>
                <a:cubicBezTo>
                  <a:pt x="236" y="86"/>
                  <a:pt x="236" y="86"/>
                  <a:pt x="236" y="86"/>
                </a:cubicBezTo>
                <a:cubicBezTo>
                  <a:pt x="236" y="87"/>
                  <a:pt x="236" y="87"/>
                  <a:pt x="236" y="87"/>
                </a:cubicBezTo>
                <a:cubicBezTo>
                  <a:pt x="236" y="88"/>
                  <a:pt x="236" y="88"/>
                  <a:pt x="236" y="88"/>
                </a:cubicBezTo>
                <a:cubicBezTo>
                  <a:pt x="236" y="90"/>
                  <a:pt x="236" y="90"/>
                  <a:pt x="236" y="90"/>
                </a:cubicBezTo>
                <a:cubicBezTo>
                  <a:pt x="235" y="88"/>
                  <a:pt x="235" y="88"/>
                  <a:pt x="235" y="88"/>
                </a:cubicBezTo>
                <a:cubicBezTo>
                  <a:pt x="234" y="89"/>
                  <a:pt x="234" y="89"/>
                  <a:pt x="234" y="89"/>
                </a:cubicBezTo>
                <a:cubicBezTo>
                  <a:pt x="234" y="88"/>
                  <a:pt x="234" y="88"/>
                  <a:pt x="234" y="88"/>
                </a:cubicBezTo>
                <a:cubicBezTo>
                  <a:pt x="234" y="87"/>
                  <a:pt x="234" y="87"/>
                  <a:pt x="234" y="87"/>
                </a:cubicBezTo>
                <a:cubicBezTo>
                  <a:pt x="234" y="83"/>
                  <a:pt x="234" y="83"/>
                  <a:pt x="234" y="83"/>
                </a:cubicBezTo>
                <a:cubicBezTo>
                  <a:pt x="234" y="83"/>
                  <a:pt x="234" y="83"/>
                  <a:pt x="234" y="83"/>
                </a:cubicBezTo>
                <a:cubicBezTo>
                  <a:pt x="234" y="82"/>
                  <a:pt x="234" y="82"/>
                  <a:pt x="234" y="82"/>
                </a:cubicBezTo>
                <a:cubicBezTo>
                  <a:pt x="233" y="81"/>
                  <a:pt x="233" y="81"/>
                  <a:pt x="233" y="81"/>
                </a:cubicBezTo>
                <a:cubicBezTo>
                  <a:pt x="233" y="80"/>
                  <a:pt x="233" y="80"/>
                  <a:pt x="233" y="80"/>
                </a:cubicBezTo>
                <a:cubicBezTo>
                  <a:pt x="232" y="80"/>
                  <a:pt x="232" y="80"/>
                  <a:pt x="232" y="80"/>
                </a:cubicBezTo>
                <a:cubicBezTo>
                  <a:pt x="233" y="79"/>
                  <a:pt x="233" y="79"/>
                  <a:pt x="233" y="79"/>
                </a:cubicBezTo>
                <a:cubicBezTo>
                  <a:pt x="231" y="77"/>
                  <a:pt x="231" y="77"/>
                  <a:pt x="231" y="77"/>
                </a:cubicBezTo>
                <a:cubicBezTo>
                  <a:pt x="230" y="76"/>
                  <a:pt x="230" y="76"/>
                  <a:pt x="230" y="76"/>
                </a:cubicBezTo>
                <a:cubicBezTo>
                  <a:pt x="230" y="74"/>
                  <a:pt x="230" y="74"/>
                  <a:pt x="230" y="74"/>
                </a:cubicBezTo>
                <a:cubicBezTo>
                  <a:pt x="231" y="74"/>
                  <a:pt x="231" y="74"/>
                  <a:pt x="231" y="74"/>
                </a:cubicBezTo>
                <a:cubicBezTo>
                  <a:pt x="231" y="73"/>
                  <a:pt x="231" y="73"/>
                  <a:pt x="231" y="73"/>
                </a:cubicBezTo>
                <a:cubicBezTo>
                  <a:pt x="230" y="71"/>
                  <a:pt x="230" y="71"/>
                  <a:pt x="230" y="71"/>
                </a:cubicBezTo>
                <a:cubicBezTo>
                  <a:pt x="230" y="72"/>
                  <a:pt x="230" y="72"/>
                  <a:pt x="230" y="72"/>
                </a:cubicBezTo>
                <a:cubicBezTo>
                  <a:pt x="228" y="71"/>
                  <a:pt x="228" y="71"/>
                  <a:pt x="228" y="71"/>
                </a:cubicBezTo>
                <a:cubicBezTo>
                  <a:pt x="227" y="70"/>
                  <a:pt x="227" y="70"/>
                  <a:pt x="227" y="70"/>
                </a:cubicBezTo>
                <a:cubicBezTo>
                  <a:pt x="226" y="70"/>
                  <a:pt x="226" y="70"/>
                  <a:pt x="226" y="70"/>
                </a:cubicBezTo>
                <a:cubicBezTo>
                  <a:pt x="225" y="69"/>
                  <a:pt x="225" y="69"/>
                  <a:pt x="225" y="69"/>
                </a:cubicBezTo>
                <a:cubicBezTo>
                  <a:pt x="224" y="69"/>
                  <a:pt x="224" y="69"/>
                  <a:pt x="224" y="69"/>
                </a:cubicBezTo>
                <a:cubicBezTo>
                  <a:pt x="224" y="69"/>
                  <a:pt x="224" y="69"/>
                  <a:pt x="224" y="69"/>
                </a:cubicBezTo>
                <a:cubicBezTo>
                  <a:pt x="223" y="68"/>
                  <a:pt x="223" y="68"/>
                  <a:pt x="223" y="68"/>
                </a:cubicBezTo>
                <a:cubicBezTo>
                  <a:pt x="222" y="69"/>
                  <a:pt x="222" y="69"/>
                  <a:pt x="222" y="69"/>
                </a:cubicBezTo>
                <a:cubicBezTo>
                  <a:pt x="222" y="68"/>
                  <a:pt x="222" y="68"/>
                  <a:pt x="222" y="68"/>
                </a:cubicBezTo>
                <a:cubicBezTo>
                  <a:pt x="224" y="67"/>
                  <a:pt x="224" y="67"/>
                  <a:pt x="224" y="67"/>
                </a:cubicBezTo>
                <a:cubicBezTo>
                  <a:pt x="224" y="67"/>
                  <a:pt x="224" y="67"/>
                  <a:pt x="224" y="67"/>
                </a:cubicBezTo>
                <a:cubicBezTo>
                  <a:pt x="223" y="66"/>
                  <a:pt x="223" y="66"/>
                  <a:pt x="223" y="66"/>
                </a:cubicBezTo>
                <a:cubicBezTo>
                  <a:pt x="222" y="66"/>
                  <a:pt x="222" y="66"/>
                  <a:pt x="222" y="66"/>
                </a:cubicBezTo>
                <a:cubicBezTo>
                  <a:pt x="221" y="66"/>
                  <a:pt x="221" y="66"/>
                  <a:pt x="221" y="66"/>
                </a:cubicBezTo>
                <a:cubicBezTo>
                  <a:pt x="221" y="65"/>
                  <a:pt x="221" y="65"/>
                  <a:pt x="221" y="65"/>
                </a:cubicBezTo>
                <a:cubicBezTo>
                  <a:pt x="220" y="65"/>
                  <a:pt x="220" y="65"/>
                  <a:pt x="220" y="65"/>
                </a:cubicBezTo>
                <a:cubicBezTo>
                  <a:pt x="217" y="64"/>
                  <a:pt x="217" y="64"/>
                  <a:pt x="217" y="64"/>
                </a:cubicBezTo>
                <a:cubicBezTo>
                  <a:pt x="216" y="61"/>
                  <a:pt x="216" y="61"/>
                  <a:pt x="216" y="61"/>
                </a:cubicBezTo>
                <a:cubicBezTo>
                  <a:pt x="216" y="59"/>
                  <a:pt x="216" y="59"/>
                  <a:pt x="216" y="59"/>
                </a:cubicBezTo>
                <a:cubicBezTo>
                  <a:pt x="215" y="58"/>
                  <a:pt x="215" y="58"/>
                  <a:pt x="215" y="58"/>
                </a:cubicBezTo>
                <a:cubicBezTo>
                  <a:pt x="215" y="56"/>
                  <a:pt x="215" y="56"/>
                  <a:pt x="215" y="56"/>
                </a:cubicBezTo>
                <a:cubicBezTo>
                  <a:pt x="216" y="56"/>
                  <a:pt x="216" y="56"/>
                  <a:pt x="216" y="56"/>
                </a:cubicBezTo>
                <a:cubicBezTo>
                  <a:pt x="216" y="54"/>
                  <a:pt x="216" y="54"/>
                  <a:pt x="216" y="54"/>
                </a:cubicBezTo>
                <a:cubicBezTo>
                  <a:pt x="216" y="50"/>
                  <a:pt x="216" y="50"/>
                  <a:pt x="216" y="50"/>
                </a:cubicBezTo>
                <a:cubicBezTo>
                  <a:pt x="215" y="49"/>
                  <a:pt x="215" y="49"/>
                  <a:pt x="215" y="49"/>
                </a:cubicBezTo>
                <a:cubicBezTo>
                  <a:pt x="216" y="49"/>
                  <a:pt x="216" y="49"/>
                  <a:pt x="216" y="49"/>
                </a:cubicBezTo>
                <a:cubicBezTo>
                  <a:pt x="215" y="48"/>
                  <a:pt x="215" y="48"/>
                  <a:pt x="215" y="48"/>
                </a:cubicBezTo>
                <a:cubicBezTo>
                  <a:pt x="214" y="48"/>
                  <a:pt x="214" y="48"/>
                  <a:pt x="214" y="48"/>
                </a:cubicBezTo>
                <a:cubicBezTo>
                  <a:pt x="213" y="45"/>
                  <a:pt x="213" y="45"/>
                  <a:pt x="213" y="45"/>
                </a:cubicBezTo>
                <a:cubicBezTo>
                  <a:pt x="213" y="42"/>
                  <a:pt x="213" y="42"/>
                  <a:pt x="213" y="42"/>
                </a:cubicBezTo>
                <a:cubicBezTo>
                  <a:pt x="213" y="42"/>
                  <a:pt x="213" y="42"/>
                  <a:pt x="213" y="42"/>
                </a:cubicBezTo>
                <a:cubicBezTo>
                  <a:pt x="213" y="41"/>
                  <a:pt x="213" y="41"/>
                  <a:pt x="213" y="41"/>
                </a:cubicBezTo>
                <a:cubicBezTo>
                  <a:pt x="213" y="40"/>
                  <a:pt x="213" y="40"/>
                  <a:pt x="213" y="40"/>
                </a:cubicBezTo>
                <a:cubicBezTo>
                  <a:pt x="212" y="37"/>
                  <a:pt x="212" y="37"/>
                  <a:pt x="212" y="37"/>
                </a:cubicBezTo>
                <a:cubicBezTo>
                  <a:pt x="213" y="36"/>
                  <a:pt x="213" y="36"/>
                  <a:pt x="213" y="36"/>
                </a:cubicBezTo>
                <a:cubicBezTo>
                  <a:pt x="212" y="34"/>
                  <a:pt x="212" y="34"/>
                  <a:pt x="212" y="34"/>
                </a:cubicBezTo>
                <a:cubicBezTo>
                  <a:pt x="213" y="34"/>
                  <a:pt x="213" y="34"/>
                  <a:pt x="213" y="34"/>
                </a:cubicBezTo>
                <a:cubicBezTo>
                  <a:pt x="213" y="33"/>
                  <a:pt x="213" y="33"/>
                  <a:pt x="213" y="33"/>
                </a:cubicBezTo>
                <a:cubicBezTo>
                  <a:pt x="211" y="31"/>
                  <a:pt x="211" y="31"/>
                  <a:pt x="211" y="31"/>
                </a:cubicBezTo>
                <a:cubicBezTo>
                  <a:pt x="209" y="30"/>
                  <a:pt x="209" y="30"/>
                  <a:pt x="209" y="30"/>
                </a:cubicBezTo>
                <a:cubicBezTo>
                  <a:pt x="210" y="30"/>
                  <a:pt x="210" y="30"/>
                  <a:pt x="210" y="30"/>
                </a:cubicBezTo>
                <a:cubicBezTo>
                  <a:pt x="208" y="28"/>
                  <a:pt x="208" y="28"/>
                  <a:pt x="208" y="28"/>
                </a:cubicBezTo>
                <a:cubicBezTo>
                  <a:pt x="207" y="29"/>
                  <a:pt x="207" y="29"/>
                  <a:pt x="207" y="29"/>
                </a:cubicBezTo>
                <a:cubicBezTo>
                  <a:pt x="206" y="29"/>
                  <a:pt x="206" y="29"/>
                  <a:pt x="206" y="29"/>
                </a:cubicBezTo>
                <a:cubicBezTo>
                  <a:pt x="206" y="30"/>
                  <a:pt x="206" y="30"/>
                  <a:pt x="206" y="30"/>
                </a:cubicBezTo>
                <a:cubicBezTo>
                  <a:pt x="205" y="30"/>
                  <a:pt x="205" y="30"/>
                  <a:pt x="205" y="30"/>
                </a:cubicBezTo>
                <a:cubicBezTo>
                  <a:pt x="203" y="28"/>
                  <a:pt x="203" y="28"/>
                  <a:pt x="203" y="28"/>
                </a:cubicBezTo>
                <a:cubicBezTo>
                  <a:pt x="203" y="27"/>
                  <a:pt x="203" y="27"/>
                  <a:pt x="203" y="27"/>
                </a:cubicBezTo>
                <a:cubicBezTo>
                  <a:pt x="203" y="25"/>
                  <a:pt x="203" y="25"/>
                  <a:pt x="203" y="25"/>
                </a:cubicBezTo>
                <a:cubicBezTo>
                  <a:pt x="203" y="23"/>
                  <a:pt x="203" y="23"/>
                  <a:pt x="203" y="23"/>
                </a:cubicBezTo>
                <a:cubicBezTo>
                  <a:pt x="203" y="20"/>
                  <a:pt x="203" y="20"/>
                  <a:pt x="203" y="20"/>
                </a:cubicBezTo>
                <a:cubicBezTo>
                  <a:pt x="202" y="20"/>
                  <a:pt x="202" y="20"/>
                  <a:pt x="202" y="20"/>
                </a:cubicBezTo>
                <a:cubicBezTo>
                  <a:pt x="202" y="19"/>
                  <a:pt x="202" y="19"/>
                  <a:pt x="202" y="19"/>
                </a:cubicBezTo>
                <a:cubicBezTo>
                  <a:pt x="202" y="18"/>
                  <a:pt x="202" y="18"/>
                  <a:pt x="202" y="18"/>
                </a:cubicBezTo>
                <a:cubicBezTo>
                  <a:pt x="201" y="17"/>
                  <a:pt x="201" y="17"/>
                  <a:pt x="201" y="17"/>
                </a:cubicBezTo>
                <a:cubicBezTo>
                  <a:pt x="201" y="16"/>
                  <a:pt x="201" y="16"/>
                  <a:pt x="201" y="16"/>
                </a:cubicBezTo>
                <a:cubicBezTo>
                  <a:pt x="201" y="15"/>
                  <a:pt x="201" y="15"/>
                  <a:pt x="201" y="15"/>
                </a:cubicBezTo>
                <a:cubicBezTo>
                  <a:pt x="201" y="14"/>
                  <a:pt x="201" y="14"/>
                  <a:pt x="201" y="14"/>
                </a:cubicBezTo>
                <a:cubicBezTo>
                  <a:pt x="202" y="13"/>
                  <a:pt x="202" y="13"/>
                  <a:pt x="202" y="13"/>
                </a:cubicBezTo>
                <a:cubicBezTo>
                  <a:pt x="201" y="12"/>
                  <a:pt x="201" y="12"/>
                  <a:pt x="201" y="12"/>
                </a:cubicBezTo>
                <a:cubicBezTo>
                  <a:pt x="200" y="13"/>
                  <a:pt x="200" y="13"/>
                  <a:pt x="200" y="13"/>
                </a:cubicBezTo>
                <a:cubicBezTo>
                  <a:pt x="199" y="12"/>
                  <a:pt x="199" y="12"/>
                  <a:pt x="199" y="12"/>
                </a:cubicBezTo>
                <a:cubicBezTo>
                  <a:pt x="199" y="9"/>
                  <a:pt x="199" y="9"/>
                  <a:pt x="199" y="9"/>
                </a:cubicBezTo>
                <a:cubicBezTo>
                  <a:pt x="199" y="8"/>
                  <a:pt x="199" y="8"/>
                  <a:pt x="199" y="8"/>
                </a:cubicBezTo>
                <a:cubicBezTo>
                  <a:pt x="199" y="7"/>
                  <a:pt x="199" y="7"/>
                  <a:pt x="199" y="7"/>
                </a:cubicBezTo>
                <a:cubicBezTo>
                  <a:pt x="197" y="6"/>
                  <a:pt x="197" y="6"/>
                  <a:pt x="197" y="6"/>
                </a:cubicBezTo>
                <a:cubicBezTo>
                  <a:pt x="197" y="5"/>
                  <a:pt x="197" y="5"/>
                  <a:pt x="197" y="5"/>
                </a:cubicBezTo>
                <a:cubicBezTo>
                  <a:pt x="196" y="6"/>
                  <a:pt x="196" y="6"/>
                  <a:pt x="196" y="6"/>
                </a:cubicBezTo>
                <a:cubicBezTo>
                  <a:pt x="195" y="7"/>
                  <a:pt x="195" y="7"/>
                  <a:pt x="195" y="7"/>
                </a:cubicBezTo>
                <a:cubicBezTo>
                  <a:pt x="195" y="9"/>
                  <a:pt x="195" y="9"/>
                  <a:pt x="195" y="9"/>
                </a:cubicBezTo>
                <a:cubicBezTo>
                  <a:pt x="194" y="11"/>
                  <a:pt x="194" y="11"/>
                  <a:pt x="194" y="11"/>
                </a:cubicBezTo>
                <a:cubicBezTo>
                  <a:pt x="194" y="12"/>
                  <a:pt x="194" y="12"/>
                  <a:pt x="194" y="12"/>
                </a:cubicBezTo>
                <a:cubicBezTo>
                  <a:pt x="194" y="13"/>
                  <a:pt x="194" y="13"/>
                  <a:pt x="194" y="13"/>
                </a:cubicBezTo>
                <a:cubicBezTo>
                  <a:pt x="193" y="13"/>
                  <a:pt x="193" y="13"/>
                  <a:pt x="193" y="13"/>
                </a:cubicBezTo>
                <a:cubicBezTo>
                  <a:pt x="193" y="15"/>
                  <a:pt x="193" y="15"/>
                  <a:pt x="193" y="15"/>
                </a:cubicBezTo>
                <a:cubicBezTo>
                  <a:pt x="192" y="16"/>
                  <a:pt x="192" y="16"/>
                  <a:pt x="192" y="16"/>
                </a:cubicBezTo>
                <a:cubicBezTo>
                  <a:pt x="192" y="17"/>
                  <a:pt x="192" y="17"/>
                  <a:pt x="192" y="17"/>
                </a:cubicBezTo>
                <a:cubicBezTo>
                  <a:pt x="194" y="18"/>
                  <a:pt x="194" y="18"/>
                  <a:pt x="194" y="18"/>
                </a:cubicBezTo>
                <a:cubicBezTo>
                  <a:pt x="193" y="19"/>
                  <a:pt x="193" y="19"/>
                  <a:pt x="193" y="19"/>
                </a:cubicBezTo>
                <a:cubicBezTo>
                  <a:pt x="192" y="19"/>
                  <a:pt x="192" y="19"/>
                  <a:pt x="192" y="19"/>
                </a:cubicBezTo>
                <a:cubicBezTo>
                  <a:pt x="192" y="20"/>
                  <a:pt x="192" y="20"/>
                  <a:pt x="192" y="20"/>
                </a:cubicBezTo>
                <a:cubicBezTo>
                  <a:pt x="191" y="21"/>
                  <a:pt x="191" y="21"/>
                  <a:pt x="191" y="21"/>
                </a:cubicBezTo>
                <a:cubicBezTo>
                  <a:pt x="192" y="23"/>
                  <a:pt x="192" y="23"/>
                  <a:pt x="192" y="23"/>
                </a:cubicBezTo>
                <a:cubicBezTo>
                  <a:pt x="192" y="24"/>
                  <a:pt x="192" y="24"/>
                  <a:pt x="192" y="24"/>
                </a:cubicBezTo>
                <a:cubicBezTo>
                  <a:pt x="191" y="23"/>
                  <a:pt x="191" y="23"/>
                  <a:pt x="191" y="23"/>
                </a:cubicBezTo>
                <a:cubicBezTo>
                  <a:pt x="190" y="24"/>
                  <a:pt x="190" y="24"/>
                  <a:pt x="190" y="24"/>
                </a:cubicBezTo>
                <a:cubicBezTo>
                  <a:pt x="190" y="27"/>
                  <a:pt x="190" y="27"/>
                  <a:pt x="190" y="27"/>
                </a:cubicBezTo>
                <a:cubicBezTo>
                  <a:pt x="190" y="29"/>
                  <a:pt x="190" y="29"/>
                  <a:pt x="190" y="29"/>
                </a:cubicBezTo>
                <a:cubicBezTo>
                  <a:pt x="190" y="31"/>
                  <a:pt x="190" y="31"/>
                  <a:pt x="190" y="31"/>
                </a:cubicBezTo>
                <a:cubicBezTo>
                  <a:pt x="190" y="33"/>
                  <a:pt x="190" y="33"/>
                  <a:pt x="190" y="33"/>
                </a:cubicBezTo>
                <a:cubicBezTo>
                  <a:pt x="190" y="35"/>
                  <a:pt x="190" y="35"/>
                  <a:pt x="190" y="35"/>
                </a:cubicBezTo>
                <a:cubicBezTo>
                  <a:pt x="189" y="36"/>
                  <a:pt x="189" y="36"/>
                  <a:pt x="189" y="36"/>
                </a:cubicBezTo>
                <a:cubicBezTo>
                  <a:pt x="189" y="37"/>
                  <a:pt x="189" y="37"/>
                  <a:pt x="189" y="37"/>
                </a:cubicBezTo>
                <a:cubicBezTo>
                  <a:pt x="188" y="39"/>
                  <a:pt x="188" y="39"/>
                  <a:pt x="188" y="39"/>
                </a:cubicBezTo>
                <a:cubicBezTo>
                  <a:pt x="188" y="43"/>
                  <a:pt x="188" y="43"/>
                  <a:pt x="188" y="43"/>
                </a:cubicBezTo>
                <a:cubicBezTo>
                  <a:pt x="187" y="44"/>
                  <a:pt x="187" y="44"/>
                  <a:pt x="187" y="44"/>
                </a:cubicBezTo>
                <a:cubicBezTo>
                  <a:pt x="187" y="45"/>
                  <a:pt x="187" y="45"/>
                  <a:pt x="187" y="45"/>
                </a:cubicBezTo>
                <a:cubicBezTo>
                  <a:pt x="186" y="47"/>
                  <a:pt x="186" y="47"/>
                  <a:pt x="186" y="47"/>
                </a:cubicBezTo>
                <a:cubicBezTo>
                  <a:pt x="185" y="48"/>
                  <a:pt x="185" y="48"/>
                  <a:pt x="185" y="48"/>
                </a:cubicBezTo>
                <a:cubicBezTo>
                  <a:pt x="185" y="51"/>
                  <a:pt x="185" y="51"/>
                  <a:pt x="185" y="51"/>
                </a:cubicBezTo>
                <a:cubicBezTo>
                  <a:pt x="183" y="52"/>
                  <a:pt x="183" y="52"/>
                  <a:pt x="183" y="52"/>
                </a:cubicBezTo>
                <a:cubicBezTo>
                  <a:pt x="179" y="54"/>
                  <a:pt x="179" y="54"/>
                  <a:pt x="179" y="54"/>
                </a:cubicBezTo>
                <a:cubicBezTo>
                  <a:pt x="177" y="53"/>
                  <a:pt x="177" y="53"/>
                  <a:pt x="177" y="53"/>
                </a:cubicBezTo>
                <a:cubicBezTo>
                  <a:pt x="176" y="53"/>
                  <a:pt x="176" y="53"/>
                  <a:pt x="176" y="53"/>
                </a:cubicBezTo>
                <a:cubicBezTo>
                  <a:pt x="175" y="51"/>
                  <a:pt x="175" y="51"/>
                  <a:pt x="175" y="51"/>
                </a:cubicBezTo>
                <a:cubicBezTo>
                  <a:pt x="173" y="50"/>
                  <a:pt x="173" y="50"/>
                  <a:pt x="173" y="50"/>
                </a:cubicBezTo>
                <a:cubicBezTo>
                  <a:pt x="173" y="49"/>
                  <a:pt x="173" y="49"/>
                  <a:pt x="173" y="49"/>
                </a:cubicBezTo>
                <a:cubicBezTo>
                  <a:pt x="173" y="49"/>
                  <a:pt x="173" y="49"/>
                  <a:pt x="173" y="49"/>
                </a:cubicBezTo>
                <a:cubicBezTo>
                  <a:pt x="172" y="48"/>
                  <a:pt x="172" y="48"/>
                  <a:pt x="172" y="48"/>
                </a:cubicBezTo>
                <a:cubicBezTo>
                  <a:pt x="171" y="47"/>
                  <a:pt x="171" y="47"/>
                  <a:pt x="171" y="47"/>
                </a:cubicBezTo>
                <a:cubicBezTo>
                  <a:pt x="170" y="47"/>
                  <a:pt x="170" y="47"/>
                  <a:pt x="170" y="47"/>
                </a:cubicBezTo>
                <a:cubicBezTo>
                  <a:pt x="168" y="47"/>
                  <a:pt x="168" y="47"/>
                  <a:pt x="168" y="47"/>
                </a:cubicBezTo>
                <a:cubicBezTo>
                  <a:pt x="166" y="46"/>
                  <a:pt x="166" y="46"/>
                  <a:pt x="166" y="46"/>
                </a:cubicBezTo>
                <a:cubicBezTo>
                  <a:pt x="166" y="44"/>
                  <a:pt x="166" y="44"/>
                  <a:pt x="166" y="44"/>
                </a:cubicBezTo>
                <a:cubicBezTo>
                  <a:pt x="164" y="43"/>
                  <a:pt x="164" y="43"/>
                  <a:pt x="164" y="43"/>
                </a:cubicBezTo>
                <a:cubicBezTo>
                  <a:pt x="163" y="43"/>
                  <a:pt x="163" y="43"/>
                  <a:pt x="163" y="43"/>
                </a:cubicBezTo>
                <a:cubicBezTo>
                  <a:pt x="161" y="42"/>
                  <a:pt x="161" y="42"/>
                  <a:pt x="161" y="42"/>
                </a:cubicBezTo>
                <a:cubicBezTo>
                  <a:pt x="161" y="41"/>
                  <a:pt x="161" y="41"/>
                  <a:pt x="161" y="41"/>
                </a:cubicBezTo>
                <a:cubicBezTo>
                  <a:pt x="160" y="41"/>
                  <a:pt x="160" y="41"/>
                  <a:pt x="160" y="41"/>
                </a:cubicBezTo>
                <a:cubicBezTo>
                  <a:pt x="160" y="40"/>
                  <a:pt x="160" y="40"/>
                  <a:pt x="160" y="40"/>
                </a:cubicBezTo>
                <a:cubicBezTo>
                  <a:pt x="158" y="40"/>
                  <a:pt x="158" y="40"/>
                  <a:pt x="158" y="40"/>
                </a:cubicBezTo>
                <a:cubicBezTo>
                  <a:pt x="157" y="40"/>
                  <a:pt x="157" y="40"/>
                  <a:pt x="157" y="40"/>
                </a:cubicBezTo>
                <a:cubicBezTo>
                  <a:pt x="157" y="39"/>
                  <a:pt x="157" y="39"/>
                  <a:pt x="157" y="39"/>
                </a:cubicBezTo>
                <a:cubicBezTo>
                  <a:pt x="156" y="38"/>
                  <a:pt x="156" y="38"/>
                  <a:pt x="156" y="38"/>
                </a:cubicBezTo>
                <a:cubicBezTo>
                  <a:pt x="156" y="37"/>
                  <a:pt x="156" y="37"/>
                  <a:pt x="156" y="37"/>
                </a:cubicBezTo>
                <a:cubicBezTo>
                  <a:pt x="154" y="35"/>
                  <a:pt x="154" y="35"/>
                  <a:pt x="154" y="35"/>
                </a:cubicBezTo>
                <a:cubicBezTo>
                  <a:pt x="153" y="35"/>
                  <a:pt x="153" y="35"/>
                  <a:pt x="153" y="35"/>
                </a:cubicBezTo>
                <a:cubicBezTo>
                  <a:pt x="152" y="33"/>
                  <a:pt x="152" y="33"/>
                  <a:pt x="152" y="33"/>
                </a:cubicBezTo>
                <a:cubicBezTo>
                  <a:pt x="151" y="32"/>
                  <a:pt x="151" y="32"/>
                  <a:pt x="151" y="32"/>
                </a:cubicBezTo>
                <a:cubicBezTo>
                  <a:pt x="153" y="30"/>
                  <a:pt x="153" y="30"/>
                  <a:pt x="153" y="30"/>
                </a:cubicBezTo>
                <a:cubicBezTo>
                  <a:pt x="153" y="28"/>
                  <a:pt x="153" y="28"/>
                  <a:pt x="153" y="28"/>
                </a:cubicBezTo>
                <a:cubicBezTo>
                  <a:pt x="154" y="28"/>
                  <a:pt x="154" y="28"/>
                  <a:pt x="154" y="28"/>
                </a:cubicBezTo>
                <a:cubicBezTo>
                  <a:pt x="155" y="26"/>
                  <a:pt x="155" y="26"/>
                  <a:pt x="155" y="26"/>
                </a:cubicBezTo>
                <a:cubicBezTo>
                  <a:pt x="155" y="25"/>
                  <a:pt x="155" y="25"/>
                  <a:pt x="155" y="25"/>
                </a:cubicBezTo>
                <a:cubicBezTo>
                  <a:pt x="154" y="26"/>
                  <a:pt x="154" y="26"/>
                  <a:pt x="154" y="26"/>
                </a:cubicBezTo>
                <a:cubicBezTo>
                  <a:pt x="153" y="24"/>
                  <a:pt x="153" y="24"/>
                  <a:pt x="153" y="24"/>
                </a:cubicBezTo>
                <a:cubicBezTo>
                  <a:pt x="154" y="23"/>
                  <a:pt x="154" y="23"/>
                  <a:pt x="154" y="23"/>
                </a:cubicBezTo>
                <a:cubicBezTo>
                  <a:pt x="154" y="22"/>
                  <a:pt x="154" y="22"/>
                  <a:pt x="154" y="22"/>
                </a:cubicBezTo>
                <a:cubicBezTo>
                  <a:pt x="155" y="22"/>
                  <a:pt x="155" y="22"/>
                  <a:pt x="155" y="22"/>
                </a:cubicBezTo>
                <a:cubicBezTo>
                  <a:pt x="156" y="21"/>
                  <a:pt x="156" y="21"/>
                  <a:pt x="156" y="21"/>
                </a:cubicBezTo>
                <a:cubicBezTo>
                  <a:pt x="156" y="22"/>
                  <a:pt x="156" y="22"/>
                  <a:pt x="156" y="22"/>
                </a:cubicBezTo>
                <a:cubicBezTo>
                  <a:pt x="157" y="22"/>
                  <a:pt x="157" y="22"/>
                  <a:pt x="157" y="22"/>
                </a:cubicBezTo>
                <a:cubicBezTo>
                  <a:pt x="159" y="21"/>
                  <a:pt x="159" y="21"/>
                  <a:pt x="159" y="21"/>
                </a:cubicBezTo>
                <a:cubicBezTo>
                  <a:pt x="159" y="20"/>
                  <a:pt x="159" y="20"/>
                  <a:pt x="159" y="20"/>
                </a:cubicBezTo>
                <a:cubicBezTo>
                  <a:pt x="158" y="19"/>
                  <a:pt x="158" y="19"/>
                  <a:pt x="158" y="19"/>
                </a:cubicBezTo>
                <a:cubicBezTo>
                  <a:pt x="159" y="18"/>
                  <a:pt x="159" y="18"/>
                  <a:pt x="159" y="18"/>
                </a:cubicBezTo>
                <a:cubicBezTo>
                  <a:pt x="160" y="19"/>
                  <a:pt x="160" y="19"/>
                  <a:pt x="160" y="19"/>
                </a:cubicBezTo>
                <a:cubicBezTo>
                  <a:pt x="160" y="16"/>
                  <a:pt x="160" y="16"/>
                  <a:pt x="160" y="16"/>
                </a:cubicBezTo>
                <a:cubicBezTo>
                  <a:pt x="161" y="16"/>
                  <a:pt x="161" y="16"/>
                  <a:pt x="161" y="16"/>
                </a:cubicBezTo>
                <a:cubicBezTo>
                  <a:pt x="162" y="15"/>
                  <a:pt x="162" y="15"/>
                  <a:pt x="162" y="15"/>
                </a:cubicBezTo>
                <a:cubicBezTo>
                  <a:pt x="162" y="14"/>
                  <a:pt x="162" y="14"/>
                  <a:pt x="162" y="14"/>
                </a:cubicBezTo>
                <a:cubicBezTo>
                  <a:pt x="161" y="14"/>
                  <a:pt x="161" y="14"/>
                  <a:pt x="161" y="14"/>
                </a:cubicBezTo>
                <a:cubicBezTo>
                  <a:pt x="160" y="15"/>
                  <a:pt x="160" y="15"/>
                  <a:pt x="160" y="15"/>
                </a:cubicBezTo>
                <a:cubicBezTo>
                  <a:pt x="159" y="14"/>
                  <a:pt x="159" y="14"/>
                  <a:pt x="159" y="14"/>
                </a:cubicBezTo>
                <a:cubicBezTo>
                  <a:pt x="159" y="12"/>
                  <a:pt x="159" y="12"/>
                  <a:pt x="159" y="12"/>
                </a:cubicBezTo>
                <a:cubicBezTo>
                  <a:pt x="158" y="13"/>
                  <a:pt x="158" y="13"/>
                  <a:pt x="158" y="13"/>
                </a:cubicBezTo>
                <a:cubicBezTo>
                  <a:pt x="156" y="14"/>
                  <a:pt x="156" y="14"/>
                  <a:pt x="156" y="14"/>
                </a:cubicBezTo>
                <a:cubicBezTo>
                  <a:pt x="157" y="15"/>
                  <a:pt x="157" y="15"/>
                  <a:pt x="157" y="15"/>
                </a:cubicBezTo>
                <a:cubicBezTo>
                  <a:pt x="157" y="16"/>
                  <a:pt x="157" y="16"/>
                  <a:pt x="157" y="16"/>
                </a:cubicBezTo>
                <a:cubicBezTo>
                  <a:pt x="156" y="16"/>
                  <a:pt x="156" y="16"/>
                  <a:pt x="156" y="16"/>
                </a:cubicBezTo>
                <a:cubicBezTo>
                  <a:pt x="155" y="15"/>
                  <a:pt x="155" y="15"/>
                  <a:pt x="155" y="15"/>
                </a:cubicBezTo>
                <a:cubicBezTo>
                  <a:pt x="155" y="15"/>
                  <a:pt x="155" y="15"/>
                  <a:pt x="155" y="15"/>
                </a:cubicBezTo>
                <a:cubicBezTo>
                  <a:pt x="154" y="14"/>
                  <a:pt x="154" y="14"/>
                  <a:pt x="154" y="14"/>
                </a:cubicBezTo>
                <a:cubicBezTo>
                  <a:pt x="154" y="15"/>
                  <a:pt x="154" y="15"/>
                  <a:pt x="154" y="15"/>
                </a:cubicBezTo>
                <a:cubicBezTo>
                  <a:pt x="153" y="15"/>
                  <a:pt x="153" y="15"/>
                  <a:pt x="153" y="15"/>
                </a:cubicBezTo>
                <a:cubicBezTo>
                  <a:pt x="153" y="14"/>
                  <a:pt x="153" y="14"/>
                  <a:pt x="153" y="14"/>
                </a:cubicBezTo>
                <a:cubicBezTo>
                  <a:pt x="154" y="13"/>
                  <a:pt x="154" y="13"/>
                  <a:pt x="154" y="13"/>
                </a:cubicBezTo>
                <a:cubicBezTo>
                  <a:pt x="154" y="13"/>
                  <a:pt x="154" y="13"/>
                  <a:pt x="154" y="13"/>
                </a:cubicBezTo>
                <a:cubicBezTo>
                  <a:pt x="153" y="13"/>
                  <a:pt x="153" y="13"/>
                  <a:pt x="153" y="13"/>
                </a:cubicBezTo>
                <a:cubicBezTo>
                  <a:pt x="153" y="14"/>
                  <a:pt x="153" y="14"/>
                  <a:pt x="153" y="14"/>
                </a:cubicBezTo>
                <a:cubicBezTo>
                  <a:pt x="151" y="14"/>
                  <a:pt x="151" y="14"/>
                  <a:pt x="151" y="14"/>
                </a:cubicBezTo>
                <a:cubicBezTo>
                  <a:pt x="151" y="15"/>
                  <a:pt x="151" y="15"/>
                  <a:pt x="151" y="15"/>
                </a:cubicBezTo>
                <a:cubicBezTo>
                  <a:pt x="150" y="15"/>
                  <a:pt x="150" y="15"/>
                  <a:pt x="150" y="15"/>
                </a:cubicBezTo>
                <a:cubicBezTo>
                  <a:pt x="150" y="15"/>
                  <a:pt x="150" y="15"/>
                  <a:pt x="150" y="15"/>
                </a:cubicBezTo>
                <a:cubicBezTo>
                  <a:pt x="149" y="14"/>
                  <a:pt x="149" y="14"/>
                  <a:pt x="149" y="14"/>
                </a:cubicBezTo>
                <a:cubicBezTo>
                  <a:pt x="149" y="14"/>
                  <a:pt x="149" y="14"/>
                  <a:pt x="149" y="14"/>
                </a:cubicBezTo>
                <a:cubicBezTo>
                  <a:pt x="148" y="13"/>
                  <a:pt x="148" y="13"/>
                  <a:pt x="148" y="13"/>
                </a:cubicBezTo>
                <a:cubicBezTo>
                  <a:pt x="147" y="12"/>
                  <a:pt x="147" y="12"/>
                  <a:pt x="147" y="12"/>
                </a:cubicBezTo>
                <a:cubicBezTo>
                  <a:pt x="146" y="13"/>
                  <a:pt x="146" y="13"/>
                  <a:pt x="146" y="13"/>
                </a:cubicBezTo>
                <a:cubicBezTo>
                  <a:pt x="145" y="13"/>
                  <a:pt x="145" y="13"/>
                  <a:pt x="145" y="13"/>
                </a:cubicBezTo>
                <a:cubicBezTo>
                  <a:pt x="144" y="13"/>
                  <a:pt x="144" y="13"/>
                  <a:pt x="144" y="13"/>
                </a:cubicBezTo>
                <a:cubicBezTo>
                  <a:pt x="144" y="12"/>
                  <a:pt x="144" y="12"/>
                  <a:pt x="144" y="12"/>
                </a:cubicBezTo>
                <a:cubicBezTo>
                  <a:pt x="143" y="12"/>
                  <a:pt x="143" y="12"/>
                  <a:pt x="143" y="12"/>
                </a:cubicBezTo>
                <a:cubicBezTo>
                  <a:pt x="142" y="11"/>
                  <a:pt x="142" y="11"/>
                  <a:pt x="142" y="11"/>
                </a:cubicBezTo>
                <a:cubicBezTo>
                  <a:pt x="141" y="12"/>
                  <a:pt x="141" y="12"/>
                  <a:pt x="141" y="12"/>
                </a:cubicBezTo>
                <a:cubicBezTo>
                  <a:pt x="139" y="11"/>
                  <a:pt x="139" y="11"/>
                  <a:pt x="139" y="11"/>
                </a:cubicBezTo>
                <a:cubicBezTo>
                  <a:pt x="138" y="11"/>
                  <a:pt x="138" y="11"/>
                  <a:pt x="138" y="11"/>
                </a:cubicBezTo>
                <a:cubicBezTo>
                  <a:pt x="138" y="10"/>
                  <a:pt x="138" y="10"/>
                  <a:pt x="138" y="10"/>
                </a:cubicBezTo>
                <a:cubicBezTo>
                  <a:pt x="137" y="9"/>
                  <a:pt x="137" y="9"/>
                  <a:pt x="137" y="9"/>
                </a:cubicBezTo>
                <a:cubicBezTo>
                  <a:pt x="137" y="9"/>
                  <a:pt x="137" y="9"/>
                  <a:pt x="137" y="9"/>
                </a:cubicBezTo>
                <a:cubicBezTo>
                  <a:pt x="137" y="9"/>
                  <a:pt x="137" y="9"/>
                  <a:pt x="137" y="9"/>
                </a:cubicBezTo>
                <a:cubicBezTo>
                  <a:pt x="135" y="10"/>
                  <a:pt x="135" y="10"/>
                  <a:pt x="135" y="10"/>
                </a:cubicBezTo>
                <a:cubicBezTo>
                  <a:pt x="134" y="9"/>
                  <a:pt x="134" y="9"/>
                  <a:pt x="134" y="9"/>
                </a:cubicBezTo>
                <a:cubicBezTo>
                  <a:pt x="133" y="8"/>
                  <a:pt x="133" y="8"/>
                  <a:pt x="133" y="8"/>
                </a:cubicBezTo>
                <a:cubicBezTo>
                  <a:pt x="132" y="7"/>
                  <a:pt x="132" y="7"/>
                  <a:pt x="132" y="7"/>
                </a:cubicBezTo>
                <a:cubicBezTo>
                  <a:pt x="131" y="8"/>
                  <a:pt x="131" y="8"/>
                  <a:pt x="131" y="8"/>
                </a:cubicBezTo>
                <a:cubicBezTo>
                  <a:pt x="131" y="7"/>
                  <a:pt x="131" y="7"/>
                  <a:pt x="131" y="7"/>
                </a:cubicBezTo>
                <a:cubicBezTo>
                  <a:pt x="129" y="8"/>
                  <a:pt x="129" y="8"/>
                  <a:pt x="129" y="8"/>
                </a:cubicBezTo>
                <a:cubicBezTo>
                  <a:pt x="131" y="9"/>
                  <a:pt x="131" y="9"/>
                  <a:pt x="131" y="9"/>
                </a:cubicBezTo>
                <a:cubicBezTo>
                  <a:pt x="130" y="9"/>
                  <a:pt x="130" y="9"/>
                  <a:pt x="130" y="9"/>
                </a:cubicBezTo>
                <a:cubicBezTo>
                  <a:pt x="132" y="10"/>
                  <a:pt x="132" y="10"/>
                  <a:pt x="132" y="10"/>
                </a:cubicBezTo>
                <a:cubicBezTo>
                  <a:pt x="133" y="9"/>
                  <a:pt x="133" y="9"/>
                  <a:pt x="133" y="9"/>
                </a:cubicBezTo>
                <a:cubicBezTo>
                  <a:pt x="134" y="11"/>
                  <a:pt x="134" y="11"/>
                  <a:pt x="134" y="11"/>
                </a:cubicBezTo>
                <a:cubicBezTo>
                  <a:pt x="134" y="11"/>
                  <a:pt x="134" y="11"/>
                  <a:pt x="134" y="11"/>
                </a:cubicBezTo>
                <a:cubicBezTo>
                  <a:pt x="135" y="13"/>
                  <a:pt x="135" y="13"/>
                  <a:pt x="135" y="13"/>
                </a:cubicBezTo>
                <a:cubicBezTo>
                  <a:pt x="133" y="14"/>
                  <a:pt x="133" y="14"/>
                  <a:pt x="133" y="14"/>
                </a:cubicBezTo>
                <a:cubicBezTo>
                  <a:pt x="133" y="15"/>
                  <a:pt x="133" y="15"/>
                  <a:pt x="133" y="15"/>
                </a:cubicBezTo>
                <a:cubicBezTo>
                  <a:pt x="132" y="14"/>
                  <a:pt x="132" y="14"/>
                  <a:pt x="132" y="14"/>
                </a:cubicBezTo>
                <a:cubicBezTo>
                  <a:pt x="131" y="14"/>
                  <a:pt x="131" y="14"/>
                  <a:pt x="131" y="14"/>
                </a:cubicBezTo>
                <a:cubicBezTo>
                  <a:pt x="130" y="14"/>
                  <a:pt x="130" y="14"/>
                  <a:pt x="130" y="14"/>
                </a:cubicBezTo>
                <a:cubicBezTo>
                  <a:pt x="127" y="15"/>
                  <a:pt x="127" y="15"/>
                  <a:pt x="127" y="15"/>
                </a:cubicBezTo>
                <a:cubicBezTo>
                  <a:pt x="125" y="13"/>
                  <a:pt x="125" y="13"/>
                  <a:pt x="125" y="13"/>
                </a:cubicBezTo>
                <a:cubicBezTo>
                  <a:pt x="125" y="14"/>
                  <a:pt x="125" y="14"/>
                  <a:pt x="125" y="14"/>
                </a:cubicBezTo>
                <a:cubicBezTo>
                  <a:pt x="124" y="15"/>
                  <a:pt x="124" y="15"/>
                  <a:pt x="124" y="15"/>
                </a:cubicBezTo>
                <a:cubicBezTo>
                  <a:pt x="124" y="16"/>
                  <a:pt x="124" y="16"/>
                  <a:pt x="124" y="16"/>
                </a:cubicBezTo>
                <a:cubicBezTo>
                  <a:pt x="123" y="15"/>
                  <a:pt x="123" y="15"/>
                  <a:pt x="123" y="15"/>
                </a:cubicBezTo>
                <a:cubicBezTo>
                  <a:pt x="123" y="17"/>
                  <a:pt x="123" y="17"/>
                  <a:pt x="123" y="17"/>
                </a:cubicBezTo>
                <a:cubicBezTo>
                  <a:pt x="123" y="17"/>
                  <a:pt x="123" y="17"/>
                  <a:pt x="123" y="17"/>
                </a:cubicBezTo>
                <a:cubicBezTo>
                  <a:pt x="121" y="16"/>
                  <a:pt x="121" y="16"/>
                  <a:pt x="121" y="16"/>
                </a:cubicBezTo>
                <a:cubicBezTo>
                  <a:pt x="121" y="17"/>
                  <a:pt x="121" y="17"/>
                  <a:pt x="121" y="17"/>
                </a:cubicBezTo>
                <a:cubicBezTo>
                  <a:pt x="121" y="18"/>
                  <a:pt x="121" y="18"/>
                  <a:pt x="121" y="18"/>
                </a:cubicBezTo>
                <a:cubicBezTo>
                  <a:pt x="121" y="18"/>
                  <a:pt x="121" y="18"/>
                  <a:pt x="121" y="18"/>
                </a:cubicBezTo>
                <a:cubicBezTo>
                  <a:pt x="120" y="18"/>
                  <a:pt x="120" y="18"/>
                  <a:pt x="120" y="18"/>
                </a:cubicBezTo>
                <a:cubicBezTo>
                  <a:pt x="119" y="19"/>
                  <a:pt x="119" y="19"/>
                  <a:pt x="119" y="19"/>
                </a:cubicBezTo>
                <a:cubicBezTo>
                  <a:pt x="119" y="19"/>
                  <a:pt x="119" y="19"/>
                  <a:pt x="119" y="19"/>
                </a:cubicBezTo>
                <a:cubicBezTo>
                  <a:pt x="119" y="20"/>
                  <a:pt x="119" y="20"/>
                  <a:pt x="119" y="20"/>
                </a:cubicBezTo>
                <a:cubicBezTo>
                  <a:pt x="118" y="20"/>
                  <a:pt x="118" y="20"/>
                  <a:pt x="118" y="20"/>
                </a:cubicBezTo>
                <a:cubicBezTo>
                  <a:pt x="118" y="21"/>
                  <a:pt x="118" y="21"/>
                  <a:pt x="118" y="21"/>
                </a:cubicBezTo>
                <a:cubicBezTo>
                  <a:pt x="119" y="22"/>
                  <a:pt x="119" y="22"/>
                  <a:pt x="119" y="22"/>
                </a:cubicBezTo>
                <a:cubicBezTo>
                  <a:pt x="119" y="23"/>
                  <a:pt x="119" y="23"/>
                  <a:pt x="119" y="23"/>
                </a:cubicBezTo>
                <a:cubicBezTo>
                  <a:pt x="118" y="22"/>
                  <a:pt x="118" y="22"/>
                  <a:pt x="118" y="22"/>
                </a:cubicBezTo>
                <a:cubicBezTo>
                  <a:pt x="117" y="23"/>
                  <a:pt x="117" y="23"/>
                  <a:pt x="117" y="23"/>
                </a:cubicBezTo>
                <a:cubicBezTo>
                  <a:pt x="116" y="23"/>
                  <a:pt x="116" y="23"/>
                  <a:pt x="116" y="23"/>
                </a:cubicBezTo>
                <a:cubicBezTo>
                  <a:pt x="115" y="25"/>
                  <a:pt x="115" y="25"/>
                  <a:pt x="115" y="25"/>
                </a:cubicBezTo>
                <a:cubicBezTo>
                  <a:pt x="114" y="27"/>
                  <a:pt x="114" y="27"/>
                  <a:pt x="114" y="27"/>
                </a:cubicBezTo>
                <a:cubicBezTo>
                  <a:pt x="113" y="27"/>
                  <a:pt x="113" y="27"/>
                  <a:pt x="113" y="27"/>
                </a:cubicBezTo>
                <a:cubicBezTo>
                  <a:pt x="113" y="28"/>
                  <a:pt x="113" y="28"/>
                  <a:pt x="113" y="28"/>
                </a:cubicBezTo>
                <a:cubicBezTo>
                  <a:pt x="112" y="29"/>
                  <a:pt x="112" y="29"/>
                  <a:pt x="112" y="29"/>
                </a:cubicBezTo>
                <a:cubicBezTo>
                  <a:pt x="113" y="30"/>
                  <a:pt x="113" y="30"/>
                  <a:pt x="113" y="30"/>
                </a:cubicBezTo>
                <a:cubicBezTo>
                  <a:pt x="115" y="30"/>
                  <a:pt x="115" y="30"/>
                  <a:pt x="115" y="30"/>
                </a:cubicBezTo>
                <a:cubicBezTo>
                  <a:pt x="114" y="31"/>
                  <a:pt x="114" y="31"/>
                  <a:pt x="114" y="31"/>
                </a:cubicBezTo>
                <a:cubicBezTo>
                  <a:pt x="113" y="31"/>
                  <a:pt x="113" y="31"/>
                  <a:pt x="113" y="31"/>
                </a:cubicBezTo>
                <a:cubicBezTo>
                  <a:pt x="116" y="32"/>
                  <a:pt x="116" y="32"/>
                  <a:pt x="116" y="32"/>
                </a:cubicBezTo>
                <a:cubicBezTo>
                  <a:pt x="115" y="33"/>
                  <a:pt x="115" y="33"/>
                  <a:pt x="115" y="33"/>
                </a:cubicBezTo>
                <a:cubicBezTo>
                  <a:pt x="113" y="33"/>
                  <a:pt x="113" y="33"/>
                  <a:pt x="113" y="33"/>
                </a:cubicBezTo>
                <a:cubicBezTo>
                  <a:pt x="113" y="32"/>
                  <a:pt x="113" y="32"/>
                  <a:pt x="113" y="32"/>
                </a:cubicBezTo>
                <a:cubicBezTo>
                  <a:pt x="113" y="33"/>
                  <a:pt x="113" y="33"/>
                  <a:pt x="113" y="33"/>
                </a:cubicBezTo>
                <a:cubicBezTo>
                  <a:pt x="114" y="33"/>
                  <a:pt x="114" y="33"/>
                  <a:pt x="114" y="33"/>
                </a:cubicBezTo>
                <a:cubicBezTo>
                  <a:pt x="114" y="35"/>
                  <a:pt x="114" y="35"/>
                  <a:pt x="114" y="35"/>
                </a:cubicBezTo>
                <a:cubicBezTo>
                  <a:pt x="115" y="36"/>
                  <a:pt x="115" y="36"/>
                  <a:pt x="115" y="36"/>
                </a:cubicBezTo>
                <a:cubicBezTo>
                  <a:pt x="113" y="35"/>
                  <a:pt x="113" y="35"/>
                  <a:pt x="113" y="35"/>
                </a:cubicBezTo>
                <a:cubicBezTo>
                  <a:pt x="112" y="33"/>
                  <a:pt x="112" y="33"/>
                  <a:pt x="112" y="33"/>
                </a:cubicBezTo>
                <a:cubicBezTo>
                  <a:pt x="111" y="33"/>
                  <a:pt x="111" y="33"/>
                  <a:pt x="111" y="33"/>
                </a:cubicBezTo>
                <a:cubicBezTo>
                  <a:pt x="111" y="34"/>
                  <a:pt x="111" y="34"/>
                  <a:pt x="111" y="34"/>
                </a:cubicBezTo>
                <a:cubicBezTo>
                  <a:pt x="111" y="35"/>
                  <a:pt x="111" y="35"/>
                  <a:pt x="111" y="35"/>
                </a:cubicBezTo>
                <a:cubicBezTo>
                  <a:pt x="110" y="34"/>
                  <a:pt x="110" y="34"/>
                  <a:pt x="110" y="34"/>
                </a:cubicBezTo>
                <a:cubicBezTo>
                  <a:pt x="108" y="32"/>
                  <a:pt x="108" y="32"/>
                  <a:pt x="108" y="32"/>
                </a:cubicBezTo>
                <a:cubicBezTo>
                  <a:pt x="106" y="32"/>
                  <a:pt x="106" y="32"/>
                  <a:pt x="106" y="32"/>
                </a:cubicBezTo>
                <a:cubicBezTo>
                  <a:pt x="106" y="33"/>
                  <a:pt x="106" y="33"/>
                  <a:pt x="106" y="33"/>
                </a:cubicBezTo>
                <a:cubicBezTo>
                  <a:pt x="106" y="34"/>
                  <a:pt x="106" y="34"/>
                  <a:pt x="106" y="34"/>
                </a:cubicBezTo>
                <a:cubicBezTo>
                  <a:pt x="105" y="33"/>
                  <a:pt x="105" y="33"/>
                  <a:pt x="105" y="33"/>
                </a:cubicBezTo>
                <a:cubicBezTo>
                  <a:pt x="105" y="33"/>
                  <a:pt x="105" y="33"/>
                  <a:pt x="105" y="33"/>
                </a:cubicBezTo>
                <a:cubicBezTo>
                  <a:pt x="104" y="34"/>
                  <a:pt x="104" y="34"/>
                  <a:pt x="104" y="34"/>
                </a:cubicBezTo>
                <a:cubicBezTo>
                  <a:pt x="105" y="35"/>
                  <a:pt x="105" y="35"/>
                  <a:pt x="105" y="35"/>
                </a:cubicBezTo>
                <a:cubicBezTo>
                  <a:pt x="105" y="36"/>
                  <a:pt x="105" y="36"/>
                  <a:pt x="105" y="36"/>
                </a:cubicBezTo>
                <a:cubicBezTo>
                  <a:pt x="105" y="35"/>
                  <a:pt x="105" y="35"/>
                  <a:pt x="105" y="35"/>
                </a:cubicBezTo>
                <a:cubicBezTo>
                  <a:pt x="104" y="35"/>
                  <a:pt x="104" y="35"/>
                  <a:pt x="104" y="35"/>
                </a:cubicBezTo>
                <a:cubicBezTo>
                  <a:pt x="104" y="36"/>
                  <a:pt x="104" y="36"/>
                  <a:pt x="104" y="36"/>
                </a:cubicBezTo>
                <a:cubicBezTo>
                  <a:pt x="103" y="37"/>
                  <a:pt x="103" y="37"/>
                  <a:pt x="103" y="37"/>
                </a:cubicBezTo>
                <a:cubicBezTo>
                  <a:pt x="101" y="37"/>
                  <a:pt x="101" y="37"/>
                  <a:pt x="101" y="37"/>
                </a:cubicBezTo>
                <a:cubicBezTo>
                  <a:pt x="102" y="36"/>
                  <a:pt x="102" y="36"/>
                  <a:pt x="102" y="36"/>
                </a:cubicBezTo>
                <a:cubicBezTo>
                  <a:pt x="103" y="35"/>
                  <a:pt x="103" y="35"/>
                  <a:pt x="103" y="35"/>
                </a:cubicBezTo>
                <a:cubicBezTo>
                  <a:pt x="103" y="33"/>
                  <a:pt x="103" y="33"/>
                  <a:pt x="103" y="33"/>
                </a:cubicBezTo>
                <a:cubicBezTo>
                  <a:pt x="104" y="32"/>
                  <a:pt x="104" y="32"/>
                  <a:pt x="104" y="32"/>
                </a:cubicBezTo>
                <a:cubicBezTo>
                  <a:pt x="104" y="31"/>
                  <a:pt x="104" y="31"/>
                  <a:pt x="104" y="31"/>
                </a:cubicBezTo>
                <a:cubicBezTo>
                  <a:pt x="102" y="31"/>
                  <a:pt x="102" y="31"/>
                  <a:pt x="102" y="31"/>
                </a:cubicBezTo>
                <a:cubicBezTo>
                  <a:pt x="101" y="28"/>
                  <a:pt x="101" y="28"/>
                  <a:pt x="101" y="28"/>
                </a:cubicBezTo>
                <a:cubicBezTo>
                  <a:pt x="100" y="26"/>
                  <a:pt x="100" y="26"/>
                  <a:pt x="100" y="26"/>
                </a:cubicBezTo>
                <a:cubicBezTo>
                  <a:pt x="98" y="26"/>
                  <a:pt x="98" y="26"/>
                  <a:pt x="98" y="26"/>
                </a:cubicBezTo>
                <a:cubicBezTo>
                  <a:pt x="97" y="25"/>
                  <a:pt x="97" y="25"/>
                  <a:pt x="97" y="25"/>
                </a:cubicBezTo>
                <a:cubicBezTo>
                  <a:pt x="96" y="25"/>
                  <a:pt x="96" y="25"/>
                  <a:pt x="96" y="25"/>
                </a:cubicBezTo>
                <a:cubicBezTo>
                  <a:pt x="97" y="26"/>
                  <a:pt x="97" y="26"/>
                  <a:pt x="97" y="26"/>
                </a:cubicBezTo>
                <a:cubicBezTo>
                  <a:pt x="96" y="26"/>
                  <a:pt x="96" y="26"/>
                  <a:pt x="96" y="26"/>
                </a:cubicBezTo>
                <a:cubicBezTo>
                  <a:pt x="95" y="28"/>
                  <a:pt x="95" y="28"/>
                  <a:pt x="95" y="28"/>
                </a:cubicBezTo>
                <a:cubicBezTo>
                  <a:pt x="94" y="27"/>
                  <a:pt x="94" y="27"/>
                  <a:pt x="94" y="27"/>
                </a:cubicBezTo>
                <a:cubicBezTo>
                  <a:pt x="95" y="27"/>
                  <a:pt x="95" y="27"/>
                  <a:pt x="95" y="27"/>
                </a:cubicBezTo>
                <a:cubicBezTo>
                  <a:pt x="93" y="27"/>
                  <a:pt x="93" y="27"/>
                  <a:pt x="93" y="27"/>
                </a:cubicBezTo>
                <a:cubicBezTo>
                  <a:pt x="93" y="28"/>
                  <a:pt x="93" y="28"/>
                  <a:pt x="93" y="28"/>
                </a:cubicBezTo>
                <a:cubicBezTo>
                  <a:pt x="92" y="26"/>
                  <a:pt x="92" y="26"/>
                  <a:pt x="92" y="26"/>
                </a:cubicBezTo>
                <a:cubicBezTo>
                  <a:pt x="92" y="26"/>
                  <a:pt x="92" y="26"/>
                  <a:pt x="92" y="26"/>
                </a:cubicBezTo>
                <a:cubicBezTo>
                  <a:pt x="91" y="27"/>
                  <a:pt x="91" y="27"/>
                  <a:pt x="91" y="27"/>
                </a:cubicBezTo>
                <a:cubicBezTo>
                  <a:pt x="92" y="27"/>
                  <a:pt x="92" y="27"/>
                  <a:pt x="92" y="27"/>
                </a:cubicBezTo>
                <a:cubicBezTo>
                  <a:pt x="91" y="28"/>
                  <a:pt x="91" y="28"/>
                  <a:pt x="91" y="28"/>
                </a:cubicBezTo>
                <a:cubicBezTo>
                  <a:pt x="91" y="30"/>
                  <a:pt x="91" y="30"/>
                  <a:pt x="91" y="30"/>
                </a:cubicBezTo>
                <a:cubicBezTo>
                  <a:pt x="91" y="30"/>
                  <a:pt x="91" y="30"/>
                  <a:pt x="91" y="30"/>
                </a:cubicBezTo>
                <a:cubicBezTo>
                  <a:pt x="90" y="31"/>
                  <a:pt x="90" y="31"/>
                  <a:pt x="90" y="31"/>
                </a:cubicBezTo>
                <a:cubicBezTo>
                  <a:pt x="89" y="30"/>
                  <a:pt x="89" y="30"/>
                  <a:pt x="89" y="30"/>
                </a:cubicBezTo>
                <a:cubicBezTo>
                  <a:pt x="88" y="30"/>
                  <a:pt x="88" y="30"/>
                  <a:pt x="88" y="30"/>
                </a:cubicBezTo>
                <a:cubicBezTo>
                  <a:pt x="88" y="29"/>
                  <a:pt x="88" y="29"/>
                  <a:pt x="88" y="29"/>
                </a:cubicBezTo>
                <a:cubicBezTo>
                  <a:pt x="89" y="28"/>
                  <a:pt x="89" y="28"/>
                  <a:pt x="89" y="28"/>
                </a:cubicBezTo>
                <a:cubicBezTo>
                  <a:pt x="88" y="29"/>
                  <a:pt x="88" y="29"/>
                  <a:pt x="88" y="29"/>
                </a:cubicBezTo>
                <a:cubicBezTo>
                  <a:pt x="88" y="30"/>
                  <a:pt x="88" y="30"/>
                  <a:pt x="88" y="30"/>
                </a:cubicBezTo>
                <a:cubicBezTo>
                  <a:pt x="86" y="30"/>
                  <a:pt x="86" y="30"/>
                  <a:pt x="86" y="30"/>
                </a:cubicBezTo>
                <a:cubicBezTo>
                  <a:pt x="86" y="31"/>
                  <a:pt x="86" y="31"/>
                  <a:pt x="86" y="31"/>
                </a:cubicBezTo>
                <a:cubicBezTo>
                  <a:pt x="86" y="32"/>
                  <a:pt x="86" y="32"/>
                  <a:pt x="86" y="32"/>
                </a:cubicBezTo>
                <a:cubicBezTo>
                  <a:pt x="87" y="33"/>
                  <a:pt x="87" y="33"/>
                  <a:pt x="87" y="33"/>
                </a:cubicBezTo>
                <a:cubicBezTo>
                  <a:pt x="86" y="34"/>
                  <a:pt x="86" y="34"/>
                  <a:pt x="86" y="34"/>
                </a:cubicBezTo>
                <a:cubicBezTo>
                  <a:pt x="85" y="34"/>
                  <a:pt x="85" y="34"/>
                  <a:pt x="85" y="34"/>
                </a:cubicBezTo>
                <a:cubicBezTo>
                  <a:pt x="83" y="35"/>
                  <a:pt x="83" y="35"/>
                  <a:pt x="83" y="35"/>
                </a:cubicBezTo>
                <a:cubicBezTo>
                  <a:pt x="83" y="35"/>
                  <a:pt x="83" y="35"/>
                  <a:pt x="83" y="35"/>
                </a:cubicBezTo>
                <a:cubicBezTo>
                  <a:pt x="85" y="36"/>
                  <a:pt x="85" y="36"/>
                  <a:pt x="85" y="36"/>
                </a:cubicBezTo>
                <a:cubicBezTo>
                  <a:pt x="85" y="37"/>
                  <a:pt x="85" y="37"/>
                  <a:pt x="85" y="37"/>
                </a:cubicBezTo>
                <a:cubicBezTo>
                  <a:pt x="84" y="37"/>
                  <a:pt x="84" y="37"/>
                  <a:pt x="84" y="37"/>
                </a:cubicBezTo>
                <a:cubicBezTo>
                  <a:pt x="83" y="35"/>
                  <a:pt x="83" y="35"/>
                  <a:pt x="83" y="35"/>
                </a:cubicBezTo>
                <a:cubicBezTo>
                  <a:pt x="81" y="37"/>
                  <a:pt x="81" y="37"/>
                  <a:pt x="81" y="37"/>
                </a:cubicBezTo>
                <a:cubicBezTo>
                  <a:pt x="80" y="37"/>
                  <a:pt x="80" y="37"/>
                  <a:pt x="80" y="37"/>
                </a:cubicBezTo>
                <a:cubicBezTo>
                  <a:pt x="80" y="38"/>
                  <a:pt x="80" y="38"/>
                  <a:pt x="80" y="38"/>
                </a:cubicBezTo>
                <a:cubicBezTo>
                  <a:pt x="81" y="39"/>
                  <a:pt x="81" y="39"/>
                  <a:pt x="81" y="39"/>
                </a:cubicBezTo>
                <a:cubicBezTo>
                  <a:pt x="81" y="39"/>
                  <a:pt x="81" y="39"/>
                  <a:pt x="81" y="39"/>
                </a:cubicBezTo>
                <a:cubicBezTo>
                  <a:pt x="82" y="39"/>
                  <a:pt x="82" y="39"/>
                  <a:pt x="82" y="39"/>
                </a:cubicBezTo>
                <a:cubicBezTo>
                  <a:pt x="81" y="40"/>
                  <a:pt x="81" y="40"/>
                  <a:pt x="81" y="40"/>
                </a:cubicBezTo>
                <a:cubicBezTo>
                  <a:pt x="81" y="41"/>
                  <a:pt x="81" y="41"/>
                  <a:pt x="81" y="41"/>
                </a:cubicBezTo>
                <a:cubicBezTo>
                  <a:pt x="80" y="42"/>
                  <a:pt x="80" y="42"/>
                  <a:pt x="80" y="42"/>
                </a:cubicBezTo>
                <a:cubicBezTo>
                  <a:pt x="80" y="43"/>
                  <a:pt x="80" y="43"/>
                  <a:pt x="80" y="43"/>
                </a:cubicBezTo>
                <a:cubicBezTo>
                  <a:pt x="82" y="43"/>
                  <a:pt x="82" y="43"/>
                  <a:pt x="82" y="43"/>
                </a:cubicBezTo>
                <a:cubicBezTo>
                  <a:pt x="80" y="44"/>
                  <a:pt x="80" y="44"/>
                  <a:pt x="80" y="44"/>
                </a:cubicBezTo>
                <a:cubicBezTo>
                  <a:pt x="80" y="44"/>
                  <a:pt x="80" y="44"/>
                  <a:pt x="80" y="44"/>
                </a:cubicBezTo>
                <a:cubicBezTo>
                  <a:pt x="79" y="44"/>
                  <a:pt x="79" y="44"/>
                  <a:pt x="79" y="44"/>
                </a:cubicBezTo>
                <a:cubicBezTo>
                  <a:pt x="78" y="43"/>
                  <a:pt x="78" y="43"/>
                  <a:pt x="78" y="43"/>
                </a:cubicBezTo>
                <a:cubicBezTo>
                  <a:pt x="77" y="42"/>
                  <a:pt x="77" y="42"/>
                  <a:pt x="77" y="42"/>
                </a:cubicBezTo>
                <a:cubicBezTo>
                  <a:pt x="76" y="43"/>
                  <a:pt x="76" y="43"/>
                  <a:pt x="76" y="43"/>
                </a:cubicBezTo>
                <a:cubicBezTo>
                  <a:pt x="76" y="42"/>
                  <a:pt x="76" y="42"/>
                  <a:pt x="76" y="42"/>
                </a:cubicBezTo>
                <a:cubicBezTo>
                  <a:pt x="75" y="42"/>
                  <a:pt x="75" y="42"/>
                  <a:pt x="75" y="42"/>
                </a:cubicBezTo>
                <a:cubicBezTo>
                  <a:pt x="74" y="42"/>
                  <a:pt x="74" y="42"/>
                  <a:pt x="74" y="42"/>
                </a:cubicBezTo>
                <a:cubicBezTo>
                  <a:pt x="75" y="43"/>
                  <a:pt x="75" y="43"/>
                  <a:pt x="75" y="43"/>
                </a:cubicBezTo>
                <a:cubicBezTo>
                  <a:pt x="75" y="44"/>
                  <a:pt x="75" y="44"/>
                  <a:pt x="75" y="44"/>
                </a:cubicBezTo>
                <a:cubicBezTo>
                  <a:pt x="74" y="45"/>
                  <a:pt x="74" y="45"/>
                  <a:pt x="74" y="45"/>
                </a:cubicBezTo>
                <a:cubicBezTo>
                  <a:pt x="75" y="46"/>
                  <a:pt x="75" y="46"/>
                  <a:pt x="75" y="46"/>
                </a:cubicBezTo>
                <a:cubicBezTo>
                  <a:pt x="77" y="46"/>
                  <a:pt x="77" y="46"/>
                  <a:pt x="77" y="46"/>
                </a:cubicBezTo>
                <a:cubicBezTo>
                  <a:pt x="76" y="47"/>
                  <a:pt x="76" y="47"/>
                  <a:pt x="76" y="47"/>
                </a:cubicBezTo>
                <a:cubicBezTo>
                  <a:pt x="76" y="48"/>
                  <a:pt x="76" y="48"/>
                  <a:pt x="76" y="48"/>
                </a:cubicBezTo>
                <a:cubicBezTo>
                  <a:pt x="76" y="48"/>
                  <a:pt x="76" y="48"/>
                  <a:pt x="76" y="48"/>
                </a:cubicBezTo>
                <a:cubicBezTo>
                  <a:pt x="75" y="48"/>
                  <a:pt x="75" y="48"/>
                  <a:pt x="75" y="48"/>
                </a:cubicBezTo>
                <a:cubicBezTo>
                  <a:pt x="75" y="49"/>
                  <a:pt x="75" y="49"/>
                  <a:pt x="75" y="49"/>
                </a:cubicBezTo>
                <a:cubicBezTo>
                  <a:pt x="75" y="50"/>
                  <a:pt x="75" y="50"/>
                  <a:pt x="75" y="50"/>
                </a:cubicBezTo>
                <a:cubicBezTo>
                  <a:pt x="74" y="52"/>
                  <a:pt x="74" y="52"/>
                  <a:pt x="74" y="52"/>
                </a:cubicBezTo>
                <a:cubicBezTo>
                  <a:pt x="72" y="48"/>
                  <a:pt x="72" y="48"/>
                  <a:pt x="72" y="48"/>
                </a:cubicBezTo>
                <a:cubicBezTo>
                  <a:pt x="71" y="45"/>
                  <a:pt x="71" y="45"/>
                  <a:pt x="71" y="45"/>
                </a:cubicBezTo>
                <a:cubicBezTo>
                  <a:pt x="70" y="44"/>
                  <a:pt x="70" y="44"/>
                  <a:pt x="70" y="44"/>
                </a:cubicBezTo>
                <a:cubicBezTo>
                  <a:pt x="71" y="43"/>
                  <a:pt x="71" y="43"/>
                  <a:pt x="71" y="43"/>
                </a:cubicBezTo>
                <a:cubicBezTo>
                  <a:pt x="70" y="43"/>
                  <a:pt x="70" y="43"/>
                  <a:pt x="70" y="43"/>
                </a:cubicBezTo>
                <a:cubicBezTo>
                  <a:pt x="69" y="44"/>
                  <a:pt x="69" y="44"/>
                  <a:pt x="69" y="44"/>
                </a:cubicBezTo>
                <a:cubicBezTo>
                  <a:pt x="69" y="46"/>
                  <a:pt x="69" y="46"/>
                  <a:pt x="69" y="46"/>
                </a:cubicBezTo>
                <a:cubicBezTo>
                  <a:pt x="68" y="46"/>
                  <a:pt x="68" y="46"/>
                  <a:pt x="68" y="46"/>
                </a:cubicBezTo>
                <a:cubicBezTo>
                  <a:pt x="67" y="47"/>
                  <a:pt x="67" y="47"/>
                  <a:pt x="67" y="47"/>
                </a:cubicBezTo>
                <a:cubicBezTo>
                  <a:pt x="66" y="47"/>
                  <a:pt x="66" y="47"/>
                  <a:pt x="66" y="47"/>
                </a:cubicBezTo>
                <a:cubicBezTo>
                  <a:pt x="66" y="48"/>
                  <a:pt x="66" y="48"/>
                  <a:pt x="66" y="48"/>
                </a:cubicBezTo>
                <a:cubicBezTo>
                  <a:pt x="64" y="49"/>
                  <a:pt x="64" y="49"/>
                  <a:pt x="64" y="49"/>
                </a:cubicBezTo>
                <a:cubicBezTo>
                  <a:pt x="65" y="50"/>
                  <a:pt x="65" y="50"/>
                  <a:pt x="65" y="50"/>
                </a:cubicBezTo>
                <a:cubicBezTo>
                  <a:pt x="65" y="54"/>
                  <a:pt x="65" y="54"/>
                  <a:pt x="65" y="54"/>
                </a:cubicBezTo>
                <a:cubicBezTo>
                  <a:pt x="65" y="54"/>
                  <a:pt x="65" y="54"/>
                  <a:pt x="65" y="54"/>
                </a:cubicBezTo>
                <a:cubicBezTo>
                  <a:pt x="65" y="55"/>
                  <a:pt x="65" y="55"/>
                  <a:pt x="65" y="55"/>
                </a:cubicBezTo>
                <a:cubicBezTo>
                  <a:pt x="64" y="56"/>
                  <a:pt x="64" y="56"/>
                  <a:pt x="64" y="56"/>
                </a:cubicBezTo>
                <a:cubicBezTo>
                  <a:pt x="64" y="57"/>
                  <a:pt x="64" y="57"/>
                  <a:pt x="64" y="57"/>
                </a:cubicBezTo>
                <a:cubicBezTo>
                  <a:pt x="62" y="57"/>
                  <a:pt x="62" y="57"/>
                  <a:pt x="62" y="57"/>
                </a:cubicBezTo>
                <a:cubicBezTo>
                  <a:pt x="62" y="58"/>
                  <a:pt x="62" y="58"/>
                  <a:pt x="62" y="58"/>
                </a:cubicBezTo>
                <a:cubicBezTo>
                  <a:pt x="60" y="59"/>
                  <a:pt x="60" y="59"/>
                  <a:pt x="60" y="59"/>
                </a:cubicBezTo>
                <a:cubicBezTo>
                  <a:pt x="61" y="61"/>
                  <a:pt x="61" y="61"/>
                  <a:pt x="61" y="61"/>
                </a:cubicBezTo>
                <a:cubicBezTo>
                  <a:pt x="60" y="61"/>
                  <a:pt x="60" y="61"/>
                  <a:pt x="60" y="61"/>
                </a:cubicBezTo>
                <a:cubicBezTo>
                  <a:pt x="58" y="64"/>
                  <a:pt x="58" y="64"/>
                  <a:pt x="58" y="64"/>
                </a:cubicBezTo>
                <a:cubicBezTo>
                  <a:pt x="54" y="66"/>
                  <a:pt x="54" y="66"/>
                  <a:pt x="54" y="66"/>
                </a:cubicBezTo>
                <a:cubicBezTo>
                  <a:pt x="51" y="67"/>
                  <a:pt x="51" y="67"/>
                  <a:pt x="51" y="67"/>
                </a:cubicBezTo>
                <a:cubicBezTo>
                  <a:pt x="49" y="67"/>
                  <a:pt x="49" y="67"/>
                  <a:pt x="49" y="67"/>
                </a:cubicBezTo>
                <a:cubicBezTo>
                  <a:pt x="48" y="67"/>
                  <a:pt x="48" y="67"/>
                  <a:pt x="48" y="67"/>
                </a:cubicBezTo>
                <a:cubicBezTo>
                  <a:pt x="46" y="68"/>
                  <a:pt x="46" y="68"/>
                  <a:pt x="46" y="68"/>
                </a:cubicBezTo>
                <a:cubicBezTo>
                  <a:pt x="45" y="67"/>
                  <a:pt x="45" y="67"/>
                  <a:pt x="45" y="67"/>
                </a:cubicBezTo>
                <a:cubicBezTo>
                  <a:pt x="43" y="68"/>
                  <a:pt x="43" y="68"/>
                  <a:pt x="43" y="68"/>
                </a:cubicBezTo>
                <a:cubicBezTo>
                  <a:pt x="42" y="69"/>
                  <a:pt x="42" y="69"/>
                  <a:pt x="42" y="69"/>
                </a:cubicBezTo>
                <a:cubicBezTo>
                  <a:pt x="41" y="70"/>
                  <a:pt x="41" y="70"/>
                  <a:pt x="41" y="70"/>
                </a:cubicBezTo>
                <a:cubicBezTo>
                  <a:pt x="37" y="70"/>
                  <a:pt x="37" y="70"/>
                  <a:pt x="37" y="70"/>
                </a:cubicBezTo>
                <a:cubicBezTo>
                  <a:pt x="36" y="70"/>
                  <a:pt x="36" y="70"/>
                  <a:pt x="36" y="70"/>
                </a:cubicBezTo>
                <a:cubicBezTo>
                  <a:pt x="36" y="71"/>
                  <a:pt x="36" y="71"/>
                  <a:pt x="36" y="71"/>
                </a:cubicBezTo>
                <a:cubicBezTo>
                  <a:pt x="33" y="72"/>
                  <a:pt x="33" y="72"/>
                  <a:pt x="33" y="72"/>
                </a:cubicBezTo>
                <a:cubicBezTo>
                  <a:pt x="31" y="72"/>
                  <a:pt x="31" y="72"/>
                  <a:pt x="31" y="72"/>
                </a:cubicBezTo>
                <a:cubicBezTo>
                  <a:pt x="30" y="72"/>
                  <a:pt x="30" y="72"/>
                  <a:pt x="30" y="72"/>
                </a:cubicBezTo>
                <a:cubicBezTo>
                  <a:pt x="29" y="72"/>
                  <a:pt x="29" y="72"/>
                  <a:pt x="29" y="72"/>
                </a:cubicBezTo>
                <a:cubicBezTo>
                  <a:pt x="29" y="71"/>
                  <a:pt x="29" y="71"/>
                  <a:pt x="29" y="71"/>
                </a:cubicBezTo>
                <a:cubicBezTo>
                  <a:pt x="28" y="72"/>
                  <a:pt x="28" y="72"/>
                  <a:pt x="28" y="72"/>
                </a:cubicBezTo>
                <a:cubicBezTo>
                  <a:pt x="27" y="73"/>
                  <a:pt x="27" y="73"/>
                  <a:pt x="27" y="73"/>
                </a:cubicBezTo>
                <a:cubicBezTo>
                  <a:pt x="24" y="74"/>
                  <a:pt x="24" y="74"/>
                  <a:pt x="24" y="74"/>
                </a:cubicBezTo>
                <a:cubicBezTo>
                  <a:pt x="24" y="74"/>
                  <a:pt x="24" y="74"/>
                  <a:pt x="24" y="74"/>
                </a:cubicBezTo>
                <a:cubicBezTo>
                  <a:pt x="23" y="74"/>
                  <a:pt x="23" y="74"/>
                  <a:pt x="23" y="74"/>
                </a:cubicBezTo>
                <a:cubicBezTo>
                  <a:pt x="21" y="76"/>
                  <a:pt x="21" y="76"/>
                  <a:pt x="21" y="76"/>
                </a:cubicBezTo>
                <a:cubicBezTo>
                  <a:pt x="18" y="78"/>
                  <a:pt x="18" y="78"/>
                  <a:pt x="18" y="78"/>
                </a:cubicBezTo>
                <a:cubicBezTo>
                  <a:pt x="15" y="79"/>
                  <a:pt x="15" y="79"/>
                  <a:pt x="15" y="79"/>
                </a:cubicBezTo>
                <a:cubicBezTo>
                  <a:pt x="13" y="81"/>
                  <a:pt x="13" y="81"/>
                  <a:pt x="13" y="81"/>
                </a:cubicBezTo>
                <a:cubicBezTo>
                  <a:pt x="13" y="83"/>
                  <a:pt x="13" y="83"/>
                  <a:pt x="13" y="83"/>
                </a:cubicBezTo>
                <a:cubicBezTo>
                  <a:pt x="12" y="84"/>
                  <a:pt x="12" y="84"/>
                  <a:pt x="12" y="84"/>
                </a:cubicBezTo>
                <a:cubicBezTo>
                  <a:pt x="11" y="83"/>
                  <a:pt x="11" y="83"/>
                  <a:pt x="11" y="83"/>
                </a:cubicBezTo>
                <a:cubicBezTo>
                  <a:pt x="11" y="83"/>
                  <a:pt x="11" y="83"/>
                  <a:pt x="11" y="83"/>
                </a:cubicBezTo>
                <a:cubicBezTo>
                  <a:pt x="11" y="82"/>
                  <a:pt x="11" y="82"/>
                  <a:pt x="11" y="82"/>
                </a:cubicBezTo>
                <a:cubicBezTo>
                  <a:pt x="12" y="80"/>
                  <a:pt x="12" y="80"/>
                  <a:pt x="12" y="80"/>
                </a:cubicBezTo>
                <a:cubicBezTo>
                  <a:pt x="12" y="79"/>
                  <a:pt x="12" y="79"/>
                  <a:pt x="12" y="79"/>
                </a:cubicBezTo>
                <a:cubicBezTo>
                  <a:pt x="10" y="81"/>
                  <a:pt x="10" y="81"/>
                  <a:pt x="10" y="81"/>
                </a:cubicBezTo>
                <a:cubicBezTo>
                  <a:pt x="9" y="82"/>
                  <a:pt x="9" y="82"/>
                  <a:pt x="9" y="82"/>
                </a:cubicBezTo>
                <a:cubicBezTo>
                  <a:pt x="8" y="85"/>
                  <a:pt x="8" y="85"/>
                  <a:pt x="8" y="85"/>
                </a:cubicBezTo>
                <a:cubicBezTo>
                  <a:pt x="9" y="87"/>
                  <a:pt x="9" y="87"/>
                  <a:pt x="9" y="87"/>
                </a:cubicBezTo>
                <a:cubicBezTo>
                  <a:pt x="8" y="89"/>
                  <a:pt x="8" y="89"/>
                  <a:pt x="8" y="89"/>
                </a:cubicBezTo>
                <a:cubicBezTo>
                  <a:pt x="8" y="91"/>
                  <a:pt x="8" y="91"/>
                  <a:pt x="8" y="91"/>
                </a:cubicBezTo>
                <a:cubicBezTo>
                  <a:pt x="6" y="94"/>
                  <a:pt x="6" y="94"/>
                  <a:pt x="6" y="94"/>
                </a:cubicBezTo>
                <a:cubicBezTo>
                  <a:pt x="5" y="99"/>
                  <a:pt x="5" y="99"/>
                  <a:pt x="5" y="99"/>
                </a:cubicBezTo>
                <a:cubicBezTo>
                  <a:pt x="5" y="101"/>
                  <a:pt x="5" y="101"/>
                  <a:pt x="5" y="101"/>
                </a:cubicBezTo>
                <a:cubicBezTo>
                  <a:pt x="5" y="104"/>
                  <a:pt x="5" y="104"/>
                  <a:pt x="5" y="104"/>
                </a:cubicBezTo>
                <a:cubicBezTo>
                  <a:pt x="7" y="107"/>
                  <a:pt x="7" y="107"/>
                  <a:pt x="7" y="107"/>
                </a:cubicBezTo>
                <a:cubicBezTo>
                  <a:pt x="7" y="109"/>
                  <a:pt x="7" y="109"/>
                  <a:pt x="7" y="109"/>
                </a:cubicBezTo>
                <a:cubicBezTo>
                  <a:pt x="8" y="110"/>
                  <a:pt x="8" y="110"/>
                  <a:pt x="8" y="110"/>
                </a:cubicBezTo>
                <a:cubicBezTo>
                  <a:pt x="7" y="112"/>
                  <a:pt x="7" y="112"/>
                  <a:pt x="7" y="112"/>
                </a:cubicBezTo>
                <a:cubicBezTo>
                  <a:pt x="8" y="113"/>
                  <a:pt x="8" y="113"/>
                  <a:pt x="8" y="113"/>
                </a:cubicBezTo>
                <a:cubicBezTo>
                  <a:pt x="6" y="114"/>
                  <a:pt x="6" y="114"/>
                  <a:pt x="6" y="114"/>
                </a:cubicBezTo>
                <a:cubicBezTo>
                  <a:pt x="6" y="113"/>
                  <a:pt x="6" y="113"/>
                  <a:pt x="6" y="113"/>
                </a:cubicBezTo>
                <a:cubicBezTo>
                  <a:pt x="6" y="111"/>
                  <a:pt x="6" y="111"/>
                  <a:pt x="6" y="111"/>
                </a:cubicBezTo>
                <a:cubicBezTo>
                  <a:pt x="5" y="112"/>
                  <a:pt x="5" y="112"/>
                  <a:pt x="5" y="112"/>
                </a:cubicBezTo>
                <a:cubicBezTo>
                  <a:pt x="5" y="112"/>
                  <a:pt x="5" y="112"/>
                  <a:pt x="5" y="112"/>
                </a:cubicBezTo>
                <a:cubicBezTo>
                  <a:pt x="5" y="110"/>
                  <a:pt x="5" y="110"/>
                  <a:pt x="5" y="110"/>
                </a:cubicBezTo>
                <a:cubicBezTo>
                  <a:pt x="3" y="107"/>
                  <a:pt x="3" y="107"/>
                  <a:pt x="3" y="107"/>
                </a:cubicBezTo>
                <a:cubicBezTo>
                  <a:pt x="3" y="108"/>
                  <a:pt x="3" y="108"/>
                  <a:pt x="3" y="108"/>
                </a:cubicBezTo>
                <a:cubicBezTo>
                  <a:pt x="3" y="111"/>
                  <a:pt x="3" y="111"/>
                  <a:pt x="3" y="111"/>
                </a:cubicBezTo>
                <a:cubicBezTo>
                  <a:pt x="5" y="113"/>
                  <a:pt x="5" y="113"/>
                  <a:pt x="5" y="113"/>
                </a:cubicBezTo>
                <a:cubicBezTo>
                  <a:pt x="6" y="115"/>
                  <a:pt x="6" y="115"/>
                  <a:pt x="6" y="115"/>
                </a:cubicBezTo>
                <a:cubicBezTo>
                  <a:pt x="4" y="115"/>
                  <a:pt x="4" y="115"/>
                  <a:pt x="4" y="115"/>
                </a:cubicBezTo>
                <a:cubicBezTo>
                  <a:pt x="3" y="113"/>
                  <a:pt x="3" y="113"/>
                  <a:pt x="3" y="113"/>
                </a:cubicBezTo>
                <a:cubicBezTo>
                  <a:pt x="2" y="111"/>
                  <a:pt x="2" y="111"/>
                  <a:pt x="2" y="111"/>
                </a:cubicBezTo>
                <a:cubicBezTo>
                  <a:pt x="2" y="112"/>
                  <a:pt x="2" y="112"/>
                  <a:pt x="2" y="112"/>
                </a:cubicBezTo>
                <a:cubicBezTo>
                  <a:pt x="1" y="112"/>
                  <a:pt x="1" y="112"/>
                  <a:pt x="1" y="112"/>
                </a:cubicBezTo>
                <a:cubicBezTo>
                  <a:pt x="2" y="115"/>
                  <a:pt x="2" y="115"/>
                  <a:pt x="2" y="115"/>
                </a:cubicBezTo>
                <a:cubicBezTo>
                  <a:pt x="4" y="117"/>
                  <a:pt x="4" y="117"/>
                  <a:pt x="4" y="117"/>
                </a:cubicBezTo>
                <a:cubicBezTo>
                  <a:pt x="6" y="121"/>
                  <a:pt x="6" y="121"/>
                  <a:pt x="6" y="121"/>
                </a:cubicBezTo>
                <a:cubicBezTo>
                  <a:pt x="5" y="127"/>
                  <a:pt x="5" y="127"/>
                  <a:pt x="5" y="127"/>
                </a:cubicBezTo>
                <a:cubicBezTo>
                  <a:pt x="6" y="128"/>
                  <a:pt x="6" y="128"/>
                  <a:pt x="6" y="128"/>
                </a:cubicBezTo>
                <a:cubicBezTo>
                  <a:pt x="7" y="132"/>
                  <a:pt x="7" y="132"/>
                  <a:pt x="7" y="132"/>
                </a:cubicBezTo>
                <a:cubicBezTo>
                  <a:pt x="9" y="137"/>
                  <a:pt x="9" y="137"/>
                  <a:pt x="9" y="137"/>
                </a:cubicBezTo>
                <a:cubicBezTo>
                  <a:pt x="8" y="138"/>
                  <a:pt x="8" y="138"/>
                  <a:pt x="8" y="138"/>
                </a:cubicBezTo>
                <a:cubicBezTo>
                  <a:pt x="8" y="145"/>
                  <a:pt x="8" y="145"/>
                  <a:pt x="8" y="145"/>
                </a:cubicBezTo>
                <a:cubicBezTo>
                  <a:pt x="8" y="146"/>
                  <a:pt x="8" y="146"/>
                  <a:pt x="8" y="146"/>
                </a:cubicBezTo>
                <a:cubicBezTo>
                  <a:pt x="9" y="148"/>
                  <a:pt x="9" y="148"/>
                  <a:pt x="9" y="148"/>
                </a:cubicBezTo>
                <a:cubicBezTo>
                  <a:pt x="9" y="150"/>
                  <a:pt x="9" y="150"/>
                  <a:pt x="9" y="150"/>
                </a:cubicBezTo>
                <a:cubicBezTo>
                  <a:pt x="10" y="153"/>
                  <a:pt x="10" y="153"/>
                  <a:pt x="10" y="153"/>
                </a:cubicBezTo>
                <a:cubicBezTo>
                  <a:pt x="10" y="155"/>
                  <a:pt x="10" y="155"/>
                  <a:pt x="10" y="155"/>
                </a:cubicBezTo>
                <a:cubicBezTo>
                  <a:pt x="9" y="156"/>
                  <a:pt x="9" y="156"/>
                  <a:pt x="9" y="156"/>
                </a:cubicBezTo>
                <a:cubicBezTo>
                  <a:pt x="9" y="157"/>
                  <a:pt x="9" y="157"/>
                  <a:pt x="9" y="157"/>
                </a:cubicBezTo>
                <a:cubicBezTo>
                  <a:pt x="9" y="158"/>
                  <a:pt x="9" y="158"/>
                  <a:pt x="9" y="158"/>
                </a:cubicBezTo>
                <a:cubicBezTo>
                  <a:pt x="9" y="161"/>
                  <a:pt x="9" y="161"/>
                  <a:pt x="9" y="161"/>
                </a:cubicBezTo>
                <a:cubicBezTo>
                  <a:pt x="8" y="162"/>
                  <a:pt x="8" y="162"/>
                  <a:pt x="8" y="162"/>
                </a:cubicBezTo>
                <a:cubicBezTo>
                  <a:pt x="8" y="163"/>
                  <a:pt x="8" y="163"/>
                  <a:pt x="8" y="163"/>
                </a:cubicBezTo>
                <a:cubicBezTo>
                  <a:pt x="8" y="164"/>
                  <a:pt x="8" y="164"/>
                  <a:pt x="8" y="164"/>
                </a:cubicBezTo>
                <a:cubicBezTo>
                  <a:pt x="7" y="165"/>
                  <a:pt x="7" y="165"/>
                  <a:pt x="7" y="165"/>
                </a:cubicBezTo>
                <a:cubicBezTo>
                  <a:pt x="7" y="167"/>
                  <a:pt x="7" y="167"/>
                  <a:pt x="7" y="167"/>
                </a:cubicBezTo>
                <a:cubicBezTo>
                  <a:pt x="5" y="168"/>
                  <a:pt x="5" y="168"/>
                  <a:pt x="5" y="168"/>
                </a:cubicBezTo>
                <a:cubicBezTo>
                  <a:pt x="4" y="168"/>
                  <a:pt x="4" y="168"/>
                  <a:pt x="4" y="168"/>
                </a:cubicBezTo>
                <a:cubicBezTo>
                  <a:pt x="2" y="170"/>
                  <a:pt x="2" y="170"/>
                  <a:pt x="2" y="170"/>
                </a:cubicBezTo>
                <a:lnTo>
                  <a:pt x="2" y="174"/>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3" name="Freeform 161">
            <a:extLst>
              <a:ext uri="{FF2B5EF4-FFF2-40B4-BE49-F238E27FC236}">
                <a16:creationId xmlns:a16="http://schemas.microsoft.com/office/drawing/2014/main" id="{589DC4A2-1BA4-8C73-EA8A-A92DAAC93AFA}"/>
              </a:ext>
            </a:extLst>
          </p:cNvPr>
          <p:cNvSpPr>
            <a:spLocks noEditPoints="1"/>
          </p:cNvSpPr>
          <p:nvPr userDrawn="1"/>
        </p:nvSpPr>
        <p:spPr bwMode="auto">
          <a:xfrm>
            <a:off x="22696596" y="12007133"/>
            <a:ext cx="1260396" cy="1927226"/>
          </a:xfrm>
          <a:custGeom>
            <a:avLst/>
            <a:gdLst>
              <a:gd name="T0" fmla="*/ 25 w 397"/>
              <a:gd name="T1" fmla="*/ 604 h 607"/>
              <a:gd name="T2" fmla="*/ 0 w 397"/>
              <a:gd name="T3" fmla="*/ 529 h 607"/>
              <a:gd name="T4" fmla="*/ 0 w 397"/>
              <a:gd name="T5" fmla="*/ 529 h 607"/>
              <a:gd name="T6" fmla="*/ 340 w 397"/>
              <a:gd name="T7" fmla="*/ 69 h 607"/>
              <a:gd name="T8" fmla="*/ 347 w 397"/>
              <a:gd name="T9" fmla="*/ 69 h 607"/>
              <a:gd name="T10" fmla="*/ 290 w 397"/>
              <a:gd name="T11" fmla="*/ 229 h 607"/>
              <a:gd name="T12" fmla="*/ 315 w 397"/>
              <a:gd name="T13" fmla="*/ 216 h 607"/>
              <a:gd name="T14" fmla="*/ 343 w 397"/>
              <a:gd name="T15" fmla="*/ 185 h 607"/>
              <a:gd name="T16" fmla="*/ 356 w 397"/>
              <a:gd name="T17" fmla="*/ 160 h 607"/>
              <a:gd name="T18" fmla="*/ 368 w 397"/>
              <a:gd name="T19" fmla="*/ 154 h 607"/>
              <a:gd name="T20" fmla="*/ 387 w 397"/>
              <a:gd name="T21" fmla="*/ 129 h 607"/>
              <a:gd name="T22" fmla="*/ 387 w 397"/>
              <a:gd name="T23" fmla="*/ 110 h 607"/>
              <a:gd name="T24" fmla="*/ 350 w 397"/>
              <a:gd name="T25" fmla="*/ 107 h 607"/>
              <a:gd name="T26" fmla="*/ 347 w 397"/>
              <a:gd name="T27" fmla="*/ 79 h 607"/>
              <a:gd name="T28" fmla="*/ 340 w 397"/>
              <a:gd name="T29" fmla="*/ 88 h 607"/>
              <a:gd name="T30" fmla="*/ 328 w 397"/>
              <a:gd name="T31" fmla="*/ 88 h 607"/>
              <a:gd name="T32" fmla="*/ 334 w 397"/>
              <a:gd name="T33" fmla="*/ 63 h 607"/>
              <a:gd name="T34" fmla="*/ 337 w 397"/>
              <a:gd name="T35" fmla="*/ 41 h 607"/>
              <a:gd name="T36" fmla="*/ 328 w 397"/>
              <a:gd name="T37" fmla="*/ 25 h 607"/>
              <a:gd name="T38" fmla="*/ 322 w 397"/>
              <a:gd name="T39" fmla="*/ 13 h 607"/>
              <a:gd name="T40" fmla="*/ 312 w 397"/>
              <a:gd name="T41" fmla="*/ 4 h 607"/>
              <a:gd name="T42" fmla="*/ 312 w 397"/>
              <a:gd name="T43" fmla="*/ 25 h 607"/>
              <a:gd name="T44" fmla="*/ 312 w 397"/>
              <a:gd name="T45" fmla="*/ 41 h 607"/>
              <a:gd name="T46" fmla="*/ 322 w 397"/>
              <a:gd name="T47" fmla="*/ 63 h 607"/>
              <a:gd name="T48" fmla="*/ 322 w 397"/>
              <a:gd name="T49" fmla="*/ 76 h 607"/>
              <a:gd name="T50" fmla="*/ 325 w 397"/>
              <a:gd name="T51" fmla="*/ 91 h 607"/>
              <a:gd name="T52" fmla="*/ 322 w 397"/>
              <a:gd name="T53" fmla="*/ 113 h 607"/>
              <a:gd name="T54" fmla="*/ 312 w 397"/>
              <a:gd name="T55" fmla="*/ 129 h 607"/>
              <a:gd name="T56" fmla="*/ 284 w 397"/>
              <a:gd name="T57" fmla="*/ 160 h 607"/>
              <a:gd name="T58" fmla="*/ 306 w 397"/>
              <a:gd name="T59" fmla="*/ 191 h 607"/>
              <a:gd name="T60" fmla="*/ 272 w 397"/>
              <a:gd name="T61" fmla="*/ 210 h 607"/>
              <a:gd name="T62" fmla="*/ 272 w 397"/>
              <a:gd name="T63" fmla="*/ 210 h 607"/>
              <a:gd name="T64" fmla="*/ 272 w 397"/>
              <a:gd name="T65" fmla="*/ 213 h 607"/>
              <a:gd name="T66" fmla="*/ 87 w 397"/>
              <a:gd name="T67" fmla="*/ 404 h 607"/>
              <a:gd name="T68" fmla="*/ 90 w 397"/>
              <a:gd name="T69" fmla="*/ 391 h 607"/>
              <a:gd name="T70" fmla="*/ 96 w 397"/>
              <a:gd name="T71" fmla="*/ 398 h 607"/>
              <a:gd name="T72" fmla="*/ 90 w 397"/>
              <a:gd name="T73" fmla="*/ 404 h 607"/>
              <a:gd name="T74" fmla="*/ 81 w 397"/>
              <a:gd name="T75" fmla="*/ 363 h 607"/>
              <a:gd name="T76" fmla="*/ 93 w 397"/>
              <a:gd name="T77" fmla="*/ 341 h 607"/>
              <a:gd name="T78" fmla="*/ 109 w 397"/>
              <a:gd name="T79" fmla="*/ 329 h 607"/>
              <a:gd name="T80" fmla="*/ 125 w 397"/>
              <a:gd name="T81" fmla="*/ 310 h 607"/>
              <a:gd name="T82" fmla="*/ 156 w 397"/>
              <a:gd name="T83" fmla="*/ 301 h 607"/>
              <a:gd name="T84" fmla="*/ 181 w 397"/>
              <a:gd name="T85" fmla="*/ 276 h 607"/>
              <a:gd name="T86" fmla="*/ 215 w 397"/>
              <a:gd name="T87" fmla="*/ 244 h 607"/>
              <a:gd name="T88" fmla="*/ 237 w 397"/>
              <a:gd name="T89" fmla="*/ 219 h 607"/>
              <a:gd name="T90" fmla="*/ 256 w 397"/>
              <a:gd name="T91" fmla="*/ 207 h 607"/>
              <a:gd name="T92" fmla="*/ 259 w 397"/>
              <a:gd name="T93" fmla="*/ 219 h 607"/>
              <a:gd name="T94" fmla="*/ 272 w 397"/>
              <a:gd name="T95" fmla="*/ 216 h 607"/>
              <a:gd name="T96" fmla="*/ 278 w 397"/>
              <a:gd name="T97" fmla="*/ 219 h 607"/>
              <a:gd name="T98" fmla="*/ 262 w 397"/>
              <a:gd name="T99" fmla="*/ 251 h 607"/>
              <a:gd name="T100" fmla="*/ 237 w 397"/>
              <a:gd name="T101" fmla="*/ 282 h 607"/>
              <a:gd name="T102" fmla="*/ 228 w 397"/>
              <a:gd name="T103" fmla="*/ 307 h 607"/>
              <a:gd name="T104" fmla="*/ 222 w 397"/>
              <a:gd name="T105" fmla="*/ 304 h 607"/>
              <a:gd name="T106" fmla="*/ 209 w 397"/>
              <a:gd name="T107" fmla="*/ 301 h 607"/>
              <a:gd name="T108" fmla="*/ 190 w 397"/>
              <a:gd name="T109" fmla="*/ 313 h 607"/>
              <a:gd name="T110" fmla="*/ 165 w 397"/>
              <a:gd name="T111" fmla="*/ 354 h 607"/>
              <a:gd name="T112" fmla="*/ 153 w 397"/>
              <a:gd name="T113" fmla="*/ 370 h 607"/>
              <a:gd name="T114" fmla="*/ 134 w 397"/>
              <a:gd name="T115" fmla="*/ 385 h 607"/>
              <a:gd name="T116" fmla="*/ 109 w 397"/>
              <a:gd name="T117" fmla="*/ 388 h 607"/>
              <a:gd name="T118" fmla="*/ 93 w 397"/>
              <a:gd name="T119" fmla="*/ 373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7" h="607">
                <a:moveTo>
                  <a:pt x="81" y="354"/>
                </a:moveTo>
                <a:lnTo>
                  <a:pt x="84" y="354"/>
                </a:lnTo>
                <a:lnTo>
                  <a:pt x="87" y="354"/>
                </a:lnTo>
                <a:lnTo>
                  <a:pt x="87" y="351"/>
                </a:lnTo>
                <a:lnTo>
                  <a:pt x="84" y="351"/>
                </a:lnTo>
                <a:lnTo>
                  <a:pt x="81" y="351"/>
                </a:lnTo>
                <a:lnTo>
                  <a:pt x="81" y="354"/>
                </a:lnTo>
                <a:lnTo>
                  <a:pt x="81" y="354"/>
                </a:lnTo>
                <a:close/>
                <a:moveTo>
                  <a:pt x="25" y="604"/>
                </a:moveTo>
                <a:lnTo>
                  <a:pt x="28" y="607"/>
                </a:lnTo>
                <a:lnTo>
                  <a:pt x="31" y="607"/>
                </a:lnTo>
                <a:lnTo>
                  <a:pt x="34" y="601"/>
                </a:lnTo>
                <a:lnTo>
                  <a:pt x="34" y="598"/>
                </a:lnTo>
                <a:lnTo>
                  <a:pt x="31" y="604"/>
                </a:lnTo>
                <a:lnTo>
                  <a:pt x="28" y="604"/>
                </a:lnTo>
                <a:lnTo>
                  <a:pt x="25" y="604"/>
                </a:lnTo>
                <a:lnTo>
                  <a:pt x="25" y="604"/>
                </a:lnTo>
                <a:close/>
                <a:moveTo>
                  <a:pt x="0" y="529"/>
                </a:moveTo>
                <a:lnTo>
                  <a:pt x="9" y="520"/>
                </a:lnTo>
                <a:lnTo>
                  <a:pt x="9" y="520"/>
                </a:lnTo>
                <a:lnTo>
                  <a:pt x="9" y="523"/>
                </a:lnTo>
                <a:lnTo>
                  <a:pt x="6" y="526"/>
                </a:lnTo>
                <a:lnTo>
                  <a:pt x="9" y="529"/>
                </a:lnTo>
                <a:lnTo>
                  <a:pt x="9" y="532"/>
                </a:lnTo>
                <a:lnTo>
                  <a:pt x="3" y="529"/>
                </a:lnTo>
                <a:lnTo>
                  <a:pt x="0" y="532"/>
                </a:lnTo>
                <a:lnTo>
                  <a:pt x="0" y="529"/>
                </a:lnTo>
                <a:lnTo>
                  <a:pt x="0" y="529"/>
                </a:lnTo>
                <a:close/>
                <a:moveTo>
                  <a:pt x="334" y="85"/>
                </a:moveTo>
                <a:lnTo>
                  <a:pt x="337" y="85"/>
                </a:lnTo>
                <a:lnTo>
                  <a:pt x="337" y="88"/>
                </a:lnTo>
                <a:lnTo>
                  <a:pt x="337" y="88"/>
                </a:lnTo>
                <a:lnTo>
                  <a:pt x="334" y="85"/>
                </a:lnTo>
                <a:lnTo>
                  <a:pt x="334" y="85"/>
                </a:lnTo>
                <a:close/>
                <a:moveTo>
                  <a:pt x="340" y="69"/>
                </a:moveTo>
                <a:lnTo>
                  <a:pt x="340" y="69"/>
                </a:lnTo>
                <a:lnTo>
                  <a:pt x="340" y="69"/>
                </a:lnTo>
                <a:lnTo>
                  <a:pt x="340" y="69"/>
                </a:lnTo>
                <a:lnTo>
                  <a:pt x="340" y="69"/>
                </a:lnTo>
                <a:close/>
                <a:moveTo>
                  <a:pt x="347" y="72"/>
                </a:moveTo>
                <a:lnTo>
                  <a:pt x="343" y="69"/>
                </a:lnTo>
                <a:lnTo>
                  <a:pt x="347" y="63"/>
                </a:lnTo>
                <a:lnTo>
                  <a:pt x="347" y="66"/>
                </a:lnTo>
                <a:lnTo>
                  <a:pt x="350" y="69"/>
                </a:lnTo>
                <a:lnTo>
                  <a:pt x="347" y="69"/>
                </a:lnTo>
                <a:lnTo>
                  <a:pt x="347" y="69"/>
                </a:lnTo>
                <a:lnTo>
                  <a:pt x="347" y="72"/>
                </a:lnTo>
                <a:lnTo>
                  <a:pt x="347" y="72"/>
                </a:lnTo>
                <a:close/>
                <a:moveTo>
                  <a:pt x="284" y="226"/>
                </a:moveTo>
                <a:lnTo>
                  <a:pt x="287" y="226"/>
                </a:lnTo>
                <a:lnTo>
                  <a:pt x="287" y="223"/>
                </a:lnTo>
                <a:lnTo>
                  <a:pt x="290" y="223"/>
                </a:lnTo>
                <a:lnTo>
                  <a:pt x="290" y="226"/>
                </a:lnTo>
                <a:lnTo>
                  <a:pt x="290" y="229"/>
                </a:lnTo>
                <a:lnTo>
                  <a:pt x="290" y="229"/>
                </a:lnTo>
                <a:lnTo>
                  <a:pt x="293" y="229"/>
                </a:lnTo>
                <a:lnTo>
                  <a:pt x="293" y="229"/>
                </a:lnTo>
                <a:lnTo>
                  <a:pt x="293" y="232"/>
                </a:lnTo>
                <a:lnTo>
                  <a:pt x="293" y="235"/>
                </a:lnTo>
                <a:lnTo>
                  <a:pt x="297" y="235"/>
                </a:lnTo>
                <a:lnTo>
                  <a:pt x="303" y="229"/>
                </a:lnTo>
                <a:lnTo>
                  <a:pt x="309" y="223"/>
                </a:lnTo>
                <a:lnTo>
                  <a:pt x="315" y="216"/>
                </a:lnTo>
                <a:lnTo>
                  <a:pt x="322" y="210"/>
                </a:lnTo>
                <a:lnTo>
                  <a:pt x="328" y="204"/>
                </a:lnTo>
                <a:lnTo>
                  <a:pt x="331" y="201"/>
                </a:lnTo>
                <a:lnTo>
                  <a:pt x="334" y="201"/>
                </a:lnTo>
                <a:lnTo>
                  <a:pt x="337" y="198"/>
                </a:lnTo>
                <a:lnTo>
                  <a:pt x="337" y="194"/>
                </a:lnTo>
                <a:lnTo>
                  <a:pt x="337" y="194"/>
                </a:lnTo>
                <a:lnTo>
                  <a:pt x="340" y="191"/>
                </a:lnTo>
                <a:lnTo>
                  <a:pt x="343" y="185"/>
                </a:lnTo>
                <a:lnTo>
                  <a:pt x="350" y="179"/>
                </a:lnTo>
                <a:lnTo>
                  <a:pt x="350" y="176"/>
                </a:lnTo>
                <a:lnTo>
                  <a:pt x="350" y="176"/>
                </a:lnTo>
                <a:lnTo>
                  <a:pt x="347" y="172"/>
                </a:lnTo>
                <a:lnTo>
                  <a:pt x="343" y="172"/>
                </a:lnTo>
                <a:lnTo>
                  <a:pt x="340" y="172"/>
                </a:lnTo>
                <a:lnTo>
                  <a:pt x="343" y="169"/>
                </a:lnTo>
                <a:lnTo>
                  <a:pt x="347" y="169"/>
                </a:lnTo>
                <a:lnTo>
                  <a:pt x="356" y="160"/>
                </a:lnTo>
                <a:lnTo>
                  <a:pt x="359" y="157"/>
                </a:lnTo>
                <a:lnTo>
                  <a:pt x="365" y="160"/>
                </a:lnTo>
                <a:lnTo>
                  <a:pt x="368" y="160"/>
                </a:lnTo>
                <a:lnTo>
                  <a:pt x="368" y="163"/>
                </a:lnTo>
                <a:lnTo>
                  <a:pt x="368" y="163"/>
                </a:lnTo>
                <a:lnTo>
                  <a:pt x="372" y="160"/>
                </a:lnTo>
                <a:lnTo>
                  <a:pt x="375" y="160"/>
                </a:lnTo>
                <a:lnTo>
                  <a:pt x="368" y="157"/>
                </a:lnTo>
                <a:lnTo>
                  <a:pt x="368" y="154"/>
                </a:lnTo>
                <a:lnTo>
                  <a:pt x="372" y="147"/>
                </a:lnTo>
                <a:lnTo>
                  <a:pt x="375" y="144"/>
                </a:lnTo>
                <a:lnTo>
                  <a:pt x="378" y="144"/>
                </a:lnTo>
                <a:lnTo>
                  <a:pt x="378" y="147"/>
                </a:lnTo>
                <a:lnTo>
                  <a:pt x="381" y="144"/>
                </a:lnTo>
                <a:lnTo>
                  <a:pt x="384" y="141"/>
                </a:lnTo>
                <a:lnTo>
                  <a:pt x="387" y="135"/>
                </a:lnTo>
                <a:lnTo>
                  <a:pt x="387" y="132"/>
                </a:lnTo>
                <a:lnTo>
                  <a:pt x="387" y="129"/>
                </a:lnTo>
                <a:lnTo>
                  <a:pt x="390" y="126"/>
                </a:lnTo>
                <a:lnTo>
                  <a:pt x="393" y="119"/>
                </a:lnTo>
                <a:lnTo>
                  <a:pt x="397" y="119"/>
                </a:lnTo>
                <a:lnTo>
                  <a:pt x="393" y="116"/>
                </a:lnTo>
                <a:lnTo>
                  <a:pt x="390" y="116"/>
                </a:lnTo>
                <a:lnTo>
                  <a:pt x="387" y="113"/>
                </a:lnTo>
                <a:lnTo>
                  <a:pt x="390" y="113"/>
                </a:lnTo>
                <a:lnTo>
                  <a:pt x="390" y="113"/>
                </a:lnTo>
                <a:lnTo>
                  <a:pt x="387" y="110"/>
                </a:lnTo>
                <a:lnTo>
                  <a:pt x="381" y="113"/>
                </a:lnTo>
                <a:lnTo>
                  <a:pt x="375" y="122"/>
                </a:lnTo>
                <a:lnTo>
                  <a:pt x="368" y="122"/>
                </a:lnTo>
                <a:lnTo>
                  <a:pt x="368" y="122"/>
                </a:lnTo>
                <a:lnTo>
                  <a:pt x="362" y="122"/>
                </a:lnTo>
                <a:lnTo>
                  <a:pt x="356" y="113"/>
                </a:lnTo>
                <a:lnTo>
                  <a:pt x="353" y="113"/>
                </a:lnTo>
                <a:lnTo>
                  <a:pt x="350" y="110"/>
                </a:lnTo>
                <a:lnTo>
                  <a:pt x="350" y="107"/>
                </a:lnTo>
                <a:lnTo>
                  <a:pt x="353" y="104"/>
                </a:lnTo>
                <a:lnTo>
                  <a:pt x="353" y="101"/>
                </a:lnTo>
                <a:lnTo>
                  <a:pt x="350" y="94"/>
                </a:lnTo>
                <a:lnTo>
                  <a:pt x="350" y="91"/>
                </a:lnTo>
                <a:lnTo>
                  <a:pt x="347" y="88"/>
                </a:lnTo>
                <a:lnTo>
                  <a:pt x="350" y="85"/>
                </a:lnTo>
                <a:lnTo>
                  <a:pt x="350" y="82"/>
                </a:lnTo>
                <a:lnTo>
                  <a:pt x="347" y="82"/>
                </a:lnTo>
                <a:lnTo>
                  <a:pt x="347" y="79"/>
                </a:lnTo>
                <a:lnTo>
                  <a:pt x="347" y="76"/>
                </a:lnTo>
                <a:lnTo>
                  <a:pt x="343" y="76"/>
                </a:lnTo>
                <a:lnTo>
                  <a:pt x="340" y="76"/>
                </a:lnTo>
                <a:lnTo>
                  <a:pt x="340" y="76"/>
                </a:lnTo>
                <a:lnTo>
                  <a:pt x="343" y="79"/>
                </a:lnTo>
                <a:lnTo>
                  <a:pt x="343" y="82"/>
                </a:lnTo>
                <a:lnTo>
                  <a:pt x="343" y="85"/>
                </a:lnTo>
                <a:lnTo>
                  <a:pt x="340" y="88"/>
                </a:lnTo>
                <a:lnTo>
                  <a:pt x="340" y="88"/>
                </a:lnTo>
                <a:lnTo>
                  <a:pt x="343" y="94"/>
                </a:lnTo>
                <a:lnTo>
                  <a:pt x="343" y="94"/>
                </a:lnTo>
                <a:lnTo>
                  <a:pt x="340" y="97"/>
                </a:lnTo>
                <a:lnTo>
                  <a:pt x="337" y="94"/>
                </a:lnTo>
                <a:lnTo>
                  <a:pt x="337" y="91"/>
                </a:lnTo>
                <a:lnTo>
                  <a:pt x="334" y="91"/>
                </a:lnTo>
                <a:lnTo>
                  <a:pt x="334" y="88"/>
                </a:lnTo>
                <a:lnTo>
                  <a:pt x="331" y="85"/>
                </a:lnTo>
                <a:lnTo>
                  <a:pt x="328" y="88"/>
                </a:lnTo>
                <a:lnTo>
                  <a:pt x="328" y="85"/>
                </a:lnTo>
                <a:lnTo>
                  <a:pt x="331" y="82"/>
                </a:lnTo>
                <a:lnTo>
                  <a:pt x="331" y="82"/>
                </a:lnTo>
                <a:lnTo>
                  <a:pt x="328" y="79"/>
                </a:lnTo>
                <a:lnTo>
                  <a:pt x="331" y="72"/>
                </a:lnTo>
                <a:lnTo>
                  <a:pt x="334" y="72"/>
                </a:lnTo>
                <a:lnTo>
                  <a:pt x="334" y="69"/>
                </a:lnTo>
                <a:lnTo>
                  <a:pt x="334" y="66"/>
                </a:lnTo>
                <a:lnTo>
                  <a:pt x="334" y="63"/>
                </a:lnTo>
                <a:lnTo>
                  <a:pt x="334" y="60"/>
                </a:lnTo>
                <a:lnTo>
                  <a:pt x="334" y="57"/>
                </a:lnTo>
                <a:lnTo>
                  <a:pt x="328" y="54"/>
                </a:lnTo>
                <a:lnTo>
                  <a:pt x="331" y="50"/>
                </a:lnTo>
                <a:lnTo>
                  <a:pt x="331" y="54"/>
                </a:lnTo>
                <a:lnTo>
                  <a:pt x="334" y="50"/>
                </a:lnTo>
                <a:lnTo>
                  <a:pt x="337" y="47"/>
                </a:lnTo>
                <a:lnTo>
                  <a:pt x="337" y="47"/>
                </a:lnTo>
                <a:lnTo>
                  <a:pt x="337" y="41"/>
                </a:lnTo>
                <a:lnTo>
                  <a:pt x="337" y="35"/>
                </a:lnTo>
                <a:lnTo>
                  <a:pt x="337" y="32"/>
                </a:lnTo>
                <a:lnTo>
                  <a:pt x="334" y="32"/>
                </a:lnTo>
                <a:lnTo>
                  <a:pt x="331" y="35"/>
                </a:lnTo>
                <a:lnTo>
                  <a:pt x="328" y="32"/>
                </a:lnTo>
                <a:lnTo>
                  <a:pt x="328" y="29"/>
                </a:lnTo>
                <a:lnTo>
                  <a:pt x="328" y="29"/>
                </a:lnTo>
                <a:lnTo>
                  <a:pt x="325" y="29"/>
                </a:lnTo>
                <a:lnTo>
                  <a:pt x="328" y="25"/>
                </a:lnTo>
                <a:lnTo>
                  <a:pt x="331" y="22"/>
                </a:lnTo>
                <a:lnTo>
                  <a:pt x="328" y="22"/>
                </a:lnTo>
                <a:lnTo>
                  <a:pt x="325" y="22"/>
                </a:lnTo>
                <a:lnTo>
                  <a:pt x="322" y="19"/>
                </a:lnTo>
                <a:lnTo>
                  <a:pt x="322" y="19"/>
                </a:lnTo>
                <a:lnTo>
                  <a:pt x="318" y="16"/>
                </a:lnTo>
                <a:lnTo>
                  <a:pt x="322" y="16"/>
                </a:lnTo>
                <a:lnTo>
                  <a:pt x="322" y="13"/>
                </a:lnTo>
                <a:lnTo>
                  <a:pt x="322" y="13"/>
                </a:lnTo>
                <a:lnTo>
                  <a:pt x="318" y="16"/>
                </a:lnTo>
                <a:lnTo>
                  <a:pt x="318" y="16"/>
                </a:lnTo>
                <a:lnTo>
                  <a:pt x="318" y="19"/>
                </a:lnTo>
                <a:lnTo>
                  <a:pt x="315" y="19"/>
                </a:lnTo>
                <a:lnTo>
                  <a:pt x="315" y="16"/>
                </a:lnTo>
                <a:lnTo>
                  <a:pt x="315" y="13"/>
                </a:lnTo>
                <a:lnTo>
                  <a:pt x="312" y="7"/>
                </a:lnTo>
                <a:lnTo>
                  <a:pt x="312" y="4"/>
                </a:lnTo>
                <a:lnTo>
                  <a:pt x="312" y="4"/>
                </a:lnTo>
                <a:lnTo>
                  <a:pt x="315" y="4"/>
                </a:lnTo>
                <a:lnTo>
                  <a:pt x="312" y="0"/>
                </a:lnTo>
                <a:lnTo>
                  <a:pt x="312" y="4"/>
                </a:lnTo>
                <a:lnTo>
                  <a:pt x="306" y="0"/>
                </a:lnTo>
                <a:lnTo>
                  <a:pt x="306" y="4"/>
                </a:lnTo>
                <a:lnTo>
                  <a:pt x="309" y="7"/>
                </a:lnTo>
                <a:lnTo>
                  <a:pt x="312" y="16"/>
                </a:lnTo>
                <a:lnTo>
                  <a:pt x="312" y="19"/>
                </a:lnTo>
                <a:lnTo>
                  <a:pt x="312" y="25"/>
                </a:lnTo>
                <a:lnTo>
                  <a:pt x="309" y="29"/>
                </a:lnTo>
                <a:lnTo>
                  <a:pt x="309" y="29"/>
                </a:lnTo>
                <a:lnTo>
                  <a:pt x="309" y="29"/>
                </a:lnTo>
                <a:lnTo>
                  <a:pt x="309" y="38"/>
                </a:lnTo>
                <a:lnTo>
                  <a:pt x="312" y="38"/>
                </a:lnTo>
                <a:lnTo>
                  <a:pt x="315" y="35"/>
                </a:lnTo>
                <a:lnTo>
                  <a:pt x="318" y="35"/>
                </a:lnTo>
                <a:lnTo>
                  <a:pt x="315" y="38"/>
                </a:lnTo>
                <a:lnTo>
                  <a:pt x="312" y="41"/>
                </a:lnTo>
                <a:lnTo>
                  <a:pt x="315" y="44"/>
                </a:lnTo>
                <a:lnTo>
                  <a:pt x="315" y="50"/>
                </a:lnTo>
                <a:lnTo>
                  <a:pt x="318" y="60"/>
                </a:lnTo>
                <a:lnTo>
                  <a:pt x="318" y="66"/>
                </a:lnTo>
                <a:lnTo>
                  <a:pt x="318" y="69"/>
                </a:lnTo>
                <a:lnTo>
                  <a:pt x="318" y="69"/>
                </a:lnTo>
                <a:lnTo>
                  <a:pt x="322" y="66"/>
                </a:lnTo>
                <a:lnTo>
                  <a:pt x="318" y="63"/>
                </a:lnTo>
                <a:lnTo>
                  <a:pt x="322" y="63"/>
                </a:lnTo>
                <a:lnTo>
                  <a:pt x="322" y="66"/>
                </a:lnTo>
                <a:lnTo>
                  <a:pt x="322" y="69"/>
                </a:lnTo>
                <a:lnTo>
                  <a:pt x="325" y="66"/>
                </a:lnTo>
                <a:lnTo>
                  <a:pt x="325" y="66"/>
                </a:lnTo>
                <a:lnTo>
                  <a:pt x="325" y="66"/>
                </a:lnTo>
                <a:lnTo>
                  <a:pt x="325" y="63"/>
                </a:lnTo>
                <a:lnTo>
                  <a:pt x="325" y="66"/>
                </a:lnTo>
                <a:lnTo>
                  <a:pt x="325" y="72"/>
                </a:lnTo>
                <a:lnTo>
                  <a:pt x="322" y="76"/>
                </a:lnTo>
                <a:lnTo>
                  <a:pt x="322" y="76"/>
                </a:lnTo>
                <a:lnTo>
                  <a:pt x="322" y="76"/>
                </a:lnTo>
                <a:lnTo>
                  <a:pt x="318" y="76"/>
                </a:lnTo>
                <a:lnTo>
                  <a:pt x="318" y="76"/>
                </a:lnTo>
                <a:lnTo>
                  <a:pt x="318" y="79"/>
                </a:lnTo>
                <a:lnTo>
                  <a:pt x="322" y="88"/>
                </a:lnTo>
                <a:lnTo>
                  <a:pt x="322" y="88"/>
                </a:lnTo>
                <a:lnTo>
                  <a:pt x="325" y="88"/>
                </a:lnTo>
                <a:lnTo>
                  <a:pt x="325" y="91"/>
                </a:lnTo>
                <a:lnTo>
                  <a:pt x="325" y="91"/>
                </a:lnTo>
                <a:lnTo>
                  <a:pt x="328" y="94"/>
                </a:lnTo>
                <a:lnTo>
                  <a:pt x="325" y="97"/>
                </a:lnTo>
                <a:lnTo>
                  <a:pt x="325" y="97"/>
                </a:lnTo>
                <a:lnTo>
                  <a:pt x="325" y="97"/>
                </a:lnTo>
                <a:lnTo>
                  <a:pt x="325" y="101"/>
                </a:lnTo>
                <a:lnTo>
                  <a:pt x="322" y="107"/>
                </a:lnTo>
                <a:lnTo>
                  <a:pt x="322" y="113"/>
                </a:lnTo>
                <a:lnTo>
                  <a:pt x="322" y="113"/>
                </a:lnTo>
                <a:lnTo>
                  <a:pt x="322" y="116"/>
                </a:lnTo>
                <a:lnTo>
                  <a:pt x="322" y="116"/>
                </a:lnTo>
                <a:lnTo>
                  <a:pt x="318" y="116"/>
                </a:lnTo>
                <a:lnTo>
                  <a:pt x="318" y="119"/>
                </a:lnTo>
                <a:lnTo>
                  <a:pt x="318" y="122"/>
                </a:lnTo>
                <a:lnTo>
                  <a:pt x="318" y="122"/>
                </a:lnTo>
                <a:lnTo>
                  <a:pt x="318" y="126"/>
                </a:lnTo>
                <a:lnTo>
                  <a:pt x="315" y="126"/>
                </a:lnTo>
                <a:lnTo>
                  <a:pt x="312" y="129"/>
                </a:lnTo>
                <a:lnTo>
                  <a:pt x="309" y="144"/>
                </a:lnTo>
                <a:lnTo>
                  <a:pt x="309" y="147"/>
                </a:lnTo>
                <a:lnTo>
                  <a:pt x="306" y="147"/>
                </a:lnTo>
                <a:lnTo>
                  <a:pt x="306" y="147"/>
                </a:lnTo>
                <a:lnTo>
                  <a:pt x="300" y="147"/>
                </a:lnTo>
                <a:lnTo>
                  <a:pt x="297" y="147"/>
                </a:lnTo>
                <a:lnTo>
                  <a:pt x="290" y="151"/>
                </a:lnTo>
                <a:lnTo>
                  <a:pt x="287" y="157"/>
                </a:lnTo>
                <a:lnTo>
                  <a:pt x="284" y="160"/>
                </a:lnTo>
                <a:lnTo>
                  <a:pt x="287" y="166"/>
                </a:lnTo>
                <a:lnTo>
                  <a:pt x="290" y="169"/>
                </a:lnTo>
                <a:lnTo>
                  <a:pt x="297" y="172"/>
                </a:lnTo>
                <a:lnTo>
                  <a:pt x="297" y="179"/>
                </a:lnTo>
                <a:lnTo>
                  <a:pt x="303" y="179"/>
                </a:lnTo>
                <a:lnTo>
                  <a:pt x="306" y="182"/>
                </a:lnTo>
                <a:lnTo>
                  <a:pt x="306" y="191"/>
                </a:lnTo>
                <a:lnTo>
                  <a:pt x="306" y="191"/>
                </a:lnTo>
                <a:lnTo>
                  <a:pt x="306" y="191"/>
                </a:lnTo>
                <a:lnTo>
                  <a:pt x="306" y="198"/>
                </a:lnTo>
                <a:lnTo>
                  <a:pt x="303" y="201"/>
                </a:lnTo>
                <a:lnTo>
                  <a:pt x="297" y="210"/>
                </a:lnTo>
                <a:lnTo>
                  <a:pt x="290" y="216"/>
                </a:lnTo>
                <a:lnTo>
                  <a:pt x="284" y="219"/>
                </a:lnTo>
                <a:lnTo>
                  <a:pt x="284" y="223"/>
                </a:lnTo>
                <a:lnTo>
                  <a:pt x="284" y="226"/>
                </a:lnTo>
                <a:lnTo>
                  <a:pt x="284" y="226"/>
                </a:lnTo>
                <a:close/>
                <a:moveTo>
                  <a:pt x="272" y="210"/>
                </a:moveTo>
                <a:lnTo>
                  <a:pt x="272" y="207"/>
                </a:lnTo>
                <a:lnTo>
                  <a:pt x="272" y="204"/>
                </a:lnTo>
                <a:lnTo>
                  <a:pt x="275" y="204"/>
                </a:lnTo>
                <a:lnTo>
                  <a:pt x="275" y="207"/>
                </a:lnTo>
                <a:lnTo>
                  <a:pt x="272" y="207"/>
                </a:lnTo>
                <a:lnTo>
                  <a:pt x="272" y="210"/>
                </a:lnTo>
                <a:lnTo>
                  <a:pt x="272" y="210"/>
                </a:lnTo>
                <a:lnTo>
                  <a:pt x="272" y="210"/>
                </a:lnTo>
                <a:lnTo>
                  <a:pt x="272" y="210"/>
                </a:lnTo>
                <a:close/>
                <a:moveTo>
                  <a:pt x="268" y="216"/>
                </a:moveTo>
                <a:lnTo>
                  <a:pt x="272" y="213"/>
                </a:lnTo>
                <a:lnTo>
                  <a:pt x="272" y="213"/>
                </a:lnTo>
                <a:lnTo>
                  <a:pt x="272" y="216"/>
                </a:lnTo>
                <a:lnTo>
                  <a:pt x="268" y="216"/>
                </a:lnTo>
                <a:lnTo>
                  <a:pt x="268" y="216"/>
                </a:lnTo>
                <a:close/>
                <a:moveTo>
                  <a:pt x="265" y="213"/>
                </a:moveTo>
                <a:lnTo>
                  <a:pt x="268" y="213"/>
                </a:lnTo>
                <a:lnTo>
                  <a:pt x="272" y="213"/>
                </a:lnTo>
                <a:lnTo>
                  <a:pt x="272" y="213"/>
                </a:lnTo>
                <a:lnTo>
                  <a:pt x="265" y="213"/>
                </a:lnTo>
                <a:lnTo>
                  <a:pt x="265" y="213"/>
                </a:lnTo>
                <a:close/>
                <a:moveTo>
                  <a:pt x="106" y="398"/>
                </a:moveTo>
                <a:lnTo>
                  <a:pt x="109" y="395"/>
                </a:lnTo>
                <a:lnTo>
                  <a:pt x="106" y="398"/>
                </a:lnTo>
                <a:lnTo>
                  <a:pt x="106" y="398"/>
                </a:lnTo>
                <a:lnTo>
                  <a:pt x="106" y="398"/>
                </a:lnTo>
                <a:close/>
                <a:moveTo>
                  <a:pt x="87" y="404"/>
                </a:moveTo>
                <a:lnTo>
                  <a:pt x="84" y="407"/>
                </a:lnTo>
                <a:lnTo>
                  <a:pt x="81" y="407"/>
                </a:lnTo>
                <a:lnTo>
                  <a:pt x="81" y="407"/>
                </a:lnTo>
                <a:lnTo>
                  <a:pt x="84" y="401"/>
                </a:lnTo>
                <a:lnTo>
                  <a:pt x="87" y="401"/>
                </a:lnTo>
                <a:lnTo>
                  <a:pt x="87" y="398"/>
                </a:lnTo>
                <a:lnTo>
                  <a:pt x="90" y="398"/>
                </a:lnTo>
                <a:lnTo>
                  <a:pt x="90" y="395"/>
                </a:lnTo>
                <a:lnTo>
                  <a:pt x="90" y="391"/>
                </a:lnTo>
                <a:lnTo>
                  <a:pt x="90" y="388"/>
                </a:lnTo>
                <a:lnTo>
                  <a:pt x="93" y="388"/>
                </a:lnTo>
                <a:lnTo>
                  <a:pt x="96" y="391"/>
                </a:lnTo>
                <a:lnTo>
                  <a:pt x="100" y="395"/>
                </a:lnTo>
                <a:lnTo>
                  <a:pt x="100" y="395"/>
                </a:lnTo>
                <a:lnTo>
                  <a:pt x="100" y="398"/>
                </a:lnTo>
                <a:lnTo>
                  <a:pt x="96" y="398"/>
                </a:lnTo>
                <a:lnTo>
                  <a:pt x="96" y="395"/>
                </a:lnTo>
                <a:lnTo>
                  <a:pt x="96" y="398"/>
                </a:lnTo>
                <a:lnTo>
                  <a:pt x="96" y="398"/>
                </a:lnTo>
                <a:lnTo>
                  <a:pt x="96" y="398"/>
                </a:lnTo>
                <a:lnTo>
                  <a:pt x="100" y="401"/>
                </a:lnTo>
                <a:lnTo>
                  <a:pt x="100" y="401"/>
                </a:lnTo>
                <a:lnTo>
                  <a:pt x="100" y="404"/>
                </a:lnTo>
                <a:lnTo>
                  <a:pt x="96" y="401"/>
                </a:lnTo>
                <a:lnTo>
                  <a:pt x="93" y="404"/>
                </a:lnTo>
                <a:lnTo>
                  <a:pt x="90" y="404"/>
                </a:lnTo>
                <a:lnTo>
                  <a:pt x="90" y="404"/>
                </a:lnTo>
                <a:lnTo>
                  <a:pt x="87" y="404"/>
                </a:lnTo>
                <a:lnTo>
                  <a:pt x="87" y="404"/>
                </a:lnTo>
                <a:lnTo>
                  <a:pt x="87" y="404"/>
                </a:lnTo>
                <a:close/>
                <a:moveTo>
                  <a:pt x="84" y="370"/>
                </a:moveTo>
                <a:lnTo>
                  <a:pt x="81" y="370"/>
                </a:lnTo>
                <a:lnTo>
                  <a:pt x="81" y="363"/>
                </a:lnTo>
                <a:lnTo>
                  <a:pt x="84" y="363"/>
                </a:lnTo>
                <a:lnTo>
                  <a:pt x="81" y="363"/>
                </a:lnTo>
                <a:lnTo>
                  <a:pt x="81" y="363"/>
                </a:lnTo>
                <a:lnTo>
                  <a:pt x="84" y="357"/>
                </a:lnTo>
                <a:lnTo>
                  <a:pt x="87" y="357"/>
                </a:lnTo>
                <a:lnTo>
                  <a:pt x="90" y="357"/>
                </a:lnTo>
                <a:lnTo>
                  <a:pt x="93" y="357"/>
                </a:lnTo>
                <a:lnTo>
                  <a:pt x="90" y="354"/>
                </a:lnTo>
                <a:lnTo>
                  <a:pt x="87" y="351"/>
                </a:lnTo>
                <a:lnTo>
                  <a:pt x="87" y="348"/>
                </a:lnTo>
                <a:lnTo>
                  <a:pt x="90" y="341"/>
                </a:lnTo>
                <a:lnTo>
                  <a:pt x="93" y="341"/>
                </a:lnTo>
                <a:lnTo>
                  <a:pt x="93" y="338"/>
                </a:lnTo>
                <a:lnTo>
                  <a:pt x="96" y="341"/>
                </a:lnTo>
                <a:lnTo>
                  <a:pt x="96" y="345"/>
                </a:lnTo>
                <a:lnTo>
                  <a:pt x="100" y="341"/>
                </a:lnTo>
                <a:lnTo>
                  <a:pt x="100" y="335"/>
                </a:lnTo>
                <a:lnTo>
                  <a:pt x="100" y="332"/>
                </a:lnTo>
                <a:lnTo>
                  <a:pt x="103" y="332"/>
                </a:lnTo>
                <a:lnTo>
                  <a:pt x="109" y="326"/>
                </a:lnTo>
                <a:lnTo>
                  <a:pt x="109" y="329"/>
                </a:lnTo>
                <a:lnTo>
                  <a:pt x="112" y="326"/>
                </a:lnTo>
                <a:lnTo>
                  <a:pt x="112" y="320"/>
                </a:lnTo>
                <a:lnTo>
                  <a:pt x="115" y="320"/>
                </a:lnTo>
                <a:lnTo>
                  <a:pt x="115" y="316"/>
                </a:lnTo>
                <a:lnTo>
                  <a:pt x="118" y="320"/>
                </a:lnTo>
                <a:lnTo>
                  <a:pt x="118" y="320"/>
                </a:lnTo>
                <a:lnTo>
                  <a:pt x="118" y="316"/>
                </a:lnTo>
                <a:lnTo>
                  <a:pt x="125" y="313"/>
                </a:lnTo>
                <a:lnTo>
                  <a:pt x="125" y="310"/>
                </a:lnTo>
                <a:lnTo>
                  <a:pt x="131" y="307"/>
                </a:lnTo>
                <a:lnTo>
                  <a:pt x="134" y="304"/>
                </a:lnTo>
                <a:lnTo>
                  <a:pt x="140" y="298"/>
                </a:lnTo>
                <a:lnTo>
                  <a:pt x="143" y="298"/>
                </a:lnTo>
                <a:lnTo>
                  <a:pt x="143" y="301"/>
                </a:lnTo>
                <a:lnTo>
                  <a:pt x="147" y="301"/>
                </a:lnTo>
                <a:lnTo>
                  <a:pt x="150" y="298"/>
                </a:lnTo>
                <a:lnTo>
                  <a:pt x="153" y="298"/>
                </a:lnTo>
                <a:lnTo>
                  <a:pt x="156" y="301"/>
                </a:lnTo>
                <a:lnTo>
                  <a:pt x="156" y="298"/>
                </a:lnTo>
                <a:lnTo>
                  <a:pt x="153" y="294"/>
                </a:lnTo>
                <a:lnTo>
                  <a:pt x="156" y="291"/>
                </a:lnTo>
                <a:lnTo>
                  <a:pt x="162" y="288"/>
                </a:lnTo>
                <a:lnTo>
                  <a:pt x="165" y="288"/>
                </a:lnTo>
                <a:lnTo>
                  <a:pt x="172" y="282"/>
                </a:lnTo>
                <a:lnTo>
                  <a:pt x="178" y="279"/>
                </a:lnTo>
                <a:lnTo>
                  <a:pt x="181" y="279"/>
                </a:lnTo>
                <a:lnTo>
                  <a:pt x="181" y="276"/>
                </a:lnTo>
                <a:lnTo>
                  <a:pt x="187" y="273"/>
                </a:lnTo>
                <a:lnTo>
                  <a:pt x="190" y="273"/>
                </a:lnTo>
                <a:lnTo>
                  <a:pt x="200" y="266"/>
                </a:lnTo>
                <a:lnTo>
                  <a:pt x="206" y="257"/>
                </a:lnTo>
                <a:lnTo>
                  <a:pt x="206" y="254"/>
                </a:lnTo>
                <a:lnTo>
                  <a:pt x="209" y="254"/>
                </a:lnTo>
                <a:lnTo>
                  <a:pt x="209" y="248"/>
                </a:lnTo>
                <a:lnTo>
                  <a:pt x="212" y="244"/>
                </a:lnTo>
                <a:lnTo>
                  <a:pt x="215" y="244"/>
                </a:lnTo>
                <a:lnTo>
                  <a:pt x="215" y="241"/>
                </a:lnTo>
                <a:lnTo>
                  <a:pt x="215" y="235"/>
                </a:lnTo>
                <a:lnTo>
                  <a:pt x="218" y="235"/>
                </a:lnTo>
                <a:lnTo>
                  <a:pt x="222" y="235"/>
                </a:lnTo>
                <a:lnTo>
                  <a:pt x="225" y="232"/>
                </a:lnTo>
                <a:lnTo>
                  <a:pt x="228" y="229"/>
                </a:lnTo>
                <a:lnTo>
                  <a:pt x="231" y="226"/>
                </a:lnTo>
                <a:lnTo>
                  <a:pt x="234" y="223"/>
                </a:lnTo>
                <a:lnTo>
                  <a:pt x="237" y="219"/>
                </a:lnTo>
                <a:lnTo>
                  <a:pt x="240" y="210"/>
                </a:lnTo>
                <a:lnTo>
                  <a:pt x="240" y="207"/>
                </a:lnTo>
                <a:lnTo>
                  <a:pt x="243" y="204"/>
                </a:lnTo>
                <a:lnTo>
                  <a:pt x="247" y="201"/>
                </a:lnTo>
                <a:lnTo>
                  <a:pt x="253" y="198"/>
                </a:lnTo>
                <a:lnTo>
                  <a:pt x="256" y="198"/>
                </a:lnTo>
                <a:lnTo>
                  <a:pt x="253" y="201"/>
                </a:lnTo>
                <a:lnTo>
                  <a:pt x="253" y="204"/>
                </a:lnTo>
                <a:lnTo>
                  <a:pt x="256" y="207"/>
                </a:lnTo>
                <a:lnTo>
                  <a:pt x="256" y="207"/>
                </a:lnTo>
                <a:lnTo>
                  <a:pt x="259" y="207"/>
                </a:lnTo>
                <a:lnTo>
                  <a:pt x="259" y="207"/>
                </a:lnTo>
                <a:lnTo>
                  <a:pt x="259" y="207"/>
                </a:lnTo>
                <a:lnTo>
                  <a:pt x="259" y="210"/>
                </a:lnTo>
                <a:lnTo>
                  <a:pt x="259" y="210"/>
                </a:lnTo>
                <a:lnTo>
                  <a:pt x="256" y="213"/>
                </a:lnTo>
                <a:lnTo>
                  <a:pt x="256" y="213"/>
                </a:lnTo>
                <a:lnTo>
                  <a:pt x="259" y="219"/>
                </a:lnTo>
                <a:lnTo>
                  <a:pt x="259" y="223"/>
                </a:lnTo>
                <a:lnTo>
                  <a:pt x="262" y="216"/>
                </a:lnTo>
                <a:lnTo>
                  <a:pt x="265" y="216"/>
                </a:lnTo>
                <a:lnTo>
                  <a:pt x="268" y="216"/>
                </a:lnTo>
                <a:lnTo>
                  <a:pt x="268" y="216"/>
                </a:lnTo>
                <a:lnTo>
                  <a:pt x="268" y="219"/>
                </a:lnTo>
                <a:lnTo>
                  <a:pt x="272" y="219"/>
                </a:lnTo>
                <a:lnTo>
                  <a:pt x="275" y="219"/>
                </a:lnTo>
                <a:lnTo>
                  <a:pt x="272" y="216"/>
                </a:lnTo>
                <a:lnTo>
                  <a:pt x="272" y="216"/>
                </a:lnTo>
                <a:lnTo>
                  <a:pt x="275" y="213"/>
                </a:lnTo>
                <a:lnTo>
                  <a:pt x="278" y="213"/>
                </a:lnTo>
                <a:lnTo>
                  <a:pt x="278" y="216"/>
                </a:lnTo>
                <a:lnTo>
                  <a:pt x="278" y="216"/>
                </a:lnTo>
                <a:lnTo>
                  <a:pt x="275" y="219"/>
                </a:lnTo>
                <a:lnTo>
                  <a:pt x="272" y="223"/>
                </a:lnTo>
                <a:lnTo>
                  <a:pt x="275" y="223"/>
                </a:lnTo>
                <a:lnTo>
                  <a:pt x="278" y="219"/>
                </a:lnTo>
                <a:lnTo>
                  <a:pt x="275" y="226"/>
                </a:lnTo>
                <a:lnTo>
                  <a:pt x="272" y="226"/>
                </a:lnTo>
                <a:lnTo>
                  <a:pt x="272" y="229"/>
                </a:lnTo>
                <a:lnTo>
                  <a:pt x="272" y="232"/>
                </a:lnTo>
                <a:lnTo>
                  <a:pt x="275" y="235"/>
                </a:lnTo>
                <a:lnTo>
                  <a:pt x="275" y="238"/>
                </a:lnTo>
                <a:lnTo>
                  <a:pt x="275" y="241"/>
                </a:lnTo>
                <a:lnTo>
                  <a:pt x="272" y="241"/>
                </a:lnTo>
                <a:lnTo>
                  <a:pt x="262" y="251"/>
                </a:lnTo>
                <a:lnTo>
                  <a:pt x="262" y="254"/>
                </a:lnTo>
                <a:lnTo>
                  <a:pt x="253" y="260"/>
                </a:lnTo>
                <a:lnTo>
                  <a:pt x="256" y="263"/>
                </a:lnTo>
                <a:lnTo>
                  <a:pt x="253" y="263"/>
                </a:lnTo>
                <a:lnTo>
                  <a:pt x="247" y="266"/>
                </a:lnTo>
                <a:lnTo>
                  <a:pt x="247" y="269"/>
                </a:lnTo>
                <a:lnTo>
                  <a:pt x="243" y="276"/>
                </a:lnTo>
                <a:lnTo>
                  <a:pt x="240" y="276"/>
                </a:lnTo>
                <a:lnTo>
                  <a:pt x="237" y="282"/>
                </a:lnTo>
                <a:lnTo>
                  <a:pt x="231" y="282"/>
                </a:lnTo>
                <a:lnTo>
                  <a:pt x="228" y="285"/>
                </a:lnTo>
                <a:lnTo>
                  <a:pt x="228" y="291"/>
                </a:lnTo>
                <a:lnTo>
                  <a:pt x="228" y="294"/>
                </a:lnTo>
                <a:lnTo>
                  <a:pt x="225" y="294"/>
                </a:lnTo>
                <a:lnTo>
                  <a:pt x="228" y="298"/>
                </a:lnTo>
                <a:lnTo>
                  <a:pt x="231" y="301"/>
                </a:lnTo>
                <a:lnTo>
                  <a:pt x="231" y="304"/>
                </a:lnTo>
                <a:lnTo>
                  <a:pt x="228" y="307"/>
                </a:lnTo>
                <a:lnTo>
                  <a:pt x="228" y="304"/>
                </a:lnTo>
                <a:lnTo>
                  <a:pt x="228" y="301"/>
                </a:lnTo>
                <a:lnTo>
                  <a:pt x="225" y="301"/>
                </a:lnTo>
                <a:lnTo>
                  <a:pt x="225" y="301"/>
                </a:lnTo>
                <a:lnTo>
                  <a:pt x="225" y="304"/>
                </a:lnTo>
                <a:lnTo>
                  <a:pt x="225" y="307"/>
                </a:lnTo>
                <a:lnTo>
                  <a:pt x="222" y="304"/>
                </a:lnTo>
                <a:lnTo>
                  <a:pt x="215" y="304"/>
                </a:lnTo>
                <a:lnTo>
                  <a:pt x="222" y="304"/>
                </a:lnTo>
                <a:lnTo>
                  <a:pt x="222" y="301"/>
                </a:lnTo>
                <a:lnTo>
                  <a:pt x="218" y="301"/>
                </a:lnTo>
                <a:lnTo>
                  <a:pt x="215" y="304"/>
                </a:lnTo>
                <a:lnTo>
                  <a:pt x="215" y="304"/>
                </a:lnTo>
                <a:lnTo>
                  <a:pt x="212" y="304"/>
                </a:lnTo>
                <a:lnTo>
                  <a:pt x="212" y="304"/>
                </a:lnTo>
                <a:lnTo>
                  <a:pt x="209" y="301"/>
                </a:lnTo>
                <a:lnTo>
                  <a:pt x="206" y="301"/>
                </a:lnTo>
                <a:lnTo>
                  <a:pt x="209" y="301"/>
                </a:lnTo>
                <a:lnTo>
                  <a:pt x="209" y="304"/>
                </a:lnTo>
                <a:lnTo>
                  <a:pt x="206" y="307"/>
                </a:lnTo>
                <a:lnTo>
                  <a:pt x="206" y="310"/>
                </a:lnTo>
                <a:lnTo>
                  <a:pt x="203" y="310"/>
                </a:lnTo>
                <a:lnTo>
                  <a:pt x="200" y="313"/>
                </a:lnTo>
                <a:lnTo>
                  <a:pt x="197" y="313"/>
                </a:lnTo>
                <a:lnTo>
                  <a:pt x="197" y="310"/>
                </a:lnTo>
                <a:lnTo>
                  <a:pt x="193" y="313"/>
                </a:lnTo>
                <a:lnTo>
                  <a:pt x="190" y="313"/>
                </a:lnTo>
                <a:lnTo>
                  <a:pt x="187" y="320"/>
                </a:lnTo>
                <a:lnTo>
                  <a:pt x="187" y="323"/>
                </a:lnTo>
                <a:lnTo>
                  <a:pt x="187" y="326"/>
                </a:lnTo>
                <a:lnTo>
                  <a:pt x="181" y="332"/>
                </a:lnTo>
                <a:lnTo>
                  <a:pt x="181" y="335"/>
                </a:lnTo>
                <a:lnTo>
                  <a:pt x="178" y="338"/>
                </a:lnTo>
                <a:lnTo>
                  <a:pt x="172" y="345"/>
                </a:lnTo>
                <a:lnTo>
                  <a:pt x="168" y="348"/>
                </a:lnTo>
                <a:lnTo>
                  <a:pt x="165" y="354"/>
                </a:lnTo>
                <a:lnTo>
                  <a:pt x="162" y="360"/>
                </a:lnTo>
                <a:lnTo>
                  <a:pt x="159" y="363"/>
                </a:lnTo>
                <a:lnTo>
                  <a:pt x="159" y="366"/>
                </a:lnTo>
                <a:lnTo>
                  <a:pt x="159" y="366"/>
                </a:lnTo>
                <a:lnTo>
                  <a:pt x="156" y="366"/>
                </a:lnTo>
                <a:lnTo>
                  <a:pt x="162" y="366"/>
                </a:lnTo>
                <a:lnTo>
                  <a:pt x="162" y="370"/>
                </a:lnTo>
                <a:lnTo>
                  <a:pt x="159" y="370"/>
                </a:lnTo>
                <a:lnTo>
                  <a:pt x="153" y="370"/>
                </a:lnTo>
                <a:lnTo>
                  <a:pt x="150" y="373"/>
                </a:lnTo>
                <a:lnTo>
                  <a:pt x="147" y="376"/>
                </a:lnTo>
                <a:lnTo>
                  <a:pt x="143" y="379"/>
                </a:lnTo>
                <a:lnTo>
                  <a:pt x="140" y="382"/>
                </a:lnTo>
                <a:lnTo>
                  <a:pt x="140" y="379"/>
                </a:lnTo>
                <a:lnTo>
                  <a:pt x="137" y="376"/>
                </a:lnTo>
                <a:lnTo>
                  <a:pt x="140" y="379"/>
                </a:lnTo>
                <a:lnTo>
                  <a:pt x="140" y="382"/>
                </a:lnTo>
                <a:lnTo>
                  <a:pt x="134" y="385"/>
                </a:lnTo>
                <a:lnTo>
                  <a:pt x="131" y="388"/>
                </a:lnTo>
                <a:lnTo>
                  <a:pt x="122" y="391"/>
                </a:lnTo>
                <a:lnTo>
                  <a:pt x="118" y="391"/>
                </a:lnTo>
                <a:lnTo>
                  <a:pt x="115" y="391"/>
                </a:lnTo>
                <a:lnTo>
                  <a:pt x="115" y="388"/>
                </a:lnTo>
                <a:lnTo>
                  <a:pt x="109" y="391"/>
                </a:lnTo>
                <a:lnTo>
                  <a:pt x="109" y="391"/>
                </a:lnTo>
                <a:lnTo>
                  <a:pt x="112" y="388"/>
                </a:lnTo>
                <a:lnTo>
                  <a:pt x="109" y="388"/>
                </a:lnTo>
                <a:lnTo>
                  <a:pt x="106" y="385"/>
                </a:lnTo>
                <a:lnTo>
                  <a:pt x="106" y="379"/>
                </a:lnTo>
                <a:lnTo>
                  <a:pt x="103" y="379"/>
                </a:lnTo>
                <a:lnTo>
                  <a:pt x="100" y="379"/>
                </a:lnTo>
                <a:lnTo>
                  <a:pt x="100" y="376"/>
                </a:lnTo>
                <a:lnTo>
                  <a:pt x="100" y="376"/>
                </a:lnTo>
                <a:lnTo>
                  <a:pt x="96" y="373"/>
                </a:lnTo>
                <a:lnTo>
                  <a:pt x="96" y="370"/>
                </a:lnTo>
                <a:lnTo>
                  <a:pt x="93" y="373"/>
                </a:lnTo>
                <a:lnTo>
                  <a:pt x="93" y="373"/>
                </a:lnTo>
                <a:lnTo>
                  <a:pt x="90" y="373"/>
                </a:lnTo>
                <a:lnTo>
                  <a:pt x="90" y="373"/>
                </a:lnTo>
                <a:lnTo>
                  <a:pt x="84" y="373"/>
                </a:lnTo>
                <a:lnTo>
                  <a:pt x="84" y="37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4" name="Freeform 162">
            <a:extLst>
              <a:ext uri="{FF2B5EF4-FFF2-40B4-BE49-F238E27FC236}">
                <a16:creationId xmlns:a16="http://schemas.microsoft.com/office/drawing/2014/main" id="{DA44F5AE-0928-64B0-2BF3-761BCB412123}"/>
              </a:ext>
            </a:extLst>
          </p:cNvPr>
          <p:cNvSpPr>
            <a:spLocks noEditPoints="1"/>
          </p:cNvSpPr>
          <p:nvPr userDrawn="1"/>
        </p:nvSpPr>
        <p:spPr bwMode="auto">
          <a:xfrm>
            <a:off x="11908650" y="4380785"/>
            <a:ext cx="555590" cy="346078"/>
          </a:xfrm>
          <a:custGeom>
            <a:avLst/>
            <a:gdLst>
              <a:gd name="T0" fmla="*/ 66 w 175"/>
              <a:gd name="T1" fmla="*/ 106 h 109"/>
              <a:gd name="T2" fmla="*/ 56 w 175"/>
              <a:gd name="T3" fmla="*/ 94 h 109"/>
              <a:gd name="T4" fmla="*/ 78 w 175"/>
              <a:gd name="T5" fmla="*/ 103 h 109"/>
              <a:gd name="T6" fmla="*/ 94 w 175"/>
              <a:gd name="T7" fmla="*/ 97 h 109"/>
              <a:gd name="T8" fmla="*/ 109 w 175"/>
              <a:gd name="T9" fmla="*/ 91 h 109"/>
              <a:gd name="T10" fmla="*/ 116 w 175"/>
              <a:gd name="T11" fmla="*/ 88 h 109"/>
              <a:gd name="T12" fmla="*/ 125 w 175"/>
              <a:gd name="T13" fmla="*/ 91 h 109"/>
              <a:gd name="T14" fmla="*/ 147 w 175"/>
              <a:gd name="T15" fmla="*/ 72 h 109"/>
              <a:gd name="T16" fmla="*/ 159 w 175"/>
              <a:gd name="T17" fmla="*/ 72 h 109"/>
              <a:gd name="T18" fmla="*/ 159 w 175"/>
              <a:gd name="T19" fmla="*/ 59 h 109"/>
              <a:gd name="T20" fmla="*/ 169 w 175"/>
              <a:gd name="T21" fmla="*/ 59 h 109"/>
              <a:gd name="T22" fmla="*/ 166 w 175"/>
              <a:gd name="T23" fmla="*/ 41 h 109"/>
              <a:gd name="T24" fmla="*/ 163 w 175"/>
              <a:gd name="T25" fmla="*/ 34 h 109"/>
              <a:gd name="T26" fmla="*/ 156 w 175"/>
              <a:gd name="T27" fmla="*/ 28 h 109"/>
              <a:gd name="T28" fmla="*/ 159 w 175"/>
              <a:gd name="T29" fmla="*/ 16 h 109"/>
              <a:gd name="T30" fmla="*/ 156 w 175"/>
              <a:gd name="T31" fmla="*/ 9 h 109"/>
              <a:gd name="T32" fmla="*/ 147 w 175"/>
              <a:gd name="T33" fmla="*/ 9 h 109"/>
              <a:gd name="T34" fmla="*/ 141 w 175"/>
              <a:gd name="T35" fmla="*/ 6 h 109"/>
              <a:gd name="T36" fmla="*/ 131 w 175"/>
              <a:gd name="T37" fmla="*/ 6 h 109"/>
              <a:gd name="T38" fmla="*/ 122 w 175"/>
              <a:gd name="T39" fmla="*/ 12 h 109"/>
              <a:gd name="T40" fmla="*/ 109 w 175"/>
              <a:gd name="T41" fmla="*/ 12 h 109"/>
              <a:gd name="T42" fmla="*/ 103 w 175"/>
              <a:gd name="T43" fmla="*/ 25 h 109"/>
              <a:gd name="T44" fmla="*/ 97 w 175"/>
              <a:gd name="T45" fmla="*/ 16 h 109"/>
              <a:gd name="T46" fmla="*/ 84 w 175"/>
              <a:gd name="T47" fmla="*/ 22 h 109"/>
              <a:gd name="T48" fmla="*/ 75 w 175"/>
              <a:gd name="T49" fmla="*/ 12 h 109"/>
              <a:gd name="T50" fmla="*/ 69 w 175"/>
              <a:gd name="T51" fmla="*/ 31 h 109"/>
              <a:gd name="T52" fmla="*/ 59 w 175"/>
              <a:gd name="T53" fmla="*/ 37 h 109"/>
              <a:gd name="T54" fmla="*/ 50 w 175"/>
              <a:gd name="T55" fmla="*/ 34 h 109"/>
              <a:gd name="T56" fmla="*/ 50 w 175"/>
              <a:gd name="T57" fmla="*/ 22 h 109"/>
              <a:gd name="T58" fmla="*/ 53 w 175"/>
              <a:gd name="T59" fmla="*/ 12 h 109"/>
              <a:gd name="T60" fmla="*/ 41 w 175"/>
              <a:gd name="T61" fmla="*/ 3 h 109"/>
              <a:gd name="T62" fmla="*/ 25 w 175"/>
              <a:gd name="T63" fmla="*/ 0 h 109"/>
              <a:gd name="T64" fmla="*/ 34 w 175"/>
              <a:gd name="T65" fmla="*/ 3 h 109"/>
              <a:gd name="T66" fmla="*/ 31 w 175"/>
              <a:gd name="T67" fmla="*/ 6 h 109"/>
              <a:gd name="T68" fmla="*/ 38 w 175"/>
              <a:gd name="T69" fmla="*/ 16 h 109"/>
              <a:gd name="T70" fmla="*/ 25 w 175"/>
              <a:gd name="T71" fmla="*/ 9 h 109"/>
              <a:gd name="T72" fmla="*/ 19 w 175"/>
              <a:gd name="T73" fmla="*/ 9 h 109"/>
              <a:gd name="T74" fmla="*/ 19 w 175"/>
              <a:gd name="T75" fmla="*/ 19 h 109"/>
              <a:gd name="T76" fmla="*/ 19 w 175"/>
              <a:gd name="T77" fmla="*/ 22 h 109"/>
              <a:gd name="T78" fmla="*/ 9 w 175"/>
              <a:gd name="T79" fmla="*/ 22 h 109"/>
              <a:gd name="T80" fmla="*/ 6 w 175"/>
              <a:gd name="T81" fmla="*/ 25 h 109"/>
              <a:gd name="T82" fmla="*/ 13 w 175"/>
              <a:gd name="T83" fmla="*/ 34 h 109"/>
              <a:gd name="T84" fmla="*/ 22 w 175"/>
              <a:gd name="T85" fmla="*/ 31 h 109"/>
              <a:gd name="T86" fmla="*/ 34 w 175"/>
              <a:gd name="T87" fmla="*/ 31 h 109"/>
              <a:gd name="T88" fmla="*/ 41 w 175"/>
              <a:gd name="T89" fmla="*/ 31 h 109"/>
              <a:gd name="T90" fmla="*/ 44 w 175"/>
              <a:gd name="T91" fmla="*/ 37 h 109"/>
              <a:gd name="T92" fmla="*/ 31 w 175"/>
              <a:gd name="T93" fmla="*/ 44 h 109"/>
              <a:gd name="T94" fmla="*/ 44 w 175"/>
              <a:gd name="T95" fmla="*/ 44 h 109"/>
              <a:gd name="T96" fmla="*/ 28 w 175"/>
              <a:gd name="T97" fmla="*/ 47 h 109"/>
              <a:gd name="T98" fmla="*/ 25 w 175"/>
              <a:gd name="T99" fmla="*/ 47 h 109"/>
              <a:gd name="T100" fmla="*/ 9 w 175"/>
              <a:gd name="T101" fmla="*/ 47 h 109"/>
              <a:gd name="T102" fmla="*/ 13 w 175"/>
              <a:gd name="T103" fmla="*/ 56 h 109"/>
              <a:gd name="T104" fmla="*/ 31 w 175"/>
              <a:gd name="T105" fmla="*/ 59 h 109"/>
              <a:gd name="T106" fmla="*/ 34 w 175"/>
              <a:gd name="T107" fmla="*/ 69 h 109"/>
              <a:gd name="T108" fmla="*/ 38 w 175"/>
              <a:gd name="T109" fmla="*/ 75 h 109"/>
              <a:gd name="T110" fmla="*/ 41 w 175"/>
              <a:gd name="T111" fmla="*/ 72 h 109"/>
              <a:gd name="T112" fmla="*/ 31 w 175"/>
              <a:gd name="T113" fmla="*/ 81 h 109"/>
              <a:gd name="T114" fmla="*/ 22 w 175"/>
              <a:gd name="T115" fmla="*/ 78 h 109"/>
              <a:gd name="T116" fmla="*/ 28 w 175"/>
              <a:gd name="T117" fmla="*/ 91 h 109"/>
              <a:gd name="T118" fmla="*/ 47 w 175"/>
              <a:gd name="T119" fmla="*/ 9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5" h="109">
                <a:moveTo>
                  <a:pt x="63" y="109"/>
                </a:moveTo>
                <a:lnTo>
                  <a:pt x="59" y="106"/>
                </a:lnTo>
                <a:lnTo>
                  <a:pt x="63" y="103"/>
                </a:lnTo>
                <a:lnTo>
                  <a:pt x="63" y="103"/>
                </a:lnTo>
                <a:lnTo>
                  <a:pt x="66" y="106"/>
                </a:lnTo>
                <a:lnTo>
                  <a:pt x="63" y="109"/>
                </a:lnTo>
                <a:lnTo>
                  <a:pt x="63" y="109"/>
                </a:lnTo>
                <a:close/>
                <a:moveTo>
                  <a:pt x="53" y="91"/>
                </a:moveTo>
                <a:lnTo>
                  <a:pt x="56" y="91"/>
                </a:lnTo>
                <a:lnTo>
                  <a:pt x="56" y="94"/>
                </a:lnTo>
                <a:lnTo>
                  <a:pt x="63" y="100"/>
                </a:lnTo>
                <a:lnTo>
                  <a:pt x="66" y="100"/>
                </a:lnTo>
                <a:lnTo>
                  <a:pt x="69" y="97"/>
                </a:lnTo>
                <a:lnTo>
                  <a:pt x="72" y="97"/>
                </a:lnTo>
                <a:lnTo>
                  <a:pt x="78" y="103"/>
                </a:lnTo>
                <a:lnTo>
                  <a:pt x="84" y="103"/>
                </a:lnTo>
                <a:lnTo>
                  <a:pt x="88" y="106"/>
                </a:lnTo>
                <a:lnTo>
                  <a:pt x="94" y="103"/>
                </a:lnTo>
                <a:lnTo>
                  <a:pt x="94" y="100"/>
                </a:lnTo>
                <a:lnTo>
                  <a:pt x="94" y="97"/>
                </a:lnTo>
                <a:lnTo>
                  <a:pt x="97" y="100"/>
                </a:lnTo>
                <a:lnTo>
                  <a:pt x="100" y="100"/>
                </a:lnTo>
                <a:lnTo>
                  <a:pt x="103" y="97"/>
                </a:lnTo>
                <a:lnTo>
                  <a:pt x="103" y="94"/>
                </a:lnTo>
                <a:lnTo>
                  <a:pt x="109" y="91"/>
                </a:lnTo>
                <a:lnTo>
                  <a:pt x="106" y="94"/>
                </a:lnTo>
                <a:lnTo>
                  <a:pt x="109" y="97"/>
                </a:lnTo>
                <a:lnTo>
                  <a:pt x="109" y="94"/>
                </a:lnTo>
                <a:lnTo>
                  <a:pt x="113" y="94"/>
                </a:lnTo>
                <a:lnTo>
                  <a:pt x="116" y="88"/>
                </a:lnTo>
                <a:lnTo>
                  <a:pt x="119" y="91"/>
                </a:lnTo>
                <a:lnTo>
                  <a:pt x="119" y="91"/>
                </a:lnTo>
                <a:lnTo>
                  <a:pt x="125" y="91"/>
                </a:lnTo>
                <a:lnTo>
                  <a:pt x="125" y="91"/>
                </a:lnTo>
                <a:lnTo>
                  <a:pt x="125" y="91"/>
                </a:lnTo>
                <a:lnTo>
                  <a:pt x="134" y="81"/>
                </a:lnTo>
                <a:lnTo>
                  <a:pt x="138" y="78"/>
                </a:lnTo>
                <a:lnTo>
                  <a:pt x="147" y="75"/>
                </a:lnTo>
                <a:lnTo>
                  <a:pt x="147" y="75"/>
                </a:lnTo>
                <a:lnTo>
                  <a:pt x="147" y="72"/>
                </a:lnTo>
                <a:lnTo>
                  <a:pt x="147" y="69"/>
                </a:lnTo>
                <a:lnTo>
                  <a:pt x="150" y="69"/>
                </a:lnTo>
                <a:lnTo>
                  <a:pt x="150" y="72"/>
                </a:lnTo>
                <a:lnTo>
                  <a:pt x="156" y="75"/>
                </a:lnTo>
                <a:lnTo>
                  <a:pt x="159" y="72"/>
                </a:lnTo>
                <a:lnTo>
                  <a:pt x="159" y="69"/>
                </a:lnTo>
                <a:lnTo>
                  <a:pt x="156" y="69"/>
                </a:lnTo>
                <a:lnTo>
                  <a:pt x="159" y="66"/>
                </a:lnTo>
                <a:lnTo>
                  <a:pt x="159" y="66"/>
                </a:lnTo>
                <a:lnTo>
                  <a:pt x="159" y="59"/>
                </a:lnTo>
                <a:lnTo>
                  <a:pt x="159" y="56"/>
                </a:lnTo>
                <a:lnTo>
                  <a:pt x="163" y="59"/>
                </a:lnTo>
                <a:lnTo>
                  <a:pt x="163" y="62"/>
                </a:lnTo>
                <a:lnTo>
                  <a:pt x="166" y="62"/>
                </a:lnTo>
                <a:lnTo>
                  <a:pt x="169" y="59"/>
                </a:lnTo>
                <a:lnTo>
                  <a:pt x="169" y="56"/>
                </a:lnTo>
                <a:lnTo>
                  <a:pt x="166" y="50"/>
                </a:lnTo>
                <a:lnTo>
                  <a:pt x="166" y="47"/>
                </a:lnTo>
                <a:lnTo>
                  <a:pt x="166" y="47"/>
                </a:lnTo>
                <a:lnTo>
                  <a:pt x="166" y="41"/>
                </a:lnTo>
                <a:lnTo>
                  <a:pt x="169" y="41"/>
                </a:lnTo>
                <a:lnTo>
                  <a:pt x="172" y="41"/>
                </a:lnTo>
                <a:lnTo>
                  <a:pt x="175" y="37"/>
                </a:lnTo>
                <a:lnTo>
                  <a:pt x="172" y="34"/>
                </a:lnTo>
                <a:lnTo>
                  <a:pt x="163" y="34"/>
                </a:lnTo>
                <a:lnTo>
                  <a:pt x="163" y="34"/>
                </a:lnTo>
                <a:lnTo>
                  <a:pt x="163" y="31"/>
                </a:lnTo>
                <a:lnTo>
                  <a:pt x="163" y="28"/>
                </a:lnTo>
                <a:lnTo>
                  <a:pt x="159" y="28"/>
                </a:lnTo>
                <a:lnTo>
                  <a:pt x="156" y="28"/>
                </a:lnTo>
                <a:lnTo>
                  <a:pt x="156" y="25"/>
                </a:lnTo>
                <a:lnTo>
                  <a:pt x="159" y="22"/>
                </a:lnTo>
                <a:lnTo>
                  <a:pt x="163" y="22"/>
                </a:lnTo>
                <a:lnTo>
                  <a:pt x="159" y="16"/>
                </a:lnTo>
                <a:lnTo>
                  <a:pt x="159" y="16"/>
                </a:lnTo>
                <a:lnTo>
                  <a:pt x="156" y="19"/>
                </a:lnTo>
                <a:lnTo>
                  <a:pt x="153" y="16"/>
                </a:lnTo>
                <a:lnTo>
                  <a:pt x="150" y="12"/>
                </a:lnTo>
                <a:lnTo>
                  <a:pt x="156" y="12"/>
                </a:lnTo>
                <a:lnTo>
                  <a:pt x="156" y="9"/>
                </a:lnTo>
                <a:lnTo>
                  <a:pt x="156" y="6"/>
                </a:lnTo>
                <a:lnTo>
                  <a:pt x="159" y="6"/>
                </a:lnTo>
                <a:lnTo>
                  <a:pt x="156" y="3"/>
                </a:lnTo>
                <a:lnTo>
                  <a:pt x="153" y="3"/>
                </a:lnTo>
                <a:lnTo>
                  <a:pt x="147" y="9"/>
                </a:lnTo>
                <a:lnTo>
                  <a:pt x="147" y="12"/>
                </a:lnTo>
                <a:lnTo>
                  <a:pt x="144" y="16"/>
                </a:lnTo>
                <a:lnTo>
                  <a:pt x="141" y="9"/>
                </a:lnTo>
                <a:lnTo>
                  <a:pt x="144" y="9"/>
                </a:lnTo>
                <a:lnTo>
                  <a:pt x="141" y="6"/>
                </a:lnTo>
                <a:lnTo>
                  <a:pt x="141" y="3"/>
                </a:lnTo>
                <a:lnTo>
                  <a:pt x="138" y="0"/>
                </a:lnTo>
                <a:lnTo>
                  <a:pt x="134" y="3"/>
                </a:lnTo>
                <a:lnTo>
                  <a:pt x="131" y="3"/>
                </a:lnTo>
                <a:lnTo>
                  <a:pt x="131" y="6"/>
                </a:lnTo>
                <a:lnTo>
                  <a:pt x="131" y="9"/>
                </a:lnTo>
                <a:lnTo>
                  <a:pt x="131" y="12"/>
                </a:lnTo>
                <a:lnTo>
                  <a:pt x="125" y="12"/>
                </a:lnTo>
                <a:lnTo>
                  <a:pt x="122" y="16"/>
                </a:lnTo>
                <a:lnTo>
                  <a:pt x="122" y="12"/>
                </a:lnTo>
                <a:lnTo>
                  <a:pt x="119" y="9"/>
                </a:lnTo>
                <a:lnTo>
                  <a:pt x="119" y="12"/>
                </a:lnTo>
                <a:lnTo>
                  <a:pt x="116" y="19"/>
                </a:lnTo>
                <a:lnTo>
                  <a:pt x="113" y="19"/>
                </a:lnTo>
                <a:lnTo>
                  <a:pt x="109" y="12"/>
                </a:lnTo>
                <a:lnTo>
                  <a:pt x="106" y="12"/>
                </a:lnTo>
                <a:lnTo>
                  <a:pt x="103" y="12"/>
                </a:lnTo>
                <a:lnTo>
                  <a:pt x="100" y="12"/>
                </a:lnTo>
                <a:lnTo>
                  <a:pt x="100" y="19"/>
                </a:lnTo>
                <a:lnTo>
                  <a:pt x="103" y="25"/>
                </a:lnTo>
                <a:lnTo>
                  <a:pt x="100" y="34"/>
                </a:lnTo>
                <a:lnTo>
                  <a:pt x="100" y="25"/>
                </a:lnTo>
                <a:lnTo>
                  <a:pt x="97" y="22"/>
                </a:lnTo>
                <a:lnTo>
                  <a:pt x="97" y="19"/>
                </a:lnTo>
                <a:lnTo>
                  <a:pt x="97" y="16"/>
                </a:lnTo>
                <a:lnTo>
                  <a:pt x="97" y="12"/>
                </a:lnTo>
                <a:lnTo>
                  <a:pt x="91" y="9"/>
                </a:lnTo>
                <a:lnTo>
                  <a:pt x="84" y="16"/>
                </a:lnTo>
                <a:lnTo>
                  <a:pt x="84" y="19"/>
                </a:lnTo>
                <a:lnTo>
                  <a:pt x="84" y="22"/>
                </a:lnTo>
                <a:lnTo>
                  <a:pt x="81" y="28"/>
                </a:lnTo>
                <a:lnTo>
                  <a:pt x="78" y="28"/>
                </a:lnTo>
                <a:lnTo>
                  <a:pt x="78" y="22"/>
                </a:lnTo>
                <a:lnTo>
                  <a:pt x="75" y="19"/>
                </a:lnTo>
                <a:lnTo>
                  <a:pt x="75" y="12"/>
                </a:lnTo>
                <a:lnTo>
                  <a:pt x="72" y="9"/>
                </a:lnTo>
                <a:lnTo>
                  <a:pt x="66" y="12"/>
                </a:lnTo>
                <a:lnTo>
                  <a:pt x="69" y="22"/>
                </a:lnTo>
                <a:lnTo>
                  <a:pt x="69" y="25"/>
                </a:lnTo>
                <a:lnTo>
                  <a:pt x="69" y="31"/>
                </a:lnTo>
                <a:lnTo>
                  <a:pt x="66" y="34"/>
                </a:lnTo>
                <a:lnTo>
                  <a:pt x="63" y="34"/>
                </a:lnTo>
                <a:lnTo>
                  <a:pt x="63" y="31"/>
                </a:lnTo>
                <a:lnTo>
                  <a:pt x="59" y="31"/>
                </a:lnTo>
                <a:lnTo>
                  <a:pt x="59" y="37"/>
                </a:lnTo>
                <a:lnTo>
                  <a:pt x="56" y="37"/>
                </a:lnTo>
                <a:lnTo>
                  <a:pt x="56" y="44"/>
                </a:lnTo>
                <a:lnTo>
                  <a:pt x="53" y="37"/>
                </a:lnTo>
                <a:lnTo>
                  <a:pt x="50" y="37"/>
                </a:lnTo>
                <a:lnTo>
                  <a:pt x="50" y="34"/>
                </a:lnTo>
                <a:lnTo>
                  <a:pt x="53" y="31"/>
                </a:lnTo>
                <a:lnTo>
                  <a:pt x="53" y="28"/>
                </a:lnTo>
                <a:lnTo>
                  <a:pt x="50" y="28"/>
                </a:lnTo>
                <a:lnTo>
                  <a:pt x="50" y="25"/>
                </a:lnTo>
                <a:lnTo>
                  <a:pt x="50" y="22"/>
                </a:lnTo>
                <a:lnTo>
                  <a:pt x="50" y="25"/>
                </a:lnTo>
                <a:lnTo>
                  <a:pt x="53" y="22"/>
                </a:lnTo>
                <a:lnTo>
                  <a:pt x="53" y="19"/>
                </a:lnTo>
                <a:lnTo>
                  <a:pt x="50" y="16"/>
                </a:lnTo>
                <a:lnTo>
                  <a:pt x="53" y="12"/>
                </a:lnTo>
                <a:lnTo>
                  <a:pt x="50" y="9"/>
                </a:lnTo>
                <a:lnTo>
                  <a:pt x="47" y="12"/>
                </a:lnTo>
                <a:lnTo>
                  <a:pt x="47" y="9"/>
                </a:lnTo>
                <a:lnTo>
                  <a:pt x="41" y="6"/>
                </a:lnTo>
                <a:lnTo>
                  <a:pt x="41" y="3"/>
                </a:lnTo>
                <a:lnTo>
                  <a:pt x="41" y="0"/>
                </a:lnTo>
                <a:lnTo>
                  <a:pt x="34" y="0"/>
                </a:lnTo>
                <a:lnTo>
                  <a:pt x="31" y="0"/>
                </a:lnTo>
                <a:lnTo>
                  <a:pt x="25" y="0"/>
                </a:lnTo>
                <a:lnTo>
                  <a:pt x="25" y="0"/>
                </a:lnTo>
                <a:lnTo>
                  <a:pt x="28" y="3"/>
                </a:lnTo>
                <a:lnTo>
                  <a:pt x="28" y="3"/>
                </a:lnTo>
                <a:lnTo>
                  <a:pt x="31" y="3"/>
                </a:lnTo>
                <a:lnTo>
                  <a:pt x="31" y="3"/>
                </a:lnTo>
                <a:lnTo>
                  <a:pt x="34" y="3"/>
                </a:lnTo>
                <a:lnTo>
                  <a:pt x="38" y="3"/>
                </a:lnTo>
                <a:lnTo>
                  <a:pt x="38" y="6"/>
                </a:lnTo>
                <a:lnTo>
                  <a:pt x="34" y="6"/>
                </a:lnTo>
                <a:lnTo>
                  <a:pt x="28" y="6"/>
                </a:lnTo>
                <a:lnTo>
                  <a:pt x="31" y="6"/>
                </a:lnTo>
                <a:lnTo>
                  <a:pt x="34" y="9"/>
                </a:lnTo>
                <a:lnTo>
                  <a:pt x="38" y="16"/>
                </a:lnTo>
                <a:lnTo>
                  <a:pt x="38" y="19"/>
                </a:lnTo>
                <a:lnTo>
                  <a:pt x="38" y="19"/>
                </a:lnTo>
                <a:lnTo>
                  <a:pt x="38" y="16"/>
                </a:lnTo>
                <a:lnTo>
                  <a:pt x="31" y="12"/>
                </a:lnTo>
                <a:lnTo>
                  <a:pt x="28" y="16"/>
                </a:lnTo>
                <a:lnTo>
                  <a:pt x="28" y="16"/>
                </a:lnTo>
                <a:lnTo>
                  <a:pt x="28" y="12"/>
                </a:lnTo>
                <a:lnTo>
                  <a:pt x="25" y="9"/>
                </a:lnTo>
                <a:lnTo>
                  <a:pt x="22" y="6"/>
                </a:lnTo>
                <a:lnTo>
                  <a:pt x="19" y="9"/>
                </a:lnTo>
                <a:lnTo>
                  <a:pt x="22" y="12"/>
                </a:lnTo>
                <a:lnTo>
                  <a:pt x="22" y="12"/>
                </a:lnTo>
                <a:lnTo>
                  <a:pt x="19" y="9"/>
                </a:lnTo>
                <a:lnTo>
                  <a:pt x="16" y="9"/>
                </a:lnTo>
                <a:lnTo>
                  <a:pt x="16" y="12"/>
                </a:lnTo>
                <a:lnTo>
                  <a:pt x="16" y="16"/>
                </a:lnTo>
                <a:lnTo>
                  <a:pt x="19" y="16"/>
                </a:lnTo>
                <a:lnTo>
                  <a:pt x="19" y="19"/>
                </a:lnTo>
                <a:lnTo>
                  <a:pt x="16" y="16"/>
                </a:lnTo>
                <a:lnTo>
                  <a:pt x="13" y="19"/>
                </a:lnTo>
                <a:lnTo>
                  <a:pt x="16" y="22"/>
                </a:lnTo>
                <a:lnTo>
                  <a:pt x="19" y="22"/>
                </a:lnTo>
                <a:lnTo>
                  <a:pt x="19" y="22"/>
                </a:lnTo>
                <a:lnTo>
                  <a:pt x="16" y="25"/>
                </a:lnTo>
                <a:lnTo>
                  <a:pt x="19" y="25"/>
                </a:lnTo>
                <a:lnTo>
                  <a:pt x="16" y="25"/>
                </a:lnTo>
                <a:lnTo>
                  <a:pt x="9" y="22"/>
                </a:lnTo>
                <a:lnTo>
                  <a:pt x="9" y="22"/>
                </a:lnTo>
                <a:lnTo>
                  <a:pt x="6" y="22"/>
                </a:lnTo>
                <a:lnTo>
                  <a:pt x="9" y="28"/>
                </a:lnTo>
                <a:lnTo>
                  <a:pt x="13" y="31"/>
                </a:lnTo>
                <a:lnTo>
                  <a:pt x="9" y="31"/>
                </a:lnTo>
                <a:lnTo>
                  <a:pt x="6" y="25"/>
                </a:lnTo>
                <a:lnTo>
                  <a:pt x="3" y="25"/>
                </a:lnTo>
                <a:lnTo>
                  <a:pt x="0" y="28"/>
                </a:lnTo>
                <a:lnTo>
                  <a:pt x="6" y="31"/>
                </a:lnTo>
                <a:lnTo>
                  <a:pt x="9" y="34"/>
                </a:lnTo>
                <a:lnTo>
                  <a:pt x="13" y="34"/>
                </a:lnTo>
                <a:lnTo>
                  <a:pt x="16" y="31"/>
                </a:lnTo>
                <a:lnTo>
                  <a:pt x="19" y="31"/>
                </a:lnTo>
                <a:lnTo>
                  <a:pt x="22" y="28"/>
                </a:lnTo>
                <a:lnTo>
                  <a:pt x="22" y="28"/>
                </a:lnTo>
                <a:lnTo>
                  <a:pt x="22" y="31"/>
                </a:lnTo>
                <a:lnTo>
                  <a:pt x="25" y="31"/>
                </a:lnTo>
                <a:lnTo>
                  <a:pt x="28" y="28"/>
                </a:lnTo>
                <a:lnTo>
                  <a:pt x="28" y="31"/>
                </a:lnTo>
                <a:lnTo>
                  <a:pt x="31" y="31"/>
                </a:lnTo>
                <a:lnTo>
                  <a:pt x="34" y="31"/>
                </a:lnTo>
                <a:lnTo>
                  <a:pt x="34" y="28"/>
                </a:lnTo>
                <a:lnTo>
                  <a:pt x="34" y="31"/>
                </a:lnTo>
                <a:lnTo>
                  <a:pt x="34" y="31"/>
                </a:lnTo>
                <a:lnTo>
                  <a:pt x="41" y="28"/>
                </a:lnTo>
                <a:lnTo>
                  <a:pt x="41" y="31"/>
                </a:lnTo>
                <a:lnTo>
                  <a:pt x="38" y="34"/>
                </a:lnTo>
                <a:lnTo>
                  <a:pt x="41" y="34"/>
                </a:lnTo>
                <a:lnTo>
                  <a:pt x="44" y="34"/>
                </a:lnTo>
                <a:lnTo>
                  <a:pt x="47" y="34"/>
                </a:lnTo>
                <a:lnTo>
                  <a:pt x="44" y="37"/>
                </a:lnTo>
                <a:lnTo>
                  <a:pt x="41" y="37"/>
                </a:lnTo>
                <a:lnTo>
                  <a:pt x="41" y="37"/>
                </a:lnTo>
                <a:lnTo>
                  <a:pt x="38" y="37"/>
                </a:lnTo>
                <a:lnTo>
                  <a:pt x="31" y="41"/>
                </a:lnTo>
                <a:lnTo>
                  <a:pt x="31" y="44"/>
                </a:lnTo>
                <a:lnTo>
                  <a:pt x="38" y="44"/>
                </a:lnTo>
                <a:lnTo>
                  <a:pt x="41" y="44"/>
                </a:lnTo>
                <a:lnTo>
                  <a:pt x="44" y="41"/>
                </a:lnTo>
                <a:lnTo>
                  <a:pt x="44" y="41"/>
                </a:lnTo>
                <a:lnTo>
                  <a:pt x="44" y="44"/>
                </a:lnTo>
                <a:lnTo>
                  <a:pt x="41" y="47"/>
                </a:lnTo>
                <a:lnTo>
                  <a:pt x="34" y="47"/>
                </a:lnTo>
                <a:lnTo>
                  <a:pt x="34" y="47"/>
                </a:lnTo>
                <a:lnTo>
                  <a:pt x="31" y="50"/>
                </a:lnTo>
                <a:lnTo>
                  <a:pt x="28" y="47"/>
                </a:lnTo>
                <a:lnTo>
                  <a:pt x="28" y="47"/>
                </a:lnTo>
                <a:lnTo>
                  <a:pt x="28" y="44"/>
                </a:lnTo>
                <a:lnTo>
                  <a:pt x="25" y="44"/>
                </a:lnTo>
                <a:lnTo>
                  <a:pt x="25" y="44"/>
                </a:lnTo>
                <a:lnTo>
                  <a:pt x="25" y="47"/>
                </a:lnTo>
                <a:lnTo>
                  <a:pt x="22" y="50"/>
                </a:lnTo>
                <a:lnTo>
                  <a:pt x="19" y="47"/>
                </a:lnTo>
                <a:lnTo>
                  <a:pt x="16" y="47"/>
                </a:lnTo>
                <a:lnTo>
                  <a:pt x="13" y="50"/>
                </a:lnTo>
                <a:lnTo>
                  <a:pt x="9" y="47"/>
                </a:lnTo>
                <a:lnTo>
                  <a:pt x="6" y="50"/>
                </a:lnTo>
                <a:lnTo>
                  <a:pt x="6" y="50"/>
                </a:lnTo>
                <a:lnTo>
                  <a:pt x="6" y="53"/>
                </a:lnTo>
                <a:lnTo>
                  <a:pt x="9" y="56"/>
                </a:lnTo>
                <a:lnTo>
                  <a:pt x="13" y="56"/>
                </a:lnTo>
                <a:lnTo>
                  <a:pt x="13" y="56"/>
                </a:lnTo>
                <a:lnTo>
                  <a:pt x="19" y="56"/>
                </a:lnTo>
                <a:lnTo>
                  <a:pt x="28" y="56"/>
                </a:lnTo>
                <a:lnTo>
                  <a:pt x="31" y="56"/>
                </a:lnTo>
                <a:lnTo>
                  <a:pt x="31" y="59"/>
                </a:lnTo>
                <a:lnTo>
                  <a:pt x="28" y="59"/>
                </a:lnTo>
                <a:lnTo>
                  <a:pt x="28" y="62"/>
                </a:lnTo>
                <a:lnTo>
                  <a:pt x="31" y="66"/>
                </a:lnTo>
                <a:lnTo>
                  <a:pt x="34" y="69"/>
                </a:lnTo>
                <a:lnTo>
                  <a:pt x="34" y="69"/>
                </a:lnTo>
                <a:lnTo>
                  <a:pt x="41" y="62"/>
                </a:lnTo>
                <a:lnTo>
                  <a:pt x="41" y="66"/>
                </a:lnTo>
                <a:lnTo>
                  <a:pt x="38" y="69"/>
                </a:lnTo>
                <a:lnTo>
                  <a:pt x="34" y="72"/>
                </a:lnTo>
                <a:lnTo>
                  <a:pt x="38" y="75"/>
                </a:lnTo>
                <a:lnTo>
                  <a:pt x="44" y="69"/>
                </a:lnTo>
                <a:lnTo>
                  <a:pt x="47" y="72"/>
                </a:lnTo>
                <a:lnTo>
                  <a:pt x="47" y="72"/>
                </a:lnTo>
                <a:lnTo>
                  <a:pt x="44" y="72"/>
                </a:lnTo>
                <a:lnTo>
                  <a:pt x="41" y="72"/>
                </a:lnTo>
                <a:lnTo>
                  <a:pt x="38" y="75"/>
                </a:lnTo>
                <a:lnTo>
                  <a:pt x="34" y="75"/>
                </a:lnTo>
                <a:lnTo>
                  <a:pt x="34" y="78"/>
                </a:lnTo>
                <a:lnTo>
                  <a:pt x="34" y="81"/>
                </a:lnTo>
                <a:lnTo>
                  <a:pt x="31" y="81"/>
                </a:lnTo>
                <a:lnTo>
                  <a:pt x="28" y="81"/>
                </a:lnTo>
                <a:lnTo>
                  <a:pt x="28" y="78"/>
                </a:lnTo>
                <a:lnTo>
                  <a:pt x="25" y="78"/>
                </a:lnTo>
                <a:lnTo>
                  <a:pt x="25" y="78"/>
                </a:lnTo>
                <a:lnTo>
                  <a:pt x="22" y="78"/>
                </a:lnTo>
                <a:lnTo>
                  <a:pt x="22" y="84"/>
                </a:lnTo>
                <a:lnTo>
                  <a:pt x="25" y="84"/>
                </a:lnTo>
                <a:lnTo>
                  <a:pt x="25" y="84"/>
                </a:lnTo>
                <a:lnTo>
                  <a:pt x="22" y="91"/>
                </a:lnTo>
                <a:lnTo>
                  <a:pt x="28" y="91"/>
                </a:lnTo>
                <a:lnTo>
                  <a:pt x="28" y="91"/>
                </a:lnTo>
                <a:lnTo>
                  <a:pt x="31" y="91"/>
                </a:lnTo>
                <a:lnTo>
                  <a:pt x="38" y="94"/>
                </a:lnTo>
                <a:lnTo>
                  <a:pt x="44" y="88"/>
                </a:lnTo>
                <a:lnTo>
                  <a:pt x="47" y="91"/>
                </a:lnTo>
                <a:lnTo>
                  <a:pt x="50" y="91"/>
                </a:lnTo>
                <a:lnTo>
                  <a:pt x="50" y="91"/>
                </a:lnTo>
                <a:lnTo>
                  <a:pt x="53" y="91"/>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5" name="Freeform 163">
            <a:extLst>
              <a:ext uri="{FF2B5EF4-FFF2-40B4-BE49-F238E27FC236}">
                <a16:creationId xmlns:a16="http://schemas.microsoft.com/office/drawing/2014/main" id="{F4961D79-4079-AD47-C138-3217006E9615}"/>
              </a:ext>
            </a:extLst>
          </p:cNvPr>
          <p:cNvSpPr>
            <a:spLocks noEditPoints="1"/>
          </p:cNvSpPr>
          <p:nvPr userDrawn="1"/>
        </p:nvSpPr>
        <p:spPr bwMode="auto">
          <a:xfrm>
            <a:off x="3295437" y="7885985"/>
            <a:ext cx="336528" cy="247650"/>
          </a:xfrm>
          <a:custGeom>
            <a:avLst/>
            <a:gdLst>
              <a:gd name="T0" fmla="*/ 3 w 106"/>
              <a:gd name="T1" fmla="*/ 10 h 78"/>
              <a:gd name="T2" fmla="*/ 6 w 106"/>
              <a:gd name="T3" fmla="*/ 6 h 78"/>
              <a:gd name="T4" fmla="*/ 3 w 106"/>
              <a:gd name="T5" fmla="*/ 3 h 78"/>
              <a:gd name="T6" fmla="*/ 0 w 106"/>
              <a:gd name="T7" fmla="*/ 6 h 78"/>
              <a:gd name="T8" fmla="*/ 3 w 106"/>
              <a:gd name="T9" fmla="*/ 10 h 78"/>
              <a:gd name="T10" fmla="*/ 3 w 106"/>
              <a:gd name="T11" fmla="*/ 10 h 78"/>
              <a:gd name="T12" fmla="*/ 22 w 106"/>
              <a:gd name="T13" fmla="*/ 6 h 78"/>
              <a:gd name="T14" fmla="*/ 22 w 106"/>
              <a:gd name="T15" fmla="*/ 0 h 78"/>
              <a:gd name="T16" fmla="*/ 22 w 106"/>
              <a:gd name="T17" fmla="*/ 0 h 78"/>
              <a:gd name="T18" fmla="*/ 19 w 106"/>
              <a:gd name="T19" fmla="*/ 0 h 78"/>
              <a:gd name="T20" fmla="*/ 16 w 106"/>
              <a:gd name="T21" fmla="*/ 3 h 78"/>
              <a:gd name="T22" fmla="*/ 19 w 106"/>
              <a:gd name="T23" fmla="*/ 6 h 78"/>
              <a:gd name="T24" fmla="*/ 22 w 106"/>
              <a:gd name="T25" fmla="*/ 6 h 78"/>
              <a:gd name="T26" fmla="*/ 22 w 106"/>
              <a:gd name="T27" fmla="*/ 6 h 78"/>
              <a:gd name="T28" fmla="*/ 53 w 106"/>
              <a:gd name="T29" fmla="*/ 19 h 78"/>
              <a:gd name="T30" fmla="*/ 50 w 106"/>
              <a:gd name="T31" fmla="*/ 16 h 78"/>
              <a:gd name="T32" fmla="*/ 47 w 106"/>
              <a:gd name="T33" fmla="*/ 13 h 78"/>
              <a:gd name="T34" fmla="*/ 44 w 106"/>
              <a:gd name="T35" fmla="*/ 13 h 78"/>
              <a:gd name="T36" fmla="*/ 44 w 106"/>
              <a:gd name="T37" fmla="*/ 16 h 78"/>
              <a:gd name="T38" fmla="*/ 47 w 106"/>
              <a:gd name="T39" fmla="*/ 22 h 78"/>
              <a:gd name="T40" fmla="*/ 53 w 106"/>
              <a:gd name="T41" fmla="*/ 22 h 78"/>
              <a:gd name="T42" fmla="*/ 53 w 106"/>
              <a:gd name="T43" fmla="*/ 19 h 78"/>
              <a:gd name="T44" fmla="*/ 53 w 106"/>
              <a:gd name="T45" fmla="*/ 19 h 78"/>
              <a:gd name="T46" fmla="*/ 69 w 106"/>
              <a:gd name="T47" fmla="*/ 25 h 78"/>
              <a:gd name="T48" fmla="*/ 66 w 106"/>
              <a:gd name="T49" fmla="*/ 25 h 78"/>
              <a:gd name="T50" fmla="*/ 66 w 106"/>
              <a:gd name="T51" fmla="*/ 25 h 78"/>
              <a:gd name="T52" fmla="*/ 62 w 106"/>
              <a:gd name="T53" fmla="*/ 25 h 78"/>
              <a:gd name="T54" fmla="*/ 66 w 106"/>
              <a:gd name="T55" fmla="*/ 25 h 78"/>
              <a:gd name="T56" fmla="*/ 72 w 106"/>
              <a:gd name="T57" fmla="*/ 22 h 78"/>
              <a:gd name="T58" fmla="*/ 69 w 106"/>
              <a:gd name="T59" fmla="*/ 25 h 78"/>
              <a:gd name="T60" fmla="*/ 69 w 106"/>
              <a:gd name="T61" fmla="*/ 25 h 78"/>
              <a:gd name="T62" fmla="*/ 78 w 106"/>
              <a:gd name="T63" fmla="*/ 35 h 78"/>
              <a:gd name="T64" fmla="*/ 75 w 106"/>
              <a:gd name="T65" fmla="*/ 31 h 78"/>
              <a:gd name="T66" fmla="*/ 72 w 106"/>
              <a:gd name="T67" fmla="*/ 31 h 78"/>
              <a:gd name="T68" fmla="*/ 72 w 106"/>
              <a:gd name="T69" fmla="*/ 28 h 78"/>
              <a:gd name="T70" fmla="*/ 72 w 106"/>
              <a:gd name="T71" fmla="*/ 28 h 78"/>
              <a:gd name="T72" fmla="*/ 75 w 106"/>
              <a:gd name="T73" fmla="*/ 28 h 78"/>
              <a:gd name="T74" fmla="*/ 81 w 106"/>
              <a:gd name="T75" fmla="*/ 31 h 78"/>
              <a:gd name="T76" fmla="*/ 84 w 106"/>
              <a:gd name="T77" fmla="*/ 35 h 78"/>
              <a:gd name="T78" fmla="*/ 81 w 106"/>
              <a:gd name="T79" fmla="*/ 35 h 78"/>
              <a:gd name="T80" fmla="*/ 78 w 106"/>
              <a:gd name="T81" fmla="*/ 35 h 78"/>
              <a:gd name="T82" fmla="*/ 78 w 106"/>
              <a:gd name="T83" fmla="*/ 35 h 78"/>
              <a:gd name="T84" fmla="*/ 84 w 106"/>
              <a:gd name="T85" fmla="*/ 60 h 78"/>
              <a:gd name="T86" fmla="*/ 84 w 106"/>
              <a:gd name="T87" fmla="*/ 66 h 78"/>
              <a:gd name="T88" fmla="*/ 84 w 106"/>
              <a:gd name="T89" fmla="*/ 75 h 78"/>
              <a:gd name="T90" fmla="*/ 91 w 106"/>
              <a:gd name="T91" fmla="*/ 78 h 78"/>
              <a:gd name="T92" fmla="*/ 97 w 106"/>
              <a:gd name="T93" fmla="*/ 69 h 78"/>
              <a:gd name="T94" fmla="*/ 103 w 106"/>
              <a:gd name="T95" fmla="*/ 66 h 78"/>
              <a:gd name="T96" fmla="*/ 106 w 106"/>
              <a:gd name="T97" fmla="*/ 63 h 78"/>
              <a:gd name="T98" fmla="*/ 103 w 106"/>
              <a:gd name="T99" fmla="*/ 60 h 78"/>
              <a:gd name="T100" fmla="*/ 100 w 106"/>
              <a:gd name="T101" fmla="*/ 60 h 78"/>
              <a:gd name="T102" fmla="*/ 103 w 106"/>
              <a:gd name="T103" fmla="*/ 57 h 78"/>
              <a:gd name="T104" fmla="*/ 97 w 106"/>
              <a:gd name="T105" fmla="*/ 50 h 78"/>
              <a:gd name="T106" fmla="*/ 94 w 106"/>
              <a:gd name="T107" fmla="*/ 50 h 78"/>
              <a:gd name="T108" fmla="*/ 91 w 106"/>
              <a:gd name="T109" fmla="*/ 47 h 78"/>
              <a:gd name="T110" fmla="*/ 87 w 106"/>
              <a:gd name="T111" fmla="*/ 44 h 78"/>
              <a:gd name="T112" fmla="*/ 84 w 106"/>
              <a:gd name="T113" fmla="*/ 47 h 78"/>
              <a:gd name="T114" fmla="*/ 87 w 106"/>
              <a:gd name="T115" fmla="*/ 50 h 78"/>
              <a:gd name="T116" fmla="*/ 84 w 106"/>
              <a:gd name="T117" fmla="*/ 53 h 78"/>
              <a:gd name="T118" fmla="*/ 84 w 106"/>
              <a:gd name="T119" fmla="*/ 57 h 78"/>
              <a:gd name="T120" fmla="*/ 84 w 106"/>
              <a:gd name="T121" fmla="*/ 6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6" h="78">
                <a:moveTo>
                  <a:pt x="3" y="10"/>
                </a:moveTo>
                <a:lnTo>
                  <a:pt x="6" y="6"/>
                </a:lnTo>
                <a:lnTo>
                  <a:pt x="3" y="3"/>
                </a:lnTo>
                <a:lnTo>
                  <a:pt x="0" y="6"/>
                </a:lnTo>
                <a:lnTo>
                  <a:pt x="3" y="10"/>
                </a:lnTo>
                <a:lnTo>
                  <a:pt x="3" y="10"/>
                </a:lnTo>
                <a:close/>
                <a:moveTo>
                  <a:pt x="22" y="6"/>
                </a:moveTo>
                <a:lnTo>
                  <a:pt x="22" y="0"/>
                </a:lnTo>
                <a:lnTo>
                  <a:pt x="22" y="0"/>
                </a:lnTo>
                <a:lnTo>
                  <a:pt x="19" y="0"/>
                </a:lnTo>
                <a:lnTo>
                  <a:pt x="16" y="3"/>
                </a:lnTo>
                <a:lnTo>
                  <a:pt x="19" y="6"/>
                </a:lnTo>
                <a:lnTo>
                  <a:pt x="22" y="6"/>
                </a:lnTo>
                <a:lnTo>
                  <a:pt x="22" y="6"/>
                </a:lnTo>
                <a:close/>
                <a:moveTo>
                  <a:pt x="53" y="19"/>
                </a:moveTo>
                <a:lnTo>
                  <a:pt x="50" y="16"/>
                </a:lnTo>
                <a:lnTo>
                  <a:pt x="47" y="13"/>
                </a:lnTo>
                <a:lnTo>
                  <a:pt x="44" y="13"/>
                </a:lnTo>
                <a:lnTo>
                  <a:pt x="44" y="16"/>
                </a:lnTo>
                <a:lnTo>
                  <a:pt x="47" y="22"/>
                </a:lnTo>
                <a:lnTo>
                  <a:pt x="53" y="22"/>
                </a:lnTo>
                <a:lnTo>
                  <a:pt x="53" y="19"/>
                </a:lnTo>
                <a:lnTo>
                  <a:pt x="53" y="19"/>
                </a:lnTo>
                <a:close/>
                <a:moveTo>
                  <a:pt x="69" y="25"/>
                </a:moveTo>
                <a:lnTo>
                  <a:pt x="66" y="25"/>
                </a:lnTo>
                <a:lnTo>
                  <a:pt x="66" y="25"/>
                </a:lnTo>
                <a:lnTo>
                  <a:pt x="62" y="25"/>
                </a:lnTo>
                <a:lnTo>
                  <a:pt x="66" y="25"/>
                </a:lnTo>
                <a:lnTo>
                  <a:pt x="72" y="22"/>
                </a:lnTo>
                <a:lnTo>
                  <a:pt x="69" y="25"/>
                </a:lnTo>
                <a:lnTo>
                  <a:pt x="69" y="25"/>
                </a:lnTo>
                <a:close/>
                <a:moveTo>
                  <a:pt x="78" y="35"/>
                </a:moveTo>
                <a:lnTo>
                  <a:pt x="75" y="31"/>
                </a:lnTo>
                <a:lnTo>
                  <a:pt x="72" y="31"/>
                </a:lnTo>
                <a:lnTo>
                  <a:pt x="72" y="28"/>
                </a:lnTo>
                <a:lnTo>
                  <a:pt x="72" y="28"/>
                </a:lnTo>
                <a:lnTo>
                  <a:pt x="75" y="28"/>
                </a:lnTo>
                <a:lnTo>
                  <a:pt x="81" y="31"/>
                </a:lnTo>
                <a:lnTo>
                  <a:pt x="84" y="35"/>
                </a:lnTo>
                <a:lnTo>
                  <a:pt x="81" y="35"/>
                </a:lnTo>
                <a:lnTo>
                  <a:pt x="78" y="35"/>
                </a:lnTo>
                <a:lnTo>
                  <a:pt x="78" y="35"/>
                </a:lnTo>
                <a:close/>
                <a:moveTo>
                  <a:pt x="84" y="60"/>
                </a:moveTo>
                <a:lnTo>
                  <a:pt x="84" y="66"/>
                </a:lnTo>
                <a:lnTo>
                  <a:pt x="84" y="75"/>
                </a:lnTo>
                <a:lnTo>
                  <a:pt x="91" y="78"/>
                </a:lnTo>
                <a:lnTo>
                  <a:pt x="97" y="69"/>
                </a:lnTo>
                <a:lnTo>
                  <a:pt x="103" y="66"/>
                </a:lnTo>
                <a:lnTo>
                  <a:pt x="106" y="63"/>
                </a:lnTo>
                <a:lnTo>
                  <a:pt x="103" y="60"/>
                </a:lnTo>
                <a:lnTo>
                  <a:pt x="100" y="60"/>
                </a:lnTo>
                <a:lnTo>
                  <a:pt x="103" y="57"/>
                </a:lnTo>
                <a:lnTo>
                  <a:pt x="97" y="50"/>
                </a:lnTo>
                <a:lnTo>
                  <a:pt x="94" y="50"/>
                </a:lnTo>
                <a:lnTo>
                  <a:pt x="91" y="47"/>
                </a:lnTo>
                <a:lnTo>
                  <a:pt x="87" y="44"/>
                </a:lnTo>
                <a:lnTo>
                  <a:pt x="84" y="47"/>
                </a:lnTo>
                <a:lnTo>
                  <a:pt x="87" y="50"/>
                </a:lnTo>
                <a:lnTo>
                  <a:pt x="84" y="53"/>
                </a:lnTo>
                <a:lnTo>
                  <a:pt x="84" y="57"/>
                </a:lnTo>
                <a:lnTo>
                  <a:pt x="84" y="6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6" name="Freeform 164">
            <a:extLst>
              <a:ext uri="{FF2B5EF4-FFF2-40B4-BE49-F238E27FC236}">
                <a16:creationId xmlns:a16="http://schemas.microsoft.com/office/drawing/2014/main" id="{76D2C372-3C2B-3DB4-DE79-56459AA5855B}"/>
              </a:ext>
            </a:extLst>
          </p:cNvPr>
          <p:cNvSpPr>
            <a:spLocks noEditPoints="1"/>
          </p:cNvSpPr>
          <p:nvPr userDrawn="1"/>
        </p:nvSpPr>
        <p:spPr bwMode="auto">
          <a:xfrm>
            <a:off x="7502031" y="9387759"/>
            <a:ext cx="130168" cy="88902"/>
          </a:xfrm>
          <a:custGeom>
            <a:avLst/>
            <a:gdLst>
              <a:gd name="T0" fmla="*/ 38 w 41"/>
              <a:gd name="T1" fmla="*/ 21 h 28"/>
              <a:gd name="T2" fmla="*/ 35 w 41"/>
              <a:gd name="T3" fmla="*/ 25 h 28"/>
              <a:gd name="T4" fmla="*/ 35 w 41"/>
              <a:gd name="T5" fmla="*/ 28 h 28"/>
              <a:gd name="T6" fmla="*/ 41 w 41"/>
              <a:gd name="T7" fmla="*/ 21 h 28"/>
              <a:gd name="T8" fmla="*/ 41 w 41"/>
              <a:gd name="T9" fmla="*/ 21 h 28"/>
              <a:gd name="T10" fmla="*/ 38 w 41"/>
              <a:gd name="T11" fmla="*/ 21 h 28"/>
              <a:gd name="T12" fmla="*/ 38 w 41"/>
              <a:gd name="T13" fmla="*/ 21 h 28"/>
              <a:gd name="T14" fmla="*/ 22 w 41"/>
              <a:gd name="T15" fmla="*/ 15 h 28"/>
              <a:gd name="T16" fmla="*/ 25 w 41"/>
              <a:gd name="T17" fmla="*/ 15 h 28"/>
              <a:gd name="T18" fmla="*/ 28 w 41"/>
              <a:gd name="T19" fmla="*/ 15 h 28"/>
              <a:gd name="T20" fmla="*/ 25 w 41"/>
              <a:gd name="T21" fmla="*/ 18 h 28"/>
              <a:gd name="T22" fmla="*/ 22 w 41"/>
              <a:gd name="T23" fmla="*/ 15 h 28"/>
              <a:gd name="T24" fmla="*/ 22 w 41"/>
              <a:gd name="T25" fmla="*/ 15 h 28"/>
              <a:gd name="T26" fmla="*/ 16 w 41"/>
              <a:gd name="T27" fmla="*/ 6 h 28"/>
              <a:gd name="T28" fmla="*/ 16 w 41"/>
              <a:gd name="T29" fmla="*/ 9 h 28"/>
              <a:gd name="T30" fmla="*/ 19 w 41"/>
              <a:gd name="T31" fmla="*/ 9 h 28"/>
              <a:gd name="T32" fmla="*/ 16 w 41"/>
              <a:gd name="T33" fmla="*/ 6 h 28"/>
              <a:gd name="T34" fmla="*/ 16 w 41"/>
              <a:gd name="T35" fmla="*/ 6 h 28"/>
              <a:gd name="T36" fmla="*/ 0 w 41"/>
              <a:gd name="T37" fmla="*/ 12 h 28"/>
              <a:gd name="T38" fmla="*/ 3 w 41"/>
              <a:gd name="T39" fmla="*/ 12 h 28"/>
              <a:gd name="T40" fmla="*/ 3 w 41"/>
              <a:gd name="T41" fmla="*/ 15 h 28"/>
              <a:gd name="T42" fmla="*/ 0 w 41"/>
              <a:gd name="T43" fmla="*/ 15 h 28"/>
              <a:gd name="T44" fmla="*/ 0 w 41"/>
              <a:gd name="T45" fmla="*/ 12 h 28"/>
              <a:gd name="T46" fmla="*/ 0 w 41"/>
              <a:gd name="T47" fmla="*/ 12 h 28"/>
              <a:gd name="T48" fmla="*/ 0 w 41"/>
              <a:gd name="T49" fmla="*/ 12 h 28"/>
              <a:gd name="T50" fmla="*/ 3 w 41"/>
              <a:gd name="T51" fmla="*/ 6 h 28"/>
              <a:gd name="T52" fmla="*/ 6 w 41"/>
              <a:gd name="T53" fmla="*/ 6 h 28"/>
              <a:gd name="T54" fmla="*/ 6 w 41"/>
              <a:gd name="T55" fmla="*/ 12 h 28"/>
              <a:gd name="T56" fmla="*/ 10 w 41"/>
              <a:gd name="T57" fmla="*/ 18 h 28"/>
              <a:gd name="T58" fmla="*/ 6 w 41"/>
              <a:gd name="T59" fmla="*/ 18 h 28"/>
              <a:gd name="T60" fmla="*/ 3 w 41"/>
              <a:gd name="T61" fmla="*/ 25 h 28"/>
              <a:gd name="T62" fmla="*/ 6 w 41"/>
              <a:gd name="T63" fmla="*/ 25 h 28"/>
              <a:gd name="T64" fmla="*/ 13 w 41"/>
              <a:gd name="T65" fmla="*/ 25 h 28"/>
              <a:gd name="T66" fmla="*/ 13 w 41"/>
              <a:gd name="T67" fmla="*/ 18 h 28"/>
              <a:gd name="T68" fmla="*/ 10 w 41"/>
              <a:gd name="T69" fmla="*/ 15 h 28"/>
              <a:gd name="T70" fmla="*/ 10 w 41"/>
              <a:gd name="T71" fmla="*/ 12 h 28"/>
              <a:gd name="T72" fmla="*/ 10 w 41"/>
              <a:gd name="T73" fmla="*/ 9 h 28"/>
              <a:gd name="T74" fmla="*/ 10 w 41"/>
              <a:gd name="T75" fmla="*/ 3 h 28"/>
              <a:gd name="T76" fmla="*/ 6 w 41"/>
              <a:gd name="T77" fmla="*/ 0 h 28"/>
              <a:gd name="T78" fmla="*/ 3 w 41"/>
              <a:gd name="T79" fmla="*/ 3 h 28"/>
              <a:gd name="T80" fmla="*/ 3 w 41"/>
              <a:gd name="T81"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 h="28">
                <a:moveTo>
                  <a:pt x="38" y="21"/>
                </a:moveTo>
                <a:lnTo>
                  <a:pt x="35" y="25"/>
                </a:lnTo>
                <a:lnTo>
                  <a:pt x="35" y="28"/>
                </a:lnTo>
                <a:lnTo>
                  <a:pt x="41" y="21"/>
                </a:lnTo>
                <a:lnTo>
                  <a:pt x="41" y="21"/>
                </a:lnTo>
                <a:lnTo>
                  <a:pt x="38" y="21"/>
                </a:lnTo>
                <a:lnTo>
                  <a:pt x="38" y="21"/>
                </a:lnTo>
                <a:close/>
                <a:moveTo>
                  <a:pt x="22" y="15"/>
                </a:moveTo>
                <a:lnTo>
                  <a:pt x="25" y="15"/>
                </a:lnTo>
                <a:lnTo>
                  <a:pt x="28" y="15"/>
                </a:lnTo>
                <a:lnTo>
                  <a:pt x="25" y="18"/>
                </a:lnTo>
                <a:lnTo>
                  <a:pt x="22" y="15"/>
                </a:lnTo>
                <a:lnTo>
                  <a:pt x="22" y="15"/>
                </a:lnTo>
                <a:close/>
                <a:moveTo>
                  <a:pt x="16" y="6"/>
                </a:moveTo>
                <a:lnTo>
                  <a:pt x="16" y="9"/>
                </a:lnTo>
                <a:lnTo>
                  <a:pt x="19" y="9"/>
                </a:lnTo>
                <a:lnTo>
                  <a:pt x="16" y="6"/>
                </a:lnTo>
                <a:lnTo>
                  <a:pt x="16" y="6"/>
                </a:lnTo>
                <a:close/>
                <a:moveTo>
                  <a:pt x="0" y="12"/>
                </a:moveTo>
                <a:lnTo>
                  <a:pt x="3" y="12"/>
                </a:lnTo>
                <a:lnTo>
                  <a:pt x="3" y="15"/>
                </a:lnTo>
                <a:lnTo>
                  <a:pt x="0" y="15"/>
                </a:lnTo>
                <a:lnTo>
                  <a:pt x="0" y="12"/>
                </a:lnTo>
                <a:lnTo>
                  <a:pt x="0" y="12"/>
                </a:lnTo>
                <a:lnTo>
                  <a:pt x="0" y="12"/>
                </a:lnTo>
                <a:close/>
                <a:moveTo>
                  <a:pt x="3" y="6"/>
                </a:moveTo>
                <a:lnTo>
                  <a:pt x="6" y="6"/>
                </a:lnTo>
                <a:lnTo>
                  <a:pt x="6" y="12"/>
                </a:lnTo>
                <a:lnTo>
                  <a:pt x="10" y="18"/>
                </a:lnTo>
                <a:lnTo>
                  <a:pt x="6" y="18"/>
                </a:lnTo>
                <a:lnTo>
                  <a:pt x="3" y="25"/>
                </a:lnTo>
                <a:lnTo>
                  <a:pt x="6" y="25"/>
                </a:lnTo>
                <a:lnTo>
                  <a:pt x="13" y="25"/>
                </a:lnTo>
                <a:lnTo>
                  <a:pt x="13" y="18"/>
                </a:lnTo>
                <a:lnTo>
                  <a:pt x="10" y="15"/>
                </a:lnTo>
                <a:lnTo>
                  <a:pt x="10" y="12"/>
                </a:lnTo>
                <a:lnTo>
                  <a:pt x="10" y="9"/>
                </a:lnTo>
                <a:lnTo>
                  <a:pt x="10" y="3"/>
                </a:lnTo>
                <a:lnTo>
                  <a:pt x="6" y="0"/>
                </a:lnTo>
                <a:lnTo>
                  <a:pt x="3" y="3"/>
                </a:lnTo>
                <a:lnTo>
                  <a:pt x="3" y="6"/>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7" name="Freeform 165">
            <a:extLst>
              <a:ext uri="{FF2B5EF4-FFF2-40B4-BE49-F238E27FC236}">
                <a16:creationId xmlns:a16="http://schemas.microsoft.com/office/drawing/2014/main" id="{87F6AE99-410E-8475-5607-DF12892BB47A}"/>
              </a:ext>
            </a:extLst>
          </p:cNvPr>
          <p:cNvSpPr>
            <a:spLocks noEditPoints="1"/>
          </p:cNvSpPr>
          <p:nvPr userDrawn="1"/>
        </p:nvSpPr>
        <p:spPr bwMode="auto">
          <a:xfrm>
            <a:off x="9191029" y="8203483"/>
            <a:ext cx="196837" cy="88902"/>
          </a:xfrm>
          <a:custGeom>
            <a:avLst/>
            <a:gdLst>
              <a:gd name="T0" fmla="*/ 56 w 62"/>
              <a:gd name="T1" fmla="*/ 22 h 28"/>
              <a:gd name="T2" fmla="*/ 62 w 62"/>
              <a:gd name="T3" fmla="*/ 25 h 28"/>
              <a:gd name="T4" fmla="*/ 59 w 62"/>
              <a:gd name="T5" fmla="*/ 28 h 28"/>
              <a:gd name="T6" fmla="*/ 56 w 62"/>
              <a:gd name="T7" fmla="*/ 25 h 28"/>
              <a:gd name="T8" fmla="*/ 56 w 62"/>
              <a:gd name="T9" fmla="*/ 22 h 28"/>
              <a:gd name="T10" fmla="*/ 56 w 62"/>
              <a:gd name="T11" fmla="*/ 22 h 28"/>
              <a:gd name="T12" fmla="*/ 59 w 62"/>
              <a:gd name="T13" fmla="*/ 10 h 28"/>
              <a:gd name="T14" fmla="*/ 56 w 62"/>
              <a:gd name="T15" fmla="*/ 13 h 28"/>
              <a:gd name="T16" fmla="*/ 59 w 62"/>
              <a:gd name="T17" fmla="*/ 16 h 28"/>
              <a:gd name="T18" fmla="*/ 62 w 62"/>
              <a:gd name="T19" fmla="*/ 13 h 28"/>
              <a:gd name="T20" fmla="*/ 59 w 62"/>
              <a:gd name="T21" fmla="*/ 10 h 28"/>
              <a:gd name="T22" fmla="*/ 59 w 62"/>
              <a:gd name="T23" fmla="*/ 10 h 28"/>
              <a:gd name="T24" fmla="*/ 40 w 62"/>
              <a:gd name="T25" fmla="*/ 16 h 28"/>
              <a:gd name="T26" fmla="*/ 37 w 62"/>
              <a:gd name="T27" fmla="*/ 19 h 28"/>
              <a:gd name="T28" fmla="*/ 40 w 62"/>
              <a:gd name="T29" fmla="*/ 22 h 28"/>
              <a:gd name="T30" fmla="*/ 43 w 62"/>
              <a:gd name="T31" fmla="*/ 22 h 28"/>
              <a:gd name="T32" fmla="*/ 40 w 62"/>
              <a:gd name="T33" fmla="*/ 16 h 28"/>
              <a:gd name="T34" fmla="*/ 40 w 62"/>
              <a:gd name="T35" fmla="*/ 16 h 28"/>
              <a:gd name="T36" fmla="*/ 31 w 62"/>
              <a:gd name="T37" fmla="*/ 3 h 28"/>
              <a:gd name="T38" fmla="*/ 34 w 62"/>
              <a:gd name="T39" fmla="*/ 0 h 28"/>
              <a:gd name="T40" fmla="*/ 40 w 62"/>
              <a:gd name="T41" fmla="*/ 0 h 28"/>
              <a:gd name="T42" fmla="*/ 37 w 62"/>
              <a:gd name="T43" fmla="*/ 7 h 28"/>
              <a:gd name="T44" fmla="*/ 37 w 62"/>
              <a:gd name="T45" fmla="*/ 10 h 28"/>
              <a:gd name="T46" fmla="*/ 31 w 62"/>
              <a:gd name="T47" fmla="*/ 7 h 28"/>
              <a:gd name="T48" fmla="*/ 31 w 62"/>
              <a:gd name="T49" fmla="*/ 3 h 28"/>
              <a:gd name="T50" fmla="*/ 31 w 62"/>
              <a:gd name="T51" fmla="*/ 3 h 28"/>
              <a:gd name="T52" fmla="*/ 6 w 62"/>
              <a:gd name="T53" fmla="*/ 10 h 28"/>
              <a:gd name="T54" fmla="*/ 6 w 62"/>
              <a:gd name="T55" fmla="*/ 13 h 28"/>
              <a:gd name="T56" fmla="*/ 0 w 62"/>
              <a:gd name="T57" fmla="*/ 13 h 28"/>
              <a:gd name="T58" fmla="*/ 6 w 62"/>
              <a:gd name="T59"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2" h="28">
                <a:moveTo>
                  <a:pt x="56" y="22"/>
                </a:moveTo>
                <a:lnTo>
                  <a:pt x="62" y="25"/>
                </a:lnTo>
                <a:lnTo>
                  <a:pt x="59" y="28"/>
                </a:lnTo>
                <a:lnTo>
                  <a:pt x="56" y="25"/>
                </a:lnTo>
                <a:lnTo>
                  <a:pt x="56" y="22"/>
                </a:lnTo>
                <a:lnTo>
                  <a:pt x="56" y="22"/>
                </a:lnTo>
                <a:close/>
                <a:moveTo>
                  <a:pt x="59" y="10"/>
                </a:moveTo>
                <a:lnTo>
                  <a:pt x="56" y="13"/>
                </a:lnTo>
                <a:lnTo>
                  <a:pt x="59" y="16"/>
                </a:lnTo>
                <a:lnTo>
                  <a:pt x="62" y="13"/>
                </a:lnTo>
                <a:lnTo>
                  <a:pt x="59" y="10"/>
                </a:lnTo>
                <a:lnTo>
                  <a:pt x="59" y="10"/>
                </a:lnTo>
                <a:close/>
                <a:moveTo>
                  <a:pt x="40" y="16"/>
                </a:moveTo>
                <a:lnTo>
                  <a:pt x="37" y="19"/>
                </a:lnTo>
                <a:lnTo>
                  <a:pt x="40" y="22"/>
                </a:lnTo>
                <a:lnTo>
                  <a:pt x="43" y="22"/>
                </a:lnTo>
                <a:lnTo>
                  <a:pt x="40" y="16"/>
                </a:lnTo>
                <a:lnTo>
                  <a:pt x="40" y="16"/>
                </a:lnTo>
                <a:close/>
                <a:moveTo>
                  <a:pt x="31" y="3"/>
                </a:moveTo>
                <a:lnTo>
                  <a:pt x="34" y="0"/>
                </a:lnTo>
                <a:lnTo>
                  <a:pt x="40" y="0"/>
                </a:lnTo>
                <a:lnTo>
                  <a:pt x="37" y="7"/>
                </a:lnTo>
                <a:lnTo>
                  <a:pt x="37" y="10"/>
                </a:lnTo>
                <a:lnTo>
                  <a:pt x="31" y="7"/>
                </a:lnTo>
                <a:lnTo>
                  <a:pt x="31" y="3"/>
                </a:lnTo>
                <a:lnTo>
                  <a:pt x="31" y="3"/>
                </a:lnTo>
                <a:close/>
                <a:moveTo>
                  <a:pt x="6" y="10"/>
                </a:moveTo>
                <a:lnTo>
                  <a:pt x="6" y="13"/>
                </a:lnTo>
                <a:lnTo>
                  <a:pt x="0" y="13"/>
                </a:lnTo>
                <a:lnTo>
                  <a:pt x="6" y="1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8" name="Freeform 166">
            <a:extLst>
              <a:ext uri="{FF2B5EF4-FFF2-40B4-BE49-F238E27FC236}">
                <a16:creationId xmlns:a16="http://schemas.microsoft.com/office/drawing/2014/main" id="{2A2FFDB4-C669-AB6B-DE0C-E275EFB27300}"/>
              </a:ext>
            </a:extLst>
          </p:cNvPr>
          <p:cNvSpPr>
            <a:spLocks noEditPoints="1"/>
          </p:cNvSpPr>
          <p:nvPr userDrawn="1"/>
        </p:nvSpPr>
        <p:spPr bwMode="auto">
          <a:xfrm>
            <a:off x="9041813" y="8193961"/>
            <a:ext cx="136517" cy="41278"/>
          </a:xfrm>
          <a:custGeom>
            <a:avLst/>
            <a:gdLst>
              <a:gd name="T0" fmla="*/ 34 w 43"/>
              <a:gd name="T1" fmla="*/ 13 h 13"/>
              <a:gd name="T2" fmla="*/ 37 w 43"/>
              <a:gd name="T3" fmla="*/ 10 h 13"/>
              <a:gd name="T4" fmla="*/ 43 w 43"/>
              <a:gd name="T5" fmla="*/ 10 h 13"/>
              <a:gd name="T6" fmla="*/ 40 w 43"/>
              <a:gd name="T7" fmla="*/ 10 h 13"/>
              <a:gd name="T8" fmla="*/ 34 w 43"/>
              <a:gd name="T9" fmla="*/ 13 h 13"/>
              <a:gd name="T10" fmla="*/ 34 w 43"/>
              <a:gd name="T11" fmla="*/ 13 h 13"/>
              <a:gd name="T12" fmla="*/ 31 w 43"/>
              <a:gd name="T13" fmla="*/ 0 h 13"/>
              <a:gd name="T14" fmla="*/ 28 w 43"/>
              <a:gd name="T15" fmla="*/ 0 h 13"/>
              <a:gd name="T16" fmla="*/ 22 w 43"/>
              <a:gd name="T17" fmla="*/ 0 h 13"/>
              <a:gd name="T18" fmla="*/ 6 w 43"/>
              <a:gd name="T19" fmla="*/ 0 h 13"/>
              <a:gd name="T20" fmla="*/ 6 w 43"/>
              <a:gd name="T21" fmla="*/ 3 h 13"/>
              <a:gd name="T22" fmla="*/ 0 w 43"/>
              <a:gd name="T23" fmla="*/ 3 h 13"/>
              <a:gd name="T24" fmla="*/ 3 w 43"/>
              <a:gd name="T25" fmla="*/ 6 h 13"/>
              <a:gd name="T26" fmla="*/ 0 w 43"/>
              <a:gd name="T27" fmla="*/ 10 h 13"/>
              <a:gd name="T28" fmla="*/ 3 w 43"/>
              <a:gd name="T29" fmla="*/ 13 h 13"/>
              <a:gd name="T30" fmla="*/ 12 w 43"/>
              <a:gd name="T31" fmla="*/ 13 h 13"/>
              <a:gd name="T32" fmla="*/ 15 w 43"/>
              <a:gd name="T33" fmla="*/ 13 h 13"/>
              <a:gd name="T34" fmla="*/ 22 w 43"/>
              <a:gd name="T35" fmla="*/ 13 h 13"/>
              <a:gd name="T36" fmla="*/ 25 w 43"/>
              <a:gd name="T37" fmla="*/ 13 h 13"/>
              <a:gd name="T38" fmla="*/ 31 w 43"/>
              <a:gd name="T39" fmla="*/ 10 h 13"/>
              <a:gd name="T40" fmla="*/ 34 w 43"/>
              <a:gd name="T41" fmla="*/ 6 h 13"/>
              <a:gd name="T42" fmla="*/ 31 w 43"/>
              <a:gd name="T43" fmla="*/ 3 h 13"/>
              <a:gd name="T44" fmla="*/ 31 w 43"/>
              <a:gd name="T4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 h="13">
                <a:moveTo>
                  <a:pt x="34" y="13"/>
                </a:moveTo>
                <a:lnTo>
                  <a:pt x="37" y="10"/>
                </a:lnTo>
                <a:lnTo>
                  <a:pt x="43" y="10"/>
                </a:lnTo>
                <a:lnTo>
                  <a:pt x="40" y="10"/>
                </a:lnTo>
                <a:lnTo>
                  <a:pt x="34" y="13"/>
                </a:lnTo>
                <a:lnTo>
                  <a:pt x="34" y="13"/>
                </a:lnTo>
                <a:close/>
                <a:moveTo>
                  <a:pt x="31" y="0"/>
                </a:moveTo>
                <a:lnTo>
                  <a:pt x="28" y="0"/>
                </a:lnTo>
                <a:lnTo>
                  <a:pt x="22" y="0"/>
                </a:lnTo>
                <a:lnTo>
                  <a:pt x="6" y="0"/>
                </a:lnTo>
                <a:lnTo>
                  <a:pt x="6" y="3"/>
                </a:lnTo>
                <a:lnTo>
                  <a:pt x="0" y="3"/>
                </a:lnTo>
                <a:lnTo>
                  <a:pt x="3" y="6"/>
                </a:lnTo>
                <a:lnTo>
                  <a:pt x="0" y="10"/>
                </a:lnTo>
                <a:lnTo>
                  <a:pt x="3" y="13"/>
                </a:lnTo>
                <a:lnTo>
                  <a:pt x="12" y="13"/>
                </a:lnTo>
                <a:lnTo>
                  <a:pt x="15" y="13"/>
                </a:lnTo>
                <a:lnTo>
                  <a:pt x="22" y="13"/>
                </a:lnTo>
                <a:lnTo>
                  <a:pt x="25" y="13"/>
                </a:lnTo>
                <a:lnTo>
                  <a:pt x="31" y="10"/>
                </a:lnTo>
                <a:lnTo>
                  <a:pt x="34" y="6"/>
                </a:lnTo>
                <a:lnTo>
                  <a:pt x="31" y="3"/>
                </a:lnTo>
                <a:lnTo>
                  <a:pt x="31"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9" name="Freeform 167">
            <a:extLst>
              <a:ext uri="{FF2B5EF4-FFF2-40B4-BE49-F238E27FC236}">
                <a16:creationId xmlns:a16="http://schemas.microsoft.com/office/drawing/2014/main" id="{37A4C95F-8893-8A0F-E96D-9C840062B54C}"/>
              </a:ext>
            </a:extLst>
          </p:cNvPr>
          <p:cNvSpPr>
            <a:spLocks noEditPoints="1"/>
          </p:cNvSpPr>
          <p:nvPr userDrawn="1"/>
        </p:nvSpPr>
        <p:spPr bwMode="auto">
          <a:xfrm>
            <a:off x="8752907" y="8095533"/>
            <a:ext cx="238111" cy="168278"/>
          </a:xfrm>
          <a:custGeom>
            <a:avLst/>
            <a:gdLst>
              <a:gd name="T0" fmla="*/ 69 w 75"/>
              <a:gd name="T1" fmla="*/ 37 h 53"/>
              <a:gd name="T2" fmla="*/ 69 w 75"/>
              <a:gd name="T3" fmla="*/ 41 h 53"/>
              <a:gd name="T4" fmla="*/ 66 w 75"/>
              <a:gd name="T5" fmla="*/ 37 h 53"/>
              <a:gd name="T6" fmla="*/ 66 w 75"/>
              <a:gd name="T7" fmla="*/ 37 h 53"/>
              <a:gd name="T8" fmla="*/ 6 w 75"/>
              <a:gd name="T9" fmla="*/ 9 h 53"/>
              <a:gd name="T10" fmla="*/ 6 w 75"/>
              <a:gd name="T11" fmla="*/ 16 h 53"/>
              <a:gd name="T12" fmla="*/ 3 w 75"/>
              <a:gd name="T13" fmla="*/ 22 h 53"/>
              <a:gd name="T14" fmla="*/ 3 w 75"/>
              <a:gd name="T15" fmla="*/ 25 h 53"/>
              <a:gd name="T16" fmla="*/ 3 w 75"/>
              <a:gd name="T17" fmla="*/ 31 h 53"/>
              <a:gd name="T18" fmla="*/ 0 w 75"/>
              <a:gd name="T19" fmla="*/ 41 h 53"/>
              <a:gd name="T20" fmla="*/ 3 w 75"/>
              <a:gd name="T21" fmla="*/ 44 h 53"/>
              <a:gd name="T22" fmla="*/ 6 w 75"/>
              <a:gd name="T23" fmla="*/ 47 h 53"/>
              <a:gd name="T24" fmla="*/ 9 w 75"/>
              <a:gd name="T25" fmla="*/ 53 h 53"/>
              <a:gd name="T26" fmla="*/ 16 w 75"/>
              <a:gd name="T27" fmla="*/ 41 h 53"/>
              <a:gd name="T28" fmla="*/ 19 w 75"/>
              <a:gd name="T29" fmla="*/ 34 h 53"/>
              <a:gd name="T30" fmla="*/ 22 w 75"/>
              <a:gd name="T31" fmla="*/ 37 h 53"/>
              <a:gd name="T32" fmla="*/ 28 w 75"/>
              <a:gd name="T33" fmla="*/ 34 h 53"/>
              <a:gd name="T34" fmla="*/ 31 w 75"/>
              <a:gd name="T35" fmla="*/ 41 h 53"/>
              <a:gd name="T36" fmla="*/ 41 w 75"/>
              <a:gd name="T37" fmla="*/ 34 h 53"/>
              <a:gd name="T38" fmla="*/ 53 w 75"/>
              <a:gd name="T39" fmla="*/ 34 h 53"/>
              <a:gd name="T40" fmla="*/ 59 w 75"/>
              <a:gd name="T41" fmla="*/ 34 h 53"/>
              <a:gd name="T42" fmla="*/ 69 w 75"/>
              <a:gd name="T43" fmla="*/ 34 h 53"/>
              <a:gd name="T44" fmla="*/ 72 w 75"/>
              <a:gd name="T45" fmla="*/ 31 h 53"/>
              <a:gd name="T46" fmla="*/ 72 w 75"/>
              <a:gd name="T47" fmla="*/ 25 h 53"/>
              <a:gd name="T48" fmla="*/ 63 w 75"/>
              <a:gd name="T49" fmla="*/ 22 h 53"/>
              <a:gd name="T50" fmla="*/ 53 w 75"/>
              <a:gd name="T51" fmla="*/ 22 h 53"/>
              <a:gd name="T52" fmla="*/ 44 w 75"/>
              <a:gd name="T53" fmla="*/ 16 h 53"/>
              <a:gd name="T54" fmla="*/ 41 w 75"/>
              <a:gd name="T55" fmla="*/ 12 h 53"/>
              <a:gd name="T56" fmla="*/ 56 w 75"/>
              <a:gd name="T57" fmla="*/ 16 h 53"/>
              <a:gd name="T58" fmla="*/ 56 w 75"/>
              <a:gd name="T59" fmla="*/ 12 h 53"/>
              <a:gd name="T60" fmla="*/ 47 w 75"/>
              <a:gd name="T61" fmla="*/ 12 h 53"/>
              <a:gd name="T62" fmla="*/ 41 w 75"/>
              <a:gd name="T63" fmla="*/ 6 h 53"/>
              <a:gd name="T64" fmla="*/ 38 w 75"/>
              <a:gd name="T65" fmla="*/ 6 h 53"/>
              <a:gd name="T66" fmla="*/ 19 w 75"/>
              <a:gd name="T67" fmla="*/ 3 h 53"/>
              <a:gd name="T68" fmla="*/ 9 w 75"/>
              <a:gd name="T69" fmla="*/ 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 h="53">
                <a:moveTo>
                  <a:pt x="66" y="37"/>
                </a:moveTo>
                <a:lnTo>
                  <a:pt x="69" y="37"/>
                </a:lnTo>
                <a:lnTo>
                  <a:pt x="72" y="41"/>
                </a:lnTo>
                <a:lnTo>
                  <a:pt x="69" y="41"/>
                </a:lnTo>
                <a:lnTo>
                  <a:pt x="66" y="41"/>
                </a:lnTo>
                <a:lnTo>
                  <a:pt x="66" y="37"/>
                </a:lnTo>
                <a:lnTo>
                  <a:pt x="66" y="37"/>
                </a:lnTo>
                <a:lnTo>
                  <a:pt x="66" y="37"/>
                </a:lnTo>
                <a:close/>
                <a:moveTo>
                  <a:pt x="6" y="6"/>
                </a:moveTo>
                <a:lnTo>
                  <a:pt x="6" y="9"/>
                </a:lnTo>
                <a:lnTo>
                  <a:pt x="6" y="12"/>
                </a:lnTo>
                <a:lnTo>
                  <a:pt x="6" y="16"/>
                </a:lnTo>
                <a:lnTo>
                  <a:pt x="6" y="19"/>
                </a:lnTo>
                <a:lnTo>
                  <a:pt x="3" y="22"/>
                </a:lnTo>
                <a:lnTo>
                  <a:pt x="3" y="22"/>
                </a:lnTo>
                <a:lnTo>
                  <a:pt x="3" y="25"/>
                </a:lnTo>
                <a:lnTo>
                  <a:pt x="3" y="28"/>
                </a:lnTo>
                <a:lnTo>
                  <a:pt x="3" y="31"/>
                </a:lnTo>
                <a:lnTo>
                  <a:pt x="0" y="37"/>
                </a:lnTo>
                <a:lnTo>
                  <a:pt x="0" y="41"/>
                </a:lnTo>
                <a:lnTo>
                  <a:pt x="0" y="41"/>
                </a:lnTo>
                <a:lnTo>
                  <a:pt x="3" y="44"/>
                </a:lnTo>
                <a:lnTo>
                  <a:pt x="3" y="47"/>
                </a:lnTo>
                <a:lnTo>
                  <a:pt x="6" y="47"/>
                </a:lnTo>
                <a:lnTo>
                  <a:pt x="6" y="50"/>
                </a:lnTo>
                <a:lnTo>
                  <a:pt x="9" y="53"/>
                </a:lnTo>
                <a:lnTo>
                  <a:pt x="13" y="47"/>
                </a:lnTo>
                <a:lnTo>
                  <a:pt x="16" y="41"/>
                </a:lnTo>
                <a:lnTo>
                  <a:pt x="16" y="37"/>
                </a:lnTo>
                <a:lnTo>
                  <a:pt x="19" y="34"/>
                </a:lnTo>
                <a:lnTo>
                  <a:pt x="19" y="37"/>
                </a:lnTo>
                <a:lnTo>
                  <a:pt x="22" y="37"/>
                </a:lnTo>
                <a:lnTo>
                  <a:pt x="25" y="31"/>
                </a:lnTo>
                <a:lnTo>
                  <a:pt x="28" y="34"/>
                </a:lnTo>
                <a:lnTo>
                  <a:pt x="28" y="37"/>
                </a:lnTo>
                <a:lnTo>
                  <a:pt x="31" y="41"/>
                </a:lnTo>
                <a:lnTo>
                  <a:pt x="34" y="37"/>
                </a:lnTo>
                <a:lnTo>
                  <a:pt x="41" y="34"/>
                </a:lnTo>
                <a:lnTo>
                  <a:pt x="47" y="31"/>
                </a:lnTo>
                <a:lnTo>
                  <a:pt x="53" y="34"/>
                </a:lnTo>
                <a:lnTo>
                  <a:pt x="56" y="31"/>
                </a:lnTo>
                <a:lnTo>
                  <a:pt x="59" y="34"/>
                </a:lnTo>
                <a:lnTo>
                  <a:pt x="63" y="34"/>
                </a:lnTo>
                <a:lnTo>
                  <a:pt x="69" y="34"/>
                </a:lnTo>
                <a:lnTo>
                  <a:pt x="69" y="31"/>
                </a:lnTo>
                <a:lnTo>
                  <a:pt x="72" y="31"/>
                </a:lnTo>
                <a:lnTo>
                  <a:pt x="75" y="28"/>
                </a:lnTo>
                <a:lnTo>
                  <a:pt x="72" y="25"/>
                </a:lnTo>
                <a:lnTo>
                  <a:pt x="66" y="22"/>
                </a:lnTo>
                <a:lnTo>
                  <a:pt x="63" y="22"/>
                </a:lnTo>
                <a:lnTo>
                  <a:pt x="56" y="19"/>
                </a:lnTo>
                <a:lnTo>
                  <a:pt x="53" y="22"/>
                </a:lnTo>
                <a:lnTo>
                  <a:pt x="50" y="19"/>
                </a:lnTo>
                <a:lnTo>
                  <a:pt x="44" y="16"/>
                </a:lnTo>
                <a:lnTo>
                  <a:pt x="41" y="16"/>
                </a:lnTo>
                <a:lnTo>
                  <a:pt x="41" y="12"/>
                </a:lnTo>
                <a:lnTo>
                  <a:pt x="47" y="16"/>
                </a:lnTo>
                <a:lnTo>
                  <a:pt x="56" y="16"/>
                </a:lnTo>
                <a:lnTo>
                  <a:pt x="59" y="16"/>
                </a:lnTo>
                <a:lnTo>
                  <a:pt x="56" y="12"/>
                </a:lnTo>
                <a:lnTo>
                  <a:pt x="53" y="12"/>
                </a:lnTo>
                <a:lnTo>
                  <a:pt x="47" y="12"/>
                </a:lnTo>
                <a:lnTo>
                  <a:pt x="44" y="6"/>
                </a:lnTo>
                <a:lnTo>
                  <a:pt x="41" y="6"/>
                </a:lnTo>
                <a:lnTo>
                  <a:pt x="41" y="6"/>
                </a:lnTo>
                <a:lnTo>
                  <a:pt x="38" y="6"/>
                </a:lnTo>
                <a:lnTo>
                  <a:pt x="22" y="0"/>
                </a:lnTo>
                <a:lnTo>
                  <a:pt x="19" y="3"/>
                </a:lnTo>
                <a:lnTo>
                  <a:pt x="16" y="0"/>
                </a:lnTo>
                <a:lnTo>
                  <a:pt x="9" y="3"/>
                </a:lnTo>
                <a:lnTo>
                  <a:pt x="6" y="6"/>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0" name="Freeform 168">
            <a:extLst>
              <a:ext uri="{FF2B5EF4-FFF2-40B4-BE49-F238E27FC236}">
                <a16:creationId xmlns:a16="http://schemas.microsoft.com/office/drawing/2014/main" id="{78976E8C-1A2E-1396-7CAD-6D09C335D10D}"/>
              </a:ext>
            </a:extLst>
          </p:cNvPr>
          <p:cNvSpPr>
            <a:spLocks noEditPoints="1"/>
          </p:cNvSpPr>
          <p:nvPr userDrawn="1"/>
        </p:nvSpPr>
        <p:spPr bwMode="auto">
          <a:xfrm>
            <a:off x="10064094" y="1628063"/>
            <a:ext cx="2638254" cy="3387726"/>
          </a:xfrm>
          <a:custGeom>
            <a:avLst/>
            <a:gdLst>
              <a:gd name="T0" fmla="*/ 67 w 266"/>
              <a:gd name="T1" fmla="*/ 327 h 341"/>
              <a:gd name="T2" fmla="*/ 52 w 266"/>
              <a:gd name="T3" fmla="*/ 314 h 341"/>
              <a:gd name="T4" fmla="*/ 45 w 266"/>
              <a:gd name="T5" fmla="*/ 297 h 341"/>
              <a:gd name="T6" fmla="*/ 42 w 266"/>
              <a:gd name="T7" fmla="*/ 289 h 341"/>
              <a:gd name="T8" fmla="*/ 47 w 266"/>
              <a:gd name="T9" fmla="*/ 270 h 341"/>
              <a:gd name="T10" fmla="*/ 44 w 266"/>
              <a:gd name="T11" fmla="*/ 261 h 341"/>
              <a:gd name="T12" fmla="*/ 55 w 266"/>
              <a:gd name="T13" fmla="*/ 251 h 341"/>
              <a:gd name="T14" fmla="*/ 58 w 266"/>
              <a:gd name="T15" fmla="*/ 248 h 341"/>
              <a:gd name="T16" fmla="*/ 62 w 266"/>
              <a:gd name="T17" fmla="*/ 233 h 341"/>
              <a:gd name="T18" fmla="*/ 64 w 266"/>
              <a:gd name="T19" fmla="*/ 220 h 341"/>
              <a:gd name="T20" fmla="*/ 63 w 266"/>
              <a:gd name="T21" fmla="*/ 202 h 341"/>
              <a:gd name="T22" fmla="*/ 48 w 266"/>
              <a:gd name="T23" fmla="*/ 198 h 341"/>
              <a:gd name="T24" fmla="*/ 54 w 266"/>
              <a:gd name="T25" fmla="*/ 169 h 341"/>
              <a:gd name="T26" fmla="*/ 42 w 266"/>
              <a:gd name="T27" fmla="*/ 132 h 341"/>
              <a:gd name="T28" fmla="*/ 9 w 266"/>
              <a:gd name="T29" fmla="*/ 116 h 341"/>
              <a:gd name="T30" fmla="*/ 27 w 266"/>
              <a:gd name="T31" fmla="*/ 100 h 341"/>
              <a:gd name="T32" fmla="*/ 10 w 266"/>
              <a:gd name="T33" fmla="*/ 78 h 341"/>
              <a:gd name="T34" fmla="*/ 53 w 266"/>
              <a:gd name="T35" fmla="*/ 58 h 341"/>
              <a:gd name="T36" fmla="*/ 69 w 266"/>
              <a:gd name="T37" fmla="*/ 39 h 341"/>
              <a:gd name="T38" fmla="*/ 104 w 266"/>
              <a:gd name="T39" fmla="*/ 20 h 341"/>
              <a:gd name="T40" fmla="*/ 122 w 266"/>
              <a:gd name="T41" fmla="*/ 36 h 341"/>
              <a:gd name="T42" fmla="*/ 143 w 266"/>
              <a:gd name="T43" fmla="*/ 36 h 341"/>
              <a:gd name="T44" fmla="*/ 152 w 266"/>
              <a:gd name="T45" fmla="*/ 14 h 341"/>
              <a:gd name="T46" fmla="*/ 179 w 266"/>
              <a:gd name="T47" fmla="*/ 2 h 341"/>
              <a:gd name="T48" fmla="*/ 197 w 266"/>
              <a:gd name="T49" fmla="*/ 13 h 341"/>
              <a:gd name="T50" fmla="*/ 210 w 266"/>
              <a:gd name="T51" fmla="*/ 17 h 341"/>
              <a:gd name="T52" fmla="*/ 235 w 266"/>
              <a:gd name="T53" fmla="*/ 35 h 341"/>
              <a:gd name="T54" fmla="*/ 184 w 266"/>
              <a:gd name="T55" fmla="*/ 44 h 341"/>
              <a:gd name="T56" fmla="*/ 223 w 266"/>
              <a:gd name="T57" fmla="*/ 47 h 341"/>
              <a:gd name="T58" fmla="*/ 232 w 266"/>
              <a:gd name="T59" fmla="*/ 59 h 341"/>
              <a:gd name="T60" fmla="*/ 256 w 266"/>
              <a:gd name="T61" fmla="*/ 66 h 341"/>
              <a:gd name="T62" fmla="*/ 232 w 266"/>
              <a:gd name="T63" fmla="*/ 80 h 341"/>
              <a:gd name="T64" fmla="*/ 222 w 266"/>
              <a:gd name="T65" fmla="*/ 121 h 341"/>
              <a:gd name="T66" fmla="*/ 221 w 266"/>
              <a:gd name="T67" fmla="*/ 138 h 341"/>
              <a:gd name="T68" fmla="*/ 222 w 266"/>
              <a:gd name="T69" fmla="*/ 154 h 341"/>
              <a:gd name="T70" fmla="*/ 216 w 266"/>
              <a:gd name="T71" fmla="*/ 166 h 341"/>
              <a:gd name="T72" fmla="*/ 215 w 266"/>
              <a:gd name="T73" fmla="*/ 183 h 341"/>
              <a:gd name="T74" fmla="*/ 196 w 266"/>
              <a:gd name="T75" fmla="*/ 186 h 341"/>
              <a:gd name="T76" fmla="*/ 187 w 266"/>
              <a:gd name="T77" fmla="*/ 196 h 341"/>
              <a:gd name="T78" fmla="*/ 207 w 266"/>
              <a:gd name="T79" fmla="*/ 213 h 341"/>
              <a:gd name="T80" fmla="*/ 195 w 266"/>
              <a:gd name="T81" fmla="*/ 223 h 341"/>
              <a:gd name="T82" fmla="*/ 178 w 266"/>
              <a:gd name="T83" fmla="*/ 221 h 341"/>
              <a:gd name="T84" fmla="*/ 191 w 266"/>
              <a:gd name="T85" fmla="*/ 230 h 341"/>
              <a:gd name="T86" fmla="*/ 180 w 266"/>
              <a:gd name="T87" fmla="*/ 249 h 341"/>
              <a:gd name="T88" fmla="*/ 151 w 266"/>
              <a:gd name="T89" fmla="*/ 253 h 341"/>
              <a:gd name="T90" fmla="*/ 126 w 266"/>
              <a:gd name="T91" fmla="*/ 278 h 341"/>
              <a:gd name="T92" fmla="*/ 106 w 266"/>
              <a:gd name="T93" fmla="*/ 283 h 341"/>
              <a:gd name="T94" fmla="*/ 93 w 266"/>
              <a:gd name="T95" fmla="*/ 302 h 341"/>
              <a:gd name="T96" fmla="*/ 88 w 266"/>
              <a:gd name="T97" fmla="*/ 318 h 341"/>
              <a:gd name="T98" fmla="*/ 77 w 266"/>
              <a:gd name="T99" fmla="*/ 332 h 341"/>
              <a:gd name="T100" fmla="*/ 89 w 266"/>
              <a:gd name="T101" fmla="*/ 312 h 341"/>
              <a:gd name="T102" fmla="*/ 198 w 266"/>
              <a:gd name="T103" fmla="*/ 239 h 341"/>
              <a:gd name="T104" fmla="*/ 201 w 266"/>
              <a:gd name="T105" fmla="*/ 197 h 341"/>
              <a:gd name="T106" fmla="*/ 213 w 266"/>
              <a:gd name="T107" fmla="*/ 175 h 341"/>
              <a:gd name="T108" fmla="*/ 219 w 266"/>
              <a:gd name="T109" fmla="*/ 147 h 341"/>
              <a:gd name="T110" fmla="*/ 246 w 266"/>
              <a:gd name="T111" fmla="*/ 45 h 341"/>
              <a:gd name="T112" fmla="*/ 151 w 266"/>
              <a:gd name="T113" fmla="*/ 13 h 341"/>
              <a:gd name="T114" fmla="*/ 120 w 266"/>
              <a:gd name="T115" fmla="*/ 26 h 341"/>
              <a:gd name="T116" fmla="*/ 50 w 266"/>
              <a:gd name="T117" fmla="*/ 158 h 341"/>
              <a:gd name="T118" fmla="*/ 50 w 266"/>
              <a:gd name="T119" fmla="*/ 185 h 341"/>
              <a:gd name="T120" fmla="*/ 54 w 266"/>
              <a:gd name="T121" fmla="*/ 330 h 341"/>
              <a:gd name="T122" fmla="*/ 49 w 266"/>
              <a:gd name="T123" fmla="*/ 241 h 341"/>
              <a:gd name="T124" fmla="*/ 62 w 266"/>
              <a:gd name="T125" fmla="*/ 226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6" h="341">
                <a:moveTo>
                  <a:pt x="79" y="338"/>
                </a:moveTo>
                <a:cubicBezTo>
                  <a:pt x="76" y="336"/>
                  <a:pt x="76" y="336"/>
                  <a:pt x="76" y="336"/>
                </a:cubicBezTo>
                <a:cubicBezTo>
                  <a:pt x="75" y="336"/>
                  <a:pt x="75" y="336"/>
                  <a:pt x="75" y="336"/>
                </a:cubicBezTo>
                <a:cubicBezTo>
                  <a:pt x="75" y="336"/>
                  <a:pt x="75" y="336"/>
                  <a:pt x="75" y="336"/>
                </a:cubicBezTo>
                <a:cubicBezTo>
                  <a:pt x="75" y="335"/>
                  <a:pt x="75" y="335"/>
                  <a:pt x="75" y="335"/>
                </a:cubicBezTo>
                <a:cubicBezTo>
                  <a:pt x="75" y="335"/>
                  <a:pt x="75" y="335"/>
                  <a:pt x="75" y="335"/>
                </a:cubicBezTo>
                <a:cubicBezTo>
                  <a:pt x="75" y="334"/>
                  <a:pt x="75" y="334"/>
                  <a:pt x="75" y="334"/>
                </a:cubicBezTo>
                <a:cubicBezTo>
                  <a:pt x="75" y="334"/>
                  <a:pt x="75" y="334"/>
                  <a:pt x="75" y="334"/>
                </a:cubicBezTo>
                <a:cubicBezTo>
                  <a:pt x="74" y="335"/>
                  <a:pt x="74" y="335"/>
                  <a:pt x="74" y="335"/>
                </a:cubicBezTo>
                <a:cubicBezTo>
                  <a:pt x="74" y="335"/>
                  <a:pt x="74" y="335"/>
                  <a:pt x="74" y="335"/>
                </a:cubicBezTo>
                <a:cubicBezTo>
                  <a:pt x="74" y="336"/>
                  <a:pt x="74" y="336"/>
                  <a:pt x="74" y="336"/>
                </a:cubicBezTo>
                <a:cubicBezTo>
                  <a:pt x="73" y="336"/>
                  <a:pt x="73" y="336"/>
                  <a:pt x="73" y="336"/>
                </a:cubicBezTo>
                <a:cubicBezTo>
                  <a:pt x="72" y="336"/>
                  <a:pt x="72" y="336"/>
                  <a:pt x="72" y="336"/>
                </a:cubicBezTo>
                <a:cubicBezTo>
                  <a:pt x="72" y="337"/>
                  <a:pt x="72" y="337"/>
                  <a:pt x="72" y="337"/>
                </a:cubicBezTo>
                <a:cubicBezTo>
                  <a:pt x="72" y="338"/>
                  <a:pt x="72" y="338"/>
                  <a:pt x="72" y="338"/>
                </a:cubicBezTo>
                <a:cubicBezTo>
                  <a:pt x="72" y="338"/>
                  <a:pt x="72" y="338"/>
                  <a:pt x="72" y="338"/>
                </a:cubicBezTo>
                <a:cubicBezTo>
                  <a:pt x="71" y="338"/>
                  <a:pt x="71" y="338"/>
                  <a:pt x="71" y="338"/>
                </a:cubicBezTo>
                <a:cubicBezTo>
                  <a:pt x="71" y="337"/>
                  <a:pt x="71" y="337"/>
                  <a:pt x="71" y="337"/>
                </a:cubicBezTo>
                <a:cubicBezTo>
                  <a:pt x="72" y="336"/>
                  <a:pt x="72" y="336"/>
                  <a:pt x="72" y="336"/>
                </a:cubicBezTo>
                <a:cubicBezTo>
                  <a:pt x="72" y="335"/>
                  <a:pt x="72" y="335"/>
                  <a:pt x="72" y="335"/>
                </a:cubicBezTo>
                <a:cubicBezTo>
                  <a:pt x="73" y="333"/>
                  <a:pt x="73" y="333"/>
                  <a:pt x="73" y="333"/>
                </a:cubicBezTo>
                <a:cubicBezTo>
                  <a:pt x="73" y="333"/>
                  <a:pt x="73" y="333"/>
                  <a:pt x="73" y="333"/>
                </a:cubicBezTo>
                <a:cubicBezTo>
                  <a:pt x="72" y="334"/>
                  <a:pt x="72" y="334"/>
                  <a:pt x="72" y="334"/>
                </a:cubicBezTo>
                <a:cubicBezTo>
                  <a:pt x="71" y="336"/>
                  <a:pt x="71" y="336"/>
                  <a:pt x="71" y="336"/>
                </a:cubicBezTo>
                <a:cubicBezTo>
                  <a:pt x="70" y="337"/>
                  <a:pt x="70" y="337"/>
                  <a:pt x="70" y="337"/>
                </a:cubicBezTo>
                <a:cubicBezTo>
                  <a:pt x="69" y="336"/>
                  <a:pt x="69" y="336"/>
                  <a:pt x="69" y="336"/>
                </a:cubicBezTo>
                <a:cubicBezTo>
                  <a:pt x="70" y="336"/>
                  <a:pt x="70" y="336"/>
                  <a:pt x="70" y="336"/>
                </a:cubicBezTo>
                <a:cubicBezTo>
                  <a:pt x="71" y="335"/>
                  <a:pt x="71" y="335"/>
                  <a:pt x="71" y="335"/>
                </a:cubicBezTo>
                <a:cubicBezTo>
                  <a:pt x="71" y="333"/>
                  <a:pt x="71" y="333"/>
                  <a:pt x="71" y="333"/>
                </a:cubicBezTo>
                <a:cubicBezTo>
                  <a:pt x="72" y="332"/>
                  <a:pt x="72" y="332"/>
                  <a:pt x="72" y="332"/>
                </a:cubicBezTo>
                <a:cubicBezTo>
                  <a:pt x="71" y="332"/>
                  <a:pt x="71" y="332"/>
                  <a:pt x="71" y="332"/>
                </a:cubicBezTo>
                <a:cubicBezTo>
                  <a:pt x="70" y="332"/>
                  <a:pt x="70" y="332"/>
                  <a:pt x="70" y="332"/>
                </a:cubicBezTo>
                <a:cubicBezTo>
                  <a:pt x="70" y="333"/>
                  <a:pt x="70" y="333"/>
                  <a:pt x="70" y="333"/>
                </a:cubicBezTo>
                <a:cubicBezTo>
                  <a:pt x="69" y="334"/>
                  <a:pt x="69" y="334"/>
                  <a:pt x="69" y="334"/>
                </a:cubicBezTo>
                <a:cubicBezTo>
                  <a:pt x="69" y="333"/>
                  <a:pt x="69" y="333"/>
                  <a:pt x="69" y="333"/>
                </a:cubicBezTo>
                <a:cubicBezTo>
                  <a:pt x="69" y="332"/>
                  <a:pt x="69" y="332"/>
                  <a:pt x="69" y="332"/>
                </a:cubicBezTo>
                <a:cubicBezTo>
                  <a:pt x="70" y="332"/>
                  <a:pt x="70" y="332"/>
                  <a:pt x="70" y="332"/>
                </a:cubicBezTo>
                <a:cubicBezTo>
                  <a:pt x="70" y="331"/>
                  <a:pt x="70" y="331"/>
                  <a:pt x="70" y="331"/>
                </a:cubicBezTo>
                <a:cubicBezTo>
                  <a:pt x="69" y="331"/>
                  <a:pt x="69" y="331"/>
                  <a:pt x="69" y="331"/>
                </a:cubicBezTo>
                <a:cubicBezTo>
                  <a:pt x="69" y="332"/>
                  <a:pt x="69" y="332"/>
                  <a:pt x="69" y="332"/>
                </a:cubicBezTo>
                <a:cubicBezTo>
                  <a:pt x="68" y="333"/>
                  <a:pt x="68" y="333"/>
                  <a:pt x="68" y="333"/>
                </a:cubicBezTo>
                <a:cubicBezTo>
                  <a:pt x="68" y="333"/>
                  <a:pt x="68" y="333"/>
                  <a:pt x="68" y="333"/>
                </a:cubicBezTo>
                <a:cubicBezTo>
                  <a:pt x="67" y="332"/>
                  <a:pt x="67" y="332"/>
                  <a:pt x="67" y="332"/>
                </a:cubicBezTo>
                <a:cubicBezTo>
                  <a:pt x="67" y="332"/>
                  <a:pt x="67" y="332"/>
                  <a:pt x="67" y="332"/>
                </a:cubicBezTo>
                <a:cubicBezTo>
                  <a:pt x="67" y="332"/>
                  <a:pt x="67" y="332"/>
                  <a:pt x="67" y="332"/>
                </a:cubicBezTo>
                <a:cubicBezTo>
                  <a:pt x="66" y="332"/>
                  <a:pt x="66" y="332"/>
                  <a:pt x="66" y="332"/>
                </a:cubicBezTo>
                <a:cubicBezTo>
                  <a:pt x="66" y="332"/>
                  <a:pt x="66" y="332"/>
                  <a:pt x="66" y="332"/>
                </a:cubicBezTo>
                <a:cubicBezTo>
                  <a:pt x="66" y="332"/>
                  <a:pt x="66" y="332"/>
                  <a:pt x="66" y="332"/>
                </a:cubicBezTo>
                <a:cubicBezTo>
                  <a:pt x="68" y="331"/>
                  <a:pt x="68" y="331"/>
                  <a:pt x="68" y="331"/>
                </a:cubicBezTo>
                <a:cubicBezTo>
                  <a:pt x="68" y="330"/>
                  <a:pt x="68" y="330"/>
                  <a:pt x="68" y="330"/>
                </a:cubicBezTo>
                <a:cubicBezTo>
                  <a:pt x="69" y="329"/>
                  <a:pt x="69" y="329"/>
                  <a:pt x="69" y="329"/>
                </a:cubicBezTo>
                <a:cubicBezTo>
                  <a:pt x="70" y="328"/>
                  <a:pt x="70" y="328"/>
                  <a:pt x="70" y="328"/>
                </a:cubicBezTo>
                <a:cubicBezTo>
                  <a:pt x="70" y="328"/>
                  <a:pt x="70" y="328"/>
                  <a:pt x="70" y="328"/>
                </a:cubicBezTo>
                <a:cubicBezTo>
                  <a:pt x="68" y="329"/>
                  <a:pt x="68" y="329"/>
                  <a:pt x="68" y="329"/>
                </a:cubicBezTo>
                <a:cubicBezTo>
                  <a:pt x="67" y="329"/>
                  <a:pt x="67" y="329"/>
                  <a:pt x="67" y="329"/>
                </a:cubicBezTo>
                <a:cubicBezTo>
                  <a:pt x="67" y="329"/>
                  <a:pt x="67" y="329"/>
                  <a:pt x="67" y="329"/>
                </a:cubicBezTo>
                <a:cubicBezTo>
                  <a:pt x="67" y="329"/>
                  <a:pt x="67" y="329"/>
                  <a:pt x="67" y="329"/>
                </a:cubicBezTo>
                <a:cubicBezTo>
                  <a:pt x="68" y="329"/>
                  <a:pt x="68" y="329"/>
                  <a:pt x="68" y="329"/>
                </a:cubicBezTo>
                <a:cubicBezTo>
                  <a:pt x="69" y="328"/>
                  <a:pt x="69" y="328"/>
                  <a:pt x="69" y="328"/>
                </a:cubicBezTo>
                <a:cubicBezTo>
                  <a:pt x="70" y="327"/>
                  <a:pt x="70" y="327"/>
                  <a:pt x="70" y="327"/>
                </a:cubicBezTo>
                <a:cubicBezTo>
                  <a:pt x="71" y="327"/>
                  <a:pt x="71" y="327"/>
                  <a:pt x="71" y="327"/>
                </a:cubicBezTo>
                <a:cubicBezTo>
                  <a:pt x="71" y="326"/>
                  <a:pt x="71" y="326"/>
                  <a:pt x="71" y="326"/>
                </a:cubicBezTo>
                <a:cubicBezTo>
                  <a:pt x="71" y="325"/>
                  <a:pt x="71" y="325"/>
                  <a:pt x="71" y="325"/>
                </a:cubicBezTo>
                <a:cubicBezTo>
                  <a:pt x="70" y="325"/>
                  <a:pt x="70" y="325"/>
                  <a:pt x="70" y="325"/>
                </a:cubicBezTo>
                <a:cubicBezTo>
                  <a:pt x="69" y="327"/>
                  <a:pt x="69" y="327"/>
                  <a:pt x="69" y="327"/>
                </a:cubicBezTo>
                <a:cubicBezTo>
                  <a:pt x="67" y="328"/>
                  <a:pt x="67" y="328"/>
                  <a:pt x="67" y="328"/>
                </a:cubicBezTo>
                <a:cubicBezTo>
                  <a:pt x="66" y="328"/>
                  <a:pt x="66" y="328"/>
                  <a:pt x="66" y="328"/>
                </a:cubicBezTo>
                <a:cubicBezTo>
                  <a:pt x="66" y="328"/>
                  <a:pt x="66" y="328"/>
                  <a:pt x="66" y="328"/>
                </a:cubicBezTo>
                <a:cubicBezTo>
                  <a:pt x="66" y="327"/>
                  <a:pt x="66" y="327"/>
                  <a:pt x="66" y="327"/>
                </a:cubicBezTo>
                <a:cubicBezTo>
                  <a:pt x="67" y="327"/>
                  <a:pt x="67" y="327"/>
                  <a:pt x="67" y="327"/>
                </a:cubicBezTo>
                <a:cubicBezTo>
                  <a:pt x="68" y="326"/>
                  <a:pt x="68" y="326"/>
                  <a:pt x="68" y="326"/>
                </a:cubicBezTo>
                <a:cubicBezTo>
                  <a:pt x="68" y="325"/>
                  <a:pt x="68" y="325"/>
                  <a:pt x="68" y="325"/>
                </a:cubicBezTo>
                <a:cubicBezTo>
                  <a:pt x="67" y="324"/>
                  <a:pt x="67" y="324"/>
                  <a:pt x="67" y="324"/>
                </a:cubicBezTo>
                <a:cubicBezTo>
                  <a:pt x="67" y="324"/>
                  <a:pt x="67" y="324"/>
                  <a:pt x="67" y="324"/>
                </a:cubicBezTo>
                <a:cubicBezTo>
                  <a:pt x="66" y="324"/>
                  <a:pt x="66" y="324"/>
                  <a:pt x="66" y="324"/>
                </a:cubicBezTo>
                <a:cubicBezTo>
                  <a:pt x="66" y="325"/>
                  <a:pt x="66" y="325"/>
                  <a:pt x="66" y="325"/>
                </a:cubicBezTo>
                <a:cubicBezTo>
                  <a:pt x="67" y="325"/>
                  <a:pt x="67" y="325"/>
                  <a:pt x="67" y="325"/>
                </a:cubicBezTo>
                <a:cubicBezTo>
                  <a:pt x="67" y="326"/>
                  <a:pt x="67" y="326"/>
                  <a:pt x="67" y="326"/>
                </a:cubicBezTo>
                <a:cubicBezTo>
                  <a:pt x="66" y="326"/>
                  <a:pt x="66" y="326"/>
                  <a:pt x="66" y="326"/>
                </a:cubicBezTo>
                <a:cubicBezTo>
                  <a:pt x="65" y="326"/>
                  <a:pt x="65" y="326"/>
                  <a:pt x="65" y="326"/>
                </a:cubicBezTo>
                <a:cubicBezTo>
                  <a:pt x="64" y="326"/>
                  <a:pt x="64" y="326"/>
                  <a:pt x="64" y="326"/>
                </a:cubicBezTo>
                <a:cubicBezTo>
                  <a:pt x="64" y="326"/>
                  <a:pt x="64" y="326"/>
                  <a:pt x="64" y="326"/>
                </a:cubicBezTo>
                <a:cubicBezTo>
                  <a:pt x="63" y="327"/>
                  <a:pt x="63" y="327"/>
                  <a:pt x="63" y="327"/>
                </a:cubicBezTo>
                <a:cubicBezTo>
                  <a:pt x="62" y="328"/>
                  <a:pt x="62" y="328"/>
                  <a:pt x="62" y="328"/>
                </a:cubicBezTo>
                <a:cubicBezTo>
                  <a:pt x="62" y="328"/>
                  <a:pt x="62" y="328"/>
                  <a:pt x="62" y="328"/>
                </a:cubicBezTo>
                <a:cubicBezTo>
                  <a:pt x="61" y="328"/>
                  <a:pt x="61" y="328"/>
                  <a:pt x="61" y="328"/>
                </a:cubicBezTo>
                <a:cubicBezTo>
                  <a:pt x="61" y="327"/>
                  <a:pt x="61" y="327"/>
                  <a:pt x="61" y="327"/>
                </a:cubicBezTo>
                <a:cubicBezTo>
                  <a:pt x="60" y="327"/>
                  <a:pt x="60" y="327"/>
                  <a:pt x="60" y="327"/>
                </a:cubicBezTo>
                <a:cubicBezTo>
                  <a:pt x="59" y="328"/>
                  <a:pt x="59" y="328"/>
                  <a:pt x="59" y="328"/>
                </a:cubicBezTo>
                <a:cubicBezTo>
                  <a:pt x="58" y="328"/>
                  <a:pt x="58" y="328"/>
                  <a:pt x="58" y="328"/>
                </a:cubicBezTo>
                <a:cubicBezTo>
                  <a:pt x="58" y="328"/>
                  <a:pt x="58" y="328"/>
                  <a:pt x="58" y="328"/>
                </a:cubicBezTo>
                <a:cubicBezTo>
                  <a:pt x="58" y="328"/>
                  <a:pt x="58" y="328"/>
                  <a:pt x="58" y="328"/>
                </a:cubicBezTo>
                <a:cubicBezTo>
                  <a:pt x="58" y="329"/>
                  <a:pt x="58" y="329"/>
                  <a:pt x="58" y="329"/>
                </a:cubicBezTo>
                <a:cubicBezTo>
                  <a:pt x="57" y="329"/>
                  <a:pt x="57" y="329"/>
                  <a:pt x="57" y="329"/>
                </a:cubicBezTo>
                <a:cubicBezTo>
                  <a:pt x="56" y="329"/>
                  <a:pt x="56" y="329"/>
                  <a:pt x="56" y="329"/>
                </a:cubicBezTo>
                <a:cubicBezTo>
                  <a:pt x="55" y="328"/>
                  <a:pt x="55" y="328"/>
                  <a:pt x="55" y="328"/>
                </a:cubicBezTo>
                <a:cubicBezTo>
                  <a:pt x="56" y="327"/>
                  <a:pt x="56" y="327"/>
                  <a:pt x="56" y="327"/>
                </a:cubicBezTo>
                <a:cubicBezTo>
                  <a:pt x="57" y="327"/>
                  <a:pt x="57" y="327"/>
                  <a:pt x="57" y="327"/>
                </a:cubicBezTo>
                <a:cubicBezTo>
                  <a:pt x="58" y="327"/>
                  <a:pt x="58" y="327"/>
                  <a:pt x="58" y="327"/>
                </a:cubicBezTo>
                <a:cubicBezTo>
                  <a:pt x="57" y="326"/>
                  <a:pt x="57" y="326"/>
                  <a:pt x="57" y="326"/>
                </a:cubicBezTo>
                <a:cubicBezTo>
                  <a:pt x="56" y="326"/>
                  <a:pt x="56" y="326"/>
                  <a:pt x="56" y="326"/>
                </a:cubicBezTo>
                <a:cubicBezTo>
                  <a:pt x="56" y="325"/>
                  <a:pt x="56" y="325"/>
                  <a:pt x="56" y="325"/>
                </a:cubicBezTo>
                <a:cubicBezTo>
                  <a:pt x="56" y="324"/>
                  <a:pt x="56" y="324"/>
                  <a:pt x="56" y="324"/>
                </a:cubicBezTo>
                <a:cubicBezTo>
                  <a:pt x="55" y="323"/>
                  <a:pt x="55" y="323"/>
                  <a:pt x="55" y="323"/>
                </a:cubicBezTo>
                <a:cubicBezTo>
                  <a:pt x="55" y="324"/>
                  <a:pt x="55" y="324"/>
                  <a:pt x="55" y="324"/>
                </a:cubicBezTo>
                <a:cubicBezTo>
                  <a:pt x="53" y="325"/>
                  <a:pt x="53" y="325"/>
                  <a:pt x="53" y="325"/>
                </a:cubicBezTo>
                <a:cubicBezTo>
                  <a:pt x="52" y="325"/>
                  <a:pt x="52" y="325"/>
                  <a:pt x="52" y="325"/>
                </a:cubicBezTo>
                <a:cubicBezTo>
                  <a:pt x="52" y="324"/>
                  <a:pt x="52" y="324"/>
                  <a:pt x="52" y="324"/>
                </a:cubicBezTo>
                <a:cubicBezTo>
                  <a:pt x="53" y="323"/>
                  <a:pt x="53" y="323"/>
                  <a:pt x="53" y="323"/>
                </a:cubicBezTo>
                <a:cubicBezTo>
                  <a:pt x="52" y="322"/>
                  <a:pt x="52" y="322"/>
                  <a:pt x="52" y="322"/>
                </a:cubicBezTo>
                <a:cubicBezTo>
                  <a:pt x="52" y="322"/>
                  <a:pt x="52" y="322"/>
                  <a:pt x="52" y="322"/>
                </a:cubicBezTo>
                <a:cubicBezTo>
                  <a:pt x="52" y="322"/>
                  <a:pt x="52" y="322"/>
                  <a:pt x="52" y="322"/>
                </a:cubicBezTo>
                <a:cubicBezTo>
                  <a:pt x="53" y="321"/>
                  <a:pt x="53" y="321"/>
                  <a:pt x="53" y="321"/>
                </a:cubicBezTo>
                <a:cubicBezTo>
                  <a:pt x="54" y="321"/>
                  <a:pt x="54" y="321"/>
                  <a:pt x="54" y="321"/>
                </a:cubicBezTo>
                <a:cubicBezTo>
                  <a:pt x="54" y="321"/>
                  <a:pt x="54" y="321"/>
                  <a:pt x="54" y="321"/>
                </a:cubicBezTo>
                <a:cubicBezTo>
                  <a:pt x="54" y="320"/>
                  <a:pt x="54" y="320"/>
                  <a:pt x="54" y="320"/>
                </a:cubicBezTo>
                <a:cubicBezTo>
                  <a:pt x="53" y="320"/>
                  <a:pt x="53" y="320"/>
                  <a:pt x="53" y="320"/>
                </a:cubicBezTo>
                <a:cubicBezTo>
                  <a:pt x="52" y="320"/>
                  <a:pt x="52" y="320"/>
                  <a:pt x="52" y="320"/>
                </a:cubicBezTo>
                <a:cubicBezTo>
                  <a:pt x="51" y="321"/>
                  <a:pt x="51" y="321"/>
                  <a:pt x="51" y="321"/>
                </a:cubicBezTo>
                <a:cubicBezTo>
                  <a:pt x="50" y="321"/>
                  <a:pt x="50" y="321"/>
                  <a:pt x="50" y="321"/>
                </a:cubicBezTo>
                <a:cubicBezTo>
                  <a:pt x="49" y="321"/>
                  <a:pt x="49" y="321"/>
                  <a:pt x="49" y="321"/>
                </a:cubicBezTo>
                <a:cubicBezTo>
                  <a:pt x="49" y="320"/>
                  <a:pt x="49" y="320"/>
                  <a:pt x="49" y="320"/>
                </a:cubicBezTo>
                <a:cubicBezTo>
                  <a:pt x="50" y="320"/>
                  <a:pt x="50" y="320"/>
                  <a:pt x="50" y="320"/>
                </a:cubicBezTo>
                <a:cubicBezTo>
                  <a:pt x="51" y="319"/>
                  <a:pt x="51" y="319"/>
                  <a:pt x="51" y="319"/>
                </a:cubicBezTo>
                <a:cubicBezTo>
                  <a:pt x="51" y="318"/>
                  <a:pt x="51" y="318"/>
                  <a:pt x="51" y="318"/>
                </a:cubicBezTo>
                <a:cubicBezTo>
                  <a:pt x="52" y="318"/>
                  <a:pt x="52" y="318"/>
                  <a:pt x="52" y="318"/>
                </a:cubicBezTo>
                <a:cubicBezTo>
                  <a:pt x="52" y="317"/>
                  <a:pt x="52" y="317"/>
                  <a:pt x="52" y="317"/>
                </a:cubicBezTo>
                <a:cubicBezTo>
                  <a:pt x="52" y="317"/>
                  <a:pt x="52" y="317"/>
                  <a:pt x="52" y="317"/>
                </a:cubicBezTo>
                <a:cubicBezTo>
                  <a:pt x="51" y="317"/>
                  <a:pt x="51" y="317"/>
                  <a:pt x="51" y="317"/>
                </a:cubicBezTo>
                <a:cubicBezTo>
                  <a:pt x="50" y="317"/>
                  <a:pt x="50" y="317"/>
                  <a:pt x="50" y="317"/>
                </a:cubicBezTo>
                <a:cubicBezTo>
                  <a:pt x="49" y="318"/>
                  <a:pt x="49" y="318"/>
                  <a:pt x="49" y="318"/>
                </a:cubicBezTo>
                <a:cubicBezTo>
                  <a:pt x="49" y="317"/>
                  <a:pt x="49" y="317"/>
                  <a:pt x="49" y="317"/>
                </a:cubicBezTo>
                <a:cubicBezTo>
                  <a:pt x="49" y="316"/>
                  <a:pt x="49" y="316"/>
                  <a:pt x="49" y="316"/>
                </a:cubicBezTo>
                <a:cubicBezTo>
                  <a:pt x="50" y="316"/>
                  <a:pt x="50" y="316"/>
                  <a:pt x="50" y="316"/>
                </a:cubicBezTo>
                <a:cubicBezTo>
                  <a:pt x="51" y="316"/>
                  <a:pt x="51" y="316"/>
                  <a:pt x="51" y="316"/>
                </a:cubicBezTo>
                <a:cubicBezTo>
                  <a:pt x="51" y="316"/>
                  <a:pt x="51" y="316"/>
                  <a:pt x="51" y="316"/>
                </a:cubicBezTo>
                <a:cubicBezTo>
                  <a:pt x="52" y="315"/>
                  <a:pt x="52" y="315"/>
                  <a:pt x="52" y="315"/>
                </a:cubicBezTo>
                <a:cubicBezTo>
                  <a:pt x="52" y="315"/>
                  <a:pt x="52" y="315"/>
                  <a:pt x="52" y="315"/>
                </a:cubicBezTo>
                <a:cubicBezTo>
                  <a:pt x="52" y="314"/>
                  <a:pt x="52" y="314"/>
                  <a:pt x="52" y="314"/>
                </a:cubicBezTo>
                <a:cubicBezTo>
                  <a:pt x="52" y="314"/>
                  <a:pt x="52" y="314"/>
                  <a:pt x="52" y="314"/>
                </a:cubicBezTo>
                <a:cubicBezTo>
                  <a:pt x="51" y="314"/>
                  <a:pt x="51" y="314"/>
                  <a:pt x="51" y="314"/>
                </a:cubicBezTo>
                <a:cubicBezTo>
                  <a:pt x="50" y="315"/>
                  <a:pt x="50" y="315"/>
                  <a:pt x="50" y="315"/>
                </a:cubicBezTo>
                <a:cubicBezTo>
                  <a:pt x="50" y="315"/>
                  <a:pt x="50" y="315"/>
                  <a:pt x="50" y="315"/>
                </a:cubicBezTo>
                <a:cubicBezTo>
                  <a:pt x="49" y="315"/>
                  <a:pt x="49" y="315"/>
                  <a:pt x="49" y="315"/>
                </a:cubicBezTo>
                <a:cubicBezTo>
                  <a:pt x="49" y="315"/>
                  <a:pt x="49" y="315"/>
                  <a:pt x="49" y="315"/>
                </a:cubicBezTo>
                <a:cubicBezTo>
                  <a:pt x="50" y="314"/>
                  <a:pt x="50" y="314"/>
                  <a:pt x="50" y="314"/>
                </a:cubicBezTo>
                <a:cubicBezTo>
                  <a:pt x="50" y="314"/>
                  <a:pt x="50" y="314"/>
                  <a:pt x="50" y="314"/>
                </a:cubicBezTo>
                <a:cubicBezTo>
                  <a:pt x="49" y="313"/>
                  <a:pt x="49" y="313"/>
                  <a:pt x="49" y="313"/>
                </a:cubicBezTo>
                <a:cubicBezTo>
                  <a:pt x="50" y="313"/>
                  <a:pt x="50" y="313"/>
                  <a:pt x="50" y="313"/>
                </a:cubicBezTo>
                <a:cubicBezTo>
                  <a:pt x="50" y="312"/>
                  <a:pt x="50" y="312"/>
                  <a:pt x="50" y="312"/>
                </a:cubicBezTo>
                <a:cubicBezTo>
                  <a:pt x="50" y="312"/>
                  <a:pt x="50" y="312"/>
                  <a:pt x="50" y="312"/>
                </a:cubicBezTo>
                <a:cubicBezTo>
                  <a:pt x="49" y="312"/>
                  <a:pt x="49" y="312"/>
                  <a:pt x="49" y="312"/>
                </a:cubicBezTo>
                <a:cubicBezTo>
                  <a:pt x="49" y="312"/>
                  <a:pt x="49" y="312"/>
                  <a:pt x="49" y="312"/>
                </a:cubicBezTo>
                <a:cubicBezTo>
                  <a:pt x="49" y="311"/>
                  <a:pt x="49" y="311"/>
                  <a:pt x="49" y="311"/>
                </a:cubicBezTo>
                <a:cubicBezTo>
                  <a:pt x="49" y="310"/>
                  <a:pt x="49" y="310"/>
                  <a:pt x="49" y="310"/>
                </a:cubicBezTo>
                <a:cubicBezTo>
                  <a:pt x="48" y="310"/>
                  <a:pt x="48" y="310"/>
                  <a:pt x="48" y="310"/>
                </a:cubicBezTo>
                <a:cubicBezTo>
                  <a:pt x="48" y="310"/>
                  <a:pt x="48" y="310"/>
                  <a:pt x="48" y="310"/>
                </a:cubicBezTo>
                <a:cubicBezTo>
                  <a:pt x="47" y="311"/>
                  <a:pt x="47" y="311"/>
                  <a:pt x="47" y="311"/>
                </a:cubicBezTo>
                <a:cubicBezTo>
                  <a:pt x="47" y="310"/>
                  <a:pt x="47" y="310"/>
                  <a:pt x="47" y="310"/>
                </a:cubicBezTo>
                <a:cubicBezTo>
                  <a:pt x="47" y="309"/>
                  <a:pt x="47" y="309"/>
                  <a:pt x="47" y="309"/>
                </a:cubicBezTo>
                <a:cubicBezTo>
                  <a:pt x="48" y="308"/>
                  <a:pt x="48" y="308"/>
                  <a:pt x="48" y="308"/>
                </a:cubicBezTo>
                <a:cubicBezTo>
                  <a:pt x="48" y="308"/>
                  <a:pt x="48" y="308"/>
                  <a:pt x="48" y="308"/>
                </a:cubicBezTo>
                <a:cubicBezTo>
                  <a:pt x="49" y="307"/>
                  <a:pt x="49" y="307"/>
                  <a:pt x="49" y="307"/>
                </a:cubicBezTo>
                <a:cubicBezTo>
                  <a:pt x="49" y="306"/>
                  <a:pt x="49" y="306"/>
                  <a:pt x="49" y="306"/>
                </a:cubicBezTo>
                <a:cubicBezTo>
                  <a:pt x="49" y="306"/>
                  <a:pt x="49" y="306"/>
                  <a:pt x="49" y="306"/>
                </a:cubicBezTo>
                <a:cubicBezTo>
                  <a:pt x="49" y="305"/>
                  <a:pt x="49" y="305"/>
                  <a:pt x="49" y="305"/>
                </a:cubicBezTo>
                <a:cubicBezTo>
                  <a:pt x="49" y="305"/>
                  <a:pt x="49" y="305"/>
                  <a:pt x="49" y="305"/>
                </a:cubicBezTo>
                <a:cubicBezTo>
                  <a:pt x="49" y="305"/>
                  <a:pt x="49" y="305"/>
                  <a:pt x="49" y="305"/>
                </a:cubicBezTo>
                <a:cubicBezTo>
                  <a:pt x="48" y="306"/>
                  <a:pt x="48" y="306"/>
                  <a:pt x="48" y="306"/>
                </a:cubicBezTo>
                <a:cubicBezTo>
                  <a:pt x="48" y="305"/>
                  <a:pt x="48" y="305"/>
                  <a:pt x="48" y="305"/>
                </a:cubicBezTo>
                <a:cubicBezTo>
                  <a:pt x="47" y="305"/>
                  <a:pt x="47" y="305"/>
                  <a:pt x="47" y="305"/>
                </a:cubicBezTo>
                <a:cubicBezTo>
                  <a:pt x="47" y="305"/>
                  <a:pt x="47" y="305"/>
                  <a:pt x="47" y="305"/>
                </a:cubicBezTo>
                <a:cubicBezTo>
                  <a:pt x="46" y="305"/>
                  <a:pt x="46" y="305"/>
                  <a:pt x="46" y="305"/>
                </a:cubicBezTo>
                <a:cubicBezTo>
                  <a:pt x="46" y="304"/>
                  <a:pt x="46" y="304"/>
                  <a:pt x="46" y="304"/>
                </a:cubicBezTo>
                <a:cubicBezTo>
                  <a:pt x="46" y="303"/>
                  <a:pt x="46" y="303"/>
                  <a:pt x="46" y="303"/>
                </a:cubicBezTo>
                <a:cubicBezTo>
                  <a:pt x="48" y="303"/>
                  <a:pt x="48" y="303"/>
                  <a:pt x="48" y="303"/>
                </a:cubicBezTo>
                <a:cubicBezTo>
                  <a:pt x="48" y="302"/>
                  <a:pt x="48" y="302"/>
                  <a:pt x="48" y="302"/>
                </a:cubicBezTo>
                <a:cubicBezTo>
                  <a:pt x="47" y="302"/>
                  <a:pt x="47" y="302"/>
                  <a:pt x="47" y="302"/>
                </a:cubicBezTo>
                <a:cubicBezTo>
                  <a:pt x="46" y="302"/>
                  <a:pt x="46" y="302"/>
                  <a:pt x="46" y="302"/>
                </a:cubicBezTo>
                <a:cubicBezTo>
                  <a:pt x="45" y="302"/>
                  <a:pt x="45" y="302"/>
                  <a:pt x="45" y="302"/>
                </a:cubicBezTo>
                <a:cubicBezTo>
                  <a:pt x="44" y="302"/>
                  <a:pt x="44" y="302"/>
                  <a:pt x="44" y="302"/>
                </a:cubicBezTo>
                <a:cubicBezTo>
                  <a:pt x="44" y="302"/>
                  <a:pt x="44" y="302"/>
                  <a:pt x="44" y="302"/>
                </a:cubicBezTo>
                <a:cubicBezTo>
                  <a:pt x="44" y="301"/>
                  <a:pt x="44" y="301"/>
                  <a:pt x="44" y="301"/>
                </a:cubicBezTo>
                <a:cubicBezTo>
                  <a:pt x="45" y="301"/>
                  <a:pt x="45" y="301"/>
                  <a:pt x="45" y="301"/>
                </a:cubicBezTo>
                <a:cubicBezTo>
                  <a:pt x="46" y="301"/>
                  <a:pt x="46" y="301"/>
                  <a:pt x="46" y="301"/>
                </a:cubicBezTo>
                <a:cubicBezTo>
                  <a:pt x="48" y="301"/>
                  <a:pt x="48" y="301"/>
                  <a:pt x="48" y="301"/>
                </a:cubicBezTo>
                <a:cubicBezTo>
                  <a:pt x="48" y="300"/>
                  <a:pt x="48" y="300"/>
                  <a:pt x="48" y="300"/>
                </a:cubicBezTo>
                <a:cubicBezTo>
                  <a:pt x="48" y="300"/>
                  <a:pt x="48" y="300"/>
                  <a:pt x="48" y="300"/>
                </a:cubicBezTo>
                <a:cubicBezTo>
                  <a:pt x="47" y="300"/>
                  <a:pt x="47" y="300"/>
                  <a:pt x="47" y="300"/>
                </a:cubicBezTo>
                <a:cubicBezTo>
                  <a:pt x="46" y="300"/>
                  <a:pt x="46" y="300"/>
                  <a:pt x="46" y="300"/>
                </a:cubicBezTo>
                <a:cubicBezTo>
                  <a:pt x="45" y="300"/>
                  <a:pt x="45" y="300"/>
                  <a:pt x="45" y="300"/>
                </a:cubicBezTo>
                <a:cubicBezTo>
                  <a:pt x="44" y="300"/>
                  <a:pt x="44" y="300"/>
                  <a:pt x="44" y="300"/>
                </a:cubicBezTo>
                <a:cubicBezTo>
                  <a:pt x="44" y="300"/>
                  <a:pt x="44" y="300"/>
                  <a:pt x="44" y="300"/>
                </a:cubicBezTo>
                <a:cubicBezTo>
                  <a:pt x="45" y="299"/>
                  <a:pt x="45" y="299"/>
                  <a:pt x="45" y="299"/>
                </a:cubicBezTo>
                <a:cubicBezTo>
                  <a:pt x="46" y="299"/>
                  <a:pt x="46" y="299"/>
                  <a:pt x="46" y="299"/>
                </a:cubicBezTo>
                <a:cubicBezTo>
                  <a:pt x="47" y="298"/>
                  <a:pt x="47" y="298"/>
                  <a:pt x="47" y="298"/>
                </a:cubicBezTo>
                <a:cubicBezTo>
                  <a:pt x="46" y="298"/>
                  <a:pt x="46" y="298"/>
                  <a:pt x="46" y="298"/>
                </a:cubicBezTo>
                <a:cubicBezTo>
                  <a:pt x="46" y="298"/>
                  <a:pt x="46" y="298"/>
                  <a:pt x="46" y="298"/>
                </a:cubicBezTo>
                <a:cubicBezTo>
                  <a:pt x="45" y="298"/>
                  <a:pt x="45" y="298"/>
                  <a:pt x="45" y="298"/>
                </a:cubicBezTo>
                <a:cubicBezTo>
                  <a:pt x="45" y="297"/>
                  <a:pt x="45" y="297"/>
                  <a:pt x="45" y="297"/>
                </a:cubicBezTo>
                <a:cubicBezTo>
                  <a:pt x="46" y="298"/>
                  <a:pt x="46" y="298"/>
                  <a:pt x="46" y="298"/>
                </a:cubicBezTo>
                <a:cubicBezTo>
                  <a:pt x="47" y="298"/>
                  <a:pt x="47" y="298"/>
                  <a:pt x="47" y="298"/>
                </a:cubicBezTo>
                <a:cubicBezTo>
                  <a:pt x="48" y="297"/>
                  <a:pt x="48" y="297"/>
                  <a:pt x="48" y="297"/>
                </a:cubicBezTo>
                <a:cubicBezTo>
                  <a:pt x="49" y="297"/>
                  <a:pt x="49" y="297"/>
                  <a:pt x="49" y="297"/>
                </a:cubicBezTo>
                <a:cubicBezTo>
                  <a:pt x="48" y="297"/>
                  <a:pt x="48" y="297"/>
                  <a:pt x="48" y="297"/>
                </a:cubicBezTo>
                <a:cubicBezTo>
                  <a:pt x="48" y="297"/>
                  <a:pt x="48" y="297"/>
                  <a:pt x="48" y="297"/>
                </a:cubicBezTo>
                <a:cubicBezTo>
                  <a:pt x="47" y="297"/>
                  <a:pt x="47" y="297"/>
                  <a:pt x="47" y="297"/>
                </a:cubicBezTo>
                <a:cubicBezTo>
                  <a:pt x="46" y="297"/>
                  <a:pt x="46" y="297"/>
                  <a:pt x="46" y="297"/>
                </a:cubicBezTo>
                <a:cubicBezTo>
                  <a:pt x="46" y="297"/>
                  <a:pt x="46" y="297"/>
                  <a:pt x="46" y="297"/>
                </a:cubicBezTo>
                <a:cubicBezTo>
                  <a:pt x="45" y="297"/>
                  <a:pt x="45" y="297"/>
                  <a:pt x="45" y="297"/>
                </a:cubicBezTo>
                <a:cubicBezTo>
                  <a:pt x="45" y="297"/>
                  <a:pt x="45" y="297"/>
                  <a:pt x="45" y="297"/>
                </a:cubicBezTo>
                <a:cubicBezTo>
                  <a:pt x="44" y="298"/>
                  <a:pt x="44" y="298"/>
                  <a:pt x="44" y="298"/>
                </a:cubicBezTo>
                <a:cubicBezTo>
                  <a:pt x="43" y="297"/>
                  <a:pt x="43" y="297"/>
                  <a:pt x="43" y="297"/>
                </a:cubicBezTo>
                <a:cubicBezTo>
                  <a:pt x="43" y="297"/>
                  <a:pt x="43" y="297"/>
                  <a:pt x="43" y="297"/>
                </a:cubicBezTo>
                <a:cubicBezTo>
                  <a:pt x="43" y="296"/>
                  <a:pt x="43" y="296"/>
                  <a:pt x="43" y="296"/>
                </a:cubicBezTo>
                <a:cubicBezTo>
                  <a:pt x="45" y="296"/>
                  <a:pt x="45" y="296"/>
                  <a:pt x="45" y="296"/>
                </a:cubicBezTo>
                <a:cubicBezTo>
                  <a:pt x="46" y="295"/>
                  <a:pt x="46" y="295"/>
                  <a:pt x="46" y="295"/>
                </a:cubicBezTo>
                <a:cubicBezTo>
                  <a:pt x="45" y="295"/>
                  <a:pt x="45" y="295"/>
                  <a:pt x="45" y="295"/>
                </a:cubicBezTo>
                <a:cubicBezTo>
                  <a:pt x="44" y="295"/>
                  <a:pt x="44" y="295"/>
                  <a:pt x="44" y="295"/>
                </a:cubicBezTo>
                <a:cubicBezTo>
                  <a:pt x="43" y="295"/>
                  <a:pt x="43" y="295"/>
                  <a:pt x="43" y="295"/>
                </a:cubicBezTo>
                <a:cubicBezTo>
                  <a:pt x="43" y="294"/>
                  <a:pt x="43" y="294"/>
                  <a:pt x="43" y="294"/>
                </a:cubicBezTo>
                <a:cubicBezTo>
                  <a:pt x="43" y="293"/>
                  <a:pt x="43" y="293"/>
                  <a:pt x="43" y="293"/>
                </a:cubicBezTo>
                <a:cubicBezTo>
                  <a:pt x="44" y="293"/>
                  <a:pt x="44" y="293"/>
                  <a:pt x="44" y="293"/>
                </a:cubicBezTo>
                <a:cubicBezTo>
                  <a:pt x="47" y="293"/>
                  <a:pt x="47" y="293"/>
                  <a:pt x="47" y="293"/>
                </a:cubicBezTo>
                <a:cubicBezTo>
                  <a:pt x="48" y="292"/>
                  <a:pt x="48" y="292"/>
                  <a:pt x="48" y="292"/>
                </a:cubicBezTo>
                <a:cubicBezTo>
                  <a:pt x="50" y="292"/>
                  <a:pt x="50" y="292"/>
                  <a:pt x="50" y="292"/>
                </a:cubicBezTo>
                <a:cubicBezTo>
                  <a:pt x="51" y="292"/>
                  <a:pt x="51" y="292"/>
                  <a:pt x="51" y="292"/>
                </a:cubicBezTo>
                <a:cubicBezTo>
                  <a:pt x="51" y="291"/>
                  <a:pt x="51" y="291"/>
                  <a:pt x="51" y="291"/>
                </a:cubicBezTo>
                <a:cubicBezTo>
                  <a:pt x="50" y="291"/>
                  <a:pt x="50" y="291"/>
                  <a:pt x="50" y="291"/>
                </a:cubicBezTo>
                <a:cubicBezTo>
                  <a:pt x="49" y="291"/>
                  <a:pt x="49" y="291"/>
                  <a:pt x="49" y="291"/>
                </a:cubicBezTo>
                <a:cubicBezTo>
                  <a:pt x="48" y="292"/>
                  <a:pt x="48" y="292"/>
                  <a:pt x="48" y="292"/>
                </a:cubicBezTo>
                <a:cubicBezTo>
                  <a:pt x="46" y="292"/>
                  <a:pt x="46" y="292"/>
                  <a:pt x="46" y="292"/>
                </a:cubicBezTo>
                <a:cubicBezTo>
                  <a:pt x="45" y="292"/>
                  <a:pt x="45" y="292"/>
                  <a:pt x="45" y="292"/>
                </a:cubicBezTo>
                <a:cubicBezTo>
                  <a:pt x="44" y="292"/>
                  <a:pt x="44" y="292"/>
                  <a:pt x="44" y="292"/>
                </a:cubicBezTo>
                <a:cubicBezTo>
                  <a:pt x="43" y="292"/>
                  <a:pt x="43" y="292"/>
                  <a:pt x="43" y="292"/>
                </a:cubicBezTo>
                <a:cubicBezTo>
                  <a:pt x="44" y="292"/>
                  <a:pt x="44" y="292"/>
                  <a:pt x="44" y="292"/>
                </a:cubicBezTo>
                <a:cubicBezTo>
                  <a:pt x="46" y="292"/>
                  <a:pt x="46" y="292"/>
                  <a:pt x="46" y="292"/>
                </a:cubicBezTo>
                <a:cubicBezTo>
                  <a:pt x="47" y="291"/>
                  <a:pt x="47" y="291"/>
                  <a:pt x="47" y="291"/>
                </a:cubicBezTo>
                <a:cubicBezTo>
                  <a:pt x="48" y="290"/>
                  <a:pt x="48" y="290"/>
                  <a:pt x="48" y="290"/>
                </a:cubicBezTo>
                <a:cubicBezTo>
                  <a:pt x="49" y="290"/>
                  <a:pt x="49" y="290"/>
                  <a:pt x="49" y="290"/>
                </a:cubicBezTo>
                <a:cubicBezTo>
                  <a:pt x="49" y="290"/>
                  <a:pt x="49" y="290"/>
                  <a:pt x="49" y="290"/>
                </a:cubicBezTo>
                <a:cubicBezTo>
                  <a:pt x="50" y="291"/>
                  <a:pt x="50" y="291"/>
                  <a:pt x="50" y="291"/>
                </a:cubicBezTo>
                <a:cubicBezTo>
                  <a:pt x="51" y="291"/>
                  <a:pt x="51" y="291"/>
                  <a:pt x="51" y="291"/>
                </a:cubicBezTo>
                <a:cubicBezTo>
                  <a:pt x="51" y="290"/>
                  <a:pt x="51" y="290"/>
                  <a:pt x="51" y="290"/>
                </a:cubicBezTo>
                <a:cubicBezTo>
                  <a:pt x="50" y="290"/>
                  <a:pt x="50" y="290"/>
                  <a:pt x="50" y="290"/>
                </a:cubicBezTo>
                <a:cubicBezTo>
                  <a:pt x="49" y="289"/>
                  <a:pt x="49" y="289"/>
                  <a:pt x="49" y="289"/>
                </a:cubicBezTo>
                <a:cubicBezTo>
                  <a:pt x="49" y="289"/>
                  <a:pt x="49" y="289"/>
                  <a:pt x="49" y="289"/>
                </a:cubicBezTo>
                <a:cubicBezTo>
                  <a:pt x="48" y="288"/>
                  <a:pt x="48" y="288"/>
                  <a:pt x="48" y="288"/>
                </a:cubicBezTo>
                <a:cubicBezTo>
                  <a:pt x="49" y="288"/>
                  <a:pt x="49" y="288"/>
                  <a:pt x="49" y="288"/>
                </a:cubicBezTo>
                <a:cubicBezTo>
                  <a:pt x="49" y="288"/>
                  <a:pt x="49" y="288"/>
                  <a:pt x="49" y="288"/>
                </a:cubicBezTo>
                <a:cubicBezTo>
                  <a:pt x="50" y="287"/>
                  <a:pt x="50" y="287"/>
                  <a:pt x="50" y="287"/>
                </a:cubicBezTo>
                <a:cubicBezTo>
                  <a:pt x="50" y="288"/>
                  <a:pt x="50" y="288"/>
                  <a:pt x="50" y="288"/>
                </a:cubicBezTo>
                <a:cubicBezTo>
                  <a:pt x="51" y="288"/>
                  <a:pt x="51" y="288"/>
                  <a:pt x="51" y="288"/>
                </a:cubicBezTo>
                <a:cubicBezTo>
                  <a:pt x="52" y="290"/>
                  <a:pt x="52" y="290"/>
                  <a:pt x="52" y="290"/>
                </a:cubicBezTo>
                <a:cubicBezTo>
                  <a:pt x="52" y="290"/>
                  <a:pt x="52" y="290"/>
                  <a:pt x="52" y="290"/>
                </a:cubicBezTo>
                <a:cubicBezTo>
                  <a:pt x="53" y="290"/>
                  <a:pt x="53" y="290"/>
                  <a:pt x="53" y="290"/>
                </a:cubicBezTo>
                <a:cubicBezTo>
                  <a:pt x="52" y="289"/>
                  <a:pt x="52" y="289"/>
                  <a:pt x="52" y="289"/>
                </a:cubicBezTo>
                <a:cubicBezTo>
                  <a:pt x="52" y="288"/>
                  <a:pt x="52" y="288"/>
                  <a:pt x="52" y="288"/>
                </a:cubicBezTo>
                <a:cubicBezTo>
                  <a:pt x="52" y="286"/>
                  <a:pt x="52" y="286"/>
                  <a:pt x="52" y="286"/>
                </a:cubicBezTo>
                <a:cubicBezTo>
                  <a:pt x="52" y="286"/>
                  <a:pt x="52" y="286"/>
                  <a:pt x="52" y="286"/>
                </a:cubicBezTo>
                <a:cubicBezTo>
                  <a:pt x="52" y="285"/>
                  <a:pt x="52" y="285"/>
                  <a:pt x="52" y="285"/>
                </a:cubicBezTo>
                <a:cubicBezTo>
                  <a:pt x="52" y="285"/>
                  <a:pt x="52" y="285"/>
                  <a:pt x="52" y="285"/>
                </a:cubicBezTo>
                <a:cubicBezTo>
                  <a:pt x="51" y="286"/>
                  <a:pt x="51" y="286"/>
                  <a:pt x="51" y="286"/>
                </a:cubicBezTo>
                <a:cubicBezTo>
                  <a:pt x="50" y="286"/>
                  <a:pt x="50" y="286"/>
                  <a:pt x="50" y="286"/>
                </a:cubicBezTo>
                <a:cubicBezTo>
                  <a:pt x="50" y="285"/>
                  <a:pt x="50" y="285"/>
                  <a:pt x="50" y="285"/>
                </a:cubicBezTo>
                <a:cubicBezTo>
                  <a:pt x="49" y="286"/>
                  <a:pt x="49" y="286"/>
                  <a:pt x="49" y="286"/>
                </a:cubicBezTo>
                <a:cubicBezTo>
                  <a:pt x="48" y="287"/>
                  <a:pt x="48" y="287"/>
                  <a:pt x="48" y="287"/>
                </a:cubicBezTo>
                <a:cubicBezTo>
                  <a:pt x="47" y="287"/>
                  <a:pt x="47" y="287"/>
                  <a:pt x="47" y="287"/>
                </a:cubicBezTo>
                <a:cubicBezTo>
                  <a:pt x="47" y="287"/>
                  <a:pt x="47" y="287"/>
                  <a:pt x="47" y="287"/>
                </a:cubicBezTo>
                <a:cubicBezTo>
                  <a:pt x="47" y="287"/>
                  <a:pt x="47" y="287"/>
                  <a:pt x="47" y="287"/>
                </a:cubicBezTo>
                <a:cubicBezTo>
                  <a:pt x="47" y="286"/>
                  <a:pt x="47" y="286"/>
                  <a:pt x="47" y="286"/>
                </a:cubicBezTo>
                <a:cubicBezTo>
                  <a:pt x="47" y="286"/>
                  <a:pt x="47" y="286"/>
                  <a:pt x="47" y="286"/>
                </a:cubicBezTo>
                <a:cubicBezTo>
                  <a:pt x="47" y="286"/>
                  <a:pt x="47" y="286"/>
                  <a:pt x="47" y="286"/>
                </a:cubicBezTo>
                <a:cubicBezTo>
                  <a:pt x="46" y="287"/>
                  <a:pt x="46" y="287"/>
                  <a:pt x="46" y="287"/>
                </a:cubicBezTo>
                <a:cubicBezTo>
                  <a:pt x="46" y="287"/>
                  <a:pt x="46" y="287"/>
                  <a:pt x="46" y="287"/>
                </a:cubicBezTo>
                <a:cubicBezTo>
                  <a:pt x="44" y="289"/>
                  <a:pt x="44" y="289"/>
                  <a:pt x="44" y="289"/>
                </a:cubicBezTo>
                <a:cubicBezTo>
                  <a:pt x="44" y="289"/>
                  <a:pt x="44" y="289"/>
                  <a:pt x="44" y="289"/>
                </a:cubicBezTo>
                <a:cubicBezTo>
                  <a:pt x="43" y="290"/>
                  <a:pt x="43" y="290"/>
                  <a:pt x="43" y="290"/>
                </a:cubicBezTo>
                <a:cubicBezTo>
                  <a:pt x="42" y="290"/>
                  <a:pt x="42" y="290"/>
                  <a:pt x="42" y="290"/>
                </a:cubicBezTo>
                <a:cubicBezTo>
                  <a:pt x="42" y="289"/>
                  <a:pt x="42" y="289"/>
                  <a:pt x="42" y="289"/>
                </a:cubicBezTo>
                <a:cubicBezTo>
                  <a:pt x="42" y="288"/>
                  <a:pt x="42" y="288"/>
                  <a:pt x="42" y="288"/>
                </a:cubicBezTo>
                <a:cubicBezTo>
                  <a:pt x="42" y="287"/>
                  <a:pt x="42" y="287"/>
                  <a:pt x="42" y="287"/>
                </a:cubicBezTo>
                <a:cubicBezTo>
                  <a:pt x="42" y="287"/>
                  <a:pt x="42" y="287"/>
                  <a:pt x="42" y="287"/>
                </a:cubicBezTo>
                <a:cubicBezTo>
                  <a:pt x="42" y="286"/>
                  <a:pt x="42" y="286"/>
                  <a:pt x="42" y="286"/>
                </a:cubicBezTo>
                <a:cubicBezTo>
                  <a:pt x="42" y="285"/>
                  <a:pt x="42" y="285"/>
                  <a:pt x="42" y="285"/>
                </a:cubicBezTo>
                <a:cubicBezTo>
                  <a:pt x="43" y="285"/>
                  <a:pt x="43" y="285"/>
                  <a:pt x="43" y="285"/>
                </a:cubicBezTo>
                <a:cubicBezTo>
                  <a:pt x="45" y="284"/>
                  <a:pt x="45" y="284"/>
                  <a:pt x="45" y="284"/>
                </a:cubicBezTo>
                <a:cubicBezTo>
                  <a:pt x="45" y="284"/>
                  <a:pt x="45" y="284"/>
                  <a:pt x="45" y="284"/>
                </a:cubicBezTo>
                <a:cubicBezTo>
                  <a:pt x="46" y="283"/>
                  <a:pt x="46" y="283"/>
                  <a:pt x="46" y="283"/>
                </a:cubicBezTo>
                <a:cubicBezTo>
                  <a:pt x="47" y="283"/>
                  <a:pt x="47" y="283"/>
                  <a:pt x="47" y="283"/>
                </a:cubicBezTo>
                <a:cubicBezTo>
                  <a:pt x="46" y="282"/>
                  <a:pt x="46" y="282"/>
                  <a:pt x="46" y="282"/>
                </a:cubicBezTo>
                <a:cubicBezTo>
                  <a:pt x="46" y="282"/>
                  <a:pt x="46" y="282"/>
                  <a:pt x="46" y="282"/>
                </a:cubicBezTo>
                <a:cubicBezTo>
                  <a:pt x="45" y="283"/>
                  <a:pt x="45" y="283"/>
                  <a:pt x="45" y="283"/>
                </a:cubicBezTo>
                <a:cubicBezTo>
                  <a:pt x="44" y="283"/>
                  <a:pt x="44" y="283"/>
                  <a:pt x="44" y="283"/>
                </a:cubicBezTo>
                <a:cubicBezTo>
                  <a:pt x="44" y="284"/>
                  <a:pt x="44" y="284"/>
                  <a:pt x="44" y="284"/>
                </a:cubicBezTo>
                <a:cubicBezTo>
                  <a:pt x="43" y="284"/>
                  <a:pt x="43" y="284"/>
                  <a:pt x="43" y="284"/>
                </a:cubicBezTo>
                <a:cubicBezTo>
                  <a:pt x="42" y="284"/>
                  <a:pt x="42" y="284"/>
                  <a:pt x="42" y="284"/>
                </a:cubicBezTo>
                <a:cubicBezTo>
                  <a:pt x="42" y="283"/>
                  <a:pt x="42" y="283"/>
                  <a:pt x="42" y="283"/>
                </a:cubicBezTo>
                <a:cubicBezTo>
                  <a:pt x="42" y="282"/>
                  <a:pt x="42" y="282"/>
                  <a:pt x="42" y="282"/>
                </a:cubicBezTo>
                <a:cubicBezTo>
                  <a:pt x="43" y="281"/>
                  <a:pt x="43" y="281"/>
                  <a:pt x="43" y="281"/>
                </a:cubicBezTo>
                <a:cubicBezTo>
                  <a:pt x="43" y="280"/>
                  <a:pt x="43" y="280"/>
                  <a:pt x="43" y="280"/>
                </a:cubicBezTo>
                <a:cubicBezTo>
                  <a:pt x="42" y="279"/>
                  <a:pt x="42" y="279"/>
                  <a:pt x="42" y="279"/>
                </a:cubicBezTo>
                <a:cubicBezTo>
                  <a:pt x="42" y="279"/>
                  <a:pt x="42" y="279"/>
                  <a:pt x="42" y="279"/>
                </a:cubicBezTo>
                <a:cubicBezTo>
                  <a:pt x="41" y="280"/>
                  <a:pt x="41" y="280"/>
                  <a:pt x="41" y="280"/>
                </a:cubicBezTo>
                <a:cubicBezTo>
                  <a:pt x="41" y="280"/>
                  <a:pt x="41" y="280"/>
                  <a:pt x="41" y="280"/>
                </a:cubicBezTo>
                <a:cubicBezTo>
                  <a:pt x="41" y="279"/>
                  <a:pt x="41" y="279"/>
                  <a:pt x="41" y="279"/>
                </a:cubicBezTo>
                <a:cubicBezTo>
                  <a:pt x="41" y="278"/>
                  <a:pt x="41" y="278"/>
                  <a:pt x="41" y="278"/>
                </a:cubicBezTo>
                <a:cubicBezTo>
                  <a:pt x="43" y="278"/>
                  <a:pt x="43" y="278"/>
                  <a:pt x="43" y="278"/>
                </a:cubicBezTo>
                <a:cubicBezTo>
                  <a:pt x="43" y="277"/>
                  <a:pt x="43" y="277"/>
                  <a:pt x="43" y="277"/>
                </a:cubicBezTo>
                <a:cubicBezTo>
                  <a:pt x="45" y="277"/>
                  <a:pt x="45" y="277"/>
                  <a:pt x="45" y="277"/>
                </a:cubicBezTo>
                <a:cubicBezTo>
                  <a:pt x="45" y="276"/>
                  <a:pt x="45" y="276"/>
                  <a:pt x="45" y="276"/>
                </a:cubicBezTo>
                <a:cubicBezTo>
                  <a:pt x="46" y="276"/>
                  <a:pt x="46" y="276"/>
                  <a:pt x="46" y="276"/>
                </a:cubicBezTo>
                <a:cubicBezTo>
                  <a:pt x="46" y="275"/>
                  <a:pt x="46" y="275"/>
                  <a:pt x="46" y="275"/>
                </a:cubicBezTo>
                <a:cubicBezTo>
                  <a:pt x="47" y="275"/>
                  <a:pt x="47" y="275"/>
                  <a:pt x="47" y="275"/>
                </a:cubicBezTo>
                <a:cubicBezTo>
                  <a:pt x="47" y="275"/>
                  <a:pt x="47" y="275"/>
                  <a:pt x="47" y="275"/>
                </a:cubicBezTo>
                <a:cubicBezTo>
                  <a:pt x="48" y="275"/>
                  <a:pt x="48" y="275"/>
                  <a:pt x="48" y="275"/>
                </a:cubicBezTo>
                <a:cubicBezTo>
                  <a:pt x="50" y="275"/>
                  <a:pt x="50" y="275"/>
                  <a:pt x="50" y="275"/>
                </a:cubicBezTo>
                <a:cubicBezTo>
                  <a:pt x="50" y="275"/>
                  <a:pt x="50" y="275"/>
                  <a:pt x="50" y="275"/>
                </a:cubicBezTo>
                <a:cubicBezTo>
                  <a:pt x="51" y="275"/>
                  <a:pt x="51" y="275"/>
                  <a:pt x="51" y="275"/>
                </a:cubicBezTo>
                <a:cubicBezTo>
                  <a:pt x="51" y="274"/>
                  <a:pt x="51" y="274"/>
                  <a:pt x="51" y="274"/>
                </a:cubicBezTo>
                <a:cubicBezTo>
                  <a:pt x="50" y="274"/>
                  <a:pt x="50" y="274"/>
                  <a:pt x="50" y="274"/>
                </a:cubicBezTo>
                <a:cubicBezTo>
                  <a:pt x="50" y="273"/>
                  <a:pt x="50" y="273"/>
                  <a:pt x="50" y="273"/>
                </a:cubicBezTo>
                <a:cubicBezTo>
                  <a:pt x="49" y="273"/>
                  <a:pt x="49" y="273"/>
                  <a:pt x="49" y="273"/>
                </a:cubicBezTo>
                <a:cubicBezTo>
                  <a:pt x="46" y="275"/>
                  <a:pt x="46" y="275"/>
                  <a:pt x="46" y="275"/>
                </a:cubicBezTo>
                <a:cubicBezTo>
                  <a:pt x="46" y="275"/>
                  <a:pt x="46" y="275"/>
                  <a:pt x="46" y="275"/>
                </a:cubicBezTo>
                <a:cubicBezTo>
                  <a:pt x="45" y="275"/>
                  <a:pt x="45" y="275"/>
                  <a:pt x="45" y="275"/>
                </a:cubicBezTo>
                <a:cubicBezTo>
                  <a:pt x="45" y="276"/>
                  <a:pt x="45" y="276"/>
                  <a:pt x="45" y="276"/>
                </a:cubicBezTo>
                <a:cubicBezTo>
                  <a:pt x="44" y="276"/>
                  <a:pt x="44" y="276"/>
                  <a:pt x="44" y="276"/>
                </a:cubicBezTo>
                <a:cubicBezTo>
                  <a:pt x="43" y="277"/>
                  <a:pt x="43" y="277"/>
                  <a:pt x="43" y="277"/>
                </a:cubicBezTo>
                <a:cubicBezTo>
                  <a:pt x="42" y="277"/>
                  <a:pt x="42" y="277"/>
                  <a:pt x="42" y="277"/>
                </a:cubicBezTo>
                <a:cubicBezTo>
                  <a:pt x="42" y="277"/>
                  <a:pt x="42" y="277"/>
                  <a:pt x="42" y="277"/>
                </a:cubicBezTo>
                <a:cubicBezTo>
                  <a:pt x="42" y="277"/>
                  <a:pt x="42" y="277"/>
                  <a:pt x="42" y="277"/>
                </a:cubicBezTo>
                <a:cubicBezTo>
                  <a:pt x="42" y="276"/>
                  <a:pt x="42" y="276"/>
                  <a:pt x="42" y="276"/>
                </a:cubicBezTo>
                <a:cubicBezTo>
                  <a:pt x="41" y="276"/>
                  <a:pt x="41" y="276"/>
                  <a:pt x="41" y="276"/>
                </a:cubicBezTo>
                <a:cubicBezTo>
                  <a:pt x="41" y="276"/>
                  <a:pt x="41" y="276"/>
                  <a:pt x="41" y="276"/>
                </a:cubicBezTo>
                <a:cubicBezTo>
                  <a:pt x="42" y="275"/>
                  <a:pt x="42" y="275"/>
                  <a:pt x="42" y="275"/>
                </a:cubicBezTo>
                <a:cubicBezTo>
                  <a:pt x="41" y="274"/>
                  <a:pt x="41" y="274"/>
                  <a:pt x="41" y="274"/>
                </a:cubicBezTo>
                <a:cubicBezTo>
                  <a:pt x="40" y="274"/>
                  <a:pt x="40" y="274"/>
                  <a:pt x="40" y="274"/>
                </a:cubicBezTo>
                <a:cubicBezTo>
                  <a:pt x="40" y="273"/>
                  <a:pt x="40" y="273"/>
                  <a:pt x="40" y="273"/>
                </a:cubicBezTo>
                <a:cubicBezTo>
                  <a:pt x="40" y="273"/>
                  <a:pt x="40" y="273"/>
                  <a:pt x="40" y="273"/>
                </a:cubicBezTo>
                <a:cubicBezTo>
                  <a:pt x="41" y="272"/>
                  <a:pt x="41" y="272"/>
                  <a:pt x="41" y="272"/>
                </a:cubicBezTo>
                <a:cubicBezTo>
                  <a:pt x="42" y="272"/>
                  <a:pt x="42" y="272"/>
                  <a:pt x="42" y="272"/>
                </a:cubicBezTo>
                <a:cubicBezTo>
                  <a:pt x="42" y="272"/>
                  <a:pt x="42" y="272"/>
                  <a:pt x="42" y="272"/>
                </a:cubicBezTo>
                <a:cubicBezTo>
                  <a:pt x="43" y="272"/>
                  <a:pt x="43" y="272"/>
                  <a:pt x="43" y="272"/>
                </a:cubicBezTo>
                <a:cubicBezTo>
                  <a:pt x="44" y="272"/>
                  <a:pt x="44" y="272"/>
                  <a:pt x="44" y="272"/>
                </a:cubicBezTo>
                <a:cubicBezTo>
                  <a:pt x="45" y="272"/>
                  <a:pt x="45" y="272"/>
                  <a:pt x="45" y="272"/>
                </a:cubicBezTo>
                <a:cubicBezTo>
                  <a:pt x="46" y="271"/>
                  <a:pt x="46" y="271"/>
                  <a:pt x="46" y="271"/>
                </a:cubicBezTo>
                <a:cubicBezTo>
                  <a:pt x="47" y="271"/>
                  <a:pt x="47" y="271"/>
                  <a:pt x="47" y="271"/>
                </a:cubicBezTo>
                <a:cubicBezTo>
                  <a:pt x="47" y="270"/>
                  <a:pt x="47" y="270"/>
                  <a:pt x="47" y="270"/>
                </a:cubicBezTo>
                <a:cubicBezTo>
                  <a:pt x="47" y="270"/>
                  <a:pt x="47" y="270"/>
                  <a:pt x="47" y="270"/>
                </a:cubicBezTo>
                <a:cubicBezTo>
                  <a:pt x="46" y="270"/>
                  <a:pt x="46" y="270"/>
                  <a:pt x="46" y="270"/>
                </a:cubicBezTo>
                <a:cubicBezTo>
                  <a:pt x="45" y="271"/>
                  <a:pt x="45" y="271"/>
                  <a:pt x="45" y="271"/>
                </a:cubicBezTo>
                <a:cubicBezTo>
                  <a:pt x="44" y="271"/>
                  <a:pt x="44" y="271"/>
                  <a:pt x="44" y="271"/>
                </a:cubicBezTo>
                <a:cubicBezTo>
                  <a:pt x="43" y="271"/>
                  <a:pt x="43" y="271"/>
                  <a:pt x="43" y="271"/>
                </a:cubicBezTo>
                <a:cubicBezTo>
                  <a:pt x="42" y="270"/>
                  <a:pt x="42" y="270"/>
                  <a:pt x="42" y="270"/>
                </a:cubicBezTo>
                <a:cubicBezTo>
                  <a:pt x="42" y="270"/>
                  <a:pt x="42" y="270"/>
                  <a:pt x="42" y="270"/>
                </a:cubicBezTo>
                <a:cubicBezTo>
                  <a:pt x="41" y="271"/>
                  <a:pt x="41" y="271"/>
                  <a:pt x="41" y="271"/>
                </a:cubicBezTo>
                <a:cubicBezTo>
                  <a:pt x="40" y="272"/>
                  <a:pt x="40" y="272"/>
                  <a:pt x="40" y="272"/>
                </a:cubicBezTo>
                <a:cubicBezTo>
                  <a:pt x="40" y="271"/>
                  <a:pt x="40" y="271"/>
                  <a:pt x="40" y="271"/>
                </a:cubicBezTo>
                <a:cubicBezTo>
                  <a:pt x="40" y="271"/>
                  <a:pt x="40" y="271"/>
                  <a:pt x="40" y="271"/>
                </a:cubicBezTo>
                <a:cubicBezTo>
                  <a:pt x="39" y="271"/>
                  <a:pt x="39" y="271"/>
                  <a:pt x="39" y="271"/>
                </a:cubicBezTo>
                <a:cubicBezTo>
                  <a:pt x="38" y="271"/>
                  <a:pt x="38" y="271"/>
                  <a:pt x="38" y="271"/>
                </a:cubicBezTo>
                <a:cubicBezTo>
                  <a:pt x="39" y="271"/>
                  <a:pt x="39" y="271"/>
                  <a:pt x="39" y="271"/>
                </a:cubicBezTo>
                <a:cubicBezTo>
                  <a:pt x="39" y="270"/>
                  <a:pt x="39" y="270"/>
                  <a:pt x="39" y="270"/>
                </a:cubicBezTo>
                <a:cubicBezTo>
                  <a:pt x="41" y="270"/>
                  <a:pt x="41" y="270"/>
                  <a:pt x="41" y="270"/>
                </a:cubicBezTo>
                <a:cubicBezTo>
                  <a:pt x="43" y="269"/>
                  <a:pt x="43" y="269"/>
                  <a:pt x="43" y="269"/>
                </a:cubicBezTo>
                <a:cubicBezTo>
                  <a:pt x="44" y="268"/>
                  <a:pt x="44" y="268"/>
                  <a:pt x="44" y="268"/>
                </a:cubicBezTo>
                <a:cubicBezTo>
                  <a:pt x="45" y="268"/>
                  <a:pt x="45" y="268"/>
                  <a:pt x="45" y="268"/>
                </a:cubicBezTo>
                <a:cubicBezTo>
                  <a:pt x="46" y="267"/>
                  <a:pt x="46" y="267"/>
                  <a:pt x="46" y="267"/>
                </a:cubicBezTo>
                <a:cubicBezTo>
                  <a:pt x="48" y="265"/>
                  <a:pt x="48" y="265"/>
                  <a:pt x="48" y="265"/>
                </a:cubicBezTo>
                <a:cubicBezTo>
                  <a:pt x="50" y="264"/>
                  <a:pt x="50" y="264"/>
                  <a:pt x="50" y="264"/>
                </a:cubicBezTo>
                <a:cubicBezTo>
                  <a:pt x="52" y="263"/>
                  <a:pt x="52" y="263"/>
                  <a:pt x="52" y="263"/>
                </a:cubicBezTo>
                <a:cubicBezTo>
                  <a:pt x="53" y="263"/>
                  <a:pt x="53" y="263"/>
                  <a:pt x="53" y="263"/>
                </a:cubicBezTo>
                <a:cubicBezTo>
                  <a:pt x="53" y="263"/>
                  <a:pt x="53" y="263"/>
                  <a:pt x="53" y="263"/>
                </a:cubicBezTo>
                <a:cubicBezTo>
                  <a:pt x="53" y="262"/>
                  <a:pt x="53" y="262"/>
                  <a:pt x="53" y="262"/>
                </a:cubicBezTo>
                <a:cubicBezTo>
                  <a:pt x="52" y="262"/>
                  <a:pt x="52" y="262"/>
                  <a:pt x="52" y="262"/>
                </a:cubicBezTo>
                <a:cubicBezTo>
                  <a:pt x="51" y="263"/>
                  <a:pt x="51" y="263"/>
                  <a:pt x="51" y="263"/>
                </a:cubicBezTo>
                <a:cubicBezTo>
                  <a:pt x="48" y="264"/>
                  <a:pt x="48" y="264"/>
                  <a:pt x="48" y="264"/>
                </a:cubicBezTo>
                <a:cubicBezTo>
                  <a:pt x="46" y="265"/>
                  <a:pt x="46" y="265"/>
                  <a:pt x="46" y="265"/>
                </a:cubicBezTo>
                <a:cubicBezTo>
                  <a:pt x="45" y="267"/>
                  <a:pt x="45" y="267"/>
                  <a:pt x="45" y="267"/>
                </a:cubicBezTo>
                <a:cubicBezTo>
                  <a:pt x="44" y="267"/>
                  <a:pt x="44" y="267"/>
                  <a:pt x="44" y="267"/>
                </a:cubicBezTo>
                <a:cubicBezTo>
                  <a:pt x="42" y="268"/>
                  <a:pt x="42" y="268"/>
                  <a:pt x="42" y="268"/>
                </a:cubicBezTo>
                <a:cubicBezTo>
                  <a:pt x="41" y="268"/>
                  <a:pt x="41" y="268"/>
                  <a:pt x="41" y="268"/>
                </a:cubicBezTo>
                <a:cubicBezTo>
                  <a:pt x="39" y="269"/>
                  <a:pt x="39" y="269"/>
                  <a:pt x="39" y="269"/>
                </a:cubicBezTo>
                <a:cubicBezTo>
                  <a:pt x="38" y="269"/>
                  <a:pt x="38" y="269"/>
                  <a:pt x="38" y="269"/>
                </a:cubicBezTo>
                <a:cubicBezTo>
                  <a:pt x="38" y="269"/>
                  <a:pt x="38" y="269"/>
                  <a:pt x="38" y="269"/>
                </a:cubicBezTo>
                <a:cubicBezTo>
                  <a:pt x="38" y="268"/>
                  <a:pt x="38" y="268"/>
                  <a:pt x="38" y="268"/>
                </a:cubicBezTo>
                <a:cubicBezTo>
                  <a:pt x="38" y="266"/>
                  <a:pt x="38" y="266"/>
                  <a:pt x="38" y="266"/>
                </a:cubicBezTo>
                <a:cubicBezTo>
                  <a:pt x="39" y="265"/>
                  <a:pt x="39" y="265"/>
                  <a:pt x="39" y="265"/>
                </a:cubicBezTo>
                <a:cubicBezTo>
                  <a:pt x="40" y="265"/>
                  <a:pt x="40" y="265"/>
                  <a:pt x="40" y="265"/>
                </a:cubicBezTo>
                <a:cubicBezTo>
                  <a:pt x="41" y="266"/>
                  <a:pt x="41" y="266"/>
                  <a:pt x="41" y="266"/>
                </a:cubicBezTo>
                <a:cubicBezTo>
                  <a:pt x="41" y="266"/>
                  <a:pt x="41" y="266"/>
                  <a:pt x="41" y="266"/>
                </a:cubicBezTo>
                <a:cubicBezTo>
                  <a:pt x="43" y="266"/>
                  <a:pt x="43" y="266"/>
                  <a:pt x="43" y="266"/>
                </a:cubicBezTo>
                <a:cubicBezTo>
                  <a:pt x="44" y="266"/>
                  <a:pt x="44" y="266"/>
                  <a:pt x="44" y="266"/>
                </a:cubicBezTo>
                <a:cubicBezTo>
                  <a:pt x="43" y="265"/>
                  <a:pt x="43" y="265"/>
                  <a:pt x="43" y="265"/>
                </a:cubicBezTo>
                <a:cubicBezTo>
                  <a:pt x="43" y="265"/>
                  <a:pt x="43" y="265"/>
                  <a:pt x="43" y="265"/>
                </a:cubicBezTo>
                <a:cubicBezTo>
                  <a:pt x="42" y="265"/>
                  <a:pt x="42" y="265"/>
                  <a:pt x="42" y="265"/>
                </a:cubicBezTo>
                <a:cubicBezTo>
                  <a:pt x="41" y="265"/>
                  <a:pt x="41" y="265"/>
                  <a:pt x="41" y="265"/>
                </a:cubicBezTo>
                <a:cubicBezTo>
                  <a:pt x="40" y="265"/>
                  <a:pt x="40" y="265"/>
                  <a:pt x="40" y="265"/>
                </a:cubicBezTo>
                <a:cubicBezTo>
                  <a:pt x="40" y="264"/>
                  <a:pt x="40" y="264"/>
                  <a:pt x="40" y="264"/>
                </a:cubicBezTo>
                <a:cubicBezTo>
                  <a:pt x="40" y="264"/>
                  <a:pt x="40" y="264"/>
                  <a:pt x="40" y="264"/>
                </a:cubicBezTo>
                <a:cubicBezTo>
                  <a:pt x="41" y="263"/>
                  <a:pt x="41" y="263"/>
                  <a:pt x="41" y="263"/>
                </a:cubicBezTo>
                <a:cubicBezTo>
                  <a:pt x="42" y="264"/>
                  <a:pt x="42" y="264"/>
                  <a:pt x="42" y="264"/>
                </a:cubicBezTo>
                <a:cubicBezTo>
                  <a:pt x="43" y="264"/>
                  <a:pt x="43" y="264"/>
                  <a:pt x="43" y="264"/>
                </a:cubicBezTo>
                <a:cubicBezTo>
                  <a:pt x="44" y="264"/>
                  <a:pt x="44" y="264"/>
                  <a:pt x="44" y="264"/>
                </a:cubicBezTo>
                <a:cubicBezTo>
                  <a:pt x="44" y="263"/>
                  <a:pt x="44" y="263"/>
                  <a:pt x="44" y="263"/>
                </a:cubicBezTo>
                <a:cubicBezTo>
                  <a:pt x="43" y="263"/>
                  <a:pt x="43" y="263"/>
                  <a:pt x="43" y="263"/>
                </a:cubicBezTo>
                <a:cubicBezTo>
                  <a:pt x="43" y="263"/>
                  <a:pt x="43" y="263"/>
                  <a:pt x="43" y="263"/>
                </a:cubicBezTo>
                <a:cubicBezTo>
                  <a:pt x="42" y="263"/>
                  <a:pt x="42" y="263"/>
                  <a:pt x="42" y="263"/>
                </a:cubicBezTo>
                <a:cubicBezTo>
                  <a:pt x="43" y="262"/>
                  <a:pt x="43" y="262"/>
                  <a:pt x="43" y="262"/>
                </a:cubicBezTo>
                <a:cubicBezTo>
                  <a:pt x="44" y="262"/>
                  <a:pt x="44" y="262"/>
                  <a:pt x="44" y="262"/>
                </a:cubicBezTo>
                <a:cubicBezTo>
                  <a:pt x="44" y="262"/>
                  <a:pt x="44" y="262"/>
                  <a:pt x="44" y="262"/>
                </a:cubicBezTo>
                <a:cubicBezTo>
                  <a:pt x="44" y="262"/>
                  <a:pt x="44" y="262"/>
                  <a:pt x="44" y="262"/>
                </a:cubicBezTo>
                <a:cubicBezTo>
                  <a:pt x="45" y="262"/>
                  <a:pt x="45" y="262"/>
                  <a:pt x="45" y="262"/>
                </a:cubicBezTo>
                <a:cubicBezTo>
                  <a:pt x="46" y="262"/>
                  <a:pt x="46" y="262"/>
                  <a:pt x="46" y="262"/>
                </a:cubicBezTo>
                <a:cubicBezTo>
                  <a:pt x="46" y="261"/>
                  <a:pt x="46" y="261"/>
                  <a:pt x="46" y="261"/>
                </a:cubicBezTo>
                <a:cubicBezTo>
                  <a:pt x="46" y="260"/>
                  <a:pt x="46" y="260"/>
                  <a:pt x="46" y="260"/>
                </a:cubicBezTo>
                <a:cubicBezTo>
                  <a:pt x="45" y="260"/>
                  <a:pt x="45" y="260"/>
                  <a:pt x="45" y="260"/>
                </a:cubicBezTo>
                <a:cubicBezTo>
                  <a:pt x="45" y="260"/>
                  <a:pt x="45" y="260"/>
                  <a:pt x="45" y="260"/>
                </a:cubicBezTo>
                <a:cubicBezTo>
                  <a:pt x="44" y="261"/>
                  <a:pt x="44" y="261"/>
                  <a:pt x="44" y="261"/>
                </a:cubicBezTo>
                <a:cubicBezTo>
                  <a:pt x="43" y="261"/>
                  <a:pt x="43" y="261"/>
                  <a:pt x="43" y="261"/>
                </a:cubicBezTo>
                <a:cubicBezTo>
                  <a:pt x="41" y="260"/>
                  <a:pt x="41" y="260"/>
                  <a:pt x="41" y="260"/>
                </a:cubicBezTo>
                <a:cubicBezTo>
                  <a:pt x="39" y="260"/>
                  <a:pt x="39" y="260"/>
                  <a:pt x="39" y="260"/>
                </a:cubicBezTo>
                <a:cubicBezTo>
                  <a:pt x="39" y="259"/>
                  <a:pt x="39" y="259"/>
                  <a:pt x="39" y="259"/>
                </a:cubicBezTo>
                <a:cubicBezTo>
                  <a:pt x="39" y="259"/>
                  <a:pt x="39" y="259"/>
                  <a:pt x="39" y="259"/>
                </a:cubicBezTo>
                <a:cubicBezTo>
                  <a:pt x="40" y="259"/>
                  <a:pt x="40" y="259"/>
                  <a:pt x="40" y="259"/>
                </a:cubicBezTo>
                <a:cubicBezTo>
                  <a:pt x="41" y="259"/>
                  <a:pt x="41" y="259"/>
                  <a:pt x="41" y="259"/>
                </a:cubicBezTo>
                <a:cubicBezTo>
                  <a:pt x="41" y="259"/>
                  <a:pt x="41" y="259"/>
                  <a:pt x="41" y="259"/>
                </a:cubicBezTo>
                <a:cubicBezTo>
                  <a:pt x="41" y="258"/>
                  <a:pt x="41" y="258"/>
                  <a:pt x="41" y="258"/>
                </a:cubicBezTo>
                <a:cubicBezTo>
                  <a:pt x="40" y="258"/>
                  <a:pt x="40" y="258"/>
                  <a:pt x="40" y="258"/>
                </a:cubicBezTo>
                <a:cubicBezTo>
                  <a:pt x="40" y="258"/>
                  <a:pt x="40" y="258"/>
                  <a:pt x="40" y="258"/>
                </a:cubicBezTo>
                <a:cubicBezTo>
                  <a:pt x="40" y="257"/>
                  <a:pt x="40" y="257"/>
                  <a:pt x="40" y="257"/>
                </a:cubicBezTo>
                <a:cubicBezTo>
                  <a:pt x="41" y="257"/>
                  <a:pt x="41" y="257"/>
                  <a:pt x="41" y="257"/>
                </a:cubicBezTo>
                <a:cubicBezTo>
                  <a:pt x="42" y="257"/>
                  <a:pt x="42" y="257"/>
                  <a:pt x="42" y="257"/>
                </a:cubicBezTo>
                <a:cubicBezTo>
                  <a:pt x="43" y="257"/>
                  <a:pt x="43" y="257"/>
                  <a:pt x="43" y="257"/>
                </a:cubicBezTo>
                <a:cubicBezTo>
                  <a:pt x="47" y="257"/>
                  <a:pt x="47" y="257"/>
                  <a:pt x="47" y="257"/>
                </a:cubicBezTo>
                <a:cubicBezTo>
                  <a:pt x="48" y="257"/>
                  <a:pt x="48" y="257"/>
                  <a:pt x="48" y="257"/>
                </a:cubicBezTo>
                <a:cubicBezTo>
                  <a:pt x="49" y="257"/>
                  <a:pt x="49" y="257"/>
                  <a:pt x="49" y="257"/>
                </a:cubicBezTo>
                <a:cubicBezTo>
                  <a:pt x="50" y="257"/>
                  <a:pt x="50" y="257"/>
                  <a:pt x="50" y="257"/>
                </a:cubicBezTo>
                <a:cubicBezTo>
                  <a:pt x="50" y="256"/>
                  <a:pt x="50" y="256"/>
                  <a:pt x="50" y="256"/>
                </a:cubicBezTo>
                <a:cubicBezTo>
                  <a:pt x="48" y="256"/>
                  <a:pt x="48" y="256"/>
                  <a:pt x="48" y="256"/>
                </a:cubicBezTo>
                <a:cubicBezTo>
                  <a:pt x="46" y="256"/>
                  <a:pt x="46" y="256"/>
                  <a:pt x="46" y="256"/>
                </a:cubicBezTo>
                <a:cubicBezTo>
                  <a:pt x="44" y="256"/>
                  <a:pt x="44" y="256"/>
                  <a:pt x="44" y="256"/>
                </a:cubicBezTo>
                <a:cubicBezTo>
                  <a:pt x="43" y="256"/>
                  <a:pt x="43" y="256"/>
                  <a:pt x="43" y="256"/>
                </a:cubicBezTo>
                <a:cubicBezTo>
                  <a:pt x="43" y="256"/>
                  <a:pt x="43" y="256"/>
                  <a:pt x="43" y="256"/>
                </a:cubicBezTo>
                <a:cubicBezTo>
                  <a:pt x="42" y="256"/>
                  <a:pt x="42" y="256"/>
                  <a:pt x="42" y="256"/>
                </a:cubicBezTo>
                <a:cubicBezTo>
                  <a:pt x="41" y="256"/>
                  <a:pt x="41" y="256"/>
                  <a:pt x="41" y="256"/>
                </a:cubicBezTo>
                <a:cubicBezTo>
                  <a:pt x="40" y="257"/>
                  <a:pt x="40" y="257"/>
                  <a:pt x="40" y="257"/>
                </a:cubicBezTo>
                <a:cubicBezTo>
                  <a:pt x="40" y="257"/>
                  <a:pt x="40" y="257"/>
                  <a:pt x="40" y="257"/>
                </a:cubicBezTo>
                <a:cubicBezTo>
                  <a:pt x="40" y="256"/>
                  <a:pt x="40" y="256"/>
                  <a:pt x="40" y="256"/>
                </a:cubicBezTo>
                <a:cubicBezTo>
                  <a:pt x="41" y="255"/>
                  <a:pt x="41" y="255"/>
                  <a:pt x="41" y="255"/>
                </a:cubicBezTo>
                <a:cubicBezTo>
                  <a:pt x="42" y="254"/>
                  <a:pt x="42" y="254"/>
                  <a:pt x="42" y="254"/>
                </a:cubicBezTo>
                <a:cubicBezTo>
                  <a:pt x="43" y="254"/>
                  <a:pt x="43" y="254"/>
                  <a:pt x="43" y="254"/>
                </a:cubicBezTo>
                <a:cubicBezTo>
                  <a:pt x="44" y="253"/>
                  <a:pt x="44" y="253"/>
                  <a:pt x="44" y="253"/>
                </a:cubicBezTo>
                <a:cubicBezTo>
                  <a:pt x="44" y="252"/>
                  <a:pt x="44" y="252"/>
                  <a:pt x="44" y="252"/>
                </a:cubicBezTo>
                <a:cubicBezTo>
                  <a:pt x="45" y="251"/>
                  <a:pt x="45" y="251"/>
                  <a:pt x="45" y="251"/>
                </a:cubicBezTo>
                <a:cubicBezTo>
                  <a:pt x="46" y="251"/>
                  <a:pt x="46" y="251"/>
                  <a:pt x="46" y="251"/>
                </a:cubicBezTo>
                <a:cubicBezTo>
                  <a:pt x="46" y="252"/>
                  <a:pt x="46" y="252"/>
                  <a:pt x="46" y="252"/>
                </a:cubicBezTo>
                <a:cubicBezTo>
                  <a:pt x="47" y="252"/>
                  <a:pt x="47" y="252"/>
                  <a:pt x="47" y="252"/>
                </a:cubicBezTo>
                <a:cubicBezTo>
                  <a:pt x="48" y="251"/>
                  <a:pt x="48" y="251"/>
                  <a:pt x="48" y="251"/>
                </a:cubicBezTo>
                <a:cubicBezTo>
                  <a:pt x="49" y="251"/>
                  <a:pt x="49" y="251"/>
                  <a:pt x="49" y="251"/>
                </a:cubicBezTo>
                <a:cubicBezTo>
                  <a:pt x="49" y="252"/>
                  <a:pt x="49" y="252"/>
                  <a:pt x="49" y="252"/>
                </a:cubicBezTo>
                <a:cubicBezTo>
                  <a:pt x="50" y="252"/>
                  <a:pt x="50" y="252"/>
                  <a:pt x="50" y="252"/>
                </a:cubicBezTo>
                <a:cubicBezTo>
                  <a:pt x="51" y="253"/>
                  <a:pt x="51" y="253"/>
                  <a:pt x="51" y="253"/>
                </a:cubicBezTo>
                <a:cubicBezTo>
                  <a:pt x="53" y="253"/>
                  <a:pt x="53" y="253"/>
                  <a:pt x="53" y="253"/>
                </a:cubicBezTo>
                <a:cubicBezTo>
                  <a:pt x="54" y="253"/>
                  <a:pt x="54" y="253"/>
                  <a:pt x="54" y="253"/>
                </a:cubicBezTo>
                <a:cubicBezTo>
                  <a:pt x="55" y="255"/>
                  <a:pt x="55" y="255"/>
                  <a:pt x="55" y="255"/>
                </a:cubicBezTo>
                <a:cubicBezTo>
                  <a:pt x="56" y="256"/>
                  <a:pt x="56" y="256"/>
                  <a:pt x="56" y="256"/>
                </a:cubicBezTo>
                <a:cubicBezTo>
                  <a:pt x="58" y="256"/>
                  <a:pt x="58" y="256"/>
                  <a:pt x="58" y="256"/>
                </a:cubicBezTo>
                <a:cubicBezTo>
                  <a:pt x="59" y="256"/>
                  <a:pt x="59" y="256"/>
                  <a:pt x="59" y="256"/>
                </a:cubicBezTo>
                <a:cubicBezTo>
                  <a:pt x="59" y="256"/>
                  <a:pt x="59" y="256"/>
                  <a:pt x="59" y="256"/>
                </a:cubicBezTo>
                <a:cubicBezTo>
                  <a:pt x="60" y="255"/>
                  <a:pt x="60" y="255"/>
                  <a:pt x="60" y="255"/>
                </a:cubicBezTo>
                <a:cubicBezTo>
                  <a:pt x="59" y="255"/>
                  <a:pt x="59" y="255"/>
                  <a:pt x="59" y="255"/>
                </a:cubicBezTo>
                <a:cubicBezTo>
                  <a:pt x="58" y="255"/>
                  <a:pt x="58" y="255"/>
                  <a:pt x="58" y="255"/>
                </a:cubicBezTo>
                <a:cubicBezTo>
                  <a:pt x="58" y="255"/>
                  <a:pt x="58" y="255"/>
                  <a:pt x="58" y="255"/>
                </a:cubicBezTo>
                <a:cubicBezTo>
                  <a:pt x="57" y="255"/>
                  <a:pt x="57" y="255"/>
                  <a:pt x="57" y="255"/>
                </a:cubicBezTo>
                <a:cubicBezTo>
                  <a:pt x="56" y="254"/>
                  <a:pt x="56" y="254"/>
                  <a:pt x="56" y="254"/>
                </a:cubicBezTo>
                <a:cubicBezTo>
                  <a:pt x="55" y="253"/>
                  <a:pt x="55" y="253"/>
                  <a:pt x="55" y="253"/>
                </a:cubicBezTo>
                <a:cubicBezTo>
                  <a:pt x="55" y="252"/>
                  <a:pt x="55" y="252"/>
                  <a:pt x="55" y="252"/>
                </a:cubicBezTo>
                <a:cubicBezTo>
                  <a:pt x="55" y="252"/>
                  <a:pt x="55" y="252"/>
                  <a:pt x="55" y="252"/>
                </a:cubicBezTo>
                <a:cubicBezTo>
                  <a:pt x="57" y="252"/>
                  <a:pt x="57" y="252"/>
                  <a:pt x="57" y="252"/>
                </a:cubicBezTo>
                <a:cubicBezTo>
                  <a:pt x="59" y="252"/>
                  <a:pt x="59" y="252"/>
                  <a:pt x="59" y="252"/>
                </a:cubicBezTo>
                <a:cubicBezTo>
                  <a:pt x="59" y="251"/>
                  <a:pt x="59" y="251"/>
                  <a:pt x="59" y="251"/>
                </a:cubicBezTo>
                <a:cubicBezTo>
                  <a:pt x="59" y="250"/>
                  <a:pt x="59" y="250"/>
                  <a:pt x="59" y="250"/>
                </a:cubicBezTo>
                <a:cubicBezTo>
                  <a:pt x="58" y="250"/>
                  <a:pt x="58" y="250"/>
                  <a:pt x="58" y="250"/>
                </a:cubicBezTo>
                <a:cubicBezTo>
                  <a:pt x="57" y="250"/>
                  <a:pt x="57" y="250"/>
                  <a:pt x="57" y="250"/>
                </a:cubicBezTo>
                <a:cubicBezTo>
                  <a:pt x="57" y="251"/>
                  <a:pt x="57" y="251"/>
                  <a:pt x="57" y="251"/>
                </a:cubicBezTo>
                <a:cubicBezTo>
                  <a:pt x="57" y="251"/>
                  <a:pt x="57" y="251"/>
                  <a:pt x="57" y="251"/>
                </a:cubicBezTo>
                <a:cubicBezTo>
                  <a:pt x="57" y="251"/>
                  <a:pt x="57" y="251"/>
                  <a:pt x="57" y="251"/>
                </a:cubicBezTo>
                <a:cubicBezTo>
                  <a:pt x="55" y="251"/>
                  <a:pt x="55" y="251"/>
                  <a:pt x="55" y="251"/>
                </a:cubicBezTo>
                <a:cubicBezTo>
                  <a:pt x="55" y="251"/>
                  <a:pt x="55" y="251"/>
                  <a:pt x="55" y="251"/>
                </a:cubicBezTo>
                <a:cubicBezTo>
                  <a:pt x="54" y="250"/>
                  <a:pt x="54" y="250"/>
                  <a:pt x="54" y="250"/>
                </a:cubicBezTo>
                <a:cubicBezTo>
                  <a:pt x="55" y="250"/>
                  <a:pt x="55" y="250"/>
                  <a:pt x="55" y="250"/>
                </a:cubicBezTo>
                <a:cubicBezTo>
                  <a:pt x="56" y="250"/>
                  <a:pt x="56" y="250"/>
                  <a:pt x="56" y="250"/>
                </a:cubicBezTo>
                <a:cubicBezTo>
                  <a:pt x="56" y="250"/>
                  <a:pt x="56" y="250"/>
                  <a:pt x="56" y="250"/>
                </a:cubicBezTo>
                <a:cubicBezTo>
                  <a:pt x="55" y="249"/>
                  <a:pt x="55" y="249"/>
                  <a:pt x="55" y="249"/>
                </a:cubicBezTo>
                <a:cubicBezTo>
                  <a:pt x="55" y="249"/>
                  <a:pt x="55" y="249"/>
                  <a:pt x="55" y="249"/>
                </a:cubicBezTo>
                <a:cubicBezTo>
                  <a:pt x="54" y="249"/>
                  <a:pt x="54" y="249"/>
                  <a:pt x="54" y="249"/>
                </a:cubicBezTo>
                <a:cubicBezTo>
                  <a:pt x="54" y="249"/>
                  <a:pt x="54" y="249"/>
                  <a:pt x="54" y="249"/>
                </a:cubicBezTo>
                <a:cubicBezTo>
                  <a:pt x="53" y="249"/>
                  <a:pt x="53" y="249"/>
                  <a:pt x="53" y="249"/>
                </a:cubicBezTo>
                <a:cubicBezTo>
                  <a:pt x="53" y="250"/>
                  <a:pt x="53" y="250"/>
                  <a:pt x="53" y="250"/>
                </a:cubicBezTo>
                <a:cubicBezTo>
                  <a:pt x="54" y="250"/>
                  <a:pt x="54" y="250"/>
                  <a:pt x="54" y="250"/>
                </a:cubicBezTo>
                <a:cubicBezTo>
                  <a:pt x="54" y="251"/>
                  <a:pt x="54" y="251"/>
                  <a:pt x="54" y="251"/>
                </a:cubicBezTo>
                <a:cubicBezTo>
                  <a:pt x="53" y="252"/>
                  <a:pt x="53" y="252"/>
                  <a:pt x="53" y="252"/>
                </a:cubicBezTo>
                <a:cubicBezTo>
                  <a:pt x="52" y="252"/>
                  <a:pt x="52" y="252"/>
                  <a:pt x="52" y="252"/>
                </a:cubicBezTo>
                <a:cubicBezTo>
                  <a:pt x="51" y="252"/>
                  <a:pt x="51" y="252"/>
                  <a:pt x="51" y="252"/>
                </a:cubicBezTo>
                <a:cubicBezTo>
                  <a:pt x="50" y="251"/>
                  <a:pt x="50" y="251"/>
                  <a:pt x="50" y="251"/>
                </a:cubicBezTo>
                <a:cubicBezTo>
                  <a:pt x="49" y="251"/>
                  <a:pt x="49" y="251"/>
                  <a:pt x="49" y="251"/>
                </a:cubicBezTo>
                <a:cubicBezTo>
                  <a:pt x="49" y="250"/>
                  <a:pt x="49" y="250"/>
                  <a:pt x="49" y="250"/>
                </a:cubicBezTo>
                <a:cubicBezTo>
                  <a:pt x="48" y="250"/>
                  <a:pt x="48" y="250"/>
                  <a:pt x="48" y="250"/>
                </a:cubicBezTo>
                <a:cubicBezTo>
                  <a:pt x="48" y="250"/>
                  <a:pt x="48" y="250"/>
                  <a:pt x="48" y="250"/>
                </a:cubicBezTo>
                <a:cubicBezTo>
                  <a:pt x="47" y="250"/>
                  <a:pt x="47" y="250"/>
                  <a:pt x="47" y="250"/>
                </a:cubicBezTo>
                <a:cubicBezTo>
                  <a:pt x="46" y="250"/>
                  <a:pt x="46" y="250"/>
                  <a:pt x="46" y="250"/>
                </a:cubicBezTo>
                <a:cubicBezTo>
                  <a:pt x="45" y="250"/>
                  <a:pt x="45" y="250"/>
                  <a:pt x="45" y="250"/>
                </a:cubicBezTo>
                <a:cubicBezTo>
                  <a:pt x="44" y="251"/>
                  <a:pt x="44" y="251"/>
                  <a:pt x="44" y="251"/>
                </a:cubicBezTo>
                <a:cubicBezTo>
                  <a:pt x="43" y="252"/>
                  <a:pt x="43" y="252"/>
                  <a:pt x="43" y="252"/>
                </a:cubicBezTo>
                <a:cubicBezTo>
                  <a:pt x="42" y="253"/>
                  <a:pt x="42" y="253"/>
                  <a:pt x="42" y="253"/>
                </a:cubicBezTo>
                <a:cubicBezTo>
                  <a:pt x="42" y="252"/>
                  <a:pt x="42" y="252"/>
                  <a:pt x="42" y="252"/>
                </a:cubicBezTo>
                <a:cubicBezTo>
                  <a:pt x="42" y="252"/>
                  <a:pt x="42" y="252"/>
                  <a:pt x="42" y="252"/>
                </a:cubicBezTo>
                <a:cubicBezTo>
                  <a:pt x="43" y="250"/>
                  <a:pt x="43" y="250"/>
                  <a:pt x="43" y="250"/>
                </a:cubicBezTo>
                <a:cubicBezTo>
                  <a:pt x="44" y="250"/>
                  <a:pt x="44" y="250"/>
                  <a:pt x="44" y="250"/>
                </a:cubicBezTo>
                <a:cubicBezTo>
                  <a:pt x="44" y="250"/>
                  <a:pt x="44" y="250"/>
                  <a:pt x="44" y="250"/>
                </a:cubicBezTo>
                <a:cubicBezTo>
                  <a:pt x="44" y="249"/>
                  <a:pt x="44" y="249"/>
                  <a:pt x="44" y="249"/>
                </a:cubicBezTo>
                <a:cubicBezTo>
                  <a:pt x="44" y="249"/>
                  <a:pt x="44" y="249"/>
                  <a:pt x="44" y="249"/>
                </a:cubicBezTo>
                <a:cubicBezTo>
                  <a:pt x="45" y="248"/>
                  <a:pt x="45" y="248"/>
                  <a:pt x="45" y="248"/>
                </a:cubicBezTo>
                <a:cubicBezTo>
                  <a:pt x="45" y="248"/>
                  <a:pt x="45" y="248"/>
                  <a:pt x="45" y="248"/>
                </a:cubicBezTo>
                <a:cubicBezTo>
                  <a:pt x="46" y="247"/>
                  <a:pt x="46" y="247"/>
                  <a:pt x="46" y="247"/>
                </a:cubicBezTo>
                <a:cubicBezTo>
                  <a:pt x="46" y="247"/>
                  <a:pt x="46" y="247"/>
                  <a:pt x="46" y="247"/>
                </a:cubicBezTo>
                <a:cubicBezTo>
                  <a:pt x="47" y="248"/>
                  <a:pt x="47" y="248"/>
                  <a:pt x="47" y="248"/>
                </a:cubicBezTo>
                <a:cubicBezTo>
                  <a:pt x="48" y="248"/>
                  <a:pt x="48" y="248"/>
                  <a:pt x="48" y="248"/>
                </a:cubicBezTo>
                <a:cubicBezTo>
                  <a:pt x="50" y="248"/>
                  <a:pt x="50" y="248"/>
                  <a:pt x="50" y="248"/>
                </a:cubicBezTo>
                <a:cubicBezTo>
                  <a:pt x="50" y="248"/>
                  <a:pt x="50" y="248"/>
                  <a:pt x="50" y="248"/>
                </a:cubicBezTo>
                <a:cubicBezTo>
                  <a:pt x="49" y="248"/>
                  <a:pt x="49" y="248"/>
                  <a:pt x="49" y="248"/>
                </a:cubicBezTo>
                <a:cubicBezTo>
                  <a:pt x="48" y="248"/>
                  <a:pt x="48" y="248"/>
                  <a:pt x="48" y="248"/>
                </a:cubicBezTo>
                <a:cubicBezTo>
                  <a:pt x="48" y="247"/>
                  <a:pt x="48" y="247"/>
                  <a:pt x="48" y="247"/>
                </a:cubicBezTo>
                <a:cubicBezTo>
                  <a:pt x="46" y="246"/>
                  <a:pt x="46" y="246"/>
                  <a:pt x="46" y="246"/>
                </a:cubicBezTo>
                <a:cubicBezTo>
                  <a:pt x="46" y="245"/>
                  <a:pt x="46" y="245"/>
                  <a:pt x="46" y="245"/>
                </a:cubicBezTo>
                <a:cubicBezTo>
                  <a:pt x="45" y="245"/>
                  <a:pt x="45" y="245"/>
                  <a:pt x="45" y="245"/>
                </a:cubicBezTo>
                <a:cubicBezTo>
                  <a:pt x="45" y="244"/>
                  <a:pt x="45" y="244"/>
                  <a:pt x="45" y="244"/>
                </a:cubicBezTo>
                <a:cubicBezTo>
                  <a:pt x="46" y="244"/>
                  <a:pt x="46" y="244"/>
                  <a:pt x="46" y="244"/>
                </a:cubicBezTo>
                <a:cubicBezTo>
                  <a:pt x="47" y="244"/>
                  <a:pt x="47" y="244"/>
                  <a:pt x="47" y="244"/>
                </a:cubicBezTo>
                <a:cubicBezTo>
                  <a:pt x="48" y="246"/>
                  <a:pt x="48" y="246"/>
                  <a:pt x="48" y="246"/>
                </a:cubicBezTo>
                <a:cubicBezTo>
                  <a:pt x="49" y="247"/>
                  <a:pt x="49" y="247"/>
                  <a:pt x="49" y="247"/>
                </a:cubicBezTo>
                <a:cubicBezTo>
                  <a:pt x="49" y="247"/>
                  <a:pt x="49" y="247"/>
                  <a:pt x="49" y="247"/>
                </a:cubicBezTo>
                <a:cubicBezTo>
                  <a:pt x="49" y="246"/>
                  <a:pt x="49" y="246"/>
                  <a:pt x="49" y="246"/>
                </a:cubicBezTo>
                <a:cubicBezTo>
                  <a:pt x="49" y="245"/>
                  <a:pt x="49" y="245"/>
                  <a:pt x="49" y="245"/>
                </a:cubicBezTo>
                <a:cubicBezTo>
                  <a:pt x="49" y="245"/>
                  <a:pt x="49" y="245"/>
                  <a:pt x="49" y="245"/>
                </a:cubicBezTo>
                <a:cubicBezTo>
                  <a:pt x="50" y="246"/>
                  <a:pt x="50" y="246"/>
                  <a:pt x="50" y="246"/>
                </a:cubicBezTo>
                <a:cubicBezTo>
                  <a:pt x="50" y="246"/>
                  <a:pt x="50" y="246"/>
                  <a:pt x="50" y="246"/>
                </a:cubicBezTo>
                <a:cubicBezTo>
                  <a:pt x="52" y="248"/>
                  <a:pt x="52" y="248"/>
                  <a:pt x="52" y="248"/>
                </a:cubicBezTo>
                <a:cubicBezTo>
                  <a:pt x="53" y="248"/>
                  <a:pt x="53" y="248"/>
                  <a:pt x="53" y="248"/>
                </a:cubicBezTo>
                <a:cubicBezTo>
                  <a:pt x="54" y="247"/>
                  <a:pt x="54" y="247"/>
                  <a:pt x="54" y="247"/>
                </a:cubicBezTo>
                <a:cubicBezTo>
                  <a:pt x="55" y="247"/>
                  <a:pt x="55" y="247"/>
                  <a:pt x="55" y="247"/>
                </a:cubicBezTo>
                <a:cubicBezTo>
                  <a:pt x="55" y="248"/>
                  <a:pt x="55" y="248"/>
                  <a:pt x="55" y="248"/>
                </a:cubicBezTo>
                <a:cubicBezTo>
                  <a:pt x="57" y="249"/>
                  <a:pt x="57" y="249"/>
                  <a:pt x="57" y="249"/>
                </a:cubicBezTo>
                <a:cubicBezTo>
                  <a:pt x="58" y="249"/>
                  <a:pt x="58" y="249"/>
                  <a:pt x="58" y="249"/>
                </a:cubicBezTo>
                <a:cubicBezTo>
                  <a:pt x="58" y="249"/>
                  <a:pt x="58" y="249"/>
                  <a:pt x="58" y="249"/>
                </a:cubicBezTo>
                <a:cubicBezTo>
                  <a:pt x="59" y="249"/>
                  <a:pt x="59" y="249"/>
                  <a:pt x="59" y="249"/>
                </a:cubicBezTo>
                <a:cubicBezTo>
                  <a:pt x="59" y="249"/>
                  <a:pt x="59" y="249"/>
                  <a:pt x="59" y="249"/>
                </a:cubicBezTo>
                <a:cubicBezTo>
                  <a:pt x="58" y="248"/>
                  <a:pt x="58" y="248"/>
                  <a:pt x="58" y="248"/>
                </a:cubicBezTo>
                <a:cubicBezTo>
                  <a:pt x="55" y="246"/>
                  <a:pt x="55" y="246"/>
                  <a:pt x="55" y="246"/>
                </a:cubicBezTo>
                <a:cubicBezTo>
                  <a:pt x="55" y="245"/>
                  <a:pt x="55" y="245"/>
                  <a:pt x="55" y="245"/>
                </a:cubicBezTo>
                <a:cubicBezTo>
                  <a:pt x="55" y="245"/>
                  <a:pt x="55" y="245"/>
                  <a:pt x="55" y="245"/>
                </a:cubicBezTo>
                <a:cubicBezTo>
                  <a:pt x="56" y="244"/>
                  <a:pt x="56" y="244"/>
                  <a:pt x="56" y="244"/>
                </a:cubicBezTo>
                <a:cubicBezTo>
                  <a:pt x="57" y="244"/>
                  <a:pt x="57" y="244"/>
                  <a:pt x="57" y="244"/>
                </a:cubicBezTo>
                <a:cubicBezTo>
                  <a:pt x="57" y="243"/>
                  <a:pt x="57" y="243"/>
                  <a:pt x="57" y="243"/>
                </a:cubicBezTo>
                <a:cubicBezTo>
                  <a:pt x="57" y="243"/>
                  <a:pt x="57" y="243"/>
                  <a:pt x="57" y="243"/>
                </a:cubicBezTo>
                <a:cubicBezTo>
                  <a:pt x="57" y="242"/>
                  <a:pt x="57" y="242"/>
                  <a:pt x="57" y="242"/>
                </a:cubicBezTo>
                <a:cubicBezTo>
                  <a:pt x="57" y="242"/>
                  <a:pt x="57" y="242"/>
                  <a:pt x="57" y="242"/>
                </a:cubicBezTo>
                <a:cubicBezTo>
                  <a:pt x="56" y="243"/>
                  <a:pt x="56" y="243"/>
                  <a:pt x="56" y="243"/>
                </a:cubicBezTo>
                <a:cubicBezTo>
                  <a:pt x="54" y="243"/>
                  <a:pt x="54" y="243"/>
                  <a:pt x="54" y="243"/>
                </a:cubicBezTo>
                <a:cubicBezTo>
                  <a:pt x="54" y="243"/>
                  <a:pt x="54" y="243"/>
                  <a:pt x="54" y="243"/>
                </a:cubicBezTo>
                <a:cubicBezTo>
                  <a:pt x="54" y="243"/>
                  <a:pt x="54" y="243"/>
                  <a:pt x="54" y="243"/>
                </a:cubicBezTo>
                <a:cubicBezTo>
                  <a:pt x="55" y="244"/>
                  <a:pt x="55" y="244"/>
                  <a:pt x="55" y="244"/>
                </a:cubicBezTo>
                <a:cubicBezTo>
                  <a:pt x="55" y="244"/>
                  <a:pt x="55" y="244"/>
                  <a:pt x="55" y="244"/>
                </a:cubicBezTo>
                <a:cubicBezTo>
                  <a:pt x="53" y="244"/>
                  <a:pt x="53" y="244"/>
                  <a:pt x="53" y="244"/>
                </a:cubicBezTo>
                <a:cubicBezTo>
                  <a:pt x="53" y="245"/>
                  <a:pt x="53" y="245"/>
                  <a:pt x="53" y="245"/>
                </a:cubicBezTo>
                <a:cubicBezTo>
                  <a:pt x="52" y="244"/>
                  <a:pt x="52" y="244"/>
                  <a:pt x="52" y="244"/>
                </a:cubicBezTo>
                <a:cubicBezTo>
                  <a:pt x="51" y="245"/>
                  <a:pt x="51" y="245"/>
                  <a:pt x="51" y="245"/>
                </a:cubicBezTo>
                <a:cubicBezTo>
                  <a:pt x="50" y="244"/>
                  <a:pt x="50" y="244"/>
                  <a:pt x="50" y="244"/>
                </a:cubicBezTo>
                <a:cubicBezTo>
                  <a:pt x="49" y="244"/>
                  <a:pt x="49" y="244"/>
                  <a:pt x="49" y="244"/>
                </a:cubicBezTo>
                <a:cubicBezTo>
                  <a:pt x="49" y="243"/>
                  <a:pt x="49" y="243"/>
                  <a:pt x="49" y="243"/>
                </a:cubicBezTo>
                <a:cubicBezTo>
                  <a:pt x="49" y="243"/>
                  <a:pt x="49" y="243"/>
                  <a:pt x="49" y="243"/>
                </a:cubicBezTo>
                <a:cubicBezTo>
                  <a:pt x="50" y="242"/>
                  <a:pt x="50" y="242"/>
                  <a:pt x="50" y="242"/>
                </a:cubicBezTo>
                <a:cubicBezTo>
                  <a:pt x="49" y="242"/>
                  <a:pt x="49" y="242"/>
                  <a:pt x="49" y="242"/>
                </a:cubicBezTo>
                <a:cubicBezTo>
                  <a:pt x="48" y="242"/>
                  <a:pt x="48" y="242"/>
                  <a:pt x="48" y="242"/>
                </a:cubicBezTo>
                <a:cubicBezTo>
                  <a:pt x="48" y="242"/>
                  <a:pt x="48" y="242"/>
                  <a:pt x="48" y="242"/>
                </a:cubicBezTo>
                <a:cubicBezTo>
                  <a:pt x="49" y="242"/>
                  <a:pt x="49" y="242"/>
                  <a:pt x="49" y="242"/>
                </a:cubicBezTo>
                <a:cubicBezTo>
                  <a:pt x="51" y="241"/>
                  <a:pt x="51" y="241"/>
                  <a:pt x="51" y="241"/>
                </a:cubicBezTo>
                <a:cubicBezTo>
                  <a:pt x="52" y="241"/>
                  <a:pt x="52" y="241"/>
                  <a:pt x="52" y="241"/>
                </a:cubicBezTo>
                <a:cubicBezTo>
                  <a:pt x="53" y="241"/>
                  <a:pt x="53" y="241"/>
                  <a:pt x="53" y="241"/>
                </a:cubicBezTo>
                <a:cubicBezTo>
                  <a:pt x="54" y="241"/>
                  <a:pt x="54" y="241"/>
                  <a:pt x="54" y="241"/>
                </a:cubicBezTo>
                <a:cubicBezTo>
                  <a:pt x="55" y="241"/>
                  <a:pt x="55" y="241"/>
                  <a:pt x="55" y="241"/>
                </a:cubicBezTo>
                <a:cubicBezTo>
                  <a:pt x="56" y="241"/>
                  <a:pt x="56" y="241"/>
                  <a:pt x="56" y="241"/>
                </a:cubicBezTo>
                <a:cubicBezTo>
                  <a:pt x="57" y="241"/>
                  <a:pt x="57" y="241"/>
                  <a:pt x="57" y="241"/>
                </a:cubicBezTo>
                <a:cubicBezTo>
                  <a:pt x="57" y="240"/>
                  <a:pt x="57" y="240"/>
                  <a:pt x="57" y="240"/>
                </a:cubicBezTo>
                <a:cubicBezTo>
                  <a:pt x="58" y="240"/>
                  <a:pt x="58" y="240"/>
                  <a:pt x="58" y="240"/>
                </a:cubicBezTo>
                <a:cubicBezTo>
                  <a:pt x="58" y="240"/>
                  <a:pt x="58" y="240"/>
                  <a:pt x="58" y="240"/>
                </a:cubicBezTo>
                <a:cubicBezTo>
                  <a:pt x="59" y="239"/>
                  <a:pt x="59" y="239"/>
                  <a:pt x="59" y="239"/>
                </a:cubicBezTo>
                <a:cubicBezTo>
                  <a:pt x="59" y="238"/>
                  <a:pt x="59" y="238"/>
                  <a:pt x="59" y="238"/>
                </a:cubicBezTo>
                <a:cubicBezTo>
                  <a:pt x="59" y="238"/>
                  <a:pt x="59" y="238"/>
                  <a:pt x="59" y="238"/>
                </a:cubicBezTo>
                <a:cubicBezTo>
                  <a:pt x="58" y="239"/>
                  <a:pt x="58" y="239"/>
                  <a:pt x="58" y="239"/>
                </a:cubicBezTo>
                <a:cubicBezTo>
                  <a:pt x="57" y="239"/>
                  <a:pt x="57" y="239"/>
                  <a:pt x="57" y="239"/>
                </a:cubicBezTo>
                <a:cubicBezTo>
                  <a:pt x="57" y="238"/>
                  <a:pt x="57" y="238"/>
                  <a:pt x="57" y="238"/>
                </a:cubicBezTo>
                <a:cubicBezTo>
                  <a:pt x="58" y="237"/>
                  <a:pt x="58" y="237"/>
                  <a:pt x="58" y="237"/>
                </a:cubicBezTo>
                <a:cubicBezTo>
                  <a:pt x="59" y="235"/>
                  <a:pt x="59" y="235"/>
                  <a:pt x="59" y="235"/>
                </a:cubicBezTo>
                <a:cubicBezTo>
                  <a:pt x="58" y="234"/>
                  <a:pt x="58" y="234"/>
                  <a:pt x="58" y="234"/>
                </a:cubicBezTo>
                <a:cubicBezTo>
                  <a:pt x="59" y="234"/>
                  <a:pt x="59" y="234"/>
                  <a:pt x="59" y="234"/>
                </a:cubicBezTo>
                <a:cubicBezTo>
                  <a:pt x="59" y="234"/>
                  <a:pt x="59" y="234"/>
                  <a:pt x="59" y="234"/>
                </a:cubicBezTo>
                <a:cubicBezTo>
                  <a:pt x="60" y="235"/>
                  <a:pt x="60" y="235"/>
                  <a:pt x="60" y="235"/>
                </a:cubicBezTo>
                <a:cubicBezTo>
                  <a:pt x="60" y="236"/>
                  <a:pt x="60" y="236"/>
                  <a:pt x="60" y="236"/>
                </a:cubicBezTo>
                <a:cubicBezTo>
                  <a:pt x="60" y="236"/>
                  <a:pt x="60" y="236"/>
                  <a:pt x="60" y="236"/>
                </a:cubicBezTo>
                <a:cubicBezTo>
                  <a:pt x="61" y="236"/>
                  <a:pt x="61" y="236"/>
                  <a:pt x="61" y="236"/>
                </a:cubicBezTo>
                <a:cubicBezTo>
                  <a:pt x="62" y="236"/>
                  <a:pt x="62" y="236"/>
                  <a:pt x="62" y="236"/>
                </a:cubicBezTo>
                <a:cubicBezTo>
                  <a:pt x="62" y="237"/>
                  <a:pt x="62" y="237"/>
                  <a:pt x="62" y="237"/>
                </a:cubicBezTo>
                <a:cubicBezTo>
                  <a:pt x="63" y="237"/>
                  <a:pt x="63" y="237"/>
                  <a:pt x="63" y="237"/>
                </a:cubicBezTo>
                <a:cubicBezTo>
                  <a:pt x="63" y="236"/>
                  <a:pt x="63" y="236"/>
                  <a:pt x="63" y="236"/>
                </a:cubicBezTo>
                <a:cubicBezTo>
                  <a:pt x="63" y="237"/>
                  <a:pt x="63" y="237"/>
                  <a:pt x="63" y="237"/>
                </a:cubicBezTo>
                <a:cubicBezTo>
                  <a:pt x="64" y="237"/>
                  <a:pt x="64" y="237"/>
                  <a:pt x="64" y="237"/>
                </a:cubicBezTo>
                <a:cubicBezTo>
                  <a:pt x="64" y="236"/>
                  <a:pt x="64" y="236"/>
                  <a:pt x="64" y="236"/>
                </a:cubicBezTo>
                <a:cubicBezTo>
                  <a:pt x="63" y="236"/>
                  <a:pt x="63" y="236"/>
                  <a:pt x="63" y="236"/>
                </a:cubicBezTo>
                <a:cubicBezTo>
                  <a:pt x="62" y="235"/>
                  <a:pt x="62" y="235"/>
                  <a:pt x="62" y="235"/>
                </a:cubicBezTo>
                <a:cubicBezTo>
                  <a:pt x="62" y="235"/>
                  <a:pt x="62" y="235"/>
                  <a:pt x="62" y="235"/>
                </a:cubicBezTo>
                <a:cubicBezTo>
                  <a:pt x="63" y="235"/>
                  <a:pt x="63" y="235"/>
                  <a:pt x="63" y="235"/>
                </a:cubicBezTo>
                <a:cubicBezTo>
                  <a:pt x="64" y="235"/>
                  <a:pt x="64" y="235"/>
                  <a:pt x="64" y="235"/>
                </a:cubicBezTo>
                <a:cubicBezTo>
                  <a:pt x="64" y="234"/>
                  <a:pt x="64" y="234"/>
                  <a:pt x="64" y="234"/>
                </a:cubicBezTo>
                <a:cubicBezTo>
                  <a:pt x="63" y="234"/>
                  <a:pt x="63" y="234"/>
                  <a:pt x="63" y="234"/>
                </a:cubicBezTo>
                <a:cubicBezTo>
                  <a:pt x="63" y="234"/>
                  <a:pt x="63" y="234"/>
                  <a:pt x="63" y="234"/>
                </a:cubicBezTo>
                <a:cubicBezTo>
                  <a:pt x="62" y="233"/>
                  <a:pt x="62" y="233"/>
                  <a:pt x="62" y="233"/>
                </a:cubicBezTo>
                <a:cubicBezTo>
                  <a:pt x="62" y="233"/>
                  <a:pt x="62" y="233"/>
                  <a:pt x="62" y="233"/>
                </a:cubicBezTo>
                <a:cubicBezTo>
                  <a:pt x="61" y="233"/>
                  <a:pt x="61" y="233"/>
                  <a:pt x="61" y="233"/>
                </a:cubicBezTo>
                <a:cubicBezTo>
                  <a:pt x="61" y="233"/>
                  <a:pt x="61" y="233"/>
                  <a:pt x="61" y="233"/>
                </a:cubicBezTo>
                <a:cubicBezTo>
                  <a:pt x="60" y="233"/>
                  <a:pt x="60" y="233"/>
                  <a:pt x="60" y="233"/>
                </a:cubicBezTo>
                <a:cubicBezTo>
                  <a:pt x="60" y="233"/>
                  <a:pt x="60" y="233"/>
                  <a:pt x="60" y="233"/>
                </a:cubicBezTo>
                <a:cubicBezTo>
                  <a:pt x="60" y="232"/>
                  <a:pt x="60" y="232"/>
                  <a:pt x="60" y="232"/>
                </a:cubicBezTo>
                <a:cubicBezTo>
                  <a:pt x="61" y="232"/>
                  <a:pt x="61" y="232"/>
                  <a:pt x="61" y="232"/>
                </a:cubicBezTo>
                <a:cubicBezTo>
                  <a:pt x="62" y="231"/>
                  <a:pt x="62" y="231"/>
                  <a:pt x="62" y="231"/>
                </a:cubicBezTo>
                <a:cubicBezTo>
                  <a:pt x="62" y="230"/>
                  <a:pt x="62" y="230"/>
                  <a:pt x="62" y="230"/>
                </a:cubicBezTo>
                <a:cubicBezTo>
                  <a:pt x="63" y="230"/>
                  <a:pt x="63" y="230"/>
                  <a:pt x="63" y="230"/>
                </a:cubicBezTo>
                <a:cubicBezTo>
                  <a:pt x="63" y="230"/>
                  <a:pt x="63" y="230"/>
                  <a:pt x="63" y="230"/>
                </a:cubicBezTo>
                <a:cubicBezTo>
                  <a:pt x="64" y="230"/>
                  <a:pt x="64" y="230"/>
                  <a:pt x="64" y="230"/>
                </a:cubicBezTo>
                <a:cubicBezTo>
                  <a:pt x="64" y="230"/>
                  <a:pt x="64" y="230"/>
                  <a:pt x="64" y="230"/>
                </a:cubicBezTo>
                <a:cubicBezTo>
                  <a:pt x="63" y="229"/>
                  <a:pt x="63" y="229"/>
                  <a:pt x="63" y="229"/>
                </a:cubicBezTo>
                <a:cubicBezTo>
                  <a:pt x="62" y="229"/>
                  <a:pt x="62" y="229"/>
                  <a:pt x="62" y="229"/>
                </a:cubicBezTo>
                <a:cubicBezTo>
                  <a:pt x="62" y="229"/>
                  <a:pt x="62" y="229"/>
                  <a:pt x="62" y="229"/>
                </a:cubicBezTo>
                <a:cubicBezTo>
                  <a:pt x="62" y="228"/>
                  <a:pt x="62" y="228"/>
                  <a:pt x="62" y="228"/>
                </a:cubicBezTo>
                <a:cubicBezTo>
                  <a:pt x="64" y="228"/>
                  <a:pt x="64" y="228"/>
                  <a:pt x="64" y="228"/>
                </a:cubicBezTo>
                <a:cubicBezTo>
                  <a:pt x="64" y="227"/>
                  <a:pt x="64" y="227"/>
                  <a:pt x="64" y="227"/>
                </a:cubicBezTo>
                <a:cubicBezTo>
                  <a:pt x="65" y="227"/>
                  <a:pt x="65" y="227"/>
                  <a:pt x="65" y="227"/>
                </a:cubicBezTo>
                <a:cubicBezTo>
                  <a:pt x="65" y="227"/>
                  <a:pt x="65" y="227"/>
                  <a:pt x="65" y="227"/>
                </a:cubicBezTo>
                <a:cubicBezTo>
                  <a:pt x="66" y="226"/>
                  <a:pt x="66" y="226"/>
                  <a:pt x="66" y="226"/>
                </a:cubicBezTo>
                <a:cubicBezTo>
                  <a:pt x="65" y="225"/>
                  <a:pt x="65" y="225"/>
                  <a:pt x="65" y="225"/>
                </a:cubicBezTo>
                <a:cubicBezTo>
                  <a:pt x="65" y="225"/>
                  <a:pt x="65" y="225"/>
                  <a:pt x="65" y="225"/>
                </a:cubicBezTo>
                <a:cubicBezTo>
                  <a:pt x="65" y="225"/>
                  <a:pt x="65" y="225"/>
                  <a:pt x="65" y="225"/>
                </a:cubicBezTo>
                <a:cubicBezTo>
                  <a:pt x="65" y="225"/>
                  <a:pt x="65" y="225"/>
                  <a:pt x="65" y="225"/>
                </a:cubicBezTo>
                <a:cubicBezTo>
                  <a:pt x="66" y="225"/>
                  <a:pt x="66" y="225"/>
                  <a:pt x="66" y="225"/>
                </a:cubicBezTo>
                <a:cubicBezTo>
                  <a:pt x="66" y="224"/>
                  <a:pt x="66" y="224"/>
                  <a:pt x="66" y="224"/>
                </a:cubicBezTo>
                <a:cubicBezTo>
                  <a:pt x="65" y="223"/>
                  <a:pt x="65" y="223"/>
                  <a:pt x="65" y="223"/>
                </a:cubicBezTo>
                <a:cubicBezTo>
                  <a:pt x="64" y="224"/>
                  <a:pt x="64" y="224"/>
                  <a:pt x="64" y="224"/>
                </a:cubicBezTo>
                <a:cubicBezTo>
                  <a:pt x="63" y="224"/>
                  <a:pt x="63" y="224"/>
                  <a:pt x="63" y="224"/>
                </a:cubicBezTo>
                <a:cubicBezTo>
                  <a:pt x="62" y="224"/>
                  <a:pt x="62" y="224"/>
                  <a:pt x="62" y="224"/>
                </a:cubicBezTo>
                <a:cubicBezTo>
                  <a:pt x="62" y="224"/>
                  <a:pt x="62" y="224"/>
                  <a:pt x="62" y="224"/>
                </a:cubicBezTo>
                <a:cubicBezTo>
                  <a:pt x="61" y="224"/>
                  <a:pt x="61" y="224"/>
                  <a:pt x="61" y="224"/>
                </a:cubicBezTo>
                <a:cubicBezTo>
                  <a:pt x="60" y="224"/>
                  <a:pt x="60" y="224"/>
                  <a:pt x="60" y="224"/>
                </a:cubicBezTo>
                <a:cubicBezTo>
                  <a:pt x="59" y="223"/>
                  <a:pt x="59" y="223"/>
                  <a:pt x="59" y="223"/>
                </a:cubicBezTo>
                <a:cubicBezTo>
                  <a:pt x="59" y="224"/>
                  <a:pt x="59" y="224"/>
                  <a:pt x="59" y="224"/>
                </a:cubicBezTo>
                <a:cubicBezTo>
                  <a:pt x="58" y="223"/>
                  <a:pt x="58" y="223"/>
                  <a:pt x="58" y="223"/>
                </a:cubicBezTo>
                <a:cubicBezTo>
                  <a:pt x="57" y="222"/>
                  <a:pt x="57" y="222"/>
                  <a:pt x="57" y="222"/>
                </a:cubicBezTo>
                <a:cubicBezTo>
                  <a:pt x="56" y="222"/>
                  <a:pt x="56" y="222"/>
                  <a:pt x="56" y="222"/>
                </a:cubicBezTo>
                <a:cubicBezTo>
                  <a:pt x="55" y="222"/>
                  <a:pt x="55" y="222"/>
                  <a:pt x="55" y="222"/>
                </a:cubicBezTo>
                <a:cubicBezTo>
                  <a:pt x="55" y="221"/>
                  <a:pt x="55" y="221"/>
                  <a:pt x="55" y="221"/>
                </a:cubicBezTo>
                <a:cubicBezTo>
                  <a:pt x="55" y="220"/>
                  <a:pt x="55" y="220"/>
                  <a:pt x="55" y="220"/>
                </a:cubicBezTo>
                <a:cubicBezTo>
                  <a:pt x="53" y="219"/>
                  <a:pt x="53" y="219"/>
                  <a:pt x="53" y="219"/>
                </a:cubicBezTo>
                <a:cubicBezTo>
                  <a:pt x="51" y="218"/>
                  <a:pt x="51" y="218"/>
                  <a:pt x="51" y="218"/>
                </a:cubicBezTo>
                <a:cubicBezTo>
                  <a:pt x="49" y="218"/>
                  <a:pt x="49" y="218"/>
                  <a:pt x="49" y="218"/>
                </a:cubicBezTo>
                <a:cubicBezTo>
                  <a:pt x="48" y="217"/>
                  <a:pt x="48" y="217"/>
                  <a:pt x="48" y="217"/>
                </a:cubicBezTo>
                <a:cubicBezTo>
                  <a:pt x="48" y="216"/>
                  <a:pt x="48" y="216"/>
                  <a:pt x="48" y="216"/>
                </a:cubicBezTo>
                <a:cubicBezTo>
                  <a:pt x="48" y="214"/>
                  <a:pt x="48" y="214"/>
                  <a:pt x="48" y="214"/>
                </a:cubicBezTo>
                <a:cubicBezTo>
                  <a:pt x="47" y="214"/>
                  <a:pt x="47" y="214"/>
                  <a:pt x="47" y="214"/>
                </a:cubicBezTo>
                <a:cubicBezTo>
                  <a:pt x="47" y="213"/>
                  <a:pt x="47" y="213"/>
                  <a:pt x="47" y="213"/>
                </a:cubicBezTo>
                <a:cubicBezTo>
                  <a:pt x="47" y="212"/>
                  <a:pt x="47" y="212"/>
                  <a:pt x="47" y="212"/>
                </a:cubicBezTo>
                <a:cubicBezTo>
                  <a:pt x="48" y="211"/>
                  <a:pt x="48" y="211"/>
                  <a:pt x="48" y="211"/>
                </a:cubicBezTo>
                <a:cubicBezTo>
                  <a:pt x="49" y="211"/>
                  <a:pt x="49" y="211"/>
                  <a:pt x="49" y="211"/>
                </a:cubicBezTo>
                <a:cubicBezTo>
                  <a:pt x="50" y="211"/>
                  <a:pt x="50" y="211"/>
                  <a:pt x="50" y="211"/>
                </a:cubicBezTo>
                <a:cubicBezTo>
                  <a:pt x="50" y="211"/>
                  <a:pt x="50" y="211"/>
                  <a:pt x="50" y="211"/>
                </a:cubicBezTo>
                <a:cubicBezTo>
                  <a:pt x="52" y="211"/>
                  <a:pt x="52" y="211"/>
                  <a:pt x="52" y="211"/>
                </a:cubicBezTo>
                <a:cubicBezTo>
                  <a:pt x="53" y="212"/>
                  <a:pt x="53" y="212"/>
                  <a:pt x="53" y="212"/>
                </a:cubicBezTo>
                <a:cubicBezTo>
                  <a:pt x="54" y="212"/>
                  <a:pt x="54" y="212"/>
                  <a:pt x="54" y="212"/>
                </a:cubicBezTo>
                <a:cubicBezTo>
                  <a:pt x="55" y="213"/>
                  <a:pt x="55" y="213"/>
                  <a:pt x="55" y="213"/>
                </a:cubicBezTo>
                <a:cubicBezTo>
                  <a:pt x="55" y="213"/>
                  <a:pt x="55" y="213"/>
                  <a:pt x="55" y="213"/>
                </a:cubicBezTo>
                <a:cubicBezTo>
                  <a:pt x="56" y="213"/>
                  <a:pt x="56" y="213"/>
                  <a:pt x="56" y="213"/>
                </a:cubicBezTo>
                <a:cubicBezTo>
                  <a:pt x="57" y="213"/>
                  <a:pt x="57" y="213"/>
                  <a:pt x="57" y="213"/>
                </a:cubicBezTo>
                <a:cubicBezTo>
                  <a:pt x="58" y="214"/>
                  <a:pt x="58" y="214"/>
                  <a:pt x="58" y="214"/>
                </a:cubicBezTo>
                <a:cubicBezTo>
                  <a:pt x="59" y="214"/>
                  <a:pt x="59" y="214"/>
                  <a:pt x="59" y="214"/>
                </a:cubicBezTo>
                <a:cubicBezTo>
                  <a:pt x="59" y="215"/>
                  <a:pt x="59" y="215"/>
                  <a:pt x="59" y="215"/>
                </a:cubicBezTo>
                <a:cubicBezTo>
                  <a:pt x="60" y="217"/>
                  <a:pt x="60" y="217"/>
                  <a:pt x="60" y="217"/>
                </a:cubicBezTo>
                <a:cubicBezTo>
                  <a:pt x="61" y="218"/>
                  <a:pt x="61" y="218"/>
                  <a:pt x="61" y="218"/>
                </a:cubicBezTo>
                <a:cubicBezTo>
                  <a:pt x="62" y="219"/>
                  <a:pt x="62" y="219"/>
                  <a:pt x="62" y="219"/>
                </a:cubicBezTo>
                <a:cubicBezTo>
                  <a:pt x="63" y="220"/>
                  <a:pt x="63" y="220"/>
                  <a:pt x="63" y="220"/>
                </a:cubicBezTo>
                <a:cubicBezTo>
                  <a:pt x="64" y="220"/>
                  <a:pt x="64" y="220"/>
                  <a:pt x="64" y="220"/>
                </a:cubicBezTo>
                <a:cubicBezTo>
                  <a:pt x="65" y="220"/>
                  <a:pt x="65" y="220"/>
                  <a:pt x="65" y="220"/>
                </a:cubicBezTo>
                <a:cubicBezTo>
                  <a:pt x="65" y="219"/>
                  <a:pt x="65" y="219"/>
                  <a:pt x="65" y="219"/>
                </a:cubicBezTo>
                <a:cubicBezTo>
                  <a:pt x="65" y="219"/>
                  <a:pt x="65" y="219"/>
                  <a:pt x="65" y="219"/>
                </a:cubicBezTo>
                <a:cubicBezTo>
                  <a:pt x="65" y="219"/>
                  <a:pt x="65" y="219"/>
                  <a:pt x="65" y="219"/>
                </a:cubicBezTo>
                <a:cubicBezTo>
                  <a:pt x="64" y="219"/>
                  <a:pt x="64" y="219"/>
                  <a:pt x="64" y="219"/>
                </a:cubicBezTo>
                <a:cubicBezTo>
                  <a:pt x="63" y="219"/>
                  <a:pt x="63" y="219"/>
                  <a:pt x="63" y="219"/>
                </a:cubicBezTo>
                <a:cubicBezTo>
                  <a:pt x="62" y="217"/>
                  <a:pt x="62" y="217"/>
                  <a:pt x="62" y="217"/>
                </a:cubicBezTo>
                <a:cubicBezTo>
                  <a:pt x="62" y="217"/>
                  <a:pt x="62" y="217"/>
                  <a:pt x="62" y="217"/>
                </a:cubicBezTo>
                <a:cubicBezTo>
                  <a:pt x="62" y="217"/>
                  <a:pt x="62" y="217"/>
                  <a:pt x="62" y="217"/>
                </a:cubicBezTo>
                <a:cubicBezTo>
                  <a:pt x="63" y="218"/>
                  <a:pt x="63" y="218"/>
                  <a:pt x="63" y="218"/>
                </a:cubicBezTo>
                <a:cubicBezTo>
                  <a:pt x="64" y="218"/>
                  <a:pt x="64" y="218"/>
                  <a:pt x="64" y="218"/>
                </a:cubicBezTo>
                <a:cubicBezTo>
                  <a:pt x="64" y="217"/>
                  <a:pt x="64" y="217"/>
                  <a:pt x="64" y="217"/>
                </a:cubicBezTo>
                <a:cubicBezTo>
                  <a:pt x="65" y="217"/>
                  <a:pt x="65" y="217"/>
                  <a:pt x="65" y="217"/>
                </a:cubicBezTo>
                <a:cubicBezTo>
                  <a:pt x="65" y="217"/>
                  <a:pt x="65" y="217"/>
                  <a:pt x="65" y="217"/>
                </a:cubicBezTo>
                <a:cubicBezTo>
                  <a:pt x="63" y="216"/>
                  <a:pt x="63" y="216"/>
                  <a:pt x="63" y="216"/>
                </a:cubicBezTo>
                <a:cubicBezTo>
                  <a:pt x="62" y="214"/>
                  <a:pt x="62" y="214"/>
                  <a:pt x="62" y="214"/>
                </a:cubicBezTo>
                <a:cubicBezTo>
                  <a:pt x="62" y="214"/>
                  <a:pt x="62" y="214"/>
                  <a:pt x="62" y="214"/>
                </a:cubicBezTo>
                <a:cubicBezTo>
                  <a:pt x="62" y="213"/>
                  <a:pt x="62" y="213"/>
                  <a:pt x="62" y="213"/>
                </a:cubicBezTo>
                <a:cubicBezTo>
                  <a:pt x="62" y="213"/>
                  <a:pt x="62" y="213"/>
                  <a:pt x="62" y="213"/>
                </a:cubicBezTo>
                <a:cubicBezTo>
                  <a:pt x="63" y="214"/>
                  <a:pt x="63" y="214"/>
                  <a:pt x="63" y="214"/>
                </a:cubicBezTo>
                <a:cubicBezTo>
                  <a:pt x="64" y="214"/>
                  <a:pt x="64" y="214"/>
                  <a:pt x="64" y="214"/>
                </a:cubicBezTo>
                <a:cubicBezTo>
                  <a:pt x="63" y="213"/>
                  <a:pt x="63" y="213"/>
                  <a:pt x="63" y="213"/>
                </a:cubicBezTo>
                <a:cubicBezTo>
                  <a:pt x="62" y="212"/>
                  <a:pt x="62" y="212"/>
                  <a:pt x="62" y="212"/>
                </a:cubicBezTo>
                <a:cubicBezTo>
                  <a:pt x="61" y="211"/>
                  <a:pt x="61" y="211"/>
                  <a:pt x="61" y="211"/>
                </a:cubicBezTo>
                <a:cubicBezTo>
                  <a:pt x="61" y="211"/>
                  <a:pt x="61" y="211"/>
                  <a:pt x="61" y="211"/>
                </a:cubicBezTo>
                <a:cubicBezTo>
                  <a:pt x="61" y="210"/>
                  <a:pt x="61" y="210"/>
                  <a:pt x="61" y="210"/>
                </a:cubicBezTo>
                <a:cubicBezTo>
                  <a:pt x="62" y="211"/>
                  <a:pt x="62" y="211"/>
                  <a:pt x="62" y="211"/>
                </a:cubicBezTo>
                <a:cubicBezTo>
                  <a:pt x="64" y="211"/>
                  <a:pt x="64" y="211"/>
                  <a:pt x="64" y="211"/>
                </a:cubicBezTo>
                <a:cubicBezTo>
                  <a:pt x="65" y="211"/>
                  <a:pt x="65" y="211"/>
                  <a:pt x="65" y="211"/>
                </a:cubicBezTo>
                <a:cubicBezTo>
                  <a:pt x="65" y="210"/>
                  <a:pt x="65" y="210"/>
                  <a:pt x="65" y="210"/>
                </a:cubicBezTo>
                <a:cubicBezTo>
                  <a:pt x="64" y="209"/>
                  <a:pt x="64" y="209"/>
                  <a:pt x="64" y="209"/>
                </a:cubicBezTo>
                <a:cubicBezTo>
                  <a:pt x="64" y="209"/>
                  <a:pt x="64" y="209"/>
                  <a:pt x="64" y="209"/>
                </a:cubicBezTo>
                <a:cubicBezTo>
                  <a:pt x="63" y="210"/>
                  <a:pt x="63" y="210"/>
                  <a:pt x="63" y="210"/>
                </a:cubicBezTo>
                <a:cubicBezTo>
                  <a:pt x="62" y="210"/>
                  <a:pt x="62" y="210"/>
                  <a:pt x="62" y="210"/>
                </a:cubicBezTo>
                <a:cubicBezTo>
                  <a:pt x="61" y="210"/>
                  <a:pt x="61" y="210"/>
                  <a:pt x="61" y="210"/>
                </a:cubicBezTo>
                <a:cubicBezTo>
                  <a:pt x="61" y="209"/>
                  <a:pt x="61" y="209"/>
                  <a:pt x="61" y="209"/>
                </a:cubicBezTo>
                <a:cubicBezTo>
                  <a:pt x="61" y="208"/>
                  <a:pt x="61" y="208"/>
                  <a:pt x="61" y="208"/>
                </a:cubicBezTo>
                <a:cubicBezTo>
                  <a:pt x="63" y="208"/>
                  <a:pt x="63" y="208"/>
                  <a:pt x="63" y="208"/>
                </a:cubicBezTo>
                <a:cubicBezTo>
                  <a:pt x="63" y="208"/>
                  <a:pt x="63" y="208"/>
                  <a:pt x="63" y="208"/>
                </a:cubicBezTo>
                <a:cubicBezTo>
                  <a:pt x="64" y="208"/>
                  <a:pt x="64" y="208"/>
                  <a:pt x="64" y="208"/>
                </a:cubicBezTo>
                <a:cubicBezTo>
                  <a:pt x="64" y="208"/>
                  <a:pt x="64" y="208"/>
                  <a:pt x="64" y="208"/>
                </a:cubicBezTo>
                <a:cubicBezTo>
                  <a:pt x="64" y="207"/>
                  <a:pt x="64" y="207"/>
                  <a:pt x="64" y="207"/>
                </a:cubicBezTo>
                <a:cubicBezTo>
                  <a:pt x="63" y="206"/>
                  <a:pt x="63" y="206"/>
                  <a:pt x="63" y="206"/>
                </a:cubicBezTo>
                <a:cubicBezTo>
                  <a:pt x="63" y="206"/>
                  <a:pt x="63" y="206"/>
                  <a:pt x="63" y="206"/>
                </a:cubicBezTo>
                <a:cubicBezTo>
                  <a:pt x="62" y="207"/>
                  <a:pt x="62" y="207"/>
                  <a:pt x="62" y="207"/>
                </a:cubicBezTo>
                <a:cubicBezTo>
                  <a:pt x="62" y="207"/>
                  <a:pt x="62" y="207"/>
                  <a:pt x="62" y="207"/>
                </a:cubicBezTo>
                <a:cubicBezTo>
                  <a:pt x="61" y="207"/>
                  <a:pt x="61" y="207"/>
                  <a:pt x="61" y="207"/>
                </a:cubicBezTo>
                <a:cubicBezTo>
                  <a:pt x="60" y="209"/>
                  <a:pt x="60" y="209"/>
                  <a:pt x="60" y="209"/>
                </a:cubicBezTo>
                <a:cubicBezTo>
                  <a:pt x="59" y="209"/>
                  <a:pt x="59" y="209"/>
                  <a:pt x="59" y="209"/>
                </a:cubicBezTo>
                <a:cubicBezTo>
                  <a:pt x="59" y="208"/>
                  <a:pt x="59" y="208"/>
                  <a:pt x="59" y="208"/>
                </a:cubicBezTo>
                <a:cubicBezTo>
                  <a:pt x="60" y="208"/>
                  <a:pt x="60" y="208"/>
                  <a:pt x="60" y="208"/>
                </a:cubicBezTo>
                <a:cubicBezTo>
                  <a:pt x="60" y="207"/>
                  <a:pt x="60" y="207"/>
                  <a:pt x="60" y="207"/>
                </a:cubicBezTo>
                <a:cubicBezTo>
                  <a:pt x="61" y="206"/>
                  <a:pt x="61" y="206"/>
                  <a:pt x="61" y="206"/>
                </a:cubicBezTo>
                <a:cubicBezTo>
                  <a:pt x="61" y="206"/>
                  <a:pt x="61" y="206"/>
                  <a:pt x="61" y="206"/>
                </a:cubicBezTo>
                <a:cubicBezTo>
                  <a:pt x="62" y="206"/>
                  <a:pt x="62" y="206"/>
                  <a:pt x="62" y="206"/>
                </a:cubicBezTo>
                <a:cubicBezTo>
                  <a:pt x="63" y="205"/>
                  <a:pt x="63" y="205"/>
                  <a:pt x="63" y="205"/>
                </a:cubicBezTo>
                <a:cubicBezTo>
                  <a:pt x="64" y="205"/>
                  <a:pt x="64" y="205"/>
                  <a:pt x="64" y="205"/>
                </a:cubicBezTo>
                <a:cubicBezTo>
                  <a:pt x="64" y="204"/>
                  <a:pt x="64" y="204"/>
                  <a:pt x="64" y="204"/>
                </a:cubicBezTo>
                <a:cubicBezTo>
                  <a:pt x="64" y="204"/>
                  <a:pt x="64" y="204"/>
                  <a:pt x="64" y="204"/>
                </a:cubicBezTo>
                <a:cubicBezTo>
                  <a:pt x="62" y="204"/>
                  <a:pt x="62" y="204"/>
                  <a:pt x="62" y="204"/>
                </a:cubicBezTo>
                <a:cubicBezTo>
                  <a:pt x="61" y="205"/>
                  <a:pt x="61" y="205"/>
                  <a:pt x="61" y="205"/>
                </a:cubicBezTo>
                <a:cubicBezTo>
                  <a:pt x="61" y="205"/>
                  <a:pt x="61" y="205"/>
                  <a:pt x="61" y="205"/>
                </a:cubicBezTo>
                <a:cubicBezTo>
                  <a:pt x="60" y="205"/>
                  <a:pt x="60" y="205"/>
                  <a:pt x="60" y="205"/>
                </a:cubicBezTo>
                <a:cubicBezTo>
                  <a:pt x="59" y="205"/>
                  <a:pt x="59" y="205"/>
                  <a:pt x="59" y="205"/>
                </a:cubicBezTo>
                <a:cubicBezTo>
                  <a:pt x="58" y="205"/>
                  <a:pt x="58" y="205"/>
                  <a:pt x="58" y="205"/>
                </a:cubicBezTo>
                <a:cubicBezTo>
                  <a:pt x="58" y="204"/>
                  <a:pt x="58" y="204"/>
                  <a:pt x="58" y="204"/>
                </a:cubicBezTo>
                <a:cubicBezTo>
                  <a:pt x="59" y="203"/>
                  <a:pt x="59" y="203"/>
                  <a:pt x="59" y="203"/>
                </a:cubicBezTo>
                <a:cubicBezTo>
                  <a:pt x="60" y="203"/>
                  <a:pt x="60" y="203"/>
                  <a:pt x="60" y="203"/>
                </a:cubicBezTo>
                <a:cubicBezTo>
                  <a:pt x="61" y="203"/>
                  <a:pt x="61" y="203"/>
                  <a:pt x="61" y="203"/>
                </a:cubicBezTo>
                <a:cubicBezTo>
                  <a:pt x="63" y="202"/>
                  <a:pt x="63" y="202"/>
                  <a:pt x="63" y="202"/>
                </a:cubicBezTo>
                <a:cubicBezTo>
                  <a:pt x="65" y="201"/>
                  <a:pt x="65" y="201"/>
                  <a:pt x="65" y="201"/>
                </a:cubicBezTo>
                <a:cubicBezTo>
                  <a:pt x="65" y="201"/>
                  <a:pt x="65" y="201"/>
                  <a:pt x="65" y="201"/>
                </a:cubicBezTo>
                <a:cubicBezTo>
                  <a:pt x="64" y="201"/>
                  <a:pt x="64" y="201"/>
                  <a:pt x="64" y="201"/>
                </a:cubicBezTo>
                <a:cubicBezTo>
                  <a:pt x="64" y="201"/>
                  <a:pt x="64" y="201"/>
                  <a:pt x="64" y="201"/>
                </a:cubicBezTo>
                <a:cubicBezTo>
                  <a:pt x="63" y="201"/>
                  <a:pt x="63" y="201"/>
                  <a:pt x="63" y="201"/>
                </a:cubicBezTo>
                <a:cubicBezTo>
                  <a:pt x="62" y="202"/>
                  <a:pt x="62" y="202"/>
                  <a:pt x="62" y="202"/>
                </a:cubicBezTo>
                <a:cubicBezTo>
                  <a:pt x="61" y="201"/>
                  <a:pt x="61" y="201"/>
                  <a:pt x="61" y="201"/>
                </a:cubicBezTo>
                <a:cubicBezTo>
                  <a:pt x="61" y="201"/>
                  <a:pt x="61" y="201"/>
                  <a:pt x="61" y="201"/>
                </a:cubicBezTo>
                <a:cubicBezTo>
                  <a:pt x="60" y="200"/>
                  <a:pt x="60" y="200"/>
                  <a:pt x="60" y="200"/>
                </a:cubicBezTo>
                <a:cubicBezTo>
                  <a:pt x="59" y="200"/>
                  <a:pt x="59" y="200"/>
                  <a:pt x="59" y="200"/>
                </a:cubicBezTo>
                <a:cubicBezTo>
                  <a:pt x="59" y="200"/>
                  <a:pt x="59" y="200"/>
                  <a:pt x="59" y="200"/>
                </a:cubicBezTo>
                <a:cubicBezTo>
                  <a:pt x="59" y="200"/>
                  <a:pt x="59" y="200"/>
                  <a:pt x="59" y="200"/>
                </a:cubicBezTo>
                <a:cubicBezTo>
                  <a:pt x="60" y="199"/>
                  <a:pt x="60" y="199"/>
                  <a:pt x="60" y="199"/>
                </a:cubicBezTo>
                <a:cubicBezTo>
                  <a:pt x="60" y="198"/>
                  <a:pt x="60" y="198"/>
                  <a:pt x="60" y="198"/>
                </a:cubicBezTo>
                <a:cubicBezTo>
                  <a:pt x="61" y="197"/>
                  <a:pt x="61" y="197"/>
                  <a:pt x="61" y="197"/>
                </a:cubicBezTo>
                <a:cubicBezTo>
                  <a:pt x="61" y="197"/>
                  <a:pt x="61" y="197"/>
                  <a:pt x="61" y="197"/>
                </a:cubicBezTo>
                <a:cubicBezTo>
                  <a:pt x="61" y="196"/>
                  <a:pt x="61" y="196"/>
                  <a:pt x="61" y="196"/>
                </a:cubicBezTo>
                <a:cubicBezTo>
                  <a:pt x="61" y="196"/>
                  <a:pt x="61" y="196"/>
                  <a:pt x="61" y="196"/>
                </a:cubicBezTo>
                <a:cubicBezTo>
                  <a:pt x="60" y="197"/>
                  <a:pt x="60" y="197"/>
                  <a:pt x="60" y="197"/>
                </a:cubicBezTo>
                <a:cubicBezTo>
                  <a:pt x="59" y="198"/>
                  <a:pt x="59" y="198"/>
                  <a:pt x="59" y="198"/>
                </a:cubicBezTo>
                <a:cubicBezTo>
                  <a:pt x="59" y="199"/>
                  <a:pt x="59" y="199"/>
                  <a:pt x="59" y="199"/>
                </a:cubicBezTo>
                <a:cubicBezTo>
                  <a:pt x="58" y="199"/>
                  <a:pt x="58" y="199"/>
                  <a:pt x="58" y="199"/>
                </a:cubicBezTo>
                <a:cubicBezTo>
                  <a:pt x="58" y="200"/>
                  <a:pt x="58" y="200"/>
                  <a:pt x="58" y="200"/>
                </a:cubicBezTo>
                <a:cubicBezTo>
                  <a:pt x="57" y="200"/>
                  <a:pt x="57" y="200"/>
                  <a:pt x="57" y="200"/>
                </a:cubicBezTo>
                <a:cubicBezTo>
                  <a:pt x="57" y="199"/>
                  <a:pt x="57" y="199"/>
                  <a:pt x="57" y="199"/>
                </a:cubicBezTo>
                <a:cubicBezTo>
                  <a:pt x="57" y="197"/>
                  <a:pt x="57" y="197"/>
                  <a:pt x="57" y="197"/>
                </a:cubicBezTo>
                <a:cubicBezTo>
                  <a:pt x="58" y="196"/>
                  <a:pt x="58" y="196"/>
                  <a:pt x="58" y="196"/>
                </a:cubicBezTo>
                <a:cubicBezTo>
                  <a:pt x="57" y="194"/>
                  <a:pt x="57" y="194"/>
                  <a:pt x="57" y="194"/>
                </a:cubicBezTo>
                <a:cubicBezTo>
                  <a:pt x="57" y="193"/>
                  <a:pt x="57" y="193"/>
                  <a:pt x="57" y="193"/>
                </a:cubicBezTo>
                <a:cubicBezTo>
                  <a:pt x="57" y="192"/>
                  <a:pt x="57" y="192"/>
                  <a:pt x="57" y="192"/>
                </a:cubicBezTo>
                <a:cubicBezTo>
                  <a:pt x="57" y="191"/>
                  <a:pt x="57" y="191"/>
                  <a:pt x="57" y="191"/>
                </a:cubicBezTo>
                <a:cubicBezTo>
                  <a:pt x="57" y="191"/>
                  <a:pt x="57" y="191"/>
                  <a:pt x="57" y="191"/>
                </a:cubicBezTo>
                <a:cubicBezTo>
                  <a:pt x="57" y="192"/>
                  <a:pt x="57" y="192"/>
                  <a:pt x="57" y="192"/>
                </a:cubicBezTo>
                <a:cubicBezTo>
                  <a:pt x="56" y="194"/>
                  <a:pt x="56" y="194"/>
                  <a:pt x="56" y="194"/>
                </a:cubicBezTo>
                <a:cubicBezTo>
                  <a:pt x="57" y="195"/>
                  <a:pt x="57" y="195"/>
                  <a:pt x="57" y="195"/>
                </a:cubicBezTo>
                <a:cubicBezTo>
                  <a:pt x="57" y="196"/>
                  <a:pt x="57" y="196"/>
                  <a:pt x="57" y="196"/>
                </a:cubicBezTo>
                <a:cubicBezTo>
                  <a:pt x="57" y="197"/>
                  <a:pt x="57" y="197"/>
                  <a:pt x="57" y="197"/>
                </a:cubicBezTo>
                <a:cubicBezTo>
                  <a:pt x="57" y="199"/>
                  <a:pt x="57" y="199"/>
                  <a:pt x="57" y="199"/>
                </a:cubicBezTo>
                <a:cubicBezTo>
                  <a:pt x="56" y="200"/>
                  <a:pt x="56" y="200"/>
                  <a:pt x="56" y="200"/>
                </a:cubicBezTo>
                <a:cubicBezTo>
                  <a:pt x="56" y="200"/>
                  <a:pt x="56" y="200"/>
                  <a:pt x="56" y="200"/>
                </a:cubicBezTo>
                <a:cubicBezTo>
                  <a:pt x="55" y="199"/>
                  <a:pt x="55" y="199"/>
                  <a:pt x="55" y="199"/>
                </a:cubicBezTo>
                <a:cubicBezTo>
                  <a:pt x="55" y="198"/>
                  <a:pt x="55" y="198"/>
                  <a:pt x="55" y="198"/>
                </a:cubicBezTo>
                <a:cubicBezTo>
                  <a:pt x="54" y="200"/>
                  <a:pt x="54" y="200"/>
                  <a:pt x="54" y="200"/>
                </a:cubicBezTo>
                <a:cubicBezTo>
                  <a:pt x="54" y="201"/>
                  <a:pt x="54" y="201"/>
                  <a:pt x="54" y="201"/>
                </a:cubicBezTo>
                <a:cubicBezTo>
                  <a:pt x="54" y="200"/>
                  <a:pt x="54" y="200"/>
                  <a:pt x="54" y="200"/>
                </a:cubicBezTo>
                <a:cubicBezTo>
                  <a:pt x="53" y="200"/>
                  <a:pt x="53" y="200"/>
                  <a:pt x="53" y="200"/>
                </a:cubicBezTo>
                <a:cubicBezTo>
                  <a:pt x="54" y="201"/>
                  <a:pt x="54" y="201"/>
                  <a:pt x="54" y="201"/>
                </a:cubicBezTo>
                <a:cubicBezTo>
                  <a:pt x="54" y="202"/>
                  <a:pt x="54" y="202"/>
                  <a:pt x="54" y="202"/>
                </a:cubicBezTo>
                <a:cubicBezTo>
                  <a:pt x="54" y="203"/>
                  <a:pt x="54" y="203"/>
                  <a:pt x="54" y="203"/>
                </a:cubicBezTo>
                <a:cubicBezTo>
                  <a:pt x="53" y="203"/>
                  <a:pt x="53" y="203"/>
                  <a:pt x="53" y="203"/>
                </a:cubicBezTo>
                <a:cubicBezTo>
                  <a:pt x="52" y="204"/>
                  <a:pt x="52" y="204"/>
                  <a:pt x="52" y="204"/>
                </a:cubicBezTo>
                <a:cubicBezTo>
                  <a:pt x="52" y="203"/>
                  <a:pt x="52" y="203"/>
                  <a:pt x="52" y="203"/>
                </a:cubicBezTo>
                <a:cubicBezTo>
                  <a:pt x="51" y="204"/>
                  <a:pt x="51" y="204"/>
                  <a:pt x="51" y="204"/>
                </a:cubicBezTo>
                <a:cubicBezTo>
                  <a:pt x="50" y="204"/>
                  <a:pt x="50" y="204"/>
                  <a:pt x="50" y="204"/>
                </a:cubicBezTo>
                <a:cubicBezTo>
                  <a:pt x="49" y="204"/>
                  <a:pt x="49" y="204"/>
                  <a:pt x="49" y="204"/>
                </a:cubicBezTo>
                <a:cubicBezTo>
                  <a:pt x="48" y="204"/>
                  <a:pt x="48" y="204"/>
                  <a:pt x="48" y="204"/>
                </a:cubicBezTo>
                <a:cubicBezTo>
                  <a:pt x="48" y="203"/>
                  <a:pt x="48" y="203"/>
                  <a:pt x="48" y="203"/>
                </a:cubicBezTo>
                <a:cubicBezTo>
                  <a:pt x="48" y="202"/>
                  <a:pt x="48" y="202"/>
                  <a:pt x="48" y="202"/>
                </a:cubicBezTo>
                <a:cubicBezTo>
                  <a:pt x="48" y="202"/>
                  <a:pt x="48" y="202"/>
                  <a:pt x="48" y="202"/>
                </a:cubicBezTo>
                <a:cubicBezTo>
                  <a:pt x="47" y="202"/>
                  <a:pt x="47" y="202"/>
                  <a:pt x="47" y="202"/>
                </a:cubicBezTo>
                <a:cubicBezTo>
                  <a:pt x="47" y="203"/>
                  <a:pt x="47" y="203"/>
                  <a:pt x="47" y="203"/>
                </a:cubicBezTo>
                <a:cubicBezTo>
                  <a:pt x="46" y="203"/>
                  <a:pt x="46" y="203"/>
                  <a:pt x="46" y="203"/>
                </a:cubicBezTo>
                <a:cubicBezTo>
                  <a:pt x="46" y="201"/>
                  <a:pt x="46" y="201"/>
                  <a:pt x="46" y="201"/>
                </a:cubicBezTo>
                <a:cubicBezTo>
                  <a:pt x="46" y="200"/>
                  <a:pt x="46" y="200"/>
                  <a:pt x="46" y="200"/>
                </a:cubicBezTo>
                <a:cubicBezTo>
                  <a:pt x="46" y="200"/>
                  <a:pt x="46" y="200"/>
                  <a:pt x="46" y="200"/>
                </a:cubicBezTo>
                <a:cubicBezTo>
                  <a:pt x="46" y="199"/>
                  <a:pt x="46" y="199"/>
                  <a:pt x="46" y="199"/>
                </a:cubicBezTo>
                <a:cubicBezTo>
                  <a:pt x="46" y="199"/>
                  <a:pt x="46" y="199"/>
                  <a:pt x="46" y="199"/>
                </a:cubicBezTo>
                <a:cubicBezTo>
                  <a:pt x="47" y="198"/>
                  <a:pt x="47" y="198"/>
                  <a:pt x="47" y="198"/>
                </a:cubicBezTo>
                <a:cubicBezTo>
                  <a:pt x="48" y="198"/>
                  <a:pt x="48" y="198"/>
                  <a:pt x="48" y="198"/>
                </a:cubicBezTo>
                <a:cubicBezTo>
                  <a:pt x="48" y="198"/>
                  <a:pt x="48" y="198"/>
                  <a:pt x="48" y="198"/>
                </a:cubicBezTo>
                <a:cubicBezTo>
                  <a:pt x="49" y="197"/>
                  <a:pt x="49" y="197"/>
                  <a:pt x="49" y="197"/>
                </a:cubicBezTo>
                <a:cubicBezTo>
                  <a:pt x="49" y="197"/>
                  <a:pt x="49" y="197"/>
                  <a:pt x="49" y="197"/>
                </a:cubicBezTo>
                <a:cubicBezTo>
                  <a:pt x="51" y="197"/>
                  <a:pt x="51" y="197"/>
                  <a:pt x="51" y="197"/>
                </a:cubicBezTo>
                <a:cubicBezTo>
                  <a:pt x="52" y="197"/>
                  <a:pt x="52" y="197"/>
                  <a:pt x="52" y="197"/>
                </a:cubicBezTo>
                <a:cubicBezTo>
                  <a:pt x="53" y="195"/>
                  <a:pt x="53" y="195"/>
                  <a:pt x="53" y="195"/>
                </a:cubicBezTo>
                <a:cubicBezTo>
                  <a:pt x="54" y="194"/>
                  <a:pt x="54" y="194"/>
                  <a:pt x="54" y="194"/>
                </a:cubicBezTo>
                <a:cubicBezTo>
                  <a:pt x="54" y="193"/>
                  <a:pt x="54" y="193"/>
                  <a:pt x="54" y="193"/>
                </a:cubicBezTo>
                <a:cubicBezTo>
                  <a:pt x="54" y="193"/>
                  <a:pt x="54" y="193"/>
                  <a:pt x="54" y="193"/>
                </a:cubicBezTo>
                <a:cubicBezTo>
                  <a:pt x="53" y="193"/>
                  <a:pt x="53" y="193"/>
                  <a:pt x="53" y="193"/>
                </a:cubicBezTo>
                <a:cubicBezTo>
                  <a:pt x="53" y="194"/>
                  <a:pt x="53" y="194"/>
                  <a:pt x="53" y="194"/>
                </a:cubicBezTo>
                <a:cubicBezTo>
                  <a:pt x="52" y="196"/>
                  <a:pt x="52" y="196"/>
                  <a:pt x="52" y="196"/>
                </a:cubicBezTo>
                <a:cubicBezTo>
                  <a:pt x="50" y="196"/>
                  <a:pt x="50" y="196"/>
                  <a:pt x="50" y="196"/>
                </a:cubicBezTo>
                <a:cubicBezTo>
                  <a:pt x="49" y="196"/>
                  <a:pt x="49" y="196"/>
                  <a:pt x="49" y="196"/>
                </a:cubicBezTo>
                <a:cubicBezTo>
                  <a:pt x="48" y="195"/>
                  <a:pt x="48" y="195"/>
                  <a:pt x="48" y="195"/>
                </a:cubicBezTo>
                <a:cubicBezTo>
                  <a:pt x="48" y="194"/>
                  <a:pt x="48" y="194"/>
                  <a:pt x="48" y="194"/>
                </a:cubicBezTo>
                <a:cubicBezTo>
                  <a:pt x="49" y="194"/>
                  <a:pt x="49" y="194"/>
                  <a:pt x="49" y="194"/>
                </a:cubicBezTo>
                <a:cubicBezTo>
                  <a:pt x="50" y="192"/>
                  <a:pt x="50" y="192"/>
                  <a:pt x="50" y="192"/>
                </a:cubicBezTo>
                <a:cubicBezTo>
                  <a:pt x="51" y="192"/>
                  <a:pt x="51" y="192"/>
                  <a:pt x="51" y="192"/>
                </a:cubicBezTo>
                <a:cubicBezTo>
                  <a:pt x="51" y="192"/>
                  <a:pt x="51" y="192"/>
                  <a:pt x="51" y="192"/>
                </a:cubicBezTo>
                <a:cubicBezTo>
                  <a:pt x="51" y="191"/>
                  <a:pt x="51" y="191"/>
                  <a:pt x="51" y="191"/>
                </a:cubicBezTo>
                <a:cubicBezTo>
                  <a:pt x="52" y="191"/>
                  <a:pt x="52" y="191"/>
                  <a:pt x="52" y="191"/>
                </a:cubicBezTo>
                <a:cubicBezTo>
                  <a:pt x="52" y="191"/>
                  <a:pt x="52" y="191"/>
                  <a:pt x="52" y="191"/>
                </a:cubicBezTo>
                <a:cubicBezTo>
                  <a:pt x="53" y="190"/>
                  <a:pt x="53" y="190"/>
                  <a:pt x="53" y="190"/>
                </a:cubicBezTo>
                <a:cubicBezTo>
                  <a:pt x="52" y="190"/>
                  <a:pt x="52" y="190"/>
                  <a:pt x="52" y="190"/>
                </a:cubicBezTo>
                <a:cubicBezTo>
                  <a:pt x="52" y="189"/>
                  <a:pt x="52" y="189"/>
                  <a:pt x="52" y="189"/>
                </a:cubicBezTo>
                <a:cubicBezTo>
                  <a:pt x="52" y="189"/>
                  <a:pt x="52" y="189"/>
                  <a:pt x="52" y="189"/>
                </a:cubicBezTo>
                <a:cubicBezTo>
                  <a:pt x="52" y="189"/>
                  <a:pt x="52" y="189"/>
                  <a:pt x="52" y="189"/>
                </a:cubicBezTo>
                <a:cubicBezTo>
                  <a:pt x="51" y="190"/>
                  <a:pt x="51" y="190"/>
                  <a:pt x="51" y="190"/>
                </a:cubicBezTo>
                <a:cubicBezTo>
                  <a:pt x="50" y="190"/>
                  <a:pt x="50" y="190"/>
                  <a:pt x="50" y="190"/>
                </a:cubicBezTo>
                <a:cubicBezTo>
                  <a:pt x="49" y="190"/>
                  <a:pt x="49" y="190"/>
                  <a:pt x="49" y="190"/>
                </a:cubicBezTo>
                <a:cubicBezTo>
                  <a:pt x="49" y="189"/>
                  <a:pt x="49" y="189"/>
                  <a:pt x="49" y="189"/>
                </a:cubicBezTo>
                <a:cubicBezTo>
                  <a:pt x="49" y="188"/>
                  <a:pt x="49" y="188"/>
                  <a:pt x="49" y="188"/>
                </a:cubicBezTo>
                <a:cubicBezTo>
                  <a:pt x="50" y="188"/>
                  <a:pt x="50" y="188"/>
                  <a:pt x="50" y="188"/>
                </a:cubicBezTo>
                <a:cubicBezTo>
                  <a:pt x="51" y="188"/>
                  <a:pt x="51" y="188"/>
                  <a:pt x="51" y="188"/>
                </a:cubicBezTo>
                <a:cubicBezTo>
                  <a:pt x="52" y="188"/>
                  <a:pt x="52" y="188"/>
                  <a:pt x="52" y="188"/>
                </a:cubicBezTo>
                <a:cubicBezTo>
                  <a:pt x="52" y="188"/>
                  <a:pt x="52" y="188"/>
                  <a:pt x="52" y="188"/>
                </a:cubicBezTo>
                <a:cubicBezTo>
                  <a:pt x="54" y="188"/>
                  <a:pt x="54" y="188"/>
                  <a:pt x="54" y="188"/>
                </a:cubicBezTo>
                <a:cubicBezTo>
                  <a:pt x="54" y="186"/>
                  <a:pt x="54" y="186"/>
                  <a:pt x="54" y="186"/>
                </a:cubicBezTo>
                <a:cubicBezTo>
                  <a:pt x="54" y="185"/>
                  <a:pt x="54" y="185"/>
                  <a:pt x="54" y="185"/>
                </a:cubicBezTo>
                <a:cubicBezTo>
                  <a:pt x="54" y="185"/>
                  <a:pt x="54" y="185"/>
                  <a:pt x="54" y="185"/>
                </a:cubicBezTo>
                <a:cubicBezTo>
                  <a:pt x="55" y="183"/>
                  <a:pt x="55" y="183"/>
                  <a:pt x="55" y="183"/>
                </a:cubicBezTo>
                <a:cubicBezTo>
                  <a:pt x="55" y="182"/>
                  <a:pt x="55" y="182"/>
                  <a:pt x="55" y="182"/>
                </a:cubicBezTo>
                <a:cubicBezTo>
                  <a:pt x="55" y="181"/>
                  <a:pt x="55" y="181"/>
                  <a:pt x="55" y="181"/>
                </a:cubicBezTo>
                <a:cubicBezTo>
                  <a:pt x="55" y="180"/>
                  <a:pt x="55" y="180"/>
                  <a:pt x="55" y="180"/>
                </a:cubicBezTo>
                <a:cubicBezTo>
                  <a:pt x="54" y="180"/>
                  <a:pt x="54" y="180"/>
                  <a:pt x="54" y="180"/>
                </a:cubicBezTo>
                <a:cubicBezTo>
                  <a:pt x="54" y="180"/>
                  <a:pt x="54" y="180"/>
                  <a:pt x="54" y="180"/>
                </a:cubicBezTo>
                <a:cubicBezTo>
                  <a:pt x="53" y="179"/>
                  <a:pt x="53" y="179"/>
                  <a:pt x="53" y="179"/>
                </a:cubicBezTo>
                <a:cubicBezTo>
                  <a:pt x="52" y="179"/>
                  <a:pt x="52" y="179"/>
                  <a:pt x="52" y="179"/>
                </a:cubicBezTo>
                <a:cubicBezTo>
                  <a:pt x="51" y="179"/>
                  <a:pt x="51" y="179"/>
                  <a:pt x="51" y="179"/>
                </a:cubicBezTo>
                <a:cubicBezTo>
                  <a:pt x="51" y="178"/>
                  <a:pt x="51" y="178"/>
                  <a:pt x="51" y="178"/>
                </a:cubicBezTo>
                <a:cubicBezTo>
                  <a:pt x="52" y="178"/>
                  <a:pt x="52" y="178"/>
                  <a:pt x="52" y="178"/>
                </a:cubicBezTo>
                <a:cubicBezTo>
                  <a:pt x="53" y="178"/>
                  <a:pt x="53" y="178"/>
                  <a:pt x="53" y="178"/>
                </a:cubicBezTo>
                <a:cubicBezTo>
                  <a:pt x="53" y="178"/>
                  <a:pt x="53" y="178"/>
                  <a:pt x="53" y="178"/>
                </a:cubicBezTo>
                <a:cubicBezTo>
                  <a:pt x="54" y="177"/>
                  <a:pt x="54" y="177"/>
                  <a:pt x="54" y="177"/>
                </a:cubicBezTo>
                <a:cubicBezTo>
                  <a:pt x="54" y="176"/>
                  <a:pt x="54" y="176"/>
                  <a:pt x="54" y="176"/>
                </a:cubicBezTo>
                <a:cubicBezTo>
                  <a:pt x="55" y="176"/>
                  <a:pt x="55" y="176"/>
                  <a:pt x="55" y="176"/>
                </a:cubicBezTo>
                <a:cubicBezTo>
                  <a:pt x="55" y="175"/>
                  <a:pt x="55" y="175"/>
                  <a:pt x="55" y="175"/>
                </a:cubicBezTo>
                <a:cubicBezTo>
                  <a:pt x="54" y="174"/>
                  <a:pt x="54" y="174"/>
                  <a:pt x="54" y="174"/>
                </a:cubicBezTo>
                <a:cubicBezTo>
                  <a:pt x="53" y="174"/>
                  <a:pt x="53" y="174"/>
                  <a:pt x="53" y="174"/>
                </a:cubicBezTo>
                <a:cubicBezTo>
                  <a:pt x="53" y="174"/>
                  <a:pt x="53" y="174"/>
                  <a:pt x="53" y="174"/>
                </a:cubicBezTo>
                <a:cubicBezTo>
                  <a:pt x="53" y="173"/>
                  <a:pt x="53" y="173"/>
                  <a:pt x="53" y="173"/>
                </a:cubicBezTo>
                <a:cubicBezTo>
                  <a:pt x="54" y="172"/>
                  <a:pt x="54" y="172"/>
                  <a:pt x="54" y="172"/>
                </a:cubicBezTo>
                <a:cubicBezTo>
                  <a:pt x="54" y="173"/>
                  <a:pt x="54" y="173"/>
                  <a:pt x="54" y="173"/>
                </a:cubicBezTo>
                <a:cubicBezTo>
                  <a:pt x="54" y="172"/>
                  <a:pt x="54" y="172"/>
                  <a:pt x="54" y="172"/>
                </a:cubicBezTo>
                <a:cubicBezTo>
                  <a:pt x="53" y="171"/>
                  <a:pt x="53" y="171"/>
                  <a:pt x="53" y="171"/>
                </a:cubicBezTo>
                <a:cubicBezTo>
                  <a:pt x="53" y="170"/>
                  <a:pt x="53" y="170"/>
                  <a:pt x="53" y="170"/>
                </a:cubicBezTo>
                <a:cubicBezTo>
                  <a:pt x="53" y="169"/>
                  <a:pt x="53" y="169"/>
                  <a:pt x="53" y="169"/>
                </a:cubicBezTo>
                <a:cubicBezTo>
                  <a:pt x="54" y="170"/>
                  <a:pt x="54" y="170"/>
                  <a:pt x="54" y="170"/>
                </a:cubicBezTo>
                <a:cubicBezTo>
                  <a:pt x="54" y="170"/>
                  <a:pt x="54" y="170"/>
                  <a:pt x="54" y="170"/>
                </a:cubicBezTo>
                <a:cubicBezTo>
                  <a:pt x="54" y="169"/>
                  <a:pt x="54" y="169"/>
                  <a:pt x="54" y="169"/>
                </a:cubicBezTo>
                <a:cubicBezTo>
                  <a:pt x="54" y="168"/>
                  <a:pt x="54" y="168"/>
                  <a:pt x="54" y="168"/>
                </a:cubicBezTo>
                <a:cubicBezTo>
                  <a:pt x="54" y="167"/>
                  <a:pt x="54" y="167"/>
                  <a:pt x="54" y="167"/>
                </a:cubicBezTo>
                <a:cubicBezTo>
                  <a:pt x="54" y="166"/>
                  <a:pt x="54" y="166"/>
                  <a:pt x="54" y="166"/>
                </a:cubicBezTo>
                <a:cubicBezTo>
                  <a:pt x="53" y="165"/>
                  <a:pt x="53" y="165"/>
                  <a:pt x="53" y="165"/>
                </a:cubicBezTo>
                <a:cubicBezTo>
                  <a:pt x="53" y="165"/>
                  <a:pt x="53" y="165"/>
                  <a:pt x="53" y="165"/>
                </a:cubicBezTo>
                <a:cubicBezTo>
                  <a:pt x="53" y="164"/>
                  <a:pt x="53" y="164"/>
                  <a:pt x="53" y="164"/>
                </a:cubicBezTo>
                <a:cubicBezTo>
                  <a:pt x="54" y="163"/>
                  <a:pt x="54" y="163"/>
                  <a:pt x="54" y="163"/>
                </a:cubicBezTo>
                <a:cubicBezTo>
                  <a:pt x="54" y="162"/>
                  <a:pt x="54" y="162"/>
                  <a:pt x="54" y="162"/>
                </a:cubicBezTo>
                <a:cubicBezTo>
                  <a:pt x="53" y="162"/>
                  <a:pt x="53" y="162"/>
                  <a:pt x="53" y="162"/>
                </a:cubicBezTo>
                <a:cubicBezTo>
                  <a:pt x="53" y="162"/>
                  <a:pt x="53" y="162"/>
                  <a:pt x="53" y="162"/>
                </a:cubicBezTo>
                <a:cubicBezTo>
                  <a:pt x="52" y="163"/>
                  <a:pt x="52" y="163"/>
                  <a:pt x="52" y="163"/>
                </a:cubicBezTo>
                <a:cubicBezTo>
                  <a:pt x="51" y="163"/>
                  <a:pt x="51" y="163"/>
                  <a:pt x="51" y="163"/>
                </a:cubicBezTo>
                <a:cubicBezTo>
                  <a:pt x="51" y="163"/>
                  <a:pt x="51" y="163"/>
                  <a:pt x="51" y="163"/>
                </a:cubicBezTo>
                <a:cubicBezTo>
                  <a:pt x="50" y="164"/>
                  <a:pt x="50" y="164"/>
                  <a:pt x="50" y="164"/>
                </a:cubicBezTo>
                <a:cubicBezTo>
                  <a:pt x="49" y="163"/>
                  <a:pt x="49" y="163"/>
                  <a:pt x="49" y="163"/>
                </a:cubicBezTo>
                <a:cubicBezTo>
                  <a:pt x="50" y="163"/>
                  <a:pt x="50" y="163"/>
                  <a:pt x="50" y="163"/>
                </a:cubicBezTo>
                <a:cubicBezTo>
                  <a:pt x="51" y="162"/>
                  <a:pt x="51" y="162"/>
                  <a:pt x="51" y="162"/>
                </a:cubicBezTo>
                <a:cubicBezTo>
                  <a:pt x="52" y="162"/>
                  <a:pt x="52" y="162"/>
                  <a:pt x="52" y="162"/>
                </a:cubicBezTo>
                <a:cubicBezTo>
                  <a:pt x="52" y="161"/>
                  <a:pt x="52" y="161"/>
                  <a:pt x="52" y="161"/>
                </a:cubicBezTo>
                <a:cubicBezTo>
                  <a:pt x="53" y="160"/>
                  <a:pt x="53" y="160"/>
                  <a:pt x="53" y="160"/>
                </a:cubicBezTo>
                <a:cubicBezTo>
                  <a:pt x="53" y="159"/>
                  <a:pt x="53" y="159"/>
                  <a:pt x="53" y="159"/>
                </a:cubicBezTo>
                <a:cubicBezTo>
                  <a:pt x="54" y="159"/>
                  <a:pt x="54" y="159"/>
                  <a:pt x="54" y="159"/>
                </a:cubicBezTo>
                <a:cubicBezTo>
                  <a:pt x="55" y="158"/>
                  <a:pt x="55" y="158"/>
                  <a:pt x="55" y="158"/>
                </a:cubicBezTo>
                <a:cubicBezTo>
                  <a:pt x="55" y="157"/>
                  <a:pt x="55" y="157"/>
                  <a:pt x="55" y="157"/>
                </a:cubicBezTo>
                <a:cubicBezTo>
                  <a:pt x="54" y="157"/>
                  <a:pt x="54" y="157"/>
                  <a:pt x="54" y="157"/>
                </a:cubicBezTo>
                <a:cubicBezTo>
                  <a:pt x="53" y="156"/>
                  <a:pt x="53" y="156"/>
                  <a:pt x="53" y="156"/>
                </a:cubicBezTo>
                <a:cubicBezTo>
                  <a:pt x="53" y="155"/>
                  <a:pt x="53" y="155"/>
                  <a:pt x="53" y="155"/>
                </a:cubicBezTo>
                <a:cubicBezTo>
                  <a:pt x="53" y="154"/>
                  <a:pt x="53" y="154"/>
                  <a:pt x="53" y="154"/>
                </a:cubicBezTo>
                <a:cubicBezTo>
                  <a:pt x="52" y="154"/>
                  <a:pt x="52" y="154"/>
                  <a:pt x="52" y="154"/>
                </a:cubicBezTo>
                <a:cubicBezTo>
                  <a:pt x="52" y="153"/>
                  <a:pt x="52" y="153"/>
                  <a:pt x="52" y="153"/>
                </a:cubicBezTo>
                <a:cubicBezTo>
                  <a:pt x="52" y="153"/>
                  <a:pt x="52" y="153"/>
                  <a:pt x="52" y="153"/>
                </a:cubicBezTo>
                <a:cubicBezTo>
                  <a:pt x="52" y="152"/>
                  <a:pt x="52" y="152"/>
                  <a:pt x="52" y="152"/>
                </a:cubicBezTo>
                <a:cubicBezTo>
                  <a:pt x="52" y="152"/>
                  <a:pt x="52" y="152"/>
                  <a:pt x="52" y="152"/>
                </a:cubicBezTo>
                <a:cubicBezTo>
                  <a:pt x="52" y="150"/>
                  <a:pt x="52" y="150"/>
                  <a:pt x="52" y="150"/>
                </a:cubicBezTo>
                <a:cubicBezTo>
                  <a:pt x="51" y="149"/>
                  <a:pt x="51" y="149"/>
                  <a:pt x="51" y="149"/>
                </a:cubicBezTo>
                <a:cubicBezTo>
                  <a:pt x="49" y="148"/>
                  <a:pt x="49" y="148"/>
                  <a:pt x="49" y="148"/>
                </a:cubicBezTo>
                <a:cubicBezTo>
                  <a:pt x="49" y="147"/>
                  <a:pt x="49" y="147"/>
                  <a:pt x="49" y="147"/>
                </a:cubicBezTo>
                <a:cubicBezTo>
                  <a:pt x="49" y="146"/>
                  <a:pt x="49" y="146"/>
                  <a:pt x="49" y="146"/>
                </a:cubicBezTo>
                <a:cubicBezTo>
                  <a:pt x="48" y="146"/>
                  <a:pt x="48" y="146"/>
                  <a:pt x="48" y="146"/>
                </a:cubicBezTo>
                <a:cubicBezTo>
                  <a:pt x="48" y="145"/>
                  <a:pt x="48" y="145"/>
                  <a:pt x="48" y="145"/>
                </a:cubicBezTo>
                <a:cubicBezTo>
                  <a:pt x="49" y="145"/>
                  <a:pt x="49" y="145"/>
                  <a:pt x="49" y="145"/>
                </a:cubicBezTo>
                <a:cubicBezTo>
                  <a:pt x="50" y="144"/>
                  <a:pt x="50" y="144"/>
                  <a:pt x="50" y="144"/>
                </a:cubicBezTo>
                <a:cubicBezTo>
                  <a:pt x="51" y="144"/>
                  <a:pt x="51" y="144"/>
                  <a:pt x="51" y="144"/>
                </a:cubicBezTo>
                <a:cubicBezTo>
                  <a:pt x="51" y="143"/>
                  <a:pt x="51" y="143"/>
                  <a:pt x="51" y="143"/>
                </a:cubicBezTo>
                <a:cubicBezTo>
                  <a:pt x="51" y="143"/>
                  <a:pt x="51" y="143"/>
                  <a:pt x="51" y="143"/>
                </a:cubicBezTo>
                <a:cubicBezTo>
                  <a:pt x="50" y="143"/>
                  <a:pt x="50" y="143"/>
                  <a:pt x="50" y="143"/>
                </a:cubicBezTo>
                <a:cubicBezTo>
                  <a:pt x="50" y="142"/>
                  <a:pt x="50" y="142"/>
                  <a:pt x="50" y="142"/>
                </a:cubicBezTo>
                <a:cubicBezTo>
                  <a:pt x="50" y="142"/>
                  <a:pt x="50" y="142"/>
                  <a:pt x="50" y="142"/>
                </a:cubicBezTo>
                <a:cubicBezTo>
                  <a:pt x="51" y="141"/>
                  <a:pt x="51" y="141"/>
                  <a:pt x="51" y="141"/>
                </a:cubicBezTo>
                <a:cubicBezTo>
                  <a:pt x="52" y="140"/>
                  <a:pt x="52" y="140"/>
                  <a:pt x="52" y="140"/>
                </a:cubicBezTo>
                <a:cubicBezTo>
                  <a:pt x="52" y="139"/>
                  <a:pt x="52" y="139"/>
                  <a:pt x="52" y="139"/>
                </a:cubicBezTo>
                <a:cubicBezTo>
                  <a:pt x="51" y="139"/>
                  <a:pt x="51" y="139"/>
                  <a:pt x="51" y="139"/>
                </a:cubicBezTo>
                <a:cubicBezTo>
                  <a:pt x="52" y="138"/>
                  <a:pt x="52" y="138"/>
                  <a:pt x="52" y="138"/>
                </a:cubicBezTo>
                <a:cubicBezTo>
                  <a:pt x="51" y="138"/>
                  <a:pt x="51" y="138"/>
                  <a:pt x="51" y="138"/>
                </a:cubicBezTo>
                <a:cubicBezTo>
                  <a:pt x="51" y="138"/>
                  <a:pt x="51" y="138"/>
                  <a:pt x="51" y="138"/>
                </a:cubicBezTo>
                <a:cubicBezTo>
                  <a:pt x="50" y="136"/>
                  <a:pt x="50" y="136"/>
                  <a:pt x="50" y="136"/>
                </a:cubicBezTo>
                <a:cubicBezTo>
                  <a:pt x="48" y="135"/>
                  <a:pt x="48" y="135"/>
                  <a:pt x="48" y="135"/>
                </a:cubicBezTo>
                <a:cubicBezTo>
                  <a:pt x="48" y="134"/>
                  <a:pt x="48" y="134"/>
                  <a:pt x="48" y="134"/>
                </a:cubicBezTo>
                <a:cubicBezTo>
                  <a:pt x="47" y="134"/>
                  <a:pt x="47" y="134"/>
                  <a:pt x="47" y="134"/>
                </a:cubicBezTo>
                <a:cubicBezTo>
                  <a:pt x="47" y="134"/>
                  <a:pt x="47" y="134"/>
                  <a:pt x="47" y="134"/>
                </a:cubicBezTo>
                <a:cubicBezTo>
                  <a:pt x="47" y="135"/>
                  <a:pt x="47" y="135"/>
                  <a:pt x="47" y="135"/>
                </a:cubicBezTo>
                <a:cubicBezTo>
                  <a:pt x="46" y="135"/>
                  <a:pt x="46" y="135"/>
                  <a:pt x="46" y="135"/>
                </a:cubicBezTo>
                <a:cubicBezTo>
                  <a:pt x="46" y="134"/>
                  <a:pt x="46" y="134"/>
                  <a:pt x="46" y="134"/>
                </a:cubicBezTo>
                <a:cubicBezTo>
                  <a:pt x="46" y="133"/>
                  <a:pt x="46" y="133"/>
                  <a:pt x="46" y="133"/>
                </a:cubicBezTo>
                <a:cubicBezTo>
                  <a:pt x="45" y="133"/>
                  <a:pt x="45" y="133"/>
                  <a:pt x="45" y="133"/>
                </a:cubicBezTo>
                <a:cubicBezTo>
                  <a:pt x="44" y="132"/>
                  <a:pt x="44" y="132"/>
                  <a:pt x="44" y="132"/>
                </a:cubicBezTo>
                <a:cubicBezTo>
                  <a:pt x="43" y="132"/>
                  <a:pt x="43" y="132"/>
                  <a:pt x="43" y="132"/>
                </a:cubicBezTo>
                <a:cubicBezTo>
                  <a:pt x="43" y="131"/>
                  <a:pt x="43" y="131"/>
                  <a:pt x="43" y="131"/>
                </a:cubicBezTo>
                <a:cubicBezTo>
                  <a:pt x="43" y="132"/>
                  <a:pt x="43" y="132"/>
                  <a:pt x="43" y="132"/>
                </a:cubicBezTo>
                <a:cubicBezTo>
                  <a:pt x="42" y="132"/>
                  <a:pt x="42" y="132"/>
                  <a:pt x="42" y="132"/>
                </a:cubicBezTo>
                <a:cubicBezTo>
                  <a:pt x="42" y="131"/>
                  <a:pt x="42" y="131"/>
                  <a:pt x="42" y="131"/>
                </a:cubicBezTo>
                <a:cubicBezTo>
                  <a:pt x="42" y="130"/>
                  <a:pt x="42" y="130"/>
                  <a:pt x="42" y="130"/>
                </a:cubicBezTo>
                <a:cubicBezTo>
                  <a:pt x="41" y="129"/>
                  <a:pt x="41" y="129"/>
                  <a:pt x="41" y="129"/>
                </a:cubicBezTo>
                <a:cubicBezTo>
                  <a:pt x="40" y="128"/>
                  <a:pt x="40" y="128"/>
                  <a:pt x="40" y="128"/>
                </a:cubicBezTo>
                <a:cubicBezTo>
                  <a:pt x="39" y="128"/>
                  <a:pt x="39" y="128"/>
                  <a:pt x="39" y="128"/>
                </a:cubicBezTo>
                <a:cubicBezTo>
                  <a:pt x="39" y="129"/>
                  <a:pt x="39" y="129"/>
                  <a:pt x="39" y="129"/>
                </a:cubicBezTo>
                <a:cubicBezTo>
                  <a:pt x="38" y="128"/>
                  <a:pt x="38" y="128"/>
                  <a:pt x="38" y="128"/>
                </a:cubicBezTo>
                <a:cubicBezTo>
                  <a:pt x="36" y="127"/>
                  <a:pt x="36" y="127"/>
                  <a:pt x="36" y="127"/>
                </a:cubicBezTo>
                <a:cubicBezTo>
                  <a:pt x="35" y="126"/>
                  <a:pt x="35" y="126"/>
                  <a:pt x="35" y="126"/>
                </a:cubicBezTo>
                <a:cubicBezTo>
                  <a:pt x="34" y="125"/>
                  <a:pt x="34" y="125"/>
                  <a:pt x="34" y="125"/>
                </a:cubicBezTo>
                <a:cubicBezTo>
                  <a:pt x="33" y="125"/>
                  <a:pt x="33" y="125"/>
                  <a:pt x="33" y="125"/>
                </a:cubicBezTo>
                <a:cubicBezTo>
                  <a:pt x="31" y="125"/>
                  <a:pt x="31" y="125"/>
                  <a:pt x="31" y="125"/>
                </a:cubicBezTo>
                <a:cubicBezTo>
                  <a:pt x="30" y="126"/>
                  <a:pt x="30" y="126"/>
                  <a:pt x="30" y="126"/>
                </a:cubicBezTo>
                <a:cubicBezTo>
                  <a:pt x="30" y="127"/>
                  <a:pt x="30" y="127"/>
                  <a:pt x="30" y="127"/>
                </a:cubicBezTo>
                <a:cubicBezTo>
                  <a:pt x="29" y="128"/>
                  <a:pt x="29" y="128"/>
                  <a:pt x="29" y="128"/>
                </a:cubicBezTo>
                <a:cubicBezTo>
                  <a:pt x="28" y="129"/>
                  <a:pt x="28" y="129"/>
                  <a:pt x="28" y="129"/>
                </a:cubicBezTo>
                <a:cubicBezTo>
                  <a:pt x="28" y="128"/>
                  <a:pt x="28" y="128"/>
                  <a:pt x="28" y="128"/>
                </a:cubicBezTo>
                <a:cubicBezTo>
                  <a:pt x="29" y="127"/>
                  <a:pt x="29" y="127"/>
                  <a:pt x="29" y="127"/>
                </a:cubicBezTo>
                <a:cubicBezTo>
                  <a:pt x="29" y="125"/>
                  <a:pt x="29" y="125"/>
                  <a:pt x="29" y="125"/>
                </a:cubicBezTo>
                <a:cubicBezTo>
                  <a:pt x="28" y="125"/>
                  <a:pt x="28" y="125"/>
                  <a:pt x="28" y="125"/>
                </a:cubicBezTo>
                <a:cubicBezTo>
                  <a:pt x="27" y="125"/>
                  <a:pt x="27" y="125"/>
                  <a:pt x="27" y="125"/>
                </a:cubicBezTo>
                <a:cubicBezTo>
                  <a:pt x="26" y="126"/>
                  <a:pt x="26" y="126"/>
                  <a:pt x="26" y="126"/>
                </a:cubicBezTo>
                <a:cubicBezTo>
                  <a:pt x="26" y="127"/>
                  <a:pt x="26" y="127"/>
                  <a:pt x="26" y="127"/>
                </a:cubicBezTo>
                <a:cubicBezTo>
                  <a:pt x="25" y="127"/>
                  <a:pt x="25" y="127"/>
                  <a:pt x="25" y="127"/>
                </a:cubicBezTo>
                <a:cubicBezTo>
                  <a:pt x="25" y="127"/>
                  <a:pt x="25" y="127"/>
                  <a:pt x="25" y="127"/>
                </a:cubicBezTo>
                <a:cubicBezTo>
                  <a:pt x="24" y="125"/>
                  <a:pt x="24" y="125"/>
                  <a:pt x="24" y="125"/>
                </a:cubicBezTo>
                <a:cubicBezTo>
                  <a:pt x="23" y="125"/>
                  <a:pt x="23" y="125"/>
                  <a:pt x="23" y="125"/>
                </a:cubicBezTo>
                <a:cubicBezTo>
                  <a:pt x="23" y="126"/>
                  <a:pt x="23" y="126"/>
                  <a:pt x="23" y="126"/>
                </a:cubicBezTo>
                <a:cubicBezTo>
                  <a:pt x="23" y="128"/>
                  <a:pt x="23" y="128"/>
                  <a:pt x="23" y="128"/>
                </a:cubicBezTo>
                <a:cubicBezTo>
                  <a:pt x="22" y="128"/>
                  <a:pt x="22" y="128"/>
                  <a:pt x="22" y="128"/>
                </a:cubicBezTo>
                <a:cubicBezTo>
                  <a:pt x="21" y="128"/>
                  <a:pt x="21" y="128"/>
                  <a:pt x="21" y="128"/>
                </a:cubicBezTo>
                <a:cubicBezTo>
                  <a:pt x="21" y="127"/>
                  <a:pt x="21" y="127"/>
                  <a:pt x="21" y="127"/>
                </a:cubicBezTo>
                <a:cubicBezTo>
                  <a:pt x="22" y="125"/>
                  <a:pt x="22" y="125"/>
                  <a:pt x="22" y="125"/>
                </a:cubicBezTo>
                <a:cubicBezTo>
                  <a:pt x="23" y="125"/>
                  <a:pt x="23" y="125"/>
                  <a:pt x="23" y="125"/>
                </a:cubicBezTo>
                <a:cubicBezTo>
                  <a:pt x="22" y="124"/>
                  <a:pt x="22" y="124"/>
                  <a:pt x="22" y="124"/>
                </a:cubicBezTo>
                <a:cubicBezTo>
                  <a:pt x="22" y="124"/>
                  <a:pt x="22" y="124"/>
                  <a:pt x="22" y="124"/>
                </a:cubicBezTo>
                <a:cubicBezTo>
                  <a:pt x="21" y="124"/>
                  <a:pt x="21" y="124"/>
                  <a:pt x="21" y="124"/>
                </a:cubicBezTo>
                <a:cubicBezTo>
                  <a:pt x="20" y="125"/>
                  <a:pt x="20" y="125"/>
                  <a:pt x="20" y="125"/>
                </a:cubicBezTo>
                <a:cubicBezTo>
                  <a:pt x="19" y="125"/>
                  <a:pt x="19" y="125"/>
                  <a:pt x="19" y="125"/>
                </a:cubicBezTo>
                <a:cubicBezTo>
                  <a:pt x="19" y="125"/>
                  <a:pt x="19" y="125"/>
                  <a:pt x="19" y="125"/>
                </a:cubicBezTo>
                <a:cubicBezTo>
                  <a:pt x="19" y="126"/>
                  <a:pt x="19" y="126"/>
                  <a:pt x="19" y="126"/>
                </a:cubicBezTo>
                <a:cubicBezTo>
                  <a:pt x="18" y="125"/>
                  <a:pt x="18" y="125"/>
                  <a:pt x="18" y="125"/>
                </a:cubicBezTo>
                <a:cubicBezTo>
                  <a:pt x="18" y="124"/>
                  <a:pt x="18" y="124"/>
                  <a:pt x="18" y="124"/>
                </a:cubicBezTo>
                <a:cubicBezTo>
                  <a:pt x="18" y="123"/>
                  <a:pt x="18" y="123"/>
                  <a:pt x="18" y="123"/>
                </a:cubicBezTo>
                <a:cubicBezTo>
                  <a:pt x="18" y="122"/>
                  <a:pt x="18" y="122"/>
                  <a:pt x="18" y="122"/>
                </a:cubicBezTo>
                <a:cubicBezTo>
                  <a:pt x="17" y="122"/>
                  <a:pt x="17" y="122"/>
                  <a:pt x="17" y="122"/>
                </a:cubicBezTo>
                <a:cubicBezTo>
                  <a:pt x="17" y="122"/>
                  <a:pt x="17" y="122"/>
                  <a:pt x="17" y="122"/>
                </a:cubicBezTo>
                <a:cubicBezTo>
                  <a:pt x="16" y="123"/>
                  <a:pt x="16" y="123"/>
                  <a:pt x="16" y="123"/>
                </a:cubicBezTo>
                <a:cubicBezTo>
                  <a:pt x="16" y="124"/>
                  <a:pt x="16" y="124"/>
                  <a:pt x="16" y="124"/>
                </a:cubicBezTo>
                <a:cubicBezTo>
                  <a:pt x="16" y="125"/>
                  <a:pt x="16" y="125"/>
                  <a:pt x="16" y="125"/>
                </a:cubicBezTo>
                <a:cubicBezTo>
                  <a:pt x="16" y="126"/>
                  <a:pt x="16" y="126"/>
                  <a:pt x="16" y="126"/>
                </a:cubicBezTo>
                <a:cubicBezTo>
                  <a:pt x="16" y="127"/>
                  <a:pt x="16" y="127"/>
                  <a:pt x="16" y="127"/>
                </a:cubicBezTo>
                <a:cubicBezTo>
                  <a:pt x="16" y="128"/>
                  <a:pt x="16" y="128"/>
                  <a:pt x="16" y="128"/>
                </a:cubicBezTo>
                <a:cubicBezTo>
                  <a:pt x="15" y="129"/>
                  <a:pt x="15" y="129"/>
                  <a:pt x="15" y="129"/>
                </a:cubicBezTo>
                <a:cubicBezTo>
                  <a:pt x="15" y="128"/>
                  <a:pt x="15" y="128"/>
                  <a:pt x="15" y="128"/>
                </a:cubicBezTo>
                <a:cubicBezTo>
                  <a:pt x="14" y="127"/>
                  <a:pt x="14" y="127"/>
                  <a:pt x="14" y="127"/>
                </a:cubicBezTo>
                <a:cubicBezTo>
                  <a:pt x="12" y="126"/>
                  <a:pt x="12" y="126"/>
                  <a:pt x="12" y="126"/>
                </a:cubicBezTo>
                <a:cubicBezTo>
                  <a:pt x="11" y="126"/>
                  <a:pt x="11" y="126"/>
                  <a:pt x="11" y="126"/>
                </a:cubicBezTo>
                <a:cubicBezTo>
                  <a:pt x="10" y="125"/>
                  <a:pt x="10" y="125"/>
                  <a:pt x="10" y="125"/>
                </a:cubicBezTo>
                <a:cubicBezTo>
                  <a:pt x="9" y="124"/>
                  <a:pt x="9" y="124"/>
                  <a:pt x="9" y="124"/>
                </a:cubicBezTo>
                <a:cubicBezTo>
                  <a:pt x="9" y="124"/>
                  <a:pt x="9" y="124"/>
                  <a:pt x="9" y="124"/>
                </a:cubicBezTo>
                <a:cubicBezTo>
                  <a:pt x="10" y="123"/>
                  <a:pt x="10" y="123"/>
                  <a:pt x="10" y="123"/>
                </a:cubicBezTo>
                <a:cubicBezTo>
                  <a:pt x="8" y="123"/>
                  <a:pt x="8" y="123"/>
                  <a:pt x="8" y="123"/>
                </a:cubicBezTo>
                <a:cubicBezTo>
                  <a:pt x="8" y="121"/>
                  <a:pt x="8" y="121"/>
                  <a:pt x="8" y="121"/>
                </a:cubicBezTo>
                <a:cubicBezTo>
                  <a:pt x="7" y="120"/>
                  <a:pt x="7" y="120"/>
                  <a:pt x="7" y="120"/>
                </a:cubicBezTo>
                <a:cubicBezTo>
                  <a:pt x="6" y="119"/>
                  <a:pt x="6" y="119"/>
                  <a:pt x="6" y="119"/>
                </a:cubicBezTo>
                <a:cubicBezTo>
                  <a:pt x="6" y="118"/>
                  <a:pt x="6" y="118"/>
                  <a:pt x="6" y="118"/>
                </a:cubicBezTo>
                <a:cubicBezTo>
                  <a:pt x="7" y="117"/>
                  <a:pt x="7" y="117"/>
                  <a:pt x="7" y="117"/>
                </a:cubicBezTo>
                <a:cubicBezTo>
                  <a:pt x="8" y="117"/>
                  <a:pt x="8" y="117"/>
                  <a:pt x="8" y="117"/>
                </a:cubicBezTo>
                <a:cubicBezTo>
                  <a:pt x="9" y="116"/>
                  <a:pt x="9" y="116"/>
                  <a:pt x="9" y="116"/>
                </a:cubicBezTo>
                <a:cubicBezTo>
                  <a:pt x="10" y="116"/>
                  <a:pt x="10" y="116"/>
                  <a:pt x="10" y="116"/>
                </a:cubicBezTo>
                <a:cubicBezTo>
                  <a:pt x="12" y="116"/>
                  <a:pt x="12" y="116"/>
                  <a:pt x="12" y="116"/>
                </a:cubicBezTo>
                <a:cubicBezTo>
                  <a:pt x="12" y="116"/>
                  <a:pt x="12" y="116"/>
                  <a:pt x="12" y="116"/>
                </a:cubicBezTo>
                <a:cubicBezTo>
                  <a:pt x="13" y="116"/>
                  <a:pt x="13" y="116"/>
                  <a:pt x="13" y="116"/>
                </a:cubicBezTo>
                <a:cubicBezTo>
                  <a:pt x="13" y="115"/>
                  <a:pt x="13" y="115"/>
                  <a:pt x="13" y="115"/>
                </a:cubicBezTo>
                <a:cubicBezTo>
                  <a:pt x="13" y="114"/>
                  <a:pt x="13" y="114"/>
                  <a:pt x="13" y="114"/>
                </a:cubicBezTo>
                <a:cubicBezTo>
                  <a:pt x="12" y="115"/>
                  <a:pt x="12" y="115"/>
                  <a:pt x="12" y="115"/>
                </a:cubicBezTo>
                <a:cubicBezTo>
                  <a:pt x="10" y="114"/>
                  <a:pt x="10" y="114"/>
                  <a:pt x="10" y="114"/>
                </a:cubicBezTo>
                <a:cubicBezTo>
                  <a:pt x="10" y="114"/>
                  <a:pt x="10" y="114"/>
                  <a:pt x="10" y="114"/>
                </a:cubicBezTo>
                <a:cubicBezTo>
                  <a:pt x="9" y="114"/>
                  <a:pt x="9" y="114"/>
                  <a:pt x="9" y="114"/>
                </a:cubicBezTo>
                <a:cubicBezTo>
                  <a:pt x="7" y="112"/>
                  <a:pt x="7" y="112"/>
                  <a:pt x="7" y="112"/>
                </a:cubicBezTo>
                <a:cubicBezTo>
                  <a:pt x="7" y="111"/>
                  <a:pt x="7" y="111"/>
                  <a:pt x="7" y="111"/>
                </a:cubicBezTo>
                <a:cubicBezTo>
                  <a:pt x="8" y="110"/>
                  <a:pt x="8" y="110"/>
                  <a:pt x="8" y="110"/>
                </a:cubicBezTo>
                <a:cubicBezTo>
                  <a:pt x="9" y="110"/>
                  <a:pt x="9" y="110"/>
                  <a:pt x="9" y="110"/>
                </a:cubicBezTo>
                <a:cubicBezTo>
                  <a:pt x="9" y="108"/>
                  <a:pt x="9" y="108"/>
                  <a:pt x="9" y="108"/>
                </a:cubicBezTo>
                <a:cubicBezTo>
                  <a:pt x="10" y="108"/>
                  <a:pt x="10" y="108"/>
                  <a:pt x="10" y="108"/>
                </a:cubicBezTo>
                <a:cubicBezTo>
                  <a:pt x="9" y="108"/>
                  <a:pt x="9" y="108"/>
                  <a:pt x="9" y="108"/>
                </a:cubicBezTo>
                <a:cubicBezTo>
                  <a:pt x="8" y="108"/>
                  <a:pt x="8" y="108"/>
                  <a:pt x="8" y="108"/>
                </a:cubicBezTo>
                <a:cubicBezTo>
                  <a:pt x="8" y="110"/>
                  <a:pt x="8" y="110"/>
                  <a:pt x="8" y="110"/>
                </a:cubicBezTo>
                <a:cubicBezTo>
                  <a:pt x="7" y="110"/>
                  <a:pt x="7" y="110"/>
                  <a:pt x="7" y="110"/>
                </a:cubicBezTo>
                <a:cubicBezTo>
                  <a:pt x="7" y="110"/>
                  <a:pt x="7" y="110"/>
                  <a:pt x="7" y="110"/>
                </a:cubicBezTo>
                <a:cubicBezTo>
                  <a:pt x="6" y="111"/>
                  <a:pt x="6" y="111"/>
                  <a:pt x="6" y="111"/>
                </a:cubicBezTo>
                <a:cubicBezTo>
                  <a:pt x="5" y="110"/>
                  <a:pt x="5" y="110"/>
                  <a:pt x="5" y="110"/>
                </a:cubicBezTo>
                <a:cubicBezTo>
                  <a:pt x="4" y="109"/>
                  <a:pt x="4" y="109"/>
                  <a:pt x="4" y="109"/>
                </a:cubicBezTo>
                <a:cubicBezTo>
                  <a:pt x="4" y="108"/>
                  <a:pt x="4" y="108"/>
                  <a:pt x="4" y="108"/>
                </a:cubicBezTo>
                <a:cubicBezTo>
                  <a:pt x="5" y="108"/>
                  <a:pt x="5" y="108"/>
                  <a:pt x="5" y="108"/>
                </a:cubicBezTo>
                <a:cubicBezTo>
                  <a:pt x="5" y="107"/>
                  <a:pt x="5" y="107"/>
                  <a:pt x="5" y="107"/>
                </a:cubicBezTo>
                <a:cubicBezTo>
                  <a:pt x="4" y="107"/>
                  <a:pt x="4" y="107"/>
                  <a:pt x="4" y="107"/>
                </a:cubicBezTo>
                <a:cubicBezTo>
                  <a:pt x="4" y="108"/>
                  <a:pt x="4" y="108"/>
                  <a:pt x="4" y="108"/>
                </a:cubicBezTo>
                <a:cubicBezTo>
                  <a:pt x="4" y="107"/>
                  <a:pt x="4" y="107"/>
                  <a:pt x="4" y="107"/>
                </a:cubicBezTo>
                <a:cubicBezTo>
                  <a:pt x="4" y="106"/>
                  <a:pt x="4" y="106"/>
                  <a:pt x="4" y="106"/>
                </a:cubicBezTo>
                <a:cubicBezTo>
                  <a:pt x="4" y="105"/>
                  <a:pt x="4" y="105"/>
                  <a:pt x="4" y="105"/>
                </a:cubicBezTo>
                <a:cubicBezTo>
                  <a:pt x="5" y="105"/>
                  <a:pt x="5" y="105"/>
                  <a:pt x="5" y="105"/>
                </a:cubicBezTo>
                <a:cubicBezTo>
                  <a:pt x="5" y="104"/>
                  <a:pt x="5" y="104"/>
                  <a:pt x="5" y="104"/>
                </a:cubicBezTo>
                <a:cubicBezTo>
                  <a:pt x="6" y="104"/>
                  <a:pt x="6" y="104"/>
                  <a:pt x="6" y="104"/>
                </a:cubicBezTo>
                <a:cubicBezTo>
                  <a:pt x="7" y="105"/>
                  <a:pt x="7" y="105"/>
                  <a:pt x="7" y="105"/>
                </a:cubicBezTo>
                <a:cubicBezTo>
                  <a:pt x="7" y="104"/>
                  <a:pt x="7" y="104"/>
                  <a:pt x="7" y="104"/>
                </a:cubicBezTo>
                <a:cubicBezTo>
                  <a:pt x="9" y="103"/>
                  <a:pt x="9" y="103"/>
                  <a:pt x="9" y="103"/>
                </a:cubicBezTo>
                <a:cubicBezTo>
                  <a:pt x="11" y="103"/>
                  <a:pt x="11" y="103"/>
                  <a:pt x="11" y="103"/>
                </a:cubicBezTo>
                <a:cubicBezTo>
                  <a:pt x="12" y="104"/>
                  <a:pt x="12" y="104"/>
                  <a:pt x="12" y="104"/>
                </a:cubicBezTo>
                <a:cubicBezTo>
                  <a:pt x="14" y="104"/>
                  <a:pt x="14" y="104"/>
                  <a:pt x="14" y="104"/>
                </a:cubicBezTo>
                <a:cubicBezTo>
                  <a:pt x="17" y="105"/>
                  <a:pt x="17" y="105"/>
                  <a:pt x="17" y="105"/>
                </a:cubicBezTo>
                <a:cubicBezTo>
                  <a:pt x="18" y="106"/>
                  <a:pt x="18" y="106"/>
                  <a:pt x="18" y="106"/>
                </a:cubicBezTo>
                <a:cubicBezTo>
                  <a:pt x="19" y="106"/>
                  <a:pt x="19" y="106"/>
                  <a:pt x="19" y="106"/>
                </a:cubicBezTo>
                <a:cubicBezTo>
                  <a:pt x="21" y="107"/>
                  <a:pt x="21" y="107"/>
                  <a:pt x="21" y="107"/>
                </a:cubicBezTo>
                <a:cubicBezTo>
                  <a:pt x="22" y="107"/>
                  <a:pt x="22" y="107"/>
                  <a:pt x="22" y="107"/>
                </a:cubicBezTo>
                <a:cubicBezTo>
                  <a:pt x="23" y="107"/>
                  <a:pt x="23" y="107"/>
                  <a:pt x="23" y="107"/>
                </a:cubicBezTo>
                <a:cubicBezTo>
                  <a:pt x="24" y="107"/>
                  <a:pt x="24" y="107"/>
                  <a:pt x="24" y="107"/>
                </a:cubicBezTo>
                <a:cubicBezTo>
                  <a:pt x="23" y="107"/>
                  <a:pt x="23" y="107"/>
                  <a:pt x="23" y="107"/>
                </a:cubicBezTo>
                <a:cubicBezTo>
                  <a:pt x="22" y="107"/>
                  <a:pt x="22" y="107"/>
                  <a:pt x="22" y="107"/>
                </a:cubicBezTo>
                <a:cubicBezTo>
                  <a:pt x="20" y="106"/>
                  <a:pt x="20" y="106"/>
                  <a:pt x="20" y="106"/>
                </a:cubicBezTo>
                <a:cubicBezTo>
                  <a:pt x="19" y="105"/>
                  <a:pt x="19" y="105"/>
                  <a:pt x="19" y="105"/>
                </a:cubicBezTo>
                <a:cubicBezTo>
                  <a:pt x="17" y="104"/>
                  <a:pt x="17" y="104"/>
                  <a:pt x="17" y="104"/>
                </a:cubicBezTo>
                <a:cubicBezTo>
                  <a:pt x="16" y="104"/>
                  <a:pt x="16" y="104"/>
                  <a:pt x="16" y="104"/>
                </a:cubicBezTo>
                <a:cubicBezTo>
                  <a:pt x="15" y="103"/>
                  <a:pt x="15" y="103"/>
                  <a:pt x="15" y="103"/>
                </a:cubicBezTo>
                <a:cubicBezTo>
                  <a:pt x="15" y="103"/>
                  <a:pt x="15" y="103"/>
                  <a:pt x="15" y="103"/>
                </a:cubicBezTo>
                <a:cubicBezTo>
                  <a:pt x="17" y="102"/>
                  <a:pt x="17" y="102"/>
                  <a:pt x="17" y="102"/>
                </a:cubicBezTo>
                <a:cubicBezTo>
                  <a:pt x="19" y="102"/>
                  <a:pt x="19" y="102"/>
                  <a:pt x="19" y="102"/>
                </a:cubicBezTo>
                <a:cubicBezTo>
                  <a:pt x="21" y="102"/>
                  <a:pt x="21" y="102"/>
                  <a:pt x="21" y="102"/>
                </a:cubicBezTo>
                <a:cubicBezTo>
                  <a:pt x="23" y="103"/>
                  <a:pt x="23" y="103"/>
                  <a:pt x="23" y="103"/>
                </a:cubicBezTo>
                <a:cubicBezTo>
                  <a:pt x="24" y="104"/>
                  <a:pt x="24" y="104"/>
                  <a:pt x="24" y="104"/>
                </a:cubicBezTo>
                <a:cubicBezTo>
                  <a:pt x="25" y="104"/>
                  <a:pt x="25" y="104"/>
                  <a:pt x="25" y="104"/>
                </a:cubicBezTo>
                <a:cubicBezTo>
                  <a:pt x="25" y="105"/>
                  <a:pt x="25" y="105"/>
                  <a:pt x="25" y="105"/>
                </a:cubicBezTo>
                <a:cubicBezTo>
                  <a:pt x="26" y="105"/>
                  <a:pt x="26" y="105"/>
                  <a:pt x="26" y="105"/>
                </a:cubicBezTo>
                <a:cubicBezTo>
                  <a:pt x="26" y="105"/>
                  <a:pt x="26" y="105"/>
                  <a:pt x="26" y="105"/>
                </a:cubicBezTo>
                <a:cubicBezTo>
                  <a:pt x="26" y="104"/>
                  <a:pt x="26" y="104"/>
                  <a:pt x="26" y="104"/>
                </a:cubicBezTo>
                <a:cubicBezTo>
                  <a:pt x="26" y="103"/>
                  <a:pt x="26" y="103"/>
                  <a:pt x="26" y="103"/>
                </a:cubicBezTo>
                <a:cubicBezTo>
                  <a:pt x="27" y="102"/>
                  <a:pt x="27" y="102"/>
                  <a:pt x="27" y="102"/>
                </a:cubicBezTo>
                <a:cubicBezTo>
                  <a:pt x="27" y="102"/>
                  <a:pt x="27" y="102"/>
                  <a:pt x="27" y="102"/>
                </a:cubicBezTo>
                <a:cubicBezTo>
                  <a:pt x="27" y="100"/>
                  <a:pt x="27" y="100"/>
                  <a:pt x="27" y="100"/>
                </a:cubicBezTo>
                <a:cubicBezTo>
                  <a:pt x="27" y="100"/>
                  <a:pt x="27" y="100"/>
                  <a:pt x="27" y="100"/>
                </a:cubicBezTo>
                <a:cubicBezTo>
                  <a:pt x="26" y="100"/>
                  <a:pt x="26" y="100"/>
                  <a:pt x="26" y="100"/>
                </a:cubicBezTo>
                <a:cubicBezTo>
                  <a:pt x="26" y="100"/>
                  <a:pt x="26" y="100"/>
                  <a:pt x="26" y="100"/>
                </a:cubicBezTo>
                <a:cubicBezTo>
                  <a:pt x="26" y="99"/>
                  <a:pt x="26" y="99"/>
                  <a:pt x="26" y="99"/>
                </a:cubicBezTo>
                <a:cubicBezTo>
                  <a:pt x="25" y="99"/>
                  <a:pt x="25" y="99"/>
                  <a:pt x="25" y="99"/>
                </a:cubicBezTo>
                <a:cubicBezTo>
                  <a:pt x="24" y="99"/>
                  <a:pt x="24" y="99"/>
                  <a:pt x="24" y="99"/>
                </a:cubicBezTo>
                <a:cubicBezTo>
                  <a:pt x="23" y="100"/>
                  <a:pt x="23" y="100"/>
                  <a:pt x="23" y="100"/>
                </a:cubicBezTo>
                <a:cubicBezTo>
                  <a:pt x="22" y="100"/>
                  <a:pt x="22" y="100"/>
                  <a:pt x="22" y="100"/>
                </a:cubicBezTo>
                <a:cubicBezTo>
                  <a:pt x="20" y="99"/>
                  <a:pt x="20" y="99"/>
                  <a:pt x="20" y="99"/>
                </a:cubicBezTo>
                <a:cubicBezTo>
                  <a:pt x="19" y="99"/>
                  <a:pt x="19" y="99"/>
                  <a:pt x="19" y="99"/>
                </a:cubicBezTo>
                <a:cubicBezTo>
                  <a:pt x="19" y="98"/>
                  <a:pt x="19" y="98"/>
                  <a:pt x="19" y="98"/>
                </a:cubicBezTo>
                <a:cubicBezTo>
                  <a:pt x="19" y="98"/>
                  <a:pt x="19" y="98"/>
                  <a:pt x="19" y="98"/>
                </a:cubicBezTo>
                <a:cubicBezTo>
                  <a:pt x="18" y="97"/>
                  <a:pt x="18" y="97"/>
                  <a:pt x="18" y="97"/>
                </a:cubicBezTo>
                <a:cubicBezTo>
                  <a:pt x="17" y="97"/>
                  <a:pt x="17" y="97"/>
                  <a:pt x="17" y="97"/>
                </a:cubicBezTo>
                <a:cubicBezTo>
                  <a:pt x="17" y="97"/>
                  <a:pt x="17" y="97"/>
                  <a:pt x="17" y="97"/>
                </a:cubicBezTo>
                <a:cubicBezTo>
                  <a:pt x="17" y="98"/>
                  <a:pt x="17" y="98"/>
                  <a:pt x="17" y="98"/>
                </a:cubicBezTo>
                <a:cubicBezTo>
                  <a:pt x="17" y="98"/>
                  <a:pt x="17" y="98"/>
                  <a:pt x="17" y="98"/>
                </a:cubicBezTo>
                <a:cubicBezTo>
                  <a:pt x="17" y="100"/>
                  <a:pt x="17" y="100"/>
                  <a:pt x="17" y="100"/>
                </a:cubicBezTo>
                <a:cubicBezTo>
                  <a:pt x="17" y="100"/>
                  <a:pt x="17" y="100"/>
                  <a:pt x="17" y="100"/>
                </a:cubicBezTo>
                <a:cubicBezTo>
                  <a:pt x="15" y="100"/>
                  <a:pt x="15" y="100"/>
                  <a:pt x="15" y="100"/>
                </a:cubicBezTo>
                <a:cubicBezTo>
                  <a:pt x="14" y="100"/>
                  <a:pt x="14" y="100"/>
                  <a:pt x="14" y="100"/>
                </a:cubicBezTo>
                <a:cubicBezTo>
                  <a:pt x="12" y="98"/>
                  <a:pt x="12" y="98"/>
                  <a:pt x="12" y="98"/>
                </a:cubicBezTo>
                <a:cubicBezTo>
                  <a:pt x="12" y="97"/>
                  <a:pt x="12" y="97"/>
                  <a:pt x="12" y="97"/>
                </a:cubicBezTo>
                <a:cubicBezTo>
                  <a:pt x="13" y="97"/>
                  <a:pt x="13" y="97"/>
                  <a:pt x="13" y="97"/>
                </a:cubicBezTo>
                <a:cubicBezTo>
                  <a:pt x="15" y="96"/>
                  <a:pt x="15" y="96"/>
                  <a:pt x="15" y="96"/>
                </a:cubicBezTo>
                <a:cubicBezTo>
                  <a:pt x="15" y="95"/>
                  <a:pt x="15" y="95"/>
                  <a:pt x="15" y="95"/>
                </a:cubicBezTo>
                <a:cubicBezTo>
                  <a:pt x="15" y="95"/>
                  <a:pt x="15" y="95"/>
                  <a:pt x="15" y="95"/>
                </a:cubicBezTo>
                <a:cubicBezTo>
                  <a:pt x="13" y="96"/>
                  <a:pt x="13" y="96"/>
                  <a:pt x="13" y="96"/>
                </a:cubicBezTo>
                <a:cubicBezTo>
                  <a:pt x="12" y="96"/>
                  <a:pt x="12" y="96"/>
                  <a:pt x="12" y="96"/>
                </a:cubicBezTo>
                <a:cubicBezTo>
                  <a:pt x="11" y="96"/>
                  <a:pt x="11" y="96"/>
                  <a:pt x="11" y="96"/>
                </a:cubicBezTo>
                <a:cubicBezTo>
                  <a:pt x="11" y="95"/>
                  <a:pt x="11" y="95"/>
                  <a:pt x="11" y="95"/>
                </a:cubicBezTo>
                <a:cubicBezTo>
                  <a:pt x="11" y="95"/>
                  <a:pt x="11" y="95"/>
                  <a:pt x="11" y="95"/>
                </a:cubicBezTo>
                <a:cubicBezTo>
                  <a:pt x="12" y="94"/>
                  <a:pt x="12" y="94"/>
                  <a:pt x="12" y="94"/>
                </a:cubicBezTo>
                <a:cubicBezTo>
                  <a:pt x="13" y="94"/>
                  <a:pt x="13" y="94"/>
                  <a:pt x="13" y="94"/>
                </a:cubicBezTo>
                <a:cubicBezTo>
                  <a:pt x="14" y="92"/>
                  <a:pt x="14" y="92"/>
                  <a:pt x="14" y="92"/>
                </a:cubicBezTo>
                <a:cubicBezTo>
                  <a:pt x="14" y="92"/>
                  <a:pt x="14" y="92"/>
                  <a:pt x="14" y="92"/>
                </a:cubicBezTo>
                <a:cubicBezTo>
                  <a:pt x="13" y="91"/>
                  <a:pt x="13" y="91"/>
                  <a:pt x="13" y="91"/>
                </a:cubicBezTo>
                <a:cubicBezTo>
                  <a:pt x="13" y="92"/>
                  <a:pt x="13" y="92"/>
                  <a:pt x="13" y="92"/>
                </a:cubicBezTo>
                <a:cubicBezTo>
                  <a:pt x="13" y="92"/>
                  <a:pt x="13" y="92"/>
                  <a:pt x="13" y="92"/>
                </a:cubicBezTo>
                <a:cubicBezTo>
                  <a:pt x="11" y="93"/>
                  <a:pt x="11" y="93"/>
                  <a:pt x="11" y="93"/>
                </a:cubicBezTo>
                <a:cubicBezTo>
                  <a:pt x="10" y="93"/>
                  <a:pt x="10" y="93"/>
                  <a:pt x="10" y="93"/>
                </a:cubicBezTo>
                <a:cubicBezTo>
                  <a:pt x="9" y="93"/>
                  <a:pt x="9" y="93"/>
                  <a:pt x="9" y="93"/>
                </a:cubicBezTo>
                <a:cubicBezTo>
                  <a:pt x="8" y="92"/>
                  <a:pt x="8" y="92"/>
                  <a:pt x="8" y="92"/>
                </a:cubicBezTo>
                <a:cubicBezTo>
                  <a:pt x="9" y="92"/>
                  <a:pt x="9" y="92"/>
                  <a:pt x="9" y="92"/>
                </a:cubicBezTo>
                <a:cubicBezTo>
                  <a:pt x="9" y="91"/>
                  <a:pt x="9" y="91"/>
                  <a:pt x="9" y="91"/>
                </a:cubicBezTo>
                <a:cubicBezTo>
                  <a:pt x="10" y="91"/>
                  <a:pt x="10" y="91"/>
                  <a:pt x="10" y="91"/>
                </a:cubicBezTo>
                <a:cubicBezTo>
                  <a:pt x="10" y="90"/>
                  <a:pt x="10" y="90"/>
                  <a:pt x="10" y="90"/>
                </a:cubicBezTo>
                <a:cubicBezTo>
                  <a:pt x="9" y="90"/>
                  <a:pt x="9" y="90"/>
                  <a:pt x="9" y="90"/>
                </a:cubicBezTo>
                <a:cubicBezTo>
                  <a:pt x="8" y="90"/>
                  <a:pt x="8" y="90"/>
                  <a:pt x="8" y="90"/>
                </a:cubicBezTo>
                <a:cubicBezTo>
                  <a:pt x="7" y="89"/>
                  <a:pt x="7" y="89"/>
                  <a:pt x="7" y="89"/>
                </a:cubicBezTo>
                <a:cubicBezTo>
                  <a:pt x="6" y="87"/>
                  <a:pt x="6" y="87"/>
                  <a:pt x="6" y="87"/>
                </a:cubicBezTo>
                <a:cubicBezTo>
                  <a:pt x="6" y="86"/>
                  <a:pt x="6" y="86"/>
                  <a:pt x="6" y="86"/>
                </a:cubicBezTo>
                <a:cubicBezTo>
                  <a:pt x="4" y="85"/>
                  <a:pt x="4" y="85"/>
                  <a:pt x="4" y="85"/>
                </a:cubicBezTo>
                <a:cubicBezTo>
                  <a:pt x="4" y="85"/>
                  <a:pt x="4" y="85"/>
                  <a:pt x="4" y="85"/>
                </a:cubicBezTo>
                <a:cubicBezTo>
                  <a:pt x="5" y="85"/>
                  <a:pt x="5" y="85"/>
                  <a:pt x="5" y="85"/>
                </a:cubicBezTo>
                <a:cubicBezTo>
                  <a:pt x="6" y="84"/>
                  <a:pt x="6" y="84"/>
                  <a:pt x="6" y="84"/>
                </a:cubicBezTo>
                <a:cubicBezTo>
                  <a:pt x="6" y="83"/>
                  <a:pt x="6" y="83"/>
                  <a:pt x="6" y="83"/>
                </a:cubicBezTo>
                <a:cubicBezTo>
                  <a:pt x="7" y="83"/>
                  <a:pt x="7" y="83"/>
                  <a:pt x="7" y="83"/>
                </a:cubicBezTo>
                <a:cubicBezTo>
                  <a:pt x="7" y="83"/>
                  <a:pt x="7" y="83"/>
                  <a:pt x="7" y="83"/>
                </a:cubicBezTo>
                <a:cubicBezTo>
                  <a:pt x="8" y="83"/>
                  <a:pt x="8" y="83"/>
                  <a:pt x="8" y="83"/>
                </a:cubicBezTo>
                <a:cubicBezTo>
                  <a:pt x="8" y="82"/>
                  <a:pt x="8" y="82"/>
                  <a:pt x="8" y="82"/>
                </a:cubicBezTo>
                <a:cubicBezTo>
                  <a:pt x="7" y="82"/>
                  <a:pt x="7" y="82"/>
                  <a:pt x="7" y="82"/>
                </a:cubicBezTo>
                <a:cubicBezTo>
                  <a:pt x="6" y="82"/>
                  <a:pt x="6" y="82"/>
                  <a:pt x="6" y="82"/>
                </a:cubicBezTo>
                <a:cubicBezTo>
                  <a:pt x="6" y="81"/>
                  <a:pt x="6" y="81"/>
                  <a:pt x="6" y="81"/>
                </a:cubicBezTo>
                <a:cubicBezTo>
                  <a:pt x="6" y="81"/>
                  <a:pt x="6" y="81"/>
                  <a:pt x="6" y="81"/>
                </a:cubicBezTo>
                <a:cubicBezTo>
                  <a:pt x="7" y="81"/>
                  <a:pt x="7" y="81"/>
                  <a:pt x="7" y="81"/>
                </a:cubicBezTo>
                <a:cubicBezTo>
                  <a:pt x="9" y="80"/>
                  <a:pt x="9" y="80"/>
                  <a:pt x="9" y="80"/>
                </a:cubicBezTo>
                <a:cubicBezTo>
                  <a:pt x="9" y="79"/>
                  <a:pt x="9" y="79"/>
                  <a:pt x="9" y="79"/>
                </a:cubicBezTo>
                <a:cubicBezTo>
                  <a:pt x="9" y="79"/>
                  <a:pt x="9" y="79"/>
                  <a:pt x="9" y="79"/>
                </a:cubicBezTo>
                <a:cubicBezTo>
                  <a:pt x="10" y="78"/>
                  <a:pt x="10" y="78"/>
                  <a:pt x="10" y="78"/>
                </a:cubicBezTo>
                <a:cubicBezTo>
                  <a:pt x="11" y="78"/>
                  <a:pt x="11" y="78"/>
                  <a:pt x="11" y="78"/>
                </a:cubicBezTo>
                <a:cubicBezTo>
                  <a:pt x="12" y="78"/>
                  <a:pt x="12" y="78"/>
                  <a:pt x="12" y="78"/>
                </a:cubicBezTo>
                <a:cubicBezTo>
                  <a:pt x="12" y="78"/>
                  <a:pt x="12" y="78"/>
                  <a:pt x="12" y="78"/>
                </a:cubicBezTo>
                <a:cubicBezTo>
                  <a:pt x="13" y="78"/>
                  <a:pt x="13" y="78"/>
                  <a:pt x="13" y="78"/>
                </a:cubicBezTo>
                <a:cubicBezTo>
                  <a:pt x="14" y="78"/>
                  <a:pt x="14" y="78"/>
                  <a:pt x="14" y="78"/>
                </a:cubicBezTo>
                <a:cubicBezTo>
                  <a:pt x="15" y="78"/>
                  <a:pt x="15" y="78"/>
                  <a:pt x="15" y="78"/>
                </a:cubicBezTo>
                <a:cubicBezTo>
                  <a:pt x="15" y="78"/>
                  <a:pt x="15" y="78"/>
                  <a:pt x="15" y="78"/>
                </a:cubicBezTo>
                <a:cubicBezTo>
                  <a:pt x="15" y="78"/>
                  <a:pt x="15" y="78"/>
                  <a:pt x="15" y="78"/>
                </a:cubicBezTo>
                <a:cubicBezTo>
                  <a:pt x="16" y="78"/>
                  <a:pt x="16" y="78"/>
                  <a:pt x="16" y="78"/>
                </a:cubicBezTo>
                <a:cubicBezTo>
                  <a:pt x="17" y="78"/>
                  <a:pt x="17" y="78"/>
                  <a:pt x="17" y="78"/>
                </a:cubicBezTo>
                <a:cubicBezTo>
                  <a:pt x="17" y="77"/>
                  <a:pt x="17" y="77"/>
                  <a:pt x="17" y="77"/>
                </a:cubicBezTo>
                <a:cubicBezTo>
                  <a:pt x="18" y="77"/>
                  <a:pt x="18" y="77"/>
                  <a:pt x="18" y="77"/>
                </a:cubicBezTo>
                <a:cubicBezTo>
                  <a:pt x="19" y="77"/>
                  <a:pt x="19" y="77"/>
                  <a:pt x="19" y="77"/>
                </a:cubicBezTo>
                <a:cubicBezTo>
                  <a:pt x="19" y="77"/>
                  <a:pt x="19" y="77"/>
                  <a:pt x="19" y="77"/>
                </a:cubicBezTo>
                <a:cubicBezTo>
                  <a:pt x="20" y="77"/>
                  <a:pt x="20" y="77"/>
                  <a:pt x="20" y="77"/>
                </a:cubicBezTo>
                <a:cubicBezTo>
                  <a:pt x="20" y="77"/>
                  <a:pt x="20" y="77"/>
                  <a:pt x="20" y="77"/>
                </a:cubicBezTo>
                <a:cubicBezTo>
                  <a:pt x="21" y="77"/>
                  <a:pt x="21" y="77"/>
                  <a:pt x="21" y="77"/>
                </a:cubicBezTo>
                <a:cubicBezTo>
                  <a:pt x="26" y="75"/>
                  <a:pt x="26" y="75"/>
                  <a:pt x="26" y="75"/>
                </a:cubicBezTo>
                <a:cubicBezTo>
                  <a:pt x="27" y="75"/>
                  <a:pt x="27" y="75"/>
                  <a:pt x="27" y="75"/>
                </a:cubicBezTo>
                <a:cubicBezTo>
                  <a:pt x="27" y="76"/>
                  <a:pt x="27" y="76"/>
                  <a:pt x="27" y="76"/>
                </a:cubicBezTo>
                <a:cubicBezTo>
                  <a:pt x="27" y="75"/>
                  <a:pt x="27" y="75"/>
                  <a:pt x="27" y="75"/>
                </a:cubicBezTo>
                <a:cubicBezTo>
                  <a:pt x="27" y="75"/>
                  <a:pt x="27" y="75"/>
                  <a:pt x="27" y="75"/>
                </a:cubicBezTo>
                <a:cubicBezTo>
                  <a:pt x="27" y="74"/>
                  <a:pt x="27" y="74"/>
                  <a:pt x="27" y="74"/>
                </a:cubicBezTo>
                <a:cubicBezTo>
                  <a:pt x="29" y="73"/>
                  <a:pt x="29" y="73"/>
                  <a:pt x="29" y="73"/>
                </a:cubicBezTo>
                <a:cubicBezTo>
                  <a:pt x="31" y="73"/>
                  <a:pt x="31" y="73"/>
                  <a:pt x="31" y="73"/>
                </a:cubicBezTo>
                <a:cubicBezTo>
                  <a:pt x="32" y="73"/>
                  <a:pt x="32" y="73"/>
                  <a:pt x="32" y="73"/>
                </a:cubicBezTo>
                <a:cubicBezTo>
                  <a:pt x="33" y="73"/>
                  <a:pt x="33" y="73"/>
                  <a:pt x="33" y="73"/>
                </a:cubicBezTo>
                <a:cubicBezTo>
                  <a:pt x="34" y="74"/>
                  <a:pt x="34" y="74"/>
                  <a:pt x="34" y="74"/>
                </a:cubicBezTo>
                <a:cubicBezTo>
                  <a:pt x="35" y="73"/>
                  <a:pt x="35" y="73"/>
                  <a:pt x="35" y="73"/>
                </a:cubicBezTo>
                <a:cubicBezTo>
                  <a:pt x="36" y="73"/>
                  <a:pt x="36" y="73"/>
                  <a:pt x="36" y="73"/>
                </a:cubicBezTo>
                <a:cubicBezTo>
                  <a:pt x="38" y="73"/>
                  <a:pt x="38" y="73"/>
                  <a:pt x="38" y="73"/>
                </a:cubicBezTo>
                <a:cubicBezTo>
                  <a:pt x="38" y="74"/>
                  <a:pt x="38" y="74"/>
                  <a:pt x="38" y="74"/>
                </a:cubicBezTo>
                <a:cubicBezTo>
                  <a:pt x="39" y="74"/>
                  <a:pt x="39" y="74"/>
                  <a:pt x="39" y="74"/>
                </a:cubicBezTo>
                <a:cubicBezTo>
                  <a:pt x="40" y="74"/>
                  <a:pt x="40" y="74"/>
                  <a:pt x="40" y="74"/>
                </a:cubicBezTo>
                <a:cubicBezTo>
                  <a:pt x="41" y="75"/>
                  <a:pt x="41" y="75"/>
                  <a:pt x="41" y="75"/>
                </a:cubicBezTo>
                <a:cubicBezTo>
                  <a:pt x="42" y="75"/>
                  <a:pt x="42" y="75"/>
                  <a:pt x="42" y="75"/>
                </a:cubicBezTo>
                <a:cubicBezTo>
                  <a:pt x="43" y="75"/>
                  <a:pt x="43" y="75"/>
                  <a:pt x="43" y="75"/>
                </a:cubicBezTo>
                <a:cubicBezTo>
                  <a:pt x="43" y="74"/>
                  <a:pt x="43" y="74"/>
                  <a:pt x="43" y="74"/>
                </a:cubicBezTo>
                <a:cubicBezTo>
                  <a:pt x="44" y="73"/>
                  <a:pt x="44" y="73"/>
                  <a:pt x="44" y="73"/>
                </a:cubicBezTo>
                <a:cubicBezTo>
                  <a:pt x="45" y="72"/>
                  <a:pt x="45" y="72"/>
                  <a:pt x="45" y="72"/>
                </a:cubicBezTo>
                <a:cubicBezTo>
                  <a:pt x="46" y="71"/>
                  <a:pt x="46" y="71"/>
                  <a:pt x="46" y="71"/>
                </a:cubicBezTo>
                <a:cubicBezTo>
                  <a:pt x="47" y="70"/>
                  <a:pt x="47" y="70"/>
                  <a:pt x="47" y="70"/>
                </a:cubicBezTo>
                <a:cubicBezTo>
                  <a:pt x="48" y="69"/>
                  <a:pt x="48" y="69"/>
                  <a:pt x="48" y="69"/>
                </a:cubicBezTo>
                <a:cubicBezTo>
                  <a:pt x="49" y="68"/>
                  <a:pt x="49" y="68"/>
                  <a:pt x="49" y="68"/>
                </a:cubicBezTo>
                <a:cubicBezTo>
                  <a:pt x="50" y="67"/>
                  <a:pt x="50" y="67"/>
                  <a:pt x="50" y="67"/>
                </a:cubicBezTo>
                <a:cubicBezTo>
                  <a:pt x="50" y="66"/>
                  <a:pt x="50" y="66"/>
                  <a:pt x="50" y="66"/>
                </a:cubicBezTo>
                <a:cubicBezTo>
                  <a:pt x="49" y="66"/>
                  <a:pt x="49" y="66"/>
                  <a:pt x="49" y="66"/>
                </a:cubicBezTo>
                <a:cubicBezTo>
                  <a:pt x="49" y="65"/>
                  <a:pt x="49" y="65"/>
                  <a:pt x="49" y="65"/>
                </a:cubicBezTo>
                <a:cubicBezTo>
                  <a:pt x="50" y="63"/>
                  <a:pt x="50" y="63"/>
                  <a:pt x="50" y="63"/>
                </a:cubicBezTo>
                <a:cubicBezTo>
                  <a:pt x="51" y="63"/>
                  <a:pt x="51" y="63"/>
                  <a:pt x="51" y="63"/>
                </a:cubicBezTo>
                <a:cubicBezTo>
                  <a:pt x="53" y="63"/>
                  <a:pt x="53" y="63"/>
                  <a:pt x="53" y="63"/>
                </a:cubicBezTo>
                <a:cubicBezTo>
                  <a:pt x="54" y="63"/>
                  <a:pt x="54" y="63"/>
                  <a:pt x="54" y="63"/>
                </a:cubicBezTo>
                <a:cubicBezTo>
                  <a:pt x="55" y="62"/>
                  <a:pt x="55" y="62"/>
                  <a:pt x="55" y="62"/>
                </a:cubicBezTo>
                <a:cubicBezTo>
                  <a:pt x="54" y="61"/>
                  <a:pt x="54" y="61"/>
                  <a:pt x="54" y="61"/>
                </a:cubicBezTo>
                <a:cubicBezTo>
                  <a:pt x="53" y="61"/>
                  <a:pt x="53" y="61"/>
                  <a:pt x="53" y="61"/>
                </a:cubicBezTo>
                <a:cubicBezTo>
                  <a:pt x="52" y="61"/>
                  <a:pt x="52" y="61"/>
                  <a:pt x="52" y="61"/>
                </a:cubicBezTo>
                <a:cubicBezTo>
                  <a:pt x="52" y="60"/>
                  <a:pt x="52" y="60"/>
                  <a:pt x="52" y="60"/>
                </a:cubicBezTo>
                <a:cubicBezTo>
                  <a:pt x="52" y="59"/>
                  <a:pt x="52" y="59"/>
                  <a:pt x="52" y="59"/>
                </a:cubicBezTo>
                <a:cubicBezTo>
                  <a:pt x="53" y="59"/>
                  <a:pt x="53" y="59"/>
                  <a:pt x="53" y="59"/>
                </a:cubicBezTo>
                <a:cubicBezTo>
                  <a:pt x="55" y="59"/>
                  <a:pt x="55" y="59"/>
                  <a:pt x="55" y="59"/>
                </a:cubicBezTo>
                <a:cubicBezTo>
                  <a:pt x="56" y="58"/>
                  <a:pt x="56" y="58"/>
                  <a:pt x="56" y="58"/>
                </a:cubicBezTo>
                <a:cubicBezTo>
                  <a:pt x="57" y="58"/>
                  <a:pt x="57" y="58"/>
                  <a:pt x="57" y="58"/>
                </a:cubicBezTo>
                <a:cubicBezTo>
                  <a:pt x="58" y="57"/>
                  <a:pt x="58" y="57"/>
                  <a:pt x="58" y="57"/>
                </a:cubicBezTo>
                <a:cubicBezTo>
                  <a:pt x="57" y="57"/>
                  <a:pt x="57" y="57"/>
                  <a:pt x="57" y="57"/>
                </a:cubicBezTo>
                <a:cubicBezTo>
                  <a:pt x="57" y="56"/>
                  <a:pt x="57" y="56"/>
                  <a:pt x="57" y="56"/>
                </a:cubicBezTo>
                <a:cubicBezTo>
                  <a:pt x="57" y="56"/>
                  <a:pt x="57" y="56"/>
                  <a:pt x="57" y="56"/>
                </a:cubicBezTo>
                <a:cubicBezTo>
                  <a:pt x="56" y="57"/>
                  <a:pt x="56" y="57"/>
                  <a:pt x="56" y="57"/>
                </a:cubicBezTo>
                <a:cubicBezTo>
                  <a:pt x="56" y="58"/>
                  <a:pt x="56" y="58"/>
                  <a:pt x="56" y="58"/>
                </a:cubicBezTo>
                <a:cubicBezTo>
                  <a:pt x="55" y="58"/>
                  <a:pt x="55" y="58"/>
                  <a:pt x="55" y="58"/>
                </a:cubicBezTo>
                <a:cubicBezTo>
                  <a:pt x="53" y="58"/>
                  <a:pt x="53" y="58"/>
                  <a:pt x="53" y="58"/>
                </a:cubicBezTo>
                <a:cubicBezTo>
                  <a:pt x="52" y="58"/>
                  <a:pt x="52" y="58"/>
                  <a:pt x="52" y="58"/>
                </a:cubicBezTo>
                <a:cubicBezTo>
                  <a:pt x="52" y="58"/>
                  <a:pt x="52" y="58"/>
                  <a:pt x="52" y="58"/>
                </a:cubicBezTo>
                <a:cubicBezTo>
                  <a:pt x="51" y="59"/>
                  <a:pt x="51" y="59"/>
                  <a:pt x="51" y="59"/>
                </a:cubicBezTo>
                <a:cubicBezTo>
                  <a:pt x="50" y="59"/>
                  <a:pt x="50" y="59"/>
                  <a:pt x="50" y="59"/>
                </a:cubicBezTo>
                <a:cubicBezTo>
                  <a:pt x="49" y="58"/>
                  <a:pt x="49" y="58"/>
                  <a:pt x="49" y="58"/>
                </a:cubicBezTo>
                <a:cubicBezTo>
                  <a:pt x="48" y="57"/>
                  <a:pt x="48" y="57"/>
                  <a:pt x="48" y="57"/>
                </a:cubicBezTo>
                <a:cubicBezTo>
                  <a:pt x="47" y="57"/>
                  <a:pt x="47" y="57"/>
                  <a:pt x="47" y="57"/>
                </a:cubicBezTo>
                <a:cubicBezTo>
                  <a:pt x="47" y="58"/>
                  <a:pt x="47" y="58"/>
                  <a:pt x="47" y="58"/>
                </a:cubicBezTo>
                <a:cubicBezTo>
                  <a:pt x="46" y="58"/>
                  <a:pt x="46" y="58"/>
                  <a:pt x="46" y="58"/>
                </a:cubicBezTo>
                <a:cubicBezTo>
                  <a:pt x="46" y="57"/>
                  <a:pt x="46" y="57"/>
                  <a:pt x="46" y="57"/>
                </a:cubicBezTo>
                <a:cubicBezTo>
                  <a:pt x="45" y="57"/>
                  <a:pt x="45" y="57"/>
                  <a:pt x="45" y="57"/>
                </a:cubicBezTo>
                <a:cubicBezTo>
                  <a:pt x="44" y="57"/>
                  <a:pt x="44" y="57"/>
                  <a:pt x="44" y="57"/>
                </a:cubicBezTo>
                <a:cubicBezTo>
                  <a:pt x="44" y="57"/>
                  <a:pt x="44" y="57"/>
                  <a:pt x="44" y="57"/>
                </a:cubicBezTo>
                <a:cubicBezTo>
                  <a:pt x="44" y="56"/>
                  <a:pt x="44" y="56"/>
                  <a:pt x="44" y="56"/>
                </a:cubicBezTo>
                <a:cubicBezTo>
                  <a:pt x="44" y="56"/>
                  <a:pt x="44" y="56"/>
                  <a:pt x="44" y="56"/>
                </a:cubicBezTo>
                <a:cubicBezTo>
                  <a:pt x="44" y="55"/>
                  <a:pt x="44" y="55"/>
                  <a:pt x="44" y="55"/>
                </a:cubicBezTo>
                <a:cubicBezTo>
                  <a:pt x="44" y="54"/>
                  <a:pt x="44" y="54"/>
                  <a:pt x="44" y="54"/>
                </a:cubicBezTo>
                <a:cubicBezTo>
                  <a:pt x="45" y="54"/>
                  <a:pt x="45" y="54"/>
                  <a:pt x="45" y="54"/>
                </a:cubicBezTo>
                <a:cubicBezTo>
                  <a:pt x="46" y="53"/>
                  <a:pt x="46" y="53"/>
                  <a:pt x="46" y="53"/>
                </a:cubicBezTo>
                <a:cubicBezTo>
                  <a:pt x="46" y="52"/>
                  <a:pt x="46" y="52"/>
                  <a:pt x="46" y="52"/>
                </a:cubicBezTo>
                <a:cubicBezTo>
                  <a:pt x="47" y="52"/>
                  <a:pt x="47" y="52"/>
                  <a:pt x="47" y="52"/>
                </a:cubicBezTo>
                <a:cubicBezTo>
                  <a:pt x="47" y="51"/>
                  <a:pt x="47" y="51"/>
                  <a:pt x="47" y="51"/>
                </a:cubicBezTo>
                <a:cubicBezTo>
                  <a:pt x="47" y="51"/>
                  <a:pt x="47" y="51"/>
                  <a:pt x="47" y="51"/>
                </a:cubicBezTo>
                <a:cubicBezTo>
                  <a:pt x="46" y="50"/>
                  <a:pt x="46" y="50"/>
                  <a:pt x="46" y="50"/>
                </a:cubicBezTo>
                <a:cubicBezTo>
                  <a:pt x="47" y="50"/>
                  <a:pt x="47" y="50"/>
                  <a:pt x="47" y="50"/>
                </a:cubicBezTo>
                <a:cubicBezTo>
                  <a:pt x="48" y="49"/>
                  <a:pt x="48" y="49"/>
                  <a:pt x="48" y="49"/>
                </a:cubicBezTo>
                <a:cubicBezTo>
                  <a:pt x="49" y="49"/>
                  <a:pt x="49" y="49"/>
                  <a:pt x="49" y="49"/>
                </a:cubicBezTo>
                <a:cubicBezTo>
                  <a:pt x="49" y="48"/>
                  <a:pt x="49" y="48"/>
                  <a:pt x="49" y="48"/>
                </a:cubicBezTo>
                <a:cubicBezTo>
                  <a:pt x="50" y="48"/>
                  <a:pt x="50" y="48"/>
                  <a:pt x="50" y="48"/>
                </a:cubicBezTo>
                <a:cubicBezTo>
                  <a:pt x="52" y="47"/>
                  <a:pt x="52" y="47"/>
                  <a:pt x="52" y="47"/>
                </a:cubicBezTo>
                <a:cubicBezTo>
                  <a:pt x="52" y="46"/>
                  <a:pt x="52" y="46"/>
                  <a:pt x="52" y="46"/>
                </a:cubicBezTo>
                <a:cubicBezTo>
                  <a:pt x="53" y="46"/>
                  <a:pt x="53" y="46"/>
                  <a:pt x="53" y="46"/>
                </a:cubicBezTo>
                <a:cubicBezTo>
                  <a:pt x="55" y="46"/>
                  <a:pt x="55" y="46"/>
                  <a:pt x="55" y="46"/>
                </a:cubicBezTo>
                <a:cubicBezTo>
                  <a:pt x="56" y="46"/>
                  <a:pt x="56" y="46"/>
                  <a:pt x="56" y="46"/>
                </a:cubicBezTo>
                <a:cubicBezTo>
                  <a:pt x="55" y="45"/>
                  <a:pt x="55" y="45"/>
                  <a:pt x="55" y="45"/>
                </a:cubicBezTo>
                <a:cubicBezTo>
                  <a:pt x="55" y="45"/>
                  <a:pt x="55" y="45"/>
                  <a:pt x="55" y="45"/>
                </a:cubicBezTo>
                <a:cubicBezTo>
                  <a:pt x="55" y="44"/>
                  <a:pt x="55" y="44"/>
                  <a:pt x="55" y="44"/>
                </a:cubicBezTo>
                <a:cubicBezTo>
                  <a:pt x="55" y="44"/>
                  <a:pt x="55" y="44"/>
                  <a:pt x="55" y="44"/>
                </a:cubicBezTo>
                <a:cubicBezTo>
                  <a:pt x="57" y="44"/>
                  <a:pt x="57" y="44"/>
                  <a:pt x="57" y="44"/>
                </a:cubicBezTo>
                <a:cubicBezTo>
                  <a:pt x="57" y="45"/>
                  <a:pt x="57" y="45"/>
                  <a:pt x="57" y="45"/>
                </a:cubicBezTo>
                <a:cubicBezTo>
                  <a:pt x="57" y="44"/>
                  <a:pt x="57" y="44"/>
                  <a:pt x="57" y="44"/>
                </a:cubicBezTo>
                <a:cubicBezTo>
                  <a:pt x="59" y="43"/>
                  <a:pt x="59" y="43"/>
                  <a:pt x="59" y="43"/>
                </a:cubicBezTo>
                <a:cubicBezTo>
                  <a:pt x="59" y="42"/>
                  <a:pt x="59" y="42"/>
                  <a:pt x="59" y="42"/>
                </a:cubicBezTo>
                <a:cubicBezTo>
                  <a:pt x="59" y="41"/>
                  <a:pt x="59" y="41"/>
                  <a:pt x="59" y="41"/>
                </a:cubicBezTo>
                <a:cubicBezTo>
                  <a:pt x="60" y="40"/>
                  <a:pt x="60" y="40"/>
                  <a:pt x="60" y="40"/>
                </a:cubicBezTo>
                <a:cubicBezTo>
                  <a:pt x="61" y="40"/>
                  <a:pt x="61" y="40"/>
                  <a:pt x="61" y="40"/>
                </a:cubicBezTo>
                <a:cubicBezTo>
                  <a:pt x="62" y="39"/>
                  <a:pt x="62" y="39"/>
                  <a:pt x="62" y="39"/>
                </a:cubicBezTo>
                <a:cubicBezTo>
                  <a:pt x="63" y="39"/>
                  <a:pt x="63" y="39"/>
                  <a:pt x="63" y="39"/>
                </a:cubicBezTo>
                <a:cubicBezTo>
                  <a:pt x="63" y="39"/>
                  <a:pt x="63" y="39"/>
                  <a:pt x="63" y="39"/>
                </a:cubicBezTo>
                <a:cubicBezTo>
                  <a:pt x="64" y="39"/>
                  <a:pt x="64" y="39"/>
                  <a:pt x="64" y="39"/>
                </a:cubicBezTo>
                <a:cubicBezTo>
                  <a:pt x="64" y="40"/>
                  <a:pt x="64" y="40"/>
                  <a:pt x="64" y="40"/>
                </a:cubicBezTo>
                <a:cubicBezTo>
                  <a:pt x="64" y="42"/>
                  <a:pt x="64" y="42"/>
                  <a:pt x="64" y="42"/>
                </a:cubicBezTo>
                <a:cubicBezTo>
                  <a:pt x="64" y="43"/>
                  <a:pt x="64" y="43"/>
                  <a:pt x="64" y="43"/>
                </a:cubicBezTo>
                <a:cubicBezTo>
                  <a:pt x="64" y="45"/>
                  <a:pt x="64" y="45"/>
                  <a:pt x="64" y="45"/>
                </a:cubicBezTo>
                <a:cubicBezTo>
                  <a:pt x="64" y="47"/>
                  <a:pt x="64" y="47"/>
                  <a:pt x="64" y="47"/>
                </a:cubicBezTo>
                <a:cubicBezTo>
                  <a:pt x="65" y="47"/>
                  <a:pt x="65" y="47"/>
                  <a:pt x="65" y="47"/>
                </a:cubicBezTo>
                <a:cubicBezTo>
                  <a:pt x="65" y="47"/>
                  <a:pt x="65" y="47"/>
                  <a:pt x="65" y="47"/>
                </a:cubicBezTo>
                <a:cubicBezTo>
                  <a:pt x="65" y="45"/>
                  <a:pt x="65" y="45"/>
                  <a:pt x="65" y="45"/>
                </a:cubicBezTo>
                <a:cubicBezTo>
                  <a:pt x="65" y="43"/>
                  <a:pt x="65" y="43"/>
                  <a:pt x="65" y="43"/>
                </a:cubicBezTo>
                <a:cubicBezTo>
                  <a:pt x="65" y="42"/>
                  <a:pt x="65" y="42"/>
                  <a:pt x="65" y="42"/>
                </a:cubicBezTo>
                <a:cubicBezTo>
                  <a:pt x="65" y="41"/>
                  <a:pt x="65" y="41"/>
                  <a:pt x="65" y="41"/>
                </a:cubicBezTo>
                <a:cubicBezTo>
                  <a:pt x="65" y="39"/>
                  <a:pt x="65" y="39"/>
                  <a:pt x="65" y="39"/>
                </a:cubicBezTo>
                <a:cubicBezTo>
                  <a:pt x="66" y="39"/>
                  <a:pt x="66" y="39"/>
                  <a:pt x="66" y="39"/>
                </a:cubicBezTo>
                <a:cubicBezTo>
                  <a:pt x="66" y="39"/>
                  <a:pt x="66" y="39"/>
                  <a:pt x="66" y="39"/>
                </a:cubicBezTo>
                <a:cubicBezTo>
                  <a:pt x="67" y="38"/>
                  <a:pt x="67" y="38"/>
                  <a:pt x="67" y="38"/>
                </a:cubicBezTo>
                <a:cubicBezTo>
                  <a:pt x="67" y="38"/>
                  <a:pt x="67" y="38"/>
                  <a:pt x="67" y="38"/>
                </a:cubicBezTo>
                <a:cubicBezTo>
                  <a:pt x="68" y="38"/>
                  <a:pt x="68" y="38"/>
                  <a:pt x="68" y="38"/>
                </a:cubicBezTo>
                <a:cubicBezTo>
                  <a:pt x="68" y="39"/>
                  <a:pt x="68" y="39"/>
                  <a:pt x="68" y="39"/>
                </a:cubicBezTo>
                <a:cubicBezTo>
                  <a:pt x="68" y="39"/>
                  <a:pt x="68" y="39"/>
                  <a:pt x="68" y="39"/>
                </a:cubicBezTo>
                <a:cubicBezTo>
                  <a:pt x="69" y="39"/>
                  <a:pt x="69" y="39"/>
                  <a:pt x="69" y="39"/>
                </a:cubicBezTo>
                <a:cubicBezTo>
                  <a:pt x="69" y="39"/>
                  <a:pt x="69" y="39"/>
                  <a:pt x="69" y="39"/>
                </a:cubicBezTo>
                <a:cubicBezTo>
                  <a:pt x="69" y="40"/>
                  <a:pt x="69" y="40"/>
                  <a:pt x="69" y="40"/>
                </a:cubicBezTo>
                <a:cubicBezTo>
                  <a:pt x="69" y="41"/>
                  <a:pt x="69" y="41"/>
                  <a:pt x="69" y="41"/>
                </a:cubicBezTo>
                <a:cubicBezTo>
                  <a:pt x="70" y="41"/>
                  <a:pt x="70" y="41"/>
                  <a:pt x="70" y="41"/>
                </a:cubicBezTo>
                <a:cubicBezTo>
                  <a:pt x="72" y="41"/>
                  <a:pt x="72" y="41"/>
                  <a:pt x="72" y="41"/>
                </a:cubicBezTo>
                <a:cubicBezTo>
                  <a:pt x="73" y="41"/>
                  <a:pt x="73" y="41"/>
                  <a:pt x="73" y="41"/>
                </a:cubicBezTo>
                <a:cubicBezTo>
                  <a:pt x="74" y="41"/>
                  <a:pt x="74" y="41"/>
                  <a:pt x="74" y="41"/>
                </a:cubicBezTo>
                <a:cubicBezTo>
                  <a:pt x="74" y="40"/>
                  <a:pt x="74" y="40"/>
                  <a:pt x="74" y="40"/>
                </a:cubicBezTo>
                <a:cubicBezTo>
                  <a:pt x="73" y="40"/>
                  <a:pt x="73" y="40"/>
                  <a:pt x="73" y="40"/>
                </a:cubicBezTo>
                <a:cubicBezTo>
                  <a:pt x="74" y="39"/>
                  <a:pt x="74" y="39"/>
                  <a:pt x="74" y="39"/>
                </a:cubicBezTo>
                <a:cubicBezTo>
                  <a:pt x="74" y="38"/>
                  <a:pt x="74" y="38"/>
                  <a:pt x="74" y="38"/>
                </a:cubicBezTo>
                <a:cubicBezTo>
                  <a:pt x="75" y="37"/>
                  <a:pt x="75" y="37"/>
                  <a:pt x="75" y="37"/>
                </a:cubicBezTo>
                <a:cubicBezTo>
                  <a:pt x="75" y="37"/>
                  <a:pt x="75" y="37"/>
                  <a:pt x="75" y="37"/>
                </a:cubicBezTo>
                <a:cubicBezTo>
                  <a:pt x="76" y="37"/>
                  <a:pt x="76" y="37"/>
                  <a:pt x="76" y="37"/>
                </a:cubicBezTo>
                <a:cubicBezTo>
                  <a:pt x="78" y="36"/>
                  <a:pt x="78" y="36"/>
                  <a:pt x="78" y="36"/>
                </a:cubicBezTo>
                <a:cubicBezTo>
                  <a:pt x="78" y="35"/>
                  <a:pt x="78" y="35"/>
                  <a:pt x="78" y="35"/>
                </a:cubicBezTo>
                <a:cubicBezTo>
                  <a:pt x="78" y="33"/>
                  <a:pt x="78" y="33"/>
                  <a:pt x="78" y="33"/>
                </a:cubicBezTo>
                <a:cubicBezTo>
                  <a:pt x="78" y="33"/>
                  <a:pt x="78" y="33"/>
                  <a:pt x="78" y="33"/>
                </a:cubicBezTo>
                <a:cubicBezTo>
                  <a:pt x="77" y="33"/>
                  <a:pt x="77" y="33"/>
                  <a:pt x="77" y="33"/>
                </a:cubicBezTo>
                <a:cubicBezTo>
                  <a:pt x="77" y="33"/>
                  <a:pt x="77" y="33"/>
                  <a:pt x="77" y="33"/>
                </a:cubicBezTo>
                <a:cubicBezTo>
                  <a:pt x="77" y="32"/>
                  <a:pt x="77" y="32"/>
                  <a:pt x="77" y="32"/>
                </a:cubicBezTo>
                <a:cubicBezTo>
                  <a:pt x="78" y="31"/>
                  <a:pt x="78" y="31"/>
                  <a:pt x="78" y="31"/>
                </a:cubicBezTo>
                <a:cubicBezTo>
                  <a:pt x="78" y="29"/>
                  <a:pt x="78" y="29"/>
                  <a:pt x="78" y="29"/>
                </a:cubicBezTo>
                <a:cubicBezTo>
                  <a:pt x="78" y="28"/>
                  <a:pt x="78" y="28"/>
                  <a:pt x="78" y="28"/>
                </a:cubicBezTo>
                <a:cubicBezTo>
                  <a:pt x="78" y="27"/>
                  <a:pt x="78" y="27"/>
                  <a:pt x="78" y="27"/>
                </a:cubicBezTo>
                <a:cubicBezTo>
                  <a:pt x="79" y="26"/>
                  <a:pt x="79" y="26"/>
                  <a:pt x="79" y="26"/>
                </a:cubicBezTo>
                <a:cubicBezTo>
                  <a:pt x="81" y="26"/>
                  <a:pt x="81" y="26"/>
                  <a:pt x="81" y="26"/>
                </a:cubicBezTo>
                <a:cubicBezTo>
                  <a:pt x="82" y="25"/>
                  <a:pt x="82" y="25"/>
                  <a:pt x="82" y="25"/>
                </a:cubicBezTo>
                <a:cubicBezTo>
                  <a:pt x="84" y="25"/>
                  <a:pt x="84" y="25"/>
                  <a:pt x="84" y="25"/>
                </a:cubicBezTo>
                <a:cubicBezTo>
                  <a:pt x="84" y="25"/>
                  <a:pt x="84" y="25"/>
                  <a:pt x="84" y="25"/>
                </a:cubicBezTo>
                <a:cubicBezTo>
                  <a:pt x="84" y="26"/>
                  <a:pt x="84" y="26"/>
                  <a:pt x="84" y="26"/>
                </a:cubicBezTo>
                <a:cubicBezTo>
                  <a:pt x="84" y="27"/>
                  <a:pt x="84" y="27"/>
                  <a:pt x="84" y="27"/>
                </a:cubicBezTo>
                <a:cubicBezTo>
                  <a:pt x="86" y="28"/>
                  <a:pt x="86" y="28"/>
                  <a:pt x="86" y="28"/>
                </a:cubicBezTo>
                <a:cubicBezTo>
                  <a:pt x="86" y="29"/>
                  <a:pt x="86" y="29"/>
                  <a:pt x="86" y="29"/>
                </a:cubicBezTo>
                <a:cubicBezTo>
                  <a:pt x="86" y="32"/>
                  <a:pt x="86" y="32"/>
                  <a:pt x="86" y="32"/>
                </a:cubicBezTo>
                <a:cubicBezTo>
                  <a:pt x="85" y="34"/>
                  <a:pt x="85" y="34"/>
                  <a:pt x="85" y="34"/>
                </a:cubicBezTo>
                <a:cubicBezTo>
                  <a:pt x="86" y="34"/>
                  <a:pt x="86" y="34"/>
                  <a:pt x="86" y="34"/>
                </a:cubicBezTo>
                <a:cubicBezTo>
                  <a:pt x="88" y="36"/>
                  <a:pt x="88" y="36"/>
                  <a:pt x="88" y="36"/>
                </a:cubicBezTo>
                <a:cubicBezTo>
                  <a:pt x="88" y="37"/>
                  <a:pt x="88" y="37"/>
                  <a:pt x="88" y="37"/>
                </a:cubicBezTo>
                <a:cubicBezTo>
                  <a:pt x="89" y="38"/>
                  <a:pt x="89" y="38"/>
                  <a:pt x="89" y="38"/>
                </a:cubicBezTo>
                <a:cubicBezTo>
                  <a:pt x="89" y="37"/>
                  <a:pt x="89" y="37"/>
                  <a:pt x="89" y="37"/>
                </a:cubicBezTo>
                <a:cubicBezTo>
                  <a:pt x="89" y="35"/>
                  <a:pt x="89" y="35"/>
                  <a:pt x="89" y="35"/>
                </a:cubicBezTo>
                <a:cubicBezTo>
                  <a:pt x="89" y="34"/>
                  <a:pt x="89" y="34"/>
                  <a:pt x="89" y="34"/>
                </a:cubicBezTo>
                <a:cubicBezTo>
                  <a:pt x="87" y="32"/>
                  <a:pt x="87" y="32"/>
                  <a:pt x="87" y="32"/>
                </a:cubicBezTo>
                <a:cubicBezTo>
                  <a:pt x="87" y="30"/>
                  <a:pt x="87" y="30"/>
                  <a:pt x="87" y="30"/>
                </a:cubicBezTo>
                <a:cubicBezTo>
                  <a:pt x="88" y="28"/>
                  <a:pt x="88" y="28"/>
                  <a:pt x="88" y="28"/>
                </a:cubicBezTo>
                <a:cubicBezTo>
                  <a:pt x="88" y="27"/>
                  <a:pt x="88" y="27"/>
                  <a:pt x="88" y="27"/>
                </a:cubicBezTo>
                <a:cubicBezTo>
                  <a:pt x="88" y="27"/>
                  <a:pt x="88" y="27"/>
                  <a:pt x="88" y="27"/>
                </a:cubicBezTo>
                <a:cubicBezTo>
                  <a:pt x="87" y="26"/>
                  <a:pt x="87" y="26"/>
                  <a:pt x="87" y="26"/>
                </a:cubicBezTo>
                <a:cubicBezTo>
                  <a:pt x="87" y="25"/>
                  <a:pt x="87" y="25"/>
                  <a:pt x="87" y="25"/>
                </a:cubicBezTo>
                <a:cubicBezTo>
                  <a:pt x="87" y="24"/>
                  <a:pt x="87" y="24"/>
                  <a:pt x="87" y="24"/>
                </a:cubicBezTo>
                <a:cubicBezTo>
                  <a:pt x="87" y="23"/>
                  <a:pt x="87" y="23"/>
                  <a:pt x="87" y="23"/>
                </a:cubicBezTo>
                <a:cubicBezTo>
                  <a:pt x="88" y="22"/>
                  <a:pt x="88" y="22"/>
                  <a:pt x="88" y="22"/>
                </a:cubicBezTo>
                <a:cubicBezTo>
                  <a:pt x="89" y="22"/>
                  <a:pt x="89" y="22"/>
                  <a:pt x="89" y="22"/>
                </a:cubicBezTo>
                <a:cubicBezTo>
                  <a:pt x="90" y="23"/>
                  <a:pt x="90" y="23"/>
                  <a:pt x="90" y="23"/>
                </a:cubicBezTo>
                <a:cubicBezTo>
                  <a:pt x="91" y="22"/>
                  <a:pt x="91" y="22"/>
                  <a:pt x="91" y="22"/>
                </a:cubicBezTo>
                <a:cubicBezTo>
                  <a:pt x="92" y="22"/>
                  <a:pt x="92" y="22"/>
                  <a:pt x="92" y="22"/>
                </a:cubicBezTo>
                <a:cubicBezTo>
                  <a:pt x="93" y="23"/>
                  <a:pt x="93" y="23"/>
                  <a:pt x="93" y="23"/>
                </a:cubicBezTo>
                <a:cubicBezTo>
                  <a:pt x="96" y="22"/>
                  <a:pt x="96" y="22"/>
                  <a:pt x="96" y="22"/>
                </a:cubicBezTo>
                <a:cubicBezTo>
                  <a:pt x="98" y="22"/>
                  <a:pt x="98" y="22"/>
                  <a:pt x="98" y="22"/>
                </a:cubicBezTo>
                <a:cubicBezTo>
                  <a:pt x="101" y="21"/>
                  <a:pt x="101" y="21"/>
                  <a:pt x="101" y="21"/>
                </a:cubicBezTo>
                <a:cubicBezTo>
                  <a:pt x="101" y="22"/>
                  <a:pt x="101" y="22"/>
                  <a:pt x="101" y="22"/>
                </a:cubicBezTo>
                <a:cubicBezTo>
                  <a:pt x="102" y="23"/>
                  <a:pt x="102" y="23"/>
                  <a:pt x="102" y="23"/>
                </a:cubicBezTo>
                <a:cubicBezTo>
                  <a:pt x="102" y="24"/>
                  <a:pt x="102" y="24"/>
                  <a:pt x="102" y="24"/>
                </a:cubicBezTo>
                <a:cubicBezTo>
                  <a:pt x="102" y="25"/>
                  <a:pt x="102" y="25"/>
                  <a:pt x="102" y="25"/>
                </a:cubicBezTo>
                <a:cubicBezTo>
                  <a:pt x="103" y="25"/>
                  <a:pt x="103" y="25"/>
                  <a:pt x="103" y="25"/>
                </a:cubicBezTo>
                <a:cubicBezTo>
                  <a:pt x="103" y="24"/>
                  <a:pt x="103" y="24"/>
                  <a:pt x="103" y="24"/>
                </a:cubicBezTo>
                <a:cubicBezTo>
                  <a:pt x="103" y="23"/>
                  <a:pt x="103" y="23"/>
                  <a:pt x="103" y="23"/>
                </a:cubicBezTo>
                <a:cubicBezTo>
                  <a:pt x="103" y="22"/>
                  <a:pt x="103" y="22"/>
                  <a:pt x="103" y="22"/>
                </a:cubicBezTo>
                <a:cubicBezTo>
                  <a:pt x="104" y="20"/>
                  <a:pt x="104" y="20"/>
                  <a:pt x="104" y="20"/>
                </a:cubicBezTo>
                <a:cubicBezTo>
                  <a:pt x="105" y="21"/>
                  <a:pt x="105" y="21"/>
                  <a:pt x="105" y="21"/>
                </a:cubicBezTo>
                <a:cubicBezTo>
                  <a:pt x="106" y="22"/>
                  <a:pt x="106" y="22"/>
                  <a:pt x="106" y="22"/>
                </a:cubicBezTo>
                <a:cubicBezTo>
                  <a:pt x="106" y="23"/>
                  <a:pt x="106" y="23"/>
                  <a:pt x="106" y="23"/>
                </a:cubicBezTo>
                <a:cubicBezTo>
                  <a:pt x="107" y="24"/>
                  <a:pt x="107" y="24"/>
                  <a:pt x="107" y="24"/>
                </a:cubicBezTo>
                <a:cubicBezTo>
                  <a:pt x="107" y="23"/>
                  <a:pt x="107" y="23"/>
                  <a:pt x="107" y="23"/>
                </a:cubicBezTo>
                <a:cubicBezTo>
                  <a:pt x="107" y="21"/>
                  <a:pt x="107" y="21"/>
                  <a:pt x="107" y="21"/>
                </a:cubicBezTo>
                <a:cubicBezTo>
                  <a:pt x="106" y="20"/>
                  <a:pt x="106" y="20"/>
                  <a:pt x="106" y="20"/>
                </a:cubicBezTo>
                <a:cubicBezTo>
                  <a:pt x="106" y="19"/>
                  <a:pt x="106" y="19"/>
                  <a:pt x="106" y="19"/>
                </a:cubicBezTo>
                <a:cubicBezTo>
                  <a:pt x="107" y="19"/>
                  <a:pt x="107" y="19"/>
                  <a:pt x="107" y="19"/>
                </a:cubicBezTo>
                <a:cubicBezTo>
                  <a:pt x="108" y="19"/>
                  <a:pt x="108" y="19"/>
                  <a:pt x="108" y="19"/>
                </a:cubicBezTo>
                <a:cubicBezTo>
                  <a:pt x="109" y="20"/>
                  <a:pt x="109" y="20"/>
                  <a:pt x="109" y="20"/>
                </a:cubicBezTo>
                <a:cubicBezTo>
                  <a:pt x="110" y="19"/>
                  <a:pt x="110" y="19"/>
                  <a:pt x="110" y="19"/>
                </a:cubicBezTo>
                <a:cubicBezTo>
                  <a:pt x="111" y="19"/>
                  <a:pt x="111" y="19"/>
                  <a:pt x="111" y="19"/>
                </a:cubicBezTo>
                <a:cubicBezTo>
                  <a:pt x="113" y="19"/>
                  <a:pt x="113" y="19"/>
                  <a:pt x="113" y="19"/>
                </a:cubicBezTo>
                <a:cubicBezTo>
                  <a:pt x="113" y="20"/>
                  <a:pt x="113" y="20"/>
                  <a:pt x="113" y="20"/>
                </a:cubicBezTo>
                <a:cubicBezTo>
                  <a:pt x="113" y="23"/>
                  <a:pt x="113" y="23"/>
                  <a:pt x="113" y="23"/>
                </a:cubicBezTo>
                <a:cubicBezTo>
                  <a:pt x="112" y="24"/>
                  <a:pt x="112" y="24"/>
                  <a:pt x="112" y="24"/>
                </a:cubicBezTo>
                <a:cubicBezTo>
                  <a:pt x="112" y="25"/>
                  <a:pt x="112" y="25"/>
                  <a:pt x="112" y="25"/>
                </a:cubicBezTo>
                <a:cubicBezTo>
                  <a:pt x="111" y="27"/>
                  <a:pt x="111" y="27"/>
                  <a:pt x="111" y="27"/>
                </a:cubicBezTo>
                <a:cubicBezTo>
                  <a:pt x="111" y="29"/>
                  <a:pt x="111" y="29"/>
                  <a:pt x="111" y="29"/>
                </a:cubicBezTo>
                <a:cubicBezTo>
                  <a:pt x="111" y="29"/>
                  <a:pt x="111" y="29"/>
                  <a:pt x="111" y="29"/>
                </a:cubicBezTo>
                <a:cubicBezTo>
                  <a:pt x="110" y="30"/>
                  <a:pt x="110" y="30"/>
                  <a:pt x="110" y="30"/>
                </a:cubicBezTo>
                <a:cubicBezTo>
                  <a:pt x="110" y="31"/>
                  <a:pt x="110" y="31"/>
                  <a:pt x="110" y="31"/>
                </a:cubicBezTo>
                <a:cubicBezTo>
                  <a:pt x="109" y="31"/>
                  <a:pt x="109" y="31"/>
                  <a:pt x="109" y="31"/>
                </a:cubicBezTo>
                <a:cubicBezTo>
                  <a:pt x="110" y="32"/>
                  <a:pt x="110" y="32"/>
                  <a:pt x="110" y="32"/>
                </a:cubicBezTo>
                <a:cubicBezTo>
                  <a:pt x="110" y="32"/>
                  <a:pt x="110" y="32"/>
                  <a:pt x="110" y="32"/>
                </a:cubicBezTo>
                <a:cubicBezTo>
                  <a:pt x="110" y="33"/>
                  <a:pt x="110" y="33"/>
                  <a:pt x="110" y="33"/>
                </a:cubicBezTo>
                <a:cubicBezTo>
                  <a:pt x="109" y="34"/>
                  <a:pt x="109" y="34"/>
                  <a:pt x="109" y="34"/>
                </a:cubicBezTo>
                <a:cubicBezTo>
                  <a:pt x="108" y="36"/>
                  <a:pt x="108" y="36"/>
                  <a:pt x="108" y="36"/>
                </a:cubicBezTo>
                <a:cubicBezTo>
                  <a:pt x="107" y="36"/>
                  <a:pt x="107" y="36"/>
                  <a:pt x="107" y="36"/>
                </a:cubicBezTo>
                <a:cubicBezTo>
                  <a:pt x="107" y="37"/>
                  <a:pt x="107" y="37"/>
                  <a:pt x="107" y="37"/>
                </a:cubicBezTo>
                <a:cubicBezTo>
                  <a:pt x="106" y="38"/>
                  <a:pt x="106" y="38"/>
                  <a:pt x="106" y="38"/>
                </a:cubicBezTo>
                <a:cubicBezTo>
                  <a:pt x="106" y="39"/>
                  <a:pt x="106" y="39"/>
                  <a:pt x="106" y="39"/>
                </a:cubicBezTo>
                <a:cubicBezTo>
                  <a:pt x="105" y="41"/>
                  <a:pt x="105" y="41"/>
                  <a:pt x="105" y="41"/>
                </a:cubicBezTo>
                <a:cubicBezTo>
                  <a:pt x="106" y="41"/>
                  <a:pt x="106" y="41"/>
                  <a:pt x="106" y="41"/>
                </a:cubicBezTo>
                <a:cubicBezTo>
                  <a:pt x="106" y="41"/>
                  <a:pt x="106" y="41"/>
                  <a:pt x="106" y="41"/>
                </a:cubicBezTo>
                <a:cubicBezTo>
                  <a:pt x="107" y="40"/>
                  <a:pt x="107" y="40"/>
                  <a:pt x="107" y="40"/>
                </a:cubicBezTo>
                <a:cubicBezTo>
                  <a:pt x="108" y="39"/>
                  <a:pt x="108" y="39"/>
                  <a:pt x="108" y="39"/>
                </a:cubicBezTo>
                <a:cubicBezTo>
                  <a:pt x="108" y="38"/>
                  <a:pt x="108" y="38"/>
                  <a:pt x="108" y="38"/>
                </a:cubicBezTo>
                <a:cubicBezTo>
                  <a:pt x="109" y="37"/>
                  <a:pt x="109" y="37"/>
                  <a:pt x="109" y="37"/>
                </a:cubicBezTo>
                <a:cubicBezTo>
                  <a:pt x="110" y="36"/>
                  <a:pt x="110" y="36"/>
                  <a:pt x="110" y="36"/>
                </a:cubicBezTo>
                <a:cubicBezTo>
                  <a:pt x="110" y="35"/>
                  <a:pt x="110" y="35"/>
                  <a:pt x="110" y="35"/>
                </a:cubicBezTo>
                <a:cubicBezTo>
                  <a:pt x="111" y="34"/>
                  <a:pt x="111" y="34"/>
                  <a:pt x="111" y="34"/>
                </a:cubicBezTo>
                <a:cubicBezTo>
                  <a:pt x="112" y="34"/>
                  <a:pt x="112" y="34"/>
                  <a:pt x="112" y="34"/>
                </a:cubicBezTo>
                <a:cubicBezTo>
                  <a:pt x="112" y="33"/>
                  <a:pt x="112" y="33"/>
                  <a:pt x="112" y="33"/>
                </a:cubicBezTo>
                <a:cubicBezTo>
                  <a:pt x="112" y="32"/>
                  <a:pt x="112" y="32"/>
                  <a:pt x="112" y="32"/>
                </a:cubicBezTo>
                <a:cubicBezTo>
                  <a:pt x="113" y="32"/>
                  <a:pt x="113" y="32"/>
                  <a:pt x="113" y="32"/>
                </a:cubicBezTo>
                <a:cubicBezTo>
                  <a:pt x="113" y="30"/>
                  <a:pt x="113" y="30"/>
                  <a:pt x="113" y="30"/>
                </a:cubicBezTo>
                <a:cubicBezTo>
                  <a:pt x="114" y="30"/>
                  <a:pt x="114" y="30"/>
                  <a:pt x="114" y="30"/>
                </a:cubicBezTo>
                <a:cubicBezTo>
                  <a:pt x="114" y="31"/>
                  <a:pt x="114" y="31"/>
                  <a:pt x="114" y="31"/>
                </a:cubicBezTo>
                <a:cubicBezTo>
                  <a:pt x="114" y="32"/>
                  <a:pt x="114" y="32"/>
                  <a:pt x="114" y="32"/>
                </a:cubicBezTo>
                <a:cubicBezTo>
                  <a:pt x="115" y="32"/>
                  <a:pt x="115" y="32"/>
                  <a:pt x="115" y="32"/>
                </a:cubicBezTo>
                <a:cubicBezTo>
                  <a:pt x="115" y="33"/>
                  <a:pt x="115" y="33"/>
                  <a:pt x="115" y="33"/>
                </a:cubicBezTo>
                <a:cubicBezTo>
                  <a:pt x="116" y="35"/>
                  <a:pt x="116" y="35"/>
                  <a:pt x="116" y="35"/>
                </a:cubicBezTo>
                <a:cubicBezTo>
                  <a:pt x="117" y="36"/>
                  <a:pt x="117" y="36"/>
                  <a:pt x="117" y="36"/>
                </a:cubicBezTo>
                <a:cubicBezTo>
                  <a:pt x="117" y="38"/>
                  <a:pt x="117" y="38"/>
                  <a:pt x="117" y="38"/>
                </a:cubicBezTo>
                <a:cubicBezTo>
                  <a:pt x="117" y="38"/>
                  <a:pt x="117" y="38"/>
                  <a:pt x="117" y="38"/>
                </a:cubicBezTo>
                <a:cubicBezTo>
                  <a:pt x="118" y="38"/>
                  <a:pt x="118" y="38"/>
                  <a:pt x="118" y="38"/>
                </a:cubicBezTo>
                <a:cubicBezTo>
                  <a:pt x="119" y="39"/>
                  <a:pt x="119" y="39"/>
                  <a:pt x="119" y="39"/>
                </a:cubicBezTo>
                <a:cubicBezTo>
                  <a:pt x="119" y="39"/>
                  <a:pt x="119" y="39"/>
                  <a:pt x="119" y="39"/>
                </a:cubicBezTo>
                <a:cubicBezTo>
                  <a:pt x="119" y="38"/>
                  <a:pt x="119" y="38"/>
                  <a:pt x="119" y="38"/>
                </a:cubicBezTo>
                <a:cubicBezTo>
                  <a:pt x="120" y="38"/>
                  <a:pt x="120" y="38"/>
                  <a:pt x="120" y="38"/>
                </a:cubicBezTo>
                <a:cubicBezTo>
                  <a:pt x="120" y="37"/>
                  <a:pt x="120" y="37"/>
                  <a:pt x="120" y="37"/>
                </a:cubicBezTo>
                <a:cubicBezTo>
                  <a:pt x="119" y="36"/>
                  <a:pt x="119" y="36"/>
                  <a:pt x="119" y="36"/>
                </a:cubicBezTo>
                <a:cubicBezTo>
                  <a:pt x="119" y="35"/>
                  <a:pt x="119" y="35"/>
                  <a:pt x="119" y="35"/>
                </a:cubicBezTo>
                <a:cubicBezTo>
                  <a:pt x="119" y="35"/>
                  <a:pt x="119" y="35"/>
                  <a:pt x="119" y="35"/>
                </a:cubicBezTo>
                <a:cubicBezTo>
                  <a:pt x="119" y="35"/>
                  <a:pt x="119" y="35"/>
                  <a:pt x="119" y="35"/>
                </a:cubicBezTo>
                <a:cubicBezTo>
                  <a:pt x="120" y="36"/>
                  <a:pt x="120" y="36"/>
                  <a:pt x="120" y="36"/>
                </a:cubicBezTo>
                <a:cubicBezTo>
                  <a:pt x="121" y="36"/>
                  <a:pt x="121" y="36"/>
                  <a:pt x="121" y="36"/>
                </a:cubicBezTo>
                <a:cubicBezTo>
                  <a:pt x="122" y="36"/>
                  <a:pt x="122" y="36"/>
                  <a:pt x="122" y="36"/>
                </a:cubicBezTo>
                <a:cubicBezTo>
                  <a:pt x="122" y="37"/>
                  <a:pt x="122" y="37"/>
                  <a:pt x="122" y="37"/>
                </a:cubicBezTo>
                <a:cubicBezTo>
                  <a:pt x="123" y="37"/>
                  <a:pt x="123" y="37"/>
                  <a:pt x="123" y="37"/>
                </a:cubicBezTo>
                <a:cubicBezTo>
                  <a:pt x="124" y="37"/>
                  <a:pt x="124" y="37"/>
                  <a:pt x="124" y="37"/>
                </a:cubicBezTo>
                <a:cubicBezTo>
                  <a:pt x="124" y="37"/>
                  <a:pt x="124" y="37"/>
                  <a:pt x="124" y="37"/>
                </a:cubicBezTo>
                <a:cubicBezTo>
                  <a:pt x="125" y="37"/>
                  <a:pt x="125" y="37"/>
                  <a:pt x="125" y="37"/>
                </a:cubicBezTo>
                <a:cubicBezTo>
                  <a:pt x="125" y="37"/>
                  <a:pt x="125" y="37"/>
                  <a:pt x="125" y="37"/>
                </a:cubicBezTo>
                <a:cubicBezTo>
                  <a:pt x="125" y="35"/>
                  <a:pt x="125" y="35"/>
                  <a:pt x="125" y="35"/>
                </a:cubicBezTo>
                <a:cubicBezTo>
                  <a:pt x="125" y="34"/>
                  <a:pt x="125" y="34"/>
                  <a:pt x="125" y="34"/>
                </a:cubicBezTo>
                <a:cubicBezTo>
                  <a:pt x="125" y="32"/>
                  <a:pt x="125" y="32"/>
                  <a:pt x="125" y="32"/>
                </a:cubicBezTo>
                <a:cubicBezTo>
                  <a:pt x="126" y="30"/>
                  <a:pt x="126" y="30"/>
                  <a:pt x="126" y="30"/>
                </a:cubicBezTo>
                <a:cubicBezTo>
                  <a:pt x="125" y="30"/>
                  <a:pt x="125" y="30"/>
                  <a:pt x="125" y="30"/>
                </a:cubicBezTo>
                <a:cubicBezTo>
                  <a:pt x="125" y="28"/>
                  <a:pt x="125" y="28"/>
                  <a:pt x="125" y="28"/>
                </a:cubicBezTo>
                <a:cubicBezTo>
                  <a:pt x="125" y="26"/>
                  <a:pt x="125" y="26"/>
                  <a:pt x="125" y="26"/>
                </a:cubicBezTo>
                <a:cubicBezTo>
                  <a:pt x="126" y="24"/>
                  <a:pt x="126" y="24"/>
                  <a:pt x="126" y="24"/>
                </a:cubicBezTo>
                <a:cubicBezTo>
                  <a:pt x="126" y="23"/>
                  <a:pt x="126" y="23"/>
                  <a:pt x="126" y="23"/>
                </a:cubicBezTo>
                <a:cubicBezTo>
                  <a:pt x="126" y="23"/>
                  <a:pt x="126" y="23"/>
                  <a:pt x="126" y="23"/>
                </a:cubicBezTo>
                <a:cubicBezTo>
                  <a:pt x="126" y="22"/>
                  <a:pt x="126" y="22"/>
                  <a:pt x="126" y="22"/>
                </a:cubicBezTo>
                <a:cubicBezTo>
                  <a:pt x="126" y="21"/>
                  <a:pt x="126" y="21"/>
                  <a:pt x="126" y="21"/>
                </a:cubicBezTo>
                <a:cubicBezTo>
                  <a:pt x="126" y="20"/>
                  <a:pt x="126" y="20"/>
                  <a:pt x="126" y="20"/>
                </a:cubicBezTo>
                <a:cubicBezTo>
                  <a:pt x="128" y="20"/>
                  <a:pt x="128" y="20"/>
                  <a:pt x="128" y="20"/>
                </a:cubicBezTo>
                <a:cubicBezTo>
                  <a:pt x="128" y="20"/>
                  <a:pt x="128" y="20"/>
                  <a:pt x="128" y="20"/>
                </a:cubicBezTo>
                <a:cubicBezTo>
                  <a:pt x="129" y="20"/>
                  <a:pt x="129" y="20"/>
                  <a:pt x="129" y="20"/>
                </a:cubicBezTo>
                <a:cubicBezTo>
                  <a:pt x="130" y="21"/>
                  <a:pt x="130" y="21"/>
                  <a:pt x="130" y="21"/>
                </a:cubicBezTo>
                <a:cubicBezTo>
                  <a:pt x="130" y="22"/>
                  <a:pt x="130" y="22"/>
                  <a:pt x="130" y="22"/>
                </a:cubicBezTo>
                <a:cubicBezTo>
                  <a:pt x="131" y="22"/>
                  <a:pt x="131" y="22"/>
                  <a:pt x="131" y="22"/>
                </a:cubicBezTo>
                <a:cubicBezTo>
                  <a:pt x="132" y="23"/>
                  <a:pt x="132" y="23"/>
                  <a:pt x="132" y="23"/>
                </a:cubicBezTo>
                <a:cubicBezTo>
                  <a:pt x="133" y="26"/>
                  <a:pt x="133" y="26"/>
                  <a:pt x="133" y="26"/>
                </a:cubicBezTo>
                <a:cubicBezTo>
                  <a:pt x="133" y="27"/>
                  <a:pt x="133" y="27"/>
                  <a:pt x="133" y="27"/>
                </a:cubicBezTo>
                <a:cubicBezTo>
                  <a:pt x="134" y="29"/>
                  <a:pt x="134" y="29"/>
                  <a:pt x="134" y="29"/>
                </a:cubicBezTo>
                <a:cubicBezTo>
                  <a:pt x="135" y="30"/>
                  <a:pt x="135" y="30"/>
                  <a:pt x="135" y="30"/>
                </a:cubicBezTo>
                <a:cubicBezTo>
                  <a:pt x="135" y="33"/>
                  <a:pt x="135" y="33"/>
                  <a:pt x="135" y="33"/>
                </a:cubicBezTo>
                <a:cubicBezTo>
                  <a:pt x="135" y="34"/>
                  <a:pt x="135" y="34"/>
                  <a:pt x="135" y="34"/>
                </a:cubicBezTo>
                <a:cubicBezTo>
                  <a:pt x="134" y="34"/>
                  <a:pt x="134" y="34"/>
                  <a:pt x="134" y="34"/>
                </a:cubicBezTo>
                <a:cubicBezTo>
                  <a:pt x="134" y="35"/>
                  <a:pt x="134" y="35"/>
                  <a:pt x="134" y="35"/>
                </a:cubicBezTo>
                <a:cubicBezTo>
                  <a:pt x="134" y="37"/>
                  <a:pt x="134" y="37"/>
                  <a:pt x="134" y="37"/>
                </a:cubicBezTo>
                <a:cubicBezTo>
                  <a:pt x="135" y="37"/>
                  <a:pt x="135" y="37"/>
                  <a:pt x="135" y="37"/>
                </a:cubicBezTo>
                <a:cubicBezTo>
                  <a:pt x="136" y="39"/>
                  <a:pt x="136" y="39"/>
                  <a:pt x="136" y="39"/>
                </a:cubicBezTo>
                <a:cubicBezTo>
                  <a:pt x="136" y="41"/>
                  <a:pt x="136" y="41"/>
                  <a:pt x="136" y="41"/>
                </a:cubicBezTo>
                <a:cubicBezTo>
                  <a:pt x="136" y="42"/>
                  <a:pt x="136" y="42"/>
                  <a:pt x="136" y="42"/>
                </a:cubicBezTo>
                <a:cubicBezTo>
                  <a:pt x="136" y="43"/>
                  <a:pt x="136" y="43"/>
                  <a:pt x="136" y="43"/>
                </a:cubicBezTo>
                <a:cubicBezTo>
                  <a:pt x="137" y="43"/>
                  <a:pt x="137" y="43"/>
                  <a:pt x="137" y="43"/>
                </a:cubicBezTo>
                <a:cubicBezTo>
                  <a:pt x="139" y="44"/>
                  <a:pt x="139" y="44"/>
                  <a:pt x="139" y="44"/>
                </a:cubicBezTo>
                <a:cubicBezTo>
                  <a:pt x="140" y="44"/>
                  <a:pt x="140" y="44"/>
                  <a:pt x="140" y="44"/>
                </a:cubicBezTo>
                <a:cubicBezTo>
                  <a:pt x="141" y="43"/>
                  <a:pt x="141" y="43"/>
                  <a:pt x="141" y="43"/>
                </a:cubicBezTo>
                <a:cubicBezTo>
                  <a:pt x="142" y="42"/>
                  <a:pt x="142" y="42"/>
                  <a:pt x="142" y="42"/>
                </a:cubicBezTo>
                <a:cubicBezTo>
                  <a:pt x="142" y="41"/>
                  <a:pt x="142" y="41"/>
                  <a:pt x="142" y="41"/>
                </a:cubicBezTo>
                <a:cubicBezTo>
                  <a:pt x="143" y="41"/>
                  <a:pt x="143" y="41"/>
                  <a:pt x="143" y="41"/>
                </a:cubicBezTo>
                <a:cubicBezTo>
                  <a:pt x="143" y="42"/>
                  <a:pt x="143" y="42"/>
                  <a:pt x="143" y="42"/>
                </a:cubicBezTo>
                <a:cubicBezTo>
                  <a:pt x="143" y="43"/>
                  <a:pt x="143" y="43"/>
                  <a:pt x="143" y="43"/>
                </a:cubicBezTo>
                <a:cubicBezTo>
                  <a:pt x="143" y="43"/>
                  <a:pt x="143" y="43"/>
                  <a:pt x="143" y="43"/>
                </a:cubicBezTo>
                <a:cubicBezTo>
                  <a:pt x="144" y="42"/>
                  <a:pt x="144" y="42"/>
                  <a:pt x="144" y="42"/>
                </a:cubicBezTo>
                <a:cubicBezTo>
                  <a:pt x="145" y="43"/>
                  <a:pt x="145" y="43"/>
                  <a:pt x="145" y="43"/>
                </a:cubicBezTo>
                <a:cubicBezTo>
                  <a:pt x="145" y="43"/>
                  <a:pt x="145" y="43"/>
                  <a:pt x="145" y="43"/>
                </a:cubicBezTo>
                <a:cubicBezTo>
                  <a:pt x="145" y="44"/>
                  <a:pt x="145" y="44"/>
                  <a:pt x="145" y="44"/>
                </a:cubicBezTo>
                <a:cubicBezTo>
                  <a:pt x="146" y="45"/>
                  <a:pt x="146" y="45"/>
                  <a:pt x="146" y="45"/>
                </a:cubicBezTo>
                <a:cubicBezTo>
                  <a:pt x="147" y="45"/>
                  <a:pt x="147" y="45"/>
                  <a:pt x="147" y="45"/>
                </a:cubicBezTo>
                <a:cubicBezTo>
                  <a:pt x="147" y="45"/>
                  <a:pt x="147" y="45"/>
                  <a:pt x="147" y="45"/>
                </a:cubicBezTo>
                <a:cubicBezTo>
                  <a:pt x="148" y="45"/>
                  <a:pt x="148" y="45"/>
                  <a:pt x="148" y="45"/>
                </a:cubicBezTo>
                <a:cubicBezTo>
                  <a:pt x="149" y="45"/>
                  <a:pt x="149" y="45"/>
                  <a:pt x="149" y="45"/>
                </a:cubicBezTo>
                <a:cubicBezTo>
                  <a:pt x="148" y="45"/>
                  <a:pt x="148" y="45"/>
                  <a:pt x="148" y="45"/>
                </a:cubicBezTo>
                <a:cubicBezTo>
                  <a:pt x="147" y="44"/>
                  <a:pt x="147" y="44"/>
                  <a:pt x="147" y="44"/>
                </a:cubicBezTo>
                <a:cubicBezTo>
                  <a:pt x="147" y="43"/>
                  <a:pt x="147" y="43"/>
                  <a:pt x="147" y="43"/>
                </a:cubicBezTo>
                <a:cubicBezTo>
                  <a:pt x="147" y="42"/>
                  <a:pt x="147" y="42"/>
                  <a:pt x="147" y="42"/>
                </a:cubicBezTo>
                <a:cubicBezTo>
                  <a:pt x="146" y="42"/>
                  <a:pt x="146" y="42"/>
                  <a:pt x="146" y="42"/>
                </a:cubicBezTo>
                <a:cubicBezTo>
                  <a:pt x="146" y="42"/>
                  <a:pt x="146" y="42"/>
                  <a:pt x="146" y="42"/>
                </a:cubicBezTo>
                <a:cubicBezTo>
                  <a:pt x="146" y="41"/>
                  <a:pt x="146" y="41"/>
                  <a:pt x="146" y="41"/>
                </a:cubicBezTo>
                <a:cubicBezTo>
                  <a:pt x="145" y="40"/>
                  <a:pt x="145" y="40"/>
                  <a:pt x="145" y="40"/>
                </a:cubicBezTo>
                <a:cubicBezTo>
                  <a:pt x="144" y="39"/>
                  <a:pt x="144" y="39"/>
                  <a:pt x="144" y="39"/>
                </a:cubicBezTo>
                <a:cubicBezTo>
                  <a:pt x="144" y="38"/>
                  <a:pt x="144" y="38"/>
                  <a:pt x="144" y="38"/>
                </a:cubicBezTo>
                <a:cubicBezTo>
                  <a:pt x="143" y="36"/>
                  <a:pt x="143" y="36"/>
                  <a:pt x="143" y="36"/>
                </a:cubicBezTo>
                <a:cubicBezTo>
                  <a:pt x="143" y="35"/>
                  <a:pt x="143" y="35"/>
                  <a:pt x="143" y="35"/>
                </a:cubicBezTo>
                <a:cubicBezTo>
                  <a:pt x="143" y="35"/>
                  <a:pt x="143" y="35"/>
                  <a:pt x="143" y="35"/>
                </a:cubicBezTo>
                <a:cubicBezTo>
                  <a:pt x="143" y="33"/>
                  <a:pt x="143" y="33"/>
                  <a:pt x="143" y="33"/>
                </a:cubicBezTo>
                <a:cubicBezTo>
                  <a:pt x="143" y="32"/>
                  <a:pt x="143" y="32"/>
                  <a:pt x="143" y="32"/>
                </a:cubicBezTo>
                <a:cubicBezTo>
                  <a:pt x="142" y="30"/>
                  <a:pt x="142" y="30"/>
                  <a:pt x="142" y="30"/>
                </a:cubicBezTo>
                <a:cubicBezTo>
                  <a:pt x="142" y="29"/>
                  <a:pt x="142" y="29"/>
                  <a:pt x="142" y="29"/>
                </a:cubicBezTo>
                <a:cubicBezTo>
                  <a:pt x="142" y="29"/>
                  <a:pt x="142" y="29"/>
                  <a:pt x="142" y="29"/>
                </a:cubicBezTo>
                <a:cubicBezTo>
                  <a:pt x="142" y="27"/>
                  <a:pt x="142" y="27"/>
                  <a:pt x="142" y="27"/>
                </a:cubicBezTo>
                <a:cubicBezTo>
                  <a:pt x="141" y="26"/>
                  <a:pt x="141" y="26"/>
                  <a:pt x="141" y="26"/>
                </a:cubicBezTo>
                <a:cubicBezTo>
                  <a:pt x="141" y="25"/>
                  <a:pt x="141" y="25"/>
                  <a:pt x="141" y="25"/>
                </a:cubicBezTo>
                <a:cubicBezTo>
                  <a:pt x="141" y="23"/>
                  <a:pt x="141" y="23"/>
                  <a:pt x="141" y="23"/>
                </a:cubicBezTo>
                <a:cubicBezTo>
                  <a:pt x="140" y="22"/>
                  <a:pt x="140" y="22"/>
                  <a:pt x="140" y="22"/>
                </a:cubicBezTo>
                <a:cubicBezTo>
                  <a:pt x="141" y="21"/>
                  <a:pt x="141" y="21"/>
                  <a:pt x="141" y="21"/>
                </a:cubicBezTo>
                <a:cubicBezTo>
                  <a:pt x="140" y="20"/>
                  <a:pt x="140" y="20"/>
                  <a:pt x="140" y="20"/>
                </a:cubicBezTo>
                <a:cubicBezTo>
                  <a:pt x="140" y="19"/>
                  <a:pt x="140" y="19"/>
                  <a:pt x="140" y="19"/>
                </a:cubicBezTo>
                <a:cubicBezTo>
                  <a:pt x="140" y="18"/>
                  <a:pt x="140" y="18"/>
                  <a:pt x="140" y="18"/>
                </a:cubicBezTo>
                <a:cubicBezTo>
                  <a:pt x="142" y="19"/>
                  <a:pt x="142" y="19"/>
                  <a:pt x="142" y="19"/>
                </a:cubicBezTo>
                <a:cubicBezTo>
                  <a:pt x="143" y="19"/>
                  <a:pt x="143" y="19"/>
                  <a:pt x="143" y="19"/>
                </a:cubicBezTo>
                <a:cubicBezTo>
                  <a:pt x="144" y="19"/>
                  <a:pt x="144" y="19"/>
                  <a:pt x="144" y="19"/>
                </a:cubicBezTo>
                <a:cubicBezTo>
                  <a:pt x="144" y="19"/>
                  <a:pt x="144" y="19"/>
                  <a:pt x="144" y="19"/>
                </a:cubicBezTo>
                <a:cubicBezTo>
                  <a:pt x="145" y="19"/>
                  <a:pt x="145" y="19"/>
                  <a:pt x="145" y="19"/>
                </a:cubicBezTo>
                <a:cubicBezTo>
                  <a:pt x="147" y="21"/>
                  <a:pt x="147" y="21"/>
                  <a:pt x="147" y="21"/>
                </a:cubicBezTo>
                <a:cubicBezTo>
                  <a:pt x="148" y="22"/>
                  <a:pt x="148" y="22"/>
                  <a:pt x="148" y="22"/>
                </a:cubicBezTo>
                <a:cubicBezTo>
                  <a:pt x="149" y="21"/>
                  <a:pt x="149" y="21"/>
                  <a:pt x="149" y="21"/>
                </a:cubicBezTo>
                <a:cubicBezTo>
                  <a:pt x="149" y="20"/>
                  <a:pt x="149" y="20"/>
                  <a:pt x="149" y="20"/>
                </a:cubicBezTo>
                <a:cubicBezTo>
                  <a:pt x="148" y="20"/>
                  <a:pt x="148" y="20"/>
                  <a:pt x="148" y="20"/>
                </a:cubicBezTo>
                <a:cubicBezTo>
                  <a:pt x="149" y="18"/>
                  <a:pt x="149" y="18"/>
                  <a:pt x="149" y="18"/>
                </a:cubicBezTo>
                <a:cubicBezTo>
                  <a:pt x="150" y="18"/>
                  <a:pt x="150" y="18"/>
                  <a:pt x="150" y="18"/>
                </a:cubicBezTo>
                <a:cubicBezTo>
                  <a:pt x="151" y="18"/>
                  <a:pt x="151" y="18"/>
                  <a:pt x="151" y="18"/>
                </a:cubicBezTo>
                <a:cubicBezTo>
                  <a:pt x="152" y="18"/>
                  <a:pt x="152" y="18"/>
                  <a:pt x="152" y="18"/>
                </a:cubicBezTo>
                <a:cubicBezTo>
                  <a:pt x="153" y="17"/>
                  <a:pt x="153" y="17"/>
                  <a:pt x="153" y="17"/>
                </a:cubicBezTo>
                <a:cubicBezTo>
                  <a:pt x="154" y="17"/>
                  <a:pt x="154" y="17"/>
                  <a:pt x="154" y="17"/>
                </a:cubicBezTo>
                <a:cubicBezTo>
                  <a:pt x="155" y="18"/>
                  <a:pt x="155" y="18"/>
                  <a:pt x="155" y="18"/>
                </a:cubicBezTo>
                <a:cubicBezTo>
                  <a:pt x="156" y="18"/>
                  <a:pt x="156" y="18"/>
                  <a:pt x="156" y="18"/>
                </a:cubicBezTo>
                <a:cubicBezTo>
                  <a:pt x="157" y="19"/>
                  <a:pt x="157" y="19"/>
                  <a:pt x="157" y="19"/>
                </a:cubicBezTo>
                <a:cubicBezTo>
                  <a:pt x="157" y="21"/>
                  <a:pt x="157" y="21"/>
                  <a:pt x="157" y="21"/>
                </a:cubicBezTo>
                <a:cubicBezTo>
                  <a:pt x="157" y="21"/>
                  <a:pt x="157" y="21"/>
                  <a:pt x="157" y="21"/>
                </a:cubicBezTo>
                <a:cubicBezTo>
                  <a:pt x="159" y="23"/>
                  <a:pt x="159" y="23"/>
                  <a:pt x="159" y="23"/>
                </a:cubicBezTo>
                <a:cubicBezTo>
                  <a:pt x="159" y="24"/>
                  <a:pt x="159" y="24"/>
                  <a:pt x="159" y="24"/>
                </a:cubicBezTo>
                <a:cubicBezTo>
                  <a:pt x="158" y="25"/>
                  <a:pt x="158" y="25"/>
                  <a:pt x="158" y="25"/>
                </a:cubicBezTo>
                <a:cubicBezTo>
                  <a:pt x="159" y="27"/>
                  <a:pt x="159" y="27"/>
                  <a:pt x="159" y="27"/>
                </a:cubicBezTo>
                <a:cubicBezTo>
                  <a:pt x="159" y="28"/>
                  <a:pt x="159" y="28"/>
                  <a:pt x="159" y="28"/>
                </a:cubicBezTo>
                <a:cubicBezTo>
                  <a:pt x="159" y="29"/>
                  <a:pt x="159" y="29"/>
                  <a:pt x="159" y="29"/>
                </a:cubicBezTo>
                <a:cubicBezTo>
                  <a:pt x="160" y="30"/>
                  <a:pt x="160" y="30"/>
                  <a:pt x="160" y="30"/>
                </a:cubicBezTo>
                <a:cubicBezTo>
                  <a:pt x="162" y="30"/>
                  <a:pt x="162" y="30"/>
                  <a:pt x="162" y="30"/>
                </a:cubicBezTo>
                <a:cubicBezTo>
                  <a:pt x="163" y="31"/>
                  <a:pt x="163" y="31"/>
                  <a:pt x="163" y="31"/>
                </a:cubicBezTo>
                <a:cubicBezTo>
                  <a:pt x="165" y="32"/>
                  <a:pt x="165" y="32"/>
                  <a:pt x="165" y="32"/>
                </a:cubicBezTo>
                <a:cubicBezTo>
                  <a:pt x="164" y="31"/>
                  <a:pt x="164" y="31"/>
                  <a:pt x="164" y="31"/>
                </a:cubicBezTo>
                <a:cubicBezTo>
                  <a:pt x="164" y="31"/>
                  <a:pt x="164" y="31"/>
                  <a:pt x="164" y="31"/>
                </a:cubicBezTo>
                <a:cubicBezTo>
                  <a:pt x="163" y="30"/>
                  <a:pt x="163" y="30"/>
                  <a:pt x="163" y="30"/>
                </a:cubicBezTo>
                <a:cubicBezTo>
                  <a:pt x="162" y="29"/>
                  <a:pt x="162" y="29"/>
                  <a:pt x="162" y="29"/>
                </a:cubicBezTo>
                <a:cubicBezTo>
                  <a:pt x="161" y="29"/>
                  <a:pt x="161" y="29"/>
                  <a:pt x="161" y="29"/>
                </a:cubicBezTo>
                <a:cubicBezTo>
                  <a:pt x="160" y="28"/>
                  <a:pt x="160" y="28"/>
                  <a:pt x="160" y="28"/>
                </a:cubicBezTo>
                <a:cubicBezTo>
                  <a:pt x="160" y="27"/>
                  <a:pt x="160" y="27"/>
                  <a:pt x="160" y="27"/>
                </a:cubicBezTo>
                <a:cubicBezTo>
                  <a:pt x="160" y="26"/>
                  <a:pt x="160" y="26"/>
                  <a:pt x="160" y="26"/>
                </a:cubicBezTo>
                <a:cubicBezTo>
                  <a:pt x="159" y="25"/>
                  <a:pt x="159" y="25"/>
                  <a:pt x="159" y="25"/>
                </a:cubicBezTo>
                <a:cubicBezTo>
                  <a:pt x="159" y="24"/>
                  <a:pt x="159" y="24"/>
                  <a:pt x="159" y="24"/>
                </a:cubicBezTo>
                <a:cubicBezTo>
                  <a:pt x="160" y="22"/>
                  <a:pt x="160" y="22"/>
                  <a:pt x="160" y="22"/>
                </a:cubicBezTo>
                <a:cubicBezTo>
                  <a:pt x="160" y="21"/>
                  <a:pt x="160" y="21"/>
                  <a:pt x="160" y="21"/>
                </a:cubicBezTo>
                <a:cubicBezTo>
                  <a:pt x="160" y="20"/>
                  <a:pt x="160" y="20"/>
                  <a:pt x="160" y="20"/>
                </a:cubicBezTo>
                <a:cubicBezTo>
                  <a:pt x="160" y="19"/>
                  <a:pt x="160" y="19"/>
                  <a:pt x="160" y="19"/>
                </a:cubicBezTo>
                <a:cubicBezTo>
                  <a:pt x="159" y="19"/>
                  <a:pt x="159" y="19"/>
                  <a:pt x="159" y="19"/>
                </a:cubicBezTo>
                <a:cubicBezTo>
                  <a:pt x="158" y="18"/>
                  <a:pt x="158" y="18"/>
                  <a:pt x="158" y="18"/>
                </a:cubicBezTo>
                <a:cubicBezTo>
                  <a:pt x="157" y="16"/>
                  <a:pt x="157" y="16"/>
                  <a:pt x="157" y="16"/>
                </a:cubicBezTo>
                <a:cubicBezTo>
                  <a:pt x="156" y="16"/>
                  <a:pt x="156" y="16"/>
                  <a:pt x="156" y="16"/>
                </a:cubicBezTo>
                <a:cubicBezTo>
                  <a:pt x="155" y="16"/>
                  <a:pt x="155" y="16"/>
                  <a:pt x="155" y="16"/>
                </a:cubicBezTo>
                <a:cubicBezTo>
                  <a:pt x="154" y="17"/>
                  <a:pt x="154" y="17"/>
                  <a:pt x="154" y="17"/>
                </a:cubicBezTo>
                <a:cubicBezTo>
                  <a:pt x="153" y="17"/>
                  <a:pt x="153" y="17"/>
                  <a:pt x="153" y="17"/>
                </a:cubicBezTo>
                <a:cubicBezTo>
                  <a:pt x="152" y="16"/>
                  <a:pt x="152" y="16"/>
                  <a:pt x="152" y="16"/>
                </a:cubicBezTo>
                <a:cubicBezTo>
                  <a:pt x="152" y="14"/>
                  <a:pt x="152" y="14"/>
                  <a:pt x="152" y="14"/>
                </a:cubicBezTo>
                <a:cubicBezTo>
                  <a:pt x="153" y="13"/>
                  <a:pt x="153" y="13"/>
                  <a:pt x="153" y="13"/>
                </a:cubicBezTo>
                <a:cubicBezTo>
                  <a:pt x="154" y="13"/>
                  <a:pt x="154" y="13"/>
                  <a:pt x="154" y="13"/>
                </a:cubicBezTo>
                <a:cubicBezTo>
                  <a:pt x="154" y="12"/>
                  <a:pt x="154" y="12"/>
                  <a:pt x="154" y="12"/>
                </a:cubicBezTo>
                <a:cubicBezTo>
                  <a:pt x="152" y="11"/>
                  <a:pt x="152" y="11"/>
                  <a:pt x="152" y="11"/>
                </a:cubicBezTo>
                <a:cubicBezTo>
                  <a:pt x="152" y="10"/>
                  <a:pt x="152" y="10"/>
                  <a:pt x="152" y="10"/>
                </a:cubicBezTo>
                <a:cubicBezTo>
                  <a:pt x="152" y="9"/>
                  <a:pt x="152" y="9"/>
                  <a:pt x="152" y="9"/>
                </a:cubicBezTo>
                <a:cubicBezTo>
                  <a:pt x="152" y="8"/>
                  <a:pt x="152" y="8"/>
                  <a:pt x="152" y="8"/>
                </a:cubicBezTo>
                <a:cubicBezTo>
                  <a:pt x="153" y="8"/>
                  <a:pt x="153" y="8"/>
                  <a:pt x="153" y="8"/>
                </a:cubicBezTo>
                <a:cubicBezTo>
                  <a:pt x="154" y="9"/>
                  <a:pt x="154" y="9"/>
                  <a:pt x="154" y="9"/>
                </a:cubicBezTo>
                <a:cubicBezTo>
                  <a:pt x="154" y="10"/>
                  <a:pt x="154" y="10"/>
                  <a:pt x="154" y="10"/>
                </a:cubicBezTo>
                <a:cubicBezTo>
                  <a:pt x="155" y="10"/>
                  <a:pt x="155" y="10"/>
                  <a:pt x="155" y="10"/>
                </a:cubicBezTo>
                <a:cubicBezTo>
                  <a:pt x="156" y="8"/>
                  <a:pt x="156" y="8"/>
                  <a:pt x="156" y="8"/>
                </a:cubicBezTo>
                <a:cubicBezTo>
                  <a:pt x="157" y="8"/>
                  <a:pt x="157" y="8"/>
                  <a:pt x="157" y="8"/>
                </a:cubicBezTo>
                <a:cubicBezTo>
                  <a:pt x="158" y="7"/>
                  <a:pt x="158" y="7"/>
                  <a:pt x="158" y="7"/>
                </a:cubicBezTo>
                <a:cubicBezTo>
                  <a:pt x="158" y="6"/>
                  <a:pt x="158" y="6"/>
                  <a:pt x="158" y="6"/>
                </a:cubicBezTo>
                <a:cubicBezTo>
                  <a:pt x="159" y="5"/>
                  <a:pt x="159" y="5"/>
                  <a:pt x="159" y="5"/>
                </a:cubicBezTo>
                <a:cubicBezTo>
                  <a:pt x="161" y="5"/>
                  <a:pt x="161" y="5"/>
                  <a:pt x="161" y="5"/>
                </a:cubicBezTo>
                <a:cubicBezTo>
                  <a:pt x="160" y="6"/>
                  <a:pt x="160" y="6"/>
                  <a:pt x="160" y="6"/>
                </a:cubicBezTo>
                <a:cubicBezTo>
                  <a:pt x="159" y="7"/>
                  <a:pt x="159" y="7"/>
                  <a:pt x="159" y="7"/>
                </a:cubicBezTo>
                <a:cubicBezTo>
                  <a:pt x="160" y="7"/>
                  <a:pt x="160" y="7"/>
                  <a:pt x="160" y="7"/>
                </a:cubicBezTo>
                <a:cubicBezTo>
                  <a:pt x="161" y="7"/>
                  <a:pt x="161" y="7"/>
                  <a:pt x="161" y="7"/>
                </a:cubicBezTo>
                <a:cubicBezTo>
                  <a:pt x="162" y="7"/>
                  <a:pt x="162" y="7"/>
                  <a:pt x="162" y="7"/>
                </a:cubicBezTo>
                <a:cubicBezTo>
                  <a:pt x="162" y="7"/>
                  <a:pt x="162" y="7"/>
                  <a:pt x="162" y="7"/>
                </a:cubicBezTo>
                <a:cubicBezTo>
                  <a:pt x="162" y="8"/>
                  <a:pt x="162" y="8"/>
                  <a:pt x="162" y="8"/>
                </a:cubicBezTo>
                <a:cubicBezTo>
                  <a:pt x="163" y="9"/>
                  <a:pt x="163" y="9"/>
                  <a:pt x="163" y="9"/>
                </a:cubicBezTo>
                <a:cubicBezTo>
                  <a:pt x="163" y="9"/>
                  <a:pt x="163" y="9"/>
                  <a:pt x="163" y="9"/>
                </a:cubicBezTo>
                <a:cubicBezTo>
                  <a:pt x="162" y="10"/>
                  <a:pt x="162" y="10"/>
                  <a:pt x="162" y="10"/>
                </a:cubicBezTo>
                <a:cubicBezTo>
                  <a:pt x="163" y="11"/>
                  <a:pt x="163" y="11"/>
                  <a:pt x="163" y="11"/>
                </a:cubicBezTo>
                <a:cubicBezTo>
                  <a:pt x="163" y="10"/>
                  <a:pt x="163" y="10"/>
                  <a:pt x="163" y="10"/>
                </a:cubicBezTo>
                <a:cubicBezTo>
                  <a:pt x="164" y="9"/>
                  <a:pt x="164" y="9"/>
                  <a:pt x="164" y="9"/>
                </a:cubicBezTo>
                <a:cubicBezTo>
                  <a:pt x="166" y="9"/>
                  <a:pt x="166" y="9"/>
                  <a:pt x="166" y="9"/>
                </a:cubicBezTo>
                <a:cubicBezTo>
                  <a:pt x="166" y="10"/>
                  <a:pt x="166" y="10"/>
                  <a:pt x="166" y="10"/>
                </a:cubicBezTo>
                <a:cubicBezTo>
                  <a:pt x="166" y="11"/>
                  <a:pt x="166" y="11"/>
                  <a:pt x="166" y="11"/>
                </a:cubicBezTo>
                <a:cubicBezTo>
                  <a:pt x="167" y="13"/>
                  <a:pt x="167" y="13"/>
                  <a:pt x="167" y="13"/>
                </a:cubicBezTo>
                <a:cubicBezTo>
                  <a:pt x="168" y="14"/>
                  <a:pt x="168" y="14"/>
                  <a:pt x="168" y="14"/>
                </a:cubicBezTo>
                <a:cubicBezTo>
                  <a:pt x="168" y="16"/>
                  <a:pt x="168" y="16"/>
                  <a:pt x="168" y="16"/>
                </a:cubicBezTo>
                <a:cubicBezTo>
                  <a:pt x="168" y="15"/>
                  <a:pt x="168" y="15"/>
                  <a:pt x="168" y="15"/>
                </a:cubicBezTo>
                <a:cubicBezTo>
                  <a:pt x="169" y="14"/>
                  <a:pt x="169" y="14"/>
                  <a:pt x="169" y="14"/>
                </a:cubicBezTo>
                <a:cubicBezTo>
                  <a:pt x="168" y="13"/>
                  <a:pt x="168" y="13"/>
                  <a:pt x="168" y="13"/>
                </a:cubicBezTo>
                <a:cubicBezTo>
                  <a:pt x="168" y="12"/>
                  <a:pt x="168" y="12"/>
                  <a:pt x="168" y="12"/>
                </a:cubicBezTo>
                <a:cubicBezTo>
                  <a:pt x="168" y="11"/>
                  <a:pt x="168" y="11"/>
                  <a:pt x="168" y="11"/>
                </a:cubicBezTo>
                <a:cubicBezTo>
                  <a:pt x="167" y="10"/>
                  <a:pt x="167" y="10"/>
                  <a:pt x="167" y="10"/>
                </a:cubicBezTo>
                <a:cubicBezTo>
                  <a:pt x="168" y="10"/>
                  <a:pt x="168" y="10"/>
                  <a:pt x="168" y="10"/>
                </a:cubicBezTo>
                <a:cubicBezTo>
                  <a:pt x="168" y="10"/>
                  <a:pt x="168" y="10"/>
                  <a:pt x="168" y="10"/>
                </a:cubicBezTo>
                <a:cubicBezTo>
                  <a:pt x="170" y="12"/>
                  <a:pt x="170" y="12"/>
                  <a:pt x="170" y="12"/>
                </a:cubicBezTo>
                <a:cubicBezTo>
                  <a:pt x="171" y="14"/>
                  <a:pt x="171" y="14"/>
                  <a:pt x="171" y="14"/>
                </a:cubicBezTo>
                <a:cubicBezTo>
                  <a:pt x="173" y="15"/>
                  <a:pt x="173" y="15"/>
                  <a:pt x="173" y="15"/>
                </a:cubicBezTo>
                <a:cubicBezTo>
                  <a:pt x="174" y="15"/>
                  <a:pt x="174" y="15"/>
                  <a:pt x="174" y="15"/>
                </a:cubicBezTo>
                <a:cubicBezTo>
                  <a:pt x="174" y="14"/>
                  <a:pt x="174" y="14"/>
                  <a:pt x="174" y="14"/>
                </a:cubicBezTo>
                <a:cubicBezTo>
                  <a:pt x="174" y="14"/>
                  <a:pt x="174" y="14"/>
                  <a:pt x="174" y="14"/>
                </a:cubicBezTo>
                <a:cubicBezTo>
                  <a:pt x="172" y="13"/>
                  <a:pt x="172" y="13"/>
                  <a:pt x="172" y="13"/>
                </a:cubicBezTo>
                <a:cubicBezTo>
                  <a:pt x="171" y="11"/>
                  <a:pt x="171" y="11"/>
                  <a:pt x="171" y="11"/>
                </a:cubicBezTo>
                <a:cubicBezTo>
                  <a:pt x="171" y="10"/>
                  <a:pt x="171" y="10"/>
                  <a:pt x="171" y="10"/>
                </a:cubicBezTo>
                <a:cubicBezTo>
                  <a:pt x="171" y="8"/>
                  <a:pt x="171" y="8"/>
                  <a:pt x="171" y="8"/>
                </a:cubicBezTo>
                <a:cubicBezTo>
                  <a:pt x="173" y="8"/>
                  <a:pt x="173" y="8"/>
                  <a:pt x="173" y="8"/>
                </a:cubicBezTo>
                <a:cubicBezTo>
                  <a:pt x="174" y="8"/>
                  <a:pt x="174" y="8"/>
                  <a:pt x="174" y="8"/>
                </a:cubicBezTo>
                <a:cubicBezTo>
                  <a:pt x="175" y="9"/>
                  <a:pt x="175" y="9"/>
                  <a:pt x="175" y="9"/>
                </a:cubicBezTo>
                <a:cubicBezTo>
                  <a:pt x="177" y="9"/>
                  <a:pt x="177" y="9"/>
                  <a:pt x="177" y="9"/>
                </a:cubicBezTo>
                <a:cubicBezTo>
                  <a:pt x="177" y="9"/>
                  <a:pt x="177" y="9"/>
                  <a:pt x="177" y="9"/>
                </a:cubicBezTo>
                <a:cubicBezTo>
                  <a:pt x="177" y="8"/>
                  <a:pt x="177" y="8"/>
                  <a:pt x="177" y="8"/>
                </a:cubicBezTo>
                <a:cubicBezTo>
                  <a:pt x="176" y="8"/>
                  <a:pt x="176" y="8"/>
                  <a:pt x="176" y="8"/>
                </a:cubicBezTo>
                <a:cubicBezTo>
                  <a:pt x="176" y="7"/>
                  <a:pt x="176" y="7"/>
                  <a:pt x="176" y="7"/>
                </a:cubicBezTo>
                <a:cubicBezTo>
                  <a:pt x="177" y="6"/>
                  <a:pt x="177" y="6"/>
                  <a:pt x="177" y="6"/>
                </a:cubicBezTo>
                <a:cubicBezTo>
                  <a:pt x="178" y="5"/>
                  <a:pt x="178" y="5"/>
                  <a:pt x="178" y="5"/>
                </a:cubicBezTo>
                <a:cubicBezTo>
                  <a:pt x="177" y="4"/>
                  <a:pt x="177" y="4"/>
                  <a:pt x="177" y="4"/>
                </a:cubicBezTo>
                <a:cubicBezTo>
                  <a:pt x="177" y="3"/>
                  <a:pt x="177" y="3"/>
                  <a:pt x="177" y="3"/>
                </a:cubicBezTo>
                <a:cubicBezTo>
                  <a:pt x="177" y="2"/>
                  <a:pt x="177" y="2"/>
                  <a:pt x="177" y="2"/>
                </a:cubicBezTo>
                <a:cubicBezTo>
                  <a:pt x="178" y="2"/>
                  <a:pt x="178" y="2"/>
                  <a:pt x="178" y="2"/>
                </a:cubicBezTo>
                <a:cubicBezTo>
                  <a:pt x="179" y="2"/>
                  <a:pt x="179" y="2"/>
                  <a:pt x="179" y="2"/>
                </a:cubicBezTo>
                <a:cubicBezTo>
                  <a:pt x="179" y="2"/>
                  <a:pt x="179" y="2"/>
                  <a:pt x="179" y="2"/>
                </a:cubicBezTo>
                <a:cubicBezTo>
                  <a:pt x="180" y="1"/>
                  <a:pt x="180" y="1"/>
                  <a:pt x="180" y="1"/>
                </a:cubicBezTo>
                <a:cubicBezTo>
                  <a:pt x="180" y="0"/>
                  <a:pt x="180" y="0"/>
                  <a:pt x="180" y="0"/>
                </a:cubicBezTo>
                <a:cubicBezTo>
                  <a:pt x="181" y="0"/>
                  <a:pt x="181" y="0"/>
                  <a:pt x="181" y="0"/>
                </a:cubicBezTo>
                <a:cubicBezTo>
                  <a:pt x="181" y="1"/>
                  <a:pt x="181" y="1"/>
                  <a:pt x="181" y="1"/>
                </a:cubicBezTo>
                <a:cubicBezTo>
                  <a:pt x="182" y="1"/>
                  <a:pt x="182" y="1"/>
                  <a:pt x="182" y="1"/>
                </a:cubicBezTo>
                <a:cubicBezTo>
                  <a:pt x="182" y="2"/>
                  <a:pt x="182" y="2"/>
                  <a:pt x="182" y="2"/>
                </a:cubicBezTo>
                <a:cubicBezTo>
                  <a:pt x="183" y="3"/>
                  <a:pt x="183" y="3"/>
                  <a:pt x="183" y="3"/>
                </a:cubicBezTo>
                <a:cubicBezTo>
                  <a:pt x="183" y="4"/>
                  <a:pt x="183" y="4"/>
                  <a:pt x="183" y="4"/>
                </a:cubicBezTo>
                <a:cubicBezTo>
                  <a:pt x="184" y="3"/>
                  <a:pt x="184" y="3"/>
                  <a:pt x="184" y="3"/>
                </a:cubicBezTo>
                <a:cubicBezTo>
                  <a:pt x="184" y="2"/>
                  <a:pt x="184" y="2"/>
                  <a:pt x="184" y="2"/>
                </a:cubicBezTo>
                <a:cubicBezTo>
                  <a:pt x="184" y="1"/>
                  <a:pt x="184" y="1"/>
                  <a:pt x="184" y="1"/>
                </a:cubicBezTo>
                <a:cubicBezTo>
                  <a:pt x="184" y="0"/>
                  <a:pt x="184" y="0"/>
                  <a:pt x="184" y="0"/>
                </a:cubicBezTo>
                <a:cubicBezTo>
                  <a:pt x="184" y="0"/>
                  <a:pt x="184" y="0"/>
                  <a:pt x="184" y="0"/>
                </a:cubicBezTo>
                <a:cubicBezTo>
                  <a:pt x="185" y="0"/>
                  <a:pt x="185" y="0"/>
                  <a:pt x="185" y="0"/>
                </a:cubicBezTo>
                <a:cubicBezTo>
                  <a:pt x="186" y="0"/>
                  <a:pt x="186" y="0"/>
                  <a:pt x="186" y="0"/>
                </a:cubicBezTo>
                <a:cubicBezTo>
                  <a:pt x="188" y="0"/>
                  <a:pt x="188" y="0"/>
                  <a:pt x="188" y="0"/>
                </a:cubicBezTo>
                <a:cubicBezTo>
                  <a:pt x="189" y="0"/>
                  <a:pt x="189" y="0"/>
                  <a:pt x="189" y="0"/>
                </a:cubicBezTo>
                <a:cubicBezTo>
                  <a:pt x="189" y="1"/>
                  <a:pt x="189" y="1"/>
                  <a:pt x="189" y="1"/>
                </a:cubicBezTo>
                <a:cubicBezTo>
                  <a:pt x="190" y="1"/>
                  <a:pt x="190" y="1"/>
                  <a:pt x="190" y="1"/>
                </a:cubicBezTo>
                <a:cubicBezTo>
                  <a:pt x="191" y="0"/>
                  <a:pt x="191" y="0"/>
                  <a:pt x="191" y="0"/>
                </a:cubicBezTo>
                <a:cubicBezTo>
                  <a:pt x="192" y="1"/>
                  <a:pt x="192" y="1"/>
                  <a:pt x="192" y="1"/>
                </a:cubicBezTo>
                <a:cubicBezTo>
                  <a:pt x="194" y="1"/>
                  <a:pt x="194" y="1"/>
                  <a:pt x="194" y="1"/>
                </a:cubicBezTo>
                <a:cubicBezTo>
                  <a:pt x="195" y="1"/>
                  <a:pt x="195" y="1"/>
                  <a:pt x="195" y="1"/>
                </a:cubicBezTo>
                <a:cubicBezTo>
                  <a:pt x="195" y="1"/>
                  <a:pt x="195" y="1"/>
                  <a:pt x="195" y="1"/>
                </a:cubicBezTo>
                <a:cubicBezTo>
                  <a:pt x="196" y="1"/>
                  <a:pt x="196" y="1"/>
                  <a:pt x="196" y="1"/>
                </a:cubicBezTo>
                <a:cubicBezTo>
                  <a:pt x="197" y="1"/>
                  <a:pt x="197" y="1"/>
                  <a:pt x="197" y="1"/>
                </a:cubicBezTo>
                <a:cubicBezTo>
                  <a:pt x="197" y="2"/>
                  <a:pt x="197" y="2"/>
                  <a:pt x="197" y="2"/>
                </a:cubicBezTo>
                <a:cubicBezTo>
                  <a:pt x="199" y="3"/>
                  <a:pt x="199" y="3"/>
                  <a:pt x="199" y="3"/>
                </a:cubicBezTo>
                <a:cubicBezTo>
                  <a:pt x="200" y="3"/>
                  <a:pt x="200" y="3"/>
                  <a:pt x="200" y="3"/>
                </a:cubicBezTo>
                <a:cubicBezTo>
                  <a:pt x="200" y="3"/>
                  <a:pt x="200" y="3"/>
                  <a:pt x="200" y="3"/>
                </a:cubicBezTo>
                <a:cubicBezTo>
                  <a:pt x="200" y="3"/>
                  <a:pt x="200" y="3"/>
                  <a:pt x="200" y="3"/>
                </a:cubicBezTo>
                <a:cubicBezTo>
                  <a:pt x="202" y="4"/>
                  <a:pt x="202" y="4"/>
                  <a:pt x="202" y="4"/>
                </a:cubicBezTo>
                <a:cubicBezTo>
                  <a:pt x="203" y="4"/>
                  <a:pt x="203" y="4"/>
                  <a:pt x="203" y="4"/>
                </a:cubicBezTo>
                <a:cubicBezTo>
                  <a:pt x="204" y="5"/>
                  <a:pt x="204" y="5"/>
                  <a:pt x="204" y="5"/>
                </a:cubicBezTo>
                <a:cubicBezTo>
                  <a:pt x="207" y="5"/>
                  <a:pt x="207" y="5"/>
                  <a:pt x="207" y="5"/>
                </a:cubicBezTo>
                <a:cubicBezTo>
                  <a:pt x="208" y="6"/>
                  <a:pt x="208" y="6"/>
                  <a:pt x="208" y="6"/>
                </a:cubicBezTo>
                <a:cubicBezTo>
                  <a:pt x="209" y="5"/>
                  <a:pt x="209" y="5"/>
                  <a:pt x="209" y="5"/>
                </a:cubicBezTo>
                <a:cubicBezTo>
                  <a:pt x="209" y="6"/>
                  <a:pt x="209" y="6"/>
                  <a:pt x="209" y="6"/>
                </a:cubicBezTo>
                <a:cubicBezTo>
                  <a:pt x="210" y="6"/>
                  <a:pt x="210" y="6"/>
                  <a:pt x="210" y="6"/>
                </a:cubicBezTo>
                <a:cubicBezTo>
                  <a:pt x="211" y="6"/>
                  <a:pt x="211" y="6"/>
                  <a:pt x="211" y="6"/>
                </a:cubicBezTo>
                <a:cubicBezTo>
                  <a:pt x="212" y="6"/>
                  <a:pt x="212" y="6"/>
                  <a:pt x="212" y="6"/>
                </a:cubicBezTo>
                <a:cubicBezTo>
                  <a:pt x="213" y="7"/>
                  <a:pt x="213" y="7"/>
                  <a:pt x="213" y="7"/>
                </a:cubicBezTo>
                <a:cubicBezTo>
                  <a:pt x="215" y="8"/>
                  <a:pt x="215" y="8"/>
                  <a:pt x="215" y="8"/>
                </a:cubicBezTo>
                <a:cubicBezTo>
                  <a:pt x="216" y="9"/>
                  <a:pt x="216" y="9"/>
                  <a:pt x="216" y="9"/>
                </a:cubicBezTo>
                <a:cubicBezTo>
                  <a:pt x="217" y="10"/>
                  <a:pt x="217" y="10"/>
                  <a:pt x="217" y="10"/>
                </a:cubicBezTo>
                <a:cubicBezTo>
                  <a:pt x="218" y="10"/>
                  <a:pt x="218" y="10"/>
                  <a:pt x="218" y="10"/>
                </a:cubicBezTo>
                <a:cubicBezTo>
                  <a:pt x="220" y="11"/>
                  <a:pt x="220" y="11"/>
                  <a:pt x="220" y="11"/>
                </a:cubicBezTo>
                <a:cubicBezTo>
                  <a:pt x="219" y="12"/>
                  <a:pt x="219" y="12"/>
                  <a:pt x="219" y="12"/>
                </a:cubicBezTo>
                <a:cubicBezTo>
                  <a:pt x="219" y="13"/>
                  <a:pt x="219" y="13"/>
                  <a:pt x="219" y="13"/>
                </a:cubicBezTo>
                <a:cubicBezTo>
                  <a:pt x="218" y="13"/>
                  <a:pt x="218" y="13"/>
                  <a:pt x="218" y="13"/>
                </a:cubicBezTo>
                <a:cubicBezTo>
                  <a:pt x="217" y="13"/>
                  <a:pt x="217" y="13"/>
                  <a:pt x="217" y="13"/>
                </a:cubicBezTo>
                <a:cubicBezTo>
                  <a:pt x="216" y="13"/>
                  <a:pt x="216" y="13"/>
                  <a:pt x="216" y="13"/>
                </a:cubicBezTo>
                <a:cubicBezTo>
                  <a:pt x="215" y="14"/>
                  <a:pt x="215" y="14"/>
                  <a:pt x="215" y="14"/>
                </a:cubicBezTo>
                <a:cubicBezTo>
                  <a:pt x="214" y="14"/>
                  <a:pt x="214" y="14"/>
                  <a:pt x="214" y="14"/>
                </a:cubicBezTo>
                <a:cubicBezTo>
                  <a:pt x="214" y="14"/>
                  <a:pt x="214" y="14"/>
                  <a:pt x="214" y="14"/>
                </a:cubicBezTo>
                <a:cubicBezTo>
                  <a:pt x="213" y="14"/>
                  <a:pt x="213" y="14"/>
                  <a:pt x="213" y="14"/>
                </a:cubicBezTo>
                <a:cubicBezTo>
                  <a:pt x="211" y="14"/>
                  <a:pt x="211" y="14"/>
                  <a:pt x="211" y="14"/>
                </a:cubicBezTo>
                <a:cubicBezTo>
                  <a:pt x="209" y="13"/>
                  <a:pt x="209" y="13"/>
                  <a:pt x="209" y="13"/>
                </a:cubicBezTo>
                <a:cubicBezTo>
                  <a:pt x="208" y="13"/>
                  <a:pt x="208" y="13"/>
                  <a:pt x="208" y="13"/>
                </a:cubicBezTo>
                <a:cubicBezTo>
                  <a:pt x="207" y="13"/>
                  <a:pt x="207" y="13"/>
                  <a:pt x="207" y="13"/>
                </a:cubicBezTo>
                <a:cubicBezTo>
                  <a:pt x="206" y="12"/>
                  <a:pt x="206" y="12"/>
                  <a:pt x="206" y="12"/>
                </a:cubicBezTo>
                <a:cubicBezTo>
                  <a:pt x="204" y="12"/>
                  <a:pt x="204" y="12"/>
                  <a:pt x="204" y="12"/>
                </a:cubicBezTo>
                <a:cubicBezTo>
                  <a:pt x="204" y="13"/>
                  <a:pt x="204" y="13"/>
                  <a:pt x="204" y="13"/>
                </a:cubicBezTo>
                <a:cubicBezTo>
                  <a:pt x="203" y="13"/>
                  <a:pt x="203" y="13"/>
                  <a:pt x="203" y="13"/>
                </a:cubicBezTo>
                <a:cubicBezTo>
                  <a:pt x="203" y="12"/>
                  <a:pt x="203" y="12"/>
                  <a:pt x="203" y="12"/>
                </a:cubicBezTo>
                <a:cubicBezTo>
                  <a:pt x="201" y="12"/>
                  <a:pt x="201" y="12"/>
                  <a:pt x="201" y="12"/>
                </a:cubicBezTo>
                <a:cubicBezTo>
                  <a:pt x="199" y="13"/>
                  <a:pt x="199" y="13"/>
                  <a:pt x="199" y="13"/>
                </a:cubicBezTo>
                <a:cubicBezTo>
                  <a:pt x="199" y="14"/>
                  <a:pt x="199" y="14"/>
                  <a:pt x="199" y="14"/>
                </a:cubicBezTo>
                <a:cubicBezTo>
                  <a:pt x="198" y="13"/>
                  <a:pt x="198" y="13"/>
                  <a:pt x="198" y="13"/>
                </a:cubicBezTo>
                <a:cubicBezTo>
                  <a:pt x="197" y="13"/>
                  <a:pt x="197" y="13"/>
                  <a:pt x="197" y="13"/>
                </a:cubicBezTo>
                <a:cubicBezTo>
                  <a:pt x="195" y="14"/>
                  <a:pt x="195" y="14"/>
                  <a:pt x="195" y="14"/>
                </a:cubicBezTo>
                <a:cubicBezTo>
                  <a:pt x="193" y="14"/>
                  <a:pt x="193" y="14"/>
                  <a:pt x="193" y="14"/>
                </a:cubicBezTo>
                <a:cubicBezTo>
                  <a:pt x="193" y="13"/>
                  <a:pt x="193" y="13"/>
                  <a:pt x="193" y="13"/>
                </a:cubicBezTo>
                <a:cubicBezTo>
                  <a:pt x="193" y="12"/>
                  <a:pt x="193" y="12"/>
                  <a:pt x="193" y="12"/>
                </a:cubicBezTo>
                <a:cubicBezTo>
                  <a:pt x="193" y="11"/>
                  <a:pt x="193" y="11"/>
                  <a:pt x="193" y="11"/>
                </a:cubicBezTo>
                <a:cubicBezTo>
                  <a:pt x="194" y="11"/>
                  <a:pt x="194" y="11"/>
                  <a:pt x="194" y="11"/>
                </a:cubicBezTo>
                <a:cubicBezTo>
                  <a:pt x="194" y="11"/>
                  <a:pt x="194" y="11"/>
                  <a:pt x="194" y="11"/>
                </a:cubicBezTo>
                <a:cubicBezTo>
                  <a:pt x="194" y="10"/>
                  <a:pt x="194" y="10"/>
                  <a:pt x="194" y="10"/>
                </a:cubicBezTo>
                <a:cubicBezTo>
                  <a:pt x="193" y="10"/>
                  <a:pt x="193" y="10"/>
                  <a:pt x="193" y="10"/>
                </a:cubicBezTo>
                <a:cubicBezTo>
                  <a:pt x="192" y="10"/>
                  <a:pt x="192" y="10"/>
                  <a:pt x="192" y="10"/>
                </a:cubicBezTo>
                <a:cubicBezTo>
                  <a:pt x="191" y="11"/>
                  <a:pt x="191" y="11"/>
                  <a:pt x="191" y="11"/>
                </a:cubicBezTo>
                <a:cubicBezTo>
                  <a:pt x="191" y="12"/>
                  <a:pt x="191" y="12"/>
                  <a:pt x="191" y="12"/>
                </a:cubicBezTo>
                <a:cubicBezTo>
                  <a:pt x="192" y="13"/>
                  <a:pt x="192" y="13"/>
                  <a:pt x="192" y="13"/>
                </a:cubicBezTo>
                <a:cubicBezTo>
                  <a:pt x="192" y="13"/>
                  <a:pt x="192" y="13"/>
                  <a:pt x="192" y="13"/>
                </a:cubicBezTo>
                <a:cubicBezTo>
                  <a:pt x="192" y="14"/>
                  <a:pt x="192" y="14"/>
                  <a:pt x="192" y="14"/>
                </a:cubicBezTo>
                <a:cubicBezTo>
                  <a:pt x="191" y="15"/>
                  <a:pt x="191" y="15"/>
                  <a:pt x="191" y="15"/>
                </a:cubicBezTo>
                <a:cubicBezTo>
                  <a:pt x="191" y="15"/>
                  <a:pt x="191" y="15"/>
                  <a:pt x="191" y="15"/>
                </a:cubicBezTo>
                <a:cubicBezTo>
                  <a:pt x="190" y="15"/>
                  <a:pt x="190" y="15"/>
                  <a:pt x="190" y="15"/>
                </a:cubicBezTo>
                <a:cubicBezTo>
                  <a:pt x="188" y="15"/>
                  <a:pt x="188" y="15"/>
                  <a:pt x="188" y="15"/>
                </a:cubicBezTo>
                <a:cubicBezTo>
                  <a:pt x="188" y="15"/>
                  <a:pt x="188" y="15"/>
                  <a:pt x="188" y="15"/>
                </a:cubicBezTo>
                <a:cubicBezTo>
                  <a:pt x="187" y="15"/>
                  <a:pt x="187" y="15"/>
                  <a:pt x="187" y="15"/>
                </a:cubicBezTo>
                <a:cubicBezTo>
                  <a:pt x="185" y="15"/>
                  <a:pt x="185" y="15"/>
                  <a:pt x="185" y="15"/>
                </a:cubicBezTo>
                <a:cubicBezTo>
                  <a:pt x="184" y="15"/>
                  <a:pt x="184" y="15"/>
                  <a:pt x="184" y="15"/>
                </a:cubicBezTo>
                <a:cubicBezTo>
                  <a:pt x="182" y="15"/>
                  <a:pt x="182" y="15"/>
                  <a:pt x="182" y="15"/>
                </a:cubicBezTo>
                <a:cubicBezTo>
                  <a:pt x="180" y="17"/>
                  <a:pt x="180" y="17"/>
                  <a:pt x="180" y="17"/>
                </a:cubicBezTo>
                <a:cubicBezTo>
                  <a:pt x="180" y="18"/>
                  <a:pt x="180" y="18"/>
                  <a:pt x="180" y="18"/>
                </a:cubicBezTo>
                <a:cubicBezTo>
                  <a:pt x="180" y="19"/>
                  <a:pt x="180" y="19"/>
                  <a:pt x="180" y="19"/>
                </a:cubicBezTo>
                <a:cubicBezTo>
                  <a:pt x="179" y="20"/>
                  <a:pt x="179" y="20"/>
                  <a:pt x="179" y="20"/>
                </a:cubicBezTo>
                <a:cubicBezTo>
                  <a:pt x="179" y="21"/>
                  <a:pt x="179" y="21"/>
                  <a:pt x="179" y="21"/>
                </a:cubicBezTo>
                <a:cubicBezTo>
                  <a:pt x="179" y="22"/>
                  <a:pt x="179" y="22"/>
                  <a:pt x="179" y="22"/>
                </a:cubicBezTo>
                <a:cubicBezTo>
                  <a:pt x="180" y="21"/>
                  <a:pt x="180" y="21"/>
                  <a:pt x="180" y="21"/>
                </a:cubicBezTo>
                <a:cubicBezTo>
                  <a:pt x="180" y="20"/>
                  <a:pt x="180" y="20"/>
                  <a:pt x="180" y="20"/>
                </a:cubicBezTo>
                <a:cubicBezTo>
                  <a:pt x="181" y="19"/>
                  <a:pt x="181" y="19"/>
                  <a:pt x="181" y="19"/>
                </a:cubicBezTo>
                <a:cubicBezTo>
                  <a:pt x="181" y="19"/>
                  <a:pt x="181" y="19"/>
                  <a:pt x="181" y="19"/>
                </a:cubicBezTo>
                <a:cubicBezTo>
                  <a:pt x="181" y="18"/>
                  <a:pt x="181" y="18"/>
                  <a:pt x="181" y="18"/>
                </a:cubicBezTo>
                <a:cubicBezTo>
                  <a:pt x="183" y="18"/>
                  <a:pt x="183" y="18"/>
                  <a:pt x="183" y="18"/>
                </a:cubicBezTo>
                <a:cubicBezTo>
                  <a:pt x="183" y="18"/>
                  <a:pt x="183" y="18"/>
                  <a:pt x="183" y="18"/>
                </a:cubicBezTo>
                <a:cubicBezTo>
                  <a:pt x="184" y="19"/>
                  <a:pt x="184" y="19"/>
                  <a:pt x="184" y="19"/>
                </a:cubicBezTo>
                <a:cubicBezTo>
                  <a:pt x="183" y="19"/>
                  <a:pt x="183" y="19"/>
                  <a:pt x="183" y="19"/>
                </a:cubicBezTo>
                <a:cubicBezTo>
                  <a:pt x="183" y="20"/>
                  <a:pt x="183" y="20"/>
                  <a:pt x="183" y="20"/>
                </a:cubicBezTo>
                <a:cubicBezTo>
                  <a:pt x="183" y="21"/>
                  <a:pt x="183" y="21"/>
                  <a:pt x="183" y="21"/>
                </a:cubicBezTo>
                <a:cubicBezTo>
                  <a:pt x="183" y="21"/>
                  <a:pt x="183" y="21"/>
                  <a:pt x="183" y="21"/>
                </a:cubicBezTo>
                <a:cubicBezTo>
                  <a:pt x="184" y="20"/>
                  <a:pt x="184" y="20"/>
                  <a:pt x="184" y="20"/>
                </a:cubicBezTo>
                <a:cubicBezTo>
                  <a:pt x="184" y="18"/>
                  <a:pt x="184" y="18"/>
                  <a:pt x="184" y="18"/>
                </a:cubicBezTo>
                <a:cubicBezTo>
                  <a:pt x="184" y="18"/>
                  <a:pt x="185" y="17"/>
                  <a:pt x="185" y="17"/>
                </a:cubicBezTo>
                <a:cubicBezTo>
                  <a:pt x="185" y="17"/>
                  <a:pt x="187" y="16"/>
                  <a:pt x="187" y="16"/>
                </a:cubicBezTo>
                <a:cubicBezTo>
                  <a:pt x="187" y="16"/>
                  <a:pt x="187" y="16"/>
                  <a:pt x="187" y="16"/>
                </a:cubicBezTo>
                <a:cubicBezTo>
                  <a:pt x="189" y="16"/>
                  <a:pt x="189" y="16"/>
                  <a:pt x="189" y="16"/>
                </a:cubicBezTo>
                <a:cubicBezTo>
                  <a:pt x="190" y="16"/>
                  <a:pt x="190" y="16"/>
                  <a:pt x="190" y="16"/>
                </a:cubicBezTo>
                <a:cubicBezTo>
                  <a:pt x="191" y="16"/>
                  <a:pt x="191" y="16"/>
                  <a:pt x="191" y="16"/>
                </a:cubicBezTo>
                <a:cubicBezTo>
                  <a:pt x="191" y="16"/>
                  <a:pt x="191" y="16"/>
                  <a:pt x="191" y="16"/>
                </a:cubicBezTo>
                <a:cubicBezTo>
                  <a:pt x="192" y="17"/>
                  <a:pt x="192" y="17"/>
                  <a:pt x="192" y="17"/>
                </a:cubicBezTo>
                <a:cubicBezTo>
                  <a:pt x="192" y="18"/>
                  <a:pt x="192" y="18"/>
                  <a:pt x="192" y="18"/>
                </a:cubicBezTo>
                <a:cubicBezTo>
                  <a:pt x="193" y="19"/>
                  <a:pt x="193" y="19"/>
                  <a:pt x="193" y="19"/>
                </a:cubicBezTo>
                <a:cubicBezTo>
                  <a:pt x="193" y="19"/>
                  <a:pt x="193" y="19"/>
                  <a:pt x="193" y="19"/>
                </a:cubicBezTo>
                <a:cubicBezTo>
                  <a:pt x="194" y="18"/>
                  <a:pt x="194" y="18"/>
                  <a:pt x="194" y="18"/>
                </a:cubicBezTo>
                <a:cubicBezTo>
                  <a:pt x="193" y="17"/>
                  <a:pt x="193" y="17"/>
                  <a:pt x="193" y="17"/>
                </a:cubicBezTo>
                <a:cubicBezTo>
                  <a:pt x="193" y="16"/>
                  <a:pt x="193" y="16"/>
                  <a:pt x="193" y="16"/>
                </a:cubicBezTo>
                <a:cubicBezTo>
                  <a:pt x="195" y="16"/>
                  <a:pt x="195" y="16"/>
                  <a:pt x="195" y="16"/>
                </a:cubicBezTo>
                <a:cubicBezTo>
                  <a:pt x="196" y="16"/>
                  <a:pt x="196" y="16"/>
                  <a:pt x="196" y="16"/>
                </a:cubicBezTo>
                <a:cubicBezTo>
                  <a:pt x="197" y="16"/>
                  <a:pt x="197" y="16"/>
                  <a:pt x="197" y="16"/>
                </a:cubicBezTo>
                <a:cubicBezTo>
                  <a:pt x="199" y="16"/>
                  <a:pt x="199" y="16"/>
                  <a:pt x="199" y="16"/>
                </a:cubicBezTo>
                <a:cubicBezTo>
                  <a:pt x="201" y="15"/>
                  <a:pt x="201" y="15"/>
                  <a:pt x="201" y="15"/>
                </a:cubicBezTo>
                <a:cubicBezTo>
                  <a:pt x="202" y="15"/>
                  <a:pt x="202" y="15"/>
                  <a:pt x="202" y="15"/>
                </a:cubicBezTo>
                <a:cubicBezTo>
                  <a:pt x="204" y="15"/>
                  <a:pt x="204" y="15"/>
                  <a:pt x="204" y="15"/>
                </a:cubicBezTo>
                <a:cubicBezTo>
                  <a:pt x="206" y="15"/>
                  <a:pt x="206" y="15"/>
                  <a:pt x="206" y="15"/>
                </a:cubicBezTo>
                <a:cubicBezTo>
                  <a:pt x="207" y="16"/>
                  <a:pt x="207" y="16"/>
                  <a:pt x="207" y="16"/>
                </a:cubicBezTo>
                <a:cubicBezTo>
                  <a:pt x="208" y="16"/>
                  <a:pt x="208" y="16"/>
                  <a:pt x="208" y="16"/>
                </a:cubicBezTo>
                <a:cubicBezTo>
                  <a:pt x="209" y="16"/>
                  <a:pt x="209" y="16"/>
                  <a:pt x="209" y="16"/>
                </a:cubicBezTo>
                <a:cubicBezTo>
                  <a:pt x="210" y="17"/>
                  <a:pt x="210" y="17"/>
                  <a:pt x="210" y="17"/>
                </a:cubicBezTo>
                <a:cubicBezTo>
                  <a:pt x="211" y="17"/>
                  <a:pt x="211" y="17"/>
                  <a:pt x="211" y="17"/>
                </a:cubicBezTo>
                <a:cubicBezTo>
                  <a:pt x="212" y="18"/>
                  <a:pt x="212" y="18"/>
                  <a:pt x="212" y="18"/>
                </a:cubicBezTo>
                <a:cubicBezTo>
                  <a:pt x="213" y="17"/>
                  <a:pt x="213" y="17"/>
                  <a:pt x="213" y="17"/>
                </a:cubicBezTo>
                <a:cubicBezTo>
                  <a:pt x="213" y="17"/>
                  <a:pt x="213" y="17"/>
                  <a:pt x="213" y="17"/>
                </a:cubicBezTo>
                <a:cubicBezTo>
                  <a:pt x="214" y="17"/>
                  <a:pt x="214" y="17"/>
                  <a:pt x="214" y="17"/>
                </a:cubicBezTo>
                <a:cubicBezTo>
                  <a:pt x="214" y="18"/>
                  <a:pt x="214" y="18"/>
                  <a:pt x="214" y="18"/>
                </a:cubicBezTo>
                <a:cubicBezTo>
                  <a:pt x="215" y="18"/>
                  <a:pt x="215" y="18"/>
                  <a:pt x="215" y="18"/>
                </a:cubicBezTo>
                <a:cubicBezTo>
                  <a:pt x="216" y="17"/>
                  <a:pt x="216" y="17"/>
                  <a:pt x="216" y="17"/>
                </a:cubicBezTo>
                <a:cubicBezTo>
                  <a:pt x="217" y="17"/>
                  <a:pt x="217" y="17"/>
                  <a:pt x="217" y="17"/>
                </a:cubicBezTo>
                <a:cubicBezTo>
                  <a:pt x="218" y="17"/>
                  <a:pt x="218" y="17"/>
                  <a:pt x="218" y="17"/>
                </a:cubicBezTo>
                <a:cubicBezTo>
                  <a:pt x="220" y="16"/>
                  <a:pt x="220" y="16"/>
                  <a:pt x="220" y="16"/>
                </a:cubicBezTo>
                <a:cubicBezTo>
                  <a:pt x="221" y="15"/>
                  <a:pt x="221" y="15"/>
                  <a:pt x="221" y="15"/>
                </a:cubicBezTo>
                <a:cubicBezTo>
                  <a:pt x="221" y="15"/>
                  <a:pt x="221" y="15"/>
                  <a:pt x="221" y="15"/>
                </a:cubicBezTo>
                <a:cubicBezTo>
                  <a:pt x="222" y="15"/>
                  <a:pt x="222" y="15"/>
                  <a:pt x="222" y="15"/>
                </a:cubicBezTo>
                <a:cubicBezTo>
                  <a:pt x="223" y="16"/>
                  <a:pt x="223" y="16"/>
                  <a:pt x="223" y="16"/>
                </a:cubicBezTo>
                <a:cubicBezTo>
                  <a:pt x="224" y="17"/>
                  <a:pt x="224" y="17"/>
                  <a:pt x="224" y="17"/>
                </a:cubicBezTo>
                <a:cubicBezTo>
                  <a:pt x="224" y="18"/>
                  <a:pt x="224" y="18"/>
                  <a:pt x="224" y="18"/>
                </a:cubicBezTo>
                <a:cubicBezTo>
                  <a:pt x="223" y="18"/>
                  <a:pt x="223" y="18"/>
                  <a:pt x="223" y="18"/>
                </a:cubicBezTo>
                <a:cubicBezTo>
                  <a:pt x="223" y="19"/>
                  <a:pt x="223" y="19"/>
                  <a:pt x="223" y="19"/>
                </a:cubicBezTo>
                <a:cubicBezTo>
                  <a:pt x="224" y="19"/>
                  <a:pt x="224" y="19"/>
                  <a:pt x="224" y="19"/>
                </a:cubicBezTo>
                <a:cubicBezTo>
                  <a:pt x="224" y="20"/>
                  <a:pt x="224" y="20"/>
                  <a:pt x="224" y="20"/>
                </a:cubicBezTo>
                <a:cubicBezTo>
                  <a:pt x="224" y="20"/>
                  <a:pt x="224" y="20"/>
                  <a:pt x="224" y="20"/>
                </a:cubicBezTo>
                <a:cubicBezTo>
                  <a:pt x="222" y="22"/>
                  <a:pt x="222" y="22"/>
                  <a:pt x="222" y="22"/>
                </a:cubicBezTo>
                <a:cubicBezTo>
                  <a:pt x="220" y="22"/>
                  <a:pt x="220" y="22"/>
                  <a:pt x="220" y="22"/>
                </a:cubicBezTo>
                <a:cubicBezTo>
                  <a:pt x="219" y="22"/>
                  <a:pt x="219" y="22"/>
                  <a:pt x="219" y="22"/>
                </a:cubicBezTo>
                <a:cubicBezTo>
                  <a:pt x="218" y="22"/>
                  <a:pt x="218" y="22"/>
                  <a:pt x="218" y="22"/>
                </a:cubicBezTo>
                <a:cubicBezTo>
                  <a:pt x="218" y="21"/>
                  <a:pt x="218" y="21"/>
                  <a:pt x="218" y="21"/>
                </a:cubicBezTo>
                <a:cubicBezTo>
                  <a:pt x="217" y="21"/>
                  <a:pt x="217" y="21"/>
                  <a:pt x="217" y="21"/>
                </a:cubicBezTo>
                <a:cubicBezTo>
                  <a:pt x="217" y="22"/>
                  <a:pt x="217" y="22"/>
                  <a:pt x="217" y="22"/>
                </a:cubicBezTo>
                <a:cubicBezTo>
                  <a:pt x="218" y="23"/>
                  <a:pt x="218" y="23"/>
                  <a:pt x="218" y="23"/>
                </a:cubicBezTo>
                <a:cubicBezTo>
                  <a:pt x="219" y="23"/>
                  <a:pt x="219" y="23"/>
                  <a:pt x="219" y="23"/>
                </a:cubicBezTo>
                <a:cubicBezTo>
                  <a:pt x="218" y="24"/>
                  <a:pt x="218" y="24"/>
                  <a:pt x="218" y="24"/>
                </a:cubicBezTo>
                <a:cubicBezTo>
                  <a:pt x="217" y="23"/>
                  <a:pt x="217" y="23"/>
                  <a:pt x="217" y="23"/>
                </a:cubicBezTo>
                <a:cubicBezTo>
                  <a:pt x="217" y="23"/>
                  <a:pt x="217" y="23"/>
                  <a:pt x="217" y="23"/>
                </a:cubicBezTo>
                <a:cubicBezTo>
                  <a:pt x="216" y="23"/>
                  <a:pt x="216" y="23"/>
                  <a:pt x="216" y="23"/>
                </a:cubicBezTo>
                <a:cubicBezTo>
                  <a:pt x="216" y="23"/>
                  <a:pt x="216" y="23"/>
                  <a:pt x="216" y="23"/>
                </a:cubicBezTo>
                <a:cubicBezTo>
                  <a:pt x="216" y="24"/>
                  <a:pt x="216" y="24"/>
                  <a:pt x="216" y="24"/>
                </a:cubicBezTo>
                <a:cubicBezTo>
                  <a:pt x="217" y="24"/>
                  <a:pt x="217" y="24"/>
                  <a:pt x="217" y="24"/>
                </a:cubicBezTo>
                <a:cubicBezTo>
                  <a:pt x="218" y="25"/>
                  <a:pt x="218" y="25"/>
                  <a:pt x="218" y="25"/>
                </a:cubicBezTo>
                <a:cubicBezTo>
                  <a:pt x="220" y="25"/>
                  <a:pt x="220" y="25"/>
                  <a:pt x="220" y="25"/>
                </a:cubicBezTo>
                <a:cubicBezTo>
                  <a:pt x="221" y="25"/>
                  <a:pt x="221" y="25"/>
                  <a:pt x="221" y="25"/>
                </a:cubicBezTo>
                <a:cubicBezTo>
                  <a:pt x="223" y="24"/>
                  <a:pt x="223" y="24"/>
                  <a:pt x="223" y="24"/>
                </a:cubicBezTo>
                <a:cubicBezTo>
                  <a:pt x="223" y="24"/>
                  <a:pt x="223" y="24"/>
                  <a:pt x="223" y="24"/>
                </a:cubicBezTo>
                <a:cubicBezTo>
                  <a:pt x="224" y="25"/>
                  <a:pt x="224" y="25"/>
                  <a:pt x="224" y="25"/>
                </a:cubicBezTo>
                <a:cubicBezTo>
                  <a:pt x="224" y="24"/>
                  <a:pt x="224" y="24"/>
                  <a:pt x="224" y="24"/>
                </a:cubicBezTo>
                <a:cubicBezTo>
                  <a:pt x="224" y="23"/>
                  <a:pt x="224" y="23"/>
                  <a:pt x="224" y="23"/>
                </a:cubicBezTo>
                <a:cubicBezTo>
                  <a:pt x="225" y="23"/>
                  <a:pt x="225" y="23"/>
                  <a:pt x="225" y="23"/>
                </a:cubicBezTo>
                <a:cubicBezTo>
                  <a:pt x="227" y="23"/>
                  <a:pt x="227" y="23"/>
                  <a:pt x="227" y="23"/>
                </a:cubicBezTo>
                <a:cubicBezTo>
                  <a:pt x="228" y="24"/>
                  <a:pt x="228" y="24"/>
                  <a:pt x="228" y="24"/>
                </a:cubicBezTo>
                <a:cubicBezTo>
                  <a:pt x="228" y="24"/>
                  <a:pt x="228" y="24"/>
                  <a:pt x="228" y="24"/>
                </a:cubicBezTo>
                <a:cubicBezTo>
                  <a:pt x="229" y="25"/>
                  <a:pt x="229" y="25"/>
                  <a:pt x="229" y="25"/>
                </a:cubicBezTo>
                <a:cubicBezTo>
                  <a:pt x="229" y="25"/>
                  <a:pt x="229" y="25"/>
                  <a:pt x="229" y="25"/>
                </a:cubicBezTo>
                <a:cubicBezTo>
                  <a:pt x="230" y="24"/>
                  <a:pt x="230" y="24"/>
                  <a:pt x="230" y="24"/>
                </a:cubicBezTo>
                <a:cubicBezTo>
                  <a:pt x="230" y="24"/>
                  <a:pt x="230" y="24"/>
                  <a:pt x="230" y="24"/>
                </a:cubicBezTo>
                <a:cubicBezTo>
                  <a:pt x="231" y="25"/>
                  <a:pt x="231" y="25"/>
                  <a:pt x="231" y="25"/>
                </a:cubicBezTo>
                <a:cubicBezTo>
                  <a:pt x="231" y="26"/>
                  <a:pt x="231" y="26"/>
                  <a:pt x="231" y="26"/>
                </a:cubicBezTo>
                <a:cubicBezTo>
                  <a:pt x="233" y="26"/>
                  <a:pt x="233" y="26"/>
                  <a:pt x="233" y="26"/>
                </a:cubicBezTo>
                <a:cubicBezTo>
                  <a:pt x="234" y="27"/>
                  <a:pt x="234" y="27"/>
                  <a:pt x="234" y="27"/>
                </a:cubicBezTo>
                <a:cubicBezTo>
                  <a:pt x="234" y="28"/>
                  <a:pt x="234" y="28"/>
                  <a:pt x="234" y="28"/>
                </a:cubicBezTo>
                <a:cubicBezTo>
                  <a:pt x="235" y="29"/>
                  <a:pt x="235" y="29"/>
                  <a:pt x="235" y="29"/>
                </a:cubicBezTo>
                <a:cubicBezTo>
                  <a:pt x="237" y="29"/>
                  <a:pt x="237" y="29"/>
                  <a:pt x="237" y="29"/>
                </a:cubicBezTo>
                <a:cubicBezTo>
                  <a:pt x="238" y="30"/>
                  <a:pt x="238" y="30"/>
                  <a:pt x="238" y="30"/>
                </a:cubicBezTo>
                <a:cubicBezTo>
                  <a:pt x="238" y="31"/>
                  <a:pt x="238" y="31"/>
                  <a:pt x="238" y="31"/>
                </a:cubicBezTo>
                <a:cubicBezTo>
                  <a:pt x="238" y="32"/>
                  <a:pt x="238" y="32"/>
                  <a:pt x="238" y="32"/>
                </a:cubicBezTo>
                <a:cubicBezTo>
                  <a:pt x="237" y="32"/>
                  <a:pt x="237" y="32"/>
                  <a:pt x="237" y="32"/>
                </a:cubicBezTo>
                <a:cubicBezTo>
                  <a:pt x="237" y="33"/>
                  <a:pt x="237" y="33"/>
                  <a:pt x="237" y="33"/>
                </a:cubicBezTo>
                <a:cubicBezTo>
                  <a:pt x="237" y="34"/>
                  <a:pt x="237" y="34"/>
                  <a:pt x="237" y="34"/>
                </a:cubicBezTo>
                <a:cubicBezTo>
                  <a:pt x="237" y="34"/>
                  <a:pt x="237" y="34"/>
                  <a:pt x="237" y="34"/>
                </a:cubicBezTo>
                <a:cubicBezTo>
                  <a:pt x="235" y="35"/>
                  <a:pt x="235" y="35"/>
                  <a:pt x="235" y="35"/>
                </a:cubicBezTo>
                <a:cubicBezTo>
                  <a:pt x="235" y="35"/>
                  <a:pt x="235" y="35"/>
                  <a:pt x="235" y="35"/>
                </a:cubicBezTo>
                <a:cubicBezTo>
                  <a:pt x="234" y="35"/>
                  <a:pt x="234" y="35"/>
                  <a:pt x="234" y="35"/>
                </a:cubicBezTo>
                <a:cubicBezTo>
                  <a:pt x="234" y="35"/>
                  <a:pt x="234" y="35"/>
                  <a:pt x="234" y="35"/>
                </a:cubicBezTo>
                <a:cubicBezTo>
                  <a:pt x="234" y="36"/>
                  <a:pt x="234" y="36"/>
                  <a:pt x="234" y="36"/>
                </a:cubicBezTo>
                <a:cubicBezTo>
                  <a:pt x="233" y="36"/>
                  <a:pt x="233" y="36"/>
                  <a:pt x="233" y="36"/>
                </a:cubicBezTo>
                <a:cubicBezTo>
                  <a:pt x="232" y="37"/>
                  <a:pt x="232" y="37"/>
                  <a:pt x="232" y="37"/>
                </a:cubicBezTo>
                <a:cubicBezTo>
                  <a:pt x="230" y="38"/>
                  <a:pt x="230" y="38"/>
                  <a:pt x="230" y="38"/>
                </a:cubicBezTo>
                <a:cubicBezTo>
                  <a:pt x="228" y="38"/>
                  <a:pt x="228" y="38"/>
                  <a:pt x="228" y="38"/>
                </a:cubicBezTo>
                <a:cubicBezTo>
                  <a:pt x="228" y="38"/>
                  <a:pt x="228" y="38"/>
                  <a:pt x="228" y="38"/>
                </a:cubicBezTo>
                <a:cubicBezTo>
                  <a:pt x="227" y="38"/>
                  <a:pt x="227" y="38"/>
                  <a:pt x="227" y="38"/>
                </a:cubicBezTo>
                <a:cubicBezTo>
                  <a:pt x="226" y="38"/>
                  <a:pt x="226" y="38"/>
                  <a:pt x="226" y="38"/>
                </a:cubicBezTo>
                <a:cubicBezTo>
                  <a:pt x="226" y="37"/>
                  <a:pt x="226" y="37"/>
                  <a:pt x="226" y="37"/>
                </a:cubicBezTo>
                <a:cubicBezTo>
                  <a:pt x="225" y="37"/>
                  <a:pt x="225" y="37"/>
                  <a:pt x="225" y="37"/>
                </a:cubicBezTo>
                <a:cubicBezTo>
                  <a:pt x="225" y="38"/>
                  <a:pt x="225" y="38"/>
                  <a:pt x="225" y="38"/>
                </a:cubicBezTo>
                <a:cubicBezTo>
                  <a:pt x="226" y="38"/>
                  <a:pt x="226" y="38"/>
                  <a:pt x="226" y="38"/>
                </a:cubicBezTo>
                <a:cubicBezTo>
                  <a:pt x="226" y="39"/>
                  <a:pt x="226" y="39"/>
                  <a:pt x="226" y="39"/>
                </a:cubicBezTo>
                <a:cubicBezTo>
                  <a:pt x="225" y="39"/>
                  <a:pt x="225" y="39"/>
                  <a:pt x="225" y="39"/>
                </a:cubicBezTo>
                <a:cubicBezTo>
                  <a:pt x="224" y="38"/>
                  <a:pt x="224" y="38"/>
                  <a:pt x="224" y="38"/>
                </a:cubicBezTo>
                <a:cubicBezTo>
                  <a:pt x="223" y="39"/>
                  <a:pt x="223" y="39"/>
                  <a:pt x="223" y="39"/>
                </a:cubicBezTo>
                <a:cubicBezTo>
                  <a:pt x="222" y="39"/>
                  <a:pt x="222" y="39"/>
                  <a:pt x="222" y="39"/>
                </a:cubicBezTo>
                <a:cubicBezTo>
                  <a:pt x="221" y="38"/>
                  <a:pt x="221" y="38"/>
                  <a:pt x="221" y="38"/>
                </a:cubicBezTo>
                <a:cubicBezTo>
                  <a:pt x="220" y="38"/>
                  <a:pt x="220" y="38"/>
                  <a:pt x="220" y="38"/>
                </a:cubicBezTo>
                <a:cubicBezTo>
                  <a:pt x="219" y="39"/>
                  <a:pt x="219" y="39"/>
                  <a:pt x="219" y="39"/>
                </a:cubicBezTo>
                <a:cubicBezTo>
                  <a:pt x="218" y="40"/>
                  <a:pt x="218" y="40"/>
                  <a:pt x="218" y="40"/>
                </a:cubicBezTo>
                <a:cubicBezTo>
                  <a:pt x="217" y="40"/>
                  <a:pt x="217" y="40"/>
                  <a:pt x="217" y="40"/>
                </a:cubicBezTo>
                <a:cubicBezTo>
                  <a:pt x="216" y="39"/>
                  <a:pt x="216" y="39"/>
                  <a:pt x="216" y="39"/>
                </a:cubicBezTo>
                <a:cubicBezTo>
                  <a:pt x="215" y="39"/>
                  <a:pt x="215" y="39"/>
                  <a:pt x="215" y="39"/>
                </a:cubicBezTo>
                <a:cubicBezTo>
                  <a:pt x="214" y="39"/>
                  <a:pt x="214" y="39"/>
                  <a:pt x="214" y="39"/>
                </a:cubicBezTo>
                <a:cubicBezTo>
                  <a:pt x="214" y="39"/>
                  <a:pt x="214" y="39"/>
                  <a:pt x="214" y="39"/>
                </a:cubicBezTo>
                <a:cubicBezTo>
                  <a:pt x="213" y="39"/>
                  <a:pt x="213" y="39"/>
                  <a:pt x="213" y="39"/>
                </a:cubicBezTo>
                <a:cubicBezTo>
                  <a:pt x="212" y="40"/>
                  <a:pt x="212" y="40"/>
                  <a:pt x="212" y="40"/>
                </a:cubicBezTo>
                <a:cubicBezTo>
                  <a:pt x="211" y="39"/>
                  <a:pt x="211" y="39"/>
                  <a:pt x="211" y="39"/>
                </a:cubicBezTo>
                <a:cubicBezTo>
                  <a:pt x="209" y="38"/>
                  <a:pt x="209" y="38"/>
                  <a:pt x="209" y="38"/>
                </a:cubicBezTo>
                <a:cubicBezTo>
                  <a:pt x="209" y="38"/>
                  <a:pt x="209" y="38"/>
                  <a:pt x="209" y="38"/>
                </a:cubicBezTo>
                <a:cubicBezTo>
                  <a:pt x="209" y="38"/>
                  <a:pt x="209" y="38"/>
                  <a:pt x="209" y="38"/>
                </a:cubicBezTo>
                <a:cubicBezTo>
                  <a:pt x="207" y="38"/>
                  <a:pt x="207" y="38"/>
                  <a:pt x="207" y="38"/>
                </a:cubicBezTo>
                <a:cubicBezTo>
                  <a:pt x="206" y="37"/>
                  <a:pt x="206" y="37"/>
                  <a:pt x="206" y="37"/>
                </a:cubicBezTo>
                <a:cubicBezTo>
                  <a:pt x="205" y="37"/>
                  <a:pt x="205" y="37"/>
                  <a:pt x="205" y="37"/>
                </a:cubicBezTo>
                <a:cubicBezTo>
                  <a:pt x="204" y="38"/>
                  <a:pt x="204" y="38"/>
                  <a:pt x="204" y="38"/>
                </a:cubicBezTo>
                <a:cubicBezTo>
                  <a:pt x="203" y="37"/>
                  <a:pt x="203" y="37"/>
                  <a:pt x="203" y="37"/>
                </a:cubicBezTo>
                <a:cubicBezTo>
                  <a:pt x="202" y="37"/>
                  <a:pt x="202" y="37"/>
                  <a:pt x="202" y="37"/>
                </a:cubicBezTo>
                <a:cubicBezTo>
                  <a:pt x="201" y="37"/>
                  <a:pt x="201" y="37"/>
                  <a:pt x="201" y="37"/>
                </a:cubicBezTo>
                <a:cubicBezTo>
                  <a:pt x="200" y="38"/>
                  <a:pt x="200" y="38"/>
                  <a:pt x="200" y="38"/>
                </a:cubicBezTo>
                <a:cubicBezTo>
                  <a:pt x="199" y="38"/>
                  <a:pt x="199" y="38"/>
                  <a:pt x="199" y="38"/>
                </a:cubicBezTo>
                <a:cubicBezTo>
                  <a:pt x="198" y="38"/>
                  <a:pt x="198" y="38"/>
                  <a:pt x="198" y="38"/>
                </a:cubicBezTo>
                <a:cubicBezTo>
                  <a:pt x="197" y="39"/>
                  <a:pt x="197" y="39"/>
                  <a:pt x="197" y="39"/>
                </a:cubicBezTo>
                <a:cubicBezTo>
                  <a:pt x="197" y="39"/>
                  <a:pt x="197" y="39"/>
                  <a:pt x="197" y="39"/>
                </a:cubicBezTo>
                <a:cubicBezTo>
                  <a:pt x="196" y="39"/>
                  <a:pt x="196" y="39"/>
                  <a:pt x="196" y="39"/>
                </a:cubicBezTo>
                <a:cubicBezTo>
                  <a:pt x="196" y="38"/>
                  <a:pt x="196" y="38"/>
                  <a:pt x="196" y="38"/>
                </a:cubicBezTo>
                <a:cubicBezTo>
                  <a:pt x="195" y="38"/>
                  <a:pt x="195" y="38"/>
                  <a:pt x="195" y="38"/>
                </a:cubicBezTo>
                <a:cubicBezTo>
                  <a:pt x="194" y="38"/>
                  <a:pt x="194" y="38"/>
                  <a:pt x="194" y="38"/>
                </a:cubicBezTo>
                <a:cubicBezTo>
                  <a:pt x="194" y="37"/>
                  <a:pt x="194" y="37"/>
                  <a:pt x="194" y="37"/>
                </a:cubicBezTo>
                <a:cubicBezTo>
                  <a:pt x="193" y="37"/>
                  <a:pt x="193" y="37"/>
                  <a:pt x="193" y="37"/>
                </a:cubicBezTo>
                <a:cubicBezTo>
                  <a:pt x="193" y="38"/>
                  <a:pt x="193" y="38"/>
                  <a:pt x="193" y="38"/>
                </a:cubicBezTo>
                <a:cubicBezTo>
                  <a:pt x="193" y="38"/>
                  <a:pt x="193" y="38"/>
                  <a:pt x="193" y="38"/>
                </a:cubicBezTo>
                <a:cubicBezTo>
                  <a:pt x="195" y="38"/>
                  <a:pt x="195" y="38"/>
                  <a:pt x="195" y="38"/>
                </a:cubicBezTo>
                <a:cubicBezTo>
                  <a:pt x="195" y="38"/>
                  <a:pt x="195" y="38"/>
                  <a:pt x="195" y="38"/>
                </a:cubicBezTo>
                <a:cubicBezTo>
                  <a:pt x="196" y="39"/>
                  <a:pt x="196" y="39"/>
                  <a:pt x="196" y="39"/>
                </a:cubicBezTo>
                <a:cubicBezTo>
                  <a:pt x="195" y="40"/>
                  <a:pt x="195" y="40"/>
                  <a:pt x="195" y="40"/>
                </a:cubicBezTo>
                <a:cubicBezTo>
                  <a:pt x="194" y="40"/>
                  <a:pt x="194" y="40"/>
                  <a:pt x="194" y="40"/>
                </a:cubicBezTo>
                <a:cubicBezTo>
                  <a:pt x="194" y="40"/>
                  <a:pt x="194" y="40"/>
                  <a:pt x="194" y="40"/>
                </a:cubicBezTo>
                <a:cubicBezTo>
                  <a:pt x="193" y="40"/>
                  <a:pt x="193" y="40"/>
                  <a:pt x="193" y="40"/>
                </a:cubicBezTo>
                <a:cubicBezTo>
                  <a:pt x="192" y="41"/>
                  <a:pt x="192" y="41"/>
                  <a:pt x="192" y="41"/>
                </a:cubicBezTo>
                <a:cubicBezTo>
                  <a:pt x="191" y="41"/>
                  <a:pt x="191" y="41"/>
                  <a:pt x="191" y="41"/>
                </a:cubicBezTo>
                <a:cubicBezTo>
                  <a:pt x="189" y="42"/>
                  <a:pt x="189" y="42"/>
                  <a:pt x="189" y="42"/>
                </a:cubicBezTo>
                <a:cubicBezTo>
                  <a:pt x="188" y="42"/>
                  <a:pt x="188" y="42"/>
                  <a:pt x="188" y="42"/>
                </a:cubicBezTo>
                <a:cubicBezTo>
                  <a:pt x="188" y="43"/>
                  <a:pt x="188" y="43"/>
                  <a:pt x="188" y="43"/>
                </a:cubicBezTo>
                <a:cubicBezTo>
                  <a:pt x="187" y="43"/>
                  <a:pt x="187" y="43"/>
                  <a:pt x="187" y="43"/>
                </a:cubicBezTo>
                <a:cubicBezTo>
                  <a:pt x="186" y="43"/>
                  <a:pt x="186" y="43"/>
                  <a:pt x="186" y="43"/>
                </a:cubicBezTo>
                <a:cubicBezTo>
                  <a:pt x="184" y="44"/>
                  <a:pt x="184" y="44"/>
                  <a:pt x="184" y="44"/>
                </a:cubicBezTo>
                <a:cubicBezTo>
                  <a:pt x="184" y="44"/>
                  <a:pt x="184" y="44"/>
                  <a:pt x="184" y="44"/>
                </a:cubicBezTo>
                <a:cubicBezTo>
                  <a:pt x="183" y="44"/>
                  <a:pt x="183" y="44"/>
                  <a:pt x="183" y="44"/>
                </a:cubicBezTo>
                <a:cubicBezTo>
                  <a:pt x="183" y="45"/>
                  <a:pt x="183" y="45"/>
                  <a:pt x="183" y="45"/>
                </a:cubicBezTo>
                <a:cubicBezTo>
                  <a:pt x="184" y="46"/>
                  <a:pt x="184" y="46"/>
                  <a:pt x="184" y="46"/>
                </a:cubicBezTo>
                <a:cubicBezTo>
                  <a:pt x="184" y="47"/>
                  <a:pt x="184" y="47"/>
                  <a:pt x="184" y="47"/>
                </a:cubicBezTo>
                <a:cubicBezTo>
                  <a:pt x="184" y="48"/>
                  <a:pt x="184" y="48"/>
                  <a:pt x="184" y="48"/>
                </a:cubicBezTo>
                <a:cubicBezTo>
                  <a:pt x="184" y="49"/>
                  <a:pt x="184" y="49"/>
                  <a:pt x="184" y="49"/>
                </a:cubicBezTo>
                <a:cubicBezTo>
                  <a:pt x="185" y="48"/>
                  <a:pt x="185" y="48"/>
                  <a:pt x="185" y="48"/>
                </a:cubicBezTo>
                <a:cubicBezTo>
                  <a:pt x="185" y="48"/>
                  <a:pt x="185" y="48"/>
                  <a:pt x="185" y="48"/>
                </a:cubicBezTo>
                <a:cubicBezTo>
                  <a:pt x="186" y="47"/>
                  <a:pt x="186" y="47"/>
                  <a:pt x="186" y="47"/>
                </a:cubicBezTo>
                <a:cubicBezTo>
                  <a:pt x="186" y="46"/>
                  <a:pt x="186" y="46"/>
                  <a:pt x="186" y="46"/>
                </a:cubicBezTo>
                <a:cubicBezTo>
                  <a:pt x="187" y="46"/>
                  <a:pt x="187" y="46"/>
                  <a:pt x="187" y="46"/>
                </a:cubicBezTo>
                <a:cubicBezTo>
                  <a:pt x="188" y="45"/>
                  <a:pt x="188" y="45"/>
                  <a:pt x="188" y="45"/>
                </a:cubicBezTo>
                <a:cubicBezTo>
                  <a:pt x="189" y="45"/>
                  <a:pt x="189" y="45"/>
                  <a:pt x="189" y="45"/>
                </a:cubicBezTo>
                <a:cubicBezTo>
                  <a:pt x="190" y="45"/>
                  <a:pt x="190" y="45"/>
                  <a:pt x="190" y="45"/>
                </a:cubicBezTo>
                <a:cubicBezTo>
                  <a:pt x="191" y="45"/>
                  <a:pt x="191" y="45"/>
                  <a:pt x="191" y="45"/>
                </a:cubicBezTo>
                <a:cubicBezTo>
                  <a:pt x="192" y="44"/>
                  <a:pt x="192" y="44"/>
                  <a:pt x="192" y="44"/>
                </a:cubicBezTo>
                <a:cubicBezTo>
                  <a:pt x="193" y="44"/>
                  <a:pt x="193" y="44"/>
                  <a:pt x="193" y="44"/>
                </a:cubicBezTo>
                <a:cubicBezTo>
                  <a:pt x="196" y="43"/>
                  <a:pt x="196" y="43"/>
                  <a:pt x="196" y="43"/>
                </a:cubicBezTo>
                <a:cubicBezTo>
                  <a:pt x="197" y="43"/>
                  <a:pt x="197" y="43"/>
                  <a:pt x="197" y="43"/>
                </a:cubicBezTo>
                <a:cubicBezTo>
                  <a:pt x="197" y="43"/>
                  <a:pt x="197" y="43"/>
                  <a:pt x="197" y="43"/>
                </a:cubicBezTo>
                <a:cubicBezTo>
                  <a:pt x="196" y="44"/>
                  <a:pt x="196" y="44"/>
                  <a:pt x="196" y="44"/>
                </a:cubicBezTo>
                <a:cubicBezTo>
                  <a:pt x="197" y="44"/>
                  <a:pt x="197" y="44"/>
                  <a:pt x="197" y="44"/>
                </a:cubicBezTo>
                <a:cubicBezTo>
                  <a:pt x="198" y="43"/>
                  <a:pt x="198" y="43"/>
                  <a:pt x="198" y="43"/>
                </a:cubicBezTo>
                <a:cubicBezTo>
                  <a:pt x="198" y="42"/>
                  <a:pt x="198" y="42"/>
                  <a:pt x="198" y="42"/>
                </a:cubicBezTo>
                <a:cubicBezTo>
                  <a:pt x="198" y="41"/>
                  <a:pt x="198" y="41"/>
                  <a:pt x="198" y="41"/>
                </a:cubicBezTo>
                <a:cubicBezTo>
                  <a:pt x="199" y="41"/>
                  <a:pt x="199" y="41"/>
                  <a:pt x="199" y="41"/>
                </a:cubicBezTo>
                <a:cubicBezTo>
                  <a:pt x="200" y="41"/>
                  <a:pt x="200" y="41"/>
                  <a:pt x="200" y="41"/>
                </a:cubicBezTo>
                <a:cubicBezTo>
                  <a:pt x="201" y="41"/>
                  <a:pt x="201" y="41"/>
                  <a:pt x="201" y="41"/>
                </a:cubicBezTo>
                <a:cubicBezTo>
                  <a:pt x="202" y="41"/>
                  <a:pt x="202" y="41"/>
                  <a:pt x="202" y="41"/>
                </a:cubicBezTo>
                <a:cubicBezTo>
                  <a:pt x="204" y="41"/>
                  <a:pt x="204" y="41"/>
                  <a:pt x="204" y="41"/>
                </a:cubicBezTo>
                <a:cubicBezTo>
                  <a:pt x="205" y="42"/>
                  <a:pt x="205" y="42"/>
                  <a:pt x="205" y="42"/>
                </a:cubicBezTo>
                <a:cubicBezTo>
                  <a:pt x="206" y="42"/>
                  <a:pt x="206" y="42"/>
                  <a:pt x="206" y="42"/>
                </a:cubicBezTo>
                <a:cubicBezTo>
                  <a:pt x="209" y="42"/>
                  <a:pt x="209" y="42"/>
                  <a:pt x="209" y="42"/>
                </a:cubicBezTo>
                <a:cubicBezTo>
                  <a:pt x="210" y="42"/>
                  <a:pt x="210" y="42"/>
                  <a:pt x="210" y="42"/>
                </a:cubicBezTo>
                <a:cubicBezTo>
                  <a:pt x="211" y="42"/>
                  <a:pt x="211" y="42"/>
                  <a:pt x="211" y="42"/>
                </a:cubicBezTo>
                <a:cubicBezTo>
                  <a:pt x="213" y="43"/>
                  <a:pt x="213" y="43"/>
                  <a:pt x="213" y="43"/>
                </a:cubicBezTo>
                <a:cubicBezTo>
                  <a:pt x="216" y="43"/>
                  <a:pt x="216" y="43"/>
                  <a:pt x="216" y="43"/>
                </a:cubicBezTo>
                <a:cubicBezTo>
                  <a:pt x="217" y="43"/>
                  <a:pt x="217" y="43"/>
                  <a:pt x="217" y="43"/>
                </a:cubicBezTo>
                <a:cubicBezTo>
                  <a:pt x="217" y="44"/>
                  <a:pt x="217" y="44"/>
                  <a:pt x="217" y="44"/>
                </a:cubicBezTo>
                <a:cubicBezTo>
                  <a:pt x="217" y="44"/>
                  <a:pt x="217" y="44"/>
                  <a:pt x="217" y="44"/>
                </a:cubicBezTo>
                <a:cubicBezTo>
                  <a:pt x="217" y="45"/>
                  <a:pt x="217" y="45"/>
                  <a:pt x="217" y="45"/>
                </a:cubicBezTo>
                <a:cubicBezTo>
                  <a:pt x="216" y="45"/>
                  <a:pt x="216" y="45"/>
                  <a:pt x="216" y="45"/>
                </a:cubicBezTo>
                <a:cubicBezTo>
                  <a:pt x="216" y="46"/>
                  <a:pt x="216" y="46"/>
                  <a:pt x="216" y="46"/>
                </a:cubicBezTo>
                <a:cubicBezTo>
                  <a:pt x="215" y="47"/>
                  <a:pt x="215" y="47"/>
                  <a:pt x="215" y="47"/>
                </a:cubicBezTo>
                <a:cubicBezTo>
                  <a:pt x="215" y="48"/>
                  <a:pt x="215" y="48"/>
                  <a:pt x="215" y="48"/>
                </a:cubicBezTo>
                <a:cubicBezTo>
                  <a:pt x="212" y="48"/>
                  <a:pt x="212" y="48"/>
                  <a:pt x="212" y="48"/>
                </a:cubicBezTo>
                <a:cubicBezTo>
                  <a:pt x="210" y="49"/>
                  <a:pt x="210" y="49"/>
                  <a:pt x="210" y="49"/>
                </a:cubicBezTo>
                <a:cubicBezTo>
                  <a:pt x="210" y="49"/>
                  <a:pt x="210" y="49"/>
                  <a:pt x="210" y="49"/>
                </a:cubicBezTo>
                <a:cubicBezTo>
                  <a:pt x="209" y="49"/>
                  <a:pt x="209" y="49"/>
                  <a:pt x="209" y="49"/>
                </a:cubicBezTo>
                <a:cubicBezTo>
                  <a:pt x="209" y="49"/>
                  <a:pt x="209" y="49"/>
                  <a:pt x="209" y="49"/>
                </a:cubicBezTo>
                <a:cubicBezTo>
                  <a:pt x="209" y="50"/>
                  <a:pt x="209" y="50"/>
                  <a:pt x="209" y="50"/>
                </a:cubicBezTo>
                <a:cubicBezTo>
                  <a:pt x="209" y="50"/>
                  <a:pt x="209" y="50"/>
                  <a:pt x="209" y="50"/>
                </a:cubicBezTo>
                <a:cubicBezTo>
                  <a:pt x="208" y="51"/>
                  <a:pt x="208" y="51"/>
                  <a:pt x="208" y="51"/>
                </a:cubicBezTo>
                <a:cubicBezTo>
                  <a:pt x="209" y="52"/>
                  <a:pt x="209" y="52"/>
                  <a:pt x="209" y="52"/>
                </a:cubicBezTo>
                <a:cubicBezTo>
                  <a:pt x="209" y="52"/>
                  <a:pt x="209" y="52"/>
                  <a:pt x="209" y="52"/>
                </a:cubicBezTo>
                <a:cubicBezTo>
                  <a:pt x="210" y="52"/>
                  <a:pt x="210" y="52"/>
                  <a:pt x="210" y="52"/>
                </a:cubicBezTo>
                <a:cubicBezTo>
                  <a:pt x="212" y="51"/>
                  <a:pt x="212" y="51"/>
                  <a:pt x="212" y="51"/>
                </a:cubicBezTo>
                <a:cubicBezTo>
                  <a:pt x="213" y="51"/>
                  <a:pt x="213" y="51"/>
                  <a:pt x="213" y="51"/>
                </a:cubicBezTo>
                <a:cubicBezTo>
                  <a:pt x="213" y="51"/>
                  <a:pt x="215" y="51"/>
                  <a:pt x="215" y="51"/>
                </a:cubicBezTo>
                <a:cubicBezTo>
                  <a:pt x="216" y="51"/>
                  <a:pt x="218" y="51"/>
                  <a:pt x="218" y="51"/>
                </a:cubicBezTo>
                <a:cubicBezTo>
                  <a:pt x="218" y="51"/>
                  <a:pt x="218" y="51"/>
                  <a:pt x="218" y="51"/>
                </a:cubicBezTo>
                <a:cubicBezTo>
                  <a:pt x="219" y="52"/>
                  <a:pt x="219" y="52"/>
                  <a:pt x="219" y="52"/>
                </a:cubicBezTo>
                <a:cubicBezTo>
                  <a:pt x="220" y="52"/>
                  <a:pt x="220" y="52"/>
                  <a:pt x="220" y="52"/>
                </a:cubicBezTo>
                <a:cubicBezTo>
                  <a:pt x="220" y="51"/>
                  <a:pt x="220" y="51"/>
                  <a:pt x="220" y="51"/>
                </a:cubicBezTo>
                <a:cubicBezTo>
                  <a:pt x="221" y="51"/>
                  <a:pt x="221" y="51"/>
                  <a:pt x="221" y="51"/>
                </a:cubicBezTo>
                <a:cubicBezTo>
                  <a:pt x="221" y="51"/>
                  <a:pt x="221" y="51"/>
                  <a:pt x="221" y="51"/>
                </a:cubicBezTo>
                <a:cubicBezTo>
                  <a:pt x="222" y="52"/>
                  <a:pt x="222" y="52"/>
                  <a:pt x="222" y="52"/>
                </a:cubicBezTo>
                <a:cubicBezTo>
                  <a:pt x="223" y="50"/>
                  <a:pt x="223" y="50"/>
                  <a:pt x="223" y="50"/>
                </a:cubicBezTo>
                <a:cubicBezTo>
                  <a:pt x="223" y="48"/>
                  <a:pt x="223" y="48"/>
                  <a:pt x="223" y="48"/>
                </a:cubicBezTo>
                <a:cubicBezTo>
                  <a:pt x="223" y="47"/>
                  <a:pt x="223" y="47"/>
                  <a:pt x="223" y="47"/>
                </a:cubicBezTo>
                <a:cubicBezTo>
                  <a:pt x="224" y="46"/>
                  <a:pt x="224" y="46"/>
                  <a:pt x="224" y="46"/>
                </a:cubicBezTo>
                <a:cubicBezTo>
                  <a:pt x="224" y="46"/>
                  <a:pt x="224" y="46"/>
                  <a:pt x="224" y="46"/>
                </a:cubicBezTo>
                <a:cubicBezTo>
                  <a:pt x="224" y="45"/>
                  <a:pt x="224" y="45"/>
                  <a:pt x="224" y="45"/>
                </a:cubicBezTo>
                <a:cubicBezTo>
                  <a:pt x="225" y="44"/>
                  <a:pt x="225" y="44"/>
                  <a:pt x="225" y="44"/>
                </a:cubicBezTo>
                <a:cubicBezTo>
                  <a:pt x="226" y="44"/>
                  <a:pt x="226" y="44"/>
                  <a:pt x="226" y="44"/>
                </a:cubicBezTo>
                <a:cubicBezTo>
                  <a:pt x="227" y="45"/>
                  <a:pt x="227" y="45"/>
                  <a:pt x="227" y="45"/>
                </a:cubicBezTo>
                <a:cubicBezTo>
                  <a:pt x="229" y="44"/>
                  <a:pt x="229" y="44"/>
                  <a:pt x="229" y="44"/>
                </a:cubicBezTo>
                <a:cubicBezTo>
                  <a:pt x="230" y="44"/>
                  <a:pt x="230" y="44"/>
                  <a:pt x="230" y="44"/>
                </a:cubicBezTo>
                <a:cubicBezTo>
                  <a:pt x="231" y="44"/>
                  <a:pt x="231" y="44"/>
                  <a:pt x="231" y="44"/>
                </a:cubicBezTo>
                <a:cubicBezTo>
                  <a:pt x="231" y="46"/>
                  <a:pt x="231" y="46"/>
                  <a:pt x="231" y="46"/>
                </a:cubicBezTo>
                <a:cubicBezTo>
                  <a:pt x="231" y="48"/>
                  <a:pt x="231" y="48"/>
                  <a:pt x="231" y="48"/>
                </a:cubicBezTo>
                <a:cubicBezTo>
                  <a:pt x="231" y="49"/>
                  <a:pt x="231" y="49"/>
                  <a:pt x="231" y="49"/>
                </a:cubicBezTo>
                <a:cubicBezTo>
                  <a:pt x="230" y="51"/>
                  <a:pt x="230" y="51"/>
                  <a:pt x="230" y="51"/>
                </a:cubicBezTo>
                <a:cubicBezTo>
                  <a:pt x="229" y="52"/>
                  <a:pt x="229" y="52"/>
                  <a:pt x="229" y="52"/>
                </a:cubicBezTo>
                <a:cubicBezTo>
                  <a:pt x="229" y="54"/>
                  <a:pt x="229" y="54"/>
                  <a:pt x="229" y="54"/>
                </a:cubicBezTo>
                <a:cubicBezTo>
                  <a:pt x="229" y="55"/>
                  <a:pt x="229" y="55"/>
                  <a:pt x="229" y="55"/>
                </a:cubicBezTo>
                <a:cubicBezTo>
                  <a:pt x="225" y="58"/>
                  <a:pt x="225" y="58"/>
                  <a:pt x="225" y="58"/>
                </a:cubicBezTo>
                <a:cubicBezTo>
                  <a:pt x="224" y="58"/>
                  <a:pt x="224" y="58"/>
                  <a:pt x="224" y="58"/>
                </a:cubicBezTo>
                <a:cubicBezTo>
                  <a:pt x="224" y="58"/>
                  <a:pt x="224" y="58"/>
                  <a:pt x="224" y="58"/>
                </a:cubicBezTo>
                <a:cubicBezTo>
                  <a:pt x="223" y="58"/>
                  <a:pt x="223" y="58"/>
                  <a:pt x="223" y="58"/>
                </a:cubicBezTo>
                <a:cubicBezTo>
                  <a:pt x="222" y="59"/>
                  <a:pt x="222" y="59"/>
                  <a:pt x="222" y="59"/>
                </a:cubicBezTo>
                <a:cubicBezTo>
                  <a:pt x="222" y="59"/>
                  <a:pt x="222" y="59"/>
                  <a:pt x="222" y="59"/>
                </a:cubicBezTo>
                <a:cubicBezTo>
                  <a:pt x="221" y="59"/>
                  <a:pt x="221" y="59"/>
                  <a:pt x="221" y="59"/>
                </a:cubicBezTo>
                <a:cubicBezTo>
                  <a:pt x="220" y="60"/>
                  <a:pt x="220" y="60"/>
                  <a:pt x="220" y="60"/>
                </a:cubicBezTo>
                <a:cubicBezTo>
                  <a:pt x="220" y="61"/>
                  <a:pt x="220" y="61"/>
                  <a:pt x="220" y="61"/>
                </a:cubicBezTo>
                <a:cubicBezTo>
                  <a:pt x="219" y="62"/>
                  <a:pt x="219" y="62"/>
                  <a:pt x="219" y="62"/>
                </a:cubicBezTo>
                <a:cubicBezTo>
                  <a:pt x="218" y="63"/>
                  <a:pt x="218" y="63"/>
                  <a:pt x="218" y="63"/>
                </a:cubicBezTo>
                <a:cubicBezTo>
                  <a:pt x="218" y="63"/>
                  <a:pt x="218" y="63"/>
                  <a:pt x="218" y="63"/>
                </a:cubicBezTo>
                <a:cubicBezTo>
                  <a:pt x="217" y="62"/>
                  <a:pt x="217" y="62"/>
                  <a:pt x="217" y="62"/>
                </a:cubicBezTo>
                <a:cubicBezTo>
                  <a:pt x="217" y="63"/>
                  <a:pt x="217" y="63"/>
                  <a:pt x="217" y="63"/>
                </a:cubicBezTo>
                <a:cubicBezTo>
                  <a:pt x="217" y="63"/>
                  <a:pt x="217" y="63"/>
                  <a:pt x="217" y="63"/>
                </a:cubicBezTo>
                <a:cubicBezTo>
                  <a:pt x="217" y="64"/>
                  <a:pt x="217" y="64"/>
                  <a:pt x="217" y="64"/>
                </a:cubicBezTo>
                <a:cubicBezTo>
                  <a:pt x="216" y="66"/>
                  <a:pt x="216" y="66"/>
                  <a:pt x="216" y="66"/>
                </a:cubicBezTo>
                <a:cubicBezTo>
                  <a:pt x="215" y="67"/>
                  <a:pt x="215" y="67"/>
                  <a:pt x="215" y="67"/>
                </a:cubicBezTo>
                <a:cubicBezTo>
                  <a:pt x="214" y="67"/>
                  <a:pt x="214" y="67"/>
                  <a:pt x="214" y="67"/>
                </a:cubicBezTo>
                <a:cubicBezTo>
                  <a:pt x="213" y="69"/>
                  <a:pt x="213" y="69"/>
                  <a:pt x="213" y="69"/>
                </a:cubicBezTo>
                <a:cubicBezTo>
                  <a:pt x="211" y="70"/>
                  <a:pt x="211" y="70"/>
                  <a:pt x="211" y="70"/>
                </a:cubicBezTo>
                <a:cubicBezTo>
                  <a:pt x="210" y="70"/>
                  <a:pt x="210" y="70"/>
                  <a:pt x="210" y="70"/>
                </a:cubicBezTo>
                <a:cubicBezTo>
                  <a:pt x="209" y="71"/>
                  <a:pt x="209" y="71"/>
                  <a:pt x="209" y="71"/>
                </a:cubicBezTo>
                <a:cubicBezTo>
                  <a:pt x="209" y="72"/>
                  <a:pt x="209" y="72"/>
                  <a:pt x="209" y="72"/>
                </a:cubicBezTo>
                <a:cubicBezTo>
                  <a:pt x="208" y="72"/>
                  <a:pt x="208" y="72"/>
                  <a:pt x="208" y="72"/>
                </a:cubicBezTo>
                <a:cubicBezTo>
                  <a:pt x="208" y="73"/>
                  <a:pt x="208" y="73"/>
                  <a:pt x="208" y="73"/>
                </a:cubicBezTo>
                <a:cubicBezTo>
                  <a:pt x="208" y="74"/>
                  <a:pt x="208" y="74"/>
                  <a:pt x="208" y="74"/>
                </a:cubicBezTo>
                <a:cubicBezTo>
                  <a:pt x="207" y="75"/>
                  <a:pt x="207" y="75"/>
                  <a:pt x="207" y="75"/>
                </a:cubicBezTo>
                <a:cubicBezTo>
                  <a:pt x="207" y="76"/>
                  <a:pt x="207" y="76"/>
                  <a:pt x="207" y="76"/>
                </a:cubicBezTo>
                <a:cubicBezTo>
                  <a:pt x="208" y="75"/>
                  <a:pt x="208" y="75"/>
                  <a:pt x="208" y="75"/>
                </a:cubicBezTo>
                <a:cubicBezTo>
                  <a:pt x="208" y="75"/>
                  <a:pt x="208" y="75"/>
                  <a:pt x="208" y="75"/>
                </a:cubicBezTo>
                <a:cubicBezTo>
                  <a:pt x="209" y="73"/>
                  <a:pt x="209" y="73"/>
                  <a:pt x="209" y="73"/>
                </a:cubicBezTo>
                <a:cubicBezTo>
                  <a:pt x="210" y="72"/>
                  <a:pt x="210" y="72"/>
                  <a:pt x="210" y="72"/>
                </a:cubicBezTo>
                <a:cubicBezTo>
                  <a:pt x="211" y="71"/>
                  <a:pt x="211" y="71"/>
                  <a:pt x="211" y="71"/>
                </a:cubicBezTo>
                <a:cubicBezTo>
                  <a:pt x="212" y="71"/>
                  <a:pt x="212" y="71"/>
                  <a:pt x="212" y="71"/>
                </a:cubicBezTo>
                <a:cubicBezTo>
                  <a:pt x="212" y="72"/>
                  <a:pt x="212" y="72"/>
                  <a:pt x="212" y="72"/>
                </a:cubicBezTo>
                <a:cubicBezTo>
                  <a:pt x="213" y="70"/>
                  <a:pt x="213" y="70"/>
                  <a:pt x="213" y="70"/>
                </a:cubicBezTo>
                <a:cubicBezTo>
                  <a:pt x="215" y="69"/>
                  <a:pt x="215" y="69"/>
                  <a:pt x="215" y="69"/>
                </a:cubicBezTo>
                <a:cubicBezTo>
                  <a:pt x="216" y="69"/>
                  <a:pt x="216" y="69"/>
                  <a:pt x="216" y="69"/>
                </a:cubicBezTo>
                <a:cubicBezTo>
                  <a:pt x="216" y="67"/>
                  <a:pt x="216" y="67"/>
                  <a:pt x="216" y="67"/>
                </a:cubicBezTo>
                <a:cubicBezTo>
                  <a:pt x="218" y="66"/>
                  <a:pt x="218" y="66"/>
                  <a:pt x="218" y="66"/>
                </a:cubicBezTo>
                <a:cubicBezTo>
                  <a:pt x="220" y="64"/>
                  <a:pt x="220" y="64"/>
                  <a:pt x="220" y="64"/>
                </a:cubicBezTo>
                <a:cubicBezTo>
                  <a:pt x="220" y="64"/>
                  <a:pt x="220" y="64"/>
                  <a:pt x="220" y="64"/>
                </a:cubicBezTo>
                <a:cubicBezTo>
                  <a:pt x="221" y="64"/>
                  <a:pt x="221" y="64"/>
                  <a:pt x="221" y="64"/>
                </a:cubicBezTo>
                <a:cubicBezTo>
                  <a:pt x="222" y="64"/>
                  <a:pt x="222" y="64"/>
                  <a:pt x="222" y="64"/>
                </a:cubicBezTo>
                <a:cubicBezTo>
                  <a:pt x="223" y="63"/>
                  <a:pt x="223" y="63"/>
                  <a:pt x="223" y="63"/>
                </a:cubicBezTo>
                <a:cubicBezTo>
                  <a:pt x="223" y="63"/>
                  <a:pt x="223" y="63"/>
                  <a:pt x="223" y="63"/>
                </a:cubicBezTo>
                <a:cubicBezTo>
                  <a:pt x="224" y="63"/>
                  <a:pt x="224" y="63"/>
                  <a:pt x="224" y="63"/>
                </a:cubicBezTo>
                <a:cubicBezTo>
                  <a:pt x="226" y="63"/>
                  <a:pt x="226" y="63"/>
                  <a:pt x="226" y="63"/>
                </a:cubicBezTo>
                <a:cubicBezTo>
                  <a:pt x="228" y="62"/>
                  <a:pt x="228" y="62"/>
                  <a:pt x="228" y="62"/>
                </a:cubicBezTo>
                <a:cubicBezTo>
                  <a:pt x="229" y="61"/>
                  <a:pt x="229" y="61"/>
                  <a:pt x="229" y="61"/>
                </a:cubicBezTo>
                <a:cubicBezTo>
                  <a:pt x="230" y="61"/>
                  <a:pt x="230" y="61"/>
                  <a:pt x="230" y="61"/>
                </a:cubicBezTo>
                <a:cubicBezTo>
                  <a:pt x="231" y="60"/>
                  <a:pt x="231" y="60"/>
                  <a:pt x="231" y="60"/>
                </a:cubicBezTo>
                <a:cubicBezTo>
                  <a:pt x="232" y="59"/>
                  <a:pt x="232" y="59"/>
                  <a:pt x="232" y="59"/>
                </a:cubicBezTo>
                <a:cubicBezTo>
                  <a:pt x="233" y="59"/>
                  <a:pt x="233" y="59"/>
                  <a:pt x="233" y="59"/>
                </a:cubicBezTo>
                <a:cubicBezTo>
                  <a:pt x="233" y="58"/>
                  <a:pt x="233" y="58"/>
                  <a:pt x="233" y="58"/>
                </a:cubicBezTo>
                <a:cubicBezTo>
                  <a:pt x="235" y="57"/>
                  <a:pt x="235" y="57"/>
                  <a:pt x="235" y="57"/>
                </a:cubicBezTo>
                <a:cubicBezTo>
                  <a:pt x="236" y="55"/>
                  <a:pt x="236" y="55"/>
                  <a:pt x="236" y="55"/>
                </a:cubicBezTo>
                <a:cubicBezTo>
                  <a:pt x="236" y="55"/>
                  <a:pt x="236" y="55"/>
                  <a:pt x="236" y="55"/>
                </a:cubicBezTo>
                <a:cubicBezTo>
                  <a:pt x="236" y="54"/>
                  <a:pt x="236" y="54"/>
                  <a:pt x="236" y="54"/>
                </a:cubicBezTo>
                <a:cubicBezTo>
                  <a:pt x="237" y="53"/>
                  <a:pt x="237" y="53"/>
                  <a:pt x="237" y="53"/>
                </a:cubicBezTo>
                <a:cubicBezTo>
                  <a:pt x="237" y="53"/>
                  <a:pt x="237" y="53"/>
                  <a:pt x="237" y="53"/>
                </a:cubicBezTo>
                <a:cubicBezTo>
                  <a:pt x="237" y="53"/>
                  <a:pt x="237" y="53"/>
                  <a:pt x="237" y="53"/>
                </a:cubicBezTo>
                <a:cubicBezTo>
                  <a:pt x="238" y="54"/>
                  <a:pt x="238" y="54"/>
                  <a:pt x="238" y="54"/>
                </a:cubicBezTo>
                <a:cubicBezTo>
                  <a:pt x="238" y="55"/>
                  <a:pt x="238" y="55"/>
                  <a:pt x="238" y="55"/>
                </a:cubicBezTo>
                <a:cubicBezTo>
                  <a:pt x="237" y="56"/>
                  <a:pt x="237" y="56"/>
                  <a:pt x="237" y="56"/>
                </a:cubicBezTo>
                <a:cubicBezTo>
                  <a:pt x="238" y="57"/>
                  <a:pt x="238" y="57"/>
                  <a:pt x="238" y="57"/>
                </a:cubicBezTo>
                <a:cubicBezTo>
                  <a:pt x="238" y="58"/>
                  <a:pt x="238" y="58"/>
                  <a:pt x="238" y="58"/>
                </a:cubicBezTo>
                <a:cubicBezTo>
                  <a:pt x="238" y="59"/>
                  <a:pt x="238" y="59"/>
                  <a:pt x="238" y="59"/>
                </a:cubicBezTo>
                <a:cubicBezTo>
                  <a:pt x="238" y="59"/>
                  <a:pt x="238" y="59"/>
                  <a:pt x="238" y="59"/>
                </a:cubicBezTo>
                <a:cubicBezTo>
                  <a:pt x="238" y="59"/>
                  <a:pt x="238" y="59"/>
                  <a:pt x="238" y="59"/>
                </a:cubicBezTo>
                <a:cubicBezTo>
                  <a:pt x="239" y="58"/>
                  <a:pt x="239" y="58"/>
                  <a:pt x="239" y="58"/>
                </a:cubicBezTo>
                <a:cubicBezTo>
                  <a:pt x="239" y="57"/>
                  <a:pt x="239" y="57"/>
                  <a:pt x="239" y="57"/>
                </a:cubicBezTo>
                <a:cubicBezTo>
                  <a:pt x="239" y="57"/>
                  <a:pt x="239" y="57"/>
                  <a:pt x="239" y="57"/>
                </a:cubicBezTo>
                <a:cubicBezTo>
                  <a:pt x="239" y="55"/>
                  <a:pt x="239" y="55"/>
                  <a:pt x="239" y="55"/>
                </a:cubicBezTo>
                <a:cubicBezTo>
                  <a:pt x="239" y="55"/>
                  <a:pt x="239" y="55"/>
                  <a:pt x="239" y="55"/>
                </a:cubicBezTo>
                <a:cubicBezTo>
                  <a:pt x="240" y="55"/>
                  <a:pt x="240" y="55"/>
                  <a:pt x="240" y="55"/>
                </a:cubicBezTo>
                <a:cubicBezTo>
                  <a:pt x="240" y="56"/>
                  <a:pt x="240" y="56"/>
                  <a:pt x="240" y="56"/>
                </a:cubicBezTo>
                <a:cubicBezTo>
                  <a:pt x="241" y="57"/>
                  <a:pt x="241" y="57"/>
                  <a:pt x="241" y="57"/>
                </a:cubicBezTo>
                <a:cubicBezTo>
                  <a:pt x="242" y="57"/>
                  <a:pt x="242" y="57"/>
                  <a:pt x="242" y="57"/>
                </a:cubicBezTo>
                <a:cubicBezTo>
                  <a:pt x="243" y="56"/>
                  <a:pt x="243" y="56"/>
                  <a:pt x="243" y="56"/>
                </a:cubicBezTo>
                <a:cubicBezTo>
                  <a:pt x="243" y="56"/>
                  <a:pt x="243" y="56"/>
                  <a:pt x="243" y="56"/>
                </a:cubicBezTo>
                <a:cubicBezTo>
                  <a:pt x="243" y="55"/>
                  <a:pt x="243" y="55"/>
                  <a:pt x="243" y="55"/>
                </a:cubicBezTo>
                <a:cubicBezTo>
                  <a:pt x="243" y="54"/>
                  <a:pt x="243" y="54"/>
                  <a:pt x="243" y="54"/>
                </a:cubicBezTo>
                <a:cubicBezTo>
                  <a:pt x="244" y="54"/>
                  <a:pt x="244" y="54"/>
                  <a:pt x="244" y="54"/>
                </a:cubicBezTo>
                <a:cubicBezTo>
                  <a:pt x="244" y="54"/>
                  <a:pt x="244" y="54"/>
                  <a:pt x="244" y="54"/>
                </a:cubicBezTo>
                <a:cubicBezTo>
                  <a:pt x="244" y="52"/>
                  <a:pt x="244" y="52"/>
                  <a:pt x="244" y="52"/>
                </a:cubicBezTo>
                <a:cubicBezTo>
                  <a:pt x="244" y="51"/>
                  <a:pt x="244" y="51"/>
                  <a:pt x="244" y="51"/>
                </a:cubicBezTo>
                <a:cubicBezTo>
                  <a:pt x="244" y="51"/>
                  <a:pt x="244" y="51"/>
                  <a:pt x="244" y="51"/>
                </a:cubicBezTo>
                <a:cubicBezTo>
                  <a:pt x="245" y="50"/>
                  <a:pt x="245" y="50"/>
                  <a:pt x="245" y="50"/>
                </a:cubicBezTo>
                <a:cubicBezTo>
                  <a:pt x="245" y="51"/>
                  <a:pt x="245" y="51"/>
                  <a:pt x="245" y="51"/>
                </a:cubicBezTo>
                <a:cubicBezTo>
                  <a:pt x="246" y="52"/>
                  <a:pt x="246" y="52"/>
                  <a:pt x="246" y="52"/>
                </a:cubicBezTo>
                <a:cubicBezTo>
                  <a:pt x="248" y="51"/>
                  <a:pt x="248" y="51"/>
                  <a:pt x="248" y="51"/>
                </a:cubicBezTo>
                <a:cubicBezTo>
                  <a:pt x="248" y="50"/>
                  <a:pt x="248" y="50"/>
                  <a:pt x="248" y="50"/>
                </a:cubicBezTo>
                <a:cubicBezTo>
                  <a:pt x="250" y="50"/>
                  <a:pt x="250" y="50"/>
                  <a:pt x="250" y="50"/>
                </a:cubicBezTo>
                <a:cubicBezTo>
                  <a:pt x="251" y="50"/>
                  <a:pt x="251" y="50"/>
                  <a:pt x="251" y="50"/>
                </a:cubicBezTo>
                <a:cubicBezTo>
                  <a:pt x="252" y="49"/>
                  <a:pt x="252" y="49"/>
                  <a:pt x="252" y="49"/>
                </a:cubicBezTo>
                <a:cubicBezTo>
                  <a:pt x="254" y="50"/>
                  <a:pt x="254" y="50"/>
                  <a:pt x="254" y="50"/>
                </a:cubicBezTo>
                <a:cubicBezTo>
                  <a:pt x="255" y="51"/>
                  <a:pt x="255" y="51"/>
                  <a:pt x="255" y="51"/>
                </a:cubicBezTo>
                <a:cubicBezTo>
                  <a:pt x="257" y="51"/>
                  <a:pt x="257" y="51"/>
                  <a:pt x="257" y="51"/>
                </a:cubicBezTo>
                <a:cubicBezTo>
                  <a:pt x="258" y="51"/>
                  <a:pt x="258" y="51"/>
                  <a:pt x="258" y="51"/>
                </a:cubicBezTo>
                <a:cubicBezTo>
                  <a:pt x="259" y="52"/>
                  <a:pt x="259" y="52"/>
                  <a:pt x="259" y="52"/>
                </a:cubicBezTo>
                <a:cubicBezTo>
                  <a:pt x="260" y="53"/>
                  <a:pt x="260" y="53"/>
                  <a:pt x="260" y="53"/>
                </a:cubicBezTo>
                <a:cubicBezTo>
                  <a:pt x="261" y="53"/>
                  <a:pt x="261" y="53"/>
                  <a:pt x="261" y="53"/>
                </a:cubicBezTo>
                <a:cubicBezTo>
                  <a:pt x="262" y="53"/>
                  <a:pt x="262" y="53"/>
                  <a:pt x="262" y="53"/>
                </a:cubicBezTo>
                <a:cubicBezTo>
                  <a:pt x="262" y="54"/>
                  <a:pt x="262" y="54"/>
                  <a:pt x="262" y="54"/>
                </a:cubicBezTo>
                <a:cubicBezTo>
                  <a:pt x="263" y="55"/>
                  <a:pt x="263" y="55"/>
                  <a:pt x="263" y="55"/>
                </a:cubicBezTo>
                <a:cubicBezTo>
                  <a:pt x="264" y="56"/>
                  <a:pt x="264" y="56"/>
                  <a:pt x="264" y="56"/>
                </a:cubicBezTo>
                <a:cubicBezTo>
                  <a:pt x="265" y="57"/>
                  <a:pt x="265" y="57"/>
                  <a:pt x="265" y="57"/>
                </a:cubicBezTo>
                <a:cubicBezTo>
                  <a:pt x="266" y="58"/>
                  <a:pt x="266" y="58"/>
                  <a:pt x="266" y="58"/>
                </a:cubicBezTo>
                <a:cubicBezTo>
                  <a:pt x="266" y="60"/>
                  <a:pt x="266" y="60"/>
                  <a:pt x="266" y="60"/>
                </a:cubicBezTo>
                <a:cubicBezTo>
                  <a:pt x="266" y="61"/>
                  <a:pt x="266" y="61"/>
                  <a:pt x="266" y="61"/>
                </a:cubicBezTo>
                <a:cubicBezTo>
                  <a:pt x="266" y="62"/>
                  <a:pt x="266" y="62"/>
                  <a:pt x="266" y="62"/>
                </a:cubicBezTo>
                <a:cubicBezTo>
                  <a:pt x="264" y="62"/>
                  <a:pt x="264" y="62"/>
                  <a:pt x="264" y="62"/>
                </a:cubicBezTo>
                <a:cubicBezTo>
                  <a:pt x="263" y="63"/>
                  <a:pt x="263" y="63"/>
                  <a:pt x="263" y="63"/>
                </a:cubicBezTo>
                <a:cubicBezTo>
                  <a:pt x="263" y="64"/>
                  <a:pt x="263" y="64"/>
                  <a:pt x="263" y="64"/>
                </a:cubicBezTo>
                <a:cubicBezTo>
                  <a:pt x="262" y="64"/>
                  <a:pt x="262" y="64"/>
                  <a:pt x="262" y="64"/>
                </a:cubicBezTo>
                <a:cubicBezTo>
                  <a:pt x="261" y="65"/>
                  <a:pt x="261" y="65"/>
                  <a:pt x="261" y="65"/>
                </a:cubicBezTo>
                <a:cubicBezTo>
                  <a:pt x="260" y="67"/>
                  <a:pt x="260" y="67"/>
                  <a:pt x="260" y="67"/>
                </a:cubicBezTo>
                <a:cubicBezTo>
                  <a:pt x="259" y="68"/>
                  <a:pt x="259" y="68"/>
                  <a:pt x="259" y="68"/>
                </a:cubicBezTo>
                <a:cubicBezTo>
                  <a:pt x="259" y="68"/>
                  <a:pt x="259" y="68"/>
                  <a:pt x="259" y="68"/>
                </a:cubicBezTo>
                <a:cubicBezTo>
                  <a:pt x="258" y="67"/>
                  <a:pt x="258" y="67"/>
                  <a:pt x="258" y="67"/>
                </a:cubicBezTo>
                <a:cubicBezTo>
                  <a:pt x="256" y="66"/>
                  <a:pt x="256" y="66"/>
                  <a:pt x="256" y="66"/>
                </a:cubicBezTo>
                <a:cubicBezTo>
                  <a:pt x="256" y="66"/>
                  <a:pt x="256" y="66"/>
                  <a:pt x="256" y="66"/>
                </a:cubicBezTo>
                <a:cubicBezTo>
                  <a:pt x="255" y="67"/>
                  <a:pt x="255" y="67"/>
                  <a:pt x="255" y="67"/>
                </a:cubicBezTo>
                <a:cubicBezTo>
                  <a:pt x="254" y="68"/>
                  <a:pt x="254" y="68"/>
                  <a:pt x="254" y="68"/>
                </a:cubicBezTo>
                <a:cubicBezTo>
                  <a:pt x="254" y="69"/>
                  <a:pt x="254" y="69"/>
                  <a:pt x="254" y="69"/>
                </a:cubicBezTo>
                <a:cubicBezTo>
                  <a:pt x="254" y="69"/>
                  <a:pt x="254" y="69"/>
                  <a:pt x="254" y="69"/>
                </a:cubicBezTo>
                <a:cubicBezTo>
                  <a:pt x="254" y="70"/>
                  <a:pt x="254" y="70"/>
                  <a:pt x="254" y="70"/>
                </a:cubicBezTo>
                <a:cubicBezTo>
                  <a:pt x="255" y="71"/>
                  <a:pt x="255" y="71"/>
                  <a:pt x="255" y="71"/>
                </a:cubicBezTo>
                <a:cubicBezTo>
                  <a:pt x="256" y="71"/>
                  <a:pt x="256" y="71"/>
                  <a:pt x="256" y="71"/>
                </a:cubicBezTo>
                <a:cubicBezTo>
                  <a:pt x="256" y="72"/>
                  <a:pt x="256" y="72"/>
                  <a:pt x="256" y="72"/>
                </a:cubicBezTo>
                <a:cubicBezTo>
                  <a:pt x="255" y="72"/>
                  <a:pt x="255" y="72"/>
                  <a:pt x="255" y="72"/>
                </a:cubicBezTo>
                <a:cubicBezTo>
                  <a:pt x="254" y="72"/>
                  <a:pt x="254" y="72"/>
                  <a:pt x="254" y="72"/>
                </a:cubicBezTo>
                <a:cubicBezTo>
                  <a:pt x="254" y="72"/>
                  <a:pt x="254" y="72"/>
                  <a:pt x="254" y="72"/>
                </a:cubicBezTo>
                <a:cubicBezTo>
                  <a:pt x="252" y="73"/>
                  <a:pt x="252" y="73"/>
                  <a:pt x="252" y="73"/>
                </a:cubicBezTo>
                <a:cubicBezTo>
                  <a:pt x="250" y="74"/>
                  <a:pt x="250" y="74"/>
                  <a:pt x="250" y="74"/>
                </a:cubicBezTo>
                <a:cubicBezTo>
                  <a:pt x="249" y="74"/>
                  <a:pt x="249" y="74"/>
                  <a:pt x="249" y="74"/>
                </a:cubicBezTo>
                <a:cubicBezTo>
                  <a:pt x="249" y="74"/>
                  <a:pt x="249" y="74"/>
                  <a:pt x="249" y="74"/>
                </a:cubicBezTo>
                <a:cubicBezTo>
                  <a:pt x="248" y="74"/>
                  <a:pt x="248" y="74"/>
                  <a:pt x="248" y="74"/>
                </a:cubicBezTo>
                <a:cubicBezTo>
                  <a:pt x="247" y="73"/>
                  <a:pt x="247" y="73"/>
                  <a:pt x="247" y="73"/>
                </a:cubicBezTo>
                <a:cubicBezTo>
                  <a:pt x="246" y="73"/>
                  <a:pt x="246" y="73"/>
                  <a:pt x="246" y="73"/>
                </a:cubicBezTo>
                <a:cubicBezTo>
                  <a:pt x="245" y="73"/>
                  <a:pt x="245" y="73"/>
                  <a:pt x="245" y="73"/>
                </a:cubicBezTo>
                <a:cubicBezTo>
                  <a:pt x="245" y="73"/>
                  <a:pt x="245" y="73"/>
                  <a:pt x="245" y="73"/>
                </a:cubicBezTo>
                <a:cubicBezTo>
                  <a:pt x="244" y="73"/>
                  <a:pt x="244" y="73"/>
                  <a:pt x="244" y="73"/>
                </a:cubicBezTo>
                <a:cubicBezTo>
                  <a:pt x="244" y="73"/>
                  <a:pt x="244" y="73"/>
                  <a:pt x="244" y="73"/>
                </a:cubicBezTo>
                <a:cubicBezTo>
                  <a:pt x="244" y="73"/>
                  <a:pt x="244" y="73"/>
                  <a:pt x="244" y="73"/>
                </a:cubicBezTo>
                <a:cubicBezTo>
                  <a:pt x="243" y="73"/>
                  <a:pt x="243" y="73"/>
                  <a:pt x="243" y="73"/>
                </a:cubicBezTo>
                <a:cubicBezTo>
                  <a:pt x="243" y="73"/>
                  <a:pt x="243" y="73"/>
                  <a:pt x="243" y="73"/>
                </a:cubicBezTo>
                <a:cubicBezTo>
                  <a:pt x="242" y="73"/>
                  <a:pt x="242" y="73"/>
                  <a:pt x="242" y="73"/>
                </a:cubicBezTo>
                <a:cubicBezTo>
                  <a:pt x="242" y="73"/>
                  <a:pt x="242" y="73"/>
                  <a:pt x="242" y="73"/>
                </a:cubicBezTo>
                <a:cubicBezTo>
                  <a:pt x="241" y="74"/>
                  <a:pt x="241" y="74"/>
                  <a:pt x="241" y="74"/>
                </a:cubicBezTo>
                <a:cubicBezTo>
                  <a:pt x="240" y="74"/>
                  <a:pt x="240" y="74"/>
                  <a:pt x="240" y="74"/>
                </a:cubicBezTo>
                <a:cubicBezTo>
                  <a:pt x="240" y="74"/>
                  <a:pt x="240" y="74"/>
                  <a:pt x="240" y="74"/>
                </a:cubicBezTo>
                <a:cubicBezTo>
                  <a:pt x="239" y="74"/>
                  <a:pt x="239" y="74"/>
                  <a:pt x="239" y="74"/>
                </a:cubicBezTo>
                <a:cubicBezTo>
                  <a:pt x="239" y="75"/>
                  <a:pt x="239" y="75"/>
                  <a:pt x="239" y="75"/>
                </a:cubicBezTo>
                <a:cubicBezTo>
                  <a:pt x="237" y="74"/>
                  <a:pt x="237" y="74"/>
                  <a:pt x="237" y="74"/>
                </a:cubicBezTo>
                <a:cubicBezTo>
                  <a:pt x="236" y="74"/>
                  <a:pt x="236" y="74"/>
                  <a:pt x="236" y="74"/>
                </a:cubicBezTo>
                <a:cubicBezTo>
                  <a:pt x="235" y="74"/>
                  <a:pt x="235" y="74"/>
                  <a:pt x="235" y="74"/>
                </a:cubicBezTo>
                <a:cubicBezTo>
                  <a:pt x="234" y="75"/>
                  <a:pt x="234" y="75"/>
                  <a:pt x="234" y="75"/>
                </a:cubicBezTo>
                <a:cubicBezTo>
                  <a:pt x="233" y="75"/>
                  <a:pt x="233" y="75"/>
                  <a:pt x="233" y="75"/>
                </a:cubicBezTo>
                <a:cubicBezTo>
                  <a:pt x="232" y="75"/>
                  <a:pt x="232" y="75"/>
                  <a:pt x="232" y="75"/>
                </a:cubicBezTo>
                <a:cubicBezTo>
                  <a:pt x="233" y="75"/>
                  <a:pt x="233" y="75"/>
                  <a:pt x="233" y="75"/>
                </a:cubicBezTo>
                <a:cubicBezTo>
                  <a:pt x="234" y="75"/>
                  <a:pt x="234" y="75"/>
                  <a:pt x="234" y="75"/>
                </a:cubicBezTo>
                <a:cubicBezTo>
                  <a:pt x="236" y="75"/>
                  <a:pt x="236" y="75"/>
                  <a:pt x="236" y="75"/>
                </a:cubicBezTo>
                <a:cubicBezTo>
                  <a:pt x="237" y="75"/>
                  <a:pt x="237" y="75"/>
                  <a:pt x="237" y="75"/>
                </a:cubicBezTo>
                <a:cubicBezTo>
                  <a:pt x="238" y="75"/>
                  <a:pt x="238" y="75"/>
                  <a:pt x="238" y="75"/>
                </a:cubicBezTo>
                <a:cubicBezTo>
                  <a:pt x="239" y="75"/>
                  <a:pt x="239" y="75"/>
                  <a:pt x="239" y="75"/>
                </a:cubicBezTo>
                <a:cubicBezTo>
                  <a:pt x="241" y="76"/>
                  <a:pt x="241" y="76"/>
                  <a:pt x="241" y="76"/>
                </a:cubicBezTo>
                <a:cubicBezTo>
                  <a:pt x="243" y="76"/>
                  <a:pt x="243" y="76"/>
                  <a:pt x="243" y="76"/>
                </a:cubicBezTo>
                <a:cubicBezTo>
                  <a:pt x="244" y="76"/>
                  <a:pt x="244" y="76"/>
                  <a:pt x="244" y="76"/>
                </a:cubicBezTo>
                <a:cubicBezTo>
                  <a:pt x="244" y="76"/>
                  <a:pt x="244" y="76"/>
                  <a:pt x="244" y="76"/>
                </a:cubicBezTo>
                <a:cubicBezTo>
                  <a:pt x="245" y="76"/>
                  <a:pt x="245" y="76"/>
                  <a:pt x="245" y="76"/>
                </a:cubicBezTo>
                <a:cubicBezTo>
                  <a:pt x="246" y="76"/>
                  <a:pt x="246" y="76"/>
                  <a:pt x="246" y="76"/>
                </a:cubicBezTo>
                <a:cubicBezTo>
                  <a:pt x="247" y="76"/>
                  <a:pt x="247" y="76"/>
                  <a:pt x="247" y="76"/>
                </a:cubicBezTo>
                <a:cubicBezTo>
                  <a:pt x="247" y="76"/>
                  <a:pt x="247" y="76"/>
                  <a:pt x="247" y="76"/>
                </a:cubicBezTo>
                <a:cubicBezTo>
                  <a:pt x="248" y="77"/>
                  <a:pt x="248" y="77"/>
                  <a:pt x="248" y="77"/>
                </a:cubicBezTo>
                <a:cubicBezTo>
                  <a:pt x="249" y="78"/>
                  <a:pt x="249" y="78"/>
                  <a:pt x="249" y="78"/>
                </a:cubicBezTo>
                <a:cubicBezTo>
                  <a:pt x="249" y="78"/>
                  <a:pt x="249" y="78"/>
                  <a:pt x="249" y="78"/>
                </a:cubicBezTo>
                <a:cubicBezTo>
                  <a:pt x="248" y="79"/>
                  <a:pt x="248" y="79"/>
                  <a:pt x="248" y="79"/>
                </a:cubicBezTo>
                <a:cubicBezTo>
                  <a:pt x="247" y="80"/>
                  <a:pt x="247" y="80"/>
                  <a:pt x="247" y="80"/>
                </a:cubicBezTo>
                <a:cubicBezTo>
                  <a:pt x="247" y="80"/>
                  <a:pt x="247" y="80"/>
                  <a:pt x="247" y="80"/>
                </a:cubicBezTo>
                <a:cubicBezTo>
                  <a:pt x="247" y="80"/>
                  <a:pt x="247" y="80"/>
                  <a:pt x="247" y="80"/>
                </a:cubicBezTo>
                <a:cubicBezTo>
                  <a:pt x="247" y="81"/>
                  <a:pt x="247" y="81"/>
                  <a:pt x="247" y="81"/>
                </a:cubicBezTo>
                <a:cubicBezTo>
                  <a:pt x="246" y="82"/>
                  <a:pt x="246" y="82"/>
                  <a:pt x="246" y="82"/>
                </a:cubicBezTo>
                <a:cubicBezTo>
                  <a:pt x="243" y="82"/>
                  <a:pt x="243" y="82"/>
                  <a:pt x="243" y="82"/>
                </a:cubicBezTo>
                <a:cubicBezTo>
                  <a:pt x="242" y="82"/>
                  <a:pt x="242" y="82"/>
                  <a:pt x="242" y="82"/>
                </a:cubicBezTo>
                <a:cubicBezTo>
                  <a:pt x="241" y="82"/>
                  <a:pt x="241" y="82"/>
                  <a:pt x="241" y="82"/>
                </a:cubicBezTo>
                <a:cubicBezTo>
                  <a:pt x="239" y="82"/>
                  <a:pt x="239" y="82"/>
                  <a:pt x="239" y="82"/>
                </a:cubicBezTo>
                <a:cubicBezTo>
                  <a:pt x="238" y="82"/>
                  <a:pt x="238" y="82"/>
                  <a:pt x="238" y="82"/>
                </a:cubicBezTo>
                <a:cubicBezTo>
                  <a:pt x="236" y="80"/>
                  <a:pt x="236" y="80"/>
                  <a:pt x="236" y="80"/>
                </a:cubicBezTo>
                <a:cubicBezTo>
                  <a:pt x="234" y="80"/>
                  <a:pt x="234" y="80"/>
                  <a:pt x="234" y="80"/>
                </a:cubicBezTo>
                <a:cubicBezTo>
                  <a:pt x="233" y="80"/>
                  <a:pt x="233" y="80"/>
                  <a:pt x="233" y="80"/>
                </a:cubicBezTo>
                <a:cubicBezTo>
                  <a:pt x="232" y="80"/>
                  <a:pt x="232" y="80"/>
                  <a:pt x="232" y="80"/>
                </a:cubicBezTo>
                <a:cubicBezTo>
                  <a:pt x="232" y="82"/>
                  <a:pt x="232" y="82"/>
                  <a:pt x="232" y="82"/>
                </a:cubicBezTo>
                <a:cubicBezTo>
                  <a:pt x="230" y="83"/>
                  <a:pt x="230" y="83"/>
                  <a:pt x="230" y="83"/>
                </a:cubicBezTo>
                <a:cubicBezTo>
                  <a:pt x="230" y="83"/>
                  <a:pt x="230" y="83"/>
                  <a:pt x="230" y="83"/>
                </a:cubicBezTo>
                <a:cubicBezTo>
                  <a:pt x="229" y="84"/>
                  <a:pt x="229" y="84"/>
                  <a:pt x="229" y="84"/>
                </a:cubicBezTo>
                <a:cubicBezTo>
                  <a:pt x="230" y="84"/>
                  <a:pt x="230" y="84"/>
                  <a:pt x="230" y="84"/>
                </a:cubicBezTo>
                <a:cubicBezTo>
                  <a:pt x="230" y="84"/>
                  <a:pt x="230" y="84"/>
                  <a:pt x="230" y="84"/>
                </a:cubicBezTo>
                <a:cubicBezTo>
                  <a:pt x="231" y="85"/>
                  <a:pt x="231" y="85"/>
                  <a:pt x="231" y="85"/>
                </a:cubicBezTo>
                <a:cubicBezTo>
                  <a:pt x="231" y="86"/>
                  <a:pt x="231" y="86"/>
                  <a:pt x="231" y="86"/>
                </a:cubicBezTo>
                <a:cubicBezTo>
                  <a:pt x="230" y="86"/>
                  <a:pt x="230" y="86"/>
                  <a:pt x="230" y="86"/>
                </a:cubicBezTo>
                <a:cubicBezTo>
                  <a:pt x="229" y="86"/>
                  <a:pt x="229" y="86"/>
                  <a:pt x="229" y="86"/>
                </a:cubicBezTo>
                <a:cubicBezTo>
                  <a:pt x="229" y="87"/>
                  <a:pt x="229" y="87"/>
                  <a:pt x="229" y="87"/>
                </a:cubicBezTo>
                <a:cubicBezTo>
                  <a:pt x="230" y="87"/>
                  <a:pt x="230" y="87"/>
                  <a:pt x="230" y="87"/>
                </a:cubicBezTo>
                <a:cubicBezTo>
                  <a:pt x="231" y="88"/>
                  <a:pt x="231" y="88"/>
                  <a:pt x="231" y="88"/>
                </a:cubicBezTo>
                <a:cubicBezTo>
                  <a:pt x="232" y="87"/>
                  <a:pt x="232" y="87"/>
                  <a:pt x="232" y="87"/>
                </a:cubicBezTo>
                <a:cubicBezTo>
                  <a:pt x="232" y="87"/>
                  <a:pt x="232" y="87"/>
                  <a:pt x="232" y="87"/>
                </a:cubicBezTo>
                <a:cubicBezTo>
                  <a:pt x="233" y="86"/>
                  <a:pt x="233" y="86"/>
                  <a:pt x="233" y="86"/>
                </a:cubicBezTo>
                <a:cubicBezTo>
                  <a:pt x="234" y="85"/>
                  <a:pt x="234" y="85"/>
                  <a:pt x="234" y="85"/>
                </a:cubicBezTo>
                <a:cubicBezTo>
                  <a:pt x="236" y="84"/>
                  <a:pt x="236" y="84"/>
                  <a:pt x="236" y="84"/>
                </a:cubicBezTo>
                <a:cubicBezTo>
                  <a:pt x="237" y="84"/>
                  <a:pt x="237" y="84"/>
                  <a:pt x="237" y="84"/>
                </a:cubicBezTo>
                <a:cubicBezTo>
                  <a:pt x="239" y="83"/>
                  <a:pt x="239" y="83"/>
                  <a:pt x="239" y="83"/>
                </a:cubicBezTo>
                <a:cubicBezTo>
                  <a:pt x="240" y="83"/>
                  <a:pt x="240" y="83"/>
                  <a:pt x="240" y="83"/>
                </a:cubicBezTo>
                <a:cubicBezTo>
                  <a:pt x="240" y="84"/>
                  <a:pt x="240" y="84"/>
                  <a:pt x="240" y="84"/>
                </a:cubicBezTo>
                <a:cubicBezTo>
                  <a:pt x="241" y="84"/>
                  <a:pt x="241" y="84"/>
                  <a:pt x="241" y="84"/>
                </a:cubicBezTo>
                <a:cubicBezTo>
                  <a:pt x="242" y="85"/>
                  <a:pt x="242" y="85"/>
                  <a:pt x="242" y="85"/>
                </a:cubicBezTo>
                <a:cubicBezTo>
                  <a:pt x="243" y="85"/>
                  <a:pt x="243" y="85"/>
                  <a:pt x="243" y="85"/>
                </a:cubicBezTo>
                <a:cubicBezTo>
                  <a:pt x="243" y="86"/>
                  <a:pt x="243" y="86"/>
                  <a:pt x="243" y="86"/>
                </a:cubicBezTo>
                <a:cubicBezTo>
                  <a:pt x="243" y="86"/>
                  <a:pt x="243" y="86"/>
                  <a:pt x="243" y="86"/>
                </a:cubicBezTo>
                <a:cubicBezTo>
                  <a:pt x="241" y="87"/>
                  <a:pt x="241" y="87"/>
                  <a:pt x="241" y="87"/>
                </a:cubicBezTo>
                <a:cubicBezTo>
                  <a:pt x="241" y="89"/>
                  <a:pt x="241" y="89"/>
                  <a:pt x="241" y="89"/>
                </a:cubicBezTo>
                <a:cubicBezTo>
                  <a:pt x="240" y="90"/>
                  <a:pt x="240" y="90"/>
                  <a:pt x="240" y="90"/>
                </a:cubicBezTo>
                <a:cubicBezTo>
                  <a:pt x="239" y="91"/>
                  <a:pt x="239" y="91"/>
                  <a:pt x="239" y="91"/>
                </a:cubicBezTo>
                <a:cubicBezTo>
                  <a:pt x="238" y="92"/>
                  <a:pt x="238" y="92"/>
                  <a:pt x="238" y="92"/>
                </a:cubicBezTo>
                <a:cubicBezTo>
                  <a:pt x="237" y="94"/>
                  <a:pt x="237" y="94"/>
                  <a:pt x="237" y="94"/>
                </a:cubicBezTo>
                <a:cubicBezTo>
                  <a:pt x="235" y="97"/>
                  <a:pt x="235" y="97"/>
                  <a:pt x="235" y="97"/>
                </a:cubicBezTo>
                <a:cubicBezTo>
                  <a:pt x="234" y="98"/>
                  <a:pt x="234" y="98"/>
                  <a:pt x="234" y="98"/>
                </a:cubicBezTo>
                <a:cubicBezTo>
                  <a:pt x="233" y="99"/>
                  <a:pt x="233" y="99"/>
                  <a:pt x="233" y="99"/>
                </a:cubicBezTo>
                <a:cubicBezTo>
                  <a:pt x="233" y="100"/>
                  <a:pt x="233" y="100"/>
                  <a:pt x="233" y="100"/>
                </a:cubicBezTo>
                <a:cubicBezTo>
                  <a:pt x="233" y="102"/>
                  <a:pt x="233" y="102"/>
                  <a:pt x="233" y="102"/>
                </a:cubicBezTo>
                <a:cubicBezTo>
                  <a:pt x="232" y="102"/>
                  <a:pt x="232" y="102"/>
                  <a:pt x="232" y="102"/>
                </a:cubicBezTo>
                <a:cubicBezTo>
                  <a:pt x="232" y="103"/>
                  <a:pt x="232" y="103"/>
                  <a:pt x="232" y="103"/>
                </a:cubicBezTo>
                <a:cubicBezTo>
                  <a:pt x="232" y="105"/>
                  <a:pt x="232" y="105"/>
                  <a:pt x="232" y="105"/>
                </a:cubicBezTo>
                <a:cubicBezTo>
                  <a:pt x="231" y="107"/>
                  <a:pt x="231" y="107"/>
                  <a:pt x="231" y="107"/>
                </a:cubicBezTo>
                <a:cubicBezTo>
                  <a:pt x="230" y="109"/>
                  <a:pt x="230" y="109"/>
                  <a:pt x="230" y="109"/>
                </a:cubicBezTo>
                <a:cubicBezTo>
                  <a:pt x="231" y="110"/>
                  <a:pt x="231" y="110"/>
                  <a:pt x="231" y="110"/>
                </a:cubicBezTo>
                <a:cubicBezTo>
                  <a:pt x="231" y="111"/>
                  <a:pt x="231" y="111"/>
                  <a:pt x="231" y="111"/>
                </a:cubicBezTo>
                <a:cubicBezTo>
                  <a:pt x="231" y="113"/>
                  <a:pt x="231" y="113"/>
                  <a:pt x="231" y="113"/>
                </a:cubicBezTo>
                <a:cubicBezTo>
                  <a:pt x="230" y="113"/>
                  <a:pt x="230" y="113"/>
                  <a:pt x="230" y="113"/>
                </a:cubicBezTo>
                <a:cubicBezTo>
                  <a:pt x="229" y="114"/>
                  <a:pt x="229" y="114"/>
                  <a:pt x="229" y="114"/>
                </a:cubicBezTo>
                <a:cubicBezTo>
                  <a:pt x="230" y="116"/>
                  <a:pt x="230" y="116"/>
                  <a:pt x="230" y="116"/>
                </a:cubicBezTo>
                <a:cubicBezTo>
                  <a:pt x="229" y="116"/>
                  <a:pt x="229" y="116"/>
                  <a:pt x="229" y="116"/>
                </a:cubicBezTo>
                <a:cubicBezTo>
                  <a:pt x="229" y="117"/>
                  <a:pt x="229" y="117"/>
                  <a:pt x="229" y="117"/>
                </a:cubicBezTo>
                <a:cubicBezTo>
                  <a:pt x="228" y="119"/>
                  <a:pt x="228" y="119"/>
                  <a:pt x="228" y="119"/>
                </a:cubicBezTo>
                <a:cubicBezTo>
                  <a:pt x="228" y="120"/>
                  <a:pt x="228" y="120"/>
                  <a:pt x="228" y="120"/>
                </a:cubicBezTo>
                <a:cubicBezTo>
                  <a:pt x="227" y="121"/>
                  <a:pt x="227" y="121"/>
                  <a:pt x="227" y="121"/>
                </a:cubicBezTo>
                <a:cubicBezTo>
                  <a:pt x="226" y="121"/>
                  <a:pt x="226" y="121"/>
                  <a:pt x="226" y="121"/>
                </a:cubicBezTo>
                <a:cubicBezTo>
                  <a:pt x="226" y="120"/>
                  <a:pt x="226" y="120"/>
                  <a:pt x="226" y="120"/>
                </a:cubicBezTo>
                <a:cubicBezTo>
                  <a:pt x="226" y="119"/>
                  <a:pt x="226" y="119"/>
                  <a:pt x="226" y="119"/>
                </a:cubicBezTo>
                <a:cubicBezTo>
                  <a:pt x="225" y="119"/>
                  <a:pt x="225" y="119"/>
                  <a:pt x="225" y="119"/>
                </a:cubicBezTo>
                <a:cubicBezTo>
                  <a:pt x="225" y="119"/>
                  <a:pt x="225" y="119"/>
                  <a:pt x="225" y="119"/>
                </a:cubicBezTo>
                <a:cubicBezTo>
                  <a:pt x="226" y="118"/>
                  <a:pt x="226" y="118"/>
                  <a:pt x="226" y="118"/>
                </a:cubicBezTo>
                <a:cubicBezTo>
                  <a:pt x="225" y="117"/>
                  <a:pt x="225" y="117"/>
                  <a:pt x="225" y="117"/>
                </a:cubicBezTo>
                <a:cubicBezTo>
                  <a:pt x="224" y="117"/>
                  <a:pt x="224" y="117"/>
                  <a:pt x="224" y="117"/>
                </a:cubicBezTo>
                <a:cubicBezTo>
                  <a:pt x="224" y="118"/>
                  <a:pt x="224" y="118"/>
                  <a:pt x="224" y="118"/>
                </a:cubicBezTo>
                <a:cubicBezTo>
                  <a:pt x="223" y="118"/>
                  <a:pt x="223" y="118"/>
                  <a:pt x="223" y="118"/>
                </a:cubicBezTo>
                <a:cubicBezTo>
                  <a:pt x="223" y="118"/>
                  <a:pt x="223" y="118"/>
                  <a:pt x="223" y="118"/>
                </a:cubicBezTo>
                <a:cubicBezTo>
                  <a:pt x="223" y="119"/>
                  <a:pt x="223" y="119"/>
                  <a:pt x="223" y="119"/>
                </a:cubicBezTo>
                <a:cubicBezTo>
                  <a:pt x="223" y="119"/>
                  <a:pt x="223" y="119"/>
                  <a:pt x="223" y="119"/>
                </a:cubicBezTo>
                <a:cubicBezTo>
                  <a:pt x="223" y="120"/>
                  <a:pt x="223" y="120"/>
                  <a:pt x="223" y="120"/>
                </a:cubicBezTo>
                <a:cubicBezTo>
                  <a:pt x="222" y="120"/>
                  <a:pt x="222" y="120"/>
                  <a:pt x="222" y="120"/>
                </a:cubicBezTo>
                <a:cubicBezTo>
                  <a:pt x="222" y="121"/>
                  <a:pt x="222" y="121"/>
                  <a:pt x="222" y="121"/>
                </a:cubicBezTo>
                <a:cubicBezTo>
                  <a:pt x="223" y="121"/>
                  <a:pt x="223" y="121"/>
                  <a:pt x="223" y="121"/>
                </a:cubicBezTo>
                <a:cubicBezTo>
                  <a:pt x="224" y="122"/>
                  <a:pt x="224" y="122"/>
                  <a:pt x="224" y="122"/>
                </a:cubicBezTo>
                <a:cubicBezTo>
                  <a:pt x="225" y="123"/>
                  <a:pt x="225" y="123"/>
                  <a:pt x="225" y="123"/>
                </a:cubicBezTo>
                <a:cubicBezTo>
                  <a:pt x="225" y="123"/>
                  <a:pt x="225" y="123"/>
                  <a:pt x="225" y="123"/>
                </a:cubicBezTo>
                <a:cubicBezTo>
                  <a:pt x="226" y="125"/>
                  <a:pt x="226" y="125"/>
                  <a:pt x="226" y="125"/>
                </a:cubicBezTo>
                <a:cubicBezTo>
                  <a:pt x="227" y="125"/>
                  <a:pt x="227" y="125"/>
                  <a:pt x="227" y="125"/>
                </a:cubicBezTo>
                <a:cubicBezTo>
                  <a:pt x="228" y="126"/>
                  <a:pt x="228" y="126"/>
                  <a:pt x="228" y="126"/>
                </a:cubicBezTo>
                <a:cubicBezTo>
                  <a:pt x="229" y="127"/>
                  <a:pt x="229" y="127"/>
                  <a:pt x="229" y="127"/>
                </a:cubicBezTo>
                <a:cubicBezTo>
                  <a:pt x="230" y="128"/>
                  <a:pt x="230" y="128"/>
                  <a:pt x="230" y="128"/>
                </a:cubicBezTo>
                <a:cubicBezTo>
                  <a:pt x="229" y="129"/>
                  <a:pt x="229" y="129"/>
                  <a:pt x="229" y="129"/>
                </a:cubicBezTo>
                <a:cubicBezTo>
                  <a:pt x="228" y="129"/>
                  <a:pt x="228" y="129"/>
                  <a:pt x="228" y="129"/>
                </a:cubicBezTo>
                <a:cubicBezTo>
                  <a:pt x="227" y="129"/>
                  <a:pt x="227" y="129"/>
                  <a:pt x="227" y="129"/>
                </a:cubicBezTo>
                <a:cubicBezTo>
                  <a:pt x="226" y="127"/>
                  <a:pt x="226" y="127"/>
                  <a:pt x="226" y="127"/>
                </a:cubicBezTo>
                <a:cubicBezTo>
                  <a:pt x="226" y="127"/>
                  <a:pt x="226" y="127"/>
                  <a:pt x="226" y="127"/>
                </a:cubicBezTo>
                <a:cubicBezTo>
                  <a:pt x="225" y="126"/>
                  <a:pt x="225" y="126"/>
                  <a:pt x="225" y="126"/>
                </a:cubicBezTo>
                <a:cubicBezTo>
                  <a:pt x="225" y="126"/>
                  <a:pt x="225" y="126"/>
                  <a:pt x="225" y="126"/>
                </a:cubicBezTo>
                <a:cubicBezTo>
                  <a:pt x="224" y="126"/>
                  <a:pt x="224" y="126"/>
                  <a:pt x="224" y="126"/>
                </a:cubicBezTo>
                <a:cubicBezTo>
                  <a:pt x="224" y="127"/>
                  <a:pt x="224" y="127"/>
                  <a:pt x="224" y="127"/>
                </a:cubicBezTo>
                <a:cubicBezTo>
                  <a:pt x="225" y="128"/>
                  <a:pt x="225" y="128"/>
                  <a:pt x="225" y="128"/>
                </a:cubicBezTo>
                <a:cubicBezTo>
                  <a:pt x="225" y="128"/>
                  <a:pt x="225" y="128"/>
                  <a:pt x="225" y="128"/>
                </a:cubicBezTo>
                <a:cubicBezTo>
                  <a:pt x="225" y="129"/>
                  <a:pt x="225" y="129"/>
                  <a:pt x="225" y="129"/>
                </a:cubicBezTo>
                <a:cubicBezTo>
                  <a:pt x="224" y="129"/>
                  <a:pt x="224" y="129"/>
                  <a:pt x="224" y="129"/>
                </a:cubicBezTo>
                <a:cubicBezTo>
                  <a:pt x="224" y="129"/>
                  <a:pt x="224" y="129"/>
                  <a:pt x="224" y="129"/>
                </a:cubicBezTo>
                <a:cubicBezTo>
                  <a:pt x="224" y="129"/>
                  <a:pt x="224" y="129"/>
                  <a:pt x="224" y="129"/>
                </a:cubicBezTo>
                <a:cubicBezTo>
                  <a:pt x="224" y="130"/>
                  <a:pt x="224" y="130"/>
                  <a:pt x="224" y="130"/>
                </a:cubicBezTo>
                <a:cubicBezTo>
                  <a:pt x="225" y="130"/>
                  <a:pt x="225" y="130"/>
                  <a:pt x="225" y="130"/>
                </a:cubicBezTo>
                <a:cubicBezTo>
                  <a:pt x="225" y="130"/>
                  <a:pt x="225" y="130"/>
                  <a:pt x="225" y="130"/>
                </a:cubicBezTo>
                <a:cubicBezTo>
                  <a:pt x="224" y="131"/>
                  <a:pt x="224" y="131"/>
                  <a:pt x="224" y="131"/>
                </a:cubicBezTo>
                <a:cubicBezTo>
                  <a:pt x="225" y="131"/>
                  <a:pt x="225" y="131"/>
                  <a:pt x="225" y="131"/>
                </a:cubicBezTo>
                <a:cubicBezTo>
                  <a:pt x="225" y="131"/>
                  <a:pt x="225" y="131"/>
                  <a:pt x="225" y="131"/>
                </a:cubicBezTo>
                <a:cubicBezTo>
                  <a:pt x="227" y="131"/>
                  <a:pt x="227" y="131"/>
                  <a:pt x="227" y="131"/>
                </a:cubicBezTo>
                <a:cubicBezTo>
                  <a:pt x="227" y="132"/>
                  <a:pt x="227" y="132"/>
                  <a:pt x="227" y="132"/>
                </a:cubicBezTo>
                <a:cubicBezTo>
                  <a:pt x="227" y="133"/>
                  <a:pt x="227" y="133"/>
                  <a:pt x="227" y="133"/>
                </a:cubicBezTo>
                <a:cubicBezTo>
                  <a:pt x="227" y="133"/>
                  <a:pt x="227" y="133"/>
                  <a:pt x="227" y="133"/>
                </a:cubicBezTo>
                <a:cubicBezTo>
                  <a:pt x="227" y="134"/>
                  <a:pt x="227" y="134"/>
                  <a:pt x="227" y="134"/>
                </a:cubicBezTo>
                <a:cubicBezTo>
                  <a:pt x="228" y="133"/>
                  <a:pt x="228" y="133"/>
                  <a:pt x="228" y="133"/>
                </a:cubicBezTo>
                <a:cubicBezTo>
                  <a:pt x="229" y="132"/>
                  <a:pt x="229" y="132"/>
                  <a:pt x="229" y="132"/>
                </a:cubicBezTo>
                <a:cubicBezTo>
                  <a:pt x="230" y="131"/>
                  <a:pt x="230" y="131"/>
                  <a:pt x="230" y="131"/>
                </a:cubicBezTo>
                <a:cubicBezTo>
                  <a:pt x="230" y="131"/>
                  <a:pt x="230" y="131"/>
                  <a:pt x="230" y="131"/>
                </a:cubicBezTo>
                <a:cubicBezTo>
                  <a:pt x="230" y="132"/>
                  <a:pt x="230" y="132"/>
                  <a:pt x="230" y="132"/>
                </a:cubicBezTo>
                <a:cubicBezTo>
                  <a:pt x="230" y="132"/>
                  <a:pt x="230" y="132"/>
                  <a:pt x="230" y="132"/>
                </a:cubicBezTo>
                <a:cubicBezTo>
                  <a:pt x="231" y="132"/>
                  <a:pt x="231" y="132"/>
                  <a:pt x="231" y="132"/>
                </a:cubicBezTo>
                <a:cubicBezTo>
                  <a:pt x="232" y="133"/>
                  <a:pt x="232" y="133"/>
                  <a:pt x="232" y="133"/>
                </a:cubicBezTo>
                <a:cubicBezTo>
                  <a:pt x="233" y="133"/>
                  <a:pt x="233" y="133"/>
                  <a:pt x="233" y="133"/>
                </a:cubicBezTo>
                <a:cubicBezTo>
                  <a:pt x="233" y="134"/>
                  <a:pt x="233" y="134"/>
                  <a:pt x="233" y="134"/>
                </a:cubicBezTo>
                <a:cubicBezTo>
                  <a:pt x="233" y="135"/>
                  <a:pt x="233" y="135"/>
                  <a:pt x="233" y="135"/>
                </a:cubicBezTo>
                <a:cubicBezTo>
                  <a:pt x="232" y="136"/>
                  <a:pt x="232" y="136"/>
                  <a:pt x="232" y="136"/>
                </a:cubicBezTo>
                <a:cubicBezTo>
                  <a:pt x="232" y="137"/>
                  <a:pt x="232" y="137"/>
                  <a:pt x="232" y="137"/>
                </a:cubicBezTo>
                <a:cubicBezTo>
                  <a:pt x="232" y="139"/>
                  <a:pt x="232" y="139"/>
                  <a:pt x="232" y="139"/>
                </a:cubicBezTo>
                <a:cubicBezTo>
                  <a:pt x="232" y="139"/>
                  <a:pt x="232" y="139"/>
                  <a:pt x="232" y="139"/>
                </a:cubicBezTo>
                <a:cubicBezTo>
                  <a:pt x="232" y="141"/>
                  <a:pt x="232" y="141"/>
                  <a:pt x="232" y="141"/>
                </a:cubicBezTo>
                <a:cubicBezTo>
                  <a:pt x="231" y="142"/>
                  <a:pt x="231" y="142"/>
                  <a:pt x="231" y="142"/>
                </a:cubicBezTo>
                <a:cubicBezTo>
                  <a:pt x="231" y="143"/>
                  <a:pt x="231" y="143"/>
                  <a:pt x="231" y="143"/>
                </a:cubicBezTo>
                <a:cubicBezTo>
                  <a:pt x="231" y="143"/>
                  <a:pt x="231" y="143"/>
                  <a:pt x="231" y="143"/>
                </a:cubicBezTo>
                <a:cubicBezTo>
                  <a:pt x="230" y="143"/>
                  <a:pt x="230" y="143"/>
                  <a:pt x="230" y="143"/>
                </a:cubicBezTo>
                <a:cubicBezTo>
                  <a:pt x="230" y="142"/>
                  <a:pt x="230" y="142"/>
                  <a:pt x="230" y="142"/>
                </a:cubicBezTo>
                <a:cubicBezTo>
                  <a:pt x="228" y="142"/>
                  <a:pt x="228" y="142"/>
                  <a:pt x="228" y="142"/>
                </a:cubicBezTo>
                <a:cubicBezTo>
                  <a:pt x="228" y="141"/>
                  <a:pt x="228" y="141"/>
                  <a:pt x="228" y="141"/>
                </a:cubicBezTo>
                <a:cubicBezTo>
                  <a:pt x="227" y="141"/>
                  <a:pt x="227" y="141"/>
                  <a:pt x="227" y="141"/>
                </a:cubicBezTo>
                <a:cubicBezTo>
                  <a:pt x="227" y="141"/>
                  <a:pt x="227" y="141"/>
                  <a:pt x="227" y="141"/>
                </a:cubicBezTo>
                <a:cubicBezTo>
                  <a:pt x="226" y="141"/>
                  <a:pt x="226" y="141"/>
                  <a:pt x="226" y="141"/>
                </a:cubicBezTo>
                <a:cubicBezTo>
                  <a:pt x="226" y="140"/>
                  <a:pt x="226" y="140"/>
                  <a:pt x="226" y="140"/>
                </a:cubicBezTo>
                <a:cubicBezTo>
                  <a:pt x="226" y="139"/>
                  <a:pt x="226" y="139"/>
                  <a:pt x="226" y="139"/>
                </a:cubicBezTo>
                <a:cubicBezTo>
                  <a:pt x="225" y="139"/>
                  <a:pt x="225" y="139"/>
                  <a:pt x="225" y="139"/>
                </a:cubicBezTo>
                <a:cubicBezTo>
                  <a:pt x="225" y="138"/>
                  <a:pt x="225" y="138"/>
                  <a:pt x="225" y="138"/>
                </a:cubicBezTo>
                <a:cubicBezTo>
                  <a:pt x="224" y="139"/>
                  <a:pt x="224" y="139"/>
                  <a:pt x="224" y="139"/>
                </a:cubicBezTo>
                <a:cubicBezTo>
                  <a:pt x="224" y="138"/>
                  <a:pt x="224" y="138"/>
                  <a:pt x="224" y="138"/>
                </a:cubicBezTo>
                <a:cubicBezTo>
                  <a:pt x="223" y="138"/>
                  <a:pt x="223" y="138"/>
                  <a:pt x="223" y="138"/>
                </a:cubicBezTo>
                <a:cubicBezTo>
                  <a:pt x="222" y="137"/>
                  <a:pt x="222" y="137"/>
                  <a:pt x="222" y="137"/>
                </a:cubicBezTo>
                <a:cubicBezTo>
                  <a:pt x="221" y="138"/>
                  <a:pt x="221" y="138"/>
                  <a:pt x="221" y="138"/>
                </a:cubicBezTo>
                <a:cubicBezTo>
                  <a:pt x="221" y="138"/>
                  <a:pt x="221" y="138"/>
                  <a:pt x="221" y="138"/>
                </a:cubicBezTo>
                <a:cubicBezTo>
                  <a:pt x="221" y="139"/>
                  <a:pt x="221" y="139"/>
                  <a:pt x="221" y="139"/>
                </a:cubicBezTo>
                <a:cubicBezTo>
                  <a:pt x="221" y="139"/>
                  <a:pt x="221" y="139"/>
                  <a:pt x="221" y="139"/>
                </a:cubicBezTo>
                <a:cubicBezTo>
                  <a:pt x="220" y="139"/>
                  <a:pt x="220" y="139"/>
                  <a:pt x="220" y="139"/>
                </a:cubicBezTo>
                <a:cubicBezTo>
                  <a:pt x="219" y="138"/>
                  <a:pt x="219" y="138"/>
                  <a:pt x="219" y="138"/>
                </a:cubicBezTo>
                <a:cubicBezTo>
                  <a:pt x="218" y="139"/>
                  <a:pt x="218" y="139"/>
                  <a:pt x="218" y="139"/>
                </a:cubicBezTo>
                <a:cubicBezTo>
                  <a:pt x="218" y="139"/>
                  <a:pt x="218" y="139"/>
                  <a:pt x="218" y="139"/>
                </a:cubicBezTo>
                <a:cubicBezTo>
                  <a:pt x="219" y="139"/>
                  <a:pt x="219" y="139"/>
                  <a:pt x="219" y="139"/>
                </a:cubicBezTo>
                <a:cubicBezTo>
                  <a:pt x="220" y="139"/>
                  <a:pt x="220" y="139"/>
                  <a:pt x="220" y="139"/>
                </a:cubicBezTo>
                <a:cubicBezTo>
                  <a:pt x="221" y="140"/>
                  <a:pt x="221" y="140"/>
                  <a:pt x="221" y="140"/>
                </a:cubicBezTo>
                <a:cubicBezTo>
                  <a:pt x="221" y="140"/>
                  <a:pt x="221" y="140"/>
                  <a:pt x="221" y="140"/>
                </a:cubicBezTo>
                <a:cubicBezTo>
                  <a:pt x="220" y="140"/>
                  <a:pt x="220" y="140"/>
                  <a:pt x="220" y="140"/>
                </a:cubicBezTo>
                <a:cubicBezTo>
                  <a:pt x="218" y="142"/>
                  <a:pt x="218" y="142"/>
                  <a:pt x="218" y="142"/>
                </a:cubicBezTo>
                <a:cubicBezTo>
                  <a:pt x="217" y="142"/>
                  <a:pt x="217" y="142"/>
                  <a:pt x="217" y="142"/>
                </a:cubicBezTo>
                <a:cubicBezTo>
                  <a:pt x="217" y="142"/>
                  <a:pt x="217" y="142"/>
                  <a:pt x="217" y="142"/>
                </a:cubicBezTo>
                <a:cubicBezTo>
                  <a:pt x="216" y="142"/>
                  <a:pt x="216" y="142"/>
                  <a:pt x="216" y="142"/>
                </a:cubicBezTo>
                <a:cubicBezTo>
                  <a:pt x="216" y="141"/>
                  <a:pt x="216" y="141"/>
                  <a:pt x="216" y="141"/>
                </a:cubicBezTo>
                <a:cubicBezTo>
                  <a:pt x="216" y="141"/>
                  <a:pt x="216" y="141"/>
                  <a:pt x="216" y="141"/>
                </a:cubicBezTo>
                <a:cubicBezTo>
                  <a:pt x="215" y="141"/>
                  <a:pt x="215" y="141"/>
                  <a:pt x="215" y="141"/>
                </a:cubicBezTo>
                <a:cubicBezTo>
                  <a:pt x="215" y="142"/>
                  <a:pt x="215" y="142"/>
                  <a:pt x="215" y="142"/>
                </a:cubicBezTo>
                <a:cubicBezTo>
                  <a:pt x="216" y="142"/>
                  <a:pt x="216" y="142"/>
                  <a:pt x="216" y="142"/>
                </a:cubicBezTo>
                <a:cubicBezTo>
                  <a:pt x="215" y="143"/>
                  <a:pt x="215" y="143"/>
                  <a:pt x="215" y="143"/>
                </a:cubicBezTo>
                <a:cubicBezTo>
                  <a:pt x="215" y="144"/>
                  <a:pt x="215" y="144"/>
                  <a:pt x="215" y="144"/>
                </a:cubicBezTo>
                <a:cubicBezTo>
                  <a:pt x="216" y="144"/>
                  <a:pt x="216" y="144"/>
                  <a:pt x="216" y="144"/>
                </a:cubicBezTo>
                <a:cubicBezTo>
                  <a:pt x="215" y="145"/>
                  <a:pt x="215" y="145"/>
                  <a:pt x="215" y="145"/>
                </a:cubicBezTo>
                <a:cubicBezTo>
                  <a:pt x="216" y="145"/>
                  <a:pt x="216" y="145"/>
                  <a:pt x="216" y="145"/>
                </a:cubicBezTo>
                <a:cubicBezTo>
                  <a:pt x="216" y="146"/>
                  <a:pt x="216" y="146"/>
                  <a:pt x="216" y="146"/>
                </a:cubicBezTo>
                <a:cubicBezTo>
                  <a:pt x="215" y="146"/>
                  <a:pt x="215" y="146"/>
                  <a:pt x="215" y="146"/>
                </a:cubicBezTo>
                <a:cubicBezTo>
                  <a:pt x="214" y="146"/>
                  <a:pt x="214" y="146"/>
                  <a:pt x="214" y="146"/>
                </a:cubicBezTo>
                <a:cubicBezTo>
                  <a:pt x="213" y="146"/>
                  <a:pt x="213" y="146"/>
                  <a:pt x="213" y="146"/>
                </a:cubicBezTo>
                <a:cubicBezTo>
                  <a:pt x="213" y="146"/>
                  <a:pt x="213" y="146"/>
                  <a:pt x="213" y="146"/>
                </a:cubicBezTo>
                <a:cubicBezTo>
                  <a:pt x="214" y="147"/>
                  <a:pt x="214" y="147"/>
                  <a:pt x="214" y="147"/>
                </a:cubicBezTo>
                <a:cubicBezTo>
                  <a:pt x="214" y="147"/>
                  <a:pt x="214" y="147"/>
                  <a:pt x="214" y="147"/>
                </a:cubicBezTo>
                <a:cubicBezTo>
                  <a:pt x="216" y="147"/>
                  <a:pt x="216" y="147"/>
                  <a:pt x="216" y="147"/>
                </a:cubicBezTo>
                <a:cubicBezTo>
                  <a:pt x="216" y="147"/>
                  <a:pt x="216" y="147"/>
                  <a:pt x="216" y="147"/>
                </a:cubicBezTo>
                <a:cubicBezTo>
                  <a:pt x="216" y="148"/>
                  <a:pt x="216" y="148"/>
                  <a:pt x="216" y="148"/>
                </a:cubicBezTo>
                <a:cubicBezTo>
                  <a:pt x="216" y="149"/>
                  <a:pt x="216" y="149"/>
                  <a:pt x="216" y="149"/>
                </a:cubicBezTo>
                <a:cubicBezTo>
                  <a:pt x="216" y="149"/>
                  <a:pt x="216" y="149"/>
                  <a:pt x="216" y="149"/>
                </a:cubicBezTo>
                <a:cubicBezTo>
                  <a:pt x="217" y="149"/>
                  <a:pt x="217" y="149"/>
                  <a:pt x="217" y="149"/>
                </a:cubicBezTo>
                <a:cubicBezTo>
                  <a:pt x="218" y="148"/>
                  <a:pt x="218" y="148"/>
                  <a:pt x="218" y="148"/>
                </a:cubicBezTo>
                <a:cubicBezTo>
                  <a:pt x="219" y="149"/>
                  <a:pt x="219" y="149"/>
                  <a:pt x="219" y="149"/>
                </a:cubicBezTo>
                <a:cubicBezTo>
                  <a:pt x="220" y="149"/>
                  <a:pt x="220" y="149"/>
                  <a:pt x="220" y="149"/>
                </a:cubicBezTo>
                <a:cubicBezTo>
                  <a:pt x="221" y="149"/>
                  <a:pt x="221" y="149"/>
                  <a:pt x="221" y="149"/>
                </a:cubicBezTo>
                <a:cubicBezTo>
                  <a:pt x="222" y="150"/>
                  <a:pt x="222" y="150"/>
                  <a:pt x="222" y="150"/>
                </a:cubicBezTo>
                <a:cubicBezTo>
                  <a:pt x="223" y="149"/>
                  <a:pt x="223" y="149"/>
                  <a:pt x="223" y="149"/>
                </a:cubicBezTo>
                <a:cubicBezTo>
                  <a:pt x="223" y="149"/>
                  <a:pt x="223" y="149"/>
                  <a:pt x="223" y="149"/>
                </a:cubicBezTo>
                <a:cubicBezTo>
                  <a:pt x="224" y="149"/>
                  <a:pt x="224" y="149"/>
                  <a:pt x="224" y="149"/>
                </a:cubicBezTo>
                <a:cubicBezTo>
                  <a:pt x="224" y="150"/>
                  <a:pt x="224" y="150"/>
                  <a:pt x="224" y="150"/>
                </a:cubicBezTo>
                <a:cubicBezTo>
                  <a:pt x="224" y="151"/>
                  <a:pt x="224" y="151"/>
                  <a:pt x="224" y="151"/>
                </a:cubicBezTo>
                <a:cubicBezTo>
                  <a:pt x="224" y="152"/>
                  <a:pt x="224" y="152"/>
                  <a:pt x="224" y="152"/>
                </a:cubicBezTo>
                <a:cubicBezTo>
                  <a:pt x="224" y="152"/>
                  <a:pt x="224" y="152"/>
                  <a:pt x="224" y="152"/>
                </a:cubicBezTo>
                <a:cubicBezTo>
                  <a:pt x="223" y="152"/>
                  <a:pt x="223" y="152"/>
                  <a:pt x="223" y="152"/>
                </a:cubicBezTo>
                <a:cubicBezTo>
                  <a:pt x="222" y="152"/>
                  <a:pt x="222" y="152"/>
                  <a:pt x="222" y="152"/>
                </a:cubicBezTo>
                <a:cubicBezTo>
                  <a:pt x="222" y="152"/>
                  <a:pt x="222" y="152"/>
                  <a:pt x="222" y="152"/>
                </a:cubicBezTo>
                <a:cubicBezTo>
                  <a:pt x="221" y="152"/>
                  <a:pt x="221" y="152"/>
                  <a:pt x="221" y="152"/>
                </a:cubicBezTo>
                <a:cubicBezTo>
                  <a:pt x="220" y="152"/>
                  <a:pt x="220" y="152"/>
                  <a:pt x="220" y="152"/>
                </a:cubicBezTo>
                <a:cubicBezTo>
                  <a:pt x="220" y="152"/>
                  <a:pt x="220" y="152"/>
                  <a:pt x="220" y="152"/>
                </a:cubicBezTo>
                <a:cubicBezTo>
                  <a:pt x="218" y="152"/>
                  <a:pt x="218" y="152"/>
                  <a:pt x="218" y="152"/>
                </a:cubicBezTo>
                <a:cubicBezTo>
                  <a:pt x="217" y="152"/>
                  <a:pt x="217" y="152"/>
                  <a:pt x="217" y="152"/>
                </a:cubicBezTo>
                <a:cubicBezTo>
                  <a:pt x="216" y="152"/>
                  <a:pt x="216" y="152"/>
                  <a:pt x="216" y="152"/>
                </a:cubicBezTo>
                <a:cubicBezTo>
                  <a:pt x="216" y="152"/>
                  <a:pt x="216" y="152"/>
                  <a:pt x="216" y="152"/>
                </a:cubicBezTo>
                <a:cubicBezTo>
                  <a:pt x="215" y="152"/>
                  <a:pt x="215" y="152"/>
                  <a:pt x="215" y="152"/>
                </a:cubicBezTo>
                <a:cubicBezTo>
                  <a:pt x="216" y="153"/>
                  <a:pt x="216" y="153"/>
                  <a:pt x="216" y="153"/>
                </a:cubicBezTo>
                <a:cubicBezTo>
                  <a:pt x="216" y="153"/>
                  <a:pt x="216" y="153"/>
                  <a:pt x="216" y="153"/>
                </a:cubicBezTo>
                <a:cubicBezTo>
                  <a:pt x="217" y="153"/>
                  <a:pt x="217" y="153"/>
                  <a:pt x="217" y="153"/>
                </a:cubicBezTo>
                <a:cubicBezTo>
                  <a:pt x="218" y="153"/>
                  <a:pt x="218" y="153"/>
                  <a:pt x="218" y="153"/>
                </a:cubicBezTo>
                <a:cubicBezTo>
                  <a:pt x="220" y="153"/>
                  <a:pt x="220" y="153"/>
                  <a:pt x="220" y="153"/>
                </a:cubicBezTo>
                <a:cubicBezTo>
                  <a:pt x="220" y="153"/>
                  <a:pt x="220" y="153"/>
                  <a:pt x="220" y="153"/>
                </a:cubicBezTo>
                <a:cubicBezTo>
                  <a:pt x="221" y="154"/>
                  <a:pt x="221" y="154"/>
                  <a:pt x="221" y="154"/>
                </a:cubicBezTo>
                <a:cubicBezTo>
                  <a:pt x="222" y="154"/>
                  <a:pt x="222" y="154"/>
                  <a:pt x="222" y="154"/>
                </a:cubicBezTo>
                <a:cubicBezTo>
                  <a:pt x="223" y="154"/>
                  <a:pt x="223" y="154"/>
                  <a:pt x="223" y="154"/>
                </a:cubicBezTo>
                <a:cubicBezTo>
                  <a:pt x="223" y="155"/>
                  <a:pt x="223" y="155"/>
                  <a:pt x="223" y="155"/>
                </a:cubicBezTo>
                <a:cubicBezTo>
                  <a:pt x="224" y="156"/>
                  <a:pt x="224" y="156"/>
                  <a:pt x="224" y="156"/>
                </a:cubicBezTo>
                <a:cubicBezTo>
                  <a:pt x="225" y="157"/>
                  <a:pt x="225" y="157"/>
                  <a:pt x="225" y="157"/>
                </a:cubicBezTo>
                <a:cubicBezTo>
                  <a:pt x="225" y="158"/>
                  <a:pt x="225" y="158"/>
                  <a:pt x="225" y="158"/>
                </a:cubicBezTo>
                <a:cubicBezTo>
                  <a:pt x="225" y="158"/>
                  <a:pt x="225" y="158"/>
                  <a:pt x="225" y="158"/>
                </a:cubicBezTo>
                <a:cubicBezTo>
                  <a:pt x="224" y="157"/>
                  <a:pt x="224" y="157"/>
                  <a:pt x="224" y="157"/>
                </a:cubicBezTo>
                <a:cubicBezTo>
                  <a:pt x="224" y="157"/>
                  <a:pt x="224" y="157"/>
                  <a:pt x="224" y="157"/>
                </a:cubicBezTo>
                <a:cubicBezTo>
                  <a:pt x="224" y="158"/>
                  <a:pt x="224" y="158"/>
                  <a:pt x="224" y="158"/>
                </a:cubicBezTo>
                <a:cubicBezTo>
                  <a:pt x="223" y="158"/>
                  <a:pt x="223" y="158"/>
                  <a:pt x="223" y="158"/>
                </a:cubicBezTo>
                <a:cubicBezTo>
                  <a:pt x="224" y="159"/>
                  <a:pt x="224" y="159"/>
                  <a:pt x="224" y="159"/>
                </a:cubicBezTo>
                <a:cubicBezTo>
                  <a:pt x="224" y="161"/>
                  <a:pt x="224" y="161"/>
                  <a:pt x="224" y="161"/>
                </a:cubicBezTo>
                <a:cubicBezTo>
                  <a:pt x="224" y="161"/>
                  <a:pt x="224" y="161"/>
                  <a:pt x="224" y="161"/>
                </a:cubicBezTo>
                <a:cubicBezTo>
                  <a:pt x="224" y="162"/>
                  <a:pt x="224" y="162"/>
                  <a:pt x="224" y="162"/>
                </a:cubicBezTo>
                <a:cubicBezTo>
                  <a:pt x="224" y="163"/>
                  <a:pt x="224" y="163"/>
                  <a:pt x="224" y="163"/>
                </a:cubicBezTo>
                <a:cubicBezTo>
                  <a:pt x="224" y="164"/>
                  <a:pt x="224" y="164"/>
                  <a:pt x="224" y="164"/>
                </a:cubicBezTo>
                <a:cubicBezTo>
                  <a:pt x="223" y="166"/>
                  <a:pt x="223" y="166"/>
                  <a:pt x="223" y="166"/>
                </a:cubicBezTo>
                <a:cubicBezTo>
                  <a:pt x="222" y="166"/>
                  <a:pt x="222" y="166"/>
                  <a:pt x="222" y="166"/>
                </a:cubicBezTo>
                <a:cubicBezTo>
                  <a:pt x="222" y="166"/>
                  <a:pt x="222" y="166"/>
                  <a:pt x="222" y="166"/>
                </a:cubicBezTo>
                <a:cubicBezTo>
                  <a:pt x="221" y="166"/>
                  <a:pt x="221" y="166"/>
                  <a:pt x="221" y="166"/>
                </a:cubicBezTo>
                <a:cubicBezTo>
                  <a:pt x="220" y="165"/>
                  <a:pt x="220" y="165"/>
                  <a:pt x="220" y="165"/>
                </a:cubicBezTo>
                <a:cubicBezTo>
                  <a:pt x="221" y="164"/>
                  <a:pt x="221" y="164"/>
                  <a:pt x="221" y="164"/>
                </a:cubicBezTo>
                <a:cubicBezTo>
                  <a:pt x="221" y="164"/>
                  <a:pt x="221" y="164"/>
                  <a:pt x="221" y="164"/>
                </a:cubicBezTo>
                <a:cubicBezTo>
                  <a:pt x="220" y="164"/>
                  <a:pt x="220" y="164"/>
                  <a:pt x="220" y="164"/>
                </a:cubicBezTo>
                <a:cubicBezTo>
                  <a:pt x="220" y="164"/>
                  <a:pt x="220" y="164"/>
                  <a:pt x="220" y="164"/>
                </a:cubicBezTo>
                <a:cubicBezTo>
                  <a:pt x="219" y="164"/>
                  <a:pt x="219" y="164"/>
                  <a:pt x="219" y="164"/>
                </a:cubicBezTo>
                <a:cubicBezTo>
                  <a:pt x="218" y="162"/>
                  <a:pt x="218" y="162"/>
                  <a:pt x="218" y="162"/>
                </a:cubicBezTo>
                <a:cubicBezTo>
                  <a:pt x="217" y="161"/>
                  <a:pt x="217" y="161"/>
                  <a:pt x="217" y="161"/>
                </a:cubicBezTo>
                <a:cubicBezTo>
                  <a:pt x="215" y="160"/>
                  <a:pt x="215" y="160"/>
                  <a:pt x="215" y="160"/>
                </a:cubicBezTo>
                <a:cubicBezTo>
                  <a:pt x="215" y="159"/>
                  <a:pt x="215" y="159"/>
                  <a:pt x="215" y="159"/>
                </a:cubicBezTo>
                <a:cubicBezTo>
                  <a:pt x="215" y="158"/>
                  <a:pt x="215" y="158"/>
                  <a:pt x="215" y="158"/>
                </a:cubicBezTo>
                <a:cubicBezTo>
                  <a:pt x="214" y="157"/>
                  <a:pt x="214" y="157"/>
                  <a:pt x="214" y="157"/>
                </a:cubicBezTo>
                <a:cubicBezTo>
                  <a:pt x="213" y="157"/>
                  <a:pt x="213" y="157"/>
                  <a:pt x="213" y="157"/>
                </a:cubicBezTo>
                <a:cubicBezTo>
                  <a:pt x="213" y="157"/>
                  <a:pt x="213" y="157"/>
                  <a:pt x="213" y="157"/>
                </a:cubicBezTo>
                <a:cubicBezTo>
                  <a:pt x="213" y="157"/>
                  <a:pt x="213" y="157"/>
                  <a:pt x="213" y="157"/>
                </a:cubicBezTo>
                <a:cubicBezTo>
                  <a:pt x="213" y="157"/>
                  <a:pt x="213" y="157"/>
                  <a:pt x="213" y="157"/>
                </a:cubicBezTo>
                <a:cubicBezTo>
                  <a:pt x="214" y="159"/>
                  <a:pt x="214" y="159"/>
                  <a:pt x="214" y="159"/>
                </a:cubicBezTo>
                <a:cubicBezTo>
                  <a:pt x="214" y="159"/>
                  <a:pt x="214" y="159"/>
                  <a:pt x="214" y="159"/>
                </a:cubicBezTo>
                <a:cubicBezTo>
                  <a:pt x="214" y="160"/>
                  <a:pt x="214" y="160"/>
                  <a:pt x="214" y="160"/>
                </a:cubicBezTo>
                <a:cubicBezTo>
                  <a:pt x="212" y="160"/>
                  <a:pt x="212" y="160"/>
                  <a:pt x="212" y="160"/>
                </a:cubicBezTo>
                <a:cubicBezTo>
                  <a:pt x="212" y="159"/>
                  <a:pt x="212" y="159"/>
                  <a:pt x="212" y="159"/>
                </a:cubicBezTo>
                <a:cubicBezTo>
                  <a:pt x="211" y="158"/>
                  <a:pt x="211" y="158"/>
                  <a:pt x="211" y="158"/>
                </a:cubicBezTo>
                <a:cubicBezTo>
                  <a:pt x="210" y="157"/>
                  <a:pt x="210" y="157"/>
                  <a:pt x="210" y="157"/>
                </a:cubicBezTo>
                <a:cubicBezTo>
                  <a:pt x="210" y="158"/>
                  <a:pt x="210" y="158"/>
                  <a:pt x="210" y="158"/>
                </a:cubicBezTo>
                <a:cubicBezTo>
                  <a:pt x="210" y="159"/>
                  <a:pt x="210" y="159"/>
                  <a:pt x="210" y="159"/>
                </a:cubicBezTo>
                <a:cubicBezTo>
                  <a:pt x="211" y="160"/>
                  <a:pt x="211" y="160"/>
                  <a:pt x="211" y="160"/>
                </a:cubicBezTo>
                <a:cubicBezTo>
                  <a:pt x="213" y="161"/>
                  <a:pt x="213" y="161"/>
                  <a:pt x="213" y="161"/>
                </a:cubicBezTo>
                <a:cubicBezTo>
                  <a:pt x="215" y="161"/>
                  <a:pt x="215" y="161"/>
                  <a:pt x="215" y="161"/>
                </a:cubicBezTo>
                <a:cubicBezTo>
                  <a:pt x="217" y="162"/>
                  <a:pt x="217" y="162"/>
                  <a:pt x="217" y="162"/>
                </a:cubicBezTo>
                <a:cubicBezTo>
                  <a:pt x="219" y="164"/>
                  <a:pt x="219" y="164"/>
                  <a:pt x="219" y="164"/>
                </a:cubicBezTo>
                <a:cubicBezTo>
                  <a:pt x="219" y="165"/>
                  <a:pt x="219" y="165"/>
                  <a:pt x="219" y="165"/>
                </a:cubicBezTo>
                <a:cubicBezTo>
                  <a:pt x="219" y="166"/>
                  <a:pt x="219" y="166"/>
                  <a:pt x="219" y="166"/>
                </a:cubicBezTo>
                <a:cubicBezTo>
                  <a:pt x="218" y="165"/>
                  <a:pt x="218" y="165"/>
                  <a:pt x="218" y="165"/>
                </a:cubicBezTo>
                <a:cubicBezTo>
                  <a:pt x="217" y="165"/>
                  <a:pt x="217" y="165"/>
                  <a:pt x="217" y="165"/>
                </a:cubicBezTo>
                <a:cubicBezTo>
                  <a:pt x="216" y="165"/>
                  <a:pt x="216" y="165"/>
                  <a:pt x="216" y="165"/>
                </a:cubicBezTo>
                <a:cubicBezTo>
                  <a:pt x="216" y="165"/>
                  <a:pt x="216" y="165"/>
                  <a:pt x="216" y="165"/>
                </a:cubicBezTo>
                <a:cubicBezTo>
                  <a:pt x="214" y="167"/>
                  <a:pt x="214" y="167"/>
                  <a:pt x="214" y="167"/>
                </a:cubicBezTo>
                <a:cubicBezTo>
                  <a:pt x="214" y="167"/>
                  <a:pt x="214" y="167"/>
                  <a:pt x="214" y="167"/>
                </a:cubicBezTo>
                <a:cubicBezTo>
                  <a:pt x="213" y="166"/>
                  <a:pt x="213" y="166"/>
                  <a:pt x="213" y="166"/>
                </a:cubicBezTo>
                <a:cubicBezTo>
                  <a:pt x="212" y="165"/>
                  <a:pt x="212" y="165"/>
                  <a:pt x="212" y="165"/>
                </a:cubicBezTo>
                <a:cubicBezTo>
                  <a:pt x="213" y="165"/>
                  <a:pt x="213" y="165"/>
                  <a:pt x="213" y="165"/>
                </a:cubicBezTo>
                <a:cubicBezTo>
                  <a:pt x="212" y="164"/>
                  <a:pt x="212" y="164"/>
                  <a:pt x="212" y="164"/>
                </a:cubicBezTo>
                <a:cubicBezTo>
                  <a:pt x="212" y="164"/>
                  <a:pt x="212" y="164"/>
                  <a:pt x="212" y="164"/>
                </a:cubicBezTo>
                <a:cubicBezTo>
                  <a:pt x="212" y="165"/>
                  <a:pt x="212" y="165"/>
                  <a:pt x="212" y="165"/>
                </a:cubicBezTo>
                <a:cubicBezTo>
                  <a:pt x="212" y="165"/>
                  <a:pt x="212" y="165"/>
                  <a:pt x="212" y="165"/>
                </a:cubicBezTo>
                <a:cubicBezTo>
                  <a:pt x="212" y="166"/>
                  <a:pt x="212" y="166"/>
                  <a:pt x="212" y="166"/>
                </a:cubicBezTo>
                <a:cubicBezTo>
                  <a:pt x="213" y="167"/>
                  <a:pt x="213" y="167"/>
                  <a:pt x="213" y="167"/>
                </a:cubicBezTo>
                <a:cubicBezTo>
                  <a:pt x="214" y="167"/>
                  <a:pt x="214" y="167"/>
                  <a:pt x="214" y="167"/>
                </a:cubicBezTo>
                <a:cubicBezTo>
                  <a:pt x="215" y="167"/>
                  <a:pt x="215" y="167"/>
                  <a:pt x="215" y="167"/>
                </a:cubicBezTo>
                <a:cubicBezTo>
                  <a:pt x="216" y="166"/>
                  <a:pt x="216" y="166"/>
                  <a:pt x="216" y="166"/>
                </a:cubicBezTo>
                <a:cubicBezTo>
                  <a:pt x="217" y="166"/>
                  <a:pt x="217" y="166"/>
                  <a:pt x="217" y="166"/>
                </a:cubicBezTo>
                <a:cubicBezTo>
                  <a:pt x="218" y="167"/>
                  <a:pt x="218" y="167"/>
                  <a:pt x="218" y="167"/>
                </a:cubicBezTo>
                <a:cubicBezTo>
                  <a:pt x="218" y="167"/>
                  <a:pt x="218" y="167"/>
                  <a:pt x="218" y="167"/>
                </a:cubicBezTo>
                <a:cubicBezTo>
                  <a:pt x="218" y="168"/>
                  <a:pt x="218" y="168"/>
                  <a:pt x="218" y="168"/>
                </a:cubicBezTo>
                <a:cubicBezTo>
                  <a:pt x="217" y="170"/>
                  <a:pt x="217" y="170"/>
                  <a:pt x="217" y="170"/>
                </a:cubicBezTo>
                <a:cubicBezTo>
                  <a:pt x="217" y="171"/>
                  <a:pt x="217" y="171"/>
                  <a:pt x="217" y="171"/>
                </a:cubicBezTo>
                <a:cubicBezTo>
                  <a:pt x="216" y="171"/>
                  <a:pt x="216" y="171"/>
                  <a:pt x="216" y="171"/>
                </a:cubicBezTo>
                <a:cubicBezTo>
                  <a:pt x="216" y="171"/>
                  <a:pt x="216" y="171"/>
                  <a:pt x="216" y="171"/>
                </a:cubicBezTo>
                <a:cubicBezTo>
                  <a:pt x="217" y="172"/>
                  <a:pt x="217" y="172"/>
                  <a:pt x="217" y="172"/>
                </a:cubicBezTo>
                <a:cubicBezTo>
                  <a:pt x="218" y="171"/>
                  <a:pt x="218" y="171"/>
                  <a:pt x="218" y="171"/>
                </a:cubicBezTo>
                <a:cubicBezTo>
                  <a:pt x="219" y="171"/>
                  <a:pt x="219" y="171"/>
                  <a:pt x="219" y="171"/>
                </a:cubicBezTo>
                <a:cubicBezTo>
                  <a:pt x="220" y="173"/>
                  <a:pt x="220" y="173"/>
                  <a:pt x="220" y="173"/>
                </a:cubicBezTo>
                <a:cubicBezTo>
                  <a:pt x="221" y="173"/>
                  <a:pt x="221" y="173"/>
                  <a:pt x="221" y="173"/>
                </a:cubicBezTo>
                <a:cubicBezTo>
                  <a:pt x="222" y="173"/>
                  <a:pt x="222" y="173"/>
                  <a:pt x="222" y="173"/>
                </a:cubicBezTo>
                <a:cubicBezTo>
                  <a:pt x="223" y="172"/>
                  <a:pt x="223" y="172"/>
                  <a:pt x="223" y="172"/>
                </a:cubicBezTo>
                <a:cubicBezTo>
                  <a:pt x="224" y="173"/>
                  <a:pt x="224" y="173"/>
                  <a:pt x="224" y="173"/>
                </a:cubicBezTo>
                <a:cubicBezTo>
                  <a:pt x="224" y="173"/>
                  <a:pt x="224" y="173"/>
                  <a:pt x="224" y="173"/>
                </a:cubicBezTo>
                <a:cubicBezTo>
                  <a:pt x="223" y="174"/>
                  <a:pt x="223" y="174"/>
                  <a:pt x="223" y="174"/>
                </a:cubicBezTo>
                <a:cubicBezTo>
                  <a:pt x="223" y="175"/>
                  <a:pt x="223" y="175"/>
                  <a:pt x="223" y="175"/>
                </a:cubicBezTo>
                <a:cubicBezTo>
                  <a:pt x="224" y="175"/>
                  <a:pt x="224" y="175"/>
                  <a:pt x="224" y="175"/>
                </a:cubicBezTo>
                <a:cubicBezTo>
                  <a:pt x="224" y="176"/>
                  <a:pt x="224" y="176"/>
                  <a:pt x="224" y="176"/>
                </a:cubicBezTo>
                <a:cubicBezTo>
                  <a:pt x="222" y="178"/>
                  <a:pt x="222" y="178"/>
                  <a:pt x="222" y="178"/>
                </a:cubicBezTo>
                <a:cubicBezTo>
                  <a:pt x="221" y="179"/>
                  <a:pt x="221" y="179"/>
                  <a:pt x="221" y="179"/>
                </a:cubicBezTo>
                <a:cubicBezTo>
                  <a:pt x="220" y="179"/>
                  <a:pt x="220" y="179"/>
                  <a:pt x="220" y="179"/>
                </a:cubicBezTo>
                <a:cubicBezTo>
                  <a:pt x="220" y="178"/>
                  <a:pt x="220" y="178"/>
                  <a:pt x="220" y="178"/>
                </a:cubicBezTo>
                <a:cubicBezTo>
                  <a:pt x="220" y="177"/>
                  <a:pt x="220" y="177"/>
                  <a:pt x="220" y="177"/>
                </a:cubicBezTo>
                <a:cubicBezTo>
                  <a:pt x="219" y="177"/>
                  <a:pt x="219" y="177"/>
                  <a:pt x="219" y="177"/>
                </a:cubicBezTo>
                <a:cubicBezTo>
                  <a:pt x="219" y="176"/>
                  <a:pt x="219" y="176"/>
                  <a:pt x="219" y="176"/>
                </a:cubicBezTo>
                <a:cubicBezTo>
                  <a:pt x="218" y="175"/>
                  <a:pt x="218" y="175"/>
                  <a:pt x="218" y="175"/>
                </a:cubicBezTo>
                <a:cubicBezTo>
                  <a:pt x="217" y="174"/>
                  <a:pt x="217" y="174"/>
                  <a:pt x="217" y="174"/>
                </a:cubicBezTo>
                <a:cubicBezTo>
                  <a:pt x="216" y="174"/>
                  <a:pt x="216" y="174"/>
                  <a:pt x="216" y="174"/>
                </a:cubicBezTo>
                <a:cubicBezTo>
                  <a:pt x="215" y="174"/>
                  <a:pt x="215" y="174"/>
                  <a:pt x="215" y="174"/>
                </a:cubicBezTo>
                <a:cubicBezTo>
                  <a:pt x="214" y="174"/>
                  <a:pt x="214" y="174"/>
                  <a:pt x="214" y="174"/>
                </a:cubicBezTo>
                <a:cubicBezTo>
                  <a:pt x="213" y="174"/>
                  <a:pt x="213" y="174"/>
                  <a:pt x="213" y="174"/>
                </a:cubicBezTo>
                <a:cubicBezTo>
                  <a:pt x="213" y="174"/>
                  <a:pt x="213" y="174"/>
                  <a:pt x="213" y="174"/>
                </a:cubicBezTo>
                <a:cubicBezTo>
                  <a:pt x="212" y="173"/>
                  <a:pt x="212" y="173"/>
                  <a:pt x="212" y="173"/>
                </a:cubicBezTo>
                <a:cubicBezTo>
                  <a:pt x="212" y="172"/>
                  <a:pt x="212" y="172"/>
                  <a:pt x="212" y="172"/>
                </a:cubicBezTo>
                <a:cubicBezTo>
                  <a:pt x="211" y="172"/>
                  <a:pt x="211" y="172"/>
                  <a:pt x="211" y="172"/>
                </a:cubicBezTo>
                <a:cubicBezTo>
                  <a:pt x="211" y="173"/>
                  <a:pt x="211" y="173"/>
                  <a:pt x="211" y="173"/>
                </a:cubicBezTo>
                <a:cubicBezTo>
                  <a:pt x="212" y="173"/>
                  <a:pt x="212" y="173"/>
                  <a:pt x="212" y="173"/>
                </a:cubicBezTo>
                <a:cubicBezTo>
                  <a:pt x="212" y="175"/>
                  <a:pt x="212" y="175"/>
                  <a:pt x="212" y="175"/>
                </a:cubicBezTo>
                <a:cubicBezTo>
                  <a:pt x="211" y="176"/>
                  <a:pt x="211" y="176"/>
                  <a:pt x="211" y="176"/>
                </a:cubicBezTo>
                <a:cubicBezTo>
                  <a:pt x="211" y="176"/>
                  <a:pt x="211" y="176"/>
                  <a:pt x="211" y="176"/>
                </a:cubicBezTo>
                <a:cubicBezTo>
                  <a:pt x="210" y="176"/>
                  <a:pt x="210" y="176"/>
                  <a:pt x="210" y="176"/>
                </a:cubicBezTo>
                <a:cubicBezTo>
                  <a:pt x="209" y="176"/>
                  <a:pt x="209" y="176"/>
                  <a:pt x="209" y="176"/>
                </a:cubicBezTo>
                <a:cubicBezTo>
                  <a:pt x="210" y="177"/>
                  <a:pt x="210" y="177"/>
                  <a:pt x="210" y="177"/>
                </a:cubicBezTo>
                <a:cubicBezTo>
                  <a:pt x="210" y="177"/>
                  <a:pt x="210" y="177"/>
                  <a:pt x="210" y="177"/>
                </a:cubicBezTo>
                <a:cubicBezTo>
                  <a:pt x="210" y="178"/>
                  <a:pt x="210" y="178"/>
                  <a:pt x="210" y="178"/>
                </a:cubicBezTo>
                <a:cubicBezTo>
                  <a:pt x="209" y="179"/>
                  <a:pt x="209" y="179"/>
                  <a:pt x="209" y="179"/>
                </a:cubicBezTo>
                <a:cubicBezTo>
                  <a:pt x="209" y="179"/>
                  <a:pt x="209" y="179"/>
                  <a:pt x="209" y="179"/>
                </a:cubicBezTo>
                <a:cubicBezTo>
                  <a:pt x="209" y="180"/>
                  <a:pt x="209" y="180"/>
                  <a:pt x="209" y="180"/>
                </a:cubicBezTo>
                <a:cubicBezTo>
                  <a:pt x="209" y="180"/>
                  <a:pt x="209" y="180"/>
                  <a:pt x="209" y="180"/>
                </a:cubicBezTo>
                <a:cubicBezTo>
                  <a:pt x="210" y="181"/>
                  <a:pt x="210" y="181"/>
                  <a:pt x="210" y="181"/>
                </a:cubicBezTo>
                <a:cubicBezTo>
                  <a:pt x="210" y="182"/>
                  <a:pt x="210" y="182"/>
                  <a:pt x="210" y="182"/>
                </a:cubicBezTo>
                <a:cubicBezTo>
                  <a:pt x="211" y="182"/>
                  <a:pt x="211" y="182"/>
                  <a:pt x="211" y="182"/>
                </a:cubicBezTo>
                <a:cubicBezTo>
                  <a:pt x="211" y="184"/>
                  <a:pt x="211" y="184"/>
                  <a:pt x="211" y="184"/>
                </a:cubicBezTo>
                <a:cubicBezTo>
                  <a:pt x="211" y="185"/>
                  <a:pt x="211" y="185"/>
                  <a:pt x="211" y="185"/>
                </a:cubicBezTo>
                <a:cubicBezTo>
                  <a:pt x="211" y="185"/>
                  <a:pt x="211" y="185"/>
                  <a:pt x="211" y="185"/>
                </a:cubicBezTo>
                <a:cubicBezTo>
                  <a:pt x="211" y="184"/>
                  <a:pt x="211" y="184"/>
                  <a:pt x="211" y="184"/>
                </a:cubicBezTo>
                <a:cubicBezTo>
                  <a:pt x="212" y="184"/>
                  <a:pt x="212" y="184"/>
                  <a:pt x="212" y="184"/>
                </a:cubicBezTo>
                <a:cubicBezTo>
                  <a:pt x="212" y="183"/>
                  <a:pt x="212" y="183"/>
                  <a:pt x="212" y="183"/>
                </a:cubicBezTo>
                <a:cubicBezTo>
                  <a:pt x="211" y="182"/>
                  <a:pt x="211" y="182"/>
                  <a:pt x="211" y="182"/>
                </a:cubicBezTo>
                <a:cubicBezTo>
                  <a:pt x="211" y="181"/>
                  <a:pt x="211" y="181"/>
                  <a:pt x="211" y="181"/>
                </a:cubicBezTo>
                <a:cubicBezTo>
                  <a:pt x="212" y="180"/>
                  <a:pt x="212" y="180"/>
                  <a:pt x="212" y="180"/>
                </a:cubicBezTo>
                <a:cubicBezTo>
                  <a:pt x="212" y="180"/>
                  <a:pt x="212" y="180"/>
                  <a:pt x="212" y="180"/>
                </a:cubicBezTo>
                <a:cubicBezTo>
                  <a:pt x="212" y="181"/>
                  <a:pt x="212" y="181"/>
                  <a:pt x="212" y="181"/>
                </a:cubicBezTo>
                <a:cubicBezTo>
                  <a:pt x="213" y="182"/>
                  <a:pt x="213" y="182"/>
                  <a:pt x="213" y="182"/>
                </a:cubicBezTo>
                <a:cubicBezTo>
                  <a:pt x="213" y="183"/>
                  <a:pt x="213" y="183"/>
                  <a:pt x="213" y="183"/>
                </a:cubicBezTo>
                <a:cubicBezTo>
                  <a:pt x="214" y="183"/>
                  <a:pt x="214" y="183"/>
                  <a:pt x="214" y="183"/>
                </a:cubicBezTo>
                <a:cubicBezTo>
                  <a:pt x="215" y="183"/>
                  <a:pt x="215" y="183"/>
                  <a:pt x="215" y="183"/>
                </a:cubicBezTo>
                <a:cubicBezTo>
                  <a:pt x="215" y="183"/>
                  <a:pt x="215" y="183"/>
                  <a:pt x="215" y="183"/>
                </a:cubicBezTo>
                <a:cubicBezTo>
                  <a:pt x="215" y="183"/>
                  <a:pt x="215" y="183"/>
                  <a:pt x="215" y="183"/>
                </a:cubicBezTo>
                <a:cubicBezTo>
                  <a:pt x="216" y="183"/>
                  <a:pt x="216" y="183"/>
                  <a:pt x="216" y="183"/>
                </a:cubicBezTo>
                <a:cubicBezTo>
                  <a:pt x="217" y="182"/>
                  <a:pt x="217" y="182"/>
                  <a:pt x="217" y="182"/>
                </a:cubicBezTo>
                <a:cubicBezTo>
                  <a:pt x="218" y="183"/>
                  <a:pt x="218" y="183"/>
                  <a:pt x="218" y="183"/>
                </a:cubicBezTo>
                <a:cubicBezTo>
                  <a:pt x="218" y="183"/>
                  <a:pt x="218" y="183"/>
                  <a:pt x="218" y="183"/>
                </a:cubicBezTo>
                <a:cubicBezTo>
                  <a:pt x="218" y="184"/>
                  <a:pt x="218" y="184"/>
                  <a:pt x="218" y="184"/>
                </a:cubicBezTo>
                <a:cubicBezTo>
                  <a:pt x="217" y="185"/>
                  <a:pt x="217" y="185"/>
                  <a:pt x="217" y="185"/>
                </a:cubicBezTo>
                <a:cubicBezTo>
                  <a:pt x="217" y="186"/>
                  <a:pt x="217" y="186"/>
                  <a:pt x="217" y="186"/>
                </a:cubicBezTo>
                <a:cubicBezTo>
                  <a:pt x="217" y="187"/>
                  <a:pt x="217" y="187"/>
                  <a:pt x="217" y="187"/>
                </a:cubicBezTo>
                <a:cubicBezTo>
                  <a:pt x="217" y="189"/>
                  <a:pt x="217" y="189"/>
                  <a:pt x="217" y="189"/>
                </a:cubicBezTo>
                <a:cubicBezTo>
                  <a:pt x="216" y="189"/>
                  <a:pt x="216" y="189"/>
                  <a:pt x="216" y="189"/>
                </a:cubicBezTo>
                <a:cubicBezTo>
                  <a:pt x="215" y="189"/>
                  <a:pt x="215" y="189"/>
                  <a:pt x="215" y="189"/>
                </a:cubicBezTo>
                <a:cubicBezTo>
                  <a:pt x="214" y="190"/>
                  <a:pt x="214" y="190"/>
                  <a:pt x="214" y="190"/>
                </a:cubicBezTo>
                <a:cubicBezTo>
                  <a:pt x="213" y="189"/>
                  <a:pt x="213" y="189"/>
                  <a:pt x="213" y="189"/>
                </a:cubicBezTo>
                <a:cubicBezTo>
                  <a:pt x="212" y="189"/>
                  <a:pt x="212" y="189"/>
                  <a:pt x="212" y="189"/>
                </a:cubicBezTo>
                <a:cubicBezTo>
                  <a:pt x="212" y="189"/>
                  <a:pt x="212" y="189"/>
                  <a:pt x="212" y="189"/>
                </a:cubicBezTo>
                <a:cubicBezTo>
                  <a:pt x="211" y="190"/>
                  <a:pt x="211" y="190"/>
                  <a:pt x="211" y="190"/>
                </a:cubicBezTo>
                <a:cubicBezTo>
                  <a:pt x="211" y="190"/>
                  <a:pt x="211" y="190"/>
                  <a:pt x="211" y="190"/>
                </a:cubicBezTo>
                <a:cubicBezTo>
                  <a:pt x="210" y="191"/>
                  <a:pt x="210" y="191"/>
                  <a:pt x="210" y="191"/>
                </a:cubicBezTo>
                <a:cubicBezTo>
                  <a:pt x="209" y="191"/>
                  <a:pt x="209" y="191"/>
                  <a:pt x="209" y="191"/>
                </a:cubicBezTo>
                <a:cubicBezTo>
                  <a:pt x="209" y="191"/>
                  <a:pt x="209" y="191"/>
                  <a:pt x="209" y="191"/>
                </a:cubicBezTo>
                <a:cubicBezTo>
                  <a:pt x="208" y="192"/>
                  <a:pt x="208" y="192"/>
                  <a:pt x="208" y="192"/>
                </a:cubicBezTo>
                <a:cubicBezTo>
                  <a:pt x="208" y="192"/>
                  <a:pt x="208" y="192"/>
                  <a:pt x="208" y="192"/>
                </a:cubicBezTo>
                <a:cubicBezTo>
                  <a:pt x="208" y="192"/>
                  <a:pt x="208" y="192"/>
                  <a:pt x="208" y="192"/>
                </a:cubicBezTo>
                <a:cubicBezTo>
                  <a:pt x="207" y="192"/>
                  <a:pt x="207" y="192"/>
                  <a:pt x="207" y="192"/>
                </a:cubicBezTo>
                <a:cubicBezTo>
                  <a:pt x="206" y="191"/>
                  <a:pt x="206" y="191"/>
                  <a:pt x="206" y="191"/>
                </a:cubicBezTo>
                <a:cubicBezTo>
                  <a:pt x="204" y="191"/>
                  <a:pt x="204" y="191"/>
                  <a:pt x="204" y="191"/>
                </a:cubicBezTo>
                <a:cubicBezTo>
                  <a:pt x="203" y="189"/>
                  <a:pt x="203" y="189"/>
                  <a:pt x="203" y="189"/>
                </a:cubicBezTo>
                <a:cubicBezTo>
                  <a:pt x="201" y="187"/>
                  <a:pt x="201" y="187"/>
                  <a:pt x="201" y="187"/>
                </a:cubicBezTo>
                <a:cubicBezTo>
                  <a:pt x="200" y="186"/>
                  <a:pt x="200" y="186"/>
                  <a:pt x="200" y="186"/>
                </a:cubicBezTo>
                <a:cubicBezTo>
                  <a:pt x="200" y="185"/>
                  <a:pt x="200" y="185"/>
                  <a:pt x="200" y="185"/>
                </a:cubicBezTo>
                <a:cubicBezTo>
                  <a:pt x="201" y="185"/>
                  <a:pt x="201" y="185"/>
                  <a:pt x="201" y="185"/>
                </a:cubicBezTo>
                <a:cubicBezTo>
                  <a:pt x="201" y="185"/>
                  <a:pt x="201" y="185"/>
                  <a:pt x="201" y="185"/>
                </a:cubicBezTo>
                <a:cubicBezTo>
                  <a:pt x="201" y="185"/>
                  <a:pt x="201" y="185"/>
                  <a:pt x="201" y="185"/>
                </a:cubicBezTo>
                <a:cubicBezTo>
                  <a:pt x="202" y="186"/>
                  <a:pt x="202" y="186"/>
                  <a:pt x="202" y="186"/>
                </a:cubicBezTo>
                <a:cubicBezTo>
                  <a:pt x="204" y="187"/>
                  <a:pt x="204" y="187"/>
                  <a:pt x="204" y="187"/>
                </a:cubicBezTo>
                <a:cubicBezTo>
                  <a:pt x="205" y="188"/>
                  <a:pt x="205" y="188"/>
                  <a:pt x="205" y="188"/>
                </a:cubicBezTo>
                <a:cubicBezTo>
                  <a:pt x="206" y="188"/>
                  <a:pt x="206" y="188"/>
                  <a:pt x="206" y="188"/>
                </a:cubicBezTo>
                <a:cubicBezTo>
                  <a:pt x="207" y="187"/>
                  <a:pt x="207" y="187"/>
                  <a:pt x="207" y="187"/>
                </a:cubicBezTo>
                <a:cubicBezTo>
                  <a:pt x="208" y="187"/>
                  <a:pt x="208" y="187"/>
                  <a:pt x="208" y="187"/>
                </a:cubicBezTo>
                <a:cubicBezTo>
                  <a:pt x="207" y="186"/>
                  <a:pt x="207" y="186"/>
                  <a:pt x="207" y="186"/>
                </a:cubicBezTo>
                <a:cubicBezTo>
                  <a:pt x="207" y="186"/>
                  <a:pt x="207" y="186"/>
                  <a:pt x="207" y="186"/>
                </a:cubicBezTo>
                <a:cubicBezTo>
                  <a:pt x="206" y="187"/>
                  <a:pt x="206" y="187"/>
                  <a:pt x="206" y="187"/>
                </a:cubicBezTo>
                <a:cubicBezTo>
                  <a:pt x="205" y="186"/>
                  <a:pt x="205" y="186"/>
                  <a:pt x="205" y="186"/>
                </a:cubicBezTo>
                <a:cubicBezTo>
                  <a:pt x="203" y="185"/>
                  <a:pt x="203" y="185"/>
                  <a:pt x="203" y="185"/>
                </a:cubicBezTo>
                <a:cubicBezTo>
                  <a:pt x="201" y="184"/>
                  <a:pt x="201" y="184"/>
                  <a:pt x="201" y="184"/>
                </a:cubicBezTo>
                <a:cubicBezTo>
                  <a:pt x="200" y="184"/>
                  <a:pt x="200" y="184"/>
                  <a:pt x="200" y="184"/>
                </a:cubicBezTo>
                <a:cubicBezTo>
                  <a:pt x="200" y="184"/>
                  <a:pt x="200" y="184"/>
                  <a:pt x="200" y="184"/>
                </a:cubicBezTo>
                <a:cubicBezTo>
                  <a:pt x="200" y="183"/>
                  <a:pt x="200" y="183"/>
                  <a:pt x="200" y="183"/>
                </a:cubicBezTo>
                <a:cubicBezTo>
                  <a:pt x="200" y="183"/>
                  <a:pt x="200" y="183"/>
                  <a:pt x="200" y="183"/>
                </a:cubicBezTo>
                <a:cubicBezTo>
                  <a:pt x="199" y="183"/>
                  <a:pt x="199" y="183"/>
                  <a:pt x="199" y="183"/>
                </a:cubicBezTo>
                <a:cubicBezTo>
                  <a:pt x="199" y="183"/>
                  <a:pt x="199" y="183"/>
                  <a:pt x="199" y="183"/>
                </a:cubicBezTo>
                <a:cubicBezTo>
                  <a:pt x="199" y="184"/>
                  <a:pt x="199" y="184"/>
                  <a:pt x="199" y="184"/>
                </a:cubicBezTo>
                <a:cubicBezTo>
                  <a:pt x="198" y="186"/>
                  <a:pt x="198" y="186"/>
                  <a:pt x="198" y="186"/>
                </a:cubicBezTo>
                <a:cubicBezTo>
                  <a:pt x="198" y="187"/>
                  <a:pt x="198" y="187"/>
                  <a:pt x="198" y="187"/>
                </a:cubicBezTo>
                <a:cubicBezTo>
                  <a:pt x="198" y="188"/>
                  <a:pt x="198" y="188"/>
                  <a:pt x="198" y="188"/>
                </a:cubicBezTo>
                <a:cubicBezTo>
                  <a:pt x="198" y="187"/>
                  <a:pt x="198" y="187"/>
                  <a:pt x="198" y="187"/>
                </a:cubicBezTo>
                <a:cubicBezTo>
                  <a:pt x="196" y="185"/>
                  <a:pt x="196" y="185"/>
                  <a:pt x="196" y="185"/>
                </a:cubicBezTo>
                <a:cubicBezTo>
                  <a:pt x="195" y="183"/>
                  <a:pt x="195" y="183"/>
                  <a:pt x="195" y="183"/>
                </a:cubicBezTo>
                <a:cubicBezTo>
                  <a:pt x="194" y="182"/>
                  <a:pt x="194" y="182"/>
                  <a:pt x="194" y="182"/>
                </a:cubicBezTo>
                <a:cubicBezTo>
                  <a:pt x="194" y="182"/>
                  <a:pt x="194" y="182"/>
                  <a:pt x="194" y="182"/>
                </a:cubicBezTo>
                <a:cubicBezTo>
                  <a:pt x="194" y="181"/>
                  <a:pt x="194" y="181"/>
                  <a:pt x="194" y="181"/>
                </a:cubicBezTo>
                <a:cubicBezTo>
                  <a:pt x="193" y="181"/>
                  <a:pt x="193" y="181"/>
                  <a:pt x="193" y="181"/>
                </a:cubicBezTo>
                <a:cubicBezTo>
                  <a:pt x="193" y="181"/>
                  <a:pt x="193" y="181"/>
                  <a:pt x="193" y="181"/>
                </a:cubicBezTo>
                <a:cubicBezTo>
                  <a:pt x="193" y="182"/>
                  <a:pt x="193" y="182"/>
                  <a:pt x="193" y="182"/>
                </a:cubicBezTo>
                <a:cubicBezTo>
                  <a:pt x="194" y="183"/>
                  <a:pt x="194" y="183"/>
                  <a:pt x="194" y="183"/>
                </a:cubicBezTo>
                <a:cubicBezTo>
                  <a:pt x="195" y="185"/>
                  <a:pt x="195" y="185"/>
                  <a:pt x="195" y="185"/>
                </a:cubicBezTo>
                <a:cubicBezTo>
                  <a:pt x="195" y="186"/>
                  <a:pt x="195" y="186"/>
                  <a:pt x="195" y="186"/>
                </a:cubicBezTo>
                <a:cubicBezTo>
                  <a:pt x="196" y="186"/>
                  <a:pt x="196" y="186"/>
                  <a:pt x="196" y="186"/>
                </a:cubicBezTo>
                <a:cubicBezTo>
                  <a:pt x="197" y="187"/>
                  <a:pt x="197" y="187"/>
                  <a:pt x="197" y="187"/>
                </a:cubicBezTo>
                <a:cubicBezTo>
                  <a:pt x="196" y="188"/>
                  <a:pt x="196" y="188"/>
                  <a:pt x="196" y="188"/>
                </a:cubicBezTo>
                <a:cubicBezTo>
                  <a:pt x="196" y="188"/>
                  <a:pt x="196" y="188"/>
                  <a:pt x="196" y="188"/>
                </a:cubicBezTo>
                <a:cubicBezTo>
                  <a:pt x="195" y="188"/>
                  <a:pt x="195" y="188"/>
                  <a:pt x="195" y="188"/>
                </a:cubicBezTo>
                <a:cubicBezTo>
                  <a:pt x="194" y="189"/>
                  <a:pt x="194" y="189"/>
                  <a:pt x="194" y="189"/>
                </a:cubicBezTo>
                <a:cubicBezTo>
                  <a:pt x="194" y="189"/>
                  <a:pt x="194" y="189"/>
                  <a:pt x="194" y="189"/>
                </a:cubicBezTo>
                <a:cubicBezTo>
                  <a:pt x="193" y="190"/>
                  <a:pt x="193" y="190"/>
                  <a:pt x="193" y="190"/>
                </a:cubicBezTo>
                <a:cubicBezTo>
                  <a:pt x="192" y="190"/>
                  <a:pt x="192" y="190"/>
                  <a:pt x="192" y="190"/>
                </a:cubicBezTo>
                <a:cubicBezTo>
                  <a:pt x="191" y="190"/>
                  <a:pt x="191" y="190"/>
                  <a:pt x="191" y="190"/>
                </a:cubicBezTo>
                <a:cubicBezTo>
                  <a:pt x="190" y="190"/>
                  <a:pt x="190" y="190"/>
                  <a:pt x="190" y="190"/>
                </a:cubicBezTo>
                <a:cubicBezTo>
                  <a:pt x="189" y="190"/>
                  <a:pt x="189" y="190"/>
                  <a:pt x="189" y="190"/>
                </a:cubicBezTo>
                <a:cubicBezTo>
                  <a:pt x="189" y="189"/>
                  <a:pt x="189" y="189"/>
                  <a:pt x="189" y="189"/>
                </a:cubicBezTo>
                <a:cubicBezTo>
                  <a:pt x="188" y="189"/>
                  <a:pt x="188" y="189"/>
                  <a:pt x="188" y="189"/>
                </a:cubicBezTo>
                <a:cubicBezTo>
                  <a:pt x="188" y="189"/>
                  <a:pt x="188" y="189"/>
                  <a:pt x="188" y="189"/>
                </a:cubicBezTo>
                <a:cubicBezTo>
                  <a:pt x="186" y="188"/>
                  <a:pt x="186" y="188"/>
                  <a:pt x="186" y="188"/>
                </a:cubicBezTo>
                <a:cubicBezTo>
                  <a:pt x="186" y="187"/>
                  <a:pt x="186" y="187"/>
                  <a:pt x="186" y="187"/>
                </a:cubicBezTo>
                <a:cubicBezTo>
                  <a:pt x="186" y="186"/>
                  <a:pt x="186" y="186"/>
                  <a:pt x="186" y="186"/>
                </a:cubicBezTo>
                <a:cubicBezTo>
                  <a:pt x="185" y="186"/>
                  <a:pt x="185" y="186"/>
                  <a:pt x="185" y="186"/>
                </a:cubicBezTo>
                <a:cubicBezTo>
                  <a:pt x="185" y="186"/>
                  <a:pt x="185" y="186"/>
                  <a:pt x="185" y="186"/>
                </a:cubicBezTo>
                <a:cubicBezTo>
                  <a:pt x="185" y="186"/>
                  <a:pt x="185" y="186"/>
                  <a:pt x="185" y="186"/>
                </a:cubicBezTo>
                <a:cubicBezTo>
                  <a:pt x="185" y="187"/>
                  <a:pt x="185" y="187"/>
                  <a:pt x="185" y="187"/>
                </a:cubicBezTo>
                <a:cubicBezTo>
                  <a:pt x="185" y="188"/>
                  <a:pt x="185" y="188"/>
                  <a:pt x="185" y="188"/>
                </a:cubicBezTo>
                <a:cubicBezTo>
                  <a:pt x="186" y="188"/>
                  <a:pt x="186" y="188"/>
                  <a:pt x="186" y="188"/>
                </a:cubicBezTo>
                <a:cubicBezTo>
                  <a:pt x="187" y="189"/>
                  <a:pt x="187" y="189"/>
                  <a:pt x="187" y="189"/>
                </a:cubicBezTo>
                <a:cubicBezTo>
                  <a:pt x="188" y="190"/>
                  <a:pt x="188" y="190"/>
                  <a:pt x="188" y="190"/>
                </a:cubicBezTo>
                <a:cubicBezTo>
                  <a:pt x="188" y="191"/>
                  <a:pt x="188" y="191"/>
                  <a:pt x="188" y="191"/>
                </a:cubicBezTo>
                <a:cubicBezTo>
                  <a:pt x="187" y="191"/>
                  <a:pt x="187" y="191"/>
                  <a:pt x="187" y="191"/>
                </a:cubicBezTo>
                <a:cubicBezTo>
                  <a:pt x="185" y="191"/>
                  <a:pt x="185" y="191"/>
                  <a:pt x="185" y="191"/>
                </a:cubicBezTo>
                <a:cubicBezTo>
                  <a:pt x="184" y="191"/>
                  <a:pt x="184" y="191"/>
                  <a:pt x="184" y="191"/>
                </a:cubicBezTo>
                <a:cubicBezTo>
                  <a:pt x="183" y="191"/>
                  <a:pt x="183" y="191"/>
                  <a:pt x="183" y="191"/>
                </a:cubicBezTo>
                <a:cubicBezTo>
                  <a:pt x="182" y="192"/>
                  <a:pt x="182" y="192"/>
                  <a:pt x="182" y="192"/>
                </a:cubicBezTo>
                <a:cubicBezTo>
                  <a:pt x="183" y="192"/>
                  <a:pt x="183" y="192"/>
                  <a:pt x="183" y="192"/>
                </a:cubicBezTo>
                <a:cubicBezTo>
                  <a:pt x="183" y="192"/>
                  <a:pt x="183" y="192"/>
                  <a:pt x="183" y="192"/>
                </a:cubicBezTo>
                <a:cubicBezTo>
                  <a:pt x="183" y="193"/>
                  <a:pt x="183" y="193"/>
                  <a:pt x="183" y="193"/>
                </a:cubicBezTo>
                <a:cubicBezTo>
                  <a:pt x="184" y="193"/>
                  <a:pt x="184" y="193"/>
                  <a:pt x="184" y="193"/>
                </a:cubicBezTo>
                <a:cubicBezTo>
                  <a:pt x="184" y="193"/>
                  <a:pt x="184" y="193"/>
                  <a:pt x="184" y="193"/>
                </a:cubicBezTo>
                <a:cubicBezTo>
                  <a:pt x="184" y="192"/>
                  <a:pt x="184" y="192"/>
                  <a:pt x="184" y="192"/>
                </a:cubicBezTo>
                <a:cubicBezTo>
                  <a:pt x="186" y="192"/>
                  <a:pt x="186" y="192"/>
                  <a:pt x="186" y="192"/>
                </a:cubicBezTo>
                <a:cubicBezTo>
                  <a:pt x="186" y="192"/>
                  <a:pt x="186" y="192"/>
                  <a:pt x="186" y="192"/>
                </a:cubicBezTo>
                <a:cubicBezTo>
                  <a:pt x="187" y="192"/>
                  <a:pt x="187" y="193"/>
                  <a:pt x="187" y="193"/>
                </a:cubicBezTo>
                <a:cubicBezTo>
                  <a:pt x="188" y="192"/>
                  <a:pt x="188" y="192"/>
                  <a:pt x="188" y="192"/>
                </a:cubicBezTo>
                <a:cubicBezTo>
                  <a:pt x="188" y="191"/>
                  <a:pt x="188" y="191"/>
                  <a:pt x="188" y="191"/>
                </a:cubicBezTo>
                <a:cubicBezTo>
                  <a:pt x="189" y="191"/>
                  <a:pt x="189" y="191"/>
                  <a:pt x="189" y="191"/>
                </a:cubicBezTo>
                <a:cubicBezTo>
                  <a:pt x="190" y="191"/>
                  <a:pt x="190" y="191"/>
                  <a:pt x="190" y="191"/>
                </a:cubicBezTo>
                <a:cubicBezTo>
                  <a:pt x="191" y="191"/>
                  <a:pt x="191" y="191"/>
                  <a:pt x="191" y="191"/>
                </a:cubicBezTo>
                <a:cubicBezTo>
                  <a:pt x="192" y="192"/>
                  <a:pt x="192" y="192"/>
                  <a:pt x="192" y="192"/>
                </a:cubicBezTo>
                <a:cubicBezTo>
                  <a:pt x="193" y="192"/>
                  <a:pt x="193" y="192"/>
                  <a:pt x="193" y="192"/>
                </a:cubicBezTo>
                <a:cubicBezTo>
                  <a:pt x="194" y="193"/>
                  <a:pt x="194" y="193"/>
                  <a:pt x="194" y="193"/>
                </a:cubicBezTo>
                <a:cubicBezTo>
                  <a:pt x="195" y="193"/>
                  <a:pt x="195" y="193"/>
                  <a:pt x="195" y="193"/>
                </a:cubicBezTo>
                <a:cubicBezTo>
                  <a:pt x="195" y="194"/>
                  <a:pt x="195" y="194"/>
                  <a:pt x="195" y="194"/>
                </a:cubicBezTo>
                <a:cubicBezTo>
                  <a:pt x="195" y="195"/>
                  <a:pt x="195" y="195"/>
                  <a:pt x="195" y="195"/>
                </a:cubicBezTo>
                <a:cubicBezTo>
                  <a:pt x="194" y="195"/>
                  <a:pt x="194" y="195"/>
                  <a:pt x="194" y="195"/>
                </a:cubicBezTo>
                <a:cubicBezTo>
                  <a:pt x="194" y="196"/>
                  <a:pt x="194" y="196"/>
                  <a:pt x="194" y="196"/>
                </a:cubicBezTo>
                <a:cubicBezTo>
                  <a:pt x="193" y="195"/>
                  <a:pt x="193" y="195"/>
                  <a:pt x="193" y="195"/>
                </a:cubicBezTo>
                <a:cubicBezTo>
                  <a:pt x="192" y="196"/>
                  <a:pt x="192" y="196"/>
                  <a:pt x="192" y="196"/>
                </a:cubicBezTo>
                <a:cubicBezTo>
                  <a:pt x="191" y="196"/>
                  <a:pt x="191" y="196"/>
                  <a:pt x="191" y="196"/>
                </a:cubicBezTo>
                <a:cubicBezTo>
                  <a:pt x="190" y="197"/>
                  <a:pt x="190" y="197"/>
                  <a:pt x="190" y="197"/>
                </a:cubicBezTo>
                <a:cubicBezTo>
                  <a:pt x="189" y="197"/>
                  <a:pt x="189" y="197"/>
                  <a:pt x="189" y="197"/>
                </a:cubicBezTo>
                <a:cubicBezTo>
                  <a:pt x="188" y="195"/>
                  <a:pt x="188" y="195"/>
                  <a:pt x="188" y="195"/>
                </a:cubicBezTo>
                <a:cubicBezTo>
                  <a:pt x="187" y="195"/>
                  <a:pt x="187" y="195"/>
                  <a:pt x="187" y="195"/>
                </a:cubicBezTo>
                <a:cubicBezTo>
                  <a:pt x="187" y="195"/>
                  <a:pt x="187" y="195"/>
                  <a:pt x="187" y="195"/>
                </a:cubicBezTo>
                <a:cubicBezTo>
                  <a:pt x="186" y="196"/>
                  <a:pt x="186" y="196"/>
                  <a:pt x="186" y="196"/>
                </a:cubicBezTo>
                <a:cubicBezTo>
                  <a:pt x="185" y="196"/>
                  <a:pt x="185" y="196"/>
                  <a:pt x="185" y="196"/>
                </a:cubicBezTo>
                <a:cubicBezTo>
                  <a:pt x="185" y="196"/>
                  <a:pt x="185" y="196"/>
                  <a:pt x="185" y="196"/>
                </a:cubicBezTo>
                <a:cubicBezTo>
                  <a:pt x="184" y="196"/>
                  <a:pt x="184" y="196"/>
                  <a:pt x="184" y="196"/>
                </a:cubicBezTo>
                <a:cubicBezTo>
                  <a:pt x="184" y="196"/>
                  <a:pt x="184" y="196"/>
                  <a:pt x="184" y="196"/>
                </a:cubicBezTo>
                <a:cubicBezTo>
                  <a:pt x="185" y="196"/>
                  <a:pt x="185" y="196"/>
                  <a:pt x="185" y="196"/>
                </a:cubicBezTo>
                <a:cubicBezTo>
                  <a:pt x="186" y="196"/>
                  <a:pt x="186" y="196"/>
                  <a:pt x="186" y="196"/>
                </a:cubicBezTo>
                <a:cubicBezTo>
                  <a:pt x="187" y="196"/>
                  <a:pt x="187" y="196"/>
                  <a:pt x="187" y="196"/>
                </a:cubicBezTo>
                <a:cubicBezTo>
                  <a:pt x="187" y="196"/>
                  <a:pt x="187" y="196"/>
                  <a:pt x="187" y="196"/>
                </a:cubicBezTo>
                <a:cubicBezTo>
                  <a:pt x="188" y="197"/>
                  <a:pt x="188" y="197"/>
                  <a:pt x="188" y="197"/>
                </a:cubicBezTo>
                <a:cubicBezTo>
                  <a:pt x="187" y="197"/>
                  <a:pt x="187" y="197"/>
                  <a:pt x="187" y="197"/>
                </a:cubicBezTo>
                <a:cubicBezTo>
                  <a:pt x="186" y="197"/>
                  <a:pt x="186" y="197"/>
                  <a:pt x="186" y="197"/>
                </a:cubicBezTo>
                <a:cubicBezTo>
                  <a:pt x="185" y="198"/>
                  <a:pt x="185" y="198"/>
                  <a:pt x="185" y="198"/>
                </a:cubicBezTo>
                <a:cubicBezTo>
                  <a:pt x="185" y="198"/>
                  <a:pt x="185" y="198"/>
                  <a:pt x="185" y="198"/>
                </a:cubicBezTo>
                <a:cubicBezTo>
                  <a:pt x="185" y="198"/>
                  <a:pt x="185" y="198"/>
                  <a:pt x="185" y="198"/>
                </a:cubicBezTo>
                <a:cubicBezTo>
                  <a:pt x="186" y="198"/>
                  <a:pt x="186" y="198"/>
                  <a:pt x="186" y="198"/>
                </a:cubicBezTo>
                <a:cubicBezTo>
                  <a:pt x="187" y="198"/>
                  <a:pt x="187" y="198"/>
                  <a:pt x="187" y="198"/>
                </a:cubicBezTo>
                <a:cubicBezTo>
                  <a:pt x="188" y="198"/>
                  <a:pt x="188" y="198"/>
                  <a:pt x="188" y="198"/>
                </a:cubicBezTo>
                <a:cubicBezTo>
                  <a:pt x="188" y="198"/>
                  <a:pt x="188" y="198"/>
                  <a:pt x="188" y="198"/>
                </a:cubicBezTo>
                <a:cubicBezTo>
                  <a:pt x="188" y="199"/>
                  <a:pt x="188" y="199"/>
                  <a:pt x="188" y="199"/>
                </a:cubicBezTo>
                <a:cubicBezTo>
                  <a:pt x="189" y="199"/>
                  <a:pt x="189" y="199"/>
                  <a:pt x="189" y="199"/>
                </a:cubicBezTo>
                <a:cubicBezTo>
                  <a:pt x="189" y="198"/>
                  <a:pt x="189" y="198"/>
                  <a:pt x="189" y="198"/>
                </a:cubicBezTo>
                <a:cubicBezTo>
                  <a:pt x="190" y="198"/>
                  <a:pt x="190" y="198"/>
                  <a:pt x="190" y="198"/>
                </a:cubicBezTo>
                <a:cubicBezTo>
                  <a:pt x="191" y="198"/>
                  <a:pt x="191" y="198"/>
                  <a:pt x="191" y="198"/>
                </a:cubicBezTo>
                <a:cubicBezTo>
                  <a:pt x="192" y="197"/>
                  <a:pt x="192" y="197"/>
                  <a:pt x="192" y="197"/>
                </a:cubicBezTo>
                <a:cubicBezTo>
                  <a:pt x="192" y="197"/>
                  <a:pt x="192" y="197"/>
                  <a:pt x="192" y="197"/>
                </a:cubicBezTo>
                <a:cubicBezTo>
                  <a:pt x="193" y="197"/>
                  <a:pt x="193" y="197"/>
                  <a:pt x="193" y="197"/>
                </a:cubicBezTo>
                <a:cubicBezTo>
                  <a:pt x="194" y="198"/>
                  <a:pt x="194" y="198"/>
                  <a:pt x="194" y="198"/>
                </a:cubicBezTo>
                <a:cubicBezTo>
                  <a:pt x="195" y="198"/>
                  <a:pt x="195" y="198"/>
                  <a:pt x="195" y="198"/>
                </a:cubicBezTo>
                <a:cubicBezTo>
                  <a:pt x="195" y="198"/>
                  <a:pt x="195" y="198"/>
                  <a:pt x="195" y="198"/>
                </a:cubicBezTo>
                <a:cubicBezTo>
                  <a:pt x="195" y="199"/>
                  <a:pt x="195" y="199"/>
                  <a:pt x="195" y="199"/>
                </a:cubicBezTo>
                <a:cubicBezTo>
                  <a:pt x="195" y="201"/>
                  <a:pt x="195" y="201"/>
                  <a:pt x="195" y="201"/>
                </a:cubicBezTo>
                <a:cubicBezTo>
                  <a:pt x="194" y="202"/>
                  <a:pt x="194" y="202"/>
                  <a:pt x="194" y="202"/>
                </a:cubicBezTo>
                <a:cubicBezTo>
                  <a:pt x="193" y="202"/>
                  <a:pt x="193" y="202"/>
                  <a:pt x="193" y="202"/>
                </a:cubicBezTo>
                <a:cubicBezTo>
                  <a:pt x="192" y="202"/>
                  <a:pt x="192" y="202"/>
                  <a:pt x="192" y="202"/>
                </a:cubicBezTo>
                <a:cubicBezTo>
                  <a:pt x="191" y="202"/>
                  <a:pt x="191" y="202"/>
                  <a:pt x="191" y="202"/>
                </a:cubicBezTo>
                <a:cubicBezTo>
                  <a:pt x="189" y="202"/>
                  <a:pt x="189" y="202"/>
                  <a:pt x="189" y="202"/>
                </a:cubicBezTo>
                <a:cubicBezTo>
                  <a:pt x="189" y="201"/>
                  <a:pt x="189" y="201"/>
                  <a:pt x="189" y="201"/>
                </a:cubicBezTo>
                <a:cubicBezTo>
                  <a:pt x="188" y="202"/>
                  <a:pt x="188" y="202"/>
                  <a:pt x="188" y="202"/>
                </a:cubicBezTo>
                <a:cubicBezTo>
                  <a:pt x="188" y="202"/>
                  <a:pt x="188" y="202"/>
                  <a:pt x="188" y="202"/>
                </a:cubicBezTo>
                <a:cubicBezTo>
                  <a:pt x="189" y="202"/>
                  <a:pt x="189" y="202"/>
                  <a:pt x="189" y="202"/>
                </a:cubicBezTo>
                <a:cubicBezTo>
                  <a:pt x="191" y="202"/>
                  <a:pt x="191" y="202"/>
                  <a:pt x="191" y="202"/>
                </a:cubicBezTo>
                <a:cubicBezTo>
                  <a:pt x="192" y="203"/>
                  <a:pt x="192" y="203"/>
                  <a:pt x="192" y="203"/>
                </a:cubicBezTo>
                <a:cubicBezTo>
                  <a:pt x="193" y="204"/>
                  <a:pt x="193" y="204"/>
                  <a:pt x="193" y="204"/>
                </a:cubicBezTo>
                <a:cubicBezTo>
                  <a:pt x="192" y="204"/>
                  <a:pt x="192" y="204"/>
                  <a:pt x="192" y="204"/>
                </a:cubicBezTo>
                <a:cubicBezTo>
                  <a:pt x="193" y="203"/>
                  <a:pt x="193" y="203"/>
                  <a:pt x="193" y="203"/>
                </a:cubicBezTo>
                <a:cubicBezTo>
                  <a:pt x="194" y="203"/>
                  <a:pt x="194" y="203"/>
                  <a:pt x="194" y="203"/>
                </a:cubicBezTo>
                <a:cubicBezTo>
                  <a:pt x="196" y="203"/>
                  <a:pt x="196" y="203"/>
                  <a:pt x="196" y="203"/>
                </a:cubicBezTo>
                <a:cubicBezTo>
                  <a:pt x="197" y="203"/>
                  <a:pt x="197" y="203"/>
                  <a:pt x="197" y="203"/>
                </a:cubicBezTo>
                <a:cubicBezTo>
                  <a:pt x="197" y="204"/>
                  <a:pt x="197" y="204"/>
                  <a:pt x="197" y="204"/>
                </a:cubicBezTo>
                <a:cubicBezTo>
                  <a:pt x="199" y="205"/>
                  <a:pt x="199" y="205"/>
                  <a:pt x="199" y="205"/>
                </a:cubicBezTo>
                <a:cubicBezTo>
                  <a:pt x="199" y="206"/>
                  <a:pt x="199" y="206"/>
                  <a:pt x="199" y="206"/>
                </a:cubicBezTo>
                <a:cubicBezTo>
                  <a:pt x="199" y="206"/>
                  <a:pt x="199" y="206"/>
                  <a:pt x="199" y="206"/>
                </a:cubicBezTo>
                <a:cubicBezTo>
                  <a:pt x="200" y="206"/>
                  <a:pt x="200" y="206"/>
                  <a:pt x="200" y="206"/>
                </a:cubicBezTo>
                <a:cubicBezTo>
                  <a:pt x="200" y="207"/>
                  <a:pt x="200" y="207"/>
                  <a:pt x="200" y="207"/>
                </a:cubicBezTo>
                <a:cubicBezTo>
                  <a:pt x="201" y="207"/>
                  <a:pt x="201" y="207"/>
                  <a:pt x="201" y="207"/>
                </a:cubicBezTo>
                <a:cubicBezTo>
                  <a:pt x="202" y="208"/>
                  <a:pt x="202" y="208"/>
                  <a:pt x="202" y="208"/>
                </a:cubicBezTo>
                <a:cubicBezTo>
                  <a:pt x="202" y="208"/>
                  <a:pt x="202" y="208"/>
                  <a:pt x="202" y="208"/>
                </a:cubicBezTo>
                <a:cubicBezTo>
                  <a:pt x="203" y="209"/>
                  <a:pt x="203" y="209"/>
                  <a:pt x="203" y="209"/>
                </a:cubicBezTo>
                <a:cubicBezTo>
                  <a:pt x="203" y="209"/>
                  <a:pt x="203" y="209"/>
                  <a:pt x="203" y="209"/>
                </a:cubicBezTo>
                <a:cubicBezTo>
                  <a:pt x="204" y="209"/>
                  <a:pt x="204" y="209"/>
                  <a:pt x="204" y="209"/>
                </a:cubicBezTo>
                <a:cubicBezTo>
                  <a:pt x="204" y="210"/>
                  <a:pt x="204" y="210"/>
                  <a:pt x="204" y="210"/>
                </a:cubicBezTo>
                <a:cubicBezTo>
                  <a:pt x="205" y="210"/>
                  <a:pt x="205" y="210"/>
                  <a:pt x="205" y="210"/>
                </a:cubicBezTo>
                <a:cubicBezTo>
                  <a:pt x="205" y="211"/>
                  <a:pt x="205" y="211"/>
                  <a:pt x="205" y="211"/>
                </a:cubicBezTo>
                <a:cubicBezTo>
                  <a:pt x="204" y="212"/>
                  <a:pt x="204" y="212"/>
                  <a:pt x="204" y="212"/>
                </a:cubicBezTo>
                <a:cubicBezTo>
                  <a:pt x="203" y="212"/>
                  <a:pt x="203" y="212"/>
                  <a:pt x="203" y="212"/>
                </a:cubicBezTo>
                <a:cubicBezTo>
                  <a:pt x="203" y="213"/>
                  <a:pt x="203" y="213"/>
                  <a:pt x="203" y="213"/>
                </a:cubicBezTo>
                <a:cubicBezTo>
                  <a:pt x="203" y="214"/>
                  <a:pt x="203" y="214"/>
                  <a:pt x="203" y="214"/>
                </a:cubicBezTo>
                <a:cubicBezTo>
                  <a:pt x="203" y="214"/>
                  <a:pt x="203" y="214"/>
                  <a:pt x="203" y="214"/>
                </a:cubicBezTo>
                <a:cubicBezTo>
                  <a:pt x="203" y="213"/>
                  <a:pt x="203" y="213"/>
                  <a:pt x="203" y="213"/>
                </a:cubicBezTo>
                <a:cubicBezTo>
                  <a:pt x="204" y="212"/>
                  <a:pt x="204" y="212"/>
                  <a:pt x="204" y="212"/>
                </a:cubicBezTo>
                <a:cubicBezTo>
                  <a:pt x="205" y="212"/>
                  <a:pt x="205" y="212"/>
                  <a:pt x="205" y="212"/>
                </a:cubicBezTo>
                <a:cubicBezTo>
                  <a:pt x="205" y="212"/>
                  <a:pt x="205" y="212"/>
                  <a:pt x="205" y="212"/>
                </a:cubicBezTo>
                <a:cubicBezTo>
                  <a:pt x="205" y="213"/>
                  <a:pt x="205" y="213"/>
                  <a:pt x="205" y="213"/>
                </a:cubicBezTo>
                <a:cubicBezTo>
                  <a:pt x="205" y="214"/>
                  <a:pt x="205" y="214"/>
                  <a:pt x="205" y="214"/>
                </a:cubicBezTo>
                <a:cubicBezTo>
                  <a:pt x="205" y="214"/>
                  <a:pt x="205" y="214"/>
                  <a:pt x="205" y="214"/>
                </a:cubicBezTo>
                <a:cubicBezTo>
                  <a:pt x="205" y="213"/>
                  <a:pt x="205" y="213"/>
                  <a:pt x="205" y="213"/>
                </a:cubicBezTo>
                <a:cubicBezTo>
                  <a:pt x="206" y="213"/>
                  <a:pt x="206" y="213"/>
                  <a:pt x="206" y="213"/>
                </a:cubicBezTo>
                <a:cubicBezTo>
                  <a:pt x="207" y="213"/>
                  <a:pt x="207" y="213"/>
                  <a:pt x="207" y="213"/>
                </a:cubicBezTo>
                <a:cubicBezTo>
                  <a:pt x="207" y="213"/>
                  <a:pt x="207" y="213"/>
                  <a:pt x="207" y="213"/>
                </a:cubicBezTo>
                <a:cubicBezTo>
                  <a:pt x="207" y="214"/>
                  <a:pt x="207" y="214"/>
                  <a:pt x="207" y="214"/>
                </a:cubicBezTo>
                <a:cubicBezTo>
                  <a:pt x="206" y="215"/>
                  <a:pt x="206" y="215"/>
                  <a:pt x="206" y="215"/>
                </a:cubicBezTo>
                <a:cubicBezTo>
                  <a:pt x="205" y="215"/>
                  <a:pt x="205" y="215"/>
                  <a:pt x="205" y="215"/>
                </a:cubicBezTo>
                <a:cubicBezTo>
                  <a:pt x="205" y="216"/>
                  <a:pt x="205" y="216"/>
                  <a:pt x="205" y="216"/>
                </a:cubicBezTo>
                <a:cubicBezTo>
                  <a:pt x="205" y="217"/>
                  <a:pt x="205" y="217"/>
                  <a:pt x="205" y="217"/>
                </a:cubicBezTo>
                <a:cubicBezTo>
                  <a:pt x="205" y="217"/>
                  <a:pt x="205" y="217"/>
                  <a:pt x="205" y="217"/>
                </a:cubicBezTo>
                <a:cubicBezTo>
                  <a:pt x="205" y="218"/>
                  <a:pt x="205" y="218"/>
                  <a:pt x="205" y="218"/>
                </a:cubicBezTo>
                <a:cubicBezTo>
                  <a:pt x="205" y="219"/>
                  <a:pt x="205" y="219"/>
                  <a:pt x="205" y="219"/>
                </a:cubicBezTo>
                <a:cubicBezTo>
                  <a:pt x="205" y="220"/>
                  <a:pt x="205" y="220"/>
                  <a:pt x="205" y="220"/>
                </a:cubicBezTo>
                <a:cubicBezTo>
                  <a:pt x="205" y="220"/>
                  <a:pt x="205" y="220"/>
                  <a:pt x="205" y="220"/>
                </a:cubicBezTo>
                <a:cubicBezTo>
                  <a:pt x="205" y="218"/>
                  <a:pt x="205" y="218"/>
                  <a:pt x="205" y="218"/>
                </a:cubicBezTo>
                <a:cubicBezTo>
                  <a:pt x="206" y="217"/>
                  <a:pt x="206" y="217"/>
                  <a:pt x="206" y="217"/>
                </a:cubicBezTo>
                <a:cubicBezTo>
                  <a:pt x="207" y="216"/>
                  <a:pt x="207" y="216"/>
                  <a:pt x="207" y="216"/>
                </a:cubicBezTo>
                <a:cubicBezTo>
                  <a:pt x="208" y="216"/>
                  <a:pt x="208" y="216"/>
                  <a:pt x="208" y="216"/>
                </a:cubicBezTo>
                <a:cubicBezTo>
                  <a:pt x="208" y="217"/>
                  <a:pt x="208" y="217"/>
                  <a:pt x="208" y="217"/>
                </a:cubicBezTo>
                <a:cubicBezTo>
                  <a:pt x="207" y="218"/>
                  <a:pt x="207" y="218"/>
                  <a:pt x="207" y="218"/>
                </a:cubicBezTo>
                <a:cubicBezTo>
                  <a:pt x="207" y="219"/>
                  <a:pt x="207" y="219"/>
                  <a:pt x="207" y="219"/>
                </a:cubicBezTo>
                <a:cubicBezTo>
                  <a:pt x="207" y="219"/>
                  <a:pt x="207" y="219"/>
                  <a:pt x="207" y="219"/>
                </a:cubicBezTo>
                <a:cubicBezTo>
                  <a:pt x="207" y="219"/>
                  <a:pt x="207" y="219"/>
                  <a:pt x="207" y="219"/>
                </a:cubicBezTo>
                <a:cubicBezTo>
                  <a:pt x="208" y="219"/>
                  <a:pt x="208" y="219"/>
                  <a:pt x="208" y="219"/>
                </a:cubicBezTo>
                <a:cubicBezTo>
                  <a:pt x="208" y="221"/>
                  <a:pt x="208" y="221"/>
                  <a:pt x="208" y="221"/>
                </a:cubicBezTo>
                <a:cubicBezTo>
                  <a:pt x="207" y="221"/>
                  <a:pt x="207" y="221"/>
                  <a:pt x="207" y="221"/>
                </a:cubicBezTo>
                <a:cubicBezTo>
                  <a:pt x="206" y="221"/>
                  <a:pt x="206" y="221"/>
                  <a:pt x="206" y="221"/>
                </a:cubicBezTo>
                <a:cubicBezTo>
                  <a:pt x="206" y="222"/>
                  <a:pt x="206" y="222"/>
                  <a:pt x="206" y="222"/>
                </a:cubicBezTo>
                <a:cubicBezTo>
                  <a:pt x="206" y="222"/>
                  <a:pt x="206" y="222"/>
                  <a:pt x="206" y="222"/>
                </a:cubicBezTo>
                <a:cubicBezTo>
                  <a:pt x="207" y="222"/>
                  <a:pt x="207" y="222"/>
                  <a:pt x="207" y="222"/>
                </a:cubicBezTo>
                <a:cubicBezTo>
                  <a:pt x="207" y="222"/>
                  <a:pt x="207" y="222"/>
                  <a:pt x="207" y="222"/>
                </a:cubicBezTo>
                <a:cubicBezTo>
                  <a:pt x="207" y="223"/>
                  <a:pt x="207" y="223"/>
                  <a:pt x="207" y="223"/>
                </a:cubicBezTo>
                <a:cubicBezTo>
                  <a:pt x="207" y="223"/>
                  <a:pt x="207" y="223"/>
                  <a:pt x="207" y="223"/>
                </a:cubicBezTo>
                <a:cubicBezTo>
                  <a:pt x="207" y="224"/>
                  <a:pt x="207" y="224"/>
                  <a:pt x="207" y="224"/>
                </a:cubicBezTo>
                <a:cubicBezTo>
                  <a:pt x="208" y="224"/>
                  <a:pt x="208" y="224"/>
                  <a:pt x="208" y="224"/>
                </a:cubicBezTo>
                <a:cubicBezTo>
                  <a:pt x="208" y="225"/>
                  <a:pt x="208" y="225"/>
                  <a:pt x="208" y="225"/>
                </a:cubicBezTo>
                <a:cubicBezTo>
                  <a:pt x="207" y="226"/>
                  <a:pt x="207" y="226"/>
                  <a:pt x="207" y="226"/>
                </a:cubicBezTo>
                <a:cubicBezTo>
                  <a:pt x="207" y="227"/>
                  <a:pt x="207" y="227"/>
                  <a:pt x="207" y="227"/>
                </a:cubicBezTo>
                <a:cubicBezTo>
                  <a:pt x="207" y="229"/>
                  <a:pt x="207" y="229"/>
                  <a:pt x="207" y="229"/>
                </a:cubicBezTo>
                <a:cubicBezTo>
                  <a:pt x="207" y="229"/>
                  <a:pt x="207" y="229"/>
                  <a:pt x="207" y="229"/>
                </a:cubicBezTo>
                <a:cubicBezTo>
                  <a:pt x="207" y="230"/>
                  <a:pt x="207" y="230"/>
                  <a:pt x="207" y="230"/>
                </a:cubicBezTo>
                <a:cubicBezTo>
                  <a:pt x="207" y="231"/>
                  <a:pt x="207" y="231"/>
                  <a:pt x="207" y="231"/>
                </a:cubicBezTo>
                <a:cubicBezTo>
                  <a:pt x="206" y="231"/>
                  <a:pt x="206" y="231"/>
                  <a:pt x="206" y="231"/>
                </a:cubicBezTo>
                <a:cubicBezTo>
                  <a:pt x="206" y="231"/>
                  <a:pt x="206" y="231"/>
                  <a:pt x="206" y="231"/>
                </a:cubicBezTo>
                <a:cubicBezTo>
                  <a:pt x="205" y="230"/>
                  <a:pt x="205" y="230"/>
                  <a:pt x="205" y="230"/>
                </a:cubicBezTo>
                <a:cubicBezTo>
                  <a:pt x="206" y="230"/>
                  <a:pt x="206" y="230"/>
                  <a:pt x="206" y="230"/>
                </a:cubicBezTo>
                <a:cubicBezTo>
                  <a:pt x="205" y="229"/>
                  <a:pt x="205" y="229"/>
                  <a:pt x="205" y="229"/>
                </a:cubicBezTo>
                <a:cubicBezTo>
                  <a:pt x="205" y="229"/>
                  <a:pt x="205" y="229"/>
                  <a:pt x="205" y="229"/>
                </a:cubicBezTo>
                <a:cubicBezTo>
                  <a:pt x="204" y="229"/>
                  <a:pt x="204" y="229"/>
                  <a:pt x="204" y="229"/>
                </a:cubicBezTo>
                <a:cubicBezTo>
                  <a:pt x="204" y="230"/>
                  <a:pt x="204" y="230"/>
                  <a:pt x="204" y="230"/>
                </a:cubicBezTo>
                <a:cubicBezTo>
                  <a:pt x="203" y="229"/>
                  <a:pt x="203" y="229"/>
                  <a:pt x="203" y="229"/>
                </a:cubicBezTo>
                <a:cubicBezTo>
                  <a:pt x="203" y="228"/>
                  <a:pt x="203" y="228"/>
                  <a:pt x="203" y="228"/>
                </a:cubicBezTo>
                <a:cubicBezTo>
                  <a:pt x="204" y="227"/>
                  <a:pt x="204" y="227"/>
                  <a:pt x="204" y="227"/>
                </a:cubicBezTo>
                <a:cubicBezTo>
                  <a:pt x="203" y="226"/>
                  <a:pt x="203" y="226"/>
                  <a:pt x="203" y="226"/>
                </a:cubicBezTo>
                <a:cubicBezTo>
                  <a:pt x="203" y="225"/>
                  <a:pt x="203" y="225"/>
                  <a:pt x="203" y="225"/>
                </a:cubicBezTo>
                <a:cubicBezTo>
                  <a:pt x="203" y="225"/>
                  <a:pt x="203" y="225"/>
                  <a:pt x="203" y="225"/>
                </a:cubicBezTo>
                <a:cubicBezTo>
                  <a:pt x="203" y="224"/>
                  <a:pt x="203" y="224"/>
                  <a:pt x="203" y="224"/>
                </a:cubicBezTo>
                <a:cubicBezTo>
                  <a:pt x="203" y="224"/>
                  <a:pt x="203" y="224"/>
                  <a:pt x="203" y="224"/>
                </a:cubicBezTo>
                <a:cubicBezTo>
                  <a:pt x="202" y="225"/>
                  <a:pt x="202" y="225"/>
                  <a:pt x="202" y="225"/>
                </a:cubicBezTo>
                <a:cubicBezTo>
                  <a:pt x="202" y="226"/>
                  <a:pt x="202" y="226"/>
                  <a:pt x="202" y="226"/>
                </a:cubicBezTo>
                <a:cubicBezTo>
                  <a:pt x="202" y="227"/>
                  <a:pt x="202" y="227"/>
                  <a:pt x="202" y="227"/>
                </a:cubicBezTo>
                <a:cubicBezTo>
                  <a:pt x="202" y="229"/>
                  <a:pt x="202" y="229"/>
                  <a:pt x="202" y="229"/>
                </a:cubicBezTo>
                <a:cubicBezTo>
                  <a:pt x="202" y="230"/>
                  <a:pt x="202" y="230"/>
                  <a:pt x="202" y="230"/>
                </a:cubicBezTo>
                <a:cubicBezTo>
                  <a:pt x="202" y="230"/>
                  <a:pt x="202" y="230"/>
                  <a:pt x="202" y="230"/>
                </a:cubicBezTo>
                <a:cubicBezTo>
                  <a:pt x="201" y="230"/>
                  <a:pt x="201" y="230"/>
                  <a:pt x="201" y="230"/>
                </a:cubicBezTo>
                <a:cubicBezTo>
                  <a:pt x="200" y="230"/>
                  <a:pt x="200" y="230"/>
                  <a:pt x="200" y="230"/>
                </a:cubicBezTo>
                <a:cubicBezTo>
                  <a:pt x="199" y="230"/>
                  <a:pt x="199" y="230"/>
                  <a:pt x="199" y="230"/>
                </a:cubicBezTo>
                <a:cubicBezTo>
                  <a:pt x="199" y="230"/>
                  <a:pt x="199" y="230"/>
                  <a:pt x="199" y="230"/>
                </a:cubicBezTo>
                <a:cubicBezTo>
                  <a:pt x="197" y="229"/>
                  <a:pt x="197" y="229"/>
                  <a:pt x="197" y="229"/>
                </a:cubicBezTo>
                <a:cubicBezTo>
                  <a:pt x="196" y="227"/>
                  <a:pt x="196" y="227"/>
                  <a:pt x="196" y="227"/>
                </a:cubicBezTo>
                <a:cubicBezTo>
                  <a:pt x="195" y="226"/>
                  <a:pt x="195" y="226"/>
                  <a:pt x="195" y="226"/>
                </a:cubicBezTo>
                <a:cubicBezTo>
                  <a:pt x="195" y="225"/>
                  <a:pt x="195" y="225"/>
                  <a:pt x="195" y="225"/>
                </a:cubicBezTo>
                <a:cubicBezTo>
                  <a:pt x="195" y="223"/>
                  <a:pt x="195" y="223"/>
                  <a:pt x="195" y="223"/>
                </a:cubicBezTo>
                <a:cubicBezTo>
                  <a:pt x="194" y="222"/>
                  <a:pt x="194" y="222"/>
                  <a:pt x="194" y="222"/>
                </a:cubicBezTo>
                <a:cubicBezTo>
                  <a:pt x="193" y="221"/>
                  <a:pt x="193" y="221"/>
                  <a:pt x="193" y="221"/>
                </a:cubicBezTo>
                <a:cubicBezTo>
                  <a:pt x="193" y="220"/>
                  <a:pt x="193" y="220"/>
                  <a:pt x="193" y="220"/>
                </a:cubicBezTo>
                <a:cubicBezTo>
                  <a:pt x="193" y="219"/>
                  <a:pt x="193" y="219"/>
                  <a:pt x="193" y="219"/>
                </a:cubicBezTo>
                <a:cubicBezTo>
                  <a:pt x="194" y="218"/>
                  <a:pt x="194" y="218"/>
                  <a:pt x="194" y="218"/>
                </a:cubicBezTo>
                <a:cubicBezTo>
                  <a:pt x="193" y="217"/>
                  <a:pt x="193" y="217"/>
                  <a:pt x="193" y="217"/>
                </a:cubicBezTo>
                <a:cubicBezTo>
                  <a:pt x="193" y="217"/>
                  <a:pt x="193" y="217"/>
                  <a:pt x="193" y="217"/>
                </a:cubicBezTo>
                <a:cubicBezTo>
                  <a:pt x="192" y="217"/>
                  <a:pt x="192" y="217"/>
                  <a:pt x="192" y="217"/>
                </a:cubicBezTo>
                <a:cubicBezTo>
                  <a:pt x="191" y="218"/>
                  <a:pt x="191" y="218"/>
                  <a:pt x="191" y="218"/>
                </a:cubicBezTo>
                <a:cubicBezTo>
                  <a:pt x="191" y="217"/>
                  <a:pt x="191" y="217"/>
                  <a:pt x="191" y="217"/>
                </a:cubicBezTo>
                <a:cubicBezTo>
                  <a:pt x="189" y="215"/>
                  <a:pt x="189" y="215"/>
                  <a:pt x="189" y="215"/>
                </a:cubicBezTo>
                <a:cubicBezTo>
                  <a:pt x="188" y="214"/>
                  <a:pt x="188" y="214"/>
                  <a:pt x="188" y="214"/>
                </a:cubicBezTo>
                <a:cubicBezTo>
                  <a:pt x="188" y="213"/>
                  <a:pt x="188" y="213"/>
                  <a:pt x="188" y="213"/>
                </a:cubicBezTo>
                <a:cubicBezTo>
                  <a:pt x="187" y="214"/>
                  <a:pt x="187" y="214"/>
                  <a:pt x="187" y="214"/>
                </a:cubicBezTo>
                <a:cubicBezTo>
                  <a:pt x="186" y="214"/>
                  <a:pt x="186" y="214"/>
                  <a:pt x="186" y="214"/>
                </a:cubicBezTo>
                <a:cubicBezTo>
                  <a:pt x="185" y="213"/>
                  <a:pt x="185" y="213"/>
                  <a:pt x="185" y="213"/>
                </a:cubicBezTo>
                <a:cubicBezTo>
                  <a:pt x="185" y="214"/>
                  <a:pt x="185" y="214"/>
                  <a:pt x="185" y="214"/>
                </a:cubicBezTo>
                <a:cubicBezTo>
                  <a:pt x="184" y="214"/>
                  <a:pt x="184" y="214"/>
                  <a:pt x="184" y="214"/>
                </a:cubicBezTo>
                <a:cubicBezTo>
                  <a:pt x="183" y="214"/>
                  <a:pt x="183" y="214"/>
                  <a:pt x="183" y="214"/>
                </a:cubicBezTo>
                <a:cubicBezTo>
                  <a:pt x="182" y="213"/>
                  <a:pt x="182" y="213"/>
                  <a:pt x="182" y="213"/>
                </a:cubicBezTo>
                <a:cubicBezTo>
                  <a:pt x="182" y="212"/>
                  <a:pt x="182" y="212"/>
                  <a:pt x="182" y="212"/>
                </a:cubicBezTo>
                <a:cubicBezTo>
                  <a:pt x="181" y="211"/>
                  <a:pt x="181" y="211"/>
                  <a:pt x="181" y="211"/>
                </a:cubicBezTo>
                <a:cubicBezTo>
                  <a:pt x="181" y="210"/>
                  <a:pt x="181" y="210"/>
                  <a:pt x="181" y="210"/>
                </a:cubicBezTo>
                <a:cubicBezTo>
                  <a:pt x="180" y="210"/>
                  <a:pt x="180" y="210"/>
                  <a:pt x="180" y="210"/>
                </a:cubicBezTo>
                <a:cubicBezTo>
                  <a:pt x="180" y="208"/>
                  <a:pt x="180" y="208"/>
                  <a:pt x="180" y="208"/>
                </a:cubicBezTo>
                <a:cubicBezTo>
                  <a:pt x="179" y="207"/>
                  <a:pt x="179" y="207"/>
                  <a:pt x="179" y="207"/>
                </a:cubicBezTo>
                <a:cubicBezTo>
                  <a:pt x="179" y="208"/>
                  <a:pt x="179" y="208"/>
                  <a:pt x="179" y="208"/>
                </a:cubicBezTo>
                <a:cubicBezTo>
                  <a:pt x="179" y="209"/>
                  <a:pt x="179" y="209"/>
                  <a:pt x="179" y="209"/>
                </a:cubicBezTo>
                <a:cubicBezTo>
                  <a:pt x="179" y="210"/>
                  <a:pt x="179" y="210"/>
                  <a:pt x="179" y="210"/>
                </a:cubicBezTo>
                <a:cubicBezTo>
                  <a:pt x="178" y="210"/>
                  <a:pt x="178" y="210"/>
                  <a:pt x="178" y="210"/>
                </a:cubicBezTo>
                <a:cubicBezTo>
                  <a:pt x="178" y="211"/>
                  <a:pt x="178" y="211"/>
                  <a:pt x="178" y="211"/>
                </a:cubicBezTo>
                <a:cubicBezTo>
                  <a:pt x="179" y="211"/>
                  <a:pt x="179" y="211"/>
                  <a:pt x="179" y="211"/>
                </a:cubicBezTo>
                <a:cubicBezTo>
                  <a:pt x="179" y="211"/>
                  <a:pt x="179" y="211"/>
                  <a:pt x="179" y="211"/>
                </a:cubicBezTo>
                <a:cubicBezTo>
                  <a:pt x="180" y="212"/>
                  <a:pt x="180" y="212"/>
                  <a:pt x="180" y="212"/>
                </a:cubicBezTo>
                <a:cubicBezTo>
                  <a:pt x="181" y="213"/>
                  <a:pt x="181" y="213"/>
                  <a:pt x="181" y="213"/>
                </a:cubicBezTo>
                <a:cubicBezTo>
                  <a:pt x="180" y="214"/>
                  <a:pt x="180" y="214"/>
                  <a:pt x="180" y="214"/>
                </a:cubicBezTo>
                <a:cubicBezTo>
                  <a:pt x="179" y="214"/>
                  <a:pt x="179" y="214"/>
                  <a:pt x="179" y="214"/>
                </a:cubicBezTo>
                <a:cubicBezTo>
                  <a:pt x="179" y="214"/>
                  <a:pt x="179" y="214"/>
                  <a:pt x="179" y="214"/>
                </a:cubicBezTo>
                <a:cubicBezTo>
                  <a:pt x="178" y="215"/>
                  <a:pt x="178" y="215"/>
                  <a:pt x="178" y="215"/>
                </a:cubicBezTo>
                <a:cubicBezTo>
                  <a:pt x="177" y="214"/>
                  <a:pt x="177" y="214"/>
                  <a:pt x="177" y="214"/>
                </a:cubicBezTo>
                <a:cubicBezTo>
                  <a:pt x="177" y="215"/>
                  <a:pt x="177" y="215"/>
                  <a:pt x="177" y="215"/>
                </a:cubicBezTo>
                <a:cubicBezTo>
                  <a:pt x="178" y="215"/>
                  <a:pt x="178" y="215"/>
                  <a:pt x="178" y="215"/>
                </a:cubicBezTo>
                <a:cubicBezTo>
                  <a:pt x="179" y="215"/>
                  <a:pt x="179" y="215"/>
                  <a:pt x="179" y="215"/>
                </a:cubicBezTo>
                <a:cubicBezTo>
                  <a:pt x="180" y="214"/>
                  <a:pt x="180" y="214"/>
                  <a:pt x="180" y="214"/>
                </a:cubicBezTo>
                <a:cubicBezTo>
                  <a:pt x="181" y="214"/>
                  <a:pt x="181" y="214"/>
                  <a:pt x="181" y="214"/>
                </a:cubicBezTo>
                <a:cubicBezTo>
                  <a:pt x="182" y="214"/>
                  <a:pt x="182" y="214"/>
                  <a:pt x="182" y="214"/>
                </a:cubicBezTo>
                <a:cubicBezTo>
                  <a:pt x="182" y="214"/>
                  <a:pt x="182" y="214"/>
                  <a:pt x="182" y="214"/>
                </a:cubicBezTo>
                <a:cubicBezTo>
                  <a:pt x="182" y="215"/>
                  <a:pt x="182" y="215"/>
                  <a:pt x="182" y="215"/>
                </a:cubicBezTo>
                <a:cubicBezTo>
                  <a:pt x="183" y="215"/>
                  <a:pt x="183" y="215"/>
                  <a:pt x="183" y="215"/>
                </a:cubicBezTo>
                <a:cubicBezTo>
                  <a:pt x="184" y="215"/>
                  <a:pt x="184" y="215"/>
                  <a:pt x="184" y="215"/>
                </a:cubicBezTo>
                <a:cubicBezTo>
                  <a:pt x="184" y="215"/>
                  <a:pt x="184" y="215"/>
                  <a:pt x="184" y="215"/>
                </a:cubicBezTo>
                <a:cubicBezTo>
                  <a:pt x="187" y="216"/>
                  <a:pt x="187" y="216"/>
                  <a:pt x="187" y="216"/>
                </a:cubicBezTo>
                <a:cubicBezTo>
                  <a:pt x="188" y="216"/>
                  <a:pt x="188" y="216"/>
                  <a:pt x="188" y="216"/>
                </a:cubicBezTo>
                <a:cubicBezTo>
                  <a:pt x="189" y="216"/>
                  <a:pt x="189" y="216"/>
                  <a:pt x="189" y="216"/>
                </a:cubicBezTo>
                <a:cubicBezTo>
                  <a:pt x="189" y="217"/>
                  <a:pt x="189" y="217"/>
                  <a:pt x="189" y="217"/>
                </a:cubicBezTo>
                <a:cubicBezTo>
                  <a:pt x="190" y="218"/>
                  <a:pt x="190" y="218"/>
                  <a:pt x="190" y="218"/>
                </a:cubicBezTo>
                <a:cubicBezTo>
                  <a:pt x="189" y="219"/>
                  <a:pt x="189" y="219"/>
                  <a:pt x="189" y="219"/>
                </a:cubicBezTo>
                <a:cubicBezTo>
                  <a:pt x="188" y="220"/>
                  <a:pt x="188" y="220"/>
                  <a:pt x="188" y="220"/>
                </a:cubicBezTo>
                <a:cubicBezTo>
                  <a:pt x="188" y="221"/>
                  <a:pt x="188" y="221"/>
                  <a:pt x="188" y="221"/>
                </a:cubicBezTo>
                <a:cubicBezTo>
                  <a:pt x="187" y="221"/>
                  <a:pt x="187" y="221"/>
                  <a:pt x="187" y="221"/>
                </a:cubicBezTo>
                <a:cubicBezTo>
                  <a:pt x="186" y="221"/>
                  <a:pt x="186" y="221"/>
                  <a:pt x="186" y="221"/>
                </a:cubicBezTo>
                <a:cubicBezTo>
                  <a:pt x="183" y="222"/>
                  <a:pt x="183" y="222"/>
                  <a:pt x="183" y="222"/>
                </a:cubicBezTo>
                <a:cubicBezTo>
                  <a:pt x="182" y="222"/>
                  <a:pt x="182" y="222"/>
                  <a:pt x="182" y="222"/>
                </a:cubicBezTo>
                <a:cubicBezTo>
                  <a:pt x="180" y="223"/>
                  <a:pt x="180" y="223"/>
                  <a:pt x="180" y="223"/>
                </a:cubicBezTo>
                <a:cubicBezTo>
                  <a:pt x="180" y="222"/>
                  <a:pt x="180" y="222"/>
                  <a:pt x="180" y="222"/>
                </a:cubicBezTo>
                <a:cubicBezTo>
                  <a:pt x="179" y="221"/>
                  <a:pt x="179" y="221"/>
                  <a:pt x="179" y="221"/>
                </a:cubicBezTo>
                <a:cubicBezTo>
                  <a:pt x="179" y="220"/>
                  <a:pt x="179" y="220"/>
                  <a:pt x="179" y="220"/>
                </a:cubicBezTo>
                <a:cubicBezTo>
                  <a:pt x="179" y="220"/>
                  <a:pt x="179" y="220"/>
                  <a:pt x="179" y="220"/>
                </a:cubicBezTo>
                <a:cubicBezTo>
                  <a:pt x="178" y="220"/>
                  <a:pt x="178" y="220"/>
                  <a:pt x="178" y="220"/>
                </a:cubicBezTo>
                <a:cubicBezTo>
                  <a:pt x="178" y="221"/>
                  <a:pt x="178" y="221"/>
                  <a:pt x="178" y="221"/>
                </a:cubicBezTo>
                <a:cubicBezTo>
                  <a:pt x="178" y="221"/>
                  <a:pt x="178" y="221"/>
                  <a:pt x="178" y="221"/>
                </a:cubicBezTo>
                <a:cubicBezTo>
                  <a:pt x="178" y="222"/>
                  <a:pt x="178" y="222"/>
                  <a:pt x="178" y="222"/>
                </a:cubicBezTo>
                <a:cubicBezTo>
                  <a:pt x="178" y="222"/>
                  <a:pt x="178" y="222"/>
                  <a:pt x="178" y="222"/>
                </a:cubicBezTo>
                <a:cubicBezTo>
                  <a:pt x="177" y="222"/>
                  <a:pt x="177" y="222"/>
                  <a:pt x="177" y="222"/>
                </a:cubicBezTo>
                <a:cubicBezTo>
                  <a:pt x="177" y="222"/>
                  <a:pt x="177" y="222"/>
                  <a:pt x="177" y="222"/>
                </a:cubicBezTo>
                <a:cubicBezTo>
                  <a:pt x="177" y="222"/>
                  <a:pt x="177" y="222"/>
                  <a:pt x="177" y="222"/>
                </a:cubicBezTo>
                <a:cubicBezTo>
                  <a:pt x="176" y="222"/>
                  <a:pt x="176" y="222"/>
                  <a:pt x="176" y="222"/>
                </a:cubicBezTo>
                <a:cubicBezTo>
                  <a:pt x="176" y="223"/>
                  <a:pt x="176" y="223"/>
                  <a:pt x="176" y="223"/>
                </a:cubicBezTo>
                <a:cubicBezTo>
                  <a:pt x="177" y="223"/>
                  <a:pt x="177" y="223"/>
                  <a:pt x="177" y="223"/>
                </a:cubicBezTo>
                <a:cubicBezTo>
                  <a:pt x="177" y="223"/>
                  <a:pt x="177" y="223"/>
                  <a:pt x="177" y="223"/>
                </a:cubicBezTo>
                <a:cubicBezTo>
                  <a:pt x="178" y="224"/>
                  <a:pt x="178" y="224"/>
                  <a:pt x="178" y="224"/>
                </a:cubicBezTo>
                <a:cubicBezTo>
                  <a:pt x="177" y="225"/>
                  <a:pt x="177" y="225"/>
                  <a:pt x="177" y="225"/>
                </a:cubicBezTo>
                <a:cubicBezTo>
                  <a:pt x="177" y="225"/>
                  <a:pt x="177" y="225"/>
                  <a:pt x="177" y="225"/>
                </a:cubicBezTo>
                <a:cubicBezTo>
                  <a:pt x="176" y="225"/>
                  <a:pt x="176" y="225"/>
                  <a:pt x="176" y="225"/>
                </a:cubicBezTo>
                <a:cubicBezTo>
                  <a:pt x="176" y="226"/>
                  <a:pt x="176" y="226"/>
                  <a:pt x="176" y="226"/>
                </a:cubicBezTo>
                <a:cubicBezTo>
                  <a:pt x="175" y="226"/>
                  <a:pt x="175" y="226"/>
                  <a:pt x="175" y="226"/>
                </a:cubicBezTo>
                <a:cubicBezTo>
                  <a:pt x="175" y="227"/>
                  <a:pt x="175" y="227"/>
                  <a:pt x="175" y="227"/>
                </a:cubicBezTo>
                <a:cubicBezTo>
                  <a:pt x="173" y="228"/>
                  <a:pt x="173" y="228"/>
                  <a:pt x="173" y="228"/>
                </a:cubicBezTo>
                <a:cubicBezTo>
                  <a:pt x="171" y="228"/>
                  <a:pt x="171" y="228"/>
                  <a:pt x="171" y="228"/>
                </a:cubicBezTo>
                <a:cubicBezTo>
                  <a:pt x="171" y="228"/>
                  <a:pt x="171" y="228"/>
                  <a:pt x="171" y="228"/>
                </a:cubicBezTo>
                <a:cubicBezTo>
                  <a:pt x="170" y="229"/>
                  <a:pt x="170" y="229"/>
                  <a:pt x="170" y="229"/>
                </a:cubicBezTo>
                <a:cubicBezTo>
                  <a:pt x="169" y="229"/>
                  <a:pt x="169" y="229"/>
                  <a:pt x="169" y="229"/>
                </a:cubicBezTo>
                <a:cubicBezTo>
                  <a:pt x="170" y="230"/>
                  <a:pt x="170" y="230"/>
                  <a:pt x="170" y="230"/>
                </a:cubicBezTo>
                <a:cubicBezTo>
                  <a:pt x="172" y="229"/>
                  <a:pt x="172" y="229"/>
                  <a:pt x="172" y="229"/>
                </a:cubicBezTo>
                <a:cubicBezTo>
                  <a:pt x="173" y="229"/>
                  <a:pt x="173" y="229"/>
                  <a:pt x="173" y="229"/>
                </a:cubicBezTo>
                <a:cubicBezTo>
                  <a:pt x="174" y="228"/>
                  <a:pt x="174" y="228"/>
                  <a:pt x="174" y="228"/>
                </a:cubicBezTo>
                <a:cubicBezTo>
                  <a:pt x="175" y="229"/>
                  <a:pt x="175" y="229"/>
                  <a:pt x="175" y="229"/>
                </a:cubicBezTo>
                <a:cubicBezTo>
                  <a:pt x="175" y="229"/>
                  <a:pt x="175" y="229"/>
                  <a:pt x="175" y="229"/>
                </a:cubicBezTo>
                <a:cubicBezTo>
                  <a:pt x="176" y="230"/>
                  <a:pt x="176" y="230"/>
                  <a:pt x="176" y="230"/>
                </a:cubicBezTo>
                <a:cubicBezTo>
                  <a:pt x="178" y="230"/>
                  <a:pt x="178" y="230"/>
                  <a:pt x="178" y="230"/>
                </a:cubicBezTo>
                <a:cubicBezTo>
                  <a:pt x="179" y="229"/>
                  <a:pt x="179" y="229"/>
                  <a:pt x="179" y="229"/>
                </a:cubicBezTo>
                <a:cubicBezTo>
                  <a:pt x="181" y="229"/>
                  <a:pt x="181" y="229"/>
                  <a:pt x="181" y="229"/>
                </a:cubicBezTo>
                <a:cubicBezTo>
                  <a:pt x="181" y="230"/>
                  <a:pt x="181" y="230"/>
                  <a:pt x="181" y="230"/>
                </a:cubicBezTo>
                <a:cubicBezTo>
                  <a:pt x="183" y="229"/>
                  <a:pt x="183" y="229"/>
                  <a:pt x="183" y="229"/>
                </a:cubicBezTo>
                <a:cubicBezTo>
                  <a:pt x="183" y="229"/>
                  <a:pt x="183" y="229"/>
                  <a:pt x="183" y="229"/>
                </a:cubicBezTo>
                <a:cubicBezTo>
                  <a:pt x="183" y="230"/>
                  <a:pt x="183" y="230"/>
                  <a:pt x="183" y="230"/>
                </a:cubicBezTo>
                <a:cubicBezTo>
                  <a:pt x="184" y="230"/>
                  <a:pt x="184" y="230"/>
                  <a:pt x="184" y="230"/>
                </a:cubicBezTo>
                <a:cubicBezTo>
                  <a:pt x="184" y="231"/>
                  <a:pt x="184" y="231"/>
                  <a:pt x="184" y="231"/>
                </a:cubicBezTo>
                <a:cubicBezTo>
                  <a:pt x="184" y="231"/>
                  <a:pt x="184" y="231"/>
                  <a:pt x="184" y="231"/>
                </a:cubicBezTo>
                <a:cubicBezTo>
                  <a:pt x="183" y="231"/>
                  <a:pt x="183" y="231"/>
                  <a:pt x="183" y="231"/>
                </a:cubicBezTo>
                <a:cubicBezTo>
                  <a:pt x="182" y="231"/>
                  <a:pt x="182" y="231"/>
                  <a:pt x="182" y="231"/>
                </a:cubicBezTo>
                <a:cubicBezTo>
                  <a:pt x="181" y="231"/>
                  <a:pt x="181" y="231"/>
                  <a:pt x="181" y="231"/>
                </a:cubicBezTo>
                <a:cubicBezTo>
                  <a:pt x="180" y="232"/>
                  <a:pt x="180" y="232"/>
                  <a:pt x="180" y="232"/>
                </a:cubicBezTo>
                <a:cubicBezTo>
                  <a:pt x="178" y="232"/>
                  <a:pt x="178" y="232"/>
                  <a:pt x="178" y="232"/>
                </a:cubicBezTo>
                <a:cubicBezTo>
                  <a:pt x="177" y="233"/>
                  <a:pt x="177" y="233"/>
                  <a:pt x="177" y="233"/>
                </a:cubicBezTo>
                <a:cubicBezTo>
                  <a:pt x="177" y="232"/>
                  <a:pt x="177" y="232"/>
                  <a:pt x="177" y="232"/>
                </a:cubicBezTo>
                <a:cubicBezTo>
                  <a:pt x="176" y="232"/>
                  <a:pt x="176" y="232"/>
                  <a:pt x="176" y="232"/>
                </a:cubicBezTo>
                <a:cubicBezTo>
                  <a:pt x="175" y="232"/>
                  <a:pt x="175" y="232"/>
                  <a:pt x="175" y="232"/>
                </a:cubicBezTo>
                <a:cubicBezTo>
                  <a:pt x="174" y="233"/>
                  <a:pt x="174" y="233"/>
                  <a:pt x="174" y="233"/>
                </a:cubicBezTo>
                <a:cubicBezTo>
                  <a:pt x="175" y="233"/>
                  <a:pt x="175" y="233"/>
                  <a:pt x="175" y="233"/>
                </a:cubicBezTo>
                <a:cubicBezTo>
                  <a:pt x="175" y="233"/>
                  <a:pt x="175" y="233"/>
                  <a:pt x="175" y="233"/>
                </a:cubicBezTo>
                <a:cubicBezTo>
                  <a:pt x="176" y="233"/>
                  <a:pt x="176" y="233"/>
                  <a:pt x="176" y="233"/>
                </a:cubicBezTo>
                <a:cubicBezTo>
                  <a:pt x="178" y="233"/>
                  <a:pt x="178" y="233"/>
                  <a:pt x="178" y="233"/>
                </a:cubicBezTo>
                <a:cubicBezTo>
                  <a:pt x="179" y="234"/>
                  <a:pt x="179" y="234"/>
                  <a:pt x="179" y="234"/>
                </a:cubicBezTo>
                <a:cubicBezTo>
                  <a:pt x="179" y="234"/>
                  <a:pt x="179" y="234"/>
                  <a:pt x="179" y="234"/>
                </a:cubicBezTo>
                <a:cubicBezTo>
                  <a:pt x="180" y="234"/>
                  <a:pt x="180" y="234"/>
                  <a:pt x="180" y="234"/>
                </a:cubicBezTo>
                <a:cubicBezTo>
                  <a:pt x="181" y="232"/>
                  <a:pt x="181" y="232"/>
                  <a:pt x="181" y="232"/>
                </a:cubicBezTo>
                <a:cubicBezTo>
                  <a:pt x="181" y="232"/>
                  <a:pt x="182" y="232"/>
                  <a:pt x="182" y="232"/>
                </a:cubicBezTo>
                <a:cubicBezTo>
                  <a:pt x="182" y="232"/>
                  <a:pt x="183" y="232"/>
                  <a:pt x="183" y="232"/>
                </a:cubicBezTo>
                <a:cubicBezTo>
                  <a:pt x="183" y="232"/>
                  <a:pt x="183" y="232"/>
                  <a:pt x="183" y="232"/>
                </a:cubicBezTo>
                <a:cubicBezTo>
                  <a:pt x="184" y="233"/>
                  <a:pt x="184" y="233"/>
                  <a:pt x="184" y="233"/>
                </a:cubicBezTo>
                <a:cubicBezTo>
                  <a:pt x="185" y="232"/>
                  <a:pt x="185" y="232"/>
                  <a:pt x="185" y="232"/>
                </a:cubicBezTo>
                <a:cubicBezTo>
                  <a:pt x="186" y="232"/>
                  <a:pt x="186" y="232"/>
                  <a:pt x="186" y="232"/>
                </a:cubicBezTo>
                <a:cubicBezTo>
                  <a:pt x="187" y="232"/>
                  <a:pt x="187" y="232"/>
                  <a:pt x="187" y="232"/>
                </a:cubicBezTo>
                <a:cubicBezTo>
                  <a:pt x="189" y="231"/>
                  <a:pt x="189" y="231"/>
                  <a:pt x="189" y="231"/>
                </a:cubicBezTo>
                <a:cubicBezTo>
                  <a:pt x="190" y="230"/>
                  <a:pt x="190" y="230"/>
                  <a:pt x="190" y="230"/>
                </a:cubicBezTo>
                <a:cubicBezTo>
                  <a:pt x="190" y="230"/>
                  <a:pt x="190" y="230"/>
                  <a:pt x="190" y="230"/>
                </a:cubicBezTo>
                <a:cubicBezTo>
                  <a:pt x="189" y="231"/>
                  <a:pt x="189" y="231"/>
                  <a:pt x="189" y="231"/>
                </a:cubicBezTo>
                <a:cubicBezTo>
                  <a:pt x="190" y="231"/>
                  <a:pt x="190" y="231"/>
                  <a:pt x="190" y="231"/>
                </a:cubicBezTo>
                <a:cubicBezTo>
                  <a:pt x="191" y="230"/>
                  <a:pt x="191" y="230"/>
                  <a:pt x="191" y="230"/>
                </a:cubicBezTo>
                <a:cubicBezTo>
                  <a:pt x="191" y="230"/>
                  <a:pt x="191" y="230"/>
                  <a:pt x="191" y="230"/>
                </a:cubicBezTo>
                <a:cubicBezTo>
                  <a:pt x="191" y="231"/>
                  <a:pt x="191" y="231"/>
                  <a:pt x="191" y="231"/>
                </a:cubicBezTo>
                <a:cubicBezTo>
                  <a:pt x="193" y="232"/>
                  <a:pt x="193" y="232"/>
                  <a:pt x="193" y="232"/>
                </a:cubicBezTo>
                <a:cubicBezTo>
                  <a:pt x="195" y="233"/>
                  <a:pt x="195" y="233"/>
                  <a:pt x="195" y="233"/>
                </a:cubicBezTo>
                <a:cubicBezTo>
                  <a:pt x="196" y="233"/>
                  <a:pt x="196" y="233"/>
                  <a:pt x="196" y="233"/>
                </a:cubicBezTo>
                <a:cubicBezTo>
                  <a:pt x="198" y="234"/>
                  <a:pt x="198" y="234"/>
                  <a:pt x="198" y="234"/>
                </a:cubicBezTo>
                <a:cubicBezTo>
                  <a:pt x="199" y="234"/>
                  <a:pt x="199" y="234"/>
                  <a:pt x="199" y="234"/>
                </a:cubicBezTo>
                <a:cubicBezTo>
                  <a:pt x="200" y="234"/>
                  <a:pt x="200" y="234"/>
                  <a:pt x="200" y="234"/>
                </a:cubicBezTo>
                <a:cubicBezTo>
                  <a:pt x="201" y="234"/>
                  <a:pt x="201" y="234"/>
                  <a:pt x="201" y="234"/>
                </a:cubicBezTo>
                <a:cubicBezTo>
                  <a:pt x="202" y="234"/>
                  <a:pt x="202" y="234"/>
                  <a:pt x="202" y="234"/>
                </a:cubicBezTo>
                <a:cubicBezTo>
                  <a:pt x="204" y="233"/>
                  <a:pt x="204" y="233"/>
                  <a:pt x="204" y="233"/>
                </a:cubicBezTo>
                <a:cubicBezTo>
                  <a:pt x="204" y="234"/>
                  <a:pt x="204" y="234"/>
                  <a:pt x="204" y="234"/>
                </a:cubicBezTo>
                <a:cubicBezTo>
                  <a:pt x="203" y="235"/>
                  <a:pt x="203" y="235"/>
                  <a:pt x="203" y="235"/>
                </a:cubicBezTo>
                <a:cubicBezTo>
                  <a:pt x="202" y="236"/>
                  <a:pt x="202" y="236"/>
                  <a:pt x="202" y="236"/>
                </a:cubicBezTo>
                <a:cubicBezTo>
                  <a:pt x="201" y="236"/>
                  <a:pt x="201" y="236"/>
                  <a:pt x="201" y="236"/>
                </a:cubicBezTo>
                <a:cubicBezTo>
                  <a:pt x="200" y="236"/>
                  <a:pt x="200" y="236"/>
                  <a:pt x="200" y="236"/>
                </a:cubicBezTo>
                <a:cubicBezTo>
                  <a:pt x="199" y="236"/>
                  <a:pt x="199" y="236"/>
                  <a:pt x="199" y="236"/>
                </a:cubicBezTo>
                <a:cubicBezTo>
                  <a:pt x="199" y="237"/>
                  <a:pt x="199" y="237"/>
                  <a:pt x="199" y="237"/>
                </a:cubicBezTo>
                <a:cubicBezTo>
                  <a:pt x="200" y="237"/>
                  <a:pt x="200" y="237"/>
                  <a:pt x="200" y="237"/>
                </a:cubicBezTo>
                <a:cubicBezTo>
                  <a:pt x="200" y="238"/>
                  <a:pt x="200" y="238"/>
                  <a:pt x="200" y="238"/>
                </a:cubicBezTo>
                <a:cubicBezTo>
                  <a:pt x="200" y="238"/>
                  <a:pt x="200" y="238"/>
                  <a:pt x="200" y="238"/>
                </a:cubicBezTo>
                <a:cubicBezTo>
                  <a:pt x="199" y="238"/>
                  <a:pt x="199" y="238"/>
                  <a:pt x="199" y="238"/>
                </a:cubicBezTo>
                <a:cubicBezTo>
                  <a:pt x="199" y="238"/>
                  <a:pt x="199" y="238"/>
                  <a:pt x="199" y="238"/>
                </a:cubicBezTo>
                <a:cubicBezTo>
                  <a:pt x="198" y="237"/>
                  <a:pt x="198" y="237"/>
                  <a:pt x="198" y="237"/>
                </a:cubicBezTo>
                <a:cubicBezTo>
                  <a:pt x="198" y="238"/>
                  <a:pt x="198" y="238"/>
                  <a:pt x="198" y="238"/>
                </a:cubicBezTo>
                <a:cubicBezTo>
                  <a:pt x="198" y="239"/>
                  <a:pt x="198" y="239"/>
                  <a:pt x="198" y="239"/>
                </a:cubicBezTo>
                <a:cubicBezTo>
                  <a:pt x="197" y="238"/>
                  <a:pt x="197" y="238"/>
                  <a:pt x="197" y="238"/>
                </a:cubicBezTo>
                <a:cubicBezTo>
                  <a:pt x="196" y="238"/>
                  <a:pt x="196" y="238"/>
                  <a:pt x="196" y="238"/>
                </a:cubicBezTo>
                <a:cubicBezTo>
                  <a:pt x="196" y="239"/>
                  <a:pt x="196" y="239"/>
                  <a:pt x="196" y="239"/>
                </a:cubicBezTo>
                <a:cubicBezTo>
                  <a:pt x="196" y="239"/>
                  <a:pt x="196" y="239"/>
                  <a:pt x="196" y="239"/>
                </a:cubicBezTo>
                <a:cubicBezTo>
                  <a:pt x="196" y="239"/>
                  <a:pt x="196" y="239"/>
                  <a:pt x="196" y="239"/>
                </a:cubicBezTo>
                <a:cubicBezTo>
                  <a:pt x="196" y="240"/>
                  <a:pt x="196" y="240"/>
                  <a:pt x="196" y="240"/>
                </a:cubicBezTo>
                <a:cubicBezTo>
                  <a:pt x="195" y="241"/>
                  <a:pt x="195" y="241"/>
                  <a:pt x="195" y="241"/>
                </a:cubicBezTo>
                <a:cubicBezTo>
                  <a:pt x="195" y="241"/>
                  <a:pt x="195" y="241"/>
                  <a:pt x="195" y="241"/>
                </a:cubicBezTo>
                <a:cubicBezTo>
                  <a:pt x="194" y="240"/>
                  <a:pt x="194" y="240"/>
                  <a:pt x="194" y="240"/>
                </a:cubicBezTo>
                <a:cubicBezTo>
                  <a:pt x="194" y="240"/>
                  <a:pt x="194" y="240"/>
                  <a:pt x="194" y="240"/>
                </a:cubicBezTo>
                <a:cubicBezTo>
                  <a:pt x="193" y="240"/>
                  <a:pt x="193" y="240"/>
                  <a:pt x="193" y="240"/>
                </a:cubicBezTo>
                <a:cubicBezTo>
                  <a:pt x="194" y="241"/>
                  <a:pt x="194" y="241"/>
                  <a:pt x="194" y="241"/>
                </a:cubicBezTo>
                <a:cubicBezTo>
                  <a:pt x="194" y="242"/>
                  <a:pt x="194" y="242"/>
                  <a:pt x="194" y="242"/>
                </a:cubicBezTo>
                <a:cubicBezTo>
                  <a:pt x="193" y="242"/>
                  <a:pt x="193" y="242"/>
                  <a:pt x="193" y="242"/>
                </a:cubicBezTo>
                <a:cubicBezTo>
                  <a:pt x="192" y="242"/>
                  <a:pt x="192" y="242"/>
                  <a:pt x="192" y="242"/>
                </a:cubicBezTo>
                <a:cubicBezTo>
                  <a:pt x="192" y="243"/>
                  <a:pt x="192" y="243"/>
                  <a:pt x="192" y="243"/>
                </a:cubicBezTo>
                <a:cubicBezTo>
                  <a:pt x="191" y="242"/>
                  <a:pt x="191" y="242"/>
                  <a:pt x="191" y="242"/>
                </a:cubicBezTo>
                <a:cubicBezTo>
                  <a:pt x="191" y="242"/>
                  <a:pt x="191" y="242"/>
                  <a:pt x="191" y="242"/>
                </a:cubicBezTo>
                <a:cubicBezTo>
                  <a:pt x="190" y="242"/>
                  <a:pt x="190" y="242"/>
                  <a:pt x="190" y="242"/>
                </a:cubicBezTo>
                <a:cubicBezTo>
                  <a:pt x="190" y="243"/>
                  <a:pt x="190" y="243"/>
                  <a:pt x="190" y="243"/>
                </a:cubicBezTo>
                <a:cubicBezTo>
                  <a:pt x="191" y="243"/>
                  <a:pt x="191" y="243"/>
                  <a:pt x="191" y="243"/>
                </a:cubicBezTo>
                <a:cubicBezTo>
                  <a:pt x="190" y="244"/>
                  <a:pt x="190" y="244"/>
                  <a:pt x="190" y="244"/>
                </a:cubicBezTo>
                <a:cubicBezTo>
                  <a:pt x="189" y="244"/>
                  <a:pt x="189" y="244"/>
                  <a:pt x="189" y="244"/>
                </a:cubicBezTo>
                <a:cubicBezTo>
                  <a:pt x="189" y="243"/>
                  <a:pt x="189" y="243"/>
                  <a:pt x="189" y="243"/>
                </a:cubicBezTo>
                <a:cubicBezTo>
                  <a:pt x="188" y="244"/>
                  <a:pt x="188" y="244"/>
                  <a:pt x="188" y="244"/>
                </a:cubicBezTo>
                <a:cubicBezTo>
                  <a:pt x="188" y="244"/>
                  <a:pt x="188" y="244"/>
                  <a:pt x="188" y="244"/>
                </a:cubicBezTo>
                <a:cubicBezTo>
                  <a:pt x="189" y="245"/>
                  <a:pt x="189" y="245"/>
                  <a:pt x="189" y="245"/>
                </a:cubicBezTo>
                <a:cubicBezTo>
                  <a:pt x="189" y="246"/>
                  <a:pt x="189" y="246"/>
                  <a:pt x="189" y="246"/>
                </a:cubicBezTo>
                <a:cubicBezTo>
                  <a:pt x="187" y="246"/>
                  <a:pt x="187" y="246"/>
                  <a:pt x="187" y="246"/>
                </a:cubicBezTo>
                <a:cubicBezTo>
                  <a:pt x="187" y="246"/>
                  <a:pt x="187" y="246"/>
                  <a:pt x="187" y="246"/>
                </a:cubicBezTo>
                <a:cubicBezTo>
                  <a:pt x="187" y="246"/>
                  <a:pt x="187" y="246"/>
                  <a:pt x="187" y="246"/>
                </a:cubicBezTo>
                <a:cubicBezTo>
                  <a:pt x="186" y="245"/>
                  <a:pt x="186" y="245"/>
                  <a:pt x="186" y="245"/>
                </a:cubicBezTo>
                <a:cubicBezTo>
                  <a:pt x="185" y="245"/>
                  <a:pt x="185" y="245"/>
                  <a:pt x="185" y="245"/>
                </a:cubicBezTo>
                <a:cubicBezTo>
                  <a:pt x="185" y="246"/>
                  <a:pt x="185" y="246"/>
                  <a:pt x="185" y="246"/>
                </a:cubicBezTo>
                <a:cubicBezTo>
                  <a:pt x="186" y="247"/>
                  <a:pt x="186" y="247"/>
                  <a:pt x="186" y="247"/>
                </a:cubicBezTo>
                <a:cubicBezTo>
                  <a:pt x="186" y="247"/>
                  <a:pt x="186" y="247"/>
                  <a:pt x="186" y="247"/>
                </a:cubicBezTo>
                <a:cubicBezTo>
                  <a:pt x="185" y="248"/>
                  <a:pt x="185" y="248"/>
                  <a:pt x="185" y="248"/>
                </a:cubicBezTo>
                <a:cubicBezTo>
                  <a:pt x="184" y="248"/>
                  <a:pt x="184" y="248"/>
                  <a:pt x="184" y="248"/>
                </a:cubicBezTo>
                <a:cubicBezTo>
                  <a:pt x="184" y="248"/>
                  <a:pt x="184" y="248"/>
                  <a:pt x="184" y="248"/>
                </a:cubicBezTo>
                <a:cubicBezTo>
                  <a:pt x="182" y="249"/>
                  <a:pt x="182" y="249"/>
                  <a:pt x="182" y="249"/>
                </a:cubicBezTo>
                <a:cubicBezTo>
                  <a:pt x="182" y="249"/>
                  <a:pt x="182" y="249"/>
                  <a:pt x="182" y="249"/>
                </a:cubicBezTo>
                <a:cubicBezTo>
                  <a:pt x="181" y="250"/>
                  <a:pt x="181" y="250"/>
                  <a:pt x="181" y="250"/>
                </a:cubicBezTo>
                <a:cubicBezTo>
                  <a:pt x="181" y="250"/>
                  <a:pt x="181" y="250"/>
                  <a:pt x="181" y="250"/>
                </a:cubicBezTo>
                <a:cubicBezTo>
                  <a:pt x="180" y="249"/>
                  <a:pt x="180" y="249"/>
                  <a:pt x="180" y="249"/>
                </a:cubicBezTo>
                <a:cubicBezTo>
                  <a:pt x="180" y="249"/>
                  <a:pt x="180" y="249"/>
                  <a:pt x="180" y="249"/>
                </a:cubicBezTo>
                <a:cubicBezTo>
                  <a:pt x="179" y="250"/>
                  <a:pt x="179" y="250"/>
                  <a:pt x="179" y="250"/>
                </a:cubicBezTo>
                <a:cubicBezTo>
                  <a:pt x="178" y="250"/>
                  <a:pt x="178" y="250"/>
                  <a:pt x="178" y="250"/>
                </a:cubicBezTo>
                <a:cubicBezTo>
                  <a:pt x="177" y="250"/>
                  <a:pt x="177" y="250"/>
                  <a:pt x="177" y="250"/>
                </a:cubicBezTo>
                <a:cubicBezTo>
                  <a:pt x="177" y="251"/>
                  <a:pt x="177" y="251"/>
                  <a:pt x="177" y="251"/>
                </a:cubicBezTo>
                <a:cubicBezTo>
                  <a:pt x="176" y="251"/>
                  <a:pt x="176" y="251"/>
                  <a:pt x="176" y="251"/>
                </a:cubicBezTo>
                <a:cubicBezTo>
                  <a:pt x="176" y="251"/>
                  <a:pt x="176" y="251"/>
                  <a:pt x="176" y="251"/>
                </a:cubicBezTo>
                <a:cubicBezTo>
                  <a:pt x="175" y="250"/>
                  <a:pt x="175" y="250"/>
                  <a:pt x="175" y="250"/>
                </a:cubicBezTo>
                <a:cubicBezTo>
                  <a:pt x="175" y="250"/>
                  <a:pt x="175" y="250"/>
                  <a:pt x="175" y="250"/>
                </a:cubicBezTo>
                <a:cubicBezTo>
                  <a:pt x="174" y="252"/>
                  <a:pt x="174" y="252"/>
                  <a:pt x="174" y="252"/>
                </a:cubicBezTo>
                <a:cubicBezTo>
                  <a:pt x="174" y="251"/>
                  <a:pt x="174" y="251"/>
                  <a:pt x="174" y="251"/>
                </a:cubicBezTo>
                <a:cubicBezTo>
                  <a:pt x="173" y="251"/>
                  <a:pt x="173" y="251"/>
                  <a:pt x="173" y="251"/>
                </a:cubicBezTo>
                <a:cubicBezTo>
                  <a:pt x="173" y="251"/>
                  <a:pt x="173" y="251"/>
                  <a:pt x="173" y="251"/>
                </a:cubicBezTo>
                <a:cubicBezTo>
                  <a:pt x="173" y="251"/>
                  <a:pt x="173" y="251"/>
                  <a:pt x="173" y="251"/>
                </a:cubicBezTo>
                <a:cubicBezTo>
                  <a:pt x="172" y="252"/>
                  <a:pt x="172" y="252"/>
                  <a:pt x="172" y="252"/>
                </a:cubicBezTo>
                <a:cubicBezTo>
                  <a:pt x="171" y="252"/>
                  <a:pt x="171" y="252"/>
                  <a:pt x="171" y="252"/>
                </a:cubicBezTo>
                <a:cubicBezTo>
                  <a:pt x="171" y="251"/>
                  <a:pt x="171" y="251"/>
                  <a:pt x="171" y="251"/>
                </a:cubicBezTo>
                <a:cubicBezTo>
                  <a:pt x="171" y="251"/>
                  <a:pt x="171" y="251"/>
                  <a:pt x="171" y="251"/>
                </a:cubicBezTo>
                <a:cubicBezTo>
                  <a:pt x="171" y="252"/>
                  <a:pt x="171" y="252"/>
                  <a:pt x="171" y="252"/>
                </a:cubicBezTo>
                <a:cubicBezTo>
                  <a:pt x="171" y="252"/>
                  <a:pt x="171" y="252"/>
                  <a:pt x="171" y="252"/>
                </a:cubicBezTo>
                <a:cubicBezTo>
                  <a:pt x="170" y="252"/>
                  <a:pt x="170" y="252"/>
                  <a:pt x="170" y="252"/>
                </a:cubicBezTo>
                <a:cubicBezTo>
                  <a:pt x="169" y="252"/>
                  <a:pt x="169" y="252"/>
                  <a:pt x="169" y="252"/>
                </a:cubicBezTo>
                <a:cubicBezTo>
                  <a:pt x="169" y="253"/>
                  <a:pt x="169" y="253"/>
                  <a:pt x="169" y="253"/>
                </a:cubicBezTo>
                <a:cubicBezTo>
                  <a:pt x="169" y="253"/>
                  <a:pt x="169" y="253"/>
                  <a:pt x="169" y="253"/>
                </a:cubicBezTo>
                <a:cubicBezTo>
                  <a:pt x="168" y="253"/>
                  <a:pt x="168" y="253"/>
                  <a:pt x="168" y="253"/>
                </a:cubicBezTo>
                <a:cubicBezTo>
                  <a:pt x="168" y="253"/>
                  <a:pt x="168" y="253"/>
                  <a:pt x="168" y="253"/>
                </a:cubicBezTo>
                <a:cubicBezTo>
                  <a:pt x="167" y="253"/>
                  <a:pt x="167" y="253"/>
                  <a:pt x="167" y="253"/>
                </a:cubicBezTo>
                <a:cubicBezTo>
                  <a:pt x="167" y="254"/>
                  <a:pt x="167" y="254"/>
                  <a:pt x="167" y="254"/>
                </a:cubicBezTo>
                <a:cubicBezTo>
                  <a:pt x="167" y="254"/>
                  <a:pt x="167" y="254"/>
                  <a:pt x="167" y="254"/>
                </a:cubicBezTo>
                <a:cubicBezTo>
                  <a:pt x="166" y="253"/>
                  <a:pt x="166" y="253"/>
                  <a:pt x="166" y="253"/>
                </a:cubicBezTo>
                <a:cubicBezTo>
                  <a:pt x="166" y="253"/>
                  <a:pt x="166" y="253"/>
                  <a:pt x="166" y="253"/>
                </a:cubicBezTo>
                <a:cubicBezTo>
                  <a:pt x="166" y="254"/>
                  <a:pt x="166" y="254"/>
                  <a:pt x="166" y="254"/>
                </a:cubicBezTo>
                <a:cubicBezTo>
                  <a:pt x="165" y="255"/>
                  <a:pt x="165" y="255"/>
                  <a:pt x="165" y="255"/>
                </a:cubicBezTo>
                <a:cubicBezTo>
                  <a:pt x="165" y="255"/>
                  <a:pt x="165" y="255"/>
                  <a:pt x="165" y="255"/>
                </a:cubicBezTo>
                <a:cubicBezTo>
                  <a:pt x="164" y="255"/>
                  <a:pt x="164" y="255"/>
                  <a:pt x="164" y="255"/>
                </a:cubicBezTo>
                <a:cubicBezTo>
                  <a:pt x="164" y="255"/>
                  <a:pt x="164" y="255"/>
                  <a:pt x="164" y="255"/>
                </a:cubicBezTo>
                <a:cubicBezTo>
                  <a:pt x="163" y="253"/>
                  <a:pt x="163" y="253"/>
                  <a:pt x="163" y="253"/>
                </a:cubicBezTo>
                <a:cubicBezTo>
                  <a:pt x="162" y="253"/>
                  <a:pt x="162" y="253"/>
                  <a:pt x="162" y="253"/>
                </a:cubicBezTo>
                <a:cubicBezTo>
                  <a:pt x="161" y="253"/>
                  <a:pt x="161" y="253"/>
                  <a:pt x="161" y="253"/>
                </a:cubicBezTo>
                <a:cubicBezTo>
                  <a:pt x="161" y="254"/>
                  <a:pt x="161" y="254"/>
                  <a:pt x="161" y="254"/>
                </a:cubicBezTo>
                <a:cubicBezTo>
                  <a:pt x="161" y="254"/>
                  <a:pt x="161" y="254"/>
                  <a:pt x="161" y="254"/>
                </a:cubicBezTo>
                <a:cubicBezTo>
                  <a:pt x="161" y="255"/>
                  <a:pt x="161" y="255"/>
                  <a:pt x="161" y="255"/>
                </a:cubicBezTo>
                <a:cubicBezTo>
                  <a:pt x="160" y="255"/>
                  <a:pt x="160" y="255"/>
                  <a:pt x="160" y="255"/>
                </a:cubicBezTo>
                <a:cubicBezTo>
                  <a:pt x="159" y="255"/>
                  <a:pt x="159" y="255"/>
                  <a:pt x="159" y="255"/>
                </a:cubicBezTo>
                <a:cubicBezTo>
                  <a:pt x="159" y="255"/>
                  <a:pt x="159" y="255"/>
                  <a:pt x="159" y="255"/>
                </a:cubicBezTo>
                <a:cubicBezTo>
                  <a:pt x="158" y="255"/>
                  <a:pt x="158" y="255"/>
                  <a:pt x="158" y="255"/>
                </a:cubicBezTo>
                <a:cubicBezTo>
                  <a:pt x="157" y="256"/>
                  <a:pt x="157" y="256"/>
                  <a:pt x="157" y="256"/>
                </a:cubicBezTo>
                <a:cubicBezTo>
                  <a:pt x="157" y="255"/>
                  <a:pt x="157" y="255"/>
                  <a:pt x="157" y="255"/>
                </a:cubicBezTo>
                <a:cubicBezTo>
                  <a:pt x="156" y="255"/>
                  <a:pt x="156" y="255"/>
                  <a:pt x="156" y="255"/>
                </a:cubicBezTo>
                <a:cubicBezTo>
                  <a:pt x="155" y="255"/>
                  <a:pt x="155" y="255"/>
                  <a:pt x="155" y="255"/>
                </a:cubicBezTo>
                <a:cubicBezTo>
                  <a:pt x="155" y="255"/>
                  <a:pt x="155" y="255"/>
                  <a:pt x="155" y="255"/>
                </a:cubicBezTo>
                <a:cubicBezTo>
                  <a:pt x="155" y="256"/>
                  <a:pt x="155" y="256"/>
                  <a:pt x="155" y="256"/>
                </a:cubicBezTo>
                <a:cubicBezTo>
                  <a:pt x="154" y="256"/>
                  <a:pt x="154" y="256"/>
                  <a:pt x="154" y="256"/>
                </a:cubicBezTo>
                <a:cubicBezTo>
                  <a:pt x="153" y="255"/>
                  <a:pt x="153" y="255"/>
                  <a:pt x="153" y="255"/>
                </a:cubicBezTo>
                <a:cubicBezTo>
                  <a:pt x="153" y="254"/>
                  <a:pt x="153" y="254"/>
                  <a:pt x="153" y="254"/>
                </a:cubicBezTo>
                <a:cubicBezTo>
                  <a:pt x="153" y="253"/>
                  <a:pt x="153" y="253"/>
                  <a:pt x="153" y="253"/>
                </a:cubicBezTo>
                <a:cubicBezTo>
                  <a:pt x="153" y="253"/>
                  <a:pt x="153" y="253"/>
                  <a:pt x="153" y="253"/>
                </a:cubicBezTo>
                <a:cubicBezTo>
                  <a:pt x="152" y="253"/>
                  <a:pt x="152" y="253"/>
                  <a:pt x="152" y="253"/>
                </a:cubicBezTo>
                <a:cubicBezTo>
                  <a:pt x="151" y="251"/>
                  <a:pt x="151" y="251"/>
                  <a:pt x="151" y="251"/>
                </a:cubicBezTo>
                <a:cubicBezTo>
                  <a:pt x="151" y="250"/>
                  <a:pt x="151" y="250"/>
                  <a:pt x="151" y="250"/>
                </a:cubicBezTo>
                <a:cubicBezTo>
                  <a:pt x="151" y="250"/>
                  <a:pt x="151" y="250"/>
                  <a:pt x="151" y="250"/>
                </a:cubicBezTo>
                <a:cubicBezTo>
                  <a:pt x="151" y="248"/>
                  <a:pt x="151" y="248"/>
                  <a:pt x="151" y="248"/>
                </a:cubicBezTo>
                <a:cubicBezTo>
                  <a:pt x="150" y="248"/>
                  <a:pt x="150" y="248"/>
                  <a:pt x="150" y="248"/>
                </a:cubicBezTo>
                <a:cubicBezTo>
                  <a:pt x="150" y="248"/>
                  <a:pt x="150" y="248"/>
                  <a:pt x="150" y="248"/>
                </a:cubicBezTo>
                <a:cubicBezTo>
                  <a:pt x="150" y="249"/>
                  <a:pt x="150" y="249"/>
                  <a:pt x="150" y="249"/>
                </a:cubicBezTo>
                <a:cubicBezTo>
                  <a:pt x="150" y="250"/>
                  <a:pt x="150" y="250"/>
                  <a:pt x="150" y="250"/>
                </a:cubicBezTo>
                <a:cubicBezTo>
                  <a:pt x="150" y="251"/>
                  <a:pt x="150" y="251"/>
                  <a:pt x="150" y="251"/>
                </a:cubicBezTo>
                <a:cubicBezTo>
                  <a:pt x="151" y="251"/>
                  <a:pt x="151" y="251"/>
                  <a:pt x="151" y="251"/>
                </a:cubicBezTo>
                <a:cubicBezTo>
                  <a:pt x="151" y="252"/>
                  <a:pt x="151" y="252"/>
                  <a:pt x="151" y="252"/>
                </a:cubicBezTo>
                <a:cubicBezTo>
                  <a:pt x="151" y="253"/>
                  <a:pt x="151" y="253"/>
                  <a:pt x="151" y="253"/>
                </a:cubicBezTo>
                <a:cubicBezTo>
                  <a:pt x="151" y="254"/>
                  <a:pt x="151" y="254"/>
                  <a:pt x="151" y="254"/>
                </a:cubicBezTo>
                <a:cubicBezTo>
                  <a:pt x="151" y="254"/>
                  <a:pt x="151" y="254"/>
                  <a:pt x="151" y="254"/>
                </a:cubicBezTo>
                <a:cubicBezTo>
                  <a:pt x="152" y="254"/>
                  <a:pt x="152" y="254"/>
                  <a:pt x="152" y="254"/>
                </a:cubicBezTo>
                <a:cubicBezTo>
                  <a:pt x="152" y="256"/>
                  <a:pt x="152" y="256"/>
                  <a:pt x="152" y="256"/>
                </a:cubicBezTo>
                <a:cubicBezTo>
                  <a:pt x="152" y="257"/>
                  <a:pt x="152" y="257"/>
                  <a:pt x="152" y="257"/>
                </a:cubicBezTo>
                <a:cubicBezTo>
                  <a:pt x="151" y="258"/>
                  <a:pt x="151" y="258"/>
                  <a:pt x="151" y="258"/>
                </a:cubicBezTo>
                <a:cubicBezTo>
                  <a:pt x="150" y="258"/>
                  <a:pt x="150" y="258"/>
                  <a:pt x="150" y="258"/>
                </a:cubicBezTo>
                <a:cubicBezTo>
                  <a:pt x="150" y="258"/>
                  <a:pt x="150" y="258"/>
                  <a:pt x="150" y="258"/>
                </a:cubicBezTo>
                <a:cubicBezTo>
                  <a:pt x="149" y="258"/>
                  <a:pt x="149" y="258"/>
                  <a:pt x="149" y="258"/>
                </a:cubicBezTo>
                <a:cubicBezTo>
                  <a:pt x="149" y="258"/>
                  <a:pt x="149" y="258"/>
                  <a:pt x="149" y="258"/>
                </a:cubicBezTo>
                <a:cubicBezTo>
                  <a:pt x="148" y="260"/>
                  <a:pt x="148" y="260"/>
                  <a:pt x="148" y="260"/>
                </a:cubicBezTo>
                <a:cubicBezTo>
                  <a:pt x="147" y="260"/>
                  <a:pt x="147" y="260"/>
                  <a:pt x="147" y="260"/>
                </a:cubicBezTo>
                <a:cubicBezTo>
                  <a:pt x="146" y="260"/>
                  <a:pt x="146" y="260"/>
                  <a:pt x="146" y="260"/>
                </a:cubicBezTo>
                <a:cubicBezTo>
                  <a:pt x="146" y="260"/>
                  <a:pt x="146" y="260"/>
                  <a:pt x="146" y="260"/>
                </a:cubicBezTo>
                <a:cubicBezTo>
                  <a:pt x="146" y="260"/>
                  <a:pt x="146" y="260"/>
                  <a:pt x="146" y="260"/>
                </a:cubicBezTo>
                <a:cubicBezTo>
                  <a:pt x="146" y="261"/>
                  <a:pt x="146" y="261"/>
                  <a:pt x="146" y="261"/>
                </a:cubicBezTo>
                <a:cubicBezTo>
                  <a:pt x="145" y="262"/>
                  <a:pt x="145" y="262"/>
                  <a:pt x="145" y="262"/>
                </a:cubicBezTo>
                <a:cubicBezTo>
                  <a:pt x="145" y="262"/>
                  <a:pt x="145" y="262"/>
                  <a:pt x="145" y="262"/>
                </a:cubicBezTo>
                <a:cubicBezTo>
                  <a:pt x="144" y="262"/>
                  <a:pt x="144" y="262"/>
                  <a:pt x="144" y="262"/>
                </a:cubicBezTo>
                <a:cubicBezTo>
                  <a:pt x="144" y="263"/>
                  <a:pt x="144" y="263"/>
                  <a:pt x="144" y="263"/>
                </a:cubicBezTo>
                <a:cubicBezTo>
                  <a:pt x="144" y="264"/>
                  <a:pt x="144" y="264"/>
                  <a:pt x="144" y="264"/>
                </a:cubicBezTo>
                <a:cubicBezTo>
                  <a:pt x="144" y="263"/>
                  <a:pt x="144" y="263"/>
                  <a:pt x="144" y="263"/>
                </a:cubicBezTo>
                <a:cubicBezTo>
                  <a:pt x="143" y="263"/>
                  <a:pt x="143" y="263"/>
                  <a:pt x="143" y="263"/>
                </a:cubicBezTo>
                <a:cubicBezTo>
                  <a:pt x="144" y="263"/>
                  <a:pt x="144" y="263"/>
                  <a:pt x="144" y="263"/>
                </a:cubicBezTo>
                <a:cubicBezTo>
                  <a:pt x="144" y="264"/>
                  <a:pt x="144" y="264"/>
                  <a:pt x="144" y="264"/>
                </a:cubicBezTo>
                <a:cubicBezTo>
                  <a:pt x="144" y="265"/>
                  <a:pt x="144" y="265"/>
                  <a:pt x="144" y="265"/>
                </a:cubicBezTo>
                <a:cubicBezTo>
                  <a:pt x="143" y="265"/>
                  <a:pt x="143" y="265"/>
                  <a:pt x="143" y="265"/>
                </a:cubicBezTo>
                <a:cubicBezTo>
                  <a:pt x="143" y="264"/>
                  <a:pt x="143" y="264"/>
                  <a:pt x="143" y="264"/>
                </a:cubicBezTo>
                <a:cubicBezTo>
                  <a:pt x="142" y="264"/>
                  <a:pt x="142" y="264"/>
                  <a:pt x="142" y="264"/>
                </a:cubicBezTo>
                <a:cubicBezTo>
                  <a:pt x="142" y="265"/>
                  <a:pt x="142" y="265"/>
                  <a:pt x="142" y="265"/>
                </a:cubicBezTo>
                <a:cubicBezTo>
                  <a:pt x="142" y="265"/>
                  <a:pt x="142" y="265"/>
                  <a:pt x="142" y="265"/>
                </a:cubicBezTo>
                <a:cubicBezTo>
                  <a:pt x="142" y="266"/>
                  <a:pt x="142" y="266"/>
                  <a:pt x="142" y="266"/>
                </a:cubicBezTo>
                <a:cubicBezTo>
                  <a:pt x="142" y="266"/>
                  <a:pt x="142" y="266"/>
                  <a:pt x="142" y="266"/>
                </a:cubicBezTo>
                <a:cubicBezTo>
                  <a:pt x="141" y="267"/>
                  <a:pt x="141" y="267"/>
                  <a:pt x="141" y="267"/>
                </a:cubicBezTo>
                <a:cubicBezTo>
                  <a:pt x="139" y="268"/>
                  <a:pt x="139" y="268"/>
                  <a:pt x="139" y="268"/>
                </a:cubicBezTo>
                <a:cubicBezTo>
                  <a:pt x="139" y="269"/>
                  <a:pt x="139" y="269"/>
                  <a:pt x="139" y="269"/>
                </a:cubicBezTo>
                <a:cubicBezTo>
                  <a:pt x="139" y="270"/>
                  <a:pt x="139" y="270"/>
                  <a:pt x="139" y="270"/>
                </a:cubicBezTo>
                <a:cubicBezTo>
                  <a:pt x="139" y="271"/>
                  <a:pt x="139" y="271"/>
                  <a:pt x="139" y="271"/>
                </a:cubicBezTo>
                <a:cubicBezTo>
                  <a:pt x="138" y="272"/>
                  <a:pt x="138" y="272"/>
                  <a:pt x="138" y="272"/>
                </a:cubicBezTo>
                <a:cubicBezTo>
                  <a:pt x="138" y="272"/>
                  <a:pt x="138" y="272"/>
                  <a:pt x="138" y="272"/>
                </a:cubicBezTo>
                <a:cubicBezTo>
                  <a:pt x="137" y="272"/>
                  <a:pt x="137" y="272"/>
                  <a:pt x="137" y="272"/>
                </a:cubicBezTo>
                <a:cubicBezTo>
                  <a:pt x="137" y="271"/>
                  <a:pt x="137" y="271"/>
                  <a:pt x="137" y="271"/>
                </a:cubicBezTo>
                <a:cubicBezTo>
                  <a:pt x="137" y="271"/>
                  <a:pt x="137" y="271"/>
                  <a:pt x="137" y="271"/>
                </a:cubicBezTo>
                <a:cubicBezTo>
                  <a:pt x="137" y="271"/>
                  <a:pt x="137" y="271"/>
                  <a:pt x="137" y="271"/>
                </a:cubicBezTo>
                <a:cubicBezTo>
                  <a:pt x="136" y="272"/>
                  <a:pt x="136" y="272"/>
                  <a:pt x="136" y="272"/>
                </a:cubicBezTo>
                <a:cubicBezTo>
                  <a:pt x="136" y="272"/>
                  <a:pt x="136" y="272"/>
                  <a:pt x="136" y="272"/>
                </a:cubicBezTo>
                <a:cubicBezTo>
                  <a:pt x="136" y="273"/>
                  <a:pt x="136" y="273"/>
                  <a:pt x="136" y="273"/>
                </a:cubicBezTo>
                <a:cubicBezTo>
                  <a:pt x="136" y="273"/>
                  <a:pt x="136" y="273"/>
                  <a:pt x="136" y="273"/>
                </a:cubicBezTo>
                <a:cubicBezTo>
                  <a:pt x="134" y="275"/>
                  <a:pt x="134" y="275"/>
                  <a:pt x="134" y="275"/>
                </a:cubicBezTo>
                <a:cubicBezTo>
                  <a:pt x="134" y="275"/>
                  <a:pt x="134" y="275"/>
                  <a:pt x="134" y="275"/>
                </a:cubicBezTo>
                <a:cubicBezTo>
                  <a:pt x="133" y="275"/>
                  <a:pt x="133" y="275"/>
                  <a:pt x="133" y="275"/>
                </a:cubicBezTo>
                <a:cubicBezTo>
                  <a:pt x="133" y="274"/>
                  <a:pt x="133" y="274"/>
                  <a:pt x="133" y="274"/>
                </a:cubicBezTo>
                <a:cubicBezTo>
                  <a:pt x="133" y="274"/>
                  <a:pt x="133" y="274"/>
                  <a:pt x="133" y="274"/>
                </a:cubicBezTo>
                <a:cubicBezTo>
                  <a:pt x="132" y="274"/>
                  <a:pt x="132" y="274"/>
                  <a:pt x="132" y="274"/>
                </a:cubicBezTo>
                <a:cubicBezTo>
                  <a:pt x="132" y="274"/>
                  <a:pt x="132" y="274"/>
                  <a:pt x="132" y="274"/>
                </a:cubicBezTo>
                <a:cubicBezTo>
                  <a:pt x="132" y="274"/>
                  <a:pt x="132" y="274"/>
                  <a:pt x="132" y="274"/>
                </a:cubicBezTo>
                <a:cubicBezTo>
                  <a:pt x="131" y="274"/>
                  <a:pt x="131" y="274"/>
                  <a:pt x="131" y="274"/>
                </a:cubicBezTo>
                <a:cubicBezTo>
                  <a:pt x="130" y="273"/>
                  <a:pt x="130" y="273"/>
                  <a:pt x="130" y="273"/>
                </a:cubicBezTo>
                <a:cubicBezTo>
                  <a:pt x="130" y="273"/>
                  <a:pt x="130" y="273"/>
                  <a:pt x="130" y="273"/>
                </a:cubicBezTo>
                <a:cubicBezTo>
                  <a:pt x="130" y="273"/>
                  <a:pt x="130" y="273"/>
                  <a:pt x="130" y="273"/>
                </a:cubicBezTo>
                <a:cubicBezTo>
                  <a:pt x="130" y="274"/>
                  <a:pt x="130" y="274"/>
                  <a:pt x="130" y="274"/>
                </a:cubicBezTo>
                <a:cubicBezTo>
                  <a:pt x="131" y="274"/>
                  <a:pt x="131" y="274"/>
                  <a:pt x="131" y="274"/>
                </a:cubicBezTo>
                <a:cubicBezTo>
                  <a:pt x="131" y="275"/>
                  <a:pt x="131" y="275"/>
                  <a:pt x="131" y="275"/>
                </a:cubicBezTo>
                <a:cubicBezTo>
                  <a:pt x="131" y="276"/>
                  <a:pt x="131" y="276"/>
                  <a:pt x="131" y="276"/>
                </a:cubicBezTo>
                <a:cubicBezTo>
                  <a:pt x="130" y="276"/>
                  <a:pt x="130" y="276"/>
                  <a:pt x="130" y="276"/>
                </a:cubicBezTo>
                <a:cubicBezTo>
                  <a:pt x="130" y="276"/>
                  <a:pt x="130" y="276"/>
                  <a:pt x="130" y="276"/>
                </a:cubicBezTo>
                <a:cubicBezTo>
                  <a:pt x="128" y="277"/>
                  <a:pt x="128" y="277"/>
                  <a:pt x="128" y="277"/>
                </a:cubicBezTo>
                <a:cubicBezTo>
                  <a:pt x="127" y="278"/>
                  <a:pt x="127" y="278"/>
                  <a:pt x="127" y="278"/>
                </a:cubicBezTo>
                <a:cubicBezTo>
                  <a:pt x="127" y="279"/>
                  <a:pt x="127" y="279"/>
                  <a:pt x="127" y="279"/>
                </a:cubicBezTo>
                <a:cubicBezTo>
                  <a:pt x="126" y="278"/>
                  <a:pt x="126" y="278"/>
                  <a:pt x="126" y="278"/>
                </a:cubicBezTo>
                <a:cubicBezTo>
                  <a:pt x="126" y="278"/>
                  <a:pt x="126" y="278"/>
                  <a:pt x="126" y="278"/>
                </a:cubicBezTo>
                <a:cubicBezTo>
                  <a:pt x="126" y="277"/>
                  <a:pt x="126" y="277"/>
                  <a:pt x="126" y="277"/>
                </a:cubicBezTo>
                <a:cubicBezTo>
                  <a:pt x="126" y="277"/>
                  <a:pt x="126" y="277"/>
                  <a:pt x="126" y="277"/>
                </a:cubicBezTo>
                <a:cubicBezTo>
                  <a:pt x="126" y="277"/>
                  <a:pt x="126" y="277"/>
                  <a:pt x="126" y="277"/>
                </a:cubicBezTo>
                <a:cubicBezTo>
                  <a:pt x="125" y="277"/>
                  <a:pt x="125" y="277"/>
                  <a:pt x="125" y="277"/>
                </a:cubicBezTo>
                <a:cubicBezTo>
                  <a:pt x="125" y="278"/>
                  <a:pt x="125" y="278"/>
                  <a:pt x="125" y="278"/>
                </a:cubicBezTo>
                <a:cubicBezTo>
                  <a:pt x="125" y="279"/>
                  <a:pt x="125" y="279"/>
                  <a:pt x="125" y="279"/>
                </a:cubicBezTo>
                <a:cubicBezTo>
                  <a:pt x="124" y="279"/>
                  <a:pt x="124" y="279"/>
                  <a:pt x="124" y="279"/>
                </a:cubicBezTo>
                <a:cubicBezTo>
                  <a:pt x="123" y="279"/>
                  <a:pt x="123" y="279"/>
                  <a:pt x="123" y="279"/>
                </a:cubicBezTo>
                <a:cubicBezTo>
                  <a:pt x="123" y="279"/>
                  <a:pt x="123" y="279"/>
                  <a:pt x="123" y="279"/>
                </a:cubicBezTo>
                <a:cubicBezTo>
                  <a:pt x="122" y="278"/>
                  <a:pt x="122" y="278"/>
                  <a:pt x="122" y="278"/>
                </a:cubicBezTo>
                <a:cubicBezTo>
                  <a:pt x="122" y="277"/>
                  <a:pt x="122" y="277"/>
                  <a:pt x="122" y="277"/>
                </a:cubicBezTo>
                <a:cubicBezTo>
                  <a:pt x="122" y="276"/>
                  <a:pt x="122" y="276"/>
                  <a:pt x="122" y="276"/>
                </a:cubicBezTo>
                <a:cubicBezTo>
                  <a:pt x="122" y="276"/>
                  <a:pt x="122" y="276"/>
                  <a:pt x="122" y="276"/>
                </a:cubicBezTo>
                <a:cubicBezTo>
                  <a:pt x="122" y="275"/>
                  <a:pt x="122" y="275"/>
                  <a:pt x="122" y="275"/>
                </a:cubicBezTo>
                <a:cubicBezTo>
                  <a:pt x="122" y="277"/>
                  <a:pt x="122" y="277"/>
                  <a:pt x="122" y="277"/>
                </a:cubicBezTo>
                <a:cubicBezTo>
                  <a:pt x="121" y="278"/>
                  <a:pt x="121" y="278"/>
                  <a:pt x="121" y="278"/>
                </a:cubicBezTo>
                <a:cubicBezTo>
                  <a:pt x="121" y="278"/>
                  <a:pt x="121" y="278"/>
                  <a:pt x="121" y="278"/>
                </a:cubicBezTo>
                <a:cubicBezTo>
                  <a:pt x="121" y="279"/>
                  <a:pt x="121" y="279"/>
                  <a:pt x="121" y="279"/>
                </a:cubicBezTo>
                <a:cubicBezTo>
                  <a:pt x="121" y="279"/>
                  <a:pt x="121" y="279"/>
                  <a:pt x="121" y="279"/>
                </a:cubicBezTo>
                <a:cubicBezTo>
                  <a:pt x="119" y="277"/>
                  <a:pt x="119" y="277"/>
                  <a:pt x="119" y="277"/>
                </a:cubicBezTo>
                <a:cubicBezTo>
                  <a:pt x="119" y="276"/>
                  <a:pt x="119" y="276"/>
                  <a:pt x="119" y="276"/>
                </a:cubicBezTo>
                <a:cubicBezTo>
                  <a:pt x="120" y="275"/>
                  <a:pt x="120" y="275"/>
                  <a:pt x="120" y="275"/>
                </a:cubicBezTo>
                <a:cubicBezTo>
                  <a:pt x="120" y="274"/>
                  <a:pt x="120" y="274"/>
                  <a:pt x="120" y="274"/>
                </a:cubicBezTo>
                <a:cubicBezTo>
                  <a:pt x="121" y="274"/>
                  <a:pt x="121" y="274"/>
                  <a:pt x="121" y="274"/>
                </a:cubicBezTo>
                <a:cubicBezTo>
                  <a:pt x="121" y="273"/>
                  <a:pt x="121" y="273"/>
                  <a:pt x="121" y="273"/>
                </a:cubicBezTo>
                <a:cubicBezTo>
                  <a:pt x="120" y="273"/>
                  <a:pt x="120" y="273"/>
                  <a:pt x="120" y="273"/>
                </a:cubicBezTo>
                <a:cubicBezTo>
                  <a:pt x="119" y="272"/>
                  <a:pt x="119" y="272"/>
                  <a:pt x="119" y="272"/>
                </a:cubicBezTo>
                <a:cubicBezTo>
                  <a:pt x="119" y="272"/>
                  <a:pt x="119" y="272"/>
                  <a:pt x="119" y="272"/>
                </a:cubicBezTo>
                <a:cubicBezTo>
                  <a:pt x="119" y="272"/>
                  <a:pt x="119" y="272"/>
                  <a:pt x="119" y="272"/>
                </a:cubicBezTo>
                <a:cubicBezTo>
                  <a:pt x="118" y="272"/>
                  <a:pt x="118" y="272"/>
                  <a:pt x="118" y="272"/>
                </a:cubicBezTo>
                <a:cubicBezTo>
                  <a:pt x="118" y="273"/>
                  <a:pt x="118" y="273"/>
                  <a:pt x="118" y="273"/>
                </a:cubicBezTo>
                <a:cubicBezTo>
                  <a:pt x="118" y="273"/>
                  <a:pt x="118" y="273"/>
                  <a:pt x="118" y="273"/>
                </a:cubicBezTo>
                <a:cubicBezTo>
                  <a:pt x="119" y="274"/>
                  <a:pt x="119" y="274"/>
                  <a:pt x="119" y="274"/>
                </a:cubicBezTo>
                <a:cubicBezTo>
                  <a:pt x="118" y="275"/>
                  <a:pt x="118" y="275"/>
                  <a:pt x="118" y="275"/>
                </a:cubicBezTo>
                <a:cubicBezTo>
                  <a:pt x="118" y="276"/>
                  <a:pt x="118" y="276"/>
                  <a:pt x="118" y="276"/>
                </a:cubicBezTo>
                <a:cubicBezTo>
                  <a:pt x="118" y="276"/>
                  <a:pt x="118" y="276"/>
                  <a:pt x="118" y="276"/>
                </a:cubicBezTo>
                <a:cubicBezTo>
                  <a:pt x="117" y="277"/>
                  <a:pt x="117" y="277"/>
                  <a:pt x="117" y="277"/>
                </a:cubicBezTo>
                <a:cubicBezTo>
                  <a:pt x="116" y="277"/>
                  <a:pt x="116" y="277"/>
                  <a:pt x="116" y="277"/>
                </a:cubicBezTo>
                <a:cubicBezTo>
                  <a:pt x="116" y="276"/>
                  <a:pt x="116" y="276"/>
                  <a:pt x="116" y="276"/>
                </a:cubicBezTo>
                <a:cubicBezTo>
                  <a:pt x="116" y="276"/>
                  <a:pt x="116" y="276"/>
                  <a:pt x="116" y="276"/>
                </a:cubicBezTo>
                <a:cubicBezTo>
                  <a:pt x="115" y="277"/>
                  <a:pt x="115" y="277"/>
                  <a:pt x="115" y="277"/>
                </a:cubicBezTo>
                <a:cubicBezTo>
                  <a:pt x="115" y="277"/>
                  <a:pt x="115" y="277"/>
                  <a:pt x="115" y="277"/>
                </a:cubicBezTo>
                <a:cubicBezTo>
                  <a:pt x="116" y="279"/>
                  <a:pt x="116" y="279"/>
                  <a:pt x="116" y="279"/>
                </a:cubicBezTo>
                <a:cubicBezTo>
                  <a:pt x="116" y="280"/>
                  <a:pt x="116" y="280"/>
                  <a:pt x="116" y="280"/>
                </a:cubicBezTo>
                <a:cubicBezTo>
                  <a:pt x="116" y="280"/>
                  <a:pt x="116" y="280"/>
                  <a:pt x="116" y="280"/>
                </a:cubicBezTo>
                <a:cubicBezTo>
                  <a:pt x="116" y="280"/>
                  <a:pt x="116" y="280"/>
                  <a:pt x="116" y="280"/>
                </a:cubicBezTo>
                <a:cubicBezTo>
                  <a:pt x="116" y="281"/>
                  <a:pt x="116" y="281"/>
                  <a:pt x="116" y="281"/>
                </a:cubicBezTo>
                <a:cubicBezTo>
                  <a:pt x="115" y="281"/>
                  <a:pt x="115" y="281"/>
                  <a:pt x="115" y="281"/>
                </a:cubicBezTo>
                <a:cubicBezTo>
                  <a:pt x="114" y="281"/>
                  <a:pt x="114" y="281"/>
                  <a:pt x="114" y="281"/>
                </a:cubicBezTo>
                <a:cubicBezTo>
                  <a:pt x="114" y="281"/>
                  <a:pt x="114" y="281"/>
                  <a:pt x="114" y="281"/>
                </a:cubicBezTo>
                <a:cubicBezTo>
                  <a:pt x="113" y="281"/>
                  <a:pt x="113" y="281"/>
                  <a:pt x="113" y="281"/>
                </a:cubicBezTo>
                <a:cubicBezTo>
                  <a:pt x="113" y="282"/>
                  <a:pt x="113" y="282"/>
                  <a:pt x="113" y="282"/>
                </a:cubicBezTo>
                <a:cubicBezTo>
                  <a:pt x="112" y="282"/>
                  <a:pt x="112" y="282"/>
                  <a:pt x="112" y="282"/>
                </a:cubicBezTo>
                <a:cubicBezTo>
                  <a:pt x="111" y="282"/>
                  <a:pt x="111" y="282"/>
                  <a:pt x="111" y="282"/>
                </a:cubicBezTo>
                <a:cubicBezTo>
                  <a:pt x="111" y="281"/>
                  <a:pt x="111" y="281"/>
                  <a:pt x="111" y="281"/>
                </a:cubicBezTo>
                <a:cubicBezTo>
                  <a:pt x="110" y="280"/>
                  <a:pt x="110" y="280"/>
                  <a:pt x="110" y="280"/>
                </a:cubicBezTo>
                <a:cubicBezTo>
                  <a:pt x="110" y="280"/>
                  <a:pt x="110" y="280"/>
                  <a:pt x="110" y="280"/>
                </a:cubicBezTo>
                <a:cubicBezTo>
                  <a:pt x="110" y="281"/>
                  <a:pt x="110" y="281"/>
                  <a:pt x="110" y="281"/>
                </a:cubicBezTo>
                <a:cubicBezTo>
                  <a:pt x="110" y="281"/>
                  <a:pt x="110" y="281"/>
                  <a:pt x="110" y="281"/>
                </a:cubicBezTo>
                <a:cubicBezTo>
                  <a:pt x="109" y="282"/>
                  <a:pt x="109" y="282"/>
                  <a:pt x="109" y="282"/>
                </a:cubicBezTo>
                <a:cubicBezTo>
                  <a:pt x="109" y="282"/>
                  <a:pt x="109" y="282"/>
                  <a:pt x="109" y="282"/>
                </a:cubicBezTo>
                <a:cubicBezTo>
                  <a:pt x="108" y="281"/>
                  <a:pt x="108" y="281"/>
                  <a:pt x="108" y="281"/>
                </a:cubicBezTo>
                <a:cubicBezTo>
                  <a:pt x="108" y="280"/>
                  <a:pt x="108" y="280"/>
                  <a:pt x="108" y="280"/>
                </a:cubicBezTo>
                <a:cubicBezTo>
                  <a:pt x="107" y="280"/>
                  <a:pt x="107" y="280"/>
                  <a:pt x="107" y="280"/>
                </a:cubicBezTo>
                <a:cubicBezTo>
                  <a:pt x="107" y="281"/>
                  <a:pt x="107" y="281"/>
                  <a:pt x="107" y="281"/>
                </a:cubicBezTo>
                <a:cubicBezTo>
                  <a:pt x="106" y="281"/>
                  <a:pt x="106" y="281"/>
                  <a:pt x="106" y="281"/>
                </a:cubicBezTo>
                <a:cubicBezTo>
                  <a:pt x="106" y="281"/>
                  <a:pt x="106" y="281"/>
                  <a:pt x="106" y="281"/>
                </a:cubicBezTo>
                <a:cubicBezTo>
                  <a:pt x="106" y="282"/>
                  <a:pt x="106" y="282"/>
                  <a:pt x="106" y="282"/>
                </a:cubicBezTo>
                <a:cubicBezTo>
                  <a:pt x="106" y="283"/>
                  <a:pt x="106" y="283"/>
                  <a:pt x="106" y="283"/>
                </a:cubicBezTo>
                <a:cubicBezTo>
                  <a:pt x="106" y="284"/>
                  <a:pt x="106" y="284"/>
                  <a:pt x="106" y="284"/>
                </a:cubicBezTo>
                <a:cubicBezTo>
                  <a:pt x="106" y="285"/>
                  <a:pt x="106" y="285"/>
                  <a:pt x="106" y="285"/>
                </a:cubicBezTo>
                <a:cubicBezTo>
                  <a:pt x="105" y="287"/>
                  <a:pt x="105" y="287"/>
                  <a:pt x="105" y="287"/>
                </a:cubicBezTo>
                <a:cubicBezTo>
                  <a:pt x="104" y="287"/>
                  <a:pt x="104" y="287"/>
                  <a:pt x="104" y="287"/>
                </a:cubicBezTo>
                <a:cubicBezTo>
                  <a:pt x="103" y="286"/>
                  <a:pt x="103" y="286"/>
                  <a:pt x="103" y="286"/>
                </a:cubicBezTo>
                <a:cubicBezTo>
                  <a:pt x="103" y="285"/>
                  <a:pt x="103" y="285"/>
                  <a:pt x="103" y="285"/>
                </a:cubicBezTo>
                <a:cubicBezTo>
                  <a:pt x="102" y="285"/>
                  <a:pt x="102" y="285"/>
                  <a:pt x="102" y="285"/>
                </a:cubicBezTo>
                <a:cubicBezTo>
                  <a:pt x="102" y="285"/>
                  <a:pt x="102" y="285"/>
                  <a:pt x="102" y="285"/>
                </a:cubicBezTo>
                <a:cubicBezTo>
                  <a:pt x="102" y="286"/>
                  <a:pt x="102" y="286"/>
                  <a:pt x="102" y="286"/>
                </a:cubicBezTo>
                <a:cubicBezTo>
                  <a:pt x="101" y="285"/>
                  <a:pt x="101" y="285"/>
                  <a:pt x="101" y="285"/>
                </a:cubicBezTo>
                <a:cubicBezTo>
                  <a:pt x="101" y="284"/>
                  <a:pt x="101" y="284"/>
                  <a:pt x="101" y="284"/>
                </a:cubicBezTo>
                <a:cubicBezTo>
                  <a:pt x="100" y="284"/>
                  <a:pt x="100" y="284"/>
                  <a:pt x="100" y="284"/>
                </a:cubicBezTo>
                <a:cubicBezTo>
                  <a:pt x="100" y="285"/>
                  <a:pt x="100" y="285"/>
                  <a:pt x="100" y="285"/>
                </a:cubicBezTo>
                <a:cubicBezTo>
                  <a:pt x="100" y="285"/>
                  <a:pt x="100" y="285"/>
                  <a:pt x="100" y="285"/>
                </a:cubicBezTo>
                <a:cubicBezTo>
                  <a:pt x="100" y="286"/>
                  <a:pt x="100" y="286"/>
                  <a:pt x="100" y="286"/>
                </a:cubicBezTo>
                <a:cubicBezTo>
                  <a:pt x="100" y="287"/>
                  <a:pt x="100" y="287"/>
                  <a:pt x="100" y="287"/>
                </a:cubicBezTo>
                <a:cubicBezTo>
                  <a:pt x="100" y="287"/>
                  <a:pt x="100" y="287"/>
                  <a:pt x="100" y="287"/>
                </a:cubicBezTo>
                <a:cubicBezTo>
                  <a:pt x="100" y="288"/>
                  <a:pt x="100" y="288"/>
                  <a:pt x="100" y="288"/>
                </a:cubicBezTo>
                <a:cubicBezTo>
                  <a:pt x="101" y="289"/>
                  <a:pt x="101" y="289"/>
                  <a:pt x="101" y="289"/>
                </a:cubicBezTo>
                <a:cubicBezTo>
                  <a:pt x="101" y="290"/>
                  <a:pt x="101" y="290"/>
                  <a:pt x="101" y="290"/>
                </a:cubicBezTo>
                <a:cubicBezTo>
                  <a:pt x="101" y="292"/>
                  <a:pt x="101" y="292"/>
                  <a:pt x="101" y="292"/>
                </a:cubicBezTo>
                <a:cubicBezTo>
                  <a:pt x="101" y="293"/>
                  <a:pt x="101" y="293"/>
                  <a:pt x="101" y="293"/>
                </a:cubicBezTo>
                <a:cubicBezTo>
                  <a:pt x="100" y="292"/>
                  <a:pt x="100" y="292"/>
                  <a:pt x="100" y="292"/>
                </a:cubicBezTo>
                <a:cubicBezTo>
                  <a:pt x="100" y="292"/>
                  <a:pt x="100" y="292"/>
                  <a:pt x="100" y="292"/>
                </a:cubicBezTo>
                <a:cubicBezTo>
                  <a:pt x="100" y="293"/>
                  <a:pt x="100" y="293"/>
                  <a:pt x="100" y="293"/>
                </a:cubicBezTo>
                <a:cubicBezTo>
                  <a:pt x="99" y="293"/>
                  <a:pt x="99" y="293"/>
                  <a:pt x="99" y="293"/>
                </a:cubicBezTo>
                <a:cubicBezTo>
                  <a:pt x="97" y="293"/>
                  <a:pt x="97" y="293"/>
                  <a:pt x="97" y="293"/>
                </a:cubicBezTo>
                <a:cubicBezTo>
                  <a:pt x="96" y="293"/>
                  <a:pt x="96" y="293"/>
                  <a:pt x="96" y="293"/>
                </a:cubicBezTo>
                <a:cubicBezTo>
                  <a:pt x="96" y="294"/>
                  <a:pt x="96" y="294"/>
                  <a:pt x="96" y="294"/>
                </a:cubicBezTo>
                <a:cubicBezTo>
                  <a:pt x="96" y="294"/>
                  <a:pt x="96" y="294"/>
                  <a:pt x="96" y="294"/>
                </a:cubicBezTo>
                <a:cubicBezTo>
                  <a:pt x="97" y="295"/>
                  <a:pt x="97" y="295"/>
                  <a:pt x="97" y="295"/>
                </a:cubicBezTo>
                <a:cubicBezTo>
                  <a:pt x="98" y="295"/>
                  <a:pt x="98" y="295"/>
                  <a:pt x="98" y="295"/>
                </a:cubicBezTo>
                <a:cubicBezTo>
                  <a:pt x="99" y="295"/>
                  <a:pt x="99" y="295"/>
                  <a:pt x="99" y="295"/>
                </a:cubicBezTo>
                <a:cubicBezTo>
                  <a:pt x="99" y="296"/>
                  <a:pt x="99" y="296"/>
                  <a:pt x="99" y="296"/>
                </a:cubicBezTo>
                <a:cubicBezTo>
                  <a:pt x="100" y="296"/>
                  <a:pt x="100" y="296"/>
                  <a:pt x="100" y="296"/>
                </a:cubicBezTo>
                <a:cubicBezTo>
                  <a:pt x="101" y="296"/>
                  <a:pt x="101" y="296"/>
                  <a:pt x="101" y="296"/>
                </a:cubicBezTo>
                <a:cubicBezTo>
                  <a:pt x="101" y="296"/>
                  <a:pt x="101" y="296"/>
                  <a:pt x="101" y="296"/>
                </a:cubicBezTo>
                <a:cubicBezTo>
                  <a:pt x="100" y="297"/>
                  <a:pt x="100" y="297"/>
                  <a:pt x="100" y="297"/>
                </a:cubicBezTo>
                <a:cubicBezTo>
                  <a:pt x="100" y="297"/>
                  <a:pt x="100" y="297"/>
                  <a:pt x="100" y="297"/>
                </a:cubicBezTo>
                <a:cubicBezTo>
                  <a:pt x="99" y="297"/>
                  <a:pt x="99" y="297"/>
                  <a:pt x="99" y="297"/>
                </a:cubicBezTo>
                <a:cubicBezTo>
                  <a:pt x="99" y="298"/>
                  <a:pt x="99" y="298"/>
                  <a:pt x="99" y="298"/>
                </a:cubicBezTo>
                <a:cubicBezTo>
                  <a:pt x="100" y="298"/>
                  <a:pt x="100" y="298"/>
                  <a:pt x="100" y="298"/>
                </a:cubicBezTo>
                <a:cubicBezTo>
                  <a:pt x="100" y="299"/>
                  <a:pt x="100" y="299"/>
                  <a:pt x="100" y="299"/>
                </a:cubicBezTo>
                <a:cubicBezTo>
                  <a:pt x="100" y="300"/>
                  <a:pt x="100" y="300"/>
                  <a:pt x="100" y="300"/>
                </a:cubicBezTo>
                <a:cubicBezTo>
                  <a:pt x="100" y="300"/>
                  <a:pt x="100" y="300"/>
                  <a:pt x="100" y="300"/>
                </a:cubicBezTo>
                <a:cubicBezTo>
                  <a:pt x="99" y="301"/>
                  <a:pt x="99" y="301"/>
                  <a:pt x="99" y="301"/>
                </a:cubicBezTo>
                <a:cubicBezTo>
                  <a:pt x="99" y="301"/>
                  <a:pt x="99" y="301"/>
                  <a:pt x="99" y="301"/>
                </a:cubicBezTo>
                <a:cubicBezTo>
                  <a:pt x="98" y="300"/>
                  <a:pt x="98" y="300"/>
                  <a:pt x="98" y="300"/>
                </a:cubicBezTo>
                <a:cubicBezTo>
                  <a:pt x="97" y="299"/>
                  <a:pt x="97" y="299"/>
                  <a:pt x="97" y="299"/>
                </a:cubicBezTo>
                <a:cubicBezTo>
                  <a:pt x="97" y="299"/>
                  <a:pt x="97" y="299"/>
                  <a:pt x="97" y="299"/>
                </a:cubicBezTo>
                <a:cubicBezTo>
                  <a:pt x="96" y="299"/>
                  <a:pt x="96" y="299"/>
                  <a:pt x="96" y="299"/>
                </a:cubicBezTo>
                <a:cubicBezTo>
                  <a:pt x="96" y="298"/>
                  <a:pt x="96" y="298"/>
                  <a:pt x="96" y="298"/>
                </a:cubicBezTo>
                <a:cubicBezTo>
                  <a:pt x="95" y="298"/>
                  <a:pt x="95" y="298"/>
                  <a:pt x="95" y="298"/>
                </a:cubicBezTo>
                <a:cubicBezTo>
                  <a:pt x="95" y="299"/>
                  <a:pt x="95" y="299"/>
                  <a:pt x="95" y="299"/>
                </a:cubicBezTo>
                <a:cubicBezTo>
                  <a:pt x="94" y="299"/>
                  <a:pt x="94" y="299"/>
                  <a:pt x="94" y="299"/>
                </a:cubicBezTo>
                <a:cubicBezTo>
                  <a:pt x="95" y="299"/>
                  <a:pt x="95" y="299"/>
                  <a:pt x="95" y="299"/>
                </a:cubicBezTo>
                <a:cubicBezTo>
                  <a:pt x="96" y="300"/>
                  <a:pt x="96" y="300"/>
                  <a:pt x="96" y="300"/>
                </a:cubicBezTo>
                <a:cubicBezTo>
                  <a:pt x="97" y="300"/>
                  <a:pt x="97" y="300"/>
                  <a:pt x="97" y="300"/>
                </a:cubicBezTo>
                <a:cubicBezTo>
                  <a:pt x="98" y="301"/>
                  <a:pt x="98" y="301"/>
                  <a:pt x="98" y="301"/>
                </a:cubicBezTo>
                <a:cubicBezTo>
                  <a:pt x="99" y="301"/>
                  <a:pt x="99" y="301"/>
                  <a:pt x="99" y="301"/>
                </a:cubicBezTo>
                <a:cubicBezTo>
                  <a:pt x="99" y="301"/>
                  <a:pt x="99" y="301"/>
                  <a:pt x="99" y="301"/>
                </a:cubicBezTo>
                <a:cubicBezTo>
                  <a:pt x="99" y="302"/>
                  <a:pt x="99" y="302"/>
                  <a:pt x="99" y="302"/>
                </a:cubicBezTo>
                <a:cubicBezTo>
                  <a:pt x="98" y="303"/>
                  <a:pt x="98" y="303"/>
                  <a:pt x="98" y="303"/>
                </a:cubicBezTo>
                <a:cubicBezTo>
                  <a:pt x="97" y="303"/>
                  <a:pt x="97" y="303"/>
                  <a:pt x="97" y="303"/>
                </a:cubicBezTo>
                <a:cubicBezTo>
                  <a:pt x="96" y="303"/>
                  <a:pt x="96" y="303"/>
                  <a:pt x="96" y="303"/>
                </a:cubicBezTo>
                <a:cubicBezTo>
                  <a:pt x="96" y="303"/>
                  <a:pt x="96" y="303"/>
                  <a:pt x="96" y="303"/>
                </a:cubicBezTo>
                <a:cubicBezTo>
                  <a:pt x="94" y="302"/>
                  <a:pt x="94" y="302"/>
                  <a:pt x="94" y="302"/>
                </a:cubicBezTo>
                <a:cubicBezTo>
                  <a:pt x="94" y="301"/>
                  <a:pt x="94" y="301"/>
                  <a:pt x="94" y="301"/>
                </a:cubicBezTo>
                <a:cubicBezTo>
                  <a:pt x="93" y="301"/>
                  <a:pt x="93" y="301"/>
                  <a:pt x="93" y="301"/>
                </a:cubicBezTo>
                <a:cubicBezTo>
                  <a:pt x="93" y="302"/>
                  <a:pt x="93" y="302"/>
                  <a:pt x="93" y="302"/>
                </a:cubicBezTo>
                <a:cubicBezTo>
                  <a:pt x="93" y="302"/>
                  <a:pt x="93" y="302"/>
                  <a:pt x="93" y="302"/>
                </a:cubicBezTo>
                <a:cubicBezTo>
                  <a:pt x="93" y="303"/>
                  <a:pt x="93" y="303"/>
                  <a:pt x="93" y="303"/>
                </a:cubicBezTo>
                <a:cubicBezTo>
                  <a:pt x="93" y="304"/>
                  <a:pt x="93" y="304"/>
                  <a:pt x="93" y="304"/>
                </a:cubicBezTo>
                <a:cubicBezTo>
                  <a:pt x="95" y="304"/>
                  <a:pt x="95" y="304"/>
                  <a:pt x="95" y="304"/>
                </a:cubicBezTo>
                <a:cubicBezTo>
                  <a:pt x="95" y="305"/>
                  <a:pt x="95" y="305"/>
                  <a:pt x="95" y="305"/>
                </a:cubicBezTo>
                <a:cubicBezTo>
                  <a:pt x="95" y="306"/>
                  <a:pt x="95" y="306"/>
                  <a:pt x="95" y="306"/>
                </a:cubicBezTo>
                <a:cubicBezTo>
                  <a:pt x="95" y="306"/>
                  <a:pt x="95" y="306"/>
                  <a:pt x="95" y="306"/>
                </a:cubicBezTo>
                <a:cubicBezTo>
                  <a:pt x="94" y="305"/>
                  <a:pt x="94" y="305"/>
                  <a:pt x="94" y="305"/>
                </a:cubicBezTo>
                <a:cubicBezTo>
                  <a:pt x="93" y="305"/>
                  <a:pt x="93" y="305"/>
                  <a:pt x="93" y="305"/>
                </a:cubicBezTo>
                <a:cubicBezTo>
                  <a:pt x="92" y="304"/>
                  <a:pt x="92" y="304"/>
                  <a:pt x="92" y="304"/>
                </a:cubicBezTo>
                <a:cubicBezTo>
                  <a:pt x="91" y="304"/>
                  <a:pt x="91" y="304"/>
                  <a:pt x="91" y="304"/>
                </a:cubicBezTo>
                <a:cubicBezTo>
                  <a:pt x="91" y="304"/>
                  <a:pt x="91" y="304"/>
                  <a:pt x="91" y="304"/>
                </a:cubicBezTo>
                <a:cubicBezTo>
                  <a:pt x="91" y="305"/>
                  <a:pt x="91" y="305"/>
                  <a:pt x="91" y="305"/>
                </a:cubicBezTo>
                <a:cubicBezTo>
                  <a:pt x="92" y="305"/>
                  <a:pt x="92" y="305"/>
                  <a:pt x="92" y="305"/>
                </a:cubicBezTo>
                <a:cubicBezTo>
                  <a:pt x="93" y="306"/>
                  <a:pt x="93" y="306"/>
                  <a:pt x="93" y="306"/>
                </a:cubicBezTo>
                <a:cubicBezTo>
                  <a:pt x="94" y="306"/>
                  <a:pt x="94" y="306"/>
                  <a:pt x="94" y="306"/>
                </a:cubicBezTo>
                <a:cubicBezTo>
                  <a:pt x="94" y="307"/>
                  <a:pt x="94" y="307"/>
                  <a:pt x="94" y="307"/>
                </a:cubicBezTo>
                <a:cubicBezTo>
                  <a:pt x="93" y="307"/>
                  <a:pt x="93" y="307"/>
                  <a:pt x="93" y="307"/>
                </a:cubicBezTo>
                <a:cubicBezTo>
                  <a:pt x="92" y="307"/>
                  <a:pt x="92" y="307"/>
                  <a:pt x="92" y="307"/>
                </a:cubicBezTo>
                <a:cubicBezTo>
                  <a:pt x="91" y="306"/>
                  <a:pt x="91" y="306"/>
                  <a:pt x="91" y="306"/>
                </a:cubicBezTo>
                <a:cubicBezTo>
                  <a:pt x="91" y="306"/>
                  <a:pt x="91" y="306"/>
                  <a:pt x="91" y="306"/>
                </a:cubicBezTo>
                <a:cubicBezTo>
                  <a:pt x="91" y="305"/>
                  <a:pt x="91" y="305"/>
                  <a:pt x="91" y="305"/>
                </a:cubicBezTo>
                <a:cubicBezTo>
                  <a:pt x="90" y="305"/>
                  <a:pt x="90" y="305"/>
                  <a:pt x="90" y="305"/>
                </a:cubicBezTo>
                <a:cubicBezTo>
                  <a:pt x="90" y="306"/>
                  <a:pt x="90" y="306"/>
                  <a:pt x="90" y="306"/>
                </a:cubicBezTo>
                <a:cubicBezTo>
                  <a:pt x="90" y="306"/>
                  <a:pt x="90" y="306"/>
                  <a:pt x="90" y="306"/>
                </a:cubicBezTo>
                <a:cubicBezTo>
                  <a:pt x="90" y="307"/>
                  <a:pt x="90" y="307"/>
                  <a:pt x="90" y="307"/>
                </a:cubicBezTo>
                <a:cubicBezTo>
                  <a:pt x="90" y="308"/>
                  <a:pt x="90" y="308"/>
                  <a:pt x="90" y="308"/>
                </a:cubicBezTo>
                <a:cubicBezTo>
                  <a:pt x="90" y="308"/>
                  <a:pt x="90" y="308"/>
                  <a:pt x="90" y="308"/>
                </a:cubicBezTo>
                <a:cubicBezTo>
                  <a:pt x="91" y="308"/>
                  <a:pt x="91" y="308"/>
                  <a:pt x="91" y="308"/>
                </a:cubicBezTo>
                <a:cubicBezTo>
                  <a:pt x="92" y="308"/>
                  <a:pt x="92" y="308"/>
                  <a:pt x="92" y="308"/>
                </a:cubicBezTo>
                <a:cubicBezTo>
                  <a:pt x="93" y="308"/>
                  <a:pt x="93" y="308"/>
                  <a:pt x="93" y="308"/>
                </a:cubicBezTo>
                <a:cubicBezTo>
                  <a:pt x="93" y="309"/>
                  <a:pt x="93" y="309"/>
                  <a:pt x="93" y="309"/>
                </a:cubicBezTo>
                <a:cubicBezTo>
                  <a:pt x="93" y="309"/>
                  <a:pt x="93" y="309"/>
                  <a:pt x="93" y="309"/>
                </a:cubicBezTo>
                <a:cubicBezTo>
                  <a:pt x="93" y="310"/>
                  <a:pt x="93" y="310"/>
                  <a:pt x="93" y="310"/>
                </a:cubicBezTo>
                <a:cubicBezTo>
                  <a:pt x="92" y="310"/>
                  <a:pt x="92" y="310"/>
                  <a:pt x="92" y="310"/>
                </a:cubicBezTo>
                <a:cubicBezTo>
                  <a:pt x="91" y="311"/>
                  <a:pt x="91" y="311"/>
                  <a:pt x="91" y="311"/>
                </a:cubicBezTo>
                <a:cubicBezTo>
                  <a:pt x="91" y="310"/>
                  <a:pt x="91" y="310"/>
                  <a:pt x="91" y="310"/>
                </a:cubicBezTo>
                <a:cubicBezTo>
                  <a:pt x="90" y="310"/>
                  <a:pt x="90" y="310"/>
                  <a:pt x="90" y="310"/>
                </a:cubicBezTo>
                <a:cubicBezTo>
                  <a:pt x="89" y="310"/>
                  <a:pt x="89" y="310"/>
                  <a:pt x="89" y="310"/>
                </a:cubicBezTo>
                <a:cubicBezTo>
                  <a:pt x="89" y="309"/>
                  <a:pt x="89" y="309"/>
                  <a:pt x="89" y="309"/>
                </a:cubicBezTo>
                <a:cubicBezTo>
                  <a:pt x="89" y="309"/>
                  <a:pt x="89" y="309"/>
                  <a:pt x="89" y="309"/>
                </a:cubicBezTo>
                <a:cubicBezTo>
                  <a:pt x="88" y="308"/>
                  <a:pt x="88" y="308"/>
                  <a:pt x="88" y="308"/>
                </a:cubicBezTo>
                <a:cubicBezTo>
                  <a:pt x="88" y="308"/>
                  <a:pt x="88" y="308"/>
                  <a:pt x="88" y="308"/>
                </a:cubicBezTo>
                <a:cubicBezTo>
                  <a:pt x="88" y="309"/>
                  <a:pt x="88" y="309"/>
                  <a:pt x="88" y="309"/>
                </a:cubicBezTo>
                <a:cubicBezTo>
                  <a:pt x="88" y="310"/>
                  <a:pt x="88" y="310"/>
                  <a:pt x="88" y="310"/>
                </a:cubicBezTo>
                <a:cubicBezTo>
                  <a:pt x="87" y="311"/>
                  <a:pt x="87" y="311"/>
                  <a:pt x="87" y="311"/>
                </a:cubicBezTo>
                <a:cubicBezTo>
                  <a:pt x="86" y="311"/>
                  <a:pt x="86" y="311"/>
                  <a:pt x="86" y="311"/>
                </a:cubicBezTo>
                <a:cubicBezTo>
                  <a:pt x="86" y="310"/>
                  <a:pt x="86" y="310"/>
                  <a:pt x="86" y="310"/>
                </a:cubicBezTo>
                <a:cubicBezTo>
                  <a:pt x="85" y="310"/>
                  <a:pt x="85" y="310"/>
                  <a:pt x="85" y="310"/>
                </a:cubicBezTo>
                <a:cubicBezTo>
                  <a:pt x="85" y="310"/>
                  <a:pt x="85" y="310"/>
                  <a:pt x="85" y="310"/>
                </a:cubicBezTo>
                <a:cubicBezTo>
                  <a:pt x="85" y="311"/>
                  <a:pt x="85" y="311"/>
                  <a:pt x="85" y="311"/>
                </a:cubicBezTo>
                <a:cubicBezTo>
                  <a:pt x="85" y="311"/>
                  <a:pt x="85" y="311"/>
                  <a:pt x="85" y="311"/>
                </a:cubicBezTo>
                <a:cubicBezTo>
                  <a:pt x="87" y="312"/>
                  <a:pt x="87" y="312"/>
                  <a:pt x="87" y="312"/>
                </a:cubicBezTo>
                <a:cubicBezTo>
                  <a:pt x="88" y="312"/>
                  <a:pt x="88" y="312"/>
                  <a:pt x="88" y="312"/>
                </a:cubicBezTo>
                <a:cubicBezTo>
                  <a:pt x="89" y="313"/>
                  <a:pt x="89" y="313"/>
                  <a:pt x="89" y="313"/>
                </a:cubicBezTo>
                <a:cubicBezTo>
                  <a:pt x="89" y="315"/>
                  <a:pt x="89" y="315"/>
                  <a:pt x="89" y="315"/>
                </a:cubicBezTo>
                <a:cubicBezTo>
                  <a:pt x="89" y="315"/>
                  <a:pt x="89" y="315"/>
                  <a:pt x="89" y="315"/>
                </a:cubicBezTo>
                <a:cubicBezTo>
                  <a:pt x="88" y="315"/>
                  <a:pt x="88" y="315"/>
                  <a:pt x="88" y="315"/>
                </a:cubicBezTo>
                <a:cubicBezTo>
                  <a:pt x="87" y="314"/>
                  <a:pt x="87" y="314"/>
                  <a:pt x="87" y="314"/>
                </a:cubicBezTo>
                <a:cubicBezTo>
                  <a:pt x="86" y="313"/>
                  <a:pt x="86" y="313"/>
                  <a:pt x="86" y="313"/>
                </a:cubicBezTo>
                <a:cubicBezTo>
                  <a:pt x="85" y="313"/>
                  <a:pt x="85" y="313"/>
                  <a:pt x="85" y="313"/>
                </a:cubicBezTo>
                <a:cubicBezTo>
                  <a:pt x="84" y="313"/>
                  <a:pt x="84" y="313"/>
                  <a:pt x="84" y="313"/>
                </a:cubicBezTo>
                <a:cubicBezTo>
                  <a:pt x="84" y="313"/>
                  <a:pt x="84" y="313"/>
                  <a:pt x="84" y="313"/>
                </a:cubicBezTo>
                <a:cubicBezTo>
                  <a:pt x="85" y="314"/>
                  <a:pt x="85" y="314"/>
                  <a:pt x="85" y="314"/>
                </a:cubicBezTo>
                <a:cubicBezTo>
                  <a:pt x="86" y="314"/>
                  <a:pt x="86" y="314"/>
                  <a:pt x="86" y="314"/>
                </a:cubicBezTo>
                <a:cubicBezTo>
                  <a:pt x="87" y="315"/>
                  <a:pt x="87" y="315"/>
                  <a:pt x="87" y="315"/>
                </a:cubicBezTo>
                <a:cubicBezTo>
                  <a:pt x="88" y="316"/>
                  <a:pt x="88" y="316"/>
                  <a:pt x="88" y="316"/>
                </a:cubicBezTo>
                <a:cubicBezTo>
                  <a:pt x="88" y="317"/>
                  <a:pt x="88" y="317"/>
                  <a:pt x="88" y="317"/>
                </a:cubicBezTo>
                <a:cubicBezTo>
                  <a:pt x="88" y="318"/>
                  <a:pt x="88" y="318"/>
                  <a:pt x="88" y="318"/>
                </a:cubicBezTo>
                <a:cubicBezTo>
                  <a:pt x="88" y="318"/>
                  <a:pt x="88" y="318"/>
                  <a:pt x="88" y="318"/>
                </a:cubicBezTo>
                <a:cubicBezTo>
                  <a:pt x="88" y="319"/>
                  <a:pt x="88" y="319"/>
                  <a:pt x="88" y="319"/>
                </a:cubicBezTo>
                <a:cubicBezTo>
                  <a:pt x="87" y="319"/>
                  <a:pt x="87" y="319"/>
                  <a:pt x="87" y="319"/>
                </a:cubicBezTo>
                <a:cubicBezTo>
                  <a:pt x="87" y="320"/>
                  <a:pt x="87" y="320"/>
                  <a:pt x="87" y="320"/>
                </a:cubicBezTo>
                <a:cubicBezTo>
                  <a:pt x="87" y="321"/>
                  <a:pt x="87" y="321"/>
                  <a:pt x="87" y="321"/>
                </a:cubicBezTo>
                <a:cubicBezTo>
                  <a:pt x="86" y="321"/>
                  <a:pt x="86" y="321"/>
                  <a:pt x="86" y="321"/>
                </a:cubicBezTo>
                <a:cubicBezTo>
                  <a:pt x="86" y="320"/>
                  <a:pt x="86" y="320"/>
                  <a:pt x="86" y="320"/>
                </a:cubicBezTo>
                <a:cubicBezTo>
                  <a:pt x="85" y="320"/>
                  <a:pt x="85" y="320"/>
                  <a:pt x="85" y="320"/>
                </a:cubicBezTo>
                <a:cubicBezTo>
                  <a:pt x="84" y="320"/>
                  <a:pt x="84" y="320"/>
                  <a:pt x="84" y="320"/>
                </a:cubicBezTo>
                <a:cubicBezTo>
                  <a:pt x="83" y="320"/>
                  <a:pt x="83" y="320"/>
                  <a:pt x="83" y="320"/>
                </a:cubicBezTo>
                <a:cubicBezTo>
                  <a:pt x="84" y="320"/>
                  <a:pt x="84" y="320"/>
                  <a:pt x="84" y="320"/>
                </a:cubicBezTo>
                <a:cubicBezTo>
                  <a:pt x="85" y="321"/>
                  <a:pt x="85" y="321"/>
                  <a:pt x="85" y="321"/>
                </a:cubicBezTo>
                <a:cubicBezTo>
                  <a:pt x="86" y="321"/>
                  <a:pt x="86" y="321"/>
                  <a:pt x="86" y="321"/>
                </a:cubicBezTo>
                <a:cubicBezTo>
                  <a:pt x="86" y="321"/>
                  <a:pt x="86" y="321"/>
                  <a:pt x="86" y="321"/>
                </a:cubicBezTo>
                <a:cubicBezTo>
                  <a:pt x="85" y="322"/>
                  <a:pt x="85" y="322"/>
                  <a:pt x="85" y="322"/>
                </a:cubicBezTo>
                <a:cubicBezTo>
                  <a:pt x="84" y="322"/>
                  <a:pt x="84" y="322"/>
                  <a:pt x="84" y="322"/>
                </a:cubicBezTo>
                <a:cubicBezTo>
                  <a:pt x="84" y="322"/>
                  <a:pt x="84" y="322"/>
                  <a:pt x="84" y="322"/>
                </a:cubicBezTo>
                <a:cubicBezTo>
                  <a:pt x="84" y="322"/>
                  <a:pt x="84" y="322"/>
                  <a:pt x="84" y="322"/>
                </a:cubicBezTo>
                <a:cubicBezTo>
                  <a:pt x="84" y="322"/>
                  <a:pt x="84" y="322"/>
                  <a:pt x="84" y="322"/>
                </a:cubicBezTo>
                <a:cubicBezTo>
                  <a:pt x="84" y="323"/>
                  <a:pt x="84" y="323"/>
                  <a:pt x="84" y="323"/>
                </a:cubicBezTo>
                <a:cubicBezTo>
                  <a:pt x="85" y="323"/>
                  <a:pt x="85" y="323"/>
                  <a:pt x="85" y="323"/>
                </a:cubicBezTo>
                <a:cubicBezTo>
                  <a:pt x="85" y="323"/>
                  <a:pt x="85" y="323"/>
                  <a:pt x="85" y="323"/>
                </a:cubicBezTo>
                <a:cubicBezTo>
                  <a:pt x="84" y="324"/>
                  <a:pt x="84" y="324"/>
                  <a:pt x="84" y="324"/>
                </a:cubicBezTo>
                <a:cubicBezTo>
                  <a:pt x="83" y="324"/>
                  <a:pt x="83" y="324"/>
                  <a:pt x="83" y="324"/>
                </a:cubicBezTo>
                <a:cubicBezTo>
                  <a:pt x="83" y="324"/>
                  <a:pt x="83" y="324"/>
                  <a:pt x="83" y="324"/>
                </a:cubicBezTo>
                <a:cubicBezTo>
                  <a:pt x="82" y="324"/>
                  <a:pt x="82" y="324"/>
                  <a:pt x="82" y="324"/>
                </a:cubicBezTo>
                <a:cubicBezTo>
                  <a:pt x="82" y="324"/>
                  <a:pt x="82" y="324"/>
                  <a:pt x="82" y="324"/>
                </a:cubicBezTo>
                <a:cubicBezTo>
                  <a:pt x="82" y="324"/>
                  <a:pt x="82" y="324"/>
                  <a:pt x="82" y="324"/>
                </a:cubicBezTo>
                <a:cubicBezTo>
                  <a:pt x="83" y="325"/>
                  <a:pt x="83" y="325"/>
                  <a:pt x="83" y="325"/>
                </a:cubicBezTo>
                <a:cubicBezTo>
                  <a:pt x="84" y="325"/>
                  <a:pt x="84" y="325"/>
                  <a:pt x="84" y="325"/>
                </a:cubicBezTo>
                <a:cubicBezTo>
                  <a:pt x="83" y="326"/>
                  <a:pt x="83" y="326"/>
                  <a:pt x="83" y="326"/>
                </a:cubicBezTo>
                <a:cubicBezTo>
                  <a:pt x="83" y="326"/>
                  <a:pt x="83" y="326"/>
                  <a:pt x="83" y="326"/>
                </a:cubicBezTo>
                <a:cubicBezTo>
                  <a:pt x="81" y="326"/>
                  <a:pt x="81" y="326"/>
                  <a:pt x="81" y="326"/>
                </a:cubicBezTo>
                <a:cubicBezTo>
                  <a:pt x="80" y="326"/>
                  <a:pt x="80" y="326"/>
                  <a:pt x="80" y="326"/>
                </a:cubicBezTo>
                <a:cubicBezTo>
                  <a:pt x="80" y="326"/>
                  <a:pt x="80" y="326"/>
                  <a:pt x="80" y="326"/>
                </a:cubicBezTo>
                <a:cubicBezTo>
                  <a:pt x="80" y="326"/>
                  <a:pt x="80" y="326"/>
                  <a:pt x="80" y="326"/>
                </a:cubicBezTo>
                <a:cubicBezTo>
                  <a:pt x="81" y="327"/>
                  <a:pt x="81" y="327"/>
                  <a:pt x="81" y="327"/>
                </a:cubicBezTo>
                <a:cubicBezTo>
                  <a:pt x="83" y="327"/>
                  <a:pt x="83" y="327"/>
                  <a:pt x="83" y="327"/>
                </a:cubicBezTo>
                <a:cubicBezTo>
                  <a:pt x="84" y="327"/>
                  <a:pt x="84" y="327"/>
                  <a:pt x="84" y="327"/>
                </a:cubicBezTo>
                <a:cubicBezTo>
                  <a:pt x="84" y="328"/>
                  <a:pt x="84" y="328"/>
                  <a:pt x="84" y="328"/>
                </a:cubicBezTo>
                <a:cubicBezTo>
                  <a:pt x="84" y="328"/>
                  <a:pt x="84" y="328"/>
                  <a:pt x="84" y="328"/>
                </a:cubicBezTo>
                <a:cubicBezTo>
                  <a:pt x="83" y="329"/>
                  <a:pt x="83" y="329"/>
                  <a:pt x="83" y="329"/>
                </a:cubicBezTo>
                <a:cubicBezTo>
                  <a:pt x="82" y="329"/>
                  <a:pt x="82" y="329"/>
                  <a:pt x="82" y="329"/>
                </a:cubicBezTo>
                <a:cubicBezTo>
                  <a:pt x="80" y="329"/>
                  <a:pt x="80" y="329"/>
                  <a:pt x="80" y="329"/>
                </a:cubicBezTo>
                <a:cubicBezTo>
                  <a:pt x="79" y="328"/>
                  <a:pt x="79" y="328"/>
                  <a:pt x="79" y="328"/>
                </a:cubicBezTo>
                <a:cubicBezTo>
                  <a:pt x="79" y="329"/>
                  <a:pt x="79" y="329"/>
                  <a:pt x="79" y="329"/>
                </a:cubicBezTo>
                <a:cubicBezTo>
                  <a:pt x="80" y="329"/>
                  <a:pt x="80" y="329"/>
                  <a:pt x="80" y="329"/>
                </a:cubicBezTo>
                <a:cubicBezTo>
                  <a:pt x="81" y="329"/>
                  <a:pt x="81" y="329"/>
                  <a:pt x="81" y="329"/>
                </a:cubicBezTo>
                <a:cubicBezTo>
                  <a:pt x="81" y="330"/>
                  <a:pt x="81" y="330"/>
                  <a:pt x="81" y="330"/>
                </a:cubicBezTo>
                <a:cubicBezTo>
                  <a:pt x="81" y="330"/>
                  <a:pt x="81" y="330"/>
                  <a:pt x="81" y="330"/>
                </a:cubicBezTo>
                <a:cubicBezTo>
                  <a:pt x="80" y="330"/>
                  <a:pt x="80" y="330"/>
                  <a:pt x="80" y="330"/>
                </a:cubicBezTo>
                <a:cubicBezTo>
                  <a:pt x="80" y="330"/>
                  <a:pt x="80" y="330"/>
                  <a:pt x="80" y="330"/>
                </a:cubicBezTo>
                <a:cubicBezTo>
                  <a:pt x="81" y="331"/>
                  <a:pt x="81" y="331"/>
                  <a:pt x="81" y="331"/>
                </a:cubicBezTo>
                <a:cubicBezTo>
                  <a:pt x="82" y="331"/>
                  <a:pt x="82" y="331"/>
                  <a:pt x="82" y="331"/>
                </a:cubicBezTo>
                <a:cubicBezTo>
                  <a:pt x="82" y="331"/>
                  <a:pt x="82" y="331"/>
                  <a:pt x="82" y="331"/>
                </a:cubicBezTo>
                <a:cubicBezTo>
                  <a:pt x="82" y="332"/>
                  <a:pt x="82" y="332"/>
                  <a:pt x="82" y="332"/>
                </a:cubicBezTo>
                <a:cubicBezTo>
                  <a:pt x="81" y="332"/>
                  <a:pt x="81" y="332"/>
                  <a:pt x="81" y="332"/>
                </a:cubicBezTo>
                <a:cubicBezTo>
                  <a:pt x="80" y="332"/>
                  <a:pt x="80" y="332"/>
                  <a:pt x="80" y="332"/>
                </a:cubicBezTo>
                <a:cubicBezTo>
                  <a:pt x="80" y="332"/>
                  <a:pt x="80" y="332"/>
                  <a:pt x="80" y="332"/>
                </a:cubicBezTo>
                <a:cubicBezTo>
                  <a:pt x="81" y="333"/>
                  <a:pt x="81" y="333"/>
                  <a:pt x="81" y="333"/>
                </a:cubicBezTo>
                <a:cubicBezTo>
                  <a:pt x="82" y="332"/>
                  <a:pt x="82" y="332"/>
                  <a:pt x="82" y="332"/>
                </a:cubicBezTo>
                <a:cubicBezTo>
                  <a:pt x="83" y="333"/>
                  <a:pt x="83" y="333"/>
                  <a:pt x="83" y="333"/>
                </a:cubicBezTo>
                <a:cubicBezTo>
                  <a:pt x="82" y="333"/>
                  <a:pt x="82" y="333"/>
                  <a:pt x="82" y="333"/>
                </a:cubicBezTo>
                <a:cubicBezTo>
                  <a:pt x="82" y="334"/>
                  <a:pt x="82" y="334"/>
                  <a:pt x="82" y="334"/>
                </a:cubicBezTo>
                <a:cubicBezTo>
                  <a:pt x="81" y="334"/>
                  <a:pt x="81" y="334"/>
                  <a:pt x="81" y="334"/>
                </a:cubicBezTo>
                <a:cubicBezTo>
                  <a:pt x="80" y="334"/>
                  <a:pt x="80" y="334"/>
                  <a:pt x="80" y="334"/>
                </a:cubicBezTo>
                <a:cubicBezTo>
                  <a:pt x="79" y="333"/>
                  <a:pt x="79" y="333"/>
                  <a:pt x="79" y="333"/>
                </a:cubicBezTo>
                <a:cubicBezTo>
                  <a:pt x="78" y="333"/>
                  <a:pt x="78" y="333"/>
                  <a:pt x="78" y="333"/>
                </a:cubicBezTo>
                <a:cubicBezTo>
                  <a:pt x="78" y="332"/>
                  <a:pt x="78" y="332"/>
                  <a:pt x="78" y="332"/>
                </a:cubicBezTo>
                <a:cubicBezTo>
                  <a:pt x="77" y="332"/>
                  <a:pt x="77" y="332"/>
                  <a:pt x="77" y="332"/>
                </a:cubicBezTo>
                <a:cubicBezTo>
                  <a:pt x="77" y="332"/>
                  <a:pt x="77" y="332"/>
                  <a:pt x="77" y="332"/>
                </a:cubicBezTo>
                <a:cubicBezTo>
                  <a:pt x="76" y="332"/>
                  <a:pt x="76" y="332"/>
                  <a:pt x="76" y="332"/>
                </a:cubicBezTo>
                <a:cubicBezTo>
                  <a:pt x="76" y="332"/>
                  <a:pt x="76" y="332"/>
                  <a:pt x="76" y="332"/>
                </a:cubicBezTo>
                <a:cubicBezTo>
                  <a:pt x="76" y="333"/>
                  <a:pt x="76" y="333"/>
                  <a:pt x="76" y="333"/>
                </a:cubicBezTo>
                <a:cubicBezTo>
                  <a:pt x="78" y="334"/>
                  <a:pt x="78" y="334"/>
                  <a:pt x="78" y="334"/>
                </a:cubicBezTo>
                <a:cubicBezTo>
                  <a:pt x="79" y="334"/>
                  <a:pt x="79" y="334"/>
                  <a:pt x="79" y="334"/>
                </a:cubicBezTo>
                <a:cubicBezTo>
                  <a:pt x="79" y="335"/>
                  <a:pt x="79" y="335"/>
                  <a:pt x="79" y="335"/>
                </a:cubicBezTo>
                <a:cubicBezTo>
                  <a:pt x="79" y="335"/>
                  <a:pt x="79" y="335"/>
                  <a:pt x="79" y="335"/>
                </a:cubicBezTo>
                <a:cubicBezTo>
                  <a:pt x="79" y="336"/>
                  <a:pt x="79" y="336"/>
                  <a:pt x="79" y="336"/>
                </a:cubicBezTo>
                <a:cubicBezTo>
                  <a:pt x="79" y="336"/>
                  <a:pt x="79" y="336"/>
                  <a:pt x="79" y="336"/>
                </a:cubicBezTo>
                <a:cubicBezTo>
                  <a:pt x="80" y="336"/>
                  <a:pt x="80" y="336"/>
                  <a:pt x="80" y="336"/>
                </a:cubicBezTo>
                <a:cubicBezTo>
                  <a:pt x="80" y="336"/>
                  <a:pt x="80" y="336"/>
                  <a:pt x="80" y="336"/>
                </a:cubicBezTo>
                <a:cubicBezTo>
                  <a:pt x="81" y="336"/>
                  <a:pt x="81" y="336"/>
                  <a:pt x="81" y="336"/>
                </a:cubicBezTo>
                <a:cubicBezTo>
                  <a:pt x="81" y="337"/>
                  <a:pt x="81" y="337"/>
                  <a:pt x="81" y="337"/>
                </a:cubicBezTo>
                <a:cubicBezTo>
                  <a:pt x="80" y="337"/>
                  <a:pt x="80" y="337"/>
                  <a:pt x="80" y="337"/>
                </a:cubicBezTo>
                <a:cubicBezTo>
                  <a:pt x="80" y="337"/>
                  <a:pt x="80" y="337"/>
                  <a:pt x="80" y="337"/>
                </a:cubicBezTo>
                <a:cubicBezTo>
                  <a:pt x="80" y="338"/>
                  <a:pt x="80" y="338"/>
                  <a:pt x="80" y="338"/>
                </a:cubicBezTo>
                <a:cubicBezTo>
                  <a:pt x="79" y="338"/>
                  <a:pt x="79" y="338"/>
                  <a:pt x="79" y="338"/>
                </a:cubicBezTo>
                <a:close/>
                <a:moveTo>
                  <a:pt x="78" y="338"/>
                </a:moveTo>
                <a:cubicBezTo>
                  <a:pt x="76" y="337"/>
                  <a:pt x="76" y="337"/>
                  <a:pt x="76" y="337"/>
                </a:cubicBezTo>
                <a:cubicBezTo>
                  <a:pt x="75" y="337"/>
                  <a:pt x="75" y="337"/>
                  <a:pt x="75" y="337"/>
                </a:cubicBezTo>
                <a:cubicBezTo>
                  <a:pt x="75" y="337"/>
                  <a:pt x="75" y="337"/>
                  <a:pt x="75" y="337"/>
                </a:cubicBezTo>
                <a:cubicBezTo>
                  <a:pt x="76" y="339"/>
                  <a:pt x="76" y="339"/>
                  <a:pt x="76" y="339"/>
                </a:cubicBezTo>
                <a:cubicBezTo>
                  <a:pt x="77" y="339"/>
                  <a:pt x="77" y="339"/>
                  <a:pt x="77" y="339"/>
                </a:cubicBezTo>
                <a:cubicBezTo>
                  <a:pt x="78" y="338"/>
                  <a:pt x="78" y="338"/>
                  <a:pt x="78" y="338"/>
                </a:cubicBezTo>
                <a:close/>
                <a:moveTo>
                  <a:pt x="176" y="228"/>
                </a:moveTo>
                <a:cubicBezTo>
                  <a:pt x="176" y="229"/>
                  <a:pt x="176" y="229"/>
                  <a:pt x="176" y="229"/>
                </a:cubicBezTo>
                <a:cubicBezTo>
                  <a:pt x="178" y="229"/>
                  <a:pt x="178" y="229"/>
                  <a:pt x="178" y="229"/>
                </a:cubicBezTo>
                <a:cubicBezTo>
                  <a:pt x="180" y="228"/>
                  <a:pt x="180" y="228"/>
                  <a:pt x="180" y="228"/>
                </a:cubicBezTo>
                <a:cubicBezTo>
                  <a:pt x="183" y="229"/>
                  <a:pt x="183" y="229"/>
                  <a:pt x="183" y="229"/>
                </a:cubicBezTo>
                <a:cubicBezTo>
                  <a:pt x="184" y="228"/>
                  <a:pt x="184" y="228"/>
                  <a:pt x="184" y="228"/>
                </a:cubicBezTo>
                <a:cubicBezTo>
                  <a:pt x="185" y="227"/>
                  <a:pt x="185" y="227"/>
                  <a:pt x="185" y="227"/>
                </a:cubicBezTo>
                <a:cubicBezTo>
                  <a:pt x="187" y="228"/>
                  <a:pt x="187" y="228"/>
                  <a:pt x="187" y="228"/>
                </a:cubicBezTo>
                <a:cubicBezTo>
                  <a:pt x="188" y="228"/>
                  <a:pt x="188" y="228"/>
                  <a:pt x="188" y="228"/>
                </a:cubicBezTo>
                <a:cubicBezTo>
                  <a:pt x="189" y="228"/>
                  <a:pt x="189" y="228"/>
                  <a:pt x="189" y="228"/>
                </a:cubicBezTo>
                <a:cubicBezTo>
                  <a:pt x="190" y="227"/>
                  <a:pt x="190" y="227"/>
                  <a:pt x="190" y="227"/>
                </a:cubicBezTo>
                <a:cubicBezTo>
                  <a:pt x="190" y="223"/>
                  <a:pt x="190" y="223"/>
                  <a:pt x="190" y="223"/>
                </a:cubicBezTo>
                <a:cubicBezTo>
                  <a:pt x="189" y="223"/>
                  <a:pt x="189" y="223"/>
                  <a:pt x="189" y="223"/>
                </a:cubicBezTo>
                <a:cubicBezTo>
                  <a:pt x="189" y="221"/>
                  <a:pt x="189" y="221"/>
                  <a:pt x="189" y="221"/>
                </a:cubicBezTo>
                <a:cubicBezTo>
                  <a:pt x="188" y="221"/>
                  <a:pt x="188" y="221"/>
                  <a:pt x="188" y="221"/>
                </a:cubicBezTo>
                <a:cubicBezTo>
                  <a:pt x="184" y="223"/>
                  <a:pt x="184" y="223"/>
                  <a:pt x="184" y="223"/>
                </a:cubicBezTo>
                <a:cubicBezTo>
                  <a:pt x="181" y="223"/>
                  <a:pt x="181" y="223"/>
                  <a:pt x="181" y="223"/>
                </a:cubicBezTo>
                <a:cubicBezTo>
                  <a:pt x="180" y="224"/>
                  <a:pt x="180" y="224"/>
                  <a:pt x="180" y="224"/>
                </a:cubicBezTo>
                <a:cubicBezTo>
                  <a:pt x="179" y="225"/>
                  <a:pt x="179" y="225"/>
                  <a:pt x="179" y="225"/>
                </a:cubicBezTo>
                <a:cubicBezTo>
                  <a:pt x="178" y="226"/>
                  <a:pt x="178" y="226"/>
                  <a:pt x="178" y="226"/>
                </a:cubicBezTo>
                <a:cubicBezTo>
                  <a:pt x="177" y="226"/>
                  <a:pt x="177" y="226"/>
                  <a:pt x="177" y="226"/>
                </a:cubicBezTo>
                <a:cubicBezTo>
                  <a:pt x="176" y="227"/>
                  <a:pt x="176" y="227"/>
                  <a:pt x="176" y="227"/>
                </a:cubicBezTo>
                <a:cubicBezTo>
                  <a:pt x="176" y="228"/>
                  <a:pt x="176" y="228"/>
                  <a:pt x="176" y="228"/>
                </a:cubicBezTo>
                <a:close/>
                <a:moveTo>
                  <a:pt x="82" y="330"/>
                </a:moveTo>
                <a:cubicBezTo>
                  <a:pt x="83" y="330"/>
                  <a:pt x="83" y="330"/>
                  <a:pt x="83" y="330"/>
                </a:cubicBezTo>
                <a:cubicBezTo>
                  <a:pt x="84" y="330"/>
                  <a:pt x="84" y="330"/>
                  <a:pt x="84" y="330"/>
                </a:cubicBezTo>
                <a:cubicBezTo>
                  <a:pt x="83" y="329"/>
                  <a:pt x="83" y="329"/>
                  <a:pt x="83" y="329"/>
                </a:cubicBezTo>
                <a:cubicBezTo>
                  <a:pt x="83" y="330"/>
                  <a:pt x="83" y="330"/>
                  <a:pt x="83" y="330"/>
                </a:cubicBezTo>
                <a:cubicBezTo>
                  <a:pt x="82" y="330"/>
                  <a:pt x="82" y="330"/>
                  <a:pt x="82" y="330"/>
                </a:cubicBezTo>
                <a:close/>
                <a:moveTo>
                  <a:pt x="88" y="317"/>
                </a:moveTo>
                <a:cubicBezTo>
                  <a:pt x="89" y="318"/>
                  <a:pt x="89" y="318"/>
                  <a:pt x="89" y="318"/>
                </a:cubicBezTo>
                <a:cubicBezTo>
                  <a:pt x="89" y="317"/>
                  <a:pt x="89" y="317"/>
                  <a:pt x="89" y="317"/>
                </a:cubicBezTo>
                <a:cubicBezTo>
                  <a:pt x="88" y="317"/>
                  <a:pt x="88" y="317"/>
                  <a:pt x="88" y="317"/>
                </a:cubicBezTo>
                <a:close/>
                <a:moveTo>
                  <a:pt x="89" y="316"/>
                </a:moveTo>
                <a:cubicBezTo>
                  <a:pt x="89" y="316"/>
                  <a:pt x="89" y="316"/>
                  <a:pt x="89" y="316"/>
                </a:cubicBezTo>
                <a:cubicBezTo>
                  <a:pt x="89" y="316"/>
                  <a:pt x="89" y="316"/>
                  <a:pt x="89" y="316"/>
                </a:cubicBezTo>
                <a:cubicBezTo>
                  <a:pt x="89" y="315"/>
                  <a:pt x="89" y="315"/>
                  <a:pt x="89" y="315"/>
                </a:cubicBezTo>
                <a:cubicBezTo>
                  <a:pt x="89" y="316"/>
                  <a:pt x="89" y="316"/>
                  <a:pt x="89" y="316"/>
                </a:cubicBezTo>
                <a:close/>
                <a:moveTo>
                  <a:pt x="90" y="313"/>
                </a:moveTo>
                <a:cubicBezTo>
                  <a:pt x="90" y="314"/>
                  <a:pt x="90" y="314"/>
                  <a:pt x="90" y="314"/>
                </a:cubicBezTo>
                <a:cubicBezTo>
                  <a:pt x="90" y="314"/>
                  <a:pt x="90" y="314"/>
                  <a:pt x="90" y="314"/>
                </a:cubicBezTo>
                <a:cubicBezTo>
                  <a:pt x="90" y="313"/>
                  <a:pt x="90" y="313"/>
                  <a:pt x="90" y="313"/>
                </a:cubicBezTo>
                <a:cubicBezTo>
                  <a:pt x="90" y="313"/>
                  <a:pt x="90" y="313"/>
                  <a:pt x="90" y="313"/>
                </a:cubicBezTo>
                <a:cubicBezTo>
                  <a:pt x="90" y="313"/>
                  <a:pt x="90" y="313"/>
                  <a:pt x="90" y="313"/>
                </a:cubicBezTo>
                <a:close/>
                <a:moveTo>
                  <a:pt x="89" y="311"/>
                </a:moveTo>
                <a:cubicBezTo>
                  <a:pt x="89" y="312"/>
                  <a:pt x="89" y="312"/>
                  <a:pt x="89" y="312"/>
                </a:cubicBezTo>
                <a:cubicBezTo>
                  <a:pt x="90" y="312"/>
                  <a:pt x="90" y="312"/>
                  <a:pt x="90" y="312"/>
                </a:cubicBezTo>
                <a:cubicBezTo>
                  <a:pt x="90" y="312"/>
                  <a:pt x="90" y="312"/>
                  <a:pt x="90" y="312"/>
                </a:cubicBezTo>
                <a:cubicBezTo>
                  <a:pt x="91" y="312"/>
                  <a:pt x="91" y="312"/>
                  <a:pt x="91" y="312"/>
                </a:cubicBezTo>
                <a:cubicBezTo>
                  <a:pt x="91" y="312"/>
                  <a:pt x="91" y="312"/>
                  <a:pt x="91" y="312"/>
                </a:cubicBezTo>
                <a:cubicBezTo>
                  <a:pt x="91" y="311"/>
                  <a:pt x="91" y="311"/>
                  <a:pt x="91" y="311"/>
                </a:cubicBezTo>
                <a:cubicBezTo>
                  <a:pt x="90" y="311"/>
                  <a:pt x="90" y="311"/>
                  <a:pt x="90" y="311"/>
                </a:cubicBezTo>
                <a:cubicBezTo>
                  <a:pt x="89" y="311"/>
                  <a:pt x="89" y="311"/>
                  <a:pt x="89" y="311"/>
                </a:cubicBezTo>
                <a:cubicBezTo>
                  <a:pt x="89" y="311"/>
                  <a:pt x="89" y="311"/>
                  <a:pt x="89" y="311"/>
                </a:cubicBezTo>
                <a:close/>
                <a:moveTo>
                  <a:pt x="94" y="310"/>
                </a:moveTo>
                <a:cubicBezTo>
                  <a:pt x="94" y="310"/>
                  <a:pt x="94" y="310"/>
                  <a:pt x="94" y="310"/>
                </a:cubicBezTo>
                <a:cubicBezTo>
                  <a:pt x="94" y="309"/>
                  <a:pt x="94" y="309"/>
                  <a:pt x="94" y="309"/>
                </a:cubicBezTo>
                <a:cubicBezTo>
                  <a:pt x="94" y="309"/>
                  <a:pt x="94" y="309"/>
                  <a:pt x="94" y="309"/>
                </a:cubicBezTo>
                <a:cubicBezTo>
                  <a:pt x="94" y="310"/>
                  <a:pt x="94" y="310"/>
                  <a:pt x="94" y="310"/>
                </a:cubicBezTo>
                <a:close/>
                <a:moveTo>
                  <a:pt x="93" y="302"/>
                </a:moveTo>
                <a:cubicBezTo>
                  <a:pt x="93" y="303"/>
                  <a:pt x="93" y="303"/>
                  <a:pt x="93" y="303"/>
                </a:cubicBezTo>
                <a:cubicBezTo>
                  <a:pt x="94" y="304"/>
                  <a:pt x="94" y="304"/>
                  <a:pt x="94" y="304"/>
                </a:cubicBezTo>
                <a:cubicBezTo>
                  <a:pt x="96" y="304"/>
                  <a:pt x="96" y="304"/>
                  <a:pt x="96" y="304"/>
                </a:cubicBezTo>
                <a:cubicBezTo>
                  <a:pt x="96" y="305"/>
                  <a:pt x="96" y="305"/>
                  <a:pt x="96" y="305"/>
                </a:cubicBezTo>
                <a:cubicBezTo>
                  <a:pt x="96" y="304"/>
                  <a:pt x="96" y="304"/>
                  <a:pt x="96" y="304"/>
                </a:cubicBezTo>
                <a:cubicBezTo>
                  <a:pt x="96" y="304"/>
                  <a:pt x="96" y="304"/>
                  <a:pt x="96" y="304"/>
                </a:cubicBezTo>
                <a:cubicBezTo>
                  <a:pt x="94" y="303"/>
                  <a:pt x="94" y="303"/>
                  <a:pt x="94" y="303"/>
                </a:cubicBezTo>
                <a:cubicBezTo>
                  <a:pt x="94" y="302"/>
                  <a:pt x="94" y="302"/>
                  <a:pt x="94" y="302"/>
                </a:cubicBezTo>
                <a:cubicBezTo>
                  <a:pt x="93" y="302"/>
                  <a:pt x="93" y="302"/>
                  <a:pt x="93" y="302"/>
                </a:cubicBezTo>
                <a:close/>
                <a:moveTo>
                  <a:pt x="101" y="288"/>
                </a:moveTo>
                <a:cubicBezTo>
                  <a:pt x="102" y="289"/>
                  <a:pt x="102" y="289"/>
                  <a:pt x="102" y="289"/>
                </a:cubicBezTo>
                <a:cubicBezTo>
                  <a:pt x="102" y="290"/>
                  <a:pt x="102" y="290"/>
                  <a:pt x="102" y="290"/>
                </a:cubicBezTo>
                <a:cubicBezTo>
                  <a:pt x="102" y="291"/>
                  <a:pt x="102" y="291"/>
                  <a:pt x="102" y="291"/>
                </a:cubicBezTo>
                <a:cubicBezTo>
                  <a:pt x="102" y="292"/>
                  <a:pt x="102" y="292"/>
                  <a:pt x="102" y="292"/>
                </a:cubicBezTo>
                <a:cubicBezTo>
                  <a:pt x="103" y="292"/>
                  <a:pt x="103" y="292"/>
                  <a:pt x="103" y="292"/>
                </a:cubicBezTo>
                <a:cubicBezTo>
                  <a:pt x="103" y="291"/>
                  <a:pt x="103" y="291"/>
                  <a:pt x="103" y="291"/>
                </a:cubicBezTo>
                <a:cubicBezTo>
                  <a:pt x="103" y="290"/>
                  <a:pt x="103" y="290"/>
                  <a:pt x="103" y="290"/>
                </a:cubicBezTo>
                <a:cubicBezTo>
                  <a:pt x="102" y="289"/>
                  <a:pt x="102" y="289"/>
                  <a:pt x="102" y="289"/>
                </a:cubicBezTo>
                <a:cubicBezTo>
                  <a:pt x="102" y="288"/>
                  <a:pt x="102" y="288"/>
                  <a:pt x="102" y="288"/>
                </a:cubicBezTo>
                <a:cubicBezTo>
                  <a:pt x="102" y="288"/>
                  <a:pt x="102" y="288"/>
                  <a:pt x="102" y="288"/>
                </a:cubicBezTo>
                <a:cubicBezTo>
                  <a:pt x="101" y="288"/>
                  <a:pt x="101" y="288"/>
                  <a:pt x="101" y="288"/>
                </a:cubicBezTo>
                <a:close/>
                <a:moveTo>
                  <a:pt x="107" y="284"/>
                </a:moveTo>
                <a:cubicBezTo>
                  <a:pt x="107" y="285"/>
                  <a:pt x="107" y="285"/>
                  <a:pt x="107" y="285"/>
                </a:cubicBezTo>
                <a:cubicBezTo>
                  <a:pt x="108" y="285"/>
                  <a:pt x="108" y="285"/>
                  <a:pt x="108" y="285"/>
                </a:cubicBezTo>
                <a:cubicBezTo>
                  <a:pt x="108" y="285"/>
                  <a:pt x="108" y="285"/>
                  <a:pt x="108" y="285"/>
                </a:cubicBezTo>
                <a:cubicBezTo>
                  <a:pt x="108" y="284"/>
                  <a:pt x="108" y="284"/>
                  <a:pt x="108" y="284"/>
                </a:cubicBezTo>
                <a:cubicBezTo>
                  <a:pt x="107" y="284"/>
                  <a:pt x="107" y="284"/>
                  <a:pt x="107" y="284"/>
                </a:cubicBezTo>
                <a:close/>
                <a:moveTo>
                  <a:pt x="109" y="283"/>
                </a:moveTo>
                <a:cubicBezTo>
                  <a:pt x="109" y="283"/>
                  <a:pt x="109" y="283"/>
                  <a:pt x="109" y="283"/>
                </a:cubicBezTo>
                <a:cubicBezTo>
                  <a:pt x="109" y="283"/>
                  <a:pt x="109" y="283"/>
                  <a:pt x="109" y="283"/>
                </a:cubicBezTo>
                <a:cubicBezTo>
                  <a:pt x="109" y="282"/>
                  <a:pt x="109" y="282"/>
                  <a:pt x="109" y="282"/>
                </a:cubicBezTo>
                <a:cubicBezTo>
                  <a:pt x="109" y="283"/>
                  <a:pt x="109" y="283"/>
                  <a:pt x="109" y="283"/>
                </a:cubicBezTo>
                <a:close/>
                <a:moveTo>
                  <a:pt x="119" y="282"/>
                </a:moveTo>
                <a:cubicBezTo>
                  <a:pt x="120" y="281"/>
                  <a:pt x="120" y="281"/>
                  <a:pt x="120" y="281"/>
                </a:cubicBezTo>
                <a:cubicBezTo>
                  <a:pt x="121" y="281"/>
                  <a:pt x="121" y="281"/>
                  <a:pt x="121" y="281"/>
                </a:cubicBezTo>
                <a:cubicBezTo>
                  <a:pt x="121" y="281"/>
                  <a:pt x="121" y="281"/>
                  <a:pt x="121" y="281"/>
                </a:cubicBezTo>
                <a:cubicBezTo>
                  <a:pt x="120" y="279"/>
                  <a:pt x="120" y="279"/>
                  <a:pt x="120" y="279"/>
                </a:cubicBezTo>
                <a:cubicBezTo>
                  <a:pt x="120" y="279"/>
                  <a:pt x="120" y="279"/>
                  <a:pt x="120" y="279"/>
                </a:cubicBezTo>
                <a:cubicBezTo>
                  <a:pt x="119" y="278"/>
                  <a:pt x="119" y="278"/>
                  <a:pt x="119" y="278"/>
                </a:cubicBezTo>
                <a:cubicBezTo>
                  <a:pt x="119" y="278"/>
                  <a:pt x="119" y="278"/>
                  <a:pt x="119" y="278"/>
                </a:cubicBezTo>
                <a:cubicBezTo>
                  <a:pt x="118" y="279"/>
                  <a:pt x="118" y="279"/>
                  <a:pt x="118" y="279"/>
                </a:cubicBezTo>
                <a:cubicBezTo>
                  <a:pt x="118" y="280"/>
                  <a:pt x="118" y="280"/>
                  <a:pt x="118" y="280"/>
                </a:cubicBezTo>
                <a:cubicBezTo>
                  <a:pt x="117" y="281"/>
                  <a:pt x="117" y="281"/>
                  <a:pt x="117" y="281"/>
                </a:cubicBezTo>
                <a:cubicBezTo>
                  <a:pt x="118" y="281"/>
                  <a:pt x="118" y="281"/>
                  <a:pt x="118" y="281"/>
                </a:cubicBezTo>
                <a:cubicBezTo>
                  <a:pt x="118" y="282"/>
                  <a:pt x="118" y="282"/>
                  <a:pt x="118" y="282"/>
                </a:cubicBezTo>
                <a:cubicBezTo>
                  <a:pt x="119" y="282"/>
                  <a:pt x="119" y="282"/>
                  <a:pt x="119" y="282"/>
                </a:cubicBezTo>
                <a:close/>
                <a:moveTo>
                  <a:pt x="123" y="281"/>
                </a:moveTo>
                <a:cubicBezTo>
                  <a:pt x="123" y="281"/>
                  <a:pt x="123" y="281"/>
                  <a:pt x="123" y="281"/>
                </a:cubicBezTo>
                <a:cubicBezTo>
                  <a:pt x="123" y="280"/>
                  <a:pt x="123" y="280"/>
                  <a:pt x="123" y="280"/>
                </a:cubicBezTo>
                <a:cubicBezTo>
                  <a:pt x="122" y="280"/>
                  <a:pt x="122" y="280"/>
                  <a:pt x="122" y="280"/>
                </a:cubicBezTo>
                <a:cubicBezTo>
                  <a:pt x="122" y="281"/>
                  <a:pt x="122" y="281"/>
                  <a:pt x="122" y="281"/>
                </a:cubicBezTo>
                <a:cubicBezTo>
                  <a:pt x="123" y="282"/>
                  <a:pt x="123" y="282"/>
                  <a:pt x="123" y="282"/>
                </a:cubicBezTo>
                <a:cubicBezTo>
                  <a:pt x="123" y="281"/>
                  <a:pt x="123" y="281"/>
                  <a:pt x="123" y="281"/>
                </a:cubicBezTo>
                <a:close/>
                <a:moveTo>
                  <a:pt x="197" y="240"/>
                </a:moveTo>
                <a:cubicBezTo>
                  <a:pt x="198" y="240"/>
                  <a:pt x="198" y="240"/>
                  <a:pt x="198" y="240"/>
                </a:cubicBezTo>
                <a:cubicBezTo>
                  <a:pt x="198" y="239"/>
                  <a:pt x="198" y="239"/>
                  <a:pt x="198" y="239"/>
                </a:cubicBezTo>
                <a:cubicBezTo>
                  <a:pt x="198" y="239"/>
                  <a:pt x="198" y="239"/>
                  <a:pt x="198" y="239"/>
                </a:cubicBezTo>
                <a:cubicBezTo>
                  <a:pt x="197" y="239"/>
                  <a:pt x="197" y="239"/>
                  <a:pt x="197" y="239"/>
                </a:cubicBezTo>
                <a:cubicBezTo>
                  <a:pt x="197" y="240"/>
                  <a:pt x="197" y="240"/>
                  <a:pt x="197" y="240"/>
                </a:cubicBezTo>
                <a:close/>
                <a:moveTo>
                  <a:pt x="184" y="229"/>
                </a:moveTo>
                <a:cubicBezTo>
                  <a:pt x="185" y="229"/>
                  <a:pt x="185" y="229"/>
                  <a:pt x="185" y="229"/>
                </a:cubicBezTo>
                <a:cubicBezTo>
                  <a:pt x="185" y="229"/>
                  <a:pt x="185" y="229"/>
                  <a:pt x="185" y="229"/>
                </a:cubicBezTo>
                <a:cubicBezTo>
                  <a:pt x="185" y="229"/>
                  <a:pt x="185" y="229"/>
                  <a:pt x="185" y="229"/>
                </a:cubicBezTo>
                <a:cubicBezTo>
                  <a:pt x="184" y="228"/>
                  <a:pt x="184" y="228"/>
                  <a:pt x="184" y="228"/>
                </a:cubicBezTo>
                <a:cubicBezTo>
                  <a:pt x="184" y="228"/>
                  <a:pt x="184" y="229"/>
                  <a:pt x="184" y="229"/>
                </a:cubicBezTo>
                <a:close/>
                <a:moveTo>
                  <a:pt x="178" y="224"/>
                </a:moveTo>
                <a:cubicBezTo>
                  <a:pt x="179" y="224"/>
                  <a:pt x="179" y="224"/>
                  <a:pt x="179" y="224"/>
                </a:cubicBezTo>
                <a:cubicBezTo>
                  <a:pt x="180" y="224"/>
                  <a:pt x="180" y="224"/>
                  <a:pt x="180" y="224"/>
                </a:cubicBezTo>
                <a:cubicBezTo>
                  <a:pt x="180" y="223"/>
                  <a:pt x="180" y="223"/>
                  <a:pt x="180" y="223"/>
                </a:cubicBezTo>
                <a:cubicBezTo>
                  <a:pt x="179" y="223"/>
                  <a:pt x="179" y="223"/>
                  <a:pt x="179" y="223"/>
                </a:cubicBezTo>
                <a:cubicBezTo>
                  <a:pt x="178" y="224"/>
                  <a:pt x="178" y="224"/>
                  <a:pt x="178" y="224"/>
                </a:cubicBezTo>
                <a:close/>
                <a:moveTo>
                  <a:pt x="190" y="221"/>
                </a:moveTo>
                <a:cubicBezTo>
                  <a:pt x="190" y="221"/>
                  <a:pt x="190" y="221"/>
                  <a:pt x="190" y="221"/>
                </a:cubicBezTo>
                <a:cubicBezTo>
                  <a:pt x="190" y="222"/>
                  <a:pt x="190" y="222"/>
                  <a:pt x="190" y="222"/>
                </a:cubicBezTo>
                <a:cubicBezTo>
                  <a:pt x="191" y="222"/>
                  <a:pt x="191" y="222"/>
                  <a:pt x="191" y="222"/>
                </a:cubicBezTo>
                <a:cubicBezTo>
                  <a:pt x="190" y="221"/>
                  <a:pt x="190" y="221"/>
                  <a:pt x="190" y="221"/>
                </a:cubicBezTo>
                <a:cubicBezTo>
                  <a:pt x="190" y="220"/>
                  <a:pt x="190" y="220"/>
                  <a:pt x="190" y="220"/>
                </a:cubicBezTo>
                <a:cubicBezTo>
                  <a:pt x="190" y="221"/>
                  <a:pt x="190" y="221"/>
                  <a:pt x="190" y="221"/>
                </a:cubicBezTo>
                <a:close/>
                <a:moveTo>
                  <a:pt x="197" y="197"/>
                </a:moveTo>
                <a:cubicBezTo>
                  <a:pt x="197" y="198"/>
                  <a:pt x="197" y="198"/>
                  <a:pt x="197" y="198"/>
                </a:cubicBezTo>
                <a:cubicBezTo>
                  <a:pt x="198" y="198"/>
                  <a:pt x="198" y="198"/>
                  <a:pt x="198" y="198"/>
                </a:cubicBezTo>
                <a:cubicBezTo>
                  <a:pt x="198" y="199"/>
                  <a:pt x="198" y="199"/>
                  <a:pt x="198" y="199"/>
                </a:cubicBezTo>
                <a:cubicBezTo>
                  <a:pt x="198" y="201"/>
                  <a:pt x="198" y="201"/>
                  <a:pt x="198" y="201"/>
                </a:cubicBezTo>
                <a:cubicBezTo>
                  <a:pt x="199" y="202"/>
                  <a:pt x="199" y="202"/>
                  <a:pt x="199" y="202"/>
                </a:cubicBezTo>
                <a:cubicBezTo>
                  <a:pt x="201" y="202"/>
                  <a:pt x="201" y="202"/>
                  <a:pt x="201" y="202"/>
                </a:cubicBezTo>
                <a:cubicBezTo>
                  <a:pt x="202" y="204"/>
                  <a:pt x="202" y="204"/>
                  <a:pt x="202" y="204"/>
                </a:cubicBezTo>
                <a:cubicBezTo>
                  <a:pt x="203" y="205"/>
                  <a:pt x="203" y="205"/>
                  <a:pt x="203" y="205"/>
                </a:cubicBezTo>
                <a:cubicBezTo>
                  <a:pt x="204" y="205"/>
                  <a:pt x="204" y="205"/>
                  <a:pt x="204" y="205"/>
                </a:cubicBezTo>
                <a:cubicBezTo>
                  <a:pt x="205" y="206"/>
                  <a:pt x="205" y="206"/>
                  <a:pt x="205" y="206"/>
                </a:cubicBezTo>
                <a:cubicBezTo>
                  <a:pt x="205" y="206"/>
                  <a:pt x="205" y="206"/>
                  <a:pt x="205" y="206"/>
                </a:cubicBezTo>
                <a:cubicBezTo>
                  <a:pt x="206" y="207"/>
                  <a:pt x="206" y="207"/>
                  <a:pt x="206" y="207"/>
                </a:cubicBezTo>
                <a:cubicBezTo>
                  <a:pt x="207" y="206"/>
                  <a:pt x="207" y="206"/>
                  <a:pt x="207" y="206"/>
                </a:cubicBezTo>
                <a:cubicBezTo>
                  <a:pt x="207" y="205"/>
                  <a:pt x="207" y="205"/>
                  <a:pt x="207" y="205"/>
                </a:cubicBezTo>
                <a:cubicBezTo>
                  <a:pt x="207" y="205"/>
                  <a:pt x="207" y="205"/>
                  <a:pt x="207" y="205"/>
                </a:cubicBezTo>
                <a:cubicBezTo>
                  <a:pt x="206" y="204"/>
                  <a:pt x="206" y="204"/>
                  <a:pt x="206" y="204"/>
                </a:cubicBezTo>
                <a:cubicBezTo>
                  <a:pt x="205" y="203"/>
                  <a:pt x="205" y="203"/>
                  <a:pt x="205" y="203"/>
                </a:cubicBezTo>
                <a:cubicBezTo>
                  <a:pt x="205" y="203"/>
                  <a:pt x="205" y="203"/>
                  <a:pt x="205" y="203"/>
                </a:cubicBezTo>
                <a:cubicBezTo>
                  <a:pt x="204" y="202"/>
                  <a:pt x="204" y="202"/>
                  <a:pt x="204" y="202"/>
                </a:cubicBezTo>
                <a:cubicBezTo>
                  <a:pt x="204" y="202"/>
                  <a:pt x="204" y="202"/>
                  <a:pt x="204" y="202"/>
                </a:cubicBezTo>
                <a:cubicBezTo>
                  <a:pt x="205" y="201"/>
                  <a:pt x="205" y="201"/>
                  <a:pt x="205" y="201"/>
                </a:cubicBezTo>
                <a:cubicBezTo>
                  <a:pt x="205" y="202"/>
                  <a:pt x="205" y="202"/>
                  <a:pt x="205" y="202"/>
                </a:cubicBezTo>
                <a:cubicBezTo>
                  <a:pt x="206" y="202"/>
                  <a:pt x="206" y="202"/>
                  <a:pt x="206" y="202"/>
                </a:cubicBezTo>
                <a:cubicBezTo>
                  <a:pt x="208" y="203"/>
                  <a:pt x="208" y="203"/>
                  <a:pt x="208" y="203"/>
                </a:cubicBezTo>
                <a:cubicBezTo>
                  <a:pt x="208" y="203"/>
                  <a:pt x="208" y="203"/>
                  <a:pt x="208" y="203"/>
                </a:cubicBezTo>
                <a:cubicBezTo>
                  <a:pt x="208" y="203"/>
                  <a:pt x="208" y="203"/>
                  <a:pt x="208" y="203"/>
                </a:cubicBezTo>
                <a:cubicBezTo>
                  <a:pt x="208" y="201"/>
                  <a:pt x="208" y="201"/>
                  <a:pt x="208" y="201"/>
                </a:cubicBezTo>
                <a:cubicBezTo>
                  <a:pt x="205" y="200"/>
                  <a:pt x="205" y="200"/>
                  <a:pt x="205" y="200"/>
                </a:cubicBezTo>
                <a:cubicBezTo>
                  <a:pt x="204" y="198"/>
                  <a:pt x="204" y="198"/>
                  <a:pt x="204" y="198"/>
                </a:cubicBezTo>
                <a:cubicBezTo>
                  <a:pt x="203" y="198"/>
                  <a:pt x="203" y="198"/>
                  <a:pt x="203" y="198"/>
                </a:cubicBezTo>
                <a:cubicBezTo>
                  <a:pt x="202" y="198"/>
                  <a:pt x="202" y="198"/>
                  <a:pt x="202" y="198"/>
                </a:cubicBezTo>
                <a:cubicBezTo>
                  <a:pt x="201" y="197"/>
                  <a:pt x="201" y="197"/>
                  <a:pt x="201" y="197"/>
                </a:cubicBezTo>
                <a:cubicBezTo>
                  <a:pt x="200" y="197"/>
                  <a:pt x="200" y="197"/>
                  <a:pt x="200" y="197"/>
                </a:cubicBezTo>
                <a:cubicBezTo>
                  <a:pt x="199" y="197"/>
                  <a:pt x="199" y="197"/>
                  <a:pt x="199" y="197"/>
                </a:cubicBezTo>
                <a:cubicBezTo>
                  <a:pt x="198" y="196"/>
                  <a:pt x="198" y="196"/>
                  <a:pt x="198" y="196"/>
                </a:cubicBezTo>
                <a:cubicBezTo>
                  <a:pt x="197" y="197"/>
                  <a:pt x="197" y="197"/>
                  <a:pt x="197" y="197"/>
                </a:cubicBezTo>
                <a:close/>
                <a:moveTo>
                  <a:pt x="194" y="198"/>
                </a:moveTo>
                <a:cubicBezTo>
                  <a:pt x="195" y="197"/>
                  <a:pt x="195" y="197"/>
                  <a:pt x="195" y="197"/>
                </a:cubicBezTo>
                <a:cubicBezTo>
                  <a:pt x="195" y="196"/>
                  <a:pt x="195" y="196"/>
                  <a:pt x="195" y="196"/>
                </a:cubicBezTo>
                <a:cubicBezTo>
                  <a:pt x="196" y="196"/>
                  <a:pt x="196" y="196"/>
                  <a:pt x="196" y="196"/>
                </a:cubicBezTo>
                <a:cubicBezTo>
                  <a:pt x="194" y="196"/>
                  <a:pt x="194" y="196"/>
                  <a:pt x="194" y="196"/>
                </a:cubicBezTo>
                <a:cubicBezTo>
                  <a:pt x="194" y="197"/>
                  <a:pt x="194" y="197"/>
                  <a:pt x="194" y="197"/>
                </a:cubicBezTo>
                <a:cubicBezTo>
                  <a:pt x="194" y="198"/>
                  <a:pt x="194" y="198"/>
                  <a:pt x="194" y="198"/>
                </a:cubicBezTo>
                <a:close/>
                <a:moveTo>
                  <a:pt x="197" y="195"/>
                </a:moveTo>
                <a:cubicBezTo>
                  <a:pt x="198" y="196"/>
                  <a:pt x="198" y="196"/>
                  <a:pt x="198" y="196"/>
                </a:cubicBezTo>
                <a:cubicBezTo>
                  <a:pt x="200" y="196"/>
                  <a:pt x="200" y="196"/>
                  <a:pt x="200" y="196"/>
                </a:cubicBezTo>
                <a:cubicBezTo>
                  <a:pt x="201" y="197"/>
                  <a:pt x="201" y="197"/>
                  <a:pt x="201" y="197"/>
                </a:cubicBezTo>
                <a:cubicBezTo>
                  <a:pt x="203" y="197"/>
                  <a:pt x="203" y="197"/>
                  <a:pt x="203" y="197"/>
                </a:cubicBezTo>
                <a:cubicBezTo>
                  <a:pt x="204" y="198"/>
                  <a:pt x="204" y="198"/>
                  <a:pt x="204" y="198"/>
                </a:cubicBezTo>
                <a:cubicBezTo>
                  <a:pt x="205" y="198"/>
                  <a:pt x="205" y="198"/>
                  <a:pt x="205" y="198"/>
                </a:cubicBezTo>
                <a:cubicBezTo>
                  <a:pt x="206" y="198"/>
                  <a:pt x="206" y="198"/>
                  <a:pt x="206" y="198"/>
                </a:cubicBezTo>
                <a:cubicBezTo>
                  <a:pt x="206" y="199"/>
                  <a:pt x="206" y="199"/>
                  <a:pt x="206" y="199"/>
                </a:cubicBezTo>
                <a:cubicBezTo>
                  <a:pt x="206" y="199"/>
                  <a:pt x="206" y="199"/>
                  <a:pt x="206" y="199"/>
                </a:cubicBezTo>
                <a:cubicBezTo>
                  <a:pt x="207" y="199"/>
                  <a:pt x="207" y="199"/>
                  <a:pt x="207" y="199"/>
                </a:cubicBezTo>
                <a:cubicBezTo>
                  <a:pt x="208" y="199"/>
                  <a:pt x="208" y="199"/>
                  <a:pt x="208" y="199"/>
                </a:cubicBezTo>
                <a:cubicBezTo>
                  <a:pt x="209" y="199"/>
                  <a:pt x="209" y="199"/>
                  <a:pt x="209" y="199"/>
                </a:cubicBezTo>
                <a:cubicBezTo>
                  <a:pt x="209" y="198"/>
                  <a:pt x="209" y="198"/>
                  <a:pt x="209" y="198"/>
                </a:cubicBezTo>
                <a:cubicBezTo>
                  <a:pt x="209" y="198"/>
                  <a:pt x="209" y="198"/>
                  <a:pt x="209" y="198"/>
                </a:cubicBezTo>
                <a:cubicBezTo>
                  <a:pt x="209" y="197"/>
                  <a:pt x="209" y="197"/>
                  <a:pt x="209" y="197"/>
                </a:cubicBezTo>
                <a:cubicBezTo>
                  <a:pt x="210" y="197"/>
                  <a:pt x="210" y="197"/>
                  <a:pt x="210" y="197"/>
                </a:cubicBezTo>
                <a:cubicBezTo>
                  <a:pt x="208" y="196"/>
                  <a:pt x="208" y="196"/>
                  <a:pt x="208" y="196"/>
                </a:cubicBezTo>
                <a:cubicBezTo>
                  <a:pt x="207" y="195"/>
                  <a:pt x="207" y="195"/>
                  <a:pt x="207" y="195"/>
                </a:cubicBezTo>
                <a:cubicBezTo>
                  <a:pt x="205" y="194"/>
                  <a:pt x="205" y="194"/>
                  <a:pt x="205" y="194"/>
                </a:cubicBezTo>
                <a:cubicBezTo>
                  <a:pt x="204" y="194"/>
                  <a:pt x="204" y="194"/>
                  <a:pt x="204" y="194"/>
                </a:cubicBezTo>
                <a:cubicBezTo>
                  <a:pt x="202" y="195"/>
                  <a:pt x="202" y="195"/>
                  <a:pt x="202" y="195"/>
                </a:cubicBezTo>
                <a:cubicBezTo>
                  <a:pt x="201" y="195"/>
                  <a:pt x="201" y="195"/>
                  <a:pt x="201" y="195"/>
                </a:cubicBezTo>
                <a:cubicBezTo>
                  <a:pt x="199" y="195"/>
                  <a:pt x="199" y="195"/>
                  <a:pt x="199" y="195"/>
                </a:cubicBezTo>
                <a:cubicBezTo>
                  <a:pt x="198" y="195"/>
                  <a:pt x="198" y="195"/>
                  <a:pt x="198" y="195"/>
                </a:cubicBezTo>
                <a:cubicBezTo>
                  <a:pt x="198" y="195"/>
                  <a:pt x="197" y="195"/>
                  <a:pt x="197" y="195"/>
                </a:cubicBezTo>
                <a:close/>
                <a:moveTo>
                  <a:pt x="192" y="191"/>
                </a:moveTo>
                <a:cubicBezTo>
                  <a:pt x="193" y="192"/>
                  <a:pt x="193" y="192"/>
                  <a:pt x="193" y="192"/>
                </a:cubicBezTo>
                <a:cubicBezTo>
                  <a:pt x="195" y="192"/>
                  <a:pt x="195" y="192"/>
                  <a:pt x="195" y="192"/>
                </a:cubicBezTo>
                <a:cubicBezTo>
                  <a:pt x="196" y="193"/>
                  <a:pt x="196" y="193"/>
                  <a:pt x="196" y="193"/>
                </a:cubicBezTo>
                <a:cubicBezTo>
                  <a:pt x="198" y="194"/>
                  <a:pt x="198" y="194"/>
                  <a:pt x="198" y="194"/>
                </a:cubicBezTo>
                <a:cubicBezTo>
                  <a:pt x="200" y="194"/>
                  <a:pt x="200" y="194"/>
                  <a:pt x="200" y="194"/>
                </a:cubicBezTo>
                <a:cubicBezTo>
                  <a:pt x="204" y="194"/>
                  <a:pt x="204" y="194"/>
                  <a:pt x="204" y="194"/>
                </a:cubicBezTo>
                <a:cubicBezTo>
                  <a:pt x="205" y="194"/>
                  <a:pt x="205" y="194"/>
                  <a:pt x="205" y="194"/>
                </a:cubicBezTo>
                <a:cubicBezTo>
                  <a:pt x="205" y="193"/>
                  <a:pt x="205" y="193"/>
                  <a:pt x="205" y="193"/>
                </a:cubicBezTo>
                <a:cubicBezTo>
                  <a:pt x="204" y="193"/>
                  <a:pt x="204" y="193"/>
                  <a:pt x="204" y="193"/>
                </a:cubicBezTo>
                <a:cubicBezTo>
                  <a:pt x="201" y="193"/>
                  <a:pt x="201" y="193"/>
                  <a:pt x="201" y="193"/>
                </a:cubicBezTo>
                <a:cubicBezTo>
                  <a:pt x="200" y="193"/>
                  <a:pt x="200" y="193"/>
                  <a:pt x="200" y="193"/>
                </a:cubicBezTo>
                <a:cubicBezTo>
                  <a:pt x="198" y="192"/>
                  <a:pt x="198" y="192"/>
                  <a:pt x="198" y="192"/>
                </a:cubicBezTo>
                <a:cubicBezTo>
                  <a:pt x="197" y="191"/>
                  <a:pt x="197" y="191"/>
                  <a:pt x="197" y="191"/>
                </a:cubicBezTo>
                <a:cubicBezTo>
                  <a:pt x="196" y="191"/>
                  <a:pt x="196" y="191"/>
                  <a:pt x="196" y="191"/>
                </a:cubicBezTo>
                <a:cubicBezTo>
                  <a:pt x="197" y="190"/>
                  <a:pt x="197" y="190"/>
                  <a:pt x="197" y="190"/>
                </a:cubicBezTo>
                <a:cubicBezTo>
                  <a:pt x="198" y="190"/>
                  <a:pt x="198" y="190"/>
                  <a:pt x="198" y="190"/>
                </a:cubicBezTo>
                <a:cubicBezTo>
                  <a:pt x="200" y="192"/>
                  <a:pt x="200" y="192"/>
                  <a:pt x="200" y="192"/>
                </a:cubicBezTo>
                <a:cubicBezTo>
                  <a:pt x="202" y="192"/>
                  <a:pt x="202" y="192"/>
                  <a:pt x="202" y="192"/>
                </a:cubicBezTo>
                <a:cubicBezTo>
                  <a:pt x="203" y="192"/>
                  <a:pt x="203" y="192"/>
                  <a:pt x="203" y="192"/>
                </a:cubicBezTo>
                <a:cubicBezTo>
                  <a:pt x="202" y="191"/>
                  <a:pt x="202" y="191"/>
                  <a:pt x="202" y="191"/>
                </a:cubicBezTo>
                <a:cubicBezTo>
                  <a:pt x="199" y="189"/>
                  <a:pt x="199" y="189"/>
                  <a:pt x="199" y="189"/>
                </a:cubicBezTo>
                <a:cubicBezTo>
                  <a:pt x="196" y="189"/>
                  <a:pt x="196" y="189"/>
                  <a:pt x="196" y="189"/>
                </a:cubicBezTo>
                <a:cubicBezTo>
                  <a:pt x="195" y="189"/>
                  <a:pt x="195" y="189"/>
                  <a:pt x="195" y="189"/>
                </a:cubicBezTo>
                <a:cubicBezTo>
                  <a:pt x="195" y="190"/>
                  <a:pt x="195" y="190"/>
                  <a:pt x="195" y="190"/>
                </a:cubicBezTo>
                <a:cubicBezTo>
                  <a:pt x="193" y="190"/>
                  <a:pt x="193" y="190"/>
                  <a:pt x="193" y="190"/>
                </a:cubicBezTo>
                <a:cubicBezTo>
                  <a:pt x="192" y="191"/>
                  <a:pt x="192" y="191"/>
                  <a:pt x="192" y="191"/>
                </a:cubicBezTo>
                <a:close/>
                <a:moveTo>
                  <a:pt x="211" y="194"/>
                </a:moveTo>
                <a:cubicBezTo>
                  <a:pt x="212" y="194"/>
                  <a:pt x="212" y="194"/>
                  <a:pt x="212" y="194"/>
                </a:cubicBezTo>
                <a:cubicBezTo>
                  <a:pt x="213" y="194"/>
                  <a:pt x="213" y="194"/>
                  <a:pt x="213" y="194"/>
                </a:cubicBezTo>
                <a:cubicBezTo>
                  <a:pt x="213" y="193"/>
                  <a:pt x="213" y="193"/>
                  <a:pt x="213" y="193"/>
                </a:cubicBezTo>
                <a:cubicBezTo>
                  <a:pt x="212" y="194"/>
                  <a:pt x="212" y="194"/>
                  <a:pt x="212" y="194"/>
                </a:cubicBezTo>
                <a:cubicBezTo>
                  <a:pt x="211" y="194"/>
                  <a:pt x="211" y="194"/>
                  <a:pt x="211" y="194"/>
                </a:cubicBezTo>
                <a:close/>
                <a:moveTo>
                  <a:pt x="213" y="175"/>
                </a:moveTo>
                <a:cubicBezTo>
                  <a:pt x="212" y="177"/>
                  <a:pt x="212" y="177"/>
                  <a:pt x="212" y="177"/>
                </a:cubicBezTo>
                <a:cubicBezTo>
                  <a:pt x="212" y="178"/>
                  <a:pt x="212" y="178"/>
                  <a:pt x="212" y="178"/>
                </a:cubicBezTo>
                <a:cubicBezTo>
                  <a:pt x="212" y="179"/>
                  <a:pt x="212" y="179"/>
                  <a:pt x="212" y="179"/>
                </a:cubicBezTo>
                <a:cubicBezTo>
                  <a:pt x="213" y="179"/>
                  <a:pt x="213" y="179"/>
                  <a:pt x="213" y="179"/>
                </a:cubicBezTo>
                <a:cubicBezTo>
                  <a:pt x="215" y="180"/>
                  <a:pt x="215" y="180"/>
                  <a:pt x="215" y="180"/>
                </a:cubicBezTo>
                <a:cubicBezTo>
                  <a:pt x="215" y="180"/>
                  <a:pt x="215" y="180"/>
                  <a:pt x="215" y="180"/>
                </a:cubicBezTo>
                <a:cubicBezTo>
                  <a:pt x="217" y="180"/>
                  <a:pt x="217" y="180"/>
                  <a:pt x="217" y="180"/>
                </a:cubicBezTo>
                <a:cubicBezTo>
                  <a:pt x="218" y="180"/>
                  <a:pt x="218" y="180"/>
                  <a:pt x="218" y="180"/>
                </a:cubicBezTo>
                <a:cubicBezTo>
                  <a:pt x="218" y="178"/>
                  <a:pt x="218" y="178"/>
                  <a:pt x="218" y="178"/>
                </a:cubicBezTo>
                <a:cubicBezTo>
                  <a:pt x="219" y="178"/>
                  <a:pt x="219" y="178"/>
                  <a:pt x="219" y="178"/>
                </a:cubicBezTo>
                <a:cubicBezTo>
                  <a:pt x="218" y="176"/>
                  <a:pt x="218" y="176"/>
                  <a:pt x="218" y="176"/>
                </a:cubicBezTo>
                <a:cubicBezTo>
                  <a:pt x="216" y="175"/>
                  <a:pt x="216" y="175"/>
                  <a:pt x="216" y="175"/>
                </a:cubicBezTo>
                <a:cubicBezTo>
                  <a:pt x="214" y="175"/>
                  <a:pt x="214" y="175"/>
                  <a:pt x="214" y="175"/>
                </a:cubicBezTo>
                <a:cubicBezTo>
                  <a:pt x="213" y="175"/>
                  <a:pt x="213" y="175"/>
                  <a:pt x="213" y="175"/>
                </a:cubicBezTo>
                <a:close/>
                <a:moveTo>
                  <a:pt x="224" y="174"/>
                </a:moveTo>
                <a:cubicBezTo>
                  <a:pt x="225" y="174"/>
                  <a:pt x="225" y="174"/>
                  <a:pt x="225" y="174"/>
                </a:cubicBezTo>
                <a:cubicBezTo>
                  <a:pt x="226" y="173"/>
                  <a:pt x="226" y="173"/>
                  <a:pt x="226" y="173"/>
                </a:cubicBezTo>
                <a:cubicBezTo>
                  <a:pt x="226" y="173"/>
                  <a:pt x="226" y="173"/>
                  <a:pt x="226" y="173"/>
                </a:cubicBezTo>
                <a:cubicBezTo>
                  <a:pt x="225" y="173"/>
                  <a:pt x="225" y="173"/>
                  <a:pt x="225" y="173"/>
                </a:cubicBezTo>
                <a:cubicBezTo>
                  <a:pt x="224" y="173"/>
                  <a:pt x="224" y="173"/>
                  <a:pt x="224" y="173"/>
                </a:cubicBezTo>
                <a:cubicBezTo>
                  <a:pt x="224" y="174"/>
                  <a:pt x="224" y="174"/>
                  <a:pt x="224" y="174"/>
                </a:cubicBezTo>
                <a:close/>
                <a:moveTo>
                  <a:pt x="219" y="167"/>
                </a:moveTo>
                <a:cubicBezTo>
                  <a:pt x="219" y="168"/>
                  <a:pt x="219" y="168"/>
                  <a:pt x="219" y="168"/>
                </a:cubicBezTo>
                <a:cubicBezTo>
                  <a:pt x="219" y="170"/>
                  <a:pt x="219" y="170"/>
                  <a:pt x="219" y="170"/>
                </a:cubicBezTo>
                <a:cubicBezTo>
                  <a:pt x="219" y="171"/>
                  <a:pt x="219" y="171"/>
                  <a:pt x="219" y="171"/>
                </a:cubicBezTo>
                <a:cubicBezTo>
                  <a:pt x="220" y="171"/>
                  <a:pt x="220" y="171"/>
                  <a:pt x="220" y="171"/>
                </a:cubicBezTo>
                <a:cubicBezTo>
                  <a:pt x="221" y="171"/>
                  <a:pt x="221" y="171"/>
                  <a:pt x="221" y="171"/>
                </a:cubicBezTo>
                <a:cubicBezTo>
                  <a:pt x="221" y="170"/>
                  <a:pt x="221" y="170"/>
                  <a:pt x="221" y="170"/>
                </a:cubicBezTo>
                <a:cubicBezTo>
                  <a:pt x="221" y="169"/>
                  <a:pt x="221" y="169"/>
                  <a:pt x="221" y="169"/>
                </a:cubicBezTo>
                <a:cubicBezTo>
                  <a:pt x="221" y="168"/>
                  <a:pt x="221" y="168"/>
                  <a:pt x="221" y="168"/>
                </a:cubicBezTo>
                <a:cubicBezTo>
                  <a:pt x="220" y="167"/>
                  <a:pt x="220" y="167"/>
                  <a:pt x="220" y="167"/>
                </a:cubicBezTo>
                <a:cubicBezTo>
                  <a:pt x="219" y="167"/>
                  <a:pt x="219" y="167"/>
                  <a:pt x="219" y="167"/>
                </a:cubicBezTo>
                <a:close/>
                <a:moveTo>
                  <a:pt x="227" y="162"/>
                </a:moveTo>
                <a:cubicBezTo>
                  <a:pt x="227" y="165"/>
                  <a:pt x="227" y="165"/>
                  <a:pt x="227" y="165"/>
                </a:cubicBezTo>
                <a:cubicBezTo>
                  <a:pt x="226" y="166"/>
                  <a:pt x="226" y="166"/>
                  <a:pt x="226" y="166"/>
                </a:cubicBezTo>
                <a:cubicBezTo>
                  <a:pt x="227" y="167"/>
                  <a:pt x="227" y="167"/>
                  <a:pt x="227" y="167"/>
                </a:cubicBezTo>
                <a:cubicBezTo>
                  <a:pt x="228" y="168"/>
                  <a:pt x="228" y="168"/>
                  <a:pt x="228" y="168"/>
                </a:cubicBezTo>
                <a:cubicBezTo>
                  <a:pt x="229" y="168"/>
                  <a:pt x="229" y="168"/>
                  <a:pt x="229" y="168"/>
                </a:cubicBezTo>
                <a:cubicBezTo>
                  <a:pt x="230" y="168"/>
                  <a:pt x="230" y="168"/>
                  <a:pt x="230" y="168"/>
                </a:cubicBezTo>
                <a:cubicBezTo>
                  <a:pt x="231" y="168"/>
                  <a:pt x="231" y="168"/>
                  <a:pt x="231" y="168"/>
                </a:cubicBezTo>
                <a:cubicBezTo>
                  <a:pt x="231" y="169"/>
                  <a:pt x="231" y="169"/>
                  <a:pt x="231" y="169"/>
                </a:cubicBezTo>
                <a:cubicBezTo>
                  <a:pt x="232" y="169"/>
                  <a:pt x="232" y="169"/>
                  <a:pt x="232" y="169"/>
                </a:cubicBezTo>
                <a:cubicBezTo>
                  <a:pt x="233" y="168"/>
                  <a:pt x="233" y="168"/>
                  <a:pt x="233" y="168"/>
                </a:cubicBezTo>
                <a:cubicBezTo>
                  <a:pt x="233" y="167"/>
                  <a:pt x="233" y="167"/>
                  <a:pt x="233" y="167"/>
                </a:cubicBezTo>
                <a:cubicBezTo>
                  <a:pt x="233" y="166"/>
                  <a:pt x="233" y="166"/>
                  <a:pt x="233" y="166"/>
                </a:cubicBezTo>
                <a:cubicBezTo>
                  <a:pt x="232" y="165"/>
                  <a:pt x="232" y="165"/>
                  <a:pt x="232" y="165"/>
                </a:cubicBezTo>
                <a:cubicBezTo>
                  <a:pt x="232" y="166"/>
                  <a:pt x="232" y="166"/>
                  <a:pt x="232" y="166"/>
                </a:cubicBezTo>
                <a:cubicBezTo>
                  <a:pt x="232" y="167"/>
                  <a:pt x="232" y="167"/>
                  <a:pt x="232" y="167"/>
                </a:cubicBezTo>
                <a:cubicBezTo>
                  <a:pt x="231" y="166"/>
                  <a:pt x="231" y="166"/>
                  <a:pt x="231" y="166"/>
                </a:cubicBezTo>
                <a:cubicBezTo>
                  <a:pt x="231" y="165"/>
                  <a:pt x="231" y="165"/>
                  <a:pt x="231" y="165"/>
                </a:cubicBezTo>
                <a:cubicBezTo>
                  <a:pt x="231" y="164"/>
                  <a:pt x="231" y="164"/>
                  <a:pt x="231" y="164"/>
                </a:cubicBezTo>
                <a:cubicBezTo>
                  <a:pt x="230" y="163"/>
                  <a:pt x="230" y="163"/>
                  <a:pt x="230" y="163"/>
                </a:cubicBezTo>
                <a:cubicBezTo>
                  <a:pt x="230" y="163"/>
                  <a:pt x="230" y="163"/>
                  <a:pt x="230" y="163"/>
                </a:cubicBezTo>
                <a:cubicBezTo>
                  <a:pt x="231" y="163"/>
                  <a:pt x="231" y="163"/>
                  <a:pt x="231" y="163"/>
                </a:cubicBezTo>
                <a:cubicBezTo>
                  <a:pt x="231" y="162"/>
                  <a:pt x="231" y="162"/>
                  <a:pt x="231" y="162"/>
                </a:cubicBezTo>
                <a:cubicBezTo>
                  <a:pt x="230" y="161"/>
                  <a:pt x="230" y="161"/>
                  <a:pt x="230" y="161"/>
                </a:cubicBezTo>
                <a:cubicBezTo>
                  <a:pt x="229" y="162"/>
                  <a:pt x="229" y="162"/>
                  <a:pt x="229" y="162"/>
                </a:cubicBezTo>
                <a:cubicBezTo>
                  <a:pt x="228" y="162"/>
                  <a:pt x="228" y="162"/>
                  <a:pt x="228" y="162"/>
                </a:cubicBezTo>
                <a:cubicBezTo>
                  <a:pt x="228" y="162"/>
                  <a:pt x="228" y="162"/>
                  <a:pt x="228" y="162"/>
                </a:cubicBezTo>
                <a:cubicBezTo>
                  <a:pt x="227" y="162"/>
                  <a:pt x="227" y="162"/>
                  <a:pt x="227" y="162"/>
                </a:cubicBezTo>
                <a:close/>
                <a:moveTo>
                  <a:pt x="228" y="142"/>
                </a:moveTo>
                <a:cubicBezTo>
                  <a:pt x="227" y="143"/>
                  <a:pt x="227" y="143"/>
                  <a:pt x="227" y="143"/>
                </a:cubicBezTo>
                <a:cubicBezTo>
                  <a:pt x="228" y="144"/>
                  <a:pt x="228" y="144"/>
                  <a:pt x="228" y="144"/>
                </a:cubicBezTo>
                <a:cubicBezTo>
                  <a:pt x="228" y="144"/>
                  <a:pt x="228" y="144"/>
                  <a:pt x="228" y="144"/>
                </a:cubicBezTo>
                <a:cubicBezTo>
                  <a:pt x="228" y="145"/>
                  <a:pt x="228" y="145"/>
                  <a:pt x="228" y="145"/>
                </a:cubicBezTo>
                <a:cubicBezTo>
                  <a:pt x="228" y="146"/>
                  <a:pt x="228" y="146"/>
                  <a:pt x="228" y="146"/>
                </a:cubicBezTo>
                <a:cubicBezTo>
                  <a:pt x="228" y="147"/>
                  <a:pt x="228" y="147"/>
                  <a:pt x="228" y="147"/>
                </a:cubicBezTo>
                <a:cubicBezTo>
                  <a:pt x="229" y="149"/>
                  <a:pt x="229" y="149"/>
                  <a:pt x="229" y="149"/>
                </a:cubicBezTo>
                <a:cubicBezTo>
                  <a:pt x="229" y="151"/>
                  <a:pt x="229" y="151"/>
                  <a:pt x="229" y="151"/>
                </a:cubicBezTo>
                <a:cubicBezTo>
                  <a:pt x="228" y="152"/>
                  <a:pt x="228" y="152"/>
                  <a:pt x="228" y="152"/>
                </a:cubicBezTo>
                <a:cubicBezTo>
                  <a:pt x="228" y="153"/>
                  <a:pt x="228" y="153"/>
                  <a:pt x="228" y="153"/>
                </a:cubicBezTo>
                <a:cubicBezTo>
                  <a:pt x="229" y="154"/>
                  <a:pt x="229" y="154"/>
                  <a:pt x="229" y="154"/>
                </a:cubicBezTo>
                <a:cubicBezTo>
                  <a:pt x="229" y="153"/>
                  <a:pt x="229" y="153"/>
                  <a:pt x="229" y="153"/>
                </a:cubicBezTo>
                <a:cubicBezTo>
                  <a:pt x="229" y="152"/>
                  <a:pt x="229" y="152"/>
                  <a:pt x="229" y="152"/>
                </a:cubicBezTo>
                <a:cubicBezTo>
                  <a:pt x="230" y="151"/>
                  <a:pt x="230" y="151"/>
                  <a:pt x="230" y="151"/>
                </a:cubicBezTo>
                <a:cubicBezTo>
                  <a:pt x="230" y="149"/>
                  <a:pt x="230" y="149"/>
                  <a:pt x="230" y="149"/>
                </a:cubicBezTo>
                <a:cubicBezTo>
                  <a:pt x="229" y="148"/>
                  <a:pt x="229" y="148"/>
                  <a:pt x="229" y="148"/>
                </a:cubicBezTo>
                <a:cubicBezTo>
                  <a:pt x="229" y="145"/>
                  <a:pt x="229" y="145"/>
                  <a:pt x="229" y="145"/>
                </a:cubicBezTo>
                <a:cubicBezTo>
                  <a:pt x="229" y="144"/>
                  <a:pt x="229" y="144"/>
                  <a:pt x="229" y="144"/>
                </a:cubicBezTo>
                <a:cubicBezTo>
                  <a:pt x="229" y="143"/>
                  <a:pt x="229" y="143"/>
                  <a:pt x="229" y="143"/>
                </a:cubicBezTo>
                <a:cubicBezTo>
                  <a:pt x="228" y="142"/>
                  <a:pt x="228" y="142"/>
                  <a:pt x="228" y="142"/>
                </a:cubicBezTo>
                <a:close/>
                <a:moveTo>
                  <a:pt x="219" y="146"/>
                </a:moveTo>
                <a:cubicBezTo>
                  <a:pt x="219" y="146"/>
                  <a:pt x="219" y="146"/>
                  <a:pt x="219" y="146"/>
                </a:cubicBezTo>
                <a:cubicBezTo>
                  <a:pt x="219" y="147"/>
                  <a:pt x="219" y="147"/>
                  <a:pt x="219" y="147"/>
                </a:cubicBezTo>
                <a:cubicBezTo>
                  <a:pt x="220" y="147"/>
                  <a:pt x="220" y="147"/>
                  <a:pt x="220" y="147"/>
                </a:cubicBezTo>
                <a:cubicBezTo>
                  <a:pt x="221" y="146"/>
                  <a:pt x="221" y="146"/>
                  <a:pt x="221" y="146"/>
                </a:cubicBezTo>
                <a:cubicBezTo>
                  <a:pt x="221" y="145"/>
                  <a:pt x="221" y="145"/>
                  <a:pt x="221" y="145"/>
                </a:cubicBezTo>
                <a:cubicBezTo>
                  <a:pt x="219" y="145"/>
                  <a:pt x="219" y="145"/>
                  <a:pt x="219" y="145"/>
                </a:cubicBezTo>
                <a:cubicBezTo>
                  <a:pt x="219" y="146"/>
                  <a:pt x="219" y="146"/>
                  <a:pt x="219" y="146"/>
                </a:cubicBezTo>
                <a:close/>
                <a:moveTo>
                  <a:pt x="217" y="143"/>
                </a:moveTo>
                <a:cubicBezTo>
                  <a:pt x="218" y="144"/>
                  <a:pt x="218" y="144"/>
                  <a:pt x="218" y="144"/>
                </a:cubicBezTo>
                <a:cubicBezTo>
                  <a:pt x="219" y="144"/>
                  <a:pt x="219" y="144"/>
                  <a:pt x="219" y="144"/>
                </a:cubicBezTo>
                <a:cubicBezTo>
                  <a:pt x="218" y="143"/>
                  <a:pt x="218" y="143"/>
                  <a:pt x="218" y="143"/>
                </a:cubicBezTo>
                <a:cubicBezTo>
                  <a:pt x="218" y="143"/>
                  <a:pt x="218" y="143"/>
                  <a:pt x="218" y="143"/>
                </a:cubicBezTo>
                <a:cubicBezTo>
                  <a:pt x="217" y="143"/>
                  <a:pt x="217" y="143"/>
                  <a:pt x="217" y="143"/>
                </a:cubicBezTo>
                <a:close/>
                <a:moveTo>
                  <a:pt x="226" y="123"/>
                </a:moveTo>
                <a:cubicBezTo>
                  <a:pt x="227" y="124"/>
                  <a:pt x="227" y="124"/>
                  <a:pt x="227" y="124"/>
                </a:cubicBezTo>
                <a:cubicBezTo>
                  <a:pt x="227" y="125"/>
                  <a:pt x="227" y="125"/>
                  <a:pt x="227" y="125"/>
                </a:cubicBezTo>
                <a:cubicBezTo>
                  <a:pt x="228" y="125"/>
                  <a:pt x="228" y="125"/>
                  <a:pt x="228" y="125"/>
                </a:cubicBezTo>
                <a:cubicBezTo>
                  <a:pt x="228" y="124"/>
                  <a:pt x="228" y="124"/>
                  <a:pt x="228" y="124"/>
                </a:cubicBezTo>
                <a:cubicBezTo>
                  <a:pt x="227" y="124"/>
                  <a:pt x="227" y="124"/>
                  <a:pt x="227" y="124"/>
                </a:cubicBezTo>
                <a:cubicBezTo>
                  <a:pt x="226" y="123"/>
                  <a:pt x="226" y="123"/>
                  <a:pt x="226" y="123"/>
                </a:cubicBezTo>
                <a:cubicBezTo>
                  <a:pt x="226" y="122"/>
                  <a:pt x="226" y="122"/>
                  <a:pt x="226" y="122"/>
                </a:cubicBezTo>
                <a:cubicBezTo>
                  <a:pt x="226" y="123"/>
                  <a:pt x="226" y="123"/>
                  <a:pt x="226" y="123"/>
                </a:cubicBezTo>
                <a:close/>
                <a:moveTo>
                  <a:pt x="234" y="128"/>
                </a:moveTo>
                <a:cubicBezTo>
                  <a:pt x="234" y="128"/>
                  <a:pt x="234" y="128"/>
                  <a:pt x="234" y="128"/>
                </a:cubicBezTo>
                <a:cubicBezTo>
                  <a:pt x="235" y="128"/>
                  <a:pt x="235" y="128"/>
                  <a:pt x="235" y="128"/>
                </a:cubicBezTo>
                <a:cubicBezTo>
                  <a:pt x="235" y="128"/>
                  <a:pt x="235" y="128"/>
                  <a:pt x="235" y="128"/>
                </a:cubicBezTo>
                <a:cubicBezTo>
                  <a:pt x="235" y="127"/>
                  <a:pt x="235" y="127"/>
                  <a:pt x="235" y="127"/>
                </a:cubicBezTo>
                <a:cubicBezTo>
                  <a:pt x="235" y="126"/>
                  <a:pt x="235" y="126"/>
                  <a:pt x="235" y="126"/>
                </a:cubicBezTo>
                <a:cubicBezTo>
                  <a:pt x="236" y="125"/>
                  <a:pt x="236" y="125"/>
                  <a:pt x="236" y="125"/>
                </a:cubicBezTo>
                <a:cubicBezTo>
                  <a:pt x="236" y="124"/>
                  <a:pt x="236" y="124"/>
                  <a:pt x="236" y="124"/>
                </a:cubicBezTo>
                <a:cubicBezTo>
                  <a:pt x="234" y="125"/>
                  <a:pt x="234" y="125"/>
                  <a:pt x="234" y="125"/>
                </a:cubicBezTo>
                <a:cubicBezTo>
                  <a:pt x="234" y="127"/>
                  <a:pt x="234" y="127"/>
                  <a:pt x="234" y="127"/>
                </a:cubicBezTo>
                <a:cubicBezTo>
                  <a:pt x="234" y="128"/>
                  <a:pt x="234" y="128"/>
                  <a:pt x="234" y="128"/>
                </a:cubicBezTo>
                <a:close/>
                <a:moveTo>
                  <a:pt x="230" y="120"/>
                </a:moveTo>
                <a:cubicBezTo>
                  <a:pt x="230" y="121"/>
                  <a:pt x="230" y="121"/>
                  <a:pt x="230" y="121"/>
                </a:cubicBezTo>
                <a:cubicBezTo>
                  <a:pt x="231" y="120"/>
                  <a:pt x="231" y="120"/>
                  <a:pt x="231" y="120"/>
                </a:cubicBezTo>
                <a:cubicBezTo>
                  <a:pt x="231" y="119"/>
                  <a:pt x="231" y="119"/>
                  <a:pt x="231" y="119"/>
                </a:cubicBezTo>
                <a:cubicBezTo>
                  <a:pt x="231" y="118"/>
                  <a:pt x="231" y="118"/>
                  <a:pt x="231" y="118"/>
                </a:cubicBezTo>
                <a:cubicBezTo>
                  <a:pt x="231" y="119"/>
                  <a:pt x="231" y="119"/>
                  <a:pt x="231" y="119"/>
                </a:cubicBezTo>
                <a:cubicBezTo>
                  <a:pt x="230" y="120"/>
                  <a:pt x="230" y="120"/>
                  <a:pt x="230" y="120"/>
                </a:cubicBezTo>
                <a:close/>
                <a:moveTo>
                  <a:pt x="231" y="116"/>
                </a:moveTo>
                <a:cubicBezTo>
                  <a:pt x="230" y="116"/>
                  <a:pt x="230" y="116"/>
                  <a:pt x="230" y="116"/>
                </a:cubicBezTo>
                <a:cubicBezTo>
                  <a:pt x="231" y="117"/>
                  <a:pt x="231" y="117"/>
                  <a:pt x="231" y="117"/>
                </a:cubicBezTo>
                <a:cubicBezTo>
                  <a:pt x="231" y="116"/>
                  <a:pt x="231" y="116"/>
                  <a:pt x="231" y="116"/>
                </a:cubicBezTo>
                <a:cubicBezTo>
                  <a:pt x="231" y="116"/>
                  <a:pt x="231" y="116"/>
                  <a:pt x="231" y="116"/>
                </a:cubicBezTo>
                <a:cubicBezTo>
                  <a:pt x="231" y="116"/>
                  <a:pt x="231" y="116"/>
                  <a:pt x="231" y="116"/>
                </a:cubicBezTo>
                <a:close/>
                <a:moveTo>
                  <a:pt x="236" y="102"/>
                </a:moveTo>
                <a:cubicBezTo>
                  <a:pt x="237" y="104"/>
                  <a:pt x="237" y="104"/>
                  <a:pt x="237" y="104"/>
                </a:cubicBezTo>
                <a:cubicBezTo>
                  <a:pt x="237" y="104"/>
                  <a:pt x="237" y="104"/>
                  <a:pt x="237" y="104"/>
                </a:cubicBezTo>
                <a:cubicBezTo>
                  <a:pt x="238" y="103"/>
                  <a:pt x="238" y="103"/>
                  <a:pt x="238" y="103"/>
                </a:cubicBezTo>
                <a:cubicBezTo>
                  <a:pt x="238" y="102"/>
                  <a:pt x="238" y="102"/>
                  <a:pt x="238" y="102"/>
                </a:cubicBezTo>
                <a:cubicBezTo>
                  <a:pt x="238" y="100"/>
                  <a:pt x="238" y="100"/>
                  <a:pt x="238" y="100"/>
                </a:cubicBezTo>
                <a:cubicBezTo>
                  <a:pt x="239" y="99"/>
                  <a:pt x="239" y="99"/>
                  <a:pt x="239" y="99"/>
                </a:cubicBezTo>
                <a:cubicBezTo>
                  <a:pt x="238" y="99"/>
                  <a:pt x="238" y="99"/>
                  <a:pt x="238" y="99"/>
                </a:cubicBezTo>
                <a:cubicBezTo>
                  <a:pt x="237" y="100"/>
                  <a:pt x="237" y="100"/>
                  <a:pt x="237" y="100"/>
                </a:cubicBezTo>
                <a:cubicBezTo>
                  <a:pt x="237" y="101"/>
                  <a:pt x="237" y="101"/>
                  <a:pt x="237" y="101"/>
                </a:cubicBezTo>
                <a:cubicBezTo>
                  <a:pt x="236" y="102"/>
                  <a:pt x="236" y="102"/>
                  <a:pt x="236" y="102"/>
                </a:cubicBezTo>
                <a:close/>
                <a:moveTo>
                  <a:pt x="233" y="84"/>
                </a:moveTo>
                <a:cubicBezTo>
                  <a:pt x="233" y="84"/>
                  <a:pt x="233" y="84"/>
                  <a:pt x="233" y="84"/>
                </a:cubicBezTo>
                <a:cubicBezTo>
                  <a:pt x="233" y="84"/>
                  <a:pt x="233" y="84"/>
                  <a:pt x="233" y="84"/>
                </a:cubicBezTo>
                <a:cubicBezTo>
                  <a:pt x="235" y="84"/>
                  <a:pt x="235" y="84"/>
                  <a:pt x="235" y="84"/>
                </a:cubicBezTo>
                <a:cubicBezTo>
                  <a:pt x="236" y="83"/>
                  <a:pt x="236" y="83"/>
                  <a:pt x="236" y="83"/>
                </a:cubicBezTo>
                <a:cubicBezTo>
                  <a:pt x="236" y="81"/>
                  <a:pt x="236" y="81"/>
                  <a:pt x="236" y="81"/>
                </a:cubicBezTo>
                <a:cubicBezTo>
                  <a:pt x="235" y="80"/>
                  <a:pt x="235" y="80"/>
                  <a:pt x="235" y="80"/>
                </a:cubicBezTo>
                <a:cubicBezTo>
                  <a:pt x="233" y="81"/>
                  <a:pt x="233" y="81"/>
                  <a:pt x="233" y="81"/>
                </a:cubicBezTo>
                <a:cubicBezTo>
                  <a:pt x="232" y="83"/>
                  <a:pt x="232" y="83"/>
                  <a:pt x="232" y="83"/>
                </a:cubicBezTo>
                <a:cubicBezTo>
                  <a:pt x="233" y="84"/>
                  <a:pt x="233" y="84"/>
                  <a:pt x="233" y="84"/>
                </a:cubicBezTo>
                <a:close/>
                <a:moveTo>
                  <a:pt x="245" y="49"/>
                </a:moveTo>
                <a:cubicBezTo>
                  <a:pt x="246" y="49"/>
                  <a:pt x="246" y="49"/>
                  <a:pt x="246" y="49"/>
                </a:cubicBezTo>
                <a:cubicBezTo>
                  <a:pt x="246" y="48"/>
                  <a:pt x="246" y="48"/>
                  <a:pt x="246" y="48"/>
                </a:cubicBezTo>
                <a:cubicBezTo>
                  <a:pt x="246" y="46"/>
                  <a:pt x="246" y="46"/>
                  <a:pt x="246" y="46"/>
                </a:cubicBezTo>
                <a:cubicBezTo>
                  <a:pt x="246" y="45"/>
                  <a:pt x="246" y="45"/>
                  <a:pt x="246" y="45"/>
                </a:cubicBezTo>
                <a:cubicBezTo>
                  <a:pt x="246" y="44"/>
                  <a:pt x="246" y="44"/>
                  <a:pt x="246" y="44"/>
                </a:cubicBezTo>
                <a:cubicBezTo>
                  <a:pt x="245" y="44"/>
                  <a:pt x="245" y="44"/>
                  <a:pt x="245" y="44"/>
                </a:cubicBezTo>
                <a:cubicBezTo>
                  <a:pt x="245" y="45"/>
                  <a:pt x="245" y="45"/>
                  <a:pt x="245" y="45"/>
                </a:cubicBezTo>
                <a:cubicBezTo>
                  <a:pt x="245" y="45"/>
                  <a:pt x="245" y="45"/>
                  <a:pt x="245" y="45"/>
                </a:cubicBezTo>
                <a:cubicBezTo>
                  <a:pt x="245" y="46"/>
                  <a:pt x="245" y="46"/>
                  <a:pt x="245" y="46"/>
                </a:cubicBezTo>
                <a:cubicBezTo>
                  <a:pt x="245" y="48"/>
                  <a:pt x="245" y="48"/>
                  <a:pt x="245" y="48"/>
                </a:cubicBezTo>
                <a:cubicBezTo>
                  <a:pt x="245" y="49"/>
                  <a:pt x="245" y="49"/>
                  <a:pt x="245" y="49"/>
                </a:cubicBezTo>
                <a:close/>
                <a:moveTo>
                  <a:pt x="242" y="53"/>
                </a:moveTo>
                <a:cubicBezTo>
                  <a:pt x="242" y="53"/>
                  <a:pt x="242" y="54"/>
                  <a:pt x="242" y="54"/>
                </a:cubicBezTo>
                <a:cubicBezTo>
                  <a:pt x="242" y="53"/>
                  <a:pt x="242" y="53"/>
                  <a:pt x="242" y="53"/>
                </a:cubicBezTo>
                <a:cubicBezTo>
                  <a:pt x="243" y="51"/>
                  <a:pt x="243" y="51"/>
                  <a:pt x="243" y="51"/>
                </a:cubicBezTo>
                <a:cubicBezTo>
                  <a:pt x="242" y="50"/>
                  <a:pt x="242" y="50"/>
                  <a:pt x="242" y="50"/>
                </a:cubicBezTo>
                <a:cubicBezTo>
                  <a:pt x="241" y="51"/>
                  <a:pt x="241" y="51"/>
                  <a:pt x="241" y="51"/>
                </a:cubicBezTo>
                <a:cubicBezTo>
                  <a:pt x="241" y="52"/>
                  <a:pt x="241" y="52"/>
                  <a:pt x="241" y="52"/>
                </a:cubicBezTo>
                <a:cubicBezTo>
                  <a:pt x="242" y="53"/>
                  <a:pt x="242" y="53"/>
                  <a:pt x="242" y="53"/>
                </a:cubicBezTo>
                <a:close/>
                <a:moveTo>
                  <a:pt x="239" y="50"/>
                </a:moveTo>
                <a:cubicBezTo>
                  <a:pt x="240" y="50"/>
                  <a:pt x="240" y="50"/>
                  <a:pt x="240" y="50"/>
                </a:cubicBezTo>
                <a:cubicBezTo>
                  <a:pt x="241" y="49"/>
                  <a:pt x="241" y="49"/>
                  <a:pt x="241" y="49"/>
                </a:cubicBezTo>
                <a:cubicBezTo>
                  <a:pt x="241" y="48"/>
                  <a:pt x="241" y="48"/>
                  <a:pt x="241" y="48"/>
                </a:cubicBezTo>
                <a:cubicBezTo>
                  <a:pt x="241" y="48"/>
                  <a:pt x="241" y="48"/>
                  <a:pt x="241" y="48"/>
                </a:cubicBezTo>
                <a:cubicBezTo>
                  <a:pt x="241" y="46"/>
                  <a:pt x="241" y="46"/>
                  <a:pt x="241" y="46"/>
                </a:cubicBezTo>
                <a:cubicBezTo>
                  <a:pt x="241" y="46"/>
                  <a:pt x="241" y="46"/>
                  <a:pt x="241" y="46"/>
                </a:cubicBezTo>
                <a:cubicBezTo>
                  <a:pt x="240" y="46"/>
                  <a:pt x="240" y="46"/>
                  <a:pt x="240" y="46"/>
                </a:cubicBezTo>
                <a:cubicBezTo>
                  <a:pt x="239" y="47"/>
                  <a:pt x="239" y="47"/>
                  <a:pt x="239" y="47"/>
                </a:cubicBezTo>
                <a:cubicBezTo>
                  <a:pt x="240" y="48"/>
                  <a:pt x="240" y="48"/>
                  <a:pt x="240" y="48"/>
                </a:cubicBezTo>
                <a:cubicBezTo>
                  <a:pt x="239" y="50"/>
                  <a:pt x="239" y="50"/>
                  <a:pt x="239" y="50"/>
                </a:cubicBezTo>
                <a:close/>
                <a:moveTo>
                  <a:pt x="174" y="4"/>
                </a:moveTo>
                <a:cubicBezTo>
                  <a:pt x="174" y="4"/>
                  <a:pt x="174" y="4"/>
                  <a:pt x="174" y="4"/>
                </a:cubicBezTo>
                <a:cubicBezTo>
                  <a:pt x="174" y="3"/>
                  <a:pt x="174" y="3"/>
                  <a:pt x="174" y="3"/>
                </a:cubicBezTo>
                <a:cubicBezTo>
                  <a:pt x="175" y="2"/>
                  <a:pt x="175" y="2"/>
                  <a:pt x="175" y="2"/>
                </a:cubicBezTo>
                <a:cubicBezTo>
                  <a:pt x="174" y="1"/>
                  <a:pt x="174" y="1"/>
                  <a:pt x="174" y="1"/>
                </a:cubicBezTo>
                <a:cubicBezTo>
                  <a:pt x="173" y="1"/>
                  <a:pt x="173" y="1"/>
                  <a:pt x="173" y="1"/>
                </a:cubicBezTo>
                <a:cubicBezTo>
                  <a:pt x="173" y="3"/>
                  <a:pt x="173" y="3"/>
                  <a:pt x="173" y="3"/>
                </a:cubicBezTo>
                <a:cubicBezTo>
                  <a:pt x="174" y="4"/>
                  <a:pt x="174" y="4"/>
                  <a:pt x="174" y="4"/>
                </a:cubicBezTo>
                <a:close/>
                <a:moveTo>
                  <a:pt x="174" y="6"/>
                </a:moveTo>
                <a:cubicBezTo>
                  <a:pt x="174" y="6"/>
                  <a:pt x="174" y="6"/>
                  <a:pt x="174" y="6"/>
                </a:cubicBezTo>
                <a:cubicBezTo>
                  <a:pt x="175" y="6"/>
                  <a:pt x="175" y="6"/>
                  <a:pt x="175" y="6"/>
                </a:cubicBezTo>
                <a:cubicBezTo>
                  <a:pt x="175" y="5"/>
                  <a:pt x="175" y="5"/>
                  <a:pt x="175" y="5"/>
                </a:cubicBezTo>
                <a:cubicBezTo>
                  <a:pt x="175" y="4"/>
                  <a:pt x="175" y="4"/>
                  <a:pt x="175" y="4"/>
                </a:cubicBezTo>
                <a:cubicBezTo>
                  <a:pt x="175" y="4"/>
                  <a:pt x="175" y="4"/>
                  <a:pt x="175" y="4"/>
                </a:cubicBezTo>
                <a:cubicBezTo>
                  <a:pt x="174" y="5"/>
                  <a:pt x="174" y="5"/>
                  <a:pt x="174" y="5"/>
                </a:cubicBezTo>
                <a:cubicBezTo>
                  <a:pt x="174" y="6"/>
                  <a:pt x="174" y="6"/>
                  <a:pt x="174" y="6"/>
                </a:cubicBezTo>
                <a:close/>
                <a:moveTo>
                  <a:pt x="168" y="6"/>
                </a:moveTo>
                <a:cubicBezTo>
                  <a:pt x="169" y="7"/>
                  <a:pt x="169" y="7"/>
                  <a:pt x="169" y="7"/>
                </a:cubicBezTo>
                <a:cubicBezTo>
                  <a:pt x="170" y="8"/>
                  <a:pt x="170" y="8"/>
                  <a:pt x="170" y="8"/>
                </a:cubicBezTo>
                <a:cubicBezTo>
                  <a:pt x="170" y="8"/>
                  <a:pt x="170" y="8"/>
                  <a:pt x="170" y="8"/>
                </a:cubicBezTo>
                <a:cubicBezTo>
                  <a:pt x="171" y="7"/>
                  <a:pt x="171" y="7"/>
                  <a:pt x="171" y="7"/>
                </a:cubicBezTo>
                <a:cubicBezTo>
                  <a:pt x="172" y="7"/>
                  <a:pt x="172" y="7"/>
                  <a:pt x="172" y="7"/>
                </a:cubicBezTo>
                <a:cubicBezTo>
                  <a:pt x="170" y="5"/>
                  <a:pt x="170" y="5"/>
                  <a:pt x="170" y="5"/>
                </a:cubicBezTo>
                <a:cubicBezTo>
                  <a:pt x="170" y="4"/>
                  <a:pt x="170" y="4"/>
                  <a:pt x="170" y="4"/>
                </a:cubicBezTo>
                <a:cubicBezTo>
                  <a:pt x="169" y="4"/>
                  <a:pt x="169" y="4"/>
                  <a:pt x="169" y="4"/>
                </a:cubicBezTo>
                <a:cubicBezTo>
                  <a:pt x="169" y="4"/>
                  <a:pt x="169" y="4"/>
                  <a:pt x="169" y="4"/>
                </a:cubicBezTo>
                <a:cubicBezTo>
                  <a:pt x="169" y="5"/>
                  <a:pt x="169" y="5"/>
                  <a:pt x="169" y="5"/>
                </a:cubicBezTo>
                <a:cubicBezTo>
                  <a:pt x="168" y="5"/>
                  <a:pt x="168" y="5"/>
                  <a:pt x="168" y="5"/>
                </a:cubicBezTo>
                <a:cubicBezTo>
                  <a:pt x="168" y="6"/>
                  <a:pt x="168" y="6"/>
                  <a:pt x="168" y="6"/>
                </a:cubicBezTo>
                <a:close/>
                <a:moveTo>
                  <a:pt x="165" y="7"/>
                </a:moveTo>
                <a:cubicBezTo>
                  <a:pt x="165" y="8"/>
                  <a:pt x="165" y="8"/>
                  <a:pt x="165" y="8"/>
                </a:cubicBezTo>
                <a:cubicBezTo>
                  <a:pt x="166" y="8"/>
                  <a:pt x="166" y="8"/>
                  <a:pt x="166" y="8"/>
                </a:cubicBezTo>
                <a:cubicBezTo>
                  <a:pt x="166" y="8"/>
                  <a:pt x="166" y="8"/>
                  <a:pt x="166" y="8"/>
                </a:cubicBezTo>
                <a:cubicBezTo>
                  <a:pt x="166" y="8"/>
                  <a:pt x="166" y="8"/>
                  <a:pt x="166" y="8"/>
                </a:cubicBezTo>
                <a:cubicBezTo>
                  <a:pt x="165" y="7"/>
                  <a:pt x="165" y="7"/>
                  <a:pt x="165" y="7"/>
                </a:cubicBezTo>
                <a:cubicBezTo>
                  <a:pt x="165" y="7"/>
                  <a:pt x="165" y="7"/>
                  <a:pt x="165" y="7"/>
                </a:cubicBezTo>
                <a:close/>
                <a:moveTo>
                  <a:pt x="146" y="12"/>
                </a:moveTo>
                <a:cubicBezTo>
                  <a:pt x="147" y="13"/>
                  <a:pt x="147" y="13"/>
                  <a:pt x="147" y="13"/>
                </a:cubicBezTo>
                <a:cubicBezTo>
                  <a:pt x="148" y="14"/>
                  <a:pt x="148" y="14"/>
                  <a:pt x="148" y="14"/>
                </a:cubicBezTo>
                <a:cubicBezTo>
                  <a:pt x="149" y="15"/>
                  <a:pt x="149" y="15"/>
                  <a:pt x="149" y="15"/>
                </a:cubicBezTo>
                <a:cubicBezTo>
                  <a:pt x="150" y="16"/>
                  <a:pt x="150" y="16"/>
                  <a:pt x="150" y="16"/>
                </a:cubicBezTo>
                <a:cubicBezTo>
                  <a:pt x="151" y="14"/>
                  <a:pt x="151" y="14"/>
                  <a:pt x="151" y="14"/>
                </a:cubicBezTo>
                <a:cubicBezTo>
                  <a:pt x="151" y="13"/>
                  <a:pt x="151" y="13"/>
                  <a:pt x="151" y="13"/>
                </a:cubicBezTo>
                <a:cubicBezTo>
                  <a:pt x="151" y="13"/>
                  <a:pt x="151" y="13"/>
                  <a:pt x="151" y="13"/>
                </a:cubicBezTo>
                <a:cubicBezTo>
                  <a:pt x="151" y="12"/>
                  <a:pt x="151" y="12"/>
                  <a:pt x="151" y="12"/>
                </a:cubicBezTo>
                <a:cubicBezTo>
                  <a:pt x="150" y="12"/>
                  <a:pt x="150" y="12"/>
                  <a:pt x="150" y="12"/>
                </a:cubicBezTo>
                <a:cubicBezTo>
                  <a:pt x="149" y="10"/>
                  <a:pt x="149" y="10"/>
                  <a:pt x="149" y="10"/>
                </a:cubicBezTo>
                <a:cubicBezTo>
                  <a:pt x="148" y="10"/>
                  <a:pt x="148" y="10"/>
                  <a:pt x="148" y="10"/>
                </a:cubicBezTo>
                <a:cubicBezTo>
                  <a:pt x="148" y="11"/>
                  <a:pt x="148" y="11"/>
                  <a:pt x="148" y="11"/>
                </a:cubicBezTo>
                <a:cubicBezTo>
                  <a:pt x="148" y="12"/>
                  <a:pt x="148" y="12"/>
                  <a:pt x="148" y="12"/>
                </a:cubicBezTo>
                <a:cubicBezTo>
                  <a:pt x="148" y="12"/>
                  <a:pt x="148" y="12"/>
                  <a:pt x="148" y="12"/>
                </a:cubicBezTo>
                <a:cubicBezTo>
                  <a:pt x="148" y="13"/>
                  <a:pt x="148" y="13"/>
                  <a:pt x="148" y="13"/>
                </a:cubicBezTo>
                <a:cubicBezTo>
                  <a:pt x="147" y="12"/>
                  <a:pt x="147" y="12"/>
                  <a:pt x="147" y="12"/>
                </a:cubicBezTo>
                <a:cubicBezTo>
                  <a:pt x="146" y="12"/>
                  <a:pt x="146" y="12"/>
                  <a:pt x="146" y="12"/>
                </a:cubicBezTo>
                <a:close/>
                <a:moveTo>
                  <a:pt x="145" y="13"/>
                </a:moveTo>
                <a:cubicBezTo>
                  <a:pt x="146" y="15"/>
                  <a:pt x="146" y="15"/>
                  <a:pt x="146" y="15"/>
                </a:cubicBezTo>
                <a:cubicBezTo>
                  <a:pt x="147" y="15"/>
                  <a:pt x="147" y="15"/>
                  <a:pt x="147" y="15"/>
                </a:cubicBezTo>
                <a:cubicBezTo>
                  <a:pt x="147" y="14"/>
                  <a:pt x="147" y="14"/>
                  <a:pt x="147" y="14"/>
                </a:cubicBezTo>
                <a:cubicBezTo>
                  <a:pt x="146" y="13"/>
                  <a:pt x="146" y="13"/>
                  <a:pt x="146" y="13"/>
                </a:cubicBezTo>
                <a:cubicBezTo>
                  <a:pt x="145" y="13"/>
                  <a:pt x="145" y="13"/>
                  <a:pt x="145" y="13"/>
                </a:cubicBezTo>
                <a:close/>
                <a:moveTo>
                  <a:pt x="139" y="13"/>
                </a:moveTo>
                <a:cubicBezTo>
                  <a:pt x="139" y="14"/>
                  <a:pt x="139" y="14"/>
                  <a:pt x="139" y="14"/>
                </a:cubicBezTo>
                <a:cubicBezTo>
                  <a:pt x="141" y="14"/>
                  <a:pt x="141" y="14"/>
                  <a:pt x="141" y="14"/>
                </a:cubicBezTo>
                <a:cubicBezTo>
                  <a:pt x="141" y="15"/>
                  <a:pt x="141" y="15"/>
                  <a:pt x="141" y="15"/>
                </a:cubicBezTo>
                <a:cubicBezTo>
                  <a:pt x="142" y="15"/>
                  <a:pt x="142" y="15"/>
                  <a:pt x="142" y="15"/>
                </a:cubicBezTo>
                <a:cubicBezTo>
                  <a:pt x="142" y="14"/>
                  <a:pt x="142" y="14"/>
                  <a:pt x="142" y="14"/>
                </a:cubicBezTo>
                <a:cubicBezTo>
                  <a:pt x="142" y="13"/>
                  <a:pt x="142" y="13"/>
                  <a:pt x="142" y="13"/>
                </a:cubicBezTo>
                <a:cubicBezTo>
                  <a:pt x="141" y="13"/>
                  <a:pt x="141" y="13"/>
                  <a:pt x="141" y="13"/>
                </a:cubicBezTo>
                <a:cubicBezTo>
                  <a:pt x="141" y="12"/>
                  <a:pt x="141" y="12"/>
                  <a:pt x="141" y="12"/>
                </a:cubicBezTo>
                <a:cubicBezTo>
                  <a:pt x="140" y="12"/>
                  <a:pt x="140" y="12"/>
                  <a:pt x="140" y="12"/>
                </a:cubicBezTo>
                <a:cubicBezTo>
                  <a:pt x="139" y="12"/>
                  <a:pt x="139" y="12"/>
                  <a:pt x="139" y="12"/>
                </a:cubicBezTo>
                <a:cubicBezTo>
                  <a:pt x="139" y="13"/>
                  <a:pt x="139" y="13"/>
                  <a:pt x="139" y="13"/>
                </a:cubicBezTo>
                <a:close/>
                <a:moveTo>
                  <a:pt x="135" y="25"/>
                </a:moveTo>
                <a:cubicBezTo>
                  <a:pt x="136" y="25"/>
                  <a:pt x="136" y="25"/>
                  <a:pt x="136" y="25"/>
                </a:cubicBezTo>
                <a:cubicBezTo>
                  <a:pt x="137" y="25"/>
                  <a:pt x="137" y="25"/>
                  <a:pt x="137" y="25"/>
                </a:cubicBezTo>
                <a:cubicBezTo>
                  <a:pt x="137" y="24"/>
                  <a:pt x="137" y="24"/>
                  <a:pt x="137" y="24"/>
                </a:cubicBezTo>
                <a:cubicBezTo>
                  <a:pt x="136" y="23"/>
                  <a:pt x="136" y="23"/>
                  <a:pt x="136" y="23"/>
                </a:cubicBezTo>
                <a:cubicBezTo>
                  <a:pt x="136" y="21"/>
                  <a:pt x="136" y="21"/>
                  <a:pt x="136" y="21"/>
                </a:cubicBezTo>
                <a:cubicBezTo>
                  <a:pt x="135" y="20"/>
                  <a:pt x="135" y="20"/>
                  <a:pt x="135" y="20"/>
                </a:cubicBezTo>
                <a:cubicBezTo>
                  <a:pt x="134" y="20"/>
                  <a:pt x="134" y="20"/>
                  <a:pt x="134" y="20"/>
                </a:cubicBezTo>
                <a:cubicBezTo>
                  <a:pt x="134" y="21"/>
                  <a:pt x="134" y="21"/>
                  <a:pt x="134" y="21"/>
                </a:cubicBezTo>
                <a:cubicBezTo>
                  <a:pt x="135" y="22"/>
                  <a:pt x="135" y="22"/>
                  <a:pt x="135" y="22"/>
                </a:cubicBezTo>
                <a:cubicBezTo>
                  <a:pt x="135" y="24"/>
                  <a:pt x="135" y="24"/>
                  <a:pt x="135" y="24"/>
                </a:cubicBezTo>
                <a:cubicBezTo>
                  <a:pt x="135" y="25"/>
                  <a:pt x="135" y="25"/>
                  <a:pt x="135" y="25"/>
                </a:cubicBezTo>
                <a:close/>
                <a:moveTo>
                  <a:pt x="137" y="37"/>
                </a:moveTo>
                <a:cubicBezTo>
                  <a:pt x="139" y="37"/>
                  <a:pt x="139" y="37"/>
                  <a:pt x="139" y="37"/>
                </a:cubicBezTo>
                <a:cubicBezTo>
                  <a:pt x="139" y="36"/>
                  <a:pt x="139" y="36"/>
                  <a:pt x="139" y="36"/>
                </a:cubicBezTo>
                <a:cubicBezTo>
                  <a:pt x="139" y="35"/>
                  <a:pt x="139" y="35"/>
                  <a:pt x="139" y="35"/>
                </a:cubicBezTo>
                <a:cubicBezTo>
                  <a:pt x="138" y="34"/>
                  <a:pt x="138" y="34"/>
                  <a:pt x="138" y="34"/>
                </a:cubicBezTo>
                <a:cubicBezTo>
                  <a:pt x="138" y="33"/>
                  <a:pt x="138" y="33"/>
                  <a:pt x="138" y="33"/>
                </a:cubicBezTo>
                <a:cubicBezTo>
                  <a:pt x="138" y="33"/>
                  <a:pt x="138" y="33"/>
                  <a:pt x="138" y="33"/>
                </a:cubicBezTo>
                <a:cubicBezTo>
                  <a:pt x="136" y="33"/>
                  <a:pt x="136" y="33"/>
                  <a:pt x="136" y="33"/>
                </a:cubicBezTo>
                <a:cubicBezTo>
                  <a:pt x="136" y="34"/>
                  <a:pt x="136" y="34"/>
                  <a:pt x="136" y="34"/>
                </a:cubicBezTo>
                <a:cubicBezTo>
                  <a:pt x="136" y="35"/>
                  <a:pt x="136" y="35"/>
                  <a:pt x="136" y="35"/>
                </a:cubicBezTo>
                <a:cubicBezTo>
                  <a:pt x="137" y="36"/>
                  <a:pt x="137" y="36"/>
                  <a:pt x="137" y="36"/>
                </a:cubicBezTo>
                <a:cubicBezTo>
                  <a:pt x="137" y="37"/>
                  <a:pt x="137" y="37"/>
                  <a:pt x="137" y="37"/>
                </a:cubicBezTo>
                <a:close/>
                <a:moveTo>
                  <a:pt x="137" y="38"/>
                </a:moveTo>
                <a:cubicBezTo>
                  <a:pt x="137" y="39"/>
                  <a:pt x="137" y="39"/>
                  <a:pt x="137" y="39"/>
                </a:cubicBezTo>
                <a:cubicBezTo>
                  <a:pt x="137" y="40"/>
                  <a:pt x="137" y="40"/>
                  <a:pt x="137" y="40"/>
                </a:cubicBezTo>
                <a:cubicBezTo>
                  <a:pt x="137" y="41"/>
                  <a:pt x="137" y="41"/>
                  <a:pt x="137" y="41"/>
                </a:cubicBezTo>
                <a:cubicBezTo>
                  <a:pt x="139" y="43"/>
                  <a:pt x="139" y="43"/>
                  <a:pt x="139" y="43"/>
                </a:cubicBezTo>
                <a:cubicBezTo>
                  <a:pt x="140" y="42"/>
                  <a:pt x="140" y="42"/>
                  <a:pt x="140" y="42"/>
                </a:cubicBezTo>
                <a:cubicBezTo>
                  <a:pt x="139" y="39"/>
                  <a:pt x="139" y="39"/>
                  <a:pt x="139" y="39"/>
                </a:cubicBezTo>
                <a:cubicBezTo>
                  <a:pt x="139" y="38"/>
                  <a:pt x="139" y="38"/>
                  <a:pt x="139" y="38"/>
                </a:cubicBezTo>
                <a:cubicBezTo>
                  <a:pt x="138" y="38"/>
                  <a:pt x="138" y="38"/>
                  <a:pt x="138" y="38"/>
                </a:cubicBezTo>
                <a:cubicBezTo>
                  <a:pt x="137" y="38"/>
                  <a:pt x="137" y="38"/>
                  <a:pt x="137" y="38"/>
                </a:cubicBezTo>
                <a:close/>
                <a:moveTo>
                  <a:pt x="120" y="26"/>
                </a:moveTo>
                <a:cubicBezTo>
                  <a:pt x="120" y="26"/>
                  <a:pt x="120" y="26"/>
                  <a:pt x="120" y="26"/>
                </a:cubicBezTo>
                <a:cubicBezTo>
                  <a:pt x="120" y="25"/>
                  <a:pt x="120" y="25"/>
                  <a:pt x="120" y="25"/>
                </a:cubicBezTo>
                <a:cubicBezTo>
                  <a:pt x="120" y="24"/>
                  <a:pt x="120" y="24"/>
                  <a:pt x="120" y="24"/>
                </a:cubicBezTo>
                <a:cubicBezTo>
                  <a:pt x="119" y="24"/>
                  <a:pt x="119" y="24"/>
                  <a:pt x="119" y="24"/>
                </a:cubicBezTo>
                <a:cubicBezTo>
                  <a:pt x="119" y="24"/>
                  <a:pt x="119" y="24"/>
                  <a:pt x="119" y="24"/>
                </a:cubicBezTo>
                <a:cubicBezTo>
                  <a:pt x="119" y="25"/>
                  <a:pt x="119" y="25"/>
                  <a:pt x="119" y="25"/>
                </a:cubicBezTo>
                <a:cubicBezTo>
                  <a:pt x="120" y="26"/>
                  <a:pt x="120" y="26"/>
                  <a:pt x="120" y="26"/>
                </a:cubicBezTo>
                <a:close/>
                <a:moveTo>
                  <a:pt x="117" y="34"/>
                </a:moveTo>
                <a:cubicBezTo>
                  <a:pt x="118" y="34"/>
                  <a:pt x="118" y="34"/>
                  <a:pt x="118" y="34"/>
                </a:cubicBezTo>
                <a:cubicBezTo>
                  <a:pt x="118" y="33"/>
                  <a:pt x="118" y="33"/>
                  <a:pt x="118" y="33"/>
                </a:cubicBezTo>
                <a:cubicBezTo>
                  <a:pt x="118" y="32"/>
                  <a:pt x="118" y="32"/>
                  <a:pt x="118" y="32"/>
                </a:cubicBezTo>
                <a:cubicBezTo>
                  <a:pt x="116" y="30"/>
                  <a:pt x="116" y="30"/>
                  <a:pt x="116" y="30"/>
                </a:cubicBezTo>
                <a:cubicBezTo>
                  <a:pt x="116" y="28"/>
                  <a:pt x="116" y="28"/>
                  <a:pt x="116" y="28"/>
                </a:cubicBezTo>
                <a:cubicBezTo>
                  <a:pt x="117" y="26"/>
                  <a:pt x="117" y="26"/>
                  <a:pt x="117" y="26"/>
                </a:cubicBezTo>
                <a:cubicBezTo>
                  <a:pt x="117" y="24"/>
                  <a:pt x="117" y="24"/>
                  <a:pt x="117" y="24"/>
                </a:cubicBezTo>
                <a:cubicBezTo>
                  <a:pt x="117" y="23"/>
                  <a:pt x="117" y="23"/>
                  <a:pt x="117" y="23"/>
                </a:cubicBezTo>
                <a:cubicBezTo>
                  <a:pt x="117" y="21"/>
                  <a:pt x="117" y="21"/>
                  <a:pt x="117" y="21"/>
                </a:cubicBezTo>
                <a:cubicBezTo>
                  <a:pt x="116" y="20"/>
                  <a:pt x="116" y="20"/>
                  <a:pt x="116" y="20"/>
                </a:cubicBezTo>
                <a:cubicBezTo>
                  <a:pt x="115" y="21"/>
                  <a:pt x="115" y="21"/>
                  <a:pt x="115" y="21"/>
                </a:cubicBezTo>
                <a:cubicBezTo>
                  <a:pt x="115" y="25"/>
                  <a:pt x="115" y="25"/>
                  <a:pt x="115" y="25"/>
                </a:cubicBezTo>
                <a:cubicBezTo>
                  <a:pt x="114" y="26"/>
                  <a:pt x="114" y="26"/>
                  <a:pt x="114" y="26"/>
                </a:cubicBezTo>
                <a:cubicBezTo>
                  <a:pt x="114" y="27"/>
                  <a:pt x="114" y="27"/>
                  <a:pt x="114" y="27"/>
                </a:cubicBezTo>
                <a:cubicBezTo>
                  <a:pt x="116" y="30"/>
                  <a:pt x="116" y="30"/>
                  <a:pt x="116" y="30"/>
                </a:cubicBezTo>
                <a:cubicBezTo>
                  <a:pt x="116" y="32"/>
                  <a:pt x="116" y="32"/>
                  <a:pt x="116" y="32"/>
                </a:cubicBezTo>
                <a:cubicBezTo>
                  <a:pt x="117" y="34"/>
                  <a:pt x="117" y="34"/>
                  <a:pt x="117" y="34"/>
                </a:cubicBezTo>
                <a:close/>
                <a:moveTo>
                  <a:pt x="49" y="44"/>
                </a:moveTo>
                <a:cubicBezTo>
                  <a:pt x="50" y="45"/>
                  <a:pt x="50" y="45"/>
                  <a:pt x="50" y="45"/>
                </a:cubicBezTo>
                <a:cubicBezTo>
                  <a:pt x="50" y="46"/>
                  <a:pt x="50" y="46"/>
                  <a:pt x="50" y="46"/>
                </a:cubicBezTo>
                <a:cubicBezTo>
                  <a:pt x="51" y="46"/>
                  <a:pt x="51" y="46"/>
                  <a:pt x="51" y="46"/>
                </a:cubicBezTo>
                <a:cubicBezTo>
                  <a:pt x="51" y="45"/>
                  <a:pt x="51" y="45"/>
                  <a:pt x="51" y="45"/>
                </a:cubicBezTo>
                <a:cubicBezTo>
                  <a:pt x="50" y="44"/>
                  <a:pt x="50" y="44"/>
                  <a:pt x="50" y="44"/>
                </a:cubicBezTo>
                <a:cubicBezTo>
                  <a:pt x="49" y="44"/>
                  <a:pt x="49" y="44"/>
                  <a:pt x="49" y="44"/>
                </a:cubicBezTo>
                <a:close/>
                <a:moveTo>
                  <a:pt x="6" y="99"/>
                </a:moveTo>
                <a:cubicBezTo>
                  <a:pt x="7" y="100"/>
                  <a:pt x="7" y="100"/>
                  <a:pt x="7" y="100"/>
                </a:cubicBezTo>
                <a:cubicBezTo>
                  <a:pt x="9" y="100"/>
                  <a:pt x="9" y="100"/>
                  <a:pt x="9" y="100"/>
                </a:cubicBezTo>
                <a:cubicBezTo>
                  <a:pt x="10" y="101"/>
                  <a:pt x="10" y="101"/>
                  <a:pt x="10" y="101"/>
                </a:cubicBezTo>
                <a:cubicBezTo>
                  <a:pt x="11" y="101"/>
                  <a:pt x="11" y="101"/>
                  <a:pt x="11" y="101"/>
                </a:cubicBezTo>
                <a:cubicBezTo>
                  <a:pt x="10" y="100"/>
                  <a:pt x="10" y="100"/>
                  <a:pt x="10" y="100"/>
                </a:cubicBezTo>
                <a:cubicBezTo>
                  <a:pt x="9" y="100"/>
                  <a:pt x="9" y="100"/>
                  <a:pt x="9" y="100"/>
                </a:cubicBezTo>
                <a:cubicBezTo>
                  <a:pt x="8" y="98"/>
                  <a:pt x="8" y="98"/>
                  <a:pt x="8" y="98"/>
                </a:cubicBezTo>
                <a:cubicBezTo>
                  <a:pt x="7" y="99"/>
                  <a:pt x="7" y="99"/>
                  <a:pt x="7" y="99"/>
                </a:cubicBezTo>
                <a:cubicBezTo>
                  <a:pt x="7" y="98"/>
                  <a:pt x="7" y="98"/>
                  <a:pt x="7" y="98"/>
                </a:cubicBezTo>
                <a:cubicBezTo>
                  <a:pt x="6" y="99"/>
                  <a:pt x="6" y="99"/>
                  <a:pt x="6" y="99"/>
                </a:cubicBezTo>
                <a:close/>
                <a:moveTo>
                  <a:pt x="0" y="99"/>
                </a:moveTo>
                <a:cubicBezTo>
                  <a:pt x="2" y="100"/>
                  <a:pt x="2" y="100"/>
                  <a:pt x="2" y="100"/>
                </a:cubicBezTo>
                <a:cubicBezTo>
                  <a:pt x="3" y="101"/>
                  <a:pt x="3" y="101"/>
                  <a:pt x="3" y="101"/>
                </a:cubicBezTo>
                <a:cubicBezTo>
                  <a:pt x="4" y="101"/>
                  <a:pt x="4" y="101"/>
                  <a:pt x="4" y="101"/>
                </a:cubicBezTo>
                <a:cubicBezTo>
                  <a:pt x="6" y="100"/>
                  <a:pt x="6" y="100"/>
                  <a:pt x="6" y="100"/>
                </a:cubicBezTo>
                <a:cubicBezTo>
                  <a:pt x="4" y="99"/>
                  <a:pt x="4" y="99"/>
                  <a:pt x="4" y="99"/>
                </a:cubicBezTo>
                <a:cubicBezTo>
                  <a:pt x="2" y="98"/>
                  <a:pt x="2" y="98"/>
                  <a:pt x="2" y="98"/>
                </a:cubicBezTo>
                <a:cubicBezTo>
                  <a:pt x="1" y="98"/>
                  <a:pt x="1" y="98"/>
                  <a:pt x="1" y="98"/>
                </a:cubicBezTo>
                <a:cubicBezTo>
                  <a:pt x="0" y="99"/>
                  <a:pt x="0" y="99"/>
                  <a:pt x="0" y="99"/>
                </a:cubicBezTo>
                <a:close/>
                <a:moveTo>
                  <a:pt x="48" y="151"/>
                </a:moveTo>
                <a:cubicBezTo>
                  <a:pt x="48" y="152"/>
                  <a:pt x="48" y="152"/>
                  <a:pt x="48" y="152"/>
                </a:cubicBezTo>
                <a:cubicBezTo>
                  <a:pt x="49" y="152"/>
                  <a:pt x="49" y="152"/>
                  <a:pt x="49" y="152"/>
                </a:cubicBezTo>
                <a:cubicBezTo>
                  <a:pt x="49" y="151"/>
                  <a:pt x="49" y="151"/>
                  <a:pt x="49" y="151"/>
                </a:cubicBezTo>
                <a:cubicBezTo>
                  <a:pt x="49" y="151"/>
                  <a:pt x="49" y="151"/>
                  <a:pt x="49" y="151"/>
                </a:cubicBezTo>
                <a:cubicBezTo>
                  <a:pt x="48" y="151"/>
                  <a:pt x="48" y="151"/>
                  <a:pt x="48" y="151"/>
                </a:cubicBezTo>
                <a:close/>
                <a:moveTo>
                  <a:pt x="49" y="157"/>
                </a:moveTo>
                <a:cubicBezTo>
                  <a:pt x="49" y="157"/>
                  <a:pt x="49" y="157"/>
                  <a:pt x="49" y="157"/>
                </a:cubicBezTo>
                <a:cubicBezTo>
                  <a:pt x="50" y="157"/>
                  <a:pt x="50" y="157"/>
                  <a:pt x="50" y="157"/>
                </a:cubicBezTo>
                <a:cubicBezTo>
                  <a:pt x="52" y="157"/>
                  <a:pt x="52" y="157"/>
                  <a:pt x="52" y="157"/>
                </a:cubicBezTo>
                <a:cubicBezTo>
                  <a:pt x="53" y="157"/>
                  <a:pt x="53" y="157"/>
                  <a:pt x="53" y="157"/>
                </a:cubicBezTo>
                <a:cubicBezTo>
                  <a:pt x="53" y="158"/>
                  <a:pt x="53" y="158"/>
                  <a:pt x="53" y="158"/>
                </a:cubicBezTo>
                <a:cubicBezTo>
                  <a:pt x="54" y="157"/>
                  <a:pt x="54" y="157"/>
                  <a:pt x="54" y="157"/>
                </a:cubicBezTo>
                <a:cubicBezTo>
                  <a:pt x="53" y="156"/>
                  <a:pt x="53" y="156"/>
                  <a:pt x="53" y="156"/>
                </a:cubicBezTo>
                <a:cubicBezTo>
                  <a:pt x="51" y="156"/>
                  <a:pt x="51" y="156"/>
                  <a:pt x="51" y="156"/>
                </a:cubicBezTo>
                <a:cubicBezTo>
                  <a:pt x="51" y="156"/>
                  <a:pt x="51" y="156"/>
                  <a:pt x="51" y="156"/>
                </a:cubicBezTo>
                <a:cubicBezTo>
                  <a:pt x="50" y="155"/>
                  <a:pt x="50" y="155"/>
                  <a:pt x="50" y="155"/>
                </a:cubicBezTo>
                <a:cubicBezTo>
                  <a:pt x="49" y="156"/>
                  <a:pt x="49" y="156"/>
                  <a:pt x="49" y="156"/>
                </a:cubicBezTo>
                <a:cubicBezTo>
                  <a:pt x="48" y="156"/>
                  <a:pt x="48" y="156"/>
                  <a:pt x="48" y="156"/>
                </a:cubicBezTo>
                <a:cubicBezTo>
                  <a:pt x="49" y="157"/>
                  <a:pt x="49" y="157"/>
                  <a:pt x="49" y="157"/>
                </a:cubicBezTo>
                <a:close/>
                <a:moveTo>
                  <a:pt x="50" y="158"/>
                </a:moveTo>
                <a:cubicBezTo>
                  <a:pt x="50" y="159"/>
                  <a:pt x="50" y="159"/>
                  <a:pt x="50" y="159"/>
                </a:cubicBezTo>
                <a:cubicBezTo>
                  <a:pt x="51" y="159"/>
                  <a:pt x="51" y="159"/>
                  <a:pt x="51" y="159"/>
                </a:cubicBezTo>
                <a:cubicBezTo>
                  <a:pt x="51" y="158"/>
                  <a:pt x="51" y="158"/>
                  <a:pt x="51" y="158"/>
                </a:cubicBezTo>
                <a:cubicBezTo>
                  <a:pt x="50" y="158"/>
                  <a:pt x="50" y="158"/>
                  <a:pt x="50" y="158"/>
                </a:cubicBezTo>
                <a:close/>
                <a:moveTo>
                  <a:pt x="50" y="166"/>
                </a:moveTo>
                <a:cubicBezTo>
                  <a:pt x="51" y="167"/>
                  <a:pt x="51" y="167"/>
                  <a:pt x="51" y="167"/>
                </a:cubicBezTo>
                <a:cubicBezTo>
                  <a:pt x="52" y="167"/>
                  <a:pt x="52" y="167"/>
                  <a:pt x="52" y="167"/>
                </a:cubicBezTo>
                <a:cubicBezTo>
                  <a:pt x="52" y="168"/>
                  <a:pt x="52" y="168"/>
                  <a:pt x="52" y="168"/>
                </a:cubicBezTo>
                <a:cubicBezTo>
                  <a:pt x="53" y="167"/>
                  <a:pt x="53" y="167"/>
                  <a:pt x="53" y="167"/>
                </a:cubicBezTo>
                <a:cubicBezTo>
                  <a:pt x="53" y="167"/>
                  <a:pt x="53" y="167"/>
                  <a:pt x="53" y="167"/>
                </a:cubicBezTo>
                <a:cubicBezTo>
                  <a:pt x="51" y="166"/>
                  <a:pt x="51" y="166"/>
                  <a:pt x="51" y="166"/>
                </a:cubicBezTo>
                <a:cubicBezTo>
                  <a:pt x="51" y="166"/>
                  <a:pt x="51" y="166"/>
                  <a:pt x="51" y="166"/>
                </a:cubicBezTo>
                <a:cubicBezTo>
                  <a:pt x="50" y="166"/>
                  <a:pt x="50" y="166"/>
                  <a:pt x="50" y="166"/>
                </a:cubicBezTo>
                <a:close/>
                <a:moveTo>
                  <a:pt x="49" y="169"/>
                </a:moveTo>
                <a:cubicBezTo>
                  <a:pt x="50" y="170"/>
                  <a:pt x="50" y="170"/>
                  <a:pt x="50" y="170"/>
                </a:cubicBezTo>
                <a:cubicBezTo>
                  <a:pt x="50" y="170"/>
                  <a:pt x="50" y="170"/>
                  <a:pt x="50" y="170"/>
                </a:cubicBezTo>
                <a:cubicBezTo>
                  <a:pt x="51" y="170"/>
                  <a:pt x="51" y="170"/>
                  <a:pt x="51" y="170"/>
                </a:cubicBezTo>
                <a:cubicBezTo>
                  <a:pt x="50" y="169"/>
                  <a:pt x="50" y="169"/>
                  <a:pt x="50" y="169"/>
                </a:cubicBezTo>
                <a:cubicBezTo>
                  <a:pt x="50" y="169"/>
                  <a:pt x="50" y="169"/>
                  <a:pt x="50" y="169"/>
                </a:cubicBezTo>
                <a:cubicBezTo>
                  <a:pt x="49" y="169"/>
                  <a:pt x="49" y="169"/>
                  <a:pt x="49" y="169"/>
                </a:cubicBezTo>
                <a:close/>
                <a:moveTo>
                  <a:pt x="51" y="174"/>
                </a:moveTo>
                <a:cubicBezTo>
                  <a:pt x="51" y="175"/>
                  <a:pt x="51" y="175"/>
                  <a:pt x="51" y="175"/>
                </a:cubicBezTo>
                <a:cubicBezTo>
                  <a:pt x="52" y="174"/>
                  <a:pt x="52" y="174"/>
                  <a:pt x="52" y="174"/>
                </a:cubicBezTo>
                <a:cubicBezTo>
                  <a:pt x="51" y="173"/>
                  <a:pt x="51" y="173"/>
                  <a:pt x="51" y="173"/>
                </a:cubicBezTo>
                <a:cubicBezTo>
                  <a:pt x="51" y="173"/>
                  <a:pt x="51" y="173"/>
                  <a:pt x="51" y="173"/>
                </a:cubicBezTo>
                <a:cubicBezTo>
                  <a:pt x="51" y="173"/>
                  <a:pt x="51" y="173"/>
                  <a:pt x="51" y="173"/>
                </a:cubicBezTo>
                <a:cubicBezTo>
                  <a:pt x="51" y="174"/>
                  <a:pt x="51" y="174"/>
                  <a:pt x="51" y="174"/>
                </a:cubicBezTo>
                <a:close/>
                <a:moveTo>
                  <a:pt x="53" y="176"/>
                </a:moveTo>
                <a:cubicBezTo>
                  <a:pt x="53" y="176"/>
                  <a:pt x="53" y="176"/>
                  <a:pt x="53" y="176"/>
                </a:cubicBezTo>
                <a:cubicBezTo>
                  <a:pt x="53" y="176"/>
                  <a:pt x="53" y="176"/>
                  <a:pt x="53" y="176"/>
                </a:cubicBezTo>
                <a:cubicBezTo>
                  <a:pt x="53" y="176"/>
                  <a:pt x="53" y="176"/>
                  <a:pt x="53" y="176"/>
                </a:cubicBezTo>
                <a:cubicBezTo>
                  <a:pt x="53" y="176"/>
                  <a:pt x="53" y="176"/>
                  <a:pt x="53" y="176"/>
                </a:cubicBezTo>
                <a:close/>
                <a:moveTo>
                  <a:pt x="49" y="177"/>
                </a:moveTo>
                <a:cubicBezTo>
                  <a:pt x="49" y="176"/>
                  <a:pt x="49" y="176"/>
                  <a:pt x="49" y="176"/>
                </a:cubicBezTo>
                <a:cubicBezTo>
                  <a:pt x="49" y="176"/>
                  <a:pt x="49" y="176"/>
                  <a:pt x="49" y="176"/>
                </a:cubicBezTo>
                <a:cubicBezTo>
                  <a:pt x="49" y="176"/>
                  <a:pt x="49" y="176"/>
                  <a:pt x="49" y="176"/>
                </a:cubicBezTo>
                <a:cubicBezTo>
                  <a:pt x="49" y="177"/>
                  <a:pt x="49" y="177"/>
                  <a:pt x="49" y="177"/>
                </a:cubicBezTo>
                <a:close/>
                <a:moveTo>
                  <a:pt x="51" y="176"/>
                </a:moveTo>
                <a:cubicBezTo>
                  <a:pt x="51" y="176"/>
                  <a:pt x="51" y="176"/>
                  <a:pt x="51" y="176"/>
                </a:cubicBezTo>
                <a:cubicBezTo>
                  <a:pt x="51" y="176"/>
                  <a:pt x="51" y="176"/>
                  <a:pt x="51" y="176"/>
                </a:cubicBezTo>
                <a:cubicBezTo>
                  <a:pt x="51" y="176"/>
                  <a:pt x="51" y="176"/>
                  <a:pt x="51" y="176"/>
                </a:cubicBezTo>
                <a:cubicBezTo>
                  <a:pt x="51" y="176"/>
                  <a:pt x="51" y="176"/>
                  <a:pt x="51" y="176"/>
                </a:cubicBezTo>
                <a:close/>
                <a:moveTo>
                  <a:pt x="50" y="178"/>
                </a:moveTo>
                <a:cubicBezTo>
                  <a:pt x="51" y="178"/>
                  <a:pt x="51" y="178"/>
                  <a:pt x="51" y="178"/>
                </a:cubicBezTo>
                <a:cubicBezTo>
                  <a:pt x="51" y="177"/>
                  <a:pt x="51" y="177"/>
                  <a:pt x="51" y="177"/>
                </a:cubicBezTo>
                <a:cubicBezTo>
                  <a:pt x="50" y="177"/>
                  <a:pt x="50" y="177"/>
                  <a:pt x="50" y="177"/>
                </a:cubicBezTo>
                <a:cubicBezTo>
                  <a:pt x="50" y="178"/>
                  <a:pt x="50" y="178"/>
                  <a:pt x="50" y="178"/>
                </a:cubicBezTo>
                <a:close/>
                <a:moveTo>
                  <a:pt x="51" y="180"/>
                </a:moveTo>
                <a:cubicBezTo>
                  <a:pt x="51" y="180"/>
                  <a:pt x="51" y="180"/>
                  <a:pt x="51" y="180"/>
                </a:cubicBezTo>
                <a:cubicBezTo>
                  <a:pt x="51" y="180"/>
                  <a:pt x="51" y="180"/>
                  <a:pt x="51" y="180"/>
                </a:cubicBezTo>
                <a:cubicBezTo>
                  <a:pt x="50" y="180"/>
                  <a:pt x="50" y="180"/>
                  <a:pt x="50" y="180"/>
                </a:cubicBezTo>
                <a:cubicBezTo>
                  <a:pt x="50" y="180"/>
                  <a:pt x="50" y="180"/>
                  <a:pt x="50" y="180"/>
                </a:cubicBezTo>
                <a:cubicBezTo>
                  <a:pt x="51" y="180"/>
                  <a:pt x="51" y="180"/>
                  <a:pt x="51" y="180"/>
                </a:cubicBezTo>
                <a:close/>
                <a:moveTo>
                  <a:pt x="52" y="181"/>
                </a:moveTo>
                <a:cubicBezTo>
                  <a:pt x="52" y="181"/>
                  <a:pt x="52" y="181"/>
                  <a:pt x="52" y="181"/>
                </a:cubicBezTo>
                <a:cubicBezTo>
                  <a:pt x="53" y="180"/>
                  <a:pt x="53" y="180"/>
                  <a:pt x="53" y="180"/>
                </a:cubicBezTo>
                <a:cubicBezTo>
                  <a:pt x="52" y="180"/>
                  <a:pt x="52" y="180"/>
                  <a:pt x="52" y="180"/>
                </a:cubicBezTo>
                <a:cubicBezTo>
                  <a:pt x="51" y="181"/>
                  <a:pt x="51" y="181"/>
                  <a:pt x="51" y="181"/>
                </a:cubicBezTo>
                <a:cubicBezTo>
                  <a:pt x="51" y="181"/>
                  <a:pt x="52" y="181"/>
                  <a:pt x="52" y="181"/>
                </a:cubicBezTo>
                <a:close/>
                <a:moveTo>
                  <a:pt x="48" y="184"/>
                </a:moveTo>
                <a:cubicBezTo>
                  <a:pt x="49" y="184"/>
                  <a:pt x="49" y="184"/>
                  <a:pt x="49" y="184"/>
                </a:cubicBezTo>
                <a:cubicBezTo>
                  <a:pt x="49" y="184"/>
                  <a:pt x="49" y="184"/>
                  <a:pt x="49" y="184"/>
                </a:cubicBezTo>
                <a:cubicBezTo>
                  <a:pt x="49" y="183"/>
                  <a:pt x="49" y="183"/>
                  <a:pt x="49" y="183"/>
                </a:cubicBezTo>
                <a:cubicBezTo>
                  <a:pt x="48" y="183"/>
                  <a:pt x="48" y="183"/>
                  <a:pt x="48" y="183"/>
                </a:cubicBezTo>
                <a:cubicBezTo>
                  <a:pt x="48" y="184"/>
                  <a:pt x="48" y="184"/>
                  <a:pt x="48" y="184"/>
                </a:cubicBezTo>
                <a:cubicBezTo>
                  <a:pt x="48" y="184"/>
                  <a:pt x="48" y="184"/>
                  <a:pt x="48" y="184"/>
                </a:cubicBezTo>
                <a:close/>
                <a:moveTo>
                  <a:pt x="50" y="186"/>
                </a:moveTo>
                <a:cubicBezTo>
                  <a:pt x="52" y="185"/>
                  <a:pt x="52" y="185"/>
                  <a:pt x="52" y="185"/>
                </a:cubicBezTo>
                <a:cubicBezTo>
                  <a:pt x="53" y="184"/>
                  <a:pt x="53" y="184"/>
                  <a:pt x="53" y="184"/>
                </a:cubicBezTo>
                <a:cubicBezTo>
                  <a:pt x="53" y="183"/>
                  <a:pt x="53" y="183"/>
                  <a:pt x="53" y="183"/>
                </a:cubicBezTo>
                <a:cubicBezTo>
                  <a:pt x="52" y="183"/>
                  <a:pt x="52" y="183"/>
                  <a:pt x="52" y="183"/>
                </a:cubicBezTo>
                <a:cubicBezTo>
                  <a:pt x="51" y="184"/>
                  <a:pt x="51" y="184"/>
                  <a:pt x="51" y="184"/>
                </a:cubicBezTo>
                <a:cubicBezTo>
                  <a:pt x="50" y="184"/>
                  <a:pt x="50" y="184"/>
                  <a:pt x="50" y="184"/>
                </a:cubicBezTo>
                <a:cubicBezTo>
                  <a:pt x="50" y="185"/>
                  <a:pt x="50" y="185"/>
                  <a:pt x="50" y="185"/>
                </a:cubicBezTo>
                <a:cubicBezTo>
                  <a:pt x="49" y="185"/>
                  <a:pt x="49" y="185"/>
                  <a:pt x="49" y="185"/>
                </a:cubicBezTo>
                <a:cubicBezTo>
                  <a:pt x="49" y="186"/>
                  <a:pt x="49" y="186"/>
                  <a:pt x="49" y="186"/>
                </a:cubicBezTo>
                <a:cubicBezTo>
                  <a:pt x="49" y="186"/>
                  <a:pt x="49" y="186"/>
                  <a:pt x="49" y="186"/>
                </a:cubicBezTo>
                <a:cubicBezTo>
                  <a:pt x="50" y="186"/>
                  <a:pt x="50" y="186"/>
                  <a:pt x="50" y="186"/>
                </a:cubicBezTo>
                <a:cubicBezTo>
                  <a:pt x="50" y="186"/>
                  <a:pt x="50" y="186"/>
                  <a:pt x="50" y="186"/>
                </a:cubicBezTo>
                <a:close/>
                <a:moveTo>
                  <a:pt x="52" y="186"/>
                </a:moveTo>
                <a:cubicBezTo>
                  <a:pt x="52" y="186"/>
                  <a:pt x="52" y="186"/>
                  <a:pt x="52" y="186"/>
                </a:cubicBezTo>
                <a:cubicBezTo>
                  <a:pt x="53" y="186"/>
                  <a:pt x="53" y="186"/>
                  <a:pt x="53" y="186"/>
                </a:cubicBezTo>
                <a:cubicBezTo>
                  <a:pt x="53" y="185"/>
                  <a:pt x="53" y="185"/>
                  <a:pt x="53" y="185"/>
                </a:cubicBezTo>
                <a:cubicBezTo>
                  <a:pt x="52" y="186"/>
                  <a:pt x="52" y="186"/>
                  <a:pt x="52" y="186"/>
                </a:cubicBezTo>
                <a:close/>
                <a:moveTo>
                  <a:pt x="51" y="187"/>
                </a:moveTo>
                <a:cubicBezTo>
                  <a:pt x="52" y="187"/>
                  <a:pt x="52" y="187"/>
                  <a:pt x="52" y="187"/>
                </a:cubicBezTo>
                <a:cubicBezTo>
                  <a:pt x="52" y="186"/>
                  <a:pt x="52" y="186"/>
                  <a:pt x="52" y="186"/>
                </a:cubicBezTo>
                <a:cubicBezTo>
                  <a:pt x="51" y="187"/>
                  <a:pt x="51" y="187"/>
                  <a:pt x="51" y="187"/>
                </a:cubicBezTo>
                <a:cubicBezTo>
                  <a:pt x="51" y="187"/>
                  <a:pt x="51" y="187"/>
                  <a:pt x="51" y="187"/>
                </a:cubicBezTo>
                <a:close/>
                <a:moveTo>
                  <a:pt x="49" y="188"/>
                </a:moveTo>
                <a:cubicBezTo>
                  <a:pt x="50" y="187"/>
                  <a:pt x="50" y="187"/>
                  <a:pt x="50" y="187"/>
                </a:cubicBezTo>
                <a:cubicBezTo>
                  <a:pt x="50" y="187"/>
                  <a:pt x="50" y="187"/>
                  <a:pt x="50" y="187"/>
                </a:cubicBezTo>
                <a:cubicBezTo>
                  <a:pt x="49" y="187"/>
                  <a:pt x="49" y="187"/>
                  <a:pt x="49" y="187"/>
                </a:cubicBezTo>
                <a:cubicBezTo>
                  <a:pt x="49" y="188"/>
                  <a:pt x="49" y="188"/>
                  <a:pt x="49" y="188"/>
                </a:cubicBezTo>
                <a:cubicBezTo>
                  <a:pt x="49" y="188"/>
                  <a:pt x="49" y="188"/>
                  <a:pt x="49" y="188"/>
                </a:cubicBezTo>
                <a:close/>
                <a:moveTo>
                  <a:pt x="47" y="192"/>
                </a:moveTo>
                <a:cubicBezTo>
                  <a:pt x="47" y="193"/>
                  <a:pt x="47" y="193"/>
                  <a:pt x="47" y="193"/>
                </a:cubicBezTo>
                <a:cubicBezTo>
                  <a:pt x="48" y="193"/>
                  <a:pt x="48" y="193"/>
                  <a:pt x="48" y="193"/>
                </a:cubicBezTo>
                <a:cubicBezTo>
                  <a:pt x="49" y="192"/>
                  <a:pt x="49" y="192"/>
                  <a:pt x="49" y="192"/>
                </a:cubicBezTo>
                <a:cubicBezTo>
                  <a:pt x="50" y="191"/>
                  <a:pt x="50" y="191"/>
                  <a:pt x="50" y="191"/>
                </a:cubicBezTo>
                <a:cubicBezTo>
                  <a:pt x="51" y="191"/>
                  <a:pt x="51" y="191"/>
                  <a:pt x="51" y="191"/>
                </a:cubicBezTo>
                <a:cubicBezTo>
                  <a:pt x="50" y="190"/>
                  <a:pt x="50" y="190"/>
                  <a:pt x="50" y="190"/>
                </a:cubicBezTo>
                <a:cubicBezTo>
                  <a:pt x="49" y="191"/>
                  <a:pt x="49" y="191"/>
                  <a:pt x="49" y="191"/>
                </a:cubicBezTo>
                <a:cubicBezTo>
                  <a:pt x="48" y="191"/>
                  <a:pt x="48" y="191"/>
                  <a:pt x="48" y="191"/>
                </a:cubicBezTo>
                <a:cubicBezTo>
                  <a:pt x="48" y="192"/>
                  <a:pt x="48" y="192"/>
                  <a:pt x="48" y="192"/>
                </a:cubicBezTo>
                <a:cubicBezTo>
                  <a:pt x="48" y="192"/>
                  <a:pt x="47" y="192"/>
                  <a:pt x="47" y="192"/>
                </a:cubicBezTo>
                <a:close/>
                <a:moveTo>
                  <a:pt x="46" y="196"/>
                </a:moveTo>
                <a:cubicBezTo>
                  <a:pt x="47" y="197"/>
                  <a:pt x="47" y="197"/>
                  <a:pt x="47" y="197"/>
                </a:cubicBezTo>
                <a:cubicBezTo>
                  <a:pt x="47" y="197"/>
                  <a:pt x="47" y="197"/>
                  <a:pt x="47" y="197"/>
                </a:cubicBezTo>
                <a:cubicBezTo>
                  <a:pt x="48" y="196"/>
                  <a:pt x="48" y="196"/>
                  <a:pt x="48" y="196"/>
                </a:cubicBezTo>
                <a:cubicBezTo>
                  <a:pt x="47" y="196"/>
                  <a:pt x="47" y="196"/>
                  <a:pt x="47" y="196"/>
                </a:cubicBezTo>
                <a:cubicBezTo>
                  <a:pt x="46" y="196"/>
                  <a:pt x="46" y="196"/>
                  <a:pt x="46" y="196"/>
                </a:cubicBezTo>
                <a:close/>
                <a:moveTo>
                  <a:pt x="74" y="341"/>
                </a:moveTo>
                <a:cubicBezTo>
                  <a:pt x="75" y="340"/>
                  <a:pt x="75" y="340"/>
                  <a:pt x="75" y="340"/>
                </a:cubicBezTo>
                <a:cubicBezTo>
                  <a:pt x="76" y="340"/>
                  <a:pt x="76" y="340"/>
                  <a:pt x="76" y="340"/>
                </a:cubicBezTo>
                <a:cubicBezTo>
                  <a:pt x="76" y="340"/>
                  <a:pt x="76" y="340"/>
                  <a:pt x="76" y="340"/>
                </a:cubicBezTo>
                <a:cubicBezTo>
                  <a:pt x="76" y="341"/>
                  <a:pt x="76" y="341"/>
                  <a:pt x="76" y="341"/>
                </a:cubicBezTo>
                <a:cubicBezTo>
                  <a:pt x="75" y="341"/>
                  <a:pt x="75" y="341"/>
                  <a:pt x="75" y="341"/>
                </a:cubicBezTo>
                <a:cubicBezTo>
                  <a:pt x="74" y="341"/>
                  <a:pt x="74" y="341"/>
                  <a:pt x="74" y="341"/>
                </a:cubicBezTo>
                <a:cubicBezTo>
                  <a:pt x="74" y="341"/>
                  <a:pt x="74" y="341"/>
                  <a:pt x="74" y="341"/>
                </a:cubicBezTo>
                <a:close/>
                <a:moveTo>
                  <a:pt x="67" y="337"/>
                </a:moveTo>
                <a:cubicBezTo>
                  <a:pt x="68" y="337"/>
                  <a:pt x="68" y="337"/>
                  <a:pt x="68" y="337"/>
                </a:cubicBezTo>
                <a:cubicBezTo>
                  <a:pt x="68" y="336"/>
                  <a:pt x="68" y="336"/>
                  <a:pt x="68" y="336"/>
                </a:cubicBezTo>
                <a:cubicBezTo>
                  <a:pt x="69" y="336"/>
                  <a:pt x="69" y="336"/>
                  <a:pt x="69" y="336"/>
                </a:cubicBezTo>
                <a:cubicBezTo>
                  <a:pt x="68" y="335"/>
                  <a:pt x="68" y="335"/>
                  <a:pt x="68" y="335"/>
                </a:cubicBezTo>
                <a:cubicBezTo>
                  <a:pt x="68" y="335"/>
                  <a:pt x="68" y="335"/>
                  <a:pt x="68" y="335"/>
                </a:cubicBezTo>
                <a:cubicBezTo>
                  <a:pt x="68" y="335"/>
                  <a:pt x="68" y="335"/>
                  <a:pt x="68" y="335"/>
                </a:cubicBezTo>
                <a:cubicBezTo>
                  <a:pt x="67" y="336"/>
                  <a:pt x="67" y="336"/>
                  <a:pt x="67" y="336"/>
                </a:cubicBezTo>
                <a:cubicBezTo>
                  <a:pt x="67" y="337"/>
                  <a:pt x="67" y="337"/>
                  <a:pt x="67" y="337"/>
                </a:cubicBezTo>
                <a:close/>
                <a:moveTo>
                  <a:pt x="63" y="329"/>
                </a:moveTo>
                <a:cubicBezTo>
                  <a:pt x="63" y="329"/>
                  <a:pt x="63" y="329"/>
                  <a:pt x="63" y="329"/>
                </a:cubicBezTo>
                <a:cubicBezTo>
                  <a:pt x="64" y="329"/>
                  <a:pt x="64" y="329"/>
                  <a:pt x="64" y="329"/>
                </a:cubicBezTo>
                <a:cubicBezTo>
                  <a:pt x="64" y="328"/>
                  <a:pt x="64" y="328"/>
                  <a:pt x="64" y="328"/>
                </a:cubicBezTo>
                <a:cubicBezTo>
                  <a:pt x="64" y="328"/>
                  <a:pt x="64" y="328"/>
                  <a:pt x="64" y="328"/>
                </a:cubicBezTo>
                <a:cubicBezTo>
                  <a:pt x="63" y="328"/>
                  <a:pt x="63" y="328"/>
                  <a:pt x="63" y="328"/>
                </a:cubicBezTo>
                <a:cubicBezTo>
                  <a:pt x="63" y="329"/>
                  <a:pt x="63" y="329"/>
                  <a:pt x="63" y="329"/>
                </a:cubicBezTo>
                <a:close/>
                <a:moveTo>
                  <a:pt x="60" y="328"/>
                </a:moveTo>
                <a:cubicBezTo>
                  <a:pt x="60" y="329"/>
                  <a:pt x="60" y="329"/>
                  <a:pt x="60" y="329"/>
                </a:cubicBezTo>
                <a:cubicBezTo>
                  <a:pt x="61" y="329"/>
                  <a:pt x="61" y="329"/>
                  <a:pt x="61" y="329"/>
                </a:cubicBezTo>
                <a:cubicBezTo>
                  <a:pt x="61" y="328"/>
                  <a:pt x="61" y="328"/>
                  <a:pt x="61" y="328"/>
                </a:cubicBezTo>
                <a:cubicBezTo>
                  <a:pt x="61" y="328"/>
                  <a:pt x="61" y="328"/>
                  <a:pt x="61" y="328"/>
                </a:cubicBezTo>
                <a:cubicBezTo>
                  <a:pt x="60" y="328"/>
                  <a:pt x="60" y="328"/>
                  <a:pt x="60" y="328"/>
                </a:cubicBezTo>
                <a:close/>
                <a:moveTo>
                  <a:pt x="54" y="329"/>
                </a:moveTo>
                <a:cubicBezTo>
                  <a:pt x="54" y="330"/>
                  <a:pt x="54" y="330"/>
                  <a:pt x="54" y="330"/>
                </a:cubicBezTo>
                <a:cubicBezTo>
                  <a:pt x="54" y="330"/>
                  <a:pt x="54" y="330"/>
                  <a:pt x="54" y="330"/>
                </a:cubicBezTo>
                <a:cubicBezTo>
                  <a:pt x="54" y="330"/>
                  <a:pt x="54" y="330"/>
                  <a:pt x="54" y="330"/>
                </a:cubicBezTo>
                <a:cubicBezTo>
                  <a:pt x="55" y="330"/>
                  <a:pt x="55" y="330"/>
                  <a:pt x="55" y="330"/>
                </a:cubicBezTo>
                <a:cubicBezTo>
                  <a:pt x="55" y="329"/>
                  <a:pt x="55" y="329"/>
                  <a:pt x="55" y="329"/>
                </a:cubicBezTo>
                <a:cubicBezTo>
                  <a:pt x="54" y="329"/>
                  <a:pt x="54" y="329"/>
                  <a:pt x="54" y="329"/>
                </a:cubicBezTo>
                <a:cubicBezTo>
                  <a:pt x="54" y="329"/>
                  <a:pt x="54" y="329"/>
                  <a:pt x="54" y="329"/>
                </a:cubicBezTo>
                <a:close/>
                <a:moveTo>
                  <a:pt x="45" y="291"/>
                </a:moveTo>
                <a:cubicBezTo>
                  <a:pt x="45" y="291"/>
                  <a:pt x="45" y="291"/>
                  <a:pt x="45" y="291"/>
                </a:cubicBezTo>
                <a:cubicBezTo>
                  <a:pt x="46" y="290"/>
                  <a:pt x="46" y="290"/>
                  <a:pt x="46" y="290"/>
                </a:cubicBezTo>
                <a:cubicBezTo>
                  <a:pt x="47" y="289"/>
                  <a:pt x="47" y="289"/>
                  <a:pt x="47" y="289"/>
                </a:cubicBezTo>
                <a:cubicBezTo>
                  <a:pt x="47" y="289"/>
                  <a:pt x="47" y="289"/>
                  <a:pt x="47" y="289"/>
                </a:cubicBezTo>
                <a:cubicBezTo>
                  <a:pt x="46" y="289"/>
                  <a:pt x="46" y="289"/>
                  <a:pt x="46" y="289"/>
                </a:cubicBezTo>
                <a:cubicBezTo>
                  <a:pt x="45" y="291"/>
                  <a:pt x="45" y="291"/>
                  <a:pt x="45" y="291"/>
                </a:cubicBezTo>
                <a:close/>
                <a:moveTo>
                  <a:pt x="45" y="289"/>
                </a:moveTo>
                <a:cubicBezTo>
                  <a:pt x="45" y="289"/>
                  <a:pt x="45" y="290"/>
                  <a:pt x="45" y="290"/>
                </a:cubicBezTo>
                <a:cubicBezTo>
                  <a:pt x="45" y="290"/>
                  <a:pt x="45" y="290"/>
                  <a:pt x="45" y="290"/>
                </a:cubicBezTo>
                <a:cubicBezTo>
                  <a:pt x="46" y="289"/>
                  <a:pt x="46" y="289"/>
                  <a:pt x="46" y="289"/>
                </a:cubicBezTo>
                <a:cubicBezTo>
                  <a:pt x="46" y="288"/>
                  <a:pt x="46" y="288"/>
                  <a:pt x="46" y="288"/>
                </a:cubicBezTo>
                <a:cubicBezTo>
                  <a:pt x="46" y="288"/>
                  <a:pt x="46" y="288"/>
                  <a:pt x="46" y="288"/>
                </a:cubicBezTo>
                <a:cubicBezTo>
                  <a:pt x="45" y="289"/>
                  <a:pt x="45" y="289"/>
                  <a:pt x="45" y="289"/>
                </a:cubicBezTo>
                <a:close/>
                <a:moveTo>
                  <a:pt x="40" y="276"/>
                </a:moveTo>
                <a:cubicBezTo>
                  <a:pt x="39" y="277"/>
                  <a:pt x="39" y="277"/>
                  <a:pt x="39" y="277"/>
                </a:cubicBezTo>
                <a:cubicBezTo>
                  <a:pt x="39" y="277"/>
                  <a:pt x="39" y="277"/>
                  <a:pt x="39" y="277"/>
                </a:cubicBezTo>
                <a:cubicBezTo>
                  <a:pt x="40" y="277"/>
                  <a:pt x="40" y="277"/>
                  <a:pt x="40" y="277"/>
                </a:cubicBezTo>
                <a:cubicBezTo>
                  <a:pt x="40" y="276"/>
                  <a:pt x="40" y="276"/>
                  <a:pt x="40" y="276"/>
                </a:cubicBezTo>
                <a:cubicBezTo>
                  <a:pt x="40" y="276"/>
                  <a:pt x="40" y="276"/>
                  <a:pt x="40" y="276"/>
                </a:cubicBezTo>
                <a:cubicBezTo>
                  <a:pt x="40" y="276"/>
                  <a:pt x="40" y="276"/>
                  <a:pt x="40" y="276"/>
                </a:cubicBezTo>
                <a:close/>
                <a:moveTo>
                  <a:pt x="39" y="275"/>
                </a:moveTo>
                <a:cubicBezTo>
                  <a:pt x="39" y="276"/>
                  <a:pt x="39" y="276"/>
                  <a:pt x="39" y="276"/>
                </a:cubicBezTo>
                <a:cubicBezTo>
                  <a:pt x="40" y="276"/>
                  <a:pt x="40" y="276"/>
                  <a:pt x="40" y="276"/>
                </a:cubicBezTo>
                <a:cubicBezTo>
                  <a:pt x="40" y="275"/>
                  <a:pt x="40" y="275"/>
                  <a:pt x="40" y="275"/>
                </a:cubicBezTo>
                <a:cubicBezTo>
                  <a:pt x="40" y="275"/>
                  <a:pt x="40" y="275"/>
                  <a:pt x="40" y="275"/>
                </a:cubicBezTo>
                <a:cubicBezTo>
                  <a:pt x="39" y="275"/>
                  <a:pt x="39" y="275"/>
                  <a:pt x="39" y="275"/>
                </a:cubicBezTo>
                <a:close/>
                <a:moveTo>
                  <a:pt x="40" y="263"/>
                </a:moveTo>
                <a:cubicBezTo>
                  <a:pt x="41" y="263"/>
                  <a:pt x="41" y="263"/>
                  <a:pt x="41" y="263"/>
                </a:cubicBezTo>
                <a:cubicBezTo>
                  <a:pt x="41" y="262"/>
                  <a:pt x="41" y="262"/>
                  <a:pt x="41" y="262"/>
                </a:cubicBezTo>
                <a:cubicBezTo>
                  <a:pt x="41" y="262"/>
                  <a:pt x="41" y="262"/>
                  <a:pt x="41" y="262"/>
                </a:cubicBezTo>
                <a:cubicBezTo>
                  <a:pt x="40" y="263"/>
                  <a:pt x="40" y="263"/>
                  <a:pt x="40" y="263"/>
                </a:cubicBezTo>
                <a:close/>
                <a:moveTo>
                  <a:pt x="40" y="261"/>
                </a:moveTo>
                <a:cubicBezTo>
                  <a:pt x="41" y="262"/>
                  <a:pt x="41" y="262"/>
                  <a:pt x="41" y="262"/>
                </a:cubicBezTo>
                <a:cubicBezTo>
                  <a:pt x="42" y="262"/>
                  <a:pt x="42" y="262"/>
                  <a:pt x="42" y="262"/>
                </a:cubicBezTo>
                <a:cubicBezTo>
                  <a:pt x="42" y="261"/>
                  <a:pt x="42" y="261"/>
                  <a:pt x="42" y="261"/>
                </a:cubicBezTo>
                <a:cubicBezTo>
                  <a:pt x="41" y="261"/>
                  <a:pt x="41" y="261"/>
                  <a:pt x="41" y="261"/>
                </a:cubicBezTo>
                <a:cubicBezTo>
                  <a:pt x="40" y="261"/>
                  <a:pt x="40" y="261"/>
                  <a:pt x="40" y="261"/>
                </a:cubicBezTo>
                <a:cubicBezTo>
                  <a:pt x="40" y="261"/>
                  <a:pt x="40" y="261"/>
                  <a:pt x="40" y="261"/>
                </a:cubicBezTo>
                <a:close/>
                <a:moveTo>
                  <a:pt x="38" y="261"/>
                </a:moveTo>
                <a:cubicBezTo>
                  <a:pt x="38" y="262"/>
                  <a:pt x="38" y="262"/>
                  <a:pt x="38" y="262"/>
                </a:cubicBezTo>
                <a:cubicBezTo>
                  <a:pt x="39" y="261"/>
                  <a:pt x="39" y="261"/>
                  <a:pt x="39" y="261"/>
                </a:cubicBezTo>
                <a:cubicBezTo>
                  <a:pt x="39" y="261"/>
                  <a:pt x="39" y="261"/>
                  <a:pt x="39" y="261"/>
                </a:cubicBezTo>
                <a:cubicBezTo>
                  <a:pt x="38" y="261"/>
                  <a:pt x="38" y="261"/>
                  <a:pt x="38" y="261"/>
                </a:cubicBezTo>
                <a:cubicBezTo>
                  <a:pt x="38" y="261"/>
                  <a:pt x="38" y="261"/>
                  <a:pt x="38" y="261"/>
                </a:cubicBezTo>
                <a:close/>
                <a:moveTo>
                  <a:pt x="41" y="250"/>
                </a:moveTo>
                <a:cubicBezTo>
                  <a:pt x="41" y="251"/>
                  <a:pt x="41" y="251"/>
                  <a:pt x="41" y="251"/>
                </a:cubicBezTo>
                <a:cubicBezTo>
                  <a:pt x="41" y="251"/>
                  <a:pt x="41" y="251"/>
                  <a:pt x="41" y="251"/>
                </a:cubicBezTo>
                <a:cubicBezTo>
                  <a:pt x="42" y="251"/>
                  <a:pt x="42" y="251"/>
                  <a:pt x="42" y="251"/>
                </a:cubicBezTo>
                <a:cubicBezTo>
                  <a:pt x="43" y="250"/>
                  <a:pt x="43" y="250"/>
                  <a:pt x="43" y="250"/>
                </a:cubicBezTo>
                <a:cubicBezTo>
                  <a:pt x="43" y="249"/>
                  <a:pt x="43" y="249"/>
                  <a:pt x="43" y="249"/>
                </a:cubicBezTo>
                <a:cubicBezTo>
                  <a:pt x="42" y="249"/>
                  <a:pt x="42" y="249"/>
                  <a:pt x="42" y="249"/>
                </a:cubicBezTo>
                <a:cubicBezTo>
                  <a:pt x="41" y="250"/>
                  <a:pt x="41" y="250"/>
                  <a:pt x="41" y="250"/>
                </a:cubicBezTo>
                <a:close/>
                <a:moveTo>
                  <a:pt x="51" y="246"/>
                </a:moveTo>
                <a:cubicBezTo>
                  <a:pt x="52" y="246"/>
                  <a:pt x="52" y="246"/>
                  <a:pt x="52" y="246"/>
                </a:cubicBezTo>
                <a:cubicBezTo>
                  <a:pt x="54" y="246"/>
                  <a:pt x="54" y="246"/>
                  <a:pt x="54" y="246"/>
                </a:cubicBezTo>
                <a:cubicBezTo>
                  <a:pt x="54" y="245"/>
                  <a:pt x="54" y="245"/>
                  <a:pt x="54" y="245"/>
                </a:cubicBezTo>
                <a:cubicBezTo>
                  <a:pt x="52" y="245"/>
                  <a:pt x="52" y="245"/>
                  <a:pt x="52" y="245"/>
                </a:cubicBezTo>
                <a:cubicBezTo>
                  <a:pt x="51" y="245"/>
                  <a:pt x="51" y="245"/>
                  <a:pt x="51" y="245"/>
                </a:cubicBezTo>
                <a:cubicBezTo>
                  <a:pt x="51" y="246"/>
                  <a:pt x="51" y="246"/>
                  <a:pt x="51" y="246"/>
                </a:cubicBezTo>
                <a:close/>
                <a:moveTo>
                  <a:pt x="47" y="240"/>
                </a:moveTo>
                <a:cubicBezTo>
                  <a:pt x="47" y="241"/>
                  <a:pt x="47" y="241"/>
                  <a:pt x="47" y="241"/>
                </a:cubicBezTo>
                <a:cubicBezTo>
                  <a:pt x="48" y="241"/>
                  <a:pt x="48" y="241"/>
                  <a:pt x="48" y="241"/>
                </a:cubicBezTo>
                <a:cubicBezTo>
                  <a:pt x="49" y="241"/>
                  <a:pt x="49" y="241"/>
                  <a:pt x="49" y="241"/>
                </a:cubicBezTo>
                <a:cubicBezTo>
                  <a:pt x="49" y="240"/>
                  <a:pt x="49" y="240"/>
                  <a:pt x="49" y="240"/>
                </a:cubicBezTo>
                <a:cubicBezTo>
                  <a:pt x="48" y="240"/>
                  <a:pt x="48" y="240"/>
                  <a:pt x="48" y="240"/>
                </a:cubicBezTo>
                <a:cubicBezTo>
                  <a:pt x="47" y="240"/>
                  <a:pt x="47" y="240"/>
                  <a:pt x="47" y="240"/>
                </a:cubicBezTo>
                <a:close/>
                <a:moveTo>
                  <a:pt x="52" y="240"/>
                </a:moveTo>
                <a:cubicBezTo>
                  <a:pt x="53" y="240"/>
                  <a:pt x="53" y="240"/>
                  <a:pt x="53" y="240"/>
                </a:cubicBezTo>
                <a:cubicBezTo>
                  <a:pt x="54" y="240"/>
                  <a:pt x="54" y="240"/>
                  <a:pt x="54" y="240"/>
                </a:cubicBezTo>
                <a:cubicBezTo>
                  <a:pt x="54" y="240"/>
                  <a:pt x="54" y="240"/>
                  <a:pt x="54" y="240"/>
                </a:cubicBezTo>
                <a:cubicBezTo>
                  <a:pt x="53" y="239"/>
                  <a:pt x="53" y="239"/>
                  <a:pt x="53" y="239"/>
                </a:cubicBezTo>
                <a:cubicBezTo>
                  <a:pt x="52" y="240"/>
                  <a:pt x="52" y="240"/>
                  <a:pt x="52" y="240"/>
                </a:cubicBezTo>
                <a:close/>
                <a:moveTo>
                  <a:pt x="49" y="239"/>
                </a:moveTo>
                <a:cubicBezTo>
                  <a:pt x="51" y="240"/>
                  <a:pt x="51" y="240"/>
                  <a:pt x="51" y="240"/>
                </a:cubicBezTo>
                <a:cubicBezTo>
                  <a:pt x="52" y="239"/>
                  <a:pt x="52" y="239"/>
                  <a:pt x="52" y="239"/>
                </a:cubicBezTo>
                <a:cubicBezTo>
                  <a:pt x="53" y="239"/>
                  <a:pt x="53" y="239"/>
                  <a:pt x="53" y="239"/>
                </a:cubicBezTo>
                <a:cubicBezTo>
                  <a:pt x="52" y="238"/>
                  <a:pt x="52" y="238"/>
                  <a:pt x="52" y="238"/>
                </a:cubicBezTo>
                <a:cubicBezTo>
                  <a:pt x="51" y="238"/>
                  <a:pt x="51" y="238"/>
                  <a:pt x="51" y="238"/>
                </a:cubicBezTo>
                <a:cubicBezTo>
                  <a:pt x="50" y="238"/>
                  <a:pt x="50" y="238"/>
                  <a:pt x="50" y="238"/>
                </a:cubicBezTo>
                <a:cubicBezTo>
                  <a:pt x="49" y="239"/>
                  <a:pt x="49" y="239"/>
                  <a:pt x="49" y="239"/>
                </a:cubicBezTo>
                <a:close/>
                <a:moveTo>
                  <a:pt x="60" y="214"/>
                </a:moveTo>
                <a:cubicBezTo>
                  <a:pt x="61" y="215"/>
                  <a:pt x="61" y="215"/>
                  <a:pt x="61" y="215"/>
                </a:cubicBezTo>
                <a:cubicBezTo>
                  <a:pt x="61" y="216"/>
                  <a:pt x="61" y="216"/>
                  <a:pt x="61" y="216"/>
                </a:cubicBezTo>
                <a:cubicBezTo>
                  <a:pt x="62" y="215"/>
                  <a:pt x="62" y="215"/>
                  <a:pt x="62" y="215"/>
                </a:cubicBezTo>
                <a:cubicBezTo>
                  <a:pt x="61" y="215"/>
                  <a:pt x="61" y="215"/>
                  <a:pt x="61" y="215"/>
                </a:cubicBezTo>
                <a:cubicBezTo>
                  <a:pt x="60" y="214"/>
                  <a:pt x="60" y="214"/>
                  <a:pt x="60" y="214"/>
                </a:cubicBezTo>
                <a:close/>
                <a:moveTo>
                  <a:pt x="60" y="211"/>
                </a:moveTo>
                <a:cubicBezTo>
                  <a:pt x="59" y="212"/>
                  <a:pt x="59" y="212"/>
                  <a:pt x="59" y="212"/>
                </a:cubicBezTo>
                <a:cubicBezTo>
                  <a:pt x="61" y="213"/>
                  <a:pt x="61" y="213"/>
                  <a:pt x="61" y="213"/>
                </a:cubicBezTo>
                <a:cubicBezTo>
                  <a:pt x="61" y="213"/>
                  <a:pt x="61" y="213"/>
                  <a:pt x="61" y="213"/>
                </a:cubicBezTo>
                <a:cubicBezTo>
                  <a:pt x="61" y="212"/>
                  <a:pt x="61" y="212"/>
                  <a:pt x="61" y="212"/>
                </a:cubicBezTo>
                <a:cubicBezTo>
                  <a:pt x="61" y="212"/>
                  <a:pt x="60" y="211"/>
                  <a:pt x="60" y="211"/>
                </a:cubicBezTo>
                <a:close/>
                <a:moveTo>
                  <a:pt x="56" y="203"/>
                </a:moveTo>
                <a:cubicBezTo>
                  <a:pt x="57" y="203"/>
                  <a:pt x="57" y="203"/>
                  <a:pt x="57" y="203"/>
                </a:cubicBezTo>
                <a:cubicBezTo>
                  <a:pt x="58" y="202"/>
                  <a:pt x="58" y="202"/>
                  <a:pt x="58" y="202"/>
                </a:cubicBezTo>
                <a:cubicBezTo>
                  <a:pt x="59" y="202"/>
                  <a:pt x="59" y="202"/>
                  <a:pt x="59" y="202"/>
                </a:cubicBezTo>
                <a:cubicBezTo>
                  <a:pt x="59" y="201"/>
                  <a:pt x="59" y="201"/>
                  <a:pt x="59" y="201"/>
                </a:cubicBezTo>
                <a:cubicBezTo>
                  <a:pt x="58" y="201"/>
                  <a:pt x="58" y="201"/>
                  <a:pt x="58" y="201"/>
                </a:cubicBezTo>
                <a:cubicBezTo>
                  <a:pt x="57" y="201"/>
                  <a:pt x="57" y="201"/>
                  <a:pt x="57" y="201"/>
                </a:cubicBezTo>
                <a:cubicBezTo>
                  <a:pt x="56" y="201"/>
                  <a:pt x="56" y="201"/>
                  <a:pt x="56" y="201"/>
                </a:cubicBezTo>
                <a:cubicBezTo>
                  <a:pt x="56" y="202"/>
                  <a:pt x="56" y="202"/>
                  <a:pt x="56" y="202"/>
                </a:cubicBezTo>
                <a:cubicBezTo>
                  <a:pt x="56" y="203"/>
                  <a:pt x="56" y="203"/>
                  <a:pt x="56" y="203"/>
                </a:cubicBezTo>
                <a:close/>
                <a:moveTo>
                  <a:pt x="56" y="208"/>
                </a:moveTo>
                <a:cubicBezTo>
                  <a:pt x="57" y="208"/>
                  <a:pt x="57" y="208"/>
                  <a:pt x="57" y="208"/>
                </a:cubicBezTo>
                <a:cubicBezTo>
                  <a:pt x="58" y="208"/>
                  <a:pt x="58" y="208"/>
                  <a:pt x="58" y="208"/>
                </a:cubicBezTo>
                <a:cubicBezTo>
                  <a:pt x="59" y="207"/>
                  <a:pt x="59" y="207"/>
                  <a:pt x="59" y="207"/>
                </a:cubicBezTo>
                <a:cubicBezTo>
                  <a:pt x="59" y="206"/>
                  <a:pt x="59" y="206"/>
                  <a:pt x="59" y="206"/>
                </a:cubicBezTo>
                <a:cubicBezTo>
                  <a:pt x="58" y="205"/>
                  <a:pt x="58" y="205"/>
                  <a:pt x="58" y="205"/>
                </a:cubicBezTo>
                <a:cubicBezTo>
                  <a:pt x="57" y="206"/>
                  <a:pt x="57" y="206"/>
                  <a:pt x="57" y="206"/>
                </a:cubicBezTo>
                <a:cubicBezTo>
                  <a:pt x="56" y="208"/>
                  <a:pt x="56" y="208"/>
                  <a:pt x="56" y="208"/>
                </a:cubicBezTo>
                <a:close/>
                <a:moveTo>
                  <a:pt x="52" y="208"/>
                </a:moveTo>
                <a:cubicBezTo>
                  <a:pt x="53" y="209"/>
                  <a:pt x="53" y="209"/>
                  <a:pt x="53" y="209"/>
                </a:cubicBezTo>
                <a:cubicBezTo>
                  <a:pt x="54" y="208"/>
                  <a:pt x="54" y="208"/>
                  <a:pt x="54" y="208"/>
                </a:cubicBezTo>
                <a:cubicBezTo>
                  <a:pt x="54" y="207"/>
                  <a:pt x="54" y="207"/>
                  <a:pt x="54" y="207"/>
                </a:cubicBezTo>
                <a:cubicBezTo>
                  <a:pt x="54" y="205"/>
                  <a:pt x="54" y="205"/>
                  <a:pt x="54" y="205"/>
                </a:cubicBezTo>
                <a:cubicBezTo>
                  <a:pt x="53" y="206"/>
                  <a:pt x="53" y="206"/>
                  <a:pt x="53" y="206"/>
                </a:cubicBezTo>
                <a:cubicBezTo>
                  <a:pt x="52" y="207"/>
                  <a:pt x="52" y="207"/>
                  <a:pt x="52" y="207"/>
                </a:cubicBezTo>
                <a:cubicBezTo>
                  <a:pt x="52" y="208"/>
                  <a:pt x="52" y="208"/>
                  <a:pt x="52" y="208"/>
                </a:cubicBezTo>
                <a:close/>
                <a:moveTo>
                  <a:pt x="45" y="214"/>
                </a:moveTo>
                <a:cubicBezTo>
                  <a:pt x="44" y="215"/>
                  <a:pt x="44" y="215"/>
                  <a:pt x="44" y="215"/>
                </a:cubicBezTo>
                <a:cubicBezTo>
                  <a:pt x="45" y="216"/>
                  <a:pt x="45" y="216"/>
                  <a:pt x="45" y="216"/>
                </a:cubicBezTo>
                <a:cubicBezTo>
                  <a:pt x="46" y="216"/>
                  <a:pt x="46" y="216"/>
                  <a:pt x="46" y="216"/>
                </a:cubicBezTo>
                <a:cubicBezTo>
                  <a:pt x="46" y="215"/>
                  <a:pt x="46" y="215"/>
                  <a:pt x="46" y="215"/>
                </a:cubicBezTo>
                <a:cubicBezTo>
                  <a:pt x="45" y="214"/>
                  <a:pt x="45" y="214"/>
                  <a:pt x="45" y="214"/>
                </a:cubicBezTo>
                <a:cubicBezTo>
                  <a:pt x="45" y="214"/>
                  <a:pt x="45" y="214"/>
                  <a:pt x="45" y="214"/>
                </a:cubicBezTo>
                <a:close/>
                <a:moveTo>
                  <a:pt x="60" y="226"/>
                </a:moveTo>
                <a:cubicBezTo>
                  <a:pt x="60" y="226"/>
                  <a:pt x="60" y="226"/>
                  <a:pt x="60" y="226"/>
                </a:cubicBezTo>
                <a:cubicBezTo>
                  <a:pt x="60" y="226"/>
                  <a:pt x="60" y="226"/>
                  <a:pt x="60" y="226"/>
                </a:cubicBezTo>
                <a:cubicBezTo>
                  <a:pt x="60" y="227"/>
                  <a:pt x="60" y="227"/>
                  <a:pt x="60" y="227"/>
                </a:cubicBezTo>
                <a:cubicBezTo>
                  <a:pt x="60" y="228"/>
                  <a:pt x="60" y="228"/>
                  <a:pt x="60" y="228"/>
                </a:cubicBezTo>
                <a:cubicBezTo>
                  <a:pt x="60" y="229"/>
                  <a:pt x="60" y="229"/>
                  <a:pt x="60" y="229"/>
                </a:cubicBezTo>
                <a:cubicBezTo>
                  <a:pt x="61" y="228"/>
                  <a:pt x="61" y="228"/>
                  <a:pt x="61" y="228"/>
                </a:cubicBezTo>
                <a:cubicBezTo>
                  <a:pt x="62" y="226"/>
                  <a:pt x="62" y="226"/>
                  <a:pt x="62" y="226"/>
                </a:cubicBezTo>
                <a:cubicBezTo>
                  <a:pt x="63" y="226"/>
                  <a:pt x="63" y="226"/>
                  <a:pt x="63" y="226"/>
                </a:cubicBezTo>
                <a:cubicBezTo>
                  <a:pt x="62" y="225"/>
                  <a:pt x="62" y="225"/>
                  <a:pt x="62" y="225"/>
                </a:cubicBezTo>
                <a:cubicBezTo>
                  <a:pt x="62" y="225"/>
                  <a:pt x="62" y="225"/>
                  <a:pt x="62" y="225"/>
                </a:cubicBezTo>
                <a:cubicBezTo>
                  <a:pt x="60" y="225"/>
                  <a:pt x="60" y="225"/>
                  <a:pt x="60" y="225"/>
                </a:cubicBezTo>
                <a:cubicBezTo>
                  <a:pt x="60" y="226"/>
                  <a:pt x="60" y="226"/>
                  <a:pt x="60" y="226"/>
                </a:cubicBezTo>
                <a:close/>
                <a:moveTo>
                  <a:pt x="45" y="230"/>
                </a:moveTo>
                <a:cubicBezTo>
                  <a:pt x="45" y="231"/>
                  <a:pt x="45" y="231"/>
                  <a:pt x="45" y="231"/>
                </a:cubicBezTo>
                <a:cubicBezTo>
                  <a:pt x="47" y="231"/>
                  <a:pt x="47" y="231"/>
                  <a:pt x="47" y="231"/>
                </a:cubicBezTo>
                <a:cubicBezTo>
                  <a:pt x="48" y="232"/>
                  <a:pt x="48" y="232"/>
                  <a:pt x="48" y="232"/>
                </a:cubicBezTo>
                <a:cubicBezTo>
                  <a:pt x="49" y="232"/>
                  <a:pt x="49" y="232"/>
                  <a:pt x="49" y="232"/>
                </a:cubicBezTo>
                <a:cubicBezTo>
                  <a:pt x="49" y="231"/>
                  <a:pt x="49" y="231"/>
                  <a:pt x="49" y="231"/>
                </a:cubicBezTo>
                <a:cubicBezTo>
                  <a:pt x="53" y="231"/>
                  <a:pt x="53" y="231"/>
                  <a:pt x="53" y="231"/>
                </a:cubicBezTo>
                <a:cubicBezTo>
                  <a:pt x="55" y="231"/>
                  <a:pt x="55" y="231"/>
                  <a:pt x="55" y="231"/>
                </a:cubicBezTo>
                <a:cubicBezTo>
                  <a:pt x="57" y="229"/>
                  <a:pt x="57" y="229"/>
                  <a:pt x="57" y="229"/>
                </a:cubicBezTo>
                <a:cubicBezTo>
                  <a:pt x="56" y="227"/>
                  <a:pt x="56" y="227"/>
                  <a:pt x="56" y="227"/>
                </a:cubicBezTo>
                <a:cubicBezTo>
                  <a:pt x="56" y="225"/>
                  <a:pt x="56" y="225"/>
                  <a:pt x="56" y="225"/>
                </a:cubicBezTo>
                <a:cubicBezTo>
                  <a:pt x="55" y="225"/>
                  <a:pt x="55" y="225"/>
                  <a:pt x="55" y="225"/>
                </a:cubicBezTo>
                <a:cubicBezTo>
                  <a:pt x="53" y="225"/>
                  <a:pt x="53" y="225"/>
                  <a:pt x="53" y="225"/>
                </a:cubicBezTo>
                <a:cubicBezTo>
                  <a:pt x="53" y="222"/>
                  <a:pt x="53" y="222"/>
                  <a:pt x="53" y="222"/>
                </a:cubicBezTo>
                <a:cubicBezTo>
                  <a:pt x="51" y="220"/>
                  <a:pt x="51" y="220"/>
                  <a:pt x="51" y="220"/>
                </a:cubicBezTo>
                <a:cubicBezTo>
                  <a:pt x="49" y="219"/>
                  <a:pt x="49" y="219"/>
                  <a:pt x="49" y="219"/>
                </a:cubicBezTo>
                <a:cubicBezTo>
                  <a:pt x="48" y="218"/>
                  <a:pt x="48" y="218"/>
                  <a:pt x="48" y="218"/>
                </a:cubicBezTo>
                <a:cubicBezTo>
                  <a:pt x="46" y="218"/>
                  <a:pt x="46" y="218"/>
                  <a:pt x="46" y="218"/>
                </a:cubicBezTo>
                <a:cubicBezTo>
                  <a:pt x="45" y="217"/>
                  <a:pt x="45" y="217"/>
                  <a:pt x="45" y="217"/>
                </a:cubicBezTo>
                <a:cubicBezTo>
                  <a:pt x="45" y="218"/>
                  <a:pt x="45" y="218"/>
                  <a:pt x="45" y="218"/>
                </a:cubicBezTo>
                <a:cubicBezTo>
                  <a:pt x="44" y="219"/>
                  <a:pt x="44" y="219"/>
                  <a:pt x="44" y="219"/>
                </a:cubicBezTo>
                <a:cubicBezTo>
                  <a:pt x="44" y="221"/>
                  <a:pt x="44" y="221"/>
                  <a:pt x="44" y="221"/>
                </a:cubicBezTo>
                <a:cubicBezTo>
                  <a:pt x="45" y="222"/>
                  <a:pt x="45" y="222"/>
                  <a:pt x="45" y="222"/>
                </a:cubicBezTo>
                <a:cubicBezTo>
                  <a:pt x="45" y="223"/>
                  <a:pt x="45" y="223"/>
                  <a:pt x="45" y="223"/>
                </a:cubicBezTo>
                <a:cubicBezTo>
                  <a:pt x="44" y="222"/>
                  <a:pt x="44" y="222"/>
                  <a:pt x="44" y="222"/>
                </a:cubicBezTo>
                <a:cubicBezTo>
                  <a:pt x="43" y="223"/>
                  <a:pt x="43" y="223"/>
                  <a:pt x="43" y="223"/>
                </a:cubicBezTo>
                <a:cubicBezTo>
                  <a:pt x="43" y="224"/>
                  <a:pt x="43" y="224"/>
                  <a:pt x="43" y="224"/>
                </a:cubicBezTo>
                <a:cubicBezTo>
                  <a:pt x="43" y="225"/>
                  <a:pt x="43" y="225"/>
                  <a:pt x="43" y="225"/>
                </a:cubicBezTo>
                <a:cubicBezTo>
                  <a:pt x="44" y="225"/>
                  <a:pt x="44" y="225"/>
                  <a:pt x="44" y="225"/>
                </a:cubicBezTo>
                <a:cubicBezTo>
                  <a:pt x="43" y="226"/>
                  <a:pt x="43" y="226"/>
                  <a:pt x="43" y="226"/>
                </a:cubicBezTo>
                <a:cubicBezTo>
                  <a:pt x="43" y="226"/>
                  <a:pt x="43" y="226"/>
                  <a:pt x="43" y="226"/>
                </a:cubicBezTo>
                <a:cubicBezTo>
                  <a:pt x="44" y="227"/>
                  <a:pt x="44" y="227"/>
                  <a:pt x="44" y="227"/>
                </a:cubicBezTo>
                <a:cubicBezTo>
                  <a:pt x="46" y="228"/>
                  <a:pt x="46" y="228"/>
                  <a:pt x="46" y="228"/>
                </a:cubicBezTo>
                <a:cubicBezTo>
                  <a:pt x="47" y="229"/>
                  <a:pt x="47" y="229"/>
                  <a:pt x="47" y="229"/>
                </a:cubicBezTo>
                <a:cubicBezTo>
                  <a:pt x="48" y="229"/>
                  <a:pt x="48" y="229"/>
                  <a:pt x="48" y="229"/>
                </a:cubicBezTo>
                <a:cubicBezTo>
                  <a:pt x="50" y="228"/>
                  <a:pt x="50" y="228"/>
                  <a:pt x="50" y="228"/>
                </a:cubicBezTo>
                <a:cubicBezTo>
                  <a:pt x="48" y="229"/>
                  <a:pt x="48" y="229"/>
                  <a:pt x="48" y="229"/>
                </a:cubicBezTo>
                <a:cubicBezTo>
                  <a:pt x="47" y="229"/>
                  <a:pt x="47" y="229"/>
                  <a:pt x="47" y="229"/>
                </a:cubicBezTo>
                <a:cubicBezTo>
                  <a:pt x="46" y="229"/>
                  <a:pt x="46" y="229"/>
                  <a:pt x="46" y="229"/>
                </a:cubicBezTo>
                <a:cubicBezTo>
                  <a:pt x="45" y="229"/>
                  <a:pt x="45" y="229"/>
                  <a:pt x="45" y="229"/>
                </a:cubicBezTo>
                <a:lnTo>
                  <a:pt x="45" y="23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1" name="Freeform 169">
            <a:extLst>
              <a:ext uri="{FF2B5EF4-FFF2-40B4-BE49-F238E27FC236}">
                <a16:creationId xmlns:a16="http://schemas.microsoft.com/office/drawing/2014/main" id="{C9243F8C-5BE6-D476-5C7C-74E2FBD47DAD}"/>
              </a:ext>
            </a:extLst>
          </p:cNvPr>
          <p:cNvSpPr>
            <a:spLocks noEditPoints="1"/>
          </p:cNvSpPr>
          <p:nvPr userDrawn="1"/>
        </p:nvSpPr>
        <p:spPr bwMode="auto">
          <a:xfrm>
            <a:off x="5527317" y="1440733"/>
            <a:ext cx="5419373" cy="5026026"/>
          </a:xfrm>
          <a:custGeom>
            <a:avLst/>
            <a:gdLst>
              <a:gd name="T0" fmla="*/ 399 w 546"/>
              <a:gd name="T1" fmla="*/ 36 h 506"/>
              <a:gd name="T2" fmla="*/ 400 w 546"/>
              <a:gd name="T3" fmla="*/ 86 h 506"/>
              <a:gd name="T4" fmla="*/ 399 w 546"/>
              <a:gd name="T5" fmla="*/ 95 h 506"/>
              <a:gd name="T6" fmla="*/ 426 w 546"/>
              <a:gd name="T7" fmla="*/ 59 h 506"/>
              <a:gd name="T8" fmla="*/ 427 w 546"/>
              <a:gd name="T9" fmla="*/ 34 h 506"/>
              <a:gd name="T10" fmla="*/ 461 w 546"/>
              <a:gd name="T11" fmla="*/ 15 h 506"/>
              <a:gd name="T12" fmla="*/ 537 w 546"/>
              <a:gd name="T13" fmla="*/ 20 h 506"/>
              <a:gd name="T14" fmla="*/ 468 w 546"/>
              <a:gd name="T15" fmla="*/ 73 h 506"/>
              <a:gd name="T16" fmla="*/ 420 w 546"/>
              <a:gd name="T17" fmla="*/ 106 h 506"/>
              <a:gd name="T18" fmla="*/ 436 w 546"/>
              <a:gd name="T19" fmla="*/ 236 h 506"/>
              <a:gd name="T20" fmla="*/ 382 w 546"/>
              <a:gd name="T21" fmla="*/ 98 h 506"/>
              <a:gd name="T22" fmla="*/ 341 w 546"/>
              <a:gd name="T23" fmla="*/ 68 h 506"/>
              <a:gd name="T24" fmla="*/ 285 w 546"/>
              <a:gd name="T25" fmla="*/ 62 h 506"/>
              <a:gd name="T26" fmla="*/ 372 w 546"/>
              <a:gd name="T27" fmla="*/ 112 h 506"/>
              <a:gd name="T28" fmla="*/ 387 w 546"/>
              <a:gd name="T29" fmla="*/ 154 h 506"/>
              <a:gd name="T30" fmla="*/ 235 w 546"/>
              <a:gd name="T31" fmla="*/ 82 h 506"/>
              <a:gd name="T32" fmla="*/ 339 w 546"/>
              <a:gd name="T33" fmla="*/ 127 h 506"/>
              <a:gd name="T34" fmla="*/ 315 w 546"/>
              <a:gd name="T35" fmla="*/ 112 h 506"/>
              <a:gd name="T36" fmla="*/ 303 w 546"/>
              <a:gd name="T37" fmla="*/ 116 h 506"/>
              <a:gd name="T38" fmla="*/ 285 w 546"/>
              <a:gd name="T39" fmla="*/ 99 h 506"/>
              <a:gd name="T40" fmla="*/ 206 w 546"/>
              <a:gd name="T41" fmla="*/ 110 h 506"/>
              <a:gd name="T42" fmla="*/ 293 w 546"/>
              <a:gd name="T43" fmla="*/ 158 h 506"/>
              <a:gd name="T44" fmla="*/ 314 w 546"/>
              <a:gd name="T45" fmla="*/ 166 h 506"/>
              <a:gd name="T46" fmla="*/ 393 w 546"/>
              <a:gd name="T47" fmla="*/ 176 h 506"/>
              <a:gd name="T48" fmla="*/ 377 w 546"/>
              <a:gd name="T49" fmla="*/ 228 h 506"/>
              <a:gd name="T50" fmla="*/ 271 w 546"/>
              <a:gd name="T51" fmla="*/ 231 h 506"/>
              <a:gd name="T52" fmla="*/ 267 w 546"/>
              <a:gd name="T53" fmla="*/ 171 h 506"/>
              <a:gd name="T54" fmla="*/ 229 w 546"/>
              <a:gd name="T55" fmla="*/ 137 h 506"/>
              <a:gd name="T56" fmla="*/ 201 w 546"/>
              <a:gd name="T57" fmla="*/ 203 h 506"/>
              <a:gd name="T58" fmla="*/ 258 w 546"/>
              <a:gd name="T59" fmla="*/ 218 h 506"/>
              <a:gd name="T60" fmla="*/ 392 w 546"/>
              <a:gd name="T61" fmla="*/ 305 h 506"/>
              <a:gd name="T62" fmla="*/ 398 w 546"/>
              <a:gd name="T63" fmla="*/ 241 h 506"/>
              <a:gd name="T64" fmla="*/ 343 w 546"/>
              <a:gd name="T65" fmla="*/ 212 h 506"/>
              <a:gd name="T66" fmla="*/ 366 w 546"/>
              <a:gd name="T67" fmla="*/ 188 h 506"/>
              <a:gd name="T68" fmla="*/ 407 w 546"/>
              <a:gd name="T69" fmla="*/ 188 h 506"/>
              <a:gd name="T70" fmla="*/ 420 w 546"/>
              <a:gd name="T71" fmla="*/ 224 h 506"/>
              <a:gd name="T72" fmla="*/ 432 w 546"/>
              <a:gd name="T73" fmla="*/ 247 h 506"/>
              <a:gd name="T74" fmla="*/ 453 w 546"/>
              <a:gd name="T75" fmla="*/ 277 h 506"/>
              <a:gd name="T76" fmla="*/ 434 w 546"/>
              <a:gd name="T77" fmla="*/ 279 h 506"/>
              <a:gd name="T78" fmla="*/ 422 w 546"/>
              <a:gd name="T79" fmla="*/ 317 h 506"/>
              <a:gd name="T80" fmla="*/ 342 w 546"/>
              <a:gd name="T81" fmla="*/ 290 h 506"/>
              <a:gd name="T82" fmla="*/ 401 w 546"/>
              <a:gd name="T83" fmla="*/ 345 h 506"/>
              <a:gd name="T84" fmla="*/ 325 w 546"/>
              <a:gd name="T85" fmla="*/ 383 h 506"/>
              <a:gd name="T86" fmla="*/ 432 w 546"/>
              <a:gd name="T87" fmla="*/ 465 h 506"/>
              <a:gd name="T88" fmla="*/ 462 w 546"/>
              <a:gd name="T89" fmla="*/ 465 h 506"/>
              <a:gd name="T90" fmla="*/ 450 w 546"/>
              <a:gd name="T91" fmla="*/ 435 h 506"/>
              <a:gd name="T92" fmla="*/ 50 w 546"/>
              <a:gd name="T93" fmla="*/ 419 h 506"/>
              <a:gd name="T94" fmla="*/ 29 w 546"/>
              <a:gd name="T95" fmla="*/ 376 h 506"/>
              <a:gd name="T96" fmla="*/ 93 w 546"/>
              <a:gd name="T97" fmla="*/ 175 h 506"/>
              <a:gd name="T98" fmla="*/ 39 w 546"/>
              <a:gd name="T99" fmla="*/ 383 h 506"/>
              <a:gd name="T100" fmla="*/ 96 w 546"/>
              <a:gd name="T101" fmla="*/ 181 h 506"/>
              <a:gd name="T102" fmla="*/ 159 w 546"/>
              <a:gd name="T103" fmla="*/ 183 h 506"/>
              <a:gd name="T104" fmla="*/ 240 w 546"/>
              <a:gd name="T105" fmla="*/ 215 h 506"/>
              <a:gd name="T106" fmla="*/ 285 w 546"/>
              <a:gd name="T107" fmla="*/ 245 h 506"/>
              <a:gd name="T108" fmla="*/ 319 w 546"/>
              <a:gd name="T109" fmla="*/ 207 h 506"/>
              <a:gd name="T110" fmla="*/ 366 w 546"/>
              <a:gd name="T111" fmla="*/ 232 h 506"/>
              <a:gd name="T112" fmla="*/ 306 w 546"/>
              <a:gd name="T113" fmla="*/ 289 h 506"/>
              <a:gd name="T114" fmla="*/ 253 w 546"/>
              <a:gd name="T115" fmla="*/ 367 h 506"/>
              <a:gd name="T116" fmla="*/ 349 w 546"/>
              <a:gd name="T117" fmla="*/ 347 h 506"/>
              <a:gd name="T118" fmla="*/ 416 w 546"/>
              <a:gd name="T119" fmla="*/ 351 h 506"/>
              <a:gd name="T120" fmla="*/ 443 w 546"/>
              <a:gd name="T121" fmla="*/ 404 h 506"/>
              <a:gd name="T122" fmla="*/ 389 w 546"/>
              <a:gd name="T123" fmla="*/ 441 h 506"/>
              <a:gd name="T124" fmla="*/ 398 w 546"/>
              <a:gd name="T125" fmla="*/ 483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506">
                <a:moveTo>
                  <a:pt x="395" y="89"/>
                </a:moveTo>
                <a:cubicBezTo>
                  <a:pt x="395" y="89"/>
                  <a:pt x="395" y="89"/>
                  <a:pt x="395" y="89"/>
                </a:cubicBezTo>
                <a:cubicBezTo>
                  <a:pt x="396" y="87"/>
                  <a:pt x="396" y="87"/>
                  <a:pt x="396" y="87"/>
                </a:cubicBezTo>
                <a:cubicBezTo>
                  <a:pt x="398" y="85"/>
                  <a:pt x="398" y="85"/>
                  <a:pt x="398" y="85"/>
                </a:cubicBezTo>
                <a:cubicBezTo>
                  <a:pt x="399" y="82"/>
                  <a:pt x="399" y="82"/>
                  <a:pt x="399" y="82"/>
                </a:cubicBezTo>
                <a:cubicBezTo>
                  <a:pt x="400" y="82"/>
                  <a:pt x="400" y="82"/>
                  <a:pt x="400" y="82"/>
                </a:cubicBezTo>
                <a:cubicBezTo>
                  <a:pt x="400" y="83"/>
                  <a:pt x="400" y="83"/>
                  <a:pt x="400" y="83"/>
                </a:cubicBezTo>
                <a:cubicBezTo>
                  <a:pt x="399" y="84"/>
                  <a:pt x="399" y="84"/>
                  <a:pt x="399" y="84"/>
                </a:cubicBezTo>
                <a:cubicBezTo>
                  <a:pt x="399" y="85"/>
                  <a:pt x="399" y="85"/>
                  <a:pt x="399" y="85"/>
                </a:cubicBezTo>
                <a:cubicBezTo>
                  <a:pt x="400" y="85"/>
                  <a:pt x="400" y="85"/>
                  <a:pt x="400" y="85"/>
                </a:cubicBezTo>
                <a:cubicBezTo>
                  <a:pt x="402" y="84"/>
                  <a:pt x="402" y="84"/>
                  <a:pt x="402" y="84"/>
                </a:cubicBezTo>
                <a:cubicBezTo>
                  <a:pt x="403" y="83"/>
                  <a:pt x="403" y="83"/>
                  <a:pt x="403" y="83"/>
                </a:cubicBezTo>
                <a:cubicBezTo>
                  <a:pt x="403" y="82"/>
                  <a:pt x="403" y="82"/>
                  <a:pt x="403" y="82"/>
                </a:cubicBezTo>
                <a:cubicBezTo>
                  <a:pt x="402" y="82"/>
                  <a:pt x="402" y="82"/>
                  <a:pt x="402" y="82"/>
                </a:cubicBezTo>
                <a:cubicBezTo>
                  <a:pt x="402" y="81"/>
                  <a:pt x="402" y="81"/>
                  <a:pt x="402" y="81"/>
                </a:cubicBezTo>
                <a:cubicBezTo>
                  <a:pt x="403" y="81"/>
                  <a:pt x="403" y="81"/>
                  <a:pt x="403" y="81"/>
                </a:cubicBezTo>
                <a:cubicBezTo>
                  <a:pt x="403" y="79"/>
                  <a:pt x="403" y="79"/>
                  <a:pt x="403" y="79"/>
                </a:cubicBezTo>
                <a:cubicBezTo>
                  <a:pt x="402" y="78"/>
                  <a:pt x="402" y="78"/>
                  <a:pt x="402" y="78"/>
                </a:cubicBezTo>
                <a:cubicBezTo>
                  <a:pt x="402" y="77"/>
                  <a:pt x="402" y="77"/>
                  <a:pt x="402" y="77"/>
                </a:cubicBezTo>
                <a:cubicBezTo>
                  <a:pt x="404" y="76"/>
                  <a:pt x="404" y="76"/>
                  <a:pt x="404" y="76"/>
                </a:cubicBezTo>
                <a:cubicBezTo>
                  <a:pt x="405" y="74"/>
                  <a:pt x="405" y="74"/>
                  <a:pt x="405" y="74"/>
                </a:cubicBezTo>
                <a:cubicBezTo>
                  <a:pt x="406" y="73"/>
                  <a:pt x="406" y="73"/>
                  <a:pt x="406" y="73"/>
                </a:cubicBezTo>
                <a:cubicBezTo>
                  <a:pt x="406" y="72"/>
                  <a:pt x="406" y="72"/>
                  <a:pt x="406" y="72"/>
                </a:cubicBezTo>
                <a:cubicBezTo>
                  <a:pt x="406" y="73"/>
                  <a:pt x="406" y="73"/>
                  <a:pt x="406" y="73"/>
                </a:cubicBezTo>
                <a:cubicBezTo>
                  <a:pt x="407" y="74"/>
                  <a:pt x="407" y="74"/>
                  <a:pt x="407" y="74"/>
                </a:cubicBezTo>
                <a:cubicBezTo>
                  <a:pt x="406" y="74"/>
                  <a:pt x="406" y="74"/>
                  <a:pt x="406" y="74"/>
                </a:cubicBezTo>
                <a:cubicBezTo>
                  <a:pt x="405" y="76"/>
                  <a:pt x="405" y="76"/>
                  <a:pt x="405" y="76"/>
                </a:cubicBezTo>
                <a:cubicBezTo>
                  <a:pt x="404" y="78"/>
                  <a:pt x="404" y="78"/>
                  <a:pt x="404" y="78"/>
                </a:cubicBezTo>
                <a:cubicBezTo>
                  <a:pt x="404" y="80"/>
                  <a:pt x="404" y="80"/>
                  <a:pt x="404" y="80"/>
                </a:cubicBezTo>
                <a:cubicBezTo>
                  <a:pt x="404" y="81"/>
                  <a:pt x="404" y="81"/>
                  <a:pt x="404" y="81"/>
                </a:cubicBezTo>
                <a:cubicBezTo>
                  <a:pt x="404" y="82"/>
                  <a:pt x="404" y="82"/>
                  <a:pt x="404" y="82"/>
                </a:cubicBezTo>
                <a:cubicBezTo>
                  <a:pt x="405" y="81"/>
                  <a:pt x="405" y="81"/>
                  <a:pt x="405" y="81"/>
                </a:cubicBezTo>
                <a:cubicBezTo>
                  <a:pt x="406" y="79"/>
                  <a:pt x="406" y="79"/>
                  <a:pt x="406" y="79"/>
                </a:cubicBezTo>
                <a:cubicBezTo>
                  <a:pt x="408" y="77"/>
                  <a:pt x="408" y="77"/>
                  <a:pt x="408" y="77"/>
                </a:cubicBezTo>
                <a:cubicBezTo>
                  <a:pt x="409" y="76"/>
                  <a:pt x="409" y="76"/>
                  <a:pt x="409" y="76"/>
                </a:cubicBezTo>
                <a:cubicBezTo>
                  <a:pt x="409" y="74"/>
                  <a:pt x="409" y="74"/>
                  <a:pt x="409" y="74"/>
                </a:cubicBezTo>
                <a:cubicBezTo>
                  <a:pt x="410" y="73"/>
                  <a:pt x="410" y="73"/>
                  <a:pt x="410" y="73"/>
                </a:cubicBezTo>
                <a:cubicBezTo>
                  <a:pt x="411" y="73"/>
                  <a:pt x="411" y="73"/>
                  <a:pt x="411" y="73"/>
                </a:cubicBezTo>
                <a:cubicBezTo>
                  <a:pt x="411" y="74"/>
                  <a:pt x="411" y="74"/>
                  <a:pt x="411" y="74"/>
                </a:cubicBezTo>
                <a:cubicBezTo>
                  <a:pt x="411" y="74"/>
                  <a:pt x="411" y="74"/>
                  <a:pt x="411" y="74"/>
                </a:cubicBezTo>
                <a:cubicBezTo>
                  <a:pt x="411" y="75"/>
                  <a:pt x="411" y="75"/>
                  <a:pt x="411" y="75"/>
                </a:cubicBezTo>
                <a:cubicBezTo>
                  <a:pt x="412" y="75"/>
                  <a:pt x="412" y="75"/>
                  <a:pt x="412" y="75"/>
                </a:cubicBezTo>
                <a:cubicBezTo>
                  <a:pt x="413" y="73"/>
                  <a:pt x="413" y="73"/>
                  <a:pt x="413" y="73"/>
                </a:cubicBezTo>
                <a:cubicBezTo>
                  <a:pt x="414" y="73"/>
                  <a:pt x="414" y="73"/>
                  <a:pt x="414" y="73"/>
                </a:cubicBezTo>
                <a:cubicBezTo>
                  <a:pt x="416" y="73"/>
                  <a:pt x="416" y="73"/>
                  <a:pt x="416" y="73"/>
                </a:cubicBezTo>
                <a:cubicBezTo>
                  <a:pt x="418" y="73"/>
                  <a:pt x="418" y="73"/>
                  <a:pt x="418" y="73"/>
                </a:cubicBezTo>
                <a:cubicBezTo>
                  <a:pt x="419" y="73"/>
                  <a:pt x="419" y="73"/>
                  <a:pt x="419" y="73"/>
                </a:cubicBezTo>
                <a:cubicBezTo>
                  <a:pt x="420" y="72"/>
                  <a:pt x="420" y="72"/>
                  <a:pt x="420" y="72"/>
                </a:cubicBezTo>
                <a:cubicBezTo>
                  <a:pt x="421" y="71"/>
                  <a:pt x="421" y="71"/>
                  <a:pt x="421" y="71"/>
                </a:cubicBezTo>
                <a:cubicBezTo>
                  <a:pt x="422" y="70"/>
                  <a:pt x="422" y="70"/>
                  <a:pt x="422" y="70"/>
                </a:cubicBezTo>
                <a:cubicBezTo>
                  <a:pt x="422" y="69"/>
                  <a:pt x="422" y="69"/>
                  <a:pt x="422" y="69"/>
                </a:cubicBezTo>
                <a:cubicBezTo>
                  <a:pt x="422" y="69"/>
                  <a:pt x="422" y="69"/>
                  <a:pt x="422" y="69"/>
                </a:cubicBezTo>
                <a:cubicBezTo>
                  <a:pt x="421" y="68"/>
                  <a:pt x="421" y="68"/>
                  <a:pt x="421" y="68"/>
                </a:cubicBezTo>
                <a:cubicBezTo>
                  <a:pt x="422" y="66"/>
                  <a:pt x="422" y="66"/>
                  <a:pt x="422" y="66"/>
                </a:cubicBezTo>
                <a:cubicBezTo>
                  <a:pt x="421" y="63"/>
                  <a:pt x="421" y="63"/>
                  <a:pt x="421" y="63"/>
                </a:cubicBezTo>
                <a:cubicBezTo>
                  <a:pt x="421" y="63"/>
                  <a:pt x="421" y="63"/>
                  <a:pt x="421" y="63"/>
                </a:cubicBezTo>
                <a:cubicBezTo>
                  <a:pt x="420" y="65"/>
                  <a:pt x="420" y="65"/>
                  <a:pt x="420" y="65"/>
                </a:cubicBezTo>
                <a:cubicBezTo>
                  <a:pt x="419" y="67"/>
                  <a:pt x="419" y="67"/>
                  <a:pt x="419" y="67"/>
                </a:cubicBezTo>
                <a:cubicBezTo>
                  <a:pt x="418" y="67"/>
                  <a:pt x="418" y="67"/>
                  <a:pt x="418" y="67"/>
                </a:cubicBezTo>
                <a:cubicBezTo>
                  <a:pt x="418" y="66"/>
                  <a:pt x="418" y="66"/>
                  <a:pt x="418" y="66"/>
                </a:cubicBezTo>
                <a:cubicBezTo>
                  <a:pt x="419" y="65"/>
                  <a:pt x="419" y="65"/>
                  <a:pt x="419" y="65"/>
                </a:cubicBezTo>
                <a:cubicBezTo>
                  <a:pt x="420" y="64"/>
                  <a:pt x="420" y="64"/>
                  <a:pt x="420" y="64"/>
                </a:cubicBezTo>
                <a:cubicBezTo>
                  <a:pt x="420" y="63"/>
                  <a:pt x="420" y="63"/>
                  <a:pt x="420" y="63"/>
                </a:cubicBezTo>
                <a:cubicBezTo>
                  <a:pt x="419" y="62"/>
                  <a:pt x="419" y="62"/>
                  <a:pt x="419" y="62"/>
                </a:cubicBezTo>
                <a:cubicBezTo>
                  <a:pt x="419" y="61"/>
                  <a:pt x="419" y="61"/>
                  <a:pt x="419" y="61"/>
                </a:cubicBezTo>
                <a:cubicBezTo>
                  <a:pt x="418" y="61"/>
                  <a:pt x="418" y="61"/>
                  <a:pt x="418" y="61"/>
                </a:cubicBezTo>
                <a:cubicBezTo>
                  <a:pt x="417" y="61"/>
                  <a:pt x="417" y="61"/>
                  <a:pt x="417" y="61"/>
                </a:cubicBezTo>
                <a:cubicBezTo>
                  <a:pt x="417" y="62"/>
                  <a:pt x="417" y="62"/>
                  <a:pt x="417" y="62"/>
                </a:cubicBezTo>
                <a:cubicBezTo>
                  <a:pt x="416" y="61"/>
                  <a:pt x="416" y="61"/>
                  <a:pt x="416" y="61"/>
                </a:cubicBezTo>
                <a:cubicBezTo>
                  <a:pt x="415" y="61"/>
                  <a:pt x="415" y="61"/>
                  <a:pt x="415" y="61"/>
                </a:cubicBezTo>
                <a:cubicBezTo>
                  <a:pt x="414" y="62"/>
                  <a:pt x="414" y="62"/>
                  <a:pt x="414" y="62"/>
                </a:cubicBezTo>
                <a:cubicBezTo>
                  <a:pt x="413" y="62"/>
                  <a:pt x="413" y="62"/>
                  <a:pt x="413" y="62"/>
                </a:cubicBezTo>
                <a:cubicBezTo>
                  <a:pt x="414" y="61"/>
                  <a:pt x="414" y="61"/>
                  <a:pt x="414" y="61"/>
                </a:cubicBezTo>
                <a:cubicBezTo>
                  <a:pt x="417" y="60"/>
                  <a:pt x="417" y="60"/>
                  <a:pt x="417" y="60"/>
                </a:cubicBezTo>
                <a:cubicBezTo>
                  <a:pt x="418" y="60"/>
                  <a:pt x="418" y="60"/>
                  <a:pt x="418" y="60"/>
                </a:cubicBezTo>
                <a:cubicBezTo>
                  <a:pt x="420" y="58"/>
                  <a:pt x="420" y="58"/>
                  <a:pt x="420" y="58"/>
                </a:cubicBezTo>
                <a:cubicBezTo>
                  <a:pt x="421" y="57"/>
                  <a:pt x="421" y="57"/>
                  <a:pt x="421" y="57"/>
                </a:cubicBezTo>
                <a:cubicBezTo>
                  <a:pt x="422" y="55"/>
                  <a:pt x="422" y="55"/>
                  <a:pt x="422" y="55"/>
                </a:cubicBezTo>
                <a:cubicBezTo>
                  <a:pt x="423" y="53"/>
                  <a:pt x="423" y="53"/>
                  <a:pt x="423" y="53"/>
                </a:cubicBezTo>
                <a:cubicBezTo>
                  <a:pt x="422" y="52"/>
                  <a:pt x="422" y="52"/>
                  <a:pt x="422" y="52"/>
                </a:cubicBezTo>
                <a:cubicBezTo>
                  <a:pt x="421" y="52"/>
                  <a:pt x="421" y="52"/>
                  <a:pt x="421" y="52"/>
                </a:cubicBezTo>
                <a:cubicBezTo>
                  <a:pt x="421" y="53"/>
                  <a:pt x="421" y="53"/>
                  <a:pt x="421" y="53"/>
                </a:cubicBezTo>
                <a:cubicBezTo>
                  <a:pt x="420" y="52"/>
                  <a:pt x="420" y="52"/>
                  <a:pt x="420" y="52"/>
                </a:cubicBezTo>
                <a:cubicBezTo>
                  <a:pt x="421" y="52"/>
                  <a:pt x="421" y="52"/>
                  <a:pt x="421" y="52"/>
                </a:cubicBezTo>
                <a:cubicBezTo>
                  <a:pt x="421" y="51"/>
                  <a:pt x="421" y="51"/>
                  <a:pt x="421" y="51"/>
                </a:cubicBezTo>
                <a:cubicBezTo>
                  <a:pt x="422" y="51"/>
                  <a:pt x="422" y="51"/>
                  <a:pt x="422" y="51"/>
                </a:cubicBezTo>
                <a:cubicBezTo>
                  <a:pt x="423" y="50"/>
                  <a:pt x="423" y="50"/>
                  <a:pt x="423" y="50"/>
                </a:cubicBezTo>
                <a:cubicBezTo>
                  <a:pt x="423" y="49"/>
                  <a:pt x="423" y="49"/>
                  <a:pt x="423" y="49"/>
                </a:cubicBezTo>
                <a:cubicBezTo>
                  <a:pt x="424" y="48"/>
                  <a:pt x="424" y="48"/>
                  <a:pt x="424" y="48"/>
                </a:cubicBezTo>
                <a:cubicBezTo>
                  <a:pt x="424" y="46"/>
                  <a:pt x="424" y="46"/>
                  <a:pt x="424" y="46"/>
                </a:cubicBezTo>
                <a:cubicBezTo>
                  <a:pt x="424" y="46"/>
                  <a:pt x="424" y="46"/>
                  <a:pt x="424" y="46"/>
                </a:cubicBezTo>
                <a:cubicBezTo>
                  <a:pt x="424" y="45"/>
                  <a:pt x="424" y="45"/>
                  <a:pt x="424" y="45"/>
                </a:cubicBezTo>
                <a:cubicBezTo>
                  <a:pt x="422" y="45"/>
                  <a:pt x="422" y="45"/>
                  <a:pt x="422" y="45"/>
                </a:cubicBezTo>
                <a:cubicBezTo>
                  <a:pt x="421" y="45"/>
                  <a:pt x="421" y="45"/>
                  <a:pt x="421" y="45"/>
                </a:cubicBezTo>
                <a:cubicBezTo>
                  <a:pt x="420" y="48"/>
                  <a:pt x="420" y="48"/>
                  <a:pt x="420" y="48"/>
                </a:cubicBezTo>
                <a:cubicBezTo>
                  <a:pt x="420" y="49"/>
                  <a:pt x="420" y="49"/>
                  <a:pt x="420" y="49"/>
                </a:cubicBezTo>
                <a:cubicBezTo>
                  <a:pt x="420" y="50"/>
                  <a:pt x="420" y="50"/>
                  <a:pt x="420" y="50"/>
                </a:cubicBezTo>
                <a:cubicBezTo>
                  <a:pt x="420" y="51"/>
                  <a:pt x="420" y="51"/>
                  <a:pt x="420" y="51"/>
                </a:cubicBezTo>
                <a:cubicBezTo>
                  <a:pt x="419" y="52"/>
                  <a:pt x="419" y="52"/>
                  <a:pt x="419" y="52"/>
                </a:cubicBezTo>
                <a:cubicBezTo>
                  <a:pt x="419" y="51"/>
                  <a:pt x="419" y="51"/>
                  <a:pt x="419" y="51"/>
                </a:cubicBezTo>
                <a:cubicBezTo>
                  <a:pt x="419" y="51"/>
                  <a:pt x="419" y="51"/>
                  <a:pt x="419" y="51"/>
                </a:cubicBezTo>
                <a:cubicBezTo>
                  <a:pt x="418" y="50"/>
                  <a:pt x="418" y="50"/>
                  <a:pt x="418" y="50"/>
                </a:cubicBezTo>
                <a:cubicBezTo>
                  <a:pt x="418" y="49"/>
                  <a:pt x="418" y="49"/>
                  <a:pt x="418" y="49"/>
                </a:cubicBezTo>
                <a:cubicBezTo>
                  <a:pt x="419" y="47"/>
                  <a:pt x="419" y="47"/>
                  <a:pt x="419" y="47"/>
                </a:cubicBezTo>
                <a:cubicBezTo>
                  <a:pt x="419" y="46"/>
                  <a:pt x="419" y="46"/>
                  <a:pt x="419" y="46"/>
                </a:cubicBezTo>
                <a:cubicBezTo>
                  <a:pt x="419" y="45"/>
                  <a:pt x="419" y="45"/>
                  <a:pt x="419" y="45"/>
                </a:cubicBezTo>
                <a:cubicBezTo>
                  <a:pt x="420" y="45"/>
                  <a:pt x="420" y="45"/>
                  <a:pt x="420" y="45"/>
                </a:cubicBezTo>
                <a:cubicBezTo>
                  <a:pt x="420" y="45"/>
                  <a:pt x="420" y="45"/>
                  <a:pt x="420" y="45"/>
                </a:cubicBezTo>
                <a:cubicBezTo>
                  <a:pt x="420" y="43"/>
                  <a:pt x="420" y="43"/>
                  <a:pt x="420" y="43"/>
                </a:cubicBezTo>
                <a:cubicBezTo>
                  <a:pt x="419" y="42"/>
                  <a:pt x="419" y="42"/>
                  <a:pt x="419" y="42"/>
                </a:cubicBezTo>
                <a:cubicBezTo>
                  <a:pt x="418" y="42"/>
                  <a:pt x="418" y="42"/>
                  <a:pt x="418" y="42"/>
                </a:cubicBezTo>
                <a:cubicBezTo>
                  <a:pt x="417" y="43"/>
                  <a:pt x="417" y="43"/>
                  <a:pt x="417" y="43"/>
                </a:cubicBezTo>
                <a:cubicBezTo>
                  <a:pt x="416" y="44"/>
                  <a:pt x="416" y="44"/>
                  <a:pt x="416" y="44"/>
                </a:cubicBezTo>
                <a:cubicBezTo>
                  <a:pt x="416" y="43"/>
                  <a:pt x="416" y="43"/>
                  <a:pt x="416" y="43"/>
                </a:cubicBezTo>
                <a:cubicBezTo>
                  <a:pt x="416" y="43"/>
                  <a:pt x="416" y="43"/>
                  <a:pt x="416" y="43"/>
                </a:cubicBezTo>
                <a:cubicBezTo>
                  <a:pt x="416" y="41"/>
                  <a:pt x="416" y="41"/>
                  <a:pt x="416" y="41"/>
                </a:cubicBezTo>
                <a:cubicBezTo>
                  <a:pt x="415" y="39"/>
                  <a:pt x="415" y="39"/>
                  <a:pt x="415" y="39"/>
                </a:cubicBezTo>
                <a:cubicBezTo>
                  <a:pt x="415" y="36"/>
                  <a:pt x="415" y="36"/>
                  <a:pt x="415" y="36"/>
                </a:cubicBezTo>
                <a:cubicBezTo>
                  <a:pt x="415" y="34"/>
                  <a:pt x="415" y="34"/>
                  <a:pt x="415" y="34"/>
                </a:cubicBezTo>
                <a:cubicBezTo>
                  <a:pt x="416" y="33"/>
                  <a:pt x="416" y="33"/>
                  <a:pt x="416" y="33"/>
                </a:cubicBezTo>
                <a:cubicBezTo>
                  <a:pt x="416" y="31"/>
                  <a:pt x="416" y="31"/>
                  <a:pt x="416" y="31"/>
                </a:cubicBezTo>
                <a:cubicBezTo>
                  <a:pt x="416" y="29"/>
                  <a:pt x="416" y="29"/>
                  <a:pt x="416" y="29"/>
                </a:cubicBezTo>
                <a:cubicBezTo>
                  <a:pt x="417" y="27"/>
                  <a:pt x="417" y="27"/>
                  <a:pt x="417" y="27"/>
                </a:cubicBezTo>
                <a:cubicBezTo>
                  <a:pt x="417" y="26"/>
                  <a:pt x="417" y="26"/>
                  <a:pt x="417" y="26"/>
                </a:cubicBezTo>
                <a:cubicBezTo>
                  <a:pt x="416" y="24"/>
                  <a:pt x="416" y="24"/>
                  <a:pt x="416" y="24"/>
                </a:cubicBezTo>
                <a:cubicBezTo>
                  <a:pt x="416" y="23"/>
                  <a:pt x="416" y="23"/>
                  <a:pt x="416" y="23"/>
                </a:cubicBezTo>
                <a:cubicBezTo>
                  <a:pt x="414" y="22"/>
                  <a:pt x="414" y="22"/>
                  <a:pt x="414" y="22"/>
                </a:cubicBezTo>
                <a:cubicBezTo>
                  <a:pt x="413" y="21"/>
                  <a:pt x="413" y="21"/>
                  <a:pt x="413" y="21"/>
                </a:cubicBezTo>
                <a:cubicBezTo>
                  <a:pt x="412" y="20"/>
                  <a:pt x="412" y="20"/>
                  <a:pt x="412" y="20"/>
                </a:cubicBezTo>
                <a:cubicBezTo>
                  <a:pt x="411" y="20"/>
                  <a:pt x="411" y="20"/>
                  <a:pt x="411" y="20"/>
                </a:cubicBezTo>
                <a:cubicBezTo>
                  <a:pt x="411" y="21"/>
                  <a:pt x="411" y="21"/>
                  <a:pt x="411" y="21"/>
                </a:cubicBezTo>
                <a:cubicBezTo>
                  <a:pt x="411" y="21"/>
                  <a:pt x="411" y="21"/>
                  <a:pt x="411" y="21"/>
                </a:cubicBezTo>
                <a:cubicBezTo>
                  <a:pt x="409" y="20"/>
                  <a:pt x="409" y="20"/>
                  <a:pt x="409" y="20"/>
                </a:cubicBezTo>
                <a:cubicBezTo>
                  <a:pt x="408" y="20"/>
                  <a:pt x="408" y="20"/>
                  <a:pt x="408" y="20"/>
                </a:cubicBezTo>
                <a:cubicBezTo>
                  <a:pt x="408" y="21"/>
                  <a:pt x="408" y="21"/>
                  <a:pt x="408" y="21"/>
                </a:cubicBezTo>
                <a:cubicBezTo>
                  <a:pt x="407" y="23"/>
                  <a:pt x="407" y="23"/>
                  <a:pt x="407" y="23"/>
                </a:cubicBezTo>
                <a:cubicBezTo>
                  <a:pt x="408" y="24"/>
                  <a:pt x="408" y="24"/>
                  <a:pt x="408" y="24"/>
                </a:cubicBezTo>
                <a:cubicBezTo>
                  <a:pt x="409" y="24"/>
                  <a:pt x="409" y="24"/>
                  <a:pt x="409" y="24"/>
                </a:cubicBezTo>
                <a:cubicBezTo>
                  <a:pt x="410" y="23"/>
                  <a:pt x="410" y="23"/>
                  <a:pt x="410" y="23"/>
                </a:cubicBezTo>
                <a:cubicBezTo>
                  <a:pt x="411" y="24"/>
                  <a:pt x="411" y="24"/>
                  <a:pt x="411" y="24"/>
                </a:cubicBezTo>
                <a:cubicBezTo>
                  <a:pt x="412" y="25"/>
                  <a:pt x="412" y="25"/>
                  <a:pt x="412" y="25"/>
                </a:cubicBezTo>
                <a:cubicBezTo>
                  <a:pt x="413" y="25"/>
                  <a:pt x="413" y="25"/>
                  <a:pt x="413" y="25"/>
                </a:cubicBezTo>
                <a:cubicBezTo>
                  <a:pt x="413" y="26"/>
                  <a:pt x="413" y="26"/>
                  <a:pt x="413" y="26"/>
                </a:cubicBezTo>
                <a:cubicBezTo>
                  <a:pt x="411" y="28"/>
                  <a:pt x="411" y="28"/>
                  <a:pt x="411" y="28"/>
                </a:cubicBezTo>
                <a:cubicBezTo>
                  <a:pt x="410" y="28"/>
                  <a:pt x="410" y="28"/>
                  <a:pt x="410" y="28"/>
                </a:cubicBezTo>
                <a:cubicBezTo>
                  <a:pt x="409" y="27"/>
                  <a:pt x="409" y="27"/>
                  <a:pt x="409" y="27"/>
                </a:cubicBezTo>
                <a:cubicBezTo>
                  <a:pt x="408" y="27"/>
                  <a:pt x="408" y="27"/>
                  <a:pt x="408" y="27"/>
                </a:cubicBezTo>
                <a:cubicBezTo>
                  <a:pt x="406" y="27"/>
                  <a:pt x="406" y="27"/>
                  <a:pt x="406" y="27"/>
                </a:cubicBezTo>
                <a:cubicBezTo>
                  <a:pt x="407" y="28"/>
                  <a:pt x="407" y="28"/>
                  <a:pt x="407" y="28"/>
                </a:cubicBezTo>
                <a:cubicBezTo>
                  <a:pt x="408" y="28"/>
                  <a:pt x="408" y="28"/>
                  <a:pt x="408" y="28"/>
                </a:cubicBezTo>
                <a:cubicBezTo>
                  <a:pt x="407" y="29"/>
                  <a:pt x="407" y="29"/>
                  <a:pt x="407" y="29"/>
                </a:cubicBezTo>
                <a:cubicBezTo>
                  <a:pt x="406" y="29"/>
                  <a:pt x="406" y="29"/>
                  <a:pt x="406" y="29"/>
                </a:cubicBezTo>
                <a:cubicBezTo>
                  <a:pt x="404" y="28"/>
                  <a:pt x="404" y="28"/>
                  <a:pt x="404" y="28"/>
                </a:cubicBezTo>
                <a:cubicBezTo>
                  <a:pt x="402" y="29"/>
                  <a:pt x="402" y="29"/>
                  <a:pt x="402" y="29"/>
                </a:cubicBezTo>
                <a:cubicBezTo>
                  <a:pt x="402" y="30"/>
                  <a:pt x="402" y="30"/>
                  <a:pt x="402" y="30"/>
                </a:cubicBezTo>
                <a:cubicBezTo>
                  <a:pt x="401" y="31"/>
                  <a:pt x="401" y="31"/>
                  <a:pt x="401" y="31"/>
                </a:cubicBezTo>
                <a:cubicBezTo>
                  <a:pt x="401" y="32"/>
                  <a:pt x="401" y="32"/>
                  <a:pt x="401" y="32"/>
                </a:cubicBezTo>
                <a:cubicBezTo>
                  <a:pt x="402" y="32"/>
                  <a:pt x="402" y="32"/>
                  <a:pt x="402" y="32"/>
                </a:cubicBezTo>
                <a:cubicBezTo>
                  <a:pt x="402" y="34"/>
                  <a:pt x="402" y="34"/>
                  <a:pt x="402" y="34"/>
                </a:cubicBezTo>
                <a:cubicBezTo>
                  <a:pt x="404" y="34"/>
                  <a:pt x="404" y="34"/>
                  <a:pt x="404" y="34"/>
                </a:cubicBezTo>
                <a:cubicBezTo>
                  <a:pt x="404" y="35"/>
                  <a:pt x="404" y="35"/>
                  <a:pt x="404" y="35"/>
                </a:cubicBezTo>
                <a:cubicBezTo>
                  <a:pt x="403" y="35"/>
                  <a:pt x="403" y="35"/>
                  <a:pt x="403" y="35"/>
                </a:cubicBezTo>
                <a:cubicBezTo>
                  <a:pt x="403" y="36"/>
                  <a:pt x="403" y="36"/>
                  <a:pt x="403" y="36"/>
                </a:cubicBezTo>
                <a:cubicBezTo>
                  <a:pt x="403" y="37"/>
                  <a:pt x="403" y="37"/>
                  <a:pt x="403" y="37"/>
                </a:cubicBezTo>
                <a:cubicBezTo>
                  <a:pt x="403" y="37"/>
                  <a:pt x="403" y="37"/>
                  <a:pt x="403" y="37"/>
                </a:cubicBezTo>
                <a:cubicBezTo>
                  <a:pt x="402" y="37"/>
                  <a:pt x="402" y="37"/>
                  <a:pt x="402" y="37"/>
                </a:cubicBezTo>
                <a:cubicBezTo>
                  <a:pt x="402" y="37"/>
                  <a:pt x="402" y="37"/>
                  <a:pt x="402" y="37"/>
                </a:cubicBezTo>
                <a:cubicBezTo>
                  <a:pt x="400" y="37"/>
                  <a:pt x="400" y="37"/>
                  <a:pt x="400" y="37"/>
                </a:cubicBezTo>
                <a:cubicBezTo>
                  <a:pt x="399" y="36"/>
                  <a:pt x="399" y="36"/>
                  <a:pt x="399" y="36"/>
                </a:cubicBezTo>
                <a:cubicBezTo>
                  <a:pt x="398" y="35"/>
                  <a:pt x="398" y="35"/>
                  <a:pt x="398" y="35"/>
                </a:cubicBezTo>
                <a:cubicBezTo>
                  <a:pt x="397" y="36"/>
                  <a:pt x="397" y="36"/>
                  <a:pt x="397" y="36"/>
                </a:cubicBezTo>
                <a:cubicBezTo>
                  <a:pt x="397" y="37"/>
                  <a:pt x="397" y="37"/>
                  <a:pt x="397" y="37"/>
                </a:cubicBezTo>
                <a:cubicBezTo>
                  <a:pt x="398" y="38"/>
                  <a:pt x="398" y="38"/>
                  <a:pt x="398" y="38"/>
                </a:cubicBezTo>
                <a:cubicBezTo>
                  <a:pt x="397" y="39"/>
                  <a:pt x="397" y="39"/>
                  <a:pt x="397" y="39"/>
                </a:cubicBezTo>
                <a:cubicBezTo>
                  <a:pt x="396" y="39"/>
                  <a:pt x="396" y="39"/>
                  <a:pt x="396" y="39"/>
                </a:cubicBezTo>
                <a:cubicBezTo>
                  <a:pt x="396" y="38"/>
                  <a:pt x="396" y="38"/>
                  <a:pt x="396" y="38"/>
                </a:cubicBezTo>
                <a:cubicBezTo>
                  <a:pt x="396" y="37"/>
                  <a:pt x="396" y="37"/>
                  <a:pt x="396" y="37"/>
                </a:cubicBezTo>
                <a:cubicBezTo>
                  <a:pt x="394" y="37"/>
                  <a:pt x="394" y="37"/>
                  <a:pt x="394" y="37"/>
                </a:cubicBezTo>
                <a:cubicBezTo>
                  <a:pt x="394" y="37"/>
                  <a:pt x="394" y="37"/>
                  <a:pt x="394" y="37"/>
                </a:cubicBezTo>
                <a:cubicBezTo>
                  <a:pt x="393" y="36"/>
                  <a:pt x="393" y="36"/>
                  <a:pt x="393" y="36"/>
                </a:cubicBezTo>
                <a:cubicBezTo>
                  <a:pt x="392" y="36"/>
                  <a:pt x="392" y="36"/>
                  <a:pt x="392" y="36"/>
                </a:cubicBezTo>
                <a:cubicBezTo>
                  <a:pt x="392" y="37"/>
                  <a:pt x="392" y="37"/>
                  <a:pt x="392" y="37"/>
                </a:cubicBezTo>
                <a:cubicBezTo>
                  <a:pt x="392" y="38"/>
                  <a:pt x="392" y="38"/>
                  <a:pt x="392" y="38"/>
                </a:cubicBezTo>
                <a:cubicBezTo>
                  <a:pt x="392" y="40"/>
                  <a:pt x="392" y="40"/>
                  <a:pt x="392" y="40"/>
                </a:cubicBezTo>
                <a:cubicBezTo>
                  <a:pt x="393" y="41"/>
                  <a:pt x="393" y="41"/>
                  <a:pt x="393" y="41"/>
                </a:cubicBezTo>
                <a:cubicBezTo>
                  <a:pt x="394" y="42"/>
                  <a:pt x="394" y="42"/>
                  <a:pt x="394" y="42"/>
                </a:cubicBezTo>
                <a:cubicBezTo>
                  <a:pt x="395" y="42"/>
                  <a:pt x="395" y="42"/>
                  <a:pt x="395" y="42"/>
                </a:cubicBezTo>
                <a:cubicBezTo>
                  <a:pt x="396" y="43"/>
                  <a:pt x="396" y="43"/>
                  <a:pt x="396" y="43"/>
                </a:cubicBezTo>
                <a:cubicBezTo>
                  <a:pt x="395" y="43"/>
                  <a:pt x="395" y="43"/>
                  <a:pt x="395" y="43"/>
                </a:cubicBezTo>
                <a:cubicBezTo>
                  <a:pt x="394" y="43"/>
                  <a:pt x="394" y="43"/>
                  <a:pt x="394" y="43"/>
                </a:cubicBezTo>
                <a:cubicBezTo>
                  <a:pt x="395" y="44"/>
                  <a:pt x="395" y="44"/>
                  <a:pt x="395" y="44"/>
                </a:cubicBezTo>
                <a:cubicBezTo>
                  <a:pt x="396" y="45"/>
                  <a:pt x="396" y="45"/>
                  <a:pt x="396" y="45"/>
                </a:cubicBezTo>
                <a:cubicBezTo>
                  <a:pt x="397" y="46"/>
                  <a:pt x="397" y="46"/>
                  <a:pt x="397" y="46"/>
                </a:cubicBezTo>
                <a:cubicBezTo>
                  <a:pt x="399" y="46"/>
                  <a:pt x="399" y="46"/>
                  <a:pt x="399" y="46"/>
                </a:cubicBezTo>
                <a:cubicBezTo>
                  <a:pt x="399" y="45"/>
                  <a:pt x="399" y="45"/>
                  <a:pt x="399" y="45"/>
                </a:cubicBezTo>
                <a:cubicBezTo>
                  <a:pt x="400" y="45"/>
                  <a:pt x="400" y="45"/>
                  <a:pt x="400" y="45"/>
                </a:cubicBezTo>
                <a:cubicBezTo>
                  <a:pt x="400" y="46"/>
                  <a:pt x="400" y="46"/>
                  <a:pt x="400" y="46"/>
                </a:cubicBezTo>
                <a:cubicBezTo>
                  <a:pt x="399" y="46"/>
                  <a:pt x="399" y="46"/>
                  <a:pt x="399" y="46"/>
                </a:cubicBezTo>
                <a:cubicBezTo>
                  <a:pt x="399" y="48"/>
                  <a:pt x="399" y="48"/>
                  <a:pt x="399" y="48"/>
                </a:cubicBezTo>
                <a:cubicBezTo>
                  <a:pt x="398" y="48"/>
                  <a:pt x="398" y="48"/>
                  <a:pt x="398" y="48"/>
                </a:cubicBezTo>
                <a:cubicBezTo>
                  <a:pt x="396" y="47"/>
                  <a:pt x="396" y="47"/>
                  <a:pt x="396" y="47"/>
                </a:cubicBezTo>
                <a:cubicBezTo>
                  <a:pt x="393" y="46"/>
                  <a:pt x="393" y="46"/>
                  <a:pt x="393" y="46"/>
                </a:cubicBezTo>
                <a:cubicBezTo>
                  <a:pt x="392" y="45"/>
                  <a:pt x="392" y="45"/>
                  <a:pt x="392" y="45"/>
                </a:cubicBezTo>
                <a:cubicBezTo>
                  <a:pt x="391" y="44"/>
                  <a:pt x="391" y="44"/>
                  <a:pt x="391" y="44"/>
                </a:cubicBezTo>
                <a:cubicBezTo>
                  <a:pt x="390" y="44"/>
                  <a:pt x="390" y="44"/>
                  <a:pt x="390" y="44"/>
                </a:cubicBezTo>
                <a:cubicBezTo>
                  <a:pt x="390" y="44"/>
                  <a:pt x="390" y="44"/>
                  <a:pt x="390" y="44"/>
                </a:cubicBezTo>
                <a:cubicBezTo>
                  <a:pt x="389" y="45"/>
                  <a:pt x="389" y="45"/>
                  <a:pt x="389" y="45"/>
                </a:cubicBezTo>
                <a:cubicBezTo>
                  <a:pt x="389" y="46"/>
                  <a:pt x="389" y="46"/>
                  <a:pt x="389" y="46"/>
                </a:cubicBezTo>
                <a:cubicBezTo>
                  <a:pt x="389" y="46"/>
                  <a:pt x="389" y="46"/>
                  <a:pt x="389" y="46"/>
                </a:cubicBezTo>
                <a:cubicBezTo>
                  <a:pt x="389" y="48"/>
                  <a:pt x="389" y="48"/>
                  <a:pt x="389" y="48"/>
                </a:cubicBezTo>
                <a:cubicBezTo>
                  <a:pt x="388" y="49"/>
                  <a:pt x="388" y="49"/>
                  <a:pt x="388" y="49"/>
                </a:cubicBezTo>
                <a:cubicBezTo>
                  <a:pt x="388" y="48"/>
                  <a:pt x="388" y="48"/>
                  <a:pt x="388" y="48"/>
                </a:cubicBezTo>
                <a:cubicBezTo>
                  <a:pt x="388" y="50"/>
                  <a:pt x="388" y="50"/>
                  <a:pt x="388" y="50"/>
                </a:cubicBezTo>
                <a:cubicBezTo>
                  <a:pt x="387" y="50"/>
                  <a:pt x="387" y="50"/>
                  <a:pt x="387" y="50"/>
                </a:cubicBezTo>
                <a:cubicBezTo>
                  <a:pt x="387" y="53"/>
                  <a:pt x="387" y="53"/>
                  <a:pt x="387" y="53"/>
                </a:cubicBezTo>
                <a:cubicBezTo>
                  <a:pt x="388" y="54"/>
                  <a:pt x="388" y="54"/>
                  <a:pt x="388" y="54"/>
                </a:cubicBezTo>
                <a:cubicBezTo>
                  <a:pt x="390" y="54"/>
                  <a:pt x="390" y="54"/>
                  <a:pt x="390" y="54"/>
                </a:cubicBezTo>
                <a:cubicBezTo>
                  <a:pt x="391" y="55"/>
                  <a:pt x="391" y="55"/>
                  <a:pt x="391" y="55"/>
                </a:cubicBezTo>
                <a:cubicBezTo>
                  <a:pt x="392" y="54"/>
                  <a:pt x="392" y="54"/>
                  <a:pt x="392" y="54"/>
                </a:cubicBezTo>
                <a:cubicBezTo>
                  <a:pt x="392" y="55"/>
                  <a:pt x="392" y="55"/>
                  <a:pt x="392" y="55"/>
                </a:cubicBezTo>
                <a:cubicBezTo>
                  <a:pt x="391" y="55"/>
                  <a:pt x="391" y="55"/>
                  <a:pt x="391" y="55"/>
                </a:cubicBezTo>
                <a:cubicBezTo>
                  <a:pt x="390" y="55"/>
                  <a:pt x="390" y="55"/>
                  <a:pt x="390" y="55"/>
                </a:cubicBezTo>
                <a:cubicBezTo>
                  <a:pt x="388" y="55"/>
                  <a:pt x="388" y="55"/>
                  <a:pt x="388" y="55"/>
                </a:cubicBezTo>
                <a:cubicBezTo>
                  <a:pt x="387" y="54"/>
                  <a:pt x="387" y="54"/>
                  <a:pt x="387" y="54"/>
                </a:cubicBezTo>
                <a:cubicBezTo>
                  <a:pt x="386" y="55"/>
                  <a:pt x="386" y="55"/>
                  <a:pt x="386" y="55"/>
                </a:cubicBezTo>
                <a:cubicBezTo>
                  <a:pt x="384" y="57"/>
                  <a:pt x="384" y="57"/>
                  <a:pt x="384" y="57"/>
                </a:cubicBezTo>
                <a:cubicBezTo>
                  <a:pt x="384" y="58"/>
                  <a:pt x="384" y="58"/>
                  <a:pt x="384" y="58"/>
                </a:cubicBezTo>
                <a:cubicBezTo>
                  <a:pt x="385" y="59"/>
                  <a:pt x="385" y="59"/>
                  <a:pt x="385" y="59"/>
                </a:cubicBezTo>
                <a:cubicBezTo>
                  <a:pt x="385" y="59"/>
                  <a:pt x="385" y="59"/>
                  <a:pt x="385" y="59"/>
                </a:cubicBezTo>
                <a:cubicBezTo>
                  <a:pt x="384" y="60"/>
                  <a:pt x="384" y="60"/>
                  <a:pt x="384" y="60"/>
                </a:cubicBezTo>
                <a:cubicBezTo>
                  <a:pt x="384" y="61"/>
                  <a:pt x="384" y="61"/>
                  <a:pt x="384" y="61"/>
                </a:cubicBezTo>
                <a:cubicBezTo>
                  <a:pt x="385" y="61"/>
                  <a:pt x="385" y="61"/>
                  <a:pt x="385" y="61"/>
                </a:cubicBezTo>
                <a:cubicBezTo>
                  <a:pt x="385" y="61"/>
                  <a:pt x="385" y="61"/>
                  <a:pt x="385" y="61"/>
                </a:cubicBezTo>
                <a:cubicBezTo>
                  <a:pt x="387" y="61"/>
                  <a:pt x="387" y="61"/>
                  <a:pt x="387" y="61"/>
                </a:cubicBezTo>
                <a:cubicBezTo>
                  <a:pt x="388" y="60"/>
                  <a:pt x="388" y="60"/>
                  <a:pt x="388" y="60"/>
                </a:cubicBezTo>
                <a:cubicBezTo>
                  <a:pt x="389" y="60"/>
                  <a:pt x="389" y="60"/>
                  <a:pt x="389" y="60"/>
                </a:cubicBezTo>
                <a:cubicBezTo>
                  <a:pt x="388" y="61"/>
                  <a:pt x="388" y="61"/>
                  <a:pt x="388" y="61"/>
                </a:cubicBezTo>
                <a:cubicBezTo>
                  <a:pt x="387" y="61"/>
                  <a:pt x="387" y="61"/>
                  <a:pt x="387" y="61"/>
                </a:cubicBezTo>
                <a:cubicBezTo>
                  <a:pt x="387" y="63"/>
                  <a:pt x="387" y="63"/>
                  <a:pt x="387" y="63"/>
                </a:cubicBezTo>
                <a:cubicBezTo>
                  <a:pt x="387" y="63"/>
                  <a:pt x="387" y="63"/>
                  <a:pt x="387" y="63"/>
                </a:cubicBezTo>
                <a:cubicBezTo>
                  <a:pt x="388" y="63"/>
                  <a:pt x="388" y="63"/>
                  <a:pt x="388" y="63"/>
                </a:cubicBezTo>
                <a:cubicBezTo>
                  <a:pt x="389" y="62"/>
                  <a:pt x="389" y="62"/>
                  <a:pt x="389" y="62"/>
                </a:cubicBezTo>
                <a:cubicBezTo>
                  <a:pt x="390" y="62"/>
                  <a:pt x="390" y="62"/>
                  <a:pt x="390" y="62"/>
                </a:cubicBezTo>
                <a:cubicBezTo>
                  <a:pt x="391" y="61"/>
                  <a:pt x="391" y="61"/>
                  <a:pt x="391" y="61"/>
                </a:cubicBezTo>
                <a:cubicBezTo>
                  <a:pt x="391" y="62"/>
                  <a:pt x="391" y="62"/>
                  <a:pt x="391" y="62"/>
                </a:cubicBezTo>
                <a:cubicBezTo>
                  <a:pt x="390" y="63"/>
                  <a:pt x="390" y="63"/>
                  <a:pt x="390" y="63"/>
                </a:cubicBezTo>
                <a:cubicBezTo>
                  <a:pt x="391" y="63"/>
                  <a:pt x="391" y="63"/>
                  <a:pt x="391" y="63"/>
                </a:cubicBezTo>
                <a:cubicBezTo>
                  <a:pt x="393" y="63"/>
                  <a:pt x="393" y="63"/>
                  <a:pt x="393" y="63"/>
                </a:cubicBezTo>
                <a:cubicBezTo>
                  <a:pt x="393" y="64"/>
                  <a:pt x="393" y="64"/>
                  <a:pt x="393" y="64"/>
                </a:cubicBezTo>
                <a:cubicBezTo>
                  <a:pt x="392" y="64"/>
                  <a:pt x="392" y="64"/>
                  <a:pt x="392" y="64"/>
                </a:cubicBezTo>
                <a:cubicBezTo>
                  <a:pt x="392" y="65"/>
                  <a:pt x="392" y="65"/>
                  <a:pt x="392" y="65"/>
                </a:cubicBezTo>
                <a:cubicBezTo>
                  <a:pt x="393" y="65"/>
                  <a:pt x="393" y="65"/>
                  <a:pt x="393" y="65"/>
                </a:cubicBezTo>
                <a:cubicBezTo>
                  <a:pt x="395" y="65"/>
                  <a:pt x="395" y="65"/>
                  <a:pt x="395" y="65"/>
                </a:cubicBezTo>
                <a:cubicBezTo>
                  <a:pt x="396" y="66"/>
                  <a:pt x="396" y="66"/>
                  <a:pt x="396" y="66"/>
                </a:cubicBezTo>
                <a:cubicBezTo>
                  <a:pt x="399" y="67"/>
                  <a:pt x="399" y="67"/>
                  <a:pt x="399" y="67"/>
                </a:cubicBezTo>
                <a:cubicBezTo>
                  <a:pt x="399" y="67"/>
                  <a:pt x="399" y="67"/>
                  <a:pt x="399" y="67"/>
                </a:cubicBezTo>
                <a:cubicBezTo>
                  <a:pt x="397" y="67"/>
                  <a:pt x="397" y="67"/>
                  <a:pt x="397" y="67"/>
                </a:cubicBezTo>
                <a:cubicBezTo>
                  <a:pt x="396" y="67"/>
                  <a:pt x="396" y="67"/>
                  <a:pt x="396" y="67"/>
                </a:cubicBezTo>
                <a:cubicBezTo>
                  <a:pt x="394" y="66"/>
                  <a:pt x="394" y="66"/>
                  <a:pt x="394" y="66"/>
                </a:cubicBezTo>
                <a:cubicBezTo>
                  <a:pt x="392" y="67"/>
                  <a:pt x="392" y="67"/>
                  <a:pt x="392" y="67"/>
                </a:cubicBezTo>
                <a:cubicBezTo>
                  <a:pt x="392" y="67"/>
                  <a:pt x="392" y="67"/>
                  <a:pt x="392" y="67"/>
                </a:cubicBezTo>
                <a:cubicBezTo>
                  <a:pt x="394" y="68"/>
                  <a:pt x="394" y="68"/>
                  <a:pt x="394" y="68"/>
                </a:cubicBezTo>
                <a:cubicBezTo>
                  <a:pt x="396" y="68"/>
                  <a:pt x="396" y="68"/>
                  <a:pt x="396" y="68"/>
                </a:cubicBezTo>
                <a:cubicBezTo>
                  <a:pt x="399" y="68"/>
                  <a:pt x="399" y="68"/>
                  <a:pt x="399" y="68"/>
                </a:cubicBezTo>
                <a:cubicBezTo>
                  <a:pt x="400" y="69"/>
                  <a:pt x="400" y="69"/>
                  <a:pt x="400" y="69"/>
                </a:cubicBezTo>
                <a:cubicBezTo>
                  <a:pt x="397" y="70"/>
                  <a:pt x="397" y="70"/>
                  <a:pt x="397" y="70"/>
                </a:cubicBezTo>
                <a:cubicBezTo>
                  <a:pt x="396" y="69"/>
                  <a:pt x="396" y="69"/>
                  <a:pt x="396" y="69"/>
                </a:cubicBezTo>
                <a:cubicBezTo>
                  <a:pt x="394" y="69"/>
                  <a:pt x="394" y="69"/>
                  <a:pt x="394" y="69"/>
                </a:cubicBezTo>
                <a:cubicBezTo>
                  <a:pt x="392" y="69"/>
                  <a:pt x="392" y="69"/>
                  <a:pt x="392" y="69"/>
                </a:cubicBezTo>
                <a:cubicBezTo>
                  <a:pt x="391" y="68"/>
                  <a:pt x="391" y="68"/>
                  <a:pt x="391" y="68"/>
                </a:cubicBezTo>
                <a:cubicBezTo>
                  <a:pt x="390" y="67"/>
                  <a:pt x="390" y="67"/>
                  <a:pt x="390" y="67"/>
                </a:cubicBezTo>
                <a:cubicBezTo>
                  <a:pt x="388" y="66"/>
                  <a:pt x="388" y="66"/>
                  <a:pt x="388" y="66"/>
                </a:cubicBezTo>
                <a:cubicBezTo>
                  <a:pt x="388" y="66"/>
                  <a:pt x="388" y="66"/>
                  <a:pt x="388" y="66"/>
                </a:cubicBezTo>
                <a:cubicBezTo>
                  <a:pt x="387" y="67"/>
                  <a:pt x="387" y="67"/>
                  <a:pt x="387" y="67"/>
                </a:cubicBezTo>
                <a:cubicBezTo>
                  <a:pt x="385" y="67"/>
                  <a:pt x="385" y="67"/>
                  <a:pt x="385" y="67"/>
                </a:cubicBezTo>
                <a:cubicBezTo>
                  <a:pt x="384" y="68"/>
                  <a:pt x="384" y="68"/>
                  <a:pt x="384" y="68"/>
                </a:cubicBezTo>
                <a:cubicBezTo>
                  <a:pt x="384" y="70"/>
                  <a:pt x="384" y="70"/>
                  <a:pt x="384" y="70"/>
                </a:cubicBezTo>
                <a:cubicBezTo>
                  <a:pt x="385" y="72"/>
                  <a:pt x="385" y="72"/>
                  <a:pt x="385" y="72"/>
                </a:cubicBezTo>
                <a:cubicBezTo>
                  <a:pt x="385" y="73"/>
                  <a:pt x="385" y="73"/>
                  <a:pt x="385" y="73"/>
                </a:cubicBezTo>
                <a:cubicBezTo>
                  <a:pt x="385" y="74"/>
                  <a:pt x="385" y="74"/>
                  <a:pt x="385" y="74"/>
                </a:cubicBezTo>
                <a:cubicBezTo>
                  <a:pt x="384" y="72"/>
                  <a:pt x="384" y="72"/>
                  <a:pt x="384" y="72"/>
                </a:cubicBezTo>
                <a:cubicBezTo>
                  <a:pt x="383" y="72"/>
                  <a:pt x="383" y="72"/>
                  <a:pt x="383" y="72"/>
                </a:cubicBezTo>
                <a:cubicBezTo>
                  <a:pt x="382" y="74"/>
                  <a:pt x="382" y="74"/>
                  <a:pt x="382" y="74"/>
                </a:cubicBezTo>
                <a:cubicBezTo>
                  <a:pt x="382" y="76"/>
                  <a:pt x="382" y="76"/>
                  <a:pt x="382" y="76"/>
                </a:cubicBezTo>
                <a:cubicBezTo>
                  <a:pt x="383" y="76"/>
                  <a:pt x="383" y="76"/>
                  <a:pt x="383" y="76"/>
                </a:cubicBezTo>
                <a:cubicBezTo>
                  <a:pt x="384" y="76"/>
                  <a:pt x="384" y="76"/>
                  <a:pt x="384" y="76"/>
                </a:cubicBezTo>
                <a:cubicBezTo>
                  <a:pt x="385" y="76"/>
                  <a:pt x="385" y="76"/>
                  <a:pt x="385" y="76"/>
                </a:cubicBezTo>
                <a:cubicBezTo>
                  <a:pt x="385" y="77"/>
                  <a:pt x="385" y="77"/>
                  <a:pt x="385" y="77"/>
                </a:cubicBezTo>
                <a:cubicBezTo>
                  <a:pt x="386" y="77"/>
                  <a:pt x="386" y="77"/>
                  <a:pt x="386" y="77"/>
                </a:cubicBezTo>
                <a:cubicBezTo>
                  <a:pt x="385" y="78"/>
                  <a:pt x="385" y="78"/>
                  <a:pt x="385" y="78"/>
                </a:cubicBezTo>
                <a:cubicBezTo>
                  <a:pt x="385" y="78"/>
                  <a:pt x="385" y="78"/>
                  <a:pt x="385" y="78"/>
                </a:cubicBezTo>
                <a:cubicBezTo>
                  <a:pt x="384" y="77"/>
                  <a:pt x="384" y="77"/>
                  <a:pt x="384" y="77"/>
                </a:cubicBezTo>
                <a:cubicBezTo>
                  <a:pt x="382" y="77"/>
                  <a:pt x="382" y="77"/>
                  <a:pt x="382" y="77"/>
                </a:cubicBezTo>
                <a:cubicBezTo>
                  <a:pt x="382" y="79"/>
                  <a:pt x="382" y="79"/>
                  <a:pt x="382" y="79"/>
                </a:cubicBezTo>
                <a:cubicBezTo>
                  <a:pt x="382" y="80"/>
                  <a:pt x="382" y="80"/>
                  <a:pt x="382" y="80"/>
                </a:cubicBezTo>
                <a:cubicBezTo>
                  <a:pt x="383" y="80"/>
                  <a:pt x="383" y="80"/>
                  <a:pt x="383" y="80"/>
                </a:cubicBezTo>
                <a:cubicBezTo>
                  <a:pt x="383" y="81"/>
                  <a:pt x="383" y="81"/>
                  <a:pt x="383" y="81"/>
                </a:cubicBezTo>
                <a:cubicBezTo>
                  <a:pt x="383" y="83"/>
                  <a:pt x="383" y="83"/>
                  <a:pt x="383" y="83"/>
                </a:cubicBezTo>
                <a:cubicBezTo>
                  <a:pt x="383" y="83"/>
                  <a:pt x="383" y="83"/>
                  <a:pt x="383" y="83"/>
                </a:cubicBezTo>
                <a:cubicBezTo>
                  <a:pt x="384" y="83"/>
                  <a:pt x="384" y="83"/>
                  <a:pt x="384" y="83"/>
                </a:cubicBezTo>
                <a:cubicBezTo>
                  <a:pt x="384" y="85"/>
                  <a:pt x="384" y="85"/>
                  <a:pt x="384" y="85"/>
                </a:cubicBezTo>
                <a:cubicBezTo>
                  <a:pt x="386" y="85"/>
                  <a:pt x="386" y="85"/>
                  <a:pt x="386" y="85"/>
                </a:cubicBezTo>
                <a:cubicBezTo>
                  <a:pt x="389" y="87"/>
                  <a:pt x="389" y="87"/>
                  <a:pt x="389" y="87"/>
                </a:cubicBezTo>
                <a:cubicBezTo>
                  <a:pt x="390" y="87"/>
                  <a:pt x="390" y="87"/>
                  <a:pt x="390" y="87"/>
                </a:cubicBezTo>
                <a:cubicBezTo>
                  <a:pt x="390" y="86"/>
                  <a:pt x="390" y="86"/>
                  <a:pt x="390" y="86"/>
                </a:cubicBezTo>
                <a:cubicBezTo>
                  <a:pt x="390" y="84"/>
                  <a:pt x="390" y="84"/>
                  <a:pt x="390" y="84"/>
                </a:cubicBezTo>
                <a:cubicBezTo>
                  <a:pt x="392" y="85"/>
                  <a:pt x="392" y="85"/>
                  <a:pt x="392" y="85"/>
                </a:cubicBezTo>
                <a:cubicBezTo>
                  <a:pt x="392" y="86"/>
                  <a:pt x="392" y="86"/>
                  <a:pt x="392" y="86"/>
                </a:cubicBezTo>
                <a:cubicBezTo>
                  <a:pt x="392" y="87"/>
                  <a:pt x="392" y="87"/>
                  <a:pt x="392" y="87"/>
                </a:cubicBezTo>
                <a:cubicBezTo>
                  <a:pt x="392" y="88"/>
                  <a:pt x="392" y="88"/>
                  <a:pt x="392" y="88"/>
                </a:cubicBezTo>
                <a:cubicBezTo>
                  <a:pt x="392" y="88"/>
                  <a:pt x="392" y="88"/>
                  <a:pt x="392" y="88"/>
                </a:cubicBezTo>
                <a:cubicBezTo>
                  <a:pt x="393" y="85"/>
                  <a:pt x="393" y="85"/>
                  <a:pt x="393" y="85"/>
                </a:cubicBezTo>
                <a:cubicBezTo>
                  <a:pt x="393" y="82"/>
                  <a:pt x="393" y="82"/>
                  <a:pt x="393" y="82"/>
                </a:cubicBezTo>
                <a:cubicBezTo>
                  <a:pt x="394" y="81"/>
                  <a:pt x="394" y="81"/>
                  <a:pt x="394" y="81"/>
                </a:cubicBezTo>
                <a:cubicBezTo>
                  <a:pt x="395" y="79"/>
                  <a:pt x="395" y="79"/>
                  <a:pt x="395" y="79"/>
                </a:cubicBezTo>
                <a:cubicBezTo>
                  <a:pt x="396" y="78"/>
                  <a:pt x="396" y="78"/>
                  <a:pt x="396" y="78"/>
                </a:cubicBezTo>
                <a:cubicBezTo>
                  <a:pt x="396" y="79"/>
                  <a:pt x="396" y="79"/>
                  <a:pt x="396" y="79"/>
                </a:cubicBezTo>
                <a:cubicBezTo>
                  <a:pt x="394" y="82"/>
                  <a:pt x="394" y="82"/>
                  <a:pt x="394" y="82"/>
                </a:cubicBezTo>
                <a:cubicBezTo>
                  <a:pt x="394" y="83"/>
                  <a:pt x="394" y="83"/>
                  <a:pt x="394" y="83"/>
                </a:cubicBezTo>
                <a:cubicBezTo>
                  <a:pt x="394" y="85"/>
                  <a:pt x="394" y="85"/>
                  <a:pt x="394" y="85"/>
                </a:cubicBezTo>
                <a:cubicBezTo>
                  <a:pt x="394" y="87"/>
                  <a:pt x="394" y="87"/>
                  <a:pt x="394" y="87"/>
                </a:cubicBezTo>
                <a:cubicBezTo>
                  <a:pt x="395" y="88"/>
                  <a:pt x="395" y="88"/>
                  <a:pt x="395" y="88"/>
                </a:cubicBezTo>
                <a:cubicBezTo>
                  <a:pt x="394" y="89"/>
                  <a:pt x="394" y="89"/>
                  <a:pt x="394" y="89"/>
                </a:cubicBezTo>
                <a:cubicBezTo>
                  <a:pt x="395" y="89"/>
                  <a:pt x="395" y="89"/>
                  <a:pt x="395" y="89"/>
                </a:cubicBezTo>
                <a:close/>
                <a:moveTo>
                  <a:pt x="398" y="34"/>
                </a:moveTo>
                <a:cubicBezTo>
                  <a:pt x="398" y="34"/>
                  <a:pt x="398" y="34"/>
                  <a:pt x="398" y="34"/>
                </a:cubicBezTo>
                <a:cubicBezTo>
                  <a:pt x="399" y="34"/>
                  <a:pt x="399" y="34"/>
                  <a:pt x="399" y="34"/>
                </a:cubicBezTo>
                <a:cubicBezTo>
                  <a:pt x="399" y="34"/>
                  <a:pt x="399" y="34"/>
                  <a:pt x="399" y="34"/>
                </a:cubicBezTo>
                <a:cubicBezTo>
                  <a:pt x="400" y="34"/>
                  <a:pt x="400" y="34"/>
                  <a:pt x="400" y="34"/>
                </a:cubicBezTo>
                <a:cubicBezTo>
                  <a:pt x="400" y="35"/>
                  <a:pt x="400" y="35"/>
                  <a:pt x="400" y="35"/>
                </a:cubicBezTo>
                <a:cubicBezTo>
                  <a:pt x="400" y="35"/>
                  <a:pt x="400" y="35"/>
                  <a:pt x="400" y="35"/>
                </a:cubicBezTo>
                <a:cubicBezTo>
                  <a:pt x="399" y="35"/>
                  <a:pt x="399" y="35"/>
                  <a:pt x="399" y="35"/>
                </a:cubicBezTo>
                <a:cubicBezTo>
                  <a:pt x="398" y="34"/>
                  <a:pt x="398" y="34"/>
                  <a:pt x="398" y="34"/>
                </a:cubicBezTo>
                <a:cubicBezTo>
                  <a:pt x="398" y="34"/>
                  <a:pt x="398" y="34"/>
                  <a:pt x="398" y="34"/>
                </a:cubicBezTo>
                <a:close/>
                <a:moveTo>
                  <a:pt x="399" y="89"/>
                </a:moveTo>
                <a:cubicBezTo>
                  <a:pt x="399" y="88"/>
                  <a:pt x="399" y="88"/>
                  <a:pt x="399" y="88"/>
                </a:cubicBezTo>
                <a:cubicBezTo>
                  <a:pt x="400" y="87"/>
                  <a:pt x="400" y="87"/>
                  <a:pt x="400" y="87"/>
                </a:cubicBezTo>
                <a:cubicBezTo>
                  <a:pt x="400" y="86"/>
                  <a:pt x="400" y="86"/>
                  <a:pt x="400" y="86"/>
                </a:cubicBezTo>
                <a:cubicBezTo>
                  <a:pt x="401" y="86"/>
                  <a:pt x="401" y="86"/>
                  <a:pt x="401" y="86"/>
                </a:cubicBezTo>
                <a:cubicBezTo>
                  <a:pt x="401" y="86"/>
                  <a:pt x="401" y="86"/>
                  <a:pt x="401" y="86"/>
                </a:cubicBezTo>
                <a:cubicBezTo>
                  <a:pt x="401" y="87"/>
                  <a:pt x="401" y="87"/>
                  <a:pt x="401" y="87"/>
                </a:cubicBezTo>
                <a:cubicBezTo>
                  <a:pt x="400" y="87"/>
                  <a:pt x="400" y="87"/>
                  <a:pt x="400" y="87"/>
                </a:cubicBezTo>
                <a:cubicBezTo>
                  <a:pt x="399" y="89"/>
                  <a:pt x="399" y="89"/>
                  <a:pt x="399" y="89"/>
                </a:cubicBezTo>
                <a:cubicBezTo>
                  <a:pt x="399" y="89"/>
                  <a:pt x="399" y="89"/>
                  <a:pt x="399" y="89"/>
                </a:cubicBezTo>
                <a:close/>
                <a:moveTo>
                  <a:pt x="412" y="77"/>
                </a:moveTo>
                <a:cubicBezTo>
                  <a:pt x="413" y="75"/>
                  <a:pt x="413" y="75"/>
                  <a:pt x="413" y="75"/>
                </a:cubicBezTo>
                <a:cubicBezTo>
                  <a:pt x="414" y="75"/>
                  <a:pt x="414" y="75"/>
                  <a:pt x="414" y="75"/>
                </a:cubicBezTo>
                <a:cubicBezTo>
                  <a:pt x="415" y="74"/>
                  <a:pt x="415" y="74"/>
                  <a:pt x="415" y="74"/>
                </a:cubicBezTo>
                <a:cubicBezTo>
                  <a:pt x="416" y="75"/>
                  <a:pt x="416" y="75"/>
                  <a:pt x="416" y="75"/>
                </a:cubicBezTo>
                <a:cubicBezTo>
                  <a:pt x="418" y="76"/>
                  <a:pt x="418" y="76"/>
                  <a:pt x="418" y="76"/>
                </a:cubicBezTo>
                <a:cubicBezTo>
                  <a:pt x="417" y="77"/>
                  <a:pt x="417" y="77"/>
                  <a:pt x="417" y="77"/>
                </a:cubicBezTo>
                <a:cubicBezTo>
                  <a:pt x="415" y="76"/>
                  <a:pt x="415" y="76"/>
                  <a:pt x="415" y="76"/>
                </a:cubicBezTo>
                <a:cubicBezTo>
                  <a:pt x="414" y="77"/>
                  <a:pt x="414" y="77"/>
                  <a:pt x="414" y="77"/>
                </a:cubicBezTo>
                <a:cubicBezTo>
                  <a:pt x="413" y="78"/>
                  <a:pt x="413" y="78"/>
                  <a:pt x="413" y="78"/>
                </a:cubicBezTo>
                <a:cubicBezTo>
                  <a:pt x="412" y="77"/>
                  <a:pt x="412" y="77"/>
                  <a:pt x="412" y="77"/>
                </a:cubicBezTo>
                <a:cubicBezTo>
                  <a:pt x="412" y="77"/>
                  <a:pt x="412" y="77"/>
                  <a:pt x="412" y="77"/>
                </a:cubicBezTo>
                <a:close/>
                <a:moveTo>
                  <a:pt x="506" y="3"/>
                </a:moveTo>
                <a:cubicBezTo>
                  <a:pt x="507" y="2"/>
                  <a:pt x="507" y="2"/>
                  <a:pt x="507" y="2"/>
                </a:cubicBezTo>
                <a:cubicBezTo>
                  <a:pt x="507" y="2"/>
                  <a:pt x="507" y="2"/>
                  <a:pt x="507" y="2"/>
                </a:cubicBezTo>
                <a:cubicBezTo>
                  <a:pt x="508" y="3"/>
                  <a:pt x="508" y="3"/>
                  <a:pt x="508" y="3"/>
                </a:cubicBezTo>
                <a:cubicBezTo>
                  <a:pt x="507" y="3"/>
                  <a:pt x="507" y="3"/>
                  <a:pt x="507" y="3"/>
                </a:cubicBezTo>
                <a:cubicBezTo>
                  <a:pt x="506" y="3"/>
                  <a:pt x="506" y="3"/>
                  <a:pt x="506" y="3"/>
                </a:cubicBezTo>
                <a:close/>
                <a:moveTo>
                  <a:pt x="461" y="91"/>
                </a:moveTo>
                <a:cubicBezTo>
                  <a:pt x="460" y="92"/>
                  <a:pt x="460" y="92"/>
                  <a:pt x="460" y="92"/>
                </a:cubicBezTo>
                <a:cubicBezTo>
                  <a:pt x="461" y="93"/>
                  <a:pt x="461" y="93"/>
                  <a:pt x="461" y="93"/>
                </a:cubicBezTo>
                <a:cubicBezTo>
                  <a:pt x="462" y="93"/>
                  <a:pt x="462" y="93"/>
                  <a:pt x="462" y="93"/>
                </a:cubicBezTo>
                <a:cubicBezTo>
                  <a:pt x="462" y="92"/>
                  <a:pt x="462" y="92"/>
                  <a:pt x="462" y="92"/>
                </a:cubicBezTo>
                <a:cubicBezTo>
                  <a:pt x="461" y="91"/>
                  <a:pt x="461" y="91"/>
                  <a:pt x="461" y="91"/>
                </a:cubicBezTo>
                <a:cubicBezTo>
                  <a:pt x="461" y="91"/>
                  <a:pt x="461" y="91"/>
                  <a:pt x="461" y="91"/>
                </a:cubicBezTo>
                <a:close/>
                <a:moveTo>
                  <a:pt x="438" y="105"/>
                </a:moveTo>
                <a:cubicBezTo>
                  <a:pt x="439" y="106"/>
                  <a:pt x="439" y="106"/>
                  <a:pt x="439" y="106"/>
                </a:cubicBezTo>
                <a:cubicBezTo>
                  <a:pt x="440" y="106"/>
                  <a:pt x="440" y="106"/>
                  <a:pt x="440" y="106"/>
                </a:cubicBezTo>
                <a:cubicBezTo>
                  <a:pt x="439" y="105"/>
                  <a:pt x="439" y="105"/>
                  <a:pt x="439" y="105"/>
                </a:cubicBezTo>
                <a:cubicBezTo>
                  <a:pt x="438" y="105"/>
                  <a:pt x="438" y="105"/>
                  <a:pt x="438" y="105"/>
                </a:cubicBezTo>
                <a:close/>
                <a:moveTo>
                  <a:pt x="406" y="105"/>
                </a:moveTo>
                <a:cubicBezTo>
                  <a:pt x="406" y="103"/>
                  <a:pt x="406" y="103"/>
                  <a:pt x="406" y="103"/>
                </a:cubicBezTo>
                <a:cubicBezTo>
                  <a:pt x="406" y="103"/>
                  <a:pt x="406" y="103"/>
                  <a:pt x="406" y="103"/>
                </a:cubicBezTo>
                <a:cubicBezTo>
                  <a:pt x="406" y="102"/>
                  <a:pt x="406" y="102"/>
                  <a:pt x="406" y="102"/>
                </a:cubicBezTo>
                <a:cubicBezTo>
                  <a:pt x="407" y="103"/>
                  <a:pt x="407" y="103"/>
                  <a:pt x="407" y="103"/>
                </a:cubicBezTo>
                <a:cubicBezTo>
                  <a:pt x="407" y="104"/>
                  <a:pt x="407" y="104"/>
                  <a:pt x="407" y="104"/>
                </a:cubicBezTo>
                <a:cubicBezTo>
                  <a:pt x="407" y="105"/>
                  <a:pt x="407" y="105"/>
                  <a:pt x="407" y="105"/>
                </a:cubicBezTo>
                <a:cubicBezTo>
                  <a:pt x="406" y="105"/>
                  <a:pt x="406" y="105"/>
                  <a:pt x="406" y="105"/>
                </a:cubicBezTo>
                <a:close/>
                <a:moveTo>
                  <a:pt x="397" y="124"/>
                </a:moveTo>
                <a:cubicBezTo>
                  <a:pt x="397" y="123"/>
                  <a:pt x="397" y="123"/>
                  <a:pt x="397" y="123"/>
                </a:cubicBezTo>
                <a:cubicBezTo>
                  <a:pt x="397" y="122"/>
                  <a:pt x="397" y="122"/>
                  <a:pt x="397" y="122"/>
                </a:cubicBezTo>
                <a:cubicBezTo>
                  <a:pt x="397" y="120"/>
                  <a:pt x="397" y="120"/>
                  <a:pt x="397" y="120"/>
                </a:cubicBezTo>
                <a:cubicBezTo>
                  <a:pt x="396" y="120"/>
                  <a:pt x="396" y="120"/>
                  <a:pt x="396" y="120"/>
                </a:cubicBezTo>
                <a:cubicBezTo>
                  <a:pt x="396" y="120"/>
                  <a:pt x="396" y="120"/>
                  <a:pt x="396" y="120"/>
                </a:cubicBezTo>
                <a:cubicBezTo>
                  <a:pt x="395" y="122"/>
                  <a:pt x="395" y="122"/>
                  <a:pt x="395" y="122"/>
                </a:cubicBezTo>
                <a:cubicBezTo>
                  <a:pt x="396" y="124"/>
                  <a:pt x="396" y="124"/>
                  <a:pt x="396" y="124"/>
                </a:cubicBezTo>
                <a:cubicBezTo>
                  <a:pt x="397" y="125"/>
                  <a:pt x="397" y="125"/>
                  <a:pt x="397" y="125"/>
                </a:cubicBezTo>
                <a:cubicBezTo>
                  <a:pt x="396" y="126"/>
                  <a:pt x="396" y="126"/>
                  <a:pt x="396" y="126"/>
                </a:cubicBezTo>
                <a:cubicBezTo>
                  <a:pt x="396" y="126"/>
                  <a:pt x="396" y="126"/>
                  <a:pt x="396" y="126"/>
                </a:cubicBezTo>
                <a:cubicBezTo>
                  <a:pt x="395" y="126"/>
                  <a:pt x="395" y="126"/>
                  <a:pt x="395" y="126"/>
                </a:cubicBezTo>
                <a:cubicBezTo>
                  <a:pt x="393" y="126"/>
                  <a:pt x="393" y="126"/>
                  <a:pt x="393" y="126"/>
                </a:cubicBezTo>
                <a:cubicBezTo>
                  <a:pt x="392" y="125"/>
                  <a:pt x="392" y="125"/>
                  <a:pt x="392" y="125"/>
                </a:cubicBezTo>
                <a:cubicBezTo>
                  <a:pt x="392" y="125"/>
                  <a:pt x="392" y="125"/>
                  <a:pt x="392" y="125"/>
                </a:cubicBezTo>
                <a:cubicBezTo>
                  <a:pt x="390" y="124"/>
                  <a:pt x="390" y="124"/>
                  <a:pt x="390" y="124"/>
                </a:cubicBezTo>
                <a:cubicBezTo>
                  <a:pt x="389" y="124"/>
                  <a:pt x="389" y="124"/>
                  <a:pt x="389" y="124"/>
                </a:cubicBezTo>
                <a:cubicBezTo>
                  <a:pt x="389" y="123"/>
                  <a:pt x="389" y="123"/>
                  <a:pt x="389" y="123"/>
                </a:cubicBezTo>
                <a:cubicBezTo>
                  <a:pt x="388" y="123"/>
                  <a:pt x="388" y="123"/>
                  <a:pt x="388" y="123"/>
                </a:cubicBezTo>
                <a:cubicBezTo>
                  <a:pt x="388" y="123"/>
                  <a:pt x="388" y="123"/>
                  <a:pt x="388" y="123"/>
                </a:cubicBezTo>
                <a:cubicBezTo>
                  <a:pt x="388" y="122"/>
                  <a:pt x="388" y="122"/>
                  <a:pt x="388" y="122"/>
                </a:cubicBezTo>
                <a:cubicBezTo>
                  <a:pt x="388" y="121"/>
                  <a:pt x="388" y="121"/>
                  <a:pt x="388" y="121"/>
                </a:cubicBezTo>
                <a:cubicBezTo>
                  <a:pt x="389" y="121"/>
                  <a:pt x="389" y="121"/>
                  <a:pt x="389" y="121"/>
                </a:cubicBezTo>
                <a:cubicBezTo>
                  <a:pt x="389" y="120"/>
                  <a:pt x="389" y="120"/>
                  <a:pt x="389" y="120"/>
                </a:cubicBezTo>
                <a:cubicBezTo>
                  <a:pt x="389" y="119"/>
                  <a:pt x="389" y="119"/>
                  <a:pt x="389" y="119"/>
                </a:cubicBezTo>
                <a:cubicBezTo>
                  <a:pt x="389" y="117"/>
                  <a:pt x="389" y="117"/>
                  <a:pt x="389" y="117"/>
                </a:cubicBezTo>
                <a:cubicBezTo>
                  <a:pt x="388" y="117"/>
                  <a:pt x="388" y="117"/>
                  <a:pt x="388" y="117"/>
                </a:cubicBezTo>
                <a:cubicBezTo>
                  <a:pt x="388" y="118"/>
                  <a:pt x="388" y="118"/>
                  <a:pt x="388" y="118"/>
                </a:cubicBezTo>
                <a:cubicBezTo>
                  <a:pt x="389" y="119"/>
                  <a:pt x="389" y="119"/>
                  <a:pt x="389" y="119"/>
                </a:cubicBezTo>
                <a:cubicBezTo>
                  <a:pt x="389" y="120"/>
                  <a:pt x="389" y="120"/>
                  <a:pt x="389" y="120"/>
                </a:cubicBezTo>
                <a:cubicBezTo>
                  <a:pt x="388" y="120"/>
                  <a:pt x="388" y="120"/>
                  <a:pt x="388" y="120"/>
                </a:cubicBezTo>
                <a:cubicBezTo>
                  <a:pt x="387" y="120"/>
                  <a:pt x="387" y="120"/>
                  <a:pt x="387" y="120"/>
                </a:cubicBezTo>
                <a:cubicBezTo>
                  <a:pt x="387" y="121"/>
                  <a:pt x="387" y="121"/>
                  <a:pt x="387" y="121"/>
                </a:cubicBezTo>
                <a:cubicBezTo>
                  <a:pt x="387" y="121"/>
                  <a:pt x="387" y="121"/>
                  <a:pt x="387" y="121"/>
                </a:cubicBezTo>
                <a:cubicBezTo>
                  <a:pt x="387" y="122"/>
                  <a:pt x="387" y="122"/>
                  <a:pt x="387" y="122"/>
                </a:cubicBezTo>
                <a:cubicBezTo>
                  <a:pt x="387" y="122"/>
                  <a:pt x="387" y="122"/>
                  <a:pt x="387" y="122"/>
                </a:cubicBezTo>
                <a:cubicBezTo>
                  <a:pt x="386" y="122"/>
                  <a:pt x="386" y="122"/>
                  <a:pt x="386" y="122"/>
                </a:cubicBezTo>
                <a:cubicBezTo>
                  <a:pt x="385" y="121"/>
                  <a:pt x="385" y="121"/>
                  <a:pt x="385" y="121"/>
                </a:cubicBezTo>
                <a:cubicBezTo>
                  <a:pt x="385" y="120"/>
                  <a:pt x="385" y="120"/>
                  <a:pt x="385" y="120"/>
                </a:cubicBezTo>
                <a:cubicBezTo>
                  <a:pt x="385" y="119"/>
                  <a:pt x="385" y="119"/>
                  <a:pt x="385" y="119"/>
                </a:cubicBezTo>
                <a:cubicBezTo>
                  <a:pt x="386" y="118"/>
                  <a:pt x="386" y="118"/>
                  <a:pt x="386" y="118"/>
                </a:cubicBezTo>
                <a:cubicBezTo>
                  <a:pt x="385" y="117"/>
                  <a:pt x="385" y="117"/>
                  <a:pt x="385" y="117"/>
                </a:cubicBezTo>
                <a:cubicBezTo>
                  <a:pt x="385" y="117"/>
                  <a:pt x="385" y="117"/>
                  <a:pt x="385" y="117"/>
                </a:cubicBezTo>
                <a:cubicBezTo>
                  <a:pt x="385" y="117"/>
                  <a:pt x="385" y="117"/>
                  <a:pt x="385" y="117"/>
                </a:cubicBezTo>
                <a:cubicBezTo>
                  <a:pt x="385" y="118"/>
                  <a:pt x="385" y="118"/>
                  <a:pt x="385" y="118"/>
                </a:cubicBezTo>
                <a:cubicBezTo>
                  <a:pt x="384" y="119"/>
                  <a:pt x="384" y="119"/>
                  <a:pt x="384" y="119"/>
                </a:cubicBezTo>
                <a:cubicBezTo>
                  <a:pt x="384" y="120"/>
                  <a:pt x="384" y="120"/>
                  <a:pt x="384" y="120"/>
                </a:cubicBezTo>
                <a:cubicBezTo>
                  <a:pt x="384" y="121"/>
                  <a:pt x="384" y="121"/>
                  <a:pt x="384" y="121"/>
                </a:cubicBezTo>
                <a:cubicBezTo>
                  <a:pt x="383" y="121"/>
                  <a:pt x="383" y="121"/>
                  <a:pt x="383" y="121"/>
                </a:cubicBezTo>
                <a:cubicBezTo>
                  <a:pt x="382" y="120"/>
                  <a:pt x="382" y="120"/>
                  <a:pt x="382" y="120"/>
                </a:cubicBezTo>
                <a:cubicBezTo>
                  <a:pt x="381" y="120"/>
                  <a:pt x="381" y="120"/>
                  <a:pt x="381" y="120"/>
                </a:cubicBezTo>
                <a:cubicBezTo>
                  <a:pt x="381" y="119"/>
                  <a:pt x="381" y="119"/>
                  <a:pt x="381" y="119"/>
                </a:cubicBezTo>
                <a:cubicBezTo>
                  <a:pt x="381" y="118"/>
                  <a:pt x="381" y="118"/>
                  <a:pt x="381" y="118"/>
                </a:cubicBezTo>
                <a:cubicBezTo>
                  <a:pt x="382" y="117"/>
                  <a:pt x="382" y="117"/>
                  <a:pt x="382" y="117"/>
                </a:cubicBezTo>
                <a:cubicBezTo>
                  <a:pt x="382" y="116"/>
                  <a:pt x="382" y="116"/>
                  <a:pt x="382" y="116"/>
                </a:cubicBezTo>
                <a:cubicBezTo>
                  <a:pt x="382" y="115"/>
                  <a:pt x="382" y="115"/>
                  <a:pt x="382" y="115"/>
                </a:cubicBezTo>
                <a:cubicBezTo>
                  <a:pt x="383" y="113"/>
                  <a:pt x="383" y="113"/>
                  <a:pt x="383" y="113"/>
                </a:cubicBezTo>
                <a:cubicBezTo>
                  <a:pt x="382" y="113"/>
                  <a:pt x="382" y="113"/>
                  <a:pt x="382" y="113"/>
                </a:cubicBezTo>
                <a:cubicBezTo>
                  <a:pt x="382" y="114"/>
                  <a:pt x="382" y="114"/>
                  <a:pt x="382" y="114"/>
                </a:cubicBezTo>
                <a:cubicBezTo>
                  <a:pt x="381" y="116"/>
                  <a:pt x="381" y="116"/>
                  <a:pt x="381" y="116"/>
                </a:cubicBezTo>
                <a:cubicBezTo>
                  <a:pt x="381" y="118"/>
                  <a:pt x="381" y="118"/>
                  <a:pt x="381" y="118"/>
                </a:cubicBezTo>
                <a:cubicBezTo>
                  <a:pt x="380" y="119"/>
                  <a:pt x="380" y="119"/>
                  <a:pt x="380" y="119"/>
                </a:cubicBezTo>
                <a:cubicBezTo>
                  <a:pt x="380" y="119"/>
                  <a:pt x="380" y="119"/>
                  <a:pt x="380" y="119"/>
                </a:cubicBezTo>
                <a:cubicBezTo>
                  <a:pt x="380" y="117"/>
                  <a:pt x="380" y="117"/>
                  <a:pt x="380" y="117"/>
                </a:cubicBezTo>
                <a:cubicBezTo>
                  <a:pt x="380" y="117"/>
                  <a:pt x="380" y="117"/>
                  <a:pt x="380" y="117"/>
                </a:cubicBezTo>
                <a:cubicBezTo>
                  <a:pt x="380" y="117"/>
                  <a:pt x="380" y="117"/>
                  <a:pt x="380" y="117"/>
                </a:cubicBezTo>
                <a:cubicBezTo>
                  <a:pt x="379" y="119"/>
                  <a:pt x="379" y="119"/>
                  <a:pt x="379" y="119"/>
                </a:cubicBezTo>
                <a:cubicBezTo>
                  <a:pt x="378" y="119"/>
                  <a:pt x="378" y="119"/>
                  <a:pt x="378" y="119"/>
                </a:cubicBezTo>
                <a:cubicBezTo>
                  <a:pt x="378" y="118"/>
                  <a:pt x="378" y="118"/>
                  <a:pt x="378" y="118"/>
                </a:cubicBezTo>
                <a:cubicBezTo>
                  <a:pt x="378" y="116"/>
                  <a:pt x="378" y="116"/>
                  <a:pt x="378" y="116"/>
                </a:cubicBezTo>
                <a:cubicBezTo>
                  <a:pt x="377" y="116"/>
                  <a:pt x="377" y="116"/>
                  <a:pt x="377" y="116"/>
                </a:cubicBezTo>
                <a:cubicBezTo>
                  <a:pt x="377" y="115"/>
                  <a:pt x="377" y="115"/>
                  <a:pt x="377" y="115"/>
                </a:cubicBezTo>
                <a:cubicBezTo>
                  <a:pt x="379" y="114"/>
                  <a:pt x="379" y="114"/>
                  <a:pt x="379" y="114"/>
                </a:cubicBezTo>
                <a:cubicBezTo>
                  <a:pt x="379" y="113"/>
                  <a:pt x="379" y="113"/>
                  <a:pt x="379" y="113"/>
                </a:cubicBezTo>
                <a:cubicBezTo>
                  <a:pt x="379" y="112"/>
                  <a:pt x="379" y="112"/>
                  <a:pt x="379" y="112"/>
                </a:cubicBezTo>
                <a:cubicBezTo>
                  <a:pt x="379" y="111"/>
                  <a:pt x="379" y="111"/>
                  <a:pt x="379" y="111"/>
                </a:cubicBezTo>
                <a:cubicBezTo>
                  <a:pt x="380" y="111"/>
                  <a:pt x="380" y="111"/>
                  <a:pt x="380" y="111"/>
                </a:cubicBezTo>
                <a:cubicBezTo>
                  <a:pt x="381" y="110"/>
                  <a:pt x="381" y="110"/>
                  <a:pt x="381" y="110"/>
                </a:cubicBezTo>
                <a:cubicBezTo>
                  <a:pt x="382" y="110"/>
                  <a:pt x="382" y="110"/>
                  <a:pt x="382" y="110"/>
                </a:cubicBezTo>
                <a:cubicBezTo>
                  <a:pt x="384" y="110"/>
                  <a:pt x="384" y="110"/>
                  <a:pt x="384" y="110"/>
                </a:cubicBezTo>
                <a:cubicBezTo>
                  <a:pt x="384" y="109"/>
                  <a:pt x="384" y="109"/>
                  <a:pt x="384" y="109"/>
                </a:cubicBezTo>
                <a:cubicBezTo>
                  <a:pt x="385" y="108"/>
                  <a:pt x="385" y="108"/>
                  <a:pt x="385" y="108"/>
                </a:cubicBezTo>
                <a:cubicBezTo>
                  <a:pt x="386" y="108"/>
                  <a:pt x="386" y="108"/>
                  <a:pt x="386" y="108"/>
                </a:cubicBezTo>
                <a:cubicBezTo>
                  <a:pt x="386" y="107"/>
                  <a:pt x="386" y="107"/>
                  <a:pt x="386" y="107"/>
                </a:cubicBezTo>
                <a:cubicBezTo>
                  <a:pt x="387" y="107"/>
                  <a:pt x="387" y="107"/>
                  <a:pt x="387" y="107"/>
                </a:cubicBezTo>
                <a:cubicBezTo>
                  <a:pt x="388" y="107"/>
                  <a:pt x="388" y="107"/>
                  <a:pt x="388" y="107"/>
                </a:cubicBezTo>
                <a:cubicBezTo>
                  <a:pt x="389" y="108"/>
                  <a:pt x="389" y="108"/>
                  <a:pt x="389" y="108"/>
                </a:cubicBezTo>
                <a:cubicBezTo>
                  <a:pt x="391" y="108"/>
                  <a:pt x="391" y="108"/>
                  <a:pt x="391" y="108"/>
                </a:cubicBezTo>
                <a:cubicBezTo>
                  <a:pt x="392" y="107"/>
                  <a:pt x="392" y="107"/>
                  <a:pt x="392" y="107"/>
                </a:cubicBezTo>
                <a:cubicBezTo>
                  <a:pt x="393" y="107"/>
                  <a:pt x="393" y="107"/>
                  <a:pt x="393" y="107"/>
                </a:cubicBezTo>
                <a:cubicBezTo>
                  <a:pt x="394" y="109"/>
                  <a:pt x="394" y="109"/>
                  <a:pt x="394" y="109"/>
                </a:cubicBezTo>
                <a:cubicBezTo>
                  <a:pt x="395" y="109"/>
                  <a:pt x="395" y="109"/>
                  <a:pt x="395" y="109"/>
                </a:cubicBezTo>
                <a:cubicBezTo>
                  <a:pt x="395" y="108"/>
                  <a:pt x="395" y="108"/>
                  <a:pt x="395" y="108"/>
                </a:cubicBezTo>
                <a:cubicBezTo>
                  <a:pt x="395" y="108"/>
                  <a:pt x="395" y="108"/>
                  <a:pt x="395" y="108"/>
                </a:cubicBezTo>
                <a:cubicBezTo>
                  <a:pt x="397" y="109"/>
                  <a:pt x="397" y="109"/>
                  <a:pt x="397" y="109"/>
                </a:cubicBezTo>
                <a:cubicBezTo>
                  <a:pt x="397" y="108"/>
                  <a:pt x="397" y="108"/>
                  <a:pt x="397" y="108"/>
                </a:cubicBezTo>
                <a:cubicBezTo>
                  <a:pt x="398" y="109"/>
                  <a:pt x="398" y="109"/>
                  <a:pt x="398" y="109"/>
                </a:cubicBezTo>
                <a:cubicBezTo>
                  <a:pt x="399" y="108"/>
                  <a:pt x="399" y="108"/>
                  <a:pt x="399" y="108"/>
                </a:cubicBezTo>
                <a:cubicBezTo>
                  <a:pt x="398" y="108"/>
                  <a:pt x="398" y="108"/>
                  <a:pt x="398" y="108"/>
                </a:cubicBezTo>
                <a:cubicBezTo>
                  <a:pt x="397" y="108"/>
                  <a:pt x="397" y="108"/>
                  <a:pt x="397" y="108"/>
                </a:cubicBezTo>
                <a:cubicBezTo>
                  <a:pt x="397" y="107"/>
                  <a:pt x="397" y="107"/>
                  <a:pt x="397" y="107"/>
                </a:cubicBezTo>
                <a:cubicBezTo>
                  <a:pt x="396" y="107"/>
                  <a:pt x="396" y="107"/>
                  <a:pt x="396" y="107"/>
                </a:cubicBezTo>
                <a:cubicBezTo>
                  <a:pt x="396" y="107"/>
                  <a:pt x="396" y="107"/>
                  <a:pt x="396" y="107"/>
                </a:cubicBezTo>
                <a:cubicBezTo>
                  <a:pt x="397" y="106"/>
                  <a:pt x="397" y="106"/>
                  <a:pt x="397" y="106"/>
                </a:cubicBezTo>
                <a:cubicBezTo>
                  <a:pt x="397" y="105"/>
                  <a:pt x="397" y="105"/>
                  <a:pt x="397" y="105"/>
                </a:cubicBezTo>
                <a:cubicBezTo>
                  <a:pt x="396" y="105"/>
                  <a:pt x="396" y="105"/>
                  <a:pt x="396" y="105"/>
                </a:cubicBezTo>
                <a:cubicBezTo>
                  <a:pt x="396" y="105"/>
                  <a:pt x="396" y="105"/>
                  <a:pt x="396" y="105"/>
                </a:cubicBezTo>
                <a:cubicBezTo>
                  <a:pt x="397" y="105"/>
                  <a:pt x="397" y="105"/>
                  <a:pt x="397" y="105"/>
                </a:cubicBezTo>
                <a:cubicBezTo>
                  <a:pt x="398" y="104"/>
                  <a:pt x="398" y="104"/>
                  <a:pt x="398" y="104"/>
                </a:cubicBezTo>
                <a:cubicBezTo>
                  <a:pt x="396" y="104"/>
                  <a:pt x="396" y="104"/>
                  <a:pt x="396" y="104"/>
                </a:cubicBezTo>
                <a:cubicBezTo>
                  <a:pt x="396" y="104"/>
                  <a:pt x="396" y="104"/>
                  <a:pt x="396" y="104"/>
                </a:cubicBezTo>
                <a:cubicBezTo>
                  <a:pt x="395" y="104"/>
                  <a:pt x="395" y="104"/>
                  <a:pt x="395" y="104"/>
                </a:cubicBezTo>
                <a:cubicBezTo>
                  <a:pt x="395" y="103"/>
                  <a:pt x="395" y="103"/>
                  <a:pt x="395" y="103"/>
                </a:cubicBezTo>
                <a:cubicBezTo>
                  <a:pt x="395" y="103"/>
                  <a:pt x="395" y="103"/>
                  <a:pt x="395" y="103"/>
                </a:cubicBezTo>
                <a:cubicBezTo>
                  <a:pt x="396" y="102"/>
                  <a:pt x="396" y="102"/>
                  <a:pt x="396" y="102"/>
                </a:cubicBezTo>
                <a:cubicBezTo>
                  <a:pt x="396" y="101"/>
                  <a:pt x="396" y="101"/>
                  <a:pt x="396" y="101"/>
                </a:cubicBezTo>
                <a:cubicBezTo>
                  <a:pt x="395" y="101"/>
                  <a:pt x="395" y="101"/>
                  <a:pt x="395" y="101"/>
                </a:cubicBezTo>
                <a:cubicBezTo>
                  <a:pt x="395" y="100"/>
                  <a:pt x="395" y="100"/>
                  <a:pt x="395" y="100"/>
                </a:cubicBezTo>
                <a:cubicBezTo>
                  <a:pt x="395" y="98"/>
                  <a:pt x="395" y="98"/>
                  <a:pt x="395" y="98"/>
                </a:cubicBezTo>
                <a:cubicBezTo>
                  <a:pt x="395" y="97"/>
                  <a:pt x="395" y="97"/>
                  <a:pt x="395" y="97"/>
                </a:cubicBezTo>
                <a:cubicBezTo>
                  <a:pt x="395" y="96"/>
                  <a:pt x="395" y="96"/>
                  <a:pt x="395" y="96"/>
                </a:cubicBezTo>
                <a:cubicBezTo>
                  <a:pt x="395" y="95"/>
                  <a:pt x="395" y="95"/>
                  <a:pt x="395" y="95"/>
                </a:cubicBezTo>
                <a:cubicBezTo>
                  <a:pt x="396" y="95"/>
                  <a:pt x="396" y="95"/>
                  <a:pt x="396" y="95"/>
                </a:cubicBezTo>
                <a:cubicBezTo>
                  <a:pt x="397" y="95"/>
                  <a:pt x="397" y="95"/>
                  <a:pt x="397" y="95"/>
                </a:cubicBezTo>
                <a:cubicBezTo>
                  <a:pt x="399" y="95"/>
                  <a:pt x="399" y="95"/>
                  <a:pt x="399" y="95"/>
                </a:cubicBezTo>
                <a:cubicBezTo>
                  <a:pt x="399" y="95"/>
                  <a:pt x="399" y="95"/>
                  <a:pt x="399" y="95"/>
                </a:cubicBezTo>
                <a:cubicBezTo>
                  <a:pt x="401" y="95"/>
                  <a:pt x="401" y="95"/>
                  <a:pt x="401" y="95"/>
                </a:cubicBezTo>
                <a:cubicBezTo>
                  <a:pt x="402" y="95"/>
                  <a:pt x="402" y="95"/>
                  <a:pt x="402" y="95"/>
                </a:cubicBezTo>
                <a:cubicBezTo>
                  <a:pt x="403" y="97"/>
                  <a:pt x="403" y="97"/>
                  <a:pt x="403" y="97"/>
                </a:cubicBezTo>
                <a:cubicBezTo>
                  <a:pt x="404" y="99"/>
                  <a:pt x="404" y="99"/>
                  <a:pt x="404" y="99"/>
                </a:cubicBezTo>
                <a:cubicBezTo>
                  <a:pt x="404" y="103"/>
                  <a:pt x="404" y="103"/>
                  <a:pt x="404" y="103"/>
                </a:cubicBezTo>
                <a:cubicBezTo>
                  <a:pt x="403" y="104"/>
                  <a:pt x="403" y="104"/>
                  <a:pt x="403" y="104"/>
                </a:cubicBezTo>
                <a:cubicBezTo>
                  <a:pt x="404" y="105"/>
                  <a:pt x="404" y="105"/>
                  <a:pt x="404" y="105"/>
                </a:cubicBezTo>
                <a:cubicBezTo>
                  <a:pt x="404" y="105"/>
                  <a:pt x="404" y="105"/>
                  <a:pt x="404" y="105"/>
                </a:cubicBezTo>
                <a:cubicBezTo>
                  <a:pt x="407" y="106"/>
                  <a:pt x="407" y="106"/>
                  <a:pt x="407" y="106"/>
                </a:cubicBezTo>
                <a:cubicBezTo>
                  <a:pt x="407" y="107"/>
                  <a:pt x="407" y="107"/>
                  <a:pt x="407" y="107"/>
                </a:cubicBezTo>
                <a:cubicBezTo>
                  <a:pt x="408" y="107"/>
                  <a:pt x="408" y="107"/>
                  <a:pt x="408" y="107"/>
                </a:cubicBezTo>
                <a:cubicBezTo>
                  <a:pt x="408" y="107"/>
                  <a:pt x="408" y="107"/>
                  <a:pt x="408" y="107"/>
                </a:cubicBezTo>
                <a:cubicBezTo>
                  <a:pt x="411" y="107"/>
                  <a:pt x="411" y="107"/>
                  <a:pt x="411" y="107"/>
                </a:cubicBezTo>
                <a:cubicBezTo>
                  <a:pt x="412" y="108"/>
                  <a:pt x="412" y="108"/>
                  <a:pt x="412" y="108"/>
                </a:cubicBezTo>
                <a:cubicBezTo>
                  <a:pt x="413" y="108"/>
                  <a:pt x="413" y="108"/>
                  <a:pt x="413" y="108"/>
                </a:cubicBezTo>
                <a:cubicBezTo>
                  <a:pt x="412" y="107"/>
                  <a:pt x="412" y="107"/>
                  <a:pt x="412" y="107"/>
                </a:cubicBezTo>
                <a:cubicBezTo>
                  <a:pt x="413" y="106"/>
                  <a:pt x="413" y="106"/>
                  <a:pt x="413" y="106"/>
                </a:cubicBezTo>
                <a:cubicBezTo>
                  <a:pt x="415" y="105"/>
                  <a:pt x="415" y="105"/>
                  <a:pt x="415" y="105"/>
                </a:cubicBezTo>
                <a:cubicBezTo>
                  <a:pt x="416" y="103"/>
                  <a:pt x="416" y="103"/>
                  <a:pt x="416" y="103"/>
                </a:cubicBezTo>
                <a:cubicBezTo>
                  <a:pt x="419" y="102"/>
                  <a:pt x="419" y="102"/>
                  <a:pt x="419" y="102"/>
                </a:cubicBezTo>
                <a:cubicBezTo>
                  <a:pt x="421" y="100"/>
                  <a:pt x="421" y="100"/>
                  <a:pt x="421" y="100"/>
                </a:cubicBezTo>
                <a:cubicBezTo>
                  <a:pt x="421" y="99"/>
                  <a:pt x="421" y="99"/>
                  <a:pt x="421" y="99"/>
                </a:cubicBezTo>
                <a:cubicBezTo>
                  <a:pt x="422" y="98"/>
                  <a:pt x="422" y="98"/>
                  <a:pt x="422" y="98"/>
                </a:cubicBezTo>
                <a:cubicBezTo>
                  <a:pt x="421" y="98"/>
                  <a:pt x="421" y="98"/>
                  <a:pt x="421" y="98"/>
                </a:cubicBezTo>
                <a:cubicBezTo>
                  <a:pt x="420" y="99"/>
                  <a:pt x="420" y="99"/>
                  <a:pt x="420" y="99"/>
                </a:cubicBezTo>
                <a:cubicBezTo>
                  <a:pt x="420" y="100"/>
                  <a:pt x="420" y="100"/>
                  <a:pt x="420" y="100"/>
                </a:cubicBezTo>
                <a:cubicBezTo>
                  <a:pt x="418" y="102"/>
                  <a:pt x="418" y="102"/>
                  <a:pt x="418" y="102"/>
                </a:cubicBezTo>
                <a:cubicBezTo>
                  <a:pt x="417" y="103"/>
                  <a:pt x="417" y="103"/>
                  <a:pt x="417" y="103"/>
                </a:cubicBezTo>
                <a:cubicBezTo>
                  <a:pt x="417" y="103"/>
                  <a:pt x="417" y="103"/>
                  <a:pt x="417" y="103"/>
                </a:cubicBezTo>
                <a:cubicBezTo>
                  <a:pt x="415" y="105"/>
                  <a:pt x="415" y="105"/>
                  <a:pt x="415" y="105"/>
                </a:cubicBezTo>
                <a:cubicBezTo>
                  <a:pt x="413" y="105"/>
                  <a:pt x="413" y="105"/>
                  <a:pt x="413" y="105"/>
                </a:cubicBezTo>
                <a:cubicBezTo>
                  <a:pt x="412" y="105"/>
                  <a:pt x="412" y="105"/>
                  <a:pt x="412" y="105"/>
                </a:cubicBezTo>
                <a:cubicBezTo>
                  <a:pt x="411" y="105"/>
                  <a:pt x="411" y="105"/>
                  <a:pt x="411" y="105"/>
                </a:cubicBezTo>
                <a:cubicBezTo>
                  <a:pt x="411" y="105"/>
                  <a:pt x="411" y="105"/>
                  <a:pt x="411" y="105"/>
                </a:cubicBezTo>
                <a:cubicBezTo>
                  <a:pt x="410" y="105"/>
                  <a:pt x="410" y="105"/>
                  <a:pt x="410" y="105"/>
                </a:cubicBezTo>
                <a:cubicBezTo>
                  <a:pt x="408" y="104"/>
                  <a:pt x="408" y="104"/>
                  <a:pt x="408" y="104"/>
                </a:cubicBezTo>
                <a:cubicBezTo>
                  <a:pt x="408" y="103"/>
                  <a:pt x="408" y="103"/>
                  <a:pt x="408" y="103"/>
                </a:cubicBezTo>
                <a:cubicBezTo>
                  <a:pt x="409" y="103"/>
                  <a:pt x="409" y="103"/>
                  <a:pt x="409" y="103"/>
                </a:cubicBezTo>
                <a:cubicBezTo>
                  <a:pt x="410" y="102"/>
                  <a:pt x="410" y="102"/>
                  <a:pt x="410" y="102"/>
                </a:cubicBezTo>
                <a:cubicBezTo>
                  <a:pt x="410" y="101"/>
                  <a:pt x="410" y="101"/>
                  <a:pt x="410" y="101"/>
                </a:cubicBezTo>
                <a:cubicBezTo>
                  <a:pt x="409" y="102"/>
                  <a:pt x="409" y="102"/>
                  <a:pt x="409" y="102"/>
                </a:cubicBezTo>
                <a:cubicBezTo>
                  <a:pt x="408" y="103"/>
                  <a:pt x="408" y="103"/>
                  <a:pt x="408" y="103"/>
                </a:cubicBezTo>
                <a:cubicBezTo>
                  <a:pt x="407" y="102"/>
                  <a:pt x="407" y="102"/>
                  <a:pt x="407" y="102"/>
                </a:cubicBezTo>
                <a:cubicBezTo>
                  <a:pt x="407" y="101"/>
                  <a:pt x="407" y="101"/>
                  <a:pt x="407" y="101"/>
                </a:cubicBezTo>
                <a:cubicBezTo>
                  <a:pt x="407" y="100"/>
                  <a:pt x="407" y="100"/>
                  <a:pt x="407" y="100"/>
                </a:cubicBezTo>
                <a:cubicBezTo>
                  <a:pt x="407" y="100"/>
                  <a:pt x="407" y="100"/>
                  <a:pt x="407" y="100"/>
                </a:cubicBezTo>
                <a:cubicBezTo>
                  <a:pt x="409" y="100"/>
                  <a:pt x="409" y="100"/>
                  <a:pt x="409" y="100"/>
                </a:cubicBezTo>
                <a:cubicBezTo>
                  <a:pt x="409" y="99"/>
                  <a:pt x="409" y="99"/>
                  <a:pt x="409" y="99"/>
                </a:cubicBezTo>
                <a:cubicBezTo>
                  <a:pt x="408" y="99"/>
                  <a:pt x="408" y="99"/>
                  <a:pt x="408" y="99"/>
                </a:cubicBezTo>
                <a:cubicBezTo>
                  <a:pt x="408" y="99"/>
                  <a:pt x="408" y="99"/>
                  <a:pt x="408" y="99"/>
                </a:cubicBezTo>
                <a:cubicBezTo>
                  <a:pt x="408" y="98"/>
                  <a:pt x="408" y="98"/>
                  <a:pt x="408" y="98"/>
                </a:cubicBezTo>
                <a:cubicBezTo>
                  <a:pt x="409" y="99"/>
                  <a:pt x="409" y="99"/>
                  <a:pt x="409" y="99"/>
                </a:cubicBezTo>
                <a:cubicBezTo>
                  <a:pt x="410" y="99"/>
                  <a:pt x="410" y="99"/>
                  <a:pt x="410" y="99"/>
                </a:cubicBezTo>
                <a:cubicBezTo>
                  <a:pt x="410" y="98"/>
                  <a:pt x="410" y="98"/>
                  <a:pt x="410" y="98"/>
                </a:cubicBezTo>
                <a:cubicBezTo>
                  <a:pt x="409" y="98"/>
                  <a:pt x="409" y="98"/>
                  <a:pt x="409" y="98"/>
                </a:cubicBezTo>
                <a:cubicBezTo>
                  <a:pt x="408" y="97"/>
                  <a:pt x="408" y="97"/>
                  <a:pt x="408" y="97"/>
                </a:cubicBezTo>
                <a:cubicBezTo>
                  <a:pt x="408" y="98"/>
                  <a:pt x="408" y="98"/>
                  <a:pt x="408" y="98"/>
                </a:cubicBezTo>
                <a:cubicBezTo>
                  <a:pt x="407" y="98"/>
                  <a:pt x="407" y="98"/>
                  <a:pt x="407" y="98"/>
                </a:cubicBezTo>
                <a:cubicBezTo>
                  <a:pt x="406" y="97"/>
                  <a:pt x="406" y="97"/>
                  <a:pt x="406" y="97"/>
                </a:cubicBezTo>
                <a:cubicBezTo>
                  <a:pt x="407" y="96"/>
                  <a:pt x="407" y="96"/>
                  <a:pt x="407" y="96"/>
                </a:cubicBezTo>
                <a:cubicBezTo>
                  <a:pt x="408" y="96"/>
                  <a:pt x="408" y="96"/>
                  <a:pt x="408" y="96"/>
                </a:cubicBezTo>
                <a:cubicBezTo>
                  <a:pt x="409" y="95"/>
                  <a:pt x="409" y="95"/>
                  <a:pt x="409" y="95"/>
                </a:cubicBezTo>
                <a:cubicBezTo>
                  <a:pt x="410" y="96"/>
                  <a:pt x="410" y="96"/>
                  <a:pt x="410" y="96"/>
                </a:cubicBezTo>
                <a:cubicBezTo>
                  <a:pt x="411" y="96"/>
                  <a:pt x="411" y="96"/>
                  <a:pt x="411" y="96"/>
                </a:cubicBezTo>
                <a:cubicBezTo>
                  <a:pt x="412" y="95"/>
                  <a:pt x="412" y="95"/>
                  <a:pt x="412" y="95"/>
                </a:cubicBezTo>
                <a:cubicBezTo>
                  <a:pt x="411" y="95"/>
                  <a:pt x="411" y="95"/>
                  <a:pt x="411" y="95"/>
                </a:cubicBezTo>
                <a:cubicBezTo>
                  <a:pt x="411" y="95"/>
                  <a:pt x="411" y="95"/>
                  <a:pt x="411" y="95"/>
                </a:cubicBezTo>
                <a:cubicBezTo>
                  <a:pt x="412" y="94"/>
                  <a:pt x="412" y="94"/>
                  <a:pt x="412" y="94"/>
                </a:cubicBezTo>
                <a:cubicBezTo>
                  <a:pt x="413" y="94"/>
                  <a:pt x="413" y="94"/>
                  <a:pt x="413" y="94"/>
                </a:cubicBezTo>
                <a:cubicBezTo>
                  <a:pt x="413" y="93"/>
                  <a:pt x="413" y="93"/>
                  <a:pt x="413" y="93"/>
                </a:cubicBezTo>
                <a:cubicBezTo>
                  <a:pt x="412" y="93"/>
                  <a:pt x="412" y="93"/>
                  <a:pt x="412" y="93"/>
                </a:cubicBezTo>
                <a:cubicBezTo>
                  <a:pt x="412" y="92"/>
                  <a:pt x="412" y="92"/>
                  <a:pt x="412" y="92"/>
                </a:cubicBezTo>
                <a:cubicBezTo>
                  <a:pt x="413" y="91"/>
                  <a:pt x="413" y="91"/>
                  <a:pt x="413" y="91"/>
                </a:cubicBezTo>
                <a:cubicBezTo>
                  <a:pt x="414" y="91"/>
                  <a:pt x="414" y="91"/>
                  <a:pt x="414" y="91"/>
                </a:cubicBezTo>
                <a:cubicBezTo>
                  <a:pt x="413" y="90"/>
                  <a:pt x="413" y="90"/>
                  <a:pt x="413" y="90"/>
                </a:cubicBezTo>
                <a:cubicBezTo>
                  <a:pt x="415" y="88"/>
                  <a:pt x="415" y="88"/>
                  <a:pt x="415" y="88"/>
                </a:cubicBezTo>
                <a:cubicBezTo>
                  <a:pt x="416" y="87"/>
                  <a:pt x="416" y="87"/>
                  <a:pt x="416" y="87"/>
                </a:cubicBezTo>
                <a:cubicBezTo>
                  <a:pt x="416" y="86"/>
                  <a:pt x="416" y="86"/>
                  <a:pt x="416" y="86"/>
                </a:cubicBezTo>
                <a:cubicBezTo>
                  <a:pt x="415" y="87"/>
                  <a:pt x="415" y="87"/>
                  <a:pt x="415" y="87"/>
                </a:cubicBezTo>
                <a:cubicBezTo>
                  <a:pt x="413" y="89"/>
                  <a:pt x="413" y="89"/>
                  <a:pt x="413" y="89"/>
                </a:cubicBezTo>
                <a:cubicBezTo>
                  <a:pt x="412" y="91"/>
                  <a:pt x="412" y="91"/>
                  <a:pt x="412" y="91"/>
                </a:cubicBezTo>
                <a:cubicBezTo>
                  <a:pt x="410" y="93"/>
                  <a:pt x="410" y="93"/>
                  <a:pt x="410" y="93"/>
                </a:cubicBezTo>
                <a:cubicBezTo>
                  <a:pt x="409" y="94"/>
                  <a:pt x="409" y="94"/>
                  <a:pt x="409" y="94"/>
                </a:cubicBezTo>
                <a:cubicBezTo>
                  <a:pt x="408" y="94"/>
                  <a:pt x="408" y="94"/>
                  <a:pt x="408" y="94"/>
                </a:cubicBezTo>
                <a:cubicBezTo>
                  <a:pt x="406" y="94"/>
                  <a:pt x="406" y="94"/>
                  <a:pt x="406" y="94"/>
                </a:cubicBezTo>
                <a:cubicBezTo>
                  <a:pt x="406" y="93"/>
                  <a:pt x="406" y="93"/>
                  <a:pt x="406" y="93"/>
                </a:cubicBezTo>
                <a:cubicBezTo>
                  <a:pt x="407" y="92"/>
                  <a:pt x="407" y="92"/>
                  <a:pt x="407" y="92"/>
                </a:cubicBezTo>
                <a:cubicBezTo>
                  <a:pt x="408" y="91"/>
                  <a:pt x="408" y="91"/>
                  <a:pt x="408" y="91"/>
                </a:cubicBezTo>
                <a:cubicBezTo>
                  <a:pt x="408" y="90"/>
                  <a:pt x="408" y="90"/>
                  <a:pt x="408" y="90"/>
                </a:cubicBezTo>
                <a:cubicBezTo>
                  <a:pt x="406" y="91"/>
                  <a:pt x="406" y="91"/>
                  <a:pt x="406" y="91"/>
                </a:cubicBezTo>
                <a:cubicBezTo>
                  <a:pt x="405" y="91"/>
                  <a:pt x="405" y="91"/>
                  <a:pt x="405" y="91"/>
                </a:cubicBezTo>
                <a:cubicBezTo>
                  <a:pt x="405" y="92"/>
                  <a:pt x="405" y="92"/>
                  <a:pt x="405" y="92"/>
                </a:cubicBezTo>
                <a:cubicBezTo>
                  <a:pt x="404" y="93"/>
                  <a:pt x="404" y="93"/>
                  <a:pt x="404" y="93"/>
                </a:cubicBezTo>
                <a:cubicBezTo>
                  <a:pt x="402" y="93"/>
                  <a:pt x="402" y="93"/>
                  <a:pt x="402" y="93"/>
                </a:cubicBezTo>
                <a:cubicBezTo>
                  <a:pt x="400" y="91"/>
                  <a:pt x="400" y="91"/>
                  <a:pt x="400" y="91"/>
                </a:cubicBezTo>
                <a:cubicBezTo>
                  <a:pt x="401" y="91"/>
                  <a:pt x="401" y="91"/>
                  <a:pt x="401" y="91"/>
                </a:cubicBezTo>
                <a:cubicBezTo>
                  <a:pt x="402" y="90"/>
                  <a:pt x="402" y="90"/>
                  <a:pt x="402" y="90"/>
                </a:cubicBezTo>
                <a:cubicBezTo>
                  <a:pt x="402" y="90"/>
                  <a:pt x="402" y="90"/>
                  <a:pt x="402" y="90"/>
                </a:cubicBezTo>
                <a:cubicBezTo>
                  <a:pt x="401" y="90"/>
                  <a:pt x="401" y="90"/>
                  <a:pt x="401" y="90"/>
                </a:cubicBezTo>
                <a:cubicBezTo>
                  <a:pt x="401" y="88"/>
                  <a:pt x="401" y="88"/>
                  <a:pt x="401" y="88"/>
                </a:cubicBezTo>
                <a:cubicBezTo>
                  <a:pt x="403" y="87"/>
                  <a:pt x="403" y="87"/>
                  <a:pt x="403" y="87"/>
                </a:cubicBezTo>
                <a:cubicBezTo>
                  <a:pt x="403" y="86"/>
                  <a:pt x="403" y="86"/>
                  <a:pt x="403" y="86"/>
                </a:cubicBezTo>
                <a:cubicBezTo>
                  <a:pt x="404" y="86"/>
                  <a:pt x="404" y="86"/>
                  <a:pt x="404" y="86"/>
                </a:cubicBezTo>
                <a:cubicBezTo>
                  <a:pt x="406" y="85"/>
                  <a:pt x="406" y="85"/>
                  <a:pt x="406" y="85"/>
                </a:cubicBezTo>
                <a:cubicBezTo>
                  <a:pt x="407" y="85"/>
                  <a:pt x="407" y="85"/>
                  <a:pt x="407" y="85"/>
                </a:cubicBezTo>
                <a:cubicBezTo>
                  <a:pt x="407" y="83"/>
                  <a:pt x="407" y="83"/>
                  <a:pt x="407" y="83"/>
                </a:cubicBezTo>
                <a:cubicBezTo>
                  <a:pt x="408" y="82"/>
                  <a:pt x="408" y="82"/>
                  <a:pt x="408" y="82"/>
                </a:cubicBezTo>
                <a:cubicBezTo>
                  <a:pt x="409" y="80"/>
                  <a:pt x="409" y="80"/>
                  <a:pt x="409" y="80"/>
                </a:cubicBezTo>
                <a:cubicBezTo>
                  <a:pt x="410" y="80"/>
                  <a:pt x="410" y="80"/>
                  <a:pt x="410" y="80"/>
                </a:cubicBezTo>
                <a:cubicBezTo>
                  <a:pt x="413" y="79"/>
                  <a:pt x="413" y="79"/>
                  <a:pt x="413" y="79"/>
                </a:cubicBezTo>
                <a:cubicBezTo>
                  <a:pt x="415" y="80"/>
                  <a:pt x="415" y="80"/>
                  <a:pt x="415" y="80"/>
                </a:cubicBezTo>
                <a:cubicBezTo>
                  <a:pt x="416" y="79"/>
                  <a:pt x="416" y="79"/>
                  <a:pt x="416" y="79"/>
                </a:cubicBezTo>
                <a:cubicBezTo>
                  <a:pt x="417" y="79"/>
                  <a:pt x="417" y="79"/>
                  <a:pt x="417" y="79"/>
                </a:cubicBezTo>
                <a:cubicBezTo>
                  <a:pt x="418" y="78"/>
                  <a:pt x="418" y="78"/>
                  <a:pt x="418" y="78"/>
                </a:cubicBezTo>
                <a:cubicBezTo>
                  <a:pt x="419" y="78"/>
                  <a:pt x="419" y="78"/>
                  <a:pt x="419" y="78"/>
                </a:cubicBezTo>
                <a:cubicBezTo>
                  <a:pt x="419" y="79"/>
                  <a:pt x="419" y="79"/>
                  <a:pt x="419" y="79"/>
                </a:cubicBezTo>
                <a:cubicBezTo>
                  <a:pt x="421" y="80"/>
                  <a:pt x="421" y="80"/>
                  <a:pt x="421" y="80"/>
                </a:cubicBezTo>
                <a:cubicBezTo>
                  <a:pt x="421" y="80"/>
                  <a:pt x="421" y="80"/>
                  <a:pt x="421" y="80"/>
                </a:cubicBezTo>
                <a:cubicBezTo>
                  <a:pt x="424" y="82"/>
                  <a:pt x="424" y="82"/>
                  <a:pt x="424" y="82"/>
                </a:cubicBezTo>
                <a:cubicBezTo>
                  <a:pt x="425" y="83"/>
                  <a:pt x="425" y="83"/>
                  <a:pt x="425" y="83"/>
                </a:cubicBezTo>
                <a:cubicBezTo>
                  <a:pt x="425" y="84"/>
                  <a:pt x="425" y="84"/>
                  <a:pt x="425" y="84"/>
                </a:cubicBezTo>
                <a:cubicBezTo>
                  <a:pt x="426" y="84"/>
                  <a:pt x="426" y="84"/>
                  <a:pt x="426" y="84"/>
                </a:cubicBezTo>
                <a:cubicBezTo>
                  <a:pt x="428" y="87"/>
                  <a:pt x="428" y="87"/>
                  <a:pt x="428" y="87"/>
                </a:cubicBezTo>
                <a:cubicBezTo>
                  <a:pt x="428" y="85"/>
                  <a:pt x="428" y="85"/>
                  <a:pt x="428" y="85"/>
                </a:cubicBezTo>
                <a:cubicBezTo>
                  <a:pt x="429" y="85"/>
                  <a:pt x="429" y="85"/>
                  <a:pt x="429" y="85"/>
                </a:cubicBezTo>
                <a:cubicBezTo>
                  <a:pt x="429" y="84"/>
                  <a:pt x="429" y="84"/>
                  <a:pt x="429" y="84"/>
                </a:cubicBezTo>
                <a:cubicBezTo>
                  <a:pt x="427" y="84"/>
                  <a:pt x="427" y="84"/>
                  <a:pt x="427" y="84"/>
                </a:cubicBezTo>
                <a:cubicBezTo>
                  <a:pt x="427" y="84"/>
                  <a:pt x="427" y="84"/>
                  <a:pt x="427" y="84"/>
                </a:cubicBezTo>
                <a:cubicBezTo>
                  <a:pt x="427" y="83"/>
                  <a:pt x="427" y="83"/>
                  <a:pt x="427" y="83"/>
                </a:cubicBezTo>
                <a:cubicBezTo>
                  <a:pt x="428" y="82"/>
                  <a:pt x="428" y="82"/>
                  <a:pt x="428" y="82"/>
                </a:cubicBezTo>
                <a:cubicBezTo>
                  <a:pt x="430" y="82"/>
                  <a:pt x="430" y="82"/>
                  <a:pt x="430" y="82"/>
                </a:cubicBezTo>
                <a:cubicBezTo>
                  <a:pt x="432" y="83"/>
                  <a:pt x="432" y="83"/>
                  <a:pt x="432" y="83"/>
                </a:cubicBezTo>
                <a:cubicBezTo>
                  <a:pt x="432" y="82"/>
                  <a:pt x="432" y="82"/>
                  <a:pt x="432" y="82"/>
                </a:cubicBezTo>
                <a:cubicBezTo>
                  <a:pt x="432" y="81"/>
                  <a:pt x="432" y="81"/>
                  <a:pt x="432" y="81"/>
                </a:cubicBezTo>
                <a:cubicBezTo>
                  <a:pt x="433" y="80"/>
                  <a:pt x="433" y="80"/>
                  <a:pt x="433" y="80"/>
                </a:cubicBezTo>
                <a:cubicBezTo>
                  <a:pt x="433" y="79"/>
                  <a:pt x="433" y="79"/>
                  <a:pt x="433" y="79"/>
                </a:cubicBezTo>
                <a:cubicBezTo>
                  <a:pt x="432" y="79"/>
                  <a:pt x="432" y="79"/>
                  <a:pt x="432" y="79"/>
                </a:cubicBezTo>
                <a:cubicBezTo>
                  <a:pt x="432" y="80"/>
                  <a:pt x="432" y="80"/>
                  <a:pt x="432" y="80"/>
                </a:cubicBezTo>
                <a:cubicBezTo>
                  <a:pt x="430" y="81"/>
                  <a:pt x="430" y="81"/>
                  <a:pt x="430" y="81"/>
                </a:cubicBezTo>
                <a:cubicBezTo>
                  <a:pt x="430" y="82"/>
                  <a:pt x="430" y="82"/>
                  <a:pt x="430" y="82"/>
                </a:cubicBezTo>
                <a:cubicBezTo>
                  <a:pt x="427" y="81"/>
                  <a:pt x="427" y="81"/>
                  <a:pt x="427" y="81"/>
                </a:cubicBezTo>
                <a:cubicBezTo>
                  <a:pt x="425" y="81"/>
                  <a:pt x="425" y="81"/>
                  <a:pt x="425" y="81"/>
                </a:cubicBezTo>
                <a:cubicBezTo>
                  <a:pt x="425" y="80"/>
                  <a:pt x="425" y="80"/>
                  <a:pt x="425" y="80"/>
                </a:cubicBezTo>
                <a:cubicBezTo>
                  <a:pt x="424" y="80"/>
                  <a:pt x="424" y="80"/>
                  <a:pt x="424" y="80"/>
                </a:cubicBezTo>
                <a:cubicBezTo>
                  <a:pt x="422" y="80"/>
                  <a:pt x="422" y="80"/>
                  <a:pt x="422" y="80"/>
                </a:cubicBezTo>
                <a:cubicBezTo>
                  <a:pt x="420" y="77"/>
                  <a:pt x="420" y="77"/>
                  <a:pt x="420" y="77"/>
                </a:cubicBezTo>
                <a:cubicBezTo>
                  <a:pt x="420" y="75"/>
                  <a:pt x="420" y="75"/>
                  <a:pt x="420" y="75"/>
                </a:cubicBezTo>
                <a:cubicBezTo>
                  <a:pt x="421" y="74"/>
                  <a:pt x="421" y="74"/>
                  <a:pt x="421" y="74"/>
                </a:cubicBezTo>
                <a:cubicBezTo>
                  <a:pt x="422" y="75"/>
                  <a:pt x="422" y="75"/>
                  <a:pt x="422" y="75"/>
                </a:cubicBezTo>
                <a:cubicBezTo>
                  <a:pt x="422" y="76"/>
                  <a:pt x="422" y="76"/>
                  <a:pt x="422" y="76"/>
                </a:cubicBezTo>
                <a:cubicBezTo>
                  <a:pt x="423" y="77"/>
                  <a:pt x="423" y="77"/>
                  <a:pt x="423" y="77"/>
                </a:cubicBezTo>
                <a:cubicBezTo>
                  <a:pt x="424" y="75"/>
                  <a:pt x="424" y="75"/>
                  <a:pt x="424" y="75"/>
                </a:cubicBezTo>
                <a:cubicBezTo>
                  <a:pt x="424" y="74"/>
                  <a:pt x="424" y="74"/>
                  <a:pt x="424" y="74"/>
                </a:cubicBezTo>
                <a:cubicBezTo>
                  <a:pt x="423" y="74"/>
                  <a:pt x="423" y="74"/>
                  <a:pt x="423" y="74"/>
                </a:cubicBezTo>
                <a:cubicBezTo>
                  <a:pt x="423" y="74"/>
                  <a:pt x="423" y="74"/>
                  <a:pt x="423" y="74"/>
                </a:cubicBezTo>
                <a:cubicBezTo>
                  <a:pt x="423" y="72"/>
                  <a:pt x="423" y="72"/>
                  <a:pt x="423" y="72"/>
                </a:cubicBezTo>
                <a:cubicBezTo>
                  <a:pt x="424" y="70"/>
                  <a:pt x="424" y="70"/>
                  <a:pt x="424" y="70"/>
                </a:cubicBezTo>
                <a:cubicBezTo>
                  <a:pt x="424" y="69"/>
                  <a:pt x="424" y="69"/>
                  <a:pt x="424" y="69"/>
                </a:cubicBezTo>
                <a:cubicBezTo>
                  <a:pt x="425" y="67"/>
                  <a:pt x="425" y="67"/>
                  <a:pt x="425" y="67"/>
                </a:cubicBezTo>
                <a:cubicBezTo>
                  <a:pt x="424" y="63"/>
                  <a:pt x="424" y="63"/>
                  <a:pt x="424" y="63"/>
                </a:cubicBezTo>
                <a:cubicBezTo>
                  <a:pt x="424" y="62"/>
                  <a:pt x="424" y="62"/>
                  <a:pt x="424" y="62"/>
                </a:cubicBezTo>
                <a:cubicBezTo>
                  <a:pt x="423" y="61"/>
                  <a:pt x="423" y="61"/>
                  <a:pt x="423" y="61"/>
                </a:cubicBezTo>
                <a:cubicBezTo>
                  <a:pt x="423" y="60"/>
                  <a:pt x="423" y="60"/>
                  <a:pt x="423" y="60"/>
                </a:cubicBezTo>
                <a:cubicBezTo>
                  <a:pt x="423" y="59"/>
                  <a:pt x="423" y="59"/>
                  <a:pt x="423" y="59"/>
                </a:cubicBezTo>
                <a:cubicBezTo>
                  <a:pt x="424" y="59"/>
                  <a:pt x="424" y="59"/>
                  <a:pt x="424" y="59"/>
                </a:cubicBezTo>
                <a:cubicBezTo>
                  <a:pt x="424" y="58"/>
                  <a:pt x="424" y="58"/>
                  <a:pt x="424" y="58"/>
                </a:cubicBezTo>
                <a:cubicBezTo>
                  <a:pt x="425" y="59"/>
                  <a:pt x="425" y="59"/>
                  <a:pt x="425" y="59"/>
                </a:cubicBezTo>
                <a:cubicBezTo>
                  <a:pt x="426" y="59"/>
                  <a:pt x="426" y="59"/>
                  <a:pt x="426" y="59"/>
                </a:cubicBezTo>
                <a:cubicBezTo>
                  <a:pt x="427" y="61"/>
                  <a:pt x="427" y="61"/>
                  <a:pt x="427" y="61"/>
                </a:cubicBezTo>
                <a:cubicBezTo>
                  <a:pt x="427" y="60"/>
                  <a:pt x="427" y="60"/>
                  <a:pt x="427" y="60"/>
                </a:cubicBezTo>
                <a:cubicBezTo>
                  <a:pt x="427" y="59"/>
                  <a:pt x="427" y="59"/>
                  <a:pt x="427" y="59"/>
                </a:cubicBezTo>
                <a:cubicBezTo>
                  <a:pt x="426" y="58"/>
                  <a:pt x="426" y="58"/>
                  <a:pt x="426" y="58"/>
                </a:cubicBezTo>
                <a:cubicBezTo>
                  <a:pt x="425" y="58"/>
                  <a:pt x="425" y="58"/>
                  <a:pt x="425" y="58"/>
                </a:cubicBezTo>
                <a:cubicBezTo>
                  <a:pt x="424" y="57"/>
                  <a:pt x="424" y="57"/>
                  <a:pt x="424" y="57"/>
                </a:cubicBezTo>
                <a:cubicBezTo>
                  <a:pt x="424" y="56"/>
                  <a:pt x="424" y="56"/>
                  <a:pt x="424" y="56"/>
                </a:cubicBezTo>
                <a:cubicBezTo>
                  <a:pt x="425" y="54"/>
                  <a:pt x="425" y="54"/>
                  <a:pt x="425" y="54"/>
                </a:cubicBezTo>
                <a:cubicBezTo>
                  <a:pt x="429" y="50"/>
                  <a:pt x="429" y="50"/>
                  <a:pt x="429" y="50"/>
                </a:cubicBezTo>
                <a:cubicBezTo>
                  <a:pt x="430" y="50"/>
                  <a:pt x="430" y="50"/>
                  <a:pt x="430" y="50"/>
                </a:cubicBezTo>
                <a:cubicBezTo>
                  <a:pt x="431" y="50"/>
                  <a:pt x="431" y="50"/>
                  <a:pt x="431" y="50"/>
                </a:cubicBezTo>
                <a:cubicBezTo>
                  <a:pt x="432" y="51"/>
                  <a:pt x="432" y="51"/>
                  <a:pt x="432" y="51"/>
                </a:cubicBezTo>
                <a:cubicBezTo>
                  <a:pt x="433" y="53"/>
                  <a:pt x="433" y="53"/>
                  <a:pt x="433" y="53"/>
                </a:cubicBezTo>
                <a:cubicBezTo>
                  <a:pt x="434" y="53"/>
                  <a:pt x="434" y="53"/>
                  <a:pt x="434" y="53"/>
                </a:cubicBezTo>
                <a:cubicBezTo>
                  <a:pt x="437" y="54"/>
                  <a:pt x="437" y="54"/>
                  <a:pt x="437" y="54"/>
                </a:cubicBezTo>
                <a:cubicBezTo>
                  <a:pt x="437" y="56"/>
                  <a:pt x="437" y="56"/>
                  <a:pt x="437" y="56"/>
                </a:cubicBezTo>
                <a:cubicBezTo>
                  <a:pt x="439" y="57"/>
                  <a:pt x="439" y="57"/>
                  <a:pt x="439" y="57"/>
                </a:cubicBezTo>
                <a:cubicBezTo>
                  <a:pt x="439" y="60"/>
                  <a:pt x="439" y="60"/>
                  <a:pt x="439" y="60"/>
                </a:cubicBezTo>
                <a:cubicBezTo>
                  <a:pt x="439" y="63"/>
                  <a:pt x="439" y="63"/>
                  <a:pt x="439" y="63"/>
                </a:cubicBezTo>
                <a:cubicBezTo>
                  <a:pt x="439" y="65"/>
                  <a:pt x="439" y="65"/>
                  <a:pt x="439" y="65"/>
                </a:cubicBezTo>
                <a:cubicBezTo>
                  <a:pt x="440" y="66"/>
                  <a:pt x="440" y="66"/>
                  <a:pt x="440" y="66"/>
                </a:cubicBezTo>
                <a:cubicBezTo>
                  <a:pt x="441" y="65"/>
                  <a:pt x="441" y="65"/>
                  <a:pt x="441" y="65"/>
                </a:cubicBezTo>
                <a:cubicBezTo>
                  <a:pt x="441" y="65"/>
                  <a:pt x="441" y="65"/>
                  <a:pt x="441" y="65"/>
                </a:cubicBezTo>
                <a:cubicBezTo>
                  <a:pt x="442" y="66"/>
                  <a:pt x="442" y="66"/>
                  <a:pt x="442" y="66"/>
                </a:cubicBezTo>
                <a:cubicBezTo>
                  <a:pt x="443" y="67"/>
                  <a:pt x="443" y="67"/>
                  <a:pt x="443" y="67"/>
                </a:cubicBezTo>
                <a:cubicBezTo>
                  <a:pt x="443" y="67"/>
                  <a:pt x="443" y="67"/>
                  <a:pt x="443" y="67"/>
                </a:cubicBezTo>
                <a:cubicBezTo>
                  <a:pt x="444" y="66"/>
                  <a:pt x="444" y="66"/>
                  <a:pt x="444" y="66"/>
                </a:cubicBezTo>
                <a:cubicBezTo>
                  <a:pt x="445" y="66"/>
                  <a:pt x="445" y="66"/>
                  <a:pt x="445" y="66"/>
                </a:cubicBezTo>
                <a:cubicBezTo>
                  <a:pt x="444" y="66"/>
                  <a:pt x="444" y="66"/>
                  <a:pt x="444" y="66"/>
                </a:cubicBezTo>
                <a:cubicBezTo>
                  <a:pt x="443" y="65"/>
                  <a:pt x="443" y="65"/>
                  <a:pt x="443" y="65"/>
                </a:cubicBezTo>
                <a:cubicBezTo>
                  <a:pt x="442" y="64"/>
                  <a:pt x="442" y="64"/>
                  <a:pt x="442" y="64"/>
                </a:cubicBezTo>
                <a:cubicBezTo>
                  <a:pt x="441" y="64"/>
                  <a:pt x="441" y="64"/>
                  <a:pt x="441" y="64"/>
                </a:cubicBezTo>
                <a:cubicBezTo>
                  <a:pt x="441" y="63"/>
                  <a:pt x="441" y="63"/>
                  <a:pt x="441" y="63"/>
                </a:cubicBezTo>
                <a:cubicBezTo>
                  <a:pt x="442" y="62"/>
                  <a:pt x="442" y="62"/>
                  <a:pt x="442" y="62"/>
                </a:cubicBezTo>
                <a:cubicBezTo>
                  <a:pt x="442" y="61"/>
                  <a:pt x="442" y="61"/>
                  <a:pt x="442" y="61"/>
                </a:cubicBezTo>
                <a:cubicBezTo>
                  <a:pt x="442" y="56"/>
                  <a:pt x="442" y="56"/>
                  <a:pt x="442" y="56"/>
                </a:cubicBezTo>
                <a:cubicBezTo>
                  <a:pt x="441" y="55"/>
                  <a:pt x="441" y="55"/>
                  <a:pt x="441" y="55"/>
                </a:cubicBezTo>
                <a:cubicBezTo>
                  <a:pt x="442" y="54"/>
                  <a:pt x="442" y="54"/>
                  <a:pt x="442" y="54"/>
                </a:cubicBezTo>
                <a:cubicBezTo>
                  <a:pt x="444" y="54"/>
                  <a:pt x="444" y="54"/>
                  <a:pt x="444" y="54"/>
                </a:cubicBezTo>
                <a:cubicBezTo>
                  <a:pt x="445" y="54"/>
                  <a:pt x="445" y="54"/>
                  <a:pt x="445" y="54"/>
                </a:cubicBezTo>
                <a:cubicBezTo>
                  <a:pt x="447" y="55"/>
                  <a:pt x="447" y="55"/>
                  <a:pt x="447" y="55"/>
                </a:cubicBezTo>
                <a:cubicBezTo>
                  <a:pt x="448" y="55"/>
                  <a:pt x="448" y="55"/>
                  <a:pt x="448" y="55"/>
                </a:cubicBezTo>
                <a:cubicBezTo>
                  <a:pt x="450" y="55"/>
                  <a:pt x="450" y="55"/>
                  <a:pt x="450" y="55"/>
                </a:cubicBezTo>
                <a:cubicBezTo>
                  <a:pt x="453" y="55"/>
                  <a:pt x="453" y="55"/>
                  <a:pt x="453" y="55"/>
                </a:cubicBezTo>
                <a:cubicBezTo>
                  <a:pt x="455" y="54"/>
                  <a:pt x="455" y="54"/>
                  <a:pt x="455" y="54"/>
                </a:cubicBezTo>
                <a:cubicBezTo>
                  <a:pt x="456" y="55"/>
                  <a:pt x="456" y="55"/>
                  <a:pt x="456" y="55"/>
                </a:cubicBezTo>
                <a:cubicBezTo>
                  <a:pt x="457" y="56"/>
                  <a:pt x="457" y="56"/>
                  <a:pt x="457" y="56"/>
                </a:cubicBezTo>
                <a:cubicBezTo>
                  <a:pt x="460" y="56"/>
                  <a:pt x="460" y="56"/>
                  <a:pt x="460" y="56"/>
                </a:cubicBezTo>
                <a:cubicBezTo>
                  <a:pt x="461" y="57"/>
                  <a:pt x="461" y="57"/>
                  <a:pt x="461" y="57"/>
                </a:cubicBezTo>
                <a:cubicBezTo>
                  <a:pt x="462" y="56"/>
                  <a:pt x="462" y="56"/>
                  <a:pt x="462" y="56"/>
                </a:cubicBezTo>
                <a:cubicBezTo>
                  <a:pt x="462" y="56"/>
                  <a:pt x="462" y="56"/>
                  <a:pt x="462" y="56"/>
                </a:cubicBezTo>
                <a:cubicBezTo>
                  <a:pt x="461" y="55"/>
                  <a:pt x="461" y="55"/>
                  <a:pt x="461" y="55"/>
                </a:cubicBezTo>
                <a:cubicBezTo>
                  <a:pt x="459" y="55"/>
                  <a:pt x="459" y="55"/>
                  <a:pt x="459" y="55"/>
                </a:cubicBezTo>
                <a:cubicBezTo>
                  <a:pt x="457" y="54"/>
                  <a:pt x="457" y="54"/>
                  <a:pt x="457" y="54"/>
                </a:cubicBezTo>
                <a:cubicBezTo>
                  <a:pt x="457" y="54"/>
                  <a:pt x="457" y="54"/>
                  <a:pt x="457" y="54"/>
                </a:cubicBezTo>
                <a:cubicBezTo>
                  <a:pt x="457" y="53"/>
                  <a:pt x="457" y="53"/>
                  <a:pt x="457" y="53"/>
                </a:cubicBezTo>
                <a:cubicBezTo>
                  <a:pt x="458" y="53"/>
                  <a:pt x="458" y="53"/>
                  <a:pt x="458" y="53"/>
                </a:cubicBezTo>
                <a:cubicBezTo>
                  <a:pt x="460" y="53"/>
                  <a:pt x="460" y="53"/>
                  <a:pt x="460" y="53"/>
                </a:cubicBezTo>
                <a:cubicBezTo>
                  <a:pt x="464" y="52"/>
                  <a:pt x="464" y="52"/>
                  <a:pt x="464" y="52"/>
                </a:cubicBezTo>
                <a:cubicBezTo>
                  <a:pt x="467" y="52"/>
                  <a:pt x="467" y="52"/>
                  <a:pt x="467" y="52"/>
                </a:cubicBezTo>
                <a:cubicBezTo>
                  <a:pt x="469" y="53"/>
                  <a:pt x="469" y="53"/>
                  <a:pt x="469" y="53"/>
                </a:cubicBezTo>
                <a:cubicBezTo>
                  <a:pt x="471" y="54"/>
                  <a:pt x="471" y="54"/>
                  <a:pt x="471" y="54"/>
                </a:cubicBezTo>
                <a:cubicBezTo>
                  <a:pt x="472" y="53"/>
                  <a:pt x="472" y="53"/>
                  <a:pt x="472" y="53"/>
                </a:cubicBezTo>
                <a:cubicBezTo>
                  <a:pt x="473" y="53"/>
                  <a:pt x="473" y="53"/>
                  <a:pt x="473" y="53"/>
                </a:cubicBezTo>
                <a:cubicBezTo>
                  <a:pt x="472" y="52"/>
                  <a:pt x="472" y="52"/>
                  <a:pt x="472" y="52"/>
                </a:cubicBezTo>
                <a:cubicBezTo>
                  <a:pt x="472" y="52"/>
                  <a:pt x="472" y="52"/>
                  <a:pt x="472" y="52"/>
                </a:cubicBezTo>
                <a:cubicBezTo>
                  <a:pt x="471" y="52"/>
                  <a:pt x="471" y="52"/>
                  <a:pt x="471" y="52"/>
                </a:cubicBezTo>
                <a:cubicBezTo>
                  <a:pt x="471" y="51"/>
                  <a:pt x="471" y="51"/>
                  <a:pt x="471" y="51"/>
                </a:cubicBezTo>
                <a:cubicBezTo>
                  <a:pt x="470" y="50"/>
                  <a:pt x="470" y="50"/>
                  <a:pt x="470" y="50"/>
                </a:cubicBezTo>
                <a:cubicBezTo>
                  <a:pt x="468" y="50"/>
                  <a:pt x="468" y="50"/>
                  <a:pt x="468" y="50"/>
                </a:cubicBezTo>
                <a:cubicBezTo>
                  <a:pt x="467" y="50"/>
                  <a:pt x="467" y="50"/>
                  <a:pt x="467" y="50"/>
                </a:cubicBezTo>
                <a:cubicBezTo>
                  <a:pt x="464" y="50"/>
                  <a:pt x="464" y="50"/>
                  <a:pt x="464" y="50"/>
                </a:cubicBezTo>
                <a:cubicBezTo>
                  <a:pt x="464" y="50"/>
                  <a:pt x="464" y="50"/>
                  <a:pt x="464" y="50"/>
                </a:cubicBezTo>
                <a:cubicBezTo>
                  <a:pt x="465" y="49"/>
                  <a:pt x="465" y="49"/>
                  <a:pt x="465" y="49"/>
                </a:cubicBezTo>
                <a:cubicBezTo>
                  <a:pt x="465" y="47"/>
                  <a:pt x="465" y="47"/>
                  <a:pt x="465" y="47"/>
                </a:cubicBezTo>
                <a:cubicBezTo>
                  <a:pt x="467" y="47"/>
                  <a:pt x="467" y="47"/>
                  <a:pt x="467" y="47"/>
                </a:cubicBezTo>
                <a:cubicBezTo>
                  <a:pt x="468" y="46"/>
                  <a:pt x="468" y="46"/>
                  <a:pt x="468" y="46"/>
                </a:cubicBezTo>
                <a:cubicBezTo>
                  <a:pt x="469" y="44"/>
                  <a:pt x="469" y="44"/>
                  <a:pt x="469" y="44"/>
                </a:cubicBezTo>
                <a:cubicBezTo>
                  <a:pt x="472" y="42"/>
                  <a:pt x="472" y="42"/>
                  <a:pt x="472" y="42"/>
                </a:cubicBezTo>
                <a:cubicBezTo>
                  <a:pt x="474" y="42"/>
                  <a:pt x="474" y="42"/>
                  <a:pt x="474" y="42"/>
                </a:cubicBezTo>
                <a:cubicBezTo>
                  <a:pt x="477" y="41"/>
                  <a:pt x="477" y="41"/>
                  <a:pt x="477" y="41"/>
                </a:cubicBezTo>
                <a:cubicBezTo>
                  <a:pt x="477" y="40"/>
                  <a:pt x="477" y="40"/>
                  <a:pt x="477" y="40"/>
                </a:cubicBezTo>
                <a:cubicBezTo>
                  <a:pt x="473" y="42"/>
                  <a:pt x="473" y="42"/>
                  <a:pt x="473" y="42"/>
                </a:cubicBezTo>
                <a:cubicBezTo>
                  <a:pt x="471" y="42"/>
                  <a:pt x="471" y="42"/>
                  <a:pt x="471" y="42"/>
                </a:cubicBezTo>
                <a:cubicBezTo>
                  <a:pt x="468" y="44"/>
                  <a:pt x="468" y="44"/>
                  <a:pt x="468" y="44"/>
                </a:cubicBezTo>
                <a:cubicBezTo>
                  <a:pt x="467" y="46"/>
                  <a:pt x="467" y="46"/>
                  <a:pt x="467" y="46"/>
                </a:cubicBezTo>
                <a:cubicBezTo>
                  <a:pt x="467" y="46"/>
                  <a:pt x="467" y="46"/>
                  <a:pt x="467" y="46"/>
                </a:cubicBezTo>
                <a:cubicBezTo>
                  <a:pt x="466" y="44"/>
                  <a:pt x="466" y="44"/>
                  <a:pt x="466" y="44"/>
                </a:cubicBezTo>
                <a:cubicBezTo>
                  <a:pt x="466" y="44"/>
                  <a:pt x="466" y="44"/>
                  <a:pt x="466" y="44"/>
                </a:cubicBezTo>
                <a:cubicBezTo>
                  <a:pt x="465" y="45"/>
                  <a:pt x="465" y="45"/>
                  <a:pt x="465" y="45"/>
                </a:cubicBezTo>
                <a:cubicBezTo>
                  <a:pt x="464" y="46"/>
                  <a:pt x="464" y="46"/>
                  <a:pt x="464" y="46"/>
                </a:cubicBezTo>
                <a:cubicBezTo>
                  <a:pt x="462" y="48"/>
                  <a:pt x="462" y="48"/>
                  <a:pt x="462" y="48"/>
                </a:cubicBezTo>
                <a:cubicBezTo>
                  <a:pt x="463" y="48"/>
                  <a:pt x="463" y="48"/>
                  <a:pt x="463" y="48"/>
                </a:cubicBezTo>
                <a:cubicBezTo>
                  <a:pt x="463" y="48"/>
                  <a:pt x="463" y="48"/>
                  <a:pt x="463" y="48"/>
                </a:cubicBezTo>
                <a:cubicBezTo>
                  <a:pt x="461" y="50"/>
                  <a:pt x="461" y="50"/>
                  <a:pt x="461" y="50"/>
                </a:cubicBezTo>
                <a:cubicBezTo>
                  <a:pt x="460" y="50"/>
                  <a:pt x="460" y="50"/>
                  <a:pt x="460" y="50"/>
                </a:cubicBezTo>
                <a:cubicBezTo>
                  <a:pt x="455" y="52"/>
                  <a:pt x="455" y="52"/>
                  <a:pt x="455" y="52"/>
                </a:cubicBezTo>
                <a:cubicBezTo>
                  <a:pt x="454" y="52"/>
                  <a:pt x="454" y="52"/>
                  <a:pt x="454" y="52"/>
                </a:cubicBezTo>
                <a:cubicBezTo>
                  <a:pt x="453" y="52"/>
                  <a:pt x="453" y="52"/>
                  <a:pt x="453" y="52"/>
                </a:cubicBezTo>
                <a:cubicBezTo>
                  <a:pt x="449" y="52"/>
                  <a:pt x="449" y="52"/>
                  <a:pt x="449" y="52"/>
                </a:cubicBezTo>
                <a:cubicBezTo>
                  <a:pt x="447" y="50"/>
                  <a:pt x="447" y="50"/>
                  <a:pt x="447" y="50"/>
                </a:cubicBezTo>
                <a:cubicBezTo>
                  <a:pt x="446" y="51"/>
                  <a:pt x="446" y="51"/>
                  <a:pt x="446" y="51"/>
                </a:cubicBezTo>
                <a:cubicBezTo>
                  <a:pt x="445" y="51"/>
                  <a:pt x="445" y="51"/>
                  <a:pt x="445" y="51"/>
                </a:cubicBezTo>
                <a:cubicBezTo>
                  <a:pt x="444" y="49"/>
                  <a:pt x="444" y="49"/>
                  <a:pt x="444" y="49"/>
                </a:cubicBezTo>
                <a:cubicBezTo>
                  <a:pt x="446" y="48"/>
                  <a:pt x="446" y="48"/>
                  <a:pt x="446" y="48"/>
                </a:cubicBezTo>
                <a:cubicBezTo>
                  <a:pt x="448" y="48"/>
                  <a:pt x="448" y="48"/>
                  <a:pt x="448" y="48"/>
                </a:cubicBezTo>
                <a:cubicBezTo>
                  <a:pt x="449" y="47"/>
                  <a:pt x="449" y="47"/>
                  <a:pt x="449" y="47"/>
                </a:cubicBezTo>
                <a:cubicBezTo>
                  <a:pt x="451" y="47"/>
                  <a:pt x="451" y="47"/>
                  <a:pt x="451" y="47"/>
                </a:cubicBezTo>
                <a:cubicBezTo>
                  <a:pt x="452" y="46"/>
                  <a:pt x="452" y="46"/>
                  <a:pt x="452" y="46"/>
                </a:cubicBezTo>
                <a:cubicBezTo>
                  <a:pt x="451" y="46"/>
                  <a:pt x="451" y="46"/>
                  <a:pt x="451" y="46"/>
                </a:cubicBezTo>
                <a:cubicBezTo>
                  <a:pt x="450" y="47"/>
                  <a:pt x="450" y="47"/>
                  <a:pt x="450" y="47"/>
                </a:cubicBezTo>
                <a:cubicBezTo>
                  <a:pt x="448" y="46"/>
                  <a:pt x="448" y="46"/>
                  <a:pt x="448" y="46"/>
                </a:cubicBezTo>
                <a:cubicBezTo>
                  <a:pt x="447" y="47"/>
                  <a:pt x="447" y="47"/>
                  <a:pt x="447" y="47"/>
                </a:cubicBezTo>
                <a:cubicBezTo>
                  <a:pt x="446" y="47"/>
                  <a:pt x="446" y="47"/>
                  <a:pt x="446" y="47"/>
                </a:cubicBezTo>
                <a:cubicBezTo>
                  <a:pt x="446" y="46"/>
                  <a:pt x="446" y="46"/>
                  <a:pt x="446" y="46"/>
                </a:cubicBezTo>
                <a:cubicBezTo>
                  <a:pt x="447" y="45"/>
                  <a:pt x="447" y="45"/>
                  <a:pt x="447" y="45"/>
                </a:cubicBezTo>
                <a:cubicBezTo>
                  <a:pt x="446" y="45"/>
                  <a:pt x="446" y="45"/>
                  <a:pt x="446" y="45"/>
                </a:cubicBezTo>
                <a:cubicBezTo>
                  <a:pt x="444" y="45"/>
                  <a:pt x="444" y="45"/>
                  <a:pt x="444" y="45"/>
                </a:cubicBezTo>
                <a:cubicBezTo>
                  <a:pt x="444" y="47"/>
                  <a:pt x="444" y="47"/>
                  <a:pt x="444" y="47"/>
                </a:cubicBezTo>
                <a:cubicBezTo>
                  <a:pt x="442" y="49"/>
                  <a:pt x="442" y="49"/>
                  <a:pt x="442" y="49"/>
                </a:cubicBezTo>
                <a:cubicBezTo>
                  <a:pt x="440" y="49"/>
                  <a:pt x="440" y="49"/>
                  <a:pt x="440" y="49"/>
                </a:cubicBezTo>
                <a:cubicBezTo>
                  <a:pt x="437" y="48"/>
                  <a:pt x="437" y="48"/>
                  <a:pt x="437" y="48"/>
                </a:cubicBezTo>
                <a:cubicBezTo>
                  <a:pt x="435" y="48"/>
                  <a:pt x="435" y="48"/>
                  <a:pt x="435" y="48"/>
                </a:cubicBezTo>
                <a:cubicBezTo>
                  <a:pt x="434" y="47"/>
                  <a:pt x="434" y="47"/>
                  <a:pt x="434" y="47"/>
                </a:cubicBezTo>
                <a:cubicBezTo>
                  <a:pt x="434" y="46"/>
                  <a:pt x="434" y="46"/>
                  <a:pt x="434" y="46"/>
                </a:cubicBezTo>
                <a:cubicBezTo>
                  <a:pt x="432" y="46"/>
                  <a:pt x="432" y="46"/>
                  <a:pt x="432" y="46"/>
                </a:cubicBezTo>
                <a:cubicBezTo>
                  <a:pt x="431" y="45"/>
                  <a:pt x="431" y="45"/>
                  <a:pt x="431" y="45"/>
                </a:cubicBezTo>
                <a:cubicBezTo>
                  <a:pt x="431" y="44"/>
                  <a:pt x="431" y="44"/>
                  <a:pt x="431" y="44"/>
                </a:cubicBezTo>
                <a:cubicBezTo>
                  <a:pt x="432" y="43"/>
                  <a:pt x="432" y="43"/>
                  <a:pt x="432" y="43"/>
                </a:cubicBezTo>
                <a:cubicBezTo>
                  <a:pt x="433" y="42"/>
                  <a:pt x="433" y="42"/>
                  <a:pt x="433" y="42"/>
                </a:cubicBezTo>
                <a:cubicBezTo>
                  <a:pt x="435" y="41"/>
                  <a:pt x="435" y="41"/>
                  <a:pt x="435" y="41"/>
                </a:cubicBezTo>
                <a:cubicBezTo>
                  <a:pt x="436" y="39"/>
                  <a:pt x="436" y="39"/>
                  <a:pt x="436" y="39"/>
                </a:cubicBezTo>
                <a:cubicBezTo>
                  <a:pt x="438" y="38"/>
                  <a:pt x="438" y="38"/>
                  <a:pt x="438" y="38"/>
                </a:cubicBezTo>
                <a:cubicBezTo>
                  <a:pt x="438" y="38"/>
                  <a:pt x="438" y="38"/>
                  <a:pt x="438" y="38"/>
                </a:cubicBezTo>
                <a:cubicBezTo>
                  <a:pt x="440" y="38"/>
                  <a:pt x="440" y="38"/>
                  <a:pt x="440" y="38"/>
                </a:cubicBezTo>
                <a:cubicBezTo>
                  <a:pt x="442" y="38"/>
                  <a:pt x="442" y="38"/>
                  <a:pt x="442" y="38"/>
                </a:cubicBezTo>
                <a:cubicBezTo>
                  <a:pt x="443" y="38"/>
                  <a:pt x="443" y="38"/>
                  <a:pt x="443" y="38"/>
                </a:cubicBezTo>
                <a:cubicBezTo>
                  <a:pt x="444" y="38"/>
                  <a:pt x="444" y="38"/>
                  <a:pt x="444" y="38"/>
                </a:cubicBezTo>
                <a:cubicBezTo>
                  <a:pt x="447" y="39"/>
                  <a:pt x="447" y="39"/>
                  <a:pt x="447" y="39"/>
                </a:cubicBezTo>
                <a:cubicBezTo>
                  <a:pt x="449" y="39"/>
                  <a:pt x="449" y="39"/>
                  <a:pt x="449" y="39"/>
                </a:cubicBezTo>
                <a:cubicBezTo>
                  <a:pt x="450" y="40"/>
                  <a:pt x="450" y="40"/>
                  <a:pt x="450" y="40"/>
                </a:cubicBezTo>
                <a:cubicBezTo>
                  <a:pt x="452" y="39"/>
                  <a:pt x="452" y="39"/>
                  <a:pt x="452" y="39"/>
                </a:cubicBezTo>
                <a:cubicBezTo>
                  <a:pt x="452" y="39"/>
                  <a:pt x="452" y="39"/>
                  <a:pt x="452" y="39"/>
                </a:cubicBezTo>
                <a:cubicBezTo>
                  <a:pt x="451" y="38"/>
                  <a:pt x="451" y="38"/>
                  <a:pt x="451" y="38"/>
                </a:cubicBezTo>
                <a:cubicBezTo>
                  <a:pt x="449" y="39"/>
                  <a:pt x="449" y="39"/>
                  <a:pt x="449" y="39"/>
                </a:cubicBezTo>
                <a:cubicBezTo>
                  <a:pt x="446" y="38"/>
                  <a:pt x="446" y="38"/>
                  <a:pt x="446" y="38"/>
                </a:cubicBezTo>
                <a:cubicBezTo>
                  <a:pt x="445" y="37"/>
                  <a:pt x="445" y="37"/>
                  <a:pt x="445" y="37"/>
                </a:cubicBezTo>
                <a:cubicBezTo>
                  <a:pt x="443" y="37"/>
                  <a:pt x="443" y="37"/>
                  <a:pt x="443" y="37"/>
                </a:cubicBezTo>
                <a:cubicBezTo>
                  <a:pt x="441" y="37"/>
                  <a:pt x="441" y="37"/>
                  <a:pt x="441" y="37"/>
                </a:cubicBezTo>
                <a:cubicBezTo>
                  <a:pt x="438" y="37"/>
                  <a:pt x="438" y="37"/>
                  <a:pt x="438" y="37"/>
                </a:cubicBezTo>
                <a:cubicBezTo>
                  <a:pt x="437" y="37"/>
                  <a:pt x="437" y="37"/>
                  <a:pt x="437" y="37"/>
                </a:cubicBezTo>
                <a:cubicBezTo>
                  <a:pt x="437" y="37"/>
                  <a:pt x="437" y="37"/>
                  <a:pt x="437" y="37"/>
                </a:cubicBezTo>
                <a:cubicBezTo>
                  <a:pt x="435" y="39"/>
                  <a:pt x="435" y="39"/>
                  <a:pt x="435" y="39"/>
                </a:cubicBezTo>
                <a:cubicBezTo>
                  <a:pt x="433" y="40"/>
                  <a:pt x="433" y="40"/>
                  <a:pt x="433" y="40"/>
                </a:cubicBezTo>
                <a:cubicBezTo>
                  <a:pt x="431" y="41"/>
                  <a:pt x="431" y="41"/>
                  <a:pt x="431" y="41"/>
                </a:cubicBezTo>
                <a:cubicBezTo>
                  <a:pt x="429" y="43"/>
                  <a:pt x="429" y="43"/>
                  <a:pt x="429" y="43"/>
                </a:cubicBezTo>
                <a:cubicBezTo>
                  <a:pt x="429" y="43"/>
                  <a:pt x="429" y="43"/>
                  <a:pt x="429" y="43"/>
                </a:cubicBezTo>
                <a:cubicBezTo>
                  <a:pt x="428" y="43"/>
                  <a:pt x="428" y="43"/>
                  <a:pt x="428" y="43"/>
                </a:cubicBezTo>
                <a:cubicBezTo>
                  <a:pt x="426" y="41"/>
                  <a:pt x="426" y="41"/>
                  <a:pt x="426" y="41"/>
                </a:cubicBezTo>
                <a:cubicBezTo>
                  <a:pt x="425" y="41"/>
                  <a:pt x="425" y="41"/>
                  <a:pt x="425" y="41"/>
                </a:cubicBezTo>
                <a:cubicBezTo>
                  <a:pt x="425" y="40"/>
                  <a:pt x="425" y="40"/>
                  <a:pt x="425" y="40"/>
                </a:cubicBezTo>
                <a:cubicBezTo>
                  <a:pt x="424" y="38"/>
                  <a:pt x="424" y="38"/>
                  <a:pt x="424" y="38"/>
                </a:cubicBezTo>
                <a:cubicBezTo>
                  <a:pt x="424" y="37"/>
                  <a:pt x="424" y="37"/>
                  <a:pt x="424" y="37"/>
                </a:cubicBezTo>
                <a:cubicBezTo>
                  <a:pt x="423" y="36"/>
                  <a:pt x="423" y="36"/>
                  <a:pt x="423" y="36"/>
                </a:cubicBezTo>
                <a:cubicBezTo>
                  <a:pt x="423" y="34"/>
                  <a:pt x="423" y="34"/>
                  <a:pt x="423" y="34"/>
                </a:cubicBezTo>
                <a:cubicBezTo>
                  <a:pt x="424" y="34"/>
                  <a:pt x="424" y="34"/>
                  <a:pt x="424" y="34"/>
                </a:cubicBezTo>
                <a:cubicBezTo>
                  <a:pt x="425" y="34"/>
                  <a:pt x="425" y="34"/>
                  <a:pt x="425" y="34"/>
                </a:cubicBezTo>
                <a:cubicBezTo>
                  <a:pt x="426" y="34"/>
                  <a:pt x="426" y="34"/>
                  <a:pt x="426" y="34"/>
                </a:cubicBezTo>
                <a:cubicBezTo>
                  <a:pt x="427" y="34"/>
                  <a:pt x="427" y="34"/>
                  <a:pt x="427" y="34"/>
                </a:cubicBezTo>
                <a:cubicBezTo>
                  <a:pt x="431" y="34"/>
                  <a:pt x="431" y="34"/>
                  <a:pt x="431" y="34"/>
                </a:cubicBezTo>
                <a:cubicBezTo>
                  <a:pt x="433" y="35"/>
                  <a:pt x="433" y="35"/>
                  <a:pt x="433" y="35"/>
                </a:cubicBezTo>
                <a:cubicBezTo>
                  <a:pt x="434" y="35"/>
                  <a:pt x="434" y="35"/>
                  <a:pt x="434" y="35"/>
                </a:cubicBezTo>
                <a:cubicBezTo>
                  <a:pt x="434" y="36"/>
                  <a:pt x="434" y="36"/>
                  <a:pt x="434" y="36"/>
                </a:cubicBezTo>
                <a:cubicBezTo>
                  <a:pt x="436" y="36"/>
                  <a:pt x="436" y="36"/>
                  <a:pt x="436" y="36"/>
                </a:cubicBezTo>
                <a:cubicBezTo>
                  <a:pt x="437" y="35"/>
                  <a:pt x="437" y="35"/>
                  <a:pt x="437" y="35"/>
                </a:cubicBezTo>
                <a:cubicBezTo>
                  <a:pt x="439" y="36"/>
                  <a:pt x="439" y="36"/>
                  <a:pt x="439" y="36"/>
                </a:cubicBezTo>
                <a:cubicBezTo>
                  <a:pt x="439" y="35"/>
                  <a:pt x="439" y="35"/>
                  <a:pt x="439" y="35"/>
                </a:cubicBezTo>
                <a:cubicBezTo>
                  <a:pt x="440" y="35"/>
                  <a:pt x="440" y="35"/>
                  <a:pt x="440" y="35"/>
                </a:cubicBezTo>
                <a:cubicBezTo>
                  <a:pt x="441" y="34"/>
                  <a:pt x="441" y="34"/>
                  <a:pt x="441" y="34"/>
                </a:cubicBezTo>
                <a:cubicBezTo>
                  <a:pt x="443" y="34"/>
                  <a:pt x="443" y="34"/>
                  <a:pt x="443" y="34"/>
                </a:cubicBezTo>
                <a:cubicBezTo>
                  <a:pt x="446" y="34"/>
                  <a:pt x="446" y="34"/>
                  <a:pt x="446" y="34"/>
                </a:cubicBezTo>
                <a:cubicBezTo>
                  <a:pt x="446" y="33"/>
                  <a:pt x="446" y="33"/>
                  <a:pt x="446" y="33"/>
                </a:cubicBezTo>
                <a:cubicBezTo>
                  <a:pt x="446" y="32"/>
                  <a:pt x="446" y="32"/>
                  <a:pt x="446" y="32"/>
                </a:cubicBezTo>
                <a:cubicBezTo>
                  <a:pt x="445" y="32"/>
                  <a:pt x="445" y="32"/>
                  <a:pt x="445" y="32"/>
                </a:cubicBezTo>
                <a:cubicBezTo>
                  <a:pt x="445" y="33"/>
                  <a:pt x="445" y="33"/>
                  <a:pt x="445" y="33"/>
                </a:cubicBezTo>
                <a:cubicBezTo>
                  <a:pt x="444" y="33"/>
                  <a:pt x="444" y="33"/>
                  <a:pt x="444" y="33"/>
                </a:cubicBezTo>
                <a:cubicBezTo>
                  <a:pt x="442" y="33"/>
                  <a:pt x="442" y="33"/>
                  <a:pt x="442" y="33"/>
                </a:cubicBezTo>
                <a:cubicBezTo>
                  <a:pt x="440" y="33"/>
                  <a:pt x="440" y="33"/>
                  <a:pt x="440" y="33"/>
                </a:cubicBezTo>
                <a:cubicBezTo>
                  <a:pt x="438" y="34"/>
                  <a:pt x="438" y="34"/>
                  <a:pt x="438" y="34"/>
                </a:cubicBezTo>
                <a:cubicBezTo>
                  <a:pt x="437" y="35"/>
                  <a:pt x="437" y="35"/>
                  <a:pt x="437" y="35"/>
                </a:cubicBezTo>
                <a:cubicBezTo>
                  <a:pt x="435" y="34"/>
                  <a:pt x="435" y="34"/>
                  <a:pt x="435" y="34"/>
                </a:cubicBezTo>
                <a:cubicBezTo>
                  <a:pt x="434" y="35"/>
                  <a:pt x="434" y="35"/>
                  <a:pt x="434" y="35"/>
                </a:cubicBezTo>
                <a:cubicBezTo>
                  <a:pt x="433" y="35"/>
                  <a:pt x="433" y="35"/>
                  <a:pt x="433" y="35"/>
                </a:cubicBezTo>
                <a:cubicBezTo>
                  <a:pt x="432" y="33"/>
                  <a:pt x="432" y="33"/>
                  <a:pt x="432" y="33"/>
                </a:cubicBezTo>
                <a:cubicBezTo>
                  <a:pt x="431" y="33"/>
                  <a:pt x="431" y="33"/>
                  <a:pt x="431" y="33"/>
                </a:cubicBezTo>
                <a:cubicBezTo>
                  <a:pt x="431" y="33"/>
                  <a:pt x="431" y="33"/>
                  <a:pt x="431" y="33"/>
                </a:cubicBezTo>
                <a:cubicBezTo>
                  <a:pt x="429" y="33"/>
                  <a:pt x="429" y="33"/>
                  <a:pt x="429" y="33"/>
                </a:cubicBezTo>
                <a:cubicBezTo>
                  <a:pt x="427" y="32"/>
                  <a:pt x="427" y="32"/>
                  <a:pt x="427" y="32"/>
                </a:cubicBezTo>
                <a:cubicBezTo>
                  <a:pt x="426" y="32"/>
                  <a:pt x="426" y="32"/>
                  <a:pt x="426" y="32"/>
                </a:cubicBezTo>
                <a:cubicBezTo>
                  <a:pt x="424" y="32"/>
                  <a:pt x="424" y="32"/>
                  <a:pt x="424" y="32"/>
                </a:cubicBezTo>
                <a:cubicBezTo>
                  <a:pt x="424" y="31"/>
                  <a:pt x="424" y="31"/>
                  <a:pt x="424" y="31"/>
                </a:cubicBezTo>
                <a:cubicBezTo>
                  <a:pt x="425" y="30"/>
                  <a:pt x="425" y="30"/>
                  <a:pt x="425" y="30"/>
                </a:cubicBezTo>
                <a:cubicBezTo>
                  <a:pt x="425" y="29"/>
                  <a:pt x="425" y="29"/>
                  <a:pt x="425" y="29"/>
                </a:cubicBezTo>
                <a:cubicBezTo>
                  <a:pt x="425" y="28"/>
                  <a:pt x="425" y="28"/>
                  <a:pt x="425" y="28"/>
                </a:cubicBezTo>
                <a:cubicBezTo>
                  <a:pt x="426" y="28"/>
                  <a:pt x="426" y="28"/>
                  <a:pt x="426" y="28"/>
                </a:cubicBezTo>
                <a:cubicBezTo>
                  <a:pt x="427" y="29"/>
                  <a:pt x="427" y="29"/>
                  <a:pt x="427" y="29"/>
                </a:cubicBezTo>
                <a:cubicBezTo>
                  <a:pt x="429" y="29"/>
                  <a:pt x="429" y="29"/>
                  <a:pt x="429" y="29"/>
                </a:cubicBezTo>
                <a:cubicBezTo>
                  <a:pt x="430" y="29"/>
                  <a:pt x="430" y="29"/>
                  <a:pt x="430" y="29"/>
                </a:cubicBezTo>
                <a:cubicBezTo>
                  <a:pt x="429" y="28"/>
                  <a:pt x="429" y="28"/>
                  <a:pt x="429" y="28"/>
                </a:cubicBezTo>
                <a:cubicBezTo>
                  <a:pt x="428" y="28"/>
                  <a:pt x="428" y="28"/>
                  <a:pt x="428" y="28"/>
                </a:cubicBezTo>
                <a:cubicBezTo>
                  <a:pt x="427" y="27"/>
                  <a:pt x="427" y="27"/>
                  <a:pt x="427" y="27"/>
                </a:cubicBezTo>
                <a:cubicBezTo>
                  <a:pt x="427" y="26"/>
                  <a:pt x="427" y="26"/>
                  <a:pt x="427" y="26"/>
                </a:cubicBezTo>
                <a:cubicBezTo>
                  <a:pt x="429" y="26"/>
                  <a:pt x="429" y="26"/>
                  <a:pt x="429" y="26"/>
                </a:cubicBezTo>
                <a:cubicBezTo>
                  <a:pt x="430" y="25"/>
                  <a:pt x="430" y="25"/>
                  <a:pt x="430" y="25"/>
                </a:cubicBezTo>
                <a:cubicBezTo>
                  <a:pt x="433" y="25"/>
                  <a:pt x="433" y="25"/>
                  <a:pt x="433" y="25"/>
                </a:cubicBezTo>
                <a:cubicBezTo>
                  <a:pt x="433" y="24"/>
                  <a:pt x="433" y="24"/>
                  <a:pt x="433" y="24"/>
                </a:cubicBezTo>
                <a:cubicBezTo>
                  <a:pt x="435" y="24"/>
                  <a:pt x="435" y="24"/>
                  <a:pt x="435" y="24"/>
                </a:cubicBezTo>
                <a:cubicBezTo>
                  <a:pt x="435" y="24"/>
                  <a:pt x="435" y="24"/>
                  <a:pt x="435" y="24"/>
                </a:cubicBezTo>
                <a:cubicBezTo>
                  <a:pt x="436" y="24"/>
                  <a:pt x="436" y="24"/>
                  <a:pt x="436" y="24"/>
                </a:cubicBezTo>
                <a:cubicBezTo>
                  <a:pt x="436" y="23"/>
                  <a:pt x="436" y="23"/>
                  <a:pt x="436" y="23"/>
                </a:cubicBezTo>
                <a:cubicBezTo>
                  <a:pt x="436" y="23"/>
                  <a:pt x="436" y="23"/>
                  <a:pt x="436" y="23"/>
                </a:cubicBezTo>
                <a:cubicBezTo>
                  <a:pt x="433" y="23"/>
                  <a:pt x="433" y="23"/>
                  <a:pt x="433" y="23"/>
                </a:cubicBezTo>
                <a:cubicBezTo>
                  <a:pt x="431" y="24"/>
                  <a:pt x="431" y="24"/>
                  <a:pt x="431" y="24"/>
                </a:cubicBezTo>
                <a:cubicBezTo>
                  <a:pt x="429" y="24"/>
                  <a:pt x="429" y="24"/>
                  <a:pt x="429" y="24"/>
                </a:cubicBezTo>
                <a:cubicBezTo>
                  <a:pt x="428" y="24"/>
                  <a:pt x="428" y="24"/>
                  <a:pt x="428" y="24"/>
                </a:cubicBezTo>
                <a:cubicBezTo>
                  <a:pt x="427" y="25"/>
                  <a:pt x="427" y="25"/>
                  <a:pt x="427" y="25"/>
                </a:cubicBezTo>
                <a:cubicBezTo>
                  <a:pt x="426" y="25"/>
                  <a:pt x="426" y="25"/>
                  <a:pt x="426" y="25"/>
                </a:cubicBezTo>
                <a:cubicBezTo>
                  <a:pt x="426" y="24"/>
                  <a:pt x="426" y="24"/>
                  <a:pt x="426" y="24"/>
                </a:cubicBezTo>
                <a:cubicBezTo>
                  <a:pt x="426" y="23"/>
                  <a:pt x="426" y="23"/>
                  <a:pt x="426" y="23"/>
                </a:cubicBezTo>
                <a:cubicBezTo>
                  <a:pt x="428" y="22"/>
                  <a:pt x="428" y="22"/>
                  <a:pt x="428" y="22"/>
                </a:cubicBezTo>
                <a:cubicBezTo>
                  <a:pt x="429" y="21"/>
                  <a:pt x="429" y="21"/>
                  <a:pt x="429" y="21"/>
                </a:cubicBezTo>
                <a:cubicBezTo>
                  <a:pt x="431" y="21"/>
                  <a:pt x="431" y="21"/>
                  <a:pt x="431" y="21"/>
                </a:cubicBezTo>
                <a:cubicBezTo>
                  <a:pt x="432" y="20"/>
                  <a:pt x="432" y="20"/>
                  <a:pt x="432" y="20"/>
                </a:cubicBezTo>
                <a:cubicBezTo>
                  <a:pt x="431" y="20"/>
                  <a:pt x="431" y="20"/>
                  <a:pt x="431" y="20"/>
                </a:cubicBezTo>
                <a:cubicBezTo>
                  <a:pt x="430" y="20"/>
                  <a:pt x="430" y="20"/>
                  <a:pt x="430" y="20"/>
                </a:cubicBezTo>
                <a:cubicBezTo>
                  <a:pt x="431" y="18"/>
                  <a:pt x="431" y="18"/>
                  <a:pt x="431" y="18"/>
                </a:cubicBezTo>
                <a:cubicBezTo>
                  <a:pt x="430" y="18"/>
                  <a:pt x="430" y="18"/>
                  <a:pt x="430" y="18"/>
                </a:cubicBezTo>
                <a:cubicBezTo>
                  <a:pt x="430" y="19"/>
                  <a:pt x="430" y="19"/>
                  <a:pt x="430" y="19"/>
                </a:cubicBezTo>
                <a:cubicBezTo>
                  <a:pt x="429" y="20"/>
                  <a:pt x="429" y="20"/>
                  <a:pt x="429" y="20"/>
                </a:cubicBezTo>
                <a:cubicBezTo>
                  <a:pt x="429" y="19"/>
                  <a:pt x="429" y="19"/>
                  <a:pt x="429" y="19"/>
                </a:cubicBezTo>
                <a:cubicBezTo>
                  <a:pt x="428" y="19"/>
                  <a:pt x="428" y="19"/>
                  <a:pt x="428" y="19"/>
                </a:cubicBezTo>
                <a:cubicBezTo>
                  <a:pt x="427" y="19"/>
                  <a:pt x="427" y="19"/>
                  <a:pt x="427" y="19"/>
                </a:cubicBezTo>
                <a:cubicBezTo>
                  <a:pt x="426" y="20"/>
                  <a:pt x="426" y="20"/>
                  <a:pt x="426" y="20"/>
                </a:cubicBezTo>
                <a:cubicBezTo>
                  <a:pt x="426" y="21"/>
                  <a:pt x="426" y="21"/>
                  <a:pt x="426" y="21"/>
                </a:cubicBezTo>
                <a:cubicBezTo>
                  <a:pt x="426" y="21"/>
                  <a:pt x="426" y="21"/>
                  <a:pt x="426" y="21"/>
                </a:cubicBezTo>
                <a:cubicBezTo>
                  <a:pt x="424" y="22"/>
                  <a:pt x="424" y="22"/>
                  <a:pt x="424" y="22"/>
                </a:cubicBezTo>
                <a:cubicBezTo>
                  <a:pt x="424" y="21"/>
                  <a:pt x="424" y="21"/>
                  <a:pt x="424" y="21"/>
                </a:cubicBezTo>
                <a:cubicBezTo>
                  <a:pt x="424" y="19"/>
                  <a:pt x="424" y="19"/>
                  <a:pt x="424" y="19"/>
                </a:cubicBezTo>
                <a:cubicBezTo>
                  <a:pt x="424" y="19"/>
                  <a:pt x="424" y="19"/>
                  <a:pt x="424" y="19"/>
                </a:cubicBezTo>
                <a:cubicBezTo>
                  <a:pt x="423" y="18"/>
                  <a:pt x="423" y="18"/>
                  <a:pt x="423" y="18"/>
                </a:cubicBezTo>
                <a:cubicBezTo>
                  <a:pt x="424" y="18"/>
                  <a:pt x="424" y="18"/>
                  <a:pt x="424" y="18"/>
                </a:cubicBezTo>
                <a:cubicBezTo>
                  <a:pt x="425" y="18"/>
                  <a:pt x="425" y="18"/>
                  <a:pt x="425" y="18"/>
                </a:cubicBezTo>
                <a:cubicBezTo>
                  <a:pt x="425" y="17"/>
                  <a:pt x="425" y="17"/>
                  <a:pt x="425" y="17"/>
                </a:cubicBezTo>
                <a:cubicBezTo>
                  <a:pt x="426" y="16"/>
                  <a:pt x="426" y="16"/>
                  <a:pt x="426" y="16"/>
                </a:cubicBezTo>
                <a:cubicBezTo>
                  <a:pt x="427" y="16"/>
                  <a:pt x="427" y="16"/>
                  <a:pt x="427" y="16"/>
                </a:cubicBezTo>
                <a:cubicBezTo>
                  <a:pt x="428" y="15"/>
                  <a:pt x="428" y="15"/>
                  <a:pt x="428" y="15"/>
                </a:cubicBezTo>
                <a:cubicBezTo>
                  <a:pt x="429" y="14"/>
                  <a:pt x="429" y="14"/>
                  <a:pt x="429" y="14"/>
                </a:cubicBezTo>
                <a:cubicBezTo>
                  <a:pt x="430" y="15"/>
                  <a:pt x="430" y="15"/>
                  <a:pt x="430" y="15"/>
                </a:cubicBezTo>
                <a:cubicBezTo>
                  <a:pt x="432" y="14"/>
                  <a:pt x="432" y="14"/>
                  <a:pt x="432" y="14"/>
                </a:cubicBezTo>
                <a:cubicBezTo>
                  <a:pt x="435" y="13"/>
                  <a:pt x="435" y="13"/>
                  <a:pt x="435" y="13"/>
                </a:cubicBezTo>
                <a:cubicBezTo>
                  <a:pt x="435" y="13"/>
                  <a:pt x="435" y="13"/>
                  <a:pt x="435" y="13"/>
                </a:cubicBezTo>
                <a:cubicBezTo>
                  <a:pt x="436" y="13"/>
                  <a:pt x="436" y="13"/>
                  <a:pt x="436" y="13"/>
                </a:cubicBezTo>
                <a:cubicBezTo>
                  <a:pt x="436" y="14"/>
                  <a:pt x="436" y="14"/>
                  <a:pt x="436" y="14"/>
                </a:cubicBezTo>
                <a:cubicBezTo>
                  <a:pt x="436" y="15"/>
                  <a:pt x="436" y="15"/>
                  <a:pt x="436" y="15"/>
                </a:cubicBezTo>
                <a:cubicBezTo>
                  <a:pt x="436" y="18"/>
                  <a:pt x="436" y="18"/>
                  <a:pt x="436" y="18"/>
                </a:cubicBezTo>
                <a:cubicBezTo>
                  <a:pt x="437" y="17"/>
                  <a:pt x="437" y="17"/>
                  <a:pt x="437" y="17"/>
                </a:cubicBezTo>
                <a:cubicBezTo>
                  <a:pt x="437" y="16"/>
                  <a:pt x="437" y="16"/>
                  <a:pt x="437" y="16"/>
                </a:cubicBezTo>
                <a:cubicBezTo>
                  <a:pt x="438" y="15"/>
                  <a:pt x="438" y="15"/>
                  <a:pt x="438" y="15"/>
                </a:cubicBezTo>
                <a:cubicBezTo>
                  <a:pt x="439" y="15"/>
                  <a:pt x="439" y="15"/>
                  <a:pt x="439" y="15"/>
                </a:cubicBezTo>
                <a:cubicBezTo>
                  <a:pt x="438" y="16"/>
                  <a:pt x="438" y="16"/>
                  <a:pt x="438" y="16"/>
                </a:cubicBezTo>
                <a:cubicBezTo>
                  <a:pt x="438" y="17"/>
                  <a:pt x="438" y="17"/>
                  <a:pt x="438" y="17"/>
                </a:cubicBezTo>
                <a:cubicBezTo>
                  <a:pt x="439" y="16"/>
                  <a:pt x="439" y="16"/>
                  <a:pt x="439" y="16"/>
                </a:cubicBezTo>
                <a:cubicBezTo>
                  <a:pt x="439" y="15"/>
                  <a:pt x="439" y="15"/>
                  <a:pt x="439" y="15"/>
                </a:cubicBezTo>
                <a:cubicBezTo>
                  <a:pt x="440" y="15"/>
                  <a:pt x="440" y="15"/>
                  <a:pt x="440" y="15"/>
                </a:cubicBezTo>
                <a:cubicBezTo>
                  <a:pt x="439" y="14"/>
                  <a:pt x="439" y="14"/>
                  <a:pt x="439" y="14"/>
                </a:cubicBezTo>
                <a:cubicBezTo>
                  <a:pt x="440" y="12"/>
                  <a:pt x="440" y="12"/>
                  <a:pt x="440" y="12"/>
                </a:cubicBezTo>
                <a:cubicBezTo>
                  <a:pt x="440" y="12"/>
                  <a:pt x="440" y="12"/>
                  <a:pt x="440" y="12"/>
                </a:cubicBezTo>
                <a:cubicBezTo>
                  <a:pt x="442" y="11"/>
                  <a:pt x="442" y="11"/>
                  <a:pt x="442" y="11"/>
                </a:cubicBezTo>
                <a:cubicBezTo>
                  <a:pt x="443" y="11"/>
                  <a:pt x="443" y="11"/>
                  <a:pt x="443" y="11"/>
                </a:cubicBezTo>
                <a:cubicBezTo>
                  <a:pt x="443" y="12"/>
                  <a:pt x="443" y="12"/>
                  <a:pt x="443" y="12"/>
                </a:cubicBezTo>
                <a:cubicBezTo>
                  <a:pt x="443" y="14"/>
                  <a:pt x="443" y="14"/>
                  <a:pt x="443" y="14"/>
                </a:cubicBezTo>
                <a:cubicBezTo>
                  <a:pt x="444" y="14"/>
                  <a:pt x="444" y="14"/>
                  <a:pt x="444" y="14"/>
                </a:cubicBezTo>
                <a:cubicBezTo>
                  <a:pt x="444" y="16"/>
                  <a:pt x="444" y="16"/>
                  <a:pt x="444" y="16"/>
                </a:cubicBezTo>
                <a:cubicBezTo>
                  <a:pt x="444" y="17"/>
                  <a:pt x="444" y="17"/>
                  <a:pt x="444" y="17"/>
                </a:cubicBezTo>
                <a:cubicBezTo>
                  <a:pt x="444" y="18"/>
                  <a:pt x="444" y="18"/>
                  <a:pt x="444" y="18"/>
                </a:cubicBezTo>
                <a:cubicBezTo>
                  <a:pt x="444" y="19"/>
                  <a:pt x="444" y="19"/>
                  <a:pt x="444" y="19"/>
                </a:cubicBezTo>
                <a:cubicBezTo>
                  <a:pt x="445" y="19"/>
                  <a:pt x="445" y="19"/>
                  <a:pt x="445" y="19"/>
                </a:cubicBezTo>
                <a:cubicBezTo>
                  <a:pt x="445" y="19"/>
                  <a:pt x="445" y="19"/>
                  <a:pt x="445" y="19"/>
                </a:cubicBezTo>
                <a:cubicBezTo>
                  <a:pt x="445" y="18"/>
                  <a:pt x="445" y="18"/>
                  <a:pt x="445" y="18"/>
                </a:cubicBezTo>
                <a:cubicBezTo>
                  <a:pt x="445" y="17"/>
                  <a:pt x="445" y="17"/>
                  <a:pt x="445" y="17"/>
                </a:cubicBezTo>
                <a:cubicBezTo>
                  <a:pt x="446" y="16"/>
                  <a:pt x="446" y="16"/>
                  <a:pt x="446" y="16"/>
                </a:cubicBezTo>
                <a:cubicBezTo>
                  <a:pt x="447" y="14"/>
                  <a:pt x="447" y="14"/>
                  <a:pt x="447" y="14"/>
                </a:cubicBezTo>
                <a:cubicBezTo>
                  <a:pt x="448" y="14"/>
                  <a:pt x="448" y="14"/>
                  <a:pt x="448" y="14"/>
                </a:cubicBezTo>
                <a:cubicBezTo>
                  <a:pt x="449" y="16"/>
                  <a:pt x="449" y="16"/>
                  <a:pt x="449" y="16"/>
                </a:cubicBezTo>
                <a:cubicBezTo>
                  <a:pt x="449" y="17"/>
                  <a:pt x="449" y="17"/>
                  <a:pt x="449" y="17"/>
                </a:cubicBezTo>
                <a:cubicBezTo>
                  <a:pt x="448" y="19"/>
                  <a:pt x="448" y="19"/>
                  <a:pt x="448" y="19"/>
                </a:cubicBezTo>
                <a:cubicBezTo>
                  <a:pt x="449" y="19"/>
                  <a:pt x="449" y="19"/>
                  <a:pt x="449" y="19"/>
                </a:cubicBezTo>
                <a:cubicBezTo>
                  <a:pt x="449" y="20"/>
                  <a:pt x="449" y="20"/>
                  <a:pt x="449" y="20"/>
                </a:cubicBezTo>
                <a:cubicBezTo>
                  <a:pt x="450" y="19"/>
                  <a:pt x="450" y="19"/>
                  <a:pt x="450" y="19"/>
                </a:cubicBezTo>
                <a:cubicBezTo>
                  <a:pt x="450" y="18"/>
                  <a:pt x="450" y="18"/>
                  <a:pt x="450" y="18"/>
                </a:cubicBezTo>
                <a:cubicBezTo>
                  <a:pt x="451" y="18"/>
                  <a:pt x="451" y="18"/>
                  <a:pt x="451" y="18"/>
                </a:cubicBezTo>
                <a:cubicBezTo>
                  <a:pt x="451" y="17"/>
                  <a:pt x="451" y="17"/>
                  <a:pt x="451" y="17"/>
                </a:cubicBezTo>
                <a:cubicBezTo>
                  <a:pt x="452" y="18"/>
                  <a:pt x="452" y="18"/>
                  <a:pt x="452" y="18"/>
                </a:cubicBezTo>
                <a:cubicBezTo>
                  <a:pt x="451" y="18"/>
                  <a:pt x="451" y="18"/>
                  <a:pt x="451" y="18"/>
                </a:cubicBezTo>
                <a:cubicBezTo>
                  <a:pt x="451" y="19"/>
                  <a:pt x="451" y="19"/>
                  <a:pt x="451" y="19"/>
                </a:cubicBezTo>
                <a:cubicBezTo>
                  <a:pt x="452" y="20"/>
                  <a:pt x="452" y="20"/>
                  <a:pt x="452" y="20"/>
                </a:cubicBezTo>
                <a:cubicBezTo>
                  <a:pt x="453" y="19"/>
                  <a:pt x="453" y="19"/>
                  <a:pt x="453" y="19"/>
                </a:cubicBezTo>
                <a:cubicBezTo>
                  <a:pt x="453" y="19"/>
                  <a:pt x="453" y="19"/>
                  <a:pt x="453" y="19"/>
                </a:cubicBezTo>
                <a:cubicBezTo>
                  <a:pt x="453" y="20"/>
                  <a:pt x="453" y="20"/>
                  <a:pt x="453" y="20"/>
                </a:cubicBezTo>
                <a:cubicBezTo>
                  <a:pt x="454" y="20"/>
                  <a:pt x="454" y="20"/>
                  <a:pt x="454" y="20"/>
                </a:cubicBezTo>
                <a:cubicBezTo>
                  <a:pt x="454" y="18"/>
                  <a:pt x="454" y="18"/>
                  <a:pt x="454" y="18"/>
                </a:cubicBezTo>
                <a:cubicBezTo>
                  <a:pt x="453" y="16"/>
                  <a:pt x="453" y="16"/>
                  <a:pt x="453" y="16"/>
                </a:cubicBezTo>
                <a:cubicBezTo>
                  <a:pt x="452" y="16"/>
                  <a:pt x="452" y="16"/>
                  <a:pt x="452" y="16"/>
                </a:cubicBezTo>
                <a:cubicBezTo>
                  <a:pt x="452" y="15"/>
                  <a:pt x="452" y="15"/>
                  <a:pt x="452" y="15"/>
                </a:cubicBezTo>
                <a:cubicBezTo>
                  <a:pt x="452" y="14"/>
                  <a:pt x="452" y="14"/>
                  <a:pt x="452" y="14"/>
                </a:cubicBezTo>
                <a:cubicBezTo>
                  <a:pt x="451" y="13"/>
                  <a:pt x="451" y="13"/>
                  <a:pt x="451" y="13"/>
                </a:cubicBezTo>
                <a:cubicBezTo>
                  <a:pt x="450" y="12"/>
                  <a:pt x="450" y="12"/>
                  <a:pt x="450" y="12"/>
                </a:cubicBezTo>
                <a:cubicBezTo>
                  <a:pt x="450" y="11"/>
                  <a:pt x="450" y="11"/>
                  <a:pt x="450" y="11"/>
                </a:cubicBezTo>
                <a:cubicBezTo>
                  <a:pt x="450" y="10"/>
                  <a:pt x="450" y="10"/>
                  <a:pt x="450" y="10"/>
                </a:cubicBezTo>
                <a:cubicBezTo>
                  <a:pt x="451" y="10"/>
                  <a:pt x="451" y="10"/>
                  <a:pt x="451" y="10"/>
                </a:cubicBezTo>
                <a:cubicBezTo>
                  <a:pt x="452" y="11"/>
                  <a:pt x="452" y="11"/>
                  <a:pt x="452" y="11"/>
                </a:cubicBezTo>
                <a:cubicBezTo>
                  <a:pt x="453" y="10"/>
                  <a:pt x="453" y="10"/>
                  <a:pt x="453" y="10"/>
                </a:cubicBezTo>
                <a:cubicBezTo>
                  <a:pt x="454" y="11"/>
                  <a:pt x="454" y="11"/>
                  <a:pt x="454" y="11"/>
                </a:cubicBezTo>
                <a:cubicBezTo>
                  <a:pt x="455" y="10"/>
                  <a:pt x="455" y="10"/>
                  <a:pt x="455" y="10"/>
                </a:cubicBezTo>
                <a:cubicBezTo>
                  <a:pt x="455" y="8"/>
                  <a:pt x="455" y="8"/>
                  <a:pt x="455" y="8"/>
                </a:cubicBezTo>
                <a:cubicBezTo>
                  <a:pt x="454" y="7"/>
                  <a:pt x="454" y="7"/>
                  <a:pt x="454" y="7"/>
                </a:cubicBezTo>
                <a:cubicBezTo>
                  <a:pt x="454" y="6"/>
                  <a:pt x="454" y="6"/>
                  <a:pt x="454" y="6"/>
                </a:cubicBezTo>
                <a:cubicBezTo>
                  <a:pt x="456" y="6"/>
                  <a:pt x="456" y="6"/>
                  <a:pt x="456" y="6"/>
                </a:cubicBezTo>
                <a:cubicBezTo>
                  <a:pt x="456" y="6"/>
                  <a:pt x="456" y="6"/>
                  <a:pt x="456" y="6"/>
                </a:cubicBezTo>
                <a:cubicBezTo>
                  <a:pt x="459" y="6"/>
                  <a:pt x="459" y="6"/>
                  <a:pt x="459" y="6"/>
                </a:cubicBezTo>
                <a:cubicBezTo>
                  <a:pt x="460" y="7"/>
                  <a:pt x="460" y="7"/>
                  <a:pt x="460" y="7"/>
                </a:cubicBezTo>
                <a:cubicBezTo>
                  <a:pt x="460" y="8"/>
                  <a:pt x="460" y="8"/>
                  <a:pt x="460" y="8"/>
                </a:cubicBezTo>
                <a:cubicBezTo>
                  <a:pt x="459" y="9"/>
                  <a:pt x="459" y="9"/>
                  <a:pt x="459" y="9"/>
                </a:cubicBezTo>
                <a:cubicBezTo>
                  <a:pt x="459" y="9"/>
                  <a:pt x="459" y="9"/>
                  <a:pt x="459" y="9"/>
                </a:cubicBezTo>
                <a:cubicBezTo>
                  <a:pt x="461" y="10"/>
                  <a:pt x="461" y="10"/>
                  <a:pt x="461" y="10"/>
                </a:cubicBezTo>
                <a:cubicBezTo>
                  <a:pt x="461" y="11"/>
                  <a:pt x="461" y="11"/>
                  <a:pt x="461" y="11"/>
                </a:cubicBezTo>
                <a:cubicBezTo>
                  <a:pt x="461" y="13"/>
                  <a:pt x="461" y="13"/>
                  <a:pt x="461" y="13"/>
                </a:cubicBezTo>
                <a:cubicBezTo>
                  <a:pt x="461" y="15"/>
                  <a:pt x="461" y="15"/>
                  <a:pt x="461" y="15"/>
                </a:cubicBezTo>
                <a:cubicBezTo>
                  <a:pt x="462" y="15"/>
                  <a:pt x="462" y="15"/>
                  <a:pt x="462" y="15"/>
                </a:cubicBezTo>
                <a:cubicBezTo>
                  <a:pt x="463" y="13"/>
                  <a:pt x="463" y="13"/>
                  <a:pt x="463" y="13"/>
                </a:cubicBezTo>
                <a:cubicBezTo>
                  <a:pt x="463" y="14"/>
                  <a:pt x="463" y="14"/>
                  <a:pt x="463" y="14"/>
                </a:cubicBezTo>
                <a:cubicBezTo>
                  <a:pt x="463" y="15"/>
                  <a:pt x="463" y="15"/>
                  <a:pt x="463" y="15"/>
                </a:cubicBezTo>
                <a:cubicBezTo>
                  <a:pt x="464" y="15"/>
                  <a:pt x="464" y="15"/>
                  <a:pt x="464" y="15"/>
                </a:cubicBezTo>
                <a:cubicBezTo>
                  <a:pt x="465" y="15"/>
                  <a:pt x="465" y="15"/>
                  <a:pt x="465" y="15"/>
                </a:cubicBezTo>
                <a:cubicBezTo>
                  <a:pt x="465" y="14"/>
                  <a:pt x="465" y="14"/>
                  <a:pt x="465" y="14"/>
                </a:cubicBezTo>
                <a:cubicBezTo>
                  <a:pt x="467" y="13"/>
                  <a:pt x="467" y="13"/>
                  <a:pt x="467" y="13"/>
                </a:cubicBezTo>
                <a:cubicBezTo>
                  <a:pt x="467" y="13"/>
                  <a:pt x="467" y="13"/>
                  <a:pt x="467" y="13"/>
                </a:cubicBezTo>
                <a:cubicBezTo>
                  <a:pt x="466" y="10"/>
                  <a:pt x="466" y="10"/>
                  <a:pt x="466" y="10"/>
                </a:cubicBezTo>
                <a:cubicBezTo>
                  <a:pt x="467" y="9"/>
                  <a:pt x="467" y="9"/>
                  <a:pt x="467" y="9"/>
                </a:cubicBezTo>
                <a:cubicBezTo>
                  <a:pt x="468" y="9"/>
                  <a:pt x="468" y="9"/>
                  <a:pt x="468" y="9"/>
                </a:cubicBezTo>
                <a:cubicBezTo>
                  <a:pt x="469" y="10"/>
                  <a:pt x="469" y="10"/>
                  <a:pt x="469" y="10"/>
                </a:cubicBezTo>
                <a:cubicBezTo>
                  <a:pt x="471" y="10"/>
                  <a:pt x="471" y="10"/>
                  <a:pt x="471" y="10"/>
                </a:cubicBezTo>
                <a:cubicBezTo>
                  <a:pt x="471" y="9"/>
                  <a:pt x="471" y="9"/>
                  <a:pt x="471" y="9"/>
                </a:cubicBezTo>
                <a:cubicBezTo>
                  <a:pt x="469" y="8"/>
                  <a:pt x="469" y="8"/>
                  <a:pt x="469" y="8"/>
                </a:cubicBezTo>
                <a:cubicBezTo>
                  <a:pt x="468" y="6"/>
                  <a:pt x="468" y="6"/>
                  <a:pt x="468" y="6"/>
                </a:cubicBezTo>
                <a:cubicBezTo>
                  <a:pt x="469" y="5"/>
                  <a:pt x="469" y="5"/>
                  <a:pt x="469" y="5"/>
                </a:cubicBezTo>
                <a:cubicBezTo>
                  <a:pt x="469" y="4"/>
                  <a:pt x="469" y="4"/>
                  <a:pt x="469" y="4"/>
                </a:cubicBezTo>
                <a:cubicBezTo>
                  <a:pt x="470" y="4"/>
                  <a:pt x="470" y="4"/>
                  <a:pt x="470" y="4"/>
                </a:cubicBezTo>
                <a:cubicBezTo>
                  <a:pt x="472" y="5"/>
                  <a:pt x="472" y="5"/>
                  <a:pt x="472" y="5"/>
                </a:cubicBezTo>
                <a:cubicBezTo>
                  <a:pt x="472" y="7"/>
                  <a:pt x="472" y="7"/>
                  <a:pt x="472" y="7"/>
                </a:cubicBezTo>
                <a:cubicBezTo>
                  <a:pt x="473" y="8"/>
                  <a:pt x="473" y="8"/>
                  <a:pt x="473" y="8"/>
                </a:cubicBezTo>
                <a:cubicBezTo>
                  <a:pt x="473" y="10"/>
                  <a:pt x="473" y="10"/>
                  <a:pt x="473" y="10"/>
                </a:cubicBezTo>
                <a:cubicBezTo>
                  <a:pt x="473" y="11"/>
                  <a:pt x="473" y="11"/>
                  <a:pt x="473" y="11"/>
                </a:cubicBezTo>
                <a:cubicBezTo>
                  <a:pt x="473" y="13"/>
                  <a:pt x="473" y="13"/>
                  <a:pt x="473" y="13"/>
                </a:cubicBezTo>
                <a:cubicBezTo>
                  <a:pt x="474" y="14"/>
                  <a:pt x="474" y="14"/>
                  <a:pt x="474" y="14"/>
                </a:cubicBezTo>
                <a:cubicBezTo>
                  <a:pt x="475" y="13"/>
                  <a:pt x="475" y="13"/>
                  <a:pt x="475" y="13"/>
                </a:cubicBezTo>
                <a:cubicBezTo>
                  <a:pt x="475" y="12"/>
                  <a:pt x="475" y="12"/>
                  <a:pt x="475" y="12"/>
                </a:cubicBezTo>
                <a:cubicBezTo>
                  <a:pt x="474" y="11"/>
                  <a:pt x="474" y="11"/>
                  <a:pt x="474" y="11"/>
                </a:cubicBezTo>
                <a:cubicBezTo>
                  <a:pt x="474" y="9"/>
                  <a:pt x="474" y="9"/>
                  <a:pt x="474" y="9"/>
                </a:cubicBezTo>
                <a:cubicBezTo>
                  <a:pt x="474" y="7"/>
                  <a:pt x="474" y="7"/>
                  <a:pt x="474" y="7"/>
                </a:cubicBezTo>
                <a:cubicBezTo>
                  <a:pt x="474" y="5"/>
                  <a:pt x="474" y="5"/>
                  <a:pt x="474" y="5"/>
                </a:cubicBezTo>
                <a:cubicBezTo>
                  <a:pt x="474" y="3"/>
                  <a:pt x="474" y="3"/>
                  <a:pt x="474" y="3"/>
                </a:cubicBezTo>
                <a:cubicBezTo>
                  <a:pt x="474" y="2"/>
                  <a:pt x="474" y="2"/>
                  <a:pt x="474" y="2"/>
                </a:cubicBezTo>
                <a:cubicBezTo>
                  <a:pt x="475" y="2"/>
                  <a:pt x="475" y="2"/>
                  <a:pt x="475" y="2"/>
                </a:cubicBezTo>
                <a:cubicBezTo>
                  <a:pt x="476" y="3"/>
                  <a:pt x="476" y="3"/>
                  <a:pt x="476" y="3"/>
                </a:cubicBezTo>
                <a:cubicBezTo>
                  <a:pt x="477" y="3"/>
                  <a:pt x="477" y="3"/>
                  <a:pt x="477" y="3"/>
                </a:cubicBezTo>
                <a:cubicBezTo>
                  <a:pt x="477" y="3"/>
                  <a:pt x="477" y="3"/>
                  <a:pt x="477" y="3"/>
                </a:cubicBezTo>
                <a:cubicBezTo>
                  <a:pt x="477" y="5"/>
                  <a:pt x="477" y="5"/>
                  <a:pt x="477" y="5"/>
                </a:cubicBezTo>
                <a:cubicBezTo>
                  <a:pt x="478" y="6"/>
                  <a:pt x="478" y="6"/>
                  <a:pt x="478" y="6"/>
                </a:cubicBezTo>
                <a:cubicBezTo>
                  <a:pt x="478" y="8"/>
                  <a:pt x="478" y="8"/>
                  <a:pt x="478" y="8"/>
                </a:cubicBezTo>
                <a:cubicBezTo>
                  <a:pt x="478" y="10"/>
                  <a:pt x="478" y="10"/>
                  <a:pt x="478" y="10"/>
                </a:cubicBezTo>
                <a:cubicBezTo>
                  <a:pt x="479" y="10"/>
                  <a:pt x="479" y="10"/>
                  <a:pt x="479" y="10"/>
                </a:cubicBezTo>
                <a:cubicBezTo>
                  <a:pt x="479" y="9"/>
                  <a:pt x="479" y="9"/>
                  <a:pt x="479" y="9"/>
                </a:cubicBezTo>
                <a:cubicBezTo>
                  <a:pt x="479" y="8"/>
                  <a:pt x="479" y="8"/>
                  <a:pt x="479" y="8"/>
                </a:cubicBezTo>
                <a:cubicBezTo>
                  <a:pt x="480" y="8"/>
                  <a:pt x="480" y="8"/>
                  <a:pt x="480" y="8"/>
                </a:cubicBezTo>
                <a:cubicBezTo>
                  <a:pt x="482" y="10"/>
                  <a:pt x="482" y="10"/>
                  <a:pt x="482" y="10"/>
                </a:cubicBezTo>
                <a:cubicBezTo>
                  <a:pt x="482" y="10"/>
                  <a:pt x="482" y="10"/>
                  <a:pt x="482" y="10"/>
                </a:cubicBezTo>
                <a:cubicBezTo>
                  <a:pt x="483" y="10"/>
                  <a:pt x="483" y="10"/>
                  <a:pt x="483" y="10"/>
                </a:cubicBezTo>
                <a:cubicBezTo>
                  <a:pt x="483" y="9"/>
                  <a:pt x="483" y="9"/>
                  <a:pt x="483" y="9"/>
                </a:cubicBezTo>
                <a:cubicBezTo>
                  <a:pt x="482" y="9"/>
                  <a:pt x="482" y="9"/>
                  <a:pt x="482" y="9"/>
                </a:cubicBezTo>
                <a:cubicBezTo>
                  <a:pt x="481" y="8"/>
                  <a:pt x="481" y="8"/>
                  <a:pt x="481" y="8"/>
                </a:cubicBezTo>
                <a:cubicBezTo>
                  <a:pt x="482" y="7"/>
                  <a:pt x="482" y="7"/>
                  <a:pt x="482" y="7"/>
                </a:cubicBezTo>
                <a:cubicBezTo>
                  <a:pt x="482" y="6"/>
                  <a:pt x="482" y="6"/>
                  <a:pt x="482" y="6"/>
                </a:cubicBezTo>
                <a:cubicBezTo>
                  <a:pt x="480" y="5"/>
                  <a:pt x="480" y="5"/>
                  <a:pt x="480" y="5"/>
                </a:cubicBezTo>
                <a:cubicBezTo>
                  <a:pt x="480" y="4"/>
                  <a:pt x="480" y="4"/>
                  <a:pt x="480" y="4"/>
                </a:cubicBezTo>
                <a:cubicBezTo>
                  <a:pt x="480" y="4"/>
                  <a:pt x="480" y="4"/>
                  <a:pt x="480" y="4"/>
                </a:cubicBezTo>
                <a:cubicBezTo>
                  <a:pt x="482" y="4"/>
                  <a:pt x="482" y="4"/>
                  <a:pt x="482" y="4"/>
                </a:cubicBezTo>
                <a:cubicBezTo>
                  <a:pt x="481" y="3"/>
                  <a:pt x="481" y="3"/>
                  <a:pt x="481" y="3"/>
                </a:cubicBezTo>
                <a:cubicBezTo>
                  <a:pt x="480" y="3"/>
                  <a:pt x="480" y="3"/>
                  <a:pt x="480" y="3"/>
                </a:cubicBezTo>
                <a:cubicBezTo>
                  <a:pt x="479" y="2"/>
                  <a:pt x="479" y="2"/>
                  <a:pt x="479" y="2"/>
                </a:cubicBezTo>
                <a:cubicBezTo>
                  <a:pt x="480" y="2"/>
                  <a:pt x="480" y="2"/>
                  <a:pt x="480" y="2"/>
                </a:cubicBezTo>
                <a:cubicBezTo>
                  <a:pt x="481" y="2"/>
                  <a:pt x="481" y="2"/>
                  <a:pt x="481" y="2"/>
                </a:cubicBezTo>
                <a:cubicBezTo>
                  <a:pt x="482" y="0"/>
                  <a:pt x="482" y="0"/>
                  <a:pt x="482" y="0"/>
                </a:cubicBezTo>
                <a:cubicBezTo>
                  <a:pt x="485" y="1"/>
                  <a:pt x="485" y="1"/>
                  <a:pt x="485" y="1"/>
                </a:cubicBezTo>
                <a:cubicBezTo>
                  <a:pt x="485" y="1"/>
                  <a:pt x="485" y="1"/>
                  <a:pt x="485" y="1"/>
                </a:cubicBezTo>
                <a:cubicBezTo>
                  <a:pt x="485" y="3"/>
                  <a:pt x="485" y="3"/>
                  <a:pt x="485" y="3"/>
                </a:cubicBezTo>
                <a:cubicBezTo>
                  <a:pt x="485" y="4"/>
                  <a:pt x="485" y="4"/>
                  <a:pt x="485" y="4"/>
                </a:cubicBezTo>
                <a:cubicBezTo>
                  <a:pt x="485" y="5"/>
                  <a:pt x="485" y="5"/>
                  <a:pt x="485" y="5"/>
                </a:cubicBezTo>
                <a:cubicBezTo>
                  <a:pt x="486" y="4"/>
                  <a:pt x="486" y="4"/>
                  <a:pt x="486" y="4"/>
                </a:cubicBezTo>
                <a:cubicBezTo>
                  <a:pt x="487" y="3"/>
                  <a:pt x="487" y="3"/>
                  <a:pt x="487" y="3"/>
                </a:cubicBezTo>
                <a:cubicBezTo>
                  <a:pt x="487" y="2"/>
                  <a:pt x="487" y="2"/>
                  <a:pt x="487" y="2"/>
                </a:cubicBezTo>
                <a:cubicBezTo>
                  <a:pt x="488" y="3"/>
                  <a:pt x="488" y="3"/>
                  <a:pt x="488" y="3"/>
                </a:cubicBezTo>
                <a:cubicBezTo>
                  <a:pt x="487" y="5"/>
                  <a:pt x="487" y="5"/>
                  <a:pt x="487" y="5"/>
                </a:cubicBezTo>
                <a:cubicBezTo>
                  <a:pt x="488" y="5"/>
                  <a:pt x="488" y="5"/>
                  <a:pt x="488" y="5"/>
                </a:cubicBezTo>
                <a:cubicBezTo>
                  <a:pt x="489" y="5"/>
                  <a:pt x="489" y="5"/>
                  <a:pt x="489" y="5"/>
                </a:cubicBezTo>
                <a:cubicBezTo>
                  <a:pt x="489" y="5"/>
                  <a:pt x="489" y="5"/>
                  <a:pt x="489" y="5"/>
                </a:cubicBezTo>
                <a:cubicBezTo>
                  <a:pt x="490" y="3"/>
                  <a:pt x="490" y="3"/>
                  <a:pt x="490" y="3"/>
                </a:cubicBezTo>
                <a:cubicBezTo>
                  <a:pt x="491" y="4"/>
                  <a:pt x="491" y="4"/>
                  <a:pt x="491" y="4"/>
                </a:cubicBezTo>
                <a:cubicBezTo>
                  <a:pt x="491" y="5"/>
                  <a:pt x="491" y="5"/>
                  <a:pt x="491" y="5"/>
                </a:cubicBezTo>
                <a:cubicBezTo>
                  <a:pt x="490" y="6"/>
                  <a:pt x="490" y="6"/>
                  <a:pt x="490" y="6"/>
                </a:cubicBezTo>
                <a:cubicBezTo>
                  <a:pt x="491" y="8"/>
                  <a:pt x="491" y="8"/>
                  <a:pt x="491" y="8"/>
                </a:cubicBezTo>
                <a:cubicBezTo>
                  <a:pt x="490" y="9"/>
                  <a:pt x="490" y="9"/>
                  <a:pt x="490" y="9"/>
                </a:cubicBezTo>
                <a:cubicBezTo>
                  <a:pt x="491" y="10"/>
                  <a:pt x="491" y="10"/>
                  <a:pt x="491" y="10"/>
                </a:cubicBezTo>
                <a:cubicBezTo>
                  <a:pt x="492" y="9"/>
                  <a:pt x="492" y="9"/>
                  <a:pt x="492" y="9"/>
                </a:cubicBezTo>
                <a:cubicBezTo>
                  <a:pt x="493" y="10"/>
                  <a:pt x="493" y="10"/>
                  <a:pt x="493" y="10"/>
                </a:cubicBezTo>
                <a:cubicBezTo>
                  <a:pt x="493" y="9"/>
                  <a:pt x="493" y="9"/>
                  <a:pt x="493" y="9"/>
                </a:cubicBezTo>
                <a:cubicBezTo>
                  <a:pt x="493" y="7"/>
                  <a:pt x="493" y="7"/>
                  <a:pt x="493" y="7"/>
                </a:cubicBezTo>
                <a:cubicBezTo>
                  <a:pt x="494" y="5"/>
                  <a:pt x="494" y="5"/>
                  <a:pt x="494" y="5"/>
                </a:cubicBezTo>
                <a:cubicBezTo>
                  <a:pt x="493" y="2"/>
                  <a:pt x="493" y="2"/>
                  <a:pt x="493" y="2"/>
                </a:cubicBezTo>
                <a:cubicBezTo>
                  <a:pt x="493" y="1"/>
                  <a:pt x="493" y="1"/>
                  <a:pt x="493" y="1"/>
                </a:cubicBezTo>
                <a:cubicBezTo>
                  <a:pt x="494" y="0"/>
                  <a:pt x="494" y="0"/>
                  <a:pt x="494" y="0"/>
                </a:cubicBezTo>
                <a:cubicBezTo>
                  <a:pt x="495" y="1"/>
                  <a:pt x="495" y="1"/>
                  <a:pt x="495" y="1"/>
                </a:cubicBezTo>
                <a:cubicBezTo>
                  <a:pt x="496" y="1"/>
                  <a:pt x="496" y="1"/>
                  <a:pt x="496" y="1"/>
                </a:cubicBezTo>
                <a:cubicBezTo>
                  <a:pt x="497" y="1"/>
                  <a:pt x="497" y="1"/>
                  <a:pt x="497" y="1"/>
                </a:cubicBezTo>
                <a:cubicBezTo>
                  <a:pt x="499" y="1"/>
                  <a:pt x="499" y="1"/>
                  <a:pt x="499" y="1"/>
                </a:cubicBezTo>
                <a:cubicBezTo>
                  <a:pt x="500" y="1"/>
                  <a:pt x="500" y="1"/>
                  <a:pt x="500" y="1"/>
                </a:cubicBezTo>
                <a:cubicBezTo>
                  <a:pt x="501" y="2"/>
                  <a:pt x="501" y="2"/>
                  <a:pt x="501" y="2"/>
                </a:cubicBezTo>
                <a:cubicBezTo>
                  <a:pt x="502" y="3"/>
                  <a:pt x="502" y="3"/>
                  <a:pt x="502" y="3"/>
                </a:cubicBezTo>
                <a:cubicBezTo>
                  <a:pt x="504" y="2"/>
                  <a:pt x="504" y="2"/>
                  <a:pt x="504" y="2"/>
                </a:cubicBezTo>
                <a:cubicBezTo>
                  <a:pt x="505" y="3"/>
                  <a:pt x="505" y="3"/>
                  <a:pt x="505" y="3"/>
                </a:cubicBezTo>
                <a:cubicBezTo>
                  <a:pt x="506" y="4"/>
                  <a:pt x="506" y="4"/>
                  <a:pt x="506" y="4"/>
                </a:cubicBezTo>
                <a:cubicBezTo>
                  <a:pt x="506" y="5"/>
                  <a:pt x="506" y="5"/>
                  <a:pt x="506" y="5"/>
                </a:cubicBezTo>
                <a:cubicBezTo>
                  <a:pt x="506" y="6"/>
                  <a:pt x="506" y="6"/>
                  <a:pt x="506" y="6"/>
                </a:cubicBezTo>
                <a:cubicBezTo>
                  <a:pt x="506" y="8"/>
                  <a:pt x="506" y="8"/>
                  <a:pt x="506" y="8"/>
                </a:cubicBezTo>
                <a:cubicBezTo>
                  <a:pt x="506" y="9"/>
                  <a:pt x="506" y="9"/>
                  <a:pt x="506" y="9"/>
                </a:cubicBezTo>
                <a:cubicBezTo>
                  <a:pt x="507" y="8"/>
                  <a:pt x="507" y="8"/>
                  <a:pt x="507" y="8"/>
                </a:cubicBezTo>
                <a:cubicBezTo>
                  <a:pt x="508" y="7"/>
                  <a:pt x="508" y="7"/>
                  <a:pt x="508" y="7"/>
                </a:cubicBezTo>
                <a:cubicBezTo>
                  <a:pt x="510" y="5"/>
                  <a:pt x="510" y="5"/>
                  <a:pt x="510" y="5"/>
                </a:cubicBezTo>
                <a:cubicBezTo>
                  <a:pt x="511" y="4"/>
                  <a:pt x="511" y="4"/>
                  <a:pt x="511" y="4"/>
                </a:cubicBezTo>
                <a:cubicBezTo>
                  <a:pt x="512" y="4"/>
                  <a:pt x="512" y="4"/>
                  <a:pt x="512" y="4"/>
                </a:cubicBezTo>
                <a:cubicBezTo>
                  <a:pt x="514" y="5"/>
                  <a:pt x="514" y="5"/>
                  <a:pt x="514" y="5"/>
                </a:cubicBezTo>
                <a:cubicBezTo>
                  <a:pt x="515" y="5"/>
                  <a:pt x="515" y="5"/>
                  <a:pt x="515" y="5"/>
                </a:cubicBezTo>
                <a:cubicBezTo>
                  <a:pt x="515" y="6"/>
                  <a:pt x="515" y="6"/>
                  <a:pt x="515" y="6"/>
                </a:cubicBezTo>
                <a:cubicBezTo>
                  <a:pt x="514" y="7"/>
                  <a:pt x="514" y="7"/>
                  <a:pt x="514" y="7"/>
                </a:cubicBezTo>
                <a:cubicBezTo>
                  <a:pt x="514" y="9"/>
                  <a:pt x="514" y="9"/>
                  <a:pt x="514" y="9"/>
                </a:cubicBezTo>
                <a:cubicBezTo>
                  <a:pt x="515" y="8"/>
                  <a:pt x="515" y="8"/>
                  <a:pt x="515" y="8"/>
                </a:cubicBezTo>
                <a:cubicBezTo>
                  <a:pt x="515" y="7"/>
                  <a:pt x="515" y="7"/>
                  <a:pt x="515" y="7"/>
                </a:cubicBezTo>
                <a:cubicBezTo>
                  <a:pt x="517" y="6"/>
                  <a:pt x="517" y="6"/>
                  <a:pt x="517" y="6"/>
                </a:cubicBezTo>
                <a:cubicBezTo>
                  <a:pt x="518" y="6"/>
                  <a:pt x="518" y="6"/>
                  <a:pt x="518" y="6"/>
                </a:cubicBezTo>
                <a:cubicBezTo>
                  <a:pt x="520" y="6"/>
                  <a:pt x="520" y="6"/>
                  <a:pt x="520" y="6"/>
                </a:cubicBezTo>
                <a:cubicBezTo>
                  <a:pt x="522" y="7"/>
                  <a:pt x="522" y="7"/>
                  <a:pt x="522" y="7"/>
                </a:cubicBezTo>
                <a:cubicBezTo>
                  <a:pt x="523" y="8"/>
                  <a:pt x="523" y="8"/>
                  <a:pt x="523" y="8"/>
                </a:cubicBezTo>
                <a:cubicBezTo>
                  <a:pt x="522" y="8"/>
                  <a:pt x="522" y="8"/>
                  <a:pt x="522" y="8"/>
                </a:cubicBezTo>
                <a:cubicBezTo>
                  <a:pt x="522" y="9"/>
                  <a:pt x="522" y="9"/>
                  <a:pt x="522" y="9"/>
                </a:cubicBezTo>
                <a:cubicBezTo>
                  <a:pt x="522" y="9"/>
                  <a:pt x="522" y="9"/>
                  <a:pt x="522" y="9"/>
                </a:cubicBezTo>
                <a:cubicBezTo>
                  <a:pt x="521" y="10"/>
                  <a:pt x="521" y="10"/>
                  <a:pt x="521" y="10"/>
                </a:cubicBezTo>
                <a:cubicBezTo>
                  <a:pt x="522" y="11"/>
                  <a:pt x="522" y="11"/>
                  <a:pt x="522" y="11"/>
                </a:cubicBezTo>
                <a:cubicBezTo>
                  <a:pt x="523" y="10"/>
                  <a:pt x="523" y="10"/>
                  <a:pt x="523" y="10"/>
                </a:cubicBezTo>
                <a:cubicBezTo>
                  <a:pt x="524" y="10"/>
                  <a:pt x="524" y="10"/>
                  <a:pt x="524" y="10"/>
                </a:cubicBezTo>
                <a:cubicBezTo>
                  <a:pt x="524" y="11"/>
                  <a:pt x="524" y="11"/>
                  <a:pt x="524" y="11"/>
                </a:cubicBezTo>
                <a:cubicBezTo>
                  <a:pt x="525" y="12"/>
                  <a:pt x="525" y="12"/>
                  <a:pt x="525" y="12"/>
                </a:cubicBezTo>
                <a:cubicBezTo>
                  <a:pt x="525" y="11"/>
                  <a:pt x="525" y="11"/>
                  <a:pt x="525" y="11"/>
                </a:cubicBezTo>
                <a:cubicBezTo>
                  <a:pt x="527" y="10"/>
                  <a:pt x="527" y="10"/>
                  <a:pt x="527" y="10"/>
                </a:cubicBezTo>
                <a:cubicBezTo>
                  <a:pt x="527" y="11"/>
                  <a:pt x="527" y="11"/>
                  <a:pt x="527" y="11"/>
                </a:cubicBezTo>
                <a:cubicBezTo>
                  <a:pt x="527" y="12"/>
                  <a:pt x="527" y="12"/>
                  <a:pt x="527" y="12"/>
                </a:cubicBezTo>
                <a:cubicBezTo>
                  <a:pt x="527" y="13"/>
                  <a:pt x="527" y="13"/>
                  <a:pt x="527" y="13"/>
                </a:cubicBezTo>
                <a:cubicBezTo>
                  <a:pt x="528" y="13"/>
                  <a:pt x="528" y="13"/>
                  <a:pt x="528" y="13"/>
                </a:cubicBezTo>
                <a:cubicBezTo>
                  <a:pt x="528" y="13"/>
                  <a:pt x="528" y="13"/>
                  <a:pt x="528" y="13"/>
                </a:cubicBezTo>
                <a:cubicBezTo>
                  <a:pt x="529" y="12"/>
                  <a:pt x="529" y="12"/>
                  <a:pt x="529" y="12"/>
                </a:cubicBezTo>
                <a:cubicBezTo>
                  <a:pt x="530" y="12"/>
                  <a:pt x="530" y="12"/>
                  <a:pt x="530" y="12"/>
                </a:cubicBezTo>
                <a:cubicBezTo>
                  <a:pt x="530" y="13"/>
                  <a:pt x="530" y="13"/>
                  <a:pt x="530" y="13"/>
                </a:cubicBezTo>
                <a:cubicBezTo>
                  <a:pt x="533" y="14"/>
                  <a:pt x="533" y="14"/>
                  <a:pt x="533" y="14"/>
                </a:cubicBezTo>
                <a:cubicBezTo>
                  <a:pt x="534" y="14"/>
                  <a:pt x="534" y="14"/>
                  <a:pt x="534" y="14"/>
                </a:cubicBezTo>
                <a:cubicBezTo>
                  <a:pt x="534" y="15"/>
                  <a:pt x="534" y="15"/>
                  <a:pt x="534" y="15"/>
                </a:cubicBezTo>
                <a:cubicBezTo>
                  <a:pt x="534" y="15"/>
                  <a:pt x="534" y="15"/>
                  <a:pt x="534" y="15"/>
                </a:cubicBezTo>
                <a:cubicBezTo>
                  <a:pt x="531" y="16"/>
                  <a:pt x="531" y="16"/>
                  <a:pt x="531" y="16"/>
                </a:cubicBezTo>
                <a:cubicBezTo>
                  <a:pt x="530" y="18"/>
                  <a:pt x="530" y="18"/>
                  <a:pt x="530" y="18"/>
                </a:cubicBezTo>
                <a:cubicBezTo>
                  <a:pt x="529" y="18"/>
                  <a:pt x="529" y="18"/>
                  <a:pt x="529" y="18"/>
                </a:cubicBezTo>
                <a:cubicBezTo>
                  <a:pt x="527" y="19"/>
                  <a:pt x="527" y="19"/>
                  <a:pt x="527" y="19"/>
                </a:cubicBezTo>
                <a:cubicBezTo>
                  <a:pt x="526" y="19"/>
                  <a:pt x="526" y="19"/>
                  <a:pt x="526" y="19"/>
                </a:cubicBezTo>
                <a:cubicBezTo>
                  <a:pt x="525" y="19"/>
                  <a:pt x="525" y="19"/>
                  <a:pt x="525" y="19"/>
                </a:cubicBezTo>
                <a:cubicBezTo>
                  <a:pt x="524" y="19"/>
                  <a:pt x="524" y="19"/>
                  <a:pt x="524" y="19"/>
                </a:cubicBezTo>
                <a:cubicBezTo>
                  <a:pt x="523" y="20"/>
                  <a:pt x="523" y="20"/>
                  <a:pt x="523" y="20"/>
                </a:cubicBezTo>
                <a:cubicBezTo>
                  <a:pt x="525" y="20"/>
                  <a:pt x="525" y="20"/>
                  <a:pt x="525" y="20"/>
                </a:cubicBezTo>
                <a:cubicBezTo>
                  <a:pt x="528" y="20"/>
                  <a:pt x="528" y="20"/>
                  <a:pt x="528" y="20"/>
                </a:cubicBezTo>
                <a:cubicBezTo>
                  <a:pt x="529" y="21"/>
                  <a:pt x="529" y="21"/>
                  <a:pt x="529" y="21"/>
                </a:cubicBezTo>
                <a:cubicBezTo>
                  <a:pt x="529" y="21"/>
                  <a:pt x="529" y="21"/>
                  <a:pt x="529" y="21"/>
                </a:cubicBezTo>
                <a:cubicBezTo>
                  <a:pt x="530" y="20"/>
                  <a:pt x="530" y="20"/>
                  <a:pt x="530" y="20"/>
                </a:cubicBezTo>
                <a:cubicBezTo>
                  <a:pt x="531" y="19"/>
                  <a:pt x="531" y="19"/>
                  <a:pt x="531" y="19"/>
                </a:cubicBezTo>
                <a:cubicBezTo>
                  <a:pt x="532" y="19"/>
                  <a:pt x="532" y="19"/>
                  <a:pt x="532" y="19"/>
                </a:cubicBezTo>
                <a:cubicBezTo>
                  <a:pt x="533" y="18"/>
                  <a:pt x="533" y="18"/>
                  <a:pt x="533" y="18"/>
                </a:cubicBezTo>
                <a:cubicBezTo>
                  <a:pt x="534" y="17"/>
                  <a:pt x="534" y="17"/>
                  <a:pt x="534" y="17"/>
                </a:cubicBezTo>
                <a:cubicBezTo>
                  <a:pt x="536" y="17"/>
                  <a:pt x="536" y="17"/>
                  <a:pt x="536" y="17"/>
                </a:cubicBezTo>
                <a:cubicBezTo>
                  <a:pt x="536" y="18"/>
                  <a:pt x="536" y="18"/>
                  <a:pt x="536" y="18"/>
                </a:cubicBezTo>
                <a:cubicBezTo>
                  <a:pt x="536" y="19"/>
                  <a:pt x="536" y="19"/>
                  <a:pt x="536" y="19"/>
                </a:cubicBezTo>
                <a:cubicBezTo>
                  <a:pt x="536" y="20"/>
                  <a:pt x="536" y="20"/>
                  <a:pt x="536" y="20"/>
                </a:cubicBezTo>
                <a:cubicBezTo>
                  <a:pt x="537" y="20"/>
                  <a:pt x="537" y="20"/>
                  <a:pt x="537" y="20"/>
                </a:cubicBezTo>
                <a:cubicBezTo>
                  <a:pt x="537" y="18"/>
                  <a:pt x="537" y="18"/>
                  <a:pt x="537" y="18"/>
                </a:cubicBezTo>
                <a:cubicBezTo>
                  <a:pt x="539" y="17"/>
                  <a:pt x="539" y="17"/>
                  <a:pt x="539" y="17"/>
                </a:cubicBezTo>
                <a:cubicBezTo>
                  <a:pt x="539" y="18"/>
                  <a:pt x="539" y="18"/>
                  <a:pt x="539" y="18"/>
                </a:cubicBezTo>
                <a:cubicBezTo>
                  <a:pt x="538" y="19"/>
                  <a:pt x="538" y="19"/>
                  <a:pt x="538" y="19"/>
                </a:cubicBezTo>
                <a:cubicBezTo>
                  <a:pt x="538" y="20"/>
                  <a:pt x="538" y="20"/>
                  <a:pt x="538" y="20"/>
                </a:cubicBezTo>
                <a:cubicBezTo>
                  <a:pt x="538" y="20"/>
                  <a:pt x="538" y="20"/>
                  <a:pt x="538" y="20"/>
                </a:cubicBezTo>
                <a:cubicBezTo>
                  <a:pt x="538" y="21"/>
                  <a:pt x="538" y="21"/>
                  <a:pt x="538" y="21"/>
                </a:cubicBezTo>
                <a:cubicBezTo>
                  <a:pt x="539" y="21"/>
                  <a:pt x="539" y="21"/>
                  <a:pt x="539" y="21"/>
                </a:cubicBezTo>
                <a:cubicBezTo>
                  <a:pt x="540" y="20"/>
                  <a:pt x="540" y="20"/>
                  <a:pt x="540" y="20"/>
                </a:cubicBezTo>
                <a:cubicBezTo>
                  <a:pt x="540" y="19"/>
                  <a:pt x="540" y="19"/>
                  <a:pt x="540" y="19"/>
                </a:cubicBezTo>
                <a:cubicBezTo>
                  <a:pt x="541" y="19"/>
                  <a:pt x="541" y="19"/>
                  <a:pt x="541" y="19"/>
                </a:cubicBezTo>
                <a:cubicBezTo>
                  <a:pt x="543" y="19"/>
                  <a:pt x="543" y="19"/>
                  <a:pt x="543" y="19"/>
                </a:cubicBezTo>
                <a:cubicBezTo>
                  <a:pt x="542" y="22"/>
                  <a:pt x="542" y="22"/>
                  <a:pt x="542" y="22"/>
                </a:cubicBezTo>
                <a:cubicBezTo>
                  <a:pt x="541" y="22"/>
                  <a:pt x="541" y="22"/>
                  <a:pt x="541" y="22"/>
                </a:cubicBezTo>
                <a:cubicBezTo>
                  <a:pt x="542" y="22"/>
                  <a:pt x="542" y="22"/>
                  <a:pt x="542" y="22"/>
                </a:cubicBezTo>
                <a:cubicBezTo>
                  <a:pt x="542" y="24"/>
                  <a:pt x="542" y="24"/>
                  <a:pt x="542" y="24"/>
                </a:cubicBezTo>
                <a:cubicBezTo>
                  <a:pt x="542" y="25"/>
                  <a:pt x="542" y="25"/>
                  <a:pt x="542" y="25"/>
                </a:cubicBezTo>
                <a:cubicBezTo>
                  <a:pt x="541" y="26"/>
                  <a:pt x="541" y="26"/>
                  <a:pt x="541" y="26"/>
                </a:cubicBezTo>
                <a:cubicBezTo>
                  <a:pt x="540" y="27"/>
                  <a:pt x="540" y="27"/>
                  <a:pt x="540" y="27"/>
                </a:cubicBezTo>
                <a:cubicBezTo>
                  <a:pt x="539" y="29"/>
                  <a:pt x="539" y="29"/>
                  <a:pt x="539" y="29"/>
                </a:cubicBezTo>
                <a:cubicBezTo>
                  <a:pt x="539" y="30"/>
                  <a:pt x="539" y="30"/>
                  <a:pt x="539" y="30"/>
                </a:cubicBezTo>
                <a:cubicBezTo>
                  <a:pt x="540" y="29"/>
                  <a:pt x="540" y="29"/>
                  <a:pt x="540" y="29"/>
                </a:cubicBezTo>
                <a:cubicBezTo>
                  <a:pt x="541" y="28"/>
                  <a:pt x="541" y="28"/>
                  <a:pt x="541" y="28"/>
                </a:cubicBezTo>
                <a:cubicBezTo>
                  <a:pt x="542" y="28"/>
                  <a:pt x="542" y="28"/>
                  <a:pt x="542" y="28"/>
                </a:cubicBezTo>
                <a:cubicBezTo>
                  <a:pt x="542" y="28"/>
                  <a:pt x="542" y="28"/>
                  <a:pt x="542" y="28"/>
                </a:cubicBezTo>
                <a:cubicBezTo>
                  <a:pt x="543" y="28"/>
                  <a:pt x="543" y="28"/>
                  <a:pt x="543" y="28"/>
                </a:cubicBezTo>
                <a:cubicBezTo>
                  <a:pt x="545" y="29"/>
                  <a:pt x="545" y="29"/>
                  <a:pt x="545" y="29"/>
                </a:cubicBezTo>
                <a:cubicBezTo>
                  <a:pt x="545" y="30"/>
                  <a:pt x="545" y="30"/>
                  <a:pt x="545" y="30"/>
                </a:cubicBezTo>
                <a:cubicBezTo>
                  <a:pt x="546" y="32"/>
                  <a:pt x="546" y="32"/>
                  <a:pt x="546" y="32"/>
                </a:cubicBezTo>
                <a:cubicBezTo>
                  <a:pt x="545" y="35"/>
                  <a:pt x="545" y="35"/>
                  <a:pt x="545" y="35"/>
                </a:cubicBezTo>
                <a:cubicBezTo>
                  <a:pt x="544" y="38"/>
                  <a:pt x="544" y="38"/>
                  <a:pt x="544" y="38"/>
                </a:cubicBezTo>
                <a:cubicBezTo>
                  <a:pt x="541" y="39"/>
                  <a:pt x="541" y="39"/>
                  <a:pt x="541" y="39"/>
                </a:cubicBezTo>
                <a:cubicBezTo>
                  <a:pt x="541" y="40"/>
                  <a:pt x="541" y="40"/>
                  <a:pt x="541" y="40"/>
                </a:cubicBezTo>
                <a:cubicBezTo>
                  <a:pt x="540" y="39"/>
                  <a:pt x="540" y="39"/>
                  <a:pt x="540" y="39"/>
                </a:cubicBezTo>
                <a:cubicBezTo>
                  <a:pt x="538" y="40"/>
                  <a:pt x="538" y="40"/>
                  <a:pt x="538" y="40"/>
                </a:cubicBezTo>
                <a:cubicBezTo>
                  <a:pt x="538" y="40"/>
                  <a:pt x="538" y="40"/>
                  <a:pt x="538" y="40"/>
                </a:cubicBezTo>
                <a:cubicBezTo>
                  <a:pt x="538" y="41"/>
                  <a:pt x="538" y="41"/>
                  <a:pt x="538" y="41"/>
                </a:cubicBezTo>
                <a:cubicBezTo>
                  <a:pt x="534" y="43"/>
                  <a:pt x="534" y="43"/>
                  <a:pt x="534" y="43"/>
                </a:cubicBezTo>
                <a:cubicBezTo>
                  <a:pt x="532" y="44"/>
                  <a:pt x="532" y="44"/>
                  <a:pt x="532" y="44"/>
                </a:cubicBezTo>
                <a:cubicBezTo>
                  <a:pt x="531" y="44"/>
                  <a:pt x="531" y="44"/>
                  <a:pt x="531" y="44"/>
                </a:cubicBezTo>
                <a:cubicBezTo>
                  <a:pt x="530" y="45"/>
                  <a:pt x="530" y="45"/>
                  <a:pt x="530" y="45"/>
                </a:cubicBezTo>
                <a:cubicBezTo>
                  <a:pt x="528" y="45"/>
                  <a:pt x="528" y="45"/>
                  <a:pt x="528" y="45"/>
                </a:cubicBezTo>
                <a:cubicBezTo>
                  <a:pt x="527" y="44"/>
                  <a:pt x="527" y="44"/>
                  <a:pt x="527" y="44"/>
                </a:cubicBezTo>
                <a:cubicBezTo>
                  <a:pt x="526" y="45"/>
                  <a:pt x="526" y="45"/>
                  <a:pt x="526" y="45"/>
                </a:cubicBezTo>
                <a:cubicBezTo>
                  <a:pt x="526" y="46"/>
                  <a:pt x="526" y="46"/>
                  <a:pt x="526" y="46"/>
                </a:cubicBezTo>
                <a:cubicBezTo>
                  <a:pt x="524" y="45"/>
                  <a:pt x="524" y="45"/>
                  <a:pt x="524" y="45"/>
                </a:cubicBezTo>
                <a:cubicBezTo>
                  <a:pt x="523" y="44"/>
                  <a:pt x="523" y="44"/>
                  <a:pt x="523" y="44"/>
                </a:cubicBezTo>
                <a:cubicBezTo>
                  <a:pt x="521" y="44"/>
                  <a:pt x="521" y="44"/>
                  <a:pt x="521" y="44"/>
                </a:cubicBezTo>
                <a:cubicBezTo>
                  <a:pt x="521" y="44"/>
                  <a:pt x="521" y="44"/>
                  <a:pt x="521" y="44"/>
                </a:cubicBezTo>
                <a:cubicBezTo>
                  <a:pt x="522" y="45"/>
                  <a:pt x="522" y="45"/>
                  <a:pt x="522" y="45"/>
                </a:cubicBezTo>
                <a:cubicBezTo>
                  <a:pt x="523" y="45"/>
                  <a:pt x="523" y="45"/>
                  <a:pt x="523" y="45"/>
                </a:cubicBezTo>
                <a:cubicBezTo>
                  <a:pt x="522" y="46"/>
                  <a:pt x="522" y="46"/>
                  <a:pt x="522" y="46"/>
                </a:cubicBezTo>
                <a:cubicBezTo>
                  <a:pt x="520" y="45"/>
                  <a:pt x="520" y="45"/>
                  <a:pt x="520" y="45"/>
                </a:cubicBezTo>
                <a:cubicBezTo>
                  <a:pt x="520" y="45"/>
                  <a:pt x="520" y="45"/>
                  <a:pt x="520" y="45"/>
                </a:cubicBezTo>
                <a:cubicBezTo>
                  <a:pt x="519" y="45"/>
                  <a:pt x="519" y="45"/>
                  <a:pt x="519" y="45"/>
                </a:cubicBezTo>
                <a:cubicBezTo>
                  <a:pt x="517" y="45"/>
                  <a:pt x="517" y="45"/>
                  <a:pt x="517" y="45"/>
                </a:cubicBezTo>
                <a:cubicBezTo>
                  <a:pt x="516" y="44"/>
                  <a:pt x="516" y="44"/>
                  <a:pt x="516" y="44"/>
                </a:cubicBezTo>
                <a:cubicBezTo>
                  <a:pt x="515" y="44"/>
                  <a:pt x="515" y="44"/>
                  <a:pt x="515" y="44"/>
                </a:cubicBezTo>
                <a:cubicBezTo>
                  <a:pt x="514" y="44"/>
                  <a:pt x="514" y="44"/>
                  <a:pt x="514" y="44"/>
                </a:cubicBezTo>
                <a:cubicBezTo>
                  <a:pt x="513" y="42"/>
                  <a:pt x="513" y="42"/>
                  <a:pt x="513" y="42"/>
                </a:cubicBezTo>
                <a:cubicBezTo>
                  <a:pt x="511" y="41"/>
                  <a:pt x="511" y="41"/>
                  <a:pt x="511" y="41"/>
                </a:cubicBezTo>
                <a:cubicBezTo>
                  <a:pt x="512" y="42"/>
                  <a:pt x="512" y="42"/>
                  <a:pt x="512" y="42"/>
                </a:cubicBezTo>
                <a:cubicBezTo>
                  <a:pt x="513" y="44"/>
                  <a:pt x="513" y="44"/>
                  <a:pt x="513" y="44"/>
                </a:cubicBezTo>
                <a:cubicBezTo>
                  <a:pt x="513" y="44"/>
                  <a:pt x="513" y="44"/>
                  <a:pt x="513" y="44"/>
                </a:cubicBezTo>
                <a:cubicBezTo>
                  <a:pt x="512" y="44"/>
                  <a:pt x="512" y="44"/>
                  <a:pt x="512" y="44"/>
                </a:cubicBezTo>
                <a:cubicBezTo>
                  <a:pt x="510" y="44"/>
                  <a:pt x="510" y="44"/>
                  <a:pt x="510" y="44"/>
                </a:cubicBezTo>
                <a:cubicBezTo>
                  <a:pt x="511" y="45"/>
                  <a:pt x="511" y="45"/>
                  <a:pt x="511" y="45"/>
                </a:cubicBezTo>
                <a:cubicBezTo>
                  <a:pt x="515" y="45"/>
                  <a:pt x="515" y="45"/>
                  <a:pt x="515" y="45"/>
                </a:cubicBezTo>
                <a:cubicBezTo>
                  <a:pt x="517" y="46"/>
                  <a:pt x="517" y="46"/>
                  <a:pt x="517" y="46"/>
                </a:cubicBezTo>
                <a:cubicBezTo>
                  <a:pt x="518" y="47"/>
                  <a:pt x="518" y="47"/>
                  <a:pt x="518" y="47"/>
                </a:cubicBezTo>
                <a:cubicBezTo>
                  <a:pt x="517" y="47"/>
                  <a:pt x="517" y="47"/>
                  <a:pt x="517" y="47"/>
                </a:cubicBezTo>
                <a:cubicBezTo>
                  <a:pt x="512" y="50"/>
                  <a:pt x="512" y="50"/>
                  <a:pt x="512" y="50"/>
                </a:cubicBezTo>
                <a:cubicBezTo>
                  <a:pt x="508" y="50"/>
                  <a:pt x="508" y="50"/>
                  <a:pt x="508" y="50"/>
                </a:cubicBezTo>
                <a:cubicBezTo>
                  <a:pt x="507" y="50"/>
                  <a:pt x="507" y="50"/>
                  <a:pt x="507" y="50"/>
                </a:cubicBezTo>
                <a:cubicBezTo>
                  <a:pt x="505" y="51"/>
                  <a:pt x="505" y="51"/>
                  <a:pt x="505" y="51"/>
                </a:cubicBezTo>
                <a:cubicBezTo>
                  <a:pt x="503" y="50"/>
                  <a:pt x="503" y="50"/>
                  <a:pt x="503" y="50"/>
                </a:cubicBezTo>
                <a:cubicBezTo>
                  <a:pt x="503" y="50"/>
                  <a:pt x="503" y="50"/>
                  <a:pt x="503" y="50"/>
                </a:cubicBezTo>
                <a:cubicBezTo>
                  <a:pt x="502" y="50"/>
                  <a:pt x="502" y="50"/>
                  <a:pt x="502" y="50"/>
                </a:cubicBezTo>
                <a:cubicBezTo>
                  <a:pt x="501" y="50"/>
                  <a:pt x="501" y="50"/>
                  <a:pt x="501" y="50"/>
                </a:cubicBezTo>
                <a:cubicBezTo>
                  <a:pt x="500" y="50"/>
                  <a:pt x="500" y="50"/>
                  <a:pt x="500" y="50"/>
                </a:cubicBezTo>
                <a:cubicBezTo>
                  <a:pt x="499" y="51"/>
                  <a:pt x="499" y="51"/>
                  <a:pt x="499" y="51"/>
                </a:cubicBezTo>
                <a:cubicBezTo>
                  <a:pt x="500" y="51"/>
                  <a:pt x="500" y="51"/>
                  <a:pt x="500" y="51"/>
                </a:cubicBezTo>
                <a:cubicBezTo>
                  <a:pt x="501" y="52"/>
                  <a:pt x="501" y="52"/>
                  <a:pt x="501" y="52"/>
                </a:cubicBezTo>
                <a:cubicBezTo>
                  <a:pt x="502" y="51"/>
                  <a:pt x="502" y="51"/>
                  <a:pt x="502" y="51"/>
                </a:cubicBezTo>
                <a:cubicBezTo>
                  <a:pt x="506" y="51"/>
                  <a:pt x="506" y="51"/>
                  <a:pt x="506" y="51"/>
                </a:cubicBezTo>
                <a:cubicBezTo>
                  <a:pt x="507" y="51"/>
                  <a:pt x="507" y="51"/>
                  <a:pt x="507" y="51"/>
                </a:cubicBezTo>
                <a:cubicBezTo>
                  <a:pt x="512" y="51"/>
                  <a:pt x="512" y="51"/>
                  <a:pt x="512" y="51"/>
                </a:cubicBezTo>
                <a:cubicBezTo>
                  <a:pt x="515" y="51"/>
                  <a:pt x="515" y="51"/>
                  <a:pt x="515" y="51"/>
                </a:cubicBezTo>
                <a:cubicBezTo>
                  <a:pt x="517" y="49"/>
                  <a:pt x="517" y="49"/>
                  <a:pt x="517" y="49"/>
                </a:cubicBezTo>
                <a:cubicBezTo>
                  <a:pt x="519" y="49"/>
                  <a:pt x="519" y="49"/>
                  <a:pt x="519" y="49"/>
                </a:cubicBezTo>
                <a:cubicBezTo>
                  <a:pt x="520" y="49"/>
                  <a:pt x="520" y="49"/>
                  <a:pt x="520" y="49"/>
                </a:cubicBezTo>
                <a:cubicBezTo>
                  <a:pt x="521" y="49"/>
                  <a:pt x="521" y="49"/>
                  <a:pt x="521" y="49"/>
                </a:cubicBezTo>
                <a:cubicBezTo>
                  <a:pt x="523" y="49"/>
                  <a:pt x="523" y="49"/>
                  <a:pt x="523" y="49"/>
                </a:cubicBezTo>
                <a:cubicBezTo>
                  <a:pt x="522" y="50"/>
                  <a:pt x="522" y="50"/>
                  <a:pt x="522" y="50"/>
                </a:cubicBezTo>
                <a:cubicBezTo>
                  <a:pt x="521" y="52"/>
                  <a:pt x="521" y="52"/>
                  <a:pt x="521" y="52"/>
                </a:cubicBezTo>
                <a:cubicBezTo>
                  <a:pt x="519" y="53"/>
                  <a:pt x="519" y="53"/>
                  <a:pt x="519" y="53"/>
                </a:cubicBezTo>
                <a:cubicBezTo>
                  <a:pt x="519" y="54"/>
                  <a:pt x="519" y="54"/>
                  <a:pt x="519" y="54"/>
                </a:cubicBezTo>
                <a:cubicBezTo>
                  <a:pt x="516" y="54"/>
                  <a:pt x="516" y="54"/>
                  <a:pt x="516" y="54"/>
                </a:cubicBezTo>
                <a:cubicBezTo>
                  <a:pt x="515" y="56"/>
                  <a:pt x="515" y="56"/>
                  <a:pt x="515" y="56"/>
                </a:cubicBezTo>
                <a:cubicBezTo>
                  <a:pt x="514" y="56"/>
                  <a:pt x="514" y="56"/>
                  <a:pt x="514" y="56"/>
                </a:cubicBezTo>
                <a:cubicBezTo>
                  <a:pt x="513" y="57"/>
                  <a:pt x="513" y="57"/>
                  <a:pt x="513" y="57"/>
                </a:cubicBezTo>
                <a:cubicBezTo>
                  <a:pt x="511" y="58"/>
                  <a:pt x="511" y="58"/>
                  <a:pt x="511" y="58"/>
                </a:cubicBezTo>
                <a:cubicBezTo>
                  <a:pt x="510" y="58"/>
                  <a:pt x="510" y="58"/>
                  <a:pt x="510" y="58"/>
                </a:cubicBezTo>
                <a:cubicBezTo>
                  <a:pt x="509" y="58"/>
                  <a:pt x="509" y="58"/>
                  <a:pt x="509" y="58"/>
                </a:cubicBezTo>
                <a:cubicBezTo>
                  <a:pt x="507" y="58"/>
                  <a:pt x="507" y="58"/>
                  <a:pt x="507" y="58"/>
                </a:cubicBezTo>
                <a:cubicBezTo>
                  <a:pt x="506" y="59"/>
                  <a:pt x="506" y="59"/>
                  <a:pt x="506" y="59"/>
                </a:cubicBezTo>
                <a:cubicBezTo>
                  <a:pt x="504" y="60"/>
                  <a:pt x="504" y="60"/>
                  <a:pt x="504" y="60"/>
                </a:cubicBezTo>
                <a:cubicBezTo>
                  <a:pt x="503" y="61"/>
                  <a:pt x="503" y="61"/>
                  <a:pt x="503" y="61"/>
                </a:cubicBezTo>
                <a:cubicBezTo>
                  <a:pt x="501" y="62"/>
                  <a:pt x="501" y="62"/>
                  <a:pt x="501" y="62"/>
                </a:cubicBezTo>
                <a:cubicBezTo>
                  <a:pt x="500" y="62"/>
                  <a:pt x="500" y="62"/>
                  <a:pt x="500" y="62"/>
                </a:cubicBezTo>
                <a:cubicBezTo>
                  <a:pt x="499" y="62"/>
                  <a:pt x="499" y="62"/>
                  <a:pt x="499" y="62"/>
                </a:cubicBezTo>
                <a:cubicBezTo>
                  <a:pt x="498" y="63"/>
                  <a:pt x="498" y="63"/>
                  <a:pt x="498" y="63"/>
                </a:cubicBezTo>
                <a:cubicBezTo>
                  <a:pt x="496" y="63"/>
                  <a:pt x="496" y="63"/>
                  <a:pt x="496" y="63"/>
                </a:cubicBezTo>
                <a:cubicBezTo>
                  <a:pt x="496" y="63"/>
                  <a:pt x="496" y="63"/>
                  <a:pt x="496" y="63"/>
                </a:cubicBezTo>
                <a:cubicBezTo>
                  <a:pt x="496" y="65"/>
                  <a:pt x="496" y="65"/>
                  <a:pt x="496" y="65"/>
                </a:cubicBezTo>
                <a:cubicBezTo>
                  <a:pt x="495" y="66"/>
                  <a:pt x="495" y="66"/>
                  <a:pt x="495" y="66"/>
                </a:cubicBezTo>
                <a:cubicBezTo>
                  <a:pt x="494" y="67"/>
                  <a:pt x="494" y="67"/>
                  <a:pt x="494" y="67"/>
                </a:cubicBezTo>
                <a:cubicBezTo>
                  <a:pt x="491" y="67"/>
                  <a:pt x="491" y="67"/>
                  <a:pt x="491" y="67"/>
                </a:cubicBezTo>
                <a:cubicBezTo>
                  <a:pt x="490" y="67"/>
                  <a:pt x="490" y="67"/>
                  <a:pt x="490" y="67"/>
                </a:cubicBezTo>
                <a:cubicBezTo>
                  <a:pt x="489" y="67"/>
                  <a:pt x="489" y="67"/>
                  <a:pt x="489" y="67"/>
                </a:cubicBezTo>
                <a:cubicBezTo>
                  <a:pt x="489" y="66"/>
                  <a:pt x="489" y="66"/>
                  <a:pt x="489" y="66"/>
                </a:cubicBezTo>
                <a:cubicBezTo>
                  <a:pt x="490" y="66"/>
                  <a:pt x="490" y="66"/>
                  <a:pt x="490" y="66"/>
                </a:cubicBezTo>
                <a:cubicBezTo>
                  <a:pt x="490" y="65"/>
                  <a:pt x="490" y="65"/>
                  <a:pt x="490" y="65"/>
                </a:cubicBezTo>
                <a:cubicBezTo>
                  <a:pt x="489" y="64"/>
                  <a:pt x="489" y="64"/>
                  <a:pt x="489" y="64"/>
                </a:cubicBezTo>
                <a:cubicBezTo>
                  <a:pt x="489" y="66"/>
                  <a:pt x="489" y="66"/>
                  <a:pt x="489" y="66"/>
                </a:cubicBezTo>
                <a:cubicBezTo>
                  <a:pt x="488" y="66"/>
                  <a:pt x="488" y="66"/>
                  <a:pt x="488" y="66"/>
                </a:cubicBezTo>
                <a:cubicBezTo>
                  <a:pt x="488" y="67"/>
                  <a:pt x="488" y="67"/>
                  <a:pt x="488" y="67"/>
                </a:cubicBezTo>
                <a:cubicBezTo>
                  <a:pt x="489" y="68"/>
                  <a:pt x="489" y="68"/>
                  <a:pt x="489" y="68"/>
                </a:cubicBezTo>
                <a:cubicBezTo>
                  <a:pt x="490" y="69"/>
                  <a:pt x="490" y="69"/>
                  <a:pt x="490" y="69"/>
                </a:cubicBezTo>
                <a:cubicBezTo>
                  <a:pt x="489" y="70"/>
                  <a:pt x="489" y="70"/>
                  <a:pt x="489" y="70"/>
                </a:cubicBezTo>
                <a:cubicBezTo>
                  <a:pt x="488" y="70"/>
                  <a:pt x="488" y="70"/>
                  <a:pt x="488" y="70"/>
                </a:cubicBezTo>
                <a:cubicBezTo>
                  <a:pt x="487" y="69"/>
                  <a:pt x="487" y="69"/>
                  <a:pt x="487" y="69"/>
                </a:cubicBezTo>
                <a:cubicBezTo>
                  <a:pt x="486" y="70"/>
                  <a:pt x="486" y="70"/>
                  <a:pt x="486" y="70"/>
                </a:cubicBezTo>
                <a:cubicBezTo>
                  <a:pt x="484" y="69"/>
                  <a:pt x="484" y="69"/>
                  <a:pt x="484" y="69"/>
                </a:cubicBezTo>
                <a:cubicBezTo>
                  <a:pt x="483" y="70"/>
                  <a:pt x="483" y="70"/>
                  <a:pt x="483" y="70"/>
                </a:cubicBezTo>
                <a:cubicBezTo>
                  <a:pt x="482" y="70"/>
                  <a:pt x="482" y="70"/>
                  <a:pt x="482" y="70"/>
                </a:cubicBezTo>
                <a:cubicBezTo>
                  <a:pt x="482" y="69"/>
                  <a:pt x="482" y="69"/>
                  <a:pt x="482" y="69"/>
                </a:cubicBezTo>
                <a:cubicBezTo>
                  <a:pt x="482" y="68"/>
                  <a:pt x="482" y="68"/>
                  <a:pt x="482" y="68"/>
                </a:cubicBezTo>
                <a:cubicBezTo>
                  <a:pt x="481" y="69"/>
                  <a:pt x="481" y="69"/>
                  <a:pt x="481" y="69"/>
                </a:cubicBezTo>
                <a:cubicBezTo>
                  <a:pt x="480" y="70"/>
                  <a:pt x="480" y="70"/>
                  <a:pt x="480" y="70"/>
                </a:cubicBezTo>
                <a:cubicBezTo>
                  <a:pt x="480" y="70"/>
                  <a:pt x="480" y="70"/>
                  <a:pt x="480" y="70"/>
                </a:cubicBezTo>
                <a:cubicBezTo>
                  <a:pt x="482" y="71"/>
                  <a:pt x="482" y="71"/>
                  <a:pt x="482" y="71"/>
                </a:cubicBezTo>
                <a:cubicBezTo>
                  <a:pt x="485" y="71"/>
                  <a:pt x="485" y="71"/>
                  <a:pt x="485" y="71"/>
                </a:cubicBezTo>
                <a:cubicBezTo>
                  <a:pt x="486" y="72"/>
                  <a:pt x="486" y="72"/>
                  <a:pt x="486" y="72"/>
                </a:cubicBezTo>
                <a:cubicBezTo>
                  <a:pt x="486" y="73"/>
                  <a:pt x="486" y="73"/>
                  <a:pt x="486" y="73"/>
                </a:cubicBezTo>
                <a:cubicBezTo>
                  <a:pt x="485" y="74"/>
                  <a:pt x="485" y="74"/>
                  <a:pt x="485" y="74"/>
                </a:cubicBezTo>
                <a:cubicBezTo>
                  <a:pt x="483" y="73"/>
                  <a:pt x="483" y="73"/>
                  <a:pt x="483" y="73"/>
                </a:cubicBezTo>
                <a:cubicBezTo>
                  <a:pt x="481" y="74"/>
                  <a:pt x="481" y="74"/>
                  <a:pt x="481" y="74"/>
                </a:cubicBezTo>
                <a:cubicBezTo>
                  <a:pt x="481" y="74"/>
                  <a:pt x="481" y="74"/>
                  <a:pt x="481" y="74"/>
                </a:cubicBezTo>
                <a:cubicBezTo>
                  <a:pt x="482" y="75"/>
                  <a:pt x="482" y="75"/>
                  <a:pt x="482" y="75"/>
                </a:cubicBezTo>
                <a:cubicBezTo>
                  <a:pt x="482" y="74"/>
                  <a:pt x="482" y="74"/>
                  <a:pt x="482" y="74"/>
                </a:cubicBezTo>
                <a:cubicBezTo>
                  <a:pt x="483" y="75"/>
                  <a:pt x="483" y="75"/>
                  <a:pt x="483" y="75"/>
                </a:cubicBezTo>
                <a:cubicBezTo>
                  <a:pt x="483" y="76"/>
                  <a:pt x="483" y="76"/>
                  <a:pt x="483" y="76"/>
                </a:cubicBezTo>
                <a:cubicBezTo>
                  <a:pt x="481" y="78"/>
                  <a:pt x="481" y="78"/>
                  <a:pt x="481" y="78"/>
                </a:cubicBezTo>
                <a:cubicBezTo>
                  <a:pt x="479" y="78"/>
                  <a:pt x="479" y="78"/>
                  <a:pt x="479" y="78"/>
                </a:cubicBezTo>
                <a:cubicBezTo>
                  <a:pt x="476" y="78"/>
                  <a:pt x="476" y="78"/>
                  <a:pt x="476" y="78"/>
                </a:cubicBezTo>
                <a:cubicBezTo>
                  <a:pt x="476" y="77"/>
                  <a:pt x="476" y="77"/>
                  <a:pt x="476" y="77"/>
                </a:cubicBezTo>
                <a:cubicBezTo>
                  <a:pt x="474" y="77"/>
                  <a:pt x="474" y="77"/>
                  <a:pt x="474" y="77"/>
                </a:cubicBezTo>
                <a:cubicBezTo>
                  <a:pt x="474" y="76"/>
                  <a:pt x="474" y="76"/>
                  <a:pt x="474" y="76"/>
                </a:cubicBezTo>
                <a:cubicBezTo>
                  <a:pt x="474" y="74"/>
                  <a:pt x="474" y="74"/>
                  <a:pt x="474" y="74"/>
                </a:cubicBezTo>
                <a:cubicBezTo>
                  <a:pt x="472" y="74"/>
                  <a:pt x="472" y="74"/>
                  <a:pt x="472" y="74"/>
                </a:cubicBezTo>
                <a:cubicBezTo>
                  <a:pt x="471" y="73"/>
                  <a:pt x="471" y="73"/>
                  <a:pt x="471" y="73"/>
                </a:cubicBezTo>
                <a:cubicBezTo>
                  <a:pt x="471" y="72"/>
                  <a:pt x="471" y="72"/>
                  <a:pt x="471" y="72"/>
                </a:cubicBezTo>
                <a:cubicBezTo>
                  <a:pt x="471" y="71"/>
                  <a:pt x="471" y="71"/>
                  <a:pt x="471" y="71"/>
                </a:cubicBezTo>
                <a:cubicBezTo>
                  <a:pt x="470" y="72"/>
                  <a:pt x="470" y="72"/>
                  <a:pt x="470" y="72"/>
                </a:cubicBezTo>
                <a:cubicBezTo>
                  <a:pt x="469" y="71"/>
                  <a:pt x="469" y="71"/>
                  <a:pt x="469" y="71"/>
                </a:cubicBezTo>
                <a:cubicBezTo>
                  <a:pt x="467" y="72"/>
                  <a:pt x="467" y="72"/>
                  <a:pt x="467" y="72"/>
                </a:cubicBezTo>
                <a:cubicBezTo>
                  <a:pt x="467" y="72"/>
                  <a:pt x="467" y="72"/>
                  <a:pt x="467" y="72"/>
                </a:cubicBezTo>
                <a:cubicBezTo>
                  <a:pt x="468" y="73"/>
                  <a:pt x="468" y="73"/>
                  <a:pt x="468" y="73"/>
                </a:cubicBezTo>
                <a:cubicBezTo>
                  <a:pt x="468" y="72"/>
                  <a:pt x="468" y="72"/>
                  <a:pt x="468" y="72"/>
                </a:cubicBezTo>
                <a:cubicBezTo>
                  <a:pt x="469" y="72"/>
                  <a:pt x="469" y="72"/>
                  <a:pt x="469" y="72"/>
                </a:cubicBezTo>
                <a:cubicBezTo>
                  <a:pt x="472" y="75"/>
                  <a:pt x="472" y="75"/>
                  <a:pt x="472" y="75"/>
                </a:cubicBezTo>
                <a:cubicBezTo>
                  <a:pt x="472" y="79"/>
                  <a:pt x="472" y="79"/>
                  <a:pt x="472" y="79"/>
                </a:cubicBezTo>
                <a:cubicBezTo>
                  <a:pt x="471" y="79"/>
                  <a:pt x="471" y="79"/>
                  <a:pt x="471" y="79"/>
                </a:cubicBezTo>
                <a:cubicBezTo>
                  <a:pt x="470" y="79"/>
                  <a:pt x="470" y="79"/>
                  <a:pt x="470" y="79"/>
                </a:cubicBezTo>
                <a:cubicBezTo>
                  <a:pt x="469" y="78"/>
                  <a:pt x="469" y="78"/>
                  <a:pt x="469" y="78"/>
                </a:cubicBezTo>
                <a:cubicBezTo>
                  <a:pt x="468" y="78"/>
                  <a:pt x="468" y="78"/>
                  <a:pt x="468" y="78"/>
                </a:cubicBezTo>
                <a:cubicBezTo>
                  <a:pt x="468" y="79"/>
                  <a:pt x="468" y="79"/>
                  <a:pt x="468" y="79"/>
                </a:cubicBezTo>
                <a:cubicBezTo>
                  <a:pt x="468" y="80"/>
                  <a:pt x="468" y="80"/>
                  <a:pt x="468" y="80"/>
                </a:cubicBezTo>
                <a:cubicBezTo>
                  <a:pt x="467" y="78"/>
                  <a:pt x="467" y="78"/>
                  <a:pt x="467" y="78"/>
                </a:cubicBezTo>
                <a:cubicBezTo>
                  <a:pt x="466" y="78"/>
                  <a:pt x="466" y="78"/>
                  <a:pt x="466" y="78"/>
                </a:cubicBezTo>
                <a:cubicBezTo>
                  <a:pt x="465" y="79"/>
                  <a:pt x="465" y="79"/>
                  <a:pt x="465" y="79"/>
                </a:cubicBezTo>
                <a:cubicBezTo>
                  <a:pt x="464" y="79"/>
                  <a:pt x="464" y="79"/>
                  <a:pt x="464" y="79"/>
                </a:cubicBezTo>
                <a:cubicBezTo>
                  <a:pt x="464" y="79"/>
                  <a:pt x="464" y="79"/>
                  <a:pt x="464" y="79"/>
                </a:cubicBezTo>
                <a:cubicBezTo>
                  <a:pt x="462" y="78"/>
                  <a:pt x="462" y="78"/>
                  <a:pt x="462" y="78"/>
                </a:cubicBezTo>
                <a:cubicBezTo>
                  <a:pt x="461" y="77"/>
                  <a:pt x="461" y="77"/>
                  <a:pt x="461" y="77"/>
                </a:cubicBezTo>
                <a:cubicBezTo>
                  <a:pt x="461" y="77"/>
                  <a:pt x="461" y="77"/>
                  <a:pt x="461" y="77"/>
                </a:cubicBezTo>
                <a:cubicBezTo>
                  <a:pt x="460" y="76"/>
                  <a:pt x="460" y="76"/>
                  <a:pt x="460" y="76"/>
                </a:cubicBezTo>
                <a:cubicBezTo>
                  <a:pt x="460" y="76"/>
                  <a:pt x="460" y="76"/>
                  <a:pt x="460" y="76"/>
                </a:cubicBezTo>
                <a:cubicBezTo>
                  <a:pt x="458" y="75"/>
                  <a:pt x="458" y="75"/>
                  <a:pt x="458" y="75"/>
                </a:cubicBezTo>
                <a:cubicBezTo>
                  <a:pt x="457" y="74"/>
                  <a:pt x="457" y="74"/>
                  <a:pt x="457" y="74"/>
                </a:cubicBezTo>
                <a:cubicBezTo>
                  <a:pt x="457" y="75"/>
                  <a:pt x="457" y="75"/>
                  <a:pt x="457" y="75"/>
                </a:cubicBezTo>
                <a:cubicBezTo>
                  <a:pt x="457" y="76"/>
                  <a:pt x="457" y="76"/>
                  <a:pt x="457" y="76"/>
                </a:cubicBezTo>
                <a:cubicBezTo>
                  <a:pt x="458" y="76"/>
                  <a:pt x="458" y="76"/>
                  <a:pt x="458" y="76"/>
                </a:cubicBezTo>
                <a:cubicBezTo>
                  <a:pt x="460" y="77"/>
                  <a:pt x="460" y="77"/>
                  <a:pt x="460" y="77"/>
                </a:cubicBezTo>
                <a:cubicBezTo>
                  <a:pt x="461" y="79"/>
                  <a:pt x="461" y="79"/>
                  <a:pt x="461" y="79"/>
                </a:cubicBezTo>
                <a:cubicBezTo>
                  <a:pt x="460" y="80"/>
                  <a:pt x="460" y="80"/>
                  <a:pt x="460" y="80"/>
                </a:cubicBezTo>
                <a:cubicBezTo>
                  <a:pt x="457" y="79"/>
                  <a:pt x="457" y="79"/>
                  <a:pt x="457" y="79"/>
                </a:cubicBezTo>
                <a:cubicBezTo>
                  <a:pt x="456" y="78"/>
                  <a:pt x="456" y="78"/>
                  <a:pt x="456" y="78"/>
                </a:cubicBezTo>
                <a:cubicBezTo>
                  <a:pt x="456" y="77"/>
                  <a:pt x="456" y="77"/>
                  <a:pt x="456" y="77"/>
                </a:cubicBezTo>
                <a:cubicBezTo>
                  <a:pt x="455" y="76"/>
                  <a:pt x="455" y="76"/>
                  <a:pt x="455" y="76"/>
                </a:cubicBezTo>
                <a:cubicBezTo>
                  <a:pt x="455" y="77"/>
                  <a:pt x="455" y="77"/>
                  <a:pt x="455" y="77"/>
                </a:cubicBezTo>
                <a:cubicBezTo>
                  <a:pt x="455" y="77"/>
                  <a:pt x="455" y="77"/>
                  <a:pt x="455" y="77"/>
                </a:cubicBezTo>
                <a:cubicBezTo>
                  <a:pt x="455" y="78"/>
                  <a:pt x="455" y="78"/>
                  <a:pt x="455" y="78"/>
                </a:cubicBezTo>
                <a:cubicBezTo>
                  <a:pt x="454" y="78"/>
                  <a:pt x="454" y="78"/>
                  <a:pt x="454" y="78"/>
                </a:cubicBezTo>
                <a:cubicBezTo>
                  <a:pt x="453" y="77"/>
                  <a:pt x="453" y="77"/>
                  <a:pt x="453" y="77"/>
                </a:cubicBezTo>
                <a:cubicBezTo>
                  <a:pt x="452" y="77"/>
                  <a:pt x="452" y="77"/>
                  <a:pt x="452" y="77"/>
                </a:cubicBezTo>
                <a:cubicBezTo>
                  <a:pt x="452" y="78"/>
                  <a:pt x="452" y="78"/>
                  <a:pt x="452" y="78"/>
                </a:cubicBezTo>
                <a:cubicBezTo>
                  <a:pt x="454" y="79"/>
                  <a:pt x="454" y="79"/>
                  <a:pt x="454" y="79"/>
                </a:cubicBezTo>
                <a:cubicBezTo>
                  <a:pt x="454" y="80"/>
                  <a:pt x="454" y="80"/>
                  <a:pt x="454" y="80"/>
                </a:cubicBezTo>
                <a:cubicBezTo>
                  <a:pt x="454" y="80"/>
                  <a:pt x="454" y="80"/>
                  <a:pt x="454" y="80"/>
                </a:cubicBezTo>
                <a:cubicBezTo>
                  <a:pt x="455" y="80"/>
                  <a:pt x="455" y="80"/>
                  <a:pt x="455" y="80"/>
                </a:cubicBezTo>
                <a:cubicBezTo>
                  <a:pt x="456" y="80"/>
                  <a:pt x="456" y="80"/>
                  <a:pt x="456" y="80"/>
                </a:cubicBezTo>
                <a:cubicBezTo>
                  <a:pt x="457" y="80"/>
                  <a:pt x="457" y="80"/>
                  <a:pt x="457" y="80"/>
                </a:cubicBezTo>
                <a:cubicBezTo>
                  <a:pt x="458" y="81"/>
                  <a:pt x="458" y="81"/>
                  <a:pt x="458" y="81"/>
                </a:cubicBezTo>
                <a:cubicBezTo>
                  <a:pt x="459" y="82"/>
                  <a:pt x="459" y="82"/>
                  <a:pt x="459" y="82"/>
                </a:cubicBezTo>
                <a:cubicBezTo>
                  <a:pt x="460" y="82"/>
                  <a:pt x="460" y="82"/>
                  <a:pt x="460" y="82"/>
                </a:cubicBezTo>
                <a:cubicBezTo>
                  <a:pt x="461" y="82"/>
                  <a:pt x="461" y="82"/>
                  <a:pt x="461" y="82"/>
                </a:cubicBezTo>
                <a:cubicBezTo>
                  <a:pt x="464" y="82"/>
                  <a:pt x="464" y="82"/>
                  <a:pt x="464" y="82"/>
                </a:cubicBezTo>
                <a:cubicBezTo>
                  <a:pt x="465" y="83"/>
                  <a:pt x="465" y="83"/>
                  <a:pt x="465" y="83"/>
                </a:cubicBezTo>
                <a:cubicBezTo>
                  <a:pt x="464" y="84"/>
                  <a:pt x="464" y="84"/>
                  <a:pt x="464" y="84"/>
                </a:cubicBezTo>
                <a:cubicBezTo>
                  <a:pt x="464" y="85"/>
                  <a:pt x="464" y="85"/>
                  <a:pt x="464" y="85"/>
                </a:cubicBezTo>
                <a:cubicBezTo>
                  <a:pt x="464" y="86"/>
                  <a:pt x="464" y="86"/>
                  <a:pt x="464" y="86"/>
                </a:cubicBezTo>
                <a:cubicBezTo>
                  <a:pt x="464" y="87"/>
                  <a:pt x="464" y="87"/>
                  <a:pt x="464" y="87"/>
                </a:cubicBezTo>
                <a:cubicBezTo>
                  <a:pt x="464" y="88"/>
                  <a:pt x="464" y="88"/>
                  <a:pt x="464" y="88"/>
                </a:cubicBezTo>
                <a:cubicBezTo>
                  <a:pt x="463" y="88"/>
                  <a:pt x="463" y="88"/>
                  <a:pt x="463" y="88"/>
                </a:cubicBezTo>
                <a:cubicBezTo>
                  <a:pt x="462" y="87"/>
                  <a:pt x="462" y="87"/>
                  <a:pt x="462" y="87"/>
                </a:cubicBezTo>
                <a:cubicBezTo>
                  <a:pt x="461" y="86"/>
                  <a:pt x="461" y="86"/>
                  <a:pt x="461" y="86"/>
                </a:cubicBezTo>
                <a:cubicBezTo>
                  <a:pt x="459" y="85"/>
                  <a:pt x="459" y="85"/>
                  <a:pt x="459" y="85"/>
                </a:cubicBezTo>
                <a:cubicBezTo>
                  <a:pt x="458" y="84"/>
                  <a:pt x="458" y="84"/>
                  <a:pt x="458" y="84"/>
                </a:cubicBezTo>
                <a:cubicBezTo>
                  <a:pt x="459" y="83"/>
                  <a:pt x="459" y="83"/>
                  <a:pt x="459" y="83"/>
                </a:cubicBezTo>
                <a:cubicBezTo>
                  <a:pt x="458" y="82"/>
                  <a:pt x="458" y="82"/>
                  <a:pt x="458" y="82"/>
                </a:cubicBezTo>
                <a:cubicBezTo>
                  <a:pt x="456" y="82"/>
                  <a:pt x="456" y="82"/>
                  <a:pt x="456" y="82"/>
                </a:cubicBezTo>
                <a:cubicBezTo>
                  <a:pt x="453" y="81"/>
                  <a:pt x="453" y="81"/>
                  <a:pt x="453" y="81"/>
                </a:cubicBezTo>
                <a:cubicBezTo>
                  <a:pt x="452" y="80"/>
                  <a:pt x="452" y="80"/>
                  <a:pt x="452" y="80"/>
                </a:cubicBezTo>
                <a:cubicBezTo>
                  <a:pt x="451" y="81"/>
                  <a:pt x="451" y="81"/>
                  <a:pt x="451" y="81"/>
                </a:cubicBezTo>
                <a:cubicBezTo>
                  <a:pt x="451" y="81"/>
                  <a:pt x="451" y="81"/>
                  <a:pt x="451" y="81"/>
                </a:cubicBezTo>
                <a:cubicBezTo>
                  <a:pt x="453" y="82"/>
                  <a:pt x="453" y="82"/>
                  <a:pt x="453" y="82"/>
                </a:cubicBezTo>
                <a:cubicBezTo>
                  <a:pt x="455" y="82"/>
                  <a:pt x="455" y="82"/>
                  <a:pt x="455" y="82"/>
                </a:cubicBezTo>
                <a:cubicBezTo>
                  <a:pt x="458" y="83"/>
                  <a:pt x="458" y="83"/>
                  <a:pt x="458" y="83"/>
                </a:cubicBezTo>
                <a:cubicBezTo>
                  <a:pt x="458" y="84"/>
                  <a:pt x="458" y="84"/>
                  <a:pt x="458" y="84"/>
                </a:cubicBezTo>
                <a:cubicBezTo>
                  <a:pt x="457" y="84"/>
                  <a:pt x="457" y="84"/>
                  <a:pt x="457" y="84"/>
                </a:cubicBezTo>
                <a:cubicBezTo>
                  <a:pt x="456" y="84"/>
                  <a:pt x="456" y="84"/>
                  <a:pt x="456" y="84"/>
                </a:cubicBezTo>
                <a:cubicBezTo>
                  <a:pt x="453" y="83"/>
                  <a:pt x="453" y="83"/>
                  <a:pt x="453" y="83"/>
                </a:cubicBezTo>
                <a:cubicBezTo>
                  <a:pt x="452" y="84"/>
                  <a:pt x="452" y="84"/>
                  <a:pt x="452" y="84"/>
                </a:cubicBezTo>
                <a:cubicBezTo>
                  <a:pt x="452" y="83"/>
                  <a:pt x="452" y="83"/>
                  <a:pt x="452" y="83"/>
                </a:cubicBezTo>
                <a:cubicBezTo>
                  <a:pt x="451" y="83"/>
                  <a:pt x="451" y="83"/>
                  <a:pt x="451" y="83"/>
                </a:cubicBezTo>
                <a:cubicBezTo>
                  <a:pt x="449" y="82"/>
                  <a:pt x="449" y="82"/>
                  <a:pt x="449" y="82"/>
                </a:cubicBezTo>
                <a:cubicBezTo>
                  <a:pt x="448" y="82"/>
                  <a:pt x="448" y="82"/>
                  <a:pt x="448" y="82"/>
                </a:cubicBezTo>
                <a:cubicBezTo>
                  <a:pt x="448" y="82"/>
                  <a:pt x="448" y="82"/>
                  <a:pt x="448" y="82"/>
                </a:cubicBezTo>
                <a:cubicBezTo>
                  <a:pt x="450" y="83"/>
                  <a:pt x="450" y="83"/>
                  <a:pt x="450" y="83"/>
                </a:cubicBezTo>
                <a:cubicBezTo>
                  <a:pt x="450" y="84"/>
                  <a:pt x="450" y="84"/>
                  <a:pt x="450" y="84"/>
                </a:cubicBezTo>
                <a:cubicBezTo>
                  <a:pt x="450" y="85"/>
                  <a:pt x="450" y="85"/>
                  <a:pt x="450" y="85"/>
                </a:cubicBezTo>
                <a:cubicBezTo>
                  <a:pt x="451" y="85"/>
                  <a:pt x="451" y="85"/>
                  <a:pt x="451" y="85"/>
                </a:cubicBezTo>
                <a:cubicBezTo>
                  <a:pt x="451" y="85"/>
                  <a:pt x="451" y="85"/>
                  <a:pt x="451" y="85"/>
                </a:cubicBezTo>
                <a:cubicBezTo>
                  <a:pt x="452" y="85"/>
                  <a:pt x="452" y="85"/>
                  <a:pt x="452" y="85"/>
                </a:cubicBezTo>
                <a:cubicBezTo>
                  <a:pt x="453" y="85"/>
                  <a:pt x="453" y="85"/>
                  <a:pt x="453" y="85"/>
                </a:cubicBezTo>
                <a:cubicBezTo>
                  <a:pt x="453" y="84"/>
                  <a:pt x="453" y="84"/>
                  <a:pt x="453" y="84"/>
                </a:cubicBezTo>
                <a:cubicBezTo>
                  <a:pt x="454" y="85"/>
                  <a:pt x="454" y="85"/>
                  <a:pt x="454" y="85"/>
                </a:cubicBezTo>
                <a:cubicBezTo>
                  <a:pt x="455" y="85"/>
                  <a:pt x="455" y="85"/>
                  <a:pt x="455" y="85"/>
                </a:cubicBezTo>
                <a:cubicBezTo>
                  <a:pt x="456" y="85"/>
                  <a:pt x="456" y="85"/>
                  <a:pt x="456" y="85"/>
                </a:cubicBezTo>
                <a:cubicBezTo>
                  <a:pt x="458" y="87"/>
                  <a:pt x="458" y="87"/>
                  <a:pt x="458" y="87"/>
                </a:cubicBezTo>
                <a:cubicBezTo>
                  <a:pt x="458" y="87"/>
                  <a:pt x="458" y="87"/>
                  <a:pt x="458" y="87"/>
                </a:cubicBezTo>
                <a:cubicBezTo>
                  <a:pt x="456" y="87"/>
                  <a:pt x="456" y="87"/>
                  <a:pt x="456" y="87"/>
                </a:cubicBezTo>
                <a:cubicBezTo>
                  <a:pt x="455" y="88"/>
                  <a:pt x="455" y="88"/>
                  <a:pt x="455" y="88"/>
                </a:cubicBezTo>
                <a:cubicBezTo>
                  <a:pt x="455" y="88"/>
                  <a:pt x="455" y="88"/>
                  <a:pt x="455" y="88"/>
                </a:cubicBezTo>
                <a:cubicBezTo>
                  <a:pt x="456" y="88"/>
                  <a:pt x="456" y="88"/>
                  <a:pt x="456" y="88"/>
                </a:cubicBezTo>
                <a:cubicBezTo>
                  <a:pt x="457" y="88"/>
                  <a:pt x="457" y="88"/>
                  <a:pt x="457" y="88"/>
                </a:cubicBezTo>
                <a:cubicBezTo>
                  <a:pt x="458" y="88"/>
                  <a:pt x="458" y="88"/>
                  <a:pt x="458" y="88"/>
                </a:cubicBezTo>
                <a:cubicBezTo>
                  <a:pt x="459" y="89"/>
                  <a:pt x="459" y="89"/>
                  <a:pt x="459" y="89"/>
                </a:cubicBezTo>
                <a:cubicBezTo>
                  <a:pt x="460" y="90"/>
                  <a:pt x="460" y="90"/>
                  <a:pt x="460" y="90"/>
                </a:cubicBezTo>
                <a:cubicBezTo>
                  <a:pt x="460" y="91"/>
                  <a:pt x="460" y="91"/>
                  <a:pt x="460" y="91"/>
                </a:cubicBezTo>
                <a:cubicBezTo>
                  <a:pt x="459" y="93"/>
                  <a:pt x="459" y="93"/>
                  <a:pt x="459" y="93"/>
                </a:cubicBezTo>
                <a:cubicBezTo>
                  <a:pt x="458" y="95"/>
                  <a:pt x="458" y="95"/>
                  <a:pt x="458" y="95"/>
                </a:cubicBezTo>
                <a:cubicBezTo>
                  <a:pt x="458" y="95"/>
                  <a:pt x="458" y="95"/>
                  <a:pt x="458" y="95"/>
                </a:cubicBezTo>
                <a:cubicBezTo>
                  <a:pt x="456" y="97"/>
                  <a:pt x="456" y="97"/>
                  <a:pt x="456" y="97"/>
                </a:cubicBezTo>
                <a:cubicBezTo>
                  <a:pt x="455" y="96"/>
                  <a:pt x="455" y="96"/>
                  <a:pt x="455" y="96"/>
                </a:cubicBezTo>
                <a:cubicBezTo>
                  <a:pt x="454" y="96"/>
                  <a:pt x="454" y="96"/>
                  <a:pt x="454" y="96"/>
                </a:cubicBezTo>
                <a:cubicBezTo>
                  <a:pt x="453" y="96"/>
                  <a:pt x="453" y="96"/>
                  <a:pt x="453" y="96"/>
                </a:cubicBezTo>
                <a:cubicBezTo>
                  <a:pt x="453" y="95"/>
                  <a:pt x="453" y="95"/>
                  <a:pt x="453" y="95"/>
                </a:cubicBezTo>
                <a:cubicBezTo>
                  <a:pt x="452" y="94"/>
                  <a:pt x="452" y="94"/>
                  <a:pt x="452" y="94"/>
                </a:cubicBezTo>
                <a:cubicBezTo>
                  <a:pt x="450" y="94"/>
                  <a:pt x="450" y="94"/>
                  <a:pt x="450" y="94"/>
                </a:cubicBezTo>
                <a:cubicBezTo>
                  <a:pt x="451" y="95"/>
                  <a:pt x="451" y="95"/>
                  <a:pt x="451" y="95"/>
                </a:cubicBezTo>
                <a:cubicBezTo>
                  <a:pt x="452" y="96"/>
                  <a:pt x="452" y="96"/>
                  <a:pt x="452" y="96"/>
                </a:cubicBezTo>
                <a:cubicBezTo>
                  <a:pt x="452" y="96"/>
                  <a:pt x="452" y="96"/>
                  <a:pt x="452" y="96"/>
                </a:cubicBezTo>
                <a:cubicBezTo>
                  <a:pt x="453" y="96"/>
                  <a:pt x="453" y="96"/>
                  <a:pt x="453" y="96"/>
                </a:cubicBezTo>
                <a:cubicBezTo>
                  <a:pt x="455" y="97"/>
                  <a:pt x="455" y="97"/>
                  <a:pt x="455" y="97"/>
                </a:cubicBezTo>
                <a:cubicBezTo>
                  <a:pt x="455" y="99"/>
                  <a:pt x="455" y="99"/>
                  <a:pt x="455" y="99"/>
                </a:cubicBezTo>
                <a:cubicBezTo>
                  <a:pt x="454" y="100"/>
                  <a:pt x="454" y="100"/>
                  <a:pt x="454" y="100"/>
                </a:cubicBezTo>
                <a:cubicBezTo>
                  <a:pt x="453" y="100"/>
                  <a:pt x="453" y="100"/>
                  <a:pt x="453" y="100"/>
                </a:cubicBezTo>
                <a:cubicBezTo>
                  <a:pt x="452" y="101"/>
                  <a:pt x="452" y="101"/>
                  <a:pt x="452" y="101"/>
                </a:cubicBezTo>
                <a:cubicBezTo>
                  <a:pt x="451" y="101"/>
                  <a:pt x="451" y="101"/>
                  <a:pt x="451" y="101"/>
                </a:cubicBezTo>
                <a:cubicBezTo>
                  <a:pt x="449" y="100"/>
                  <a:pt x="449" y="100"/>
                  <a:pt x="449" y="100"/>
                </a:cubicBezTo>
                <a:cubicBezTo>
                  <a:pt x="448" y="100"/>
                  <a:pt x="448" y="100"/>
                  <a:pt x="448" y="100"/>
                </a:cubicBezTo>
                <a:cubicBezTo>
                  <a:pt x="448" y="99"/>
                  <a:pt x="448" y="99"/>
                  <a:pt x="448" y="99"/>
                </a:cubicBezTo>
                <a:cubicBezTo>
                  <a:pt x="446" y="99"/>
                  <a:pt x="446" y="99"/>
                  <a:pt x="446" y="99"/>
                </a:cubicBezTo>
                <a:cubicBezTo>
                  <a:pt x="446" y="100"/>
                  <a:pt x="446" y="100"/>
                  <a:pt x="446" y="100"/>
                </a:cubicBezTo>
                <a:cubicBezTo>
                  <a:pt x="446" y="101"/>
                  <a:pt x="446" y="101"/>
                  <a:pt x="446" y="101"/>
                </a:cubicBezTo>
                <a:cubicBezTo>
                  <a:pt x="450" y="103"/>
                  <a:pt x="450" y="103"/>
                  <a:pt x="450" y="103"/>
                </a:cubicBezTo>
                <a:cubicBezTo>
                  <a:pt x="451" y="103"/>
                  <a:pt x="451" y="103"/>
                  <a:pt x="451" y="103"/>
                </a:cubicBezTo>
                <a:cubicBezTo>
                  <a:pt x="451" y="103"/>
                  <a:pt x="451" y="103"/>
                  <a:pt x="451" y="103"/>
                </a:cubicBezTo>
                <a:cubicBezTo>
                  <a:pt x="450" y="104"/>
                  <a:pt x="450" y="104"/>
                  <a:pt x="450" y="104"/>
                </a:cubicBezTo>
                <a:cubicBezTo>
                  <a:pt x="449" y="105"/>
                  <a:pt x="449" y="105"/>
                  <a:pt x="449" y="105"/>
                </a:cubicBezTo>
                <a:cubicBezTo>
                  <a:pt x="448" y="105"/>
                  <a:pt x="448" y="105"/>
                  <a:pt x="448" y="105"/>
                </a:cubicBezTo>
                <a:cubicBezTo>
                  <a:pt x="447" y="104"/>
                  <a:pt x="447" y="104"/>
                  <a:pt x="447" y="104"/>
                </a:cubicBezTo>
                <a:cubicBezTo>
                  <a:pt x="446" y="104"/>
                  <a:pt x="446" y="104"/>
                  <a:pt x="446" y="104"/>
                </a:cubicBezTo>
                <a:cubicBezTo>
                  <a:pt x="445" y="105"/>
                  <a:pt x="445" y="105"/>
                  <a:pt x="445" y="105"/>
                </a:cubicBezTo>
                <a:cubicBezTo>
                  <a:pt x="443" y="105"/>
                  <a:pt x="443" y="105"/>
                  <a:pt x="443" y="105"/>
                </a:cubicBezTo>
                <a:cubicBezTo>
                  <a:pt x="442" y="104"/>
                  <a:pt x="442" y="104"/>
                  <a:pt x="442" y="104"/>
                </a:cubicBezTo>
                <a:cubicBezTo>
                  <a:pt x="439" y="104"/>
                  <a:pt x="439" y="104"/>
                  <a:pt x="439" y="104"/>
                </a:cubicBezTo>
                <a:cubicBezTo>
                  <a:pt x="438" y="104"/>
                  <a:pt x="438" y="104"/>
                  <a:pt x="438" y="104"/>
                </a:cubicBezTo>
                <a:cubicBezTo>
                  <a:pt x="438" y="106"/>
                  <a:pt x="438" y="106"/>
                  <a:pt x="438" y="106"/>
                </a:cubicBezTo>
                <a:cubicBezTo>
                  <a:pt x="436" y="107"/>
                  <a:pt x="436" y="107"/>
                  <a:pt x="436" y="107"/>
                </a:cubicBezTo>
                <a:cubicBezTo>
                  <a:pt x="437" y="107"/>
                  <a:pt x="437" y="107"/>
                  <a:pt x="437" y="107"/>
                </a:cubicBezTo>
                <a:cubicBezTo>
                  <a:pt x="438" y="108"/>
                  <a:pt x="438" y="108"/>
                  <a:pt x="438" y="108"/>
                </a:cubicBezTo>
                <a:cubicBezTo>
                  <a:pt x="438" y="109"/>
                  <a:pt x="438" y="109"/>
                  <a:pt x="438" y="109"/>
                </a:cubicBezTo>
                <a:cubicBezTo>
                  <a:pt x="436" y="110"/>
                  <a:pt x="436" y="110"/>
                  <a:pt x="436" y="110"/>
                </a:cubicBezTo>
                <a:cubicBezTo>
                  <a:pt x="436" y="111"/>
                  <a:pt x="436" y="111"/>
                  <a:pt x="436" y="111"/>
                </a:cubicBezTo>
                <a:cubicBezTo>
                  <a:pt x="435" y="112"/>
                  <a:pt x="435" y="112"/>
                  <a:pt x="435" y="112"/>
                </a:cubicBezTo>
                <a:cubicBezTo>
                  <a:pt x="434" y="112"/>
                  <a:pt x="434" y="112"/>
                  <a:pt x="434" y="112"/>
                </a:cubicBezTo>
                <a:cubicBezTo>
                  <a:pt x="434" y="112"/>
                  <a:pt x="434" y="112"/>
                  <a:pt x="434" y="112"/>
                </a:cubicBezTo>
                <a:cubicBezTo>
                  <a:pt x="434" y="113"/>
                  <a:pt x="434" y="113"/>
                  <a:pt x="434" y="113"/>
                </a:cubicBezTo>
                <a:cubicBezTo>
                  <a:pt x="432" y="113"/>
                  <a:pt x="432" y="113"/>
                  <a:pt x="432" y="113"/>
                </a:cubicBezTo>
                <a:cubicBezTo>
                  <a:pt x="431" y="113"/>
                  <a:pt x="431" y="113"/>
                  <a:pt x="431" y="113"/>
                </a:cubicBezTo>
                <a:cubicBezTo>
                  <a:pt x="432" y="112"/>
                  <a:pt x="432" y="112"/>
                  <a:pt x="432" y="112"/>
                </a:cubicBezTo>
                <a:cubicBezTo>
                  <a:pt x="431" y="112"/>
                  <a:pt x="431" y="112"/>
                  <a:pt x="431" y="112"/>
                </a:cubicBezTo>
                <a:cubicBezTo>
                  <a:pt x="431" y="113"/>
                  <a:pt x="431" y="113"/>
                  <a:pt x="431" y="113"/>
                </a:cubicBezTo>
                <a:cubicBezTo>
                  <a:pt x="430" y="115"/>
                  <a:pt x="430" y="115"/>
                  <a:pt x="430" y="115"/>
                </a:cubicBezTo>
                <a:cubicBezTo>
                  <a:pt x="429" y="115"/>
                  <a:pt x="429" y="115"/>
                  <a:pt x="429" y="115"/>
                </a:cubicBezTo>
                <a:cubicBezTo>
                  <a:pt x="426" y="114"/>
                  <a:pt x="426" y="114"/>
                  <a:pt x="426" y="114"/>
                </a:cubicBezTo>
                <a:cubicBezTo>
                  <a:pt x="425" y="114"/>
                  <a:pt x="425" y="114"/>
                  <a:pt x="425" y="114"/>
                </a:cubicBezTo>
                <a:cubicBezTo>
                  <a:pt x="424" y="114"/>
                  <a:pt x="424" y="114"/>
                  <a:pt x="424" y="114"/>
                </a:cubicBezTo>
                <a:cubicBezTo>
                  <a:pt x="423" y="114"/>
                  <a:pt x="423" y="114"/>
                  <a:pt x="423" y="114"/>
                </a:cubicBezTo>
                <a:cubicBezTo>
                  <a:pt x="420" y="111"/>
                  <a:pt x="420" y="111"/>
                  <a:pt x="420" y="111"/>
                </a:cubicBezTo>
                <a:cubicBezTo>
                  <a:pt x="420" y="108"/>
                  <a:pt x="420" y="108"/>
                  <a:pt x="420" y="108"/>
                </a:cubicBezTo>
                <a:cubicBezTo>
                  <a:pt x="420" y="107"/>
                  <a:pt x="420" y="107"/>
                  <a:pt x="420" y="107"/>
                </a:cubicBezTo>
                <a:cubicBezTo>
                  <a:pt x="420" y="106"/>
                  <a:pt x="420" y="106"/>
                  <a:pt x="420" y="106"/>
                </a:cubicBezTo>
                <a:cubicBezTo>
                  <a:pt x="420" y="106"/>
                  <a:pt x="420" y="106"/>
                  <a:pt x="420" y="106"/>
                </a:cubicBezTo>
                <a:cubicBezTo>
                  <a:pt x="420" y="105"/>
                  <a:pt x="420" y="105"/>
                  <a:pt x="420" y="105"/>
                </a:cubicBezTo>
                <a:cubicBezTo>
                  <a:pt x="419" y="106"/>
                  <a:pt x="419" y="106"/>
                  <a:pt x="419" y="106"/>
                </a:cubicBezTo>
                <a:cubicBezTo>
                  <a:pt x="419" y="107"/>
                  <a:pt x="419" y="107"/>
                  <a:pt x="419" y="107"/>
                </a:cubicBezTo>
                <a:cubicBezTo>
                  <a:pt x="419" y="109"/>
                  <a:pt x="419" y="109"/>
                  <a:pt x="419" y="109"/>
                </a:cubicBezTo>
                <a:cubicBezTo>
                  <a:pt x="418" y="110"/>
                  <a:pt x="418" y="110"/>
                  <a:pt x="418" y="110"/>
                </a:cubicBezTo>
                <a:cubicBezTo>
                  <a:pt x="419" y="111"/>
                  <a:pt x="419" y="111"/>
                  <a:pt x="419" y="111"/>
                </a:cubicBezTo>
                <a:cubicBezTo>
                  <a:pt x="419" y="112"/>
                  <a:pt x="419" y="112"/>
                  <a:pt x="419" y="112"/>
                </a:cubicBezTo>
                <a:cubicBezTo>
                  <a:pt x="418" y="112"/>
                  <a:pt x="418" y="112"/>
                  <a:pt x="418" y="112"/>
                </a:cubicBezTo>
                <a:cubicBezTo>
                  <a:pt x="416" y="112"/>
                  <a:pt x="416" y="112"/>
                  <a:pt x="416" y="112"/>
                </a:cubicBezTo>
                <a:cubicBezTo>
                  <a:pt x="416" y="112"/>
                  <a:pt x="416" y="112"/>
                  <a:pt x="416" y="112"/>
                </a:cubicBezTo>
                <a:cubicBezTo>
                  <a:pt x="415" y="112"/>
                  <a:pt x="415" y="112"/>
                  <a:pt x="415" y="112"/>
                </a:cubicBezTo>
                <a:cubicBezTo>
                  <a:pt x="416" y="113"/>
                  <a:pt x="416" y="113"/>
                  <a:pt x="416" y="113"/>
                </a:cubicBezTo>
                <a:cubicBezTo>
                  <a:pt x="415" y="115"/>
                  <a:pt x="415" y="115"/>
                  <a:pt x="415" y="115"/>
                </a:cubicBezTo>
                <a:cubicBezTo>
                  <a:pt x="416" y="115"/>
                  <a:pt x="416" y="115"/>
                  <a:pt x="416" y="115"/>
                </a:cubicBezTo>
                <a:cubicBezTo>
                  <a:pt x="418" y="113"/>
                  <a:pt x="418" y="113"/>
                  <a:pt x="418" y="113"/>
                </a:cubicBezTo>
                <a:cubicBezTo>
                  <a:pt x="418" y="113"/>
                  <a:pt x="418" y="113"/>
                  <a:pt x="418" y="113"/>
                </a:cubicBezTo>
                <a:cubicBezTo>
                  <a:pt x="419" y="113"/>
                  <a:pt x="419" y="113"/>
                  <a:pt x="419" y="113"/>
                </a:cubicBezTo>
                <a:cubicBezTo>
                  <a:pt x="420" y="112"/>
                  <a:pt x="420" y="112"/>
                  <a:pt x="420" y="112"/>
                </a:cubicBezTo>
                <a:cubicBezTo>
                  <a:pt x="421" y="113"/>
                  <a:pt x="421" y="113"/>
                  <a:pt x="421" y="113"/>
                </a:cubicBezTo>
                <a:cubicBezTo>
                  <a:pt x="422" y="115"/>
                  <a:pt x="422" y="115"/>
                  <a:pt x="422" y="115"/>
                </a:cubicBezTo>
                <a:cubicBezTo>
                  <a:pt x="422" y="116"/>
                  <a:pt x="422" y="116"/>
                  <a:pt x="422" y="116"/>
                </a:cubicBezTo>
                <a:cubicBezTo>
                  <a:pt x="423" y="115"/>
                  <a:pt x="423" y="115"/>
                  <a:pt x="423" y="115"/>
                </a:cubicBezTo>
                <a:cubicBezTo>
                  <a:pt x="425" y="114"/>
                  <a:pt x="425" y="114"/>
                  <a:pt x="425" y="114"/>
                </a:cubicBezTo>
                <a:cubicBezTo>
                  <a:pt x="427" y="115"/>
                  <a:pt x="427" y="115"/>
                  <a:pt x="427" y="115"/>
                </a:cubicBezTo>
                <a:cubicBezTo>
                  <a:pt x="427" y="116"/>
                  <a:pt x="427" y="116"/>
                  <a:pt x="427" y="116"/>
                </a:cubicBezTo>
                <a:cubicBezTo>
                  <a:pt x="426" y="117"/>
                  <a:pt x="426" y="117"/>
                  <a:pt x="426" y="117"/>
                </a:cubicBezTo>
                <a:cubicBezTo>
                  <a:pt x="426" y="119"/>
                  <a:pt x="426" y="119"/>
                  <a:pt x="426" y="119"/>
                </a:cubicBezTo>
                <a:cubicBezTo>
                  <a:pt x="425" y="119"/>
                  <a:pt x="425" y="119"/>
                  <a:pt x="425" y="119"/>
                </a:cubicBezTo>
                <a:cubicBezTo>
                  <a:pt x="425" y="120"/>
                  <a:pt x="425" y="120"/>
                  <a:pt x="425" y="120"/>
                </a:cubicBezTo>
                <a:cubicBezTo>
                  <a:pt x="425" y="120"/>
                  <a:pt x="425" y="120"/>
                  <a:pt x="425" y="120"/>
                </a:cubicBezTo>
                <a:cubicBezTo>
                  <a:pt x="426" y="120"/>
                  <a:pt x="426" y="120"/>
                  <a:pt x="426" y="120"/>
                </a:cubicBezTo>
                <a:cubicBezTo>
                  <a:pt x="426" y="121"/>
                  <a:pt x="426" y="121"/>
                  <a:pt x="426" y="121"/>
                </a:cubicBezTo>
                <a:cubicBezTo>
                  <a:pt x="425" y="122"/>
                  <a:pt x="425" y="122"/>
                  <a:pt x="425" y="122"/>
                </a:cubicBezTo>
                <a:cubicBezTo>
                  <a:pt x="426" y="122"/>
                  <a:pt x="426" y="122"/>
                  <a:pt x="426" y="122"/>
                </a:cubicBezTo>
                <a:cubicBezTo>
                  <a:pt x="427" y="121"/>
                  <a:pt x="427" y="121"/>
                  <a:pt x="427" y="121"/>
                </a:cubicBezTo>
                <a:cubicBezTo>
                  <a:pt x="428" y="121"/>
                  <a:pt x="428" y="121"/>
                  <a:pt x="428" y="121"/>
                </a:cubicBezTo>
                <a:cubicBezTo>
                  <a:pt x="429" y="120"/>
                  <a:pt x="429" y="120"/>
                  <a:pt x="429" y="120"/>
                </a:cubicBezTo>
                <a:cubicBezTo>
                  <a:pt x="430" y="120"/>
                  <a:pt x="430" y="120"/>
                  <a:pt x="430" y="120"/>
                </a:cubicBezTo>
                <a:cubicBezTo>
                  <a:pt x="430" y="121"/>
                  <a:pt x="430" y="121"/>
                  <a:pt x="430" y="121"/>
                </a:cubicBezTo>
                <a:cubicBezTo>
                  <a:pt x="430" y="122"/>
                  <a:pt x="430" y="122"/>
                  <a:pt x="430" y="122"/>
                </a:cubicBezTo>
                <a:cubicBezTo>
                  <a:pt x="430" y="123"/>
                  <a:pt x="430" y="123"/>
                  <a:pt x="430" y="123"/>
                </a:cubicBezTo>
                <a:cubicBezTo>
                  <a:pt x="430" y="125"/>
                  <a:pt x="430" y="125"/>
                  <a:pt x="430" y="125"/>
                </a:cubicBezTo>
                <a:cubicBezTo>
                  <a:pt x="429" y="127"/>
                  <a:pt x="429" y="127"/>
                  <a:pt x="429" y="127"/>
                </a:cubicBezTo>
                <a:cubicBezTo>
                  <a:pt x="427" y="127"/>
                  <a:pt x="427" y="127"/>
                  <a:pt x="427" y="127"/>
                </a:cubicBezTo>
                <a:cubicBezTo>
                  <a:pt x="426" y="128"/>
                  <a:pt x="426" y="128"/>
                  <a:pt x="426" y="128"/>
                </a:cubicBezTo>
                <a:cubicBezTo>
                  <a:pt x="425" y="129"/>
                  <a:pt x="425" y="129"/>
                  <a:pt x="425" y="129"/>
                </a:cubicBezTo>
                <a:cubicBezTo>
                  <a:pt x="424" y="130"/>
                  <a:pt x="424" y="130"/>
                  <a:pt x="424" y="130"/>
                </a:cubicBezTo>
                <a:cubicBezTo>
                  <a:pt x="424" y="130"/>
                  <a:pt x="424" y="130"/>
                  <a:pt x="424" y="130"/>
                </a:cubicBezTo>
                <a:cubicBezTo>
                  <a:pt x="424" y="128"/>
                  <a:pt x="424" y="128"/>
                  <a:pt x="424" y="128"/>
                </a:cubicBezTo>
                <a:cubicBezTo>
                  <a:pt x="424" y="127"/>
                  <a:pt x="424" y="127"/>
                  <a:pt x="424" y="127"/>
                </a:cubicBezTo>
                <a:cubicBezTo>
                  <a:pt x="424" y="127"/>
                  <a:pt x="424" y="127"/>
                  <a:pt x="424" y="127"/>
                </a:cubicBezTo>
                <a:cubicBezTo>
                  <a:pt x="423" y="127"/>
                  <a:pt x="423" y="127"/>
                  <a:pt x="423" y="127"/>
                </a:cubicBezTo>
                <a:cubicBezTo>
                  <a:pt x="422" y="129"/>
                  <a:pt x="422" y="129"/>
                  <a:pt x="422" y="129"/>
                </a:cubicBezTo>
                <a:cubicBezTo>
                  <a:pt x="421" y="129"/>
                  <a:pt x="421" y="129"/>
                  <a:pt x="421" y="129"/>
                </a:cubicBezTo>
                <a:cubicBezTo>
                  <a:pt x="419" y="131"/>
                  <a:pt x="419" y="131"/>
                  <a:pt x="419" y="131"/>
                </a:cubicBezTo>
                <a:cubicBezTo>
                  <a:pt x="419" y="130"/>
                  <a:pt x="419" y="130"/>
                  <a:pt x="419" y="130"/>
                </a:cubicBezTo>
                <a:cubicBezTo>
                  <a:pt x="418" y="130"/>
                  <a:pt x="418" y="130"/>
                  <a:pt x="418" y="130"/>
                </a:cubicBezTo>
                <a:cubicBezTo>
                  <a:pt x="416" y="132"/>
                  <a:pt x="416" y="132"/>
                  <a:pt x="416" y="132"/>
                </a:cubicBezTo>
                <a:cubicBezTo>
                  <a:pt x="415" y="132"/>
                  <a:pt x="415" y="132"/>
                  <a:pt x="415" y="132"/>
                </a:cubicBezTo>
                <a:cubicBezTo>
                  <a:pt x="414" y="132"/>
                  <a:pt x="414" y="132"/>
                  <a:pt x="414" y="132"/>
                </a:cubicBezTo>
                <a:cubicBezTo>
                  <a:pt x="413" y="132"/>
                  <a:pt x="413" y="132"/>
                  <a:pt x="413" y="132"/>
                </a:cubicBezTo>
                <a:cubicBezTo>
                  <a:pt x="413" y="131"/>
                  <a:pt x="413" y="131"/>
                  <a:pt x="413" y="131"/>
                </a:cubicBezTo>
                <a:cubicBezTo>
                  <a:pt x="412" y="131"/>
                  <a:pt x="412" y="131"/>
                  <a:pt x="412" y="131"/>
                </a:cubicBezTo>
                <a:cubicBezTo>
                  <a:pt x="413" y="130"/>
                  <a:pt x="413" y="130"/>
                  <a:pt x="413" y="130"/>
                </a:cubicBezTo>
                <a:cubicBezTo>
                  <a:pt x="414" y="129"/>
                  <a:pt x="414" y="129"/>
                  <a:pt x="414" y="129"/>
                </a:cubicBezTo>
                <a:cubicBezTo>
                  <a:pt x="414" y="128"/>
                  <a:pt x="414" y="128"/>
                  <a:pt x="414" y="128"/>
                </a:cubicBezTo>
                <a:cubicBezTo>
                  <a:pt x="413" y="126"/>
                  <a:pt x="413" y="126"/>
                  <a:pt x="413" y="126"/>
                </a:cubicBezTo>
                <a:cubicBezTo>
                  <a:pt x="412" y="127"/>
                  <a:pt x="412" y="127"/>
                  <a:pt x="412" y="127"/>
                </a:cubicBezTo>
                <a:cubicBezTo>
                  <a:pt x="410" y="126"/>
                  <a:pt x="410" y="126"/>
                  <a:pt x="410" y="126"/>
                </a:cubicBezTo>
                <a:cubicBezTo>
                  <a:pt x="410" y="125"/>
                  <a:pt x="410" y="125"/>
                  <a:pt x="410" y="125"/>
                </a:cubicBezTo>
                <a:cubicBezTo>
                  <a:pt x="410" y="124"/>
                  <a:pt x="410" y="124"/>
                  <a:pt x="410" y="124"/>
                </a:cubicBezTo>
                <a:cubicBezTo>
                  <a:pt x="411" y="123"/>
                  <a:pt x="411" y="123"/>
                  <a:pt x="411" y="123"/>
                </a:cubicBezTo>
                <a:cubicBezTo>
                  <a:pt x="411" y="123"/>
                  <a:pt x="411" y="123"/>
                  <a:pt x="411" y="123"/>
                </a:cubicBezTo>
                <a:cubicBezTo>
                  <a:pt x="410" y="123"/>
                  <a:pt x="410" y="123"/>
                  <a:pt x="410" y="123"/>
                </a:cubicBezTo>
                <a:cubicBezTo>
                  <a:pt x="409" y="121"/>
                  <a:pt x="409" y="121"/>
                  <a:pt x="409" y="121"/>
                </a:cubicBezTo>
                <a:cubicBezTo>
                  <a:pt x="409" y="120"/>
                  <a:pt x="409" y="120"/>
                  <a:pt x="409" y="120"/>
                </a:cubicBezTo>
                <a:cubicBezTo>
                  <a:pt x="409" y="119"/>
                  <a:pt x="409" y="119"/>
                  <a:pt x="409" y="119"/>
                </a:cubicBezTo>
                <a:cubicBezTo>
                  <a:pt x="409" y="118"/>
                  <a:pt x="409" y="118"/>
                  <a:pt x="409" y="118"/>
                </a:cubicBezTo>
                <a:cubicBezTo>
                  <a:pt x="409" y="119"/>
                  <a:pt x="409" y="119"/>
                  <a:pt x="409" y="119"/>
                </a:cubicBezTo>
                <a:cubicBezTo>
                  <a:pt x="408" y="121"/>
                  <a:pt x="408" y="121"/>
                  <a:pt x="408" y="121"/>
                </a:cubicBezTo>
                <a:cubicBezTo>
                  <a:pt x="409" y="123"/>
                  <a:pt x="409" y="123"/>
                  <a:pt x="409" y="123"/>
                </a:cubicBezTo>
                <a:cubicBezTo>
                  <a:pt x="409" y="124"/>
                  <a:pt x="409" y="124"/>
                  <a:pt x="409" y="124"/>
                </a:cubicBezTo>
                <a:cubicBezTo>
                  <a:pt x="409" y="125"/>
                  <a:pt x="409" y="125"/>
                  <a:pt x="409" y="125"/>
                </a:cubicBezTo>
                <a:cubicBezTo>
                  <a:pt x="409" y="126"/>
                  <a:pt x="409" y="126"/>
                  <a:pt x="409" y="126"/>
                </a:cubicBezTo>
                <a:cubicBezTo>
                  <a:pt x="408" y="127"/>
                  <a:pt x="408" y="127"/>
                  <a:pt x="408" y="127"/>
                </a:cubicBezTo>
                <a:cubicBezTo>
                  <a:pt x="407" y="126"/>
                  <a:pt x="407" y="126"/>
                  <a:pt x="407" y="126"/>
                </a:cubicBezTo>
                <a:cubicBezTo>
                  <a:pt x="406" y="127"/>
                  <a:pt x="406" y="127"/>
                  <a:pt x="406" y="127"/>
                </a:cubicBezTo>
                <a:cubicBezTo>
                  <a:pt x="405" y="126"/>
                  <a:pt x="405" y="126"/>
                  <a:pt x="405" y="126"/>
                </a:cubicBezTo>
                <a:cubicBezTo>
                  <a:pt x="405" y="125"/>
                  <a:pt x="405" y="125"/>
                  <a:pt x="405" y="125"/>
                </a:cubicBezTo>
                <a:cubicBezTo>
                  <a:pt x="405" y="123"/>
                  <a:pt x="405" y="123"/>
                  <a:pt x="405" y="123"/>
                </a:cubicBezTo>
                <a:cubicBezTo>
                  <a:pt x="405" y="121"/>
                  <a:pt x="405" y="121"/>
                  <a:pt x="405" y="121"/>
                </a:cubicBezTo>
                <a:cubicBezTo>
                  <a:pt x="405" y="120"/>
                  <a:pt x="405" y="120"/>
                  <a:pt x="405" y="120"/>
                </a:cubicBezTo>
                <a:cubicBezTo>
                  <a:pt x="406" y="119"/>
                  <a:pt x="406" y="119"/>
                  <a:pt x="406" y="119"/>
                </a:cubicBezTo>
                <a:cubicBezTo>
                  <a:pt x="405" y="119"/>
                  <a:pt x="405" y="119"/>
                  <a:pt x="405" y="119"/>
                </a:cubicBezTo>
                <a:cubicBezTo>
                  <a:pt x="404" y="120"/>
                  <a:pt x="404" y="120"/>
                  <a:pt x="404" y="120"/>
                </a:cubicBezTo>
                <a:cubicBezTo>
                  <a:pt x="404" y="122"/>
                  <a:pt x="404" y="122"/>
                  <a:pt x="404" y="122"/>
                </a:cubicBezTo>
                <a:cubicBezTo>
                  <a:pt x="404" y="123"/>
                  <a:pt x="404" y="123"/>
                  <a:pt x="404" y="123"/>
                </a:cubicBezTo>
                <a:cubicBezTo>
                  <a:pt x="403" y="125"/>
                  <a:pt x="403" y="125"/>
                  <a:pt x="403" y="125"/>
                </a:cubicBezTo>
                <a:cubicBezTo>
                  <a:pt x="402" y="125"/>
                  <a:pt x="402" y="125"/>
                  <a:pt x="402" y="125"/>
                </a:cubicBezTo>
                <a:cubicBezTo>
                  <a:pt x="401" y="125"/>
                  <a:pt x="401" y="125"/>
                  <a:pt x="401" y="125"/>
                </a:cubicBezTo>
                <a:cubicBezTo>
                  <a:pt x="401" y="124"/>
                  <a:pt x="401" y="124"/>
                  <a:pt x="401" y="124"/>
                </a:cubicBezTo>
                <a:cubicBezTo>
                  <a:pt x="401" y="123"/>
                  <a:pt x="401" y="123"/>
                  <a:pt x="401" y="123"/>
                </a:cubicBezTo>
                <a:cubicBezTo>
                  <a:pt x="401" y="122"/>
                  <a:pt x="401" y="122"/>
                  <a:pt x="401" y="122"/>
                </a:cubicBezTo>
                <a:cubicBezTo>
                  <a:pt x="402" y="121"/>
                  <a:pt x="402" y="121"/>
                  <a:pt x="402" y="121"/>
                </a:cubicBezTo>
                <a:cubicBezTo>
                  <a:pt x="402" y="121"/>
                  <a:pt x="402" y="121"/>
                  <a:pt x="402" y="121"/>
                </a:cubicBezTo>
                <a:cubicBezTo>
                  <a:pt x="401" y="119"/>
                  <a:pt x="401" y="119"/>
                  <a:pt x="401" y="119"/>
                </a:cubicBezTo>
                <a:cubicBezTo>
                  <a:pt x="401" y="119"/>
                  <a:pt x="401" y="119"/>
                  <a:pt x="401" y="119"/>
                </a:cubicBezTo>
                <a:cubicBezTo>
                  <a:pt x="401" y="120"/>
                  <a:pt x="401" y="120"/>
                  <a:pt x="401" y="120"/>
                </a:cubicBezTo>
                <a:cubicBezTo>
                  <a:pt x="401" y="121"/>
                  <a:pt x="401" y="121"/>
                  <a:pt x="401" y="121"/>
                </a:cubicBezTo>
                <a:cubicBezTo>
                  <a:pt x="400" y="122"/>
                  <a:pt x="400" y="122"/>
                  <a:pt x="400" y="122"/>
                </a:cubicBezTo>
                <a:cubicBezTo>
                  <a:pt x="400" y="123"/>
                  <a:pt x="400" y="123"/>
                  <a:pt x="400" y="123"/>
                </a:cubicBezTo>
                <a:cubicBezTo>
                  <a:pt x="399" y="123"/>
                  <a:pt x="399" y="123"/>
                  <a:pt x="399" y="123"/>
                </a:cubicBezTo>
                <a:cubicBezTo>
                  <a:pt x="398" y="123"/>
                  <a:pt x="398" y="123"/>
                  <a:pt x="398" y="123"/>
                </a:cubicBezTo>
                <a:cubicBezTo>
                  <a:pt x="398" y="124"/>
                  <a:pt x="398" y="124"/>
                  <a:pt x="398" y="124"/>
                </a:cubicBezTo>
                <a:cubicBezTo>
                  <a:pt x="397" y="124"/>
                  <a:pt x="397" y="124"/>
                  <a:pt x="397" y="124"/>
                </a:cubicBezTo>
                <a:close/>
                <a:moveTo>
                  <a:pt x="431" y="310"/>
                </a:moveTo>
                <a:cubicBezTo>
                  <a:pt x="431" y="312"/>
                  <a:pt x="431" y="312"/>
                  <a:pt x="431" y="312"/>
                </a:cubicBezTo>
                <a:cubicBezTo>
                  <a:pt x="431" y="313"/>
                  <a:pt x="431" y="313"/>
                  <a:pt x="431" y="313"/>
                </a:cubicBezTo>
                <a:cubicBezTo>
                  <a:pt x="431" y="314"/>
                  <a:pt x="431" y="314"/>
                  <a:pt x="431" y="314"/>
                </a:cubicBezTo>
                <a:cubicBezTo>
                  <a:pt x="432" y="314"/>
                  <a:pt x="432" y="314"/>
                  <a:pt x="432" y="314"/>
                </a:cubicBezTo>
                <a:cubicBezTo>
                  <a:pt x="431" y="313"/>
                  <a:pt x="431" y="313"/>
                  <a:pt x="431" y="313"/>
                </a:cubicBezTo>
                <a:cubicBezTo>
                  <a:pt x="432" y="312"/>
                  <a:pt x="432" y="312"/>
                  <a:pt x="432" y="312"/>
                </a:cubicBezTo>
                <a:cubicBezTo>
                  <a:pt x="432" y="310"/>
                  <a:pt x="432" y="310"/>
                  <a:pt x="432" y="310"/>
                </a:cubicBezTo>
                <a:cubicBezTo>
                  <a:pt x="431" y="310"/>
                  <a:pt x="431" y="310"/>
                  <a:pt x="431" y="310"/>
                </a:cubicBezTo>
                <a:close/>
                <a:moveTo>
                  <a:pt x="430" y="303"/>
                </a:moveTo>
                <a:cubicBezTo>
                  <a:pt x="430" y="303"/>
                  <a:pt x="430" y="303"/>
                  <a:pt x="430" y="303"/>
                </a:cubicBezTo>
                <a:cubicBezTo>
                  <a:pt x="430" y="302"/>
                  <a:pt x="430" y="302"/>
                  <a:pt x="430" y="302"/>
                </a:cubicBezTo>
                <a:cubicBezTo>
                  <a:pt x="431" y="303"/>
                  <a:pt x="431" y="303"/>
                  <a:pt x="431" y="303"/>
                </a:cubicBezTo>
                <a:cubicBezTo>
                  <a:pt x="431" y="303"/>
                  <a:pt x="431" y="303"/>
                  <a:pt x="431" y="303"/>
                </a:cubicBezTo>
                <a:cubicBezTo>
                  <a:pt x="430" y="303"/>
                  <a:pt x="430" y="303"/>
                  <a:pt x="430" y="303"/>
                </a:cubicBezTo>
                <a:close/>
                <a:moveTo>
                  <a:pt x="428" y="299"/>
                </a:moveTo>
                <a:cubicBezTo>
                  <a:pt x="429" y="298"/>
                  <a:pt x="429" y="298"/>
                  <a:pt x="429" y="298"/>
                </a:cubicBezTo>
                <a:cubicBezTo>
                  <a:pt x="430" y="298"/>
                  <a:pt x="430" y="298"/>
                  <a:pt x="430" y="298"/>
                </a:cubicBezTo>
                <a:cubicBezTo>
                  <a:pt x="430" y="298"/>
                  <a:pt x="430" y="298"/>
                  <a:pt x="430" y="298"/>
                </a:cubicBezTo>
                <a:cubicBezTo>
                  <a:pt x="429" y="299"/>
                  <a:pt x="429" y="299"/>
                  <a:pt x="429" y="299"/>
                </a:cubicBezTo>
                <a:cubicBezTo>
                  <a:pt x="429" y="299"/>
                  <a:pt x="429" y="299"/>
                  <a:pt x="429" y="299"/>
                </a:cubicBezTo>
                <a:cubicBezTo>
                  <a:pt x="428" y="299"/>
                  <a:pt x="428" y="299"/>
                  <a:pt x="428" y="299"/>
                </a:cubicBezTo>
                <a:close/>
                <a:moveTo>
                  <a:pt x="418" y="206"/>
                </a:moveTo>
                <a:cubicBezTo>
                  <a:pt x="418" y="205"/>
                  <a:pt x="418" y="205"/>
                  <a:pt x="418" y="205"/>
                </a:cubicBezTo>
                <a:cubicBezTo>
                  <a:pt x="419" y="204"/>
                  <a:pt x="419" y="204"/>
                  <a:pt x="419" y="204"/>
                </a:cubicBezTo>
                <a:cubicBezTo>
                  <a:pt x="419" y="205"/>
                  <a:pt x="419" y="205"/>
                  <a:pt x="419" y="205"/>
                </a:cubicBezTo>
                <a:cubicBezTo>
                  <a:pt x="418" y="206"/>
                  <a:pt x="418" y="206"/>
                  <a:pt x="418" y="206"/>
                </a:cubicBezTo>
                <a:close/>
                <a:moveTo>
                  <a:pt x="420" y="207"/>
                </a:moveTo>
                <a:cubicBezTo>
                  <a:pt x="420" y="206"/>
                  <a:pt x="420" y="206"/>
                  <a:pt x="420" y="206"/>
                </a:cubicBezTo>
                <a:cubicBezTo>
                  <a:pt x="420" y="205"/>
                  <a:pt x="420" y="205"/>
                  <a:pt x="420" y="205"/>
                </a:cubicBezTo>
                <a:cubicBezTo>
                  <a:pt x="420" y="205"/>
                  <a:pt x="420" y="205"/>
                  <a:pt x="420" y="205"/>
                </a:cubicBezTo>
                <a:cubicBezTo>
                  <a:pt x="421" y="206"/>
                  <a:pt x="421" y="206"/>
                  <a:pt x="421" y="206"/>
                </a:cubicBezTo>
                <a:cubicBezTo>
                  <a:pt x="421" y="207"/>
                  <a:pt x="421" y="207"/>
                  <a:pt x="421" y="207"/>
                </a:cubicBezTo>
                <a:cubicBezTo>
                  <a:pt x="420" y="207"/>
                  <a:pt x="420" y="207"/>
                  <a:pt x="420" y="207"/>
                </a:cubicBezTo>
                <a:close/>
                <a:moveTo>
                  <a:pt x="418" y="210"/>
                </a:moveTo>
                <a:cubicBezTo>
                  <a:pt x="417" y="209"/>
                  <a:pt x="417" y="209"/>
                  <a:pt x="417" y="209"/>
                </a:cubicBezTo>
                <a:cubicBezTo>
                  <a:pt x="418" y="208"/>
                  <a:pt x="418" y="208"/>
                  <a:pt x="418" y="208"/>
                </a:cubicBezTo>
                <a:cubicBezTo>
                  <a:pt x="418" y="207"/>
                  <a:pt x="418" y="207"/>
                  <a:pt x="418" y="207"/>
                </a:cubicBezTo>
                <a:cubicBezTo>
                  <a:pt x="418" y="207"/>
                  <a:pt x="418" y="207"/>
                  <a:pt x="418" y="207"/>
                </a:cubicBezTo>
                <a:cubicBezTo>
                  <a:pt x="419" y="208"/>
                  <a:pt x="419" y="208"/>
                  <a:pt x="419" y="208"/>
                </a:cubicBezTo>
                <a:cubicBezTo>
                  <a:pt x="419" y="207"/>
                  <a:pt x="419" y="207"/>
                  <a:pt x="419" y="207"/>
                </a:cubicBezTo>
                <a:cubicBezTo>
                  <a:pt x="420" y="208"/>
                  <a:pt x="420" y="208"/>
                  <a:pt x="420" y="208"/>
                </a:cubicBezTo>
                <a:cubicBezTo>
                  <a:pt x="419" y="209"/>
                  <a:pt x="419" y="209"/>
                  <a:pt x="419" y="209"/>
                </a:cubicBezTo>
                <a:cubicBezTo>
                  <a:pt x="418" y="210"/>
                  <a:pt x="418" y="210"/>
                  <a:pt x="418" y="210"/>
                </a:cubicBezTo>
                <a:cubicBezTo>
                  <a:pt x="418" y="210"/>
                  <a:pt x="418" y="210"/>
                  <a:pt x="418" y="210"/>
                </a:cubicBezTo>
                <a:close/>
                <a:moveTo>
                  <a:pt x="437" y="238"/>
                </a:moveTo>
                <a:cubicBezTo>
                  <a:pt x="437" y="237"/>
                  <a:pt x="437" y="237"/>
                  <a:pt x="437" y="237"/>
                </a:cubicBezTo>
                <a:cubicBezTo>
                  <a:pt x="438" y="237"/>
                  <a:pt x="438" y="237"/>
                  <a:pt x="438" y="237"/>
                </a:cubicBezTo>
                <a:cubicBezTo>
                  <a:pt x="438" y="238"/>
                  <a:pt x="438" y="238"/>
                  <a:pt x="438" y="238"/>
                </a:cubicBezTo>
                <a:cubicBezTo>
                  <a:pt x="437" y="238"/>
                  <a:pt x="437" y="238"/>
                  <a:pt x="437" y="238"/>
                </a:cubicBezTo>
                <a:cubicBezTo>
                  <a:pt x="437" y="238"/>
                  <a:pt x="437" y="238"/>
                  <a:pt x="437" y="238"/>
                </a:cubicBezTo>
                <a:close/>
                <a:moveTo>
                  <a:pt x="435" y="237"/>
                </a:moveTo>
                <a:cubicBezTo>
                  <a:pt x="435" y="237"/>
                  <a:pt x="435" y="237"/>
                  <a:pt x="435" y="237"/>
                </a:cubicBezTo>
                <a:cubicBezTo>
                  <a:pt x="436" y="236"/>
                  <a:pt x="436" y="236"/>
                  <a:pt x="436" y="236"/>
                </a:cubicBezTo>
                <a:cubicBezTo>
                  <a:pt x="436" y="236"/>
                  <a:pt x="436" y="236"/>
                  <a:pt x="436" y="236"/>
                </a:cubicBezTo>
                <a:cubicBezTo>
                  <a:pt x="437" y="237"/>
                  <a:pt x="437" y="237"/>
                  <a:pt x="437" y="237"/>
                </a:cubicBezTo>
                <a:cubicBezTo>
                  <a:pt x="436" y="238"/>
                  <a:pt x="436" y="238"/>
                  <a:pt x="436" y="238"/>
                </a:cubicBezTo>
                <a:cubicBezTo>
                  <a:pt x="435" y="238"/>
                  <a:pt x="435" y="238"/>
                  <a:pt x="435" y="238"/>
                </a:cubicBezTo>
                <a:cubicBezTo>
                  <a:pt x="435" y="237"/>
                  <a:pt x="435" y="237"/>
                  <a:pt x="435" y="237"/>
                </a:cubicBezTo>
                <a:close/>
                <a:moveTo>
                  <a:pt x="431" y="250"/>
                </a:moveTo>
                <a:cubicBezTo>
                  <a:pt x="432" y="251"/>
                  <a:pt x="432" y="251"/>
                  <a:pt x="432" y="251"/>
                </a:cubicBezTo>
                <a:cubicBezTo>
                  <a:pt x="432" y="251"/>
                  <a:pt x="432" y="251"/>
                  <a:pt x="432" y="251"/>
                </a:cubicBezTo>
                <a:cubicBezTo>
                  <a:pt x="432" y="250"/>
                  <a:pt x="432" y="250"/>
                  <a:pt x="432" y="250"/>
                </a:cubicBezTo>
                <a:cubicBezTo>
                  <a:pt x="431" y="250"/>
                  <a:pt x="431" y="250"/>
                  <a:pt x="431" y="250"/>
                </a:cubicBezTo>
                <a:close/>
                <a:moveTo>
                  <a:pt x="436" y="256"/>
                </a:moveTo>
                <a:cubicBezTo>
                  <a:pt x="437" y="257"/>
                  <a:pt x="437" y="257"/>
                  <a:pt x="437" y="257"/>
                </a:cubicBezTo>
                <a:cubicBezTo>
                  <a:pt x="438" y="256"/>
                  <a:pt x="438" y="256"/>
                  <a:pt x="438" y="256"/>
                </a:cubicBezTo>
                <a:cubicBezTo>
                  <a:pt x="437" y="256"/>
                  <a:pt x="437" y="256"/>
                  <a:pt x="437" y="256"/>
                </a:cubicBezTo>
                <a:cubicBezTo>
                  <a:pt x="437" y="256"/>
                  <a:pt x="437" y="256"/>
                  <a:pt x="437" y="256"/>
                </a:cubicBezTo>
                <a:cubicBezTo>
                  <a:pt x="437" y="256"/>
                  <a:pt x="436" y="256"/>
                  <a:pt x="436" y="256"/>
                </a:cubicBezTo>
                <a:close/>
                <a:moveTo>
                  <a:pt x="446" y="266"/>
                </a:moveTo>
                <a:cubicBezTo>
                  <a:pt x="445" y="264"/>
                  <a:pt x="445" y="264"/>
                  <a:pt x="445" y="264"/>
                </a:cubicBezTo>
                <a:cubicBezTo>
                  <a:pt x="446" y="263"/>
                  <a:pt x="446" y="263"/>
                  <a:pt x="446" y="263"/>
                </a:cubicBezTo>
                <a:cubicBezTo>
                  <a:pt x="447" y="264"/>
                  <a:pt x="447" y="264"/>
                  <a:pt x="447" y="264"/>
                </a:cubicBezTo>
                <a:cubicBezTo>
                  <a:pt x="447" y="265"/>
                  <a:pt x="447" y="265"/>
                  <a:pt x="447" y="265"/>
                </a:cubicBezTo>
                <a:cubicBezTo>
                  <a:pt x="446" y="266"/>
                  <a:pt x="446" y="266"/>
                  <a:pt x="446" y="266"/>
                </a:cubicBezTo>
                <a:cubicBezTo>
                  <a:pt x="446" y="266"/>
                  <a:pt x="446" y="266"/>
                  <a:pt x="446" y="266"/>
                </a:cubicBezTo>
                <a:close/>
                <a:moveTo>
                  <a:pt x="451" y="272"/>
                </a:moveTo>
                <a:cubicBezTo>
                  <a:pt x="451" y="270"/>
                  <a:pt x="451" y="270"/>
                  <a:pt x="451" y="270"/>
                </a:cubicBezTo>
                <a:cubicBezTo>
                  <a:pt x="452" y="270"/>
                  <a:pt x="452" y="270"/>
                  <a:pt x="452" y="270"/>
                </a:cubicBezTo>
                <a:cubicBezTo>
                  <a:pt x="452" y="270"/>
                  <a:pt x="452" y="270"/>
                  <a:pt x="452" y="270"/>
                </a:cubicBezTo>
                <a:cubicBezTo>
                  <a:pt x="453" y="270"/>
                  <a:pt x="453" y="270"/>
                  <a:pt x="453" y="270"/>
                </a:cubicBezTo>
                <a:cubicBezTo>
                  <a:pt x="452" y="271"/>
                  <a:pt x="452" y="271"/>
                  <a:pt x="452" y="271"/>
                </a:cubicBezTo>
                <a:cubicBezTo>
                  <a:pt x="451" y="271"/>
                  <a:pt x="451" y="271"/>
                  <a:pt x="451" y="271"/>
                </a:cubicBezTo>
                <a:cubicBezTo>
                  <a:pt x="451" y="271"/>
                  <a:pt x="451" y="272"/>
                  <a:pt x="451" y="272"/>
                </a:cubicBezTo>
                <a:close/>
                <a:moveTo>
                  <a:pt x="416" y="138"/>
                </a:moveTo>
                <a:cubicBezTo>
                  <a:pt x="416" y="136"/>
                  <a:pt x="416" y="136"/>
                  <a:pt x="416" y="136"/>
                </a:cubicBezTo>
                <a:cubicBezTo>
                  <a:pt x="416" y="136"/>
                  <a:pt x="416" y="136"/>
                  <a:pt x="416" y="136"/>
                </a:cubicBezTo>
                <a:cubicBezTo>
                  <a:pt x="417" y="135"/>
                  <a:pt x="417" y="135"/>
                  <a:pt x="417" y="135"/>
                </a:cubicBezTo>
                <a:cubicBezTo>
                  <a:pt x="420" y="133"/>
                  <a:pt x="420" y="133"/>
                  <a:pt x="420" y="133"/>
                </a:cubicBezTo>
                <a:cubicBezTo>
                  <a:pt x="421" y="133"/>
                  <a:pt x="421" y="133"/>
                  <a:pt x="421" y="133"/>
                </a:cubicBezTo>
                <a:cubicBezTo>
                  <a:pt x="420" y="134"/>
                  <a:pt x="420" y="134"/>
                  <a:pt x="420" y="134"/>
                </a:cubicBezTo>
                <a:cubicBezTo>
                  <a:pt x="419" y="135"/>
                  <a:pt x="419" y="135"/>
                  <a:pt x="419" y="135"/>
                </a:cubicBezTo>
                <a:cubicBezTo>
                  <a:pt x="418" y="136"/>
                  <a:pt x="418" y="136"/>
                  <a:pt x="418" y="136"/>
                </a:cubicBezTo>
                <a:cubicBezTo>
                  <a:pt x="419" y="137"/>
                  <a:pt x="419" y="137"/>
                  <a:pt x="419" y="137"/>
                </a:cubicBezTo>
                <a:cubicBezTo>
                  <a:pt x="419" y="138"/>
                  <a:pt x="419" y="138"/>
                  <a:pt x="419" y="138"/>
                </a:cubicBezTo>
                <a:cubicBezTo>
                  <a:pt x="418" y="137"/>
                  <a:pt x="418" y="137"/>
                  <a:pt x="418" y="137"/>
                </a:cubicBezTo>
                <a:cubicBezTo>
                  <a:pt x="417" y="137"/>
                  <a:pt x="417" y="137"/>
                  <a:pt x="417" y="137"/>
                </a:cubicBezTo>
                <a:cubicBezTo>
                  <a:pt x="417" y="137"/>
                  <a:pt x="417" y="137"/>
                  <a:pt x="417" y="137"/>
                </a:cubicBezTo>
                <a:cubicBezTo>
                  <a:pt x="416" y="138"/>
                  <a:pt x="416" y="138"/>
                  <a:pt x="416" y="138"/>
                </a:cubicBezTo>
                <a:cubicBezTo>
                  <a:pt x="416" y="138"/>
                  <a:pt x="416" y="138"/>
                  <a:pt x="416" y="138"/>
                </a:cubicBezTo>
                <a:close/>
                <a:moveTo>
                  <a:pt x="410" y="132"/>
                </a:moveTo>
                <a:cubicBezTo>
                  <a:pt x="410" y="132"/>
                  <a:pt x="410" y="132"/>
                  <a:pt x="410" y="132"/>
                </a:cubicBezTo>
                <a:cubicBezTo>
                  <a:pt x="411" y="132"/>
                  <a:pt x="411" y="132"/>
                  <a:pt x="411" y="132"/>
                </a:cubicBezTo>
                <a:cubicBezTo>
                  <a:pt x="411" y="132"/>
                  <a:pt x="411" y="132"/>
                  <a:pt x="411" y="132"/>
                </a:cubicBezTo>
                <a:cubicBezTo>
                  <a:pt x="411" y="131"/>
                  <a:pt x="411" y="131"/>
                  <a:pt x="411" y="131"/>
                </a:cubicBezTo>
                <a:cubicBezTo>
                  <a:pt x="410" y="132"/>
                  <a:pt x="410" y="132"/>
                  <a:pt x="410" y="132"/>
                </a:cubicBezTo>
                <a:close/>
                <a:moveTo>
                  <a:pt x="376" y="117"/>
                </a:moveTo>
                <a:cubicBezTo>
                  <a:pt x="374" y="116"/>
                  <a:pt x="374" y="116"/>
                  <a:pt x="374" y="116"/>
                </a:cubicBezTo>
                <a:cubicBezTo>
                  <a:pt x="374" y="115"/>
                  <a:pt x="374" y="115"/>
                  <a:pt x="374" y="115"/>
                </a:cubicBezTo>
                <a:cubicBezTo>
                  <a:pt x="374" y="113"/>
                  <a:pt x="374" y="113"/>
                  <a:pt x="374" y="113"/>
                </a:cubicBezTo>
                <a:cubicBezTo>
                  <a:pt x="374" y="112"/>
                  <a:pt x="374" y="112"/>
                  <a:pt x="374" y="112"/>
                </a:cubicBezTo>
                <a:cubicBezTo>
                  <a:pt x="374" y="111"/>
                  <a:pt x="374" y="111"/>
                  <a:pt x="374" y="111"/>
                </a:cubicBezTo>
                <a:cubicBezTo>
                  <a:pt x="374" y="110"/>
                  <a:pt x="374" y="110"/>
                  <a:pt x="374" y="110"/>
                </a:cubicBezTo>
                <a:cubicBezTo>
                  <a:pt x="375" y="110"/>
                  <a:pt x="375" y="110"/>
                  <a:pt x="375" y="110"/>
                </a:cubicBezTo>
                <a:cubicBezTo>
                  <a:pt x="377" y="110"/>
                  <a:pt x="377" y="110"/>
                  <a:pt x="377" y="110"/>
                </a:cubicBezTo>
                <a:cubicBezTo>
                  <a:pt x="377" y="112"/>
                  <a:pt x="377" y="112"/>
                  <a:pt x="377" y="112"/>
                </a:cubicBezTo>
                <a:cubicBezTo>
                  <a:pt x="376" y="114"/>
                  <a:pt x="376" y="114"/>
                  <a:pt x="376" y="114"/>
                </a:cubicBezTo>
                <a:cubicBezTo>
                  <a:pt x="376" y="115"/>
                  <a:pt x="376" y="115"/>
                  <a:pt x="376" y="115"/>
                </a:cubicBezTo>
                <a:cubicBezTo>
                  <a:pt x="376" y="116"/>
                  <a:pt x="376" y="116"/>
                  <a:pt x="376" y="116"/>
                </a:cubicBezTo>
                <a:cubicBezTo>
                  <a:pt x="376" y="117"/>
                  <a:pt x="376" y="117"/>
                  <a:pt x="376" y="117"/>
                </a:cubicBezTo>
                <a:cubicBezTo>
                  <a:pt x="376" y="117"/>
                  <a:pt x="376" y="117"/>
                  <a:pt x="376" y="117"/>
                </a:cubicBezTo>
                <a:close/>
                <a:moveTo>
                  <a:pt x="375" y="47"/>
                </a:moveTo>
                <a:cubicBezTo>
                  <a:pt x="377" y="46"/>
                  <a:pt x="377" y="46"/>
                  <a:pt x="377" y="46"/>
                </a:cubicBezTo>
                <a:cubicBezTo>
                  <a:pt x="378" y="44"/>
                  <a:pt x="378" y="44"/>
                  <a:pt x="378" y="44"/>
                </a:cubicBezTo>
                <a:cubicBezTo>
                  <a:pt x="378" y="43"/>
                  <a:pt x="378" y="43"/>
                  <a:pt x="378" y="43"/>
                </a:cubicBezTo>
                <a:cubicBezTo>
                  <a:pt x="379" y="42"/>
                  <a:pt x="379" y="42"/>
                  <a:pt x="379" y="42"/>
                </a:cubicBezTo>
                <a:cubicBezTo>
                  <a:pt x="380" y="40"/>
                  <a:pt x="380" y="40"/>
                  <a:pt x="380" y="40"/>
                </a:cubicBezTo>
                <a:cubicBezTo>
                  <a:pt x="380" y="39"/>
                  <a:pt x="380" y="39"/>
                  <a:pt x="380" y="39"/>
                </a:cubicBezTo>
                <a:cubicBezTo>
                  <a:pt x="378" y="39"/>
                  <a:pt x="378" y="39"/>
                  <a:pt x="378" y="39"/>
                </a:cubicBezTo>
                <a:cubicBezTo>
                  <a:pt x="377" y="39"/>
                  <a:pt x="377" y="39"/>
                  <a:pt x="377" y="39"/>
                </a:cubicBezTo>
                <a:cubicBezTo>
                  <a:pt x="378" y="38"/>
                  <a:pt x="378" y="38"/>
                  <a:pt x="378" y="38"/>
                </a:cubicBezTo>
                <a:cubicBezTo>
                  <a:pt x="377" y="38"/>
                  <a:pt x="377" y="38"/>
                  <a:pt x="377" y="38"/>
                </a:cubicBezTo>
                <a:cubicBezTo>
                  <a:pt x="376" y="39"/>
                  <a:pt x="376" y="39"/>
                  <a:pt x="376" y="39"/>
                </a:cubicBezTo>
                <a:cubicBezTo>
                  <a:pt x="374" y="40"/>
                  <a:pt x="374" y="40"/>
                  <a:pt x="374" y="40"/>
                </a:cubicBezTo>
                <a:cubicBezTo>
                  <a:pt x="374" y="41"/>
                  <a:pt x="374" y="41"/>
                  <a:pt x="374" y="41"/>
                </a:cubicBezTo>
                <a:cubicBezTo>
                  <a:pt x="373" y="41"/>
                  <a:pt x="373" y="41"/>
                  <a:pt x="373" y="41"/>
                </a:cubicBezTo>
                <a:cubicBezTo>
                  <a:pt x="373" y="42"/>
                  <a:pt x="373" y="42"/>
                  <a:pt x="373" y="42"/>
                </a:cubicBezTo>
                <a:cubicBezTo>
                  <a:pt x="375" y="43"/>
                  <a:pt x="375" y="43"/>
                  <a:pt x="375" y="43"/>
                </a:cubicBezTo>
                <a:cubicBezTo>
                  <a:pt x="376" y="42"/>
                  <a:pt x="376" y="42"/>
                  <a:pt x="376" y="42"/>
                </a:cubicBezTo>
                <a:cubicBezTo>
                  <a:pt x="376" y="44"/>
                  <a:pt x="376" y="44"/>
                  <a:pt x="376" y="44"/>
                </a:cubicBezTo>
                <a:cubicBezTo>
                  <a:pt x="375" y="45"/>
                  <a:pt x="375" y="45"/>
                  <a:pt x="375" y="45"/>
                </a:cubicBezTo>
                <a:cubicBezTo>
                  <a:pt x="375" y="46"/>
                  <a:pt x="375" y="46"/>
                  <a:pt x="375" y="46"/>
                </a:cubicBezTo>
                <a:cubicBezTo>
                  <a:pt x="375" y="46"/>
                  <a:pt x="375" y="46"/>
                  <a:pt x="375" y="46"/>
                </a:cubicBezTo>
                <a:cubicBezTo>
                  <a:pt x="375" y="47"/>
                  <a:pt x="375" y="47"/>
                  <a:pt x="375" y="47"/>
                </a:cubicBezTo>
                <a:close/>
                <a:moveTo>
                  <a:pt x="359" y="85"/>
                </a:moveTo>
                <a:cubicBezTo>
                  <a:pt x="359" y="83"/>
                  <a:pt x="359" y="83"/>
                  <a:pt x="359" y="83"/>
                </a:cubicBezTo>
                <a:cubicBezTo>
                  <a:pt x="360" y="82"/>
                  <a:pt x="360" y="82"/>
                  <a:pt x="360" y="82"/>
                </a:cubicBezTo>
                <a:cubicBezTo>
                  <a:pt x="359" y="82"/>
                  <a:pt x="359" y="82"/>
                  <a:pt x="359" y="82"/>
                </a:cubicBezTo>
                <a:cubicBezTo>
                  <a:pt x="359" y="80"/>
                  <a:pt x="359" y="80"/>
                  <a:pt x="359" y="80"/>
                </a:cubicBezTo>
                <a:cubicBezTo>
                  <a:pt x="358" y="80"/>
                  <a:pt x="358" y="80"/>
                  <a:pt x="358" y="80"/>
                </a:cubicBezTo>
                <a:cubicBezTo>
                  <a:pt x="359" y="79"/>
                  <a:pt x="359" y="79"/>
                  <a:pt x="359" y="79"/>
                </a:cubicBezTo>
                <a:cubicBezTo>
                  <a:pt x="359" y="78"/>
                  <a:pt x="359" y="78"/>
                  <a:pt x="359" y="78"/>
                </a:cubicBezTo>
                <a:cubicBezTo>
                  <a:pt x="360" y="78"/>
                  <a:pt x="360" y="78"/>
                  <a:pt x="360" y="78"/>
                </a:cubicBezTo>
                <a:cubicBezTo>
                  <a:pt x="362" y="79"/>
                  <a:pt x="362" y="79"/>
                  <a:pt x="362" y="79"/>
                </a:cubicBezTo>
                <a:cubicBezTo>
                  <a:pt x="362" y="79"/>
                  <a:pt x="362" y="79"/>
                  <a:pt x="362" y="79"/>
                </a:cubicBezTo>
                <a:cubicBezTo>
                  <a:pt x="362" y="78"/>
                  <a:pt x="362" y="78"/>
                  <a:pt x="362" y="78"/>
                </a:cubicBezTo>
                <a:cubicBezTo>
                  <a:pt x="361" y="76"/>
                  <a:pt x="361" y="76"/>
                  <a:pt x="361" y="76"/>
                </a:cubicBezTo>
                <a:cubicBezTo>
                  <a:pt x="360" y="76"/>
                  <a:pt x="360" y="76"/>
                  <a:pt x="360" y="76"/>
                </a:cubicBezTo>
                <a:cubicBezTo>
                  <a:pt x="360" y="75"/>
                  <a:pt x="360" y="75"/>
                  <a:pt x="360" y="75"/>
                </a:cubicBezTo>
                <a:cubicBezTo>
                  <a:pt x="361" y="75"/>
                  <a:pt x="361" y="75"/>
                  <a:pt x="361" y="75"/>
                </a:cubicBezTo>
                <a:cubicBezTo>
                  <a:pt x="360" y="74"/>
                  <a:pt x="360" y="74"/>
                  <a:pt x="360" y="74"/>
                </a:cubicBezTo>
                <a:cubicBezTo>
                  <a:pt x="361" y="72"/>
                  <a:pt x="361" y="72"/>
                  <a:pt x="361" y="72"/>
                </a:cubicBezTo>
                <a:cubicBezTo>
                  <a:pt x="361" y="70"/>
                  <a:pt x="361" y="70"/>
                  <a:pt x="361" y="70"/>
                </a:cubicBezTo>
                <a:cubicBezTo>
                  <a:pt x="362" y="69"/>
                  <a:pt x="362" y="69"/>
                  <a:pt x="362" y="69"/>
                </a:cubicBezTo>
                <a:cubicBezTo>
                  <a:pt x="362" y="69"/>
                  <a:pt x="362" y="69"/>
                  <a:pt x="362" y="69"/>
                </a:cubicBezTo>
                <a:cubicBezTo>
                  <a:pt x="363" y="68"/>
                  <a:pt x="363" y="68"/>
                  <a:pt x="363" y="68"/>
                </a:cubicBezTo>
                <a:cubicBezTo>
                  <a:pt x="363" y="66"/>
                  <a:pt x="363" y="66"/>
                  <a:pt x="363" y="66"/>
                </a:cubicBezTo>
                <a:cubicBezTo>
                  <a:pt x="364" y="66"/>
                  <a:pt x="364" y="66"/>
                  <a:pt x="364" y="66"/>
                </a:cubicBezTo>
                <a:cubicBezTo>
                  <a:pt x="366" y="64"/>
                  <a:pt x="366" y="64"/>
                  <a:pt x="366" y="64"/>
                </a:cubicBezTo>
                <a:cubicBezTo>
                  <a:pt x="367" y="64"/>
                  <a:pt x="367" y="64"/>
                  <a:pt x="367" y="64"/>
                </a:cubicBezTo>
                <a:cubicBezTo>
                  <a:pt x="369" y="66"/>
                  <a:pt x="369" y="66"/>
                  <a:pt x="369" y="66"/>
                </a:cubicBezTo>
                <a:cubicBezTo>
                  <a:pt x="369" y="68"/>
                  <a:pt x="369" y="68"/>
                  <a:pt x="369" y="68"/>
                </a:cubicBezTo>
                <a:cubicBezTo>
                  <a:pt x="369" y="69"/>
                  <a:pt x="369" y="69"/>
                  <a:pt x="369" y="69"/>
                </a:cubicBezTo>
                <a:cubicBezTo>
                  <a:pt x="369" y="69"/>
                  <a:pt x="369" y="69"/>
                  <a:pt x="369" y="69"/>
                </a:cubicBezTo>
                <a:cubicBezTo>
                  <a:pt x="370" y="70"/>
                  <a:pt x="370" y="70"/>
                  <a:pt x="370" y="70"/>
                </a:cubicBezTo>
                <a:cubicBezTo>
                  <a:pt x="370" y="71"/>
                  <a:pt x="370" y="71"/>
                  <a:pt x="370" y="71"/>
                </a:cubicBezTo>
                <a:cubicBezTo>
                  <a:pt x="371" y="71"/>
                  <a:pt x="371" y="71"/>
                  <a:pt x="371" y="71"/>
                </a:cubicBezTo>
                <a:cubicBezTo>
                  <a:pt x="371" y="72"/>
                  <a:pt x="371" y="72"/>
                  <a:pt x="371" y="72"/>
                </a:cubicBezTo>
                <a:cubicBezTo>
                  <a:pt x="372" y="73"/>
                  <a:pt x="372" y="73"/>
                  <a:pt x="372" y="73"/>
                </a:cubicBezTo>
                <a:cubicBezTo>
                  <a:pt x="373" y="74"/>
                  <a:pt x="373" y="74"/>
                  <a:pt x="373" y="74"/>
                </a:cubicBezTo>
                <a:cubicBezTo>
                  <a:pt x="373" y="74"/>
                  <a:pt x="373" y="74"/>
                  <a:pt x="373" y="74"/>
                </a:cubicBezTo>
                <a:cubicBezTo>
                  <a:pt x="373" y="75"/>
                  <a:pt x="373" y="75"/>
                  <a:pt x="373" y="75"/>
                </a:cubicBezTo>
                <a:cubicBezTo>
                  <a:pt x="374" y="78"/>
                  <a:pt x="374" y="78"/>
                  <a:pt x="374" y="78"/>
                </a:cubicBezTo>
                <a:cubicBezTo>
                  <a:pt x="373" y="79"/>
                  <a:pt x="373" y="79"/>
                  <a:pt x="373" y="79"/>
                </a:cubicBezTo>
                <a:cubicBezTo>
                  <a:pt x="372" y="79"/>
                  <a:pt x="372" y="79"/>
                  <a:pt x="372" y="79"/>
                </a:cubicBezTo>
                <a:cubicBezTo>
                  <a:pt x="371" y="79"/>
                  <a:pt x="371" y="79"/>
                  <a:pt x="371" y="79"/>
                </a:cubicBezTo>
                <a:cubicBezTo>
                  <a:pt x="370" y="80"/>
                  <a:pt x="370" y="80"/>
                  <a:pt x="370" y="80"/>
                </a:cubicBezTo>
                <a:cubicBezTo>
                  <a:pt x="371" y="80"/>
                  <a:pt x="371" y="80"/>
                  <a:pt x="371" y="80"/>
                </a:cubicBezTo>
                <a:cubicBezTo>
                  <a:pt x="371" y="80"/>
                  <a:pt x="371" y="80"/>
                  <a:pt x="371" y="80"/>
                </a:cubicBezTo>
                <a:cubicBezTo>
                  <a:pt x="372" y="82"/>
                  <a:pt x="372" y="82"/>
                  <a:pt x="372" y="82"/>
                </a:cubicBezTo>
                <a:cubicBezTo>
                  <a:pt x="371" y="83"/>
                  <a:pt x="371" y="83"/>
                  <a:pt x="371" y="83"/>
                </a:cubicBezTo>
                <a:cubicBezTo>
                  <a:pt x="369" y="85"/>
                  <a:pt x="369" y="85"/>
                  <a:pt x="369" y="85"/>
                </a:cubicBezTo>
                <a:cubicBezTo>
                  <a:pt x="369" y="85"/>
                  <a:pt x="369" y="85"/>
                  <a:pt x="369" y="85"/>
                </a:cubicBezTo>
                <a:cubicBezTo>
                  <a:pt x="368" y="85"/>
                  <a:pt x="368" y="85"/>
                  <a:pt x="368" y="85"/>
                </a:cubicBezTo>
                <a:cubicBezTo>
                  <a:pt x="368" y="84"/>
                  <a:pt x="368" y="84"/>
                  <a:pt x="368" y="84"/>
                </a:cubicBezTo>
                <a:cubicBezTo>
                  <a:pt x="367" y="84"/>
                  <a:pt x="367" y="84"/>
                  <a:pt x="367" y="84"/>
                </a:cubicBezTo>
                <a:cubicBezTo>
                  <a:pt x="366" y="85"/>
                  <a:pt x="366" y="85"/>
                  <a:pt x="366" y="85"/>
                </a:cubicBezTo>
                <a:cubicBezTo>
                  <a:pt x="365" y="84"/>
                  <a:pt x="365" y="84"/>
                  <a:pt x="365" y="84"/>
                </a:cubicBezTo>
                <a:cubicBezTo>
                  <a:pt x="363" y="85"/>
                  <a:pt x="363" y="85"/>
                  <a:pt x="363" y="85"/>
                </a:cubicBezTo>
                <a:cubicBezTo>
                  <a:pt x="362" y="85"/>
                  <a:pt x="362" y="85"/>
                  <a:pt x="362" y="85"/>
                </a:cubicBezTo>
                <a:cubicBezTo>
                  <a:pt x="362" y="84"/>
                  <a:pt x="362" y="84"/>
                  <a:pt x="362" y="84"/>
                </a:cubicBezTo>
                <a:cubicBezTo>
                  <a:pt x="361" y="83"/>
                  <a:pt x="361" y="83"/>
                  <a:pt x="361" y="83"/>
                </a:cubicBezTo>
                <a:cubicBezTo>
                  <a:pt x="361" y="84"/>
                  <a:pt x="361" y="84"/>
                  <a:pt x="361" y="84"/>
                </a:cubicBezTo>
                <a:cubicBezTo>
                  <a:pt x="359" y="85"/>
                  <a:pt x="359" y="85"/>
                  <a:pt x="359" y="85"/>
                </a:cubicBezTo>
                <a:close/>
                <a:moveTo>
                  <a:pt x="374" y="83"/>
                </a:moveTo>
                <a:cubicBezTo>
                  <a:pt x="374" y="83"/>
                  <a:pt x="374" y="83"/>
                  <a:pt x="374" y="83"/>
                </a:cubicBezTo>
                <a:cubicBezTo>
                  <a:pt x="375" y="82"/>
                  <a:pt x="375" y="82"/>
                  <a:pt x="375" y="82"/>
                </a:cubicBezTo>
                <a:cubicBezTo>
                  <a:pt x="374" y="80"/>
                  <a:pt x="374" y="80"/>
                  <a:pt x="374" y="80"/>
                </a:cubicBezTo>
                <a:cubicBezTo>
                  <a:pt x="374" y="80"/>
                  <a:pt x="374" y="80"/>
                  <a:pt x="374" y="80"/>
                </a:cubicBezTo>
                <a:cubicBezTo>
                  <a:pt x="373" y="80"/>
                  <a:pt x="373" y="80"/>
                  <a:pt x="373" y="80"/>
                </a:cubicBezTo>
                <a:cubicBezTo>
                  <a:pt x="373" y="82"/>
                  <a:pt x="373" y="82"/>
                  <a:pt x="373" y="82"/>
                </a:cubicBezTo>
                <a:cubicBezTo>
                  <a:pt x="374" y="83"/>
                  <a:pt x="374" y="83"/>
                  <a:pt x="374" y="83"/>
                </a:cubicBezTo>
                <a:close/>
                <a:moveTo>
                  <a:pt x="378" y="102"/>
                </a:moveTo>
                <a:cubicBezTo>
                  <a:pt x="378" y="103"/>
                  <a:pt x="378" y="103"/>
                  <a:pt x="378" y="103"/>
                </a:cubicBezTo>
                <a:cubicBezTo>
                  <a:pt x="379" y="104"/>
                  <a:pt x="379" y="104"/>
                  <a:pt x="379" y="104"/>
                </a:cubicBezTo>
                <a:cubicBezTo>
                  <a:pt x="381" y="104"/>
                  <a:pt x="381" y="104"/>
                  <a:pt x="381" y="104"/>
                </a:cubicBezTo>
                <a:cubicBezTo>
                  <a:pt x="382" y="103"/>
                  <a:pt x="382" y="103"/>
                  <a:pt x="382" y="103"/>
                </a:cubicBezTo>
                <a:cubicBezTo>
                  <a:pt x="383" y="101"/>
                  <a:pt x="383" y="101"/>
                  <a:pt x="383" y="101"/>
                </a:cubicBezTo>
                <a:cubicBezTo>
                  <a:pt x="383" y="100"/>
                  <a:pt x="383" y="100"/>
                  <a:pt x="383" y="100"/>
                </a:cubicBezTo>
                <a:cubicBezTo>
                  <a:pt x="383" y="100"/>
                  <a:pt x="383" y="100"/>
                  <a:pt x="383" y="100"/>
                </a:cubicBezTo>
                <a:cubicBezTo>
                  <a:pt x="383" y="99"/>
                  <a:pt x="383" y="99"/>
                  <a:pt x="383" y="99"/>
                </a:cubicBezTo>
                <a:cubicBezTo>
                  <a:pt x="382" y="98"/>
                  <a:pt x="382" y="98"/>
                  <a:pt x="382" y="98"/>
                </a:cubicBezTo>
                <a:cubicBezTo>
                  <a:pt x="381" y="98"/>
                  <a:pt x="381" y="98"/>
                  <a:pt x="381" y="98"/>
                </a:cubicBezTo>
                <a:cubicBezTo>
                  <a:pt x="381" y="97"/>
                  <a:pt x="381" y="97"/>
                  <a:pt x="381" y="97"/>
                </a:cubicBezTo>
                <a:cubicBezTo>
                  <a:pt x="380" y="97"/>
                  <a:pt x="380" y="97"/>
                  <a:pt x="380" y="97"/>
                </a:cubicBezTo>
                <a:cubicBezTo>
                  <a:pt x="379" y="98"/>
                  <a:pt x="379" y="98"/>
                  <a:pt x="379" y="98"/>
                </a:cubicBezTo>
                <a:cubicBezTo>
                  <a:pt x="378" y="99"/>
                  <a:pt x="378" y="99"/>
                  <a:pt x="378" y="99"/>
                </a:cubicBezTo>
                <a:cubicBezTo>
                  <a:pt x="378" y="101"/>
                  <a:pt x="378" y="101"/>
                  <a:pt x="378" y="101"/>
                </a:cubicBezTo>
                <a:cubicBezTo>
                  <a:pt x="378" y="102"/>
                  <a:pt x="378" y="102"/>
                  <a:pt x="378" y="102"/>
                </a:cubicBezTo>
                <a:close/>
                <a:moveTo>
                  <a:pt x="377" y="102"/>
                </a:moveTo>
                <a:cubicBezTo>
                  <a:pt x="377" y="103"/>
                  <a:pt x="377" y="103"/>
                  <a:pt x="377" y="103"/>
                </a:cubicBezTo>
                <a:cubicBezTo>
                  <a:pt x="377" y="104"/>
                  <a:pt x="377" y="104"/>
                  <a:pt x="377" y="104"/>
                </a:cubicBezTo>
                <a:cubicBezTo>
                  <a:pt x="377" y="105"/>
                  <a:pt x="377" y="105"/>
                  <a:pt x="377" y="105"/>
                </a:cubicBezTo>
                <a:cubicBezTo>
                  <a:pt x="378" y="104"/>
                  <a:pt x="378" y="104"/>
                  <a:pt x="378" y="104"/>
                </a:cubicBezTo>
                <a:cubicBezTo>
                  <a:pt x="378" y="103"/>
                  <a:pt x="378" y="103"/>
                  <a:pt x="378" y="103"/>
                </a:cubicBezTo>
                <a:cubicBezTo>
                  <a:pt x="377" y="103"/>
                  <a:pt x="377" y="103"/>
                  <a:pt x="377" y="103"/>
                </a:cubicBezTo>
                <a:cubicBezTo>
                  <a:pt x="377" y="102"/>
                  <a:pt x="377" y="102"/>
                  <a:pt x="377" y="102"/>
                </a:cubicBezTo>
                <a:cubicBezTo>
                  <a:pt x="377" y="102"/>
                  <a:pt x="377" y="102"/>
                  <a:pt x="377" y="102"/>
                </a:cubicBezTo>
                <a:close/>
                <a:moveTo>
                  <a:pt x="358" y="93"/>
                </a:moveTo>
                <a:cubicBezTo>
                  <a:pt x="358" y="91"/>
                  <a:pt x="358" y="91"/>
                  <a:pt x="358" y="91"/>
                </a:cubicBezTo>
                <a:cubicBezTo>
                  <a:pt x="359" y="89"/>
                  <a:pt x="359" y="89"/>
                  <a:pt x="359" y="89"/>
                </a:cubicBezTo>
                <a:cubicBezTo>
                  <a:pt x="360" y="88"/>
                  <a:pt x="360" y="88"/>
                  <a:pt x="360" y="88"/>
                </a:cubicBezTo>
                <a:cubicBezTo>
                  <a:pt x="361" y="88"/>
                  <a:pt x="361" y="88"/>
                  <a:pt x="361" y="88"/>
                </a:cubicBezTo>
                <a:cubicBezTo>
                  <a:pt x="362" y="88"/>
                  <a:pt x="362" y="88"/>
                  <a:pt x="362" y="88"/>
                </a:cubicBezTo>
                <a:cubicBezTo>
                  <a:pt x="363" y="88"/>
                  <a:pt x="363" y="88"/>
                  <a:pt x="363" y="88"/>
                </a:cubicBezTo>
                <a:cubicBezTo>
                  <a:pt x="364" y="88"/>
                  <a:pt x="364" y="88"/>
                  <a:pt x="364" y="88"/>
                </a:cubicBezTo>
                <a:cubicBezTo>
                  <a:pt x="364" y="88"/>
                  <a:pt x="364" y="88"/>
                  <a:pt x="364" y="88"/>
                </a:cubicBezTo>
                <a:cubicBezTo>
                  <a:pt x="365" y="89"/>
                  <a:pt x="365" y="89"/>
                  <a:pt x="365" y="89"/>
                </a:cubicBezTo>
                <a:cubicBezTo>
                  <a:pt x="366" y="89"/>
                  <a:pt x="366" y="89"/>
                  <a:pt x="366" y="89"/>
                </a:cubicBezTo>
                <a:cubicBezTo>
                  <a:pt x="366" y="88"/>
                  <a:pt x="366" y="88"/>
                  <a:pt x="366" y="88"/>
                </a:cubicBezTo>
                <a:cubicBezTo>
                  <a:pt x="367" y="89"/>
                  <a:pt x="367" y="89"/>
                  <a:pt x="367" y="89"/>
                </a:cubicBezTo>
                <a:cubicBezTo>
                  <a:pt x="368" y="89"/>
                  <a:pt x="368" y="89"/>
                  <a:pt x="368" y="89"/>
                </a:cubicBezTo>
                <a:cubicBezTo>
                  <a:pt x="369" y="91"/>
                  <a:pt x="369" y="91"/>
                  <a:pt x="369" y="91"/>
                </a:cubicBezTo>
                <a:cubicBezTo>
                  <a:pt x="370" y="91"/>
                  <a:pt x="370" y="91"/>
                  <a:pt x="370" y="91"/>
                </a:cubicBezTo>
                <a:cubicBezTo>
                  <a:pt x="370" y="92"/>
                  <a:pt x="370" y="92"/>
                  <a:pt x="370" y="92"/>
                </a:cubicBezTo>
                <a:cubicBezTo>
                  <a:pt x="370" y="92"/>
                  <a:pt x="370" y="92"/>
                  <a:pt x="370" y="92"/>
                </a:cubicBezTo>
                <a:cubicBezTo>
                  <a:pt x="371" y="92"/>
                  <a:pt x="371" y="92"/>
                  <a:pt x="371" y="92"/>
                </a:cubicBezTo>
                <a:cubicBezTo>
                  <a:pt x="372" y="92"/>
                  <a:pt x="372" y="92"/>
                  <a:pt x="372" y="92"/>
                </a:cubicBezTo>
                <a:cubicBezTo>
                  <a:pt x="373" y="93"/>
                  <a:pt x="373" y="93"/>
                  <a:pt x="373" y="93"/>
                </a:cubicBezTo>
                <a:cubicBezTo>
                  <a:pt x="373" y="93"/>
                  <a:pt x="373" y="93"/>
                  <a:pt x="373" y="93"/>
                </a:cubicBezTo>
                <a:cubicBezTo>
                  <a:pt x="373" y="94"/>
                  <a:pt x="373" y="94"/>
                  <a:pt x="373" y="94"/>
                </a:cubicBezTo>
                <a:cubicBezTo>
                  <a:pt x="373" y="95"/>
                  <a:pt x="373" y="95"/>
                  <a:pt x="373" y="95"/>
                </a:cubicBezTo>
                <a:cubicBezTo>
                  <a:pt x="373" y="95"/>
                  <a:pt x="373" y="95"/>
                  <a:pt x="373" y="95"/>
                </a:cubicBezTo>
                <a:cubicBezTo>
                  <a:pt x="372" y="95"/>
                  <a:pt x="372" y="95"/>
                  <a:pt x="372" y="95"/>
                </a:cubicBezTo>
                <a:cubicBezTo>
                  <a:pt x="370" y="96"/>
                  <a:pt x="370" y="96"/>
                  <a:pt x="370" y="96"/>
                </a:cubicBezTo>
                <a:cubicBezTo>
                  <a:pt x="369" y="97"/>
                  <a:pt x="369" y="97"/>
                  <a:pt x="369" y="97"/>
                </a:cubicBezTo>
                <a:cubicBezTo>
                  <a:pt x="367" y="96"/>
                  <a:pt x="367" y="96"/>
                  <a:pt x="367" y="96"/>
                </a:cubicBezTo>
                <a:cubicBezTo>
                  <a:pt x="365" y="96"/>
                  <a:pt x="365" y="96"/>
                  <a:pt x="365" y="96"/>
                </a:cubicBezTo>
                <a:cubicBezTo>
                  <a:pt x="364" y="94"/>
                  <a:pt x="364" y="94"/>
                  <a:pt x="364" y="94"/>
                </a:cubicBezTo>
                <a:cubicBezTo>
                  <a:pt x="362" y="94"/>
                  <a:pt x="362" y="94"/>
                  <a:pt x="362" y="94"/>
                </a:cubicBezTo>
                <a:cubicBezTo>
                  <a:pt x="361" y="94"/>
                  <a:pt x="361" y="94"/>
                  <a:pt x="361" y="94"/>
                </a:cubicBezTo>
                <a:cubicBezTo>
                  <a:pt x="360" y="93"/>
                  <a:pt x="360" y="93"/>
                  <a:pt x="360" y="93"/>
                </a:cubicBezTo>
                <a:cubicBezTo>
                  <a:pt x="359" y="93"/>
                  <a:pt x="359" y="93"/>
                  <a:pt x="359" y="93"/>
                </a:cubicBezTo>
                <a:cubicBezTo>
                  <a:pt x="358" y="93"/>
                  <a:pt x="358" y="93"/>
                  <a:pt x="358" y="93"/>
                </a:cubicBezTo>
                <a:close/>
                <a:moveTo>
                  <a:pt x="343" y="72"/>
                </a:moveTo>
                <a:cubicBezTo>
                  <a:pt x="343" y="71"/>
                  <a:pt x="343" y="71"/>
                  <a:pt x="343" y="71"/>
                </a:cubicBezTo>
                <a:cubicBezTo>
                  <a:pt x="344" y="71"/>
                  <a:pt x="344" y="71"/>
                  <a:pt x="344" y="71"/>
                </a:cubicBezTo>
                <a:cubicBezTo>
                  <a:pt x="344" y="71"/>
                  <a:pt x="344" y="71"/>
                  <a:pt x="344" y="71"/>
                </a:cubicBezTo>
                <a:cubicBezTo>
                  <a:pt x="344" y="72"/>
                  <a:pt x="344" y="72"/>
                  <a:pt x="344" y="72"/>
                </a:cubicBezTo>
                <a:cubicBezTo>
                  <a:pt x="343" y="72"/>
                  <a:pt x="343" y="72"/>
                  <a:pt x="343" y="72"/>
                </a:cubicBezTo>
                <a:cubicBezTo>
                  <a:pt x="343" y="72"/>
                  <a:pt x="343" y="72"/>
                  <a:pt x="343" y="72"/>
                </a:cubicBezTo>
                <a:close/>
                <a:moveTo>
                  <a:pt x="344" y="79"/>
                </a:moveTo>
                <a:cubicBezTo>
                  <a:pt x="345" y="81"/>
                  <a:pt x="345" y="81"/>
                  <a:pt x="345" y="81"/>
                </a:cubicBezTo>
                <a:cubicBezTo>
                  <a:pt x="345" y="82"/>
                  <a:pt x="345" y="82"/>
                  <a:pt x="345" y="82"/>
                </a:cubicBezTo>
                <a:cubicBezTo>
                  <a:pt x="346" y="82"/>
                  <a:pt x="346" y="82"/>
                  <a:pt x="346" y="82"/>
                </a:cubicBezTo>
                <a:cubicBezTo>
                  <a:pt x="347" y="82"/>
                  <a:pt x="347" y="82"/>
                  <a:pt x="347" y="82"/>
                </a:cubicBezTo>
                <a:cubicBezTo>
                  <a:pt x="348" y="82"/>
                  <a:pt x="348" y="82"/>
                  <a:pt x="348" y="82"/>
                </a:cubicBezTo>
                <a:cubicBezTo>
                  <a:pt x="349" y="82"/>
                  <a:pt x="349" y="82"/>
                  <a:pt x="349" y="82"/>
                </a:cubicBezTo>
                <a:cubicBezTo>
                  <a:pt x="350" y="81"/>
                  <a:pt x="350" y="81"/>
                  <a:pt x="350" y="81"/>
                </a:cubicBezTo>
                <a:cubicBezTo>
                  <a:pt x="350" y="80"/>
                  <a:pt x="350" y="80"/>
                  <a:pt x="350" y="80"/>
                </a:cubicBezTo>
                <a:cubicBezTo>
                  <a:pt x="351" y="80"/>
                  <a:pt x="351" y="80"/>
                  <a:pt x="351" y="80"/>
                </a:cubicBezTo>
                <a:cubicBezTo>
                  <a:pt x="352" y="78"/>
                  <a:pt x="352" y="78"/>
                  <a:pt x="352" y="78"/>
                </a:cubicBezTo>
                <a:cubicBezTo>
                  <a:pt x="352" y="77"/>
                  <a:pt x="352" y="77"/>
                  <a:pt x="352" y="77"/>
                </a:cubicBezTo>
                <a:cubicBezTo>
                  <a:pt x="353" y="75"/>
                  <a:pt x="353" y="75"/>
                  <a:pt x="353" y="75"/>
                </a:cubicBezTo>
                <a:cubicBezTo>
                  <a:pt x="354" y="73"/>
                  <a:pt x="354" y="73"/>
                  <a:pt x="354" y="73"/>
                </a:cubicBezTo>
                <a:cubicBezTo>
                  <a:pt x="353" y="73"/>
                  <a:pt x="353" y="73"/>
                  <a:pt x="353" y="73"/>
                </a:cubicBezTo>
                <a:cubicBezTo>
                  <a:pt x="353" y="72"/>
                  <a:pt x="353" y="72"/>
                  <a:pt x="353" y="72"/>
                </a:cubicBezTo>
                <a:cubicBezTo>
                  <a:pt x="354" y="72"/>
                  <a:pt x="354" y="72"/>
                  <a:pt x="354" y="72"/>
                </a:cubicBezTo>
                <a:cubicBezTo>
                  <a:pt x="355" y="70"/>
                  <a:pt x="355" y="70"/>
                  <a:pt x="355" y="70"/>
                </a:cubicBezTo>
                <a:cubicBezTo>
                  <a:pt x="356" y="70"/>
                  <a:pt x="356" y="70"/>
                  <a:pt x="356" y="70"/>
                </a:cubicBezTo>
                <a:cubicBezTo>
                  <a:pt x="357" y="69"/>
                  <a:pt x="357" y="69"/>
                  <a:pt x="357" y="69"/>
                </a:cubicBezTo>
                <a:cubicBezTo>
                  <a:pt x="358" y="68"/>
                  <a:pt x="358" y="68"/>
                  <a:pt x="358" y="68"/>
                </a:cubicBezTo>
                <a:cubicBezTo>
                  <a:pt x="358" y="66"/>
                  <a:pt x="358" y="66"/>
                  <a:pt x="358" y="66"/>
                </a:cubicBezTo>
                <a:cubicBezTo>
                  <a:pt x="358" y="65"/>
                  <a:pt x="358" y="65"/>
                  <a:pt x="358" y="65"/>
                </a:cubicBezTo>
                <a:cubicBezTo>
                  <a:pt x="359" y="64"/>
                  <a:pt x="359" y="64"/>
                  <a:pt x="359" y="64"/>
                </a:cubicBezTo>
                <a:cubicBezTo>
                  <a:pt x="359" y="63"/>
                  <a:pt x="359" y="63"/>
                  <a:pt x="359" y="63"/>
                </a:cubicBezTo>
                <a:cubicBezTo>
                  <a:pt x="359" y="62"/>
                  <a:pt x="359" y="62"/>
                  <a:pt x="359" y="62"/>
                </a:cubicBezTo>
                <a:cubicBezTo>
                  <a:pt x="359" y="61"/>
                  <a:pt x="359" y="61"/>
                  <a:pt x="359" y="61"/>
                </a:cubicBezTo>
                <a:cubicBezTo>
                  <a:pt x="358" y="61"/>
                  <a:pt x="358" y="61"/>
                  <a:pt x="358" y="61"/>
                </a:cubicBezTo>
                <a:cubicBezTo>
                  <a:pt x="357" y="60"/>
                  <a:pt x="357" y="60"/>
                  <a:pt x="357" y="60"/>
                </a:cubicBezTo>
                <a:cubicBezTo>
                  <a:pt x="355" y="60"/>
                  <a:pt x="355" y="60"/>
                  <a:pt x="355" y="60"/>
                </a:cubicBezTo>
                <a:cubicBezTo>
                  <a:pt x="355" y="60"/>
                  <a:pt x="355" y="60"/>
                  <a:pt x="355" y="60"/>
                </a:cubicBezTo>
                <a:cubicBezTo>
                  <a:pt x="356" y="59"/>
                  <a:pt x="356" y="59"/>
                  <a:pt x="356" y="59"/>
                </a:cubicBezTo>
                <a:cubicBezTo>
                  <a:pt x="357" y="58"/>
                  <a:pt x="357" y="58"/>
                  <a:pt x="357" y="58"/>
                </a:cubicBezTo>
                <a:cubicBezTo>
                  <a:pt x="357" y="57"/>
                  <a:pt x="357" y="57"/>
                  <a:pt x="357" y="57"/>
                </a:cubicBezTo>
                <a:cubicBezTo>
                  <a:pt x="357" y="56"/>
                  <a:pt x="357" y="56"/>
                  <a:pt x="357" y="56"/>
                </a:cubicBezTo>
                <a:cubicBezTo>
                  <a:pt x="357" y="55"/>
                  <a:pt x="357" y="55"/>
                  <a:pt x="357" y="55"/>
                </a:cubicBezTo>
                <a:cubicBezTo>
                  <a:pt x="357" y="54"/>
                  <a:pt x="357" y="54"/>
                  <a:pt x="357" y="54"/>
                </a:cubicBezTo>
                <a:cubicBezTo>
                  <a:pt x="356" y="52"/>
                  <a:pt x="356" y="52"/>
                  <a:pt x="356" y="52"/>
                </a:cubicBezTo>
                <a:cubicBezTo>
                  <a:pt x="355" y="52"/>
                  <a:pt x="355" y="52"/>
                  <a:pt x="355" y="52"/>
                </a:cubicBezTo>
                <a:cubicBezTo>
                  <a:pt x="354" y="53"/>
                  <a:pt x="354" y="53"/>
                  <a:pt x="354" y="53"/>
                </a:cubicBezTo>
                <a:cubicBezTo>
                  <a:pt x="352" y="54"/>
                  <a:pt x="352" y="54"/>
                  <a:pt x="352" y="54"/>
                </a:cubicBezTo>
                <a:cubicBezTo>
                  <a:pt x="352" y="55"/>
                  <a:pt x="352" y="55"/>
                  <a:pt x="352" y="55"/>
                </a:cubicBezTo>
                <a:cubicBezTo>
                  <a:pt x="351" y="56"/>
                  <a:pt x="351" y="56"/>
                  <a:pt x="351" y="56"/>
                </a:cubicBezTo>
                <a:cubicBezTo>
                  <a:pt x="350" y="56"/>
                  <a:pt x="350" y="56"/>
                  <a:pt x="350" y="56"/>
                </a:cubicBezTo>
                <a:cubicBezTo>
                  <a:pt x="350" y="54"/>
                  <a:pt x="350" y="54"/>
                  <a:pt x="350" y="54"/>
                </a:cubicBezTo>
                <a:cubicBezTo>
                  <a:pt x="351" y="54"/>
                  <a:pt x="351" y="54"/>
                  <a:pt x="351" y="54"/>
                </a:cubicBezTo>
                <a:cubicBezTo>
                  <a:pt x="351" y="53"/>
                  <a:pt x="351" y="53"/>
                  <a:pt x="351" y="53"/>
                </a:cubicBezTo>
                <a:cubicBezTo>
                  <a:pt x="351" y="51"/>
                  <a:pt x="351" y="51"/>
                  <a:pt x="351" y="51"/>
                </a:cubicBezTo>
                <a:cubicBezTo>
                  <a:pt x="352" y="49"/>
                  <a:pt x="352" y="49"/>
                  <a:pt x="352" y="49"/>
                </a:cubicBezTo>
                <a:cubicBezTo>
                  <a:pt x="352" y="48"/>
                  <a:pt x="352" y="48"/>
                  <a:pt x="352" y="48"/>
                </a:cubicBezTo>
                <a:cubicBezTo>
                  <a:pt x="351" y="47"/>
                  <a:pt x="351" y="47"/>
                  <a:pt x="351" y="47"/>
                </a:cubicBezTo>
                <a:cubicBezTo>
                  <a:pt x="350" y="46"/>
                  <a:pt x="350" y="46"/>
                  <a:pt x="350" y="46"/>
                </a:cubicBezTo>
                <a:cubicBezTo>
                  <a:pt x="349" y="45"/>
                  <a:pt x="349" y="45"/>
                  <a:pt x="349" y="45"/>
                </a:cubicBezTo>
                <a:cubicBezTo>
                  <a:pt x="348" y="45"/>
                  <a:pt x="348" y="45"/>
                  <a:pt x="348" y="45"/>
                </a:cubicBezTo>
                <a:cubicBezTo>
                  <a:pt x="346" y="45"/>
                  <a:pt x="346" y="45"/>
                  <a:pt x="346" y="45"/>
                </a:cubicBezTo>
                <a:cubicBezTo>
                  <a:pt x="345" y="46"/>
                  <a:pt x="345" y="46"/>
                  <a:pt x="345" y="46"/>
                </a:cubicBezTo>
                <a:cubicBezTo>
                  <a:pt x="344" y="46"/>
                  <a:pt x="344" y="46"/>
                  <a:pt x="344" y="46"/>
                </a:cubicBezTo>
                <a:cubicBezTo>
                  <a:pt x="344" y="44"/>
                  <a:pt x="344" y="44"/>
                  <a:pt x="344" y="44"/>
                </a:cubicBezTo>
                <a:cubicBezTo>
                  <a:pt x="343" y="44"/>
                  <a:pt x="343" y="44"/>
                  <a:pt x="343" y="44"/>
                </a:cubicBezTo>
                <a:cubicBezTo>
                  <a:pt x="342" y="45"/>
                  <a:pt x="342" y="45"/>
                  <a:pt x="342" y="45"/>
                </a:cubicBezTo>
                <a:cubicBezTo>
                  <a:pt x="342" y="46"/>
                  <a:pt x="342" y="46"/>
                  <a:pt x="342" y="46"/>
                </a:cubicBezTo>
                <a:cubicBezTo>
                  <a:pt x="341" y="46"/>
                  <a:pt x="341" y="46"/>
                  <a:pt x="341" y="46"/>
                </a:cubicBezTo>
                <a:cubicBezTo>
                  <a:pt x="340" y="48"/>
                  <a:pt x="340" y="48"/>
                  <a:pt x="340" y="48"/>
                </a:cubicBezTo>
                <a:cubicBezTo>
                  <a:pt x="339" y="49"/>
                  <a:pt x="339" y="49"/>
                  <a:pt x="339" y="49"/>
                </a:cubicBezTo>
                <a:cubicBezTo>
                  <a:pt x="339" y="50"/>
                  <a:pt x="339" y="50"/>
                  <a:pt x="339" y="50"/>
                </a:cubicBezTo>
                <a:cubicBezTo>
                  <a:pt x="340" y="51"/>
                  <a:pt x="340" y="51"/>
                  <a:pt x="340" y="51"/>
                </a:cubicBezTo>
                <a:cubicBezTo>
                  <a:pt x="341" y="51"/>
                  <a:pt x="341" y="51"/>
                  <a:pt x="341" y="51"/>
                </a:cubicBezTo>
                <a:cubicBezTo>
                  <a:pt x="342" y="50"/>
                  <a:pt x="342" y="50"/>
                  <a:pt x="342" y="50"/>
                </a:cubicBezTo>
                <a:cubicBezTo>
                  <a:pt x="342" y="51"/>
                  <a:pt x="342" y="51"/>
                  <a:pt x="342" y="51"/>
                </a:cubicBezTo>
                <a:cubicBezTo>
                  <a:pt x="341" y="52"/>
                  <a:pt x="341" y="52"/>
                  <a:pt x="341" y="52"/>
                </a:cubicBezTo>
                <a:cubicBezTo>
                  <a:pt x="339" y="53"/>
                  <a:pt x="339" y="53"/>
                  <a:pt x="339" y="53"/>
                </a:cubicBezTo>
                <a:cubicBezTo>
                  <a:pt x="338" y="55"/>
                  <a:pt x="338" y="55"/>
                  <a:pt x="338" y="55"/>
                </a:cubicBezTo>
                <a:cubicBezTo>
                  <a:pt x="338" y="55"/>
                  <a:pt x="338" y="55"/>
                  <a:pt x="338" y="55"/>
                </a:cubicBezTo>
                <a:cubicBezTo>
                  <a:pt x="340" y="54"/>
                  <a:pt x="340" y="54"/>
                  <a:pt x="340" y="54"/>
                </a:cubicBezTo>
                <a:cubicBezTo>
                  <a:pt x="342" y="53"/>
                  <a:pt x="342" y="53"/>
                  <a:pt x="342" y="53"/>
                </a:cubicBezTo>
                <a:cubicBezTo>
                  <a:pt x="342" y="53"/>
                  <a:pt x="342" y="53"/>
                  <a:pt x="342" y="53"/>
                </a:cubicBezTo>
                <a:cubicBezTo>
                  <a:pt x="343" y="52"/>
                  <a:pt x="343" y="52"/>
                  <a:pt x="343" y="52"/>
                </a:cubicBezTo>
                <a:cubicBezTo>
                  <a:pt x="344" y="53"/>
                  <a:pt x="344" y="53"/>
                  <a:pt x="344" y="53"/>
                </a:cubicBezTo>
                <a:cubicBezTo>
                  <a:pt x="344" y="55"/>
                  <a:pt x="344" y="55"/>
                  <a:pt x="344" y="55"/>
                </a:cubicBezTo>
                <a:cubicBezTo>
                  <a:pt x="343" y="55"/>
                  <a:pt x="343" y="55"/>
                  <a:pt x="343" y="55"/>
                </a:cubicBezTo>
                <a:cubicBezTo>
                  <a:pt x="341" y="56"/>
                  <a:pt x="341" y="56"/>
                  <a:pt x="341" y="56"/>
                </a:cubicBezTo>
                <a:cubicBezTo>
                  <a:pt x="341" y="57"/>
                  <a:pt x="341" y="57"/>
                  <a:pt x="341" y="57"/>
                </a:cubicBezTo>
                <a:cubicBezTo>
                  <a:pt x="342" y="58"/>
                  <a:pt x="342" y="58"/>
                  <a:pt x="342" y="58"/>
                </a:cubicBezTo>
                <a:cubicBezTo>
                  <a:pt x="343" y="58"/>
                  <a:pt x="343" y="58"/>
                  <a:pt x="343" y="58"/>
                </a:cubicBezTo>
                <a:cubicBezTo>
                  <a:pt x="344" y="58"/>
                  <a:pt x="344" y="58"/>
                  <a:pt x="344" y="58"/>
                </a:cubicBezTo>
                <a:cubicBezTo>
                  <a:pt x="343" y="59"/>
                  <a:pt x="343" y="59"/>
                  <a:pt x="343" y="59"/>
                </a:cubicBezTo>
                <a:cubicBezTo>
                  <a:pt x="341" y="60"/>
                  <a:pt x="341" y="60"/>
                  <a:pt x="341" y="60"/>
                </a:cubicBezTo>
                <a:cubicBezTo>
                  <a:pt x="340" y="59"/>
                  <a:pt x="340" y="59"/>
                  <a:pt x="340" y="59"/>
                </a:cubicBezTo>
                <a:cubicBezTo>
                  <a:pt x="340" y="60"/>
                  <a:pt x="340" y="60"/>
                  <a:pt x="340" y="60"/>
                </a:cubicBezTo>
                <a:cubicBezTo>
                  <a:pt x="341" y="61"/>
                  <a:pt x="341" y="61"/>
                  <a:pt x="341" y="61"/>
                </a:cubicBezTo>
                <a:cubicBezTo>
                  <a:pt x="341" y="61"/>
                  <a:pt x="341" y="61"/>
                  <a:pt x="341" y="61"/>
                </a:cubicBezTo>
                <a:cubicBezTo>
                  <a:pt x="339" y="63"/>
                  <a:pt x="339" y="63"/>
                  <a:pt x="339" y="63"/>
                </a:cubicBezTo>
                <a:cubicBezTo>
                  <a:pt x="339" y="63"/>
                  <a:pt x="339" y="63"/>
                  <a:pt x="339" y="63"/>
                </a:cubicBezTo>
                <a:cubicBezTo>
                  <a:pt x="338" y="61"/>
                  <a:pt x="338" y="61"/>
                  <a:pt x="338" y="61"/>
                </a:cubicBezTo>
                <a:cubicBezTo>
                  <a:pt x="337" y="61"/>
                  <a:pt x="337" y="61"/>
                  <a:pt x="337" y="61"/>
                </a:cubicBezTo>
                <a:cubicBezTo>
                  <a:pt x="336" y="59"/>
                  <a:pt x="336" y="59"/>
                  <a:pt x="336" y="59"/>
                </a:cubicBezTo>
                <a:cubicBezTo>
                  <a:pt x="334" y="61"/>
                  <a:pt x="334" y="61"/>
                  <a:pt x="334" y="61"/>
                </a:cubicBezTo>
                <a:cubicBezTo>
                  <a:pt x="334" y="61"/>
                  <a:pt x="334" y="61"/>
                  <a:pt x="334" y="61"/>
                </a:cubicBezTo>
                <a:cubicBezTo>
                  <a:pt x="332" y="63"/>
                  <a:pt x="332" y="63"/>
                  <a:pt x="332" y="63"/>
                </a:cubicBezTo>
                <a:cubicBezTo>
                  <a:pt x="334" y="65"/>
                  <a:pt x="334" y="65"/>
                  <a:pt x="334" y="65"/>
                </a:cubicBezTo>
                <a:cubicBezTo>
                  <a:pt x="334" y="66"/>
                  <a:pt x="334" y="66"/>
                  <a:pt x="334" y="66"/>
                </a:cubicBezTo>
                <a:cubicBezTo>
                  <a:pt x="334" y="67"/>
                  <a:pt x="334" y="67"/>
                  <a:pt x="334" y="67"/>
                </a:cubicBezTo>
                <a:cubicBezTo>
                  <a:pt x="335" y="66"/>
                  <a:pt x="335" y="66"/>
                  <a:pt x="335" y="66"/>
                </a:cubicBezTo>
                <a:cubicBezTo>
                  <a:pt x="336" y="66"/>
                  <a:pt x="336" y="66"/>
                  <a:pt x="336" y="66"/>
                </a:cubicBezTo>
                <a:cubicBezTo>
                  <a:pt x="338" y="66"/>
                  <a:pt x="338" y="66"/>
                  <a:pt x="338" y="66"/>
                </a:cubicBezTo>
                <a:cubicBezTo>
                  <a:pt x="340" y="66"/>
                  <a:pt x="340" y="66"/>
                  <a:pt x="340" y="66"/>
                </a:cubicBezTo>
                <a:cubicBezTo>
                  <a:pt x="341" y="67"/>
                  <a:pt x="341" y="67"/>
                  <a:pt x="341" y="67"/>
                </a:cubicBezTo>
                <a:cubicBezTo>
                  <a:pt x="343" y="66"/>
                  <a:pt x="343" y="66"/>
                  <a:pt x="343" y="66"/>
                </a:cubicBezTo>
                <a:cubicBezTo>
                  <a:pt x="343" y="67"/>
                  <a:pt x="343" y="67"/>
                  <a:pt x="343" y="67"/>
                </a:cubicBezTo>
                <a:cubicBezTo>
                  <a:pt x="341" y="68"/>
                  <a:pt x="341" y="68"/>
                  <a:pt x="341" y="68"/>
                </a:cubicBezTo>
                <a:cubicBezTo>
                  <a:pt x="341" y="68"/>
                  <a:pt x="341" y="68"/>
                  <a:pt x="341" y="68"/>
                </a:cubicBezTo>
                <a:cubicBezTo>
                  <a:pt x="341" y="70"/>
                  <a:pt x="341" y="70"/>
                  <a:pt x="341" y="70"/>
                </a:cubicBezTo>
                <a:cubicBezTo>
                  <a:pt x="343" y="69"/>
                  <a:pt x="343" y="69"/>
                  <a:pt x="343" y="69"/>
                </a:cubicBezTo>
                <a:cubicBezTo>
                  <a:pt x="344" y="70"/>
                  <a:pt x="344" y="70"/>
                  <a:pt x="344" y="70"/>
                </a:cubicBezTo>
                <a:cubicBezTo>
                  <a:pt x="345" y="72"/>
                  <a:pt x="345" y="72"/>
                  <a:pt x="345" y="72"/>
                </a:cubicBezTo>
                <a:cubicBezTo>
                  <a:pt x="346" y="72"/>
                  <a:pt x="346" y="72"/>
                  <a:pt x="346" y="72"/>
                </a:cubicBezTo>
                <a:cubicBezTo>
                  <a:pt x="347" y="73"/>
                  <a:pt x="347" y="73"/>
                  <a:pt x="347" y="73"/>
                </a:cubicBezTo>
                <a:cubicBezTo>
                  <a:pt x="346" y="74"/>
                  <a:pt x="346" y="74"/>
                  <a:pt x="346" y="74"/>
                </a:cubicBezTo>
                <a:cubicBezTo>
                  <a:pt x="346" y="75"/>
                  <a:pt x="346" y="75"/>
                  <a:pt x="346" y="75"/>
                </a:cubicBezTo>
                <a:cubicBezTo>
                  <a:pt x="344" y="79"/>
                  <a:pt x="344" y="79"/>
                  <a:pt x="344" y="79"/>
                </a:cubicBezTo>
                <a:close/>
                <a:moveTo>
                  <a:pt x="337" y="70"/>
                </a:moveTo>
                <a:cubicBezTo>
                  <a:pt x="338" y="69"/>
                  <a:pt x="338" y="69"/>
                  <a:pt x="338" y="69"/>
                </a:cubicBezTo>
                <a:cubicBezTo>
                  <a:pt x="339" y="68"/>
                  <a:pt x="339" y="68"/>
                  <a:pt x="339" y="68"/>
                </a:cubicBezTo>
                <a:cubicBezTo>
                  <a:pt x="340" y="68"/>
                  <a:pt x="340" y="68"/>
                  <a:pt x="340" y="68"/>
                </a:cubicBezTo>
                <a:cubicBezTo>
                  <a:pt x="340" y="68"/>
                  <a:pt x="340" y="68"/>
                  <a:pt x="340" y="68"/>
                </a:cubicBezTo>
                <a:cubicBezTo>
                  <a:pt x="339" y="69"/>
                  <a:pt x="339" y="69"/>
                  <a:pt x="339" y="69"/>
                </a:cubicBezTo>
                <a:cubicBezTo>
                  <a:pt x="338" y="70"/>
                  <a:pt x="338" y="70"/>
                  <a:pt x="338" y="70"/>
                </a:cubicBezTo>
                <a:cubicBezTo>
                  <a:pt x="337" y="70"/>
                  <a:pt x="337" y="70"/>
                  <a:pt x="337" y="70"/>
                </a:cubicBezTo>
                <a:close/>
                <a:moveTo>
                  <a:pt x="335" y="77"/>
                </a:moveTo>
                <a:cubicBezTo>
                  <a:pt x="335" y="75"/>
                  <a:pt x="335" y="75"/>
                  <a:pt x="335" y="75"/>
                </a:cubicBezTo>
                <a:cubicBezTo>
                  <a:pt x="337" y="75"/>
                  <a:pt x="337" y="75"/>
                  <a:pt x="337" y="75"/>
                </a:cubicBezTo>
                <a:cubicBezTo>
                  <a:pt x="339" y="76"/>
                  <a:pt x="339" y="76"/>
                  <a:pt x="339" y="76"/>
                </a:cubicBezTo>
                <a:cubicBezTo>
                  <a:pt x="341" y="78"/>
                  <a:pt x="341" y="78"/>
                  <a:pt x="341" y="78"/>
                </a:cubicBezTo>
                <a:cubicBezTo>
                  <a:pt x="341" y="79"/>
                  <a:pt x="341" y="79"/>
                  <a:pt x="341" y="79"/>
                </a:cubicBezTo>
                <a:cubicBezTo>
                  <a:pt x="341" y="81"/>
                  <a:pt x="341" y="81"/>
                  <a:pt x="341" y="81"/>
                </a:cubicBezTo>
                <a:cubicBezTo>
                  <a:pt x="340" y="81"/>
                  <a:pt x="340" y="81"/>
                  <a:pt x="340" y="81"/>
                </a:cubicBezTo>
                <a:cubicBezTo>
                  <a:pt x="339" y="81"/>
                  <a:pt x="339" y="81"/>
                  <a:pt x="339" y="81"/>
                </a:cubicBezTo>
                <a:cubicBezTo>
                  <a:pt x="338" y="81"/>
                  <a:pt x="338" y="81"/>
                  <a:pt x="338" y="81"/>
                </a:cubicBezTo>
                <a:cubicBezTo>
                  <a:pt x="337" y="81"/>
                  <a:pt x="337" y="81"/>
                  <a:pt x="337" y="81"/>
                </a:cubicBezTo>
                <a:cubicBezTo>
                  <a:pt x="336" y="80"/>
                  <a:pt x="336" y="80"/>
                  <a:pt x="336" y="80"/>
                </a:cubicBezTo>
                <a:cubicBezTo>
                  <a:pt x="335" y="78"/>
                  <a:pt x="335" y="78"/>
                  <a:pt x="335" y="78"/>
                </a:cubicBezTo>
                <a:cubicBezTo>
                  <a:pt x="335" y="77"/>
                  <a:pt x="335" y="77"/>
                  <a:pt x="335" y="77"/>
                </a:cubicBezTo>
                <a:close/>
                <a:moveTo>
                  <a:pt x="319" y="87"/>
                </a:moveTo>
                <a:cubicBezTo>
                  <a:pt x="320" y="87"/>
                  <a:pt x="320" y="87"/>
                  <a:pt x="320" y="87"/>
                </a:cubicBezTo>
                <a:cubicBezTo>
                  <a:pt x="322" y="87"/>
                  <a:pt x="322" y="87"/>
                  <a:pt x="322" y="87"/>
                </a:cubicBezTo>
                <a:cubicBezTo>
                  <a:pt x="321" y="88"/>
                  <a:pt x="321" y="88"/>
                  <a:pt x="321" y="88"/>
                </a:cubicBezTo>
                <a:cubicBezTo>
                  <a:pt x="320" y="88"/>
                  <a:pt x="320" y="88"/>
                  <a:pt x="320" y="88"/>
                </a:cubicBezTo>
                <a:cubicBezTo>
                  <a:pt x="319" y="87"/>
                  <a:pt x="319" y="87"/>
                  <a:pt x="319" y="87"/>
                </a:cubicBezTo>
                <a:close/>
                <a:moveTo>
                  <a:pt x="318" y="86"/>
                </a:moveTo>
                <a:cubicBezTo>
                  <a:pt x="317" y="84"/>
                  <a:pt x="317" y="84"/>
                  <a:pt x="317" y="84"/>
                </a:cubicBezTo>
                <a:cubicBezTo>
                  <a:pt x="318" y="83"/>
                  <a:pt x="318" y="83"/>
                  <a:pt x="318" y="83"/>
                </a:cubicBezTo>
                <a:cubicBezTo>
                  <a:pt x="318" y="81"/>
                  <a:pt x="318" y="81"/>
                  <a:pt x="318" y="81"/>
                </a:cubicBezTo>
                <a:cubicBezTo>
                  <a:pt x="318" y="80"/>
                  <a:pt x="318" y="80"/>
                  <a:pt x="318" y="80"/>
                </a:cubicBezTo>
                <a:cubicBezTo>
                  <a:pt x="320" y="79"/>
                  <a:pt x="320" y="79"/>
                  <a:pt x="320" y="79"/>
                </a:cubicBezTo>
                <a:cubicBezTo>
                  <a:pt x="320" y="78"/>
                  <a:pt x="320" y="78"/>
                  <a:pt x="320" y="78"/>
                </a:cubicBezTo>
                <a:cubicBezTo>
                  <a:pt x="320" y="78"/>
                  <a:pt x="320" y="78"/>
                  <a:pt x="320" y="78"/>
                </a:cubicBezTo>
                <a:cubicBezTo>
                  <a:pt x="320" y="77"/>
                  <a:pt x="320" y="77"/>
                  <a:pt x="320" y="77"/>
                </a:cubicBezTo>
                <a:cubicBezTo>
                  <a:pt x="321" y="75"/>
                  <a:pt x="321" y="75"/>
                  <a:pt x="321" y="75"/>
                </a:cubicBezTo>
                <a:cubicBezTo>
                  <a:pt x="321" y="74"/>
                  <a:pt x="321" y="74"/>
                  <a:pt x="321" y="74"/>
                </a:cubicBezTo>
                <a:cubicBezTo>
                  <a:pt x="322" y="73"/>
                  <a:pt x="322" y="73"/>
                  <a:pt x="322" y="73"/>
                </a:cubicBezTo>
                <a:cubicBezTo>
                  <a:pt x="322" y="74"/>
                  <a:pt x="322" y="74"/>
                  <a:pt x="322" y="74"/>
                </a:cubicBezTo>
                <a:cubicBezTo>
                  <a:pt x="323" y="76"/>
                  <a:pt x="323" y="76"/>
                  <a:pt x="323" y="76"/>
                </a:cubicBezTo>
                <a:cubicBezTo>
                  <a:pt x="323" y="76"/>
                  <a:pt x="323" y="76"/>
                  <a:pt x="323" y="76"/>
                </a:cubicBezTo>
                <a:cubicBezTo>
                  <a:pt x="322" y="79"/>
                  <a:pt x="322" y="79"/>
                  <a:pt x="322" y="79"/>
                </a:cubicBezTo>
                <a:cubicBezTo>
                  <a:pt x="322" y="80"/>
                  <a:pt x="322" y="80"/>
                  <a:pt x="322" y="80"/>
                </a:cubicBezTo>
                <a:cubicBezTo>
                  <a:pt x="321" y="81"/>
                  <a:pt x="321" y="81"/>
                  <a:pt x="321" y="81"/>
                </a:cubicBezTo>
                <a:cubicBezTo>
                  <a:pt x="322" y="82"/>
                  <a:pt x="322" y="82"/>
                  <a:pt x="322" y="82"/>
                </a:cubicBezTo>
                <a:cubicBezTo>
                  <a:pt x="321" y="85"/>
                  <a:pt x="321" y="85"/>
                  <a:pt x="321" y="85"/>
                </a:cubicBezTo>
                <a:cubicBezTo>
                  <a:pt x="320" y="86"/>
                  <a:pt x="320" y="86"/>
                  <a:pt x="320" y="86"/>
                </a:cubicBezTo>
                <a:cubicBezTo>
                  <a:pt x="318" y="86"/>
                  <a:pt x="318" y="86"/>
                  <a:pt x="318" y="86"/>
                </a:cubicBezTo>
                <a:close/>
                <a:moveTo>
                  <a:pt x="304" y="57"/>
                </a:moveTo>
                <a:cubicBezTo>
                  <a:pt x="303" y="56"/>
                  <a:pt x="303" y="56"/>
                  <a:pt x="303" y="56"/>
                </a:cubicBezTo>
                <a:cubicBezTo>
                  <a:pt x="303" y="54"/>
                  <a:pt x="303" y="54"/>
                  <a:pt x="303" y="54"/>
                </a:cubicBezTo>
                <a:cubicBezTo>
                  <a:pt x="303" y="54"/>
                  <a:pt x="303" y="54"/>
                  <a:pt x="303" y="54"/>
                </a:cubicBezTo>
                <a:cubicBezTo>
                  <a:pt x="302" y="53"/>
                  <a:pt x="302" y="53"/>
                  <a:pt x="302" y="53"/>
                </a:cubicBezTo>
                <a:cubicBezTo>
                  <a:pt x="301" y="53"/>
                  <a:pt x="301" y="53"/>
                  <a:pt x="301" y="53"/>
                </a:cubicBezTo>
                <a:cubicBezTo>
                  <a:pt x="300" y="53"/>
                  <a:pt x="300" y="53"/>
                  <a:pt x="300" y="53"/>
                </a:cubicBezTo>
                <a:cubicBezTo>
                  <a:pt x="300" y="53"/>
                  <a:pt x="300" y="53"/>
                  <a:pt x="300" y="53"/>
                </a:cubicBezTo>
                <a:cubicBezTo>
                  <a:pt x="298" y="53"/>
                  <a:pt x="298" y="53"/>
                  <a:pt x="298" y="53"/>
                </a:cubicBezTo>
                <a:cubicBezTo>
                  <a:pt x="297" y="53"/>
                  <a:pt x="297" y="53"/>
                  <a:pt x="297" y="53"/>
                </a:cubicBezTo>
                <a:cubicBezTo>
                  <a:pt x="297" y="52"/>
                  <a:pt x="297" y="52"/>
                  <a:pt x="297" y="52"/>
                </a:cubicBezTo>
                <a:cubicBezTo>
                  <a:pt x="298" y="51"/>
                  <a:pt x="298" y="51"/>
                  <a:pt x="298" y="51"/>
                </a:cubicBezTo>
                <a:cubicBezTo>
                  <a:pt x="298" y="50"/>
                  <a:pt x="298" y="50"/>
                  <a:pt x="298" y="50"/>
                </a:cubicBezTo>
                <a:cubicBezTo>
                  <a:pt x="300" y="50"/>
                  <a:pt x="300" y="50"/>
                  <a:pt x="300" y="50"/>
                </a:cubicBezTo>
                <a:cubicBezTo>
                  <a:pt x="301" y="50"/>
                  <a:pt x="301" y="50"/>
                  <a:pt x="301" y="50"/>
                </a:cubicBezTo>
                <a:cubicBezTo>
                  <a:pt x="305" y="49"/>
                  <a:pt x="305" y="49"/>
                  <a:pt x="305" y="49"/>
                </a:cubicBezTo>
                <a:cubicBezTo>
                  <a:pt x="306" y="49"/>
                  <a:pt x="306" y="49"/>
                  <a:pt x="306" y="49"/>
                </a:cubicBezTo>
                <a:cubicBezTo>
                  <a:pt x="307" y="50"/>
                  <a:pt x="307" y="50"/>
                  <a:pt x="307" y="50"/>
                </a:cubicBezTo>
                <a:cubicBezTo>
                  <a:pt x="308" y="50"/>
                  <a:pt x="308" y="50"/>
                  <a:pt x="308" y="50"/>
                </a:cubicBezTo>
                <a:cubicBezTo>
                  <a:pt x="309" y="50"/>
                  <a:pt x="309" y="50"/>
                  <a:pt x="309" y="50"/>
                </a:cubicBezTo>
                <a:cubicBezTo>
                  <a:pt x="311" y="49"/>
                  <a:pt x="311" y="49"/>
                  <a:pt x="311" y="49"/>
                </a:cubicBezTo>
                <a:cubicBezTo>
                  <a:pt x="313" y="49"/>
                  <a:pt x="313" y="49"/>
                  <a:pt x="313" y="49"/>
                </a:cubicBezTo>
                <a:cubicBezTo>
                  <a:pt x="313" y="49"/>
                  <a:pt x="313" y="49"/>
                  <a:pt x="313" y="49"/>
                </a:cubicBezTo>
                <a:cubicBezTo>
                  <a:pt x="314" y="48"/>
                  <a:pt x="314" y="48"/>
                  <a:pt x="314" y="48"/>
                </a:cubicBezTo>
                <a:cubicBezTo>
                  <a:pt x="315" y="49"/>
                  <a:pt x="315" y="49"/>
                  <a:pt x="315" y="49"/>
                </a:cubicBezTo>
                <a:cubicBezTo>
                  <a:pt x="315" y="49"/>
                  <a:pt x="315" y="49"/>
                  <a:pt x="315" y="49"/>
                </a:cubicBezTo>
                <a:cubicBezTo>
                  <a:pt x="316" y="51"/>
                  <a:pt x="316" y="51"/>
                  <a:pt x="316" y="51"/>
                </a:cubicBezTo>
                <a:cubicBezTo>
                  <a:pt x="316" y="52"/>
                  <a:pt x="316" y="52"/>
                  <a:pt x="316" y="52"/>
                </a:cubicBezTo>
                <a:cubicBezTo>
                  <a:pt x="314" y="54"/>
                  <a:pt x="314" y="54"/>
                  <a:pt x="314" y="54"/>
                </a:cubicBezTo>
                <a:cubicBezTo>
                  <a:pt x="315" y="55"/>
                  <a:pt x="315" y="55"/>
                  <a:pt x="315" y="55"/>
                </a:cubicBezTo>
                <a:cubicBezTo>
                  <a:pt x="314" y="58"/>
                  <a:pt x="314" y="58"/>
                  <a:pt x="314" y="58"/>
                </a:cubicBezTo>
                <a:cubicBezTo>
                  <a:pt x="313" y="58"/>
                  <a:pt x="313" y="58"/>
                  <a:pt x="313" y="58"/>
                </a:cubicBezTo>
                <a:cubicBezTo>
                  <a:pt x="312" y="60"/>
                  <a:pt x="312" y="60"/>
                  <a:pt x="312" y="60"/>
                </a:cubicBezTo>
                <a:cubicBezTo>
                  <a:pt x="311" y="59"/>
                  <a:pt x="311" y="59"/>
                  <a:pt x="311" y="59"/>
                </a:cubicBezTo>
                <a:cubicBezTo>
                  <a:pt x="310" y="59"/>
                  <a:pt x="310" y="59"/>
                  <a:pt x="310" y="59"/>
                </a:cubicBezTo>
                <a:cubicBezTo>
                  <a:pt x="309" y="59"/>
                  <a:pt x="309" y="59"/>
                  <a:pt x="309" y="59"/>
                </a:cubicBezTo>
                <a:cubicBezTo>
                  <a:pt x="308" y="59"/>
                  <a:pt x="308" y="59"/>
                  <a:pt x="308" y="59"/>
                </a:cubicBezTo>
                <a:cubicBezTo>
                  <a:pt x="306" y="57"/>
                  <a:pt x="306" y="57"/>
                  <a:pt x="306" y="57"/>
                </a:cubicBezTo>
                <a:cubicBezTo>
                  <a:pt x="306" y="56"/>
                  <a:pt x="306" y="56"/>
                  <a:pt x="306" y="56"/>
                </a:cubicBezTo>
                <a:cubicBezTo>
                  <a:pt x="305" y="54"/>
                  <a:pt x="305" y="54"/>
                  <a:pt x="305" y="54"/>
                </a:cubicBezTo>
                <a:cubicBezTo>
                  <a:pt x="305" y="55"/>
                  <a:pt x="305" y="55"/>
                  <a:pt x="305" y="55"/>
                </a:cubicBezTo>
                <a:cubicBezTo>
                  <a:pt x="305" y="56"/>
                  <a:pt x="305" y="56"/>
                  <a:pt x="305" y="56"/>
                </a:cubicBezTo>
                <a:cubicBezTo>
                  <a:pt x="304" y="57"/>
                  <a:pt x="304" y="57"/>
                  <a:pt x="304" y="57"/>
                </a:cubicBezTo>
                <a:close/>
                <a:moveTo>
                  <a:pt x="286" y="67"/>
                </a:moveTo>
                <a:cubicBezTo>
                  <a:pt x="287" y="65"/>
                  <a:pt x="287" y="65"/>
                  <a:pt x="287" y="65"/>
                </a:cubicBezTo>
                <a:cubicBezTo>
                  <a:pt x="287" y="64"/>
                  <a:pt x="287" y="64"/>
                  <a:pt x="287" y="64"/>
                </a:cubicBezTo>
                <a:cubicBezTo>
                  <a:pt x="289" y="63"/>
                  <a:pt x="289" y="63"/>
                  <a:pt x="289" y="63"/>
                </a:cubicBezTo>
                <a:cubicBezTo>
                  <a:pt x="289" y="62"/>
                  <a:pt x="289" y="62"/>
                  <a:pt x="289" y="62"/>
                </a:cubicBezTo>
                <a:cubicBezTo>
                  <a:pt x="290" y="61"/>
                  <a:pt x="290" y="61"/>
                  <a:pt x="290" y="61"/>
                </a:cubicBezTo>
                <a:cubicBezTo>
                  <a:pt x="291" y="60"/>
                  <a:pt x="291" y="60"/>
                  <a:pt x="291" y="60"/>
                </a:cubicBezTo>
                <a:cubicBezTo>
                  <a:pt x="292" y="60"/>
                  <a:pt x="292" y="60"/>
                  <a:pt x="292" y="60"/>
                </a:cubicBezTo>
                <a:cubicBezTo>
                  <a:pt x="295" y="60"/>
                  <a:pt x="295" y="60"/>
                  <a:pt x="295" y="60"/>
                </a:cubicBezTo>
                <a:cubicBezTo>
                  <a:pt x="296" y="60"/>
                  <a:pt x="296" y="60"/>
                  <a:pt x="296" y="60"/>
                </a:cubicBezTo>
                <a:cubicBezTo>
                  <a:pt x="297" y="60"/>
                  <a:pt x="297" y="60"/>
                  <a:pt x="297" y="60"/>
                </a:cubicBezTo>
                <a:cubicBezTo>
                  <a:pt x="298" y="61"/>
                  <a:pt x="298" y="61"/>
                  <a:pt x="298" y="61"/>
                </a:cubicBezTo>
                <a:cubicBezTo>
                  <a:pt x="299" y="61"/>
                  <a:pt x="299" y="61"/>
                  <a:pt x="299" y="61"/>
                </a:cubicBezTo>
                <a:cubicBezTo>
                  <a:pt x="300" y="60"/>
                  <a:pt x="300" y="60"/>
                  <a:pt x="300" y="60"/>
                </a:cubicBezTo>
                <a:cubicBezTo>
                  <a:pt x="302" y="61"/>
                  <a:pt x="302" y="61"/>
                  <a:pt x="302" y="61"/>
                </a:cubicBezTo>
                <a:cubicBezTo>
                  <a:pt x="302" y="61"/>
                  <a:pt x="302" y="61"/>
                  <a:pt x="302" y="61"/>
                </a:cubicBezTo>
                <a:cubicBezTo>
                  <a:pt x="304" y="61"/>
                  <a:pt x="304" y="61"/>
                  <a:pt x="304" y="61"/>
                </a:cubicBezTo>
                <a:cubicBezTo>
                  <a:pt x="305" y="62"/>
                  <a:pt x="305" y="62"/>
                  <a:pt x="305" y="62"/>
                </a:cubicBezTo>
                <a:cubicBezTo>
                  <a:pt x="306" y="62"/>
                  <a:pt x="306" y="62"/>
                  <a:pt x="306" y="62"/>
                </a:cubicBezTo>
                <a:cubicBezTo>
                  <a:pt x="307" y="62"/>
                  <a:pt x="307" y="62"/>
                  <a:pt x="307" y="62"/>
                </a:cubicBezTo>
                <a:cubicBezTo>
                  <a:pt x="308" y="63"/>
                  <a:pt x="308" y="63"/>
                  <a:pt x="308" y="63"/>
                </a:cubicBezTo>
                <a:cubicBezTo>
                  <a:pt x="306" y="65"/>
                  <a:pt x="306" y="65"/>
                  <a:pt x="306" y="65"/>
                </a:cubicBezTo>
                <a:cubicBezTo>
                  <a:pt x="305" y="65"/>
                  <a:pt x="305" y="65"/>
                  <a:pt x="305" y="65"/>
                </a:cubicBezTo>
                <a:cubicBezTo>
                  <a:pt x="302" y="66"/>
                  <a:pt x="302" y="66"/>
                  <a:pt x="302" y="66"/>
                </a:cubicBezTo>
                <a:cubicBezTo>
                  <a:pt x="301" y="66"/>
                  <a:pt x="301" y="66"/>
                  <a:pt x="301" y="66"/>
                </a:cubicBezTo>
                <a:cubicBezTo>
                  <a:pt x="300" y="67"/>
                  <a:pt x="300" y="67"/>
                  <a:pt x="300" y="67"/>
                </a:cubicBezTo>
                <a:cubicBezTo>
                  <a:pt x="300" y="68"/>
                  <a:pt x="300" y="68"/>
                  <a:pt x="300" y="68"/>
                </a:cubicBezTo>
                <a:cubicBezTo>
                  <a:pt x="301" y="68"/>
                  <a:pt x="301" y="68"/>
                  <a:pt x="301" y="68"/>
                </a:cubicBezTo>
                <a:cubicBezTo>
                  <a:pt x="302" y="68"/>
                  <a:pt x="302" y="68"/>
                  <a:pt x="302" y="68"/>
                </a:cubicBezTo>
                <a:cubicBezTo>
                  <a:pt x="302" y="69"/>
                  <a:pt x="302" y="69"/>
                  <a:pt x="302" y="69"/>
                </a:cubicBezTo>
                <a:cubicBezTo>
                  <a:pt x="300" y="71"/>
                  <a:pt x="300" y="71"/>
                  <a:pt x="300" y="71"/>
                </a:cubicBezTo>
                <a:cubicBezTo>
                  <a:pt x="300" y="71"/>
                  <a:pt x="300" y="71"/>
                  <a:pt x="300" y="71"/>
                </a:cubicBezTo>
                <a:cubicBezTo>
                  <a:pt x="299" y="72"/>
                  <a:pt x="299" y="72"/>
                  <a:pt x="299" y="72"/>
                </a:cubicBezTo>
                <a:cubicBezTo>
                  <a:pt x="299" y="72"/>
                  <a:pt x="299" y="72"/>
                  <a:pt x="299" y="72"/>
                </a:cubicBezTo>
                <a:cubicBezTo>
                  <a:pt x="298" y="73"/>
                  <a:pt x="298" y="73"/>
                  <a:pt x="298" y="73"/>
                </a:cubicBezTo>
                <a:cubicBezTo>
                  <a:pt x="297" y="73"/>
                  <a:pt x="297" y="73"/>
                  <a:pt x="297" y="73"/>
                </a:cubicBezTo>
                <a:cubicBezTo>
                  <a:pt x="295" y="74"/>
                  <a:pt x="295" y="74"/>
                  <a:pt x="295" y="74"/>
                </a:cubicBezTo>
                <a:cubicBezTo>
                  <a:pt x="294" y="74"/>
                  <a:pt x="294" y="74"/>
                  <a:pt x="294" y="74"/>
                </a:cubicBezTo>
                <a:cubicBezTo>
                  <a:pt x="293" y="73"/>
                  <a:pt x="293" y="73"/>
                  <a:pt x="293" y="73"/>
                </a:cubicBezTo>
                <a:cubicBezTo>
                  <a:pt x="292" y="73"/>
                  <a:pt x="292" y="73"/>
                  <a:pt x="292" y="73"/>
                </a:cubicBezTo>
                <a:cubicBezTo>
                  <a:pt x="291" y="73"/>
                  <a:pt x="291" y="73"/>
                  <a:pt x="291" y="73"/>
                </a:cubicBezTo>
                <a:cubicBezTo>
                  <a:pt x="289" y="73"/>
                  <a:pt x="289" y="73"/>
                  <a:pt x="289" y="73"/>
                </a:cubicBezTo>
                <a:cubicBezTo>
                  <a:pt x="289" y="73"/>
                  <a:pt x="289" y="73"/>
                  <a:pt x="289" y="73"/>
                </a:cubicBezTo>
                <a:cubicBezTo>
                  <a:pt x="290" y="72"/>
                  <a:pt x="290" y="72"/>
                  <a:pt x="290" y="72"/>
                </a:cubicBezTo>
                <a:cubicBezTo>
                  <a:pt x="289" y="71"/>
                  <a:pt x="289" y="71"/>
                  <a:pt x="289" y="71"/>
                </a:cubicBezTo>
                <a:cubicBezTo>
                  <a:pt x="288" y="70"/>
                  <a:pt x="288" y="70"/>
                  <a:pt x="288" y="70"/>
                </a:cubicBezTo>
                <a:cubicBezTo>
                  <a:pt x="287" y="70"/>
                  <a:pt x="287" y="70"/>
                  <a:pt x="287" y="70"/>
                </a:cubicBezTo>
                <a:cubicBezTo>
                  <a:pt x="287" y="68"/>
                  <a:pt x="287" y="68"/>
                  <a:pt x="287" y="68"/>
                </a:cubicBezTo>
                <a:cubicBezTo>
                  <a:pt x="286" y="67"/>
                  <a:pt x="286" y="67"/>
                  <a:pt x="286" y="67"/>
                </a:cubicBezTo>
                <a:close/>
                <a:moveTo>
                  <a:pt x="285" y="62"/>
                </a:moveTo>
                <a:cubicBezTo>
                  <a:pt x="286" y="63"/>
                  <a:pt x="286" y="63"/>
                  <a:pt x="286" y="63"/>
                </a:cubicBezTo>
                <a:cubicBezTo>
                  <a:pt x="287" y="62"/>
                  <a:pt x="287" y="62"/>
                  <a:pt x="287" y="62"/>
                </a:cubicBezTo>
                <a:cubicBezTo>
                  <a:pt x="288" y="61"/>
                  <a:pt x="288" y="61"/>
                  <a:pt x="288" y="61"/>
                </a:cubicBezTo>
                <a:cubicBezTo>
                  <a:pt x="288" y="59"/>
                  <a:pt x="288" y="59"/>
                  <a:pt x="288" y="59"/>
                </a:cubicBezTo>
                <a:cubicBezTo>
                  <a:pt x="289" y="58"/>
                  <a:pt x="289" y="58"/>
                  <a:pt x="289" y="58"/>
                </a:cubicBezTo>
                <a:cubicBezTo>
                  <a:pt x="288" y="57"/>
                  <a:pt x="288" y="57"/>
                  <a:pt x="288" y="57"/>
                </a:cubicBezTo>
                <a:cubicBezTo>
                  <a:pt x="289" y="56"/>
                  <a:pt x="289" y="56"/>
                  <a:pt x="289" y="56"/>
                </a:cubicBezTo>
                <a:cubicBezTo>
                  <a:pt x="288" y="56"/>
                  <a:pt x="288" y="56"/>
                  <a:pt x="288" y="56"/>
                </a:cubicBezTo>
                <a:cubicBezTo>
                  <a:pt x="287" y="56"/>
                  <a:pt x="287" y="56"/>
                  <a:pt x="287" y="56"/>
                </a:cubicBezTo>
                <a:cubicBezTo>
                  <a:pt x="286" y="56"/>
                  <a:pt x="286" y="56"/>
                  <a:pt x="286" y="56"/>
                </a:cubicBezTo>
                <a:cubicBezTo>
                  <a:pt x="285" y="56"/>
                  <a:pt x="285" y="56"/>
                  <a:pt x="285" y="56"/>
                </a:cubicBezTo>
                <a:cubicBezTo>
                  <a:pt x="285" y="56"/>
                  <a:pt x="285" y="56"/>
                  <a:pt x="285" y="56"/>
                </a:cubicBezTo>
                <a:cubicBezTo>
                  <a:pt x="284" y="58"/>
                  <a:pt x="284" y="58"/>
                  <a:pt x="284" y="58"/>
                </a:cubicBezTo>
                <a:cubicBezTo>
                  <a:pt x="284" y="59"/>
                  <a:pt x="284" y="59"/>
                  <a:pt x="284" y="59"/>
                </a:cubicBezTo>
                <a:cubicBezTo>
                  <a:pt x="284" y="60"/>
                  <a:pt x="284" y="60"/>
                  <a:pt x="284" y="60"/>
                </a:cubicBezTo>
                <a:cubicBezTo>
                  <a:pt x="285" y="62"/>
                  <a:pt x="285" y="62"/>
                  <a:pt x="285" y="62"/>
                </a:cubicBezTo>
                <a:close/>
                <a:moveTo>
                  <a:pt x="391" y="155"/>
                </a:moveTo>
                <a:cubicBezTo>
                  <a:pt x="391" y="155"/>
                  <a:pt x="392" y="155"/>
                  <a:pt x="392" y="155"/>
                </a:cubicBezTo>
                <a:cubicBezTo>
                  <a:pt x="393" y="155"/>
                  <a:pt x="393" y="155"/>
                  <a:pt x="393" y="155"/>
                </a:cubicBezTo>
                <a:cubicBezTo>
                  <a:pt x="393" y="156"/>
                  <a:pt x="393" y="156"/>
                  <a:pt x="393" y="156"/>
                </a:cubicBezTo>
                <a:cubicBezTo>
                  <a:pt x="395" y="156"/>
                  <a:pt x="395" y="156"/>
                  <a:pt x="395" y="156"/>
                </a:cubicBezTo>
                <a:cubicBezTo>
                  <a:pt x="395" y="156"/>
                  <a:pt x="395" y="156"/>
                  <a:pt x="395" y="156"/>
                </a:cubicBezTo>
                <a:cubicBezTo>
                  <a:pt x="396" y="156"/>
                  <a:pt x="396" y="156"/>
                  <a:pt x="396" y="156"/>
                </a:cubicBezTo>
                <a:cubicBezTo>
                  <a:pt x="398" y="155"/>
                  <a:pt x="398" y="155"/>
                  <a:pt x="398" y="155"/>
                </a:cubicBezTo>
                <a:cubicBezTo>
                  <a:pt x="399" y="155"/>
                  <a:pt x="399" y="155"/>
                  <a:pt x="399" y="155"/>
                </a:cubicBezTo>
                <a:cubicBezTo>
                  <a:pt x="401" y="156"/>
                  <a:pt x="401" y="156"/>
                  <a:pt x="401" y="156"/>
                </a:cubicBezTo>
                <a:cubicBezTo>
                  <a:pt x="402" y="156"/>
                  <a:pt x="402" y="156"/>
                  <a:pt x="402" y="156"/>
                </a:cubicBezTo>
                <a:cubicBezTo>
                  <a:pt x="403" y="156"/>
                  <a:pt x="403" y="156"/>
                  <a:pt x="403" y="156"/>
                </a:cubicBezTo>
                <a:cubicBezTo>
                  <a:pt x="404" y="155"/>
                  <a:pt x="404" y="155"/>
                  <a:pt x="404" y="155"/>
                </a:cubicBezTo>
                <a:cubicBezTo>
                  <a:pt x="404" y="155"/>
                  <a:pt x="404" y="155"/>
                  <a:pt x="404" y="155"/>
                </a:cubicBezTo>
                <a:cubicBezTo>
                  <a:pt x="404" y="153"/>
                  <a:pt x="404" y="153"/>
                  <a:pt x="404" y="153"/>
                </a:cubicBezTo>
                <a:cubicBezTo>
                  <a:pt x="405" y="153"/>
                  <a:pt x="405" y="153"/>
                  <a:pt x="405" y="153"/>
                </a:cubicBezTo>
                <a:cubicBezTo>
                  <a:pt x="405" y="152"/>
                  <a:pt x="405" y="152"/>
                  <a:pt x="405" y="152"/>
                </a:cubicBezTo>
                <a:cubicBezTo>
                  <a:pt x="405" y="151"/>
                  <a:pt x="405" y="151"/>
                  <a:pt x="405" y="151"/>
                </a:cubicBezTo>
                <a:cubicBezTo>
                  <a:pt x="405" y="150"/>
                  <a:pt x="405" y="150"/>
                  <a:pt x="405" y="150"/>
                </a:cubicBezTo>
                <a:cubicBezTo>
                  <a:pt x="405" y="150"/>
                  <a:pt x="405" y="150"/>
                  <a:pt x="405" y="150"/>
                </a:cubicBezTo>
                <a:cubicBezTo>
                  <a:pt x="405" y="151"/>
                  <a:pt x="405" y="151"/>
                  <a:pt x="405" y="151"/>
                </a:cubicBezTo>
                <a:cubicBezTo>
                  <a:pt x="406" y="153"/>
                  <a:pt x="406" y="153"/>
                  <a:pt x="406" y="153"/>
                </a:cubicBezTo>
                <a:cubicBezTo>
                  <a:pt x="407" y="152"/>
                  <a:pt x="407" y="152"/>
                  <a:pt x="407" y="152"/>
                </a:cubicBezTo>
                <a:cubicBezTo>
                  <a:pt x="408" y="152"/>
                  <a:pt x="408" y="152"/>
                  <a:pt x="408" y="152"/>
                </a:cubicBezTo>
                <a:cubicBezTo>
                  <a:pt x="408" y="152"/>
                  <a:pt x="408" y="152"/>
                  <a:pt x="408" y="152"/>
                </a:cubicBezTo>
                <a:cubicBezTo>
                  <a:pt x="409" y="152"/>
                  <a:pt x="409" y="152"/>
                  <a:pt x="409" y="152"/>
                </a:cubicBezTo>
                <a:cubicBezTo>
                  <a:pt x="409" y="151"/>
                  <a:pt x="409" y="151"/>
                  <a:pt x="409" y="151"/>
                </a:cubicBezTo>
                <a:cubicBezTo>
                  <a:pt x="409" y="150"/>
                  <a:pt x="409" y="150"/>
                  <a:pt x="409" y="150"/>
                </a:cubicBezTo>
                <a:cubicBezTo>
                  <a:pt x="409" y="149"/>
                  <a:pt x="409" y="149"/>
                  <a:pt x="409" y="149"/>
                </a:cubicBezTo>
                <a:cubicBezTo>
                  <a:pt x="408" y="149"/>
                  <a:pt x="408" y="149"/>
                  <a:pt x="408" y="149"/>
                </a:cubicBezTo>
                <a:cubicBezTo>
                  <a:pt x="407" y="149"/>
                  <a:pt x="407" y="149"/>
                  <a:pt x="407" y="149"/>
                </a:cubicBezTo>
                <a:cubicBezTo>
                  <a:pt x="406" y="149"/>
                  <a:pt x="406" y="149"/>
                  <a:pt x="406" y="149"/>
                </a:cubicBezTo>
                <a:cubicBezTo>
                  <a:pt x="405" y="148"/>
                  <a:pt x="405" y="148"/>
                  <a:pt x="405" y="148"/>
                </a:cubicBezTo>
                <a:cubicBezTo>
                  <a:pt x="406" y="148"/>
                  <a:pt x="406" y="148"/>
                  <a:pt x="406" y="148"/>
                </a:cubicBezTo>
                <a:cubicBezTo>
                  <a:pt x="407" y="148"/>
                  <a:pt x="407" y="148"/>
                  <a:pt x="407" y="148"/>
                </a:cubicBezTo>
                <a:cubicBezTo>
                  <a:pt x="408" y="148"/>
                  <a:pt x="408" y="148"/>
                  <a:pt x="408" y="148"/>
                </a:cubicBezTo>
                <a:cubicBezTo>
                  <a:pt x="409" y="147"/>
                  <a:pt x="409" y="147"/>
                  <a:pt x="409" y="147"/>
                </a:cubicBezTo>
                <a:cubicBezTo>
                  <a:pt x="409" y="147"/>
                  <a:pt x="409" y="147"/>
                  <a:pt x="409" y="147"/>
                </a:cubicBezTo>
                <a:cubicBezTo>
                  <a:pt x="410" y="147"/>
                  <a:pt x="410" y="147"/>
                  <a:pt x="410" y="147"/>
                </a:cubicBezTo>
                <a:cubicBezTo>
                  <a:pt x="411" y="146"/>
                  <a:pt x="411" y="146"/>
                  <a:pt x="411" y="146"/>
                </a:cubicBezTo>
                <a:cubicBezTo>
                  <a:pt x="411" y="145"/>
                  <a:pt x="411" y="145"/>
                  <a:pt x="411" y="145"/>
                </a:cubicBezTo>
                <a:cubicBezTo>
                  <a:pt x="411" y="144"/>
                  <a:pt x="411" y="144"/>
                  <a:pt x="411" y="144"/>
                </a:cubicBezTo>
                <a:cubicBezTo>
                  <a:pt x="411" y="143"/>
                  <a:pt x="411" y="143"/>
                  <a:pt x="411" y="143"/>
                </a:cubicBezTo>
                <a:cubicBezTo>
                  <a:pt x="412" y="143"/>
                  <a:pt x="412" y="143"/>
                  <a:pt x="412" y="143"/>
                </a:cubicBezTo>
                <a:cubicBezTo>
                  <a:pt x="412" y="142"/>
                  <a:pt x="412" y="142"/>
                  <a:pt x="412" y="142"/>
                </a:cubicBezTo>
                <a:cubicBezTo>
                  <a:pt x="410" y="142"/>
                  <a:pt x="410" y="142"/>
                  <a:pt x="410" y="142"/>
                </a:cubicBezTo>
                <a:cubicBezTo>
                  <a:pt x="409" y="142"/>
                  <a:pt x="409" y="142"/>
                  <a:pt x="409" y="142"/>
                </a:cubicBezTo>
                <a:cubicBezTo>
                  <a:pt x="410" y="141"/>
                  <a:pt x="410" y="141"/>
                  <a:pt x="410" y="141"/>
                </a:cubicBezTo>
                <a:cubicBezTo>
                  <a:pt x="410" y="141"/>
                  <a:pt x="410" y="141"/>
                  <a:pt x="410" y="141"/>
                </a:cubicBezTo>
                <a:cubicBezTo>
                  <a:pt x="410" y="140"/>
                  <a:pt x="410" y="140"/>
                  <a:pt x="410" y="140"/>
                </a:cubicBezTo>
                <a:cubicBezTo>
                  <a:pt x="409" y="139"/>
                  <a:pt x="409" y="139"/>
                  <a:pt x="409" y="139"/>
                </a:cubicBezTo>
                <a:cubicBezTo>
                  <a:pt x="407" y="139"/>
                  <a:pt x="407" y="139"/>
                  <a:pt x="407" y="139"/>
                </a:cubicBezTo>
                <a:cubicBezTo>
                  <a:pt x="406" y="138"/>
                  <a:pt x="406" y="138"/>
                  <a:pt x="406" y="138"/>
                </a:cubicBezTo>
                <a:cubicBezTo>
                  <a:pt x="407" y="138"/>
                  <a:pt x="407" y="138"/>
                  <a:pt x="407" y="138"/>
                </a:cubicBezTo>
                <a:cubicBezTo>
                  <a:pt x="407" y="137"/>
                  <a:pt x="407" y="137"/>
                  <a:pt x="407" y="137"/>
                </a:cubicBezTo>
                <a:cubicBezTo>
                  <a:pt x="407" y="136"/>
                  <a:pt x="407" y="136"/>
                  <a:pt x="407" y="136"/>
                </a:cubicBezTo>
                <a:cubicBezTo>
                  <a:pt x="405" y="135"/>
                  <a:pt x="405" y="135"/>
                  <a:pt x="405" y="135"/>
                </a:cubicBezTo>
                <a:cubicBezTo>
                  <a:pt x="404" y="135"/>
                  <a:pt x="404" y="135"/>
                  <a:pt x="404" y="135"/>
                </a:cubicBezTo>
                <a:cubicBezTo>
                  <a:pt x="403" y="135"/>
                  <a:pt x="403" y="135"/>
                  <a:pt x="403" y="135"/>
                </a:cubicBezTo>
                <a:cubicBezTo>
                  <a:pt x="401" y="135"/>
                  <a:pt x="401" y="135"/>
                  <a:pt x="401" y="135"/>
                </a:cubicBezTo>
                <a:cubicBezTo>
                  <a:pt x="399" y="136"/>
                  <a:pt x="399" y="136"/>
                  <a:pt x="399" y="136"/>
                </a:cubicBezTo>
                <a:cubicBezTo>
                  <a:pt x="397" y="134"/>
                  <a:pt x="397" y="134"/>
                  <a:pt x="397" y="134"/>
                </a:cubicBezTo>
                <a:cubicBezTo>
                  <a:pt x="397" y="133"/>
                  <a:pt x="397" y="133"/>
                  <a:pt x="397" y="133"/>
                </a:cubicBezTo>
                <a:cubicBezTo>
                  <a:pt x="396" y="133"/>
                  <a:pt x="396" y="133"/>
                  <a:pt x="396" y="133"/>
                </a:cubicBezTo>
                <a:cubicBezTo>
                  <a:pt x="395" y="134"/>
                  <a:pt x="395" y="134"/>
                  <a:pt x="395" y="134"/>
                </a:cubicBezTo>
                <a:cubicBezTo>
                  <a:pt x="394" y="134"/>
                  <a:pt x="394" y="134"/>
                  <a:pt x="394" y="134"/>
                </a:cubicBezTo>
                <a:cubicBezTo>
                  <a:pt x="393" y="134"/>
                  <a:pt x="393" y="134"/>
                  <a:pt x="393" y="134"/>
                </a:cubicBezTo>
                <a:cubicBezTo>
                  <a:pt x="392" y="134"/>
                  <a:pt x="392" y="134"/>
                  <a:pt x="392" y="134"/>
                </a:cubicBezTo>
                <a:cubicBezTo>
                  <a:pt x="392" y="135"/>
                  <a:pt x="392" y="135"/>
                  <a:pt x="392" y="135"/>
                </a:cubicBezTo>
                <a:cubicBezTo>
                  <a:pt x="391" y="134"/>
                  <a:pt x="391" y="134"/>
                  <a:pt x="391" y="134"/>
                </a:cubicBezTo>
                <a:cubicBezTo>
                  <a:pt x="390" y="134"/>
                  <a:pt x="390" y="134"/>
                  <a:pt x="390" y="134"/>
                </a:cubicBezTo>
                <a:cubicBezTo>
                  <a:pt x="389" y="134"/>
                  <a:pt x="389" y="134"/>
                  <a:pt x="389" y="134"/>
                </a:cubicBezTo>
                <a:cubicBezTo>
                  <a:pt x="387" y="134"/>
                  <a:pt x="387" y="134"/>
                  <a:pt x="387" y="134"/>
                </a:cubicBezTo>
                <a:cubicBezTo>
                  <a:pt x="387" y="135"/>
                  <a:pt x="387" y="135"/>
                  <a:pt x="387" y="135"/>
                </a:cubicBezTo>
                <a:cubicBezTo>
                  <a:pt x="387" y="136"/>
                  <a:pt x="387" y="136"/>
                  <a:pt x="387" y="136"/>
                </a:cubicBezTo>
                <a:cubicBezTo>
                  <a:pt x="387" y="135"/>
                  <a:pt x="387" y="135"/>
                  <a:pt x="387" y="135"/>
                </a:cubicBezTo>
                <a:cubicBezTo>
                  <a:pt x="386" y="134"/>
                  <a:pt x="386" y="134"/>
                  <a:pt x="386" y="134"/>
                </a:cubicBezTo>
                <a:cubicBezTo>
                  <a:pt x="385" y="135"/>
                  <a:pt x="385" y="135"/>
                  <a:pt x="385" y="135"/>
                </a:cubicBezTo>
                <a:cubicBezTo>
                  <a:pt x="382" y="134"/>
                  <a:pt x="382" y="134"/>
                  <a:pt x="382" y="134"/>
                </a:cubicBezTo>
                <a:cubicBezTo>
                  <a:pt x="382" y="135"/>
                  <a:pt x="382" y="135"/>
                  <a:pt x="382" y="135"/>
                </a:cubicBezTo>
                <a:cubicBezTo>
                  <a:pt x="383" y="135"/>
                  <a:pt x="383" y="135"/>
                  <a:pt x="383" y="135"/>
                </a:cubicBezTo>
                <a:cubicBezTo>
                  <a:pt x="383" y="136"/>
                  <a:pt x="383" y="136"/>
                  <a:pt x="383" y="136"/>
                </a:cubicBezTo>
                <a:cubicBezTo>
                  <a:pt x="384" y="137"/>
                  <a:pt x="384" y="137"/>
                  <a:pt x="384" y="137"/>
                </a:cubicBezTo>
                <a:cubicBezTo>
                  <a:pt x="383" y="137"/>
                  <a:pt x="383" y="137"/>
                  <a:pt x="383" y="137"/>
                </a:cubicBezTo>
                <a:cubicBezTo>
                  <a:pt x="382" y="136"/>
                  <a:pt x="382" y="136"/>
                  <a:pt x="382" y="136"/>
                </a:cubicBezTo>
                <a:cubicBezTo>
                  <a:pt x="381" y="136"/>
                  <a:pt x="381" y="136"/>
                  <a:pt x="381" y="136"/>
                </a:cubicBezTo>
                <a:cubicBezTo>
                  <a:pt x="380" y="136"/>
                  <a:pt x="380" y="136"/>
                  <a:pt x="380" y="136"/>
                </a:cubicBezTo>
                <a:cubicBezTo>
                  <a:pt x="379" y="136"/>
                  <a:pt x="379" y="136"/>
                  <a:pt x="379" y="136"/>
                </a:cubicBezTo>
                <a:cubicBezTo>
                  <a:pt x="380" y="135"/>
                  <a:pt x="380" y="135"/>
                  <a:pt x="380" y="135"/>
                </a:cubicBezTo>
                <a:cubicBezTo>
                  <a:pt x="380" y="134"/>
                  <a:pt x="380" y="134"/>
                  <a:pt x="380" y="134"/>
                </a:cubicBezTo>
                <a:cubicBezTo>
                  <a:pt x="379" y="133"/>
                  <a:pt x="379" y="133"/>
                  <a:pt x="379" y="133"/>
                </a:cubicBezTo>
                <a:cubicBezTo>
                  <a:pt x="379" y="132"/>
                  <a:pt x="379" y="132"/>
                  <a:pt x="379" y="132"/>
                </a:cubicBezTo>
                <a:cubicBezTo>
                  <a:pt x="379" y="132"/>
                  <a:pt x="379" y="132"/>
                  <a:pt x="379" y="132"/>
                </a:cubicBezTo>
                <a:cubicBezTo>
                  <a:pt x="377" y="132"/>
                  <a:pt x="377" y="132"/>
                  <a:pt x="377" y="132"/>
                </a:cubicBezTo>
                <a:cubicBezTo>
                  <a:pt x="377" y="133"/>
                  <a:pt x="377" y="133"/>
                  <a:pt x="377" y="133"/>
                </a:cubicBezTo>
                <a:cubicBezTo>
                  <a:pt x="377" y="134"/>
                  <a:pt x="377" y="134"/>
                  <a:pt x="377" y="134"/>
                </a:cubicBezTo>
                <a:cubicBezTo>
                  <a:pt x="376" y="134"/>
                  <a:pt x="376" y="134"/>
                  <a:pt x="376" y="134"/>
                </a:cubicBezTo>
                <a:cubicBezTo>
                  <a:pt x="377" y="133"/>
                  <a:pt x="377" y="133"/>
                  <a:pt x="377" y="133"/>
                </a:cubicBezTo>
                <a:cubicBezTo>
                  <a:pt x="376" y="132"/>
                  <a:pt x="376" y="132"/>
                  <a:pt x="376" y="132"/>
                </a:cubicBezTo>
                <a:cubicBezTo>
                  <a:pt x="375" y="132"/>
                  <a:pt x="375" y="132"/>
                  <a:pt x="375" y="132"/>
                </a:cubicBezTo>
                <a:cubicBezTo>
                  <a:pt x="374" y="132"/>
                  <a:pt x="374" y="132"/>
                  <a:pt x="374" y="132"/>
                </a:cubicBezTo>
                <a:cubicBezTo>
                  <a:pt x="374" y="132"/>
                  <a:pt x="374" y="132"/>
                  <a:pt x="374" y="132"/>
                </a:cubicBezTo>
                <a:cubicBezTo>
                  <a:pt x="374" y="131"/>
                  <a:pt x="374" y="131"/>
                  <a:pt x="374" y="131"/>
                </a:cubicBezTo>
                <a:cubicBezTo>
                  <a:pt x="374" y="131"/>
                  <a:pt x="374" y="131"/>
                  <a:pt x="374" y="131"/>
                </a:cubicBezTo>
                <a:cubicBezTo>
                  <a:pt x="374" y="129"/>
                  <a:pt x="374" y="129"/>
                  <a:pt x="374" y="129"/>
                </a:cubicBezTo>
                <a:cubicBezTo>
                  <a:pt x="372" y="130"/>
                  <a:pt x="372" y="130"/>
                  <a:pt x="372" y="130"/>
                </a:cubicBezTo>
                <a:cubicBezTo>
                  <a:pt x="371" y="131"/>
                  <a:pt x="371" y="131"/>
                  <a:pt x="371" y="131"/>
                </a:cubicBezTo>
                <a:cubicBezTo>
                  <a:pt x="371" y="133"/>
                  <a:pt x="371" y="133"/>
                  <a:pt x="371" y="133"/>
                </a:cubicBezTo>
                <a:cubicBezTo>
                  <a:pt x="370" y="133"/>
                  <a:pt x="370" y="133"/>
                  <a:pt x="370" y="133"/>
                </a:cubicBezTo>
                <a:cubicBezTo>
                  <a:pt x="370" y="131"/>
                  <a:pt x="370" y="131"/>
                  <a:pt x="370" y="131"/>
                </a:cubicBezTo>
                <a:cubicBezTo>
                  <a:pt x="370" y="130"/>
                  <a:pt x="370" y="130"/>
                  <a:pt x="370" y="130"/>
                </a:cubicBezTo>
                <a:cubicBezTo>
                  <a:pt x="370" y="130"/>
                  <a:pt x="370" y="130"/>
                  <a:pt x="370" y="130"/>
                </a:cubicBezTo>
                <a:cubicBezTo>
                  <a:pt x="371" y="128"/>
                  <a:pt x="371" y="128"/>
                  <a:pt x="371" y="128"/>
                </a:cubicBezTo>
                <a:cubicBezTo>
                  <a:pt x="370" y="127"/>
                  <a:pt x="370" y="127"/>
                  <a:pt x="370" y="127"/>
                </a:cubicBezTo>
                <a:cubicBezTo>
                  <a:pt x="369" y="127"/>
                  <a:pt x="369" y="127"/>
                  <a:pt x="369" y="127"/>
                </a:cubicBezTo>
                <a:cubicBezTo>
                  <a:pt x="369" y="127"/>
                  <a:pt x="369" y="127"/>
                  <a:pt x="369" y="127"/>
                </a:cubicBezTo>
                <a:cubicBezTo>
                  <a:pt x="370" y="126"/>
                  <a:pt x="370" y="126"/>
                  <a:pt x="370" y="126"/>
                </a:cubicBezTo>
                <a:cubicBezTo>
                  <a:pt x="370" y="125"/>
                  <a:pt x="370" y="125"/>
                  <a:pt x="370" y="125"/>
                </a:cubicBezTo>
                <a:cubicBezTo>
                  <a:pt x="370" y="124"/>
                  <a:pt x="370" y="124"/>
                  <a:pt x="370" y="124"/>
                </a:cubicBezTo>
                <a:cubicBezTo>
                  <a:pt x="369" y="124"/>
                  <a:pt x="369" y="124"/>
                  <a:pt x="369" y="124"/>
                </a:cubicBezTo>
                <a:cubicBezTo>
                  <a:pt x="368" y="124"/>
                  <a:pt x="368" y="124"/>
                  <a:pt x="368" y="124"/>
                </a:cubicBezTo>
                <a:cubicBezTo>
                  <a:pt x="368" y="124"/>
                  <a:pt x="368" y="124"/>
                  <a:pt x="368" y="124"/>
                </a:cubicBezTo>
                <a:cubicBezTo>
                  <a:pt x="367" y="124"/>
                  <a:pt x="367" y="124"/>
                  <a:pt x="367" y="124"/>
                </a:cubicBezTo>
                <a:cubicBezTo>
                  <a:pt x="368" y="124"/>
                  <a:pt x="368" y="124"/>
                  <a:pt x="368" y="124"/>
                </a:cubicBezTo>
                <a:cubicBezTo>
                  <a:pt x="367" y="123"/>
                  <a:pt x="367" y="123"/>
                  <a:pt x="367" y="123"/>
                </a:cubicBezTo>
                <a:cubicBezTo>
                  <a:pt x="366" y="123"/>
                  <a:pt x="366" y="123"/>
                  <a:pt x="366" y="123"/>
                </a:cubicBezTo>
                <a:cubicBezTo>
                  <a:pt x="366" y="124"/>
                  <a:pt x="366" y="124"/>
                  <a:pt x="366" y="124"/>
                </a:cubicBezTo>
                <a:cubicBezTo>
                  <a:pt x="364" y="124"/>
                  <a:pt x="364" y="124"/>
                  <a:pt x="364" y="124"/>
                </a:cubicBezTo>
                <a:cubicBezTo>
                  <a:pt x="364" y="124"/>
                  <a:pt x="364" y="124"/>
                  <a:pt x="364" y="124"/>
                </a:cubicBezTo>
                <a:cubicBezTo>
                  <a:pt x="365" y="123"/>
                  <a:pt x="365" y="123"/>
                  <a:pt x="365" y="123"/>
                </a:cubicBezTo>
                <a:cubicBezTo>
                  <a:pt x="365" y="122"/>
                  <a:pt x="365" y="122"/>
                  <a:pt x="365" y="122"/>
                </a:cubicBezTo>
                <a:cubicBezTo>
                  <a:pt x="366" y="121"/>
                  <a:pt x="366" y="121"/>
                  <a:pt x="366" y="121"/>
                </a:cubicBezTo>
                <a:cubicBezTo>
                  <a:pt x="367" y="121"/>
                  <a:pt x="367" y="121"/>
                  <a:pt x="367" y="121"/>
                </a:cubicBezTo>
                <a:cubicBezTo>
                  <a:pt x="368" y="123"/>
                  <a:pt x="368" y="123"/>
                  <a:pt x="368" y="123"/>
                </a:cubicBezTo>
                <a:cubicBezTo>
                  <a:pt x="369" y="123"/>
                  <a:pt x="369" y="123"/>
                  <a:pt x="369" y="123"/>
                </a:cubicBezTo>
                <a:cubicBezTo>
                  <a:pt x="369" y="122"/>
                  <a:pt x="369" y="122"/>
                  <a:pt x="369" y="122"/>
                </a:cubicBezTo>
                <a:cubicBezTo>
                  <a:pt x="368" y="121"/>
                  <a:pt x="368" y="121"/>
                  <a:pt x="368" y="121"/>
                </a:cubicBezTo>
                <a:cubicBezTo>
                  <a:pt x="367" y="120"/>
                  <a:pt x="367" y="120"/>
                  <a:pt x="367" y="120"/>
                </a:cubicBezTo>
                <a:cubicBezTo>
                  <a:pt x="368" y="120"/>
                  <a:pt x="368" y="120"/>
                  <a:pt x="368" y="120"/>
                </a:cubicBezTo>
                <a:cubicBezTo>
                  <a:pt x="366" y="119"/>
                  <a:pt x="366" y="119"/>
                  <a:pt x="366" y="119"/>
                </a:cubicBezTo>
                <a:cubicBezTo>
                  <a:pt x="365" y="118"/>
                  <a:pt x="365" y="118"/>
                  <a:pt x="365" y="118"/>
                </a:cubicBezTo>
                <a:cubicBezTo>
                  <a:pt x="366" y="118"/>
                  <a:pt x="366" y="118"/>
                  <a:pt x="366" y="118"/>
                </a:cubicBezTo>
                <a:cubicBezTo>
                  <a:pt x="366" y="117"/>
                  <a:pt x="366" y="117"/>
                  <a:pt x="366" y="117"/>
                </a:cubicBezTo>
                <a:cubicBezTo>
                  <a:pt x="366" y="117"/>
                  <a:pt x="366" y="117"/>
                  <a:pt x="366" y="117"/>
                </a:cubicBezTo>
                <a:cubicBezTo>
                  <a:pt x="367" y="118"/>
                  <a:pt x="367" y="118"/>
                  <a:pt x="367" y="118"/>
                </a:cubicBezTo>
                <a:cubicBezTo>
                  <a:pt x="368" y="119"/>
                  <a:pt x="368" y="119"/>
                  <a:pt x="368" y="119"/>
                </a:cubicBezTo>
                <a:cubicBezTo>
                  <a:pt x="370" y="120"/>
                  <a:pt x="370" y="120"/>
                  <a:pt x="370" y="120"/>
                </a:cubicBezTo>
                <a:cubicBezTo>
                  <a:pt x="371" y="121"/>
                  <a:pt x="371" y="121"/>
                  <a:pt x="371" y="121"/>
                </a:cubicBezTo>
                <a:cubicBezTo>
                  <a:pt x="371" y="120"/>
                  <a:pt x="371" y="120"/>
                  <a:pt x="371" y="120"/>
                </a:cubicBezTo>
                <a:cubicBezTo>
                  <a:pt x="372" y="121"/>
                  <a:pt x="372" y="121"/>
                  <a:pt x="372" y="121"/>
                </a:cubicBezTo>
                <a:cubicBezTo>
                  <a:pt x="374" y="121"/>
                  <a:pt x="374" y="121"/>
                  <a:pt x="374" y="121"/>
                </a:cubicBezTo>
                <a:cubicBezTo>
                  <a:pt x="375" y="121"/>
                  <a:pt x="375" y="121"/>
                  <a:pt x="375" y="121"/>
                </a:cubicBezTo>
                <a:cubicBezTo>
                  <a:pt x="376" y="120"/>
                  <a:pt x="376" y="120"/>
                  <a:pt x="376" y="120"/>
                </a:cubicBezTo>
                <a:cubicBezTo>
                  <a:pt x="375" y="119"/>
                  <a:pt x="375" y="119"/>
                  <a:pt x="375" y="119"/>
                </a:cubicBezTo>
                <a:cubicBezTo>
                  <a:pt x="373" y="117"/>
                  <a:pt x="373" y="117"/>
                  <a:pt x="373" y="117"/>
                </a:cubicBezTo>
                <a:cubicBezTo>
                  <a:pt x="372" y="116"/>
                  <a:pt x="372" y="116"/>
                  <a:pt x="372" y="116"/>
                </a:cubicBezTo>
                <a:cubicBezTo>
                  <a:pt x="371" y="116"/>
                  <a:pt x="371" y="116"/>
                  <a:pt x="371" y="116"/>
                </a:cubicBezTo>
                <a:cubicBezTo>
                  <a:pt x="371" y="115"/>
                  <a:pt x="371" y="115"/>
                  <a:pt x="371" y="115"/>
                </a:cubicBezTo>
                <a:cubicBezTo>
                  <a:pt x="369" y="114"/>
                  <a:pt x="369" y="114"/>
                  <a:pt x="369" y="114"/>
                </a:cubicBezTo>
                <a:cubicBezTo>
                  <a:pt x="369" y="114"/>
                  <a:pt x="369" y="114"/>
                  <a:pt x="369" y="114"/>
                </a:cubicBezTo>
                <a:cubicBezTo>
                  <a:pt x="368" y="113"/>
                  <a:pt x="368" y="113"/>
                  <a:pt x="368" y="113"/>
                </a:cubicBezTo>
                <a:cubicBezTo>
                  <a:pt x="369" y="112"/>
                  <a:pt x="369" y="112"/>
                  <a:pt x="369" y="112"/>
                </a:cubicBezTo>
                <a:cubicBezTo>
                  <a:pt x="370" y="113"/>
                  <a:pt x="370" y="113"/>
                  <a:pt x="370" y="113"/>
                </a:cubicBezTo>
                <a:cubicBezTo>
                  <a:pt x="371" y="114"/>
                  <a:pt x="371" y="114"/>
                  <a:pt x="371" y="114"/>
                </a:cubicBezTo>
                <a:cubicBezTo>
                  <a:pt x="371" y="114"/>
                  <a:pt x="371" y="114"/>
                  <a:pt x="371" y="114"/>
                </a:cubicBezTo>
                <a:cubicBezTo>
                  <a:pt x="372" y="115"/>
                  <a:pt x="372" y="115"/>
                  <a:pt x="372" y="115"/>
                </a:cubicBezTo>
                <a:cubicBezTo>
                  <a:pt x="372" y="115"/>
                  <a:pt x="372" y="115"/>
                  <a:pt x="372" y="115"/>
                </a:cubicBezTo>
                <a:cubicBezTo>
                  <a:pt x="373" y="114"/>
                  <a:pt x="373" y="114"/>
                  <a:pt x="373" y="114"/>
                </a:cubicBezTo>
                <a:cubicBezTo>
                  <a:pt x="372" y="112"/>
                  <a:pt x="372" y="112"/>
                  <a:pt x="372" y="112"/>
                </a:cubicBezTo>
                <a:cubicBezTo>
                  <a:pt x="371" y="110"/>
                  <a:pt x="371" y="110"/>
                  <a:pt x="371" y="110"/>
                </a:cubicBezTo>
                <a:cubicBezTo>
                  <a:pt x="370" y="110"/>
                  <a:pt x="370" y="110"/>
                  <a:pt x="370" y="110"/>
                </a:cubicBezTo>
                <a:cubicBezTo>
                  <a:pt x="370" y="110"/>
                  <a:pt x="370" y="110"/>
                  <a:pt x="370" y="110"/>
                </a:cubicBezTo>
                <a:cubicBezTo>
                  <a:pt x="368" y="110"/>
                  <a:pt x="368" y="110"/>
                  <a:pt x="368" y="110"/>
                </a:cubicBezTo>
                <a:cubicBezTo>
                  <a:pt x="367" y="111"/>
                  <a:pt x="367" y="111"/>
                  <a:pt x="367" y="111"/>
                </a:cubicBezTo>
                <a:cubicBezTo>
                  <a:pt x="366" y="111"/>
                  <a:pt x="366" y="111"/>
                  <a:pt x="366" y="111"/>
                </a:cubicBezTo>
                <a:cubicBezTo>
                  <a:pt x="365" y="110"/>
                  <a:pt x="365" y="110"/>
                  <a:pt x="365" y="110"/>
                </a:cubicBezTo>
                <a:cubicBezTo>
                  <a:pt x="364" y="110"/>
                  <a:pt x="364" y="110"/>
                  <a:pt x="364" y="110"/>
                </a:cubicBezTo>
                <a:cubicBezTo>
                  <a:pt x="363" y="109"/>
                  <a:pt x="363" y="109"/>
                  <a:pt x="363" y="109"/>
                </a:cubicBezTo>
                <a:cubicBezTo>
                  <a:pt x="362" y="111"/>
                  <a:pt x="362" y="111"/>
                  <a:pt x="362" y="111"/>
                </a:cubicBezTo>
                <a:cubicBezTo>
                  <a:pt x="360" y="112"/>
                  <a:pt x="360" y="112"/>
                  <a:pt x="360" y="112"/>
                </a:cubicBezTo>
                <a:cubicBezTo>
                  <a:pt x="360" y="113"/>
                  <a:pt x="360" y="113"/>
                  <a:pt x="360" y="113"/>
                </a:cubicBezTo>
                <a:cubicBezTo>
                  <a:pt x="359" y="114"/>
                  <a:pt x="359" y="114"/>
                  <a:pt x="359" y="114"/>
                </a:cubicBezTo>
                <a:cubicBezTo>
                  <a:pt x="359" y="113"/>
                  <a:pt x="359" y="113"/>
                  <a:pt x="359" y="113"/>
                </a:cubicBezTo>
                <a:cubicBezTo>
                  <a:pt x="360" y="112"/>
                  <a:pt x="360" y="112"/>
                  <a:pt x="360" y="112"/>
                </a:cubicBezTo>
                <a:cubicBezTo>
                  <a:pt x="360" y="111"/>
                  <a:pt x="360" y="111"/>
                  <a:pt x="360" y="111"/>
                </a:cubicBezTo>
                <a:cubicBezTo>
                  <a:pt x="363" y="109"/>
                  <a:pt x="363" y="109"/>
                  <a:pt x="363" y="109"/>
                </a:cubicBezTo>
                <a:cubicBezTo>
                  <a:pt x="363" y="108"/>
                  <a:pt x="363" y="108"/>
                  <a:pt x="363" y="108"/>
                </a:cubicBezTo>
                <a:cubicBezTo>
                  <a:pt x="363" y="107"/>
                  <a:pt x="363" y="107"/>
                  <a:pt x="363" y="107"/>
                </a:cubicBezTo>
                <a:cubicBezTo>
                  <a:pt x="363" y="104"/>
                  <a:pt x="363" y="104"/>
                  <a:pt x="363" y="104"/>
                </a:cubicBezTo>
                <a:cubicBezTo>
                  <a:pt x="363" y="104"/>
                  <a:pt x="363" y="104"/>
                  <a:pt x="363" y="104"/>
                </a:cubicBezTo>
                <a:cubicBezTo>
                  <a:pt x="362" y="103"/>
                  <a:pt x="362" y="103"/>
                  <a:pt x="362" y="103"/>
                </a:cubicBezTo>
                <a:cubicBezTo>
                  <a:pt x="362" y="103"/>
                  <a:pt x="362" y="103"/>
                  <a:pt x="362" y="103"/>
                </a:cubicBezTo>
                <a:cubicBezTo>
                  <a:pt x="360" y="103"/>
                  <a:pt x="360" y="103"/>
                  <a:pt x="360" y="103"/>
                </a:cubicBezTo>
                <a:cubicBezTo>
                  <a:pt x="360" y="103"/>
                  <a:pt x="360" y="103"/>
                  <a:pt x="360" y="103"/>
                </a:cubicBezTo>
                <a:cubicBezTo>
                  <a:pt x="360" y="101"/>
                  <a:pt x="360" y="101"/>
                  <a:pt x="360" y="101"/>
                </a:cubicBezTo>
                <a:cubicBezTo>
                  <a:pt x="359" y="101"/>
                  <a:pt x="359" y="101"/>
                  <a:pt x="359" y="101"/>
                </a:cubicBezTo>
                <a:cubicBezTo>
                  <a:pt x="357" y="100"/>
                  <a:pt x="357" y="100"/>
                  <a:pt x="357" y="100"/>
                </a:cubicBezTo>
                <a:cubicBezTo>
                  <a:pt x="356" y="99"/>
                  <a:pt x="356" y="99"/>
                  <a:pt x="356" y="99"/>
                </a:cubicBezTo>
                <a:cubicBezTo>
                  <a:pt x="355" y="99"/>
                  <a:pt x="355" y="99"/>
                  <a:pt x="355" y="99"/>
                </a:cubicBezTo>
                <a:cubicBezTo>
                  <a:pt x="354" y="98"/>
                  <a:pt x="354" y="98"/>
                  <a:pt x="354" y="98"/>
                </a:cubicBezTo>
                <a:cubicBezTo>
                  <a:pt x="353" y="99"/>
                  <a:pt x="353" y="99"/>
                  <a:pt x="353" y="99"/>
                </a:cubicBezTo>
                <a:cubicBezTo>
                  <a:pt x="351" y="99"/>
                  <a:pt x="351" y="99"/>
                  <a:pt x="351" y="99"/>
                </a:cubicBezTo>
                <a:cubicBezTo>
                  <a:pt x="351" y="99"/>
                  <a:pt x="351" y="99"/>
                  <a:pt x="351" y="99"/>
                </a:cubicBezTo>
                <a:cubicBezTo>
                  <a:pt x="350" y="100"/>
                  <a:pt x="350" y="100"/>
                  <a:pt x="350" y="100"/>
                </a:cubicBezTo>
                <a:cubicBezTo>
                  <a:pt x="349" y="101"/>
                  <a:pt x="349" y="101"/>
                  <a:pt x="349" y="101"/>
                </a:cubicBezTo>
                <a:cubicBezTo>
                  <a:pt x="350" y="102"/>
                  <a:pt x="350" y="102"/>
                  <a:pt x="350" y="102"/>
                </a:cubicBezTo>
                <a:cubicBezTo>
                  <a:pt x="351" y="103"/>
                  <a:pt x="351" y="103"/>
                  <a:pt x="351" y="103"/>
                </a:cubicBezTo>
                <a:cubicBezTo>
                  <a:pt x="350" y="103"/>
                  <a:pt x="350" y="103"/>
                  <a:pt x="350" y="103"/>
                </a:cubicBezTo>
                <a:cubicBezTo>
                  <a:pt x="349" y="101"/>
                  <a:pt x="349" y="101"/>
                  <a:pt x="349" y="101"/>
                </a:cubicBezTo>
                <a:cubicBezTo>
                  <a:pt x="348" y="102"/>
                  <a:pt x="348" y="102"/>
                  <a:pt x="348" y="102"/>
                </a:cubicBezTo>
                <a:cubicBezTo>
                  <a:pt x="349" y="103"/>
                  <a:pt x="349" y="103"/>
                  <a:pt x="349" y="103"/>
                </a:cubicBezTo>
                <a:cubicBezTo>
                  <a:pt x="350" y="104"/>
                  <a:pt x="350" y="104"/>
                  <a:pt x="350" y="104"/>
                </a:cubicBezTo>
                <a:cubicBezTo>
                  <a:pt x="351" y="106"/>
                  <a:pt x="351" y="106"/>
                  <a:pt x="351" y="106"/>
                </a:cubicBezTo>
                <a:cubicBezTo>
                  <a:pt x="352" y="106"/>
                  <a:pt x="352" y="106"/>
                  <a:pt x="352" y="106"/>
                </a:cubicBezTo>
                <a:cubicBezTo>
                  <a:pt x="352" y="107"/>
                  <a:pt x="352" y="107"/>
                  <a:pt x="352" y="107"/>
                </a:cubicBezTo>
                <a:cubicBezTo>
                  <a:pt x="350" y="107"/>
                  <a:pt x="350" y="107"/>
                  <a:pt x="350" y="107"/>
                </a:cubicBezTo>
                <a:cubicBezTo>
                  <a:pt x="350" y="108"/>
                  <a:pt x="350" y="108"/>
                  <a:pt x="350" y="108"/>
                </a:cubicBezTo>
                <a:cubicBezTo>
                  <a:pt x="352" y="110"/>
                  <a:pt x="352" y="110"/>
                  <a:pt x="352" y="110"/>
                </a:cubicBezTo>
                <a:cubicBezTo>
                  <a:pt x="353" y="110"/>
                  <a:pt x="353" y="110"/>
                  <a:pt x="353" y="110"/>
                </a:cubicBezTo>
                <a:cubicBezTo>
                  <a:pt x="353" y="111"/>
                  <a:pt x="353" y="111"/>
                  <a:pt x="353" y="111"/>
                </a:cubicBezTo>
                <a:cubicBezTo>
                  <a:pt x="353" y="111"/>
                  <a:pt x="353" y="111"/>
                  <a:pt x="353" y="111"/>
                </a:cubicBezTo>
                <a:cubicBezTo>
                  <a:pt x="351" y="111"/>
                  <a:pt x="351" y="111"/>
                  <a:pt x="351" y="111"/>
                </a:cubicBezTo>
                <a:cubicBezTo>
                  <a:pt x="351" y="111"/>
                  <a:pt x="351" y="111"/>
                  <a:pt x="351" y="111"/>
                </a:cubicBezTo>
                <a:cubicBezTo>
                  <a:pt x="350" y="112"/>
                  <a:pt x="350" y="112"/>
                  <a:pt x="350" y="112"/>
                </a:cubicBezTo>
                <a:cubicBezTo>
                  <a:pt x="350" y="113"/>
                  <a:pt x="350" y="113"/>
                  <a:pt x="350" y="113"/>
                </a:cubicBezTo>
                <a:cubicBezTo>
                  <a:pt x="351" y="112"/>
                  <a:pt x="351" y="112"/>
                  <a:pt x="351" y="112"/>
                </a:cubicBezTo>
                <a:cubicBezTo>
                  <a:pt x="352" y="113"/>
                  <a:pt x="352" y="113"/>
                  <a:pt x="352" y="113"/>
                </a:cubicBezTo>
                <a:cubicBezTo>
                  <a:pt x="354" y="112"/>
                  <a:pt x="354" y="112"/>
                  <a:pt x="354" y="112"/>
                </a:cubicBezTo>
                <a:cubicBezTo>
                  <a:pt x="354" y="113"/>
                  <a:pt x="354" y="113"/>
                  <a:pt x="354" y="113"/>
                </a:cubicBezTo>
                <a:cubicBezTo>
                  <a:pt x="356" y="113"/>
                  <a:pt x="356" y="113"/>
                  <a:pt x="356" y="113"/>
                </a:cubicBezTo>
                <a:cubicBezTo>
                  <a:pt x="356" y="114"/>
                  <a:pt x="356" y="114"/>
                  <a:pt x="356" y="114"/>
                </a:cubicBezTo>
                <a:cubicBezTo>
                  <a:pt x="357" y="115"/>
                  <a:pt x="357" y="115"/>
                  <a:pt x="357" y="115"/>
                </a:cubicBezTo>
                <a:cubicBezTo>
                  <a:pt x="358" y="115"/>
                  <a:pt x="358" y="115"/>
                  <a:pt x="358" y="115"/>
                </a:cubicBezTo>
                <a:cubicBezTo>
                  <a:pt x="358" y="114"/>
                  <a:pt x="358" y="114"/>
                  <a:pt x="358" y="114"/>
                </a:cubicBezTo>
                <a:cubicBezTo>
                  <a:pt x="359" y="115"/>
                  <a:pt x="359" y="115"/>
                  <a:pt x="359" y="115"/>
                </a:cubicBezTo>
                <a:cubicBezTo>
                  <a:pt x="360" y="114"/>
                  <a:pt x="360" y="114"/>
                  <a:pt x="360" y="114"/>
                </a:cubicBezTo>
                <a:cubicBezTo>
                  <a:pt x="361" y="114"/>
                  <a:pt x="361" y="114"/>
                  <a:pt x="361" y="114"/>
                </a:cubicBezTo>
                <a:cubicBezTo>
                  <a:pt x="361" y="115"/>
                  <a:pt x="361" y="115"/>
                  <a:pt x="361" y="115"/>
                </a:cubicBezTo>
                <a:cubicBezTo>
                  <a:pt x="360" y="116"/>
                  <a:pt x="360" y="116"/>
                  <a:pt x="360" y="116"/>
                </a:cubicBezTo>
                <a:cubicBezTo>
                  <a:pt x="360" y="119"/>
                  <a:pt x="360" y="119"/>
                  <a:pt x="360" y="119"/>
                </a:cubicBezTo>
                <a:cubicBezTo>
                  <a:pt x="360" y="120"/>
                  <a:pt x="360" y="120"/>
                  <a:pt x="360" y="120"/>
                </a:cubicBezTo>
                <a:cubicBezTo>
                  <a:pt x="360" y="121"/>
                  <a:pt x="360" y="121"/>
                  <a:pt x="360" y="121"/>
                </a:cubicBezTo>
                <a:cubicBezTo>
                  <a:pt x="361" y="122"/>
                  <a:pt x="361" y="122"/>
                  <a:pt x="361" y="122"/>
                </a:cubicBezTo>
                <a:cubicBezTo>
                  <a:pt x="360" y="124"/>
                  <a:pt x="360" y="124"/>
                  <a:pt x="360" y="124"/>
                </a:cubicBezTo>
                <a:cubicBezTo>
                  <a:pt x="360" y="125"/>
                  <a:pt x="360" y="125"/>
                  <a:pt x="360" y="125"/>
                </a:cubicBezTo>
                <a:cubicBezTo>
                  <a:pt x="360" y="126"/>
                  <a:pt x="360" y="126"/>
                  <a:pt x="360" y="126"/>
                </a:cubicBezTo>
                <a:cubicBezTo>
                  <a:pt x="358" y="127"/>
                  <a:pt x="358" y="127"/>
                  <a:pt x="358" y="127"/>
                </a:cubicBezTo>
                <a:cubicBezTo>
                  <a:pt x="357" y="128"/>
                  <a:pt x="357" y="128"/>
                  <a:pt x="357" y="128"/>
                </a:cubicBezTo>
                <a:cubicBezTo>
                  <a:pt x="356" y="129"/>
                  <a:pt x="356" y="129"/>
                  <a:pt x="356" y="129"/>
                </a:cubicBezTo>
                <a:cubicBezTo>
                  <a:pt x="355" y="130"/>
                  <a:pt x="355" y="130"/>
                  <a:pt x="355" y="130"/>
                </a:cubicBezTo>
                <a:cubicBezTo>
                  <a:pt x="355" y="131"/>
                  <a:pt x="355" y="131"/>
                  <a:pt x="355" y="131"/>
                </a:cubicBezTo>
                <a:cubicBezTo>
                  <a:pt x="354" y="132"/>
                  <a:pt x="354" y="132"/>
                  <a:pt x="354" y="132"/>
                </a:cubicBezTo>
                <a:cubicBezTo>
                  <a:pt x="353" y="133"/>
                  <a:pt x="353" y="133"/>
                  <a:pt x="353" y="133"/>
                </a:cubicBezTo>
                <a:cubicBezTo>
                  <a:pt x="353" y="134"/>
                  <a:pt x="353" y="134"/>
                  <a:pt x="353" y="134"/>
                </a:cubicBezTo>
                <a:cubicBezTo>
                  <a:pt x="354" y="135"/>
                  <a:pt x="354" y="135"/>
                  <a:pt x="354" y="135"/>
                </a:cubicBezTo>
                <a:cubicBezTo>
                  <a:pt x="354" y="136"/>
                  <a:pt x="354" y="136"/>
                  <a:pt x="354" y="136"/>
                </a:cubicBezTo>
                <a:cubicBezTo>
                  <a:pt x="353" y="136"/>
                  <a:pt x="353" y="136"/>
                  <a:pt x="353" y="136"/>
                </a:cubicBezTo>
                <a:cubicBezTo>
                  <a:pt x="353" y="137"/>
                  <a:pt x="353" y="137"/>
                  <a:pt x="353" y="137"/>
                </a:cubicBezTo>
                <a:cubicBezTo>
                  <a:pt x="354" y="138"/>
                  <a:pt x="354" y="138"/>
                  <a:pt x="354" y="138"/>
                </a:cubicBezTo>
                <a:cubicBezTo>
                  <a:pt x="353" y="139"/>
                  <a:pt x="353" y="139"/>
                  <a:pt x="353" y="139"/>
                </a:cubicBezTo>
                <a:cubicBezTo>
                  <a:pt x="352" y="140"/>
                  <a:pt x="352" y="140"/>
                  <a:pt x="352" y="140"/>
                </a:cubicBezTo>
                <a:cubicBezTo>
                  <a:pt x="353" y="141"/>
                  <a:pt x="353" y="141"/>
                  <a:pt x="353" y="141"/>
                </a:cubicBezTo>
                <a:cubicBezTo>
                  <a:pt x="354" y="141"/>
                  <a:pt x="354" y="141"/>
                  <a:pt x="354" y="141"/>
                </a:cubicBezTo>
                <a:cubicBezTo>
                  <a:pt x="354" y="142"/>
                  <a:pt x="354" y="142"/>
                  <a:pt x="354" y="142"/>
                </a:cubicBezTo>
                <a:cubicBezTo>
                  <a:pt x="355" y="143"/>
                  <a:pt x="355" y="143"/>
                  <a:pt x="355" y="143"/>
                </a:cubicBezTo>
                <a:cubicBezTo>
                  <a:pt x="355" y="143"/>
                  <a:pt x="355" y="143"/>
                  <a:pt x="355" y="143"/>
                </a:cubicBezTo>
                <a:cubicBezTo>
                  <a:pt x="355" y="142"/>
                  <a:pt x="355" y="142"/>
                  <a:pt x="355" y="142"/>
                </a:cubicBezTo>
                <a:cubicBezTo>
                  <a:pt x="356" y="141"/>
                  <a:pt x="356" y="141"/>
                  <a:pt x="356" y="141"/>
                </a:cubicBezTo>
                <a:cubicBezTo>
                  <a:pt x="356" y="142"/>
                  <a:pt x="356" y="142"/>
                  <a:pt x="356" y="142"/>
                </a:cubicBezTo>
                <a:cubicBezTo>
                  <a:pt x="357" y="142"/>
                  <a:pt x="357" y="142"/>
                  <a:pt x="357" y="142"/>
                </a:cubicBezTo>
                <a:cubicBezTo>
                  <a:pt x="358" y="140"/>
                  <a:pt x="358" y="140"/>
                  <a:pt x="358" y="140"/>
                </a:cubicBezTo>
                <a:cubicBezTo>
                  <a:pt x="359" y="141"/>
                  <a:pt x="359" y="141"/>
                  <a:pt x="359" y="141"/>
                </a:cubicBezTo>
                <a:cubicBezTo>
                  <a:pt x="358" y="142"/>
                  <a:pt x="358" y="142"/>
                  <a:pt x="358" y="142"/>
                </a:cubicBezTo>
                <a:cubicBezTo>
                  <a:pt x="357" y="142"/>
                  <a:pt x="357" y="142"/>
                  <a:pt x="357" y="142"/>
                </a:cubicBezTo>
                <a:cubicBezTo>
                  <a:pt x="357" y="143"/>
                  <a:pt x="357" y="143"/>
                  <a:pt x="357" y="143"/>
                </a:cubicBezTo>
                <a:cubicBezTo>
                  <a:pt x="357" y="144"/>
                  <a:pt x="357" y="144"/>
                  <a:pt x="357" y="144"/>
                </a:cubicBezTo>
                <a:cubicBezTo>
                  <a:pt x="357" y="144"/>
                  <a:pt x="357" y="144"/>
                  <a:pt x="357" y="144"/>
                </a:cubicBezTo>
                <a:cubicBezTo>
                  <a:pt x="358" y="146"/>
                  <a:pt x="358" y="146"/>
                  <a:pt x="358" y="146"/>
                </a:cubicBezTo>
                <a:cubicBezTo>
                  <a:pt x="360" y="145"/>
                  <a:pt x="360" y="145"/>
                  <a:pt x="360" y="145"/>
                </a:cubicBezTo>
                <a:cubicBezTo>
                  <a:pt x="360" y="146"/>
                  <a:pt x="360" y="146"/>
                  <a:pt x="360" y="146"/>
                </a:cubicBezTo>
                <a:cubicBezTo>
                  <a:pt x="361" y="146"/>
                  <a:pt x="361" y="146"/>
                  <a:pt x="361" y="146"/>
                </a:cubicBezTo>
                <a:cubicBezTo>
                  <a:pt x="362" y="145"/>
                  <a:pt x="362" y="145"/>
                  <a:pt x="362" y="145"/>
                </a:cubicBezTo>
                <a:cubicBezTo>
                  <a:pt x="364" y="145"/>
                  <a:pt x="364" y="145"/>
                  <a:pt x="364" y="145"/>
                </a:cubicBezTo>
                <a:cubicBezTo>
                  <a:pt x="363" y="143"/>
                  <a:pt x="363" y="143"/>
                  <a:pt x="363" y="143"/>
                </a:cubicBezTo>
                <a:cubicBezTo>
                  <a:pt x="364" y="143"/>
                  <a:pt x="364" y="143"/>
                  <a:pt x="364" y="143"/>
                </a:cubicBezTo>
                <a:cubicBezTo>
                  <a:pt x="365" y="143"/>
                  <a:pt x="365" y="143"/>
                  <a:pt x="365" y="143"/>
                </a:cubicBezTo>
                <a:cubicBezTo>
                  <a:pt x="365" y="144"/>
                  <a:pt x="365" y="144"/>
                  <a:pt x="365" y="144"/>
                </a:cubicBezTo>
                <a:cubicBezTo>
                  <a:pt x="365" y="144"/>
                  <a:pt x="365" y="144"/>
                  <a:pt x="365" y="144"/>
                </a:cubicBezTo>
                <a:cubicBezTo>
                  <a:pt x="365" y="145"/>
                  <a:pt x="365" y="145"/>
                  <a:pt x="365" y="145"/>
                </a:cubicBezTo>
                <a:cubicBezTo>
                  <a:pt x="365" y="145"/>
                  <a:pt x="365" y="145"/>
                  <a:pt x="365" y="145"/>
                </a:cubicBezTo>
                <a:cubicBezTo>
                  <a:pt x="366" y="143"/>
                  <a:pt x="366" y="143"/>
                  <a:pt x="366" y="143"/>
                </a:cubicBezTo>
                <a:cubicBezTo>
                  <a:pt x="367" y="143"/>
                  <a:pt x="367" y="143"/>
                  <a:pt x="367" y="143"/>
                </a:cubicBezTo>
                <a:cubicBezTo>
                  <a:pt x="367" y="143"/>
                  <a:pt x="367" y="143"/>
                  <a:pt x="367" y="143"/>
                </a:cubicBezTo>
                <a:cubicBezTo>
                  <a:pt x="367" y="145"/>
                  <a:pt x="367" y="145"/>
                  <a:pt x="367" y="145"/>
                </a:cubicBezTo>
                <a:cubicBezTo>
                  <a:pt x="365" y="147"/>
                  <a:pt x="365" y="147"/>
                  <a:pt x="365" y="147"/>
                </a:cubicBezTo>
                <a:cubicBezTo>
                  <a:pt x="365" y="147"/>
                  <a:pt x="365" y="147"/>
                  <a:pt x="365" y="147"/>
                </a:cubicBezTo>
                <a:cubicBezTo>
                  <a:pt x="365" y="148"/>
                  <a:pt x="365" y="148"/>
                  <a:pt x="365" y="148"/>
                </a:cubicBezTo>
                <a:cubicBezTo>
                  <a:pt x="366" y="149"/>
                  <a:pt x="366" y="149"/>
                  <a:pt x="366" y="149"/>
                </a:cubicBezTo>
                <a:cubicBezTo>
                  <a:pt x="367" y="150"/>
                  <a:pt x="367" y="150"/>
                  <a:pt x="367" y="150"/>
                </a:cubicBezTo>
                <a:cubicBezTo>
                  <a:pt x="368" y="150"/>
                  <a:pt x="368" y="150"/>
                  <a:pt x="368" y="150"/>
                </a:cubicBezTo>
                <a:cubicBezTo>
                  <a:pt x="368" y="150"/>
                  <a:pt x="368" y="150"/>
                  <a:pt x="368" y="150"/>
                </a:cubicBezTo>
                <a:cubicBezTo>
                  <a:pt x="370" y="150"/>
                  <a:pt x="370" y="150"/>
                  <a:pt x="370" y="150"/>
                </a:cubicBezTo>
                <a:cubicBezTo>
                  <a:pt x="370" y="149"/>
                  <a:pt x="370" y="149"/>
                  <a:pt x="370" y="149"/>
                </a:cubicBezTo>
                <a:cubicBezTo>
                  <a:pt x="371" y="149"/>
                  <a:pt x="371" y="149"/>
                  <a:pt x="371" y="149"/>
                </a:cubicBezTo>
                <a:cubicBezTo>
                  <a:pt x="371" y="150"/>
                  <a:pt x="371" y="150"/>
                  <a:pt x="371" y="150"/>
                </a:cubicBezTo>
                <a:cubicBezTo>
                  <a:pt x="371" y="151"/>
                  <a:pt x="371" y="151"/>
                  <a:pt x="371" y="151"/>
                </a:cubicBezTo>
                <a:cubicBezTo>
                  <a:pt x="372" y="151"/>
                  <a:pt x="372" y="151"/>
                  <a:pt x="372" y="151"/>
                </a:cubicBezTo>
                <a:cubicBezTo>
                  <a:pt x="373" y="151"/>
                  <a:pt x="373" y="151"/>
                  <a:pt x="373" y="151"/>
                </a:cubicBezTo>
                <a:cubicBezTo>
                  <a:pt x="374" y="151"/>
                  <a:pt x="374" y="151"/>
                  <a:pt x="374" y="151"/>
                </a:cubicBezTo>
                <a:cubicBezTo>
                  <a:pt x="373" y="150"/>
                  <a:pt x="373" y="150"/>
                  <a:pt x="373" y="150"/>
                </a:cubicBezTo>
                <a:cubicBezTo>
                  <a:pt x="373" y="149"/>
                  <a:pt x="373" y="149"/>
                  <a:pt x="373" y="149"/>
                </a:cubicBezTo>
                <a:cubicBezTo>
                  <a:pt x="374" y="148"/>
                  <a:pt x="374" y="148"/>
                  <a:pt x="374" y="148"/>
                </a:cubicBezTo>
                <a:cubicBezTo>
                  <a:pt x="374" y="149"/>
                  <a:pt x="374" y="149"/>
                  <a:pt x="374" y="149"/>
                </a:cubicBezTo>
                <a:cubicBezTo>
                  <a:pt x="374" y="150"/>
                  <a:pt x="374" y="150"/>
                  <a:pt x="374" y="150"/>
                </a:cubicBezTo>
                <a:cubicBezTo>
                  <a:pt x="374" y="151"/>
                  <a:pt x="374" y="151"/>
                  <a:pt x="374" y="151"/>
                </a:cubicBezTo>
                <a:cubicBezTo>
                  <a:pt x="375" y="151"/>
                  <a:pt x="375" y="151"/>
                  <a:pt x="375" y="151"/>
                </a:cubicBezTo>
                <a:cubicBezTo>
                  <a:pt x="375" y="150"/>
                  <a:pt x="375" y="150"/>
                  <a:pt x="375" y="150"/>
                </a:cubicBezTo>
                <a:cubicBezTo>
                  <a:pt x="376" y="150"/>
                  <a:pt x="376" y="150"/>
                  <a:pt x="376" y="150"/>
                </a:cubicBezTo>
                <a:cubicBezTo>
                  <a:pt x="377" y="149"/>
                  <a:pt x="377" y="149"/>
                  <a:pt x="377" y="149"/>
                </a:cubicBezTo>
                <a:cubicBezTo>
                  <a:pt x="377" y="150"/>
                  <a:pt x="377" y="150"/>
                  <a:pt x="377" y="150"/>
                </a:cubicBezTo>
                <a:cubicBezTo>
                  <a:pt x="376" y="151"/>
                  <a:pt x="376" y="151"/>
                  <a:pt x="376" y="151"/>
                </a:cubicBezTo>
                <a:cubicBezTo>
                  <a:pt x="376" y="152"/>
                  <a:pt x="376" y="152"/>
                  <a:pt x="376" y="152"/>
                </a:cubicBezTo>
                <a:cubicBezTo>
                  <a:pt x="378" y="152"/>
                  <a:pt x="378" y="152"/>
                  <a:pt x="378" y="152"/>
                </a:cubicBezTo>
                <a:cubicBezTo>
                  <a:pt x="379" y="151"/>
                  <a:pt x="379" y="151"/>
                  <a:pt x="379" y="151"/>
                </a:cubicBezTo>
                <a:cubicBezTo>
                  <a:pt x="380" y="149"/>
                  <a:pt x="380" y="149"/>
                  <a:pt x="380" y="149"/>
                </a:cubicBezTo>
                <a:cubicBezTo>
                  <a:pt x="380" y="150"/>
                  <a:pt x="380" y="150"/>
                  <a:pt x="380" y="150"/>
                </a:cubicBezTo>
                <a:cubicBezTo>
                  <a:pt x="379" y="151"/>
                  <a:pt x="379" y="151"/>
                  <a:pt x="379" y="151"/>
                </a:cubicBezTo>
                <a:cubicBezTo>
                  <a:pt x="379" y="152"/>
                  <a:pt x="379" y="152"/>
                  <a:pt x="379" y="152"/>
                </a:cubicBezTo>
                <a:cubicBezTo>
                  <a:pt x="381" y="151"/>
                  <a:pt x="381" y="151"/>
                  <a:pt x="381" y="151"/>
                </a:cubicBezTo>
                <a:cubicBezTo>
                  <a:pt x="381" y="150"/>
                  <a:pt x="381" y="150"/>
                  <a:pt x="381" y="150"/>
                </a:cubicBezTo>
                <a:cubicBezTo>
                  <a:pt x="382" y="149"/>
                  <a:pt x="382" y="149"/>
                  <a:pt x="382" y="149"/>
                </a:cubicBezTo>
                <a:cubicBezTo>
                  <a:pt x="381" y="152"/>
                  <a:pt x="381" y="152"/>
                  <a:pt x="381" y="152"/>
                </a:cubicBezTo>
                <a:cubicBezTo>
                  <a:pt x="382" y="152"/>
                  <a:pt x="382" y="152"/>
                  <a:pt x="382" y="152"/>
                </a:cubicBezTo>
                <a:cubicBezTo>
                  <a:pt x="383" y="153"/>
                  <a:pt x="383" y="153"/>
                  <a:pt x="383" y="153"/>
                </a:cubicBezTo>
                <a:cubicBezTo>
                  <a:pt x="385" y="154"/>
                  <a:pt x="385" y="154"/>
                  <a:pt x="385" y="154"/>
                </a:cubicBezTo>
                <a:cubicBezTo>
                  <a:pt x="386" y="153"/>
                  <a:pt x="386" y="153"/>
                  <a:pt x="386" y="153"/>
                </a:cubicBezTo>
                <a:cubicBezTo>
                  <a:pt x="386" y="153"/>
                  <a:pt x="386" y="153"/>
                  <a:pt x="386" y="153"/>
                </a:cubicBezTo>
                <a:cubicBezTo>
                  <a:pt x="387" y="154"/>
                  <a:pt x="387" y="154"/>
                  <a:pt x="387" y="154"/>
                </a:cubicBezTo>
                <a:cubicBezTo>
                  <a:pt x="388" y="153"/>
                  <a:pt x="388" y="153"/>
                  <a:pt x="388" y="153"/>
                </a:cubicBezTo>
                <a:cubicBezTo>
                  <a:pt x="389" y="153"/>
                  <a:pt x="389" y="153"/>
                  <a:pt x="389" y="153"/>
                </a:cubicBezTo>
                <a:cubicBezTo>
                  <a:pt x="389" y="151"/>
                  <a:pt x="389" y="151"/>
                  <a:pt x="389" y="151"/>
                </a:cubicBezTo>
                <a:cubicBezTo>
                  <a:pt x="390" y="150"/>
                  <a:pt x="390" y="150"/>
                  <a:pt x="390" y="150"/>
                </a:cubicBezTo>
                <a:cubicBezTo>
                  <a:pt x="391" y="149"/>
                  <a:pt x="391" y="149"/>
                  <a:pt x="391" y="149"/>
                </a:cubicBezTo>
                <a:cubicBezTo>
                  <a:pt x="390" y="148"/>
                  <a:pt x="390" y="148"/>
                  <a:pt x="390" y="148"/>
                </a:cubicBezTo>
                <a:cubicBezTo>
                  <a:pt x="391" y="147"/>
                  <a:pt x="391" y="147"/>
                  <a:pt x="391" y="147"/>
                </a:cubicBezTo>
                <a:cubicBezTo>
                  <a:pt x="391" y="147"/>
                  <a:pt x="391" y="147"/>
                  <a:pt x="391" y="147"/>
                </a:cubicBezTo>
                <a:cubicBezTo>
                  <a:pt x="391" y="149"/>
                  <a:pt x="391" y="149"/>
                  <a:pt x="391" y="149"/>
                </a:cubicBezTo>
                <a:cubicBezTo>
                  <a:pt x="392" y="149"/>
                  <a:pt x="392" y="149"/>
                  <a:pt x="392" y="149"/>
                </a:cubicBezTo>
                <a:cubicBezTo>
                  <a:pt x="392" y="150"/>
                  <a:pt x="392" y="150"/>
                  <a:pt x="392" y="150"/>
                </a:cubicBezTo>
                <a:cubicBezTo>
                  <a:pt x="391" y="150"/>
                  <a:pt x="391" y="150"/>
                  <a:pt x="391" y="150"/>
                </a:cubicBezTo>
                <a:cubicBezTo>
                  <a:pt x="390" y="152"/>
                  <a:pt x="390" y="152"/>
                  <a:pt x="390" y="152"/>
                </a:cubicBezTo>
                <a:cubicBezTo>
                  <a:pt x="391" y="155"/>
                  <a:pt x="391" y="155"/>
                  <a:pt x="391" y="155"/>
                </a:cubicBezTo>
                <a:close/>
                <a:moveTo>
                  <a:pt x="348" y="98"/>
                </a:moveTo>
                <a:cubicBezTo>
                  <a:pt x="349" y="98"/>
                  <a:pt x="349" y="98"/>
                  <a:pt x="349" y="98"/>
                </a:cubicBezTo>
                <a:cubicBezTo>
                  <a:pt x="349" y="97"/>
                  <a:pt x="349" y="97"/>
                  <a:pt x="349" y="97"/>
                </a:cubicBezTo>
                <a:cubicBezTo>
                  <a:pt x="348" y="97"/>
                  <a:pt x="348" y="97"/>
                  <a:pt x="348" y="97"/>
                </a:cubicBezTo>
                <a:cubicBezTo>
                  <a:pt x="347" y="97"/>
                  <a:pt x="347" y="97"/>
                  <a:pt x="347" y="97"/>
                </a:cubicBezTo>
                <a:cubicBezTo>
                  <a:pt x="348" y="98"/>
                  <a:pt x="348" y="98"/>
                  <a:pt x="348" y="98"/>
                </a:cubicBezTo>
                <a:close/>
                <a:moveTo>
                  <a:pt x="345" y="106"/>
                </a:moveTo>
                <a:cubicBezTo>
                  <a:pt x="346" y="105"/>
                  <a:pt x="346" y="105"/>
                  <a:pt x="346" y="105"/>
                </a:cubicBezTo>
                <a:cubicBezTo>
                  <a:pt x="347" y="104"/>
                  <a:pt x="347" y="104"/>
                  <a:pt x="347" y="104"/>
                </a:cubicBezTo>
                <a:cubicBezTo>
                  <a:pt x="347" y="105"/>
                  <a:pt x="347" y="105"/>
                  <a:pt x="347" y="105"/>
                </a:cubicBezTo>
                <a:cubicBezTo>
                  <a:pt x="346" y="105"/>
                  <a:pt x="346" y="105"/>
                  <a:pt x="346" y="105"/>
                </a:cubicBezTo>
                <a:cubicBezTo>
                  <a:pt x="345" y="106"/>
                  <a:pt x="345" y="106"/>
                  <a:pt x="345" y="106"/>
                </a:cubicBezTo>
                <a:close/>
                <a:moveTo>
                  <a:pt x="315" y="116"/>
                </a:moveTo>
                <a:cubicBezTo>
                  <a:pt x="315" y="117"/>
                  <a:pt x="315" y="117"/>
                  <a:pt x="315" y="117"/>
                </a:cubicBezTo>
                <a:cubicBezTo>
                  <a:pt x="315" y="118"/>
                  <a:pt x="315" y="118"/>
                  <a:pt x="315" y="118"/>
                </a:cubicBezTo>
                <a:cubicBezTo>
                  <a:pt x="316" y="117"/>
                  <a:pt x="316" y="117"/>
                  <a:pt x="316" y="117"/>
                </a:cubicBezTo>
                <a:cubicBezTo>
                  <a:pt x="315" y="116"/>
                  <a:pt x="315" y="116"/>
                  <a:pt x="315" y="116"/>
                </a:cubicBezTo>
                <a:close/>
                <a:moveTo>
                  <a:pt x="335" y="97"/>
                </a:moveTo>
                <a:cubicBezTo>
                  <a:pt x="335" y="98"/>
                  <a:pt x="335" y="98"/>
                  <a:pt x="335" y="98"/>
                </a:cubicBezTo>
                <a:cubicBezTo>
                  <a:pt x="336" y="99"/>
                  <a:pt x="336" y="99"/>
                  <a:pt x="336" y="99"/>
                </a:cubicBezTo>
                <a:cubicBezTo>
                  <a:pt x="336" y="100"/>
                  <a:pt x="336" y="100"/>
                  <a:pt x="336" y="100"/>
                </a:cubicBezTo>
                <a:cubicBezTo>
                  <a:pt x="336" y="99"/>
                  <a:pt x="336" y="99"/>
                  <a:pt x="336" y="99"/>
                </a:cubicBezTo>
                <a:cubicBezTo>
                  <a:pt x="336" y="98"/>
                  <a:pt x="336" y="98"/>
                  <a:pt x="336" y="98"/>
                </a:cubicBezTo>
                <a:cubicBezTo>
                  <a:pt x="335" y="97"/>
                  <a:pt x="335" y="97"/>
                  <a:pt x="335" y="97"/>
                </a:cubicBezTo>
                <a:cubicBezTo>
                  <a:pt x="335" y="97"/>
                  <a:pt x="335" y="97"/>
                  <a:pt x="335" y="97"/>
                </a:cubicBezTo>
                <a:close/>
                <a:moveTo>
                  <a:pt x="325" y="98"/>
                </a:moveTo>
                <a:cubicBezTo>
                  <a:pt x="325" y="99"/>
                  <a:pt x="325" y="99"/>
                  <a:pt x="325" y="99"/>
                </a:cubicBezTo>
                <a:cubicBezTo>
                  <a:pt x="326" y="99"/>
                  <a:pt x="326" y="99"/>
                  <a:pt x="326" y="99"/>
                </a:cubicBezTo>
                <a:cubicBezTo>
                  <a:pt x="327" y="99"/>
                  <a:pt x="327" y="99"/>
                  <a:pt x="327" y="99"/>
                </a:cubicBezTo>
                <a:cubicBezTo>
                  <a:pt x="328" y="98"/>
                  <a:pt x="328" y="98"/>
                  <a:pt x="328" y="98"/>
                </a:cubicBezTo>
                <a:cubicBezTo>
                  <a:pt x="329" y="99"/>
                  <a:pt x="329" y="99"/>
                  <a:pt x="329" y="99"/>
                </a:cubicBezTo>
                <a:cubicBezTo>
                  <a:pt x="331" y="97"/>
                  <a:pt x="331" y="97"/>
                  <a:pt x="331" y="97"/>
                </a:cubicBezTo>
                <a:cubicBezTo>
                  <a:pt x="332" y="97"/>
                  <a:pt x="332" y="97"/>
                  <a:pt x="332" y="97"/>
                </a:cubicBezTo>
                <a:cubicBezTo>
                  <a:pt x="333" y="97"/>
                  <a:pt x="333" y="97"/>
                  <a:pt x="333" y="97"/>
                </a:cubicBezTo>
                <a:cubicBezTo>
                  <a:pt x="333" y="97"/>
                  <a:pt x="333" y="97"/>
                  <a:pt x="333" y="97"/>
                </a:cubicBezTo>
                <a:cubicBezTo>
                  <a:pt x="331" y="96"/>
                  <a:pt x="331" y="96"/>
                  <a:pt x="331" y="96"/>
                </a:cubicBezTo>
                <a:cubicBezTo>
                  <a:pt x="329" y="97"/>
                  <a:pt x="329" y="97"/>
                  <a:pt x="329" y="97"/>
                </a:cubicBezTo>
                <a:cubicBezTo>
                  <a:pt x="329" y="97"/>
                  <a:pt x="328" y="97"/>
                  <a:pt x="328" y="97"/>
                </a:cubicBezTo>
                <a:cubicBezTo>
                  <a:pt x="328" y="97"/>
                  <a:pt x="327" y="97"/>
                  <a:pt x="327" y="97"/>
                </a:cubicBezTo>
                <a:cubicBezTo>
                  <a:pt x="326" y="97"/>
                  <a:pt x="326" y="97"/>
                  <a:pt x="326" y="97"/>
                </a:cubicBezTo>
                <a:cubicBezTo>
                  <a:pt x="325" y="98"/>
                  <a:pt x="325" y="98"/>
                  <a:pt x="325" y="98"/>
                </a:cubicBezTo>
                <a:close/>
                <a:moveTo>
                  <a:pt x="316" y="101"/>
                </a:moveTo>
                <a:cubicBezTo>
                  <a:pt x="315" y="100"/>
                  <a:pt x="315" y="100"/>
                  <a:pt x="315" y="100"/>
                </a:cubicBezTo>
                <a:cubicBezTo>
                  <a:pt x="313" y="100"/>
                  <a:pt x="313" y="100"/>
                  <a:pt x="313" y="100"/>
                </a:cubicBezTo>
                <a:cubicBezTo>
                  <a:pt x="312" y="100"/>
                  <a:pt x="312" y="100"/>
                  <a:pt x="312" y="100"/>
                </a:cubicBezTo>
                <a:cubicBezTo>
                  <a:pt x="312" y="98"/>
                  <a:pt x="312" y="98"/>
                  <a:pt x="312" y="98"/>
                </a:cubicBezTo>
                <a:cubicBezTo>
                  <a:pt x="313" y="97"/>
                  <a:pt x="313" y="97"/>
                  <a:pt x="313" y="97"/>
                </a:cubicBezTo>
                <a:cubicBezTo>
                  <a:pt x="313" y="96"/>
                  <a:pt x="313" y="96"/>
                  <a:pt x="313" y="96"/>
                </a:cubicBezTo>
                <a:cubicBezTo>
                  <a:pt x="313" y="96"/>
                  <a:pt x="313" y="96"/>
                  <a:pt x="313" y="96"/>
                </a:cubicBezTo>
                <a:cubicBezTo>
                  <a:pt x="313" y="95"/>
                  <a:pt x="313" y="95"/>
                  <a:pt x="313" y="95"/>
                </a:cubicBezTo>
                <a:cubicBezTo>
                  <a:pt x="314" y="94"/>
                  <a:pt x="314" y="94"/>
                  <a:pt x="314" y="94"/>
                </a:cubicBezTo>
                <a:cubicBezTo>
                  <a:pt x="315" y="94"/>
                  <a:pt x="315" y="94"/>
                  <a:pt x="315" y="94"/>
                </a:cubicBezTo>
                <a:cubicBezTo>
                  <a:pt x="316" y="94"/>
                  <a:pt x="316" y="94"/>
                  <a:pt x="316" y="94"/>
                </a:cubicBezTo>
                <a:cubicBezTo>
                  <a:pt x="316" y="95"/>
                  <a:pt x="316" y="95"/>
                  <a:pt x="316" y="95"/>
                </a:cubicBezTo>
                <a:cubicBezTo>
                  <a:pt x="316" y="95"/>
                  <a:pt x="316" y="95"/>
                  <a:pt x="316" y="95"/>
                </a:cubicBezTo>
                <a:cubicBezTo>
                  <a:pt x="316" y="96"/>
                  <a:pt x="316" y="96"/>
                  <a:pt x="316" y="96"/>
                </a:cubicBezTo>
                <a:cubicBezTo>
                  <a:pt x="315" y="96"/>
                  <a:pt x="315" y="96"/>
                  <a:pt x="315" y="96"/>
                </a:cubicBezTo>
                <a:cubicBezTo>
                  <a:pt x="316" y="96"/>
                  <a:pt x="316" y="96"/>
                  <a:pt x="316" y="96"/>
                </a:cubicBezTo>
                <a:cubicBezTo>
                  <a:pt x="317" y="96"/>
                  <a:pt x="317" y="96"/>
                  <a:pt x="317" y="96"/>
                </a:cubicBezTo>
                <a:cubicBezTo>
                  <a:pt x="317" y="97"/>
                  <a:pt x="317" y="97"/>
                  <a:pt x="317" y="97"/>
                </a:cubicBezTo>
                <a:cubicBezTo>
                  <a:pt x="317" y="98"/>
                  <a:pt x="317" y="98"/>
                  <a:pt x="317" y="98"/>
                </a:cubicBezTo>
                <a:cubicBezTo>
                  <a:pt x="317" y="99"/>
                  <a:pt x="317" y="99"/>
                  <a:pt x="317" y="99"/>
                </a:cubicBezTo>
                <a:cubicBezTo>
                  <a:pt x="317" y="100"/>
                  <a:pt x="317" y="100"/>
                  <a:pt x="317" y="100"/>
                </a:cubicBezTo>
                <a:cubicBezTo>
                  <a:pt x="317" y="101"/>
                  <a:pt x="317" y="101"/>
                  <a:pt x="317" y="101"/>
                </a:cubicBezTo>
                <a:cubicBezTo>
                  <a:pt x="316" y="101"/>
                  <a:pt x="316" y="101"/>
                  <a:pt x="316" y="101"/>
                </a:cubicBezTo>
                <a:close/>
                <a:moveTo>
                  <a:pt x="314" y="106"/>
                </a:moveTo>
                <a:cubicBezTo>
                  <a:pt x="317" y="106"/>
                  <a:pt x="317" y="106"/>
                  <a:pt x="317" y="106"/>
                </a:cubicBezTo>
                <a:cubicBezTo>
                  <a:pt x="317" y="105"/>
                  <a:pt x="317" y="105"/>
                  <a:pt x="317" y="105"/>
                </a:cubicBezTo>
                <a:cubicBezTo>
                  <a:pt x="318" y="103"/>
                  <a:pt x="318" y="103"/>
                  <a:pt x="318" y="103"/>
                </a:cubicBezTo>
                <a:cubicBezTo>
                  <a:pt x="317" y="102"/>
                  <a:pt x="317" y="102"/>
                  <a:pt x="317" y="102"/>
                </a:cubicBezTo>
                <a:cubicBezTo>
                  <a:pt x="316" y="103"/>
                  <a:pt x="316" y="103"/>
                  <a:pt x="316" y="103"/>
                </a:cubicBezTo>
                <a:cubicBezTo>
                  <a:pt x="315" y="102"/>
                  <a:pt x="315" y="102"/>
                  <a:pt x="315" y="102"/>
                </a:cubicBezTo>
                <a:cubicBezTo>
                  <a:pt x="313" y="102"/>
                  <a:pt x="313" y="102"/>
                  <a:pt x="313" y="102"/>
                </a:cubicBezTo>
                <a:cubicBezTo>
                  <a:pt x="312" y="102"/>
                  <a:pt x="312" y="102"/>
                  <a:pt x="312" y="102"/>
                </a:cubicBezTo>
                <a:cubicBezTo>
                  <a:pt x="311" y="102"/>
                  <a:pt x="311" y="102"/>
                  <a:pt x="311" y="102"/>
                </a:cubicBezTo>
                <a:cubicBezTo>
                  <a:pt x="311" y="102"/>
                  <a:pt x="311" y="102"/>
                  <a:pt x="311" y="102"/>
                </a:cubicBezTo>
                <a:cubicBezTo>
                  <a:pt x="310" y="103"/>
                  <a:pt x="310" y="103"/>
                  <a:pt x="310" y="103"/>
                </a:cubicBezTo>
                <a:cubicBezTo>
                  <a:pt x="310" y="103"/>
                  <a:pt x="310" y="103"/>
                  <a:pt x="310" y="103"/>
                </a:cubicBezTo>
                <a:cubicBezTo>
                  <a:pt x="310" y="104"/>
                  <a:pt x="310" y="104"/>
                  <a:pt x="310" y="104"/>
                </a:cubicBezTo>
                <a:cubicBezTo>
                  <a:pt x="310" y="104"/>
                  <a:pt x="310" y="104"/>
                  <a:pt x="310" y="104"/>
                </a:cubicBezTo>
                <a:cubicBezTo>
                  <a:pt x="311" y="105"/>
                  <a:pt x="311" y="105"/>
                  <a:pt x="311" y="105"/>
                </a:cubicBezTo>
                <a:cubicBezTo>
                  <a:pt x="312" y="105"/>
                  <a:pt x="312" y="105"/>
                  <a:pt x="312" y="105"/>
                </a:cubicBezTo>
                <a:cubicBezTo>
                  <a:pt x="313" y="106"/>
                  <a:pt x="313" y="106"/>
                  <a:pt x="313" y="106"/>
                </a:cubicBezTo>
                <a:cubicBezTo>
                  <a:pt x="314" y="106"/>
                  <a:pt x="314" y="106"/>
                  <a:pt x="314" y="106"/>
                </a:cubicBezTo>
                <a:close/>
                <a:moveTo>
                  <a:pt x="310" y="108"/>
                </a:moveTo>
                <a:cubicBezTo>
                  <a:pt x="312" y="108"/>
                  <a:pt x="312" y="108"/>
                  <a:pt x="312" y="108"/>
                </a:cubicBezTo>
                <a:cubicBezTo>
                  <a:pt x="314" y="108"/>
                  <a:pt x="314" y="108"/>
                  <a:pt x="314" y="108"/>
                </a:cubicBezTo>
                <a:cubicBezTo>
                  <a:pt x="315" y="108"/>
                  <a:pt x="315" y="108"/>
                  <a:pt x="315" y="108"/>
                </a:cubicBezTo>
                <a:cubicBezTo>
                  <a:pt x="315" y="108"/>
                  <a:pt x="315" y="108"/>
                  <a:pt x="315" y="108"/>
                </a:cubicBezTo>
                <a:cubicBezTo>
                  <a:pt x="316" y="108"/>
                  <a:pt x="316" y="108"/>
                  <a:pt x="316" y="108"/>
                </a:cubicBezTo>
                <a:cubicBezTo>
                  <a:pt x="317" y="108"/>
                  <a:pt x="317" y="108"/>
                  <a:pt x="317" y="108"/>
                </a:cubicBezTo>
                <a:cubicBezTo>
                  <a:pt x="317" y="107"/>
                  <a:pt x="317" y="107"/>
                  <a:pt x="317" y="107"/>
                </a:cubicBezTo>
                <a:cubicBezTo>
                  <a:pt x="316" y="107"/>
                  <a:pt x="316" y="107"/>
                  <a:pt x="316" y="107"/>
                </a:cubicBezTo>
                <a:cubicBezTo>
                  <a:pt x="313" y="107"/>
                  <a:pt x="313" y="107"/>
                  <a:pt x="313" y="107"/>
                </a:cubicBezTo>
                <a:cubicBezTo>
                  <a:pt x="312" y="107"/>
                  <a:pt x="312" y="107"/>
                  <a:pt x="312" y="107"/>
                </a:cubicBezTo>
                <a:cubicBezTo>
                  <a:pt x="312" y="107"/>
                  <a:pt x="312" y="107"/>
                  <a:pt x="312" y="107"/>
                </a:cubicBezTo>
                <a:cubicBezTo>
                  <a:pt x="310" y="107"/>
                  <a:pt x="310" y="107"/>
                  <a:pt x="310" y="107"/>
                </a:cubicBezTo>
                <a:cubicBezTo>
                  <a:pt x="309" y="107"/>
                  <a:pt x="309" y="107"/>
                  <a:pt x="309" y="107"/>
                </a:cubicBezTo>
                <a:cubicBezTo>
                  <a:pt x="310" y="108"/>
                  <a:pt x="310" y="108"/>
                  <a:pt x="310" y="108"/>
                </a:cubicBezTo>
                <a:close/>
                <a:moveTo>
                  <a:pt x="309" y="111"/>
                </a:moveTo>
                <a:cubicBezTo>
                  <a:pt x="310" y="110"/>
                  <a:pt x="310" y="110"/>
                  <a:pt x="310" y="110"/>
                </a:cubicBezTo>
                <a:cubicBezTo>
                  <a:pt x="311" y="110"/>
                  <a:pt x="311" y="110"/>
                  <a:pt x="311" y="110"/>
                </a:cubicBezTo>
                <a:cubicBezTo>
                  <a:pt x="312" y="109"/>
                  <a:pt x="312" y="109"/>
                  <a:pt x="312" y="109"/>
                </a:cubicBezTo>
                <a:cubicBezTo>
                  <a:pt x="315" y="109"/>
                  <a:pt x="315" y="109"/>
                  <a:pt x="315" y="109"/>
                </a:cubicBezTo>
                <a:cubicBezTo>
                  <a:pt x="316" y="109"/>
                  <a:pt x="316" y="109"/>
                  <a:pt x="316" y="109"/>
                </a:cubicBezTo>
                <a:cubicBezTo>
                  <a:pt x="316" y="109"/>
                  <a:pt x="316" y="109"/>
                  <a:pt x="316" y="109"/>
                </a:cubicBezTo>
                <a:cubicBezTo>
                  <a:pt x="317" y="109"/>
                  <a:pt x="317" y="109"/>
                  <a:pt x="317" y="109"/>
                </a:cubicBezTo>
                <a:cubicBezTo>
                  <a:pt x="317" y="109"/>
                  <a:pt x="317" y="109"/>
                  <a:pt x="317" y="109"/>
                </a:cubicBezTo>
                <a:cubicBezTo>
                  <a:pt x="316" y="110"/>
                  <a:pt x="316" y="110"/>
                  <a:pt x="316" y="110"/>
                </a:cubicBezTo>
                <a:cubicBezTo>
                  <a:pt x="315" y="110"/>
                  <a:pt x="315" y="110"/>
                  <a:pt x="315" y="110"/>
                </a:cubicBezTo>
                <a:cubicBezTo>
                  <a:pt x="314" y="110"/>
                  <a:pt x="314" y="110"/>
                  <a:pt x="314" y="110"/>
                </a:cubicBezTo>
                <a:cubicBezTo>
                  <a:pt x="314" y="111"/>
                  <a:pt x="314" y="111"/>
                  <a:pt x="314" y="111"/>
                </a:cubicBezTo>
                <a:cubicBezTo>
                  <a:pt x="312" y="112"/>
                  <a:pt x="312" y="112"/>
                  <a:pt x="312" y="112"/>
                </a:cubicBezTo>
                <a:cubicBezTo>
                  <a:pt x="311" y="111"/>
                  <a:pt x="311" y="111"/>
                  <a:pt x="311" y="111"/>
                </a:cubicBezTo>
                <a:cubicBezTo>
                  <a:pt x="310" y="111"/>
                  <a:pt x="310" y="111"/>
                  <a:pt x="310" y="111"/>
                </a:cubicBezTo>
                <a:cubicBezTo>
                  <a:pt x="309" y="112"/>
                  <a:pt x="309" y="112"/>
                  <a:pt x="309" y="112"/>
                </a:cubicBezTo>
                <a:cubicBezTo>
                  <a:pt x="309" y="111"/>
                  <a:pt x="309" y="111"/>
                  <a:pt x="309" y="111"/>
                </a:cubicBezTo>
                <a:cubicBezTo>
                  <a:pt x="309" y="111"/>
                  <a:pt x="309" y="111"/>
                  <a:pt x="309" y="111"/>
                </a:cubicBezTo>
                <a:close/>
                <a:moveTo>
                  <a:pt x="280" y="73"/>
                </a:moveTo>
                <a:cubicBezTo>
                  <a:pt x="279" y="73"/>
                  <a:pt x="279" y="73"/>
                  <a:pt x="279" y="73"/>
                </a:cubicBezTo>
                <a:cubicBezTo>
                  <a:pt x="279" y="72"/>
                  <a:pt x="279" y="72"/>
                  <a:pt x="279" y="72"/>
                </a:cubicBezTo>
                <a:cubicBezTo>
                  <a:pt x="281" y="72"/>
                  <a:pt x="281" y="72"/>
                  <a:pt x="281" y="72"/>
                </a:cubicBezTo>
                <a:cubicBezTo>
                  <a:pt x="280" y="73"/>
                  <a:pt x="280" y="73"/>
                  <a:pt x="280" y="73"/>
                </a:cubicBezTo>
                <a:cubicBezTo>
                  <a:pt x="280" y="73"/>
                  <a:pt x="280" y="73"/>
                  <a:pt x="280" y="73"/>
                </a:cubicBezTo>
                <a:close/>
                <a:moveTo>
                  <a:pt x="271" y="77"/>
                </a:moveTo>
                <a:cubicBezTo>
                  <a:pt x="272" y="76"/>
                  <a:pt x="272" y="76"/>
                  <a:pt x="272" y="76"/>
                </a:cubicBezTo>
                <a:cubicBezTo>
                  <a:pt x="273" y="76"/>
                  <a:pt x="273" y="76"/>
                  <a:pt x="273" y="76"/>
                </a:cubicBezTo>
                <a:cubicBezTo>
                  <a:pt x="275" y="77"/>
                  <a:pt x="275" y="77"/>
                  <a:pt x="275" y="77"/>
                </a:cubicBezTo>
                <a:cubicBezTo>
                  <a:pt x="276" y="77"/>
                  <a:pt x="276" y="77"/>
                  <a:pt x="276" y="77"/>
                </a:cubicBezTo>
                <a:cubicBezTo>
                  <a:pt x="276" y="77"/>
                  <a:pt x="276" y="77"/>
                  <a:pt x="276" y="77"/>
                </a:cubicBezTo>
                <a:cubicBezTo>
                  <a:pt x="277" y="78"/>
                  <a:pt x="277" y="78"/>
                  <a:pt x="277" y="78"/>
                </a:cubicBezTo>
                <a:cubicBezTo>
                  <a:pt x="277" y="78"/>
                  <a:pt x="277" y="78"/>
                  <a:pt x="277" y="78"/>
                </a:cubicBezTo>
                <a:cubicBezTo>
                  <a:pt x="276" y="79"/>
                  <a:pt x="276" y="79"/>
                  <a:pt x="276" y="79"/>
                </a:cubicBezTo>
                <a:cubicBezTo>
                  <a:pt x="275" y="80"/>
                  <a:pt x="275" y="80"/>
                  <a:pt x="275" y="80"/>
                </a:cubicBezTo>
                <a:cubicBezTo>
                  <a:pt x="274" y="80"/>
                  <a:pt x="274" y="80"/>
                  <a:pt x="274" y="80"/>
                </a:cubicBezTo>
                <a:cubicBezTo>
                  <a:pt x="273" y="79"/>
                  <a:pt x="273" y="79"/>
                  <a:pt x="273" y="79"/>
                </a:cubicBezTo>
                <a:cubicBezTo>
                  <a:pt x="273" y="78"/>
                  <a:pt x="273" y="78"/>
                  <a:pt x="273" y="78"/>
                </a:cubicBezTo>
                <a:cubicBezTo>
                  <a:pt x="272" y="77"/>
                  <a:pt x="272" y="77"/>
                  <a:pt x="272" y="77"/>
                </a:cubicBezTo>
                <a:cubicBezTo>
                  <a:pt x="271" y="77"/>
                  <a:pt x="271" y="77"/>
                  <a:pt x="271" y="77"/>
                </a:cubicBezTo>
                <a:cubicBezTo>
                  <a:pt x="271" y="77"/>
                  <a:pt x="271" y="77"/>
                  <a:pt x="271" y="77"/>
                </a:cubicBezTo>
                <a:close/>
                <a:moveTo>
                  <a:pt x="227" y="79"/>
                </a:moveTo>
                <a:cubicBezTo>
                  <a:pt x="226" y="79"/>
                  <a:pt x="226" y="79"/>
                  <a:pt x="226" y="79"/>
                </a:cubicBezTo>
                <a:cubicBezTo>
                  <a:pt x="226" y="78"/>
                  <a:pt x="226" y="78"/>
                  <a:pt x="226" y="78"/>
                </a:cubicBezTo>
                <a:cubicBezTo>
                  <a:pt x="226" y="78"/>
                  <a:pt x="226" y="78"/>
                  <a:pt x="226" y="78"/>
                </a:cubicBezTo>
                <a:cubicBezTo>
                  <a:pt x="227" y="78"/>
                  <a:pt x="227" y="78"/>
                  <a:pt x="227" y="78"/>
                </a:cubicBezTo>
                <a:cubicBezTo>
                  <a:pt x="228" y="79"/>
                  <a:pt x="228" y="79"/>
                  <a:pt x="228" y="79"/>
                </a:cubicBezTo>
                <a:cubicBezTo>
                  <a:pt x="227" y="79"/>
                  <a:pt x="227" y="79"/>
                  <a:pt x="227" y="79"/>
                </a:cubicBezTo>
                <a:close/>
                <a:moveTo>
                  <a:pt x="232" y="85"/>
                </a:moveTo>
                <a:cubicBezTo>
                  <a:pt x="233" y="84"/>
                  <a:pt x="233" y="84"/>
                  <a:pt x="233" y="84"/>
                </a:cubicBezTo>
                <a:cubicBezTo>
                  <a:pt x="233" y="85"/>
                  <a:pt x="233" y="85"/>
                  <a:pt x="233" y="85"/>
                </a:cubicBezTo>
                <a:cubicBezTo>
                  <a:pt x="232" y="86"/>
                  <a:pt x="232" y="86"/>
                  <a:pt x="232" y="86"/>
                </a:cubicBezTo>
                <a:cubicBezTo>
                  <a:pt x="232" y="86"/>
                  <a:pt x="232" y="85"/>
                  <a:pt x="232" y="85"/>
                </a:cubicBezTo>
                <a:close/>
                <a:moveTo>
                  <a:pt x="234" y="83"/>
                </a:moveTo>
                <a:cubicBezTo>
                  <a:pt x="235" y="83"/>
                  <a:pt x="235" y="83"/>
                  <a:pt x="235" y="83"/>
                </a:cubicBezTo>
                <a:cubicBezTo>
                  <a:pt x="235" y="82"/>
                  <a:pt x="235" y="82"/>
                  <a:pt x="235" y="82"/>
                </a:cubicBezTo>
                <a:cubicBezTo>
                  <a:pt x="235" y="82"/>
                  <a:pt x="235" y="82"/>
                  <a:pt x="235" y="82"/>
                </a:cubicBezTo>
                <a:cubicBezTo>
                  <a:pt x="235" y="80"/>
                  <a:pt x="235" y="80"/>
                  <a:pt x="235" y="80"/>
                </a:cubicBezTo>
                <a:cubicBezTo>
                  <a:pt x="236" y="80"/>
                  <a:pt x="236" y="80"/>
                  <a:pt x="236" y="80"/>
                </a:cubicBezTo>
                <a:cubicBezTo>
                  <a:pt x="238" y="79"/>
                  <a:pt x="238" y="79"/>
                  <a:pt x="238" y="79"/>
                </a:cubicBezTo>
                <a:cubicBezTo>
                  <a:pt x="238" y="79"/>
                  <a:pt x="238" y="79"/>
                  <a:pt x="238" y="79"/>
                </a:cubicBezTo>
                <a:cubicBezTo>
                  <a:pt x="238" y="80"/>
                  <a:pt x="238" y="80"/>
                  <a:pt x="238" y="80"/>
                </a:cubicBezTo>
                <a:cubicBezTo>
                  <a:pt x="237" y="81"/>
                  <a:pt x="237" y="81"/>
                  <a:pt x="237" y="81"/>
                </a:cubicBezTo>
                <a:cubicBezTo>
                  <a:pt x="236" y="83"/>
                  <a:pt x="236" y="83"/>
                  <a:pt x="236" y="83"/>
                </a:cubicBezTo>
                <a:cubicBezTo>
                  <a:pt x="237" y="83"/>
                  <a:pt x="237" y="83"/>
                  <a:pt x="237" y="83"/>
                </a:cubicBezTo>
                <a:cubicBezTo>
                  <a:pt x="236" y="84"/>
                  <a:pt x="236" y="84"/>
                  <a:pt x="236" y="84"/>
                </a:cubicBezTo>
                <a:cubicBezTo>
                  <a:pt x="236" y="85"/>
                  <a:pt x="236" y="85"/>
                  <a:pt x="236" y="85"/>
                </a:cubicBezTo>
                <a:cubicBezTo>
                  <a:pt x="236" y="86"/>
                  <a:pt x="236" y="86"/>
                  <a:pt x="236" y="86"/>
                </a:cubicBezTo>
                <a:cubicBezTo>
                  <a:pt x="237" y="85"/>
                  <a:pt x="237" y="85"/>
                  <a:pt x="237" y="85"/>
                </a:cubicBezTo>
                <a:cubicBezTo>
                  <a:pt x="238" y="85"/>
                  <a:pt x="238" y="85"/>
                  <a:pt x="238" y="85"/>
                </a:cubicBezTo>
                <a:cubicBezTo>
                  <a:pt x="238" y="86"/>
                  <a:pt x="238" y="86"/>
                  <a:pt x="238" y="86"/>
                </a:cubicBezTo>
                <a:cubicBezTo>
                  <a:pt x="238" y="86"/>
                  <a:pt x="238" y="86"/>
                  <a:pt x="238" y="86"/>
                </a:cubicBezTo>
                <a:cubicBezTo>
                  <a:pt x="240" y="85"/>
                  <a:pt x="240" y="85"/>
                  <a:pt x="240" y="85"/>
                </a:cubicBezTo>
                <a:cubicBezTo>
                  <a:pt x="241" y="84"/>
                  <a:pt x="241" y="84"/>
                  <a:pt x="241" y="84"/>
                </a:cubicBezTo>
                <a:cubicBezTo>
                  <a:pt x="242" y="84"/>
                  <a:pt x="242" y="84"/>
                  <a:pt x="242" y="84"/>
                </a:cubicBezTo>
                <a:cubicBezTo>
                  <a:pt x="242" y="83"/>
                  <a:pt x="242" y="83"/>
                  <a:pt x="242" y="83"/>
                </a:cubicBezTo>
                <a:cubicBezTo>
                  <a:pt x="242" y="82"/>
                  <a:pt x="242" y="82"/>
                  <a:pt x="242" y="82"/>
                </a:cubicBezTo>
                <a:cubicBezTo>
                  <a:pt x="243" y="82"/>
                  <a:pt x="243" y="82"/>
                  <a:pt x="243" y="82"/>
                </a:cubicBezTo>
                <a:cubicBezTo>
                  <a:pt x="244" y="81"/>
                  <a:pt x="244" y="81"/>
                  <a:pt x="244" y="81"/>
                </a:cubicBezTo>
                <a:cubicBezTo>
                  <a:pt x="244" y="79"/>
                  <a:pt x="244" y="79"/>
                  <a:pt x="244" y="79"/>
                </a:cubicBezTo>
                <a:cubicBezTo>
                  <a:pt x="245" y="79"/>
                  <a:pt x="245" y="79"/>
                  <a:pt x="245" y="79"/>
                </a:cubicBezTo>
                <a:cubicBezTo>
                  <a:pt x="245" y="79"/>
                  <a:pt x="245" y="79"/>
                  <a:pt x="245" y="79"/>
                </a:cubicBezTo>
                <a:cubicBezTo>
                  <a:pt x="245" y="80"/>
                  <a:pt x="245" y="80"/>
                  <a:pt x="245" y="80"/>
                </a:cubicBezTo>
                <a:cubicBezTo>
                  <a:pt x="245" y="81"/>
                  <a:pt x="245" y="81"/>
                  <a:pt x="245" y="81"/>
                </a:cubicBezTo>
                <a:cubicBezTo>
                  <a:pt x="245" y="82"/>
                  <a:pt x="245" y="82"/>
                  <a:pt x="245" y="82"/>
                </a:cubicBezTo>
                <a:cubicBezTo>
                  <a:pt x="245" y="84"/>
                  <a:pt x="245" y="84"/>
                  <a:pt x="245" y="84"/>
                </a:cubicBezTo>
                <a:cubicBezTo>
                  <a:pt x="246" y="84"/>
                  <a:pt x="246" y="84"/>
                  <a:pt x="246" y="84"/>
                </a:cubicBezTo>
                <a:cubicBezTo>
                  <a:pt x="247" y="82"/>
                  <a:pt x="247" y="82"/>
                  <a:pt x="247" y="82"/>
                </a:cubicBezTo>
                <a:cubicBezTo>
                  <a:pt x="247" y="81"/>
                  <a:pt x="247" y="81"/>
                  <a:pt x="247" y="81"/>
                </a:cubicBezTo>
                <a:cubicBezTo>
                  <a:pt x="247" y="80"/>
                  <a:pt x="247" y="80"/>
                  <a:pt x="247" y="80"/>
                </a:cubicBezTo>
                <a:cubicBezTo>
                  <a:pt x="248" y="80"/>
                  <a:pt x="248" y="80"/>
                  <a:pt x="248" y="80"/>
                </a:cubicBezTo>
                <a:cubicBezTo>
                  <a:pt x="249" y="78"/>
                  <a:pt x="249" y="78"/>
                  <a:pt x="249" y="78"/>
                </a:cubicBezTo>
                <a:cubicBezTo>
                  <a:pt x="250" y="77"/>
                  <a:pt x="250" y="77"/>
                  <a:pt x="250" y="77"/>
                </a:cubicBezTo>
                <a:cubicBezTo>
                  <a:pt x="249" y="76"/>
                  <a:pt x="249" y="76"/>
                  <a:pt x="249" y="76"/>
                </a:cubicBezTo>
                <a:cubicBezTo>
                  <a:pt x="250" y="75"/>
                  <a:pt x="250" y="75"/>
                  <a:pt x="250" y="75"/>
                </a:cubicBezTo>
                <a:cubicBezTo>
                  <a:pt x="251" y="76"/>
                  <a:pt x="251" y="76"/>
                  <a:pt x="251" y="76"/>
                </a:cubicBezTo>
                <a:cubicBezTo>
                  <a:pt x="253" y="75"/>
                  <a:pt x="253" y="75"/>
                  <a:pt x="253" y="75"/>
                </a:cubicBezTo>
                <a:cubicBezTo>
                  <a:pt x="254" y="73"/>
                  <a:pt x="254" y="73"/>
                  <a:pt x="254" y="73"/>
                </a:cubicBezTo>
                <a:cubicBezTo>
                  <a:pt x="254" y="72"/>
                  <a:pt x="254" y="72"/>
                  <a:pt x="254" y="72"/>
                </a:cubicBezTo>
                <a:cubicBezTo>
                  <a:pt x="255" y="72"/>
                  <a:pt x="255" y="72"/>
                  <a:pt x="255" y="72"/>
                </a:cubicBezTo>
                <a:cubicBezTo>
                  <a:pt x="255" y="71"/>
                  <a:pt x="255" y="71"/>
                  <a:pt x="255" y="71"/>
                </a:cubicBezTo>
                <a:cubicBezTo>
                  <a:pt x="256" y="72"/>
                  <a:pt x="256" y="72"/>
                  <a:pt x="256" y="72"/>
                </a:cubicBezTo>
                <a:cubicBezTo>
                  <a:pt x="257" y="71"/>
                  <a:pt x="257" y="71"/>
                  <a:pt x="257" y="71"/>
                </a:cubicBezTo>
                <a:cubicBezTo>
                  <a:pt x="258" y="71"/>
                  <a:pt x="258" y="71"/>
                  <a:pt x="258" y="71"/>
                </a:cubicBezTo>
                <a:cubicBezTo>
                  <a:pt x="257" y="73"/>
                  <a:pt x="257" y="73"/>
                  <a:pt x="257" y="73"/>
                </a:cubicBezTo>
                <a:cubicBezTo>
                  <a:pt x="256" y="75"/>
                  <a:pt x="256" y="75"/>
                  <a:pt x="256" y="75"/>
                </a:cubicBezTo>
                <a:cubicBezTo>
                  <a:pt x="255" y="76"/>
                  <a:pt x="255" y="76"/>
                  <a:pt x="255" y="76"/>
                </a:cubicBezTo>
                <a:cubicBezTo>
                  <a:pt x="255" y="77"/>
                  <a:pt x="255" y="77"/>
                  <a:pt x="255" y="77"/>
                </a:cubicBezTo>
                <a:cubicBezTo>
                  <a:pt x="255" y="78"/>
                  <a:pt x="255" y="78"/>
                  <a:pt x="255" y="78"/>
                </a:cubicBezTo>
                <a:cubicBezTo>
                  <a:pt x="254" y="78"/>
                  <a:pt x="254" y="78"/>
                  <a:pt x="254" y="78"/>
                </a:cubicBezTo>
                <a:cubicBezTo>
                  <a:pt x="252" y="81"/>
                  <a:pt x="252" y="81"/>
                  <a:pt x="252" y="81"/>
                </a:cubicBezTo>
                <a:cubicBezTo>
                  <a:pt x="252" y="82"/>
                  <a:pt x="252" y="82"/>
                  <a:pt x="252" y="82"/>
                </a:cubicBezTo>
                <a:cubicBezTo>
                  <a:pt x="252" y="83"/>
                  <a:pt x="252" y="83"/>
                  <a:pt x="252" y="83"/>
                </a:cubicBezTo>
                <a:cubicBezTo>
                  <a:pt x="252" y="84"/>
                  <a:pt x="252" y="84"/>
                  <a:pt x="252" y="84"/>
                </a:cubicBezTo>
                <a:cubicBezTo>
                  <a:pt x="253" y="84"/>
                  <a:pt x="253" y="84"/>
                  <a:pt x="253" y="84"/>
                </a:cubicBezTo>
                <a:cubicBezTo>
                  <a:pt x="254" y="84"/>
                  <a:pt x="254" y="84"/>
                  <a:pt x="254" y="84"/>
                </a:cubicBezTo>
                <a:cubicBezTo>
                  <a:pt x="255" y="84"/>
                  <a:pt x="255" y="84"/>
                  <a:pt x="255" y="84"/>
                </a:cubicBezTo>
                <a:cubicBezTo>
                  <a:pt x="256" y="83"/>
                  <a:pt x="256" y="83"/>
                  <a:pt x="256" y="83"/>
                </a:cubicBezTo>
                <a:cubicBezTo>
                  <a:pt x="257" y="82"/>
                  <a:pt x="257" y="82"/>
                  <a:pt x="257" y="82"/>
                </a:cubicBezTo>
                <a:cubicBezTo>
                  <a:pt x="256" y="81"/>
                  <a:pt x="256" y="81"/>
                  <a:pt x="256" y="81"/>
                </a:cubicBezTo>
                <a:cubicBezTo>
                  <a:pt x="257" y="80"/>
                  <a:pt x="257" y="80"/>
                  <a:pt x="257" y="80"/>
                </a:cubicBezTo>
                <a:cubicBezTo>
                  <a:pt x="258" y="79"/>
                  <a:pt x="258" y="79"/>
                  <a:pt x="258" y="79"/>
                </a:cubicBezTo>
                <a:cubicBezTo>
                  <a:pt x="259" y="79"/>
                  <a:pt x="259" y="79"/>
                  <a:pt x="259" y="79"/>
                </a:cubicBezTo>
                <a:cubicBezTo>
                  <a:pt x="260" y="79"/>
                  <a:pt x="260" y="79"/>
                  <a:pt x="260" y="79"/>
                </a:cubicBezTo>
                <a:cubicBezTo>
                  <a:pt x="260" y="79"/>
                  <a:pt x="260" y="79"/>
                  <a:pt x="260" y="79"/>
                </a:cubicBezTo>
                <a:cubicBezTo>
                  <a:pt x="261" y="79"/>
                  <a:pt x="261" y="79"/>
                  <a:pt x="261" y="79"/>
                </a:cubicBezTo>
                <a:cubicBezTo>
                  <a:pt x="262" y="79"/>
                  <a:pt x="262" y="79"/>
                  <a:pt x="262" y="79"/>
                </a:cubicBezTo>
                <a:cubicBezTo>
                  <a:pt x="264" y="79"/>
                  <a:pt x="264" y="79"/>
                  <a:pt x="264" y="79"/>
                </a:cubicBezTo>
                <a:cubicBezTo>
                  <a:pt x="265" y="77"/>
                  <a:pt x="265" y="77"/>
                  <a:pt x="265" y="77"/>
                </a:cubicBezTo>
                <a:cubicBezTo>
                  <a:pt x="265" y="75"/>
                  <a:pt x="265" y="75"/>
                  <a:pt x="265" y="75"/>
                </a:cubicBezTo>
                <a:cubicBezTo>
                  <a:pt x="266" y="73"/>
                  <a:pt x="266" y="73"/>
                  <a:pt x="266" y="73"/>
                </a:cubicBezTo>
                <a:cubicBezTo>
                  <a:pt x="267" y="72"/>
                  <a:pt x="267" y="72"/>
                  <a:pt x="267" y="72"/>
                </a:cubicBezTo>
                <a:cubicBezTo>
                  <a:pt x="267" y="72"/>
                  <a:pt x="267" y="72"/>
                  <a:pt x="267" y="72"/>
                </a:cubicBezTo>
                <a:cubicBezTo>
                  <a:pt x="268" y="73"/>
                  <a:pt x="268" y="73"/>
                  <a:pt x="268" y="73"/>
                </a:cubicBezTo>
                <a:cubicBezTo>
                  <a:pt x="269" y="73"/>
                  <a:pt x="269" y="73"/>
                  <a:pt x="269" y="73"/>
                </a:cubicBezTo>
                <a:cubicBezTo>
                  <a:pt x="269" y="73"/>
                  <a:pt x="269" y="73"/>
                  <a:pt x="269" y="73"/>
                </a:cubicBezTo>
                <a:cubicBezTo>
                  <a:pt x="269" y="72"/>
                  <a:pt x="269" y="72"/>
                  <a:pt x="269" y="72"/>
                </a:cubicBezTo>
                <a:cubicBezTo>
                  <a:pt x="268" y="70"/>
                  <a:pt x="268" y="70"/>
                  <a:pt x="268" y="70"/>
                </a:cubicBezTo>
                <a:cubicBezTo>
                  <a:pt x="268" y="69"/>
                  <a:pt x="268" y="69"/>
                  <a:pt x="268" y="69"/>
                </a:cubicBezTo>
                <a:cubicBezTo>
                  <a:pt x="269" y="68"/>
                  <a:pt x="269" y="68"/>
                  <a:pt x="269" y="68"/>
                </a:cubicBezTo>
                <a:cubicBezTo>
                  <a:pt x="271" y="68"/>
                  <a:pt x="271" y="68"/>
                  <a:pt x="271" y="68"/>
                </a:cubicBezTo>
                <a:cubicBezTo>
                  <a:pt x="272" y="67"/>
                  <a:pt x="272" y="67"/>
                  <a:pt x="272" y="67"/>
                </a:cubicBezTo>
                <a:cubicBezTo>
                  <a:pt x="273" y="68"/>
                  <a:pt x="273" y="68"/>
                  <a:pt x="273" y="68"/>
                </a:cubicBezTo>
                <a:cubicBezTo>
                  <a:pt x="273" y="68"/>
                  <a:pt x="273" y="68"/>
                  <a:pt x="273" y="68"/>
                </a:cubicBezTo>
                <a:cubicBezTo>
                  <a:pt x="274" y="66"/>
                  <a:pt x="274" y="66"/>
                  <a:pt x="274" y="66"/>
                </a:cubicBezTo>
                <a:cubicBezTo>
                  <a:pt x="274" y="65"/>
                  <a:pt x="274" y="65"/>
                  <a:pt x="274" y="65"/>
                </a:cubicBezTo>
                <a:cubicBezTo>
                  <a:pt x="274" y="63"/>
                  <a:pt x="274" y="63"/>
                  <a:pt x="274" y="63"/>
                </a:cubicBezTo>
                <a:cubicBezTo>
                  <a:pt x="274" y="62"/>
                  <a:pt x="274" y="62"/>
                  <a:pt x="274" y="62"/>
                </a:cubicBezTo>
                <a:cubicBezTo>
                  <a:pt x="274" y="62"/>
                  <a:pt x="274" y="62"/>
                  <a:pt x="274" y="62"/>
                </a:cubicBezTo>
                <a:cubicBezTo>
                  <a:pt x="274" y="60"/>
                  <a:pt x="274" y="60"/>
                  <a:pt x="274" y="60"/>
                </a:cubicBezTo>
                <a:cubicBezTo>
                  <a:pt x="273" y="60"/>
                  <a:pt x="273" y="60"/>
                  <a:pt x="273" y="60"/>
                </a:cubicBezTo>
                <a:cubicBezTo>
                  <a:pt x="272" y="60"/>
                  <a:pt x="272" y="60"/>
                  <a:pt x="272" y="60"/>
                </a:cubicBezTo>
                <a:cubicBezTo>
                  <a:pt x="271" y="61"/>
                  <a:pt x="271" y="61"/>
                  <a:pt x="271" y="61"/>
                </a:cubicBezTo>
                <a:cubicBezTo>
                  <a:pt x="271" y="63"/>
                  <a:pt x="271" y="63"/>
                  <a:pt x="271" y="63"/>
                </a:cubicBezTo>
                <a:cubicBezTo>
                  <a:pt x="271" y="63"/>
                  <a:pt x="271" y="63"/>
                  <a:pt x="271" y="63"/>
                </a:cubicBezTo>
                <a:cubicBezTo>
                  <a:pt x="271" y="64"/>
                  <a:pt x="271" y="64"/>
                  <a:pt x="271" y="64"/>
                </a:cubicBezTo>
                <a:cubicBezTo>
                  <a:pt x="270" y="64"/>
                  <a:pt x="270" y="64"/>
                  <a:pt x="270" y="64"/>
                </a:cubicBezTo>
                <a:cubicBezTo>
                  <a:pt x="269" y="63"/>
                  <a:pt x="269" y="63"/>
                  <a:pt x="269" y="63"/>
                </a:cubicBezTo>
                <a:cubicBezTo>
                  <a:pt x="269" y="63"/>
                  <a:pt x="269" y="63"/>
                  <a:pt x="269" y="63"/>
                </a:cubicBezTo>
                <a:cubicBezTo>
                  <a:pt x="269" y="64"/>
                  <a:pt x="269" y="64"/>
                  <a:pt x="269" y="64"/>
                </a:cubicBezTo>
                <a:cubicBezTo>
                  <a:pt x="268" y="65"/>
                  <a:pt x="268" y="65"/>
                  <a:pt x="268" y="65"/>
                </a:cubicBezTo>
                <a:cubicBezTo>
                  <a:pt x="268" y="64"/>
                  <a:pt x="268" y="64"/>
                  <a:pt x="268" y="64"/>
                </a:cubicBezTo>
                <a:cubicBezTo>
                  <a:pt x="268" y="62"/>
                  <a:pt x="268" y="62"/>
                  <a:pt x="268" y="62"/>
                </a:cubicBezTo>
                <a:cubicBezTo>
                  <a:pt x="266" y="61"/>
                  <a:pt x="266" y="61"/>
                  <a:pt x="266" y="61"/>
                </a:cubicBezTo>
                <a:cubicBezTo>
                  <a:pt x="266" y="61"/>
                  <a:pt x="266" y="61"/>
                  <a:pt x="266" y="61"/>
                </a:cubicBezTo>
                <a:cubicBezTo>
                  <a:pt x="265" y="61"/>
                  <a:pt x="265" y="61"/>
                  <a:pt x="265" y="61"/>
                </a:cubicBezTo>
                <a:cubicBezTo>
                  <a:pt x="264" y="61"/>
                  <a:pt x="264" y="61"/>
                  <a:pt x="264" y="61"/>
                </a:cubicBezTo>
                <a:cubicBezTo>
                  <a:pt x="263" y="61"/>
                  <a:pt x="263" y="61"/>
                  <a:pt x="263" y="61"/>
                </a:cubicBezTo>
                <a:cubicBezTo>
                  <a:pt x="262" y="61"/>
                  <a:pt x="262" y="61"/>
                  <a:pt x="262" y="61"/>
                </a:cubicBezTo>
                <a:cubicBezTo>
                  <a:pt x="259" y="61"/>
                  <a:pt x="259" y="61"/>
                  <a:pt x="259" y="61"/>
                </a:cubicBezTo>
                <a:cubicBezTo>
                  <a:pt x="258" y="61"/>
                  <a:pt x="258" y="61"/>
                  <a:pt x="258" y="61"/>
                </a:cubicBezTo>
                <a:cubicBezTo>
                  <a:pt x="257" y="62"/>
                  <a:pt x="257" y="62"/>
                  <a:pt x="257" y="62"/>
                </a:cubicBezTo>
                <a:cubicBezTo>
                  <a:pt x="257" y="63"/>
                  <a:pt x="257" y="63"/>
                  <a:pt x="257" y="63"/>
                </a:cubicBezTo>
                <a:cubicBezTo>
                  <a:pt x="256" y="63"/>
                  <a:pt x="256" y="63"/>
                  <a:pt x="256" y="63"/>
                </a:cubicBezTo>
                <a:cubicBezTo>
                  <a:pt x="255" y="63"/>
                  <a:pt x="255" y="63"/>
                  <a:pt x="255" y="63"/>
                </a:cubicBezTo>
                <a:cubicBezTo>
                  <a:pt x="252" y="65"/>
                  <a:pt x="252" y="65"/>
                  <a:pt x="252" y="65"/>
                </a:cubicBezTo>
                <a:cubicBezTo>
                  <a:pt x="252" y="66"/>
                  <a:pt x="252" y="66"/>
                  <a:pt x="252" y="66"/>
                </a:cubicBezTo>
                <a:cubicBezTo>
                  <a:pt x="250" y="66"/>
                  <a:pt x="250" y="66"/>
                  <a:pt x="250" y="66"/>
                </a:cubicBezTo>
                <a:cubicBezTo>
                  <a:pt x="249" y="67"/>
                  <a:pt x="249" y="67"/>
                  <a:pt x="249" y="67"/>
                </a:cubicBezTo>
                <a:cubicBezTo>
                  <a:pt x="248" y="67"/>
                  <a:pt x="248" y="67"/>
                  <a:pt x="248" y="67"/>
                </a:cubicBezTo>
                <a:cubicBezTo>
                  <a:pt x="247" y="68"/>
                  <a:pt x="247" y="68"/>
                  <a:pt x="247" y="68"/>
                </a:cubicBezTo>
                <a:cubicBezTo>
                  <a:pt x="247" y="69"/>
                  <a:pt x="247" y="69"/>
                  <a:pt x="247" y="69"/>
                </a:cubicBezTo>
                <a:cubicBezTo>
                  <a:pt x="245" y="69"/>
                  <a:pt x="245" y="69"/>
                  <a:pt x="245" y="69"/>
                </a:cubicBezTo>
                <a:cubicBezTo>
                  <a:pt x="244" y="70"/>
                  <a:pt x="244" y="70"/>
                  <a:pt x="244" y="70"/>
                </a:cubicBezTo>
                <a:cubicBezTo>
                  <a:pt x="243" y="69"/>
                  <a:pt x="243" y="69"/>
                  <a:pt x="243" y="69"/>
                </a:cubicBezTo>
                <a:cubicBezTo>
                  <a:pt x="242" y="70"/>
                  <a:pt x="242" y="70"/>
                  <a:pt x="242" y="70"/>
                </a:cubicBezTo>
                <a:cubicBezTo>
                  <a:pt x="241" y="70"/>
                  <a:pt x="241" y="70"/>
                  <a:pt x="241" y="70"/>
                </a:cubicBezTo>
                <a:cubicBezTo>
                  <a:pt x="239" y="72"/>
                  <a:pt x="239" y="72"/>
                  <a:pt x="239" y="72"/>
                </a:cubicBezTo>
                <a:cubicBezTo>
                  <a:pt x="238" y="72"/>
                  <a:pt x="238" y="72"/>
                  <a:pt x="238" y="72"/>
                </a:cubicBezTo>
                <a:cubicBezTo>
                  <a:pt x="236" y="72"/>
                  <a:pt x="236" y="72"/>
                  <a:pt x="236" y="72"/>
                </a:cubicBezTo>
                <a:cubicBezTo>
                  <a:pt x="235" y="72"/>
                  <a:pt x="235" y="72"/>
                  <a:pt x="235" y="72"/>
                </a:cubicBezTo>
                <a:cubicBezTo>
                  <a:pt x="232" y="73"/>
                  <a:pt x="232" y="73"/>
                  <a:pt x="232" y="73"/>
                </a:cubicBezTo>
                <a:cubicBezTo>
                  <a:pt x="231" y="75"/>
                  <a:pt x="231" y="75"/>
                  <a:pt x="231" y="75"/>
                </a:cubicBezTo>
                <a:cubicBezTo>
                  <a:pt x="230" y="75"/>
                  <a:pt x="230" y="75"/>
                  <a:pt x="230" y="75"/>
                </a:cubicBezTo>
                <a:cubicBezTo>
                  <a:pt x="228" y="75"/>
                  <a:pt x="228" y="75"/>
                  <a:pt x="228" y="75"/>
                </a:cubicBezTo>
                <a:cubicBezTo>
                  <a:pt x="228" y="77"/>
                  <a:pt x="228" y="77"/>
                  <a:pt x="228" y="77"/>
                </a:cubicBezTo>
                <a:cubicBezTo>
                  <a:pt x="229" y="77"/>
                  <a:pt x="229" y="77"/>
                  <a:pt x="229" y="77"/>
                </a:cubicBezTo>
                <a:cubicBezTo>
                  <a:pt x="229" y="77"/>
                  <a:pt x="229" y="77"/>
                  <a:pt x="229" y="77"/>
                </a:cubicBezTo>
                <a:cubicBezTo>
                  <a:pt x="228" y="77"/>
                  <a:pt x="228" y="77"/>
                  <a:pt x="228" y="77"/>
                </a:cubicBezTo>
                <a:cubicBezTo>
                  <a:pt x="228" y="78"/>
                  <a:pt x="228" y="78"/>
                  <a:pt x="228" y="78"/>
                </a:cubicBezTo>
                <a:cubicBezTo>
                  <a:pt x="229" y="79"/>
                  <a:pt x="229" y="79"/>
                  <a:pt x="229" y="79"/>
                </a:cubicBezTo>
                <a:cubicBezTo>
                  <a:pt x="229" y="79"/>
                  <a:pt x="229" y="79"/>
                  <a:pt x="229" y="79"/>
                </a:cubicBezTo>
                <a:cubicBezTo>
                  <a:pt x="227" y="80"/>
                  <a:pt x="227" y="80"/>
                  <a:pt x="227" y="80"/>
                </a:cubicBezTo>
                <a:cubicBezTo>
                  <a:pt x="227" y="81"/>
                  <a:pt x="227" y="81"/>
                  <a:pt x="227" y="81"/>
                </a:cubicBezTo>
                <a:cubicBezTo>
                  <a:pt x="228" y="81"/>
                  <a:pt x="228" y="81"/>
                  <a:pt x="228" y="81"/>
                </a:cubicBezTo>
                <a:cubicBezTo>
                  <a:pt x="229" y="81"/>
                  <a:pt x="229" y="81"/>
                  <a:pt x="229" y="81"/>
                </a:cubicBezTo>
                <a:cubicBezTo>
                  <a:pt x="230" y="80"/>
                  <a:pt x="230" y="80"/>
                  <a:pt x="230" y="80"/>
                </a:cubicBezTo>
                <a:cubicBezTo>
                  <a:pt x="231" y="79"/>
                  <a:pt x="231" y="79"/>
                  <a:pt x="231" y="79"/>
                </a:cubicBezTo>
                <a:cubicBezTo>
                  <a:pt x="232" y="80"/>
                  <a:pt x="232" y="80"/>
                  <a:pt x="232" y="80"/>
                </a:cubicBezTo>
                <a:cubicBezTo>
                  <a:pt x="233" y="82"/>
                  <a:pt x="233" y="82"/>
                  <a:pt x="233" y="82"/>
                </a:cubicBezTo>
                <a:cubicBezTo>
                  <a:pt x="233" y="83"/>
                  <a:pt x="233" y="83"/>
                  <a:pt x="233" y="83"/>
                </a:cubicBezTo>
                <a:cubicBezTo>
                  <a:pt x="234" y="83"/>
                  <a:pt x="234" y="83"/>
                  <a:pt x="234" y="83"/>
                </a:cubicBezTo>
                <a:close/>
                <a:moveTo>
                  <a:pt x="354" y="154"/>
                </a:moveTo>
                <a:cubicBezTo>
                  <a:pt x="354" y="153"/>
                  <a:pt x="354" y="153"/>
                  <a:pt x="354" y="153"/>
                </a:cubicBezTo>
                <a:cubicBezTo>
                  <a:pt x="356" y="154"/>
                  <a:pt x="356" y="154"/>
                  <a:pt x="356" y="154"/>
                </a:cubicBezTo>
                <a:cubicBezTo>
                  <a:pt x="356" y="154"/>
                  <a:pt x="356" y="154"/>
                  <a:pt x="356" y="154"/>
                </a:cubicBezTo>
                <a:cubicBezTo>
                  <a:pt x="355" y="155"/>
                  <a:pt x="355" y="155"/>
                  <a:pt x="355" y="155"/>
                </a:cubicBezTo>
                <a:cubicBezTo>
                  <a:pt x="354" y="155"/>
                  <a:pt x="354" y="155"/>
                  <a:pt x="354" y="155"/>
                </a:cubicBezTo>
                <a:cubicBezTo>
                  <a:pt x="354" y="154"/>
                  <a:pt x="354" y="154"/>
                  <a:pt x="354" y="154"/>
                </a:cubicBezTo>
                <a:close/>
                <a:moveTo>
                  <a:pt x="340" y="126"/>
                </a:moveTo>
                <a:cubicBezTo>
                  <a:pt x="339" y="126"/>
                  <a:pt x="339" y="126"/>
                  <a:pt x="339" y="126"/>
                </a:cubicBezTo>
                <a:cubicBezTo>
                  <a:pt x="338" y="125"/>
                  <a:pt x="338" y="125"/>
                  <a:pt x="338" y="125"/>
                </a:cubicBezTo>
                <a:cubicBezTo>
                  <a:pt x="337" y="126"/>
                  <a:pt x="337" y="126"/>
                  <a:pt x="337" y="126"/>
                </a:cubicBezTo>
                <a:cubicBezTo>
                  <a:pt x="338" y="126"/>
                  <a:pt x="338" y="126"/>
                  <a:pt x="338" y="126"/>
                </a:cubicBezTo>
                <a:cubicBezTo>
                  <a:pt x="339" y="127"/>
                  <a:pt x="339" y="127"/>
                  <a:pt x="339" y="127"/>
                </a:cubicBezTo>
                <a:cubicBezTo>
                  <a:pt x="339" y="127"/>
                  <a:pt x="339" y="127"/>
                  <a:pt x="339" y="127"/>
                </a:cubicBezTo>
                <a:cubicBezTo>
                  <a:pt x="337" y="127"/>
                  <a:pt x="337" y="127"/>
                  <a:pt x="337" y="127"/>
                </a:cubicBezTo>
                <a:cubicBezTo>
                  <a:pt x="337" y="128"/>
                  <a:pt x="337" y="128"/>
                  <a:pt x="337" y="128"/>
                </a:cubicBezTo>
                <a:cubicBezTo>
                  <a:pt x="337" y="129"/>
                  <a:pt x="337" y="129"/>
                  <a:pt x="337" y="129"/>
                </a:cubicBezTo>
                <a:cubicBezTo>
                  <a:pt x="337" y="129"/>
                  <a:pt x="337" y="129"/>
                  <a:pt x="337" y="129"/>
                </a:cubicBezTo>
                <a:cubicBezTo>
                  <a:pt x="337" y="129"/>
                  <a:pt x="337" y="129"/>
                  <a:pt x="337" y="129"/>
                </a:cubicBezTo>
                <a:cubicBezTo>
                  <a:pt x="336" y="129"/>
                  <a:pt x="336" y="129"/>
                  <a:pt x="336" y="129"/>
                </a:cubicBezTo>
                <a:cubicBezTo>
                  <a:pt x="335" y="129"/>
                  <a:pt x="335" y="129"/>
                  <a:pt x="335" y="129"/>
                </a:cubicBezTo>
                <a:cubicBezTo>
                  <a:pt x="334" y="130"/>
                  <a:pt x="334" y="130"/>
                  <a:pt x="334" y="130"/>
                </a:cubicBezTo>
                <a:cubicBezTo>
                  <a:pt x="333" y="131"/>
                  <a:pt x="333" y="131"/>
                  <a:pt x="333" y="131"/>
                </a:cubicBezTo>
                <a:cubicBezTo>
                  <a:pt x="333" y="132"/>
                  <a:pt x="333" y="132"/>
                  <a:pt x="333" y="132"/>
                </a:cubicBezTo>
                <a:cubicBezTo>
                  <a:pt x="333" y="132"/>
                  <a:pt x="333" y="132"/>
                  <a:pt x="333" y="132"/>
                </a:cubicBezTo>
                <a:cubicBezTo>
                  <a:pt x="334" y="132"/>
                  <a:pt x="334" y="132"/>
                  <a:pt x="334" y="132"/>
                </a:cubicBezTo>
                <a:cubicBezTo>
                  <a:pt x="333" y="133"/>
                  <a:pt x="333" y="133"/>
                  <a:pt x="333" y="133"/>
                </a:cubicBezTo>
                <a:cubicBezTo>
                  <a:pt x="333" y="134"/>
                  <a:pt x="333" y="134"/>
                  <a:pt x="333" y="134"/>
                </a:cubicBezTo>
                <a:cubicBezTo>
                  <a:pt x="334" y="134"/>
                  <a:pt x="334" y="134"/>
                  <a:pt x="334" y="134"/>
                </a:cubicBezTo>
                <a:cubicBezTo>
                  <a:pt x="334" y="133"/>
                  <a:pt x="334" y="133"/>
                  <a:pt x="334" y="133"/>
                </a:cubicBezTo>
                <a:cubicBezTo>
                  <a:pt x="335" y="133"/>
                  <a:pt x="335" y="133"/>
                  <a:pt x="335" y="133"/>
                </a:cubicBezTo>
                <a:cubicBezTo>
                  <a:pt x="334" y="134"/>
                  <a:pt x="334" y="134"/>
                  <a:pt x="334" y="134"/>
                </a:cubicBezTo>
                <a:cubicBezTo>
                  <a:pt x="334" y="135"/>
                  <a:pt x="334" y="135"/>
                  <a:pt x="334" y="135"/>
                </a:cubicBezTo>
                <a:cubicBezTo>
                  <a:pt x="335" y="135"/>
                  <a:pt x="335" y="135"/>
                  <a:pt x="335" y="135"/>
                </a:cubicBezTo>
                <a:cubicBezTo>
                  <a:pt x="336" y="135"/>
                  <a:pt x="336" y="135"/>
                  <a:pt x="336" y="135"/>
                </a:cubicBezTo>
                <a:cubicBezTo>
                  <a:pt x="336" y="136"/>
                  <a:pt x="336" y="136"/>
                  <a:pt x="336" y="136"/>
                </a:cubicBezTo>
                <a:cubicBezTo>
                  <a:pt x="336" y="137"/>
                  <a:pt x="336" y="137"/>
                  <a:pt x="336" y="137"/>
                </a:cubicBezTo>
                <a:cubicBezTo>
                  <a:pt x="337" y="137"/>
                  <a:pt x="337" y="137"/>
                  <a:pt x="337" y="137"/>
                </a:cubicBezTo>
                <a:cubicBezTo>
                  <a:pt x="337" y="136"/>
                  <a:pt x="337" y="136"/>
                  <a:pt x="337" y="136"/>
                </a:cubicBezTo>
                <a:cubicBezTo>
                  <a:pt x="338" y="136"/>
                  <a:pt x="338" y="136"/>
                  <a:pt x="338" y="136"/>
                </a:cubicBezTo>
                <a:cubicBezTo>
                  <a:pt x="338" y="138"/>
                  <a:pt x="338" y="138"/>
                  <a:pt x="338" y="138"/>
                </a:cubicBezTo>
                <a:cubicBezTo>
                  <a:pt x="338" y="138"/>
                  <a:pt x="338" y="138"/>
                  <a:pt x="338" y="138"/>
                </a:cubicBezTo>
                <a:cubicBezTo>
                  <a:pt x="339" y="138"/>
                  <a:pt x="339" y="138"/>
                  <a:pt x="339" y="138"/>
                </a:cubicBezTo>
                <a:cubicBezTo>
                  <a:pt x="339" y="139"/>
                  <a:pt x="339" y="139"/>
                  <a:pt x="339" y="139"/>
                </a:cubicBezTo>
                <a:cubicBezTo>
                  <a:pt x="341" y="139"/>
                  <a:pt x="341" y="139"/>
                  <a:pt x="341" y="139"/>
                </a:cubicBezTo>
                <a:cubicBezTo>
                  <a:pt x="342" y="140"/>
                  <a:pt x="342" y="140"/>
                  <a:pt x="342" y="140"/>
                </a:cubicBezTo>
                <a:cubicBezTo>
                  <a:pt x="343" y="140"/>
                  <a:pt x="343" y="140"/>
                  <a:pt x="343" y="140"/>
                </a:cubicBezTo>
                <a:cubicBezTo>
                  <a:pt x="344" y="141"/>
                  <a:pt x="344" y="141"/>
                  <a:pt x="344" y="141"/>
                </a:cubicBezTo>
                <a:cubicBezTo>
                  <a:pt x="344" y="140"/>
                  <a:pt x="344" y="140"/>
                  <a:pt x="344" y="140"/>
                </a:cubicBezTo>
                <a:cubicBezTo>
                  <a:pt x="344" y="139"/>
                  <a:pt x="344" y="139"/>
                  <a:pt x="344" y="139"/>
                </a:cubicBezTo>
                <a:cubicBezTo>
                  <a:pt x="345" y="139"/>
                  <a:pt x="345" y="139"/>
                  <a:pt x="345" y="139"/>
                </a:cubicBezTo>
                <a:cubicBezTo>
                  <a:pt x="345" y="137"/>
                  <a:pt x="345" y="137"/>
                  <a:pt x="345" y="137"/>
                </a:cubicBezTo>
                <a:cubicBezTo>
                  <a:pt x="345" y="136"/>
                  <a:pt x="345" y="136"/>
                  <a:pt x="345" y="136"/>
                </a:cubicBezTo>
                <a:cubicBezTo>
                  <a:pt x="346" y="134"/>
                  <a:pt x="346" y="134"/>
                  <a:pt x="346" y="134"/>
                </a:cubicBezTo>
                <a:cubicBezTo>
                  <a:pt x="346" y="134"/>
                  <a:pt x="346" y="134"/>
                  <a:pt x="346" y="134"/>
                </a:cubicBezTo>
                <a:cubicBezTo>
                  <a:pt x="347" y="132"/>
                  <a:pt x="347" y="132"/>
                  <a:pt x="347" y="132"/>
                </a:cubicBezTo>
                <a:cubicBezTo>
                  <a:pt x="347" y="130"/>
                  <a:pt x="347" y="130"/>
                  <a:pt x="347" y="130"/>
                </a:cubicBezTo>
                <a:cubicBezTo>
                  <a:pt x="348" y="130"/>
                  <a:pt x="348" y="130"/>
                  <a:pt x="348" y="130"/>
                </a:cubicBezTo>
                <a:cubicBezTo>
                  <a:pt x="347" y="128"/>
                  <a:pt x="347" y="128"/>
                  <a:pt x="347" y="128"/>
                </a:cubicBezTo>
                <a:cubicBezTo>
                  <a:pt x="346" y="128"/>
                  <a:pt x="346" y="128"/>
                  <a:pt x="346" y="128"/>
                </a:cubicBezTo>
                <a:cubicBezTo>
                  <a:pt x="346" y="126"/>
                  <a:pt x="346" y="126"/>
                  <a:pt x="346" y="126"/>
                </a:cubicBezTo>
                <a:cubicBezTo>
                  <a:pt x="346" y="126"/>
                  <a:pt x="346" y="126"/>
                  <a:pt x="346" y="126"/>
                </a:cubicBezTo>
                <a:cubicBezTo>
                  <a:pt x="345" y="125"/>
                  <a:pt x="345" y="125"/>
                  <a:pt x="345" y="125"/>
                </a:cubicBezTo>
                <a:cubicBezTo>
                  <a:pt x="344" y="124"/>
                  <a:pt x="344" y="124"/>
                  <a:pt x="344" y="124"/>
                </a:cubicBezTo>
                <a:cubicBezTo>
                  <a:pt x="343" y="124"/>
                  <a:pt x="343" y="124"/>
                  <a:pt x="343" y="124"/>
                </a:cubicBezTo>
                <a:cubicBezTo>
                  <a:pt x="341" y="124"/>
                  <a:pt x="341" y="124"/>
                  <a:pt x="341" y="124"/>
                </a:cubicBezTo>
                <a:cubicBezTo>
                  <a:pt x="340" y="124"/>
                  <a:pt x="340" y="124"/>
                  <a:pt x="340" y="124"/>
                </a:cubicBezTo>
                <a:cubicBezTo>
                  <a:pt x="340" y="125"/>
                  <a:pt x="340" y="125"/>
                  <a:pt x="340" y="125"/>
                </a:cubicBezTo>
                <a:cubicBezTo>
                  <a:pt x="340" y="126"/>
                  <a:pt x="340" y="126"/>
                  <a:pt x="340" y="126"/>
                </a:cubicBezTo>
                <a:cubicBezTo>
                  <a:pt x="340" y="126"/>
                  <a:pt x="340" y="126"/>
                  <a:pt x="340" y="126"/>
                </a:cubicBezTo>
                <a:cubicBezTo>
                  <a:pt x="340" y="126"/>
                  <a:pt x="340" y="126"/>
                  <a:pt x="340" y="126"/>
                </a:cubicBezTo>
                <a:close/>
                <a:moveTo>
                  <a:pt x="348" y="116"/>
                </a:moveTo>
                <a:cubicBezTo>
                  <a:pt x="347" y="116"/>
                  <a:pt x="347" y="116"/>
                  <a:pt x="347" y="116"/>
                </a:cubicBezTo>
                <a:cubicBezTo>
                  <a:pt x="347" y="115"/>
                  <a:pt x="347" y="115"/>
                  <a:pt x="347" y="115"/>
                </a:cubicBezTo>
                <a:cubicBezTo>
                  <a:pt x="348" y="115"/>
                  <a:pt x="348" y="115"/>
                  <a:pt x="348" y="115"/>
                </a:cubicBezTo>
                <a:cubicBezTo>
                  <a:pt x="348" y="115"/>
                  <a:pt x="348" y="116"/>
                  <a:pt x="348" y="116"/>
                </a:cubicBezTo>
                <a:close/>
                <a:moveTo>
                  <a:pt x="346" y="123"/>
                </a:moveTo>
                <a:cubicBezTo>
                  <a:pt x="346" y="122"/>
                  <a:pt x="346" y="122"/>
                  <a:pt x="346" y="122"/>
                </a:cubicBezTo>
                <a:cubicBezTo>
                  <a:pt x="346" y="122"/>
                  <a:pt x="346" y="122"/>
                  <a:pt x="346" y="122"/>
                </a:cubicBezTo>
                <a:cubicBezTo>
                  <a:pt x="346" y="121"/>
                  <a:pt x="346" y="121"/>
                  <a:pt x="346" y="121"/>
                </a:cubicBezTo>
                <a:cubicBezTo>
                  <a:pt x="346" y="120"/>
                  <a:pt x="346" y="120"/>
                  <a:pt x="346" y="120"/>
                </a:cubicBezTo>
                <a:cubicBezTo>
                  <a:pt x="346" y="119"/>
                  <a:pt x="346" y="119"/>
                  <a:pt x="346" y="119"/>
                </a:cubicBezTo>
                <a:cubicBezTo>
                  <a:pt x="347" y="119"/>
                  <a:pt x="347" y="119"/>
                  <a:pt x="347" y="119"/>
                </a:cubicBezTo>
                <a:cubicBezTo>
                  <a:pt x="348" y="119"/>
                  <a:pt x="348" y="119"/>
                  <a:pt x="348" y="119"/>
                </a:cubicBezTo>
                <a:cubicBezTo>
                  <a:pt x="347" y="121"/>
                  <a:pt x="347" y="121"/>
                  <a:pt x="347" y="121"/>
                </a:cubicBezTo>
                <a:cubicBezTo>
                  <a:pt x="347" y="122"/>
                  <a:pt x="347" y="122"/>
                  <a:pt x="347" y="122"/>
                </a:cubicBezTo>
                <a:cubicBezTo>
                  <a:pt x="347" y="122"/>
                  <a:pt x="346" y="123"/>
                  <a:pt x="346" y="123"/>
                </a:cubicBezTo>
                <a:close/>
                <a:moveTo>
                  <a:pt x="338" y="120"/>
                </a:moveTo>
                <a:cubicBezTo>
                  <a:pt x="337" y="120"/>
                  <a:pt x="337" y="120"/>
                  <a:pt x="337" y="120"/>
                </a:cubicBezTo>
                <a:cubicBezTo>
                  <a:pt x="338" y="119"/>
                  <a:pt x="338" y="119"/>
                  <a:pt x="338" y="119"/>
                </a:cubicBezTo>
                <a:cubicBezTo>
                  <a:pt x="339" y="119"/>
                  <a:pt x="339" y="119"/>
                  <a:pt x="339" y="119"/>
                </a:cubicBezTo>
                <a:cubicBezTo>
                  <a:pt x="339" y="119"/>
                  <a:pt x="339" y="119"/>
                  <a:pt x="339" y="119"/>
                </a:cubicBezTo>
                <a:cubicBezTo>
                  <a:pt x="339" y="119"/>
                  <a:pt x="339" y="119"/>
                  <a:pt x="339" y="119"/>
                </a:cubicBezTo>
                <a:cubicBezTo>
                  <a:pt x="338" y="120"/>
                  <a:pt x="338" y="120"/>
                  <a:pt x="338" y="120"/>
                </a:cubicBezTo>
                <a:cubicBezTo>
                  <a:pt x="338" y="120"/>
                  <a:pt x="338" y="120"/>
                  <a:pt x="338" y="120"/>
                </a:cubicBezTo>
                <a:close/>
                <a:moveTo>
                  <a:pt x="336" y="122"/>
                </a:moveTo>
                <a:cubicBezTo>
                  <a:pt x="335" y="121"/>
                  <a:pt x="335" y="121"/>
                  <a:pt x="335" y="121"/>
                </a:cubicBezTo>
                <a:cubicBezTo>
                  <a:pt x="336" y="121"/>
                  <a:pt x="336" y="121"/>
                  <a:pt x="336" y="121"/>
                </a:cubicBezTo>
                <a:cubicBezTo>
                  <a:pt x="337" y="121"/>
                  <a:pt x="337" y="121"/>
                  <a:pt x="337" y="121"/>
                </a:cubicBezTo>
                <a:cubicBezTo>
                  <a:pt x="336" y="121"/>
                  <a:pt x="336" y="121"/>
                  <a:pt x="336" y="121"/>
                </a:cubicBezTo>
                <a:cubicBezTo>
                  <a:pt x="336" y="122"/>
                  <a:pt x="336" y="122"/>
                  <a:pt x="336" y="122"/>
                </a:cubicBezTo>
                <a:close/>
                <a:moveTo>
                  <a:pt x="337" y="124"/>
                </a:moveTo>
                <a:cubicBezTo>
                  <a:pt x="337" y="124"/>
                  <a:pt x="337" y="124"/>
                  <a:pt x="337" y="124"/>
                </a:cubicBezTo>
                <a:cubicBezTo>
                  <a:pt x="337" y="123"/>
                  <a:pt x="337" y="123"/>
                  <a:pt x="337" y="123"/>
                </a:cubicBezTo>
                <a:cubicBezTo>
                  <a:pt x="337" y="122"/>
                  <a:pt x="337" y="122"/>
                  <a:pt x="337" y="122"/>
                </a:cubicBezTo>
                <a:cubicBezTo>
                  <a:pt x="338" y="122"/>
                  <a:pt x="338" y="122"/>
                  <a:pt x="338" y="122"/>
                </a:cubicBezTo>
                <a:cubicBezTo>
                  <a:pt x="338" y="123"/>
                  <a:pt x="338" y="123"/>
                  <a:pt x="338" y="123"/>
                </a:cubicBezTo>
                <a:cubicBezTo>
                  <a:pt x="339" y="123"/>
                  <a:pt x="339" y="123"/>
                  <a:pt x="339" y="123"/>
                </a:cubicBezTo>
                <a:cubicBezTo>
                  <a:pt x="338" y="124"/>
                  <a:pt x="338" y="124"/>
                  <a:pt x="338" y="124"/>
                </a:cubicBezTo>
                <a:cubicBezTo>
                  <a:pt x="337" y="124"/>
                  <a:pt x="337" y="124"/>
                  <a:pt x="337" y="124"/>
                </a:cubicBezTo>
                <a:close/>
                <a:moveTo>
                  <a:pt x="335" y="126"/>
                </a:moveTo>
                <a:cubicBezTo>
                  <a:pt x="334" y="125"/>
                  <a:pt x="334" y="125"/>
                  <a:pt x="334" y="125"/>
                </a:cubicBezTo>
                <a:cubicBezTo>
                  <a:pt x="334" y="123"/>
                  <a:pt x="334" y="123"/>
                  <a:pt x="334" y="123"/>
                </a:cubicBezTo>
                <a:cubicBezTo>
                  <a:pt x="334" y="123"/>
                  <a:pt x="334" y="123"/>
                  <a:pt x="334" y="123"/>
                </a:cubicBezTo>
                <a:cubicBezTo>
                  <a:pt x="335" y="123"/>
                  <a:pt x="335" y="123"/>
                  <a:pt x="335" y="123"/>
                </a:cubicBezTo>
                <a:cubicBezTo>
                  <a:pt x="336" y="123"/>
                  <a:pt x="336" y="123"/>
                  <a:pt x="336" y="123"/>
                </a:cubicBezTo>
                <a:cubicBezTo>
                  <a:pt x="336" y="123"/>
                  <a:pt x="336" y="123"/>
                  <a:pt x="336" y="123"/>
                </a:cubicBezTo>
                <a:cubicBezTo>
                  <a:pt x="337" y="123"/>
                  <a:pt x="337" y="123"/>
                  <a:pt x="337" y="123"/>
                </a:cubicBezTo>
                <a:cubicBezTo>
                  <a:pt x="336" y="124"/>
                  <a:pt x="336" y="124"/>
                  <a:pt x="336" y="124"/>
                </a:cubicBezTo>
                <a:cubicBezTo>
                  <a:pt x="336" y="125"/>
                  <a:pt x="336" y="125"/>
                  <a:pt x="336" y="125"/>
                </a:cubicBezTo>
                <a:cubicBezTo>
                  <a:pt x="336" y="125"/>
                  <a:pt x="336" y="125"/>
                  <a:pt x="336" y="125"/>
                </a:cubicBezTo>
                <a:cubicBezTo>
                  <a:pt x="335" y="125"/>
                  <a:pt x="335" y="125"/>
                  <a:pt x="335" y="125"/>
                </a:cubicBezTo>
                <a:cubicBezTo>
                  <a:pt x="335" y="126"/>
                  <a:pt x="335" y="126"/>
                  <a:pt x="335" y="126"/>
                </a:cubicBezTo>
                <a:close/>
                <a:moveTo>
                  <a:pt x="331" y="126"/>
                </a:moveTo>
                <a:cubicBezTo>
                  <a:pt x="331" y="125"/>
                  <a:pt x="331" y="125"/>
                  <a:pt x="331" y="125"/>
                </a:cubicBezTo>
                <a:cubicBezTo>
                  <a:pt x="332" y="125"/>
                  <a:pt x="332" y="125"/>
                  <a:pt x="332" y="125"/>
                </a:cubicBezTo>
                <a:cubicBezTo>
                  <a:pt x="332" y="125"/>
                  <a:pt x="332" y="125"/>
                  <a:pt x="332" y="125"/>
                </a:cubicBezTo>
                <a:cubicBezTo>
                  <a:pt x="332" y="126"/>
                  <a:pt x="332" y="126"/>
                  <a:pt x="332" y="126"/>
                </a:cubicBezTo>
                <a:cubicBezTo>
                  <a:pt x="331" y="126"/>
                  <a:pt x="331" y="126"/>
                  <a:pt x="331" y="126"/>
                </a:cubicBezTo>
                <a:close/>
                <a:moveTo>
                  <a:pt x="319" y="128"/>
                </a:moveTo>
                <a:cubicBezTo>
                  <a:pt x="318" y="127"/>
                  <a:pt x="318" y="127"/>
                  <a:pt x="318" y="127"/>
                </a:cubicBezTo>
                <a:cubicBezTo>
                  <a:pt x="317" y="127"/>
                  <a:pt x="317" y="127"/>
                  <a:pt x="317" y="127"/>
                </a:cubicBezTo>
                <a:cubicBezTo>
                  <a:pt x="316" y="127"/>
                  <a:pt x="316" y="127"/>
                  <a:pt x="316" y="127"/>
                </a:cubicBezTo>
                <a:cubicBezTo>
                  <a:pt x="316" y="125"/>
                  <a:pt x="316" y="125"/>
                  <a:pt x="316" y="125"/>
                </a:cubicBezTo>
                <a:cubicBezTo>
                  <a:pt x="316" y="125"/>
                  <a:pt x="316" y="125"/>
                  <a:pt x="316" y="125"/>
                </a:cubicBezTo>
                <a:cubicBezTo>
                  <a:pt x="316" y="124"/>
                  <a:pt x="316" y="124"/>
                  <a:pt x="316" y="124"/>
                </a:cubicBezTo>
                <a:cubicBezTo>
                  <a:pt x="317" y="123"/>
                  <a:pt x="317" y="123"/>
                  <a:pt x="317" y="123"/>
                </a:cubicBezTo>
                <a:cubicBezTo>
                  <a:pt x="317" y="123"/>
                  <a:pt x="317" y="123"/>
                  <a:pt x="317" y="123"/>
                </a:cubicBezTo>
                <a:cubicBezTo>
                  <a:pt x="318" y="124"/>
                  <a:pt x="318" y="124"/>
                  <a:pt x="318" y="124"/>
                </a:cubicBezTo>
                <a:cubicBezTo>
                  <a:pt x="318" y="124"/>
                  <a:pt x="318" y="124"/>
                  <a:pt x="318" y="124"/>
                </a:cubicBezTo>
                <a:cubicBezTo>
                  <a:pt x="318" y="123"/>
                  <a:pt x="318" y="123"/>
                  <a:pt x="318" y="123"/>
                </a:cubicBezTo>
                <a:cubicBezTo>
                  <a:pt x="318" y="122"/>
                  <a:pt x="318" y="122"/>
                  <a:pt x="318" y="122"/>
                </a:cubicBezTo>
                <a:cubicBezTo>
                  <a:pt x="317" y="122"/>
                  <a:pt x="317" y="122"/>
                  <a:pt x="317" y="122"/>
                </a:cubicBezTo>
                <a:cubicBezTo>
                  <a:pt x="316" y="121"/>
                  <a:pt x="316" y="121"/>
                  <a:pt x="316" y="121"/>
                </a:cubicBezTo>
                <a:cubicBezTo>
                  <a:pt x="316" y="121"/>
                  <a:pt x="316" y="121"/>
                  <a:pt x="316" y="121"/>
                </a:cubicBezTo>
                <a:cubicBezTo>
                  <a:pt x="316" y="120"/>
                  <a:pt x="316" y="120"/>
                  <a:pt x="316" y="120"/>
                </a:cubicBezTo>
                <a:cubicBezTo>
                  <a:pt x="317" y="120"/>
                  <a:pt x="317" y="120"/>
                  <a:pt x="317" y="120"/>
                </a:cubicBezTo>
                <a:cubicBezTo>
                  <a:pt x="317" y="121"/>
                  <a:pt x="317" y="121"/>
                  <a:pt x="317" y="121"/>
                </a:cubicBezTo>
                <a:cubicBezTo>
                  <a:pt x="318" y="120"/>
                  <a:pt x="318" y="120"/>
                  <a:pt x="318" y="120"/>
                </a:cubicBezTo>
                <a:cubicBezTo>
                  <a:pt x="318" y="120"/>
                  <a:pt x="318" y="120"/>
                  <a:pt x="318" y="120"/>
                </a:cubicBezTo>
                <a:cubicBezTo>
                  <a:pt x="318" y="119"/>
                  <a:pt x="318" y="119"/>
                  <a:pt x="318" y="119"/>
                </a:cubicBezTo>
                <a:cubicBezTo>
                  <a:pt x="319" y="120"/>
                  <a:pt x="319" y="120"/>
                  <a:pt x="319" y="120"/>
                </a:cubicBezTo>
                <a:cubicBezTo>
                  <a:pt x="321" y="120"/>
                  <a:pt x="321" y="120"/>
                  <a:pt x="321" y="120"/>
                </a:cubicBezTo>
                <a:cubicBezTo>
                  <a:pt x="322" y="120"/>
                  <a:pt x="322" y="120"/>
                  <a:pt x="322" y="120"/>
                </a:cubicBezTo>
                <a:cubicBezTo>
                  <a:pt x="321" y="119"/>
                  <a:pt x="321" y="119"/>
                  <a:pt x="321" y="119"/>
                </a:cubicBezTo>
                <a:cubicBezTo>
                  <a:pt x="320" y="119"/>
                  <a:pt x="320" y="119"/>
                  <a:pt x="320" y="119"/>
                </a:cubicBezTo>
                <a:cubicBezTo>
                  <a:pt x="321" y="119"/>
                  <a:pt x="321" y="119"/>
                  <a:pt x="321" y="119"/>
                </a:cubicBezTo>
                <a:cubicBezTo>
                  <a:pt x="323" y="119"/>
                  <a:pt x="323" y="119"/>
                  <a:pt x="323" y="119"/>
                </a:cubicBezTo>
                <a:cubicBezTo>
                  <a:pt x="324" y="118"/>
                  <a:pt x="324" y="118"/>
                  <a:pt x="324" y="118"/>
                </a:cubicBezTo>
                <a:cubicBezTo>
                  <a:pt x="325" y="118"/>
                  <a:pt x="325" y="118"/>
                  <a:pt x="325" y="118"/>
                </a:cubicBezTo>
                <a:cubicBezTo>
                  <a:pt x="327" y="118"/>
                  <a:pt x="327" y="118"/>
                  <a:pt x="327" y="118"/>
                </a:cubicBezTo>
                <a:cubicBezTo>
                  <a:pt x="328" y="118"/>
                  <a:pt x="328" y="118"/>
                  <a:pt x="328" y="118"/>
                </a:cubicBezTo>
                <a:cubicBezTo>
                  <a:pt x="327" y="117"/>
                  <a:pt x="327" y="117"/>
                  <a:pt x="327" y="117"/>
                </a:cubicBezTo>
                <a:cubicBezTo>
                  <a:pt x="322" y="116"/>
                  <a:pt x="322" y="116"/>
                  <a:pt x="322" y="116"/>
                </a:cubicBezTo>
                <a:cubicBezTo>
                  <a:pt x="321" y="116"/>
                  <a:pt x="321" y="116"/>
                  <a:pt x="321" y="116"/>
                </a:cubicBezTo>
                <a:cubicBezTo>
                  <a:pt x="320" y="116"/>
                  <a:pt x="320" y="116"/>
                  <a:pt x="320" y="116"/>
                </a:cubicBezTo>
                <a:cubicBezTo>
                  <a:pt x="318" y="116"/>
                  <a:pt x="318" y="116"/>
                  <a:pt x="318" y="116"/>
                </a:cubicBezTo>
                <a:cubicBezTo>
                  <a:pt x="317" y="115"/>
                  <a:pt x="317" y="115"/>
                  <a:pt x="317" y="115"/>
                </a:cubicBezTo>
                <a:cubicBezTo>
                  <a:pt x="316" y="116"/>
                  <a:pt x="316" y="116"/>
                  <a:pt x="316" y="116"/>
                </a:cubicBezTo>
                <a:cubicBezTo>
                  <a:pt x="315" y="115"/>
                  <a:pt x="315" y="115"/>
                  <a:pt x="315" y="115"/>
                </a:cubicBezTo>
                <a:cubicBezTo>
                  <a:pt x="314" y="115"/>
                  <a:pt x="314" y="115"/>
                  <a:pt x="314" y="115"/>
                </a:cubicBezTo>
                <a:cubicBezTo>
                  <a:pt x="313" y="116"/>
                  <a:pt x="313" y="116"/>
                  <a:pt x="313" y="116"/>
                </a:cubicBezTo>
                <a:cubicBezTo>
                  <a:pt x="313" y="115"/>
                  <a:pt x="313" y="115"/>
                  <a:pt x="313" y="115"/>
                </a:cubicBezTo>
                <a:cubicBezTo>
                  <a:pt x="312" y="115"/>
                  <a:pt x="312" y="115"/>
                  <a:pt x="312" y="115"/>
                </a:cubicBezTo>
                <a:cubicBezTo>
                  <a:pt x="312" y="115"/>
                  <a:pt x="312" y="115"/>
                  <a:pt x="312" y="115"/>
                </a:cubicBezTo>
                <a:cubicBezTo>
                  <a:pt x="312" y="114"/>
                  <a:pt x="312" y="114"/>
                  <a:pt x="312" y="114"/>
                </a:cubicBezTo>
                <a:cubicBezTo>
                  <a:pt x="313" y="114"/>
                  <a:pt x="313" y="114"/>
                  <a:pt x="313" y="114"/>
                </a:cubicBezTo>
                <a:cubicBezTo>
                  <a:pt x="313" y="113"/>
                  <a:pt x="313" y="113"/>
                  <a:pt x="313" y="113"/>
                </a:cubicBezTo>
                <a:cubicBezTo>
                  <a:pt x="314" y="113"/>
                  <a:pt x="314" y="113"/>
                  <a:pt x="314" y="113"/>
                </a:cubicBezTo>
                <a:cubicBezTo>
                  <a:pt x="315" y="113"/>
                  <a:pt x="315" y="113"/>
                  <a:pt x="315" y="113"/>
                </a:cubicBezTo>
                <a:cubicBezTo>
                  <a:pt x="314" y="113"/>
                  <a:pt x="314" y="113"/>
                  <a:pt x="314" y="113"/>
                </a:cubicBezTo>
                <a:cubicBezTo>
                  <a:pt x="315" y="112"/>
                  <a:pt x="315" y="112"/>
                  <a:pt x="315" y="112"/>
                </a:cubicBezTo>
                <a:cubicBezTo>
                  <a:pt x="315" y="111"/>
                  <a:pt x="315" y="111"/>
                  <a:pt x="315" y="111"/>
                </a:cubicBezTo>
                <a:cubicBezTo>
                  <a:pt x="316" y="111"/>
                  <a:pt x="316" y="111"/>
                  <a:pt x="316" y="111"/>
                </a:cubicBezTo>
                <a:cubicBezTo>
                  <a:pt x="317" y="111"/>
                  <a:pt x="317" y="111"/>
                  <a:pt x="317" y="111"/>
                </a:cubicBezTo>
                <a:cubicBezTo>
                  <a:pt x="317" y="112"/>
                  <a:pt x="317" y="112"/>
                  <a:pt x="317" y="112"/>
                </a:cubicBezTo>
                <a:cubicBezTo>
                  <a:pt x="318" y="112"/>
                  <a:pt x="318" y="112"/>
                  <a:pt x="318" y="112"/>
                </a:cubicBezTo>
                <a:cubicBezTo>
                  <a:pt x="318" y="114"/>
                  <a:pt x="318" y="114"/>
                  <a:pt x="318" y="114"/>
                </a:cubicBezTo>
                <a:cubicBezTo>
                  <a:pt x="318" y="114"/>
                  <a:pt x="318" y="114"/>
                  <a:pt x="318" y="114"/>
                </a:cubicBezTo>
                <a:cubicBezTo>
                  <a:pt x="319" y="114"/>
                  <a:pt x="319" y="114"/>
                  <a:pt x="319" y="114"/>
                </a:cubicBezTo>
                <a:cubicBezTo>
                  <a:pt x="319" y="112"/>
                  <a:pt x="319" y="112"/>
                  <a:pt x="319" y="112"/>
                </a:cubicBezTo>
                <a:cubicBezTo>
                  <a:pt x="318" y="112"/>
                  <a:pt x="318" y="112"/>
                  <a:pt x="318" y="112"/>
                </a:cubicBezTo>
                <a:cubicBezTo>
                  <a:pt x="318" y="111"/>
                  <a:pt x="318" y="111"/>
                  <a:pt x="318" y="111"/>
                </a:cubicBezTo>
                <a:cubicBezTo>
                  <a:pt x="320" y="110"/>
                  <a:pt x="320" y="110"/>
                  <a:pt x="320" y="110"/>
                </a:cubicBezTo>
                <a:cubicBezTo>
                  <a:pt x="320" y="109"/>
                  <a:pt x="320" y="109"/>
                  <a:pt x="320" y="109"/>
                </a:cubicBezTo>
                <a:cubicBezTo>
                  <a:pt x="319" y="109"/>
                  <a:pt x="319" y="109"/>
                  <a:pt x="319" y="109"/>
                </a:cubicBezTo>
                <a:cubicBezTo>
                  <a:pt x="319" y="107"/>
                  <a:pt x="319" y="107"/>
                  <a:pt x="319" y="107"/>
                </a:cubicBezTo>
                <a:cubicBezTo>
                  <a:pt x="320" y="107"/>
                  <a:pt x="320" y="107"/>
                  <a:pt x="320" y="107"/>
                </a:cubicBezTo>
                <a:cubicBezTo>
                  <a:pt x="321" y="106"/>
                  <a:pt x="321" y="106"/>
                  <a:pt x="321" y="106"/>
                </a:cubicBezTo>
                <a:cubicBezTo>
                  <a:pt x="322" y="106"/>
                  <a:pt x="322" y="106"/>
                  <a:pt x="322" y="106"/>
                </a:cubicBezTo>
                <a:cubicBezTo>
                  <a:pt x="321" y="105"/>
                  <a:pt x="321" y="105"/>
                  <a:pt x="321" y="105"/>
                </a:cubicBezTo>
                <a:cubicBezTo>
                  <a:pt x="321" y="105"/>
                  <a:pt x="321" y="105"/>
                  <a:pt x="321" y="105"/>
                </a:cubicBezTo>
                <a:cubicBezTo>
                  <a:pt x="320" y="105"/>
                  <a:pt x="320" y="105"/>
                  <a:pt x="320" y="105"/>
                </a:cubicBezTo>
                <a:cubicBezTo>
                  <a:pt x="320" y="104"/>
                  <a:pt x="320" y="104"/>
                  <a:pt x="320" y="104"/>
                </a:cubicBezTo>
                <a:cubicBezTo>
                  <a:pt x="321" y="103"/>
                  <a:pt x="321" y="103"/>
                  <a:pt x="321" y="103"/>
                </a:cubicBezTo>
                <a:cubicBezTo>
                  <a:pt x="322" y="102"/>
                  <a:pt x="322" y="102"/>
                  <a:pt x="322" y="102"/>
                </a:cubicBezTo>
                <a:cubicBezTo>
                  <a:pt x="323" y="102"/>
                  <a:pt x="323" y="102"/>
                  <a:pt x="323" y="102"/>
                </a:cubicBezTo>
                <a:cubicBezTo>
                  <a:pt x="323" y="102"/>
                  <a:pt x="323" y="102"/>
                  <a:pt x="323" y="102"/>
                </a:cubicBezTo>
                <a:cubicBezTo>
                  <a:pt x="324" y="103"/>
                  <a:pt x="324" y="103"/>
                  <a:pt x="324" y="103"/>
                </a:cubicBezTo>
                <a:cubicBezTo>
                  <a:pt x="324" y="104"/>
                  <a:pt x="324" y="104"/>
                  <a:pt x="324" y="104"/>
                </a:cubicBezTo>
                <a:cubicBezTo>
                  <a:pt x="324" y="105"/>
                  <a:pt x="324" y="105"/>
                  <a:pt x="324" y="105"/>
                </a:cubicBezTo>
                <a:cubicBezTo>
                  <a:pt x="324" y="105"/>
                  <a:pt x="324" y="105"/>
                  <a:pt x="324" y="105"/>
                </a:cubicBezTo>
                <a:cubicBezTo>
                  <a:pt x="324" y="106"/>
                  <a:pt x="324" y="106"/>
                  <a:pt x="324" y="106"/>
                </a:cubicBezTo>
                <a:cubicBezTo>
                  <a:pt x="325" y="107"/>
                  <a:pt x="325" y="107"/>
                  <a:pt x="325" y="107"/>
                </a:cubicBezTo>
                <a:cubicBezTo>
                  <a:pt x="325" y="111"/>
                  <a:pt x="325" y="111"/>
                  <a:pt x="325" y="111"/>
                </a:cubicBezTo>
                <a:cubicBezTo>
                  <a:pt x="325" y="112"/>
                  <a:pt x="325" y="112"/>
                  <a:pt x="325" y="112"/>
                </a:cubicBezTo>
                <a:cubicBezTo>
                  <a:pt x="325" y="112"/>
                  <a:pt x="325" y="112"/>
                  <a:pt x="325" y="112"/>
                </a:cubicBezTo>
                <a:cubicBezTo>
                  <a:pt x="326" y="113"/>
                  <a:pt x="326" y="113"/>
                  <a:pt x="326" y="113"/>
                </a:cubicBezTo>
                <a:cubicBezTo>
                  <a:pt x="328" y="112"/>
                  <a:pt x="328" y="112"/>
                  <a:pt x="328" y="112"/>
                </a:cubicBezTo>
                <a:cubicBezTo>
                  <a:pt x="327" y="111"/>
                  <a:pt x="327" y="111"/>
                  <a:pt x="327" y="111"/>
                </a:cubicBezTo>
                <a:cubicBezTo>
                  <a:pt x="327" y="109"/>
                  <a:pt x="327" y="109"/>
                  <a:pt x="327" y="109"/>
                </a:cubicBezTo>
                <a:cubicBezTo>
                  <a:pt x="328" y="109"/>
                  <a:pt x="328" y="109"/>
                  <a:pt x="328" y="109"/>
                </a:cubicBezTo>
                <a:cubicBezTo>
                  <a:pt x="328" y="108"/>
                  <a:pt x="328" y="108"/>
                  <a:pt x="328" y="108"/>
                </a:cubicBezTo>
                <a:cubicBezTo>
                  <a:pt x="326" y="107"/>
                  <a:pt x="326" y="107"/>
                  <a:pt x="326" y="107"/>
                </a:cubicBezTo>
                <a:cubicBezTo>
                  <a:pt x="327" y="106"/>
                  <a:pt x="327" y="106"/>
                  <a:pt x="327" y="106"/>
                </a:cubicBezTo>
                <a:cubicBezTo>
                  <a:pt x="328" y="106"/>
                  <a:pt x="328" y="106"/>
                  <a:pt x="328" y="106"/>
                </a:cubicBezTo>
                <a:cubicBezTo>
                  <a:pt x="329" y="107"/>
                  <a:pt x="329" y="107"/>
                  <a:pt x="329" y="107"/>
                </a:cubicBezTo>
                <a:cubicBezTo>
                  <a:pt x="329" y="106"/>
                  <a:pt x="329" y="106"/>
                  <a:pt x="329" y="106"/>
                </a:cubicBezTo>
                <a:cubicBezTo>
                  <a:pt x="327" y="105"/>
                  <a:pt x="327" y="105"/>
                  <a:pt x="327" y="105"/>
                </a:cubicBezTo>
                <a:cubicBezTo>
                  <a:pt x="327" y="103"/>
                  <a:pt x="327" y="103"/>
                  <a:pt x="327" y="103"/>
                </a:cubicBezTo>
                <a:cubicBezTo>
                  <a:pt x="327" y="103"/>
                  <a:pt x="327" y="103"/>
                  <a:pt x="327" y="103"/>
                </a:cubicBezTo>
                <a:cubicBezTo>
                  <a:pt x="327" y="101"/>
                  <a:pt x="327" y="101"/>
                  <a:pt x="327" y="101"/>
                </a:cubicBezTo>
                <a:cubicBezTo>
                  <a:pt x="328" y="101"/>
                  <a:pt x="328" y="101"/>
                  <a:pt x="328" y="101"/>
                </a:cubicBezTo>
                <a:cubicBezTo>
                  <a:pt x="329" y="100"/>
                  <a:pt x="329" y="100"/>
                  <a:pt x="329" y="100"/>
                </a:cubicBezTo>
                <a:cubicBezTo>
                  <a:pt x="330" y="100"/>
                  <a:pt x="330" y="100"/>
                  <a:pt x="330" y="100"/>
                </a:cubicBezTo>
                <a:cubicBezTo>
                  <a:pt x="331" y="100"/>
                  <a:pt x="331" y="100"/>
                  <a:pt x="331" y="100"/>
                </a:cubicBezTo>
                <a:cubicBezTo>
                  <a:pt x="331" y="100"/>
                  <a:pt x="332" y="99"/>
                  <a:pt x="332" y="99"/>
                </a:cubicBezTo>
                <a:cubicBezTo>
                  <a:pt x="332" y="99"/>
                  <a:pt x="333" y="99"/>
                  <a:pt x="333" y="99"/>
                </a:cubicBezTo>
                <a:cubicBezTo>
                  <a:pt x="333" y="100"/>
                  <a:pt x="333" y="100"/>
                  <a:pt x="333" y="100"/>
                </a:cubicBezTo>
                <a:cubicBezTo>
                  <a:pt x="334" y="101"/>
                  <a:pt x="334" y="101"/>
                  <a:pt x="334" y="101"/>
                </a:cubicBezTo>
                <a:cubicBezTo>
                  <a:pt x="335" y="100"/>
                  <a:pt x="335" y="100"/>
                  <a:pt x="335" y="100"/>
                </a:cubicBezTo>
                <a:cubicBezTo>
                  <a:pt x="336" y="101"/>
                  <a:pt x="336" y="101"/>
                  <a:pt x="336" y="101"/>
                </a:cubicBezTo>
                <a:cubicBezTo>
                  <a:pt x="335" y="103"/>
                  <a:pt x="335" y="103"/>
                  <a:pt x="335" y="103"/>
                </a:cubicBezTo>
                <a:cubicBezTo>
                  <a:pt x="334" y="104"/>
                  <a:pt x="334" y="104"/>
                  <a:pt x="334" y="104"/>
                </a:cubicBezTo>
                <a:cubicBezTo>
                  <a:pt x="335" y="105"/>
                  <a:pt x="335" y="105"/>
                  <a:pt x="335" y="105"/>
                </a:cubicBezTo>
                <a:cubicBezTo>
                  <a:pt x="335" y="105"/>
                  <a:pt x="335" y="105"/>
                  <a:pt x="335" y="105"/>
                </a:cubicBezTo>
                <a:cubicBezTo>
                  <a:pt x="336" y="105"/>
                  <a:pt x="336" y="105"/>
                  <a:pt x="336" y="105"/>
                </a:cubicBezTo>
                <a:cubicBezTo>
                  <a:pt x="336" y="105"/>
                  <a:pt x="336" y="105"/>
                  <a:pt x="336" y="105"/>
                </a:cubicBezTo>
                <a:cubicBezTo>
                  <a:pt x="337" y="104"/>
                  <a:pt x="337" y="104"/>
                  <a:pt x="337" y="104"/>
                </a:cubicBezTo>
                <a:cubicBezTo>
                  <a:pt x="337" y="102"/>
                  <a:pt x="337" y="102"/>
                  <a:pt x="337" y="102"/>
                </a:cubicBezTo>
                <a:cubicBezTo>
                  <a:pt x="338" y="101"/>
                  <a:pt x="338" y="101"/>
                  <a:pt x="338" y="101"/>
                </a:cubicBezTo>
                <a:cubicBezTo>
                  <a:pt x="339" y="102"/>
                  <a:pt x="339" y="102"/>
                  <a:pt x="339" y="102"/>
                </a:cubicBezTo>
                <a:cubicBezTo>
                  <a:pt x="340" y="102"/>
                  <a:pt x="340" y="102"/>
                  <a:pt x="340" y="102"/>
                </a:cubicBezTo>
                <a:cubicBezTo>
                  <a:pt x="340" y="101"/>
                  <a:pt x="340" y="101"/>
                  <a:pt x="340" y="101"/>
                </a:cubicBezTo>
                <a:cubicBezTo>
                  <a:pt x="339" y="100"/>
                  <a:pt x="339" y="100"/>
                  <a:pt x="339" y="100"/>
                </a:cubicBezTo>
                <a:cubicBezTo>
                  <a:pt x="340" y="100"/>
                  <a:pt x="340" y="100"/>
                  <a:pt x="340" y="100"/>
                </a:cubicBezTo>
                <a:cubicBezTo>
                  <a:pt x="341" y="101"/>
                  <a:pt x="341" y="101"/>
                  <a:pt x="341" y="101"/>
                </a:cubicBezTo>
                <a:cubicBezTo>
                  <a:pt x="341" y="102"/>
                  <a:pt x="341" y="102"/>
                  <a:pt x="341" y="102"/>
                </a:cubicBezTo>
                <a:cubicBezTo>
                  <a:pt x="341" y="103"/>
                  <a:pt x="341" y="103"/>
                  <a:pt x="341" y="103"/>
                </a:cubicBezTo>
                <a:cubicBezTo>
                  <a:pt x="340" y="103"/>
                  <a:pt x="340" y="103"/>
                  <a:pt x="340" y="103"/>
                </a:cubicBezTo>
                <a:cubicBezTo>
                  <a:pt x="340" y="103"/>
                  <a:pt x="340" y="103"/>
                  <a:pt x="340" y="103"/>
                </a:cubicBezTo>
                <a:cubicBezTo>
                  <a:pt x="340" y="104"/>
                  <a:pt x="340" y="104"/>
                  <a:pt x="340" y="104"/>
                </a:cubicBezTo>
                <a:cubicBezTo>
                  <a:pt x="342" y="105"/>
                  <a:pt x="342" y="105"/>
                  <a:pt x="342" y="105"/>
                </a:cubicBezTo>
                <a:cubicBezTo>
                  <a:pt x="342" y="106"/>
                  <a:pt x="342" y="106"/>
                  <a:pt x="342" y="106"/>
                </a:cubicBezTo>
                <a:cubicBezTo>
                  <a:pt x="342" y="107"/>
                  <a:pt x="342" y="107"/>
                  <a:pt x="342" y="107"/>
                </a:cubicBezTo>
                <a:cubicBezTo>
                  <a:pt x="341" y="108"/>
                  <a:pt x="341" y="108"/>
                  <a:pt x="341" y="108"/>
                </a:cubicBezTo>
                <a:cubicBezTo>
                  <a:pt x="340" y="110"/>
                  <a:pt x="340" y="110"/>
                  <a:pt x="340" y="110"/>
                </a:cubicBezTo>
                <a:cubicBezTo>
                  <a:pt x="340" y="111"/>
                  <a:pt x="340" y="111"/>
                  <a:pt x="340" y="111"/>
                </a:cubicBezTo>
                <a:cubicBezTo>
                  <a:pt x="339" y="112"/>
                  <a:pt x="339" y="112"/>
                  <a:pt x="339" y="112"/>
                </a:cubicBezTo>
                <a:cubicBezTo>
                  <a:pt x="338" y="113"/>
                  <a:pt x="338" y="113"/>
                  <a:pt x="338" y="113"/>
                </a:cubicBezTo>
                <a:cubicBezTo>
                  <a:pt x="337" y="114"/>
                  <a:pt x="337" y="114"/>
                  <a:pt x="337" y="114"/>
                </a:cubicBezTo>
                <a:cubicBezTo>
                  <a:pt x="336" y="115"/>
                  <a:pt x="336" y="115"/>
                  <a:pt x="336" y="115"/>
                </a:cubicBezTo>
                <a:cubicBezTo>
                  <a:pt x="335" y="116"/>
                  <a:pt x="335" y="116"/>
                  <a:pt x="335" y="116"/>
                </a:cubicBezTo>
                <a:cubicBezTo>
                  <a:pt x="335" y="117"/>
                  <a:pt x="335" y="117"/>
                  <a:pt x="335" y="117"/>
                </a:cubicBezTo>
                <a:cubicBezTo>
                  <a:pt x="335" y="118"/>
                  <a:pt x="335" y="118"/>
                  <a:pt x="335" y="118"/>
                </a:cubicBezTo>
                <a:cubicBezTo>
                  <a:pt x="334" y="118"/>
                  <a:pt x="334" y="118"/>
                  <a:pt x="334" y="118"/>
                </a:cubicBezTo>
                <a:cubicBezTo>
                  <a:pt x="333" y="118"/>
                  <a:pt x="333" y="118"/>
                  <a:pt x="333" y="118"/>
                </a:cubicBezTo>
                <a:cubicBezTo>
                  <a:pt x="333" y="118"/>
                  <a:pt x="333" y="118"/>
                  <a:pt x="333" y="118"/>
                </a:cubicBezTo>
                <a:cubicBezTo>
                  <a:pt x="333" y="119"/>
                  <a:pt x="333" y="119"/>
                  <a:pt x="333" y="119"/>
                </a:cubicBezTo>
                <a:cubicBezTo>
                  <a:pt x="334" y="119"/>
                  <a:pt x="334" y="119"/>
                  <a:pt x="334" y="119"/>
                </a:cubicBezTo>
                <a:cubicBezTo>
                  <a:pt x="334" y="120"/>
                  <a:pt x="334" y="120"/>
                  <a:pt x="334" y="120"/>
                </a:cubicBezTo>
                <a:cubicBezTo>
                  <a:pt x="333" y="122"/>
                  <a:pt x="333" y="122"/>
                  <a:pt x="333" y="122"/>
                </a:cubicBezTo>
                <a:cubicBezTo>
                  <a:pt x="332" y="123"/>
                  <a:pt x="332" y="123"/>
                  <a:pt x="332" y="123"/>
                </a:cubicBezTo>
                <a:cubicBezTo>
                  <a:pt x="332" y="122"/>
                  <a:pt x="332" y="122"/>
                  <a:pt x="332" y="122"/>
                </a:cubicBezTo>
                <a:cubicBezTo>
                  <a:pt x="332" y="121"/>
                  <a:pt x="332" y="121"/>
                  <a:pt x="332" y="121"/>
                </a:cubicBezTo>
                <a:cubicBezTo>
                  <a:pt x="331" y="121"/>
                  <a:pt x="331" y="121"/>
                  <a:pt x="331" y="121"/>
                </a:cubicBezTo>
                <a:cubicBezTo>
                  <a:pt x="331" y="121"/>
                  <a:pt x="331" y="121"/>
                  <a:pt x="331" y="121"/>
                </a:cubicBezTo>
                <a:cubicBezTo>
                  <a:pt x="331" y="122"/>
                  <a:pt x="331" y="122"/>
                  <a:pt x="331" y="122"/>
                </a:cubicBezTo>
                <a:cubicBezTo>
                  <a:pt x="330" y="123"/>
                  <a:pt x="330" y="123"/>
                  <a:pt x="330" y="123"/>
                </a:cubicBezTo>
                <a:cubicBezTo>
                  <a:pt x="329" y="123"/>
                  <a:pt x="329" y="123"/>
                  <a:pt x="329" y="123"/>
                </a:cubicBezTo>
                <a:cubicBezTo>
                  <a:pt x="328" y="124"/>
                  <a:pt x="328" y="124"/>
                  <a:pt x="328" y="124"/>
                </a:cubicBezTo>
                <a:cubicBezTo>
                  <a:pt x="328" y="125"/>
                  <a:pt x="328" y="125"/>
                  <a:pt x="328" y="125"/>
                </a:cubicBezTo>
                <a:cubicBezTo>
                  <a:pt x="328" y="125"/>
                  <a:pt x="328" y="125"/>
                  <a:pt x="328" y="125"/>
                </a:cubicBezTo>
                <a:cubicBezTo>
                  <a:pt x="329" y="125"/>
                  <a:pt x="329" y="125"/>
                  <a:pt x="329" y="125"/>
                </a:cubicBezTo>
                <a:cubicBezTo>
                  <a:pt x="329" y="126"/>
                  <a:pt x="329" y="126"/>
                  <a:pt x="329" y="126"/>
                </a:cubicBezTo>
                <a:cubicBezTo>
                  <a:pt x="329" y="126"/>
                  <a:pt x="329" y="126"/>
                  <a:pt x="329" y="126"/>
                </a:cubicBezTo>
                <a:cubicBezTo>
                  <a:pt x="329" y="127"/>
                  <a:pt x="329" y="127"/>
                  <a:pt x="329" y="127"/>
                </a:cubicBezTo>
                <a:cubicBezTo>
                  <a:pt x="329" y="128"/>
                  <a:pt x="329" y="128"/>
                  <a:pt x="329" y="128"/>
                </a:cubicBezTo>
                <a:cubicBezTo>
                  <a:pt x="328" y="129"/>
                  <a:pt x="328" y="129"/>
                  <a:pt x="328" y="129"/>
                </a:cubicBezTo>
                <a:cubicBezTo>
                  <a:pt x="328" y="127"/>
                  <a:pt x="328" y="127"/>
                  <a:pt x="328" y="127"/>
                </a:cubicBezTo>
                <a:cubicBezTo>
                  <a:pt x="327" y="126"/>
                  <a:pt x="327" y="126"/>
                  <a:pt x="327" y="126"/>
                </a:cubicBezTo>
                <a:cubicBezTo>
                  <a:pt x="327" y="125"/>
                  <a:pt x="327" y="125"/>
                  <a:pt x="327" y="125"/>
                </a:cubicBezTo>
                <a:cubicBezTo>
                  <a:pt x="327" y="126"/>
                  <a:pt x="327" y="126"/>
                  <a:pt x="327" y="126"/>
                </a:cubicBezTo>
                <a:cubicBezTo>
                  <a:pt x="327" y="127"/>
                  <a:pt x="327" y="127"/>
                  <a:pt x="327" y="127"/>
                </a:cubicBezTo>
                <a:cubicBezTo>
                  <a:pt x="327" y="128"/>
                  <a:pt x="327" y="128"/>
                  <a:pt x="327" y="128"/>
                </a:cubicBezTo>
                <a:cubicBezTo>
                  <a:pt x="326" y="129"/>
                  <a:pt x="326" y="129"/>
                  <a:pt x="326" y="129"/>
                </a:cubicBezTo>
                <a:cubicBezTo>
                  <a:pt x="323" y="129"/>
                  <a:pt x="323" y="129"/>
                  <a:pt x="323" y="129"/>
                </a:cubicBezTo>
                <a:cubicBezTo>
                  <a:pt x="322" y="128"/>
                  <a:pt x="322" y="128"/>
                  <a:pt x="322" y="128"/>
                </a:cubicBezTo>
                <a:cubicBezTo>
                  <a:pt x="322" y="127"/>
                  <a:pt x="322" y="127"/>
                  <a:pt x="322" y="127"/>
                </a:cubicBezTo>
                <a:cubicBezTo>
                  <a:pt x="321" y="128"/>
                  <a:pt x="321" y="128"/>
                  <a:pt x="321" y="128"/>
                </a:cubicBezTo>
                <a:cubicBezTo>
                  <a:pt x="320" y="128"/>
                  <a:pt x="320" y="128"/>
                  <a:pt x="320" y="128"/>
                </a:cubicBezTo>
                <a:cubicBezTo>
                  <a:pt x="320" y="127"/>
                  <a:pt x="320" y="127"/>
                  <a:pt x="320" y="127"/>
                </a:cubicBezTo>
                <a:cubicBezTo>
                  <a:pt x="321" y="126"/>
                  <a:pt x="321" y="126"/>
                  <a:pt x="321" y="126"/>
                </a:cubicBezTo>
                <a:cubicBezTo>
                  <a:pt x="320" y="127"/>
                  <a:pt x="320" y="127"/>
                  <a:pt x="320" y="127"/>
                </a:cubicBezTo>
                <a:cubicBezTo>
                  <a:pt x="319" y="128"/>
                  <a:pt x="319" y="128"/>
                  <a:pt x="319" y="128"/>
                </a:cubicBezTo>
                <a:cubicBezTo>
                  <a:pt x="319" y="128"/>
                  <a:pt x="319" y="128"/>
                  <a:pt x="319" y="128"/>
                </a:cubicBezTo>
                <a:close/>
                <a:moveTo>
                  <a:pt x="237" y="93"/>
                </a:moveTo>
                <a:cubicBezTo>
                  <a:pt x="236" y="93"/>
                  <a:pt x="236" y="93"/>
                  <a:pt x="236" y="93"/>
                </a:cubicBezTo>
                <a:cubicBezTo>
                  <a:pt x="237" y="92"/>
                  <a:pt x="237" y="92"/>
                  <a:pt x="237" y="92"/>
                </a:cubicBezTo>
                <a:cubicBezTo>
                  <a:pt x="240" y="90"/>
                  <a:pt x="240" y="90"/>
                  <a:pt x="240" y="90"/>
                </a:cubicBezTo>
                <a:cubicBezTo>
                  <a:pt x="241" y="89"/>
                  <a:pt x="241" y="89"/>
                  <a:pt x="241" y="89"/>
                </a:cubicBezTo>
                <a:cubicBezTo>
                  <a:pt x="242" y="88"/>
                  <a:pt x="242" y="88"/>
                  <a:pt x="242" y="88"/>
                </a:cubicBezTo>
                <a:cubicBezTo>
                  <a:pt x="243" y="88"/>
                  <a:pt x="243" y="88"/>
                  <a:pt x="243" y="88"/>
                </a:cubicBezTo>
                <a:cubicBezTo>
                  <a:pt x="245" y="87"/>
                  <a:pt x="245" y="87"/>
                  <a:pt x="245" y="87"/>
                </a:cubicBezTo>
                <a:cubicBezTo>
                  <a:pt x="247" y="87"/>
                  <a:pt x="247" y="87"/>
                  <a:pt x="247" y="87"/>
                </a:cubicBezTo>
                <a:cubicBezTo>
                  <a:pt x="248" y="86"/>
                  <a:pt x="248" y="86"/>
                  <a:pt x="248" y="86"/>
                </a:cubicBezTo>
                <a:cubicBezTo>
                  <a:pt x="248" y="86"/>
                  <a:pt x="248" y="86"/>
                  <a:pt x="248" y="86"/>
                </a:cubicBezTo>
                <a:cubicBezTo>
                  <a:pt x="250" y="86"/>
                  <a:pt x="250" y="86"/>
                  <a:pt x="250" y="86"/>
                </a:cubicBezTo>
                <a:cubicBezTo>
                  <a:pt x="251" y="86"/>
                  <a:pt x="251" y="86"/>
                  <a:pt x="251" y="86"/>
                </a:cubicBezTo>
                <a:cubicBezTo>
                  <a:pt x="250" y="87"/>
                  <a:pt x="250" y="87"/>
                  <a:pt x="250" y="87"/>
                </a:cubicBezTo>
                <a:cubicBezTo>
                  <a:pt x="249" y="88"/>
                  <a:pt x="249" y="88"/>
                  <a:pt x="249" y="88"/>
                </a:cubicBezTo>
                <a:cubicBezTo>
                  <a:pt x="247" y="89"/>
                  <a:pt x="247" y="89"/>
                  <a:pt x="247" y="89"/>
                </a:cubicBezTo>
                <a:cubicBezTo>
                  <a:pt x="243" y="92"/>
                  <a:pt x="243" y="92"/>
                  <a:pt x="243" y="92"/>
                </a:cubicBezTo>
                <a:cubicBezTo>
                  <a:pt x="242" y="94"/>
                  <a:pt x="242" y="94"/>
                  <a:pt x="242" y="94"/>
                </a:cubicBezTo>
                <a:cubicBezTo>
                  <a:pt x="241" y="94"/>
                  <a:pt x="241" y="94"/>
                  <a:pt x="241" y="94"/>
                </a:cubicBezTo>
                <a:cubicBezTo>
                  <a:pt x="240" y="94"/>
                  <a:pt x="240" y="94"/>
                  <a:pt x="240" y="94"/>
                </a:cubicBezTo>
                <a:cubicBezTo>
                  <a:pt x="239" y="95"/>
                  <a:pt x="239" y="95"/>
                  <a:pt x="239" y="95"/>
                </a:cubicBezTo>
                <a:cubicBezTo>
                  <a:pt x="239" y="95"/>
                  <a:pt x="239" y="95"/>
                  <a:pt x="239" y="95"/>
                </a:cubicBezTo>
                <a:cubicBezTo>
                  <a:pt x="238" y="94"/>
                  <a:pt x="238" y="94"/>
                  <a:pt x="238" y="94"/>
                </a:cubicBezTo>
                <a:cubicBezTo>
                  <a:pt x="238" y="93"/>
                  <a:pt x="238" y="93"/>
                  <a:pt x="238" y="93"/>
                </a:cubicBezTo>
                <a:cubicBezTo>
                  <a:pt x="237" y="93"/>
                  <a:pt x="237" y="93"/>
                  <a:pt x="237" y="93"/>
                </a:cubicBezTo>
                <a:close/>
                <a:moveTo>
                  <a:pt x="297" y="119"/>
                </a:moveTo>
                <a:cubicBezTo>
                  <a:pt x="297" y="119"/>
                  <a:pt x="297" y="119"/>
                  <a:pt x="297" y="119"/>
                </a:cubicBezTo>
                <a:cubicBezTo>
                  <a:pt x="297" y="118"/>
                  <a:pt x="297" y="118"/>
                  <a:pt x="297" y="118"/>
                </a:cubicBezTo>
                <a:cubicBezTo>
                  <a:pt x="299" y="118"/>
                  <a:pt x="299" y="118"/>
                  <a:pt x="299" y="118"/>
                </a:cubicBezTo>
                <a:cubicBezTo>
                  <a:pt x="299" y="117"/>
                  <a:pt x="299" y="117"/>
                  <a:pt x="299" y="117"/>
                </a:cubicBezTo>
                <a:cubicBezTo>
                  <a:pt x="299" y="116"/>
                  <a:pt x="299" y="116"/>
                  <a:pt x="299" y="116"/>
                </a:cubicBezTo>
                <a:cubicBezTo>
                  <a:pt x="301" y="115"/>
                  <a:pt x="301" y="115"/>
                  <a:pt x="301" y="115"/>
                </a:cubicBezTo>
                <a:cubicBezTo>
                  <a:pt x="301" y="115"/>
                  <a:pt x="301" y="115"/>
                  <a:pt x="301" y="115"/>
                </a:cubicBezTo>
                <a:cubicBezTo>
                  <a:pt x="303" y="115"/>
                  <a:pt x="303" y="115"/>
                  <a:pt x="303" y="115"/>
                </a:cubicBezTo>
                <a:cubicBezTo>
                  <a:pt x="303" y="116"/>
                  <a:pt x="303" y="116"/>
                  <a:pt x="303" y="116"/>
                </a:cubicBezTo>
                <a:cubicBezTo>
                  <a:pt x="303" y="117"/>
                  <a:pt x="303" y="117"/>
                  <a:pt x="303" y="117"/>
                </a:cubicBezTo>
                <a:cubicBezTo>
                  <a:pt x="303" y="118"/>
                  <a:pt x="303" y="118"/>
                  <a:pt x="303" y="118"/>
                </a:cubicBezTo>
                <a:cubicBezTo>
                  <a:pt x="302" y="119"/>
                  <a:pt x="302" y="119"/>
                  <a:pt x="302" y="119"/>
                </a:cubicBezTo>
                <a:cubicBezTo>
                  <a:pt x="301" y="120"/>
                  <a:pt x="301" y="120"/>
                  <a:pt x="301" y="120"/>
                </a:cubicBezTo>
                <a:cubicBezTo>
                  <a:pt x="300" y="120"/>
                  <a:pt x="300" y="120"/>
                  <a:pt x="300" y="120"/>
                </a:cubicBezTo>
                <a:cubicBezTo>
                  <a:pt x="300" y="121"/>
                  <a:pt x="300" y="121"/>
                  <a:pt x="300" y="121"/>
                </a:cubicBezTo>
                <a:cubicBezTo>
                  <a:pt x="299" y="121"/>
                  <a:pt x="299" y="121"/>
                  <a:pt x="299" y="121"/>
                </a:cubicBezTo>
                <a:cubicBezTo>
                  <a:pt x="298" y="120"/>
                  <a:pt x="298" y="120"/>
                  <a:pt x="298" y="120"/>
                </a:cubicBezTo>
                <a:cubicBezTo>
                  <a:pt x="297" y="119"/>
                  <a:pt x="297" y="119"/>
                  <a:pt x="297" y="119"/>
                </a:cubicBezTo>
                <a:close/>
                <a:moveTo>
                  <a:pt x="249" y="117"/>
                </a:moveTo>
                <a:cubicBezTo>
                  <a:pt x="249" y="116"/>
                  <a:pt x="249" y="116"/>
                  <a:pt x="249" y="116"/>
                </a:cubicBezTo>
                <a:cubicBezTo>
                  <a:pt x="249" y="115"/>
                  <a:pt x="249" y="115"/>
                  <a:pt x="249" y="115"/>
                </a:cubicBezTo>
                <a:cubicBezTo>
                  <a:pt x="249" y="113"/>
                  <a:pt x="249" y="113"/>
                  <a:pt x="249" y="113"/>
                </a:cubicBezTo>
                <a:cubicBezTo>
                  <a:pt x="251" y="113"/>
                  <a:pt x="251" y="113"/>
                  <a:pt x="251" y="113"/>
                </a:cubicBezTo>
                <a:cubicBezTo>
                  <a:pt x="253" y="113"/>
                  <a:pt x="253" y="113"/>
                  <a:pt x="253" y="113"/>
                </a:cubicBezTo>
                <a:cubicBezTo>
                  <a:pt x="254" y="113"/>
                  <a:pt x="254" y="113"/>
                  <a:pt x="254" y="113"/>
                </a:cubicBezTo>
                <a:cubicBezTo>
                  <a:pt x="256" y="113"/>
                  <a:pt x="256" y="113"/>
                  <a:pt x="256" y="113"/>
                </a:cubicBezTo>
                <a:cubicBezTo>
                  <a:pt x="257" y="113"/>
                  <a:pt x="257" y="113"/>
                  <a:pt x="257" y="113"/>
                </a:cubicBezTo>
                <a:cubicBezTo>
                  <a:pt x="258" y="112"/>
                  <a:pt x="258" y="112"/>
                  <a:pt x="258" y="112"/>
                </a:cubicBezTo>
                <a:cubicBezTo>
                  <a:pt x="260" y="112"/>
                  <a:pt x="260" y="112"/>
                  <a:pt x="260" y="112"/>
                </a:cubicBezTo>
                <a:cubicBezTo>
                  <a:pt x="262" y="113"/>
                  <a:pt x="262" y="113"/>
                  <a:pt x="262" y="113"/>
                </a:cubicBezTo>
                <a:cubicBezTo>
                  <a:pt x="264" y="113"/>
                  <a:pt x="264" y="113"/>
                  <a:pt x="264" y="113"/>
                </a:cubicBezTo>
                <a:cubicBezTo>
                  <a:pt x="265" y="113"/>
                  <a:pt x="265" y="113"/>
                  <a:pt x="265" y="113"/>
                </a:cubicBezTo>
                <a:cubicBezTo>
                  <a:pt x="266" y="112"/>
                  <a:pt x="266" y="112"/>
                  <a:pt x="266" y="112"/>
                </a:cubicBezTo>
                <a:cubicBezTo>
                  <a:pt x="269" y="112"/>
                  <a:pt x="269" y="112"/>
                  <a:pt x="269" y="112"/>
                </a:cubicBezTo>
                <a:cubicBezTo>
                  <a:pt x="269" y="111"/>
                  <a:pt x="269" y="111"/>
                  <a:pt x="269" y="111"/>
                </a:cubicBezTo>
                <a:cubicBezTo>
                  <a:pt x="270" y="111"/>
                  <a:pt x="270" y="111"/>
                  <a:pt x="270" y="111"/>
                </a:cubicBezTo>
                <a:cubicBezTo>
                  <a:pt x="269" y="110"/>
                  <a:pt x="269" y="110"/>
                  <a:pt x="269" y="110"/>
                </a:cubicBezTo>
                <a:cubicBezTo>
                  <a:pt x="268" y="111"/>
                  <a:pt x="268" y="111"/>
                  <a:pt x="268" y="111"/>
                </a:cubicBezTo>
                <a:cubicBezTo>
                  <a:pt x="267" y="111"/>
                  <a:pt x="267" y="111"/>
                  <a:pt x="267" y="111"/>
                </a:cubicBezTo>
                <a:cubicBezTo>
                  <a:pt x="267" y="110"/>
                  <a:pt x="267" y="110"/>
                  <a:pt x="267" y="110"/>
                </a:cubicBezTo>
                <a:cubicBezTo>
                  <a:pt x="265" y="111"/>
                  <a:pt x="265" y="111"/>
                  <a:pt x="265" y="111"/>
                </a:cubicBezTo>
                <a:cubicBezTo>
                  <a:pt x="263" y="111"/>
                  <a:pt x="263" y="111"/>
                  <a:pt x="263" y="111"/>
                </a:cubicBezTo>
                <a:cubicBezTo>
                  <a:pt x="263" y="110"/>
                  <a:pt x="263" y="110"/>
                  <a:pt x="263" y="110"/>
                </a:cubicBezTo>
                <a:cubicBezTo>
                  <a:pt x="262" y="109"/>
                  <a:pt x="262" y="109"/>
                  <a:pt x="262" y="109"/>
                </a:cubicBezTo>
                <a:cubicBezTo>
                  <a:pt x="261" y="110"/>
                  <a:pt x="261" y="110"/>
                  <a:pt x="261" y="110"/>
                </a:cubicBezTo>
                <a:cubicBezTo>
                  <a:pt x="260" y="110"/>
                  <a:pt x="260" y="110"/>
                  <a:pt x="260" y="110"/>
                </a:cubicBezTo>
                <a:cubicBezTo>
                  <a:pt x="259" y="110"/>
                  <a:pt x="259" y="110"/>
                  <a:pt x="259" y="110"/>
                </a:cubicBezTo>
                <a:cubicBezTo>
                  <a:pt x="259" y="110"/>
                  <a:pt x="259" y="110"/>
                  <a:pt x="259" y="110"/>
                </a:cubicBezTo>
                <a:cubicBezTo>
                  <a:pt x="257" y="110"/>
                  <a:pt x="257" y="110"/>
                  <a:pt x="257" y="110"/>
                </a:cubicBezTo>
                <a:cubicBezTo>
                  <a:pt x="256" y="110"/>
                  <a:pt x="256" y="110"/>
                  <a:pt x="256" y="110"/>
                </a:cubicBezTo>
                <a:cubicBezTo>
                  <a:pt x="256" y="109"/>
                  <a:pt x="256" y="109"/>
                  <a:pt x="256" y="109"/>
                </a:cubicBezTo>
                <a:cubicBezTo>
                  <a:pt x="257" y="108"/>
                  <a:pt x="257" y="108"/>
                  <a:pt x="257" y="108"/>
                </a:cubicBezTo>
                <a:cubicBezTo>
                  <a:pt x="259" y="107"/>
                  <a:pt x="259" y="107"/>
                  <a:pt x="259" y="107"/>
                </a:cubicBezTo>
                <a:cubicBezTo>
                  <a:pt x="258" y="107"/>
                  <a:pt x="258" y="107"/>
                  <a:pt x="258" y="107"/>
                </a:cubicBezTo>
                <a:cubicBezTo>
                  <a:pt x="256" y="107"/>
                  <a:pt x="256" y="107"/>
                  <a:pt x="256" y="107"/>
                </a:cubicBezTo>
                <a:cubicBezTo>
                  <a:pt x="256" y="108"/>
                  <a:pt x="256" y="108"/>
                  <a:pt x="256" y="108"/>
                </a:cubicBezTo>
                <a:cubicBezTo>
                  <a:pt x="255" y="106"/>
                  <a:pt x="255" y="106"/>
                  <a:pt x="255" y="106"/>
                </a:cubicBezTo>
                <a:cubicBezTo>
                  <a:pt x="255" y="107"/>
                  <a:pt x="255" y="107"/>
                  <a:pt x="255" y="107"/>
                </a:cubicBezTo>
                <a:cubicBezTo>
                  <a:pt x="254" y="108"/>
                  <a:pt x="254" y="108"/>
                  <a:pt x="254" y="108"/>
                </a:cubicBezTo>
                <a:cubicBezTo>
                  <a:pt x="252" y="109"/>
                  <a:pt x="252" y="109"/>
                  <a:pt x="252" y="109"/>
                </a:cubicBezTo>
                <a:cubicBezTo>
                  <a:pt x="252" y="110"/>
                  <a:pt x="252" y="110"/>
                  <a:pt x="252" y="110"/>
                </a:cubicBezTo>
                <a:cubicBezTo>
                  <a:pt x="251" y="110"/>
                  <a:pt x="251" y="110"/>
                  <a:pt x="251" y="110"/>
                </a:cubicBezTo>
                <a:cubicBezTo>
                  <a:pt x="249" y="109"/>
                  <a:pt x="249" y="109"/>
                  <a:pt x="249" y="109"/>
                </a:cubicBezTo>
                <a:cubicBezTo>
                  <a:pt x="249" y="108"/>
                  <a:pt x="249" y="108"/>
                  <a:pt x="249" y="108"/>
                </a:cubicBezTo>
                <a:cubicBezTo>
                  <a:pt x="250" y="107"/>
                  <a:pt x="250" y="107"/>
                  <a:pt x="250" y="107"/>
                </a:cubicBezTo>
                <a:cubicBezTo>
                  <a:pt x="249" y="108"/>
                  <a:pt x="249" y="108"/>
                  <a:pt x="249" y="108"/>
                </a:cubicBezTo>
                <a:cubicBezTo>
                  <a:pt x="248" y="107"/>
                  <a:pt x="248" y="107"/>
                  <a:pt x="248" y="107"/>
                </a:cubicBezTo>
                <a:cubicBezTo>
                  <a:pt x="248" y="109"/>
                  <a:pt x="248" y="109"/>
                  <a:pt x="248" y="109"/>
                </a:cubicBezTo>
                <a:cubicBezTo>
                  <a:pt x="247" y="109"/>
                  <a:pt x="247" y="109"/>
                  <a:pt x="247" y="109"/>
                </a:cubicBezTo>
                <a:cubicBezTo>
                  <a:pt x="246" y="109"/>
                  <a:pt x="246" y="109"/>
                  <a:pt x="246" y="109"/>
                </a:cubicBezTo>
                <a:cubicBezTo>
                  <a:pt x="246" y="107"/>
                  <a:pt x="246" y="107"/>
                  <a:pt x="246" y="107"/>
                </a:cubicBezTo>
                <a:cubicBezTo>
                  <a:pt x="245" y="106"/>
                  <a:pt x="245" y="106"/>
                  <a:pt x="245" y="106"/>
                </a:cubicBezTo>
                <a:cubicBezTo>
                  <a:pt x="245" y="105"/>
                  <a:pt x="245" y="105"/>
                  <a:pt x="245" y="105"/>
                </a:cubicBezTo>
                <a:cubicBezTo>
                  <a:pt x="245" y="105"/>
                  <a:pt x="245" y="105"/>
                  <a:pt x="245" y="105"/>
                </a:cubicBezTo>
                <a:cubicBezTo>
                  <a:pt x="244" y="106"/>
                  <a:pt x="244" y="106"/>
                  <a:pt x="244" y="106"/>
                </a:cubicBezTo>
                <a:cubicBezTo>
                  <a:pt x="244" y="106"/>
                  <a:pt x="244" y="106"/>
                  <a:pt x="244" y="106"/>
                </a:cubicBezTo>
                <a:cubicBezTo>
                  <a:pt x="242" y="104"/>
                  <a:pt x="242" y="104"/>
                  <a:pt x="242" y="104"/>
                </a:cubicBezTo>
                <a:cubicBezTo>
                  <a:pt x="240" y="103"/>
                  <a:pt x="240" y="103"/>
                  <a:pt x="240" y="103"/>
                </a:cubicBezTo>
                <a:cubicBezTo>
                  <a:pt x="240" y="103"/>
                  <a:pt x="240" y="103"/>
                  <a:pt x="240" y="103"/>
                </a:cubicBezTo>
                <a:cubicBezTo>
                  <a:pt x="242" y="102"/>
                  <a:pt x="242" y="102"/>
                  <a:pt x="242" y="102"/>
                </a:cubicBezTo>
                <a:cubicBezTo>
                  <a:pt x="242" y="101"/>
                  <a:pt x="242" y="101"/>
                  <a:pt x="242" y="101"/>
                </a:cubicBezTo>
                <a:cubicBezTo>
                  <a:pt x="241" y="100"/>
                  <a:pt x="241" y="100"/>
                  <a:pt x="241" y="100"/>
                </a:cubicBezTo>
                <a:cubicBezTo>
                  <a:pt x="244" y="99"/>
                  <a:pt x="244" y="99"/>
                  <a:pt x="244" y="99"/>
                </a:cubicBezTo>
                <a:cubicBezTo>
                  <a:pt x="245" y="98"/>
                  <a:pt x="245" y="98"/>
                  <a:pt x="245" y="98"/>
                </a:cubicBezTo>
                <a:cubicBezTo>
                  <a:pt x="246" y="99"/>
                  <a:pt x="246" y="99"/>
                  <a:pt x="246" y="99"/>
                </a:cubicBezTo>
                <a:cubicBezTo>
                  <a:pt x="248" y="99"/>
                  <a:pt x="248" y="99"/>
                  <a:pt x="248" y="99"/>
                </a:cubicBezTo>
                <a:cubicBezTo>
                  <a:pt x="249" y="100"/>
                  <a:pt x="249" y="100"/>
                  <a:pt x="249" y="100"/>
                </a:cubicBezTo>
                <a:cubicBezTo>
                  <a:pt x="251" y="100"/>
                  <a:pt x="251" y="100"/>
                  <a:pt x="251" y="100"/>
                </a:cubicBezTo>
                <a:cubicBezTo>
                  <a:pt x="252" y="99"/>
                  <a:pt x="252" y="99"/>
                  <a:pt x="252" y="99"/>
                </a:cubicBezTo>
                <a:cubicBezTo>
                  <a:pt x="253" y="99"/>
                  <a:pt x="253" y="99"/>
                  <a:pt x="253" y="99"/>
                </a:cubicBezTo>
                <a:cubicBezTo>
                  <a:pt x="255" y="98"/>
                  <a:pt x="255" y="98"/>
                  <a:pt x="255" y="98"/>
                </a:cubicBezTo>
                <a:cubicBezTo>
                  <a:pt x="254" y="97"/>
                  <a:pt x="254" y="97"/>
                  <a:pt x="254" y="97"/>
                </a:cubicBezTo>
                <a:cubicBezTo>
                  <a:pt x="253" y="97"/>
                  <a:pt x="253" y="97"/>
                  <a:pt x="253" y="97"/>
                </a:cubicBezTo>
                <a:cubicBezTo>
                  <a:pt x="252" y="97"/>
                  <a:pt x="252" y="97"/>
                  <a:pt x="252" y="97"/>
                </a:cubicBezTo>
                <a:cubicBezTo>
                  <a:pt x="251" y="97"/>
                  <a:pt x="251" y="97"/>
                  <a:pt x="251" y="97"/>
                </a:cubicBezTo>
                <a:cubicBezTo>
                  <a:pt x="249" y="96"/>
                  <a:pt x="249" y="96"/>
                  <a:pt x="249" y="96"/>
                </a:cubicBezTo>
                <a:cubicBezTo>
                  <a:pt x="247" y="96"/>
                  <a:pt x="247" y="96"/>
                  <a:pt x="247" y="96"/>
                </a:cubicBezTo>
                <a:cubicBezTo>
                  <a:pt x="247" y="96"/>
                  <a:pt x="247" y="96"/>
                  <a:pt x="247" y="96"/>
                </a:cubicBezTo>
                <a:cubicBezTo>
                  <a:pt x="249" y="94"/>
                  <a:pt x="249" y="94"/>
                  <a:pt x="249" y="94"/>
                </a:cubicBezTo>
                <a:cubicBezTo>
                  <a:pt x="250" y="93"/>
                  <a:pt x="250" y="93"/>
                  <a:pt x="250" y="93"/>
                </a:cubicBezTo>
                <a:cubicBezTo>
                  <a:pt x="251" y="92"/>
                  <a:pt x="251" y="92"/>
                  <a:pt x="251" y="92"/>
                </a:cubicBezTo>
                <a:cubicBezTo>
                  <a:pt x="252" y="93"/>
                  <a:pt x="252" y="93"/>
                  <a:pt x="252" y="93"/>
                </a:cubicBezTo>
                <a:cubicBezTo>
                  <a:pt x="255" y="92"/>
                  <a:pt x="255" y="92"/>
                  <a:pt x="255" y="92"/>
                </a:cubicBezTo>
                <a:cubicBezTo>
                  <a:pt x="257" y="92"/>
                  <a:pt x="257" y="92"/>
                  <a:pt x="257" y="92"/>
                </a:cubicBezTo>
                <a:cubicBezTo>
                  <a:pt x="259" y="93"/>
                  <a:pt x="259" y="93"/>
                  <a:pt x="259" y="93"/>
                </a:cubicBezTo>
                <a:cubicBezTo>
                  <a:pt x="260" y="93"/>
                  <a:pt x="260" y="93"/>
                  <a:pt x="260" y="93"/>
                </a:cubicBezTo>
                <a:cubicBezTo>
                  <a:pt x="259" y="92"/>
                  <a:pt x="259" y="92"/>
                  <a:pt x="259" y="92"/>
                </a:cubicBezTo>
                <a:cubicBezTo>
                  <a:pt x="258" y="92"/>
                  <a:pt x="258" y="92"/>
                  <a:pt x="258" y="92"/>
                </a:cubicBezTo>
                <a:cubicBezTo>
                  <a:pt x="257" y="91"/>
                  <a:pt x="257" y="91"/>
                  <a:pt x="257" y="91"/>
                </a:cubicBezTo>
                <a:cubicBezTo>
                  <a:pt x="256" y="91"/>
                  <a:pt x="256" y="91"/>
                  <a:pt x="256" y="91"/>
                </a:cubicBezTo>
                <a:cubicBezTo>
                  <a:pt x="253" y="91"/>
                  <a:pt x="253" y="91"/>
                  <a:pt x="253" y="91"/>
                </a:cubicBezTo>
                <a:cubicBezTo>
                  <a:pt x="253" y="89"/>
                  <a:pt x="253" y="89"/>
                  <a:pt x="253" y="89"/>
                </a:cubicBezTo>
                <a:cubicBezTo>
                  <a:pt x="254" y="88"/>
                  <a:pt x="254" y="88"/>
                  <a:pt x="254" y="88"/>
                </a:cubicBezTo>
                <a:cubicBezTo>
                  <a:pt x="255" y="87"/>
                  <a:pt x="255" y="87"/>
                  <a:pt x="255" y="87"/>
                </a:cubicBezTo>
                <a:cubicBezTo>
                  <a:pt x="256" y="87"/>
                  <a:pt x="256" y="87"/>
                  <a:pt x="256" y="87"/>
                </a:cubicBezTo>
                <a:cubicBezTo>
                  <a:pt x="256" y="87"/>
                  <a:pt x="256" y="87"/>
                  <a:pt x="256" y="87"/>
                </a:cubicBezTo>
                <a:cubicBezTo>
                  <a:pt x="258" y="86"/>
                  <a:pt x="258" y="86"/>
                  <a:pt x="258" y="86"/>
                </a:cubicBezTo>
                <a:cubicBezTo>
                  <a:pt x="259" y="86"/>
                  <a:pt x="259" y="86"/>
                  <a:pt x="259" y="86"/>
                </a:cubicBezTo>
                <a:cubicBezTo>
                  <a:pt x="259" y="87"/>
                  <a:pt x="259" y="87"/>
                  <a:pt x="259" y="87"/>
                </a:cubicBezTo>
                <a:cubicBezTo>
                  <a:pt x="260" y="87"/>
                  <a:pt x="260" y="87"/>
                  <a:pt x="260" y="87"/>
                </a:cubicBezTo>
                <a:cubicBezTo>
                  <a:pt x="262" y="88"/>
                  <a:pt x="262" y="88"/>
                  <a:pt x="262" y="88"/>
                </a:cubicBezTo>
                <a:cubicBezTo>
                  <a:pt x="263" y="88"/>
                  <a:pt x="263" y="88"/>
                  <a:pt x="263" y="88"/>
                </a:cubicBezTo>
                <a:cubicBezTo>
                  <a:pt x="262" y="87"/>
                  <a:pt x="262" y="87"/>
                  <a:pt x="262" y="87"/>
                </a:cubicBezTo>
                <a:cubicBezTo>
                  <a:pt x="261" y="86"/>
                  <a:pt x="261" y="86"/>
                  <a:pt x="261" y="86"/>
                </a:cubicBezTo>
                <a:cubicBezTo>
                  <a:pt x="260" y="85"/>
                  <a:pt x="260" y="85"/>
                  <a:pt x="260" y="85"/>
                </a:cubicBezTo>
                <a:cubicBezTo>
                  <a:pt x="260" y="84"/>
                  <a:pt x="260" y="84"/>
                  <a:pt x="260" y="84"/>
                </a:cubicBezTo>
                <a:cubicBezTo>
                  <a:pt x="261" y="84"/>
                  <a:pt x="261" y="84"/>
                  <a:pt x="261" y="84"/>
                </a:cubicBezTo>
                <a:cubicBezTo>
                  <a:pt x="264" y="83"/>
                  <a:pt x="264" y="83"/>
                  <a:pt x="264" y="83"/>
                </a:cubicBezTo>
                <a:cubicBezTo>
                  <a:pt x="265" y="83"/>
                  <a:pt x="265" y="83"/>
                  <a:pt x="265" y="83"/>
                </a:cubicBezTo>
                <a:cubicBezTo>
                  <a:pt x="267" y="83"/>
                  <a:pt x="267" y="83"/>
                  <a:pt x="267" y="83"/>
                </a:cubicBezTo>
                <a:cubicBezTo>
                  <a:pt x="268" y="84"/>
                  <a:pt x="268" y="84"/>
                  <a:pt x="268" y="84"/>
                </a:cubicBezTo>
                <a:cubicBezTo>
                  <a:pt x="269" y="86"/>
                  <a:pt x="269" y="86"/>
                  <a:pt x="269" y="86"/>
                </a:cubicBezTo>
                <a:cubicBezTo>
                  <a:pt x="268" y="87"/>
                  <a:pt x="268" y="87"/>
                  <a:pt x="268" y="87"/>
                </a:cubicBezTo>
                <a:cubicBezTo>
                  <a:pt x="267" y="88"/>
                  <a:pt x="267" y="88"/>
                  <a:pt x="267" y="88"/>
                </a:cubicBezTo>
                <a:cubicBezTo>
                  <a:pt x="267" y="89"/>
                  <a:pt x="267" y="89"/>
                  <a:pt x="267" y="89"/>
                </a:cubicBezTo>
                <a:cubicBezTo>
                  <a:pt x="270" y="89"/>
                  <a:pt x="270" y="89"/>
                  <a:pt x="270" y="89"/>
                </a:cubicBezTo>
                <a:cubicBezTo>
                  <a:pt x="270" y="89"/>
                  <a:pt x="270" y="89"/>
                  <a:pt x="270" y="89"/>
                </a:cubicBezTo>
                <a:cubicBezTo>
                  <a:pt x="271" y="89"/>
                  <a:pt x="271" y="89"/>
                  <a:pt x="271" y="89"/>
                </a:cubicBezTo>
                <a:cubicBezTo>
                  <a:pt x="272" y="89"/>
                  <a:pt x="272" y="89"/>
                  <a:pt x="272" y="89"/>
                </a:cubicBezTo>
                <a:cubicBezTo>
                  <a:pt x="272" y="90"/>
                  <a:pt x="272" y="90"/>
                  <a:pt x="272" y="90"/>
                </a:cubicBezTo>
                <a:cubicBezTo>
                  <a:pt x="273" y="91"/>
                  <a:pt x="273" y="91"/>
                  <a:pt x="273" y="91"/>
                </a:cubicBezTo>
                <a:cubicBezTo>
                  <a:pt x="273" y="91"/>
                  <a:pt x="273" y="91"/>
                  <a:pt x="273" y="91"/>
                </a:cubicBezTo>
                <a:cubicBezTo>
                  <a:pt x="273" y="92"/>
                  <a:pt x="273" y="92"/>
                  <a:pt x="273" y="92"/>
                </a:cubicBezTo>
                <a:cubicBezTo>
                  <a:pt x="272" y="93"/>
                  <a:pt x="272" y="93"/>
                  <a:pt x="272" y="93"/>
                </a:cubicBezTo>
                <a:cubicBezTo>
                  <a:pt x="272" y="94"/>
                  <a:pt x="272" y="94"/>
                  <a:pt x="272" y="94"/>
                </a:cubicBezTo>
                <a:cubicBezTo>
                  <a:pt x="273" y="95"/>
                  <a:pt x="273" y="95"/>
                  <a:pt x="273" y="95"/>
                </a:cubicBezTo>
                <a:cubicBezTo>
                  <a:pt x="273" y="98"/>
                  <a:pt x="273" y="98"/>
                  <a:pt x="273" y="98"/>
                </a:cubicBezTo>
                <a:cubicBezTo>
                  <a:pt x="273" y="98"/>
                  <a:pt x="273" y="98"/>
                  <a:pt x="273" y="98"/>
                </a:cubicBezTo>
                <a:cubicBezTo>
                  <a:pt x="272" y="98"/>
                  <a:pt x="272" y="98"/>
                  <a:pt x="272" y="98"/>
                </a:cubicBezTo>
                <a:cubicBezTo>
                  <a:pt x="270" y="98"/>
                  <a:pt x="270" y="98"/>
                  <a:pt x="270" y="98"/>
                </a:cubicBezTo>
                <a:cubicBezTo>
                  <a:pt x="271" y="99"/>
                  <a:pt x="271" y="99"/>
                  <a:pt x="271" y="99"/>
                </a:cubicBezTo>
                <a:cubicBezTo>
                  <a:pt x="272" y="99"/>
                  <a:pt x="272" y="99"/>
                  <a:pt x="272" y="99"/>
                </a:cubicBezTo>
                <a:cubicBezTo>
                  <a:pt x="273" y="100"/>
                  <a:pt x="273" y="100"/>
                  <a:pt x="273" y="100"/>
                </a:cubicBezTo>
                <a:cubicBezTo>
                  <a:pt x="274" y="100"/>
                  <a:pt x="274" y="100"/>
                  <a:pt x="274" y="100"/>
                </a:cubicBezTo>
                <a:cubicBezTo>
                  <a:pt x="273" y="102"/>
                  <a:pt x="273" y="102"/>
                  <a:pt x="273" y="102"/>
                </a:cubicBezTo>
                <a:cubicBezTo>
                  <a:pt x="272" y="103"/>
                  <a:pt x="272" y="103"/>
                  <a:pt x="272" y="103"/>
                </a:cubicBezTo>
                <a:cubicBezTo>
                  <a:pt x="272" y="105"/>
                  <a:pt x="272" y="105"/>
                  <a:pt x="272" y="105"/>
                </a:cubicBezTo>
                <a:cubicBezTo>
                  <a:pt x="273" y="106"/>
                  <a:pt x="273" y="106"/>
                  <a:pt x="273" y="106"/>
                </a:cubicBezTo>
                <a:cubicBezTo>
                  <a:pt x="274" y="105"/>
                  <a:pt x="274" y="105"/>
                  <a:pt x="274" y="105"/>
                </a:cubicBezTo>
                <a:cubicBezTo>
                  <a:pt x="275" y="104"/>
                  <a:pt x="275" y="104"/>
                  <a:pt x="275" y="104"/>
                </a:cubicBezTo>
                <a:cubicBezTo>
                  <a:pt x="276" y="105"/>
                  <a:pt x="276" y="105"/>
                  <a:pt x="276" y="105"/>
                </a:cubicBezTo>
                <a:cubicBezTo>
                  <a:pt x="276" y="106"/>
                  <a:pt x="276" y="106"/>
                  <a:pt x="276" y="106"/>
                </a:cubicBezTo>
                <a:cubicBezTo>
                  <a:pt x="277" y="106"/>
                  <a:pt x="277" y="106"/>
                  <a:pt x="277" y="106"/>
                </a:cubicBezTo>
                <a:cubicBezTo>
                  <a:pt x="278" y="106"/>
                  <a:pt x="278" y="106"/>
                  <a:pt x="278" y="106"/>
                </a:cubicBezTo>
                <a:cubicBezTo>
                  <a:pt x="280" y="106"/>
                  <a:pt x="280" y="106"/>
                  <a:pt x="280" y="106"/>
                </a:cubicBezTo>
                <a:cubicBezTo>
                  <a:pt x="281" y="108"/>
                  <a:pt x="281" y="108"/>
                  <a:pt x="281" y="108"/>
                </a:cubicBezTo>
                <a:cubicBezTo>
                  <a:pt x="282" y="108"/>
                  <a:pt x="282" y="108"/>
                  <a:pt x="282" y="108"/>
                </a:cubicBezTo>
                <a:cubicBezTo>
                  <a:pt x="282" y="107"/>
                  <a:pt x="282" y="107"/>
                  <a:pt x="282" y="107"/>
                </a:cubicBezTo>
                <a:cubicBezTo>
                  <a:pt x="281" y="106"/>
                  <a:pt x="281" y="106"/>
                  <a:pt x="281" y="106"/>
                </a:cubicBezTo>
                <a:cubicBezTo>
                  <a:pt x="283" y="105"/>
                  <a:pt x="283" y="105"/>
                  <a:pt x="283" y="105"/>
                </a:cubicBezTo>
                <a:cubicBezTo>
                  <a:pt x="283" y="103"/>
                  <a:pt x="283" y="103"/>
                  <a:pt x="283" y="103"/>
                </a:cubicBezTo>
                <a:cubicBezTo>
                  <a:pt x="282" y="102"/>
                  <a:pt x="282" y="102"/>
                  <a:pt x="282" y="102"/>
                </a:cubicBezTo>
                <a:cubicBezTo>
                  <a:pt x="282" y="101"/>
                  <a:pt x="282" y="101"/>
                  <a:pt x="282" y="101"/>
                </a:cubicBezTo>
                <a:cubicBezTo>
                  <a:pt x="281" y="100"/>
                  <a:pt x="281" y="100"/>
                  <a:pt x="281" y="100"/>
                </a:cubicBezTo>
                <a:cubicBezTo>
                  <a:pt x="282" y="99"/>
                  <a:pt x="282" y="99"/>
                  <a:pt x="282" y="99"/>
                </a:cubicBezTo>
                <a:cubicBezTo>
                  <a:pt x="282" y="99"/>
                  <a:pt x="282" y="99"/>
                  <a:pt x="282" y="99"/>
                </a:cubicBezTo>
                <a:cubicBezTo>
                  <a:pt x="284" y="99"/>
                  <a:pt x="284" y="99"/>
                  <a:pt x="284" y="99"/>
                </a:cubicBezTo>
                <a:cubicBezTo>
                  <a:pt x="285" y="99"/>
                  <a:pt x="285" y="99"/>
                  <a:pt x="285" y="99"/>
                </a:cubicBezTo>
                <a:cubicBezTo>
                  <a:pt x="286" y="97"/>
                  <a:pt x="286" y="97"/>
                  <a:pt x="286" y="97"/>
                </a:cubicBezTo>
                <a:cubicBezTo>
                  <a:pt x="285" y="95"/>
                  <a:pt x="285" y="95"/>
                  <a:pt x="285" y="95"/>
                </a:cubicBezTo>
                <a:cubicBezTo>
                  <a:pt x="285" y="95"/>
                  <a:pt x="285" y="95"/>
                  <a:pt x="285" y="95"/>
                </a:cubicBezTo>
                <a:cubicBezTo>
                  <a:pt x="285" y="93"/>
                  <a:pt x="285" y="93"/>
                  <a:pt x="285" y="93"/>
                </a:cubicBezTo>
                <a:cubicBezTo>
                  <a:pt x="284" y="92"/>
                  <a:pt x="284" y="92"/>
                  <a:pt x="284" y="92"/>
                </a:cubicBezTo>
                <a:cubicBezTo>
                  <a:pt x="285" y="90"/>
                  <a:pt x="285" y="90"/>
                  <a:pt x="285" y="90"/>
                </a:cubicBezTo>
                <a:cubicBezTo>
                  <a:pt x="286" y="90"/>
                  <a:pt x="286" y="90"/>
                  <a:pt x="286" y="90"/>
                </a:cubicBezTo>
                <a:cubicBezTo>
                  <a:pt x="287" y="90"/>
                  <a:pt x="287" y="90"/>
                  <a:pt x="287" y="90"/>
                </a:cubicBezTo>
                <a:cubicBezTo>
                  <a:pt x="288" y="90"/>
                  <a:pt x="288" y="90"/>
                  <a:pt x="288" y="90"/>
                </a:cubicBezTo>
                <a:cubicBezTo>
                  <a:pt x="288" y="89"/>
                  <a:pt x="288" y="89"/>
                  <a:pt x="288" y="89"/>
                </a:cubicBezTo>
                <a:cubicBezTo>
                  <a:pt x="288" y="88"/>
                  <a:pt x="288" y="88"/>
                  <a:pt x="288" y="88"/>
                </a:cubicBezTo>
                <a:cubicBezTo>
                  <a:pt x="290" y="87"/>
                  <a:pt x="290" y="87"/>
                  <a:pt x="290" y="87"/>
                </a:cubicBezTo>
                <a:cubicBezTo>
                  <a:pt x="293" y="85"/>
                  <a:pt x="293" y="85"/>
                  <a:pt x="293" y="85"/>
                </a:cubicBezTo>
                <a:cubicBezTo>
                  <a:pt x="294" y="85"/>
                  <a:pt x="294" y="85"/>
                  <a:pt x="294" y="85"/>
                </a:cubicBezTo>
                <a:cubicBezTo>
                  <a:pt x="295" y="86"/>
                  <a:pt x="295" y="86"/>
                  <a:pt x="295" y="86"/>
                </a:cubicBezTo>
                <a:cubicBezTo>
                  <a:pt x="295" y="87"/>
                  <a:pt x="295" y="87"/>
                  <a:pt x="295" y="87"/>
                </a:cubicBezTo>
                <a:cubicBezTo>
                  <a:pt x="296" y="88"/>
                  <a:pt x="296" y="88"/>
                  <a:pt x="296" y="88"/>
                </a:cubicBezTo>
                <a:cubicBezTo>
                  <a:pt x="295" y="88"/>
                  <a:pt x="295" y="88"/>
                  <a:pt x="295" y="88"/>
                </a:cubicBezTo>
                <a:cubicBezTo>
                  <a:pt x="294" y="88"/>
                  <a:pt x="294" y="88"/>
                  <a:pt x="294" y="88"/>
                </a:cubicBezTo>
                <a:cubicBezTo>
                  <a:pt x="293" y="89"/>
                  <a:pt x="293" y="89"/>
                  <a:pt x="293" y="89"/>
                </a:cubicBezTo>
                <a:cubicBezTo>
                  <a:pt x="293" y="90"/>
                  <a:pt x="293" y="90"/>
                  <a:pt x="293" y="90"/>
                </a:cubicBezTo>
                <a:cubicBezTo>
                  <a:pt x="293" y="91"/>
                  <a:pt x="293" y="91"/>
                  <a:pt x="293" y="91"/>
                </a:cubicBezTo>
                <a:cubicBezTo>
                  <a:pt x="293" y="93"/>
                  <a:pt x="293" y="93"/>
                  <a:pt x="293" y="93"/>
                </a:cubicBezTo>
                <a:cubicBezTo>
                  <a:pt x="293" y="93"/>
                  <a:pt x="293" y="93"/>
                  <a:pt x="293" y="93"/>
                </a:cubicBezTo>
                <a:cubicBezTo>
                  <a:pt x="293" y="96"/>
                  <a:pt x="293" y="96"/>
                  <a:pt x="293" y="96"/>
                </a:cubicBezTo>
                <a:cubicBezTo>
                  <a:pt x="293" y="97"/>
                  <a:pt x="293" y="97"/>
                  <a:pt x="293" y="97"/>
                </a:cubicBezTo>
                <a:cubicBezTo>
                  <a:pt x="292" y="97"/>
                  <a:pt x="292" y="97"/>
                  <a:pt x="292" y="97"/>
                </a:cubicBezTo>
                <a:cubicBezTo>
                  <a:pt x="290" y="98"/>
                  <a:pt x="290" y="98"/>
                  <a:pt x="290" y="98"/>
                </a:cubicBezTo>
                <a:cubicBezTo>
                  <a:pt x="289" y="99"/>
                  <a:pt x="289" y="99"/>
                  <a:pt x="289" y="99"/>
                </a:cubicBezTo>
                <a:cubicBezTo>
                  <a:pt x="289" y="100"/>
                  <a:pt x="289" y="100"/>
                  <a:pt x="289" y="100"/>
                </a:cubicBezTo>
                <a:cubicBezTo>
                  <a:pt x="290" y="100"/>
                  <a:pt x="290" y="100"/>
                  <a:pt x="290" y="100"/>
                </a:cubicBezTo>
                <a:cubicBezTo>
                  <a:pt x="291" y="99"/>
                  <a:pt x="291" y="99"/>
                  <a:pt x="291" y="99"/>
                </a:cubicBezTo>
                <a:cubicBezTo>
                  <a:pt x="293" y="99"/>
                  <a:pt x="293" y="99"/>
                  <a:pt x="293" y="99"/>
                </a:cubicBezTo>
                <a:cubicBezTo>
                  <a:pt x="293" y="100"/>
                  <a:pt x="293" y="100"/>
                  <a:pt x="293" y="100"/>
                </a:cubicBezTo>
                <a:cubicBezTo>
                  <a:pt x="292" y="101"/>
                  <a:pt x="292" y="101"/>
                  <a:pt x="292" y="101"/>
                </a:cubicBezTo>
                <a:cubicBezTo>
                  <a:pt x="290" y="103"/>
                  <a:pt x="290" y="103"/>
                  <a:pt x="290" y="103"/>
                </a:cubicBezTo>
                <a:cubicBezTo>
                  <a:pt x="289" y="104"/>
                  <a:pt x="289" y="104"/>
                  <a:pt x="289" y="104"/>
                </a:cubicBezTo>
                <a:cubicBezTo>
                  <a:pt x="288" y="105"/>
                  <a:pt x="288" y="105"/>
                  <a:pt x="288" y="105"/>
                </a:cubicBezTo>
                <a:cubicBezTo>
                  <a:pt x="289" y="106"/>
                  <a:pt x="289" y="106"/>
                  <a:pt x="289" y="106"/>
                </a:cubicBezTo>
                <a:cubicBezTo>
                  <a:pt x="289" y="105"/>
                  <a:pt x="289" y="105"/>
                  <a:pt x="289" y="105"/>
                </a:cubicBezTo>
                <a:cubicBezTo>
                  <a:pt x="291" y="104"/>
                  <a:pt x="291" y="104"/>
                  <a:pt x="291" y="104"/>
                </a:cubicBezTo>
                <a:cubicBezTo>
                  <a:pt x="292" y="103"/>
                  <a:pt x="292" y="103"/>
                  <a:pt x="292" y="103"/>
                </a:cubicBezTo>
                <a:cubicBezTo>
                  <a:pt x="293" y="103"/>
                  <a:pt x="293" y="103"/>
                  <a:pt x="293" y="103"/>
                </a:cubicBezTo>
                <a:cubicBezTo>
                  <a:pt x="295" y="103"/>
                  <a:pt x="295" y="103"/>
                  <a:pt x="295" y="103"/>
                </a:cubicBezTo>
                <a:cubicBezTo>
                  <a:pt x="294" y="105"/>
                  <a:pt x="294" y="105"/>
                  <a:pt x="294" y="105"/>
                </a:cubicBezTo>
                <a:cubicBezTo>
                  <a:pt x="294" y="107"/>
                  <a:pt x="294" y="107"/>
                  <a:pt x="294" y="107"/>
                </a:cubicBezTo>
                <a:cubicBezTo>
                  <a:pt x="294" y="107"/>
                  <a:pt x="294" y="107"/>
                  <a:pt x="294" y="107"/>
                </a:cubicBezTo>
                <a:cubicBezTo>
                  <a:pt x="295" y="106"/>
                  <a:pt x="295" y="106"/>
                  <a:pt x="295" y="106"/>
                </a:cubicBezTo>
                <a:cubicBezTo>
                  <a:pt x="296" y="106"/>
                  <a:pt x="296" y="106"/>
                  <a:pt x="296" y="106"/>
                </a:cubicBezTo>
                <a:cubicBezTo>
                  <a:pt x="296" y="106"/>
                  <a:pt x="296" y="106"/>
                  <a:pt x="296" y="106"/>
                </a:cubicBezTo>
                <a:cubicBezTo>
                  <a:pt x="296" y="105"/>
                  <a:pt x="296" y="105"/>
                  <a:pt x="296" y="105"/>
                </a:cubicBezTo>
                <a:cubicBezTo>
                  <a:pt x="297" y="104"/>
                  <a:pt x="297" y="104"/>
                  <a:pt x="297" y="104"/>
                </a:cubicBezTo>
                <a:cubicBezTo>
                  <a:pt x="297" y="103"/>
                  <a:pt x="297" y="103"/>
                  <a:pt x="297" y="103"/>
                </a:cubicBezTo>
                <a:cubicBezTo>
                  <a:pt x="299" y="101"/>
                  <a:pt x="299" y="101"/>
                  <a:pt x="299" y="101"/>
                </a:cubicBezTo>
                <a:cubicBezTo>
                  <a:pt x="300" y="101"/>
                  <a:pt x="300" y="101"/>
                  <a:pt x="300" y="101"/>
                </a:cubicBezTo>
                <a:cubicBezTo>
                  <a:pt x="301" y="102"/>
                  <a:pt x="301" y="102"/>
                  <a:pt x="301" y="102"/>
                </a:cubicBezTo>
                <a:cubicBezTo>
                  <a:pt x="302" y="104"/>
                  <a:pt x="302" y="104"/>
                  <a:pt x="302" y="104"/>
                </a:cubicBezTo>
                <a:cubicBezTo>
                  <a:pt x="302" y="105"/>
                  <a:pt x="302" y="105"/>
                  <a:pt x="302" y="105"/>
                </a:cubicBezTo>
                <a:cubicBezTo>
                  <a:pt x="302" y="107"/>
                  <a:pt x="302" y="107"/>
                  <a:pt x="302" y="107"/>
                </a:cubicBezTo>
                <a:cubicBezTo>
                  <a:pt x="300" y="110"/>
                  <a:pt x="300" y="110"/>
                  <a:pt x="300" y="110"/>
                </a:cubicBezTo>
                <a:cubicBezTo>
                  <a:pt x="299" y="111"/>
                  <a:pt x="299" y="111"/>
                  <a:pt x="299" y="111"/>
                </a:cubicBezTo>
                <a:cubicBezTo>
                  <a:pt x="298" y="112"/>
                  <a:pt x="298" y="112"/>
                  <a:pt x="298" y="112"/>
                </a:cubicBezTo>
                <a:cubicBezTo>
                  <a:pt x="297" y="112"/>
                  <a:pt x="297" y="112"/>
                  <a:pt x="297" y="112"/>
                </a:cubicBezTo>
                <a:cubicBezTo>
                  <a:pt x="297" y="112"/>
                  <a:pt x="297" y="112"/>
                  <a:pt x="297" y="112"/>
                </a:cubicBezTo>
                <a:cubicBezTo>
                  <a:pt x="297" y="113"/>
                  <a:pt x="297" y="113"/>
                  <a:pt x="297" y="113"/>
                </a:cubicBezTo>
                <a:cubicBezTo>
                  <a:pt x="295" y="115"/>
                  <a:pt x="295" y="115"/>
                  <a:pt x="295" y="115"/>
                </a:cubicBezTo>
                <a:cubicBezTo>
                  <a:pt x="294" y="115"/>
                  <a:pt x="294" y="115"/>
                  <a:pt x="294" y="115"/>
                </a:cubicBezTo>
                <a:cubicBezTo>
                  <a:pt x="293" y="116"/>
                  <a:pt x="293" y="116"/>
                  <a:pt x="293" y="116"/>
                </a:cubicBezTo>
                <a:cubicBezTo>
                  <a:pt x="293" y="117"/>
                  <a:pt x="293" y="117"/>
                  <a:pt x="293" y="117"/>
                </a:cubicBezTo>
                <a:cubicBezTo>
                  <a:pt x="293" y="118"/>
                  <a:pt x="293" y="118"/>
                  <a:pt x="293" y="118"/>
                </a:cubicBezTo>
                <a:cubicBezTo>
                  <a:pt x="292" y="118"/>
                  <a:pt x="292" y="118"/>
                  <a:pt x="292" y="118"/>
                </a:cubicBezTo>
                <a:cubicBezTo>
                  <a:pt x="292" y="118"/>
                  <a:pt x="292" y="118"/>
                  <a:pt x="292" y="118"/>
                </a:cubicBezTo>
                <a:cubicBezTo>
                  <a:pt x="292" y="119"/>
                  <a:pt x="292" y="119"/>
                  <a:pt x="292" y="119"/>
                </a:cubicBezTo>
                <a:cubicBezTo>
                  <a:pt x="291" y="119"/>
                  <a:pt x="291" y="119"/>
                  <a:pt x="291" y="119"/>
                </a:cubicBezTo>
                <a:cubicBezTo>
                  <a:pt x="290" y="118"/>
                  <a:pt x="290" y="118"/>
                  <a:pt x="290" y="118"/>
                </a:cubicBezTo>
                <a:cubicBezTo>
                  <a:pt x="289" y="119"/>
                  <a:pt x="289" y="119"/>
                  <a:pt x="289" y="119"/>
                </a:cubicBezTo>
                <a:cubicBezTo>
                  <a:pt x="288" y="119"/>
                  <a:pt x="288" y="119"/>
                  <a:pt x="288" y="119"/>
                </a:cubicBezTo>
                <a:cubicBezTo>
                  <a:pt x="286" y="120"/>
                  <a:pt x="286" y="120"/>
                  <a:pt x="286" y="120"/>
                </a:cubicBezTo>
                <a:cubicBezTo>
                  <a:pt x="284" y="120"/>
                  <a:pt x="284" y="120"/>
                  <a:pt x="284" y="120"/>
                </a:cubicBezTo>
                <a:cubicBezTo>
                  <a:pt x="283" y="119"/>
                  <a:pt x="283" y="119"/>
                  <a:pt x="283" y="119"/>
                </a:cubicBezTo>
                <a:cubicBezTo>
                  <a:pt x="282" y="119"/>
                  <a:pt x="282" y="119"/>
                  <a:pt x="282" y="119"/>
                </a:cubicBezTo>
                <a:cubicBezTo>
                  <a:pt x="283" y="118"/>
                  <a:pt x="283" y="118"/>
                  <a:pt x="283" y="118"/>
                </a:cubicBezTo>
                <a:cubicBezTo>
                  <a:pt x="283" y="117"/>
                  <a:pt x="283" y="117"/>
                  <a:pt x="283" y="117"/>
                </a:cubicBezTo>
                <a:cubicBezTo>
                  <a:pt x="283" y="117"/>
                  <a:pt x="283" y="117"/>
                  <a:pt x="283" y="117"/>
                </a:cubicBezTo>
                <a:cubicBezTo>
                  <a:pt x="281" y="117"/>
                  <a:pt x="281" y="117"/>
                  <a:pt x="281" y="117"/>
                </a:cubicBezTo>
                <a:cubicBezTo>
                  <a:pt x="281" y="118"/>
                  <a:pt x="281" y="118"/>
                  <a:pt x="281" y="118"/>
                </a:cubicBezTo>
                <a:cubicBezTo>
                  <a:pt x="280" y="118"/>
                  <a:pt x="280" y="118"/>
                  <a:pt x="280" y="118"/>
                </a:cubicBezTo>
                <a:cubicBezTo>
                  <a:pt x="279" y="118"/>
                  <a:pt x="279" y="118"/>
                  <a:pt x="279" y="118"/>
                </a:cubicBezTo>
                <a:cubicBezTo>
                  <a:pt x="279" y="117"/>
                  <a:pt x="279" y="117"/>
                  <a:pt x="279" y="117"/>
                </a:cubicBezTo>
                <a:cubicBezTo>
                  <a:pt x="279" y="117"/>
                  <a:pt x="279" y="117"/>
                  <a:pt x="279" y="117"/>
                </a:cubicBezTo>
                <a:cubicBezTo>
                  <a:pt x="279" y="116"/>
                  <a:pt x="279" y="116"/>
                  <a:pt x="279" y="116"/>
                </a:cubicBezTo>
                <a:cubicBezTo>
                  <a:pt x="278" y="115"/>
                  <a:pt x="278" y="115"/>
                  <a:pt x="278" y="115"/>
                </a:cubicBezTo>
                <a:cubicBezTo>
                  <a:pt x="278" y="116"/>
                  <a:pt x="278" y="116"/>
                  <a:pt x="278" y="116"/>
                </a:cubicBezTo>
                <a:cubicBezTo>
                  <a:pt x="277" y="117"/>
                  <a:pt x="277" y="117"/>
                  <a:pt x="277" y="117"/>
                </a:cubicBezTo>
                <a:cubicBezTo>
                  <a:pt x="276" y="117"/>
                  <a:pt x="276" y="117"/>
                  <a:pt x="276" y="117"/>
                </a:cubicBezTo>
                <a:cubicBezTo>
                  <a:pt x="274" y="117"/>
                  <a:pt x="274" y="117"/>
                  <a:pt x="274" y="117"/>
                </a:cubicBezTo>
                <a:cubicBezTo>
                  <a:pt x="274" y="118"/>
                  <a:pt x="274" y="118"/>
                  <a:pt x="274" y="118"/>
                </a:cubicBezTo>
                <a:cubicBezTo>
                  <a:pt x="272" y="118"/>
                  <a:pt x="272" y="118"/>
                  <a:pt x="272" y="118"/>
                </a:cubicBezTo>
                <a:cubicBezTo>
                  <a:pt x="272" y="118"/>
                  <a:pt x="272" y="118"/>
                  <a:pt x="272" y="118"/>
                </a:cubicBezTo>
                <a:cubicBezTo>
                  <a:pt x="270" y="118"/>
                  <a:pt x="270" y="118"/>
                  <a:pt x="270" y="118"/>
                </a:cubicBezTo>
                <a:cubicBezTo>
                  <a:pt x="269" y="117"/>
                  <a:pt x="269" y="117"/>
                  <a:pt x="269" y="117"/>
                </a:cubicBezTo>
                <a:cubicBezTo>
                  <a:pt x="269" y="118"/>
                  <a:pt x="269" y="118"/>
                  <a:pt x="269" y="118"/>
                </a:cubicBezTo>
                <a:cubicBezTo>
                  <a:pt x="268" y="118"/>
                  <a:pt x="268" y="118"/>
                  <a:pt x="268" y="118"/>
                </a:cubicBezTo>
                <a:cubicBezTo>
                  <a:pt x="267" y="118"/>
                  <a:pt x="267" y="118"/>
                  <a:pt x="267" y="118"/>
                </a:cubicBezTo>
                <a:cubicBezTo>
                  <a:pt x="267" y="119"/>
                  <a:pt x="267" y="119"/>
                  <a:pt x="267" y="119"/>
                </a:cubicBezTo>
                <a:cubicBezTo>
                  <a:pt x="266" y="120"/>
                  <a:pt x="266" y="120"/>
                  <a:pt x="266" y="120"/>
                </a:cubicBezTo>
                <a:cubicBezTo>
                  <a:pt x="265" y="120"/>
                  <a:pt x="265" y="120"/>
                  <a:pt x="265" y="120"/>
                </a:cubicBezTo>
                <a:cubicBezTo>
                  <a:pt x="265" y="120"/>
                  <a:pt x="265" y="120"/>
                  <a:pt x="265" y="120"/>
                </a:cubicBezTo>
                <a:cubicBezTo>
                  <a:pt x="263" y="121"/>
                  <a:pt x="263" y="121"/>
                  <a:pt x="263" y="121"/>
                </a:cubicBezTo>
                <a:cubicBezTo>
                  <a:pt x="263" y="121"/>
                  <a:pt x="263" y="121"/>
                  <a:pt x="263" y="121"/>
                </a:cubicBezTo>
                <a:cubicBezTo>
                  <a:pt x="262" y="121"/>
                  <a:pt x="262" y="121"/>
                  <a:pt x="262" y="121"/>
                </a:cubicBezTo>
                <a:cubicBezTo>
                  <a:pt x="260" y="121"/>
                  <a:pt x="260" y="121"/>
                  <a:pt x="260" y="121"/>
                </a:cubicBezTo>
                <a:cubicBezTo>
                  <a:pt x="260" y="121"/>
                  <a:pt x="260" y="121"/>
                  <a:pt x="260" y="121"/>
                </a:cubicBezTo>
                <a:cubicBezTo>
                  <a:pt x="258" y="121"/>
                  <a:pt x="258" y="121"/>
                  <a:pt x="258" y="121"/>
                </a:cubicBezTo>
                <a:cubicBezTo>
                  <a:pt x="256" y="121"/>
                  <a:pt x="256" y="121"/>
                  <a:pt x="256" y="121"/>
                </a:cubicBezTo>
                <a:cubicBezTo>
                  <a:pt x="254" y="121"/>
                  <a:pt x="254" y="121"/>
                  <a:pt x="254" y="121"/>
                </a:cubicBezTo>
                <a:cubicBezTo>
                  <a:pt x="253" y="120"/>
                  <a:pt x="253" y="120"/>
                  <a:pt x="253" y="120"/>
                </a:cubicBezTo>
                <a:cubicBezTo>
                  <a:pt x="251" y="120"/>
                  <a:pt x="251" y="120"/>
                  <a:pt x="251" y="120"/>
                </a:cubicBezTo>
                <a:cubicBezTo>
                  <a:pt x="250" y="119"/>
                  <a:pt x="250" y="119"/>
                  <a:pt x="250" y="119"/>
                </a:cubicBezTo>
                <a:cubicBezTo>
                  <a:pt x="249" y="117"/>
                  <a:pt x="249" y="117"/>
                  <a:pt x="249" y="117"/>
                </a:cubicBezTo>
                <a:close/>
                <a:moveTo>
                  <a:pt x="174" y="157"/>
                </a:moveTo>
                <a:cubicBezTo>
                  <a:pt x="174" y="154"/>
                  <a:pt x="174" y="154"/>
                  <a:pt x="174" y="154"/>
                </a:cubicBezTo>
                <a:cubicBezTo>
                  <a:pt x="175" y="152"/>
                  <a:pt x="175" y="152"/>
                  <a:pt x="175" y="152"/>
                </a:cubicBezTo>
                <a:cubicBezTo>
                  <a:pt x="175" y="151"/>
                  <a:pt x="175" y="151"/>
                  <a:pt x="175" y="151"/>
                </a:cubicBezTo>
                <a:cubicBezTo>
                  <a:pt x="175" y="149"/>
                  <a:pt x="175" y="149"/>
                  <a:pt x="175" y="149"/>
                </a:cubicBezTo>
                <a:cubicBezTo>
                  <a:pt x="175" y="148"/>
                  <a:pt x="175" y="148"/>
                  <a:pt x="175" y="148"/>
                </a:cubicBezTo>
                <a:cubicBezTo>
                  <a:pt x="175" y="147"/>
                  <a:pt x="175" y="147"/>
                  <a:pt x="175" y="147"/>
                </a:cubicBezTo>
                <a:cubicBezTo>
                  <a:pt x="174" y="143"/>
                  <a:pt x="174" y="143"/>
                  <a:pt x="174" y="143"/>
                </a:cubicBezTo>
                <a:cubicBezTo>
                  <a:pt x="175" y="144"/>
                  <a:pt x="175" y="144"/>
                  <a:pt x="175" y="144"/>
                </a:cubicBezTo>
                <a:cubicBezTo>
                  <a:pt x="175" y="143"/>
                  <a:pt x="175" y="143"/>
                  <a:pt x="175" y="143"/>
                </a:cubicBezTo>
                <a:cubicBezTo>
                  <a:pt x="173" y="143"/>
                  <a:pt x="173" y="143"/>
                  <a:pt x="173" y="143"/>
                </a:cubicBezTo>
                <a:cubicBezTo>
                  <a:pt x="171" y="142"/>
                  <a:pt x="171" y="142"/>
                  <a:pt x="171" y="142"/>
                </a:cubicBezTo>
                <a:cubicBezTo>
                  <a:pt x="171" y="141"/>
                  <a:pt x="171" y="141"/>
                  <a:pt x="171" y="141"/>
                </a:cubicBezTo>
                <a:cubicBezTo>
                  <a:pt x="172" y="141"/>
                  <a:pt x="172" y="141"/>
                  <a:pt x="172" y="141"/>
                </a:cubicBezTo>
                <a:cubicBezTo>
                  <a:pt x="173" y="140"/>
                  <a:pt x="173" y="140"/>
                  <a:pt x="173" y="140"/>
                </a:cubicBezTo>
                <a:cubicBezTo>
                  <a:pt x="175" y="140"/>
                  <a:pt x="175" y="140"/>
                  <a:pt x="175" y="140"/>
                </a:cubicBezTo>
                <a:cubicBezTo>
                  <a:pt x="175" y="139"/>
                  <a:pt x="175" y="139"/>
                  <a:pt x="175" y="139"/>
                </a:cubicBezTo>
                <a:cubicBezTo>
                  <a:pt x="176" y="139"/>
                  <a:pt x="176" y="139"/>
                  <a:pt x="176" y="139"/>
                </a:cubicBezTo>
                <a:cubicBezTo>
                  <a:pt x="177" y="137"/>
                  <a:pt x="177" y="137"/>
                  <a:pt x="177" y="137"/>
                </a:cubicBezTo>
                <a:cubicBezTo>
                  <a:pt x="178" y="137"/>
                  <a:pt x="178" y="137"/>
                  <a:pt x="178" y="137"/>
                </a:cubicBezTo>
                <a:cubicBezTo>
                  <a:pt x="178" y="135"/>
                  <a:pt x="178" y="135"/>
                  <a:pt x="178" y="135"/>
                </a:cubicBezTo>
                <a:cubicBezTo>
                  <a:pt x="181" y="135"/>
                  <a:pt x="181" y="135"/>
                  <a:pt x="181" y="135"/>
                </a:cubicBezTo>
                <a:cubicBezTo>
                  <a:pt x="181" y="134"/>
                  <a:pt x="181" y="134"/>
                  <a:pt x="181" y="134"/>
                </a:cubicBezTo>
                <a:cubicBezTo>
                  <a:pt x="182" y="134"/>
                  <a:pt x="182" y="134"/>
                  <a:pt x="182" y="134"/>
                </a:cubicBezTo>
                <a:cubicBezTo>
                  <a:pt x="183" y="132"/>
                  <a:pt x="183" y="132"/>
                  <a:pt x="183" y="132"/>
                </a:cubicBezTo>
                <a:cubicBezTo>
                  <a:pt x="183" y="130"/>
                  <a:pt x="183" y="130"/>
                  <a:pt x="183" y="130"/>
                </a:cubicBezTo>
                <a:cubicBezTo>
                  <a:pt x="183" y="131"/>
                  <a:pt x="183" y="131"/>
                  <a:pt x="183" y="131"/>
                </a:cubicBezTo>
                <a:cubicBezTo>
                  <a:pt x="187" y="131"/>
                  <a:pt x="187" y="131"/>
                  <a:pt x="187" y="131"/>
                </a:cubicBezTo>
                <a:cubicBezTo>
                  <a:pt x="187" y="130"/>
                  <a:pt x="187" y="130"/>
                  <a:pt x="187" y="130"/>
                </a:cubicBezTo>
                <a:cubicBezTo>
                  <a:pt x="186" y="128"/>
                  <a:pt x="186" y="128"/>
                  <a:pt x="186" y="128"/>
                </a:cubicBezTo>
                <a:cubicBezTo>
                  <a:pt x="186" y="127"/>
                  <a:pt x="186" y="127"/>
                  <a:pt x="186" y="127"/>
                </a:cubicBezTo>
                <a:cubicBezTo>
                  <a:pt x="187" y="127"/>
                  <a:pt x="187" y="127"/>
                  <a:pt x="187" y="127"/>
                </a:cubicBezTo>
                <a:cubicBezTo>
                  <a:pt x="190" y="124"/>
                  <a:pt x="190" y="124"/>
                  <a:pt x="190" y="124"/>
                </a:cubicBezTo>
                <a:cubicBezTo>
                  <a:pt x="191" y="123"/>
                  <a:pt x="191" y="123"/>
                  <a:pt x="191" y="123"/>
                </a:cubicBezTo>
                <a:cubicBezTo>
                  <a:pt x="194" y="122"/>
                  <a:pt x="194" y="122"/>
                  <a:pt x="194" y="122"/>
                </a:cubicBezTo>
                <a:cubicBezTo>
                  <a:pt x="194" y="121"/>
                  <a:pt x="194" y="121"/>
                  <a:pt x="194" y="121"/>
                </a:cubicBezTo>
                <a:cubicBezTo>
                  <a:pt x="196" y="119"/>
                  <a:pt x="196" y="119"/>
                  <a:pt x="196" y="119"/>
                </a:cubicBezTo>
                <a:cubicBezTo>
                  <a:pt x="198" y="119"/>
                  <a:pt x="198" y="119"/>
                  <a:pt x="198" y="119"/>
                </a:cubicBezTo>
                <a:cubicBezTo>
                  <a:pt x="198" y="118"/>
                  <a:pt x="198" y="118"/>
                  <a:pt x="198" y="118"/>
                </a:cubicBezTo>
                <a:cubicBezTo>
                  <a:pt x="197" y="117"/>
                  <a:pt x="197" y="117"/>
                  <a:pt x="197" y="117"/>
                </a:cubicBezTo>
                <a:cubicBezTo>
                  <a:pt x="198" y="114"/>
                  <a:pt x="198" y="114"/>
                  <a:pt x="198" y="114"/>
                </a:cubicBezTo>
                <a:cubicBezTo>
                  <a:pt x="198" y="113"/>
                  <a:pt x="198" y="113"/>
                  <a:pt x="198" y="113"/>
                </a:cubicBezTo>
                <a:cubicBezTo>
                  <a:pt x="198" y="111"/>
                  <a:pt x="198" y="111"/>
                  <a:pt x="198" y="111"/>
                </a:cubicBezTo>
                <a:cubicBezTo>
                  <a:pt x="198" y="111"/>
                  <a:pt x="198" y="111"/>
                  <a:pt x="198" y="111"/>
                </a:cubicBezTo>
                <a:cubicBezTo>
                  <a:pt x="198" y="110"/>
                  <a:pt x="198" y="110"/>
                  <a:pt x="198" y="110"/>
                </a:cubicBezTo>
                <a:cubicBezTo>
                  <a:pt x="200" y="109"/>
                  <a:pt x="200" y="109"/>
                  <a:pt x="200" y="109"/>
                </a:cubicBezTo>
                <a:cubicBezTo>
                  <a:pt x="201" y="110"/>
                  <a:pt x="201" y="110"/>
                  <a:pt x="201" y="110"/>
                </a:cubicBezTo>
                <a:cubicBezTo>
                  <a:pt x="205" y="109"/>
                  <a:pt x="205" y="109"/>
                  <a:pt x="205" y="109"/>
                </a:cubicBezTo>
                <a:cubicBezTo>
                  <a:pt x="206" y="110"/>
                  <a:pt x="206" y="110"/>
                  <a:pt x="206" y="110"/>
                </a:cubicBezTo>
                <a:cubicBezTo>
                  <a:pt x="210" y="110"/>
                  <a:pt x="210" y="110"/>
                  <a:pt x="210" y="110"/>
                </a:cubicBezTo>
                <a:cubicBezTo>
                  <a:pt x="213" y="109"/>
                  <a:pt x="213" y="109"/>
                  <a:pt x="213" y="109"/>
                </a:cubicBezTo>
                <a:cubicBezTo>
                  <a:pt x="216" y="110"/>
                  <a:pt x="216" y="110"/>
                  <a:pt x="216" y="110"/>
                </a:cubicBezTo>
                <a:cubicBezTo>
                  <a:pt x="216" y="111"/>
                  <a:pt x="216" y="111"/>
                  <a:pt x="216" y="111"/>
                </a:cubicBezTo>
                <a:cubicBezTo>
                  <a:pt x="217" y="112"/>
                  <a:pt x="217" y="112"/>
                  <a:pt x="217" y="112"/>
                </a:cubicBezTo>
                <a:cubicBezTo>
                  <a:pt x="218" y="113"/>
                  <a:pt x="218" y="113"/>
                  <a:pt x="218" y="113"/>
                </a:cubicBezTo>
                <a:cubicBezTo>
                  <a:pt x="221" y="115"/>
                  <a:pt x="221" y="115"/>
                  <a:pt x="221" y="115"/>
                </a:cubicBezTo>
                <a:cubicBezTo>
                  <a:pt x="221" y="116"/>
                  <a:pt x="221" y="116"/>
                  <a:pt x="221" y="116"/>
                </a:cubicBezTo>
                <a:cubicBezTo>
                  <a:pt x="220" y="116"/>
                  <a:pt x="220" y="116"/>
                  <a:pt x="220" y="116"/>
                </a:cubicBezTo>
                <a:cubicBezTo>
                  <a:pt x="221" y="116"/>
                  <a:pt x="221" y="116"/>
                  <a:pt x="221" y="116"/>
                </a:cubicBezTo>
                <a:cubicBezTo>
                  <a:pt x="222" y="116"/>
                  <a:pt x="222" y="116"/>
                  <a:pt x="222" y="116"/>
                </a:cubicBezTo>
                <a:cubicBezTo>
                  <a:pt x="224" y="116"/>
                  <a:pt x="224" y="116"/>
                  <a:pt x="224" y="116"/>
                </a:cubicBezTo>
                <a:cubicBezTo>
                  <a:pt x="223" y="118"/>
                  <a:pt x="223" y="118"/>
                  <a:pt x="223" y="118"/>
                </a:cubicBezTo>
                <a:cubicBezTo>
                  <a:pt x="222" y="120"/>
                  <a:pt x="222" y="120"/>
                  <a:pt x="222" y="120"/>
                </a:cubicBezTo>
                <a:cubicBezTo>
                  <a:pt x="222" y="121"/>
                  <a:pt x="222" y="121"/>
                  <a:pt x="222" y="121"/>
                </a:cubicBezTo>
                <a:cubicBezTo>
                  <a:pt x="224" y="119"/>
                  <a:pt x="224" y="119"/>
                  <a:pt x="224" y="119"/>
                </a:cubicBezTo>
                <a:cubicBezTo>
                  <a:pt x="224" y="118"/>
                  <a:pt x="224" y="118"/>
                  <a:pt x="224" y="118"/>
                </a:cubicBezTo>
                <a:cubicBezTo>
                  <a:pt x="225" y="117"/>
                  <a:pt x="225" y="117"/>
                  <a:pt x="225" y="117"/>
                </a:cubicBezTo>
                <a:cubicBezTo>
                  <a:pt x="227" y="117"/>
                  <a:pt x="227" y="117"/>
                  <a:pt x="227" y="117"/>
                </a:cubicBezTo>
                <a:cubicBezTo>
                  <a:pt x="228" y="116"/>
                  <a:pt x="228" y="116"/>
                  <a:pt x="228" y="116"/>
                </a:cubicBezTo>
                <a:cubicBezTo>
                  <a:pt x="229" y="117"/>
                  <a:pt x="229" y="117"/>
                  <a:pt x="229" y="117"/>
                </a:cubicBezTo>
                <a:cubicBezTo>
                  <a:pt x="229" y="118"/>
                  <a:pt x="229" y="118"/>
                  <a:pt x="229" y="118"/>
                </a:cubicBezTo>
                <a:cubicBezTo>
                  <a:pt x="232" y="120"/>
                  <a:pt x="232" y="120"/>
                  <a:pt x="232" y="120"/>
                </a:cubicBezTo>
                <a:cubicBezTo>
                  <a:pt x="232" y="123"/>
                  <a:pt x="232" y="123"/>
                  <a:pt x="232" y="123"/>
                </a:cubicBezTo>
                <a:cubicBezTo>
                  <a:pt x="232" y="125"/>
                  <a:pt x="232" y="125"/>
                  <a:pt x="232" y="125"/>
                </a:cubicBezTo>
                <a:cubicBezTo>
                  <a:pt x="232" y="127"/>
                  <a:pt x="232" y="127"/>
                  <a:pt x="232" y="127"/>
                </a:cubicBezTo>
                <a:cubicBezTo>
                  <a:pt x="232" y="128"/>
                  <a:pt x="232" y="128"/>
                  <a:pt x="232" y="128"/>
                </a:cubicBezTo>
                <a:cubicBezTo>
                  <a:pt x="232" y="129"/>
                  <a:pt x="232" y="129"/>
                  <a:pt x="232" y="129"/>
                </a:cubicBezTo>
                <a:cubicBezTo>
                  <a:pt x="233" y="130"/>
                  <a:pt x="233" y="130"/>
                  <a:pt x="233" y="130"/>
                </a:cubicBezTo>
                <a:cubicBezTo>
                  <a:pt x="233" y="131"/>
                  <a:pt x="233" y="131"/>
                  <a:pt x="233" y="131"/>
                </a:cubicBezTo>
                <a:cubicBezTo>
                  <a:pt x="233" y="132"/>
                  <a:pt x="233" y="132"/>
                  <a:pt x="233" y="132"/>
                </a:cubicBezTo>
                <a:cubicBezTo>
                  <a:pt x="232" y="134"/>
                  <a:pt x="232" y="134"/>
                  <a:pt x="232" y="134"/>
                </a:cubicBezTo>
                <a:cubicBezTo>
                  <a:pt x="229" y="134"/>
                  <a:pt x="229" y="134"/>
                  <a:pt x="229" y="134"/>
                </a:cubicBezTo>
                <a:cubicBezTo>
                  <a:pt x="228" y="135"/>
                  <a:pt x="228" y="135"/>
                  <a:pt x="228" y="135"/>
                </a:cubicBezTo>
                <a:cubicBezTo>
                  <a:pt x="226" y="135"/>
                  <a:pt x="226" y="135"/>
                  <a:pt x="226" y="135"/>
                </a:cubicBezTo>
                <a:cubicBezTo>
                  <a:pt x="224" y="135"/>
                  <a:pt x="224" y="135"/>
                  <a:pt x="224" y="135"/>
                </a:cubicBezTo>
                <a:cubicBezTo>
                  <a:pt x="220" y="137"/>
                  <a:pt x="220" y="137"/>
                  <a:pt x="220" y="137"/>
                </a:cubicBezTo>
                <a:cubicBezTo>
                  <a:pt x="218" y="137"/>
                  <a:pt x="218" y="137"/>
                  <a:pt x="218" y="137"/>
                </a:cubicBezTo>
                <a:cubicBezTo>
                  <a:pt x="216" y="138"/>
                  <a:pt x="216" y="138"/>
                  <a:pt x="216" y="138"/>
                </a:cubicBezTo>
                <a:cubicBezTo>
                  <a:pt x="214" y="138"/>
                  <a:pt x="214" y="138"/>
                  <a:pt x="214" y="138"/>
                </a:cubicBezTo>
                <a:cubicBezTo>
                  <a:pt x="213" y="139"/>
                  <a:pt x="213" y="139"/>
                  <a:pt x="213" y="139"/>
                </a:cubicBezTo>
                <a:cubicBezTo>
                  <a:pt x="211" y="139"/>
                  <a:pt x="211" y="139"/>
                  <a:pt x="211" y="139"/>
                </a:cubicBezTo>
                <a:cubicBezTo>
                  <a:pt x="210" y="140"/>
                  <a:pt x="210" y="140"/>
                  <a:pt x="210" y="140"/>
                </a:cubicBezTo>
                <a:cubicBezTo>
                  <a:pt x="209" y="139"/>
                  <a:pt x="209" y="139"/>
                  <a:pt x="209" y="139"/>
                </a:cubicBezTo>
                <a:cubicBezTo>
                  <a:pt x="209" y="139"/>
                  <a:pt x="209" y="139"/>
                  <a:pt x="209" y="139"/>
                </a:cubicBezTo>
                <a:cubicBezTo>
                  <a:pt x="207" y="140"/>
                  <a:pt x="207" y="140"/>
                  <a:pt x="207" y="140"/>
                </a:cubicBezTo>
                <a:cubicBezTo>
                  <a:pt x="206" y="141"/>
                  <a:pt x="206" y="141"/>
                  <a:pt x="206" y="141"/>
                </a:cubicBezTo>
                <a:cubicBezTo>
                  <a:pt x="205" y="143"/>
                  <a:pt x="205" y="143"/>
                  <a:pt x="205" y="143"/>
                </a:cubicBezTo>
                <a:cubicBezTo>
                  <a:pt x="204" y="143"/>
                  <a:pt x="204" y="143"/>
                  <a:pt x="204" y="143"/>
                </a:cubicBezTo>
                <a:cubicBezTo>
                  <a:pt x="204" y="145"/>
                  <a:pt x="204" y="145"/>
                  <a:pt x="204" y="145"/>
                </a:cubicBezTo>
                <a:cubicBezTo>
                  <a:pt x="202" y="145"/>
                  <a:pt x="202" y="145"/>
                  <a:pt x="202" y="145"/>
                </a:cubicBezTo>
                <a:cubicBezTo>
                  <a:pt x="201" y="146"/>
                  <a:pt x="201" y="146"/>
                  <a:pt x="201" y="146"/>
                </a:cubicBezTo>
                <a:cubicBezTo>
                  <a:pt x="199" y="146"/>
                  <a:pt x="199" y="146"/>
                  <a:pt x="199" y="146"/>
                </a:cubicBezTo>
                <a:cubicBezTo>
                  <a:pt x="198" y="144"/>
                  <a:pt x="198" y="144"/>
                  <a:pt x="198" y="144"/>
                </a:cubicBezTo>
                <a:cubicBezTo>
                  <a:pt x="197" y="146"/>
                  <a:pt x="197" y="146"/>
                  <a:pt x="197" y="146"/>
                </a:cubicBezTo>
                <a:cubicBezTo>
                  <a:pt x="197" y="147"/>
                  <a:pt x="197" y="147"/>
                  <a:pt x="197" y="147"/>
                </a:cubicBezTo>
                <a:cubicBezTo>
                  <a:pt x="195" y="148"/>
                  <a:pt x="195" y="148"/>
                  <a:pt x="195" y="148"/>
                </a:cubicBezTo>
                <a:cubicBezTo>
                  <a:pt x="194" y="149"/>
                  <a:pt x="194" y="149"/>
                  <a:pt x="194" y="149"/>
                </a:cubicBezTo>
                <a:cubicBezTo>
                  <a:pt x="194" y="150"/>
                  <a:pt x="194" y="150"/>
                  <a:pt x="194" y="150"/>
                </a:cubicBezTo>
                <a:cubicBezTo>
                  <a:pt x="192" y="152"/>
                  <a:pt x="192" y="152"/>
                  <a:pt x="192" y="152"/>
                </a:cubicBezTo>
                <a:cubicBezTo>
                  <a:pt x="192" y="153"/>
                  <a:pt x="192" y="153"/>
                  <a:pt x="192" y="153"/>
                </a:cubicBezTo>
                <a:cubicBezTo>
                  <a:pt x="191" y="155"/>
                  <a:pt x="191" y="155"/>
                  <a:pt x="191" y="155"/>
                </a:cubicBezTo>
                <a:cubicBezTo>
                  <a:pt x="189" y="156"/>
                  <a:pt x="189" y="156"/>
                  <a:pt x="189" y="156"/>
                </a:cubicBezTo>
                <a:cubicBezTo>
                  <a:pt x="188" y="156"/>
                  <a:pt x="188" y="156"/>
                  <a:pt x="188" y="156"/>
                </a:cubicBezTo>
                <a:cubicBezTo>
                  <a:pt x="186" y="157"/>
                  <a:pt x="186" y="157"/>
                  <a:pt x="186" y="157"/>
                </a:cubicBezTo>
                <a:cubicBezTo>
                  <a:pt x="185" y="157"/>
                  <a:pt x="185" y="157"/>
                  <a:pt x="185" y="157"/>
                </a:cubicBezTo>
                <a:cubicBezTo>
                  <a:pt x="184" y="155"/>
                  <a:pt x="184" y="155"/>
                  <a:pt x="184" y="155"/>
                </a:cubicBezTo>
                <a:cubicBezTo>
                  <a:pt x="185" y="155"/>
                  <a:pt x="185" y="155"/>
                  <a:pt x="185" y="155"/>
                </a:cubicBezTo>
                <a:cubicBezTo>
                  <a:pt x="185" y="153"/>
                  <a:pt x="185" y="153"/>
                  <a:pt x="185" y="153"/>
                </a:cubicBezTo>
                <a:cubicBezTo>
                  <a:pt x="184" y="152"/>
                  <a:pt x="184" y="152"/>
                  <a:pt x="184" y="152"/>
                </a:cubicBezTo>
                <a:cubicBezTo>
                  <a:pt x="183" y="153"/>
                  <a:pt x="183" y="153"/>
                  <a:pt x="183" y="153"/>
                </a:cubicBezTo>
                <a:cubicBezTo>
                  <a:pt x="183" y="154"/>
                  <a:pt x="183" y="154"/>
                  <a:pt x="183" y="154"/>
                </a:cubicBezTo>
                <a:cubicBezTo>
                  <a:pt x="183" y="154"/>
                  <a:pt x="183" y="154"/>
                  <a:pt x="183" y="154"/>
                </a:cubicBezTo>
                <a:cubicBezTo>
                  <a:pt x="181" y="156"/>
                  <a:pt x="181" y="156"/>
                  <a:pt x="181" y="156"/>
                </a:cubicBezTo>
                <a:cubicBezTo>
                  <a:pt x="179" y="156"/>
                  <a:pt x="179" y="156"/>
                  <a:pt x="179" y="156"/>
                </a:cubicBezTo>
                <a:cubicBezTo>
                  <a:pt x="178" y="156"/>
                  <a:pt x="178" y="156"/>
                  <a:pt x="178" y="156"/>
                </a:cubicBezTo>
                <a:cubicBezTo>
                  <a:pt x="177" y="157"/>
                  <a:pt x="177" y="157"/>
                  <a:pt x="177" y="157"/>
                </a:cubicBezTo>
                <a:cubicBezTo>
                  <a:pt x="176" y="157"/>
                  <a:pt x="176" y="157"/>
                  <a:pt x="176" y="157"/>
                </a:cubicBezTo>
                <a:cubicBezTo>
                  <a:pt x="175" y="157"/>
                  <a:pt x="175" y="157"/>
                  <a:pt x="175" y="157"/>
                </a:cubicBezTo>
                <a:cubicBezTo>
                  <a:pt x="174" y="157"/>
                  <a:pt x="174" y="157"/>
                  <a:pt x="174" y="157"/>
                </a:cubicBezTo>
                <a:cubicBezTo>
                  <a:pt x="174" y="157"/>
                  <a:pt x="174" y="157"/>
                  <a:pt x="174" y="157"/>
                </a:cubicBezTo>
                <a:close/>
                <a:moveTo>
                  <a:pt x="334" y="138"/>
                </a:moveTo>
                <a:cubicBezTo>
                  <a:pt x="335" y="138"/>
                  <a:pt x="335" y="138"/>
                  <a:pt x="335" y="138"/>
                </a:cubicBezTo>
                <a:cubicBezTo>
                  <a:pt x="335" y="139"/>
                  <a:pt x="335" y="139"/>
                  <a:pt x="335" y="139"/>
                </a:cubicBezTo>
                <a:cubicBezTo>
                  <a:pt x="335" y="140"/>
                  <a:pt x="335" y="140"/>
                  <a:pt x="335" y="140"/>
                </a:cubicBezTo>
                <a:cubicBezTo>
                  <a:pt x="334" y="140"/>
                  <a:pt x="334" y="140"/>
                  <a:pt x="334" y="140"/>
                </a:cubicBezTo>
                <a:cubicBezTo>
                  <a:pt x="334" y="140"/>
                  <a:pt x="334" y="140"/>
                  <a:pt x="334" y="140"/>
                </a:cubicBezTo>
                <a:cubicBezTo>
                  <a:pt x="333" y="138"/>
                  <a:pt x="333" y="138"/>
                  <a:pt x="333" y="138"/>
                </a:cubicBezTo>
                <a:cubicBezTo>
                  <a:pt x="334" y="138"/>
                  <a:pt x="334" y="138"/>
                  <a:pt x="334" y="138"/>
                </a:cubicBezTo>
                <a:close/>
                <a:moveTo>
                  <a:pt x="322" y="138"/>
                </a:moveTo>
                <a:cubicBezTo>
                  <a:pt x="322" y="137"/>
                  <a:pt x="322" y="137"/>
                  <a:pt x="322" y="137"/>
                </a:cubicBezTo>
                <a:cubicBezTo>
                  <a:pt x="324" y="136"/>
                  <a:pt x="324" y="136"/>
                  <a:pt x="324" y="136"/>
                </a:cubicBezTo>
                <a:cubicBezTo>
                  <a:pt x="325" y="137"/>
                  <a:pt x="325" y="137"/>
                  <a:pt x="325" y="137"/>
                </a:cubicBezTo>
                <a:cubicBezTo>
                  <a:pt x="324" y="137"/>
                  <a:pt x="324" y="137"/>
                  <a:pt x="324" y="137"/>
                </a:cubicBezTo>
                <a:cubicBezTo>
                  <a:pt x="324" y="137"/>
                  <a:pt x="324" y="137"/>
                  <a:pt x="324" y="137"/>
                </a:cubicBezTo>
                <a:cubicBezTo>
                  <a:pt x="323" y="138"/>
                  <a:pt x="323" y="138"/>
                  <a:pt x="323" y="138"/>
                </a:cubicBezTo>
                <a:cubicBezTo>
                  <a:pt x="322" y="138"/>
                  <a:pt x="322" y="138"/>
                  <a:pt x="322" y="138"/>
                </a:cubicBezTo>
                <a:close/>
                <a:moveTo>
                  <a:pt x="310" y="145"/>
                </a:moveTo>
                <a:cubicBezTo>
                  <a:pt x="310" y="146"/>
                  <a:pt x="310" y="146"/>
                  <a:pt x="310" y="146"/>
                </a:cubicBezTo>
                <a:cubicBezTo>
                  <a:pt x="312" y="146"/>
                  <a:pt x="312" y="146"/>
                  <a:pt x="312" y="146"/>
                </a:cubicBezTo>
                <a:cubicBezTo>
                  <a:pt x="313" y="147"/>
                  <a:pt x="313" y="147"/>
                  <a:pt x="313" y="147"/>
                </a:cubicBezTo>
                <a:cubicBezTo>
                  <a:pt x="314" y="147"/>
                  <a:pt x="314" y="147"/>
                  <a:pt x="314" y="147"/>
                </a:cubicBezTo>
                <a:cubicBezTo>
                  <a:pt x="315" y="147"/>
                  <a:pt x="315" y="147"/>
                  <a:pt x="315" y="147"/>
                </a:cubicBezTo>
                <a:cubicBezTo>
                  <a:pt x="317" y="146"/>
                  <a:pt x="317" y="146"/>
                  <a:pt x="317" y="146"/>
                </a:cubicBezTo>
                <a:cubicBezTo>
                  <a:pt x="318" y="147"/>
                  <a:pt x="318" y="147"/>
                  <a:pt x="318" y="147"/>
                </a:cubicBezTo>
                <a:cubicBezTo>
                  <a:pt x="318" y="146"/>
                  <a:pt x="318" y="146"/>
                  <a:pt x="318" y="146"/>
                </a:cubicBezTo>
                <a:cubicBezTo>
                  <a:pt x="319" y="146"/>
                  <a:pt x="319" y="146"/>
                  <a:pt x="319" y="146"/>
                </a:cubicBezTo>
                <a:cubicBezTo>
                  <a:pt x="321" y="146"/>
                  <a:pt x="321" y="146"/>
                  <a:pt x="321" y="146"/>
                </a:cubicBezTo>
                <a:cubicBezTo>
                  <a:pt x="321" y="145"/>
                  <a:pt x="321" y="145"/>
                  <a:pt x="321" y="145"/>
                </a:cubicBezTo>
                <a:cubicBezTo>
                  <a:pt x="319" y="144"/>
                  <a:pt x="319" y="144"/>
                  <a:pt x="319" y="144"/>
                </a:cubicBezTo>
                <a:cubicBezTo>
                  <a:pt x="318" y="144"/>
                  <a:pt x="318" y="144"/>
                  <a:pt x="318" y="144"/>
                </a:cubicBezTo>
                <a:cubicBezTo>
                  <a:pt x="316" y="144"/>
                  <a:pt x="316" y="144"/>
                  <a:pt x="316" y="144"/>
                </a:cubicBezTo>
                <a:cubicBezTo>
                  <a:pt x="316" y="144"/>
                  <a:pt x="316" y="144"/>
                  <a:pt x="316" y="144"/>
                </a:cubicBezTo>
                <a:cubicBezTo>
                  <a:pt x="315" y="145"/>
                  <a:pt x="315" y="145"/>
                  <a:pt x="315" y="145"/>
                </a:cubicBezTo>
                <a:cubicBezTo>
                  <a:pt x="313" y="144"/>
                  <a:pt x="313" y="144"/>
                  <a:pt x="313" y="144"/>
                </a:cubicBezTo>
                <a:cubicBezTo>
                  <a:pt x="312" y="145"/>
                  <a:pt x="312" y="145"/>
                  <a:pt x="312" y="145"/>
                </a:cubicBezTo>
                <a:cubicBezTo>
                  <a:pt x="310" y="145"/>
                  <a:pt x="310" y="145"/>
                  <a:pt x="310" y="145"/>
                </a:cubicBezTo>
                <a:cubicBezTo>
                  <a:pt x="310" y="145"/>
                  <a:pt x="310" y="145"/>
                  <a:pt x="310" y="145"/>
                </a:cubicBezTo>
                <a:close/>
                <a:moveTo>
                  <a:pt x="303" y="189"/>
                </a:moveTo>
                <a:cubicBezTo>
                  <a:pt x="302" y="188"/>
                  <a:pt x="302" y="188"/>
                  <a:pt x="302" y="188"/>
                </a:cubicBezTo>
                <a:cubicBezTo>
                  <a:pt x="303" y="188"/>
                  <a:pt x="303" y="188"/>
                  <a:pt x="303" y="188"/>
                </a:cubicBezTo>
                <a:cubicBezTo>
                  <a:pt x="303" y="187"/>
                  <a:pt x="303" y="187"/>
                  <a:pt x="303" y="187"/>
                </a:cubicBezTo>
                <a:cubicBezTo>
                  <a:pt x="303" y="188"/>
                  <a:pt x="303" y="188"/>
                  <a:pt x="303" y="188"/>
                </a:cubicBezTo>
                <a:cubicBezTo>
                  <a:pt x="303" y="189"/>
                  <a:pt x="303" y="189"/>
                  <a:pt x="303" y="189"/>
                </a:cubicBezTo>
                <a:close/>
                <a:moveTo>
                  <a:pt x="295" y="187"/>
                </a:moveTo>
                <a:cubicBezTo>
                  <a:pt x="294" y="187"/>
                  <a:pt x="294" y="187"/>
                  <a:pt x="294" y="187"/>
                </a:cubicBezTo>
                <a:cubicBezTo>
                  <a:pt x="294" y="185"/>
                  <a:pt x="294" y="185"/>
                  <a:pt x="294" y="185"/>
                </a:cubicBezTo>
                <a:cubicBezTo>
                  <a:pt x="294" y="185"/>
                  <a:pt x="294" y="185"/>
                  <a:pt x="294" y="185"/>
                </a:cubicBezTo>
                <a:cubicBezTo>
                  <a:pt x="293" y="186"/>
                  <a:pt x="293" y="186"/>
                  <a:pt x="293" y="186"/>
                </a:cubicBezTo>
                <a:cubicBezTo>
                  <a:pt x="293" y="185"/>
                  <a:pt x="293" y="185"/>
                  <a:pt x="293" y="185"/>
                </a:cubicBezTo>
                <a:cubicBezTo>
                  <a:pt x="293" y="184"/>
                  <a:pt x="293" y="184"/>
                  <a:pt x="293" y="184"/>
                </a:cubicBezTo>
                <a:cubicBezTo>
                  <a:pt x="293" y="182"/>
                  <a:pt x="293" y="182"/>
                  <a:pt x="293" y="182"/>
                </a:cubicBezTo>
                <a:cubicBezTo>
                  <a:pt x="292" y="181"/>
                  <a:pt x="292" y="181"/>
                  <a:pt x="292" y="181"/>
                </a:cubicBezTo>
                <a:cubicBezTo>
                  <a:pt x="293" y="180"/>
                  <a:pt x="293" y="180"/>
                  <a:pt x="293" y="180"/>
                </a:cubicBezTo>
                <a:cubicBezTo>
                  <a:pt x="293" y="178"/>
                  <a:pt x="293" y="178"/>
                  <a:pt x="293" y="178"/>
                </a:cubicBezTo>
                <a:cubicBezTo>
                  <a:pt x="293" y="177"/>
                  <a:pt x="293" y="177"/>
                  <a:pt x="293" y="177"/>
                </a:cubicBezTo>
                <a:cubicBezTo>
                  <a:pt x="292" y="177"/>
                  <a:pt x="292" y="177"/>
                  <a:pt x="292" y="177"/>
                </a:cubicBezTo>
                <a:cubicBezTo>
                  <a:pt x="292" y="176"/>
                  <a:pt x="292" y="176"/>
                  <a:pt x="292" y="176"/>
                </a:cubicBezTo>
                <a:cubicBezTo>
                  <a:pt x="292" y="175"/>
                  <a:pt x="292" y="175"/>
                  <a:pt x="292" y="175"/>
                </a:cubicBezTo>
                <a:cubicBezTo>
                  <a:pt x="290" y="174"/>
                  <a:pt x="290" y="174"/>
                  <a:pt x="290" y="174"/>
                </a:cubicBezTo>
                <a:cubicBezTo>
                  <a:pt x="291" y="172"/>
                  <a:pt x="291" y="172"/>
                  <a:pt x="291" y="172"/>
                </a:cubicBezTo>
                <a:cubicBezTo>
                  <a:pt x="290" y="170"/>
                  <a:pt x="290" y="170"/>
                  <a:pt x="290" y="170"/>
                </a:cubicBezTo>
                <a:cubicBezTo>
                  <a:pt x="289" y="170"/>
                  <a:pt x="289" y="170"/>
                  <a:pt x="289" y="170"/>
                </a:cubicBezTo>
                <a:cubicBezTo>
                  <a:pt x="289" y="170"/>
                  <a:pt x="289" y="170"/>
                  <a:pt x="289" y="170"/>
                </a:cubicBezTo>
                <a:cubicBezTo>
                  <a:pt x="289" y="168"/>
                  <a:pt x="289" y="168"/>
                  <a:pt x="289" y="168"/>
                </a:cubicBezTo>
                <a:cubicBezTo>
                  <a:pt x="288" y="168"/>
                  <a:pt x="288" y="168"/>
                  <a:pt x="288" y="168"/>
                </a:cubicBezTo>
                <a:cubicBezTo>
                  <a:pt x="287" y="168"/>
                  <a:pt x="287" y="168"/>
                  <a:pt x="287" y="168"/>
                </a:cubicBezTo>
                <a:cubicBezTo>
                  <a:pt x="287" y="168"/>
                  <a:pt x="287" y="168"/>
                  <a:pt x="287" y="168"/>
                </a:cubicBezTo>
                <a:cubicBezTo>
                  <a:pt x="286" y="168"/>
                  <a:pt x="286" y="168"/>
                  <a:pt x="286" y="168"/>
                </a:cubicBezTo>
                <a:cubicBezTo>
                  <a:pt x="285" y="168"/>
                  <a:pt x="285" y="168"/>
                  <a:pt x="285" y="168"/>
                </a:cubicBezTo>
                <a:cubicBezTo>
                  <a:pt x="285" y="166"/>
                  <a:pt x="285" y="166"/>
                  <a:pt x="285" y="166"/>
                </a:cubicBezTo>
                <a:cubicBezTo>
                  <a:pt x="286" y="165"/>
                  <a:pt x="286" y="165"/>
                  <a:pt x="286" y="165"/>
                </a:cubicBezTo>
                <a:cubicBezTo>
                  <a:pt x="287" y="164"/>
                  <a:pt x="287" y="164"/>
                  <a:pt x="287" y="164"/>
                </a:cubicBezTo>
                <a:cubicBezTo>
                  <a:pt x="286" y="163"/>
                  <a:pt x="286" y="163"/>
                  <a:pt x="286" y="163"/>
                </a:cubicBezTo>
                <a:cubicBezTo>
                  <a:pt x="286" y="162"/>
                  <a:pt x="286" y="162"/>
                  <a:pt x="286" y="162"/>
                </a:cubicBezTo>
                <a:cubicBezTo>
                  <a:pt x="286" y="160"/>
                  <a:pt x="286" y="160"/>
                  <a:pt x="286" y="160"/>
                </a:cubicBezTo>
                <a:cubicBezTo>
                  <a:pt x="286" y="159"/>
                  <a:pt x="286" y="159"/>
                  <a:pt x="286" y="159"/>
                </a:cubicBezTo>
                <a:cubicBezTo>
                  <a:pt x="287" y="157"/>
                  <a:pt x="287" y="157"/>
                  <a:pt x="287" y="157"/>
                </a:cubicBezTo>
                <a:cubicBezTo>
                  <a:pt x="289" y="157"/>
                  <a:pt x="289" y="157"/>
                  <a:pt x="289" y="157"/>
                </a:cubicBezTo>
                <a:cubicBezTo>
                  <a:pt x="289" y="156"/>
                  <a:pt x="289" y="156"/>
                  <a:pt x="289" y="156"/>
                </a:cubicBezTo>
                <a:cubicBezTo>
                  <a:pt x="290" y="156"/>
                  <a:pt x="290" y="156"/>
                  <a:pt x="290" y="156"/>
                </a:cubicBezTo>
                <a:cubicBezTo>
                  <a:pt x="290" y="156"/>
                  <a:pt x="290" y="156"/>
                  <a:pt x="290" y="156"/>
                </a:cubicBezTo>
                <a:cubicBezTo>
                  <a:pt x="292" y="156"/>
                  <a:pt x="292" y="156"/>
                  <a:pt x="292" y="156"/>
                </a:cubicBezTo>
                <a:cubicBezTo>
                  <a:pt x="293" y="156"/>
                  <a:pt x="293" y="156"/>
                  <a:pt x="293" y="156"/>
                </a:cubicBezTo>
                <a:cubicBezTo>
                  <a:pt x="294" y="157"/>
                  <a:pt x="294" y="157"/>
                  <a:pt x="294" y="157"/>
                </a:cubicBezTo>
                <a:cubicBezTo>
                  <a:pt x="293" y="157"/>
                  <a:pt x="293" y="157"/>
                  <a:pt x="293" y="157"/>
                </a:cubicBezTo>
                <a:cubicBezTo>
                  <a:pt x="293" y="158"/>
                  <a:pt x="293" y="158"/>
                  <a:pt x="293" y="158"/>
                </a:cubicBezTo>
                <a:cubicBezTo>
                  <a:pt x="292" y="158"/>
                  <a:pt x="292" y="158"/>
                  <a:pt x="292" y="158"/>
                </a:cubicBezTo>
                <a:cubicBezTo>
                  <a:pt x="293" y="158"/>
                  <a:pt x="293" y="158"/>
                  <a:pt x="293" y="158"/>
                </a:cubicBezTo>
                <a:cubicBezTo>
                  <a:pt x="294" y="159"/>
                  <a:pt x="294" y="159"/>
                  <a:pt x="294" y="159"/>
                </a:cubicBezTo>
                <a:cubicBezTo>
                  <a:pt x="294" y="160"/>
                  <a:pt x="294" y="160"/>
                  <a:pt x="294" y="160"/>
                </a:cubicBezTo>
                <a:cubicBezTo>
                  <a:pt x="295" y="162"/>
                  <a:pt x="295" y="162"/>
                  <a:pt x="295" y="162"/>
                </a:cubicBezTo>
                <a:cubicBezTo>
                  <a:pt x="295" y="163"/>
                  <a:pt x="295" y="163"/>
                  <a:pt x="295" y="163"/>
                </a:cubicBezTo>
                <a:cubicBezTo>
                  <a:pt x="296" y="164"/>
                  <a:pt x="296" y="164"/>
                  <a:pt x="296" y="164"/>
                </a:cubicBezTo>
                <a:cubicBezTo>
                  <a:pt x="297" y="164"/>
                  <a:pt x="297" y="164"/>
                  <a:pt x="297" y="164"/>
                </a:cubicBezTo>
                <a:cubicBezTo>
                  <a:pt x="298" y="164"/>
                  <a:pt x="298" y="164"/>
                  <a:pt x="298" y="164"/>
                </a:cubicBezTo>
                <a:cubicBezTo>
                  <a:pt x="297" y="163"/>
                  <a:pt x="297" y="163"/>
                  <a:pt x="297" y="163"/>
                </a:cubicBezTo>
                <a:cubicBezTo>
                  <a:pt x="298" y="162"/>
                  <a:pt x="298" y="162"/>
                  <a:pt x="298" y="162"/>
                </a:cubicBezTo>
                <a:cubicBezTo>
                  <a:pt x="299" y="161"/>
                  <a:pt x="299" y="161"/>
                  <a:pt x="299" y="161"/>
                </a:cubicBezTo>
                <a:cubicBezTo>
                  <a:pt x="299" y="160"/>
                  <a:pt x="299" y="160"/>
                  <a:pt x="299" y="160"/>
                </a:cubicBezTo>
                <a:cubicBezTo>
                  <a:pt x="300" y="159"/>
                  <a:pt x="300" y="159"/>
                  <a:pt x="300" y="159"/>
                </a:cubicBezTo>
                <a:cubicBezTo>
                  <a:pt x="300" y="158"/>
                  <a:pt x="300" y="158"/>
                  <a:pt x="300" y="158"/>
                </a:cubicBezTo>
                <a:cubicBezTo>
                  <a:pt x="299" y="157"/>
                  <a:pt x="299" y="157"/>
                  <a:pt x="299" y="157"/>
                </a:cubicBezTo>
                <a:cubicBezTo>
                  <a:pt x="300" y="157"/>
                  <a:pt x="300" y="157"/>
                  <a:pt x="300" y="157"/>
                </a:cubicBezTo>
                <a:cubicBezTo>
                  <a:pt x="301" y="156"/>
                  <a:pt x="301" y="156"/>
                  <a:pt x="301" y="156"/>
                </a:cubicBezTo>
                <a:cubicBezTo>
                  <a:pt x="302" y="157"/>
                  <a:pt x="302" y="157"/>
                  <a:pt x="302" y="157"/>
                </a:cubicBezTo>
                <a:cubicBezTo>
                  <a:pt x="302" y="158"/>
                  <a:pt x="302" y="158"/>
                  <a:pt x="302" y="158"/>
                </a:cubicBezTo>
                <a:cubicBezTo>
                  <a:pt x="303" y="158"/>
                  <a:pt x="303" y="158"/>
                  <a:pt x="303" y="158"/>
                </a:cubicBezTo>
                <a:cubicBezTo>
                  <a:pt x="303" y="157"/>
                  <a:pt x="303" y="157"/>
                  <a:pt x="303" y="157"/>
                </a:cubicBezTo>
                <a:cubicBezTo>
                  <a:pt x="302" y="156"/>
                  <a:pt x="302" y="156"/>
                  <a:pt x="302" y="156"/>
                </a:cubicBezTo>
                <a:cubicBezTo>
                  <a:pt x="302" y="155"/>
                  <a:pt x="302" y="155"/>
                  <a:pt x="302" y="155"/>
                </a:cubicBezTo>
                <a:cubicBezTo>
                  <a:pt x="301" y="155"/>
                  <a:pt x="301" y="155"/>
                  <a:pt x="301" y="155"/>
                </a:cubicBezTo>
                <a:cubicBezTo>
                  <a:pt x="301" y="156"/>
                  <a:pt x="301" y="156"/>
                  <a:pt x="301" y="156"/>
                </a:cubicBezTo>
                <a:cubicBezTo>
                  <a:pt x="299" y="156"/>
                  <a:pt x="299" y="156"/>
                  <a:pt x="299" y="156"/>
                </a:cubicBezTo>
                <a:cubicBezTo>
                  <a:pt x="298" y="154"/>
                  <a:pt x="298" y="154"/>
                  <a:pt x="298" y="154"/>
                </a:cubicBezTo>
                <a:cubicBezTo>
                  <a:pt x="298" y="154"/>
                  <a:pt x="298" y="154"/>
                  <a:pt x="298" y="154"/>
                </a:cubicBezTo>
                <a:cubicBezTo>
                  <a:pt x="297" y="152"/>
                  <a:pt x="297" y="152"/>
                  <a:pt x="297" y="152"/>
                </a:cubicBezTo>
                <a:cubicBezTo>
                  <a:pt x="297" y="151"/>
                  <a:pt x="297" y="151"/>
                  <a:pt x="297" y="151"/>
                </a:cubicBezTo>
                <a:cubicBezTo>
                  <a:pt x="298" y="150"/>
                  <a:pt x="298" y="150"/>
                  <a:pt x="298" y="150"/>
                </a:cubicBezTo>
                <a:cubicBezTo>
                  <a:pt x="299" y="150"/>
                  <a:pt x="299" y="150"/>
                  <a:pt x="299" y="150"/>
                </a:cubicBezTo>
                <a:cubicBezTo>
                  <a:pt x="299" y="149"/>
                  <a:pt x="299" y="149"/>
                  <a:pt x="299" y="149"/>
                </a:cubicBezTo>
                <a:cubicBezTo>
                  <a:pt x="300" y="150"/>
                  <a:pt x="300" y="150"/>
                  <a:pt x="300" y="150"/>
                </a:cubicBezTo>
                <a:cubicBezTo>
                  <a:pt x="301" y="151"/>
                  <a:pt x="301" y="151"/>
                  <a:pt x="301" y="151"/>
                </a:cubicBezTo>
                <a:cubicBezTo>
                  <a:pt x="301" y="153"/>
                  <a:pt x="301" y="153"/>
                  <a:pt x="301" y="153"/>
                </a:cubicBezTo>
                <a:cubicBezTo>
                  <a:pt x="302" y="153"/>
                  <a:pt x="302" y="153"/>
                  <a:pt x="302" y="153"/>
                </a:cubicBezTo>
                <a:cubicBezTo>
                  <a:pt x="302" y="152"/>
                  <a:pt x="302" y="152"/>
                  <a:pt x="302" y="152"/>
                </a:cubicBezTo>
                <a:cubicBezTo>
                  <a:pt x="302" y="151"/>
                  <a:pt x="302" y="151"/>
                  <a:pt x="302" y="151"/>
                </a:cubicBezTo>
                <a:cubicBezTo>
                  <a:pt x="302" y="150"/>
                  <a:pt x="302" y="150"/>
                  <a:pt x="302" y="150"/>
                </a:cubicBezTo>
                <a:cubicBezTo>
                  <a:pt x="301" y="150"/>
                  <a:pt x="301" y="150"/>
                  <a:pt x="301" y="150"/>
                </a:cubicBezTo>
                <a:cubicBezTo>
                  <a:pt x="301" y="148"/>
                  <a:pt x="301" y="148"/>
                  <a:pt x="301" y="148"/>
                </a:cubicBezTo>
                <a:cubicBezTo>
                  <a:pt x="301" y="147"/>
                  <a:pt x="301" y="147"/>
                  <a:pt x="301" y="147"/>
                </a:cubicBezTo>
                <a:cubicBezTo>
                  <a:pt x="301" y="147"/>
                  <a:pt x="301" y="147"/>
                  <a:pt x="301" y="147"/>
                </a:cubicBezTo>
                <a:cubicBezTo>
                  <a:pt x="302" y="146"/>
                  <a:pt x="302" y="146"/>
                  <a:pt x="302" y="146"/>
                </a:cubicBezTo>
                <a:cubicBezTo>
                  <a:pt x="303" y="145"/>
                  <a:pt x="303" y="145"/>
                  <a:pt x="303" y="145"/>
                </a:cubicBezTo>
                <a:cubicBezTo>
                  <a:pt x="304" y="145"/>
                  <a:pt x="304" y="145"/>
                  <a:pt x="304" y="145"/>
                </a:cubicBezTo>
                <a:cubicBezTo>
                  <a:pt x="304" y="145"/>
                  <a:pt x="304" y="145"/>
                  <a:pt x="304" y="145"/>
                </a:cubicBezTo>
                <a:cubicBezTo>
                  <a:pt x="305" y="147"/>
                  <a:pt x="305" y="147"/>
                  <a:pt x="305" y="147"/>
                </a:cubicBezTo>
                <a:cubicBezTo>
                  <a:pt x="307" y="147"/>
                  <a:pt x="307" y="147"/>
                  <a:pt x="307" y="147"/>
                </a:cubicBezTo>
                <a:cubicBezTo>
                  <a:pt x="307" y="146"/>
                  <a:pt x="307" y="146"/>
                  <a:pt x="307" y="146"/>
                </a:cubicBezTo>
                <a:cubicBezTo>
                  <a:pt x="306" y="146"/>
                  <a:pt x="306" y="146"/>
                  <a:pt x="306" y="146"/>
                </a:cubicBezTo>
                <a:cubicBezTo>
                  <a:pt x="305" y="145"/>
                  <a:pt x="305" y="145"/>
                  <a:pt x="305" y="145"/>
                </a:cubicBezTo>
                <a:cubicBezTo>
                  <a:pt x="306" y="145"/>
                  <a:pt x="306" y="145"/>
                  <a:pt x="306" y="145"/>
                </a:cubicBezTo>
                <a:cubicBezTo>
                  <a:pt x="307" y="144"/>
                  <a:pt x="307" y="144"/>
                  <a:pt x="307" y="144"/>
                </a:cubicBezTo>
                <a:cubicBezTo>
                  <a:pt x="309" y="145"/>
                  <a:pt x="309" y="145"/>
                  <a:pt x="309" y="145"/>
                </a:cubicBezTo>
                <a:cubicBezTo>
                  <a:pt x="309" y="145"/>
                  <a:pt x="309" y="145"/>
                  <a:pt x="309" y="145"/>
                </a:cubicBezTo>
                <a:cubicBezTo>
                  <a:pt x="308" y="146"/>
                  <a:pt x="308" y="146"/>
                  <a:pt x="308" y="146"/>
                </a:cubicBezTo>
                <a:cubicBezTo>
                  <a:pt x="308" y="146"/>
                  <a:pt x="308" y="146"/>
                  <a:pt x="308" y="146"/>
                </a:cubicBezTo>
                <a:cubicBezTo>
                  <a:pt x="309" y="147"/>
                  <a:pt x="309" y="147"/>
                  <a:pt x="309" y="147"/>
                </a:cubicBezTo>
                <a:cubicBezTo>
                  <a:pt x="310" y="148"/>
                  <a:pt x="310" y="148"/>
                  <a:pt x="310" y="148"/>
                </a:cubicBezTo>
                <a:cubicBezTo>
                  <a:pt x="311" y="148"/>
                  <a:pt x="311" y="148"/>
                  <a:pt x="311" y="148"/>
                </a:cubicBezTo>
                <a:cubicBezTo>
                  <a:pt x="312" y="148"/>
                  <a:pt x="312" y="148"/>
                  <a:pt x="312" y="148"/>
                </a:cubicBezTo>
                <a:cubicBezTo>
                  <a:pt x="314" y="148"/>
                  <a:pt x="314" y="148"/>
                  <a:pt x="314" y="148"/>
                </a:cubicBezTo>
                <a:cubicBezTo>
                  <a:pt x="315" y="148"/>
                  <a:pt x="315" y="148"/>
                  <a:pt x="315" y="148"/>
                </a:cubicBezTo>
                <a:cubicBezTo>
                  <a:pt x="315" y="148"/>
                  <a:pt x="315" y="148"/>
                  <a:pt x="315" y="148"/>
                </a:cubicBezTo>
                <a:cubicBezTo>
                  <a:pt x="318" y="148"/>
                  <a:pt x="318" y="148"/>
                  <a:pt x="318" y="148"/>
                </a:cubicBezTo>
                <a:cubicBezTo>
                  <a:pt x="319" y="149"/>
                  <a:pt x="319" y="149"/>
                  <a:pt x="319" y="149"/>
                </a:cubicBezTo>
                <a:cubicBezTo>
                  <a:pt x="320" y="149"/>
                  <a:pt x="320" y="149"/>
                  <a:pt x="320" y="149"/>
                </a:cubicBezTo>
                <a:cubicBezTo>
                  <a:pt x="320" y="150"/>
                  <a:pt x="320" y="150"/>
                  <a:pt x="320" y="150"/>
                </a:cubicBezTo>
                <a:cubicBezTo>
                  <a:pt x="320" y="150"/>
                  <a:pt x="320" y="150"/>
                  <a:pt x="320" y="150"/>
                </a:cubicBezTo>
                <a:cubicBezTo>
                  <a:pt x="321" y="151"/>
                  <a:pt x="321" y="151"/>
                  <a:pt x="321" y="151"/>
                </a:cubicBezTo>
                <a:cubicBezTo>
                  <a:pt x="320" y="152"/>
                  <a:pt x="320" y="152"/>
                  <a:pt x="320" y="152"/>
                </a:cubicBezTo>
                <a:cubicBezTo>
                  <a:pt x="318" y="153"/>
                  <a:pt x="318" y="153"/>
                  <a:pt x="318" y="153"/>
                </a:cubicBezTo>
                <a:cubicBezTo>
                  <a:pt x="317" y="153"/>
                  <a:pt x="317" y="153"/>
                  <a:pt x="317" y="153"/>
                </a:cubicBezTo>
                <a:cubicBezTo>
                  <a:pt x="317" y="152"/>
                  <a:pt x="317" y="152"/>
                  <a:pt x="317" y="152"/>
                </a:cubicBezTo>
                <a:cubicBezTo>
                  <a:pt x="317" y="153"/>
                  <a:pt x="317" y="153"/>
                  <a:pt x="317" y="153"/>
                </a:cubicBezTo>
                <a:cubicBezTo>
                  <a:pt x="316" y="153"/>
                  <a:pt x="316" y="153"/>
                  <a:pt x="316" y="153"/>
                </a:cubicBezTo>
                <a:cubicBezTo>
                  <a:pt x="316" y="154"/>
                  <a:pt x="316" y="154"/>
                  <a:pt x="316" y="154"/>
                </a:cubicBezTo>
                <a:cubicBezTo>
                  <a:pt x="317" y="155"/>
                  <a:pt x="317" y="155"/>
                  <a:pt x="317" y="155"/>
                </a:cubicBezTo>
                <a:cubicBezTo>
                  <a:pt x="317" y="155"/>
                  <a:pt x="317" y="155"/>
                  <a:pt x="317" y="155"/>
                </a:cubicBezTo>
                <a:cubicBezTo>
                  <a:pt x="317" y="157"/>
                  <a:pt x="317" y="157"/>
                  <a:pt x="317" y="157"/>
                </a:cubicBezTo>
                <a:cubicBezTo>
                  <a:pt x="316" y="157"/>
                  <a:pt x="316" y="157"/>
                  <a:pt x="316" y="157"/>
                </a:cubicBezTo>
                <a:cubicBezTo>
                  <a:pt x="316" y="157"/>
                  <a:pt x="316" y="157"/>
                  <a:pt x="316" y="157"/>
                </a:cubicBezTo>
                <a:cubicBezTo>
                  <a:pt x="315" y="157"/>
                  <a:pt x="315" y="157"/>
                  <a:pt x="315" y="157"/>
                </a:cubicBezTo>
                <a:cubicBezTo>
                  <a:pt x="313" y="157"/>
                  <a:pt x="313" y="157"/>
                  <a:pt x="313" y="157"/>
                </a:cubicBezTo>
                <a:cubicBezTo>
                  <a:pt x="313" y="158"/>
                  <a:pt x="313" y="158"/>
                  <a:pt x="313" y="158"/>
                </a:cubicBezTo>
                <a:cubicBezTo>
                  <a:pt x="311" y="159"/>
                  <a:pt x="311" y="159"/>
                  <a:pt x="311" y="159"/>
                </a:cubicBezTo>
                <a:cubicBezTo>
                  <a:pt x="309" y="160"/>
                  <a:pt x="309" y="160"/>
                  <a:pt x="309" y="160"/>
                </a:cubicBezTo>
                <a:cubicBezTo>
                  <a:pt x="308" y="160"/>
                  <a:pt x="308" y="160"/>
                  <a:pt x="308" y="160"/>
                </a:cubicBezTo>
                <a:cubicBezTo>
                  <a:pt x="307" y="161"/>
                  <a:pt x="307" y="161"/>
                  <a:pt x="307" y="161"/>
                </a:cubicBezTo>
                <a:cubicBezTo>
                  <a:pt x="307" y="162"/>
                  <a:pt x="307" y="162"/>
                  <a:pt x="307" y="162"/>
                </a:cubicBezTo>
                <a:cubicBezTo>
                  <a:pt x="308" y="162"/>
                  <a:pt x="308" y="162"/>
                  <a:pt x="308" y="162"/>
                </a:cubicBezTo>
                <a:cubicBezTo>
                  <a:pt x="309" y="161"/>
                  <a:pt x="309" y="161"/>
                  <a:pt x="309" y="161"/>
                </a:cubicBezTo>
                <a:cubicBezTo>
                  <a:pt x="310" y="161"/>
                  <a:pt x="310" y="161"/>
                  <a:pt x="310" y="161"/>
                </a:cubicBezTo>
                <a:cubicBezTo>
                  <a:pt x="311" y="161"/>
                  <a:pt x="311" y="161"/>
                  <a:pt x="311" y="161"/>
                </a:cubicBezTo>
                <a:cubicBezTo>
                  <a:pt x="313" y="162"/>
                  <a:pt x="313" y="162"/>
                  <a:pt x="313" y="162"/>
                </a:cubicBezTo>
                <a:cubicBezTo>
                  <a:pt x="313" y="163"/>
                  <a:pt x="313" y="163"/>
                  <a:pt x="313" y="163"/>
                </a:cubicBezTo>
                <a:cubicBezTo>
                  <a:pt x="313" y="164"/>
                  <a:pt x="313" y="164"/>
                  <a:pt x="313" y="164"/>
                </a:cubicBezTo>
                <a:cubicBezTo>
                  <a:pt x="312" y="164"/>
                  <a:pt x="312" y="164"/>
                  <a:pt x="312" y="164"/>
                </a:cubicBezTo>
                <a:cubicBezTo>
                  <a:pt x="313" y="164"/>
                  <a:pt x="313" y="164"/>
                  <a:pt x="313" y="164"/>
                </a:cubicBezTo>
                <a:cubicBezTo>
                  <a:pt x="313" y="165"/>
                  <a:pt x="313" y="165"/>
                  <a:pt x="313" y="165"/>
                </a:cubicBezTo>
                <a:cubicBezTo>
                  <a:pt x="313" y="166"/>
                  <a:pt x="313" y="166"/>
                  <a:pt x="313" y="166"/>
                </a:cubicBezTo>
                <a:cubicBezTo>
                  <a:pt x="312" y="167"/>
                  <a:pt x="312" y="167"/>
                  <a:pt x="312" y="167"/>
                </a:cubicBezTo>
                <a:cubicBezTo>
                  <a:pt x="312" y="168"/>
                  <a:pt x="312" y="168"/>
                  <a:pt x="312" y="168"/>
                </a:cubicBezTo>
                <a:cubicBezTo>
                  <a:pt x="312" y="169"/>
                  <a:pt x="312" y="169"/>
                  <a:pt x="312" y="169"/>
                </a:cubicBezTo>
                <a:cubicBezTo>
                  <a:pt x="313" y="167"/>
                  <a:pt x="313" y="167"/>
                  <a:pt x="313" y="167"/>
                </a:cubicBezTo>
                <a:cubicBezTo>
                  <a:pt x="315" y="167"/>
                  <a:pt x="315" y="167"/>
                  <a:pt x="315" y="167"/>
                </a:cubicBezTo>
                <a:cubicBezTo>
                  <a:pt x="315" y="166"/>
                  <a:pt x="315" y="166"/>
                  <a:pt x="315" y="166"/>
                </a:cubicBezTo>
                <a:cubicBezTo>
                  <a:pt x="316" y="166"/>
                  <a:pt x="316" y="166"/>
                  <a:pt x="316" y="166"/>
                </a:cubicBezTo>
                <a:cubicBezTo>
                  <a:pt x="315" y="167"/>
                  <a:pt x="315" y="167"/>
                  <a:pt x="315" y="167"/>
                </a:cubicBezTo>
                <a:cubicBezTo>
                  <a:pt x="315" y="169"/>
                  <a:pt x="315" y="169"/>
                  <a:pt x="315" y="169"/>
                </a:cubicBezTo>
                <a:cubicBezTo>
                  <a:pt x="314" y="171"/>
                  <a:pt x="314" y="171"/>
                  <a:pt x="314" y="171"/>
                </a:cubicBezTo>
                <a:cubicBezTo>
                  <a:pt x="314" y="172"/>
                  <a:pt x="314" y="172"/>
                  <a:pt x="314" y="172"/>
                </a:cubicBezTo>
                <a:cubicBezTo>
                  <a:pt x="312" y="173"/>
                  <a:pt x="312" y="173"/>
                  <a:pt x="312" y="173"/>
                </a:cubicBezTo>
                <a:cubicBezTo>
                  <a:pt x="311" y="173"/>
                  <a:pt x="311" y="173"/>
                  <a:pt x="311" y="173"/>
                </a:cubicBezTo>
                <a:cubicBezTo>
                  <a:pt x="311" y="174"/>
                  <a:pt x="311" y="174"/>
                  <a:pt x="311" y="174"/>
                </a:cubicBezTo>
                <a:cubicBezTo>
                  <a:pt x="311" y="174"/>
                  <a:pt x="311" y="174"/>
                  <a:pt x="311" y="174"/>
                </a:cubicBezTo>
                <a:cubicBezTo>
                  <a:pt x="311" y="176"/>
                  <a:pt x="311" y="176"/>
                  <a:pt x="311" y="176"/>
                </a:cubicBezTo>
                <a:cubicBezTo>
                  <a:pt x="310" y="176"/>
                  <a:pt x="310" y="176"/>
                  <a:pt x="310" y="176"/>
                </a:cubicBezTo>
                <a:cubicBezTo>
                  <a:pt x="310" y="176"/>
                  <a:pt x="310" y="176"/>
                  <a:pt x="310" y="176"/>
                </a:cubicBezTo>
                <a:cubicBezTo>
                  <a:pt x="309" y="176"/>
                  <a:pt x="309" y="176"/>
                  <a:pt x="309" y="176"/>
                </a:cubicBezTo>
                <a:cubicBezTo>
                  <a:pt x="309" y="177"/>
                  <a:pt x="309" y="177"/>
                  <a:pt x="309" y="177"/>
                </a:cubicBezTo>
                <a:cubicBezTo>
                  <a:pt x="311" y="178"/>
                  <a:pt x="311" y="178"/>
                  <a:pt x="311" y="178"/>
                </a:cubicBezTo>
                <a:cubicBezTo>
                  <a:pt x="310" y="178"/>
                  <a:pt x="310" y="178"/>
                  <a:pt x="310" y="178"/>
                </a:cubicBezTo>
                <a:cubicBezTo>
                  <a:pt x="309" y="178"/>
                  <a:pt x="309" y="178"/>
                  <a:pt x="309" y="178"/>
                </a:cubicBezTo>
                <a:cubicBezTo>
                  <a:pt x="310" y="179"/>
                  <a:pt x="310" y="179"/>
                  <a:pt x="310" y="179"/>
                </a:cubicBezTo>
                <a:cubicBezTo>
                  <a:pt x="309" y="181"/>
                  <a:pt x="309" y="181"/>
                  <a:pt x="309" y="181"/>
                </a:cubicBezTo>
                <a:cubicBezTo>
                  <a:pt x="308" y="180"/>
                  <a:pt x="308" y="180"/>
                  <a:pt x="308" y="180"/>
                </a:cubicBezTo>
                <a:cubicBezTo>
                  <a:pt x="307" y="181"/>
                  <a:pt x="307" y="181"/>
                  <a:pt x="307" y="181"/>
                </a:cubicBezTo>
                <a:cubicBezTo>
                  <a:pt x="306" y="181"/>
                  <a:pt x="306" y="181"/>
                  <a:pt x="306" y="181"/>
                </a:cubicBezTo>
                <a:cubicBezTo>
                  <a:pt x="305" y="181"/>
                  <a:pt x="305" y="181"/>
                  <a:pt x="305" y="181"/>
                </a:cubicBezTo>
                <a:cubicBezTo>
                  <a:pt x="305" y="182"/>
                  <a:pt x="305" y="182"/>
                  <a:pt x="305" y="182"/>
                </a:cubicBezTo>
                <a:cubicBezTo>
                  <a:pt x="303" y="183"/>
                  <a:pt x="303" y="183"/>
                  <a:pt x="303" y="183"/>
                </a:cubicBezTo>
                <a:cubicBezTo>
                  <a:pt x="301" y="182"/>
                  <a:pt x="301" y="182"/>
                  <a:pt x="301" y="182"/>
                </a:cubicBezTo>
                <a:cubicBezTo>
                  <a:pt x="300" y="183"/>
                  <a:pt x="300" y="183"/>
                  <a:pt x="300" y="183"/>
                </a:cubicBezTo>
                <a:cubicBezTo>
                  <a:pt x="299" y="182"/>
                  <a:pt x="299" y="182"/>
                  <a:pt x="299" y="182"/>
                </a:cubicBezTo>
                <a:cubicBezTo>
                  <a:pt x="299" y="180"/>
                  <a:pt x="299" y="180"/>
                  <a:pt x="299" y="180"/>
                </a:cubicBezTo>
                <a:cubicBezTo>
                  <a:pt x="300" y="178"/>
                  <a:pt x="300" y="178"/>
                  <a:pt x="300" y="178"/>
                </a:cubicBezTo>
                <a:cubicBezTo>
                  <a:pt x="300" y="177"/>
                  <a:pt x="300" y="177"/>
                  <a:pt x="300" y="177"/>
                </a:cubicBezTo>
                <a:cubicBezTo>
                  <a:pt x="298" y="179"/>
                  <a:pt x="298" y="179"/>
                  <a:pt x="298" y="179"/>
                </a:cubicBezTo>
                <a:cubicBezTo>
                  <a:pt x="298" y="181"/>
                  <a:pt x="298" y="181"/>
                  <a:pt x="298" y="181"/>
                </a:cubicBezTo>
                <a:cubicBezTo>
                  <a:pt x="299" y="183"/>
                  <a:pt x="299" y="183"/>
                  <a:pt x="299" y="183"/>
                </a:cubicBezTo>
                <a:cubicBezTo>
                  <a:pt x="299" y="184"/>
                  <a:pt x="299" y="184"/>
                  <a:pt x="299" y="184"/>
                </a:cubicBezTo>
                <a:cubicBezTo>
                  <a:pt x="299" y="185"/>
                  <a:pt x="299" y="185"/>
                  <a:pt x="299" y="185"/>
                </a:cubicBezTo>
                <a:cubicBezTo>
                  <a:pt x="298" y="186"/>
                  <a:pt x="298" y="186"/>
                  <a:pt x="298" y="186"/>
                </a:cubicBezTo>
                <a:cubicBezTo>
                  <a:pt x="297" y="187"/>
                  <a:pt x="297" y="187"/>
                  <a:pt x="297" y="187"/>
                </a:cubicBezTo>
                <a:cubicBezTo>
                  <a:pt x="297" y="187"/>
                  <a:pt x="295" y="187"/>
                  <a:pt x="295" y="187"/>
                </a:cubicBezTo>
                <a:close/>
                <a:moveTo>
                  <a:pt x="316" y="158"/>
                </a:moveTo>
                <a:cubicBezTo>
                  <a:pt x="316" y="159"/>
                  <a:pt x="316" y="159"/>
                  <a:pt x="316" y="159"/>
                </a:cubicBezTo>
                <a:cubicBezTo>
                  <a:pt x="317" y="159"/>
                  <a:pt x="317" y="159"/>
                  <a:pt x="317" y="159"/>
                </a:cubicBezTo>
                <a:cubicBezTo>
                  <a:pt x="317" y="158"/>
                  <a:pt x="317" y="158"/>
                  <a:pt x="317" y="158"/>
                </a:cubicBezTo>
                <a:cubicBezTo>
                  <a:pt x="316" y="158"/>
                  <a:pt x="316" y="158"/>
                  <a:pt x="316" y="158"/>
                </a:cubicBezTo>
                <a:close/>
                <a:moveTo>
                  <a:pt x="315" y="163"/>
                </a:moveTo>
                <a:cubicBezTo>
                  <a:pt x="316" y="163"/>
                  <a:pt x="316" y="163"/>
                  <a:pt x="316" y="163"/>
                </a:cubicBezTo>
                <a:cubicBezTo>
                  <a:pt x="317" y="162"/>
                  <a:pt x="317" y="162"/>
                  <a:pt x="317" y="162"/>
                </a:cubicBezTo>
                <a:cubicBezTo>
                  <a:pt x="317" y="161"/>
                  <a:pt x="317" y="161"/>
                  <a:pt x="317" y="161"/>
                </a:cubicBezTo>
                <a:cubicBezTo>
                  <a:pt x="317" y="160"/>
                  <a:pt x="317" y="160"/>
                  <a:pt x="317" y="160"/>
                </a:cubicBezTo>
                <a:cubicBezTo>
                  <a:pt x="316" y="159"/>
                  <a:pt x="316" y="159"/>
                  <a:pt x="316" y="159"/>
                </a:cubicBezTo>
                <a:cubicBezTo>
                  <a:pt x="316" y="160"/>
                  <a:pt x="316" y="160"/>
                  <a:pt x="316" y="160"/>
                </a:cubicBezTo>
                <a:cubicBezTo>
                  <a:pt x="315" y="161"/>
                  <a:pt x="315" y="161"/>
                  <a:pt x="315" y="161"/>
                </a:cubicBezTo>
                <a:cubicBezTo>
                  <a:pt x="315" y="161"/>
                  <a:pt x="315" y="161"/>
                  <a:pt x="315" y="161"/>
                </a:cubicBezTo>
                <a:cubicBezTo>
                  <a:pt x="315" y="163"/>
                  <a:pt x="315" y="163"/>
                  <a:pt x="315" y="163"/>
                </a:cubicBezTo>
                <a:cubicBezTo>
                  <a:pt x="315" y="163"/>
                  <a:pt x="315" y="163"/>
                  <a:pt x="315" y="163"/>
                </a:cubicBezTo>
                <a:close/>
                <a:moveTo>
                  <a:pt x="315" y="166"/>
                </a:moveTo>
                <a:cubicBezTo>
                  <a:pt x="315" y="166"/>
                  <a:pt x="315" y="166"/>
                  <a:pt x="315" y="166"/>
                </a:cubicBezTo>
                <a:cubicBezTo>
                  <a:pt x="316" y="164"/>
                  <a:pt x="316" y="164"/>
                  <a:pt x="316" y="164"/>
                </a:cubicBezTo>
                <a:cubicBezTo>
                  <a:pt x="315" y="164"/>
                  <a:pt x="315" y="164"/>
                  <a:pt x="315" y="164"/>
                </a:cubicBezTo>
                <a:cubicBezTo>
                  <a:pt x="314" y="165"/>
                  <a:pt x="314" y="165"/>
                  <a:pt x="314" y="165"/>
                </a:cubicBezTo>
                <a:cubicBezTo>
                  <a:pt x="314" y="166"/>
                  <a:pt x="314" y="166"/>
                  <a:pt x="314" y="166"/>
                </a:cubicBezTo>
                <a:cubicBezTo>
                  <a:pt x="315" y="166"/>
                  <a:pt x="315" y="166"/>
                  <a:pt x="315" y="166"/>
                </a:cubicBezTo>
                <a:close/>
                <a:moveTo>
                  <a:pt x="267" y="139"/>
                </a:moveTo>
                <a:cubicBezTo>
                  <a:pt x="267" y="140"/>
                  <a:pt x="267" y="140"/>
                  <a:pt x="267" y="140"/>
                </a:cubicBezTo>
                <a:cubicBezTo>
                  <a:pt x="267" y="140"/>
                  <a:pt x="267" y="140"/>
                  <a:pt x="267" y="140"/>
                </a:cubicBezTo>
                <a:cubicBezTo>
                  <a:pt x="268" y="140"/>
                  <a:pt x="268" y="140"/>
                  <a:pt x="268" y="140"/>
                </a:cubicBezTo>
                <a:cubicBezTo>
                  <a:pt x="269" y="140"/>
                  <a:pt x="269" y="140"/>
                  <a:pt x="269" y="140"/>
                </a:cubicBezTo>
                <a:cubicBezTo>
                  <a:pt x="269" y="140"/>
                  <a:pt x="269" y="140"/>
                  <a:pt x="269" y="140"/>
                </a:cubicBezTo>
                <a:cubicBezTo>
                  <a:pt x="269" y="139"/>
                  <a:pt x="269" y="139"/>
                  <a:pt x="269" y="139"/>
                </a:cubicBezTo>
                <a:cubicBezTo>
                  <a:pt x="267" y="139"/>
                  <a:pt x="267" y="139"/>
                  <a:pt x="267" y="139"/>
                </a:cubicBezTo>
                <a:cubicBezTo>
                  <a:pt x="267" y="139"/>
                  <a:pt x="267" y="139"/>
                  <a:pt x="267" y="139"/>
                </a:cubicBezTo>
                <a:close/>
                <a:moveTo>
                  <a:pt x="275" y="155"/>
                </a:moveTo>
                <a:cubicBezTo>
                  <a:pt x="274" y="154"/>
                  <a:pt x="274" y="154"/>
                  <a:pt x="274" y="154"/>
                </a:cubicBezTo>
                <a:cubicBezTo>
                  <a:pt x="274" y="151"/>
                  <a:pt x="274" y="151"/>
                  <a:pt x="274" y="151"/>
                </a:cubicBezTo>
                <a:cubicBezTo>
                  <a:pt x="273" y="150"/>
                  <a:pt x="273" y="150"/>
                  <a:pt x="273" y="150"/>
                </a:cubicBezTo>
                <a:cubicBezTo>
                  <a:pt x="273" y="149"/>
                  <a:pt x="273" y="149"/>
                  <a:pt x="273" y="149"/>
                </a:cubicBezTo>
                <a:cubicBezTo>
                  <a:pt x="273" y="148"/>
                  <a:pt x="273" y="148"/>
                  <a:pt x="273" y="148"/>
                </a:cubicBezTo>
                <a:cubicBezTo>
                  <a:pt x="273" y="147"/>
                  <a:pt x="273" y="147"/>
                  <a:pt x="273" y="147"/>
                </a:cubicBezTo>
                <a:cubicBezTo>
                  <a:pt x="273" y="145"/>
                  <a:pt x="273" y="145"/>
                  <a:pt x="273" y="145"/>
                </a:cubicBezTo>
                <a:cubicBezTo>
                  <a:pt x="272" y="144"/>
                  <a:pt x="272" y="144"/>
                  <a:pt x="272" y="144"/>
                </a:cubicBezTo>
                <a:cubicBezTo>
                  <a:pt x="271" y="143"/>
                  <a:pt x="271" y="143"/>
                  <a:pt x="271" y="143"/>
                </a:cubicBezTo>
                <a:cubicBezTo>
                  <a:pt x="271" y="142"/>
                  <a:pt x="271" y="142"/>
                  <a:pt x="271" y="142"/>
                </a:cubicBezTo>
                <a:cubicBezTo>
                  <a:pt x="273" y="141"/>
                  <a:pt x="273" y="141"/>
                  <a:pt x="273" y="141"/>
                </a:cubicBezTo>
                <a:cubicBezTo>
                  <a:pt x="274" y="140"/>
                  <a:pt x="274" y="140"/>
                  <a:pt x="274" y="140"/>
                </a:cubicBezTo>
                <a:cubicBezTo>
                  <a:pt x="275" y="139"/>
                  <a:pt x="275" y="139"/>
                  <a:pt x="275" y="139"/>
                </a:cubicBezTo>
                <a:cubicBezTo>
                  <a:pt x="277" y="139"/>
                  <a:pt x="277" y="139"/>
                  <a:pt x="277" y="139"/>
                </a:cubicBezTo>
                <a:cubicBezTo>
                  <a:pt x="278" y="140"/>
                  <a:pt x="278" y="140"/>
                  <a:pt x="278" y="140"/>
                </a:cubicBezTo>
                <a:cubicBezTo>
                  <a:pt x="278" y="140"/>
                  <a:pt x="278" y="140"/>
                  <a:pt x="278" y="140"/>
                </a:cubicBezTo>
                <a:cubicBezTo>
                  <a:pt x="279" y="141"/>
                  <a:pt x="279" y="141"/>
                  <a:pt x="279" y="141"/>
                </a:cubicBezTo>
                <a:cubicBezTo>
                  <a:pt x="280" y="140"/>
                  <a:pt x="280" y="140"/>
                  <a:pt x="280" y="140"/>
                </a:cubicBezTo>
                <a:cubicBezTo>
                  <a:pt x="281" y="141"/>
                  <a:pt x="281" y="141"/>
                  <a:pt x="281" y="141"/>
                </a:cubicBezTo>
                <a:cubicBezTo>
                  <a:pt x="282" y="141"/>
                  <a:pt x="282" y="141"/>
                  <a:pt x="282" y="141"/>
                </a:cubicBezTo>
                <a:cubicBezTo>
                  <a:pt x="283" y="141"/>
                  <a:pt x="283" y="141"/>
                  <a:pt x="283" y="141"/>
                </a:cubicBezTo>
                <a:cubicBezTo>
                  <a:pt x="284" y="142"/>
                  <a:pt x="284" y="142"/>
                  <a:pt x="284" y="142"/>
                </a:cubicBezTo>
                <a:cubicBezTo>
                  <a:pt x="284" y="143"/>
                  <a:pt x="284" y="143"/>
                  <a:pt x="284" y="143"/>
                </a:cubicBezTo>
                <a:cubicBezTo>
                  <a:pt x="284" y="144"/>
                  <a:pt x="284" y="144"/>
                  <a:pt x="284" y="144"/>
                </a:cubicBezTo>
                <a:cubicBezTo>
                  <a:pt x="285" y="145"/>
                  <a:pt x="285" y="145"/>
                  <a:pt x="285" y="145"/>
                </a:cubicBezTo>
                <a:cubicBezTo>
                  <a:pt x="285" y="146"/>
                  <a:pt x="285" y="146"/>
                  <a:pt x="285" y="146"/>
                </a:cubicBezTo>
                <a:cubicBezTo>
                  <a:pt x="284" y="146"/>
                  <a:pt x="284" y="146"/>
                  <a:pt x="284" y="146"/>
                </a:cubicBezTo>
                <a:cubicBezTo>
                  <a:pt x="284" y="147"/>
                  <a:pt x="284" y="147"/>
                  <a:pt x="284" y="147"/>
                </a:cubicBezTo>
                <a:cubicBezTo>
                  <a:pt x="283" y="149"/>
                  <a:pt x="283" y="149"/>
                  <a:pt x="283" y="149"/>
                </a:cubicBezTo>
                <a:cubicBezTo>
                  <a:pt x="282" y="149"/>
                  <a:pt x="282" y="149"/>
                  <a:pt x="282" y="149"/>
                </a:cubicBezTo>
                <a:cubicBezTo>
                  <a:pt x="280" y="150"/>
                  <a:pt x="280" y="150"/>
                  <a:pt x="280" y="150"/>
                </a:cubicBezTo>
                <a:cubicBezTo>
                  <a:pt x="279" y="151"/>
                  <a:pt x="279" y="151"/>
                  <a:pt x="279" y="151"/>
                </a:cubicBezTo>
                <a:cubicBezTo>
                  <a:pt x="277" y="153"/>
                  <a:pt x="277" y="153"/>
                  <a:pt x="277" y="153"/>
                </a:cubicBezTo>
                <a:cubicBezTo>
                  <a:pt x="276" y="153"/>
                  <a:pt x="276" y="153"/>
                  <a:pt x="276" y="153"/>
                </a:cubicBezTo>
                <a:cubicBezTo>
                  <a:pt x="275" y="154"/>
                  <a:pt x="275" y="154"/>
                  <a:pt x="275" y="154"/>
                </a:cubicBezTo>
                <a:cubicBezTo>
                  <a:pt x="275" y="155"/>
                  <a:pt x="275" y="155"/>
                  <a:pt x="275" y="155"/>
                </a:cubicBezTo>
                <a:cubicBezTo>
                  <a:pt x="275" y="155"/>
                  <a:pt x="275" y="155"/>
                  <a:pt x="275" y="155"/>
                </a:cubicBezTo>
                <a:close/>
                <a:moveTo>
                  <a:pt x="320" y="181"/>
                </a:moveTo>
                <a:cubicBezTo>
                  <a:pt x="318" y="179"/>
                  <a:pt x="318" y="179"/>
                  <a:pt x="318" y="179"/>
                </a:cubicBezTo>
                <a:cubicBezTo>
                  <a:pt x="317" y="179"/>
                  <a:pt x="317" y="179"/>
                  <a:pt x="317" y="179"/>
                </a:cubicBezTo>
                <a:cubicBezTo>
                  <a:pt x="315" y="179"/>
                  <a:pt x="315" y="179"/>
                  <a:pt x="315" y="179"/>
                </a:cubicBezTo>
                <a:cubicBezTo>
                  <a:pt x="316" y="178"/>
                  <a:pt x="316" y="178"/>
                  <a:pt x="316" y="178"/>
                </a:cubicBezTo>
                <a:cubicBezTo>
                  <a:pt x="317" y="177"/>
                  <a:pt x="317" y="177"/>
                  <a:pt x="317" y="177"/>
                </a:cubicBezTo>
                <a:cubicBezTo>
                  <a:pt x="317" y="178"/>
                  <a:pt x="317" y="178"/>
                  <a:pt x="317" y="178"/>
                </a:cubicBezTo>
                <a:cubicBezTo>
                  <a:pt x="318" y="177"/>
                  <a:pt x="318" y="177"/>
                  <a:pt x="318" y="177"/>
                </a:cubicBezTo>
                <a:cubicBezTo>
                  <a:pt x="318" y="177"/>
                  <a:pt x="318" y="177"/>
                  <a:pt x="318" y="177"/>
                </a:cubicBezTo>
                <a:cubicBezTo>
                  <a:pt x="317" y="177"/>
                  <a:pt x="317" y="177"/>
                  <a:pt x="317" y="177"/>
                </a:cubicBezTo>
                <a:cubicBezTo>
                  <a:pt x="316" y="176"/>
                  <a:pt x="316" y="176"/>
                  <a:pt x="316" y="176"/>
                </a:cubicBezTo>
                <a:cubicBezTo>
                  <a:pt x="318" y="174"/>
                  <a:pt x="318" y="174"/>
                  <a:pt x="318" y="174"/>
                </a:cubicBezTo>
                <a:cubicBezTo>
                  <a:pt x="318" y="172"/>
                  <a:pt x="318" y="172"/>
                  <a:pt x="318" y="172"/>
                </a:cubicBezTo>
                <a:cubicBezTo>
                  <a:pt x="318" y="171"/>
                  <a:pt x="318" y="171"/>
                  <a:pt x="318" y="171"/>
                </a:cubicBezTo>
                <a:cubicBezTo>
                  <a:pt x="319" y="171"/>
                  <a:pt x="319" y="171"/>
                  <a:pt x="319" y="171"/>
                </a:cubicBezTo>
                <a:cubicBezTo>
                  <a:pt x="319" y="170"/>
                  <a:pt x="319" y="170"/>
                  <a:pt x="319" y="170"/>
                </a:cubicBezTo>
                <a:cubicBezTo>
                  <a:pt x="318" y="169"/>
                  <a:pt x="318" y="169"/>
                  <a:pt x="318" y="169"/>
                </a:cubicBezTo>
                <a:cubicBezTo>
                  <a:pt x="319" y="168"/>
                  <a:pt x="319" y="168"/>
                  <a:pt x="319" y="168"/>
                </a:cubicBezTo>
                <a:cubicBezTo>
                  <a:pt x="319" y="167"/>
                  <a:pt x="319" y="167"/>
                  <a:pt x="319" y="167"/>
                </a:cubicBezTo>
                <a:cubicBezTo>
                  <a:pt x="320" y="164"/>
                  <a:pt x="320" y="164"/>
                  <a:pt x="320" y="164"/>
                </a:cubicBezTo>
                <a:cubicBezTo>
                  <a:pt x="321" y="164"/>
                  <a:pt x="321" y="164"/>
                  <a:pt x="321" y="164"/>
                </a:cubicBezTo>
                <a:cubicBezTo>
                  <a:pt x="321" y="163"/>
                  <a:pt x="321" y="163"/>
                  <a:pt x="321" y="163"/>
                </a:cubicBezTo>
                <a:cubicBezTo>
                  <a:pt x="322" y="162"/>
                  <a:pt x="322" y="162"/>
                  <a:pt x="322" y="162"/>
                </a:cubicBezTo>
                <a:cubicBezTo>
                  <a:pt x="322" y="160"/>
                  <a:pt x="322" y="160"/>
                  <a:pt x="322" y="160"/>
                </a:cubicBezTo>
                <a:cubicBezTo>
                  <a:pt x="323" y="160"/>
                  <a:pt x="323" y="160"/>
                  <a:pt x="323" y="160"/>
                </a:cubicBezTo>
                <a:cubicBezTo>
                  <a:pt x="323" y="158"/>
                  <a:pt x="323" y="158"/>
                  <a:pt x="323" y="158"/>
                </a:cubicBezTo>
                <a:cubicBezTo>
                  <a:pt x="325" y="157"/>
                  <a:pt x="325" y="157"/>
                  <a:pt x="325" y="157"/>
                </a:cubicBezTo>
                <a:cubicBezTo>
                  <a:pt x="325" y="155"/>
                  <a:pt x="325" y="155"/>
                  <a:pt x="325" y="155"/>
                </a:cubicBezTo>
                <a:cubicBezTo>
                  <a:pt x="326" y="155"/>
                  <a:pt x="326" y="155"/>
                  <a:pt x="326" y="155"/>
                </a:cubicBezTo>
                <a:cubicBezTo>
                  <a:pt x="326" y="154"/>
                  <a:pt x="326" y="154"/>
                  <a:pt x="326" y="154"/>
                </a:cubicBezTo>
                <a:cubicBezTo>
                  <a:pt x="326" y="153"/>
                  <a:pt x="326" y="153"/>
                  <a:pt x="326" y="153"/>
                </a:cubicBezTo>
                <a:cubicBezTo>
                  <a:pt x="327" y="152"/>
                  <a:pt x="327" y="152"/>
                  <a:pt x="327" y="152"/>
                </a:cubicBezTo>
                <a:cubicBezTo>
                  <a:pt x="327" y="152"/>
                  <a:pt x="327" y="152"/>
                  <a:pt x="327" y="152"/>
                </a:cubicBezTo>
                <a:cubicBezTo>
                  <a:pt x="328" y="154"/>
                  <a:pt x="328" y="154"/>
                  <a:pt x="328" y="154"/>
                </a:cubicBezTo>
                <a:cubicBezTo>
                  <a:pt x="329" y="155"/>
                  <a:pt x="329" y="155"/>
                  <a:pt x="329" y="155"/>
                </a:cubicBezTo>
                <a:cubicBezTo>
                  <a:pt x="330" y="155"/>
                  <a:pt x="330" y="155"/>
                  <a:pt x="330" y="155"/>
                </a:cubicBezTo>
                <a:cubicBezTo>
                  <a:pt x="330" y="154"/>
                  <a:pt x="330" y="154"/>
                  <a:pt x="330" y="154"/>
                </a:cubicBezTo>
                <a:cubicBezTo>
                  <a:pt x="329" y="152"/>
                  <a:pt x="329" y="152"/>
                  <a:pt x="329" y="152"/>
                </a:cubicBezTo>
                <a:cubicBezTo>
                  <a:pt x="329" y="152"/>
                  <a:pt x="329" y="152"/>
                  <a:pt x="329" y="152"/>
                </a:cubicBezTo>
                <a:cubicBezTo>
                  <a:pt x="330" y="152"/>
                  <a:pt x="330" y="152"/>
                  <a:pt x="330" y="152"/>
                </a:cubicBezTo>
                <a:cubicBezTo>
                  <a:pt x="329" y="150"/>
                  <a:pt x="329" y="150"/>
                  <a:pt x="329" y="150"/>
                </a:cubicBezTo>
                <a:cubicBezTo>
                  <a:pt x="330" y="149"/>
                  <a:pt x="330" y="149"/>
                  <a:pt x="330" y="149"/>
                </a:cubicBezTo>
                <a:cubicBezTo>
                  <a:pt x="333" y="148"/>
                  <a:pt x="333" y="148"/>
                  <a:pt x="333" y="148"/>
                </a:cubicBezTo>
                <a:cubicBezTo>
                  <a:pt x="335" y="148"/>
                  <a:pt x="335" y="148"/>
                  <a:pt x="335" y="148"/>
                </a:cubicBezTo>
                <a:cubicBezTo>
                  <a:pt x="336" y="148"/>
                  <a:pt x="336" y="148"/>
                  <a:pt x="336" y="148"/>
                </a:cubicBezTo>
                <a:cubicBezTo>
                  <a:pt x="336" y="148"/>
                  <a:pt x="336" y="148"/>
                  <a:pt x="336" y="148"/>
                </a:cubicBezTo>
                <a:cubicBezTo>
                  <a:pt x="337" y="148"/>
                  <a:pt x="337" y="148"/>
                  <a:pt x="337" y="148"/>
                </a:cubicBezTo>
                <a:cubicBezTo>
                  <a:pt x="338" y="149"/>
                  <a:pt x="338" y="149"/>
                  <a:pt x="338" y="149"/>
                </a:cubicBezTo>
                <a:cubicBezTo>
                  <a:pt x="339" y="148"/>
                  <a:pt x="339" y="148"/>
                  <a:pt x="339" y="148"/>
                </a:cubicBezTo>
                <a:cubicBezTo>
                  <a:pt x="340" y="148"/>
                  <a:pt x="340" y="148"/>
                  <a:pt x="340" y="148"/>
                </a:cubicBezTo>
                <a:cubicBezTo>
                  <a:pt x="341" y="150"/>
                  <a:pt x="341" y="150"/>
                  <a:pt x="341" y="150"/>
                </a:cubicBezTo>
                <a:cubicBezTo>
                  <a:pt x="342" y="150"/>
                  <a:pt x="342" y="150"/>
                  <a:pt x="342" y="150"/>
                </a:cubicBezTo>
                <a:cubicBezTo>
                  <a:pt x="342" y="150"/>
                  <a:pt x="342" y="150"/>
                  <a:pt x="342" y="150"/>
                </a:cubicBezTo>
                <a:cubicBezTo>
                  <a:pt x="343" y="150"/>
                  <a:pt x="343" y="150"/>
                  <a:pt x="343" y="150"/>
                </a:cubicBezTo>
                <a:cubicBezTo>
                  <a:pt x="344" y="152"/>
                  <a:pt x="344" y="152"/>
                  <a:pt x="344" y="152"/>
                </a:cubicBezTo>
                <a:cubicBezTo>
                  <a:pt x="344" y="153"/>
                  <a:pt x="344" y="153"/>
                  <a:pt x="344" y="153"/>
                </a:cubicBezTo>
                <a:cubicBezTo>
                  <a:pt x="344" y="153"/>
                  <a:pt x="344" y="153"/>
                  <a:pt x="344" y="153"/>
                </a:cubicBezTo>
                <a:cubicBezTo>
                  <a:pt x="345" y="153"/>
                  <a:pt x="345" y="153"/>
                  <a:pt x="345" y="153"/>
                </a:cubicBezTo>
                <a:cubicBezTo>
                  <a:pt x="347" y="153"/>
                  <a:pt x="347" y="153"/>
                  <a:pt x="347" y="153"/>
                </a:cubicBezTo>
                <a:cubicBezTo>
                  <a:pt x="350" y="153"/>
                  <a:pt x="350" y="153"/>
                  <a:pt x="350" y="153"/>
                </a:cubicBezTo>
                <a:cubicBezTo>
                  <a:pt x="351" y="154"/>
                  <a:pt x="351" y="154"/>
                  <a:pt x="351" y="154"/>
                </a:cubicBezTo>
                <a:cubicBezTo>
                  <a:pt x="351" y="155"/>
                  <a:pt x="351" y="155"/>
                  <a:pt x="351" y="155"/>
                </a:cubicBezTo>
                <a:cubicBezTo>
                  <a:pt x="352" y="156"/>
                  <a:pt x="352" y="156"/>
                  <a:pt x="352" y="156"/>
                </a:cubicBezTo>
                <a:cubicBezTo>
                  <a:pt x="352" y="157"/>
                  <a:pt x="352" y="157"/>
                  <a:pt x="352" y="157"/>
                </a:cubicBezTo>
                <a:cubicBezTo>
                  <a:pt x="352" y="156"/>
                  <a:pt x="352" y="156"/>
                  <a:pt x="352" y="156"/>
                </a:cubicBezTo>
                <a:cubicBezTo>
                  <a:pt x="351" y="156"/>
                  <a:pt x="351" y="156"/>
                  <a:pt x="351" y="156"/>
                </a:cubicBezTo>
                <a:cubicBezTo>
                  <a:pt x="351" y="158"/>
                  <a:pt x="351" y="158"/>
                  <a:pt x="351" y="158"/>
                </a:cubicBezTo>
                <a:cubicBezTo>
                  <a:pt x="349" y="159"/>
                  <a:pt x="349" y="159"/>
                  <a:pt x="349" y="159"/>
                </a:cubicBezTo>
                <a:cubicBezTo>
                  <a:pt x="348" y="161"/>
                  <a:pt x="348" y="161"/>
                  <a:pt x="348" y="161"/>
                </a:cubicBezTo>
                <a:cubicBezTo>
                  <a:pt x="347" y="161"/>
                  <a:pt x="347" y="161"/>
                  <a:pt x="347" y="161"/>
                </a:cubicBezTo>
                <a:cubicBezTo>
                  <a:pt x="347" y="162"/>
                  <a:pt x="347" y="162"/>
                  <a:pt x="347" y="162"/>
                </a:cubicBezTo>
                <a:cubicBezTo>
                  <a:pt x="344" y="164"/>
                  <a:pt x="344" y="164"/>
                  <a:pt x="344" y="164"/>
                </a:cubicBezTo>
                <a:cubicBezTo>
                  <a:pt x="343" y="165"/>
                  <a:pt x="343" y="165"/>
                  <a:pt x="343" y="165"/>
                </a:cubicBezTo>
                <a:cubicBezTo>
                  <a:pt x="342" y="165"/>
                  <a:pt x="342" y="165"/>
                  <a:pt x="342" y="165"/>
                </a:cubicBezTo>
                <a:cubicBezTo>
                  <a:pt x="341" y="166"/>
                  <a:pt x="341" y="166"/>
                  <a:pt x="341" y="166"/>
                </a:cubicBezTo>
                <a:cubicBezTo>
                  <a:pt x="342" y="166"/>
                  <a:pt x="342" y="166"/>
                  <a:pt x="342" y="166"/>
                </a:cubicBezTo>
                <a:cubicBezTo>
                  <a:pt x="341" y="167"/>
                  <a:pt x="341" y="167"/>
                  <a:pt x="341" y="167"/>
                </a:cubicBezTo>
                <a:cubicBezTo>
                  <a:pt x="339" y="169"/>
                  <a:pt x="339" y="169"/>
                  <a:pt x="339" y="169"/>
                </a:cubicBezTo>
                <a:cubicBezTo>
                  <a:pt x="338" y="170"/>
                  <a:pt x="338" y="170"/>
                  <a:pt x="338" y="170"/>
                </a:cubicBezTo>
                <a:cubicBezTo>
                  <a:pt x="336" y="172"/>
                  <a:pt x="336" y="172"/>
                  <a:pt x="336" y="172"/>
                </a:cubicBezTo>
                <a:cubicBezTo>
                  <a:pt x="334" y="173"/>
                  <a:pt x="334" y="173"/>
                  <a:pt x="334" y="173"/>
                </a:cubicBezTo>
                <a:cubicBezTo>
                  <a:pt x="333" y="172"/>
                  <a:pt x="333" y="172"/>
                  <a:pt x="333" y="172"/>
                </a:cubicBezTo>
                <a:cubicBezTo>
                  <a:pt x="333" y="172"/>
                  <a:pt x="333" y="172"/>
                  <a:pt x="333" y="172"/>
                </a:cubicBezTo>
                <a:cubicBezTo>
                  <a:pt x="332" y="172"/>
                  <a:pt x="332" y="172"/>
                  <a:pt x="332" y="172"/>
                </a:cubicBezTo>
                <a:cubicBezTo>
                  <a:pt x="331" y="170"/>
                  <a:pt x="331" y="170"/>
                  <a:pt x="331" y="170"/>
                </a:cubicBezTo>
                <a:cubicBezTo>
                  <a:pt x="330" y="169"/>
                  <a:pt x="330" y="169"/>
                  <a:pt x="330" y="169"/>
                </a:cubicBezTo>
                <a:cubicBezTo>
                  <a:pt x="330" y="169"/>
                  <a:pt x="330" y="169"/>
                  <a:pt x="330" y="169"/>
                </a:cubicBezTo>
                <a:cubicBezTo>
                  <a:pt x="329" y="169"/>
                  <a:pt x="329" y="169"/>
                  <a:pt x="329" y="169"/>
                </a:cubicBezTo>
                <a:cubicBezTo>
                  <a:pt x="328" y="169"/>
                  <a:pt x="328" y="169"/>
                  <a:pt x="328" y="169"/>
                </a:cubicBezTo>
                <a:cubicBezTo>
                  <a:pt x="326" y="169"/>
                  <a:pt x="326" y="169"/>
                  <a:pt x="326" y="169"/>
                </a:cubicBezTo>
                <a:cubicBezTo>
                  <a:pt x="326" y="169"/>
                  <a:pt x="326" y="169"/>
                  <a:pt x="326" y="169"/>
                </a:cubicBezTo>
                <a:cubicBezTo>
                  <a:pt x="325" y="169"/>
                  <a:pt x="325" y="169"/>
                  <a:pt x="325" y="169"/>
                </a:cubicBezTo>
                <a:cubicBezTo>
                  <a:pt x="324" y="169"/>
                  <a:pt x="324" y="169"/>
                  <a:pt x="324" y="169"/>
                </a:cubicBezTo>
                <a:cubicBezTo>
                  <a:pt x="325" y="170"/>
                  <a:pt x="325" y="170"/>
                  <a:pt x="325" y="170"/>
                </a:cubicBezTo>
                <a:cubicBezTo>
                  <a:pt x="327" y="170"/>
                  <a:pt x="327" y="170"/>
                  <a:pt x="327" y="170"/>
                </a:cubicBezTo>
                <a:cubicBezTo>
                  <a:pt x="327" y="171"/>
                  <a:pt x="327" y="171"/>
                  <a:pt x="327" y="171"/>
                </a:cubicBezTo>
                <a:cubicBezTo>
                  <a:pt x="326" y="172"/>
                  <a:pt x="326" y="172"/>
                  <a:pt x="326" y="172"/>
                </a:cubicBezTo>
                <a:cubicBezTo>
                  <a:pt x="327" y="173"/>
                  <a:pt x="327" y="173"/>
                  <a:pt x="327" y="173"/>
                </a:cubicBezTo>
                <a:cubicBezTo>
                  <a:pt x="327" y="174"/>
                  <a:pt x="327" y="174"/>
                  <a:pt x="327" y="174"/>
                </a:cubicBezTo>
                <a:cubicBezTo>
                  <a:pt x="326" y="175"/>
                  <a:pt x="326" y="175"/>
                  <a:pt x="326" y="175"/>
                </a:cubicBezTo>
                <a:cubicBezTo>
                  <a:pt x="325" y="176"/>
                  <a:pt x="325" y="176"/>
                  <a:pt x="325" y="176"/>
                </a:cubicBezTo>
                <a:cubicBezTo>
                  <a:pt x="325" y="176"/>
                  <a:pt x="325" y="176"/>
                  <a:pt x="325" y="176"/>
                </a:cubicBezTo>
                <a:cubicBezTo>
                  <a:pt x="323" y="176"/>
                  <a:pt x="323" y="176"/>
                  <a:pt x="323" y="176"/>
                </a:cubicBezTo>
                <a:cubicBezTo>
                  <a:pt x="323" y="177"/>
                  <a:pt x="323" y="177"/>
                  <a:pt x="323" y="177"/>
                </a:cubicBezTo>
                <a:cubicBezTo>
                  <a:pt x="322" y="178"/>
                  <a:pt x="322" y="178"/>
                  <a:pt x="322" y="178"/>
                </a:cubicBezTo>
                <a:cubicBezTo>
                  <a:pt x="321" y="179"/>
                  <a:pt x="321" y="179"/>
                  <a:pt x="321" y="179"/>
                </a:cubicBezTo>
                <a:cubicBezTo>
                  <a:pt x="320" y="179"/>
                  <a:pt x="320" y="179"/>
                  <a:pt x="320" y="179"/>
                </a:cubicBezTo>
                <a:cubicBezTo>
                  <a:pt x="320" y="180"/>
                  <a:pt x="320" y="180"/>
                  <a:pt x="320" y="180"/>
                </a:cubicBezTo>
                <a:cubicBezTo>
                  <a:pt x="320" y="180"/>
                  <a:pt x="320" y="181"/>
                  <a:pt x="320" y="181"/>
                </a:cubicBezTo>
                <a:close/>
                <a:moveTo>
                  <a:pt x="397" y="186"/>
                </a:moveTo>
                <a:cubicBezTo>
                  <a:pt x="395" y="185"/>
                  <a:pt x="395" y="185"/>
                  <a:pt x="395" y="185"/>
                </a:cubicBezTo>
                <a:cubicBezTo>
                  <a:pt x="394" y="185"/>
                  <a:pt x="394" y="185"/>
                  <a:pt x="394" y="185"/>
                </a:cubicBezTo>
                <a:cubicBezTo>
                  <a:pt x="394" y="183"/>
                  <a:pt x="394" y="183"/>
                  <a:pt x="394" y="183"/>
                </a:cubicBezTo>
                <a:cubicBezTo>
                  <a:pt x="393" y="183"/>
                  <a:pt x="393" y="183"/>
                  <a:pt x="393" y="183"/>
                </a:cubicBezTo>
                <a:cubicBezTo>
                  <a:pt x="392" y="182"/>
                  <a:pt x="392" y="182"/>
                  <a:pt x="392" y="182"/>
                </a:cubicBezTo>
                <a:cubicBezTo>
                  <a:pt x="393" y="180"/>
                  <a:pt x="393" y="180"/>
                  <a:pt x="393" y="180"/>
                </a:cubicBezTo>
                <a:cubicBezTo>
                  <a:pt x="394" y="179"/>
                  <a:pt x="394" y="179"/>
                  <a:pt x="394" y="179"/>
                </a:cubicBezTo>
                <a:cubicBezTo>
                  <a:pt x="394" y="178"/>
                  <a:pt x="394" y="178"/>
                  <a:pt x="394" y="178"/>
                </a:cubicBezTo>
                <a:cubicBezTo>
                  <a:pt x="394" y="177"/>
                  <a:pt x="394" y="177"/>
                  <a:pt x="394" y="177"/>
                </a:cubicBezTo>
                <a:cubicBezTo>
                  <a:pt x="394" y="176"/>
                  <a:pt x="394" y="176"/>
                  <a:pt x="394" y="176"/>
                </a:cubicBezTo>
                <a:cubicBezTo>
                  <a:pt x="393" y="176"/>
                  <a:pt x="393" y="176"/>
                  <a:pt x="393" y="176"/>
                </a:cubicBezTo>
                <a:cubicBezTo>
                  <a:pt x="392" y="175"/>
                  <a:pt x="392" y="175"/>
                  <a:pt x="392" y="175"/>
                </a:cubicBezTo>
                <a:cubicBezTo>
                  <a:pt x="393" y="173"/>
                  <a:pt x="393" y="173"/>
                  <a:pt x="393" y="173"/>
                </a:cubicBezTo>
                <a:cubicBezTo>
                  <a:pt x="394" y="173"/>
                  <a:pt x="394" y="173"/>
                  <a:pt x="394" y="173"/>
                </a:cubicBezTo>
                <a:cubicBezTo>
                  <a:pt x="394" y="172"/>
                  <a:pt x="394" y="172"/>
                  <a:pt x="394" y="172"/>
                </a:cubicBezTo>
                <a:cubicBezTo>
                  <a:pt x="394" y="171"/>
                  <a:pt x="394" y="171"/>
                  <a:pt x="394" y="171"/>
                </a:cubicBezTo>
                <a:cubicBezTo>
                  <a:pt x="395" y="170"/>
                  <a:pt x="395" y="170"/>
                  <a:pt x="395" y="170"/>
                </a:cubicBezTo>
                <a:cubicBezTo>
                  <a:pt x="395" y="168"/>
                  <a:pt x="395" y="168"/>
                  <a:pt x="395" y="168"/>
                </a:cubicBezTo>
                <a:cubicBezTo>
                  <a:pt x="396" y="168"/>
                  <a:pt x="396" y="168"/>
                  <a:pt x="396" y="168"/>
                </a:cubicBezTo>
                <a:cubicBezTo>
                  <a:pt x="397" y="169"/>
                  <a:pt x="397" y="169"/>
                  <a:pt x="397" y="169"/>
                </a:cubicBezTo>
                <a:cubicBezTo>
                  <a:pt x="397" y="170"/>
                  <a:pt x="397" y="170"/>
                  <a:pt x="397" y="170"/>
                </a:cubicBezTo>
                <a:cubicBezTo>
                  <a:pt x="400" y="170"/>
                  <a:pt x="400" y="170"/>
                  <a:pt x="400" y="170"/>
                </a:cubicBezTo>
                <a:cubicBezTo>
                  <a:pt x="401" y="171"/>
                  <a:pt x="401" y="171"/>
                  <a:pt x="401" y="171"/>
                </a:cubicBezTo>
                <a:cubicBezTo>
                  <a:pt x="402" y="172"/>
                  <a:pt x="402" y="172"/>
                  <a:pt x="402" y="172"/>
                </a:cubicBezTo>
                <a:cubicBezTo>
                  <a:pt x="403" y="171"/>
                  <a:pt x="403" y="171"/>
                  <a:pt x="403" y="171"/>
                </a:cubicBezTo>
                <a:cubicBezTo>
                  <a:pt x="405" y="172"/>
                  <a:pt x="405" y="172"/>
                  <a:pt x="405" y="172"/>
                </a:cubicBezTo>
                <a:cubicBezTo>
                  <a:pt x="407" y="172"/>
                  <a:pt x="407" y="172"/>
                  <a:pt x="407" y="172"/>
                </a:cubicBezTo>
                <a:cubicBezTo>
                  <a:pt x="407" y="173"/>
                  <a:pt x="407" y="173"/>
                  <a:pt x="407" y="173"/>
                </a:cubicBezTo>
                <a:cubicBezTo>
                  <a:pt x="408" y="174"/>
                  <a:pt x="408" y="174"/>
                  <a:pt x="408" y="174"/>
                </a:cubicBezTo>
                <a:cubicBezTo>
                  <a:pt x="410" y="175"/>
                  <a:pt x="410" y="175"/>
                  <a:pt x="410" y="175"/>
                </a:cubicBezTo>
                <a:cubicBezTo>
                  <a:pt x="410" y="176"/>
                  <a:pt x="410" y="176"/>
                  <a:pt x="410" y="176"/>
                </a:cubicBezTo>
                <a:cubicBezTo>
                  <a:pt x="410" y="177"/>
                  <a:pt x="410" y="177"/>
                  <a:pt x="410" y="177"/>
                </a:cubicBezTo>
                <a:cubicBezTo>
                  <a:pt x="410" y="178"/>
                  <a:pt x="410" y="178"/>
                  <a:pt x="410" y="178"/>
                </a:cubicBezTo>
                <a:cubicBezTo>
                  <a:pt x="411" y="179"/>
                  <a:pt x="411" y="179"/>
                  <a:pt x="411" y="179"/>
                </a:cubicBezTo>
                <a:cubicBezTo>
                  <a:pt x="410" y="180"/>
                  <a:pt x="410" y="180"/>
                  <a:pt x="410" y="180"/>
                </a:cubicBezTo>
                <a:cubicBezTo>
                  <a:pt x="411" y="181"/>
                  <a:pt x="411" y="181"/>
                  <a:pt x="411" y="181"/>
                </a:cubicBezTo>
                <a:cubicBezTo>
                  <a:pt x="411" y="182"/>
                  <a:pt x="411" y="182"/>
                  <a:pt x="411" y="182"/>
                </a:cubicBezTo>
                <a:cubicBezTo>
                  <a:pt x="411" y="183"/>
                  <a:pt x="411" y="183"/>
                  <a:pt x="411" y="183"/>
                </a:cubicBezTo>
                <a:cubicBezTo>
                  <a:pt x="411" y="184"/>
                  <a:pt x="411" y="184"/>
                  <a:pt x="411" y="184"/>
                </a:cubicBezTo>
                <a:cubicBezTo>
                  <a:pt x="410" y="185"/>
                  <a:pt x="410" y="185"/>
                  <a:pt x="410" y="185"/>
                </a:cubicBezTo>
                <a:cubicBezTo>
                  <a:pt x="412" y="185"/>
                  <a:pt x="412" y="185"/>
                  <a:pt x="412" y="185"/>
                </a:cubicBezTo>
                <a:cubicBezTo>
                  <a:pt x="412" y="186"/>
                  <a:pt x="412" y="186"/>
                  <a:pt x="412" y="186"/>
                </a:cubicBezTo>
                <a:cubicBezTo>
                  <a:pt x="411" y="186"/>
                  <a:pt x="411" y="186"/>
                  <a:pt x="411" y="186"/>
                </a:cubicBezTo>
                <a:cubicBezTo>
                  <a:pt x="411" y="187"/>
                  <a:pt x="411" y="187"/>
                  <a:pt x="411" y="187"/>
                </a:cubicBezTo>
                <a:cubicBezTo>
                  <a:pt x="408" y="187"/>
                  <a:pt x="408" y="187"/>
                  <a:pt x="408" y="187"/>
                </a:cubicBezTo>
                <a:cubicBezTo>
                  <a:pt x="408" y="186"/>
                  <a:pt x="408" y="186"/>
                  <a:pt x="408" y="186"/>
                </a:cubicBezTo>
                <a:cubicBezTo>
                  <a:pt x="406" y="186"/>
                  <a:pt x="406" y="186"/>
                  <a:pt x="406" y="186"/>
                </a:cubicBezTo>
                <a:cubicBezTo>
                  <a:pt x="405" y="185"/>
                  <a:pt x="405" y="185"/>
                  <a:pt x="405" y="185"/>
                </a:cubicBezTo>
                <a:cubicBezTo>
                  <a:pt x="403" y="185"/>
                  <a:pt x="403" y="185"/>
                  <a:pt x="403" y="185"/>
                </a:cubicBezTo>
                <a:cubicBezTo>
                  <a:pt x="403" y="185"/>
                  <a:pt x="403" y="185"/>
                  <a:pt x="403" y="185"/>
                </a:cubicBezTo>
                <a:cubicBezTo>
                  <a:pt x="402" y="184"/>
                  <a:pt x="402" y="184"/>
                  <a:pt x="402" y="184"/>
                </a:cubicBezTo>
                <a:cubicBezTo>
                  <a:pt x="400" y="185"/>
                  <a:pt x="400" y="185"/>
                  <a:pt x="400" y="185"/>
                </a:cubicBezTo>
                <a:cubicBezTo>
                  <a:pt x="399" y="185"/>
                  <a:pt x="399" y="185"/>
                  <a:pt x="399" y="185"/>
                </a:cubicBezTo>
                <a:cubicBezTo>
                  <a:pt x="398" y="186"/>
                  <a:pt x="398" y="186"/>
                  <a:pt x="398" y="186"/>
                </a:cubicBezTo>
                <a:cubicBezTo>
                  <a:pt x="397" y="186"/>
                  <a:pt x="397" y="186"/>
                  <a:pt x="397" y="186"/>
                </a:cubicBezTo>
                <a:close/>
                <a:moveTo>
                  <a:pt x="390" y="188"/>
                </a:moveTo>
                <a:cubicBezTo>
                  <a:pt x="390" y="187"/>
                  <a:pt x="390" y="187"/>
                  <a:pt x="390" y="187"/>
                </a:cubicBezTo>
                <a:cubicBezTo>
                  <a:pt x="390" y="186"/>
                  <a:pt x="390" y="186"/>
                  <a:pt x="390" y="186"/>
                </a:cubicBezTo>
                <a:cubicBezTo>
                  <a:pt x="391" y="186"/>
                  <a:pt x="391" y="186"/>
                  <a:pt x="391" y="186"/>
                </a:cubicBezTo>
                <a:cubicBezTo>
                  <a:pt x="391" y="187"/>
                  <a:pt x="391" y="187"/>
                  <a:pt x="391" y="187"/>
                </a:cubicBezTo>
                <a:cubicBezTo>
                  <a:pt x="390" y="188"/>
                  <a:pt x="390" y="188"/>
                  <a:pt x="390" y="188"/>
                </a:cubicBezTo>
                <a:close/>
                <a:moveTo>
                  <a:pt x="392" y="189"/>
                </a:moveTo>
                <a:cubicBezTo>
                  <a:pt x="391" y="188"/>
                  <a:pt x="391" y="188"/>
                  <a:pt x="391" y="188"/>
                </a:cubicBezTo>
                <a:cubicBezTo>
                  <a:pt x="392" y="188"/>
                  <a:pt x="392" y="188"/>
                  <a:pt x="392" y="188"/>
                </a:cubicBezTo>
                <a:cubicBezTo>
                  <a:pt x="392" y="188"/>
                  <a:pt x="392" y="188"/>
                  <a:pt x="392" y="188"/>
                </a:cubicBezTo>
                <a:cubicBezTo>
                  <a:pt x="392" y="189"/>
                  <a:pt x="392" y="189"/>
                  <a:pt x="392" y="189"/>
                </a:cubicBezTo>
                <a:cubicBezTo>
                  <a:pt x="392" y="189"/>
                  <a:pt x="392" y="189"/>
                  <a:pt x="392" y="189"/>
                </a:cubicBezTo>
                <a:close/>
                <a:moveTo>
                  <a:pt x="395" y="189"/>
                </a:moveTo>
                <a:cubicBezTo>
                  <a:pt x="394" y="189"/>
                  <a:pt x="394" y="189"/>
                  <a:pt x="394" y="189"/>
                </a:cubicBezTo>
                <a:cubicBezTo>
                  <a:pt x="394" y="188"/>
                  <a:pt x="394" y="188"/>
                  <a:pt x="394" y="188"/>
                </a:cubicBezTo>
                <a:cubicBezTo>
                  <a:pt x="395" y="188"/>
                  <a:pt x="395" y="188"/>
                  <a:pt x="395" y="188"/>
                </a:cubicBezTo>
                <a:cubicBezTo>
                  <a:pt x="395" y="189"/>
                  <a:pt x="395" y="189"/>
                  <a:pt x="395" y="189"/>
                </a:cubicBezTo>
                <a:cubicBezTo>
                  <a:pt x="395" y="189"/>
                  <a:pt x="395" y="189"/>
                  <a:pt x="395" y="189"/>
                </a:cubicBezTo>
                <a:close/>
                <a:moveTo>
                  <a:pt x="317" y="216"/>
                </a:moveTo>
                <a:cubicBezTo>
                  <a:pt x="317" y="215"/>
                  <a:pt x="317" y="215"/>
                  <a:pt x="317" y="215"/>
                </a:cubicBezTo>
                <a:cubicBezTo>
                  <a:pt x="317" y="214"/>
                  <a:pt x="317" y="214"/>
                  <a:pt x="317" y="214"/>
                </a:cubicBezTo>
                <a:cubicBezTo>
                  <a:pt x="318" y="214"/>
                  <a:pt x="318" y="214"/>
                  <a:pt x="318" y="214"/>
                </a:cubicBezTo>
                <a:cubicBezTo>
                  <a:pt x="319" y="215"/>
                  <a:pt x="319" y="215"/>
                  <a:pt x="319" y="215"/>
                </a:cubicBezTo>
                <a:cubicBezTo>
                  <a:pt x="318" y="215"/>
                  <a:pt x="318" y="215"/>
                  <a:pt x="318" y="215"/>
                </a:cubicBezTo>
                <a:cubicBezTo>
                  <a:pt x="318" y="215"/>
                  <a:pt x="318" y="215"/>
                  <a:pt x="318" y="215"/>
                </a:cubicBezTo>
                <a:cubicBezTo>
                  <a:pt x="317" y="216"/>
                  <a:pt x="317" y="216"/>
                  <a:pt x="317" y="216"/>
                </a:cubicBezTo>
                <a:close/>
                <a:moveTo>
                  <a:pt x="321" y="222"/>
                </a:moveTo>
                <a:cubicBezTo>
                  <a:pt x="321" y="223"/>
                  <a:pt x="321" y="223"/>
                  <a:pt x="321" y="223"/>
                </a:cubicBezTo>
                <a:cubicBezTo>
                  <a:pt x="322" y="223"/>
                  <a:pt x="322" y="223"/>
                  <a:pt x="322" y="223"/>
                </a:cubicBezTo>
                <a:cubicBezTo>
                  <a:pt x="322" y="223"/>
                  <a:pt x="322" y="223"/>
                  <a:pt x="322" y="223"/>
                </a:cubicBezTo>
                <a:cubicBezTo>
                  <a:pt x="322" y="222"/>
                  <a:pt x="322" y="222"/>
                  <a:pt x="322" y="222"/>
                </a:cubicBezTo>
                <a:cubicBezTo>
                  <a:pt x="322" y="221"/>
                  <a:pt x="322" y="221"/>
                  <a:pt x="322" y="221"/>
                </a:cubicBezTo>
                <a:cubicBezTo>
                  <a:pt x="321" y="222"/>
                  <a:pt x="321" y="222"/>
                  <a:pt x="321" y="222"/>
                </a:cubicBezTo>
                <a:close/>
                <a:moveTo>
                  <a:pt x="320" y="222"/>
                </a:moveTo>
                <a:cubicBezTo>
                  <a:pt x="319" y="223"/>
                  <a:pt x="319" y="223"/>
                  <a:pt x="319" y="223"/>
                </a:cubicBezTo>
                <a:cubicBezTo>
                  <a:pt x="320" y="223"/>
                  <a:pt x="320" y="223"/>
                  <a:pt x="320" y="223"/>
                </a:cubicBezTo>
                <a:cubicBezTo>
                  <a:pt x="320" y="224"/>
                  <a:pt x="320" y="224"/>
                  <a:pt x="320" y="224"/>
                </a:cubicBezTo>
                <a:cubicBezTo>
                  <a:pt x="320" y="224"/>
                  <a:pt x="320" y="224"/>
                  <a:pt x="320" y="224"/>
                </a:cubicBezTo>
                <a:cubicBezTo>
                  <a:pt x="321" y="224"/>
                  <a:pt x="321" y="224"/>
                  <a:pt x="321" y="224"/>
                </a:cubicBezTo>
                <a:cubicBezTo>
                  <a:pt x="320" y="222"/>
                  <a:pt x="320" y="222"/>
                  <a:pt x="320" y="222"/>
                </a:cubicBezTo>
                <a:cubicBezTo>
                  <a:pt x="320" y="222"/>
                  <a:pt x="320" y="222"/>
                  <a:pt x="320" y="222"/>
                </a:cubicBezTo>
                <a:cubicBezTo>
                  <a:pt x="320" y="222"/>
                  <a:pt x="320" y="222"/>
                  <a:pt x="320" y="222"/>
                </a:cubicBezTo>
                <a:close/>
                <a:moveTo>
                  <a:pt x="344" y="218"/>
                </a:moveTo>
                <a:cubicBezTo>
                  <a:pt x="344" y="217"/>
                  <a:pt x="344" y="217"/>
                  <a:pt x="344" y="217"/>
                </a:cubicBezTo>
                <a:cubicBezTo>
                  <a:pt x="343" y="217"/>
                  <a:pt x="343" y="217"/>
                  <a:pt x="343" y="217"/>
                </a:cubicBezTo>
                <a:cubicBezTo>
                  <a:pt x="342" y="216"/>
                  <a:pt x="342" y="216"/>
                  <a:pt x="342" y="216"/>
                </a:cubicBezTo>
                <a:cubicBezTo>
                  <a:pt x="342" y="217"/>
                  <a:pt x="342" y="217"/>
                  <a:pt x="342" y="217"/>
                </a:cubicBezTo>
                <a:cubicBezTo>
                  <a:pt x="341" y="217"/>
                  <a:pt x="341" y="217"/>
                  <a:pt x="341" y="217"/>
                </a:cubicBezTo>
                <a:cubicBezTo>
                  <a:pt x="341" y="216"/>
                  <a:pt x="341" y="216"/>
                  <a:pt x="341" y="216"/>
                </a:cubicBezTo>
                <a:cubicBezTo>
                  <a:pt x="340" y="215"/>
                  <a:pt x="340" y="215"/>
                  <a:pt x="340" y="215"/>
                </a:cubicBezTo>
                <a:cubicBezTo>
                  <a:pt x="342" y="215"/>
                  <a:pt x="342" y="215"/>
                  <a:pt x="342" y="215"/>
                </a:cubicBezTo>
                <a:cubicBezTo>
                  <a:pt x="342" y="214"/>
                  <a:pt x="342" y="214"/>
                  <a:pt x="342" y="214"/>
                </a:cubicBezTo>
                <a:cubicBezTo>
                  <a:pt x="343" y="215"/>
                  <a:pt x="343" y="215"/>
                  <a:pt x="343" y="215"/>
                </a:cubicBezTo>
                <a:cubicBezTo>
                  <a:pt x="344" y="215"/>
                  <a:pt x="344" y="215"/>
                  <a:pt x="344" y="215"/>
                </a:cubicBezTo>
                <a:cubicBezTo>
                  <a:pt x="345" y="216"/>
                  <a:pt x="345" y="216"/>
                  <a:pt x="345" y="216"/>
                </a:cubicBezTo>
                <a:cubicBezTo>
                  <a:pt x="345" y="217"/>
                  <a:pt x="345" y="217"/>
                  <a:pt x="345" y="217"/>
                </a:cubicBezTo>
                <a:cubicBezTo>
                  <a:pt x="345" y="217"/>
                  <a:pt x="345" y="217"/>
                  <a:pt x="345" y="217"/>
                </a:cubicBezTo>
                <a:cubicBezTo>
                  <a:pt x="345" y="217"/>
                  <a:pt x="344" y="218"/>
                  <a:pt x="344" y="218"/>
                </a:cubicBezTo>
                <a:close/>
                <a:moveTo>
                  <a:pt x="358" y="223"/>
                </a:moveTo>
                <a:cubicBezTo>
                  <a:pt x="357" y="223"/>
                  <a:pt x="357" y="223"/>
                  <a:pt x="357" y="223"/>
                </a:cubicBezTo>
                <a:cubicBezTo>
                  <a:pt x="356" y="222"/>
                  <a:pt x="356" y="222"/>
                  <a:pt x="356" y="222"/>
                </a:cubicBezTo>
                <a:cubicBezTo>
                  <a:pt x="357" y="222"/>
                  <a:pt x="357" y="222"/>
                  <a:pt x="357" y="222"/>
                </a:cubicBezTo>
                <a:cubicBezTo>
                  <a:pt x="358" y="222"/>
                  <a:pt x="358" y="222"/>
                  <a:pt x="358" y="222"/>
                </a:cubicBezTo>
                <a:cubicBezTo>
                  <a:pt x="358" y="223"/>
                  <a:pt x="358" y="223"/>
                  <a:pt x="358" y="223"/>
                </a:cubicBezTo>
                <a:cubicBezTo>
                  <a:pt x="358" y="223"/>
                  <a:pt x="358" y="223"/>
                  <a:pt x="358" y="223"/>
                </a:cubicBezTo>
                <a:close/>
                <a:moveTo>
                  <a:pt x="359" y="223"/>
                </a:moveTo>
                <a:cubicBezTo>
                  <a:pt x="360" y="224"/>
                  <a:pt x="360" y="224"/>
                  <a:pt x="360" y="224"/>
                </a:cubicBezTo>
                <a:cubicBezTo>
                  <a:pt x="360" y="223"/>
                  <a:pt x="360" y="223"/>
                  <a:pt x="360" y="223"/>
                </a:cubicBezTo>
                <a:cubicBezTo>
                  <a:pt x="359" y="223"/>
                  <a:pt x="359" y="223"/>
                  <a:pt x="359" y="223"/>
                </a:cubicBezTo>
                <a:close/>
                <a:moveTo>
                  <a:pt x="361" y="224"/>
                </a:moveTo>
                <a:cubicBezTo>
                  <a:pt x="362" y="224"/>
                  <a:pt x="362" y="224"/>
                  <a:pt x="362" y="224"/>
                </a:cubicBezTo>
                <a:cubicBezTo>
                  <a:pt x="362" y="225"/>
                  <a:pt x="362" y="225"/>
                  <a:pt x="362" y="225"/>
                </a:cubicBezTo>
                <a:cubicBezTo>
                  <a:pt x="363" y="224"/>
                  <a:pt x="363" y="224"/>
                  <a:pt x="363" y="224"/>
                </a:cubicBezTo>
                <a:cubicBezTo>
                  <a:pt x="363" y="224"/>
                  <a:pt x="363" y="224"/>
                  <a:pt x="363" y="224"/>
                </a:cubicBezTo>
                <a:cubicBezTo>
                  <a:pt x="362" y="223"/>
                  <a:pt x="362" y="223"/>
                  <a:pt x="362" y="223"/>
                </a:cubicBezTo>
                <a:cubicBezTo>
                  <a:pt x="362" y="223"/>
                  <a:pt x="362" y="223"/>
                  <a:pt x="362" y="223"/>
                </a:cubicBezTo>
                <a:cubicBezTo>
                  <a:pt x="361" y="223"/>
                  <a:pt x="361" y="223"/>
                  <a:pt x="361" y="223"/>
                </a:cubicBezTo>
                <a:cubicBezTo>
                  <a:pt x="361" y="224"/>
                  <a:pt x="361" y="224"/>
                  <a:pt x="361" y="224"/>
                </a:cubicBezTo>
                <a:cubicBezTo>
                  <a:pt x="361" y="224"/>
                  <a:pt x="361" y="224"/>
                  <a:pt x="361" y="224"/>
                </a:cubicBezTo>
                <a:close/>
                <a:moveTo>
                  <a:pt x="376" y="244"/>
                </a:moveTo>
                <a:cubicBezTo>
                  <a:pt x="376" y="243"/>
                  <a:pt x="376" y="243"/>
                  <a:pt x="376" y="243"/>
                </a:cubicBezTo>
                <a:cubicBezTo>
                  <a:pt x="376" y="242"/>
                  <a:pt x="376" y="242"/>
                  <a:pt x="376" y="242"/>
                </a:cubicBezTo>
                <a:cubicBezTo>
                  <a:pt x="376" y="241"/>
                  <a:pt x="376" y="241"/>
                  <a:pt x="376" y="241"/>
                </a:cubicBezTo>
                <a:cubicBezTo>
                  <a:pt x="376" y="241"/>
                  <a:pt x="376" y="241"/>
                  <a:pt x="376" y="241"/>
                </a:cubicBezTo>
                <a:cubicBezTo>
                  <a:pt x="377" y="242"/>
                  <a:pt x="377" y="242"/>
                  <a:pt x="377" y="242"/>
                </a:cubicBezTo>
                <a:cubicBezTo>
                  <a:pt x="377" y="243"/>
                  <a:pt x="377" y="243"/>
                  <a:pt x="377" y="243"/>
                </a:cubicBezTo>
                <a:cubicBezTo>
                  <a:pt x="377" y="243"/>
                  <a:pt x="377" y="243"/>
                  <a:pt x="377" y="243"/>
                </a:cubicBezTo>
                <a:cubicBezTo>
                  <a:pt x="376" y="244"/>
                  <a:pt x="376" y="244"/>
                  <a:pt x="376" y="244"/>
                </a:cubicBezTo>
                <a:close/>
                <a:moveTo>
                  <a:pt x="374" y="247"/>
                </a:moveTo>
                <a:cubicBezTo>
                  <a:pt x="374" y="246"/>
                  <a:pt x="374" y="246"/>
                  <a:pt x="374" y="246"/>
                </a:cubicBezTo>
                <a:cubicBezTo>
                  <a:pt x="374" y="245"/>
                  <a:pt x="374" y="245"/>
                  <a:pt x="374" y="245"/>
                </a:cubicBezTo>
                <a:cubicBezTo>
                  <a:pt x="375" y="245"/>
                  <a:pt x="375" y="245"/>
                  <a:pt x="375" y="245"/>
                </a:cubicBezTo>
                <a:cubicBezTo>
                  <a:pt x="376" y="245"/>
                  <a:pt x="376" y="245"/>
                  <a:pt x="376" y="245"/>
                </a:cubicBezTo>
                <a:cubicBezTo>
                  <a:pt x="376" y="246"/>
                  <a:pt x="376" y="246"/>
                  <a:pt x="376" y="246"/>
                </a:cubicBezTo>
                <a:cubicBezTo>
                  <a:pt x="375" y="246"/>
                  <a:pt x="375" y="246"/>
                  <a:pt x="375" y="246"/>
                </a:cubicBezTo>
                <a:cubicBezTo>
                  <a:pt x="375" y="247"/>
                  <a:pt x="375" y="247"/>
                  <a:pt x="375" y="247"/>
                </a:cubicBezTo>
                <a:cubicBezTo>
                  <a:pt x="374" y="247"/>
                  <a:pt x="374" y="247"/>
                  <a:pt x="374" y="247"/>
                </a:cubicBezTo>
                <a:close/>
                <a:moveTo>
                  <a:pt x="366" y="228"/>
                </a:moveTo>
                <a:cubicBezTo>
                  <a:pt x="365" y="228"/>
                  <a:pt x="365" y="228"/>
                  <a:pt x="365" y="228"/>
                </a:cubicBezTo>
                <a:cubicBezTo>
                  <a:pt x="366" y="228"/>
                  <a:pt x="366" y="228"/>
                  <a:pt x="366" y="228"/>
                </a:cubicBezTo>
                <a:cubicBezTo>
                  <a:pt x="366" y="228"/>
                  <a:pt x="366" y="228"/>
                  <a:pt x="366" y="228"/>
                </a:cubicBezTo>
                <a:close/>
                <a:moveTo>
                  <a:pt x="364" y="229"/>
                </a:moveTo>
                <a:cubicBezTo>
                  <a:pt x="363" y="227"/>
                  <a:pt x="363" y="227"/>
                  <a:pt x="363" y="227"/>
                </a:cubicBezTo>
                <a:cubicBezTo>
                  <a:pt x="364" y="228"/>
                  <a:pt x="364" y="228"/>
                  <a:pt x="364" y="228"/>
                </a:cubicBezTo>
                <a:cubicBezTo>
                  <a:pt x="364" y="228"/>
                  <a:pt x="364" y="228"/>
                  <a:pt x="364" y="228"/>
                </a:cubicBezTo>
                <a:cubicBezTo>
                  <a:pt x="364" y="229"/>
                  <a:pt x="364" y="229"/>
                  <a:pt x="364" y="229"/>
                </a:cubicBezTo>
                <a:close/>
                <a:moveTo>
                  <a:pt x="364" y="229"/>
                </a:moveTo>
                <a:cubicBezTo>
                  <a:pt x="365" y="230"/>
                  <a:pt x="365" y="230"/>
                  <a:pt x="365" y="230"/>
                </a:cubicBezTo>
                <a:cubicBezTo>
                  <a:pt x="365" y="230"/>
                  <a:pt x="365" y="230"/>
                  <a:pt x="365" y="230"/>
                </a:cubicBezTo>
                <a:cubicBezTo>
                  <a:pt x="366" y="230"/>
                  <a:pt x="366" y="230"/>
                  <a:pt x="366" y="230"/>
                </a:cubicBezTo>
                <a:cubicBezTo>
                  <a:pt x="366" y="230"/>
                  <a:pt x="366" y="230"/>
                  <a:pt x="366" y="230"/>
                </a:cubicBezTo>
                <a:cubicBezTo>
                  <a:pt x="366" y="229"/>
                  <a:pt x="366" y="229"/>
                  <a:pt x="366" y="229"/>
                </a:cubicBezTo>
                <a:cubicBezTo>
                  <a:pt x="365" y="229"/>
                  <a:pt x="365" y="229"/>
                  <a:pt x="365" y="229"/>
                </a:cubicBezTo>
                <a:cubicBezTo>
                  <a:pt x="364" y="229"/>
                  <a:pt x="364" y="229"/>
                  <a:pt x="364" y="229"/>
                </a:cubicBezTo>
                <a:close/>
                <a:moveTo>
                  <a:pt x="372" y="226"/>
                </a:moveTo>
                <a:cubicBezTo>
                  <a:pt x="373" y="226"/>
                  <a:pt x="373" y="226"/>
                  <a:pt x="373" y="226"/>
                </a:cubicBezTo>
                <a:cubicBezTo>
                  <a:pt x="374" y="227"/>
                  <a:pt x="374" y="227"/>
                  <a:pt x="374" y="227"/>
                </a:cubicBezTo>
                <a:cubicBezTo>
                  <a:pt x="374" y="227"/>
                  <a:pt x="374" y="227"/>
                  <a:pt x="374" y="227"/>
                </a:cubicBezTo>
                <a:cubicBezTo>
                  <a:pt x="374" y="228"/>
                  <a:pt x="374" y="228"/>
                  <a:pt x="374" y="228"/>
                </a:cubicBezTo>
                <a:cubicBezTo>
                  <a:pt x="374" y="229"/>
                  <a:pt x="374" y="229"/>
                  <a:pt x="374" y="229"/>
                </a:cubicBezTo>
                <a:cubicBezTo>
                  <a:pt x="375" y="228"/>
                  <a:pt x="375" y="228"/>
                  <a:pt x="375" y="228"/>
                </a:cubicBezTo>
                <a:cubicBezTo>
                  <a:pt x="375" y="227"/>
                  <a:pt x="375" y="227"/>
                  <a:pt x="375" y="227"/>
                </a:cubicBezTo>
                <a:cubicBezTo>
                  <a:pt x="376" y="228"/>
                  <a:pt x="376" y="228"/>
                  <a:pt x="376" y="228"/>
                </a:cubicBezTo>
                <a:cubicBezTo>
                  <a:pt x="377" y="227"/>
                  <a:pt x="377" y="227"/>
                  <a:pt x="377" y="227"/>
                </a:cubicBezTo>
                <a:cubicBezTo>
                  <a:pt x="377" y="228"/>
                  <a:pt x="377" y="228"/>
                  <a:pt x="377" y="228"/>
                </a:cubicBezTo>
                <a:cubicBezTo>
                  <a:pt x="378" y="227"/>
                  <a:pt x="378" y="227"/>
                  <a:pt x="378" y="227"/>
                </a:cubicBezTo>
                <a:cubicBezTo>
                  <a:pt x="377" y="226"/>
                  <a:pt x="377" y="226"/>
                  <a:pt x="377" y="226"/>
                </a:cubicBezTo>
                <a:cubicBezTo>
                  <a:pt x="376" y="226"/>
                  <a:pt x="376" y="226"/>
                  <a:pt x="376" y="226"/>
                </a:cubicBezTo>
                <a:cubicBezTo>
                  <a:pt x="375" y="225"/>
                  <a:pt x="375" y="225"/>
                  <a:pt x="375" y="225"/>
                </a:cubicBezTo>
                <a:cubicBezTo>
                  <a:pt x="373" y="225"/>
                  <a:pt x="373" y="225"/>
                  <a:pt x="373" y="225"/>
                </a:cubicBezTo>
                <a:cubicBezTo>
                  <a:pt x="373" y="225"/>
                  <a:pt x="373" y="225"/>
                  <a:pt x="373" y="225"/>
                </a:cubicBezTo>
                <a:cubicBezTo>
                  <a:pt x="373" y="225"/>
                  <a:pt x="372" y="226"/>
                  <a:pt x="372" y="226"/>
                </a:cubicBezTo>
                <a:close/>
                <a:moveTo>
                  <a:pt x="387" y="225"/>
                </a:moveTo>
                <a:cubicBezTo>
                  <a:pt x="387" y="224"/>
                  <a:pt x="387" y="224"/>
                  <a:pt x="387" y="224"/>
                </a:cubicBezTo>
                <a:cubicBezTo>
                  <a:pt x="387" y="224"/>
                  <a:pt x="387" y="224"/>
                  <a:pt x="387" y="224"/>
                </a:cubicBezTo>
                <a:cubicBezTo>
                  <a:pt x="387" y="225"/>
                  <a:pt x="387" y="225"/>
                  <a:pt x="387" y="225"/>
                </a:cubicBezTo>
                <a:cubicBezTo>
                  <a:pt x="387" y="225"/>
                  <a:pt x="387" y="225"/>
                  <a:pt x="387" y="225"/>
                </a:cubicBezTo>
                <a:close/>
                <a:moveTo>
                  <a:pt x="382" y="231"/>
                </a:moveTo>
                <a:cubicBezTo>
                  <a:pt x="382" y="230"/>
                  <a:pt x="382" y="230"/>
                  <a:pt x="382" y="230"/>
                </a:cubicBezTo>
                <a:cubicBezTo>
                  <a:pt x="383" y="229"/>
                  <a:pt x="383" y="229"/>
                  <a:pt x="383" y="229"/>
                </a:cubicBezTo>
                <a:cubicBezTo>
                  <a:pt x="384" y="229"/>
                  <a:pt x="384" y="229"/>
                  <a:pt x="384" y="229"/>
                </a:cubicBezTo>
                <a:cubicBezTo>
                  <a:pt x="384" y="228"/>
                  <a:pt x="384" y="228"/>
                  <a:pt x="384" y="228"/>
                </a:cubicBezTo>
                <a:cubicBezTo>
                  <a:pt x="385" y="228"/>
                  <a:pt x="385" y="228"/>
                  <a:pt x="385" y="228"/>
                </a:cubicBezTo>
                <a:cubicBezTo>
                  <a:pt x="385" y="229"/>
                  <a:pt x="385" y="229"/>
                  <a:pt x="385" y="229"/>
                </a:cubicBezTo>
                <a:cubicBezTo>
                  <a:pt x="385" y="229"/>
                  <a:pt x="385" y="229"/>
                  <a:pt x="385" y="229"/>
                </a:cubicBezTo>
                <a:cubicBezTo>
                  <a:pt x="384" y="230"/>
                  <a:pt x="384" y="230"/>
                  <a:pt x="384" y="230"/>
                </a:cubicBezTo>
                <a:cubicBezTo>
                  <a:pt x="383" y="231"/>
                  <a:pt x="383" y="231"/>
                  <a:pt x="383" y="231"/>
                </a:cubicBezTo>
                <a:cubicBezTo>
                  <a:pt x="382" y="231"/>
                  <a:pt x="382" y="231"/>
                  <a:pt x="382" y="231"/>
                </a:cubicBezTo>
                <a:cubicBezTo>
                  <a:pt x="382" y="231"/>
                  <a:pt x="382" y="231"/>
                  <a:pt x="382" y="231"/>
                </a:cubicBezTo>
                <a:close/>
                <a:moveTo>
                  <a:pt x="377" y="239"/>
                </a:moveTo>
                <a:cubicBezTo>
                  <a:pt x="379" y="237"/>
                  <a:pt x="379" y="237"/>
                  <a:pt x="379" y="237"/>
                </a:cubicBezTo>
                <a:cubicBezTo>
                  <a:pt x="380" y="236"/>
                  <a:pt x="380" y="236"/>
                  <a:pt x="380" y="236"/>
                </a:cubicBezTo>
                <a:cubicBezTo>
                  <a:pt x="380" y="236"/>
                  <a:pt x="380" y="236"/>
                  <a:pt x="380" y="236"/>
                </a:cubicBezTo>
                <a:cubicBezTo>
                  <a:pt x="382" y="235"/>
                  <a:pt x="382" y="235"/>
                  <a:pt x="382" y="235"/>
                </a:cubicBezTo>
                <a:cubicBezTo>
                  <a:pt x="383" y="234"/>
                  <a:pt x="383" y="234"/>
                  <a:pt x="383" y="234"/>
                </a:cubicBezTo>
                <a:cubicBezTo>
                  <a:pt x="382" y="233"/>
                  <a:pt x="382" y="233"/>
                  <a:pt x="382" y="233"/>
                </a:cubicBezTo>
                <a:cubicBezTo>
                  <a:pt x="382" y="232"/>
                  <a:pt x="382" y="232"/>
                  <a:pt x="382" y="232"/>
                </a:cubicBezTo>
                <a:cubicBezTo>
                  <a:pt x="381" y="233"/>
                  <a:pt x="381" y="233"/>
                  <a:pt x="381" y="233"/>
                </a:cubicBezTo>
                <a:cubicBezTo>
                  <a:pt x="381" y="234"/>
                  <a:pt x="381" y="234"/>
                  <a:pt x="381" y="234"/>
                </a:cubicBezTo>
                <a:cubicBezTo>
                  <a:pt x="380" y="234"/>
                  <a:pt x="380" y="234"/>
                  <a:pt x="380" y="234"/>
                </a:cubicBezTo>
                <a:cubicBezTo>
                  <a:pt x="379" y="235"/>
                  <a:pt x="379" y="235"/>
                  <a:pt x="379" y="235"/>
                </a:cubicBezTo>
                <a:cubicBezTo>
                  <a:pt x="378" y="235"/>
                  <a:pt x="378" y="235"/>
                  <a:pt x="378" y="235"/>
                </a:cubicBezTo>
                <a:cubicBezTo>
                  <a:pt x="376" y="235"/>
                  <a:pt x="376" y="235"/>
                  <a:pt x="376" y="235"/>
                </a:cubicBezTo>
                <a:cubicBezTo>
                  <a:pt x="376" y="236"/>
                  <a:pt x="376" y="236"/>
                  <a:pt x="376" y="236"/>
                </a:cubicBezTo>
                <a:cubicBezTo>
                  <a:pt x="375" y="237"/>
                  <a:pt x="375" y="237"/>
                  <a:pt x="375" y="237"/>
                </a:cubicBezTo>
                <a:cubicBezTo>
                  <a:pt x="374" y="237"/>
                  <a:pt x="374" y="237"/>
                  <a:pt x="374" y="237"/>
                </a:cubicBezTo>
                <a:cubicBezTo>
                  <a:pt x="375" y="239"/>
                  <a:pt x="375" y="239"/>
                  <a:pt x="375" y="239"/>
                </a:cubicBezTo>
                <a:cubicBezTo>
                  <a:pt x="375" y="238"/>
                  <a:pt x="375" y="238"/>
                  <a:pt x="375" y="238"/>
                </a:cubicBezTo>
                <a:cubicBezTo>
                  <a:pt x="376" y="239"/>
                  <a:pt x="376" y="239"/>
                  <a:pt x="376" y="239"/>
                </a:cubicBezTo>
                <a:cubicBezTo>
                  <a:pt x="377" y="239"/>
                  <a:pt x="377" y="239"/>
                  <a:pt x="377" y="239"/>
                </a:cubicBezTo>
                <a:close/>
                <a:moveTo>
                  <a:pt x="387" y="237"/>
                </a:moveTo>
                <a:cubicBezTo>
                  <a:pt x="387" y="236"/>
                  <a:pt x="387" y="236"/>
                  <a:pt x="387" y="236"/>
                </a:cubicBezTo>
                <a:cubicBezTo>
                  <a:pt x="387" y="235"/>
                  <a:pt x="387" y="235"/>
                  <a:pt x="387" y="235"/>
                </a:cubicBezTo>
                <a:cubicBezTo>
                  <a:pt x="388" y="234"/>
                  <a:pt x="388" y="234"/>
                  <a:pt x="388" y="234"/>
                </a:cubicBezTo>
                <a:cubicBezTo>
                  <a:pt x="389" y="234"/>
                  <a:pt x="389" y="234"/>
                  <a:pt x="389" y="234"/>
                </a:cubicBezTo>
                <a:cubicBezTo>
                  <a:pt x="390" y="234"/>
                  <a:pt x="390" y="234"/>
                  <a:pt x="390" y="234"/>
                </a:cubicBezTo>
                <a:cubicBezTo>
                  <a:pt x="390" y="235"/>
                  <a:pt x="390" y="235"/>
                  <a:pt x="390" y="235"/>
                </a:cubicBezTo>
                <a:cubicBezTo>
                  <a:pt x="390" y="236"/>
                  <a:pt x="390" y="236"/>
                  <a:pt x="390" y="236"/>
                </a:cubicBezTo>
                <a:cubicBezTo>
                  <a:pt x="389" y="237"/>
                  <a:pt x="389" y="237"/>
                  <a:pt x="389" y="237"/>
                </a:cubicBezTo>
                <a:cubicBezTo>
                  <a:pt x="388" y="238"/>
                  <a:pt x="388" y="238"/>
                  <a:pt x="388" y="238"/>
                </a:cubicBezTo>
                <a:cubicBezTo>
                  <a:pt x="387" y="237"/>
                  <a:pt x="387" y="237"/>
                  <a:pt x="387" y="237"/>
                </a:cubicBezTo>
                <a:close/>
                <a:moveTo>
                  <a:pt x="395" y="248"/>
                </a:moveTo>
                <a:cubicBezTo>
                  <a:pt x="395" y="246"/>
                  <a:pt x="395" y="246"/>
                  <a:pt x="395" y="246"/>
                </a:cubicBezTo>
                <a:cubicBezTo>
                  <a:pt x="395" y="244"/>
                  <a:pt x="395" y="244"/>
                  <a:pt x="395" y="244"/>
                </a:cubicBezTo>
                <a:cubicBezTo>
                  <a:pt x="395" y="243"/>
                  <a:pt x="395" y="243"/>
                  <a:pt x="395" y="243"/>
                </a:cubicBezTo>
                <a:cubicBezTo>
                  <a:pt x="394" y="243"/>
                  <a:pt x="394" y="243"/>
                  <a:pt x="394" y="243"/>
                </a:cubicBezTo>
                <a:cubicBezTo>
                  <a:pt x="394" y="244"/>
                  <a:pt x="394" y="244"/>
                  <a:pt x="394" y="244"/>
                </a:cubicBezTo>
                <a:cubicBezTo>
                  <a:pt x="393" y="246"/>
                  <a:pt x="393" y="246"/>
                  <a:pt x="393" y="246"/>
                </a:cubicBezTo>
                <a:cubicBezTo>
                  <a:pt x="394" y="247"/>
                  <a:pt x="394" y="247"/>
                  <a:pt x="394" y="247"/>
                </a:cubicBezTo>
                <a:cubicBezTo>
                  <a:pt x="394" y="247"/>
                  <a:pt x="394" y="247"/>
                  <a:pt x="394" y="247"/>
                </a:cubicBezTo>
                <a:cubicBezTo>
                  <a:pt x="394" y="248"/>
                  <a:pt x="394" y="248"/>
                  <a:pt x="394" y="248"/>
                </a:cubicBezTo>
                <a:cubicBezTo>
                  <a:pt x="395" y="248"/>
                  <a:pt x="395" y="248"/>
                  <a:pt x="395" y="248"/>
                </a:cubicBezTo>
                <a:cubicBezTo>
                  <a:pt x="395" y="248"/>
                  <a:pt x="395" y="248"/>
                  <a:pt x="395" y="248"/>
                </a:cubicBezTo>
                <a:close/>
                <a:moveTo>
                  <a:pt x="396" y="247"/>
                </a:moveTo>
                <a:cubicBezTo>
                  <a:pt x="396" y="246"/>
                  <a:pt x="396" y="246"/>
                  <a:pt x="396" y="246"/>
                </a:cubicBezTo>
                <a:cubicBezTo>
                  <a:pt x="396" y="244"/>
                  <a:pt x="396" y="244"/>
                  <a:pt x="396" y="244"/>
                </a:cubicBezTo>
                <a:cubicBezTo>
                  <a:pt x="397" y="246"/>
                  <a:pt x="397" y="246"/>
                  <a:pt x="397" y="246"/>
                </a:cubicBezTo>
                <a:cubicBezTo>
                  <a:pt x="397" y="246"/>
                  <a:pt x="397" y="246"/>
                  <a:pt x="397" y="246"/>
                </a:cubicBezTo>
                <a:cubicBezTo>
                  <a:pt x="397" y="247"/>
                  <a:pt x="397" y="247"/>
                  <a:pt x="397" y="247"/>
                </a:cubicBezTo>
                <a:cubicBezTo>
                  <a:pt x="396" y="247"/>
                  <a:pt x="396" y="247"/>
                  <a:pt x="396" y="247"/>
                </a:cubicBezTo>
                <a:close/>
                <a:moveTo>
                  <a:pt x="398" y="249"/>
                </a:moveTo>
                <a:cubicBezTo>
                  <a:pt x="398" y="249"/>
                  <a:pt x="398" y="249"/>
                  <a:pt x="398" y="249"/>
                </a:cubicBezTo>
                <a:cubicBezTo>
                  <a:pt x="398" y="248"/>
                  <a:pt x="398" y="248"/>
                  <a:pt x="398" y="248"/>
                </a:cubicBezTo>
                <a:cubicBezTo>
                  <a:pt x="398" y="248"/>
                  <a:pt x="398" y="248"/>
                  <a:pt x="398" y="248"/>
                </a:cubicBezTo>
                <a:cubicBezTo>
                  <a:pt x="398" y="249"/>
                  <a:pt x="398" y="249"/>
                  <a:pt x="398" y="249"/>
                </a:cubicBezTo>
                <a:cubicBezTo>
                  <a:pt x="398" y="249"/>
                  <a:pt x="398" y="249"/>
                  <a:pt x="398" y="249"/>
                </a:cubicBezTo>
                <a:close/>
                <a:moveTo>
                  <a:pt x="394" y="252"/>
                </a:moveTo>
                <a:cubicBezTo>
                  <a:pt x="394" y="252"/>
                  <a:pt x="394" y="252"/>
                  <a:pt x="394" y="252"/>
                </a:cubicBezTo>
                <a:cubicBezTo>
                  <a:pt x="394" y="254"/>
                  <a:pt x="394" y="254"/>
                  <a:pt x="394" y="254"/>
                </a:cubicBezTo>
                <a:cubicBezTo>
                  <a:pt x="394" y="255"/>
                  <a:pt x="394" y="255"/>
                  <a:pt x="394" y="255"/>
                </a:cubicBezTo>
                <a:cubicBezTo>
                  <a:pt x="395" y="255"/>
                  <a:pt x="395" y="255"/>
                  <a:pt x="395" y="255"/>
                </a:cubicBezTo>
                <a:cubicBezTo>
                  <a:pt x="395" y="255"/>
                  <a:pt x="395" y="255"/>
                  <a:pt x="395" y="255"/>
                </a:cubicBezTo>
                <a:cubicBezTo>
                  <a:pt x="397" y="255"/>
                  <a:pt x="397" y="255"/>
                  <a:pt x="397" y="255"/>
                </a:cubicBezTo>
                <a:cubicBezTo>
                  <a:pt x="397" y="256"/>
                  <a:pt x="397" y="256"/>
                  <a:pt x="397" y="256"/>
                </a:cubicBezTo>
                <a:cubicBezTo>
                  <a:pt x="398" y="256"/>
                  <a:pt x="398" y="256"/>
                  <a:pt x="398" y="256"/>
                </a:cubicBezTo>
                <a:cubicBezTo>
                  <a:pt x="399" y="256"/>
                  <a:pt x="399" y="256"/>
                  <a:pt x="399" y="256"/>
                </a:cubicBezTo>
                <a:cubicBezTo>
                  <a:pt x="400" y="255"/>
                  <a:pt x="400" y="255"/>
                  <a:pt x="400" y="255"/>
                </a:cubicBezTo>
                <a:cubicBezTo>
                  <a:pt x="399" y="254"/>
                  <a:pt x="399" y="254"/>
                  <a:pt x="399" y="254"/>
                </a:cubicBezTo>
                <a:cubicBezTo>
                  <a:pt x="399" y="253"/>
                  <a:pt x="399" y="253"/>
                  <a:pt x="399" y="253"/>
                </a:cubicBezTo>
                <a:cubicBezTo>
                  <a:pt x="398" y="253"/>
                  <a:pt x="398" y="253"/>
                  <a:pt x="398" y="253"/>
                </a:cubicBezTo>
                <a:cubicBezTo>
                  <a:pt x="398" y="252"/>
                  <a:pt x="398" y="252"/>
                  <a:pt x="398" y="252"/>
                </a:cubicBezTo>
                <a:cubicBezTo>
                  <a:pt x="397" y="252"/>
                  <a:pt x="397" y="252"/>
                  <a:pt x="397" y="252"/>
                </a:cubicBezTo>
                <a:cubicBezTo>
                  <a:pt x="396" y="252"/>
                  <a:pt x="396" y="252"/>
                  <a:pt x="396" y="252"/>
                </a:cubicBezTo>
                <a:cubicBezTo>
                  <a:pt x="396" y="252"/>
                  <a:pt x="396" y="252"/>
                  <a:pt x="396" y="252"/>
                </a:cubicBezTo>
                <a:cubicBezTo>
                  <a:pt x="396" y="251"/>
                  <a:pt x="396" y="251"/>
                  <a:pt x="396" y="251"/>
                </a:cubicBezTo>
                <a:cubicBezTo>
                  <a:pt x="396" y="251"/>
                  <a:pt x="396" y="251"/>
                  <a:pt x="396" y="251"/>
                </a:cubicBezTo>
                <a:cubicBezTo>
                  <a:pt x="395" y="252"/>
                  <a:pt x="395" y="252"/>
                  <a:pt x="395" y="252"/>
                </a:cubicBezTo>
                <a:cubicBezTo>
                  <a:pt x="395" y="252"/>
                  <a:pt x="395" y="252"/>
                  <a:pt x="395" y="252"/>
                </a:cubicBezTo>
                <a:cubicBezTo>
                  <a:pt x="394" y="252"/>
                  <a:pt x="394" y="252"/>
                  <a:pt x="394" y="252"/>
                </a:cubicBezTo>
                <a:close/>
                <a:moveTo>
                  <a:pt x="361" y="298"/>
                </a:moveTo>
                <a:cubicBezTo>
                  <a:pt x="362" y="298"/>
                  <a:pt x="362" y="298"/>
                  <a:pt x="362" y="298"/>
                </a:cubicBezTo>
                <a:cubicBezTo>
                  <a:pt x="363" y="298"/>
                  <a:pt x="363" y="298"/>
                  <a:pt x="363" y="298"/>
                </a:cubicBezTo>
                <a:cubicBezTo>
                  <a:pt x="362" y="297"/>
                  <a:pt x="362" y="297"/>
                  <a:pt x="362" y="297"/>
                </a:cubicBezTo>
                <a:cubicBezTo>
                  <a:pt x="361" y="297"/>
                  <a:pt x="361" y="297"/>
                  <a:pt x="361" y="297"/>
                </a:cubicBezTo>
                <a:cubicBezTo>
                  <a:pt x="361" y="298"/>
                  <a:pt x="361" y="298"/>
                  <a:pt x="361" y="298"/>
                </a:cubicBezTo>
                <a:close/>
                <a:moveTo>
                  <a:pt x="343" y="267"/>
                </a:moveTo>
                <a:cubicBezTo>
                  <a:pt x="343" y="268"/>
                  <a:pt x="343" y="268"/>
                  <a:pt x="343" y="268"/>
                </a:cubicBezTo>
                <a:cubicBezTo>
                  <a:pt x="344" y="268"/>
                  <a:pt x="344" y="268"/>
                  <a:pt x="344" y="268"/>
                </a:cubicBezTo>
                <a:cubicBezTo>
                  <a:pt x="344" y="268"/>
                  <a:pt x="344" y="268"/>
                  <a:pt x="344" y="268"/>
                </a:cubicBezTo>
                <a:cubicBezTo>
                  <a:pt x="343" y="267"/>
                  <a:pt x="343" y="267"/>
                  <a:pt x="343" y="267"/>
                </a:cubicBezTo>
                <a:cubicBezTo>
                  <a:pt x="343" y="267"/>
                  <a:pt x="343" y="267"/>
                  <a:pt x="343" y="267"/>
                </a:cubicBezTo>
                <a:cubicBezTo>
                  <a:pt x="343" y="267"/>
                  <a:pt x="343" y="267"/>
                  <a:pt x="343" y="267"/>
                </a:cubicBezTo>
                <a:close/>
                <a:moveTo>
                  <a:pt x="338" y="274"/>
                </a:moveTo>
                <a:cubicBezTo>
                  <a:pt x="338" y="274"/>
                  <a:pt x="338" y="274"/>
                  <a:pt x="338" y="274"/>
                </a:cubicBezTo>
                <a:cubicBezTo>
                  <a:pt x="338" y="273"/>
                  <a:pt x="338" y="273"/>
                  <a:pt x="338" y="273"/>
                </a:cubicBezTo>
                <a:cubicBezTo>
                  <a:pt x="337" y="272"/>
                  <a:pt x="337" y="272"/>
                  <a:pt x="337" y="272"/>
                </a:cubicBezTo>
                <a:cubicBezTo>
                  <a:pt x="337" y="271"/>
                  <a:pt x="337" y="271"/>
                  <a:pt x="337" y="271"/>
                </a:cubicBezTo>
                <a:cubicBezTo>
                  <a:pt x="336" y="270"/>
                  <a:pt x="336" y="270"/>
                  <a:pt x="336" y="270"/>
                </a:cubicBezTo>
                <a:cubicBezTo>
                  <a:pt x="336" y="270"/>
                  <a:pt x="336" y="270"/>
                  <a:pt x="336" y="270"/>
                </a:cubicBezTo>
                <a:cubicBezTo>
                  <a:pt x="336" y="268"/>
                  <a:pt x="336" y="268"/>
                  <a:pt x="336" y="268"/>
                </a:cubicBezTo>
                <a:cubicBezTo>
                  <a:pt x="336" y="268"/>
                  <a:pt x="336" y="268"/>
                  <a:pt x="336" y="268"/>
                </a:cubicBezTo>
                <a:cubicBezTo>
                  <a:pt x="336" y="269"/>
                  <a:pt x="336" y="269"/>
                  <a:pt x="336" y="269"/>
                </a:cubicBezTo>
                <a:cubicBezTo>
                  <a:pt x="338" y="269"/>
                  <a:pt x="338" y="269"/>
                  <a:pt x="338" y="269"/>
                </a:cubicBezTo>
                <a:cubicBezTo>
                  <a:pt x="338" y="270"/>
                  <a:pt x="338" y="270"/>
                  <a:pt x="338" y="270"/>
                </a:cubicBezTo>
                <a:cubicBezTo>
                  <a:pt x="339" y="271"/>
                  <a:pt x="339" y="271"/>
                  <a:pt x="339" y="271"/>
                </a:cubicBezTo>
                <a:cubicBezTo>
                  <a:pt x="339" y="273"/>
                  <a:pt x="339" y="273"/>
                  <a:pt x="339" y="273"/>
                </a:cubicBezTo>
                <a:cubicBezTo>
                  <a:pt x="340" y="273"/>
                  <a:pt x="340" y="273"/>
                  <a:pt x="340" y="273"/>
                </a:cubicBezTo>
                <a:cubicBezTo>
                  <a:pt x="341" y="273"/>
                  <a:pt x="341" y="273"/>
                  <a:pt x="341" y="273"/>
                </a:cubicBezTo>
                <a:cubicBezTo>
                  <a:pt x="341" y="274"/>
                  <a:pt x="341" y="274"/>
                  <a:pt x="341" y="274"/>
                </a:cubicBezTo>
                <a:cubicBezTo>
                  <a:pt x="339" y="274"/>
                  <a:pt x="339" y="274"/>
                  <a:pt x="339" y="274"/>
                </a:cubicBezTo>
                <a:cubicBezTo>
                  <a:pt x="338" y="274"/>
                  <a:pt x="338" y="274"/>
                  <a:pt x="338" y="274"/>
                </a:cubicBezTo>
                <a:close/>
                <a:moveTo>
                  <a:pt x="331" y="274"/>
                </a:moveTo>
                <a:cubicBezTo>
                  <a:pt x="331" y="273"/>
                  <a:pt x="331" y="273"/>
                  <a:pt x="331" y="273"/>
                </a:cubicBezTo>
                <a:cubicBezTo>
                  <a:pt x="331" y="272"/>
                  <a:pt x="331" y="272"/>
                  <a:pt x="331" y="272"/>
                </a:cubicBezTo>
                <a:cubicBezTo>
                  <a:pt x="331" y="271"/>
                  <a:pt x="331" y="271"/>
                  <a:pt x="331" y="271"/>
                </a:cubicBezTo>
                <a:cubicBezTo>
                  <a:pt x="331" y="270"/>
                  <a:pt x="331" y="270"/>
                  <a:pt x="331" y="270"/>
                </a:cubicBezTo>
                <a:cubicBezTo>
                  <a:pt x="332" y="269"/>
                  <a:pt x="332" y="269"/>
                  <a:pt x="332" y="269"/>
                </a:cubicBezTo>
                <a:cubicBezTo>
                  <a:pt x="332" y="269"/>
                  <a:pt x="332" y="269"/>
                  <a:pt x="332" y="269"/>
                </a:cubicBezTo>
                <a:cubicBezTo>
                  <a:pt x="333" y="270"/>
                  <a:pt x="333" y="270"/>
                  <a:pt x="333" y="270"/>
                </a:cubicBezTo>
                <a:cubicBezTo>
                  <a:pt x="332" y="270"/>
                  <a:pt x="332" y="270"/>
                  <a:pt x="332" y="270"/>
                </a:cubicBezTo>
                <a:cubicBezTo>
                  <a:pt x="332" y="271"/>
                  <a:pt x="332" y="271"/>
                  <a:pt x="332" y="271"/>
                </a:cubicBezTo>
                <a:cubicBezTo>
                  <a:pt x="333" y="272"/>
                  <a:pt x="333" y="272"/>
                  <a:pt x="333" y="272"/>
                </a:cubicBezTo>
                <a:cubicBezTo>
                  <a:pt x="332" y="274"/>
                  <a:pt x="332" y="274"/>
                  <a:pt x="332" y="274"/>
                </a:cubicBezTo>
                <a:cubicBezTo>
                  <a:pt x="331" y="274"/>
                  <a:pt x="331" y="274"/>
                  <a:pt x="331" y="274"/>
                </a:cubicBezTo>
                <a:close/>
                <a:moveTo>
                  <a:pt x="331" y="244"/>
                </a:moveTo>
                <a:cubicBezTo>
                  <a:pt x="331" y="245"/>
                  <a:pt x="331" y="245"/>
                  <a:pt x="331" y="245"/>
                </a:cubicBezTo>
                <a:cubicBezTo>
                  <a:pt x="331" y="246"/>
                  <a:pt x="331" y="246"/>
                  <a:pt x="331" y="246"/>
                </a:cubicBezTo>
                <a:cubicBezTo>
                  <a:pt x="332" y="246"/>
                  <a:pt x="332" y="246"/>
                  <a:pt x="332" y="246"/>
                </a:cubicBezTo>
                <a:cubicBezTo>
                  <a:pt x="333" y="245"/>
                  <a:pt x="333" y="245"/>
                  <a:pt x="333" y="245"/>
                </a:cubicBezTo>
                <a:cubicBezTo>
                  <a:pt x="333" y="244"/>
                  <a:pt x="333" y="244"/>
                  <a:pt x="333" y="244"/>
                </a:cubicBezTo>
                <a:cubicBezTo>
                  <a:pt x="332" y="244"/>
                  <a:pt x="332" y="244"/>
                  <a:pt x="332" y="244"/>
                </a:cubicBezTo>
                <a:cubicBezTo>
                  <a:pt x="331" y="244"/>
                  <a:pt x="331" y="244"/>
                  <a:pt x="331" y="244"/>
                </a:cubicBezTo>
                <a:close/>
                <a:moveTo>
                  <a:pt x="331" y="244"/>
                </a:moveTo>
                <a:cubicBezTo>
                  <a:pt x="331" y="243"/>
                  <a:pt x="331" y="243"/>
                  <a:pt x="331" y="243"/>
                </a:cubicBezTo>
                <a:cubicBezTo>
                  <a:pt x="331" y="241"/>
                  <a:pt x="331" y="241"/>
                  <a:pt x="331" y="241"/>
                </a:cubicBezTo>
                <a:cubicBezTo>
                  <a:pt x="333" y="240"/>
                  <a:pt x="333" y="240"/>
                  <a:pt x="333" y="240"/>
                </a:cubicBezTo>
                <a:cubicBezTo>
                  <a:pt x="334" y="239"/>
                  <a:pt x="334" y="239"/>
                  <a:pt x="334" y="239"/>
                </a:cubicBezTo>
                <a:cubicBezTo>
                  <a:pt x="334" y="240"/>
                  <a:pt x="334" y="240"/>
                  <a:pt x="334" y="240"/>
                </a:cubicBezTo>
                <a:cubicBezTo>
                  <a:pt x="334" y="241"/>
                  <a:pt x="334" y="241"/>
                  <a:pt x="334" y="241"/>
                </a:cubicBezTo>
                <a:cubicBezTo>
                  <a:pt x="334" y="242"/>
                  <a:pt x="334" y="242"/>
                  <a:pt x="334" y="242"/>
                </a:cubicBezTo>
                <a:cubicBezTo>
                  <a:pt x="334" y="244"/>
                  <a:pt x="334" y="244"/>
                  <a:pt x="334" y="244"/>
                </a:cubicBezTo>
                <a:cubicBezTo>
                  <a:pt x="333" y="244"/>
                  <a:pt x="333" y="244"/>
                  <a:pt x="333" y="244"/>
                </a:cubicBezTo>
                <a:cubicBezTo>
                  <a:pt x="331" y="244"/>
                  <a:pt x="331" y="244"/>
                  <a:pt x="331" y="244"/>
                </a:cubicBezTo>
                <a:close/>
                <a:moveTo>
                  <a:pt x="271" y="231"/>
                </a:moveTo>
                <a:cubicBezTo>
                  <a:pt x="271" y="231"/>
                  <a:pt x="271" y="231"/>
                  <a:pt x="271" y="231"/>
                </a:cubicBezTo>
                <a:cubicBezTo>
                  <a:pt x="271" y="230"/>
                  <a:pt x="271" y="230"/>
                  <a:pt x="271" y="230"/>
                </a:cubicBezTo>
                <a:cubicBezTo>
                  <a:pt x="270" y="230"/>
                  <a:pt x="270" y="230"/>
                  <a:pt x="270" y="230"/>
                </a:cubicBezTo>
                <a:cubicBezTo>
                  <a:pt x="270" y="231"/>
                  <a:pt x="270" y="231"/>
                  <a:pt x="270" y="231"/>
                </a:cubicBezTo>
                <a:cubicBezTo>
                  <a:pt x="271" y="231"/>
                  <a:pt x="271" y="231"/>
                  <a:pt x="271" y="231"/>
                </a:cubicBezTo>
                <a:close/>
                <a:moveTo>
                  <a:pt x="219" y="217"/>
                </a:moveTo>
                <a:cubicBezTo>
                  <a:pt x="220" y="216"/>
                  <a:pt x="220" y="216"/>
                  <a:pt x="220" y="216"/>
                </a:cubicBezTo>
                <a:cubicBezTo>
                  <a:pt x="221" y="216"/>
                  <a:pt x="221" y="216"/>
                  <a:pt x="221" y="216"/>
                </a:cubicBezTo>
                <a:cubicBezTo>
                  <a:pt x="220" y="217"/>
                  <a:pt x="220" y="217"/>
                  <a:pt x="220" y="217"/>
                </a:cubicBezTo>
                <a:cubicBezTo>
                  <a:pt x="220" y="217"/>
                  <a:pt x="219" y="217"/>
                  <a:pt x="219" y="217"/>
                </a:cubicBezTo>
                <a:close/>
                <a:moveTo>
                  <a:pt x="215" y="219"/>
                </a:moveTo>
                <a:cubicBezTo>
                  <a:pt x="216" y="219"/>
                  <a:pt x="216" y="219"/>
                  <a:pt x="216" y="219"/>
                </a:cubicBezTo>
                <a:cubicBezTo>
                  <a:pt x="216" y="218"/>
                  <a:pt x="216" y="218"/>
                  <a:pt x="216" y="218"/>
                </a:cubicBezTo>
                <a:cubicBezTo>
                  <a:pt x="215" y="218"/>
                  <a:pt x="215" y="218"/>
                  <a:pt x="215" y="218"/>
                </a:cubicBezTo>
                <a:cubicBezTo>
                  <a:pt x="215" y="219"/>
                  <a:pt x="215" y="219"/>
                  <a:pt x="215" y="219"/>
                </a:cubicBezTo>
                <a:close/>
                <a:moveTo>
                  <a:pt x="217" y="223"/>
                </a:moveTo>
                <a:cubicBezTo>
                  <a:pt x="217" y="223"/>
                  <a:pt x="217" y="223"/>
                  <a:pt x="217" y="223"/>
                </a:cubicBezTo>
                <a:cubicBezTo>
                  <a:pt x="217" y="222"/>
                  <a:pt x="217" y="222"/>
                  <a:pt x="217" y="222"/>
                </a:cubicBezTo>
                <a:cubicBezTo>
                  <a:pt x="217" y="223"/>
                  <a:pt x="217" y="223"/>
                  <a:pt x="217" y="223"/>
                </a:cubicBezTo>
                <a:cubicBezTo>
                  <a:pt x="217" y="223"/>
                  <a:pt x="217" y="223"/>
                  <a:pt x="217" y="223"/>
                </a:cubicBezTo>
                <a:close/>
                <a:moveTo>
                  <a:pt x="217" y="224"/>
                </a:moveTo>
                <a:cubicBezTo>
                  <a:pt x="216" y="222"/>
                  <a:pt x="216" y="222"/>
                  <a:pt x="216" y="222"/>
                </a:cubicBezTo>
                <a:cubicBezTo>
                  <a:pt x="216" y="223"/>
                  <a:pt x="216" y="223"/>
                  <a:pt x="216" y="223"/>
                </a:cubicBezTo>
                <a:cubicBezTo>
                  <a:pt x="216" y="223"/>
                  <a:pt x="216" y="223"/>
                  <a:pt x="216" y="223"/>
                </a:cubicBezTo>
                <a:cubicBezTo>
                  <a:pt x="217" y="224"/>
                  <a:pt x="217" y="224"/>
                  <a:pt x="217" y="224"/>
                </a:cubicBezTo>
                <a:close/>
                <a:moveTo>
                  <a:pt x="219" y="227"/>
                </a:moveTo>
                <a:cubicBezTo>
                  <a:pt x="219" y="228"/>
                  <a:pt x="219" y="228"/>
                  <a:pt x="219" y="228"/>
                </a:cubicBezTo>
                <a:cubicBezTo>
                  <a:pt x="220" y="228"/>
                  <a:pt x="220" y="228"/>
                  <a:pt x="220" y="228"/>
                </a:cubicBezTo>
                <a:cubicBezTo>
                  <a:pt x="221" y="227"/>
                  <a:pt x="221" y="227"/>
                  <a:pt x="221" y="227"/>
                </a:cubicBezTo>
                <a:cubicBezTo>
                  <a:pt x="220" y="227"/>
                  <a:pt x="220" y="227"/>
                  <a:pt x="220" y="227"/>
                </a:cubicBezTo>
                <a:cubicBezTo>
                  <a:pt x="221" y="226"/>
                  <a:pt x="221" y="226"/>
                  <a:pt x="221" y="226"/>
                </a:cubicBezTo>
                <a:cubicBezTo>
                  <a:pt x="220" y="226"/>
                  <a:pt x="220" y="226"/>
                  <a:pt x="220" y="226"/>
                </a:cubicBezTo>
                <a:cubicBezTo>
                  <a:pt x="220" y="227"/>
                  <a:pt x="220" y="227"/>
                  <a:pt x="220" y="227"/>
                </a:cubicBezTo>
                <a:cubicBezTo>
                  <a:pt x="220" y="226"/>
                  <a:pt x="220" y="226"/>
                  <a:pt x="220" y="226"/>
                </a:cubicBezTo>
                <a:cubicBezTo>
                  <a:pt x="219" y="227"/>
                  <a:pt x="219" y="227"/>
                  <a:pt x="219" y="227"/>
                </a:cubicBezTo>
                <a:close/>
                <a:moveTo>
                  <a:pt x="217" y="234"/>
                </a:moveTo>
                <a:cubicBezTo>
                  <a:pt x="217" y="232"/>
                  <a:pt x="217" y="232"/>
                  <a:pt x="217" y="232"/>
                </a:cubicBezTo>
                <a:cubicBezTo>
                  <a:pt x="217" y="232"/>
                  <a:pt x="217" y="232"/>
                  <a:pt x="217" y="232"/>
                </a:cubicBezTo>
                <a:cubicBezTo>
                  <a:pt x="217" y="231"/>
                  <a:pt x="217" y="231"/>
                  <a:pt x="217" y="231"/>
                </a:cubicBezTo>
                <a:cubicBezTo>
                  <a:pt x="218" y="229"/>
                  <a:pt x="218" y="229"/>
                  <a:pt x="218" y="229"/>
                </a:cubicBezTo>
                <a:cubicBezTo>
                  <a:pt x="219" y="230"/>
                  <a:pt x="219" y="230"/>
                  <a:pt x="219" y="230"/>
                </a:cubicBezTo>
                <a:cubicBezTo>
                  <a:pt x="218" y="231"/>
                  <a:pt x="218" y="231"/>
                  <a:pt x="218" y="231"/>
                </a:cubicBezTo>
                <a:cubicBezTo>
                  <a:pt x="219" y="231"/>
                  <a:pt x="219" y="231"/>
                  <a:pt x="219" y="231"/>
                </a:cubicBezTo>
                <a:cubicBezTo>
                  <a:pt x="219" y="232"/>
                  <a:pt x="219" y="232"/>
                  <a:pt x="219" y="232"/>
                </a:cubicBezTo>
                <a:cubicBezTo>
                  <a:pt x="219" y="233"/>
                  <a:pt x="219" y="233"/>
                  <a:pt x="219" y="233"/>
                </a:cubicBezTo>
                <a:cubicBezTo>
                  <a:pt x="218" y="233"/>
                  <a:pt x="218" y="233"/>
                  <a:pt x="218" y="233"/>
                </a:cubicBezTo>
                <a:cubicBezTo>
                  <a:pt x="218" y="234"/>
                  <a:pt x="218" y="234"/>
                  <a:pt x="218" y="234"/>
                </a:cubicBezTo>
                <a:cubicBezTo>
                  <a:pt x="217" y="234"/>
                  <a:pt x="217" y="234"/>
                  <a:pt x="217" y="234"/>
                </a:cubicBezTo>
                <a:close/>
                <a:moveTo>
                  <a:pt x="264" y="206"/>
                </a:moveTo>
                <a:cubicBezTo>
                  <a:pt x="264" y="205"/>
                  <a:pt x="264" y="205"/>
                  <a:pt x="264" y="205"/>
                </a:cubicBezTo>
                <a:cubicBezTo>
                  <a:pt x="264" y="205"/>
                  <a:pt x="264" y="205"/>
                  <a:pt x="264" y="205"/>
                </a:cubicBezTo>
                <a:cubicBezTo>
                  <a:pt x="264" y="205"/>
                  <a:pt x="264" y="205"/>
                  <a:pt x="264" y="205"/>
                </a:cubicBezTo>
                <a:cubicBezTo>
                  <a:pt x="264" y="206"/>
                  <a:pt x="264" y="206"/>
                  <a:pt x="264" y="206"/>
                </a:cubicBezTo>
                <a:cubicBezTo>
                  <a:pt x="264" y="206"/>
                  <a:pt x="264" y="206"/>
                  <a:pt x="264" y="206"/>
                </a:cubicBezTo>
                <a:close/>
                <a:moveTo>
                  <a:pt x="279" y="196"/>
                </a:moveTo>
                <a:cubicBezTo>
                  <a:pt x="279" y="195"/>
                  <a:pt x="279" y="195"/>
                  <a:pt x="279" y="195"/>
                </a:cubicBezTo>
                <a:cubicBezTo>
                  <a:pt x="279" y="194"/>
                  <a:pt x="279" y="194"/>
                  <a:pt x="279" y="194"/>
                </a:cubicBezTo>
                <a:cubicBezTo>
                  <a:pt x="279" y="193"/>
                  <a:pt x="279" y="193"/>
                  <a:pt x="279" y="193"/>
                </a:cubicBezTo>
                <a:cubicBezTo>
                  <a:pt x="280" y="192"/>
                  <a:pt x="280" y="192"/>
                  <a:pt x="280" y="192"/>
                </a:cubicBezTo>
                <a:cubicBezTo>
                  <a:pt x="280" y="193"/>
                  <a:pt x="280" y="193"/>
                  <a:pt x="280" y="193"/>
                </a:cubicBezTo>
                <a:cubicBezTo>
                  <a:pt x="280" y="193"/>
                  <a:pt x="280" y="193"/>
                  <a:pt x="280" y="193"/>
                </a:cubicBezTo>
                <a:cubicBezTo>
                  <a:pt x="281" y="194"/>
                  <a:pt x="281" y="194"/>
                  <a:pt x="281" y="194"/>
                </a:cubicBezTo>
                <a:cubicBezTo>
                  <a:pt x="280" y="195"/>
                  <a:pt x="280" y="195"/>
                  <a:pt x="280" y="195"/>
                </a:cubicBezTo>
                <a:cubicBezTo>
                  <a:pt x="280" y="196"/>
                  <a:pt x="280" y="196"/>
                  <a:pt x="280" y="196"/>
                </a:cubicBezTo>
                <a:cubicBezTo>
                  <a:pt x="279" y="196"/>
                  <a:pt x="279" y="196"/>
                  <a:pt x="279" y="196"/>
                </a:cubicBezTo>
                <a:close/>
                <a:moveTo>
                  <a:pt x="262" y="215"/>
                </a:moveTo>
                <a:cubicBezTo>
                  <a:pt x="262" y="215"/>
                  <a:pt x="262" y="215"/>
                  <a:pt x="262" y="215"/>
                </a:cubicBezTo>
                <a:cubicBezTo>
                  <a:pt x="262" y="214"/>
                  <a:pt x="262" y="214"/>
                  <a:pt x="262" y="214"/>
                </a:cubicBezTo>
                <a:cubicBezTo>
                  <a:pt x="263" y="213"/>
                  <a:pt x="263" y="213"/>
                  <a:pt x="263" y="213"/>
                </a:cubicBezTo>
                <a:cubicBezTo>
                  <a:pt x="263" y="213"/>
                  <a:pt x="263" y="213"/>
                  <a:pt x="263" y="213"/>
                </a:cubicBezTo>
                <a:cubicBezTo>
                  <a:pt x="263" y="212"/>
                  <a:pt x="263" y="212"/>
                  <a:pt x="263" y="212"/>
                </a:cubicBezTo>
                <a:cubicBezTo>
                  <a:pt x="263" y="211"/>
                  <a:pt x="263" y="211"/>
                  <a:pt x="263" y="211"/>
                </a:cubicBezTo>
                <a:cubicBezTo>
                  <a:pt x="262" y="211"/>
                  <a:pt x="262" y="211"/>
                  <a:pt x="262" y="211"/>
                </a:cubicBezTo>
                <a:cubicBezTo>
                  <a:pt x="262" y="210"/>
                  <a:pt x="262" y="210"/>
                  <a:pt x="262" y="210"/>
                </a:cubicBezTo>
                <a:cubicBezTo>
                  <a:pt x="262" y="209"/>
                  <a:pt x="262" y="209"/>
                  <a:pt x="262" y="209"/>
                </a:cubicBezTo>
                <a:cubicBezTo>
                  <a:pt x="263" y="209"/>
                  <a:pt x="263" y="209"/>
                  <a:pt x="263" y="209"/>
                </a:cubicBezTo>
                <a:cubicBezTo>
                  <a:pt x="263" y="208"/>
                  <a:pt x="263" y="208"/>
                  <a:pt x="263" y="208"/>
                </a:cubicBezTo>
                <a:cubicBezTo>
                  <a:pt x="262" y="207"/>
                  <a:pt x="262" y="207"/>
                  <a:pt x="262" y="207"/>
                </a:cubicBezTo>
                <a:cubicBezTo>
                  <a:pt x="261" y="207"/>
                  <a:pt x="261" y="207"/>
                  <a:pt x="261" y="207"/>
                </a:cubicBezTo>
                <a:cubicBezTo>
                  <a:pt x="261" y="208"/>
                  <a:pt x="261" y="208"/>
                  <a:pt x="261" y="208"/>
                </a:cubicBezTo>
                <a:cubicBezTo>
                  <a:pt x="261" y="209"/>
                  <a:pt x="261" y="209"/>
                  <a:pt x="261" y="209"/>
                </a:cubicBezTo>
                <a:cubicBezTo>
                  <a:pt x="260" y="208"/>
                  <a:pt x="260" y="208"/>
                  <a:pt x="260" y="208"/>
                </a:cubicBezTo>
                <a:cubicBezTo>
                  <a:pt x="259" y="208"/>
                  <a:pt x="259" y="208"/>
                  <a:pt x="259" y="208"/>
                </a:cubicBezTo>
                <a:cubicBezTo>
                  <a:pt x="257" y="210"/>
                  <a:pt x="257" y="210"/>
                  <a:pt x="257" y="210"/>
                </a:cubicBezTo>
                <a:cubicBezTo>
                  <a:pt x="256" y="210"/>
                  <a:pt x="256" y="210"/>
                  <a:pt x="256" y="210"/>
                </a:cubicBezTo>
                <a:cubicBezTo>
                  <a:pt x="256" y="210"/>
                  <a:pt x="256" y="210"/>
                  <a:pt x="256" y="210"/>
                </a:cubicBezTo>
                <a:cubicBezTo>
                  <a:pt x="257" y="209"/>
                  <a:pt x="257" y="209"/>
                  <a:pt x="257" y="209"/>
                </a:cubicBezTo>
                <a:cubicBezTo>
                  <a:pt x="258" y="208"/>
                  <a:pt x="258" y="208"/>
                  <a:pt x="258" y="208"/>
                </a:cubicBezTo>
                <a:cubicBezTo>
                  <a:pt x="258" y="207"/>
                  <a:pt x="258" y="207"/>
                  <a:pt x="258" y="207"/>
                </a:cubicBezTo>
                <a:cubicBezTo>
                  <a:pt x="257" y="208"/>
                  <a:pt x="257" y="208"/>
                  <a:pt x="257" y="208"/>
                </a:cubicBezTo>
                <a:cubicBezTo>
                  <a:pt x="257" y="207"/>
                  <a:pt x="257" y="207"/>
                  <a:pt x="257" y="207"/>
                </a:cubicBezTo>
                <a:cubicBezTo>
                  <a:pt x="257" y="206"/>
                  <a:pt x="257" y="206"/>
                  <a:pt x="257" y="206"/>
                </a:cubicBezTo>
                <a:cubicBezTo>
                  <a:pt x="258" y="206"/>
                  <a:pt x="258" y="206"/>
                  <a:pt x="258" y="206"/>
                </a:cubicBezTo>
                <a:cubicBezTo>
                  <a:pt x="257" y="204"/>
                  <a:pt x="257" y="204"/>
                  <a:pt x="257" y="204"/>
                </a:cubicBezTo>
                <a:cubicBezTo>
                  <a:pt x="258" y="203"/>
                  <a:pt x="258" y="203"/>
                  <a:pt x="258" y="203"/>
                </a:cubicBezTo>
                <a:cubicBezTo>
                  <a:pt x="259" y="203"/>
                  <a:pt x="259" y="203"/>
                  <a:pt x="259" y="203"/>
                </a:cubicBezTo>
                <a:cubicBezTo>
                  <a:pt x="258" y="204"/>
                  <a:pt x="258" y="204"/>
                  <a:pt x="258" y="204"/>
                </a:cubicBezTo>
                <a:cubicBezTo>
                  <a:pt x="259" y="205"/>
                  <a:pt x="259" y="205"/>
                  <a:pt x="259" y="205"/>
                </a:cubicBezTo>
                <a:cubicBezTo>
                  <a:pt x="260" y="206"/>
                  <a:pt x="260" y="206"/>
                  <a:pt x="260" y="206"/>
                </a:cubicBezTo>
                <a:cubicBezTo>
                  <a:pt x="260" y="206"/>
                  <a:pt x="260" y="206"/>
                  <a:pt x="260" y="206"/>
                </a:cubicBezTo>
                <a:cubicBezTo>
                  <a:pt x="262" y="206"/>
                  <a:pt x="262" y="206"/>
                  <a:pt x="262" y="206"/>
                </a:cubicBezTo>
                <a:cubicBezTo>
                  <a:pt x="262" y="205"/>
                  <a:pt x="262" y="205"/>
                  <a:pt x="262" y="205"/>
                </a:cubicBezTo>
                <a:cubicBezTo>
                  <a:pt x="262" y="204"/>
                  <a:pt x="262" y="204"/>
                  <a:pt x="262" y="204"/>
                </a:cubicBezTo>
                <a:cubicBezTo>
                  <a:pt x="262" y="203"/>
                  <a:pt x="262" y="203"/>
                  <a:pt x="262" y="203"/>
                </a:cubicBezTo>
                <a:cubicBezTo>
                  <a:pt x="262" y="203"/>
                  <a:pt x="262" y="203"/>
                  <a:pt x="262" y="203"/>
                </a:cubicBezTo>
                <a:cubicBezTo>
                  <a:pt x="263" y="204"/>
                  <a:pt x="263" y="204"/>
                  <a:pt x="263" y="204"/>
                </a:cubicBezTo>
                <a:cubicBezTo>
                  <a:pt x="264" y="204"/>
                  <a:pt x="264" y="204"/>
                  <a:pt x="264" y="204"/>
                </a:cubicBezTo>
                <a:cubicBezTo>
                  <a:pt x="264" y="203"/>
                  <a:pt x="264" y="203"/>
                  <a:pt x="264" y="203"/>
                </a:cubicBezTo>
                <a:cubicBezTo>
                  <a:pt x="265" y="201"/>
                  <a:pt x="265" y="201"/>
                  <a:pt x="265" y="201"/>
                </a:cubicBezTo>
                <a:cubicBezTo>
                  <a:pt x="265" y="203"/>
                  <a:pt x="265" y="203"/>
                  <a:pt x="265" y="203"/>
                </a:cubicBezTo>
                <a:cubicBezTo>
                  <a:pt x="266" y="203"/>
                  <a:pt x="266" y="203"/>
                  <a:pt x="266" y="203"/>
                </a:cubicBezTo>
                <a:cubicBezTo>
                  <a:pt x="267" y="202"/>
                  <a:pt x="267" y="202"/>
                  <a:pt x="267" y="202"/>
                </a:cubicBezTo>
                <a:cubicBezTo>
                  <a:pt x="266" y="204"/>
                  <a:pt x="266" y="204"/>
                  <a:pt x="266" y="204"/>
                </a:cubicBezTo>
                <a:cubicBezTo>
                  <a:pt x="266" y="205"/>
                  <a:pt x="266" y="205"/>
                  <a:pt x="266" y="205"/>
                </a:cubicBezTo>
                <a:cubicBezTo>
                  <a:pt x="266" y="205"/>
                  <a:pt x="266" y="205"/>
                  <a:pt x="266" y="205"/>
                </a:cubicBezTo>
                <a:cubicBezTo>
                  <a:pt x="267" y="205"/>
                  <a:pt x="267" y="205"/>
                  <a:pt x="267" y="205"/>
                </a:cubicBezTo>
                <a:cubicBezTo>
                  <a:pt x="266" y="206"/>
                  <a:pt x="266" y="206"/>
                  <a:pt x="266" y="206"/>
                </a:cubicBezTo>
                <a:cubicBezTo>
                  <a:pt x="267" y="206"/>
                  <a:pt x="267" y="206"/>
                  <a:pt x="267" y="206"/>
                </a:cubicBezTo>
                <a:cubicBezTo>
                  <a:pt x="268" y="205"/>
                  <a:pt x="268" y="205"/>
                  <a:pt x="268" y="205"/>
                </a:cubicBezTo>
                <a:cubicBezTo>
                  <a:pt x="268" y="204"/>
                  <a:pt x="268" y="204"/>
                  <a:pt x="268" y="204"/>
                </a:cubicBezTo>
                <a:cubicBezTo>
                  <a:pt x="269" y="203"/>
                  <a:pt x="269" y="203"/>
                  <a:pt x="269" y="203"/>
                </a:cubicBezTo>
                <a:cubicBezTo>
                  <a:pt x="270" y="202"/>
                  <a:pt x="270" y="202"/>
                  <a:pt x="270" y="202"/>
                </a:cubicBezTo>
                <a:cubicBezTo>
                  <a:pt x="270" y="204"/>
                  <a:pt x="270" y="204"/>
                  <a:pt x="270" y="204"/>
                </a:cubicBezTo>
                <a:cubicBezTo>
                  <a:pt x="269" y="205"/>
                  <a:pt x="269" y="205"/>
                  <a:pt x="269" y="205"/>
                </a:cubicBezTo>
                <a:cubicBezTo>
                  <a:pt x="269" y="207"/>
                  <a:pt x="269" y="207"/>
                  <a:pt x="269" y="207"/>
                </a:cubicBezTo>
                <a:cubicBezTo>
                  <a:pt x="270" y="207"/>
                  <a:pt x="270" y="207"/>
                  <a:pt x="270" y="207"/>
                </a:cubicBezTo>
                <a:cubicBezTo>
                  <a:pt x="271" y="207"/>
                  <a:pt x="271" y="207"/>
                  <a:pt x="271" y="207"/>
                </a:cubicBezTo>
                <a:cubicBezTo>
                  <a:pt x="271" y="206"/>
                  <a:pt x="271" y="206"/>
                  <a:pt x="271" y="206"/>
                </a:cubicBezTo>
                <a:cubicBezTo>
                  <a:pt x="273" y="205"/>
                  <a:pt x="273" y="205"/>
                  <a:pt x="273" y="205"/>
                </a:cubicBezTo>
                <a:cubicBezTo>
                  <a:pt x="273" y="203"/>
                  <a:pt x="273" y="203"/>
                  <a:pt x="273" y="203"/>
                </a:cubicBezTo>
                <a:cubicBezTo>
                  <a:pt x="274" y="202"/>
                  <a:pt x="274" y="202"/>
                  <a:pt x="274" y="202"/>
                </a:cubicBezTo>
                <a:cubicBezTo>
                  <a:pt x="273" y="201"/>
                  <a:pt x="273" y="201"/>
                  <a:pt x="273" y="201"/>
                </a:cubicBezTo>
                <a:cubicBezTo>
                  <a:pt x="274" y="200"/>
                  <a:pt x="274" y="200"/>
                  <a:pt x="274" y="200"/>
                </a:cubicBezTo>
                <a:cubicBezTo>
                  <a:pt x="274" y="199"/>
                  <a:pt x="274" y="199"/>
                  <a:pt x="274" y="199"/>
                </a:cubicBezTo>
                <a:cubicBezTo>
                  <a:pt x="273" y="200"/>
                  <a:pt x="273" y="200"/>
                  <a:pt x="273" y="200"/>
                </a:cubicBezTo>
                <a:cubicBezTo>
                  <a:pt x="272" y="199"/>
                  <a:pt x="272" y="199"/>
                  <a:pt x="272" y="199"/>
                </a:cubicBezTo>
                <a:cubicBezTo>
                  <a:pt x="271" y="200"/>
                  <a:pt x="271" y="200"/>
                  <a:pt x="271" y="200"/>
                </a:cubicBezTo>
                <a:cubicBezTo>
                  <a:pt x="271" y="198"/>
                  <a:pt x="271" y="198"/>
                  <a:pt x="271" y="198"/>
                </a:cubicBezTo>
                <a:cubicBezTo>
                  <a:pt x="272" y="198"/>
                  <a:pt x="272" y="198"/>
                  <a:pt x="272" y="198"/>
                </a:cubicBezTo>
                <a:cubicBezTo>
                  <a:pt x="272" y="197"/>
                  <a:pt x="272" y="197"/>
                  <a:pt x="272" y="197"/>
                </a:cubicBezTo>
                <a:cubicBezTo>
                  <a:pt x="270" y="198"/>
                  <a:pt x="270" y="198"/>
                  <a:pt x="270" y="198"/>
                </a:cubicBezTo>
                <a:cubicBezTo>
                  <a:pt x="270" y="197"/>
                  <a:pt x="270" y="197"/>
                  <a:pt x="270" y="197"/>
                </a:cubicBezTo>
                <a:cubicBezTo>
                  <a:pt x="269" y="196"/>
                  <a:pt x="269" y="196"/>
                  <a:pt x="269" y="196"/>
                </a:cubicBezTo>
                <a:cubicBezTo>
                  <a:pt x="269" y="195"/>
                  <a:pt x="269" y="195"/>
                  <a:pt x="269" y="195"/>
                </a:cubicBezTo>
                <a:cubicBezTo>
                  <a:pt x="268" y="193"/>
                  <a:pt x="268" y="193"/>
                  <a:pt x="268" y="193"/>
                </a:cubicBezTo>
                <a:cubicBezTo>
                  <a:pt x="268" y="192"/>
                  <a:pt x="268" y="192"/>
                  <a:pt x="268" y="192"/>
                </a:cubicBezTo>
                <a:cubicBezTo>
                  <a:pt x="269" y="190"/>
                  <a:pt x="269" y="190"/>
                  <a:pt x="269" y="190"/>
                </a:cubicBezTo>
                <a:cubicBezTo>
                  <a:pt x="268" y="189"/>
                  <a:pt x="268" y="189"/>
                  <a:pt x="268" y="189"/>
                </a:cubicBezTo>
                <a:cubicBezTo>
                  <a:pt x="267" y="190"/>
                  <a:pt x="267" y="190"/>
                  <a:pt x="267" y="190"/>
                </a:cubicBezTo>
                <a:cubicBezTo>
                  <a:pt x="267" y="191"/>
                  <a:pt x="267" y="191"/>
                  <a:pt x="267" y="191"/>
                </a:cubicBezTo>
                <a:cubicBezTo>
                  <a:pt x="267" y="190"/>
                  <a:pt x="267" y="190"/>
                  <a:pt x="267" y="190"/>
                </a:cubicBezTo>
                <a:cubicBezTo>
                  <a:pt x="265" y="189"/>
                  <a:pt x="265" y="189"/>
                  <a:pt x="265" y="189"/>
                </a:cubicBezTo>
                <a:cubicBezTo>
                  <a:pt x="265" y="187"/>
                  <a:pt x="265" y="187"/>
                  <a:pt x="265" y="187"/>
                </a:cubicBezTo>
                <a:cubicBezTo>
                  <a:pt x="264" y="186"/>
                  <a:pt x="264" y="186"/>
                  <a:pt x="264" y="186"/>
                </a:cubicBezTo>
                <a:cubicBezTo>
                  <a:pt x="264" y="184"/>
                  <a:pt x="264" y="184"/>
                  <a:pt x="264" y="184"/>
                </a:cubicBezTo>
                <a:cubicBezTo>
                  <a:pt x="263" y="183"/>
                  <a:pt x="263" y="183"/>
                  <a:pt x="263" y="183"/>
                </a:cubicBezTo>
                <a:cubicBezTo>
                  <a:pt x="263" y="182"/>
                  <a:pt x="263" y="182"/>
                  <a:pt x="263" y="182"/>
                </a:cubicBezTo>
                <a:cubicBezTo>
                  <a:pt x="263" y="181"/>
                  <a:pt x="263" y="181"/>
                  <a:pt x="263" y="181"/>
                </a:cubicBezTo>
                <a:cubicBezTo>
                  <a:pt x="263" y="180"/>
                  <a:pt x="263" y="180"/>
                  <a:pt x="263" y="180"/>
                </a:cubicBezTo>
                <a:cubicBezTo>
                  <a:pt x="264" y="180"/>
                  <a:pt x="264" y="180"/>
                  <a:pt x="264" y="180"/>
                </a:cubicBezTo>
                <a:cubicBezTo>
                  <a:pt x="264" y="179"/>
                  <a:pt x="264" y="179"/>
                  <a:pt x="264" y="179"/>
                </a:cubicBezTo>
                <a:cubicBezTo>
                  <a:pt x="265" y="179"/>
                  <a:pt x="265" y="179"/>
                  <a:pt x="265" y="179"/>
                </a:cubicBezTo>
                <a:cubicBezTo>
                  <a:pt x="265" y="179"/>
                  <a:pt x="265" y="179"/>
                  <a:pt x="265" y="179"/>
                </a:cubicBezTo>
                <a:cubicBezTo>
                  <a:pt x="266" y="178"/>
                  <a:pt x="266" y="178"/>
                  <a:pt x="266" y="178"/>
                </a:cubicBezTo>
                <a:cubicBezTo>
                  <a:pt x="266" y="177"/>
                  <a:pt x="266" y="177"/>
                  <a:pt x="266" y="177"/>
                </a:cubicBezTo>
                <a:cubicBezTo>
                  <a:pt x="267" y="175"/>
                  <a:pt x="267" y="175"/>
                  <a:pt x="267" y="175"/>
                </a:cubicBezTo>
                <a:cubicBezTo>
                  <a:pt x="267" y="173"/>
                  <a:pt x="267" y="173"/>
                  <a:pt x="267" y="173"/>
                </a:cubicBezTo>
                <a:cubicBezTo>
                  <a:pt x="267" y="173"/>
                  <a:pt x="267" y="173"/>
                  <a:pt x="267" y="173"/>
                </a:cubicBezTo>
                <a:cubicBezTo>
                  <a:pt x="267" y="171"/>
                  <a:pt x="267" y="171"/>
                  <a:pt x="267" y="171"/>
                </a:cubicBezTo>
                <a:cubicBezTo>
                  <a:pt x="267" y="169"/>
                  <a:pt x="267" y="169"/>
                  <a:pt x="267" y="169"/>
                </a:cubicBezTo>
                <a:cubicBezTo>
                  <a:pt x="268" y="169"/>
                  <a:pt x="268" y="169"/>
                  <a:pt x="268" y="169"/>
                </a:cubicBezTo>
                <a:cubicBezTo>
                  <a:pt x="268" y="167"/>
                  <a:pt x="268" y="167"/>
                  <a:pt x="268" y="167"/>
                </a:cubicBezTo>
                <a:cubicBezTo>
                  <a:pt x="269" y="166"/>
                  <a:pt x="269" y="166"/>
                  <a:pt x="269" y="166"/>
                </a:cubicBezTo>
                <a:cubicBezTo>
                  <a:pt x="269" y="164"/>
                  <a:pt x="269" y="164"/>
                  <a:pt x="269" y="164"/>
                </a:cubicBezTo>
                <a:cubicBezTo>
                  <a:pt x="270" y="164"/>
                  <a:pt x="270" y="164"/>
                  <a:pt x="270" y="164"/>
                </a:cubicBezTo>
                <a:cubicBezTo>
                  <a:pt x="270" y="161"/>
                  <a:pt x="270" y="161"/>
                  <a:pt x="270" y="161"/>
                </a:cubicBezTo>
                <a:cubicBezTo>
                  <a:pt x="271" y="161"/>
                  <a:pt x="271" y="161"/>
                  <a:pt x="271" y="161"/>
                </a:cubicBezTo>
                <a:cubicBezTo>
                  <a:pt x="271" y="160"/>
                  <a:pt x="271" y="160"/>
                  <a:pt x="271" y="160"/>
                </a:cubicBezTo>
                <a:cubicBezTo>
                  <a:pt x="272" y="158"/>
                  <a:pt x="272" y="158"/>
                  <a:pt x="272" y="158"/>
                </a:cubicBezTo>
                <a:cubicBezTo>
                  <a:pt x="272" y="157"/>
                  <a:pt x="272" y="157"/>
                  <a:pt x="272" y="157"/>
                </a:cubicBezTo>
                <a:cubicBezTo>
                  <a:pt x="272" y="156"/>
                  <a:pt x="272" y="156"/>
                  <a:pt x="272" y="156"/>
                </a:cubicBezTo>
                <a:cubicBezTo>
                  <a:pt x="273" y="156"/>
                  <a:pt x="273" y="156"/>
                  <a:pt x="273" y="156"/>
                </a:cubicBezTo>
                <a:cubicBezTo>
                  <a:pt x="273" y="155"/>
                  <a:pt x="273" y="155"/>
                  <a:pt x="273" y="155"/>
                </a:cubicBezTo>
                <a:cubicBezTo>
                  <a:pt x="272" y="153"/>
                  <a:pt x="272" y="153"/>
                  <a:pt x="272" y="153"/>
                </a:cubicBezTo>
                <a:cubicBezTo>
                  <a:pt x="273" y="152"/>
                  <a:pt x="273" y="152"/>
                  <a:pt x="273" y="152"/>
                </a:cubicBezTo>
                <a:cubicBezTo>
                  <a:pt x="273" y="152"/>
                  <a:pt x="273" y="152"/>
                  <a:pt x="273" y="152"/>
                </a:cubicBezTo>
                <a:cubicBezTo>
                  <a:pt x="271" y="151"/>
                  <a:pt x="271" y="151"/>
                  <a:pt x="271" y="151"/>
                </a:cubicBezTo>
                <a:cubicBezTo>
                  <a:pt x="271" y="149"/>
                  <a:pt x="271" y="149"/>
                  <a:pt x="271" y="149"/>
                </a:cubicBezTo>
                <a:cubicBezTo>
                  <a:pt x="271" y="149"/>
                  <a:pt x="271" y="149"/>
                  <a:pt x="271" y="149"/>
                </a:cubicBezTo>
                <a:cubicBezTo>
                  <a:pt x="270" y="146"/>
                  <a:pt x="270" y="146"/>
                  <a:pt x="270" y="146"/>
                </a:cubicBezTo>
                <a:cubicBezTo>
                  <a:pt x="269" y="146"/>
                  <a:pt x="269" y="146"/>
                  <a:pt x="269" y="146"/>
                </a:cubicBezTo>
                <a:cubicBezTo>
                  <a:pt x="269" y="146"/>
                  <a:pt x="269" y="146"/>
                  <a:pt x="269" y="146"/>
                </a:cubicBezTo>
                <a:cubicBezTo>
                  <a:pt x="268" y="146"/>
                  <a:pt x="268" y="146"/>
                  <a:pt x="268" y="146"/>
                </a:cubicBezTo>
                <a:cubicBezTo>
                  <a:pt x="268" y="147"/>
                  <a:pt x="268" y="147"/>
                  <a:pt x="268" y="147"/>
                </a:cubicBezTo>
                <a:cubicBezTo>
                  <a:pt x="268" y="147"/>
                  <a:pt x="268" y="147"/>
                  <a:pt x="268" y="147"/>
                </a:cubicBezTo>
                <a:cubicBezTo>
                  <a:pt x="266" y="145"/>
                  <a:pt x="266" y="145"/>
                  <a:pt x="266" y="145"/>
                </a:cubicBezTo>
                <a:cubicBezTo>
                  <a:pt x="265" y="145"/>
                  <a:pt x="265" y="145"/>
                  <a:pt x="265" y="145"/>
                </a:cubicBezTo>
                <a:cubicBezTo>
                  <a:pt x="265" y="144"/>
                  <a:pt x="265" y="144"/>
                  <a:pt x="265" y="144"/>
                </a:cubicBezTo>
                <a:cubicBezTo>
                  <a:pt x="264" y="144"/>
                  <a:pt x="264" y="144"/>
                  <a:pt x="264" y="144"/>
                </a:cubicBezTo>
                <a:cubicBezTo>
                  <a:pt x="264" y="146"/>
                  <a:pt x="264" y="146"/>
                  <a:pt x="264" y="146"/>
                </a:cubicBezTo>
                <a:cubicBezTo>
                  <a:pt x="264" y="146"/>
                  <a:pt x="264" y="146"/>
                  <a:pt x="264" y="146"/>
                </a:cubicBezTo>
                <a:cubicBezTo>
                  <a:pt x="263" y="146"/>
                  <a:pt x="263" y="146"/>
                  <a:pt x="263" y="146"/>
                </a:cubicBezTo>
                <a:cubicBezTo>
                  <a:pt x="262" y="147"/>
                  <a:pt x="262" y="147"/>
                  <a:pt x="262" y="147"/>
                </a:cubicBezTo>
                <a:cubicBezTo>
                  <a:pt x="262" y="148"/>
                  <a:pt x="262" y="148"/>
                  <a:pt x="262" y="148"/>
                </a:cubicBezTo>
                <a:cubicBezTo>
                  <a:pt x="261" y="149"/>
                  <a:pt x="261" y="149"/>
                  <a:pt x="261" y="149"/>
                </a:cubicBezTo>
                <a:cubicBezTo>
                  <a:pt x="260" y="152"/>
                  <a:pt x="260" y="152"/>
                  <a:pt x="260" y="152"/>
                </a:cubicBezTo>
                <a:cubicBezTo>
                  <a:pt x="260" y="153"/>
                  <a:pt x="260" y="153"/>
                  <a:pt x="260" y="153"/>
                </a:cubicBezTo>
                <a:cubicBezTo>
                  <a:pt x="260" y="154"/>
                  <a:pt x="260" y="154"/>
                  <a:pt x="260" y="154"/>
                </a:cubicBezTo>
                <a:cubicBezTo>
                  <a:pt x="259" y="155"/>
                  <a:pt x="259" y="155"/>
                  <a:pt x="259" y="155"/>
                </a:cubicBezTo>
                <a:cubicBezTo>
                  <a:pt x="259" y="156"/>
                  <a:pt x="259" y="156"/>
                  <a:pt x="259" y="156"/>
                </a:cubicBezTo>
                <a:cubicBezTo>
                  <a:pt x="259" y="157"/>
                  <a:pt x="259" y="157"/>
                  <a:pt x="259" y="157"/>
                </a:cubicBezTo>
                <a:cubicBezTo>
                  <a:pt x="258" y="157"/>
                  <a:pt x="258" y="157"/>
                  <a:pt x="258" y="157"/>
                </a:cubicBezTo>
                <a:cubicBezTo>
                  <a:pt x="258" y="160"/>
                  <a:pt x="258" y="160"/>
                  <a:pt x="258" y="160"/>
                </a:cubicBezTo>
                <a:cubicBezTo>
                  <a:pt x="257" y="161"/>
                  <a:pt x="257" y="161"/>
                  <a:pt x="257" y="161"/>
                </a:cubicBezTo>
                <a:cubicBezTo>
                  <a:pt x="256" y="160"/>
                  <a:pt x="256" y="160"/>
                  <a:pt x="256" y="160"/>
                </a:cubicBezTo>
                <a:cubicBezTo>
                  <a:pt x="256" y="162"/>
                  <a:pt x="256" y="162"/>
                  <a:pt x="256" y="162"/>
                </a:cubicBezTo>
                <a:cubicBezTo>
                  <a:pt x="256" y="163"/>
                  <a:pt x="256" y="163"/>
                  <a:pt x="256" y="163"/>
                </a:cubicBezTo>
                <a:cubicBezTo>
                  <a:pt x="256" y="164"/>
                  <a:pt x="256" y="164"/>
                  <a:pt x="256" y="164"/>
                </a:cubicBezTo>
                <a:cubicBezTo>
                  <a:pt x="255" y="166"/>
                  <a:pt x="255" y="166"/>
                  <a:pt x="255" y="166"/>
                </a:cubicBezTo>
                <a:cubicBezTo>
                  <a:pt x="255" y="167"/>
                  <a:pt x="255" y="167"/>
                  <a:pt x="255" y="167"/>
                </a:cubicBezTo>
                <a:cubicBezTo>
                  <a:pt x="255" y="168"/>
                  <a:pt x="255" y="168"/>
                  <a:pt x="255" y="168"/>
                </a:cubicBezTo>
                <a:cubicBezTo>
                  <a:pt x="255" y="169"/>
                  <a:pt x="255" y="169"/>
                  <a:pt x="255" y="169"/>
                </a:cubicBezTo>
                <a:cubicBezTo>
                  <a:pt x="254" y="169"/>
                  <a:pt x="254" y="169"/>
                  <a:pt x="254" y="169"/>
                </a:cubicBezTo>
                <a:cubicBezTo>
                  <a:pt x="254" y="169"/>
                  <a:pt x="254" y="169"/>
                  <a:pt x="254" y="169"/>
                </a:cubicBezTo>
                <a:cubicBezTo>
                  <a:pt x="255" y="170"/>
                  <a:pt x="255" y="170"/>
                  <a:pt x="255" y="170"/>
                </a:cubicBezTo>
                <a:cubicBezTo>
                  <a:pt x="255" y="171"/>
                  <a:pt x="255" y="171"/>
                  <a:pt x="255" y="171"/>
                </a:cubicBezTo>
                <a:cubicBezTo>
                  <a:pt x="255" y="170"/>
                  <a:pt x="255" y="170"/>
                  <a:pt x="255" y="170"/>
                </a:cubicBezTo>
                <a:cubicBezTo>
                  <a:pt x="254" y="171"/>
                  <a:pt x="254" y="171"/>
                  <a:pt x="254" y="171"/>
                </a:cubicBezTo>
                <a:cubicBezTo>
                  <a:pt x="253" y="171"/>
                  <a:pt x="253" y="171"/>
                  <a:pt x="253" y="171"/>
                </a:cubicBezTo>
                <a:cubicBezTo>
                  <a:pt x="252" y="171"/>
                  <a:pt x="252" y="171"/>
                  <a:pt x="252" y="171"/>
                </a:cubicBezTo>
                <a:cubicBezTo>
                  <a:pt x="251" y="172"/>
                  <a:pt x="251" y="172"/>
                  <a:pt x="251" y="172"/>
                </a:cubicBezTo>
                <a:cubicBezTo>
                  <a:pt x="252" y="173"/>
                  <a:pt x="252" y="173"/>
                  <a:pt x="252" y="173"/>
                </a:cubicBezTo>
                <a:cubicBezTo>
                  <a:pt x="251" y="173"/>
                  <a:pt x="251" y="173"/>
                  <a:pt x="251" y="173"/>
                </a:cubicBezTo>
                <a:cubicBezTo>
                  <a:pt x="250" y="173"/>
                  <a:pt x="250" y="173"/>
                  <a:pt x="250" y="173"/>
                </a:cubicBezTo>
                <a:cubicBezTo>
                  <a:pt x="250" y="172"/>
                  <a:pt x="250" y="172"/>
                  <a:pt x="250" y="172"/>
                </a:cubicBezTo>
                <a:cubicBezTo>
                  <a:pt x="250" y="171"/>
                  <a:pt x="250" y="171"/>
                  <a:pt x="250" y="171"/>
                </a:cubicBezTo>
                <a:cubicBezTo>
                  <a:pt x="250" y="170"/>
                  <a:pt x="250" y="170"/>
                  <a:pt x="250" y="170"/>
                </a:cubicBezTo>
                <a:cubicBezTo>
                  <a:pt x="250" y="168"/>
                  <a:pt x="250" y="168"/>
                  <a:pt x="250" y="168"/>
                </a:cubicBezTo>
                <a:cubicBezTo>
                  <a:pt x="251" y="166"/>
                  <a:pt x="251" y="166"/>
                  <a:pt x="251" y="166"/>
                </a:cubicBezTo>
                <a:cubicBezTo>
                  <a:pt x="251" y="165"/>
                  <a:pt x="251" y="165"/>
                  <a:pt x="251" y="165"/>
                </a:cubicBezTo>
                <a:cubicBezTo>
                  <a:pt x="252" y="164"/>
                  <a:pt x="252" y="164"/>
                  <a:pt x="252" y="164"/>
                </a:cubicBezTo>
                <a:cubicBezTo>
                  <a:pt x="252" y="163"/>
                  <a:pt x="252" y="163"/>
                  <a:pt x="252" y="163"/>
                </a:cubicBezTo>
                <a:cubicBezTo>
                  <a:pt x="252" y="162"/>
                  <a:pt x="252" y="162"/>
                  <a:pt x="252" y="162"/>
                </a:cubicBezTo>
                <a:cubicBezTo>
                  <a:pt x="253" y="159"/>
                  <a:pt x="253" y="159"/>
                  <a:pt x="253" y="159"/>
                </a:cubicBezTo>
                <a:cubicBezTo>
                  <a:pt x="254" y="158"/>
                  <a:pt x="254" y="158"/>
                  <a:pt x="254" y="158"/>
                </a:cubicBezTo>
                <a:cubicBezTo>
                  <a:pt x="254" y="157"/>
                  <a:pt x="254" y="157"/>
                  <a:pt x="254" y="157"/>
                </a:cubicBezTo>
                <a:cubicBezTo>
                  <a:pt x="254" y="157"/>
                  <a:pt x="254" y="157"/>
                  <a:pt x="254" y="157"/>
                </a:cubicBezTo>
                <a:cubicBezTo>
                  <a:pt x="253" y="157"/>
                  <a:pt x="253" y="157"/>
                  <a:pt x="253" y="157"/>
                </a:cubicBezTo>
                <a:cubicBezTo>
                  <a:pt x="253" y="156"/>
                  <a:pt x="253" y="156"/>
                  <a:pt x="253" y="156"/>
                </a:cubicBezTo>
                <a:cubicBezTo>
                  <a:pt x="254" y="155"/>
                  <a:pt x="254" y="155"/>
                  <a:pt x="254" y="155"/>
                </a:cubicBezTo>
                <a:cubicBezTo>
                  <a:pt x="254" y="153"/>
                  <a:pt x="254" y="153"/>
                  <a:pt x="254" y="153"/>
                </a:cubicBezTo>
                <a:cubicBezTo>
                  <a:pt x="253" y="152"/>
                  <a:pt x="253" y="152"/>
                  <a:pt x="253" y="152"/>
                </a:cubicBezTo>
                <a:cubicBezTo>
                  <a:pt x="253" y="151"/>
                  <a:pt x="253" y="151"/>
                  <a:pt x="253" y="151"/>
                </a:cubicBezTo>
                <a:cubicBezTo>
                  <a:pt x="253" y="150"/>
                  <a:pt x="253" y="150"/>
                  <a:pt x="253" y="150"/>
                </a:cubicBezTo>
                <a:cubicBezTo>
                  <a:pt x="253" y="149"/>
                  <a:pt x="253" y="149"/>
                  <a:pt x="253" y="149"/>
                </a:cubicBezTo>
                <a:cubicBezTo>
                  <a:pt x="252" y="149"/>
                  <a:pt x="252" y="149"/>
                  <a:pt x="252" y="149"/>
                </a:cubicBezTo>
                <a:cubicBezTo>
                  <a:pt x="251" y="147"/>
                  <a:pt x="251" y="147"/>
                  <a:pt x="251" y="147"/>
                </a:cubicBezTo>
                <a:cubicBezTo>
                  <a:pt x="250" y="148"/>
                  <a:pt x="250" y="148"/>
                  <a:pt x="250" y="148"/>
                </a:cubicBezTo>
                <a:cubicBezTo>
                  <a:pt x="249" y="149"/>
                  <a:pt x="249" y="149"/>
                  <a:pt x="249" y="149"/>
                </a:cubicBezTo>
                <a:cubicBezTo>
                  <a:pt x="250" y="150"/>
                  <a:pt x="250" y="150"/>
                  <a:pt x="250" y="150"/>
                </a:cubicBezTo>
                <a:cubicBezTo>
                  <a:pt x="250" y="151"/>
                  <a:pt x="250" y="151"/>
                  <a:pt x="250" y="151"/>
                </a:cubicBezTo>
                <a:cubicBezTo>
                  <a:pt x="251" y="152"/>
                  <a:pt x="251" y="152"/>
                  <a:pt x="251" y="152"/>
                </a:cubicBezTo>
                <a:cubicBezTo>
                  <a:pt x="251" y="153"/>
                  <a:pt x="251" y="153"/>
                  <a:pt x="251" y="153"/>
                </a:cubicBezTo>
                <a:cubicBezTo>
                  <a:pt x="250" y="153"/>
                  <a:pt x="250" y="153"/>
                  <a:pt x="250" y="153"/>
                </a:cubicBezTo>
                <a:cubicBezTo>
                  <a:pt x="250" y="151"/>
                  <a:pt x="250" y="151"/>
                  <a:pt x="250" y="151"/>
                </a:cubicBezTo>
                <a:cubicBezTo>
                  <a:pt x="249" y="151"/>
                  <a:pt x="249" y="151"/>
                  <a:pt x="249" y="151"/>
                </a:cubicBezTo>
                <a:cubicBezTo>
                  <a:pt x="248" y="153"/>
                  <a:pt x="248" y="153"/>
                  <a:pt x="248" y="153"/>
                </a:cubicBezTo>
                <a:cubicBezTo>
                  <a:pt x="249" y="153"/>
                  <a:pt x="249" y="153"/>
                  <a:pt x="249" y="153"/>
                </a:cubicBezTo>
                <a:cubicBezTo>
                  <a:pt x="249" y="154"/>
                  <a:pt x="249" y="154"/>
                  <a:pt x="249" y="154"/>
                </a:cubicBezTo>
                <a:cubicBezTo>
                  <a:pt x="250" y="156"/>
                  <a:pt x="250" y="156"/>
                  <a:pt x="250" y="156"/>
                </a:cubicBezTo>
                <a:cubicBezTo>
                  <a:pt x="249" y="156"/>
                  <a:pt x="249" y="156"/>
                  <a:pt x="249" y="156"/>
                </a:cubicBezTo>
                <a:cubicBezTo>
                  <a:pt x="249" y="156"/>
                  <a:pt x="249" y="156"/>
                  <a:pt x="249" y="156"/>
                </a:cubicBezTo>
                <a:cubicBezTo>
                  <a:pt x="248" y="155"/>
                  <a:pt x="248" y="155"/>
                  <a:pt x="248" y="155"/>
                </a:cubicBezTo>
                <a:cubicBezTo>
                  <a:pt x="248" y="157"/>
                  <a:pt x="248" y="157"/>
                  <a:pt x="248" y="157"/>
                </a:cubicBezTo>
                <a:cubicBezTo>
                  <a:pt x="247" y="156"/>
                  <a:pt x="247" y="156"/>
                  <a:pt x="247" y="156"/>
                </a:cubicBezTo>
                <a:cubicBezTo>
                  <a:pt x="247" y="155"/>
                  <a:pt x="247" y="155"/>
                  <a:pt x="247" y="155"/>
                </a:cubicBezTo>
                <a:cubicBezTo>
                  <a:pt x="246" y="155"/>
                  <a:pt x="246" y="155"/>
                  <a:pt x="246" y="155"/>
                </a:cubicBezTo>
                <a:cubicBezTo>
                  <a:pt x="246" y="156"/>
                  <a:pt x="246" y="156"/>
                  <a:pt x="246" y="156"/>
                </a:cubicBezTo>
                <a:cubicBezTo>
                  <a:pt x="245" y="156"/>
                  <a:pt x="245" y="156"/>
                  <a:pt x="245" y="156"/>
                </a:cubicBezTo>
                <a:cubicBezTo>
                  <a:pt x="245" y="155"/>
                  <a:pt x="245" y="155"/>
                  <a:pt x="245" y="155"/>
                </a:cubicBezTo>
                <a:cubicBezTo>
                  <a:pt x="246" y="154"/>
                  <a:pt x="246" y="154"/>
                  <a:pt x="246" y="154"/>
                </a:cubicBezTo>
                <a:cubicBezTo>
                  <a:pt x="245" y="154"/>
                  <a:pt x="245" y="154"/>
                  <a:pt x="245" y="154"/>
                </a:cubicBezTo>
                <a:cubicBezTo>
                  <a:pt x="244" y="154"/>
                  <a:pt x="244" y="154"/>
                  <a:pt x="244" y="154"/>
                </a:cubicBezTo>
                <a:cubicBezTo>
                  <a:pt x="242" y="156"/>
                  <a:pt x="242" y="156"/>
                  <a:pt x="242" y="156"/>
                </a:cubicBezTo>
                <a:cubicBezTo>
                  <a:pt x="242" y="154"/>
                  <a:pt x="242" y="154"/>
                  <a:pt x="242" y="154"/>
                </a:cubicBezTo>
                <a:cubicBezTo>
                  <a:pt x="241" y="154"/>
                  <a:pt x="241" y="154"/>
                  <a:pt x="241" y="154"/>
                </a:cubicBezTo>
                <a:cubicBezTo>
                  <a:pt x="240" y="155"/>
                  <a:pt x="240" y="155"/>
                  <a:pt x="240" y="155"/>
                </a:cubicBezTo>
                <a:cubicBezTo>
                  <a:pt x="239" y="155"/>
                  <a:pt x="239" y="155"/>
                  <a:pt x="239" y="155"/>
                </a:cubicBezTo>
                <a:cubicBezTo>
                  <a:pt x="238" y="154"/>
                  <a:pt x="238" y="154"/>
                  <a:pt x="238" y="154"/>
                </a:cubicBezTo>
                <a:cubicBezTo>
                  <a:pt x="237" y="154"/>
                  <a:pt x="237" y="154"/>
                  <a:pt x="237" y="154"/>
                </a:cubicBezTo>
                <a:cubicBezTo>
                  <a:pt x="236" y="154"/>
                  <a:pt x="236" y="154"/>
                  <a:pt x="236" y="154"/>
                </a:cubicBezTo>
                <a:cubicBezTo>
                  <a:pt x="237" y="153"/>
                  <a:pt x="237" y="153"/>
                  <a:pt x="237" y="153"/>
                </a:cubicBezTo>
                <a:cubicBezTo>
                  <a:pt x="239" y="153"/>
                  <a:pt x="239" y="153"/>
                  <a:pt x="239" y="153"/>
                </a:cubicBezTo>
                <a:cubicBezTo>
                  <a:pt x="240" y="153"/>
                  <a:pt x="240" y="153"/>
                  <a:pt x="240" y="153"/>
                </a:cubicBezTo>
                <a:cubicBezTo>
                  <a:pt x="241" y="153"/>
                  <a:pt x="241" y="153"/>
                  <a:pt x="241" y="153"/>
                </a:cubicBezTo>
                <a:cubicBezTo>
                  <a:pt x="241" y="152"/>
                  <a:pt x="241" y="152"/>
                  <a:pt x="241" y="152"/>
                </a:cubicBezTo>
                <a:cubicBezTo>
                  <a:pt x="242" y="152"/>
                  <a:pt x="242" y="152"/>
                  <a:pt x="242" y="152"/>
                </a:cubicBezTo>
                <a:cubicBezTo>
                  <a:pt x="243" y="152"/>
                  <a:pt x="243" y="152"/>
                  <a:pt x="243" y="152"/>
                </a:cubicBezTo>
                <a:cubicBezTo>
                  <a:pt x="244" y="151"/>
                  <a:pt x="244" y="151"/>
                  <a:pt x="244" y="151"/>
                </a:cubicBezTo>
                <a:cubicBezTo>
                  <a:pt x="244" y="150"/>
                  <a:pt x="244" y="150"/>
                  <a:pt x="244" y="150"/>
                </a:cubicBezTo>
                <a:cubicBezTo>
                  <a:pt x="244" y="149"/>
                  <a:pt x="244" y="149"/>
                  <a:pt x="244" y="149"/>
                </a:cubicBezTo>
                <a:cubicBezTo>
                  <a:pt x="244" y="148"/>
                  <a:pt x="244" y="148"/>
                  <a:pt x="244" y="148"/>
                </a:cubicBezTo>
                <a:cubicBezTo>
                  <a:pt x="242" y="146"/>
                  <a:pt x="242" y="146"/>
                  <a:pt x="242" y="146"/>
                </a:cubicBezTo>
                <a:cubicBezTo>
                  <a:pt x="241" y="146"/>
                  <a:pt x="241" y="146"/>
                  <a:pt x="241" y="146"/>
                </a:cubicBezTo>
                <a:cubicBezTo>
                  <a:pt x="241" y="145"/>
                  <a:pt x="241" y="145"/>
                  <a:pt x="241" y="145"/>
                </a:cubicBezTo>
                <a:cubicBezTo>
                  <a:pt x="239" y="143"/>
                  <a:pt x="239" y="143"/>
                  <a:pt x="239" y="143"/>
                </a:cubicBezTo>
                <a:cubicBezTo>
                  <a:pt x="239" y="143"/>
                  <a:pt x="239" y="143"/>
                  <a:pt x="239" y="143"/>
                </a:cubicBezTo>
                <a:cubicBezTo>
                  <a:pt x="238" y="143"/>
                  <a:pt x="238" y="143"/>
                  <a:pt x="238" y="143"/>
                </a:cubicBezTo>
                <a:cubicBezTo>
                  <a:pt x="236" y="144"/>
                  <a:pt x="236" y="144"/>
                  <a:pt x="236" y="144"/>
                </a:cubicBezTo>
                <a:cubicBezTo>
                  <a:pt x="236" y="144"/>
                  <a:pt x="236" y="144"/>
                  <a:pt x="236" y="144"/>
                </a:cubicBezTo>
                <a:cubicBezTo>
                  <a:pt x="234" y="146"/>
                  <a:pt x="234" y="146"/>
                  <a:pt x="234" y="146"/>
                </a:cubicBezTo>
                <a:cubicBezTo>
                  <a:pt x="234" y="146"/>
                  <a:pt x="234" y="146"/>
                  <a:pt x="234" y="146"/>
                </a:cubicBezTo>
                <a:cubicBezTo>
                  <a:pt x="234" y="147"/>
                  <a:pt x="234" y="147"/>
                  <a:pt x="234" y="147"/>
                </a:cubicBezTo>
                <a:cubicBezTo>
                  <a:pt x="233" y="147"/>
                  <a:pt x="233" y="147"/>
                  <a:pt x="233" y="147"/>
                </a:cubicBezTo>
                <a:cubicBezTo>
                  <a:pt x="232" y="148"/>
                  <a:pt x="232" y="148"/>
                  <a:pt x="232" y="148"/>
                </a:cubicBezTo>
                <a:cubicBezTo>
                  <a:pt x="232" y="147"/>
                  <a:pt x="232" y="147"/>
                  <a:pt x="232" y="147"/>
                </a:cubicBezTo>
                <a:cubicBezTo>
                  <a:pt x="231" y="147"/>
                  <a:pt x="231" y="147"/>
                  <a:pt x="231" y="147"/>
                </a:cubicBezTo>
                <a:cubicBezTo>
                  <a:pt x="230" y="147"/>
                  <a:pt x="230" y="147"/>
                  <a:pt x="230" y="147"/>
                </a:cubicBezTo>
                <a:cubicBezTo>
                  <a:pt x="229" y="147"/>
                  <a:pt x="229" y="147"/>
                  <a:pt x="229" y="147"/>
                </a:cubicBezTo>
                <a:cubicBezTo>
                  <a:pt x="229" y="147"/>
                  <a:pt x="229" y="147"/>
                  <a:pt x="229" y="147"/>
                </a:cubicBezTo>
                <a:cubicBezTo>
                  <a:pt x="227" y="147"/>
                  <a:pt x="227" y="147"/>
                  <a:pt x="227" y="147"/>
                </a:cubicBezTo>
                <a:cubicBezTo>
                  <a:pt x="227" y="147"/>
                  <a:pt x="227" y="147"/>
                  <a:pt x="227" y="147"/>
                </a:cubicBezTo>
                <a:cubicBezTo>
                  <a:pt x="227" y="146"/>
                  <a:pt x="227" y="146"/>
                  <a:pt x="227" y="146"/>
                </a:cubicBezTo>
                <a:cubicBezTo>
                  <a:pt x="229" y="146"/>
                  <a:pt x="229" y="146"/>
                  <a:pt x="229" y="146"/>
                </a:cubicBezTo>
                <a:cubicBezTo>
                  <a:pt x="230" y="145"/>
                  <a:pt x="230" y="145"/>
                  <a:pt x="230" y="145"/>
                </a:cubicBezTo>
                <a:cubicBezTo>
                  <a:pt x="231" y="144"/>
                  <a:pt x="231" y="144"/>
                  <a:pt x="231" y="144"/>
                </a:cubicBezTo>
                <a:cubicBezTo>
                  <a:pt x="231" y="145"/>
                  <a:pt x="231" y="145"/>
                  <a:pt x="231" y="145"/>
                </a:cubicBezTo>
                <a:cubicBezTo>
                  <a:pt x="232" y="143"/>
                  <a:pt x="232" y="143"/>
                  <a:pt x="232" y="143"/>
                </a:cubicBezTo>
                <a:cubicBezTo>
                  <a:pt x="232" y="142"/>
                  <a:pt x="232" y="142"/>
                  <a:pt x="232" y="142"/>
                </a:cubicBezTo>
                <a:cubicBezTo>
                  <a:pt x="233" y="141"/>
                  <a:pt x="233" y="141"/>
                  <a:pt x="233" y="141"/>
                </a:cubicBezTo>
                <a:cubicBezTo>
                  <a:pt x="234" y="141"/>
                  <a:pt x="234" y="141"/>
                  <a:pt x="234" y="141"/>
                </a:cubicBezTo>
                <a:cubicBezTo>
                  <a:pt x="235" y="139"/>
                  <a:pt x="235" y="139"/>
                  <a:pt x="235" y="139"/>
                </a:cubicBezTo>
                <a:cubicBezTo>
                  <a:pt x="235" y="138"/>
                  <a:pt x="235" y="138"/>
                  <a:pt x="235" y="138"/>
                </a:cubicBezTo>
                <a:cubicBezTo>
                  <a:pt x="235" y="137"/>
                  <a:pt x="235" y="137"/>
                  <a:pt x="235" y="137"/>
                </a:cubicBezTo>
                <a:cubicBezTo>
                  <a:pt x="235" y="135"/>
                  <a:pt x="235" y="135"/>
                  <a:pt x="235" y="135"/>
                </a:cubicBezTo>
                <a:cubicBezTo>
                  <a:pt x="234" y="135"/>
                  <a:pt x="234" y="135"/>
                  <a:pt x="234" y="135"/>
                </a:cubicBezTo>
                <a:cubicBezTo>
                  <a:pt x="232" y="136"/>
                  <a:pt x="232" y="136"/>
                  <a:pt x="232" y="136"/>
                </a:cubicBezTo>
                <a:cubicBezTo>
                  <a:pt x="229" y="137"/>
                  <a:pt x="229" y="137"/>
                  <a:pt x="229" y="137"/>
                </a:cubicBezTo>
                <a:cubicBezTo>
                  <a:pt x="227" y="137"/>
                  <a:pt x="227" y="137"/>
                  <a:pt x="227" y="137"/>
                </a:cubicBezTo>
                <a:cubicBezTo>
                  <a:pt x="222" y="138"/>
                  <a:pt x="222" y="138"/>
                  <a:pt x="222" y="138"/>
                </a:cubicBezTo>
                <a:cubicBezTo>
                  <a:pt x="217" y="140"/>
                  <a:pt x="217" y="140"/>
                  <a:pt x="217" y="140"/>
                </a:cubicBezTo>
                <a:cubicBezTo>
                  <a:pt x="215" y="142"/>
                  <a:pt x="215" y="142"/>
                  <a:pt x="215" y="142"/>
                </a:cubicBezTo>
                <a:cubicBezTo>
                  <a:pt x="212" y="142"/>
                  <a:pt x="212" y="142"/>
                  <a:pt x="212" y="142"/>
                </a:cubicBezTo>
                <a:cubicBezTo>
                  <a:pt x="207" y="145"/>
                  <a:pt x="207" y="145"/>
                  <a:pt x="207" y="145"/>
                </a:cubicBezTo>
                <a:cubicBezTo>
                  <a:pt x="206" y="146"/>
                  <a:pt x="206" y="146"/>
                  <a:pt x="206" y="146"/>
                </a:cubicBezTo>
                <a:cubicBezTo>
                  <a:pt x="206" y="147"/>
                  <a:pt x="206" y="147"/>
                  <a:pt x="206" y="147"/>
                </a:cubicBezTo>
                <a:cubicBezTo>
                  <a:pt x="207" y="147"/>
                  <a:pt x="207" y="147"/>
                  <a:pt x="207" y="147"/>
                </a:cubicBezTo>
                <a:cubicBezTo>
                  <a:pt x="207" y="148"/>
                  <a:pt x="207" y="148"/>
                  <a:pt x="207" y="148"/>
                </a:cubicBezTo>
                <a:cubicBezTo>
                  <a:pt x="206" y="148"/>
                  <a:pt x="206" y="148"/>
                  <a:pt x="206" y="148"/>
                </a:cubicBezTo>
                <a:cubicBezTo>
                  <a:pt x="205" y="148"/>
                  <a:pt x="205" y="148"/>
                  <a:pt x="205" y="148"/>
                </a:cubicBezTo>
                <a:cubicBezTo>
                  <a:pt x="203" y="150"/>
                  <a:pt x="203" y="150"/>
                  <a:pt x="203" y="150"/>
                </a:cubicBezTo>
                <a:cubicBezTo>
                  <a:pt x="201" y="150"/>
                  <a:pt x="201" y="150"/>
                  <a:pt x="201" y="150"/>
                </a:cubicBezTo>
                <a:cubicBezTo>
                  <a:pt x="200" y="151"/>
                  <a:pt x="200" y="151"/>
                  <a:pt x="200" y="151"/>
                </a:cubicBezTo>
                <a:cubicBezTo>
                  <a:pt x="200" y="152"/>
                  <a:pt x="200" y="152"/>
                  <a:pt x="200" y="152"/>
                </a:cubicBezTo>
                <a:cubicBezTo>
                  <a:pt x="198" y="153"/>
                  <a:pt x="198" y="153"/>
                  <a:pt x="198" y="153"/>
                </a:cubicBezTo>
                <a:cubicBezTo>
                  <a:pt x="198" y="154"/>
                  <a:pt x="198" y="154"/>
                  <a:pt x="198" y="154"/>
                </a:cubicBezTo>
                <a:cubicBezTo>
                  <a:pt x="198" y="156"/>
                  <a:pt x="198" y="156"/>
                  <a:pt x="198" y="156"/>
                </a:cubicBezTo>
                <a:cubicBezTo>
                  <a:pt x="198" y="156"/>
                  <a:pt x="198" y="156"/>
                  <a:pt x="198" y="156"/>
                </a:cubicBezTo>
                <a:cubicBezTo>
                  <a:pt x="199" y="156"/>
                  <a:pt x="199" y="156"/>
                  <a:pt x="199" y="156"/>
                </a:cubicBezTo>
                <a:cubicBezTo>
                  <a:pt x="199" y="157"/>
                  <a:pt x="199" y="157"/>
                  <a:pt x="199" y="157"/>
                </a:cubicBezTo>
                <a:cubicBezTo>
                  <a:pt x="199" y="157"/>
                  <a:pt x="199" y="157"/>
                  <a:pt x="199" y="157"/>
                </a:cubicBezTo>
                <a:cubicBezTo>
                  <a:pt x="200" y="157"/>
                  <a:pt x="200" y="157"/>
                  <a:pt x="200" y="157"/>
                </a:cubicBezTo>
                <a:cubicBezTo>
                  <a:pt x="201" y="157"/>
                  <a:pt x="201" y="157"/>
                  <a:pt x="201" y="157"/>
                </a:cubicBezTo>
                <a:cubicBezTo>
                  <a:pt x="202" y="157"/>
                  <a:pt x="202" y="157"/>
                  <a:pt x="202" y="157"/>
                </a:cubicBezTo>
                <a:cubicBezTo>
                  <a:pt x="203" y="157"/>
                  <a:pt x="203" y="157"/>
                  <a:pt x="203" y="157"/>
                </a:cubicBezTo>
                <a:cubicBezTo>
                  <a:pt x="203" y="158"/>
                  <a:pt x="203" y="158"/>
                  <a:pt x="203" y="158"/>
                </a:cubicBezTo>
                <a:cubicBezTo>
                  <a:pt x="201" y="159"/>
                  <a:pt x="201" y="159"/>
                  <a:pt x="201" y="159"/>
                </a:cubicBezTo>
                <a:cubicBezTo>
                  <a:pt x="200" y="158"/>
                  <a:pt x="200" y="158"/>
                  <a:pt x="200" y="158"/>
                </a:cubicBezTo>
                <a:cubicBezTo>
                  <a:pt x="199" y="159"/>
                  <a:pt x="199" y="159"/>
                  <a:pt x="199" y="159"/>
                </a:cubicBezTo>
                <a:cubicBezTo>
                  <a:pt x="199" y="160"/>
                  <a:pt x="199" y="160"/>
                  <a:pt x="199" y="160"/>
                </a:cubicBezTo>
                <a:cubicBezTo>
                  <a:pt x="201" y="161"/>
                  <a:pt x="201" y="161"/>
                  <a:pt x="201" y="161"/>
                </a:cubicBezTo>
                <a:cubicBezTo>
                  <a:pt x="202" y="160"/>
                  <a:pt x="202" y="160"/>
                  <a:pt x="202" y="160"/>
                </a:cubicBezTo>
                <a:cubicBezTo>
                  <a:pt x="202" y="159"/>
                  <a:pt x="202" y="159"/>
                  <a:pt x="202" y="159"/>
                </a:cubicBezTo>
                <a:cubicBezTo>
                  <a:pt x="203" y="159"/>
                  <a:pt x="203" y="159"/>
                  <a:pt x="203" y="159"/>
                </a:cubicBezTo>
                <a:cubicBezTo>
                  <a:pt x="204" y="160"/>
                  <a:pt x="204" y="160"/>
                  <a:pt x="204" y="160"/>
                </a:cubicBezTo>
                <a:cubicBezTo>
                  <a:pt x="203" y="161"/>
                  <a:pt x="203" y="161"/>
                  <a:pt x="203" y="161"/>
                </a:cubicBezTo>
                <a:cubicBezTo>
                  <a:pt x="204" y="161"/>
                  <a:pt x="204" y="161"/>
                  <a:pt x="204" y="161"/>
                </a:cubicBezTo>
                <a:cubicBezTo>
                  <a:pt x="206" y="161"/>
                  <a:pt x="206" y="161"/>
                  <a:pt x="206" y="161"/>
                </a:cubicBezTo>
                <a:cubicBezTo>
                  <a:pt x="208" y="161"/>
                  <a:pt x="208" y="161"/>
                  <a:pt x="208" y="161"/>
                </a:cubicBezTo>
                <a:cubicBezTo>
                  <a:pt x="209" y="161"/>
                  <a:pt x="209" y="161"/>
                  <a:pt x="209" y="161"/>
                </a:cubicBezTo>
                <a:cubicBezTo>
                  <a:pt x="211" y="161"/>
                  <a:pt x="211" y="161"/>
                  <a:pt x="211" y="161"/>
                </a:cubicBezTo>
                <a:cubicBezTo>
                  <a:pt x="212" y="161"/>
                  <a:pt x="212" y="161"/>
                  <a:pt x="212" y="161"/>
                </a:cubicBezTo>
                <a:cubicBezTo>
                  <a:pt x="214" y="162"/>
                  <a:pt x="214" y="162"/>
                  <a:pt x="214" y="162"/>
                </a:cubicBezTo>
                <a:cubicBezTo>
                  <a:pt x="214" y="163"/>
                  <a:pt x="214" y="163"/>
                  <a:pt x="214" y="163"/>
                </a:cubicBezTo>
                <a:cubicBezTo>
                  <a:pt x="215" y="163"/>
                  <a:pt x="215" y="163"/>
                  <a:pt x="215" y="163"/>
                </a:cubicBezTo>
                <a:cubicBezTo>
                  <a:pt x="215" y="163"/>
                  <a:pt x="215" y="163"/>
                  <a:pt x="215" y="163"/>
                </a:cubicBezTo>
                <a:cubicBezTo>
                  <a:pt x="214" y="163"/>
                  <a:pt x="214" y="163"/>
                  <a:pt x="214" y="163"/>
                </a:cubicBezTo>
                <a:cubicBezTo>
                  <a:pt x="212" y="162"/>
                  <a:pt x="212" y="162"/>
                  <a:pt x="212" y="162"/>
                </a:cubicBezTo>
                <a:cubicBezTo>
                  <a:pt x="210" y="162"/>
                  <a:pt x="210" y="162"/>
                  <a:pt x="210" y="162"/>
                </a:cubicBezTo>
                <a:cubicBezTo>
                  <a:pt x="209" y="163"/>
                  <a:pt x="209" y="163"/>
                  <a:pt x="209" y="163"/>
                </a:cubicBezTo>
                <a:cubicBezTo>
                  <a:pt x="211" y="163"/>
                  <a:pt x="211" y="163"/>
                  <a:pt x="211" y="163"/>
                </a:cubicBezTo>
                <a:cubicBezTo>
                  <a:pt x="211" y="164"/>
                  <a:pt x="211" y="164"/>
                  <a:pt x="211" y="164"/>
                </a:cubicBezTo>
                <a:cubicBezTo>
                  <a:pt x="209" y="164"/>
                  <a:pt x="209" y="164"/>
                  <a:pt x="209" y="164"/>
                </a:cubicBezTo>
                <a:cubicBezTo>
                  <a:pt x="208" y="163"/>
                  <a:pt x="208" y="163"/>
                  <a:pt x="208" y="163"/>
                </a:cubicBezTo>
                <a:cubicBezTo>
                  <a:pt x="206" y="164"/>
                  <a:pt x="206" y="164"/>
                  <a:pt x="206" y="164"/>
                </a:cubicBezTo>
                <a:cubicBezTo>
                  <a:pt x="205" y="164"/>
                  <a:pt x="205" y="164"/>
                  <a:pt x="205" y="164"/>
                </a:cubicBezTo>
                <a:cubicBezTo>
                  <a:pt x="204" y="164"/>
                  <a:pt x="204" y="164"/>
                  <a:pt x="204" y="164"/>
                </a:cubicBezTo>
                <a:cubicBezTo>
                  <a:pt x="203" y="164"/>
                  <a:pt x="203" y="164"/>
                  <a:pt x="203" y="164"/>
                </a:cubicBezTo>
                <a:cubicBezTo>
                  <a:pt x="202" y="164"/>
                  <a:pt x="202" y="164"/>
                  <a:pt x="202" y="164"/>
                </a:cubicBezTo>
                <a:cubicBezTo>
                  <a:pt x="201" y="164"/>
                  <a:pt x="201" y="164"/>
                  <a:pt x="201" y="164"/>
                </a:cubicBezTo>
                <a:cubicBezTo>
                  <a:pt x="198" y="164"/>
                  <a:pt x="198" y="164"/>
                  <a:pt x="198" y="164"/>
                </a:cubicBezTo>
                <a:cubicBezTo>
                  <a:pt x="198" y="164"/>
                  <a:pt x="198" y="164"/>
                  <a:pt x="198" y="164"/>
                </a:cubicBezTo>
                <a:cubicBezTo>
                  <a:pt x="196" y="165"/>
                  <a:pt x="196" y="165"/>
                  <a:pt x="196" y="165"/>
                </a:cubicBezTo>
                <a:cubicBezTo>
                  <a:pt x="195" y="166"/>
                  <a:pt x="195" y="166"/>
                  <a:pt x="195" y="166"/>
                </a:cubicBezTo>
                <a:cubicBezTo>
                  <a:pt x="196" y="170"/>
                  <a:pt x="196" y="170"/>
                  <a:pt x="196" y="170"/>
                </a:cubicBezTo>
                <a:cubicBezTo>
                  <a:pt x="196" y="170"/>
                  <a:pt x="196" y="170"/>
                  <a:pt x="196" y="170"/>
                </a:cubicBezTo>
                <a:cubicBezTo>
                  <a:pt x="196" y="172"/>
                  <a:pt x="196" y="172"/>
                  <a:pt x="196" y="172"/>
                </a:cubicBezTo>
                <a:cubicBezTo>
                  <a:pt x="195" y="172"/>
                  <a:pt x="195" y="172"/>
                  <a:pt x="195" y="172"/>
                </a:cubicBezTo>
                <a:cubicBezTo>
                  <a:pt x="195" y="173"/>
                  <a:pt x="195" y="173"/>
                  <a:pt x="195" y="173"/>
                </a:cubicBezTo>
                <a:cubicBezTo>
                  <a:pt x="196" y="173"/>
                  <a:pt x="196" y="173"/>
                  <a:pt x="196" y="173"/>
                </a:cubicBezTo>
                <a:cubicBezTo>
                  <a:pt x="197" y="173"/>
                  <a:pt x="197" y="173"/>
                  <a:pt x="197" y="173"/>
                </a:cubicBezTo>
                <a:cubicBezTo>
                  <a:pt x="198" y="173"/>
                  <a:pt x="198" y="173"/>
                  <a:pt x="198" y="173"/>
                </a:cubicBezTo>
                <a:cubicBezTo>
                  <a:pt x="198" y="174"/>
                  <a:pt x="198" y="174"/>
                  <a:pt x="198" y="174"/>
                </a:cubicBezTo>
                <a:cubicBezTo>
                  <a:pt x="200" y="174"/>
                  <a:pt x="200" y="174"/>
                  <a:pt x="200" y="174"/>
                </a:cubicBezTo>
                <a:cubicBezTo>
                  <a:pt x="200" y="173"/>
                  <a:pt x="200" y="173"/>
                  <a:pt x="200" y="173"/>
                </a:cubicBezTo>
                <a:cubicBezTo>
                  <a:pt x="200" y="173"/>
                  <a:pt x="200" y="173"/>
                  <a:pt x="200" y="173"/>
                </a:cubicBezTo>
                <a:cubicBezTo>
                  <a:pt x="201" y="174"/>
                  <a:pt x="201" y="174"/>
                  <a:pt x="201" y="174"/>
                </a:cubicBezTo>
                <a:cubicBezTo>
                  <a:pt x="201" y="174"/>
                  <a:pt x="201" y="174"/>
                  <a:pt x="201" y="174"/>
                </a:cubicBezTo>
                <a:cubicBezTo>
                  <a:pt x="202" y="174"/>
                  <a:pt x="202" y="174"/>
                  <a:pt x="202" y="174"/>
                </a:cubicBezTo>
                <a:cubicBezTo>
                  <a:pt x="203" y="174"/>
                  <a:pt x="203" y="174"/>
                  <a:pt x="203" y="174"/>
                </a:cubicBezTo>
                <a:cubicBezTo>
                  <a:pt x="203" y="175"/>
                  <a:pt x="203" y="175"/>
                  <a:pt x="203" y="175"/>
                </a:cubicBezTo>
                <a:cubicBezTo>
                  <a:pt x="204" y="175"/>
                  <a:pt x="204" y="175"/>
                  <a:pt x="204" y="175"/>
                </a:cubicBezTo>
                <a:cubicBezTo>
                  <a:pt x="205" y="175"/>
                  <a:pt x="205" y="175"/>
                  <a:pt x="205" y="175"/>
                </a:cubicBezTo>
                <a:cubicBezTo>
                  <a:pt x="205" y="175"/>
                  <a:pt x="205" y="175"/>
                  <a:pt x="205" y="175"/>
                </a:cubicBezTo>
                <a:cubicBezTo>
                  <a:pt x="206" y="176"/>
                  <a:pt x="206" y="176"/>
                  <a:pt x="206" y="176"/>
                </a:cubicBezTo>
                <a:cubicBezTo>
                  <a:pt x="207" y="176"/>
                  <a:pt x="207" y="176"/>
                  <a:pt x="207" y="176"/>
                </a:cubicBezTo>
                <a:cubicBezTo>
                  <a:pt x="208" y="176"/>
                  <a:pt x="208" y="176"/>
                  <a:pt x="208" y="176"/>
                </a:cubicBezTo>
                <a:cubicBezTo>
                  <a:pt x="209" y="176"/>
                  <a:pt x="209" y="176"/>
                  <a:pt x="209" y="176"/>
                </a:cubicBezTo>
                <a:cubicBezTo>
                  <a:pt x="210" y="175"/>
                  <a:pt x="210" y="175"/>
                  <a:pt x="210" y="175"/>
                </a:cubicBezTo>
                <a:cubicBezTo>
                  <a:pt x="211" y="176"/>
                  <a:pt x="211" y="176"/>
                  <a:pt x="211" y="176"/>
                </a:cubicBezTo>
                <a:cubicBezTo>
                  <a:pt x="213" y="176"/>
                  <a:pt x="213" y="176"/>
                  <a:pt x="213" y="176"/>
                </a:cubicBezTo>
                <a:cubicBezTo>
                  <a:pt x="214" y="176"/>
                  <a:pt x="214" y="176"/>
                  <a:pt x="214" y="176"/>
                </a:cubicBezTo>
                <a:cubicBezTo>
                  <a:pt x="215" y="176"/>
                  <a:pt x="215" y="176"/>
                  <a:pt x="215" y="176"/>
                </a:cubicBezTo>
                <a:cubicBezTo>
                  <a:pt x="215" y="177"/>
                  <a:pt x="215" y="177"/>
                  <a:pt x="215" y="177"/>
                </a:cubicBezTo>
                <a:cubicBezTo>
                  <a:pt x="216" y="176"/>
                  <a:pt x="216" y="176"/>
                  <a:pt x="216" y="176"/>
                </a:cubicBezTo>
                <a:cubicBezTo>
                  <a:pt x="216" y="177"/>
                  <a:pt x="216" y="177"/>
                  <a:pt x="216" y="177"/>
                </a:cubicBezTo>
                <a:cubicBezTo>
                  <a:pt x="217" y="178"/>
                  <a:pt x="217" y="178"/>
                  <a:pt x="217" y="178"/>
                </a:cubicBezTo>
                <a:cubicBezTo>
                  <a:pt x="217" y="179"/>
                  <a:pt x="217" y="179"/>
                  <a:pt x="217" y="179"/>
                </a:cubicBezTo>
                <a:cubicBezTo>
                  <a:pt x="218" y="179"/>
                  <a:pt x="218" y="179"/>
                  <a:pt x="218" y="179"/>
                </a:cubicBezTo>
                <a:cubicBezTo>
                  <a:pt x="219" y="179"/>
                  <a:pt x="219" y="179"/>
                  <a:pt x="219" y="179"/>
                </a:cubicBezTo>
                <a:cubicBezTo>
                  <a:pt x="220" y="180"/>
                  <a:pt x="220" y="180"/>
                  <a:pt x="220" y="180"/>
                </a:cubicBezTo>
                <a:cubicBezTo>
                  <a:pt x="220" y="181"/>
                  <a:pt x="220" y="181"/>
                  <a:pt x="220" y="181"/>
                </a:cubicBezTo>
                <a:cubicBezTo>
                  <a:pt x="221" y="181"/>
                  <a:pt x="221" y="181"/>
                  <a:pt x="221" y="181"/>
                </a:cubicBezTo>
                <a:cubicBezTo>
                  <a:pt x="221" y="182"/>
                  <a:pt x="221" y="182"/>
                  <a:pt x="221" y="182"/>
                </a:cubicBezTo>
                <a:cubicBezTo>
                  <a:pt x="221" y="182"/>
                  <a:pt x="221" y="182"/>
                  <a:pt x="221" y="182"/>
                </a:cubicBezTo>
                <a:cubicBezTo>
                  <a:pt x="221" y="183"/>
                  <a:pt x="221" y="183"/>
                  <a:pt x="221" y="183"/>
                </a:cubicBezTo>
                <a:cubicBezTo>
                  <a:pt x="222" y="184"/>
                  <a:pt x="222" y="184"/>
                  <a:pt x="222" y="184"/>
                </a:cubicBezTo>
                <a:cubicBezTo>
                  <a:pt x="224" y="185"/>
                  <a:pt x="224" y="185"/>
                  <a:pt x="224" y="185"/>
                </a:cubicBezTo>
                <a:cubicBezTo>
                  <a:pt x="224" y="186"/>
                  <a:pt x="224" y="186"/>
                  <a:pt x="224" y="186"/>
                </a:cubicBezTo>
                <a:cubicBezTo>
                  <a:pt x="223" y="186"/>
                  <a:pt x="223" y="186"/>
                  <a:pt x="223" y="186"/>
                </a:cubicBezTo>
                <a:cubicBezTo>
                  <a:pt x="224" y="187"/>
                  <a:pt x="224" y="187"/>
                  <a:pt x="224" y="187"/>
                </a:cubicBezTo>
                <a:cubicBezTo>
                  <a:pt x="223" y="187"/>
                  <a:pt x="223" y="187"/>
                  <a:pt x="223" y="187"/>
                </a:cubicBezTo>
                <a:cubicBezTo>
                  <a:pt x="221" y="186"/>
                  <a:pt x="221" y="186"/>
                  <a:pt x="221" y="186"/>
                </a:cubicBezTo>
                <a:cubicBezTo>
                  <a:pt x="219" y="185"/>
                  <a:pt x="219" y="185"/>
                  <a:pt x="219" y="185"/>
                </a:cubicBezTo>
                <a:cubicBezTo>
                  <a:pt x="218" y="186"/>
                  <a:pt x="218" y="186"/>
                  <a:pt x="218" y="186"/>
                </a:cubicBezTo>
                <a:cubicBezTo>
                  <a:pt x="217" y="185"/>
                  <a:pt x="217" y="185"/>
                  <a:pt x="217" y="185"/>
                </a:cubicBezTo>
                <a:cubicBezTo>
                  <a:pt x="217" y="186"/>
                  <a:pt x="217" y="186"/>
                  <a:pt x="217" y="186"/>
                </a:cubicBezTo>
                <a:cubicBezTo>
                  <a:pt x="216" y="186"/>
                  <a:pt x="216" y="186"/>
                  <a:pt x="216" y="186"/>
                </a:cubicBezTo>
                <a:cubicBezTo>
                  <a:pt x="215" y="185"/>
                  <a:pt x="215" y="185"/>
                  <a:pt x="215" y="185"/>
                </a:cubicBezTo>
                <a:cubicBezTo>
                  <a:pt x="214" y="185"/>
                  <a:pt x="214" y="185"/>
                  <a:pt x="214" y="185"/>
                </a:cubicBezTo>
                <a:cubicBezTo>
                  <a:pt x="214" y="184"/>
                  <a:pt x="214" y="184"/>
                  <a:pt x="214" y="184"/>
                </a:cubicBezTo>
                <a:cubicBezTo>
                  <a:pt x="213" y="183"/>
                  <a:pt x="213" y="183"/>
                  <a:pt x="213" y="183"/>
                </a:cubicBezTo>
                <a:cubicBezTo>
                  <a:pt x="212" y="184"/>
                  <a:pt x="212" y="184"/>
                  <a:pt x="212" y="184"/>
                </a:cubicBezTo>
                <a:cubicBezTo>
                  <a:pt x="211" y="183"/>
                  <a:pt x="211" y="183"/>
                  <a:pt x="211" y="183"/>
                </a:cubicBezTo>
                <a:cubicBezTo>
                  <a:pt x="210" y="183"/>
                  <a:pt x="210" y="183"/>
                  <a:pt x="210" y="183"/>
                </a:cubicBezTo>
                <a:cubicBezTo>
                  <a:pt x="209" y="182"/>
                  <a:pt x="209" y="182"/>
                  <a:pt x="209" y="182"/>
                </a:cubicBezTo>
                <a:cubicBezTo>
                  <a:pt x="209" y="181"/>
                  <a:pt x="209" y="181"/>
                  <a:pt x="209" y="181"/>
                </a:cubicBezTo>
                <a:cubicBezTo>
                  <a:pt x="208" y="181"/>
                  <a:pt x="208" y="181"/>
                  <a:pt x="208" y="181"/>
                </a:cubicBezTo>
                <a:cubicBezTo>
                  <a:pt x="208" y="181"/>
                  <a:pt x="208" y="181"/>
                  <a:pt x="208" y="181"/>
                </a:cubicBezTo>
                <a:cubicBezTo>
                  <a:pt x="206" y="181"/>
                  <a:pt x="206" y="181"/>
                  <a:pt x="206" y="181"/>
                </a:cubicBezTo>
                <a:cubicBezTo>
                  <a:pt x="206" y="181"/>
                  <a:pt x="206" y="181"/>
                  <a:pt x="206" y="181"/>
                </a:cubicBezTo>
                <a:cubicBezTo>
                  <a:pt x="203" y="181"/>
                  <a:pt x="203" y="181"/>
                  <a:pt x="203" y="181"/>
                </a:cubicBezTo>
                <a:cubicBezTo>
                  <a:pt x="201" y="181"/>
                  <a:pt x="201" y="181"/>
                  <a:pt x="201" y="181"/>
                </a:cubicBezTo>
                <a:cubicBezTo>
                  <a:pt x="200" y="180"/>
                  <a:pt x="200" y="180"/>
                  <a:pt x="200" y="180"/>
                </a:cubicBezTo>
                <a:cubicBezTo>
                  <a:pt x="195" y="180"/>
                  <a:pt x="195" y="180"/>
                  <a:pt x="195" y="180"/>
                </a:cubicBezTo>
                <a:cubicBezTo>
                  <a:pt x="194" y="181"/>
                  <a:pt x="194" y="181"/>
                  <a:pt x="194" y="181"/>
                </a:cubicBezTo>
                <a:cubicBezTo>
                  <a:pt x="193" y="181"/>
                  <a:pt x="193" y="181"/>
                  <a:pt x="193" y="181"/>
                </a:cubicBezTo>
                <a:cubicBezTo>
                  <a:pt x="192" y="182"/>
                  <a:pt x="192" y="182"/>
                  <a:pt x="192" y="182"/>
                </a:cubicBezTo>
                <a:cubicBezTo>
                  <a:pt x="192" y="184"/>
                  <a:pt x="192" y="184"/>
                  <a:pt x="192" y="184"/>
                </a:cubicBezTo>
                <a:cubicBezTo>
                  <a:pt x="191" y="186"/>
                  <a:pt x="191" y="186"/>
                  <a:pt x="191" y="186"/>
                </a:cubicBezTo>
                <a:cubicBezTo>
                  <a:pt x="191" y="188"/>
                  <a:pt x="191" y="188"/>
                  <a:pt x="191" y="188"/>
                </a:cubicBezTo>
                <a:cubicBezTo>
                  <a:pt x="191" y="188"/>
                  <a:pt x="191" y="188"/>
                  <a:pt x="191" y="188"/>
                </a:cubicBezTo>
                <a:cubicBezTo>
                  <a:pt x="191" y="189"/>
                  <a:pt x="191" y="189"/>
                  <a:pt x="191" y="189"/>
                </a:cubicBezTo>
                <a:cubicBezTo>
                  <a:pt x="192" y="189"/>
                  <a:pt x="192" y="189"/>
                  <a:pt x="192" y="189"/>
                </a:cubicBezTo>
                <a:cubicBezTo>
                  <a:pt x="192" y="190"/>
                  <a:pt x="192" y="190"/>
                  <a:pt x="192" y="190"/>
                </a:cubicBezTo>
                <a:cubicBezTo>
                  <a:pt x="191" y="190"/>
                  <a:pt x="191" y="190"/>
                  <a:pt x="191" y="190"/>
                </a:cubicBezTo>
                <a:cubicBezTo>
                  <a:pt x="192" y="193"/>
                  <a:pt x="192" y="193"/>
                  <a:pt x="192" y="193"/>
                </a:cubicBezTo>
                <a:cubicBezTo>
                  <a:pt x="193" y="194"/>
                  <a:pt x="193" y="194"/>
                  <a:pt x="193" y="194"/>
                </a:cubicBezTo>
                <a:cubicBezTo>
                  <a:pt x="194" y="194"/>
                  <a:pt x="194" y="194"/>
                  <a:pt x="194" y="194"/>
                </a:cubicBezTo>
                <a:cubicBezTo>
                  <a:pt x="195" y="195"/>
                  <a:pt x="195" y="195"/>
                  <a:pt x="195" y="195"/>
                </a:cubicBezTo>
                <a:cubicBezTo>
                  <a:pt x="196" y="196"/>
                  <a:pt x="196" y="196"/>
                  <a:pt x="196" y="196"/>
                </a:cubicBezTo>
                <a:cubicBezTo>
                  <a:pt x="197" y="196"/>
                  <a:pt x="197" y="196"/>
                  <a:pt x="197" y="196"/>
                </a:cubicBezTo>
                <a:cubicBezTo>
                  <a:pt x="198" y="196"/>
                  <a:pt x="198" y="196"/>
                  <a:pt x="198" y="196"/>
                </a:cubicBezTo>
                <a:cubicBezTo>
                  <a:pt x="198" y="197"/>
                  <a:pt x="198" y="197"/>
                  <a:pt x="198" y="197"/>
                </a:cubicBezTo>
                <a:cubicBezTo>
                  <a:pt x="200" y="196"/>
                  <a:pt x="200" y="196"/>
                  <a:pt x="200" y="196"/>
                </a:cubicBezTo>
                <a:cubicBezTo>
                  <a:pt x="200" y="196"/>
                  <a:pt x="200" y="196"/>
                  <a:pt x="200" y="196"/>
                </a:cubicBezTo>
                <a:cubicBezTo>
                  <a:pt x="201" y="197"/>
                  <a:pt x="201" y="197"/>
                  <a:pt x="201" y="197"/>
                </a:cubicBezTo>
                <a:cubicBezTo>
                  <a:pt x="203" y="197"/>
                  <a:pt x="203" y="197"/>
                  <a:pt x="203" y="197"/>
                </a:cubicBezTo>
                <a:cubicBezTo>
                  <a:pt x="203" y="198"/>
                  <a:pt x="203" y="198"/>
                  <a:pt x="203" y="198"/>
                </a:cubicBezTo>
                <a:cubicBezTo>
                  <a:pt x="204" y="199"/>
                  <a:pt x="204" y="199"/>
                  <a:pt x="204" y="199"/>
                </a:cubicBezTo>
                <a:cubicBezTo>
                  <a:pt x="204" y="199"/>
                  <a:pt x="204" y="199"/>
                  <a:pt x="204" y="199"/>
                </a:cubicBezTo>
                <a:cubicBezTo>
                  <a:pt x="203" y="200"/>
                  <a:pt x="203" y="200"/>
                  <a:pt x="203" y="200"/>
                </a:cubicBezTo>
                <a:cubicBezTo>
                  <a:pt x="203" y="201"/>
                  <a:pt x="203" y="201"/>
                  <a:pt x="203" y="201"/>
                </a:cubicBezTo>
                <a:cubicBezTo>
                  <a:pt x="203" y="201"/>
                  <a:pt x="203" y="201"/>
                  <a:pt x="203" y="201"/>
                </a:cubicBezTo>
                <a:cubicBezTo>
                  <a:pt x="203" y="202"/>
                  <a:pt x="203" y="202"/>
                  <a:pt x="203" y="202"/>
                </a:cubicBezTo>
                <a:cubicBezTo>
                  <a:pt x="202" y="203"/>
                  <a:pt x="202" y="203"/>
                  <a:pt x="202" y="203"/>
                </a:cubicBezTo>
                <a:cubicBezTo>
                  <a:pt x="201" y="203"/>
                  <a:pt x="201" y="203"/>
                  <a:pt x="201" y="203"/>
                </a:cubicBezTo>
                <a:cubicBezTo>
                  <a:pt x="201" y="204"/>
                  <a:pt x="201" y="204"/>
                  <a:pt x="201" y="204"/>
                </a:cubicBezTo>
                <a:cubicBezTo>
                  <a:pt x="200" y="205"/>
                  <a:pt x="200" y="205"/>
                  <a:pt x="200" y="205"/>
                </a:cubicBezTo>
                <a:cubicBezTo>
                  <a:pt x="201" y="205"/>
                  <a:pt x="201" y="205"/>
                  <a:pt x="201" y="205"/>
                </a:cubicBezTo>
                <a:cubicBezTo>
                  <a:pt x="201" y="207"/>
                  <a:pt x="201" y="207"/>
                  <a:pt x="201" y="207"/>
                </a:cubicBezTo>
                <a:cubicBezTo>
                  <a:pt x="202" y="208"/>
                  <a:pt x="202" y="208"/>
                  <a:pt x="202" y="208"/>
                </a:cubicBezTo>
                <a:cubicBezTo>
                  <a:pt x="202" y="209"/>
                  <a:pt x="202" y="209"/>
                  <a:pt x="202" y="209"/>
                </a:cubicBezTo>
                <a:cubicBezTo>
                  <a:pt x="200" y="209"/>
                  <a:pt x="200" y="209"/>
                  <a:pt x="200" y="209"/>
                </a:cubicBezTo>
                <a:cubicBezTo>
                  <a:pt x="201" y="210"/>
                  <a:pt x="201" y="210"/>
                  <a:pt x="201" y="210"/>
                </a:cubicBezTo>
                <a:cubicBezTo>
                  <a:pt x="203" y="210"/>
                  <a:pt x="203" y="210"/>
                  <a:pt x="203" y="210"/>
                </a:cubicBezTo>
                <a:cubicBezTo>
                  <a:pt x="204" y="210"/>
                  <a:pt x="204" y="210"/>
                  <a:pt x="204" y="210"/>
                </a:cubicBezTo>
                <a:cubicBezTo>
                  <a:pt x="204" y="210"/>
                  <a:pt x="204" y="210"/>
                  <a:pt x="204" y="210"/>
                </a:cubicBezTo>
                <a:cubicBezTo>
                  <a:pt x="205" y="211"/>
                  <a:pt x="205" y="211"/>
                  <a:pt x="205" y="211"/>
                </a:cubicBezTo>
                <a:cubicBezTo>
                  <a:pt x="205" y="210"/>
                  <a:pt x="205" y="210"/>
                  <a:pt x="205" y="210"/>
                </a:cubicBezTo>
                <a:cubicBezTo>
                  <a:pt x="206" y="210"/>
                  <a:pt x="206" y="210"/>
                  <a:pt x="206" y="210"/>
                </a:cubicBezTo>
                <a:cubicBezTo>
                  <a:pt x="206" y="210"/>
                  <a:pt x="206" y="210"/>
                  <a:pt x="206" y="210"/>
                </a:cubicBezTo>
                <a:cubicBezTo>
                  <a:pt x="208" y="210"/>
                  <a:pt x="208" y="210"/>
                  <a:pt x="208" y="210"/>
                </a:cubicBezTo>
                <a:cubicBezTo>
                  <a:pt x="210" y="211"/>
                  <a:pt x="210" y="211"/>
                  <a:pt x="210" y="211"/>
                </a:cubicBezTo>
                <a:cubicBezTo>
                  <a:pt x="211" y="210"/>
                  <a:pt x="211" y="210"/>
                  <a:pt x="211" y="210"/>
                </a:cubicBezTo>
                <a:cubicBezTo>
                  <a:pt x="212" y="210"/>
                  <a:pt x="212" y="210"/>
                  <a:pt x="212" y="210"/>
                </a:cubicBezTo>
                <a:cubicBezTo>
                  <a:pt x="213" y="211"/>
                  <a:pt x="213" y="211"/>
                  <a:pt x="213" y="211"/>
                </a:cubicBezTo>
                <a:cubicBezTo>
                  <a:pt x="213" y="211"/>
                  <a:pt x="213" y="211"/>
                  <a:pt x="213" y="211"/>
                </a:cubicBezTo>
                <a:cubicBezTo>
                  <a:pt x="213" y="211"/>
                  <a:pt x="213" y="211"/>
                  <a:pt x="213" y="211"/>
                </a:cubicBezTo>
                <a:cubicBezTo>
                  <a:pt x="214" y="210"/>
                  <a:pt x="214" y="210"/>
                  <a:pt x="214" y="210"/>
                </a:cubicBezTo>
                <a:cubicBezTo>
                  <a:pt x="215" y="211"/>
                  <a:pt x="215" y="211"/>
                  <a:pt x="215" y="211"/>
                </a:cubicBezTo>
                <a:cubicBezTo>
                  <a:pt x="215" y="211"/>
                  <a:pt x="215" y="211"/>
                  <a:pt x="215" y="211"/>
                </a:cubicBezTo>
                <a:cubicBezTo>
                  <a:pt x="216" y="211"/>
                  <a:pt x="216" y="211"/>
                  <a:pt x="216" y="211"/>
                </a:cubicBezTo>
                <a:cubicBezTo>
                  <a:pt x="216" y="211"/>
                  <a:pt x="216" y="211"/>
                  <a:pt x="216" y="211"/>
                </a:cubicBezTo>
                <a:cubicBezTo>
                  <a:pt x="217" y="211"/>
                  <a:pt x="217" y="211"/>
                  <a:pt x="217" y="211"/>
                </a:cubicBezTo>
                <a:cubicBezTo>
                  <a:pt x="217" y="212"/>
                  <a:pt x="217" y="212"/>
                  <a:pt x="217" y="212"/>
                </a:cubicBezTo>
                <a:cubicBezTo>
                  <a:pt x="218" y="212"/>
                  <a:pt x="218" y="212"/>
                  <a:pt x="218" y="212"/>
                </a:cubicBezTo>
                <a:cubicBezTo>
                  <a:pt x="218" y="212"/>
                  <a:pt x="218" y="212"/>
                  <a:pt x="218" y="212"/>
                </a:cubicBezTo>
                <a:cubicBezTo>
                  <a:pt x="220" y="212"/>
                  <a:pt x="220" y="212"/>
                  <a:pt x="220" y="212"/>
                </a:cubicBezTo>
                <a:cubicBezTo>
                  <a:pt x="220" y="211"/>
                  <a:pt x="220" y="211"/>
                  <a:pt x="220" y="211"/>
                </a:cubicBezTo>
                <a:cubicBezTo>
                  <a:pt x="222" y="210"/>
                  <a:pt x="222" y="210"/>
                  <a:pt x="222" y="210"/>
                </a:cubicBezTo>
                <a:cubicBezTo>
                  <a:pt x="222" y="210"/>
                  <a:pt x="222" y="210"/>
                  <a:pt x="222" y="210"/>
                </a:cubicBezTo>
                <a:cubicBezTo>
                  <a:pt x="224" y="209"/>
                  <a:pt x="224" y="209"/>
                  <a:pt x="224" y="209"/>
                </a:cubicBezTo>
                <a:cubicBezTo>
                  <a:pt x="225" y="209"/>
                  <a:pt x="225" y="209"/>
                  <a:pt x="225" y="209"/>
                </a:cubicBezTo>
                <a:cubicBezTo>
                  <a:pt x="226" y="208"/>
                  <a:pt x="226" y="208"/>
                  <a:pt x="226" y="208"/>
                </a:cubicBezTo>
                <a:cubicBezTo>
                  <a:pt x="227" y="208"/>
                  <a:pt x="227" y="208"/>
                  <a:pt x="227" y="208"/>
                </a:cubicBezTo>
                <a:cubicBezTo>
                  <a:pt x="227" y="208"/>
                  <a:pt x="227" y="208"/>
                  <a:pt x="227" y="208"/>
                </a:cubicBezTo>
                <a:cubicBezTo>
                  <a:pt x="229" y="208"/>
                  <a:pt x="229" y="208"/>
                  <a:pt x="229" y="208"/>
                </a:cubicBezTo>
                <a:cubicBezTo>
                  <a:pt x="229" y="208"/>
                  <a:pt x="229" y="208"/>
                  <a:pt x="229" y="208"/>
                </a:cubicBezTo>
                <a:cubicBezTo>
                  <a:pt x="230" y="208"/>
                  <a:pt x="230" y="208"/>
                  <a:pt x="230" y="208"/>
                </a:cubicBezTo>
                <a:cubicBezTo>
                  <a:pt x="233" y="208"/>
                  <a:pt x="233" y="208"/>
                  <a:pt x="233" y="208"/>
                </a:cubicBezTo>
                <a:cubicBezTo>
                  <a:pt x="235" y="207"/>
                  <a:pt x="235" y="207"/>
                  <a:pt x="235" y="207"/>
                </a:cubicBezTo>
                <a:cubicBezTo>
                  <a:pt x="236" y="206"/>
                  <a:pt x="236" y="206"/>
                  <a:pt x="236" y="206"/>
                </a:cubicBezTo>
                <a:cubicBezTo>
                  <a:pt x="236" y="206"/>
                  <a:pt x="236" y="206"/>
                  <a:pt x="236" y="206"/>
                </a:cubicBezTo>
                <a:cubicBezTo>
                  <a:pt x="236" y="206"/>
                  <a:pt x="236" y="206"/>
                  <a:pt x="236" y="206"/>
                </a:cubicBezTo>
                <a:cubicBezTo>
                  <a:pt x="237" y="206"/>
                  <a:pt x="237" y="206"/>
                  <a:pt x="237" y="206"/>
                </a:cubicBezTo>
                <a:cubicBezTo>
                  <a:pt x="238" y="205"/>
                  <a:pt x="238" y="205"/>
                  <a:pt x="238" y="205"/>
                </a:cubicBezTo>
                <a:cubicBezTo>
                  <a:pt x="238" y="204"/>
                  <a:pt x="238" y="204"/>
                  <a:pt x="238" y="204"/>
                </a:cubicBezTo>
                <a:cubicBezTo>
                  <a:pt x="238" y="204"/>
                  <a:pt x="238" y="204"/>
                  <a:pt x="238" y="204"/>
                </a:cubicBezTo>
                <a:cubicBezTo>
                  <a:pt x="239" y="204"/>
                  <a:pt x="239" y="204"/>
                  <a:pt x="239" y="204"/>
                </a:cubicBezTo>
                <a:cubicBezTo>
                  <a:pt x="239" y="204"/>
                  <a:pt x="239" y="204"/>
                  <a:pt x="239" y="204"/>
                </a:cubicBezTo>
                <a:cubicBezTo>
                  <a:pt x="240" y="203"/>
                  <a:pt x="240" y="203"/>
                  <a:pt x="240" y="203"/>
                </a:cubicBezTo>
                <a:cubicBezTo>
                  <a:pt x="240" y="203"/>
                  <a:pt x="240" y="203"/>
                  <a:pt x="240" y="203"/>
                </a:cubicBezTo>
                <a:cubicBezTo>
                  <a:pt x="240" y="203"/>
                  <a:pt x="240" y="203"/>
                  <a:pt x="240" y="203"/>
                </a:cubicBezTo>
                <a:cubicBezTo>
                  <a:pt x="241" y="203"/>
                  <a:pt x="241" y="203"/>
                  <a:pt x="241" y="203"/>
                </a:cubicBezTo>
                <a:cubicBezTo>
                  <a:pt x="241" y="203"/>
                  <a:pt x="241" y="203"/>
                  <a:pt x="241" y="203"/>
                </a:cubicBezTo>
                <a:cubicBezTo>
                  <a:pt x="241" y="204"/>
                  <a:pt x="241" y="204"/>
                  <a:pt x="241" y="204"/>
                </a:cubicBezTo>
                <a:cubicBezTo>
                  <a:pt x="242" y="205"/>
                  <a:pt x="242" y="205"/>
                  <a:pt x="242" y="205"/>
                </a:cubicBezTo>
                <a:cubicBezTo>
                  <a:pt x="241" y="205"/>
                  <a:pt x="241" y="205"/>
                  <a:pt x="241" y="205"/>
                </a:cubicBezTo>
                <a:cubicBezTo>
                  <a:pt x="241" y="206"/>
                  <a:pt x="241" y="206"/>
                  <a:pt x="241" y="206"/>
                </a:cubicBezTo>
                <a:cubicBezTo>
                  <a:pt x="240" y="207"/>
                  <a:pt x="240" y="207"/>
                  <a:pt x="240" y="207"/>
                </a:cubicBezTo>
                <a:cubicBezTo>
                  <a:pt x="240" y="207"/>
                  <a:pt x="240" y="207"/>
                  <a:pt x="240" y="207"/>
                </a:cubicBezTo>
                <a:cubicBezTo>
                  <a:pt x="240" y="208"/>
                  <a:pt x="240" y="208"/>
                  <a:pt x="240" y="208"/>
                </a:cubicBezTo>
                <a:cubicBezTo>
                  <a:pt x="240" y="208"/>
                  <a:pt x="240" y="208"/>
                  <a:pt x="240" y="208"/>
                </a:cubicBezTo>
                <a:cubicBezTo>
                  <a:pt x="241" y="209"/>
                  <a:pt x="241" y="209"/>
                  <a:pt x="241" y="209"/>
                </a:cubicBezTo>
                <a:cubicBezTo>
                  <a:pt x="242" y="208"/>
                  <a:pt x="242" y="208"/>
                  <a:pt x="242" y="208"/>
                </a:cubicBezTo>
                <a:cubicBezTo>
                  <a:pt x="243" y="208"/>
                  <a:pt x="243" y="208"/>
                  <a:pt x="243" y="208"/>
                </a:cubicBezTo>
                <a:cubicBezTo>
                  <a:pt x="244" y="209"/>
                  <a:pt x="244" y="209"/>
                  <a:pt x="244" y="209"/>
                </a:cubicBezTo>
                <a:cubicBezTo>
                  <a:pt x="244" y="210"/>
                  <a:pt x="244" y="210"/>
                  <a:pt x="244" y="210"/>
                </a:cubicBezTo>
                <a:cubicBezTo>
                  <a:pt x="244" y="210"/>
                  <a:pt x="244" y="210"/>
                  <a:pt x="244" y="210"/>
                </a:cubicBezTo>
                <a:cubicBezTo>
                  <a:pt x="245" y="210"/>
                  <a:pt x="245" y="210"/>
                  <a:pt x="245" y="210"/>
                </a:cubicBezTo>
                <a:cubicBezTo>
                  <a:pt x="245" y="209"/>
                  <a:pt x="245" y="209"/>
                  <a:pt x="245" y="209"/>
                </a:cubicBezTo>
                <a:cubicBezTo>
                  <a:pt x="246" y="210"/>
                  <a:pt x="246" y="210"/>
                  <a:pt x="246" y="210"/>
                </a:cubicBezTo>
                <a:cubicBezTo>
                  <a:pt x="246" y="211"/>
                  <a:pt x="246" y="211"/>
                  <a:pt x="246" y="211"/>
                </a:cubicBezTo>
                <a:cubicBezTo>
                  <a:pt x="245" y="211"/>
                  <a:pt x="245" y="211"/>
                  <a:pt x="245" y="211"/>
                </a:cubicBezTo>
                <a:cubicBezTo>
                  <a:pt x="244" y="211"/>
                  <a:pt x="244" y="211"/>
                  <a:pt x="244" y="211"/>
                </a:cubicBezTo>
                <a:cubicBezTo>
                  <a:pt x="243" y="212"/>
                  <a:pt x="243" y="212"/>
                  <a:pt x="243" y="212"/>
                </a:cubicBezTo>
                <a:cubicBezTo>
                  <a:pt x="243" y="213"/>
                  <a:pt x="243" y="213"/>
                  <a:pt x="243" y="213"/>
                </a:cubicBezTo>
                <a:cubicBezTo>
                  <a:pt x="244" y="213"/>
                  <a:pt x="244" y="213"/>
                  <a:pt x="244" y="213"/>
                </a:cubicBezTo>
                <a:cubicBezTo>
                  <a:pt x="245" y="213"/>
                  <a:pt x="245" y="213"/>
                  <a:pt x="245" y="213"/>
                </a:cubicBezTo>
                <a:cubicBezTo>
                  <a:pt x="246" y="214"/>
                  <a:pt x="246" y="214"/>
                  <a:pt x="246" y="214"/>
                </a:cubicBezTo>
                <a:cubicBezTo>
                  <a:pt x="247" y="213"/>
                  <a:pt x="247" y="213"/>
                  <a:pt x="247" y="213"/>
                </a:cubicBezTo>
                <a:cubicBezTo>
                  <a:pt x="248" y="212"/>
                  <a:pt x="248" y="212"/>
                  <a:pt x="248" y="212"/>
                </a:cubicBezTo>
                <a:cubicBezTo>
                  <a:pt x="248" y="212"/>
                  <a:pt x="248" y="212"/>
                  <a:pt x="248" y="212"/>
                </a:cubicBezTo>
                <a:cubicBezTo>
                  <a:pt x="248" y="213"/>
                  <a:pt x="248" y="213"/>
                  <a:pt x="248" y="213"/>
                </a:cubicBezTo>
                <a:cubicBezTo>
                  <a:pt x="249" y="214"/>
                  <a:pt x="249" y="214"/>
                  <a:pt x="249" y="214"/>
                </a:cubicBezTo>
                <a:cubicBezTo>
                  <a:pt x="249" y="215"/>
                  <a:pt x="249" y="215"/>
                  <a:pt x="249" y="215"/>
                </a:cubicBezTo>
                <a:cubicBezTo>
                  <a:pt x="250" y="214"/>
                  <a:pt x="250" y="214"/>
                  <a:pt x="250" y="214"/>
                </a:cubicBezTo>
                <a:cubicBezTo>
                  <a:pt x="251" y="214"/>
                  <a:pt x="251" y="214"/>
                  <a:pt x="251" y="214"/>
                </a:cubicBezTo>
                <a:cubicBezTo>
                  <a:pt x="251" y="215"/>
                  <a:pt x="251" y="215"/>
                  <a:pt x="251" y="215"/>
                </a:cubicBezTo>
                <a:cubicBezTo>
                  <a:pt x="252" y="215"/>
                  <a:pt x="252" y="215"/>
                  <a:pt x="252" y="215"/>
                </a:cubicBezTo>
                <a:cubicBezTo>
                  <a:pt x="253" y="216"/>
                  <a:pt x="253" y="216"/>
                  <a:pt x="253" y="216"/>
                </a:cubicBezTo>
                <a:cubicBezTo>
                  <a:pt x="253" y="216"/>
                  <a:pt x="253" y="216"/>
                  <a:pt x="253" y="216"/>
                </a:cubicBezTo>
                <a:cubicBezTo>
                  <a:pt x="253" y="215"/>
                  <a:pt x="253" y="215"/>
                  <a:pt x="253" y="215"/>
                </a:cubicBezTo>
                <a:cubicBezTo>
                  <a:pt x="254" y="215"/>
                  <a:pt x="254" y="215"/>
                  <a:pt x="254" y="215"/>
                </a:cubicBezTo>
                <a:cubicBezTo>
                  <a:pt x="255" y="215"/>
                  <a:pt x="255" y="215"/>
                  <a:pt x="255" y="215"/>
                </a:cubicBezTo>
                <a:cubicBezTo>
                  <a:pt x="255" y="215"/>
                  <a:pt x="255" y="215"/>
                  <a:pt x="255" y="215"/>
                </a:cubicBezTo>
                <a:cubicBezTo>
                  <a:pt x="255" y="216"/>
                  <a:pt x="255" y="216"/>
                  <a:pt x="255" y="216"/>
                </a:cubicBezTo>
                <a:cubicBezTo>
                  <a:pt x="256" y="216"/>
                  <a:pt x="256" y="216"/>
                  <a:pt x="256" y="216"/>
                </a:cubicBezTo>
                <a:cubicBezTo>
                  <a:pt x="257" y="216"/>
                  <a:pt x="257" y="216"/>
                  <a:pt x="257" y="216"/>
                </a:cubicBezTo>
                <a:cubicBezTo>
                  <a:pt x="257" y="215"/>
                  <a:pt x="257" y="215"/>
                  <a:pt x="257" y="215"/>
                </a:cubicBezTo>
                <a:cubicBezTo>
                  <a:pt x="258" y="215"/>
                  <a:pt x="258" y="215"/>
                  <a:pt x="258" y="215"/>
                </a:cubicBezTo>
                <a:cubicBezTo>
                  <a:pt x="258" y="216"/>
                  <a:pt x="258" y="216"/>
                  <a:pt x="258" y="216"/>
                </a:cubicBezTo>
                <a:cubicBezTo>
                  <a:pt x="258" y="216"/>
                  <a:pt x="258" y="216"/>
                  <a:pt x="258" y="216"/>
                </a:cubicBezTo>
                <a:cubicBezTo>
                  <a:pt x="259" y="215"/>
                  <a:pt x="259" y="215"/>
                  <a:pt x="259" y="215"/>
                </a:cubicBezTo>
                <a:cubicBezTo>
                  <a:pt x="259" y="215"/>
                  <a:pt x="259" y="215"/>
                  <a:pt x="259" y="215"/>
                </a:cubicBezTo>
                <a:cubicBezTo>
                  <a:pt x="260" y="215"/>
                  <a:pt x="260" y="215"/>
                  <a:pt x="260" y="215"/>
                </a:cubicBezTo>
                <a:cubicBezTo>
                  <a:pt x="261" y="215"/>
                  <a:pt x="261" y="215"/>
                  <a:pt x="261" y="215"/>
                </a:cubicBezTo>
                <a:cubicBezTo>
                  <a:pt x="261" y="215"/>
                  <a:pt x="261" y="215"/>
                  <a:pt x="261" y="215"/>
                </a:cubicBezTo>
                <a:cubicBezTo>
                  <a:pt x="261" y="215"/>
                  <a:pt x="261" y="215"/>
                  <a:pt x="261" y="215"/>
                </a:cubicBezTo>
                <a:cubicBezTo>
                  <a:pt x="262" y="215"/>
                  <a:pt x="262" y="215"/>
                  <a:pt x="262" y="215"/>
                </a:cubicBezTo>
                <a:close/>
                <a:moveTo>
                  <a:pt x="379" y="259"/>
                </a:moveTo>
                <a:cubicBezTo>
                  <a:pt x="380" y="258"/>
                  <a:pt x="380" y="258"/>
                  <a:pt x="380" y="258"/>
                </a:cubicBezTo>
                <a:cubicBezTo>
                  <a:pt x="379" y="257"/>
                  <a:pt x="379" y="257"/>
                  <a:pt x="379" y="257"/>
                </a:cubicBezTo>
                <a:cubicBezTo>
                  <a:pt x="379" y="256"/>
                  <a:pt x="379" y="256"/>
                  <a:pt x="379" y="256"/>
                </a:cubicBezTo>
                <a:cubicBezTo>
                  <a:pt x="379" y="255"/>
                  <a:pt x="379" y="255"/>
                  <a:pt x="379" y="255"/>
                </a:cubicBezTo>
                <a:cubicBezTo>
                  <a:pt x="381" y="253"/>
                  <a:pt x="381" y="253"/>
                  <a:pt x="381" y="253"/>
                </a:cubicBezTo>
                <a:cubicBezTo>
                  <a:pt x="382" y="252"/>
                  <a:pt x="382" y="252"/>
                  <a:pt x="382" y="252"/>
                </a:cubicBezTo>
                <a:cubicBezTo>
                  <a:pt x="383" y="251"/>
                  <a:pt x="383" y="251"/>
                  <a:pt x="383" y="251"/>
                </a:cubicBezTo>
                <a:cubicBezTo>
                  <a:pt x="385" y="248"/>
                  <a:pt x="385" y="248"/>
                  <a:pt x="385" y="248"/>
                </a:cubicBezTo>
                <a:cubicBezTo>
                  <a:pt x="386" y="248"/>
                  <a:pt x="386" y="248"/>
                  <a:pt x="386" y="248"/>
                </a:cubicBezTo>
                <a:cubicBezTo>
                  <a:pt x="386" y="248"/>
                  <a:pt x="386" y="248"/>
                  <a:pt x="386" y="248"/>
                </a:cubicBezTo>
                <a:cubicBezTo>
                  <a:pt x="387" y="247"/>
                  <a:pt x="387" y="247"/>
                  <a:pt x="387" y="247"/>
                </a:cubicBezTo>
                <a:cubicBezTo>
                  <a:pt x="388" y="247"/>
                  <a:pt x="388" y="247"/>
                  <a:pt x="388" y="247"/>
                </a:cubicBezTo>
                <a:cubicBezTo>
                  <a:pt x="389" y="247"/>
                  <a:pt x="389" y="247"/>
                  <a:pt x="389" y="247"/>
                </a:cubicBezTo>
                <a:cubicBezTo>
                  <a:pt x="390" y="247"/>
                  <a:pt x="390" y="247"/>
                  <a:pt x="390" y="247"/>
                </a:cubicBezTo>
                <a:cubicBezTo>
                  <a:pt x="391" y="248"/>
                  <a:pt x="391" y="248"/>
                  <a:pt x="391" y="248"/>
                </a:cubicBezTo>
                <a:cubicBezTo>
                  <a:pt x="391" y="248"/>
                  <a:pt x="391" y="248"/>
                  <a:pt x="391" y="248"/>
                </a:cubicBezTo>
                <a:cubicBezTo>
                  <a:pt x="392" y="249"/>
                  <a:pt x="392" y="249"/>
                  <a:pt x="392" y="249"/>
                </a:cubicBezTo>
                <a:cubicBezTo>
                  <a:pt x="393" y="250"/>
                  <a:pt x="393" y="250"/>
                  <a:pt x="393" y="250"/>
                </a:cubicBezTo>
                <a:cubicBezTo>
                  <a:pt x="393" y="251"/>
                  <a:pt x="393" y="251"/>
                  <a:pt x="393" y="251"/>
                </a:cubicBezTo>
                <a:cubicBezTo>
                  <a:pt x="392" y="252"/>
                  <a:pt x="392" y="252"/>
                  <a:pt x="392" y="252"/>
                </a:cubicBezTo>
                <a:cubicBezTo>
                  <a:pt x="391" y="253"/>
                  <a:pt x="391" y="253"/>
                  <a:pt x="391" y="253"/>
                </a:cubicBezTo>
                <a:cubicBezTo>
                  <a:pt x="391" y="254"/>
                  <a:pt x="391" y="254"/>
                  <a:pt x="391" y="254"/>
                </a:cubicBezTo>
                <a:cubicBezTo>
                  <a:pt x="389" y="257"/>
                  <a:pt x="389" y="257"/>
                  <a:pt x="389" y="257"/>
                </a:cubicBezTo>
                <a:cubicBezTo>
                  <a:pt x="389" y="258"/>
                  <a:pt x="389" y="258"/>
                  <a:pt x="389" y="258"/>
                </a:cubicBezTo>
                <a:cubicBezTo>
                  <a:pt x="388" y="258"/>
                  <a:pt x="388" y="258"/>
                  <a:pt x="388" y="258"/>
                </a:cubicBezTo>
                <a:cubicBezTo>
                  <a:pt x="386" y="259"/>
                  <a:pt x="386" y="259"/>
                  <a:pt x="386" y="259"/>
                </a:cubicBezTo>
                <a:cubicBezTo>
                  <a:pt x="386" y="259"/>
                  <a:pt x="386" y="259"/>
                  <a:pt x="386" y="259"/>
                </a:cubicBezTo>
                <a:cubicBezTo>
                  <a:pt x="385" y="260"/>
                  <a:pt x="385" y="260"/>
                  <a:pt x="385" y="260"/>
                </a:cubicBezTo>
                <a:cubicBezTo>
                  <a:pt x="384" y="260"/>
                  <a:pt x="384" y="260"/>
                  <a:pt x="384" y="260"/>
                </a:cubicBezTo>
                <a:cubicBezTo>
                  <a:pt x="383" y="260"/>
                  <a:pt x="383" y="260"/>
                  <a:pt x="383" y="260"/>
                </a:cubicBezTo>
                <a:cubicBezTo>
                  <a:pt x="381" y="260"/>
                  <a:pt x="381" y="260"/>
                  <a:pt x="381" y="260"/>
                </a:cubicBezTo>
                <a:cubicBezTo>
                  <a:pt x="380" y="260"/>
                  <a:pt x="380" y="260"/>
                  <a:pt x="380" y="260"/>
                </a:cubicBezTo>
                <a:cubicBezTo>
                  <a:pt x="379" y="260"/>
                  <a:pt x="379" y="260"/>
                  <a:pt x="379" y="260"/>
                </a:cubicBezTo>
                <a:cubicBezTo>
                  <a:pt x="379" y="259"/>
                  <a:pt x="379" y="259"/>
                  <a:pt x="379" y="259"/>
                </a:cubicBezTo>
                <a:close/>
                <a:moveTo>
                  <a:pt x="268" y="211"/>
                </a:moveTo>
                <a:cubicBezTo>
                  <a:pt x="268" y="211"/>
                  <a:pt x="268" y="211"/>
                  <a:pt x="268" y="211"/>
                </a:cubicBezTo>
                <a:cubicBezTo>
                  <a:pt x="268" y="210"/>
                  <a:pt x="268" y="210"/>
                  <a:pt x="268" y="210"/>
                </a:cubicBezTo>
                <a:cubicBezTo>
                  <a:pt x="269" y="210"/>
                  <a:pt x="269" y="210"/>
                  <a:pt x="269" y="210"/>
                </a:cubicBezTo>
                <a:cubicBezTo>
                  <a:pt x="268" y="209"/>
                  <a:pt x="268" y="209"/>
                  <a:pt x="268" y="209"/>
                </a:cubicBezTo>
                <a:cubicBezTo>
                  <a:pt x="268" y="208"/>
                  <a:pt x="268" y="208"/>
                  <a:pt x="268" y="208"/>
                </a:cubicBezTo>
                <a:cubicBezTo>
                  <a:pt x="269" y="208"/>
                  <a:pt x="269" y="208"/>
                  <a:pt x="269" y="208"/>
                </a:cubicBezTo>
                <a:cubicBezTo>
                  <a:pt x="269" y="209"/>
                  <a:pt x="269" y="209"/>
                  <a:pt x="269" y="209"/>
                </a:cubicBezTo>
                <a:cubicBezTo>
                  <a:pt x="270" y="209"/>
                  <a:pt x="270" y="209"/>
                  <a:pt x="270" y="209"/>
                </a:cubicBezTo>
                <a:cubicBezTo>
                  <a:pt x="270" y="210"/>
                  <a:pt x="270" y="210"/>
                  <a:pt x="270" y="210"/>
                </a:cubicBezTo>
                <a:cubicBezTo>
                  <a:pt x="269" y="211"/>
                  <a:pt x="269" y="211"/>
                  <a:pt x="269" y="211"/>
                </a:cubicBezTo>
                <a:cubicBezTo>
                  <a:pt x="269" y="211"/>
                  <a:pt x="269" y="211"/>
                  <a:pt x="269" y="211"/>
                </a:cubicBezTo>
                <a:cubicBezTo>
                  <a:pt x="268" y="211"/>
                  <a:pt x="268" y="211"/>
                  <a:pt x="268" y="211"/>
                </a:cubicBezTo>
                <a:cubicBezTo>
                  <a:pt x="268" y="211"/>
                  <a:pt x="268" y="211"/>
                  <a:pt x="268" y="211"/>
                </a:cubicBezTo>
                <a:close/>
                <a:moveTo>
                  <a:pt x="257" y="221"/>
                </a:moveTo>
                <a:cubicBezTo>
                  <a:pt x="258" y="220"/>
                  <a:pt x="258" y="220"/>
                  <a:pt x="258" y="220"/>
                </a:cubicBezTo>
                <a:cubicBezTo>
                  <a:pt x="258" y="220"/>
                  <a:pt x="258" y="220"/>
                  <a:pt x="258" y="220"/>
                </a:cubicBezTo>
                <a:cubicBezTo>
                  <a:pt x="258" y="219"/>
                  <a:pt x="258" y="219"/>
                  <a:pt x="258" y="219"/>
                </a:cubicBezTo>
                <a:cubicBezTo>
                  <a:pt x="259" y="218"/>
                  <a:pt x="259" y="218"/>
                  <a:pt x="259" y="218"/>
                </a:cubicBezTo>
                <a:cubicBezTo>
                  <a:pt x="258" y="218"/>
                  <a:pt x="258" y="218"/>
                  <a:pt x="258" y="218"/>
                </a:cubicBezTo>
                <a:cubicBezTo>
                  <a:pt x="257" y="219"/>
                  <a:pt x="257" y="219"/>
                  <a:pt x="257" y="219"/>
                </a:cubicBezTo>
                <a:cubicBezTo>
                  <a:pt x="257" y="219"/>
                  <a:pt x="257" y="219"/>
                  <a:pt x="257" y="219"/>
                </a:cubicBezTo>
                <a:cubicBezTo>
                  <a:pt x="256" y="219"/>
                  <a:pt x="256" y="219"/>
                  <a:pt x="256" y="219"/>
                </a:cubicBezTo>
                <a:cubicBezTo>
                  <a:pt x="256" y="219"/>
                  <a:pt x="256" y="219"/>
                  <a:pt x="256" y="219"/>
                </a:cubicBezTo>
                <a:cubicBezTo>
                  <a:pt x="257" y="221"/>
                  <a:pt x="257" y="221"/>
                  <a:pt x="257" y="221"/>
                </a:cubicBezTo>
                <a:cubicBezTo>
                  <a:pt x="257" y="221"/>
                  <a:pt x="257" y="221"/>
                  <a:pt x="257" y="221"/>
                </a:cubicBezTo>
                <a:close/>
                <a:moveTo>
                  <a:pt x="270" y="219"/>
                </a:moveTo>
                <a:cubicBezTo>
                  <a:pt x="269" y="219"/>
                  <a:pt x="269" y="219"/>
                  <a:pt x="269" y="219"/>
                </a:cubicBezTo>
                <a:cubicBezTo>
                  <a:pt x="268" y="220"/>
                  <a:pt x="268" y="220"/>
                  <a:pt x="268" y="220"/>
                </a:cubicBezTo>
                <a:cubicBezTo>
                  <a:pt x="268" y="221"/>
                  <a:pt x="268" y="221"/>
                  <a:pt x="268" y="221"/>
                </a:cubicBezTo>
                <a:cubicBezTo>
                  <a:pt x="267" y="220"/>
                  <a:pt x="267" y="220"/>
                  <a:pt x="267" y="220"/>
                </a:cubicBezTo>
                <a:cubicBezTo>
                  <a:pt x="267" y="219"/>
                  <a:pt x="267" y="219"/>
                  <a:pt x="267" y="219"/>
                </a:cubicBezTo>
                <a:cubicBezTo>
                  <a:pt x="268" y="217"/>
                  <a:pt x="268" y="217"/>
                  <a:pt x="268" y="217"/>
                </a:cubicBezTo>
                <a:cubicBezTo>
                  <a:pt x="268" y="216"/>
                  <a:pt x="268" y="216"/>
                  <a:pt x="268" y="216"/>
                </a:cubicBezTo>
                <a:cubicBezTo>
                  <a:pt x="269" y="216"/>
                  <a:pt x="269" y="216"/>
                  <a:pt x="269" y="216"/>
                </a:cubicBezTo>
                <a:cubicBezTo>
                  <a:pt x="270" y="216"/>
                  <a:pt x="270" y="216"/>
                  <a:pt x="270" y="216"/>
                </a:cubicBezTo>
                <a:cubicBezTo>
                  <a:pt x="270" y="216"/>
                  <a:pt x="270" y="216"/>
                  <a:pt x="270" y="216"/>
                </a:cubicBezTo>
                <a:cubicBezTo>
                  <a:pt x="270" y="217"/>
                  <a:pt x="270" y="217"/>
                  <a:pt x="270" y="217"/>
                </a:cubicBezTo>
                <a:cubicBezTo>
                  <a:pt x="270" y="219"/>
                  <a:pt x="270" y="219"/>
                  <a:pt x="270" y="219"/>
                </a:cubicBezTo>
                <a:close/>
                <a:moveTo>
                  <a:pt x="271" y="217"/>
                </a:moveTo>
                <a:cubicBezTo>
                  <a:pt x="271" y="216"/>
                  <a:pt x="271" y="216"/>
                  <a:pt x="271" y="216"/>
                </a:cubicBezTo>
                <a:cubicBezTo>
                  <a:pt x="271" y="216"/>
                  <a:pt x="271" y="216"/>
                  <a:pt x="271" y="216"/>
                </a:cubicBezTo>
                <a:cubicBezTo>
                  <a:pt x="271" y="214"/>
                  <a:pt x="271" y="214"/>
                  <a:pt x="271" y="214"/>
                </a:cubicBezTo>
                <a:cubicBezTo>
                  <a:pt x="272" y="214"/>
                  <a:pt x="272" y="214"/>
                  <a:pt x="272" y="214"/>
                </a:cubicBezTo>
                <a:cubicBezTo>
                  <a:pt x="273" y="215"/>
                  <a:pt x="273" y="215"/>
                  <a:pt x="273" y="215"/>
                </a:cubicBezTo>
                <a:cubicBezTo>
                  <a:pt x="272" y="216"/>
                  <a:pt x="272" y="216"/>
                  <a:pt x="272" y="216"/>
                </a:cubicBezTo>
                <a:cubicBezTo>
                  <a:pt x="272" y="217"/>
                  <a:pt x="272" y="217"/>
                  <a:pt x="272" y="217"/>
                </a:cubicBezTo>
                <a:cubicBezTo>
                  <a:pt x="272" y="217"/>
                  <a:pt x="271" y="217"/>
                  <a:pt x="271" y="217"/>
                </a:cubicBezTo>
                <a:close/>
                <a:moveTo>
                  <a:pt x="294" y="217"/>
                </a:moveTo>
                <a:cubicBezTo>
                  <a:pt x="295" y="215"/>
                  <a:pt x="295" y="215"/>
                  <a:pt x="295" y="215"/>
                </a:cubicBezTo>
                <a:cubicBezTo>
                  <a:pt x="296" y="214"/>
                  <a:pt x="296" y="214"/>
                  <a:pt x="296" y="214"/>
                </a:cubicBezTo>
                <a:cubicBezTo>
                  <a:pt x="298" y="215"/>
                  <a:pt x="298" y="215"/>
                  <a:pt x="298" y="215"/>
                </a:cubicBezTo>
                <a:cubicBezTo>
                  <a:pt x="298" y="216"/>
                  <a:pt x="298" y="216"/>
                  <a:pt x="298" y="216"/>
                </a:cubicBezTo>
                <a:cubicBezTo>
                  <a:pt x="297" y="218"/>
                  <a:pt x="297" y="218"/>
                  <a:pt x="297" y="218"/>
                </a:cubicBezTo>
                <a:cubicBezTo>
                  <a:pt x="296" y="218"/>
                  <a:pt x="296" y="218"/>
                  <a:pt x="296" y="218"/>
                </a:cubicBezTo>
                <a:cubicBezTo>
                  <a:pt x="296" y="217"/>
                  <a:pt x="296" y="217"/>
                  <a:pt x="296" y="217"/>
                </a:cubicBezTo>
                <a:cubicBezTo>
                  <a:pt x="296" y="216"/>
                  <a:pt x="296" y="216"/>
                  <a:pt x="296" y="216"/>
                </a:cubicBezTo>
                <a:cubicBezTo>
                  <a:pt x="295" y="217"/>
                  <a:pt x="295" y="217"/>
                  <a:pt x="295" y="217"/>
                </a:cubicBezTo>
                <a:cubicBezTo>
                  <a:pt x="295" y="217"/>
                  <a:pt x="295" y="217"/>
                  <a:pt x="295" y="217"/>
                </a:cubicBezTo>
                <a:cubicBezTo>
                  <a:pt x="295" y="217"/>
                  <a:pt x="294" y="217"/>
                  <a:pt x="294" y="217"/>
                </a:cubicBezTo>
                <a:close/>
                <a:moveTo>
                  <a:pt x="293" y="216"/>
                </a:moveTo>
                <a:cubicBezTo>
                  <a:pt x="294" y="216"/>
                  <a:pt x="294" y="216"/>
                  <a:pt x="294" y="216"/>
                </a:cubicBezTo>
                <a:cubicBezTo>
                  <a:pt x="295" y="215"/>
                  <a:pt x="295" y="215"/>
                  <a:pt x="295" y="215"/>
                </a:cubicBezTo>
                <a:cubicBezTo>
                  <a:pt x="294" y="213"/>
                  <a:pt x="294" y="213"/>
                  <a:pt x="294" y="213"/>
                </a:cubicBezTo>
                <a:cubicBezTo>
                  <a:pt x="293" y="214"/>
                  <a:pt x="293" y="214"/>
                  <a:pt x="293" y="214"/>
                </a:cubicBezTo>
                <a:cubicBezTo>
                  <a:pt x="293" y="216"/>
                  <a:pt x="293" y="216"/>
                  <a:pt x="293" y="216"/>
                </a:cubicBezTo>
                <a:close/>
                <a:moveTo>
                  <a:pt x="293" y="227"/>
                </a:moveTo>
                <a:cubicBezTo>
                  <a:pt x="293" y="226"/>
                  <a:pt x="293" y="226"/>
                  <a:pt x="293" y="226"/>
                </a:cubicBezTo>
                <a:cubicBezTo>
                  <a:pt x="295" y="225"/>
                  <a:pt x="295" y="225"/>
                  <a:pt x="295" y="225"/>
                </a:cubicBezTo>
                <a:cubicBezTo>
                  <a:pt x="295" y="224"/>
                  <a:pt x="295" y="224"/>
                  <a:pt x="295" y="224"/>
                </a:cubicBezTo>
                <a:cubicBezTo>
                  <a:pt x="293" y="225"/>
                  <a:pt x="293" y="225"/>
                  <a:pt x="293" y="225"/>
                </a:cubicBezTo>
                <a:cubicBezTo>
                  <a:pt x="293" y="224"/>
                  <a:pt x="293" y="224"/>
                  <a:pt x="293" y="224"/>
                </a:cubicBezTo>
                <a:cubicBezTo>
                  <a:pt x="294" y="221"/>
                  <a:pt x="294" y="221"/>
                  <a:pt x="294" y="221"/>
                </a:cubicBezTo>
                <a:cubicBezTo>
                  <a:pt x="294" y="220"/>
                  <a:pt x="294" y="220"/>
                  <a:pt x="294" y="220"/>
                </a:cubicBezTo>
                <a:cubicBezTo>
                  <a:pt x="293" y="221"/>
                  <a:pt x="293" y="221"/>
                  <a:pt x="293" y="221"/>
                </a:cubicBezTo>
                <a:cubicBezTo>
                  <a:pt x="292" y="222"/>
                  <a:pt x="292" y="222"/>
                  <a:pt x="292" y="222"/>
                </a:cubicBezTo>
                <a:cubicBezTo>
                  <a:pt x="292" y="221"/>
                  <a:pt x="292" y="221"/>
                  <a:pt x="292" y="221"/>
                </a:cubicBezTo>
                <a:cubicBezTo>
                  <a:pt x="293" y="218"/>
                  <a:pt x="293" y="218"/>
                  <a:pt x="293" y="218"/>
                </a:cubicBezTo>
                <a:cubicBezTo>
                  <a:pt x="292" y="214"/>
                  <a:pt x="292" y="214"/>
                  <a:pt x="292" y="214"/>
                </a:cubicBezTo>
                <a:cubicBezTo>
                  <a:pt x="291" y="213"/>
                  <a:pt x="291" y="213"/>
                  <a:pt x="291" y="213"/>
                </a:cubicBezTo>
                <a:cubicBezTo>
                  <a:pt x="291" y="212"/>
                  <a:pt x="291" y="212"/>
                  <a:pt x="291" y="212"/>
                </a:cubicBezTo>
                <a:cubicBezTo>
                  <a:pt x="290" y="212"/>
                  <a:pt x="290" y="212"/>
                  <a:pt x="290" y="212"/>
                </a:cubicBezTo>
                <a:cubicBezTo>
                  <a:pt x="289" y="213"/>
                  <a:pt x="289" y="213"/>
                  <a:pt x="289" y="213"/>
                </a:cubicBezTo>
                <a:cubicBezTo>
                  <a:pt x="289" y="211"/>
                  <a:pt x="289" y="211"/>
                  <a:pt x="289" y="211"/>
                </a:cubicBezTo>
                <a:cubicBezTo>
                  <a:pt x="290" y="211"/>
                  <a:pt x="290" y="211"/>
                  <a:pt x="290" y="211"/>
                </a:cubicBezTo>
                <a:cubicBezTo>
                  <a:pt x="289" y="209"/>
                  <a:pt x="289" y="209"/>
                  <a:pt x="289" y="209"/>
                </a:cubicBezTo>
                <a:cubicBezTo>
                  <a:pt x="289" y="208"/>
                  <a:pt x="289" y="208"/>
                  <a:pt x="289" y="208"/>
                </a:cubicBezTo>
                <a:cubicBezTo>
                  <a:pt x="289" y="207"/>
                  <a:pt x="289" y="207"/>
                  <a:pt x="289" y="207"/>
                </a:cubicBezTo>
                <a:cubicBezTo>
                  <a:pt x="288" y="208"/>
                  <a:pt x="288" y="208"/>
                  <a:pt x="288" y="208"/>
                </a:cubicBezTo>
                <a:cubicBezTo>
                  <a:pt x="286" y="209"/>
                  <a:pt x="286" y="209"/>
                  <a:pt x="286" y="209"/>
                </a:cubicBezTo>
                <a:cubicBezTo>
                  <a:pt x="285" y="211"/>
                  <a:pt x="285" y="211"/>
                  <a:pt x="285" y="211"/>
                </a:cubicBezTo>
                <a:cubicBezTo>
                  <a:pt x="285" y="213"/>
                  <a:pt x="285" y="213"/>
                  <a:pt x="285" y="213"/>
                </a:cubicBezTo>
                <a:cubicBezTo>
                  <a:pt x="284" y="213"/>
                  <a:pt x="284" y="213"/>
                  <a:pt x="284" y="213"/>
                </a:cubicBezTo>
                <a:cubicBezTo>
                  <a:pt x="284" y="211"/>
                  <a:pt x="284" y="211"/>
                  <a:pt x="284" y="211"/>
                </a:cubicBezTo>
                <a:cubicBezTo>
                  <a:pt x="283" y="211"/>
                  <a:pt x="283" y="211"/>
                  <a:pt x="283" y="211"/>
                </a:cubicBezTo>
                <a:cubicBezTo>
                  <a:pt x="283" y="213"/>
                  <a:pt x="283" y="213"/>
                  <a:pt x="283" y="213"/>
                </a:cubicBezTo>
                <a:cubicBezTo>
                  <a:pt x="282" y="213"/>
                  <a:pt x="282" y="213"/>
                  <a:pt x="282" y="213"/>
                </a:cubicBezTo>
                <a:cubicBezTo>
                  <a:pt x="283" y="214"/>
                  <a:pt x="283" y="214"/>
                  <a:pt x="283" y="214"/>
                </a:cubicBezTo>
                <a:cubicBezTo>
                  <a:pt x="282" y="215"/>
                  <a:pt x="282" y="215"/>
                  <a:pt x="282" y="215"/>
                </a:cubicBezTo>
                <a:cubicBezTo>
                  <a:pt x="281" y="215"/>
                  <a:pt x="281" y="215"/>
                  <a:pt x="281" y="215"/>
                </a:cubicBezTo>
                <a:cubicBezTo>
                  <a:pt x="280" y="216"/>
                  <a:pt x="280" y="216"/>
                  <a:pt x="280" y="216"/>
                </a:cubicBezTo>
                <a:cubicBezTo>
                  <a:pt x="278" y="216"/>
                  <a:pt x="278" y="216"/>
                  <a:pt x="278" y="216"/>
                </a:cubicBezTo>
                <a:cubicBezTo>
                  <a:pt x="278" y="216"/>
                  <a:pt x="278" y="216"/>
                  <a:pt x="278" y="216"/>
                </a:cubicBezTo>
                <a:cubicBezTo>
                  <a:pt x="277" y="216"/>
                  <a:pt x="277" y="216"/>
                  <a:pt x="277" y="216"/>
                </a:cubicBezTo>
                <a:cubicBezTo>
                  <a:pt x="274" y="218"/>
                  <a:pt x="274" y="218"/>
                  <a:pt x="274" y="218"/>
                </a:cubicBezTo>
                <a:cubicBezTo>
                  <a:pt x="274" y="219"/>
                  <a:pt x="274" y="219"/>
                  <a:pt x="274" y="219"/>
                </a:cubicBezTo>
                <a:cubicBezTo>
                  <a:pt x="276" y="221"/>
                  <a:pt x="276" y="221"/>
                  <a:pt x="276" y="221"/>
                </a:cubicBezTo>
                <a:cubicBezTo>
                  <a:pt x="277" y="220"/>
                  <a:pt x="277" y="220"/>
                  <a:pt x="277" y="220"/>
                </a:cubicBezTo>
                <a:cubicBezTo>
                  <a:pt x="276" y="219"/>
                  <a:pt x="276" y="219"/>
                  <a:pt x="276" y="219"/>
                </a:cubicBezTo>
                <a:cubicBezTo>
                  <a:pt x="277" y="218"/>
                  <a:pt x="277" y="218"/>
                  <a:pt x="277" y="218"/>
                </a:cubicBezTo>
                <a:cubicBezTo>
                  <a:pt x="278" y="219"/>
                  <a:pt x="278" y="219"/>
                  <a:pt x="278" y="219"/>
                </a:cubicBezTo>
                <a:cubicBezTo>
                  <a:pt x="277" y="221"/>
                  <a:pt x="277" y="221"/>
                  <a:pt x="277" y="221"/>
                </a:cubicBezTo>
                <a:cubicBezTo>
                  <a:pt x="279" y="222"/>
                  <a:pt x="279" y="222"/>
                  <a:pt x="279" y="222"/>
                </a:cubicBezTo>
                <a:cubicBezTo>
                  <a:pt x="280" y="221"/>
                  <a:pt x="280" y="221"/>
                  <a:pt x="280" y="221"/>
                </a:cubicBezTo>
                <a:cubicBezTo>
                  <a:pt x="280" y="222"/>
                  <a:pt x="280" y="222"/>
                  <a:pt x="280" y="222"/>
                </a:cubicBezTo>
                <a:cubicBezTo>
                  <a:pt x="280" y="223"/>
                  <a:pt x="280" y="223"/>
                  <a:pt x="280" y="223"/>
                </a:cubicBezTo>
                <a:cubicBezTo>
                  <a:pt x="281" y="224"/>
                  <a:pt x="281" y="224"/>
                  <a:pt x="281" y="224"/>
                </a:cubicBezTo>
                <a:cubicBezTo>
                  <a:pt x="282" y="225"/>
                  <a:pt x="282" y="225"/>
                  <a:pt x="282" y="225"/>
                </a:cubicBezTo>
                <a:cubicBezTo>
                  <a:pt x="283" y="226"/>
                  <a:pt x="283" y="226"/>
                  <a:pt x="283" y="226"/>
                </a:cubicBezTo>
                <a:cubicBezTo>
                  <a:pt x="284" y="227"/>
                  <a:pt x="284" y="227"/>
                  <a:pt x="284" y="227"/>
                </a:cubicBezTo>
                <a:cubicBezTo>
                  <a:pt x="285" y="226"/>
                  <a:pt x="285" y="226"/>
                  <a:pt x="285" y="226"/>
                </a:cubicBezTo>
                <a:cubicBezTo>
                  <a:pt x="285" y="227"/>
                  <a:pt x="285" y="227"/>
                  <a:pt x="285" y="227"/>
                </a:cubicBezTo>
                <a:cubicBezTo>
                  <a:pt x="286" y="228"/>
                  <a:pt x="286" y="228"/>
                  <a:pt x="286" y="228"/>
                </a:cubicBezTo>
                <a:cubicBezTo>
                  <a:pt x="287" y="228"/>
                  <a:pt x="287" y="228"/>
                  <a:pt x="287" y="228"/>
                </a:cubicBezTo>
                <a:cubicBezTo>
                  <a:pt x="288" y="228"/>
                  <a:pt x="288" y="228"/>
                  <a:pt x="288" y="228"/>
                </a:cubicBezTo>
                <a:cubicBezTo>
                  <a:pt x="290" y="227"/>
                  <a:pt x="290" y="227"/>
                  <a:pt x="290" y="227"/>
                </a:cubicBezTo>
                <a:cubicBezTo>
                  <a:pt x="291" y="227"/>
                  <a:pt x="291" y="227"/>
                  <a:pt x="291" y="227"/>
                </a:cubicBezTo>
                <a:cubicBezTo>
                  <a:pt x="292" y="226"/>
                  <a:pt x="292" y="226"/>
                  <a:pt x="292" y="226"/>
                </a:cubicBezTo>
                <a:cubicBezTo>
                  <a:pt x="293" y="227"/>
                  <a:pt x="293" y="227"/>
                  <a:pt x="293" y="227"/>
                </a:cubicBezTo>
                <a:close/>
                <a:moveTo>
                  <a:pt x="421" y="218"/>
                </a:moveTo>
                <a:cubicBezTo>
                  <a:pt x="421" y="217"/>
                  <a:pt x="421" y="217"/>
                  <a:pt x="421" y="217"/>
                </a:cubicBezTo>
                <a:cubicBezTo>
                  <a:pt x="420" y="216"/>
                  <a:pt x="420" y="216"/>
                  <a:pt x="420" y="216"/>
                </a:cubicBezTo>
                <a:cubicBezTo>
                  <a:pt x="421" y="215"/>
                  <a:pt x="421" y="215"/>
                  <a:pt x="421" y="215"/>
                </a:cubicBezTo>
                <a:cubicBezTo>
                  <a:pt x="422" y="215"/>
                  <a:pt x="422" y="215"/>
                  <a:pt x="422" y="215"/>
                </a:cubicBezTo>
                <a:cubicBezTo>
                  <a:pt x="423" y="215"/>
                  <a:pt x="423" y="215"/>
                  <a:pt x="423" y="215"/>
                </a:cubicBezTo>
                <a:cubicBezTo>
                  <a:pt x="423" y="216"/>
                  <a:pt x="423" y="216"/>
                  <a:pt x="423" y="216"/>
                </a:cubicBezTo>
                <a:cubicBezTo>
                  <a:pt x="424" y="216"/>
                  <a:pt x="424" y="216"/>
                  <a:pt x="424" y="216"/>
                </a:cubicBezTo>
                <a:cubicBezTo>
                  <a:pt x="425" y="216"/>
                  <a:pt x="425" y="216"/>
                  <a:pt x="425" y="216"/>
                </a:cubicBezTo>
                <a:cubicBezTo>
                  <a:pt x="424" y="217"/>
                  <a:pt x="424" y="217"/>
                  <a:pt x="424" y="217"/>
                </a:cubicBezTo>
                <a:cubicBezTo>
                  <a:pt x="423" y="218"/>
                  <a:pt x="423" y="218"/>
                  <a:pt x="423" y="218"/>
                </a:cubicBezTo>
                <a:cubicBezTo>
                  <a:pt x="422" y="217"/>
                  <a:pt x="422" y="217"/>
                  <a:pt x="422" y="217"/>
                </a:cubicBezTo>
                <a:cubicBezTo>
                  <a:pt x="422" y="218"/>
                  <a:pt x="422" y="218"/>
                  <a:pt x="422" y="218"/>
                </a:cubicBezTo>
                <a:cubicBezTo>
                  <a:pt x="421" y="218"/>
                  <a:pt x="421" y="218"/>
                  <a:pt x="421" y="218"/>
                </a:cubicBezTo>
                <a:cubicBezTo>
                  <a:pt x="421" y="218"/>
                  <a:pt x="421" y="218"/>
                  <a:pt x="421" y="218"/>
                </a:cubicBezTo>
                <a:close/>
                <a:moveTo>
                  <a:pt x="418" y="328"/>
                </a:moveTo>
                <a:cubicBezTo>
                  <a:pt x="417" y="328"/>
                  <a:pt x="417" y="328"/>
                  <a:pt x="417" y="328"/>
                </a:cubicBezTo>
                <a:cubicBezTo>
                  <a:pt x="416" y="327"/>
                  <a:pt x="416" y="327"/>
                  <a:pt x="416" y="327"/>
                </a:cubicBezTo>
                <a:cubicBezTo>
                  <a:pt x="414" y="327"/>
                  <a:pt x="414" y="327"/>
                  <a:pt x="414" y="327"/>
                </a:cubicBezTo>
                <a:cubicBezTo>
                  <a:pt x="413" y="326"/>
                  <a:pt x="413" y="326"/>
                  <a:pt x="413" y="326"/>
                </a:cubicBezTo>
                <a:cubicBezTo>
                  <a:pt x="412" y="326"/>
                  <a:pt x="412" y="326"/>
                  <a:pt x="412" y="326"/>
                </a:cubicBezTo>
                <a:cubicBezTo>
                  <a:pt x="411" y="325"/>
                  <a:pt x="411" y="325"/>
                  <a:pt x="411" y="325"/>
                </a:cubicBezTo>
                <a:cubicBezTo>
                  <a:pt x="410" y="324"/>
                  <a:pt x="410" y="324"/>
                  <a:pt x="410" y="324"/>
                </a:cubicBezTo>
                <a:cubicBezTo>
                  <a:pt x="409" y="323"/>
                  <a:pt x="409" y="323"/>
                  <a:pt x="409" y="323"/>
                </a:cubicBezTo>
                <a:cubicBezTo>
                  <a:pt x="409" y="323"/>
                  <a:pt x="409" y="323"/>
                  <a:pt x="409" y="323"/>
                </a:cubicBezTo>
                <a:cubicBezTo>
                  <a:pt x="408" y="323"/>
                  <a:pt x="408" y="323"/>
                  <a:pt x="408" y="323"/>
                </a:cubicBezTo>
                <a:cubicBezTo>
                  <a:pt x="407" y="323"/>
                  <a:pt x="407" y="323"/>
                  <a:pt x="407" y="323"/>
                </a:cubicBezTo>
                <a:cubicBezTo>
                  <a:pt x="406" y="323"/>
                  <a:pt x="406" y="323"/>
                  <a:pt x="406" y="323"/>
                </a:cubicBezTo>
                <a:cubicBezTo>
                  <a:pt x="405" y="322"/>
                  <a:pt x="405" y="322"/>
                  <a:pt x="405" y="322"/>
                </a:cubicBezTo>
                <a:cubicBezTo>
                  <a:pt x="405" y="321"/>
                  <a:pt x="405" y="321"/>
                  <a:pt x="405" y="321"/>
                </a:cubicBezTo>
                <a:cubicBezTo>
                  <a:pt x="404" y="321"/>
                  <a:pt x="404" y="321"/>
                  <a:pt x="404" y="321"/>
                </a:cubicBezTo>
                <a:cubicBezTo>
                  <a:pt x="402" y="320"/>
                  <a:pt x="402" y="320"/>
                  <a:pt x="402" y="320"/>
                </a:cubicBezTo>
                <a:cubicBezTo>
                  <a:pt x="403" y="319"/>
                  <a:pt x="403" y="319"/>
                  <a:pt x="403" y="319"/>
                </a:cubicBezTo>
                <a:cubicBezTo>
                  <a:pt x="402" y="319"/>
                  <a:pt x="402" y="319"/>
                  <a:pt x="402" y="319"/>
                </a:cubicBezTo>
                <a:cubicBezTo>
                  <a:pt x="401" y="319"/>
                  <a:pt x="401" y="319"/>
                  <a:pt x="401" y="319"/>
                </a:cubicBezTo>
                <a:cubicBezTo>
                  <a:pt x="401" y="318"/>
                  <a:pt x="401" y="318"/>
                  <a:pt x="401" y="318"/>
                </a:cubicBezTo>
                <a:cubicBezTo>
                  <a:pt x="401" y="317"/>
                  <a:pt x="401" y="317"/>
                  <a:pt x="401" y="317"/>
                </a:cubicBezTo>
                <a:cubicBezTo>
                  <a:pt x="402" y="317"/>
                  <a:pt x="402" y="317"/>
                  <a:pt x="402" y="317"/>
                </a:cubicBezTo>
                <a:cubicBezTo>
                  <a:pt x="401" y="316"/>
                  <a:pt x="401" y="316"/>
                  <a:pt x="401" y="316"/>
                </a:cubicBezTo>
                <a:cubicBezTo>
                  <a:pt x="400" y="316"/>
                  <a:pt x="400" y="316"/>
                  <a:pt x="400" y="316"/>
                </a:cubicBezTo>
                <a:cubicBezTo>
                  <a:pt x="400" y="317"/>
                  <a:pt x="400" y="317"/>
                  <a:pt x="400" y="317"/>
                </a:cubicBezTo>
                <a:cubicBezTo>
                  <a:pt x="399" y="316"/>
                  <a:pt x="399" y="316"/>
                  <a:pt x="399" y="316"/>
                </a:cubicBezTo>
                <a:cubicBezTo>
                  <a:pt x="399" y="316"/>
                  <a:pt x="399" y="316"/>
                  <a:pt x="399" y="316"/>
                </a:cubicBezTo>
                <a:cubicBezTo>
                  <a:pt x="398" y="316"/>
                  <a:pt x="398" y="316"/>
                  <a:pt x="398" y="316"/>
                </a:cubicBezTo>
                <a:cubicBezTo>
                  <a:pt x="396" y="315"/>
                  <a:pt x="396" y="315"/>
                  <a:pt x="396" y="315"/>
                </a:cubicBezTo>
                <a:cubicBezTo>
                  <a:pt x="396" y="315"/>
                  <a:pt x="396" y="315"/>
                  <a:pt x="396" y="315"/>
                </a:cubicBezTo>
                <a:cubicBezTo>
                  <a:pt x="395" y="314"/>
                  <a:pt x="395" y="314"/>
                  <a:pt x="395" y="314"/>
                </a:cubicBezTo>
                <a:cubicBezTo>
                  <a:pt x="394" y="313"/>
                  <a:pt x="394" y="313"/>
                  <a:pt x="394" y="313"/>
                </a:cubicBezTo>
                <a:cubicBezTo>
                  <a:pt x="394" y="312"/>
                  <a:pt x="394" y="312"/>
                  <a:pt x="394" y="312"/>
                </a:cubicBezTo>
                <a:cubicBezTo>
                  <a:pt x="393" y="312"/>
                  <a:pt x="393" y="312"/>
                  <a:pt x="393" y="312"/>
                </a:cubicBezTo>
                <a:cubicBezTo>
                  <a:pt x="392" y="311"/>
                  <a:pt x="392" y="311"/>
                  <a:pt x="392" y="311"/>
                </a:cubicBezTo>
                <a:cubicBezTo>
                  <a:pt x="392" y="310"/>
                  <a:pt x="392" y="310"/>
                  <a:pt x="392" y="310"/>
                </a:cubicBezTo>
                <a:cubicBezTo>
                  <a:pt x="391" y="309"/>
                  <a:pt x="391" y="309"/>
                  <a:pt x="391" y="309"/>
                </a:cubicBezTo>
                <a:cubicBezTo>
                  <a:pt x="390" y="308"/>
                  <a:pt x="390" y="308"/>
                  <a:pt x="390" y="308"/>
                </a:cubicBezTo>
                <a:cubicBezTo>
                  <a:pt x="391" y="308"/>
                  <a:pt x="391" y="308"/>
                  <a:pt x="391" y="308"/>
                </a:cubicBezTo>
                <a:cubicBezTo>
                  <a:pt x="392" y="308"/>
                  <a:pt x="392" y="308"/>
                  <a:pt x="392" y="308"/>
                </a:cubicBezTo>
                <a:cubicBezTo>
                  <a:pt x="395" y="306"/>
                  <a:pt x="395" y="306"/>
                  <a:pt x="395" y="306"/>
                </a:cubicBezTo>
                <a:cubicBezTo>
                  <a:pt x="395" y="306"/>
                  <a:pt x="395" y="306"/>
                  <a:pt x="395" y="306"/>
                </a:cubicBezTo>
                <a:cubicBezTo>
                  <a:pt x="393" y="306"/>
                  <a:pt x="393" y="306"/>
                  <a:pt x="393" y="306"/>
                </a:cubicBezTo>
                <a:cubicBezTo>
                  <a:pt x="392" y="305"/>
                  <a:pt x="392" y="305"/>
                  <a:pt x="392" y="305"/>
                </a:cubicBezTo>
                <a:cubicBezTo>
                  <a:pt x="392" y="303"/>
                  <a:pt x="392" y="303"/>
                  <a:pt x="392" y="303"/>
                </a:cubicBezTo>
                <a:cubicBezTo>
                  <a:pt x="392" y="303"/>
                  <a:pt x="392" y="303"/>
                  <a:pt x="392" y="303"/>
                </a:cubicBezTo>
                <a:cubicBezTo>
                  <a:pt x="392" y="303"/>
                  <a:pt x="392" y="303"/>
                  <a:pt x="392" y="303"/>
                </a:cubicBezTo>
                <a:cubicBezTo>
                  <a:pt x="391" y="304"/>
                  <a:pt x="391" y="304"/>
                  <a:pt x="391" y="304"/>
                </a:cubicBezTo>
                <a:cubicBezTo>
                  <a:pt x="391" y="305"/>
                  <a:pt x="391" y="305"/>
                  <a:pt x="391" y="305"/>
                </a:cubicBezTo>
                <a:cubicBezTo>
                  <a:pt x="390" y="304"/>
                  <a:pt x="390" y="304"/>
                  <a:pt x="390" y="304"/>
                </a:cubicBezTo>
                <a:cubicBezTo>
                  <a:pt x="391" y="303"/>
                  <a:pt x="391" y="303"/>
                  <a:pt x="391" y="303"/>
                </a:cubicBezTo>
                <a:cubicBezTo>
                  <a:pt x="391" y="301"/>
                  <a:pt x="391" y="301"/>
                  <a:pt x="391" y="301"/>
                </a:cubicBezTo>
                <a:cubicBezTo>
                  <a:pt x="390" y="303"/>
                  <a:pt x="390" y="303"/>
                  <a:pt x="390" y="303"/>
                </a:cubicBezTo>
                <a:cubicBezTo>
                  <a:pt x="389" y="302"/>
                  <a:pt x="389" y="302"/>
                  <a:pt x="389" y="302"/>
                </a:cubicBezTo>
                <a:cubicBezTo>
                  <a:pt x="389" y="301"/>
                  <a:pt x="389" y="301"/>
                  <a:pt x="389" y="301"/>
                </a:cubicBezTo>
                <a:cubicBezTo>
                  <a:pt x="388" y="301"/>
                  <a:pt x="388" y="301"/>
                  <a:pt x="388" y="301"/>
                </a:cubicBezTo>
                <a:cubicBezTo>
                  <a:pt x="388" y="300"/>
                  <a:pt x="388" y="300"/>
                  <a:pt x="388" y="300"/>
                </a:cubicBezTo>
                <a:cubicBezTo>
                  <a:pt x="388" y="299"/>
                  <a:pt x="388" y="299"/>
                  <a:pt x="388" y="299"/>
                </a:cubicBezTo>
                <a:cubicBezTo>
                  <a:pt x="388" y="297"/>
                  <a:pt x="388" y="297"/>
                  <a:pt x="388" y="297"/>
                </a:cubicBezTo>
                <a:cubicBezTo>
                  <a:pt x="387" y="297"/>
                  <a:pt x="387" y="297"/>
                  <a:pt x="387" y="297"/>
                </a:cubicBezTo>
                <a:cubicBezTo>
                  <a:pt x="387" y="296"/>
                  <a:pt x="387" y="296"/>
                  <a:pt x="387" y="296"/>
                </a:cubicBezTo>
                <a:cubicBezTo>
                  <a:pt x="388" y="294"/>
                  <a:pt x="388" y="294"/>
                  <a:pt x="388" y="294"/>
                </a:cubicBezTo>
                <a:cubicBezTo>
                  <a:pt x="388" y="294"/>
                  <a:pt x="388" y="294"/>
                  <a:pt x="388" y="294"/>
                </a:cubicBezTo>
                <a:cubicBezTo>
                  <a:pt x="386" y="296"/>
                  <a:pt x="386" y="296"/>
                  <a:pt x="386" y="296"/>
                </a:cubicBezTo>
                <a:cubicBezTo>
                  <a:pt x="386" y="297"/>
                  <a:pt x="386" y="297"/>
                  <a:pt x="386" y="297"/>
                </a:cubicBezTo>
                <a:cubicBezTo>
                  <a:pt x="385" y="296"/>
                  <a:pt x="385" y="296"/>
                  <a:pt x="385" y="296"/>
                </a:cubicBezTo>
                <a:cubicBezTo>
                  <a:pt x="386" y="294"/>
                  <a:pt x="386" y="294"/>
                  <a:pt x="386" y="294"/>
                </a:cubicBezTo>
                <a:cubicBezTo>
                  <a:pt x="385" y="294"/>
                  <a:pt x="385" y="294"/>
                  <a:pt x="385" y="294"/>
                </a:cubicBezTo>
                <a:cubicBezTo>
                  <a:pt x="384" y="294"/>
                  <a:pt x="384" y="294"/>
                  <a:pt x="384" y="294"/>
                </a:cubicBezTo>
                <a:cubicBezTo>
                  <a:pt x="384" y="294"/>
                  <a:pt x="384" y="294"/>
                  <a:pt x="384" y="294"/>
                </a:cubicBezTo>
                <a:cubicBezTo>
                  <a:pt x="383" y="296"/>
                  <a:pt x="383" y="296"/>
                  <a:pt x="383" y="296"/>
                </a:cubicBezTo>
                <a:cubicBezTo>
                  <a:pt x="382" y="297"/>
                  <a:pt x="382" y="297"/>
                  <a:pt x="382" y="297"/>
                </a:cubicBezTo>
                <a:cubicBezTo>
                  <a:pt x="382" y="295"/>
                  <a:pt x="382" y="295"/>
                  <a:pt x="382" y="295"/>
                </a:cubicBezTo>
                <a:cubicBezTo>
                  <a:pt x="383" y="294"/>
                  <a:pt x="383" y="294"/>
                  <a:pt x="383" y="294"/>
                </a:cubicBezTo>
                <a:cubicBezTo>
                  <a:pt x="383" y="293"/>
                  <a:pt x="383" y="293"/>
                  <a:pt x="383" y="293"/>
                </a:cubicBezTo>
                <a:cubicBezTo>
                  <a:pt x="383" y="292"/>
                  <a:pt x="383" y="292"/>
                  <a:pt x="383" y="292"/>
                </a:cubicBezTo>
                <a:cubicBezTo>
                  <a:pt x="382" y="293"/>
                  <a:pt x="382" y="293"/>
                  <a:pt x="382" y="293"/>
                </a:cubicBezTo>
                <a:cubicBezTo>
                  <a:pt x="381" y="294"/>
                  <a:pt x="381" y="294"/>
                  <a:pt x="381" y="294"/>
                </a:cubicBezTo>
                <a:cubicBezTo>
                  <a:pt x="381" y="294"/>
                  <a:pt x="381" y="294"/>
                  <a:pt x="381" y="294"/>
                </a:cubicBezTo>
                <a:cubicBezTo>
                  <a:pt x="380" y="295"/>
                  <a:pt x="380" y="295"/>
                  <a:pt x="380" y="295"/>
                </a:cubicBezTo>
                <a:cubicBezTo>
                  <a:pt x="380" y="296"/>
                  <a:pt x="380" y="296"/>
                  <a:pt x="380" y="296"/>
                </a:cubicBezTo>
                <a:cubicBezTo>
                  <a:pt x="378" y="295"/>
                  <a:pt x="378" y="295"/>
                  <a:pt x="378" y="295"/>
                </a:cubicBezTo>
                <a:cubicBezTo>
                  <a:pt x="377" y="294"/>
                  <a:pt x="377" y="294"/>
                  <a:pt x="377" y="294"/>
                </a:cubicBezTo>
                <a:cubicBezTo>
                  <a:pt x="376" y="294"/>
                  <a:pt x="376" y="294"/>
                  <a:pt x="376" y="294"/>
                </a:cubicBezTo>
                <a:cubicBezTo>
                  <a:pt x="375" y="292"/>
                  <a:pt x="375" y="292"/>
                  <a:pt x="375" y="292"/>
                </a:cubicBezTo>
                <a:cubicBezTo>
                  <a:pt x="375" y="292"/>
                  <a:pt x="375" y="292"/>
                  <a:pt x="375" y="292"/>
                </a:cubicBezTo>
                <a:cubicBezTo>
                  <a:pt x="374" y="293"/>
                  <a:pt x="374" y="293"/>
                  <a:pt x="374" y="293"/>
                </a:cubicBezTo>
                <a:cubicBezTo>
                  <a:pt x="374" y="294"/>
                  <a:pt x="374" y="294"/>
                  <a:pt x="374" y="294"/>
                </a:cubicBezTo>
                <a:cubicBezTo>
                  <a:pt x="374" y="295"/>
                  <a:pt x="374" y="295"/>
                  <a:pt x="374" y="295"/>
                </a:cubicBezTo>
                <a:cubicBezTo>
                  <a:pt x="373" y="295"/>
                  <a:pt x="373" y="295"/>
                  <a:pt x="373" y="295"/>
                </a:cubicBezTo>
                <a:cubicBezTo>
                  <a:pt x="372" y="295"/>
                  <a:pt x="372" y="295"/>
                  <a:pt x="372" y="295"/>
                </a:cubicBezTo>
                <a:cubicBezTo>
                  <a:pt x="371" y="295"/>
                  <a:pt x="371" y="295"/>
                  <a:pt x="371" y="295"/>
                </a:cubicBezTo>
                <a:cubicBezTo>
                  <a:pt x="370" y="296"/>
                  <a:pt x="370" y="296"/>
                  <a:pt x="370" y="296"/>
                </a:cubicBezTo>
                <a:cubicBezTo>
                  <a:pt x="369" y="295"/>
                  <a:pt x="369" y="295"/>
                  <a:pt x="369" y="295"/>
                </a:cubicBezTo>
                <a:cubicBezTo>
                  <a:pt x="368" y="296"/>
                  <a:pt x="368" y="296"/>
                  <a:pt x="368" y="296"/>
                </a:cubicBezTo>
                <a:cubicBezTo>
                  <a:pt x="367" y="296"/>
                  <a:pt x="367" y="296"/>
                  <a:pt x="367" y="296"/>
                </a:cubicBezTo>
                <a:cubicBezTo>
                  <a:pt x="365" y="296"/>
                  <a:pt x="365" y="296"/>
                  <a:pt x="365" y="296"/>
                </a:cubicBezTo>
                <a:cubicBezTo>
                  <a:pt x="366" y="295"/>
                  <a:pt x="366" y="295"/>
                  <a:pt x="366" y="295"/>
                </a:cubicBezTo>
                <a:cubicBezTo>
                  <a:pt x="364" y="293"/>
                  <a:pt x="364" y="293"/>
                  <a:pt x="364" y="293"/>
                </a:cubicBezTo>
                <a:cubicBezTo>
                  <a:pt x="364" y="294"/>
                  <a:pt x="364" y="294"/>
                  <a:pt x="364" y="294"/>
                </a:cubicBezTo>
                <a:cubicBezTo>
                  <a:pt x="363" y="293"/>
                  <a:pt x="363" y="293"/>
                  <a:pt x="363" y="293"/>
                </a:cubicBezTo>
                <a:cubicBezTo>
                  <a:pt x="362" y="290"/>
                  <a:pt x="362" y="290"/>
                  <a:pt x="362" y="290"/>
                </a:cubicBezTo>
                <a:cubicBezTo>
                  <a:pt x="362" y="289"/>
                  <a:pt x="362" y="289"/>
                  <a:pt x="362" y="289"/>
                </a:cubicBezTo>
                <a:cubicBezTo>
                  <a:pt x="363" y="288"/>
                  <a:pt x="363" y="288"/>
                  <a:pt x="363" y="288"/>
                </a:cubicBezTo>
                <a:cubicBezTo>
                  <a:pt x="363" y="287"/>
                  <a:pt x="363" y="287"/>
                  <a:pt x="363" y="287"/>
                </a:cubicBezTo>
                <a:cubicBezTo>
                  <a:pt x="364" y="286"/>
                  <a:pt x="364" y="286"/>
                  <a:pt x="364" y="286"/>
                </a:cubicBezTo>
                <a:cubicBezTo>
                  <a:pt x="366" y="286"/>
                  <a:pt x="366" y="286"/>
                  <a:pt x="366" y="286"/>
                </a:cubicBezTo>
                <a:cubicBezTo>
                  <a:pt x="366" y="285"/>
                  <a:pt x="366" y="285"/>
                  <a:pt x="366" y="285"/>
                </a:cubicBezTo>
                <a:cubicBezTo>
                  <a:pt x="367" y="285"/>
                  <a:pt x="367" y="285"/>
                  <a:pt x="367" y="285"/>
                </a:cubicBezTo>
                <a:cubicBezTo>
                  <a:pt x="368" y="285"/>
                  <a:pt x="368" y="285"/>
                  <a:pt x="368" y="285"/>
                </a:cubicBezTo>
                <a:cubicBezTo>
                  <a:pt x="368" y="284"/>
                  <a:pt x="368" y="284"/>
                  <a:pt x="368" y="284"/>
                </a:cubicBezTo>
                <a:cubicBezTo>
                  <a:pt x="368" y="283"/>
                  <a:pt x="368" y="283"/>
                  <a:pt x="368" y="283"/>
                </a:cubicBezTo>
                <a:cubicBezTo>
                  <a:pt x="368" y="282"/>
                  <a:pt x="368" y="282"/>
                  <a:pt x="368" y="282"/>
                </a:cubicBezTo>
                <a:cubicBezTo>
                  <a:pt x="368" y="282"/>
                  <a:pt x="368" y="282"/>
                  <a:pt x="368" y="282"/>
                </a:cubicBezTo>
                <a:cubicBezTo>
                  <a:pt x="369" y="282"/>
                  <a:pt x="369" y="282"/>
                  <a:pt x="369" y="282"/>
                </a:cubicBezTo>
                <a:cubicBezTo>
                  <a:pt x="369" y="282"/>
                  <a:pt x="369" y="282"/>
                  <a:pt x="369" y="282"/>
                </a:cubicBezTo>
                <a:cubicBezTo>
                  <a:pt x="369" y="281"/>
                  <a:pt x="369" y="281"/>
                  <a:pt x="369" y="281"/>
                </a:cubicBezTo>
                <a:cubicBezTo>
                  <a:pt x="369" y="281"/>
                  <a:pt x="369" y="281"/>
                  <a:pt x="369" y="281"/>
                </a:cubicBezTo>
                <a:cubicBezTo>
                  <a:pt x="370" y="283"/>
                  <a:pt x="370" y="283"/>
                  <a:pt x="370" y="283"/>
                </a:cubicBezTo>
                <a:cubicBezTo>
                  <a:pt x="372" y="283"/>
                  <a:pt x="372" y="283"/>
                  <a:pt x="372" y="283"/>
                </a:cubicBezTo>
                <a:cubicBezTo>
                  <a:pt x="373" y="284"/>
                  <a:pt x="373" y="284"/>
                  <a:pt x="373" y="284"/>
                </a:cubicBezTo>
                <a:cubicBezTo>
                  <a:pt x="374" y="285"/>
                  <a:pt x="374" y="285"/>
                  <a:pt x="374" y="285"/>
                </a:cubicBezTo>
                <a:cubicBezTo>
                  <a:pt x="375" y="285"/>
                  <a:pt x="375" y="285"/>
                  <a:pt x="375" y="285"/>
                </a:cubicBezTo>
                <a:cubicBezTo>
                  <a:pt x="376" y="286"/>
                  <a:pt x="376" y="286"/>
                  <a:pt x="376" y="286"/>
                </a:cubicBezTo>
                <a:cubicBezTo>
                  <a:pt x="377" y="285"/>
                  <a:pt x="377" y="285"/>
                  <a:pt x="377" y="285"/>
                </a:cubicBezTo>
                <a:cubicBezTo>
                  <a:pt x="378" y="285"/>
                  <a:pt x="378" y="285"/>
                  <a:pt x="378" y="285"/>
                </a:cubicBezTo>
                <a:cubicBezTo>
                  <a:pt x="378" y="286"/>
                  <a:pt x="378" y="286"/>
                  <a:pt x="378" y="286"/>
                </a:cubicBezTo>
                <a:cubicBezTo>
                  <a:pt x="379" y="286"/>
                  <a:pt x="379" y="286"/>
                  <a:pt x="379" y="286"/>
                </a:cubicBezTo>
                <a:cubicBezTo>
                  <a:pt x="380" y="286"/>
                  <a:pt x="380" y="286"/>
                  <a:pt x="380" y="286"/>
                </a:cubicBezTo>
                <a:cubicBezTo>
                  <a:pt x="381" y="285"/>
                  <a:pt x="381" y="285"/>
                  <a:pt x="381" y="285"/>
                </a:cubicBezTo>
                <a:cubicBezTo>
                  <a:pt x="382" y="284"/>
                  <a:pt x="382" y="284"/>
                  <a:pt x="382" y="284"/>
                </a:cubicBezTo>
                <a:cubicBezTo>
                  <a:pt x="383" y="284"/>
                  <a:pt x="383" y="284"/>
                  <a:pt x="383" y="284"/>
                </a:cubicBezTo>
                <a:cubicBezTo>
                  <a:pt x="383" y="284"/>
                  <a:pt x="383" y="284"/>
                  <a:pt x="383" y="284"/>
                </a:cubicBezTo>
                <a:cubicBezTo>
                  <a:pt x="383" y="285"/>
                  <a:pt x="383" y="285"/>
                  <a:pt x="383" y="285"/>
                </a:cubicBezTo>
                <a:cubicBezTo>
                  <a:pt x="384" y="285"/>
                  <a:pt x="384" y="285"/>
                  <a:pt x="384" y="285"/>
                </a:cubicBezTo>
                <a:cubicBezTo>
                  <a:pt x="385" y="284"/>
                  <a:pt x="385" y="284"/>
                  <a:pt x="385" y="284"/>
                </a:cubicBezTo>
                <a:cubicBezTo>
                  <a:pt x="386" y="283"/>
                  <a:pt x="386" y="283"/>
                  <a:pt x="386" y="283"/>
                </a:cubicBezTo>
                <a:cubicBezTo>
                  <a:pt x="387" y="283"/>
                  <a:pt x="387" y="283"/>
                  <a:pt x="387" y="283"/>
                </a:cubicBezTo>
                <a:cubicBezTo>
                  <a:pt x="387" y="283"/>
                  <a:pt x="387" y="283"/>
                  <a:pt x="387" y="283"/>
                </a:cubicBezTo>
                <a:cubicBezTo>
                  <a:pt x="387" y="285"/>
                  <a:pt x="387" y="285"/>
                  <a:pt x="387" y="285"/>
                </a:cubicBezTo>
                <a:cubicBezTo>
                  <a:pt x="388" y="286"/>
                  <a:pt x="388" y="286"/>
                  <a:pt x="388" y="286"/>
                </a:cubicBezTo>
                <a:cubicBezTo>
                  <a:pt x="388" y="285"/>
                  <a:pt x="388" y="285"/>
                  <a:pt x="388" y="285"/>
                </a:cubicBezTo>
                <a:cubicBezTo>
                  <a:pt x="388" y="284"/>
                  <a:pt x="388" y="284"/>
                  <a:pt x="388" y="284"/>
                </a:cubicBezTo>
                <a:cubicBezTo>
                  <a:pt x="389" y="284"/>
                  <a:pt x="389" y="284"/>
                  <a:pt x="389" y="284"/>
                </a:cubicBezTo>
                <a:cubicBezTo>
                  <a:pt x="390" y="284"/>
                  <a:pt x="390" y="284"/>
                  <a:pt x="390" y="284"/>
                </a:cubicBezTo>
                <a:cubicBezTo>
                  <a:pt x="389" y="281"/>
                  <a:pt x="389" y="281"/>
                  <a:pt x="389" y="281"/>
                </a:cubicBezTo>
                <a:cubicBezTo>
                  <a:pt x="388" y="279"/>
                  <a:pt x="388" y="279"/>
                  <a:pt x="388" y="279"/>
                </a:cubicBezTo>
                <a:cubicBezTo>
                  <a:pt x="388" y="278"/>
                  <a:pt x="388" y="278"/>
                  <a:pt x="388" y="278"/>
                </a:cubicBezTo>
                <a:cubicBezTo>
                  <a:pt x="387" y="277"/>
                  <a:pt x="387" y="277"/>
                  <a:pt x="387" y="277"/>
                </a:cubicBezTo>
                <a:cubicBezTo>
                  <a:pt x="388" y="276"/>
                  <a:pt x="388" y="276"/>
                  <a:pt x="388" y="276"/>
                </a:cubicBezTo>
                <a:cubicBezTo>
                  <a:pt x="388" y="275"/>
                  <a:pt x="388" y="275"/>
                  <a:pt x="388" y="275"/>
                </a:cubicBezTo>
                <a:cubicBezTo>
                  <a:pt x="389" y="275"/>
                  <a:pt x="389" y="275"/>
                  <a:pt x="389" y="275"/>
                </a:cubicBezTo>
                <a:cubicBezTo>
                  <a:pt x="391" y="273"/>
                  <a:pt x="391" y="273"/>
                  <a:pt x="391" y="273"/>
                </a:cubicBezTo>
                <a:cubicBezTo>
                  <a:pt x="393" y="272"/>
                  <a:pt x="393" y="272"/>
                  <a:pt x="393" y="272"/>
                </a:cubicBezTo>
                <a:cubicBezTo>
                  <a:pt x="394" y="272"/>
                  <a:pt x="394" y="272"/>
                  <a:pt x="394" y="272"/>
                </a:cubicBezTo>
                <a:cubicBezTo>
                  <a:pt x="395" y="270"/>
                  <a:pt x="395" y="270"/>
                  <a:pt x="395" y="270"/>
                </a:cubicBezTo>
                <a:cubicBezTo>
                  <a:pt x="396" y="270"/>
                  <a:pt x="396" y="270"/>
                  <a:pt x="396" y="270"/>
                </a:cubicBezTo>
                <a:cubicBezTo>
                  <a:pt x="397" y="271"/>
                  <a:pt x="397" y="271"/>
                  <a:pt x="397" y="271"/>
                </a:cubicBezTo>
                <a:cubicBezTo>
                  <a:pt x="398" y="270"/>
                  <a:pt x="398" y="270"/>
                  <a:pt x="398" y="270"/>
                </a:cubicBezTo>
                <a:cubicBezTo>
                  <a:pt x="398" y="270"/>
                  <a:pt x="398" y="270"/>
                  <a:pt x="398" y="270"/>
                </a:cubicBezTo>
                <a:cubicBezTo>
                  <a:pt x="397" y="269"/>
                  <a:pt x="397" y="269"/>
                  <a:pt x="397" y="269"/>
                </a:cubicBezTo>
                <a:cubicBezTo>
                  <a:pt x="397" y="268"/>
                  <a:pt x="397" y="268"/>
                  <a:pt x="397" y="268"/>
                </a:cubicBezTo>
                <a:cubicBezTo>
                  <a:pt x="399" y="267"/>
                  <a:pt x="399" y="267"/>
                  <a:pt x="399" y="267"/>
                </a:cubicBezTo>
                <a:cubicBezTo>
                  <a:pt x="399" y="266"/>
                  <a:pt x="399" y="266"/>
                  <a:pt x="399" y="266"/>
                </a:cubicBezTo>
                <a:cubicBezTo>
                  <a:pt x="400" y="265"/>
                  <a:pt x="400" y="265"/>
                  <a:pt x="400" y="265"/>
                </a:cubicBezTo>
                <a:cubicBezTo>
                  <a:pt x="402" y="266"/>
                  <a:pt x="402" y="266"/>
                  <a:pt x="402" y="266"/>
                </a:cubicBezTo>
                <a:cubicBezTo>
                  <a:pt x="403" y="265"/>
                  <a:pt x="403" y="265"/>
                  <a:pt x="403" y="265"/>
                </a:cubicBezTo>
                <a:cubicBezTo>
                  <a:pt x="404" y="264"/>
                  <a:pt x="404" y="264"/>
                  <a:pt x="404" y="264"/>
                </a:cubicBezTo>
                <a:cubicBezTo>
                  <a:pt x="403" y="263"/>
                  <a:pt x="403" y="263"/>
                  <a:pt x="403" y="263"/>
                </a:cubicBezTo>
                <a:cubicBezTo>
                  <a:pt x="404" y="262"/>
                  <a:pt x="404" y="262"/>
                  <a:pt x="404" y="262"/>
                </a:cubicBezTo>
                <a:cubicBezTo>
                  <a:pt x="404" y="260"/>
                  <a:pt x="404" y="260"/>
                  <a:pt x="404" y="260"/>
                </a:cubicBezTo>
                <a:cubicBezTo>
                  <a:pt x="404" y="260"/>
                  <a:pt x="404" y="260"/>
                  <a:pt x="404" y="260"/>
                </a:cubicBezTo>
                <a:cubicBezTo>
                  <a:pt x="404" y="259"/>
                  <a:pt x="404" y="259"/>
                  <a:pt x="404" y="259"/>
                </a:cubicBezTo>
                <a:cubicBezTo>
                  <a:pt x="404" y="258"/>
                  <a:pt x="404" y="258"/>
                  <a:pt x="404" y="258"/>
                </a:cubicBezTo>
                <a:cubicBezTo>
                  <a:pt x="404" y="257"/>
                  <a:pt x="404" y="257"/>
                  <a:pt x="404" y="257"/>
                </a:cubicBezTo>
                <a:cubicBezTo>
                  <a:pt x="404" y="256"/>
                  <a:pt x="404" y="256"/>
                  <a:pt x="404" y="256"/>
                </a:cubicBezTo>
                <a:cubicBezTo>
                  <a:pt x="403" y="256"/>
                  <a:pt x="403" y="256"/>
                  <a:pt x="403" y="256"/>
                </a:cubicBezTo>
                <a:cubicBezTo>
                  <a:pt x="403" y="255"/>
                  <a:pt x="403" y="255"/>
                  <a:pt x="403" y="255"/>
                </a:cubicBezTo>
                <a:cubicBezTo>
                  <a:pt x="404" y="253"/>
                  <a:pt x="404" y="253"/>
                  <a:pt x="404" y="253"/>
                </a:cubicBezTo>
                <a:cubicBezTo>
                  <a:pt x="405" y="253"/>
                  <a:pt x="405" y="253"/>
                  <a:pt x="405" y="253"/>
                </a:cubicBezTo>
                <a:cubicBezTo>
                  <a:pt x="405" y="252"/>
                  <a:pt x="405" y="252"/>
                  <a:pt x="405" y="252"/>
                </a:cubicBezTo>
                <a:cubicBezTo>
                  <a:pt x="406" y="251"/>
                  <a:pt x="406" y="251"/>
                  <a:pt x="406" y="251"/>
                </a:cubicBezTo>
                <a:cubicBezTo>
                  <a:pt x="405" y="251"/>
                  <a:pt x="405" y="251"/>
                  <a:pt x="405" y="251"/>
                </a:cubicBezTo>
                <a:cubicBezTo>
                  <a:pt x="405" y="251"/>
                  <a:pt x="405" y="251"/>
                  <a:pt x="405" y="251"/>
                </a:cubicBezTo>
                <a:cubicBezTo>
                  <a:pt x="404" y="251"/>
                  <a:pt x="404" y="251"/>
                  <a:pt x="404" y="251"/>
                </a:cubicBezTo>
                <a:cubicBezTo>
                  <a:pt x="404" y="252"/>
                  <a:pt x="404" y="252"/>
                  <a:pt x="404" y="252"/>
                </a:cubicBezTo>
                <a:cubicBezTo>
                  <a:pt x="404" y="252"/>
                  <a:pt x="404" y="252"/>
                  <a:pt x="404" y="252"/>
                </a:cubicBezTo>
                <a:cubicBezTo>
                  <a:pt x="404" y="252"/>
                  <a:pt x="404" y="252"/>
                  <a:pt x="404" y="252"/>
                </a:cubicBezTo>
                <a:cubicBezTo>
                  <a:pt x="404" y="250"/>
                  <a:pt x="404" y="250"/>
                  <a:pt x="404" y="250"/>
                </a:cubicBezTo>
                <a:cubicBezTo>
                  <a:pt x="403" y="250"/>
                  <a:pt x="403" y="250"/>
                  <a:pt x="403" y="250"/>
                </a:cubicBezTo>
                <a:cubicBezTo>
                  <a:pt x="401" y="250"/>
                  <a:pt x="401" y="250"/>
                  <a:pt x="401" y="250"/>
                </a:cubicBezTo>
                <a:cubicBezTo>
                  <a:pt x="400" y="249"/>
                  <a:pt x="400" y="249"/>
                  <a:pt x="400" y="249"/>
                </a:cubicBezTo>
                <a:cubicBezTo>
                  <a:pt x="400" y="249"/>
                  <a:pt x="400" y="249"/>
                  <a:pt x="400" y="249"/>
                </a:cubicBezTo>
                <a:cubicBezTo>
                  <a:pt x="402" y="248"/>
                  <a:pt x="402" y="248"/>
                  <a:pt x="402" y="248"/>
                </a:cubicBezTo>
                <a:cubicBezTo>
                  <a:pt x="402" y="247"/>
                  <a:pt x="402" y="247"/>
                  <a:pt x="402" y="247"/>
                </a:cubicBezTo>
                <a:cubicBezTo>
                  <a:pt x="401" y="247"/>
                  <a:pt x="401" y="247"/>
                  <a:pt x="401" y="247"/>
                </a:cubicBezTo>
                <a:cubicBezTo>
                  <a:pt x="401" y="246"/>
                  <a:pt x="401" y="246"/>
                  <a:pt x="401" y="246"/>
                </a:cubicBezTo>
                <a:cubicBezTo>
                  <a:pt x="401" y="245"/>
                  <a:pt x="401" y="245"/>
                  <a:pt x="401" y="245"/>
                </a:cubicBezTo>
                <a:cubicBezTo>
                  <a:pt x="400" y="244"/>
                  <a:pt x="400" y="244"/>
                  <a:pt x="400" y="244"/>
                </a:cubicBezTo>
                <a:cubicBezTo>
                  <a:pt x="400" y="244"/>
                  <a:pt x="400" y="244"/>
                  <a:pt x="400" y="244"/>
                </a:cubicBezTo>
                <a:cubicBezTo>
                  <a:pt x="400" y="245"/>
                  <a:pt x="400" y="245"/>
                  <a:pt x="400" y="245"/>
                </a:cubicBezTo>
                <a:cubicBezTo>
                  <a:pt x="400" y="246"/>
                  <a:pt x="400" y="246"/>
                  <a:pt x="400" y="246"/>
                </a:cubicBezTo>
                <a:cubicBezTo>
                  <a:pt x="400" y="246"/>
                  <a:pt x="400" y="246"/>
                  <a:pt x="400" y="246"/>
                </a:cubicBezTo>
                <a:cubicBezTo>
                  <a:pt x="398" y="247"/>
                  <a:pt x="398" y="247"/>
                  <a:pt x="398" y="247"/>
                </a:cubicBezTo>
                <a:cubicBezTo>
                  <a:pt x="398" y="246"/>
                  <a:pt x="398" y="246"/>
                  <a:pt x="398" y="246"/>
                </a:cubicBezTo>
                <a:cubicBezTo>
                  <a:pt x="397" y="245"/>
                  <a:pt x="397" y="245"/>
                  <a:pt x="397" y="245"/>
                </a:cubicBezTo>
                <a:cubicBezTo>
                  <a:pt x="397" y="244"/>
                  <a:pt x="397" y="244"/>
                  <a:pt x="397" y="244"/>
                </a:cubicBezTo>
                <a:cubicBezTo>
                  <a:pt x="398" y="243"/>
                  <a:pt x="398" y="243"/>
                  <a:pt x="398" y="243"/>
                </a:cubicBezTo>
                <a:cubicBezTo>
                  <a:pt x="398" y="242"/>
                  <a:pt x="398" y="242"/>
                  <a:pt x="398" y="242"/>
                </a:cubicBezTo>
                <a:cubicBezTo>
                  <a:pt x="396" y="242"/>
                  <a:pt x="396" y="242"/>
                  <a:pt x="396" y="242"/>
                </a:cubicBezTo>
                <a:cubicBezTo>
                  <a:pt x="396" y="242"/>
                  <a:pt x="396" y="242"/>
                  <a:pt x="396" y="242"/>
                </a:cubicBezTo>
                <a:cubicBezTo>
                  <a:pt x="397" y="242"/>
                  <a:pt x="397" y="242"/>
                  <a:pt x="397" y="242"/>
                </a:cubicBezTo>
                <a:cubicBezTo>
                  <a:pt x="398" y="241"/>
                  <a:pt x="398" y="241"/>
                  <a:pt x="398" y="241"/>
                </a:cubicBezTo>
                <a:cubicBezTo>
                  <a:pt x="397" y="241"/>
                  <a:pt x="397" y="241"/>
                  <a:pt x="397" y="241"/>
                </a:cubicBezTo>
                <a:cubicBezTo>
                  <a:pt x="397" y="240"/>
                  <a:pt x="397" y="240"/>
                  <a:pt x="397" y="240"/>
                </a:cubicBezTo>
                <a:cubicBezTo>
                  <a:pt x="398" y="240"/>
                  <a:pt x="398" y="240"/>
                  <a:pt x="398" y="240"/>
                </a:cubicBezTo>
                <a:cubicBezTo>
                  <a:pt x="398" y="239"/>
                  <a:pt x="398" y="239"/>
                  <a:pt x="398" y="239"/>
                </a:cubicBezTo>
                <a:cubicBezTo>
                  <a:pt x="398" y="239"/>
                  <a:pt x="398" y="239"/>
                  <a:pt x="398" y="239"/>
                </a:cubicBezTo>
                <a:cubicBezTo>
                  <a:pt x="397" y="240"/>
                  <a:pt x="397" y="240"/>
                  <a:pt x="397" y="240"/>
                </a:cubicBezTo>
                <a:cubicBezTo>
                  <a:pt x="396" y="241"/>
                  <a:pt x="396" y="241"/>
                  <a:pt x="396" y="241"/>
                </a:cubicBezTo>
                <a:cubicBezTo>
                  <a:pt x="395" y="241"/>
                  <a:pt x="395" y="241"/>
                  <a:pt x="395" y="241"/>
                </a:cubicBezTo>
                <a:cubicBezTo>
                  <a:pt x="395" y="241"/>
                  <a:pt x="395" y="241"/>
                  <a:pt x="395" y="241"/>
                </a:cubicBezTo>
                <a:cubicBezTo>
                  <a:pt x="394" y="240"/>
                  <a:pt x="394" y="240"/>
                  <a:pt x="394" y="240"/>
                </a:cubicBezTo>
                <a:cubicBezTo>
                  <a:pt x="394" y="240"/>
                  <a:pt x="394" y="240"/>
                  <a:pt x="394" y="240"/>
                </a:cubicBezTo>
                <a:cubicBezTo>
                  <a:pt x="393" y="241"/>
                  <a:pt x="393" y="241"/>
                  <a:pt x="393" y="241"/>
                </a:cubicBezTo>
                <a:cubicBezTo>
                  <a:pt x="392" y="241"/>
                  <a:pt x="392" y="241"/>
                  <a:pt x="392" y="241"/>
                </a:cubicBezTo>
                <a:cubicBezTo>
                  <a:pt x="391" y="242"/>
                  <a:pt x="391" y="242"/>
                  <a:pt x="391" y="242"/>
                </a:cubicBezTo>
                <a:cubicBezTo>
                  <a:pt x="390" y="242"/>
                  <a:pt x="390" y="242"/>
                  <a:pt x="390" y="242"/>
                </a:cubicBezTo>
                <a:cubicBezTo>
                  <a:pt x="390" y="242"/>
                  <a:pt x="390" y="242"/>
                  <a:pt x="390" y="242"/>
                </a:cubicBezTo>
                <a:cubicBezTo>
                  <a:pt x="389" y="242"/>
                  <a:pt x="389" y="242"/>
                  <a:pt x="389" y="242"/>
                </a:cubicBezTo>
                <a:cubicBezTo>
                  <a:pt x="389" y="242"/>
                  <a:pt x="389" y="242"/>
                  <a:pt x="389" y="242"/>
                </a:cubicBezTo>
                <a:cubicBezTo>
                  <a:pt x="389" y="242"/>
                  <a:pt x="389" y="242"/>
                  <a:pt x="389" y="242"/>
                </a:cubicBezTo>
                <a:cubicBezTo>
                  <a:pt x="389" y="241"/>
                  <a:pt x="389" y="241"/>
                  <a:pt x="389" y="241"/>
                </a:cubicBezTo>
                <a:cubicBezTo>
                  <a:pt x="389" y="240"/>
                  <a:pt x="389" y="240"/>
                  <a:pt x="389" y="240"/>
                </a:cubicBezTo>
                <a:cubicBezTo>
                  <a:pt x="389" y="240"/>
                  <a:pt x="389" y="240"/>
                  <a:pt x="389" y="240"/>
                </a:cubicBezTo>
                <a:cubicBezTo>
                  <a:pt x="390" y="239"/>
                  <a:pt x="390" y="239"/>
                  <a:pt x="390" y="239"/>
                </a:cubicBezTo>
                <a:cubicBezTo>
                  <a:pt x="390" y="239"/>
                  <a:pt x="390" y="239"/>
                  <a:pt x="390" y="239"/>
                </a:cubicBezTo>
                <a:cubicBezTo>
                  <a:pt x="391" y="239"/>
                  <a:pt x="391" y="239"/>
                  <a:pt x="391" y="239"/>
                </a:cubicBezTo>
                <a:cubicBezTo>
                  <a:pt x="392" y="239"/>
                  <a:pt x="392" y="239"/>
                  <a:pt x="392" y="239"/>
                </a:cubicBezTo>
                <a:cubicBezTo>
                  <a:pt x="392" y="239"/>
                  <a:pt x="392" y="239"/>
                  <a:pt x="392" y="239"/>
                </a:cubicBezTo>
                <a:cubicBezTo>
                  <a:pt x="393" y="239"/>
                  <a:pt x="393" y="239"/>
                  <a:pt x="393" y="239"/>
                </a:cubicBezTo>
                <a:cubicBezTo>
                  <a:pt x="394" y="238"/>
                  <a:pt x="394" y="238"/>
                  <a:pt x="394" y="238"/>
                </a:cubicBezTo>
                <a:cubicBezTo>
                  <a:pt x="394" y="237"/>
                  <a:pt x="394" y="237"/>
                  <a:pt x="394" y="237"/>
                </a:cubicBezTo>
                <a:cubicBezTo>
                  <a:pt x="394" y="236"/>
                  <a:pt x="394" y="236"/>
                  <a:pt x="394" y="236"/>
                </a:cubicBezTo>
                <a:cubicBezTo>
                  <a:pt x="393" y="235"/>
                  <a:pt x="393" y="235"/>
                  <a:pt x="393" y="235"/>
                </a:cubicBezTo>
                <a:cubicBezTo>
                  <a:pt x="392" y="235"/>
                  <a:pt x="392" y="235"/>
                  <a:pt x="392" y="235"/>
                </a:cubicBezTo>
                <a:cubicBezTo>
                  <a:pt x="391" y="234"/>
                  <a:pt x="391" y="234"/>
                  <a:pt x="391" y="234"/>
                </a:cubicBezTo>
                <a:cubicBezTo>
                  <a:pt x="391" y="233"/>
                  <a:pt x="391" y="233"/>
                  <a:pt x="391" y="233"/>
                </a:cubicBezTo>
                <a:cubicBezTo>
                  <a:pt x="391" y="233"/>
                  <a:pt x="391" y="233"/>
                  <a:pt x="391" y="233"/>
                </a:cubicBezTo>
                <a:cubicBezTo>
                  <a:pt x="391" y="232"/>
                  <a:pt x="391" y="232"/>
                  <a:pt x="391" y="232"/>
                </a:cubicBezTo>
                <a:cubicBezTo>
                  <a:pt x="390" y="232"/>
                  <a:pt x="390" y="232"/>
                  <a:pt x="390" y="232"/>
                </a:cubicBezTo>
                <a:cubicBezTo>
                  <a:pt x="390" y="232"/>
                  <a:pt x="390" y="232"/>
                  <a:pt x="390" y="232"/>
                </a:cubicBezTo>
                <a:cubicBezTo>
                  <a:pt x="389" y="231"/>
                  <a:pt x="389" y="231"/>
                  <a:pt x="389" y="231"/>
                </a:cubicBezTo>
                <a:cubicBezTo>
                  <a:pt x="389" y="230"/>
                  <a:pt x="389" y="230"/>
                  <a:pt x="389" y="230"/>
                </a:cubicBezTo>
                <a:cubicBezTo>
                  <a:pt x="390" y="230"/>
                  <a:pt x="390" y="230"/>
                  <a:pt x="390" y="230"/>
                </a:cubicBezTo>
                <a:cubicBezTo>
                  <a:pt x="390" y="231"/>
                  <a:pt x="390" y="231"/>
                  <a:pt x="390" y="231"/>
                </a:cubicBezTo>
                <a:cubicBezTo>
                  <a:pt x="391" y="230"/>
                  <a:pt x="391" y="230"/>
                  <a:pt x="391" y="230"/>
                </a:cubicBezTo>
                <a:cubicBezTo>
                  <a:pt x="391" y="230"/>
                  <a:pt x="391" y="230"/>
                  <a:pt x="391" y="230"/>
                </a:cubicBezTo>
                <a:cubicBezTo>
                  <a:pt x="392" y="229"/>
                  <a:pt x="392" y="229"/>
                  <a:pt x="392" y="229"/>
                </a:cubicBezTo>
                <a:cubicBezTo>
                  <a:pt x="390" y="229"/>
                  <a:pt x="390" y="229"/>
                  <a:pt x="390" y="229"/>
                </a:cubicBezTo>
                <a:cubicBezTo>
                  <a:pt x="390" y="228"/>
                  <a:pt x="390" y="228"/>
                  <a:pt x="390" y="228"/>
                </a:cubicBezTo>
                <a:cubicBezTo>
                  <a:pt x="389" y="228"/>
                  <a:pt x="389" y="228"/>
                  <a:pt x="389" y="228"/>
                </a:cubicBezTo>
                <a:cubicBezTo>
                  <a:pt x="389" y="228"/>
                  <a:pt x="389" y="228"/>
                  <a:pt x="389" y="228"/>
                </a:cubicBezTo>
                <a:cubicBezTo>
                  <a:pt x="388" y="227"/>
                  <a:pt x="388" y="227"/>
                  <a:pt x="388" y="227"/>
                </a:cubicBezTo>
                <a:cubicBezTo>
                  <a:pt x="387" y="228"/>
                  <a:pt x="387" y="228"/>
                  <a:pt x="387" y="228"/>
                </a:cubicBezTo>
                <a:cubicBezTo>
                  <a:pt x="387" y="228"/>
                  <a:pt x="387" y="228"/>
                  <a:pt x="387" y="228"/>
                </a:cubicBezTo>
                <a:cubicBezTo>
                  <a:pt x="387" y="228"/>
                  <a:pt x="387" y="228"/>
                  <a:pt x="387" y="228"/>
                </a:cubicBezTo>
                <a:cubicBezTo>
                  <a:pt x="388" y="226"/>
                  <a:pt x="388" y="226"/>
                  <a:pt x="388" y="226"/>
                </a:cubicBezTo>
                <a:cubicBezTo>
                  <a:pt x="389" y="224"/>
                  <a:pt x="389" y="224"/>
                  <a:pt x="389" y="224"/>
                </a:cubicBezTo>
                <a:cubicBezTo>
                  <a:pt x="389" y="224"/>
                  <a:pt x="389" y="224"/>
                  <a:pt x="389" y="224"/>
                </a:cubicBezTo>
                <a:cubicBezTo>
                  <a:pt x="389" y="222"/>
                  <a:pt x="389" y="222"/>
                  <a:pt x="389" y="222"/>
                </a:cubicBezTo>
                <a:cubicBezTo>
                  <a:pt x="389" y="221"/>
                  <a:pt x="389" y="221"/>
                  <a:pt x="389" y="221"/>
                </a:cubicBezTo>
                <a:cubicBezTo>
                  <a:pt x="390" y="220"/>
                  <a:pt x="390" y="220"/>
                  <a:pt x="390" y="220"/>
                </a:cubicBezTo>
                <a:cubicBezTo>
                  <a:pt x="389" y="219"/>
                  <a:pt x="389" y="219"/>
                  <a:pt x="389" y="219"/>
                </a:cubicBezTo>
                <a:cubicBezTo>
                  <a:pt x="388" y="220"/>
                  <a:pt x="388" y="220"/>
                  <a:pt x="388" y="220"/>
                </a:cubicBezTo>
                <a:cubicBezTo>
                  <a:pt x="388" y="220"/>
                  <a:pt x="388" y="220"/>
                  <a:pt x="388" y="220"/>
                </a:cubicBezTo>
                <a:cubicBezTo>
                  <a:pt x="387" y="220"/>
                  <a:pt x="387" y="220"/>
                  <a:pt x="387" y="220"/>
                </a:cubicBezTo>
                <a:cubicBezTo>
                  <a:pt x="387" y="221"/>
                  <a:pt x="387" y="221"/>
                  <a:pt x="387" y="221"/>
                </a:cubicBezTo>
                <a:cubicBezTo>
                  <a:pt x="386" y="220"/>
                  <a:pt x="386" y="220"/>
                  <a:pt x="386" y="220"/>
                </a:cubicBezTo>
                <a:cubicBezTo>
                  <a:pt x="385" y="219"/>
                  <a:pt x="385" y="219"/>
                  <a:pt x="385" y="219"/>
                </a:cubicBezTo>
                <a:cubicBezTo>
                  <a:pt x="385" y="218"/>
                  <a:pt x="385" y="218"/>
                  <a:pt x="385" y="218"/>
                </a:cubicBezTo>
                <a:cubicBezTo>
                  <a:pt x="384" y="217"/>
                  <a:pt x="384" y="217"/>
                  <a:pt x="384" y="217"/>
                </a:cubicBezTo>
                <a:cubicBezTo>
                  <a:pt x="384" y="217"/>
                  <a:pt x="384" y="217"/>
                  <a:pt x="384" y="217"/>
                </a:cubicBezTo>
                <a:cubicBezTo>
                  <a:pt x="384" y="215"/>
                  <a:pt x="384" y="215"/>
                  <a:pt x="384" y="215"/>
                </a:cubicBezTo>
                <a:cubicBezTo>
                  <a:pt x="385" y="215"/>
                  <a:pt x="385" y="215"/>
                  <a:pt x="385" y="215"/>
                </a:cubicBezTo>
                <a:cubicBezTo>
                  <a:pt x="385" y="214"/>
                  <a:pt x="385" y="214"/>
                  <a:pt x="385" y="214"/>
                </a:cubicBezTo>
                <a:cubicBezTo>
                  <a:pt x="385" y="214"/>
                  <a:pt x="385" y="214"/>
                  <a:pt x="385" y="214"/>
                </a:cubicBezTo>
                <a:cubicBezTo>
                  <a:pt x="385" y="212"/>
                  <a:pt x="385" y="212"/>
                  <a:pt x="385" y="212"/>
                </a:cubicBezTo>
                <a:cubicBezTo>
                  <a:pt x="384" y="213"/>
                  <a:pt x="384" y="213"/>
                  <a:pt x="384" y="213"/>
                </a:cubicBezTo>
                <a:cubicBezTo>
                  <a:pt x="384" y="213"/>
                  <a:pt x="384" y="213"/>
                  <a:pt x="384" y="213"/>
                </a:cubicBezTo>
                <a:cubicBezTo>
                  <a:pt x="383" y="215"/>
                  <a:pt x="383" y="215"/>
                  <a:pt x="383" y="215"/>
                </a:cubicBezTo>
                <a:cubicBezTo>
                  <a:pt x="383" y="216"/>
                  <a:pt x="383" y="216"/>
                  <a:pt x="383" y="216"/>
                </a:cubicBezTo>
                <a:cubicBezTo>
                  <a:pt x="382" y="215"/>
                  <a:pt x="382" y="215"/>
                  <a:pt x="382" y="215"/>
                </a:cubicBezTo>
                <a:cubicBezTo>
                  <a:pt x="382" y="215"/>
                  <a:pt x="382" y="215"/>
                  <a:pt x="382" y="215"/>
                </a:cubicBezTo>
                <a:cubicBezTo>
                  <a:pt x="382" y="215"/>
                  <a:pt x="382" y="215"/>
                  <a:pt x="382" y="215"/>
                </a:cubicBezTo>
                <a:cubicBezTo>
                  <a:pt x="381" y="216"/>
                  <a:pt x="381" y="216"/>
                  <a:pt x="381" y="216"/>
                </a:cubicBezTo>
                <a:cubicBezTo>
                  <a:pt x="381" y="216"/>
                  <a:pt x="381" y="216"/>
                  <a:pt x="381" y="216"/>
                </a:cubicBezTo>
                <a:cubicBezTo>
                  <a:pt x="381" y="217"/>
                  <a:pt x="381" y="217"/>
                  <a:pt x="381" y="217"/>
                </a:cubicBezTo>
                <a:cubicBezTo>
                  <a:pt x="382" y="218"/>
                  <a:pt x="382" y="218"/>
                  <a:pt x="382" y="218"/>
                </a:cubicBezTo>
                <a:cubicBezTo>
                  <a:pt x="382" y="218"/>
                  <a:pt x="382" y="218"/>
                  <a:pt x="382" y="218"/>
                </a:cubicBezTo>
                <a:cubicBezTo>
                  <a:pt x="383" y="221"/>
                  <a:pt x="383" y="221"/>
                  <a:pt x="383" y="221"/>
                </a:cubicBezTo>
                <a:cubicBezTo>
                  <a:pt x="384" y="221"/>
                  <a:pt x="384" y="221"/>
                  <a:pt x="384" y="221"/>
                </a:cubicBezTo>
                <a:cubicBezTo>
                  <a:pt x="384" y="222"/>
                  <a:pt x="384" y="222"/>
                  <a:pt x="384" y="222"/>
                </a:cubicBezTo>
                <a:cubicBezTo>
                  <a:pt x="384" y="223"/>
                  <a:pt x="384" y="223"/>
                  <a:pt x="384" y="223"/>
                </a:cubicBezTo>
                <a:cubicBezTo>
                  <a:pt x="383" y="225"/>
                  <a:pt x="383" y="225"/>
                  <a:pt x="383" y="225"/>
                </a:cubicBezTo>
                <a:cubicBezTo>
                  <a:pt x="382" y="225"/>
                  <a:pt x="382" y="225"/>
                  <a:pt x="382" y="225"/>
                </a:cubicBezTo>
                <a:cubicBezTo>
                  <a:pt x="379" y="225"/>
                  <a:pt x="379" y="225"/>
                  <a:pt x="379" y="225"/>
                </a:cubicBezTo>
                <a:cubicBezTo>
                  <a:pt x="379" y="225"/>
                  <a:pt x="379" y="225"/>
                  <a:pt x="379" y="225"/>
                </a:cubicBezTo>
                <a:cubicBezTo>
                  <a:pt x="378" y="225"/>
                  <a:pt x="378" y="225"/>
                  <a:pt x="378" y="225"/>
                </a:cubicBezTo>
                <a:cubicBezTo>
                  <a:pt x="376" y="224"/>
                  <a:pt x="376" y="224"/>
                  <a:pt x="376" y="224"/>
                </a:cubicBezTo>
                <a:cubicBezTo>
                  <a:pt x="377" y="224"/>
                  <a:pt x="377" y="224"/>
                  <a:pt x="377" y="224"/>
                </a:cubicBezTo>
                <a:cubicBezTo>
                  <a:pt x="377" y="223"/>
                  <a:pt x="377" y="223"/>
                  <a:pt x="377" y="223"/>
                </a:cubicBezTo>
                <a:cubicBezTo>
                  <a:pt x="375" y="223"/>
                  <a:pt x="375" y="223"/>
                  <a:pt x="375" y="223"/>
                </a:cubicBezTo>
                <a:cubicBezTo>
                  <a:pt x="373" y="222"/>
                  <a:pt x="373" y="222"/>
                  <a:pt x="373" y="222"/>
                </a:cubicBezTo>
                <a:cubicBezTo>
                  <a:pt x="371" y="221"/>
                  <a:pt x="371" y="221"/>
                  <a:pt x="371" y="221"/>
                </a:cubicBezTo>
                <a:cubicBezTo>
                  <a:pt x="372" y="224"/>
                  <a:pt x="372" y="224"/>
                  <a:pt x="372" y="224"/>
                </a:cubicBezTo>
                <a:cubicBezTo>
                  <a:pt x="372" y="225"/>
                  <a:pt x="372" y="225"/>
                  <a:pt x="372" y="225"/>
                </a:cubicBezTo>
                <a:cubicBezTo>
                  <a:pt x="372" y="225"/>
                  <a:pt x="372" y="225"/>
                  <a:pt x="372" y="225"/>
                </a:cubicBezTo>
                <a:cubicBezTo>
                  <a:pt x="371" y="225"/>
                  <a:pt x="371" y="225"/>
                  <a:pt x="371" y="225"/>
                </a:cubicBezTo>
                <a:cubicBezTo>
                  <a:pt x="370" y="224"/>
                  <a:pt x="370" y="224"/>
                  <a:pt x="370" y="224"/>
                </a:cubicBezTo>
                <a:cubicBezTo>
                  <a:pt x="369" y="223"/>
                  <a:pt x="369" y="223"/>
                  <a:pt x="369" y="223"/>
                </a:cubicBezTo>
                <a:cubicBezTo>
                  <a:pt x="369" y="223"/>
                  <a:pt x="369" y="223"/>
                  <a:pt x="369" y="223"/>
                </a:cubicBezTo>
                <a:cubicBezTo>
                  <a:pt x="369" y="222"/>
                  <a:pt x="369" y="222"/>
                  <a:pt x="369" y="222"/>
                </a:cubicBezTo>
                <a:cubicBezTo>
                  <a:pt x="368" y="221"/>
                  <a:pt x="368" y="221"/>
                  <a:pt x="368" y="221"/>
                </a:cubicBezTo>
                <a:cubicBezTo>
                  <a:pt x="367" y="220"/>
                  <a:pt x="367" y="220"/>
                  <a:pt x="367" y="220"/>
                </a:cubicBezTo>
                <a:cubicBezTo>
                  <a:pt x="366" y="219"/>
                  <a:pt x="366" y="219"/>
                  <a:pt x="366" y="219"/>
                </a:cubicBezTo>
                <a:cubicBezTo>
                  <a:pt x="366" y="219"/>
                  <a:pt x="366" y="219"/>
                  <a:pt x="366" y="219"/>
                </a:cubicBezTo>
                <a:cubicBezTo>
                  <a:pt x="365" y="217"/>
                  <a:pt x="365" y="217"/>
                  <a:pt x="365" y="217"/>
                </a:cubicBezTo>
                <a:cubicBezTo>
                  <a:pt x="364" y="217"/>
                  <a:pt x="364" y="217"/>
                  <a:pt x="364" y="217"/>
                </a:cubicBezTo>
                <a:cubicBezTo>
                  <a:pt x="363" y="217"/>
                  <a:pt x="363" y="217"/>
                  <a:pt x="363" y="217"/>
                </a:cubicBezTo>
                <a:cubicBezTo>
                  <a:pt x="362" y="216"/>
                  <a:pt x="362" y="216"/>
                  <a:pt x="362" y="216"/>
                </a:cubicBezTo>
                <a:cubicBezTo>
                  <a:pt x="363" y="217"/>
                  <a:pt x="363" y="217"/>
                  <a:pt x="363" y="217"/>
                </a:cubicBezTo>
                <a:cubicBezTo>
                  <a:pt x="365" y="219"/>
                  <a:pt x="365" y="219"/>
                  <a:pt x="365" y="219"/>
                </a:cubicBezTo>
                <a:cubicBezTo>
                  <a:pt x="366" y="220"/>
                  <a:pt x="366" y="220"/>
                  <a:pt x="366" y="220"/>
                </a:cubicBezTo>
                <a:cubicBezTo>
                  <a:pt x="366" y="221"/>
                  <a:pt x="366" y="221"/>
                  <a:pt x="366" y="221"/>
                </a:cubicBezTo>
                <a:cubicBezTo>
                  <a:pt x="367" y="222"/>
                  <a:pt x="367" y="222"/>
                  <a:pt x="367" y="222"/>
                </a:cubicBezTo>
                <a:cubicBezTo>
                  <a:pt x="368" y="222"/>
                  <a:pt x="368" y="222"/>
                  <a:pt x="368" y="222"/>
                </a:cubicBezTo>
                <a:cubicBezTo>
                  <a:pt x="367" y="223"/>
                  <a:pt x="367" y="223"/>
                  <a:pt x="367" y="223"/>
                </a:cubicBezTo>
                <a:cubicBezTo>
                  <a:pt x="367" y="223"/>
                  <a:pt x="367" y="223"/>
                  <a:pt x="367" y="223"/>
                </a:cubicBezTo>
                <a:cubicBezTo>
                  <a:pt x="366" y="223"/>
                  <a:pt x="366" y="223"/>
                  <a:pt x="366" y="223"/>
                </a:cubicBezTo>
                <a:cubicBezTo>
                  <a:pt x="364" y="222"/>
                  <a:pt x="364" y="222"/>
                  <a:pt x="364" y="222"/>
                </a:cubicBezTo>
                <a:cubicBezTo>
                  <a:pt x="364" y="223"/>
                  <a:pt x="364" y="223"/>
                  <a:pt x="364" y="223"/>
                </a:cubicBezTo>
                <a:cubicBezTo>
                  <a:pt x="363" y="222"/>
                  <a:pt x="363" y="222"/>
                  <a:pt x="363" y="222"/>
                </a:cubicBezTo>
                <a:cubicBezTo>
                  <a:pt x="362" y="221"/>
                  <a:pt x="362" y="221"/>
                  <a:pt x="362" y="221"/>
                </a:cubicBezTo>
                <a:cubicBezTo>
                  <a:pt x="361" y="220"/>
                  <a:pt x="361" y="220"/>
                  <a:pt x="361" y="220"/>
                </a:cubicBezTo>
                <a:cubicBezTo>
                  <a:pt x="359" y="220"/>
                  <a:pt x="359" y="220"/>
                  <a:pt x="359" y="220"/>
                </a:cubicBezTo>
                <a:cubicBezTo>
                  <a:pt x="358" y="221"/>
                  <a:pt x="358" y="221"/>
                  <a:pt x="358" y="221"/>
                </a:cubicBezTo>
                <a:cubicBezTo>
                  <a:pt x="357" y="220"/>
                  <a:pt x="357" y="220"/>
                  <a:pt x="357" y="220"/>
                </a:cubicBezTo>
                <a:cubicBezTo>
                  <a:pt x="356" y="220"/>
                  <a:pt x="356" y="220"/>
                  <a:pt x="356" y="220"/>
                </a:cubicBezTo>
                <a:cubicBezTo>
                  <a:pt x="355" y="220"/>
                  <a:pt x="355" y="220"/>
                  <a:pt x="355" y="220"/>
                </a:cubicBezTo>
                <a:cubicBezTo>
                  <a:pt x="354" y="219"/>
                  <a:pt x="354" y="219"/>
                  <a:pt x="354" y="219"/>
                </a:cubicBezTo>
                <a:cubicBezTo>
                  <a:pt x="353" y="218"/>
                  <a:pt x="353" y="218"/>
                  <a:pt x="353" y="218"/>
                </a:cubicBezTo>
                <a:cubicBezTo>
                  <a:pt x="353" y="217"/>
                  <a:pt x="353" y="217"/>
                  <a:pt x="353" y="217"/>
                </a:cubicBezTo>
                <a:cubicBezTo>
                  <a:pt x="355" y="216"/>
                  <a:pt x="355" y="216"/>
                  <a:pt x="355" y="216"/>
                </a:cubicBezTo>
                <a:cubicBezTo>
                  <a:pt x="355" y="215"/>
                  <a:pt x="355" y="215"/>
                  <a:pt x="355" y="215"/>
                </a:cubicBezTo>
                <a:cubicBezTo>
                  <a:pt x="355" y="215"/>
                  <a:pt x="355" y="215"/>
                  <a:pt x="355" y="215"/>
                </a:cubicBezTo>
                <a:cubicBezTo>
                  <a:pt x="354" y="215"/>
                  <a:pt x="354" y="215"/>
                  <a:pt x="354" y="215"/>
                </a:cubicBezTo>
                <a:cubicBezTo>
                  <a:pt x="353" y="216"/>
                  <a:pt x="353" y="216"/>
                  <a:pt x="353" y="216"/>
                </a:cubicBezTo>
                <a:cubicBezTo>
                  <a:pt x="352" y="217"/>
                  <a:pt x="352" y="217"/>
                  <a:pt x="352" y="217"/>
                </a:cubicBezTo>
                <a:cubicBezTo>
                  <a:pt x="352" y="217"/>
                  <a:pt x="352" y="217"/>
                  <a:pt x="352" y="217"/>
                </a:cubicBezTo>
                <a:cubicBezTo>
                  <a:pt x="351" y="217"/>
                  <a:pt x="351" y="217"/>
                  <a:pt x="351" y="217"/>
                </a:cubicBezTo>
                <a:cubicBezTo>
                  <a:pt x="350" y="216"/>
                  <a:pt x="350" y="216"/>
                  <a:pt x="350" y="216"/>
                </a:cubicBezTo>
                <a:cubicBezTo>
                  <a:pt x="349" y="216"/>
                  <a:pt x="349" y="216"/>
                  <a:pt x="349" y="216"/>
                </a:cubicBezTo>
                <a:cubicBezTo>
                  <a:pt x="350" y="217"/>
                  <a:pt x="350" y="217"/>
                  <a:pt x="350" y="217"/>
                </a:cubicBezTo>
                <a:cubicBezTo>
                  <a:pt x="350" y="218"/>
                  <a:pt x="350" y="218"/>
                  <a:pt x="350" y="218"/>
                </a:cubicBezTo>
                <a:cubicBezTo>
                  <a:pt x="348" y="218"/>
                  <a:pt x="348" y="218"/>
                  <a:pt x="348" y="218"/>
                </a:cubicBezTo>
                <a:cubicBezTo>
                  <a:pt x="346" y="216"/>
                  <a:pt x="346" y="216"/>
                  <a:pt x="346" y="216"/>
                </a:cubicBezTo>
                <a:cubicBezTo>
                  <a:pt x="346" y="215"/>
                  <a:pt x="346" y="215"/>
                  <a:pt x="346" y="215"/>
                </a:cubicBezTo>
                <a:cubicBezTo>
                  <a:pt x="345" y="214"/>
                  <a:pt x="345" y="214"/>
                  <a:pt x="345" y="214"/>
                </a:cubicBezTo>
                <a:cubicBezTo>
                  <a:pt x="345" y="213"/>
                  <a:pt x="345" y="213"/>
                  <a:pt x="345" y="213"/>
                </a:cubicBezTo>
                <a:cubicBezTo>
                  <a:pt x="347" y="212"/>
                  <a:pt x="347" y="212"/>
                  <a:pt x="347" y="212"/>
                </a:cubicBezTo>
                <a:cubicBezTo>
                  <a:pt x="348" y="211"/>
                  <a:pt x="348" y="211"/>
                  <a:pt x="348" y="211"/>
                </a:cubicBezTo>
                <a:cubicBezTo>
                  <a:pt x="348" y="211"/>
                  <a:pt x="348" y="211"/>
                  <a:pt x="348" y="211"/>
                </a:cubicBezTo>
                <a:cubicBezTo>
                  <a:pt x="347" y="211"/>
                  <a:pt x="347" y="211"/>
                  <a:pt x="347" y="211"/>
                </a:cubicBezTo>
                <a:cubicBezTo>
                  <a:pt x="345" y="212"/>
                  <a:pt x="345" y="212"/>
                  <a:pt x="345" y="212"/>
                </a:cubicBezTo>
                <a:cubicBezTo>
                  <a:pt x="345" y="213"/>
                  <a:pt x="345" y="213"/>
                  <a:pt x="345" y="213"/>
                </a:cubicBezTo>
                <a:cubicBezTo>
                  <a:pt x="344" y="213"/>
                  <a:pt x="344" y="213"/>
                  <a:pt x="344" y="213"/>
                </a:cubicBezTo>
                <a:cubicBezTo>
                  <a:pt x="344" y="212"/>
                  <a:pt x="344" y="212"/>
                  <a:pt x="344" y="212"/>
                </a:cubicBezTo>
                <a:cubicBezTo>
                  <a:pt x="344" y="211"/>
                  <a:pt x="344" y="211"/>
                  <a:pt x="344" y="211"/>
                </a:cubicBezTo>
                <a:cubicBezTo>
                  <a:pt x="343" y="211"/>
                  <a:pt x="343" y="211"/>
                  <a:pt x="343" y="211"/>
                </a:cubicBezTo>
                <a:cubicBezTo>
                  <a:pt x="343" y="211"/>
                  <a:pt x="343" y="211"/>
                  <a:pt x="343" y="211"/>
                </a:cubicBezTo>
                <a:cubicBezTo>
                  <a:pt x="343" y="212"/>
                  <a:pt x="343" y="212"/>
                  <a:pt x="343" y="212"/>
                </a:cubicBezTo>
                <a:cubicBezTo>
                  <a:pt x="343" y="212"/>
                  <a:pt x="343" y="212"/>
                  <a:pt x="343" y="212"/>
                </a:cubicBezTo>
                <a:cubicBezTo>
                  <a:pt x="343" y="213"/>
                  <a:pt x="343" y="213"/>
                  <a:pt x="343" y="213"/>
                </a:cubicBezTo>
                <a:cubicBezTo>
                  <a:pt x="342" y="213"/>
                  <a:pt x="342" y="213"/>
                  <a:pt x="342" y="213"/>
                </a:cubicBezTo>
                <a:cubicBezTo>
                  <a:pt x="341" y="212"/>
                  <a:pt x="341" y="212"/>
                  <a:pt x="341" y="212"/>
                </a:cubicBezTo>
                <a:cubicBezTo>
                  <a:pt x="340" y="212"/>
                  <a:pt x="340" y="212"/>
                  <a:pt x="340" y="212"/>
                </a:cubicBezTo>
                <a:cubicBezTo>
                  <a:pt x="339" y="212"/>
                  <a:pt x="339" y="212"/>
                  <a:pt x="339" y="212"/>
                </a:cubicBezTo>
                <a:cubicBezTo>
                  <a:pt x="339" y="213"/>
                  <a:pt x="339" y="213"/>
                  <a:pt x="339" y="213"/>
                </a:cubicBezTo>
                <a:cubicBezTo>
                  <a:pt x="338" y="213"/>
                  <a:pt x="338" y="213"/>
                  <a:pt x="338" y="213"/>
                </a:cubicBezTo>
                <a:cubicBezTo>
                  <a:pt x="337" y="212"/>
                  <a:pt x="337" y="212"/>
                  <a:pt x="337" y="212"/>
                </a:cubicBezTo>
                <a:cubicBezTo>
                  <a:pt x="337" y="211"/>
                  <a:pt x="337" y="211"/>
                  <a:pt x="337" y="211"/>
                </a:cubicBezTo>
                <a:cubicBezTo>
                  <a:pt x="337" y="211"/>
                  <a:pt x="337" y="211"/>
                  <a:pt x="337" y="211"/>
                </a:cubicBezTo>
                <a:cubicBezTo>
                  <a:pt x="338" y="211"/>
                  <a:pt x="338" y="211"/>
                  <a:pt x="338" y="211"/>
                </a:cubicBezTo>
                <a:cubicBezTo>
                  <a:pt x="338" y="211"/>
                  <a:pt x="338" y="211"/>
                  <a:pt x="338" y="211"/>
                </a:cubicBezTo>
                <a:cubicBezTo>
                  <a:pt x="337" y="210"/>
                  <a:pt x="337" y="210"/>
                  <a:pt x="337" y="210"/>
                </a:cubicBezTo>
                <a:cubicBezTo>
                  <a:pt x="335" y="209"/>
                  <a:pt x="335" y="209"/>
                  <a:pt x="335" y="209"/>
                </a:cubicBezTo>
                <a:cubicBezTo>
                  <a:pt x="335" y="208"/>
                  <a:pt x="335" y="208"/>
                  <a:pt x="335" y="208"/>
                </a:cubicBezTo>
                <a:cubicBezTo>
                  <a:pt x="335" y="206"/>
                  <a:pt x="335" y="206"/>
                  <a:pt x="335" y="206"/>
                </a:cubicBezTo>
                <a:cubicBezTo>
                  <a:pt x="335" y="205"/>
                  <a:pt x="335" y="205"/>
                  <a:pt x="335" y="205"/>
                </a:cubicBezTo>
                <a:cubicBezTo>
                  <a:pt x="335" y="203"/>
                  <a:pt x="335" y="203"/>
                  <a:pt x="335" y="203"/>
                </a:cubicBezTo>
                <a:cubicBezTo>
                  <a:pt x="335" y="202"/>
                  <a:pt x="335" y="202"/>
                  <a:pt x="335" y="202"/>
                </a:cubicBezTo>
                <a:cubicBezTo>
                  <a:pt x="336" y="202"/>
                  <a:pt x="336" y="202"/>
                  <a:pt x="336" y="202"/>
                </a:cubicBezTo>
                <a:cubicBezTo>
                  <a:pt x="336" y="201"/>
                  <a:pt x="336" y="201"/>
                  <a:pt x="336" y="201"/>
                </a:cubicBezTo>
                <a:cubicBezTo>
                  <a:pt x="335" y="200"/>
                  <a:pt x="335" y="200"/>
                  <a:pt x="335" y="200"/>
                </a:cubicBezTo>
                <a:cubicBezTo>
                  <a:pt x="336" y="199"/>
                  <a:pt x="336" y="199"/>
                  <a:pt x="336" y="199"/>
                </a:cubicBezTo>
                <a:cubicBezTo>
                  <a:pt x="337" y="200"/>
                  <a:pt x="337" y="200"/>
                  <a:pt x="337" y="200"/>
                </a:cubicBezTo>
                <a:cubicBezTo>
                  <a:pt x="337" y="200"/>
                  <a:pt x="337" y="200"/>
                  <a:pt x="337" y="200"/>
                </a:cubicBezTo>
                <a:cubicBezTo>
                  <a:pt x="339" y="200"/>
                  <a:pt x="339" y="200"/>
                  <a:pt x="339" y="200"/>
                </a:cubicBezTo>
                <a:cubicBezTo>
                  <a:pt x="340" y="201"/>
                  <a:pt x="340" y="201"/>
                  <a:pt x="340" y="201"/>
                </a:cubicBezTo>
                <a:cubicBezTo>
                  <a:pt x="341" y="202"/>
                  <a:pt x="341" y="202"/>
                  <a:pt x="341" y="202"/>
                </a:cubicBezTo>
                <a:cubicBezTo>
                  <a:pt x="343" y="203"/>
                  <a:pt x="343" y="203"/>
                  <a:pt x="343" y="203"/>
                </a:cubicBezTo>
                <a:cubicBezTo>
                  <a:pt x="345" y="203"/>
                  <a:pt x="345" y="203"/>
                  <a:pt x="345" y="203"/>
                </a:cubicBezTo>
                <a:cubicBezTo>
                  <a:pt x="345" y="203"/>
                  <a:pt x="345" y="203"/>
                  <a:pt x="345" y="203"/>
                </a:cubicBezTo>
                <a:cubicBezTo>
                  <a:pt x="347" y="203"/>
                  <a:pt x="347" y="203"/>
                  <a:pt x="347" y="203"/>
                </a:cubicBezTo>
                <a:cubicBezTo>
                  <a:pt x="346" y="202"/>
                  <a:pt x="346" y="202"/>
                  <a:pt x="346" y="202"/>
                </a:cubicBezTo>
                <a:cubicBezTo>
                  <a:pt x="346" y="201"/>
                  <a:pt x="346" y="201"/>
                  <a:pt x="346" y="201"/>
                </a:cubicBezTo>
                <a:cubicBezTo>
                  <a:pt x="345" y="200"/>
                  <a:pt x="345" y="200"/>
                  <a:pt x="345" y="200"/>
                </a:cubicBezTo>
                <a:cubicBezTo>
                  <a:pt x="344" y="199"/>
                  <a:pt x="344" y="199"/>
                  <a:pt x="344" y="199"/>
                </a:cubicBezTo>
                <a:cubicBezTo>
                  <a:pt x="343" y="199"/>
                  <a:pt x="343" y="199"/>
                  <a:pt x="343" y="199"/>
                </a:cubicBezTo>
                <a:cubicBezTo>
                  <a:pt x="341" y="198"/>
                  <a:pt x="341" y="198"/>
                  <a:pt x="341" y="198"/>
                </a:cubicBezTo>
                <a:cubicBezTo>
                  <a:pt x="341" y="198"/>
                  <a:pt x="341" y="198"/>
                  <a:pt x="341" y="198"/>
                </a:cubicBezTo>
                <a:cubicBezTo>
                  <a:pt x="339" y="197"/>
                  <a:pt x="339" y="197"/>
                  <a:pt x="339" y="197"/>
                </a:cubicBezTo>
                <a:cubicBezTo>
                  <a:pt x="338" y="197"/>
                  <a:pt x="338" y="197"/>
                  <a:pt x="338" y="197"/>
                </a:cubicBezTo>
                <a:cubicBezTo>
                  <a:pt x="336" y="196"/>
                  <a:pt x="336" y="196"/>
                  <a:pt x="336" y="196"/>
                </a:cubicBezTo>
                <a:cubicBezTo>
                  <a:pt x="335" y="195"/>
                  <a:pt x="335" y="195"/>
                  <a:pt x="335" y="195"/>
                </a:cubicBezTo>
                <a:cubicBezTo>
                  <a:pt x="335" y="193"/>
                  <a:pt x="335" y="193"/>
                  <a:pt x="335" y="193"/>
                </a:cubicBezTo>
                <a:cubicBezTo>
                  <a:pt x="337" y="192"/>
                  <a:pt x="337" y="192"/>
                  <a:pt x="337" y="192"/>
                </a:cubicBezTo>
                <a:cubicBezTo>
                  <a:pt x="336" y="191"/>
                  <a:pt x="336" y="191"/>
                  <a:pt x="336" y="191"/>
                </a:cubicBezTo>
                <a:cubicBezTo>
                  <a:pt x="337" y="190"/>
                  <a:pt x="337" y="190"/>
                  <a:pt x="337" y="190"/>
                </a:cubicBezTo>
                <a:cubicBezTo>
                  <a:pt x="338" y="190"/>
                  <a:pt x="338" y="190"/>
                  <a:pt x="338" y="190"/>
                </a:cubicBezTo>
                <a:cubicBezTo>
                  <a:pt x="338" y="188"/>
                  <a:pt x="338" y="188"/>
                  <a:pt x="338" y="188"/>
                </a:cubicBezTo>
                <a:cubicBezTo>
                  <a:pt x="338" y="186"/>
                  <a:pt x="338" y="186"/>
                  <a:pt x="338" y="186"/>
                </a:cubicBezTo>
                <a:cubicBezTo>
                  <a:pt x="339" y="185"/>
                  <a:pt x="339" y="185"/>
                  <a:pt x="339" y="185"/>
                </a:cubicBezTo>
                <a:cubicBezTo>
                  <a:pt x="340" y="185"/>
                  <a:pt x="340" y="185"/>
                  <a:pt x="340" y="185"/>
                </a:cubicBezTo>
                <a:cubicBezTo>
                  <a:pt x="340" y="184"/>
                  <a:pt x="340" y="184"/>
                  <a:pt x="340" y="184"/>
                </a:cubicBezTo>
                <a:cubicBezTo>
                  <a:pt x="342" y="183"/>
                  <a:pt x="342" y="183"/>
                  <a:pt x="342" y="183"/>
                </a:cubicBezTo>
                <a:cubicBezTo>
                  <a:pt x="343" y="183"/>
                  <a:pt x="343" y="183"/>
                  <a:pt x="343" y="183"/>
                </a:cubicBezTo>
                <a:cubicBezTo>
                  <a:pt x="343" y="182"/>
                  <a:pt x="343" y="182"/>
                  <a:pt x="343" y="182"/>
                </a:cubicBezTo>
                <a:cubicBezTo>
                  <a:pt x="343" y="182"/>
                  <a:pt x="343" y="182"/>
                  <a:pt x="343" y="182"/>
                </a:cubicBezTo>
                <a:cubicBezTo>
                  <a:pt x="342" y="182"/>
                  <a:pt x="342" y="182"/>
                  <a:pt x="342" y="182"/>
                </a:cubicBezTo>
                <a:cubicBezTo>
                  <a:pt x="342" y="181"/>
                  <a:pt x="342" y="181"/>
                  <a:pt x="342" y="181"/>
                </a:cubicBezTo>
                <a:cubicBezTo>
                  <a:pt x="343" y="179"/>
                  <a:pt x="343" y="179"/>
                  <a:pt x="343" y="179"/>
                </a:cubicBezTo>
                <a:cubicBezTo>
                  <a:pt x="344" y="178"/>
                  <a:pt x="344" y="178"/>
                  <a:pt x="344" y="178"/>
                </a:cubicBezTo>
                <a:cubicBezTo>
                  <a:pt x="345" y="177"/>
                  <a:pt x="345" y="177"/>
                  <a:pt x="345" y="177"/>
                </a:cubicBezTo>
                <a:cubicBezTo>
                  <a:pt x="346" y="176"/>
                  <a:pt x="346" y="176"/>
                  <a:pt x="346" y="176"/>
                </a:cubicBezTo>
                <a:cubicBezTo>
                  <a:pt x="346" y="176"/>
                  <a:pt x="346" y="176"/>
                  <a:pt x="346" y="176"/>
                </a:cubicBezTo>
                <a:cubicBezTo>
                  <a:pt x="347" y="176"/>
                  <a:pt x="347" y="176"/>
                  <a:pt x="347" y="176"/>
                </a:cubicBezTo>
                <a:cubicBezTo>
                  <a:pt x="347" y="174"/>
                  <a:pt x="347" y="174"/>
                  <a:pt x="347" y="174"/>
                </a:cubicBezTo>
                <a:cubicBezTo>
                  <a:pt x="348" y="174"/>
                  <a:pt x="348" y="174"/>
                  <a:pt x="348" y="174"/>
                </a:cubicBezTo>
                <a:cubicBezTo>
                  <a:pt x="348" y="175"/>
                  <a:pt x="348" y="175"/>
                  <a:pt x="348" y="175"/>
                </a:cubicBezTo>
                <a:cubicBezTo>
                  <a:pt x="349" y="174"/>
                  <a:pt x="349" y="174"/>
                  <a:pt x="349" y="174"/>
                </a:cubicBezTo>
                <a:cubicBezTo>
                  <a:pt x="349" y="173"/>
                  <a:pt x="349" y="173"/>
                  <a:pt x="349" y="173"/>
                </a:cubicBezTo>
                <a:cubicBezTo>
                  <a:pt x="350" y="171"/>
                  <a:pt x="350" y="171"/>
                  <a:pt x="350" y="171"/>
                </a:cubicBezTo>
                <a:cubicBezTo>
                  <a:pt x="351" y="171"/>
                  <a:pt x="351" y="171"/>
                  <a:pt x="351" y="171"/>
                </a:cubicBezTo>
                <a:cubicBezTo>
                  <a:pt x="351" y="170"/>
                  <a:pt x="351" y="170"/>
                  <a:pt x="351" y="170"/>
                </a:cubicBezTo>
                <a:cubicBezTo>
                  <a:pt x="352" y="169"/>
                  <a:pt x="352" y="169"/>
                  <a:pt x="352" y="169"/>
                </a:cubicBezTo>
                <a:cubicBezTo>
                  <a:pt x="353" y="169"/>
                  <a:pt x="353" y="169"/>
                  <a:pt x="353" y="169"/>
                </a:cubicBezTo>
                <a:cubicBezTo>
                  <a:pt x="354" y="168"/>
                  <a:pt x="354" y="168"/>
                  <a:pt x="354" y="168"/>
                </a:cubicBezTo>
                <a:cubicBezTo>
                  <a:pt x="355" y="168"/>
                  <a:pt x="355" y="168"/>
                  <a:pt x="355" y="168"/>
                </a:cubicBezTo>
                <a:cubicBezTo>
                  <a:pt x="356" y="168"/>
                  <a:pt x="356" y="168"/>
                  <a:pt x="356" y="168"/>
                </a:cubicBezTo>
                <a:cubicBezTo>
                  <a:pt x="355" y="167"/>
                  <a:pt x="355" y="167"/>
                  <a:pt x="355" y="167"/>
                </a:cubicBezTo>
                <a:cubicBezTo>
                  <a:pt x="356" y="166"/>
                  <a:pt x="356" y="166"/>
                  <a:pt x="356" y="166"/>
                </a:cubicBezTo>
                <a:cubicBezTo>
                  <a:pt x="358" y="165"/>
                  <a:pt x="358" y="165"/>
                  <a:pt x="358" y="165"/>
                </a:cubicBezTo>
                <a:cubicBezTo>
                  <a:pt x="360" y="163"/>
                  <a:pt x="360" y="163"/>
                  <a:pt x="360" y="163"/>
                </a:cubicBezTo>
                <a:cubicBezTo>
                  <a:pt x="363" y="162"/>
                  <a:pt x="363" y="162"/>
                  <a:pt x="363" y="162"/>
                </a:cubicBezTo>
                <a:cubicBezTo>
                  <a:pt x="366" y="162"/>
                  <a:pt x="366" y="162"/>
                  <a:pt x="366" y="162"/>
                </a:cubicBezTo>
                <a:cubicBezTo>
                  <a:pt x="367" y="161"/>
                  <a:pt x="367" y="161"/>
                  <a:pt x="367" y="161"/>
                </a:cubicBezTo>
                <a:cubicBezTo>
                  <a:pt x="368" y="161"/>
                  <a:pt x="368" y="161"/>
                  <a:pt x="368" y="161"/>
                </a:cubicBezTo>
                <a:cubicBezTo>
                  <a:pt x="369" y="161"/>
                  <a:pt x="369" y="161"/>
                  <a:pt x="369" y="161"/>
                </a:cubicBezTo>
                <a:cubicBezTo>
                  <a:pt x="370" y="161"/>
                  <a:pt x="370" y="161"/>
                  <a:pt x="370" y="161"/>
                </a:cubicBezTo>
                <a:cubicBezTo>
                  <a:pt x="372" y="161"/>
                  <a:pt x="372" y="161"/>
                  <a:pt x="372" y="161"/>
                </a:cubicBezTo>
                <a:cubicBezTo>
                  <a:pt x="373" y="162"/>
                  <a:pt x="373" y="162"/>
                  <a:pt x="373" y="162"/>
                </a:cubicBezTo>
                <a:cubicBezTo>
                  <a:pt x="376" y="164"/>
                  <a:pt x="376" y="164"/>
                  <a:pt x="376" y="164"/>
                </a:cubicBezTo>
                <a:cubicBezTo>
                  <a:pt x="376" y="164"/>
                  <a:pt x="376" y="164"/>
                  <a:pt x="376" y="164"/>
                </a:cubicBezTo>
                <a:cubicBezTo>
                  <a:pt x="376" y="165"/>
                  <a:pt x="376" y="165"/>
                  <a:pt x="376" y="165"/>
                </a:cubicBezTo>
                <a:cubicBezTo>
                  <a:pt x="374" y="166"/>
                  <a:pt x="374" y="166"/>
                  <a:pt x="374" y="166"/>
                </a:cubicBezTo>
                <a:cubicBezTo>
                  <a:pt x="372" y="167"/>
                  <a:pt x="372" y="167"/>
                  <a:pt x="372" y="167"/>
                </a:cubicBezTo>
                <a:cubicBezTo>
                  <a:pt x="371" y="167"/>
                  <a:pt x="371" y="167"/>
                  <a:pt x="371" y="167"/>
                </a:cubicBezTo>
                <a:cubicBezTo>
                  <a:pt x="370" y="168"/>
                  <a:pt x="370" y="168"/>
                  <a:pt x="370" y="168"/>
                </a:cubicBezTo>
                <a:cubicBezTo>
                  <a:pt x="369" y="169"/>
                  <a:pt x="369" y="169"/>
                  <a:pt x="369" y="169"/>
                </a:cubicBezTo>
                <a:cubicBezTo>
                  <a:pt x="368" y="169"/>
                  <a:pt x="368" y="169"/>
                  <a:pt x="368" y="169"/>
                </a:cubicBezTo>
                <a:cubicBezTo>
                  <a:pt x="366" y="172"/>
                  <a:pt x="366" y="172"/>
                  <a:pt x="366" y="172"/>
                </a:cubicBezTo>
                <a:cubicBezTo>
                  <a:pt x="363" y="174"/>
                  <a:pt x="363" y="174"/>
                  <a:pt x="363" y="174"/>
                </a:cubicBezTo>
                <a:cubicBezTo>
                  <a:pt x="362" y="176"/>
                  <a:pt x="362" y="176"/>
                  <a:pt x="362" y="176"/>
                </a:cubicBezTo>
                <a:cubicBezTo>
                  <a:pt x="361" y="176"/>
                  <a:pt x="361" y="176"/>
                  <a:pt x="361" y="176"/>
                </a:cubicBezTo>
                <a:cubicBezTo>
                  <a:pt x="360" y="178"/>
                  <a:pt x="360" y="178"/>
                  <a:pt x="360" y="178"/>
                </a:cubicBezTo>
                <a:cubicBezTo>
                  <a:pt x="359" y="180"/>
                  <a:pt x="359" y="180"/>
                  <a:pt x="359" y="180"/>
                </a:cubicBezTo>
                <a:cubicBezTo>
                  <a:pt x="360" y="181"/>
                  <a:pt x="360" y="181"/>
                  <a:pt x="360" y="181"/>
                </a:cubicBezTo>
                <a:cubicBezTo>
                  <a:pt x="361" y="182"/>
                  <a:pt x="361" y="182"/>
                  <a:pt x="361" y="182"/>
                </a:cubicBezTo>
                <a:cubicBezTo>
                  <a:pt x="361" y="183"/>
                  <a:pt x="361" y="183"/>
                  <a:pt x="361" y="183"/>
                </a:cubicBezTo>
                <a:cubicBezTo>
                  <a:pt x="360" y="184"/>
                  <a:pt x="360" y="184"/>
                  <a:pt x="360" y="184"/>
                </a:cubicBezTo>
                <a:cubicBezTo>
                  <a:pt x="359" y="185"/>
                  <a:pt x="359" y="185"/>
                  <a:pt x="359" y="185"/>
                </a:cubicBezTo>
                <a:cubicBezTo>
                  <a:pt x="358" y="186"/>
                  <a:pt x="358" y="186"/>
                  <a:pt x="358" y="186"/>
                </a:cubicBezTo>
                <a:cubicBezTo>
                  <a:pt x="357" y="187"/>
                  <a:pt x="357" y="187"/>
                  <a:pt x="357" y="187"/>
                </a:cubicBezTo>
                <a:cubicBezTo>
                  <a:pt x="357" y="189"/>
                  <a:pt x="357" y="189"/>
                  <a:pt x="357" y="189"/>
                </a:cubicBezTo>
                <a:cubicBezTo>
                  <a:pt x="356" y="189"/>
                  <a:pt x="356" y="189"/>
                  <a:pt x="356" y="189"/>
                </a:cubicBezTo>
                <a:cubicBezTo>
                  <a:pt x="356" y="190"/>
                  <a:pt x="356" y="190"/>
                  <a:pt x="356" y="190"/>
                </a:cubicBezTo>
                <a:cubicBezTo>
                  <a:pt x="357" y="191"/>
                  <a:pt x="357" y="191"/>
                  <a:pt x="357" y="191"/>
                </a:cubicBezTo>
                <a:cubicBezTo>
                  <a:pt x="357" y="193"/>
                  <a:pt x="357" y="193"/>
                  <a:pt x="357" y="193"/>
                </a:cubicBezTo>
                <a:cubicBezTo>
                  <a:pt x="357" y="194"/>
                  <a:pt x="357" y="194"/>
                  <a:pt x="357" y="194"/>
                </a:cubicBezTo>
                <a:cubicBezTo>
                  <a:pt x="357" y="196"/>
                  <a:pt x="357" y="196"/>
                  <a:pt x="357" y="196"/>
                </a:cubicBezTo>
                <a:cubicBezTo>
                  <a:pt x="358" y="197"/>
                  <a:pt x="358" y="197"/>
                  <a:pt x="358" y="197"/>
                </a:cubicBezTo>
                <a:cubicBezTo>
                  <a:pt x="359" y="198"/>
                  <a:pt x="359" y="198"/>
                  <a:pt x="359" y="198"/>
                </a:cubicBezTo>
                <a:cubicBezTo>
                  <a:pt x="360" y="198"/>
                  <a:pt x="360" y="198"/>
                  <a:pt x="360" y="198"/>
                </a:cubicBezTo>
                <a:cubicBezTo>
                  <a:pt x="360" y="200"/>
                  <a:pt x="360" y="200"/>
                  <a:pt x="360" y="200"/>
                </a:cubicBezTo>
                <a:cubicBezTo>
                  <a:pt x="359" y="201"/>
                  <a:pt x="359" y="201"/>
                  <a:pt x="359" y="201"/>
                </a:cubicBezTo>
                <a:cubicBezTo>
                  <a:pt x="359" y="200"/>
                  <a:pt x="359" y="200"/>
                  <a:pt x="359" y="200"/>
                </a:cubicBezTo>
                <a:cubicBezTo>
                  <a:pt x="358" y="200"/>
                  <a:pt x="358" y="200"/>
                  <a:pt x="358" y="200"/>
                </a:cubicBezTo>
                <a:cubicBezTo>
                  <a:pt x="358" y="200"/>
                  <a:pt x="358" y="200"/>
                  <a:pt x="358" y="200"/>
                </a:cubicBezTo>
                <a:cubicBezTo>
                  <a:pt x="357" y="200"/>
                  <a:pt x="357" y="200"/>
                  <a:pt x="357" y="200"/>
                </a:cubicBezTo>
                <a:cubicBezTo>
                  <a:pt x="357" y="201"/>
                  <a:pt x="357" y="201"/>
                  <a:pt x="357" y="201"/>
                </a:cubicBezTo>
                <a:cubicBezTo>
                  <a:pt x="356" y="201"/>
                  <a:pt x="356" y="201"/>
                  <a:pt x="356" y="201"/>
                </a:cubicBezTo>
                <a:cubicBezTo>
                  <a:pt x="356" y="201"/>
                  <a:pt x="356" y="201"/>
                  <a:pt x="356" y="201"/>
                </a:cubicBezTo>
                <a:cubicBezTo>
                  <a:pt x="357" y="202"/>
                  <a:pt x="357" y="202"/>
                  <a:pt x="357" y="202"/>
                </a:cubicBezTo>
                <a:cubicBezTo>
                  <a:pt x="358" y="202"/>
                  <a:pt x="358" y="202"/>
                  <a:pt x="358" y="202"/>
                </a:cubicBezTo>
                <a:cubicBezTo>
                  <a:pt x="358" y="202"/>
                  <a:pt x="358" y="202"/>
                  <a:pt x="358" y="202"/>
                </a:cubicBezTo>
                <a:cubicBezTo>
                  <a:pt x="359" y="202"/>
                  <a:pt x="359" y="202"/>
                  <a:pt x="359" y="202"/>
                </a:cubicBezTo>
                <a:cubicBezTo>
                  <a:pt x="358" y="203"/>
                  <a:pt x="358" y="203"/>
                  <a:pt x="358" y="203"/>
                </a:cubicBezTo>
                <a:cubicBezTo>
                  <a:pt x="357" y="205"/>
                  <a:pt x="357" y="205"/>
                  <a:pt x="357" y="205"/>
                </a:cubicBezTo>
                <a:cubicBezTo>
                  <a:pt x="357" y="206"/>
                  <a:pt x="357" y="206"/>
                  <a:pt x="357" y="206"/>
                </a:cubicBezTo>
                <a:cubicBezTo>
                  <a:pt x="357" y="207"/>
                  <a:pt x="357" y="207"/>
                  <a:pt x="357" y="207"/>
                </a:cubicBezTo>
                <a:cubicBezTo>
                  <a:pt x="359" y="205"/>
                  <a:pt x="359" y="205"/>
                  <a:pt x="359" y="205"/>
                </a:cubicBezTo>
                <a:cubicBezTo>
                  <a:pt x="359" y="205"/>
                  <a:pt x="359" y="205"/>
                  <a:pt x="359" y="205"/>
                </a:cubicBezTo>
                <a:cubicBezTo>
                  <a:pt x="360" y="202"/>
                  <a:pt x="360" y="202"/>
                  <a:pt x="360" y="202"/>
                </a:cubicBezTo>
                <a:cubicBezTo>
                  <a:pt x="360" y="202"/>
                  <a:pt x="360" y="202"/>
                  <a:pt x="360" y="202"/>
                </a:cubicBezTo>
                <a:cubicBezTo>
                  <a:pt x="361" y="199"/>
                  <a:pt x="361" y="199"/>
                  <a:pt x="361" y="199"/>
                </a:cubicBezTo>
                <a:cubicBezTo>
                  <a:pt x="361" y="199"/>
                  <a:pt x="361" y="199"/>
                  <a:pt x="361" y="199"/>
                </a:cubicBezTo>
                <a:cubicBezTo>
                  <a:pt x="362" y="198"/>
                  <a:pt x="362" y="198"/>
                  <a:pt x="362" y="198"/>
                </a:cubicBezTo>
                <a:cubicBezTo>
                  <a:pt x="362" y="197"/>
                  <a:pt x="362" y="197"/>
                  <a:pt x="362" y="197"/>
                </a:cubicBezTo>
                <a:cubicBezTo>
                  <a:pt x="362" y="196"/>
                  <a:pt x="362" y="196"/>
                  <a:pt x="362" y="196"/>
                </a:cubicBezTo>
                <a:cubicBezTo>
                  <a:pt x="362" y="195"/>
                  <a:pt x="362" y="195"/>
                  <a:pt x="362" y="195"/>
                </a:cubicBezTo>
                <a:cubicBezTo>
                  <a:pt x="361" y="195"/>
                  <a:pt x="361" y="195"/>
                  <a:pt x="361" y="195"/>
                </a:cubicBezTo>
                <a:cubicBezTo>
                  <a:pt x="361" y="194"/>
                  <a:pt x="361" y="194"/>
                  <a:pt x="361" y="194"/>
                </a:cubicBezTo>
                <a:cubicBezTo>
                  <a:pt x="361" y="193"/>
                  <a:pt x="361" y="193"/>
                  <a:pt x="361" y="193"/>
                </a:cubicBezTo>
                <a:cubicBezTo>
                  <a:pt x="360" y="193"/>
                  <a:pt x="360" y="193"/>
                  <a:pt x="360" y="193"/>
                </a:cubicBezTo>
                <a:cubicBezTo>
                  <a:pt x="360" y="191"/>
                  <a:pt x="360" y="191"/>
                  <a:pt x="360" y="191"/>
                </a:cubicBezTo>
                <a:cubicBezTo>
                  <a:pt x="360" y="190"/>
                  <a:pt x="360" y="190"/>
                  <a:pt x="360" y="190"/>
                </a:cubicBezTo>
                <a:cubicBezTo>
                  <a:pt x="359" y="188"/>
                  <a:pt x="359" y="188"/>
                  <a:pt x="359" y="188"/>
                </a:cubicBezTo>
                <a:cubicBezTo>
                  <a:pt x="360" y="188"/>
                  <a:pt x="360" y="188"/>
                  <a:pt x="360" y="188"/>
                </a:cubicBezTo>
                <a:cubicBezTo>
                  <a:pt x="360" y="189"/>
                  <a:pt x="360" y="189"/>
                  <a:pt x="360" y="189"/>
                </a:cubicBezTo>
                <a:cubicBezTo>
                  <a:pt x="361" y="189"/>
                  <a:pt x="361" y="189"/>
                  <a:pt x="361" y="189"/>
                </a:cubicBezTo>
                <a:cubicBezTo>
                  <a:pt x="362" y="188"/>
                  <a:pt x="362" y="188"/>
                  <a:pt x="362" y="188"/>
                </a:cubicBezTo>
                <a:cubicBezTo>
                  <a:pt x="363" y="187"/>
                  <a:pt x="363" y="187"/>
                  <a:pt x="363" y="187"/>
                </a:cubicBezTo>
                <a:cubicBezTo>
                  <a:pt x="363" y="186"/>
                  <a:pt x="363" y="186"/>
                  <a:pt x="363" y="186"/>
                </a:cubicBezTo>
                <a:cubicBezTo>
                  <a:pt x="363" y="185"/>
                  <a:pt x="363" y="185"/>
                  <a:pt x="363" y="185"/>
                </a:cubicBezTo>
                <a:cubicBezTo>
                  <a:pt x="364" y="186"/>
                  <a:pt x="364" y="186"/>
                  <a:pt x="364" y="186"/>
                </a:cubicBezTo>
                <a:cubicBezTo>
                  <a:pt x="365" y="187"/>
                  <a:pt x="365" y="187"/>
                  <a:pt x="365" y="187"/>
                </a:cubicBezTo>
                <a:cubicBezTo>
                  <a:pt x="365" y="188"/>
                  <a:pt x="365" y="188"/>
                  <a:pt x="365" y="188"/>
                </a:cubicBezTo>
                <a:cubicBezTo>
                  <a:pt x="365" y="189"/>
                  <a:pt x="365" y="189"/>
                  <a:pt x="365" y="189"/>
                </a:cubicBezTo>
                <a:cubicBezTo>
                  <a:pt x="366" y="188"/>
                  <a:pt x="366" y="188"/>
                  <a:pt x="366" y="188"/>
                </a:cubicBezTo>
                <a:cubicBezTo>
                  <a:pt x="366" y="186"/>
                  <a:pt x="366" y="186"/>
                  <a:pt x="366" y="186"/>
                </a:cubicBezTo>
                <a:cubicBezTo>
                  <a:pt x="367" y="185"/>
                  <a:pt x="367" y="185"/>
                  <a:pt x="367" y="185"/>
                </a:cubicBezTo>
                <a:cubicBezTo>
                  <a:pt x="368" y="185"/>
                  <a:pt x="368" y="185"/>
                  <a:pt x="368" y="185"/>
                </a:cubicBezTo>
                <a:cubicBezTo>
                  <a:pt x="368" y="185"/>
                  <a:pt x="368" y="185"/>
                  <a:pt x="368" y="185"/>
                </a:cubicBezTo>
                <a:cubicBezTo>
                  <a:pt x="368" y="184"/>
                  <a:pt x="368" y="184"/>
                  <a:pt x="368" y="184"/>
                </a:cubicBezTo>
                <a:cubicBezTo>
                  <a:pt x="369" y="184"/>
                  <a:pt x="369" y="184"/>
                  <a:pt x="369" y="184"/>
                </a:cubicBezTo>
                <a:cubicBezTo>
                  <a:pt x="369" y="183"/>
                  <a:pt x="369" y="183"/>
                  <a:pt x="369" y="183"/>
                </a:cubicBezTo>
                <a:cubicBezTo>
                  <a:pt x="368" y="183"/>
                  <a:pt x="368" y="183"/>
                  <a:pt x="368" y="183"/>
                </a:cubicBezTo>
                <a:cubicBezTo>
                  <a:pt x="366" y="185"/>
                  <a:pt x="366" y="185"/>
                  <a:pt x="366" y="185"/>
                </a:cubicBezTo>
                <a:cubicBezTo>
                  <a:pt x="365" y="185"/>
                  <a:pt x="365" y="185"/>
                  <a:pt x="365" y="185"/>
                </a:cubicBezTo>
                <a:cubicBezTo>
                  <a:pt x="365" y="183"/>
                  <a:pt x="365" y="183"/>
                  <a:pt x="365" y="183"/>
                </a:cubicBezTo>
                <a:cubicBezTo>
                  <a:pt x="364" y="183"/>
                  <a:pt x="364" y="183"/>
                  <a:pt x="364" y="183"/>
                </a:cubicBezTo>
                <a:cubicBezTo>
                  <a:pt x="364" y="182"/>
                  <a:pt x="364" y="182"/>
                  <a:pt x="364" y="182"/>
                </a:cubicBezTo>
                <a:cubicBezTo>
                  <a:pt x="366" y="181"/>
                  <a:pt x="366" y="181"/>
                  <a:pt x="366" y="181"/>
                </a:cubicBezTo>
                <a:cubicBezTo>
                  <a:pt x="365" y="180"/>
                  <a:pt x="365" y="180"/>
                  <a:pt x="365" y="180"/>
                </a:cubicBezTo>
                <a:cubicBezTo>
                  <a:pt x="365" y="179"/>
                  <a:pt x="365" y="179"/>
                  <a:pt x="365" y="179"/>
                </a:cubicBezTo>
                <a:cubicBezTo>
                  <a:pt x="366" y="177"/>
                  <a:pt x="366" y="177"/>
                  <a:pt x="366" y="177"/>
                </a:cubicBezTo>
                <a:cubicBezTo>
                  <a:pt x="366" y="176"/>
                  <a:pt x="366" y="176"/>
                  <a:pt x="366" y="176"/>
                </a:cubicBezTo>
                <a:cubicBezTo>
                  <a:pt x="367" y="175"/>
                  <a:pt x="367" y="175"/>
                  <a:pt x="367" y="175"/>
                </a:cubicBezTo>
                <a:cubicBezTo>
                  <a:pt x="369" y="175"/>
                  <a:pt x="369" y="175"/>
                  <a:pt x="369" y="175"/>
                </a:cubicBezTo>
                <a:cubicBezTo>
                  <a:pt x="370" y="176"/>
                  <a:pt x="370" y="176"/>
                  <a:pt x="370" y="176"/>
                </a:cubicBezTo>
                <a:cubicBezTo>
                  <a:pt x="370" y="177"/>
                  <a:pt x="370" y="177"/>
                  <a:pt x="370" y="177"/>
                </a:cubicBezTo>
                <a:cubicBezTo>
                  <a:pt x="372" y="178"/>
                  <a:pt x="372" y="178"/>
                  <a:pt x="372" y="178"/>
                </a:cubicBezTo>
                <a:cubicBezTo>
                  <a:pt x="372" y="179"/>
                  <a:pt x="372" y="179"/>
                  <a:pt x="372" y="179"/>
                </a:cubicBezTo>
                <a:cubicBezTo>
                  <a:pt x="373" y="179"/>
                  <a:pt x="373" y="179"/>
                  <a:pt x="373" y="179"/>
                </a:cubicBezTo>
                <a:cubicBezTo>
                  <a:pt x="373" y="179"/>
                  <a:pt x="373" y="179"/>
                  <a:pt x="373" y="179"/>
                </a:cubicBezTo>
                <a:cubicBezTo>
                  <a:pt x="372" y="178"/>
                  <a:pt x="372" y="178"/>
                  <a:pt x="372" y="178"/>
                </a:cubicBezTo>
                <a:cubicBezTo>
                  <a:pt x="371" y="177"/>
                  <a:pt x="371" y="177"/>
                  <a:pt x="371" y="177"/>
                </a:cubicBezTo>
                <a:cubicBezTo>
                  <a:pt x="370" y="175"/>
                  <a:pt x="370" y="175"/>
                  <a:pt x="370" y="175"/>
                </a:cubicBezTo>
                <a:cubicBezTo>
                  <a:pt x="370" y="175"/>
                  <a:pt x="370" y="175"/>
                  <a:pt x="370" y="175"/>
                </a:cubicBezTo>
                <a:cubicBezTo>
                  <a:pt x="369" y="175"/>
                  <a:pt x="369" y="175"/>
                  <a:pt x="369" y="175"/>
                </a:cubicBezTo>
                <a:cubicBezTo>
                  <a:pt x="368" y="174"/>
                  <a:pt x="368" y="174"/>
                  <a:pt x="368" y="174"/>
                </a:cubicBezTo>
                <a:cubicBezTo>
                  <a:pt x="368" y="174"/>
                  <a:pt x="368" y="174"/>
                  <a:pt x="368" y="174"/>
                </a:cubicBezTo>
                <a:cubicBezTo>
                  <a:pt x="371" y="174"/>
                  <a:pt x="371" y="174"/>
                  <a:pt x="371" y="174"/>
                </a:cubicBezTo>
                <a:cubicBezTo>
                  <a:pt x="371" y="173"/>
                  <a:pt x="371" y="173"/>
                  <a:pt x="371" y="173"/>
                </a:cubicBezTo>
                <a:cubicBezTo>
                  <a:pt x="371" y="173"/>
                  <a:pt x="371" y="173"/>
                  <a:pt x="371" y="173"/>
                </a:cubicBezTo>
                <a:cubicBezTo>
                  <a:pt x="373" y="175"/>
                  <a:pt x="373" y="175"/>
                  <a:pt x="373" y="175"/>
                </a:cubicBezTo>
                <a:cubicBezTo>
                  <a:pt x="375" y="176"/>
                  <a:pt x="375" y="176"/>
                  <a:pt x="375" y="176"/>
                </a:cubicBezTo>
                <a:cubicBezTo>
                  <a:pt x="376" y="176"/>
                  <a:pt x="376" y="176"/>
                  <a:pt x="376" y="176"/>
                </a:cubicBezTo>
                <a:cubicBezTo>
                  <a:pt x="374" y="175"/>
                  <a:pt x="374" y="175"/>
                  <a:pt x="374" y="175"/>
                </a:cubicBezTo>
                <a:cubicBezTo>
                  <a:pt x="373" y="173"/>
                  <a:pt x="373" y="173"/>
                  <a:pt x="373" y="173"/>
                </a:cubicBezTo>
                <a:cubicBezTo>
                  <a:pt x="372" y="172"/>
                  <a:pt x="372" y="172"/>
                  <a:pt x="372" y="172"/>
                </a:cubicBezTo>
                <a:cubicBezTo>
                  <a:pt x="372" y="172"/>
                  <a:pt x="372" y="172"/>
                  <a:pt x="372" y="172"/>
                </a:cubicBezTo>
                <a:cubicBezTo>
                  <a:pt x="372" y="170"/>
                  <a:pt x="372" y="170"/>
                  <a:pt x="372" y="170"/>
                </a:cubicBezTo>
                <a:cubicBezTo>
                  <a:pt x="374" y="170"/>
                  <a:pt x="374" y="170"/>
                  <a:pt x="374" y="170"/>
                </a:cubicBezTo>
                <a:cubicBezTo>
                  <a:pt x="375" y="170"/>
                  <a:pt x="375" y="170"/>
                  <a:pt x="375" y="170"/>
                </a:cubicBezTo>
                <a:cubicBezTo>
                  <a:pt x="374" y="171"/>
                  <a:pt x="374" y="171"/>
                  <a:pt x="374" y="171"/>
                </a:cubicBezTo>
                <a:cubicBezTo>
                  <a:pt x="375" y="172"/>
                  <a:pt x="375" y="172"/>
                  <a:pt x="375" y="172"/>
                </a:cubicBezTo>
                <a:cubicBezTo>
                  <a:pt x="375" y="172"/>
                  <a:pt x="375" y="172"/>
                  <a:pt x="375" y="172"/>
                </a:cubicBezTo>
                <a:cubicBezTo>
                  <a:pt x="375" y="171"/>
                  <a:pt x="375" y="171"/>
                  <a:pt x="375" y="171"/>
                </a:cubicBezTo>
                <a:cubicBezTo>
                  <a:pt x="376" y="170"/>
                  <a:pt x="376" y="170"/>
                  <a:pt x="376" y="170"/>
                </a:cubicBezTo>
                <a:cubicBezTo>
                  <a:pt x="377" y="170"/>
                  <a:pt x="377" y="170"/>
                  <a:pt x="377" y="170"/>
                </a:cubicBezTo>
                <a:cubicBezTo>
                  <a:pt x="378" y="171"/>
                  <a:pt x="378" y="171"/>
                  <a:pt x="378" y="171"/>
                </a:cubicBezTo>
                <a:cubicBezTo>
                  <a:pt x="378" y="172"/>
                  <a:pt x="378" y="172"/>
                  <a:pt x="378" y="172"/>
                </a:cubicBezTo>
                <a:cubicBezTo>
                  <a:pt x="379" y="173"/>
                  <a:pt x="379" y="173"/>
                  <a:pt x="379" y="173"/>
                </a:cubicBezTo>
                <a:cubicBezTo>
                  <a:pt x="379" y="173"/>
                  <a:pt x="379" y="173"/>
                  <a:pt x="379" y="173"/>
                </a:cubicBezTo>
                <a:cubicBezTo>
                  <a:pt x="379" y="172"/>
                  <a:pt x="379" y="172"/>
                  <a:pt x="379" y="172"/>
                </a:cubicBezTo>
                <a:cubicBezTo>
                  <a:pt x="378" y="170"/>
                  <a:pt x="378" y="170"/>
                  <a:pt x="378" y="170"/>
                </a:cubicBezTo>
                <a:cubicBezTo>
                  <a:pt x="379" y="170"/>
                  <a:pt x="379" y="170"/>
                  <a:pt x="379" y="170"/>
                </a:cubicBezTo>
                <a:cubicBezTo>
                  <a:pt x="382" y="169"/>
                  <a:pt x="382" y="169"/>
                  <a:pt x="382" y="169"/>
                </a:cubicBezTo>
                <a:cubicBezTo>
                  <a:pt x="384" y="168"/>
                  <a:pt x="384" y="168"/>
                  <a:pt x="384" y="168"/>
                </a:cubicBezTo>
                <a:cubicBezTo>
                  <a:pt x="385" y="168"/>
                  <a:pt x="385" y="168"/>
                  <a:pt x="385" y="168"/>
                </a:cubicBezTo>
                <a:cubicBezTo>
                  <a:pt x="386" y="167"/>
                  <a:pt x="386" y="167"/>
                  <a:pt x="386" y="167"/>
                </a:cubicBezTo>
                <a:cubicBezTo>
                  <a:pt x="388" y="168"/>
                  <a:pt x="388" y="168"/>
                  <a:pt x="388" y="168"/>
                </a:cubicBezTo>
                <a:cubicBezTo>
                  <a:pt x="390" y="168"/>
                  <a:pt x="390" y="168"/>
                  <a:pt x="390" y="168"/>
                </a:cubicBezTo>
                <a:cubicBezTo>
                  <a:pt x="392" y="168"/>
                  <a:pt x="392" y="168"/>
                  <a:pt x="392" y="168"/>
                </a:cubicBezTo>
                <a:cubicBezTo>
                  <a:pt x="392" y="169"/>
                  <a:pt x="392" y="169"/>
                  <a:pt x="392" y="169"/>
                </a:cubicBezTo>
                <a:cubicBezTo>
                  <a:pt x="392" y="169"/>
                  <a:pt x="392" y="169"/>
                  <a:pt x="392" y="169"/>
                </a:cubicBezTo>
                <a:cubicBezTo>
                  <a:pt x="392" y="172"/>
                  <a:pt x="392" y="172"/>
                  <a:pt x="392" y="172"/>
                </a:cubicBezTo>
                <a:cubicBezTo>
                  <a:pt x="391" y="173"/>
                  <a:pt x="391" y="173"/>
                  <a:pt x="391" y="173"/>
                </a:cubicBezTo>
                <a:cubicBezTo>
                  <a:pt x="391" y="174"/>
                  <a:pt x="391" y="174"/>
                  <a:pt x="391" y="174"/>
                </a:cubicBezTo>
                <a:cubicBezTo>
                  <a:pt x="390" y="175"/>
                  <a:pt x="390" y="175"/>
                  <a:pt x="390" y="175"/>
                </a:cubicBezTo>
                <a:cubicBezTo>
                  <a:pt x="390" y="176"/>
                  <a:pt x="390" y="176"/>
                  <a:pt x="390" y="176"/>
                </a:cubicBezTo>
                <a:cubicBezTo>
                  <a:pt x="391" y="177"/>
                  <a:pt x="391" y="177"/>
                  <a:pt x="391" y="177"/>
                </a:cubicBezTo>
                <a:cubicBezTo>
                  <a:pt x="392" y="178"/>
                  <a:pt x="392" y="178"/>
                  <a:pt x="392" y="178"/>
                </a:cubicBezTo>
                <a:cubicBezTo>
                  <a:pt x="391" y="178"/>
                  <a:pt x="391" y="178"/>
                  <a:pt x="391" y="178"/>
                </a:cubicBezTo>
                <a:cubicBezTo>
                  <a:pt x="390" y="180"/>
                  <a:pt x="390" y="180"/>
                  <a:pt x="390" y="180"/>
                </a:cubicBezTo>
                <a:cubicBezTo>
                  <a:pt x="389" y="181"/>
                  <a:pt x="389" y="181"/>
                  <a:pt x="389" y="181"/>
                </a:cubicBezTo>
                <a:cubicBezTo>
                  <a:pt x="389" y="182"/>
                  <a:pt x="389" y="182"/>
                  <a:pt x="389" y="182"/>
                </a:cubicBezTo>
                <a:cubicBezTo>
                  <a:pt x="390" y="183"/>
                  <a:pt x="390" y="183"/>
                  <a:pt x="390" y="183"/>
                </a:cubicBezTo>
                <a:cubicBezTo>
                  <a:pt x="390" y="184"/>
                  <a:pt x="390" y="184"/>
                  <a:pt x="390" y="184"/>
                </a:cubicBezTo>
                <a:cubicBezTo>
                  <a:pt x="389" y="185"/>
                  <a:pt x="389" y="185"/>
                  <a:pt x="389" y="185"/>
                </a:cubicBezTo>
                <a:cubicBezTo>
                  <a:pt x="388" y="185"/>
                  <a:pt x="388" y="185"/>
                  <a:pt x="388" y="185"/>
                </a:cubicBezTo>
                <a:cubicBezTo>
                  <a:pt x="388" y="186"/>
                  <a:pt x="388" y="186"/>
                  <a:pt x="388" y="186"/>
                </a:cubicBezTo>
                <a:cubicBezTo>
                  <a:pt x="387" y="186"/>
                  <a:pt x="387" y="186"/>
                  <a:pt x="387" y="186"/>
                </a:cubicBezTo>
                <a:cubicBezTo>
                  <a:pt x="386" y="187"/>
                  <a:pt x="386" y="187"/>
                  <a:pt x="386" y="187"/>
                </a:cubicBezTo>
                <a:cubicBezTo>
                  <a:pt x="385" y="188"/>
                  <a:pt x="385" y="188"/>
                  <a:pt x="385" y="188"/>
                </a:cubicBezTo>
                <a:cubicBezTo>
                  <a:pt x="384" y="189"/>
                  <a:pt x="384" y="189"/>
                  <a:pt x="384" y="189"/>
                </a:cubicBezTo>
                <a:cubicBezTo>
                  <a:pt x="385" y="189"/>
                  <a:pt x="385" y="189"/>
                  <a:pt x="385" y="189"/>
                </a:cubicBezTo>
                <a:cubicBezTo>
                  <a:pt x="386" y="188"/>
                  <a:pt x="386" y="188"/>
                  <a:pt x="386" y="188"/>
                </a:cubicBezTo>
                <a:cubicBezTo>
                  <a:pt x="388" y="187"/>
                  <a:pt x="388" y="187"/>
                  <a:pt x="388" y="187"/>
                </a:cubicBezTo>
                <a:cubicBezTo>
                  <a:pt x="388" y="187"/>
                  <a:pt x="388" y="187"/>
                  <a:pt x="388" y="187"/>
                </a:cubicBezTo>
                <a:cubicBezTo>
                  <a:pt x="389" y="186"/>
                  <a:pt x="389" y="186"/>
                  <a:pt x="389" y="186"/>
                </a:cubicBezTo>
                <a:cubicBezTo>
                  <a:pt x="388" y="187"/>
                  <a:pt x="388" y="187"/>
                  <a:pt x="388" y="187"/>
                </a:cubicBezTo>
                <a:cubicBezTo>
                  <a:pt x="388" y="188"/>
                  <a:pt x="388" y="188"/>
                  <a:pt x="388" y="188"/>
                </a:cubicBezTo>
                <a:cubicBezTo>
                  <a:pt x="386" y="190"/>
                  <a:pt x="386" y="190"/>
                  <a:pt x="386" y="190"/>
                </a:cubicBezTo>
                <a:cubicBezTo>
                  <a:pt x="385" y="190"/>
                  <a:pt x="385" y="190"/>
                  <a:pt x="385" y="190"/>
                </a:cubicBezTo>
                <a:cubicBezTo>
                  <a:pt x="385" y="191"/>
                  <a:pt x="385" y="191"/>
                  <a:pt x="385" y="191"/>
                </a:cubicBezTo>
                <a:cubicBezTo>
                  <a:pt x="385" y="192"/>
                  <a:pt x="385" y="192"/>
                  <a:pt x="385" y="192"/>
                </a:cubicBezTo>
                <a:cubicBezTo>
                  <a:pt x="385" y="192"/>
                  <a:pt x="385" y="192"/>
                  <a:pt x="385" y="192"/>
                </a:cubicBezTo>
                <a:cubicBezTo>
                  <a:pt x="384" y="192"/>
                  <a:pt x="384" y="192"/>
                  <a:pt x="384" y="192"/>
                </a:cubicBezTo>
                <a:cubicBezTo>
                  <a:pt x="383" y="192"/>
                  <a:pt x="383" y="192"/>
                  <a:pt x="383" y="192"/>
                </a:cubicBezTo>
                <a:cubicBezTo>
                  <a:pt x="383" y="193"/>
                  <a:pt x="383" y="193"/>
                  <a:pt x="383" y="193"/>
                </a:cubicBezTo>
                <a:cubicBezTo>
                  <a:pt x="384" y="193"/>
                  <a:pt x="384" y="193"/>
                  <a:pt x="384" y="193"/>
                </a:cubicBezTo>
                <a:cubicBezTo>
                  <a:pt x="384" y="193"/>
                  <a:pt x="384" y="193"/>
                  <a:pt x="384" y="193"/>
                </a:cubicBezTo>
                <a:cubicBezTo>
                  <a:pt x="384" y="194"/>
                  <a:pt x="384" y="194"/>
                  <a:pt x="384" y="194"/>
                </a:cubicBezTo>
                <a:cubicBezTo>
                  <a:pt x="383" y="195"/>
                  <a:pt x="383" y="195"/>
                  <a:pt x="383" y="195"/>
                </a:cubicBezTo>
                <a:cubicBezTo>
                  <a:pt x="384" y="195"/>
                  <a:pt x="384" y="195"/>
                  <a:pt x="384" y="195"/>
                </a:cubicBezTo>
                <a:cubicBezTo>
                  <a:pt x="385" y="194"/>
                  <a:pt x="385" y="194"/>
                  <a:pt x="385" y="194"/>
                </a:cubicBezTo>
                <a:cubicBezTo>
                  <a:pt x="386" y="194"/>
                  <a:pt x="386" y="194"/>
                  <a:pt x="386" y="194"/>
                </a:cubicBezTo>
                <a:cubicBezTo>
                  <a:pt x="387" y="193"/>
                  <a:pt x="387" y="193"/>
                  <a:pt x="387" y="193"/>
                </a:cubicBezTo>
                <a:cubicBezTo>
                  <a:pt x="387" y="192"/>
                  <a:pt x="387" y="192"/>
                  <a:pt x="387" y="192"/>
                </a:cubicBezTo>
                <a:cubicBezTo>
                  <a:pt x="388" y="191"/>
                  <a:pt x="388" y="191"/>
                  <a:pt x="388" y="191"/>
                </a:cubicBezTo>
                <a:cubicBezTo>
                  <a:pt x="388" y="190"/>
                  <a:pt x="388" y="190"/>
                  <a:pt x="388" y="190"/>
                </a:cubicBezTo>
                <a:cubicBezTo>
                  <a:pt x="389" y="191"/>
                  <a:pt x="389" y="191"/>
                  <a:pt x="389" y="191"/>
                </a:cubicBezTo>
                <a:cubicBezTo>
                  <a:pt x="389" y="192"/>
                  <a:pt x="389" y="192"/>
                  <a:pt x="389" y="192"/>
                </a:cubicBezTo>
                <a:cubicBezTo>
                  <a:pt x="389" y="193"/>
                  <a:pt x="389" y="193"/>
                  <a:pt x="389" y="193"/>
                </a:cubicBezTo>
                <a:cubicBezTo>
                  <a:pt x="389" y="191"/>
                  <a:pt x="389" y="191"/>
                  <a:pt x="389" y="191"/>
                </a:cubicBezTo>
                <a:cubicBezTo>
                  <a:pt x="389" y="190"/>
                  <a:pt x="389" y="190"/>
                  <a:pt x="389" y="190"/>
                </a:cubicBezTo>
                <a:cubicBezTo>
                  <a:pt x="389" y="189"/>
                  <a:pt x="389" y="189"/>
                  <a:pt x="389" y="189"/>
                </a:cubicBezTo>
                <a:cubicBezTo>
                  <a:pt x="390" y="189"/>
                  <a:pt x="390" y="189"/>
                  <a:pt x="390" y="189"/>
                </a:cubicBezTo>
                <a:cubicBezTo>
                  <a:pt x="391" y="189"/>
                  <a:pt x="391" y="189"/>
                  <a:pt x="391" y="189"/>
                </a:cubicBezTo>
                <a:cubicBezTo>
                  <a:pt x="391" y="190"/>
                  <a:pt x="391" y="190"/>
                  <a:pt x="391" y="190"/>
                </a:cubicBezTo>
                <a:cubicBezTo>
                  <a:pt x="391" y="191"/>
                  <a:pt x="391" y="191"/>
                  <a:pt x="391" y="191"/>
                </a:cubicBezTo>
                <a:cubicBezTo>
                  <a:pt x="392" y="190"/>
                  <a:pt x="392" y="190"/>
                  <a:pt x="392" y="190"/>
                </a:cubicBezTo>
                <a:cubicBezTo>
                  <a:pt x="393" y="189"/>
                  <a:pt x="393" y="189"/>
                  <a:pt x="393" y="189"/>
                </a:cubicBezTo>
                <a:cubicBezTo>
                  <a:pt x="393" y="190"/>
                  <a:pt x="393" y="190"/>
                  <a:pt x="393" y="190"/>
                </a:cubicBezTo>
                <a:cubicBezTo>
                  <a:pt x="394" y="191"/>
                  <a:pt x="394" y="191"/>
                  <a:pt x="394" y="191"/>
                </a:cubicBezTo>
                <a:cubicBezTo>
                  <a:pt x="394" y="192"/>
                  <a:pt x="394" y="192"/>
                  <a:pt x="394" y="192"/>
                </a:cubicBezTo>
                <a:cubicBezTo>
                  <a:pt x="392" y="194"/>
                  <a:pt x="392" y="194"/>
                  <a:pt x="392" y="194"/>
                </a:cubicBezTo>
                <a:cubicBezTo>
                  <a:pt x="391" y="195"/>
                  <a:pt x="391" y="195"/>
                  <a:pt x="391" y="195"/>
                </a:cubicBezTo>
                <a:cubicBezTo>
                  <a:pt x="391" y="196"/>
                  <a:pt x="391" y="196"/>
                  <a:pt x="391" y="196"/>
                </a:cubicBezTo>
                <a:cubicBezTo>
                  <a:pt x="392" y="196"/>
                  <a:pt x="392" y="196"/>
                  <a:pt x="392" y="196"/>
                </a:cubicBezTo>
                <a:cubicBezTo>
                  <a:pt x="393" y="197"/>
                  <a:pt x="393" y="197"/>
                  <a:pt x="393" y="197"/>
                </a:cubicBezTo>
                <a:cubicBezTo>
                  <a:pt x="394" y="196"/>
                  <a:pt x="394" y="196"/>
                  <a:pt x="394" y="196"/>
                </a:cubicBezTo>
                <a:cubicBezTo>
                  <a:pt x="393" y="195"/>
                  <a:pt x="393" y="195"/>
                  <a:pt x="393" y="195"/>
                </a:cubicBezTo>
                <a:cubicBezTo>
                  <a:pt x="394" y="194"/>
                  <a:pt x="394" y="194"/>
                  <a:pt x="394" y="194"/>
                </a:cubicBezTo>
                <a:cubicBezTo>
                  <a:pt x="395" y="193"/>
                  <a:pt x="395" y="193"/>
                  <a:pt x="395" y="193"/>
                </a:cubicBezTo>
                <a:cubicBezTo>
                  <a:pt x="395" y="195"/>
                  <a:pt x="395" y="195"/>
                  <a:pt x="395" y="195"/>
                </a:cubicBezTo>
                <a:cubicBezTo>
                  <a:pt x="395" y="196"/>
                  <a:pt x="395" y="196"/>
                  <a:pt x="395" y="196"/>
                </a:cubicBezTo>
                <a:cubicBezTo>
                  <a:pt x="396" y="195"/>
                  <a:pt x="396" y="195"/>
                  <a:pt x="396" y="195"/>
                </a:cubicBezTo>
                <a:cubicBezTo>
                  <a:pt x="396" y="193"/>
                  <a:pt x="396" y="193"/>
                  <a:pt x="396" y="193"/>
                </a:cubicBezTo>
                <a:cubicBezTo>
                  <a:pt x="395" y="192"/>
                  <a:pt x="395" y="192"/>
                  <a:pt x="395" y="192"/>
                </a:cubicBezTo>
                <a:cubicBezTo>
                  <a:pt x="395" y="190"/>
                  <a:pt x="395" y="190"/>
                  <a:pt x="395" y="190"/>
                </a:cubicBezTo>
                <a:cubicBezTo>
                  <a:pt x="395" y="190"/>
                  <a:pt x="395" y="190"/>
                  <a:pt x="395" y="190"/>
                </a:cubicBezTo>
                <a:cubicBezTo>
                  <a:pt x="397" y="190"/>
                  <a:pt x="397" y="190"/>
                  <a:pt x="397" y="190"/>
                </a:cubicBezTo>
                <a:cubicBezTo>
                  <a:pt x="396" y="191"/>
                  <a:pt x="396" y="191"/>
                  <a:pt x="396" y="191"/>
                </a:cubicBezTo>
                <a:cubicBezTo>
                  <a:pt x="396" y="192"/>
                  <a:pt x="396" y="192"/>
                  <a:pt x="396" y="192"/>
                </a:cubicBezTo>
                <a:cubicBezTo>
                  <a:pt x="397" y="192"/>
                  <a:pt x="397" y="192"/>
                  <a:pt x="397" y="192"/>
                </a:cubicBezTo>
                <a:cubicBezTo>
                  <a:pt x="398" y="192"/>
                  <a:pt x="398" y="192"/>
                  <a:pt x="398" y="192"/>
                </a:cubicBezTo>
                <a:cubicBezTo>
                  <a:pt x="400" y="194"/>
                  <a:pt x="400" y="194"/>
                  <a:pt x="400" y="194"/>
                </a:cubicBezTo>
                <a:cubicBezTo>
                  <a:pt x="400" y="195"/>
                  <a:pt x="400" y="195"/>
                  <a:pt x="400" y="195"/>
                </a:cubicBezTo>
                <a:cubicBezTo>
                  <a:pt x="401" y="195"/>
                  <a:pt x="401" y="195"/>
                  <a:pt x="401" y="195"/>
                </a:cubicBezTo>
                <a:cubicBezTo>
                  <a:pt x="402" y="195"/>
                  <a:pt x="402" y="195"/>
                  <a:pt x="402" y="195"/>
                </a:cubicBezTo>
                <a:cubicBezTo>
                  <a:pt x="403" y="195"/>
                  <a:pt x="403" y="195"/>
                  <a:pt x="403" y="195"/>
                </a:cubicBezTo>
                <a:cubicBezTo>
                  <a:pt x="402" y="194"/>
                  <a:pt x="402" y="194"/>
                  <a:pt x="402" y="194"/>
                </a:cubicBezTo>
                <a:cubicBezTo>
                  <a:pt x="401" y="194"/>
                  <a:pt x="401" y="194"/>
                  <a:pt x="401" y="194"/>
                </a:cubicBezTo>
                <a:cubicBezTo>
                  <a:pt x="401" y="193"/>
                  <a:pt x="401" y="193"/>
                  <a:pt x="401" y="193"/>
                </a:cubicBezTo>
                <a:cubicBezTo>
                  <a:pt x="399" y="191"/>
                  <a:pt x="399" y="191"/>
                  <a:pt x="399" y="191"/>
                </a:cubicBezTo>
                <a:cubicBezTo>
                  <a:pt x="398" y="191"/>
                  <a:pt x="398" y="191"/>
                  <a:pt x="398" y="191"/>
                </a:cubicBezTo>
                <a:cubicBezTo>
                  <a:pt x="397" y="190"/>
                  <a:pt x="397" y="190"/>
                  <a:pt x="397" y="190"/>
                </a:cubicBezTo>
                <a:cubicBezTo>
                  <a:pt x="399" y="188"/>
                  <a:pt x="399" y="188"/>
                  <a:pt x="399" y="188"/>
                </a:cubicBezTo>
                <a:cubicBezTo>
                  <a:pt x="400" y="188"/>
                  <a:pt x="400" y="188"/>
                  <a:pt x="400" y="188"/>
                </a:cubicBezTo>
                <a:cubicBezTo>
                  <a:pt x="401" y="187"/>
                  <a:pt x="401" y="187"/>
                  <a:pt x="401" y="187"/>
                </a:cubicBezTo>
                <a:cubicBezTo>
                  <a:pt x="403" y="187"/>
                  <a:pt x="403" y="187"/>
                  <a:pt x="403" y="187"/>
                </a:cubicBezTo>
                <a:cubicBezTo>
                  <a:pt x="405" y="187"/>
                  <a:pt x="405" y="187"/>
                  <a:pt x="405" y="187"/>
                </a:cubicBezTo>
                <a:cubicBezTo>
                  <a:pt x="405" y="188"/>
                  <a:pt x="405" y="188"/>
                  <a:pt x="405" y="188"/>
                </a:cubicBezTo>
                <a:cubicBezTo>
                  <a:pt x="406" y="188"/>
                  <a:pt x="406" y="188"/>
                  <a:pt x="406" y="188"/>
                </a:cubicBezTo>
                <a:cubicBezTo>
                  <a:pt x="407" y="188"/>
                  <a:pt x="407" y="188"/>
                  <a:pt x="407" y="188"/>
                </a:cubicBezTo>
                <a:cubicBezTo>
                  <a:pt x="407" y="189"/>
                  <a:pt x="407" y="189"/>
                  <a:pt x="407" y="189"/>
                </a:cubicBezTo>
                <a:cubicBezTo>
                  <a:pt x="408" y="190"/>
                  <a:pt x="408" y="190"/>
                  <a:pt x="408" y="190"/>
                </a:cubicBezTo>
                <a:cubicBezTo>
                  <a:pt x="409" y="190"/>
                  <a:pt x="409" y="190"/>
                  <a:pt x="409" y="190"/>
                </a:cubicBezTo>
                <a:cubicBezTo>
                  <a:pt x="409" y="191"/>
                  <a:pt x="409" y="191"/>
                  <a:pt x="409" y="191"/>
                </a:cubicBezTo>
                <a:cubicBezTo>
                  <a:pt x="410" y="191"/>
                  <a:pt x="410" y="191"/>
                  <a:pt x="410" y="191"/>
                </a:cubicBezTo>
                <a:cubicBezTo>
                  <a:pt x="410" y="191"/>
                  <a:pt x="410" y="191"/>
                  <a:pt x="410" y="191"/>
                </a:cubicBezTo>
                <a:cubicBezTo>
                  <a:pt x="411" y="191"/>
                  <a:pt x="411" y="191"/>
                  <a:pt x="411" y="191"/>
                </a:cubicBezTo>
                <a:cubicBezTo>
                  <a:pt x="412" y="192"/>
                  <a:pt x="412" y="192"/>
                  <a:pt x="412" y="192"/>
                </a:cubicBezTo>
                <a:cubicBezTo>
                  <a:pt x="413" y="193"/>
                  <a:pt x="413" y="193"/>
                  <a:pt x="413" y="193"/>
                </a:cubicBezTo>
                <a:cubicBezTo>
                  <a:pt x="413" y="193"/>
                  <a:pt x="413" y="193"/>
                  <a:pt x="413" y="193"/>
                </a:cubicBezTo>
                <a:cubicBezTo>
                  <a:pt x="413" y="194"/>
                  <a:pt x="413" y="194"/>
                  <a:pt x="413" y="194"/>
                </a:cubicBezTo>
                <a:cubicBezTo>
                  <a:pt x="413" y="195"/>
                  <a:pt x="413" y="195"/>
                  <a:pt x="413" y="195"/>
                </a:cubicBezTo>
                <a:cubicBezTo>
                  <a:pt x="413" y="196"/>
                  <a:pt x="413" y="196"/>
                  <a:pt x="413" y="196"/>
                </a:cubicBezTo>
                <a:cubicBezTo>
                  <a:pt x="412" y="197"/>
                  <a:pt x="412" y="197"/>
                  <a:pt x="412" y="197"/>
                </a:cubicBezTo>
                <a:cubicBezTo>
                  <a:pt x="411" y="197"/>
                  <a:pt x="411" y="197"/>
                  <a:pt x="411" y="197"/>
                </a:cubicBezTo>
                <a:cubicBezTo>
                  <a:pt x="410" y="197"/>
                  <a:pt x="410" y="197"/>
                  <a:pt x="410" y="197"/>
                </a:cubicBezTo>
                <a:cubicBezTo>
                  <a:pt x="408" y="197"/>
                  <a:pt x="408" y="197"/>
                  <a:pt x="408" y="197"/>
                </a:cubicBezTo>
                <a:cubicBezTo>
                  <a:pt x="407" y="199"/>
                  <a:pt x="407" y="199"/>
                  <a:pt x="407" y="199"/>
                </a:cubicBezTo>
                <a:cubicBezTo>
                  <a:pt x="409" y="197"/>
                  <a:pt x="409" y="197"/>
                  <a:pt x="409" y="197"/>
                </a:cubicBezTo>
                <a:cubicBezTo>
                  <a:pt x="411" y="197"/>
                  <a:pt x="411" y="197"/>
                  <a:pt x="411" y="197"/>
                </a:cubicBezTo>
                <a:cubicBezTo>
                  <a:pt x="411" y="198"/>
                  <a:pt x="411" y="198"/>
                  <a:pt x="411" y="198"/>
                </a:cubicBezTo>
                <a:cubicBezTo>
                  <a:pt x="410" y="199"/>
                  <a:pt x="410" y="199"/>
                  <a:pt x="410" y="199"/>
                </a:cubicBezTo>
                <a:cubicBezTo>
                  <a:pt x="409" y="200"/>
                  <a:pt x="409" y="200"/>
                  <a:pt x="409" y="200"/>
                </a:cubicBezTo>
                <a:cubicBezTo>
                  <a:pt x="408" y="202"/>
                  <a:pt x="408" y="202"/>
                  <a:pt x="408" y="202"/>
                </a:cubicBezTo>
                <a:cubicBezTo>
                  <a:pt x="407" y="202"/>
                  <a:pt x="407" y="202"/>
                  <a:pt x="407" y="202"/>
                </a:cubicBezTo>
                <a:cubicBezTo>
                  <a:pt x="406" y="203"/>
                  <a:pt x="406" y="203"/>
                  <a:pt x="406" y="203"/>
                </a:cubicBezTo>
                <a:cubicBezTo>
                  <a:pt x="406" y="203"/>
                  <a:pt x="406" y="203"/>
                  <a:pt x="406" y="203"/>
                </a:cubicBezTo>
                <a:cubicBezTo>
                  <a:pt x="406" y="204"/>
                  <a:pt x="406" y="204"/>
                  <a:pt x="406" y="204"/>
                </a:cubicBezTo>
                <a:cubicBezTo>
                  <a:pt x="409" y="201"/>
                  <a:pt x="409" y="201"/>
                  <a:pt x="409" y="201"/>
                </a:cubicBezTo>
                <a:cubicBezTo>
                  <a:pt x="410" y="200"/>
                  <a:pt x="410" y="200"/>
                  <a:pt x="410" y="200"/>
                </a:cubicBezTo>
                <a:cubicBezTo>
                  <a:pt x="411" y="199"/>
                  <a:pt x="411" y="199"/>
                  <a:pt x="411" y="199"/>
                </a:cubicBezTo>
                <a:cubicBezTo>
                  <a:pt x="412" y="198"/>
                  <a:pt x="412" y="198"/>
                  <a:pt x="412" y="198"/>
                </a:cubicBezTo>
                <a:cubicBezTo>
                  <a:pt x="414" y="198"/>
                  <a:pt x="414" y="198"/>
                  <a:pt x="414" y="198"/>
                </a:cubicBezTo>
                <a:cubicBezTo>
                  <a:pt x="414" y="199"/>
                  <a:pt x="414" y="199"/>
                  <a:pt x="414" y="199"/>
                </a:cubicBezTo>
                <a:cubicBezTo>
                  <a:pt x="415" y="199"/>
                  <a:pt x="415" y="199"/>
                  <a:pt x="415" y="199"/>
                </a:cubicBezTo>
                <a:cubicBezTo>
                  <a:pt x="415" y="200"/>
                  <a:pt x="415" y="200"/>
                  <a:pt x="415" y="200"/>
                </a:cubicBezTo>
                <a:cubicBezTo>
                  <a:pt x="415" y="201"/>
                  <a:pt x="415" y="201"/>
                  <a:pt x="415" y="201"/>
                </a:cubicBezTo>
                <a:cubicBezTo>
                  <a:pt x="415" y="202"/>
                  <a:pt x="415" y="202"/>
                  <a:pt x="415" y="202"/>
                </a:cubicBezTo>
                <a:cubicBezTo>
                  <a:pt x="413" y="202"/>
                  <a:pt x="413" y="202"/>
                  <a:pt x="413" y="202"/>
                </a:cubicBezTo>
                <a:cubicBezTo>
                  <a:pt x="413" y="203"/>
                  <a:pt x="413" y="203"/>
                  <a:pt x="413" y="203"/>
                </a:cubicBezTo>
                <a:cubicBezTo>
                  <a:pt x="411" y="204"/>
                  <a:pt x="411" y="204"/>
                  <a:pt x="411" y="204"/>
                </a:cubicBezTo>
                <a:cubicBezTo>
                  <a:pt x="411" y="203"/>
                  <a:pt x="411" y="203"/>
                  <a:pt x="411" y="203"/>
                </a:cubicBezTo>
                <a:cubicBezTo>
                  <a:pt x="410" y="203"/>
                  <a:pt x="410" y="203"/>
                  <a:pt x="410" y="203"/>
                </a:cubicBezTo>
                <a:cubicBezTo>
                  <a:pt x="409" y="204"/>
                  <a:pt x="409" y="204"/>
                  <a:pt x="409" y="204"/>
                </a:cubicBezTo>
                <a:cubicBezTo>
                  <a:pt x="410" y="204"/>
                  <a:pt x="410" y="204"/>
                  <a:pt x="410" y="204"/>
                </a:cubicBezTo>
                <a:cubicBezTo>
                  <a:pt x="411" y="205"/>
                  <a:pt x="411" y="205"/>
                  <a:pt x="411" y="205"/>
                </a:cubicBezTo>
                <a:cubicBezTo>
                  <a:pt x="408" y="206"/>
                  <a:pt x="408" y="206"/>
                  <a:pt x="408" y="206"/>
                </a:cubicBezTo>
                <a:cubicBezTo>
                  <a:pt x="409" y="206"/>
                  <a:pt x="409" y="206"/>
                  <a:pt x="409" y="206"/>
                </a:cubicBezTo>
                <a:cubicBezTo>
                  <a:pt x="410" y="205"/>
                  <a:pt x="410" y="205"/>
                  <a:pt x="410" y="205"/>
                </a:cubicBezTo>
                <a:cubicBezTo>
                  <a:pt x="411" y="205"/>
                  <a:pt x="411" y="205"/>
                  <a:pt x="411" y="205"/>
                </a:cubicBezTo>
                <a:cubicBezTo>
                  <a:pt x="412" y="204"/>
                  <a:pt x="412" y="204"/>
                  <a:pt x="412" y="204"/>
                </a:cubicBezTo>
                <a:cubicBezTo>
                  <a:pt x="412" y="205"/>
                  <a:pt x="412" y="205"/>
                  <a:pt x="412" y="205"/>
                </a:cubicBezTo>
                <a:cubicBezTo>
                  <a:pt x="412" y="206"/>
                  <a:pt x="412" y="206"/>
                  <a:pt x="412" y="206"/>
                </a:cubicBezTo>
                <a:cubicBezTo>
                  <a:pt x="410" y="206"/>
                  <a:pt x="410" y="206"/>
                  <a:pt x="410" y="206"/>
                </a:cubicBezTo>
                <a:cubicBezTo>
                  <a:pt x="409" y="207"/>
                  <a:pt x="409" y="207"/>
                  <a:pt x="409" y="207"/>
                </a:cubicBezTo>
                <a:cubicBezTo>
                  <a:pt x="410" y="207"/>
                  <a:pt x="410" y="207"/>
                  <a:pt x="410" y="207"/>
                </a:cubicBezTo>
                <a:cubicBezTo>
                  <a:pt x="411" y="207"/>
                  <a:pt x="411" y="207"/>
                  <a:pt x="411" y="207"/>
                </a:cubicBezTo>
                <a:cubicBezTo>
                  <a:pt x="410" y="208"/>
                  <a:pt x="410" y="208"/>
                  <a:pt x="410" y="208"/>
                </a:cubicBezTo>
                <a:cubicBezTo>
                  <a:pt x="409" y="209"/>
                  <a:pt x="409" y="209"/>
                  <a:pt x="409" y="209"/>
                </a:cubicBezTo>
                <a:cubicBezTo>
                  <a:pt x="408" y="210"/>
                  <a:pt x="408" y="210"/>
                  <a:pt x="408" y="210"/>
                </a:cubicBezTo>
                <a:cubicBezTo>
                  <a:pt x="408" y="210"/>
                  <a:pt x="408" y="210"/>
                  <a:pt x="408" y="210"/>
                </a:cubicBezTo>
                <a:cubicBezTo>
                  <a:pt x="410" y="209"/>
                  <a:pt x="410" y="209"/>
                  <a:pt x="410" y="209"/>
                </a:cubicBezTo>
                <a:cubicBezTo>
                  <a:pt x="411" y="207"/>
                  <a:pt x="411" y="207"/>
                  <a:pt x="411" y="207"/>
                </a:cubicBezTo>
                <a:cubicBezTo>
                  <a:pt x="412" y="206"/>
                  <a:pt x="412" y="206"/>
                  <a:pt x="412" y="206"/>
                </a:cubicBezTo>
                <a:cubicBezTo>
                  <a:pt x="414" y="205"/>
                  <a:pt x="414" y="205"/>
                  <a:pt x="414" y="205"/>
                </a:cubicBezTo>
                <a:cubicBezTo>
                  <a:pt x="414" y="205"/>
                  <a:pt x="414" y="205"/>
                  <a:pt x="414" y="205"/>
                </a:cubicBezTo>
                <a:cubicBezTo>
                  <a:pt x="414" y="206"/>
                  <a:pt x="414" y="206"/>
                  <a:pt x="414" y="206"/>
                </a:cubicBezTo>
                <a:cubicBezTo>
                  <a:pt x="415" y="205"/>
                  <a:pt x="415" y="205"/>
                  <a:pt x="415" y="205"/>
                </a:cubicBezTo>
                <a:cubicBezTo>
                  <a:pt x="415" y="205"/>
                  <a:pt x="415" y="205"/>
                  <a:pt x="415" y="205"/>
                </a:cubicBezTo>
                <a:cubicBezTo>
                  <a:pt x="417" y="204"/>
                  <a:pt x="417" y="204"/>
                  <a:pt x="417" y="204"/>
                </a:cubicBezTo>
                <a:cubicBezTo>
                  <a:pt x="417" y="204"/>
                  <a:pt x="417" y="204"/>
                  <a:pt x="417" y="204"/>
                </a:cubicBezTo>
                <a:cubicBezTo>
                  <a:pt x="417" y="204"/>
                  <a:pt x="417" y="204"/>
                  <a:pt x="417" y="204"/>
                </a:cubicBezTo>
                <a:cubicBezTo>
                  <a:pt x="416" y="206"/>
                  <a:pt x="416" y="206"/>
                  <a:pt x="416" y="206"/>
                </a:cubicBezTo>
                <a:cubicBezTo>
                  <a:pt x="413" y="207"/>
                  <a:pt x="413" y="207"/>
                  <a:pt x="413" y="207"/>
                </a:cubicBezTo>
                <a:cubicBezTo>
                  <a:pt x="413" y="208"/>
                  <a:pt x="413" y="208"/>
                  <a:pt x="413" y="208"/>
                </a:cubicBezTo>
                <a:cubicBezTo>
                  <a:pt x="413" y="208"/>
                  <a:pt x="413" y="208"/>
                  <a:pt x="413" y="208"/>
                </a:cubicBezTo>
                <a:cubicBezTo>
                  <a:pt x="413" y="209"/>
                  <a:pt x="413" y="209"/>
                  <a:pt x="413" y="209"/>
                </a:cubicBezTo>
                <a:cubicBezTo>
                  <a:pt x="412" y="210"/>
                  <a:pt x="412" y="210"/>
                  <a:pt x="412" y="210"/>
                </a:cubicBezTo>
                <a:cubicBezTo>
                  <a:pt x="412" y="211"/>
                  <a:pt x="412" y="211"/>
                  <a:pt x="412" y="211"/>
                </a:cubicBezTo>
                <a:cubicBezTo>
                  <a:pt x="413" y="211"/>
                  <a:pt x="413" y="211"/>
                  <a:pt x="413" y="211"/>
                </a:cubicBezTo>
                <a:cubicBezTo>
                  <a:pt x="413" y="210"/>
                  <a:pt x="413" y="210"/>
                  <a:pt x="413" y="210"/>
                </a:cubicBezTo>
                <a:cubicBezTo>
                  <a:pt x="414" y="209"/>
                  <a:pt x="414" y="209"/>
                  <a:pt x="414" y="209"/>
                </a:cubicBezTo>
                <a:cubicBezTo>
                  <a:pt x="415" y="207"/>
                  <a:pt x="415" y="207"/>
                  <a:pt x="415" y="207"/>
                </a:cubicBezTo>
                <a:cubicBezTo>
                  <a:pt x="417" y="207"/>
                  <a:pt x="417" y="207"/>
                  <a:pt x="417" y="207"/>
                </a:cubicBezTo>
                <a:cubicBezTo>
                  <a:pt x="417" y="207"/>
                  <a:pt x="417" y="207"/>
                  <a:pt x="417" y="207"/>
                </a:cubicBezTo>
                <a:cubicBezTo>
                  <a:pt x="417" y="208"/>
                  <a:pt x="417" y="208"/>
                  <a:pt x="417" y="208"/>
                </a:cubicBezTo>
                <a:cubicBezTo>
                  <a:pt x="416" y="209"/>
                  <a:pt x="416" y="209"/>
                  <a:pt x="416" y="209"/>
                </a:cubicBezTo>
                <a:cubicBezTo>
                  <a:pt x="415" y="210"/>
                  <a:pt x="415" y="210"/>
                  <a:pt x="415" y="210"/>
                </a:cubicBezTo>
                <a:cubicBezTo>
                  <a:pt x="414" y="211"/>
                  <a:pt x="414" y="211"/>
                  <a:pt x="414" y="211"/>
                </a:cubicBezTo>
                <a:cubicBezTo>
                  <a:pt x="413" y="213"/>
                  <a:pt x="413" y="213"/>
                  <a:pt x="413" y="213"/>
                </a:cubicBezTo>
                <a:cubicBezTo>
                  <a:pt x="413" y="213"/>
                  <a:pt x="413" y="213"/>
                  <a:pt x="413" y="213"/>
                </a:cubicBezTo>
                <a:cubicBezTo>
                  <a:pt x="413" y="214"/>
                  <a:pt x="413" y="214"/>
                  <a:pt x="413" y="214"/>
                </a:cubicBezTo>
                <a:cubicBezTo>
                  <a:pt x="414" y="213"/>
                  <a:pt x="414" y="213"/>
                  <a:pt x="414" y="213"/>
                </a:cubicBezTo>
                <a:cubicBezTo>
                  <a:pt x="414" y="212"/>
                  <a:pt x="414" y="212"/>
                  <a:pt x="414" y="212"/>
                </a:cubicBezTo>
                <a:cubicBezTo>
                  <a:pt x="416" y="210"/>
                  <a:pt x="416" y="210"/>
                  <a:pt x="416" y="210"/>
                </a:cubicBezTo>
                <a:cubicBezTo>
                  <a:pt x="417" y="210"/>
                  <a:pt x="417" y="210"/>
                  <a:pt x="417" y="210"/>
                </a:cubicBezTo>
                <a:cubicBezTo>
                  <a:pt x="417" y="211"/>
                  <a:pt x="417" y="211"/>
                  <a:pt x="417" y="211"/>
                </a:cubicBezTo>
                <a:cubicBezTo>
                  <a:pt x="418" y="211"/>
                  <a:pt x="418" y="211"/>
                  <a:pt x="418" y="211"/>
                </a:cubicBezTo>
                <a:cubicBezTo>
                  <a:pt x="418" y="212"/>
                  <a:pt x="418" y="212"/>
                  <a:pt x="418" y="212"/>
                </a:cubicBezTo>
                <a:cubicBezTo>
                  <a:pt x="417" y="212"/>
                  <a:pt x="417" y="212"/>
                  <a:pt x="417" y="212"/>
                </a:cubicBezTo>
                <a:cubicBezTo>
                  <a:pt x="416" y="214"/>
                  <a:pt x="416" y="214"/>
                  <a:pt x="416" y="214"/>
                </a:cubicBezTo>
                <a:cubicBezTo>
                  <a:pt x="415" y="215"/>
                  <a:pt x="415" y="215"/>
                  <a:pt x="415" y="215"/>
                </a:cubicBezTo>
                <a:cubicBezTo>
                  <a:pt x="416" y="215"/>
                  <a:pt x="416" y="215"/>
                  <a:pt x="416" y="215"/>
                </a:cubicBezTo>
                <a:cubicBezTo>
                  <a:pt x="416" y="214"/>
                  <a:pt x="416" y="214"/>
                  <a:pt x="416" y="214"/>
                </a:cubicBezTo>
                <a:cubicBezTo>
                  <a:pt x="417" y="213"/>
                  <a:pt x="417" y="213"/>
                  <a:pt x="417" y="213"/>
                </a:cubicBezTo>
                <a:cubicBezTo>
                  <a:pt x="417" y="212"/>
                  <a:pt x="417" y="212"/>
                  <a:pt x="417" y="212"/>
                </a:cubicBezTo>
                <a:cubicBezTo>
                  <a:pt x="419" y="212"/>
                  <a:pt x="419" y="212"/>
                  <a:pt x="419" y="212"/>
                </a:cubicBezTo>
                <a:cubicBezTo>
                  <a:pt x="419" y="210"/>
                  <a:pt x="419" y="210"/>
                  <a:pt x="419" y="210"/>
                </a:cubicBezTo>
                <a:cubicBezTo>
                  <a:pt x="419" y="210"/>
                  <a:pt x="419" y="210"/>
                  <a:pt x="419" y="210"/>
                </a:cubicBezTo>
                <a:cubicBezTo>
                  <a:pt x="420" y="209"/>
                  <a:pt x="420" y="209"/>
                  <a:pt x="420" y="209"/>
                </a:cubicBezTo>
                <a:cubicBezTo>
                  <a:pt x="420" y="208"/>
                  <a:pt x="420" y="208"/>
                  <a:pt x="420" y="208"/>
                </a:cubicBezTo>
                <a:cubicBezTo>
                  <a:pt x="421" y="207"/>
                  <a:pt x="421" y="207"/>
                  <a:pt x="421" y="207"/>
                </a:cubicBezTo>
                <a:cubicBezTo>
                  <a:pt x="421" y="207"/>
                  <a:pt x="421" y="207"/>
                  <a:pt x="421" y="207"/>
                </a:cubicBezTo>
                <a:cubicBezTo>
                  <a:pt x="422" y="206"/>
                  <a:pt x="422" y="206"/>
                  <a:pt x="422" y="206"/>
                </a:cubicBezTo>
                <a:cubicBezTo>
                  <a:pt x="422" y="205"/>
                  <a:pt x="422" y="205"/>
                  <a:pt x="422" y="205"/>
                </a:cubicBezTo>
                <a:cubicBezTo>
                  <a:pt x="422" y="205"/>
                  <a:pt x="422" y="205"/>
                  <a:pt x="422" y="205"/>
                </a:cubicBezTo>
                <a:cubicBezTo>
                  <a:pt x="423" y="207"/>
                  <a:pt x="423" y="207"/>
                  <a:pt x="423" y="207"/>
                </a:cubicBezTo>
                <a:cubicBezTo>
                  <a:pt x="424" y="208"/>
                  <a:pt x="424" y="208"/>
                  <a:pt x="424" y="208"/>
                </a:cubicBezTo>
                <a:cubicBezTo>
                  <a:pt x="425" y="209"/>
                  <a:pt x="425" y="209"/>
                  <a:pt x="425" y="209"/>
                </a:cubicBezTo>
                <a:cubicBezTo>
                  <a:pt x="426" y="210"/>
                  <a:pt x="426" y="210"/>
                  <a:pt x="426" y="210"/>
                </a:cubicBezTo>
                <a:cubicBezTo>
                  <a:pt x="426" y="211"/>
                  <a:pt x="426" y="211"/>
                  <a:pt x="426" y="211"/>
                </a:cubicBezTo>
                <a:cubicBezTo>
                  <a:pt x="427" y="212"/>
                  <a:pt x="427" y="212"/>
                  <a:pt x="427" y="212"/>
                </a:cubicBezTo>
                <a:cubicBezTo>
                  <a:pt x="427" y="213"/>
                  <a:pt x="427" y="213"/>
                  <a:pt x="427" y="213"/>
                </a:cubicBezTo>
                <a:cubicBezTo>
                  <a:pt x="426" y="214"/>
                  <a:pt x="426" y="214"/>
                  <a:pt x="426" y="214"/>
                </a:cubicBezTo>
                <a:cubicBezTo>
                  <a:pt x="425" y="215"/>
                  <a:pt x="425" y="215"/>
                  <a:pt x="425" y="215"/>
                </a:cubicBezTo>
                <a:cubicBezTo>
                  <a:pt x="424" y="215"/>
                  <a:pt x="424" y="215"/>
                  <a:pt x="424" y="215"/>
                </a:cubicBezTo>
                <a:cubicBezTo>
                  <a:pt x="424" y="215"/>
                  <a:pt x="424" y="215"/>
                  <a:pt x="424" y="215"/>
                </a:cubicBezTo>
                <a:cubicBezTo>
                  <a:pt x="422" y="214"/>
                  <a:pt x="422" y="214"/>
                  <a:pt x="422" y="214"/>
                </a:cubicBezTo>
                <a:cubicBezTo>
                  <a:pt x="422" y="214"/>
                  <a:pt x="422" y="214"/>
                  <a:pt x="422" y="214"/>
                </a:cubicBezTo>
                <a:cubicBezTo>
                  <a:pt x="421" y="214"/>
                  <a:pt x="421" y="214"/>
                  <a:pt x="421" y="214"/>
                </a:cubicBezTo>
                <a:cubicBezTo>
                  <a:pt x="421" y="215"/>
                  <a:pt x="421" y="215"/>
                  <a:pt x="421" y="215"/>
                </a:cubicBezTo>
                <a:cubicBezTo>
                  <a:pt x="420" y="216"/>
                  <a:pt x="420" y="216"/>
                  <a:pt x="420" y="216"/>
                </a:cubicBezTo>
                <a:cubicBezTo>
                  <a:pt x="419" y="216"/>
                  <a:pt x="419" y="216"/>
                  <a:pt x="419" y="216"/>
                </a:cubicBezTo>
                <a:cubicBezTo>
                  <a:pt x="418" y="216"/>
                  <a:pt x="418" y="216"/>
                  <a:pt x="418" y="216"/>
                </a:cubicBezTo>
                <a:cubicBezTo>
                  <a:pt x="418" y="217"/>
                  <a:pt x="418" y="217"/>
                  <a:pt x="418" y="217"/>
                </a:cubicBezTo>
                <a:cubicBezTo>
                  <a:pt x="419" y="217"/>
                  <a:pt x="419" y="217"/>
                  <a:pt x="419" y="217"/>
                </a:cubicBezTo>
                <a:cubicBezTo>
                  <a:pt x="420" y="217"/>
                  <a:pt x="420" y="217"/>
                  <a:pt x="420" y="217"/>
                </a:cubicBezTo>
                <a:cubicBezTo>
                  <a:pt x="420" y="218"/>
                  <a:pt x="420" y="218"/>
                  <a:pt x="420" y="218"/>
                </a:cubicBezTo>
                <a:cubicBezTo>
                  <a:pt x="419" y="219"/>
                  <a:pt x="419" y="219"/>
                  <a:pt x="419" y="219"/>
                </a:cubicBezTo>
                <a:cubicBezTo>
                  <a:pt x="418" y="219"/>
                  <a:pt x="418" y="219"/>
                  <a:pt x="418" y="219"/>
                </a:cubicBezTo>
                <a:cubicBezTo>
                  <a:pt x="417" y="220"/>
                  <a:pt x="417" y="220"/>
                  <a:pt x="417" y="220"/>
                </a:cubicBezTo>
                <a:cubicBezTo>
                  <a:pt x="418" y="220"/>
                  <a:pt x="418" y="220"/>
                  <a:pt x="418" y="220"/>
                </a:cubicBezTo>
                <a:cubicBezTo>
                  <a:pt x="419" y="219"/>
                  <a:pt x="419" y="219"/>
                  <a:pt x="419" y="219"/>
                </a:cubicBezTo>
                <a:cubicBezTo>
                  <a:pt x="421" y="219"/>
                  <a:pt x="421" y="219"/>
                  <a:pt x="421" y="219"/>
                </a:cubicBezTo>
                <a:cubicBezTo>
                  <a:pt x="422" y="219"/>
                  <a:pt x="422" y="219"/>
                  <a:pt x="422" y="219"/>
                </a:cubicBezTo>
                <a:cubicBezTo>
                  <a:pt x="423" y="218"/>
                  <a:pt x="423" y="218"/>
                  <a:pt x="423" y="218"/>
                </a:cubicBezTo>
                <a:cubicBezTo>
                  <a:pt x="424" y="218"/>
                  <a:pt x="424" y="218"/>
                  <a:pt x="424" y="218"/>
                </a:cubicBezTo>
                <a:cubicBezTo>
                  <a:pt x="425" y="219"/>
                  <a:pt x="425" y="219"/>
                  <a:pt x="425" y="219"/>
                </a:cubicBezTo>
                <a:cubicBezTo>
                  <a:pt x="425" y="219"/>
                  <a:pt x="425" y="219"/>
                  <a:pt x="425" y="219"/>
                </a:cubicBezTo>
                <a:cubicBezTo>
                  <a:pt x="425" y="220"/>
                  <a:pt x="425" y="220"/>
                  <a:pt x="425" y="220"/>
                </a:cubicBezTo>
                <a:cubicBezTo>
                  <a:pt x="425" y="219"/>
                  <a:pt x="425" y="219"/>
                  <a:pt x="425" y="219"/>
                </a:cubicBezTo>
                <a:cubicBezTo>
                  <a:pt x="425" y="218"/>
                  <a:pt x="425" y="218"/>
                  <a:pt x="425" y="218"/>
                </a:cubicBezTo>
                <a:cubicBezTo>
                  <a:pt x="425" y="217"/>
                  <a:pt x="425" y="217"/>
                  <a:pt x="425" y="217"/>
                </a:cubicBezTo>
                <a:cubicBezTo>
                  <a:pt x="426" y="216"/>
                  <a:pt x="426" y="216"/>
                  <a:pt x="426" y="216"/>
                </a:cubicBezTo>
                <a:cubicBezTo>
                  <a:pt x="428" y="215"/>
                  <a:pt x="428" y="215"/>
                  <a:pt x="428" y="215"/>
                </a:cubicBezTo>
                <a:cubicBezTo>
                  <a:pt x="428" y="216"/>
                  <a:pt x="428" y="216"/>
                  <a:pt x="428" y="216"/>
                </a:cubicBezTo>
                <a:cubicBezTo>
                  <a:pt x="428" y="216"/>
                  <a:pt x="428" y="216"/>
                  <a:pt x="428" y="216"/>
                </a:cubicBezTo>
                <a:cubicBezTo>
                  <a:pt x="428" y="217"/>
                  <a:pt x="428" y="217"/>
                  <a:pt x="428" y="217"/>
                </a:cubicBezTo>
                <a:cubicBezTo>
                  <a:pt x="428" y="218"/>
                  <a:pt x="428" y="218"/>
                  <a:pt x="428" y="218"/>
                </a:cubicBezTo>
                <a:cubicBezTo>
                  <a:pt x="427" y="220"/>
                  <a:pt x="427" y="220"/>
                  <a:pt x="427" y="220"/>
                </a:cubicBezTo>
                <a:cubicBezTo>
                  <a:pt x="425" y="220"/>
                  <a:pt x="425" y="220"/>
                  <a:pt x="425" y="220"/>
                </a:cubicBezTo>
                <a:cubicBezTo>
                  <a:pt x="425" y="221"/>
                  <a:pt x="425" y="221"/>
                  <a:pt x="425" y="221"/>
                </a:cubicBezTo>
                <a:cubicBezTo>
                  <a:pt x="424" y="222"/>
                  <a:pt x="424" y="222"/>
                  <a:pt x="424" y="222"/>
                </a:cubicBezTo>
                <a:cubicBezTo>
                  <a:pt x="423" y="222"/>
                  <a:pt x="423" y="222"/>
                  <a:pt x="423" y="222"/>
                </a:cubicBezTo>
                <a:cubicBezTo>
                  <a:pt x="422" y="221"/>
                  <a:pt x="422" y="221"/>
                  <a:pt x="422" y="221"/>
                </a:cubicBezTo>
                <a:cubicBezTo>
                  <a:pt x="422" y="221"/>
                  <a:pt x="422" y="221"/>
                  <a:pt x="422" y="221"/>
                </a:cubicBezTo>
                <a:cubicBezTo>
                  <a:pt x="421" y="222"/>
                  <a:pt x="421" y="222"/>
                  <a:pt x="421" y="222"/>
                </a:cubicBezTo>
                <a:cubicBezTo>
                  <a:pt x="421" y="223"/>
                  <a:pt x="421" y="223"/>
                  <a:pt x="421" y="223"/>
                </a:cubicBezTo>
                <a:cubicBezTo>
                  <a:pt x="420" y="224"/>
                  <a:pt x="420" y="224"/>
                  <a:pt x="420" y="224"/>
                </a:cubicBezTo>
                <a:cubicBezTo>
                  <a:pt x="420" y="225"/>
                  <a:pt x="420" y="225"/>
                  <a:pt x="420" y="225"/>
                </a:cubicBezTo>
                <a:cubicBezTo>
                  <a:pt x="419" y="226"/>
                  <a:pt x="419" y="226"/>
                  <a:pt x="419" y="226"/>
                </a:cubicBezTo>
                <a:cubicBezTo>
                  <a:pt x="420" y="226"/>
                  <a:pt x="420" y="226"/>
                  <a:pt x="420" y="226"/>
                </a:cubicBezTo>
                <a:cubicBezTo>
                  <a:pt x="421" y="224"/>
                  <a:pt x="421" y="224"/>
                  <a:pt x="421" y="224"/>
                </a:cubicBezTo>
                <a:cubicBezTo>
                  <a:pt x="422" y="222"/>
                  <a:pt x="422" y="222"/>
                  <a:pt x="422" y="222"/>
                </a:cubicBezTo>
                <a:cubicBezTo>
                  <a:pt x="423" y="222"/>
                  <a:pt x="423" y="222"/>
                  <a:pt x="423" y="222"/>
                </a:cubicBezTo>
                <a:cubicBezTo>
                  <a:pt x="423" y="222"/>
                  <a:pt x="423" y="222"/>
                  <a:pt x="423" y="222"/>
                </a:cubicBezTo>
                <a:cubicBezTo>
                  <a:pt x="424" y="223"/>
                  <a:pt x="424" y="223"/>
                  <a:pt x="424" y="223"/>
                </a:cubicBezTo>
                <a:cubicBezTo>
                  <a:pt x="424" y="223"/>
                  <a:pt x="424" y="223"/>
                  <a:pt x="424" y="223"/>
                </a:cubicBezTo>
                <a:cubicBezTo>
                  <a:pt x="423" y="224"/>
                  <a:pt x="423" y="224"/>
                  <a:pt x="423" y="224"/>
                </a:cubicBezTo>
                <a:cubicBezTo>
                  <a:pt x="423" y="225"/>
                  <a:pt x="423" y="225"/>
                  <a:pt x="423" y="225"/>
                </a:cubicBezTo>
                <a:cubicBezTo>
                  <a:pt x="421" y="227"/>
                  <a:pt x="421" y="227"/>
                  <a:pt x="421" y="227"/>
                </a:cubicBezTo>
                <a:cubicBezTo>
                  <a:pt x="420" y="227"/>
                  <a:pt x="420" y="227"/>
                  <a:pt x="420" y="227"/>
                </a:cubicBezTo>
                <a:cubicBezTo>
                  <a:pt x="420" y="228"/>
                  <a:pt x="420" y="228"/>
                  <a:pt x="420" y="228"/>
                </a:cubicBezTo>
                <a:cubicBezTo>
                  <a:pt x="422" y="227"/>
                  <a:pt x="422" y="227"/>
                  <a:pt x="422" y="227"/>
                </a:cubicBezTo>
                <a:cubicBezTo>
                  <a:pt x="424" y="224"/>
                  <a:pt x="424" y="224"/>
                  <a:pt x="424" y="224"/>
                </a:cubicBezTo>
                <a:cubicBezTo>
                  <a:pt x="425" y="222"/>
                  <a:pt x="425" y="222"/>
                  <a:pt x="425" y="222"/>
                </a:cubicBezTo>
                <a:cubicBezTo>
                  <a:pt x="425" y="222"/>
                  <a:pt x="425" y="222"/>
                  <a:pt x="425" y="222"/>
                </a:cubicBezTo>
                <a:cubicBezTo>
                  <a:pt x="426" y="221"/>
                  <a:pt x="426" y="221"/>
                  <a:pt x="426" y="221"/>
                </a:cubicBezTo>
                <a:cubicBezTo>
                  <a:pt x="426" y="221"/>
                  <a:pt x="426" y="221"/>
                  <a:pt x="426" y="221"/>
                </a:cubicBezTo>
                <a:cubicBezTo>
                  <a:pt x="428" y="220"/>
                  <a:pt x="428" y="220"/>
                  <a:pt x="428" y="220"/>
                </a:cubicBezTo>
                <a:cubicBezTo>
                  <a:pt x="430" y="219"/>
                  <a:pt x="430" y="219"/>
                  <a:pt x="430" y="219"/>
                </a:cubicBezTo>
                <a:cubicBezTo>
                  <a:pt x="431" y="219"/>
                  <a:pt x="431" y="219"/>
                  <a:pt x="431" y="219"/>
                </a:cubicBezTo>
                <a:cubicBezTo>
                  <a:pt x="431" y="219"/>
                  <a:pt x="431" y="219"/>
                  <a:pt x="431" y="219"/>
                </a:cubicBezTo>
                <a:cubicBezTo>
                  <a:pt x="430" y="220"/>
                  <a:pt x="430" y="220"/>
                  <a:pt x="430" y="220"/>
                </a:cubicBezTo>
                <a:cubicBezTo>
                  <a:pt x="429" y="221"/>
                  <a:pt x="429" y="221"/>
                  <a:pt x="429" y="221"/>
                </a:cubicBezTo>
                <a:cubicBezTo>
                  <a:pt x="428" y="221"/>
                  <a:pt x="428" y="221"/>
                  <a:pt x="428" y="221"/>
                </a:cubicBezTo>
                <a:cubicBezTo>
                  <a:pt x="427" y="222"/>
                  <a:pt x="427" y="222"/>
                  <a:pt x="427" y="222"/>
                </a:cubicBezTo>
                <a:cubicBezTo>
                  <a:pt x="427" y="223"/>
                  <a:pt x="427" y="223"/>
                  <a:pt x="427" y="223"/>
                </a:cubicBezTo>
                <a:cubicBezTo>
                  <a:pt x="427" y="223"/>
                  <a:pt x="427" y="223"/>
                  <a:pt x="427" y="223"/>
                </a:cubicBezTo>
                <a:cubicBezTo>
                  <a:pt x="428" y="222"/>
                  <a:pt x="428" y="222"/>
                  <a:pt x="428" y="222"/>
                </a:cubicBezTo>
                <a:cubicBezTo>
                  <a:pt x="429" y="222"/>
                  <a:pt x="429" y="222"/>
                  <a:pt x="429" y="222"/>
                </a:cubicBezTo>
                <a:cubicBezTo>
                  <a:pt x="430" y="221"/>
                  <a:pt x="430" y="221"/>
                  <a:pt x="430" y="221"/>
                </a:cubicBezTo>
                <a:cubicBezTo>
                  <a:pt x="431" y="221"/>
                  <a:pt x="431" y="221"/>
                  <a:pt x="431" y="221"/>
                </a:cubicBezTo>
                <a:cubicBezTo>
                  <a:pt x="432" y="220"/>
                  <a:pt x="432" y="220"/>
                  <a:pt x="432" y="220"/>
                </a:cubicBezTo>
                <a:cubicBezTo>
                  <a:pt x="433" y="220"/>
                  <a:pt x="433" y="220"/>
                  <a:pt x="433" y="220"/>
                </a:cubicBezTo>
                <a:cubicBezTo>
                  <a:pt x="434" y="220"/>
                  <a:pt x="434" y="220"/>
                  <a:pt x="434" y="220"/>
                </a:cubicBezTo>
                <a:cubicBezTo>
                  <a:pt x="434" y="221"/>
                  <a:pt x="434" y="221"/>
                  <a:pt x="434" y="221"/>
                </a:cubicBezTo>
                <a:cubicBezTo>
                  <a:pt x="435" y="223"/>
                  <a:pt x="435" y="223"/>
                  <a:pt x="435" y="223"/>
                </a:cubicBezTo>
                <a:cubicBezTo>
                  <a:pt x="436" y="224"/>
                  <a:pt x="436" y="224"/>
                  <a:pt x="436" y="224"/>
                </a:cubicBezTo>
                <a:cubicBezTo>
                  <a:pt x="437" y="224"/>
                  <a:pt x="437" y="224"/>
                  <a:pt x="437" y="224"/>
                </a:cubicBezTo>
                <a:cubicBezTo>
                  <a:pt x="437" y="225"/>
                  <a:pt x="437" y="225"/>
                  <a:pt x="437" y="225"/>
                </a:cubicBezTo>
                <a:cubicBezTo>
                  <a:pt x="437" y="226"/>
                  <a:pt x="437" y="226"/>
                  <a:pt x="437" y="226"/>
                </a:cubicBezTo>
                <a:cubicBezTo>
                  <a:pt x="436" y="227"/>
                  <a:pt x="436" y="227"/>
                  <a:pt x="436" y="227"/>
                </a:cubicBezTo>
                <a:cubicBezTo>
                  <a:pt x="435" y="227"/>
                  <a:pt x="435" y="227"/>
                  <a:pt x="435" y="227"/>
                </a:cubicBezTo>
                <a:cubicBezTo>
                  <a:pt x="436" y="226"/>
                  <a:pt x="436" y="226"/>
                  <a:pt x="436" y="226"/>
                </a:cubicBezTo>
                <a:cubicBezTo>
                  <a:pt x="435" y="226"/>
                  <a:pt x="435" y="226"/>
                  <a:pt x="435" y="226"/>
                </a:cubicBezTo>
                <a:cubicBezTo>
                  <a:pt x="435" y="226"/>
                  <a:pt x="435" y="226"/>
                  <a:pt x="435" y="226"/>
                </a:cubicBezTo>
                <a:cubicBezTo>
                  <a:pt x="434" y="227"/>
                  <a:pt x="434" y="227"/>
                  <a:pt x="434" y="227"/>
                </a:cubicBezTo>
                <a:cubicBezTo>
                  <a:pt x="433" y="228"/>
                  <a:pt x="433" y="228"/>
                  <a:pt x="433" y="228"/>
                </a:cubicBezTo>
                <a:cubicBezTo>
                  <a:pt x="431" y="228"/>
                  <a:pt x="431" y="228"/>
                  <a:pt x="431" y="228"/>
                </a:cubicBezTo>
                <a:cubicBezTo>
                  <a:pt x="430" y="228"/>
                  <a:pt x="430" y="228"/>
                  <a:pt x="430" y="228"/>
                </a:cubicBezTo>
                <a:cubicBezTo>
                  <a:pt x="429" y="228"/>
                  <a:pt x="429" y="228"/>
                  <a:pt x="429" y="228"/>
                </a:cubicBezTo>
                <a:cubicBezTo>
                  <a:pt x="427" y="229"/>
                  <a:pt x="427" y="229"/>
                  <a:pt x="427" y="229"/>
                </a:cubicBezTo>
                <a:cubicBezTo>
                  <a:pt x="426" y="230"/>
                  <a:pt x="426" y="230"/>
                  <a:pt x="426" y="230"/>
                </a:cubicBezTo>
                <a:cubicBezTo>
                  <a:pt x="425" y="230"/>
                  <a:pt x="425" y="230"/>
                  <a:pt x="425" y="230"/>
                </a:cubicBezTo>
                <a:cubicBezTo>
                  <a:pt x="426" y="230"/>
                  <a:pt x="426" y="230"/>
                  <a:pt x="426" y="230"/>
                </a:cubicBezTo>
                <a:cubicBezTo>
                  <a:pt x="426" y="231"/>
                  <a:pt x="426" y="231"/>
                  <a:pt x="426" y="231"/>
                </a:cubicBezTo>
                <a:cubicBezTo>
                  <a:pt x="426" y="231"/>
                  <a:pt x="426" y="231"/>
                  <a:pt x="426" y="231"/>
                </a:cubicBezTo>
                <a:cubicBezTo>
                  <a:pt x="424" y="232"/>
                  <a:pt x="424" y="232"/>
                  <a:pt x="424" y="232"/>
                </a:cubicBezTo>
                <a:cubicBezTo>
                  <a:pt x="424" y="232"/>
                  <a:pt x="424" y="232"/>
                  <a:pt x="424" y="232"/>
                </a:cubicBezTo>
                <a:cubicBezTo>
                  <a:pt x="426" y="232"/>
                  <a:pt x="426" y="232"/>
                  <a:pt x="426" y="232"/>
                </a:cubicBezTo>
                <a:cubicBezTo>
                  <a:pt x="427" y="231"/>
                  <a:pt x="427" y="231"/>
                  <a:pt x="427" y="231"/>
                </a:cubicBezTo>
                <a:cubicBezTo>
                  <a:pt x="429" y="229"/>
                  <a:pt x="429" y="229"/>
                  <a:pt x="429" y="229"/>
                </a:cubicBezTo>
                <a:cubicBezTo>
                  <a:pt x="430" y="229"/>
                  <a:pt x="430" y="229"/>
                  <a:pt x="430" y="229"/>
                </a:cubicBezTo>
                <a:cubicBezTo>
                  <a:pt x="431" y="229"/>
                  <a:pt x="431" y="229"/>
                  <a:pt x="431" y="229"/>
                </a:cubicBezTo>
                <a:cubicBezTo>
                  <a:pt x="432" y="229"/>
                  <a:pt x="432" y="229"/>
                  <a:pt x="432" y="229"/>
                </a:cubicBezTo>
                <a:cubicBezTo>
                  <a:pt x="433" y="229"/>
                  <a:pt x="433" y="229"/>
                  <a:pt x="433" y="229"/>
                </a:cubicBezTo>
                <a:cubicBezTo>
                  <a:pt x="433" y="230"/>
                  <a:pt x="433" y="230"/>
                  <a:pt x="433" y="230"/>
                </a:cubicBezTo>
                <a:cubicBezTo>
                  <a:pt x="433" y="231"/>
                  <a:pt x="433" y="231"/>
                  <a:pt x="433" y="231"/>
                </a:cubicBezTo>
                <a:cubicBezTo>
                  <a:pt x="432" y="231"/>
                  <a:pt x="432" y="231"/>
                  <a:pt x="432" y="231"/>
                </a:cubicBezTo>
                <a:cubicBezTo>
                  <a:pt x="431" y="232"/>
                  <a:pt x="431" y="232"/>
                  <a:pt x="431" y="232"/>
                </a:cubicBezTo>
                <a:cubicBezTo>
                  <a:pt x="430" y="232"/>
                  <a:pt x="430" y="232"/>
                  <a:pt x="430" y="232"/>
                </a:cubicBezTo>
                <a:cubicBezTo>
                  <a:pt x="429" y="232"/>
                  <a:pt x="429" y="232"/>
                  <a:pt x="429" y="232"/>
                </a:cubicBezTo>
                <a:cubicBezTo>
                  <a:pt x="429" y="234"/>
                  <a:pt x="429" y="234"/>
                  <a:pt x="429" y="234"/>
                </a:cubicBezTo>
                <a:cubicBezTo>
                  <a:pt x="428" y="234"/>
                  <a:pt x="428" y="234"/>
                  <a:pt x="428" y="234"/>
                </a:cubicBezTo>
                <a:cubicBezTo>
                  <a:pt x="427" y="233"/>
                  <a:pt x="427" y="233"/>
                  <a:pt x="427" y="233"/>
                </a:cubicBezTo>
                <a:cubicBezTo>
                  <a:pt x="426" y="234"/>
                  <a:pt x="426" y="234"/>
                  <a:pt x="426" y="234"/>
                </a:cubicBezTo>
                <a:cubicBezTo>
                  <a:pt x="425" y="235"/>
                  <a:pt x="425" y="235"/>
                  <a:pt x="425" y="235"/>
                </a:cubicBezTo>
                <a:cubicBezTo>
                  <a:pt x="426" y="235"/>
                  <a:pt x="426" y="235"/>
                  <a:pt x="426" y="235"/>
                </a:cubicBezTo>
                <a:cubicBezTo>
                  <a:pt x="427" y="234"/>
                  <a:pt x="427" y="234"/>
                  <a:pt x="427" y="234"/>
                </a:cubicBezTo>
                <a:cubicBezTo>
                  <a:pt x="428" y="234"/>
                  <a:pt x="428" y="234"/>
                  <a:pt x="428" y="234"/>
                </a:cubicBezTo>
                <a:cubicBezTo>
                  <a:pt x="428" y="235"/>
                  <a:pt x="428" y="235"/>
                  <a:pt x="428" y="235"/>
                </a:cubicBezTo>
                <a:cubicBezTo>
                  <a:pt x="429" y="234"/>
                  <a:pt x="429" y="234"/>
                  <a:pt x="429" y="234"/>
                </a:cubicBezTo>
                <a:cubicBezTo>
                  <a:pt x="430" y="233"/>
                  <a:pt x="430" y="233"/>
                  <a:pt x="430" y="233"/>
                </a:cubicBezTo>
                <a:cubicBezTo>
                  <a:pt x="431" y="232"/>
                  <a:pt x="431" y="232"/>
                  <a:pt x="431" y="232"/>
                </a:cubicBezTo>
                <a:cubicBezTo>
                  <a:pt x="432" y="233"/>
                  <a:pt x="432" y="233"/>
                  <a:pt x="432" y="233"/>
                </a:cubicBezTo>
                <a:cubicBezTo>
                  <a:pt x="433" y="233"/>
                  <a:pt x="433" y="233"/>
                  <a:pt x="433" y="233"/>
                </a:cubicBezTo>
                <a:cubicBezTo>
                  <a:pt x="434" y="232"/>
                  <a:pt x="434" y="232"/>
                  <a:pt x="434" y="232"/>
                </a:cubicBezTo>
                <a:cubicBezTo>
                  <a:pt x="435" y="231"/>
                  <a:pt x="435" y="231"/>
                  <a:pt x="435" y="231"/>
                </a:cubicBezTo>
                <a:cubicBezTo>
                  <a:pt x="436" y="231"/>
                  <a:pt x="436" y="231"/>
                  <a:pt x="436" y="231"/>
                </a:cubicBezTo>
                <a:cubicBezTo>
                  <a:pt x="436" y="230"/>
                  <a:pt x="436" y="230"/>
                  <a:pt x="436" y="230"/>
                </a:cubicBezTo>
                <a:cubicBezTo>
                  <a:pt x="435" y="230"/>
                  <a:pt x="435" y="230"/>
                  <a:pt x="435" y="230"/>
                </a:cubicBezTo>
                <a:cubicBezTo>
                  <a:pt x="436" y="229"/>
                  <a:pt x="436" y="229"/>
                  <a:pt x="436" y="229"/>
                </a:cubicBezTo>
                <a:cubicBezTo>
                  <a:pt x="436" y="228"/>
                  <a:pt x="436" y="228"/>
                  <a:pt x="436" y="228"/>
                </a:cubicBezTo>
                <a:cubicBezTo>
                  <a:pt x="437" y="228"/>
                  <a:pt x="437" y="228"/>
                  <a:pt x="437" y="228"/>
                </a:cubicBezTo>
                <a:cubicBezTo>
                  <a:pt x="437" y="228"/>
                  <a:pt x="437" y="228"/>
                  <a:pt x="437" y="228"/>
                </a:cubicBezTo>
                <a:cubicBezTo>
                  <a:pt x="438" y="228"/>
                  <a:pt x="438" y="228"/>
                  <a:pt x="438" y="228"/>
                </a:cubicBezTo>
                <a:cubicBezTo>
                  <a:pt x="438" y="229"/>
                  <a:pt x="438" y="229"/>
                  <a:pt x="438" y="229"/>
                </a:cubicBezTo>
                <a:cubicBezTo>
                  <a:pt x="439" y="232"/>
                  <a:pt x="439" y="232"/>
                  <a:pt x="439" y="232"/>
                </a:cubicBezTo>
                <a:cubicBezTo>
                  <a:pt x="439" y="233"/>
                  <a:pt x="439" y="233"/>
                  <a:pt x="439" y="233"/>
                </a:cubicBezTo>
                <a:cubicBezTo>
                  <a:pt x="440" y="234"/>
                  <a:pt x="440" y="234"/>
                  <a:pt x="440" y="234"/>
                </a:cubicBezTo>
                <a:cubicBezTo>
                  <a:pt x="440" y="235"/>
                  <a:pt x="440" y="235"/>
                  <a:pt x="440" y="235"/>
                </a:cubicBezTo>
                <a:cubicBezTo>
                  <a:pt x="439" y="236"/>
                  <a:pt x="439" y="236"/>
                  <a:pt x="439" y="236"/>
                </a:cubicBezTo>
                <a:cubicBezTo>
                  <a:pt x="438" y="236"/>
                  <a:pt x="438" y="236"/>
                  <a:pt x="438" y="236"/>
                </a:cubicBezTo>
                <a:cubicBezTo>
                  <a:pt x="437" y="235"/>
                  <a:pt x="437" y="235"/>
                  <a:pt x="437" y="235"/>
                </a:cubicBezTo>
                <a:cubicBezTo>
                  <a:pt x="435" y="235"/>
                  <a:pt x="435" y="235"/>
                  <a:pt x="435" y="235"/>
                </a:cubicBezTo>
                <a:cubicBezTo>
                  <a:pt x="434" y="236"/>
                  <a:pt x="434" y="236"/>
                  <a:pt x="434" y="236"/>
                </a:cubicBezTo>
                <a:cubicBezTo>
                  <a:pt x="434" y="236"/>
                  <a:pt x="434" y="236"/>
                  <a:pt x="434" y="236"/>
                </a:cubicBezTo>
                <a:cubicBezTo>
                  <a:pt x="433" y="236"/>
                  <a:pt x="433" y="236"/>
                  <a:pt x="433" y="236"/>
                </a:cubicBezTo>
                <a:cubicBezTo>
                  <a:pt x="432" y="236"/>
                  <a:pt x="432" y="236"/>
                  <a:pt x="432" y="236"/>
                </a:cubicBezTo>
                <a:cubicBezTo>
                  <a:pt x="431" y="236"/>
                  <a:pt x="431" y="236"/>
                  <a:pt x="431" y="236"/>
                </a:cubicBezTo>
                <a:cubicBezTo>
                  <a:pt x="431" y="237"/>
                  <a:pt x="431" y="237"/>
                  <a:pt x="431" y="237"/>
                </a:cubicBezTo>
                <a:cubicBezTo>
                  <a:pt x="429" y="237"/>
                  <a:pt x="429" y="237"/>
                  <a:pt x="429" y="237"/>
                </a:cubicBezTo>
                <a:cubicBezTo>
                  <a:pt x="430" y="238"/>
                  <a:pt x="430" y="238"/>
                  <a:pt x="430" y="238"/>
                </a:cubicBezTo>
                <a:cubicBezTo>
                  <a:pt x="432" y="237"/>
                  <a:pt x="432" y="237"/>
                  <a:pt x="432" y="237"/>
                </a:cubicBezTo>
                <a:cubicBezTo>
                  <a:pt x="433" y="238"/>
                  <a:pt x="433" y="238"/>
                  <a:pt x="433" y="238"/>
                </a:cubicBezTo>
                <a:cubicBezTo>
                  <a:pt x="435" y="239"/>
                  <a:pt x="435" y="239"/>
                  <a:pt x="435" y="239"/>
                </a:cubicBezTo>
                <a:cubicBezTo>
                  <a:pt x="435" y="240"/>
                  <a:pt x="435" y="240"/>
                  <a:pt x="435" y="240"/>
                </a:cubicBezTo>
                <a:cubicBezTo>
                  <a:pt x="436" y="239"/>
                  <a:pt x="436" y="239"/>
                  <a:pt x="436" y="239"/>
                </a:cubicBezTo>
                <a:cubicBezTo>
                  <a:pt x="437" y="239"/>
                  <a:pt x="437" y="239"/>
                  <a:pt x="437" y="239"/>
                </a:cubicBezTo>
                <a:cubicBezTo>
                  <a:pt x="437" y="240"/>
                  <a:pt x="437" y="240"/>
                  <a:pt x="437" y="240"/>
                </a:cubicBezTo>
                <a:cubicBezTo>
                  <a:pt x="438" y="240"/>
                  <a:pt x="438" y="240"/>
                  <a:pt x="438" y="240"/>
                </a:cubicBezTo>
                <a:cubicBezTo>
                  <a:pt x="440" y="241"/>
                  <a:pt x="440" y="241"/>
                  <a:pt x="440" y="241"/>
                </a:cubicBezTo>
                <a:cubicBezTo>
                  <a:pt x="440" y="242"/>
                  <a:pt x="440" y="242"/>
                  <a:pt x="440" y="242"/>
                </a:cubicBezTo>
                <a:cubicBezTo>
                  <a:pt x="440" y="243"/>
                  <a:pt x="440" y="243"/>
                  <a:pt x="440" y="243"/>
                </a:cubicBezTo>
                <a:cubicBezTo>
                  <a:pt x="440" y="244"/>
                  <a:pt x="440" y="244"/>
                  <a:pt x="440" y="244"/>
                </a:cubicBezTo>
                <a:cubicBezTo>
                  <a:pt x="440" y="244"/>
                  <a:pt x="440" y="244"/>
                  <a:pt x="440" y="244"/>
                </a:cubicBezTo>
                <a:cubicBezTo>
                  <a:pt x="439" y="244"/>
                  <a:pt x="439" y="244"/>
                  <a:pt x="439" y="244"/>
                </a:cubicBezTo>
                <a:cubicBezTo>
                  <a:pt x="438" y="243"/>
                  <a:pt x="438" y="243"/>
                  <a:pt x="438" y="243"/>
                </a:cubicBezTo>
                <a:cubicBezTo>
                  <a:pt x="438" y="243"/>
                  <a:pt x="438" y="243"/>
                  <a:pt x="438" y="243"/>
                </a:cubicBezTo>
                <a:cubicBezTo>
                  <a:pt x="437" y="244"/>
                  <a:pt x="437" y="244"/>
                  <a:pt x="437" y="244"/>
                </a:cubicBezTo>
                <a:cubicBezTo>
                  <a:pt x="437" y="244"/>
                  <a:pt x="437" y="244"/>
                  <a:pt x="437" y="244"/>
                </a:cubicBezTo>
                <a:cubicBezTo>
                  <a:pt x="436" y="243"/>
                  <a:pt x="436" y="243"/>
                  <a:pt x="436" y="243"/>
                </a:cubicBezTo>
                <a:cubicBezTo>
                  <a:pt x="436" y="243"/>
                  <a:pt x="436" y="243"/>
                  <a:pt x="436" y="243"/>
                </a:cubicBezTo>
                <a:cubicBezTo>
                  <a:pt x="435" y="243"/>
                  <a:pt x="435" y="243"/>
                  <a:pt x="435" y="243"/>
                </a:cubicBezTo>
                <a:cubicBezTo>
                  <a:pt x="434" y="242"/>
                  <a:pt x="434" y="242"/>
                  <a:pt x="434" y="242"/>
                </a:cubicBezTo>
                <a:cubicBezTo>
                  <a:pt x="433" y="241"/>
                  <a:pt x="433" y="241"/>
                  <a:pt x="433" y="241"/>
                </a:cubicBezTo>
                <a:cubicBezTo>
                  <a:pt x="432" y="241"/>
                  <a:pt x="432" y="241"/>
                  <a:pt x="432" y="241"/>
                </a:cubicBezTo>
                <a:cubicBezTo>
                  <a:pt x="431" y="242"/>
                  <a:pt x="431" y="242"/>
                  <a:pt x="431" y="242"/>
                </a:cubicBezTo>
                <a:cubicBezTo>
                  <a:pt x="430" y="241"/>
                  <a:pt x="430" y="241"/>
                  <a:pt x="430" y="241"/>
                </a:cubicBezTo>
                <a:cubicBezTo>
                  <a:pt x="431" y="242"/>
                  <a:pt x="431" y="242"/>
                  <a:pt x="431" y="242"/>
                </a:cubicBezTo>
                <a:cubicBezTo>
                  <a:pt x="432" y="242"/>
                  <a:pt x="432" y="242"/>
                  <a:pt x="432" y="242"/>
                </a:cubicBezTo>
                <a:cubicBezTo>
                  <a:pt x="433" y="242"/>
                  <a:pt x="433" y="242"/>
                  <a:pt x="433" y="242"/>
                </a:cubicBezTo>
                <a:cubicBezTo>
                  <a:pt x="432" y="243"/>
                  <a:pt x="432" y="243"/>
                  <a:pt x="432" y="243"/>
                </a:cubicBezTo>
                <a:cubicBezTo>
                  <a:pt x="431" y="243"/>
                  <a:pt x="431" y="243"/>
                  <a:pt x="431" y="243"/>
                </a:cubicBezTo>
                <a:cubicBezTo>
                  <a:pt x="430" y="243"/>
                  <a:pt x="430" y="243"/>
                  <a:pt x="430" y="243"/>
                </a:cubicBezTo>
                <a:cubicBezTo>
                  <a:pt x="429" y="243"/>
                  <a:pt x="429" y="243"/>
                  <a:pt x="429" y="243"/>
                </a:cubicBezTo>
                <a:cubicBezTo>
                  <a:pt x="428" y="244"/>
                  <a:pt x="428" y="244"/>
                  <a:pt x="428" y="244"/>
                </a:cubicBezTo>
                <a:cubicBezTo>
                  <a:pt x="428" y="245"/>
                  <a:pt x="428" y="245"/>
                  <a:pt x="428" y="245"/>
                </a:cubicBezTo>
                <a:cubicBezTo>
                  <a:pt x="429" y="245"/>
                  <a:pt x="429" y="245"/>
                  <a:pt x="429" y="245"/>
                </a:cubicBezTo>
                <a:cubicBezTo>
                  <a:pt x="429" y="244"/>
                  <a:pt x="429" y="244"/>
                  <a:pt x="429" y="244"/>
                </a:cubicBezTo>
                <a:cubicBezTo>
                  <a:pt x="431" y="244"/>
                  <a:pt x="431" y="244"/>
                  <a:pt x="431" y="244"/>
                </a:cubicBezTo>
                <a:cubicBezTo>
                  <a:pt x="432" y="243"/>
                  <a:pt x="432" y="243"/>
                  <a:pt x="432" y="243"/>
                </a:cubicBezTo>
                <a:cubicBezTo>
                  <a:pt x="432" y="243"/>
                  <a:pt x="432" y="243"/>
                  <a:pt x="432" y="243"/>
                </a:cubicBezTo>
                <a:cubicBezTo>
                  <a:pt x="433" y="244"/>
                  <a:pt x="433" y="244"/>
                  <a:pt x="433" y="244"/>
                </a:cubicBezTo>
                <a:cubicBezTo>
                  <a:pt x="433" y="245"/>
                  <a:pt x="433" y="245"/>
                  <a:pt x="433" y="245"/>
                </a:cubicBezTo>
                <a:cubicBezTo>
                  <a:pt x="434" y="245"/>
                  <a:pt x="434" y="245"/>
                  <a:pt x="434" y="245"/>
                </a:cubicBezTo>
                <a:cubicBezTo>
                  <a:pt x="434" y="245"/>
                  <a:pt x="434" y="245"/>
                  <a:pt x="434" y="245"/>
                </a:cubicBezTo>
                <a:cubicBezTo>
                  <a:pt x="434" y="246"/>
                  <a:pt x="434" y="246"/>
                  <a:pt x="434" y="246"/>
                </a:cubicBezTo>
                <a:cubicBezTo>
                  <a:pt x="433" y="246"/>
                  <a:pt x="433" y="246"/>
                  <a:pt x="433" y="246"/>
                </a:cubicBezTo>
                <a:cubicBezTo>
                  <a:pt x="432" y="246"/>
                  <a:pt x="432" y="246"/>
                  <a:pt x="432" y="246"/>
                </a:cubicBezTo>
                <a:cubicBezTo>
                  <a:pt x="431" y="246"/>
                  <a:pt x="431" y="246"/>
                  <a:pt x="431" y="246"/>
                </a:cubicBezTo>
                <a:cubicBezTo>
                  <a:pt x="431" y="245"/>
                  <a:pt x="431" y="245"/>
                  <a:pt x="431" y="245"/>
                </a:cubicBezTo>
                <a:cubicBezTo>
                  <a:pt x="430" y="245"/>
                  <a:pt x="430" y="245"/>
                  <a:pt x="430" y="245"/>
                </a:cubicBezTo>
                <a:cubicBezTo>
                  <a:pt x="430" y="246"/>
                  <a:pt x="430" y="246"/>
                  <a:pt x="430" y="246"/>
                </a:cubicBezTo>
                <a:cubicBezTo>
                  <a:pt x="431" y="246"/>
                  <a:pt x="431" y="246"/>
                  <a:pt x="431" y="246"/>
                </a:cubicBezTo>
                <a:cubicBezTo>
                  <a:pt x="432" y="247"/>
                  <a:pt x="432" y="247"/>
                  <a:pt x="432" y="247"/>
                </a:cubicBezTo>
                <a:cubicBezTo>
                  <a:pt x="432" y="247"/>
                  <a:pt x="432" y="247"/>
                  <a:pt x="432" y="247"/>
                </a:cubicBezTo>
                <a:cubicBezTo>
                  <a:pt x="432" y="248"/>
                  <a:pt x="432" y="248"/>
                  <a:pt x="432" y="248"/>
                </a:cubicBezTo>
                <a:cubicBezTo>
                  <a:pt x="433" y="248"/>
                  <a:pt x="433" y="248"/>
                  <a:pt x="433" y="248"/>
                </a:cubicBezTo>
                <a:cubicBezTo>
                  <a:pt x="432" y="249"/>
                  <a:pt x="432" y="249"/>
                  <a:pt x="432" y="249"/>
                </a:cubicBezTo>
                <a:cubicBezTo>
                  <a:pt x="430" y="248"/>
                  <a:pt x="430" y="248"/>
                  <a:pt x="430" y="248"/>
                </a:cubicBezTo>
                <a:cubicBezTo>
                  <a:pt x="428" y="248"/>
                  <a:pt x="428" y="248"/>
                  <a:pt x="428" y="248"/>
                </a:cubicBezTo>
                <a:cubicBezTo>
                  <a:pt x="426" y="247"/>
                  <a:pt x="426" y="247"/>
                  <a:pt x="426" y="247"/>
                </a:cubicBezTo>
                <a:cubicBezTo>
                  <a:pt x="425" y="247"/>
                  <a:pt x="425" y="247"/>
                  <a:pt x="425" y="247"/>
                </a:cubicBezTo>
                <a:cubicBezTo>
                  <a:pt x="425" y="247"/>
                  <a:pt x="425" y="247"/>
                  <a:pt x="425" y="247"/>
                </a:cubicBezTo>
                <a:cubicBezTo>
                  <a:pt x="427" y="248"/>
                  <a:pt x="427" y="248"/>
                  <a:pt x="427" y="248"/>
                </a:cubicBezTo>
                <a:cubicBezTo>
                  <a:pt x="430" y="249"/>
                  <a:pt x="430" y="249"/>
                  <a:pt x="430" y="249"/>
                </a:cubicBezTo>
                <a:cubicBezTo>
                  <a:pt x="430" y="250"/>
                  <a:pt x="430" y="250"/>
                  <a:pt x="430" y="250"/>
                </a:cubicBezTo>
                <a:cubicBezTo>
                  <a:pt x="430" y="250"/>
                  <a:pt x="430" y="250"/>
                  <a:pt x="430" y="250"/>
                </a:cubicBezTo>
                <a:cubicBezTo>
                  <a:pt x="428" y="249"/>
                  <a:pt x="428" y="249"/>
                  <a:pt x="428" y="249"/>
                </a:cubicBezTo>
                <a:cubicBezTo>
                  <a:pt x="427" y="249"/>
                  <a:pt x="427" y="249"/>
                  <a:pt x="427" y="249"/>
                </a:cubicBezTo>
                <a:cubicBezTo>
                  <a:pt x="426" y="250"/>
                  <a:pt x="426" y="250"/>
                  <a:pt x="426" y="250"/>
                </a:cubicBezTo>
                <a:cubicBezTo>
                  <a:pt x="427" y="250"/>
                  <a:pt x="427" y="250"/>
                  <a:pt x="427" y="250"/>
                </a:cubicBezTo>
                <a:cubicBezTo>
                  <a:pt x="428" y="250"/>
                  <a:pt x="428" y="250"/>
                  <a:pt x="428" y="250"/>
                </a:cubicBezTo>
                <a:cubicBezTo>
                  <a:pt x="428" y="251"/>
                  <a:pt x="428" y="251"/>
                  <a:pt x="428" y="251"/>
                </a:cubicBezTo>
                <a:cubicBezTo>
                  <a:pt x="429" y="251"/>
                  <a:pt x="429" y="251"/>
                  <a:pt x="429" y="251"/>
                </a:cubicBezTo>
                <a:cubicBezTo>
                  <a:pt x="429" y="251"/>
                  <a:pt x="429" y="251"/>
                  <a:pt x="429" y="251"/>
                </a:cubicBezTo>
                <a:cubicBezTo>
                  <a:pt x="429" y="252"/>
                  <a:pt x="429" y="252"/>
                  <a:pt x="429" y="252"/>
                </a:cubicBezTo>
                <a:cubicBezTo>
                  <a:pt x="430" y="253"/>
                  <a:pt x="430" y="253"/>
                  <a:pt x="430" y="253"/>
                </a:cubicBezTo>
                <a:cubicBezTo>
                  <a:pt x="430" y="252"/>
                  <a:pt x="430" y="252"/>
                  <a:pt x="430" y="252"/>
                </a:cubicBezTo>
                <a:cubicBezTo>
                  <a:pt x="430" y="252"/>
                  <a:pt x="430" y="252"/>
                  <a:pt x="430" y="252"/>
                </a:cubicBezTo>
                <a:cubicBezTo>
                  <a:pt x="431" y="252"/>
                  <a:pt x="431" y="252"/>
                  <a:pt x="431" y="252"/>
                </a:cubicBezTo>
                <a:cubicBezTo>
                  <a:pt x="431" y="252"/>
                  <a:pt x="431" y="252"/>
                  <a:pt x="431" y="252"/>
                </a:cubicBezTo>
                <a:cubicBezTo>
                  <a:pt x="431" y="253"/>
                  <a:pt x="431" y="253"/>
                  <a:pt x="431" y="253"/>
                </a:cubicBezTo>
                <a:cubicBezTo>
                  <a:pt x="431" y="253"/>
                  <a:pt x="431" y="253"/>
                  <a:pt x="431" y="253"/>
                </a:cubicBezTo>
                <a:cubicBezTo>
                  <a:pt x="432" y="253"/>
                  <a:pt x="432" y="253"/>
                  <a:pt x="432" y="253"/>
                </a:cubicBezTo>
                <a:cubicBezTo>
                  <a:pt x="432" y="252"/>
                  <a:pt x="432" y="252"/>
                  <a:pt x="432" y="252"/>
                </a:cubicBezTo>
                <a:cubicBezTo>
                  <a:pt x="433" y="252"/>
                  <a:pt x="433" y="252"/>
                  <a:pt x="433" y="252"/>
                </a:cubicBezTo>
                <a:cubicBezTo>
                  <a:pt x="434" y="253"/>
                  <a:pt x="434" y="253"/>
                  <a:pt x="434" y="253"/>
                </a:cubicBezTo>
                <a:cubicBezTo>
                  <a:pt x="435" y="253"/>
                  <a:pt x="435" y="253"/>
                  <a:pt x="435" y="253"/>
                </a:cubicBezTo>
                <a:cubicBezTo>
                  <a:pt x="436" y="253"/>
                  <a:pt x="436" y="253"/>
                  <a:pt x="436" y="253"/>
                </a:cubicBezTo>
                <a:cubicBezTo>
                  <a:pt x="435" y="254"/>
                  <a:pt x="435" y="254"/>
                  <a:pt x="435" y="254"/>
                </a:cubicBezTo>
                <a:cubicBezTo>
                  <a:pt x="435" y="255"/>
                  <a:pt x="435" y="255"/>
                  <a:pt x="435" y="255"/>
                </a:cubicBezTo>
                <a:cubicBezTo>
                  <a:pt x="434" y="254"/>
                  <a:pt x="434" y="254"/>
                  <a:pt x="434" y="254"/>
                </a:cubicBezTo>
                <a:cubicBezTo>
                  <a:pt x="434" y="254"/>
                  <a:pt x="434" y="254"/>
                  <a:pt x="434" y="254"/>
                </a:cubicBezTo>
                <a:cubicBezTo>
                  <a:pt x="432" y="254"/>
                  <a:pt x="432" y="254"/>
                  <a:pt x="432" y="254"/>
                </a:cubicBezTo>
                <a:cubicBezTo>
                  <a:pt x="430" y="255"/>
                  <a:pt x="430" y="255"/>
                  <a:pt x="430" y="255"/>
                </a:cubicBezTo>
                <a:cubicBezTo>
                  <a:pt x="430" y="256"/>
                  <a:pt x="430" y="256"/>
                  <a:pt x="430" y="256"/>
                </a:cubicBezTo>
                <a:cubicBezTo>
                  <a:pt x="431" y="255"/>
                  <a:pt x="431" y="255"/>
                  <a:pt x="431" y="255"/>
                </a:cubicBezTo>
                <a:cubicBezTo>
                  <a:pt x="432" y="255"/>
                  <a:pt x="432" y="255"/>
                  <a:pt x="432" y="255"/>
                </a:cubicBezTo>
                <a:cubicBezTo>
                  <a:pt x="434" y="255"/>
                  <a:pt x="434" y="255"/>
                  <a:pt x="434" y="255"/>
                </a:cubicBezTo>
                <a:cubicBezTo>
                  <a:pt x="433" y="255"/>
                  <a:pt x="433" y="255"/>
                  <a:pt x="433" y="255"/>
                </a:cubicBezTo>
                <a:cubicBezTo>
                  <a:pt x="432" y="256"/>
                  <a:pt x="432" y="256"/>
                  <a:pt x="432" y="256"/>
                </a:cubicBezTo>
                <a:cubicBezTo>
                  <a:pt x="433" y="256"/>
                  <a:pt x="433" y="256"/>
                  <a:pt x="433" y="256"/>
                </a:cubicBezTo>
                <a:cubicBezTo>
                  <a:pt x="435" y="256"/>
                  <a:pt x="435" y="256"/>
                  <a:pt x="435" y="256"/>
                </a:cubicBezTo>
                <a:cubicBezTo>
                  <a:pt x="435" y="256"/>
                  <a:pt x="435" y="256"/>
                  <a:pt x="435" y="256"/>
                </a:cubicBezTo>
                <a:cubicBezTo>
                  <a:pt x="435" y="257"/>
                  <a:pt x="435" y="257"/>
                  <a:pt x="435" y="257"/>
                </a:cubicBezTo>
                <a:cubicBezTo>
                  <a:pt x="436" y="257"/>
                  <a:pt x="436" y="257"/>
                  <a:pt x="436" y="257"/>
                </a:cubicBezTo>
                <a:cubicBezTo>
                  <a:pt x="436" y="258"/>
                  <a:pt x="436" y="258"/>
                  <a:pt x="436" y="258"/>
                </a:cubicBezTo>
                <a:cubicBezTo>
                  <a:pt x="436" y="259"/>
                  <a:pt x="436" y="259"/>
                  <a:pt x="436" y="259"/>
                </a:cubicBezTo>
                <a:cubicBezTo>
                  <a:pt x="435" y="260"/>
                  <a:pt x="435" y="260"/>
                  <a:pt x="435" y="260"/>
                </a:cubicBezTo>
                <a:cubicBezTo>
                  <a:pt x="435" y="261"/>
                  <a:pt x="435" y="261"/>
                  <a:pt x="435" y="261"/>
                </a:cubicBezTo>
                <a:cubicBezTo>
                  <a:pt x="436" y="260"/>
                  <a:pt x="436" y="260"/>
                  <a:pt x="436" y="260"/>
                </a:cubicBezTo>
                <a:cubicBezTo>
                  <a:pt x="436" y="260"/>
                  <a:pt x="436" y="260"/>
                  <a:pt x="436" y="260"/>
                </a:cubicBezTo>
                <a:cubicBezTo>
                  <a:pt x="437" y="259"/>
                  <a:pt x="437" y="259"/>
                  <a:pt x="437" y="259"/>
                </a:cubicBezTo>
                <a:cubicBezTo>
                  <a:pt x="438" y="259"/>
                  <a:pt x="438" y="259"/>
                  <a:pt x="438" y="259"/>
                </a:cubicBezTo>
                <a:cubicBezTo>
                  <a:pt x="438" y="260"/>
                  <a:pt x="438" y="260"/>
                  <a:pt x="438" y="260"/>
                </a:cubicBezTo>
                <a:cubicBezTo>
                  <a:pt x="437" y="260"/>
                  <a:pt x="437" y="260"/>
                  <a:pt x="437" y="260"/>
                </a:cubicBezTo>
                <a:cubicBezTo>
                  <a:pt x="436" y="262"/>
                  <a:pt x="436" y="262"/>
                  <a:pt x="436" y="262"/>
                </a:cubicBezTo>
                <a:cubicBezTo>
                  <a:pt x="436" y="263"/>
                  <a:pt x="436" y="263"/>
                  <a:pt x="436" y="263"/>
                </a:cubicBezTo>
                <a:cubicBezTo>
                  <a:pt x="436" y="264"/>
                  <a:pt x="436" y="264"/>
                  <a:pt x="436" y="264"/>
                </a:cubicBezTo>
                <a:cubicBezTo>
                  <a:pt x="436" y="264"/>
                  <a:pt x="436" y="264"/>
                  <a:pt x="436" y="264"/>
                </a:cubicBezTo>
                <a:cubicBezTo>
                  <a:pt x="437" y="262"/>
                  <a:pt x="437" y="262"/>
                  <a:pt x="437" y="262"/>
                </a:cubicBezTo>
                <a:cubicBezTo>
                  <a:pt x="437" y="262"/>
                  <a:pt x="437" y="262"/>
                  <a:pt x="437" y="262"/>
                </a:cubicBezTo>
                <a:cubicBezTo>
                  <a:pt x="438" y="261"/>
                  <a:pt x="438" y="261"/>
                  <a:pt x="438" y="261"/>
                </a:cubicBezTo>
                <a:cubicBezTo>
                  <a:pt x="439" y="260"/>
                  <a:pt x="439" y="260"/>
                  <a:pt x="439" y="260"/>
                </a:cubicBezTo>
                <a:cubicBezTo>
                  <a:pt x="439" y="260"/>
                  <a:pt x="439" y="260"/>
                  <a:pt x="439" y="260"/>
                </a:cubicBezTo>
                <a:cubicBezTo>
                  <a:pt x="439" y="259"/>
                  <a:pt x="439" y="259"/>
                  <a:pt x="439" y="259"/>
                </a:cubicBezTo>
                <a:cubicBezTo>
                  <a:pt x="440" y="259"/>
                  <a:pt x="440" y="259"/>
                  <a:pt x="440" y="259"/>
                </a:cubicBezTo>
                <a:cubicBezTo>
                  <a:pt x="440" y="259"/>
                  <a:pt x="440" y="259"/>
                  <a:pt x="440" y="259"/>
                </a:cubicBezTo>
                <a:cubicBezTo>
                  <a:pt x="440" y="260"/>
                  <a:pt x="440" y="260"/>
                  <a:pt x="440" y="260"/>
                </a:cubicBezTo>
                <a:cubicBezTo>
                  <a:pt x="439" y="261"/>
                  <a:pt x="439" y="261"/>
                  <a:pt x="439" y="261"/>
                </a:cubicBezTo>
                <a:cubicBezTo>
                  <a:pt x="438" y="262"/>
                  <a:pt x="438" y="262"/>
                  <a:pt x="438" y="262"/>
                </a:cubicBezTo>
                <a:cubicBezTo>
                  <a:pt x="438" y="263"/>
                  <a:pt x="438" y="263"/>
                  <a:pt x="438" y="263"/>
                </a:cubicBezTo>
                <a:cubicBezTo>
                  <a:pt x="439" y="264"/>
                  <a:pt x="439" y="264"/>
                  <a:pt x="439" y="264"/>
                </a:cubicBezTo>
                <a:cubicBezTo>
                  <a:pt x="439" y="264"/>
                  <a:pt x="439" y="264"/>
                  <a:pt x="439" y="264"/>
                </a:cubicBezTo>
                <a:cubicBezTo>
                  <a:pt x="439" y="263"/>
                  <a:pt x="439" y="263"/>
                  <a:pt x="439" y="263"/>
                </a:cubicBezTo>
                <a:cubicBezTo>
                  <a:pt x="439" y="262"/>
                  <a:pt x="439" y="262"/>
                  <a:pt x="439" y="262"/>
                </a:cubicBezTo>
                <a:cubicBezTo>
                  <a:pt x="440" y="261"/>
                  <a:pt x="440" y="261"/>
                  <a:pt x="440" y="261"/>
                </a:cubicBezTo>
                <a:cubicBezTo>
                  <a:pt x="441" y="261"/>
                  <a:pt x="441" y="261"/>
                  <a:pt x="441" y="261"/>
                </a:cubicBezTo>
                <a:cubicBezTo>
                  <a:pt x="442" y="259"/>
                  <a:pt x="442" y="259"/>
                  <a:pt x="442" y="259"/>
                </a:cubicBezTo>
                <a:cubicBezTo>
                  <a:pt x="443" y="259"/>
                  <a:pt x="443" y="259"/>
                  <a:pt x="443" y="259"/>
                </a:cubicBezTo>
                <a:cubicBezTo>
                  <a:pt x="443" y="259"/>
                  <a:pt x="443" y="259"/>
                  <a:pt x="443" y="259"/>
                </a:cubicBezTo>
                <a:cubicBezTo>
                  <a:pt x="443" y="260"/>
                  <a:pt x="443" y="260"/>
                  <a:pt x="443" y="260"/>
                </a:cubicBezTo>
                <a:cubicBezTo>
                  <a:pt x="443" y="261"/>
                  <a:pt x="443" y="261"/>
                  <a:pt x="443" y="261"/>
                </a:cubicBezTo>
                <a:cubicBezTo>
                  <a:pt x="441" y="261"/>
                  <a:pt x="441" y="261"/>
                  <a:pt x="441" y="261"/>
                </a:cubicBezTo>
                <a:cubicBezTo>
                  <a:pt x="441" y="262"/>
                  <a:pt x="441" y="262"/>
                  <a:pt x="441" y="262"/>
                </a:cubicBezTo>
                <a:cubicBezTo>
                  <a:pt x="441" y="263"/>
                  <a:pt x="441" y="263"/>
                  <a:pt x="441" y="263"/>
                </a:cubicBezTo>
                <a:cubicBezTo>
                  <a:pt x="441" y="264"/>
                  <a:pt x="441" y="264"/>
                  <a:pt x="441" y="264"/>
                </a:cubicBezTo>
                <a:cubicBezTo>
                  <a:pt x="441" y="263"/>
                  <a:pt x="441" y="263"/>
                  <a:pt x="441" y="263"/>
                </a:cubicBezTo>
                <a:cubicBezTo>
                  <a:pt x="442" y="264"/>
                  <a:pt x="442" y="264"/>
                  <a:pt x="442" y="264"/>
                </a:cubicBezTo>
                <a:cubicBezTo>
                  <a:pt x="443" y="263"/>
                  <a:pt x="443" y="263"/>
                  <a:pt x="443" y="263"/>
                </a:cubicBezTo>
                <a:cubicBezTo>
                  <a:pt x="444" y="263"/>
                  <a:pt x="444" y="263"/>
                  <a:pt x="444" y="263"/>
                </a:cubicBezTo>
                <a:cubicBezTo>
                  <a:pt x="444" y="263"/>
                  <a:pt x="444" y="263"/>
                  <a:pt x="444" y="263"/>
                </a:cubicBezTo>
                <a:cubicBezTo>
                  <a:pt x="445" y="265"/>
                  <a:pt x="445" y="265"/>
                  <a:pt x="445" y="265"/>
                </a:cubicBezTo>
                <a:cubicBezTo>
                  <a:pt x="445" y="265"/>
                  <a:pt x="445" y="265"/>
                  <a:pt x="445" y="265"/>
                </a:cubicBezTo>
                <a:cubicBezTo>
                  <a:pt x="444" y="266"/>
                  <a:pt x="444" y="266"/>
                  <a:pt x="444" y="266"/>
                </a:cubicBezTo>
                <a:cubicBezTo>
                  <a:pt x="444" y="266"/>
                  <a:pt x="444" y="266"/>
                  <a:pt x="444" y="266"/>
                </a:cubicBezTo>
                <a:cubicBezTo>
                  <a:pt x="444" y="266"/>
                  <a:pt x="444" y="266"/>
                  <a:pt x="444" y="266"/>
                </a:cubicBezTo>
                <a:cubicBezTo>
                  <a:pt x="445" y="267"/>
                  <a:pt x="445" y="267"/>
                  <a:pt x="445" y="267"/>
                </a:cubicBezTo>
                <a:cubicBezTo>
                  <a:pt x="444" y="268"/>
                  <a:pt x="444" y="268"/>
                  <a:pt x="444" y="268"/>
                </a:cubicBezTo>
                <a:cubicBezTo>
                  <a:pt x="443" y="268"/>
                  <a:pt x="443" y="268"/>
                  <a:pt x="443" y="268"/>
                </a:cubicBezTo>
                <a:cubicBezTo>
                  <a:pt x="444" y="268"/>
                  <a:pt x="444" y="268"/>
                  <a:pt x="444" y="268"/>
                </a:cubicBezTo>
                <a:cubicBezTo>
                  <a:pt x="445" y="269"/>
                  <a:pt x="445" y="269"/>
                  <a:pt x="445" y="269"/>
                </a:cubicBezTo>
                <a:cubicBezTo>
                  <a:pt x="443" y="269"/>
                  <a:pt x="443" y="269"/>
                  <a:pt x="443" y="269"/>
                </a:cubicBezTo>
                <a:cubicBezTo>
                  <a:pt x="442" y="269"/>
                  <a:pt x="442" y="269"/>
                  <a:pt x="442" y="269"/>
                </a:cubicBezTo>
                <a:cubicBezTo>
                  <a:pt x="442" y="270"/>
                  <a:pt x="442" y="270"/>
                  <a:pt x="442" y="270"/>
                </a:cubicBezTo>
                <a:cubicBezTo>
                  <a:pt x="443" y="269"/>
                  <a:pt x="443" y="269"/>
                  <a:pt x="443" y="269"/>
                </a:cubicBezTo>
                <a:cubicBezTo>
                  <a:pt x="445" y="270"/>
                  <a:pt x="445" y="270"/>
                  <a:pt x="445" y="270"/>
                </a:cubicBezTo>
                <a:cubicBezTo>
                  <a:pt x="445" y="269"/>
                  <a:pt x="445" y="269"/>
                  <a:pt x="445" y="269"/>
                </a:cubicBezTo>
                <a:cubicBezTo>
                  <a:pt x="447" y="269"/>
                  <a:pt x="447" y="269"/>
                  <a:pt x="447" y="269"/>
                </a:cubicBezTo>
                <a:cubicBezTo>
                  <a:pt x="447" y="269"/>
                  <a:pt x="447" y="269"/>
                  <a:pt x="447" y="269"/>
                </a:cubicBezTo>
                <a:cubicBezTo>
                  <a:pt x="446" y="270"/>
                  <a:pt x="446" y="270"/>
                  <a:pt x="446" y="270"/>
                </a:cubicBezTo>
                <a:cubicBezTo>
                  <a:pt x="445" y="272"/>
                  <a:pt x="445" y="272"/>
                  <a:pt x="445" y="272"/>
                </a:cubicBezTo>
                <a:cubicBezTo>
                  <a:pt x="447" y="271"/>
                  <a:pt x="447" y="271"/>
                  <a:pt x="447" y="271"/>
                </a:cubicBezTo>
                <a:cubicBezTo>
                  <a:pt x="447" y="270"/>
                  <a:pt x="447" y="270"/>
                  <a:pt x="447" y="270"/>
                </a:cubicBezTo>
                <a:cubicBezTo>
                  <a:pt x="448" y="269"/>
                  <a:pt x="448" y="269"/>
                  <a:pt x="448" y="269"/>
                </a:cubicBezTo>
                <a:cubicBezTo>
                  <a:pt x="449" y="269"/>
                  <a:pt x="449" y="269"/>
                  <a:pt x="449" y="269"/>
                </a:cubicBezTo>
                <a:cubicBezTo>
                  <a:pt x="450" y="269"/>
                  <a:pt x="450" y="269"/>
                  <a:pt x="450" y="269"/>
                </a:cubicBezTo>
                <a:cubicBezTo>
                  <a:pt x="450" y="269"/>
                  <a:pt x="450" y="269"/>
                  <a:pt x="450" y="269"/>
                </a:cubicBezTo>
                <a:cubicBezTo>
                  <a:pt x="449" y="270"/>
                  <a:pt x="449" y="270"/>
                  <a:pt x="449" y="270"/>
                </a:cubicBezTo>
                <a:cubicBezTo>
                  <a:pt x="449" y="270"/>
                  <a:pt x="449" y="270"/>
                  <a:pt x="449" y="270"/>
                </a:cubicBezTo>
                <a:cubicBezTo>
                  <a:pt x="448" y="271"/>
                  <a:pt x="448" y="271"/>
                  <a:pt x="448" y="271"/>
                </a:cubicBezTo>
                <a:cubicBezTo>
                  <a:pt x="448" y="272"/>
                  <a:pt x="448" y="272"/>
                  <a:pt x="448" y="272"/>
                </a:cubicBezTo>
                <a:cubicBezTo>
                  <a:pt x="446" y="273"/>
                  <a:pt x="446" y="273"/>
                  <a:pt x="446" y="273"/>
                </a:cubicBezTo>
                <a:cubicBezTo>
                  <a:pt x="446" y="274"/>
                  <a:pt x="446" y="274"/>
                  <a:pt x="446" y="274"/>
                </a:cubicBezTo>
                <a:cubicBezTo>
                  <a:pt x="446" y="275"/>
                  <a:pt x="446" y="275"/>
                  <a:pt x="446" y="275"/>
                </a:cubicBezTo>
                <a:cubicBezTo>
                  <a:pt x="447" y="275"/>
                  <a:pt x="447" y="275"/>
                  <a:pt x="447" y="275"/>
                </a:cubicBezTo>
                <a:cubicBezTo>
                  <a:pt x="447" y="274"/>
                  <a:pt x="447" y="274"/>
                  <a:pt x="447" y="274"/>
                </a:cubicBezTo>
                <a:cubicBezTo>
                  <a:pt x="447" y="273"/>
                  <a:pt x="447" y="273"/>
                  <a:pt x="447" y="273"/>
                </a:cubicBezTo>
                <a:cubicBezTo>
                  <a:pt x="449" y="272"/>
                  <a:pt x="449" y="272"/>
                  <a:pt x="449" y="272"/>
                </a:cubicBezTo>
                <a:cubicBezTo>
                  <a:pt x="450" y="272"/>
                  <a:pt x="450" y="272"/>
                  <a:pt x="450" y="272"/>
                </a:cubicBezTo>
                <a:cubicBezTo>
                  <a:pt x="450" y="272"/>
                  <a:pt x="450" y="272"/>
                  <a:pt x="450" y="272"/>
                </a:cubicBezTo>
                <a:cubicBezTo>
                  <a:pt x="449" y="274"/>
                  <a:pt x="449" y="274"/>
                  <a:pt x="449" y="274"/>
                </a:cubicBezTo>
                <a:cubicBezTo>
                  <a:pt x="449" y="275"/>
                  <a:pt x="449" y="275"/>
                  <a:pt x="449" y="275"/>
                </a:cubicBezTo>
                <a:cubicBezTo>
                  <a:pt x="448" y="276"/>
                  <a:pt x="448" y="276"/>
                  <a:pt x="448" y="276"/>
                </a:cubicBezTo>
                <a:cubicBezTo>
                  <a:pt x="449" y="275"/>
                  <a:pt x="449" y="275"/>
                  <a:pt x="449" y="275"/>
                </a:cubicBezTo>
                <a:cubicBezTo>
                  <a:pt x="450" y="274"/>
                  <a:pt x="450" y="274"/>
                  <a:pt x="450" y="274"/>
                </a:cubicBezTo>
                <a:cubicBezTo>
                  <a:pt x="450" y="273"/>
                  <a:pt x="450" y="273"/>
                  <a:pt x="450" y="273"/>
                </a:cubicBezTo>
                <a:cubicBezTo>
                  <a:pt x="450" y="273"/>
                  <a:pt x="450" y="273"/>
                  <a:pt x="450" y="273"/>
                </a:cubicBezTo>
                <a:cubicBezTo>
                  <a:pt x="451" y="273"/>
                  <a:pt x="451" y="273"/>
                  <a:pt x="451" y="273"/>
                </a:cubicBezTo>
                <a:cubicBezTo>
                  <a:pt x="451" y="275"/>
                  <a:pt x="451" y="275"/>
                  <a:pt x="451" y="275"/>
                </a:cubicBezTo>
                <a:cubicBezTo>
                  <a:pt x="452" y="275"/>
                  <a:pt x="452" y="275"/>
                  <a:pt x="452" y="275"/>
                </a:cubicBezTo>
                <a:cubicBezTo>
                  <a:pt x="452" y="275"/>
                  <a:pt x="452" y="275"/>
                  <a:pt x="452" y="275"/>
                </a:cubicBezTo>
                <a:cubicBezTo>
                  <a:pt x="452" y="274"/>
                  <a:pt x="452" y="274"/>
                  <a:pt x="452" y="274"/>
                </a:cubicBezTo>
                <a:cubicBezTo>
                  <a:pt x="452" y="273"/>
                  <a:pt x="452" y="273"/>
                  <a:pt x="452" y="273"/>
                </a:cubicBezTo>
                <a:cubicBezTo>
                  <a:pt x="454" y="273"/>
                  <a:pt x="454" y="273"/>
                  <a:pt x="454" y="273"/>
                </a:cubicBezTo>
                <a:cubicBezTo>
                  <a:pt x="454" y="273"/>
                  <a:pt x="454" y="273"/>
                  <a:pt x="454" y="273"/>
                </a:cubicBezTo>
                <a:cubicBezTo>
                  <a:pt x="454" y="274"/>
                  <a:pt x="454" y="274"/>
                  <a:pt x="454" y="274"/>
                </a:cubicBezTo>
                <a:cubicBezTo>
                  <a:pt x="454" y="274"/>
                  <a:pt x="454" y="274"/>
                  <a:pt x="454" y="274"/>
                </a:cubicBezTo>
                <a:cubicBezTo>
                  <a:pt x="455" y="274"/>
                  <a:pt x="455" y="274"/>
                  <a:pt x="455" y="274"/>
                </a:cubicBezTo>
                <a:cubicBezTo>
                  <a:pt x="455" y="274"/>
                  <a:pt x="455" y="274"/>
                  <a:pt x="455" y="274"/>
                </a:cubicBezTo>
                <a:cubicBezTo>
                  <a:pt x="455" y="276"/>
                  <a:pt x="455" y="276"/>
                  <a:pt x="455" y="276"/>
                </a:cubicBezTo>
                <a:cubicBezTo>
                  <a:pt x="456" y="276"/>
                  <a:pt x="456" y="276"/>
                  <a:pt x="456" y="276"/>
                </a:cubicBezTo>
                <a:cubicBezTo>
                  <a:pt x="456" y="276"/>
                  <a:pt x="456" y="276"/>
                  <a:pt x="456" y="276"/>
                </a:cubicBezTo>
                <a:cubicBezTo>
                  <a:pt x="457" y="277"/>
                  <a:pt x="457" y="277"/>
                  <a:pt x="457" y="277"/>
                </a:cubicBezTo>
                <a:cubicBezTo>
                  <a:pt x="457" y="278"/>
                  <a:pt x="457" y="278"/>
                  <a:pt x="457" y="278"/>
                </a:cubicBezTo>
                <a:cubicBezTo>
                  <a:pt x="457" y="278"/>
                  <a:pt x="457" y="278"/>
                  <a:pt x="457" y="278"/>
                </a:cubicBezTo>
                <a:cubicBezTo>
                  <a:pt x="457" y="279"/>
                  <a:pt x="457" y="279"/>
                  <a:pt x="457" y="279"/>
                </a:cubicBezTo>
                <a:cubicBezTo>
                  <a:pt x="457" y="279"/>
                  <a:pt x="457" y="279"/>
                  <a:pt x="457" y="279"/>
                </a:cubicBezTo>
                <a:cubicBezTo>
                  <a:pt x="455" y="279"/>
                  <a:pt x="455" y="279"/>
                  <a:pt x="455" y="279"/>
                </a:cubicBezTo>
                <a:cubicBezTo>
                  <a:pt x="455" y="278"/>
                  <a:pt x="455" y="278"/>
                  <a:pt x="455" y="278"/>
                </a:cubicBezTo>
                <a:cubicBezTo>
                  <a:pt x="455" y="278"/>
                  <a:pt x="455" y="278"/>
                  <a:pt x="455" y="278"/>
                </a:cubicBezTo>
                <a:cubicBezTo>
                  <a:pt x="454" y="277"/>
                  <a:pt x="454" y="277"/>
                  <a:pt x="454" y="277"/>
                </a:cubicBezTo>
                <a:cubicBezTo>
                  <a:pt x="454" y="277"/>
                  <a:pt x="454" y="277"/>
                  <a:pt x="454" y="277"/>
                </a:cubicBezTo>
                <a:cubicBezTo>
                  <a:pt x="453" y="277"/>
                  <a:pt x="453" y="277"/>
                  <a:pt x="453" y="277"/>
                </a:cubicBezTo>
                <a:cubicBezTo>
                  <a:pt x="453" y="278"/>
                  <a:pt x="453" y="278"/>
                  <a:pt x="453" y="278"/>
                </a:cubicBezTo>
                <a:cubicBezTo>
                  <a:pt x="453" y="278"/>
                  <a:pt x="453" y="278"/>
                  <a:pt x="453" y="278"/>
                </a:cubicBezTo>
                <a:cubicBezTo>
                  <a:pt x="454" y="278"/>
                  <a:pt x="454" y="278"/>
                  <a:pt x="454" y="278"/>
                </a:cubicBezTo>
                <a:cubicBezTo>
                  <a:pt x="454" y="279"/>
                  <a:pt x="454" y="279"/>
                  <a:pt x="454" y="279"/>
                </a:cubicBezTo>
                <a:cubicBezTo>
                  <a:pt x="454" y="279"/>
                  <a:pt x="454" y="279"/>
                  <a:pt x="454" y="279"/>
                </a:cubicBezTo>
                <a:cubicBezTo>
                  <a:pt x="455" y="279"/>
                  <a:pt x="455" y="279"/>
                  <a:pt x="455" y="279"/>
                </a:cubicBezTo>
                <a:cubicBezTo>
                  <a:pt x="455" y="280"/>
                  <a:pt x="455" y="280"/>
                  <a:pt x="455" y="280"/>
                </a:cubicBezTo>
                <a:cubicBezTo>
                  <a:pt x="454" y="280"/>
                  <a:pt x="454" y="280"/>
                  <a:pt x="454" y="280"/>
                </a:cubicBezTo>
                <a:cubicBezTo>
                  <a:pt x="453" y="280"/>
                  <a:pt x="453" y="280"/>
                  <a:pt x="453" y="280"/>
                </a:cubicBezTo>
                <a:cubicBezTo>
                  <a:pt x="453" y="280"/>
                  <a:pt x="453" y="280"/>
                  <a:pt x="453" y="280"/>
                </a:cubicBezTo>
                <a:cubicBezTo>
                  <a:pt x="453" y="281"/>
                  <a:pt x="453" y="281"/>
                  <a:pt x="453" y="281"/>
                </a:cubicBezTo>
                <a:cubicBezTo>
                  <a:pt x="455" y="281"/>
                  <a:pt x="455" y="281"/>
                  <a:pt x="455" y="281"/>
                </a:cubicBezTo>
                <a:cubicBezTo>
                  <a:pt x="455" y="281"/>
                  <a:pt x="455" y="281"/>
                  <a:pt x="455" y="281"/>
                </a:cubicBezTo>
                <a:cubicBezTo>
                  <a:pt x="455" y="281"/>
                  <a:pt x="455" y="281"/>
                  <a:pt x="455" y="281"/>
                </a:cubicBezTo>
                <a:cubicBezTo>
                  <a:pt x="455" y="282"/>
                  <a:pt x="455" y="282"/>
                  <a:pt x="455" y="282"/>
                </a:cubicBezTo>
                <a:cubicBezTo>
                  <a:pt x="454" y="282"/>
                  <a:pt x="454" y="282"/>
                  <a:pt x="454" y="282"/>
                </a:cubicBezTo>
                <a:cubicBezTo>
                  <a:pt x="453" y="282"/>
                  <a:pt x="453" y="282"/>
                  <a:pt x="453" y="282"/>
                </a:cubicBezTo>
                <a:cubicBezTo>
                  <a:pt x="452" y="282"/>
                  <a:pt x="452" y="282"/>
                  <a:pt x="452" y="282"/>
                </a:cubicBezTo>
                <a:cubicBezTo>
                  <a:pt x="451" y="282"/>
                  <a:pt x="451" y="282"/>
                  <a:pt x="451" y="282"/>
                </a:cubicBezTo>
                <a:cubicBezTo>
                  <a:pt x="451" y="281"/>
                  <a:pt x="451" y="281"/>
                  <a:pt x="451" y="281"/>
                </a:cubicBezTo>
                <a:cubicBezTo>
                  <a:pt x="451" y="280"/>
                  <a:pt x="451" y="280"/>
                  <a:pt x="451" y="280"/>
                </a:cubicBezTo>
                <a:cubicBezTo>
                  <a:pt x="450" y="280"/>
                  <a:pt x="450" y="280"/>
                  <a:pt x="450" y="280"/>
                </a:cubicBezTo>
                <a:cubicBezTo>
                  <a:pt x="450" y="279"/>
                  <a:pt x="450" y="279"/>
                  <a:pt x="450" y="279"/>
                </a:cubicBezTo>
                <a:cubicBezTo>
                  <a:pt x="449" y="279"/>
                  <a:pt x="449" y="279"/>
                  <a:pt x="449" y="279"/>
                </a:cubicBezTo>
                <a:cubicBezTo>
                  <a:pt x="449" y="280"/>
                  <a:pt x="449" y="280"/>
                  <a:pt x="449" y="280"/>
                </a:cubicBezTo>
                <a:cubicBezTo>
                  <a:pt x="450" y="281"/>
                  <a:pt x="450" y="281"/>
                  <a:pt x="450" y="281"/>
                </a:cubicBezTo>
                <a:cubicBezTo>
                  <a:pt x="450" y="281"/>
                  <a:pt x="450" y="281"/>
                  <a:pt x="450" y="281"/>
                </a:cubicBezTo>
                <a:cubicBezTo>
                  <a:pt x="450" y="282"/>
                  <a:pt x="450" y="282"/>
                  <a:pt x="450" y="282"/>
                </a:cubicBezTo>
                <a:cubicBezTo>
                  <a:pt x="449" y="282"/>
                  <a:pt x="449" y="282"/>
                  <a:pt x="449" y="282"/>
                </a:cubicBezTo>
                <a:cubicBezTo>
                  <a:pt x="448" y="281"/>
                  <a:pt x="448" y="281"/>
                  <a:pt x="448" y="281"/>
                </a:cubicBezTo>
                <a:cubicBezTo>
                  <a:pt x="448" y="281"/>
                  <a:pt x="448" y="281"/>
                  <a:pt x="448" y="281"/>
                </a:cubicBezTo>
                <a:cubicBezTo>
                  <a:pt x="448" y="282"/>
                  <a:pt x="448" y="282"/>
                  <a:pt x="448" y="282"/>
                </a:cubicBezTo>
                <a:cubicBezTo>
                  <a:pt x="449" y="283"/>
                  <a:pt x="449" y="283"/>
                  <a:pt x="449" y="283"/>
                </a:cubicBezTo>
                <a:cubicBezTo>
                  <a:pt x="450" y="283"/>
                  <a:pt x="450" y="283"/>
                  <a:pt x="450" y="283"/>
                </a:cubicBezTo>
                <a:cubicBezTo>
                  <a:pt x="450" y="283"/>
                  <a:pt x="450" y="283"/>
                  <a:pt x="450" y="283"/>
                </a:cubicBezTo>
                <a:cubicBezTo>
                  <a:pt x="451" y="283"/>
                  <a:pt x="451" y="283"/>
                  <a:pt x="451" y="283"/>
                </a:cubicBezTo>
                <a:cubicBezTo>
                  <a:pt x="451" y="284"/>
                  <a:pt x="451" y="284"/>
                  <a:pt x="451" y="284"/>
                </a:cubicBezTo>
                <a:cubicBezTo>
                  <a:pt x="451" y="285"/>
                  <a:pt x="451" y="285"/>
                  <a:pt x="451" y="285"/>
                </a:cubicBezTo>
                <a:cubicBezTo>
                  <a:pt x="449" y="285"/>
                  <a:pt x="449" y="285"/>
                  <a:pt x="449" y="285"/>
                </a:cubicBezTo>
                <a:cubicBezTo>
                  <a:pt x="449" y="284"/>
                  <a:pt x="449" y="284"/>
                  <a:pt x="449" y="284"/>
                </a:cubicBezTo>
                <a:cubicBezTo>
                  <a:pt x="448" y="283"/>
                  <a:pt x="448" y="283"/>
                  <a:pt x="448" y="283"/>
                </a:cubicBezTo>
                <a:cubicBezTo>
                  <a:pt x="447" y="283"/>
                  <a:pt x="447" y="283"/>
                  <a:pt x="447" y="283"/>
                </a:cubicBezTo>
                <a:cubicBezTo>
                  <a:pt x="447" y="283"/>
                  <a:pt x="447" y="283"/>
                  <a:pt x="447" y="283"/>
                </a:cubicBezTo>
                <a:cubicBezTo>
                  <a:pt x="447" y="283"/>
                  <a:pt x="447" y="283"/>
                  <a:pt x="447" y="283"/>
                </a:cubicBezTo>
                <a:cubicBezTo>
                  <a:pt x="448" y="284"/>
                  <a:pt x="448" y="284"/>
                  <a:pt x="448" y="284"/>
                </a:cubicBezTo>
                <a:cubicBezTo>
                  <a:pt x="449" y="285"/>
                  <a:pt x="449" y="285"/>
                  <a:pt x="449" y="285"/>
                </a:cubicBezTo>
                <a:cubicBezTo>
                  <a:pt x="449" y="287"/>
                  <a:pt x="449" y="287"/>
                  <a:pt x="449" y="287"/>
                </a:cubicBezTo>
                <a:cubicBezTo>
                  <a:pt x="448" y="287"/>
                  <a:pt x="448" y="287"/>
                  <a:pt x="448" y="287"/>
                </a:cubicBezTo>
                <a:cubicBezTo>
                  <a:pt x="448" y="287"/>
                  <a:pt x="448" y="287"/>
                  <a:pt x="448" y="287"/>
                </a:cubicBezTo>
                <a:cubicBezTo>
                  <a:pt x="447" y="286"/>
                  <a:pt x="447" y="286"/>
                  <a:pt x="447" y="286"/>
                </a:cubicBezTo>
                <a:cubicBezTo>
                  <a:pt x="447" y="286"/>
                  <a:pt x="447" y="286"/>
                  <a:pt x="447" y="286"/>
                </a:cubicBezTo>
                <a:cubicBezTo>
                  <a:pt x="446" y="286"/>
                  <a:pt x="446" y="286"/>
                  <a:pt x="446" y="286"/>
                </a:cubicBezTo>
                <a:cubicBezTo>
                  <a:pt x="446" y="286"/>
                  <a:pt x="446" y="286"/>
                  <a:pt x="446" y="286"/>
                </a:cubicBezTo>
                <a:cubicBezTo>
                  <a:pt x="446" y="286"/>
                  <a:pt x="446" y="286"/>
                  <a:pt x="446" y="286"/>
                </a:cubicBezTo>
                <a:cubicBezTo>
                  <a:pt x="446" y="287"/>
                  <a:pt x="446" y="287"/>
                  <a:pt x="446" y="287"/>
                </a:cubicBezTo>
                <a:cubicBezTo>
                  <a:pt x="446" y="289"/>
                  <a:pt x="446" y="289"/>
                  <a:pt x="446" y="289"/>
                </a:cubicBezTo>
                <a:cubicBezTo>
                  <a:pt x="446" y="289"/>
                  <a:pt x="446" y="289"/>
                  <a:pt x="446" y="289"/>
                </a:cubicBezTo>
                <a:cubicBezTo>
                  <a:pt x="445" y="289"/>
                  <a:pt x="445" y="289"/>
                  <a:pt x="445" y="289"/>
                </a:cubicBezTo>
                <a:cubicBezTo>
                  <a:pt x="445" y="289"/>
                  <a:pt x="445" y="289"/>
                  <a:pt x="445" y="289"/>
                </a:cubicBezTo>
                <a:cubicBezTo>
                  <a:pt x="445" y="288"/>
                  <a:pt x="445" y="288"/>
                  <a:pt x="445" y="288"/>
                </a:cubicBezTo>
                <a:cubicBezTo>
                  <a:pt x="445" y="288"/>
                  <a:pt x="445" y="288"/>
                  <a:pt x="445" y="288"/>
                </a:cubicBezTo>
                <a:cubicBezTo>
                  <a:pt x="444" y="288"/>
                  <a:pt x="444" y="288"/>
                  <a:pt x="444" y="288"/>
                </a:cubicBezTo>
                <a:cubicBezTo>
                  <a:pt x="444" y="289"/>
                  <a:pt x="444" y="289"/>
                  <a:pt x="444" y="289"/>
                </a:cubicBezTo>
                <a:cubicBezTo>
                  <a:pt x="443" y="288"/>
                  <a:pt x="443" y="288"/>
                  <a:pt x="443" y="288"/>
                </a:cubicBezTo>
                <a:cubicBezTo>
                  <a:pt x="443" y="288"/>
                  <a:pt x="443" y="288"/>
                  <a:pt x="443" y="288"/>
                </a:cubicBezTo>
                <a:cubicBezTo>
                  <a:pt x="443" y="287"/>
                  <a:pt x="443" y="287"/>
                  <a:pt x="443" y="287"/>
                </a:cubicBezTo>
                <a:cubicBezTo>
                  <a:pt x="443" y="286"/>
                  <a:pt x="443" y="286"/>
                  <a:pt x="443" y="286"/>
                </a:cubicBezTo>
                <a:cubicBezTo>
                  <a:pt x="443" y="285"/>
                  <a:pt x="443" y="285"/>
                  <a:pt x="443" y="285"/>
                </a:cubicBezTo>
                <a:cubicBezTo>
                  <a:pt x="442" y="286"/>
                  <a:pt x="442" y="286"/>
                  <a:pt x="442" y="286"/>
                </a:cubicBezTo>
                <a:cubicBezTo>
                  <a:pt x="442" y="288"/>
                  <a:pt x="442" y="288"/>
                  <a:pt x="442" y="288"/>
                </a:cubicBezTo>
                <a:cubicBezTo>
                  <a:pt x="442" y="288"/>
                  <a:pt x="442" y="288"/>
                  <a:pt x="442" y="288"/>
                </a:cubicBezTo>
                <a:cubicBezTo>
                  <a:pt x="441" y="288"/>
                  <a:pt x="441" y="288"/>
                  <a:pt x="441" y="288"/>
                </a:cubicBezTo>
                <a:cubicBezTo>
                  <a:pt x="441" y="288"/>
                  <a:pt x="441" y="288"/>
                  <a:pt x="441" y="288"/>
                </a:cubicBezTo>
                <a:cubicBezTo>
                  <a:pt x="442" y="289"/>
                  <a:pt x="442" y="289"/>
                  <a:pt x="442" y="289"/>
                </a:cubicBezTo>
                <a:cubicBezTo>
                  <a:pt x="442" y="289"/>
                  <a:pt x="442" y="289"/>
                  <a:pt x="442" y="289"/>
                </a:cubicBezTo>
                <a:cubicBezTo>
                  <a:pt x="442" y="290"/>
                  <a:pt x="442" y="290"/>
                  <a:pt x="442" y="290"/>
                </a:cubicBezTo>
                <a:cubicBezTo>
                  <a:pt x="441" y="290"/>
                  <a:pt x="441" y="290"/>
                  <a:pt x="441" y="290"/>
                </a:cubicBezTo>
                <a:cubicBezTo>
                  <a:pt x="441" y="289"/>
                  <a:pt x="441" y="289"/>
                  <a:pt x="441" y="289"/>
                </a:cubicBezTo>
                <a:cubicBezTo>
                  <a:pt x="440" y="290"/>
                  <a:pt x="440" y="290"/>
                  <a:pt x="440" y="290"/>
                </a:cubicBezTo>
                <a:cubicBezTo>
                  <a:pt x="441" y="290"/>
                  <a:pt x="441" y="290"/>
                  <a:pt x="441" y="290"/>
                </a:cubicBezTo>
                <a:cubicBezTo>
                  <a:pt x="442" y="290"/>
                  <a:pt x="442" y="290"/>
                  <a:pt x="442" y="290"/>
                </a:cubicBezTo>
                <a:cubicBezTo>
                  <a:pt x="442" y="291"/>
                  <a:pt x="442" y="291"/>
                  <a:pt x="442" y="291"/>
                </a:cubicBezTo>
                <a:cubicBezTo>
                  <a:pt x="442" y="292"/>
                  <a:pt x="442" y="292"/>
                  <a:pt x="442" y="292"/>
                </a:cubicBezTo>
                <a:cubicBezTo>
                  <a:pt x="441" y="292"/>
                  <a:pt x="441" y="292"/>
                  <a:pt x="441" y="292"/>
                </a:cubicBezTo>
                <a:cubicBezTo>
                  <a:pt x="441" y="292"/>
                  <a:pt x="441" y="292"/>
                  <a:pt x="441" y="292"/>
                </a:cubicBezTo>
                <a:cubicBezTo>
                  <a:pt x="441" y="293"/>
                  <a:pt x="441" y="293"/>
                  <a:pt x="441" y="293"/>
                </a:cubicBezTo>
                <a:cubicBezTo>
                  <a:pt x="441" y="294"/>
                  <a:pt x="441" y="294"/>
                  <a:pt x="441" y="294"/>
                </a:cubicBezTo>
                <a:cubicBezTo>
                  <a:pt x="441" y="294"/>
                  <a:pt x="441" y="294"/>
                  <a:pt x="441" y="294"/>
                </a:cubicBezTo>
                <a:cubicBezTo>
                  <a:pt x="441" y="293"/>
                  <a:pt x="441" y="293"/>
                  <a:pt x="441" y="293"/>
                </a:cubicBezTo>
                <a:cubicBezTo>
                  <a:pt x="440" y="294"/>
                  <a:pt x="440" y="294"/>
                  <a:pt x="440" y="294"/>
                </a:cubicBezTo>
                <a:cubicBezTo>
                  <a:pt x="441" y="294"/>
                  <a:pt x="441" y="294"/>
                  <a:pt x="441" y="294"/>
                </a:cubicBezTo>
                <a:cubicBezTo>
                  <a:pt x="441" y="295"/>
                  <a:pt x="441" y="295"/>
                  <a:pt x="441" y="295"/>
                </a:cubicBezTo>
                <a:cubicBezTo>
                  <a:pt x="441" y="296"/>
                  <a:pt x="441" y="296"/>
                  <a:pt x="441" y="296"/>
                </a:cubicBezTo>
                <a:cubicBezTo>
                  <a:pt x="440" y="296"/>
                  <a:pt x="440" y="296"/>
                  <a:pt x="440" y="296"/>
                </a:cubicBezTo>
                <a:cubicBezTo>
                  <a:pt x="440" y="297"/>
                  <a:pt x="440" y="297"/>
                  <a:pt x="440" y="297"/>
                </a:cubicBezTo>
                <a:cubicBezTo>
                  <a:pt x="439" y="297"/>
                  <a:pt x="439" y="297"/>
                  <a:pt x="439" y="297"/>
                </a:cubicBezTo>
                <a:cubicBezTo>
                  <a:pt x="439" y="296"/>
                  <a:pt x="439" y="296"/>
                  <a:pt x="439" y="296"/>
                </a:cubicBezTo>
                <a:cubicBezTo>
                  <a:pt x="439" y="296"/>
                  <a:pt x="439" y="296"/>
                  <a:pt x="439" y="296"/>
                </a:cubicBezTo>
                <a:cubicBezTo>
                  <a:pt x="439" y="295"/>
                  <a:pt x="439" y="295"/>
                  <a:pt x="439" y="295"/>
                </a:cubicBezTo>
                <a:cubicBezTo>
                  <a:pt x="438" y="295"/>
                  <a:pt x="438" y="295"/>
                  <a:pt x="438" y="295"/>
                </a:cubicBezTo>
                <a:cubicBezTo>
                  <a:pt x="438" y="295"/>
                  <a:pt x="438" y="295"/>
                  <a:pt x="438" y="295"/>
                </a:cubicBezTo>
                <a:cubicBezTo>
                  <a:pt x="438" y="294"/>
                  <a:pt x="438" y="294"/>
                  <a:pt x="438" y="294"/>
                </a:cubicBezTo>
                <a:cubicBezTo>
                  <a:pt x="438" y="294"/>
                  <a:pt x="438" y="294"/>
                  <a:pt x="438" y="294"/>
                </a:cubicBezTo>
                <a:cubicBezTo>
                  <a:pt x="438" y="294"/>
                  <a:pt x="438" y="294"/>
                  <a:pt x="438" y="294"/>
                </a:cubicBezTo>
                <a:cubicBezTo>
                  <a:pt x="437" y="294"/>
                  <a:pt x="437" y="294"/>
                  <a:pt x="437" y="294"/>
                </a:cubicBezTo>
                <a:cubicBezTo>
                  <a:pt x="437" y="295"/>
                  <a:pt x="437" y="295"/>
                  <a:pt x="437" y="295"/>
                </a:cubicBezTo>
                <a:cubicBezTo>
                  <a:pt x="436" y="295"/>
                  <a:pt x="436" y="295"/>
                  <a:pt x="436" y="295"/>
                </a:cubicBezTo>
                <a:cubicBezTo>
                  <a:pt x="436" y="294"/>
                  <a:pt x="436" y="294"/>
                  <a:pt x="436" y="294"/>
                </a:cubicBezTo>
                <a:cubicBezTo>
                  <a:pt x="436" y="293"/>
                  <a:pt x="436" y="293"/>
                  <a:pt x="436" y="293"/>
                </a:cubicBezTo>
                <a:cubicBezTo>
                  <a:pt x="436" y="293"/>
                  <a:pt x="436" y="293"/>
                  <a:pt x="436" y="293"/>
                </a:cubicBezTo>
                <a:cubicBezTo>
                  <a:pt x="436" y="292"/>
                  <a:pt x="436" y="292"/>
                  <a:pt x="436" y="292"/>
                </a:cubicBezTo>
                <a:cubicBezTo>
                  <a:pt x="436" y="292"/>
                  <a:pt x="436" y="292"/>
                  <a:pt x="436" y="292"/>
                </a:cubicBezTo>
                <a:cubicBezTo>
                  <a:pt x="436" y="292"/>
                  <a:pt x="436" y="292"/>
                  <a:pt x="436" y="292"/>
                </a:cubicBezTo>
                <a:cubicBezTo>
                  <a:pt x="436" y="291"/>
                  <a:pt x="436" y="291"/>
                  <a:pt x="436" y="291"/>
                </a:cubicBezTo>
                <a:cubicBezTo>
                  <a:pt x="436" y="291"/>
                  <a:pt x="436" y="291"/>
                  <a:pt x="436" y="291"/>
                </a:cubicBezTo>
                <a:cubicBezTo>
                  <a:pt x="436" y="292"/>
                  <a:pt x="436" y="292"/>
                  <a:pt x="436" y="292"/>
                </a:cubicBezTo>
                <a:cubicBezTo>
                  <a:pt x="435" y="293"/>
                  <a:pt x="435" y="293"/>
                  <a:pt x="435" y="293"/>
                </a:cubicBezTo>
                <a:cubicBezTo>
                  <a:pt x="434" y="294"/>
                  <a:pt x="434" y="294"/>
                  <a:pt x="434" y="294"/>
                </a:cubicBezTo>
                <a:cubicBezTo>
                  <a:pt x="434" y="293"/>
                  <a:pt x="434" y="293"/>
                  <a:pt x="434" y="293"/>
                </a:cubicBezTo>
                <a:cubicBezTo>
                  <a:pt x="434" y="293"/>
                  <a:pt x="434" y="293"/>
                  <a:pt x="434" y="293"/>
                </a:cubicBezTo>
                <a:cubicBezTo>
                  <a:pt x="434" y="292"/>
                  <a:pt x="434" y="292"/>
                  <a:pt x="434" y="292"/>
                </a:cubicBezTo>
                <a:cubicBezTo>
                  <a:pt x="434" y="291"/>
                  <a:pt x="434" y="291"/>
                  <a:pt x="434" y="291"/>
                </a:cubicBezTo>
                <a:cubicBezTo>
                  <a:pt x="434" y="291"/>
                  <a:pt x="434" y="291"/>
                  <a:pt x="434" y="291"/>
                </a:cubicBezTo>
                <a:cubicBezTo>
                  <a:pt x="435" y="290"/>
                  <a:pt x="435" y="290"/>
                  <a:pt x="435" y="290"/>
                </a:cubicBezTo>
                <a:cubicBezTo>
                  <a:pt x="435" y="290"/>
                  <a:pt x="435" y="290"/>
                  <a:pt x="435" y="290"/>
                </a:cubicBezTo>
                <a:cubicBezTo>
                  <a:pt x="436" y="290"/>
                  <a:pt x="436" y="290"/>
                  <a:pt x="436" y="290"/>
                </a:cubicBezTo>
                <a:cubicBezTo>
                  <a:pt x="435" y="289"/>
                  <a:pt x="435" y="289"/>
                  <a:pt x="435" y="289"/>
                </a:cubicBezTo>
                <a:cubicBezTo>
                  <a:pt x="435" y="289"/>
                  <a:pt x="435" y="289"/>
                  <a:pt x="435" y="289"/>
                </a:cubicBezTo>
                <a:cubicBezTo>
                  <a:pt x="434" y="289"/>
                  <a:pt x="434" y="289"/>
                  <a:pt x="434" y="289"/>
                </a:cubicBezTo>
                <a:cubicBezTo>
                  <a:pt x="433" y="289"/>
                  <a:pt x="433" y="289"/>
                  <a:pt x="433" y="289"/>
                </a:cubicBezTo>
                <a:cubicBezTo>
                  <a:pt x="433" y="289"/>
                  <a:pt x="433" y="289"/>
                  <a:pt x="433" y="289"/>
                </a:cubicBezTo>
                <a:cubicBezTo>
                  <a:pt x="433" y="288"/>
                  <a:pt x="433" y="288"/>
                  <a:pt x="433" y="288"/>
                </a:cubicBezTo>
                <a:cubicBezTo>
                  <a:pt x="434" y="288"/>
                  <a:pt x="434" y="288"/>
                  <a:pt x="434" y="288"/>
                </a:cubicBezTo>
                <a:cubicBezTo>
                  <a:pt x="435" y="287"/>
                  <a:pt x="435" y="287"/>
                  <a:pt x="435" y="287"/>
                </a:cubicBezTo>
                <a:cubicBezTo>
                  <a:pt x="434" y="287"/>
                  <a:pt x="434" y="287"/>
                  <a:pt x="434" y="287"/>
                </a:cubicBezTo>
                <a:cubicBezTo>
                  <a:pt x="434" y="287"/>
                  <a:pt x="434" y="287"/>
                  <a:pt x="434" y="287"/>
                </a:cubicBezTo>
                <a:cubicBezTo>
                  <a:pt x="433" y="287"/>
                  <a:pt x="433" y="287"/>
                  <a:pt x="433" y="287"/>
                </a:cubicBezTo>
                <a:cubicBezTo>
                  <a:pt x="433" y="287"/>
                  <a:pt x="433" y="287"/>
                  <a:pt x="433" y="287"/>
                </a:cubicBezTo>
                <a:cubicBezTo>
                  <a:pt x="434" y="286"/>
                  <a:pt x="434" y="286"/>
                  <a:pt x="434" y="286"/>
                </a:cubicBezTo>
                <a:cubicBezTo>
                  <a:pt x="434" y="286"/>
                  <a:pt x="434" y="286"/>
                  <a:pt x="434" y="286"/>
                </a:cubicBezTo>
                <a:cubicBezTo>
                  <a:pt x="435" y="286"/>
                  <a:pt x="435" y="286"/>
                  <a:pt x="435" y="286"/>
                </a:cubicBezTo>
                <a:cubicBezTo>
                  <a:pt x="434" y="285"/>
                  <a:pt x="434" y="285"/>
                  <a:pt x="434" y="285"/>
                </a:cubicBezTo>
                <a:cubicBezTo>
                  <a:pt x="434" y="285"/>
                  <a:pt x="434" y="285"/>
                  <a:pt x="434" y="285"/>
                </a:cubicBezTo>
                <a:cubicBezTo>
                  <a:pt x="433" y="286"/>
                  <a:pt x="433" y="286"/>
                  <a:pt x="433" y="286"/>
                </a:cubicBezTo>
                <a:cubicBezTo>
                  <a:pt x="433" y="286"/>
                  <a:pt x="433" y="286"/>
                  <a:pt x="433" y="286"/>
                </a:cubicBezTo>
                <a:cubicBezTo>
                  <a:pt x="433" y="285"/>
                  <a:pt x="433" y="285"/>
                  <a:pt x="433" y="285"/>
                </a:cubicBezTo>
                <a:cubicBezTo>
                  <a:pt x="434" y="284"/>
                  <a:pt x="434" y="284"/>
                  <a:pt x="434" y="284"/>
                </a:cubicBezTo>
                <a:cubicBezTo>
                  <a:pt x="434" y="283"/>
                  <a:pt x="434" y="283"/>
                  <a:pt x="434" y="283"/>
                </a:cubicBezTo>
                <a:cubicBezTo>
                  <a:pt x="435" y="283"/>
                  <a:pt x="435" y="283"/>
                  <a:pt x="435" y="283"/>
                </a:cubicBezTo>
                <a:cubicBezTo>
                  <a:pt x="436" y="282"/>
                  <a:pt x="436" y="282"/>
                  <a:pt x="436" y="282"/>
                </a:cubicBezTo>
                <a:cubicBezTo>
                  <a:pt x="437" y="282"/>
                  <a:pt x="437" y="282"/>
                  <a:pt x="437" y="282"/>
                </a:cubicBezTo>
                <a:cubicBezTo>
                  <a:pt x="438" y="281"/>
                  <a:pt x="438" y="281"/>
                  <a:pt x="438" y="281"/>
                </a:cubicBezTo>
                <a:cubicBezTo>
                  <a:pt x="439" y="280"/>
                  <a:pt x="439" y="280"/>
                  <a:pt x="439" y="280"/>
                </a:cubicBezTo>
                <a:cubicBezTo>
                  <a:pt x="439" y="280"/>
                  <a:pt x="439" y="280"/>
                  <a:pt x="439" y="280"/>
                </a:cubicBezTo>
                <a:cubicBezTo>
                  <a:pt x="439" y="279"/>
                  <a:pt x="439" y="279"/>
                  <a:pt x="439" y="279"/>
                </a:cubicBezTo>
                <a:cubicBezTo>
                  <a:pt x="438" y="279"/>
                  <a:pt x="438" y="279"/>
                  <a:pt x="438" y="279"/>
                </a:cubicBezTo>
                <a:cubicBezTo>
                  <a:pt x="437" y="280"/>
                  <a:pt x="437" y="280"/>
                  <a:pt x="437" y="280"/>
                </a:cubicBezTo>
                <a:cubicBezTo>
                  <a:pt x="437" y="280"/>
                  <a:pt x="437" y="280"/>
                  <a:pt x="437" y="280"/>
                </a:cubicBezTo>
                <a:cubicBezTo>
                  <a:pt x="436" y="281"/>
                  <a:pt x="436" y="281"/>
                  <a:pt x="436" y="281"/>
                </a:cubicBezTo>
                <a:cubicBezTo>
                  <a:pt x="435" y="282"/>
                  <a:pt x="435" y="282"/>
                  <a:pt x="435" y="282"/>
                </a:cubicBezTo>
                <a:cubicBezTo>
                  <a:pt x="434" y="282"/>
                  <a:pt x="434" y="282"/>
                  <a:pt x="434" y="282"/>
                </a:cubicBezTo>
                <a:cubicBezTo>
                  <a:pt x="432" y="283"/>
                  <a:pt x="432" y="283"/>
                  <a:pt x="432" y="283"/>
                </a:cubicBezTo>
                <a:cubicBezTo>
                  <a:pt x="431" y="283"/>
                  <a:pt x="431" y="283"/>
                  <a:pt x="431" y="283"/>
                </a:cubicBezTo>
                <a:cubicBezTo>
                  <a:pt x="430" y="283"/>
                  <a:pt x="430" y="283"/>
                  <a:pt x="430" y="283"/>
                </a:cubicBezTo>
                <a:cubicBezTo>
                  <a:pt x="430" y="283"/>
                  <a:pt x="430" y="283"/>
                  <a:pt x="430" y="283"/>
                </a:cubicBezTo>
                <a:cubicBezTo>
                  <a:pt x="432" y="281"/>
                  <a:pt x="432" y="281"/>
                  <a:pt x="432" y="281"/>
                </a:cubicBezTo>
                <a:cubicBezTo>
                  <a:pt x="433" y="280"/>
                  <a:pt x="433" y="280"/>
                  <a:pt x="433" y="280"/>
                </a:cubicBezTo>
                <a:cubicBezTo>
                  <a:pt x="434" y="280"/>
                  <a:pt x="434" y="280"/>
                  <a:pt x="434" y="280"/>
                </a:cubicBezTo>
                <a:cubicBezTo>
                  <a:pt x="434" y="279"/>
                  <a:pt x="434" y="279"/>
                  <a:pt x="434" y="279"/>
                </a:cubicBezTo>
                <a:cubicBezTo>
                  <a:pt x="434" y="278"/>
                  <a:pt x="434" y="278"/>
                  <a:pt x="434" y="278"/>
                </a:cubicBezTo>
                <a:cubicBezTo>
                  <a:pt x="433" y="279"/>
                  <a:pt x="433" y="279"/>
                  <a:pt x="433" y="279"/>
                </a:cubicBezTo>
                <a:cubicBezTo>
                  <a:pt x="431" y="281"/>
                  <a:pt x="431" y="281"/>
                  <a:pt x="431" y="281"/>
                </a:cubicBezTo>
                <a:cubicBezTo>
                  <a:pt x="430" y="281"/>
                  <a:pt x="430" y="281"/>
                  <a:pt x="430" y="281"/>
                </a:cubicBezTo>
                <a:cubicBezTo>
                  <a:pt x="429" y="281"/>
                  <a:pt x="429" y="281"/>
                  <a:pt x="429" y="281"/>
                </a:cubicBezTo>
                <a:cubicBezTo>
                  <a:pt x="429" y="281"/>
                  <a:pt x="429" y="281"/>
                  <a:pt x="429" y="281"/>
                </a:cubicBezTo>
                <a:cubicBezTo>
                  <a:pt x="429" y="280"/>
                  <a:pt x="429" y="280"/>
                  <a:pt x="429" y="280"/>
                </a:cubicBezTo>
                <a:cubicBezTo>
                  <a:pt x="429" y="279"/>
                  <a:pt x="429" y="279"/>
                  <a:pt x="429" y="279"/>
                </a:cubicBezTo>
                <a:cubicBezTo>
                  <a:pt x="428" y="280"/>
                  <a:pt x="428" y="280"/>
                  <a:pt x="428" y="280"/>
                </a:cubicBezTo>
                <a:cubicBezTo>
                  <a:pt x="428" y="279"/>
                  <a:pt x="428" y="279"/>
                  <a:pt x="428" y="279"/>
                </a:cubicBezTo>
                <a:cubicBezTo>
                  <a:pt x="428" y="279"/>
                  <a:pt x="428" y="279"/>
                  <a:pt x="428" y="279"/>
                </a:cubicBezTo>
                <a:cubicBezTo>
                  <a:pt x="429" y="279"/>
                  <a:pt x="429" y="279"/>
                  <a:pt x="429" y="279"/>
                </a:cubicBezTo>
                <a:cubicBezTo>
                  <a:pt x="429" y="278"/>
                  <a:pt x="429" y="278"/>
                  <a:pt x="429" y="278"/>
                </a:cubicBezTo>
                <a:cubicBezTo>
                  <a:pt x="428" y="278"/>
                  <a:pt x="428" y="278"/>
                  <a:pt x="428" y="278"/>
                </a:cubicBezTo>
                <a:cubicBezTo>
                  <a:pt x="428" y="278"/>
                  <a:pt x="428" y="278"/>
                  <a:pt x="428" y="278"/>
                </a:cubicBezTo>
                <a:cubicBezTo>
                  <a:pt x="427" y="277"/>
                  <a:pt x="427" y="277"/>
                  <a:pt x="427" y="277"/>
                </a:cubicBezTo>
                <a:cubicBezTo>
                  <a:pt x="428" y="276"/>
                  <a:pt x="428" y="276"/>
                  <a:pt x="428" y="276"/>
                </a:cubicBezTo>
                <a:cubicBezTo>
                  <a:pt x="428" y="276"/>
                  <a:pt x="428" y="276"/>
                  <a:pt x="428" y="276"/>
                </a:cubicBezTo>
                <a:cubicBezTo>
                  <a:pt x="428" y="275"/>
                  <a:pt x="428" y="275"/>
                  <a:pt x="428" y="275"/>
                </a:cubicBezTo>
                <a:cubicBezTo>
                  <a:pt x="427" y="275"/>
                  <a:pt x="427" y="275"/>
                  <a:pt x="427" y="275"/>
                </a:cubicBezTo>
                <a:cubicBezTo>
                  <a:pt x="427" y="274"/>
                  <a:pt x="427" y="274"/>
                  <a:pt x="427" y="274"/>
                </a:cubicBezTo>
                <a:cubicBezTo>
                  <a:pt x="427" y="274"/>
                  <a:pt x="427" y="274"/>
                  <a:pt x="427" y="274"/>
                </a:cubicBezTo>
                <a:cubicBezTo>
                  <a:pt x="427" y="275"/>
                  <a:pt x="427" y="275"/>
                  <a:pt x="427" y="275"/>
                </a:cubicBezTo>
                <a:cubicBezTo>
                  <a:pt x="427" y="276"/>
                  <a:pt x="427" y="276"/>
                  <a:pt x="427" y="276"/>
                </a:cubicBezTo>
                <a:cubicBezTo>
                  <a:pt x="426" y="276"/>
                  <a:pt x="426" y="276"/>
                  <a:pt x="426" y="276"/>
                </a:cubicBezTo>
                <a:cubicBezTo>
                  <a:pt x="425" y="276"/>
                  <a:pt x="425" y="276"/>
                  <a:pt x="425" y="276"/>
                </a:cubicBezTo>
                <a:cubicBezTo>
                  <a:pt x="425" y="275"/>
                  <a:pt x="425" y="275"/>
                  <a:pt x="425" y="275"/>
                </a:cubicBezTo>
                <a:cubicBezTo>
                  <a:pt x="424" y="275"/>
                  <a:pt x="424" y="275"/>
                  <a:pt x="424" y="275"/>
                </a:cubicBezTo>
                <a:cubicBezTo>
                  <a:pt x="425" y="276"/>
                  <a:pt x="425" y="276"/>
                  <a:pt x="425" y="276"/>
                </a:cubicBezTo>
                <a:cubicBezTo>
                  <a:pt x="426" y="277"/>
                  <a:pt x="426" y="277"/>
                  <a:pt x="426" y="277"/>
                </a:cubicBezTo>
                <a:cubicBezTo>
                  <a:pt x="426" y="278"/>
                  <a:pt x="426" y="278"/>
                  <a:pt x="426" y="278"/>
                </a:cubicBezTo>
                <a:cubicBezTo>
                  <a:pt x="425" y="278"/>
                  <a:pt x="425" y="278"/>
                  <a:pt x="425" y="278"/>
                </a:cubicBezTo>
                <a:cubicBezTo>
                  <a:pt x="425" y="278"/>
                  <a:pt x="425" y="278"/>
                  <a:pt x="425" y="278"/>
                </a:cubicBezTo>
                <a:cubicBezTo>
                  <a:pt x="425" y="278"/>
                  <a:pt x="425" y="278"/>
                  <a:pt x="425" y="278"/>
                </a:cubicBezTo>
                <a:cubicBezTo>
                  <a:pt x="424" y="279"/>
                  <a:pt x="424" y="279"/>
                  <a:pt x="424" y="279"/>
                </a:cubicBezTo>
                <a:cubicBezTo>
                  <a:pt x="423" y="278"/>
                  <a:pt x="423" y="278"/>
                  <a:pt x="423" y="278"/>
                </a:cubicBezTo>
                <a:cubicBezTo>
                  <a:pt x="423" y="277"/>
                  <a:pt x="423" y="277"/>
                  <a:pt x="423" y="277"/>
                </a:cubicBezTo>
                <a:cubicBezTo>
                  <a:pt x="423" y="276"/>
                  <a:pt x="423" y="276"/>
                  <a:pt x="423" y="276"/>
                </a:cubicBezTo>
                <a:cubicBezTo>
                  <a:pt x="422" y="277"/>
                  <a:pt x="422" y="277"/>
                  <a:pt x="422" y="277"/>
                </a:cubicBezTo>
                <a:cubicBezTo>
                  <a:pt x="423" y="277"/>
                  <a:pt x="423" y="277"/>
                  <a:pt x="423" y="277"/>
                </a:cubicBezTo>
                <a:cubicBezTo>
                  <a:pt x="423" y="278"/>
                  <a:pt x="423" y="278"/>
                  <a:pt x="423" y="278"/>
                </a:cubicBezTo>
                <a:cubicBezTo>
                  <a:pt x="423" y="279"/>
                  <a:pt x="423" y="279"/>
                  <a:pt x="423" y="279"/>
                </a:cubicBezTo>
                <a:cubicBezTo>
                  <a:pt x="423" y="279"/>
                  <a:pt x="423" y="279"/>
                  <a:pt x="423" y="279"/>
                </a:cubicBezTo>
                <a:cubicBezTo>
                  <a:pt x="424" y="280"/>
                  <a:pt x="424" y="280"/>
                  <a:pt x="424" y="280"/>
                </a:cubicBezTo>
                <a:cubicBezTo>
                  <a:pt x="425" y="281"/>
                  <a:pt x="425" y="281"/>
                  <a:pt x="425" y="281"/>
                </a:cubicBezTo>
                <a:cubicBezTo>
                  <a:pt x="424" y="282"/>
                  <a:pt x="424" y="282"/>
                  <a:pt x="424" y="282"/>
                </a:cubicBezTo>
                <a:cubicBezTo>
                  <a:pt x="425" y="282"/>
                  <a:pt x="425" y="282"/>
                  <a:pt x="425" y="282"/>
                </a:cubicBezTo>
                <a:cubicBezTo>
                  <a:pt x="425" y="283"/>
                  <a:pt x="425" y="283"/>
                  <a:pt x="425" y="283"/>
                </a:cubicBezTo>
                <a:cubicBezTo>
                  <a:pt x="424" y="283"/>
                  <a:pt x="424" y="283"/>
                  <a:pt x="424" y="283"/>
                </a:cubicBezTo>
                <a:cubicBezTo>
                  <a:pt x="423" y="283"/>
                  <a:pt x="423" y="283"/>
                  <a:pt x="423" y="283"/>
                </a:cubicBezTo>
                <a:cubicBezTo>
                  <a:pt x="422" y="282"/>
                  <a:pt x="422" y="282"/>
                  <a:pt x="422" y="282"/>
                </a:cubicBezTo>
                <a:cubicBezTo>
                  <a:pt x="422" y="283"/>
                  <a:pt x="422" y="283"/>
                  <a:pt x="422" y="283"/>
                </a:cubicBezTo>
                <a:cubicBezTo>
                  <a:pt x="422" y="283"/>
                  <a:pt x="422" y="283"/>
                  <a:pt x="422" y="283"/>
                </a:cubicBezTo>
                <a:cubicBezTo>
                  <a:pt x="420" y="282"/>
                  <a:pt x="420" y="282"/>
                  <a:pt x="420" y="282"/>
                </a:cubicBezTo>
                <a:cubicBezTo>
                  <a:pt x="420" y="281"/>
                  <a:pt x="420" y="281"/>
                  <a:pt x="420" y="281"/>
                </a:cubicBezTo>
                <a:cubicBezTo>
                  <a:pt x="421" y="280"/>
                  <a:pt x="421" y="280"/>
                  <a:pt x="421" y="280"/>
                </a:cubicBezTo>
                <a:cubicBezTo>
                  <a:pt x="420" y="279"/>
                  <a:pt x="420" y="279"/>
                  <a:pt x="420" y="279"/>
                </a:cubicBezTo>
                <a:cubicBezTo>
                  <a:pt x="419" y="279"/>
                  <a:pt x="419" y="279"/>
                  <a:pt x="419" y="279"/>
                </a:cubicBezTo>
                <a:cubicBezTo>
                  <a:pt x="418" y="279"/>
                  <a:pt x="418" y="279"/>
                  <a:pt x="418" y="279"/>
                </a:cubicBezTo>
                <a:cubicBezTo>
                  <a:pt x="418" y="278"/>
                  <a:pt x="418" y="278"/>
                  <a:pt x="418" y="278"/>
                </a:cubicBezTo>
                <a:cubicBezTo>
                  <a:pt x="418" y="277"/>
                  <a:pt x="418" y="277"/>
                  <a:pt x="418" y="277"/>
                </a:cubicBezTo>
                <a:cubicBezTo>
                  <a:pt x="417" y="278"/>
                  <a:pt x="417" y="278"/>
                  <a:pt x="417" y="278"/>
                </a:cubicBezTo>
                <a:cubicBezTo>
                  <a:pt x="416" y="278"/>
                  <a:pt x="416" y="278"/>
                  <a:pt x="416" y="278"/>
                </a:cubicBezTo>
                <a:cubicBezTo>
                  <a:pt x="415" y="278"/>
                  <a:pt x="415" y="278"/>
                  <a:pt x="415" y="278"/>
                </a:cubicBezTo>
                <a:cubicBezTo>
                  <a:pt x="415" y="279"/>
                  <a:pt x="415" y="279"/>
                  <a:pt x="415" y="279"/>
                </a:cubicBezTo>
                <a:cubicBezTo>
                  <a:pt x="417" y="279"/>
                  <a:pt x="417" y="279"/>
                  <a:pt x="417" y="279"/>
                </a:cubicBezTo>
                <a:cubicBezTo>
                  <a:pt x="418" y="279"/>
                  <a:pt x="418" y="279"/>
                  <a:pt x="418" y="279"/>
                </a:cubicBezTo>
                <a:cubicBezTo>
                  <a:pt x="419" y="280"/>
                  <a:pt x="419" y="280"/>
                  <a:pt x="419" y="280"/>
                </a:cubicBezTo>
                <a:cubicBezTo>
                  <a:pt x="419" y="281"/>
                  <a:pt x="419" y="281"/>
                  <a:pt x="419" y="281"/>
                </a:cubicBezTo>
                <a:cubicBezTo>
                  <a:pt x="418" y="282"/>
                  <a:pt x="418" y="282"/>
                  <a:pt x="418" y="282"/>
                </a:cubicBezTo>
                <a:cubicBezTo>
                  <a:pt x="418" y="282"/>
                  <a:pt x="418" y="282"/>
                  <a:pt x="418" y="282"/>
                </a:cubicBezTo>
                <a:cubicBezTo>
                  <a:pt x="419" y="282"/>
                  <a:pt x="419" y="282"/>
                  <a:pt x="419" y="282"/>
                </a:cubicBezTo>
                <a:cubicBezTo>
                  <a:pt x="419" y="283"/>
                  <a:pt x="419" y="283"/>
                  <a:pt x="419" y="283"/>
                </a:cubicBezTo>
                <a:cubicBezTo>
                  <a:pt x="419" y="283"/>
                  <a:pt x="419" y="283"/>
                  <a:pt x="419" y="283"/>
                </a:cubicBezTo>
                <a:cubicBezTo>
                  <a:pt x="419" y="284"/>
                  <a:pt x="419" y="284"/>
                  <a:pt x="419" y="284"/>
                </a:cubicBezTo>
                <a:cubicBezTo>
                  <a:pt x="421" y="284"/>
                  <a:pt x="421" y="284"/>
                  <a:pt x="421" y="284"/>
                </a:cubicBezTo>
                <a:cubicBezTo>
                  <a:pt x="421" y="284"/>
                  <a:pt x="421" y="284"/>
                  <a:pt x="421" y="284"/>
                </a:cubicBezTo>
                <a:cubicBezTo>
                  <a:pt x="420" y="285"/>
                  <a:pt x="420" y="285"/>
                  <a:pt x="420" y="285"/>
                </a:cubicBezTo>
                <a:cubicBezTo>
                  <a:pt x="418" y="287"/>
                  <a:pt x="418" y="287"/>
                  <a:pt x="418" y="287"/>
                </a:cubicBezTo>
                <a:cubicBezTo>
                  <a:pt x="417" y="288"/>
                  <a:pt x="417" y="288"/>
                  <a:pt x="417" y="288"/>
                </a:cubicBezTo>
                <a:cubicBezTo>
                  <a:pt x="419" y="287"/>
                  <a:pt x="419" y="287"/>
                  <a:pt x="419" y="287"/>
                </a:cubicBezTo>
                <a:cubicBezTo>
                  <a:pt x="420" y="286"/>
                  <a:pt x="420" y="286"/>
                  <a:pt x="420" y="286"/>
                </a:cubicBezTo>
                <a:cubicBezTo>
                  <a:pt x="420" y="286"/>
                  <a:pt x="420" y="286"/>
                  <a:pt x="420" y="286"/>
                </a:cubicBezTo>
                <a:cubicBezTo>
                  <a:pt x="422" y="286"/>
                  <a:pt x="422" y="286"/>
                  <a:pt x="422" y="286"/>
                </a:cubicBezTo>
                <a:cubicBezTo>
                  <a:pt x="423" y="286"/>
                  <a:pt x="423" y="286"/>
                  <a:pt x="423" y="286"/>
                </a:cubicBezTo>
                <a:cubicBezTo>
                  <a:pt x="423" y="287"/>
                  <a:pt x="423" y="287"/>
                  <a:pt x="423" y="287"/>
                </a:cubicBezTo>
                <a:cubicBezTo>
                  <a:pt x="422" y="287"/>
                  <a:pt x="422" y="287"/>
                  <a:pt x="422" y="287"/>
                </a:cubicBezTo>
                <a:cubicBezTo>
                  <a:pt x="421" y="288"/>
                  <a:pt x="421" y="288"/>
                  <a:pt x="421" y="288"/>
                </a:cubicBezTo>
                <a:cubicBezTo>
                  <a:pt x="421" y="288"/>
                  <a:pt x="421" y="288"/>
                  <a:pt x="421" y="288"/>
                </a:cubicBezTo>
                <a:cubicBezTo>
                  <a:pt x="422" y="289"/>
                  <a:pt x="422" y="289"/>
                  <a:pt x="422" y="289"/>
                </a:cubicBezTo>
                <a:cubicBezTo>
                  <a:pt x="423" y="289"/>
                  <a:pt x="423" y="289"/>
                  <a:pt x="423" y="289"/>
                </a:cubicBezTo>
                <a:cubicBezTo>
                  <a:pt x="423" y="290"/>
                  <a:pt x="423" y="290"/>
                  <a:pt x="423" y="290"/>
                </a:cubicBezTo>
                <a:cubicBezTo>
                  <a:pt x="421" y="290"/>
                  <a:pt x="421" y="290"/>
                  <a:pt x="421" y="290"/>
                </a:cubicBezTo>
                <a:cubicBezTo>
                  <a:pt x="421" y="290"/>
                  <a:pt x="421" y="290"/>
                  <a:pt x="421" y="290"/>
                </a:cubicBezTo>
                <a:cubicBezTo>
                  <a:pt x="422" y="291"/>
                  <a:pt x="422" y="291"/>
                  <a:pt x="422" y="291"/>
                </a:cubicBezTo>
                <a:cubicBezTo>
                  <a:pt x="422" y="291"/>
                  <a:pt x="422" y="291"/>
                  <a:pt x="422" y="291"/>
                </a:cubicBezTo>
                <a:cubicBezTo>
                  <a:pt x="422" y="291"/>
                  <a:pt x="422" y="291"/>
                  <a:pt x="422" y="291"/>
                </a:cubicBezTo>
                <a:cubicBezTo>
                  <a:pt x="422" y="292"/>
                  <a:pt x="422" y="292"/>
                  <a:pt x="422" y="292"/>
                </a:cubicBezTo>
                <a:cubicBezTo>
                  <a:pt x="422" y="292"/>
                  <a:pt x="422" y="292"/>
                  <a:pt x="422" y="292"/>
                </a:cubicBezTo>
                <a:cubicBezTo>
                  <a:pt x="422" y="293"/>
                  <a:pt x="422" y="293"/>
                  <a:pt x="422" y="293"/>
                </a:cubicBezTo>
                <a:cubicBezTo>
                  <a:pt x="423" y="293"/>
                  <a:pt x="423" y="293"/>
                  <a:pt x="423" y="293"/>
                </a:cubicBezTo>
                <a:cubicBezTo>
                  <a:pt x="423" y="294"/>
                  <a:pt x="423" y="294"/>
                  <a:pt x="423" y="294"/>
                </a:cubicBezTo>
                <a:cubicBezTo>
                  <a:pt x="423" y="295"/>
                  <a:pt x="423" y="295"/>
                  <a:pt x="423" y="295"/>
                </a:cubicBezTo>
                <a:cubicBezTo>
                  <a:pt x="423" y="295"/>
                  <a:pt x="423" y="295"/>
                  <a:pt x="423" y="295"/>
                </a:cubicBezTo>
                <a:cubicBezTo>
                  <a:pt x="424" y="295"/>
                  <a:pt x="424" y="295"/>
                  <a:pt x="424" y="295"/>
                </a:cubicBezTo>
                <a:cubicBezTo>
                  <a:pt x="424" y="294"/>
                  <a:pt x="424" y="294"/>
                  <a:pt x="424" y="294"/>
                </a:cubicBezTo>
                <a:cubicBezTo>
                  <a:pt x="424" y="293"/>
                  <a:pt x="424" y="293"/>
                  <a:pt x="424" y="293"/>
                </a:cubicBezTo>
                <a:cubicBezTo>
                  <a:pt x="425" y="294"/>
                  <a:pt x="425" y="294"/>
                  <a:pt x="425" y="294"/>
                </a:cubicBezTo>
                <a:cubicBezTo>
                  <a:pt x="425" y="295"/>
                  <a:pt x="425" y="295"/>
                  <a:pt x="425" y="295"/>
                </a:cubicBezTo>
                <a:cubicBezTo>
                  <a:pt x="426" y="296"/>
                  <a:pt x="426" y="296"/>
                  <a:pt x="426" y="296"/>
                </a:cubicBezTo>
                <a:cubicBezTo>
                  <a:pt x="425" y="296"/>
                  <a:pt x="425" y="296"/>
                  <a:pt x="425" y="296"/>
                </a:cubicBezTo>
                <a:cubicBezTo>
                  <a:pt x="425" y="297"/>
                  <a:pt x="425" y="297"/>
                  <a:pt x="425" y="297"/>
                </a:cubicBezTo>
                <a:cubicBezTo>
                  <a:pt x="425" y="297"/>
                  <a:pt x="425" y="297"/>
                  <a:pt x="425" y="297"/>
                </a:cubicBezTo>
                <a:cubicBezTo>
                  <a:pt x="426" y="297"/>
                  <a:pt x="426" y="297"/>
                  <a:pt x="426" y="297"/>
                </a:cubicBezTo>
                <a:cubicBezTo>
                  <a:pt x="427" y="297"/>
                  <a:pt x="427" y="297"/>
                  <a:pt x="427" y="297"/>
                </a:cubicBezTo>
                <a:cubicBezTo>
                  <a:pt x="427" y="298"/>
                  <a:pt x="427" y="298"/>
                  <a:pt x="427" y="298"/>
                </a:cubicBezTo>
                <a:cubicBezTo>
                  <a:pt x="427" y="297"/>
                  <a:pt x="427" y="297"/>
                  <a:pt x="427" y="297"/>
                </a:cubicBezTo>
                <a:cubicBezTo>
                  <a:pt x="427" y="296"/>
                  <a:pt x="427" y="296"/>
                  <a:pt x="427" y="296"/>
                </a:cubicBezTo>
                <a:cubicBezTo>
                  <a:pt x="428" y="296"/>
                  <a:pt x="428" y="296"/>
                  <a:pt x="428" y="296"/>
                </a:cubicBezTo>
                <a:cubicBezTo>
                  <a:pt x="428" y="297"/>
                  <a:pt x="428" y="297"/>
                  <a:pt x="428" y="297"/>
                </a:cubicBezTo>
                <a:cubicBezTo>
                  <a:pt x="428" y="298"/>
                  <a:pt x="428" y="298"/>
                  <a:pt x="428" y="298"/>
                </a:cubicBezTo>
                <a:cubicBezTo>
                  <a:pt x="427" y="299"/>
                  <a:pt x="427" y="299"/>
                  <a:pt x="427" y="299"/>
                </a:cubicBezTo>
                <a:cubicBezTo>
                  <a:pt x="427" y="300"/>
                  <a:pt x="427" y="300"/>
                  <a:pt x="427" y="300"/>
                </a:cubicBezTo>
                <a:cubicBezTo>
                  <a:pt x="427" y="300"/>
                  <a:pt x="427" y="300"/>
                  <a:pt x="427" y="300"/>
                </a:cubicBezTo>
                <a:cubicBezTo>
                  <a:pt x="428" y="301"/>
                  <a:pt x="428" y="301"/>
                  <a:pt x="428" y="301"/>
                </a:cubicBezTo>
                <a:cubicBezTo>
                  <a:pt x="429" y="300"/>
                  <a:pt x="429" y="300"/>
                  <a:pt x="429" y="300"/>
                </a:cubicBezTo>
                <a:cubicBezTo>
                  <a:pt x="430" y="300"/>
                  <a:pt x="430" y="300"/>
                  <a:pt x="430" y="300"/>
                </a:cubicBezTo>
                <a:cubicBezTo>
                  <a:pt x="430" y="300"/>
                  <a:pt x="430" y="300"/>
                  <a:pt x="430" y="300"/>
                </a:cubicBezTo>
                <a:cubicBezTo>
                  <a:pt x="429" y="301"/>
                  <a:pt x="429" y="301"/>
                  <a:pt x="429" y="301"/>
                </a:cubicBezTo>
                <a:cubicBezTo>
                  <a:pt x="429" y="302"/>
                  <a:pt x="429" y="302"/>
                  <a:pt x="429" y="302"/>
                </a:cubicBezTo>
                <a:cubicBezTo>
                  <a:pt x="428" y="302"/>
                  <a:pt x="428" y="302"/>
                  <a:pt x="428" y="302"/>
                </a:cubicBezTo>
                <a:cubicBezTo>
                  <a:pt x="428" y="303"/>
                  <a:pt x="428" y="303"/>
                  <a:pt x="428" y="303"/>
                </a:cubicBezTo>
                <a:cubicBezTo>
                  <a:pt x="429" y="304"/>
                  <a:pt x="429" y="304"/>
                  <a:pt x="429" y="304"/>
                </a:cubicBezTo>
                <a:cubicBezTo>
                  <a:pt x="429" y="305"/>
                  <a:pt x="429" y="305"/>
                  <a:pt x="429" y="305"/>
                </a:cubicBezTo>
                <a:cubicBezTo>
                  <a:pt x="430" y="305"/>
                  <a:pt x="430" y="305"/>
                  <a:pt x="430" y="305"/>
                </a:cubicBezTo>
                <a:cubicBezTo>
                  <a:pt x="430" y="307"/>
                  <a:pt x="430" y="307"/>
                  <a:pt x="430" y="307"/>
                </a:cubicBezTo>
                <a:cubicBezTo>
                  <a:pt x="431" y="309"/>
                  <a:pt x="431" y="309"/>
                  <a:pt x="431" y="309"/>
                </a:cubicBezTo>
                <a:cubicBezTo>
                  <a:pt x="432" y="309"/>
                  <a:pt x="432" y="309"/>
                  <a:pt x="432" y="309"/>
                </a:cubicBezTo>
                <a:cubicBezTo>
                  <a:pt x="431" y="310"/>
                  <a:pt x="431" y="310"/>
                  <a:pt x="431" y="310"/>
                </a:cubicBezTo>
                <a:cubicBezTo>
                  <a:pt x="431" y="311"/>
                  <a:pt x="431" y="311"/>
                  <a:pt x="431" y="311"/>
                </a:cubicBezTo>
                <a:cubicBezTo>
                  <a:pt x="430" y="313"/>
                  <a:pt x="430" y="313"/>
                  <a:pt x="430" y="313"/>
                </a:cubicBezTo>
                <a:cubicBezTo>
                  <a:pt x="430" y="314"/>
                  <a:pt x="430" y="314"/>
                  <a:pt x="430" y="314"/>
                </a:cubicBezTo>
                <a:cubicBezTo>
                  <a:pt x="430" y="314"/>
                  <a:pt x="430" y="314"/>
                  <a:pt x="430" y="314"/>
                </a:cubicBezTo>
                <a:cubicBezTo>
                  <a:pt x="428" y="312"/>
                  <a:pt x="428" y="312"/>
                  <a:pt x="428" y="312"/>
                </a:cubicBezTo>
                <a:cubicBezTo>
                  <a:pt x="428" y="311"/>
                  <a:pt x="428" y="311"/>
                  <a:pt x="428" y="311"/>
                </a:cubicBezTo>
                <a:cubicBezTo>
                  <a:pt x="428" y="310"/>
                  <a:pt x="428" y="310"/>
                  <a:pt x="428" y="310"/>
                </a:cubicBezTo>
                <a:cubicBezTo>
                  <a:pt x="428" y="308"/>
                  <a:pt x="428" y="308"/>
                  <a:pt x="428" y="308"/>
                </a:cubicBezTo>
                <a:cubicBezTo>
                  <a:pt x="428" y="310"/>
                  <a:pt x="428" y="310"/>
                  <a:pt x="428" y="310"/>
                </a:cubicBezTo>
                <a:cubicBezTo>
                  <a:pt x="427" y="311"/>
                  <a:pt x="427" y="311"/>
                  <a:pt x="427" y="311"/>
                </a:cubicBezTo>
                <a:cubicBezTo>
                  <a:pt x="428" y="313"/>
                  <a:pt x="428" y="313"/>
                  <a:pt x="428" y="313"/>
                </a:cubicBezTo>
                <a:cubicBezTo>
                  <a:pt x="428" y="315"/>
                  <a:pt x="428" y="315"/>
                  <a:pt x="428" y="315"/>
                </a:cubicBezTo>
                <a:cubicBezTo>
                  <a:pt x="428" y="316"/>
                  <a:pt x="428" y="316"/>
                  <a:pt x="428" y="316"/>
                </a:cubicBezTo>
                <a:cubicBezTo>
                  <a:pt x="428" y="318"/>
                  <a:pt x="428" y="318"/>
                  <a:pt x="428" y="318"/>
                </a:cubicBezTo>
                <a:cubicBezTo>
                  <a:pt x="428" y="318"/>
                  <a:pt x="428" y="318"/>
                  <a:pt x="428" y="318"/>
                </a:cubicBezTo>
                <a:cubicBezTo>
                  <a:pt x="427" y="318"/>
                  <a:pt x="427" y="318"/>
                  <a:pt x="427" y="318"/>
                </a:cubicBezTo>
                <a:cubicBezTo>
                  <a:pt x="426" y="317"/>
                  <a:pt x="426" y="317"/>
                  <a:pt x="426" y="317"/>
                </a:cubicBezTo>
                <a:cubicBezTo>
                  <a:pt x="425" y="317"/>
                  <a:pt x="425" y="317"/>
                  <a:pt x="425" y="317"/>
                </a:cubicBezTo>
                <a:cubicBezTo>
                  <a:pt x="426" y="319"/>
                  <a:pt x="426" y="319"/>
                  <a:pt x="426" y="319"/>
                </a:cubicBezTo>
                <a:cubicBezTo>
                  <a:pt x="426" y="321"/>
                  <a:pt x="426" y="321"/>
                  <a:pt x="426" y="321"/>
                </a:cubicBezTo>
                <a:cubicBezTo>
                  <a:pt x="426" y="321"/>
                  <a:pt x="426" y="321"/>
                  <a:pt x="426" y="321"/>
                </a:cubicBezTo>
                <a:cubicBezTo>
                  <a:pt x="426" y="322"/>
                  <a:pt x="426" y="322"/>
                  <a:pt x="426" y="322"/>
                </a:cubicBezTo>
                <a:cubicBezTo>
                  <a:pt x="425" y="322"/>
                  <a:pt x="425" y="322"/>
                  <a:pt x="425" y="322"/>
                </a:cubicBezTo>
                <a:cubicBezTo>
                  <a:pt x="424" y="321"/>
                  <a:pt x="424" y="321"/>
                  <a:pt x="424" y="321"/>
                </a:cubicBezTo>
                <a:cubicBezTo>
                  <a:pt x="424" y="319"/>
                  <a:pt x="424" y="319"/>
                  <a:pt x="424" y="319"/>
                </a:cubicBezTo>
                <a:cubicBezTo>
                  <a:pt x="424" y="318"/>
                  <a:pt x="424" y="318"/>
                  <a:pt x="424" y="318"/>
                </a:cubicBezTo>
                <a:cubicBezTo>
                  <a:pt x="424" y="317"/>
                  <a:pt x="424" y="317"/>
                  <a:pt x="424" y="317"/>
                </a:cubicBezTo>
                <a:cubicBezTo>
                  <a:pt x="424" y="318"/>
                  <a:pt x="424" y="318"/>
                  <a:pt x="424" y="318"/>
                </a:cubicBezTo>
                <a:cubicBezTo>
                  <a:pt x="423" y="318"/>
                  <a:pt x="423" y="318"/>
                  <a:pt x="423" y="318"/>
                </a:cubicBezTo>
                <a:cubicBezTo>
                  <a:pt x="422" y="317"/>
                  <a:pt x="422" y="317"/>
                  <a:pt x="422" y="317"/>
                </a:cubicBezTo>
                <a:cubicBezTo>
                  <a:pt x="422" y="315"/>
                  <a:pt x="422" y="315"/>
                  <a:pt x="422" y="315"/>
                </a:cubicBezTo>
                <a:cubicBezTo>
                  <a:pt x="422" y="316"/>
                  <a:pt x="422" y="316"/>
                  <a:pt x="422" y="316"/>
                </a:cubicBezTo>
                <a:cubicBezTo>
                  <a:pt x="422" y="317"/>
                  <a:pt x="422" y="317"/>
                  <a:pt x="422" y="317"/>
                </a:cubicBezTo>
                <a:cubicBezTo>
                  <a:pt x="421" y="316"/>
                  <a:pt x="421" y="316"/>
                  <a:pt x="421" y="316"/>
                </a:cubicBezTo>
                <a:cubicBezTo>
                  <a:pt x="421" y="316"/>
                  <a:pt x="421" y="316"/>
                  <a:pt x="421" y="316"/>
                </a:cubicBezTo>
                <a:cubicBezTo>
                  <a:pt x="421" y="314"/>
                  <a:pt x="421" y="314"/>
                  <a:pt x="421" y="314"/>
                </a:cubicBezTo>
                <a:cubicBezTo>
                  <a:pt x="420" y="314"/>
                  <a:pt x="420" y="314"/>
                  <a:pt x="420" y="314"/>
                </a:cubicBezTo>
                <a:cubicBezTo>
                  <a:pt x="420" y="315"/>
                  <a:pt x="420" y="315"/>
                  <a:pt x="420" y="315"/>
                </a:cubicBezTo>
                <a:cubicBezTo>
                  <a:pt x="421" y="315"/>
                  <a:pt x="421" y="315"/>
                  <a:pt x="421" y="315"/>
                </a:cubicBezTo>
                <a:cubicBezTo>
                  <a:pt x="420" y="316"/>
                  <a:pt x="420" y="316"/>
                  <a:pt x="420" y="316"/>
                </a:cubicBezTo>
                <a:cubicBezTo>
                  <a:pt x="420" y="316"/>
                  <a:pt x="420" y="316"/>
                  <a:pt x="420" y="316"/>
                </a:cubicBezTo>
                <a:cubicBezTo>
                  <a:pt x="419" y="315"/>
                  <a:pt x="419" y="315"/>
                  <a:pt x="419" y="315"/>
                </a:cubicBezTo>
                <a:cubicBezTo>
                  <a:pt x="419" y="314"/>
                  <a:pt x="419" y="314"/>
                  <a:pt x="419" y="314"/>
                </a:cubicBezTo>
                <a:cubicBezTo>
                  <a:pt x="419" y="313"/>
                  <a:pt x="419" y="313"/>
                  <a:pt x="419" y="313"/>
                </a:cubicBezTo>
                <a:cubicBezTo>
                  <a:pt x="418" y="311"/>
                  <a:pt x="418" y="311"/>
                  <a:pt x="418" y="311"/>
                </a:cubicBezTo>
                <a:cubicBezTo>
                  <a:pt x="418" y="311"/>
                  <a:pt x="418" y="311"/>
                  <a:pt x="418" y="311"/>
                </a:cubicBezTo>
                <a:cubicBezTo>
                  <a:pt x="418" y="312"/>
                  <a:pt x="418" y="312"/>
                  <a:pt x="418" y="312"/>
                </a:cubicBezTo>
                <a:cubicBezTo>
                  <a:pt x="418" y="314"/>
                  <a:pt x="418" y="314"/>
                  <a:pt x="418" y="314"/>
                </a:cubicBezTo>
                <a:cubicBezTo>
                  <a:pt x="418" y="315"/>
                  <a:pt x="418" y="315"/>
                  <a:pt x="418" y="315"/>
                </a:cubicBezTo>
                <a:cubicBezTo>
                  <a:pt x="418" y="315"/>
                  <a:pt x="418" y="315"/>
                  <a:pt x="418" y="315"/>
                </a:cubicBezTo>
                <a:cubicBezTo>
                  <a:pt x="417" y="313"/>
                  <a:pt x="417" y="313"/>
                  <a:pt x="417" y="313"/>
                </a:cubicBezTo>
                <a:cubicBezTo>
                  <a:pt x="416" y="313"/>
                  <a:pt x="416" y="313"/>
                  <a:pt x="416" y="313"/>
                </a:cubicBezTo>
                <a:cubicBezTo>
                  <a:pt x="416" y="312"/>
                  <a:pt x="416" y="312"/>
                  <a:pt x="416" y="312"/>
                </a:cubicBezTo>
                <a:cubicBezTo>
                  <a:pt x="415" y="312"/>
                  <a:pt x="415" y="312"/>
                  <a:pt x="415" y="312"/>
                </a:cubicBezTo>
                <a:cubicBezTo>
                  <a:pt x="415" y="310"/>
                  <a:pt x="415" y="310"/>
                  <a:pt x="415" y="310"/>
                </a:cubicBezTo>
                <a:cubicBezTo>
                  <a:pt x="414" y="309"/>
                  <a:pt x="414" y="309"/>
                  <a:pt x="414" y="309"/>
                </a:cubicBezTo>
                <a:cubicBezTo>
                  <a:pt x="414" y="309"/>
                  <a:pt x="414" y="309"/>
                  <a:pt x="414" y="309"/>
                </a:cubicBezTo>
                <a:cubicBezTo>
                  <a:pt x="414" y="308"/>
                  <a:pt x="414" y="308"/>
                  <a:pt x="414" y="308"/>
                </a:cubicBezTo>
                <a:cubicBezTo>
                  <a:pt x="413" y="308"/>
                  <a:pt x="413" y="308"/>
                  <a:pt x="413" y="308"/>
                </a:cubicBezTo>
                <a:cubicBezTo>
                  <a:pt x="413" y="309"/>
                  <a:pt x="413" y="309"/>
                  <a:pt x="413" y="309"/>
                </a:cubicBezTo>
                <a:cubicBezTo>
                  <a:pt x="413" y="310"/>
                  <a:pt x="413" y="310"/>
                  <a:pt x="413" y="310"/>
                </a:cubicBezTo>
                <a:cubicBezTo>
                  <a:pt x="413" y="311"/>
                  <a:pt x="413" y="311"/>
                  <a:pt x="413" y="311"/>
                </a:cubicBezTo>
                <a:cubicBezTo>
                  <a:pt x="413" y="311"/>
                  <a:pt x="413" y="311"/>
                  <a:pt x="413" y="311"/>
                </a:cubicBezTo>
                <a:cubicBezTo>
                  <a:pt x="413" y="310"/>
                  <a:pt x="413" y="310"/>
                  <a:pt x="413" y="310"/>
                </a:cubicBezTo>
                <a:cubicBezTo>
                  <a:pt x="412" y="309"/>
                  <a:pt x="412" y="309"/>
                  <a:pt x="412" y="309"/>
                </a:cubicBezTo>
                <a:cubicBezTo>
                  <a:pt x="411" y="309"/>
                  <a:pt x="411" y="309"/>
                  <a:pt x="411" y="309"/>
                </a:cubicBezTo>
                <a:cubicBezTo>
                  <a:pt x="410" y="307"/>
                  <a:pt x="410" y="307"/>
                  <a:pt x="410" y="307"/>
                </a:cubicBezTo>
                <a:cubicBezTo>
                  <a:pt x="410" y="306"/>
                  <a:pt x="410" y="306"/>
                  <a:pt x="410" y="306"/>
                </a:cubicBezTo>
                <a:cubicBezTo>
                  <a:pt x="409" y="306"/>
                  <a:pt x="409" y="306"/>
                  <a:pt x="409" y="306"/>
                </a:cubicBezTo>
                <a:cubicBezTo>
                  <a:pt x="408" y="306"/>
                  <a:pt x="408" y="306"/>
                  <a:pt x="408" y="306"/>
                </a:cubicBezTo>
                <a:cubicBezTo>
                  <a:pt x="407" y="306"/>
                  <a:pt x="407" y="306"/>
                  <a:pt x="407" y="306"/>
                </a:cubicBezTo>
                <a:cubicBezTo>
                  <a:pt x="407" y="307"/>
                  <a:pt x="407" y="307"/>
                  <a:pt x="407" y="307"/>
                </a:cubicBezTo>
                <a:cubicBezTo>
                  <a:pt x="408" y="309"/>
                  <a:pt x="408" y="309"/>
                  <a:pt x="408" y="309"/>
                </a:cubicBezTo>
                <a:cubicBezTo>
                  <a:pt x="409" y="310"/>
                  <a:pt x="409" y="310"/>
                  <a:pt x="409" y="310"/>
                </a:cubicBezTo>
                <a:cubicBezTo>
                  <a:pt x="409" y="311"/>
                  <a:pt x="409" y="311"/>
                  <a:pt x="409" y="311"/>
                </a:cubicBezTo>
                <a:cubicBezTo>
                  <a:pt x="409" y="311"/>
                  <a:pt x="409" y="311"/>
                  <a:pt x="409" y="311"/>
                </a:cubicBezTo>
                <a:cubicBezTo>
                  <a:pt x="410" y="313"/>
                  <a:pt x="410" y="313"/>
                  <a:pt x="410" y="313"/>
                </a:cubicBezTo>
                <a:cubicBezTo>
                  <a:pt x="410" y="313"/>
                  <a:pt x="410" y="313"/>
                  <a:pt x="410" y="313"/>
                </a:cubicBezTo>
                <a:cubicBezTo>
                  <a:pt x="412" y="313"/>
                  <a:pt x="412" y="313"/>
                  <a:pt x="412" y="313"/>
                </a:cubicBezTo>
                <a:cubicBezTo>
                  <a:pt x="412" y="314"/>
                  <a:pt x="412" y="314"/>
                  <a:pt x="412" y="314"/>
                </a:cubicBezTo>
                <a:cubicBezTo>
                  <a:pt x="412" y="315"/>
                  <a:pt x="412" y="315"/>
                  <a:pt x="412" y="315"/>
                </a:cubicBezTo>
                <a:cubicBezTo>
                  <a:pt x="413" y="315"/>
                  <a:pt x="413" y="315"/>
                  <a:pt x="413" y="315"/>
                </a:cubicBezTo>
                <a:cubicBezTo>
                  <a:pt x="413" y="315"/>
                  <a:pt x="413" y="315"/>
                  <a:pt x="413" y="315"/>
                </a:cubicBezTo>
                <a:cubicBezTo>
                  <a:pt x="413" y="316"/>
                  <a:pt x="413" y="316"/>
                  <a:pt x="413" y="316"/>
                </a:cubicBezTo>
                <a:cubicBezTo>
                  <a:pt x="414" y="316"/>
                  <a:pt x="414" y="316"/>
                  <a:pt x="414" y="316"/>
                </a:cubicBezTo>
                <a:cubicBezTo>
                  <a:pt x="414" y="317"/>
                  <a:pt x="414" y="317"/>
                  <a:pt x="414" y="317"/>
                </a:cubicBezTo>
                <a:cubicBezTo>
                  <a:pt x="415" y="318"/>
                  <a:pt x="415" y="318"/>
                  <a:pt x="415" y="318"/>
                </a:cubicBezTo>
                <a:cubicBezTo>
                  <a:pt x="415" y="319"/>
                  <a:pt x="415" y="319"/>
                  <a:pt x="415" y="319"/>
                </a:cubicBezTo>
                <a:cubicBezTo>
                  <a:pt x="416" y="319"/>
                  <a:pt x="416" y="319"/>
                  <a:pt x="416" y="319"/>
                </a:cubicBezTo>
                <a:cubicBezTo>
                  <a:pt x="416" y="319"/>
                  <a:pt x="416" y="319"/>
                  <a:pt x="416" y="319"/>
                </a:cubicBezTo>
                <a:cubicBezTo>
                  <a:pt x="417" y="320"/>
                  <a:pt x="417" y="320"/>
                  <a:pt x="417" y="320"/>
                </a:cubicBezTo>
                <a:cubicBezTo>
                  <a:pt x="416" y="322"/>
                  <a:pt x="416" y="322"/>
                  <a:pt x="416" y="322"/>
                </a:cubicBezTo>
                <a:cubicBezTo>
                  <a:pt x="416" y="322"/>
                  <a:pt x="416" y="322"/>
                  <a:pt x="416" y="322"/>
                </a:cubicBezTo>
                <a:cubicBezTo>
                  <a:pt x="417" y="322"/>
                  <a:pt x="417" y="322"/>
                  <a:pt x="417" y="322"/>
                </a:cubicBezTo>
                <a:cubicBezTo>
                  <a:pt x="417" y="323"/>
                  <a:pt x="417" y="323"/>
                  <a:pt x="417" y="323"/>
                </a:cubicBezTo>
                <a:cubicBezTo>
                  <a:pt x="418" y="322"/>
                  <a:pt x="418" y="322"/>
                  <a:pt x="418" y="322"/>
                </a:cubicBezTo>
                <a:cubicBezTo>
                  <a:pt x="418" y="322"/>
                  <a:pt x="418" y="322"/>
                  <a:pt x="418" y="322"/>
                </a:cubicBezTo>
                <a:cubicBezTo>
                  <a:pt x="418" y="324"/>
                  <a:pt x="418" y="324"/>
                  <a:pt x="418" y="324"/>
                </a:cubicBezTo>
                <a:cubicBezTo>
                  <a:pt x="418" y="324"/>
                  <a:pt x="418" y="324"/>
                  <a:pt x="418" y="324"/>
                </a:cubicBezTo>
                <a:cubicBezTo>
                  <a:pt x="419" y="324"/>
                  <a:pt x="419" y="324"/>
                  <a:pt x="419" y="324"/>
                </a:cubicBezTo>
                <a:cubicBezTo>
                  <a:pt x="419" y="324"/>
                  <a:pt x="419" y="324"/>
                  <a:pt x="419" y="324"/>
                </a:cubicBezTo>
                <a:cubicBezTo>
                  <a:pt x="419" y="325"/>
                  <a:pt x="419" y="325"/>
                  <a:pt x="419" y="325"/>
                </a:cubicBezTo>
                <a:cubicBezTo>
                  <a:pt x="418" y="325"/>
                  <a:pt x="418" y="325"/>
                  <a:pt x="418" y="325"/>
                </a:cubicBezTo>
                <a:cubicBezTo>
                  <a:pt x="417" y="325"/>
                  <a:pt x="417" y="325"/>
                  <a:pt x="417" y="325"/>
                </a:cubicBezTo>
                <a:cubicBezTo>
                  <a:pt x="418" y="326"/>
                  <a:pt x="418" y="326"/>
                  <a:pt x="418" y="326"/>
                </a:cubicBezTo>
                <a:cubicBezTo>
                  <a:pt x="418" y="327"/>
                  <a:pt x="418" y="327"/>
                  <a:pt x="418" y="327"/>
                </a:cubicBezTo>
                <a:cubicBezTo>
                  <a:pt x="418" y="328"/>
                  <a:pt x="418" y="328"/>
                  <a:pt x="418" y="328"/>
                </a:cubicBezTo>
                <a:cubicBezTo>
                  <a:pt x="418" y="328"/>
                  <a:pt x="418" y="328"/>
                  <a:pt x="418" y="328"/>
                </a:cubicBezTo>
                <a:close/>
                <a:moveTo>
                  <a:pt x="313" y="297"/>
                </a:moveTo>
                <a:cubicBezTo>
                  <a:pt x="313" y="297"/>
                  <a:pt x="314" y="297"/>
                  <a:pt x="314" y="297"/>
                </a:cubicBezTo>
                <a:cubicBezTo>
                  <a:pt x="314" y="296"/>
                  <a:pt x="314" y="296"/>
                  <a:pt x="314" y="296"/>
                </a:cubicBezTo>
                <a:cubicBezTo>
                  <a:pt x="315" y="296"/>
                  <a:pt x="315" y="296"/>
                  <a:pt x="315" y="296"/>
                </a:cubicBezTo>
                <a:cubicBezTo>
                  <a:pt x="315" y="296"/>
                  <a:pt x="315" y="296"/>
                  <a:pt x="315" y="296"/>
                </a:cubicBezTo>
                <a:cubicBezTo>
                  <a:pt x="316" y="297"/>
                  <a:pt x="316" y="297"/>
                  <a:pt x="316" y="297"/>
                </a:cubicBezTo>
                <a:cubicBezTo>
                  <a:pt x="317" y="297"/>
                  <a:pt x="317" y="297"/>
                  <a:pt x="317" y="297"/>
                </a:cubicBezTo>
                <a:cubicBezTo>
                  <a:pt x="317" y="296"/>
                  <a:pt x="317" y="296"/>
                  <a:pt x="317" y="296"/>
                </a:cubicBezTo>
                <a:cubicBezTo>
                  <a:pt x="318" y="296"/>
                  <a:pt x="318" y="296"/>
                  <a:pt x="318" y="296"/>
                </a:cubicBezTo>
                <a:cubicBezTo>
                  <a:pt x="319" y="297"/>
                  <a:pt x="319" y="297"/>
                  <a:pt x="319" y="297"/>
                </a:cubicBezTo>
                <a:cubicBezTo>
                  <a:pt x="319" y="298"/>
                  <a:pt x="319" y="298"/>
                  <a:pt x="319" y="298"/>
                </a:cubicBezTo>
                <a:cubicBezTo>
                  <a:pt x="318" y="299"/>
                  <a:pt x="318" y="299"/>
                  <a:pt x="318" y="299"/>
                </a:cubicBezTo>
                <a:cubicBezTo>
                  <a:pt x="318" y="300"/>
                  <a:pt x="318" y="300"/>
                  <a:pt x="318" y="300"/>
                </a:cubicBezTo>
                <a:cubicBezTo>
                  <a:pt x="317" y="301"/>
                  <a:pt x="317" y="301"/>
                  <a:pt x="317" y="301"/>
                </a:cubicBezTo>
                <a:cubicBezTo>
                  <a:pt x="317" y="302"/>
                  <a:pt x="317" y="302"/>
                  <a:pt x="317" y="302"/>
                </a:cubicBezTo>
                <a:cubicBezTo>
                  <a:pt x="318" y="303"/>
                  <a:pt x="318" y="303"/>
                  <a:pt x="318" y="303"/>
                </a:cubicBezTo>
                <a:cubicBezTo>
                  <a:pt x="318" y="303"/>
                  <a:pt x="318" y="303"/>
                  <a:pt x="318" y="303"/>
                </a:cubicBezTo>
                <a:cubicBezTo>
                  <a:pt x="319" y="303"/>
                  <a:pt x="319" y="303"/>
                  <a:pt x="319" y="303"/>
                </a:cubicBezTo>
                <a:cubicBezTo>
                  <a:pt x="320" y="303"/>
                  <a:pt x="320" y="303"/>
                  <a:pt x="320" y="303"/>
                </a:cubicBezTo>
                <a:cubicBezTo>
                  <a:pt x="320" y="302"/>
                  <a:pt x="320" y="302"/>
                  <a:pt x="320" y="302"/>
                </a:cubicBezTo>
                <a:cubicBezTo>
                  <a:pt x="321" y="303"/>
                  <a:pt x="321" y="303"/>
                  <a:pt x="321" y="303"/>
                </a:cubicBezTo>
                <a:cubicBezTo>
                  <a:pt x="322" y="302"/>
                  <a:pt x="322" y="302"/>
                  <a:pt x="322" y="302"/>
                </a:cubicBezTo>
                <a:cubicBezTo>
                  <a:pt x="323" y="301"/>
                  <a:pt x="323" y="301"/>
                  <a:pt x="323" y="301"/>
                </a:cubicBezTo>
                <a:cubicBezTo>
                  <a:pt x="323" y="302"/>
                  <a:pt x="323" y="302"/>
                  <a:pt x="323" y="302"/>
                </a:cubicBezTo>
                <a:cubicBezTo>
                  <a:pt x="324" y="301"/>
                  <a:pt x="324" y="301"/>
                  <a:pt x="324" y="301"/>
                </a:cubicBezTo>
                <a:cubicBezTo>
                  <a:pt x="325" y="299"/>
                  <a:pt x="325" y="299"/>
                  <a:pt x="325" y="299"/>
                </a:cubicBezTo>
                <a:cubicBezTo>
                  <a:pt x="326" y="298"/>
                  <a:pt x="326" y="298"/>
                  <a:pt x="326" y="298"/>
                </a:cubicBezTo>
                <a:cubicBezTo>
                  <a:pt x="326" y="298"/>
                  <a:pt x="326" y="298"/>
                  <a:pt x="326" y="298"/>
                </a:cubicBezTo>
                <a:cubicBezTo>
                  <a:pt x="327" y="298"/>
                  <a:pt x="327" y="298"/>
                  <a:pt x="327" y="298"/>
                </a:cubicBezTo>
                <a:cubicBezTo>
                  <a:pt x="327" y="298"/>
                  <a:pt x="327" y="298"/>
                  <a:pt x="327" y="298"/>
                </a:cubicBezTo>
                <a:cubicBezTo>
                  <a:pt x="328" y="297"/>
                  <a:pt x="328" y="297"/>
                  <a:pt x="328" y="297"/>
                </a:cubicBezTo>
                <a:cubicBezTo>
                  <a:pt x="329" y="297"/>
                  <a:pt x="329" y="297"/>
                  <a:pt x="329" y="297"/>
                </a:cubicBezTo>
                <a:cubicBezTo>
                  <a:pt x="330" y="297"/>
                  <a:pt x="330" y="297"/>
                  <a:pt x="330" y="297"/>
                </a:cubicBezTo>
                <a:cubicBezTo>
                  <a:pt x="330" y="296"/>
                  <a:pt x="330" y="296"/>
                  <a:pt x="330" y="296"/>
                </a:cubicBezTo>
                <a:cubicBezTo>
                  <a:pt x="330" y="294"/>
                  <a:pt x="330" y="294"/>
                  <a:pt x="330" y="294"/>
                </a:cubicBezTo>
                <a:cubicBezTo>
                  <a:pt x="331" y="293"/>
                  <a:pt x="331" y="293"/>
                  <a:pt x="331" y="293"/>
                </a:cubicBezTo>
                <a:cubicBezTo>
                  <a:pt x="331" y="292"/>
                  <a:pt x="331" y="292"/>
                  <a:pt x="331" y="292"/>
                </a:cubicBezTo>
                <a:cubicBezTo>
                  <a:pt x="332" y="292"/>
                  <a:pt x="332" y="292"/>
                  <a:pt x="332" y="292"/>
                </a:cubicBezTo>
                <a:cubicBezTo>
                  <a:pt x="333" y="293"/>
                  <a:pt x="333" y="293"/>
                  <a:pt x="333" y="293"/>
                </a:cubicBezTo>
                <a:cubicBezTo>
                  <a:pt x="333" y="292"/>
                  <a:pt x="333" y="292"/>
                  <a:pt x="333" y="292"/>
                </a:cubicBezTo>
                <a:cubicBezTo>
                  <a:pt x="334" y="292"/>
                  <a:pt x="334" y="292"/>
                  <a:pt x="334" y="292"/>
                </a:cubicBezTo>
                <a:cubicBezTo>
                  <a:pt x="335" y="292"/>
                  <a:pt x="335" y="292"/>
                  <a:pt x="335" y="292"/>
                </a:cubicBezTo>
                <a:cubicBezTo>
                  <a:pt x="335" y="293"/>
                  <a:pt x="335" y="293"/>
                  <a:pt x="335" y="293"/>
                </a:cubicBezTo>
                <a:cubicBezTo>
                  <a:pt x="334" y="294"/>
                  <a:pt x="334" y="294"/>
                  <a:pt x="334" y="294"/>
                </a:cubicBezTo>
                <a:cubicBezTo>
                  <a:pt x="333" y="295"/>
                  <a:pt x="333" y="295"/>
                  <a:pt x="333" y="295"/>
                </a:cubicBezTo>
                <a:cubicBezTo>
                  <a:pt x="334" y="295"/>
                  <a:pt x="334" y="295"/>
                  <a:pt x="334" y="295"/>
                </a:cubicBezTo>
                <a:cubicBezTo>
                  <a:pt x="336" y="295"/>
                  <a:pt x="336" y="295"/>
                  <a:pt x="336" y="295"/>
                </a:cubicBezTo>
                <a:cubicBezTo>
                  <a:pt x="337" y="296"/>
                  <a:pt x="337" y="296"/>
                  <a:pt x="337" y="296"/>
                </a:cubicBezTo>
                <a:cubicBezTo>
                  <a:pt x="337" y="297"/>
                  <a:pt x="337" y="297"/>
                  <a:pt x="337" y="297"/>
                </a:cubicBezTo>
                <a:cubicBezTo>
                  <a:pt x="337" y="298"/>
                  <a:pt x="337" y="298"/>
                  <a:pt x="337" y="298"/>
                </a:cubicBezTo>
                <a:cubicBezTo>
                  <a:pt x="336" y="298"/>
                  <a:pt x="336" y="298"/>
                  <a:pt x="336" y="298"/>
                </a:cubicBezTo>
                <a:cubicBezTo>
                  <a:pt x="336" y="299"/>
                  <a:pt x="336" y="299"/>
                  <a:pt x="336" y="299"/>
                </a:cubicBezTo>
                <a:cubicBezTo>
                  <a:pt x="336" y="300"/>
                  <a:pt x="336" y="300"/>
                  <a:pt x="336" y="300"/>
                </a:cubicBezTo>
                <a:cubicBezTo>
                  <a:pt x="337" y="299"/>
                  <a:pt x="337" y="299"/>
                  <a:pt x="337" y="299"/>
                </a:cubicBezTo>
                <a:cubicBezTo>
                  <a:pt x="338" y="299"/>
                  <a:pt x="338" y="299"/>
                  <a:pt x="338" y="299"/>
                </a:cubicBezTo>
                <a:cubicBezTo>
                  <a:pt x="338" y="300"/>
                  <a:pt x="338" y="300"/>
                  <a:pt x="338" y="300"/>
                </a:cubicBezTo>
                <a:cubicBezTo>
                  <a:pt x="339" y="300"/>
                  <a:pt x="339" y="300"/>
                  <a:pt x="339" y="300"/>
                </a:cubicBezTo>
                <a:cubicBezTo>
                  <a:pt x="339" y="300"/>
                  <a:pt x="339" y="300"/>
                  <a:pt x="339" y="300"/>
                </a:cubicBezTo>
                <a:cubicBezTo>
                  <a:pt x="340" y="300"/>
                  <a:pt x="340" y="300"/>
                  <a:pt x="340" y="300"/>
                </a:cubicBezTo>
                <a:cubicBezTo>
                  <a:pt x="341" y="301"/>
                  <a:pt x="341" y="301"/>
                  <a:pt x="341" y="301"/>
                </a:cubicBezTo>
                <a:cubicBezTo>
                  <a:pt x="342" y="301"/>
                  <a:pt x="342" y="301"/>
                  <a:pt x="342" y="301"/>
                </a:cubicBezTo>
                <a:cubicBezTo>
                  <a:pt x="343" y="302"/>
                  <a:pt x="343" y="302"/>
                  <a:pt x="343" y="302"/>
                </a:cubicBezTo>
                <a:cubicBezTo>
                  <a:pt x="344" y="302"/>
                  <a:pt x="344" y="302"/>
                  <a:pt x="344" y="302"/>
                </a:cubicBezTo>
                <a:cubicBezTo>
                  <a:pt x="345" y="300"/>
                  <a:pt x="345" y="300"/>
                  <a:pt x="345" y="300"/>
                </a:cubicBezTo>
                <a:cubicBezTo>
                  <a:pt x="345" y="300"/>
                  <a:pt x="345" y="300"/>
                  <a:pt x="345" y="300"/>
                </a:cubicBezTo>
                <a:cubicBezTo>
                  <a:pt x="346" y="299"/>
                  <a:pt x="346" y="299"/>
                  <a:pt x="346" y="299"/>
                </a:cubicBezTo>
                <a:cubicBezTo>
                  <a:pt x="347" y="299"/>
                  <a:pt x="347" y="299"/>
                  <a:pt x="347" y="299"/>
                </a:cubicBezTo>
                <a:cubicBezTo>
                  <a:pt x="348" y="298"/>
                  <a:pt x="348" y="298"/>
                  <a:pt x="348" y="298"/>
                </a:cubicBezTo>
                <a:cubicBezTo>
                  <a:pt x="347" y="298"/>
                  <a:pt x="347" y="298"/>
                  <a:pt x="347" y="298"/>
                </a:cubicBezTo>
                <a:cubicBezTo>
                  <a:pt x="346" y="297"/>
                  <a:pt x="346" y="297"/>
                  <a:pt x="346" y="297"/>
                </a:cubicBezTo>
                <a:cubicBezTo>
                  <a:pt x="347" y="297"/>
                  <a:pt x="347" y="297"/>
                  <a:pt x="347" y="297"/>
                </a:cubicBezTo>
                <a:cubicBezTo>
                  <a:pt x="347" y="296"/>
                  <a:pt x="347" y="296"/>
                  <a:pt x="347" y="296"/>
                </a:cubicBezTo>
                <a:cubicBezTo>
                  <a:pt x="347" y="296"/>
                  <a:pt x="347" y="296"/>
                  <a:pt x="347" y="296"/>
                </a:cubicBezTo>
                <a:cubicBezTo>
                  <a:pt x="346" y="295"/>
                  <a:pt x="346" y="295"/>
                  <a:pt x="346" y="295"/>
                </a:cubicBezTo>
                <a:cubicBezTo>
                  <a:pt x="346" y="295"/>
                  <a:pt x="346" y="295"/>
                  <a:pt x="346" y="295"/>
                </a:cubicBezTo>
                <a:cubicBezTo>
                  <a:pt x="346" y="296"/>
                  <a:pt x="346" y="296"/>
                  <a:pt x="346" y="296"/>
                </a:cubicBezTo>
                <a:cubicBezTo>
                  <a:pt x="345" y="296"/>
                  <a:pt x="345" y="296"/>
                  <a:pt x="345" y="296"/>
                </a:cubicBezTo>
                <a:cubicBezTo>
                  <a:pt x="345" y="296"/>
                  <a:pt x="345" y="296"/>
                  <a:pt x="345" y="296"/>
                </a:cubicBezTo>
                <a:cubicBezTo>
                  <a:pt x="344" y="295"/>
                  <a:pt x="344" y="295"/>
                  <a:pt x="344" y="295"/>
                </a:cubicBezTo>
                <a:cubicBezTo>
                  <a:pt x="344" y="295"/>
                  <a:pt x="344" y="295"/>
                  <a:pt x="344" y="295"/>
                </a:cubicBezTo>
                <a:cubicBezTo>
                  <a:pt x="343" y="295"/>
                  <a:pt x="343" y="295"/>
                  <a:pt x="343" y="295"/>
                </a:cubicBezTo>
                <a:cubicBezTo>
                  <a:pt x="342" y="296"/>
                  <a:pt x="342" y="296"/>
                  <a:pt x="342" y="296"/>
                </a:cubicBezTo>
                <a:cubicBezTo>
                  <a:pt x="340" y="296"/>
                  <a:pt x="340" y="296"/>
                  <a:pt x="340" y="296"/>
                </a:cubicBezTo>
                <a:cubicBezTo>
                  <a:pt x="340" y="295"/>
                  <a:pt x="340" y="295"/>
                  <a:pt x="340" y="295"/>
                </a:cubicBezTo>
                <a:cubicBezTo>
                  <a:pt x="341" y="294"/>
                  <a:pt x="341" y="294"/>
                  <a:pt x="341" y="294"/>
                </a:cubicBezTo>
                <a:cubicBezTo>
                  <a:pt x="341" y="294"/>
                  <a:pt x="341" y="294"/>
                  <a:pt x="341" y="294"/>
                </a:cubicBezTo>
                <a:cubicBezTo>
                  <a:pt x="342" y="294"/>
                  <a:pt x="342" y="294"/>
                  <a:pt x="342" y="294"/>
                </a:cubicBezTo>
                <a:cubicBezTo>
                  <a:pt x="342" y="293"/>
                  <a:pt x="342" y="293"/>
                  <a:pt x="342" y="293"/>
                </a:cubicBezTo>
                <a:cubicBezTo>
                  <a:pt x="342" y="292"/>
                  <a:pt x="342" y="292"/>
                  <a:pt x="342" y="292"/>
                </a:cubicBezTo>
                <a:cubicBezTo>
                  <a:pt x="342" y="291"/>
                  <a:pt x="342" y="291"/>
                  <a:pt x="342" y="291"/>
                </a:cubicBezTo>
                <a:cubicBezTo>
                  <a:pt x="342" y="290"/>
                  <a:pt x="342" y="290"/>
                  <a:pt x="342" y="290"/>
                </a:cubicBezTo>
                <a:cubicBezTo>
                  <a:pt x="342" y="290"/>
                  <a:pt x="342" y="290"/>
                  <a:pt x="342" y="290"/>
                </a:cubicBezTo>
                <a:cubicBezTo>
                  <a:pt x="342" y="289"/>
                  <a:pt x="342" y="289"/>
                  <a:pt x="342" y="289"/>
                </a:cubicBezTo>
                <a:cubicBezTo>
                  <a:pt x="342" y="288"/>
                  <a:pt x="342" y="288"/>
                  <a:pt x="342" y="288"/>
                </a:cubicBezTo>
                <a:cubicBezTo>
                  <a:pt x="340" y="286"/>
                  <a:pt x="340" y="286"/>
                  <a:pt x="340" y="286"/>
                </a:cubicBezTo>
                <a:cubicBezTo>
                  <a:pt x="338" y="286"/>
                  <a:pt x="338" y="286"/>
                  <a:pt x="338" y="286"/>
                </a:cubicBezTo>
                <a:cubicBezTo>
                  <a:pt x="338" y="285"/>
                  <a:pt x="338" y="285"/>
                  <a:pt x="338" y="285"/>
                </a:cubicBezTo>
                <a:cubicBezTo>
                  <a:pt x="338" y="284"/>
                  <a:pt x="338" y="284"/>
                  <a:pt x="338" y="284"/>
                </a:cubicBezTo>
                <a:cubicBezTo>
                  <a:pt x="337" y="284"/>
                  <a:pt x="337" y="284"/>
                  <a:pt x="337" y="284"/>
                </a:cubicBezTo>
                <a:cubicBezTo>
                  <a:pt x="337" y="283"/>
                  <a:pt x="337" y="283"/>
                  <a:pt x="337" y="283"/>
                </a:cubicBezTo>
                <a:cubicBezTo>
                  <a:pt x="337" y="282"/>
                  <a:pt x="337" y="282"/>
                  <a:pt x="337" y="282"/>
                </a:cubicBezTo>
                <a:cubicBezTo>
                  <a:pt x="337" y="281"/>
                  <a:pt x="337" y="281"/>
                  <a:pt x="337" y="281"/>
                </a:cubicBezTo>
                <a:cubicBezTo>
                  <a:pt x="335" y="281"/>
                  <a:pt x="335" y="281"/>
                  <a:pt x="335" y="281"/>
                </a:cubicBezTo>
                <a:cubicBezTo>
                  <a:pt x="333" y="280"/>
                  <a:pt x="333" y="280"/>
                  <a:pt x="333" y="280"/>
                </a:cubicBezTo>
                <a:cubicBezTo>
                  <a:pt x="332" y="279"/>
                  <a:pt x="332" y="279"/>
                  <a:pt x="332" y="279"/>
                </a:cubicBezTo>
                <a:cubicBezTo>
                  <a:pt x="333" y="278"/>
                  <a:pt x="333" y="278"/>
                  <a:pt x="333" y="278"/>
                </a:cubicBezTo>
                <a:cubicBezTo>
                  <a:pt x="333" y="277"/>
                  <a:pt x="333" y="277"/>
                  <a:pt x="333" y="277"/>
                </a:cubicBezTo>
                <a:cubicBezTo>
                  <a:pt x="332" y="277"/>
                  <a:pt x="332" y="277"/>
                  <a:pt x="332" y="277"/>
                </a:cubicBezTo>
                <a:cubicBezTo>
                  <a:pt x="332" y="276"/>
                  <a:pt x="332" y="276"/>
                  <a:pt x="332" y="276"/>
                </a:cubicBezTo>
                <a:cubicBezTo>
                  <a:pt x="331" y="276"/>
                  <a:pt x="331" y="276"/>
                  <a:pt x="331" y="276"/>
                </a:cubicBezTo>
                <a:cubicBezTo>
                  <a:pt x="330" y="277"/>
                  <a:pt x="330" y="277"/>
                  <a:pt x="330" y="277"/>
                </a:cubicBezTo>
                <a:cubicBezTo>
                  <a:pt x="330" y="278"/>
                  <a:pt x="330" y="278"/>
                  <a:pt x="330" y="278"/>
                </a:cubicBezTo>
                <a:cubicBezTo>
                  <a:pt x="329" y="279"/>
                  <a:pt x="329" y="279"/>
                  <a:pt x="329" y="279"/>
                </a:cubicBezTo>
                <a:cubicBezTo>
                  <a:pt x="329" y="278"/>
                  <a:pt x="329" y="278"/>
                  <a:pt x="329" y="278"/>
                </a:cubicBezTo>
                <a:cubicBezTo>
                  <a:pt x="329" y="277"/>
                  <a:pt x="329" y="277"/>
                  <a:pt x="329" y="277"/>
                </a:cubicBezTo>
                <a:cubicBezTo>
                  <a:pt x="328" y="276"/>
                  <a:pt x="328" y="276"/>
                  <a:pt x="328" y="276"/>
                </a:cubicBezTo>
                <a:cubicBezTo>
                  <a:pt x="328" y="275"/>
                  <a:pt x="328" y="275"/>
                  <a:pt x="328" y="275"/>
                </a:cubicBezTo>
                <a:cubicBezTo>
                  <a:pt x="329" y="275"/>
                  <a:pt x="329" y="275"/>
                  <a:pt x="329" y="275"/>
                </a:cubicBezTo>
                <a:cubicBezTo>
                  <a:pt x="330" y="275"/>
                  <a:pt x="330" y="275"/>
                  <a:pt x="330" y="275"/>
                </a:cubicBezTo>
                <a:cubicBezTo>
                  <a:pt x="330" y="274"/>
                  <a:pt x="330" y="274"/>
                  <a:pt x="330" y="274"/>
                </a:cubicBezTo>
                <a:cubicBezTo>
                  <a:pt x="330" y="273"/>
                  <a:pt x="330" y="273"/>
                  <a:pt x="330" y="273"/>
                </a:cubicBezTo>
                <a:cubicBezTo>
                  <a:pt x="330" y="272"/>
                  <a:pt x="330" y="272"/>
                  <a:pt x="330" y="272"/>
                </a:cubicBezTo>
                <a:cubicBezTo>
                  <a:pt x="328" y="272"/>
                  <a:pt x="328" y="272"/>
                  <a:pt x="328" y="272"/>
                </a:cubicBezTo>
                <a:cubicBezTo>
                  <a:pt x="328" y="271"/>
                  <a:pt x="328" y="271"/>
                  <a:pt x="328" y="271"/>
                </a:cubicBezTo>
                <a:cubicBezTo>
                  <a:pt x="329" y="270"/>
                  <a:pt x="329" y="270"/>
                  <a:pt x="329" y="270"/>
                </a:cubicBezTo>
                <a:cubicBezTo>
                  <a:pt x="329" y="270"/>
                  <a:pt x="329" y="270"/>
                  <a:pt x="329" y="270"/>
                </a:cubicBezTo>
                <a:cubicBezTo>
                  <a:pt x="326" y="271"/>
                  <a:pt x="326" y="271"/>
                  <a:pt x="326" y="271"/>
                </a:cubicBezTo>
                <a:cubicBezTo>
                  <a:pt x="325" y="272"/>
                  <a:pt x="325" y="272"/>
                  <a:pt x="325" y="272"/>
                </a:cubicBezTo>
                <a:cubicBezTo>
                  <a:pt x="324" y="274"/>
                  <a:pt x="324" y="274"/>
                  <a:pt x="324" y="274"/>
                </a:cubicBezTo>
                <a:cubicBezTo>
                  <a:pt x="323" y="276"/>
                  <a:pt x="323" y="276"/>
                  <a:pt x="323" y="276"/>
                </a:cubicBezTo>
                <a:cubicBezTo>
                  <a:pt x="323" y="277"/>
                  <a:pt x="323" y="277"/>
                  <a:pt x="323" y="277"/>
                </a:cubicBezTo>
                <a:cubicBezTo>
                  <a:pt x="322" y="278"/>
                  <a:pt x="322" y="278"/>
                  <a:pt x="322" y="278"/>
                </a:cubicBezTo>
                <a:cubicBezTo>
                  <a:pt x="322" y="279"/>
                  <a:pt x="322" y="279"/>
                  <a:pt x="322" y="279"/>
                </a:cubicBezTo>
                <a:cubicBezTo>
                  <a:pt x="321" y="281"/>
                  <a:pt x="321" y="281"/>
                  <a:pt x="321" y="281"/>
                </a:cubicBezTo>
                <a:cubicBezTo>
                  <a:pt x="321" y="282"/>
                  <a:pt x="321" y="282"/>
                  <a:pt x="321" y="282"/>
                </a:cubicBezTo>
                <a:cubicBezTo>
                  <a:pt x="321" y="282"/>
                  <a:pt x="321" y="282"/>
                  <a:pt x="321" y="282"/>
                </a:cubicBezTo>
                <a:cubicBezTo>
                  <a:pt x="320" y="283"/>
                  <a:pt x="320" y="283"/>
                  <a:pt x="320" y="283"/>
                </a:cubicBezTo>
                <a:cubicBezTo>
                  <a:pt x="320" y="284"/>
                  <a:pt x="320" y="284"/>
                  <a:pt x="320" y="284"/>
                </a:cubicBezTo>
                <a:cubicBezTo>
                  <a:pt x="319" y="286"/>
                  <a:pt x="319" y="286"/>
                  <a:pt x="319" y="286"/>
                </a:cubicBezTo>
                <a:cubicBezTo>
                  <a:pt x="318" y="287"/>
                  <a:pt x="318" y="287"/>
                  <a:pt x="318" y="287"/>
                </a:cubicBezTo>
                <a:cubicBezTo>
                  <a:pt x="318" y="288"/>
                  <a:pt x="318" y="288"/>
                  <a:pt x="318" y="288"/>
                </a:cubicBezTo>
                <a:cubicBezTo>
                  <a:pt x="318" y="289"/>
                  <a:pt x="318" y="289"/>
                  <a:pt x="318" y="289"/>
                </a:cubicBezTo>
                <a:cubicBezTo>
                  <a:pt x="318" y="291"/>
                  <a:pt x="318" y="291"/>
                  <a:pt x="318" y="291"/>
                </a:cubicBezTo>
                <a:cubicBezTo>
                  <a:pt x="317" y="292"/>
                  <a:pt x="317" y="292"/>
                  <a:pt x="317" y="292"/>
                </a:cubicBezTo>
                <a:cubicBezTo>
                  <a:pt x="316" y="292"/>
                  <a:pt x="316" y="292"/>
                  <a:pt x="316" y="292"/>
                </a:cubicBezTo>
                <a:cubicBezTo>
                  <a:pt x="314" y="293"/>
                  <a:pt x="314" y="293"/>
                  <a:pt x="314" y="293"/>
                </a:cubicBezTo>
                <a:cubicBezTo>
                  <a:pt x="314" y="294"/>
                  <a:pt x="314" y="294"/>
                  <a:pt x="314" y="294"/>
                </a:cubicBezTo>
                <a:cubicBezTo>
                  <a:pt x="313" y="296"/>
                  <a:pt x="313" y="296"/>
                  <a:pt x="313" y="296"/>
                </a:cubicBezTo>
                <a:cubicBezTo>
                  <a:pt x="313" y="297"/>
                  <a:pt x="313" y="297"/>
                  <a:pt x="313" y="297"/>
                </a:cubicBezTo>
                <a:close/>
                <a:moveTo>
                  <a:pt x="323" y="315"/>
                </a:moveTo>
                <a:cubicBezTo>
                  <a:pt x="323" y="315"/>
                  <a:pt x="324" y="316"/>
                  <a:pt x="324" y="316"/>
                </a:cubicBezTo>
                <a:cubicBezTo>
                  <a:pt x="324" y="316"/>
                  <a:pt x="324" y="316"/>
                  <a:pt x="324" y="316"/>
                </a:cubicBezTo>
                <a:cubicBezTo>
                  <a:pt x="325" y="314"/>
                  <a:pt x="325" y="314"/>
                  <a:pt x="325" y="314"/>
                </a:cubicBezTo>
                <a:cubicBezTo>
                  <a:pt x="326" y="314"/>
                  <a:pt x="326" y="314"/>
                  <a:pt x="326" y="314"/>
                </a:cubicBezTo>
                <a:cubicBezTo>
                  <a:pt x="327" y="314"/>
                  <a:pt x="327" y="314"/>
                  <a:pt x="327" y="314"/>
                </a:cubicBezTo>
                <a:cubicBezTo>
                  <a:pt x="327" y="315"/>
                  <a:pt x="327" y="315"/>
                  <a:pt x="327" y="315"/>
                </a:cubicBezTo>
                <a:cubicBezTo>
                  <a:pt x="328" y="315"/>
                  <a:pt x="328" y="315"/>
                  <a:pt x="328" y="315"/>
                </a:cubicBezTo>
                <a:cubicBezTo>
                  <a:pt x="329" y="313"/>
                  <a:pt x="329" y="313"/>
                  <a:pt x="329" y="313"/>
                </a:cubicBezTo>
                <a:cubicBezTo>
                  <a:pt x="330" y="313"/>
                  <a:pt x="330" y="313"/>
                  <a:pt x="330" y="313"/>
                </a:cubicBezTo>
                <a:cubicBezTo>
                  <a:pt x="331" y="312"/>
                  <a:pt x="331" y="312"/>
                  <a:pt x="331" y="312"/>
                </a:cubicBezTo>
                <a:cubicBezTo>
                  <a:pt x="332" y="311"/>
                  <a:pt x="332" y="311"/>
                  <a:pt x="332" y="311"/>
                </a:cubicBezTo>
                <a:cubicBezTo>
                  <a:pt x="333" y="311"/>
                  <a:pt x="333" y="311"/>
                  <a:pt x="333" y="311"/>
                </a:cubicBezTo>
                <a:cubicBezTo>
                  <a:pt x="335" y="310"/>
                  <a:pt x="335" y="310"/>
                  <a:pt x="335" y="310"/>
                </a:cubicBezTo>
                <a:cubicBezTo>
                  <a:pt x="335" y="309"/>
                  <a:pt x="335" y="309"/>
                  <a:pt x="335" y="309"/>
                </a:cubicBezTo>
                <a:cubicBezTo>
                  <a:pt x="336" y="308"/>
                  <a:pt x="336" y="308"/>
                  <a:pt x="336" y="308"/>
                </a:cubicBezTo>
                <a:cubicBezTo>
                  <a:pt x="336" y="308"/>
                  <a:pt x="336" y="308"/>
                  <a:pt x="336" y="308"/>
                </a:cubicBezTo>
                <a:cubicBezTo>
                  <a:pt x="334" y="308"/>
                  <a:pt x="334" y="308"/>
                  <a:pt x="334" y="308"/>
                </a:cubicBezTo>
                <a:cubicBezTo>
                  <a:pt x="334" y="307"/>
                  <a:pt x="334" y="307"/>
                  <a:pt x="334" y="307"/>
                </a:cubicBezTo>
                <a:cubicBezTo>
                  <a:pt x="333" y="307"/>
                  <a:pt x="333" y="307"/>
                  <a:pt x="333" y="307"/>
                </a:cubicBezTo>
                <a:cubicBezTo>
                  <a:pt x="332" y="308"/>
                  <a:pt x="332" y="308"/>
                  <a:pt x="332" y="308"/>
                </a:cubicBezTo>
                <a:cubicBezTo>
                  <a:pt x="332" y="307"/>
                  <a:pt x="332" y="307"/>
                  <a:pt x="332" y="307"/>
                </a:cubicBezTo>
                <a:cubicBezTo>
                  <a:pt x="331" y="308"/>
                  <a:pt x="331" y="308"/>
                  <a:pt x="331" y="308"/>
                </a:cubicBezTo>
                <a:cubicBezTo>
                  <a:pt x="330" y="308"/>
                  <a:pt x="330" y="308"/>
                  <a:pt x="330" y="308"/>
                </a:cubicBezTo>
                <a:cubicBezTo>
                  <a:pt x="329" y="308"/>
                  <a:pt x="329" y="308"/>
                  <a:pt x="329" y="308"/>
                </a:cubicBezTo>
                <a:cubicBezTo>
                  <a:pt x="329" y="307"/>
                  <a:pt x="329" y="307"/>
                  <a:pt x="329" y="307"/>
                </a:cubicBezTo>
                <a:cubicBezTo>
                  <a:pt x="328" y="307"/>
                  <a:pt x="328" y="307"/>
                  <a:pt x="328" y="307"/>
                </a:cubicBezTo>
                <a:cubicBezTo>
                  <a:pt x="327" y="307"/>
                  <a:pt x="327" y="307"/>
                  <a:pt x="327" y="307"/>
                </a:cubicBezTo>
                <a:cubicBezTo>
                  <a:pt x="326" y="309"/>
                  <a:pt x="326" y="309"/>
                  <a:pt x="326" y="309"/>
                </a:cubicBezTo>
                <a:cubicBezTo>
                  <a:pt x="326" y="310"/>
                  <a:pt x="326" y="310"/>
                  <a:pt x="326" y="310"/>
                </a:cubicBezTo>
                <a:cubicBezTo>
                  <a:pt x="325" y="310"/>
                  <a:pt x="325" y="310"/>
                  <a:pt x="325" y="310"/>
                </a:cubicBezTo>
                <a:cubicBezTo>
                  <a:pt x="323" y="311"/>
                  <a:pt x="323" y="311"/>
                  <a:pt x="323" y="311"/>
                </a:cubicBezTo>
                <a:cubicBezTo>
                  <a:pt x="323" y="312"/>
                  <a:pt x="323" y="312"/>
                  <a:pt x="323" y="312"/>
                </a:cubicBezTo>
                <a:cubicBezTo>
                  <a:pt x="323" y="312"/>
                  <a:pt x="323" y="312"/>
                  <a:pt x="323" y="312"/>
                </a:cubicBezTo>
                <a:cubicBezTo>
                  <a:pt x="324" y="313"/>
                  <a:pt x="324" y="313"/>
                  <a:pt x="324" y="313"/>
                </a:cubicBezTo>
                <a:cubicBezTo>
                  <a:pt x="323" y="314"/>
                  <a:pt x="323" y="314"/>
                  <a:pt x="323" y="314"/>
                </a:cubicBezTo>
                <a:cubicBezTo>
                  <a:pt x="323" y="315"/>
                  <a:pt x="323" y="315"/>
                  <a:pt x="323" y="315"/>
                </a:cubicBezTo>
                <a:close/>
                <a:moveTo>
                  <a:pt x="425" y="324"/>
                </a:moveTo>
                <a:cubicBezTo>
                  <a:pt x="425" y="324"/>
                  <a:pt x="425" y="324"/>
                  <a:pt x="425" y="324"/>
                </a:cubicBezTo>
                <a:cubicBezTo>
                  <a:pt x="426" y="324"/>
                  <a:pt x="426" y="324"/>
                  <a:pt x="426" y="324"/>
                </a:cubicBezTo>
                <a:cubicBezTo>
                  <a:pt x="427" y="325"/>
                  <a:pt x="427" y="325"/>
                  <a:pt x="427" y="325"/>
                </a:cubicBezTo>
                <a:cubicBezTo>
                  <a:pt x="428" y="324"/>
                  <a:pt x="428" y="324"/>
                  <a:pt x="428" y="324"/>
                </a:cubicBezTo>
                <a:cubicBezTo>
                  <a:pt x="428" y="324"/>
                  <a:pt x="428" y="324"/>
                  <a:pt x="428" y="324"/>
                </a:cubicBezTo>
                <a:cubicBezTo>
                  <a:pt x="428" y="323"/>
                  <a:pt x="428" y="323"/>
                  <a:pt x="428" y="323"/>
                </a:cubicBezTo>
                <a:cubicBezTo>
                  <a:pt x="428" y="323"/>
                  <a:pt x="428" y="323"/>
                  <a:pt x="428" y="323"/>
                </a:cubicBezTo>
                <a:cubicBezTo>
                  <a:pt x="428" y="322"/>
                  <a:pt x="428" y="322"/>
                  <a:pt x="428" y="322"/>
                </a:cubicBezTo>
                <a:cubicBezTo>
                  <a:pt x="427" y="323"/>
                  <a:pt x="427" y="323"/>
                  <a:pt x="427" y="323"/>
                </a:cubicBezTo>
                <a:cubicBezTo>
                  <a:pt x="426" y="323"/>
                  <a:pt x="426" y="323"/>
                  <a:pt x="426" y="323"/>
                </a:cubicBezTo>
                <a:cubicBezTo>
                  <a:pt x="425" y="324"/>
                  <a:pt x="425" y="324"/>
                  <a:pt x="425" y="324"/>
                </a:cubicBezTo>
                <a:close/>
                <a:moveTo>
                  <a:pt x="393" y="315"/>
                </a:moveTo>
                <a:cubicBezTo>
                  <a:pt x="393" y="316"/>
                  <a:pt x="393" y="316"/>
                  <a:pt x="393" y="316"/>
                </a:cubicBezTo>
                <a:cubicBezTo>
                  <a:pt x="395" y="316"/>
                  <a:pt x="395" y="316"/>
                  <a:pt x="395" y="316"/>
                </a:cubicBezTo>
                <a:cubicBezTo>
                  <a:pt x="395" y="317"/>
                  <a:pt x="395" y="317"/>
                  <a:pt x="395" y="317"/>
                </a:cubicBezTo>
                <a:cubicBezTo>
                  <a:pt x="395" y="317"/>
                  <a:pt x="395" y="317"/>
                  <a:pt x="395" y="317"/>
                </a:cubicBezTo>
                <a:cubicBezTo>
                  <a:pt x="395" y="318"/>
                  <a:pt x="395" y="318"/>
                  <a:pt x="395" y="318"/>
                </a:cubicBezTo>
                <a:cubicBezTo>
                  <a:pt x="396" y="318"/>
                  <a:pt x="396" y="318"/>
                  <a:pt x="396" y="318"/>
                </a:cubicBezTo>
                <a:cubicBezTo>
                  <a:pt x="396" y="318"/>
                  <a:pt x="396" y="318"/>
                  <a:pt x="396" y="318"/>
                </a:cubicBezTo>
                <a:cubicBezTo>
                  <a:pt x="397" y="318"/>
                  <a:pt x="397" y="318"/>
                  <a:pt x="397" y="318"/>
                </a:cubicBezTo>
                <a:cubicBezTo>
                  <a:pt x="397" y="318"/>
                  <a:pt x="397" y="318"/>
                  <a:pt x="397" y="318"/>
                </a:cubicBezTo>
                <a:cubicBezTo>
                  <a:pt x="397" y="318"/>
                  <a:pt x="397" y="318"/>
                  <a:pt x="397" y="318"/>
                </a:cubicBezTo>
                <a:cubicBezTo>
                  <a:pt x="397" y="317"/>
                  <a:pt x="397" y="317"/>
                  <a:pt x="397" y="317"/>
                </a:cubicBezTo>
                <a:cubicBezTo>
                  <a:pt x="396" y="316"/>
                  <a:pt x="396" y="316"/>
                  <a:pt x="396" y="316"/>
                </a:cubicBezTo>
                <a:cubicBezTo>
                  <a:pt x="396" y="316"/>
                  <a:pt x="396" y="316"/>
                  <a:pt x="396" y="316"/>
                </a:cubicBezTo>
                <a:cubicBezTo>
                  <a:pt x="395" y="316"/>
                  <a:pt x="395" y="316"/>
                  <a:pt x="395" y="316"/>
                </a:cubicBezTo>
                <a:cubicBezTo>
                  <a:pt x="394" y="315"/>
                  <a:pt x="394" y="315"/>
                  <a:pt x="394" y="315"/>
                </a:cubicBezTo>
                <a:cubicBezTo>
                  <a:pt x="393" y="315"/>
                  <a:pt x="393" y="315"/>
                  <a:pt x="393" y="315"/>
                </a:cubicBezTo>
                <a:cubicBezTo>
                  <a:pt x="393" y="315"/>
                  <a:pt x="393" y="315"/>
                  <a:pt x="393" y="315"/>
                </a:cubicBezTo>
                <a:close/>
                <a:moveTo>
                  <a:pt x="423" y="332"/>
                </a:moveTo>
                <a:cubicBezTo>
                  <a:pt x="422" y="331"/>
                  <a:pt x="422" y="331"/>
                  <a:pt x="422" y="331"/>
                </a:cubicBezTo>
                <a:cubicBezTo>
                  <a:pt x="422" y="330"/>
                  <a:pt x="422" y="330"/>
                  <a:pt x="422" y="330"/>
                </a:cubicBezTo>
                <a:cubicBezTo>
                  <a:pt x="422" y="330"/>
                  <a:pt x="422" y="330"/>
                  <a:pt x="422" y="330"/>
                </a:cubicBezTo>
                <a:cubicBezTo>
                  <a:pt x="422" y="329"/>
                  <a:pt x="422" y="329"/>
                  <a:pt x="422" y="329"/>
                </a:cubicBezTo>
                <a:cubicBezTo>
                  <a:pt x="422" y="328"/>
                  <a:pt x="422" y="328"/>
                  <a:pt x="422" y="328"/>
                </a:cubicBezTo>
                <a:cubicBezTo>
                  <a:pt x="423" y="329"/>
                  <a:pt x="423" y="329"/>
                  <a:pt x="423" y="329"/>
                </a:cubicBezTo>
                <a:cubicBezTo>
                  <a:pt x="423" y="330"/>
                  <a:pt x="423" y="330"/>
                  <a:pt x="423" y="330"/>
                </a:cubicBezTo>
                <a:cubicBezTo>
                  <a:pt x="424" y="330"/>
                  <a:pt x="424" y="330"/>
                  <a:pt x="424" y="330"/>
                </a:cubicBezTo>
                <a:cubicBezTo>
                  <a:pt x="424" y="331"/>
                  <a:pt x="424" y="331"/>
                  <a:pt x="424" y="331"/>
                </a:cubicBezTo>
                <a:cubicBezTo>
                  <a:pt x="423" y="332"/>
                  <a:pt x="423" y="332"/>
                  <a:pt x="423" y="332"/>
                </a:cubicBezTo>
                <a:close/>
                <a:moveTo>
                  <a:pt x="422" y="335"/>
                </a:moveTo>
                <a:cubicBezTo>
                  <a:pt x="422" y="335"/>
                  <a:pt x="422" y="335"/>
                  <a:pt x="422" y="335"/>
                </a:cubicBezTo>
                <a:cubicBezTo>
                  <a:pt x="422" y="334"/>
                  <a:pt x="422" y="334"/>
                  <a:pt x="422" y="334"/>
                </a:cubicBezTo>
                <a:cubicBezTo>
                  <a:pt x="421" y="334"/>
                  <a:pt x="421" y="334"/>
                  <a:pt x="421" y="334"/>
                </a:cubicBezTo>
                <a:cubicBezTo>
                  <a:pt x="420" y="334"/>
                  <a:pt x="420" y="334"/>
                  <a:pt x="420" y="334"/>
                </a:cubicBezTo>
                <a:cubicBezTo>
                  <a:pt x="420" y="333"/>
                  <a:pt x="420" y="333"/>
                  <a:pt x="420" y="333"/>
                </a:cubicBezTo>
                <a:cubicBezTo>
                  <a:pt x="420" y="332"/>
                  <a:pt x="420" y="332"/>
                  <a:pt x="420" y="332"/>
                </a:cubicBezTo>
                <a:cubicBezTo>
                  <a:pt x="420" y="332"/>
                  <a:pt x="420" y="332"/>
                  <a:pt x="420" y="332"/>
                </a:cubicBezTo>
                <a:cubicBezTo>
                  <a:pt x="421" y="332"/>
                  <a:pt x="421" y="332"/>
                  <a:pt x="421" y="332"/>
                </a:cubicBezTo>
                <a:cubicBezTo>
                  <a:pt x="423" y="332"/>
                  <a:pt x="423" y="332"/>
                  <a:pt x="423" y="332"/>
                </a:cubicBezTo>
                <a:cubicBezTo>
                  <a:pt x="424" y="333"/>
                  <a:pt x="424" y="333"/>
                  <a:pt x="424" y="333"/>
                </a:cubicBezTo>
                <a:cubicBezTo>
                  <a:pt x="424" y="333"/>
                  <a:pt x="424" y="333"/>
                  <a:pt x="424" y="333"/>
                </a:cubicBezTo>
                <a:cubicBezTo>
                  <a:pt x="423" y="334"/>
                  <a:pt x="423" y="334"/>
                  <a:pt x="423" y="334"/>
                </a:cubicBezTo>
                <a:cubicBezTo>
                  <a:pt x="423" y="334"/>
                  <a:pt x="423" y="334"/>
                  <a:pt x="423" y="334"/>
                </a:cubicBezTo>
                <a:cubicBezTo>
                  <a:pt x="423" y="335"/>
                  <a:pt x="423" y="335"/>
                  <a:pt x="423" y="335"/>
                </a:cubicBezTo>
                <a:cubicBezTo>
                  <a:pt x="423" y="335"/>
                  <a:pt x="423" y="335"/>
                  <a:pt x="423" y="335"/>
                </a:cubicBezTo>
                <a:cubicBezTo>
                  <a:pt x="422" y="335"/>
                  <a:pt x="422" y="335"/>
                  <a:pt x="422" y="335"/>
                </a:cubicBezTo>
                <a:close/>
                <a:moveTo>
                  <a:pt x="391" y="354"/>
                </a:moveTo>
                <a:cubicBezTo>
                  <a:pt x="391" y="355"/>
                  <a:pt x="391" y="355"/>
                  <a:pt x="391" y="355"/>
                </a:cubicBezTo>
                <a:cubicBezTo>
                  <a:pt x="391" y="355"/>
                  <a:pt x="391" y="355"/>
                  <a:pt x="391" y="355"/>
                </a:cubicBezTo>
                <a:cubicBezTo>
                  <a:pt x="391" y="354"/>
                  <a:pt x="391" y="354"/>
                  <a:pt x="391" y="354"/>
                </a:cubicBezTo>
                <a:close/>
                <a:moveTo>
                  <a:pt x="392" y="355"/>
                </a:moveTo>
                <a:cubicBezTo>
                  <a:pt x="391" y="355"/>
                  <a:pt x="391" y="355"/>
                  <a:pt x="391" y="355"/>
                </a:cubicBezTo>
                <a:cubicBezTo>
                  <a:pt x="392" y="355"/>
                  <a:pt x="392" y="355"/>
                  <a:pt x="392" y="355"/>
                </a:cubicBezTo>
                <a:cubicBezTo>
                  <a:pt x="392" y="355"/>
                  <a:pt x="392" y="355"/>
                  <a:pt x="392" y="355"/>
                </a:cubicBezTo>
                <a:close/>
                <a:moveTo>
                  <a:pt x="392" y="354"/>
                </a:moveTo>
                <a:cubicBezTo>
                  <a:pt x="392" y="355"/>
                  <a:pt x="392" y="355"/>
                  <a:pt x="392" y="355"/>
                </a:cubicBezTo>
                <a:cubicBezTo>
                  <a:pt x="392" y="356"/>
                  <a:pt x="392" y="356"/>
                  <a:pt x="392" y="356"/>
                </a:cubicBezTo>
                <a:cubicBezTo>
                  <a:pt x="392" y="357"/>
                  <a:pt x="392" y="357"/>
                  <a:pt x="392" y="357"/>
                </a:cubicBezTo>
                <a:cubicBezTo>
                  <a:pt x="393" y="356"/>
                  <a:pt x="393" y="356"/>
                  <a:pt x="393" y="356"/>
                </a:cubicBezTo>
                <a:cubicBezTo>
                  <a:pt x="393" y="355"/>
                  <a:pt x="393" y="355"/>
                  <a:pt x="393" y="355"/>
                </a:cubicBezTo>
                <a:cubicBezTo>
                  <a:pt x="392" y="354"/>
                  <a:pt x="392" y="354"/>
                  <a:pt x="392" y="354"/>
                </a:cubicBezTo>
                <a:close/>
                <a:moveTo>
                  <a:pt x="401" y="345"/>
                </a:moveTo>
                <a:cubicBezTo>
                  <a:pt x="401" y="344"/>
                  <a:pt x="401" y="344"/>
                  <a:pt x="401" y="344"/>
                </a:cubicBezTo>
                <a:cubicBezTo>
                  <a:pt x="401" y="343"/>
                  <a:pt x="401" y="343"/>
                  <a:pt x="401" y="343"/>
                </a:cubicBezTo>
                <a:cubicBezTo>
                  <a:pt x="401" y="343"/>
                  <a:pt x="401" y="343"/>
                  <a:pt x="401" y="343"/>
                </a:cubicBezTo>
                <a:cubicBezTo>
                  <a:pt x="402" y="342"/>
                  <a:pt x="402" y="342"/>
                  <a:pt x="402" y="342"/>
                </a:cubicBezTo>
                <a:cubicBezTo>
                  <a:pt x="403" y="341"/>
                  <a:pt x="403" y="341"/>
                  <a:pt x="403" y="341"/>
                </a:cubicBezTo>
                <a:cubicBezTo>
                  <a:pt x="404" y="341"/>
                  <a:pt x="404" y="341"/>
                  <a:pt x="404" y="341"/>
                </a:cubicBezTo>
                <a:cubicBezTo>
                  <a:pt x="404" y="341"/>
                  <a:pt x="404" y="341"/>
                  <a:pt x="404" y="341"/>
                </a:cubicBezTo>
                <a:cubicBezTo>
                  <a:pt x="404" y="342"/>
                  <a:pt x="404" y="342"/>
                  <a:pt x="404" y="342"/>
                </a:cubicBezTo>
                <a:cubicBezTo>
                  <a:pt x="405" y="342"/>
                  <a:pt x="405" y="342"/>
                  <a:pt x="405" y="342"/>
                </a:cubicBezTo>
                <a:cubicBezTo>
                  <a:pt x="405" y="343"/>
                  <a:pt x="405" y="343"/>
                  <a:pt x="405" y="343"/>
                </a:cubicBezTo>
                <a:cubicBezTo>
                  <a:pt x="404" y="343"/>
                  <a:pt x="404" y="343"/>
                  <a:pt x="404" y="343"/>
                </a:cubicBezTo>
                <a:cubicBezTo>
                  <a:pt x="403" y="344"/>
                  <a:pt x="403" y="344"/>
                  <a:pt x="403" y="344"/>
                </a:cubicBezTo>
                <a:cubicBezTo>
                  <a:pt x="402" y="344"/>
                  <a:pt x="402" y="344"/>
                  <a:pt x="402" y="344"/>
                </a:cubicBezTo>
                <a:cubicBezTo>
                  <a:pt x="401" y="345"/>
                  <a:pt x="401" y="345"/>
                  <a:pt x="401" y="345"/>
                </a:cubicBezTo>
                <a:cubicBezTo>
                  <a:pt x="401" y="345"/>
                  <a:pt x="401" y="345"/>
                  <a:pt x="401" y="345"/>
                </a:cubicBezTo>
                <a:close/>
                <a:moveTo>
                  <a:pt x="373" y="314"/>
                </a:moveTo>
                <a:cubicBezTo>
                  <a:pt x="374" y="315"/>
                  <a:pt x="374" y="315"/>
                  <a:pt x="374" y="315"/>
                </a:cubicBezTo>
                <a:cubicBezTo>
                  <a:pt x="375" y="316"/>
                  <a:pt x="375" y="316"/>
                  <a:pt x="375" y="316"/>
                </a:cubicBezTo>
                <a:cubicBezTo>
                  <a:pt x="376" y="316"/>
                  <a:pt x="376" y="316"/>
                  <a:pt x="376" y="316"/>
                </a:cubicBezTo>
                <a:cubicBezTo>
                  <a:pt x="377" y="316"/>
                  <a:pt x="377" y="316"/>
                  <a:pt x="377" y="316"/>
                </a:cubicBezTo>
                <a:cubicBezTo>
                  <a:pt x="377" y="316"/>
                  <a:pt x="377" y="316"/>
                  <a:pt x="377" y="316"/>
                </a:cubicBezTo>
                <a:cubicBezTo>
                  <a:pt x="376" y="315"/>
                  <a:pt x="376" y="315"/>
                  <a:pt x="376" y="315"/>
                </a:cubicBezTo>
                <a:cubicBezTo>
                  <a:pt x="375" y="314"/>
                  <a:pt x="375" y="314"/>
                  <a:pt x="375" y="314"/>
                </a:cubicBezTo>
                <a:cubicBezTo>
                  <a:pt x="374" y="314"/>
                  <a:pt x="374" y="314"/>
                  <a:pt x="374" y="314"/>
                </a:cubicBezTo>
                <a:cubicBezTo>
                  <a:pt x="373" y="314"/>
                  <a:pt x="373" y="314"/>
                  <a:pt x="373" y="314"/>
                </a:cubicBezTo>
                <a:close/>
                <a:moveTo>
                  <a:pt x="364" y="305"/>
                </a:moveTo>
                <a:cubicBezTo>
                  <a:pt x="364" y="306"/>
                  <a:pt x="364" y="306"/>
                  <a:pt x="364" y="306"/>
                </a:cubicBezTo>
                <a:cubicBezTo>
                  <a:pt x="365" y="306"/>
                  <a:pt x="365" y="306"/>
                  <a:pt x="365" y="306"/>
                </a:cubicBezTo>
                <a:cubicBezTo>
                  <a:pt x="365" y="306"/>
                  <a:pt x="365" y="306"/>
                  <a:pt x="365" y="306"/>
                </a:cubicBezTo>
                <a:cubicBezTo>
                  <a:pt x="366" y="306"/>
                  <a:pt x="366" y="306"/>
                  <a:pt x="366" y="306"/>
                </a:cubicBezTo>
                <a:cubicBezTo>
                  <a:pt x="366" y="305"/>
                  <a:pt x="366" y="305"/>
                  <a:pt x="366" y="305"/>
                </a:cubicBezTo>
                <a:cubicBezTo>
                  <a:pt x="366" y="305"/>
                  <a:pt x="366" y="305"/>
                  <a:pt x="366" y="305"/>
                </a:cubicBezTo>
                <a:cubicBezTo>
                  <a:pt x="367" y="305"/>
                  <a:pt x="367" y="305"/>
                  <a:pt x="367" y="305"/>
                </a:cubicBezTo>
                <a:cubicBezTo>
                  <a:pt x="366" y="304"/>
                  <a:pt x="366" y="304"/>
                  <a:pt x="366" y="304"/>
                </a:cubicBezTo>
                <a:cubicBezTo>
                  <a:pt x="366" y="304"/>
                  <a:pt x="366" y="304"/>
                  <a:pt x="366" y="304"/>
                </a:cubicBezTo>
                <a:cubicBezTo>
                  <a:pt x="366" y="304"/>
                  <a:pt x="366" y="304"/>
                  <a:pt x="366" y="304"/>
                </a:cubicBezTo>
                <a:cubicBezTo>
                  <a:pt x="365" y="303"/>
                  <a:pt x="365" y="303"/>
                  <a:pt x="365" y="303"/>
                </a:cubicBezTo>
                <a:cubicBezTo>
                  <a:pt x="364" y="303"/>
                  <a:pt x="364" y="303"/>
                  <a:pt x="364" y="303"/>
                </a:cubicBezTo>
                <a:cubicBezTo>
                  <a:pt x="364" y="302"/>
                  <a:pt x="364" y="302"/>
                  <a:pt x="364" y="302"/>
                </a:cubicBezTo>
                <a:cubicBezTo>
                  <a:pt x="364" y="302"/>
                  <a:pt x="364" y="302"/>
                  <a:pt x="364" y="302"/>
                </a:cubicBezTo>
                <a:cubicBezTo>
                  <a:pt x="363" y="302"/>
                  <a:pt x="363" y="302"/>
                  <a:pt x="363" y="302"/>
                </a:cubicBezTo>
                <a:cubicBezTo>
                  <a:pt x="363" y="302"/>
                  <a:pt x="363" y="302"/>
                  <a:pt x="363" y="302"/>
                </a:cubicBezTo>
                <a:cubicBezTo>
                  <a:pt x="362" y="302"/>
                  <a:pt x="362" y="302"/>
                  <a:pt x="362" y="302"/>
                </a:cubicBezTo>
                <a:cubicBezTo>
                  <a:pt x="362" y="302"/>
                  <a:pt x="362" y="302"/>
                  <a:pt x="362" y="302"/>
                </a:cubicBezTo>
                <a:cubicBezTo>
                  <a:pt x="362" y="303"/>
                  <a:pt x="362" y="303"/>
                  <a:pt x="362" y="303"/>
                </a:cubicBezTo>
                <a:cubicBezTo>
                  <a:pt x="362" y="303"/>
                  <a:pt x="362" y="303"/>
                  <a:pt x="362" y="303"/>
                </a:cubicBezTo>
                <a:cubicBezTo>
                  <a:pt x="363" y="303"/>
                  <a:pt x="363" y="303"/>
                  <a:pt x="363" y="303"/>
                </a:cubicBezTo>
                <a:cubicBezTo>
                  <a:pt x="363" y="304"/>
                  <a:pt x="363" y="304"/>
                  <a:pt x="363" y="304"/>
                </a:cubicBezTo>
                <a:cubicBezTo>
                  <a:pt x="364" y="305"/>
                  <a:pt x="364" y="305"/>
                  <a:pt x="364" y="305"/>
                </a:cubicBezTo>
                <a:cubicBezTo>
                  <a:pt x="364" y="305"/>
                  <a:pt x="364" y="305"/>
                  <a:pt x="364" y="305"/>
                </a:cubicBezTo>
                <a:close/>
                <a:moveTo>
                  <a:pt x="357" y="309"/>
                </a:moveTo>
                <a:cubicBezTo>
                  <a:pt x="358" y="308"/>
                  <a:pt x="358" y="308"/>
                  <a:pt x="358" y="308"/>
                </a:cubicBezTo>
                <a:cubicBezTo>
                  <a:pt x="359" y="308"/>
                  <a:pt x="359" y="308"/>
                  <a:pt x="359" y="308"/>
                </a:cubicBezTo>
                <a:cubicBezTo>
                  <a:pt x="360" y="308"/>
                  <a:pt x="360" y="308"/>
                  <a:pt x="360" y="308"/>
                </a:cubicBezTo>
                <a:cubicBezTo>
                  <a:pt x="360" y="307"/>
                  <a:pt x="360" y="307"/>
                  <a:pt x="360" y="307"/>
                </a:cubicBezTo>
                <a:cubicBezTo>
                  <a:pt x="360" y="307"/>
                  <a:pt x="360" y="307"/>
                  <a:pt x="360" y="307"/>
                </a:cubicBezTo>
                <a:cubicBezTo>
                  <a:pt x="360" y="306"/>
                  <a:pt x="360" y="306"/>
                  <a:pt x="360" y="306"/>
                </a:cubicBezTo>
                <a:cubicBezTo>
                  <a:pt x="360" y="305"/>
                  <a:pt x="360" y="305"/>
                  <a:pt x="360" y="305"/>
                </a:cubicBezTo>
                <a:cubicBezTo>
                  <a:pt x="360" y="304"/>
                  <a:pt x="360" y="304"/>
                  <a:pt x="360" y="304"/>
                </a:cubicBezTo>
                <a:cubicBezTo>
                  <a:pt x="358" y="304"/>
                  <a:pt x="358" y="304"/>
                  <a:pt x="358" y="304"/>
                </a:cubicBezTo>
                <a:cubicBezTo>
                  <a:pt x="358" y="304"/>
                  <a:pt x="358" y="304"/>
                  <a:pt x="358" y="304"/>
                </a:cubicBezTo>
                <a:cubicBezTo>
                  <a:pt x="357" y="303"/>
                  <a:pt x="357" y="303"/>
                  <a:pt x="357" y="303"/>
                </a:cubicBezTo>
                <a:cubicBezTo>
                  <a:pt x="357" y="303"/>
                  <a:pt x="357" y="303"/>
                  <a:pt x="357" y="303"/>
                </a:cubicBezTo>
                <a:cubicBezTo>
                  <a:pt x="355" y="303"/>
                  <a:pt x="355" y="303"/>
                  <a:pt x="355" y="303"/>
                </a:cubicBezTo>
                <a:cubicBezTo>
                  <a:pt x="355" y="303"/>
                  <a:pt x="355" y="303"/>
                  <a:pt x="355" y="303"/>
                </a:cubicBezTo>
                <a:cubicBezTo>
                  <a:pt x="355" y="304"/>
                  <a:pt x="355" y="304"/>
                  <a:pt x="355" y="304"/>
                </a:cubicBezTo>
                <a:cubicBezTo>
                  <a:pt x="355" y="305"/>
                  <a:pt x="355" y="305"/>
                  <a:pt x="355" y="305"/>
                </a:cubicBezTo>
                <a:cubicBezTo>
                  <a:pt x="356" y="306"/>
                  <a:pt x="356" y="306"/>
                  <a:pt x="356" y="306"/>
                </a:cubicBezTo>
                <a:cubicBezTo>
                  <a:pt x="356" y="307"/>
                  <a:pt x="356" y="307"/>
                  <a:pt x="356" y="307"/>
                </a:cubicBezTo>
                <a:cubicBezTo>
                  <a:pt x="357" y="307"/>
                  <a:pt x="357" y="307"/>
                  <a:pt x="357" y="307"/>
                </a:cubicBezTo>
                <a:cubicBezTo>
                  <a:pt x="357" y="308"/>
                  <a:pt x="357" y="308"/>
                  <a:pt x="357" y="308"/>
                </a:cubicBezTo>
                <a:cubicBezTo>
                  <a:pt x="357" y="309"/>
                  <a:pt x="357" y="309"/>
                  <a:pt x="357" y="309"/>
                </a:cubicBezTo>
                <a:close/>
                <a:moveTo>
                  <a:pt x="356" y="314"/>
                </a:moveTo>
                <a:cubicBezTo>
                  <a:pt x="356" y="314"/>
                  <a:pt x="357" y="314"/>
                  <a:pt x="357" y="314"/>
                </a:cubicBezTo>
                <a:cubicBezTo>
                  <a:pt x="355" y="313"/>
                  <a:pt x="355" y="313"/>
                  <a:pt x="355" y="313"/>
                </a:cubicBezTo>
                <a:cubicBezTo>
                  <a:pt x="355" y="313"/>
                  <a:pt x="355" y="313"/>
                  <a:pt x="355" y="313"/>
                </a:cubicBezTo>
                <a:cubicBezTo>
                  <a:pt x="355" y="314"/>
                  <a:pt x="355" y="314"/>
                  <a:pt x="355" y="314"/>
                </a:cubicBezTo>
                <a:cubicBezTo>
                  <a:pt x="356" y="314"/>
                  <a:pt x="356" y="314"/>
                  <a:pt x="356" y="314"/>
                </a:cubicBezTo>
                <a:close/>
                <a:moveTo>
                  <a:pt x="342" y="324"/>
                </a:moveTo>
                <a:cubicBezTo>
                  <a:pt x="343" y="324"/>
                  <a:pt x="343" y="324"/>
                  <a:pt x="343" y="324"/>
                </a:cubicBezTo>
                <a:cubicBezTo>
                  <a:pt x="343" y="323"/>
                  <a:pt x="343" y="323"/>
                  <a:pt x="343" y="323"/>
                </a:cubicBezTo>
                <a:cubicBezTo>
                  <a:pt x="343" y="323"/>
                  <a:pt x="343" y="323"/>
                  <a:pt x="343" y="323"/>
                </a:cubicBezTo>
                <a:cubicBezTo>
                  <a:pt x="344" y="322"/>
                  <a:pt x="344" y="322"/>
                  <a:pt x="344" y="322"/>
                </a:cubicBezTo>
                <a:cubicBezTo>
                  <a:pt x="344" y="322"/>
                  <a:pt x="344" y="322"/>
                  <a:pt x="344" y="322"/>
                </a:cubicBezTo>
                <a:cubicBezTo>
                  <a:pt x="344" y="321"/>
                  <a:pt x="344" y="321"/>
                  <a:pt x="344" y="321"/>
                </a:cubicBezTo>
                <a:cubicBezTo>
                  <a:pt x="344" y="321"/>
                  <a:pt x="344" y="321"/>
                  <a:pt x="344" y="321"/>
                </a:cubicBezTo>
                <a:cubicBezTo>
                  <a:pt x="345" y="320"/>
                  <a:pt x="345" y="320"/>
                  <a:pt x="345" y="320"/>
                </a:cubicBezTo>
                <a:cubicBezTo>
                  <a:pt x="346" y="319"/>
                  <a:pt x="346" y="319"/>
                  <a:pt x="346" y="319"/>
                </a:cubicBezTo>
                <a:cubicBezTo>
                  <a:pt x="346" y="319"/>
                  <a:pt x="346" y="319"/>
                  <a:pt x="346" y="319"/>
                </a:cubicBezTo>
                <a:cubicBezTo>
                  <a:pt x="346" y="318"/>
                  <a:pt x="346" y="318"/>
                  <a:pt x="346" y="318"/>
                </a:cubicBezTo>
                <a:cubicBezTo>
                  <a:pt x="346" y="318"/>
                  <a:pt x="346" y="318"/>
                  <a:pt x="346" y="318"/>
                </a:cubicBezTo>
                <a:cubicBezTo>
                  <a:pt x="346" y="317"/>
                  <a:pt x="346" y="317"/>
                  <a:pt x="346" y="317"/>
                </a:cubicBezTo>
                <a:cubicBezTo>
                  <a:pt x="347" y="317"/>
                  <a:pt x="347" y="317"/>
                  <a:pt x="347" y="317"/>
                </a:cubicBezTo>
                <a:cubicBezTo>
                  <a:pt x="347" y="316"/>
                  <a:pt x="347" y="316"/>
                  <a:pt x="347" y="316"/>
                </a:cubicBezTo>
                <a:cubicBezTo>
                  <a:pt x="347" y="315"/>
                  <a:pt x="347" y="315"/>
                  <a:pt x="347" y="315"/>
                </a:cubicBezTo>
                <a:cubicBezTo>
                  <a:pt x="347" y="314"/>
                  <a:pt x="347" y="314"/>
                  <a:pt x="347" y="314"/>
                </a:cubicBezTo>
                <a:cubicBezTo>
                  <a:pt x="347" y="314"/>
                  <a:pt x="347" y="314"/>
                  <a:pt x="347" y="314"/>
                </a:cubicBezTo>
                <a:cubicBezTo>
                  <a:pt x="346" y="314"/>
                  <a:pt x="346" y="314"/>
                  <a:pt x="346" y="314"/>
                </a:cubicBezTo>
                <a:cubicBezTo>
                  <a:pt x="346" y="314"/>
                  <a:pt x="346" y="314"/>
                  <a:pt x="346" y="314"/>
                </a:cubicBezTo>
                <a:cubicBezTo>
                  <a:pt x="345" y="314"/>
                  <a:pt x="345" y="314"/>
                  <a:pt x="345" y="314"/>
                </a:cubicBezTo>
                <a:cubicBezTo>
                  <a:pt x="345" y="313"/>
                  <a:pt x="345" y="313"/>
                  <a:pt x="345" y="313"/>
                </a:cubicBezTo>
                <a:cubicBezTo>
                  <a:pt x="344" y="314"/>
                  <a:pt x="344" y="314"/>
                  <a:pt x="344" y="314"/>
                </a:cubicBezTo>
                <a:cubicBezTo>
                  <a:pt x="343" y="315"/>
                  <a:pt x="343" y="315"/>
                  <a:pt x="343" y="315"/>
                </a:cubicBezTo>
                <a:cubicBezTo>
                  <a:pt x="342" y="315"/>
                  <a:pt x="342" y="315"/>
                  <a:pt x="342" y="315"/>
                </a:cubicBezTo>
                <a:cubicBezTo>
                  <a:pt x="342" y="316"/>
                  <a:pt x="342" y="316"/>
                  <a:pt x="342" y="316"/>
                </a:cubicBezTo>
                <a:cubicBezTo>
                  <a:pt x="341" y="317"/>
                  <a:pt x="341" y="317"/>
                  <a:pt x="341" y="317"/>
                </a:cubicBezTo>
                <a:cubicBezTo>
                  <a:pt x="342" y="318"/>
                  <a:pt x="342" y="318"/>
                  <a:pt x="342" y="318"/>
                </a:cubicBezTo>
                <a:cubicBezTo>
                  <a:pt x="341" y="318"/>
                  <a:pt x="341" y="318"/>
                  <a:pt x="341" y="318"/>
                </a:cubicBezTo>
                <a:cubicBezTo>
                  <a:pt x="341" y="319"/>
                  <a:pt x="341" y="319"/>
                  <a:pt x="341" y="319"/>
                </a:cubicBezTo>
                <a:cubicBezTo>
                  <a:pt x="341" y="320"/>
                  <a:pt x="341" y="320"/>
                  <a:pt x="341" y="320"/>
                </a:cubicBezTo>
                <a:cubicBezTo>
                  <a:pt x="340" y="321"/>
                  <a:pt x="340" y="321"/>
                  <a:pt x="340" y="321"/>
                </a:cubicBezTo>
                <a:cubicBezTo>
                  <a:pt x="341" y="321"/>
                  <a:pt x="341" y="321"/>
                  <a:pt x="341" y="321"/>
                </a:cubicBezTo>
                <a:cubicBezTo>
                  <a:pt x="341" y="322"/>
                  <a:pt x="341" y="322"/>
                  <a:pt x="341" y="322"/>
                </a:cubicBezTo>
                <a:cubicBezTo>
                  <a:pt x="342" y="322"/>
                  <a:pt x="342" y="322"/>
                  <a:pt x="342" y="322"/>
                </a:cubicBezTo>
                <a:cubicBezTo>
                  <a:pt x="342" y="323"/>
                  <a:pt x="342" y="323"/>
                  <a:pt x="342" y="323"/>
                </a:cubicBezTo>
                <a:cubicBezTo>
                  <a:pt x="342" y="324"/>
                  <a:pt x="342" y="324"/>
                  <a:pt x="342" y="324"/>
                </a:cubicBezTo>
                <a:close/>
                <a:moveTo>
                  <a:pt x="330" y="376"/>
                </a:moveTo>
                <a:cubicBezTo>
                  <a:pt x="330" y="377"/>
                  <a:pt x="330" y="377"/>
                  <a:pt x="330" y="377"/>
                </a:cubicBezTo>
                <a:cubicBezTo>
                  <a:pt x="330" y="376"/>
                  <a:pt x="330" y="376"/>
                  <a:pt x="330" y="376"/>
                </a:cubicBezTo>
                <a:cubicBezTo>
                  <a:pt x="330" y="376"/>
                  <a:pt x="330" y="376"/>
                  <a:pt x="330" y="376"/>
                </a:cubicBezTo>
                <a:cubicBezTo>
                  <a:pt x="330" y="376"/>
                  <a:pt x="330" y="376"/>
                  <a:pt x="330" y="376"/>
                </a:cubicBezTo>
                <a:close/>
                <a:moveTo>
                  <a:pt x="331" y="381"/>
                </a:moveTo>
                <a:cubicBezTo>
                  <a:pt x="331" y="380"/>
                  <a:pt x="331" y="380"/>
                  <a:pt x="331" y="380"/>
                </a:cubicBezTo>
                <a:cubicBezTo>
                  <a:pt x="332" y="379"/>
                  <a:pt x="332" y="379"/>
                  <a:pt x="332" y="379"/>
                </a:cubicBezTo>
                <a:cubicBezTo>
                  <a:pt x="332" y="379"/>
                  <a:pt x="332" y="379"/>
                  <a:pt x="332" y="379"/>
                </a:cubicBezTo>
                <a:cubicBezTo>
                  <a:pt x="332" y="381"/>
                  <a:pt x="332" y="381"/>
                  <a:pt x="332" y="381"/>
                </a:cubicBezTo>
                <a:cubicBezTo>
                  <a:pt x="331" y="382"/>
                  <a:pt x="331" y="382"/>
                  <a:pt x="331" y="382"/>
                </a:cubicBezTo>
                <a:cubicBezTo>
                  <a:pt x="331" y="382"/>
                  <a:pt x="331" y="382"/>
                  <a:pt x="331" y="381"/>
                </a:cubicBezTo>
                <a:close/>
                <a:moveTo>
                  <a:pt x="323" y="380"/>
                </a:moveTo>
                <a:cubicBezTo>
                  <a:pt x="324" y="379"/>
                  <a:pt x="324" y="379"/>
                  <a:pt x="324" y="379"/>
                </a:cubicBezTo>
                <a:cubicBezTo>
                  <a:pt x="325" y="379"/>
                  <a:pt x="325" y="379"/>
                  <a:pt x="325" y="379"/>
                </a:cubicBezTo>
                <a:cubicBezTo>
                  <a:pt x="325" y="378"/>
                  <a:pt x="325" y="378"/>
                  <a:pt x="325" y="378"/>
                </a:cubicBezTo>
                <a:cubicBezTo>
                  <a:pt x="325" y="378"/>
                  <a:pt x="325" y="378"/>
                  <a:pt x="325" y="378"/>
                </a:cubicBezTo>
                <a:cubicBezTo>
                  <a:pt x="326" y="378"/>
                  <a:pt x="326" y="378"/>
                  <a:pt x="326" y="378"/>
                </a:cubicBezTo>
                <a:cubicBezTo>
                  <a:pt x="327" y="377"/>
                  <a:pt x="327" y="377"/>
                  <a:pt x="327" y="377"/>
                </a:cubicBezTo>
                <a:cubicBezTo>
                  <a:pt x="326" y="379"/>
                  <a:pt x="326" y="379"/>
                  <a:pt x="326" y="379"/>
                </a:cubicBezTo>
                <a:cubicBezTo>
                  <a:pt x="325" y="380"/>
                  <a:pt x="325" y="380"/>
                  <a:pt x="325" y="380"/>
                </a:cubicBezTo>
                <a:cubicBezTo>
                  <a:pt x="324" y="380"/>
                  <a:pt x="324" y="380"/>
                  <a:pt x="324" y="380"/>
                </a:cubicBezTo>
                <a:cubicBezTo>
                  <a:pt x="323" y="380"/>
                  <a:pt x="323" y="380"/>
                  <a:pt x="323" y="380"/>
                </a:cubicBezTo>
                <a:close/>
                <a:moveTo>
                  <a:pt x="328" y="382"/>
                </a:moveTo>
                <a:cubicBezTo>
                  <a:pt x="330" y="380"/>
                  <a:pt x="330" y="380"/>
                  <a:pt x="330" y="380"/>
                </a:cubicBezTo>
                <a:cubicBezTo>
                  <a:pt x="330" y="379"/>
                  <a:pt x="330" y="379"/>
                  <a:pt x="330" y="379"/>
                </a:cubicBezTo>
                <a:cubicBezTo>
                  <a:pt x="330" y="379"/>
                  <a:pt x="330" y="379"/>
                  <a:pt x="330" y="379"/>
                </a:cubicBezTo>
                <a:cubicBezTo>
                  <a:pt x="330" y="380"/>
                  <a:pt x="330" y="380"/>
                  <a:pt x="330" y="380"/>
                </a:cubicBezTo>
                <a:cubicBezTo>
                  <a:pt x="329" y="382"/>
                  <a:pt x="329" y="382"/>
                  <a:pt x="329" y="382"/>
                </a:cubicBezTo>
                <a:cubicBezTo>
                  <a:pt x="328" y="383"/>
                  <a:pt x="328" y="383"/>
                  <a:pt x="328" y="383"/>
                </a:cubicBezTo>
                <a:cubicBezTo>
                  <a:pt x="329" y="382"/>
                  <a:pt x="329" y="382"/>
                  <a:pt x="329" y="382"/>
                </a:cubicBezTo>
                <a:cubicBezTo>
                  <a:pt x="331" y="381"/>
                  <a:pt x="331" y="381"/>
                  <a:pt x="331" y="381"/>
                </a:cubicBezTo>
                <a:cubicBezTo>
                  <a:pt x="331" y="380"/>
                  <a:pt x="331" y="380"/>
                  <a:pt x="331" y="380"/>
                </a:cubicBezTo>
                <a:cubicBezTo>
                  <a:pt x="331" y="379"/>
                  <a:pt x="331" y="379"/>
                  <a:pt x="331" y="379"/>
                </a:cubicBezTo>
                <a:cubicBezTo>
                  <a:pt x="331" y="378"/>
                  <a:pt x="331" y="378"/>
                  <a:pt x="331" y="378"/>
                </a:cubicBezTo>
                <a:cubicBezTo>
                  <a:pt x="330" y="378"/>
                  <a:pt x="330" y="378"/>
                  <a:pt x="330" y="378"/>
                </a:cubicBezTo>
                <a:cubicBezTo>
                  <a:pt x="330" y="377"/>
                  <a:pt x="330" y="377"/>
                  <a:pt x="330" y="377"/>
                </a:cubicBezTo>
                <a:cubicBezTo>
                  <a:pt x="329" y="377"/>
                  <a:pt x="329" y="377"/>
                  <a:pt x="329" y="377"/>
                </a:cubicBezTo>
                <a:cubicBezTo>
                  <a:pt x="329" y="377"/>
                  <a:pt x="329" y="377"/>
                  <a:pt x="329" y="377"/>
                </a:cubicBezTo>
                <a:cubicBezTo>
                  <a:pt x="329" y="379"/>
                  <a:pt x="329" y="379"/>
                  <a:pt x="329" y="379"/>
                </a:cubicBezTo>
                <a:cubicBezTo>
                  <a:pt x="328" y="380"/>
                  <a:pt x="328" y="380"/>
                  <a:pt x="328" y="380"/>
                </a:cubicBezTo>
                <a:cubicBezTo>
                  <a:pt x="327" y="381"/>
                  <a:pt x="327" y="381"/>
                  <a:pt x="327" y="381"/>
                </a:cubicBezTo>
                <a:cubicBezTo>
                  <a:pt x="327" y="380"/>
                  <a:pt x="327" y="380"/>
                  <a:pt x="327" y="380"/>
                </a:cubicBezTo>
                <a:cubicBezTo>
                  <a:pt x="328" y="379"/>
                  <a:pt x="328" y="379"/>
                  <a:pt x="328" y="379"/>
                </a:cubicBezTo>
                <a:cubicBezTo>
                  <a:pt x="328" y="378"/>
                  <a:pt x="328" y="378"/>
                  <a:pt x="328" y="378"/>
                </a:cubicBezTo>
                <a:cubicBezTo>
                  <a:pt x="328" y="378"/>
                  <a:pt x="328" y="378"/>
                  <a:pt x="328" y="378"/>
                </a:cubicBezTo>
                <a:cubicBezTo>
                  <a:pt x="327" y="378"/>
                  <a:pt x="327" y="378"/>
                  <a:pt x="327" y="378"/>
                </a:cubicBezTo>
                <a:cubicBezTo>
                  <a:pt x="326" y="380"/>
                  <a:pt x="326" y="380"/>
                  <a:pt x="326" y="380"/>
                </a:cubicBezTo>
                <a:cubicBezTo>
                  <a:pt x="325" y="381"/>
                  <a:pt x="325" y="381"/>
                  <a:pt x="325" y="381"/>
                </a:cubicBezTo>
                <a:cubicBezTo>
                  <a:pt x="325" y="382"/>
                  <a:pt x="325" y="382"/>
                  <a:pt x="325" y="382"/>
                </a:cubicBezTo>
                <a:cubicBezTo>
                  <a:pt x="324" y="383"/>
                  <a:pt x="324" y="383"/>
                  <a:pt x="324" y="383"/>
                </a:cubicBezTo>
                <a:cubicBezTo>
                  <a:pt x="324" y="384"/>
                  <a:pt x="324" y="384"/>
                  <a:pt x="324" y="384"/>
                </a:cubicBezTo>
                <a:cubicBezTo>
                  <a:pt x="325" y="383"/>
                  <a:pt x="325" y="383"/>
                  <a:pt x="325" y="383"/>
                </a:cubicBezTo>
                <a:cubicBezTo>
                  <a:pt x="326" y="382"/>
                  <a:pt x="326" y="382"/>
                  <a:pt x="326" y="382"/>
                </a:cubicBezTo>
                <a:cubicBezTo>
                  <a:pt x="327" y="382"/>
                  <a:pt x="327" y="382"/>
                  <a:pt x="327" y="382"/>
                </a:cubicBezTo>
                <a:cubicBezTo>
                  <a:pt x="326" y="382"/>
                  <a:pt x="326" y="382"/>
                  <a:pt x="326" y="382"/>
                </a:cubicBezTo>
                <a:cubicBezTo>
                  <a:pt x="325" y="384"/>
                  <a:pt x="325" y="384"/>
                  <a:pt x="325" y="384"/>
                </a:cubicBezTo>
                <a:cubicBezTo>
                  <a:pt x="326" y="384"/>
                  <a:pt x="326" y="384"/>
                  <a:pt x="326" y="384"/>
                </a:cubicBezTo>
                <a:cubicBezTo>
                  <a:pt x="327" y="383"/>
                  <a:pt x="327" y="383"/>
                  <a:pt x="327" y="383"/>
                </a:cubicBezTo>
                <a:cubicBezTo>
                  <a:pt x="327" y="383"/>
                  <a:pt x="327" y="383"/>
                  <a:pt x="327" y="383"/>
                </a:cubicBezTo>
                <a:cubicBezTo>
                  <a:pt x="327" y="383"/>
                  <a:pt x="328" y="382"/>
                  <a:pt x="328" y="382"/>
                </a:cubicBezTo>
                <a:close/>
                <a:moveTo>
                  <a:pt x="327" y="382"/>
                </a:moveTo>
                <a:cubicBezTo>
                  <a:pt x="327" y="381"/>
                  <a:pt x="327" y="381"/>
                  <a:pt x="327" y="381"/>
                </a:cubicBezTo>
                <a:cubicBezTo>
                  <a:pt x="329" y="380"/>
                  <a:pt x="329" y="380"/>
                  <a:pt x="329" y="380"/>
                </a:cubicBezTo>
                <a:cubicBezTo>
                  <a:pt x="328" y="381"/>
                  <a:pt x="328" y="381"/>
                  <a:pt x="328" y="381"/>
                </a:cubicBezTo>
                <a:cubicBezTo>
                  <a:pt x="328" y="382"/>
                  <a:pt x="328" y="382"/>
                  <a:pt x="328" y="382"/>
                </a:cubicBezTo>
                <a:cubicBezTo>
                  <a:pt x="327" y="382"/>
                  <a:pt x="327" y="382"/>
                  <a:pt x="327" y="382"/>
                </a:cubicBezTo>
                <a:close/>
                <a:moveTo>
                  <a:pt x="412" y="468"/>
                </a:moveTo>
                <a:cubicBezTo>
                  <a:pt x="411" y="468"/>
                  <a:pt x="411" y="468"/>
                  <a:pt x="411" y="468"/>
                </a:cubicBezTo>
                <a:cubicBezTo>
                  <a:pt x="411" y="468"/>
                  <a:pt x="411" y="468"/>
                  <a:pt x="411" y="468"/>
                </a:cubicBezTo>
                <a:cubicBezTo>
                  <a:pt x="411" y="467"/>
                  <a:pt x="411" y="467"/>
                  <a:pt x="411" y="467"/>
                </a:cubicBezTo>
                <a:cubicBezTo>
                  <a:pt x="412" y="467"/>
                  <a:pt x="412" y="467"/>
                  <a:pt x="412" y="467"/>
                </a:cubicBezTo>
                <a:cubicBezTo>
                  <a:pt x="413" y="466"/>
                  <a:pt x="413" y="466"/>
                  <a:pt x="413" y="466"/>
                </a:cubicBezTo>
                <a:cubicBezTo>
                  <a:pt x="413" y="466"/>
                  <a:pt x="413" y="466"/>
                  <a:pt x="413" y="466"/>
                </a:cubicBezTo>
                <a:cubicBezTo>
                  <a:pt x="413" y="466"/>
                  <a:pt x="413" y="466"/>
                  <a:pt x="413" y="466"/>
                </a:cubicBezTo>
                <a:cubicBezTo>
                  <a:pt x="413" y="466"/>
                  <a:pt x="413" y="466"/>
                  <a:pt x="413" y="466"/>
                </a:cubicBezTo>
                <a:cubicBezTo>
                  <a:pt x="411" y="467"/>
                  <a:pt x="411" y="467"/>
                  <a:pt x="411" y="467"/>
                </a:cubicBezTo>
                <a:cubicBezTo>
                  <a:pt x="411" y="468"/>
                  <a:pt x="411" y="468"/>
                  <a:pt x="411" y="468"/>
                </a:cubicBezTo>
                <a:cubicBezTo>
                  <a:pt x="411" y="468"/>
                  <a:pt x="411" y="468"/>
                  <a:pt x="411" y="468"/>
                </a:cubicBezTo>
                <a:cubicBezTo>
                  <a:pt x="412" y="468"/>
                  <a:pt x="412" y="468"/>
                  <a:pt x="412" y="468"/>
                </a:cubicBezTo>
                <a:cubicBezTo>
                  <a:pt x="412" y="468"/>
                  <a:pt x="412" y="468"/>
                  <a:pt x="412" y="468"/>
                </a:cubicBezTo>
                <a:close/>
                <a:moveTo>
                  <a:pt x="443" y="474"/>
                </a:moveTo>
                <a:cubicBezTo>
                  <a:pt x="442" y="473"/>
                  <a:pt x="442" y="473"/>
                  <a:pt x="442" y="473"/>
                </a:cubicBezTo>
                <a:cubicBezTo>
                  <a:pt x="443" y="472"/>
                  <a:pt x="443" y="472"/>
                  <a:pt x="443" y="472"/>
                </a:cubicBezTo>
                <a:cubicBezTo>
                  <a:pt x="443" y="471"/>
                  <a:pt x="443" y="471"/>
                  <a:pt x="443" y="471"/>
                </a:cubicBezTo>
                <a:cubicBezTo>
                  <a:pt x="442" y="470"/>
                  <a:pt x="442" y="470"/>
                  <a:pt x="442" y="470"/>
                </a:cubicBezTo>
                <a:cubicBezTo>
                  <a:pt x="443" y="470"/>
                  <a:pt x="443" y="470"/>
                  <a:pt x="443" y="470"/>
                </a:cubicBezTo>
                <a:cubicBezTo>
                  <a:pt x="443" y="469"/>
                  <a:pt x="443" y="469"/>
                  <a:pt x="443" y="469"/>
                </a:cubicBezTo>
                <a:cubicBezTo>
                  <a:pt x="443" y="470"/>
                  <a:pt x="443" y="470"/>
                  <a:pt x="443" y="470"/>
                </a:cubicBezTo>
                <a:cubicBezTo>
                  <a:pt x="443" y="470"/>
                  <a:pt x="443" y="470"/>
                  <a:pt x="443" y="470"/>
                </a:cubicBezTo>
                <a:cubicBezTo>
                  <a:pt x="443" y="471"/>
                  <a:pt x="443" y="471"/>
                  <a:pt x="443" y="471"/>
                </a:cubicBezTo>
                <a:cubicBezTo>
                  <a:pt x="443" y="472"/>
                  <a:pt x="443" y="472"/>
                  <a:pt x="443" y="472"/>
                </a:cubicBezTo>
                <a:cubicBezTo>
                  <a:pt x="443" y="472"/>
                  <a:pt x="443" y="472"/>
                  <a:pt x="443" y="472"/>
                </a:cubicBezTo>
                <a:cubicBezTo>
                  <a:pt x="443" y="472"/>
                  <a:pt x="443" y="472"/>
                  <a:pt x="443" y="472"/>
                </a:cubicBezTo>
                <a:cubicBezTo>
                  <a:pt x="443" y="473"/>
                  <a:pt x="443" y="473"/>
                  <a:pt x="443" y="473"/>
                </a:cubicBezTo>
                <a:cubicBezTo>
                  <a:pt x="443" y="474"/>
                  <a:pt x="443" y="474"/>
                  <a:pt x="443" y="474"/>
                </a:cubicBezTo>
                <a:cubicBezTo>
                  <a:pt x="443" y="474"/>
                  <a:pt x="443" y="474"/>
                  <a:pt x="443" y="474"/>
                </a:cubicBezTo>
                <a:close/>
                <a:moveTo>
                  <a:pt x="444" y="474"/>
                </a:moveTo>
                <a:cubicBezTo>
                  <a:pt x="444" y="474"/>
                  <a:pt x="444" y="474"/>
                  <a:pt x="444" y="474"/>
                </a:cubicBezTo>
                <a:cubicBezTo>
                  <a:pt x="444" y="474"/>
                  <a:pt x="444" y="474"/>
                  <a:pt x="444" y="474"/>
                </a:cubicBezTo>
                <a:cubicBezTo>
                  <a:pt x="445" y="474"/>
                  <a:pt x="445" y="474"/>
                  <a:pt x="445" y="474"/>
                </a:cubicBezTo>
                <a:cubicBezTo>
                  <a:pt x="444" y="475"/>
                  <a:pt x="444" y="475"/>
                  <a:pt x="444" y="475"/>
                </a:cubicBezTo>
                <a:cubicBezTo>
                  <a:pt x="444" y="474"/>
                  <a:pt x="444" y="474"/>
                  <a:pt x="444" y="474"/>
                </a:cubicBezTo>
                <a:close/>
                <a:moveTo>
                  <a:pt x="456" y="430"/>
                </a:moveTo>
                <a:cubicBezTo>
                  <a:pt x="457" y="429"/>
                  <a:pt x="457" y="429"/>
                  <a:pt x="457" y="429"/>
                </a:cubicBezTo>
                <a:cubicBezTo>
                  <a:pt x="457" y="429"/>
                  <a:pt x="457" y="429"/>
                  <a:pt x="457" y="429"/>
                </a:cubicBezTo>
                <a:cubicBezTo>
                  <a:pt x="457" y="429"/>
                  <a:pt x="457" y="429"/>
                  <a:pt x="457" y="429"/>
                </a:cubicBezTo>
                <a:cubicBezTo>
                  <a:pt x="457" y="430"/>
                  <a:pt x="457" y="430"/>
                  <a:pt x="457" y="430"/>
                </a:cubicBezTo>
                <a:cubicBezTo>
                  <a:pt x="456" y="431"/>
                  <a:pt x="456" y="431"/>
                  <a:pt x="456" y="431"/>
                </a:cubicBezTo>
                <a:cubicBezTo>
                  <a:pt x="456" y="431"/>
                  <a:pt x="456" y="430"/>
                  <a:pt x="456" y="430"/>
                </a:cubicBezTo>
                <a:close/>
                <a:moveTo>
                  <a:pt x="452" y="439"/>
                </a:moveTo>
                <a:cubicBezTo>
                  <a:pt x="452" y="440"/>
                  <a:pt x="452" y="440"/>
                  <a:pt x="452" y="440"/>
                </a:cubicBezTo>
                <a:cubicBezTo>
                  <a:pt x="453" y="440"/>
                  <a:pt x="453" y="440"/>
                  <a:pt x="453" y="440"/>
                </a:cubicBezTo>
                <a:cubicBezTo>
                  <a:pt x="453" y="440"/>
                  <a:pt x="453" y="440"/>
                  <a:pt x="453" y="440"/>
                </a:cubicBezTo>
                <a:cubicBezTo>
                  <a:pt x="453" y="440"/>
                  <a:pt x="453" y="440"/>
                  <a:pt x="453" y="440"/>
                </a:cubicBezTo>
                <a:cubicBezTo>
                  <a:pt x="453" y="439"/>
                  <a:pt x="453" y="439"/>
                  <a:pt x="453" y="439"/>
                </a:cubicBezTo>
                <a:cubicBezTo>
                  <a:pt x="453" y="439"/>
                  <a:pt x="453" y="439"/>
                  <a:pt x="453" y="439"/>
                </a:cubicBezTo>
                <a:cubicBezTo>
                  <a:pt x="452" y="439"/>
                  <a:pt x="452" y="439"/>
                  <a:pt x="452" y="439"/>
                </a:cubicBezTo>
                <a:close/>
                <a:moveTo>
                  <a:pt x="459" y="450"/>
                </a:moveTo>
                <a:cubicBezTo>
                  <a:pt x="459" y="449"/>
                  <a:pt x="459" y="449"/>
                  <a:pt x="459" y="449"/>
                </a:cubicBezTo>
                <a:cubicBezTo>
                  <a:pt x="459" y="448"/>
                  <a:pt x="459" y="448"/>
                  <a:pt x="459" y="448"/>
                </a:cubicBezTo>
                <a:cubicBezTo>
                  <a:pt x="459" y="448"/>
                  <a:pt x="459" y="448"/>
                  <a:pt x="459" y="448"/>
                </a:cubicBezTo>
                <a:cubicBezTo>
                  <a:pt x="459" y="449"/>
                  <a:pt x="459" y="449"/>
                  <a:pt x="459" y="449"/>
                </a:cubicBezTo>
                <a:cubicBezTo>
                  <a:pt x="460" y="449"/>
                  <a:pt x="460" y="449"/>
                  <a:pt x="460" y="449"/>
                </a:cubicBezTo>
                <a:cubicBezTo>
                  <a:pt x="460" y="449"/>
                  <a:pt x="460" y="449"/>
                  <a:pt x="460" y="449"/>
                </a:cubicBezTo>
                <a:cubicBezTo>
                  <a:pt x="460" y="450"/>
                  <a:pt x="460" y="450"/>
                  <a:pt x="460" y="450"/>
                </a:cubicBezTo>
                <a:cubicBezTo>
                  <a:pt x="459" y="450"/>
                  <a:pt x="459" y="450"/>
                  <a:pt x="459" y="450"/>
                </a:cubicBezTo>
                <a:cubicBezTo>
                  <a:pt x="459" y="450"/>
                  <a:pt x="459" y="450"/>
                  <a:pt x="459" y="450"/>
                </a:cubicBezTo>
                <a:close/>
                <a:moveTo>
                  <a:pt x="456" y="450"/>
                </a:moveTo>
                <a:cubicBezTo>
                  <a:pt x="456" y="450"/>
                  <a:pt x="456" y="450"/>
                  <a:pt x="456" y="450"/>
                </a:cubicBezTo>
                <a:cubicBezTo>
                  <a:pt x="457" y="450"/>
                  <a:pt x="457" y="450"/>
                  <a:pt x="457" y="450"/>
                </a:cubicBezTo>
                <a:cubicBezTo>
                  <a:pt x="457" y="449"/>
                  <a:pt x="457" y="449"/>
                  <a:pt x="457" y="449"/>
                </a:cubicBezTo>
                <a:cubicBezTo>
                  <a:pt x="457" y="449"/>
                  <a:pt x="457" y="449"/>
                  <a:pt x="457" y="449"/>
                </a:cubicBezTo>
                <a:cubicBezTo>
                  <a:pt x="457" y="449"/>
                  <a:pt x="457" y="449"/>
                  <a:pt x="457" y="449"/>
                </a:cubicBezTo>
                <a:cubicBezTo>
                  <a:pt x="457" y="450"/>
                  <a:pt x="457" y="450"/>
                  <a:pt x="457" y="450"/>
                </a:cubicBezTo>
                <a:cubicBezTo>
                  <a:pt x="457" y="450"/>
                  <a:pt x="457" y="450"/>
                  <a:pt x="457" y="450"/>
                </a:cubicBezTo>
                <a:cubicBezTo>
                  <a:pt x="456" y="451"/>
                  <a:pt x="456" y="451"/>
                  <a:pt x="456" y="451"/>
                </a:cubicBezTo>
                <a:cubicBezTo>
                  <a:pt x="455" y="451"/>
                  <a:pt x="455" y="451"/>
                  <a:pt x="455" y="451"/>
                </a:cubicBezTo>
                <a:cubicBezTo>
                  <a:pt x="456" y="450"/>
                  <a:pt x="456" y="450"/>
                  <a:pt x="456" y="450"/>
                </a:cubicBezTo>
                <a:cubicBezTo>
                  <a:pt x="456" y="450"/>
                  <a:pt x="456" y="450"/>
                  <a:pt x="456" y="450"/>
                </a:cubicBezTo>
                <a:close/>
                <a:moveTo>
                  <a:pt x="446" y="466"/>
                </a:moveTo>
                <a:cubicBezTo>
                  <a:pt x="446" y="465"/>
                  <a:pt x="446" y="465"/>
                  <a:pt x="446" y="465"/>
                </a:cubicBezTo>
                <a:cubicBezTo>
                  <a:pt x="446" y="466"/>
                  <a:pt x="446" y="466"/>
                  <a:pt x="446" y="466"/>
                </a:cubicBezTo>
                <a:cubicBezTo>
                  <a:pt x="446" y="466"/>
                  <a:pt x="446" y="466"/>
                  <a:pt x="446" y="466"/>
                </a:cubicBezTo>
                <a:cubicBezTo>
                  <a:pt x="446" y="466"/>
                  <a:pt x="446" y="466"/>
                  <a:pt x="446" y="466"/>
                </a:cubicBezTo>
                <a:close/>
                <a:moveTo>
                  <a:pt x="459" y="462"/>
                </a:moveTo>
                <a:cubicBezTo>
                  <a:pt x="459" y="463"/>
                  <a:pt x="459" y="463"/>
                  <a:pt x="459" y="463"/>
                </a:cubicBezTo>
                <a:cubicBezTo>
                  <a:pt x="460" y="463"/>
                  <a:pt x="460" y="463"/>
                  <a:pt x="460" y="463"/>
                </a:cubicBezTo>
                <a:cubicBezTo>
                  <a:pt x="460" y="463"/>
                  <a:pt x="460" y="463"/>
                  <a:pt x="460" y="463"/>
                </a:cubicBezTo>
                <a:cubicBezTo>
                  <a:pt x="461" y="463"/>
                  <a:pt x="461" y="463"/>
                  <a:pt x="461" y="463"/>
                </a:cubicBezTo>
                <a:cubicBezTo>
                  <a:pt x="459" y="462"/>
                  <a:pt x="459" y="462"/>
                  <a:pt x="459" y="462"/>
                </a:cubicBezTo>
                <a:cubicBezTo>
                  <a:pt x="459" y="462"/>
                  <a:pt x="459" y="462"/>
                  <a:pt x="459" y="462"/>
                </a:cubicBezTo>
                <a:close/>
                <a:moveTo>
                  <a:pt x="445" y="438"/>
                </a:moveTo>
                <a:cubicBezTo>
                  <a:pt x="444" y="439"/>
                  <a:pt x="444" y="439"/>
                  <a:pt x="444" y="439"/>
                </a:cubicBezTo>
                <a:cubicBezTo>
                  <a:pt x="443" y="440"/>
                  <a:pt x="443" y="440"/>
                  <a:pt x="443" y="440"/>
                </a:cubicBezTo>
                <a:cubicBezTo>
                  <a:pt x="443" y="440"/>
                  <a:pt x="443" y="440"/>
                  <a:pt x="443" y="440"/>
                </a:cubicBezTo>
                <a:cubicBezTo>
                  <a:pt x="443" y="440"/>
                  <a:pt x="443" y="440"/>
                  <a:pt x="443" y="440"/>
                </a:cubicBezTo>
                <a:cubicBezTo>
                  <a:pt x="442" y="441"/>
                  <a:pt x="442" y="441"/>
                  <a:pt x="442" y="441"/>
                </a:cubicBezTo>
                <a:cubicBezTo>
                  <a:pt x="442" y="441"/>
                  <a:pt x="442" y="441"/>
                  <a:pt x="442" y="441"/>
                </a:cubicBezTo>
                <a:cubicBezTo>
                  <a:pt x="442" y="442"/>
                  <a:pt x="442" y="442"/>
                  <a:pt x="442" y="442"/>
                </a:cubicBezTo>
                <a:cubicBezTo>
                  <a:pt x="442" y="442"/>
                  <a:pt x="442" y="442"/>
                  <a:pt x="442" y="442"/>
                </a:cubicBezTo>
                <a:cubicBezTo>
                  <a:pt x="442" y="442"/>
                  <a:pt x="442" y="442"/>
                  <a:pt x="442" y="442"/>
                </a:cubicBezTo>
                <a:cubicBezTo>
                  <a:pt x="441" y="442"/>
                  <a:pt x="441" y="442"/>
                  <a:pt x="441" y="442"/>
                </a:cubicBezTo>
                <a:cubicBezTo>
                  <a:pt x="441" y="443"/>
                  <a:pt x="441" y="443"/>
                  <a:pt x="441" y="443"/>
                </a:cubicBezTo>
                <a:cubicBezTo>
                  <a:pt x="440" y="444"/>
                  <a:pt x="440" y="444"/>
                  <a:pt x="440" y="444"/>
                </a:cubicBezTo>
                <a:cubicBezTo>
                  <a:pt x="441" y="444"/>
                  <a:pt x="441" y="444"/>
                  <a:pt x="441" y="444"/>
                </a:cubicBezTo>
                <a:cubicBezTo>
                  <a:pt x="441" y="444"/>
                  <a:pt x="441" y="444"/>
                  <a:pt x="441" y="444"/>
                </a:cubicBezTo>
                <a:cubicBezTo>
                  <a:pt x="441" y="444"/>
                  <a:pt x="441" y="444"/>
                  <a:pt x="441" y="444"/>
                </a:cubicBezTo>
                <a:cubicBezTo>
                  <a:pt x="440" y="444"/>
                  <a:pt x="440" y="444"/>
                  <a:pt x="440" y="444"/>
                </a:cubicBezTo>
                <a:cubicBezTo>
                  <a:pt x="439" y="446"/>
                  <a:pt x="439" y="446"/>
                  <a:pt x="439" y="446"/>
                </a:cubicBezTo>
                <a:cubicBezTo>
                  <a:pt x="439" y="446"/>
                  <a:pt x="439" y="446"/>
                  <a:pt x="439" y="446"/>
                </a:cubicBezTo>
                <a:cubicBezTo>
                  <a:pt x="438" y="448"/>
                  <a:pt x="438" y="448"/>
                  <a:pt x="438" y="448"/>
                </a:cubicBezTo>
                <a:cubicBezTo>
                  <a:pt x="438" y="449"/>
                  <a:pt x="438" y="449"/>
                  <a:pt x="438" y="449"/>
                </a:cubicBezTo>
                <a:cubicBezTo>
                  <a:pt x="438" y="449"/>
                  <a:pt x="438" y="449"/>
                  <a:pt x="438" y="449"/>
                </a:cubicBezTo>
                <a:cubicBezTo>
                  <a:pt x="438" y="450"/>
                  <a:pt x="438" y="450"/>
                  <a:pt x="438" y="450"/>
                </a:cubicBezTo>
                <a:cubicBezTo>
                  <a:pt x="438" y="450"/>
                  <a:pt x="438" y="450"/>
                  <a:pt x="438" y="450"/>
                </a:cubicBezTo>
                <a:cubicBezTo>
                  <a:pt x="437" y="450"/>
                  <a:pt x="437" y="450"/>
                  <a:pt x="437" y="450"/>
                </a:cubicBezTo>
                <a:cubicBezTo>
                  <a:pt x="437" y="450"/>
                  <a:pt x="437" y="450"/>
                  <a:pt x="437" y="450"/>
                </a:cubicBezTo>
                <a:cubicBezTo>
                  <a:pt x="436" y="450"/>
                  <a:pt x="436" y="450"/>
                  <a:pt x="436" y="450"/>
                </a:cubicBezTo>
                <a:cubicBezTo>
                  <a:pt x="436" y="451"/>
                  <a:pt x="436" y="451"/>
                  <a:pt x="436" y="451"/>
                </a:cubicBezTo>
                <a:cubicBezTo>
                  <a:pt x="436" y="452"/>
                  <a:pt x="436" y="452"/>
                  <a:pt x="436" y="452"/>
                </a:cubicBezTo>
                <a:cubicBezTo>
                  <a:pt x="436" y="452"/>
                  <a:pt x="436" y="452"/>
                  <a:pt x="436" y="452"/>
                </a:cubicBezTo>
                <a:cubicBezTo>
                  <a:pt x="437" y="452"/>
                  <a:pt x="437" y="452"/>
                  <a:pt x="437" y="452"/>
                </a:cubicBezTo>
                <a:cubicBezTo>
                  <a:pt x="436" y="452"/>
                  <a:pt x="436" y="452"/>
                  <a:pt x="436" y="452"/>
                </a:cubicBezTo>
                <a:cubicBezTo>
                  <a:pt x="436" y="453"/>
                  <a:pt x="436" y="453"/>
                  <a:pt x="436" y="453"/>
                </a:cubicBezTo>
                <a:cubicBezTo>
                  <a:pt x="435" y="454"/>
                  <a:pt x="435" y="454"/>
                  <a:pt x="435" y="454"/>
                </a:cubicBezTo>
                <a:cubicBezTo>
                  <a:pt x="434" y="453"/>
                  <a:pt x="434" y="453"/>
                  <a:pt x="434" y="453"/>
                </a:cubicBezTo>
                <a:cubicBezTo>
                  <a:pt x="434" y="454"/>
                  <a:pt x="434" y="454"/>
                  <a:pt x="434" y="454"/>
                </a:cubicBezTo>
                <a:cubicBezTo>
                  <a:pt x="434" y="454"/>
                  <a:pt x="434" y="454"/>
                  <a:pt x="434" y="454"/>
                </a:cubicBezTo>
                <a:cubicBezTo>
                  <a:pt x="433" y="455"/>
                  <a:pt x="433" y="455"/>
                  <a:pt x="433" y="455"/>
                </a:cubicBezTo>
                <a:cubicBezTo>
                  <a:pt x="432" y="456"/>
                  <a:pt x="432" y="456"/>
                  <a:pt x="432" y="456"/>
                </a:cubicBezTo>
                <a:cubicBezTo>
                  <a:pt x="432" y="457"/>
                  <a:pt x="432" y="457"/>
                  <a:pt x="432" y="457"/>
                </a:cubicBezTo>
                <a:cubicBezTo>
                  <a:pt x="431" y="457"/>
                  <a:pt x="431" y="457"/>
                  <a:pt x="431" y="457"/>
                </a:cubicBezTo>
                <a:cubicBezTo>
                  <a:pt x="431" y="456"/>
                  <a:pt x="431" y="456"/>
                  <a:pt x="431" y="456"/>
                </a:cubicBezTo>
                <a:cubicBezTo>
                  <a:pt x="431" y="457"/>
                  <a:pt x="431" y="457"/>
                  <a:pt x="431" y="457"/>
                </a:cubicBezTo>
                <a:cubicBezTo>
                  <a:pt x="430" y="456"/>
                  <a:pt x="430" y="456"/>
                  <a:pt x="430" y="456"/>
                </a:cubicBezTo>
                <a:cubicBezTo>
                  <a:pt x="431" y="456"/>
                  <a:pt x="431" y="456"/>
                  <a:pt x="431" y="456"/>
                </a:cubicBezTo>
                <a:cubicBezTo>
                  <a:pt x="431" y="455"/>
                  <a:pt x="431" y="455"/>
                  <a:pt x="431" y="455"/>
                </a:cubicBezTo>
                <a:cubicBezTo>
                  <a:pt x="432" y="455"/>
                  <a:pt x="432" y="455"/>
                  <a:pt x="432" y="455"/>
                </a:cubicBezTo>
                <a:cubicBezTo>
                  <a:pt x="431" y="455"/>
                  <a:pt x="431" y="455"/>
                  <a:pt x="431" y="455"/>
                </a:cubicBezTo>
                <a:cubicBezTo>
                  <a:pt x="430" y="456"/>
                  <a:pt x="430" y="456"/>
                  <a:pt x="430" y="456"/>
                </a:cubicBezTo>
                <a:cubicBezTo>
                  <a:pt x="429" y="456"/>
                  <a:pt x="429" y="456"/>
                  <a:pt x="429" y="456"/>
                </a:cubicBezTo>
                <a:cubicBezTo>
                  <a:pt x="428" y="458"/>
                  <a:pt x="428" y="458"/>
                  <a:pt x="428" y="458"/>
                </a:cubicBezTo>
                <a:cubicBezTo>
                  <a:pt x="429" y="458"/>
                  <a:pt x="429" y="458"/>
                  <a:pt x="429" y="458"/>
                </a:cubicBezTo>
                <a:cubicBezTo>
                  <a:pt x="430" y="458"/>
                  <a:pt x="430" y="458"/>
                  <a:pt x="430" y="458"/>
                </a:cubicBezTo>
                <a:cubicBezTo>
                  <a:pt x="431" y="457"/>
                  <a:pt x="431" y="457"/>
                  <a:pt x="431" y="457"/>
                </a:cubicBezTo>
                <a:cubicBezTo>
                  <a:pt x="433" y="457"/>
                  <a:pt x="433" y="457"/>
                  <a:pt x="433" y="457"/>
                </a:cubicBezTo>
                <a:cubicBezTo>
                  <a:pt x="432" y="458"/>
                  <a:pt x="432" y="458"/>
                  <a:pt x="432" y="458"/>
                </a:cubicBezTo>
                <a:cubicBezTo>
                  <a:pt x="431" y="460"/>
                  <a:pt x="431" y="460"/>
                  <a:pt x="431" y="460"/>
                </a:cubicBezTo>
                <a:cubicBezTo>
                  <a:pt x="430" y="461"/>
                  <a:pt x="430" y="461"/>
                  <a:pt x="430" y="461"/>
                </a:cubicBezTo>
                <a:cubicBezTo>
                  <a:pt x="429" y="462"/>
                  <a:pt x="429" y="462"/>
                  <a:pt x="429" y="462"/>
                </a:cubicBezTo>
                <a:cubicBezTo>
                  <a:pt x="427" y="463"/>
                  <a:pt x="427" y="463"/>
                  <a:pt x="427" y="463"/>
                </a:cubicBezTo>
                <a:cubicBezTo>
                  <a:pt x="427" y="463"/>
                  <a:pt x="427" y="463"/>
                  <a:pt x="427" y="463"/>
                </a:cubicBezTo>
                <a:cubicBezTo>
                  <a:pt x="427" y="463"/>
                  <a:pt x="427" y="463"/>
                  <a:pt x="427" y="463"/>
                </a:cubicBezTo>
                <a:cubicBezTo>
                  <a:pt x="427" y="464"/>
                  <a:pt x="427" y="464"/>
                  <a:pt x="427" y="464"/>
                </a:cubicBezTo>
                <a:cubicBezTo>
                  <a:pt x="427" y="465"/>
                  <a:pt x="427" y="465"/>
                  <a:pt x="427" y="465"/>
                </a:cubicBezTo>
                <a:cubicBezTo>
                  <a:pt x="427" y="465"/>
                  <a:pt x="427" y="465"/>
                  <a:pt x="427" y="465"/>
                </a:cubicBezTo>
                <a:cubicBezTo>
                  <a:pt x="427" y="465"/>
                  <a:pt x="427" y="465"/>
                  <a:pt x="427" y="465"/>
                </a:cubicBezTo>
                <a:cubicBezTo>
                  <a:pt x="429" y="466"/>
                  <a:pt x="429" y="466"/>
                  <a:pt x="429" y="466"/>
                </a:cubicBezTo>
                <a:cubicBezTo>
                  <a:pt x="430" y="466"/>
                  <a:pt x="430" y="466"/>
                  <a:pt x="430" y="466"/>
                </a:cubicBezTo>
                <a:cubicBezTo>
                  <a:pt x="431" y="465"/>
                  <a:pt x="431" y="465"/>
                  <a:pt x="431" y="465"/>
                </a:cubicBezTo>
                <a:cubicBezTo>
                  <a:pt x="432" y="465"/>
                  <a:pt x="432" y="465"/>
                  <a:pt x="432" y="465"/>
                </a:cubicBezTo>
                <a:cubicBezTo>
                  <a:pt x="433" y="464"/>
                  <a:pt x="433" y="464"/>
                  <a:pt x="433" y="464"/>
                </a:cubicBezTo>
                <a:cubicBezTo>
                  <a:pt x="433" y="464"/>
                  <a:pt x="433" y="464"/>
                  <a:pt x="433" y="464"/>
                </a:cubicBezTo>
                <a:cubicBezTo>
                  <a:pt x="433" y="464"/>
                  <a:pt x="433" y="464"/>
                  <a:pt x="433" y="464"/>
                </a:cubicBezTo>
                <a:cubicBezTo>
                  <a:pt x="432" y="465"/>
                  <a:pt x="432" y="465"/>
                  <a:pt x="432" y="465"/>
                </a:cubicBezTo>
                <a:cubicBezTo>
                  <a:pt x="434" y="465"/>
                  <a:pt x="434" y="465"/>
                  <a:pt x="434" y="465"/>
                </a:cubicBezTo>
                <a:cubicBezTo>
                  <a:pt x="435" y="465"/>
                  <a:pt x="435" y="465"/>
                  <a:pt x="435" y="465"/>
                </a:cubicBezTo>
                <a:cubicBezTo>
                  <a:pt x="435" y="465"/>
                  <a:pt x="435" y="465"/>
                  <a:pt x="435" y="465"/>
                </a:cubicBezTo>
                <a:cubicBezTo>
                  <a:pt x="437" y="465"/>
                  <a:pt x="437" y="465"/>
                  <a:pt x="437" y="465"/>
                </a:cubicBezTo>
                <a:cubicBezTo>
                  <a:pt x="438" y="465"/>
                  <a:pt x="438" y="465"/>
                  <a:pt x="438" y="465"/>
                </a:cubicBezTo>
                <a:cubicBezTo>
                  <a:pt x="438" y="466"/>
                  <a:pt x="438" y="466"/>
                  <a:pt x="438" y="466"/>
                </a:cubicBezTo>
                <a:cubicBezTo>
                  <a:pt x="438" y="466"/>
                  <a:pt x="438" y="466"/>
                  <a:pt x="438" y="466"/>
                </a:cubicBezTo>
                <a:cubicBezTo>
                  <a:pt x="440" y="466"/>
                  <a:pt x="440" y="466"/>
                  <a:pt x="440" y="466"/>
                </a:cubicBezTo>
                <a:cubicBezTo>
                  <a:pt x="440" y="466"/>
                  <a:pt x="440" y="466"/>
                  <a:pt x="440" y="466"/>
                </a:cubicBezTo>
                <a:cubicBezTo>
                  <a:pt x="440" y="466"/>
                  <a:pt x="440" y="466"/>
                  <a:pt x="440" y="466"/>
                </a:cubicBezTo>
                <a:cubicBezTo>
                  <a:pt x="441" y="466"/>
                  <a:pt x="441" y="466"/>
                  <a:pt x="441" y="466"/>
                </a:cubicBezTo>
                <a:cubicBezTo>
                  <a:pt x="441" y="466"/>
                  <a:pt x="441" y="466"/>
                  <a:pt x="441" y="466"/>
                </a:cubicBezTo>
                <a:cubicBezTo>
                  <a:pt x="441" y="466"/>
                  <a:pt x="441" y="466"/>
                  <a:pt x="441" y="466"/>
                </a:cubicBezTo>
                <a:cubicBezTo>
                  <a:pt x="442" y="466"/>
                  <a:pt x="442" y="466"/>
                  <a:pt x="442" y="466"/>
                </a:cubicBezTo>
                <a:cubicBezTo>
                  <a:pt x="443" y="466"/>
                  <a:pt x="443" y="466"/>
                  <a:pt x="443" y="466"/>
                </a:cubicBezTo>
                <a:cubicBezTo>
                  <a:pt x="443" y="466"/>
                  <a:pt x="443" y="466"/>
                  <a:pt x="443" y="466"/>
                </a:cubicBezTo>
                <a:cubicBezTo>
                  <a:pt x="444" y="466"/>
                  <a:pt x="444" y="466"/>
                  <a:pt x="444" y="466"/>
                </a:cubicBezTo>
                <a:cubicBezTo>
                  <a:pt x="444" y="466"/>
                  <a:pt x="444" y="466"/>
                  <a:pt x="444" y="466"/>
                </a:cubicBezTo>
                <a:cubicBezTo>
                  <a:pt x="445" y="466"/>
                  <a:pt x="445" y="466"/>
                  <a:pt x="445" y="466"/>
                </a:cubicBezTo>
                <a:cubicBezTo>
                  <a:pt x="445" y="465"/>
                  <a:pt x="445" y="465"/>
                  <a:pt x="445" y="465"/>
                </a:cubicBezTo>
                <a:cubicBezTo>
                  <a:pt x="445" y="465"/>
                  <a:pt x="445" y="465"/>
                  <a:pt x="445" y="465"/>
                </a:cubicBezTo>
                <a:cubicBezTo>
                  <a:pt x="445" y="464"/>
                  <a:pt x="445" y="464"/>
                  <a:pt x="445" y="464"/>
                </a:cubicBezTo>
                <a:cubicBezTo>
                  <a:pt x="445" y="464"/>
                  <a:pt x="445" y="464"/>
                  <a:pt x="445" y="464"/>
                </a:cubicBezTo>
                <a:cubicBezTo>
                  <a:pt x="446" y="463"/>
                  <a:pt x="446" y="463"/>
                  <a:pt x="446" y="463"/>
                </a:cubicBezTo>
                <a:cubicBezTo>
                  <a:pt x="446" y="463"/>
                  <a:pt x="446" y="463"/>
                  <a:pt x="446" y="463"/>
                </a:cubicBezTo>
                <a:cubicBezTo>
                  <a:pt x="446" y="464"/>
                  <a:pt x="446" y="464"/>
                  <a:pt x="446" y="464"/>
                </a:cubicBezTo>
                <a:cubicBezTo>
                  <a:pt x="446" y="465"/>
                  <a:pt x="446" y="465"/>
                  <a:pt x="446" y="465"/>
                </a:cubicBezTo>
                <a:cubicBezTo>
                  <a:pt x="446" y="465"/>
                  <a:pt x="446" y="465"/>
                  <a:pt x="446" y="465"/>
                </a:cubicBezTo>
                <a:cubicBezTo>
                  <a:pt x="446" y="464"/>
                  <a:pt x="446" y="464"/>
                  <a:pt x="446" y="464"/>
                </a:cubicBezTo>
                <a:cubicBezTo>
                  <a:pt x="447" y="464"/>
                  <a:pt x="447" y="464"/>
                  <a:pt x="447" y="464"/>
                </a:cubicBezTo>
                <a:cubicBezTo>
                  <a:pt x="447" y="464"/>
                  <a:pt x="447" y="464"/>
                  <a:pt x="447" y="464"/>
                </a:cubicBezTo>
                <a:cubicBezTo>
                  <a:pt x="447" y="464"/>
                  <a:pt x="447" y="464"/>
                  <a:pt x="447" y="464"/>
                </a:cubicBezTo>
                <a:cubicBezTo>
                  <a:pt x="447" y="465"/>
                  <a:pt x="447" y="465"/>
                  <a:pt x="447" y="465"/>
                </a:cubicBezTo>
                <a:cubicBezTo>
                  <a:pt x="447" y="466"/>
                  <a:pt x="447" y="466"/>
                  <a:pt x="447" y="466"/>
                </a:cubicBezTo>
                <a:cubicBezTo>
                  <a:pt x="447" y="465"/>
                  <a:pt x="447" y="465"/>
                  <a:pt x="447" y="465"/>
                </a:cubicBezTo>
                <a:cubicBezTo>
                  <a:pt x="448" y="465"/>
                  <a:pt x="448" y="465"/>
                  <a:pt x="448" y="465"/>
                </a:cubicBezTo>
                <a:cubicBezTo>
                  <a:pt x="448" y="466"/>
                  <a:pt x="448" y="466"/>
                  <a:pt x="448" y="466"/>
                </a:cubicBezTo>
                <a:cubicBezTo>
                  <a:pt x="446" y="466"/>
                  <a:pt x="446" y="466"/>
                  <a:pt x="446" y="466"/>
                </a:cubicBezTo>
                <a:cubicBezTo>
                  <a:pt x="445" y="467"/>
                  <a:pt x="445" y="467"/>
                  <a:pt x="445" y="467"/>
                </a:cubicBezTo>
                <a:cubicBezTo>
                  <a:pt x="446" y="467"/>
                  <a:pt x="446" y="467"/>
                  <a:pt x="446" y="467"/>
                </a:cubicBezTo>
                <a:cubicBezTo>
                  <a:pt x="446" y="467"/>
                  <a:pt x="446" y="467"/>
                  <a:pt x="446" y="467"/>
                </a:cubicBezTo>
                <a:cubicBezTo>
                  <a:pt x="447" y="467"/>
                  <a:pt x="447" y="467"/>
                  <a:pt x="447" y="467"/>
                </a:cubicBezTo>
                <a:cubicBezTo>
                  <a:pt x="447" y="467"/>
                  <a:pt x="447" y="467"/>
                  <a:pt x="447" y="467"/>
                </a:cubicBezTo>
                <a:cubicBezTo>
                  <a:pt x="448" y="467"/>
                  <a:pt x="448" y="467"/>
                  <a:pt x="448" y="467"/>
                </a:cubicBezTo>
                <a:cubicBezTo>
                  <a:pt x="448" y="468"/>
                  <a:pt x="448" y="468"/>
                  <a:pt x="448" y="468"/>
                </a:cubicBezTo>
                <a:cubicBezTo>
                  <a:pt x="448" y="467"/>
                  <a:pt x="448" y="467"/>
                  <a:pt x="448" y="467"/>
                </a:cubicBezTo>
                <a:cubicBezTo>
                  <a:pt x="449" y="467"/>
                  <a:pt x="449" y="467"/>
                  <a:pt x="449" y="467"/>
                </a:cubicBezTo>
                <a:cubicBezTo>
                  <a:pt x="449" y="466"/>
                  <a:pt x="449" y="466"/>
                  <a:pt x="449" y="466"/>
                </a:cubicBezTo>
                <a:cubicBezTo>
                  <a:pt x="449" y="466"/>
                  <a:pt x="449" y="466"/>
                  <a:pt x="449" y="466"/>
                </a:cubicBezTo>
                <a:cubicBezTo>
                  <a:pt x="450" y="466"/>
                  <a:pt x="450" y="466"/>
                  <a:pt x="450" y="466"/>
                </a:cubicBezTo>
                <a:cubicBezTo>
                  <a:pt x="451" y="466"/>
                  <a:pt x="451" y="466"/>
                  <a:pt x="451" y="466"/>
                </a:cubicBezTo>
                <a:cubicBezTo>
                  <a:pt x="451" y="467"/>
                  <a:pt x="451" y="467"/>
                  <a:pt x="451" y="467"/>
                </a:cubicBezTo>
                <a:cubicBezTo>
                  <a:pt x="452" y="466"/>
                  <a:pt x="452" y="466"/>
                  <a:pt x="452" y="466"/>
                </a:cubicBezTo>
                <a:cubicBezTo>
                  <a:pt x="453" y="466"/>
                  <a:pt x="453" y="466"/>
                  <a:pt x="453" y="466"/>
                </a:cubicBezTo>
                <a:cubicBezTo>
                  <a:pt x="453" y="466"/>
                  <a:pt x="453" y="466"/>
                  <a:pt x="453" y="466"/>
                </a:cubicBezTo>
                <a:cubicBezTo>
                  <a:pt x="453" y="467"/>
                  <a:pt x="453" y="467"/>
                  <a:pt x="453" y="467"/>
                </a:cubicBezTo>
                <a:cubicBezTo>
                  <a:pt x="453" y="467"/>
                  <a:pt x="453" y="467"/>
                  <a:pt x="453" y="467"/>
                </a:cubicBezTo>
                <a:cubicBezTo>
                  <a:pt x="452" y="467"/>
                  <a:pt x="452" y="467"/>
                  <a:pt x="452" y="467"/>
                </a:cubicBezTo>
                <a:cubicBezTo>
                  <a:pt x="451" y="468"/>
                  <a:pt x="451" y="468"/>
                  <a:pt x="451" y="468"/>
                </a:cubicBezTo>
                <a:cubicBezTo>
                  <a:pt x="450" y="468"/>
                  <a:pt x="450" y="468"/>
                  <a:pt x="450" y="468"/>
                </a:cubicBezTo>
                <a:cubicBezTo>
                  <a:pt x="450" y="469"/>
                  <a:pt x="450" y="469"/>
                  <a:pt x="450" y="469"/>
                </a:cubicBezTo>
                <a:cubicBezTo>
                  <a:pt x="450" y="469"/>
                  <a:pt x="450" y="469"/>
                  <a:pt x="450" y="469"/>
                </a:cubicBezTo>
                <a:cubicBezTo>
                  <a:pt x="449" y="469"/>
                  <a:pt x="449" y="469"/>
                  <a:pt x="449" y="469"/>
                </a:cubicBezTo>
                <a:cubicBezTo>
                  <a:pt x="449" y="469"/>
                  <a:pt x="449" y="469"/>
                  <a:pt x="449" y="469"/>
                </a:cubicBezTo>
                <a:cubicBezTo>
                  <a:pt x="448" y="470"/>
                  <a:pt x="448" y="470"/>
                  <a:pt x="448" y="470"/>
                </a:cubicBezTo>
                <a:cubicBezTo>
                  <a:pt x="448" y="470"/>
                  <a:pt x="448" y="470"/>
                  <a:pt x="448" y="470"/>
                </a:cubicBezTo>
                <a:cubicBezTo>
                  <a:pt x="447" y="470"/>
                  <a:pt x="447" y="470"/>
                  <a:pt x="447" y="470"/>
                </a:cubicBezTo>
                <a:cubicBezTo>
                  <a:pt x="446" y="471"/>
                  <a:pt x="446" y="471"/>
                  <a:pt x="446" y="471"/>
                </a:cubicBezTo>
                <a:cubicBezTo>
                  <a:pt x="445" y="471"/>
                  <a:pt x="445" y="471"/>
                  <a:pt x="445" y="471"/>
                </a:cubicBezTo>
                <a:cubicBezTo>
                  <a:pt x="445" y="472"/>
                  <a:pt x="445" y="472"/>
                  <a:pt x="445" y="472"/>
                </a:cubicBezTo>
                <a:cubicBezTo>
                  <a:pt x="446" y="472"/>
                  <a:pt x="446" y="472"/>
                  <a:pt x="446" y="472"/>
                </a:cubicBezTo>
                <a:cubicBezTo>
                  <a:pt x="446" y="473"/>
                  <a:pt x="446" y="473"/>
                  <a:pt x="446" y="473"/>
                </a:cubicBezTo>
                <a:cubicBezTo>
                  <a:pt x="447" y="473"/>
                  <a:pt x="447" y="473"/>
                  <a:pt x="447" y="473"/>
                </a:cubicBezTo>
                <a:cubicBezTo>
                  <a:pt x="447" y="472"/>
                  <a:pt x="447" y="472"/>
                  <a:pt x="447" y="472"/>
                </a:cubicBezTo>
                <a:cubicBezTo>
                  <a:pt x="447" y="472"/>
                  <a:pt x="447" y="472"/>
                  <a:pt x="447" y="472"/>
                </a:cubicBezTo>
                <a:cubicBezTo>
                  <a:pt x="448" y="472"/>
                  <a:pt x="448" y="472"/>
                  <a:pt x="448" y="472"/>
                </a:cubicBezTo>
                <a:cubicBezTo>
                  <a:pt x="448" y="472"/>
                  <a:pt x="448" y="472"/>
                  <a:pt x="448" y="472"/>
                </a:cubicBezTo>
                <a:cubicBezTo>
                  <a:pt x="448" y="473"/>
                  <a:pt x="448" y="473"/>
                  <a:pt x="448" y="473"/>
                </a:cubicBezTo>
                <a:cubicBezTo>
                  <a:pt x="449" y="472"/>
                  <a:pt x="449" y="472"/>
                  <a:pt x="449" y="472"/>
                </a:cubicBezTo>
                <a:cubicBezTo>
                  <a:pt x="450" y="472"/>
                  <a:pt x="450" y="472"/>
                  <a:pt x="450" y="472"/>
                </a:cubicBezTo>
                <a:cubicBezTo>
                  <a:pt x="450" y="471"/>
                  <a:pt x="450" y="471"/>
                  <a:pt x="450" y="471"/>
                </a:cubicBezTo>
                <a:cubicBezTo>
                  <a:pt x="450" y="471"/>
                  <a:pt x="450" y="471"/>
                  <a:pt x="450" y="471"/>
                </a:cubicBezTo>
                <a:cubicBezTo>
                  <a:pt x="451" y="470"/>
                  <a:pt x="451" y="470"/>
                  <a:pt x="451" y="470"/>
                </a:cubicBezTo>
                <a:cubicBezTo>
                  <a:pt x="451" y="470"/>
                  <a:pt x="451" y="470"/>
                  <a:pt x="451" y="470"/>
                </a:cubicBezTo>
                <a:cubicBezTo>
                  <a:pt x="451" y="469"/>
                  <a:pt x="451" y="469"/>
                  <a:pt x="451" y="469"/>
                </a:cubicBezTo>
                <a:cubicBezTo>
                  <a:pt x="452" y="468"/>
                  <a:pt x="452" y="468"/>
                  <a:pt x="452" y="468"/>
                </a:cubicBezTo>
                <a:cubicBezTo>
                  <a:pt x="453" y="468"/>
                  <a:pt x="453" y="468"/>
                  <a:pt x="453" y="468"/>
                </a:cubicBezTo>
                <a:cubicBezTo>
                  <a:pt x="453" y="468"/>
                  <a:pt x="453" y="468"/>
                  <a:pt x="453" y="468"/>
                </a:cubicBezTo>
                <a:cubicBezTo>
                  <a:pt x="454" y="468"/>
                  <a:pt x="454" y="468"/>
                  <a:pt x="454" y="468"/>
                </a:cubicBezTo>
                <a:cubicBezTo>
                  <a:pt x="453" y="469"/>
                  <a:pt x="453" y="469"/>
                  <a:pt x="453" y="469"/>
                </a:cubicBezTo>
                <a:cubicBezTo>
                  <a:pt x="454" y="469"/>
                  <a:pt x="454" y="469"/>
                  <a:pt x="454" y="469"/>
                </a:cubicBezTo>
                <a:cubicBezTo>
                  <a:pt x="455" y="468"/>
                  <a:pt x="455" y="468"/>
                  <a:pt x="455" y="468"/>
                </a:cubicBezTo>
                <a:cubicBezTo>
                  <a:pt x="455" y="467"/>
                  <a:pt x="455" y="467"/>
                  <a:pt x="455" y="467"/>
                </a:cubicBezTo>
                <a:cubicBezTo>
                  <a:pt x="456" y="466"/>
                  <a:pt x="456" y="466"/>
                  <a:pt x="456" y="466"/>
                </a:cubicBezTo>
                <a:cubicBezTo>
                  <a:pt x="456" y="464"/>
                  <a:pt x="456" y="464"/>
                  <a:pt x="456" y="464"/>
                </a:cubicBezTo>
                <a:cubicBezTo>
                  <a:pt x="456" y="464"/>
                  <a:pt x="456" y="464"/>
                  <a:pt x="456" y="464"/>
                </a:cubicBezTo>
                <a:cubicBezTo>
                  <a:pt x="456" y="464"/>
                  <a:pt x="456" y="464"/>
                  <a:pt x="456" y="464"/>
                </a:cubicBezTo>
                <a:cubicBezTo>
                  <a:pt x="457" y="464"/>
                  <a:pt x="457" y="464"/>
                  <a:pt x="457" y="464"/>
                </a:cubicBezTo>
                <a:cubicBezTo>
                  <a:pt x="457" y="465"/>
                  <a:pt x="457" y="465"/>
                  <a:pt x="457" y="465"/>
                </a:cubicBezTo>
                <a:cubicBezTo>
                  <a:pt x="458" y="465"/>
                  <a:pt x="458" y="465"/>
                  <a:pt x="458" y="465"/>
                </a:cubicBezTo>
                <a:cubicBezTo>
                  <a:pt x="458" y="466"/>
                  <a:pt x="458" y="466"/>
                  <a:pt x="458" y="466"/>
                </a:cubicBezTo>
                <a:cubicBezTo>
                  <a:pt x="458" y="467"/>
                  <a:pt x="458" y="467"/>
                  <a:pt x="458" y="467"/>
                </a:cubicBezTo>
                <a:cubicBezTo>
                  <a:pt x="457" y="468"/>
                  <a:pt x="457" y="468"/>
                  <a:pt x="457" y="468"/>
                </a:cubicBezTo>
                <a:cubicBezTo>
                  <a:pt x="458" y="468"/>
                  <a:pt x="458" y="468"/>
                  <a:pt x="458" y="468"/>
                </a:cubicBezTo>
                <a:cubicBezTo>
                  <a:pt x="457" y="469"/>
                  <a:pt x="457" y="469"/>
                  <a:pt x="457" y="469"/>
                </a:cubicBezTo>
                <a:cubicBezTo>
                  <a:pt x="456" y="470"/>
                  <a:pt x="456" y="470"/>
                  <a:pt x="456" y="470"/>
                </a:cubicBezTo>
                <a:cubicBezTo>
                  <a:pt x="456" y="472"/>
                  <a:pt x="456" y="472"/>
                  <a:pt x="456" y="472"/>
                </a:cubicBezTo>
                <a:cubicBezTo>
                  <a:pt x="456" y="472"/>
                  <a:pt x="456" y="472"/>
                  <a:pt x="456" y="472"/>
                </a:cubicBezTo>
                <a:cubicBezTo>
                  <a:pt x="455" y="473"/>
                  <a:pt x="455" y="473"/>
                  <a:pt x="455" y="473"/>
                </a:cubicBezTo>
                <a:cubicBezTo>
                  <a:pt x="455" y="474"/>
                  <a:pt x="455" y="474"/>
                  <a:pt x="455" y="474"/>
                </a:cubicBezTo>
                <a:cubicBezTo>
                  <a:pt x="456" y="474"/>
                  <a:pt x="456" y="474"/>
                  <a:pt x="456" y="474"/>
                </a:cubicBezTo>
                <a:cubicBezTo>
                  <a:pt x="457" y="473"/>
                  <a:pt x="457" y="473"/>
                  <a:pt x="457" y="473"/>
                </a:cubicBezTo>
                <a:cubicBezTo>
                  <a:pt x="458" y="472"/>
                  <a:pt x="458" y="472"/>
                  <a:pt x="458" y="472"/>
                </a:cubicBezTo>
                <a:cubicBezTo>
                  <a:pt x="458" y="472"/>
                  <a:pt x="458" y="472"/>
                  <a:pt x="458" y="472"/>
                </a:cubicBezTo>
                <a:cubicBezTo>
                  <a:pt x="459" y="470"/>
                  <a:pt x="459" y="470"/>
                  <a:pt x="459" y="470"/>
                </a:cubicBezTo>
                <a:cubicBezTo>
                  <a:pt x="460" y="470"/>
                  <a:pt x="460" y="470"/>
                  <a:pt x="460" y="470"/>
                </a:cubicBezTo>
                <a:cubicBezTo>
                  <a:pt x="460" y="470"/>
                  <a:pt x="460" y="470"/>
                  <a:pt x="460" y="470"/>
                </a:cubicBezTo>
                <a:cubicBezTo>
                  <a:pt x="461" y="470"/>
                  <a:pt x="461" y="470"/>
                  <a:pt x="461" y="470"/>
                </a:cubicBezTo>
                <a:cubicBezTo>
                  <a:pt x="461" y="471"/>
                  <a:pt x="461" y="471"/>
                  <a:pt x="461" y="471"/>
                </a:cubicBezTo>
                <a:cubicBezTo>
                  <a:pt x="460" y="471"/>
                  <a:pt x="460" y="471"/>
                  <a:pt x="460" y="471"/>
                </a:cubicBezTo>
                <a:cubicBezTo>
                  <a:pt x="459" y="472"/>
                  <a:pt x="459" y="472"/>
                  <a:pt x="459" y="472"/>
                </a:cubicBezTo>
                <a:cubicBezTo>
                  <a:pt x="459" y="473"/>
                  <a:pt x="459" y="473"/>
                  <a:pt x="459" y="473"/>
                </a:cubicBezTo>
                <a:cubicBezTo>
                  <a:pt x="459" y="473"/>
                  <a:pt x="459" y="473"/>
                  <a:pt x="459" y="473"/>
                </a:cubicBezTo>
                <a:cubicBezTo>
                  <a:pt x="459" y="474"/>
                  <a:pt x="459" y="474"/>
                  <a:pt x="459" y="474"/>
                </a:cubicBezTo>
                <a:cubicBezTo>
                  <a:pt x="459" y="475"/>
                  <a:pt x="459" y="475"/>
                  <a:pt x="459" y="475"/>
                </a:cubicBezTo>
                <a:cubicBezTo>
                  <a:pt x="460" y="476"/>
                  <a:pt x="460" y="476"/>
                  <a:pt x="460" y="476"/>
                </a:cubicBezTo>
                <a:cubicBezTo>
                  <a:pt x="460" y="475"/>
                  <a:pt x="460" y="475"/>
                  <a:pt x="460" y="475"/>
                </a:cubicBezTo>
                <a:cubicBezTo>
                  <a:pt x="460" y="474"/>
                  <a:pt x="460" y="474"/>
                  <a:pt x="460" y="474"/>
                </a:cubicBezTo>
                <a:cubicBezTo>
                  <a:pt x="460" y="474"/>
                  <a:pt x="461" y="474"/>
                  <a:pt x="461" y="474"/>
                </a:cubicBezTo>
                <a:cubicBezTo>
                  <a:pt x="461" y="474"/>
                  <a:pt x="462" y="475"/>
                  <a:pt x="462" y="475"/>
                </a:cubicBezTo>
                <a:cubicBezTo>
                  <a:pt x="462" y="475"/>
                  <a:pt x="462" y="475"/>
                  <a:pt x="462" y="475"/>
                </a:cubicBezTo>
                <a:cubicBezTo>
                  <a:pt x="463" y="475"/>
                  <a:pt x="463" y="475"/>
                  <a:pt x="463" y="475"/>
                </a:cubicBezTo>
                <a:cubicBezTo>
                  <a:pt x="463" y="474"/>
                  <a:pt x="463" y="474"/>
                  <a:pt x="463" y="474"/>
                </a:cubicBezTo>
                <a:cubicBezTo>
                  <a:pt x="463" y="474"/>
                  <a:pt x="463" y="474"/>
                  <a:pt x="463" y="474"/>
                </a:cubicBezTo>
                <a:cubicBezTo>
                  <a:pt x="463" y="473"/>
                  <a:pt x="463" y="473"/>
                  <a:pt x="463" y="473"/>
                </a:cubicBezTo>
                <a:cubicBezTo>
                  <a:pt x="463" y="472"/>
                  <a:pt x="463" y="472"/>
                  <a:pt x="463" y="472"/>
                </a:cubicBezTo>
                <a:cubicBezTo>
                  <a:pt x="464" y="472"/>
                  <a:pt x="464" y="472"/>
                  <a:pt x="464" y="472"/>
                </a:cubicBezTo>
                <a:cubicBezTo>
                  <a:pt x="464" y="472"/>
                  <a:pt x="464" y="472"/>
                  <a:pt x="464" y="472"/>
                </a:cubicBezTo>
                <a:cubicBezTo>
                  <a:pt x="464" y="471"/>
                  <a:pt x="464" y="471"/>
                  <a:pt x="464" y="471"/>
                </a:cubicBezTo>
                <a:cubicBezTo>
                  <a:pt x="464" y="470"/>
                  <a:pt x="464" y="470"/>
                  <a:pt x="464" y="470"/>
                </a:cubicBezTo>
                <a:cubicBezTo>
                  <a:pt x="465" y="469"/>
                  <a:pt x="465" y="469"/>
                  <a:pt x="465" y="469"/>
                </a:cubicBezTo>
                <a:cubicBezTo>
                  <a:pt x="466" y="468"/>
                  <a:pt x="466" y="468"/>
                  <a:pt x="466" y="468"/>
                </a:cubicBezTo>
                <a:cubicBezTo>
                  <a:pt x="465" y="466"/>
                  <a:pt x="465" y="466"/>
                  <a:pt x="465" y="466"/>
                </a:cubicBezTo>
                <a:cubicBezTo>
                  <a:pt x="465" y="465"/>
                  <a:pt x="465" y="465"/>
                  <a:pt x="465" y="465"/>
                </a:cubicBezTo>
                <a:cubicBezTo>
                  <a:pt x="465" y="465"/>
                  <a:pt x="465" y="465"/>
                  <a:pt x="465" y="465"/>
                </a:cubicBezTo>
                <a:cubicBezTo>
                  <a:pt x="465" y="466"/>
                  <a:pt x="465" y="466"/>
                  <a:pt x="465" y="466"/>
                </a:cubicBezTo>
                <a:cubicBezTo>
                  <a:pt x="465" y="467"/>
                  <a:pt x="465" y="467"/>
                  <a:pt x="465" y="467"/>
                </a:cubicBezTo>
                <a:cubicBezTo>
                  <a:pt x="464" y="467"/>
                  <a:pt x="464" y="467"/>
                  <a:pt x="464" y="467"/>
                </a:cubicBezTo>
                <a:cubicBezTo>
                  <a:pt x="463" y="468"/>
                  <a:pt x="463" y="468"/>
                  <a:pt x="463" y="468"/>
                </a:cubicBezTo>
                <a:cubicBezTo>
                  <a:pt x="462" y="468"/>
                  <a:pt x="462" y="468"/>
                  <a:pt x="462" y="468"/>
                </a:cubicBezTo>
                <a:cubicBezTo>
                  <a:pt x="462" y="467"/>
                  <a:pt x="462" y="467"/>
                  <a:pt x="462" y="467"/>
                </a:cubicBezTo>
                <a:cubicBezTo>
                  <a:pt x="462" y="467"/>
                  <a:pt x="462" y="467"/>
                  <a:pt x="462" y="467"/>
                </a:cubicBezTo>
                <a:cubicBezTo>
                  <a:pt x="462" y="466"/>
                  <a:pt x="462" y="466"/>
                  <a:pt x="462" y="466"/>
                </a:cubicBezTo>
                <a:cubicBezTo>
                  <a:pt x="463" y="465"/>
                  <a:pt x="463" y="465"/>
                  <a:pt x="463" y="465"/>
                </a:cubicBezTo>
                <a:cubicBezTo>
                  <a:pt x="464" y="464"/>
                  <a:pt x="464" y="464"/>
                  <a:pt x="464" y="464"/>
                </a:cubicBezTo>
                <a:cubicBezTo>
                  <a:pt x="464" y="464"/>
                  <a:pt x="464" y="464"/>
                  <a:pt x="464" y="464"/>
                </a:cubicBezTo>
                <a:cubicBezTo>
                  <a:pt x="465" y="464"/>
                  <a:pt x="465" y="464"/>
                  <a:pt x="465" y="464"/>
                </a:cubicBezTo>
                <a:cubicBezTo>
                  <a:pt x="465" y="463"/>
                  <a:pt x="465" y="463"/>
                  <a:pt x="465" y="463"/>
                </a:cubicBezTo>
                <a:cubicBezTo>
                  <a:pt x="465" y="463"/>
                  <a:pt x="465" y="463"/>
                  <a:pt x="465" y="463"/>
                </a:cubicBezTo>
                <a:cubicBezTo>
                  <a:pt x="464" y="463"/>
                  <a:pt x="464" y="463"/>
                  <a:pt x="464" y="463"/>
                </a:cubicBezTo>
                <a:cubicBezTo>
                  <a:pt x="464" y="463"/>
                  <a:pt x="464" y="463"/>
                  <a:pt x="464" y="463"/>
                </a:cubicBezTo>
                <a:cubicBezTo>
                  <a:pt x="463" y="464"/>
                  <a:pt x="463" y="464"/>
                  <a:pt x="463" y="464"/>
                </a:cubicBezTo>
                <a:cubicBezTo>
                  <a:pt x="463" y="464"/>
                  <a:pt x="463" y="464"/>
                  <a:pt x="463" y="464"/>
                </a:cubicBezTo>
                <a:cubicBezTo>
                  <a:pt x="462" y="464"/>
                  <a:pt x="462" y="464"/>
                  <a:pt x="462" y="464"/>
                </a:cubicBezTo>
                <a:cubicBezTo>
                  <a:pt x="462" y="465"/>
                  <a:pt x="462" y="465"/>
                  <a:pt x="462" y="465"/>
                </a:cubicBezTo>
                <a:cubicBezTo>
                  <a:pt x="460" y="466"/>
                  <a:pt x="460" y="466"/>
                  <a:pt x="460" y="466"/>
                </a:cubicBezTo>
                <a:cubicBezTo>
                  <a:pt x="460" y="467"/>
                  <a:pt x="460" y="467"/>
                  <a:pt x="460" y="467"/>
                </a:cubicBezTo>
                <a:cubicBezTo>
                  <a:pt x="460" y="467"/>
                  <a:pt x="460" y="467"/>
                  <a:pt x="460" y="467"/>
                </a:cubicBezTo>
                <a:cubicBezTo>
                  <a:pt x="459" y="466"/>
                  <a:pt x="459" y="466"/>
                  <a:pt x="459" y="466"/>
                </a:cubicBezTo>
                <a:cubicBezTo>
                  <a:pt x="459" y="466"/>
                  <a:pt x="459" y="466"/>
                  <a:pt x="459" y="466"/>
                </a:cubicBezTo>
                <a:cubicBezTo>
                  <a:pt x="458" y="465"/>
                  <a:pt x="458" y="465"/>
                  <a:pt x="458" y="465"/>
                </a:cubicBezTo>
                <a:cubicBezTo>
                  <a:pt x="458" y="464"/>
                  <a:pt x="458" y="464"/>
                  <a:pt x="458" y="464"/>
                </a:cubicBezTo>
                <a:cubicBezTo>
                  <a:pt x="459" y="465"/>
                  <a:pt x="459" y="465"/>
                  <a:pt x="459" y="465"/>
                </a:cubicBezTo>
                <a:cubicBezTo>
                  <a:pt x="459" y="465"/>
                  <a:pt x="459" y="465"/>
                  <a:pt x="459" y="465"/>
                </a:cubicBezTo>
                <a:cubicBezTo>
                  <a:pt x="460" y="464"/>
                  <a:pt x="460" y="464"/>
                  <a:pt x="460" y="464"/>
                </a:cubicBezTo>
                <a:cubicBezTo>
                  <a:pt x="459" y="464"/>
                  <a:pt x="459" y="464"/>
                  <a:pt x="459" y="464"/>
                </a:cubicBezTo>
                <a:cubicBezTo>
                  <a:pt x="458" y="463"/>
                  <a:pt x="458" y="463"/>
                  <a:pt x="458" y="463"/>
                </a:cubicBezTo>
                <a:cubicBezTo>
                  <a:pt x="459" y="463"/>
                  <a:pt x="459" y="463"/>
                  <a:pt x="459" y="463"/>
                </a:cubicBezTo>
                <a:cubicBezTo>
                  <a:pt x="460" y="463"/>
                  <a:pt x="460" y="463"/>
                  <a:pt x="460" y="463"/>
                </a:cubicBezTo>
                <a:cubicBezTo>
                  <a:pt x="459" y="463"/>
                  <a:pt x="459" y="463"/>
                  <a:pt x="459" y="463"/>
                </a:cubicBezTo>
                <a:cubicBezTo>
                  <a:pt x="459" y="463"/>
                  <a:pt x="459" y="463"/>
                  <a:pt x="459" y="463"/>
                </a:cubicBezTo>
                <a:cubicBezTo>
                  <a:pt x="459" y="462"/>
                  <a:pt x="459" y="462"/>
                  <a:pt x="459" y="462"/>
                </a:cubicBezTo>
                <a:cubicBezTo>
                  <a:pt x="459" y="462"/>
                  <a:pt x="459" y="462"/>
                  <a:pt x="459" y="462"/>
                </a:cubicBezTo>
                <a:cubicBezTo>
                  <a:pt x="460" y="462"/>
                  <a:pt x="460" y="462"/>
                  <a:pt x="460" y="462"/>
                </a:cubicBezTo>
                <a:cubicBezTo>
                  <a:pt x="460" y="462"/>
                  <a:pt x="460" y="462"/>
                  <a:pt x="460" y="462"/>
                </a:cubicBezTo>
                <a:cubicBezTo>
                  <a:pt x="461" y="461"/>
                  <a:pt x="461" y="461"/>
                  <a:pt x="461" y="461"/>
                </a:cubicBezTo>
                <a:cubicBezTo>
                  <a:pt x="462" y="460"/>
                  <a:pt x="462" y="460"/>
                  <a:pt x="462" y="460"/>
                </a:cubicBezTo>
                <a:cubicBezTo>
                  <a:pt x="463" y="460"/>
                  <a:pt x="463" y="460"/>
                  <a:pt x="463" y="460"/>
                </a:cubicBezTo>
                <a:cubicBezTo>
                  <a:pt x="463" y="460"/>
                  <a:pt x="463" y="460"/>
                  <a:pt x="463" y="460"/>
                </a:cubicBezTo>
                <a:cubicBezTo>
                  <a:pt x="464" y="459"/>
                  <a:pt x="464" y="459"/>
                  <a:pt x="464" y="459"/>
                </a:cubicBezTo>
                <a:cubicBezTo>
                  <a:pt x="464" y="459"/>
                  <a:pt x="464" y="459"/>
                  <a:pt x="464" y="459"/>
                </a:cubicBezTo>
                <a:cubicBezTo>
                  <a:pt x="464" y="458"/>
                  <a:pt x="464" y="458"/>
                  <a:pt x="464" y="458"/>
                </a:cubicBezTo>
                <a:cubicBezTo>
                  <a:pt x="464" y="457"/>
                  <a:pt x="464" y="457"/>
                  <a:pt x="464" y="457"/>
                </a:cubicBezTo>
                <a:cubicBezTo>
                  <a:pt x="463" y="458"/>
                  <a:pt x="463" y="458"/>
                  <a:pt x="463" y="458"/>
                </a:cubicBezTo>
                <a:cubicBezTo>
                  <a:pt x="463" y="458"/>
                  <a:pt x="463" y="458"/>
                  <a:pt x="463" y="458"/>
                </a:cubicBezTo>
                <a:cubicBezTo>
                  <a:pt x="462" y="458"/>
                  <a:pt x="462" y="458"/>
                  <a:pt x="462" y="458"/>
                </a:cubicBezTo>
                <a:cubicBezTo>
                  <a:pt x="462" y="458"/>
                  <a:pt x="462" y="458"/>
                  <a:pt x="462" y="458"/>
                </a:cubicBezTo>
                <a:cubicBezTo>
                  <a:pt x="462" y="458"/>
                  <a:pt x="462" y="458"/>
                  <a:pt x="462" y="458"/>
                </a:cubicBezTo>
                <a:cubicBezTo>
                  <a:pt x="462" y="459"/>
                  <a:pt x="462" y="459"/>
                  <a:pt x="462" y="459"/>
                </a:cubicBezTo>
                <a:cubicBezTo>
                  <a:pt x="461" y="459"/>
                  <a:pt x="461" y="459"/>
                  <a:pt x="461" y="459"/>
                </a:cubicBezTo>
                <a:cubicBezTo>
                  <a:pt x="461" y="459"/>
                  <a:pt x="461" y="459"/>
                  <a:pt x="461" y="459"/>
                </a:cubicBezTo>
                <a:cubicBezTo>
                  <a:pt x="460" y="460"/>
                  <a:pt x="460" y="460"/>
                  <a:pt x="460" y="460"/>
                </a:cubicBezTo>
                <a:cubicBezTo>
                  <a:pt x="459" y="460"/>
                  <a:pt x="459" y="460"/>
                  <a:pt x="459" y="460"/>
                </a:cubicBezTo>
                <a:cubicBezTo>
                  <a:pt x="459" y="461"/>
                  <a:pt x="459" y="461"/>
                  <a:pt x="459" y="461"/>
                </a:cubicBezTo>
                <a:cubicBezTo>
                  <a:pt x="459" y="461"/>
                  <a:pt x="459" y="461"/>
                  <a:pt x="459" y="461"/>
                </a:cubicBezTo>
                <a:cubicBezTo>
                  <a:pt x="459" y="461"/>
                  <a:pt x="459" y="461"/>
                  <a:pt x="459" y="461"/>
                </a:cubicBezTo>
                <a:cubicBezTo>
                  <a:pt x="459" y="460"/>
                  <a:pt x="459" y="460"/>
                  <a:pt x="459" y="460"/>
                </a:cubicBezTo>
                <a:cubicBezTo>
                  <a:pt x="459" y="460"/>
                  <a:pt x="459" y="460"/>
                  <a:pt x="459" y="460"/>
                </a:cubicBezTo>
                <a:cubicBezTo>
                  <a:pt x="458" y="460"/>
                  <a:pt x="458" y="460"/>
                  <a:pt x="458" y="460"/>
                </a:cubicBezTo>
                <a:cubicBezTo>
                  <a:pt x="459" y="460"/>
                  <a:pt x="459" y="460"/>
                  <a:pt x="459" y="460"/>
                </a:cubicBezTo>
                <a:cubicBezTo>
                  <a:pt x="459" y="459"/>
                  <a:pt x="459" y="459"/>
                  <a:pt x="459" y="459"/>
                </a:cubicBezTo>
                <a:cubicBezTo>
                  <a:pt x="460" y="459"/>
                  <a:pt x="460" y="459"/>
                  <a:pt x="460" y="459"/>
                </a:cubicBezTo>
                <a:cubicBezTo>
                  <a:pt x="459" y="459"/>
                  <a:pt x="459" y="459"/>
                  <a:pt x="459" y="459"/>
                </a:cubicBezTo>
                <a:cubicBezTo>
                  <a:pt x="460" y="458"/>
                  <a:pt x="460" y="458"/>
                  <a:pt x="460" y="458"/>
                </a:cubicBezTo>
                <a:cubicBezTo>
                  <a:pt x="460" y="457"/>
                  <a:pt x="460" y="457"/>
                  <a:pt x="460" y="457"/>
                </a:cubicBezTo>
                <a:cubicBezTo>
                  <a:pt x="460" y="457"/>
                  <a:pt x="460" y="457"/>
                  <a:pt x="460" y="457"/>
                </a:cubicBezTo>
                <a:cubicBezTo>
                  <a:pt x="459" y="458"/>
                  <a:pt x="459" y="458"/>
                  <a:pt x="459" y="458"/>
                </a:cubicBezTo>
                <a:cubicBezTo>
                  <a:pt x="459" y="457"/>
                  <a:pt x="459" y="457"/>
                  <a:pt x="459" y="457"/>
                </a:cubicBezTo>
                <a:cubicBezTo>
                  <a:pt x="459" y="456"/>
                  <a:pt x="459" y="456"/>
                  <a:pt x="459" y="456"/>
                </a:cubicBezTo>
                <a:cubicBezTo>
                  <a:pt x="459" y="456"/>
                  <a:pt x="459" y="456"/>
                  <a:pt x="459" y="456"/>
                </a:cubicBezTo>
                <a:cubicBezTo>
                  <a:pt x="458" y="456"/>
                  <a:pt x="458" y="456"/>
                  <a:pt x="458" y="456"/>
                </a:cubicBezTo>
                <a:cubicBezTo>
                  <a:pt x="457" y="456"/>
                  <a:pt x="457" y="456"/>
                  <a:pt x="457" y="456"/>
                </a:cubicBezTo>
                <a:cubicBezTo>
                  <a:pt x="458" y="456"/>
                  <a:pt x="458" y="456"/>
                  <a:pt x="458" y="456"/>
                </a:cubicBezTo>
                <a:cubicBezTo>
                  <a:pt x="459" y="456"/>
                  <a:pt x="459" y="456"/>
                  <a:pt x="459" y="456"/>
                </a:cubicBezTo>
                <a:cubicBezTo>
                  <a:pt x="460" y="456"/>
                  <a:pt x="460" y="456"/>
                  <a:pt x="460" y="456"/>
                </a:cubicBezTo>
                <a:cubicBezTo>
                  <a:pt x="460" y="455"/>
                  <a:pt x="460" y="455"/>
                  <a:pt x="460" y="455"/>
                </a:cubicBezTo>
                <a:cubicBezTo>
                  <a:pt x="461" y="455"/>
                  <a:pt x="461" y="455"/>
                  <a:pt x="461" y="455"/>
                </a:cubicBezTo>
                <a:cubicBezTo>
                  <a:pt x="461" y="455"/>
                  <a:pt x="461" y="455"/>
                  <a:pt x="461" y="455"/>
                </a:cubicBezTo>
                <a:cubicBezTo>
                  <a:pt x="462" y="454"/>
                  <a:pt x="462" y="454"/>
                  <a:pt x="462" y="454"/>
                </a:cubicBezTo>
                <a:cubicBezTo>
                  <a:pt x="462" y="454"/>
                  <a:pt x="462" y="454"/>
                  <a:pt x="462" y="454"/>
                </a:cubicBezTo>
                <a:cubicBezTo>
                  <a:pt x="463" y="453"/>
                  <a:pt x="463" y="453"/>
                  <a:pt x="463" y="453"/>
                </a:cubicBezTo>
                <a:cubicBezTo>
                  <a:pt x="463" y="452"/>
                  <a:pt x="463" y="452"/>
                  <a:pt x="463" y="452"/>
                </a:cubicBezTo>
                <a:cubicBezTo>
                  <a:pt x="462" y="452"/>
                  <a:pt x="462" y="452"/>
                  <a:pt x="462" y="452"/>
                </a:cubicBezTo>
                <a:cubicBezTo>
                  <a:pt x="461" y="451"/>
                  <a:pt x="461" y="451"/>
                  <a:pt x="461" y="451"/>
                </a:cubicBezTo>
                <a:cubicBezTo>
                  <a:pt x="460" y="451"/>
                  <a:pt x="460" y="451"/>
                  <a:pt x="460" y="451"/>
                </a:cubicBezTo>
                <a:cubicBezTo>
                  <a:pt x="459" y="451"/>
                  <a:pt x="459" y="451"/>
                  <a:pt x="459" y="451"/>
                </a:cubicBezTo>
                <a:cubicBezTo>
                  <a:pt x="458" y="451"/>
                  <a:pt x="458" y="451"/>
                  <a:pt x="458" y="451"/>
                </a:cubicBezTo>
                <a:cubicBezTo>
                  <a:pt x="458" y="452"/>
                  <a:pt x="458" y="452"/>
                  <a:pt x="458" y="452"/>
                </a:cubicBezTo>
                <a:cubicBezTo>
                  <a:pt x="458" y="453"/>
                  <a:pt x="458" y="453"/>
                  <a:pt x="458" y="453"/>
                </a:cubicBezTo>
                <a:cubicBezTo>
                  <a:pt x="458" y="454"/>
                  <a:pt x="458" y="454"/>
                  <a:pt x="458" y="454"/>
                </a:cubicBezTo>
                <a:cubicBezTo>
                  <a:pt x="457" y="454"/>
                  <a:pt x="457" y="454"/>
                  <a:pt x="457" y="454"/>
                </a:cubicBezTo>
                <a:cubicBezTo>
                  <a:pt x="457" y="454"/>
                  <a:pt x="457" y="454"/>
                  <a:pt x="457" y="454"/>
                </a:cubicBezTo>
                <a:cubicBezTo>
                  <a:pt x="458" y="453"/>
                  <a:pt x="458" y="453"/>
                  <a:pt x="458" y="453"/>
                </a:cubicBezTo>
                <a:cubicBezTo>
                  <a:pt x="457" y="452"/>
                  <a:pt x="457" y="452"/>
                  <a:pt x="457" y="452"/>
                </a:cubicBezTo>
                <a:cubicBezTo>
                  <a:pt x="458" y="452"/>
                  <a:pt x="458" y="452"/>
                  <a:pt x="458" y="452"/>
                </a:cubicBezTo>
                <a:cubicBezTo>
                  <a:pt x="458" y="451"/>
                  <a:pt x="458" y="451"/>
                  <a:pt x="458" y="451"/>
                </a:cubicBezTo>
                <a:cubicBezTo>
                  <a:pt x="458" y="451"/>
                  <a:pt x="458" y="451"/>
                  <a:pt x="458" y="451"/>
                </a:cubicBezTo>
                <a:cubicBezTo>
                  <a:pt x="457" y="451"/>
                  <a:pt x="457" y="451"/>
                  <a:pt x="457" y="451"/>
                </a:cubicBezTo>
                <a:cubicBezTo>
                  <a:pt x="456" y="452"/>
                  <a:pt x="456" y="452"/>
                  <a:pt x="456" y="452"/>
                </a:cubicBezTo>
                <a:cubicBezTo>
                  <a:pt x="456" y="452"/>
                  <a:pt x="456" y="452"/>
                  <a:pt x="456" y="452"/>
                </a:cubicBezTo>
                <a:cubicBezTo>
                  <a:pt x="455" y="452"/>
                  <a:pt x="455" y="452"/>
                  <a:pt x="455" y="452"/>
                </a:cubicBezTo>
                <a:cubicBezTo>
                  <a:pt x="455" y="452"/>
                  <a:pt x="455" y="452"/>
                  <a:pt x="455" y="452"/>
                </a:cubicBezTo>
                <a:cubicBezTo>
                  <a:pt x="454" y="453"/>
                  <a:pt x="454" y="453"/>
                  <a:pt x="454" y="453"/>
                </a:cubicBezTo>
                <a:cubicBezTo>
                  <a:pt x="454" y="452"/>
                  <a:pt x="454" y="452"/>
                  <a:pt x="454" y="452"/>
                </a:cubicBezTo>
                <a:cubicBezTo>
                  <a:pt x="453" y="453"/>
                  <a:pt x="453" y="453"/>
                  <a:pt x="453" y="453"/>
                </a:cubicBezTo>
                <a:cubicBezTo>
                  <a:pt x="453" y="454"/>
                  <a:pt x="453" y="454"/>
                  <a:pt x="453" y="454"/>
                </a:cubicBezTo>
                <a:cubicBezTo>
                  <a:pt x="452" y="455"/>
                  <a:pt x="452" y="455"/>
                  <a:pt x="452" y="455"/>
                </a:cubicBezTo>
                <a:cubicBezTo>
                  <a:pt x="453" y="454"/>
                  <a:pt x="453" y="454"/>
                  <a:pt x="453" y="454"/>
                </a:cubicBezTo>
                <a:cubicBezTo>
                  <a:pt x="453" y="452"/>
                  <a:pt x="453" y="452"/>
                  <a:pt x="453" y="452"/>
                </a:cubicBezTo>
                <a:cubicBezTo>
                  <a:pt x="454" y="451"/>
                  <a:pt x="454" y="451"/>
                  <a:pt x="454" y="451"/>
                </a:cubicBezTo>
                <a:cubicBezTo>
                  <a:pt x="453" y="451"/>
                  <a:pt x="453" y="451"/>
                  <a:pt x="453" y="451"/>
                </a:cubicBezTo>
                <a:cubicBezTo>
                  <a:pt x="453" y="451"/>
                  <a:pt x="453" y="451"/>
                  <a:pt x="453" y="451"/>
                </a:cubicBezTo>
                <a:cubicBezTo>
                  <a:pt x="452" y="452"/>
                  <a:pt x="452" y="452"/>
                  <a:pt x="452" y="452"/>
                </a:cubicBezTo>
                <a:cubicBezTo>
                  <a:pt x="452" y="453"/>
                  <a:pt x="452" y="453"/>
                  <a:pt x="452" y="453"/>
                </a:cubicBezTo>
                <a:cubicBezTo>
                  <a:pt x="451" y="452"/>
                  <a:pt x="451" y="452"/>
                  <a:pt x="451" y="452"/>
                </a:cubicBezTo>
                <a:cubicBezTo>
                  <a:pt x="452" y="452"/>
                  <a:pt x="452" y="452"/>
                  <a:pt x="452" y="452"/>
                </a:cubicBezTo>
                <a:cubicBezTo>
                  <a:pt x="452" y="451"/>
                  <a:pt x="452" y="451"/>
                  <a:pt x="452" y="451"/>
                </a:cubicBezTo>
                <a:cubicBezTo>
                  <a:pt x="452" y="451"/>
                  <a:pt x="452" y="451"/>
                  <a:pt x="452" y="451"/>
                </a:cubicBezTo>
                <a:cubicBezTo>
                  <a:pt x="451" y="451"/>
                  <a:pt x="451" y="451"/>
                  <a:pt x="451" y="451"/>
                </a:cubicBezTo>
                <a:cubicBezTo>
                  <a:pt x="450" y="452"/>
                  <a:pt x="450" y="452"/>
                  <a:pt x="450" y="452"/>
                </a:cubicBezTo>
                <a:cubicBezTo>
                  <a:pt x="450" y="452"/>
                  <a:pt x="450" y="452"/>
                  <a:pt x="450" y="452"/>
                </a:cubicBezTo>
                <a:cubicBezTo>
                  <a:pt x="449" y="451"/>
                  <a:pt x="449" y="451"/>
                  <a:pt x="449" y="451"/>
                </a:cubicBezTo>
                <a:cubicBezTo>
                  <a:pt x="449" y="451"/>
                  <a:pt x="449" y="451"/>
                  <a:pt x="449" y="451"/>
                </a:cubicBezTo>
                <a:cubicBezTo>
                  <a:pt x="448" y="452"/>
                  <a:pt x="448" y="452"/>
                  <a:pt x="448" y="452"/>
                </a:cubicBezTo>
                <a:cubicBezTo>
                  <a:pt x="448" y="452"/>
                  <a:pt x="448" y="452"/>
                  <a:pt x="448" y="452"/>
                </a:cubicBezTo>
                <a:cubicBezTo>
                  <a:pt x="448" y="451"/>
                  <a:pt x="448" y="451"/>
                  <a:pt x="448" y="451"/>
                </a:cubicBezTo>
                <a:cubicBezTo>
                  <a:pt x="449" y="451"/>
                  <a:pt x="449" y="451"/>
                  <a:pt x="449" y="451"/>
                </a:cubicBezTo>
                <a:cubicBezTo>
                  <a:pt x="449" y="450"/>
                  <a:pt x="449" y="450"/>
                  <a:pt x="449" y="450"/>
                </a:cubicBezTo>
                <a:cubicBezTo>
                  <a:pt x="449" y="449"/>
                  <a:pt x="449" y="449"/>
                  <a:pt x="449" y="449"/>
                </a:cubicBezTo>
                <a:cubicBezTo>
                  <a:pt x="449" y="449"/>
                  <a:pt x="449" y="449"/>
                  <a:pt x="449" y="449"/>
                </a:cubicBezTo>
                <a:cubicBezTo>
                  <a:pt x="449" y="449"/>
                  <a:pt x="449" y="449"/>
                  <a:pt x="449" y="449"/>
                </a:cubicBezTo>
                <a:cubicBezTo>
                  <a:pt x="448" y="450"/>
                  <a:pt x="448" y="450"/>
                  <a:pt x="448" y="450"/>
                </a:cubicBezTo>
                <a:cubicBezTo>
                  <a:pt x="448" y="449"/>
                  <a:pt x="448" y="449"/>
                  <a:pt x="448" y="449"/>
                </a:cubicBezTo>
                <a:cubicBezTo>
                  <a:pt x="449" y="448"/>
                  <a:pt x="449" y="448"/>
                  <a:pt x="449" y="448"/>
                </a:cubicBezTo>
                <a:cubicBezTo>
                  <a:pt x="450" y="448"/>
                  <a:pt x="450" y="448"/>
                  <a:pt x="450" y="448"/>
                </a:cubicBezTo>
                <a:cubicBezTo>
                  <a:pt x="451" y="448"/>
                  <a:pt x="451" y="448"/>
                  <a:pt x="451" y="448"/>
                </a:cubicBezTo>
                <a:cubicBezTo>
                  <a:pt x="452" y="447"/>
                  <a:pt x="452" y="447"/>
                  <a:pt x="452" y="447"/>
                </a:cubicBezTo>
                <a:cubicBezTo>
                  <a:pt x="452" y="447"/>
                  <a:pt x="452" y="447"/>
                  <a:pt x="452" y="447"/>
                </a:cubicBezTo>
                <a:cubicBezTo>
                  <a:pt x="452" y="446"/>
                  <a:pt x="452" y="446"/>
                  <a:pt x="452" y="446"/>
                </a:cubicBezTo>
                <a:cubicBezTo>
                  <a:pt x="452" y="446"/>
                  <a:pt x="452" y="446"/>
                  <a:pt x="452" y="446"/>
                </a:cubicBezTo>
                <a:cubicBezTo>
                  <a:pt x="451" y="447"/>
                  <a:pt x="451" y="447"/>
                  <a:pt x="451" y="447"/>
                </a:cubicBezTo>
                <a:cubicBezTo>
                  <a:pt x="450" y="447"/>
                  <a:pt x="450" y="447"/>
                  <a:pt x="450" y="447"/>
                </a:cubicBezTo>
                <a:cubicBezTo>
                  <a:pt x="449" y="446"/>
                  <a:pt x="449" y="446"/>
                  <a:pt x="449" y="446"/>
                </a:cubicBezTo>
                <a:cubicBezTo>
                  <a:pt x="449" y="446"/>
                  <a:pt x="449" y="446"/>
                  <a:pt x="449" y="446"/>
                </a:cubicBezTo>
                <a:cubicBezTo>
                  <a:pt x="448" y="446"/>
                  <a:pt x="448" y="446"/>
                  <a:pt x="448" y="446"/>
                </a:cubicBezTo>
                <a:cubicBezTo>
                  <a:pt x="449" y="445"/>
                  <a:pt x="449" y="445"/>
                  <a:pt x="449" y="445"/>
                </a:cubicBezTo>
                <a:cubicBezTo>
                  <a:pt x="449" y="445"/>
                  <a:pt x="449" y="445"/>
                  <a:pt x="449" y="445"/>
                </a:cubicBezTo>
                <a:cubicBezTo>
                  <a:pt x="449" y="445"/>
                  <a:pt x="449" y="445"/>
                  <a:pt x="449" y="445"/>
                </a:cubicBezTo>
                <a:cubicBezTo>
                  <a:pt x="448" y="445"/>
                  <a:pt x="448" y="445"/>
                  <a:pt x="448" y="445"/>
                </a:cubicBezTo>
                <a:cubicBezTo>
                  <a:pt x="447" y="445"/>
                  <a:pt x="447" y="445"/>
                  <a:pt x="447" y="445"/>
                </a:cubicBezTo>
                <a:cubicBezTo>
                  <a:pt x="447" y="446"/>
                  <a:pt x="447" y="446"/>
                  <a:pt x="447" y="446"/>
                </a:cubicBezTo>
                <a:cubicBezTo>
                  <a:pt x="446" y="447"/>
                  <a:pt x="446" y="447"/>
                  <a:pt x="446" y="447"/>
                </a:cubicBezTo>
                <a:cubicBezTo>
                  <a:pt x="446" y="447"/>
                  <a:pt x="446" y="447"/>
                  <a:pt x="446" y="447"/>
                </a:cubicBezTo>
                <a:cubicBezTo>
                  <a:pt x="445" y="448"/>
                  <a:pt x="445" y="448"/>
                  <a:pt x="445" y="448"/>
                </a:cubicBezTo>
                <a:cubicBezTo>
                  <a:pt x="444" y="449"/>
                  <a:pt x="444" y="449"/>
                  <a:pt x="444" y="449"/>
                </a:cubicBezTo>
                <a:cubicBezTo>
                  <a:pt x="444" y="449"/>
                  <a:pt x="444" y="449"/>
                  <a:pt x="444" y="449"/>
                </a:cubicBezTo>
                <a:cubicBezTo>
                  <a:pt x="444" y="448"/>
                  <a:pt x="444" y="448"/>
                  <a:pt x="444" y="448"/>
                </a:cubicBezTo>
                <a:cubicBezTo>
                  <a:pt x="444" y="448"/>
                  <a:pt x="444" y="448"/>
                  <a:pt x="444" y="448"/>
                </a:cubicBezTo>
                <a:cubicBezTo>
                  <a:pt x="445" y="447"/>
                  <a:pt x="445" y="447"/>
                  <a:pt x="445" y="447"/>
                </a:cubicBezTo>
                <a:cubicBezTo>
                  <a:pt x="445" y="446"/>
                  <a:pt x="445" y="446"/>
                  <a:pt x="445" y="446"/>
                </a:cubicBezTo>
                <a:cubicBezTo>
                  <a:pt x="445" y="445"/>
                  <a:pt x="445" y="445"/>
                  <a:pt x="445" y="445"/>
                </a:cubicBezTo>
                <a:cubicBezTo>
                  <a:pt x="446" y="444"/>
                  <a:pt x="446" y="444"/>
                  <a:pt x="446" y="444"/>
                </a:cubicBezTo>
                <a:cubicBezTo>
                  <a:pt x="446" y="444"/>
                  <a:pt x="446" y="444"/>
                  <a:pt x="446" y="444"/>
                </a:cubicBezTo>
                <a:cubicBezTo>
                  <a:pt x="447" y="443"/>
                  <a:pt x="447" y="443"/>
                  <a:pt x="447" y="443"/>
                </a:cubicBezTo>
                <a:cubicBezTo>
                  <a:pt x="447" y="443"/>
                  <a:pt x="447" y="443"/>
                  <a:pt x="447" y="443"/>
                </a:cubicBezTo>
                <a:cubicBezTo>
                  <a:pt x="447" y="442"/>
                  <a:pt x="447" y="442"/>
                  <a:pt x="447" y="442"/>
                </a:cubicBezTo>
                <a:cubicBezTo>
                  <a:pt x="448" y="441"/>
                  <a:pt x="448" y="441"/>
                  <a:pt x="448" y="441"/>
                </a:cubicBezTo>
                <a:cubicBezTo>
                  <a:pt x="449" y="441"/>
                  <a:pt x="449" y="441"/>
                  <a:pt x="449" y="441"/>
                </a:cubicBezTo>
                <a:cubicBezTo>
                  <a:pt x="449" y="440"/>
                  <a:pt x="449" y="440"/>
                  <a:pt x="449" y="440"/>
                </a:cubicBezTo>
                <a:cubicBezTo>
                  <a:pt x="449" y="440"/>
                  <a:pt x="449" y="440"/>
                  <a:pt x="449" y="440"/>
                </a:cubicBezTo>
                <a:cubicBezTo>
                  <a:pt x="449" y="439"/>
                  <a:pt x="449" y="439"/>
                  <a:pt x="449" y="439"/>
                </a:cubicBezTo>
                <a:cubicBezTo>
                  <a:pt x="450" y="439"/>
                  <a:pt x="450" y="439"/>
                  <a:pt x="450" y="439"/>
                </a:cubicBezTo>
                <a:cubicBezTo>
                  <a:pt x="450" y="438"/>
                  <a:pt x="450" y="438"/>
                  <a:pt x="450" y="438"/>
                </a:cubicBezTo>
                <a:cubicBezTo>
                  <a:pt x="450" y="439"/>
                  <a:pt x="450" y="439"/>
                  <a:pt x="450" y="439"/>
                </a:cubicBezTo>
                <a:cubicBezTo>
                  <a:pt x="450" y="439"/>
                  <a:pt x="450" y="439"/>
                  <a:pt x="450" y="439"/>
                </a:cubicBezTo>
                <a:cubicBezTo>
                  <a:pt x="450" y="440"/>
                  <a:pt x="450" y="440"/>
                  <a:pt x="450" y="440"/>
                </a:cubicBezTo>
                <a:cubicBezTo>
                  <a:pt x="451" y="439"/>
                  <a:pt x="451" y="439"/>
                  <a:pt x="451" y="439"/>
                </a:cubicBezTo>
                <a:cubicBezTo>
                  <a:pt x="452" y="437"/>
                  <a:pt x="452" y="437"/>
                  <a:pt x="452" y="437"/>
                </a:cubicBezTo>
                <a:cubicBezTo>
                  <a:pt x="452" y="437"/>
                  <a:pt x="452" y="437"/>
                  <a:pt x="452" y="437"/>
                </a:cubicBezTo>
                <a:cubicBezTo>
                  <a:pt x="452" y="436"/>
                  <a:pt x="452" y="436"/>
                  <a:pt x="452" y="436"/>
                </a:cubicBezTo>
                <a:cubicBezTo>
                  <a:pt x="452" y="436"/>
                  <a:pt x="452" y="436"/>
                  <a:pt x="452" y="436"/>
                </a:cubicBezTo>
                <a:cubicBezTo>
                  <a:pt x="451" y="437"/>
                  <a:pt x="451" y="437"/>
                  <a:pt x="451" y="437"/>
                </a:cubicBezTo>
                <a:cubicBezTo>
                  <a:pt x="451" y="436"/>
                  <a:pt x="451" y="436"/>
                  <a:pt x="451" y="436"/>
                </a:cubicBezTo>
                <a:cubicBezTo>
                  <a:pt x="450" y="435"/>
                  <a:pt x="450" y="435"/>
                  <a:pt x="450" y="435"/>
                </a:cubicBezTo>
                <a:cubicBezTo>
                  <a:pt x="451" y="435"/>
                  <a:pt x="451" y="435"/>
                  <a:pt x="451" y="435"/>
                </a:cubicBezTo>
                <a:cubicBezTo>
                  <a:pt x="451" y="435"/>
                  <a:pt x="451" y="435"/>
                  <a:pt x="451" y="435"/>
                </a:cubicBezTo>
                <a:cubicBezTo>
                  <a:pt x="452" y="435"/>
                  <a:pt x="452" y="435"/>
                  <a:pt x="452" y="435"/>
                </a:cubicBezTo>
                <a:cubicBezTo>
                  <a:pt x="453" y="435"/>
                  <a:pt x="453" y="435"/>
                  <a:pt x="453" y="435"/>
                </a:cubicBezTo>
                <a:cubicBezTo>
                  <a:pt x="454" y="435"/>
                  <a:pt x="454" y="435"/>
                  <a:pt x="454" y="435"/>
                </a:cubicBezTo>
                <a:cubicBezTo>
                  <a:pt x="454" y="434"/>
                  <a:pt x="454" y="434"/>
                  <a:pt x="454" y="434"/>
                </a:cubicBezTo>
                <a:cubicBezTo>
                  <a:pt x="454" y="433"/>
                  <a:pt x="454" y="433"/>
                  <a:pt x="454" y="433"/>
                </a:cubicBezTo>
                <a:cubicBezTo>
                  <a:pt x="453" y="433"/>
                  <a:pt x="453" y="433"/>
                  <a:pt x="453" y="433"/>
                </a:cubicBezTo>
                <a:cubicBezTo>
                  <a:pt x="453" y="433"/>
                  <a:pt x="453" y="433"/>
                  <a:pt x="453" y="433"/>
                </a:cubicBezTo>
                <a:cubicBezTo>
                  <a:pt x="453" y="434"/>
                  <a:pt x="453" y="434"/>
                  <a:pt x="453" y="434"/>
                </a:cubicBezTo>
                <a:cubicBezTo>
                  <a:pt x="452" y="434"/>
                  <a:pt x="452" y="434"/>
                  <a:pt x="452" y="434"/>
                </a:cubicBezTo>
                <a:cubicBezTo>
                  <a:pt x="452" y="433"/>
                  <a:pt x="452" y="433"/>
                  <a:pt x="452" y="433"/>
                </a:cubicBezTo>
                <a:cubicBezTo>
                  <a:pt x="452" y="433"/>
                  <a:pt x="452" y="433"/>
                  <a:pt x="452" y="433"/>
                </a:cubicBezTo>
                <a:cubicBezTo>
                  <a:pt x="452" y="433"/>
                  <a:pt x="452" y="433"/>
                  <a:pt x="452" y="433"/>
                </a:cubicBezTo>
                <a:cubicBezTo>
                  <a:pt x="451" y="434"/>
                  <a:pt x="451" y="434"/>
                  <a:pt x="451" y="434"/>
                </a:cubicBezTo>
                <a:cubicBezTo>
                  <a:pt x="450" y="434"/>
                  <a:pt x="450" y="434"/>
                  <a:pt x="450" y="434"/>
                </a:cubicBezTo>
                <a:cubicBezTo>
                  <a:pt x="450" y="434"/>
                  <a:pt x="450" y="434"/>
                  <a:pt x="450" y="434"/>
                </a:cubicBezTo>
                <a:cubicBezTo>
                  <a:pt x="449" y="435"/>
                  <a:pt x="449" y="435"/>
                  <a:pt x="449" y="435"/>
                </a:cubicBezTo>
                <a:cubicBezTo>
                  <a:pt x="448" y="435"/>
                  <a:pt x="448" y="435"/>
                  <a:pt x="448" y="435"/>
                </a:cubicBezTo>
                <a:cubicBezTo>
                  <a:pt x="447" y="435"/>
                  <a:pt x="447" y="435"/>
                  <a:pt x="447" y="435"/>
                </a:cubicBezTo>
                <a:cubicBezTo>
                  <a:pt x="446" y="436"/>
                  <a:pt x="446" y="436"/>
                  <a:pt x="446" y="436"/>
                </a:cubicBezTo>
                <a:cubicBezTo>
                  <a:pt x="446" y="437"/>
                  <a:pt x="446" y="437"/>
                  <a:pt x="446" y="437"/>
                </a:cubicBezTo>
                <a:cubicBezTo>
                  <a:pt x="445" y="437"/>
                  <a:pt x="445" y="437"/>
                  <a:pt x="445" y="437"/>
                </a:cubicBezTo>
                <a:cubicBezTo>
                  <a:pt x="445" y="437"/>
                  <a:pt x="445" y="437"/>
                  <a:pt x="445" y="437"/>
                </a:cubicBezTo>
                <a:cubicBezTo>
                  <a:pt x="445" y="437"/>
                  <a:pt x="445" y="437"/>
                  <a:pt x="445" y="437"/>
                </a:cubicBezTo>
                <a:cubicBezTo>
                  <a:pt x="445" y="438"/>
                  <a:pt x="445" y="438"/>
                  <a:pt x="445" y="438"/>
                </a:cubicBezTo>
                <a:cubicBezTo>
                  <a:pt x="445" y="438"/>
                  <a:pt x="445" y="438"/>
                  <a:pt x="445" y="438"/>
                </a:cubicBezTo>
                <a:close/>
                <a:moveTo>
                  <a:pt x="405" y="450"/>
                </a:moveTo>
                <a:cubicBezTo>
                  <a:pt x="405" y="450"/>
                  <a:pt x="405" y="450"/>
                  <a:pt x="405" y="450"/>
                </a:cubicBezTo>
                <a:cubicBezTo>
                  <a:pt x="408" y="452"/>
                  <a:pt x="408" y="452"/>
                  <a:pt x="408" y="452"/>
                </a:cubicBezTo>
                <a:cubicBezTo>
                  <a:pt x="409" y="452"/>
                  <a:pt x="409" y="452"/>
                  <a:pt x="409" y="452"/>
                </a:cubicBezTo>
                <a:cubicBezTo>
                  <a:pt x="411" y="452"/>
                  <a:pt x="411" y="452"/>
                  <a:pt x="411" y="452"/>
                </a:cubicBezTo>
                <a:cubicBezTo>
                  <a:pt x="412" y="453"/>
                  <a:pt x="412" y="453"/>
                  <a:pt x="412" y="453"/>
                </a:cubicBezTo>
                <a:cubicBezTo>
                  <a:pt x="412" y="453"/>
                  <a:pt x="412" y="453"/>
                  <a:pt x="412" y="453"/>
                </a:cubicBezTo>
                <a:cubicBezTo>
                  <a:pt x="414" y="453"/>
                  <a:pt x="414" y="453"/>
                  <a:pt x="414" y="453"/>
                </a:cubicBezTo>
                <a:cubicBezTo>
                  <a:pt x="415" y="453"/>
                  <a:pt x="415" y="453"/>
                  <a:pt x="415" y="453"/>
                </a:cubicBezTo>
                <a:cubicBezTo>
                  <a:pt x="415" y="452"/>
                  <a:pt x="415" y="452"/>
                  <a:pt x="415" y="452"/>
                </a:cubicBezTo>
                <a:cubicBezTo>
                  <a:pt x="414" y="451"/>
                  <a:pt x="414" y="451"/>
                  <a:pt x="414" y="451"/>
                </a:cubicBezTo>
                <a:cubicBezTo>
                  <a:pt x="414" y="451"/>
                  <a:pt x="414" y="451"/>
                  <a:pt x="414" y="451"/>
                </a:cubicBezTo>
                <a:cubicBezTo>
                  <a:pt x="414" y="450"/>
                  <a:pt x="414" y="450"/>
                  <a:pt x="414" y="450"/>
                </a:cubicBezTo>
                <a:cubicBezTo>
                  <a:pt x="413" y="450"/>
                  <a:pt x="413" y="450"/>
                  <a:pt x="413" y="450"/>
                </a:cubicBezTo>
                <a:cubicBezTo>
                  <a:pt x="412" y="449"/>
                  <a:pt x="412" y="449"/>
                  <a:pt x="412" y="449"/>
                </a:cubicBezTo>
                <a:cubicBezTo>
                  <a:pt x="410" y="448"/>
                  <a:pt x="410" y="448"/>
                  <a:pt x="410" y="448"/>
                </a:cubicBezTo>
                <a:cubicBezTo>
                  <a:pt x="410" y="448"/>
                  <a:pt x="410" y="448"/>
                  <a:pt x="410" y="448"/>
                </a:cubicBezTo>
                <a:cubicBezTo>
                  <a:pt x="409" y="446"/>
                  <a:pt x="409" y="446"/>
                  <a:pt x="409" y="446"/>
                </a:cubicBezTo>
                <a:cubicBezTo>
                  <a:pt x="407" y="446"/>
                  <a:pt x="407" y="446"/>
                  <a:pt x="407" y="446"/>
                </a:cubicBezTo>
                <a:cubicBezTo>
                  <a:pt x="405" y="446"/>
                  <a:pt x="405" y="446"/>
                  <a:pt x="405" y="446"/>
                </a:cubicBezTo>
                <a:cubicBezTo>
                  <a:pt x="402" y="445"/>
                  <a:pt x="402" y="445"/>
                  <a:pt x="402" y="445"/>
                </a:cubicBezTo>
                <a:cubicBezTo>
                  <a:pt x="401" y="444"/>
                  <a:pt x="401" y="444"/>
                  <a:pt x="401" y="444"/>
                </a:cubicBezTo>
                <a:cubicBezTo>
                  <a:pt x="400" y="445"/>
                  <a:pt x="400" y="445"/>
                  <a:pt x="400" y="445"/>
                </a:cubicBezTo>
                <a:cubicBezTo>
                  <a:pt x="401" y="446"/>
                  <a:pt x="401" y="446"/>
                  <a:pt x="401" y="446"/>
                </a:cubicBezTo>
                <a:cubicBezTo>
                  <a:pt x="402" y="447"/>
                  <a:pt x="402" y="447"/>
                  <a:pt x="402" y="447"/>
                </a:cubicBezTo>
                <a:cubicBezTo>
                  <a:pt x="404" y="448"/>
                  <a:pt x="404" y="448"/>
                  <a:pt x="404" y="448"/>
                </a:cubicBezTo>
                <a:cubicBezTo>
                  <a:pt x="404" y="449"/>
                  <a:pt x="404" y="449"/>
                  <a:pt x="404" y="449"/>
                </a:cubicBezTo>
                <a:cubicBezTo>
                  <a:pt x="405" y="450"/>
                  <a:pt x="405" y="450"/>
                  <a:pt x="405" y="450"/>
                </a:cubicBezTo>
                <a:close/>
                <a:moveTo>
                  <a:pt x="405" y="479"/>
                </a:moveTo>
                <a:cubicBezTo>
                  <a:pt x="404" y="478"/>
                  <a:pt x="404" y="478"/>
                  <a:pt x="404" y="478"/>
                </a:cubicBezTo>
                <a:cubicBezTo>
                  <a:pt x="403" y="477"/>
                  <a:pt x="403" y="477"/>
                  <a:pt x="403" y="477"/>
                </a:cubicBezTo>
                <a:cubicBezTo>
                  <a:pt x="400" y="476"/>
                  <a:pt x="400" y="476"/>
                  <a:pt x="400" y="476"/>
                </a:cubicBezTo>
                <a:cubicBezTo>
                  <a:pt x="400" y="476"/>
                  <a:pt x="400" y="476"/>
                  <a:pt x="400" y="476"/>
                </a:cubicBezTo>
                <a:cubicBezTo>
                  <a:pt x="399" y="475"/>
                  <a:pt x="399" y="475"/>
                  <a:pt x="399" y="475"/>
                </a:cubicBezTo>
                <a:cubicBezTo>
                  <a:pt x="399" y="474"/>
                  <a:pt x="399" y="474"/>
                  <a:pt x="399" y="474"/>
                </a:cubicBezTo>
                <a:cubicBezTo>
                  <a:pt x="398" y="474"/>
                  <a:pt x="398" y="474"/>
                  <a:pt x="398" y="474"/>
                </a:cubicBezTo>
                <a:cubicBezTo>
                  <a:pt x="398" y="474"/>
                  <a:pt x="398" y="474"/>
                  <a:pt x="398" y="474"/>
                </a:cubicBezTo>
                <a:cubicBezTo>
                  <a:pt x="397" y="473"/>
                  <a:pt x="397" y="473"/>
                  <a:pt x="397" y="473"/>
                </a:cubicBezTo>
                <a:cubicBezTo>
                  <a:pt x="397" y="472"/>
                  <a:pt x="397" y="472"/>
                  <a:pt x="397" y="472"/>
                </a:cubicBezTo>
                <a:cubicBezTo>
                  <a:pt x="397" y="472"/>
                  <a:pt x="397" y="472"/>
                  <a:pt x="397" y="472"/>
                </a:cubicBezTo>
                <a:cubicBezTo>
                  <a:pt x="396" y="472"/>
                  <a:pt x="396" y="472"/>
                  <a:pt x="396" y="472"/>
                </a:cubicBezTo>
                <a:cubicBezTo>
                  <a:pt x="396" y="472"/>
                  <a:pt x="396" y="472"/>
                  <a:pt x="396" y="472"/>
                </a:cubicBezTo>
                <a:cubicBezTo>
                  <a:pt x="396" y="471"/>
                  <a:pt x="396" y="471"/>
                  <a:pt x="396" y="471"/>
                </a:cubicBezTo>
                <a:cubicBezTo>
                  <a:pt x="398" y="469"/>
                  <a:pt x="398" y="469"/>
                  <a:pt x="398" y="469"/>
                </a:cubicBezTo>
                <a:cubicBezTo>
                  <a:pt x="399" y="470"/>
                  <a:pt x="399" y="470"/>
                  <a:pt x="399" y="470"/>
                </a:cubicBezTo>
                <a:cubicBezTo>
                  <a:pt x="398" y="471"/>
                  <a:pt x="398" y="471"/>
                  <a:pt x="398" y="471"/>
                </a:cubicBezTo>
                <a:cubicBezTo>
                  <a:pt x="398" y="471"/>
                  <a:pt x="398" y="471"/>
                  <a:pt x="398" y="471"/>
                </a:cubicBezTo>
                <a:cubicBezTo>
                  <a:pt x="398" y="472"/>
                  <a:pt x="398" y="472"/>
                  <a:pt x="398" y="472"/>
                </a:cubicBezTo>
                <a:cubicBezTo>
                  <a:pt x="398" y="473"/>
                  <a:pt x="398" y="473"/>
                  <a:pt x="398" y="473"/>
                </a:cubicBezTo>
                <a:cubicBezTo>
                  <a:pt x="399" y="474"/>
                  <a:pt x="399" y="474"/>
                  <a:pt x="399" y="474"/>
                </a:cubicBezTo>
                <a:cubicBezTo>
                  <a:pt x="400" y="473"/>
                  <a:pt x="400" y="473"/>
                  <a:pt x="400" y="473"/>
                </a:cubicBezTo>
                <a:cubicBezTo>
                  <a:pt x="400" y="473"/>
                  <a:pt x="400" y="473"/>
                  <a:pt x="400" y="473"/>
                </a:cubicBezTo>
                <a:cubicBezTo>
                  <a:pt x="402" y="474"/>
                  <a:pt x="402" y="474"/>
                  <a:pt x="402" y="474"/>
                </a:cubicBezTo>
                <a:cubicBezTo>
                  <a:pt x="403" y="474"/>
                  <a:pt x="403" y="474"/>
                  <a:pt x="403" y="474"/>
                </a:cubicBezTo>
                <a:cubicBezTo>
                  <a:pt x="403" y="475"/>
                  <a:pt x="403" y="475"/>
                  <a:pt x="403" y="475"/>
                </a:cubicBezTo>
                <a:cubicBezTo>
                  <a:pt x="405" y="475"/>
                  <a:pt x="405" y="475"/>
                  <a:pt x="405" y="475"/>
                </a:cubicBezTo>
                <a:cubicBezTo>
                  <a:pt x="406" y="474"/>
                  <a:pt x="406" y="474"/>
                  <a:pt x="406" y="474"/>
                </a:cubicBezTo>
                <a:cubicBezTo>
                  <a:pt x="407" y="474"/>
                  <a:pt x="407" y="474"/>
                  <a:pt x="407" y="474"/>
                </a:cubicBezTo>
                <a:cubicBezTo>
                  <a:pt x="408" y="474"/>
                  <a:pt x="408" y="474"/>
                  <a:pt x="408" y="474"/>
                </a:cubicBezTo>
                <a:cubicBezTo>
                  <a:pt x="408" y="475"/>
                  <a:pt x="408" y="475"/>
                  <a:pt x="408" y="475"/>
                </a:cubicBezTo>
                <a:cubicBezTo>
                  <a:pt x="407" y="475"/>
                  <a:pt x="407" y="475"/>
                  <a:pt x="407" y="475"/>
                </a:cubicBezTo>
                <a:cubicBezTo>
                  <a:pt x="406" y="476"/>
                  <a:pt x="406" y="476"/>
                  <a:pt x="406" y="476"/>
                </a:cubicBezTo>
                <a:cubicBezTo>
                  <a:pt x="406" y="477"/>
                  <a:pt x="406" y="477"/>
                  <a:pt x="406" y="477"/>
                </a:cubicBezTo>
                <a:cubicBezTo>
                  <a:pt x="406" y="478"/>
                  <a:pt x="406" y="478"/>
                  <a:pt x="406" y="478"/>
                </a:cubicBezTo>
                <a:cubicBezTo>
                  <a:pt x="405" y="479"/>
                  <a:pt x="405" y="479"/>
                  <a:pt x="405" y="479"/>
                </a:cubicBezTo>
                <a:close/>
                <a:moveTo>
                  <a:pt x="414" y="483"/>
                </a:moveTo>
                <a:cubicBezTo>
                  <a:pt x="414" y="482"/>
                  <a:pt x="414" y="482"/>
                  <a:pt x="414" y="482"/>
                </a:cubicBezTo>
                <a:cubicBezTo>
                  <a:pt x="412" y="481"/>
                  <a:pt x="412" y="481"/>
                  <a:pt x="412" y="481"/>
                </a:cubicBezTo>
                <a:cubicBezTo>
                  <a:pt x="412" y="479"/>
                  <a:pt x="412" y="479"/>
                  <a:pt x="412" y="479"/>
                </a:cubicBezTo>
                <a:cubicBezTo>
                  <a:pt x="411" y="478"/>
                  <a:pt x="411" y="478"/>
                  <a:pt x="411" y="478"/>
                </a:cubicBezTo>
                <a:cubicBezTo>
                  <a:pt x="412" y="478"/>
                  <a:pt x="412" y="478"/>
                  <a:pt x="412" y="478"/>
                </a:cubicBezTo>
                <a:cubicBezTo>
                  <a:pt x="413" y="477"/>
                  <a:pt x="413" y="477"/>
                  <a:pt x="413" y="477"/>
                </a:cubicBezTo>
                <a:cubicBezTo>
                  <a:pt x="415" y="475"/>
                  <a:pt x="415" y="475"/>
                  <a:pt x="415" y="475"/>
                </a:cubicBezTo>
                <a:cubicBezTo>
                  <a:pt x="415" y="474"/>
                  <a:pt x="415" y="474"/>
                  <a:pt x="415" y="474"/>
                </a:cubicBezTo>
                <a:cubicBezTo>
                  <a:pt x="416" y="473"/>
                  <a:pt x="416" y="473"/>
                  <a:pt x="416" y="473"/>
                </a:cubicBezTo>
                <a:cubicBezTo>
                  <a:pt x="417" y="471"/>
                  <a:pt x="417" y="471"/>
                  <a:pt x="417" y="471"/>
                </a:cubicBezTo>
                <a:cubicBezTo>
                  <a:pt x="418" y="470"/>
                  <a:pt x="418" y="470"/>
                  <a:pt x="418" y="470"/>
                </a:cubicBezTo>
                <a:cubicBezTo>
                  <a:pt x="419" y="470"/>
                  <a:pt x="419" y="470"/>
                  <a:pt x="419" y="470"/>
                </a:cubicBezTo>
                <a:cubicBezTo>
                  <a:pt x="419" y="471"/>
                  <a:pt x="419" y="471"/>
                  <a:pt x="419" y="471"/>
                </a:cubicBezTo>
                <a:cubicBezTo>
                  <a:pt x="418" y="472"/>
                  <a:pt x="418" y="472"/>
                  <a:pt x="418" y="472"/>
                </a:cubicBezTo>
                <a:cubicBezTo>
                  <a:pt x="419" y="472"/>
                  <a:pt x="419" y="472"/>
                  <a:pt x="419" y="472"/>
                </a:cubicBezTo>
                <a:cubicBezTo>
                  <a:pt x="419" y="473"/>
                  <a:pt x="419" y="473"/>
                  <a:pt x="419" y="473"/>
                </a:cubicBezTo>
                <a:cubicBezTo>
                  <a:pt x="418" y="475"/>
                  <a:pt x="418" y="475"/>
                  <a:pt x="418" y="475"/>
                </a:cubicBezTo>
                <a:cubicBezTo>
                  <a:pt x="417" y="476"/>
                  <a:pt x="417" y="476"/>
                  <a:pt x="417" y="476"/>
                </a:cubicBezTo>
                <a:cubicBezTo>
                  <a:pt x="419" y="476"/>
                  <a:pt x="419" y="476"/>
                  <a:pt x="419" y="476"/>
                </a:cubicBezTo>
                <a:cubicBezTo>
                  <a:pt x="419" y="477"/>
                  <a:pt x="419" y="477"/>
                  <a:pt x="419" y="477"/>
                </a:cubicBezTo>
                <a:cubicBezTo>
                  <a:pt x="419" y="478"/>
                  <a:pt x="419" y="478"/>
                  <a:pt x="419" y="478"/>
                </a:cubicBezTo>
                <a:cubicBezTo>
                  <a:pt x="419" y="478"/>
                  <a:pt x="419" y="478"/>
                  <a:pt x="419" y="478"/>
                </a:cubicBezTo>
                <a:cubicBezTo>
                  <a:pt x="420" y="478"/>
                  <a:pt x="420" y="478"/>
                  <a:pt x="420" y="478"/>
                </a:cubicBezTo>
                <a:cubicBezTo>
                  <a:pt x="420" y="477"/>
                  <a:pt x="420" y="477"/>
                  <a:pt x="420" y="477"/>
                </a:cubicBezTo>
                <a:cubicBezTo>
                  <a:pt x="420" y="477"/>
                  <a:pt x="420" y="477"/>
                  <a:pt x="420" y="477"/>
                </a:cubicBezTo>
                <a:cubicBezTo>
                  <a:pt x="422" y="477"/>
                  <a:pt x="422" y="477"/>
                  <a:pt x="422" y="477"/>
                </a:cubicBezTo>
                <a:cubicBezTo>
                  <a:pt x="422" y="479"/>
                  <a:pt x="422" y="479"/>
                  <a:pt x="422" y="479"/>
                </a:cubicBezTo>
                <a:cubicBezTo>
                  <a:pt x="422" y="479"/>
                  <a:pt x="422" y="479"/>
                  <a:pt x="422" y="479"/>
                </a:cubicBezTo>
                <a:cubicBezTo>
                  <a:pt x="421" y="480"/>
                  <a:pt x="421" y="480"/>
                  <a:pt x="421" y="480"/>
                </a:cubicBezTo>
                <a:cubicBezTo>
                  <a:pt x="420" y="480"/>
                  <a:pt x="420" y="480"/>
                  <a:pt x="420" y="480"/>
                </a:cubicBezTo>
                <a:cubicBezTo>
                  <a:pt x="419" y="480"/>
                  <a:pt x="419" y="480"/>
                  <a:pt x="419" y="480"/>
                </a:cubicBezTo>
                <a:cubicBezTo>
                  <a:pt x="417" y="482"/>
                  <a:pt x="417" y="482"/>
                  <a:pt x="417" y="482"/>
                </a:cubicBezTo>
                <a:cubicBezTo>
                  <a:pt x="416" y="482"/>
                  <a:pt x="416" y="482"/>
                  <a:pt x="416" y="482"/>
                </a:cubicBezTo>
                <a:cubicBezTo>
                  <a:pt x="415" y="481"/>
                  <a:pt x="415" y="481"/>
                  <a:pt x="415" y="481"/>
                </a:cubicBezTo>
                <a:cubicBezTo>
                  <a:pt x="415" y="481"/>
                  <a:pt x="415" y="481"/>
                  <a:pt x="415" y="481"/>
                </a:cubicBezTo>
                <a:cubicBezTo>
                  <a:pt x="414" y="482"/>
                  <a:pt x="414" y="482"/>
                  <a:pt x="414" y="482"/>
                </a:cubicBezTo>
                <a:cubicBezTo>
                  <a:pt x="414" y="483"/>
                  <a:pt x="414" y="483"/>
                  <a:pt x="414" y="483"/>
                </a:cubicBezTo>
                <a:close/>
                <a:moveTo>
                  <a:pt x="317" y="407"/>
                </a:moveTo>
                <a:cubicBezTo>
                  <a:pt x="317" y="408"/>
                  <a:pt x="317" y="408"/>
                  <a:pt x="317" y="408"/>
                </a:cubicBezTo>
                <a:cubicBezTo>
                  <a:pt x="317" y="409"/>
                  <a:pt x="317" y="409"/>
                  <a:pt x="317" y="409"/>
                </a:cubicBezTo>
                <a:cubicBezTo>
                  <a:pt x="318" y="408"/>
                  <a:pt x="318" y="408"/>
                  <a:pt x="318" y="408"/>
                </a:cubicBezTo>
                <a:cubicBezTo>
                  <a:pt x="318" y="407"/>
                  <a:pt x="318" y="407"/>
                  <a:pt x="318" y="407"/>
                </a:cubicBezTo>
                <a:cubicBezTo>
                  <a:pt x="317" y="407"/>
                  <a:pt x="317" y="407"/>
                  <a:pt x="317" y="407"/>
                </a:cubicBezTo>
                <a:cubicBezTo>
                  <a:pt x="317" y="407"/>
                  <a:pt x="317" y="407"/>
                  <a:pt x="317" y="407"/>
                </a:cubicBezTo>
                <a:close/>
                <a:moveTo>
                  <a:pt x="317" y="421"/>
                </a:moveTo>
                <a:cubicBezTo>
                  <a:pt x="317" y="420"/>
                  <a:pt x="317" y="420"/>
                  <a:pt x="317" y="420"/>
                </a:cubicBezTo>
                <a:cubicBezTo>
                  <a:pt x="318" y="420"/>
                  <a:pt x="318" y="420"/>
                  <a:pt x="318" y="420"/>
                </a:cubicBezTo>
                <a:cubicBezTo>
                  <a:pt x="318" y="419"/>
                  <a:pt x="318" y="419"/>
                  <a:pt x="318" y="419"/>
                </a:cubicBezTo>
                <a:cubicBezTo>
                  <a:pt x="319" y="420"/>
                  <a:pt x="319" y="420"/>
                  <a:pt x="319" y="420"/>
                </a:cubicBezTo>
                <a:cubicBezTo>
                  <a:pt x="317" y="421"/>
                  <a:pt x="317" y="421"/>
                  <a:pt x="317" y="421"/>
                </a:cubicBezTo>
                <a:cubicBezTo>
                  <a:pt x="317" y="421"/>
                  <a:pt x="317" y="421"/>
                  <a:pt x="317" y="421"/>
                </a:cubicBezTo>
                <a:close/>
                <a:moveTo>
                  <a:pt x="305" y="411"/>
                </a:moveTo>
                <a:cubicBezTo>
                  <a:pt x="306" y="410"/>
                  <a:pt x="306" y="410"/>
                  <a:pt x="306" y="410"/>
                </a:cubicBezTo>
                <a:cubicBezTo>
                  <a:pt x="307" y="410"/>
                  <a:pt x="307" y="410"/>
                  <a:pt x="307" y="410"/>
                </a:cubicBezTo>
                <a:cubicBezTo>
                  <a:pt x="307" y="409"/>
                  <a:pt x="307" y="409"/>
                  <a:pt x="307" y="409"/>
                </a:cubicBezTo>
                <a:cubicBezTo>
                  <a:pt x="308" y="408"/>
                  <a:pt x="308" y="408"/>
                  <a:pt x="308" y="408"/>
                </a:cubicBezTo>
                <a:cubicBezTo>
                  <a:pt x="309" y="408"/>
                  <a:pt x="309" y="408"/>
                  <a:pt x="309" y="408"/>
                </a:cubicBezTo>
                <a:cubicBezTo>
                  <a:pt x="309" y="409"/>
                  <a:pt x="309" y="409"/>
                  <a:pt x="309" y="409"/>
                </a:cubicBezTo>
                <a:cubicBezTo>
                  <a:pt x="311" y="409"/>
                  <a:pt x="311" y="409"/>
                  <a:pt x="311" y="409"/>
                </a:cubicBezTo>
                <a:cubicBezTo>
                  <a:pt x="312" y="410"/>
                  <a:pt x="312" y="410"/>
                  <a:pt x="312" y="410"/>
                </a:cubicBezTo>
                <a:cubicBezTo>
                  <a:pt x="312" y="411"/>
                  <a:pt x="312" y="411"/>
                  <a:pt x="312" y="411"/>
                </a:cubicBezTo>
                <a:cubicBezTo>
                  <a:pt x="313" y="412"/>
                  <a:pt x="313" y="412"/>
                  <a:pt x="313" y="412"/>
                </a:cubicBezTo>
                <a:cubicBezTo>
                  <a:pt x="312" y="413"/>
                  <a:pt x="312" y="413"/>
                  <a:pt x="312" y="413"/>
                </a:cubicBezTo>
                <a:cubicBezTo>
                  <a:pt x="309" y="412"/>
                  <a:pt x="309" y="412"/>
                  <a:pt x="309" y="412"/>
                </a:cubicBezTo>
                <a:cubicBezTo>
                  <a:pt x="308" y="412"/>
                  <a:pt x="308" y="412"/>
                  <a:pt x="308" y="412"/>
                </a:cubicBezTo>
                <a:cubicBezTo>
                  <a:pt x="307" y="411"/>
                  <a:pt x="307" y="411"/>
                  <a:pt x="307" y="411"/>
                </a:cubicBezTo>
                <a:cubicBezTo>
                  <a:pt x="307" y="412"/>
                  <a:pt x="307" y="412"/>
                  <a:pt x="307" y="412"/>
                </a:cubicBezTo>
                <a:cubicBezTo>
                  <a:pt x="307" y="413"/>
                  <a:pt x="307" y="413"/>
                  <a:pt x="307" y="413"/>
                </a:cubicBezTo>
                <a:cubicBezTo>
                  <a:pt x="307" y="412"/>
                  <a:pt x="307" y="412"/>
                  <a:pt x="307" y="412"/>
                </a:cubicBezTo>
                <a:cubicBezTo>
                  <a:pt x="306" y="411"/>
                  <a:pt x="306" y="411"/>
                  <a:pt x="306" y="411"/>
                </a:cubicBezTo>
                <a:cubicBezTo>
                  <a:pt x="305" y="412"/>
                  <a:pt x="305" y="412"/>
                  <a:pt x="305" y="412"/>
                </a:cubicBezTo>
                <a:cubicBezTo>
                  <a:pt x="305" y="411"/>
                  <a:pt x="305" y="411"/>
                  <a:pt x="305" y="411"/>
                </a:cubicBezTo>
                <a:close/>
                <a:moveTo>
                  <a:pt x="48" y="416"/>
                </a:moveTo>
                <a:cubicBezTo>
                  <a:pt x="49" y="417"/>
                  <a:pt x="49" y="417"/>
                  <a:pt x="49" y="417"/>
                </a:cubicBezTo>
                <a:cubicBezTo>
                  <a:pt x="51" y="419"/>
                  <a:pt x="51" y="419"/>
                  <a:pt x="51" y="419"/>
                </a:cubicBezTo>
                <a:cubicBezTo>
                  <a:pt x="50" y="419"/>
                  <a:pt x="50" y="419"/>
                  <a:pt x="50" y="419"/>
                </a:cubicBezTo>
                <a:cubicBezTo>
                  <a:pt x="48" y="418"/>
                  <a:pt x="48" y="418"/>
                  <a:pt x="48" y="418"/>
                </a:cubicBezTo>
                <a:cubicBezTo>
                  <a:pt x="48" y="416"/>
                  <a:pt x="48" y="416"/>
                  <a:pt x="48" y="416"/>
                </a:cubicBezTo>
                <a:close/>
                <a:moveTo>
                  <a:pt x="46" y="413"/>
                </a:moveTo>
                <a:cubicBezTo>
                  <a:pt x="45" y="411"/>
                  <a:pt x="45" y="411"/>
                  <a:pt x="45" y="411"/>
                </a:cubicBezTo>
                <a:cubicBezTo>
                  <a:pt x="46" y="411"/>
                  <a:pt x="46" y="411"/>
                  <a:pt x="46" y="411"/>
                </a:cubicBezTo>
                <a:cubicBezTo>
                  <a:pt x="46" y="413"/>
                  <a:pt x="46" y="413"/>
                  <a:pt x="46" y="413"/>
                </a:cubicBezTo>
                <a:close/>
                <a:moveTo>
                  <a:pt x="39" y="407"/>
                </a:moveTo>
                <a:cubicBezTo>
                  <a:pt x="41" y="408"/>
                  <a:pt x="41" y="408"/>
                  <a:pt x="41" y="408"/>
                </a:cubicBezTo>
                <a:cubicBezTo>
                  <a:pt x="41" y="407"/>
                  <a:pt x="41" y="407"/>
                  <a:pt x="41" y="407"/>
                </a:cubicBezTo>
                <a:cubicBezTo>
                  <a:pt x="39" y="407"/>
                  <a:pt x="39" y="407"/>
                  <a:pt x="39" y="407"/>
                </a:cubicBezTo>
                <a:close/>
                <a:moveTo>
                  <a:pt x="28" y="403"/>
                </a:moveTo>
                <a:cubicBezTo>
                  <a:pt x="29" y="404"/>
                  <a:pt x="29" y="404"/>
                  <a:pt x="29" y="404"/>
                </a:cubicBezTo>
                <a:cubicBezTo>
                  <a:pt x="29" y="405"/>
                  <a:pt x="29" y="405"/>
                  <a:pt x="29" y="405"/>
                </a:cubicBezTo>
                <a:cubicBezTo>
                  <a:pt x="30" y="406"/>
                  <a:pt x="30" y="406"/>
                  <a:pt x="30" y="406"/>
                </a:cubicBezTo>
                <a:cubicBezTo>
                  <a:pt x="33" y="406"/>
                  <a:pt x="33" y="406"/>
                  <a:pt x="33" y="406"/>
                </a:cubicBezTo>
                <a:cubicBezTo>
                  <a:pt x="32" y="407"/>
                  <a:pt x="32" y="407"/>
                  <a:pt x="32" y="407"/>
                </a:cubicBezTo>
                <a:cubicBezTo>
                  <a:pt x="30" y="407"/>
                  <a:pt x="30" y="407"/>
                  <a:pt x="30" y="407"/>
                </a:cubicBezTo>
                <a:cubicBezTo>
                  <a:pt x="29" y="408"/>
                  <a:pt x="29" y="408"/>
                  <a:pt x="29" y="408"/>
                </a:cubicBezTo>
                <a:cubicBezTo>
                  <a:pt x="30" y="409"/>
                  <a:pt x="30" y="409"/>
                  <a:pt x="30" y="409"/>
                </a:cubicBezTo>
                <a:cubicBezTo>
                  <a:pt x="29" y="410"/>
                  <a:pt x="29" y="410"/>
                  <a:pt x="29" y="410"/>
                </a:cubicBezTo>
                <a:cubicBezTo>
                  <a:pt x="30" y="411"/>
                  <a:pt x="30" y="411"/>
                  <a:pt x="30" y="411"/>
                </a:cubicBezTo>
                <a:cubicBezTo>
                  <a:pt x="31" y="410"/>
                  <a:pt x="31" y="410"/>
                  <a:pt x="31" y="410"/>
                </a:cubicBezTo>
                <a:cubicBezTo>
                  <a:pt x="31" y="411"/>
                  <a:pt x="31" y="411"/>
                  <a:pt x="31" y="411"/>
                </a:cubicBezTo>
                <a:cubicBezTo>
                  <a:pt x="33" y="411"/>
                  <a:pt x="33" y="411"/>
                  <a:pt x="33" y="411"/>
                </a:cubicBezTo>
                <a:cubicBezTo>
                  <a:pt x="33" y="413"/>
                  <a:pt x="33" y="413"/>
                  <a:pt x="33" y="413"/>
                </a:cubicBezTo>
                <a:cubicBezTo>
                  <a:pt x="34" y="413"/>
                  <a:pt x="34" y="413"/>
                  <a:pt x="34" y="413"/>
                </a:cubicBezTo>
                <a:cubicBezTo>
                  <a:pt x="35" y="413"/>
                  <a:pt x="35" y="413"/>
                  <a:pt x="35" y="413"/>
                </a:cubicBezTo>
                <a:cubicBezTo>
                  <a:pt x="34" y="415"/>
                  <a:pt x="34" y="415"/>
                  <a:pt x="34" y="415"/>
                </a:cubicBezTo>
                <a:cubicBezTo>
                  <a:pt x="34" y="416"/>
                  <a:pt x="34" y="416"/>
                  <a:pt x="34" y="416"/>
                </a:cubicBezTo>
                <a:cubicBezTo>
                  <a:pt x="35" y="416"/>
                  <a:pt x="35" y="416"/>
                  <a:pt x="35" y="416"/>
                </a:cubicBezTo>
                <a:cubicBezTo>
                  <a:pt x="35" y="415"/>
                  <a:pt x="35" y="415"/>
                  <a:pt x="35" y="415"/>
                </a:cubicBezTo>
                <a:cubicBezTo>
                  <a:pt x="37" y="414"/>
                  <a:pt x="37" y="414"/>
                  <a:pt x="37" y="414"/>
                </a:cubicBezTo>
                <a:cubicBezTo>
                  <a:pt x="37" y="416"/>
                  <a:pt x="37" y="416"/>
                  <a:pt x="37" y="416"/>
                </a:cubicBezTo>
                <a:cubicBezTo>
                  <a:pt x="36" y="417"/>
                  <a:pt x="36" y="417"/>
                  <a:pt x="36" y="417"/>
                </a:cubicBezTo>
                <a:cubicBezTo>
                  <a:pt x="36" y="418"/>
                  <a:pt x="36" y="418"/>
                  <a:pt x="36" y="418"/>
                </a:cubicBezTo>
                <a:cubicBezTo>
                  <a:pt x="36" y="418"/>
                  <a:pt x="36" y="418"/>
                  <a:pt x="36" y="418"/>
                </a:cubicBezTo>
                <a:cubicBezTo>
                  <a:pt x="37" y="419"/>
                  <a:pt x="37" y="419"/>
                  <a:pt x="37" y="419"/>
                </a:cubicBezTo>
                <a:cubicBezTo>
                  <a:pt x="39" y="419"/>
                  <a:pt x="39" y="419"/>
                  <a:pt x="39" y="419"/>
                </a:cubicBezTo>
                <a:cubicBezTo>
                  <a:pt x="39" y="420"/>
                  <a:pt x="39" y="420"/>
                  <a:pt x="39" y="420"/>
                </a:cubicBezTo>
                <a:cubicBezTo>
                  <a:pt x="40" y="420"/>
                  <a:pt x="40" y="420"/>
                  <a:pt x="40" y="420"/>
                </a:cubicBezTo>
                <a:cubicBezTo>
                  <a:pt x="40" y="421"/>
                  <a:pt x="40" y="421"/>
                  <a:pt x="40" y="421"/>
                </a:cubicBezTo>
                <a:cubicBezTo>
                  <a:pt x="40" y="422"/>
                  <a:pt x="40" y="422"/>
                  <a:pt x="40" y="422"/>
                </a:cubicBezTo>
                <a:cubicBezTo>
                  <a:pt x="41" y="424"/>
                  <a:pt x="41" y="424"/>
                  <a:pt x="41" y="424"/>
                </a:cubicBezTo>
                <a:cubicBezTo>
                  <a:pt x="42" y="423"/>
                  <a:pt x="42" y="423"/>
                  <a:pt x="42" y="423"/>
                </a:cubicBezTo>
                <a:cubicBezTo>
                  <a:pt x="43" y="423"/>
                  <a:pt x="43" y="423"/>
                  <a:pt x="43" y="423"/>
                </a:cubicBezTo>
                <a:cubicBezTo>
                  <a:pt x="44" y="423"/>
                  <a:pt x="44" y="423"/>
                  <a:pt x="44" y="423"/>
                </a:cubicBezTo>
                <a:cubicBezTo>
                  <a:pt x="42" y="425"/>
                  <a:pt x="42" y="425"/>
                  <a:pt x="42" y="425"/>
                </a:cubicBezTo>
                <a:cubicBezTo>
                  <a:pt x="44" y="428"/>
                  <a:pt x="44" y="428"/>
                  <a:pt x="44" y="428"/>
                </a:cubicBezTo>
                <a:cubicBezTo>
                  <a:pt x="45" y="428"/>
                  <a:pt x="45" y="428"/>
                  <a:pt x="45" y="428"/>
                </a:cubicBezTo>
                <a:cubicBezTo>
                  <a:pt x="46" y="429"/>
                  <a:pt x="46" y="429"/>
                  <a:pt x="46" y="429"/>
                </a:cubicBezTo>
                <a:cubicBezTo>
                  <a:pt x="49" y="431"/>
                  <a:pt x="49" y="431"/>
                  <a:pt x="49" y="431"/>
                </a:cubicBezTo>
                <a:cubicBezTo>
                  <a:pt x="50" y="431"/>
                  <a:pt x="50" y="431"/>
                  <a:pt x="50" y="431"/>
                </a:cubicBezTo>
                <a:cubicBezTo>
                  <a:pt x="51" y="431"/>
                  <a:pt x="51" y="431"/>
                  <a:pt x="51" y="431"/>
                </a:cubicBezTo>
                <a:cubicBezTo>
                  <a:pt x="50" y="427"/>
                  <a:pt x="50" y="427"/>
                  <a:pt x="50" y="427"/>
                </a:cubicBezTo>
                <a:cubicBezTo>
                  <a:pt x="51" y="426"/>
                  <a:pt x="51" y="426"/>
                  <a:pt x="51" y="426"/>
                </a:cubicBezTo>
                <a:cubicBezTo>
                  <a:pt x="50" y="425"/>
                  <a:pt x="50" y="425"/>
                  <a:pt x="50" y="425"/>
                </a:cubicBezTo>
                <a:cubicBezTo>
                  <a:pt x="50" y="422"/>
                  <a:pt x="50" y="422"/>
                  <a:pt x="50" y="422"/>
                </a:cubicBezTo>
                <a:cubicBezTo>
                  <a:pt x="49" y="421"/>
                  <a:pt x="49" y="421"/>
                  <a:pt x="49" y="421"/>
                </a:cubicBezTo>
                <a:cubicBezTo>
                  <a:pt x="47" y="419"/>
                  <a:pt x="47" y="419"/>
                  <a:pt x="47" y="419"/>
                </a:cubicBezTo>
                <a:cubicBezTo>
                  <a:pt x="46" y="415"/>
                  <a:pt x="46" y="415"/>
                  <a:pt x="46" y="415"/>
                </a:cubicBezTo>
                <a:cubicBezTo>
                  <a:pt x="45" y="413"/>
                  <a:pt x="45" y="413"/>
                  <a:pt x="45" y="413"/>
                </a:cubicBezTo>
                <a:cubicBezTo>
                  <a:pt x="45" y="411"/>
                  <a:pt x="45" y="411"/>
                  <a:pt x="45" y="411"/>
                </a:cubicBezTo>
                <a:cubicBezTo>
                  <a:pt x="44" y="410"/>
                  <a:pt x="44" y="410"/>
                  <a:pt x="44" y="410"/>
                </a:cubicBezTo>
                <a:cubicBezTo>
                  <a:pt x="43" y="410"/>
                  <a:pt x="43" y="410"/>
                  <a:pt x="43" y="410"/>
                </a:cubicBezTo>
                <a:cubicBezTo>
                  <a:pt x="41" y="409"/>
                  <a:pt x="41" y="409"/>
                  <a:pt x="41" y="409"/>
                </a:cubicBezTo>
                <a:cubicBezTo>
                  <a:pt x="39" y="409"/>
                  <a:pt x="39" y="409"/>
                  <a:pt x="39" y="409"/>
                </a:cubicBezTo>
                <a:cubicBezTo>
                  <a:pt x="38" y="408"/>
                  <a:pt x="38" y="408"/>
                  <a:pt x="38" y="408"/>
                </a:cubicBezTo>
                <a:cubicBezTo>
                  <a:pt x="37" y="407"/>
                  <a:pt x="37" y="407"/>
                  <a:pt x="37" y="407"/>
                </a:cubicBezTo>
                <a:cubicBezTo>
                  <a:pt x="35" y="406"/>
                  <a:pt x="35" y="406"/>
                  <a:pt x="35" y="406"/>
                </a:cubicBezTo>
                <a:cubicBezTo>
                  <a:pt x="34" y="405"/>
                  <a:pt x="34" y="405"/>
                  <a:pt x="34" y="405"/>
                </a:cubicBezTo>
                <a:cubicBezTo>
                  <a:pt x="34" y="404"/>
                  <a:pt x="34" y="404"/>
                  <a:pt x="34" y="404"/>
                </a:cubicBezTo>
                <a:cubicBezTo>
                  <a:pt x="33" y="404"/>
                  <a:pt x="33" y="404"/>
                  <a:pt x="33" y="404"/>
                </a:cubicBezTo>
                <a:cubicBezTo>
                  <a:pt x="32" y="403"/>
                  <a:pt x="32" y="403"/>
                  <a:pt x="32" y="403"/>
                </a:cubicBezTo>
                <a:cubicBezTo>
                  <a:pt x="31" y="402"/>
                  <a:pt x="31" y="402"/>
                  <a:pt x="31" y="402"/>
                </a:cubicBezTo>
                <a:cubicBezTo>
                  <a:pt x="30" y="403"/>
                  <a:pt x="30" y="403"/>
                  <a:pt x="30" y="403"/>
                </a:cubicBezTo>
                <a:cubicBezTo>
                  <a:pt x="28" y="403"/>
                  <a:pt x="28" y="403"/>
                  <a:pt x="28" y="403"/>
                </a:cubicBezTo>
                <a:close/>
                <a:moveTo>
                  <a:pt x="40" y="405"/>
                </a:moveTo>
                <a:cubicBezTo>
                  <a:pt x="41" y="405"/>
                  <a:pt x="41" y="405"/>
                  <a:pt x="41" y="405"/>
                </a:cubicBezTo>
                <a:cubicBezTo>
                  <a:pt x="41" y="405"/>
                  <a:pt x="41" y="405"/>
                  <a:pt x="41" y="405"/>
                </a:cubicBezTo>
                <a:cubicBezTo>
                  <a:pt x="42" y="405"/>
                  <a:pt x="42" y="405"/>
                  <a:pt x="42" y="405"/>
                </a:cubicBezTo>
                <a:cubicBezTo>
                  <a:pt x="41" y="406"/>
                  <a:pt x="41" y="406"/>
                  <a:pt x="41" y="406"/>
                </a:cubicBezTo>
                <a:cubicBezTo>
                  <a:pt x="40" y="406"/>
                  <a:pt x="40" y="406"/>
                  <a:pt x="40" y="406"/>
                </a:cubicBezTo>
                <a:cubicBezTo>
                  <a:pt x="40" y="405"/>
                  <a:pt x="40" y="405"/>
                  <a:pt x="40" y="405"/>
                </a:cubicBezTo>
                <a:close/>
                <a:moveTo>
                  <a:pt x="39" y="404"/>
                </a:moveTo>
                <a:cubicBezTo>
                  <a:pt x="39" y="404"/>
                  <a:pt x="39" y="404"/>
                  <a:pt x="39" y="404"/>
                </a:cubicBezTo>
                <a:cubicBezTo>
                  <a:pt x="40" y="405"/>
                  <a:pt x="40" y="405"/>
                  <a:pt x="40" y="405"/>
                </a:cubicBezTo>
                <a:cubicBezTo>
                  <a:pt x="39" y="404"/>
                  <a:pt x="39" y="404"/>
                  <a:pt x="39" y="404"/>
                </a:cubicBezTo>
                <a:close/>
                <a:moveTo>
                  <a:pt x="31" y="377"/>
                </a:moveTo>
                <a:cubicBezTo>
                  <a:pt x="31" y="378"/>
                  <a:pt x="31" y="378"/>
                  <a:pt x="31" y="378"/>
                </a:cubicBezTo>
                <a:cubicBezTo>
                  <a:pt x="32" y="378"/>
                  <a:pt x="32" y="378"/>
                  <a:pt x="32" y="378"/>
                </a:cubicBezTo>
                <a:cubicBezTo>
                  <a:pt x="31" y="377"/>
                  <a:pt x="31" y="377"/>
                  <a:pt x="31" y="377"/>
                </a:cubicBezTo>
                <a:close/>
                <a:moveTo>
                  <a:pt x="35" y="390"/>
                </a:moveTo>
                <a:cubicBezTo>
                  <a:pt x="35" y="389"/>
                  <a:pt x="35" y="389"/>
                  <a:pt x="35" y="389"/>
                </a:cubicBezTo>
                <a:cubicBezTo>
                  <a:pt x="35" y="388"/>
                  <a:pt x="35" y="388"/>
                  <a:pt x="35" y="388"/>
                </a:cubicBezTo>
                <a:cubicBezTo>
                  <a:pt x="36" y="389"/>
                  <a:pt x="36" y="389"/>
                  <a:pt x="36" y="389"/>
                </a:cubicBezTo>
                <a:cubicBezTo>
                  <a:pt x="35" y="390"/>
                  <a:pt x="35" y="390"/>
                  <a:pt x="35" y="390"/>
                </a:cubicBezTo>
                <a:cubicBezTo>
                  <a:pt x="35" y="390"/>
                  <a:pt x="35" y="390"/>
                  <a:pt x="35" y="390"/>
                </a:cubicBezTo>
                <a:close/>
                <a:moveTo>
                  <a:pt x="34" y="394"/>
                </a:moveTo>
                <a:cubicBezTo>
                  <a:pt x="34" y="395"/>
                  <a:pt x="34" y="395"/>
                  <a:pt x="34" y="395"/>
                </a:cubicBezTo>
                <a:cubicBezTo>
                  <a:pt x="34" y="396"/>
                  <a:pt x="34" y="396"/>
                  <a:pt x="34" y="396"/>
                </a:cubicBezTo>
                <a:cubicBezTo>
                  <a:pt x="34" y="396"/>
                  <a:pt x="34" y="396"/>
                  <a:pt x="34" y="396"/>
                </a:cubicBezTo>
                <a:cubicBezTo>
                  <a:pt x="35" y="395"/>
                  <a:pt x="35" y="395"/>
                  <a:pt x="35" y="395"/>
                </a:cubicBezTo>
                <a:cubicBezTo>
                  <a:pt x="34" y="394"/>
                  <a:pt x="34" y="394"/>
                  <a:pt x="34" y="394"/>
                </a:cubicBezTo>
                <a:close/>
                <a:moveTo>
                  <a:pt x="35" y="392"/>
                </a:moveTo>
                <a:cubicBezTo>
                  <a:pt x="36" y="391"/>
                  <a:pt x="36" y="391"/>
                  <a:pt x="36" y="391"/>
                </a:cubicBezTo>
                <a:cubicBezTo>
                  <a:pt x="36" y="390"/>
                  <a:pt x="36" y="390"/>
                  <a:pt x="36" y="390"/>
                </a:cubicBezTo>
                <a:cubicBezTo>
                  <a:pt x="34" y="391"/>
                  <a:pt x="34" y="391"/>
                  <a:pt x="34" y="391"/>
                </a:cubicBezTo>
                <a:cubicBezTo>
                  <a:pt x="34" y="392"/>
                  <a:pt x="34" y="392"/>
                  <a:pt x="34" y="392"/>
                </a:cubicBezTo>
                <a:cubicBezTo>
                  <a:pt x="35" y="392"/>
                  <a:pt x="35" y="392"/>
                  <a:pt x="35" y="392"/>
                </a:cubicBezTo>
                <a:cubicBezTo>
                  <a:pt x="35" y="392"/>
                  <a:pt x="35" y="392"/>
                  <a:pt x="35" y="392"/>
                </a:cubicBezTo>
                <a:close/>
                <a:moveTo>
                  <a:pt x="37" y="391"/>
                </a:moveTo>
                <a:cubicBezTo>
                  <a:pt x="38" y="389"/>
                  <a:pt x="38" y="389"/>
                  <a:pt x="38" y="389"/>
                </a:cubicBezTo>
                <a:cubicBezTo>
                  <a:pt x="39" y="389"/>
                  <a:pt x="39" y="389"/>
                  <a:pt x="39" y="389"/>
                </a:cubicBezTo>
                <a:cubicBezTo>
                  <a:pt x="40" y="388"/>
                  <a:pt x="40" y="388"/>
                  <a:pt x="40" y="388"/>
                </a:cubicBezTo>
                <a:cubicBezTo>
                  <a:pt x="42" y="387"/>
                  <a:pt x="42" y="387"/>
                  <a:pt x="42" y="387"/>
                </a:cubicBezTo>
                <a:cubicBezTo>
                  <a:pt x="42" y="388"/>
                  <a:pt x="42" y="388"/>
                  <a:pt x="42" y="388"/>
                </a:cubicBezTo>
                <a:cubicBezTo>
                  <a:pt x="40" y="389"/>
                  <a:pt x="40" y="389"/>
                  <a:pt x="40" y="389"/>
                </a:cubicBezTo>
                <a:cubicBezTo>
                  <a:pt x="39" y="390"/>
                  <a:pt x="39" y="390"/>
                  <a:pt x="39" y="390"/>
                </a:cubicBezTo>
                <a:cubicBezTo>
                  <a:pt x="37" y="391"/>
                  <a:pt x="37" y="391"/>
                  <a:pt x="37" y="391"/>
                </a:cubicBezTo>
                <a:cubicBezTo>
                  <a:pt x="37" y="391"/>
                  <a:pt x="37" y="391"/>
                  <a:pt x="37" y="391"/>
                </a:cubicBezTo>
                <a:close/>
                <a:moveTo>
                  <a:pt x="36" y="384"/>
                </a:moveTo>
                <a:cubicBezTo>
                  <a:pt x="36" y="383"/>
                  <a:pt x="36" y="383"/>
                  <a:pt x="36" y="383"/>
                </a:cubicBezTo>
                <a:cubicBezTo>
                  <a:pt x="36" y="382"/>
                  <a:pt x="36" y="382"/>
                  <a:pt x="36" y="382"/>
                </a:cubicBezTo>
                <a:cubicBezTo>
                  <a:pt x="37" y="383"/>
                  <a:pt x="37" y="383"/>
                  <a:pt x="37" y="383"/>
                </a:cubicBezTo>
                <a:cubicBezTo>
                  <a:pt x="36" y="383"/>
                  <a:pt x="36" y="383"/>
                  <a:pt x="36" y="383"/>
                </a:cubicBezTo>
                <a:cubicBezTo>
                  <a:pt x="36" y="384"/>
                  <a:pt x="36" y="384"/>
                  <a:pt x="36" y="384"/>
                </a:cubicBezTo>
                <a:cubicBezTo>
                  <a:pt x="36" y="384"/>
                  <a:pt x="36" y="384"/>
                  <a:pt x="36" y="384"/>
                </a:cubicBezTo>
                <a:close/>
                <a:moveTo>
                  <a:pt x="33" y="384"/>
                </a:moveTo>
                <a:cubicBezTo>
                  <a:pt x="34" y="385"/>
                  <a:pt x="34" y="385"/>
                  <a:pt x="34" y="385"/>
                </a:cubicBezTo>
                <a:cubicBezTo>
                  <a:pt x="35" y="384"/>
                  <a:pt x="35" y="384"/>
                  <a:pt x="35" y="384"/>
                </a:cubicBezTo>
                <a:cubicBezTo>
                  <a:pt x="35" y="383"/>
                  <a:pt x="35" y="383"/>
                  <a:pt x="35" y="383"/>
                </a:cubicBezTo>
                <a:cubicBezTo>
                  <a:pt x="33" y="384"/>
                  <a:pt x="33" y="384"/>
                  <a:pt x="33" y="384"/>
                </a:cubicBezTo>
                <a:close/>
                <a:moveTo>
                  <a:pt x="31" y="380"/>
                </a:moveTo>
                <a:cubicBezTo>
                  <a:pt x="31" y="382"/>
                  <a:pt x="31" y="382"/>
                  <a:pt x="31" y="382"/>
                </a:cubicBezTo>
                <a:cubicBezTo>
                  <a:pt x="32" y="383"/>
                  <a:pt x="32" y="383"/>
                  <a:pt x="32" y="383"/>
                </a:cubicBezTo>
                <a:cubicBezTo>
                  <a:pt x="32" y="384"/>
                  <a:pt x="32" y="384"/>
                  <a:pt x="32" y="384"/>
                </a:cubicBezTo>
                <a:cubicBezTo>
                  <a:pt x="33" y="383"/>
                  <a:pt x="33" y="383"/>
                  <a:pt x="33" y="383"/>
                </a:cubicBezTo>
                <a:cubicBezTo>
                  <a:pt x="32" y="381"/>
                  <a:pt x="32" y="381"/>
                  <a:pt x="32" y="381"/>
                </a:cubicBezTo>
                <a:cubicBezTo>
                  <a:pt x="31" y="380"/>
                  <a:pt x="31" y="380"/>
                  <a:pt x="31" y="380"/>
                </a:cubicBezTo>
                <a:close/>
                <a:moveTo>
                  <a:pt x="32" y="379"/>
                </a:moveTo>
                <a:cubicBezTo>
                  <a:pt x="33" y="379"/>
                  <a:pt x="33" y="379"/>
                  <a:pt x="33" y="379"/>
                </a:cubicBezTo>
                <a:cubicBezTo>
                  <a:pt x="33" y="380"/>
                  <a:pt x="33" y="380"/>
                  <a:pt x="33" y="380"/>
                </a:cubicBezTo>
                <a:cubicBezTo>
                  <a:pt x="33" y="381"/>
                  <a:pt x="33" y="381"/>
                  <a:pt x="33" y="381"/>
                </a:cubicBezTo>
                <a:cubicBezTo>
                  <a:pt x="34" y="381"/>
                  <a:pt x="34" y="381"/>
                  <a:pt x="34" y="381"/>
                </a:cubicBezTo>
                <a:cubicBezTo>
                  <a:pt x="35" y="380"/>
                  <a:pt x="35" y="380"/>
                  <a:pt x="35" y="380"/>
                </a:cubicBezTo>
                <a:cubicBezTo>
                  <a:pt x="34" y="381"/>
                  <a:pt x="34" y="381"/>
                  <a:pt x="34" y="381"/>
                </a:cubicBezTo>
                <a:cubicBezTo>
                  <a:pt x="35" y="383"/>
                  <a:pt x="35" y="383"/>
                  <a:pt x="35" y="383"/>
                </a:cubicBezTo>
                <a:cubicBezTo>
                  <a:pt x="36" y="381"/>
                  <a:pt x="36" y="381"/>
                  <a:pt x="36" y="381"/>
                </a:cubicBezTo>
                <a:cubicBezTo>
                  <a:pt x="36" y="378"/>
                  <a:pt x="36" y="378"/>
                  <a:pt x="36" y="378"/>
                </a:cubicBezTo>
                <a:cubicBezTo>
                  <a:pt x="35" y="377"/>
                  <a:pt x="35" y="377"/>
                  <a:pt x="35" y="377"/>
                </a:cubicBezTo>
                <a:cubicBezTo>
                  <a:pt x="33" y="378"/>
                  <a:pt x="33" y="378"/>
                  <a:pt x="33" y="378"/>
                </a:cubicBezTo>
                <a:cubicBezTo>
                  <a:pt x="32" y="379"/>
                  <a:pt x="32" y="379"/>
                  <a:pt x="32" y="379"/>
                </a:cubicBezTo>
                <a:close/>
                <a:moveTo>
                  <a:pt x="32" y="376"/>
                </a:moveTo>
                <a:cubicBezTo>
                  <a:pt x="33" y="377"/>
                  <a:pt x="33" y="377"/>
                  <a:pt x="33" y="377"/>
                </a:cubicBezTo>
                <a:cubicBezTo>
                  <a:pt x="33" y="376"/>
                  <a:pt x="33" y="376"/>
                  <a:pt x="33" y="376"/>
                </a:cubicBezTo>
                <a:cubicBezTo>
                  <a:pt x="33" y="376"/>
                  <a:pt x="33" y="376"/>
                  <a:pt x="33" y="376"/>
                </a:cubicBezTo>
                <a:cubicBezTo>
                  <a:pt x="32" y="376"/>
                  <a:pt x="32" y="376"/>
                  <a:pt x="32" y="376"/>
                </a:cubicBezTo>
                <a:close/>
                <a:moveTo>
                  <a:pt x="35" y="374"/>
                </a:moveTo>
                <a:cubicBezTo>
                  <a:pt x="35" y="373"/>
                  <a:pt x="35" y="373"/>
                  <a:pt x="35" y="373"/>
                </a:cubicBezTo>
                <a:cubicBezTo>
                  <a:pt x="36" y="372"/>
                  <a:pt x="36" y="372"/>
                  <a:pt x="36" y="372"/>
                </a:cubicBezTo>
                <a:cubicBezTo>
                  <a:pt x="37" y="372"/>
                  <a:pt x="37" y="372"/>
                  <a:pt x="37" y="372"/>
                </a:cubicBezTo>
                <a:cubicBezTo>
                  <a:pt x="37" y="373"/>
                  <a:pt x="37" y="373"/>
                  <a:pt x="37" y="373"/>
                </a:cubicBezTo>
                <a:cubicBezTo>
                  <a:pt x="35" y="374"/>
                  <a:pt x="35" y="374"/>
                  <a:pt x="35" y="374"/>
                </a:cubicBezTo>
                <a:cubicBezTo>
                  <a:pt x="35" y="374"/>
                  <a:pt x="35" y="374"/>
                  <a:pt x="35" y="374"/>
                </a:cubicBezTo>
                <a:close/>
                <a:moveTo>
                  <a:pt x="27" y="371"/>
                </a:moveTo>
                <a:cubicBezTo>
                  <a:pt x="30" y="374"/>
                  <a:pt x="30" y="374"/>
                  <a:pt x="30" y="374"/>
                </a:cubicBezTo>
                <a:cubicBezTo>
                  <a:pt x="30" y="375"/>
                  <a:pt x="30" y="375"/>
                  <a:pt x="30" y="375"/>
                </a:cubicBezTo>
                <a:cubicBezTo>
                  <a:pt x="30" y="376"/>
                  <a:pt x="30" y="376"/>
                  <a:pt x="30" y="376"/>
                </a:cubicBezTo>
                <a:cubicBezTo>
                  <a:pt x="29" y="376"/>
                  <a:pt x="29" y="376"/>
                  <a:pt x="29" y="376"/>
                </a:cubicBezTo>
                <a:cubicBezTo>
                  <a:pt x="29" y="375"/>
                  <a:pt x="29" y="375"/>
                  <a:pt x="29" y="375"/>
                </a:cubicBezTo>
                <a:cubicBezTo>
                  <a:pt x="27" y="373"/>
                  <a:pt x="27" y="373"/>
                  <a:pt x="27" y="373"/>
                </a:cubicBezTo>
                <a:cubicBezTo>
                  <a:pt x="27" y="371"/>
                  <a:pt x="27" y="371"/>
                  <a:pt x="27" y="371"/>
                </a:cubicBezTo>
                <a:cubicBezTo>
                  <a:pt x="27" y="371"/>
                  <a:pt x="27" y="370"/>
                  <a:pt x="27" y="371"/>
                </a:cubicBezTo>
                <a:close/>
                <a:moveTo>
                  <a:pt x="29" y="369"/>
                </a:moveTo>
                <a:cubicBezTo>
                  <a:pt x="30" y="371"/>
                  <a:pt x="30" y="371"/>
                  <a:pt x="30" y="371"/>
                </a:cubicBezTo>
                <a:cubicBezTo>
                  <a:pt x="30" y="372"/>
                  <a:pt x="30" y="372"/>
                  <a:pt x="30" y="372"/>
                </a:cubicBezTo>
                <a:cubicBezTo>
                  <a:pt x="31" y="374"/>
                  <a:pt x="31" y="374"/>
                  <a:pt x="31" y="374"/>
                </a:cubicBezTo>
                <a:cubicBezTo>
                  <a:pt x="32" y="375"/>
                  <a:pt x="32" y="375"/>
                  <a:pt x="32" y="375"/>
                </a:cubicBezTo>
                <a:cubicBezTo>
                  <a:pt x="32" y="373"/>
                  <a:pt x="32" y="373"/>
                  <a:pt x="32" y="373"/>
                </a:cubicBezTo>
                <a:cubicBezTo>
                  <a:pt x="31" y="371"/>
                  <a:pt x="31" y="371"/>
                  <a:pt x="31" y="371"/>
                </a:cubicBezTo>
                <a:cubicBezTo>
                  <a:pt x="30" y="369"/>
                  <a:pt x="30" y="369"/>
                  <a:pt x="30" y="369"/>
                </a:cubicBezTo>
                <a:cubicBezTo>
                  <a:pt x="30" y="369"/>
                  <a:pt x="30" y="369"/>
                  <a:pt x="30" y="369"/>
                </a:cubicBezTo>
                <a:cubicBezTo>
                  <a:pt x="29" y="369"/>
                  <a:pt x="29" y="369"/>
                  <a:pt x="29" y="369"/>
                </a:cubicBezTo>
                <a:close/>
                <a:moveTo>
                  <a:pt x="27" y="368"/>
                </a:moveTo>
                <a:cubicBezTo>
                  <a:pt x="29" y="368"/>
                  <a:pt x="29" y="368"/>
                  <a:pt x="29" y="368"/>
                </a:cubicBezTo>
                <a:cubicBezTo>
                  <a:pt x="29" y="368"/>
                  <a:pt x="29" y="368"/>
                  <a:pt x="29" y="368"/>
                </a:cubicBezTo>
                <a:cubicBezTo>
                  <a:pt x="30" y="368"/>
                  <a:pt x="30" y="368"/>
                  <a:pt x="30" y="368"/>
                </a:cubicBezTo>
                <a:cubicBezTo>
                  <a:pt x="31" y="367"/>
                  <a:pt x="31" y="367"/>
                  <a:pt x="31" y="367"/>
                </a:cubicBezTo>
                <a:cubicBezTo>
                  <a:pt x="29" y="366"/>
                  <a:pt x="29" y="366"/>
                  <a:pt x="29" y="366"/>
                </a:cubicBezTo>
                <a:cubicBezTo>
                  <a:pt x="28" y="367"/>
                  <a:pt x="28" y="367"/>
                  <a:pt x="28" y="367"/>
                </a:cubicBezTo>
                <a:cubicBezTo>
                  <a:pt x="27" y="368"/>
                  <a:pt x="27" y="368"/>
                  <a:pt x="27" y="368"/>
                </a:cubicBezTo>
                <a:close/>
                <a:moveTo>
                  <a:pt x="14" y="368"/>
                </a:moveTo>
                <a:cubicBezTo>
                  <a:pt x="14" y="366"/>
                  <a:pt x="14" y="366"/>
                  <a:pt x="14" y="366"/>
                </a:cubicBezTo>
                <a:cubicBezTo>
                  <a:pt x="16" y="363"/>
                  <a:pt x="16" y="363"/>
                  <a:pt x="16" y="363"/>
                </a:cubicBezTo>
                <a:cubicBezTo>
                  <a:pt x="18" y="363"/>
                  <a:pt x="18" y="363"/>
                  <a:pt x="18" y="363"/>
                </a:cubicBezTo>
                <a:cubicBezTo>
                  <a:pt x="17" y="365"/>
                  <a:pt x="17" y="365"/>
                  <a:pt x="17" y="365"/>
                </a:cubicBezTo>
                <a:cubicBezTo>
                  <a:pt x="18" y="365"/>
                  <a:pt x="18" y="365"/>
                  <a:pt x="18" y="365"/>
                </a:cubicBezTo>
                <a:cubicBezTo>
                  <a:pt x="19" y="364"/>
                  <a:pt x="19" y="364"/>
                  <a:pt x="19" y="364"/>
                </a:cubicBezTo>
                <a:cubicBezTo>
                  <a:pt x="20" y="364"/>
                  <a:pt x="20" y="364"/>
                  <a:pt x="20" y="364"/>
                </a:cubicBezTo>
                <a:cubicBezTo>
                  <a:pt x="20" y="365"/>
                  <a:pt x="20" y="365"/>
                  <a:pt x="20" y="365"/>
                </a:cubicBezTo>
                <a:cubicBezTo>
                  <a:pt x="20" y="367"/>
                  <a:pt x="20" y="367"/>
                  <a:pt x="20" y="367"/>
                </a:cubicBezTo>
                <a:cubicBezTo>
                  <a:pt x="18" y="368"/>
                  <a:pt x="18" y="368"/>
                  <a:pt x="18" y="368"/>
                </a:cubicBezTo>
                <a:cubicBezTo>
                  <a:pt x="16" y="369"/>
                  <a:pt x="16" y="369"/>
                  <a:pt x="16" y="369"/>
                </a:cubicBezTo>
                <a:cubicBezTo>
                  <a:pt x="17" y="369"/>
                  <a:pt x="17" y="369"/>
                  <a:pt x="17" y="369"/>
                </a:cubicBezTo>
                <a:cubicBezTo>
                  <a:pt x="17" y="370"/>
                  <a:pt x="17" y="370"/>
                  <a:pt x="17" y="370"/>
                </a:cubicBezTo>
                <a:cubicBezTo>
                  <a:pt x="18" y="369"/>
                  <a:pt x="18" y="369"/>
                  <a:pt x="18" y="369"/>
                </a:cubicBezTo>
                <a:cubicBezTo>
                  <a:pt x="19" y="368"/>
                  <a:pt x="19" y="368"/>
                  <a:pt x="19" y="368"/>
                </a:cubicBezTo>
                <a:cubicBezTo>
                  <a:pt x="21" y="366"/>
                  <a:pt x="21" y="366"/>
                  <a:pt x="21" y="366"/>
                </a:cubicBezTo>
                <a:cubicBezTo>
                  <a:pt x="23" y="365"/>
                  <a:pt x="23" y="365"/>
                  <a:pt x="23" y="365"/>
                </a:cubicBezTo>
                <a:cubicBezTo>
                  <a:pt x="23" y="365"/>
                  <a:pt x="23" y="365"/>
                  <a:pt x="23" y="365"/>
                </a:cubicBezTo>
                <a:cubicBezTo>
                  <a:pt x="21" y="367"/>
                  <a:pt x="21" y="367"/>
                  <a:pt x="21" y="367"/>
                </a:cubicBezTo>
                <a:cubicBezTo>
                  <a:pt x="21" y="369"/>
                  <a:pt x="21" y="369"/>
                  <a:pt x="21" y="369"/>
                </a:cubicBezTo>
                <a:cubicBezTo>
                  <a:pt x="19" y="371"/>
                  <a:pt x="19" y="371"/>
                  <a:pt x="19" y="371"/>
                </a:cubicBezTo>
                <a:cubicBezTo>
                  <a:pt x="19" y="373"/>
                  <a:pt x="19" y="373"/>
                  <a:pt x="19" y="373"/>
                </a:cubicBezTo>
                <a:cubicBezTo>
                  <a:pt x="18" y="374"/>
                  <a:pt x="18" y="374"/>
                  <a:pt x="18" y="374"/>
                </a:cubicBezTo>
                <a:cubicBezTo>
                  <a:pt x="17" y="374"/>
                  <a:pt x="17" y="374"/>
                  <a:pt x="17" y="374"/>
                </a:cubicBezTo>
                <a:cubicBezTo>
                  <a:pt x="16" y="375"/>
                  <a:pt x="16" y="375"/>
                  <a:pt x="16" y="375"/>
                </a:cubicBezTo>
                <a:cubicBezTo>
                  <a:pt x="17" y="375"/>
                  <a:pt x="17" y="375"/>
                  <a:pt x="17" y="375"/>
                </a:cubicBezTo>
                <a:cubicBezTo>
                  <a:pt x="18" y="375"/>
                  <a:pt x="18" y="375"/>
                  <a:pt x="18" y="375"/>
                </a:cubicBezTo>
                <a:cubicBezTo>
                  <a:pt x="19" y="375"/>
                  <a:pt x="19" y="375"/>
                  <a:pt x="19" y="375"/>
                </a:cubicBezTo>
                <a:cubicBezTo>
                  <a:pt x="19" y="376"/>
                  <a:pt x="19" y="376"/>
                  <a:pt x="19" y="376"/>
                </a:cubicBezTo>
                <a:cubicBezTo>
                  <a:pt x="18" y="376"/>
                  <a:pt x="18" y="376"/>
                  <a:pt x="18" y="376"/>
                </a:cubicBezTo>
                <a:cubicBezTo>
                  <a:pt x="17" y="378"/>
                  <a:pt x="17" y="378"/>
                  <a:pt x="17" y="378"/>
                </a:cubicBezTo>
                <a:cubicBezTo>
                  <a:pt x="17" y="379"/>
                  <a:pt x="17" y="379"/>
                  <a:pt x="17" y="379"/>
                </a:cubicBezTo>
                <a:cubicBezTo>
                  <a:pt x="17" y="381"/>
                  <a:pt x="17" y="381"/>
                  <a:pt x="17" y="381"/>
                </a:cubicBezTo>
                <a:cubicBezTo>
                  <a:pt x="18" y="383"/>
                  <a:pt x="18" y="383"/>
                  <a:pt x="18" y="383"/>
                </a:cubicBezTo>
                <a:cubicBezTo>
                  <a:pt x="18" y="385"/>
                  <a:pt x="18" y="385"/>
                  <a:pt x="18" y="385"/>
                </a:cubicBezTo>
                <a:cubicBezTo>
                  <a:pt x="19" y="384"/>
                  <a:pt x="19" y="384"/>
                  <a:pt x="19" y="384"/>
                </a:cubicBezTo>
                <a:cubicBezTo>
                  <a:pt x="19" y="385"/>
                  <a:pt x="19" y="385"/>
                  <a:pt x="19" y="385"/>
                </a:cubicBezTo>
                <a:cubicBezTo>
                  <a:pt x="19" y="386"/>
                  <a:pt x="19" y="386"/>
                  <a:pt x="19" y="386"/>
                </a:cubicBezTo>
                <a:cubicBezTo>
                  <a:pt x="17" y="386"/>
                  <a:pt x="17" y="386"/>
                  <a:pt x="17" y="386"/>
                </a:cubicBezTo>
                <a:cubicBezTo>
                  <a:pt x="15" y="382"/>
                  <a:pt x="15" y="382"/>
                  <a:pt x="15" y="382"/>
                </a:cubicBezTo>
                <a:cubicBezTo>
                  <a:pt x="15" y="380"/>
                  <a:pt x="15" y="380"/>
                  <a:pt x="15" y="380"/>
                </a:cubicBezTo>
                <a:cubicBezTo>
                  <a:pt x="15" y="379"/>
                  <a:pt x="15" y="379"/>
                  <a:pt x="15" y="379"/>
                </a:cubicBezTo>
                <a:cubicBezTo>
                  <a:pt x="14" y="379"/>
                  <a:pt x="14" y="379"/>
                  <a:pt x="14" y="379"/>
                </a:cubicBezTo>
                <a:cubicBezTo>
                  <a:pt x="14" y="378"/>
                  <a:pt x="14" y="378"/>
                  <a:pt x="14" y="378"/>
                </a:cubicBezTo>
                <a:cubicBezTo>
                  <a:pt x="14" y="377"/>
                  <a:pt x="14" y="377"/>
                  <a:pt x="14" y="377"/>
                </a:cubicBezTo>
                <a:cubicBezTo>
                  <a:pt x="16" y="377"/>
                  <a:pt x="16" y="377"/>
                  <a:pt x="16" y="377"/>
                </a:cubicBezTo>
                <a:cubicBezTo>
                  <a:pt x="14" y="376"/>
                  <a:pt x="14" y="376"/>
                  <a:pt x="14" y="376"/>
                </a:cubicBezTo>
                <a:cubicBezTo>
                  <a:pt x="14" y="376"/>
                  <a:pt x="14" y="376"/>
                  <a:pt x="14" y="376"/>
                </a:cubicBezTo>
                <a:cubicBezTo>
                  <a:pt x="14" y="374"/>
                  <a:pt x="14" y="374"/>
                  <a:pt x="14" y="374"/>
                </a:cubicBezTo>
                <a:cubicBezTo>
                  <a:pt x="13" y="373"/>
                  <a:pt x="13" y="373"/>
                  <a:pt x="13" y="373"/>
                </a:cubicBezTo>
                <a:cubicBezTo>
                  <a:pt x="14" y="372"/>
                  <a:pt x="14" y="372"/>
                  <a:pt x="14" y="372"/>
                </a:cubicBezTo>
                <a:cubicBezTo>
                  <a:pt x="15" y="373"/>
                  <a:pt x="15" y="373"/>
                  <a:pt x="15" y="373"/>
                </a:cubicBezTo>
                <a:cubicBezTo>
                  <a:pt x="15" y="373"/>
                  <a:pt x="15" y="373"/>
                  <a:pt x="15" y="373"/>
                </a:cubicBezTo>
                <a:cubicBezTo>
                  <a:pt x="15" y="372"/>
                  <a:pt x="15" y="372"/>
                  <a:pt x="15" y="372"/>
                </a:cubicBezTo>
                <a:cubicBezTo>
                  <a:pt x="14" y="371"/>
                  <a:pt x="14" y="371"/>
                  <a:pt x="14" y="371"/>
                </a:cubicBezTo>
                <a:cubicBezTo>
                  <a:pt x="13" y="371"/>
                  <a:pt x="13" y="371"/>
                  <a:pt x="13" y="371"/>
                </a:cubicBezTo>
                <a:cubicBezTo>
                  <a:pt x="13" y="370"/>
                  <a:pt x="13" y="370"/>
                  <a:pt x="13" y="370"/>
                </a:cubicBezTo>
                <a:cubicBezTo>
                  <a:pt x="14" y="368"/>
                  <a:pt x="14" y="368"/>
                  <a:pt x="14" y="368"/>
                </a:cubicBezTo>
                <a:close/>
                <a:moveTo>
                  <a:pt x="29" y="362"/>
                </a:moveTo>
                <a:cubicBezTo>
                  <a:pt x="29" y="361"/>
                  <a:pt x="29" y="361"/>
                  <a:pt x="29" y="361"/>
                </a:cubicBezTo>
                <a:cubicBezTo>
                  <a:pt x="30" y="360"/>
                  <a:pt x="30" y="360"/>
                  <a:pt x="30" y="360"/>
                </a:cubicBezTo>
                <a:cubicBezTo>
                  <a:pt x="30" y="361"/>
                  <a:pt x="30" y="361"/>
                  <a:pt x="30" y="361"/>
                </a:cubicBezTo>
                <a:cubicBezTo>
                  <a:pt x="29" y="362"/>
                  <a:pt x="29" y="362"/>
                  <a:pt x="29" y="362"/>
                </a:cubicBezTo>
                <a:close/>
                <a:moveTo>
                  <a:pt x="157" y="170"/>
                </a:moveTo>
                <a:cubicBezTo>
                  <a:pt x="158" y="171"/>
                  <a:pt x="158" y="171"/>
                  <a:pt x="158" y="171"/>
                </a:cubicBezTo>
                <a:cubicBezTo>
                  <a:pt x="158" y="171"/>
                  <a:pt x="158" y="171"/>
                  <a:pt x="158" y="171"/>
                </a:cubicBezTo>
                <a:cubicBezTo>
                  <a:pt x="158" y="170"/>
                  <a:pt x="158" y="170"/>
                  <a:pt x="158" y="170"/>
                </a:cubicBezTo>
                <a:cubicBezTo>
                  <a:pt x="159" y="170"/>
                  <a:pt x="159" y="170"/>
                  <a:pt x="159" y="170"/>
                </a:cubicBezTo>
                <a:cubicBezTo>
                  <a:pt x="157" y="170"/>
                  <a:pt x="157" y="170"/>
                  <a:pt x="157" y="170"/>
                </a:cubicBezTo>
                <a:cubicBezTo>
                  <a:pt x="157" y="170"/>
                  <a:pt x="157" y="170"/>
                  <a:pt x="157" y="170"/>
                </a:cubicBezTo>
                <a:close/>
                <a:moveTo>
                  <a:pt x="145" y="158"/>
                </a:moveTo>
                <a:cubicBezTo>
                  <a:pt x="146" y="159"/>
                  <a:pt x="146" y="159"/>
                  <a:pt x="146" y="159"/>
                </a:cubicBezTo>
                <a:cubicBezTo>
                  <a:pt x="147" y="158"/>
                  <a:pt x="147" y="158"/>
                  <a:pt x="147" y="158"/>
                </a:cubicBezTo>
                <a:cubicBezTo>
                  <a:pt x="147" y="157"/>
                  <a:pt x="147" y="157"/>
                  <a:pt x="147" y="157"/>
                </a:cubicBezTo>
                <a:cubicBezTo>
                  <a:pt x="145" y="157"/>
                  <a:pt x="145" y="157"/>
                  <a:pt x="145" y="157"/>
                </a:cubicBezTo>
                <a:cubicBezTo>
                  <a:pt x="145" y="158"/>
                  <a:pt x="145" y="158"/>
                  <a:pt x="145" y="158"/>
                </a:cubicBezTo>
                <a:close/>
                <a:moveTo>
                  <a:pt x="101" y="162"/>
                </a:moveTo>
                <a:cubicBezTo>
                  <a:pt x="101" y="162"/>
                  <a:pt x="101" y="162"/>
                  <a:pt x="101" y="162"/>
                </a:cubicBezTo>
                <a:cubicBezTo>
                  <a:pt x="102" y="161"/>
                  <a:pt x="102" y="161"/>
                  <a:pt x="102" y="161"/>
                </a:cubicBezTo>
                <a:cubicBezTo>
                  <a:pt x="101" y="161"/>
                  <a:pt x="101" y="161"/>
                  <a:pt x="101" y="161"/>
                </a:cubicBezTo>
                <a:cubicBezTo>
                  <a:pt x="101" y="161"/>
                  <a:pt x="101" y="162"/>
                  <a:pt x="101" y="162"/>
                </a:cubicBezTo>
                <a:close/>
                <a:moveTo>
                  <a:pt x="100" y="164"/>
                </a:moveTo>
                <a:cubicBezTo>
                  <a:pt x="100" y="164"/>
                  <a:pt x="100" y="164"/>
                  <a:pt x="100" y="164"/>
                </a:cubicBezTo>
                <a:cubicBezTo>
                  <a:pt x="101" y="163"/>
                  <a:pt x="101" y="163"/>
                  <a:pt x="101" y="163"/>
                </a:cubicBezTo>
                <a:cubicBezTo>
                  <a:pt x="101" y="164"/>
                  <a:pt x="101" y="164"/>
                  <a:pt x="101" y="164"/>
                </a:cubicBezTo>
                <a:cubicBezTo>
                  <a:pt x="100" y="164"/>
                  <a:pt x="100" y="164"/>
                  <a:pt x="100" y="164"/>
                </a:cubicBezTo>
                <a:close/>
                <a:moveTo>
                  <a:pt x="98" y="168"/>
                </a:moveTo>
                <a:cubicBezTo>
                  <a:pt x="98" y="170"/>
                  <a:pt x="98" y="170"/>
                  <a:pt x="98" y="170"/>
                </a:cubicBezTo>
                <a:cubicBezTo>
                  <a:pt x="98" y="171"/>
                  <a:pt x="98" y="171"/>
                  <a:pt x="98" y="171"/>
                </a:cubicBezTo>
                <a:cubicBezTo>
                  <a:pt x="98" y="172"/>
                  <a:pt x="98" y="172"/>
                  <a:pt x="98" y="172"/>
                </a:cubicBezTo>
                <a:cubicBezTo>
                  <a:pt x="99" y="172"/>
                  <a:pt x="99" y="172"/>
                  <a:pt x="99" y="172"/>
                </a:cubicBezTo>
                <a:cubicBezTo>
                  <a:pt x="100" y="171"/>
                  <a:pt x="100" y="171"/>
                  <a:pt x="100" y="171"/>
                </a:cubicBezTo>
                <a:cubicBezTo>
                  <a:pt x="101" y="171"/>
                  <a:pt x="101" y="171"/>
                  <a:pt x="101" y="171"/>
                </a:cubicBezTo>
                <a:cubicBezTo>
                  <a:pt x="105" y="168"/>
                  <a:pt x="105" y="168"/>
                  <a:pt x="105" y="168"/>
                </a:cubicBezTo>
                <a:cubicBezTo>
                  <a:pt x="107" y="167"/>
                  <a:pt x="107" y="167"/>
                  <a:pt x="107" y="167"/>
                </a:cubicBezTo>
                <a:cubicBezTo>
                  <a:pt x="108" y="165"/>
                  <a:pt x="108" y="165"/>
                  <a:pt x="108" y="165"/>
                </a:cubicBezTo>
                <a:cubicBezTo>
                  <a:pt x="107" y="166"/>
                  <a:pt x="107" y="166"/>
                  <a:pt x="107" y="166"/>
                </a:cubicBezTo>
                <a:cubicBezTo>
                  <a:pt x="106" y="165"/>
                  <a:pt x="106" y="165"/>
                  <a:pt x="106" y="165"/>
                </a:cubicBezTo>
                <a:cubicBezTo>
                  <a:pt x="106" y="163"/>
                  <a:pt x="106" y="163"/>
                  <a:pt x="106" y="163"/>
                </a:cubicBezTo>
                <a:cubicBezTo>
                  <a:pt x="105" y="163"/>
                  <a:pt x="105" y="163"/>
                  <a:pt x="105" y="163"/>
                </a:cubicBezTo>
                <a:cubicBezTo>
                  <a:pt x="104" y="165"/>
                  <a:pt x="104" y="165"/>
                  <a:pt x="104" y="165"/>
                </a:cubicBezTo>
                <a:cubicBezTo>
                  <a:pt x="103" y="165"/>
                  <a:pt x="103" y="165"/>
                  <a:pt x="103" y="165"/>
                </a:cubicBezTo>
                <a:cubicBezTo>
                  <a:pt x="103" y="166"/>
                  <a:pt x="103" y="166"/>
                  <a:pt x="103" y="166"/>
                </a:cubicBezTo>
                <a:cubicBezTo>
                  <a:pt x="102" y="166"/>
                  <a:pt x="102" y="166"/>
                  <a:pt x="102" y="166"/>
                </a:cubicBezTo>
                <a:cubicBezTo>
                  <a:pt x="102" y="167"/>
                  <a:pt x="102" y="167"/>
                  <a:pt x="102" y="167"/>
                </a:cubicBezTo>
                <a:cubicBezTo>
                  <a:pt x="102" y="168"/>
                  <a:pt x="102" y="168"/>
                  <a:pt x="102" y="168"/>
                </a:cubicBezTo>
                <a:cubicBezTo>
                  <a:pt x="101" y="167"/>
                  <a:pt x="101" y="167"/>
                  <a:pt x="101" y="167"/>
                </a:cubicBezTo>
                <a:cubicBezTo>
                  <a:pt x="101" y="166"/>
                  <a:pt x="101" y="166"/>
                  <a:pt x="101" y="166"/>
                </a:cubicBezTo>
                <a:cubicBezTo>
                  <a:pt x="101" y="165"/>
                  <a:pt x="101" y="165"/>
                  <a:pt x="101" y="165"/>
                </a:cubicBezTo>
                <a:cubicBezTo>
                  <a:pt x="100" y="166"/>
                  <a:pt x="100" y="166"/>
                  <a:pt x="100" y="166"/>
                </a:cubicBezTo>
                <a:cubicBezTo>
                  <a:pt x="99" y="166"/>
                  <a:pt x="99" y="166"/>
                  <a:pt x="99" y="166"/>
                </a:cubicBezTo>
                <a:cubicBezTo>
                  <a:pt x="99" y="167"/>
                  <a:pt x="99" y="167"/>
                  <a:pt x="99" y="167"/>
                </a:cubicBezTo>
                <a:cubicBezTo>
                  <a:pt x="98" y="168"/>
                  <a:pt x="98" y="168"/>
                  <a:pt x="98" y="168"/>
                </a:cubicBezTo>
                <a:close/>
                <a:moveTo>
                  <a:pt x="94" y="172"/>
                </a:moveTo>
                <a:cubicBezTo>
                  <a:pt x="94" y="171"/>
                  <a:pt x="94" y="171"/>
                  <a:pt x="94" y="171"/>
                </a:cubicBezTo>
                <a:cubicBezTo>
                  <a:pt x="94" y="168"/>
                  <a:pt x="94" y="168"/>
                  <a:pt x="94" y="168"/>
                </a:cubicBezTo>
                <a:cubicBezTo>
                  <a:pt x="93" y="169"/>
                  <a:pt x="93" y="169"/>
                  <a:pt x="93" y="169"/>
                </a:cubicBezTo>
                <a:cubicBezTo>
                  <a:pt x="93" y="171"/>
                  <a:pt x="93" y="171"/>
                  <a:pt x="93" y="171"/>
                </a:cubicBezTo>
                <a:cubicBezTo>
                  <a:pt x="92" y="171"/>
                  <a:pt x="92" y="171"/>
                  <a:pt x="92" y="171"/>
                </a:cubicBezTo>
                <a:cubicBezTo>
                  <a:pt x="93" y="171"/>
                  <a:pt x="93" y="171"/>
                  <a:pt x="93" y="171"/>
                </a:cubicBezTo>
                <a:cubicBezTo>
                  <a:pt x="93" y="171"/>
                  <a:pt x="94" y="172"/>
                  <a:pt x="94" y="172"/>
                </a:cubicBezTo>
                <a:close/>
                <a:moveTo>
                  <a:pt x="94" y="173"/>
                </a:moveTo>
                <a:cubicBezTo>
                  <a:pt x="95" y="172"/>
                  <a:pt x="95" y="172"/>
                  <a:pt x="95" y="172"/>
                </a:cubicBezTo>
                <a:cubicBezTo>
                  <a:pt x="95" y="171"/>
                  <a:pt x="95" y="171"/>
                  <a:pt x="95" y="171"/>
                </a:cubicBezTo>
                <a:cubicBezTo>
                  <a:pt x="95" y="170"/>
                  <a:pt x="95" y="170"/>
                  <a:pt x="95" y="170"/>
                </a:cubicBezTo>
                <a:cubicBezTo>
                  <a:pt x="95" y="168"/>
                  <a:pt x="95" y="168"/>
                  <a:pt x="95" y="168"/>
                </a:cubicBezTo>
                <a:cubicBezTo>
                  <a:pt x="95" y="167"/>
                  <a:pt x="95" y="167"/>
                  <a:pt x="95" y="167"/>
                </a:cubicBezTo>
                <a:cubicBezTo>
                  <a:pt x="96" y="167"/>
                  <a:pt x="96" y="167"/>
                  <a:pt x="96" y="167"/>
                </a:cubicBezTo>
                <a:cubicBezTo>
                  <a:pt x="96" y="167"/>
                  <a:pt x="96" y="167"/>
                  <a:pt x="96" y="167"/>
                </a:cubicBezTo>
                <a:cubicBezTo>
                  <a:pt x="97" y="166"/>
                  <a:pt x="97" y="166"/>
                  <a:pt x="97" y="166"/>
                </a:cubicBezTo>
                <a:cubicBezTo>
                  <a:pt x="97" y="168"/>
                  <a:pt x="97" y="168"/>
                  <a:pt x="97" y="168"/>
                </a:cubicBezTo>
                <a:cubicBezTo>
                  <a:pt x="97" y="171"/>
                  <a:pt x="97" y="171"/>
                  <a:pt x="97" y="171"/>
                </a:cubicBezTo>
                <a:cubicBezTo>
                  <a:pt x="97" y="172"/>
                  <a:pt x="97" y="172"/>
                  <a:pt x="97" y="172"/>
                </a:cubicBezTo>
                <a:cubicBezTo>
                  <a:pt x="97" y="173"/>
                  <a:pt x="97" y="173"/>
                  <a:pt x="97" y="173"/>
                </a:cubicBezTo>
                <a:cubicBezTo>
                  <a:pt x="96" y="174"/>
                  <a:pt x="96" y="174"/>
                  <a:pt x="96" y="174"/>
                </a:cubicBezTo>
                <a:cubicBezTo>
                  <a:pt x="94" y="173"/>
                  <a:pt x="94" y="173"/>
                  <a:pt x="94" y="173"/>
                </a:cubicBezTo>
                <a:close/>
                <a:moveTo>
                  <a:pt x="96" y="179"/>
                </a:moveTo>
                <a:cubicBezTo>
                  <a:pt x="97" y="178"/>
                  <a:pt x="97" y="178"/>
                  <a:pt x="97" y="178"/>
                </a:cubicBezTo>
                <a:cubicBezTo>
                  <a:pt x="96" y="176"/>
                  <a:pt x="96" y="176"/>
                  <a:pt x="96" y="176"/>
                </a:cubicBezTo>
                <a:cubicBezTo>
                  <a:pt x="96" y="174"/>
                  <a:pt x="96" y="174"/>
                  <a:pt x="96" y="174"/>
                </a:cubicBezTo>
                <a:cubicBezTo>
                  <a:pt x="95" y="174"/>
                  <a:pt x="95" y="174"/>
                  <a:pt x="95" y="174"/>
                </a:cubicBezTo>
                <a:cubicBezTo>
                  <a:pt x="93" y="172"/>
                  <a:pt x="93" y="172"/>
                  <a:pt x="93" y="172"/>
                </a:cubicBezTo>
                <a:cubicBezTo>
                  <a:pt x="92" y="173"/>
                  <a:pt x="92" y="173"/>
                  <a:pt x="92" y="173"/>
                </a:cubicBezTo>
                <a:cubicBezTo>
                  <a:pt x="92" y="173"/>
                  <a:pt x="92" y="173"/>
                  <a:pt x="92" y="173"/>
                </a:cubicBezTo>
                <a:cubicBezTo>
                  <a:pt x="94" y="175"/>
                  <a:pt x="94" y="175"/>
                  <a:pt x="94" y="175"/>
                </a:cubicBezTo>
                <a:cubicBezTo>
                  <a:pt x="93" y="175"/>
                  <a:pt x="93" y="175"/>
                  <a:pt x="93" y="175"/>
                </a:cubicBezTo>
                <a:cubicBezTo>
                  <a:pt x="93" y="176"/>
                  <a:pt x="93" y="176"/>
                  <a:pt x="93" y="176"/>
                </a:cubicBezTo>
                <a:cubicBezTo>
                  <a:pt x="94" y="177"/>
                  <a:pt x="94" y="177"/>
                  <a:pt x="94" y="177"/>
                </a:cubicBezTo>
                <a:cubicBezTo>
                  <a:pt x="96" y="179"/>
                  <a:pt x="96" y="179"/>
                  <a:pt x="96" y="179"/>
                </a:cubicBezTo>
                <a:close/>
                <a:moveTo>
                  <a:pt x="82" y="156"/>
                </a:moveTo>
                <a:cubicBezTo>
                  <a:pt x="83" y="158"/>
                  <a:pt x="83" y="158"/>
                  <a:pt x="83" y="158"/>
                </a:cubicBezTo>
                <a:cubicBezTo>
                  <a:pt x="84" y="158"/>
                  <a:pt x="84" y="158"/>
                  <a:pt x="84" y="158"/>
                </a:cubicBezTo>
                <a:cubicBezTo>
                  <a:pt x="85" y="158"/>
                  <a:pt x="85" y="158"/>
                  <a:pt x="85" y="158"/>
                </a:cubicBezTo>
                <a:cubicBezTo>
                  <a:pt x="85" y="158"/>
                  <a:pt x="85" y="158"/>
                  <a:pt x="85" y="158"/>
                </a:cubicBezTo>
                <a:cubicBezTo>
                  <a:pt x="84" y="156"/>
                  <a:pt x="84" y="156"/>
                  <a:pt x="84" y="156"/>
                </a:cubicBezTo>
                <a:cubicBezTo>
                  <a:pt x="83" y="156"/>
                  <a:pt x="83" y="156"/>
                  <a:pt x="83" y="156"/>
                </a:cubicBezTo>
                <a:cubicBezTo>
                  <a:pt x="82" y="156"/>
                  <a:pt x="82" y="156"/>
                  <a:pt x="82" y="156"/>
                </a:cubicBezTo>
                <a:close/>
                <a:moveTo>
                  <a:pt x="56" y="425"/>
                </a:moveTo>
                <a:cubicBezTo>
                  <a:pt x="56" y="425"/>
                  <a:pt x="56" y="425"/>
                  <a:pt x="56" y="425"/>
                </a:cubicBezTo>
                <a:cubicBezTo>
                  <a:pt x="55" y="424"/>
                  <a:pt x="55" y="424"/>
                  <a:pt x="55" y="424"/>
                </a:cubicBezTo>
                <a:cubicBezTo>
                  <a:pt x="54" y="422"/>
                  <a:pt x="54" y="422"/>
                  <a:pt x="54" y="422"/>
                </a:cubicBezTo>
                <a:cubicBezTo>
                  <a:pt x="56" y="420"/>
                  <a:pt x="56" y="420"/>
                  <a:pt x="56" y="420"/>
                </a:cubicBezTo>
                <a:cubicBezTo>
                  <a:pt x="56" y="418"/>
                  <a:pt x="56" y="418"/>
                  <a:pt x="56" y="418"/>
                </a:cubicBezTo>
                <a:cubicBezTo>
                  <a:pt x="55" y="419"/>
                  <a:pt x="55" y="419"/>
                  <a:pt x="55" y="419"/>
                </a:cubicBezTo>
                <a:cubicBezTo>
                  <a:pt x="54" y="419"/>
                  <a:pt x="54" y="419"/>
                  <a:pt x="54" y="419"/>
                </a:cubicBezTo>
                <a:cubicBezTo>
                  <a:pt x="52" y="420"/>
                  <a:pt x="52" y="420"/>
                  <a:pt x="52" y="420"/>
                </a:cubicBezTo>
                <a:cubicBezTo>
                  <a:pt x="51" y="419"/>
                  <a:pt x="51" y="419"/>
                  <a:pt x="51" y="419"/>
                </a:cubicBezTo>
                <a:cubicBezTo>
                  <a:pt x="51" y="417"/>
                  <a:pt x="51" y="417"/>
                  <a:pt x="51" y="417"/>
                </a:cubicBezTo>
                <a:cubicBezTo>
                  <a:pt x="52" y="417"/>
                  <a:pt x="52" y="417"/>
                  <a:pt x="52" y="417"/>
                </a:cubicBezTo>
                <a:cubicBezTo>
                  <a:pt x="52" y="418"/>
                  <a:pt x="52" y="418"/>
                  <a:pt x="52" y="418"/>
                </a:cubicBezTo>
                <a:cubicBezTo>
                  <a:pt x="53" y="419"/>
                  <a:pt x="53" y="419"/>
                  <a:pt x="53" y="419"/>
                </a:cubicBezTo>
                <a:cubicBezTo>
                  <a:pt x="53" y="418"/>
                  <a:pt x="53" y="418"/>
                  <a:pt x="53" y="418"/>
                </a:cubicBezTo>
                <a:cubicBezTo>
                  <a:pt x="52" y="417"/>
                  <a:pt x="52" y="417"/>
                  <a:pt x="52" y="417"/>
                </a:cubicBezTo>
                <a:cubicBezTo>
                  <a:pt x="52" y="416"/>
                  <a:pt x="52" y="416"/>
                  <a:pt x="52" y="416"/>
                </a:cubicBezTo>
                <a:cubicBezTo>
                  <a:pt x="51" y="416"/>
                  <a:pt x="51" y="416"/>
                  <a:pt x="51" y="416"/>
                </a:cubicBezTo>
                <a:cubicBezTo>
                  <a:pt x="50" y="416"/>
                  <a:pt x="50" y="416"/>
                  <a:pt x="50" y="416"/>
                </a:cubicBezTo>
                <a:cubicBezTo>
                  <a:pt x="49" y="416"/>
                  <a:pt x="49" y="416"/>
                  <a:pt x="49" y="416"/>
                </a:cubicBezTo>
                <a:cubicBezTo>
                  <a:pt x="48" y="414"/>
                  <a:pt x="48" y="414"/>
                  <a:pt x="48" y="414"/>
                </a:cubicBezTo>
                <a:cubicBezTo>
                  <a:pt x="48" y="413"/>
                  <a:pt x="48" y="413"/>
                  <a:pt x="48" y="413"/>
                </a:cubicBezTo>
                <a:cubicBezTo>
                  <a:pt x="50" y="412"/>
                  <a:pt x="50" y="412"/>
                  <a:pt x="50" y="412"/>
                </a:cubicBezTo>
                <a:cubicBezTo>
                  <a:pt x="50" y="411"/>
                  <a:pt x="50" y="411"/>
                  <a:pt x="50" y="411"/>
                </a:cubicBezTo>
                <a:cubicBezTo>
                  <a:pt x="51" y="410"/>
                  <a:pt x="51" y="410"/>
                  <a:pt x="51" y="410"/>
                </a:cubicBezTo>
                <a:cubicBezTo>
                  <a:pt x="51" y="410"/>
                  <a:pt x="51" y="410"/>
                  <a:pt x="51" y="410"/>
                </a:cubicBezTo>
                <a:cubicBezTo>
                  <a:pt x="50" y="410"/>
                  <a:pt x="50" y="410"/>
                  <a:pt x="50" y="410"/>
                </a:cubicBezTo>
                <a:cubicBezTo>
                  <a:pt x="48" y="410"/>
                  <a:pt x="48" y="410"/>
                  <a:pt x="48" y="410"/>
                </a:cubicBezTo>
                <a:cubicBezTo>
                  <a:pt x="48" y="410"/>
                  <a:pt x="48" y="410"/>
                  <a:pt x="48" y="410"/>
                </a:cubicBezTo>
                <a:cubicBezTo>
                  <a:pt x="49" y="409"/>
                  <a:pt x="49" y="409"/>
                  <a:pt x="49" y="409"/>
                </a:cubicBezTo>
                <a:cubicBezTo>
                  <a:pt x="50" y="407"/>
                  <a:pt x="50" y="407"/>
                  <a:pt x="50" y="407"/>
                </a:cubicBezTo>
                <a:cubicBezTo>
                  <a:pt x="50" y="405"/>
                  <a:pt x="50" y="405"/>
                  <a:pt x="50" y="405"/>
                </a:cubicBezTo>
                <a:cubicBezTo>
                  <a:pt x="50" y="405"/>
                  <a:pt x="50" y="405"/>
                  <a:pt x="50" y="405"/>
                </a:cubicBezTo>
                <a:cubicBezTo>
                  <a:pt x="50" y="404"/>
                  <a:pt x="50" y="404"/>
                  <a:pt x="50" y="404"/>
                </a:cubicBezTo>
                <a:cubicBezTo>
                  <a:pt x="50" y="404"/>
                  <a:pt x="50" y="404"/>
                  <a:pt x="50" y="404"/>
                </a:cubicBezTo>
                <a:cubicBezTo>
                  <a:pt x="49" y="405"/>
                  <a:pt x="49" y="405"/>
                  <a:pt x="49" y="405"/>
                </a:cubicBezTo>
                <a:cubicBezTo>
                  <a:pt x="49" y="407"/>
                  <a:pt x="49" y="407"/>
                  <a:pt x="49" y="407"/>
                </a:cubicBezTo>
                <a:cubicBezTo>
                  <a:pt x="48" y="409"/>
                  <a:pt x="48" y="409"/>
                  <a:pt x="48" y="409"/>
                </a:cubicBezTo>
                <a:cubicBezTo>
                  <a:pt x="47" y="409"/>
                  <a:pt x="47" y="409"/>
                  <a:pt x="47" y="409"/>
                </a:cubicBezTo>
                <a:cubicBezTo>
                  <a:pt x="46" y="409"/>
                  <a:pt x="46" y="409"/>
                  <a:pt x="46" y="409"/>
                </a:cubicBezTo>
                <a:cubicBezTo>
                  <a:pt x="45" y="409"/>
                  <a:pt x="45" y="409"/>
                  <a:pt x="45" y="409"/>
                </a:cubicBezTo>
                <a:cubicBezTo>
                  <a:pt x="45" y="408"/>
                  <a:pt x="45" y="408"/>
                  <a:pt x="45" y="408"/>
                </a:cubicBezTo>
                <a:cubicBezTo>
                  <a:pt x="46" y="407"/>
                  <a:pt x="46" y="407"/>
                  <a:pt x="46" y="407"/>
                </a:cubicBezTo>
                <a:cubicBezTo>
                  <a:pt x="46" y="407"/>
                  <a:pt x="46" y="407"/>
                  <a:pt x="46" y="407"/>
                </a:cubicBezTo>
                <a:cubicBezTo>
                  <a:pt x="45" y="407"/>
                  <a:pt x="45" y="407"/>
                  <a:pt x="45" y="407"/>
                </a:cubicBezTo>
                <a:cubicBezTo>
                  <a:pt x="44" y="408"/>
                  <a:pt x="44" y="408"/>
                  <a:pt x="44" y="408"/>
                </a:cubicBezTo>
                <a:cubicBezTo>
                  <a:pt x="44" y="408"/>
                  <a:pt x="44" y="408"/>
                  <a:pt x="44" y="408"/>
                </a:cubicBezTo>
                <a:cubicBezTo>
                  <a:pt x="44" y="408"/>
                  <a:pt x="44" y="408"/>
                  <a:pt x="44" y="408"/>
                </a:cubicBezTo>
                <a:cubicBezTo>
                  <a:pt x="43" y="408"/>
                  <a:pt x="43" y="408"/>
                  <a:pt x="43" y="408"/>
                </a:cubicBezTo>
                <a:cubicBezTo>
                  <a:pt x="42" y="408"/>
                  <a:pt x="42" y="408"/>
                  <a:pt x="42" y="408"/>
                </a:cubicBezTo>
                <a:cubicBezTo>
                  <a:pt x="41" y="408"/>
                  <a:pt x="41" y="408"/>
                  <a:pt x="41" y="408"/>
                </a:cubicBezTo>
                <a:cubicBezTo>
                  <a:pt x="41" y="407"/>
                  <a:pt x="41" y="407"/>
                  <a:pt x="41" y="407"/>
                </a:cubicBezTo>
                <a:cubicBezTo>
                  <a:pt x="42" y="406"/>
                  <a:pt x="42" y="406"/>
                  <a:pt x="42" y="406"/>
                </a:cubicBezTo>
                <a:cubicBezTo>
                  <a:pt x="43" y="406"/>
                  <a:pt x="43" y="406"/>
                  <a:pt x="43" y="406"/>
                </a:cubicBezTo>
                <a:cubicBezTo>
                  <a:pt x="45" y="406"/>
                  <a:pt x="45" y="406"/>
                  <a:pt x="45" y="406"/>
                </a:cubicBezTo>
                <a:cubicBezTo>
                  <a:pt x="46" y="405"/>
                  <a:pt x="46" y="405"/>
                  <a:pt x="46" y="405"/>
                </a:cubicBezTo>
                <a:cubicBezTo>
                  <a:pt x="47" y="404"/>
                  <a:pt x="47" y="404"/>
                  <a:pt x="47" y="404"/>
                </a:cubicBezTo>
                <a:cubicBezTo>
                  <a:pt x="47" y="402"/>
                  <a:pt x="47" y="402"/>
                  <a:pt x="47" y="402"/>
                </a:cubicBezTo>
                <a:cubicBezTo>
                  <a:pt x="47" y="403"/>
                  <a:pt x="47" y="403"/>
                  <a:pt x="47" y="403"/>
                </a:cubicBezTo>
                <a:cubicBezTo>
                  <a:pt x="46" y="404"/>
                  <a:pt x="46" y="404"/>
                  <a:pt x="46" y="404"/>
                </a:cubicBezTo>
                <a:cubicBezTo>
                  <a:pt x="45" y="405"/>
                  <a:pt x="45" y="405"/>
                  <a:pt x="45" y="405"/>
                </a:cubicBezTo>
                <a:cubicBezTo>
                  <a:pt x="44" y="406"/>
                  <a:pt x="44" y="406"/>
                  <a:pt x="44" y="406"/>
                </a:cubicBezTo>
                <a:cubicBezTo>
                  <a:pt x="42" y="405"/>
                  <a:pt x="42" y="405"/>
                  <a:pt x="42" y="405"/>
                </a:cubicBezTo>
                <a:cubicBezTo>
                  <a:pt x="42" y="404"/>
                  <a:pt x="42" y="404"/>
                  <a:pt x="42" y="404"/>
                </a:cubicBezTo>
                <a:cubicBezTo>
                  <a:pt x="41" y="404"/>
                  <a:pt x="41" y="404"/>
                  <a:pt x="41" y="404"/>
                </a:cubicBezTo>
                <a:cubicBezTo>
                  <a:pt x="41" y="404"/>
                  <a:pt x="41" y="404"/>
                  <a:pt x="41" y="404"/>
                </a:cubicBezTo>
                <a:cubicBezTo>
                  <a:pt x="42" y="403"/>
                  <a:pt x="42" y="403"/>
                  <a:pt x="42" y="403"/>
                </a:cubicBezTo>
                <a:cubicBezTo>
                  <a:pt x="41" y="403"/>
                  <a:pt x="41" y="403"/>
                  <a:pt x="41" y="403"/>
                </a:cubicBezTo>
                <a:cubicBezTo>
                  <a:pt x="40" y="403"/>
                  <a:pt x="40" y="403"/>
                  <a:pt x="40" y="403"/>
                </a:cubicBezTo>
                <a:cubicBezTo>
                  <a:pt x="39" y="403"/>
                  <a:pt x="39" y="403"/>
                  <a:pt x="39" y="403"/>
                </a:cubicBezTo>
                <a:cubicBezTo>
                  <a:pt x="38" y="403"/>
                  <a:pt x="38" y="403"/>
                  <a:pt x="38" y="403"/>
                </a:cubicBezTo>
                <a:cubicBezTo>
                  <a:pt x="38" y="404"/>
                  <a:pt x="38" y="404"/>
                  <a:pt x="38" y="404"/>
                </a:cubicBezTo>
                <a:cubicBezTo>
                  <a:pt x="36" y="403"/>
                  <a:pt x="36" y="403"/>
                  <a:pt x="36" y="403"/>
                </a:cubicBezTo>
                <a:cubicBezTo>
                  <a:pt x="36" y="402"/>
                  <a:pt x="36" y="402"/>
                  <a:pt x="36" y="402"/>
                </a:cubicBezTo>
                <a:cubicBezTo>
                  <a:pt x="36" y="401"/>
                  <a:pt x="36" y="401"/>
                  <a:pt x="36" y="401"/>
                </a:cubicBezTo>
                <a:cubicBezTo>
                  <a:pt x="37" y="402"/>
                  <a:pt x="37" y="402"/>
                  <a:pt x="37" y="402"/>
                </a:cubicBezTo>
                <a:cubicBezTo>
                  <a:pt x="38" y="402"/>
                  <a:pt x="38" y="402"/>
                  <a:pt x="38" y="402"/>
                </a:cubicBezTo>
                <a:cubicBezTo>
                  <a:pt x="40" y="402"/>
                  <a:pt x="40" y="402"/>
                  <a:pt x="40" y="402"/>
                </a:cubicBezTo>
                <a:cubicBezTo>
                  <a:pt x="40" y="401"/>
                  <a:pt x="40" y="401"/>
                  <a:pt x="40" y="401"/>
                </a:cubicBezTo>
                <a:cubicBezTo>
                  <a:pt x="39" y="401"/>
                  <a:pt x="39" y="401"/>
                  <a:pt x="39" y="401"/>
                </a:cubicBezTo>
                <a:cubicBezTo>
                  <a:pt x="38" y="401"/>
                  <a:pt x="38" y="401"/>
                  <a:pt x="38" y="401"/>
                </a:cubicBezTo>
                <a:cubicBezTo>
                  <a:pt x="37" y="401"/>
                  <a:pt x="37" y="401"/>
                  <a:pt x="37" y="401"/>
                </a:cubicBezTo>
                <a:cubicBezTo>
                  <a:pt x="37" y="401"/>
                  <a:pt x="37" y="401"/>
                  <a:pt x="37" y="401"/>
                </a:cubicBezTo>
                <a:cubicBezTo>
                  <a:pt x="39" y="401"/>
                  <a:pt x="39" y="401"/>
                  <a:pt x="39" y="401"/>
                </a:cubicBezTo>
                <a:cubicBezTo>
                  <a:pt x="40" y="401"/>
                  <a:pt x="40" y="401"/>
                  <a:pt x="40" y="401"/>
                </a:cubicBezTo>
                <a:cubicBezTo>
                  <a:pt x="40" y="400"/>
                  <a:pt x="40" y="400"/>
                  <a:pt x="40" y="400"/>
                </a:cubicBezTo>
                <a:cubicBezTo>
                  <a:pt x="38" y="400"/>
                  <a:pt x="38" y="400"/>
                  <a:pt x="38" y="400"/>
                </a:cubicBezTo>
                <a:cubicBezTo>
                  <a:pt x="38" y="400"/>
                  <a:pt x="38" y="400"/>
                  <a:pt x="38" y="400"/>
                </a:cubicBezTo>
                <a:cubicBezTo>
                  <a:pt x="36" y="400"/>
                  <a:pt x="36" y="400"/>
                  <a:pt x="36" y="400"/>
                </a:cubicBezTo>
                <a:cubicBezTo>
                  <a:pt x="35" y="400"/>
                  <a:pt x="35" y="400"/>
                  <a:pt x="35" y="400"/>
                </a:cubicBezTo>
                <a:cubicBezTo>
                  <a:pt x="35" y="399"/>
                  <a:pt x="35" y="399"/>
                  <a:pt x="35" y="399"/>
                </a:cubicBezTo>
                <a:cubicBezTo>
                  <a:pt x="35" y="398"/>
                  <a:pt x="35" y="398"/>
                  <a:pt x="35" y="398"/>
                </a:cubicBezTo>
                <a:cubicBezTo>
                  <a:pt x="36" y="398"/>
                  <a:pt x="36" y="398"/>
                  <a:pt x="36" y="398"/>
                </a:cubicBezTo>
                <a:cubicBezTo>
                  <a:pt x="37" y="399"/>
                  <a:pt x="37" y="399"/>
                  <a:pt x="37" y="399"/>
                </a:cubicBezTo>
                <a:cubicBezTo>
                  <a:pt x="38" y="399"/>
                  <a:pt x="38" y="399"/>
                  <a:pt x="38" y="399"/>
                </a:cubicBezTo>
                <a:cubicBezTo>
                  <a:pt x="39" y="398"/>
                  <a:pt x="39" y="398"/>
                  <a:pt x="39" y="398"/>
                </a:cubicBezTo>
                <a:cubicBezTo>
                  <a:pt x="38" y="398"/>
                  <a:pt x="38" y="398"/>
                  <a:pt x="38" y="398"/>
                </a:cubicBezTo>
                <a:cubicBezTo>
                  <a:pt x="37" y="398"/>
                  <a:pt x="37" y="398"/>
                  <a:pt x="37" y="398"/>
                </a:cubicBezTo>
                <a:cubicBezTo>
                  <a:pt x="35" y="397"/>
                  <a:pt x="35" y="397"/>
                  <a:pt x="35" y="397"/>
                </a:cubicBezTo>
                <a:cubicBezTo>
                  <a:pt x="35" y="397"/>
                  <a:pt x="35" y="397"/>
                  <a:pt x="35" y="397"/>
                </a:cubicBezTo>
                <a:cubicBezTo>
                  <a:pt x="37" y="397"/>
                  <a:pt x="37" y="397"/>
                  <a:pt x="37" y="397"/>
                </a:cubicBezTo>
                <a:cubicBezTo>
                  <a:pt x="38" y="397"/>
                  <a:pt x="38" y="397"/>
                  <a:pt x="38" y="397"/>
                </a:cubicBezTo>
                <a:cubicBezTo>
                  <a:pt x="39" y="397"/>
                  <a:pt x="39" y="397"/>
                  <a:pt x="39" y="397"/>
                </a:cubicBezTo>
                <a:cubicBezTo>
                  <a:pt x="38" y="396"/>
                  <a:pt x="38" y="396"/>
                  <a:pt x="38" y="396"/>
                </a:cubicBezTo>
                <a:cubicBezTo>
                  <a:pt x="38" y="395"/>
                  <a:pt x="38" y="395"/>
                  <a:pt x="38" y="395"/>
                </a:cubicBezTo>
                <a:cubicBezTo>
                  <a:pt x="39" y="395"/>
                  <a:pt x="39" y="395"/>
                  <a:pt x="39" y="395"/>
                </a:cubicBezTo>
                <a:cubicBezTo>
                  <a:pt x="41" y="395"/>
                  <a:pt x="41" y="395"/>
                  <a:pt x="41" y="395"/>
                </a:cubicBezTo>
                <a:cubicBezTo>
                  <a:pt x="42" y="395"/>
                  <a:pt x="42" y="395"/>
                  <a:pt x="42" y="395"/>
                </a:cubicBezTo>
                <a:cubicBezTo>
                  <a:pt x="42" y="395"/>
                  <a:pt x="42" y="395"/>
                  <a:pt x="42" y="395"/>
                </a:cubicBezTo>
                <a:cubicBezTo>
                  <a:pt x="40" y="394"/>
                  <a:pt x="40" y="394"/>
                  <a:pt x="40" y="394"/>
                </a:cubicBezTo>
                <a:cubicBezTo>
                  <a:pt x="40" y="394"/>
                  <a:pt x="40" y="394"/>
                  <a:pt x="40" y="394"/>
                </a:cubicBezTo>
                <a:cubicBezTo>
                  <a:pt x="39" y="394"/>
                  <a:pt x="39" y="394"/>
                  <a:pt x="39" y="394"/>
                </a:cubicBezTo>
                <a:cubicBezTo>
                  <a:pt x="38" y="395"/>
                  <a:pt x="38" y="395"/>
                  <a:pt x="38" y="395"/>
                </a:cubicBezTo>
                <a:cubicBezTo>
                  <a:pt x="37" y="395"/>
                  <a:pt x="37" y="395"/>
                  <a:pt x="37" y="395"/>
                </a:cubicBezTo>
                <a:cubicBezTo>
                  <a:pt x="36" y="396"/>
                  <a:pt x="36" y="396"/>
                  <a:pt x="36" y="396"/>
                </a:cubicBezTo>
                <a:cubicBezTo>
                  <a:pt x="36" y="395"/>
                  <a:pt x="36" y="395"/>
                  <a:pt x="36" y="395"/>
                </a:cubicBezTo>
                <a:cubicBezTo>
                  <a:pt x="36" y="394"/>
                  <a:pt x="36" y="394"/>
                  <a:pt x="36" y="394"/>
                </a:cubicBezTo>
                <a:cubicBezTo>
                  <a:pt x="36" y="394"/>
                  <a:pt x="36" y="394"/>
                  <a:pt x="36" y="394"/>
                </a:cubicBezTo>
                <a:cubicBezTo>
                  <a:pt x="36" y="393"/>
                  <a:pt x="36" y="393"/>
                  <a:pt x="36" y="393"/>
                </a:cubicBezTo>
                <a:cubicBezTo>
                  <a:pt x="38" y="392"/>
                  <a:pt x="38" y="392"/>
                  <a:pt x="38" y="392"/>
                </a:cubicBezTo>
                <a:cubicBezTo>
                  <a:pt x="39" y="391"/>
                  <a:pt x="39" y="391"/>
                  <a:pt x="39" y="391"/>
                </a:cubicBezTo>
                <a:cubicBezTo>
                  <a:pt x="42" y="389"/>
                  <a:pt x="42" y="389"/>
                  <a:pt x="42" y="389"/>
                </a:cubicBezTo>
                <a:cubicBezTo>
                  <a:pt x="42" y="388"/>
                  <a:pt x="42" y="388"/>
                  <a:pt x="42" y="388"/>
                </a:cubicBezTo>
                <a:cubicBezTo>
                  <a:pt x="43" y="389"/>
                  <a:pt x="43" y="389"/>
                  <a:pt x="43" y="389"/>
                </a:cubicBezTo>
                <a:cubicBezTo>
                  <a:pt x="43" y="391"/>
                  <a:pt x="43" y="391"/>
                  <a:pt x="43" y="391"/>
                </a:cubicBezTo>
                <a:cubicBezTo>
                  <a:pt x="44" y="392"/>
                  <a:pt x="44" y="392"/>
                  <a:pt x="44" y="392"/>
                </a:cubicBezTo>
                <a:cubicBezTo>
                  <a:pt x="44" y="391"/>
                  <a:pt x="44" y="391"/>
                  <a:pt x="44" y="391"/>
                </a:cubicBezTo>
                <a:cubicBezTo>
                  <a:pt x="44" y="390"/>
                  <a:pt x="44" y="390"/>
                  <a:pt x="44" y="390"/>
                </a:cubicBezTo>
                <a:cubicBezTo>
                  <a:pt x="44" y="388"/>
                  <a:pt x="44" y="388"/>
                  <a:pt x="44" y="388"/>
                </a:cubicBezTo>
                <a:cubicBezTo>
                  <a:pt x="45" y="388"/>
                  <a:pt x="45" y="388"/>
                  <a:pt x="45" y="388"/>
                </a:cubicBezTo>
                <a:cubicBezTo>
                  <a:pt x="46" y="388"/>
                  <a:pt x="46" y="388"/>
                  <a:pt x="46" y="388"/>
                </a:cubicBezTo>
                <a:cubicBezTo>
                  <a:pt x="45" y="387"/>
                  <a:pt x="45" y="387"/>
                  <a:pt x="45" y="387"/>
                </a:cubicBezTo>
                <a:cubicBezTo>
                  <a:pt x="44" y="387"/>
                  <a:pt x="44" y="387"/>
                  <a:pt x="44" y="387"/>
                </a:cubicBezTo>
                <a:cubicBezTo>
                  <a:pt x="43" y="388"/>
                  <a:pt x="43" y="388"/>
                  <a:pt x="43" y="388"/>
                </a:cubicBezTo>
                <a:cubicBezTo>
                  <a:pt x="42" y="387"/>
                  <a:pt x="42" y="387"/>
                  <a:pt x="42" y="387"/>
                </a:cubicBezTo>
                <a:cubicBezTo>
                  <a:pt x="42" y="386"/>
                  <a:pt x="42" y="386"/>
                  <a:pt x="42" y="386"/>
                </a:cubicBezTo>
                <a:cubicBezTo>
                  <a:pt x="44" y="385"/>
                  <a:pt x="44" y="385"/>
                  <a:pt x="44" y="385"/>
                </a:cubicBezTo>
                <a:cubicBezTo>
                  <a:pt x="45" y="385"/>
                  <a:pt x="45" y="385"/>
                  <a:pt x="45" y="385"/>
                </a:cubicBezTo>
                <a:cubicBezTo>
                  <a:pt x="46" y="383"/>
                  <a:pt x="46" y="383"/>
                  <a:pt x="46" y="383"/>
                </a:cubicBezTo>
                <a:cubicBezTo>
                  <a:pt x="46" y="382"/>
                  <a:pt x="46" y="382"/>
                  <a:pt x="46" y="382"/>
                </a:cubicBezTo>
                <a:cubicBezTo>
                  <a:pt x="45" y="382"/>
                  <a:pt x="45" y="382"/>
                  <a:pt x="45" y="382"/>
                </a:cubicBezTo>
                <a:cubicBezTo>
                  <a:pt x="45" y="383"/>
                  <a:pt x="45" y="383"/>
                  <a:pt x="45" y="383"/>
                </a:cubicBezTo>
                <a:cubicBezTo>
                  <a:pt x="44" y="384"/>
                  <a:pt x="44" y="384"/>
                  <a:pt x="44" y="384"/>
                </a:cubicBezTo>
                <a:cubicBezTo>
                  <a:pt x="43" y="384"/>
                  <a:pt x="43" y="384"/>
                  <a:pt x="43" y="384"/>
                </a:cubicBezTo>
                <a:cubicBezTo>
                  <a:pt x="41" y="386"/>
                  <a:pt x="41" y="386"/>
                  <a:pt x="41" y="386"/>
                </a:cubicBezTo>
                <a:cubicBezTo>
                  <a:pt x="40" y="387"/>
                  <a:pt x="40" y="387"/>
                  <a:pt x="40" y="387"/>
                </a:cubicBezTo>
                <a:cubicBezTo>
                  <a:pt x="38" y="388"/>
                  <a:pt x="38" y="388"/>
                  <a:pt x="38" y="388"/>
                </a:cubicBezTo>
                <a:cubicBezTo>
                  <a:pt x="37" y="387"/>
                  <a:pt x="37" y="387"/>
                  <a:pt x="37" y="387"/>
                </a:cubicBezTo>
                <a:cubicBezTo>
                  <a:pt x="37" y="386"/>
                  <a:pt x="37" y="386"/>
                  <a:pt x="37" y="386"/>
                </a:cubicBezTo>
                <a:cubicBezTo>
                  <a:pt x="38" y="386"/>
                  <a:pt x="38" y="386"/>
                  <a:pt x="38" y="386"/>
                </a:cubicBezTo>
                <a:cubicBezTo>
                  <a:pt x="37" y="386"/>
                  <a:pt x="37" y="386"/>
                  <a:pt x="37" y="386"/>
                </a:cubicBezTo>
                <a:cubicBezTo>
                  <a:pt x="36" y="386"/>
                  <a:pt x="36" y="386"/>
                  <a:pt x="36" y="386"/>
                </a:cubicBezTo>
                <a:cubicBezTo>
                  <a:pt x="35" y="386"/>
                  <a:pt x="35" y="386"/>
                  <a:pt x="35" y="386"/>
                </a:cubicBezTo>
                <a:cubicBezTo>
                  <a:pt x="35" y="385"/>
                  <a:pt x="35" y="385"/>
                  <a:pt x="35" y="385"/>
                </a:cubicBezTo>
                <a:cubicBezTo>
                  <a:pt x="37" y="384"/>
                  <a:pt x="37" y="384"/>
                  <a:pt x="37" y="384"/>
                </a:cubicBezTo>
                <a:cubicBezTo>
                  <a:pt x="38" y="384"/>
                  <a:pt x="38" y="384"/>
                  <a:pt x="38" y="384"/>
                </a:cubicBezTo>
                <a:cubicBezTo>
                  <a:pt x="39" y="384"/>
                  <a:pt x="39" y="384"/>
                  <a:pt x="39" y="384"/>
                </a:cubicBezTo>
                <a:cubicBezTo>
                  <a:pt x="39" y="383"/>
                  <a:pt x="39" y="383"/>
                  <a:pt x="39" y="383"/>
                </a:cubicBezTo>
                <a:cubicBezTo>
                  <a:pt x="39" y="383"/>
                  <a:pt x="39" y="383"/>
                  <a:pt x="39" y="383"/>
                </a:cubicBezTo>
                <a:cubicBezTo>
                  <a:pt x="39" y="382"/>
                  <a:pt x="39" y="382"/>
                  <a:pt x="39" y="382"/>
                </a:cubicBezTo>
                <a:cubicBezTo>
                  <a:pt x="39" y="382"/>
                  <a:pt x="39" y="382"/>
                  <a:pt x="39" y="382"/>
                </a:cubicBezTo>
                <a:cubicBezTo>
                  <a:pt x="39" y="381"/>
                  <a:pt x="39" y="381"/>
                  <a:pt x="39" y="381"/>
                </a:cubicBezTo>
                <a:cubicBezTo>
                  <a:pt x="39" y="381"/>
                  <a:pt x="39" y="381"/>
                  <a:pt x="39" y="381"/>
                </a:cubicBezTo>
                <a:cubicBezTo>
                  <a:pt x="38" y="381"/>
                  <a:pt x="38" y="381"/>
                  <a:pt x="38" y="381"/>
                </a:cubicBezTo>
                <a:cubicBezTo>
                  <a:pt x="37" y="381"/>
                  <a:pt x="37" y="381"/>
                  <a:pt x="37" y="381"/>
                </a:cubicBezTo>
                <a:cubicBezTo>
                  <a:pt x="37" y="380"/>
                  <a:pt x="37" y="380"/>
                  <a:pt x="37" y="380"/>
                </a:cubicBezTo>
                <a:cubicBezTo>
                  <a:pt x="37" y="378"/>
                  <a:pt x="37" y="378"/>
                  <a:pt x="37" y="378"/>
                </a:cubicBezTo>
                <a:cubicBezTo>
                  <a:pt x="36" y="377"/>
                  <a:pt x="36" y="377"/>
                  <a:pt x="36" y="377"/>
                </a:cubicBezTo>
                <a:cubicBezTo>
                  <a:pt x="36" y="376"/>
                  <a:pt x="36" y="376"/>
                  <a:pt x="36" y="376"/>
                </a:cubicBezTo>
                <a:cubicBezTo>
                  <a:pt x="36" y="375"/>
                  <a:pt x="36" y="375"/>
                  <a:pt x="36" y="375"/>
                </a:cubicBezTo>
                <a:cubicBezTo>
                  <a:pt x="38" y="375"/>
                  <a:pt x="38" y="375"/>
                  <a:pt x="38" y="375"/>
                </a:cubicBezTo>
                <a:cubicBezTo>
                  <a:pt x="39" y="376"/>
                  <a:pt x="39" y="376"/>
                  <a:pt x="39" y="376"/>
                </a:cubicBezTo>
                <a:cubicBezTo>
                  <a:pt x="41" y="375"/>
                  <a:pt x="41" y="375"/>
                  <a:pt x="41" y="375"/>
                </a:cubicBezTo>
                <a:cubicBezTo>
                  <a:pt x="42" y="376"/>
                  <a:pt x="42" y="376"/>
                  <a:pt x="42" y="376"/>
                </a:cubicBezTo>
                <a:cubicBezTo>
                  <a:pt x="42" y="375"/>
                  <a:pt x="42" y="375"/>
                  <a:pt x="42" y="375"/>
                </a:cubicBezTo>
                <a:cubicBezTo>
                  <a:pt x="41" y="375"/>
                  <a:pt x="41" y="375"/>
                  <a:pt x="41" y="375"/>
                </a:cubicBezTo>
                <a:cubicBezTo>
                  <a:pt x="40" y="375"/>
                  <a:pt x="40" y="375"/>
                  <a:pt x="40" y="375"/>
                </a:cubicBezTo>
                <a:cubicBezTo>
                  <a:pt x="39" y="374"/>
                  <a:pt x="39" y="374"/>
                  <a:pt x="39" y="374"/>
                </a:cubicBezTo>
                <a:cubicBezTo>
                  <a:pt x="38" y="373"/>
                  <a:pt x="38" y="373"/>
                  <a:pt x="38" y="373"/>
                </a:cubicBezTo>
                <a:cubicBezTo>
                  <a:pt x="38" y="373"/>
                  <a:pt x="38" y="373"/>
                  <a:pt x="38" y="373"/>
                </a:cubicBezTo>
                <a:cubicBezTo>
                  <a:pt x="38" y="372"/>
                  <a:pt x="38" y="372"/>
                  <a:pt x="38" y="372"/>
                </a:cubicBezTo>
                <a:cubicBezTo>
                  <a:pt x="39" y="371"/>
                  <a:pt x="39" y="371"/>
                  <a:pt x="39" y="371"/>
                </a:cubicBezTo>
                <a:cubicBezTo>
                  <a:pt x="40" y="370"/>
                  <a:pt x="40" y="370"/>
                  <a:pt x="40" y="370"/>
                </a:cubicBezTo>
                <a:cubicBezTo>
                  <a:pt x="40" y="369"/>
                  <a:pt x="40" y="369"/>
                  <a:pt x="40" y="369"/>
                </a:cubicBezTo>
                <a:cubicBezTo>
                  <a:pt x="39" y="369"/>
                  <a:pt x="39" y="369"/>
                  <a:pt x="39" y="369"/>
                </a:cubicBezTo>
                <a:cubicBezTo>
                  <a:pt x="38" y="370"/>
                  <a:pt x="38" y="370"/>
                  <a:pt x="38" y="370"/>
                </a:cubicBezTo>
                <a:cubicBezTo>
                  <a:pt x="37" y="371"/>
                  <a:pt x="37" y="371"/>
                  <a:pt x="37" y="371"/>
                </a:cubicBezTo>
                <a:cubicBezTo>
                  <a:pt x="35" y="372"/>
                  <a:pt x="35" y="372"/>
                  <a:pt x="35" y="372"/>
                </a:cubicBezTo>
                <a:cubicBezTo>
                  <a:pt x="34" y="373"/>
                  <a:pt x="34" y="373"/>
                  <a:pt x="34" y="373"/>
                </a:cubicBezTo>
                <a:cubicBezTo>
                  <a:pt x="34" y="374"/>
                  <a:pt x="34" y="374"/>
                  <a:pt x="34" y="374"/>
                </a:cubicBezTo>
                <a:cubicBezTo>
                  <a:pt x="33" y="374"/>
                  <a:pt x="33" y="374"/>
                  <a:pt x="33" y="374"/>
                </a:cubicBezTo>
                <a:cubicBezTo>
                  <a:pt x="32" y="372"/>
                  <a:pt x="32" y="372"/>
                  <a:pt x="32" y="372"/>
                </a:cubicBezTo>
                <a:cubicBezTo>
                  <a:pt x="32" y="370"/>
                  <a:pt x="32" y="370"/>
                  <a:pt x="32" y="370"/>
                </a:cubicBezTo>
                <a:cubicBezTo>
                  <a:pt x="32" y="367"/>
                  <a:pt x="32" y="367"/>
                  <a:pt x="32" y="367"/>
                </a:cubicBezTo>
                <a:cubicBezTo>
                  <a:pt x="32" y="365"/>
                  <a:pt x="32" y="365"/>
                  <a:pt x="32" y="365"/>
                </a:cubicBezTo>
                <a:cubicBezTo>
                  <a:pt x="32" y="364"/>
                  <a:pt x="32" y="364"/>
                  <a:pt x="32" y="364"/>
                </a:cubicBezTo>
                <a:cubicBezTo>
                  <a:pt x="31" y="364"/>
                  <a:pt x="31" y="364"/>
                  <a:pt x="31" y="364"/>
                </a:cubicBezTo>
                <a:cubicBezTo>
                  <a:pt x="31" y="362"/>
                  <a:pt x="31" y="362"/>
                  <a:pt x="31" y="362"/>
                </a:cubicBezTo>
                <a:cubicBezTo>
                  <a:pt x="32" y="361"/>
                  <a:pt x="32" y="361"/>
                  <a:pt x="32" y="361"/>
                </a:cubicBezTo>
                <a:cubicBezTo>
                  <a:pt x="32" y="362"/>
                  <a:pt x="32" y="362"/>
                  <a:pt x="32" y="362"/>
                </a:cubicBezTo>
                <a:cubicBezTo>
                  <a:pt x="33" y="362"/>
                  <a:pt x="33" y="362"/>
                  <a:pt x="33" y="362"/>
                </a:cubicBezTo>
                <a:cubicBezTo>
                  <a:pt x="33" y="361"/>
                  <a:pt x="33" y="361"/>
                  <a:pt x="33" y="361"/>
                </a:cubicBezTo>
                <a:cubicBezTo>
                  <a:pt x="34" y="360"/>
                  <a:pt x="34" y="360"/>
                  <a:pt x="34" y="360"/>
                </a:cubicBezTo>
                <a:cubicBezTo>
                  <a:pt x="35" y="358"/>
                  <a:pt x="35" y="358"/>
                  <a:pt x="35" y="358"/>
                </a:cubicBezTo>
                <a:cubicBezTo>
                  <a:pt x="36" y="358"/>
                  <a:pt x="36" y="358"/>
                  <a:pt x="36" y="358"/>
                </a:cubicBezTo>
                <a:cubicBezTo>
                  <a:pt x="37" y="358"/>
                  <a:pt x="37" y="358"/>
                  <a:pt x="37" y="358"/>
                </a:cubicBezTo>
                <a:cubicBezTo>
                  <a:pt x="38" y="358"/>
                  <a:pt x="38" y="358"/>
                  <a:pt x="38" y="358"/>
                </a:cubicBezTo>
                <a:cubicBezTo>
                  <a:pt x="37" y="357"/>
                  <a:pt x="37" y="357"/>
                  <a:pt x="37" y="357"/>
                </a:cubicBezTo>
                <a:cubicBezTo>
                  <a:pt x="37" y="357"/>
                  <a:pt x="37" y="357"/>
                  <a:pt x="37" y="357"/>
                </a:cubicBezTo>
                <a:cubicBezTo>
                  <a:pt x="39" y="355"/>
                  <a:pt x="39" y="355"/>
                  <a:pt x="39" y="355"/>
                </a:cubicBezTo>
                <a:cubicBezTo>
                  <a:pt x="39" y="354"/>
                  <a:pt x="39" y="354"/>
                  <a:pt x="39" y="354"/>
                </a:cubicBezTo>
                <a:cubicBezTo>
                  <a:pt x="41" y="353"/>
                  <a:pt x="41" y="353"/>
                  <a:pt x="41" y="353"/>
                </a:cubicBezTo>
                <a:cubicBezTo>
                  <a:pt x="41" y="352"/>
                  <a:pt x="41" y="352"/>
                  <a:pt x="41" y="352"/>
                </a:cubicBezTo>
                <a:cubicBezTo>
                  <a:pt x="40" y="352"/>
                  <a:pt x="40" y="352"/>
                  <a:pt x="40" y="352"/>
                </a:cubicBezTo>
                <a:cubicBezTo>
                  <a:pt x="40" y="352"/>
                  <a:pt x="40" y="352"/>
                  <a:pt x="40" y="352"/>
                </a:cubicBezTo>
                <a:cubicBezTo>
                  <a:pt x="38" y="353"/>
                  <a:pt x="38" y="353"/>
                  <a:pt x="38" y="353"/>
                </a:cubicBezTo>
                <a:cubicBezTo>
                  <a:pt x="38" y="354"/>
                  <a:pt x="38" y="354"/>
                  <a:pt x="38" y="354"/>
                </a:cubicBezTo>
                <a:cubicBezTo>
                  <a:pt x="36" y="357"/>
                  <a:pt x="36" y="357"/>
                  <a:pt x="36" y="357"/>
                </a:cubicBezTo>
                <a:cubicBezTo>
                  <a:pt x="36" y="357"/>
                  <a:pt x="36" y="357"/>
                  <a:pt x="36" y="357"/>
                </a:cubicBezTo>
                <a:cubicBezTo>
                  <a:pt x="36" y="356"/>
                  <a:pt x="36" y="356"/>
                  <a:pt x="36" y="356"/>
                </a:cubicBezTo>
                <a:cubicBezTo>
                  <a:pt x="37" y="354"/>
                  <a:pt x="37" y="354"/>
                  <a:pt x="37" y="354"/>
                </a:cubicBezTo>
                <a:cubicBezTo>
                  <a:pt x="37" y="352"/>
                  <a:pt x="37" y="352"/>
                  <a:pt x="37" y="352"/>
                </a:cubicBezTo>
                <a:cubicBezTo>
                  <a:pt x="39" y="349"/>
                  <a:pt x="39" y="349"/>
                  <a:pt x="39" y="349"/>
                </a:cubicBezTo>
                <a:cubicBezTo>
                  <a:pt x="40" y="347"/>
                  <a:pt x="40" y="347"/>
                  <a:pt x="40" y="347"/>
                </a:cubicBezTo>
                <a:cubicBezTo>
                  <a:pt x="39" y="347"/>
                  <a:pt x="39" y="347"/>
                  <a:pt x="39" y="347"/>
                </a:cubicBezTo>
                <a:cubicBezTo>
                  <a:pt x="39" y="347"/>
                  <a:pt x="39" y="347"/>
                  <a:pt x="39" y="347"/>
                </a:cubicBezTo>
                <a:cubicBezTo>
                  <a:pt x="39" y="346"/>
                  <a:pt x="39" y="346"/>
                  <a:pt x="39" y="346"/>
                </a:cubicBezTo>
                <a:cubicBezTo>
                  <a:pt x="40" y="346"/>
                  <a:pt x="40" y="346"/>
                  <a:pt x="40" y="346"/>
                </a:cubicBezTo>
                <a:cubicBezTo>
                  <a:pt x="40" y="345"/>
                  <a:pt x="40" y="345"/>
                  <a:pt x="40" y="345"/>
                </a:cubicBezTo>
                <a:cubicBezTo>
                  <a:pt x="40" y="345"/>
                  <a:pt x="40" y="345"/>
                  <a:pt x="40" y="345"/>
                </a:cubicBezTo>
                <a:cubicBezTo>
                  <a:pt x="40" y="344"/>
                  <a:pt x="40" y="344"/>
                  <a:pt x="40" y="344"/>
                </a:cubicBezTo>
                <a:cubicBezTo>
                  <a:pt x="39" y="344"/>
                  <a:pt x="39" y="344"/>
                  <a:pt x="39" y="344"/>
                </a:cubicBezTo>
                <a:cubicBezTo>
                  <a:pt x="39" y="342"/>
                  <a:pt x="39" y="342"/>
                  <a:pt x="39" y="342"/>
                </a:cubicBezTo>
                <a:cubicBezTo>
                  <a:pt x="38" y="341"/>
                  <a:pt x="38" y="341"/>
                  <a:pt x="38" y="341"/>
                </a:cubicBezTo>
                <a:cubicBezTo>
                  <a:pt x="37" y="340"/>
                  <a:pt x="37" y="340"/>
                  <a:pt x="37" y="340"/>
                </a:cubicBezTo>
                <a:cubicBezTo>
                  <a:pt x="36" y="340"/>
                  <a:pt x="36" y="340"/>
                  <a:pt x="36" y="340"/>
                </a:cubicBezTo>
                <a:cubicBezTo>
                  <a:pt x="36" y="339"/>
                  <a:pt x="36" y="339"/>
                  <a:pt x="36" y="339"/>
                </a:cubicBezTo>
                <a:cubicBezTo>
                  <a:pt x="35" y="337"/>
                  <a:pt x="35" y="337"/>
                  <a:pt x="35" y="337"/>
                </a:cubicBezTo>
                <a:cubicBezTo>
                  <a:pt x="34" y="337"/>
                  <a:pt x="34" y="337"/>
                  <a:pt x="34" y="337"/>
                </a:cubicBezTo>
                <a:cubicBezTo>
                  <a:pt x="33" y="337"/>
                  <a:pt x="33" y="337"/>
                  <a:pt x="33" y="337"/>
                </a:cubicBezTo>
                <a:cubicBezTo>
                  <a:pt x="33" y="336"/>
                  <a:pt x="33" y="336"/>
                  <a:pt x="33" y="336"/>
                </a:cubicBezTo>
                <a:cubicBezTo>
                  <a:pt x="33" y="336"/>
                  <a:pt x="33" y="336"/>
                  <a:pt x="33" y="336"/>
                </a:cubicBezTo>
                <a:cubicBezTo>
                  <a:pt x="33" y="335"/>
                  <a:pt x="33" y="335"/>
                  <a:pt x="33" y="335"/>
                </a:cubicBezTo>
                <a:cubicBezTo>
                  <a:pt x="33" y="334"/>
                  <a:pt x="33" y="334"/>
                  <a:pt x="33" y="334"/>
                </a:cubicBezTo>
                <a:cubicBezTo>
                  <a:pt x="32" y="334"/>
                  <a:pt x="32" y="334"/>
                  <a:pt x="32" y="334"/>
                </a:cubicBezTo>
                <a:cubicBezTo>
                  <a:pt x="33" y="333"/>
                  <a:pt x="33" y="333"/>
                  <a:pt x="33" y="333"/>
                </a:cubicBezTo>
                <a:cubicBezTo>
                  <a:pt x="33" y="333"/>
                  <a:pt x="33" y="333"/>
                  <a:pt x="33" y="333"/>
                </a:cubicBezTo>
                <a:cubicBezTo>
                  <a:pt x="33" y="332"/>
                  <a:pt x="33" y="332"/>
                  <a:pt x="33" y="332"/>
                </a:cubicBezTo>
                <a:cubicBezTo>
                  <a:pt x="32" y="332"/>
                  <a:pt x="32" y="332"/>
                  <a:pt x="32" y="332"/>
                </a:cubicBezTo>
                <a:cubicBezTo>
                  <a:pt x="32" y="332"/>
                  <a:pt x="32" y="332"/>
                  <a:pt x="32" y="332"/>
                </a:cubicBezTo>
                <a:cubicBezTo>
                  <a:pt x="32" y="331"/>
                  <a:pt x="32" y="331"/>
                  <a:pt x="32" y="331"/>
                </a:cubicBezTo>
                <a:cubicBezTo>
                  <a:pt x="33" y="330"/>
                  <a:pt x="33" y="330"/>
                  <a:pt x="33" y="330"/>
                </a:cubicBezTo>
                <a:cubicBezTo>
                  <a:pt x="33" y="326"/>
                  <a:pt x="33" y="326"/>
                  <a:pt x="33" y="326"/>
                </a:cubicBezTo>
                <a:cubicBezTo>
                  <a:pt x="33" y="321"/>
                  <a:pt x="33" y="321"/>
                  <a:pt x="33" y="321"/>
                </a:cubicBezTo>
                <a:cubicBezTo>
                  <a:pt x="33" y="318"/>
                  <a:pt x="33" y="318"/>
                  <a:pt x="33" y="318"/>
                </a:cubicBezTo>
                <a:cubicBezTo>
                  <a:pt x="33" y="317"/>
                  <a:pt x="33" y="317"/>
                  <a:pt x="33" y="317"/>
                </a:cubicBezTo>
                <a:cubicBezTo>
                  <a:pt x="33" y="316"/>
                  <a:pt x="33" y="316"/>
                  <a:pt x="33" y="316"/>
                </a:cubicBezTo>
                <a:cubicBezTo>
                  <a:pt x="33" y="314"/>
                  <a:pt x="33" y="314"/>
                  <a:pt x="33" y="314"/>
                </a:cubicBezTo>
                <a:cubicBezTo>
                  <a:pt x="33" y="313"/>
                  <a:pt x="33" y="313"/>
                  <a:pt x="33" y="313"/>
                </a:cubicBezTo>
                <a:cubicBezTo>
                  <a:pt x="32" y="312"/>
                  <a:pt x="32" y="312"/>
                  <a:pt x="32" y="312"/>
                </a:cubicBezTo>
                <a:cubicBezTo>
                  <a:pt x="32" y="310"/>
                  <a:pt x="32" y="310"/>
                  <a:pt x="32" y="310"/>
                </a:cubicBezTo>
                <a:cubicBezTo>
                  <a:pt x="31" y="308"/>
                  <a:pt x="31" y="308"/>
                  <a:pt x="31" y="308"/>
                </a:cubicBezTo>
                <a:cubicBezTo>
                  <a:pt x="30" y="306"/>
                  <a:pt x="30" y="306"/>
                  <a:pt x="30" y="306"/>
                </a:cubicBezTo>
                <a:cubicBezTo>
                  <a:pt x="31" y="305"/>
                  <a:pt x="31" y="305"/>
                  <a:pt x="31" y="305"/>
                </a:cubicBezTo>
                <a:cubicBezTo>
                  <a:pt x="29" y="301"/>
                  <a:pt x="29" y="301"/>
                  <a:pt x="29" y="301"/>
                </a:cubicBezTo>
                <a:cubicBezTo>
                  <a:pt x="30" y="301"/>
                  <a:pt x="30" y="301"/>
                  <a:pt x="30" y="301"/>
                </a:cubicBezTo>
                <a:cubicBezTo>
                  <a:pt x="31" y="299"/>
                  <a:pt x="31" y="299"/>
                  <a:pt x="31" y="299"/>
                </a:cubicBezTo>
                <a:cubicBezTo>
                  <a:pt x="30" y="298"/>
                  <a:pt x="30" y="298"/>
                  <a:pt x="30" y="298"/>
                </a:cubicBezTo>
                <a:cubicBezTo>
                  <a:pt x="30" y="297"/>
                  <a:pt x="30" y="297"/>
                  <a:pt x="30" y="297"/>
                </a:cubicBezTo>
                <a:cubicBezTo>
                  <a:pt x="29" y="296"/>
                  <a:pt x="29" y="296"/>
                  <a:pt x="29" y="296"/>
                </a:cubicBezTo>
                <a:cubicBezTo>
                  <a:pt x="27" y="296"/>
                  <a:pt x="27" y="296"/>
                  <a:pt x="27" y="296"/>
                </a:cubicBezTo>
                <a:cubicBezTo>
                  <a:pt x="25" y="296"/>
                  <a:pt x="25" y="296"/>
                  <a:pt x="25" y="296"/>
                </a:cubicBezTo>
                <a:cubicBezTo>
                  <a:pt x="24" y="297"/>
                  <a:pt x="24" y="297"/>
                  <a:pt x="24" y="297"/>
                </a:cubicBezTo>
                <a:cubicBezTo>
                  <a:pt x="22" y="297"/>
                  <a:pt x="22" y="297"/>
                  <a:pt x="22" y="297"/>
                </a:cubicBezTo>
                <a:cubicBezTo>
                  <a:pt x="21" y="299"/>
                  <a:pt x="21" y="299"/>
                  <a:pt x="21" y="299"/>
                </a:cubicBezTo>
                <a:cubicBezTo>
                  <a:pt x="19" y="301"/>
                  <a:pt x="19" y="301"/>
                  <a:pt x="19" y="301"/>
                </a:cubicBezTo>
                <a:cubicBezTo>
                  <a:pt x="17" y="302"/>
                  <a:pt x="17" y="302"/>
                  <a:pt x="17" y="302"/>
                </a:cubicBezTo>
                <a:cubicBezTo>
                  <a:pt x="15" y="303"/>
                  <a:pt x="15" y="303"/>
                  <a:pt x="15" y="303"/>
                </a:cubicBezTo>
                <a:cubicBezTo>
                  <a:pt x="13" y="303"/>
                  <a:pt x="13" y="303"/>
                  <a:pt x="13" y="303"/>
                </a:cubicBezTo>
                <a:cubicBezTo>
                  <a:pt x="13" y="303"/>
                  <a:pt x="13" y="303"/>
                  <a:pt x="13" y="303"/>
                </a:cubicBezTo>
                <a:cubicBezTo>
                  <a:pt x="13" y="302"/>
                  <a:pt x="13" y="302"/>
                  <a:pt x="13" y="302"/>
                </a:cubicBezTo>
                <a:cubicBezTo>
                  <a:pt x="14" y="300"/>
                  <a:pt x="14" y="300"/>
                  <a:pt x="14" y="300"/>
                </a:cubicBezTo>
                <a:cubicBezTo>
                  <a:pt x="13" y="299"/>
                  <a:pt x="13" y="299"/>
                  <a:pt x="13" y="299"/>
                </a:cubicBezTo>
                <a:cubicBezTo>
                  <a:pt x="11" y="292"/>
                  <a:pt x="11" y="292"/>
                  <a:pt x="11" y="292"/>
                </a:cubicBezTo>
                <a:cubicBezTo>
                  <a:pt x="10" y="288"/>
                  <a:pt x="10" y="288"/>
                  <a:pt x="10" y="288"/>
                </a:cubicBezTo>
                <a:cubicBezTo>
                  <a:pt x="10" y="287"/>
                  <a:pt x="10" y="287"/>
                  <a:pt x="10" y="287"/>
                </a:cubicBezTo>
                <a:cubicBezTo>
                  <a:pt x="11" y="284"/>
                  <a:pt x="11" y="284"/>
                  <a:pt x="11" y="284"/>
                </a:cubicBezTo>
                <a:cubicBezTo>
                  <a:pt x="8" y="284"/>
                  <a:pt x="8" y="284"/>
                  <a:pt x="8" y="284"/>
                </a:cubicBezTo>
                <a:cubicBezTo>
                  <a:pt x="5" y="285"/>
                  <a:pt x="5" y="285"/>
                  <a:pt x="5" y="285"/>
                </a:cubicBezTo>
                <a:cubicBezTo>
                  <a:pt x="4" y="284"/>
                  <a:pt x="4" y="284"/>
                  <a:pt x="4" y="284"/>
                </a:cubicBezTo>
                <a:cubicBezTo>
                  <a:pt x="0" y="284"/>
                  <a:pt x="0" y="284"/>
                  <a:pt x="0" y="284"/>
                </a:cubicBezTo>
                <a:cubicBezTo>
                  <a:pt x="73" y="151"/>
                  <a:pt x="73" y="151"/>
                  <a:pt x="73" y="151"/>
                </a:cubicBezTo>
                <a:cubicBezTo>
                  <a:pt x="73" y="152"/>
                  <a:pt x="73" y="152"/>
                  <a:pt x="73" y="152"/>
                </a:cubicBezTo>
                <a:cubicBezTo>
                  <a:pt x="74" y="152"/>
                  <a:pt x="74" y="152"/>
                  <a:pt x="74" y="152"/>
                </a:cubicBezTo>
                <a:cubicBezTo>
                  <a:pt x="77" y="155"/>
                  <a:pt x="77" y="155"/>
                  <a:pt x="77" y="155"/>
                </a:cubicBezTo>
                <a:cubicBezTo>
                  <a:pt x="78" y="155"/>
                  <a:pt x="78" y="155"/>
                  <a:pt x="78" y="155"/>
                </a:cubicBezTo>
                <a:cubicBezTo>
                  <a:pt x="80" y="156"/>
                  <a:pt x="80" y="156"/>
                  <a:pt x="80" y="156"/>
                </a:cubicBezTo>
                <a:cubicBezTo>
                  <a:pt x="80" y="157"/>
                  <a:pt x="80" y="157"/>
                  <a:pt x="80" y="157"/>
                </a:cubicBezTo>
                <a:cubicBezTo>
                  <a:pt x="80" y="157"/>
                  <a:pt x="80" y="157"/>
                  <a:pt x="80" y="157"/>
                </a:cubicBezTo>
                <a:cubicBezTo>
                  <a:pt x="82" y="158"/>
                  <a:pt x="82" y="158"/>
                  <a:pt x="82" y="158"/>
                </a:cubicBezTo>
                <a:cubicBezTo>
                  <a:pt x="82" y="159"/>
                  <a:pt x="82" y="159"/>
                  <a:pt x="82" y="159"/>
                </a:cubicBezTo>
                <a:cubicBezTo>
                  <a:pt x="83" y="160"/>
                  <a:pt x="83" y="160"/>
                  <a:pt x="83" y="160"/>
                </a:cubicBezTo>
                <a:cubicBezTo>
                  <a:pt x="83" y="161"/>
                  <a:pt x="83" y="161"/>
                  <a:pt x="83" y="161"/>
                </a:cubicBezTo>
                <a:cubicBezTo>
                  <a:pt x="83" y="161"/>
                  <a:pt x="83" y="161"/>
                  <a:pt x="83" y="161"/>
                </a:cubicBezTo>
                <a:cubicBezTo>
                  <a:pt x="82" y="163"/>
                  <a:pt x="82" y="163"/>
                  <a:pt x="82" y="163"/>
                </a:cubicBezTo>
                <a:cubicBezTo>
                  <a:pt x="83" y="164"/>
                  <a:pt x="83" y="164"/>
                  <a:pt x="83" y="164"/>
                </a:cubicBezTo>
                <a:cubicBezTo>
                  <a:pt x="83" y="164"/>
                  <a:pt x="83" y="164"/>
                  <a:pt x="83" y="164"/>
                </a:cubicBezTo>
                <a:cubicBezTo>
                  <a:pt x="84" y="164"/>
                  <a:pt x="84" y="164"/>
                  <a:pt x="84" y="164"/>
                </a:cubicBezTo>
                <a:cubicBezTo>
                  <a:pt x="84" y="164"/>
                  <a:pt x="84" y="164"/>
                  <a:pt x="84" y="164"/>
                </a:cubicBezTo>
                <a:cubicBezTo>
                  <a:pt x="84" y="166"/>
                  <a:pt x="84" y="166"/>
                  <a:pt x="84" y="166"/>
                </a:cubicBezTo>
                <a:cubicBezTo>
                  <a:pt x="85" y="168"/>
                  <a:pt x="85" y="168"/>
                  <a:pt x="85" y="168"/>
                </a:cubicBezTo>
                <a:cubicBezTo>
                  <a:pt x="87" y="170"/>
                  <a:pt x="87" y="170"/>
                  <a:pt x="87" y="170"/>
                </a:cubicBezTo>
                <a:cubicBezTo>
                  <a:pt x="88" y="171"/>
                  <a:pt x="88" y="171"/>
                  <a:pt x="88" y="171"/>
                </a:cubicBezTo>
                <a:cubicBezTo>
                  <a:pt x="88" y="171"/>
                  <a:pt x="88" y="171"/>
                  <a:pt x="88" y="171"/>
                </a:cubicBezTo>
                <a:cubicBezTo>
                  <a:pt x="89" y="171"/>
                  <a:pt x="89" y="171"/>
                  <a:pt x="89" y="171"/>
                </a:cubicBezTo>
                <a:cubicBezTo>
                  <a:pt x="89" y="172"/>
                  <a:pt x="89" y="172"/>
                  <a:pt x="89" y="172"/>
                </a:cubicBezTo>
                <a:cubicBezTo>
                  <a:pt x="90" y="172"/>
                  <a:pt x="90" y="172"/>
                  <a:pt x="90" y="172"/>
                </a:cubicBezTo>
                <a:cubicBezTo>
                  <a:pt x="91" y="172"/>
                  <a:pt x="91" y="172"/>
                  <a:pt x="91" y="172"/>
                </a:cubicBezTo>
                <a:cubicBezTo>
                  <a:pt x="92" y="174"/>
                  <a:pt x="92" y="174"/>
                  <a:pt x="92" y="174"/>
                </a:cubicBezTo>
                <a:cubicBezTo>
                  <a:pt x="92" y="176"/>
                  <a:pt x="92" y="176"/>
                  <a:pt x="92" y="176"/>
                </a:cubicBezTo>
                <a:cubicBezTo>
                  <a:pt x="93" y="176"/>
                  <a:pt x="93" y="176"/>
                  <a:pt x="93" y="176"/>
                </a:cubicBezTo>
                <a:cubicBezTo>
                  <a:pt x="93" y="177"/>
                  <a:pt x="93" y="177"/>
                  <a:pt x="93" y="177"/>
                </a:cubicBezTo>
                <a:cubicBezTo>
                  <a:pt x="94" y="177"/>
                  <a:pt x="94" y="177"/>
                  <a:pt x="94" y="177"/>
                </a:cubicBezTo>
                <a:cubicBezTo>
                  <a:pt x="96" y="179"/>
                  <a:pt x="96" y="179"/>
                  <a:pt x="96" y="179"/>
                </a:cubicBezTo>
                <a:cubicBezTo>
                  <a:pt x="96" y="180"/>
                  <a:pt x="96" y="180"/>
                  <a:pt x="96" y="180"/>
                </a:cubicBezTo>
                <a:cubicBezTo>
                  <a:pt x="96" y="180"/>
                  <a:pt x="96" y="180"/>
                  <a:pt x="96" y="180"/>
                </a:cubicBezTo>
                <a:cubicBezTo>
                  <a:pt x="96" y="181"/>
                  <a:pt x="96" y="181"/>
                  <a:pt x="96" y="181"/>
                </a:cubicBezTo>
                <a:cubicBezTo>
                  <a:pt x="95" y="183"/>
                  <a:pt x="95" y="183"/>
                  <a:pt x="95" y="183"/>
                </a:cubicBezTo>
                <a:cubicBezTo>
                  <a:pt x="94" y="184"/>
                  <a:pt x="94" y="184"/>
                  <a:pt x="94" y="184"/>
                </a:cubicBezTo>
                <a:cubicBezTo>
                  <a:pt x="97" y="182"/>
                  <a:pt x="97" y="182"/>
                  <a:pt x="97" y="182"/>
                </a:cubicBezTo>
                <a:cubicBezTo>
                  <a:pt x="98" y="181"/>
                  <a:pt x="98" y="181"/>
                  <a:pt x="98" y="181"/>
                </a:cubicBezTo>
                <a:cubicBezTo>
                  <a:pt x="98" y="181"/>
                  <a:pt x="98" y="181"/>
                  <a:pt x="98" y="181"/>
                </a:cubicBezTo>
                <a:cubicBezTo>
                  <a:pt x="98" y="180"/>
                  <a:pt x="98" y="180"/>
                  <a:pt x="98" y="180"/>
                </a:cubicBezTo>
                <a:cubicBezTo>
                  <a:pt x="98" y="176"/>
                  <a:pt x="98" y="176"/>
                  <a:pt x="98" y="176"/>
                </a:cubicBezTo>
                <a:cubicBezTo>
                  <a:pt x="98" y="174"/>
                  <a:pt x="98" y="174"/>
                  <a:pt x="98" y="174"/>
                </a:cubicBezTo>
                <a:cubicBezTo>
                  <a:pt x="99" y="173"/>
                  <a:pt x="99" y="173"/>
                  <a:pt x="99" y="173"/>
                </a:cubicBezTo>
                <a:cubicBezTo>
                  <a:pt x="101" y="172"/>
                  <a:pt x="101" y="172"/>
                  <a:pt x="101" y="172"/>
                </a:cubicBezTo>
                <a:cubicBezTo>
                  <a:pt x="103" y="171"/>
                  <a:pt x="103" y="171"/>
                  <a:pt x="103" y="171"/>
                </a:cubicBezTo>
                <a:cubicBezTo>
                  <a:pt x="104" y="170"/>
                  <a:pt x="104" y="170"/>
                  <a:pt x="104" y="170"/>
                </a:cubicBezTo>
                <a:cubicBezTo>
                  <a:pt x="105" y="170"/>
                  <a:pt x="105" y="170"/>
                  <a:pt x="105" y="170"/>
                </a:cubicBezTo>
                <a:cubicBezTo>
                  <a:pt x="106" y="169"/>
                  <a:pt x="106" y="169"/>
                  <a:pt x="106" y="169"/>
                </a:cubicBezTo>
                <a:cubicBezTo>
                  <a:pt x="106" y="169"/>
                  <a:pt x="106" y="169"/>
                  <a:pt x="106" y="169"/>
                </a:cubicBezTo>
                <a:cubicBezTo>
                  <a:pt x="107" y="169"/>
                  <a:pt x="107" y="169"/>
                  <a:pt x="107" y="169"/>
                </a:cubicBezTo>
                <a:cubicBezTo>
                  <a:pt x="109" y="169"/>
                  <a:pt x="109" y="169"/>
                  <a:pt x="109" y="169"/>
                </a:cubicBezTo>
                <a:cubicBezTo>
                  <a:pt x="109" y="169"/>
                  <a:pt x="109" y="169"/>
                  <a:pt x="109" y="169"/>
                </a:cubicBezTo>
                <a:cubicBezTo>
                  <a:pt x="110" y="169"/>
                  <a:pt x="110" y="169"/>
                  <a:pt x="110" y="169"/>
                </a:cubicBezTo>
                <a:cubicBezTo>
                  <a:pt x="111" y="169"/>
                  <a:pt x="111" y="169"/>
                  <a:pt x="111" y="169"/>
                </a:cubicBezTo>
                <a:cubicBezTo>
                  <a:pt x="112" y="168"/>
                  <a:pt x="112" y="168"/>
                  <a:pt x="112" y="168"/>
                </a:cubicBezTo>
                <a:cubicBezTo>
                  <a:pt x="113" y="166"/>
                  <a:pt x="113" y="166"/>
                  <a:pt x="113" y="166"/>
                </a:cubicBezTo>
                <a:cubicBezTo>
                  <a:pt x="114" y="166"/>
                  <a:pt x="114" y="166"/>
                  <a:pt x="114" y="166"/>
                </a:cubicBezTo>
                <a:cubicBezTo>
                  <a:pt x="115" y="166"/>
                  <a:pt x="115" y="166"/>
                  <a:pt x="115" y="166"/>
                </a:cubicBezTo>
                <a:cubicBezTo>
                  <a:pt x="116" y="166"/>
                  <a:pt x="116" y="166"/>
                  <a:pt x="116" y="166"/>
                </a:cubicBezTo>
                <a:cubicBezTo>
                  <a:pt x="115" y="165"/>
                  <a:pt x="115" y="165"/>
                  <a:pt x="115" y="165"/>
                </a:cubicBezTo>
                <a:cubicBezTo>
                  <a:pt x="116" y="165"/>
                  <a:pt x="116" y="165"/>
                  <a:pt x="116" y="165"/>
                </a:cubicBezTo>
                <a:cubicBezTo>
                  <a:pt x="117" y="166"/>
                  <a:pt x="117" y="166"/>
                  <a:pt x="117" y="166"/>
                </a:cubicBezTo>
                <a:cubicBezTo>
                  <a:pt x="120" y="166"/>
                  <a:pt x="120" y="166"/>
                  <a:pt x="120" y="166"/>
                </a:cubicBezTo>
                <a:cubicBezTo>
                  <a:pt x="123" y="165"/>
                  <a:pt x="123" y="165"/>
                  <a:pt x="123" y="165"/>
                </a:cubicBezTo>
                <a:cubicBezTo>
                  <a:pt x="125" y="164"/>
                  <a:pt x="125" y="164"/>
                  <a:pt x="125" y="164"/>
                </a:cubicBezTo>
                <a:cubicBezTo>
                  <a:pt x="125" y="164"/>
                  <a:pt x="125" y="164"/>
                  <a:pt x="125" y="164"/>
                </a:cubicBezTo>
                <a:cubicBezTo>
                  <a:pt x="126" y="165"/>
                  <a:pt x="126" y="165"/>
                  <a:pt x="126" y="165"/>
                </a:cubicBezTo>
                <a:cubicBezTo>
                  <a:pt x="127" y="165"/>
                  <a:pt x="127" y="165"/>
                  <a:pt x="127" y="165"/>
                </a:cubicBezTo>
                <a:cubicBezTo>
                  <a:pt x="127" y="163"/>
                  <a:pt x="127" y="163"/>
                  <a:pt x="127" y="163"/>
                </a:cubicBezTo>
                <a:cubicBezTo>
                  <a:pt x="129" y="162"/>
                  <a:pt x="129" y="162"/>
                  <a:pt x="129" y="162"/>
                </a:cubicBezTo>
                <a:cubicBezTo>
                  <a:pt x="130" y="162"/>
                  <a:pt x="130" y="162"/>
                  <a:pt x="130" y="162"/>
                </a:cubicBezTo>
                <a:cubicBezTo>
                  <a:pt x="131" y="163"/>
                  <a:pt x="131" y="163"/>
                  <a:pt x="131" y="163"/>
                </a:cubicBezTo>
                <a:cubicBezTo>
                  <a:pt x="131" y="163"/>
                  <a:pt x="131" y="163"/>
                  <a:pt x="131" y="163"/>
                </a:cubicBezTo>
                <a:cubicBezTo>
                  <a:pt x="132" y="164"/>
                  <a:pt x="132" y="164"/>
                  <a:pt x="132" y="164"/>
                </a:cubicBezTo>
                <a:cubicBezTo>
                  <a:pt x="133" y="163"/>
                  <a:pt x="133" y="163"/>
                  <a:pt x="133" y="163"/>
                </a:cubicBezTo>
                <a:cubicBezTo>
                  <a:pt x="133" y="162"/>
                  <a:pt x="133" y="162"/>
                  <a:pt x="133" y="162"/>
                </a:cubicBezTo>
                <a:cubicBezTo>
                  <a:pt x="133" y="162"/>
                  <a:pt x="133" y="162"/>
                  <a:pt x="133" y="162"/>
                </a:cubicBezTo>
                <a:cubicBezTo>
                  <a:pt x="134" y="162"/>
                  <a:pt x="134" y="162"/>
                  <a:pt x="134" y="162"/>
                </a:cubicBezTo>
                <a:cubicBezTo>
                  <a:pt x="134" y="164"/>
                  <a:pt x="134" y="164"/>
                  <a:pt x="134" y="164"/>
                </a:cubicBezTo>
                <a:cubicBezTo>
                  <a:pt x="135" y="164"/>
                  <a:pt x="135" y="164"/>
                  <a:pt x="135" y="164"/>
                </a:cubicBezTo>
                <a:cubicBezTo>
                  <a:pt x="134" y="165"/>
                  <a:pt x="134" y="165"/>
                  <a:pt x="134" y="165"/>
                </a:cubicBezTo>
                <a:cubicBezTo>
                  <a:pt x="134" y="165"/>
                  <a:pt x="134" y="165"/>
                  <a:pt x="134" y="165"/>
                </a:cubicBezTo>
                <a:cubicBezTo>
                  <a:pt x="133" y="166"/>
                  <a:pt x="133" y="166"/>
                  <a:pt x="133" y="166"/>
                </a:cubicBezTo>
                <a:cubicBezTo>
                  <a:pt x="131" y="167"/>
                  <a:pt x="131" y="167"/>
                  <a:pt x="131" y="167"/>
                </a:cubicBezTo>
                <a:cubicBezTo>
                  <a:pt x="128" y="167"/>
                  <a:pt x="128" y="167"/>
                  <a:pt x="128" y="167"/>
                </a:cubicBezTo>
                <a:cubicBezTo>
                  <a:pt x="127" y="168"/>
                  <a:pt x="127" y="168"/>
                  <a:pt x="127" y="168"/>
                </a:cubicBezTo>
                <a:cubicBezTo>
                  <a:pt x="126" y="169"/>
                  <a:pt x="126" y="169"/>
                  <a:pt x="126" y="169"/>
                </a:cubicBezTo>
                <a:cubicBezTo>
                  <a:pt x="125" y="169"/>
                  <a:pt x="125" y="169"/>
                  <a:pt x="125" y="169"/>
                </a:cubicBezTo>
                <a:cubicBezTo>
                  <a:pt x="124" y="169"/>
                  <a:pt x="124" y="169"/>
                  <a:pt x="124" y="169"/>
                </a:cubicBezTo>
                <a:cubicBezTo>
                  <a:pt x="123" y="169"/>
                  <a:pt x="123" y="169"/>
                  <a:pt x="123" y="169"/>
                </a:cubicBezTo>
                <a:cubicBezTo>
                  <a:pt x="123" y="169"/>
                  <a:pt x="123" y="169"/>
                  <a:pt x="123" y="169"/>
                </a:cubicBezTo>
                <a:cubicBezTo>
                  <a:pt x="121" y="169"/>
                  <a:pt x="121" y="169"/>
                  <a:pt x="121" y="169"/>
                </a:cubicBezTo>
                <a:cubicBezTo>
                  <a:pt x="119" y="169"/>
                  <a:pt x="119" y="169"/>
                  <a:pt x="119" y="169"/>
                </a:cubicBezTo>
                <a:cubicBezTo>
                  <a:pt x="119" y="170"/>
                  <a:pt x="119" y="170"/>
                  <a:pt x="119" y="170"/>
                </a:cubicBezTo>
                <a:cubicBezTo>
                  <a:pt x="116" y="170"/>
                  <a:pt x="116" y="170"/>
                  <a:pt x="116" y="170"/>
                </a:cubicBezTo>
                <a:cubicBezTo>
                  <a:pt x="115" y="170"/>
                  <a:pt x="115" y="170"/>
                  <a:pt x="115" y="170"/>
                </a:cubicBezTo>
                <a:cubicBezTo>
                  <a:pt x="114" y="172"/>
                  <a:pt x="114" y="172"/>
                  <a:pt x="114" y="172"/>
                </a:cubicBezTo>
                <a:cubicBezTo>
                  <a:pt x="111" y="173"/>
                  <a:pt x="111" y="173"/>
                  <a:pt x="111" y="173"/>
                </a:cubicBezTo>
                <a:cubicBezTo>
                  <a:pt x="111" y="172"/>
                  <a:pt x="111" y="172"/>
                  <a:pt x="111" y="172"/>
                </a:cubicBezTo>
                <a:cubicBezTo>
                  <a:pt x="109" y="173"/>
                  <a:pt x="109" y="173"/>
                  <a:pt x="109" y="173"/>
                </a:cubicBezTo>
                <a:cubicBezTo>
                  <a:pt x="109" y="174"/>
                  <a:pt x="109" y="174"/>
                  <a:pt x="109" y="174"/>
                </a:cubicBezTo>
                <a:cubicBezTo>
                  <a:pt x="108" y="175"/>
                  <a:pt x="108" y="175"/>
                  <a:pt x="108" y="175"/>
                </a:cubicBezTo>
                <a:cubicBezTo>
                  <a:pt x="108" y="174"/>
                  <a:pt x="108" y="174"/>
                  <a:pt x="108" y="174"/>
                </a:cubicBezTo>
                <a:cubicBezTo>
                  <a:pt x="107" y="175"/>
                  <a:pt x="107" y="175"/>
                  <a:pt x="107" y="175"/>
                </a:cubicBezTo>
                <a:cubicBezTo>
                  <a:pt x="106" y="176"/>
                  <a:pt x="106" y="176"/>
                  <a:pt x="106" y="176"/>
                </a:cubicBezTo>
                <a:cubicBezTo>
                  <a:pt x="105" y="176"/>
                  <a:pt x="105" y="176"/>
                  <a:pt x="105" y="176"/>
                </a:cubicBezTo>
                <a:cubicBezTo>
                  <a:pt x="104" y="177"/>
                  <a:pt x="104" y="177"/>
                  <a:pt x="104" y="177"/>
                </a:cubicBezTo>
                <a:cubicBezTo>
                  <a:pt x="105" y="179"/>
                  <a:pt x="105" y="179"/>
                  <a:pt x="105" y="179"/>
                </a:cubicBezTo>
                <a:cubicBezTo>
                  <a:pt x="107" y="180"/>
                  <a:pt x="107" y="180"/>
                  <a:pt x="107" y="180"/>
                </a:cubicBezTo>
                <a:cubicBezTo>
                  <a:pt x="105" y="178"/>
                  <a:pt x="105" y="178"/>
                  <a:pt x="105" y="178"/>
                </a:cubicBezTo>
                <a:cubicBezTo>
                  <a:pt x="105" y="178"/>
                  <a:pt x="105" y="178"/>
                  <a:pt x="105" y="178"/>
                </a:cubicBezTo>
                <a:cubicBezTo>
                  <a:pt x="107" y="178"/>
                  <a:pt x="107" y="178"/>
                  <a:pt x="107" y="178"/>
                </a:cubicBezTo>
                <a:cubicBezTo>
                  <a:pt x="107" y="178"/>
                  <a:pt x="107" y="178"/>
                  <a:pt x="107" y="178"/>
                </a:cubicBezTo>
                <a:cubicBezTo>
                  <a:pt x="108" y="178"/>
                  <a:pt x="108" y="178"/>
                  <a:pt x="108" y="178"/>
                </a:cubicBezTo>
                <a:cubicBezTo>
                  <a:pt x="108" y="177"/>
                  <a:pt x="108" y="177"/>
                  <a:pt x="108" y="177"/>
                </a:cubicBezTo>
                <a:cubicBezTo>
                  <a:pt x="109" y="175"/>
                  <a:pt x="109" y="175"/>
                  <a:pt x="109" y="175"/>
                </a:cubicBezTo>
                <a:cubicBezTo>
                  <a:pt x="112" y="175"/>
                  <a:pt x="112" y="175"/>
                  <a:pt x="112" y="175"/>
                </a:cubicBezTo>
                <a:cubicBezTo>
                  <a:pt x="113" y="175"/>
                  <a:pt x="113" y="175"/>
                  <a:pt x="113" y="175"/>
                </a:cubicBezTo>
                <a:cubicBezTo>
                  <a:pt x="116" y="173"/>
                  <a:pt x="116" y="173"/>
                  <a:pt x="116" y="173"/>
                </a:cubicBezTo>
                <a:cubicBezTo>
                  <a:pt x="116" y="172"/>
                  <a:pt x="116" y="172"/>
                  <a:pt x="116" y="172"/>
                </a:cubicBezTo>
                <a:cubicBezTo>
                  <a:pt x="117" y="171"/>
                  <a:pt x="117" y="171"/>
                  <a:pt x="117" y="171"/>
                </a:cubicBezTo>
                <a:cubicBezTo>
                  <a:pt x="118" y="172"/>
                  <a:pt x="118" y="172"/>
                  <a:pt x="118" y="172"/>
                </a:cubicBezTo>
                <a:cubicBezTo>
                  <a:pt x="119" y="172"/>
                  <a:pt x="119" y="172"/>
                  <a:pt x="119" y="172"/>
                </a:cubicBezTo>
                <a:cubicBezTo>
                  <a:pt x="120" y="171"/>
                  <a:pt x="120" y="171"/>
                  <a:pt x="120" y="171"/>
                </a:cubicBezTo>
                <a:cubicBezTo>
                  <a:pt x="120" y="172"/>
                  <a:pt x="120" y="172"/>
                  <a:pt x="120" y="172"/>
                </a:cubicBezTo>
                <a:cubicBezTo>
                  <a:pt x="122" y="171"/>
                  <a:pt x="122" y="171"/>
                  <a:pt x="122" y="171"/>
                </a:cubicBezTo>
                <a:cubicBezTo>
                  <a:pt x="122" y="171"/>
                  <a:pt x="122" y="171"/>
                  <a:pt x="122" y="171"/>
                </a:cubicBezTo>
                <a:cubicBezTo>
                  <a:pt x="121" y="173"/>
                  <a:pt x="121" y="173"/>
                  <a:pt x="121" y="173"/>
                </a:cubicBezTo>
                <a:cubicBezTo>
                  <a:pt x="121" y="174"/>
                  <a:pt x="121" y="174"/>
                  <a:pt x="121" y="174"/>
                </a:cubicBezTo>
                <a:cubicBezTo>
                  <a:pt x="122" y="172"/>
                  <a:pt x="122" y="172"/>
                  <a:pt x="122" y="172"/>
                </a:cubicBezTo>
                <a:cubicBezTo>
                  <a:pt x="124" y="172"/>
                  <a:pt x="124" y="172"/>
                  <a:pt x="124" y="172"/>
                </a:cubicBezTo>
                <a:cubicBezTo>
                  <a:pt x="128" y="169"/>
                  <a:pt x="128" y="169"/>
                  <a:pt x="128" y="169"/>
                </a:cubicBezTo>
                <a:cubicBezTo>
                  <a:pt x="130" y="169"/>
                  <a:pt x="130" y="169"/>
                  <a:pt x="130" y="169"/>
                </a:cubicBezTo>
                <a:cubicBezTo>
                  <a:pt x="131" y="168"/>
                  <a:pt x="131" y="168"/>
                  <a:pt x="131" y="168"/>
                </a:cubicBezTo>
                <a:cubicBezTo>
                  <a:pt x="134" y="168"/>
                  <a:pt x="134" y="168"/>
                  <a:pt x="134" y="168"/>
                </a:cubicBezTo>
                <a:cubicBezTo>
                  <a:pt x="135" y="167"/>
                  <a:pt x="135" y="167"/>
                  <a:pt x="135" y="167"/>
                </a:cubicBezTo>
                <a:cubicBezTo>
                  <a:pt x="136" y="167"/>
                  <a:pt x="136" y="167"/>
                  <a:pt x="136" y="167"/>
                </a:cubicBezTo>
                <a:cubicBezTo>
                  <a:pt x="135" y="169"/>
                  <a:pt x="135" y="169"/>
                  <a:pt x="135" y="169"/>
                </a:cubicBezTo>
                <a:cubicBezTo>
                  <a:pt x="134" y="169"/>
                  <a:pt x="134" y="169"/>
                  <a:pt x="134" y="169"/>
                </a:cubicBezTo>
                <a:cubicBezTo>
                  <a:pt x="134" y="170"/>
                  <a:pt x="134" y="170"/>
                  <a:pt x="134" y="170"/>
                </a:cubicBezTo>
                <a:cubicBezTo>
                  <a:pt x="135" y="171"/>
                  <a:pt x="135" y="171"/>
                  <a:pt x="135" y="171"/>
                </a:cubicBezTo>
                <a:cubicBezTo>
                  <a:pt x="136" y="169"/>
                  <a:pt x="136" y="169"/>
                  <a:pt x="136" y="169"/>
                </a:cubicBezTo>
                <a:cubicBezTo>
                  <a:pt x="139" y="168"/>
                  <a:pt x="139" y="168"/>
                  <a:pt x="139" y="168"/>
                </a:cubicBezTo>
                <a:cubicBezTo>
                  <a:pt x="140" y="168"/>
                  <a:pt x="140" y="168"/>
                  <a:pt x="140" y="168"/>
                </a:cubicBezTo>
                <a:cubicBezTo>
                  <a:pt x="140" y="167"/>
                  <a:pt x="140" y="167"/>
                  <a:pt x="140" y="167"/>
                </a:cubicBezTo>
                <a:cubicBezTo>
                  <a:pt x="141" y="166"/>
                  <a:pt x="141" y="166"/>
                  <a:pt x="141" y="166"/>
                </a:cubicBezTo>
                <a:cubicBezTo>
                  <a:pt x="142" y="167"/>
                  <a:pt x="142" y="167"/>
                  <a:pt x="142" y="167"/>
                </a:cubicBezTo>
                <a:cubicBezTo>
                  <a:pt x="142" y="166"/>
                  <a:pt x="142" y="166"/>
                  <a:pt x="142" y="166"/>
                </a:cubicBezTo>
                <a:cubicBezTo>
                  <a:pt x="142" y="165"/>
                  <a:pt x="142" y="165"/>
                  <a:pt x="142" y="165"/>
                </a:cubicBezTo>
                <a:cubicBezTo>
                  <a:pt x="143" y="166"/>
                  <a:pt x="143" y="166"/>
                  <a:pt x="143" y="166"/>
                </a:cubicBezTo>
                <a:cubicBezTo>
                  <a:pt x="144" y="166"/>
                  <a:pt x="144" y="166"/>
                  <a:pt x="144" y="166"/>
                </a:cubicBezTo>
                <a:cubicBezTo>
                  <a:pt x="144" y="164"/>
                  <a:pt x="144" y="164"/>
                  <a:pt x="144" y="164"/>
                </a:cubicBezTo>
                <a:cubicBezTo>
                  <a:pt x="144" y="163"/>
                  <a:pt x="144" y="163"/>
                  <a:pt x="144" y="163"/>
                </a:cubicBezTo>
                <a:cubicBezTo>
                  <a:pt x="145" y="162"/>
                  <a:pt x="145" y="162"/>
                  <a:pt x="145" y="162"/>
                </a:cubicBezTo>
                <a:cubicBezTo>
                  <a:pt x="144" y="161"/>
                  <a:pt x="144" y="161"/>
                  <a:pt x="144" y="161"/>
                </a:cubicBezTo>
                <a:cubicBezTo>
                  <a:pt x="145" y="160"/>
                  <a:pt x="145" y="160"/>
                  <a:pt x="145" y="160"/>
                </a:cubicBezTo>
                <a:cubicBezTo>
                  <a:pt x="147" y="159"/>
                  <a:pt x="147" y="159"/>
                  <a:pt x="147" y="159"/>
                </a:cubicBezTo>
                <a:cubicBezTo>
                  <a:pt x="147" y="160"/>
                  <a:pt x="147" y="160"/>
                  <a:pt x="147" y="160"/>
                </a:cubicBezTo>
                <a:cubicBezTo>
                  <a:pt x="147" y="165"/>
                  <a:pt x="147" y="165"/>
                  <a:pt x="147" y="165"/>
                </a:cubicBezTo>
                <a:cubicBezTo>
                  <a:pt x="146" y="167"/>
                  <a:pt x="146" y="167"/>
                  <a:pt x="146" y="167"/>
                </a:cubicBezTo>
                <a:cubicBezTo>
                  <a:pt x="147" y="171"/>
                  <a:pt x="147" y="171"/>
                  <a:pt x="147" y="171"/>
                </a:cubicBezTo>
                <a:cubicBezTo>
                  <a:pt x="145" y="173"/>
                  <a:pt x="145" y="173"/>
                  <a:pt x="145" y="173"/>
                </a:cubicBezTo>
                <a:cubicBezTo>
                  <a:pt x="145" y="178"/>
                  <a:pt x="145" y="178"/>
                  <a:pt x="145" y="178"/>
                </a:cubicBezTo>
                <a:cubicBezTo>
                  <a:pt x="146" y="180"/>
                  <a:pt x="146" y="180"/>
                  <a:pt x="146" y="180"/>
                </a:cubicBezTo>
                <a:cubicBezTo>
                  <a:pt x="147" y="180"/>
                  <a:pt x="147" y="180"/>
                  <a:pt x="147" y="180"/>
                </a:cubicBezTo>
                <a:cubicBezTo>
                  <a:pt x="148" y="182"/>
                  <a:pt x="148" y="182"/>
                  <a:pt x="148" y="182"/>
                </a:cubicBezTo>
                <a:cubicBezTo>
                  <a:pt x="150" y="181"/>
                  <a:pt x="150" y="181"/>
                  <a:pt x="150" y="181"/>
                </a:cubicBezTo>
                <a:cubicBezTo>
                  <a:pt x="149" y="180"/>
                  <a:pt x="149" y="180"/>
                  <a:pt x="149" y="180"/>
                </a:cubicBezTo>
                <a:cubicBezTo>
                  <a:pt x="148" y="180"/>
                  <a:pt x="148" y="180"/>
                  <a:pt x="148" y="180"/>
                </a:cubicBezTo>
                <a:cubicBezTo>
                  <a:pt x="148" y="179"/>
                  <a:pt x="148" y="179"/>
                  <a:pt x="148" y="179"/>
                </a:cubicBezTo>
                <a:cubicBezTo>
                  <a:pt x="149" y="179"/>
                  <a:pt x="149" y="179"/>
                  <a:pt x="149" y="179"/>
                </a:cubicBezTo>
                <a:cubicBezTo>
                  <a:pt x="150" y="179"/>
                  <a:pt x="150" y="179"/>
                  <a:pt x="150" y="179"/>
                </a:cubicBezTo>
                <a:cubicBezTo>
                  <a:pt x="151" y="178"/>
                  <a:pt x="151" y="178"/>
                  <a:pt x="151" y="178"/>
                </a:cubicBezTo>
                <a:cubicBezTo>
                  <a:pt x="150" y="178"/>
                  <a:pt x="150" y="178"/>
                  <a:pt x="150" y="178"/>
                </a:cubicBezTo>
                <a:cubicBezTo>
                  <a:pt x="151" y="176"/>
                  <a:pt x="151" y="176"/>
                  <a:pt x="151" y="176"/>
                </a:cubicBezTo>
                <a:cubicBezTo>
                  <a:pt x="153" y="177"/>
                  <a:pt x="153" y="177"/>
                  <a:pt x="153" y="177"/>
                </a:cubicBezTo>
                <a:cubicBezTo>
                  <a:pt x="153" y="178"/>
                  <a:pt x="153" y="178"/>
                  <a:pt x="153" y="178"/>
                </a:cubicBezTo>
                <a:cubicBezTo>
                  <a:pt x="154" y="177"/>
                  <a:pt x="154" y="177"/>
                  <a:pt x="154" y="177"/>
                </a:cubicBezTo>
                <a:cubicBezTo>
                  <a:pt x="153" y="174"/>
                  <a:pt x="153" y="174"/>
                  <a:pt x="153" y="174"/>
                </a:cubicBezTo>
                <a:cubicBezTo>
                  <a:pt x="154" y="174"/>
                  <a:pt x="154" y="174"/>
                  <a:pt x="154" y="174"/>
                </a:cubicBezTo>
                <a:cubicBezTo>
                  <a:pt x="156" y="173"/>
                  <a:pt x="156" y="173"/>
                  <a:pt x="156" y="173"/>
                </a:cubicBezTo>
                <a:cubicBezTo>
                  <a:pt x="156" y="172"/>
                  <a:pt x="156" y="172"/>
                  <a:pt x="156" y="172"/>
                </a:cubicBezTo>
                <a:cubicBezTo>
                  <a:pt x="158" y="172"/>
                  <a:pt x="158" y="172"/>
                  <a:pt x="158" y="172"/>
                </a:cubicBezTo>
                <a:cubicBezTo>
                  <a:pt x="158" y="173"/>
                  <a:pt x="158" y="173"/>
                  <a:pt x="158" y="173"/>
                </a:cubicBezTo>
                <a:cubicBezTo>
                  <a:pt x="158" y="174"/>
                  <a:pt x="158" y="174"/>
                  <a:pt x="158" y="174"/>
                </a:cubicBezTo>
                <a:cubicBezTo>
                  <a:pt x="157" y="175"/>
                  <a:pt x="157" y="175"/>
                  <a:pt x="157" y="175"/>
                </a:cubicBezTo>
                <a:cubicBezTo>
                  <a:pt x="157" y="176"/>
                  <a:pt x="157" y="176"/>
                  <a:pt x="157" y="176"/>
                </a:cubicBezTo>
                <a:cubicBezTo>
                  <a:pt x="156" y="177"/>
                  <a:pt x="156" y="177"/>
                  <a:pt x="156" y="177"/>
                </a:cubicBezTo>
                <a:cubicBezTo>
                  <a:pt x="156" y="178"/>
                  <a:pt x="156" y="178"/>
                  <a:pt x="156" y="178"/>
                </a:cubicBezTo>
                <a:cubicBezTo>
                  <a:pt x="156" y="178"/>
                  <a:pt x="156" y="178"/>
                  <a:pt x="156" y="178"/>
                </a:cubicBezTo>
                <a:cubicBezTo>
                  <a:pt x="157" y="178"/>
                  <a:pt x="157" y="178"/>
                  <a:pt x="157" y="178"/>
                </a:cubicBezTo>
                <a:cubicBezTo>
                  <a:pt x="157" y="178"/>
                  <a:pt x="157" y="178"/>
                  <a:pt x="157" y="178"/>
                </a:cubicBezTo>
                <a:cubicBezTo>
                  <a:pt x="157" y="179"/>
                  <a:pt x="157" y="179"/>
                  <a:pt x="157" y="179"/>
                </a:cubicBezTo>
                <a:cubicBezTo>
                  <a:pt x="156" y="179"/>
                  <a:pt x="156" y="179"/>
                  <a:pt x="156" y="179"/>
                </a:cubicBezTo>
                <a:cubicBezTo>
                  <a:pt x="155" y="181"/>
                  <a:pt x="155" y="181"/>
                  <a:pt x="155" y="181"/>
                </a:cubicBezTo>
                <a:cubicBezTo>
                  <a:pt x="154" y="180"/>
                  <a:pt x="154" y="180"/>
                  <a:pt x="154" y="180"/>
                </a:cubicBezTo>
                <a:cubicBezTo>
                  <a:pt x="154" y="181"/>
                  <a:pt x="154" y="181"/>
                  <a:pt x="154" y="181"/>
                </a:cubicBezTo>
                <a:cubicBezTo>
                  <a:pt x="153" y="182"/>
                  <a:pt x="153" y="182"/>
                  <a:pt x="153" y="182"/>
                </a:cubicBezTo>
                <a:cubicBezTo>
                  <a:pt x="154" y="183"/>
                  <a:pt x="154" y="183"/>
                  <a:pt x="154" y="183"/>
                </a:cubicBezTo>
                <a:cubicBezTo>
                  <a:pt x="155" y="183"/>
                  <a:pt x="155" y="183"/>
                  <a:pt x="155" y="183"/>
                </a:cubicBezTo>
                <a:cubicBezTo>
                  <a:pt x="156" y="184"/>
                  <a:pt x="156" y="184"/>
                  <a:pt x="156" y="184"/>
                </a:cubicBezTo>
                <a:cubicBezTo>
                  <a:pt x="157" y="184"/>
                  <a:pt x="157" y="184"/>
                  <a:pt x="157" y="184"/>
                </a:cubicBezTo>
                <a:cubicBezTo>
                  <a:pt x="159" y="183"/>
                  <a:pt x="159" y="183"/>
                  <a:pt x="159" y="183"/>
                </a:cubicBezTo>
                <a:cubicBezTo>
                  <a:pt x="160" y="183"/>
                  <a:pt x="160" y="183"/>
                  <a:pt x="160" y="183"/>
                </a:cubicBezTo>
                <a:cubicBezTo>
                  <a:pt x="161" y="180"/>
                  <a:pt x="161" y="180"/>
                  <a:pt x="161" y="180"/>
                </a:cubicBezTo>
                <a:cubicBezTo>
                  <a:pt x="163" y="179"/>
                  <a:pt x="163" y="179"/>
                  <a:pt x="163" y="179"/>
                </a:cubicBezTo>
                <a:cubicBezTo>
                  <a:pt x="164" y="178"/>
                  <a:pt x="164" y="178"/>
                  <a:pt x="164" y="178"/>
                </a:cubicBezTo>
                <a:cubicBezTo>
                  <a:pt x="165" y="179"/>
                  <a:pt x="165" y="179"/>
                  <a:pt x="165" y="179"/>
                </a:cubicBezTo>
                <a:cubicBezTo>
                  <a:pt x="166" y="179"/>
                  <a:pt x="166" y="179"/>
                  <a:pt x="166" y="179"/>
                </a:cubicBezTo>
                <a:cubicBezTo>
                  <a:pt x="167" y="180"/>
                  <a:pt x="167" y="180"/>
                  <a:pt x="167" y="180"/>
                </a:cubicBezTo>
                <a:cubicBezTo>
                  <a:pt x="168" y="180"/>
                  <a:pt x="168" y="180"/>
                  <a:pt x="168" y="180"/>
                </a:cubicBezTo>
                <a:cubicBezTo>
                  <a:pt x="170" y="181"/>
                  <a:pt x="170" y="181"/>
                  <a:pt x="170" y="181"/>
                </a:cubicBezTo>
                <a:cubicBezTo>
                  <a:pt x="171" y="181"/>
                  <a:pt x="171" y="181"/>
                  <a:pt x="171" y="181"/>
                </a:cubicBezTo>
                <a:cubicBezTo>
                  <a:pt x="171" y="183"/>
                  <a:pt x="171" y="183"/>
                  <a:pt x="171" y="183"/>
                </a:cubicBezTo>
                <a:cubicBezTo>
                  <a:pt x="172" y="186"/>
                  <a:pt x="172" y="186"/>
                  <a:pt x="172" y="186"/>
                </a:cubicBezTo>
                <a:cubicBezTo>
                  <a:pt x="172" y="187"/>
                  <a:pt x="172" y="187"/>
                  <a:pt x="172" y="187"/>
                </a:cubicBezTo>
                <a:cubicBezTo>
                  <a:pt x="173" y="189"/>
                  <a:pt x="173" y="189"/>
                  <a:pt x="173" y="189"/>
                </a:cubicBezTo>
                <a:cubicBezTo>
                  <a:pt x="178" y="193"/>
                  <a:pt x="178" y="193"/>
                  <a:pt x="178" y="193"/>
                </a:cubicBezTo>
                <a:cubicBezTo>
                  <a:pt x="179" y="194"/>
                  <a:pt x="179" y="194"/>
                  <a:pt x="179" y="194"/>
                </a:cubicBezTo>
                <a:cubicBezTo>
                  <a:pt x="180" y="195"/>
                  <a:pt x="180" y="195"/>
                  <a:pt x="180" y="195"/>
                </a:cubicBezTo>
                <a:cubicBezTo>
                  <a:pt x="182" y="197"/>
                  <a:pt x="182" y="197"/>
                  <a:pt x="182" y="197"/>
                </a:cubicBezTo>
                <a:cubicBezTo>
                  <a:pt x="183" y="197"/>
                  <a:pt x="183" y="197"/>
                  <a:pt x="183" y="197"/>
                </a:cubicBezTo>
                <a:cubicBezTo>
                  <a:pt x="184" y="197"/>
                  <a:pt x="184" y="197"/>
                  <a:pt x="184" y="197"/>
                </a:cubicBezTo>
                <a:cubicBezTo>
                  <a:pt x="185" y="199"/>
                  <a:pt x="185" y="199"/>
                  <a:pt x="185" y="199"/>
                </a:cubicBezTo>
                <a:cubicBezTo>
                  <a:pt x="185" y="199"/>
                  <a:pt x="185" y="199"/>
                  <a:pt x="185" y="199"/>
                </a:cubicBezTo>
                <a:cubicBezTo>
                  <a:pt x="186" y="198"/>
                  <a:pt x="186" y="198"/>
                  <a:pt x="186" y="198"/>
                </a:cubicBezTo>
                <a:cubicBezTo>
                  <a:pt x="186" y="199"/>
                  <a:pt x="186" y="199"/>
                  <a:pt x="186" y="199"/>
                </a:cubicBezTo>
                <a:cubicBezTo>
                  <a:pt x="188" y="200"/>
                  <a:pt x="188" y="200"/>
                  <a:pt x="188" y="200"/>
                </a:cubicBezTo>
                <a:cubicBezTo>
                  <a:pt x="189" y="200"/>
                  <a:pt x="189" y="200"/>
                  <a:pt x="189" y="200"/>
                </a:cubicBezTo>
                <a:cubicBezTo>
                  <a:pt x="189" y="202"/>
                  <a:pt x="189" y="202"/>
                  <a:pt x="189" y="202"/>
                </a:cubicBezTo>
                <a:cubicBezTo>
                  <a:pt x="190" y="203"/>
                  <a:pt x="190" y="203"/>
                  <a:pt x="190" y="203"/>
                </a:cubicBezTo>
                <a:cubicBezTo>
                  <a:pt x="191" y="202"/>
                  <a:pt x="191" y="202"/>
                  <a:pt x="191" y="202"/>
                </a:cubicBezTo>
                <a:cubicBezTo>
                  <a:pt x="190" y="201"/>
                  <a:pt x="190" y="201"/>
                  <a:pt x="190" y="201"/>
                </a:cubicBezTo>
                <a:cubicBezTo>
                  <a:pt x="190" y="200"/>
                  <a:pt x="190" y="200"/>
                  <a:pt x="190" y="200"/>
                </a:cubicBezTo>
                <a:cubicBezTo>
                  <a:pt x="189" y="199"/>
                  <a:pt x="189" y="199"/>
                  <a:pt x="189" y="199"/>
                </a:cubicBezTo>
                <a:cubicBezTo>
                  <a:pt x="189" y="199"/>
                  <a:pt x="189" y="199"/>
                  <a:pt x="189" y="199"/>
                </a:cubicBezTo>
                <a:cubicBezTo>
                  <a:pt x="191" y="200"/>
                  <a:pt x="191" y="200"/>
                  <a:pt x="191" y="200"/>
                </a:cubicBezTo>
                <a:cubicBezTo>
                  <a:pt x="191" y="200"/>
                  <a:pt x="191" y="200"/>
                  <a:pt x="191" y="200"/>
                </a:cubicBezTo>
                <a:cubicBezTo>
                  <a:pt x="192" y="200"/>
                  <a:pt x="192" y="200"/>
                  <a:pt x="192" y="200"/>
                </a:cubicBezTo>
                <a:cubicBezTo>
                  <a:pt x="192" y="199"/>
                  <a:pt x="192" y="199"/>
                  <a:pt x="192" y="199"/>
                </a:cubicBezTo>
                <a:cubicBezTo>
                  <a:pt x="193" y="199"/>
                  <a:pt x="193" y="199"/>
                  <a:pt x="193" y="199"/>
                </a:cubicBezTo>
                <a:cubicBezTo>
                  <a:pt x="195" y="201"/>
                  <a:pt x="195" y="201"/>
                  <a:pt x="195" y="201"/>
                </a:cubicBezTo>
                <a:cubicBezTo>
                  <a:pt x="195" y="202"/>
                  <a:pt x="195" y="202"/>
                  <a:pt x="195" y="202"/>
                </a:cubicBezTo>
                <a:cubicBezTo>
                  <a:pt x="196" y="202"/>
                  <a:pt x="196" y="202"/>
                  <a:pt x="196" y="202"/>
                </a:cubicBezTo>
                <a:cubicBezTo>
                  <a:pt x="196" y="204"/>
                  <a:pt x="196" y="204"/>
                  <a:pt x="196" y="204"/>
                </a:cubicBezTo>
                <a:cubicBezTo>
                  <a:pt x="197" y="205"/>
                  <a:pt x="197" y="205"/>
                  <a:pt x="197" y="205"/>
                </a:cubicBezTo>
                <a:cubicBezTo>
                  <a:pt x="197" y="206"/>
                  <a:pt x="197" y="206"/>
                  <a:pt x="197" y="206"/>
                </a:cubicBezTo>
                <a:cubicBezTo>
                  <a:pt x="198" y="208"/>
                  <a:pt x="198" y="208"/>
                  <a:pt x="198" y="208"/>
                </a:cubicBezTo>
                <a:cubicBezTo>
                  <a:pt x="197" y="209"/>
                  <a:pt x="197" y="209"/>
                  <a:pt x="197" y="209"/>
                </a:cubicBezTo>
                <a:cubicBezTo>
                  <a:pt x="197" y="210"/>
                  <a:pt x="197" y="210"/>
                  <a:pt x="197" y="210"/>
                </a:cubicBezTo>
                <a:cubicBezTo>
                  <a:pt x="196" y="212"/>
                  <a:pt x="196" y="212"/>
                  <a:pt x="196" y="212"/>
                </a:cubicBezTo>
                <a:cubicBezTo>
                  <a:pt x="193" y="211"/>
                  <a:pt x="193" y="211"/>
                  <a:pt x="193" y="211"/>
                </a:cubicBezTo>
                <a:cubicBezTo>
                  <a:pt x="192" y="211"/>
                  <a:pt x="192" y="211"/>
                  <a:pt x="192" y="211"/>
                </a:cubicBezTo>
                <a:cubicBezTo>
                  <a:pt x="192" y="211"/>
                  <a:pt x="192" y="211"/>
                  <a:pt x="192" y="211"/>
                </a:cubicBezTo>
                <a:cubicBezTo>
                  <a:pt x="191" y="212"/>
                  <a:pt x="191" y="212"/>
                  <a:pt x="191" y="212"/>
                </a:cubicBezTo>
                <a:cubicBezTo>
                  <a:pt x="189" y="211"/>
                  <a:pt x="189" y="211"/>
                  <a:pt x="189" y="211"/>
                </a:cubicBezTo>
                <a:cubicBezTo>
                  <a:pt x="188" y="211"/>
                  <a:pt x="188" y="211"/>
                  <a:pt x="188" y="211"/>
                </a:cubicBezTo>
                <a:cubicBezTo>
                  <a:pt x="189" y="212"/>
                  <a:pt x="189" y="212"/>
                  <a:pt x="189" y="212"/>
                </a:cubicBezTo>
                <a:cubicBezTo>
                  <a:pt x="188" y="213"/>
                  <a:pt x="188" y="213"/>
                  <a:pt x="188" y="213"/>
                </a:cubicBezTo>
                <a:cubicBezTo>
                  <a:pt x="188" y="214"/>
                  <a:pt x="188" y="214"/>
                  <a:pt x="188" y="214"/>
                </a:cubicBezTo>
                <a:cubicBezTo>
                  <a:pt x="186" y="214"/>
                  <a:pt x="186" y="214"/>
                  <a:pt x="186" y="214"/>
                </a:cubicBezTo>
                <a:cubicBezTo>
                  <a:pt x="185" y="214"/>
                  <a:pt x="185" y="214"/>
                  <a:pt x="185" y="214"/>
                </a:cubicBezTo>
                <a:cubicBezTo>
                  <a:pt x="186" y="215"/>
                  <a:pt x="186" y="215"/>
                  <a:pt x="186" y="215"/>
                </a:cubicBezTo>
                <a:cubicBezTo>
                  <a:pt x="187" y="215"/>
                  <a:pt x="187" y="215"/>
                  <a:pt x="187" y="215"/>
                </a:cubicBezTo>
                <a:cubicBezTo>
                  <a:pt x="187" y="217"/>
                  <a:pt x="187" y="217"/>
                  <a:pt x="187" y="217"/>
                </a:cubicBezTo>
                <a:cubicBezTo>
                  <a:pt x="188" y="218"/>
                  <a:pt x="188" y="218"/>
                  <a:pt x="188" y="218"/>
                </a:cubicBezTo>
                <a:cubicBezTo>
                  <a:pt x="189" y="217"/>
                  <a:pt x="189" y="217"/>
                  <a:pt x="189" y="217"/>
                </a:cubicBezTo>
                <a:cubicBezTo>
                  <a:pt x="190" y="218"/>
                  <a:pt x="190" y="218"/>
                  <a:pt x="190" y="218"/>
                </a:cubicBezTo>
                <a:cubicBezTo>
                  <a:pt x="190" y="219"/>
                  <a:pt x="190" y="219"/>
                  <a:pt x="190" y="219"/>
                </a:cubicBezTo>
                <a:cubicBezTo>
                  <a:pt x="192" y="219"/>
                  <a:pt x="192" y="219"/>
                  <a:pt x="192" y="219"/>
                </a:cubicBezTo>
                <a:cubicBezTo>
                  <a:pt x="194" y="220"/>
                  <a:pt x="194" y="220"/>
                  <a:pt x="194" y="220"/>
                </a:cubicBezTo>
                <a:cubicBezTo>
                  <a:pt x="196" y="221"/>
                  <a:pt x="196" y="221"/>
                  <a:pt x="196" y="221"/>
                </a:cubicBezTo>
                <a:cubicBezTo>
                  <a:pt x="199" y="222"/>
                  <a:pt x="199" y="222"/>
                  <a:pt x="199" y="222"/>
                </a:cubicBezTo>
                <a:cubicBezTo>
                  <a:pt x="200" y="222"/>
                  <a:pt x="200" y="222"/>
                  <a:pt x="200" y="222"/>
                </a:cubicBezTo>
                <a:cubicBezTo>
                  <a:pt x="200" y="221"/>
                  <a:pt x="200" y="221"/>
                  <a:pt x="200" y="221"/>
                </a:cubicBezTo>
                <a:cubicBezTo>
                  <a:pt x="201" y="221"/>
                  <a:pt x="201" y="221"/>
                  <a:pt x="201" y="221"/>
                </a:cubicBezTo>
                <a:cubicBezTo>
                  <a:pt x="202" y="222"/>
                  <a:pt x="202" y="222"/>
                  <a:pt x="202" y="222"/>
                </a:cubicBezTo>
                <a:cubicBezTo>
                  <a:pt x="202" y="223"/>
                  <a:pt x="202" y="223"/>
                  <a:pt x="202" y="223"/>
                </a:cubicBezTo>
                <a:cubicBezTo>
                  <a:pt x="204" y="221"/>
                  <a:pt x="204" y="221"/>
                  <a:pt x="204" y="221"/>
                </a:cubicBezTo>
                <a:cubicBezTo>
                  <a:pt x="205" y="222"/>
                  <a:pt x="205" y="222"/>
                  <a:pt x="205" y="222"/>
                </a:cubicBezTo>
                <a:cubicBezTo>
                  <a:pt x="205" y="222"/>
                  <a:pt x="205" y="222"/>
                  <a:pt x="205" y="222"/>
                </a:cubicBezTo>
                <a:cubicBezTo>
                  <a:pt x="206" y="221"/>
                  <a:pt x="206" y="221"/>
                  <a:pt x="206" y="221"/>
                </a:cubicBezTo>
                <a:cubicBezTo>
                  <a:pt x="207" y="221"/>
                  <a:pt x="207" y="221"/>
                  <a:pt x="207" y="221"/>
                </a:cubicBezTo>
                <a:cubicBezTo>
                  <a:pt x="207" y="222"/>
                  <a:pt x="207" y="222"/>
                  <a:pt x="207" y="222"/>
                </a:cubicBezTo>
                <a:cubicBezTo>
                  <a:pt x="207" y="222"/>
                  <a:pt x="207" y="222"/>
                  <a:pt x="207" y="222"/>
                </a:cubicBezTo>
                <a:cubicBezTo>
                  <a:pt x="209" y="221"/>
                  <a:pt x="209" y="221"/>
                  <a:pt x="209" y="221"/>
                </a:cubicBezTo>
                <a:cubicBezTo>
                  <a:pt x="213" y="220"/>
                  <a:pt x="213" y="220"/>
                  <a:pt x="213" y="220"/>
                </a:cubicBezTo>
                <a:cubicBezTo>
                  <a:pt x="214" y="219"/>
                  <a:pt x="214" y="219"/>
                  <a:pt x="214" y="219"/>
                </a:cubicBezTo>
                <a:cubicBezTo>
                  <a:pt x="214" y="220"/>
                  <a:pt x="214" y="220"/>
                  <a:pt x="214" y="220"/>
                </a:cubicBezTo>
                <a:cubicBezTo>
                  <a:pt x="213" y="221"/>
                  <a:pt x="213" y="221"/>
                  <a:pt x="213" y="221"/>
                </a:cubicBezTo>
                <a:cubicBezTo>
                  <a:pt x="213" y="222"/>
                  <a:pt x="213" y="222"/>
                  <a:pt x="213" y="222"/>
                </a:cubicBezTo>
                <a:cubicBezTo>
                  <a:pt x="214" y="222"/>
                  <a:pt x="214" y="222"/>
                  <a:pt x="214" y="222"/>
                </a:cubicBezTo>
                <a:cubicBezTo>
                  <a:pt x="214" y="223"/>
                  <a:pt x="214" y="223"/>
                  <a:pt x="214" y="223"/>
                </a:cubicBezTo>
                <a:cubicBezTo>
                  <a:pt x="214" y="224"/>
                  <a:pt x="214" y="224"/>
                  <a:pt x="214" y="224"/>
                </a:cubicBezTo>
                <a:cubicBezTo>
                  <a:pt x="214" y="225"/>
                  <a:pt x="214" y="225"/>
                  <a:pt x="214" y="225"/>
                </a:cubicBezTo>
                <a:cubicBezTo>
                  <a:pt x="215" y="225"/>
                  <a:pt x="215" y="225"/>
                  <a:pt x="215" y="225"/>
                </a:cubicBezTo>
                <a:cubicBezTo>
                  <a:pt x="215" y="224"/>
                  <a:pt x="215" y="224"/>
                  <a:pt x="215" y="224"/>
                </a:cubicBezTo>
                <a:cubicBezTo>
                  <a:pt x="216" y="225"/>
                  <a:pt x="216" y="225"/>
                  <a:pt x="216" y="225"/>
                </a:cubicBezTo>
                <a:cubicBezTo>
                  <a:pt x="216" y="226"/>
                  <a:pt x="216" y="226"/>
                  <a:pt x="216" y="226"/>
                </a:cubicBezTo>
                <a:cubicBezTo>
                  <a:pt x="215" y="228"/>
                  <a:pt x="215" y="228"/>
                  <a:pt x="215" y="228"/>
                </a:cubicBezTo>
                <a:cubicBezTo>
                  <a:pt x="215" y="229"/>
                  <a:pt x="215" y="229"/>
                  <a:pt x="215" y="229"/>
                </a:cubicBezTo>
                <a:cubicBezTo>
                  <a:pt x="216" y="229"/>
                  <a:pt x="216" y="229"/>
                  <a:pt x="216" y="229"/>
                </a:cubicBezTo>
                <a:cubicBezTo>
                  <a:pt x="217" y="228"/>
                  <a:pt x="217" y="228"/>
                  <a:pt x="217" y="228"/>
                </a:cubicBezTo>
                <a:cubicBezTo>
                  <a:pt x="217" y="227"/>
                  <a:pt x="217" y="227"/>
                  <a:pt x="217" y="227"/>
                </a:cubicBezTo>
                <a:cubicBezTo>
                  <a:pt x="217" y="226"/>
                  <a:pt x="217" y="226"/>
                  <a:pt x="217" y="226"/>
                </a:cubicBezTo>
                <a:cubicBezTo>
                  <a:pt x="218" y="226"/>
                  <a:pt x="218" y="226"/>
                  <a:pt x="218" y="226"/>
                </a:cubicBezTo>
                <a:cubicBezTo>
                  <a:pt x="218" y="228"/>
                  <a:pt x="218" y="228"/>
                  <a:pt x="218" y="228"/>
                </a:cubicBezTo>
                <a:cubicBezTo>
                  <a:pt x="217" y="230"/>
                  <a:pt x="217" y="230"/>
                  <a:pt x="217" y="230"/>
                </a:cubicBezTo>
                <a:cubicBezTo>
                  <a:pt x="216" y="231"/>
                  <a:pt x="216" y="231"/>
                  <a:pt x="216" y="231"/>
                </a:cubicBezTo>
                <a:cubicBezTo>
                  <a:pt x="216" y="233"/>
                  <a:pt x="216" y="233"/>
                  <a:pt x="216" y="233"/>
                </a:cubicBezTo>
                <a:cubicBezTo>
                  <a:pt x="217" y="235"/>
                  <a:pt x="217" y="235"/>
                  <a:pt x="217" y="235"/>
                </a:cubicBezTo>
                <a:cubicBezTo>
                  <a:pt x="217" y="237"/>
                  <a:pt x="217" y="237"/>
                  <a:pt x="217" y="237"/>
                </a:cubicBezTo>
                <a:cubicBezTo>
                  <a:pt x="216" y="239"/>
                  <a:pt x="216" y="239"/>
                  <a:pt x="216" y="239"/>
                </a:cubicBezTo>
                <a:cubicBezTo>
                  <a:pt x="217" y="239"/>
                  <a:pt x="217" y="239"/>
                  <a:pt x="217" y="239"/>
                </a:cubicBezTo>
                <a:cubicBezTo>
                  <a:pt x="217" y="240"/>
                  <a:pt x="217" y="240"/>
                  <a:pt x="217" y="240"/>
                </a:cubicBezTo>
                <a:cubicBezTo>
                  <a:pt x="217" y="241"/>
                  <a:pt x="217" y="241"/>
                  <a:pt x="217" y="241"/>
                </a:cubicBezTo>
                <a:cubicBezTo>
                  <a:pt x="217" y="242"/>
                  <a:pt x="217" y="242"/>
                  <a:pt x="217" y="242"/>
                </a:cubicBezTo>
                <a:cubicBezTo>
                  <a:pt x="218" y="244"/>
                  <a:pt x="218" y="244"/>
                  <a:pt x="218" y="244"/>
                </a:cubicBezTo>
                <a:cubicBezTo>
                  <a:pt x="218" y="248"/>
                  <a:pt x="218" y="248"/>
                  <a:pt x="218" y="248"/>
                </a:cubicBezTo>
                <a:cubicBezTo>
                  <a:pt x="218" y="244"/>
                  <a:pt x="218" y="244"/>
                  <a:pt x="218" y="244"/>
                </a:cubicBezTo>
                <a:cubicBezTo>
                  <a:pt x="218" y="241"/>
                  <a:pt x="218" y="241"/>
                  <a:pt x="218" y="241"/>
                </a:cubicBezTo>
                <a:cubicBezTo>
                  <a:pt x="218" y="238"/>
                  <a:pt x="218" y="238"/>
                  <a:pt x="218" y="238"/>
                </a:cubicBezTo>
                <a:cubicBezTo>
                  <a:pt x="220" y="235"/>
                  <a:pt x="220" y="235"/>
                  <a:pt x="220" y="235"/>
                </a:cubicBezTo>
                <a:cubicBezTo>
                  <a:pt x="220" y="235"/>
                  <a:pt x="220" y="235"/>
                  <a:pt x="220" y="235"/>
                </a:cubicBezTo>
                <a:cubicBezTo>
                  <a:pt x="220" y="237"/>
                  <a:pt x="220" y="237"/>
                  <a:pt x="220" y="237"/>
                </a:cubicBezTo>
                <a:cubicBezTo>
                  <a:pt x="220" y="237"/>
                  <a:pt x="220" y="237"/>
                  <a:pt x="220" y="237"/>
                </a:cubicBezTo>
                <a:cubicBezTo>
                  <a:pt x="220" y="238"/>
                  <a:pt x="220" y="238"/>
                  <a:pt x="220" y="238"/>
                </a:cubicBezTo>
                <a:cubicBezTo>
                  <a:pt x="220" y="238"/>
                  <a:pt x="220" y="238"/>
                  <a:pt x="220" y="238"/>
                </a:cubicBezTo>
                <a:cubicBezTo>
                  <a:pt x="221" y="237"/>
                  <a:pt x="221" y="237"/>
                  <a:pt x="221" y="237"/>
                </a:cubicBezTo>
                <a:cubicBezTo>
                  <a:pt x="221" y="238"/>
                  <a:pt x="221" y="238"/>
                  <a:pt x="221" y="238"/>
                </a:cubicBezTo>
                <a:cubicBezTo>
                  <a:pt x="222" y="237"/>
                  <a:pt x="222" y="237"/>
                  <a:pt x="222" y="237"/>
                </a:cubicBezTo>
                <a:cubicBezTo>
                  <a:pt x="222" y="236"/>
                  <a:pt x="222" y="236"/>
                  <a:pt x="222" y="236"/>
                </a:cubicBezTo>
                <a:cubicBezTo>
                  <a:pt x="221" y="235"/>
                  <a:pt x="221" y="235"/>
                  <a:pt x="221" y="235"/>
                </a:cubicBezTo>
                <a:cubicBezTo>
                  <a:pt x="221" y="234"/>
                  <a:pt x="221" y="234"/>
                  <a:pt x="221" y="234"/>
                </a:cubicBezTo>
                <a:cubicBezTo>
                  <a:pt x="222" y="234"/>
                  <a:pt x="222" y="234"/>
                  <a:pt x="222" y="234"/>
                </a:cubicBezTo>
                <a:cubicBezTo>
                  <a:pt x="223" y="233"/>
                  <a:pt x="223" y="233"/>
                  <a:pt x="223" y="233"/>
                </a:cubicBezTo>
                <a:cubicBezTo>
                  <a:pt x="222" y="232"/>
                  <a:pt x="222" y="232"/>
                  <a:pt x="222" y="232"/>
                </a:cubicBezTo>
                <a:cubicBezTo>
                  <a:pt x="222" y="232"/>
                  <a:pt x="222" y="232"/>
                  <a:pt x="222" y="232"/>
                </a:cubicBezTo>
                <a:cubicBezTo>
                  <a:pt x="222" y="229"/>
                  <a:pt x="222" y="229"/>
                  <a:pt x="222" y="229"/>
                </a:cubicBezTo>
                <a:cubicBezTo>
                  <a:pt x="223" y="226"/>
                  <a:pt x="223" y="226"/>
                  <a:pt x="223" y="226"/>
                </a:cubicBezTo>
                <a:cubicBezTo>
                  <a:pt x="223" y="225"/>
                  <a:pt x="223" y="225"/>
                  <a:pt x="223" y="225"/>
                </a:cubicBezTo>
                <a:cubicBezTo>
                  <a:pt x="223" y="224"/>
                  <a:pt x="223" y="224"/>
                  <a:pt x="223" y="224"/>
                </a:cubicBezTo>
                <a:cubicBezTo>
                  <a:pt x="224" y="223"/>
                  <a:pt x="224" y="223"/>
                  <a:pt x="224" y="223"/>
                </a:cubicBezTo>
                <a:cubicBezTo>
                  <a:pt x="226" y="223"/>
                  <a:pt x="226" y="223"/>
                  <a:pt x="226" y="223"/>
                </a:cubicBezTo>
                <a:cubicBezTo>
                  <a:pt x="226" y="223"/>
                  <a:pt x="226" y="223"/>
                  <a:pt x="226" y="223"/>
                </a:cubicBezTo>
                <a:cubicBezTo>
                  <a:pt x="226" y="222"/>
                  <a:pt x="226" y="222"/>
                  <a:pt x="226" y="222"/>
                </a:cubicBezTo>
                <a:cubicBezTo>
                  <a:pt x="227" y="222"/>
                  <a:pt x="227" y="222"/>
                  <a:pt x="227" y="222"/>
                </a:cubicBezTo>
                <a:cubicBezTo>
                  <a:pt x="228" y="223"/>
                  <a:pt x="228" y="223"/>
                  <a:pt x="228" y="223"/>
                </a:cubicBezTo>
                <a:cubicBezTo>
                  <a:pt x="229" y="222"/>
                  <a:pt x="229" y="222"/>
                  <a:pt x="229" y="222"/>
                </a:cubicBezTo>
                <a:cubicBezTo>
                  <a:pt x="229" y="221"/>
                  <a:pt x="229" y="221"/>
                  <a:pt x="229" y="221"/>
                </a:cubicBezTo>
                <a:cubicBezTo>
                  <a:pt x="230" y="221"/>
                  <a:pt x="230" y="221"/>
                  <a:pt x="230" y="221"/>
                </a:cubicBezTo>
                <a:cubicBezTo>
                  <a:pt x="230" y="222"/>
                  <a:pt x="230" y="222"/>
                  <a:pt x="230" y="222"/>
                </a:cubicBezTo>
                <a:cubicBezTo>
                  <a:pt x="231" y="222"/>
                  <a:pt x="231" y="222"/>
                  <a:pt x="231" y="222"/>
                </a:cubicBezTo>
                <a:cubicBezTo>
                  <a:pt x="232" y="221"/>
                  <a:pt x="232" y="221"/>
                  <a:pt x="232" y="221"/>
                </a:cubicBezTo>
                <a:cubicBezTo>
                  <a:pt x="233" y="220"/>
                  <a:pt x="233" y="220"/>
                  <a:pt x="233" y="220"/>
                </a:cubicBezTo>
                <a:cubicBezTo>
                  <a:pt x="233" y="220"/>
                  <a:pt x="233" y="220"/>
                  <a:pt x="233" y="220"/>
                </a:cubicBezTo>
                <a:cubicBezTo>
                  <a:pt x="234" y="221"/>
                  <a:pt x="234" y="221"/>
                  <a:pt x="234" y="221"/>
                </a:cubicBezTo>
                <a:cubicBezTo>
                  <a:pt x="234" y="221"/>
                  <a:pt x="234" y="221"/>
                  <a:pt x="234" y="221"/>
                </a:cubicBezTo>
                <a:cubicBezTo>
                  <a:pt x="235" y="223"/>
                  <a:pt x="235" y="223"/>
                  <a:pt x="235" y="223"/>
                </a:cubicBezTo>
                <a:cubicBezTo>
                  <a:pt x="235" y="221"/>
                  <a:pt x="235" y="221"/>
                  <a:pt x="235" y="221"/>
                </a:cubicBezTo>
                <a:cubicBezTo>
                  <a:pt x="234" y="220"/>
                  <a:pt x="234" y="220"/>
                  <a:pt x="234" y="220"/>
                </a:cubicBezTo>
                <a:cubicBezTo>
                  <a:pt x="235" y="218"/>
                  <a:pt x="235" y="218"/>
                  <a:pt x="235" y="218"/>
                </a:cubicBezTo>
                <a:cubicBezTo>
                  <a:pt x="236" y="218"/>
                  <a:pt x="236" y="218"/>
                  <a:pt x="236" y="218"/>
                </a:cubicBezTo>
                <a:cubicBezTo>
                  <a:pt x="237" y="218"/>
                  <a:pt x="237" y="218"/>
                  <a:pt x="237" y="218"/>
                </a:cubicBezTo>
                <a:cubicBezTo>
                  <a:pt x="238" y="218"/>
                  <a:pt x="238" y="218"/>
                  <a:pt x="238" y="218"/>
                </a:cubicBezTo>
                <a:cubicBezTo>
                  <a:pt x="238" y="218"/>
                  <a:pt x="238" y="218"/>
                  <a:pt x="238" y="218"/>
                </a:cubicBezTo>
                <a:cubicBezTo>
                  <a:pt x="239" y="218"/>
                  <a:pt x="239" y="218"/>
                  <a:pt x="239" y="218"/>
                </a:cubicBezTo>
                <a:cubicBezTo>
                  <a:pt x="240" y="217"/>
                  <a:pt x="240" y="217"/>
                  <a:pt x="240" y="217"/>
                </a:cubicBezTo>
                <a:cubicBezTo>
                  <a:pt x="240" y="216"/>
                  <a:pt x="240" y="216"/>
                  <a:pt x="240" y="216"/>
                </a:cubicBezTo>
                <a:cubicBezTo>
                  <a:pt x="241" y="215"/>
                  <a:pt x="241" y="215"/>
                  <a:pt x="241" y="215"/>
                </a:cubicBezTo>
                <a:cubicBezTo>
                  <a:pt x="240" y="215"/>
                  <a:pt x="240" y="215"/>
                  <a:pt x="240" y="215"/>
                </a:cubicBezTo>
                <a:cubicBezTo>
                  <a:pt x="240" y="215"/>
                  <a:pt x="240" y="215"/>
                  <a:pt x="240" y="215"/>
                </a:cubicBezTo>
                <a:cubicBezTo>
                  <a:pt x="239" y="215"/>
                  <a:pt x="239" y="215"/>
                  <a:pt x="239" y="215"/>
                </a:cubicBezTo>
                <a:cubicBezTo>
                  <a:pt x="236" y="216"/>
                  <a:pt x="236" y="216"/>
                  <a:pt x="236" y="216"/>
                </a:cubicBezTo>
                <a:cubicBezTo>
                  <a:pt x="235" y="216"/>
                  <a:pt x="235" y="216"/>
                  <a:pt x="235" y="216"/>
                </a:cubicBezTo>
                <a:cubicBezTo>
                  <a:pt x="235" y="217"/>
                  <a:pt x="235" y="217"/>
                  <a:pt x="235" y="217"/>
                </a:cubicBezTo>
                <a:cubicBezTo>
                  <a:pt x="234" y="217"/>
                  <a:pt x="234" y="217"/>
                  <a:pt x="234" y="217"/>
                </a:cubicBezTo>
                <a:cubicBezTo>
                  <a:pt x="234" y="217"/>
                  <a:pt x="234" y="217"/>
                  <a:pt x="234" y="217"/>
                </a:cubicBezTo>
                <a:cubicBezTo>
                  <a:pt x="234" y="218"/>
                  <a:pt x="234" y="218"/>
                  <a:pt x="234" y="218"/>
                </a:cubicBezTo>
                <a:cubicBezTo>
                  <a:pt x="233" y="217"/>
                  <a:pt x="233" y="217"/>
                  <a:pt x="233" y="217"/>
                </a:cubicBezTo>
                <a:cubicBezTo>
                  <a:pt x="233" y="216"/>
                  <a:pt x="233" y="216"/>
                  <a:pt x="233" y="216"/>
                </a:cubicBezTo>
                <a:cubicBezTo>
                  <a:pt x="232" y="216"/>
                  <a:pt x="232" y="216"/>
                  <a:pt x="232" y="216"/>
                </a:cubicBezTo>
                <a:cubicBezTo>
                  <a:pt x="232" y="217"/>
                  <a:pt x="232" y="217"/>
                  <a:pt x="232" y="217"/>
                </a:cubicBezTo>
                <a:cubicBezTo>
                  <a:pt x="231" y="218"/>
                  <a:pt x="231" y="218"/>
                  <a:pt x="231" y="218"/>
                </a:cubicBezTo>
                <a:cubicBezTo>
                  <a:pt x="230" y="217"/>
                  <a:pt x="230" y="217"/>
                  <a:pt x="230" y="217"/>
                </a:cubicBezTo>
                <a:cubicBezTo>
                  <a:pt x="229" y="217"/>
                  <a:pt x="229" y="217"/>
                  <a:pt x="229" y="217"/>
                </a:cubicBezTo>
                <a:cubicBezTo>
                  <a:pt x="229" y="216"/>
                  <a:pt x="229" y="216"/>
                  <a:pt x="229" y="216"/>
                </a:cubicBezTo>
                <a:cubicBezTo>
                  <a:pt x="228" y="217"/>
                  <a:pt x="228" y="217"/>
                  <a:pt x="228" y="217"/>
                </a:cubicBezTo>
                <a:cubicBezTo>
                  <a:pt x="228" y="217"/>
                  <a:pt x="228" y="217"/>
                  <a:pt x="228" y="217"/>
                </a:cubicBezTo>
                <a:cubicBezTo>
                  <a:pt x="228" y="218"/>
                  <a:pt x="228" y="218"/>
                  <a:pt x="228" y="218"/>
                </a:cubicBezTo>
                <a:cubicBezTo>
                  <a:pt x="228" y="219"/>
                  <a:pt x="228" y="219"/>
                  <a:pt x="228" y="219"/>
                </a:cubicBezTo>
                <a:cubicBezTo>
                  <a:pt x="227" y="219"/>
                  <a:pt x="227" y="219"/>
                  <a:pt x="227" y="219"/>
                </a:cubicBezTo>
                <a:cubicBezTo>
                  <a:pt x="227" y="219"/>
                  <a:pt x="227" y="219"/>
                  <a:pt x="227" y="219"/>
                </a:cubicBezTo>
                <a:cubicBezTo>
                  <a:pt x="225" y="219"/>
                  <a:pt x="225" y="219"/>
                  <a:pt x="225" y="219"/>
                </a:cubicBezTo>
                <a:cubicBezTo>
                  <a:pt x="225" y="218"/>
                  <a:pt x="225" y="218"/>
                  <a:pt x="225" y="218"/>
                </a:cubicBezTo>
                <a:cubicBezTo>
                  <a:pt x="226" y="217"/>
                  <a:pt x="226" y="217"/>
                  <a:pt x="226" y="217"/>
                </a:cubicBezTo>
                <a:cubicBezTo>
                  <a:pt x="226" y="216"/>
                  <a:pt x="226" y="216"/>
                  <a:pt x="226" y="216"/>
                </a:cubicBezTo>
                <a:cubicBezTo>
                  <a:pt x="226" y="216"/>
                  <a:pt x="226" y="216"/>
                  <a:pt x="226" y="216"/>
                </a:cubicBezTo>
                <a:cubicBezTo>
                  <a:pt x="225" y="217"/>
                  <a:pt x="225" y="217"/>
                  <a:pt x="225" y="217"/>
                </a:cubicBezTo>
                <a:cubicBezTo>
                  <a:pt x="224" y="216"/>
                  <a:pt x="224" y="216"/>
                  <a:pt x="224" y="216"/>
                </a:cubicBezTo>
                <a:cubicBezTo>
                  <a:pt x="224" y="215"/>
                  <a:pt x="224" y="215"/>
                  <a:pt x="224" y="215"/>
                </a:cubicBezTo>
                <a:cubicBezTo>
                  <a:pt x="225" y="214"/>
                  <a:pt x="225" y="214"/>
                  <a:pt x="225" y="214"/>
                </a:cubicBezTo>
                <a:cubicBezTo>
                  <a:pt x="227" y="212"/>
                  <a:pt x="227" y="212"/>
                  <a:pt x="227" y="212"/>
                </a:cubicBezTo>
                <a:cubicBezTo>
                  <a:pt x="228" y="212"/>
                  <a:pt x="228" y="212"/>
                  <a:pt x="228" y="212"/>
                </a:cubicBezTo>
                <a:cubicBezTo>
                  <a:pt x="230" y="212"/>
                  <a:pt x="230" y="212"/>
                  <a:pt x="230" y="212"/>
                </a:cubicBezTo>
                <a:cubicBezTo>
                  <a:pt x="234" y="212"/>
                  <a:pt x="234" y="212"/>
                  <a:pt x="234" y="212"/>
                </a:cubicBezTo>
                <a:cubicBezTo>
                  <a:pt x="237" y="211"/>
                  <a:pt x="237" y="211"/>
                  <a:pt x="237" y="211"/>
                </a:cubicBezTo>
                <a:cubicBezTo>
                  <a:pt x="238" y="211"/>
                  <a:pt x="238" y="211"/>
                  <a:pt x="238" y="211"/>
                </a:cubicBezTo>
                <a:cubicBezTo>
                  <a:pt x="240" y="211"/>
                  <a:pt x="240" y="211"/>
                  <a:pt x="240" y="211"/>
                </a:cubicBezTo>
                <a:cubicBezTo>
                  <a:pt x="240" y="212"/>
                  <a:pt x="240" y="212"/>
                  <a:pt x="240" y="212"/>
                </a:cubicBezTo>
                <a:cubicBezTo>
                  <a:pt x="241" y="213"/>
                  <a:pt x="241" y="213"/>
                  <a:pt x="241" y="213"/>
                </a:cubicBezTo>
                <a:cubicBezTo>
                  <a:pt x="242" y="213"/>
                  <a:pt x="242" y="213"/>
                  <a:pt x="242" y="213"/>
                </a:cubicBezTo>
                <a:cubicBezTo>
                  <a:pt x="242" y="214"/>
                  <a:pt x="242" y="214"/>
                  <a:pt x="242" y="214"/>
                </a:cubicBezTo>
                <a:cubicBezTo>
                  <a:pt x="242" y="216"/>
                  <a:pt x="242" y="216"/>
                  <a:pt x="242" y="216"/>
                </a:cubicBezTo>
                <a:cubicBezTo>
                  <a:pt x="242" y="217"/>
                  <a:pt x="242" y="217"/>
                  <a:pt x="242" y="217"/>
                </a:cubicBezTo>
                <a:cubicBezTo>
                  <a:pt x="242" y="217"/>
                  <a:pt x="242" y="217"/>
                  <a:pt x="242" y="217"/>
                </a:cubicBezTo>
                <a:cubicBezTo>
                  <a:pt x="242" y="218"/>
                  <a:pt x="242" y="218"/>
                  <a:pt x="242" y="218"/>
                </a:cubicBezTo>
                <a:cubicBezTo>
                  <a:pt x="241" y="218"/>
                  <a:pt x="241" y="218"/>
                  <a:pt x="241" y="218"/>
                </a:cubicBezTo>
                <a:cubicBezTo>
                  <a:pt x="241" y="219"/>
                  <a:pt x="241" y="219"/>
                  <a:pt x="241" y="219"/>
                </a:cubicBezTo>
                <a:cubicBezTo>
                  <a:pt x="242" y="219"/>
                  <a:pt x="242" y="219"/>
                  <a:pt x="242" y="219"/>
                </a:cubicBezTo>
                <a:cubicBezTo>
                  <a:pt x="242" y="222"/>
                  <a:pt x="242" y="222"/>
                  <a:pt x="242" y="222"/>
                </a:cubicBezTo>
                <a:cubicBezTo>
                  <a:pt x="243" y="222"/>
                  <a:pt x="243" y="222"/>
                  <a:pt x="243" y="222"/>
                </a:cubicBezTo>
                <a:cubicBezTo>
                  <a:pt x="244" y="222"/>
                  <a:pt x="244" y="222"/>
                  <a:pt x="244" y="222"/>
                </a:cubicBezTo>
                <a:cubicBezTo>
                  <a:pt x="244" y="223"/>
                  <a:pt x="244" y="223"/>
                  <a:pt x="244" y="223"/>
                </a:cubicBezTo>
                <a:cubicBezTo>
                  <a:pt x="243" y="223"/>
                  <a:pt x="243" y="223"/>
                  <a:pt x="243" y="223"/>
                </a:cubicBezTo>
                <a:cubicBezTo>
                  <a:pt x="242" y="224"/>
                  <a:pt x="242" y="224"/>
                  <a:pt x="242" y="224"/>
                </a:cubicBezTo>
                <a:cubicBezTo>
                  <a:pt x="242" y="225"/>
                  <a:pt x="242" y="225"/>
                  <a:pt x="242" y="225"/>
                </a:cubicBezTo>
                <a:cubicBezTo>
                  <a:pt x="243" y="225"/>
                  <a:pt x="243" y="225"/>
                  <a:pt x="243" y="225"/>
                </a:cubicBezTo>
                <a:cubicBezTo>
                  <a:pt x="244" y="226"/>
                  <a:pt x="244" y="226"/>
                  <a:pt x="244" y="226"/>
                </a:cubicBezTo>
                <a:cubicBezTo>
                  <a:pt x="245" y="226"/>
                  <a:pt x="245" y="226"/>
                  <a:pt x="245" y="226"/>
                </a:cubicBezTo>
                <a:cubicBezTo>
                  <a:pt x="245" y="226"/>
                  <a:pt x="245" y="226"/>
                  <a:pt x="245" y="226"/>
                </a:cubicBezTo>
                <a:cubicBezTo>
                  <a:pt x="246" y="227"/>
                  <a:pt x="246" y="227"/>
                  <a:pt x="246" y="227"/>
                </a:cubicBezTo>
                <a:cubicBezTo>
                  <a:pt x="247" y="227"/>
                  <a:pt x="247" y="227"/>
                  <a:pt x="247" y="227"/>
                </a:cubicBezTo>
                <a:cubicBezTo>
                  <a:pt x="248" y="226"/>
                  <a:pt x="248" y="226"/>
                  <a:pt x="248" y="226"/>
                </a:cubicBezTo>
                <a:cubicBezTo>
                  <a:pt x="249" y="227"/>
                  <a:pt x="249" y="227"/>
                  <a:pt x="249" y="227"/>
                </a:cubicBezTo>
                <a:cubicBezTo>
                  <a:pt x="249" y="227"/>
                  <a:pt x="249" y="227"/>
                  <a:pt x="249" y="227"/>
                </a:cubicBezTo>
                <a:cubicBezTo>
                  <a:pt x="249" y="228"/>
                  <a:pt x="249" y="228"/>
                  <a:pt x="249" y="228"/>
                </a:cubicBezTo>
                <a:cubicBezTo>
                  <a:pt x="250" y="228"/>
                  <a:pt x="250" y="228"/>
                  <a:pt x="250" y="228"/>
                </a:cubicBezTo>
                <a:cubicBezTo>
                  <a:pt x="250" y="228"/>
                  <a:pt x="250" y="228"/>
                  <a:pt x="250" y="228"/>
                </a:cubicBezTo>
                <a:cubicBezTo>
                  <a:pt x="250" y="229"/>
                  <a:pt x="250" y="229"/>
                  <a:pt x="250" y="229"/>
                </a:cubicBezTo>
                <a:cubicBezTo>
                  <a:pt x="250" y="230"/>
                  <a:pt x="250" y="230"/>
                  <a:pt x="250" y="230"/>
                </a:cubicBezTo>
                <a:cubicBezTo>
                  <a:pt x="250" y="230"/>
                  <a:pt x="250" y="230"/>
                  <a:pt x="250" y="230"/>
                </a:cubicBezTo>
                <a:cubicBezTo>
                  <a:pt x="251" y="231"/>
                  <a:pt x="251" y="231"/>
                  <a:pt x="251" y="231"/>
                </a:cubicBezTo>
                <a:cubicBezTo>
                  <a:pt x="252" y="232"/>
                  <a:pt x="252" y="232"/>
                  <a:pt x="252" y="232"/>
                </a:cubicBezTo>
                <a:cubicBezTo>
                  <a:pt x="252" y="233"/>
                  <a:pt x="252" y="233"/>
                  <a:pt x="252" y="233"/>
                </a:cubicBezTo>
                <a:cubicBezTo>
                  <a:pt x="254" y="232"/>
                  <a:pt x="254" y="232"/>
                  <a:pt x="254" y="232"/>
                </a:cubicBezTo>
                <a:cubicBezTo>
                  <a:pt x="254" y="233"/>
                  <a:pt x="254" y="233"/>
                  <a:pt x="254" y="233"/>
                </a:cubicBezTo>
                <a:cubicBezTo>
                  <a:pt x="254" y="234"/>
                  <a:pt x="254" y="234"/>
                  <a:pt x="254" y="234"/>
                </a:cubicBezTo>
                <a:cubicBezTo>
                  <a:pt x="255" y="234"/>
                  <a:pt x="255" y="234"/>
                  <a:pt x="255" y="234"/>
                </a:cubicBezTo>
                <a:cubicBezTo>
                  <a:pt x="256" y="235"/>
                  <a:pt x="256" y="235"/>
                  <a:pt x="256" y="235"/>
                </a:cubicBezTo>
                <a:cubicBezTo>
                  <a:pt x="257" y="234"/>
                  <a:pt x="257" y="234"/>
                  <a:pt x="257" y="234"/>
                </a:cubicBezTo>
                <a:cubicBezTo>
                  <a:pt x="260" y="234"/>
                  <a:pt x="260" y="234"/>
                  <a:pt x="260" y="234"/>
                </a:cubicBezTo>
                <a:cubicBezTo>
                  <a:pt x="260" y="233"/>
                  <a:pt x="260" y="233"/>
                  <a:pt x="260" y="233"/>
                </a:cubicBezTo>
                <a:cubicBezTo>
                  <a:pt x="262" y="232"/>
                  <a:pt x="262" y="232"/>
                  <a:pt x="262" y="232"/>
                </a:cubicBezTo>
                <a:cubicBezTo>
                  <a:pt x="262" y="232"/>
                  <a:pt x="262" y="232"/>
                  <a:pt x="262" y="232"/>
                </a:cubicBezTo>
                <a:cubicBezTo>
                  <a:pt x="263" y="233"/>
                  <a:pt x="263" y="233"/>
                  <a:pt x="263" y="233"/>
                </a:cubicBezTo>
                <a:cubicBezTo>
                  <a:pt x="265" y="233"/>
                  <a:pt x="265" y="233"/>
                  <a:pt x="265" y="233"/>
                </a:cubicBezTo>
                <a:cubicBezTo>
                  <a:pt x="267" y="235"/>
                  <a:pt x="267" y="235"/>
                  <a:pt x="267" y="235"/>
                </a:cubicBezTo>
                <a:cubicBezTo>
                  <a:pt x="268" y="235"/>
                  <a:pt x="268" y="235"/>
                  <a:pt x="268" y="235"/>
                </a:cubicBezTo>
                <a:cubicBezTo>
                  <a:pt x="269" y="236"/>
                  <a:pt x="269" y="236"/>
                  <a:pt x="269" y="236"/>
                </a:cubicBezTo>
                <a:cubicBezTo>
                  <a:pt x="270" y="235"/>
                  <a:pt x="270" y="235"/>
                  <a:pt x="270" y="235"/>
                </a:cubicBezTo>
                <a:cubicBezTo>
                  <a:pt x="272" y="235"/>
                  <a:pt x="272" y="235"/>
                  <a:pt x="272" y="235"/>
                </a:cubicBezTo>
                <a:cubicBezTo>
                  <a:pt x="273" y="236"/>
                  <a:pt x="273" y="236"/>
                  <a:pt x="273" y="236"/>
                </a:cubicBezTo>
                <a:cubicBezTo>
                  <a:pt x="273" y="236"/>
                  <a:pt x="273" y="236"/>
                  <a:pt x="273" y="236"/>
                </a:cubicBezTo>
                <a:cubicBezTo>
                  <a:pt x="273" y="234"/>
                  <a:pt x="273" y="234"/>
                  <a:pt x="273" y="234"/>
                </a:cubicBezTo>
                <a:cubicBezTo>
                  <a:pt x="272" y="233"/>
                  <a:pt x="272" y="233"/>
                  <a:pt x="272" y="233"/>
                </a:cubicBezTo>
                <a:cubicBezTo>
                  <a:pt x="272" y="231"/>
                  <a:pt x="272" y="231"/>
                  <a:pt x="272" y="231"/>
                </a:cubicBezTo>
                <a:cubicBezTo>
                  <a:pt x="272" y="231"/>
                  <a:pt x="272" y="231"/>
                  <a:pt x="272" y="231"/>
                </a:cubicBezTo>
                <a:cubicBezTo>
                  <a:pt x="273" y="231"/>
                  <a:pt x="273" y="231"/>
                  <a:pt x="273" y="231"/>
                </a:cubicBezTo>
                <a:cubicBezTo>
                  <a:pt x="274" y="233"/>
                  <a:pt x="274" y="233"/>
                  <a:pt x="274" y="233"/>
                </a:cubicBezTo>
                <a:cubicBezTo>
                  <a:pt x="274" y="235"/>
                  <a:pt x="274" y="235"/>
                  <a:pt x="274" y="235"/>
                </a:cubicBezTo>
                <a:cubicBezTo>
                  <a:pt x="276" y="237"/>
                  <a:pt x="276" y="237"/>
                  <a:pt x="276" y="237"/>
                </a:cubicBezTo>
                <a:cubicBezTo>
                  <a:pt x="276" y="237"/>
                  <a:pt x="276" y="237"/>
                  <a:pt x="276" y="237"/>
                </a:cubicBezTo>
                <a:cubicBezTo>
                  <a:pt x="277" y="239"/>
                  <a:pt x="277" y="239"/>
                  <a:pt x="277" y="239"/>
                </a:cubicBezTo>
                <a:cubicBezTo>
                  <a:pt x="277" y="236"/>
                  <a:pt x="277" y="236"/>
                  <a:pt x="277" y="236"/>
                </a:cubicBezTo>
                <a:cubicBezTo>
                  <a:pt x="276" y="235"/>
                  <a:pt x="276" y="235"/>
                  <a:pt x="276" y="235"/>
                </a:cubicBezTo>
                <a:cubicBezTo>
                  <a:pt x="275" y="235"/>
                  <a:pt x="275" y="235"/>
                  <a:pt x="275" y="235"/>
                </a:cubicBezTo>
                <a:cubicBezTo>
                  <a:pt x="274" y="233"/>
                  <a:pt x="274" y="233"/>
                  <a:pt x="274" y="233"/>
                </a:cubicBezTo>
                <a:cubicBezTo>
                  <a:pt x="274" y="230"/>
                  <a:pt x="274" y="230"/>
                  <a:pt x="274" y="230"/>
                </a:cubicBezTo>
                <a:cubicBezTo>
                  <a:pt x="274" y="229"/>
                  <a:pt x="274" y="229"/>
                  <a:pt x="274" y="229"/>
                </a:cubicBezTo>
                <a:cubicBezTo>
                  <a:pt x="274" y="230"/>
                  <a:pt x="274" y="230"/>
                  <a:pt x="274" y="230"/>
                </a:cubicBezTo>
                <a:cubicBezTo>
                  <a:pt x="274" y="230"/>
                  <a:pt x="274" y="230"/>
                  <a:pt x="274" y="230"/>
                </a:cubicBezTo>
                <a:cubicBezTo>
                  <a:pt x="275" y="231"/>
                  <a:pt x="275" y="231"/>
                  <a:pt x="275" y="231"/>
                </a:cubicBezTo>
                <a:cubicBezTo>
                  <a:pt x="276" y="230"/>
                  <a:pt x="276" y="230"/>
                  <a:pt x="276" y="230"/>
                </a:cubicBezTo>
                <a:cubicBezTo>
                  <a:pt x="276" y="230"/>
                  <a:pt x="276" y="230"/>
                  <a:pt x="276" y="230"/>
                </a:cubicBezTo>
                <a:cubicBezTo>
                  <a:pt x="275" y="228"/>
                  <a:pt x="275" y="228"/>
                  <a:pt x="275" y="228"/>
                </a:cubicBezTo>
                <a:cubicBezTo>
                  <a:pt x="275" y="228"/>
                  <a:pt x="275" y="228"/>
                  <a:pt x="275" y="228"/>
                </a:cubicBezTo>
                <a:cubicBezTo>
                  <a:pt x="275" y="227"/>
                  <a:pt x="275" y="227"/>
                  <a:pt x="275" y="227"/>
                </a:cubicBezTo>
                <a:cubicBezTo>
                  <a:pt x="275" y="226"/>
                  <a:pt x="275" y="226"/>
                  <a:pt x="275" y="226"/>
                </a:cubicBezTo>
                <a:cubicBezTo>
                  <a:pt x="276" y="226"/>
                  <a:pt x="276" y="226"/>
                  <a:pt x="276" y="226"/>
                </a:cubicBezTo>
                <a:cubicBezTo>
                  <a:pt x="277" y="227"/>
                  <a:pt x="277" y="227"/>
                  <a:pt x="277" y="227"/>
                </a:cubicBezTo>
                <a:cubicBezTo>
                  <a:pt x="277" y="228"/>
                  <a:pt x="277" y="228"/>
                  <a:pt x="277" y="228"/>
                </a:cubicBezTo>
                <a:cubicBezTo>
                  <a:pt x="277" y="228"/>
                  <a:pt x="277" y="228"/>
                  <a:pt x="277" y="228"/>
                </a:cubicBezTo>
                <a:cubicBezTo>
                  <a:pt x="278" y="228"/>
                  <a:pt x="278" y="228"/>
                  <a:pt x="278" y="228"/>
                </a:cubicBezTo>
                <a:cubicBezTo>
                  <a:pt x="279" y="227"/>
                  <a:pt x="279" y="227"/>
                  <a:pt x="279" y="227"/>
                </a:cubicBezTo>
                <a:cubicBezTo>
                  <a:pt x="279" y="226"/>
                  <a:pt x="279" y="226"/>
                  <a:pt x="279" y="226"/>
                </a:cubicBezTo>
                <a:cubicBezTo>
                  <a:pt x="280" y="226"/>
                  <a:pt x="280" y="226"/>
                  <a:pt x="280" y="226"/>
                </a:cubicBezTo>
                <a:cubicBezTo>
                  <a:pt x="281" y="227"/>
                  <a:pt x="281" y="227"/>
                  <a:pt x="281" y="227"/>
                </a:cubicBezTo>
                <a:cubicBezTo>
                  <a:pt x="281" y="228"/>
                  <a:pt x="281" y="228"/>
                  <a:pt x="281" y="228"/>
                </a:cubicBezTo>
                <a:cubicBezTo>
                  <a:pt x="281" y="228"/>
                  <a:pt x="281" y="228"/>
                  <a:pt x="281" y="228"/>
                </a:cubicBezTo>
                <a:cubicBezTo>
                  <a:pt x="281" y="228"/>
                  <a:pt x="281" y="228"/>
                  <a:pt x="281" y="228"/>
                </a:cubicBezTo>
                <a:cubicBezTo>
                  <a:pt x="282" y="227"/>
                  <a:pt x="282" y="227"/>
                  <a:pt x="282" y="227"/>
                </a:cubicBezTo>
                <a:cubicBezTo>
                  <a:pt x="283" y="228"/>
                  <a:pt x="283" y="228"/>
                  <a:pt x="283" y="228"/>
                </a:cubicBezTo>
                <a:cubicBezTo>
                  <a:pt x="282" y="230"/>
                  <a:pt x="282" y="230"/>
                  <a:pt x="282" y="230"/>
                </a:cubicBezTo>
                <a:cubicBezTo>
                  <a:pt x="282" y="231"/>
                  <a:pt x="282" y="231"/>
                  <a:pt x="282" y="231"/>
                </a:cubicBezTo>
                <a:cubicBezTo>
                  <a:pt x="283" y="231"/>
                  <a:pt x="283" y="231"/>
                  <a:pt x="283" y="231"/>
                </a:cubicBezTo>
                <a:cubicBezTo>
                  <a:pt x="284" y="231"/>
                  <a:pt x="284" y="231"/>
                  <a:pt x="284" y="231"/>
                </a:cubicBezTo>
                <a:cubicBezTo>
                  <a:pt x="285" y="232"/>
                  <a:pt x="285" y="232"/>
                  <a:pt x="285" y="232"/>
                </a:cubicBezTo>
                <a:cubicBezTo>
                  <a:pt x="284" y="233"/>
                  <a:pt x="284" y="233"/>
                  <a:pt x="284" y="233"/>
                </a:cubicBezTo>
                <a:cubicBezTo>
                  <a:pt x="283" y="233"/>
                  <a:pt x="283" y="233"/>
                  <a:pt x="283" y="233"/>
                </a:cubicBezTo>
                <a:cubicBezTo>
                  <a:pt x="283" y="234"/>
                  <a:pt x="283" y="234"/>
                  <a:pt x="283" y="234"/>
                </a:cubicBezTo>
                <a:cubicBezTo>
                  <a:pt x="283" y="234"/>
                  <a:pt x="283" y="234"/>
                  <a:pt x="283" y="234"/>
                </a:cubicBezTo>
                <a:cubicBezTo>
                  <a:pt x="285" y="233"/>
                  <a:pt x="285" y="233"/>
                  <a:pt x="285" y="233"/>
                </a:cubicBezTo>
                <a:cubicBezTo>
                  <a:pt x="286" y="232"/>
                  <a:pt x="286" y="232"/>
                  <a:pt x="286" y="232"/>
                </a:cubicBezTo>
                <a:cubicBezTo>
                  <a:pt x="287" y="231"/>
                  <a:pt x="287" y="231"/>
                  <a:pt x="287" y="231"/>
                </a:cubicBezTo>
                <a:cubicBezTo>
                  <a:pt x="288" y="232"/>
                  <a:pt x="288" y="232"/>
                  <a:pt x="288" y="232"/>
                </a:cubicBezTo>
                <a:cubicBezTo>
                  <a:pt x="288" y="232"/>
                  <a:pt x="288" y="232"/>
                  <a:pt x="288" y="232"/>
                </a:cubicBezTo>
                <a:cubicBezTo>
                  <a:pt x="287" y="232"/>
                  <a:pt x="287" y="232"/>
                  <a:pt x="287" y="232"/>
                </a:cubicBezTo>
                <a:cubicBezTo>
                  <a:pt x="287" y="233"/>
                  <a:pt x="287" y="233"/>
                  <a:pt x="287" y="233"/>
                </a:cubicBezTo>
                <a:cubicBezTo>
                  <a:pt x="287" y="234"/>
                  <a:pt x="287" y="234"/>
                  <a:pt x="287" y="234"/>
                </a:cubicBezTo>
                <a:cubicBezTo>
                  <a:pt x="285" y="236"/>
                  <a:pt x="285" y="236"/>
                  <a:pt x="285" y="236"/>
                </a:cubicBezTo>
                <a:cubicBezTo>
                  <a:pt x="285" y="236"/>
                  <a:pt x="285" y="236"/>
                  <a:pt x="285" y="236"/>
                </a:cubicBezTo>
                <a:cubicBezTo>
                  <a:pt x="283" y="238"/>
                  <a:pt x="283" y="238"/>
                  <a:pt x="283" y="238"/>
                </a:cubicBezTo>
                <a:cubicBezTo>
                  <a:pt x="283" y="239"/>
                  <a:pt x="283" y="239"/>
                  <a:pt x="283" y="239"/>
                </a:cubicBezTo>
                <a:cubicBezTo>
                  <a:pt x="282" y="240"/>
                  <a:pt x="282" y="240"/>
                  <a:pt x="282" y="240"/>
                </a:cubicBezTo>
                <a:cubicBezTo>
                  <a:pt x="282" y="238"/>
                  <a:pt x="282" y="238"/>
                  <a:pt x="282" y="238"/>
                </a:cubicBezTo>
                <a:cubicBezTo>
                  <a:pt x="281" y="240"/>
                  <a:pt x="281" y="240"/>
                  <a:pt x="281" y="240"/>
                </a:cubicBezTo>
                <a:cubicBezTo>
                  <a:pt x="281" y="242"/>
                  <a:pt x="281" y="242"/>
                  <a:pt x="281" y="242"/>
                </a:cubicBezTo>
                <a:cubicBezTo>
                  <a:pt x="281" y="242"/>
                  <a:pt x="281" y="242"/>
                  <a:pt x="281" y="242"/>
                </a:cubicBezTo>
                <a:cubicBezTo>
                  <a:pt x="282" y="242"/>
                  <a:pt x="282" y="242"/>
                  <a:pt x="282" y="242"/>
                </a:cubicBezTo>
                <a:cubicBezTo>
                  <a:pt x="283" y="242"/>
                  <a:pt x="283" y="242"/>
                  <a:pt x="283" y="242"/>
                </a:cubicBezTo>
                <a:cubicBezTo>
                  <a:pt x="283" y="243"/>
                  <a:pt x="283" y="243"/>
                  <a:pt x="283" y="243"/>
                </a:cubicBezTo>
                <a:cubicBezTo>
                  <a:pt x="281" y="244"/>
                  <a:pt x="281" y="244"/>
                  <a:pt x="281" y="244"/>
                </a:cubicBezTo>
                <a:cubicBezTo>
                  <a:pt x="281" y="245"/>
                  <a:pt x="281" y="245"/>
                  <a:pt x="281" y="245"/>
                </a:cubicBezTo>
                <a:cubicBezTo>
                  <a:pt x="283" y="244"/>
                  <a:pt x="283" y="244"/>
                  <a:pt x="283" y="244"/>
                </a:cubicBezTo>
                <a:cubicBezTo>
                  <a:pt x="284" y="243"/>
                  <a:pt x="284" y="243"/>
                  <a:pt x="284" y="243"/>
                </a:cubicBezTo>
                <a:cubicBezTo>
                  <a:pt x="285" y="243"/>
                  <a:pt x="285" y="243"/>
                  <a:pt x="285" y="243"/>
                </a:cubicBezTo>
                <a:cubicBezTo>
                  <a:pt x="284" y="245"/>
                  <a:pt x="284" y="245"/>
                  <a:pt x="284" y="245"/>
                </a:cubicBezTo>
                <a:cubicBezTo>
                  <a:pt x="283" y="245"/>
                  <a:pt x="283" y="245"/>
                  <a:pt x="283" y="245"/>
                </a:cubicBezTo>
                <a:cubicBezTo>
                  <a:pt x="284" y="246"/>
                  <a:pt x="284" y="246"/>
                  <a:pt x="284" y="246"/>
                </a:cubicBezTo>
                <a:cubicBezTo>
                  <a:pt x="285" y="245"/>
                  <a:pt x="285" y="245"/>
                  <a:pt x="285" y="245"/>
                </a:cubicBezTo>
                <a:cubicBezTo>
                  <a:pt x="284" y="247"/>
                  <a:pt x="284" y="247"/>
                  <a:pt x="284" y="247"/>
                </a:cubicBezTo>
                <a:cubicBezTo>
                  <a:pt x="284" y="248"/>
                  <a:pt x="284" y="248"/>
                  <a:pt x="284" y="248"/>
                </a:cubicBezTo>
                <a:cubicBezTo>
                  <a:pt x="283" y="248"/>
                  <a:pt x="283" y="248"/>
                  <a:pt x="283" y="248"/>
                </a:cubicBezTo>
                <a:cubicBezTo>
                  <a:pt x="282" y="248"/>
                  <a:pt x="282" y="248"/>
                  <a:pt x="282" y="248"/>
                </a:cubicBezTo>
                <a:cubicBezTo>
                  <a:pt x="281" y="247"/>
                  <a:pt x="281" y="247"/>
                  <a:pt x="281" y="247"/>
                </a:cubicBezTo>
                <a:cubicBezTo>
                  <a:pt x="280" y="248"/>
                  <a:pt x="280" y="248"/>
                  <a:pt x="280" y="248"/>
                </a:cubicBezTo>
                <a:cubicBezTo>
                  <a:pt x="279" y="246"/>
                  <a:pt x="279" y="246"/>
                  <a:pt x="279" y="246"/>
                </a:cubicBezTo>
                <a:cubicBezTo>
                  <a:pt x="279" y="246"/>
                  <a:pt x="279" y="246"/>
                  <a:pt x="279" y="246"/>
                </a:cubicBezTo>
                <a:cubicBezTo>
                  <a:pt x="278" y="248"/>
                  <a:pt x="278" y="248"/>
                  <a:pt x="278" y="248"/>
                </a:cubicBezTo>
                <a:cubicBezTo>
                  <a:pt x="279" y="249"/>
                  <a:pt x="279" y="249"/>
                  <a:pt x="279" y="249"/>
                </a:cubicBezTo>
                <a:cubicBezTo>
                  <a:pt x="280" y="250"/>
                  <a:pt x="280" y="250"/>
                  <a:pt x="280" y="250"/>
                </a:cubicBezTo>
                <a:cubicBezTo>
                  <a:pt x="279" y="253"/>
                  <a:pt x="279" y="253"/>
                  <a:pt x="279" y="253"/>
                </a:cubicBezTo>
                <a:cubicBezTo>
                  <a:pt x="280" y="251"/>
                  <a:pt x="280" y="251"/>
                  <a:pt x="280" y="251"/>
                </a:cubicBezTo>
                <a:cubicBezTo>
                  <a:pt x="280" y="249"/>
                  <a:pt x="280" y="249"/>
                  <a:pt x="280" y="249"/>
                </a:cubicBezTo>
                <a:cubicBezTo>
                  <a:pt x="281" y="248"/>
                  <a:pt x="281" y="248"/>
                  <a:pt x="281" y="248"/>
                </a:cubicBezTo>
                <a:cubicBezTo>
                  <a:pt x="281" y="249"/>
                  <a:pt x="281" y="249"/>
                  <a:pt x="281" y="249"/>
                </a:cubicBezTo>
                <a:cubicBezTo>
                  <a:pt x="283" y="249"/>
                  <a:pt x="283" y="249"/>
                  <a:pt x="283" y="249"/>
                </a:cubicBezTo>
                <a:cubicBezTo>
                  <a:pt x="284" y="250"/>
                  <a:pt x="284" y="250"/>
                  <a:pt x="284" y="250"/>
                </a:cubicBezTo>
                <a:cubicBezTo>
                  <a:pt x="285" y="249"/>
                  <a:pt x="285" y="249"/>
                  <a:pt x="285" y="249"/>
                </a:cubicBezTo>
                <a:cubicBezTo>
                  <a:pt x="285" y="248"/>
                  <a:pt x="285" y="248"/>
                  <a:pt x="285" y="248"/>
                </a:cubicBezTo>
                <a:cubicBezTo>
                  <a:pt x="286" y="247"/>
                  <a:pt x="286" y="247"/>
                  <a:pt x="286" y="247"/>
                </a:cubicBezTo>
                <a:cubicBezTo>
                  <a:pt x="287" y="246"/>
                  <a:pt x="287" y="246"/>
                  <a:pt x="287" y="246"/>
                </a:cubicBezTo>
                <a:cubicBezTo>
                  <a:pt x="289" y="246"/>
                  <a:pt x="289" y="246"/>
                  <a:pt x="289" y="246"/>
                </a:cubicBezTo>
                <a:cubicBezTo>
                  <a:pt x="290" y="245"/>
                  <a:pt x="290" y="245"/>
                  <a:pt x="290" y="245"/>
                </a:cubicBezTo>
                <a:cubicBezTo>
                  <a:pt x="289" y="245"/>
                  <a:pt x="289" y="245"/>
                  <a:pt x="289" y="245"/>
                </a:cubicBezTo>
                <a:cubicBezTo>
                  <a:pt x="287" y="245"/>
                  <a:pt x="287" y="245"/>
                  <a:pt x="287" y="245"/>
                </a:cubicBezTo>
                <a:cubicBezTo>
                  <a:pt x="287" y="246"/>
                  <a:pt x="287" y="246"/>
                  <a:pt x="287" y="246"/>
                </a:cubicBezTo>
                <a:cubicBezTo>
                  <a:pt x="286" y="246"/>
                  <a:pt x="286" y="246"/>
                  <a:pt x="286" y="246"/>
                </a:cubicBezTo>
                <a:cubicBezTo>
                  <a:pt x="285" y="246"/>
                  <a:pt x="285" y="246"/>
                  <a:pt x="285" y="246"/>
                </a:cubicBezTo>
                <a:cubicBezTo>
                  <a:pt x="286" y="245"/>
                  <a:pt x="286" y="245"/>
                  <a:pt x="286" y="245"/>
                </a:cubicBezTo>
                <a:cubicBezTo>
                  <a:pt x="287" y="244"/>
                  <a:pt x="287" y="244"/>
                  <a:pt x="287" y="244"/>
                </a:cubicBezTo>
                <a:cubicBezTo>
                  <a:pt x="286" y="244"/>
                  <a:pt x="286" y="244"/>
                  <a:pt x="286" y="244"/>
                </a:cubicBezTo>
                <a:cubicBezTo>
                  <a:pt x="286" y="243"/>
                  <a:pt x="286" y="243"/>
                  <a:pt x="286" y="243"/>
                </a:cubicBezTo>
                <a:cubicBezTo>
                  <a:pt x="287" y="241"/>
                  <a:pt x="287" y="241"/>
                  <a:pt x="287" y="241"/>
                </a:cubicBezTo>
                <a:cubicBezTo>
                  <a:pt x="287" y="240"/>
                  <a:pt x="287" y="240"/>
                  <a:pt x="287" y="240"/>
                </a:cubicBezTo>
                <a:cubicBezTo>
                  <a:pt x="286" y="239"/>
                  <a:pt x="286" y="239"/>
                  <a:pt x="286" y="239"/>
                </a:cubicBezTo>
                <a:cubicBezTo>
                  <a:pt x="287" y="239"/>
                  <a:pt x="287" y="239"/>
                  <a:pt x="287" y="239"/>
                </a:cubicBezTo>
                <a:cubicBezTo>
                  <a:pt x="288" y="237"/>
                  <a:pt x="288" y="237"/>
                  <a:pt x="288" y="237"/>
                </a:cubicBezTo>
                <a:cubicBezTo>
                  <a:pt x="288" y="236"/>
                  <a:pt x="288" y="236"/>
                  <a:pt x="288" y="236"/>
                </a:cubicBezTo>
                <a:cubicBezTo>
                  <a:pt x="290" y="235"/>
                  <a:pt x="290" y="235"/>
                  <a:pt x="290" y="235"/>
                </a:cubicBezTo>
                <a:cubicBezTo>
                  <a:pt x="290" y="235"/>
                  <a:pt x="290" y="235"/>
                  <a:pt x="290" y="235"/>
                </a:cubicBezTo>
                <a:cubicBezTo>
                  <a:pt x="290" y="236"/>
                  <a:pt x="290" y="236"/>
                  <a:pt x="290" y="236"/>
                </a:cubicBezTo>
                <a:cubicBezTo>
                  <a:pt x="290" y="235"/>
                  <a:pt x="290" y="235"/>
                  <a:pt x="290" y="235"/>
                </a:cubicBezTo>
                <a:cubicBezTo>
                  <a:pt x="291" y="234"/>
                  <a:pt x="291" y="234"/>
                  <a:pt x="291" y="234"/>
                </a:cubicBezTo>
                <a:cubicBezTo>
                  <a:pt x="291" y="235"/>
                  <a:pt x="291" y="235"/>
                  <a:pt x="291" y="235"/>
                </a:cubicBezTo>
                <a:cubicBezTo>
                  <a:pt x="292" y="235"/>
                  <a:pt x="292" y="235"/>
                  <a:pt x="292" y="235"/>
                </a:cubicBezTo>
                <a:cubicBezTo>
                  <a:pt x="292" y="236"/>
                  <a:pt x="292" y="236"/>
                  <a:pt x="292" y="236"/>
                </a:cubicBezTo>
                <a:cubicBezTo>
                  <a:pt x="293" y="235"/>
                  <a:pt x="293" y="235"/>
                  <a:pt x="293" y="235"/>
                </a:cubicBezTo>
                <a:cubicBezTo>
                  <a:pt x="294" y="234"/>
                  <a:pt x="294" y="234"/>
                  <a:pt x="294" y="234"/>
                </a:cubicBezTo>
                <a:cubicBezTo>
                  <a:pt x="297" y="233"/>
                  <a:pt x="297" y="233"/>
                  <a:pt x="297" y="233"/>
                </a:cubicBezTo>
                <a:cubicBezTo>
                  <a:pt x="298" y="232"/>
                  <a:pt x="298" y="232"/>
                  <a:pt x="298" y="232"/>
                </a:cubicBezTo>
                <a:cubicBezTo>
                  <a:pt x="297" y="232"/>
                  <a:pt x="297" y="232"/>
                  <a:pt x="297" y="232"/>
                </a:cubicBezTo>
                <a:cubicBezTo>
                  <a:pt x="298" y="231"/>
                  <a:pt x="298" y="231"/>
                  <a:pt x="298" y="231"/>
                </a:cubicBezTo>
                <a:cubicBezTo>
                  <a:pt x="299" y="230"/>
                  <a:pt x="299" y="230"/>
                  <a:pt x="299" y="230"/>
                </a:cubicBezTo>
                <a:cubicBezTo>
                  <a:pt x="301" y="230"/>
                  <a:pt x="301" y="230"/>
                  <a:pt x="301" y="230"/>
                </a:cubicBezTo>
                <a:cubicBezTo>
                  <a:pt x="302" y="229"/>
                  <a:pt x="302" y="229"/>
                  <a:pt x="302" y="229"/>
                </a:cubicBezTo>
                <a:cubicBezTo>
                  <a:pt x="302" y="228"/>
                  <a:pt x="302" y="228"/>
                  <a:pt x="302" y="228"/>
                </a:cubicBezTo>
                <a:cubicBezTo>
                  <a:pt x="302" y="226"/>
                  <a:pt x="302" y="226"/>
                  <a:pt x="302" y="226"/>
                </a:cubicBezTo>
                <a:cubicBezTo>
                  <a:pt x="303" y="225"/>
                  <a:pt x="303" y="225"/>
                  <a:pt x="303" y="225"/>
                </a:cubicBezTo>
                <a:cubicBezTo>
                  <a:pt x="303" y="224"/>
                  <a:pt x="303" y="224"/>
                  <a:pt x="303" y="224"/>
                </a:cubicBezTo>
                <a:cubicBezTo>
                  <a:pt x="303" y="223"/>
                  <a:pt x="303" y="223"/>
                  <a:pt x="303" y="223"/>
                </a:cubicBezTo>
                <a:cubicBezTo>
                  <a:pt x="302" y="224"/>
                  <a:pt x="302" y="224"/>
                  <a:pt x="302" y="224"/>
                </a:cubicBezTo>
                <a:cubicBezTo>
                  <a:pt x="301" y="224"/>
                  <a:pt x="301" y="224"/>
                  <a:pt x="301" y="224"/>
                </a:cubicBezTo>
                <a:cubicBezTo>
                  <a:pt x="301" y="224"/>
                  <a:pt x="301" y="224"/>
                  <a:pt x="301" y="224"/>
                </a:cubicBezTo>
                <a:cubicBezTo>
                  <a:pt x="301" y="225"/>
                  <a:pt x="301" y="225"/>
                  <a:pt x="301" y="225"/>
                </a:cubicBezTo>
                <a:cubicBezTo>
                  <a:pt x="300" y="226"/>
                  <a:pt x="300" y="226"/>
                  <a:pt x="300" y="226"/>
                </a:cubicBezTo>
                <a:cubicBezTo>
                  <a:pt x="299" y="225"/>
                  <a:pt x="299" y="225"/>
                  <a:pt x="299" y="225"/>
                </a:cubicBezTo>
                <a:cubicBezTo>
                  <a:pt x="298" y="225"/>
                  <a:pt x="298" y="225"/>
                  <a:pt x="298" y="225"/>
                </a:cubicBezTo>
                <a:cubicBezTo>
                  <a:pt x="298" y="225"/>
                  <a:pt x="298" y="225"/>
                  <a:pt x="298" y="225"/>
                </a:cubicBezTo>
                <a:cubicBezTo>
                  <a:pt x="299" y="223"/>
                  <a:pt x="299" y="223"/>
                  <a:pt x="299" y="223"/>
                </a:cubicBezTo>
                <a:cubicBezTo>
                  <a:pt x="300" y="223"/>
                  <a:pt x="300" y="223"/>
                  <a:pt x="300" y="223"/>
                </a:cubicBezTo>
                <a:cubicBezTo>
                  <a:pt x="300" y="222"/>
                  <a:pt x="300" y="222"/>
                  <a:pt x="300" y="222"/>
                </a:cubicBezTo>
                <a:cubicBezTo>
                  <a:pt x="302" y="222"/>
                  <a:pt x="302" y="222"/>
                  <a:pt x="302" y="222"/>
                </a:cubicBezTo>
                <a:cubicBezTo>
                  <a:pt x="302" y="221"/>
                  <a:pt x="302" y="221"/>
                  <a:pt x="302" y="221"/>
                </a:cubicBezTo>
                <a:cubicBezTo>
                  <a:pt x="301" y="220"/>
                  <a:pt x="301" y="220"/>
                  <a:pt x="301" y="220"/>
                </a:cubicBezTo>
                <a:cubicBezTo>
                  <a:pt x="302" y="219"/>
                  <a:pt x="302" y="219"/>
                  <a:pt x="302" y="219"/>
                </a:cubicBezTo>
                <a:cubicBezTo>
                  <a:pt x="304" y="218"/>
                  <a:pt x="304" y="218"/>
                  <a:pt x="304" y="218"/>
                </a:cubicBezTo>
                <a:cubicBezTo>
                  <a:pt x="305" y="219"/>
                  <a:pt x="305" y="219"/>
                  <a:pt x="305" y="219"/>
                </a:cubicBezTo>
                <a:cubicBezTo>
                  <a:pt x="304" y="220"/>
                  <a:pt x="304" y="220"/>
                  <a:pt x="304" y="220"/>
                </a:cubicBezTo>
                <a:cubicBezTo>
                  <a:pt x="304" y="221"/>
                  <a:pt x="304" y="221"/>
                  <a:pt x="304" y="221"/>
                </a:cubicBezTo>
                <a:cubicBezTo>
                  <a:pt x="304" y="221"/>
                  <a:pt x="304" y="221"/>
                  <a:pt x="304" y="221"/>
                </a:cubicBezTo>
                <a:cubicBezTo>
                  <a:pt x="306" y="220"/>
                  <a:pt x="306" y="220"/>
                  <a:pt x="306" y="220"/>
                </a:cubicBezTo>
                <a:cubicBezTo>
                  <a:pt x="307" y="218"/>
                  <a:pt x="307" y="218"/>
                  <a:pt x="307" y="218"/>
                </a:cubicBezTo>
                <a:cubicBezTo>
                  <a:pt x="307" y="217"/>
                  <a:pt x="307" y="217"/>
                  <a:pt x="307" y="217"/>
                </a:cubicBezTo>
                <a:cubicBezTo>
                  <a:pt x="305" y="217"/>
                  <a:pt x="305" y="217"/>
                  <a:pt x="305" y="217"/>
                </a:cubicBezTo>
                <a:cubicBezTo>
                  <a:pt x="304" y="217"/>
                  <a:pt x="304" y="217"/>
                  <a:pt x="304" y="217"/>
                </a:cubicBezTo>
                <a:cubicBezTo>
                  <a:pt x="304" y="216"/>
                  <a:pt x="304" y="216"/>
                  <a:pt x="304" y="216"/>
                </a:cubicBezTo>
                <a:cubicBezTo>
                  <a:pt x="302" y="216"/>
                  <a:pt x="302" y="216"/>
                  <a:pt x="302" y="216"/>
                </a:cubicBezTo>
                <a:cubicBezTo>
                  <a:pt x="301" y="214"/>
                  <a:pt x="301" y="214"/>
                  <a:pt x="301" y="214"/>
                </a:cubicBezTo>
                <a:cubicBezTo>
                  <a:pt x="301" y="213"/>
                  <a:pt x="301" y="213"/>
                  <a:pt x="301" y="213"/>
                </a:cubicBezTo>
                <a:cubicBezTo>
                  <a:pt x="301" y="214"/>
                  <a:pt x="301" y="214"/>
                  <a:pt x="301" y="214"/>
                </a:cubicBezTo>
                <a:cubicBezTo>
                  <a:pt x="300" y="214"/>
                  <a:pt x="300" y="214"/>
                  <a:pt x="300" y="214"/>
                </a:cubicBezTo>
                <a:cubicBezTo>
                  <a:pt x="299" y="213"/>
                  <a:pt x="299" y="213"/>
                  <a:pt x="299" y="213"/>
                </a:cubicBezTo>
                <a:cubicBezTo>
                  <a:pt x="298" y="212"/>
                  <a:pt x="298" y="212"/>
                  <a:pt x="298" y="212"/>
                </a:cubicBezTo>
                <a:cubicBezTo>
                  <a:pt x="298" y="211"/>
                  <a:pt x="298" y="211"/>
                  <a:pt x="298" y="211"/>
                </a:cubicBezTo>
                <a:cubicBezTo>
                  <a:pt x="297" y="211"/>
                  <a:pt x="297" y="211"/>
                  <a:pt x="297" y="211"/>
                </a:cubicBezTo>
                <a:cubicBezTo>
                  <a:pt x="296" y="211"/>
                  <a:pt x="296" y="211"/>
                  <a:pt x="296" y="211"/>
                </a:cubicBezTo>
                <a:cubicBezTo>
                  <a:pt x="296" y="210"/>
                  <a:pt x="296" y="210"/>
                  <a:pt x="296" y="210"/>
                </a:cubicBezTo>
                <a:cubicBezTo>
                  <a:pt x="296" y="209"/>
                  <a:pt x="296" y="209"/>
                  <a:pt x="296" y="209"/>
                </a:cubicBezTo>
                <a:cubicBezTo>
                  <a:pt x="296" y="208"/>
                  <a:pt x="296" y="208"/>
                  <a:pt x="296" y="208"/>
                </a:cubicBezTo>
                <a:cubicBezTo>
                  <a:pt x="296" y="207"/>
                  <a:pt x="296" y="207"/>
                  <a:pt x="296" y="207"/>
                </a:cubicBezTo>
                <a:cubicBezTo>
                  <a:pt x="296" y="206"/>
                  <a:pt x="296" y="206"/>
                  <a:pt x="296" y="206"/>
                </a:cubicBezTo>
                <a:cubicBezTo>
                  <a:pt x="296" y="203"/>
                  <a:pt x="296" y="203"/>
                  <a:pt x="296" y="203"/>
                </a:cubicBezTo>
                <a:cubicBezTo>
                  <a:pt x="297" y="202"/>
                  <a:pt x="297" y="202"/>
                  <a:pt x="297" y="202"/>
                </a:cubicBezTo>
                <a:cubicBezTo>
                  <a:pt x="299" y="200"/>
                  <a:pt x="299" y="200"/>
                  <a:pt x="299" y="200"/>
                </a:cubicBezTo>
                <a:cubicBezTo>
                  <a:pt x="300" y="200"/>
                  <a:pt x="300" y="200"/>
                  <a:pt x="300" y="200"/>
                </a:cubicBezTo>
                <a:cubicBezTo>
                  <a:pt x="301" y="200"/>
                  <a:pt x="301" y="200"/>
                  <a:pt x="301" y="200"/>
                </a:cubicBezTo>
                <a:cubicBezTo>
                  <a:pt x="301" y="199"/>
                  <a:pt x="301" y="199"/>
                  <a:pt x="301" y="199"/>
                </a:cubicBezTo>
                <a:cubicBezTo>
                  <a:pt x="302" y="198"/>
                  <a:pt x="302" y="198"/>
                  <a:pt x="302" y="198"/>
                </a:cubicBezTo>
                <a:cubicBezTo>
                  <a:pt x="302" y="198"/>
                  <a:pt x="302" y="198"/>
                  <a:pt x="302" y="198"/>
                </a:cubicBezTo>
                <a:cubicBezTo>
                  <a:pt x="302" y="198"/>
                  <a:pt x="302" y="198"/>
                  <a:pt x="302" y="198"/>
                </a:cubicBezTo>
                <a:cubicBezTo>
                  <a:pt x="301" y="198"/>
                  <a:pt x="301" y="198"/>
                  <a:pt x="301" y="198"/>
                </a:cubicBezTo>
                <a:cubicBezTo>
                  <a:pt x="300" y="198"/>
                  <a:pt x="300" y="198"/>
                  <a:pt x="300" y="198"/>
                </a:cubicBezTo>
                <a:cubicBezTo>
                  <a:pt x="300" y="197"/>
                  <a:pt x="300" y="197"/>
                  <a:pt x="300" y="197"/>
                </a:cubicBezTo>
                <a:cubicBezTo>
                  <a:pt x="300" y="196"/>
                  <a:pt x="300" y="196"/>
                  <a:pt x="300" y="196"/>
                </a:cubicBezTo>
                <a:cubicBezTo>
                  <a:pt x="300" y="194"/>
                  <a:pt x="300" y="194"/>
                  <a:pt x="300" y="194"/>
                </a:cubicBezTo>
                <a:cubicBezTo>
                  <a:pt x="301" y="193"/>
                  <a:pt x="301" y="193"/>
                  <a:pt x="301" y="193"/>
                </a:cubicBezTo>
                <a:cubicBezTo>
                  <a:pt x="302" y="191"/>
                  <a:pt x="302" y="191"/>
                  <a:pt x="302" y="191"/>
                </a:cubicBezTo>
                <a:cubicBezTo>
                  <a:pt x="303" y="190"/>
                  <a:pt x="303" y="190"/>
                  <a:pt x="303" y="190"/>
                </a:cubicBezTo>
                <a:cubicBezTo>
                  <a:pt x="304" y="189"/>
                  <a:pt x="304" y="189"/>
                  <a:pt x="304" y="189"/>
                </a:cubicBezTo>
                <a:cubicBezTo>
                  <a:pt x="305" y="189"/>
                  <a:pt x="305" y="189"/>
                  <a:pt x="305" y="189"/>
                </a:cubicBezTo>
                <a:cubicBezTo>
                  <a:pt x="306" y="187"/>
                  <a:pt x="306" y="187"/>
                  <a:pt x="306" y="187"/>
                </a:cubicBezTo>
                <a:cubicBezTo>
                  <a:pt x="307" y="186"/>
                  <a:pt x="307" y="186"/>
                  <a:pt x="307" y="186"/>
                </a:cubicBezTo>
                <a:cubicBezTo>
                  <a:pt x="308" y="187"/>
                  <a:pt x="308" y="187"/>
                  <a:pt x="308" y="187"/>
                </a:cubicBezTo>
                <a:cubicBezTo>
                  <a:pt x="308" y="189"/>
                  <a:pt x="308" y="189"/>
                  <a:pt x="308" y="189"/>
                </a:cubicBezTo>
                <a:cubicBezTo>
                  <a:pt x="308" y="189"/>
                  <a:pt x="308" y="189"/>
                  <a:pt x="308" y="189"/>
                </a:cubicBezTo>
                <a:cubicBezTo>
                  <a:pt x="308" y="190"/>
                  <a:pt x="308" y="190"/>
                  <a:pt x="308" y="190"/>
                </a:cubicBezTo>
                <a:cubicBezTo>
                  <a:pt x="309" y="189"/>
                  <a:pt x="309" y="189"/>
                  <a:pt x="309" y="189"/>
                </a:cubicBezTo>
                <a:cubicBezTo>
                  <a:pt x="309" y="189"/>
                  <a:pt x="309" y="189"/>
                  <a:pt x="309" y="189"/>
                </a:cubicBezTo>
                <a:cubicBezTo>
                  <a:pt x="311" y="186"/>
                  <a:pt x="311" y="186"/>
                  <a:pt x="311" y="186"/>
                </a:cubicBezTo>
                <a:cubicBezTo>
                  <a:pt x="311" y="186"/>
                  <a:pt x="311" y="186"/>
                  <a:pt x="311" y="186"/>
                </a:cubicBezTo>
                <a:cubicBezTo>
                  <a:pt x="310" y="186"/>
                  <a:pt x="310" y="186"/>
                  <a:pt x="310" y="186"/>
                </a:cubicBezTo>
                <a:cubicBezTo>
                  <a:pt x="309" y="185"/>
                  <a:pt x="309" y="185"/>
                  <a:pt x="309" y="185"/>
                </a:cubicBezTo>
                <a:cubicBezTo>
                  <a:pt x="308" y="184"/>
                  <a:pt x="308" y="184"/>
                  <a:pt x="308" y="184"/>
                </a:cubicBezTo>
                <a:cubicBezTo>
                  <a:pt x="309" y="183"/>
                  <a:pt x="309" y="183"/>
                  <a:pt x="309" y="183"/>
                </a:cubicBezTo>
                <a:cubicBezTo>
                  <a:pt x="311" y="183"/>
                  <a:pt x="311" y="183"/>
                  <a:pt x="311" y="183"/>
                </a:cubicBezTo>
                <a:cubicBezTo>
                  <a:pt x="311" y="183"/>
                  <a:pt x="311" y="183"/>
                  <a:pt x="311" y="183"/>
                </a:cubicBezTo>
                <a:cubicBezTo>
                  <a:pt x="313" y="181"/>
                  <a:pt x="313" y="181"/>
                  <a:pt x="313" y="181"/>
                </a:cubicBezTo>
                <a:cubicBezTo>
                  <a:pt x="313" y="180"/>
                  <a:pt x="313" y="180"/>
                  <a:pt x="313" y="180"/>
                </a:cubicBezTo>
                <a:cubicBezTo>
                  <a:pt x="314" y="180"/>
                  <a:pt x="314" y="180"/>
                  <a:pt x="314" y="180"/>
                </a:cubicBezTo>
                <a:cubicBezTo>
                  <a:pt x="315" y="180"/>
                  <a:pt x="315" y="180"/>
                  <a:pt x="315" y="180"/>
                </a:cubicBezTo>
                <a:cubicBezTo>
                  <a:pt x="317" y="181"/>
                  <a:pt x="317" y="181"/>
                  <a:pt x="317" y="181"/>
                </a:cubicBezTo>
                <a:cubicBezTo>
                  <a:pt x="317" y="182"/>
                  <a:pt x="317" y="182"/>
                  <a:pt x="317" y="182"/>
                </a:cubicBezTo>
                <a:cubicBezTo>
                  <a:pt x="317" y="183"/>
                  <a:pt x="317" y="183"/>
                  <a:pt x="317" y="183"/>
                </a:cubicBezTo>
                <a:cubicBezTo>
                  <a:pt x="318" y="183"/>
                  <a:pt x="318" y="183"/>
                  <a:pt x="318" y="183"/>
                </a:cubicBezTo>
                <a:cubicBezTo>
                  <a:pt x="319" y="184"/>
                  <a:pt x="319" y="184"/>
                  <a:pt x="319" y="184"/>
                </a:cubicBezTo>
                <a:cubicBezTo>
                  <a:pt x="320" y="184"/>
                  <a:pt x="320" y="184"/>
                  <a:pt x="320" y="184"/>
                </a:cubicBezTo>
                <a:cubicBezTo>
                  <a:pt x="319" y="186"/>
                  <a:pt x="319" y="186"/>
                  <a:pt x="319" y="186"/>
                </a:cubicBezTo>
                <a:cubicBezTo>
                  <a:pt x="319" y="186"/>
                  <a:pt x="319" y="186"/>
                  <a:pt x="319" y="186"/>
                </a:cubicBezTo>
                <a:cubicBezTo>
                  <a:pt x="319" y="187"/>
                  <a:pt x="319" y="187"/>
                  <a:pt x="319" y="187"/>
                </a:cubicBezTo>
                <a:cubicBezTo>
                  <a:pt x="319" y="188"/>
                  <a:pt x="319" y="188"/>
                  <a:pt x="319" y="188"/>
                </a:cubicBezTo>
                <a:cubicBezTo>
                  <a:pt x="320" y="189"/>
                  <a:pt x="320" y="189"/>
                  <a:pt x="320" y="189"/>
                </a:cubicBezTo>
                <a:cubicBezTo>
                  <a:pt x="320" y="190"/>
                  <a:pt x="320" y="190"/>
                  <a:pt x="320" y="190"/>
                </a:cubicBezTo>
                <a:cubicBezTo>
                  <a:pt x="320" y="192"/>
                  <a:pt x="320" y="192"/>
                  <a:pt x="320" y="192"/>
                </a:cubicBezTo>
                <a:cubicBezTo>
                  <a:pt x="321" y="193"/>
                  <a:pt x="321" y="193"/>
                  <a:pt x="321" y="193"/>
                </a:cubicBezTo>
                <a:cubicBezTo>
                  <a:pt x="321" y="193"/>
                  <a:pt x="321" y="193"/>
                  <a:pt x="321" y="193"/>
                </a:cubicBezTo>
                <a:cubicBezTo>
                  <a:pt x="320" y="195"/>
                  <a:pt x="320" y="195"/>
                  <a:pt x="320" y="195"/>
                </a:cubicBezTo>
                <a:cubicBezTo>
                  <a:pt x="320" y="195"/>
                  <a:pt x="320" y="195"/>
                  <a:pt x="320" y="195"/>
                </a:cubicBezTo>
                <a:cubicBezTo>
                  <a:pt x="319" y="197"/>
                  <a:pt x="319" y="197"/>
                  <a:pt x="319" y="197"/>
                </a:cubicBezTo>
                <a:cubicBezTo>
                  <a:pt x="319" y="199"/>
                  <a:pt x="319" y="199"/>
                  <a:pt x="319" y="199"/>
                </a:cubicBezTo>
                <a:cubicBezTo>
                  <a:pt x="318" y="199"/>
                  <a:pt x="318" y="199"/>
                  <a:pt x="318" y="199"/>
                </a:cubicBezTo>
                <a:cubicBezTo>
                  <a:pt x="319" y="200"/>
                  <a:pt x="319" y="200"/>
                  <a:pt x="319" y="200"/>
                </a:cubicBezTo>
                <a:cubicBezTo>
                  <a:pt x="318" y="201"/>
                  <a:pt x="318" y="201"/>
                  <a:pt x="318" y="201"/>
                </a:cubicBezTo>
                <a:cubicBezTo>
                  <a:pt x="320" y="203"/>
                  <a:pt x="320" y="203"/>
                  <a:pt x="320" y="203"/>
                </a:cubicBezTo>
                <a:cubicBezTo>
                  <a:pt x="320" y="204"/>
                  <a:pt x="320" y="204"/>
                  <a:pt x="320" y="204"/>
                </a:cubicBezTo>
                <a:cubicBezTo>
                  <a:pt x="319" y="204"/>
                  <a:pt x="319" y="204"/>
                  <a:pt x="319" y="204"/>
                </a:cubicBezTo>
                <a:cubicBezTo>
                  <a:pt x="320" y="205"/>
                  <a:pt x="320" y="205"/>
                  <a:pt x="320" y="205"/>
                </a:cubicBezTo>
                <a:cubicBezTo>
                  <a:pt x="319" y="206"/>
                  <a:pt x="319" y="206"/>
                  <a:pt x="319" y="206"/>
                </a:cubicBezTo>
                <a:cubicBezTo>
                  <a:pt x="319" y="207"/>
                  <a:pt x="319" y="207"/>
                  <a:pt x="319" y="207"/>
                </a:cubicBezTo>
                <a:cubicBezTo>
                  <a:pt x="320" y="208"/>
                  <a:pt x="320" y="208"/>
                  <a:pt x="320" y="208"/>
                </a:cubicBezTo>
                <a:cubicBezTo>
                  <a:pt x="321" y="209"/>
                  <a:pt x="321" y="209"/>
                  <a:pt x="321" y="209"/>
                </a:cubicBezTo>
                <a:cubicBezTo>
                  <a:pt x="321" y="210"/>
                  <a:pt x="321" y="210"/>
                  <a:pt x="321" y="210"/>
                </a:cubicBezTo>
                <a:cubicBezTo>
                  <a:pt x="320" y="211"/>
                  <a:pt x="320" y="211"/>
                  <a:pt x="320" y="211"/>
                </a:cubicBezTo>
                <a:cubicBezTo>
                  <a:pt x="319" y="210"/>
                  <a:pt x="319" y="210"/>
                  <a:pt x="319" y="210"/>
                </a:cubicBezTo>
                <a:cubicBezTo>
                  <a:pt x="318" y="210"/>
                  <a:pt x="318" y="210"/>
                  <a:pt x="318" y="210"/>
                </a:cubicBezTo>
                <a:cubicBezTo>
                  <a:pt x="317" y="209"/>
                  <a:pt x="317" y="209"/>
                  <a:pt x="317" y="209"/>
                </a:cubicBezTo>
                <a:cubicBezTo>
                  <a:pt x="318" y="208"/>
                  <a:pt x="318" y="208"/>
                  <a:pt x="318" y="208"/>
                </a:cubicBezTo>
                <a:cubicBezTo>
                  <a:pt x="316" y="208"/>
                  <a:pt x="316" y="208"/>
                  <a:pt x="316" y="208"/>
                </a:cubicBezTo>
                <a:cubicBezTo>
                  <a:pt x="316" y="210"/>
                  <a:pt x="316" y="210"/>
                  <a:pt x="316" y="210"/>
                </a:cubicBezTo>
                <a:cubicBezTo>
                  <a:pt x="315" y="210"/>
                  <a:pt x="315" y="210"/>
                  <a:pt x="315" y="210"/>
                </a:cubicBezTo>
                <a:cubicBezTo>
                  <a:pt x="315" y="211"/>
                  <a:pt x="315" y="211"/>
                  <a:pt x="315" y="211"/>
                </a:cubicBezTo>
                <a:cubicBezTo>
                  <a:pt x="316" y="210"/>
                  <a:pt x="316" y="210"/>
                  <a:pt x="316" y="210"/>
                </a:cubicBezTo>
                <a:cubicBezTo>
                  <a:pt x="317" y="211"/>
                  <a:pt x="317" y="211"/>
                  <a:pt x="317" y="211"/>
                </a:cubicBezTo>
                <a:cubicBezTo>
                  <a:pt x="317" y="212"/>
                  <a:pt x="317" y="212"/>
                  <a:pt x="317" y="212"/>
                </a:cubicBezTo>
                <a:cubicBezTo>
                  <a:pt x="314" y="214"/>
                  <a:pt x="314" y="214"/>
                  <a:pt x="314" y="214"/>
                </a:cubicBezTo>
                <a:cubicBezTo>
                  <a:pt x="313" y="214"/>
                  <a:pt x="313" y="214"/>
                  <a:pt x="313" y="214"/>
                </a:cubicBezTo>
                <a:cubicBezTo>
                  <a:pt x="312" y="215"/>
                  <a:pt x="312" y="215"/>
                  <a:pt x="312" y="215"/>
                </a:cubicBezTo>
                <a:cubicBezTo>
                  <a:pt x="312" y="215"/>
                  <a:pt x="312" y="215"/>
                  <a:pt x="312" y="215"/>
                </a:cubicBezTo>
                <a:cubicBezTo>
                  <a:pt x="311" y="217"/>
                  <a:pt x="311" y="217"/>
                  <a:pt x="311" y="217"/>
                </a:cubicBezTo>
                <a:cubicBezTo>
                  <a:pt x="312" y="217"/>
                  <a:pt x="312" y="217"/>
                  <a:pt x="312" y="217"/>
                </a:cubicBezTo>
                <a:cubicBezTo>
                  <a:pt x="313" y="217"/>
                  <a:pt x="313" y="217"/>
                  <a:pt x="313" y="217"/>
                </a:cubicBezTo>
                <a:cubicBezTo>
                  <a:pt x="314" y="217"/>
                  <a:pt x="314" y="217"/>
                  <a:pt x="314" y="217"/>
                </a:cubicBezTo>
                <a:cubicBezTo>
                  <a:pt x="314" y="218"/>
                  <a:pt x="314" y="218"/>
                  <a:pt x="314" y="218"/>
                </a:cubicBezTo>
                <a:cubicBezTo>
                  <a:pt x="315" y="219"/>
                  <a:pt x="315" y="219"/>
                  <a:pt x="315" y="219"/>
                </a:cubicBezTo>
                <a:cubicBezTo>
                  <a:pt x="317" y="219"/>
                  <a:pt x="317" y="219"/>
                  <a:pt x="317" y="219"/>
                </a:cubicBezTo>
                <a:cubicBezTo>
                  <a:pt x="317" y="218"/>
                  <a:pt x="317" y="218"/>
                  <a:pt x="317" y="218"/>
                </a:cubicBezTo>
                <a:cubicBezTo>
                  <a:pt x="318" y="218"/>
                  <a:pt x="318" y="218"/>
                  <a:pt x="318" y="218"/>
                </a:cubicBezTo>
                <a:cubicBezTo>
                  <a:pt x="318" y="218"/>
                  <a:pt x="318" y="218"/>
                  <a:pt x="318" y="218"/>
                </a:cubicBezTo>
                <a:cubicBezTo>
                  <a:pt x="318" y="219"/>
                  <a:pt x="318" y="219"/>
                  <a:pt x="318" y="219"/>
                </a:cubicBezTo>
                <a:cubicBezTo>
                  <a:pt x="318" y="219"/>
                  <a:pt x="318" y="219"/>
                  <a:pt x="318" y="219"/>
                </a:cubicBezTo>
                <a:cubicBezTo>
                  <a:pt x="319" y="220"/>
                  <a:pt x="319" y="220"/>
                  <a:pt x="319" y="220"/>
                </a:cubicBezTo>
                <a:cubicBezTo>
                  <a:pt x="320" y="220"/>
                  <a:pt x="320" y="220"/>
                  <a:pt x="320" y="220"/>
                </a:cubicBezTo>
                <a:cubicBezTo>
                  <a:pt x="321" y="220"/>
                  <a:pt x="321" y="220"/>
                  <a:pt x="321" y="220"/>
                </a:cubicBezTo>
                <a:cubicBezTo>
                  <a:pt x="322" y="220"/>
                  <a:pt x="322" y="220"/>
                  <a:pt x="322" y="220"/>
                </a:cubicBezTo>
                <a:cubicBezTo>
                  <a:pt x="321" y="221"/>
                  <a:pt x="321" y="221"/>
                  <a:pt x="321" y="221"/>
                </a:cubicBezTo>
                <a:cubicBezTo>
                  <a:pt x="320" y="221"/>
                  <a:pt x="320" y="221"/>
                  <a:pt x="320" y="221"/>
                </a:cubicBezTo>
                <a:cubicBezTo>
                  <a:pt x="318" y="222"/>
                  <a:pt x="318" y="222"/>
                  <a:pt x="318" y="222"/>
                </a:cubicBezTo>
                <a:cubicBezTo>
                  <a:pt x="318" y="223"/>
                  <a:pt x="318" y="223"/>
                  <a:pt x="318" y="223"/>
                </a:cubicBezTo>
                <a:cubicBezTo>
                  <a:pt x="318" y="221"/>
                  <a:pt x="318" y="221"/>
                  <a:pt x="318" y="221"/>
                </a:cubicBezTo>
                <a:cubicBezTo>
                  <a:pt x="317" y="221"/>
                  <a:pt x="317" y="221"/>
                  <a:pt x="317" y="221"/>
                </a:cubicBezTo>
                <a:cubicBezTo>
                  <a:pt x="317" y="221"/>
                  <a:pt x="317" y="221"/>
                  <a:pt x="317" y="221"/>
                </a:cubicBezTo>
                <a:cubicBezTo>
                  <a:pt x="317" y="222"/>
                  <a:pt x="317" y="222"/>
                  <a:pt x="317" y="222"/>
                </a:cubicBezTo>
                <a:cubicBezTo>
                  <a:pt x="317" y="223"/>
                  <a:pt x="317" y="223"/>
                  <a:pt x="317" y="223"/>
                </a:cubicBezTo>
                <a:cubicBezTo>
                  <a:pt x="317" y="224"/>
                  <a:pt x="317" y="224"/>
                  <a:pt x="317" y="224"/>
                </a:cubicBezTo>
                <a:cubicBezTo>
                  <a:pt x="318" y="226"/>
                  <a:pt x="318" y="226"/>
                  <a:pt x="318" y="226"/>
                </a:cubicBezTo>
                <a:cubicBezTo>
                  <a:pt x="318" y="227"/>
                  <a:pt x="318" y="227"/>
                  <a:pt x="318" y="227"/>
                </a:cubicBezTo>
                <a:cubicBezTo>
                  <a:pt x="319" y="227"/>
                  <a:pt x="319" y="227"/>
                  <a:pt x="319" y="227"/>
                </a:cubicBezTo>
                <a:cubicBezTo>
                  <a:pt x="318" y="229"/>
                  <a:pt x="318" y="229"/>
                  <a:pt x="318" y="229"/>
                </a:cubicBezTo>
                <a:cubicBezTo>
                  <a:pt x="318" y="229"/>
                  <a:pt x="318" y="229"/>
                  <a:pt x="318" y="229"/>
                </a:cubicBezTo>
                <a:cubicBezTo>
                  <a:pt x="317" y="230"/>
                  <a:pt x="317" y="230"/>
                  <a:pt x="317" y="230"/>
                </a:cubicBezTo>
                <a:cubicBezTo>
                  <a:pt x="317" y="232"/>
                  <a:pt x="317" y="232"/>
                  <a:pt x="317" y="232"/>
                </a:cubicBezTo>
                <a:cubicBezTo>
                  <a:pt x="316" y="233"/>
                  <a:pt x="316" y="233"/>
                  <a:pt x="316" y="233"/>
                </a:cubicBezTo>
                <a:cubicBezTo>
                  <a:pt x="316" y="234"/>
                  <a:pt x="316" y="234"/>
                  <a:pt x="316" y="234"/>
                </a:cubicBezTo>
                <a:cubicBezTo>
                  <a:pt x="316" y="235"/>
                  <a:pt x="316" y="235"/>
                  <a:pt x="316" y="235"/>
                </a:cubicBezTo>
                <a:cubicBezTo>
                  <a:pt x="316" y="236"/>
                  <a:pt x="316" y="236"/>
                  <a:pt x="316" y="236"/>
                </a:cubicBezTo>
                <a:cubicBezTo>
                  <a:pt x="316" y="236"/>
                  <a:pt x="316" y="236"/>
                  <a:pt x="316" y="236"/>
                </a:cubicBezTo>
                <a:cubicBezTo>
                  <a:pt x="317" y="236"/>
                  <a:pt x="317" y="236"/>
                  <a:pt x="317" y="236"/>
                </a:cubicBezTo>
                <a:cubicBezTo>
                  <a:pt x="318" y="235"/>
                  <a:pt x="318" y="235"/>
                  <a:pt x="318" y="235"/>
                </a:cubicBezTo>
                <a:cubicBezTo>
                  <a:pt x="318" y="234"/>
                  <a:pt x="318" y="234"/>
                  <a:pt x="318" y="234"/>
                </a:cubicBezTo>
                <a:cubicBezTo>
                  <a:pt x="320" y="234"/>
                  <a:pt x="320" y="234"/>
                  <a:pt x="320" y="234"/>
                </a:cubicBezTo>
                <a:cubicBezTo>
                  <a:pt x="320" y="233"/>
                  <a:pt x="320" y="233"/>
                  <a:pt x="320" y="233"/>
                </a:cubicBezTo>
                <a:cubicBezTo>
                  <a:pt x="320" y="233"/>
                  <a:pt x="320" y="233"/>
                  <a:pt x="320" y="233"/>
                </a:cubicBezTo>
                <a:cubicBezTo>
                  <a:pt x="320" y="232"/>
                  <a:pt x="320" y="232"/>
                  <a:pt x="320" y="232"/>
                </a:cubicBezTo>
                <a:cubicBezTo>
                  <a:pt x="321" y="232"/>
                  <a:pt x="321" y="232"/>
                  <a:pt x="321" y="232"/>
                </a:cubicBezTo>
                <a:cubicBezTo>
                  <a:pt x="322" y="232"/>
                  <a:pt x="322" y="232"/>
                  <a:pt x="322" y="232"/>
                </a:cubicBezTo>
                <a:cubicBezTo>
                  <a:pt x="322" y="230"/>
                  <a:pt x="322" y="230"/>
                  <a:pt x="322" y="230"/>
                </a:cubicBezTo>
                <a:cubicBezTo>
                  <a:pt x="322" y="228"/>
                  <a:pt x="322" y="228"/>
                  <a:pt x="322" y="228"/>
                </a:cubicBezTo>
                <a:cubicBezTo>
                  <a:pt x="324" y="227"/>
                  <a:pt x="324" y="227"/>
                  <a:pt x="324" y="227"/>
                </a:cubicBezTo>
                <a:cubicBezTo>
                  <a:pt x="325" y="225"/>
                  <a:pt x="325" y="225"/>
                  <a:pt x="325" y="225"/>
                </a:cubicBezTo>
                <a:cubicBezTo>
                  <a:pt x="325" y="224"/>
                  <a:pt x="325" y="224"/>
                  <a:pt x="325" y="224"/>
                </a:cubicBezTo>
                <a:cubicBezTo>
                  <a:pt x="326" y="223"/>
                  <a:pt x="326" y="223"/>
                  <a:pt x="326" y="223"/>
                </a:cubicBezTo>
                <a:cubicBezTo>
                  <a:pt x="327" y="224"/>
                  <a:pt x="327" y="224"/>
                  <a:pt x="327" y="224"/>
                </a:cubicBezTo>
                <a:cubicBezTo>
                  <a:pt x="327" y="225"/>
                  <a:pt x="327" y="225"/>
                  <a:pt x="327" y="225"/>
                </a:cubicBezTo>
                <a:cubicBezTo>
                  <a:pt x="328" y="227"/>
                  <a:pt x="328" y="227"/>
                  <a:pt x="328" y="227"/>
                </a:cubicBezTo>
                <a:cubicBezTo>
                  <a:pt x="328" y="229"/>
                  <a:pt x="328" y="229"/>
                  <a:pt x="328" y="229"/>
                </a:cubicBezTo>
                <a:cubicBezTo>
                  <a:pt x="329" y="230"/>
                  <a:pt x="329" y="230"/>
                  <a:pt x="329" y="230"/>
                </a:cubicBezTo>
                <a:cubicBezTo>
                  <a:pt x="329" y="232"/>
                  <a:pt x="329" y="232"/>
                  <a:pt x="329" y="232"/>
                </a:cubicBezTo>
                <a:cubicBezTo>
                  <a:pt x="329" y="233"/>
                  <a:pt x="329" y="233"/>
                  <a:pt x="329" y="233"/>
                </a:cubicBezTo>
                <a:cubicBezTo>
                  <a:pt x="329" y="235"/>
                  <a:pt x="329" y="235"/>
                  <a:pt x="329" y="235"/>
                </a:cubicBezTo>
                <a:cubicBezTo>
                  <a:pt x="328" y="237"/>
                  <a:pt x="328" y="237"/>
                  <a:pt x="328" y="237"/>
                </a:cubicBezTo>
                <a:cubicBezTo>
                  <a:pt x="327" y="237"/>
                  <a:pt x="327" y="237"/>
                  <a:pt x="327" y="237"/>
                </a:cubicBezTo>
                <a:cubicBezTo>
                  <a:pt x="327" y="236"/>
                  <a:pt x="327" y="236"/>
                  <a:pt x="327" y="236"/>
                </a:cubicBezTo>
                <a:cubicBezTo>
                  <a:pt x="326" y="237"/>
                  <a:pt x="326" y="237"/>
                  <a:pt x="326" y="237"/>
                </a:cubicBezTo>
                <a:cubicBezTo>
                  <a:pt x="325" y="238"/>
                  <a:pt x="325" y="238"/>
                  <a:pt x="325" y="238"/>
                </a:cubicBezTo>
                <a:cubicBezTo>
                  <a:pt x="326" y="239"/>
                  <a:pt x="326" y="239"/>
                  <a:pt x="326" y="239"/>
                </a:cubicBezTo>
                <a:cubicBezTo>
                  <a:pt x="325" y="241"/>
                  <a:pt x="325" y="241"/>
                  <a:pt x="325" y="241"/>
                </a:cubicBezTo>
                <a:cubicBezTo>
                  <a:pt x="324" y="242"/>
                  <a:pt x="324" y="242"/>
                  <a:pt x="324" y="242"/>
                </a:cubicBezTo>
                <a:cubicBezTo>
                  <a:pt x="325" y="243"/>
                  <a:pt x="325" y="243"/>
                  <a:pt x="325" y="243"/>
                </a:cubicBezTo>
                <a:cubicBezTo>
                  <a:pt x="325" y="245"/>
                  <a:pt x="325" y="245"/>
                  <a:pt x="325" y="245"/>
                </a:cubicBezTo>
                <a:cubicBezTo>
                  <a:pt x="326" y="249"/>
                  <a:pt x="326" y="249"/>
                  <a:pt x="326" y="249"/>
                </a:cubicBezTo>
                <a:cubicBezTo>
                  <a:pt x="327" y="251"/>
                  <a:pt x="327" y="251"/>
                  <a:pt x="327" y="251"/>
                </a:cubicBezTo>
                <a:cubicBezTo>
                  <a:pt x="326" y="252"/>
                  <a:pt x="326" y="252"/>
                  <a:pt x="326" y="252"/>
                </a:cubicBezTo>
                <a:cubicBezTo>
                  <a:pt x="327" y="253"/>
                  <a:pt x="327" y="253"/>
                  <a:pt x="327" y="253"/>
                </a:cubicBezTo>
                <a:cubicBezTo>
                  <a:pt x="328" y="253"/>
                  <a:pt x="328" y="253"/>
                  <a:pt x="328" y="253"/>
                </a:cubicBezTo>
                <a:cubicBezTo>
                  <a:pt x="328" y="252"/>
                  <a:pt x="328" y="252"/>
                  <a:pt x="328" y="252"/>
                </a:cubicBezTo>
                <a:cubicBezTo>
                  <a:pt x="327" y="251"/>
                  <a:pt x="327" y="251"/>
                  <a:pt x="327" y="251"/>
                </a:cubicBezTo>
                <a:cubicBezTo>
                  <a:pt x="328" y="250"/>
                  <a:pt x="328" y="250"/>
                  <a:pt x="328" y="250"/>
                </a:cubicBezTo>
                <a:cubicBezTo>
                  <a:pt x="329" y="250"/>
                  <a:pt x="329" y="250"/>
                  <a:pt x="329" y="250"/>
                </a:cubicBezTo>
                <a:cubicBezTo>
                  <a:pt x="330" y="252"/>
                  <a:pt x="330" y="252"/>
                  <a:pt x="330" y="252"/>
                </a:cubicBezTo>
                <a:cubicBezTo>
                  <a:pt x="330" y="252"/>
                  <a:pt x="330" y="252"/>
                  <a:pt x="330" y="252"/>
                </a:cubicBezTo>
                <a:cubicBezTo>
                  <a:pt x="331" y="250"/>
                  <a:pt x="331" y="250"/>
                  <a:pt x="331" y="250"/>
                </a:cubicBezTo>
                <a:cubicBezTo>
                  <a:pt x="332" y="249"/>
                  <a:pt x="332" y="249"/>
                  <a:pt x="332" y="249"/>
                </a:cubicBezTo>
                <a:cubicBezTo>
                  <a:pt x="332" y="247"/>
                  <a:pt x="332" y="247"/>
                  <a:pt x="332" y="247"/>
                </a:cubicBezTo>
                <a:cubicBezTo>
                  <a:pt x="333" y="247"/>
                  <a:pt x="333" y="247"/>
                  <a:pt x="333" y="247"/>
                </a:cubicBezTo>
                <a:cubicBezTo>
                  <a:pt x="334" y="245"/>
                  <a:pt x="334" y="245"/>
                  <a:pt x="334" y="245"/>
                </a:cubicBezTo>
                <a:cubicBezTo>
                  <a:pt x="334" y="245"/>
                  <a:pt x="334" y="245"/>
                  <a:pt x="334" y="245"/>
                </a:cubicBezTo>
                <a:cubicBezTo>
                  <a:pt x="335" y="244"/>
                  <a:pt x="335" y="244"/>
                  <a:pt x="335" y="244"/>
                </a:cubicBezTo>
                <a:cubicBezTo>
                  <a:pt x="337" y="242"/>
                  <a:pt x="337" y="242"/>
                  <a:pt x="337" y="242"/>
                </a:cubicBezTo>
                <a:cubicBezTo>
                  <a:pt x="339" y="240"/>
                  <a:pt x="339" y="240"/>
                  <a:pt x="339" y="240"/>
                </a:cubicBezTo>
                <a:cubicBezTo>
                  <a:pt x="340" y="237"/>
                  <a:pt x="340" y="237"/>
                  <a:pt x="340" y="237"/>
                </a:cubicBezTo>
                <a:cubicBezTo>
                  <a:pt x="341" y="235"/>
                  <a:pt x="341" y="235"/>
                  <a:pt x="341" y="235"/>
                </a:cubicBezTo>
                <a:cubicBezTo>
                  <a:pt x="342" y="234"/>
                  <a:pt x="342" y="234"/>
                  <a:pt x="342" y="234"/>
                </a:cubicBezTo>
                <a:cubicBezTo>
                  <a:pt x="343" y="236"/>
                  <a:pt x="343" y="236"/>
                  <a:pt x="343" y="236"/>
                </a:cubicBezTo>
                <a:cubicBezTo>
                  <a:pt x="344" y="235"/>
                  <a:pt x="344" y="235"/>
                  <a:pt x="344" y="235"/>
                </a:cubicBezTo>
                <a:cubicBezTo>
                  <a:pt x="344" y="235"/>
                  <a:pt x="344" y="235"/>
                  <a:pt x="344" y="235"/>
                </a:cubicBezTo>
                <a:cubicBezTo>
                  <a:pt x="346" y="235"/>
                  <a:pt x="346" y="235"/>
                  <a:pt x="346" y="235"/>
                </a:cubicBezTo>
                <a:cubicBezTo>
                  <a:pt x="346" y="234"/>
                  <a:pt x="346" y="234"/>
                  <a:pt x="346" y="234"/>
                </a:cubicBezTo>
                <a:cubicBezTo>
                  <a:pt x="345" y="234"/>
                  <a:pt x="345" y="234"/>
                  <a:pt x="345" y="234"/>
                </a:cubicBezTo>
                <a:cubicBezTo>
                  <a:pt x="344" y="233"/>
                  <a:pt x="344" y="233"/>
                  <a:pt x="344" y="233"/>
                </a:cubicBezTo>
                <a:cubicBezTo>
                  <a:pt x="344" y="233"/>
                  <a:pt x="344" y="233"/>
                  <a:pt x="344" y="233"/>
                </a:cubicBezTo>
                <a:cubicBezTo>
                  <a:pt x="346" y="232"/>
                  <a:pt x="346" y="232"/>
                  <a:pt x="346" y="232"/>
                </a:cubicBezTo>
                <a:cubicBezTo>
                  <a:pt x="346" y="233"/>
                  <a:pt x="346" y="233"/>
                  <a:pt x="346" y="233"/>
                </a:cubicBezTo>
                <a:cubicBezTo>
                  <a:pt x="347" y="233"/>
                  <a:pt x="347" y="233"/>
                  <a:pt x="347" y="233"/>
                </a:cubicBezTo>
                <a:cubicBezTo>
                  <a:pt x="348" y="233"/>
                  <a:pt x="348" y="233"/>
                  <a:pt x="348" y="233"/>
                </a:cubicBezTo>
                <a:cubicBezTo>
                  <a:pt x="348" y="232"/>
                  <a:pt x="348" y="232"/>
                  <a:pt x="348" y="232"/>
                </a:cubicBezTo>
                <a:cubicBezTo>
                  <a:pt x="348" y="231"/>
                  <a:pt x="348" y="231"/>
                  <a:pt x="348" y="231"/>
                </a:cubicBezTo>
                <a:cubicBezTo>
                  <a:pt x="347" y="231"/>
                  <a:pt x="347" y="231"/>
                  <a:pt x="347" y="231"/>
                </a:cubicBezTo>
                <a:cubicBezTo>
                  <a:pt x="347" y="230"/>
                  <a:pt x="347" y="230"/>
                  <a:pt x="347" y="230"/>
                </a:cubicBezTo>
                <a:cubicBezTo>
                  <a:pt x="346" y="230"/>
                  <a:pt x="346" y="230"/>
                  <a:pt x="346" y="230"/>
                </a:cubicBezTo>
                <a:cubicBezTo>
                  <a:pt x="346" y="228"/>
                  <a:pt x="346" y="228"/>
                  <a:pt x="346" y="228"/>
                </a:cubicBezTo>
                <a:cubicBezTo>
                  <a:pt x="347" y="227"/>
                  <a:pt x="347" y="227"/>
                  <a:pt x="347" y="227"/>
                </a:cubicBezTo>
                <a:cubicBezTo>
                  <a:pt x="347" y="226"/>
                  <a:pt x="347" y="226"/>
                  <a:pt x="347" y="226"/>
                </a:cubicBezTo>
                <a:cubicBezTo>
                  <a:pt x="348" y="226"/>
                  <a:pt x="348" y="226"/>
                  <a:pt x="348" y="226"/>
                </a:cubicBezTo>
                <a:cubicBezTo>
                  <a:pt x="347" y="225"/>
                  <a:pt x="347" y="225"/>
                  <a:pt x="347" y="225"/>
                </a:cubicBezTo>
                <a:cubicBezTo>
                  <a:pt x="347" y="224"/>
                  <a:pt x="347" y="224"/>
                  <a:pt x="347" y="224"/>
                </a:cubicBezTo>
                <a:cubicBezTo>
                  <a:pt x="348" y="223"/>
                  <a:pt x="348" y="223"/>
                  <a:pt x="348" y="223"/>
                </a:cubicBezTo>
                <a:cubicBezTo>
                  <a:pt x="348" y="223"/>
                  <a:pt x="348" y="223"/>
                  <a:pt x="348" y="223"/>
                </a:cubicBezTo>
                <a:cubicBezTo>
                  <a:pt x="348" y="222"/>
                  <a:pt x="348" y="222"/>
                  <a:pt x="348" y="222"/>
                </a:cubicBezTo>
                <a:cubicBezTo>
                  <a:pt x="349" y="222"/>
                  <a:pt x="349" y="222"/>
                  <a:pt x="349" y="222"/>
                </a:cubicBezTo>
                <a:cubicBezTo>
                  <a:pt x="349" y="221"/>
                  <a:pt x="349" y="221"/>
                  <a:pt x="349" y="221"/>
                </a:cubicBezTo>
                <a:cubicBezTo>
                  <a:pt x="348" y="221"/>
                  <a:pt x="348" y="221"/>
                  <a:pt x="348" y="221"/>
                </a:cubicBezTo>
                <a:cubicBezTo>
                  <a:pt x="348" y="220"/>
                  <a:pt x="348" y="220"/>
                  <a:pt x="348" y="220"/>
                </a:cubicBezTo>
                <a:cubicBezTo>
                  <a:pt x="349" y="220"/>
                  <a:pt x="349" y="220"/>
                  <a:pt x="349" y="220"/>
                </a:cubicBezTo>
                <a:cubicBezTo>
                  <a:pt x="350" y="221"/>
                  <a:pt x="350" y="221"/>
                  <a:pt x="350" y="221"/>
                </a:cubicBezTo>
                <a:cubicBezTo>
                  <a:pt x="351" y="221"/>
                  <a:pt x="351" y="221"/>
                  <a:pt x="351" y="221"/>
                </a:cubicBezTo>
                <a:cubicBezTo>
                  <a:pt x="352" y="221"/>
                  <a:pt x="352" y="221"/>
                  <a:pt x="352" y="221"/>
                </a:cubicBezTo>
                <a:cubicBezTo>
                  <a:pt x="354" y="221"/>
                  <a:pt x="354" y="221"/>
                  <a:pt x="354" y="221"/>
                </a:cubicBezTo>
                <a:cubicBezTo>
                  <a:pt x="355" y="222"/>
                  <a:pt x="355" y="222"/>
                  <a:pt x="355" y="222"/>
                </a:cubicBezTo>
                <a:cubicBezTo>
                  <a:pt x="355" y="223"/>
                  <a:pt x="355" y="223"/>
                  <a:pt x="355" y="223"/>
                </a:cubicBezTo>
                <a:cubicBezTo>
                  <a:pt x="356" y="224"/>
                  <a:pt x="356" y="224"/>
                  <a:pt x="356" y="224"/>
                </a:cubicBezTo>
                <a:cubicBezTo>
                  <a:pt x="358" y="225"/>
                  <a:pt x="358" y="225"/>
                  <a:pt x="358" y="225"/>
                </a:cubicBezTo>
                <a:cubicBezTo>
                  <a:pt x="359" y="224"/>
                  <a:pt x="359" y="224"/>
                  <a:pt x="359" y="224"/>
                </a:cubicBezTo>
                <a:cubicBezTo>
                  <a:pt x="361" y="225"/>
                  <a:pt x="361" y="225"/>
                  <a:pt x="361" y="225"/>
                </a:cubicBezTo>
                <a:cubicBezTo>
                  <a:pt x="362" y="226"/>
                  <a:pt x="362" y="226"/>
                  <a:pt x="362" y="226"/>
                </a:cubicBezTo>
                <a:cubicBezTo>
                  <a:pt x="362" y="226"/>
                  <a:pt x="362" y="226"/>
                  <a:pt x="362" y="226"/>
                </a:cubicBezTo>
                <a:cubicBezTo>
                  <a:pt x="362" y="227"/>
                  <a:pt x="362" y="227"/>
                  <a:pt x="362" y="227"/>
                </a:cubicBezTo>
                <a:cubicBezTo>
                  <a:pt x="362" y="227"/>
                  <a:pt x="362" y="227"/>
                  <a:pt x="362" y="227"/>
                </a:cubicBezTo>
                <a:cubicBezTo>
                  <a:pt x="361" y="228"/>
                  <a:pt x="361" y="228"/>
                  <a:pt x="361" y="228"/>
                </a:cubicBezTo>
                <a:cubicBezTo>
                  <a:pt x="361" y="227"/>
                  <a:pt x="361" y="227"/>
                  <a:pt x="361" y="227"/>
                </a:cubicBezTo>
                <a:cubicBezTo>
                  <a:pt x="360" y="227"/>
                  <a:pt x="360" y="227"/>
                  <a:pt x="360" y="227"/>
                </a:cubicBezTo>
                <a:cubicBezTo>
                  <a:pt x="360" y="228"/>
                  <a:pt x="360" y="228"/>
                  <a:pt x="360" y="228"/>
                </a:cubicBezTo>
                <a:cubicBezTo>
                  <a:pt x="363" y="229"/>
                  <a:pt x="363" y="229"/>
                  <a:pt x="363" y="229"/>
                </a:cubicBezTo>
                <a:cubicBezTo>
                  <a:pt x="363" y="231"/>
                  <a:pt x="363" y="231"/>
                  <a:pt x="363" y="231"/>
                </a:cubicBezTo>
                <a:cubicBezTo>
                  <a:pt x="362" y="231"/>
                  <a:pt x="362" y="231"/>
                  <a:pt x="362" y="231"/>
                </a:cubicBezTo>
                <a:cubicBezTo>
                  <a:pt x="362" y="231"/>
                  <a:pt x="362" y="231"/>
                  <a:pt x="362" y="231"/>
                </a:cubicBezTo>
                <a:cubicBezTo>
                  <a:pt x="363" y="231"/>
                  <a:pt x="363" y="231"/>
                  <a:pt x="363" y="231"/>
                </a:cubicBezTo>
                <a:cubicBezTo>
                  <a:pt x="365" y="231"/>
                  <a:pt x="365" y="231"/>
                  <a:pt x="365" y="231"/>
                </a:cubicBezTo>
                <a:cubicBezTo>
                  <a:pt x="366" y="232"/>
                  <a:pt x="366" y="232"/>
                  <a:pt x="366" y="232"/>
                </a:cubicBezTo>
                <a:cubicBezTo>
                  <a:pt x="366" y="232"/>
                  <a:pt x="366" y="232"/>
                  <a:pt x="366" y="232"/>
                </a:cubicBezTo>
                <a:cubicBezTo>
                  <a:pt x="366" y="233"/>
                  <a:pt x="366" y="233"/>
                  <a:pt x="366" y="233"/>
                </a:cubicBezTo>
                <a:cubicBezTo>
                  <a:pt x="366" y="234"/>
                  <a:pt x="366" y="234"/>
                  <a:pt x="366" y="234"/>
                </a:cubicBezTo>
                <a:cubicBezTo>
                  <a:pt x="364" y="236"/>
                  <a:pt x="364" y="236"/>
                  <a:pt x="364" y="236"/>
                </a:cubicBezTo>
                <a:cubicBezTo>
                  <a:pt x="363" y="236"/>
                  <a:pt x="363" y="236"/>
                  <a:pt x="363" y="236"/>
                </a:cubicBezTo>
                <a:cubicBezTo>
                  <a:pt x="362" y="236"/>
                  <a:pt x="362" y="236"/>
                  <a:pt x="362" y="236"/>
                </a:cubicBezTo>
                <a:cubicBezTo>
                  <a:pt x="363" y="236"/>
                  <a:pt x="363" y="236"/>
                  <a:pt x="363" y="236"/>
                </a:cubicBezTo>
                <a:cubicBezTo>
                  <a:pt x="364" y="237"/>
                  <a:pt x="364" y="237"/>
                  <a:pt x="364" y="237"/>
                </a:cubicBezTo>
                <a:cubicBezTo>
                  <a:pt x="364" y="238"/>
                  <a:pt x="364" y="238"/>
                  <a:pt x="364" y="238"/>
                </a:cubicBezTo>
                <a:cubicBezTo>
                  <a:pt x="365" y="238"/>
                  <a:pt x="365" y="238"/>
                  <a:pt x="365" y="238"/>
                </a:cubicBezTo>
                <a:cubicBezTo>
                  <a:pt x="365" y="238"/>
                  <a:pt x="365" y="238"/>
                  <a:pt x="365" y="238"/>
                </a:cubicBezTo>
                <a:cubicBezTo>
                  <a:pt x="364" y="239"/>
                  <a:pt x="364" y="239"/>
                  <a:pt x="364" y="239"/>
                </a:cubicBezTo>
                <a:cubicBezTo>
                  <a:pt x="365" y="240"/>
                  <a:pt x="365" y="240"/>
                  <a:pt x="365" y="240"/>
                </a:cubicBezTo>
                <a:cubicBezTo>
                  <a:pt x="363" y="241"/>
                  <a:pt x="363" y="241"/>
                  <a:pt x="363" y="241"/>
                </a:cubicBezTo>
                <a:cubicBezTo>
                  <a:pt x="361" y="241"/>
                  <a:pt x="361" y="241"/>
                  <a:pt x="361" y="241"/>
                </a:cubicBezTo>
                <a:cubicBezTo>
                  <a:pt x="361" y="241"/>
                  <a:pt x="361" y="241"/>
                  <a:pt x="361" y="241"/>
                </a:cubicBezTo>
                <a:cubicBezTo>
                  <a:pt x="360" y="242"/>
                  <a:pt x="360" y="242"/>
                  <a:pt x="360" y="242"/>
                </a:cubicBezTo>
                <a:cubicBezTo>
                  <a:pt x="359" y="242"/>
                  <a:pt x="359" y="242"/>
                  <a:pt x="359" y="242"/>
                </a:cubicBezTo>
                <a:cubicBezTo>
                  <a:pt x="358" y="240"/>
                  <a:pt x="358" y="240"/>
                  <a:pt x="358" y="240"/>
                </a:cubicBezTo>
                <a:cubicBezTo>
                  <a:pt x="357" y="240"/>
                  <a:pt x="357" y="240"/>
                  <a:pt x="357" y="240"/>
                </a:cubicBezTo>
                <a:cubicBezTo>
                  <a:pt x="357" y="240"/>
                  <a:pt x="357" y="240"/>
                  <a:pt x="357" y="240"/>
                </a:cubicBezTo>
                <a:cubicBezTo>
                  <a:pt x="356" y="240"/>
                  <a:pt x="356" y="240"/>
                  <a:pt x="356" y="240"/>
                </a:cubicBezTo>
                <a:cubicBezTo>
                  <a:pt x="356" y="241"/>
                  <a:pt x="356" y="241"/>
                  <a:pt x="356" y="241"/>
                </a:cubicBezTo>
                <a:cubicBezTo>
                  <a:pt x="355" y="241"/>
                  <a:pt x="355" y="241"/>
                  <a:pt x="355" y="241"/>
                </a:cubicBezTo>
                <a:cubicBezTo>
                  <a:pt x="356" y="241"/>
                  <a:pt x="356" y="241"/>
                  <a:pt x="356" y="241"/>
                </a:cubicBezTo>
                <a:cubicBezTo>
                  <a:pt x="357" y="242"/>
                  <a:pt x="357" y="242"/>
                  <a:pt x="357" y="242"/>
                </a:cubicBezTo>
                <a:cubicBezTo>
                  <a:pt x="357" y="243"/>
                  <a:pt x="357" y="243"/>
                  <a:pt x="357" y="243"/>
                </a:cubicBezTo>
                <a:cubicBezTo>
                  <a:pt x="356" y="244"/>
                  <a:pt x="356" y="244"/>
                  <a:pt x="356" y="244"/>
                </a:cubicBezTo>
                <a:cubicBezTo>
                  <a:pt x="357" y="244"/>
                  <a:pt x="357" y="244"/>
                  <a:pt x="357" y="244"/>
                </a:cubicBezTo>
                <a:cubicBezTo>
                  <a:pt x="356" y="245"/>
                  <a:pt x="356" y="245"/>
                  <a:pt x="356" y="245"/>
                </a:cubicBezTo>
                <a:cubicBezTo>
                  <a:pt x="356" y="246"/>
                  <a:pt x="356" y="246"/>
                  <a:pt x="356" y="246"/>
                </a:cubicBezTo>
                <a:cubicBezTo>
                  <a:pt x="357" y="246"/>
                  <a:pt x="357" y="246"/>
                  <a:pt x="357" y="246"/>
                </a:cubicBezTo>
                <a:cubicBezTo>
                  <a:pt x="357" y="245"/>
                  <a:pt x="357" y="245"/>
                  <a:pt x="357" y="245"/>
                </a:cubicBezTo>
                <a:cubicBezTo>
                  <a:pt x="358" y="245"/>
                  <a:pt x="358" y="245"/>
                  <a:pt x="358" y="245"/>
                </a:cubicBezTo>
                <a:cubicBezTo>
                  <a:pt x="358" y="246"/>
                  <a:pt x="358" y="246"/>
                  <a:pt x="358" y="246"/>
                </a:cubicBezTo>
                <a:cubicBezTo>
                  <a:pt x="356" y="246"/>
                  <a:pt x="356" y="246"/>
                  <a:pt x="356" y="246"/>
                </a:cubicBezTo>
                <a:cubicBezTo>
                  <a:pt x="356" y="248"/>
                  <a:pt x="356" y="248"/>
                  <a:pt x="356" y="248"/>
                </a:cubicBezTo>
                <a:cubicBezTo>
                  <a:pt x="356" y="249"/>
                  <a:pt x="356" y="249"/>
                  <a:pt x="356" y="249"/>
                </a:cubicBezTo>
                <a:cubicBezTo>
                  <a:pt x="357" y="250"/>
                  <a:pt x="357" y="250"/>
                  <a:pt x="357" y="250"/>
                </a:cubicBezTo>
                <a:cubicBezTo>
                  <a:pt x="357" y="251"/>
                  <a:pt x="357" y="251"/>
                  <a:pt x="357" y="251"/>
                </a:cubicBezTo>
                <a:cubicBezTo>
                  <a:pt x="358" y="254"/>
                  <a:pt x="358" y="254"/>
                  <a:pt x="358" y="254"/>
                </a:cubicBezTo>
                <a:cubicBezTo>
                  <a:pt x="358" y="255"/>
                  <a:pt x="358" y="255"/>
                  <a:pt x="358" y="255"/>
                </a:cubicBezTo>
                <a:cubicBezTo>
                  <a:pt x="358" y="255"/>
                  <a:pt x="358" y="255"/>
                  <a:pt x="358" y="255"/>
                </a:cubicBezTo>
                <a:cubicBezTo>
                  <a:pt x="358" y="256"/>
                  <a:pt x="358" y="256"/>
                  <a:pt x="358" y="256"/>
                </a:cubicBezTo>
                <a:cubicBezTo>
                  <a:pt x="356" y="258"/>
                  <a:pt x="356" y="258"/>
                  <a:pt x="356" y="258"/>
                </a:cubicBezTo>
                <a:cubicBezTo>
                  <a:pt x="356" y="259"/>
                  <a:pt x="356" y="259"/>
                  <a:pt x="356" y="259"/>
                </a:cubicBezTo>
                <a:cubicBezTo>
                  <a:pt x="356" y="260"/>
                  <a:pt x="356" y="260"/>
                  <a:pt x="356" y="260"/>
                </a:cubicBezTo>
                <a:cubicBezTo>
                  <a:pt x="355" y="259"/>
                  <a:pt x="355" y="259"/>
                  <a:pt x="355" y="259"/>
                </a:cubicBezTo>
                <a:cubicBezTo>
                  <a:pt x="353" y="259"/>
                  <a:pt x="353" y="259"/>
                  <a:pt x="353" y="259"/>
                </a:cubicBezTo>
                <a:cubicBezTo>
                  <a:pt x="352" y="260"/>
                  <a:pt x="352" y="260"/>
                  <a:pt x="352" y="260"/>
                </a:cubicBezTo>
                <a:cubicBezTo>
                  <a:pt x="351" y="261"/>
                  <a:pt x="351" y="261"/>
                  <a:pt x="351" y="261"/>
                </a:cubicBezTo>
                <a:cubicBezTo>
                  <a:pt x="350" y="262"/>
                  <a:pt x="350" y="262"/>
                  <a:pt x="350" y="262"/>
                </a:cubicBezTo>
                <a:cubicBezTo>
                  <a:pt x="350" y="263"/>
                  <a:pt x="350" y="263"/>
                  <a:pt x="350" y="263"/>
                </a:cubicBezTo>
                <a:cubicBezTo>
                  <a:pt x="349" y="263"/>
                  <a:pt x="349" y="263"/>
                  <a:pt x="349" y="263"/>
                </a:cubicBezTo>
                <a:cubicBezTo>
                  <a:pt x="347" y="265"/>
                  <a:pt x="347" y="265"/>
                  <a:pt x="347" y="265"/>
                </a:cubicBezTo>
                <a:cubicBezTo>
                  <a:pt x="346" y="265"/>
                  <a:pt x="346" y="265"/>
                  <a:pt x="346" y="265"/>
                </a:cubicBezTo>
                <a:cubicBezTo>
                  <a:pt x="345" y="265"/>
                  <a:pt x="345" y="265"/>
                  <a:pt x="345" y="265"/>
                </a:cubicBezTo>
                <a:cubicBezTo>
                  <a:pt x="345" y="266"/>
                  <a:pt x="345" y="266"/>
                  <a:pt x="345" y="266"/>
                </a:cubicBezTo>
                <a:cubicBezTo>
                  <a:pt x="341" y="267"/>
                  <a:pt x="341" y="267"/>
                  <a:pt x="341" y="267"/>
                </a:cubicBezTo>
                <a:cubicBezTo>
                  <a:pt x="341" y="266"/>
                  <a:pt x="341" y="266"/>
                  <a:pt x="341" y="266"/>
                </a:cubicBezTo>
                <a:cubicBezTo>
                  <a:pt x="341" y="265"/>
                  <a:pt x="341" y="265"/>
                  <a:pt x="341" y="265"/>
                </a:cubicBezTo>
                <a:cubicBezTo>
                  <a:pt x="341" y="264"/>
                  <a:pt x="341" y="264"/>
                  <a:pt x="341" y="264"/>
                </a:cubicBezTo>
                <a:cubicBezTo>
                  <a:pt x="340" y="263"/>
                  <a:pt x="340" y="263"/>
                  <a:pt x="340" y="263"/>
                </a:cubicBezTo>
                <a:cubicBezTo>
                  <a:pt x="340" y="262"/>
                  <a:pt x="340" y="262"/>
                  <a:pt x="340" y="262"/>
                </a:cubicBezTo>
                <a:cubicBezTo>
                  <a:pt x="341" y="262"/>
                  <a:pt x="341" y="262"/>
                  <a:pt x="341" y="262"/>
                </a:cubicBezTo>
                <a:cubicBezTo>
                  <a:pt x="341" y="261"/>
                  <a:pt x="341" y="261"/>
                  <a:pt x="341" y="261"/>
                </a:cubicBezTo>
                <a:cubicBezTo>
                  <a:pt x="342" y="259"/>
                  <a:pt x="342" y="259"/>
                  <a:pt x="342" y="259"/>
                </a:cubicBezTo>
                <a:cubicBezTo>
                  <a:pt x="341" y="261"/>
                  <a:pt x="341" y="261"/>
                  <a:pt x="341" y="261"/>
                </a:cubicBezTo>
                <a:cubicBezTo>
                  <a:pt x="340" y="261"/>
                  <a:pt x="340" y="261"/>
                  <a:pt x="340" y="261"/>
                </a:cubicBezTo>
                <a:cubicBezTo>
                  <a:pt x="340" y="258"/>
                  <a:pt x="340" y="258"/>
                  <a:pt x="340" y="258"/>
                </a:cubicBezTo>
                <a:cubicBezTo>
                  <a:pt x="339" y="258"/>
                  <a:pt x="339" y="258"/>
                  <a:pt x="339" y="258"/>
                </a:cubicBezTo>
                <a:cubicBezTo>
                  <a:pt x="339" y="257"/>
                  <a:pt x="339" y="257"/>
                  <a:pt x="339" y="257"/>
                </a:cubicBezTo>
                <a:cubicBezTo>
                  <a:pt x="337" y="257"/>
                  <a:pt x="337" y="257"/>
                  <a:pt x="337" y="257"/>
                </a:cubicBezTo>
                <a:cubicBezTo>
                  <a:pt x="337" y="257"/>
                  <a:pt x="337" y="257"/>
                  <a:pt x="337" y="257"/>
                </a:cubicBezTo>
                <a:cubicBezTo>
                  <a:pt x="336" y="257"/>
                  <a:pt x="336" y="257"/>
                  <a:pt x="336" y="257"/>
                </a:cubicBezTo>
                <a:cubicBezTo>
                  <a:pt x="335" y="259"/>
                  <a:pt x="335" y="259"/>
                  <a:pt x="335" y="259"/>
                </a:cubicBezTo>
                <a:cubicBezTo>
                  <a:pt x="335" y="259"/>
                  <a:pt x="335" y="259"/>
                  <a:pt x="335" y="259"/>
                </a:cubicBezTo>
                <a:cubicBezTo>
                  <a:pt x="337" y="258"/>
                  <a:pt x="337" y="258"/>
                  <a:pt x="337" y="258"/>
                </a:cubicBezTo>
                <a:cubicBezTo>
                  <a:pt x="338" y="258"/>
                  <a:pt x="338" y="258"/>
                  <a:pt x="338" y="258"/>
                </a:cubicBezTo>
                <a:cubicBezTo>
                  <a:pt x="338" y="259"/>
                  <a:pt x="338" y="259"/>
                  <a:pt x="338" y="259"/>
                </a:cubicBezTo>
                <a:cubicBezTo>
                  <a:pt x="339" y="260"/>
                  <a:pt x="339" y="260"/>
                  <a:pt x="339" y="260"/>
                </a:cubicBezTo>
                <a:cubicBezTo>
                  <a:pt x="339" y="262"/>
                  <a:pt x="339" y="262"/>
                  <a:pt x="339" y="262"/>
                </a:cubicBezTo>
                <a:cubicBezTo>
                  <a:pt x="339" y="263"/>
                  <a:pt x="339" y="263"/>
                  <a:pt x="339" y="263"/>
                </a:cubicBezTo>
                <a:cubicBezTo>
                  <a:pt x="340" y="264"/>
                  <a:pt x="340" y="264"/>
                  <a:pt x="340" y="264"/>
                </a:cubicBezTo>
                <a:cubicBezTo>
                  <a:pt x="340" y="266"/>
                  <a:pt x="340" y="266"/>
                  <a:pt x="340" y="266"/>
                </a:cubicBezTo>
                <a:cubicBezTo>
                  <a:pt x="339" y="266"/>
                  <a:pt x="339" y="266"/>
                  <a:pt x="339" y="266"/>
                </a:cubicBezTo>
                <a:cubicBezTo>
                  <a:pt x="340" y="267"/>
                  <a:pt x="340" y="267"/>
                  <a:pt x="340" y="267"/>
                </a:cubicBezTo>
                <a:cubicBezTo>
                  <a:pt x="340" y="268"/>
                  <a:pt x="340" y="268"/>
                  <a:pt x="340" y="268"/>
                </a:cubicBezTo>
                <a:cubicBezTo>
                  <a:pt x="339" y="268"/>
                  <a:pt x="339" y="268"/>
                  <a:pt x="339" y="268"/>
                </a:cubicBezTo>
                <a:cubicBezTo>
                  <a:pt x="337" y="266"/>
                  <a:pt x="337" y="266"/>
                  <a:pt x="337" y="266"/>
                </a:cubicBezTo>
                <a:cubicBezTo>
                  <a:pt x="337" y="265"/>
                  <a:pt x="337" y="265"/>
                  <a:pt x="337" y="265"/>
                </a:cubicBezTo>
                <a:cubicBezTo>
                  <a:pt x="336" y="265"/>
                  <a:pt x="336" y="265"/>
                  <a:pt x="336" y="265"/>
                </a:cubicBezTo>
                <a:cubicBezTo>
                  <a:pt x="336" y="264"/>
                  <a:pt x="336" y="264"/>
                  <a:pt x="336" y="264"/>
                </a:cubicBezTo>
                <a:cubicBezTo>
                  <a:pt x="335" y="265"/>
                  <a:pt x="335" y="265"/>
                  <a:pt x="335" y="265"/>
                </a:cubicBezTo>
                <a:cubicBezTo>
                  <a:pt x="336" y="266"/>
                  <a:pt x="336" y="266"/>
                  <a:pt x="336" y="266"/>
                </a:cubicBezTo>
                <a:cubicBezTo>
                  <a:pt x="336" y="267"/>
                  <a:pt x="336" y="267"/>
                  <a:pt x="336" y="267"/>
                </a:cubicBezTo>
                <a:cubicBezTo>
                  <a:pt x="335" y="266"/>
                  <a:pt x="335" y="266"/>
                  <a:pt x="335" y="266"/>
                </a:cubicBezTo>
                <a:cubicBezTo>
                  <a:pt x="334" y="266"/>
                  <a:pt x="334" y="266"/>
                  <a:pt x="334" y="266"/>
                </a:cubicBezTo>
                <a:cubicBezTo>
                  <a:pt x="333" y="265"/>
                  <a:pt x="333" y="265"/>
                  <a:pt x="333" y="265"/>
                </a:cubicBezTo>
                <a:cubicBezTo>
                  <a:pt x="333" y="266"/>
                  <a:pt x="333" y="266"/>
                  <a:pt x="333" y="266"/>
                </a:cubicBezTo>
                <a:cubicBezTo>
                  <a:pt x="333" y="265"/>
                  <a:pt x="333" y="265"/>
                  <a:pt x="333" y="265"/>
                </a:cubicBezTo>
                <a:cubicBezTo>
                  <a:pt x="333" y="263"/>
                  <a:pt x="333" y="263"/>
                  <a:pt x="333" y="263"/>
                </a:cubicBezTo>
                <a:cubicBezTo>
                  <a:pt x="333" y="263"/>
                  <a:pt x="333" y="263"/>
                  <a:pt x="333" y="263"/>
                </a:cubicBezTo>
                <a:cubicBezTo>
                  <a:pt x="333" y="262"/>
                  <a:pt x="333" y="262"/>
                  <a:pt x="333" y="262"/>
                </a:cubicBezTo>
                <a:cubicBezTo>
                  <a:pt x="333" y="262"/>
                  <a:pt x="333" y="262"/>
                  <a:pt x="333" y="262"/>
                </a:cubicBezTo>
                <a:cubicBezTo>
                  <a:pt x="331" y="262"/>
                  <a:pt x="331" y="262"/>
                  <a:pt x="331" y="262"/>
                </a:cubicBezTo>
                <a:cubicBezTo>
                  <a:pt x="329" y="262"/>
                  <a:pt x="329" y="262"/>
                  <a:pt x="329" y="262"/>
                </a:cubicBezTo>
                <a:cubicBezTo>
                  <a:pt x="328" y="262"/>
                  <a:pt x="328" y="262"/>
                  <a:pt x="328" y="262"/>
                </a:cubicBezTo>
                <a:cubicBezTo>
                  <a:pt x="327" y="262"/>
                  <a:pt x="327" y="262"/>
                  <a:pt x="327" y="262"/>
                </a:cubicBezTo>
                <a:cubicBezTo>
                  <a:pt x="326" y="261"/>
                  <a:pt x="326" y="261"/>
                  <a:pt x="326" y="261"/>
                </a:cubicBezTo>
                <a:cubicBezTo>
                  <a:pt x="326" y="262"/>
                  <a:pt x="326" y="262"/>
                  <a:pt x="326" y="262"/>
                </a:cubicBezTo>
                <a:cubicBezTo>
                  <a:pt x="326" y="263"/>
                  <a:pt x="326" y="263"/>
                  <a:pt x="326" y="263"/>
                </a:cubicBezTo>
                <a:cubicBezTo>
                  <a:pt x="326" y="263"/>
                  <a:pt x="326" y="263"/>
                  <a:pt x="326" y="263"/>
                </a:cubicBezTo>
                <a:cubicBezTo>
                  <a:pt x="326" y="264"/>
                  <a:pt x="326" y="264"/>
                  <a:pt x="326" y="264"/>
                </a:cubicBezTo>
                <a:cubicBezTo>
                  <a:pt x="326" y="265"/>
                  <a:pt x="326" y="265"/>
                  <a:pt x="326" y="265"/>
                </a:cubicBezTo>
                <a:cubicBezTo>
                  <a:pt x="328" y="266"/>
                  <a:pt x="328" y="266"/>
                  <a:pt x="328" y="266"/>
                </a:cubicBezTo>
                <a:cubicBezTo>
                  <a:pt x="328" y="267"/>
                  <a:pt x="328" y="267"/>
                  <a:pt x="328" y="267"/>
                </a:cubicBezTo>
                <a:cubicBezTo>
                  <a:pt x="327" y="268"/>
                  <a:pt x="327" y="268"/>
                  <a:pt x="327" y="268"/>
                </a:cubicBezTo>
                <a:cubicBezTo>
                  <a:pt x="327" y="269"/>
                  <a:pt x="327" y="269"/>
                  <a:pt x="327" y="269"/>
                </a:cubicBezTo>
                <a:cubicBezTo>
                  <a:pt x="324" y="271"/>
                  <a:pt x="324" y="271"/>
                  <a:pt x="324" y="271"/>
                </a:cubicBezTo>
                <a:cubicBezTo>
                  <a:pt x="322" y="272"/>
                  <a:pt x="322" y="272"/>
                  <a:pt x="322" y="272"/>
                </a:cubicBezTo>
                <a:cubicBezTo>
                  <a:pt x="321" y="274"/>
                  <a:pt x="321" y="274"/>
                  <a:pt x="321" y="274"/>
                </a:cubicBezTo>
                <a:cubicBezTo>
                  <a:pt x="320" y="274"/>
                  <a:pt x="320" y="274"/>
                  <a:pt x="320" y="274"/>
                </a:cubicBezTo>
                <a:cubicBezTo>
                  <a:pt x="319" y="274"/>
                  <a:pt x="319" y="274"/>
                  <a:pt x="319" y="274"/>
                </a:cubicBezTo>
                <a:cubicBezTo>
                  <a:pt x="319" y="276"/>
                  <a:pt x="319" y="276"/>
                  <a:pt x="319" y="276"/>
                </a:cubicBezTo>
                <a:cubicBezTo>
                  <a:pt x="317" y="276"/>
                  <a:pt x="317" y="276"/>
                  <a:pt x="317" y="276"/>
                </a:cubicBezTo>
                <a:cubicBezTo>
                  <a:pt x="314" y="276"/>
                  <a:pt x="314" y="276"/>
                  <a:pt x="314" y="276"/>
                </a:cubicBezTo>
                <a:cubicBezTo>
                  <a:pt x="313" y="274"/>
                  <a:pt x="313" y="274"/>
                  <a:pt x="313" y="274"/>
                </a:cubicBezTo>
                <a:cubicBezTo>
                  <a:pt x="312" y="273"/>
                  <a:pt x="312" y="273"/>
                  <a:pt x="312" y="273"/>
                </a:cubicBezTo>
                <a:cubicBezTo>
                  <a:pt x="310" y="272"/>
                  <a:pt x="310" y="272"/>
                  <a:pt x="310" y="272"/>
                </a:cubicBezTo>
                <a:cubicBezTo>
                  <a:pt x="310" y="272"/>
                  <a:pt x="310" y="272"/>
                  <a:pt x="310" y="272"/>
                </a:cubicBezTo>
                <a:cubicBezTo>
                  <a:pt x="311" y="271"/>
                  <a:pt x="311" y="271"/>
                  <a:pt x="311" y="271"/>
                </a:cubicBezTo>
                <a:cubicBezTo>
                  <a:pt x="311" y="271"/>
                  <a:pt x="311" y="271"/>
                  <a:pt x="311" y="271"/>
                </a:cubicBezTo>
                <a:cubicBezTo>
                  <a:pt x="311" y="270"/>
                  <a:pt x="311" y="270"/>
                  <a:pt x="311" y="270"/>
                </a:cubicBezTo>
                <a:cubicBezTo>
                  <a:pt x="310" y="270"/>
                  <a:pt x="310" y="270"/>
                  <a:pt x="310" y="270"/>
                </a:cubicBezTo>
                <a:cubicBezTo>
                  <a:pt x="308" y="268"/>
                  <a:pt x="308" y="268"/>
                  <a:pt x="308" y="268"/>
                </a:cubicBezTo>
                <a:cubicBezTo>
                  <a:pt x="307" y="266"/>
                  <a:pt x="307" y="266"/>
                  <a:pt x="307" y="266"/>
                </a:cubicBezTo>
                <a:cubicBezTo>
                  <a:pt x="304" y="266"/>
                  <a:pt x="304" y="266"/>
                  <a:pt x="304" y="266"/>
                </a:cubicBezTo>
                <a:cubicBezTo>
                  <a:pt x="302" y="265"/>
                  <a:pt x="302" y="265"/>
                  <a:pt x="302" y="265"/>
                </a:cubicBezTo>
                <a:cubicBezTo>
                  <a:pt x="299" y="265"/>
                  <a:pt x="299" y="265"/>
                  <a:pt x="299" y="265"/>
                </a:cubicBezTo>
                <a:cubicBezTo>
                  <a:pt x="298" y="265"/>
                  <a:pt x="298" y="265"/>
                  <a:pt x="298" y="265"/>
                </a:cubicBezTo>
                <a:cubicBezTo>
                  <a:pt x="298" y="266"/>
                  <a:pt x="298" y="266"/>
                  <a:pt x="298" y="266"/>
                </a:cubicBezTo>
                <a:cubicBezTo>
                  <a:pt x="299" y="266"/>
                  <a:pt x="299" y="266"/>
                  <a:pt x="299" y="266"/>
                </a:cubicBezTo>
                <a:cubicBezTo>
                  <a:pt x="299" y="266"/>
                  <a:pt x="299" y="266"/>
                  <a:pt x="299" y="266"/>
                </a:cubicBezTo>
                <a:cubicBezTo>
                  <a:pt x="300" y="266"/>
                  <a:pt x="300" y="266"/>
                  <a:pt x="300" y="266"/>
                </a:cubicBezTo>
                <a:cubicBezTo>
                  <a:pt x="303" y="267"/>
                  <a:pt x="303" y="267"/>
                  <a:pt x="303" y="267"/>
                </a:cubicBezTo>
                <a:cubicBezTo>
                  <a:pt x="306" y="267"/>
                  <a:pt x="306" y="267"/>
                  <a:pt x="306" y="267"/>
                </a:cubicBezTo>
                <a:cubicBezTo>
                  <a:pt x="306" y="267"/>
                  <a:pt x="306" y="267"/>
                  <a:pt x="306" y="267"/>
                </a:cubicBezTo>
                <a:cubicBezTo>
                  <a:pt x="306" y="268"/>
                  <a:pt x="306" y="268"/>
                  <a:pt x="306" y="268"/>
                </a:cubicBezTo>
                <a:cubicBezTo>
                  <a:pt x="306" y="268"/>
                  <a:pt x="306" y="268"/>
                  <a:pt x="306" y="268"/>
                </a:cubicBezTo>
                <a:cubicBezTo>
                  <a:pt x="305" y="268"/>
                  <a:pt x="305" y="268"/>
                  <a:pt x="305" y="268"/>
                </a:cubicBezTo>
                <a:cubicBezTo>
                  <a:pt x="306" y="269"/>
                  <a:pt x="306" y="269"/>
                  <a:pt x="306" y="269"/>
                </a:cubicBezTo>
                <a:cubicBezTo>
                  <a:pt x="306" y="271"/>
                  <a:pt x="306" y="271"/>
                  <a:pt x="306" y="271"/>
                </a:cubicBezTo>
                <a:cubicBezTo>
                  <a:pt x="306" y="271"/>
                  <a:pt x="306" y="271"/>
                  <a:pt x="306" y="271"/>
                </a:cubicBezTo>
                <a:cubicBezTo>
                  <a:pt x="308" y="274"/>
                  <a:pt x="308" y="274"/>
                  <a:pt x="308" y="274"/>
                </a:cubicBezTo>
                <a:cubicBezTo>
                  <a:pt x="309" y="275"/>
                  <a:pt x="309" y="275"/>
                  <a:pt x="309" y="275"/>
                </a:cubicBezTo>
                <a:cubicBezTo>
                  <a:pt x="311" y="276"/>
                  <a:pt x="311" y="276"/>
                  <a:pt x="311" y="276"/>
                </a:cubicBezTo>
                <a:cubicBezTo>
                  <a:pt x="313" y="277"/>
                  <a:pt x="313" y="277"/>
                  <a:pt x="313" y="277"/>
                </a:cubicBezTo>
                <a:cubicBezTo>
                  <a:pt x="318" y="278"/>
                  <a:pt x="318" y="278"/>
                  <a:pt x="318" y="278"/>
                </a:cubicBezTo>
                <a:cubicBezTo>
                  <a:pt x="318" y="279"/>
                  <a:pt x="318" y="279"/>
                  <a:pt x="318" y="279"/>
                </a:cubicBezTo>
                <a:cubicBezTo>
                  <a:pt x="317" y="280"/>
                  <a:pt x="317" y="280"/>
                  <a:pt x="317" y="280"/>
                </a:cubicBezTo>
                <a:cubicBezTo>
                  <a:pt x="316" y="281"/>
                  <a:pt x="316" y="281"/>
                  <a:pt x="316" y="281"/>
                </a:cubicBezTo>
                <a:cubicBezTo>
                  <a:pt x="315" y="281"/>
                  <a:pt x="315" y="281"/>
                  <a:pt x="315" y="281"/>
                </a:cubicBezTo>
                <a:cubicBezTo>
                  <a:pt x="313" y="284"/>
                  <a:pt x="313" y="284"/>
                  <a:pt x="313" y="284"/>
                </a:cubicBezTo>
                <a:cubicBezTo>
                  <a:pt x="313" y="283"/>
                  <a:pt x="313" y="283"/>
                  <a:pt x="313" y="283"/>
                </a:cubicBezTo>
                <a:cubicBezTo>
                  <a:pt x="312" y="284"/>
                  <a:pt x="312" y="284"/>
                  <a:pt x="312" y="284"/>
                </a:cubicBezTo>
                <a:cubicBezTo>
                  <a:pt x="312" y="284"/>
                  <a:pt x="312" y="284"/>
                  <a:pt x="312" y="284"/>
                </a:cubicBezTo>
                <a:cubicBezTo>
                  <a:pt x="308" y="289"/>
                  <a:pt x="308" y="289"/>
                  <a:pt x="308" y="289"/>
                </a:cubicBezTo>
                <a:cubicBezTo>
                  <a:pt x="306" y="289"/>
                  <a:pt x="306" y="289"/>
                  <a:pt x="306" y="289"/>
                </a:cubicBezTo>
                <a:cubicBezTo>
                  <a:pt x="305" y="291"/>
                  <a:pt x="305" y="291"/>
                  <a:pt x="305" y="291"/>
                </a:cubicBezTo>
                <a:cubicBezTo>
                  <a:pt x="304" y="291"/>
                  <a:pt x="304" y="291"/>
                  <a:pt x="304" y="291"/>
                </a:cubicBezTo>
                <a:cubicBezTo>
                  <a:pt x="304" y="291"/>
                  <a:pt x="304" y="291"/>
                  <a:pt x="304" y="291"/>
                </a:cubicBezTo>
                <a:cubicBezTo>
                  <a:pt x="303" y="291"/>
                  <a:pt x="303" y="291"/>
                  <a:pt x="303" y="291"/>
                </a:cubicBezTo>
                <a:cubicBezTo>
                  <a:pt x="303" y="292"/>
                  <a:pt x="303" y="292"/>
                  <a:pt x="303" y="292"/>
                </a:cubicBezTo>
                <a:cubicBezTo>
                  <a:pt x="301" y="290"/>
                  <a:pt x="301" y="290"/>
                  <a:pt x="301" y="290"/>
                </a:cubicBezTo>
                <a:cubicBezTo>
                  <a:pt x="300" y="289"/>
                  <a:pt x="300" y="289"/>
                  <a:pt x="300" y="289"/>
                </a:cubicBezTo>
                <a:cubicBezTo>
                  <a:pt x="299" y="290"/>
                  <a:pt x="299" y="290"/>
                  <a:pt x="299" y="290"/>
                </a:cubicBezTo>
                <a:cubicBezTo>
                  <a:pt x="299" y="289"/>
                  <a:pt x="299" y="289"/>
                  <a:pt x="299" y="289"/>
                </a:cubicBezTo>
                <a:cubicBezTo>
                  <a:pt x="299" y="289"/>
                  <a:pt x="299" y="289"/>
                  <a:pt x="299" y="289"/>
                </a:cubicBezTo>
                <a:cubicBezTo>
                  <a:pt x="300" y="288"/>
                  <a:pt x="300" y="288"/>
                  <a:pt x="300" y="288"/>
                </a:cubicBezTo>
                <a:cubicBezTo>
                  <a:pt x="299" y="288"/>
                  <a:pt x="299" y="288"/>
                  <a:pt x="299" y="288"/>
                </a:cubicBezTo>
                <a:cubicBezTo>
                  <a:pt x="299" y="287"/>
                  <a:pt x="299" y="287"/>
                  <a:pt x="299" y="287"/>
                </a:cubicBezTo>
                <a:cubicBezTo>
                  <a:pt x="298" y="288"/>
                  <a:pt x="298" y="288"/>
                  <a:pt x="298" y="288"/>
                </a:cubicBezTo>
                <a:cubicBezTo>
                  <a:pt x="297" y="290"/>
                  <a:pt x="297" y="290"/>
                  <a:pt x="297" y="290"/>
                </a:cubicBezTo>
                <a:cubicBezTo>
                  <a:pt x="297" y="289"/>
                  <a:pt x="297" y="289"/>
                  <a:pt x="297" y="289"/>
                </a:cubicBezTo>
                <a:cubicBezTo>
                  <a:pt x="296" y="287"/>
                  <a:pt x="296" y="287"/>
                  <a:pt x="296" y="287"/>
                </a:cubicBezTo>
                <a:cubicBezTo>
                  <a:pt x="295" y="289"/>
                  <a:pt x="295" y="289"/>
                  <a:pt x="295" y="289"/>
                </a:cubicBezTo>
                <a:cubicBezTo>
                  <a:pt x="296" y="290"/>
                  <a:pt x="296" y="290"/>
                  <a:pt x="296" y="290"/>
                </a:cubicBezTo>
                <a:cubicBezTo>
                  <a:pt x="296" y="292"/>
                  <a:pt x="296" y="292"/>
                  <a:pt x="296" y="292"/>
                </a:cubicBezTo>
                <a:cubicBezTo>
                  <a:pt x="294" y="294"/>
                  <a:pt x="294" y="294"/>
                  <a:pt x="294" y="294"/>
                </a:cubicBezTo>
                <a:cubicBezTo>
                  <a:pt x="294" y="294"/>
                  <a:pt x="294" y="294"/>
                  <a:pt x="294" y="294"/>
                </a:cubicBezTo>
                <a:cubicBezTo>
                  <a:pt x="293" y="293"/>
                  <a:pt x="293" y="293"/>
                  <a:pt x="293" y="293"/>
                </a:cubicBezTo>
                <a:cubicBezTo>
                  <a:pt x="292" y="292"/>
                  <a:pt x="292" y="292"/>
                  <a:pt x="292" y="292"/>
                </a:cubicBezTo>
                <a:cubicBezTo>
                  <a:pt x="292" y="293"/>
                  <a:pt x="292" y="293"/>
                  <a:pt x="292" y="293"/>
                </a:cubicBezTo>
                <a:cubicBezTo>
                  <a:pt x="293" y="293"/>
                  <a:pt x="293" y="293"/>
                  <a:pt x="293" y="293"/>
                </a:cubicBezTo>
                <a:cubicBezTo>
                  <a:pt x="292" y="294"/>
                  <a:pt x="292" y="294"/>
                  <a:pt x="292" y="294"/>
                </a:cubicBezTo>
                <a:cubicBezTo>
                  <a:pt x="292" y="295"/>
                  <a:pt x="292" y="295"/>
                  <a:pt x="292" y="295"/>
                </a:cubicBezTo>
                <a:cubicBezTo>
                  <a:pt x="291" y="295"/>
                  <a:pt x="291" y="295"/>
                  <a:pt x="291" y="295"/>
                </a:cubicBezTo>
                <a:cubicBezTo>
                  <a:pt x="290" y="295"/>
                  <a:pt x="290" y="295"/>
                  <a:pt x="290" y="295"/>
                </a:cubicBezTo>
                <a:cubicBezTo>
                  <a:pt x="290" y="294"/>
                  <a:pt x="290" y="294"/>
                  <a:pt x="290" y="294"/>
                </a:cubicBezTo>
                <a:cubicBezTo>
                  <a:pt x="289" y="293"/>
                  <a:pt x="289" y="293"/>
                  <a:pt x="289" y="293"/>
                </a:cubicBezTo>
                <a:cubicBezTo>
                  <a:pt x="287" y="291"/>
                  <a:pt x="287" y="291"/>
                  <a:pt x="287" y="291"/>
                </a:cubicBezTo>
                <a:cubicBezTo>
                  <a:pt x="285" y="290"/>
                  <a:pt x="285" y="290"/>
                  <a:pt x="285" y="290"/>
                </a:cubicBezTo>
                <a:cubicBezTo>
                  <a:pt x="282" y="289"/>
                  <a:pt x="282" y="289"/>
                  <a:pt x="282" y="289"/>
                </a:cubicBezTo>
                <a:cubicBezTo>
                  <a:pt x="282" y="287"/>
                  <a:pt x="282" y="287"/>
                  <a:pt x="282" y="287"/>
                </a:cubicBezTo>
                <a:cubicBezTo>
                  <a:pt x="281" y="287"/>
                  <a:pt x="281" y="287"/>
                  <a:pt x="281" y="287"/>
                </a:cubicBezTo>
                <a:cubicBezTo>
                  <a:pt x="279" y="286"/>
                  <a:pt x="279" y="286"/>
                  <a:pt x="279" y="286"/>
                </a:cubicBezTo>
                <a:cubicBezTo>
                  <a:pt x="278" y="285"/>
                  <a:pt x="278" y="285"/>
                  <a:pt x="278" y="285"/>
                </a:cubicBezTo>
                <a:cubicBezTo>
                  <a:pt x="278" y="286"/>
                  <a:pt x="278" y="286"/>
                  <a:pt x="278" y="286"/>
                </a:cubicBezTo>
                <a:cubicBezTo>
                  <a:pt x="277" y="286"/>
                  <a:pt x="277" y="286"/>
                  <a:pt x="277" y="286"/>
                </a:cubicBezTo>
                <a:cubicBezTo>
                  <a:pt x="278" y="288"/>
                  <a:pt x="278" y="288"/>
                  <a:pt x="278" y="288"/>
                </a:cubicBezTo>
                <a:cubicBezTo>
                  <a:pt x="279" y="289"/>
                  <a:pt x="279" y="289"/>
                  <a:pt x="279" y="289"/>
                </a:cubicBezTo>
                <a:cubicBezTo>
                  <a:pt x="279" y="288"/>
                  <a:pt x="279" y="288"/>
                  <a:pt x="279" y="288"/>
                </a:cubicBezTo>
                <a:cubicBezTo>
                  <a:pt x="279" y="288"/>
                  <a:pt x="279" y="288"/>
                  <a:pt x="279" y="288"/>
                </a:cubicBezTo>
                <a:cubicBezTo>
                  <a:pt x="279" y="287"/>
                  <a:pt x="279" y="287"/>
                  <a:pt x="279" y="287"/>
                </a:cubicBezTo>
                <a:cubicBezTo>
                  <a:pt x="280" y="287"/>
                  <a:pt x="280" y="287"/>
                  <a:pt x="280" y="287"/>
                </a:cubicBezTo>
                <a:cubicBezTo>
                  <a:pt x="282" y="290"/>
                  <a:pt x="282" y="290"/>
                  <a:pt x="282" y="290"/>
                </a:cubicBezTo>
                <a:cubicBezTo>
                  <a:pt x="284" y="291"/>
                  <a:pt x="284" y="291"/>
                  <a:pt x="284" y="291"/>
                </a:cubicBezTo>
                <a:cubicBezTo>
                  <a:pt x="285" y="292"/>
                  <a:pt x="285" y="292"/>
                  <a:pt x="285" y="292"/>
                </a:cubicBezTo>
                <a:cubicBezTo>
                  <a:pt x="283" y="293"/>
                  <a:pt x="283" y="293"/>
                  <a:pt x="283" y="293"/>
                </a:cubicBezTo>
                <a:cubicBezTo>
                  <a:pt x="282" y="293"/>
                  <a:pt x="282" y="293"/>
                  <a:pt x="282" y="293"/>
                </a:cubicBezTo>
                <a:cubicBezTo>
                  <a:pt x="281" y="293"/>
                  <a:pt x="281" y="293"/>
                  <a:pt x="281" y="293"/>
                </a:cubicBezTo>
                <a:cubicBezTo>
                  <a:pt x="281" y="293"/>
                  <a:pt x="281" y="293"/>
                  <a:pt x="281" y="293"/>
                </a:cubicBezTo>
                <a:cubicBezTo>
                  <a:pt x="281" y="294"/>
                  <a:pt x="281" y="294"/>
                  <a:pt x="281" y="294"/>
                </a:cubicBezTo>
                <a:cubicBezTo>
                  <a:pt x="282" y="293"/>
                  <a:pt x="282" y="293"/>
                  <a:pt x="282" y="293"/>
                </a:cubicBezTo>
                <a:cubicBezTo>
                  <a:pt x="284" y="293"/>
                  <a:pt x="284" y="293"/>
                  <a:pt x="284" y="293"/>
                </a:cubicBezTo>
                <a:cubicBezTo>
                  <a:pt x="286" y="292"/>
                  <a:pt x="286" y="292"/>
                  <a:pt x="286" y="292"/>
                </a:cubicBezTo>
                <a:cubicBezTo>
                  <a:pt x="286" y="292"/>
                  <a:pt x="286" y="292"/>
                  <a:pt x="286" y="292"/>
                </a:cubicBezTo>
                <a:cubicBezTo>
                  <a:pt x="287" y="293"/>
                  <a:pt x="287" y="293"/>
                  <a:pt x="287" y="293"/>
                </a:cubicBezTo>
                <a:cubicBezTo>
                  <a:pt x="287" y="294"/>
                  <a:pt x="287" y="294"/>
                  <a:pt x="287" y="294"/>
                </a:cubicBezTo>
                <a:cubicBezTo>
                  <a:pt x="290" y="297"/>
                  <a:pt x="290" y="297"/>
                  <a:pt x="290" y="297"/>
                </a:cubicBezTo>
                <a:cubicBezTo>
                  <a:pt x="289" y="300"/>
                  <a:pt x="289" y="300"/>
                  <a:pt x="289" y="300"/>
                </a:cubicBezTo>
                <a:cubicBezTo>
                  <a:pt x="288" y="302"/>
                  <a:pt x="288" y="302"/>
                  <a:pt x="288" y="302"/>
                </a:cubicBezTo>
                <a:cubicBezTo>
                  <a:pt x="287" y="302"/>
                  <a:pt x="287" y="302"/>
                  <a:pt x="287" y="302"/>
                </a:cubicBezTo>
                <a:cubicBezTo>
                  <a:pt x="286" y="302"/>
                  <a:pt x="286" y="302"/>
                  <a:pt x="286" y="302"/>
                </a:cubicBezTo>
                <a:cubicBezTo>
                  <a:pt x="284" y="302"/>
                  <a:pt x="284" y="302"/>
                  <a:pt x="284" y="302"/>
                </a:cubicBezTo>
                <a:cubicBezTo>
                  <a:pt x="283" y="301"/>
                  <a:pt x="283" y="301"/>
                  <a:pt x="283" y="301"/>
                </a:cubicBezTo>
                <a:cubicBezTo>
                  <a:pt x="281" y="301"/>
                  <a:pt x="281" y="301"/>
                  <a:pt x="281" y="301"/>
                </a:cubicBezTo>
                <a:cubicBezTo>
                  <a:pt x="279" y="299"/>
                  <a:pt x="279" y="299"/>
                  <a:pt x="279" y="299"/>
                </a:cubicBezTo>
                <a:cubicBezTo>
                  <a:pt x="278" y="297"/>
                  <a:pt x="278" y="297"/>
                  <a:pt x="278" y="297"/>
                </a:cubicBezTo>
                <a:cubicBezTo>
                  <a:pt x="277" y="296"/>
                  <a:pt x="277" y="296"/>
                  <a:pt x="277" y="296"/>
                </a:cubicBezTo>
                <a:cubicBezTo>
                  <a:pt x="277" y="296"/>
                  <a:pt x="277" y="296"/>
                  <a:pt x="277" y="296"/>
                </a:cubicBezTo>
                <a:cubicBezTo>
                  <a:pt x="277" y="297"/>
                  <a:pt x="277" y="297"/>
                  <a:pt x="277" y="297"/>
                </a:cubicBezTo>
                <a:cubicBezTo>
                  <a:pt x="277" y="298"/>
                  <a:pt x="277" y="298"/>
                  <a:pt x="277" y="298"/>
                </a:cubicBezTo>
                <a:cubicBezTo>
                  <a:pt x="278" y="300"/>
                  <a:pt x="278" y="300"/>
                  <a:pt x="278" y="300"/>
                </a:cubicBezTo>
                <a:cubicBezTo>
                  <a:pt x="279" y="302"/>
                  <a:pt x="279" y="302"/>
                  <a:pt x="279" y="302"/>
                </a:cubicBezTo>
                <a:cubicBezTo>
                  <a:pt x="281" y="305"/>
                  <a:pt x="281" y="305"/>
                  <a:pt x="281" y="305"/>
                </a:cubicBezTo>
                <a:cubicBezTo>
                  <a:pt x="280" y="305"/>
                  <a:pt x="280" y="305"/>
                  <a:pt x="280" y="305"/>
                </a:cubicBezTo>
                <a:cubicBezTo>
                  <a:pt x="279" y="305"/>
                  <a:pt x="279" y="305"/>
                  <a:pt x="279" y="305"/>
                </a:cubicBezTo>
                <a:cubicBezTo>
                  <a:pt x="278" y="305"/>
                  <a:pt x="278" y="305"/>
                  <a:pt x="278" y="305"/>
                </a:cubicBezTo>
                <a:cubicBezTo>
                  <a:pt x="278" y="303"/>
                  <a:pt x="278" y="303"/>
                  <a:pt x="278" y="303"/>
                </a:cubicBezTo>
                <a:cubicBezTo>
                  <a:pt x="277" y="304"/>
                  <a:pt x="277" y="304"/>
                  <a:pt x="277" y="304"/>
                </a:cubicBezTo>
                <a:cubicBezTo>
                  <a:pt x="277" y="305"/>
                  <a:pt x="277" y="305"/>
                  <a:pt x="277" y="305"/>
                </a:cubicBezTo>
                <a:cubicBezTo>
                  <a:pt x="277" y="305"/>
                  <a:pt x="277" y="305"/>
                  <a:pt x="277" y="305"/>
                </a:cubicBezTo>
                <a:cubicBezTo>
                  <a:pt x="278" y="306"/>
                  <a:pt x="278" y="306"/>
                  <a:pt x="278" y="306"/>
                </a:cubicBezTo>
                <a:cubicBezTo>
                  <a:pt x="279" y="307"/>
                  <a:pt x="279" y="307"/>
                  <a:pt x="279" y="307"/>
                </a:cubicBezTo>
                <a:cubicBezTo>
                  <a:pt x="276" y="306"/>
                  <a:pt x="276" y="306"/>
                  <a:pt x="276" y="306"/>
                </a:cubicBezTo>
                <a:cubicBezTo>
                  <a:pt x="276" y="306"/>
                  <a:pt x="276" y="306"/>
                  <a:pt x="276" y="306"/>
                </a:cubicBezTo>
                <a:cubicBezTo>
                  <a:pt x="276" y="307"/>
                  <a:pt x="276" y="307"/>
                  <a:pt x="276" y="307"/>
                </a:cubicBezTo>
                <a:cubicBezTo>
                  <a:pt x="276" y="307"/>
                  <a:pt x="276" y="307"/>
                  <a:pt x="276" y="307"/>
                </a:cubicBezTo>
                <a:cubicBezTo>
                  <a:pt x="276" y="308"/>
                  <a:pt x="276" y="308"/>
                  <a:pt x="276" y="308"/>
                </a:cubicBezTo>
                <a:cubicBezTo>
                  <a:pt x="276" y="309"/>
                  <a:pt x="276" y="309"/>
                  <a:pt x="276" y="309"/>
                </a:cubicBezTo>
                <a:cubicBezTo>
                  <a:pt x="275" y="308"/>
                  <a:pt x="275" y="308"/>
                  <a:pt x="275" y="308"/>
                </a:cubicBezTo>
                <a:cubicBezTo>
                  <a:pt x="275" y="308"/>
                  <a:pt x="275" y="308"/>
                  <a:pt x="275" y="308"/>
                </a:cubicBezTo>
                <a:cubicBezTo>
                  <a:pt x="275" y="308"/>
                  <a:pt x="275" y="308"/>
                  <a:pt x="275" y="308"/>
                </a:cubicBezTo>
                <a:cubicBezTo>
                  <a:pt x="275" y="309"/>
                  <a:pt x="275" y="309"/>
                  <a:pt x="275" y="309"/>
                </a:cubicBezTo>
                <a:cubicBezTo>
                  <a:pt x="274" y="309"/>
                  <a:pt x="274" y="309"/>
                  <a:pt x="274" y="309"/>
                </a:cubicBezTo>
                <a:cubicBezTo>
                  <a:pt x="273" y="309"/>
                  <a:pt x="273" y="309"/>
                  <a:pt x="273" y="309"/>
                </a:cubicBezTo>
                <a:cubicBezTo>
                  <a:pt x="272" y="310"/>
                  <a:pt x="272" y="310"/>
                  <a:pt x="272" y="310"/>
                </a:cubicBezTo>
                <a:cubicBezTo>
                  <a:pt x="270" y="310"/>
                  <a:pt x="270" y="310"/>
                  <a:pt x="270" y="310"/>
                </a:cubicBezTo>
                <a:cubicBezTo>
                  <a:pt x="271" y="311"/>
                  <a:pt x="271" y="311"/>
                  <a:pt x="271" y="311"/>
                </a:cubicBezTo>
                <a:cubicBezTo>
                  <a:pt x="272" y="312"/>
                  <a:pt x="272" y="312"/>
                  <a:pt x="272" y="312"/>
                </a:cubicBezTo>
                <a:cubicBezTo>
                  <a:pt x="271" y="312"/>
                  <a:pt x="271" y="312"/>
                  <a:pt x="271" y="312"/>
                </a:cubicBezTo>
                <a:cubicBezTo>
                  <a:pt x="271" y="312"/>
                  <a:pt x="271" y="312"/>
                  <a:pt x="271" y="312"/>
                </a:cubicBezTo>
                <a:cubicBezTo>
                  <a:pt x="269" y="311"/>
                  <a:pt x="269" y="311"/>
                  <a:pt x="269" y="311"/>
                </a:cubicBezTo>
                <a:cubicBezTo>
                  <a:pt x="268" y="310"/>
                  <a:pt x="268" y="310"/>
                  <a:pt x="268" y="310"/>
                </a:cubicBezTo>
                <a:cubicBezTo>
                  <a:pt x="268" y="311"/>
                  <a:pt x="268" y="311"/>
                  <a:pt x="268" y="311"/>
                </a:cubicBezTo>
                <a:cubicBezTo>
                  <a:pt x="268" y="312"/>
                  <a:pt x="268" y="312"/>
                  <a:pt x="268" y="312"/>
                </a:cubicBezTo>
                <a:cubicBezTo>
                  <a:pt x="269" y="313"/>
                  <a:pt x="269" y="313"/>
                  <a:pt x="269" y="313"/>
                </a:cubicBezTo>
                <a:cubicBezTo>
                  <a:pt x="269" y="313"/>
                  <a:pt x="269" y="313"/>
                  <a:pt x="269" y="313"/>
                </a:cubicBezTo>
                <a:cubicBezTo>
                  <a:pt x="269" y="314"/>
                  <a:pt x="269" y="314"/>
                  <a:pt x="269" y="314"/>
                </a:cubicBezTo>
                <a:cubicBezTo>
                  <a:pt x="267" y="314"/>
                  <a:pt x="267" y="314"/>
                  <a:pt x="267" y="314"/>
                </a:cubicBezTo>
                <a:cubicBezTo>
                  <a:pt x="266" y="316"/>
                  <a:pt x="266" y="316"/>
                  <a:pt x="266" y="316"/>
                </a:cubicBezTo>
                <a:cubicBezTo>
                  <a:pt x="265" y="316"/>
                  <a:pt x="265" y="316"/>
                  <a:pt x="265" y="316"/>
                </a:cubicBezTo>
                <a:cubicBezTo>
                  <a:pt x="266" y="317"/>
                  <a:pt x="266" y="317"/>
                  <a:pt x="266" y="317"/>
                </a:cubicBezTo>
                <a:cubicBezTo>
                  <a:pt x="265" y="318"/>
                  <a:pt x="265" y="318"/>
                  <a:pt x="265" y="318"/>
                </a:cubicBezTo>
                <a:cubicBezTo>
                  <a:pt x="264" y="318"/>
                  <a:pt x="264" y="318"/>
                  <a:pt x="264" y="318"/>
                </a:cubicBezTo>
                <a:cubicBezTo>
                  <a:pt x="264" y="319"/>
                  <a:pt x="264" y="319"/>
                  <a:pt x="264" y="319"/>
                </a:cubicBezTo>
                <a:cubicBezTo>
                  <a:pt x="264" y="320"/>
                  <a:pt x="264" y="320"/>
                  <a:pt x="264" y="320"/>
                </a:cubicBezTo>
                <a:cubicBezTo>
                  <a:pt x="263" y="320"/>
                  <a:pt x="263" y="320"/>
                  <a:pt x="263" y="320"/>
                </a:cubicBezTo>
                <a:cubicBezTo>
                  <a:pt x="261" y="323"/>
                  <a:pt x="261" y="323"/>
                  <a:pt x="261" y="323"/>
                </a:cubicBezTo>
                <a:cubicBezTo>
                  <a:pt x="260" y="323"/>
                  <a:pt x="260" y="323"/>
                  <a:pt x="260" y="323"/>
                </a:cubicBezTo>
                <a:cubicBezTo>
                  <a:pt x="260" y="324"/>
                  <a:pt x="260" y="324"/>
                  <a:pt x="260" y="324"/>
                </a:cubicBezTo>
                <a:cubicBezTo>
                  <a:pt x="258" y="325"/>
                  <a:pt x="258" y="325"/>
                  <a:pt x="258" y="325"/>
                </a:cubicBezTo>
                <a:cubicBezTo>
                  <a:pt x="257" y="324"/>
                  <a:pt x="257" y="324"/>
                  <a:pt x="257" y="324"/>
                </a:cubicBezTo>
                <a:cubicBezTo>
                  <a:pt x="257" y="325"/>
                  <a:pt x="257" y="325"/>
                  <a:pt x="257" y="325"/>
                </a:cubicBezTo>
                <a:cubicBezTo>
                  <a:pt x="257" y="326"/>
                  <a:pt x="257" y="326"/>
                  <a:pt x="257" y="326"/>
                </a:cubicBezTo>
                <a:cubicBezTo>
                  <a:pt x="256" y="328"/>
                  <a:pt x="256" y="328"/>
                  <a:pt x="256" y="328"/>
                </a:cubicBezTo>
                <a:cubicBezTo>
                  <a:pt x="256" y="330"/>
                  <a:pt x="256" y="330"/>
                  <a:pt x="256" y="330"/>
                </a:cubicBezTo>
                <a:cubicBezTo>
                  <a:pt x="255" y="331"/>
                  <a:pt x="255" y="331"/>
                  <a:pt x="255" y="331"/>
                </a:cubicBezTo>
                <a:cubicBezTo>
                  <a:pt x="255" y="333"/>
                  <a:pt x="255" y="333"/>
                  <a:pt x="255" y="333"/>
                </a:cubicBezTo>
                <a:cubicBezTo>
                  <a:pt x="254" y="333"/>
                  <a:pt x="254" y="333"/>
                  <a:pt x="254" y="333"/>
                </a:cubicBezTo>
                <a:cubicBezTo>
                  <a:pt x="253" y="336"/>
                  <a:pt x="253" y="336"/>
                  <a:pt x="253" y="336"/>
                </a:cubicBezTo>
                <a:cubicBezTo>
                  <a:pt x="253" y="336"/>
                  <a:pt x="253" y="336"/>
                  <a:pt x="253" y="336"/>
                </a:cubicBezTo>
                <a:cubicBezTo>
                  <a:pt x="253" y="338"/>
                  <a:pt x="253" y="338"/>
                  <a:pt x="253" y="338"/>
                </a:cubicBezTo>
                <a:cubicBezTo>
                  <a:pt x="252" y="340"/>
                  <a:pt x="252" y="340"/>
                  <a:pt x="252" y="340"/>
                </a:cubicBezTo>
                <a:cubicBezTo>
                  <a:pt x="252" y="341"/>
                  <a:pt x="252" y="341"/>
                  <a:pt x="252" y="341"/>
                </a:cubicBezTo>
                <a:cubicBezTo>
                  <a:pt x="250" y="341"/>
                  <a:pt x="250" y="341"/>
                  <a:pt x="250" y="341"/>
                </a:cubicBezTo>
                <a:cubicBezTo>
                  <a:pt x="250" y="342"/>
                  <a:pt x="250" y="342"/>
                  <a:pt x="250" y="342"/>
                </a:cubicBezTo>
                <a:cubicBezTo>
                  <a:pt x="251" y="342"/>
                  <a:pt x="251" y="342"/>
                  <a:pt x="251" y="342"/>
                </a:cubicBezTo>
                <a:cubicBezTo>
                  <a:pt x="252" y="343"/>
                  <a:pt x="252" y="343"/>
                  <a:pt x="252" y="343"/>
                </a:cubicBezTo>
                <a:cubicBezTo>
                  <a:pt x="251" y="344"/>
                  <a:pt x="251" y="344"/>
                  <a:pt x="251" y="344"/>
                </a:cubicBezTo>
                <a:cubicBezTo>
                  <a:pt x="252" y="345"/>
                  <a:pt x="252" y="345"/>
                  <a:pt x="252" y="345"/>
                </a:cubicBezTo>
                <a:cubicBezTo>
                  <a:pt x="252" y="347"/>
                  <a:pt x="252" y="347"/>
                  <a:pt x="252" y="347"/>
                </a:cubicBezTo>
                <a:cubicBezTo>
                  <a:pt x="252" y="347"/>
                  <a:pt x="252" y="347"/>
                  <a:pt x="252" y="347"/>
                </a:cubicBezTo>
                <a:cubicBezTo>
                  <a:pt x="251" y="350"/>
                  <a:pt x="251" y="350"/>
                  <a:pt x="251" y="350"/>
                </a:cubicBezTo>
                <a:cubicBezTo>
                  <a:pt x="249" y="352"/>
                  <a:pt x="249" y="352"/>
                  <a:pt x="249" y="352"/>
                </a:cubicBezTo>
                <a:cubicBezTo>
                  <a:pt x="246" y="352"/>
                  <a:pt x="246" y="352"/>
                  <a:pt x="246" y="352"/>
                </a:cubicBezTo>
                <a:cubicBezTo>
                  <a:pt x="246" y="354"/>
                  <a:pt x="246" y="354"/>
                  <a:pt x="246" y="354"/>
                </a:cubicBezTo>
                <a:cubicBezTo>
                  <a:pt x="247" y="352"/>
                  <a:pt x="247" y="352"/>
                  <a:pt x="247" y="352"/>
                </a:cubicBezTo>
                <a:cubicBezTo>
                  <a:pt x="250" y="352"/>
                  <a:pt x="250" y="352"/>
                  <a:pt x="250" y="352"/>
                </a:cubicBezTo>
                <a:cubicBezTo>
                  <a:pt x="252" y="349"/>
                  <a:pt x="252" y="349"/>
                  <a:pt x="252" y="349"/>
                </a:cubicBezTo>
                <a:cubicBezTo>
                  <a:pt x="254" y="346"/>
                  <a:pt x="254" y="346"/>
                  <a:pt x="254" y="346"/>
                </a:cubicBezTo>
                <a:cubicBezTo>
                  <a:pt x="258" y="346"/>
                  <a:pt x="258" y="346"/>
                  <a:pt x="258" y="346"/>
                </a:cubicBezTo>
                <a:cubicBezTo>
                  <a:pt x="259" y="346"/>
                  <a:pt x="259" y="346"/>
                  <a:pt x="259" y="346"/>
                </a:cubicBezTo>
                <a:cubicBezTo>
                  <a:pt x="259" y="348"/>
                  <a:pt x="259" y="348"/>
                  <a:pt x="259" y="348"/>
                </a:cubicBezTo>
                <a:cubicBezTo>
                  <a:pt x="258" y="349"/>
                  <a:pt x="258" y="349"/>
                  <a:pt x="258" y="349"/>
                </a:cubicBezTo>
                <a:cubicBezTo>
                  <a:pt x="258" y="350"/>
                  <a:pt x="258" y="350"/>
                  <a:pt x="258" y="350"/>
                </a:cubicBezTo>
                <a:cubicBezTo>
                  <a:pt x="259" y="352"/>
                  <a:pt x="259" y="352"/>
                  <a:pt x="259" y="352"/>
                </a:cubicBezTo>
                <a:cubicBezTo>
                  <a:pt x="259" y="355"/>
                  <a:pt x="259" y="355"/>
                  <a:pt x="259" y="355"/>
                </a:cubicBezTo>
                <a:cubicBezTo>
                  <a:pt x="258" y="357"/>
                  <a:pt x="258" y="357"/>
                  <a:pt x="258" y="357"/>
                </a:cubicBezTo>
                <a:cubicBezTo>
                  <a:pt x="259" y="358"/>
                  <a:pt x="259" y="358"/>
                  <a:pt x="259" y="358"/>
                </a:cubicBezTo>
                <a:cubicBezTo>
                  <a:pt x="259" y="361"/>
                  <a:pt x="259" y="361"/>
                  <a:pt x="259" y="361"/>
                </a:cubicBezTo>
                <a:cubicBezTo>
                  <a:pt x="259" y="362"/>
                  <a:pt x="259" y="362"/>
                  <a:pt x="259" y="362"/>
                </a:cubicBezTo>
                <a:cubicBezTo>
                  <a:pt x="255" y="366"/>
                  <a:pt x="255" y="366"/>
                  <a:pt x="255" y="366"/>
                </a:cubicBezTo>
                <a:cubicBezTo>
                  <a:pt x="253" y="366"/>
                  <a:pt x="253" y="366"/>
                  <a:pt x="253" y="366"/>
                </a:cubicBezTo>
                <a:cubicBezTo>
                  <a:pt x="252" y="366"/>
                  <a:pt x="252" y="366"/>
                  <a:pt x="252" y="366"/>
                </a:cubicBezTo>
                <a:cubicBezTo>
                  <a:pt x="253" y="367"/>
                  <a:pt x="253" y="367"/>
                  <a:pt x="253" y="367"/>
                </a:cubicBezTo>
                <a:cubicBezTo>
                  <a:pt x="255" y="367"/>
                  <a:pt x="255" y="367"/>
                  <a:pt x="255" y="367"/>
                </a:cubicBezTo>
                <a:cubicBezTo>
                  <a:pt x="259" y="365"/>
                  <a:pt x="259" y="365"/>
                  <a:pt x="259" y="365"/>
                </a:cubicBezTo>
                <a:cubicBezTo>
                  <a:pt x="264" y="364"/>
                  <a:pt x="264" y="364"/>
                  <a:pt x="264" y="364"/>
                </a:cubicBezTo>
                <a:cubicBezTo>
                  <a:pt x="266" y="363"/>
                  <a:pt x="266" y="363"/>
                  <a:pt x="266" y="363"/>
                </a:cubicBezTo>
                <a:cubicBezTo>
                  <a:pt x="269" y="365"/>
                  <a:pt x="269" y="365"/>
                  <a:pt x="269" y="365"/>
                </a:cubicBezTo>
                <a:cubicBezTo>
                  <a:pt x="271" y="367"/>
                  <a:pt x="271" y="367"/>
                  <a:pt x="271" y="367"/>
                </a:cubicBezTo>
                <a:cubicBezTo>
                  <a:pt x="273" y="368"/>
                  <a:pt x="273" y="368"/>
                  <a:pt x="273" y="368"/>
                </a:cubicBezTo>
                <a:cubicBezTo>
                  <a:pt x="274" y="368"/>
                  <a:pt x="274" y="368"/>
                  <a:pt x="274" y="368"/>
                </a:cubicBezTo>
                <a:cubicBezTo>
                  <a:pt x="275" y="369"/>
                  <a:pt x="275" y="369"/>
                  <a:pt x="275" y="369"/>
                </a:cubicBezTo>
                <a:cubicBezTo>
                  <a:pt x="277" y="371"/>
                  <a:pt x="277" y="371"/>
                  <a:pt x="277" y="371"/>
                </a:cubicBezTo>
                <a:cubicBezTo>
                  <a:pt x="278" y="371"/>
                  <a:pt x="278" y="371"/>
                  <a:pt x="278" y="371"/>
                </a:cubicBezTo>
                <a:cubicBezTo>
                  <a:pt x="279" y="373"/>
                  <a:pt x="279" y="373"/>
                  <a:pt x="279" y="373"/>
                </a:cubicBezTo>
                <a:cubicBezTo>
                  <a:pt x="280" y="374"/>
                  <a:pt x="280" y="374"/>
                  <a:pt x="280" y="374"/>
                </a:cubicBezTo>
                <a:cubicBezTo>
                  <a:pt x="280" y="375"/>
                  <a:pt x="280" y="375"/>
                  <a:pt x="280" y="375"/>
                </a:cubicBezTo>
                <a:cubicBezTo>
                  <a:pt x="281" y="376"/>
                  <a:pt x="281" y="376"/>
                  <a:pt x="281" y="376"/>
                </a:cubicBezTo>
                <a:cubicBezTo>
                  <a:pt x="282" y="378"/>
                  <a:pt x="282" y="378"/>
                  <a:pt x="282" y="378"/>
                </a:cubicBezTo>
                <a:cubicBezTo>
                  <a:pt x="282" y="378"/>
                  <a:pt x="282" y="378"/>
                  <a:pt x="282" y="378"/>
                </a:cubicBezTo>
                <a:cubicBezTo>
                  <a:pt x="283" y="378"/>
                  <a:pt x="283" y="378"/>
                  <a:pt x="283" y="378"/>
                </a:cubicBezTo>
                <a:cubicBezTo>
                  <a:pt x="283" y="379"/>
                  <a:pt x="283" y="379"/>
                  <a:pt x="283" y="379"/>
                </a:cubicBezTo>
                <a:cubicBezTo>
                  <a:pt x="286" y="380"/>
                  <a:pt x="286" y="380"/>
                  <a:pt x="286" y="380"/>
                </a:cubicBezTo>
                <a:cubicBezTo>
                  <a:pt x="287" y="381"/>
                  <a:pt x="287" y="381"/>
                  <a:pt x="287" y="381"/>
                </a:cubicBezTo>
                <a:cubicBezTo>
                  <a:pt x="289" y="382"/>
                  <a:pt x="289" y="382"/>
                  <a:pt x="289" y="382"/>
                </a:cubicBezTo>
                <a:cubicBezTo>
                  <a:pt x="290" y="382"/>
                  <a:pt x="290" y="382"/>
                  <a:pt x="290" y="382"/>
                </a:cubicBezTo>
                <a:cubicBezTo>
                  <a:pt x="292" y="384"/>
                  <a:pt x="292" y="384"/>
                  <a:pt x="292" y="384"/>
                </a:cubicBezTo>
                <a:cubicBezTo>
                  <a:pt x="292" y="385"/>
                  <a:pt x="292" y="385"/>
                  <a:pt x="292" y="385"/>
                </a:cubicBezTo>
                <a:cubicBezTo>
                  <a:pt x="294" y="387"/>
                  <a:pt x="294" y="387"/>
                  <a:pt x="294" y="387"/>
                </a:cubicBezTo>
                <a:cubicBezTo>
                  <a:pt x="293" y="387"/>
                  <a:pt x="293" y="387"/>
                  <a:pt x="293" y="387"/>
                </a:cubicBezTo>
                <a:cubicBezTo>
                  <a:pt x="294" y="388"/>
                  <a:pt x="294" y="388"/>
                  <a:pt x="294" y="388"/>
                </a:cubicBezTo>
                <a:cubicBezTo>
                  <a:pt x="296" y="388"/>
                  <a:pt x="296" y="388"/>
                  <a:pt x="296" y="388"/>
                </a:cubicBezTo>
                <a:cubicBezTo>
                  <a:pt x="296" y="388"/>
                  <a:pt x="296" y="388"/>
                  <a:pt x="296" y="388"/>
                </a:cubicBezTo>
                <a:cubicBezTo>
                  <a:pt x="298" y="388"/>
                  <a:pt x="298" y="388"/>
                  <a:pt x="298" y="388"/>
                </a:cubicBezTo>
                <a:cubicBezTo>
                  <a:pt x="301" y="388"/>
                  <a:pt x="301" y="388"/>
                  <a:pt x="301" y="388"/>
                </a:cubicBezTo>
                <a:cubicBezTo>
                  <a:pt x="301" y="388"/>
                  <a:pt x="301" y="388"/>
                  <a:pt x="301" y="388"/>
                </a:cubicBezTo>
                <a:cubicBezTo>
                  <a:pt x="302" y="388"/>
                  <a:pt x="302" y="388"/>
                  <a:pt x="302" y="388"/>
                </a:cubicBezTo>
                <a:cubicBezTo>
                  <a:pt x="304" y="389"/>
                  <a:pt x="304" y="389"/>
                  <a:pt x="304" y="389"/>
                </a:cubicBezTo>
                <a:cubicBezTo>
                  <a:pt x="306" y="389"/>
                  <a:pt x="306" y="389"/>
                  <a:pt x="306" y="389"/>
                </a:cubicBezTo>
                <a:cubicBezTo>
                  <a:pt x="307" y="389"/>
                  <a:pt x="307" y="389"/>
                  <a:pt x="307" y="389"/>
                </a:cubicBezTo>
                <a:cubicBezTo>
                  <a:pt x="308" y="389"/>
                  <a:pt x="308" y="389"/>
                  <a:pt x="308" y="389"/>
                </a:cubicBezTo>
                <a:cubicBezTo>
                  <a:pt x="308" y="389"/>
                  <a:pt x="308" y="389"/>
                  <a:pt x="308" y="389"/>
                </a:cubicBezTo>
                <a:cubicBezTo>
                  <a:pt x="309" y="389"/>
                  <a:pt x="309" y="389"/>
                  <a:pt x="309" y="389"/>
                </a:cubicBezTo>
                <a:cubicBezTo>
                  <a:pt x="309" y="389"/>
                  <a:pt x="309" y="389"/>
                  <a:pt x="309" y="389"/>
                </a:cubicBezTo>
                <a:cubicBezTo>
                  <a:pt x="309" y="391"/>
                  <a:pt x="309" y="391"/>
                  <a:pt x="309" y="391"/>
                </a:cubicBezTo>
                <a:cubicBezTo>
                  <a:pt x="308" y="394"/>
                  <a:pt x="308" y="394"/>
                  <a:pt x="308" y="394"/>
                </a:cubicBezTo>
                <a:cubicBezTo>
                  <a:pt x="308" y="395"/>
                  <a:pt x="308" y="395"/>
                  <a:pt x="308" y="395"/>
                </a:cubicBezTo>
                <a:cubicBezTo>
                  <a:pt x="307" y="396"/>
                  <a:pt x="307" y="396"/>
                  <a:pt x="307" y="396"/>
                </a:cubicBezTo>
                <a:cubicBezTo>
                  <a:pt x="306" y="398"/>
                  <a:pt x="306" y="398"/>
                  <a:pt x="306" y="398"/>
                </a:cubicBezTo>
                <a:cubicBezTo>
                  <a:pt x="306" y="399"/>
                  <a:pt x="306" y="399"/>
                  <a:pt x="306" y="399"/>
                </a:cubicBezTo>
                <a:cubicBezTo>
                  <a:pt x="307" y="400"/>
                  <a:pt x="307" y="400"/>
                  <a:pt x="307" y="400"/>
                </a:cubicBezTo>
                <a:cubicBezTo>
                  <a:pt x="307" y="402"/>
                  <a:pt x="307" y="402"/>
                  <a:pt x="307" y="402"/>
                </a:cubicBezTo>
                <a:cubicBezTo>
                  <a:pt x="305" y="405"/>
                  <a:pt x="305" y="405"/>
                  <a:pt x="305" y="405"/>
                </a:cubicBezTo>
                <a:cubicBezTo>
                  <a:pt x="305" y="406"/>
                  <a:pt x="305" y="406"/>
                  <a:pt x="305" y="406"/>
                </a:cubicBezTo>
                <a:cubicBezTo>
                  <a:pt x="305" y="408"/>
                  <a:pt x="305" y="408"/>
                  <a:pt x="305" y="408"/>
                </a:cubicBezTo>
                <a:cubicBezTo>
                  <a:pt x="303" y="409"/>
                  <a:pt x="303" y="409"/>
                  <a:pt x="303" y="409"/>
                </a:cubicBezTo>
                <a:cubicBezTo>
                  <a:pt x="303" y="411"/>
                  <a:pt x="303" y="411"/>
                  <a:pt x="303" y="411"/>
                </a:cubicBezTo>
                <a:cubicBezTo>
                  <a:pt x="303" y="412"/>
                  <a:pt x="303" y="412"/>
                  <a:pt x="303" y="412"/>
                </a:cubicBezTo>
                <a:cubicBezTo>
                  <a:pt x="304" y="413"/>
                  <a:pt x="304" y="413"/>
                  <a:pt x="304" y="413"/>
                </a:cubicBezTo>
                <a:cubicBezTo>
                  <a:pt x="304" y="415"/>
                  <a:pt x="304" y="415"/>
                  <a:pt x="304" y="415"/>
                </a:cubicBezTo>
                <a:cubicBezTo>
                  <a:pt x="305" y="415"/>
                  <a:pt x="305" y="415"/>
                  <a:pt x="305" y="415"/>
                </a:cubicBezTo>
                <a:cubicBezTo>
                  <a:pt x="306" y="416"/>
                  <a:pt x="306" y="416"/>
                  <a:pt x="306" y="416"/>
                </a:cubicBezTo>
                <a:cubicBezTo>
                  <a:pt x="306" y="417"/>
                  <a:pt x="306" y="417"/>
                  <a:pt x="306" y="417"/>
                </a:cubicBezTo>
                <a:cubicBezTo>
                  <a:pt x="306" y="418"/>
                  <a:pt x="306" y="418"/>
                  <a:pt x="306" y="418"/>
                </a:cubicBezTo>
                <a:cubicBezTo>
                  <a:pt x="306" y="419"/>
                  <a:pt x="306" y="419"/>
                  <a:pt x="306" y="419"/>
                </a:cubicBezTo>
                <a:cubicBezTo>
                  <a:pt x="307" y="419"/>
                  <a:pt x="307" y="419"/>
                  <a:pt x="307" y="419"/>
                </a:cubicBezTo>
                <a:cubicBezTo>
                  <a:pt x="309" y="420"/>
                  <a:pt x="309" y="420"/>
                  <a:pt x="309" y="420"/>
                </a:cubicBezTo>
                <a:cubicBezTo>
                  <a:pt x="309" y="420"/>
                  <a:pt x="309" y="420"/>
                  <a:pt x="309" y="420"/>
                </a:cubicBezTo>
                <a:cubicBezTo>
                  <a:pt x="309" y="421"/>
                  <a:pt x="309" y="421"/>
                  <a:pt x="309" y="421"/>
                </a:cubicBezTo>
                <a:cubicBezTo>
                  <a:pt x="310" y="422"/>
                  <a:pt x="310" y="422"/>
                  <a:pt x="310" y="422"/>
                </a:cubicBezTo>
                <a:cubicBezTo>
                  <a:pt x="310" y="424"/>
                  <a:pt x="310" y="424"/>
                  <a:pt x="310" y="424"/>
                </a:cubicBezTo>
                <a:cubicBezTo>
                  <a:pt x="310" y="425"/>
                  <a:pt x="310" y="425"/>
                  <a:pt x="310" y="425"/>
                </a:cubicBezTo>
                <a:cubicBezTo>
                  <a:pt x="310" y="426"/>
                  <a:pt x="310" y="426"/>
                  <a:pt x="310" y="426"/>
                </a:cubicBezTo>
                <a:cubicBezTo>
                  <a:pt x="308" y="429"/>
                  <a:pt x="308" y="429"/>
                  <a:pt x="308" y="429"/>
                </a:cubicBezTo>
                <a:cubicBezTo>
                  <a:pt x="309" y="428"/>
                  <a:pt x="309" y="428"/>
                  <a:pt x="309" y="428"/>
                </a:cubicBezTo>
                <a:cubicBezTo>
                  <a:pt x="311" y="427"/>
                  <a:pt x="311" y="427"/>
                  <a:pt x="311" y="427"/>
                </a:cubicBezTo>
                <a:cubicBezTo>
                  <a:pt x="313" y="427"/>
                  <a:pt x="313" y="427"/>
                  <a:pt x="313" y="427"/>
                </a:cubicBezTo>
                <a:cubicBezTo>
                  <a:pt x="314" y="428"/>
                  <a:pt x="314" y="428"/>
                  <a:pt x="314" y="428"/>
                </a:cubicBezTo>
                <a:cubicBezTo>
                  <a:pt x="315" y="428"/>
                  <a:pt x="315" y="428"/>
                  <a:pt x="315" y="428"/>
                </a:cubicBezTo>
                <a:cubicBezTo>
                  <a:pt x="315" y="427"/>
                  <a:pt x="315" y="427"/>
                  <a:pt x="315" y="427"/>
                </a:cubicBezTo>
                <a:cubicBezTo>
                  <a:pt x="315" y="426"/>
                  <a:pt x="315" y="426"/>
                  <a:pt x="315" y="426"/>
                </a:cubicBezTo>
                <a:cubicBezTo>
                  <a:pt x="317" y="423"/>
                  <a:pt x="317" y="423"/>
                  <a:pt x="317" y="423"/>
                </a:cubicBezTo>
                <a:cubicBezTo>
                  <a:pt x="318" y="423"/>
                  <a:pt x="318" y="423"/>
                  <a:pt x="318" y="423"/>
                </a:cubicBezTo>
                <a:cubicBezTo>
                  <a:pt x="317" y="424"/>
                  <a:pt x="317" y="424"/>
                  <a:pt x="317" y="424"/>
                </a:cubicBezTo>
                <a:cubicBezTo>
                  <a:pt x="318" y="425"/>
                  <a:pt x="318" y="425"/>
                  <a:pt x="318" y="425"/>
                </a:cubicBezTo>
                <a:cubicBezTo>
                  <a:pt x="318" y="425"/>
                  <a:pt x="318" y="425"/>
                  <a:pt x="318" y="425"/>
                </a:cubicBezTo>
                <a:cubicBezTo>
                  <a:pt x="319" y="428"/>
                  <a:pt x="319" y="428"/>
                  <a:pt x="319" y="428"/>
                </a:cubicBezTo>
                <a:cubicBezTo>
                  <a:pt x="318" y="429"/>
                  <a:pt x="318" y="429"/>
                  <a:pt x="318" y="429"/>
                </a:cubicBezTo>
                <a:cubicBezTo>
                  <a:pt x="320" y="430"/>
                  <a:pt x="320" y="430"/>
                  <a:pt x="320" y="430"/>
                </a:cubicBezTo>
                <a:cubicBezTo>
                  <a:pt x="322" y="431"/>
                  <a:pt x="322" y="431"/>
                  <a:pt x="322" y="431"/>
                </a:cubicBezTo>
                <a:cubicBezTo>
                  <a:pt x="321" y="430"/>
                  <a:pt x="321" y="430"/>
                  <a:pt x="321" y="430"/>
                </a:cubicBezTo>
                <a:cubicBezTo>
                  <a:pt x="320" y="429"/>
                  <a:pt x="320" y="429"/>
                  <a:pt x="320" y="429"/>
                </a:cubicBezTo>
                <a:cubicBezTo>
                  <a:pt x="319" y="427"/>
                  <a:pt x="319" y="427"/>
                  <a:pt x="319" y="427"/>
                </a:cubicBezTo>
                <a:cubicBezTo>
                  <a:pt x="320" y="425"/>
                  <a:pt x="320" y="425"/>
                  <a:pt x="320" y="425"/>
                </a:cubicBezTo>
                <a:cubicBezTo>
                  <a:pt x="320" y="424"/>
                  <a:pt x="320" y="424"/>
                  <a:pt x="320" y="424"/>
                </a:cubicBezTo>
                <a:cubicBezTo>
                  <a:pt x="320" y="424"/>
                  <a:pt x="320" y="424"/>
                  <a:pt x="320" y="424"/>
                </a:cubicBezTo>
                <a:cubicBezTo>
                  <a:pt x="320" y="422"/>
                  <a:pt x="320" y="422"/>
                  <a:pt x="320" y="422"/>
                </a:cubicBezTo>
                <a:cubicBezTo>
                  <a:pt x="320" y="423"/>
                  <a:pt x="320" y="423"/>
                  <a:pt x="320" y="423"/>
                </a:cubicBezTo>
                <a:cubicBezTo>
                  <a:pt x="321" y="423"/>
                  <a:pt x="321" y="423"/>
                  <a:pt x="321" y="423"/>
                </a:cubicBezTo>
                <a:cubicBezTo>
                  <a:pt x="321" y="421"/>
                  <a:pt x="321" y="421"/>
                  <a:pt x="321" y="421"/>
                </a:cubicBezTo>
                <a:cubicBezTo>
                  <a:pt x="323" y="419"/>
                  <a:pt x="323" y="419"/>
                  <a:pt x="323" y="419"/>
                </a:cubicBezTo>
                <a:cubicBezTo>
                  <a:pt x="322" y="419"/>
                  <a:pt x="322" y="419"/>
                  <a:pt x="322" y="419"/>
                </a:cubicBezTo>
                <a:cubicBezTo>
                  <a:pt x="322" y="417"/>
                  <a:pt x="322" y="417"/>
                  <a:pt x="322" y="417"/>
                </a:cubicBezTo>
                <a:cubicBezTo>
                  <a:pt x="322" y="416"/>
                  <a:pt x="322" y="416"/>
                  <a:pt x="322" y="416"/>
                </a:cubicBezTo>
                <a:cubicBezTo>
                  <a:pt x="322" y="415"/>
                  <a:pt x="322" y="415"/>
                  <a:pt x="322" y="415"/>
                </a:cubicBezTo>
                <a:cubicBezTo>
                  <a:pt x="323" y="414"/>
                  <a:pt x="323" y="414"/>
                  <a:pt x="323" y="414"/>
                </a:cubicBezTo>
                <a:cubicBezTo>
                  <a:pt x="322" y="413"/>
                  <a:pt x="322" y="413"/>
                  <a:pt x="322" y="413"/>
                </a:cubicBezTo>
                <a:cubicBezTo>
                  <a:pt x="322" y="412"/>
                  <a:pt x="322" y="412"/>
                  <a:pt x="322" y="412"/>
                </a:cubicBezTo>
                <a:cubicBezTo>
                  <a:pt x="322" y="412"/>
                  <a:pt x="322" y="412"/>
                  <a:pt x="322" y="412"/>
                </a:cubicBezTo>
                <a:cubicBezTo>
                  <a:pt x="321" y="411"/>
                  <a:pt x="321" y="411"/>
                  <a:pt x="321" y="411"/>
                </a:cubicBezTo>
                <a:cubicBezTo>
                  <a:pt x="322" y="408"/>
                  <a:pt x="322" y="408"/>
                  <a:pt x="322" y="408"/>
                </a:cubicBezTo>
                <a:cubicBezTo>
                  <a:pt x="322" y="407"/>
                  <a:pt x="322" y="407"/>
                  <a:pt x="322" y="407"/>
                </a:cubicBezTo>
                <a:cubicBezTo>
                  <a:pt x="322" y="405"/>
                  <a:pt x="322" y="405"/>
                  <a:pt x="322" y="405"/>
                </a:cubicBezTo>
                <a:cubicBezTo>
                  <a:pt x="323" y="404"/>
                  <a:pt x="323" y="404"/>
                  <a:pt x="323" y="404"/>
                </a:cubicBezTo>
                <a:cubicBezTo>
                  <a:pt x="323" y="403"/>
                  <a:pt x="323" y="403"/>
                  <a:pt x="323" y="403"/>
                </a:cubicBezTo>
                <a:cubicBezTo>
                  <a:pt x="323" y="403"/>
                  <a:pt x="323" y="403"/>
                  <a:pt x="323" y="403"/>
                </a:cubicBezTo>
                <a:cubicBezTo>
                  <a:pt x="323" y="402"/>
                  <a:pt x="323" y="402"/>
                  <a:pt x="323" y="402"/>
                </a:cubicBezTo>
                <a:cubicBezTo>
                  <a:pt x="324" y="401"/>
                  <a:pt x="324" y="401"/>
                  <a:pt x="324" y="401"/>
                </a:cubicBezTo>
                <a:cubicBezTo>
                  <a:pt x="323" y="401"/>
                  <a:pt x="323" y="401"/>
                  <a:pt x="323" y="401"/>
                </a:cubicBezTo>
                <a:cubicBezTo>
                  <a:pt x="323" y="400"/>
                  <a:pt x="323" y="400"/>
                  <a:pt x="323" y="400"/>
                </a:cubicBezTo>
                <a:cubicBezTo>
                  <a:pt x="323" y="400"/>
                  <a:pt x="323" y="400"/>
                  <a:pt x="323" y="400"/>
                </a:cubicBezTo>
                <a:cubicBezTo>
                  <a:pt x="323" y="399"/>
                  <a:pt x="323" y="399"/>
                  <a:pt x="323" y="399"/>
                </a:cubicBezTo>
                <a:cubicBezTo>
                  <a:pt x="323" y="398"/>
                  <a:pt x="323" y="398"/>
                  <a:pt x="323" y="398"/>
                </a:cubicBezTo>
                <a:cubicBezTo>
                  <a:pt x="322" y="397"/>
                  <a:pt x="322" y="397"/>
                  <a:pt x="322" y="397"/>
                </a:cubicBezTo>
                <a:cubicBezTo>
                  <a:pt x="322" y="395"/>
                  <a:pt x="322" y="395"/>
                  <a:pt x="322" y="395"/>
                </a:cubicBezTo>
                <a:cubicBezTo>
                  <a:pt x="322" y="395"/>
                  <a:pt x="322" y="395"/>
                  <a:pt x="322" y="395"/>
                </a:cubicBezTo>
                <a:cubicBezTo>
                  <a:pt x="323" y="394"/>
                  <a:pt x="323" y="394"/>
                  <a:pt x="323" y="394"/>
                </a:cubicBezTo>
                <a:cubicBezTo>
                  <a:pt x="326" y="394"/>
                  <a:pt x="326" y="394"/>
                  <a:pt x="326" y="394"/>
                </a:cubicBezTo>
                <a:cubicBezTo>
                  <a:pt x="327" y="393"/>
                  <a:pt x="327" y="393"/>
                  <a:pt x="327" y="393"/>
                </a:cubicBezTo>
                <a:cubicBezTo>
                  <a:pt x="329" y="393"/>
                  <a:pt x="329" y="393"/>
                  <a:pt x="329" y="393"/>
                </a:cubicBezTo>
                <a:cubicBezTo>
                  <a:pt x="329" y="392"/>
                  <a:pt x="329" y="392"/>
                  <a:pt x="329" y="392"/>
                </a:cubicBezTo>
                <a:cubicBezTo>
                  <a:pt x="332" y="391"/>
                  <a:pt x="332" y="391"/>
                  <a:pt x="332" y="391"/>
                </a:cubicBezTo>
                <a:cubicBezTo>
                  <a:pt x="336" y="389"/>
                  <a:pt x="336" y="389"/>
                  <a:pt x="336" y="389"/>
                </a:cubicBezTo>
                <a:cubicBezTo>
                  <a:pt x="336" y="389"/>
                  <a:pt x="336" y="389"/>
                  <a:pt x="336" y="389"/>
                </a:cubicBezTo>
                <a:cubicBezTo>
                  <a:pt x="336" y="388"/>
                  <a:pt x="336" y="388"/>
                  <a:pt x="336" y="388"/>
                </a:cubicBezTo>
                <a:cubicBezTo>
                  <a:pt x="339" y="387"/>
                  <a:pt x="339" y="387"/>
                  <a:pt x="339" y="387"/>
                </a:cubicBezTo>
                <a:cubicBezTo>
                  <a:pt x="340" y="386"/>
                  <a:pt x="340" y="386"/>
                  <a:pt x="340" y="386"/>
                </a:cubicBezTo>
                <a:cubicBezTo>
                  <a:pt x="341" y="385"/>
                  <a:pt x="341" y="385"/>
                  <a:pt x="341" y="385"/>
                </a:cubicBezTo>
                <a:cubicBezTo>
                  <a:pt x="343" y="382"/>
                  <a:pt x="343" y="382"/>
                  <a:pt x="343" y="382"/>
                </a:cubicBezTo>
                <a:cubicBezTo>
                  <a:pt x="344" y="383"/>
                  <a:pt x="344" y="383"/>
                  <a:pt x="344" y="383"/>
                </a:cubicBezTo>
                <a:cubicBezTo>
                  <a:pt x="344" y="383"/>
                  <a:pt x="344" y="383"/>
                  <a:pt x="344" y="383"/>
                </a:cubicBezTo>
                <a:cubicBezTo>
                  <a:pt x="345" y="383"/>
                  <a:pt x="345" y="383"/>
                  <a:pt x="345" y="383"/>
                </a:cubicBezTo>
                <a:cubicBezTo>
                  <a:pt x="346" y="382"/>
                  <a:pt x="346" y="382"/>
                  <a:pt x="346" y="382"/>
                </a:cubicBezTo>
                <a:cubicBezTo>
                  <a:pt x="345" y="381"/>
                  <a:pt x="345" y="381"/>
                  <a:pt x="345" y="381"/>
                </a:cubicBezTo>
                <a:cubicBezTo>
                  <a:pt x="345" y="379"/>
                  <a:pt x="345" y="379"/>
                  <a:pt x="345" y="379"/>
                </a:cubicBezTo>
                <a:cubicBezTo>
                  <a:pt x="344" y="380"/>
                  <a:pt x="344" y="380"/>
                  <a:pt x="344" y="380"/>
                </a:cubicBezTo>
                <a:cubicBezTo>
                  <a:pt x="344" y="381"/>
                  <a:pt x="344" y="381"/>
                  <a:pt x="344" y="381"/>
                </a:cubicBezTo>
                <a:cubicBezTo>
                  <a:pt x="344" y="381"/>
                  <a:pt x="344" y="381"/>
                  <a:pt x="344" y="381"/>
                </a:cubicBezTo>
                <a:cubicBezTo>
                  <a:pt x="344" y="379"/>
                  <a:pt x="344" y="379"/>
                  <a:pt x="344" y="379"/>
                </a:cubicBezTo>
                <a:cubicBezTo>
                  <a:pt x="345" y="376"/>
                  <a:pt x="345" y="376"/>
                  <a:pt x="345" y="376"/>
                </a:cubicBezTo>
                <a:cubicBezTo>
                  <a:pt x="346" y="376"/>
                  <a:pt x="346" y="376"/>
                  <a:pt x="346" y="376"/>
                </a:cubicBezTo>
                <a:cubicBezTo>
                  <a:pt x="346" y="374"/>
                  <a:pt x="346" y="374"/>
                  <a:pt x="346" y="374"/>
                </a:cubicBezTo>
                <a:cubicBezTo>
                  <a:pt x="346" y="372"/>
                  <a:pt x="346" y="372"/>
                  <a:pt x="346" y="372"/>
                </a:cubicBezTo>
                <a:cubicBezTo>
                  <a:pt x="345" y="370"/>
                  <a:pt x="345" y="370"/>
                  <a:pt x="345" y="370"/>
                </a:cubicBezTo>
                <a:cubicBezTo>
                  <a:pt x="345" y="366"/>
                  <a:pt x="345" y="366"/>
                  <a:pt x="345" y="366"/>
                </a:cubicBezTo>
                <a:cubicBezTo>
                  <a:pt x="345" y="363"/>
                  <a:pt x="345" y="363"/>
                  <a:pt x="345" y="363"/>
                </a:cubicBezTo>
                <a:cubicBezTo>
                  <a:pt x="343" y="360"/>
                  <a:pt x="343" y="360"/>
                  <a:pt x="343" y="360"/>
                </a:cubicBezTo>
                <a:cubicBezTo>
                  <a:pt x="341" y="359"/>
                  <a:pt x="341" y="359"/>
                  <a:pt x="341" y="359"/>
                </a:cubicBezTo>
                <a:cubicBezTo>
                  <a:pt x="341" y="358"/>
                  <a:pt x="341" y="358"/>
                  <a:pt x="341" y="358"/>
                </a:cubicBezTo>
                <a:cubicBezTo>
                  <a:pt x="340" y="358"/>
                  <a:pt x="340" y="358"/>
                  <a:pt x="340" y="358"/>
                </a:cubicBezTo>
                <a:cubicBezTo>
                  <a:pt x="339" y="357"/>
                  <a:pt x="339" y="357"/>
                  <a:pt x="339" y="357"/>
                </a:cubicBezTo>
                <a:cubicBezTo>
                  <a:pt x="340" y="354"/>
                  <a:pt x="340" y="354"/>
                  <a:pt x="340" y="354"/>
                </a:cubicBezTo>
                <a:cubicBezTo>
                  <a:pt x="341" y="354"/>
                  <a:pt x="341" y="354"/>
                  <a:pt x="341" y="354"/>
                </a:cubicBezTo>
                <a:cubicBezTo>
                  <a:pt x="345" y="350"/>
                  <a:pt x="345" y="350"/>
                  <a:pt x="345" y="350"/>
                </a:cubicBezTo>
                <a:cubicBezTo>
                  <a:pt x="346" y="350"/>
                  <a:pt x="346" y="350"/>
                  <a:pt x="346" y="350"/>
                </a:cubicBezTo>
                <a:cubicBezTo>
                  <a:pt x="346" y="349"/>
                  <a:pt x="346" y="349"/>
                  <a:pt x="346" y="349"/>
                </a:cubicBezTo>
                <a:cubicBezTo>
                  <a:pt x="346" y="348"/>
                  <a:pt x="346" y="348"/>
                  <a:pt x="346" y="348"/>
                </a:cubicBezTo>
                <a:cubicBezTo>
                  <a:pt x="346" y="348"/>
                  <a:pt x="346" y="348"/>
                  <a:pt x="346" y="348"/>
                </a:cubicBezTo>
                <a:cubicBezTo>
                  <a:pt x="346" y="347"/>
                  <a:pt x="346" y="347"/>
                  <a:pt x="346" y="347"/>
                </a:cubicBezTo>
                <a:cubicBezTo>
                  <a:pt x="347" y="346"/>
                  <a:pt x="347" y="346"/>
                  <a:pt x="347" y="346"/>
                </a:cubicBezTo>
                <a:cubicBezTo>
                  <a:pt x="348" y="346"/>
                  <a:pt x="348" y="346"/>
                  <a:pt x="348" y="346"/>
                </a:cubicBezTo>
                <a:cubicBezTo>
                  <a:pt x="349" y="347"/>
                  <a:pt x="349" y="347"/>
                  <a:pt x="349" y="347"/>
                </a:cubicBezTo>
                <a:cubicBezTo>
                  <a:pt x="349" y="348"/>
                  <a:pt x="349" y="348"/>
                  <a:pt x="349" y="348"/>
                </a:cubicBezTo>
                <a:cubicBezTo>
                  <a:pt x="349" y="347"/>
                  <a:pt x="349" y="347"/>
                  <a:pt x="349" y="347"/>
                </a:cubicBezTo>
                <a:cubicBezTo>
                  <a:pt x="349" y="346"/>
                  <a:pt x="349" y="346"/>
                  <a:pt x="349" y="346"/>
                </a:cubicBezTo>
                <a:cubicBezTo>
                  <a:pt x="350" y="345"/>
                  <a:pt x="350" y="345"/>
                  <a:pt x="350" y="345"/>
                </a:cubicBezTo>
                <a:cubicBezTo>
                  <a:pt x="352" y="343"/>
                  <a:pt x="352" y="343"/>
                  <a:pt x="352" y="343"/>
                </a:cubicBezTo>
                <a:cubicBezTo>
                  <a:pt x="351" y="342"/>
                  <a:pt x="351" y="342"/>
                  <a:pt x="351" y="342"/>
                </a:cubicBezTo>
                <a:cubicBezTo>
                  <a:pt x="350" y="342"/>
                  <a:pt x="350" y="342"/>
                  <a:pt x="350" y="342"/>
                </a:cubicBezTo>
                <a:cubicBezTo>
                  <a:pt x="350" y="341"/>
                  <a:pt x="350" y="341"/>
                  <a:pt x="350" y="341"/>
                </a:cubicBezTo>
                <a:cubicBezTo>
                  <a:pt x="351" y="340"/>
                  <a:pt x="351" y="340"/>
                  <a:pt x="351" y="340"/>
                </a:cubicBezTo>
                <a:cubicBezTo>
                  <a:pt x="350" y="339"/>
                  <a:pt x="350" y="339"/>
                  <a:pt x="350" y="339"/>
                </a:cubicBezTo>
                <a:cubicBezTo>
                  <a:pt x="350" y="338"/>
                  <a:pt x="350" y="338"/>
                  <a:pt x="350" y="338"/>
                </a:cubicBezTo>
                <a:cubicBezTo>
                  <a:pt x="351" y="337"/>
                  <a:pt x="351" y="337"/>
                  <a:pt x="351" y="337"/>
                </a:cubicBezTo>
                <a:cubicBezTo>
                  <a:pt x="352" y="337"/>
                  <a:pt x="352" y="337"/>
                  <a:pt x="352" y="337"/>
                </a:cubicBezTo>
                <a:cubicBezTo>
                  <a:pt x="350" y="337"/>
                  <a:pt x="350" y="337"/>
                  <a:pt x="350" y="337"/>
                </a:cubicBezTo>
                <a:cubicBezTo>
                  <a:pt x="350" y="336"/>
                  <a:pt x="350" y="336"/>
                  <a:pt x="350" y="336"/>
                </a:cubicBezTo>
                <a:cubicBezTo>
                  <a:pt x="351" y="334"/>
                  <a:pt x="351" y="334"/>
                  <a:pt x="351" y="334"/>
                </a:cubicBezTo>
                <a:cubicBezTo>
                  <a:pt x="352" y="334"/>
                  <a:pt x="352" y="334"/>
                  <a:pt x="352" y="334"/>
                </a:cubicBezTo>
                <a:cubicBezTo>
                  <a:pt x="351" y="333"/>
                  <a:pt x="351" y="333"/>
                  <a:pt x="351" y="333"/>
                </a:cubicBezTo>
                <a:cubicBezTo>
                  <a:pt x="349" y="334"/>
                  <a:pt x="349" y="334"/>
                  <a:pt x="349" y="334"/>
                </a:cubicBezTo>
                <a:cubicBezTo>
                  <a:pt x="348" y="333"/>
                  <a:pt x="348" y="333"/>
                  <a:pt x="348" y="333"/>
                </a:cubicBezTo>
                <a:cubicBezTo>
                  <a:pt x="348" y="332"/>
                  <a:pt x="348" y="332"/>
                  <a:pt x="348" y="332"/>
                </a:cubicBezTo>
                <a:cubicBezTo>
                  <a:pt x="351" y="330"/>
                  <a:pt x="351" y="330"/>
                  <a:pt x="351" y="330"/>
                </a:cubicBezTo>
                <a:cubicBezTo>
                  <a:pt x="353" y="328"/>
                  <a:pt x="353" y="328"/>
                  <a:pt x="353" y="328"/>
                </a:cubicBezTo>
                <a:cubicBezTo>
                  <a:pt x="353" y="326"/>
                  <a:pt x="353" y="326"/>
                  <a:pt x="353" y="326"/>
                </a:cubicBezTo>
                <a:cubicBezTo>
                  <a:pt x="354" y="327"/>
                  <a:pt x="354" y="327"/>
                  <a:pt x="354" y="327"/>
                </a:cubicBezTo>
                <a:cubicBezTo>
                  <a:pt x="354" y="326"/>
                  <a:pt x="354" y="326"/>
                  <a:pt x="354" y="326"/>
                </a:cubicBezTo>
                <a:cubicBezTo>
                  <a:pt x="354" y="324"/>
                  <a:pt x="354" y="324"/>
                  <a:pt x="354" y="324"/>
                </a:cubicBezTo>
                <a:cubicBezTo>
                  <a:pt x="354" y="324"/>
                  <a:pt x="354" y="324"/>
                  <a:pt x="354" y="324"/>
                </a:cubicBezTo>
                <a:cubicBezTo>
                  <a:pt x="354" y="324"/>
                  <a:pt x="354" y="324"/>
                  <a:pt x="354" y="324"/>
                </a:cubicBezTo>
                <a:cubicBezTo>
                  <a:pt x="353" y="324"/>
                  <a:pt x="353" y="324"/>
                  <a:pt x="353" y="324"/>
                </a:cubicBezTo>
                <a:cubicBezTo>
                  <a:pt x="352" y="322"/>
                  <a:pt x="352" y="322"/>
                  <a:pt x="352" y="322"/>
                </a:cubicBezTo>
                <a:cubicBezTo>
                  <a:pt x="352" y="320"/>
                  <a:pt x="352" y="320"/>
                  <a:pt x="352" y="320"/>
                </a:cubicBezTo>
                <a:cubicBezTo>
                  <a:pt x="353" y="318"/>
                  <a:pt x="353" y="318"/>
                  <a:pt x="353" y="318"/>
                </a:cubicBezTo>
                <a:cubicBezTo>
                  <a:pt x="353" y="316"/>
                  <a:pt x="353" y="316"/>
                  <a:pt x="353" y="316"/>
                </a:cubicBezTo>
                <a:cubicBezTo>
                  <a:pt x="354" y="316"/>
                  <a:pt x="354" y="316"/>
                  <a:pt x="354" y="316"/>
                </a:cubicBezTo>
                <a:cubicBezTo>
                  <a:pt x="355" y="316"/>
                  <a:pt x="355" y="316"/>
                  <a:pt x="355" y="316"/>
                </a:cubicBezTo>
                <a:cubicBezTo>
                  <a:pt x="355" y="316"/>
                  <a:pt x="355" y="316"/>
                  <a:pt x="355" y="316"/>
                </a:cubicBezTo>
                <a:cubicBezTo>
                  <a:pt x="355" y="315"/>
                  <a:pt x="355" y="315"/>
                  <a:pt x="355" y="315"/>
                </a:cubicBezTo>
                <a:cubicBezTo>
                  <a:pt x="356" y="315"/>
                  <a:pt x="356" y="315"/>
                  <a:pt x="356" y="315"/>
                </a:cubicBezTo>
                <a:cubicBezTo>
                  <a:pt x="357" y="315"/>
                  <a:pt x="357" y="315"/>
                  <a:pt x="357" y="315"/>
                </a:cubicBezTo>
                <a:cubicBezTo>
                  <a:pt x="358" y="314"/>
                  <a:pt x="358" y="314"/>
                  <a:pt x="358" y="314"/>
                </a:cubicBezTo>
                <a:cubicBezTo>
                  <a:pt x="359" y="315"/>
                  <a:pt x="359" y="315"/>
                  <a:pt x="359" y="315"/>
                </a:cubicBezTo>
                <a:cubicBezTo>
                  <a:pt x="361" y="315"/>
                  <a:pt x="361" y="315"/>
                  <a:pt x="361" y="315"/>
                </a:cubicBezTo>
                <a:cubicBezTo>
                  <a:pt x="363" y="316"/>
                  <a:pt x="363" y="316"/>
                  <a:pt x="363" y="316"/>
                </a:cubicBezTo>
                <a:cubicBezTo>
                  <a:pt x="366" y="318"/>
                  <a:pt x="366" y="318"/>
                  <a:pt x="366" y="318"/>
                </a:cubicBezTo>
                <a:cubicBezTo>
                  <a:pt x="367" y="318"/>
                  <a:pt x="367" y="318"/>
                  <a:pt x="367" y="318"/>
                </a:cubicBezTo>
                <a:cubicBezTo>
                  <a:pt x="367" y="319"/>
                  <a:pt x="367" y="319"/>
                  <a:pt x="367" y="319"/>
                </a:cubicBezTo>
                <a:cubicBezTo>
                  <a:pt x="365" y="319"/>
                  <a:pt x="365" y="319"/>
                  <a:pt x="365" y="319"/>
                </a:cubicBezTo>
                <a:cubicBezTo>
                  <a:pt x="367" y="319"/>
                  <a:pt x="367" y="319"/>
                  <a:pt x="367" y="319"/>
                </a:cubicBezTo>
                <a:cubicBezTo>
                  <a:pt x="369" y="318"/>
                  <a:pt x="369" y="318"/>
                  <a:pt x="369" y="318"/>
                </a:cubicBezTo>
                <a:cubicBezTo>
                  <a:pt x="370" y="318"/>
                  <a:pt x="370" y="318"/>
                  <a:pt x="370" y="318"/>
                </a:cubicBezTo>
                <a:cubicBezTo>
                  <a:pt x="371" y="319"/>
                  <a:pt x="371" y="319"/>
                  <a:pt x="371" y="319"/>
                </a:cubicBezTo>
                <a:cubicBezTo>
                  <a:pt x="372" y="319"/>
                  <a:pt x="372" y="319"/>
                  <a:pt x="372" y="319"/>
                </a:cubicBezTo>
                <a:cubicBezTo>
                  <a:pt x="373" y="320"/>
                  <a:pt x="373" y="320"/>
                  <a:pt x="373" y="320"/>
                </a:cubicBezTo>
                <a:cubicBezTo>
                  <a:pt x="373" y="319"/>
                  <a:pt x="373" y="319"/>
                  <a:pt x="373" y="319"/>
                </a:cubicBezTo>
                <a:cubicBezTo>
                  <a:pt x="374" y="319"/>
                  <a:pt x="374" y="319"/>
                  <a:pt x="374" y="319"/>
                </a:cubicBezTo>
                <a:cubicBezTo>
                  <a:pt x="375" y="319"/>
                  <a:pt x="375" y="319"/>
                  <a:pt x="375" y="319"/>
                </a:cubicBezTo>
                <a:cubicBezTo>
                  <a:pt x="376" y="319"/>
                  <a:pt x="376" y="319"/>
                  <a:pt x="376" y="319"/>
                </a:cubicBezTo>
                <a:cubicBezTo>
                  <a:pt x="377" y="318"/>
                  <a:pt x="377" y="318"/>
                  <a:pt x="377" y="318"/>
                </a:cubicBezTo>
                <a:cubicBezTo>
                  <a:pt x="379" y="319"/>
                  <a:pt x="379" y="319"/>
                  <a:pt x="379" y="319"/>
                </a:cubicBezTo>
                <a:cubicBezTo>
                  <a:pt x="379" y="321"/>
                  <a:pt x="379" y="321"/>
                  <a:pt x="379" y="321"/>
                </a:cubicBezTo>
                <a:cubicBezTo>
                  <a:pt x="381" y="322"/>
                  <a:pt x="381" y="322"/>
                  <a:pt x="381" y="322"/>
                </a:cubicBezTo>
                <a:cubicBezTo>
                  <a:pt x="382" y="322"/>
                  <a:pt x="382" y="322"/>
                  <a:pt x="382" y="322"/>
                </a:cubicBezTo>
                <a:cubicBezTo>
                  <a:pt x="382" y="324"/>
                  <a:pt x="382" y="324"/>
                  <a:pt x="382" y="324"/>
                </a:cubicBezTo>
                <a:cubicBezTo>
                  <a:pt x="381" y="325"/>
                  <a:pt x="381" y="325"/>
                  <a:pt x="381" y="325"/>
                </a:cubicBezTo>
                <a:cubicBezTo>
                  <a:pt x="381" y="326"/>
                  <a:pt x="381" y="326"/>
                  <a:pt x="381" y="326"/>
                </a:cubicBezTo>
                <a:cubicBezTo>
                  <a:pt x="382" y="325"/>
                  <a:pt x="382" y="325"/>
                  <a:pt x="382" y="325"/>
                </a:cubicBezTo>
                <a:cubicBezTo>
                  <a:pt x="383" y="326"/>
                  <a:pt x="383" y="326"/>
                  <a:pt x="383" y="326"/>
                </a:cubicBezTo>
                <a:cubicBezTo>
                  <a:pt x="384" y="328"/>
                  <a:pt x="384" y="328"/>
                  <a:pt x="384" y="328"/>
                </a:cubicBezTo>
                <a:cubicBezTo>
                  <a:pt x="383" y="328"/>
                  <a:pt x="383" y="328"/>
                  <a:pt x="383" y="328"/>
                </a:cubicBezTo>
                <a:cubicBezTo>
                  <a:pt x="384" y="329"/>
                  <a:pt x="384" y="329"/>
                  <a:pt x="384" y="329"/>
                </a:cubicBezTo>
                <a:cubicBezTo>
                  <a:pt x="385" y="328"/>
                  <a:pt x="385" y="328"/>
                  <a:pt x="385" y="328"/>
                </a:cubicBezTo>
                <a:cubicBezTo>
                  <a:pt x="386" y="329"/>
                  <a:pt x="386" y="329"/>
                  <a:pt x="386" y="329"/>
                </a:cubicBezTo>
                <a:cubicBezTo>
                  <a:pt x="386" y="330"/>
                  <a:pt x="386" y="330"/>
                  <a:pt x="386" y="330"/>
                </a:cubicBezTo>
                <a:cubicBezTo>
                  <a:pt x="385" y="329"/>
                  <a:pt x="385" y="329"/>
                  <a:pt x="385" y="329"/>
                </a:cubicBezTo>
                <a:cubicBezTo>
                  <a:pt x="384" y="331"/>
                  <a:pt x="384" y="331"/>
                  <a:pt x="384" y="331"/>
                </a:cubicBezTo>
                <a:cubicBezTo>
                  <a:pt x="383" y="331"/>
                  <a:pt x="383" y="331"/>
                  <a:pt x="383" y="331"/>
                </a:cubicBezTo>
                <a:cubicBezTo>
                  <a:pt x="385" y="332"/>
                  <a:pt x="385" y="332"/>
                  <a:pt x="385" y="332"/>
                </a:cubicBezTo>
                <a:cubicBezTo>
                  <a:pt x="385" y="333"/>
                  <a:pt x="385" y="333"/>
                  <a:pt x="385" y="333"/>
                </a:cubicBezTo>
                <a:cubicBezTo>
                  <a:pt x="386" y="332"/>
                  <a:pt x="386" y="332"/>
                  <a:pt x="386" y="332"/>
                </a:cubicBezTo>
                <a:cubicBezTo>
                  <a:pt x="386" y="333"/>
                  <a:pt x="386" y="333"/>
                  <a:pt x="386" y="333"/>
                </a:cubicBezTo>
                <a:cubicBezTo>
                  <a:pt x="387" y="333"/>
                  <a:pt x="387" y="333"/>
                  <a:pt x="387" y="333"/>
                </a:cubicBezTo>
                <a:cubicBezTo>
                  <a:pt x="389" y="334"/>
                  <a:pt x="389" y="334"/>
                  <a:pt x="389" y="334"/>
                </a:cubicBezTo>
                <a:cubicBezTo>
                  <a:pt x="390" y="334"/>
                  <a:pt x="390" y="334"/>
                  <a:pt x="390" y="334"/>
                </a:cubicBezTo>
                <a:cubicBezTo>
                  <a:pt x="390" y="335"/>
                  <a:pt x="390" y="335"/>
                  <a:pt x="390" y="335"/>
                </a:cubicBezTo>
                <a:cubicBezTo>
                  <a:pt x="391" y="334"/>
                  <a:pt x="391" y="334"/>
                  <a:pt x="391" y="334"/>
                </a:cubicBezTo>
                <a:cubicBezTo>
                  <a:pt x="393" y="335"/>
                  <a:pt x="393" y="335"/>
                  <a:pt x="393" y="335"/>
                </a:cubicBezTo>
                <a:cubicBezTo>
                  <a:pt x="393" y="337"/>
                  <a:pt x="393" y="337"/>
                  <a:pt x="393" y="337"/>
                </a:cubicBezTo>
                <a:cubicBezTo>
                  <a:pt x="393" y="338"/>
                  <a:pt x="393" y="338"/>
                  <a:pt x="393" y="338"/>
                </a:cubicBezTo>
                <a:cubicBezTo>
                  <a:pt x="395" y="337"/>
                  <a:pt x="395" y="337"/>
                  <a:pt x="395" y="337"/>
                </a:cubicBezTo>
                <a:cubicBezTo>
                  <a:pt x="395" y="335"/>
                  <a:pt x="395" y="335"/>
                  <a:pt x="395" y="335"/>
                </a:cubicBezTo>
                <a:cubicBezTo>
                  <a:pt x="396" y="335"/>
                  <a:pt x="396" y="335"/>
                  <a:pt x="396" y="335"/>
                </a:cubicBezTo>
                <a:cubicBezTo>
                  <a:pt x="396" y="337"/>
                  <a:pt x="396" y="337"/>
                  <a:pt x="396" y="337"/>
                </a:cubicBezTo>
                <a:cubicBezTo>
                  <a:pt x="396" y="339"/>
                  <a:pt x="396" y="339"/>
                  <a:pt x="396" y="339"/>
                </a:cubicBezTo>
                <a:cubicBezTo>
                  <a:pt x="394" y="339"/>
                  <a:pt x="394" y="339"/>
                  <a:pt x="394" y="339"/>
                </a:cubicBezTo>
                <a:cubicBezTo>
                  <a:pt x="393" y="341"/>
                  <a:pt x="393" y="341"/>
                  <a:pt x="393" y="341"/>
                </a:cubicBezTo>
                <a:cubicBezTo>
                  <a:pt x="393" y="344"/>
                  <a:pt x="393" y="344"/>
                  <a:pt x="393" y="344"/>
                </a:cubicBezTo>
                <a:cubicBezTo>
                  <a:pt x="393" y="345"/>
                  <a:pt x="393" y="345"/>
                  <a:pt x="393" y="345"/>
                </a:cubicBezTo>
                <a:cubicBezTo>
                  <a:pt x="393" y="344"/>
                  <a:pt x="393" y="344"/>
                  <a:pt x="393" y="344"/>
                </a:cubicBezTo>
                <a:cubicBezTo>
                  <a:pt x="392" y="345"/>
                  <a:pt x="392" y="345"/>
                  <a:pt x="392" y="345"/>
                </a:cubicBezTo>
                <a:cubicBezTo>
                  <a:pt x="392" y="346"/>
                  <a:pt x="392" y="346"/>
                  <a:pt x="392" y="346"/>
                </a:cubicBezTo>
                <a:cubicBezTo>
                  <a:pt x="389" y="346"/>
                  <a:pt x="389" y="346"/>
                  <a:pt x="389" y="346"/>
                </a:cubicBezTo>
                <a:cubicBezTo>
                  <a:pt x="386" y="345"/>
                  <a:pt x="386" y="345"/>
                  <a:pt x="386" y="345"/>
                </a:cubicBezTo>
                <a:cubicBezTo>
                  <a:pt x="389" y="347"/>
                  <a:pt x="389" y="347"/>
                  <a:pt x="389" y="347"/>
                </a:cubicBezTo>
                <a:cubicBezTo>
                  <a:pt x="391" y="347"/>
                  <a:pt x="391" y="347"/>
                  <a:pt x="391" y="347"/>
                </a:cubicBezTo>
                <a:cubicBezTo>
                  <a:pt x="393" y="348"/>
                  <a:pt x="393" y="348"/>
                  <a:pt x="393" y="348"/>
                </a:cubicBezTo>
                <a:cubicBezTo>
                  <a:pt x="392" y="351"/>
                  <a:pt x="392" y="351"/>
                  <a:pt x="392" y="351"/>
                </a:cubicBezTo>
                <a:cubicBezTo>
                  <a:pt x="391" y="352"/>
                  <a:pt x="391" y="352"/>
                  <a:pt x="391" y="352"/>
                </a:cubicBezTo>
                <a:cubicBezTo>
                  <a:pt x="391" y="353"/>
                  <a:pt x="391" y="353"/>
                  <a:pt x="391" y="353"/>
                </a:cubicBezTo>
                <a:cubicBezTo>
                  <a:pt x="390" y="355"/>
                  <a:pt x="390" y="355"/>
                  <a:pt x="390" y="355"/>
                </a:cubicBezTo>
                <a:cubicBezTo>
                  <a:pt x="390" y="355"/>
                  <a:pt x="390" y="355"/>
                  <a:pt x="390" y="355"/>
                </a:cubicBezTo>
                <a:cubicBezTo>
                  <a:pt x="392" y="357"/>
                  <a:pt x="392" y="357"/>
                  <a:pt x="392" y="357"/>
                </a:cubicBezTo>
                <a:cubicBezTo>
                  <a:pt x="393" y="358"/>
                  <a:pt x="393" y="358"/>
                  <a:pt x="393" y="358"/>
                </a:cubicBezTo>
                <a:cubicBezTo>
                  <a:pt x="392" y="358"/>
                  <a:pt x="392" y="358"/>
                  <a:pt x="392" y="358"/>
                </a:cubicBezTo>
                <a:cubicBezTo>
                  <a:pt x="390" y="357"/>
                  <a:pt x="390" y="357"/>
                  <a:pt x="390" y="357"/>
                </a:cubicBezTo>
                <a:cubicBezTo>
                  <a:pt x="391" y="359"/>
                  <a:pt x="391" y="359"/>
                  <a:pt x="391" y="359"/>
                </a:cubicBezTo>
                <a:cubicBezTo>
                  <a:pt x="393" y="360"/>
                  <a:pt x="393" y="360"/>
                  <a:pt x="393" y="360"/>
                </a:cubicBezTo>
                <a:cubicBezTo>
                  <a:pt x="393" y="360"/>
                  <a:pt x="393" y="360"/>
                  <a:pt x="393" y="360"/>
                </a:cubicBezTo>
                <a:cubicBezTo>
                  <a:pt x="393" y="358"/>
                  <a:pt x="393" y="358"/>
                  <a:pt x="393" y="358"/>
                </a:cubicBezTo>
                <a:cubicBezTo>
                  <a:pt x="394" y="358"/>
                  <a:pt x="394" y="358"/>
                  <a:pt x="394" y="358"/>
                </a:cubicBezTo>
                <a:cubicBezTo>
                  <a:pt x="395" y="360"/>
                  <a:pt x="395" y="360"/>
                  <a:pt x="395" y="360"/>
                </a:cubicBezTo>
                <a:cubicBezTo>
                  <a:pt x="396" y="361"/>
                  <a:pt x="396" y="361"/>
                  <a:pt x="396" y="361"/>
                </a:cubicBezTo>
                <a:cubicBezTo>
                  <a:pt x="395" y="362"/>
                  <a:pt x="395" y="362"/>
                  <a:pt x="395" y="362"/>
                </a:cubicBezTo>
                <a:cubicBezTo>
                  <a:pt x="395" y="364"/>
                  <a:pt x="395" y="364"/>
                  <a:pt x="395" y="364"/>
                </a:cubicBezTo>
                <a:cubicBezTo>
                  <a:pt x="394" y="366"/>
                  <a:pt x="394" y="366"/>
                  <a:pt x="394" y="366"/>
                </a:cubicBezTo>
                <a:cubicBezTo>
                  <a:pt x="394" y="367"/>
                  <a:pt x="394" y="367"/>
                  <a:pt x="394" y="367"/>
                </a:cubicBezTo>
                <a:cubicBezTo>
                  <a:pt x="393" y="368"/>
                  <a:pt x="393" y="368"/>
                  <a:pt x="393" y="368"/>
                </a:cubicBezTo>
                <a:cubicBezTo>
                  <a:pt x="394" y="368"/>
                  <a:pt x="394" y="368"/>
                  <a:pt x="394" y="368"/>
                </a:cubicBezTo>
                <a:cubicBezTo>
                  <a:pt x="396" y="364"/>
                  <a:pt x="396" y="364"/>
                  <a:pt x="396" y="364"/>
                </a:cubicBezTo>
                <a:cubicBezTo>
                  <a:pt x="398" y="363"/>
                  <a:pt x="398" y="363"/>
                  <a:pt x="398" y="363"/>
                </a:cubicBezTo>
                <a:cubicBezTo>
                  <a:pt x="398" y="363"/>
                  <a:pt x="398" y="363"/>
                  <a:pt x="398" y="363"/>
                </a:cubicBezTo>
                <a:cubicBezTo>
                  <a:pt x="398" y="364"/>
                  <a:pt x="398" y="364"/>
                  <a:pt x="398" y="364"/>
                </a:cubicBezTo>
                <a:cubicBezTo>
                  <a:pt x="398" y="366"/>
                  <a:pt x="398" y="366"/>
                  <a:pt x="398" y="366"/>
                </a:cubicBezTo>
                <a:cubicBezTo>
                  <a:pt x="397" y="367"/>
                  <a:pt x="397" y="367"/>
                  <a:pt x="397" y="367"/>
                </a:cubicBezTo>
                <a:cubicBezTo>
                  <a:pt x="398" y="368"/>
                  <a:pt x="398" y="368"/>
                  <a:pt x="398" y="368"/>
                </a:cubicBezTo>
                <a:cubicBezTo>
                  <a:pt x="397" y="369"/>
                  <a:pt x="397" y="369"/>
                  <a:pt x="397" y="369"/>
                </a:cubicBezTo>
                <a:cubicBezTo>
                  <a:pt x="398" y="368"/>
                  <a:pt x="398" y="368"/>
                  <a:pt x="398" y="368"/>
                </a:cubicBezTo>
                <a:cubicBezTo>
                  <a:pt x="399" y="366"/>
                  <a:pt x="399" y="366"/>
                  <a:pt x="399" y="366"/>
                </a:cubicBezTo>
                <a:cubicBezTo>
                  <a:pt x="400" y="365"/>
                  <a:pt x="400" y="365"/>
                  <a:pt x="400" y="365"/>
                </a:cubicBezTo>
                <a:cubicBezTo>
                  <a:pt x="401" y="365"/>
                  <a:pt x="401" y="365"/>
                  <a:pt x="401" y="365"/>
                </a:cubicBezTo>
                <a:cubicBezTo>
                  <a:pt x="402" y="364"/>
                  <a:pt x="402" y="364"/>
                  <a:pt x="402" y="364"/>
                </a:cubicBezTo>
                <a:cubicBezTo>
                  <a:pt x="403" y="364"/>
                  <a:pt x="403" y="364"/>
                  <a:pt x="403" y="364"/>
                </a:cubicBezTo>
                <a:cubicBezTo>
                  <a:pt x="403" y="365"/>
                  <a:pt x="403" y="365"/>
                  <a:pt x="403" y="365"/>
                </a:cubicBezTo>
                <a:cubicBezTo>
                  <a:pt x="404" y="364"/>
                  <a:pt x="404" y="364"/>
                  <a:pt x="404" y="364"/>
                </a:cubicBezTo>
                <a:cubicBezTo>
                  <a:pt x="405" y="364"/>
                  <a:pt x="405" y="364"/>
                  <a:pt x="405" y="364"/>
                </a:cubicBezTo>
                <a:cubicBezTo>
                  <a:pt x="405" y="363"/>
                  <a:pt x="405" y="363"/>
                  <a:pt x="405" y="363"/>
                </a:cubicBezTo>
                <a:cubicBezTo>
                  <a:pt x="406" y="362"/>
                  <a:pt x="406" y="362"/>
                  <a:pt x="406" y="362"/>
                </a:cubicBezTo>
                <a:cubicBezTo>
                  <a:pt x="408" y="360"/>
                  <a:pt x="408" y="360"/>
                  <a:pt x="408" y="360"/>
                </a:cubicBezTo>
                <a:cubicBezTo>
                  <a:pt x="408" y="361"/>
                  <a:pt x="408" y="361"/>
                  <a:pt x="408" y="361"/>
                </a:cubicBezTo>
                <a:cubicBezTo>
                  <a:pt x="409" y="363"/>
                  <a:pt x="409" y="363"/>
                  <a:pt x="409" y="363"/>
                </a:cubicBezTo>
                <a:cubicBezTo>
                  <a:pt x="409" y="364"/>
                  <a:pt x="409" y="364"/>
                  <a:pt x="409" y="364"/>
                </a:cubicBezTo>
                <a:cubicBezTo>
                  <a:pt x="409" y="362"/>
                  <a:pt x="409" y="362"/>
                  <a:pt x="409" y="362"/>
                </a:cubicBezTo>
                <a:cubicBezTo>
                  <a:pt x="409" y="361"/>
                  <a:pt x="409" y="361"/>
                  <a:pt x="409" y="361"/>
                </a:cubicBezTo>
                <a:cubicBezTo>
                  <a:pt x="410" y="360"/>
                  <a:pt x="410" y="360"/>
                  <a:pt x="410" y="360"/>
                </a:cubicBezTo>
                <a:cubicBezTo>
                  <a:pt x="410" y="360"/>
                  <a:pt x="410" y="360"/>
                  <a:pt x="410" y="360"/>
                </a:cubicBezTo>
                <a:cubicBezTo>
                  <a:pt x="411" y="359"/>
                  <a:pt x="411" y="359"/>
                  <a:pt x="411" y="359"/>
                </a:cubicBezTo>
                <a:cubicBezTo>
                  <a:pt x="412" y="358"/>
                  <a:pt x="412" y="358"/>
                  <a:pt x="412" y="358"/>
                </a:cubicBezTo>
                <a:cubicBezTo>
                  <a:pt x="412" y="357"/>
                  <a:pt x="412" y="357"/>
                  <a:pt x="412" y="357"/>
                </a:cubicBezTo>
                <a:cubicBezTo>
                  <a:pt x="413" y="356"/>
                  <a:pt x="413" y="356"/>
                  <a:pt x="413" y="356"/>
                </a:cubicBezTo>
                <a:cubicBezTo>
                  <a:pt x="414" y="355"/>
                  <a:pt x="414" y="355"/>
                  <a:pt x="414" y="355"/>
                </a:cubicBezTo>
                <a:cubicBezTo>
                  <a:pt x="414" y="354"/>
                  <a:pt x="414" y="354"/>
                  <a:pt x="414" y="354"/>
                </a:cubicBezTo>
                <a:cubicBezTo>
                  <a:pt x="415" y="354"/>
                  <a:pt x="415" y="354"/>
                  <a:pt x="415" y="354"/>
                </a:cubicBezTo>
                <a:cubicBezTo>
                  <a:pt x="416" y="355"/>
                  <a:pt x="416" y="355"/>
                  <a:pt x="416" y="355"/>
                </a:cubicBezTo>
                <a:cubicBezTo>
                  <a:pt x="416" y="355"/>
                  <a:pt x="416" y="355"/>
                  <a:pt x="416" y="355"/>
                </a:cubicBezTo>
                <a:cubicBezTo>
                  <a:pt x="415" y="354"/>
                  <a:pt x="415" y="354"/>
                  <a:pt x="415" y="354"/>
                </a:cubicBezTo>
                <a:cubicBezTo>
                  <a:pt x="414" y="354"/>
                  <a:pt x="414" y="354"/>
                  <a:pt x="414" y="354"/>
                </a:cubicBezTo>
                <a:cubicBezTo>
                  <a:pt x="414" y="353"/>
                  <a:pt x="414" y="353"/>
                  <a:pt x="414" y="353"/>
                </a:cubicBezTo>
                <a:cubicBezTo>
                  <a:pt x="415" y="351"/>
                  <a:pt x="415" y="351"/>
                  <a:pt x="415" y="351"/>
                </a:cubicBezTo>
                <a:cubicBezTo>
                  <a:pt x="416" y="351"/>
                  <a:pt x="416" y="351"/>
                  <a:pt x="416" y="351"/>
                </a:cubicBezTo>
                <a:cubicBezTo>
                  <a:pt x="416" y="351"/>
                  <a:pt x="416" y="351"/>
                  <a:pt x="416" y="351"/>
                </a:cubicBezTo>
                <a:cubicBezTo>
                  <a:pt x="416" y="350"/>
                  <a:pt x="416" y="350"/>
                  <a:pt x="416" y="350"/>
                </a:cubicBezTo>
                <a:cubicBezTo>
                  <a:pt x="417" y="350"/>
                  <a:pt x="417" y="350"/>
                  <a:pt x="417" y="350"/>
                </a:cubicBezTo>
                <a:cubicBezTo>
                  <a:pt x="417" y="349"/>
                  <a:pt x="417" y="349"/>
                  <a:pt x="417" y="349"/>
                </a:cubicBezTo>
                <a:cubicBezTo>
                  <a:pt x="418" y="347"/>
                  <a:pt x="418" y="347"/>
                  <a:pt x="418" y="347"/>
                </a:cubicBezTo>
                <a:cubicBezTo>
                  <a:pt x="419" y="346"/>
                  <a:pt x="419" y="346"/>
                  <a:pt x="419" y="346"/>
                </a:cubicBezTo>
                <a:cubicBezTo>
                  <a:pt x="419" y="345"/>
                  <a:pt x="419" y="345"/>
                  <a:pt x="419" y="345"/>
                </a:cubicBezTo>
                <a:cubicBezTo>
                  <a:pt x="420" y="344"/>
                  <a:pt x="420" y="344"/>
                  <a:pt x="420" y="344"/>
                </a:cubicBezTo>
                <a:cubicBezTo>
                  <a:pt x="421" y="343"/>
                  <a:pt x="421" y="343"/>
                  <a:pt x="421" y="343"/>
                </a:cubicBezTo>
                <a:cubicBezTo>
                  <a:pt x="422" y="344"/>
                  <a:pt x="422" y="344"/>
                  <a:pt x="422" y="344"/>
                </a:cubicBezTo>
                <a:cubicBezTo>
                  <a:pt x="421" y="345"/>
                  <a:pt x="421" y="345"/>
                  <a:pt x="421" y="345"/>
                </a:cubicBezTo>
                <a:cubicBezTo>
                  <a:pt x="422" y="344"/>
                  <a:pt x="422" y="344"/>
                  <a:pt x="422" y="344"/>
                </a:cubicBezTo>
                <a:cubicBezTo>
                  <a:pt x="422" y="345"/>
                  <a:pt x="422" y="345"/>
                  <a:pt x="422" y="345"/>
                </a:cubicBezTo>
                <a:cubicBezTo>
                  <a:pt x="421" y="345"/>
                  <a:pt x="421" y="345"/>
                  <a:pt x="421" y="345"/>
                </a:cubicBezTo>
                <a:cubicBezTo>
                  <a:pt x="421" y="346"/>
                  <a:pt x="421" y="346"/>
                  <a:pt x="421" y="346"/>
                </a:cubicBezTo>
                <a:cubicBezTo>
                  <a:pt x="422" y="347"/>
                  <a:pt x="422" y="347"/>
                  <a:pt x="422" y="347"/>
                </a:cubicBezTo>
                <a:cubicBezTo>
                  <a:pt x="421" y="348"/>
                  <a:pt x="421" y="348"/>
                  <a:pt x="421" y="348"/>
                </a:cubicBezTo>
                <a:cubicBezTo>
                  <a:pt x="421" y="348"/>
                  <a:pt x="421" y="348"/>
                  <a:pt x="421" y="348"/>
                </a:cubicBezTo>
                <a:cubicBezTo>
                  <a:pt x="421" y="348"/>
                  <a:pt x="421" y="348"/>
                  <a:pt x="421" y="348"/>
                </a:cubicBezTo>
                <a:cubicBezTo>
                  <a:pt x="421" y="348"/>
                  <a:pt x="421" y="348"/>
                  <a:pt x="421" y="348"/>
                </a:cubicBezTo>
                <a:cubicBezTo>
                  <a:pt x="422" y="348"/>
                  <a:pt x="422" y="348"/>
                  <a:pt x="422" y="348"/>
                </a:cubicBezTo>
                <a:cubicBezTo>
                  <a:pt x="422" y="350"/>
                  <a:pt x="422" y="350"/>
                  <a:pt x="422" y="350"/>
                </a:cubicBezTo>
                <a:cubicBezTo>
                  <a:pt x="421" y="350"/>
                  <a:pt x="421" y="350"/>
                  <a:pt x="421" y="350"/>
                </a:cubicBezTo>
                <a:cubicBezTo>
                  <a:pt x="422" y="350"/>
                  <a:pt x="422" y="350"/>
                  <a:pt x="422" y="350"/>
                </a:cubicBezTo>
                <a:cubicBezTo>
                  <a:pt x="422" y="351"/>
                  <a:pt x="422" y="351"/>
                  <a:pt x="422" y="351"/>
                </a:cubicBezTo>
                <a:cubicBezTo>
                  <a:pt x="422" y="352"/>
                  <a:pt x="422" y="352"/>
                  <a:pt x="422" y="352"/>
                </a:cubicBezTo>
                <a:cubicBezTo>
                  <a:pt x="422" y="353"/>
                  <a:pt x="422" y="353"/>
                  <a:pt x="422" y="353"/>
                </a:cubicBezTo>
                <a:cubicBezTo>
                  <a:pt x="423" y="354"/>
                  <a:pt x="423" y="354"/>
                  <a:pt x="423" y="354"/>
                </a:cubicBezTo>
                <a:cubicBezTo>
                  <a:pt x="423" y="355"/>
                  <a:pt x="423" y="355"/>
                  <a:pt x="423" y="355"/>
                </a:cubicBezTo>
                <a:cubicBezTo>
                  <a:pt x="423" y="356"/>
                  <a:pt x="423" y="356"/>
                  <a:pt x="423" y="356"/>
                </a:cubicBezTo>
                <a:cubicBezTo>
                  <a:pt x="422" y="355"/>
                  <a:pt x="422" y="355"/>
                  <a:pt x="422" y="355"/>
                </a:cubicBezTo>
                <a:cubicBezTo>
                  <a:pt x="421" y="356"/>
                  <a:pt x="421" y="356"/>
                  <a:pt x="421" y="356"/>
                </a:cubicBezTo>
                <a:cubicBezTo>
                  <a:pt x="422" y="357"/>
                  <a:pt x="422" y="357"/>
                  <a:pt x="422" y="357"/>
                </a:cubicBezTo>
                <a:cubicBezTo>
                  <a:pt x="422" y="357"/>
                  <a:pt x="422" y="357"/>
                  <a:pt x="422" y="357"/>
                </a:cubicBezTo>
                <a:cubicBezTo>
                  <a:pt x="423" y="357"/>
                  <a:pt x="423" y="357"/>
                  <a:pt x="423" y="357"/>
                </a:cubicBezTo>
                <a:cubicBezTo>
                  <a:pt x="424" y="356"/>
                  <a:pt x="424" y="356"/>
                  <a:pt x="424" y="356"/>
                </a:cubicBezTo>
                <a:cubicBezTo>
                  <a:pt x="424" y="357"/>
                  <a:pt x="424" y="357"/>
                  <a:pt x="424" y="357"/>
                </a:cubicBezTo>
                <a:cubicBezTo>
                  <a:pt x="425" y="358"/>
                  <a:pt x="425" y="358"/>
                  <a:pt x="425" y="358"/>
                </a:cubicBezTo>
                <a:cubicBezTo>
                  <a:pt x="424" y="359"/>
                  <a:pt x="424" y="359"/>
                  <a:pt x="424" y="359"/>
                </a:cubicBezTo>
                <a:cubicBezTo>
                  <a:pt x="423" y="360"/>
                  <a:pt x="423" y="360"/>
                  <a:pt x="423" y="360"/>
                </a:cubicBezTo>
                <a:cubicBezTo>
                  <a:pt x="421" y="359"/>
                  <a:pt x="421" y="359"/>
                  <a:pt x="421" y="359"/>
                </a:cubicBezTo>
                <a:cubicBezTo>
                  <a:pt x="421" y="360"/>
                  <a:pt x="421" y="360"/>
                  <a:pt x="421" y="360"/>
                </a:cubicBezTo>
                <a:cubicBezTo>
                  <a:pt x="422" y="361"/>
                  <a:pt x="422" y="361"/>
                  <a:pt x="422" y="361"/>
                </a:cubicBezTo>
                <a:cubicBezTo>
                  <a:pt x="424" y="360"/>
                  <a:pt x="424" y="360"/>
                  <a:pt x="424" y="360"/>
                </a:cubicBezTo>
                <a:cubicBezTo>
                  <a:pt x="425" y="360"/>
                  <a:pt x="425" y="360"/>
                  <a:pt x="425" y="360"/>
                </a:cubicBezTo>
                <a:cubicBezTo>
                  <a:pt x="425" y="361"/>
                  <a:pt x="425" y="361"/>
                  <a:pt x="425" y="361"/>
                </a:cubicBezTo>
                <a:cubicBezTo>
                  <a:pt x="424" y="363"/>
                  <a:pt x="424" y="363"/>
                  <a:pt x="424" y="363"/>
                </a:cubicBezTo>
                <a:cubicBezTo>
                  <a:pt x="425" y="363"/>
                  <a:pt x="425" y="363"/>
                  <a:pt x="425" y="363"/>
                </a:cubicBezTo>
                <a:cubicBezTo>
                  <a:pt x="426" y="362"/>
                  <a:pt x="426" y="362"/>
                  <a:pt x="426" y="362"/>
                </a:cubicBezTo>
                <a:cubicBezTo>
                  <a:pt x="426" y="364"/>
                  <a:pt x="426" y="364"/>
                  <a:pt x="426" y="364"/>
                </a:cubicBezTo>
                <a:cubicBezTo>
                  <a:pt x="425" y="365"/>
                  <a:pt x="425" y="365"/>
                  <a:pt x="425" y="365"/>
                </a:cubicBezTo>
                <a:cubicBezTo>
                  <a:pt x="423" y="365"/>
                  <a:pt x="423" y="365"/>
                  <a:pt x="423" y="365"/>
                </a:cubicBezTo>
                <a:cubicBezTo>
                  <a:pt x="422" y="365"/>
                  <a:pt x="422" y="365"/>
                  <a:pt x="422" y="365"/>
                </a:cubicBezTo>
                <a:cubicBezTo>
                  <a:pt x="422" y="365"/>
                  <a:pt x="422" y="365"/>
                  <a:pt x="422" y="365"/>
                </a:cubicBezTo>
                <a:cubicBezTo>
                  <a:pt x="422" y="366"/>
                  <a:pt x="422" y="366"/>
                  <a:pt x="422" y="366"/>
                </a:cubicBezTo>
                <a:cubicBezTo>
                  <a:pt x="421" y="367"/>
                  <a:pt x="421" y="367"/>
                  <a:pt x="421" y="367"/>
                </a:cubicBezTo>
                <a:cubicBezTo>
                  <a:pt x="423" y="367"/>
                  <a:pt x="423" y="367"/>
                  <a:pt x="423" y="367"/>
                </a:cubicBezTo>
                <a:cubicBezTo>
                  <a:pt x="425" y="367"/>
                  <a:pt x="425" y="367"/>
                  <a:pt x="425" y="367"/>
                </a:cubicBezTo>
                <a:cubicBezTo>
                  <a:pt x="426" y="366"/>
                  <a:pt x="426" y="366"/>
                  <a:pt x="426" y="366"/>
                </a:cubicBezTo>
                <a:cubicBezTo>
                  <a:pt x="427" y="366"/>
                  <a:pt x="427" y="366"/>
                  <a:pt x="427" y="366"/>
                </a:cubicBezTo>
                <a:cubicBezTo>
                  <a:pt x="426" y="367"/>
                  <a:pt x="426" y="367"/>
                  <a:pt x="426" y="367"/>
                </a:cubicBezTo>
                <a:cubicBezTo>
                  <a:pt x="426" y="368"/>
                  <a:pt x="426" y="368"/>
                  <a:pt x="426" y="368"/>
                </a:cubicBezTo>
                <a:cubicBezTo>
                  <a:pt x="425" y="368"/>
                  <a:pt x="425" y="368"/>
                  <a:pt x="425" y="368"/>
                </a:cubicBezTo>
                <a:cubicBezTo>
                  <a:pt x="424" y="368"/>
                  <a:pt x="424" y="368"/>
                  <a:pt x="424" y="368"/>
                </a:cubicBezTo>
                <a:cubicBezTo>
                  <a:pt x="422" y="371"/>
                  <a:pt x="422" y="371"/>
                  <a:pt x="422" y="371"/>
                </a:cubicBezTo>
                <a:cubicBezTo>
                  <a:pt x="424" y="370"/>
                  <a:pt x="424" y="370"/>
                  <a:pt x="424" y="370"/>
                </a:cubicBezTo>
                <a:cubicBezTo>
                  <a:pt x="425" y="370"/>
                  <a:pt x="425" y="370"/>
                  <a:pt x="425" y="370"/>
                </a:cubicBezTo>
                <a:cubicBezTo>
                  <a:pt x="426" y="369"/>
                  <a:pt x="426" y="369"/>
                  <a:pt x="426" y="369"/>
                </a:cubicBezTo>
                <a:cubicBezTo>
                  <a:pt x="427" y="370"/>
                  <a:pt x="427" y="370"/>
                  <a:pt x="427" y="370"/>
                </a:cubicBezTo>
                <a:cubicBezTo>
                  <a:pt x="427" y="371"/>
                  <a:pt x="427" y="371"/>
                  <a:pt x="427" y="371"/>
                </a:cubicBezTo>
                <a:cubicBezTo>
                  <a:pt x="426" y="371"/>
                  <a:pt x="426" y="371"/>
                  <a:pt x="426" y="371"/>
                </a:cubicBezTo>
                <a:cubicBezTo>
                  <a:pt x="425" y="372"/>
                  <a:pt x="425" y="372"/>
                  <a:pt x="425" y="372"/>
                </a:cubicBezTo>
                <a:cubicBezTo>
                  <a:pt x="425" y="373"/>
                  <a:pt x="425" y="373"/>
                  <a:pt x="425" y="373"/>
                </a:cubicBezTo>
                <a:cubicBezTo>
                  <a:pt x="425" y="372"/>
                  <a:pt x="425" y="372"/>
                  <a:pt x="425" y="372"/>
                </a:cubicBezTo>
                <a:cubicBezTo>
                  <a:pt x="427" y="373"/>
                  <a:pt x="427" y="373"/>
                  <a:pt x="427" y="373"/>
                </a:cubicBezTo>
                <a:cubicBezTo>
                  <a:pt x="427" y="372"/>
                  <a:pt x="427" y="372"/>
                  <a:pt x="427" y="372"/>
                </a:cubicBezTo>
                <a:cubicBezTo>
                  <a:pt x="428" y="373"/>
                  <a:pt x="428" y="373"/>
                  <a:pt x="428" y="373"/>
                </a:cubicBezTo>
                <a:cubicBezTo>
                  <a:pt x="429" y="375"/>
                  <a:pt x="429" y="375"/>
                  <a:pt x="429" y="375"/>
                </a:cubicBezTo>
                <a:cubicBezTo>
                  <a:pt x="428" y="376"/>
                  <a:pt x="428" y="376"/>
                  <a:pt x="428" y="376"/>
                </a:cubicBezTo>
                <a:cubicBezTo>
                  <a:pt x="427" y="376"/>
                  <a:pt x="427" y="376"/>
                  <a:pt x="427" y="376"/>
                </a:cubicBezTo>
                <a:cubicBezTo>
                  <a:pt x="426" y="376"/>
                  <a:pt x="426" y="376"/>
                  <a:pt x="426" y="376"/>
                </a:cubicBezTo>
                <a:cubicBezTo>
                  <a:pt x="425" y="376"/>
                  <a:pt x="425" y="376"/>
                  <a:pt x="425" y="376"/>
                </a:cubicBezTo>
                <a:cubicBezTo>
                  <a:pt x="426" y="377"/>
                  <a:pt x="426" y="377"/>
                  <a:pt x="426" y="377"/>
                </a:cubicBezTo>
                <a:cubicBezTo>
                  <a:pt x="427" y="377"/>
                  <a:pt x="427" y="377"/>
                  <a:pt x="427" y="377"/>
                </a:cubicBezTo>
                <a:cubicBezTo>
                  <a:pt x="427" y="377"/>
                  <a:pt x="427" y="377"/>
                  <a:pt x="427" y="377"/>
                </a:cubicBezTo>
                <a:cubicBezTo>
                  <a:pt x="429" y="377"/>
                  <a:pt x="429" y="377"/>
                  <a:pt x="429" y="377"/>
                </a:cubicBezTo>
                <a:cubicBezTo>
                  <a:pt x="429" y="378"/>
                  <a:pt x="429" y="378"/>
                  <a:pt x="429" y="378"/>
                </a:cubicBezTo>
                <a:cubicBezTo>
                  <a:pt x="429" y="379"/>
                  <a:pt x="429" y="379"/>
                  <a:pt x="429" y="379"/>
                </a:cubicBezTo>
                <a:cubicBezTo>
                  <a:pt x="428" y="379"/>
                  <a:pt x="428" y="379"/>
                  <a:pt x="428" y="379"/>
                </a:cubicBezTo>
                <a:cubicBezTo>
                  <a:pt x="429" y="380"/>
                  <a:pt x="429" y="380"/>
                  <a:pt x="429" y="380"/>
                </a:cubicBezTo>
                <a:cubicBezTo>
                  <a:pt x="430" y="380"/>
                  <a:pt x="430" y="380"/>
                  <a:pt x="430" y="380"/>
                </a:cubicBezTo>
                <a:cubicBezTo>
                  <a:pt x="431" y="381"/>
                  <a:pt x="431" y="381"/>
                  <a:pt x="431" y="381"/>
                </a:cubicBezTo>
                <a:cubicBezTo>
                  <a:pt x="431" y="382"/>
                  <a:pt x="431" y="382"/>
                  <a:pt x="431" y="382"/>
                </a:cubicBezTo>
                <a:cubicBezTo>
                  <a:pt x="430" y="382"/>
                  <a:pt x="430" y="382"/>
                  <a:pt x="430" y="382"/>
                </a:cubicBezTo>
                <a:cubicBezTo>
                  <a:pt x="428" y="384"/>
                  <a:pt x="428" y="384"/>
                  <a:pt x="428" y="384"/>
                </a:cubicBezTo>
                <a:cubicBezTo>
                  <a:pt x="428" y="383"/>
                  <a:pt x="428" y="383"/>
                  <a:pt x="428" y="383"/>
                </a:cubicBezTo>
                <a:cubicBezTo>
                  <a:pt x="427" y="384"/>
                  <a:pt x="427" y="384"/>
                  <a:pt x="427" y="384"/>
                </a:cubicBezTo>
                <a:cubicBezTo>
                  <a:pt x="428" y="384"/>
                  <a:pt x="428" y="384"/>
                  <a:pt x="428" y="384"/>
                </a:cubicBezTo>
                <a:cubicBezTo>
                  <a:pt x="428" y="385"/>
                  <a:pt x="428" y="385"/>
                  <a:pt x="428" y="385"/>
                </a:cubicBezTo>
                <a:cubicBezTo>
                  <a:pt x="427" y="385"/>
                  <a:pt x="427" y="385"/>
                  <a:pt x="427" y="385"/>
                </a:cubicBezTo>
                <a:cubicBezTo>
                  <a:pt x="425" y="384"/>
                  <a:pt x="425" y="384"/>
                  <a:pt x="425" y="384"/>
                </a:cubicBezTo>
                <a:cubicBezTo>
                  <a:pt x="424" y="384"/>
                  <a:pt x="424" y="384"/>
                  <a:pt x="424" y="384"/>
                </a:cubicBezTo>
                <a:cubicBezTo>
                  <a:pt x="425" y="385"/>
                  <a:pt x="425" y="385"/>
                  <a:pt x="425" y="385"/>
                </a:cubicBezTo>
                <a:cubicBezTo>
                  <a:pt x="425" y="386"/>
                  <a:pt x="425" y="386"/>
                  <a:pt x="425" y="386"/>
                </a:cubicBezTo>
                <a:cubicBezTo>
                  <a:pt x="427" y="387"/>
                  <a:pt x="427" y="387"/>
                  <a:pt x="427" y="387"/>
                </a:cubicBezTo>
                <a:cubicBezTo>
                  <a:pt x="427" y="388"/>
                  <a:pt x="427" y="388"/>
                  <a:pt x="427" y="388"/>
                </a:cubicBezTo>
                <a:cubicBezTo>
                  <a:pt x="427" y="389"/>
                  <a:pt x="427" y="389"/>
                  <a:pt x="427" y="389"/>
                </a:cubicBezTo>
                <a:cubicBezTo>
                  <a:pt x="426" y="389"/>
                  <a:pt x="426" y="389"/>
                  <a:pt x="426" y="389"/>
                </a:cubicBezTo>
                <a:cubicBezTo>
                  <a:pt x="425" y="390"/>
                  <a:pt x="425" y="390"/>
                  <a:pt x="425" y="390"/>
                </a:cubicBezTo>
                <a:cubicBezTo>
                  <a:pt x="423" y="390"/>
                  <a:pt x="423" y="390"/>
                  <a:pt x="423" y="390"/>
                </a:cubicBezTo>
                <a:cubicBezTo>
                  <a:pt x="426" y="390"/>
                  <a:pt x="426" y="390"/>
                  <a:pt x="426" y="390"/>
                </a:cubicBezTo>
                <a:cubicBezTo>
                  <a:pt x="426" y="390"/>
                  <a:pt x="426" y="390"/>
                  <a:pt x="426" y="390"/>
                </a:cubicBezTo>
                <a:cubicBezTo>
                  <a:pt x="427" y="390"/>
                  <a:pt x="427" y="390"/>
                  <a:pt x="427" y="390"/>
                </a:cubicBezTo>
                <a:cubicBezTo>
                  <a:pt x="428" y="389"/>
                  <a:pt x="428" y="389"/>
                  <a:pt x="428" y="389"/>
                </a:cubicBezTo>
                <a:cubicBezTo>
                  <a:pt x="429" y="389"/>
                  <a:pt x="429" y="389"/>
                  <a:pt x="429" y="389"/>
                </a:cubicBezTo>
                <a:cubicBezTo>
                  <a:pt x="429" y="390"/>
                  <a:pt x="429" y="390"/>
                  <a:pt x="429" y="390"/>
                </a:cubicBezTo>
                <a:cubicBezTo>
                  <a:pt x="429" y="391"/>
                  <a:pt x="429" y="391"/>
                  <a:pt x="429" y="391"/>
                </a:cubicBezTo>
                <a:cubicBezTo>
                  <a:pt x="429" y="391"/>
                  <a:pt x="429" y="391"/>
                  <a:pt x="429" y="391"/>
                </a:cubicBezTo>
                <a:cubicBezTo>
                  <a:pt x="430" y="391"/>
                  <a:pt x="430" y="391"/>
                  <a:pt x="430" y="391"/>
                </a:cubicBezTo>
                <a:cubicBezTo>
                  <a:pt x="430" y="392"/>
                  <a:pt x="430" y="392"/>
                  <a:pt x="430" y="392"/>
                </a:cubicBezTo>
                <a:cubicBezTo>
                  <a:pt x="430" y="393"/>
                  <a:pt x="430" y="393"/>
                  <a:pt x="430" y="393"/>
                </a:cubicBezTo>
                <a:cubicBezTo>
                  <a:pt x="430" y="393"/>
                  <a:pt x="430" y="393"/>
                  <a:pt x="430" y="393"/>
                </a:cubicBezTo>
                <a:cubicBezTo>
                  <a:pt x="431" y="392"/>
                  <a:pt x="431" y="392"/>
                  <a:pt x="431" y="392"/>
                </a:cubicBezTo>
                <a:cubicBezTo>
                  <a:pt x="432" y="393"/>
                  <a:pt x="432" y="393"/>
                  <a:pt x="432" y="393"/>
                </a:cubicBezTo>
                <a:cubicBezTo>
                  <a:pt x="432" y="393"/>
                  <a:pt x="432" y="393"/>
                  <a:pt x="432" y="393"/>
                </a:cubicBezTo>
                <a:cubicBezTo>
                  <a:pt x="432" y="394"/>
                  <a:pt x="432" y="394"/>
                  <a:pt x="432" y="394"/>
                </a:cubicBezTo>
                <a:cubicBezTo>
                  <a:pt x="432" y="395"/>
                  <a:pt x="432" y="395"/>
                  <a:pt x="432" y="395"/>
                </a:cubicBezTo>
                <a:cubicBezTo>
                  <a:pt x="432" y="396"/>
                  <a:pt x="432" y="396"/>
                  <a:pt x="432" y="396"/>
                </a:cubicBezTo>
                <a:cubicBezTo>
                  <a:pt x="432" y="396"/>
                  <a:pt x="432" y="396"/>
                  <a:pt x="432" y="396"/>
                </a:cubicBezTo>
                <a:cubicBezTo>
                  <a:pt x="434" y="394"/>
                  <a:pt x="434" y="394"/>
                  <a:pt x="434" y="394"/>
                </a:cubicBezTo>
                <a:cubicBezTo>
                  <a:pt x="434" y="394"/>
                  <a:pt x="434" y="394"/>
                  <a:pt x="434" y="394"/>
                </a:cubicBezTo>
                <a:cubicBezTo>
                  <a:pt x="434" y="395"/>
                  <a:pt x="434" y="395"/>
                  <a:pt x="434" y="395"/>
                </a:cubicBezTo>
                <a:cubicBezTo>
                  <a:pt x="434" y="396"/>
                  <a:pt x="434" y="396"/>
                  <a:pt x="434" y="396"/>
                </a:cubicBezTo>
                <a:cubicBezTo>
                  <a:pt x="433" y="397"/>
                  <a:pt x="433" y="397"/>
                  <a:pt x="433" y="397"/>
                </a:cubicBezTo>
                <a:cubicBezTo>
                  <a:pt x="431" y="399"/>
                  <a:pt x="431" y="399"/>
                  <a:pt x="431" y="399"/>
                </a:cubicBezTo>
                <a:cubicBezTo>
                  <a:pt x="430" y="400"/>
                  <a:pt x="430" y="400"/>
                  <a:pt x="430" y="400"/>
                </a:cubicBezTo>
                <a:cubicBezTo>
                  <a:pt x="429" y="400"/>
                  <a:pt x="429" y="400"/>
                  <a:pt x="429" y="400"/>
                </a:cubicBezTo>
                <a:cubicBezTo>
                  <a:pt x="430" y="401"/>
                  <a:pt x="430" y="401"/>
                  <a:pt x="430" y="401"/>
                </a:cubicBezTo>
                <a:cubicBezTo>
                  <a:pt x="431" y="400"/>
                  <a:pt x="431" y="400"/>
                  <a:pt x="431" y="400"/>
                </a:cubicBezTo>
                <a:cubicBezTo>
                  <a:pt x="433" y="398"/>
                  <a:pt x="433" y="398"/>
                  <a:pt x="433" y="398"/>
                </a:cubicBezTo>
                <a:cubicBezTo>
                  <a:pt x="434" y="398"/>
                  <a:pt x="434" y="398"/>
                  <a:pt x="434" y="398"/>
                </a:cubicBezTo>
                <a:cubicBezTo>
                  <a:pt x="434" y="399"/>
                  <a:pt x="434" y="399"/>
                  <a:pt x="434" y="399"/>
                </a:cubicBezTo>
                <a:cubicBezTo>
                  <a:pt x="433" y="400"/>
                  <a:pt x="433" y="400"/>
                  <a:pt x="433" y="400"/>
                </a:cubicBezTo>
                <a:cubicBezTo>
                  <a:pt x="433" y="401"/>
                  <a:pt x="433" y="401"/>
                  <a:pt x="433" y="401"/>
                </a:cubicBezTo>
                <a:cubicBezTo>
                  <a:pt x="433" y="401"/>
                  <a:pt x="433" y="401"/>
                  <a:pt x="433" y="401"/>
                </a:cubicBezTo>
                <a:cubicBezTo>
                  <a:pt x="434" y="400"/>
                  <a:pt x="434" y="400"/>
                  <a:pt x="434" y="400"/>
                </a:cubicBezTo>
                <a:cubicBezTo>
                  <a:pt x="436" y="398"/>
                  <a:pt x="436" y="398"/>
                  <a:pt x="436" y="398"/>
                </a:cubicBezTo>
                <a:cubicBezTo>
                  <a:pt x="437" y="398"/>
                  <a:pt x="437" y="398"/>
                  <a:pt x="437" y="398"/>
                </a:cubicBezTo>
                <a:cubicBezTo>
                  <a:pt x="437" y="399"/>
                  <a:pt x="437" y="399"/>
                  <a:pt x="437" y="399"/>
                </a:cubicBezTo>
                <a:cubicBezTo>
                  <a:pt x="436" y="399"/>
                  <a:pt x="436" y="399"/>
                  <a:pt x="436" y="399"/>
                </a:cubicBezTo>
                <a:cubicBezTo>
                  <a:pt x="435" y="400"/>
                  <a:pt x="435" y="400"/>
                  <a:pt x="435" y="400"/>
                </a:cubicBezTo>
                <a:cubicBezTo>
                  <a:pt x="436" y="400"/>
                  <a:pt x="436" y="400"/>
                  <a:pt x="436" y="400"/>
                </a:cubicBezTo>
                <a:cubicBezTo>
                  <a:pt x="438" y="399"/>
                  <a:pt x="438" y="399"/>
                  <a:pt x="438" y="399"/>
                </a:cubicBezTo>
                <a:cubicBezTo>
                  <a:pt x="438" y="400"/>
                  <a:pt x="438" y="400"/>
                  <a:pt x="438" y="400"/>
                </a:cubicBezTo>
                <a:cubicBezTo>
                  <a:pt x="436" y="401"/>
                  <a:pt x="436" y="401"/>
                  <a:pt x="436" y="401"/>
                </a:cubicBezTo>
                <a:cubicBezTo>
                  <a:pt x="435" y="402"/>
                  <a:pt x="435" y="402"/>
                  <a:pt x="435" y="402"/>
                </a:cubicBezTo>
                <a:cubicBezTo>
                  <a:pt x="436" y="402"/>
                  <a:pt x="436" y="402"/>
                  <a:pt x="436" y="402"/>
                </a:cubicBezTo>
                <a:cubicBezTo>
                  <a:pt x="437" y="401"/>
                  <a:pt x="437" y="401"/>
                  <a:pt x="437" y="401"/>
                </a:cubicBezTo>
                <a:cubicBezTo>
                  <a:pt x="439" y="399"/>
                  <a:pt x="439" y="399"/>
                  <a:pt x="439" y="399"/>
                </a:cubicBezTo>
                <a:cubicBezTo>
                  <a:pt x="440" y="399"/>
                  <a:pt x="440" y="399"/>
                  <a:pt x="440" y="399"/>
                </a:cubicBezTo>
                <a:cubicBezTo>
                  <a:pt x="439" y="400"/>
                  <a:pt x="439" y="400"/>
                  <a:pt x="439" y="400"/>
                </a:cubicBezTo>
                <a:cubicBezTo>
                  <a:pt x="439" y="401"/>
                  <a:pt x="439" y="401"/>
                  <a:pt x="439" y="401"/>
                </a:cubicBezTo>
                <a:cubicBezTo>
                  <a:pt x="441" y="399"/>
                  <a:pt x="441" y="399"/>
                  <a:pt x="441" y="399"/>
                </a:cubicBezTo>
                <a:cubicBezTo>
                  <a:pt x="441" y="400"/>
                  <a:pt x="441" y="400"/>
                  <a:pt x="441" y="400"/>
                </a:cubicBezTo>
                <a:cubicBezTo>
                  <a:pt x="441" y="402"/>
                  <a:pt x="441" y="402"/>
                  <a:pt x="441" y="402"/>
                </a:cubicBezTo>
                <a:cubicBezTo>
                  <a:pt x="440" y="402"/>
                  <a:pt x="440" y="402"/>
                  <a:pt x="440" y="402"/>
                </a:cubicBezTo>
                <a:cubicBezTo>
                  <a:pt x="440" y="403"/>
                  <a:pt x="440" y="403"/>
                  <a:pt x="440" y="403"/>
                </a:cubicBezTo>
                <a:cubicBezTo>
                  <a:pt x="441" y="403"/>
                  <a:pt x="441" y="403"/>
                  <a:pt x="441" y="403"/>
                </a:cubicBezTo>
                <a:cubicBezTo>
                  <a:pt x="443" y="404"/>
                  <a:pt x="443" y="404"/>
                  <a:pt x="443" y="404"/>
                </a:cubicBezTo>
                <a:cubicBezTo>
                  <a:pt x="444" y="403"/>
                  <a:pt x="444" y="403"/>
                  <a:pt x="444" y="403"/>
                </a:cubicBezTo>
                <a:cubicBezTo>
                  <a:pt x="446" y="402"/>
                  <a:pt x="446" y="402"/>
                  <a:pt x="446" y="402"/>
                </a:cubicBezTo>
                <a:cubicBezTo>
                  <a:pt x="446" y="403"/>
                  <a:pt x="446" y="403"/>
                  <a:pt x="446" y="403"/>
                </a:cubicBezTo>
                <a:cubicBezTo>
                  <a:pt x="446" y="404"/>
                  <a:pt x="446" y="404"/>
                  <a:pt x="446" y="404"/>
                </a:cubicBezTo>
                <a:cubicBezTo>
                  <a:pt x="445" y="404"/>
                  <a:pt x="445" y="404"/>
                  <a:pt x="445" y="404"/>
                </a:cubicBezTo>
                <a:cubicBezTo>
                  <a:pt x="445" y="404"/>
                  <a:pt x="445" y="404"/>
                  <a:pt x="445" y="404"/>
                </a:cubicBezTo>
                <a:cubicBezTo>
                  <a:pt x="448" y="405"/>
                  <a:pt x="448" y="405"/>
                  <a:pt x="448" y="405"/>
                </a:cubicBezTo>
                <a:cubicBezTo>
                  <a:pt x="449" y="406"/>
                  <a:pt x="449" y="406"/>
                  <a:pt x="449" y="406"/>
                </a:cubicBezTo>
                <a:cubicBezTo>
                  <a:pt x="447" y="406"/>
                  <a:pt x="447" y="406"/>
                  <a:pt x="447" y="406"/>
                </a:cubicBezTo>
                <a:cubicBezTo>
                  <a:pt x="447" y="407"/>
                  <a:pt x="447" y="407"/>
                  <a:pt x="447" y="407"/>
                </a:cubicBezTo>
                <a:cubicBezTo>
                  <a:pt x="444" y="407"/>
                  <a:pt x="444" y="407"/>
                  <a:pt x="444" y="407"/>
                </a:cubicBezTo>
                <a:cubicBezTo>
                  <a:pt x="444" y="407"/>
                  <a:pt x="444" y="407"/>
                  <a:pt x="444" y="407"/>
                </a:cubicBezTo>
                <a:cubicBezTo>
                  <a:pt x="442" y="408"/>
                  <a:pt x="442" y="408"/>
                  <a:pt x="442" y="408"/>
                </a:cubicBezTo>
                <a:cubicBezTo>
                  <a:pt x="441" y="409"/>
                  <a:pt x="441" y="409"/>
                  <a:pt x="441" y="409"/>
                </a:cubicBezTo>
                <a:cubicBezTo>
                  <a:pt x="438" y="409"/>
                  <a:pt x="438" y="409"/>
                  <a:pt x="438" y="409"/>
                </a:cubicBezTo>
                <a:cubicBezTo>
                  <a:pt x="435" y="409"/>
                  <a:pt x="435" y="409"/>
                  <a:pt x="435" y="409"/>
                </a:cubicBezTo>
                <a:cubicBezTo>
                  <a:pt x="435" y="410"/>
                  <a:pt x="435" y="410"/>
                  <a:pt x="435" y="410"/>
                </a:cubicBezTo>
                <a:cubicBezTo>
                  <a:pt x="437" y="410"/>
                  <a:pt x="437" y="410"/>
                  <a:pt x="437" y="410"/>
                </a:cubicBezTo>
                <a:cubicBezTo>
                  <a:pt x="440" y="409"/>
                  <a:pt x="440" y="409"/>
                  <a:pt x="440" y="409"/>
                </a:cubicBezTo>
                <a:cubicBezTo>
                  <a:pt x="441" y="409"/>
                  <a:pt x="441" y="409"/>
                  <a:pt x="441" y="409"/>
                </a:cubicBezTo>
                <a:cubicBezTo>
                  <a:pt x="441" y="410"/>
                  <a:pt x="441" y="410"/>
                  <a:pt x="441" y="410"/>
                </a:cubicBezTo>
                <a:cubicBezTo>
                  <a:pt x="438" y="410"/>
                  <a:pt x="438" y="410"/>
                  <a:pt x="438" y="410"/>
                </a:cubicBezTo>
                <a:cubicBezTo>
                  <a:pt x="436" y="411"/>
                  <a:pt x="436" y="411"/>
                  <a:pt x="436" y="411"/>
                </a:cubicBezTo>
                <a:cubicBezTo>
                  <a:pt x="434" y="412"/>
                  <a:pt x="434" y="412"/>
                  <a:pt x="434" y="412"/>
                </a:cubicBezTo>
                <a:cubicBezTo>
                  <a:pt x="433" y="412"/>
                  <a:pt x="433" y="412"/>
                  <a:pt x="433" y="412"/>
                </a:cubicBezTo>
                <a:cubicBezTo>
                  <a:pt x="432" y="412"/>
                  <a:pt x="432" y="412"/>
                  <a:pt x="432" y="412"/>
                </a:cubicBezTo>
                <a:cubicBezTo>
                  <a:pt x="432" y="414"/>
                  <a:pt x="432" y="414"/>
                  <a:pt x="432" y="414"/>
                </a:cubicBezTo>
                <a:cubicBezTo>
                  <a:pt x="431" y="414"/>
                  <a:pt x="431" y="414"/>
                  <a:pt x="431" y="414"/>
                </a:cubicBezTo>
                <a:cubicBezTo>
                  <a:pt x="429" y="413"/>
                  <a:pt x="429" y="413"/>
                  <a:pt x="429" y="413"/>
                </a:cubicBezTo>
                <a:cubicBezTo>
                  <a:pt x="428" y="410"/>
                  <a:pt x="428" y="410"/>
                  <a:pt x="428" y="410"/>
                </a:cubicBezTo>
                <a:cubicBezTo>
                  <a:pt x="428" y="412"/>
                  <a:pt x="428" y="412"/>
                  <a:pt x="428" y="412"/>
                </a:cubicBezTo>
                <a:cubicBezTo>
                  <a:pt x="427" y="412"/>
                  <a:pt x="427" y="412"/>
                  <a:pt x="427" y="412"/>
                </a:cubicBezTo>
                <a:cubicBezTo>
                  <a:pt x="428" y="413"/>
                  <a:pt x="428" y="413"/>
                  <a:pt x="428" y="413"/>
                </a:cubicBezTo>
                <a:cubicBezTo>
                  <a:pt x="428" y="413"/>
                  <a:pt x="428" y="413"/>
                  <a:pt x="428" y="413"/>
                </a:cubicBezTo>
                <a:cubicBezTo>
                  <a:pt x="431" y="415"/>
                  <a:pt x="431" y="415"/>
                  <a:pt x="431" y="415"/>
                </a:cubicBezTo>
                <a:cubicBezTo>
                  <a:pt x="431" y="416"/>
                  <a:pt x="431" y="416"/>
                  <a:pt x="431" y="416"/>
                </a:cubicBezTo>
                <a:cubicBezTo>
                  <a:pt x="430" y="416"/>
                  <a:pt x="430" y="416"/>
                  <a:pt x="430" y="416"/>
                </a:cubicBezTo>
                <a:cubicBezTo>
                  <a:pt x="429" y="416"/>
                  <a:pt x="429" y="416"/>
                  <a:pt x="429" y="416"/>
                </a:cubicBezTo>
                <a:cubicBezTo>
                  <a:pt x="430" y="417"/>
                  <a:pt x="430" y="417"/>
                  <a:pt x="430" y="417"/>
                </a:cubicBezTo>
                <a:cubicBezTo>
                  <a:pt x="430" y="418"/>
                  <a:pt x="430" y="418"/>
                  <a:pt x="430" y="418"/>
                </a:cubicBezTo>
                <a:cubicBezTo>
                  <a:pt x="431" y="417"/>
                  <a:pt x="431" y="417"/>
                  <a:pt x="431" y="417"/>
                </a:cubicBezTo>
                <a:cubicBezTo>
                  <a:pt x="431" y="417"/>
                  <a:pt x="431" y="417"/>
                  <a:pt x="431" y="417"/>
                </a:cubicBezTo>
                <a:cubicBezTo>
                  <a:pt x="432" y="415"/>
                  <a:pt x="432" y="415"/>
                  <a:pt x="432" y="415"/>
                </a:cubicBezTo>
                <a:cubicBezTo>
                  <a:pt x="434" y="415"/>
                  <a:pt x="434" y="415"/>
                  <a:pt x="434" y="415"/>
                </a:cubicBezTo>
                <a:cubicBezTo>
                  <a:pt x="436" y="414"/>
                  <a:pt x="436" y="414"/>
                  <a:pt x="436" y="414"/>
                </a:cubicBezTo>
                <a:cubicBezTo>
                  <a:pt x="437" y="414"/>
                  <a:pt x="437" y="414"/>
                  <a:pt x="437" y="414"/>
                </a:cubicBezTo>
                <a:cubicBezTo>
                  <a:pt x="437" y="413"/>
                  <a:pt x="437" y="413"/>
                  <a:pt x="437" y="413"/>
                </a:cubicBezTo>
                <a:cubicBezTo>
                  <a:pt x="438" y="411"/>
                  <a:pt x="438" y="411"/>
                  <a:pt x="438" y="411"/>
                </a:cubicBezTo>
                <a:cubicBezTo>
                  <a:pt x="440" y="411"/>
                  <a:pt x="440" y="411"/>
                  <a:pt x="440" y="411"/>
                </a:cubicBezTo>
                <a:cubicBezTo>
                  <a:pt x="442" y="410"/>
                  <a:pt x="442" y="410"/>
                  <a:pt x="442" y="410"/>
                </a:cubicBezTo>
                <a:cubicBezTo>
                  <a:pt x="443" y="410"/>
                  <a:pt x="443" y="410"/>
                  <a:pt x="443" y="410"/>
                </a:cubicBezTo>
                <a:cubicBezTo>
                  <a:pt x="445" y="410"/>
                  <a:pt x="445" y="410"/>
                  <a:pt x="445" y="410"/>
                </a:cubicBezTo>
                <a:cubicBezTo>
                  <a:pt x="444" y="410"/>
                  <a:pt x="444" y="410"/>
                  <a:pt x="444" y="410"/>
                </a:cubicBezTo>
                <a:cubicBezTo>
                  <a:pt x="443" y="410"/>
                  <a:pt x="443" y="410"/>
                  <a:pt x="443" y="410"/>
                </a:cubicBezTo>
                <a:cubicBezTo>
                  <a:pt x="442" y="410"/>
                  <a:pt x="442" y="410"/>
                  <a:pt x="442" y="410"/>
                </a:cubicBezTo>
                <a:cubicBezTo>
                  <a:pt x="443" y="409"/>
                  <a:pt x="443" y="409"/>
                  <a:pt x="443" y="409"/>
                </a:cubicBezTo>
                <a:cubicBezTo>
                  <a:pt x="446" y="409"/>
                  <a:pt x="446" y="409"/>
                  <a:pt x="446" y="409"/>
                </a:cubicBezTo>
                <a:cubicBezTo>
                  <a:pt x="448" y="409"/>
                  <a:pt x="448" y="409"/>
                  <a:pt x="448" y="409"/>
                </a:cubicBezTo>
                <a:cubicBezTo>
                  <a:pt x="449" y="411"/>
                  <a:pt x="449" y="411"/>
                  <a:pt x="449" y="411"/>
                </a:cubicBezTo>
                <a:cubicBezTo>
                  <a:pt x="449" y="413"/>
                  <a:pt x="449" y="413"/>
                  <a:pt x="449" y="413"/>
                </a:cubicBezTo>
                <a:cubicBezTo>
                  <a:pt x="447" y="414"/>
                  <a:pt x="447" y="414"/>
                  <a:pt x="447" y="414"/>
                </a:cubicBezTo>
                <a:cubicBezTo>
                  <a:pt x="447" y="414"/>
                  <a:pt x="447" y="414"/>
                  <a:pt x="447" y="414"/>
                </a:cubicBezTo>
                <a:cubicBezTo>
                  <a:pt x="446" y="415"/>
                  <a:pt x="446" y="415"/>
                  <a:pt x="446" y="415"/>
                </a:cubicBezTo>
                <a:cubicBezTo>
                  <a:pt x="447" y="415"/>
                  <a:pt x="447" y="415"/>
                  <a:pt x="447" y="415"/>
                </a:cubicBezTo>
                <a:cubicBezTo>
                  <a:pt x="448" y="416"/>
                  <a:pt x="448" y="416"/>
                  <a:pt x="448" y="416"/>
                </a:cubicBezTo>
                <a:cubicBezTo>
                  <a:pt x="448" y="415"/>
                  <a:pt x="448" y="415"/>
                  <a:pt x="448" y="415"/>
                </a:cubicBezTo>
                <a:cubicBezTo>
                  <a:pt x="449" y="414"/>
                  <a:pt x="449" y="414"/>
                  <a:pt x="449" y="414"/>
                </a:cubicBezTo>
                <a:cubicBezTo>
                  <a:pt x="451" y="413"/>
                  <a:pt x="451" y="413"/>
                  <a:pt x="451" y="413"/>
                </a:cubicBezTo>
                <a:cubicBezTo>
                  <a:pt x="452" y="413"/>
                  <a:pt x="452" y="413"/>
                  <a:pt x="452" y="413"/>
                </a:cubicBezTo>
                <a:cubicBezTo>
                  <a:pt x="452" y="414"/>
                  <a:pt x="452" y="414"/>
                  <a:pt x="452" y="414"/>
                </a:cubicBezTo>
                <a:cubicBezTo>
                  <a:pt x="452" y="414"/>
                  <a:pt x="452" y="414"/>
                  <a:pt x="452" y="414"/>
                </a:cubicBezTo>
                <a:cubicBezTo>
                  <a:pt x="452" y="415"/>
                  <a:pt x="452" y="415"/>
                  <a:pt x="452" y="415"/>
                </a:cubicBezTo>
                <a:cubicBezTo>
                  <a:pt x="453" y="415"/>
                  <a:pt x="453" y="415"/>
                  <a:pt x="453" y="415"/>
                </a:cubicBezTo>
                <a:cubicBezTo>
                  <a:pt x="455" y="416"/>
                  <a:pt x="455" y="416"/>
                  <a:pt x="455" y="416"/>
                </a:cubicBezTo>
                <a:cubicBezTo>
                  <a:pt x="455" y="416"/>
                  <a:pt x="455" y="416"/>
                  <a:pt x="455" y="416"/>
                </a:cubicBezTo>
                <a:cubicBezTo>
                  <a:pt x="454" y="416"/>
                  <a:pt x="454" y="416"/>
                  <a:pt x="454" y="416"/>
                </a:cubicBezTo>
                <a:cubicBezTo>
                  <a:pt x="453" y="416"/>
                  <a:pt x="453" y="416"/>
                  <a:pt x="453" y="416"/>
                </a:cubicBezTo>
                <a:cubicBezTo>
                  <a:pt x="454" y="417"/>
                  <a:pt x="454" y="417"/>
                  <a:pt x="454" y="417"/>
                </a:cubicBezTo>
                <a:cubicBezTo>
                  <a:pt x="455" y="418"/>
                  <a:pt x="455" y="418"/>
                  <a:pt x="455" y="418"/>
                </a:cubicBezTo>
                <a:cubicBezTo>
                  <a:pt x="456" y="419"/>
                  <a:pt x="456" y="419"/>
                  <a:pt x="456" y="419"/>
                </a:cubicBezTo>
                <a:cubicBezTo>
                  <a:pt x="455" y="419"/>
                  <a:pt x="455" y="419"/>
                  <a:pt x="455" y="419"/>
                </a:cubicBezTo>
                <a:cubicBezTo>
                  <a:pt x="454" y="419"/>
                  <a:pt x="454" y="419"/>
                  <a:pt x="454" y="419"/>
                </a:cubicBezTo>
                <a:cubicBezTo>
                  <a:pt x="453" y="420"/>
                  <a:pt x="453" y="420"/>
                  <a:pt x="453" y="420"/>
                </a:cubicBezTo>
                <a:cubicBezTo>
                  <a:pt x="455" y="421"/>
                  <a:pt x="455" y="421"/>
                  <a:pt x="455" y="421"/>
                </a:cubicBezTo>
                <a:cubicBezTo>
                  <a:pt x="454" y="422"/>
                  <a:pt x="454" y="422"/>
                  <a:pt x="454" y="422"/>
                </a:cubicBezTo>
                <a:cubicBezTo>
                  <a:pt x="453" y="422"/>
                  <a:pt x="453" y="422"/>
                  <a:pt x="453" y="422"/>
                </a:cubicBezTo>
                <a:cubicBezTo>
                  <a:pt x="453" y="423"/>
                  <a:pt x="453" y="423"/>
                  <a:pt x="453" y="423"/>
                </a:cubicBezTo>
                <a:cubicBezTo>
                  <a:pt x="452" y="424"/>
                  <a:pt x="452" y="424"/>
                  <a:pt x="452" y="424"/>
                </a:cubicBezTo>
                <a:cubicBezTo>
                  <a:pt x="450" y="423"/>
                  <a:pt x="450" y="423"/>
                  <a:pt x="450" y="423"/>
                </a:cubicBezTo>
                <a:cubicBezTo>
                  <a:pt x="451" y="424"/>
                  <a:pt x="451" y="424"/>
                  <a:pt x="451" y="424"/>
                </a:cubicBezTo>
                <a:cubicBezTo>
                  <a:pt x="453" y="425"/>
                  <a:pt x="453" y="425"/>
                  <a:pt x="453" y="425"/>
                </a:cubicBezTo>
                <a:cubicBezTo>
                  <a:pt x="454" y="424"/>
                  <a:pt x="454" y="424"/>
                  <a:pt x="454" y="424"/>
                </a:cubicBezTo>
                <a:cubicBezTo>
                  <a:pt x="455" y="425"/>
                  <a:pt x="455" y="425"/>
                  <a:pt x="455" y="425"/>
                </a:cubicBezTo>
                <a:cubicBezTo>
                  <a:pt x="454" y="426"/>
                  <a:pt x="454" y="426"/>
                  <a:pt x="454" y="426"/>
                </a:cubicBezTo>
                <a:cubicBezTo>
                  <a:pt x="453" y="426"/>
                  <a:pt x="453" y="426"/>
                  <a:pt x="453" y="426"/>
                </a:cubicBezTo>
                <a:cubicBezTo>
                  <a:pt x="452" y="426"/>
                  <a:pt x="452" y="426"/>
                  <a:pt x="452" y="426"/>
                </a:cubicBezTo>
                <a:cubicBezTo>
                  <a:pt x="453" y="426"/>
                  <a:pt x="453" y="426"/>
                  <a:pt x="453" y="426"/>
                </a:cubicBezTo>
                <a:cubicBezTo>
                  <a:pt x="454" y="426"/>
                  <a:pt x="454" y="426"/>
                  <a:pt x="454" y="426"/>
                </a:cubicBezTo>
                <a:cubicBezTo>
                  <a:pt x="455" y="426"/>
                  <a:pt x="455" y="426"/>
                  <a:pt x="455" y="426"/>
                </a:cubicBezTo>
                <a:cubicBezTo>
                  <a:pt x="454" y="428"/>
                  <a:pt x="454" y="428"/>
                  <a:pt x="454" y="428"/>
                </a:cubicBezTo>
                <a:cubicBezTo>
                  <a:pt x="454" y="429"/>
                  <a:pt x="454" y="429"/>
                  <a:pt x="454" y="429"/>
                </a:cubicBezTo>
                <a:cubicBezTo>
                  <a:pt x="453" y="429"/>
                  <a:pt x="453" y="429"/>
                  <a:pt x="453" y="429"/>
                </a:cubicBezTo>
                <a:cubicBezTo>
                  <a:pt x="452" y="430"/>
                  <a:pt x="452" y="430"/>
                  <a:pt x="452" y="430"/>
                </a:cubicBezTo>
                <a:cubicBezTo>
                  <a:pt x="451" y="431"/>
                  <a:pt x="451" y="431"/>
                  <a:pt x="451" y="431"/>
                </a:cubicBezTo>
                <a:cubicBezTo>
                  <a:pt x="449" y="431"/>
                  <a:pt x="449" y="431"/>
                  <a:pt x="449" y="431"/>
                </a:cubicBezTo>
                <a:cubicBezTo>
                  <a:pt x="448" y="432"/>
                  <a:pt x="448" y="432"/>
                  <a:pt x="448" y="432"/>
                </a:cubicBezTo>
                <a:cubicBezTo>
                  <a:pt x="448" y="432"/>
                  <a:pt x="448" y="432"/>
                  <a:pt x="448" y="432"/>
                </a:cubicBezTo>
                <a:cubicBezTo>
                  <a:pt x="447" y="433"/>
                  <a:pt x="447" y="433"/>
                  <a:pt x="447" y="433"/>
                </a:cubicBezTo>
                <a:cubicBezTo>
                  <a:pt x="446" y="433"/>
                  <a:pt x="446" y="433"/>
                  <a:pt x="446" y="433"/>
                </a:cubicBezTo>
                <a:cubicBezTo>
                  <a:pt x="446" y="434"/>
                  <a:pt x="446" y="434"/>
                  <a:pt x="446" y="434"/>
                </a:cubicBezTo>
                <a:cubicBezTo>
                  <a:pt x="445" y="434"/>
                  <a:pt x="445" y="434"/>
                  <a:pt x="445" y="434"/>
                </a:cubicBezTo>
                <a:cubicBezTo>
                  <a:pt x="444" y="433"/>
                  <a:pt x="444" y="433"/>
                  <a:pt x="444" y="433"/>
                </a:cubicBezTo>
                <a:cubicBezTo>
                  <a:pt x="443" y="434"/>
                  <a:pt x="443" y="434"/>
                  <a:pt x="443" y="434"/>
                </a:cubicBezTo>
                <a:cubicBezTo>
                  <a:pt x="442" y="434"/>
                  <a:pt x="442" y="434"/>
                  <a:pt x="442" y="434"/>
                </a:cubicBezTo>
                <a:cubicBezTo>
                  <a:pt x="442" y="433"/>
                  <a:pt x="442" y="433"/>
                  <a:pt x="442" y="433"/>
                </a:cubicBezTo>
                <a:cubicBezTo>
                  <a:pt x="440" y="434"/>
                  <a:pt x="440" y="434"/>
                  <a:pt x="440" y="434"/>
                </a:cubicBezTo>
                <a:cubicBezTo>
                  <a:pt x="439" y="434"/>
                  <a:pt x="439" y="434"/>
                  <a:pt x="439" y="434"/>
                </a:cubicBezTo>
                <a:cubicBezTo>
                  <a:pt x="438" y="433"/>
                  <a:pt x="438" y="433"/>
                  <a:pt x="438" y="433"/>
                </a:cubicBezTo>
                <a:cubicBezTo>
                  <a:pt x="438" y="433"/>
                  <a:pt x="438" y="433"/>
                  <a:pt x="438" y="433"/>
                </a:cubicBezTo>
                <a:cubicBezTo>
                  <a:pt x="438" y="434"/>
                  <a:pt x="438" y="434"/>
                  <a:pt x="438" y="434"/>
                </a:cubicBezTo>
                <a:cubicBezTo>
                  <a:pt x="437" y="435"/>
                  <a:pt x="437" y="435"/>
                  <a:pt x="437" y="435"/>
                </a:cubicBezTo>
                <a:cubicBezTo>
                  <a:pt x="436" y="434"/>
                  <a:pt x="436" y="434"/>
                  <a:pt x="436" y="434"/>
                </a:cubicBezTo>
                <a:cubicBezTo>
                  <a:pt x="435" y="435"/>
                  <a:pt x="435" y="435"/>
                  <a:pt x="435" y="435"/>
                </a:cubicBezTo>
                <a:cubicBezTo>
                  <a:pt x="436" y="435"/>
                  <a:pt x="436" y="435"/>
                  <a:pt x="436" y="435"/>
                </a:cubicBezTo>
                <a:cubicBezTo>
                  <a:pt x="436" y="436"/>
                  <a:pt x="436" y="436"/>
                  <a:pt x="436" y="436"/>
                </a:cubicBezTo>
                <a:cubicBezTo>
                  <a:pt x="435" y="437"/>
                  <a:pt x="435" y="437"/>
                  <a:pt x="435" y="437"/>
                </a:cubicBezTo>
                <a:cubicBezTo>
                  <a:pt x="434" y="437"/>
                  <a:pt x="434" y="437"/>
                  <a:pt x="434" y="437"/>
                </a:cubicBezTo>
                <a:cubicBezTo>
                  <a:pt x="434" y="438"/>
                  <a:pt x="434" y="438"/>
                  <a:pt x="434" y="438"/>
                </a:cubicBezTo>
                <a:cubicBezTo>
                  <a:pt x="433" y="439"/>
                  <a:pt x="433" y="439"/>
                  <a:pt x="433" y="439"/>
                </a:cubicBezTo>
                <a:cubicBezTo>
                  <a:pt x="432" y="439"/>
                  <a:pt x="432" y="439"/>
                  <a:pt x="432" y="439"/>
                </a:cubicBezTo>
                <a:cubicBezTo>
                  <a:pt x="432" y="440"/>
                  <a:pt x="432" y="440"/>
                  <a:pt x="432" y="440"/>
                </a:cubicBezTo>
                <a:cubicBezTo>
                  <a:pt x="431" y="440"/>
                  <a:pt x="431" y="440"/>
                  <a:pt x="431" y="440"/>
                </a:cubicBezTo>
                <a:cubicBezTo>
                  <a:pt x="430" y="442"/>
                  <a:pt x="430" y="442"/>
                  <a:pt x="430" y="442"/>
                </a:cubicBezTo>
                <a:cubicBezTo>
                  <a:pt x="429" y="441"/>
                  <a:pt x="429" y="441"/>
                  <a:pt x="429" y="441"/>
                </a:cubicBezTo>
                <a:cubicBezTo>
                  <a:pt x="429" y="442"/>
                  <a:pt x="429" y="442"/>
                  <a:pt x="429" y="442"/>
                </a:cubicBezTo>
                <a:cubicBezTo>
                  <a:pt x="427" y="442"/>
                  <a:pt x="427" y="442"/>
                  <a:pt x="427" y="442"/>
                </a:cubicBezTo>
                <a:cubicBezTo>
                  <a:pt x="427" y="443"/>
                  <a:pt x="427" y="443"/>
                  <a:pt x="427" y="443"/>
                </a:cubicBezTo>
                <a:cubicBezTo>
                  <a:pt x="426" y="443"/>
                  <a:pt x="426" y="443"/>
                  <a:pt x="426" y="443"/>
                </a:cubicBezTo>
                <a:cubicBezTo>
                  <a:pt x="425" y="443"/>
                  <a:pt x="425" y="443"/>
                  <a:pt x="425" y="443"/>
                </a:cubicBezTo>
                <a:cubicBezTo>
                  <a:pt x="423" y="443"/>
                  <a:pt x="423" y="443"/>
                  <a:pt x="423" y="443"/>
                </a:cubicBezTo>
                <a:cubicBezTo>
                  <a:pt x="423" y="442"/>
                  <a:pt x="423" y="442"/>
                  <a:pt x="423" y="442"/>
                </a:cubicBezTo>
                <a:cubicBezTo>
                  <a:pt x="421" y="443"/>
                  <a:pt x="421" y="443"/>
                  <a:pt x="421" y="443"/>
                </a:cubicBezTo>
                <a:cubicBezTo>
                  <a:pt x="420" y="443"/>
                  <a:pt x="420" y="443"/>
                  <a:pt x="420" y="443"/>
                </a:cubicBezTo>
                <a:cubicBezTo>
                  <a:pt x="418" y="444"/>
                  <a:pt x="418" y="444"/>
                  <a:pt x="418" y="444"/>
                </a:cubicBezTo>
                <a:cubicBezTo>
                  <a:pt x="416" y="443"/>
                  <a:pt x="416" y="443"/>
                  <a:pt x="416" y="443"/>
                </a:cubicBezTo>
                <a:cubicBezTo>
                  <a:pt x="417" y="443"/>
                  <a:pt x="417" y="443"/>
                  <a:pt x="417" y="443"/>
                </a:cubicBezTo>
                <a:cubicBezTo>
                  <a:pt x="416" y="442"/>
                  <a:pt x="416" y="442"/>
                  <a:pt x="416" y="442"/>
                </a:cubicBezTo>
                <a:cubicBezTo>
                  <a:pt x="415" y="443"/>
                  <a:pt x="415" y="443"/>
                  <a:pt x="415" y="443"/>
                </a:cubicBezTo>
                <a:cubicBezTo>
                  <a:pt x="414" y="443"/>
                  <a:pt x="414" y="443"/>
                  <a:pt x="414" y="443"/>
                </a:cubicBezTo>
                <a:cubicBezTo>
                  <a:pt x="412" y="442"/>
                  <a:pt x="412" y="442"/>
                  <a:pt x="412" y="442"/>
                </a:cubicBezTo>
                <a:cubicBezTo>
                  <a:pt x="411" y="442"/>
                  <a:pt x="411" y="442"/>
                  <a:pt x="411" y="442"/>
                </a:cubicBezTo>
                <a:cubicBezTo>
                  <a:pt x="410" y="442"/>
                  <a:pt x="410" y="442"/>
                  <a:pt x="410" y="442"/>
                </a:cubicBezTo>
                <a:cubicBezTo>
                  <a:pt x="409" y="441"/>
                  <a:pt x="409" y="441"/>
                  <a:pt x="409" y="441"/>
                </a:cubicBezTo>
                <a:cubicBezTo>
                  <a:pt x="408" y="441"/>
                  <a:pt x="408" y="441"/>
                  <a:pt x="408" y="441"/>
                </a:cubicBezTo>
                <a:cubicBezTo>
                  <a:pt x="407" y="442"/>
                  <a:pt x="407" y="442"/>
                  <a:pt x="407" y="442"/>
                </a:cubicBezTo>
                <a:cubicBezTo>
                  <a:pt x="405" y="442"/>
                  <a:pt x="405" y="442"/>
                  <a:pt x="405" y="442"/>
                </a:cubicBezTo>
                <a:cubicBezTo>
                  <a:pt x="404" y="441"/>
                  <a:pt x="404" y="441"/>
                  <a:pt x="404" y="441"/>
                </a:cubicBezTo>
                <a:cubicBezTo>
                  <a:pt x="403" y="442"/>
                  <a:pt x="403" y="442"/>
                  <a:pt x="403" y="442"/>
                </a:cubicBezTo>
                <a:cubicBezTo>
                  <a:pt x="402" y="442"/>
                  <a:pt x="402" y="442"/>
                  <a:pt x="402" y="442"/>
                </a:cubicBezTo>
                <a:cubicBezTo>
                  <a:pt x="401" y="441"/>
                  <a:pt x="401" y="441"/>
                  <a:pt x="401" y="441"/>
                </a:cubicBezTo>
                <a:cubicBezTo>
                  <a:pt x="400" y="442"/>
                  <a:pt x="400" y="442"/>
                  <a:pt x="400" y="442"/>
                </a:cubicBezTo>
                <a:cubicBezTo>
                  <a:pt x="399" y="441"/>
                  <a:pt x="399" y="441"/>
                  <a:pt x="399" y="441"/>
                </a:cubicBezTo>
                <a:cubicBezTo>
                  <a:pt x="398" y="441"/>
                  <a:pt x="398" y="441"/>
                  <a:pt x="398" y="441"/>
                </a:cubicBezTo>
                <a:cubicBezTo>
                  <a:pt x="396" y="441"/>
                  <a:pt x="396" y="441"/>
                  <a:pt x="396" y="441"/>
                </a:cubicBezTo>
                <a:cubicBezTo>
                  <a:pt x="394" y="441"/>
                  <a:pt x="394" y="441"/>
                  <a:pt x="394" y="441"/>
                </a:cubicBezTo>
                <a:cubicBezTo>
                  <a:pt x="392" y="441"/>
                  <a:pt x="392" y="441"/>
                  <a:pt x="392" y="441"/>
                </a:cubicBezTo>
                <a:cubicBezTo>
                  <a:pt x="391" y="439"/>
                  <a:pt x="391" y="439"/>
                  <a:pt x="391" y="439"/>
                </a:cubicBezTo>
                <a:cubicBezTo>
                  <a:pt x="390" y="440"/>
                  <a:pt x="390" y="440"/>
                  <a:pt x="390" y="440"/>
                </a:cubicBezTo>
                <a:cubicBezTo>
                  <a:pt x="389" y="441"/>
                  <a:pt x="389" y="441"/>
                  <a:pt x="389" y="441"/>
                </a:cubicBezTo>
                <a:cubicBezTo>
                  <a:pt x="390" y="441"/>
                  <a:pt x="390" y="441"/>
                  <a:pt x="390" y="441"/>
                </a:cubicBezTo>
                <a:cubicBezTo>
                  <a:pt x="389" y="442"/>
                  <a:pt x="389" y="442"/>
                  <a:pt x="389" y="442"/>
                </a:cubicBezTo>
                <a:cubicBezTo>
                  <a:pt x="388" y="442"/>
                  <a:pt x="388" y="442"/>
                  <a:pt x="388" y="442"/>
                </a:cubicBezTo>
                <a:cubicBezTo>
                  <a:pt x="386" y="444"/>
                  <a:pt x="386" y="444"/>
                  <a:pt x="386" y="444"/>
                </a:cubicBezTo>
                <a:cubicBezTo>
                  <a:pt x="384" y="445"/>
                  <a:pt x="384" y="445"/>
                  <a:pt x="384" y="445"/>
                </a:cubicBezTo>
                <a:cubicBezTo>
                  <a:pt x="384" y="446"/>
                  <a:pt x="384" y="446"/>
                  <a:pt x="384" y="446"/>
                </a:cubicBezTo>
                <a:cubicBezTo>
                  <a:pt x="384" y="446"/>
                  <a:pt x="384" y="446"/>
                  <a:pt x="384" y="446"/>
                </a:cubicBezTo>
                <a:cubicBezTo>
                  <a:pt x="384" y="448"/>
                  <a:pt x="384" y="448"/>
                  <a:pt x="384" y="448"/>
                </a:cubicBezTo>
                <a:cubicBezTo>
                  <a:pt x="383" y="449"/>
                  <a:pt x="383" y="449"/>
                  <a:pt x="383" y="449"/>
                </a:cubicBezTo>
                <a:cubicBezTo>
                  <a:pt x="381" y="449"/>
                  <a:pt x="381" y="449"/>
                  <a:pt x="381" y="449"/>
                </a:cubicBezTo>
                <a:cubicBezTo>
                  <a:pt x="380" y="449"/>
                  <a:pt x="380" y="449"/>
                  <a:pt x="380" y="449"/>
                </a:cubicBezTo>
                <a:cubicBezTo>
                  <a:pt x="378" y="450"/>
                  <a:pt x="378" y="450"/>
                  <a:pt x="378" y="450"/>
                </a:cubicBezTo>
                <a:cubicBezTo>
                  <a:pt x="377" y="451"/>
                  <a:pt x="377" y="451"/>
                  <a:pt x="377" y="451"/>
                </a:cubicBezTo>
                <a:cubicBezTo>
                  <a:pt x="376" y="451"/>
                  <a:pt x="376" y="451"/>
                  <a:pt x="376" y="451"/>
                </a:cubicBezTo>
                <a:cubicBezTo>
                  <a:pt x="376" y="451"/>
                  <a:pt x="376" y="451"/>
                  <a:pt x="376" y="451"/>
                </a:cubicBezTo>
                <a:cubicBezTo>
                  <a:pt x="375" y="451"/>
                  <a:pt x="375" y="451"/>
                  <a:pt x="375" y="451"/>
                </a:cubicBezTo>
                <a:cubicBezTo>
                  <a:pt x="374" y="453"/>
                  <a:pt x="374" y="453"/>
                  <a:pt x="374" y="453"/>
                </a:cubicBezTo>
                <a:cubicBezTo>
                  <a:pt x="373" y="453"/>
                  <a:pt x="373" y="453"/>
                  <a:pt x="373" y="453"/>
                </a:cubicBezTo>
                <a:cubicBezTo>
                  <a:pt x="371" y="454"/>
                  <a:pt x="371" y="454"/>
                  <a:pt x="371" y="454"/>
                </a:cubicBezTo>
                <a:cubicBezTo>
                  <a:pt x="371" y="454"/>
                  <a:pt x="371" y="454"/>
                  <a:pt x="371" y="454"/>
                </a:cubicBezTo>
                <a:cubicBezTo>
                  <a:pt x="370" y="455"/>
                  <a:pt x="370" y="455"/>
                  <a:pt x="370" y="455"/>
                </a:cubicBezTo>
                <a:cubicBezTo>
                  <a:pt x="369" y="457"/>
                  <a:pt x="369" y="457"/>
                  <a:pt x="369" y="457"/>
                </a:cubicBezTo>
                <a:cubicBezTo>
                  <a:pt x="366" y="458"/>
                  <a:pt x="366" y="458"/>
                  <a:pt x="366" y="458"/>
                </a:cubicBezTo>
                <a:cubicBezTo>
                  <a:pt x="366" y="460"/>
                  <a:pt x="366" y="460"/>
                  <a:pt x="366" y="460"/>
                </a:cubicBezTo>
                <a:cubicBezTo>
                  <a:pt x="364" y="461"/>
                  <a:pt x="364" y="461"/>
                  <a:pt x="364" y="461"/>
                </a:cubicBezTo>
                <a:cubicBezTo>
                  <a:pt x="363" y="463"/>
                  <a:pt x="363" y="463"/>
                  <a:pt x="363" y="463"/>
                </a:cubicBezTo>
                <a:cubicBezTo>
                  <a:pt x="362" y="463"/>
                  <a:pt x="362" y="463"/>
                  <a:pt x="362" y="463"/>
                </a:cubicBezTo>
                <a:cubicBezTo>
                  <a:pt x="361" y="465"/>
                  <a:pt x="361" y="465"/>
                  <a:pt x="361" y="465"/>
                </a:cubicBezTo>
                <a:cubicBezTo>
                  <a:pt x="360" y="466"/>
                  <a:pt x="360" y="466"/>
                  <a:pt x="360" y="466"/>
                </a:cubicBezTo>
                <a:cubicBezTo>
                  <a:pt x="357" y="468"/>
                  <a:pt x="357" y="468"/>
                  <a:pt x="357" y="468"/>
                </a:cubicBezTo>
                <a:cubicBezTo>
                  <a:pt x="357" y="469"/>
                  <a:pt x="357" y="469"/>
                  <a:pt x="357" y="469"/>
                </a:cubicBezTo>
                <a:cubicBezTo>
                  <a:pt x="354" y="470"/>
                  <a:pt x="354" y="470"/>
                  <a:pt x="354" y="470"/>
                </a:cubicBezTo>
                <a:cubicBezTo>
                  <a:pt x="352" y="470"/>
                  <a:pt x="352" y="470"/>
                  <a:pt x="352" y="470"/>
                </a:cubicBezTo>
                <a:cubicBezTo>
                  <a:pt x="353" y="471"/>
                  <a:pt x="353" y="471"/>
                  <a:pt x="353" y="471"/>
                </a:cubicBezTo>
                <a:cubicBezTo>
                  <a:pt x="357" y="469"/>
                  <a:pt x="357" y="469"/>
                  <a:pt x="357" y="469"/>
                </a:cubicBezTo>
                <a:cubicBezTo>
                  <a:pt x="359" y="468"/>
                  <a:pt x="359" y="468"/>
                  <a:pt x="359" y="468"/>
                </a:cubicBezTo>
                <a:cubicBezTo>
                  <a:pt x="362" y="466"/>
                  <a:pt x="362" y="466"/>
                  <a:pt x="362" y="466"/>
                </a:cubicBezTo>
                <a:cubicBezTo>
                  <a:pt x="363" y="464"/>
                  <a:pt x="363" y="464"/>
                  <a:pt x="363" y="464"/>
                </a:cubicBezTo>
                <a:cubicBezTo>
                  <a:pt x="365" y="463"/>
                  <a:pt x="365" y="463"/>
                  <a:pt x="365" y="463"/>
                </a:cubicBezTo>
                <a:cubicBezTo>
                  <a:pt x="366" y="462"/>
                  <a:pt x="366" y="462"/>
                  <a:pt x="366" y="462"/>
                </a:cubicBezTo>
                <a:cubicBezTo>
                  <a:pt x="369" y="459"/>
                  <a:pt x="369" y="459"/>
                  <a:pt x="369" y="459"/>
                </a:cubicBezTo>
                <a:cubicBezTo>
                  <a:pt x="373" y="457"/>
                  <a:pt x="373" y="457"/>
                  <a:pt x="373" y="457"/>
                </a:cubicBezTo>
                <a:cubicBezTo>
                  <a:pt x="376" y="455"/>
                  <a:pt x="376" y="455"/>
                  <a:pt x="376" y="455"/>
                </a:cubicBezTo>
                <a:cubicBezTo>
                  <a:pt x="378" y="454"/>
                  <a:pt x="378" y="454"/>
                  <a:pt x="378" y="454"/>
                </a:cubicBezTo>
                <a:cubicBezTo>
                  <a:pt x="379" y="454"/>
                  <a:pt x="379" y="454"/>
                  <a:pt x="379" y="454"/>
                </a:cubicBezTo>
                <a:cubicBezTo>
                  <a:pt x="383" y="453"/>
                  <a:pt x="383" y="453"/>
                  <a:pt x="383" y="453"/>
                </a:cubicBezTo>
                <a:cubicBezTo>
                  <a:pt x="386" y="452"/>
                  <a:pt x="386" y="452"/>
                  <a:pt x="386" y="452"/>
                </a:cubicBezTo>
                <a:cubicBezTo>
                  <a:pt x="388" y="452"/>
                  <a:pt x="388" y="452"/>
                  <a:pt x="388" y="452"/>
                </a:cubicBezTo>
                <a:cubicBezTo>
                  <a:pt x="389" y="451"/>
                  <a:pt x="389" y="451"/>
                  <a:pt x="389" y="451"/>
                </a:cubicBezTo>
                <a:cubicBezTo>
                  <a:pt x="393" y="451"/>
                  <a:pt x="393" y="451"/>
                  <a:pt x="393" y="451"/>
                </a:cubicBezTo>
                <a:cubicBezTo>
                  <a:pt x="396" y="452"/>
                  <a:pt x="396" y="452"/>
                  <a:pt x="396" y="452"/>
                </a:cubicBezTo>
                <a:cubicBezTo>
                  <a:pt x="398" y="453"/>
                  <a:pt x="398" y="453"/>
                  <a:pt x="398" y="453"/>
                </a:cubicBezTo>
                <a:cubicBezTo>
                  <a:pt x="398" y="454"/>
                  <a:pt x="398" y="454"/>
                  <a:pt x="398" y="454"/>
                </a:cubicBezTo>
                <a:cubicBezTo>
                  <a:pt x="396" y="454"/>
                  <a:pt x="396" y="454"/>
                  <a:pt x="396" y="454"/>
                </a:cubicBezTo>
                <a:cubicBezTo>
                  <a:pt x="396" y="454"/>
                  <a:pt x="396" y="454"/>
                  <a:pt x="396" y="454"/>
                </a:cubicBezTo>
                <a:cubicBezTo>
                  <a:pt x="396" y="454"/>
                  <a:pt x="396" y="454"/>
                  <a:pt x="396" y="454"/>
                </a:cubicBezTo>
                <a:cubicBezTo>
                  <a:pt x="397" y="454"/>
                  <a:pt x="397" y="454"/>
                  <a:pt x="397" y="454"/>
                </a:cubicBezTo>
                <a:cubicBezTo>
                  <a:pt x="398" y="455"/>
                  <a:pt x="398" y="455"/>
                  <a:pt x="398" y="455"/>
                </a:cubicBezTo>
                <a:cubicBezTo>
                  <a:pt x="399" y="455"/>
                  <a:pt x="399" y="455"/>
                  <a:pt x="399" y="455"/>
                </a:cubicBezTo>
                <a:cubicBezTo>
                  <a:pt x="398" y="456"/>
                  <a:pt x="398" y="456"/>
                  <a:pt x="398" y="456"/>
                </a:cubicBezTo>
                <a:cubicBezTo>
                  <a:pt x="399" y="456"/>
                  <a:pt x="399" y="456"/>
                  <a:pt x="399" y="456"/>
                </a:cubicBezTo>
                <a:cubicBezTo>
                  <a:pt x="398" y="458"/>
                  <a:pt x="398" y="458"/>
                  <a:pt x="398" y="458"/>
                </a:cubicBezTo>
                <a:cubicBezTo>
                  <a:pt x="396" y="459"/>
                  <a:pt x="396" y="459"/>
                  <a:pt x="396" y="459"/>
                </a:cubicBezTo>
                <a:cubicBezTo>
                  <a:pt x="395" y="460"/>
                  <a:pt x="395" y="460"/>
                  <a:pt x="395" y="460"/>
                </a:cubicBezTo>
                <a:cubicBezTo>
                  <a:pt x="394" y="460"/>
                  <a:pt x="394" y="460"/>
                  <a:pt x="394" y="460"/>
                </a:cubicBezTo>
                <a:cubicBezTo>
                  <a:pt x="393" y="461"/>
                  <a:pt x="393" y="461"/>
                  <a:pt x="393" y="461"/>
                </a:cubicBezTo>
                <a:cubicBezTo>
                  <a:pt x="391" y="461"/>
                  <a:pt x="391" y="461"/>
                  <a:pt x="391" y="461"/>
                </a:cubicBezTo>
                <a:cubicBezTo>
                  <a:pt x="390" y="460"/>
                  <a:pt x="390" y="460"/>
                  <a:pt x="390" y="460"/>
                </a:cubicBezTo>
                <a:cubicBezTo>
                  <a:pt x="389" y="460"/>
                  <a:pt x="389" y="460"/>
                  <a:pt x="389" y="460"/>
                </a:cubicBezTo>
                <a:cubicBezTo>
                  <a:pt x="388" y="460"/>
                  <a:pt x="388" y="460"/>
                  <a:pt x="388" y="460"/>
                </a:cubicBezTo>
                <a:cubicBezTo>
                  <a:pt x="386" y="461"/>
                  <a:pt x="386" y="461"/>
                  <a:pt x="386" y="461"/>
                </a:cubicBezTo>
                <a:cubicBezTo>
                  <a:pt x="385" y="460"/>
                  <a:pt x="385" y="460"/>
                  <a:pt x="385" y="460"/>
                </a:cubicBezTo>
                <a:cubicBezTo>
                  <a:pt x="383" y="461"/>
                  <a:pt x="383" y="461"/>
                  <a:pt x="383" y="461"/>
                </a:cubicBezTo>
                <a:cubicBezTo>
                  <a:pt x="385" y="461"/>
                  <a:pt x="385" y="461"/>
                  <a:pt x="385" y="461"/>
                </a:cubicBezTo>
                <a:cubicBezTo>
                  <a:pt x="387" y="461"/>
                  <a:pt x="387" y="461"/>
                  <a:pt x="387" y="461"/>
                </a:cubicBezTo>
                <a:cubicBezTo>
                  <a:pt x="389" y="462"/>
                  <a:pt x="389" y="462"/>
                  <a:pt x="389" y="462"/>
                </a:cubicBezTo>
                <a:cubicBezTo>
                  <a:pt x="390" y="463"/>
                  <a:pt x="390" y="463"/>
                  <a:pt x="390" y="463"/>
                </a:cubicBezTo>
                <a:cubicBezTo>
                  <a:pt x="390" y="464"/>
                  <a:pt x="390" y="464"/>
                  <a:pt x="390" y="464"/>
                </a:cubicBezTo>
                <a:cubicBezTo>
                  <a:pt x="392" y="463"/>
                  <a:pt x="392" y="463"/>
                  <a:pt x="392" y="463"/>
                </a:cubicBezTo>
                <a:cubicBezTo>
                  <a:pt x="393" y="462"/>
                  <a:pt x="393" y="462"/>
                  <a:pt x="393" y="462"/>
                </a:cubicBezTo>
                <a:cubicBezTo>
                  <a:pt x="394" y="462"/>
                  <a:pt x="394" y="462"/>
                  <a:pt x="394" y="462"/>
                </a:cubicBezTo>
                <a:cubicBezTo>
                  <a:pt x="394" y="463"/>
                  <a:pt x="394" y="463"/>
                  <a:pt x="394" y="463"/>
                </a:cubicBezTo>
                <a:cubicBezTo>
                  <a:pt x="395" y="463"/>
                  <a:pt x="395" y="463"/>
                  <a:pt x="395" y="463"/>
                </a:cubicBezTo>
                <a:cubicBezTo>
                  <a:pt x="396" y="463"/>
                  <a:pt x="396" y="463"/>
                  <a:pt x="396" y="463"/>
                </a:cubicBezTo>
                <a:cubicBezTo>
                  <a:pt x="394" y="464"/>
                  <a:pt x="394" y="464"/>
                  <a:pt x="394" y="464"/>
                </a:cubicBezTo>
                <a:cubicBezTo>
                  <a:pt x="393" y="468"/>
                  <a:pt x="393" y="468"/>
                  <a:pt x="393" y="468"/>
                </a:cubicBezTo>
                <a:cubicBezTo>
                  <a:pt x="392" y="468"/>
                  <a:pt x="392" y="468"/>
                  <a:pt x="392" y="468"/>
                </a:cubicBezTo>
                <a:cubicBezTo>
                  <a:pt x="391" y="469"/>
                  <a:pt x="391" y="469"/>
                  <a:pt x="391" y="469"/>
                </a:cubicBezTo>
                <a:cubicBezTo>
                  <a:pt x="394" y="469"/>
                  <a:pt x="394" y="469"/>
                  <a:pt x="394" y="469"/>
                </a:cubicBezTo>
                <a:cubicBezTo>
                  <a:pt x="394" y="469"/>
                  <a:pt x="394" y="469"/>
                  <a:pt x="394" y="469"/>
                </a:cubicBezTo>
                <a:cubicBezTo>
                  <a:pt x="393" y="470"/>
                  <a:pt x="393" y="470"/>
                  <a:pt x="393" y="470"/>
                </a:cubicBezTo>
                <a:cubicBezTo>
                  <a:pt x="394" y="471"/>
                  <a:pt x="394" y="471"/>
                  <a:pt x="394" y="471"/>
                </a:cubicBezTo>
                <a:cubicBezTo>
                  <a:pt x="394" y="472"/>
                  <a:pt x="394" y="472"/>
                  <a:pt x="394" y="472"/>
                </a:cubicBezTo>
                <a:cubicBezTo>
                  <a:pt x="394" y="474"/>
                  <a:pt x="394" y="474"/>
                  <a:pt x="394" y="474"/>
                </a:cubicBezTo>
                <a:cubicBezTo>
                  <a:pt x="394" y="474"/>
                  <a:pt x="394" y="474"/>
                  <a:pt x="394" y="474"/>
                </a:cubicBezTo>
                <a:cubicBezTo>
                  <a:pt x="395" y="476"/>
                  <a:pt x="395" y="476"/>
                  <a:pt x="395" y="476"/>
                </a:cubicBezTo>
                <a:cubicBezTo>
                  <a:pt x="396" y="476"/>
                  <a:pt x="396" y="476"/>
                  <a:pt x="396" y="476"/>
                </a:cubicBezTo>
                <a:cubicBezTo>
                  <a:pt x="397" y="477"/>
                  <a:pt x="397" y="477"/>
                  <a:pt x="397" y="477"/>
                </a:cubicBezTo>
                <a:cubicBezTo>
                  <a:pt x="399" y="477"/>
                  <a:pt x="399" y="477"/>
                  <a:pt x="399" y="477"/>
                </a:cubicBezTo>
                <a:cubicBezTo>
                  <a:pt x="398" y="478"/>
                  <a:pt x="398" y="478"/>
                  <a:pt x="398" y="478"/>
                </a:cubicBezTo>
                <a:cubicBezTo>
                  <a:pt x="397" y="478"/>
                  <a:pt x="397" y="478"/>
                  <a:pt x="397" y="478"/>
                </a:cubicBezTo>
                <a:cubicBezTo>
                  <a:pt x="399" y="479"/>
                  <a:pt x="399" y="479"/>
                  <a:pt x="399" y="479"/>
                </a:cubicBezTo>
                <a:cubicBezTo>
                  <a:pt x="401" y="479"/>
                  <a:pt x="401" y="479"/>
                  <a:pt x="401" y="479"/>
                </a:cubicBezTo>
                <a:cubicBezTo>
                  <a:pt x="402" y="480"/>
                  <a:pt x="402" y="480"/>
                  <a:pt x="402" y="480"/>
                </a:cubicBezTo>
                <a:cubicBezTo>
                  <a:pt x="402" y="479"/>
                  <a:pt x="402" y="479"/>
                  <a:pt x="402" y="479"/>
                </a:cubicBezTo>
                <a:cubicBezTo>
                  <a:pt x="404" y="480"/>
                  <a:pt x="404" y="480"/>
                  <a:pt x="404" y="480"/>
                </a:cubicBezTo>
                <a:cubicBezTo>
                  <a:pt x="404" y="481"/>
                  <a:pt x="404" y="481"/>
                  <a:pt x="404" y="481"/>
                </a:cubicBezTo>
                <a:cubicBezTo>
                  <a:pt x="406" y="481"/>
                  <a:pt x="406" y="481"/>
                  <a:pt x="406" y="481"/>
                </a:cubicBezTo>
                <a:cubicBezTo>
                  <a:pt x="407" y="480"/>
                  <a:pt x="407" y="480"/>
                  <a:pt x="407" y="480"/>
                </a:cubicBezTo>
                <a:cubicBezTo>
                  <a:pt x="409" y="479"/>
                  <a:pt x="409" y="479"/>
                  <a:pt x="409" y="479"/>
                </a:cubicBezTo>
                <a:cubicBezTo>
                  <a:pt x="409" y="480"/>
                  <a:pt x="409" y="480"/>
                  <a:pt x="409" y="480"/>
                </a:cubicBezTo>
                <a:cubicBezTo>
                  <a:pt x="408" y="481"/>
                  <a:pt x="408" y="481"/>
                  <a:pt x="408" y="481"/>
                </a:cubicBezTo>
                <a:cubicBezTo>
                  <a:pt x="410" y="481"/>
                  <a:pt x="410" y="481"/>
                  <a:pt x="410" y="481"/>
                </a:cubicBezTo>
                <a:cubicBezTo>
                  <a:pt x="412" y="482"/>
                  <a:pt x="412" y="482"/>
                  <a:pt x="412" y="482"/>
                </a:cubicBezTo>
                <a:cubicBezTo>
                  <a:pt x="412" y="483"/>
                  <a:pt x="412" y="483"/>
                  <a:pt x="412" y="483"/>
                </a:cubicBezTo>
                <a:cubicBezTo>
                  <a:pt x="411" y="483"/>
                  <a:pt x="411" y="483"/>
                  <a:pt x="411" y="483"/>
                </a:cubicBezTo>
                <a:cubicBezTo>
                  <a:pt x="411" y="483"/>
                  <a:pt x="411" y="483"/>
                  <a:pt x="411" y="483"/>
                </a:cubicBezTo>
                <a:cubicBezTo>
                  <a:pt x="412" y="484"/>
                  <a:pt x="412" y="484"/>
                  <a:pt x="412" y="484"/>
                </a:cubicBezTo>
                <a:cubicBezTo>
                  <a:pt x="413" y="484"/>
                  <a:pt x="413" y="484"/>
                  <a:pt x="413" y="484"/>
                </a:cubicBezTo>
                <a:cubicBezTo>
                  <a:pt x="414" y="484"/>
                  <a:pt x="414" y="484"/>
                  <a:pt x="414" y="484"/>
                </a:cubicBezTo>
                <a:cubicBezTo>
                  <a:pt x="413" y="485"/>
                  <a:pt x="413" y="485"/>
                  <a:pt x="413" y="485"/>
                </a:cubicBezTo>
                <a:cubicBezTo>
                  <a:pt x="412" y="484"/>
                  <a:pt x="412" y="484"/>
                  <a:pt x="412" y="484"/>
                </a:cubicBezTo>
                <a:cubicBezTo>
                  <a:pt x="411" y="485"/>
                  <a:pt x="411" y="485"/>
                  <a:pt x="411" y="485"/>
                </a:cubicBezTo>
                <a:cubicBezTo>
                  <a:pt x="409" y="485"/>
                  <a:pt x="409" y="485"/>
                  <a:pt x="409" y="485"/>
                </a:cubicBezTo>
                <a:cubicBezTo>
                  <a:pt x="406" y="487"/>
                  <a:pt x="406" y="487"/>
                  <a:pt x="406" y="487"/>
                </a:cubicBezTo>
                <a:cubicBezTo>
                  <a:pt x="405" y="487"/>
                  <a:pt x="405" y="487"/>
                  <a:pt x="405" y="487"/>
                </a:cubicBezTo>
                <a:cubicBezTo>
                  <a:pt x="403" y="487"/>
                  <a:pt x="403" y="487"/>
                  <a:pt x="403" y="487"/>
                </a:cubicBezTo>
                <a:cubicBezTo>
                  <a:pt x="401" y="488"/>
                  <a:pt x="401" y="488"/>
                  <a:pt x="401" y="488"/>
                </a:cubicBezTo>
                <a:cubicBezTo>
                  <a:pt x="399" y="489"/>
                  <a:pt x="399" y="489"/>
                  <a:pt x="399" y="489"/>
                </a:cubicBezTo>
                <a:cubicBezTo>
                  <a:pt x="398" y="489"/>
                  <a:pt x="398" y="489"/>
                  <a:pt x="398" y="489"/>
                </a:cubicBezTo>
                <a:cubicBezTo>
                  <a:pt x="398" y="489"/>
                  <a:pt x="398" y="489"/>
                  <a:pt x="398" y="489"/>
                </a:cubicBezTo>
                <a:cubicBezTo>
                  <a:pt x="396" y="489"/>
                  <a:pt x="396" y="489"/>
                  <a:pt x="396" y="489"/>
                </a:cubicBezTo>
                <a:cubicBezTo>
                  <a:pt x="396" y="488"/>
                  <a:pt x="396" y="488"/>
                  <a:pt x="396" y="488"/>
                </a:cubicBezTo>
                <a:cubicBezTo>
                  <a:pt x="395" y="488"/>
                  <a:pt x="395" y="488"/>
                  <a:pt x="395" y="488"/>
                </a:cubicBezTo>
                <a:cubicBezTo>
                  <a:pt x="395" y="489"/>
                  <a:pt x="395" y="489"/>
                  <a:pt x="395" y="489"/>
                </a:cubicBezTo>
                <a:cubicBezTo>
                  <a:pt x="394" y="488"/>
                  <a:pt x="394" y="488"/>
                  <a:pt x="394" y="488"/>
                </a:cubicBezTo>
                <a:cubicBezTo>
                  <a:pt x="393" y="490"/>
                  <a:pt x="393" y="490"/>
                  <a:pt x="393" y="490"/>
                </a:cubicBezTo>
                <a:cubicBezTo>
                  <a:pt x="394" y="491"/>
                  <a:pt x="394" y="491"/>
                  <a:pt x="394" y="491"/>
                </a:cubicBezTo>
                <a:cubicBezTo>
                  <a:pt x="392" y="492"/>
                  <a:pt x="392" y="492"/>
                  <a:pt x="392" y="492"/>
                </a:cubicBezTo>
                <a:cubicBezTo>
                  <a:pt x="390" y="494"/>
                  <a:pt x="390" y="494"/>
                  <a:pt x="390" y="494"/>
                </a:cubicBezTo>
                <a:cubicBezTo>
                  <a:pt x="389" y="495"/>
                  <a:pt x="389" y="495"/>
                  <a:pt x="389" y="495"/>
                </a:cubicBezTo>
                <a:cubicBezTo>
                  <a:pt x="387" y="496"/>
                  <a:pt x="387" y="496"/>
                  <a:pt x="387" y="496"/>
                </a:cubicBezTo>
                <a:cubicBezTo>
                  <a:pt x="387" y="496"/>
                  <a:pt x="387" y="496"/>
                  <a:pt x="387" y="496"/>
                </a:cubicBezTo>
                <a:cubicBezTo>
                  <a:pt x="386" y="496"/>
                  <a:pt x="386" y="496"/>
                  <a:pt x="386" y="496"/>
                </a:cubicBezTo>
                <a:cubicBezTo>
                  <a:pt x="386" y="497"/>
                  <a:pt x="386" y="497"/>
                  <a:pt x="386" y="497"/>
                </a:cubicBezTo>
                <a:cubicBezTo>
                  <a:pt x="386" y="497"/>
                  <a:pt x="386" y="497"/>
                  <a:pt x="386" y="497"/>
                </a:cubicBezTo>
                <a:cubicBezTo>
                  <a:pt x="385" y="497"/>
                  <a:pt x="385" y="497"/>
                  <a:pt x="385" y="497"/>
                </a:cubicBezTo>
                <a:cubicBezTo>
                  <a:pt x="384" y="497"/>
                  <a:pt x="384" y="497"/>
                  <a:pt x="384" y="497"/>
                </a:cubicBezTo>
                <a:cubicBezTo>
                  <a:pt x="383" y="497"/>
                  <a:pt x="383" y="497"/>
                  <a:pt x="383" y="497"/>
                </a:cubicBezTo>
                <a:cubicBezTo>
                  <a:pt x="383" y="495"/>
                  <a:pt x="383" y="495"/>
                  <a:pt x="383" y="495"/>
                </a:cubicBezTo>
                <a:cubicBezTo>
                  <a:pt x="382" y="495"/>
                  <a:pt x="382" y="495"/>
                  <a:pt x="382" y="495"/>
                </a:cubicBezTo>
                <a:cubicBezTo>
                  <a:pt x="382" y="495"/>
                  <a:pt x="382" y="495"/>
                  <a:pt x="382" y="495"/>
                </a:cubicBezTo>
                <a:cubicBezTo>
                  <a:pt x="382" y="494"/>
                  <a:pt x="382" y="494"/>
                  <a:pt x="382" y="494"/>
                </a:cubicBezTo>
                <a:cubicBezTo>
                  <a:pt x="381" y="493"/>
                  <a:pt x="381" y="493"/>
                  <a:pt x="381" y="493"/>
                </a:cubicBezTo>
                <a:cubicBezTo>
                  <a:pt x="381" y="491"/>
                  <a:pt x="381" y="491"/>
                  <a:pt x="381" y="491"/>
                </a:cubicBezTo>
                <a:cubicBezTo>
                  <a:pt x="382" y="489"/>
                  <a:pt x="382" y="489"/>
                  <a:pt x="382" y="489"/>
                </a:cubicBezTo>
                <a:cubicBezTo>
                  <a:pt x="384" y="488"/>
                  <a:pt x="384" y="488"/>
                  <a:pt x="384" y="488"/>
                </a:cubicBezTo>
                <a:cubicBezTo>
                  <a:pt x="384" y="487"/>
                  <a:pt x="384" y="487"/>
                  <a:pt x="384" y="487"/>
                </a:cubicBezTo>
                <a:cubicBezTo>
                  <a:pt x="386" y="486"/>
                  <a:pt x="386" y="486"/>
                  <a:pt x="386" y="486"/>
                </a:cubicBezTo>
                <a:cubicBezTo>
                  <a:pt x="389" y="485"/>
                  <a:pt x="389" y="485"/>
                  <a:pt x="389" y="485"/>
                </a:cubicBezTo>
                <a:cubicBezTo>
                  <a:pt x="391" y="484"/>
                  <a:pt x="391" y="484"/>
                  <a:pt x="391" y="484"/>
                </a:cubicBezTo>
                <a:cubicBezTo>
                  <a:pt x="393" y="483"/>
                  <a:pt x="393" y="483"/>
                  <a:pt x="393" y="483"/>
                </a:cubicBezTo>
                <a:cubicBezTo>
                  <a:pt x="394" y="484"/>
                  <a:pt x="394" y="484"/>
                  <a:pt x="394" y="484"/>
                </a:cubicBezTo>
                <a:cubicBezTo>
                  <a:pt x="394" y="485"/>
                  <a:pt x="394" y="485"/>
                  <a:pt x="394" y="485"/>
                </a:cubicBezTo>
                <a:cubicBezTo>
                  <a:pt x="395" y="485"/>
                  <a:pt x="395" y="485"/>
                  <a:pt x="395" y="485"/>
                </a:cubicBezTo>
                <a:cubicBezTo>
                  <a:pt x="395" y="485"/>
                  <a:pt x="395" y="485"/>
                  <a:pt x="395" y="485"/>
                </a:cubicBezTo>
                <a:cubicBezTo>
                  <a:pt x="395" y="484"/>
                  <a:pt x="395" y="484"/>
                  <a:pt x="395" y="484"/>
                </a:cubicBezTo>
                <a:cubicBezTo>
                  <a:pt x="396" y="484"/>
                  <a:pt x="396" y="484"/>
                  <a:pt x="396" y="484"/>
                </a:cubicBezTo>
                <a:cubicBezTo>
                  <a:pt x="398" y="483"/>
                  <a:pt x="398" y="483"/>
                  <a:pt x="398" y="483"/>
                </a:cubicBezTo>
                <a:cubicBezTo>
                  <a:pt x="399" y="483"/>
                  <a:pt x="399" y="483"/>
                  <a:pt x="399" y="483"/>
                </a:cubicBezTo>
                <a:cubicBezTo>
                  <a:pt x="397" y="483"/>
                  <a:pt x="397" y="483"/>
                  <a:pt x="397" y="483"/>
                </a:cubicBezTo>
                <a:cubicBezTo>
                  <a:pt x="395" y="483"/>
                  <a:pt x="395" y="483"/>
                  <a:pt x="395" y="483"/>
                </a:cubicBezTo>
                <a:cubicBezTo>
                  <a:pt x="394" y="482"/>
                  <a:pt x="394" y="482"/>
                  <a:pt x="394" y="482"/>
                </a:cubicBezTo>
                <a:cubicBezTo>
                  <a:pt x="393" y="482"/>
                  <a:pt x="393" y="482"/>
                  <a:pt x="393" y="482"/>
                </a:cubicBezTo>
                <a:cubicBezTo>
                  <a:pt x="392" y="483"/>
                  <a:pt x="392" y="483"/>
                  <a:pt x="392" y="483"/>
                </a:cubicBezTo>
                <a:cubicBezTo>
                  <a:pt x="390" y="483"/>
                  <a:pt x="390" y="483"/>
                  <a:pt x="390" y="483"/>
                </a:cubicBezTo>
                <a:cubicBezTo>
                  <a:pt x="392" y="481"/>
                  <a:pt x="392" y="481"/>
                  <a:pt x="392" y="481"/>
                </a:cubicBezTo>
                <a:cubicBezTo>
                  <a:pt x="393" y="481"/>
                  <a:pt x="393" y="481"/>
                  <a:pt x="393" y="481"/>
                </a:cubicBezTo>
                <a:cubicBezTo>
                  <a:pt x="394" y="480"/>
                  <a:pt x="394" y="480"/>
                  <a:pt x="394" y="480"/>
                </a:cubicBezTo>
                <a:cubicBezTo>
                  <a:pt x="394" y="479"/>
                  <a:pt x="394" y="479"/>
                  <a:pt x="394" y="479"/>
                </a:cubicBezTo>
                <a:cubicBezTo>
                  <a:pt x="393" y="479"/>
                  <a:pt x="393" y="479"/>
                  <a:pt x="393" y="479"/>
                </a:cubicBezTo>
                <a:cubicBezTo>
                  <a:pt x="393" y="479"/>
                  <a:pt x="393" y="479"/>
                  <a:pt x="393" y="479"/>
                </a:cubicBezTo>
                <a:cubicBezTo>
                  <a:pt x="392" y="480"/>
                  <a:pt x="392" y="480"/>
                  <a:pt x="392" y="480"/>
                </a:cubicBezTo>
                <a:cubicBezTo>
                  <a:pt x="391" y="481"/>
                  <a:pt x="391" y="481"/>
                  <a:pt x="391" y="481"/>
                </a:cubicBezTo>
                <a:cubicBezTo>
                  <a:pt x="390" y="482"/>
                  <a:pt x="390" y="482"/>
                  <a:pt x="390" y="482"/>
                </a:cubicBezTo>
                <a:cubicBezTo>
                  <a:pt x="388" y="482"/>
                  <a:pt x="388" y="482"/>
                  <a:pt x="388" y="482"/>
                </a:cubicBezTo>
                <a:cubicBezTo>
                  <a:pt x="388" y="483"/>
                  <a:pt x="388" y="483"/>
                  <a:pt x="388" y="483"/>
                </a:cubicBezTo>
                <a:cubicBezTo>
                  <a:pt x="385" y="484"/>
                  <a:pt x="385" y="484"/>
                  <a:pt x="385" y="484"/>
                </a:cubicBezTo>
                <a:cubicBezTo>
                  <a:pt x="384" y="483"/>
                  <a:pt x="384" y="483"/>
                  <a:pt x="384" y="483"/>
                </a:cubicBezTo>
                <a:cubicBezTo>
                  <a:pt x="385" y="483"/>
                  <a:pt x="385" y="483"/>
                  <a:pt x="385" y="483"/>
                </a:cubicBezTo>
                <a:cubicBezTo>
                  <a:pt x="384" y="483"/>
                  <a:pt x="384" y="483"/>
                  <a:pt x="384" y="483"/>
                </a:cubicBezTo>
                <a:cubicBezTo>
                  <a:pt x="385" y="481"/>
                  <a:pt x="385" y="481"/>
                  <a:pt x="385" y="481"/>
                </a:cubicBezTo>
                <a:cubicBezTo>
                  <a:pt x="384" y="483"/>
                  <a:pt x="384" y="483"/>
                  <a:pt x="384" y="483"/>
                </a:cubicBezTo>
                <a:cubicBezTo>
                  <a:pt x="383" y="484"/>
                  <a:pt x="383" y="484"/>
                  <a:pt x="383" y="484"/>
                </a:cubicBezTo>
                <a:cubicBezTo>
                  <a:pt x="382" y="484"/>
                  <a:pt x="382" y="484"/>
                  <a:pt x="382" y="484"/>
                </a:cubicBezTo>
                <a:cubicBezTo>
                  <a:pt x="381" y="484"/>
                  <a:pt x="381" y="484"/>
                  <a:pt x="381" y="484"/>
                </a:cubicBezTo>
                <a:cubicBezTo>
                  <a:pt x="380" y="485"/>
                  <a:pt x="380" y="485"/>
                  <a:pt x="380" y="485"/>
                </a:cubicBezTo>
                <a:cubicBezTo>
                  <a:pt x="379" y="484"/>
                  <a:pt x="379" y="484"/>
                  <a:pt x="379" y="484"/>
                </a:cubicBezTo>
                <a:cubicBezTo>
                  <a:pt x="379" y="483"/>
                  <a:pt x="379" y="483"/>
                  <a:pt x="379" y="483"/>
                </a:cubicBezTo>
                <a:cubicBezTo>
                  <a:pt x="378" y="484"/>
                  <a:pt x="378" y="484"/>
                  <a:pt x="378" y="484"/>
                </a:cubicBezTo>
                <a:cubicBezTo>
                  <a:pt x="376" y="483"/>
                  <a:pt x="376" y="483"/>
                  <a:pt x="376" y="483"/>
                </a:cubicBezTo>
                <a:cubicBezTo>
                  <a:pt x="376" y="483"/>
                  <a:pt x="376" y="483"/>
                  <a:pt x="376" y="483"/>
                </a:cubicBezTo>
                <a:cubicBezTo>
                  <a:pt x="375" y="483"/>
                  <a:pt x="375" y="483"/>
                  <a:pt x="375" y="483"/>
                </a:cubicBezTo>
                <a:cubicBezTo>
                  <a:pt x="376" y="482"/>
                  <a:pt x="376" y="482"/>
                  <a:pt x="376" y="482"/>
                </a:cubicBezTo>
                <a:cubicBezTo>
                  <a:pt x="376" y="482"/>
                  <a:pt x="376" y="482"/>
                  <a:pt x="376" y="482"/>
                </a:cubicBezTo>
                <a:cubicBezTo>
                  <a:pt x="376" y="481"/>
                  <a:pt x="376" y="481"/>
                  <a:pt x="376" y="481"/>
                </a:cubicBezTo>
                <a:cubicBezTo>
                  <a:pt x="376" y="480"/>
                  <a:pt x="376" y="480"/>
                  <a:pt x="376" y="480"/>
                </a:cubicBezTo>
                <a:cubicBezTo>
                  <a:pt x="375" y="479"/>
                  <a:pt x="375" y="479"/>
                  <a:pt x="375" y="479"/>
                </a:cubicBezTo>
                <a:cubicBezTo>
                  <a:pt x="375" y="479"/>
                  <a:pt x="375" y="479"/>
                  <a:pt x="375" y="479"/>
                </a:cubicBezTo>
                <a:cubicBezTo>
                  <a:pt x="374" y="478"/>
                  <a:pt x="374" y="478"/>
                  <a:pt x="374" y="478"/>
                </a:cubicBezTo>
                <a:cubicBezTo>
                  <a:pt x="375" y="478"/>
                  <a:pt x="375" y="478"/>
                  <a:pt x="375" y="478"/>
                </a:cubicBezTo>
                <a:cubicBezTo>
                  <a:pt x="376" y="470"/>
                  <a:pt x="376" y="470"/>
                  <a:pt x="376" y="470"/>
                </a:cubicBezTo>
                <a:cubicBezTo>
                  <a:pt x="376" y="468"/>
                  <a:pt x="376" y="468"/>
                  <a:pt x="376" y="468"/>
                </a:cubicBezTo>
                <a:cubicBezTo>
                  <a:pt x="373" y="465"/>
                  <a:pt x="373" y="465"/>
                  <a:pt x="373" y="465"/>
                </a:cubicBezTo>
                <a:cubicBezTo>
                  <a:pt x="373" y="466"/>
                  <a:pt x="373" y="466"/>
                  <a:pt x="373" y="466"/>
                </a:cubicBezTo>
                <a:cubicBezTo>
                  <a:pt x="371" y="465"/>
                  <a:pt x="371" y="465"/>
                  <a:pt x="371" y="465"/>
                </a:cubicBezTo>
                <a:cubicBezTo>
                  <a:pt x="370" y="466"/>
                  <a:pt x="370" y="466"/>
                  <a:pt x="370" y="466"/>
                </a:cubicBezTo>
                <a:cubicBezTo>
                  <a:pt x="369" y="465"/>
                  <a:pt x="369" y="465"/>
                  <a:pt x="369" y="465"/>
                </a:cubicBezTo>
                <a:cubicBezTo>
                  <a:pt x="368" y="464"/>
                  <a:pt x="368" y="464"/>
                  <a:pt x="368" y="464"/>
                </a:cubicBezTo>
                <a:cubicBezTo>
                  <a:pt x="368" y="464"/>
                  <a:pt x="368" y="464"/>
                  <a:pt x="368" y="464"/>
                </a:cubicBezTo>
                <a:cubicBezTo>
                  <a:pt x="367" y="465"/>
                  <a:pt x="367" y="465"/>
                  <a:pt x="367" y="465"/>
                </a:cubicBezTo>
                <a:cubicBezTo>
                  <a:pt x="366" y="466"/>
                  <a:pt x="366" y="466"/>
                  <a:pt x="366" y="466"/>
                </a:cubicBezTo>
                <a:cubicBezTo>
                  <a:pt x="364" y="469"/>
                  <a:pt x="364" y="469"/>
                  <a:pt x="364" y="469"/>
                </a:cubicBezTo>
                <a:cubicBezTo>
                  <a:pt x="363" y="470"/>
                  <a:pt x="363" y="470"/>
                  <a:pt x="363" y="470"/>
                </a:cubicBezTo>
                <a:cubicBezTo>
                  <a:pt x="363" y="471"/>
                  <a:pt x="363" y="471"/>
                  <a:pt x="363" y="471"/>
                </a:cubicBezTo>
                <a:cubicBezTo>
                  <a:pt x="362" y="472"/>
                  <a:pt x="362" y="472"/>
                  <a:pt x="362" y="472"/>
                </a:cubicBezTo>
                <a:cubicBezTo>
                  <a:pt x="361" y="474"/>
                  <a:pt x="361" y="474"/>
                  <a:pt x="361" y="474"/>
                </a:cubicBezTo>
                <a:cubicBezTo>
                  <a:pt x="361" y="475"/>
                  <a:pt x="361" y="475"/>
                  <a:pt x="361" y="475"/>
                </a:cubicBezTo>
                <a:cubicBezTo>
                  <a:pt x="359" y="477"/>
                  <a:pt x="359" y="477"/>
                  <a:pt x="359" y="477"/>
                </a:cubicBezTo>
                <a:cubicBezTo>
                  <a:pt x="358" y="477"/>
                  <a:pt x="358" y="477"/>
                  <a:pt x="358" y="477"/>
                </a:cubicBezTo>
                <a:cubicBezTo>
                  <a:pt x="356" y="480"/>
                  <a:pt x="356" y="480"/>
                  <a:pt x="356" y="480"/>
                </a:cubicBezTo>
                <a:cubicBezTo>
                  <a:pt x="356" y="480"/>
                  <a:pt x="356" y="480"/>
                  <a:pt x="356" y="480"/>
                </a:cubicBezTo>
                <a:cubicBezTo>
                  <a:pt x="355" y="481"/>
                  <a:pt x="355" y="481"/>
                  <a:pt x="355" y="481"/>
                </a:cubicBezTo>
                <a:cubicBezTo>
                  <a:pt x="354" y="481"/>
                  <a:pt x="354" y="481"/>
                  <a:pt x="354" y="481"/>
                </a:cubicBezTo>
                <a:cubicBezTo>
                  <a:pt x="353" y="481"/>
                  <a:pt x="353" y="481"/>
                  <a:pt x="353" y="481"/>
                </a:cubicBezTo>
                <a:cubicBezTo>
                  <a:pt x="353" y="481"/>
                  <a:pt x="353" y="481"/>
                  <a:pt x="353" y="481"/>
                </a:cubicBezTo>
                <a:cubicBezTo>
                  <a:pt x="352" y="481"/>
                  <a:pt x="352" y="481"/>
                  <a:pt x="352" y="481"/>
                </a:cubicBezTo>
                <a:cubicBezTo>
                  <a:pt x="351" y="483"/>
                  <a:pt x="351" y="483"/>
                  <a:pt x="351" y="483"/>
                </a:cubicBezTo>
                <a:cubicBezTo>
                  <a:pt x="333" y="482"/>
                  <a:pt x="333" y="482"/>
                  <a:pt x="333" y="482"/>
                </a:cubicBezTo>
                <a:cubicBezTo>
                  <a:pt x="330" y="483"/>
                  <a:pt x="330" y="483"/>
                  <a:pt x="330" y="483"/>
                </a:cubicBezTo>
                <a:cubicBezTo>
                  <a:pt x="329" y="484"/>
                  <a:pt x="329" y="484"/>
                  <a:pt x="329" y="484"/>
                </a:cubicBezTo>
                <a:cubicBezTo>
                  <a:pt x="328" y="484"/>
                  <a:pt x="328" y="484"/>
                  <a:pt x="328" y="484"/>
                </a:cubicBezTo>
                <a:cubicBezTo>
                  <a:pt x="326" y="485"/>
                  <a:pt x="326" y="485"/>
                  <a:pt x="326" y="485"/>
                </a:cubicBezTo>
                <a:cubicBezTo>
                  <a:pt x="324" y="488"/>
                  <a:pt x="324" y="488"/>
                  <a:pt x="324" y="488"/>
                </a:cubicBezTo>
                <a:cubicBezTo>
                  <a:pt x="322" y="488"/>
                  <a:pt x="322" y="488"/>
                  <a:pt x="322" y="488"/>
                </a:cubicBezTo>
                <a:cubicBezTo>
                  <a:pt x="321" y="489"/>
                  <a:pt x="321" y="489"/>
                  <a:pt x="321" y="489"/>
                </a:cubicBezTo>
                <a:cubicBezTo>
                  <a:pt x="316" y="493"/>
                  <a:pt x="316" y="493"/>
                  <a:pt x="316" y="493"/>
                </a:cubicBezTo>
                <a:cubicBezTo>
                  <a:pt x="304" y="497"/>
                  <a:pt x="304" y="497"/>
                  <a:pt x="304" y="497"/>
                </a:cubicBezTo>
                <a:cubicBezTo>
                  <a:pt x="303" y="500"/>
                  <a:pt x="303" y="500"/>
                  <a:pt x="303" y="500"/>
                </a:cubicBezTo>
                <a:cubicBezTo>
                  <a:pt x="300" y="501"/>
                  <a:pt x="300" y="501"/>
                  <a:pt x="300" y="501"/>
                </a:cubicBezTo>
                <a:cubicBezTo>
                  <a:pt x="279" y="506"/>
                  <a:pt x="279" y="506"/>
                  <a:pt x="279" y="506"/>
                </a:cubicBezTo>
                <a:cubicBezTo>
                  <a:pt x="278" y="504"/>
                  <a:pt x="278" y="504"/>
                  <a:pt x="278" y="504"/>
                </a:cubicBezTo>
                <a:cubicBezTo>
                  <a:pt x="279" y="503"/>
                  <a:pt x="279" y="503"/>
                  <a:pt x="279" y="503"/>
                </a:cubicBezTo>
                <a:cubicBezTo>
                  <a:pt x="281" y="502"/>
                  <a:pt x="281" y="502"/>
                  <a:pt x="281" y="502"/>
                </a:cubicBezTo>
                <a:cubicBezTo>
                  <a:pt x="282" y="500"/>
                  <a:pt x="282" y="500"/>
                  <a:pt x="282" y="500"/>
                </a:cubicBezTo>
                <a:cubicBezTo>
                  <a:pt x="283" y="499"/>
                  <a:pt x="283" y="499"/>
                  <a:pt x="283" y="499"/>
                </a:cubicBezTo>
                <a:cubicBezTo>
                  <a:pt x="284" y="498"/>
                  <a:pt x="284" y="498"/>
                  <a:pt x="284" y="498"/>
                </a:cubicBezTo>
                <a:cubicBezTo>
                  <a:pt x="284" y="489"/>
                  <a:pt x="284" y="489"/>
                  <a:pt x="284" y="489"/>
                </a:cubicBezTo>
                <a:cubicBezTo>
                  <a:pt x="280" y="470"/>
                  <a:pt x="280" y="470"/>
                  <a:pt x="280" y="470"/>
                </a:cubicBezTo>
                <a:cubicBezTo>
                  <a:pt x="276" y="467"/>
                  <a:pt x="276" y="467"/>
                  <a:pt x="276" y="467"/>
                </a:cubicBezTo>
                <a:cubicBezTo>
                  <a:pt x="275" y="465"/>
                  <a:pt x="275" y="465"/>
                  <a:pt x="275" y="465"/>
                </a:cubicBezTo>
                <a:cubicBezTo>
                  <a:pt x="250" y="453"/>
                  <a:pt x="250" y="453"/>
                  <a:pt x="250" y="453"/>
                </a:cubicBezTo>
                <a:cubicBezTo>
                  <a:pt x="249" y="452"/>
                  <a:pt x="249" y="452"/>
                  <a:pt x="249" y="452"/>
                </a:cubicBezTo>
                <a:cubicBezTo>
                  <a:pt x="247" y="452"/>
                  <a:pt x="247" y="452"/>
                  <a:pt x="247" y="452"/>
                </a:cubicBezTo>
                <a:cubicBezTo>
                  <a:pt x="247" y="451"/>
                  <a:pt x="247" y="451"/>
                  <a:pt x="247" y="451"/>
                </a:cubicBezTo>
                <a:cubicBezTo>
                  <a:pt x="244" y="451"/>
                  <a:pt x="244" y="451"/>
                  <a:pt x="244" y="451"/>
                </a:cubicBezTo>
                <a:cubicBezTo>
                  <a:pt x="243" y="450"/>
                  <a:pt x="243" y="450"/>
                  <a:pt x="243" y="450"/>
                </a:cubicBezTo>
                <a:cubicBezTo>
                  <a:pt x="242" y="450"/>
                  <a:pt x="242" y="450"/>
                  <a:pt x="242" y="450"/>
                </a:cubicBezTo>
                <a:cubicBezTo>
                  <a:pt x="241" y="450"/>
                  <a:pt x="241" y="450"/>
                  <a:pt x="241" y="450"/>
                </a:cubicBezTo>
                <a:cubicBezTo>
                  <a:pt x="239" y="450"/>
                  <a:pt x="239" y="450"/>
                  <a:pt x="239" y="450"/>
                </a:cubicBezTo>
                <a:cubicBezTo>
                  <a:pt x="238" y="450"/>
                  <a:pt x="238" y="450"/>
                  <a:pt x="238" y="450"/>
                </a:cubicBezTo>
                <a:cubicBezTo>
                  <a:pt x="238" y="449"/>
                  <a:pt x="238" y="449"/>
                  <a:pt x="238" y="449"/>
                </a:cubicBezTo>
                <a:cubicBezTo>
                  <a:pt x="236" y="449"/>
                  <a:pt x="236" y="449"/>
                  <a:pt x="236" y="449"/>
                </a:cubicBezTo>
                <a:cubicBezTo>
                  <a:pt x="234" y="448"/>
                  <a:pt x="234" y="448"/>
                  <a:pt x="234" y="448"/>
                </a:cubicBezTo>
                <a:cubicBezTo>
                  <a:pt x="234" y="446"/>
                  <a:pt x="234" y="446"/>
                  <a:pt x="234" y="446"/>
                </a:cubicBezTo>
                <a:cubicBezTo>
                  <a:pt x="233" y="446"/>
                  <a:pt x="233" y="446"/>
                  <a:pt x="233" y="446"/>
                </a:cubicBezTo>
                <a:cubicBezTo>
                  <a:pt x="231" y="445"/>
                  <a:pt x="231" y="445"/>
                  <a:pt x="231" y="445"/>
                </a:cubicBezTo>
                <a:cubicBezTo>
                  <a:pt x="230" y="445"/>
                  <a:pt x="230" y="445"/>
                  <a:pt x="230" y="445"/>
                </a:cubicBezTo>
                <a:cubicBezTo>
                  <a:pt x="229" y="445"/>
                  <a:pt x="229" y="445"/>
                  <a:pt x="229" y="445"/>
                </a:cubicBezTo>
                <a:cubicBezTo>
                  <a:pt x="228" y="445"/>
                  <a:pt x="228" y="445"/>
                  <a:pt x="228" y="445"/>
                </a:cubicBezTo>
                <a:cubicBezTo>
                  <a:pt x="227" y="446"/>
                  <a:pt x="227" y="446"/>
                  <a:pt x="227" y="446"/>
                </a:cubicBezTo>
                <a:cubicBezTo>
                  <a:pt x="227" y="445"/>
                  <a:pt x="227" y="445"/>
                  <a:pt x="227" y="445"/>
                </a:cubicBezTo>
                <a:cubicBezTo>
                  <a:pt x="225" y="444"/>
                  <a:pt x="225" y="444"/>
                  <a:pt x="225" y="444"/>
                </a:cubicBezTo>
                <a:cubicBezTo>
                  <a:pt x="225" y="444"/>
                  <a:pt x="225" y="444"/>
                  <a:pt x="225" y="444"/>
                </a:cubicBezTo>
                <a:cubicBezTo>
                  <a:pt x="224" y="444"/>
                  <a:pt x="224" y="444"/>
                  <a:pt x="224" y="444"/>
                </a:cubicBezTo>
                <a:cubicBezTo>
                  <a:pt x="224" y="443"/>
                  <a:pt x="224" y="443"/>
                  <a:pt x="224" y="443"/>
                </a:cubicBezTo>
                <a:cubicBezTo>
                  <a:pt x="223" y="443"/>
                  <a:pt x="223" y="443"/>
                  <a:pt x="223" y="443"/>
                </a:cubicBezTo>
                <a:cubicBezTo>
                  <a:pt x="223" y="442"/>
                  <a:pt x="223" y="442"/>
                  <a:pt x="223" y="442"/>
                </a:cubicBezTo>
                <a:cubicBezTo>
                  <a:pt x="221" y="441"/>
                  <a:pt x="221" y="441"/>
                  <a:pt x="221" y="441"/>
                </a:cubicBezTo>
                <a:cubicBezTo>
                  <a:pt x="220" y="441"/>
                  <a:pt x="220" y="441"/>
                  <a:pt x="220" y="441"/>
                </a:cubicBezTo>
                <a:cubicBezTo>
                  <a:pt x="219" y="441"/>
                  <a:pt x="219" y="441"/>
                  <a:pt x="219" y="441"/>
                </a:cubicBezTo>
                <a:lnTo>
                  <a:pt x="56" y="425"/>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2" name="Freeform 170">
            <a:extLst>
              <a:ext uri="{FF2B5EF4-FFF2-40B4-BE49-F238E27FC236}">
                <a16:creationId xmlns:a16="http://schemas.microsoft.com/office/drawing/2014/main" id="{626C8DC7-A7DB-26E2-5246-0096D74C27AA}"/>
              </a:ext>
            </a:extLst>
          </p:cNvPr>
          <p:cNvSpPr>
            <a:spLocks noEditPoints="1"/>
          </p:cNvSpPr>
          <p:nvPr userDrawn="1"/>
        </p:nvSpPr>
        <p:spPr bwMode="auto">
          <a:xfrm>
            <a:off x="2898581" y="2444037"/>
            <a:ext cx="3352582" cy="2562226"/>
          </a:xfrm>
          <a:custGeom>
            <a:avLst/>
            <a:gdLst>
              <a:gd name="T0" fmla="*/ 296 w 338"/>
              <a:gd name="T1" fmla="*/ 207 h 258"/>
              <a:gd name="T2" fmla="*/ 332 w 338"/>
              <a:gd name="T3" fmla="*/ 43 h 258"/>
              <a:gd name="T4" fmla="*/ 311 w 338"/>
              <a:gd name="T5" fmla="*/ 33 h 258"/>
              <a:gd name="T6" fmla="*/ 296 w 338"/>
              <a:gd name="T7" fmla="*/ 16 h 258"/>
              <a:gd name="T8" fmla="*/ 280 w 338"/>
              <a:gd name="T9" fmla="*/ 10 h 258"/>
              <a:gd name="T10" fmla="*/ 265 w 338"/>
              <a:gd name="T11" fmla="*/ 3 h 258"/>
              <a:gd name="T12" fmla="*/ 238 w 338"/>
              <a:gd name="T13" fmla="*/ 13 h 258"/>
              <a:gd name="T14" fmla="*/ 206 w 338"/>
              <a:gd name="T15" fmla="*/ 57 h 258"/>
              <a:gd name="T16" fmla="*/ 202 w 338"/>
              <a:gd name="T17" fmla="*/ 69 h 258"/>
              <a:gd name="T18" fmla="*/ 192 w 338"/>
              <a:gd name="T19" fmla="*/ 62 h 258"/>
              <a:gd name="T20" fmla="*/ 170 w 338"/>
              <a:gd name="T21" fmla="*/ 79 h 258"/>
              <a:gd name="T22" fmla="*/ 180 w 338"/>
              <a:gd name="T23" fmla="*/ 93 h 258"/>
              <a:gd name="T24" fmla="*/ 184 w 338"/>
              <a:gd name="T25" fmla="*/ 110 h 258"/>
              <a:gd name="T26" fmla="*/ 148 w 338"/>
              <a:gd name="T27" fmla="*/ 122 h 258"/>
              <a:gd name="T28" fmla="*/ 148 w 338"/>
              <a:gd name="T29" fmla="*/ 139 h 258"/>
              <a:gd name="T30" fmla="*/ 143 w 338"/>
              <a:gd name="T31" fmla="*/ 158 h 258"/>
              <a:gd name="T32" fmla="*/ 147 w 338"/>
              <a:gd name="T33" fmla="*/ 171 h 258"/>
              <a:gd name="T34" fmla="*/ 159 w 338"/>
              <a:gd name="T35" fmla="*/ 177 h 258"/>
              <a:gd name="T36" fmla="*/ 156 w 338"/>
              <a:gd name="T37" fmla="*/ 195 h 258"/>
              <a:gd name="T38" fmla="*/ 127 w 338"/>
              <a:gd name="T39" fmla="*/ 211 h 258"/>
              <a:gd name="T40" fmla="*/ 120 w 338"/>
              <a:gd name="T41" fmla="*/ 220 h 258"/>
              <a:gd name="T42" fmla="*/ 138 w 338"/>
              <a:gd name="T43" fmla="*/ 214 h 258"/>
              <a:gd name="T44" fmla="*/ 157 w 338"/>
              <a:gd name="T45" fmla="*/ 205 h 258"/>
              <a:gd name="T46" fmla="*/ 180 w 338"/>
              <a:gd name="T47" fmla="*/ 191 h 258"/>
              <a:gd name="T48" fmla="*/ 196 w 338"/>
              <a:gd name="T49" fmla="*/ 174 h 258"/>
              <a:gd name="T50" fmla="*/ 226 w 338"/>
              <a:gd name="T51" fmla="*/ 156 h 258"/>
              <a:gd name="T52" fmla="*/ 203 w 338"/>
              <a:gd name="T53" fmla="*/ 179 h 258"/>
              <a:gd name="T54" fmla="*/ 218 w 338"/>
              <a:gd name="T55" fmla="*/ 176 h 258"/>
              <a:gd name="T56" fmla="*/ 233 w 338"/>
              <a:gd name="T57" fmla="*/ 168 h 258"/>
              <a:gd name="T58" fmla="*/ 240 w 338"/>
              <a:gd name="T59" fmla="*/ 173 h 258"/>
              <a:gd name="T60" fmla="*/ 261 w 338"/>
              <a:gd name="T61" fmla="*/ 185 h 258"/>
              <a:gd name="T62" fmla="*/ 276 w 338"/>
              <a:gd name="T63" fmla="*/ 197 h 258"/>
              <a:gd name="T64" fmla="*/ 282 w 338"/>
              <a:gd name="T65" fmla="*/ 203 h 258"/>
              <a:gd name="T66" fmla="*/ 291 w 338"/>
              <a:gd name="T67" fmla="*/ 206 h 258"/>
              <a:gd name="T68" fmla="*/ 293 w 338"/>
              <a:gd name="T69" fmla="*/ 229 h 258"/>
              <a:gd name="T70" fmla="*/ 299 w 338"/>
              <a:gd name="T71" fmla="*/ 244 h 258"/>
              <a:gd name="T72" fmla="*/ 286 w 338"/>
              <a:gd name="T73" fmla="*/ 253 h 258"/>
              <a:gd name="T74" fmla="*/ 283 w 338"/>
              <a:gd name="T75" fmla="*/ 253 h 258"/>
              <a:gd name="T76" fmla="*/ 286 w 338"/>
              <a:gd name="T77" fmla="*/ 241 h 258"/>
              <a:gd name="T78" fmla="*/ 287 w 338"/>
              <a:gd name="T79" fmla="*/ 256 h 258"/>
              <a:gd name="T80" fmla="*/ 293 w 338"/>
              <a:gd name="T81" fmla="*/ 243 h 258"/>
              <a:gd name="T82" fmla="*/ 291 w 338"/>
              <a:gd name="T83" fmla="*/ 235 h 258"/>
              <a:gd name="T84" fmla="*/ 285 w 338"/>
              <a:gd name="T85" fmla="*/ 236 h 258"/>
              <a:gd name="T86" fmla="*/ 282 w 338"/>
              <a:gd name="T87" fmla="*/ 226 h 258"/>
              <a:gd name="T88" fmla="*/ 289 w 338"/>
              <a:gd name="T89" fmla="*/ 225 h 258"/>
              <a:gd name="T90" fmla="*/ 279 w 338"/>
              <a:gd name="T91" fmla="*/ 222 h 258"/>
              <a:gd name="T92" fmla="*/ 156 w 338"/>
              <a:gd name="T93" fmla="*/ 117 h 258"/>
              <a:gd name="T94" fmla="*/ 245 w 338"/>
              <a:gd name="T95" fmla="*/ 182 h 258"/>
              <a:gd name="T96" fmla="*/ 227 w 338"/>
              <a:gd name="T97" fmla="*/ 180 h 258"/>
              <a:gd name="T98" fmla="*/ 128 w 338"/>
              <a:gd name="T99" fmla="*/ 97 h 258"/>
              <a:gd name="T100" fmla="*/ 130 w 338"/>
              <a:gd name="T101" fmla="*/ 148 h 258"/>
              <a:gd name="T102" fmla="*/ 190 w 338"/>
              <a:gd name="T103" fmla="*/ 189 h 258"/>
              <a:gd name="T104" fmla="*/ 180 w 338"/>
              <a:gd name="T105" fmla="*/ 197 h 258"/>
              <a:gd name="T106" fmla="*/ 184 w 338"/>
              <a:gd name="T107" fmla="*/ 200 h 258"/>
              <a:gd name="T108" fmla="*/ 171 w 338"/>
              <a:gd name="T109" fmla="*/ 211 h 258"/>
              <a:gd name="T110" fmla="*/ 132 w 338"/>
              <a:gd name="T111" fmla="*/ 222 h 258"/>
              <a:gd name="T112" fmla="*/ 4 w 338"/>
              <a:gd name="T113" fmla="*/ 243 h 258"/>
              <a:gd name="T114" fmla="*/ 31 w 338"/>
              <a:gd name="T115" fmla="*/ 243 h 258"/>
              <a:gd name="T116" fmla="*/ 59 w 338"/>
              <a:gd name="T117" fmla="*/ 241 h 258"/>
              <a:gd name="T118" fmla="*/ 85 w 338"/>
              <a:gd name="T119" fmla="*/ 232 h 258"/>
              <a:gd name="T120" fmla="*/ 97 w 338"/>
              <a:gd name="T121" fmla="*/ 230 h 258"/>
              <a:gd name="T122" fmla="*/ 102 w 338"/>
              <a:gd name="T123" fmla="*/ 22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8" h="258">
                <a:moveTo>
                  <a:pt x="304" y="246"/>
                </a:moveTo>
                <a:cubicBezTo>
                  <a:pt x="304" y="246"/>
                  <a:pt x="304" y="246"/>
                  <a:pt x="304" y="246"/>
                </a:cubicBezTo>
                <a:cubicBezTo>
                  <a:pt x="304" y="245"/>
                  <a:pt x="304" y="245"/>
                  <a:pt x="304" y="245"/>
                </a:cubicBezTo>
                <a:cubicBezTo>
                  <a:pt x="305" y="245"/>
                  <a:pt x="305" y="245"/>
                  <a:pt x="305" y="245"/>
                </a:cubicBezTo>
                <a:cubicBezTo>
                  <a:pt x="305" y="244"/>
                  <a:pt x="305" y="244"/>
                  <a:pt x="305" y="244"/>
                </a:cubicBezTo>
                <a:cubicBezTo>
                  <a:pt x="305" y="244"/>
                  <a:pt x="305" y="244"/>
                  <a:pt x="305" y="244"/>
                </a:cubicBezTo>
                <a:cubicBezTo>
                  <a:pt x="305" y="243"/>
                  <a:pt x="305" y="243"/>
                  <a:pt x="305" y="243"/>
                </a:cubicBezTo>
                <a:cubicBezTo>
                  <a:pt x="304" y="243"/>
                  <a:pt x="304" y="243"/>
                  <a:pt x="304" y="243"/>
                </a:cubicBezTo>
                <a:cubicBezTo>
                  <a:pt x="304" y="241"/>
                  <a:pt x="304" y="241"/>
                  <a:pt x="304" y="241"/>
                </a:cubicBezTo>
                <a:cubicBezTo>
                  <a:pt x="303" y="240"/>
                  <a:pt x="303" y="240"/>
                  <a:pt x="303" y="240"/>
                </a:cubicBezTo>
                <a:cubicBezTo>
                  <a:pt x="302" y="239"/>
                  <a:pt x="302" y="239"/>
                  <a:pt x="302" y="239"/>
                </a:cubicBezTo>
                <a:cubicBezTo>
                  <a:pt x="301" y="239"/>
                  <a:pt x="301" y="239"/>
                  <a:pt x="301" y="239"/>
                </a:cubicBezTo>
                <a:cubicBezTo>
                  <a:pt x="301" y="238"/>
                  <a:pt x="301" y="238"/>
                  <a:pt x="301" y="238"/>
                </a:cubicBezTo>
                <a:cubicBezTo>
                  <a:pt x="300" y="236"/>
                  <a:pt x="300" y="236"/>
                  <a:pt x="300" y="236"/>
                </a:cubicBezTo>
                <a:cubicBezTo>
                  <a:pt x="299" y="236"/>
                  <a:pt x="299" y="236"/>
                  <a:pt x="299" y="236"/>
                </a:cubicBezTo>
                <a:cubicBezTo>
                  <a:pt x="298" y="236"/>
                  <a:pt x="298" y="236"/>
                  <a:pt x="298" y="236"/>
                </a:cubicBezTo>
                <a:cubicBezTo>
                  <a:pt x="298" y="235"/>
                  <a:pt x="298" y="235"/>
                  <a:pt x="298" y="235"/>
                </a:cubicBezTo>
                <a:cubicBezTo>
                  <a:pt x="298" y="235"/>
                  <a:pt x="298" y="235"/>
                  <a:pt x="298" y="235"/>
                </a:cubicBezTo>
                <a:cubicBezTo>
                  <a:pt x="298" y="234"/>
                  <a:pt x="298" y="234"/>
                  <a:pt x="298" y="234"/>
                </a:cubicBezTo>
                <a:cubicBezTo>
                  <a:pt x="298" y="233"/>
                  <a:pt x="298" y="233"/>
                  <a:pt x="298" y="233"/>
                </a:cubicBezTo>
                <a:cubicBezTo>
                  <a:pt x="297" y="233"/>
                  <a:pt x="297" y="233"/>
                  <a:pt x="297" y="233"/>
                </a:cubicBezTo>
                <a:cubicBezTo>
                  <a:pt x="298" y="232"/>
                  <a:pt x="298" y="232"/>
                  <a:pt x="298" y="232"/>
                </a:cubicBezTo>
                <a:cubicBezTo>
                  <a:pt x="298" y="232"/>
                  <a:pt x="298" y="232"/>
                  <a:pt x="298" y="232"/>
                </a:cubicBezTo>
                <a:cubicBezTo>
                  <a:pt x="298" y="231"/>
                  <a:pt x="298" y="231"/>
                  <a:pt x="298" y="231"/>
                </a:cubicBezTo>
                <a:cubicBezTo>
                  <a:pt x="297" y="231"/>
                  <a:pt x="297" y="231"/>
                  <a:pt x="297" y="231"/>
                </a:cubicBezTo>
                <a:cubicBezTo>
                  <a:pt x="297" y="231"/>
                  <a:pt x="297" y="231"/>
                  <a:pt x="297" y="231"/>
                </a:cubicBezTo>
                <a:cubicBezTo>
                  <a:pt x="297" y="230"/>
                  <a:pt x="297" y="230"/>
                  <a:pt x="297" y="230"/>
                </a:cubicBezTo>
                <a:cubicBezTo>
                  <a:pt x="298" y="229"/>
                  <a:pt x="298" y="229"/>
                  <a:pt x="298" y="229"/>
                </a:cubicBezTo>
                <a:cubicBezTo>
                  <a:pt x="298" y="225"/>
                  <a:pt x="298" y="225"/>
                  <a:pt x="298" y="225"/>
                </a:cubicBezTo>
                <a:cubicBezTo>
                  <a:pt x="298" y="220"/>
                  <a:pt x="298" y="220"/>
                  <a:pt x="298" y="220"/>
                </a:cubicBezTo>
                <a:cubicBezTo>
                  <a:pt x="298" y="217"/>
                  <a:pt x="298" y="217"/>
                  <a:pt x="298" y="217"/>
                </a:cubicBezTo>
                <a:cubicBezTo>
                  <a:pt x="298" y="216"/>
                  <a:pt x="298" y="216"/>
                  <a:pt x="298" y="216"/>
                </a:cubicBezTo>
                <a:cubicBezTo>
                  <a:pt x="298" y="215"/>
                  <a:pt x="298" y="215"/>
                  <a:pt x="298" y="215"/>
                </a:cubicBezTo>
                <a:cubicBezTo>
                  <a:pt x="298" y="213"/>
                  <a:pt x="298" y="213"/>
                  <a:pt x="298" y="213"/>
                </a:cubicBezTo>
                <a:cubicBezTo>
                  <a:pt x="298" y="212"/>
                  <a:pt x="298" y="212"/>
                  <a:pt x="298" y="212"/>
                </a:cubicBezTo>
                <a:cubicBezTo>
                  <a:pt x="297" y="211"/>
                  <a:pt x="297" y="211"/>
                  <a:pt x="297" y="211"/>
                </a:cubicBezTo>
                <a:cubicBezTo>
                  <a:pt x="297" y="209"/>
                  <a:pt x="297" y="209"/>
                  <a:pt x="297" y="209"/>
                </a:cubicBezTo>
                <a:cubicBezTo>
                  <a:pt x="296" y="207"/>
                  <a:pt x="296" y="207"/>
                  <a:pt x="296" y="207"/>
                </a:cubicBezTo>
                <a:cubicBezTo>
                  <a:pt x="295" y="205"/>
                  <a:pt x="295" y="205"/>
                  <a:pt x="295" y="205"/>
                </a:cubicBezTo>
                <a:cubicBezTo>
                  <a:pt x="296" y="204"/>
                  <a:pt x="296" y="204"/>
                  <a:pt x="296" y="204"/>
                </a:cubicBezTo>
                <a:cubicBezTo>
                  <a:pt x="294" y="200"/>
                  <a:pt x="294" y="200"/>
                  <a:pt x="294" y="200"/>
                </a:cubicBezTo>
                <a:cubicBezTo>
                  <a:pt x="295" y="200"/>
                  <a:pt x="295" y="200"/>
                  <a:pt x="295" y="200"/>
                </a:cubicBezTo>
                <a:cubicBezTo>
                  <a:pt x="296" y="198"/>
                  <a:pt x="296" y="198"/>
                  <a:pt x="296" y="198"/>
                </a:cubicBezTo>
                <a:cubicBezTo>
                  <a:pt x="295" y="197"/>
                  <a:pt x="295" y="197"/>
                  <a:pt x="295" y="197"/>
                </a:cubicBezTo>
                <a:cubicBezTo>
                  <a:pt x="295" y="196"/>
                  <a:pt x="295" y="196"/>
                  <a:pt x="295" y="196"/>
                </a:cubicBezTo>
                <a:cubicBezTo>
                  <a:pt x="294" y="195"/>
                  <a:pt x="294" y="195"/>
                  <a:pt x="294" y="195"/>
                </a:cubicBezTo>
                <a:cubicBezTo>
                  <a:pt x="292" y="195"/>
                  <a:pt x="292" y="195"/>
                  <a:pt x="292" y="195"/>
                </a:cubicBezTo>
                <a:cubicBezTo>
                  <a:pt x="290" y="195"/>
                  <a:pt x="290" y="195"/>
                  <a:pt x="290" y="195"/>
                </a:cubicBezTo>
                <a:cubicBezTo>
                  <a:pt x="289" y="196"/>
                  <a:pt x="289" y="196"/>
                  <a:pt x="289" y="196"/>
                </a:cubicBezTo>
                <a:cubicBezTo>
                  <a:pt x="287" y="196"/>
                  <a:pt x="287" y="196"/>
                  <a:pt x="287" y="196"/>
                </a:cubicBezTo>
                <a:cubicBezTo>
                  <a:pt x="286" y="198"/>
                  <a:pt x="286" y="198"/>
                  <a:pt x="286" y="198"/>
                </a:cubicBezTo>
                <a:cubicBezTo>
                  <a:pt x="284" y="200"/>
                  <a:pt x="284" y="200"/>
                  <a:pt x="284" y="200"/>
                </a:cubicBezTo>
                <a:cubicBezTo>
                  <a:pt x="282" y="201"/>
                  <a:pt x="282" y="201"/>
                  <a:pt x="282" y="201"/>
                </a:cubicBezTo>
                <a:cubicBezTo>
                  <a:pt x="280" y="202"/>
                  <a:pt x="280" y="202"/>
                  <a:pt x="280" y="202"/>
                </a:cubicBezTo>
                <a:cubicBezTo>
                  <a:pt x="278" y="202"/>
                  <a:pt x="278" y="202"/>
                  <a:pt x="278" y="202"/>
                </a:cubicBezTo>
                <a:cubicBezTo>
                  <a:pt x="278" y="202"/>
                  <a:pt x="278" y="202"/>
                  <a:pt x="278" y="202"/>
                </a:cubicBezTo>
                <a:cubicBezTo>
                  <a:pt x="278" y="201"/>
                  <a:pt x="278" y="201"/>
                  <a:pt x="278" y="201"/>
                </a:cubicBezTo>
                <a:cubicBezTo>
                  <a:pt x="279" y="199"/>
                  <a:pt x="279" y="199"/>
                  <a:pt x="279" y="199"/>
                </a:cubicBezTo>
                <a:cubicBezTo>
                  <a:pt x="278" y="198"/>
                  <a:pt x="278" y="198"/>
                  <a:pt x="278" y="198"/>
                </a:cubicBezTo>
                <a:cubicBezTo>
                  <a:pt x="276" y="191"/>
                  <a:pt x="276" y="191"/>
                  <a:pt x="276" y="191"/>
                </a:cubicBezTo>
                <a:cubicBezTo>
                  <a:pt x="275" y="187"/>
                  <a:pt x="275" y="187"/>
                  <a:pt x="275" y="187"/>
                </a:cubicBezTo>
                <a:cubicBezTo>
                  <a:pt x="275" y="186"/>
                  <a:pt x="275" y="186"/>
                  <a:pt x="275" y="186"/>
                </a:cubicBezTo>
                <a:cubicBezTo>
                  <a:pt x="276" y="183"/>
                  <a:pt x="276" y="183"/>
                  <a:pt x="276" y="183"/>
                </a:cubicBezTo>
                <a:cubicBezTo>
                  <a:pt x="273" y="183"/>
                  <a:pt x="273" y="183"/>
                  <a:pt x="273" y="183"/>
                </a:cubicBezTo>
                <a:cubicBezTo>
                  <a:pt x="270" y="184"/>
                  <a:pt x="270" y="184"/>
                  <a:pt x="270" y="184"/>
                </a:cubicBezTo>
                <a:cubicBezTo>
                  <a:pt x="269" y="183"/>
                  <a:pt x="269" y="183"/>
                  <a:pt x="269" y="183"/>
                </a:cubicBezTo>
                <a:cubicBezTo>
                  <a:pt x="265" y="183"/>
                  <a:pt x="265" y="183"/>
                  <a:pt x="265" y="183"/>
                </a:cubicBezTo>
                <a:cubicBezTo>
                  <a:pt x="338" y="50"/>
                  <a:pt x="338" y="50"/>
                  <a:pt x="338" y="50"/>
                </a:cubicBezTo>
                <a:cubicBezTo>
                  <a:pt x="338" y="50"/>
                  <a:pt x="338" y="50"/>
                  <a:pt x="338" y="50"/>
                </a:cubicBezTo>
                <a:cubicBezTo>
                  <a:pt x="336" y="50"/>
                  <a:pt x="336" y="50"/>
                  <a:pt x="336" y="50"/>
                </a:cubicBezTo>
                <a:cubicBezTo>
                  <a:pt x="335" y="50"/>
                  <a:pt x="335" y="50"/>
                  <a:pt x="335" y="50"/>
                </a:cubicBezTo>
                <a:cubicBezTo>
                  <a:pt x="335" y="49"/>
                  <a:pt x="335" y="49"/>
                  <a:pt x="335" y="49"/>
                </a:cubicBezTo>
                <a:cubicBezTo>
                  <a:pt x="334" y="46"/>
                  <a:pt x="334" y="46"/>
                  <a:pt x="334" y="46"/>
                </a:cubicBezTo>
                <a:cubicBezTo>
                  <a:pt x="333" y="45"/>
                  <a:pt x="333" y="45"/>
                  <a:pt x="333" y="45"/>
                </a:cubicBezTo>
                <a:cubicBezTo>
                  <a:pt x="333" y="45"/>
                  <a:pt x="333" y="45"/>
                  <a:pt x="333" y="45"/>
                </a:cubicBezTo>
                <a:cubicBezTo>
                  <a:pt x="332" y="43"/>
                  <a:pt x="332" y="43"/>
                  <a:pt x="332" y="43"/>
                </a:cubicBezTo>
                <a:cubicBezTo>
                  <a:pt x="332" y="42"/>
                  <a:pt x="332" y="42"/>
                  <a:pt x="332" y="42"/>
                </a:cubicBezTo>
                <a:cubicBezTo>
                  <a:pt x="331" y="41"/>
                  <a:pt x="331" y="41"/>
                  <a:pt x="331" y="41"/>
                </a:cubicBezTo>
                <a:cubicBezTo>
                  <a:pt x="329" y="41"/>
                  <a:pt x="329" y="41"/>
                  <a:pt x="329" y="41"/>
                </a:cubicBezTo>
                <a:cubicBezTo>
                  <a:pt x="328" y="41"/>
                  <a:pt x="328" y="41"/>
                  <a:pt x="328" y="41"/>
                </a:cubicBezTo>
                <a:cubicBezTo>
                  <a:pt x="327" y="41"/>
                  <a:pt x="327" y="41"/>
                  <a:pt x="327" y="41"/>
                </a:cubicBezTo>
                <a:cubicBezTo>
                  <a:pt x="325" y="42"/>
                  <a:pt x="325" y="42"/>
                  <a:pt x="325" y="42"/>
                </a:cubicBezTo>
                <a:cubicBezTo>
                  <a:pt x="324" y="41"/>
                  <a:pt x="324" y="41"/>
                  <a:pt x="324" y="41"/>
                </a:cubicBezTo>
                <a:cubicBezTo>
                  <a:pt x="324" y="41"/>
                  <a:pt x="324" y="41"/>
                  <a:pt x="324" y="41"/>
                </a:cubicBezTo>
                <a:cubicBezTo>
                  <a:pt x="323" y="41"/>
                  <a:pt x="323" y="41"/>
                  <a:pt x="323" y="41"/>
                </a:cubicBezTo>
                <a:cubicBezTo>
                  <a:pt x="323" y="41"/>
                  <a:pt x="323" y="41"/>
                  <a:pt x="323" y="41"/>
                </a:cubicBezTo>
                <a:cubicBezTo>
                  <a:pt x="322" y="41"/>
                  <a:pt x="322" y="41"/>
                  <a:pt x="322" y="41"/>
                </a:cubicBezTo>
                <a:cubicBezTo>
                  <a:pt x="322" y="41"/>
                  <a:pt x="322" y="41"/>
                  <a:pt x="322" y="41"/>
                </a:cubicBezTo>
                <a:cubicBezTo>
                  <a:pt x="323" y="41"/>
                  <a:pt x="323" y="41"/>
                  <a:pt x="323" y="41"/>
                </a:cubicBezTo>
                <a:cubicBezTo>
                  <a:pt x="323" y="40"/>
                  <a:pt x="323" y="40"/>
                  <a:pt x="323" y="40"/>
                </a:cubicBezTo>
                <a:cubicBezTo>
                  <a:pt x="322" y="39"/>
                  <a:pt x="322" y="39"/>
                  <a:pt x="322" y="39"/>
                </a:cubicBezTo>
                <a:cubicBezTo>
                  <a:pt x="321" y="40"/>
                  <a:pt x="321" y="40"/>
                  <a:pt x="321" y="40"/>
                </a:cubicBezTo>
                <a:cubicBezTo>
                  <a:pt x="320" y="39"/>
                  <a:pt x="320" y="39"/>
                  <a:pt x="320" y="39"/>
                </a:cubicBezTo>
                <a:cubicBezTo>
                  <a:pt x="320" y="39"/>
                  <a:pt x="320" y="39"/>
                  <a:pt x="320" y="39"/>
                </a:cubicBezTo>
                <a:cubicBezTo>
                  <a:pt x="321" y="39"/>
                  <a:pt x="321" y="39"/>
                  <a:pt x="321" y="39"/>
                </a:cubicBezTo>
                <a:cubicBezTo>
                  <a:pt x="320" y="38"/>
                  <a:pt x="320" y="38"/>
                  <a:pt x="320" y="38"/>
                </a:cubicBezTo>
                <a:cubicBezTo>
                  <a:pt x="320" y="38"/>
                  <a:pt x="320" y="38"/>
                  <a:pt x="320" y="38"/>
                </a:cubicBezTo>
                <a:cubicBezTo>
                  <a:pt x="319" y="38"/>
                  <a:pt x="319" y="38"/>
                  <a:pt x="319" y="38"/>
                </a:cubicBezTo>
                <a:cubicBezTo>
                  <a:pt x="319" y="37"/>
                  <a:pt x="319" y="37"/>
                  <a:pt x="319" y="37"/>
                </a:cubicBezTo>
                <a:cubicBezTo>
                  <a:pt x="318" y="36"/>
                  <a:pt x="318" y="36"/>
                  <a:pt x="318" y="36"/>
                </a:cubicBezTo>
                <a:cubicBezTo>
                  <a:pt x="316" y="35"/>
                  <a:pt x="316" y="35"/>
                  <a:pt x="316" y="35"/>
                </a:cubicBezTo>
                <a:cubicBezTo>
                  <a:pt x="316" y="35"/>
                  <a:pt x="316" y="35"/>
                  <a:pt x="316" y="35"/>
                </a:cubicBezTo>
                <a:cubicBezTo>
                  <a:pt x="315" y="35"/>
                  <a:pt x="315" y="35"/>
                  <a:pt x="315" y="35"/>
                </a:cubicBezTo>
                <a:cubicBezTo>
                  <a:pt x="315" y="35"/>
                  <a:pt x="315" y="35"/>
                  <a:pt x="315" y="35"/>
                </a:cubicBezTo>
                <a:cubicBezTo>
                  <a:pt x="314" y="35"/>
                  <a:pt x="314" y="35"/>
                  <a:pt x="314" y="35"/>
                </a:cubicBezTo>
                <a:cubicBezTo>
                  <a:pt x="314" y="35"/>
                  <a:pt x="314" y="35"/>
                  <a:pt x="314" y="35"/>
                </a:cubicBezTo>
                <a:cubicBezTo>
                  <a:pt x="314" y="35"/>
                  <a:pt x="314" y="35"/>
                  <a:pt x="314" y="35"/>
                </a:cubicBezTo>
                <a:cubicBezTo>
                  <a:pt x="313" y="34"/>
                  <a:pt x="313" y="34"/>
                  <a:pt x="313" y="34"/>
                </a:cubicBezTo>
                <a:cubicBezTo>
                  <a:pt x="312" y="35"/>
                  <a:pt x="312" y="35"/>
                  <a:pt x="312" y="35"/>
                </a:cubicBezTo>
                <a:cubicBezTo>
                  <a:pt x="312" y="35"/>
                  <a:pt x="312" y="35"/>
                  <a:pt x="312" y="35"/>
                </a:cubicBezTo>
                <a:cubicBezTo>
                  <a:pt x="312" y="34"/>
                  <a:pt x="312" y="34"/>
                  <a:pt x="312" y="34"/>
                </a:cubicBezTo>
                <a:cubicBezTo>
                  <a:pt x="312" y="34"/>
                  <a:pt x="312" y="34"/>
                  <a:pt x="312" y="34"/>
                </a:cubicBezTo>
                <a:cubicBezTo>
                  <a:pt x="312" y="33"/>
                  <a:pt x="312" y="33"/>
                  <a:pt x="312" y="33"/>
                </a:cubicBezTo>
                <a:cubicBezTo>
                  <a:pt x="311" y="33"/>
                  <a:pt x="311" y="33"/>
                  <a:pt x="311" y="33"/>
                </a:cubicBezTo>
                <a:cubicBezTo>
                  <a:pt x="310" y="33"/>
                  <a:pt x="310" y="33"/>
                  <a:pt x="310" y="33"/>
                </a:cubicBezTo>
                <a:cubicBezTo>
                  <a:pt x="310" y="32"/>
                  <a:pt x="310" y="32"/>
                  <a:pt x="310" y="32"/>
                </a:cubicBezTo>
                <a:cubicBezTo>
                  <a:pt x="310" y="32"/>
                  <a:pt x="310" y="32"/>
                  <a:pt x="310" y="32"/>
                </a:cubicBezTo>
                <a:cubicBezTo>
                  <a:pt x="309" y="31"/>
                  <a:pt x="309" y="31"/>
                  <a:pt x="309" y="31"/>
                </a:cubicBezTo>
                <a:cubicBezTo>
                  <a:pt x="308" y="30"/>
                  <a:pt x="308" y="30"/>
                  <a:pt x="308" y="30"/>
                </a:cubicBezTo>
                <a:cubicBezTo>
                  <a:pt x="308" y="30"/>
                  <a:pt x="308" y="30"/>
                  <a:pt x="308" y="30"/>
                </a:cubicBezTo>
                <a:cubicBezTo>
                  <a:pt x="308" y="29"/>
                  <a:pt x="308" y="29"/>
                  <a:pt x="308" y="29"/>
                </a:cubicBezTo>
                <a:cubicBezTo>
                  <a:pt x="307" y="29"/>
                  <a:pt x="307" y="29"/>
                  <a:pt x="307" y="29"/>
                </a:cubicBezTo>
                <a:cubicBezTo>
                  <a:pt x="307" y="30"/>
                  <a:pt x="307" y="30"/>
                  <a:pt x="307" y="30"/>
                </a:cubicBezTo>
                <a:cubicBezTo>
                  <a:pt x="304" y="32"/>
                  <a:pt x="304" y="32"/>
                  <a:pt x="304" y="32"/>
                </a:cubicBezTo>
                <a:cubicBezTo>
                  <a:pt x="302" y="33"/>
                  <a:pt x="302" y="33"/>
                  <a:pt x="302" y="33"/>
                </a:cubicBezTo>
                <a:cubicBezTo>
                  <a:pt x="304" y="32"/>
                  <a:pt x="304" y="32"/>
                  <a:pt x="304" y="32"/>
                </a:cubicBezTo>
                <a:cubicBezTo>
                  <a:pt x="305" y="29"/>
                  <a:pt x="305" y="29"/>
                  <a:pt x="305" y="29"/>
                </a:cubicBezTo>
                <a:cubicBezTo>
                  <a:pt x="307" y="28"/>
                  <a:pt x="307" y="28"/>
                  <a:pt x="307" y="28"/>
                </a:cubicBezTo>
                <a:cubicBezTo>
                  <a:pt x="307" y="26"/>
                  <a:pt x="307" y="26"/>
                  <a:pt x="307" y="26"/>
                </a:cubicBezTo>
                <a:cubicBezTo>
                  <a:pt x="306" y="26"/>
                  <a:pt x="306" y="26"/>
                  <a:pt x="306" y="26"/>
                </a:cubicBezTo>
                <a:cubicBezTo>
                  <a:pt x="305" y="25"/>
                  <a:pt x="305" y="25"/>
                  <a:pt x="305" y="25"/>
                </a:cubicBezTo>
                <a:cubicBezTo>
                  <a:pt x="303" y="25"/>
                  <a:pt x="303" y="25"/>
                  <a:pt x="303" y="25"/>
                </a:cubicBezTo>
                <a:cubicBezTo>
                  <a:pt x="301" y="25"/>
                  <a:pt x="301" y="25"/>
                  <a:pt x="301" y="25"/>
                </a:cubicBezTo>
                <a:cubicBezTo>
                  <a:pt x="300" y="25"/>
                  <a:pt x="300" y="25"/>
                  <a:pt x="300" y="25"/>
                </a:cubicBezTo>
                <a:cubicBezTo>
                  <a:pt x="300" y="26"/>
                  <a:pt x="300" y="26"/>
                  <a:pt x="300" y="26"/>
                </a:cubicBezTo>
                <a:cubicBezTo>
                  <a:pt x="298" y="26"/>
                  <a:pt x="298" y="26"/>
                  <a:pt x="298" y="26"/>
                </a:cubicBezTo>
                <a:cubicBezTo>
                  <a:pt x="297" y="28"/>
                  <a:pt x="297" y="28"/>
                  <a:pt x="297" y="28"/>
                </a:cubicBezTo>
                <a:cubicBezTo>
                  <a:pt x="295" y="29"/>
                  <a:pt x="295" y="29"/>
                  <a:pt x="295" y="29"/>
                </a:cubicBezTo>
                <a:cubicBezTo>
                  <a:pt x="296" y="28"/>
                  <a:pt x="296" y="28"/>
                  <a:pt x="296" y="28"/>
                </a:cubicBezTo>
                <a:cubicBezTo>
                  <a:pt x="296" y="26"/>
                  <a:pt x="296" y="26"/>
                  <a:pt x="296" y="26"/>
                </a:cubicBezTo>
                <a:cubicBezTo>
                  <a:pt x="296" y="24"/>
                  <a:pt x="296" y="24"/>
                  <a:pt x="296" y="24"/>
                </a:cubicBezTo>
                <a:cubicBezTo>
                  <a:pt x="296" y="23"/>
                  <a:pt x="296" y="23"/>
                  <a:pt x="296" y="23"/>
                </a:cubicBezTo>
                <a:cubicBezTo>
                  <a:pt x="294" y="22"/>
                  <a:pt x="294" y="22"/>
                  <a:pt x="294" y="22"/>
                </a:cubicBezTo>
                <a:cubicBezTo>
                  <a:pt x="294" y="22"/>
                  <a:pt x="294" y="22"/>
                  <a:pt x="294" y="22"/>
                </a:cubicBezTo>
                <a:cubicBezTo>
                  <a:pt x="295" y="21"/>
                  <a:pt x="295" y="21"/>
                  <a:pt x="295" y="21"/>
                </a:cubicBezTo>
                <a:cubicBezTo>
                  <a:pt x="296" y="21"/>
                  <a:pt x="296" y="21"/>
                  <a:pt x="296" y="21"/>
                </a:cubicBezTo>
                <a:cubicBezTo>
                  <a:pt x="296" y="21"/>
                  <a:pt x="296" y="21"/>
                  <a:pt x="296" y="21"/>
                </a:cubicBezTo>
                <a:cubicBezTo>
                  <a:pt x="293" y="19"/>
                  <a:pt x="293" y="19"/>
                  <a:pt x="293" y="19"/>
                </a:cubicBezTo>
                <a:cubicBezTo>
                  <a:pt x="293" y="18"/>
                  <a:pt x="293" y="18"/>
                  <a:pt x="293" y="18"/>
                </a:cubicBezTo>
                <a:cubicBezTo>
                  <a:pt x="294" y="17"/>
                  <a:pt x="294" y="17"/>
                  <a:pt x="294" y="17"/>
                </a:cubicBezTo>
                <a:cubicBezTo>
                  <a:pt x="295" y="16"/>
                  <a:pt x="295" y="16"/>
                  <a:pt x="295" y="16"/>
                </a:cubicBezTo>
                <a:cubicBezTo>
                  <a:pt x="296" y="16"/>
                  <a:pt x="296" y="16"/>
                  <a:pt x="296" y="16"/>
                </a:cubicBezTo>
                <a:cubicBezTo>
                  <a:pt x="296" y="15"/>
                  <a:pt x="296" y="15"/>
                  <a:pt x="296" y="15"/>
                </a:cubicBezTo>
                <a:cubicBezTo>
                  <a:pt x="295" y="13"/>
                  <a:pt x="295" y="13"/>
                  <a:pt x="295" y="13"/>
                </a:cubicBezTo>
                <a:cubicBezTo>
                  <a:pt x="294" y="13"/>
                  <a:pt x="294" y="13"/>
                  <a:pt x="294" y="13"/>
                </a:cubicBezTo>
                <a:cubicBezTo>
                  <a:pt x="294" y="14"/>
                  <a:pt x="294" y="14"/>
                  <a:pt x="294" y="14"/>
                </a:cubicBezTo>
                <a:cubicBezTo>
                  <a:pt x="293" y="13"/>
                  <a:pt x="293" y="13"/>
                  <a:pt x="293" y="13"/>
                </a:cubicBezTo>
                <a:cubicBezTo>
                  <a:pt x="292" y="12"/>
                  <a:pt x="292" y="12"/>
                  <a:pt x="292" y="12"/>
                </a:cubicBezTo>
                <a:cubicBezTo>
                  <a:pt x="291" y="13"/>
                  <a:pt x="291" y="13"/>
                  <a:pt x="291" y="13"/>
                </a:cubicBezTo>
                <a:cubicBezTo>
                  <a:pt x="290" y="12"/>
                  <a:pt x="290" y="12"/>
                  <a:pt x="290" y="12"/>
                </a:cubicBezTo>
                <a:cubicBezTo>
                  <a:pt x="289" y="12"/>
                  <a:pt x="289" y="12"/>
                  <a:pt x="289" y="12"/>
                </a:cubicBezTo>
                <a:cubicBezTo>
                  <a:pt x="288" y="12"/>
                  <a:pt x="288" y="12"/>
                  <a:pt x="288" y="12"/>
                </a:cubicBezTo>
                <a:cubicBezTo>
                  <a:pt x="287" y="12"/>
                  <a:pt x="287" y="12"/>
                  <a:pt x="287" y="12"/>
                </a:cubicBezTo>
                <a:cubicBezTo>
                  <a:pt x="286" y="13"/>
                  <a:pt x="286" y="13"/>
                  <a:pt x="286" y="13"/>
                </a:cubicBezTo>
                <a:cubicBezTo>
                  <a:pt x="286" y="14"/>
                  <a:pt x="286" y="14"/>
                  <a:pt x="286" y="14"/>
                </a:cubicBezTo>
                <a:cubicBezTo>
                  <a:pt x="285" y="13"/>
                  <a:pt x="285" y="13"/>
                  <a:pt x="285" y="13"/>
                </a:cubicBezTo>
                <a:cubicBezTo>
                  <a:pt x="286" y="12"/>
                  <a:pt x="286" y="12"/>
                  <a:pt x="286" y="12"/>
                </a:cubicBezTo>
                <a:cubicBezTo>
                  <a:pt x="286" y="11"/>
                  <a:pt x="286" y="11"/>
                  <a:pt x="286" y="11"/>
                </a:cubicBezTo>
                <a:cubicBezTo>
                  <a:pt x="286" y="10"/>
                  <a:pt x="286" y="10"/>
                  <a:pt x="286" y="10"/>
                </a:cubicBezTo>
                <a:cubicBezTo>
                  <a:pt x="286" y="9"/>
                  <a:pt x="286" y="9"/>
                  <a:pt x="286" y="9"/>
                </a:cubicBezTo>
                <a:cubicBezTo>
                  <a:pt x="287" y="9"/>
                  <a:pt x="287" y="9"/>
                  <a:pt x="287" y="9"/>
                </a:cubicBezTo>
                <a:cubicBezTo>
                  <a:pt x="287" y="8"/>
                  <a:pt x="287" y="8"/>
                  <a:pt x="287" y="8"/>
                </a:cubicBezTo>
                <a:cubicBezTo>
                  <a:pt x="288" y="7"/>
                  <a:pt x="288" y="7"/>
                  <a:pt x="288" y="7"/>
                </a:cubicBezTo>
                <a:cubicBezTo>
                  <a:pt x="287" y="6"/>
                  <a:pt x="287" y="6"/>
                  <a:pt x="287" y="6"/>
                </a:cubicBezTo>
                <a:cubicBezTo>
                  <a:pt x="287" y="6"/>
                  <a:pt x="287" y="6"/>
                  <a:pt x="287" y="6"/>
                </a:cubicBezTo>
                <a:cubicBezTo>
                  <a:pt x="285" y="7"/>
                  <a:pt x="285" y="7"/>
                  <a:pt x="285" y="7"/>
                </a:cubicBezTo>
                <a:cubicBezTo>
                  <a:pt x="285" y="8"/>
                  <a:pt x="285" y="8"/>
                  <a:pt x="285" y="8"/>
                </a:cubicBezTo>
                <a:cubicBezTo>
                  <a:pt x="285" y="8"/>
                  <a:pt x="285" y="8"/>
                  <a:pt x="285" y="8"/>
                </a:cubicBezTo>
                <a:cubicBezTo>
                  <a:pt x="284" y="8"/>
                  <a:pt x="284" y="8"/>
                  <a:pt x="284" y="8"/>
                </a:cubicBezTo>
                <a:cubicBezTo>
                  <a:pt x="283" y="8"/>
                  <a:pt x="283" y="8"/>
                  <a:pt x="283" y="8"/>
                </a:cubicBezTo>
                <a:cubicBezTo>
                  <a:pt x="282" y="9"/>
                  <a:pt x="282" y="9"/>
                  <a:pt x="282" y="9"/>
                </a:cubicBezTo>
                <a:cubicBezTo>
                  <a:pt x="283" y="10"/>
                  <a:pt x="283" y="10"/>
                  <a:pt x="283" y="10"/>
                </a:cubicBezTo>
                <a:cubicBezTo>
                  <a:pt x="282" y="11"/>
                  <a:pt x="282" y="11"/>
                  <a:pt x="282" y="11"/>
                </a:cubicBezTo>
                <a:cubicBezTo>
                  <a:pt x="281" y="11"/>
                  <a:pt x="281" y="11"/>
                  <a:pt x="281" y="11"/>
                </a:cubicBezTo>
                <a:cubicBezTo>
                  <a:pt x="281" y="11"/>
                  <a:pt x="281" y="11"/>
                  <a:pt x="281" y="11"/>
                </a:cubicBezTo>
                <a:cubicBezTo>
                  <a:pt x="280" y="12"/>
                  <a:pt x="280" y="12"/>
                  <a:pt x="280" y="12"/>
                </a:cubicBezTo>
                <a:cubicBezTo>
                  <a:pt x="280" y="13"/>
                  <a:pt x="280" y="13"/>
                  <a:pt x="280" y="13"/>
                </a:cubicBezTo>
                <a:cubicBezTo>
                  <a:pt x="280" y="12"/>
                  <a:pt x="280" y="12"/>
                  <a:pt x="280" y="12"/>
                </a:cubicBezTo>
                <a:cubicBezTo>
                  <a:pt x="280" y="11"/>
                  <a:pt x="280" y="11"/>
                  <a:pt x="280" y="11"/>
                </a:cubicBezTo>
                <a:cubicBezTo>
                  <a:pt x="280" y="10"/>
                  <a:pt x="280" y="10"/>
                  <a:pt x="280" y="10"/>
                </a:cubicBezTo>
                <a:cubicBezTo>
                  <a:pt x="280" y="10"/>
                  <a:pt x="280" y="10"/>
                  <a:pt x="280" y="10"/>
                </a:cubicBezTo>
                <a:cubicBezTo>
                  <a:pt x="279" y="11"/>
                  <a:pt x="279" y="11"/>
                  <a:pt x="279" y="11"/>
                </a:cubicBezTo>
                <a:cubicBezTo>
                  <a:pt x="279" y="11"/>
                  <a:pt x="279" y="11"/>
                  <a:pt x="279" y="11"/>
                </a:cubicBezTo>
                <a:cubicBezTo>
                  <a:pt x="278" y="12"/>
                  <a:pt x="278" y="12"/>
                  <a:pt x="278" y="12"/>
                </a:cubicBezTo>
                <a:cubicBezTo>
                  <a:pt x="278" y="10"/>
                  <a:pt x="278" y="10"/>
                  <a:pt x="278" y="10"/>
                </a:cubicBezTo>
                <a:cubicBezTo>
                  <a:pt x="278" y="9"/>
                  <a:pt x="278" y="9"/>
                  <a:pt x="278" y="9"/>
                </a:cubicBezTo>
                <a:cubicBezTo>
                  <a:pt x="276" y="9"/>
                  <a:pt x="276" y="9"/>
                  <a:pt x="276" y="9"/>
                </a:cubicBezTo>
                <a:cubicBezTo>
                  <a:pt x="277" y="8"/>
                  <a:pt x="277" y="8"/>
                  <a:pt x="277" y="8"/>
                </a:cubicBezTo>
                <a:cubicBezTo>
                  <a:pt x="278" y="7"/>
                  <a:pt x="278" y="7"/>
                  <a:pt x="278" y="7"/>
                </a:cubicBezTo>
                <a:cubicBezTo>
                  <a:pt x="279" y="6"/>
                  <a:pt x="279" y="6"/>
                  <a:pt x="279" y="6"/>
                </a:cubicBezTo>
                <a:cubicBezTo>
                  <a:pt x="281" y="7"/>
                  <a:pt x="281" y="7"/>
                  <a:pt x="281" y="7"/>
                </a:cubicBezTo>
                <a:cubicBezTo>
                  <a:pt x="282" y="7"/>
                  <a:pt x="282" y="7"/>
                  <a:pt x="282" y="7"/>
                </a:cubicBezTo>
                <a:cubicBezTo>
                  <a:pt x="284" y="6"/>
                  <a:pt x="284" y="6"/>
                  <a:pt x="284" y="6"/>
                </a:cubicBezTo>
                <a:cubicBezTo>
                  <a:pt x="285" y="5"/>
                  <a:pt x="285" y="5"/>
                  <a:pt x="285" y="5"/>
                </a:cubicBezTo>
                <a:cubicBezTo>
                  <a:pt x="285" y="5"/>
                  <a:pt x="285" y="5"/>
                  <a:pt x="285" y="5"/>
                </a:cubicBezTo>
                <a:cubicBezTo>
                  <a:pt x="285" y="4"/>
                  <a:pt x="285" y="4"/>
                  <a:pt x="285" y="4"/>
                </a:cubicBezTo>
                <a:cubicBezTo>
                  <a:pt x="285" y="4"/>
                  <a:pt x="285" y="4"/>
                  <a:pt x="285" y="4"/>
                </a:cubicBezTo>
                <a:cubicBezTo>
                  <a:pt x="284" y="3"/>
                  <a:pt x="284" y="3"/>
                  <a:pt x="284" y="3"/>
                </a:cubicBezTo>
                <a:cubicBezTo>
                  <a:pt x="283" y="3"/>
                  <a:pt x="283" y="3"/>
                  <a:pt x="283" y="3"/>
                </a:cubicBezTo>
                <a:cubicBezTo>
                  <a:pt x="283" y="2"/>
                  <a:pt x="283" y="2"/>
                  <a:pt x="283" y="2"/>
                </a:cubicBezTo>
                <a:cubicBezTo>
                  <a:pt x="282" y="1"/>
                  <a:pt x="282" y="1"/>
                  <a:pt x="282" y="1"/>
                </a:cubicBezTo>
                <a:cubicBezTo>
                  <a:pt x="282" y="1"/>
                  <a:pt x="282" y="1"/>
                  <a:pt x="282" y="1"/>
                </a:cubicBezTo>
                <a:cubicBezTo>
                  <a:pt x="282" y="1"/>
                  <a:pt x="282" y="1"/>
                  <a:pt x="282" y="1"/>
                </a:cubicBezTo>
                <a:cubicBezTo>
                  <a:pt x="283" y="0"/>
                  <a:pt x="283" y="0"/>
                  <a:pt x="283" y="0"/>
                </a:cubicBezTo>
                <a:cubicBezTo>
                  <a:pt x="283" y="0"/>
                  <a:pt x="283" y="0"/>
                  <a:pt x="283" y="0"/>
                </a:cubicBezTo>
                <a:cubicBezTo>
                  <a:pt x="283" y="0"/>
                  <a:pt x="283" y="0"/>
                  <a:pt x="283" y="0"/>
                </a:cubicBezTo>
                <a:cubicBezTo>
                  <a:pt x="280" y="1"/>
                  <a:pt x="280" y="1"/>
                  <a:pt x="280" y="1"/>
                </a:cubicBezTo>
                <a:cubicBezTo>
                  <a:pt x="280" y="2"/>
                  <a:pt x="280" y="2"/>
                  <a:pt x="280" y="2"/>
                </a:cubicBezTo>
                <a:cubicBezTo>
                  <a:pt x="278" y="2"/>
                  <a:pt x="278" y="2"/>
                  <a:pt x="278" y="2"/>
                </a:cubicBezTo>
                <a:cubicBezTo>
                  <a:pt x="277" y="2"/>
                  <a:pt x="277" y="2"/>
                  <a:pt x="277" y="2"/>
                </a:cubicBezTo>
                <a:cubicBezTo>
                  <a:pt x="274" y="5"/>
                  <a:pt x="274" y="5"/>
                  <a:pt x="274" y="5"/>
                </a:cubicBezTo>
                <a:cubicBezTo>
                  <a:pt x="272" y="5"/>
                  <a:pt x="272" y="5"/>
                  <a:pt x="272" y="5"/>
                </a:cubicBezTo>
                <a:cubicBezTo>
                  <a:pt x="270" y="5"/>
                  <a:pt x="270" y="5"/>
                  <a:pt x="270" y="5"/>
                </a:cubicBezTo>
                <a:cubicBezTo>
                  <a:pt x="268" y="4"/>
                  <a:pt x="268" y="4"/>
                  <a:pt x="268" y="4"/>
                </a:cubicBezTo>
                <a:cubicBezTo>
                  <a:pt x="267" y="4"/>
                  <a:pt x="267" y="4"/>
                  <a:pt x="267" y="4"/>
                </a:cubicBezTo>
                <a:cubicBezTo>
                  <a:pt x="267" y="4"/>
                  <a:pt x="267" y="4"/>
                  <a:pt x="267" y="4"/>
                </a:cubicBezTo>
                <a:cubicBezTo>
                  <a:pt x="266" y="4"/>
                  <a:pt x="266" y="4"/>
                  <a:pt x="266" y="4"/>
                </a:cubicBezTo>
                <a:cubicBezTo>
                  <a:pt x="265" y="3"/>
                  <a:pt x="265" y="3"/>
                  <a:pt x="265" y="3"/>
                </a:cubicBezTo>
                <a:cubicBezTo>
                  <a:pt x="264" y="4"/>
                  <a:pt x="264" y="4"/>
                  <a:pt x="264" y="4"/>
                </a:cubicBezTo>
                <a:cubicBezTo>
                  <a:pt x="264" y="5"/>
                  <a:pt x="264" y="5"/>
                  <a:pt x="264" y="5"/>
                </a:cubicBezTo>
                <a:cubicBezTo>
                  <a:pt x="263" y="5"/>
                  <a:pt x="263" y="5"/>
                  <a:pt x="263" y="5"/>
                </a:cubicBezTo>
                <a:cubicBezTo>
                  <a:pt x="263" y="4"/>
                  <a:pt x="263" y="4"/>
                  <a:pt x="263" y="4"/>
                </a:cubicBezTo>
                <a:cubicBezTo>
                  <a:pt x="263" y="3"/>
                  <a:pt x="263" y="3"/>
                  <a:pt x="263" y="3"/>
                </a:cubicBezTo>
                <a:cubicBezTo>
                  <a:pt x="264" y="3"/>
                  <a:pt x="264" y="3"/>
                  <a:pt x="264" y="3"/>
                </a:cubicBezTo>
                <a:cubicBezTo>
                  <a:pt x="263" y="2"/>
                  <a:pt x="263" y="2"/>
                  <a:pt x="263" y="2"/>
                </a:cubicBezTo>
                <a:cubicBezTo>
                  <a:pt x="262" y="3"/>
                  <a:pt x="262" y="3"/>
                  <a:pt x="262" y="3"/>
                </a:cubicBezTo>
                <a:cubicBezTo>
                  <a:pt x="259" y="4"/>
                  <a:pt x="259" y="4"/>
                  <a:pt x="259" y="4"/>
                </a:cubicBezTo>
                <a:cubicBezTo>
                  <a:pt x="258" y="5"/>
                  <a:pt x="258" y="5"/>
                  <a:pt x="258" y="5"/>
                </a:cubicBezTo>
                <a:cubicBezTo>
                  <a:pt x="257" y="6"/>
                  <a:pt x="257" y="6"/>
                  <a:pt x="257" y="6"/>
                </a:cubicBezTo>
                <a:cubicBezTo>
                  <a:pt x="257" y="7"/>
                  <a:pt x="257" y="7"/>
                  <a:pt x="257" y="7"/>
                </a:cubicBezTo>
                <a:cubicBezTo>
                  <a:pt x="259" y="7"/>
                  <a:pt x="259" y="7"/>
                  <a:pt x="259" y="7"/>
                </a:cubicBezTo>
                <a:cubicBezTo>
                  <a:pt x="258" y="8"/>
                  <a:pt x="258" y="8"/>
                  <a:pt x="258" y="8"/>
                </a:cubicBezTo>
                <a:cubicBezTo>
                  <a:pt x="256" y="8"/>
                  <a:pt x="256" y="8"/>
                  <a:pt x="256" y="8"/>
                </a:cubicBezTo>
                <a:cubicBezTo>
                  <a:pt x="255" y="9"/>
                  <a:pt x="255" y="9"/>
                  <a:pt x="255" y="9"/>
                </a:cubicBezTo>
                <a:cubicBezTo>
                  <a:pt x="254" y="12"/>
                  <a:pt x="254" y="12"/>
                  <a:pt x="254" y="12"/>
                </a:cubicBezTo>
                <a:cubicBezTo>
                  <a:pt x="253" y="14"/>
                  <a:pt x="253" y="14"/>
                  <a:pt x="253" y="14"/>
                </a:cubicBezTo>
                <a:cubicBezTo>
                  <a:pt x="252" y="14"/>
                  <a:pt x="252" y="14"/>
                  <a:pt x="252" y="14"/>
                </a:cubicBezTo>
                <a:cubicBezTo>
                  <a:pt x="252" y="14"/>
                  <a:pt x="252" y="14"/>
                  <a:pt x="252" y="14"/>
                </a:cubicBezTo>
                <a:cubicBezTo>
                  <a:pt x="252" y="12"/>
                  <a:pt x="252" y="12"/>
                  <a:pt x="252" y="12"/>
                </a:cubicBezTo>
                <a:cubicBezTo>
                  <a:pt x="254" y="9"/>
                  <a:pt x="254" y="9"/>
                  <a:pt x="254" y="9"/>
                </a:cubicBezTo>
                <a:cubicBezTo>
                  <a:pt x="254" y="8"/>
                  <a:pt x="254" y="8"/>
                  <a:pt x="254" y="8"/>
                </a:cubicBezTo>
                <a:cubicBezTo>
                  <a:pt x="254" y="8"/>
                  <a:pt x="254" y="8"/>
                  <a:pt x="254" y="8"/>
                </a:cubicBezTo>
                <a:cubicBezTo>
                  <a:pt x="251" y="10"/>
                  <a:pt x="251" y="10"/>
                  <a:pt x="251" y="10"/>
                </a:cubicBezTo>
                <a:cubicBezTo>
                  <a:pt x="249" y="10"/>
                  <a:pt x="249" y="10"/>
                  <a:pt x="249" y="10"/>
                </a:cubicBezTo>
                <a:cubicBezTo>
                  <a:pt x="249" y="9"/>
                  <a:pt x="249" y="9"/>
                  <a:pt x="249" y="9"/>
                </a:cubicBezTo>
                <a:cubicBezTo>
                  <a:pt x="248" y="8"/>
                  <a:pt x="248" y="8"/>
                  <a:pt x="248" y="8"/>
                </a:cubicBezTo>
                <a:cubicBezTo>
                  <a:pt x="246" y="8"/>
                  <a:pt x="246" y="8"/>
                  <a:pt x="246" y="8"/>
                </a:cubicBezTo>
                <a:cubicBezTo>
                  <a:pt x="245" y="8"/>
                  <a:pt x="245" y="8"/>
                  <a:pt x="245" y="8"/>
                </a:cubicBezTo>
                <a:cubicBezTo>
                  <a:pt x="245" y="8"/>
                  <a:pt x="245" y="8"/>
                  <a:pt x="245" y="8"/>
                </a:cubicBezTo>
                <a:cubicBezTo>
                  <a:pt x="247" y="9"/>
                  <a:pt x="247" y="9"/>
                  <a:pt x="247" y="9"/>
                </a:cubicBezTo>
                <a:cubicBezTo>
                  <a:pt x="248" y="10"/>
                  <a:pt x="248" y="10"/>
                  <a:pt x="248" y="10"/>
                </a:cubicBezTo>
                <a:cubicBezTo>
                  <a:pt x="247" y="10"/>
                  <a:pt x="247" y="10"/>
                  <a:pt x="247" y="10"/>
                </a:cubicBezTo>
                <a:cubicBezTo>
                  <a:pt x="246" y="10"/>
                  <a:pt x="246" y="10"/>
                  <a:pt x="246" y="10"/>
                </a:cubicBezTo>
                <a:cubicBezTo>
                  <a:pt x="243" y="9"/>
                  <a:pt x="243" y="9"/>
                  <a:pt x="243" y="9"/>
                </a:cubicBezTo>
                <a:cubicBezTo>
                  <a:pt x="241" y="11"/>
                  <a:pt x="241" y="11"/>
                  <a:pt x="241" y="11"/>
                </a:cubicBezTo>
                <a:cubicBezTo>
                  <a:pt x="238" y="13"/>
                  <a:pt x="238" y="13"/>
                  <a:pt x="238" y="13"/>
                </a:cubicBezTo>
                <a:cubicBezTo>
                  <a:pt x="234" y="15"/>
                  <a:pt x="234" y="15"/>
                  <a:pt x="234" y="15"/>
                </a:cubicBezTo>
                <a:cubicBezTo>
                  <a:pt x="231" y="17"/>
                  <a:pt x="231" y="17"/>
                  <a:pt x="231" y="17"/>
                </a:cubicBezTo>
                <a:cubicBezTo>
                  <a:pt x="229" y="19"/>
                  <a:pt x="229" y="19"/>
                  <a:pt x="229" y="19"/>
                </a:cubicBezTo>
                <a:cubicBezTo>
                  <a:pt x="226" y="22"/>
                  <a:pt x="226" y="22"/>
                  <a:pt x="226" y="22"/>
                </a:cubicBezTo>
                <a:cubicBezTo>
                  <a:pt x="224" y="23"/>
                  <a:pt x="224" y="23"/>
                  <a:pt x="224" y="23"/>
                </a:cubicBezTo>
                <a:cubicBezTo>
                  <a:pt x="222" y="23"/>
                  <a:pt x="222" y="23"/>
                  <a:pt x="222" y="23"/>
                </a:cubicBezTo>
                <a:cubicBezTo>
                  <a:pt x="221" y="24"/>
                  <a:pt x="221" y="24"/>
                  <a:pt x="221" y="24"/>
                </a:cubicBezTo>
                <a:cubicBezTo>
                  <a:pt x="219" y="24"/>
                  <a:pt x="219" y="24"/>
                  <a:pt x="219" y="24"/>
                </a:cubicBezTo>
                <a:cubicBezTo>
                  <a:pt x="217" y="26"/>
                  <a:pt x="217" y="26"/>
                  <a:pt x="217" y="26"/>
                </a:cubicBezTo>
                <a:cubicBezTo>
                  <a:pt x="215" y="26"/>
                  <a:pt x="215" y="26"/>
                  <a:pt x="215" y="26"/>
                </a:cubicBezTo>
                <a:cubicBezTo>
                  <a:pt x="214" y="25"/>
                  <a:pt x="214" y="25"/>
                  <a:pt x="214" y="25"/>
                </a:cubicBezTo>
                <a:cubicBezTo>
                  <a:pt x="213" y="25"/>
                  <a:pt x="213" y="25"/>
                  <a:pt x="213" y="25"/>
                </a:cubicBezTo>
                <a:cubicBezTo>
                  <a:pt x="211" y="24"/>
                  <a:pt x="211" y="24"/>
                  <a:pt x="211" y="24"/>
                </a:cubicBezTo>
                <a:cubicBezTo>
                  <a:pt x="210" y="23"/>
                  <a:pt x="210" y="23"/>
                  <a:pt x="210" y="23"/>
                </a:cubicBezTo>
                <a:cubicBezTo>
                  <a:pt x="208" y="22"/>
                  <a:pt x="208" y="22"/>
                  <a:pt x="208" y="22"/>
                </a:cubicBezTo>
                <a:cubicBezTo>
                  <a:pt x="207" y="22"/>
                  <a:pt x="207" y="22"/>
                  <a:pt x="207" y="22"/>
                </a:cubicBezTo>
                <a:cubicBezTo>
                  <a:pt x="205" y="24"/>
                  <a:pt x="205" y="24"/>
                  <a:pt x="205" y="24"/>
                </a:cubicBezTo>
                <a:cubicBezTo>
                  <a:pt x="203" y="26"/>
                  <a:pt x="203" y="26"/>
                  <a:pt x="203" y="26"/>
                </a:cubicBezTo>
                <a:cubicBezTo>
                  <a:pt x="203" y="27"/>
                  <a:pt x="203" y="27"/>
                  <a:pt x="203" y="27"/>
                </a:cubicBezTo>
                <a:cubicBezTo>
                  <a:pt x="201" y="29"/>
                  <a:pt x="201" y="29"/>
                  <a:pt x="201" y="29"/>
                </a:cubicBezTo>
                <a:cubicBezTo>
                  <a:pt x="201" y="30"/>
                  <a:pt x="201" y="30"/>
                  <a:pt x="201" y="30"/>
                </a:cubicBezTo>
                <a:cubicBezTo>
                  <a:pt x="200" y="30"/>
                  <a:pt x="200" y="30"/>
                  <a:pt x="200" y="30"/>
                </a:cubicBezTo>
                <a:cubicBezTo>
                  <a:pt x="199" y="29"/>
                  <a:pt x="199" y="29"/>
                  <a:pt x="199" y="29"/>
                </a:cubicBezTo>
                <a:cubicBezTo>
                  <a:pt x="198" y="30"/>
                  <a:pt x="198" y="30"/>
                  <a:pt x="198" y="30"/>
                </a:cubicBezTo>
                <a:cubicBezTo>
                  <a:pt x="199" y="33"/>
                  <a:pt x="199" y="33"/>
                  <a:pt x="199" y="33"/>
                </a:cubicBezTo>
                <a:cubicBezTo>
                  <a:pt x="201" y="38"/>
                  <a:pt x="201" y="38"/>
                  <a:pt x="201" y="38"/>
                </a:cubicBezTo>
                <a:cubicBezTo>
                  <a:pt x="202" y="42"/>
                  <a:pt x="202" y="42"/>
                  <a:pt x="202" y="42"/>
                </a:cubicBezTo>
                <a:cubicBezTo>
                  <a:pt x="203" y="46"/>
                  <a:pt x="203" y="46"/>
                  <a:pt x="203" y="46"/>
                </a:cubicBezTo>
                <a:cubicBezTo>
                  <a:pt x="203" y="50"/>
                  <a:pt x="203" y="50"/>
                  <a:pt x="203" y="50"/>
                </a:cubicBezTo>
                <a:cubicBezTo>
                  <a:pt x="201" y="52"/>
                  <a:pt x="201" y="52"/>
                  <a:pt x="201" y="52"/>
                </a:cubicBezTo>
                <a:cubicBezTo>
                  <a:pt x="200" y="54"/>
                  <a:pt x="200" y="54"/>
                  <a:pt x="200" y="54"/>
                </a:cubicBezTo>
                <a:cubicBezTo>
                  <a:pt x="200" y="54"/>
                  <a:pt x="200" y="54"/>
                  <a:pt x="200" y="54"/>
                </a:cubicBezTo>
                <a:cubicBezTo>
                  <a:pt x="203" y="57"/>
                  <a:pt x="203" y="57"/>
                  <a:pt x="203" y="57"/>
                </a:cubicBezTo>
                <a:cubicBezTo>
                  <a:pt x="204" y="58"/>
                  <a:pt x="204" y="58"/>
                  <a:pt x="204" y="58"/>
                </a:cubicBezTo>
                <a:cubicBezTo>
                  <a:pt x="204" y="57"/>
                  <a:pt x="204" y="57"/>
                  <a:pt x="204" y="57"/>
                </a:cubicBezTo>
                <a:cubicBezTo>
                  <a:pt x="204" y="57"/>
                  <a:pt x="204" y="57"/>
                  <a:pt x="204" y="57"/>
                </a:cubicBezTo>
                <a:cubicBezTo>
                  <a:pt x="205" y="57"/>
                  <a:pt x="205" y="57"/>
                  <a:pt x="205" y="57"/>
                </a:cubicBezTo>
                <a:cubicBezTo>
                  <a:pt x="206" y="57"/>
                  <a:pt x="206" y="57"/>
                  <a:pt x="206" y="57"/>
                </a:cubicBezTo>
                <a:cubicBezTo>
                  <a:pt x="205" y="57"/>
                  <a:pt x="205" y="57"/>
                  <a:pt x="205" y="57"/>
                </a:cubicBezTo>
                <a:cubicBezTo>
                  <a:pt x="205" y="58"/>
                  <a:pt x="205" y="58"/>
                  <a:pt x="205" y="58"/>
                </a:cubicBezTo>
                <a:cubicBezTo>
                  <a:pt x="208" y="61"/>
                  <a:pt x="208" y="61"/>
                  <a:pt x="208" y="61"/>
                </a:cubicBezTo>
                <a:cubicBezTo>
                  <a:pt x="208" y="61"/>
                  <a:pt x="208" y="61"/>
                  <a:pt x="208" y="61"/>
                </a:cubicBezTo>
                <a:cubicBezTo>
                  <a:pt x="206" y="61"/>
                  <a:pt x="206" y="61"/>
                  <a:pt x="206" y="61"/>
                </a:cubicBezTo>
                <a:cubicBezTo>
                  <a:pt x="206" y="62"/>
                  <a:pt x="206" y="62"/>
                  <a:pt x="206" y="62"/>
                </a:cubicBezTo>
                <a:cubicBezTo>
                  <a:pt x="206" y="65"/>
                  <a:pt x="206" y="65"/>
                  <a:pt x="206" y="65"/>
                </a:cubicBezTo>
                <a:cubicBezTo>
                  <a:pt x="206" y="66"/>
                  <a:pt x="206" y="66"/>
                  <a:pt x="206" y="66"/>
                </a:cubicBezTo>
                <a:cubicBezTo>
                  <a:pt x="207" y="67"/>
                  <a:pt x="207" y="67"/>
                  <a:pt x="207" y="67"/>
                </a:cubicBezTo>
                <a:cubicBezTo>
                  <a:pt x="208" y="66"/>
                  <a:pt x="208" y="66"/>
                  <a:pt x="208" y="66"/>
                </a:cubicBezTo>
                <a:cubicBezTo>
                  <a:pt x="209" y="66"/>
                  <a:pt x="209" y="66"/>
                  <a:pt x="209" y="66"/>
                </a:cubicBezTo>
                <a:cubicBezTo>
                  <a:pt x="210" y="66"/>
                  <a:pt x="210" y="66"/>
                  <a:pt x="210" y="66"/>
                </a:cubicBezTo>
                <a:cubicBezTo>
                  <a:pt x="210" y="67"/>
                  <a:pt x="210" y="67"/>
                  <a:pt x="210" y="67"/>
                </a:cubicBezTo>
                <a:cubicBezTo>
                  <a:pt x="212" y="67"/>
                  <a:pt x="212" y="67"/>
                  <a:pt x="212" y="67"/>
                </a:cubicBezTo>
                <a:cubicBezTo>
                  <a:pt x="214" y="67"/>
                  <a:pt x="214" y="67"/>
                  <a:pt x="214" y="67"/>
                </a:cubicBezTo>
                <a:cubicBezTo>
                  <a:pt x="216" y="68"/>
                  <a:pt x="216" y="68"/>
                  <a:pt x="216" y="68"/>
                </a:cubicBezTo>
                <a:cubicBezTo>
                  <a:pt x="214" y="69"/>
                  <a:pt x="214" y="69"/>
                  <a:pt x="214" y="69"/>
                </a:cubicBezTo>
                <a:cubicBezTo>
                  <a:pt x="214" y="70"/>
                  <a:pt x="214" y="70"/>
                  <a:pt x="214" y="70"/>
                </a:cubicBezTo>
                <a:cubicBezTo>
                  <a:pt x="214" y="72"/>
                  <a:pt x="214" y="72"/>
                  <a:pt x="214" y="72"/>
                </a:cubicBezTo>
                <a:cubicBezTo>
                  <a:pt x="212" y="72"/>
                  <a:pt x="212" y="72"/>
                  <a:pt x="212" y="72"/>
                </a:cubicBezTo>
                <a:cubicBezTo>
                  <a:pt x="212" y="71"/>
                  <a:pt x="212" y="71"/>
                  <a:pt x="212" y="71"/>
                </a:cubicBezTo>
                <a:cubicBezTo>
                  <a:pt x="211" y="70"/>
                  <a:pt x="211" y="70"/>
                  <a:pt x="211" y="70"/>
                </a:cubicBezTo>
                <a:cubicBezTo>
                  <a:pt x="210" y="71"/>
                  <a:pt x="210" y="71"/>
                  <a:pt x="210" y="71"/>
                </a:cubicBezTo>
                <a:cubicBezTo>
                  <a:pt x="208" y="71"/>
                  <a:pt x="208" y="71"/>
                  <a:pt x="208" y="71"/>
                </a:cubicBezTo>
                <a:cubicBezTo>
                  <a:pt x="208" y="70"/>
                  <a:pt x="208" y="70"/>
                  <a:pt x="208" y="70"/>
                </a:cubicBezTo>
                <a:cubicBezTo>
                  <a:pt x="207" y="68"/>
                  <a:pt x="207" y="68"/>
                  <a:pt x="207" y="68"/>
                </a:cubicBezTo>
                <a:cubicBezTo>
                  <a:pt x="206" y="68"/>
                  <a:pt x="206" y="68"/>
                  <a:pt x="206" y="68"/>
                </a:cubicBezTo>
                <a:cubicBezTo>
                  <a:pt x="205" y="68"/>
                  <a:pt x="205" y="68"/>
                  <a:pt x="205" y="68"/>
                </a:cubicBezTo>
                <a:cubicBezTo>
                  <a:pt x="204" y="67"/>
                  <a:pt x="204" y="67"/>
                  <a:pt x="204" y="67"/>
                </a:cubicBezTo>
                <a:cubicBezTo>
                  <a:pt x="204" y="65"/>
                  <a:pt x="204" y="65"/>
                  <a:pt x="204" y="65"/>
                </a:cubicBezTo>
                <a:cubicBezTo>
                  <a:pt x="206" y="61"/>
                  <a:pt x="206" y="61"/>
                  <a:pt x="206" y="61"/>
                </a:cubicBezTo>
                <a:cubicBezTo>
                  <a:pt x="205" y="60"/>
                  <a:pt x="205" y="60"/>
                  <a:pt x="205" y="60"/>
                </a:cubicBezTo>
                <a:cubicBezTo>
                  <a:pt x="205" y="60"/>
                  <a:pt x="205" y="60"/>
                  <a:pt x="205" y="60"/>
                </a:cubicBezTo>
                <a:cubicBezTo>
                  <a:pt x="204" y="61"/>
                  <a:pt x="204" y="61"/>
                  <a:pt x="204" y="61"/>
                </a:cubicBezTo>
                <a:cubicBezTo>
                  <a:pt x="204" y="65"/>
                  <a:pt x="204" y="65"/>
                  <a:pt x="204" y="65"/>
                </a:cubicBezTo>
                <a:cubicBezTo>
                  <a:pt x="203" y="67"/>
                  <a:pt x="203" y="67"/>
                  <a:pt x="203" y="67"/>
                </a:cubicBezTo>
                <a:cubicBezTo>
                  <a:pt x="202" y="68"/>
                  <a:pt x="202" y="68"/>
                  <a:pt x="202" y="68"/>
                </a:cubicBezTo>
                <a:cubicBezTo>
                  <a:pt x="202" y="69"/>
                  <a:pt x="202" y="69"/>
                  <a:pt x="202" y="69"/>
                </a:cubicBezTo>
                <a:cubicBezTo>
                  <a:pt x="203" y="68"/>
                  <a:pt x="203" y="68"/>
                  <a:pt x="203" y="68"/>
                </a:cubicBezTo>
                <a:cubicBezTo>
                  <a:pt x="204" y="68"/>
                  <a:pt x="204" y="68"/>
                  <a:pt x="204" y="68"/>
                </a:cubicBezTo>
                <a:cubicBezTo>
                  <a:pt x="204" y="69"/>
                  <a:pt x="204" y="69"/>
                  <a:pt x="204" y="69"/>
                </a:cubicBezTo>
                <a:cubicBezTo>
                  <a:pt x="206" y="69"/>
                  <a:pt x="206" y="69"/>
                  <a:pt x="206" y="69"/>
                </a:cubicBezTo>
                <a:cubicBezTo>
                  <a:pt x="206" y="70"/>
                  <a:pt x="206" y="70"/>
                  <a:pt x="206" y="70"/>
                </a:cubicBezTo>
                <a:cubicBezTo>
                  <a:pt x="206" y="72"/>
                  <a:pt x="206" y="72"/>
                  <a:pt x="206" y="72"/>
                </a:cubicBezTo>
                <a:cubicBezTo>
                  <a:pt x="205" y="74"/>
                  <a:pt x="205" y="74"/>
                  <a:pt x="205" y="74"/>
                </a:cubicBezTo>
                <a:cubicBezTo>
                  <a:pt x="203" y="74"/>
                  <a:pt x="203" y="74"/>
                  <a:pt x="203" y="74"/>
                </a:cubicBezTo>
                <a:cubicBezTo>
                  <a:pt x="205" y="72"/>
                  <a:pt x="205" y="72"/>
                  <a:pt x="205" y="72"/>
                </a:cubicBezTo>
                <a:cubicBezTo>
                  <a:pt x="205" y="71"/>
                  <a:pt x="205" y="71"/>
                  <a:pt x="205" y="71"/>
                </a:cubicBezTo>
                <a:cubicBezTo>
                  <a:pt x="204" y="71"/>
                  <a:pt x="204" y="71"/>
                  <a:pt x="204" y="71"/>
                </a:cubicBezTo>
                <a:cubicBezTo>
                  <a:pt x="203" y="71"/>
                  <a:pt x="203" y="71"/>
                  <a:pt x="203" y="71"/>
                </a:cubicBezTo>
                <a:cubicBezTo>
                  <a:pt x="203" y="71"/>
                  <a:pt x="203" y="71"/>
                  <a:pt x="203" y="71"/>
                </a:cubicBezTo>
                <a:cubicBezTo>
                  <a:pt x="201" y="73"/>
                  <a:pt x="201" y="73"/>
                  <a:pt x="201" y="73"/>
                </a:cubicBezTo>
                <a:cubicBezTo>
                  <a:pt x="201" y="74"/>
                  <a:pt x="201" y="74"/>
                  <a:pt x="201" y="74"/>
                </a:cubicBezTo>
                <a:cubicBezTo>
                  <a:pt x="200" y="74"/>
                  <a:pt x="200" y="74"/>
                  <a:pt x="200" y="74"/>
                </a:cubicBezTo>
                <a:cubicBezTo>
                  <a:pt x="198" y="75"/>
                  <a:pt x="198" y="75"/>
                  <a:pt x="198" y="75"/>
                </a:cubicBezTo>
                <a:cubicBezTo>
                  <a:pt x="198" y="74"/>
                  <a:pt x="198" y="74"/>
                  <a:pt x="198" y="74"/>
                </a:cubicBezTo>
                <a:cubicBezTo>
                  <a:pt x="198" y="73"/>
                  <a:pt x="198" y="73"/>
                  <a:pt x="198" y="73"/>
                </a:cubicBezTo>
                <a:cubicBezTo>
                  <a:pt x="196" y="73"/>
                  <a:pt x="196" y="73"/>
                  <a:pt x="196" y="73"/>
                </a:cubicBezTo>
                <a:cubicBezTo>
                  <a:pt x="195" y="73"/>
                  <a:pt x="195" y="73"/>
                  <a:pt x="195" y="73"/>
                </a:cubicBezTo>
                <a:cubicBezTo>
                  <a:pt x="195" y="72"/>
                  <a:pt x="195" y="72"/>
                  <a:pt x="195" y="72"/>
                </a:cubicBezTo>
                <a:cubicBezTo>
                  <a:pt x="194" y="72"/>
                  <a:pt x="194" y="72"/>
                  <a:pt x="194" y="72"/>
                </a:cubicBezTo>
                <a:cubicBezTo>
                  <a:pt x="193" y="72"/>
                  <a:pt x="193" y="72"/>
                  <a:pt x="193" y="72"/>
                </a:cubicBezTo>
                <a:cubicBezTo>
                  <a:pt x="192" y="72"/>
                  <a:pt x="192" y="72"/>
                  <a:pt x="192" y="72"/>
                </a:cubicBezTo>
                <a:cubicBezTo>
                  <a:pt x="192" y="71"/>
                  <a:pt x="192" y="71"/>
                  <a:pt x="192" y="71"/>
                </a:cubicBezTo>
                <a:cubicBezTo>
                  <a:pt x="191" y="70"/>
                  <a:pt x="191" y="70"/>
                  <a:pt x="191" y="70"/>
                </a:cubicBezTo>
                <a:cubicBezTo>
                  <a:pt x="191" y="71"/>
                  <a:pt x="191" y="71"/>
                  <a:pt x="191" y="71"/>
                </a:cubicBezTo>
                <a:cubicBezTo>
                  <a:pt x="190" y="71"/>
                  <a:pt x="190" y="71"/>
                  <a:pt x="190" y="71"/>
                </a:cubicBezTo>
                <a:cubicBezTo>
                  <a:pt x="190" y="69"/>
                  <a:pt x="190" y="69"/>
                  <a:pt x="190" y="69"/>
                </a:cubicBezTo>
                <a:cubicBezTo>
                  <a:pt x="189" y="68"/>
                  <a:pt x="189" y="68"/>
                  <a:pt x="189" y="68"/>
                </a:cubicBezTo>
                <a:cubicBezTo>
                  <a:pt x="189" y="67"/>
                  <a:pt x="189" y="67"/>
                  <a:pt x="189" y="67"/>
                </a:cubicBezTo>
                <a:cubicBezTo>
                  <a:pt x="191" y="67"/>
                  <a:pt x="191" y="67"/>
                  <a:pt x="191" y="67"/>
                </a:cubicBezTo>
                <a:cubicBezTo>
                  <a:pt x="192" y="65"/>
                  <a:pt x="192" y="65"/>
                  <a:pt x="192" y="65"/>
                </a:cubicBezTo>
                <a:cubicBezTo>
                  <a:pt x="193" y="65"/>
                  <a:pt x="193" y="65"/>
                  <a:pt x="193" y="65"/>
                </a:cubicBezTo>
                <a:cubicBezTo>
                  <a:pt x="193" y="64"/>
                  <a:pt x="193" y="64"/>
                  <a:pt x="193" y="64"/>
                </a:cubicBezTo>
                <a:cubicBezTo>
                  <a:pt x="193" y="63"/>
                  <a:pt x="193" y="63"/>
                  <a:pt x="193" y="63"/>
                </a:cubicBezTo>
                <a:cubicBezTo>
                  <a:pt x="192" y="62"/>
                  <a:pt x="192" y="62"/>
                  <a:pt x="192" y="62"/>
                </a:cubicBezTo>
                <a:cubicBezTo>
                  <a:pt x="191" y="61"/>
                  <a:pt x="191" y="61"/>
                  <a:pt x="191" y="61"/>
                </a:cubicBezTo>
                <a:cubicBezTo>
                  <a:pt x="189" y="61"/>
                  <a:pt x="189" y="61"/>
                  <a:pt x="189" y="61"/>
                </a:cubicBezTo>
                <a:cubicBezTo>
                  <a:pt x="187" y="62"/>
                  <a:pt x="187" y="62"/>
                  <a:pt x="187" y="62"/>
                </a:cubicBezTo>
                <a:cubicBezTo>
                  <a:pt x="186" y="62"/>
                  <a:pt x="186" y="62"/>
                  <a:pt x="186" y="62"/>
                </a:cubicBezTo>
                <a:cubicBezTo>
                  <a:pt x="185" y="62"/>
                  <a:pt x="185" y="62"/>
                  <a:pt x="185" y="62"/>
                </a:cubicBezTo>
                <a:cubicBezTo>
                  <a:pt x="184" y="62"/>
                  <a:pt x="184" y="62"/>
                  <a:pt x="184" y="62"/>
                </a:cubicBezTo>
                <a:cubicBezTo>
                  <a:pt x="180" y="63"/>
                  <a:pt x="180" y="63"/>
                  <a:pt x="180" y="63"/>
                </a:cubicBezTo>
                <a:cubicBezTo>
                  <a:pt x="180" y="64"/>
                  <a:pt x="180" y="64"/>
                  <a:pt x="180" y="64"/>
                </a:cubicBezTo>
                <a:cubicBezTo>
                  <a:pt x="181" y="64"/>
                  <a:pt x="181" y="64"/>
                  <a:pt x="181" y="64"/>
                </a:cubicBezTo>
                <a:cubicBezTo>
                  <a:pt x="182" y="66"/>
                  <a:pt x="182" y="66"/>
                  <a:pt x="182" y="66"/>
                </a:cubicBezTo>
                <a:cubicBezTo>
                  <a:pt x="182" y="66"/>
                  <a:pt x="182" y="66"/>
                  <a:pt x="182" y="66"/>
                </a:cubicBezTo>
                <a:cubicBezTo>
                  <a:pt x="181" y="66"/>
                  <a:pt x="181" y="66"/>
                  <a:pt x="181" y="66"/>
                </a:cubicBezTo>
                <a:cubicBezTo>
                  <a:pt x="180" y="66"/>
                  <a:pt x="180" y="66"/>
                  <a:pt x="180" y="66"/>
                </a:cubicBezTo>
                <a:cubicBezTo>
                  <a:pt x="179" y="65"/>
                  <a:pt x="179" y="65"/>
                  <a:pt x="179" y="65"/>
                </a:cubicBezTo>
                <a:cubicBezTo>
                  <a:pt x="178" y="65"/>
                  <a:pt x="178" y="65"/>
                  <a:pt x="178" y="65"/>
                </a:cubicBezTo>
                <a:cubicBezTo>
                  <a:pt x="176" y="64"/>
                  <a:pt x="176" y="64"/>
                  <a:pt x="176" y="64"/>
                </a:cubicBezTo>
                <a:cubicBezTo>
                  <a:pt x="174" y="65"/>
                  <a:pt x="174" y="65"/>
                  <a:pt x="174" y="65"/>
                </a:cubicBezTo>
                <a:cubicBezTo>
                  <a:pt x="173" y="66"/>
                  <a:pt x="173" y="66"/>
                  <a:pt x="173" y="66"/>
                </a:cubicBezTo>
                <a:cubicBezTo>
                  <a:pt x="173" y="66"/>
                  <a:pt x="173" y="66"/>
                  <a:pt x="173" y="66"/>
                </a:cubicBezTo>
                <a:cubicBezTo>
                  <a:pt x="171" y="66"/>
                  <a:pt x="171" y="66"/>
                  <a:pt x="171" y="66"/>
                </a:cubicBezTo>
                <a:cubicBezTo>
                  <a:pt x="171" y="66"/>
                  <a:pt x="171" y="66"/>
                  <a:pt x="171" y="66"/>
                </a:cubicBezTo>
                <a:cubicBezTo>
                  <a:pt x="170" y="66"/>
                  <a:pt x="170" y="66"/>
                  <a:pt x="170" y="66"/>
                </a:cubicBezTo>
                <a:cubicBezTo>
                  <a:pt x="168" y="67"/>
                  <a:pt x="168" y="67"/>
                  <a:pt x="168" y="67"/>
                </a:cubicBezTo>
                <a:cubicBezTo>
                  <a:pt x="168" y="68"/>
                  <a:pt x="168" y="68"/>
                  <a:pt x="168" y="68"/>
                </a:cubicBezTo>
                <a:cubicBezTo>
                  <a:pt x="167" y="68"/>
                  <a:pt x="167" y="68"/>
                  <a:pt x="167" y="68"/>
                </a:cubicBezTo>
                <a:cubicBezTo>
                  <a:pt x="166" y="69"/>
                  <a:pt x="166" y="69"/>
                  <a:pt x="166" y="69"/>
                </a:cubicBezTo>
                <a:cubicBezTo>
                  <a:pt x="164" y="70"/>
                  <a:pt x="164" y="70"/>
                  <a:pt x="164" y="70"/>
                </a:cubicBezTo>
                <a:cubicBezTo>
                  <a:pt x="163" y="70"/>
                  <a:pt x="163" y="70"/>
                  <a:pt x="163" y="70"/>
                </a:cubicBezTo>
                <a:cubicBezTo>
                  <a:pt x="164" y="69"/>
                  <a:pt x="164" y="69"/>
                  <a:pt x="164" y="69"/>
                </a:cubicBezTo>
                <a:cubicBezTo>
                  <a:pt x="164" y="69"/>
                  <a:pt x="164" y="69"/>
                  <a:pt x="164" y="69"/>
                </a:cubicBezTo>
                <a:cubicBezTo>
                  <a:pt x="163" y="69"/>
                  <a:pt x="163" y="69"/>
                  <a:pt x="163" y="69"/>
                </a:cubicBezTo>
                <a:cubicBezTo>
                  <a:pt x="162" y="70"/>
                  <a:pt x="162" y="70"/>
                  <a:pt x="162" y="70"/>
                </a:cubicBezTo>
                <a:cubicBezTo>
                  <a:pt x="162" y="71"/>
                  <a:pt x="162" y="71"/>
                  <a:pt x="162" y="71"/>
                </a:cubicBezTo>
                <a:cubicBezTo>
                  <a:pt x="164" y="73"/>
                  <a:pt x="164" y="73"/>
                  <a:pt x="164" y="73"/>
                </a:cubicBezTo>
                <a:cubicBezTo>
                  <a:pt x="165" y="76"/>
                  <a:pt x="165" y="76"/>
                  <a:pt x="165" y="76"/>
                </a:cubicBezTo>
                <a:cubicBezTo>
                  <a:pt x="167" y="76"/>
                  <a:pt x="167" y="76"/>
                  <a:pt x="167" y="76"/>
                </a:cubicBezTo>
                <a:cubicBezTo>
                  <a:pt x="168" y="78"/>
                  <a:pt x="168" y="78"/>
                  <a:pt x="168" y="78"/>
                </a:cubicBezTo>
                <a:cubicBezTo>
                  <a:pt x="170" y="79"/>
                  <a:pt x="170" y="79"/>
                  <a:pt x="170" y="79"/>
                </a:cubicBezTo>
                <a:cubicBezTo>
                  <a:pt x="170" y="80"/>
                  <a:pt x="170" y="80"/>
                  <a:pt x="170" y="80"/>
                </a:cubicBezTo>
                <a:cubicBezTo>
                  <a:pt x="172" y="80"/>
                  <a:pt x="172" y="80"/>
                  <a:pt x="172" y="80"/>
                </a:cubicBezTo>
                <a:cubicBezTo>
                  <a:pt x="173" y="81"/>
                  <a:pt x="173" y="81"/>
                  <a:pt x="173" y="81"/>
                </a:cubicBezTo>
                <a:cubicBezTo>
                  <a:pt x="173" y="82"/>
                  <a:pt x="173" y="82"/>
                  <a:pt x="173" y="82"/>
                </a:cubicBezTo>
                <a:cubicBezTo>
                  <a:pt x="170" y="82"/>
                  <a:pt x="170" y="82"/>
                  <a:pt x="170" y="82"/>
                </a:cubicBezTo>
                <a:cubicBezTo>
                  <a:pt x="170" y="80"/>
                  <a:pt x="170" y="80"/>
                  <a:pt x="170" y="80"/>
                </a:cubicBezTo>
                <a:cubicBezTo>
                  <a:pt x="169" y="79"/>
                  <a:pt x="169" y="79"/>
                  <a:pt x="169" y="79"/>
                </a:cubicBezTo>
                <a:cubicBezTo>
                  <a:pt x="168" y="79"/>
                  <a:pt x="168" y="79"/>
                  <a:pt x="168" y="79"/>
                </a:cubicBezTo>
                <a:cubicBezTo>
                  <a:pt x="167" y="79"/>
                  <a:pt x="167" y="79"/>
                  <a:pt x="167" y="79"/>
                </a:cubicBezTo>
                <a:cubicBezTo>
                  <a:pt x="166" y="80"/>
                  <a:pt x="166" y="80"/>
                  <a:pt x="166" y="80"/>
                </a:cubicBezTo>
                <a:cubicBezTo>
                  <a:pt x="165" y="80"/>
                  <a:pt x="165" y="80"/>
                  <a:pt x="165" y="80"/>
                </a:cubicBezTo>
                <a:cubicBezTo>
                  <a:pt x="164" y="79"/>
                  <a:pt x="164" y="79"/>
                  <a:pt x="164" y="79"/>
                </a:cubicBezTo>
                <a:cubicBezTo>
                  <a:pt x="165" y="78"/>
                  <a:pt x="165" y="78"/>
                  <a:pt x="165" y="78"/>
                </a:cubicBezTo>
                <a:cubicBezTo>
                  <a:pt x="165" y="77"/>
                  <a:pt x="165" y="77"/>
                  <a:pt x="165" y="77"/>
                </a:cubicBezTo>
                <a:cubicBezTo>
                  <a:pt x="164" y="77"/>
                  <a:pt x="164" y="77"/>
                  <a:pt x="164" y="77"/>
                </a:cubicBezTo>
                <a:cubicBezTo>
                  <a:pt x="163" y="79"/>
                  <a:pt x="163" y="79"/>
                  <a:pt x="163" y="79"/>
                </a:cubicBezTo>
                <a:cubicBezTo>
                  <a:pt x="164" y="81"/>
                  <a:pt x="164" y="81"/>
                  <a:pt x="164" y="81"/>
                </a:cubicBezTo>
                <a:cubicBezTo>
                  <a:pt x="164" y="82"/>
                  <a:pt x="164" y="82"/>
                  <a:pt x="164" y="82"/>
                </a:cubicBezTo>
                <a:cubicBezTo>
                  <a:pt x="164" y="83"/>
                  <a:pt x="164" y="83"/>
                  <a:pt x="164" y="83"/>
                </a:cubicBezTo>
                <a:cubicBezTo>
                  <a:pt x="163" y="84"/>
                  <a:pt x="163" y="84"/>
                  <a:pt x="163" y="84"/>
                </a:cubicBezTo>
                <a:cubicBezTo>
                  <a:pt x="162" y="85"/>
                  <a:pt x="162" y="85"/>
                  <a:pt x="162" y="85"/>
                </a:cubicBezTo>
                <a:cubicBezTo>
                  <a:pt x="161" y="87"/>
                  <a:pt x="161" y="87"/>
                  <a:pt x="161" y="87"/>
                </a:cubicBezTo>
                <a:cubicBezTo>
                  <a:pt x="162" y="89"/>
                  <a:pt x="162" y="89"/>
                  <a:pt x="162" y="89"/>
                </a:cubicBezTo>
                <a:cubicBezTo>
                  <a:pt x="164" y="91"/>
                  <a:pt x="164" y="91"/>
                  <a:pt x="164" y="91"/>
                </a:cubicBezTo>
                <a:cubicBezTo>
                  <a:pt x="166" y="92"/>
                  <a:pt x="166" y="92"/>
                  <a:pt x="166" y="92"/>
                </a:cubicBezTo>
                <a:cubicBezTo>
                  <a:pt x="167" y="94"/>
                  <a:pt x="167" y="94"/>
                  <a:pt x="167" y="94"/>
                </a:cubicBezTo>
                <a:cubicBezTo>
                  <a:pt x="168" y="94"/>
                  <a:pt x="168" y="94"/>
                  <a:pt x="168" y="94"/>
                </a:cubicBezTo>
                <a:cubicBezTo>
                  <a:pt x="170" y="93"/>
                  <a:pt x="170" y="93"/>
                  <a:pt x="170" y="93"/>
                </a:cubicBezTo>
                <a:cubicBezTo>
                  <a:pt x="171" y="92"/>
                  <a:pt x="171" y="92"/>
                  <a:pt x="171" y="92"/>
                </a:cubicBezTo>
                <a:cubicBezTo>
                  <a:pt x="173" y="93"/>
                  <a:pt x="173" y="93"/>
                  <a:pt x="173" y="93"/>
                </a:cubicBezTo>
                <a:cubicBezTo>
                  <a:pt x="176" y="93"/>
                  <a:pt x="176" y="93"/>
                  <a:pt x="176" y="93"/>
                </a:cubicBezTo>
                <a:cubicBezTo>
                  <a:pt x="177" y="94"/>
                  <a:pt x="177" y="94"/>
                  <a:pt x="177" y="94"/>
                </a:cubicBezTo>
                <a:cubicBezTo>
                  <a:pt x="177" y="95"/>
                  <a:pt x="177" y="95"/>
                  <a:pt x="177" y="95"/>
                </a:cubicBezTo>
                <a:cubicBezTo>
                  <a:pt x="178" y="96"/>
                  <a:pt x="178" y="96"/>
                  <a:pt x="178" y="96"/>
                </a:cubicBezTo>
                <a:cubicBezTo>
                  <a:pt x="178" y="95"/>
                  <a:pt x="178" y="95"/>
                  <a:pt x="178" y="95"/>
                </a:cubicBezTo>
                <a:cubicBezTo>
                  <a:pt x="178" y="93"/>
                  <a:pt x="178" y="93"/>
                  <a:pt x="178" y="93"/>
                </a:cubicBezTo>
                <a:cubicBezTo>
                  <a:pt x="179" y="93"/>
                  <a:pt x="179" y="93"/>
                  <a:pt x="179" y="93"/>
                </a:cubicBezTo>
                <a:cubicBezTo>
                  <a:pt x="180" y="93"/>
                  <a:pt x="180" y="93"/>
                  <a:pt x="180" y="93"/>
                </a:cubicBezTo>
                <a:cubicBezTo>
                  <a:pt x="180" y="94"/>
                  <a:pt x="180" y="94"/>
                  <a:pt x="180" y="94"/>
                </a:cubicBezTo>
                <a:cubicBezTo>
                  <a:pt x="179" y="95"/>
                  <a:pt x="179" y="95"/>
                  <a:pt x="179" y="95"/>
                </a:cubicBezTo>
                <a:cubicBezTo>
                  <a:pt x="179" y="97"/>
                  <a:pt x="179" y="97"/>
                  <a:pt x="179" y="97"/>
                </a:cubicBezTo>
                <a:cubicBezTo>
                  <a:pt x="179" y="97"/>
                  <a:pt x="179" y="97"/>
                  <a:pt x="179" y="97"/>
                </a:cubicBezTo>
                <a:cubicBezTo>
                  <a:pt x="181" y="95"/>
                  <a:pt x="181" y="95"/>
                  <a:pt x="181" y="95"/>
                </a:cubicBezTo>
                <a:cubicBezTo>
                  <a:pt x="181" y="95"/>
                  <a:pt x="181" y="95"/>
                  <a:pt x="181" y="95"/>
                </a:cubicBezTo>
                <a:cubicBezTo>
                  <a:pt x="183" y="94"/>
                  <a:pt x="183" y="94"/>
                  <a:pt x="183" y="94"/>
                </a:cubicBezTo>
                <a:cubicBezTo>
                  <a:pt x="186" y="93"/>
                  <a:pt x="186" y="93"/>
                  <a:pt x="186" y="93"/>
                </a:cubicBezTo>
                <a:cubicBezTo>
                  <a:pt x="188" y="92"/>
                  <a:pt x="188" y="92"/>
                  <a:pt x="188" y="92"/>
                </a:cubicBezTo>
                <a:cubicBezTo>
                  <a:pt x="189" y="91"/>
                  <a:pt x="189" y="91"/>
                  <a:pt x="189" y="91"/>
                </a:cubicBezTo>
                <a:cubicBezTo>
                  <a:pt x="189" y="91"/>
                  <a:pt x="189" y="91"/>
                  <a:pt x="189" y="91"/>
                </a:cubicBezTo>
                <a:cubicBezTo>
                  <a:pt x="189" y="92"/>
                  <a:pt x="189" y="92"/>
                  <a:pt x="189" y="92"/>
                </a:cubicBezTo>
                <a:cubicBezTo>
                  <a:pt x="190" y="92"/>
                  <a:pt x="190" y="92"/>
                  <a:pt x="190" y="92"/>
                </a:cubicBezTo>
                <a:cubicBezTo>
                  <a:pt x="192" y="91"/>
                  <a:pt x="192" y="91"/>
                  <a:pt x="192" y="91"/>
                </a:cubicBezTo>
                <a:cubicBezTo>
                  <a:pt x="194" y="91"/>
                  <a:pt x="194" y="91"/>
                  <a:pt x="194" y="91"/>
                </a:cubicBezTo>
                <a:cubicBezTo>
                  <a:pt x="194" y="90"/>
                  <a:pt x="194" y="90"/>
                  <a:pt x="194" y="90"/>
                </a:cubicBezTo>
                <a:cubicBezTo>
                  <a:pt x="194" y="91"/>
                  <a:pt x="194" y="91"/>
                  <a:pt x="194" y="91"/>
                </a:cubicBezTo>
                <a:cubicBezTo>
                  <a:pt x="192" y="92"/>
                  <a:pt x="192" y="92"/>
                  <a:pt x="192" y="92"/>
                </a:cubicBezTo>
                <a:cubicBezTo>
                  <a:pt x="193" y="93"/>
                  <a:pt x="193" y="93"/>
                  <a:pt x="193" y="93"/>
                </a:cubicBezTo>
                <a:cubicBezTo>
                  <a:pt x="193" y="93"/>
                  <a:pt x="193" y="93"/>
                  <a:pt x="193" y="93"/>
                </a:cubicBezTo>
                <a:cubicBezTo>
                  <a:pt x="192" y="95"/>
                  <a:pt x="192" y="95"/>
                  <a:pt x="192" y="95"/>
                </a:cubicBezTo>
                <a:cubicBezTo>
                  <a:pt x="190" y="95"/>
                  <a:pt x="190" y="95"/>
                  <a:pt x="190" y="95"/>
                </a:cubicBezTo>
                <a:cubicBezTo>
                  <a:pt x="190" y="95"/>
                  <a:pt x="190" y="95"/>
                  <a:pt x="190" y="95"/>
                </a:cubicBezTo>
                <a:cubicBezTo>
                  <a:pt x="189" y="95"/>
                  <a:pt x="189" y="95"/>
                  <a:pt x="189" y="95"/>
                </a:cubicBezTo>
                <a:cubicBezTo>
                  <a:pt x="187" y="96"/>
                  <a:pt x="187" y="96"/>
                  <a:pt x="187" y="96"/>
                </a:cubicBezTo>
                <a:cubicBezTo>
                  <a:pt x="187" y="96"/>
                  <a:pt x="187" y="96"/>
                  <a:pt x="187" y="96"/>
                </a:cubicBezTo>
                <a:cubicBezTo>
                  <a:pt x="189" y="96"/>
                  <a:pt x="189" y="96"/>
                  <a:pt x="189" y="96"/>
                </a:cubicBezTo>
                <a:cubicBezTo>
                  <a:pt x="190" y="97"/>
                  <a:pt x="190" y="97"/>
                  <a:pt x="190" y="97"/>
                </a:cubicBezTo>
                <a:cubicBezTo>
                  <a:pt x="189" y="99"/>
                  <a:pt x="189" y="99"/>
                  <a:pt x="189" y="99"/>
                </a:cubicBezTo>
                <a:cubicBezTo>
                  <a:pt x="187" y="101"/>
                  <a:pt x="187" y="101"/>
                  <a:pt x="187" y="101"/>
                </a:cubicBezTo>
                <a:cubicBezTo>
                  <a:pt x="187" y="103"/>
                  <a:pt x="187" y="103"/>
                  <a:pt x="187" y="103"/>
                </a:cubicBezTo>
                <a:cubicBezTo>
                  <a:pt x="186" y="104"/>
                  <a:pt x="186" y="104"/>
                  <a:pt x="186" y="104"/>
                </a:cubicBezTo>
                <a:cubicBezTo>
                  <a:pt x="186" y="104"/>
                  <a:pt x="186" y="104"/>
                  <a:pt x="186" y="104"/>
                </a:cubicBezTo>
                <a:cubicBezTo>
                  <a:pt x="186" y="105"/>
                  <a:pt x="186" y="105"/>
                  <a:pt x="186" y="105"/>
                </a:cubicBezTo>
                <a:cubicBezTo>
                  <a:pt x="187" y="106"/>
                  <a:pt x="187" y="106"/>
                  <a:pt x="187" y="106"/>
                </a:cubicBezTo>
                <a:cubicBezTo>
                  <a:pt x="186" y="107"/>
                  <a:pt x="186" y="107"/>
                  <a:pt x="186" y="107"/>
                </a:cubicBezTo>
                <a:cubicBezTo>
                  <a:pt x="185" y="109"/>
                  <a:pt x="185" y="109"/>
                  <a:pt x="185" y="109"/>
                </a:cubicBezTo>
                <a:cubicBezTo>
                  <a:pt x="184" y="110"/>
                  <a:pt x="184" y="110"/>
                  <a:pt x="184" y="110"/>
                </a:cubicBezTo>
                <a:cubicBezTo>
                  <a:pt x="183" y="109"/>
                  <a:pt x="183" y="109"/>
                  <a:pt x="183" y="109"/>
                </a:cubicBezTo>
                <a:cubicBezTo>
                  <a:pt x="182" y="110"/>
                  <a:pt x="182" y="110"/>
                  <a:pt x="182" y="110"/>
                </a:cubicBezTo>
                <a:cubicBezTo>
                  <a:pt x="181" y="111"/>
                  <a:pt x="181" y="111"/>
                  <a:pt x="181" y="111"/>
                </a:cubicBezTo>
                <a:cubicBezTo>
                  <a:pt x="180" y="111"/>
                  <a:pt x="180" y="111"/>
                  <a:pt x="180" y="111"/>
                </a:cubicBezTo>
                <a:cubicBezTo>
                  <a:pt x="178" y="111"/>
                  <a:pt x="178" y="111"/>
                  <a:pt x="178" y="111"/>
                </a:cubicBezTo>
                <a:cubicBezTo>
                  <a:pt x="177" y="110"/>
                  <a:pt x="177" y="110"/>
                  <a:pt x="177" y="110"/>
                </a:cubicBezTo>
                <a:cubicBezTo>
                  <a:pt x="176" y="110"/>
                  <a:pt x="176" y="110"/>
                  <a:pt x="176" y="110"/>
                </a:cubicBezTo>
                <a:cubicBezTo>
                  <a:pt x="176" y="110"/>
                  <a:pt x="176" y="110"/>
                  <a:pt x="176" y="110"/>
                </a:cubicBezTo>
                <a:cubicBezTo>
                  <a:pt x="175" y="109"/>
                  <a:pt x="175" y="109"/>
                  <a:pt x="175" y="109"/>
                </a:cubicBezTo>
                <a:cubicBezTo>
                  <a:pt x="174" y="109"/>
                  <a:pt x="174" y="109"/>
                  <a:pt x="174" y="109"/>
                </a:cubicBezTo>
                <a:cubicBezTo>
                  <a:pt x="173" y="110"/>
                  <a:pt x="173" y="110"/>
                  <a:pt x="173" y="110"/>
                </a:cubicBezTo>
                <a:cubicBezTo>
                  <a:pt x="172" y="111"/>
                  <a:pt x="172" y="111"/>
                  <a:pt x="172" y="111"/>
                </a:cubicBezTo>
                <a:cubicBezTo>
                  <a:pt x="171" y="113"/>
                  <a:pt x="171" y="113"/>
                  <a:pt x="171" y="113"/>
                </a:cubicBezTo>
                <a:cubicBezTo>
                  <a:pt x="168" y="113"/>
                  <a:pt x="168" y="113"/>
                  <a:pt x="168" y="113"/>
                </a:cubicBezTo>
                <a:cubicBezTo>
                  <a:pt x="167" y="114"/>
                  <a:pt x="167" y="114"/>
                  <a:pt x="167" y="114"/>
                </a:cubicBezTo>
                <a:cubicBezTo>
                  <a:pt x="166" y="114"/>
                  <a:pt x="166" y="114"/>
                  <a:pt x="166" y="114"/>
                </a:cubicBezTo>
                <a:cubicBezTo>
                  <a:pt x="165" y="114"/>
                  <a:pt x="165" y="114"/>
                  <a:pt x="165" y="114"/>
                </a:cubicBezTo>
                <a:cubicBezTo>
                  <a:pt x="163" y="114"/>
                  <a:pt x="163" y="114"/>
                  <a:pt x="163" y="114"/>
                </a:cubicBezTo>
                <a:cubicBezTo>
                  <a:pt x="162" y="115"/>
                  <a:pt x="162" y="115"/>
                  <a:pt x="162" y="115"/>
                </a:cubicBezTo>
                <a:cubicBezTo>
                  <a:pt x="160" y="115"/>
                  <a:pt x="160" y="115"/>
                  <a:pt x="160" y="115"/>
                </a:cubicBezTo>
                <a:cubicBezTo>
                  <a:pt x="159" y="116"/>
                  <a:pt x="159" y="116"/>
                  <a:pt x="159" y="116"/>
                </a:cubicBezTo>
                <a:cubicBezTo>
                  <a:pt x="159" y="117"/>
                  <a:pt x="159" y="117"/>
                  <a:pt x="159" y="117"/>
                </a:cubicBezTo>
                <a:cubicBezTo>
                  <a:pt x="158" y="119"/>
                  <a:pt x="158" y="119"/>
                  <a:pt x="158" y="119"/>
                </a:cubicBezTo>
                <a:cubicBezTo>
                  <a:pt x="158" y="120"/>
                  <a:pt x="158" y="120"/>
                  <a:pt x="158" y="120"/>
                </a:cubicBezTo>
                <a:cubicBezTo>
                  <a:pt x="157" y="120"/>
                  <a:pt x="157" y="120"/>
                  <a:pt x="157" y="120"/>
                </a:cubicBezTo>
                <a:cubicBezTo>
                  <a:pt x="156" y="118"/>
                  <a:pt x="156" y="118"/>
                  <a:pt x="156" y="118"/>
                </a:cubicBezTo>
                <a:cubicBezTo>
                  <a:pt x="154" y="118"/>
                  <a:pt x="154" y="118"/>
                  <a:pt x="154" y="118"/>
                </a:cubicBezTo>
                <a:cubicBezTo>
                  <a:pt x="153" y="118"/>
                  <a:pt x="153" y="118"/>
                  <a:pt x="153" y="118"/>
                </a:cubicBezTo>
                <a:cubicBezTo>
                  <a:pt x="154" y="119"/>
                  <a:pt x="154" y="119"/>
                  <a:pt x="154" y="119"/>
                </a:cubicBezTo>
                <a:cubicBezTo>
                  <a:pt x="154" y="120"/>
                  <a:pt x="154" y="120"/>
                  <a:pt x="154" y="120"/>
                </a:cubicBezTo>
                <a:cubicBezTo>
                  <a:pt x="154" y="121"/>
                  <a:pt x="154" y="121"/>
                  <a:pt x="154" y="121"/>
                </a:cubicBezTo>
                <a:cubicBezTo>
                  <a:pt x="153" y="121"/>
                  <a:pt x="153" y="121"/>
                  <a:pt x="153" y="121"/>
                </a:cubicBezTo>
                <a:cubicBezTo>
                  <a:pt x="153" y="120"/>
                  <a:pt x="153" y="120"/>
                  <a:pt x="153" y="120"/>
                </a:cubicBezTo>
                <a:cubicBezTo>
                  <a:pt x="152" y="118"/>
                  <a:pt x="152" y="118"/>
                  <a:pt x="152" y="118"/>
                </a:cubicBezTo>
                <a:cubicBezTo>
                  <a:pt x="151" y="119"/>
                  <a:pt x="151" y="119"/>
                  <a:pt x="151" y="119"/>
                </a:cubicBezTo>
                <a:cubicBezTo>
                  <a:pt x="149" y="120"/>
                  <a:pt x="149" y="120"/>
                  <a:pt x="149" y="120"/>
                </a:cubicBezTo>
                <a:cubicBezTo>
                  <a:pt x="149" y="122"/>
                  <a:pt x="149" y="122"/>
                  <a:pt x="149" y="122"/>
                </a:cubicBezTo>
                <a:cubicBezTo>
                  <a:pt x="148" y="122"/>
                  <a:pt x="148" y="122"/>
                  <a:pt x="148" y="122"/>
                </a:cubicBezTo>
                <a:cubicBezTo>
                  <a:pt x="147" y="122"/>
                  <a:pt x="147" y="122"/>
                  <a:pt x="147" y="122"/>
                </a:cubicBezTo>
                <a:cubicBezTo>
                  <a:pt x="144" y="125"/>
                  <a:pt x="144" y="125"/>
                  <a:pt x="144" y="125"/>
                </a:cubicBezTo>
                <a:cubicBezTo>
                  <a:pt x="144" y="127"/>
                  <a:pt x="144" y="127"/>
                  <a:pt x="144" y="127"/>
                </a:cubicBezTo>
                <a:cubicBezTo>
                  <a:pt x="143" y="127"/>
                  <a:pt x="143" y="127"/>
                  <a:pt x="143" y="127"/>
                </a:cubicBezTo>
                <a:cubicBezTo>
                  <a:pt x="142" y="127"/>
                  <a:pt x="142" y="127"/>
                  <a:pt x="142" y="127"/>
                </a:cubicBezTo>
                <a:cubicBezTo>
                  <a:pt x="141" y="127"/>
                  <a:pt x="141" y="127"/>
                  <a:pt x="141" y="127"/>
                </a:cubicBezTo>
                <a:cubicBezTo>
                  <a:pt x="140" y="127"/>
                  <a:pt x="140" y="127"/>
                  <a:pt x="140" y="127"/>
                </a:cubicBezTo>
                <a:cubicBezTo>
                  <a:pt x="142" y="129"/>
                  <a:pt x="142" y="129"/>
                  <a:pt x="142" y="129"/>
                </a:cubicBezTo>
                <a:cubicBezTo>
                  <a:pt x="141" y="130"/>
                  <a:pt x="141" y="130"/>
                  <a:pt x="141" y="130"/>
                </a:cubicBezTo>
                <a:cubicBezTo>
                  <a:pt x="141" y="130"/>
                  <a:pt x="141" y="130"/>
                  <a:pt x="141" y="130"/>
                </a:cubicBezTo>
                <a:cubicBezTo>
                  <a:pt x="140" y="129"/>
                  <a:pt x="140" y="129"/>
                  <a:pt x="140" y="129"/>
                </a:cubicBezTo>
                <a:cubicBezTo>
                  <a:pt x="139" y="129"/>
                  <a:pt x="139" y="129"/>
                  <a:pt x="139" y="129"/>
                </a:cubicBezTo>
                <a:cubicBezTo>
                  <a:pt x="139" y="130"/>
                  <a:pt x="139" y="130"/>
                  <a:pt x="139" y="130"/>
                </a:cubicBezTo>
                <a:cubicBezTo>
                  <a:pt x="137" y="132"/>
                  <a:pt x="137" y="132"/>
                  <a:pt x="137" y="132"/>
                </a:cubicBezTo>
                <a:cubicBezTo>
                  <a:pt x="137" y="132"/>
                  <a:pt x="137" y="132"/>
                  <a:pt x="137" y="132"/>
                </a:cubicBezTo>
                <a:cubicBezTo>
                  <a:pt x="138" y="134"/>
                  <a:pt x="138" y="134"/>
                  <a:pt x="138" y="134"/>
                </a:cubicBezTo>
                <a:cubicBezTo>
                  <a:pt x="139" y="136"/>
                  <a:pt x="139" y="136"/>
                  <a:pt x="139" y="136"/>
                </a:cubicBezTo>
                <a:cubicBezTo>
                  <a:pt x="138" y="137"/>
                  <a:pt x="138" y="137"/>
                  <a:pt x="138" y="137"/>
                </a:cubicBezTo>
                <a:cubicBezTo>
                  <a:pt x="138" y="138"/>
                  <a:pt x="138" y="138"/>
                  <a:pt x="138" y="138"/>
                </a:cubicBezTo>
                <a:cubicBezTo>
                  <a:pt x="138" y="139"/>
                  <a:pt x="138" y="139"/>
                  <a:pt x="138" y="139"/>
                </a:cubicBezTo>
                <a:cubicBezTo>
                  <a:pt x="139" y="139"/>
                  <a:pt x="139" y="139"/>
                  <a:pt x="139" y="139"/>
                </a:cubicBezTo>
                <a:cubicBezTo>
                  <a:pt x="140" y="138"/>
                  <a:pt x="140" y="138"/>
                  <a:pt x="140" y="138"/>
                </a:cubicBezTo>
                <a:cubicBezTo>
                  <a:pt x="140" y="138"/>
                  <a:pt x="140" y="138"/>
                  <a:pt x="140" y="138"/>
                </a:cubicBezTo>
                <a:cubicBezTo>
                  <a:pt x="140" y="140"/>
                  <a:pt x="140" y="140"/>
                  <a:pt x="140" y="140"/>
                </a:cubicBezTo>
                <a:cubicBezTo>
                  <a:pt x="139" y="140"/>
                  <a:pt x="139" y="140"/>
                  <a:pt x="139" y="140"/>
                </a:cubicBezTo>
                <a:cubicBezTo>
                  <a:pt x="139" y="141"/>
                  <a:pt x="139" y="141"/>
                  <a:pt x="139" y="141"/>
                </a:cubicBezTo>
                <a:cubicBezTo>
                  <a:pt x="139" y="141"/>
                  <a:pt x="139" y="141"/>
                  <a:pt x="139" y="141"/>
                </a:cubicBezTo>
                <a:cubicBezTo>
                  <a:pt x="140" y="141"/>
                  <a:pt x="140" y="141"/>
                  <a:pt x="140" y="141"/>
                </a:cubicBezTo>
                <a:cubicBezTo>
                  <a:pt x="141" y="141"/>
                  <a:pt x="141" y="141"/>
                  <a:pt x="141" y="141"/>
                </a:cubicBezTo>
                <a:cubicBezTo>
                  <a:pt x="142" y="141"/>
                  <a:pt x="142" y="141"/>
                  <a:pt x="142" y="141"/>
                </a:cubicBezTo>
                <a:cubicBezTo>
                  <a:pt x="142" y="141"/>
                  <a:pt x="142" y="141"/>
                  <a:pt x="142" y="141"/>
                </a:cubicBezTo>
                <a:cubicBezTo>
                  <a:pt x="142" y="142"/>
                  <a:pt x="142" y="142"/>
                  <a:pt x="142" y="142"/>
                </a:cubicBezTo>
                <a:cubicBezTo>
                  <a:pt x="143" y="142"/>
                  <a:pt x="143" y="142"/>
                  <a:pt x="143" y="142"/>
                </a:cubicBezTo>
                <a:cubicBezTo>
                  <a:pt x="144" y="143"/>
                  <a:pt x="144" y="143"/>
                  <a:pt x="144" y="143"/>
                </a:cubicBezTo>
                <a:cubicBezTo>
                  <a:pt x="146" y="143"/>
                  <a:pt x="146" y="143"/>
                  <a:pt x="146" y="143"/>
                </a:cubicBezTo>
                <a:cubicBezTo>
                  <a:pt x="147" y="142"/>
                  <a:pt x="147" y="142"/>
                  <a:pt x="147" y="142"/>
                </a:cubicBezTo>
                <a:cubicBezTo>
                  <a:pt x="147" y="140"/>
                  <a:pt x="147" y="140"/>
                  <a:pt x="147" y="140"/>
                </a:cubicBezTo>
                <a:cubicBezTo>
                  <a:pt x="148" y="139"/>
                  <a:pt x="148" y="139"/>
                  <a:pt x="148" y="139"/>
                </a:cubicBezTo>
                <a:cubicBezTo>
                  <a:pt x="150" y="139"/>
                  <a:pt x="150" y="139"/>
                  <a:pt x="150" y="139"/>
                </a:cubicBezTo>
                <a:cubicBezTo>
                  <a:pt x="151" y="138"/>
                  <a:pt x="151" y="138"/>
                  <a:pt x="151" y="138"/>
                </a:cubicBezTo>
                <a:cubicBezTo>
                  <a:pt x="150" y="139"/>
                  <a:pt x="150" y="139"/>
                  <a:pt x="150" y="139"/>
                </a:cubicBezTo>
                <a:cubicBezTo>
                  <a:pt x="149" y="139"/>
                  <a:pt x="149" y="139"/>
                  <a:pt x="149" y="139"/>
                </a:cubicBezTo>
                <a:cubicBezTo>
                  <a:pt x="147" y="141"/>
                  <a:pt x="147" y="141"/>
                  <a:pt x="147" y="141"/>
                </a:cubicBezTo>
                <a:cubicBezTo>
                  <a:pt x="147" y="143"/>
                  <a:pt x="147" y="143"/>
                  <a:pt x="147" y="143"/>
                </a:cubicBezTo>
                <a:cubicBezTo>
                  <a:pt x="146" y="143"/>
                  <a:pt x="146" y="143"/>
                  <a:pt x="146" y="143"/>
                </a:cubicBezTo>
                <a:cubicBezTo>
                  <a:pt x="147" y="145"/>
                  <a:pt x="147" y="145"/>
                  <a:pt x="147" y="145"/>
                </a:cubicBezTo>
                <a:cubicBezTo>
                  <a:pt x="147" y="146"/>
                  <a:pt x="147" y="146"/>
                  <a:pt x="147" y="146"/>
                </a:cubicBezTo>
                <a:cubicBezTo>
                  <a:pt x="146" y="146"/>
                  <a:pt x="146" y="146"/>
                  <a:pt x="146" y="146"/>
                </a:cubicBezTo>
                <a:cubicBezTo>
                  <a:pt x="145" y="145"/>
                  <a:pt x="145" y="145"/>
                  <a:pt x="145" y="145"/>
                </a:cubicBezTo>
                <a:cubicBezTo>
                  <a:pt x="145" y="145"/>
                  <a:pt x="145" y="145"/>
                  <a:pt x="145" y="145"/>
                </a:cubicBezTo>
                <a:cubicBezTo>
                  <a:pt x="145" y="144"/>
                  <a:pt x="145" y="144"/>
                  <a:pt x="145" y="144"/>
                </a:cubicBezTo>
                <a:cubicBezTo>
                  <a:pt x="144" y="144"/>
                  <a:pt x="144" y="144"/>
                  <a:pt x="144" y="144"/>
                </a:cubicBezTo>
                <a:cubicBezTo>
                  <a:pt x="143" y="143"/>
                  <a:pt x="143" y="143"/>
                  <a:pt x="143" y="143"/>
                </a:cubicBezTo>
                <a:cubicBezTo>
                  <a:pt x="141" y="143"/>
                  <a:pt x="141" y="143"/>
                  <a:pt x="141" y="143"/>
                </a:cubicBezTo>
                <a:cubicBezTo>
                  <a:pt x="141" y="142"/>
                  <a:pt x="141" y="142"/>
                  <a:pt x="141" y="142"/>
                </a:cubicBezTo>
                <a:cubicBezTo>
                  <a:pt x="140" y="143"/>
                  <a:pt x="140" y="143"/>
                  <a:pt x="140" y="143"/>
                </a:cubicBezTo>
                <a:cubicBezTo>
                  <a:pt x="139" y="143"/>
                  <a:pt x="139" y="143"/>
                  <a:pt x="139" y="143"/>
                </a:cubicBezTo>
                <a:cubicBezTo>
                  <a:pt x="138" y="144"/>
                  <a:pt x="138" y="144"/>
                  <a:pt x="138" y="144"/>
                </a:cubicBezTo>
                <a:cubicBezTo>
                  <a:pt x="137" y="145"/>
                  <a:pt x="137" y="145"/>
                  <a:pt x="137" y="145"/>
                </a:cubicBezTo>
                <a:cubicBezTo>
                  <a:pt x="136" y="144"/>
                  <a:pt x="136" y="144"/>
                  <a:pt x="136" y="144"/>
                </a:cubicBezTo>
                <a:cubicBezTo>
                  <a:pt x="136" y="145"/>
                  <a:pt x="136" y="145"/>
                  <a:pt x="136" y="145"/>
                </a:cubicBezTo>
                <a:cubicBezTo>
                  <a:pt x="136" y="146"/>
                  <a:pt x="136" y="146"/>
                  <a:pt x="136" y="146"/>
                </a:cubicBezTo>
                <a:cubicBezTo>
                  <a:pt x="137" y="146"/>
                  <a:pt x="137" y="146"/>
                  <a:pt x="137" y="146"/>
                </a:cubicBezTo>
                <a:cubicBezTo>
                  <a:pt x="136" y="147"/>
                  <a:pt x="136" y="147"/>
                  <a:pt x="136" y="147"/>
                </a:cubicBezTo>
                <a:cubicBezTo>
                  <a:pt x="136" y="149"/>
                  <a:pt x="136" y="149"/>
                  <a:pt x="136" y="149"/>
                </a:cubicBezTo>
                <a:cubicBezTo>
                  <a:pt x="136" y="150"/>
                  <a:pt x="136" y="150"/>
                  <a:pt x="136" y="150"/>
                </a:cubicBezTo>
                <a:cubicBezTo>
                  <a:pt x="137" y="150"/>
                  <a:pt x="137" y="150"/>
                  <a:pt x="137" y="150"/>
                </a:cubicBezTo>
                <a:cubicBezTo>
                  <a:pt x="137" y="152"/>
                  <a:pt x="137" y="152"/>
                  <a:pt x="137" y="152"/>
                </a:cubicBezTo>
                <a:cubicBezTo>
                  <a:pt x="138" y="153"/>
                  <a:pt x="138" y="153"/>
                  <a:pt x="138" y="153"/>
                </a:cubicBezTo>
                <a:cubicBezTo>
                  <a:pt x="138" y="154"/>
                  <a:pt x="138" y="154"/>
                  <a:pt x="138" y="154"/>
                </a:cubicBezTo>
                <a:cubicBezTo>
                  <a:pt x="139" y="155"/>
                  <a:pt x="139" y="155"/>
                  <a:pt x="139" y="155"/>
                </a:cubicBezTo>
                <a:cubicBezTo>
                  <a:pt x="139" y="155"/>
                  <a:pt x="139" y="155"/>
                  <a:pt x="139" y="155"/>
                </a:cubicBezTo>
                <a:cubicBezTo>
                  <a:pt x="137" y="155"/>
                  <a:pt x="137" y="155"/>
                  <a:pt x="137" y="155"/>
                </a:cubicBezTo>
                <a:cubicBezTo>
                  <a:pt x="137" y="156"/>
                  <a:pt x="137" y="156"/>
                  <a:pt x="137" y="156"/>
                </a:cubicBezTo>
                <a:cubicBezTo>
                  <a:pt x="141" y="158"/>
                  <a:pt x="141" y="158"/>
                  <a:pt x="141" y="158"/>
                </a:cubicBezTo>
                <a:cubicBezTo>
                  <a:pt x="143" y="158"/>
                  <a:pt x="143" y="158"/>
                  <a:pt x="143" y="158"/>
                </a:cubicBezTo>
                <a:cubicBezTo>
                  <a:pt x="145" y="157"/>
                  <a:pt x="145" y="157"/>
                  <a:pt x="145" y="157"/>
                </a:cubicBezTo>
                <a:cubicBezTo>
                  <a:pt x="146" y="157"/>
                  <a:pt x="146" y="157"/>
                  <a:pt x="146" y="157"/>
                </a:cubicBezTo>
                <a:cubicBezTo>
                  <a:pt x="146" y="157"/>
                  <a:pt x="146" y="157"/>
                  <a:pt x="146" y="157"/>
                </a:cubicBezTo>
                <a:cubicBezTo>
                  <a:pt x="147" y="157"/>
                  <a:pt x="147" y="157"/>
                  <a:pt x="147" y="157"/>
                </a:cubicBezTo>
                <a:cubicBezTo>
                  <a:pt x="149" y="155"/>
                  <a:pt x="149" y="155"/>
                  <a:pt x="149" y="155"/>
                </a:cubicBezTo>
                <a:cubicBezTo>
                  <a:pt x="149" y="154"/>
                  <a:pt x="149" y="154"/>
                  <a:pt x="149" y="154"/>
                </a:cubicBezTo>
                <a:cubicBezTo>
                  <a:pt x="148" y="153"/>
                  <a:pt x="148" y="153"/>
                  <a:pt x="148" y="153"/>
                </a:cubicBezTo>
                <a:cubicBezTo>
                  <a:pt x="148" y="152"/>
                  <a:pt x="148" y="152"/>
                  <a:pt x="148" y="152"/>
                </a:cubicBezTo>
                <a:cubicBezTo>
                  <a:pt x="150" y="152"/>
                  <a:pt x="150" y="152"/>
                  <a:pt x="150" y="152"/>
                </a:cubicBezTo>
                <a:cubicBezTo>
                  <a:pt x="152" y="150"/>
                  <a:pt x="152" y="150"/>
                  <a:pt x="152" y="150"/>
                </a:cubicBezTo>
                <a:cubicBezTo>
                  <a:pt x="154" y="148"/>
                  <a:pt x="154" y="148"/>
                  <a:pt x="154" y="148"/>
                </a:cubicBezTo>
                <a:cubicBezTo>
                  <a:pt x="155" y="149"/>
                  <a:pt x="155" y="149"/>
                  <a:pt x="155" y="149"/>
                </a:cubicBezTo>
                <a:cubicBezTo>
                  <a:pt x="154" y="149"/>
                  <a:pt x="154" y="149"/>
                  <a:pt x="154" y="149"/>
                </a:cubicBezTo>
                <a:cubicBezTo>
                  <a:pt x="152" y="151"/>
                  <a:pt x="152" y="151"/>
                  <a:pt x="152" y="151"/>
                </a:cubicBezTo>
                <a:cubicBezTo>
                  <a:pt x="150" y="152"/>
                  <a:pt x="150" y="152"/>
                  <a:pt x="150" y="152"/>
                </a:cubicBezTo>
                <a:cubicBezTo>
                  <a:pt x="150" y="153"/>
                  <a:pt x="150" y="153"/>
                  <a:pt x="150" y="153"/>
                </a:cubicBezTo>
                <a:cubicBezTo>
                  <a:pt x="151" y="154"/>
                  <a:pt x="151" y="154"/>
                  <a:pt x="151" y="154"/>
                </a:cubicBezTo>
                <a:cubicBezTo>
                  <a:pt x="151" y="155"/>
                  <a:pt x="151" y="155"/>
                  <a:pt x="151" y="155"/>
                </a:cubicBezTo>
                <a:cubicBezTo>
                  <a:pt x="150" y="156"/>
                  <a:pt x="150" y="156"/>
                  <a:pt x="150" y="156"/>
                </a:cubicBezTo>
                <a:cubicBezTo>
                  <a:pt x="149" y="157"/>
                  <a:pt x="149" y="157"/>
                  <a:pt x="149" y="157"/>
                </a:cubicBezTo>
                <a:cubicBezTo>
                  <a:pt x="148" y="159"/>
                  <a:pt x="148" y="159"/>
                  <a:pt x="148" y="159"/>
                </a:cubicBezTo>
                <a:cubicBezTo>
                  <a:pt x="149" y="160"/>
                  <a:pt x="149" y="160"/>
                  <a:pt x="149" y="160"/>
                </a:cubicBezTo>
                <a:cubicBezTo>
                  <a:pt x="148" y="161"/>
                  <a:pt x="148" y="161"/>
                  <a:pt x="148" y="161"/>
                </a:cubicBezTo>
                <a:cubicBezTo>
                  <a:pt x="148" y="162"/>
                  <a:pt x="148" y="162"/>
                  <a:pt x="148" y="162"/>
                </a:cubicBezTo>
                <a:cubicBezTo>
                  <a:pt x="148" y="163"/>
                  <a:pt x="148" y="163"/>
                  <a:pt x="148" y="163"/>
                </a:cubicBezTo>
                <a:cubicBezTo>
                  <a:pt x="148" y="164"/>
                  <a:pt x="148" y="164"/>
                  <a:pt x="148" y="164"/>
                </a:cubicBezTo>
                <a:cubicBezTo>
                  <a:pt x="147" y="165"/>
                  <a:pt x="147" y="165"/>
                  <a:pt x="147" y="165"/>
                </a:cubicBezTo>
                <a:cubicBezTo>
                  <a:pt x="146" y="166"/>
                  <a:pt x="146" y="166"/>
                  <a:pt x="146" y="166"/>
                </a:cubicBezTo>
                <a:cubicBezTo>
                  <a:pt x="146" y="167"/>
                  <a:pt x="146" y="167"/>
                  <a:pt x="146" y="167"/>
                </a:cubicBezTo>
                <a:cubicBezTo>
                  <a:pt x="145" y="166"/>
                  <a:pt x="145" y="166"/>
                  <a:pt x="145" y="166"/>
                </a:cubicBezTo>
                <a:cubicBezTo>
                  <a:pt x="145" y="167"/>
                  <a:pt x="145" y="167"/>
                  <a:pt x="145" y="167"/>
                </a:cubicBezTo>
                <a:cubicBezTo>
                  <a:pt x="145" y="168"/>
                  <a:pt x="145" y="168"/>
                  <a:pt x="145" y="168"/>
                </a:cubicBezTo>
                <a:cubicBezTo>
                  <a:pt x="145" y="169"/>
                  <a:pt x="145" y="169"/>
                  <a:pt x="145" y="169"/>
                </a:cubicBezTo>
                <a:cubicBezTo>
                  <a:pt x="146" y="170"/>
                  <a:pt x="146" y="170"/>
                  <a:pt x="146" y="170"/>
                </a:cubicBezTo>
                <a:cubicBezTo>
                  <a:pt x="147" y="169"/>
                  <a:pt x="147" y="169"/>
                  <a:pt x="147" y="169"/>
                </a:cubicBezTo>
                <a:cubicBezTo>
                  <a:pt x="148" y="169"/>
                  <a:pt x="148" y="169"/>
                  <a:pt x="148" y="169"/>
                </a:cubicBezTo>
                <a:cubicBezTo>
                  <a:pt x="148" y="170"/>
                  <a:pt x="148" y="170"/>
                  <a:pt x="148" y="170"/>
                </a:cubicBezTo>
                <a:cubicBezTo>
                  <a:pt x="147" y="171"/>
                  <a:pt x="147" y="171"/>
                  <a:pt x="147" y="171"/>
                </a:cubicBezTo>
                <a:cubicBezTo>
                  <a:pt x="146" y="171"/>
                  <a:pt x="146" y="171"/>
                  <a:pt x="146" y="171"/>
                </a:cubicBezTo>
                <a:cubicBezTo>
                  <a:pt x="145" y="171"/>
                  <a:pt x="145" y="171"/>
                  <a:pt x="145" y="171"/>
                </a:cubicBezTo>
                <a:cubicBezTo>
                  <a:pt x="146" y="172"/>
                  <a:pt x="146" y="172"/>
                  <a:pt x="146" y="172"/>
                </a:cubicBezTo>
                <a:cubicBezTo>
                  <a:pt x="145" y="172"/>
                  <a:pt x="145" y="172"/>
                  <a:pt x="145" y="172"/>
                </a:cubicBezTo>
                <a:cubicBezTo>
                  <a:pt x="146" y="173"/>
                  <a:pt x="146" y="173"/>
                  <a:pt x="146" y="173"/>
                </a:cubicBezTo>
                <a:cubicBezTo>
                  <a:pt x="145" y="174"/>
                  <a:pt x="145" y="174"/>
                  <a:pt x="145" y="174"/>
                </a:cubicBezTo>
                <a:cubicBezTo>
                  <a:pt x="144" y="174"/>
                  <a:pt x="144" y="174"/>
                  <a:pt x="144" y="174"/>
                </a:cubicBezTo>
                <a:cubicBezTo>
                  <a:pt x="143" y="175"/>
                  <a:pt x="143" y="175"/>
                  <a:pt x="143" y="175"/>
                </a:cubicBezTo>
                <a:cubicBezTo>
                  <a:pt x="142" y="174"/>
                  <a:pt x="142" y="174"/>
                  <a:pt x="142" y="174"/>
                </a:cubicBezTo>
                <a:cubicBezTo>
                  <a:pt x="142" y="175"/>
                  <a:pt x="142" y="175"/>
                  <a:pt x="142" y="175"/>
                </a:cubicBezTo>
                <a:cubicBezTo>
                  <a:pt x="142" y="175"/>
                  <a:pt x="142" y="175"/>
                  <a:pt x="142" y="175"/>
                </a:cubicBezTo>
                <a:cubicBezTo>
                  <a:pt x="144" y="175"/>
                  <a:pt x="144" y="175"/>
                  <a:pt x="144" y="175"/>
                </a:cubicBezTo>
                <a:cubicBezTo>
                  <a:pt x="144" y="176"/>
                  <a:pt x="144" y="176"/>
                  <a:pt x="144" y="176"/>
                </a:cubicBezTo>
                <a:cubicBezTo>
                  <a:pt x="146" y="175"/>
                  <a:pt x="146" y="175"/>
                  <a:pt x="146" y="175"/>
                </a:cubicBezTo>
                <a:cubicBezTo>
                  <a:pt x="148" y="173"/>
                  <a:pt x="148" y="173"/>
                  <a:pt x="148" y="173"/>
                </a:cubicBezTo>
                <a:cubicBezTo>
                  <a:pt x="149" y="173"/>
                  <a:pt x="149" y="173"/>
                  <a:pt x="149" y="173"/>
                </a:cubicBezTo>
                <a:cubicBezTo>
                  <a:pt x="150" y="173"/>
                  <a:pt x="150" y="173"/>
                  <a:pt x="150" y="173"/>
                </a:cubicBezTo>
                <a:cubicBezTo>
                  <a:pt x="151" y="172"/>
                  <a:pt x="151" y="172"/>
                  <a:pt x="151" y="172"/>
                </a:cubicBezTo>
                <a:cubicBezTo>
                  <a:pt x="153" y="172"/>
                  <a:pt x="153" y="172"/>
                  <a:pt x="153" y="172"/>
                </a:cubicBezTo>
                <a:cubicBezTo>
                  <a:pt x="152" y="173"/>
                  <a:pt x="152" y="173"/>
                  <a:pt x="152" y="173"/>
                </a:cubicBezTo>
                <a:cubicBezTo>
                  <a:pt x="151" y="173"/>
                  <a:pt x="151" y="173"/>
                  <a:pt x="151" y="173"/>
                </a:cubicBezTo>
                <a:cubicBezTo>
                  <a:pt x="151" y="174"/>
                  <a:pt x="151" y="174"/>
                  <a:pt x="151" y="174"/>
                </a:cubicBezTo>
                <a:cubicBezTo>
                  <a:pt x="152" y="174"/>
                  <a:pt x="152" y="174"/>
                  <a:pt x="152" y="174"/>
                </a:cubicBezTo>
                <a:cubicBezTo>
                  <a:pt x="153" y="175"/>
                  <a:pt x="153" y="175"/>
                  <a:pt x="153" y="175"/>
                </a:cubicBezTo>
                <a:cubicBezTo>
                  <a:pt x="152" y="176"/>
                  <a:pt x="152" y="176"/>
                  <a:pt x="152" y="176"/>
                </a:cubicBezTo>
                <a:cubicBezTo>
                  <a:pt x="153" y="176"/>
                  <a:pt x="153" y="176"/>
                  <a:pt x="153" y="176"/>
                </a:cubicBezTo>
                <a:cubicBezTo>
                  <a:pt x="154" y="176"/>
                  <a:pt x="154" y="176"/>
                  <a:pt x="154" y="176"/>
                </a:cubicBezTo>
                <a:cubicBezTo>
                  <a:pt x="155" y="175"/>
                  <a:pt x="155" y="175"/>
                  <a:pt x="155" y="175"/>
                </a:cubicBezTo>
                <a:cubicBezTo>
                  <a:pt x="155" y="175"/>
                  <a:pt x="155" y="175"/>
                  <a:pt x="155" y="175"/>
                </a:cubicBezTo>
                <a:cubicBezTo>
                  <a:pt x="155" y="176"/>
                  <a:pt x="155" y="176"/>
                  <a:pt x="155" y="176"/>
                </a:cubicBezTo>
                <a:cubicBezTo>
                  <a:pt x="156" y="177"/>
                  <a:pt x="156" y="177"/>
                  <a:pt x="156" y="177"/>
                </a:cubicBezTo>
                <a:cubicBezTo>
                  <a:pt x="156" y="179"/>
                  <a:pt x="156" y="179"/>
                  <a:pt x="156" y="179"/>
                </a:cubicBezTo>
                <a:cubicBezTo>
                  <a:pt x="156" y="180"/>
                  <a:pt x="156" y="180"/>
                  <a:pt x="156" y="180"/>
                </a:cubicBezTo>
                <a:cubicBezTo>
                  <a:pt x="157" y="182"/>
                  <a:pt x="157" y="182"/>
                  <a:pt x="157" y="182"/>
                </a:cubicBezTo>
                <a:cubicBezTo>
                  <a:pt x="157" y="182"/>
                  <a:pt x="157" y="182"/>
                  <a:pt x="157" y="182"/>
                </a:cubicBezTo>
                <a:cubicBezTo>
                  <a:pt x="158" y="181"/>
                  <a:pt x="158" y="181"/>
                  <a:pt x="158" y="181"/>
                </a:cubicBezTo>
                <a:cubicBezTo>
                  <a:pt x="158" y="179"/>
                  <a:pt x="158" y="179"/>
                  <a:pt x="158" y="179"/>
                </a:cubicBezTo>
                <a:cubicBezTo>
                  <a:pt x="159" y="177"/>
                  <a:pt x="159" y="177"/>
                  <a:pt x="159" y="177"/>
                </a:cubicBezTo>
                <a:cubicBezTo>
                  <a:pt x="159" y="176"/>
                  <a:pt x="159" y="176"/>
                  <a:pt x="159" y="176"/>
                </a:cubicBezTo>
                <a:cubicBezTo>
                  <a:pt x="160" y="175"/>
                  <a:pt x="160" y="175"/>
                  <a:pt x="160" y="175"/>
                </a:cubicBezTo>
                <a:cubicBezTo>
                  <a:pt x="161" y="175"/>
                  <a:pt x="161" y="175"/>
                  <a:pt x="161" y="175"/>
                </a:cubicBezTo>
                <a:cubicBezTo>
                  <a:pt x="162" y="174"/>
                  <a:pt x="162" y="174"/>
                  <a:pt x="162" y="174"/>
                </a:cubicBezTo>
                <a:cubicBezTo>
                  <a:pt x="164" y="174"/>
                  <a:pt x="164" y="174"/>
                  <a:pt x="164" y="174"/>
                </a:cubicBezTo>
                <a:cubicBezTo>
                  <a:pt x="162" y="175"/>
                  <a:pt x="162" y="175"/>
                  <a:pt x="162" y="175"/>
                </a:cubicBezTo>
                <a:cubicBezTo>
                  <a:pt x="161" y="177"/>
                  <a:pt x="161" y="177"/>
                  <a:pt x="161" y="177"/>
                </a:cubicBezTo>
                <a:cubicBezTo>
                  <a:pt x="160" y="178"/>
                  <a:pt x="160" y="178"/>
                  <a:pt x="160" y="178"/>
                </a:cubicBezTo>
                <a:cubicBezTo>
                  <a:pt x="162" y="179"/>
                  <a:pt x="162" y="179"/>
                  <a:pt x="162" y="179"/>
                </a:cubicBezTo>
                <a:cubicBezTo>
                  <a:pt x="163" y="180"/>
                  <a:pt x="163" y="180"/>
                  <a:pt x="163" y="180"/>
                </a:cubicBezTo>
                <a:cubicBezTo>
                  <a:pt x="165" y="179"/>
                  <a:pt x="165" y="179"/>
                  <a:pt x="165" y="179"/>
                </a:cubicBezTo>
                <a:cubicBezTo>
                  <a:pt x="167" y="178"/>
                  <a:pt x="167" y="178"/>
                  <a:pt x="167" y="178"/>
                </a:cubicBezTo>
                <a:cubicBezTo>
                  <a:pt x="168" y="177"/>
                  <a:pt x="168" y="177"/>
                  <a:pt x="168" y="177"/>
                </a:cubicBezTo>
                <a:cubicBezTo>
                  <a:pt x="169" y="177"/>
                  <a:pt x="169" y="177"/>
                  <a:pt x="169" y="177"/>
                </a:cubicBezTo>
                <a:cubicBezTo>
                  <a:pt x="171" y="176"/>
                  <a:pt x="171" y="176"/>
                  <a:pt x="171" y="176"/>
                </a:cubicBezTo>
                <a:cubicBezTo>
                  <a:pt x="172" y="176"/>
                  <a:pt x="172" y="176"/>
                  <a:pt x="172" y="176"/>
                </a:cubicBezTo>
                <a:cubicBezTo>
                  <a:pt x="171" y="177"/>
                  <a:pt x="171" y="177"/>
                  <a:pt x="171" y="177"/>
                </a:cubicBezTo>
                <a:cubicBezTo>
                  <a:pt x="170" y="178"/>
                  <a:pt x="170" y="178"/>
                  <a:pt x="170" y="178"/>
                </a:cubicBezTo>
                <a:cubicBezTo>
                  <a:pt x="170" y="179"/>
                  <a:pt x="170" y="179"/>
                  <a:pt x="170" y="179"/>
                </a:cubicBezTo>
                <a:cubicBezTo>
                  <a:pt x="169" y="180"/>
                  <a:pt x="169" y="180"/>
                  <a:pt x="169" y="180"/>
                </a:cubicBezTo>
                <a:cubicBezTo>
                  <a:pt x="165" y="182"/>
                  <a:pt x="165" y="182"/>
                  <a:pt x="165" y="182"/>
                </a:cubicBezTo>
                <a:cubicBezTo>
                  <a:pt x="164" y="183"/>
                  <a:pt x="164" y="183"/>
                  <a:pt x="164" y="183"/>
                </a:cubicBezTo>
                <a:cubicBezTo>
                  <a:pt x="163" y="185"/>
                  <a:pt x="163" y="185"/>
                  <a:pt x="163" y="185"/>
                </a:cubicBezTo>
                <a:cubicBezTo>
                  <a:pt x="163" y="186"/>
                  <a:pt x="163" y="186"/>
                  <a:pt x="163" y="186"/>
                </a:cubicBezTo>
                <a:cubicBezTo>
                  <a:pt x="163" y="187"/>
                  <a:pt x="163" y="187"/>
                  <a:pt x="163" y="187"/>
                </a:cubicBezTo>
                <a:cubicBezTo>
                  <a:pt x="164" y="188"/>
                  <a:pt x="164" y="188"/>
                  <a:pt x="164" y="188"/>
                </a:cubicBezTo>
                <a:cubicBezTo>
                  <a:pt x="162" y="188"/>
                  <a:pt x="162" y="188"/>
                  <a:pt x="162" y="188"/>
                </a:cubicBezTo>
                <a:cubicBezTo>
                  <a:pt x="161" y="188"/>
                  <a:pt x="161" y="188"/>
                  <a:pt x="161" y="188"/>
                </a:cubicBezTo>
                <a:cubicBezTo>
                  <a:pt x="160" y="189"/>
                  <a:pt x="160" y="189"/>
                  <a:pt x="160" y="189"/>
                </a:cubicBezTo>
                <a:cubicBezTo>
                  <a:pt x="160" y="191"/>
                  <a:pt x="160" y="191"/>
                  <a:pt x="160" y="191"/>
                </a:cubicBezTo>
                <a:cubicBezTo>
                  <a:pt x="158" y="193"/>
                  <a:pt x="158" y="193"/>
                  <a:pt x="158" y="193"/>
                </a:cubicBezTo>
                <a:cubicBezTo>
                  <a:pt x="158" y="194"/>
                  <a:pt x="158" y="194"/>
                  <a:pt x="158" y="194"/>
                </a:cubicBezTo>
                <a:cubicBezTo>
                  <a:pt x="158" y="194"/>
                  <a:pt x="158" y="194"/>
                  <a:pt x="158" y="194"/>
                </a:cubicBezTo>
                <a:cubicBezTo>
                  <a:pt x="158" y="195"/>
                  <a:pt x="158" y="195"/>
                  <a:pt x="158" y="195"/>
                </a:cubicBezTo>
                <a:cubicBezTo>
                  <a:pt x="158" y="196"/>
                  <a:pt x="158" y="196"/>
                  <a:pt x="158" y="196"/>
                </a:cubicBezTo>
                <a:cubicBezTo>
                  <a:pt x="157" y="196"/>
                  <a:pt x="157" y="196"/>
                  <a:pt x="157" y="196"/>
                </a:cubicBezTo>
                <a:cubicBezTo>
                  <a:pt x="157" y="195"/>
                  <a:pt x="157" y="195"/>
                  <a:pt x="157" y="195"/>
                </a:cubicBezTo>
                <a:cubicBezTo>
                  <a:pt x="156" y="195"/>
                  <a:pt x="156" y="195"/>
                  <a:pt x="156" y="195"/>
                </a:cubicBezTo>
                <a:cubicBezTo>
                  <a:pt x="155" y="196"/>
                  <a:pt x="155" y="196"/>
                  <a:pt x="155" y="196"/>
                </a:cubicBezTo>
                <a:cubicBezTo>
                  <a:pt x="154" y="197"/>
                  <a:pt x="154" y="197"/>
                  <a:pt x="154" y="197"/>
                </a:cubicBezTo>
                <a:cubicBezTo>
                  <a:pt x="154" y="198"/>
                  <a:pt x="154" y="198"/>
                  <a:pt x="154" y="198"/>
                </a:cubicBezTo>
                <a:cubicBezTo>
                  <a:pt x="154" y="198"/>
                  <a:pt x="154" y="198"/>
                  <a:pt x="154" y="198"/>
                </a:cubicBezTo>
                <a:cubicBezTo>
                  <a:pt x="153" y="198"/>
                  <a:pt x="153" y="198"/>
                  <a:pt x="153" y="198"/>
                </a:cubicBezTo>
                <a:cubicBezTo>
                  <a:pt x="152" y="198"/>
                  <a:pt x="152" y="198"/>
                  <a:pt x="152" y="198"/>
                </a:cubicBezTo>
                <a:cubicBezTo>
                  <a:pt x="152" y="198"/>
                  <a:pt x="152" y="198"/>
                  <a:pt x="152" y="198"/>
                </a:cubicBezTo>
                <a:cubicBezTo>
                  <a:pt x="149" y="200"/>
                  <a:pt x="149" y="200"/>
                  <a:pt x="149" y="200"/>
                </a:cubicBezTo>
                <a:cubicBezTo>
                  <a:pt x="148" y="202"/>
                  <a:pt x="148" y="202"/>
                  <a:pt x="148" y="202"/>
                </a:cubicBezTo>
                <a:cubicBezTo>
                  <a:pt x="148" y="202"/>
                  <a:pt x="148" y="202"/>
                  <a:pt x="148" y="202"/>
                </a:cubicBezTo>
                <a:cubicBezTo>
                  <a:pt x="148" y="203"/>
                  <a:pt x="148" y="203"/>
                  <a:pt x="148" y="203"/>
                </a:cubicBezTo>
                <a:cubicBezTo>
                  <a:pt x="147" y="202"/>
                  <a:pt x="147" y="202"/>
                  <a:pt x="147" y="202"/>
                </a:cubicBezTo>
                <a:cubicBezTo>
                  <a:pt x="147" y="201"/>
                  <a:pt x="147" y="201"/>
                  <a:pt x="147" y="201"/>
                </a:cubicBezTo>
                <a:cubicBezTo>
                  <a:pt x="145" y="202"/>
                  <a:pt x="145" y="202"/>
                  <a:pt x="145" y="202"/>
                </a:cubicBezTo>
                <a:cubicBezTo>
                  <a:pt x="144" y="203"/>
                  <a:pt x="144" y="203"/>
                  <a:pt x="144" y="203"/>
                </a:cubicBezTo>
                <a:cubicBezTo>
                  <a:pt x="143" y="203"/>
                  <a:pt x="143" y="203"/>
                  <a:pt x="143" y="203"/>
                </a:cubicBezTo>
                <a:cubicBezTo>
                  <a:pt x="143" y="204"/>
                  <a:pt x="143" y="204"/>
                  <a:pt x="143" y="204"/>
                </a:cubicBezTo>
                <a:cubicBezTo>
                  <a:pt x="141" y="205"/>
                  <a:pt x="141" y="205"/>
                  <a:pt x="141" y="205"/>
                </a:cubicBezTo>
                <a:cubicBezTo>
                  <a:pt x="140" y="205"/>
                  <a:pt x="140" y="205"/>
                  <a:pt x="140" y="205"/>
                </a:cubicBezTo>
                <a:cubicBezTo>
                  <a:pt x="138" y="206"/>
                  <a:pt x="138" y="206"/>
                  <a:pt x="138" y="206"/>
                </a:cubicBezTo>
                <a:cubicBezTo>
                  <a:pt x="135" y="207"/>
                  <a:pt x="135" y="207"/>
                  <a:pt x="135" y="207"/>
                </a:cubicBezTo>
                <a:cubicBezTo>
                  <a:pt x="133" y="209"/>
                  <a:pt x="133" y="209"/>
                  <a:pt x="133" y="209"/>
                </a:cubicBezTo>
                <a:cubicBezTo>
                  <a:pt x="132" y="211"/>
                  <a:pt x="132" y="211"/>
                  <a:pt x="132" y="211"/>
                </a:cubicBezTo>
                <a:cubicBezTo>
                  <a:pt x="132" y="211"/>
                  <a:pt x="132" y="211"/>
                  <a:pt x="132" y="211"/>
                </a:cubicBezTo>
                <a:cubicBezTo>
                  <a:pt x="133" y="212"/>
                  <a:pt x="133" y="212"/>
                  <a:pt x="133" y="212"/>
                </a:cubicBezTo>
                <a:cubicBezTo>
                  <a:pt x="133" y="213"/>
                  <a:pt x="133" y="213"/>
                  <a:pt x="133" y="213"/>
                </a:cubicBezTo>
                <a:cubicBezTo>
                  <a:pt x="132" y="214"/>
                  <a:pt x="132" y="214"/>
                  <a:pt x="132" y="214"/>
                </a:cubicBezTo>
                <a:cubicBezTo>
                  <a:pt x="132" y="213"/>
                  <a:pt x="132" y="213"/>
                  <a:pt x="132" y="213"/>
                </a:cubicBezTo>
                <a:cubicBezTo>
                  <a:pt x="131" y="213"/>
                  <a:pt x="131" y="213"/>
                  <a:pt x="131" y="213"/>
                </a:cubicBezTo>
                <a:cubicBezTo>
                  <a:pt x="131" y="213"/>
                  <a:pt x="131" y="213"/>
                  <a:pt x="131" y="213"/>
                </a:cubicBezTo>
                <a:cubicBezTo>
                  <a:pt x="131" y="214"/>
                  <a:pt x="131" y="214"/>
                  <a:pt x="131" y="214"/>
                </a:cubicBezTo>
                <a:cubicBezTo>
                  <a:pt x="130" y="214"/>
                  <a:pt x="130" y="214"/>
                  <a:pt x="130" y="214"/>
                </a:cubicBezTo>
                <a:cubicBezTo>
                  <a:pt x="130" y="214"/>
                  <a:pt x="130" y="214"/>
                  <a:pt x="130" y="214"/>
                </a:cubicBezTo>
                <a:cubicBezTo>
                  <a:pt x="130" y="212"/>
                  <a:pt x="130" y="212"/>
                  <a:pt x="130" y="212"/>
                </a:cubicBezTo>
                <a:cubicBezTo>
                  <a:pt x="130" y="212"/>
                  <a:pt x="130" y="212"/>
                  <a:pt x="130" y="212"/>
                </a:cubicBezTo>
                <a:cubicBezTo>
                  <a:pt x="129" y="211"/>
                  <a:pt x="129" y="211"/>
                  <a:pt x="129" y="211"/>
                </a:cubicBezTo>
                <a:cubicBezTo>
                  <a:pt x="128" y="211"/>
                  <a:pt x="128" y="211"/>
                  <a:pt x="128" y="211"/>
                </a:cubicBezTo>
                <a:cubicBezTo>
                  <a:pt x="127" y="211"/>
                  <a:pt x="127" y="211"/>
                  <a:pt x="127" y="211"/>
                </a:cubicBezTo>
                <a:cubicBezTo>
                  <a:pt x="126" y="211"/>
                  <a:pt x="126" y="211"/>
                  <a:pt x="126" y="211"/>
                </a:cubicBezTo>
                <a:cubicBezTo>
                  <a:pt x="124" y="212"/>
                  <a:pt x="124" y="212"/>
                  <a:pt x="124" y="212"/>
                </a:cubicBezTo>
                <a:cubicBezTo>
                  <a:pt x="123" y="212"/>
                  <a:pt x="123" y="212"/>
                  <a:pt x="123" y="212"/>
                </a:cubicBezTo>
                <a:cubicBezTo>
                  <a:pt x="122" y="213"/>
                  <a:pt x="122" y="213"/>
                  <a:pt x="122" y="213"/>
                </a:cubicBezTo>
                <a:cubicBezTo>
                  <a:pt x="121" y="214"/>
                  <a:pt x="121" y="214"/>
                  <a:pt x="121" y="214"/>
                </a:cubicBezTo>
                <a:cubicBezTo>
                  <a:pt x="119" y="215"/>
                  <a:pt x="119" y="215"/>
                  <a:pt x="119" y="215"/>
                </a:cubicBezTo>
                <a:cubicBezTo>
                  <a:pt x="118" y="216"/>
                  <a:pt x="118" y="216"/>
                  <a:pt x="118" y="216"/>
                </a:cubicBezTo>
                <a:cubicBezTo>
                  <a:pt x="118" y="217"/>
                  <a:pt x="118" y="217"/>
                  <a:pt x="118" y="217"/>
                </a:cubicBezTo>
                <a:cubicBezTo>
                  <a:pt x="118" y="217"/>
                  <a:pt x="118" y="217"/>
                  <a:pt x="118" y="217"/>
                </a:cubicBezTo>
                <a:cubicBezTo>
                  <a:pt x="117" y="217"/>
                  <a:pt x="117" y="217"/>
                  <a:pt x="117" y="217"/>
                </a:cubicBezTo>
                <a:cubicBezTo>
                  <a:pt x="115" y="218"/>
                  <a:pt x="115" y="218"/>
                  <a:pt x="115" y="218"/>
                </a:cubicBezTo>
                <a:cubicBezTo>
                  <a:pt x="115" y="218"/>
                  <a:pt x="115" y="218"/>
                  <a:pt x="115" y="218"/>
                </a:cubicBezTo>
                <a:cubicBezTo>
                  <a:pt x="114" y="219"/>
                  <a:pt x="114" y="219"/>
                  <a:pt x="114" y="219"/>
                </a:cubicBezTo>
                <a:cubicBezTo>
                  <a:pt x="114" y="219"/>
                  <a:pt x="114" y="219"/>
                  <a:pt x="114" y="219"/>
                </a:cubicBezTo>
                <a:cubicBezTo>
                  <a:pt x="113" y="219"/>
                  <a:pt x="113" y="219"/>
                  <a:pt x="113" y="219"/>
                </a:cubicBezTo>
                <a:cubicBezTo>
                  <a:pt x="112" y="219"/>
                  <a:pt x="112" y="219"/>
                  <a:pt x="112" y="219"/>
                </a:cubicBezTo>
                <a:cubicBezTo>
                  <a:pt x="111" y="220"/>
                  <a:pt x="111" y="220"/>
                  <a:pt x="111" y="220"/>
                </a:cubicBezTo>
                <a:cubicBezTo>
                  <a:pt x="111" y="221"/>
                  <a:pt x="111" y="221"/>
                  <a:pt x="111" y="221"/>
                </a:cubicBezTo>
                <a:cubicBezTo>
                  <a:pt x="111" y="222"/>
                  <a:pt x="111" y="222"/>
                  <a:pt x="111" y="222"/>
                </a:cubicBezTo>
                <a:cubicBezTo>
                  <a:pt x="112" y="222"/>
                  <a:pt x="112" y="222"/>
                  <a:pt x="112" y="222"/>
                </a:cubicBezTo>
                <a:cubicBezTo>
                  <a:pt x="112" y="221"/>
                  <a:pt x="112" y="221"/>
                  <a:pt x="112" y="221"/>
                </a:cubicBezTo>
                <a:cubicBezTo>
                  <a:pt x="112" y="220"/>
                  <a:pt x="112" y="220"/>
                  <a:pt x="112" y="220"/>
                </a:cubicBezTo>
                <a:cubicBezTo>
                  <a:pt x="113" y="220"/>
                  <a:pt x="113" y="220"/>
                  <a:pt x="113" y="220"/>
                </a:cubicBezTo>
                <a:cubicBezTo>
                  <a:pt x="113" y="220"/>
                  <a:pt x="113" y="220"/>
                  <a:pt x="113" y="220"/>
                </a:cubicBezTo>
                <a:cubicBezTo>
                  <a:pt x="113" y="221"/>
                  <a:pt x="113" y="221"/>
                  <a:pt x="113" y="221"/>
                </a:cubicBezTo>
                <a:cubicBezTo>
                  <a:pt x="113" y="222"/>
                  <a:pt x="113" y="222"/>
                  <a:pt x="113" y="222"/>
                </a:cubicBezTo>
                <a:cubicBezTo>
                  <a:pt x="115" y="222"/>
                  <a:pt x="115" y="222"/>
                  <a:pt x="115" y="222"/>
                </a:cubicBezTo>
                <a:cubicBezTo>
                  <a:pt x="116" y="220"/>
                  <a:pt x="116" y="220"/>
                  <a:pt x="116" y="220"/>
                </a:cubicBezTo>
                <a:cubicBezTo>
                  <a:pt x="116" y="219"/>
                  <a:pt x="116" y="219"/>
                  <a:pt x="116" y="219"/>
                </a:cubicBezTo>
                <a:cubicBezTo>
                  <a:pt x="117" y="220"/>
                  <a:pt x="117" y="220"/>
                  <a:pt x="117" y="220"/>
                </a:cubicBezTo>
                <a:cubicBezTo>
                  <a:pt x="116" y="221"/>
                  <a:pt x="116" y="221"/>
                  <a:pt x="116" y="221"/>
                </a:cubicBezTo>
                <a:cubicBezTo>
                  <a:pt x="117" y="221"/>
                  <a:pt x="117" y="221"/>
                  <a:pt x="117" y="221"/>
                </a:cubicBezTo>
                <a:cubicBezTo>
                  <a:pt x="118" y="221"/>
                  <a:pt x="118" y="221"/>
                  <a:pt x="118" y="221"/>
                </a:cubicBezTo>
                <a:cubicBezTo>
                  <a:pt x="118" y="220"/>
                  <a:pt x="118" y="220"/>
                  <a:pt x="118" y="220"/>
                </a:cubicBezTo>
                <a:cubicBezTo>
                  <a:pt x="119" y="221"/>
                  <a:pt x="119" y="221"/>
                  <a:pt x="119" y="221"/>
                </a:cubicBezTo>
                <a:cubicBezTo>
                  <a:pt x="119" y="221"/>
                  <a:pt x="119" y="221"/>
                  <a:pt x="119" y="221"/>
                </a:cubicBezTo>
                <a:cubicBezTo>
                  <a:pt x="119" y="220"/>
                  <a:pt x="119" y="220"/>
                  <a:pt x="119" y="220"/>
                </a:cubicBezTo>
                <a:cubicBezTo>
                  <a:pt x="120" y="220"/>
                  <a:pt x="120" y="220"/>
                  <a:pt x="120" y="220"/>
                </a:cubicBezTo>
                <a:cubicBezTo>
                  <a:pt x="121" y="220"/>
                  <a:pt x="121" y="220"/>
                  <a:pt x="121" y="220"/>
                </a:cubicBezTo>
                <a:cubicBezTo>
                  <a:pt x="122" y="219"/>
                  <a:pt x="122" y="219"/>
                  <a:pt x="122" y="219"/>
                </a:cubicBezTo>
                <a:cubicBezTo>
                  <a:pt x="123" y="218"/>
                  <a:pt x="123" y="218"/>
                  <a:pt x="123" y="218"/>
                </a:cubicBezTo>
                <a:cubicBezTo>
                  <a:pt x="123" y="217"/>
                  <a:pt x="123" y="217"/>
                  <a:pt x="123" y="217"/>
                </a:cubicBezTo>
                <a:cubicBezTo>
                  <a:pt x="124" y="216"/>
                  <a:pt x="124" y="216"/>
                  <a:pt x="124" y="216"/>
                </a:cubicBezTo>
                <a:cubicBezTo>
                  <a:pt x="125" y="215"/>
                  <a:pt x="125" y="215"/>
                  <a:pt x="125" y="215"/>
                </a:cubicBezTo>
                <a:cubicBezTo>
                  <a:pt x="125" y="215"/>
                  <a:pt x="125" y="215"/>
                  <a:pt x="125" y="215"/>
                </a:cubicBezTo>
                <a:cubicBezTo>
                  <a:pt x="127" y="216"/>
                  <a:pt x="127" y="216"/>
                  <a:pt x="127" y="216"/>
                </a:cubicBezTo>
                <a:cubicBezTo>
                  <a:pt x="126" y="216"/>
                  <a:pt x="126" y="216"/>
                  <a:pt x="126" y="216"/>
                </a:cubicBezTo>
                <a:cubicBezTo>
                  <a:pt x="125" y="216"/>
                  <a:pt x="125" y="216"/>
                  <a:pt x="125" y="216"/>
                </a:cubicBezTo>
                <a:cubicBezTo>
                  <a:pt x="125" y="217"/>
                  <a:pt x="125" y="217"/>
                  <a:pt x="125" y="217"/>
                </a:cubicBezTo>
                <a:cubicBezTo>
                  <a:pt x="125" y="219"/>
                  <a:pt x="125" y="219"/>
                  <a:pt x="125" y="219"/>
                </a:cubicBezTo>
                <a:cubicBezTo>
                  <a:pt x="125" y="219"/>
                  <a:pt x="125" y="219"/>
                  <a:pt x="125" y="219"/>
                </a:cubicBezTo>
                <a:cubicBezTo>
                  <a:pt x="127" y="218"/>
                  <a:pt x="127" y="218"/>
                  <a:pt x="127" y="218"/>
                </a:cubicBezTo>
                <a:cubicBezTo>
                  <a:pt x="127" y="217"/>
                  <a:pt x="127" y="217"/>
                  <a:pt x="127" y="217"/>
                </a:cubicBezTo>
                <a:cubicBezTo>
                  <a:pt x="128" y="216"/>
                  <a:pt x="128" y="216"/>
                  <a:pt x="128" y="216"/>
                </a:cubicBezTo>
                <a:cubicBezTo>
                  <a:pt x="128" y="217"/>
                  <a:pt x="128" y="217"/>
                  <a:pt x="128" y="217"/>
                </a:cubicBezTo>
                <a:cubicBezTo>
                  <a:pt x="129" y="216"/>
                  <a:pt x="129" y="216"/>
                  <a:pt x="129" y="216"/>
                </a:cubicBezTo>
                <a:cubicBezTo>
                  <a:pt x="129" y="216"/>
                  <a:pt x="129" y="216"/>
                  <a:pt x="129" y="216"/>
                </a:cubicBezTo>
                <a:cubicBezTo>
                  <a:pt x="129" y="217"/>
                  <a:pt x="129" y="217"/>
                  <a:pt x="129" y="217"/>
                </a:cubicBezTo>
                <a:cubicBezTo>
                  <a:pt x="129" y="218"/>
                  <a:pt x="129" y="218"/>
                  <a:pt x="129" y="218"/>
                </a:cubicBezTo>
                <a:cubicBezTo>
                  <a:pt x="129" y="218"/>
                  <a:pt x="129" y="218"/>
                  <a:pt x="129" y="218"/>
                </a:cubicBezTo>
                <a:cubicBezTo>
                  <a:pt x="130" y="217"/>
                  <a:pt x="130" y="217"/>
                  <a:pt x="130" y="217"/>
                </a:cubicBezTo>
                <a:cubicBezTo>
                  <a:pt x="131" y="217"/>
                  <a:pt x="131" y="217"/>
                  <a:pt x="131" y="217"/>
                </a:cubicBezTo>
                <a:cubicBezTo>
                  <a:pt x="132" y="216"/>
                  <a:pt x="132" y="216"/>
                  <a:pt x="132" y="216"/>
                </a:cubicBezTo>
                <a:cubicBezTo>
                  <a:pt x="133" y="216"/>
                  <a:pt x="133" y="216"/>
                  <a:pt x="133" y="216"/>
                </a:cubicBezTo>
                <a:cubicBezTo>
                  <a:pt x="135" y="214"/>
                  <a:pt x="135" y="214"/>
                  <a:pt x="135" y="214"/>
                </a:cubicBezTo>
                <a:cubicBezTo>
                  <a:pt x="136" y="214"/>
                  <a:pt x="136" y="214"/>
                  <a:pt x="136" y="214"/>
                </a:cubicBezTo>
                <a:cubicBezTo>
                  <a:pt x="136" y="214"/>
                  <a:pt x="136" y="214"/>
                  <a:pt x="136" y="214"/>
                </a:cubicBezTo>
                <a:cubicBezTo>
                  <a:pt x="136" y="215"/>
                  <a:pt x="136" y="215"/>
                  <a:pt x="136" y="215"/>
                </a:cubicBezTo>
                <a:cubicBezTo>
                  <a:pt x="136" y="216"/>
                  <a:pt x="136" y="216"/>
                  <a:pt x="136" y="216"/>
                </a:cubicBezTo>
                <a:cubicBezTo>
                  <a:pt x="135" y="217"/>
                  <a:pt x="135" y="217"/>
                  <a:pt x="135" y="217"/>
                </a:cubicBezTo>
                <a:cubicBezTo>
                  <a:pt x="135" y="218"/>
                  <a:pt x="135" y="218"/>
                  <a:pt x="135" y="218"/>
                </a:cubicBezTo>
                <a:cubicBezTo>
                  <a:pt x="135" y="218"/>
                  <a:pt x="135" y="218"/>
                  <a:pt x="135" y="218"/>
                </a:cubicBezTo>
                <a:cubicBezTo>
                  <a:pt x="137" y="216"/>
                  <a:pt x="137" y="216"/>
                  <a:pt x="137" y="216"/>
                </a:cubicBezTo>
                <a:cubicBezTo>
                  <a:pt x="137" y="214"/>
                  <a:pt x="137" y="214"/>
                  <a:pt x="137" y="214"/>
                </a:cubicBezTo>
                <a:cubicBezTo>
                  <a:pt x="137" y="214"/>
                  <a:pt x="137" y="214"/>
                  <a:pt x="137" y="214"/>
                </a:cubicBezTo>
                <a:cubicBezTo>
                  <a:pt x="138" y="214"/>
                  <a:pt x="138" y="214"/>
                  <a:pt x="138" y="214"/>
                </a:cubicBezTo>
                <a:cubicBezTo>
                  <a:pt x="139" y="214"/>
                  <a:pt x="139" y="214"/>
                  <a:pt x="139" y="214"/>
                </a:cubicBezTo>
                <a:cubicBezTo>
                  <a:pt x="140" y="214"/>
                  <a:pt x="140" y="214"/>
                  <a:pt x="140" y="214"/>
                </a:cubicBezTo>
                <a:cubicBezTo>
                  <a:pt x="141" y="214"/>
                  <a:pt x="141" y="214"/>
                  <a:pt x="141" y="214"/>
                </a:cubicBezTo>
                <a:cubicBezTo>
                  <a:pt x="142" y="213"/>
                  <a:pt x="142" y="213"/>
                  <a:pt x="142" y="213"/>
                </a:cubicBezTo>
                <a:cubicBezTo>
                  <a:pt x="143" y="213"/>
                  <a:pt x="143" y="213"/>
                  <a:pt x="143" y="213"/>
                </a:cubicBezTo>
                <a:cubicBezTo>
                  <a:pt x="143" y="213"/>
                  <a:pt x="143" y="213"/>
                  <a:pt x="143" y="213"/>
                </a:cubicBezTo>
                <a:cubicBezTo>
                  <a:pt x="144" y="212"/>
                  <a:pt x="144" y="212"/>
                  <a:pt x="144" y="212"/>
                </a:cubicBezTo>
                <a:cubicBezTo>
                  <a:pt x="144" y="211"/>
                  <a:pt x="144" y="211"/>
                  <a:pt x="144" y="211"/>
                </a:cubicBezTo>
                <a:cubicBezTo>
                  <a:pt x="144" y="211"/>
                  <a:pt x="144" y="211"/>
                  <a:pt x="144" y="211"/>
                </a:cubicBezTo>
                <a:cubicBezTo>
                  <a:pt x="144" y="212"/>
                  <a:pt x="144" y="212"/>
                  <a:pt x="144" y="212"/>
                </a:cubicBezTo>
                <a:cubicBezTo>
                  <a:pt x="144" y="213"/>
                  <a:pt x="144" y="213"/>
                  <a:pt x="144" y="213"/>
                </a:cubicBezTo>
                <a:cubicBezTo>
                  <a:pt x="145" y="213"/>
                  <a:pt x="145" y="213"/>
                  <a:pt x="145" y="213"/>
                </a:cubicBezTo>
                <a:cubicBezTo>
                  <a:pt x="146" y="212"/>
                  <a:pt x="146" y="212"/>
                  <a:pt x="146" y="212"/>
                </a:cubicBezTo>
                <a:cubicBezTo>
                  <a:pt x="145" y="212"/>
                  <a:pt x="145" y="212"/>
                  <a:pt x="145" y="212"/>
                </a:cubicBezTo>
                <a:cubicBezTo>
                  <a:pt x="146" y="211"/>
                  <a:pt x="146" y="211"/>
                  <a:pt x="146" y="211"/>
                </a:cubicBezTo>
                <a:cubicBezTo>
                  <a:pt x="146" y="210"/>
                  <a:pt x="146" y="210"/>
                  <a:pt x="146" y="210"/>
                </a:cubicBezTo>
                <a:cubicBezTo>
                  <a:pt x="144" y="210"/>
                  <a:pt x="144" y="210"/>
                  <a:pt x="144" y="210"/>
                </a:cubicBezTo>
                <a:cubicBezTo>
                  <a:pt x="144" y="210"/>
                  <a:pt x="144" y="210"/>
                  <a:pt x="144" y="210"/>
                </a:cubicBezTo>
                <a:cubicBezTo>
                  <a:pt x="146" y="210"/>
                  <a:pt x="146" y="210"/>
                  <a:pt x="146" y="210"/>
                </a:cubicBezTo>
                <a:cubicBezTo>
                  <a:pt x="148" y="209"/>
                  <a:pt x="148" y="209"/>
                  <a:pt x="148" y="209"/>
                </a:cubicBezTo>
                <a:cubicBezTo>
                  <a:pt x="150" y="209"/>
                  <a:pt x="150" y="209"/>
                  <a:pt x="150" y="209"/>
                </a:cubicBezTo>
                <a:cubicBezTo>
                  <a:pt x="151" y="208"/>
                  <a:pt x="151" y="208"/>
                  <a:pt x="151" y="208"/>
                </a:cubicBezTo>
                <a:cubicBezTo>
                  <a:pt x="150" y="207"/>
                  <a:pt x="150" y="207"/>
                  <a:pt x="150" y="207"/>
                </a:cubicBezTo>
                <a:cubicBezTo>
                  <a:pt x="150" y="207"/>
                  <a:pt x="150" y="207"/>
                  <a:pt x="150" y="207"/>
                </a:cubicBezTo>
                <a:cubicBezTo>
                  <a:pt x="151" y="207"/>
                  <a:pt x="151" y="207"/>
                  <a:pt x="151" y="207"/>
                </a:cubicBezTo>
                <a:cubicBezTo>
                  <a:pt x="151" y="207"/>
                  <a:pt x="151" y="207"/>
                  <a:pt x="151" y="207"/>
                </a:cubicBezTo>
                <a:cubicBezTo>
                  <a:pt x="152" y="206"/>
                  <a:pt x="152" y="206"/>
                  <a:pt x="152" y="206"/>
                </a:cubicBezTo>
                <a:cubicBezTo>
                  <a:pt x="153" y="206"/>
                  <a:pt x="153" y="206"/>
                  <a:pt x="153" y="206"/>
                </a:cubicBezTo>
                <a:cubicBezTo>
                  <a:pt x="153" y="207"/>
                  <a:pt x="153" y="207"/>
                  <a:pt x="153" y="207"/>
                </a:cubicBezTo>
                <a:cubicBezTo>
                  <a:pt x="154" y="207"/>
                  <a:pt x="154" y="207"/>
                  <a:pt x="154" y="207"/>
                </a:cubicBezTo>
                <a:cubicBezTo>
                  <a:pt x="154" y="206"/>
                  <a:pt x="154" y="206"/>
                  <a:pt x="154" y="206"/>
                </a:cubicBezTo>
                <a:cubicBezTo>
                  <a:pt x="154" y="206"/>
                  <a:pt x="154" y="206"/>
                  <a:pt x="154" y="206"/>
                </a:cubicBezTo>
                <a:cubicBezTo>
                  <a:pt x="155" y="205"/>
                  <a:pt x="155" y="205"/>
                  <a:pt x="155" y="205"/>
                </a:cubicBezTo>
                <a:cubicBezTo>
                  <a:pt x="155" y="204"/>
                  <a:pt x="155" y="204"/>
                  <a:pt x="155" y="204"/>
                </a:cubicBezTo>
                <a:cubicBezTo>
                  <a:pt x="155" y="204"/>
                  <a:pt x="155" y="204"/>
                  <a:pt x="155" y="204"/>
                </a:cubicBezTo>
                <a:cubicBezTo>
                  <a:pt x="156" y="204"/>
                  <a:pt x="156" y="204"/>
                  <a:pt x="156" y="204"/>
                </a:cubicBezTo>
                <a:cubicBezTo>
                  <a:pt x="156" y="205"/>
                  <a:pt x="156" y="205"/>
                  <a:pt x="156" y="205"/>
                </a:cubicBezTo>
                <a:cubicBezTo>
                  <a:pt x="157" y="205"/>
                  <a:pt x="157" y="205"/>
                  <a:pt x="157" y="205"/>
                </a:cubicBezTo>
                <a:cubicBezTo>
                  <a:pt x="158" y="204"/>
                  <a:pt x="158" y="204"/>
                  <a:pt x="158" y="204"/>
                </a:cubicBezTo>
                <a:cubicBezTo>
                  <a:pt x="159" y="203"/>
                  <a:pt x="159" y="203"/>
                  <a:pt x="159" y="203"/>
                </a:cubicBezTo>
                <a:cubicBezTo>
                  <a:pt x="160" y="204"/>
                  <a:pt x="160" y="204"/>
                  <a:pt x="160" y="204"/>
                </a:cubicBezTo>
                <a:cubicBezTo>
                  <a:pt x="160" y="202"/>
                  <a:pt x="160" y="202"/>
                  <a:pt x="160" y="202"/>
                </a:cubicBezTo>
                <a:cubicBezTo>
                  <a:pt x="161" y="202"/>
                  <a:pt x="161" y="202"/>
                  <a:pt x="161" y="202"/>
                </a:cubicBezTo>
                <a:cubicBezTo>
                  <a:pt x="161" y="203"/>
                  <a:pt x="161" y="203"/>
                  <a:pt x="161" y="203"/>
                </a:cubicBezTo>
                <a:cubicBezTo>
                  <a:pt x="162" y="203"/>
                  <a:pt x="162" y="203"/>
                  <a:pt x="162" y="203"/>
                </a:cubicBezTo>
                <a:cubicBezTo>
                  <a:pt x="164" y="201"/>
                  <a:pt x="164" y="201"/>
                  <a:pt x="164" y="201"/>
                </a:cubicBezTo>
                <a:cubicBezTo>
                  <a:pt x="164" y="200"/>
                  <a:pt x="164" y="200"/>
                  <a:pt x="164" y="200"/>
                </a:cubicBezTo>
                <a:cubicBezTo>
                  <a:pt x="163" y="200"/>
                  <a:pt x="163" y="200"/>
                  <a:pt x="163" y="200"/>
                </a:cubicBezTo>
                <a:cubicBezTo>
                  <a:pt x="162" y="200"/>
                  <a:pt x="162" y="200"/>
                  <a:pt x="162" y="200"/>
                </a:cubicBezTo>
                <a:cubicBezTo>
                  <a:pt x="162" y="200"/>
                  <a:pt x="162" y="200"/>
                  <a:pt x="162" y="200"/>
                </a:cubicBezTo>
                <a:cubicBezTo>
                  <a:pt x="164" y="199"/>
                  <a:pt x="164" y="199"/>
                  <a:pt x="164" y="199"/>
                </a:cubicBezTo>
                <a:cubicBezTo>
                  <a:pt x="165" y="198"/>
                  <a:pt x="165" y="198"/>
                  <a:pt x="165" y="198"/>
                </a:cubicBezTo>
                <a:cubicBezTo>
                  <a:pt x="166" y="197"/>
                  <a:pt x="166" y="197"/>
                  <a:pt x="166" y="197"/>
                </a:cubicBezTo>
                <a:cubicBezTo>
                  <a:pt x="166" y="197"/>
                  <a:pt x="166" y="197"/>
                  <a:pt x="166" y="197"/>
                </a:cubicBezTo>
                <a:cubicBezTo>
                  <a:pt x="167" y="198"/>
                  <a:pt x="167" y="198"/>
                  <a:pt x="167" y="198"/>
                </a:cubicBezTo>
                <a:cubicBezTo>
                  <a:pt x="168" y="196"/>
                  <a:pt x="168" y="196"/>
                  <a:pt x="168" y="196"/>
                </a:cubicBezTo>
                <a:cubicBezTo>
                  <a:pt x="169" y="196"/>
                  <a:pt x="169" y="196"/>
                  <a:pt x="169" y="196"/>
                </a:cubicBezTo>
                <a:cubicBezTo>
                  <a:pt x="170" y="195"/>
                  <a:pt x="170" y="195"/>
                  <a:pt x="170" y="195"/>
                </a:cubicBezTo>
                <a:cubicBezTo>
                  <a:pt x="170" y="195"/>
                  <a:pt x="170" y="195"/>
                  <a:pt x="170" y="195"/>
                </a:cubicBezTo>
                <a:cubicBezTo>
                  <a:pt x="171" y="194"/>
                  <a:pt x="171" y="194"/>
                  <a:pt x="171" y="194"/>
                </a:cubicBezTo>
                <a:cubicBezTo>
                  <a:pt x="172" y="194"/>
                  <a:pt x="172" y="194"/>
                  <a:pt x="172" y="194"/>
                </a:cubicBezTo>
                <a:cubicBezTo>
                  <a:pt x="172" y="195"/>
                  <a:pt x="172" y="195"/>
                  <a:pt x="172" y="195"/>
                </a:cubicBezTo>
                <a:cubicBezTo>
                  <a:pt x="173" y="195"/>
                  <a:pt x="173" y="195"/>
                  <a:pt x="173" y="195"/>
                </a:cubicBezTo>
                <a:cubicBezTo>
                  <a:pt x="173" y="194"/>
                  <a:pt x="173" y="194"/>
                  <a:pt x="173" y="194"/>
                </a:cubicBezTo>
                <a:cubicBezTo>
                  <a:pt x="174" y="194"/>
                  <a:pt x="174" y="194"/>
                  <a:pt x="174" y="194"/>
                </a:cubicBezTo>
                <a:cubicBezTo>
                  <a:pt x="174" y="194"/>
                  <a:pt x="174" y="194"/>
                  <a:pt x="174" y="194"/>
                </a:cubicBezTo>
                <a:cubicBezTo>
                  <a:pt x="174" y="193"/>
                  <a:pt x="174" y="193"/>
                  <a:pt x="174" y="193"/>
                </a:cubicBezTo>
                <a:cubicBezTo>
                  <a:pt x="175" y="193"/>
                  <a:pt x="175" y="193"/>
                  <a:pt x="175" y="193"/>
                </a:cubicBezTo>
                <a:cubicBezTo>
                  <a:pt x="176" y="192"/>
                  <a:pt x="176" y="192"/>
                  <a:pt x="176" y="192"/>
                </a:cubicBezTo>
                <a:cubicBezTo>
                  <a:pt x="176" y="192"/>
                  <a:pt x="176" y="192"/>
                  <a:pt x="176" y="192"/>
                </a:cubicBezTo>
                <a:cubicBezTo>
                  <a:pt x="178" y="193"/>
                  <a:pt x="178" y="193"/>
                  <a:pt x="178" y="193"/>
                </a:cubicBezTo>
                <a:cubicBezTo>
                  <a:pt x="178" y="191"/>
                  <a:pt x="178" y="191"/>
                  <a:pt x="178" y="191"/>
                </a:cubicBezTo>
                <a:cubicBezTo>
                  <a:pt x="179" y="191"/>
                  <a:pt x="179" y="191"/>
                  <a:pt x="179" y="191"/>
                </a:cubicBezTo>
                <a:cubicBezTo>
                  <a:pt x="179" y="192"/>
                  <a:pt x="179" y="192"/>
                  <a:pt x="179" y="192"/>
                </a:cubicBezTo>
                <a:cubicBezTo>
                  <a:pt x="179" y="192"/>
                  <a:pt x="179" y="192"/>
                  <a:pt x="179" y="192"/>
                </a:cubicBezTo>
                <a:cubicBezTo>
                  <a:pt x="180" y="191"/>
                  <a:pt x="180" y="191"/>
                  <a:pt x="180" y="191"/>
                </a:cubicBezTo>
                <a:cubicBezTo>
                  <a:pt x="181" y="192"/>
                  <a:pt x="181" y="192"/>
                  <a:pt x="181" y="192"/>
                </a:cubicBezTo>
                <a:cubicBezTo>
                  <a:pt x="181" y="192"/>
                  <a:pt x="181" y="192"/>
                  <a:pt x="181" y="192"/>
                </a:cubicBezTo>
                <a:cubicBezTo>
                  <a:pt x="182" y="190"/>
                  <a:pt x="182" y="190"/>
                  <a:pt x="182" y="190"/>
                </a:cubicBezTo>
                <a:cubicBezTo>
                  <a:pt x="181" y="190"/>
                  <a:pt x="181" y="190"/>
                  <a:pt x="181" y="190"/>
                </a:cubicBezTo>
                <a:cubicBezTo>
                  <a:pt x="180" y="190"/>
                  <a:pt x="180" y="190"/>
                  <a:pt x="180" y="190"/>
                </a:cubicBezTo>
                <a:cubicBezTo>
                  <a:pt x="181" y="189"/>
                  <a:pt x="181" y="189"/>
                  <a:pt x="181" y="189"/>
                </a:cubicBezTo>
                <a:cubicBezTo>
                  <a:pt x="182" y="188"/>
                  <a:pt x="182" y="188"/>
                  <a:pt x="182" y="188"/>
                </a:cubicBezTo>
                <a:cubicBezTo>
                  <a:pt x="183" y="188"/>
                  <a:pt x="183" y="188"/>
                  <a:pt x="183" y="188"/>
                </a:cubicBezTo>
                <a:cubicBezTo>
                  <a:pt x="183" y="189"/>
                  <a:pt x="183" y="189"/>
                  <a:pt x="183" y="189"/>
                </a:cubicBezTo>
                <a:cubicBezTo>
                  <a:pt x="183" y="188"/>
                  <a:pt x="183" y="188"/>
                  <a:pt x="183" y="188"/>
                </a:cubicBezTo>
                <a:cubicBezTo>
                  <a:pt x="183" y="188"/>
                  <a:pt x="183" y="188"/>
                  <a:pt x="183" y="188"/>
                </a:cubicBezTo>
                <a:cubicBezTo>
                  <a:pt x="182" y="187"/>
                  <a:pt x="182" y="187"/>
                  <a:pt x="182" y="187"/>
                </a:cubicBezTo>
                <a:cubicBezTo>
                  <a:pt x="183" y="187"/>
                  <a:pt x="183" y="187"/>
                  <a:pt x="183" y="187"/>
                </a:cubicBezTo>
                <a:cubicBezTo>
                  <a:pt x="184" y="187"/>
                  <a:pt x="184" y="187"/>
                  <a:pt x="184" y="187"/>
                </a:cubicBezTo>
                <a:cubicBezTo>
                  <a:pt x="185" y="186"/>
                  <a:pt x="185" y="186"/>
                  <a:pt x="185" y="186"/>
                </a:cubicBezTo>
                <a:cubicBezTo>
                  <a:pt x="187" y="186"/>
                  <a:pt x="187" y="186"/>
                  <a:pt x="187" y="186"/>
                </a:cubicBezTo>
                <a:cubicBezTo>
                  <a:pt x="188" y="185"/>
                  <a:pt x="188" y="185"/>
                  <a:pt x="188" y="185"/>
                </a:cubicBezTo>
                <a:cubicBezTo>
                  <a:pt x="189" y="185"/>
                  <a:pt x="189" y="185"/>
                  <a:pt x="189" y="185"/>
                </a:cubicBezTo>
                <a:cubicBezTo>
                  <a:pt x="190" y="183"/>
                  <a:pt x="190" y="183"/>
                  <a:pt x="190" y="183"/>
                </a:cubicBezTo>
                <a:cubicBezTo>
                  <a:pt x="190" y="181"/>
                  <a:pt x="190" y="181"/>
                  <a:pt x="190" y="181"/>
                </a:cubicBezTo>
                <a:cubicBezTo>
                  <a:pt x="190" y="181"/>
                  <a:pt x="190" y="181"/>
                  <a:pt x="190" y="181"/>
                </a:cubicBezTo>
                <a:cubicBezTo>
                  <a:pt x="190" y="181"/>
                  <a:pt x="190" y="181"/>
                  <a:pt x="190" y="181"/>
                </a:cubicBezTo>
                <a:cubicBezTo>
                  <a:pt x="189" y="180"/>
                  <a:pt x="189" y="180"/>
                  <a:pt x="189" y="180"/>
                </a:cubicBezTo>
                <a:cubicBezTo>
                  <a:pt x="188" y="179"/>
                  <a:pt x="188" y="179"/>
                  <a:pt x="188" y="179"/>
                </a:cubicBezTo>
                <a:cubicBezTo>
                  <a:pt x="187" y="179"/>
                  <a:pt x="187" y="179"/>
                  <a:pt x="187" y="179"/>
                </a:cubicBezTo>
                <a:cubicBezTo>
                  <a:pt x="187" y="178"/>
                  <a:pt x="187" y="178"/>
                  <a:pt x="187" y="178"/>
                </a:cubicBezTo>
                <a:cubicBezTo>
                  <a:pt x="187" y="177"/>
                  <a:pt x="187" y="177"/>
                  <a:pt x="187" y="177"/>
                </a:cubicBezTo>
                <a:cubicBezTo>
                  <a:pt x="189" y="176"/>
                  <a:pt x="189" y="176"/>
                  <a:pt x="189" y="176"/>
                </a:cubicBezTo>
                <a:cubicBezTo>
                  <a:pt x="189" y="176"/>
                  <a:pt x="189" y="176"/>
                  <a:pt x="189" y="176"/>
                </a:cubicBezTo>
                <a:cubicBezTo>
                  <a:pt x="190" y="175"/>
                  <a:pt x="190" y="175"/>
                  <a:pt x="190" y="175"/>
                </a:cubicBezTo>
                <a:cubicBezTo>
                  <a:pt x="190" y="175"/>
                  <a:pt x="190" y="175"/>
                  <a:pt x="190" y="175"/>
                </a:cubicBezTo>
                <a:cubicBezTo>
                  <a:pt x="190" y="175"/>
                  <a:pt x="190" y="175"/>
                  <a:pt x="190" y="175"/>
                </a:cubicBezTo>
                <a:cubicBezTo>
                  <a:pt x="190" y="174"/>
                  <a:pt x="190" y="174"/>
                  <a:pt x="190" y="174"/>
                </a:cubicBezTo>
                <a:cubicBezTo>
                  <a:pt x="192" y="174"/>
                  <a:pt x="192" y="174"/>
                  <a:pt x="192" y="174"/>
                </a:cubicBezTo>
                <a:cubicBezTo>
                  <a:pt x="193" y="173"/>
                  <a:pt x="193" y="173"/>
                  <a:pt x="193" y="173"/>
                </a:cubicBezTo>
                <a:cubicBezTo>
                  <a:pt x="194" y="174"/>
                  <a:pt x="194" y="174"/>
                  <a:pt x="194" y="174"/>
                </a:cubicBezTo>
                <a:cubicBezTo>
                  <a:pt x="196" y="173"/>
                  <a:pt x="196" y="173"/>
                  <a:pt x="196" y="173"/>
                </a:cubicBezTo>
                <a:cubicBezTo>
                  <a:pt x="196" y="174"/>
                  <a:pt x="196" y="174"/>
                  <a:pt x="196" y="174"/>
                </a:cubicBezTo>
                <a:cubicBezTo>
                  <a:pt x="196" y="175"/>
                  <a:pt x="196" y="175"/>
                  <a:pt x="196" y="175"/>
                </a:cubicBezTo>
                <a:cubicBezTo>
                  <a:pt x="197" y="175"/>
                  <a:pt x="197" y="175"/>
                  <a:pt x="197" y="175"/>
                </a:cubicBezTo>
                <a:cubicBezTo>
                  <a:pt x="198" y="173"/>
                  <a:pt x="198" y="173"/>
                  <a:pt x="198" y="173"/>
                </a:cubicBezTo>
                <a:cubicBezTo>
                  <a:pt x="198" y="173"/>
                  <a:pt x="198" y="173"/>
                  <a:pt x="198" y="173"/>
                </a:cubicBezTo>
                <a:cubicBezTo>
                  <a:pt x="197" y="173"/>
                  <a:pt x="197" y="173"/>
                  <a:pt x="197" y="173"/>
                </a:cubicBezTo>
                <a:cubicBezTo>
                  <a:pt x="197" y="172"/>
                  <a:pt x="197" y="172"/>
                  <a:pt x="197" y="172"/>
                </a:cubicBezTo>
                <a:cubicBezTo>
                  <a:pt x="198" y="172"/>
                  <a:pt x="198" y="172"/>
                  <a:pt x="198" y="172"/>
                </a:cubicBezTo>
                <a:cubicBezTo>
                  <a:pt x="199" y="172"/>
                  <a:pt x="199" y="172"/>
                  <a:pt x="199" y="172"/>
                </a:cubicBezTo>
                <a:cubicBezTo>
                  <a:pt x="201" y="172"/>
                  <a:pt x="201" y="172"/>
                  <a:pt x="201" y="172"/>
                </a:cubicBezTo>
                <a:cubicBezTo>
                  <a:pt x="201" y="170"/>
                  <a:pt x="201" y="170"/>
                  <a:pt x="201" y="170"/>
                </a:cubicBezTo>
                <a:cubicBezTo>
                  <a:pt x="201" y="168"/>
                  <a:pt x="201" y="168"/>
                  <a:pt x="201" y="168"/>
                </a:cubicBezTo>
                <a:cubicBezTo>
                  <a:pt x="199" y="167"/>
                  <a:pt x="199" y="167"/>
                  <a:pt x="199" y="167"/>
                </a:cubicBezTo>
                <a:cubicBezTo>
                  <a:pt x="198" y="167"/>
                  <a:pt x="198" y="167"/>
                  <a:pt x="198" y="167"/>
                </a:cubicBezTo>
                <a:cubicBezTo>
                  <a:pt x="198" y="168"/>
                  <a:pt x="198" y="168"/>
                  <a:pt x="198" y="168"/>
                </a:cubicBezTo>
                <a:cubicBezTo>
                  <a:pt x="198" y="168"/>
                  <a:pt x="198" y="168"/>
                  <a:pt x="198" y="168"/>
                </a:cubicBezTo>
                <a:cubicBezTo>
                  <a:pt x="199" y="167"/>
                  <a:pt x="199" y="167"/>
                  <a:pt x="199" y="167"/>
                </a:cubicBezTo>
                <a:cubicBezTo>
                  <a:pt x="200" y="167"/>
                  <a:pt x="200" y="167"/>
                  <a:pt x="200" y="167"/>
                </a:cubicBezTo>
                <a:cubicBezTo>
                  <a:pt x="201" y="168"/>
                  <a:pt x="201" y="168"/>
                  <a:pt x="201" y="168"/>
                </a:cubicBezTo>
                <a:cubicBezTo>
                  <a:pt x="203" y="167"/>
                  <a:pt x="203" y="167"/>
                  <a:pt x="203" y="167"/>
                </a:cubicBezTo>
                <a:cubicBezTo>
                  <a:pt x="204" y="166"/>
                  <a:pt x="204" y="166"/>
                  <a:pt x="204" y="166"/>
                </a:cubicBezTo>
                <a:cubicBezTo>
                  <a:pt x="204" y="166"/>
                  <a:pt x="204" y="166"/>
                  <a:pt x="204" y="166"/>
                </a:cubicBezTo>
                <a:cubicBezTo>
                  <a:pt x="207" y="164"/>
                  <a:pt x="207" y="164"/>
                  <a:pt x="207" y="164"/>
                </a:cubicBezTo>
                <a:cubicBezTo>
                  <a:pt x="208" y="163"/>
                  <a:pt x="208" y="163"/>
                  <a:pt x="208" y="163"/>
                </a:cubicBezTo>
                <a:cubicBezTo>
                  <a:pt x="210" y="163"/>
                  <a:pt x="210" y="163"/>
                  <a:pt x="210" y="163"/>
                </a:cubicBezTo>
                <a:cubicBezTo>
                  <a:pt x="210" y="162"/>
                  <a:pt x="210" y="162"/>
                  <a:pt x="210" y="162"/>
                </a:cubicBezTo>
                <a:cubicBezTo>
                  <a:pt x="210" y="161"/>
                  <a:pt x="210" y="161"/>
                  <a:pt x="210" y="161"/>
                </a:cubicBezTo>
                <a:cubicBezTo>
                  <a:pt x="213" y="159"/>
                  <a:pt x="213" y="159"/>
                  <a:pt x="213" y="159"/>
                </a:cubicBezTo>
                <a:cubicBezTo>
                  <a:pt x="215" y="159"/>
                  <a:pt x="215" y="159"/>
                  <a:pt x="215" y="159"/>
                </a:cubicBezTo>
                <a:cubicBezTo>
                  <a:pt x="218" y="157"/>
                  <a:pt x="218" y="157"/>
                  <a:pt x="218" y="157"/>
                </a:cubicBezTo>
                <a:cubicBezTo>
                  <a:pt x="220" y="157"/>
                  <a:pt x="220" y="157"/>
                  <a:pt x="220" y="157"/>
                </a:cubicBezTo>
                <a:cubicBezTo>
                  <a:pt x="222" y="154"/>
                  <a:pt x="222" y="154"/>
                  <a:pt x="222" y="154"/>
                </a:cubicBezTo>
                <a:cubicBezTo>
                  <a:pt x="221" y="156"/>
                  <a:pt x="221" y="156"/>
                  <a:pt x="221" y="156"/>
                </a:cubicBezTo>
                <a:cubicBezTo>
                  <a:pt x="221" y="157"/>
                  <a:pt x="221" y="157"/>
                  <a:pt x="221" y="157"/>
                </a:cubicBezTo>
                <a:cubicBezTo>
                  <a:pt x="222" y="157"/>
                  <a:pt x="222" y="157"/>
                  <a:pt x="222" y="157"/>
                </a:cubicBezTo>
                <a:cubicBezTo>
                  <a:pt x="223" y="158"/>
                  <a:pt x="223" y="158"/>
                  <a:pt x="223" y="158"/>
                </a:cubicBezTo>
                <a:cubicBezTo>
                  <a:pt x="223" y="158"/>
                  <a:pt x="223" y="158"/>
                  <a:pt x="223" y="158"/>
                </a:cubicBezTo>
                <a:cubicBezTo>
                  <a:pt x="225" y="156"/>
                  <a:pt x="225" y="156"/>
                  <a:pt x="225" y="156"/>
                </a:cubicBezTo>
                <a:cubicBezTo>
                  <a:pt x="226" y="156"/>
                  <a:pt x="226" y="156"/>
                  <a:pt x="226" y="156"/>
                </a:cubicBezTo>
                <a:cubicBezTo>
                  <a:pt x="228" y="155"/>
                  <a:pt x="228" y="155"/>
                  <a:pt x="228" y="155"/>
                </a:cubicBezTo>
                <a:cubicBezTo>
                  <a:pt x="229" y="154"/>
                  <a:pt x="229" y="154"/>
                  <a:pt x="229" y="154"/>
                </a:cubicBezTo>
                <a:cubicBezTo>
                  <a:pt x="229" y="156"/>
                  <a:pt x="229" y="156"/>
                  <a:pt x="229" y="156"/>
                </a:cubicBezTo>
                <a:cubicBezTo>
                  <a:pt x="227" y="157"/>
                  <a:pt x="227" y="157"/>
                  <a:pt x="227" y="157"/>
                </a:cubicBezTo>
                <a:cubicBezTo>
                  <a:pt x="225" y="157"/>
                  <a:pt x="225" y="157"/>
                  <a:pt x="225" y="157"/>
                </a:cubicBezTo>
                <a:cubicBezTo>
                  <a:pt x="222" y="160"/>
                  <a:pt x="222" y="160"/>
                  <a:pt x="222" y="160"/>
                </a:cubicBezTo>
                <a:cubicBezTo>
                  <a:pt x="222" y="161"/>
                  <a:pt x="222" y="161"/>
                  <a:pt x="222" y="161"/>
                </a:cubicBezTo>
                <a:cubicBezTo>
                  <a:pt x="224" y="163"/>
                  <a:pt x="224" y="163"/>
                  <a:pt x="224" y="163"/>
                </a:cubicBezTo>
                <a:cubicBezTo>
                  <a:pt x="224" y="164"/>
                  <a:pt x="224" y="164"/>
                  <a:pt x="224" y="164"/>
                </a:cubicBezTo>
                <a:cubicBezTo>
                  <a:pt x="223" y="163"/>
                  <a:pt x="223" y="163"/>
                  <a:pt x="223" y="163"/>
                </a:cubicBezTo>
                <a:cubicBezTo>
                  <a:pt x="222" y="163"/>
                  <a:pt x="222" y="163"/>
                  <a:pt x="222" y="163"/>
                </a:cubicBezTo>
                <a:cubicBezTo>
                  <a:pt x="221" y="163"/>
                  <a:pt x="221" y="163"/>
                  <a:pt x="221" y="163"/>
                </a:cubicBezTo>
                <a:cubicBezTo>
                  <a:pt x="220" y="163"/>
                  <a:pt x="220" y="163"/>
                  <a:pt x="220" y="163"/>
                </a:cubicBezTo>
                <a:cubicBezTo>
                  <a:pt x="219" y="162"/>
                  <a:pt x="219" y="162"/>
                  <a:pt x="219" y="162"/>
                </a:cubicBezTo>
                <a:cubicBezTo>
                  <a:pt x="219" y="161"/>
                  <a:pt x="219" y="161"/>
                  <a:pt x="219" y="161"/>
                </a:cubicBezTo>
                <a:cubicBezTo>
                  <a:pt x="217" y="162"/>
                  <a:pt x="217" y="162"/>
                  <a:pt x="217" y="162"/>
                </a:cubicBezTo>
                <a:cubicBezTo>
                  <a:pt x="216" y="162"/>
                  <a:pt x="216" y="162"/>
                  <a:pt x="216" y="162"/>
                </a:cubicBezTo>
                <a:cubicBezTo>
                  <a:pt x="214" y="163"/>
                  <a:pt x="214" y="163"/>
                  <a:pt x="214" y="163"/>
                </a:cubicBezTo>
                <a:cubicBezTo>
                  <a:pt x="212" y="163"/>
                  <a:pt x="212" y="163"/>
                  <a:pt x="212" y="163"/>
                </a:cubicBezTo>
                <a:cubicBezTo>
                  <a:pt x="211" y="164"/>
                  <a:pt x="211" y="164"/>
                  <a:pt x="211" y="164"/>
                </a:cubicBezTo>
                <a:cubicBezTo>
                  <a:pt x="211" y="166"/>
                  <a:pt x="211" y="166"/>
                  <a:pt x="211" y="166"/>
                </a:cubicBezTo>
                <a:cubicBezTo>
                  <a:pt x="211" y="166"/>
                  <a:pt x="211" y="166"/>
                  <a:pt x="211" y="166"/>
                </a:cubicBezTo>
                <a:cubicBezTo>
                  <a:pt x="210" y="168"/>
                  <a:pt x="210" y="168"/>
                  <a:pt x="210" y="168"/>
                </a:cubicBezTo>
                <a:cubicBezTo>
                  <a:pt x="209" y="169"/>
                  <a:pt x="209" y="169"/>
                  <a:pt x="209" y="169"/>
                </a:cubicBezTo>
                <a:cubicBezTo>
                  <a:pt x="208" y="171"/>
                  <a:pt x="208" y="171"/>
                  <a:pt x="208" y="171"/>
                </a:cubicBezTo>
                <a:cubicBezTo>
                  <a:pt x="204" y="174"/>
                  <a:pt x="204" y="174"/>
                  <a:pt x="204" y="174"/>
                </a:cubicBezTo>
                <a:cubicBezTo>
                  <a:pt x="203" y="175"/>
                  <a:pt x="203" y="175"/>
                  <a:pt x="203" y="175"/>
                </a:cubicBezTo>
                <a:cubicBezTo>
                  <a:pt x="203" y="176"/>
                  <a:pt x="203" y="176"/>
                  <a:pt x="203" y="176"/>
                </a:cubicBezTo>
                <a:cubicBezTo>
                  <a:pt x="205" y="178"/>
                  <a:pt x="205" y="178"/>
                  <a:pt x="205" y="178"/>
                </a:cubicBezTo>
                <a:cubicBezTo>
                  <a:pt x="205" y="177"/>
                  <a:pt x="205" y="177"/>
                  <a:pt x="205" y="177"/>
                </a:cubicBezTo>
                <a:cubicBezTo>
                  <a:pt x="206" y="177"/>
                  <a:pt x="206" y="177"/>
                  <a:pt x="206" y="177"/>
                </a:cubicBezTo>
                <a:cubicBezTo>
                  <a:pt x="207" y="176"/>
                  <a:pt x="207" y="176"/>
                  <a:pt x="207" y="176"/>
                </a:cubicBezTo>
                <a:cubicBezTo>
                  <a:pt x="208" y="176"/>
                  <a:pt x="208" y="176"/>
                  <a:pt x="208" y="176"/>
                </a:cubicBezTo>
                <a:cubicBezTo>
                  <a:pt x="208" y="177"/>
                  <a:pt x="208" y="177"/>
                  <a:pt x="208" y="177"/>
                </a:cubicBezTo>
                <a:cubicBezTo>
                  <a:pt x="206" y="178"/>
                  <a:pt x="206" y="178"/>
                  <a:pt x="206" y="178"/>
                </a:cubicBezTo>
                <a:cubicBezTo>
                  <a:pt x="205" y="179"/>
                  <a:pt x="205" y="179"/>
                  <a:pt x="205" y="179"/>
                </a:cubicBezTo>
                <a:cubicBezTo>
                  <a:pt x="204" y="180"/>
                  <a:pt x="204" y="180"/>
                  <a:pt x="204" y="180"/>
                </a:cubicBezTo>
                <a:cubicBezTo>
                  <a:pt x="203" y="179"/>
                  <a:pt x="203" y="179"/>
                  <a:pt x="203" y="179"/>
                </a:cubicBezTo>
                <a:cubicBezTo>
                  <a:pt x="202" y="179"/>
                  <a:pt x="202" y="179"/>
                  <a:pt x="202" y="179"/>
                </a:cubicBezTo>
                <a:cubicBezTo>
                  <a:pt x="201" y="180"/>
                  <a:pt x="201" y="180"/>
                  <a:pt x="201" y="180"/>
                </a:cubicBezTo>
                <a:cubicBezTo>
                  <a:pt x="201" y="181"/>
                  <a:pt x="201" y="181"/>
                  <a:pt x="201" y="181"/>
                </a:cubicBezTo>
                <a:cubicBezTo>
                  <a:pt x="200" y="180"/>
                  <a:pt x="200" y="180"/>
                  <a:pt x="200" y="180"/>
                </a:cubicBezTo>
                <a:cubicBezTo>
                  <a:pt x="199" y="181"/>
                  <a:pt x="199" y="181"/>
                  <a:pt x="199" y="181"/>
                </a:cubicBezTo>
                <a:cubicBezTo>
                  <a:pt x="200" y="182"/>
                  <a:pt x="200" y="182"/>
                  <a:pt x="200" y="182"/>
                </a:cubicBezTo>
                <a:cubicBezTo>
                  <a:pt x="201" y="184"/>
                  <a:pt x="201" y="184"/>
                  <a:pt x="201" y="184"/>
                </a:cubicBezTo>
                <a:cubicBezTo>
                  <a:pt x="202" y="184"/>
                  <a:pt x="202" y="184"/>
                  <a:pt x="202" y="184"/>
                </a:cubicBezTo>
                <a:cubicBezTo>
                  <a:pt x="202" y="183"/>
                  <a:pt x="202" y="183"/>
                  <a:pt x="202" y="183"/>
                </a:cubicBezTo>
                <a:cubicBezTo>
                  <a:pt x="203" y="184"/>
                  <a:pt x="203" y="184"/>
                  <a:pt x="203" y="184"/>
                </a:cubicBezTo>
                <a:cubicBezTo>
                  <a:pt x="203" y="182"/>
                  <a:pt x="203" y="182"/>
                  <a:pt x="203" y="182"/>
                </a:cubicBezTo>
                <a:cubicBezTo>
                  <a:pt x="204" y="182"/>
                  <a:pt x="204" y="182"/>
                  <a:pt x="204" y="182"/>
                </a:cubicBezTo>
                <a:cubicBezTo>
                  <a:pt x="204" y="183"/>
                  <a:pt x="204" y="183"/>
                  <a:pt x="204" y="183"/>
                </a:cubicBezTo>
                <a:cubicBezTo>
                  <a:pt x="205" y="183"/>
                  <a:pt x="205" y="183"/>
                  <a:pt x="205" y="183"/>
                </a:cubicBezTo>
                <a:cubicBezTo>
                  <a:pt x="205" y="182"/>
                  <a:pt x="205" y="182"/>
                  <a:pt x="205" y="182"/>
                </a:cubicBezTo>
                <a:cubicBezTo>
                  <a:pt x="206" y="182"/>
                  <a:pt x="206" y="182"/>
                  <a:pt x="206" y="182"/>
                </a:cubicBezTo>
                <a:cubicBezTo>
                  <a:pt x="208" y="181"/>
                  <a:pt x="208" y="181"/>
                  <a:pt x="208" y="181"/>
                </a:cubicBezTo>
                <a:cubicBezTo>
                  <a:pt x="208" y="179"/>
                  <a:pt x="208" y="179"/>
                  <a:pt x="208" y="179"/>
                </a:cubicBezTo>
                <a:cubicBezTo>
                  <a:pt x="209" y="179"/>
                  <a:pt x="209" y="179"/>
                  <a:pt x="209" y="179"/>
                </a:cubicBezTo>
                <a:cubicBezTo>
                  <a:pt x="209" y="179"/>
                  <a:pt x="209" y="179"/>
                  <a:pt x="209" y="179"/>
                </a:cubicBezTo>
                <a:cubicBezTo>
                  <a:pt x="208" y="180"/>
                  <a:pt x="208" y="180"/>
                  <a:pt x="208" y="180"/>
                </a:cubicBezTo>
                <a:cubicBezTo>
                  <a:pt x="209" y="181"/>
                  <a:pt x="209" y="181"/>
                  <a:pt x="209" y="181"/>
                </a:cubicBezTo>
                <a:cubicBezTo>
                  <a:pt x="210" y="181"/>
                  <a:pt x="210" y="181"/>
                  <a:pt x="210" y="181"/>
                </a:cubicBezTo>
                <a:cubicBezTo>
                  <a:pt x="212" y="179"/>
                  <a:pt x="212" y="179"/>
                  <a:pt x="212" y="179"/>
                </a:cubicBezTo>
                <a:cubicBezTo>
                  <a:pt x="213" y="179"/>
                  <a:pt x="213" y="179"/>
                  <a:pt x="213" y="179"/>
                </a:cubicBezTo>
                <a:cubicBezTo>
                  <a:pt x="214" y="180"/>
                  <a:pt x="214" y="180"/>
                  <a:pt x="214" y="180"/>
                </a:cubicBezTo>
                <a:cubicBezTo>
                  <a:pt x="214" y="179"/>
                  <a:pt x="214" y="179"/>
                  <a:pt x="214" y="179"/>
                </a:cubicBezTo>
                <a:cubicBezTo>
                  <a:pt x="215" y="177"/>
                  <a:pt x="215" y="177"/>
                  <a:pt x="215" y="177"/>
                </a:cubicBezTo>
                <a:cubicBezTo>
                  <a:pt x="216" y="176"/>
                  <a:pt x="216" y="176"/>
                  <a:pt x="216" y="176"/>
                </a:cubicBezTo>
                <a:cubicBezTo>
                  <a:pt x="217" y="176"/>
                  <a:pt x="217" y="176"/>
                  <a:pt x="217" y="176"/>
                </a:cubicBezTo>
                <a:cubicBezTo>
                  <a:pt x="216" y="178"/>
                  <a:pt x="216" y="178"/>
                  <a:pt x="216" y="178"/>
                </a:cubicBezTo>
                <a:cubicBezTo>
                  <a:pt x="216" y="179"/>
                  <a:pt x="216" y="179"/>
                  <a:pt x="216" y="179"/>
                </a:cubicBezTo>
                <a:cubicBezTo>
                  <a:pt x="216" y="178"/>
                  <a:pt x="216" y="178"/>
                  <a:pt x="216" y="178"/>
                </a:cubicBezTo>
                <a:cubicBezTo>
                  <a:pt x="218" y="176"/>
                  <a:pt x="218" y="176"/>
                  <a:pt x="218" y="176"/>
                </a:cubicBezTo>
                <a:cubicBezTo>
                  <a:pt x="218" y="174"/>
                  <a:pt x="218" y="174"/>
                  <a:pt x="218" y="174"/>
                </a:cubicBezTo>
                <a:cubicBezTo>
                  <a:pt x="219" y="174"/>
                  <a:pt x="219" y="174"/>
                  <a:pt x="219" y="174"/>
                </a:cubicBezTo>
                <a:cubicBezTo>
                  <a:pt x="219" y="175"/>
                  <a:pt x="219" y="175"/>
                  <a:pt x="219" y="175"/>
                </a:cubicBezTo>
                <a:cubicBezTo>
                  <a:pt x="218" y="176"/>
                  <a:pt x="218" y="176"/>
                  <a:pt x="218" y="176"/>
                </a:cubicBezTo>
                <a:cubicBezTo>
                  <a:pt x="219" y="177"/>
                  <a:pt x="219" y="177"/>
                  <a:pt x="219" y="177"/>
                </a:cubicBezTo>
                <a:cubicBezTo>
                  <a:pt x="220" y="175"/>
                  <a:pt x="220" y="175"/>
                  <a:pt x="220" y="175"/>
                </a:cubicBezTo>
                <a:cubicBezTo>
                  <a:pt x="221" y="176"/>
                  <a:pt x="221" y="176"/>
                  <a:pt x="221" y="176"/>
                </a:cubicBezTo>
                <a:cubicBezTo>
                  <a:pt x="221" y="177"/>
                  <a:pt x="221" y="177"/>
                  <a:pt x="221" y="177"/>
                </a:cubicBezTo>
                <a:cubicBezTo>
                  <a:pt x="222" y="177"/>
                  <a:pt x="222" y="177"/>
                  <a:pt x="222" y="177"/>
                </a:cubicBezTo>
                <a:cubicBezTo>
                  <a:pt x="222" y="177"/>
                  <a:pt x="222" y="177"/>
                  <a:pt x="222" y="177"/>
                </a:cubicBezTo>
                <a:cubicBezTo>
                  <a:pt x="223" y="177"/>
                  <a:pt x="223" y="177"/>
                  <a:pt x="223" y="177"/>
                </a:cubicBezTo>
                <a:cubicBezTo>
                  <a:pt x="224" y="175"/>
                  <a:pt x="224" y="175"/>
                  <a:pt x="224" y="175"/>
                </a:cubicBezTo>
                <a:cubicBezTo>
                  <a:pt x="226" y="175"/>
                  <a:pt x="226" y="175"/>
                  <a:pt x="226" y="175"/>
                </a:cubicBezTo>
                <a:cubicBezTo>
                  <a:pt x="227" y="174"/>
                  <a:pt x="227" y="174"/>
                  <a:pt x="227" y="174"/>
                </a:cubicBezTo>
                <a:cubicBezTo>
                  <a:pt x="226" y="174"/>
                  <a:pt x="226" y="174"/>
                  <a:pt x="226" y="174"/>
                </a:cubicBezTo>
                <a:cubicBezTo>
                  <a:pt x="226" y="173"/>
                  <a:pt x="226" y="173"/>
                  <a:pt x="226" y="173"/>
                </a:cubicBezTo>
                <a:cubicBezTo>
                  <a:pt x="229" y="172"/>
                  <a:pt x="229" y="172"/>
                  <a:pt x="229" y="172"/>
                </a:cubicBezTo>
                <a:cubicBezTo>
                  <a:pt x="229" y="171"/>
                  <a:pt x="229" y="171"/>
                  <a:pt x="229" y="171"/>
                </a:cubicBezTo>
                <a:cubicBezTo>
                  <a:pt x="229" y="170"/>
                  <a:pt x="229" y="170"/>
                  <a:pt x="229" y="170"/>
                </a:cubicBezTo>
                <a:cubicBezTo>
                  <a:pt x="228" y="170"/>
                  <a:pt x="228" y="170"/>
                  <a:pt x="228" y="170"/>
                </a:cubicBezTo>
                <a:cubicBezTo>
                  <a:pt x="227" y="169"/>
                  <a:pt x="227" y="169"/>
                  <a:pt x="227" y="169"/>
                </a:cubicBezTo>
                <a:cubicBezTo>
                  <a:pt x="226" y="169"/>
                  <a:pt x="226" y="169"/>
                  <a:pt x="226" y="169"/>
                </a:cubicBezTo>
                <a:cubicBezTo>
                  <a:pt x="226" y="168"/>
                  <a:pt x="226" y="168"/>
                  <a:pt x="226" y="168"/>
                </a:cubicBezTo>
                <a:cubicBezTo>
                  <a:pt x="227" y="168"/>
                  <a:pt x="227" y="168"/>
                  <a:pt x="227" y="168"/>
                </a:cubicBezTo>
                <a:cubicBezTo>
                  <a:pt x="228" y="169"/>
                  <a:pt x="228" y="169"/>
                  <a:pt x="228" y="169"/>
                </a:cubicBezTo>
                <a:cubicBezTo>
                  <a:pt x="229" y="168"/>
                  <a:pt x="229" y="168"/>
                  <a:pt x="229" y="168"/>
                </a:cubicBezTo>
                <a:cubicBezTo>
                  <a:pt x="229" y="167"/>
                  <a:pt x="229" y="167"/>
                  <a:pt x="229" y="167"/>
                </a:cubicBezTo>
                <a:cubicBezTo>
                  <a:pt x="228" y="167"/>
                  <a:pt x="228" y="167"/>
                  <a:pt x="228" y="167"/>
                </a:cubicBezTo>
                <a:cubicBezTo>
                  <a:pt x="226" y="166"/>
                  <a:pt x="226" y="166"/>
                  <a:pt x="226" y="166"/>
                </a:cubicBezTo>
                <a:cubicBezTo>
                  <a:pt x="226" y="165"/>
                  <a:pt x="226" y="165"/>
                  <a:pt x="226" y="165"/>
                </a:cubicBezTo>
                <a:cubicBezTo>
                  <a:pt x="228" y="165"/>
                  <a:pt x="228" y="165"/>
                  <a:pt x="228" y="165"/>
                </a:cubicBezTo>
                <a:cubicBezTo>
                  <a:pt x="229" y="165"/>
                  <a:pt x="229" y="165"/>
                  <a:pt x="229" y="165"/>
                </a:cubicBezTo>
                <a:cubicBezTo>
                  <a:pt x="229" y="165"/>
                  <a:pt x="229" y="165"/>
                  <a:pt x="229" y="165"/>
                </a:cubicBezTo>
                <a:cubicBezTo>
                  <a:pt x="229" y="165"/>
                  <a:pt x="229" y="165"/>
                  <a:pt x="229" y="165"/>
                </a:cubicBezTo>
                <a:cubicBezTo>
                  <a:pt x="229" y="163"/>
                  <a:pt x="229" y="163"/>
                  <a:pt x="229" y="163"/>
                </a:cubicBezTo>
                <a:cubicBezTo>
                  <a:pt x="231" y="162"/>
                  <a:pt x="231" y="162"/>
                  <a:pt x="231" y="162"/>
                </a:cubicBezTo>
                <a:cubicBezTo>
                  <a:pt x="232" y="163"/>
                  <a:pt x="232" y="163"/>
                  <a:pt x="232" y="163"/>
                </a:cubicBezTo>
                <a:cubicBezTo>
                  <a:pt x="233" y="163"/>
                  <a:pt x="233" y="163"/>
                  <a:pt x="233" y="163"/>
                </a:cubicBezTo>
                <a:cubicBezTo>
                  <a:pt x="235" y="163"/>
                  <a:pt x="235" y="163"/>
                  <a:pt x="235" y="163"/>
                </a:cubicBezTo>
                <a:cubicBezTo>
                  <a:pt x="232" y="164"/>
                  <a:pt x="232" y="164"/>
                  <a:pt x="232" y="164"/>
                </a:cubicBezTo>
                <a:cubicBezTo>
                  <a:pt x="232" y="165"/>
                  <a:pt x="232" y="165"/>
                  <a:pt x="232" y="165"/>
                </a:cubicBezTo>
                <a:cubicBezTo>
                  <a:pt x="233" y="168"/>
                  <a:pt x="233" y="168"/>
                  <a:pt x="233" y="168"/>
                </a:cubicBezTo>
                <a:cubicBezTo>
                  <a:pt x="233" y="167"/>
                  <a:pt x="233" y="167"/>
                  <a:pt x="233" y="167"/>
                </a:cubicBezTo>
                <a:cubicBezTo>
                  <a:pt x="234" y="165"/>
                  <a:pt x="234" y="165"/>
                  <a:pt x="234" y="165"/>
                </a:cubicBezTo>
                <a:cubicBezTo>
                  <a:pt x="235" y="164"/>
                  <a:pt x="235" y="164"/>
                  <a:pt x="235" y="164"/>
                </a:cubicBezTo>
                <a:cubicBezTo>
                  <a:pt x="236" y="164"/>
                  <a:pt x="236" y="164"/>
                  <a:pt x="236" y="164"/>
                </a:cubicBezTo>
                <a:cubicBezTo>
                  <a:pt x="235" y="165"/>
                  <a:pt x="235" y="165"/>
                  <a:pt x="235" y="165"/>
                </a:cubicBezTo>
                <a:cubicBezTo>
                  <a:pt x="235" y="166"/>
                  <a:pt x="235" y="166"/>
                  <a:pt x="235" y="166"/>
                </a:cubicBezTo>
                <a:cubicBezTo>
                  <a:pt x="235" y="167"/>
                  <a:pt x="235" y="167"/>
                  <a:pt x="235" y="167"/>
                </a:cubicBezTo>
                <a:cubicBezTo>
                  <a:pt x="236" y="166"/>
                  <a:pt x="236" y="166"/>
                  <a:pt x="236" y="166"/>
                </a:cubicBezTo>
                <a:cubicBezTo>
                  <a:pt x="237" y="165"/>
                  <a:pt x="237" y="165"/>
                  <a:pt x="237" y="165"/>
                </a:cubicBezTo>
                <a:cubicBezTo>
                  <a:pt x="238" y="166"/>
                  <a:pt x="238" y="166"/>
                  <a:pt x="238" y="166"/>
                </a:cubicBezTo>
                <a:cubicBezTo>
                  <a:pt x="239" y="165"/>
                  <a:pt x="239" y="165"/>
                  <a:pt x="239" y="165"/>
                </a:cubicBezTo>
                <a:cubicBezTo>
                  <a:pt x="239" y="165"/>
                  <a:pt x="239" y="165"/>
                  <a:pt x="239" y="165"/>
                </a:cubicBezTo>
                <a:cubicBezTo>
                  <a:pt x="241" y="164"/>
                  <a:pt x="241" y="164"/>
                  <a:pt x="241" y="164"/>
                </a:cubicBezTo>
                <a:cubicBezTo>
                  <a:pt x="242" y="164"/>
                  <a:pt x="242" y="164"/>
                  <a:pt x="242" y="164"/>
                </a:cubicBezTo>
                <a:cubicBezTo>
                  <a:pt x="243" y="164"/>
                  <a:pt x="243" y="164"/>
                  <a:pt x="243" y="164"/>
                </a:cubicBezTo>
                <a:cubicBezTo>
                  <a:pt x="243" y="165"/>
                  <a:pt x="243" y="165"/>
                  <a:pt x="243" y="165"/>
                </a:cubicBezTo>
                <a:cubicBezTo>
                  <a:pt x="241" y="165"/>
                  <a:pt x="241" y="165"/>
                  <a:pt x="241" y="165"/>
                </a:cubicBezTo>
                <a:cubicBezTo>
                  <a:pt x="240" y="166"/>
                  <a:pt x="240" y="166"/>
                  <a:pt x="240" y="166"/>
                </a:cubicBezTo>
                <a:cubicBezTo>
                  <a:pt x="239" y="166"/>
                  <a:pt x="239" y="166"/>
                  <a:pt x="239" y="166"/>
                </a:cubicBezTo>
                <a:cubicBezTo>
                  <a:pt x="239" y="167"/>
                  <a:pt x="239" y="167"/>
                  <a:pt x="239" y="167"/>
                </a:cubicBezTo>
                <a:cubicBezTo>
                  <a:pt x="239" y="168"/>
                  <a:pt x="239" y="168"/>
                  <a:pt x="239" y="168"/>
                </a:cubicBezTo>
                <a:cubicBezTo>
                  <a:pt x="242" y="168"/>
                  <a:pt x="242" y="168"/>
                  <a:pt x="242" y="168"/>
                </a:cubicBezTo>
                <a:cubicBezTo>
                  <a:pt x="242" y="169"/>
                  <a:pt x="242" y="169"/>
                  <a:pt x="242" y="169"/>
                </a:cubicBezTo>
                <a:cubicBezTo>
                  <a:pt x="242" y="169"/>
                  <a:pt x="242" y="169"/>
                  <a:pt x="242" y="169"/>
                </a:cubicBezTo>
                <a:cubicBezTo>
                  <a:pt x="241" y="168"/>
                  <a:pt x="241" y="168"/>
                  <a:pt x="241" y="168"/>
                </a:cubicBezTo>
                <a:cubicBezTo>
                  <a:pt x="239" y="168"/>
                  <a:pt x="239" y="168"/>
                  <a:pt x="239" y="168"/>
                </a:cubicBezTo>
                <a:cubicBezTo>
                  <a:pt x="238" y="169"/>
                  <a:pt x="238" y="169"/>
                  <a:pt x="238" y="169"/>
                </a:cubicBezTo>
                <a:cubicBezTo>
                  <a:pt x="238" y="170"/>
                  <a:pt x="238" y="170"/>
                  <a:pt x="238" y="170"/>
                </a:cubicBezTo>
                <a:cubicBezTo>
                  <a:pt x="239" y="170"/>
                  <a:pt x="239" y="170"/>
                  <a:pt x="239" y="170"/>
                </a:cubicBezTo>
                <a:cubicBezTo>
                  <a:pt x="240" y="169"/>
                  <a:pt x="240" y="169"/>
                  <a:pt x="240" y="169"/>
                </a:cubicBezTo>
                <a:cubicBezTo>
                  <a:pt x="241" y="170"/>
                  <a:pt x="241" y="170"/>
                  <a:pt x="241" y="170"/>
                </a:cubicBezTo>
                <a:cubicBezTo>
                  <a:pt x="240" y="170"/>
                  <a:pt x="240" y="170"/>
                  <a:pt x="240" y="170"/>
                </a:cubicBezTo>
                <a:cubicBezTo>
                  <a:pt x="239" y="170"/>
                  <a:pt x="239" y="170"/>
                  <a:pt x="239" y="170"/>
                </a:cubicBezTo>
                <a:cubicBezTo>
                  <a:pt x="239" y="171"/>
                  <a:pt x="239" y="171"/>
                  <a:pt x="239" y="171"/>
                </a:cubicBezTo>
                <a:cubicBezTo>
                  <a:pt x="241" y="172"/>
                  <a:pt x="241" y="172"/>
                  <a:pt x="241" y="172"/>
                </a:cubicBezTo>
                <a:cubicBezTo>
                  <a:pt x="241" y="173"/>
                  <a:pt x="241" y="173"/>
                  <a:pt x="241" y="173"/>
                </a:cubicBezTo>
                <a:cubicBezTo>
                  <a:pt x="241" y="173"/>
                  <a:pt x="241" y="173"/>
                  <a:pt x="241" y="173"/>
                </a:cubicBezTo>
                <a:cubicBezTo>
                  <a:pt x="240" y="173"/>
                  <a:pt x="240" y="173"/>
                  <a:pt x="240" y="173"/>
                </a:cubicBezTo>
                <a:cubicBezTo>
                  <a:pt x="240" y="174"/>
                  <a:pt x="240" y="174"/>
                  <a:pt x="240" y="174"/>
                </a:cubicBezTo>
                <a:cubicBezTo>
                  <a:pt x="241" y="174"/>
                  <a:pt x="241" y="174"/>
                  <a:pt x="241" y="174"/>
                </a:cubicBezTo>
                <a:cubicBezTo>
                  <a:pt x="242" y="173"/>
                  <a:pt x="242" y="173"/>
                  <a:pt x="242" y="173"/>
                </a:cubicBezTo>
                <a:cubicBezTo>
                  <a:pt x="243" y="174"/>
                  <a:pt x="243" y="174"/>
                  <a:pt x="243" y="174"/>
                </a:cubicBezTo>
                <a:cubicBezTo>
                  <a:pt x="244" y="175"/>
                  <a:pt x="244" y="175"/>
                  <a:pt x="244" y="175"/>
                </a:cubicBezTo>
                <a:cubicBezTo>
                  <a:pt x="246" y="174"/>
                  <a:pt x="246" y="174"/>
                  <a:pt x="246" y="174"/>
                </a:cubicBezTo>
                <a:cubicBezTo>
                  <a:pt x="247" y="175"/>
                  <a:pt x="247" y="175"/>
                  <a:pt x="247" y="175"/>
                </a:cubicBezTo>
                <a:cubicBezTo>
                  <a:pt x="247" y="176"/>
                  <a:pt x="247" y="176"/>
                  <a:pt x="247" y="176"/>
                </a:cubicBezTo>
                <a:cubicBezTo>
                  <a:pt x="246" y="176"/>
                  <a:pt x="246" y="176"/>
                  <a:pt x="246" y="176"/>
                </a:cubicBezTo>
                <a:cubicBezTo>
                  <a:pt x="246" y="177"/>
                  <a:pt x="246" y="177"/>
                  <a:pt x="246" y="177"/>
                </a:cubicBezTo>
                <a:cubicBezTo>
                  <a:pt x="247" y="177"/>
                  <a:pt x="247" y="177"/>
                  <a:pt x="247" y="177"/>
                </a:cubicBezTo>
                <a:cubicBezTo>
                  <a:pt x="247" y="178"/>
                  <a:pt x="247" y="178"/>
                  <a:pt x="247" y="178"/>
                </a:cubicBezTo>
                <a:cubicBezTo>
                  <a:pt x="248" y="178"/>
                  <a:pt x="248" y="178"/>
                  <a:pt x="248" y="178"/>
                </a:cubicBezTo>
                <a:cubicBezTo>
                  <a:pt x="249" y="177"/>
                  <a:pt x="249" y="177"/>
                  <a:pt x="249" y="177"/>
                </a:cubicBezTo>
                <a:cubicBezTo>
                  <a:pt x="248" y="176"/>
                  <a:pt x="248" y="176"/>
                  <a:pt x="248" y="176"/>
                </a:cubicBezTo>
                <a:cubicBezTo>
                  <a:pt x="249" y="176"/>
                  <a:pt x="249" y="176"/>
                  <a:pt x="249" y="176"/>
                </a:cubicBezTo>
                <a:cubicBezTo>
                  <a:pt x="250" y="176"/>
                  <a:pt x="250" y="176"/>
                  <a:pt x="250" y="176"/>
                </a:cubicBezTo>
                <a:cubicBezTo>
                  <a:pt x="249" y="177"/>
                  <a:pt x="249" y="177"/>
                  <a:pt x="249" y="177"/>
                </a:cubicBezTo>
                <a:cubicBezTo>
                  <a:pt x="249" y="178"/>
                  <a:pt x="249" y="178"/>
                  <a:pt x="249" y="178"/>
                </a:cubicBezTo>
                <a:cubicBezTo>
                  <a:pt x="248" y="179"/>
                  <a:pt x="248" y="179"/>
                  <a:pt x="248" y="179"/>
                </a:cubicBezTo>
                <a:cubicBezTo>
                  <a:pt x="249" y="181"/>
                  <a:pt x="249" y="181"/>
                  <a:pt x="249" y="181"/>
                </a:cubicBezTo>
                <a:cubicBezTo>
                  <a:pt x="248" y="181"/>
                  <a:pt x="248" y="181"/>
                  <a:pt x="248" y="181"/>
                </a:cubicBezTo>
                <a:cubicBezTo>
                  <a:pt x="248" y="181"/>
                  <a:pt x="248" y="181"/>
                  <a:pt x="248" y="181"/>
                </a:cubicBezTo>
                <a:cubicBezTo>
                  <a:pt x="247" y="181"/>
                  <a:pt x="247" y="181"/>
                  <a:pt x="247" y="181"/>
                </a:cubicBezTo>
                <a:cubicBezTo>
                  <a:pt x="247" y="182"/>
                  <a:pt x="247" y="182"/>
                  <a:pt x="247" y="182"/>
                </a:cubicBezTo>
                <a:cubicBezTo>
                  <a:pt x="250" y="182"/>
                  <a:pt x="250" y="182"/>
                  <a:pt x="250" y="182"/>
                </a:cubicBezTo>
                <a:cubicBezTo>
                  <a:pt x="251" y="182"/>
                  <a:pt x="251" y="182"/>
                  <a:pt x="251" y="182"/>
                </a:cubicBezTo>
                <a:cubicBezTo>
                  <a:pt x="252" y="182"/>
                  <a:pt x="252" y="182"/>
                  <a:pt x="252" y="182"/>
                </a:cubicBezTo>
                <a:cubicBezTo>
                  <a:pt x="253" y="182"/>
                  <a:pt x="253" y="182"/>
                  <a:pt x="253" y="182"/>
                </a:cubicBezTo>
                <a:cubicBezTo>
                  <a:pt x="255" y="182"/>
                  <a:pt x="255" y="182"/>
                  <a:pt x="255" y="182"/>
                </a:cubicBezTo>
                <a:cubicBezTo>
                  <a:pt x="256" y="182"/>
                  <a:pt x="256" y="182"/>
                  <a:pt x="256" y="182"/>
                </a:cubicBezTo>
                <a:cubicBezTo>
                  <a:pt x="257" y="182"/>
                  <a:pt x="257" y="182"/>
                  <a:pt x="257" y="182"/>
                </a:cubicBezTo>
                <a:cubicBezTo>
                  <a:pt x="257" y="183"/>
                  <a:pt x="257" y="183"/>
                  <a:pt x="257" y="183"/>
                </a:cubicBezTo>
                <a:cubicBezTo>
                  <a:pt x="258" y="183"/>
                  <a:pt x="258" y="183"/>
                  <a:pt x="258" y="183"/>
                </a:cubicBezTo>
                <a:cubicBezTo>
                  <a:pt x="259" y="184"/>
                  <a:pt x="259" y="184"/>
                  <a:pt x="259" y="184"/>
                </a:cubicBezTo>
                <a:cubicBezTo>
                  <a:pt x="259" y="185"/>
                  <a:pt x="259" y="185"/>
                  <a:pt x="259" y="185"/>
                </a:cubicBezTo>
                <a:cubicBezTo>
                  <a:pt x="260" y="185"/>
                  <a:pt x="260" y="185"/>
                  <a:pt x="260" y="185"/>
                </a:cubicBezTo>
                <a:cubicBezTo>
                  <a:pt x="261" y="185"/>
                  <a:pt x="261" y="185"/>
                  <a:pt x="261" y="185"/>
                </a:cubicBezTo>
                <a:cubicBezTo>
                  <a:pt x="263" y="185"/>
                  <a:pt x="263" y="185"/>
                  <a:pt x="263" y="185"/>
                </a:cubicBezTo>
                <a:cubicBezTo>
                  <a:pt x="263" y="184"/>
                  <a:pt x="263" y="184"/>
                  <a:pt x="263" y="184"/>
                </a:cubicBezTo>
                <a:cubicBezTo>
                  <a:pt x="264" y="184"/>
                  <a:pt x="264" y="184"/>
                  <a:pt x="264" y="184"/>
                </a:cubicBezTo>
                <a:cubicBezTo>
                  <a:pt x="263" y="185"/>
                  <a:pt x="263" y="185"/>
                  <a:pt x="263" y="185"/>
                </a:cubicBezTo>
                <a:cubicBezTo>
                  <a:pt x="263" y="186"/>
                  <a:pt x="263" y="186"/>
                  <a:pt x="263" y="186"/>
                </a:cubicBezTo>
                <a:cubicBezTo>
                  <a:pt x="261" y="186"/>
                  <a:pt x="261" y="186"/>
                  <a:pt x="261" y="186"/>
                </a:cubicBezTo>
                <a:cubicBezTo>
                  <a:pt x="262" y="187"/>
                  <a:pt x="262" y="187"/>
                  <a:pt x="262" y="187"/>
                </a:cubicBezTo>
                <a:cubicBezTo>
                  <a:pt x="263" y="188"/>
                  <a:pt x="263" y="188"/>
                  <a:pt x="263" y="188"/>
                </a:cubicBezTo>
                <a:cubicBezTo>
                  <a:pt x="264" y="189"/>
                  <a:pt x="264" y="189"/>
                  <a:pt x="264" y="189"/>
                </a:cubicBezTo>
                <a:cubicBezTo>
                  <a:pt x="265" y="189"/>
                  <a:pt x="265" y="189"/>
                  <a:pt x="265" y="189"/>
                </a:cubicBezTo>
                <a:cubicBezTo>
                  <a:pt x="266" y="190"/>
                  <a:pt x="266" y="190"/>
                  <a:pt x="266" y="190"/>
                </a:cubicBezTo>
                <a:cubicBezTo>
                  <a:pt x="269" y="189"/>
                  <a:pt x="269" y="189"/>
                  <a:pt x="269" y="189"/>
                </a:cubicBezTo>
                <a:cubicBezTo>
                  <a:pt x="270" y="189"/>
                  <a:pt x="270" y="189"/>
                  <a:pt x="270" y="189"/>
                </a:cubicBezTo>
                <a:cubicBezTo>
                  <a:pt x="270" y="190"/>
                  <a:pt x="270" y="190"/>
                  <a:pt x="270" y="190"/>
                </a:cubicBezTo>
                <a:cubicBezTo>
                  <a:pt x="271" y="189"/>
                  <a:pt x="271" y="189"/>
                  <a:pt x="271" y="189"/>
                </a:cubicBezTo>
                <a:cubicBezTo>
                  <a:pt x="272" y="188"/>
                  <a:pt x="272" y="188"/>
                  <a:pt x="272" y="188"/>
                </a:cubicBezTo>
                <a:cubicBezTo>
                  <a:pt x="273" y="188"/>
                  <a:pt x="273" y="188"/>
                  <a:pt x="273" y="188"/>
                </a:cubicBezTo>
                <a:cubicBezTo>
                  <a:pt x="272" y="188"/>
                  <a:pt x="272" y="188"/>
                  <a:pt x="272" y="188"/>
                </a:cubicBezTo>
                <a:cubicBezTo>
                  <a:pt x="271" y="189"/>
                  <a:pt x="271" y="189"/>
                  <a:pt x="271" y="189"/>
                </a:cubicBezTo>
                <a:cubicBezTo>
                  <a:pt x="271" y="191"/>
                  <a:pt x="271" y="191"/>
                  <a:pt x="271" y="191"/>
                </a:cubicBezTo>
                <a:cubicBezTo>
                  <a:pt x="271" y="193"/>
                  <a:pt x="271" y="193"/>
                  <a:pt x="271" y="193"/>
                </a:cubicBezTo>
                <a:cubicBezTo>
                  <a:pt x="270" y="193"/>
                  <a:pt x="270" y="193"/>
                  <a:pt x="270" y="193"/>
                </a:cubicBezTo>
                <a:cubicBezTo>
                  <a:pt x="268" y="192"/>
                  <a:pt x="268" y="192"/>
                  <a:pt x="268" y="192"/>
                </a:cubicBezTo>
                <a:cubicBezTo>
                  <a:pt x="268" y="192"/>
                  <a:pt x="268" y="192"/>
                  <a:pt x="268" y="192"/>
                </a:cubicBezTo>
                <a:cubicBezTo>
                  <a:pt x="269" y="194"/>
                  <a:pt x="269" y="194"/>
                  <a:pt x="269" y="194"/>
                </a:cubicBezTo>
                <a:cubicBezTo>
                  <a:pt x="269" y="195"/>
                  <a:pt x="269" y="195"/>
                  <a:pt x="269" y="195"/>
                </a:cubicBezTo>
                <a:cubicBezTo>
                  <a:pt x="270" y="196"/>
                  <a:pt x="270" y="196"/>
                  <a:pt x="270" y="196"/>
                </a:cubicBezTo>
                <a:cubicBezTo>
                  <a:pt x="271" y="195"/>
                  <a:pt x="271" y="195"/>
                  <a:pt x="271" y="195"/>
                </a:cubicBezTo>
                <a:cubicBezTo>
                  <a:pt x="272" y="196"/>
                  <a:pt x="272" y="196"/>
                  <a:pt x="272" y="196"/>
                </a:cubicBezTo>
                <a:cubicBezTo>
                  <a:pt x="271" y="197"/>
                  <a:pt x="271" y="197"/>
                  <a:pt x="271" y="197"/>
                </a:cubicBezTo>
                <a:cubicBezTo>
                  <a:pt x="271" y="197"/>
                  <a:pt x="271" y="197"/>
                  <a:pt x="271" y="197"/>
                </a:cubicBezTo>
                <a:cubicBezTo>
                  <a:pt x="271" y="197"/>
                  <a:pt x="271" y="197"/>
                  <a:pt x="271" y="197"/>
                </a:cubicBezTo>
                <a:cubicBezTo>
                  <a:pt x="272" y="199"/>
                  <a:pt x="272" y="199"/>
                  <a:pt x="272" y="199"/>
                </a:cubicBezTo>
                <a:cubicBezTo>
                  <a:pt x="273" y="198"/>
                  <a:pt x="273" y="198"/>
                  <a:pt x="273" y="198"/>
                </a:cubicBezTo>
                <a:cubicBezTo>
                  <a:pt x="274" y="199"/>
                  <a:pt x="274" y="199"/>
                  <a:pt x="274" y="199"/>
                </a:cubicBezTo>
                <a:cubicBezTo>
                  <a:pt x="275" y="197"/>
                  <a:pt x="275" y="197"/>
                  <a:pt x="275" y="197"/>
                </a:cubicBezTo>
                <a:cubicBezTo>
                  <a:pt x="276" y="195"/>
                  <a:pt x="276" y="195"/>
                  <a:pt x="276" y="195"/>
                </a:cubicBezTo>
                <a:cubicBezTo>
                  <a:pt x="276" y="197"/>
                  <a:pt x="276" y="197"/>
                  <a:pt x="276" y="197"/>
                </a:cubicBezTo>
                <a:cubicBezTo>
                  <a:pt x="276" y="198"/>
                  <a:pt x="276" y="198"/>
                  <a:pt x="276" y="198"/>
                </a:cubicBezTo>
                <a:cubicBezTo>
                  <a:pt x="275" y="199"/>
                  <a:pt x="275" y="199"/>
                  <a:pt x="275" y="199"/>
                </a:cubicBezTo>
                <a:cubicBezTo>
                  <a:pt x="275" y="199"/>
                  <a:pt x="275" y="199"/>
                  <a:pt x="275" y="199"/>
                </a:cubicBezTo>
                <a:cubicBezTo>
                  <a:pt x="274" y="200"/>
                  <a:pt x="274" y="200"/>
                  <a:pt x="274" y="200"/>
                </a:cubicBezTo>
                <a:cubicBezTo>
                  <a:pt x="274" y="201"/>
                  <a:pt x="274" y="201"/>
                  <a:pt x="274" y="201"/>
                </a:cubicBezTo>
                <a:cubicBezTo>
                  <a:pt x="275" y="202"/>
                  <a:pt x="275" y="202"/>
                  <a:pt x="275" y="202"/>
                </a:cubicBezTo>
                <a:cubicBezTo>
                  <a:pt x="275" y="202"/>
                  <a:pt x="275" y="202"/>
                  <a:pt x="275" y="202"/>
                </a:cubicBezTo>
                <a:cubicBezTo>
                  <a:pt x="275" y="205"/>
                  <a:pt x="275" y="205"/>
                  <a:pt x="275" y="205"/>
                </a:cubicBezTo>
                <a:cubicBezTo>
                  <a:pt x="275" y="206"/>
                  <a:pt x="275" y="206"/>
                  <a:pt x="275" y="206"/>
                </a:cubicBezTo>
                <a:cubicBezTo>
                  <a:pt x="276" y="206"/>
                  <a:pt x="276" y="206"/>
                  <a:pt x="276" y="206"/>
                </a:cubicBezTo>
                <a:cubicBezTo>
                  <a:pt x="276" y="207"/>
                  <a:pt x="276" y="207"/>
                  <a:pt x="276" y="207"/>
                </a:cubicBezTo>
                <a:cubicBezTo>
                  <a:pt x="276" y="208"/>
                  <a:pt x="276" y="208"/>
                  <a:pt x="276" y="208"/>
                </a:cubicBezTo>
                <a:cubicBezTo>
                  <a:pt x="278" y="210"/>
                  <a:pt x="278" y="210"/>
                  <a:pt x="278" y="210"/>
                </a:cubicBezTo>
                <a:cubicBezTo>
                  <a:pt x="279" y="211"/>
                  <a:pt x="279" y="211"/>
                  <a:pt x="279" y="211"/>
                </a:cubicBezTo>
                <a:cubicBezTo>
                  <a:pt x="279" y="211"/>
                  <a:pt x="279" y="211"/>
                  <a:pt x="279" y="211"/>
                </a:cubicBezTo>
                <a:cubicBezTo>
                  <a:pt x="279" y="211"/>
                  <a:pt x="279" y="211"/>
                  <a:pt x="279" y="211"/>
                </a:cubicBezTo>
                <a:cubicBezTo>
                  <a:pt x="280" y="212"/>
                  <a:pt x="280" y="212"/>
                  <a:pt x="280" y="212"/>
                </a:cubicBezTo>
                <a:cubicBezTo>
                  <a:pt x="281" y="211"/>
                  <a:pt x="281" y="211"/>
                  <a:pt x="281" y="211"/>
                </a:cubicBezTo>
                <a:cubicBezTo>
                  <a:pt x="281" y="211"/>
                  <a:pt x="281" y="211"/>
                  <a:pt x="281" y="211"/>
                </a:cubicBezTo>
                <a:cubicBezTo>
                  <a:pt x="281" y="210"/>
                  <a:pt x="281" y="210"/>
                  <a:pt x="281" y="210"/>
                </a:cubicBezTo>
                <a:cubicBezTo>
                  <a:pt x="281" y="211"/>
                  <a:pt x="281" y="211"/>
                  <a:pt x="281" y="211"/>
                </a:cubicBezTo>
                <a:cubicBezTo>
                  <a:pt x="282" y="211"/>
                  <a:pt x="282" y="211"/>
                  <a:pt x="282" y="211"/>
                </a:cubicBezTo>
                <a:cubicBezTo>
                  <a:pt x="283" y="210"/>
                  <a:pt x="283" y="210"/>
                  <a:pt x="283" y="210"/>
                </a:cubicBezTo>
                <a:cubicBezTo>
                  <a:pt x="282" y="208"/>
                  <a:pt x="282" y="208"/>
                  <a:pt x="282" y="208"/>
                </a:cubicBezTo>
                <a:cubicBezTo>
                  <a:pt x="281" y="208"/>
                  <a:pt x="281" y="208"/>
                  <a:pt x="281" y="208"/>
                </a:cubicBezTo>
                <a:cubicBezTo>
                  <a:pt x="281" y="208"/>
                  <a:pt x="281" y="208"/>
                  <a:pt x="281" y="208"/>
                </a:cubicBezTo>
                <a:cubicBezTo>
                  <a:pt x="280" y="208"/>
                  <a:pt x="280" y="208"/>
                  <a:pt x="280" y="208"/>
                </a:cubicBezTo>
                <a:cubicBezTo>
                  <a:pt x="281" y="207"/>
                  <a:pt x="281" y="207"/>
                  <a:pt x="281" y="207"/>
                </a:cubicBezTo>
                <a:cubicBezTo>
                  <a:pt x="281" y="206"/>
                  <a:pt x="281" y="206"/>
                  <a:pt x="281" y="206"/>
                </a:cubicBezTo>
                <a:cubicBezTo>
                  <a:pt x="281" y="205"/>
                  <a:pt x="281" y="205"/>
                  <a:pt x="281" y="205"/>
                </a:cubicBezTo>
                <a:cubicBezTo>
                  <a:pt x="280" y="205"/>
                  <a:pt x="280" y="205"/>
                  <a:pt x="280" y="205"/>
                </a:cubicBezTo>
                <a:cubicBezTo>
                  <a:pt x="280" y="204"/>
                  <a:pt x="280" y="204"/>
                  <a:pt x="280" y="204"/>
                </a:cubicBezTo>
                <a:cubicBezTo>
                  <a:pt x="280" y="204"/>
                  <a:pt x="280" y="204"/>
                  <a:pt x="280" y="204"/>
                </a:cubicBezTo>
                <a:cubicBezTo>
                  <a:pt x="280" y="202"/>
                  <a:pt x="280" y="202"/>
                  <a:pt x="280" y="202"/>
                </a:cubicBezTo>
                <a:cubicBezTo>
                  <a:pt x="281" y="202"/>
                  <a:pt x="281" y="202"/>
                  <a:pt x="281" y="202"/>
                </a:cubicBezTo>
                <a:cubicBezTo>
                  <a:pt x="281" y="204"/>
                  <a:pt x="281" y="204"/>
                  <a:pt x="281" y="204"/>
                </a:cubicBezTo>
                <a:cubicBezTo>
                  <a:pt x="282" y="204"/>
                  <a:pt x="282" y="204"/>
                  <a:pt x="282" y="204"/>
                </a:cubicBezTo>
                <a:cubicBezTo>
                  <a:pt x="282" y="203"/>
                  <a:pt x="282" y="203"/>
                  <a:pt x="282" y="203"/>
                </a:cubicBezTo>
                <a:cubicBezTo>
                  <a:pt x="283" y="204"/>
                  <a:pt x="283" y="204"/>
                  <a:pt x="283" y="204"/>
                </a:cubicBezTo>
                <a:cubicBezTo>
                  <a:pt x="283" y="205"/>
                  <a:pt x="283" y="205"/>
                  <a:pt x="283" y="205"/>
                </a:cubicBezTo>
                <a:cubicBezTo>
                  <a:pt x="283" y="206"/>
                  <a:pt x="283" y="206"/>
                  <a:pt x="283" y="206"/>
                </a:cubicBezTo>
                <a:cubicBezTo>
                  <a:pt x="283" y="207"/>
                  <a:pt x="283" y="207"/>
                  <a:pt x="283" y="207"/>
                </a:cubicBezTo>
                <a:cubicBezTo>
                  <a:pt x="284" y="207"/>
                  <a:pt x="284" y="207"/>
                  <a:pt x="284" y="207"/>
                </a:cubicBezTo>
                <a:cubicBezTo>
                  <a:pt x="285" y="206"/>
                  <a:pt x="285" y="206"/>
                  <a:pt x="285" y="206"/>
                </a:cubicBezTo>
                <a:cubicBezTo>
                  <a:pt x="285" y="206"/>
                  <a:pt x="285" y="206"/>
                  <a:pt x="285" y="206"/>
                </a:cubicBezTo>
                <a:cubicBezTo>
                  <a:pt x="285" y="207"/>
                  <a:pt x="285" y="207"/>
                  <a:pt x="285" y="207"/>
                </a:cubicBezTo>
                <a:cubicBezTo>
                  <a:pt x="284" y="208"/>
                  <a:pt x="284" y="208"/>
                  <a:pt x="284" y="208"/>
                </a:cubicBezTo>
                <a:cubicBezTo>
                  <a:pt x="284" y="209"/>
                  <a:pt x="284" y="209"/>
                  <a:pt x="284" y="209"/>
                </a:cubicBezTo>
                <a:cubicBezTo>
                  <a:pt x="284" y="210"/>
                  <a:pt x="284" y="210"/>
                  <a:pt x="284" y="210"/>
                </a:cubicBezTo>
                <a:cubicBezTo>
                  <a:pt x="284" y="211"/>
                  <a:pt x="284" y="211"/>
                  <a:pt x="284" y="211"/>
                </a:cubicBezTo>
                <a:cubicBezTo>
                  <a:pt x="284" y="212"/>
                  <a:pt x="284" y="212"/>
                  <a:pt x="284" y="212"/>
                </a:cubicBezTo>
                <a:cubicBezTo>
                  <a:pt x="286" y="212"/>
                  <a:pt x="286" y="212"/>
                  <a:pt x="286" y="212"/>
                </a:cubicBezTo>
                <a:cubicBezTo>
                  <a:pt x="286" y="212"/>
                  <a:pt x="286" y="212"/>
                  <a:pt x="286" y="212"/>
                </a:cubicBezTo>
                <a:cubicBezTo>
                  <a:pt x="287" y="211"/>
                  <a:pt x="287" y="211"/>
                  <a:pt x="287" y="211"/>
                </a:cubicBezTo>
                <a:cubicBezTo>
                  <a:pt x="287" y="212"/>
                  <a:pt x="287" y="212"/>
                  <a:pt x="287" y="212"/>
                </a:cubicBezTo>
                <a:cubicBezTo>
                  <a:pt x="286" y="212"/>
                  <a:pt x="286" y="212"/>
                  <a:pt x="286" y="212"/>
                </a:cubicBezTo>
                <a:cubicBezTo>
                  <a:pt x="287" y="214"/>
                  <a:pt x="287" y="214"/>
                  <a:pt x="287" y="214"/>
                </a:cubicBezTo>
                <a:cubicBezTo>
                  <a:pt x="287" y="214"/>
                  <a:pt x="287" y="214"/>
                  <a:pt x="287" y="214"/>
                </a:cubicBezTo>
                <a:cubicBezTo>
                  <a:pt x="289" y="212"/>
                  <a:pt x="289" y="212"/>
                  <a:pt x="289" y="212"/>
                </a:cubicBezTo>
                <a:cubicBezTo>
                  <a:pt x="289" y="211"/>
                  <a:pt x="289" y="211"/>
                  <a:pt x="289" y="211"/>
                </a:cubicBezTo>
                <a:cubicBezTo>
                  <a:pt x="289" y="210"/>
                  <a:pt x="289" y="210"/>
                  <a:pt x="289" y="210"/>
                </a:cubicBezTo>
                <a:cubicBezTo>
                  <a:pt x="289" y="207"/>
                  <a:pt x="289" y="207"/>
                  <a:pt x="289" y="207"/>
                </a:cubicBezTo>
                <a:cubicBezTo>
                  <a:pt x="290" y="204"/>
                  <a:pt x="290" y="204"/>
                  <a:pt x="290" y="204"/>
                </a:cubicBezTo>
                <a:cubicBezTo>
                  <a:pt x="290" y="201"/>
                  <a:pt x="290" y="201"/>
                  <a:pt x="290" y="201"/>
                </a:cubicBezTo>
                <a:cubicBezTo>
                  <a:pt x="290" y="200"/>
                  <a:pt x="290" y="200"/>
                  <a:pt x="290" y="200"/>
                </a:cubicBezTo>
                <a:cubicBezTo>
                  <a:pt x="290" y="199"/>
                  <a:pt x="290" y="199"/>
                  <a:pt x="290" y="199"/>
                </a:cubicBezTo>
                <a:cubicBezTo>
                  <a:pt x="290" y="198"/>
                  <a:pt x="290" y="198"/>
                  <a:pt x="290" y="198"/>
                </a:cubicBezTo>
                <a:cubicBezTo>
                  <a:pt x="290" y="199"/>
                  <a:pt x="290" y="199"/>
                  <a:pt x="290" y="199"/>
                </a:cubicBezTo>
                <a:cubicBezTo>
                  <a:pt x="291" y="200"/>
                  <a:pt x="291" y="200"/>
                  <a:pt x="291" y="200"/>
                </a:cubicBezTo>
                <a:cubicBezTo>
                  <a:pt x="291" y="200"/>
                  <a:pt x="291" y="200"/>
                  <a:pt x="291" y="200"/>
                </a:cubicBezTo>
                <a:cubicBezTo>
                  <a:pt x="292" y="199"/>
                  <a:pt x="292" y="199"/>
                  <a:pt x="292" y="199"/>
                </a:cubicBezTo>
                <a:cubicBezTo>
                  <a:pt x="293" y="198"/>
                  <a:pt x="293" y="198"/>
                  <a:pt x="293" y="198"/>
                </a:cubicBezTo>
                <a:cubicBezTo>
                  <a:pt x="292" y="200"/>
                  <a:pt x="292" y="200"/>
                  <a:pt x="292" y="200"/>
                </a:cubicBezTo>
                <a:cubicBezTo>
                  <a:pt x="292" y="202"/>
                  <a:pt x="292" y="202"/>
                  <a:pt x="292" y="202"/>
                </a:cubicBezTo>
                <a:cubicBezTo>
                  <a:pt x="292" y="204"/>
                  <a:pt x="292" y="204"/>
                  <a:pt x="292" y="204"/>
                </a:cubicBezTo>
                <a:cubicBezTo>
                  <a:pt x="291" y="206"/>
                  <a:pt x="291" y="206"/>
                  <a:pt x="291" y="206"/>
                </a:cubicBezTo>
                <a:cubicBezTo>
                  <a:pt x="291" y="207"/>
                  <a:pt x="291" y="207"/>
                  <a:pt x="291" y="207"/>
                </a:cubicBezTo>
                <a:cubicBezTo>
                  <a:pt x="291" y="208"/>
                  <a:pt x="291" y="208"/>
                  <a:pt x="291" y="208"/>
                </a:cubicBezTo>
                <a:cubicBezTo>
                  <a:pt x="291" y="209"/>
                  <a:pt x="291" y="209"/>
                  <a:pt x="291" y="209"/>
                </a:cubicBezTo>
                <a:cubicBezTo>
                  <a:pt x="290" y="211"/>
                  <a:pt x="290" y="211"/>
                  <a:pt x="290" y="211"/>
                </a:cubicBezTo>
                <a:cubicBezTo>
                  <a:pt x="291" y="212"/>
                  <a:pt x="291" y="212"/>
                  <a:pt x="291" y="212"/>
                </a:cubicBezTo>
                <a:cubicBezTo>
                  <a:pt x="291" y="213"/>
                  <a:pt x="291" y="213"/>
                  <a:pt x="291" y="213"/>
                </a:cubicBezTo>
                <a:cubicBezTo>
                  <a:pt x="292" y="214"/>
                  <a:pt x="292" y="214"/>
                  <a:pt x="292" y="214"/>
                </a:cubicBezTo>
                <a:cubicBezTo>
                  <a:pt x="292" y="216"/>
                  <a:pt x="292" y="216"/>
                  <a:pt x="292" y="216"/>
                </a:cubicBezTo>
                <a:cubicBezTo>
                  <a:pt x="293" y="216"/>
                  <a:pt x="293" y="216"/>
                  <a:pt x="293" y="216"/>
                </a:cubicBezTo>
                <a:cubicBezTo>
                  <a:pt x="293" y="217"/>
                  <a:pt x="293" y="217"/>
                  <a:pt x="293" y="217"/>
                </a:cubicBezTo>
                <a:cubicBezTo>
                  <a:pt x="294" y="218"/>
                  <a:pt x="294" y="218"/>
                  <a:pt x="294" y="218"/>
                </a:cubicBezTo>
                <a:cubicBezTo>
                  <a:pt x="295" y="217"/>
                  <a:pt x="295" y="217"/>
                  <a:pt x="295" y="217"/>
                </a:cubicBezTo>
                <a:cubicBezTo>
                  <a:pt x="295" y="218"/>
                  <a:pt x="295" y="218"/>
                  <a:pt x="295" y="218"/>
                </a:cubicBezTo>
                <a:cubicBezTo>
                  <a:pt x="296" y="217"/>
                  <a:pt x="296" y="217"/>
                  <a:pt x="296" y="217"/>
                </a:cubicBezTo>
                <a:cubicBezTo>
                  <a:pt x="298" y="217"/>
                  <a:pt x="298" y="217"/>
                  <a:pt x="298" y="217"/>
                </a:cubicBezTo>
                <a:cubicBezTo>
                  <a:pt x="298" y="217"/>
                  <a:pt x="298" y="217"/>
                  <a:pt x="298" y="217"/>
                </a:cubicBezTo>
                <a:cubicBezTo>
                  <a:pt x="296" y="218"/>
                  <a:pt x="296" y="218"/>
                  <a:pt x="296" y="218"/>
                </a:cubicBezTo>
                <a:cubicBezTo>
                  <a:pt x="295" y="219"/>
                  <a:pt x="295" y="219"/>
                  <a:pt x="295" y="219"/>
                </a:cubicBezTo>
                <a:cubicBezTo>
                  <a:pt x="295" y="219"/>
                  <a:pt x="295" y="219"/>
                  <a:pt x="295" y="219"/>
                </a:cubicBezTo>
                <a:cubicBezTo>
                  <a:pt x="296" y="220"/>
                  <a:pt x="296" y="220"/>
                  <a:pt x="296" y="220"/>
                </a:cubicBezTo>
                <a:cubicBezTo>
                  <a:pt x="296" y="220"/>
                  <a:pt x="296" y="220"/>
                  <a:pt x="296" y="220"/>
                </a:cubicBezTo>
                <a:cubicBezTo>
                  <a:pt x="295" y="221"/>
                  <a:pt x="295" y="221"/>
                  <a:pt x="295" y="221"/>
                </a:cubicBezTo>
                <a:cubicBezTo>
                  <a:pt x="295" y="221"/>
                  <a:pt x="295" y="221"/>
                  <a:pt x="295" y="221"/>
                </a:cubicBezTo>
                <a:cubicBezTo>
                  <a:pt x="296" y="223"/>
                  <a:pt x="296" y="223"/>
                  <a:pt x="296" y="223"/>
                </a:cubicBezTo>
                <a:cubicBezTo>
                  <a:pt x="296" y="224"/>
                  <a:pt x="296" y="224"/>
                  <a:pt x="296" y="224"/>
                </a:cubicBezTo>
                <a:cubicBezTo>
                  <a:pt x="295" y="224"/>
                  <a:pt x="295" y="224"/>
                  <a:pt x="295" y="224"/>
                </a:cubicBezTo>
                <a:cubicBezTo>
                  <a:pt x="294" y="223"/>
                  <a:pt x="294" y="223"/>
                  <a:pt x="294" y="223"/>
                </a:cubicBezTo>
                <a:cubicBezTo>
                  <a:pt x="294" y="222"/>
                  <a:pt x="294" y="222"/>
                  <a:pt x="294" y="222"/>
                </a:cubicBezTo>
                <a:cubicBezTo>
                  <a:pt x="293" y="223"/>
                  <a:pt x="293" y="223"/>
                  <a:pt x="293" y="223"/>
                </a:cubicBezTo>
                <a:cubicBezTo>
                  <a:pt x="294" y="224"/>
                  <a:pt x="294" y="224"/>
                  <a:pt x="294" y="224"/>
                </a:cubicBezTo>
                <a:cubicBezTo>
                  <a:pt x="293" y="225"/>
                  <a:pt x="293" y="225"/>
                  <a:pt x="293" y="225"/>
                </a:cubicBezTo>
                <a:cubicBezTo>
                  <a:pt x="293" y="226"/>
                  <a:pt x="293" y="226"/>
                  <a:pt x="293" y="226"/>
                </a:cubicBezTo>
                <a:cubicBezTo>
                  <a:pt x="294" y="226"/>
                  <a:pt x="294" y="226"/>
                  <a:pt x="294" y="226"/>
                </a:cubicBezTo>
                <a:cubicBezTo>
                  <a:pt x="293" y="227"/>
                  <a:pt x="293" y="227"/>
                  <a:pt x="293" y="227"/>
                </a:cubicBezTo>
                <a:cubicBezTo>
                  <a:pt x="292" y="227"/>
                  <a:pt x="292" y="227"/>
                  <a:pt x="292" y="227"/>
                </a:cubicBezTo>
                <a:cubicBezTo>
                  <a:pt x="292" y="228"/>
                  <a:pt x="292" y="228"/>
                  <a:pt x="292" y="228"/>
                </a:cubicBezTo>
                <a:cubicBezTo>
                  <a:pt x="292" y="229"/>
                  <a:pt x="292" y="229"/>
                  <a:pt x="292" y="229"/>
                </a:cubicBezTo>
                <a:cubicBezTo>
                  <a:pt x="293" y="229"/>
                  <a:pt x="293" y="229"/>
                  <a:pt x="293" y="229"/>
                </a:cubicBezTo>
                <a:cubicBezTo>
                  <a:pt x="293" y="229"/>
                  <a:pt x="293" y="229"/>
                  <a:pt x="293" y="229"/>
                </a:cubicBezTo>
                <a:cubicBezTo>
                  <a:pt x="294" y="230"/>
                  <a:pt x="294" y="230"/>
                  <a:pt x="294" y="230"/>
                </a:cubicBezTo>
                <a:cubicBezTo>
                  <a:pt x="295" y="230"/>
                  <a:pt x="295" y="230"/>
                  <a:pt x="295" y="230"/>
                </a:cubicBezTo>
                <a:cubicBezTo>
                  <a:pt x="295" y="230"/>
                  <a:pt x="295" y="230"/>
                  <a:pt x="295" y="230"/>
                </a:cubicBezTo>
                <a:cubicBezTo>
                  <a:pt x="296" y="231"/>
                  <a:pt x="296" y="231"/>
                  <a:pt x="296" y="231"/>
                </a:cubicBezTo>
                <a:cubicBezTo>
                  <a:pt x="296" y="231"/>
                  <a:pt x="296" y="231"/>
                  <a:pt x="296" y="231"/>
                </a:cubicBezTo>
                <a:cubicBezTo>
                  <a:pt x="295" y="231"/>
                  <a:pt x="295" y="231"/>
                  <a:pt x="295" y="231"/>
                </a:cubicBezTo>
                <a:cubicBezTo>
                  <a:pt x="294" y="231"/>
                  <a:pt x="294" y="231"/>
                  <a:pt x="294" y="231"/>
                </a:cubicBezTo>
                <a:cubicBezTo>
                  <a:pt x="295" y="232"/>
                  <a:pt x="295" y="232"/>
                  <a:pt x="295" y="232"/>
                </a:cubicBezTo>
                <a:cubicBezTo>
                  <a:pt x="296" y="233"/>
                  <a:pt x="296" y="233"/>
                  <a:pt x="296" y="233"/>
                </a:cubicBezTo>
                <a:cubicBezTo>
                  <a:pt x="296" y="234"/>
                  <a:pt x="296" y="234"/>
                  <a:pt x="296" y="234"/>
                </a:cubicBezTo>
                <a:cubicBezTo>
                  <a:pt x="297" y="235"/>
                  <a:pt x="297" y="235"/>
                  <a:pt x="297" y="235"/>
                </a:cubicBezTo>
                <a:cubicBezTo>
                  <a:pt x="298" y="235"/>
                  <a:pt x="298" y="235"/>
                  <a:pt x="298" y="235"/>
                </a:cubicBezTo>
                <a:cubicBezTo>
                  <a:pt x="297" y="235"/>
                  <a:pt x="297" y="235"/>
                  <a:pt x="297" y="235"/>
                </a:cubicBezTo>
                <a:cubicBezTo>
                  <a:pt x="296" y="235"/>
                  <a:pt x="296" y="235"/>
                  <a:pt x="296" y="235"/>
                </a:cubicBezTo>
                <a:cubicBezTo>
                  <a:pt x="295" y="236"/>
                  <a:pt x="295" y="236"/>
                  <a:pt x="295" y="236"/>
                </a:cubicBezTo>
                <a:cubicBezTo>
                  <a:pt x="296" y="237"/>
                  <a:pt x="296" y="237"/>
                  <a:pt x="296" y="237"/>
                </a:cubicBezTo>
                <a:cubicBezTo>
                  <a:pt x="297" y="239"/>
                  <a:pt x="297" y="239"/>
                  <a:pt x="297" y="239"/>
                </a:cubicBezTo>
                <a:cubicBezTo>
                  <a:pt x="298" y="240"/>
                  <a:pt x="298" y="240"/>
                  <a:pt x="298" y="240"/>
                </a:cubicBezTo>
                <a:cubicBezTo>
                  <a:pt x="299" y="240"/>
                  <a:pt x="299" y="240"/>
                  <a:pt x="299" y="240"/>
                </a:cubicBezTo>
                <a:cubicBezTo>
                  <a:pt x="300" y="240"/>
                  <a:pt x="300" y="240"/>
                  <a:pt x="300" y="240"/>
                </a:cubicBezTo>
                <a:cubicBezTo>
                  <a:pt x="298" y="241"/>
                  <a:pt x="298" y="241"/>
                  <a:pt x="298" y="241"/>
                </a:cubicBezTo>
                <a:cubicBezTo>
                  <a:pt x="297" y="241"/>
                  <a:pt x="297" y="241"/>
                  <a:pt x="297" y="241"/>
                </a:cubicBezTo>
                <a:cubicBezTo>
                  <a:pt x="296" y="241"/>
                  <a:pt x="296" y="241"/>
                  <a:pt x="296" y="241"/>
                </a:cubicBezTo>
                <a:cubicBezTo>
                  <a:pt x="295" y="242"/>
                  <a:pt x="295" y="242"/>
                  <a:pt x="295" y="242"/>
                </a:cubicBezTo>
                <a:cubicBezTo>
                  <a:pt x="293" y="245"/>
                  <a:pt x="293" y="245"/>
                  <a:pt x="293" y="245"/>
                </a:cubicBezTo>
                <a:cubicBezTo>
                  <a:pt x="292" y="246"/>
                  <a:pt x="292" y="246"/>
                  <a:pt x="292" y="246"/>
                </a:cubicBezTo>
                <a:cubicBezTo>
                  <a:pt x="292" y="247"/>
                  <a:pt x="292" y="247"/>
                  <a:pt x="292" y="247"/>
                </a:cubicBezTo>
                <a:cubicBezTo>
                  <a:pt x="293" y="248"/>
                  <a:pt x="293" y="248"/>
                  <a:pt x="293" y="248"/>
                </a:cubicBezTo>
                <a:cubicBezTo>
                  <a:pt x="294" y="247"/>
                  <a:pt x="294" y="247"/>
                  <a:pt x="294" y="247"/>
                </a:cubicBezTo>
                <a:cubicBezTo>
                  <a:pt x="295" y="245"/>
                  <a:pt x="295" y="245"/>
                  <a:pt x="295" y="245"/>
                </a:cubicBezTo>
                <a:cubicBezTo>
                  <a:pt x="295" y="245"/>
                  <a:pt x="295" y="245"/>
                  <a:pt x="295" y="245"/>
                </a:cubicBezTo>
                <a:cubicBezTo>
                  <a:pt x="296" y="244"/>
                  <a:pt x="296" y="244"/>
                  <a:pt x="296" y="244"/>
                </a:cubicBezTo>
                <a:cubicBezTo>
                  <a:pt x="297" y="243"/>
                  <a:pt x="297" y="243"/>
                  <a:pt x="297" y="243"/>
                </a:cubicBezTo>
                <a:cubicBezTo>
                  <a:pt x="297" y="243"/>
                  <a:pt x="297" y="243"/>
                  <a:pt x="297" y="243"/>
                </a:cubicBezTo>
                <a:cubicBezTo>
                  <a:pt x="298" y="243"/>
                  <a:pt x="298" y="243"/>
                  <a:pt x="298" y="243"/>
                </a:cubicBezTo>
                <a:cubicBezTo>
                  <a:pt x="300" y="243"/>
                  <a:pt x="300" y="243"/>
                  <a:pt x="300" y="243"/>
                </a:cubicBezTo>
                <a:cubicBezTo>
                  <a:pt x="299" y="244"/>
                  <a:pt x="299" y="244"/>
                  <a:pt x="299" y="244"/>
                </a:cubicBezTo>
                <a:cubicBezTo>
                  <a:pt x="299" y="245"/>
                  <a:pt x="299" y="245"/>
                  <a:pt x="299" y="245"/>
                </a:cubicBezTo>
                <a:cubicBezTo>
                  <a:pt x="301" y="245"/>
                  <a:pt x="301" y="245"/>
                  <a:pt x="301" y="245"/>
                </a:cubicBezTo>
                <a:cubicBezTo>
                  <a:pt x="301" y="245"/>
                  <a:pt x="301" y="245"/>
                  <a:pt x="301" y="245"/>
                </a:cubicBezTo>
                <a:cubicBezTo>
                  <a:pt x="299" y="246"/>
                  <a:pt x="299" y="246"/>
                  <a:pt x="299" y="246"/>
                </a:cubicBezTo>
                <a:cubicBezTo>
                  <a:pt x="299" y="247"/>
                  <a:pt x="299" y="247"/>
                  <a:pt x="299" y="247"/>
                </a:cubicBezTo>
                <a:cubicBezTo>
                  <a:pt x="300" y="248"/>
                  <a:pt x="300" y="248"/>
                  <a:pt x="300" y="248"/>
                </a:cubicBezTo>
                <a:cubicBezTo>
                  <a:pt x="299" y="250"/>
                  <a:pt x="299" y="250"/>
                  <a:pt x="299" y="250"/>
                </a:cubicBezTo>
                <a:cubicBezTo>
                  <a:pt x="298" y="251"/>
                  <a:pt x="298" y="251"/>
                  <a:pt x="298" y="251"/>
                </a:cubicBezTo>
                <a:cubicBezTo>
                  <a:pt x="299" y="251"/>
                  <a:pt x="299" y="251"/>
                  <a:pt x="299" y="251"/>
                </a:cubicBezTo>
                <a:cubicBezTo>
                  <a:pt x="299" y="252"/>
                  <a:pt x="299" y="252"/>
                  <a:pt x="299" y="252"/>
                </a:cubicBezTo>
                <a:cubicBezTo>
                  <a:pt x="298" y="252"/>
                  <a:pt x="298" y="252"/>
                  <a:pt x="298" y="252"/>
                </a:cubicBezTo>
                <a:cubicBezTo>
                  <a:pt x="297" y="252"/>
                  <a:pt x="297" y="252"/>
                  <a:pt x="297" y="252"/>
                </a:cubicBezTo>
                <a:cubicBezTo>
                  <a:pt x="296" y="253"/>
                  <a:pt x="296" y="253"/>
                  <a:pt x="296" y="253"/>
                </a:cubicBezTo>
                <a:cubicBezTo>
                  <a:pt x="296" y="253"/>
                  <a:pt x="296" y="253"/>
                  <a:pt x="296" y="253"/>
                </a:cubicBezTo>
                <a:cubicBezTo>
                  <a:pt x="297" y="253"/>
                  <a:pt x="297" y="253"/>
                  <a:pt x="297" y="253"/>
                </a:cubicBezTo>
                <a:cubicBezTo>
                  <a:pt x="298" y="253"/>
                  <a:pt x="298" y="253"/>
                  <a:pt x="298" y="253"/>
                </a:cubicBezTo>
                <a:cubicBezTo>
                  <a:pt x="299" y="253"/>
                  <a:pt x="299" y="253"/>
                  <a:pt x="299" y="253"/>
                </a:cubicBezTo>
                <a:cubicBezTo>
                  <a:pt x="299" y="254"/>
                  <a:pt x="299" y="254"/>
                  <a:pt x="299" y="254"/>
                </a:cubicBezTo>
                <a:cubicBezTo>
                  <a:pt x="298" y="254"/>
                  <a:pt x="298" y="254"/>
                  <a:pt x="298" y="254"/>
                </a:cubicBezTo>
                <a:cubicBezTo>
                  <a:pt x="297" y="254"/>
                  <a:pt x="297" y="254"/>
                  <a:pt x="297" y="254"/>
                </a:cubicBezTo>
                <a:cubicBezTo>
                  <a:pt x="296" y="254"/>
                  <a:pt x="296" y="254"/>
                  <a:pt x="296" y="254"/>
                </a:cubicBezTo>
                <a:cubicBezTo>
                  <a:pt x="296" y="255"/>
                  <a:pt x="296" y="255"/>
                  <a:pt x="296" y="255"/>
                </a:cubicBezTo>
                <a:cubicBezTo>
                  <a:pt x="295" y="256"/>
                  <a:pt x="295" y="256"/>
                  <a:pt x="295" y="256"/>
                </a:cubicBezTo>
                <a:cubicBezTo>
                  <a:pt x="296" y="258"/>
                  <a:pt x="296" y="258"/>
                  <a:pt x="296" y="258"/>
                </a:cubicBezTo>
                <a:cubicBezTo>
                  <a:pt x="297" y="257"/>
                  <a:pt x="297" y="257"/>
                  <a:pt x="297" y="257"/>
                </a:cubicBezTo>
                <a:cubicBezTo>
                  <a:pt x="297" y="256"/>
                  <a:pt x="297" y="256"/>
                  <a:pt x="297" y="256"/>
                </a:cubicBezTo>
                <a:cubicBezTo>
                  <a:pt x="298" y="256"/>
                  <a:pt x="298" y="256"/>
                  <a:pt x="298" y="256"/>
                </a:cubicBezTo>
                <a:cubicBezTo>
                  <a:pt x="299" y="256"/>
                  <a:pt x="299" y="256"/>
                  <a:pt x="299" y="256"/>
                </a:cubicBezTo>
                <a:cubicBezTo>
                  <a:pt x="301" y="254"/>
                  <a:pt x="301" y="254"/>
                  <a:pt x="301" y="254"/>
                </a:cubicBezTo>
                <a:cubicBezTo>
                  <a:pt x="302" y="252"/>
                  <a:pt x="302" y="252"/>
                  <a:pt x="302" y="252"/>
                </a:cubicBezTo>
                <a:cubicBezTo>
                  <a:pt x="302" y="250"/>
                  <a:pt x="302" y="250"/>
                  <a:pt x="302" y="250"/>
                </a:cubicBezTo>
                <a:cubicBezTo>
                  <a:pt x="304" y="247"/>
                  <a:pt x="304" y="247"/>
                  <a:pt x="304" y="247"/>
                </a:cubicBezTo>
                <a:cubicBezTo>
                  <a:pt x="304" y="246"/>
                  <a:pt x="304" y="246"/>
                  <a:pt x="304" y="246"/>
                </a:cubicBezTo>
                <a:cubicBezTo>
                  <a:pt x="304" y="246"/>
                  <a:pt x="304" y="246"/>
                  <a:pt x="304" y="246"/>
                </a:cubicBezTo>
                <a:close/>
                <a:moveTo>
                  <a:pt x="286" y="253"/>
                </a:moveTo>
                <a:cubicBezTo>
                  <a:pt x="285" y="253"/>
                  <a:pt x="285" y="253"/>
                  <a:pt x="285" y="253"/>
                </a:cubicBezTo>
                <a:cubicBezTo>
                  <a:pt x="286" y="252"/>
                  <a:pt x="286" y="252"/>
                  <a:pt x="286" y="252"/>
                </a:cubicBezTo>
                <a:cubicBezTo>
                  <a:pt x="286" y="253"/>
                  <a:pt x="286" y="253"/>
                  <a:pt x="286" y="253"/>
                </a:cubicBezTo>
                <a:cubicBezTo>
                  <a:pt x="286" y="253"/>
                  <a:pt x="286" y="253"/>
                  <a:pt x="286" y="253"/>
                </a:cubicBezTo>
                <a:close/>
                <a:moveTo>
                  <a:pt x="293" y="255"/>
                </a:moveTo>
                <a:cubicBezTo>
                  <a:pt x="294" y="255"/>
                  <a:pt x="294" y="255"/>
                  <a:pt x="294" y="255"/>
                </a:cubicBezTo>
                <a:cubicBezTo>
                  <a:pt x="295" y="255"/>
                  <a:pt x="295" y="255"/>
                  <a:pt x="295" y="255"/>
                </a:cubicBezTo>
                <a:cubicBezTo>
                  <a:pt x="294" y="256"/>
                  <a:pt x="294" y="256"/>
                  <a:pt x="294" y="256"/>
                </a:cubicBezTo>
                <a:cubicBezTo>
                  <a:pt x="293" y="255"/>
                  <a:pt x="293" y="255"/>
                  <a:pt x="293" y="255"/>
                </a:cubicBezTo>
                <a:close/>
                <a:moveTo>
                  <a:pt x="293" y="252"/>
                </a:moveTo>
                <a:cubicBezTo>
                  <a:pt x="294" y="252"/>
                  <a:pt x="294" y="252"/>
                  <a:pt x="294" y="252"/>
                </a:cubicBezTo>
                <a:cubicBezTo>
                  <a:pt x="295" y="253"/>
                  <a:pt x="295" y="253"/>
                  <a:pt x="295" y="253"/>
                </a:cubicBezTo>
                <a:cubicBezTo>
                  <a:pt x="294" y="254"/>
                  <a:pt x="294" y="254"/>
                  <a:pt x="294" y="254"/>
                </a:cubicBezTo>
                <a:cubicBezTo>
                  <a:pt x="293" y="254"/>
                  <a:pt x="293" y="254"/>
                  <a:pt x="293" y="254"/>
                </a:cubicBezTo>
                <a:cubicBezTo>
                  <a:pt x="293" y="253"/>
                  <a:pt x="293" y="253"/>
                  <a:pt x="293" y="253"/>
                </a:cubicBezTo>
                <a:cubicBezTo>
                  <a:pt x="293" y="252"/>
                  <a:pt x="293" y="252"/>
                  <a:pt x="293" y="252"/>
                </a:cubicBezTo>
                <a:close/>
                <a:moveTo>
                  <a:pt x="293" y="249"/>
                </a:moveTo>
                <a:cubicBezTo>
                  <a:pt x="294" y="251"/>
                  <a:pt x="294" y="251"/>
                  <a:pt x="294" y="251"/>
                </a:cubicBezTo>
                <a:cubicBezTo>
                  <a:pt x="293" y="252"/>
                  <a:pt x="293" y="252"/>
                  <a:pt x="293" y="252"/>
                </a:cubicBezTo>
                <a:cubicBezTo>
                  <a:pt x="293" y="251"/>
                  <a:pt x="293" y="251"/>
                  <a:pt x="293" y="251"/>
                </a:cubicBezTo>
                <a:cubicBezTo>
                  <a:pt x="292" y="250"/>
                  <a:pt x="292" y="250"/>
                  <a:pt x="292" y="250"/>
                </a:cubicBezTo>
                <a:cubicBezTo>
                  <a:pt x="293" y="249"/>
                  <a:pt x="293" y="249"/>
                  <a:pt x="293" y="249"/>
                </a:cubicBezTo>
                <a:close/>
                <a:moveTo>
                  <a:pt x="294" y="249"/>
                </a:moveTo>
                <a:cubicBezTo>
                  <a:pt x="295" y="248"/>
                  <a:pt x="295" y="248"/>
                  <a:pt x="295" y="248"/>
                </a:cubicBezTo>
                <a:cubicBezTo>
                  <a:pt x="295" y="247"/>
                  <a:pt x="295" y="247"/>
                  <a:pt x="295" y="247"/>
                </a:cubicBezTo>
                <a:cubicBezTo>
                  <a:pt x="296" y="246"/>
                  <a:pt x="296" y="246"/>
                  <a:pt x="296" y="246"/>
                </a:cubicBezTo>
                <a:cubicBezTo>
                  <a:pt x="297" y="245"/>
                  <a:pt x="297" y="245"/>
                  <a:pt x="297" y="245"/>
                </a:cubicBezTo>
                <a:cubicBezTo>
                  <a:pt x="297" y="245"/>
                  <a:pt x="297" y="245"/>
                  <a:pt x="297" y="245"/>
                </a:cubicBezTo>
                <a:cubicBezTo>
                  <a:pt x="298" y="245"/>
                  <a:pt x="298" y="245"/>
                  <a:pt x="298" y="245"/>
                </a:cubicBezTo>
                <a:cubicBezTo>
                  <a:pt x="299" y="246"/>
                  <a:pt x="299" y="246"/>
                  <a:pt x="299" y="246"/>
                </a:cubicBezTo>
                <a:cubicBezTo>
                  <a:pt x="298" y="247"/>
                  <a:pt x="298" y="247"/>
                  <a:pt x="298" y="247"/>
                </a:cubicBezTo>
                <a:cubicBezTo>
                  <a:pt x="299" y="248"/>
                  <a:pt x="299" y="248"/>
                  <a:pt x="299" y="248"/>
                </a:cubicBezTo>
                <a:cubicBezTo>
                  <a:pt x="297" y="251"/>
                  <a:pt x="297" y="251"/>
                  <a:pt x="297" y="251"/>
                </a:cubicBezTo>
                <a:cubicBezTo>
                  <a:pt x="295" y="252"/>
                  <a:pt x="295" y="252"/>
                  <a:pt x="295" y="252"/>
                </a:cubicBezTo>
                <a:cubicBezTo>
                  <a:pt x="295" y="252"/>
                  <a:pt x="295" y="252"/>
                  <a:pt x="295" y="252"/>
                </a:cubicBezTo>
                <a:cubicBezTo>
                  <a:pt x="295" y="250"/>
                  <a:pt x="295" y="250"/>
                  <a:pt x="295" y="250"/>
                </a:cubicBezTo>
                <a:cubicBezTo>
                  <a:pt x="297" y="249"/>
                  <a:pt x="297" y="249"/>
                  <a:pt x="297" y="249"/>
                </a:cubicBezTo>
                <a:cubicBezTo>
                  <a:pt x="297" y="249"/>
                  <a:pt x="297" y="249"/>
                  <a:pt x="297" y="249"/>
                </a:cubicBezTo>
                <a:cubicBezTo>
                  <a:pt x="294" y="250"/>
                  <a:pt x="294" y="250"/>
                  <a:pt x="294" y="250"/>
                </a:cubicBezTo>
                <a:cubicBezTo>
                  <a:pt x="294" y="249"/>
                  <a:pt x="294" y="249"/>
                  <a:pt x="294" y="249"/>
                </a:cubicBezTo>
                <a:close/>
                <a:moveTo>
                  <a:pt x="283" y="253"/>
                </a:moveTo>
                <a:cubicBezTo>
                  <a:pt x="283" y="253"/>
                  <a:pt x="283" y="253"/>
                  <a:pt x="283" y="253"/>
                </a:cubicBezTo>
                <a:cubicBezTo>
                  <a:pt x="284" y="253"/>
                  <a:pt x="284" y="253"/>
                  <a:pt x="284" y="253"/>
                </a:cubicBezTo>
                <a:cubicBezTo>
                  <a:pt x="284" y="254"/>
                  <a:pt x="284" y="254"/>
                  <a:pt x="284" y="254"/>
                </a:cubicBezTo>
                <a:cubicBezTo>
                  <a:pt x="285" y="256"/>
                  <a:pt x="285" y="256"/>
                  <a:pt x="285" y="256"/>
                </a:cubicBezTo>
                <a:cubicBezTo>
                  <a:pt x="284" y="257"/>
                  <a:pt x="284" y="257"/>
                  <a:pt x="284" y="257"/>
                </a:cubicBezTo>
                <a:cubicBezTo>
                  <a:pt x="284" y="257"/>
                  <a:pt x="284" y="257"/>
                  <a:pt x="284" y="257"/>
                </a:cubicBezTo>
                <a:cubicBezTo>
                  <a:pt x="283" y="255"/>
                  <a:pt x="283" y="255"/>
                  <a:pt x="283" y="255"/>
                </a:cubicBezTo>
                <a:cubicBezTo>
                  <a:pt x="283" y="254"/>
                  <a:pt x="283" y="254"/>
                  <a:pt x="283" y="254"/>
                </a:cubicBezTo>
                <a:cubicBezTo>
                  <a:pt x="283" y="253"/>
                  <a:pt x="283" y="253"/>
                  <a:pt x="283" y="253"/>
                </a:cubicBezTo>
                <a:close/>
                <a:moveTo>
                  <a:pt x="283" y="251"/>
                </a:moveTo>
                <a:cubicBezTo>
                  <a:pt x="284" y="251"/>
                  <a:pt x="284" y="251"/>
                  <a:pt x="284" y="251"/>
                </a:cubicBezTo>
                <a:cubicBezTo>
                  <a:pt x="284" y="251"/>
                  <a:pt x="284" y="251"/>
                  <a:pt x="284" y="251"/>
                </a:cubicBezTo>
                <a:cubicBezTo>
                  <a:pt x="285" y="252"/>
                  <a:pt x="285" y="252"/>
                  <a:pt x="285" y="252"/>
                </a:cubicBezTo>
                <a:cubicBezTo>
                  <a:pt x="284" y="252"/>
                  <a:pt x="284" y="252"/>
                  <a:pt x="284" y="252"/>
                </a:cubicBezTo>
                <a:cubicBezTo>
                  <a:pt x="283" y="251"/>
                  <a:pt x="283" y="251"/>
                  <a:pt x="283" y="251"/>
                </a:cubicBezTo>
                <a:close/>
                <a:moveTo>
                  <a:pt x="283" y="250"/>
                </a:moveTo>
                <a:cubicBezTo>
                  <a:pt x="283" y="249"/>
                  <a:pt x="283" y="249"/>
                  <a:pt x="283" y="249"/>
                </a:cubicBezTo>
                <a:cubicBezTo>
                  <a:pt x="283" y="250"/>
                  <a:pt x="283" y="250"/>
                  <a:pt x="283" y="250"/>
                </a:cubicBezTo>
                <a:cubicBezTo>
                  <a:pt x="283" y="250"/>
                  <a:pt x="283" y="250"/>
                  <a:pt x="283" y="250"/>
                </a:cubicBezTo>
                <a:close/>
                <a:moveTo>
                  <a:pt x="282" y="248"/>
                </a:moveTo>
                <a:cubicBezTo>
                  <a:pt x="283" y="248"/>
                  <a:pt x="283" y="248"/>
                  <a:pt x="283" y="248"/>
                </a:cubicBezTo>
                <a:cubicBezTo>
                  <a:pt x="281" y="250"/>
                  <a:pt x="281" y="250"/>
                  <a:pt x="281" y="250"/>
                </a:cubicBezTo>
                <a:cubicBezTo>
                  <a:pt x="282" y="248"/>
                  <a:pt x="282" y="248"/>
                  <a:pt x="282" y="248"/>
                </a:cubicBezTo>
                <a:close/>
                <a:moveTo>
                  <a:pt x="281" y="242"/>
                </a:moveTo>
                <a:cubicBezTo>
                  <a:pt x="281" y="241"/>
                  <a:pt x="281" y="241"/>
                  <a:pt x="281" y="241"/>
                </a:cubicBezTo>
                <a:cubicBezTo>
                  <a:pt x="282" y="242"/>
                  <a:pt x="282" y="242"/>
                  <a:pt x="282" y="242"/>
                </a:cubicBezTo>
                <a:cubicBezTo>
                  <a:pt x="281" y="242"/>
                  <a:pt x="281" y="242"/>
                  <a:pt x="281" y="242"/>
                </a:cubicBezTo>
                <a:close/>
                <a:moveTo>
                  <a:pt x="284" y="244"/>
                </a:moveTo>
                <a:cubicBezTo>
                  <a:pt x="285" y="243"/>
                  <a:pt x="285" y="243"/>
                  <a:pt x="285" y="243"/>
                </a:cubicBezTo>
                <a:cubicBezTo>
                  <a:pt x="285" y="244"/>
                  <a:pt x="285" y="244"/>
                  <a:pt x="285" y="244"/>
                </a:cubicBezTo>
                <a:cubicBezTo>
                  <a:pt x="285" y="245"/>
                  <a:pt x="285" y="245"/>
                  <a:pt x="285" y="245"/>
                </a:cubicBezTo>
                <a:cubicBezTo>
                  <a:pt x="284" y="244"/>
                  <a:pt x="284" y="244"/>
                  <a:pt x="284" y="244"/>
                </a:cubicBezTo>
                <a:close/>
                <a:moveTo>
                  <a:pt x="285" y="242"/>
                </a:moveTo>
                <a:cubicBezTo>
                  <a:pt x="285" y="240"/>
                  <a:pt x="285" y="240"/>
                  <a:pt x="285" y="240"/>
                </a:cubicBezTo>
                <a:cubicBezTo>
                  <a:pt x="287" y="240"/>
                  <a:pt x="287" y="240"/>
                  <a:pt x="287" y="240"/>
                </a:cubicBezTo>
                <a:cubicBezTo>
                  <a:pt x="287" y="241"/>
                  <a:pt x="287" y="241"/>
                  <a:pt x="287" y="241"/>
                </a:cubicBezTo>
                <a:cubicBezTo>
                  <a:pt x="287" y="241"/>
                  <a:pt x="287" y="241"/>
                  <a:pt x="287" y="241"/>
                </a:cubicBezTo>
                <a:cubicBezTo>
                  <a:pt x="286" y="241"/>
                  <a:pt x="286" y="241"/>
                  <a:pt x="286" y="241"/>
                </a:cubicBezTo>
                <a:cubicBezTo>
                  <a:pt x="285" y="242"/>
                  <a:pt x="285" y="242"/>
                  <a:pt x="285" y="242"/>
                </a:cubicBezTo>
                <a:cubicBezTo>
                  <a:pt x="285" y="242"/>
                  <a:pt x="285" y="242"/>
                  <a:pt x="285" y="242"/>
                </a:cubicBezTo>
                <a:close/>
                <a:moveTo>
                  <a:pt x="287" y="243"/>
                </a:moveTo>
                <a:cubicBezTo>
                  <a:pt x="288" y="241"/>
                  <a:pt x="288" y="241"/>
                  <a:pt x="288" y="241"/>
                </a:cubicBezTo>
                <a:cubicBezTo>
                  <a:pt x="288" y="240"/>
                  <a:pt x="288" y="240"/>
                  <a:pt x="288" y="240"/>
                </a:cubicBezTo>
                <a:cubicBezTo>
                  <a:pt x="287" y="239"/>
                  <a:pt x="287" y="239"/>
                  <a:pt x="287" y="239"/>
                </a:cubicBezTo>
                <a:cubicBezTo>
                  <a:pt x="287" y="238"/>
                  <a:pt x="287" y="238"/>
                  <a:pt x="287" y="238"/>
                </a:cubicBezTo>
                <a:cubicBezTo>
                  <a:pt x="289" y="238"/>
                  <a:pt x="289" y="238"/>
                  <a:pt x="289" y="238"/>
                </a:cubicBezTo>
                <a:cubicBezTo>
                  <a:pt x="289" y="240"/>
                  <a:pt x="289" y="240"/>
                  <a:pt x="289" y="240"/>
                </a:cubicBezTo>
                <a:cubicBezTo>
                  <a:pt x="289" y="241"/>
                  <a:pt x="289" y="241"/>
                  <a:pt x="289" y="241"/>
                </a:cubicBezTo>
                <a:cubicBezTo>
                  <a:pt x="288" y="242"/>
                  <a:pt x="288" y="242"/>
                  <a:pt x="288" y="242"/>
                </a:cubicBezTo>
                <a:cubicBezTo>
                  <a:pt x="289" y="242"/>
                  <a:pt x="289" y="242"/>
                  <a:pt x="289" y="242"/>
                </a:cubicBezTo>
                <a:cubicBezTo>
                  <a:pt x="289" y="242"/>
                  <a:pt x="289" y="242"/>
                  <a:pt x="289" y="242"/>
                </a:cubicBezTo>
                <a:cubicBezTo>
                  <a:pt x="291" y="243"/>
                  <a:pt x="291" y="243"/>
                  <a:pt x="291" y="243"/>
                </a:cubicBezTo>
                <a:cubicBezTo>
                  <a:pt x="291" y="245"/>
                  <a:pt x="291" y="245"/>
                  <a:pt x="291" y="245"/>
                </a:cubicBezTo>
                <a:cubicBezTo>
                  <a:pt x="290" y="245"/>
                  <a:pt x="290" y="245"/>
                  <a:pt x="290" y="245"/>
                </a:cubicBezTo>
                <a:cubicBezTo>
                  <a:pt x="291" y="246"/>
                  <a:pt x="291" y="246"/>
                  <a:pt x="291" y="246"/>
                </a:cubicBezTo>
                <a:cubicBezTo>
                  <a:pt x="291" y="247"/>
                  <a:pt x="291" y="247"/>
                  <a:pt x="291" y="247"/>
                </a:cubicBezTo>
                <a:cubicBezTo>
                  <a:pt x="290" y="247"/>
                  <a:pt x="290" y="247"/>
                  <a:pt x="290" y="247"/>
                </a:cubicBezTo>
                <a:cubicBezTo>
                  <a:pt x="290" y="247"/>
                  <a:pt x="290" y="247"/>
                  <a:pt x="290" y="247"/>
                </a:cubicBezTo>
                <a:cubicBezTo>
                  <a:pt x="289" y="248"/>
                  <a:pt x="289" y="248"/>
                  <a:pt x="289" y="248"/>
                </a:cubicBezTo>
                <a:cubicBezTo>
                  <a:pt x="291" y="249"/>
                  <a:pt x="291" y="249"/>
                  <a:pt x="291" y="249"/>
                </a:cubicBezTo>
                <a:cubicBezTo>
                  <a:pt x="291" y="250"/>
                  <a:pt x="291" y="250"/>
                  <a:pt x="291" y="250"/>
                </a:cubicBezTo>
                <a:cubicBezTo>
                  <a:pt x="290" y="251"/>
                  <a:pt x="290" y="251"/>
                  <a:pt x="290" y="251"/>
                </a:cubicBezTo>
                <a:cubicBezTo>
                  <a:pt x="290" y="251"/>
                  <a:pt x="290" y="251"/>
                  <a:pt x="290" y="251"/>
                </a:cubicBezTo>
                <a:cubicBezTo>
                  <a:pt x="291" y="251"/>
                  <a:pt x="291" y="251"/>
                  <a:pt x="291" y="251"/>
                </a:cubicBezTo>
                <a:cubicBezTo>
                  <a:pt x="291" y="251"/>
                  <a:pt x="291" y="251"/>
                  <a:pt x="291" y="251"/>
                </a:cubicBezTo>
                <a:cubicBezTo>
                  <a:pt x="291" y="252"/>
                  <a:pt x="291" y="252"/>
                  <a:pt x="291" y="252"/>
                </a:cubicBezTo>
                <a:cubicBezTo>
                  <a:pt x="290" y="253"/>
                  <a:pt x="290" y="253"/>
                  <a:pt x="290" y="253"/>
                </a:cubicBezTo>
                <a:cubicBezTo>
                  <a:pt x="289" y="253"/>
                  <a:pt x="289" y="253"/>
                  <a:pt x="289" y="253"/>
                </a:cubicBezTo>
                <a:cubicBezTo>
                  <a:pt x="289" y="254"/>
                  <a:pt x="289" y="254"/>
                  <a:pt x="289" y="254"/>
                </a:cubicBezTo>
                <a:cubicBezTo>
                  <a:pt x="289" y="254"/>
                  <a:pt x="289" y="254"/>
                  <a:pt x="289" y="254"/>
                </a:cubicBezTo>
                <a:cubicBezTo>
                  <a:pt x="290" y="255"/>
                  <a:pt x="290" y="255"/>
                  <a:pt x="290" y="255"/>
                </a:cubicBezTo>
                <a:cubicBezTo>
                  <a:pt x="289" y="255"/>
                  <a:pt x="289" y="255"/>
                  <a:pt x="289" y="255"/>
                </a:cubicBezTo>
                <a:cubicBezTo>
                  <a:pt x="290" y="256"/>
                  <a:pt x="290" y="256"/>
                  <a:pt x="290" y="256"/>
                </a:cubicBezTo>
                <a:cubicBezTo>
                  <a:pt x="289" y="257"/>
                  <a:pt x="289" y="257"/>
                  <a:pt x="289" y="257"/>
                </a:cubicBezTo>
                <a:cubicBezTo>
                  <a:pt x="288" y="257"/>
                  <a:pt x="288" y="257"/>
                  <a:pt x="288" y="257"/>
                </a:cubicBezTo>
                <a:cubicBezTo>
                  <a:pt x="287" y="256"/>
                  <a:pt x="287" y="256"/>
                  <a:pt x="287" y="256"/>
                </a:cubicBezTo>
                <a:cubicBezTo>
                  <a:pt x="288" y="255"/>
                  <a:pt x="288" y="255"/>
                  <a:pt x="288" y="255"/>
                </a:cubicBezTo>
                <a:cubicBezTo>
                  <a:pt x="287" y="254"/>
                  <a:pt x="287" y="254"/>
                  <a:pt x="287" y="254"/>
                </a:cubicBezTo>
                <a:cubicBezTo>
                  <a:pt x="287" y="254"/>
                  <a:pt x="287" y="254"/>
                  <a:pt x="287" y="254"/>
                </a:cubicBezTo>
                <a:cubicBezTo>
                  <a:pt x="288" y="253"/>
                  <a:pt x="288" y="253"/>
                  <a:pt x="288" y="253"/>
                </a:cubicBezTo>
                <a:cubicBezTo>
                  <a:pt x="287" y="252"/>
                  <a:pt x="287" y="252"/>
                  <a:pt x="287" y="252"/>
                </a:cubicBezTo>
                <a:cubicBezTo>
                  <a:pt x="287" y="251"/>
                  <a:pt x="287" y="251"/>
                  <a:pt x="287" y="251"/>
                </a:cubicBezTo>
                <a:cubicBezTo>
                  <a:pt x="288" y="251"/>
                  <a:pt x="288" y="251"/>
                  <a:pt x="288" y="251"/>
                </a:cubicBezTo>
                <a:cubicBezTo>
                  <a:pt x="288" y="250"/>
                  <a:pt x="288" y="250"/>
                  <a:pt x="288" y="250"/>
                </a:cubicBezTo>
                <a:cubicBezTo>
                  <a:pt x="287" y="250"/>
                  <a:pt x="287" y="250"/>
                  <a:pt x="287" y="250"/>
                </a:cubicBezTo>
                <a:cubicBezTo>
                  <a:pt x="286" y="251"/>
                  <a:pt x="286" y="251"/>
                  <a:pt x="286" y="251"/>
                </a:cubicBezTo>
                <a:cubicBezTo>
                  <a:pt x="286" y="250"/>
                  <a:pt x="286" y="250"/>
                  <a:pt x="286" y="250"/>
                </a:cubicBezTo>
                <a:cubicBezTo>
                  <a:pt x="285" y="250"/>
                  <a:pt x="285" y="250"/>
                  <a:pt x="285" y="250"/>
                </a:cubicBezTo>
                <a:cubicBezTo>
                  <a:pt x="285" y="250"/>
                  <a:pt x="285" y="250"/>
                  <a:pt x="285" y="250"/>
                </a:cubicBezTo>
                <a:cubicBezTo>
                  <a:pt x="285" y="249"/>
                  <a:pt x="285" y="249"/>
                  <a:pt x="285" y="249"/>
                </a:cubicBezTo>
                <a:cubicBezTo>
                  <a:pt x="286" y="249"/>
                  <a:pt x="286" y="249"/>
                  <a:pt x="286" y="249"/>
                </a:cubicBezTo>
                <a:cubicBezTo>
                  <a:pt x="286" y="248"/>
                  <a:pt x="286" y="248"/>
                  <a:pt x="286" y="248"/>
                </a:cubicBezTo>
                <a:cubicBezTo>
                  <a:pt x="286" y="248"/>
                  <a:pt x="286" y="248"/>
                  <a:pt x="286" y="248"/>
                </a:cubicBezTo>
                <a:cubicBezTo>
                  <a:pt x="287" y="247"/>
                  <a:pt x="287" y="247"/>
                  <a:pt x="287" y="247"/>
                </a:cubicBezTo>
                <a:cubicBezTo>
                  <a:pt x="287" y="246"/>
                  <a:pt x="287" y="246"/>
                  <a:pt x="287" y="246"/>
                </a:cubicBezTo>
                <a:cubicBezTo>
                  <a:pt x="287" y="246"/>
                  <a:pt x="287" y="246"/>
                  <a:pt x="287" y="246"/>
                </a:cubicBezTo>
                <a:cubicBezTo>
                  <a:pt x="286" y="246"/>
                  <a:pt x="286" y="246"/>
                  <a:pt x="286" y="246"/>
                </a:cubicBezTo>
                <a:cubicBezTo>
                  <a:pt x="286" y="246"/>
                  <a:pt x="286" y="246"/>
                  <a:pt x="286" y="246"/>
                </a:cubicBezTo>
                <a:cubicBezTo>
                  <a:pt x="286" y="245"/>
                  <a:pt x="286" y="245"/>
                  <a:pt x="286" y="245"/>
                </a:cubicBezTo>
                <a:cubicBezTo>
                  <a:pt x="287" y="245"/>
                  <a:pt x="287" y="245"/>
                  <a:pt x="287" y="245"/>
                </a:cubicBezTo>
                <a:cubicBezTo>
                  <a:pt x="287" y="244"/>
                  <a:pt x="287" y="244"/>
                  <a:pt x="287" y="244"/>
                </a:cubicBezTo>
                <a:cubicBezTo>
                  <a:pt x="287" y="243"/>
                  <a:pt x="287" y="243"/>
                  <a:pt x="287" y="243"/>
                </a:cubicBezTo>
                <a:close/>
                <a:moveTo>
                  <a:pt x="295" y="242"/>
                </a:moveTo>
                <a:cubicBezTo>
                  <a:pt x="294" y="241"/>
                  <a:pt x="294" y="241"/>
                  <a:pt x="294" y="241"/>
                </a:cubicBezTo>
                <a:cubicBezTo>
                  <a:pt x="295" y="240"/>
                  <a:pt x="295" y="240"/>
                  <a:pt x="295" y="240"/>
                </a:cubicBezTo>
                <a:cubicBezTo>
                  <a:pt x="295" y="239"/>
                  <a:pt x="295" y="239"/>
                  <a:pt x="295" y="239"/>
                </a:cubicBezTo>
                <a:cubicBezTo>
                  <a:pt x="296" y="239"/>
                  <a:pt x="296" y="239"/>
                  <a:pt x="296" y="239"/>
                </a:cubicBezTo>
                <a:cubicBezTo>
                  <a:pt x="296" y="241"/>
                  <a:pt x="296" y="241"/>
                  <a:pt x="296" y="241"/>
                </a:cubicBezTo>
                <a:cubicBezTo>
                  <a:pt x="295" y="242"/>
                  <a:pt x="295" y="242"/>
                  <a:pt x="295" y="242"/>
                </a:cubicBezTo>
                <a:close/>
                <a:moveTo>
                  <a:pt x="292" y="243"/>
                </a:moveTo>
                <a:cubicBezTo>
                  <a:pt x="293" y="241"/>
                  <a:pt x="293" y="241"/>
                  <a:pt x="293" y="241"/>
                </a:cubicBezTo>
                <a:cubicBezTo>
                  <a:pt x="294" y="241"/>
                  <a:pt x="294" y="241"/>
                  <a:pt x="294" y="241"/>
                </a:cubicBezTo>
                <a:cubicBezTo>
                  <a:pt x="294" y="243"/>
                  <a:pt x="294" y="243"/>
                  <a:pt x="294" y="243"/>
                </a:cubicBezTo>
                <a:cubicBezTo>
                  <a:pt x="293" y="243"/>
                  <a:pt x="293" y="243"/>
                  <a:pt x="293" y="243"/>
                </a:cubicBezTo>
                <a:cubicBezTo>
                  <a:pt x="292" y="243"/>
                  <a:pt x="292" y="243"/>
                  <a:pt x="292" y="243"/>
                </a:cubicBezTo>
                <a:close/>
                <a:moveTo>
                  <a:pt x="292" y="242"/>
                </a:moveTo>
                <a:cubicBezTo>
                  <a:pt x="292" y="241"/>
                  <a:pt x="292" y="241"/>
                  <a:pt x="292" y="241"/>
                </a:cubicBezTo>
                <a:cubicBezTo>
                  <a:pt x="294" y="239"/>
                  <a:pt x="294" y="239"/>
                  <a:pt x="294" y="239"/>
                </a:cubicBezTo>
                <a:cubicBezTo>
                  <a:pt x="294" y="240"/>
                  <a:pt x="294" y="240"/>
                  <a:pt x="294" y="240"/>
                </a:cubicBezTo>
                <a:cubicBezTo>
                  <a:pt x="293" y="241"/>
                  <a:pt x="293" y="241"/>
                  <a:pt x="293" y="241"/>
                </a:cubicBezTo>
                <a:cubicBezTo>
                  <a:pt x="292" y="242"/>
                  <a:pt x="292" y="242"/>
                  <a:pt x="292" y="242"/>
                </a:cubicBezTo>
                <a:cubicBezTo>
                  <a:pt x="292" y="242"/>
                  <a:pt x="292" y="242"/>
                  <a:pt x="292" y="242"/>
                </a:cubicBezTo>
                <a:close/>
                <a:moveTo>
                  <a:pt x="290" y="239"/>
                </a:moveTo>
                <a:cubicBezTo>
                  <a:pt x="291" y="238"/>
                  <a:pt x="291" y="238"/>
                  <a:pt x="291" y="238"/>
                </a:cubicBezTo>
                <a:cubicBezTo>
                  <a:pt x="293" y="238"/>
                  <a:pt x="293" y="238"/>
                  <a:pt x="293" y="238"/>
                </a:cubicBezTo>
                <a:cubicBezTo>
                  <a:pt x="293" y="239"/>
                  <a:pt x="293" y="239"/>
                  <a:pt x="293" y="239"/>
                </a:cubicBezTo>
                <a:cubicBezTo>
                  <a:pt x="292" y="240"/>
                  <a:pt x="292" y="240"/>
                  <a:pt x="292" y="240"/>
                </a:cubicBezTo>
                <a:cubicBezTo>
                  <a:pt x="291" y="240"/>
                  <a:pt x="291" y="240"/>
                  <a:pt x="291" y="240"/>
                </a:cubicBezTo>
                <a:cubicBezTo>
                  <a:pt x="290" y="239"/>
                  <a:pt x="290" y="239"/>
                  <a:pt x="290" y="239"/>
                </a:cubicBezTo>
                <a:close/>
                <a:moveTo>
                  <a:pt x="292" y="236"/>
                </a:moveTo>
                <a:cubicBezTo>
                  <a:pt x="293" y="234"/>
                  <a:pt x="293" y="234"/>
                  <a:pt x="293" y="234"/>
                </a:cubicBezTo>
                <a:cubicBezTo>
                  <a:pt x="294" y="233"/>
                  <a:pt x="294" y="233"/>
                  <a:pt x="294" y="233"/>
                </a:cubicBezTo>
                <a:cubicBezTo>
                  <a:pt x="295" y="235"/>
                  <a:pt x="295" y="235"/>
                  <a:pt x="295" y="235"/>
                </a:cubicBezTo>
                <a:cubicBezTo>
                  <a:pt x="294" y="236"/>
                  <a:pt x="294" y="236"/>
                  <a:pt x="294" y="236"/>
                </a:cubicBezTo>
                <a:cubicBezTo>
                  <a:pt x="292" y="237"/>
                  <a:pt x="292" y="237"/>
                  <a:pt x="292" y="237"/>
                </a:cubicBezTo>
                <a:cubicBezTo>
                  <a:pt x="292" y="236"/>
                  <a:pt x="292" y="236"/>
                  <a:pt x="292" y="236"/>
                </a:cubicBezTo>
                <a:cubicBezTo>
                  <a:pt x="292" y="236"/>
                  <a:pt x="292" y="236"/>
                  <a:pt x="292" y="236"/>
                </a:cubicBezTo>
                <a:close/>
                <a:moveTo>
                  <a:pt x="288" y="237"/>
                </a:moveTo>
                <a:cubicBezTo>
                  <a:pt x="288" y="236"/>
                  <a:pt x="288" y="236"/>
                  <a:pt x="288" y="236"/>
                </a:cubicBezTo>
                <a:cubicBezTo>
                  <a:pt x="289" y="233"/>
                  <a:pt x="289" y="233"/>
                  <a:pt x="289" y="233"/>
                </a:cubicBezTo>
                <a:cubicBezTo>
                  <a:pt x="289" y="232"/>
                  <a:pt x="289" y="232"/>
                  <a:pt x="289" y="232"/>
                </a:cubicBezTo>
                <a:cubicBezTo>
                  <a:pt x="288" y="231"/>
                  <a:pt x="288" y="231"/>
                  <a:pt x="288" y="231"/>
                </a:cubicBezTo>
                <a:cubicBezTo>
                  <a:pt x="288" y="230"/>
                  <a:pt x="288" y="230"/>
                  <a:pt x="288" y="230"/>
                </a:cubicBezTo>
                <a:cubicBezTo>
                  <a:pt x="288" y="230"/>
                  <a:pt x="288" y="230"/>
                  <a:pt x="288" y="230"/>
                </a:cubicBezTo>
                <a:cubicBezTo>
                  <a:pt x="288" y="229"/>
                  <a:pt x="288" y="229"/>
                  <a:pt x="288" y="229"/>
                </a:cubicBezTo>
                <a:cubicBezTo>
                  <a:pt x="290" y="229"/>
                  <a:pt x="290" y="229"/>
                  <a:pt x="290" y="229"/>
                </a:cubicBezTo>
                <a:cubicBezTo>
                  <a:pt x="291" y="230"/>
                  <a:pt x="291" y="230"/>
                  <a:pt x="291" y="230"/>
                </a:cubicBezTo>
                <a:cubicBezTo>
                  <a:pt x="292" y="230"/>
                  <a:pt x="292" y="230"/>
                  <a:pt x="292" y="230"/>
                </a:cubicBezTo>
                <a:cubicBezTo>
                  <a:pt x="293" y="231"/>
                  <a:pt x="293" y="231"/>
                  <a:pt x="293" y="231"/>
                </a:cubicBezTo>
                <a:cubicBezTo>
                  <a:pt x="293" y="233"/>
                  <a:pt x="293" y="233"/>
                  <a:pt x="293" y="233"/>
                </a:cubicBezTo>
                <a:cubicBezTo>
                  <a:pt x="292" y="235"/>
                  <a:pt x="292" y="235"/>
                  <a:pt x="292" y="235"/>
                </a:cubicBezTo>
                <a:cubicBezTo>
                  <a:pt x="291" y="235"/>
                  <a:pt x="291" y="235"/>
                  <a:pt x="291" y="235"/>
                </a:cubicBezTo>
                <a:cubicBezTo>
                  <a:pt x="291" y="233"/>
                  <a:pt x="291" y="233"/>
                  <a:pt x="291" y="233"/>
                </a:cubicBezTo>
                <a:cubicBezTo>
                  <a:pt x="291" y="233"/>
                  <a:pt x="291" y="233"/>
                  <a:pt x="291" y="233"/>
                </a:cubicBezTo>
                <a:cubicBezTo>
                  <a:pt x="291" y="235"/>
                  <a:pt x="291" y="235"/>
                  <a:pt x="291" y="235"/>
                </a:cubicBezTo>
                <a:cubicBezTo>
                  <a:pt x="290" y="235"/>
                  <a:pt x="290" y="235"/>
                  <a:pt x="290" y="235"/>
                </a:cubicBezTo>
                <a:cubicBezTo>
                  <a:pt x="291" y="236"/>
                  <a:pt x="291" y="236"/>
                  <a:pt x="291" y="236"/>
                </a:cubicBezTo>
                <a:cubicBezTo>
                  <a:pt x="290" y="237"/>
                  <a:pt x="290" y="237"/>
                  <a:pt x="290" y="237"/>
                </a:cubicBezTo>
                <a:cubicBezTo>
                  <a:pt x="289" y="236"/>
                  <a:pt x="289" y="236"/>
                  <a:pt x="289" y="236"/>
                </a:cubicBezTo>
                <a:cubicBezTo>
                  <a:pt x="289" y="237"/>
                  <a:pt x="289" y="237"/>
                  <a:pt x="289" y="237"/>
                </a:cubicBezTo>
                <a:cubicBezTo>
                  <a:pt x="288" y="237"/>
                  <a:pt x="288" y="237"/>
                  <a:pt x="288" y="237"/>
                </a:cubicBezTo>
                <a:close/>
                <a:moveTo>
                  <a:pt x="285" y="235"/>
                </a:moveTo>
                <a:cubicBezTo>
                  <a:pt x="284" y="235"/>
                  <a:pt x="284" y="235"/>
                  <a:pt x="284" y="235"/>
                </a:cubicBezTo>
                <a:cubicBezTo>
                  <a:pt x="285" y="233"/>
                  <a:pt x="285" y="233"/>
                  <a:pt x="285" y="233"/>
                </a:cubicBezTo>
                <a:cubicBezTo>
                  <a:pt x="284" y="233"/>
                  <a:pt x="284" y="233"/>
                  <a:pt x="284" y="233"/>
                </a:cubicBezTo>
                <a:cubicBezTo>
                  <a:pt x="284" y="232"/>
                  <a:pt x="284" y="232"/>
                  <a:pt x="284" y="232"/>
                </a:cubicBezTo>
                <a:cubicBezTo>
                  <a:pt x="285" y="231"/>
                  <a:pt x="285" y="231"/>
                  <a:pt x="285" y="231"/>
                </a:cubicBezTo>
                <a:cubicBezTo>
                  <a:pt x="286" y="231"/>
                  <a:pt x="286" y="231"/>
                  <a:pt x="286" y="231"/>
                </a:cubicBezTo>
                <a:cubicBezTo>
                  <a:pt x="286" y="230"/>
                  <a:pt x="286" y="230"/>
                  <a:pt x="286" y="230"/>
                </a:cubicBezTo>
                <a:cubicBezTo>
                  <a:pt x="286" y="230"/>
                  <a:pt x="286" y="230"/>
                  <a:pt x="286" y="230"/>
                </a:cubicBezTo>
                <a:cubicBezTo>
                  <a:pt x="287" y="231"/>
                  <a:pt x="287" y="231"/>
                  <a:pt x="287" y="231"/>
                </a:cubicBezTo>
                <a:cubicBezTo>
                  <a:pt x="287" y="232"/>
                  <a:pt x="287" y="232"/>
                  <a:pt x="287" y="232"/>
                </a:cubicBezTo>
                <a:cubicBezTo>
                  <a:pt x="287" y="233"/>
                  <a:pt x="287" y="233"/>
                  <a:pt x="287" y="233"/>
                </a:cubicBezTo>
                <a:cubicBezTo>
                  <a:pt x="288" y="233"/>
                  <a:pt x="288" y="233"/>
                  <a:pt x="288" y="233"/>
                </a:cubicBezTo>
                <a:cubicBezTo>
                  <a:pt x="288" y="233"/>
                  <a:pt x="288" y="233"/>
                  <a:pt x="288" y="233"/>
                </a:cubicBezTo>
                <a:cubicBezTo>
                  <a:pt x="287" y="236"/>
                  <a:pt x="287" y="236"/>
                  <a:pt x="287" y="236"/>
                </a:cubicBezTo>
                <a:cubicBezTo>
                  <a:pt x="285" y="238"/>
                  <a:pt x="285" y="238"/>
                  <a:pt x="285" y="238"/>
                </a:cubicBezTo>
                <a:cubicBezTo>
                  <a:pt x="285" y="239"/>
                  <a:pt x="285" y="239"/>
                  <a:pt x="285" y="239"/>
                </a:cubicBezTo>
                <a:cubicBezTo>
                  <a:pt x="285" y="240"/>
                  <a:pt x="285" y="240"/>
                  <a:pt x="285" y="240"/>
                </a:cubicBezTo>
                <a:cubicBezTo>
                  <a:pt x="283" y="240"/>
                  <a:pt x="283" y="240"/>
                  <a:pt x="283" y="240"/>
                </a:cubicBezTo>
                <a:cubicBezTo>
                  <a:pt x="284" y="239"/>
                  <a:pt x="284" y="239"/>
                  <a:pt x="284" y="239"/>
                </a:cubicBezTo>
                <a:cubicBezTo>
                  <a:pt x="283" y="238"/>
                  <a:pt x="283" y="238"/>
                  <a:pt x="283" y="238"/>
                </a:cubicBezTo>
                <a:cubicBezTo>
                  <a:pt x="283" y="240"/>
                  <a:pt x="283" y="240"/>
                  <a:pt x="283" y="240"/>
                </a:cubicBezTo>
                <a:cubicBezTo>
                  <a:pt x="282" y="240"/>
                  <a:pt x="282" y="240"/>
                  <a:pt x="282" y="240"/>
                </a:cubicBezTo>
                <a:cubicBezTo>
                  <a:pt x="282" y="239"/>
                  <a:pt x="282" y="239"/>
                  <a:pt x="282" y="239"/>
                </a:cubicBezTo>
                <a:cubicBezTo>
                  <a:pt x="283" y="238"/>
                  <a:pt x="283" y="238"/>
                  <a:pt x="283" y="238"/>
                </a:cubicBezTo>
                <a:cubicBezTo>
                  <a:pt x="283" y="237"/>
                  <a:pt x="283" y="237"/>
                  <a:pt x="283" y="237"/>
                </a:cubicBezTo>
                <a:cubicBezTo>
                  <a:pt x="283" y="236"/>
                  <a:pt x="283" y="236"/>
                  <a:pt x="283" y="236"/>
                </a:cubicBezTo>
                <a:cubicBezTo>
                  <a:pt x="284" y="237"/>
                  <a:pt x="284" y="237"/>
                  <a:pt x="284" y="237"/>
                </a:cubicBezTo>
                <a:cubicBezTo>
                  <a:pt x="285" y="236"/>
                  <a:pt x="285" y="236"/>
                  <a:pt x="285" y="236"/>
                </a:cubicBezTo>
                <a:cubicBezTo>
                  <a:pt x="285" y="235"/>
                  <a:pt x="285" y="235"/>
                  <a:pt x="285" y="235"/>
                </a:cubicBezTo>
                <a:close/>
                <a:moveTo>
                  <a:pt x="284" y="224"/>
                </a:moveTo>
                <a:cubicBezTo>
                  <a:pt x="285" y="225"/>
                  <a:pt x="285" y="225"/>
                  <a:pt x="285" y="225"/>
                </a:cubicBezTo>
                <a:cubicBezTo>
                  <a:pt x="284" y="225"/>
                  <a:pt x="284" y="225"/>
                  <a:pt x="284" y="225"/>
                </a:cubicBezTo>
                <a:cubicBezTo>
                  <a:pt x="284" y="224"/>
                  <a:pt x="284" y="224"/>
                  <a:pt x="284" y="224"/>
                </a:cubicBezTo>
                <a:close/>
                <a:moveTo>
                  <a:pt x="281" y="225"/>
                </a:moveTo>
                <a:cubicBezTo>
                  <a:pt x="282" y="224"/>
                  <a:pt x="282" y="224"/>
                  <a:pt x="282" y="224"/>
                </a:cubicBezTo>
                <a:cubicBezTo>
                  <a:pt x="283" y="224"/>
                  <a:pt x="283" y="224"/>
                  <a:pt x="283" y="224"/>
                </a:cubicBezTo>
                <a:cubicBezTo>
                  <a:pt x="283" y="224"/>
                  <a:pt x="283" y="224"/>
                  <a:pt x="283" y="224"/>
                </a:cubicBezTo>
                <a:cubicBezTo>
                  <a:pt x="284" y="226"/>
                  <a:pt x="284" y="226"/>
                  <a:pt x="284" y="226"/>
                </a:cubicBezTo>
                <a:cubicBezTo>
                  <a:pt x="284" y="228"/>
                  <a:pt x="284" y="228"/>
                  <a:pt x="284" y="228"/>
                </a:cubicBezTo>
                <a:cubicBezTo>
                  <a:pt x="283" y="230"/>
                  <a:pt x="283" y="230"/>
                  <a:pt x="283" y="230"/>
                </a:cubicBezTo>
                <a:cubicBezTo>
                  <a:pt x="283" y="230"/>
                  <a:pt x="283" y="230"/>
                  <a:pt x="283" y="230"/>
                </a:cubicBezTo>
                <a:cubicBezTo>
                  <a:pt x="283" y="233"/>
                  <a:pt x="283" y="233"/>
                  <a:pt x="283" y="233"/>
                </a:cubicBezTo>
                <a:cubicBezTo>
                  <a:pt x="282" y="233"/>
                  <a:pt x="282" y="233"/>
                  <a:pt x="282" y="233"/>
                </a:cubicBezTo>
                <a:cubicBezTo>
                  <a:pt x="281" y="235"/>
                  <a:pt x="281" y="235"/>
                  <a:pt x="281" y="235"/>
                </a:cubicBezTo>
                <a:cubicBezTo>
                  <a:pt x="281" y="237"/>
                  <a:pt x="281" y="237"/>
                  <a:pt x="281" y="237"/>
                </a:cubicBezTo>
                <a:cubicBezTo>
                  <a:pt x="281" y="238"/>
                  <a:pt x="281" y="238"/>
                  <a:pt x="281" y="238"/>
                </a:cubicBezTo>
                <a:cubicBezTo>
                  <a:pt x="280" y="238"/>
                  <a:pt x="280" y="238"/>
                  <a:pt x="280" y="238"/>
                </a:cubicBezTo>
                <a:cubicBezTo>
                  <a:pt x="280" y="237"/>
                  <a:pt x="280" y="237"/>
                  <a:pt x="280" y="237"/>
                </a:cubicBezTo>
                <a:cubicBezTo>
                  <a:pt x="280" y="236"/>
                  <a:pt x="280" y="236"/>
                  <a:pt x="280" y="236"/>
                </a:cubicBezTo>
                <a:cubicBezTo>
                  <a:pt x="280" y="236"/>
                  <a:pt x="280" y="236"/>
                  <a:pt x="280" y="236"/>
                </a:cubicBezTo>
                <a:cubicBezTo>
                  <a:pt x="279" y="234"/>
                  <a:pt x="279" y="234"/>
                  <a:pt x="279" y="234"/>
                </a:cubicBezTo>
                <a:cubicBezTo>
                  <a:pt x="280" y="233"/>
                  <a:pt x="280" y="233"/>
                  <a:pt x="280" y="233"/>
                </a:cubicBezTo>
                <a:cubicBezTo>
                  <a:pt x="281" y="233"/>
                  <a:pt x="281" y="233"/>
                  <a:pt x="281" y="233"/>
                </a:cubicBezTo>
                <a:cubicBezTo>
                  <a:pt x="281" y="232"/>
                  <a:pt x="281" y="232"/>
                  <a:pt x="281" y="232"/>
                </a:cubicBezTo>
                <a:cubicBezTo>
                  <a:pt x="281" y="232"/>
                  <a:pt x="281" y="232"/>
                  <a:pt x="281" y="232"/>
                </a:cubicBezTo>
                <a:cubicBezTo>
                  <a:pt x="281" y="232"/>
                  <a:pt x="281" y="232"/>
                  <a:pt x="281" y="232"/>
                </a:cubicBezTo>
                <a:cubicBezTo>
                  <a:pt x="280" y="232"/>
                  <a:pt x="280" y="232"/>
                  <a:pt x="280" y="232"/>
                </a:cubicBezTo>
                <a:cubicBezTo>
                  <a:pt x="280" y="231"/>
                  <a:pt x="280" y="231"/>
                  <a:pt x="280" y="231"/>
                </a:cubicBezTo>
                <a:cubicBezTo>
                  <a:pt x="280" y="231"/>
                  <a:pt x="280" y="231"/>
                  <a:pt x="280" y="231"/>
                </a:cubicBezTo>
                <a:cubicBezTo>
                  <a:pt x="281" y="230"/>
                  <a:pt x="281" y="230"/>
                  <a:pt x="281" y="230"/>
                </a:cubicBezTo>
                <a:cubicBezTo>
                  <a:pt x="279" y="230"/>
                  <a:pt x="279" y="230"/>
                  <a:pt x="279" y="230"/>
                </a:cubicBezTo>
                <a:cubicBezTo>
                  <a:pt x="279" y="229"/>
                  <a:pt x="279" y="229"/>
                  <a:pt x="279" y="229"/>
                </a:cubicBezTo>
                <a:cubicBezTo>
                  <a:pt x="280" y="229"/>
                  <a:pt x="280" y="229"/>
                  <a:pt x="280" y="229"/>
                </a:cubicBezTo>
                <a:cubicBezTo>
                  <a:pt x="281" y="228"/>
                  <a:pt x="281" y="228"/>
                  <a:pt x="281" y="228"/>
                </a:cubicBezTo>
                <a:cubicBezTo>
                  <a:pt x="281" y="227"/>
                  <a:pt x="281" y="227"/>
                  <a:pt x="281" y="227"/>
                </a:cubicBezTo>
                <a:cubicBezTo>
                  <a:pt x="282" y="226"/>
                  <a:pt x="282" y="226"/>
                  <a:pt x="282" y="226"/>
                </a:cubicBezTo>
                <a:cubicBezTo>
                  <a:pt x="281" y="226"/>
                  <a:pt x="281" y="226"/>
                  <a:pt x="281" y="226"/>
                </a:cubicBezTo>
                <a:cubicBezTo>
                  <a:pt x="281" y="225"/>
                  <a:pt x="281" y="225"/>
                  <a:pt x="281" y="225"/>
                </a:cubicBezTo>
                <a:close/>
                <a:moveTo>
                  <a:pt x="279" y="225"/>
                </a:moveTo>
                <a:cubicBezTo>
                  <a:pt x="279" y="224"/>
                  <a:pt x="279" y="224"/>
                  <a:pt x="279" y="224"/>
                </a:cubicBezTo>
                <a:cubicBezTo>
                  <a:pt x="280" y="225"/>
                  <a:pt x="280" y="225"/>
                  <a:pt x="280" y="225"/>
                </a:cubicBezTo>
                <a:cubicBezTo>
                  <a:pt x="279" y="226"/>
                  <a:pt x="279" y="226"/>
                  <a:pt x="279" y="226"/>
                </a:cubicBezTo>
                <a:cubicBezTo>
                  <a:pt x="279" y="228"/>
                  <a:pt x="279" y="228"/>
                  <a:pt x="279" y="228"/>
                </a:cubicBezTo>
                <a:cubicBezTo>
                  <a:pt x="278" y="228"/>
                  <a:pt x="278" y="228"/>
                  <a:pt x="278" y="228"/>
                </a:cubicBezTo>
                <a:cubicBezTo>
                  <a:pt x="278" y="227"/>
                  <a:pt x="278" y="227"/>
                  <a:pt x="278" y="227"/>
                </a:cubicBezTo>
                <a:cubicBezTo>
                  <a:pt x="279" y="226"/>
                  <a:pt x="279" y="226"/>
                  <a:pt x="279" y="226"/>
                </a:cubicBezTo>
                <a:cubicBezTo>
                  <a:pt x="278" y="226"/>
                  <a:pt x="278" y="226"/>
                  <a:pt x="278" y="226"/>
                </a:cubicBezTo>
                <a:cubicBezTo>
                  <a:pt x="279" y="225"/>
                  <a:pt x="279" y="225"/>
                  <a:pt x="279" y="225"/>
                </a:cubicBezTo>
                <a:close/>
                <a:moveTo>
                  <a:pt x="285" y="228"/>
                </a:moveTo>
                <a:cubicBezTo>
                  <a:pt x="285" y="227"/>
                  <a:pt x="285" y="227"/>
                  <a:pt x="285" y="227"/>
                </a:cubicBezTo>
                <a:cubicBezTo>
                  <a:pt x="285" y="225"/>
                  <a:pt x="285" y="225"/>
                  <a:pt x="285" y="225"/>
                </a:cubicBezTo>
                <a:cubicBezTo>
                  <a:pt x="286" y="225"/>
                  <a:pt x="286" y="225"/>
                  <a:pt x="286" y="225"/>
                </a:cubicBezTo>
                <a:cubicBezTo>
                  <a:pt x="288" y="225"/>
                  <a:pt x="288" y="225"/>
                  <a:pt x="288" y="225"/>
                </a:cubicBezTo>
                <a:cubicBezTo>
                  <a:pt x="287" y="224"/>
                  <a:pt x="287" y="224"/>
                  <a:pt x="287" y="224"/>
                </a:cubicBezTo>
                <a:cubicBezTo>
                  <a:pt x="288" y="223"/>
                  <a:pt x="288" y="223"/>
                  <a:pt x="288" y="223"/>
                </a:cubicBezTo>
                <a:cubicBezTo>
                  <a:pt x="287" y="222"/>
                  <a:pt x="287" y="222"/>
                  <a:pt x="287" y="222"/>
                </a:cubicBezTo>
                <a:cubicBezTo>
                  <a:pt x="287" y="220"/>
                  <a:pt x="287" y="220"/>
                  <a:pt x="287" y="220"/>
                </a:cubicBezTo>
                <a:cubicBezTo>
                  <a:pt x="288" y="219"/>
                  <a:pt x="288" y="219"/>
                  <a:pt x="288" y="219"/>
                </a:cubicBezTo>
                <a:cubicBezTo>
                  <a:pt x="288" y="215"/>
                  <a:pt x="288" y="215"/>
                  <a:pt x="288" y="215"/>
                </a:cubicBezTo>
                <a:cubicBezTo>
                  <a:pt x="289" y="213"/>
                  <a:pt x="289" y="213"/>
                  <a:pt x="289" y="213"/>
                </a:cubicBezTo>
                <a:cubicBezTo>
                  <a:pt x="290" y="214"/>
                  <a:pt x="290" y="214"/>
                  <a:pt x="290" y="214"/>
                </a:cubicBezTo>
                <a:cubicBezTo>
                  <a:pt x="290" y="215"/>
                  <a:pt x="290" y="215"/>
                  <a:pt x="290" y="215"/>
                </a:cubicBezTo>
                <a:cubicBezTo>
                  <a:pt x="291" y="216"/>
                  <a:pt x="291" y="216"/>
                  <a:pt x="291" y="216"/>
                </a:cubicBezTo>
                <a:cubicBezTo>
                  <a:pt x="292" y="217"/>
                  <a:pt x="292" y="217"/>
                  <a:pt x="292" y="217"/>
                </a:cubicBezTo>
                <a:cubicBezTo>
                  <a:pt x="292" y="222"/>
                  <a:pt x="292" y="222"/>
                  <a:pt x="292" y="222"/>
                </a:cubicBezTo>
                <a:cubicBezTo>
                  <a:pt x="292" y="223"/>
                  <a:pt x="292" y="223"/>
                  <a:pt x="292" y="223"/>
                </a:cubicBezTo>
                <a:cubicBezTo>
                  <a:pt x="291" y="223"/>
                  <a:pt x="291" y="223"/>
                  <a:pt x="291" y="223"/>
                </a:cubicBezTo>
                <a:cubicBezTo>
                  <a:pt x="291" y="220"/>
                  <a:pt x="291" y="220"/>
                  <a:pt x="291" y="220"/>
                </a:cubicBezTo>
                <a:cubicBezTo>
                  <a:pt x="291" y="218"/>
                  <a:pt x="291" y="218"/>
                  <a:pt x="291" y="218"/>
                </a:cubicBezTo>
                <a:cubicBezTo>
                  <a:pt x="290" y="219"/>
                  <a:pt x="290" y="219"/>
                  <a:pt x="290" y="219"/>
                </a:cubicBezTo>
                <a:cubicBezTo>
                  <a:pt x="290" y="223"/>
                  <a:pt x="290" y="223"/>
                  <a:pt x="290" y="223"/>
                </a:cubicBezTo>
                <a:cubicBezTo>
                  <a:pt x="290" y="224"/>
                  <a:pt x="290" y="224"/>
                  <a:pt x="290" y="224"/>
                </a:cubicBezTo>
                <a:cubicBezTo>
                  <a:pt x="290" y="225"/>
                  <a:pt x="290" y="225"/>
                  <a:pt x="290" y="225"/>
                </a:cubicBezTo>
                <a:cubicBezTo>
                  <a:pt x="289" y="225"/>
                  <a:pt x="289" y="225"/>
                  <a:pt x="289" y="225"/>
                </a:cubicBezTo>
                <a:cubicBezTo>
                  <a:pt x="288" y="225"/>
                  <a:pt x="288" y="225"/>
                  <a:pt x="288" y="225"/>
                </a:cubicBezTo>
                <a:cubicBezTo>
                  <a:pt x="288" y="227"/>
                  <a:pt x="288" y="227"/>
                  <a:pt x="288" y="227"/>
                </a:cubicBezTo>
                <a:cubicBezTo>
                  <a:pt x="286" y="228"/>
                  <a:pt x="286" y="228"/>
                  <a:pt x="286" y="228"/>
                </a:cubicBezTo>
                <a:cubicBezTo>
                  <a:pt x="285" y="229"/>
                  <a:pt x="285" y="229"/>
                  <a:pt x="285" y="229"/>
                </a:cubicBezTo>
                <a:cubicBezTo>
                  <a:pt x="285" y="228"/>
                  <a:pt x="285" y="228"/>
                  <a:pt x="285" y="228"/>
                </a:cubicBezTo>
                <a:close/>
                <a:moveTo>
                  <a:pt x="281" y="214"/>
                </a:moveTo>
                <a:cubicBezTo>
                  <a:pt x="283" y="213"/>
                  <a:pt x="283" y="213"/>
                  <a:pt x="283" y="213"/>
                </a:cubicBezTo>
                <a:cubicBezTo>
                  <a:pt x="284" y="214"/>
                  <a:pt x="284" y="214"/>
                  <a:pt x="284" y="214"/>
                </a:cubicBezTo>
                <a:cubicBezTo>
                  <a:pt x="284" y="215"/>
                  <a:pt x="284" y="215"/>
                  <a:pt x="284" y="215"/>
                </a:cubicBezTo>
                <a:cubicBezTo>
                  <a:pt x="284" y="216"/>
                  <a:pt x="284" y="216"/>
                  <a:pt x="284" y="216"/>
                </a:cubicBezTo>
                <a:cubicBezTo>
                  <a:pt x="284" y="217"/>
                  <a:pt x="284" y="217"/>
                  <a:pt x="284" y="217"/>
                </a:cubicBezTo>
                <a:cubicBezTo>
                  <a:pt x="285" y="216"/>
                  <a:pt x="285" y="216"/>
                  <a:pt x="285" y="216"/>
                </a:cubicBezTo>
                <a:cubicBezTo>
                  <a:pt x="286" y="215"/>
                  <a:pt x="286" y="215"/>
                  <a:pt x="286" y="215"/>
                </a:cubicBezTo>
                <a:cubicBezTo>
                  <a:pt x="287" y="217"/>
                  <a:pt x="287" y="217"/>
                  <a:pt x="287" y="217"/>
                </a:cubicBezTo>
                <a:cubicBezTo>
                  <a:pt x="287" y="217"/>
                  <a:pt x="287" y="217"/>
                  <a:pt x="287" y="217"/>
                </a:cubicBezTo>
                <a:cubicBezTo>
                  <a:pt x="286" y="218"/>
                  <a:pt x="286" y="218"/>
                  <a:pt x="286" y="218"/>
                </a:cubicBezTo>
                <a:cubicBezTo>
                  <a:pt x="286" y="219"/>
                  <a:pt x="286" y="219"/>
                  <a:pt x="286" y="219"/>
                </a:cubicBezTo>
                <a:cubicBezTo>
                  <a:pt x="286" y="219"/>
                  <a:pt x="286" y="219"/>
                  <a:pt x="286" y="219"/>
                </a:cubicBezTo>
                <a:cubicBezTo>
                  <a:pt x="285" y="219"/>
                  <a:pt x="285" y="219"/>
                  <a:pt x="285" y="219"/>
                </a:cubicBezTo>
                <a:cubicBezTo>
                  <a:pt x="284" y="218"/>
                  <a:pt x="284" y="218"/>
                  <a:pt x="284" y="218"/>
                </a:cubicBezTo>
                <a:cubicBezTo>
                  <a:pt x="282" y="216"/>
                  <a:pt x="282" y="216"/>
                  <a:pt x="282" y="216"/>
                </a:cubicBezTo>
                <a:cubicBezTo>
                  <a:pt x="282" y="217"/>
                  <a:pt x="282" y="217"/>
                  <a:pt x="282" y="217"/>
                </a:cubicBezTo>
                <a:cubicBezTo>
                  <a:pt x="284" y="219"/>
                  <a:pt x="284" y="219"/>
                  <a:pt x="284" y="219"/>
                </a:cubicBezTo>
                <a:cubicBezTo>
                  <a:pt x="284" y="220"/>
                  <a:pt x="284" y="220"/>
                  <a:pt x="284" y="220"/>
                </a:cubicBezTo>
                <a:cubicBezTo>
                  <a:pt x="285" y="220"/>
                  <a:pt x="285" y="220"/>
                  <a:pt x="285" y="220"/>
                </a:cubicBezTo>
                <a:cubicBezTo>
                  <a:pt x="286" y="221"/>
                  <a:pt x="286" y="221"/>
                  <a:pt x="286" y="221"/>
                </a:cubicBezTo>
                <a:cubicBezTo>
                  <a:pt x="285" y="222"/>
                  <a:pt x="285" y="222"/>
                  <a:pt x="285" y="222"/>
                </a:cubicBezTo>
                <a:cubicBezTo>
                  <a:pt x="285" y="224"/>
                  <a:pt x="285" y="224"/>
                  <a:pt x="285" y="224"/>
                </a:cubicBezTo>
                <a:cubicBezTo>
                  <a:pt x="284" y="224"/>
                  <a:pt x="284" y="224"/>
                  <a:pt x="284" y="224"/>
                </a:cubicBezTo>
                <a:cubicBezTo>
                  <a:pt x="283" y="222"/>
                  <a:pt x="283" y="222"/>
                  <a:pt x="283" y="222"/>
                </a:cubicBezTo>
                <a:cubicBezTo>
                  <a:pt x="283" y="221"/>
                  <a:pt x="283" y="221"/>
                  <a:pt x="283" y="221"/>
                </a:cubicBezTo>
                <a:cubicBezTo>
                  <a:pt x="281" y="218"/>
                  <a:pt x="281" y="218"/>
                  <a:pt x="281" y="218"/>
                </a:cubicBezTo>
                <a:cubicBezTo>
                  <a:pt x="281" y="220"/>
                  <a:pt x="281" y="220"/>
                  <a:pt x="281" y="220"/>
                </a:cubicBezTo>
                <a:cubicBezTo>
                  <a:pt x="282" y="221"/>
                  <a:pt x="282" y="221"/>
                  <a:pt x="282" y="221"/>
                </a:cubicBezTo>
                <a:cubicBezTo>
                  <a:pt x="282" y="223"/>
                  <a:pt x="282" y="223"/>
                  <a:pt x="282" y="223"/>
                </a:cubicBezTo>
                <a:cubicBezTo>
                  <a:pt x="281" y="224"/>
                  <a:pt x="281" y="224"/>
                  <a:pt x="281" y="224"/>
                </a:cubicBezTo>
                <a:cubicBezTo>
                  <a:pt x="280" y="224"/>
                  <a:pt x="280" y="224"/>
                  <a:pt x="280" y="224"/>
                </a:cubicBezTo>
                <a:cubicBezTo>
                  <a:pt x="279" y="222"/>
                  <a:pt x="279" y="222"/>
                  <a:pt x="279" y="222"/>
                </a:cubicBezTo>
                <a:cubicBezTo>
                  <a:pt x="280" y="221"/>
                  <a:pt x="280" y="221"/>
                  <a:pt x="280" y="221"/>
                </a:cubicBezTo>
                <a:cubicBezTo>
                  <a:pt x="279" y="221"/>
                  <a:pt x="279" y="221"/>
                  <a:pt x="279" y="221"/>
                </a:cubicBezTo>
                <a:cubicBezTo>
                  <a:pt x="279" y="220"/>
                  <a:pt x="279" y="220"/>
                  <a:pt x="279" y="220"/>
                </a:cubicBezTo>
                <a:cubicBezTo>
                  <a:pt x="278" y="218"/>
                  <a:pt x="278" y="218"/>
                  <a:pt x="278" y="218"/>
                </a:cubicBezTo>
                <a:cubicBezTo>
                  <a:pt x="279" y="217"/>
                  <a:pt x="279" y="217"/>
                  <a:pt x="279" y="217"/>
                </a:cubicBezTo>
                <a:cubicBezTo>
                  <a:pt x="280" y="217"/>
                  <a:pt x="280" y="217"/>
                  <a:pt x="280" y="217"/>
                </a:cubicBezTo>
                <a:cubicBezTo>
                  <a:pt x="280" y="217"/>
                  <a:pt x="280" y="217"/>
                  <a:pt x="280" y="217"/>
                </a:cubicBezTo>
                <a:cubicBezTo>
                  <a:pt x="280" y="216"/>
                  <a:pt x="280" y="216"/>
                  <a:pt x="280" y="216"/>
                </a:cubicBezTo>
                <a:cubicBezTo>
                  <a:pt x="279" y="215"/>
                  <a:pt x="279" y="215"/>
                  <a:pt x="279" y="215"/>
                </a:cubicBezTo>
                <a:cubicBezTo>
                  <a:pt x="280" y="213"/>
                  <a:pt x="280" y="213"/>
                  <a:pt x="280" y="213"/>
                </a:cubicBezTo>
                <a:cubicBezTo>
                  <a:pt x="281" y="215"/>
                  <a:pt x="281" y="215"/>
                  <a:pt x="281" y="215"/>
                </a:cubicBezTo>
                <a:cubicBezTo>
                  <a:pt x="281" y="214"/>
                  <a:pt x="281" y="214"/>
                  <a:pt x="281" y="214"/>
                </a:cubicBezTo>
                <a:cubicBezTo>
                  <a:pt x="281" y="214"/>
                  <a:pt x="281" y="214"/>
                  <a:pt x="281" y="214"/>
                </a:cubicBezTo>
                <a:close/>
                <a:moveTo>
                  <a:pt x="282" y="212"/>
                </a:moveTo>
                <a:cubicBezTo>
                  <a:pt x="283" y="211"/>
                  <a:pt x="283" y="211"/>
                  <a:pt x="283" y="211"/>
                </a:cubicBezTo>
                <a:cubicBezTo>
                  <a:pt x="283" y="212"/>
                  <a:pt x="283" y="212"/>
                  <a:pt x="283" y="212"/>
                </a:cubicBezTo>
                <a:cubicBezTo>
                  <a:pt x="282" y="213"/>
                  <a:pt x="282" y="213"/>
                  <a:pt x="282" y="213"/>
                </a:cubicBezTo>
                <a:cubicBezTo>
                  <a:pt x="282" y="212"/>
                  <a:pt x="282" y="212"/>
                  <a:pt x="282" y="212"/>
                </a:cubicBezTo>
                <a:close/>
                <a:moveTo>
                  <a:pt x="94" y="135"/>
                </a:moveTo>
                <a:cubicBezTo>
                  <a:pt x="94" y="134"/>
                  <a:pt x="94" y="134"/>
                  <a:pt x="94" y="134"/>
                </a:cubicBezTo>
                <a:cubicBezTo>
                  <a:pt x="94" y="134"/>
                  <a:pt x="94" y="134"/>
                  <a:pt x="94" y="134"/>
                </a:cubicBezTo>
                <a:cubicBezTo>
                  <a:pt x="95" y="135"/>
                  <a:pt x="95" y="135"/>
                  <a:pt x="95" y="135"/>
                </a:cubicBezTo>
                <a:cubicBezTo>
                  <a:pt x="94" y="135"/>
                  <a:pt x="94" y="135"/>
                  <a:pt x="94" y="135"/>
                </a:cubicBezTo>
                <a:close/>
                <a:moveTo>
                  <a:pt x="94" y="136"/>
                </a:moveTo>
                <a:cubicBezTo>
                  <a:pt x="94" y="136"/>
                  <a:pt x="94" y="136"/>
                  <a:pt x="94" y="136"/>
                </a:cubicBezTo>
                <a:cubicBezTo>
                  <a:pt x="94" y="137"/>
                  <a:pt x="94" y="137"/>
                  <a:pt x="94" y="137"/>
                </a:cubicBezTo>
                <a:cubicBezTo>
                  <a:pt x="96" y="139"/>
                  <a:pt x="96" y="139"/>
                  <a:pt x="96" y="139"/>
                </a:cubicBezTo>
                <a:cubicBezTo>
                  <a:pt x="96" y="140"/>
                  <a:pt x="96" y="140"/>
                  <a:pt x="96" y="140"/>
                </a:cubicBezTo>
                <a:cubicBezTo>
                  <a:pt x="94" y="138"/>
                  <a:pt x="94" y="138"/>
                  <a:pt x="94" y="138"/>
                </a:cubicBezTo>
                <a:cubicBezTo>
                  <a:pt x="93" y="137"/>
                  <a:pt x="93" y="137"/>
                  <a:pt x="93" y="137"/>
                </a:cubicBezTo>
                <a:cubicBezTo>
                  <a:pt x="93" y="136"/>
                  <a:pt x="93" y="136"/>
                  <a:pt x="93" y="136"/>
                </a:cubicBezTo>
                <a:cubicBezTo>
                  <a:pt x="93" y="136"/>
                  <a:pt x="94" y="136"/>
                  <a:pt x="94" y="136"/>
                </a:cubicBezTo>
                <a:close/>
                <a:moveTo>
                  <a:pt x="159" y="114"/>
                </a:moveTo>
                <a:cubicBezTo>
                  <a:pt x="158" y="116"/>
                  <a:pt x="158" y="116"/>
                  <a:pt x="158" y="116"/>
                </a:cubicBezTo>
                <a:cubicBezTo>
                  <a:pt x="158" y="119"/>
                  <a:pt x="158" y="119"/>
                  <a:pt x="158" y="119"/>
                </a:cubicBezTo>
                <a:cubicBezTo>
                  <a:pt x="157" y="118"/>
                  <a:pt x="157" y="118"/>
                  <a:pt x="157" y="118"/>
                </a:cubicBezTo>
                <a:cubicBezTo>
                  <a:pt x="157" y="117"/>
                  <a:pt x="157" y="117"/>
                  <a:pt x="157" y="117"/>
                </a:cubicBezTo>
                <a:cubicBezTo>
                  <a:pt x="156" y="117"/>
                  <a:pt x="156" y="117"/>
                  <a:pt x="156" y="117"/>
                </a:cubicBezTo>
                <a:cubicBezTo>
                  <a:pt x="155" y="117"/>
                  <a:pt x="155" y="117"/>
                  <a:pt x="155" y="117"/>
                </a:cubicBezTo>
                <a:cubicBezTo>
                  <a:pt x="154" y="116"/>
                  <a:pt x="154" y="116"/>
                  <a:pt x="154" y="116"/>
                </a:cubicBezTo>
                <a:cubicBezTo>
                  <a:pt x="154" y="116"/>
                  <a:pt x="154" y="116"/>
                  <a:pt x="154" y="116"/>
                </a:cubicBezTo>
                <a:cubicBezTo>
                  <a:pt x="157" y="112"/>
                  <a:pt x="157" y="112"/>
                  <a:pt x="157" y="112"/>
                </a:cubicBezTo>
                <a:cubicBezTo>
                  <a:pt x="158" y="111"/>
                  <a:pt x="158" y="111"/>
                  <a:pt x="158" y="111"/>
                </a:cubicBezTo>
                <a:cubicBezTo>
                  <a:pt x="159" y="112"/>
                  <a:pt x="159" y="112"/>
                  <a:pt x="159" y="112"/>
                </a:cubicBezTo>
                <a:cubicBezTo>
                  <a:pt x="159" y="114"/>
                  <a:pt x="159" y="114"/>
                  <a:pt x="159" y="114"/>
                </a:cubicBezTo>
                <a:close/>
                <a:moveTo>
                  <a:pt x="160" y="114"/>
                </a:moveTo>
                <a:cubicBezTo>
                  <a:pt x="160" y="114"/>
                  <a:pt x="161" y="114"/>
                  <a:pt x="161" y="114"/>
                </a:cubicBezTo>
                <a:cubicBezTo>
                  <a:pt x="161" y="113"/>
                  <a:pt x="161" y="113"/>
                  <a:pt x="161" y="113"/>
                </a:cubicBezTo>
                <a:cubicBezTo>
                  <a:pt x="160" y="112"/>
                  <a:pt x="160" y="112"/>
                  <a:pt x="160" y="112"/>
                </a:cubicBezTo>
                <a:cubicBezTo>
                  <a:pt x="160" y="111"/>
                  <a:pt x="160" y="111"/>
                  <a:pt x="160" y="111"/>
                </a:cubicBezTo>
                <a:cubicBezTo>
                  <a:pt x="159" y="110"/>
                  <a:pt x="159" y="110"/>
                  <a:pt x="159" y="110"/>
                </a:cubicBezTo>
                <a:cubicBezTo>
                  <a:pt x="160" y="110"/>
                  <a:pt x="160" y="110"/>
                  <a:pt x="160" y="110"/>
                </a:cubicBezTo>
                <a:cubicBezTo>
                  <a:pt x="162" y="110"/>
                  <a:pt x="162" y="110"/>
                  <a:pt x="162" y="110"/>
                </a:cubicBezTo>
                <a:cubicBezTo>
                  <a:pt x="165" y="111"/>
                  <a:pt x="165" y="111"/>
                  <a:pt x="165" y="111"/>
                </a:cubicBezTo>
                <a:cubicBezTo>
                  <a:pt x="165" y="112"/>
                  <a:pt x="165" y="112"/>
                  <a:pt x="165" y="112"/>
                </a:cubicBezTo>
                <a:cubicBezTo>
                  <a:pt x="163" y="112"/>
                  <a:pt x="163" y="112"/>
                  <a:pt x="163" y="112"/>
                </a:cubicBezTo>
                <a:cubicBezTo>
                  <a:pt x="161" y="115"/>
                  <a:pt x="161" y="115"/>
                  <a:pt x="161" y="115"/>
                </a:cubicBezTo>
                <a:cubicBezTo>
                  <a:pt x="160" y="114"/>
                  <a:pt x="160" y="114"/>
                  <a:pt x="160" y="114"/>
                </a:cubicBezTo>
                <a:close/>
                <a:moveTo>
                  <a:pt x="172" y="106"/>
                </a:moveTo>
                <a:cubicBezTo>
                  <a:pt x="173" y="106"/>
                  <a:pt x="173" y="106"/>
                  <a:pt x="173" y="106"/>
                </a:cubicBezTo>
                <a:cubicBezTo>
                  <a:pt x="174" y="106"/>
                  <a:pt x="174" y="106"/>
                  <a:pt x="174" y="106"/>
                </a:cubicBezTo>
                <a:cubicBezTo>
                  <a:pt x="175" y="107"/>
                  <a:pt x="175" y="107"/>
                  <a:pt x="175" y="107"/>
                </a:cubicBezTo>
                <a:cubicBezTo>
                  <a:pt x="174" y="108"/>
                  <a:pt x="174" y="108"/>
                  <a:pt x="174" y="108"/>
                </a:cubicBezTo>
                <a:cubicBezTo>
                  <a:pt x="174" y="108"/>
                  <a:pt x="174" y="108"/>
                  <a:pt x="174" y="108"/>
                </a:cubicBezTo>
                <a:cubicBezTo>
                  <a:pt x="172" y="106"/>
                  <a:pt x="172" y="106"/>
                  <a:pt x="172" y="106"/>
                </a:cubicBezTo>
                <a:close/>
                <a:moveTo>
                  <a:pt x="236" y="167"/>
                </a:moveTo>
                <a:cubicBezTo>
                  <a:pt x="237" y="166"/>
                  <a:pt x="237" y="166"/>
                  <a:pt x="237" y="166"/>
                </a:cubicBezTo>
                <a:cubicBezTo>
                  <a:pt x="238" y="167"/>
                  <a:pt x="238" y="167"/>
                  <a:pt x="238" y="167"/>
                </a:cubicBezTo>
                <a:cubicBezTo>
                  <a:pt x="237" y="167"/>
                  <a:pt x="237" y="167"/>
                  <a:pt x="237" y="167"/>
                </a:cubicBezTo>
                <a:cubicBezTo>
                  <a:pt x="236" y="167"/>
                  <a:pt x="236" y="167"/>
                  <a:pt x="236" y="167"/>
                </a:cubicBezTo>
                <a:close/>
                <a:moveTo>
                  <a:pt x="230" y="186"/>
                </a:moveTo>
                <a:cubicBezTo>
                  <a:pt x="231" y="185"/>
                  <a:pt x="231" y="185"/>
                  <a:pt x="231" y="185"/>
                </a:cubicBezTo>
                <a:cubicBezTo>
                  <a:pt x="232" y="186"/>
                  <a:pt x="232" y="186"/>
                  <a:pt x="232" y="186"/>
                </a:cubicBezTo>
                <a:cubicBezTo>
                  <a:pt x="230" y="186"/>
                  <a:pt x="230" y="186"/>
                  <a:pt x="230" y="186"/>
                </a:cubicBezTo>
                <a:close/>
                <a:moveTo>
                  <a:pt x="244" y="182"/>
                </a:moveTo>
                <a:cubicBezTo>
                  <a:pt x="245" y="182"/>
                  <a:pt x="245" y="182"/>
                  <a:pt x="245" y="182"/>
                </a:cubicBezTo>
                <a:cubicBezTo>
                  <a:pt x="246" y="182"/>
                  <a:pt x="246" y="182"/>
                  <a:pt x="246" y="182"/>
                </a:cubicBezTo>
                <a:cubicBezTo>
                  <a:pt x="245" y="183"/>
                  <a:pt x="245" y="183"/>
                  <a:pt x="245" y="183"/>
                </a:cubicBezTo>
                <a:cubicBezTo>
                  <a:pt x="244" y="183"/>
                  <a:pt x="244" y="183"/>
                  <a:pt x="244" y="183"/>
                </a:cubicBezTo>
                <a:cubicBezTo>
                  <a:pt x="244" y="182"/>
                  <a:pt x="244" y="182"/>
                  <a:pt x="244" y="182"/>
                </a:cubicBezTo>
                <a:close/>
                <a:moveTo>
                  <a:pt x="234" y="170"/>
                </a:moveTo>
                <a:cubicBezTo>
                  <a:pt x="234" y="169"/>
                  <a:pt x="234" y="169"/>
                  <a:pt x="234" y="169"/>
                </a:cubicBezTo>
                <a:cubicBezTo>
                  <a:pt x="235" y="169"/>
                  <a:pt x="235" y="169"/>
                  <a:pt x="235" y="169"/>
                </a:cubicBezTo>
                <a:cubicBezTo>
                  <a:pt x="235" y="170"/>
                  <a:pt x="235" y="170"/>
                  <a:pt x="235" y="170"/>
                </a:cubicBezTo>
                <a:cubicBezTo>
                  <a:pt x="234" y="170"/>
                  <a:pt x="234" y="170"/>
                  <a:pt x="234" y="170"/>
                </a:cubicBezTo>
                <a:close/>
                <a:moveTo>
                  <a:pt x="235" y="175"/>
                </a:moveTo>
                <a:cubicBezTo>
                  <a:pt x="235" y="173"/>
                  <a:pt x="235" y="173"/>
                  <a:pt x="235" y="173"/>
                </a:cubicBezTo>
                <a:cubicBezTo>
                  <a:pt x="236" y="172"/>
                  <a:pt x="236" y="172"/>
                  <a:pt x="236" y="172"/>
                </a:cubicBezTo>
                <a:cubicBezTo>
                  <a:pt x="237" y="172"/>
                  <a:pt x="237" y="172"/>
                  <a:pt x="237" y="172"/>
                </a:cubicBezTo>
                <a:cubicBezTo>
                  <a:pt x="237" y="174"/>
                  <a:pt x="237" y="174"/>
                  <a:pt x="237" y="174"/>
                </a:cubicBezTo>
                <a:cubicBezTo>
                  <a:pt x="238" y="174"/>
                  <a:pt x="238" y="174"/>
                  <a:pt x="238" y="174"/>
                </a:cubicBezTo>
                <a:cubicBezTo>
                  <a:pt x="238" y="174"/>
                  <a:pt x="238" y="174"/>
                  <a:pt x="238" y="174"/>
                </a:cubicBezTo>
                <a:cubicBezTo>
                  <a:pt x="237" y="175"/>
                  <a:pt x="237" y="175"/>
                  <a:pt x="237" y="175"/>
                </a:cubicBezTo>
                <a:cubicBezTo>
                  <a:pt x="235" y="175"/>
                  <a:pt x="235" y="175"/>
                  <a:pt x="235" y="175"/>
                </a:cubicBezTo>
                <a:close/>
                <a:moveTo>
                  <a:pt x="225" y="180"/>
                </a:moveTo>
                <a:cubicBezTo>
                  <a:pt x="226" y="179"/>
                  <a:pt x="226" y="179"/>
                  <a:pt x="226" y="179"/>
                </a:cubicBezTo>
                <a:cubicBezTo>
                  <a:pt x="227" y="179"/>
                  <a:pt x="227" y="179"/>
                  <a:pt x="227" y="179"/>
                </a:cubicBezTo>
                <a:cubicBezTo>
                  <a:pt x="227" y="178"/>
                  <a:pt x="227" y="178"/>
                  <a:pt x="227" y="178"/>
                </a:cubicBezTo>
                <a:cubicBezTo>
                  <a:pt x="229" y="177"/>
                  <a:pt x="229" y="177"/>
                  <a:pt x="229" y="177"/>
                </a:cubicBezTo>
                <a:cubicBezTo>
                  <a:pt x="230" y="176"/>
                  <a:pt x="230" y="176"/>
                  <a:pt x="230" y="176"/>
                </a:cubicBezTo>
                <a:cubicBezTo>
                  <a:pt x="232" y="175"/>
                  <a:pt x="232" y="175"/>
                  <a:pt x="232" y="175"/>
                </a:cubicBezTo>
                <a:cubicBezTo>
                  <a:pt x="232" y="175"/>
                  <a:pt x="232" y="175"/>
                  <a:pt x="232" y="175"/>
                </a:cubicBezTo>
                <a:cubicBezTo>
                  <a:pt x="233" y="173"/>
                  <a:pt x="233" y="173"/>
                  <a:pt x="233" y="173"/>
                </a:cubicBezTo>
                <a:cubicBezTo>
                  <a:pt x="234" y="174"/>
                  <a:pt x="234" y="174"/>
                  <a:pt x="234" y="174"/>
                </a:cubicBezTo>
                <a:cubicBezTo>
                  <a:pt x="233" y="174"/>
                  <a:pt x="233" y="174"/>
                  <a:pt x="233" y="174"/>
                </a:cubicBezTo>
                <a:cubicBezTo>
                  <a:pt x="234" y="175"/>
                  <a:pt x="234" y="175"/>
                  <a:pt x="234" y="175"/>
                </a:cubicBezTo>
                <a:cubicBezTo>
                  <a:pt x="233" y="176"/>
                  <a:pt x="233" y="176"/>
                  <a:pt x="233" y="176"/>
                </a:cubicBezTo>
                <a:cubicBezTo>
                  <a:pt x="232" y="176"/>
                  <a:pt x="232" y="176"/>
                  <a:pt x="232" y="176"/>
                </a:cubicBezTo>
                <a:cubicBezTo>
                  <a:pt x="230" y="178"/>
                  <a:pt x="230" y="178"/>
                  <a:pt x="230" y="178"/>
                </a:cubicBezTo>
                <a:cubicBezTo>
                  <a:pt x="229" y="179"/>
                  <a:pt x="229" y="179"/>
                  <a:pt x="229" y="179"/>
                </a:cubicBezTo>
                <a:cubicBezTo>
                  <a:pt x="229" y="179"/>
                  <a:pt x="229" y="179"/>
                  <a:pt x="229" y="179"/>
                </a:cubicBezTo>
                <a:cubicBezTo>
                  <a:pt x="229" y="180"/>
                  <a:pt x="229" y="180"/>
                  <a:pt x="229" y="180"/>
                </a:cubicBezTo>
                <a:cubicBezTo>
                  <a:pt x="227" y="180"/>
                  <a:pt x="227" y="180"/>
                  <a:pt x="227" y="180"/>
                </a:cubicBezTo>
                <a:cubicBezTo>
                  <a:pt x="227" y="180"/>
                  <a:pt x="227" y="180"/>
                  <a:pt x="227" y="180"/>
                </a:cubicBezTo>
                <a:cubicBezTo>
                  <a:pt x="225" y="180"/>
                  <a:pt x="225" y="180"/>
                  <a:pt x="225" y="180"/>
                </a:cubicBezTo>
                <a:cubicBezTo>
                  <a:pt x="225" y="180"/>
                  <a:pt x="225" y="180"/>
                  <a:pt x="225" y="180"/>
                </a:cubicBezTo>
                <a:close/>
                <a:moveTo>
                  <a:pt x="225" y="177"/>
                </a:moveTo>
                <a:cubicBezTo>
                  <a:pt x="227" y="176"/>
                  <a:pt x="227" y="176"/>
                  <a:pt x="227" y="176"/>
                </a:cubicBezTo>
                <a:cubicBezTo>
                  <a:pt x="227" y="177"/>
                  <a:pt x="227" y="177"/>
                  <a:pt x="227" y="177"/>
                </a:cubicBezTo>
                <a:cubicBezTo>
                  <a:pt x="226" y="178"/>
                  <a:pt x="226" y="178"/>
                  <a:pt x="226" y="178"/>
                </a:cubicBezTo>
                <a:cubicBezTo>
                  <a:pt x="226" y="178"/>
                  <a:pt x="225" y="177"/>
                  <a:pt x="225" y="177"/>
                </a:cubicBezTo>
                <a:close/>
                <a:moveTo>
                  <a:pt x="228" y="174"/>
                </a:moveTo>
                <a:cubicBezTo>
                  <a:pt x="230" y="173"/>
                  <a:pt x="230" y="173"/>
                  <a:pt x="230" y="173"/>
                </a:cubicBezTo>
                <a:cubicBezTo>
                  <a:pt x="230" y="172"/>
                  <a:pt x="230" y="172"/>
                  <a:pt x="230" y="172"/>
                </a:cubicBezTo>
                <a:cubicBezTo>
                  <a:pt x="231" y="171"/>
                  <a:pt x="231" y="171"/>
                  <a:pt x="231" y="171"/>
                </a:cubicBezTo>
                <a:cubicBezTo>
                  <a:pt x="232" y="171"/>
                  <a:pt x="232" y="171"/>
                  <a:pt x="232" y="171"/>
                </a:cubicBezTo>
                <a:cubicBezTo>
                  <a:pt x="232" y="171"/>
                  <a:pt x="232" y="171"/>
                  <a:pt x="232" y="171"/>
                </a:cubicBezTo>
                <a:cubicBezTo>
                  <a:pt x="231" y="172"/>
                  <a:pt x="231" y="172"/>
                  <a:pt x="231" y="172"/>
                </a:cubicBezTo>
                <a:cubicBezTo>
                  <a:pt x="230" y="173"/>
                  <a:pt x="230" y="173"/>
                  <a:pt x="230" y="173"/>
                </a:cubicBezTo>
                <a:cubicBezTo>
                  <a:pt x="229" y="174"/>
                  <a:pt x="229" y="174"/>
                  <a:pt x="229" y="174"/>
                </a:cubicBezTo>
                <a:cubicBezTo>
                  <a:pt x="229" y="175"/>
                  <a:pt x="229" y="175"/>
                  <a:pt x="229" y="175"/>
                </a:cubicBezTo>
                <a:cubicBezTo>
                  <a:pt x="228" y="175"/>
                  <a:pt x="228" y="175"/>
                  <a:pt x="228" y="175"/>
                </a:cubicBezTo>
                <a:cubicBezTo>
                  <a:pt x="228" y="174"/>
                  <a:pt x="228" y="174"/>
                  <a:pt x="228" y="174"/>
                </a:cubicBezTo>
                <a:close/>
                <a:moveTo>
                  <a:pt x="230" y="166"/>
                </a:moveTo>
                <a:cubicBezTo>
                  <a:pt x="231" y="165"/>
                  <a:pt x="231" y="165"/>
                  <a:pt x="231" y="165"/>
                </a:cubicBezTo>
                <a:cubicBezTo>
                  <a:pt x="232" y="166"/>
                  <a:pt x="232" y="166"/>
                  <a:pt x="232" y="166"/>
                </a:cubicBezTo>
                <a:cubicBezTo>
                  <a:pt x="231" y="166"/>
                  <a:pt x="231" y="166"/>
                  <a:pt x="231" y="166"/>
                </a:cubicBezTo>
                <a:cubicBezTo>
                  <a:pt x="232" y="167"/>
                  <a:pt x="232" y="167"/>
                  <a:pt x="232" y="167"/>
                </a:cubicBezTo>
                <a:cubicBezTo>
                  <a:pt x="231" y="168"/>
                  <a:pt x="231" y="168"/>
                  <a:pt x="231" y="168"/>
                </a:cubicBezTo>
                <a:cubicBezTo>
                  <a:pt x="230" y="166"/>
                  <a:pt x="230" y="166"/>
                  <a:pt x="230" y="166"/>
                </a:cubicBezTo>
                <a:close/>
                <a:moveTo>
                  <a:pt x="154" y="79"/>
                </a:moveTo>
                <a:cubicBezTo>
                  <a:pt x="154" y="79"/>
                  <a:pt x="155" y="79"/>
                  <a:pt x="155" y="79"/>
                </a:cubicBezTo>
                <a:cubicBezTo>
                  <a:pt x="156" y="79"/>
                  <a:pt x="156" y="79"/>
                  <a:pt x="156" y="79"/>
                </a:cubicBezTo>
                <a:cubicBezTo>
                  <a:pt x="155" y="80"/>
                  <a:pt x="155" y="80"/>
                  <a:pt x="155" y="80"/>
                </a:cubicBezTo>
                <a:cubicBezTo>
                  <a:pt x="154" y="79"/>
                  <a:pt x="154" y="79"/>
                  <a:pt x="154" y="79"/>
                </a:cubicBezTo>
                <a:close/>
                <a:moveTo>
                  <a:pt x="130" y="105"/>
                </a:moveTo>
                <a:cubicBezTo>
                  <a:pt x="131" y="103"/>
                  <a:pt x="131" y="103"/>
                  <a:pt x="131" y="103"/>
                </a:cubicBezTo>
                <a:cubicBezTo>
                  <a:pt x="131" y="102"/>
                  <a:pt x="131" y="102"/>
                  <a:pt x="131" y="102"/>
                </a:cubicBezTo>
                <a:cubicBezTo>
                  <a:pt x="129" y="101"/>
                  <a:pt x="129" y="101"/>
                  <a:pt x="129" y="101"/>
                </a:cubicBezTo>
                <a:cubicBezTo>
                  <a:pt x="130" y="100"/>
                  <a:pt x="130" y="100"/>
                  <a:pt x="130" y="100"/>
                </a:cubicBezTo>
                <a:cubicBezTo>
                  <a:pt x="129" y="98"/>
                  <a:pt x="129" y="98"/>
                  <a:pt x="129" y="98"/>
                </a:cubicBezTo>
                <a:cubicBezTo>
                  <a:pt x="128" y="97"/>
                  <a:pt x="128" y="97"/>
                  <a:pt x="128" y="97"/>
                </a:cubicBezTo>
                <a:cubicBezTo>
                  <a:pt x="126" y="96"/>
                  <a:pt x="126" y="96"/>
                  <a:pt x="126" y="96"/>
                </a:cubicBezTo>
                <a:cubicBezTo>
                  <a:pt x="125" y="98"/>
                  <a:pt x="125" y="98"/>
                  <a:pt x="125" y="98"/>
                </a:cubicBezTo>
                <a:cubicBezTo>
                  <a:pt x="124" y="98"/>
                  <a:pt x="124" y="98"/>
                  <a:pt x="124" y="98"/>
                </a:cubicBezTo>
                <a:cubicBezTo>
                  <a:pt x="123" y="96"/>
                  <a:pt x="123" y="96"/>
                  <a:pt x="123" y="96"/>
                </a:cubicBezTo>
                <a:cubicBezTo>
                  <a:pt x="123" y="94"/>
                  <a:pt x="123" y="94"/>
                  <a:pt x="123" y="94"/>
                </a:cubicBezTo>
                <a:cubicBezTo>
                  <a:pt x="126" y="92"/>
                  <a:pt x="126" y="92"/>
                  <a:pt x="126" y="92"/>
                </a:cubicBezTo>
                <a:cubicBezTo>
                  <a:pt x="127" y="89"/>
                  <a:pt x="127" y="89"/>
                  <a:pt x="127" y="89"/>
                </a:cubicBezTo>
                <a:cubicBezTo>
                  <a:pt x="127" y="89"/>
                  <a:pt x="127" y="89"/>
                  <a:pt x="127" y="89"/>
                </a:cubicBezTo>
                <a:cubicBezTo>
                  <a:pt x="127" y="92"/>
                  <a:pt x="127" y="92"/>
                  <a:pt x="127" y="92"/>
                </a:cubicBezTo>
                <a:cubicBezTo>
                  <a:pt x="127" y="93"/>
                  <a:pt x="127" y="93"/>
                  <a:pt x="127" y="93"/>
                </a:cubicBezTo>
                <a:cubicBezTo>
                  <a:pt x="129" y="93"/>
                  <a:pt x="129" y="93"/>
                  <a:pt x="129" y="93"/>
                </a:cubicBezTo>
                <a:cubicBezTo>
                  <a:pt x="129" y="94"/>
                  <a:pt x="129" y="94"/>
                  <a:pt x="129" y="94"/>
                </a:cubicBezTo>
                <a:cubicBezTo>
                  <a:pt x="130" y="94"/>
                  <a:pt x="130" y="94"/>
                  <a:pt x="130" y="94"/>
                </a:cubicBezTo>
                <a:cubicBezTo>
                  <a:pt x="131" y="94"/>
                  <a:pt x="131" y="94"/>
                  <a:pt x="131" y="94"/>
                </a:cubicBezTo>
                <a:cubicBezTo>
                  <a:pt x="133" y="94"/>
                  <a:pt x="133" y="94"/>
                  <a:pt x="133" y="94"/>
                </a:cubicBezTo>
                <a:cubicBezTo>
                  <a:pt x="134" y="95"/>
                  <a:pt x="134" y="95"/>
                  <a:pt x="134" y="95"/>
                </a:cubicBezTo>
                <a:cubicBezTo>
                  <a:pt x="134" y="96"/>
                  <a:pt x="134" y="96"/>
                  <a:pt x="134" y="96"/>
                </a:cubicBezTo>
                <a:cubicBezTo>
                  <a:pt x="133" y="96"/>
                  <a:pt x="133" y="96"/>
                  <a:pt x="133" y="96"/>
                </a:cubicBezTo>
                <a:cubicBezTo>
                  <a:pt x="134" y="98"/>
                  <a:pt x="134" y="98"/>
                  <a:pt x="134" y="98"/>
                </a:cubicBezTo>
                <a:cubicBezTo>
                  <a:pt x="135" y="99"/>
                  <a:pt x="135" y="99"/>
                  <a:pt x="135" y="99"/>
                </a:cubicBezTo>
                <a:cubicBezTo>
                  <a:pt x="135" y="100"/>
                  <a:pt x="135" y="100"/>
                  <a:pt x="135" y="100"/>
                </a:cubicBezTo>
                <a:cubicBezTo>
                  <a:pt x="138" y="102"/>
                  <a:pt x="138" y="102"/>
                  <a:pt x="138" y="102"/>
                </a:cubicBezTo>
                <a:cubicBezTo>
                  <a:pt x="138" y="104"/>
                  <a:pt x="138" y="104"/>
                  <a:pt x="138" y="104"/>
                </a:cubicBezTo>
                <a:cubicBezTo>
                  <a:pt x="137" y="104"/>
                  <a:pt x="137" y="104"/>
                  <a:pt x="137" y="104"/>
                </a:cubicBezTo>
                <a:cubicBezTo>
                  <a:pt x="135" y="103"/>
                  <a:pt x="135" y="103"/>
                  <a:pt x="135" y="103"/>
                </a:cubicBezTo>
                <a:cubicBezTo>
                  <a:pt x="135" y="103"/>
                  <a:pt x="135" y="103"/>
                  <a:pt x="135" y="103"/>
                </a:cubicBezTo>
                <a:cubicBezTo>
                  <a:pt x="134" y="104"/>
                  <a:pt x="134" y="104"/>
                  <a:pt x="134" y="104"/>
                </a:cubicBezTo>
                <a:cubicBezTo>
                  <a:pt x="133" y="104"/>
                  <a:pt x="133" y="104"/>
                  <a:pt x="133" y="104"/>
                </a:cubicBezTo>
                <a:cubicBezTo>
                  <a:pt x="131" y="106"/>
                  <a:pt x="131" y="106"/>
                  <a:pt x="131" y="106"/>
                </a:cubicBezTo>
                <a:cubicBezTo>
                  <a:pt x="130" y="105"/>
                  <a:pt x="130" y="105"/>
                  <a:pt x="130" y="105"/>
                </a:cubicBezTo>
                <a:close/>
                <a:moveTo>
                  <a:pt x="122" y="148"/>
                </a:moveTo>
                <a:cubicBezTo>
                  <a:pt x="123" y="148"/>
                  <a:pt x="123" y="148"/>
                  <a:pt x="123" y="148"/>
                </a:cubicBezTo>
                <a:cubicBezTo>
                  <a:pt x="125" y="148"/>
                  <a:pt x="125" y="148"/>
                  <a:pt x="125" y="148"/>
                </a:cubicBezTo>
                <a:cubicBezTo>
                  <a:pt x="126" y="148"/>
                  <a:pt x="126" y="148"/>
                  <a:pt x="126" y="148"/>
                </a:cubicBezTo>
                <a:cubicBezTo>
                  <a:pt x="127" y="148"/>
                  <a:pt x="127" y="148"/>
                  <a:pt x="127" y="148"/>
                </a:cubicBezTo>
                <a:cubicBezTo>
                  <a:pt x="128" y="147"/>
                  <a:pt x="128" y="147"/>
                  <a:pt x="128" y="147"/>
                </a:cubicBezTo>
                <a:cubicBezTo>
                  <a:pt x="130" y="147"/>
                  <a:pt x="130" y="147"/>
                  <a:pt x="130" y="147"/>
                </a:cubicBezTo>
                <a:cubicBezTo>
                  <a:pt x="130" y="148"/>
                  <a:pt x="130" y="148"/>
                  <a:pt x="130" y="148"/>
                </a:cubicBezTo>
                <a:cubicBezTo>
                  <a:pt x="131" y="149"/>
                  <a:pt x="131" y="149"/>
                  <a:pt x="131" y="149"/>
                </a:cubicBezTo>
                <a:cubicBezTo>
                  <a:pt x="131" y="150"/>
                  <a:pt x="131" y="150"/>
                  <a:pt x="131" y="150"/>
                </a:cubicBezTo>
                <a:cubicBezTo>
                  <a:pt x="130" y="152"/>
                  <a:pt x="130" y="152"/>
                  <a:pt x="130" y="152"/>
                </a:cubicBezTo>
                <a:cubicBezTo>
                  <a:pt x="130" y="153"/>
                  <a:pt x="130" y="153"/>
                  <a:pt x="130" y="153"/>
                </a:cubicBezTo>
                <a:cubicBezTo>
                  <a:pt x="128" y="153"/>
                  <a:pt x="128" y="153"/>
                  <a:pt x="128" y="153"/>
                </a:cubicBezTo>
                <a:cubicBezTo>
                  <a:pt x="127" y="153"/>
                  <a:pt x="127" y="153"/>
                  <a:pt x="127" y="153"/>
                </a:cubicBezTo>
                <a:cubicBezTo>
                  <a:pt x="126" y="153"/>
                  <a:pt x="126" y="153"/>
                  <a:pt x="126" y="153"/>
                </a:cubicBezTo>
                <a:cubicBezTo>
                  <a:pt x="125" y="153"/>
                  <a:pt x="125" y="153"/>
                  <a:pt x="125" y="153"/>
                </a:cubicBezTo>
                <a:cubicBezTo>
                  <a:pt x="124" y="152"/>
                  <a:pt x="124" y="152"/>
                  <a:pt x="124" y="152"/>
                </a:cubicBezTo>
                <a:cubicBezTo>
                  <a:pt x="122" y="150"/>
                  <a:pt x="122" y="150"/>
                  <a:pt x="122" y="150"/>
                </a:cubicBezTo>
                <a:cubicBezTo>
                  <a:pt x="122" y="148"/>
                  <a:pt x="122" y="148"/>
                  <a:pt x="122" y="148"/>
                </a:cubicBezTo>
                <a:close/>
                <a:moveTo>
                  <a:pt x="205" y="167"/>
                </a:moveTo>
                <a:cubicBezTo>
                  <a:pt x="207" y="165"/>
                  <a:pt x="207" y="165"/>
                  <a:pt x="207" y="165"/>
                </a:cubicBezTo>
                <a:cubicBezTo>
                  <a:pt x="208" y="165"/>
                  <a:pt x="208" y="165"/>
                  <a:pt x="208" y="165"/>
                </a:cubicBezTo>
                <a:cubicBezTo>
                  <a:pt x="208" y="166"/>
                  <a:pt x="208" y="166"/>
                  <a:pt x="208" y="166"/>
                </a:cubicBezTo>
                <a:cubicBezTo>
                  <a:pt x="206" y="167"/>
                  <a:pt x="206" y="167"/>
                  <a:pt x="206" y="167"/>
                </a:cubicBezTo>
                <a:cubicBezTo>
                  <a:pt x="205" y="167"/>
                  <a:pt x="205" y="167"/>
                  <a:pt x="205" y="167"/>
                </a:cubicBezTo>
                <a:close/>
                <a:moveTo>
                  <a:pt x="192" y="176"/>
                </a:moveTo>
                <a:cubicBezTo>
                  <a:pt x="193" y="176"/>
                  <a:pt x="193" y="176"/>
                  <a:pt x="193" y="176"/>
                </a:cubicBezTo>
                <a:cubicBezTo>
                  <a:pt x="194" y="176"/>
                  <a:pt x="194" y="176"/>
                  <a:pt x="194" y="176"/>
                </a:cubicBezTo>
                <a:cubicBezTo>
                  <a:pt x="193" y="177"/>
                  <a:pt x="193" y="177"/>
                  <a:pt x="193" y="177"/>
                </a:cubicBezTo>
                <a:cubicBezTo>
                  <a:pt x="192" y="176"/>
                  <a:pt x="192" y="176"/>
                  <a:pt x="192" y="176"/>
                </a:cubicBezTo>
                <a:close/>
                <a:moveTo>
                  <a:pt x="192" y="187"/>
                </a:moveTo>
                <a:cubicBezTo>
                  <a:pt x="192" y="186"/>
                  <a:pt x="192" y="186"/>
                  <a:pt x="192" y="186"/>
                </a:cubicBezTo>
                <a:cubicBezTo>
                  <a:pt x="193" y="187"/>
                  <a:pt x="193" y="187"/>
                  <a:pt x="193" y="187"/>
                </a:cubicBezTo>
                <a:cubicBezTo>
                  <a:pt x="193" y="188"/>
                  <a:pt x="193" y="188"/>
                  <a:pt x="193" y="188"/>
                </a:cubicBezTo>
                <a:cubicBezTo>
                  <a:pt x="192" y="188"/>
                  <a:pt x="192" y="188"/>
                  <a:pt x="192" y="188"/>
                </a:cubicBezTo>
                <a:cubicBezTo>
                  <a:pt x="191" y="188"/>
                  <a:pt x="191" y="188"/>
                  <a:pt x="191" y="188"/>
                </a:cubicBezTo>
                <a:cubicBezTo>
                  <a:pt x="192" y="187"/>
                  <a:pt x="192" y="187"/>
                  <a:pt x="192" y="187"/>
                </a:cubicBezTo>
                <a:close/>
                <a:moveTo>
                  <a:pt x="187" y="193"/>
                </a:moveTo>
                <a:cubicBezTo>
                  <a:pt x="186" y="192"/>
                  <a:pt x="186" y="192"/>
                  <a:pt x="186" y="192"/>
                </a:cubicBezTo>
                <a:cubicBezTo>
                  <a:pt x="187" y="192"/>
                  <a:pt x="187" y="192"/>
                  <a:pt x="187" y="192"/>
                </a:cubicBezTo>
                <a:cubicBezTo>
                  <a:pt x="188" y="192"/>
                  <a:pt x="188" y="192"/>
                  <a:pt x="188" y="192"/>
                </a:cubicBezTo>
                <a:cubicBezTo>
                  <a:pt x="188" y="191"/>
                  <a:pt x="188" y="191"/>
                  <a:pt x="188" y="191"/>
                </a:cubicBezTo>
                <a:cubicBezTo>
                  <a:pt x="189" y="192"/>
                  <a:pt x="189" y="192"/>
                  <a:pt x="189" y="192"/>
                </a:cubicBezTo>
                <a:cubicBezTo>
                  <a:pt x="190" y="191"/>
                  <a:pt x="190" y="191"/>
                  <a:pt x="190" y="191"/>
                </a:cubicBezTo>
                <a:cubicBezTo>
                  <a:pt x="189" y="190"/>
                  <a:pt x="189" y="190"/>
                  <a:pt x="189" y="190"/>
                </a:cubicBezTo>
                <a:cubicBezTo>
                  <a:pt x="190" y="189"/>
                  <a:pt x="190" y="189"/>
                  <a:pt x="190" y="189"/>
                </a:cubicBezTo>
                <a:cubicBezTo>
                  <a:pt x="191" y="189"/>
                  <a:pt x="191" y="189"/>
                  <a:pt x="191" y="189"/>
                </a:cubicBezTo>
                <a:cubicBezTo>
                  <a:pt x="192" y="189"/>
                  <a:pt x="192" y="189"/>
                  <a:pt x="192" y="189"/>
                </a:cubicBezTo>
                <a:cubicBezTo>
                  <a:pt x="191" y="190"/>
                  <a:pt x="191" y="190"/>
                  <a:pt x="191" y="190"/>
                </a:cubicBezTo>
                <a:cubicBezTo>
                  <a:pt x="192" y="190"/>
                  <a:pt x="192" y="190"/>
                  <a:pt x="192" y="190"/>
                </a:cubicBezTo>
                <a:cubicBezTo>
                  <a:pt x="192" y="190"/>
                  <a:pt x="192" y="190"/>
                  <a:pt x="192" y="190"/>
                </a:cubicBezTo>
                <a:cubicBezTo>
                  <a:pt x="193" y="190"/>
                  <a:pt x="193" y="190"/>
                  <a:pt x="193" y="190"/>
                </a:cubicBezTo>
                <a:cubicBezTo>
                  <a:pt x="194" y="191"/>
                  <a:pt x="194" y="191"/>
                  <a:pt x="194" y="191"/>
                </a:cubicBezTo>
                <a:cubicBezTo>
                  <a:pt x="193" y="191"/>
                  <a:pt x="193" y="191"/>
                  <a:pt x="193" y="191"/>
                </a:cubicBezTo>
                <a:cubicBezTo>
                  <a:pt x="193" y="192"/>
                  <a:pt x="193" y="192"/>
                  <a:pt x="193" y="192"/>
                </a:cubicBezTo>
                <a:cubicBezTo>
                  <a:pt x="193" y="192"/>
                  <a:pt x="193" y="192"/>
                  <a:pt x="193" y="192"/>
                </a:cubicBezTo>
                <a:cubicBezTo>
                  <a:pt x="194" y="193"/>
                  <a:pt x="194" y="193"/>
                  <a:pt x="194" y="193"/>
                </a:cubicBezTo>
                <a:cubicBezTo>
                  <a:pt x="193" y="193"/>
                  <a:pt x="193" y="193"/>
                  <a:pt x="193" y="193"/>
                </a:cubicBezTo>
                <a:cubicBezTo>
                  <a:pt x="192" y="193"/>
                  <a:pt x="192" y="193"/>
                  <a:pt x="192" y="193"/>
                </a:cubicBezTo>
                <a:cubicBezTo>
                  <a:pt x="191" y="194"/>
                  <a:pt x="191" y="194"/>
                  <a:pt x="191" y="194"/>
                </a:cubicBezTo>
                <a:cubicBezTo>
                  <a:pt x="190" y="194"/>
                  <a:pt x="190" y="194"/>
                  <a:pt x="190" y="194"/>
                </a:cubicBezTo>
                <a:cubicBezTo>
                  <a:pt x="190" y="193"/>
                  <a:pt x="190" y="193"/>
                  <a:pt x="190" y="193"/>
                </a:cubicBezTo>
                <a:cubicBezTo>
                  <a:pt x="189" y="194"/>
                  <a:pt x="189" y="194"/>
                  <a:pt x="189" y="194"/>
                </a:cubicBezTo>
                <a:cubicBezTo>
                  <a:pt x="188" y="194"/>
                  <a:pt x="188" y="194"/>
                  <a:pt x="188" y="194"/>
                </a:cubicBezTo>
                <a:cubicBezTo>
                  <a:pt x="187" y="193"/>
                  <a:pt x="187" y="193"/>
                  <a:pt x="187" y="193"/>
                </a:cubicBezTo>
                <a:close/>
                <a:moveTo>
                  <a:pt x="174" y="206"/>
                </a:moveTo>
                <a:cubicBezTo>
                  <a:pt x="173" y="206"/>
                  <a:pt x="173" y="206"/>
                  <a:pt x="173" y="206"/>
                </a:cubicBezTo>
                <a:cubicBezTo>
                  <a:pt x="173" y="207"/>
                  <a:pt x="173" y="207"/>
                  <a:pt x="173" y="207"/>
                </a:cubicBezTo>
                <a:cubicBezTo>
                  <a:pt x="172" y="206"/>
                  <a:pt x="172" y="206"/>
                  <a:pt x="172" y="206"/>
                </a:cubicBezTo>
                <a:cubicBezTo>
                  <a:pt x="172" y="205"/>
                  <a:pt x="172" y="205"/>
                  <a:pt x="172" y="205"/>
                </a:cubicBezTo>
                <a:cubicBezTo>
                  <a:pt x="172" y="204"/>
                  <a:pt x="172" y="204"/>
                  <a:pt x="172" y="204"/>
                </a:cubicBezTo>
                <a:cubicBezTo>
                  <a:pt x="173" y="203"/>
                  <a:pt x="173" y="203"/>
                  <a:pt x="173" y="203"/>
                </a:cubicBezTo>
                <a:cubicBezTo>
                  <a:pt x="173" y="201"/>
                  <a:pt x="173" y="201"/>
                  <a:pt x="173" y="201"/>
                </a:cubicBezTo>
                <a:cubicBezTo>
                  <a:pt x="172" y="201"/>
                  <a:pt x="172" y="201"/>
                  <a:pt x="172" y="201"/>
                </a:cubicBezTo>
                <a:cubicBezTo>
                  <a:pt x="172" y="200"/>
                  <a:pt x="172" y="200"/>
                  <a:pt x="172" y="200"/>
                </a:cubicBezTo>
                <a:cubicBezTo>
                  <a:pt x="174" y="199"/>
                  <a:pt x="174" y="199"/>
                  <a:pt x="174" y="199"/>
                </a:cubicBezTo>
                <a:cubicBezTo>
                  <a:pt x="177" y="197"/>
                  <a:pt x="177" y="197"/>
                  <a:pt x="177" y="197"/>
                </a:cubicBezTo>
                <a:cubicBezTo>
                  <a:pt x="178" y="197"/>
                  <a:pt x="178" y="197"/>
                  <a:pt x="178" y="197"/>
                </a:cubicBezTo>
                <a:cubicBezTo>
                  <a:pt x="179" y="197"/>
                  <a:pt x="179" y="197"/>
                  <a:pt x="179" y="197"/>
                </a:cubicBezTo>
                <a:cubicBezTo>
                  <a:pt x="179" y="200"/>
                  <a:pt x="179" y="200"/>
                  <a:pt x="179" y="200"/>
                </a:cubicBezTo>
                <a:cubicBezTo>
                  <a:pt x="179" y="200"/>
                  <a:pt x="179" y="200"/>
                  <a:pt x="179" y="200"/>
                </a:cubicBezTo>
                <a:cubicBezTo>
                  <a:pt x="180" y="199"/>
                  <a:pt x="180" y="199"/>
                  <a:pt x="180" y="199"/>
                </a:cubicBezTo>
                <a:cubicBezTo>
                  <a:pt x="180" y="198"/>
                  <a:pt x="180" y="198"/>
                  <a:pt x="180" y="198"/>
                </a:cubicBezTo>
                <a:cubicBezTo>
                  <a:pt x="180" y="197"/>
                  <a:pt x="180" y="197"/>
                  <a:pt x="180" y="197"/>
                </a:cubicBezTo>
                <a:cubicBezTo>
                  <a:pt x="181" y="198"/>
                  <a:pt x="181" y="198"/>
                  <a:pt x="181" y="198"/>
                </a:cubicBezTo>
                <a:cubicBezTo>
                  <a:pt x="182" y="197"/>
                  <a:pt x="182" y="197"/>
                  <a:pt x="182" y="197"/>
                </a:cubicBezTo>
                <a:cubicBezTo>
                  <a:pt x="180" y="196"/>
                  <a:pt x="180" y="196"/>
                  <a:pt x="180" y="196"/>
                </a:cubicBezTo>
                <a:cubicBezTo>
                  <a:pt x="180" y="196"/>
                  <a:pt x="180" y="196"/>
                  <a:pt x="180" y="196"/>
                </a:cubicBezTo>
                <a:cubicBezTo>
                  <a:pt x="181" y="194"/>
                  <a:pt x="181" y="194"/>
                  <a:pt x="181" y="194"/>
                </a:cubicBezTo>
                <a:cubicBezTo>
                  <a:pt x="182" y="194"/>
                  <a:pt x="182" y="194"/>
                  <a:pt x="182" y="194"/>
                </a:cubicBezTo>
                <a:cubicBezTo>
                  <a:pt x="183" y="195"/>
                  <a:pt x="183" y="195"/>
                  <a:pt x="183" y="195"/>
                </a:cubicBezTo>
                <a:cubicBezTo>
                  <a:pt x="183" y="196"/>
                  <a:pt x="183" y="196"/>
                  <a:pt x="183" y="196"/>
                </a:cubicBezTo>
                <a:cubicBezTo>
                  <a:pt x="182" y="197"/>
                  <a:pt x="182" y="197"/>
                  <a:pt x="182" y="197"/>
                </a:cubicBezTo>
                <a:cubicBezTo>
                  <a:pt x="182" y="198"/>
                  <a:pt x="182" y="198"/>
                  <a:pt x="182" y="198"/>
                </a:cubicBezTo>
                <a:cubicBezTo>
                  <a:pt x="183" y="197"/>
                  <a:pt x="183" y="197"/>
                  <a:pt x="183" y="197"/>
                </a:cubicBezTo>
                <a:cubicBezTo>
                  <a:pt x="184" y="196"/>
                  <a:pt x="184" y="196"/>
                  <a:pt x="184" y="196"/>
                </a:cubicBezTo>
                <a:cubicBezTo>
                  <a:pt x="184" y="196"/>
                  <a:pt x="184" y="196"/>
                  <a:pt x="184" y="196"/>
                </a:cubicBezTo>
                <a:cubicBezTo>
                  <a:pt x="185" y="197"/>
                  <a:pt x="185" y="197"/>
                  <a:pt x="185" y="197"/>
                </a:cubicBezTo>
                <a:cubicBezTo>
                  <a:pt x="185" y="195"/>
                  <a:pt x="185" y="195"/>
                  <a:pt x="185" y="195"/>
                </a:cubicBezTo>
                <a:cubicBezTo>
                  <a:pt x="185" y="195"/>
                  <a:pt x="185" y="195"/>
                  <a:pt x="185" y="195"/>
                </a:cubicBezTo>
                <a:cubicBezTo>
                  <a:pt x="185" y="194"/>
                  <a:pt x="185" y="194"/>
                  <a:pt x="185" y="194"/>
                </a:cubicBezTo>
                <a:cubicBezTo>
                  <a:pt x="186" y="195"/>
                  <a:pt x="186" y="195"/>
                  <a:pt x="186" y="195"/>
                </a:cubicBezTo>
                <a:cubicBezTo>
                  <a:pt x="186" y="196"/>
                  <a:pt x="186" y="196"/>
                  <a:pt x="186" y="196"/>
                </a:cubicBezTo>
                <a:cubicBezTo>
                  <a:pt x="186" y="196"/>
                  <a:pt x="186" y="196"/>
                  <a:pt x="186" y="196"/>
                </a:cubicBezTo>
                <a:cubicBezTo>
                  <a:pt x="186" y="197"/>
                  <a:pt x="186" y="197"/>
                  <a:pt x="186" y="197"/>
                </a:cubicBezTo>
                <a:cubicBezTo>
                  <a:pt x="187" y="197"/>
                  <a:pt x="187" y="197"/>
                  <a:pt x="187" y="197"/>
                </a:cubicBezTo>
                <a:cubicBezTo>
                  <a:pt x="188" y="196"/>
                  <a:pt x="188" y="196"/>
                  <a:pt x="188" y="196"/>
                </a:cubicBezTo>
                <a:cubicBezTo>
                  <a:pt x="189" y="195"/>
                  <a:pt x="189" y="195"/>
                  <a:pt x="189" y="195"/>
                </a:cubicBezTo>
                <a:cubicBezTo>
                  <a:pt x="190" y="196"/>
                  <a:pt x="190" y="196"/>
                  <a:pt x="190" y="196"/>
                </a:cubicBezTo>
                <a:cubicBezTo>
                  <a:pt x="190" y="197"/>
                  <a:pt x="190" y="197"/>
                  <a:pt x="190" y="197"/>
                </a:cubicBezTo>
                <a:cubicBezTo>
                  <a:pt x="189" y="197"/>
                  <a:pt x="189" y="197"/>
                  <a:pt x="189" y="197"/>
                </a:cubicBezTo>
                <a:cubicBezTo>
                  <a:pt x="188" y="197"/>
                  <a:pt x="188" y="197"/>
                  <a:pt x="188" y="197"/>
                </a:cubicBezTo>
                <a:cubicBezTo>
                  <a:pt x="188" y="198"/>
                  <a:pt x="188" y="198"/>
                  <a:pt x="188" y="198"/>
                </a:cubicBezTo>
                <a:cubicBezTo>
                  <a:pt x="189" y="198"/>
                  <a:pt x="189" y="198"/>
                  <a:pt x="189" y="198"/>
                </a:cubicBezTo>
                <a:cubicBezTo>
                  <a:pt x="189" y="199"/>
                  <a:pt x="189" y="199"/>
                  <a:pt x="189" y="199"/>
                </a:cubicBezTo>
                <a:cubicBezTo>
                  <a:pt x="188" y="201"/>
                  <a:pt x="188" y="201"/>
                  <a:pt x="188" y="201"/>
                </a:cubicBezTo>
                <a:cubicBezTo>
                  <a:pt x="187" y="200"/>
                  <a:pt x="187" y="200"/>
                  <a:pt x="187" y="200"/>
                </a:cubicBezTo>
                <a:cubicBezTo>
                  <a:pt x="187" y="200"/>
                  <a:pt x="187" y="200"/>
                  <a:pt x="187" y="200"/>
                </a:cubicBezTo>
                <a:cubicBezTo>
                  <a:pt x="186" y="200"/>
                  <a:pt x="186" y="200"/>
                  <a:pt x="186" y="200"/>
                </a:cubicBezTo>
                <a:cubicBezTo>
                  <a:pt x="185" y="200"/>
                  <a:pt x="185" y="200"/>
                  <a:pt x="185" y="200"/>
                </a:cubicBezTo>
                <a:cubicBezTo>
                  <a:pt x="184" y="200"/>
                  <a:pt x="184" y="200"/>
                  <a:pt x="184" y="200"/>
                </a:cubicBezTo>
                <a:cubicBezTo>
                  <a:pt x="184" y="200"/>
                  <a:pt x="184" y="200"/>
                  <a:pt x="184" y="200"/>
                </a:cubicBezTo>
                <a:cubicBezTo>
                  <a:pt x="185" y="201"/>
                  <a:pt x="185" y="201"/>
                  <a:pt x="185" y="201"/>
                </a:cubicBezTo>
                <a:cubicBezTo>
                  <a:pt x="185" y="202"/>
                  <a:pt x="185" y="202"/>
                  <a:pt x="185" y="202"/>
                </a:cubicBezTo>
                <a:cubicBezTo>
                  <a:pt x="185" y="203"/>
                  <a:pt x="185" y="203"/>
                  <a:pt x="185" y="203"/>
                </a:cubicBezTo>
                <a:cubicBezTo>
                  <a:pt x="184" y="203"/>
                  <a:pt x="184" y="203"/>
                  <a:pt x="184" y="203"/>
                </a:cubicBezTo>
                <a:cubicBezTo>
                  <a:pt x="183" y="202"/>
                  <a:pt x="183" y="202"/>
                  <a:pt x="183" y="202"/>
                </a:cubicBezTo>
                <a:cubicBezTo>
                  <a:pt x="181" y="202"/>
                  <a:pt x="181" y="202"/>
                  <a:pt x="181" y="202"/>
                </a:cubicBezTo>
                <a:cubicBezTo>
                  <a:pt x="181" y="202"/>
                  <a:pt x="181" y="202"/>
                  <a:pt x="181" y="202"/>
                </a:cubicBezTo>
                <a:cubicBezTo>
                  <a:pt x="182" y="203"/>
                  <a:pt x="182" y="203"/>
                  <a:pt x="182" y="203"/>
                </a:cubicBezTo>
                <a:cubicBezTo>
                  <a:pt x="182" y="203"/>
                  <a:pt x="182" y="203"/>
                  <a:pt x="182" y="203"/>
                </a:cubicBezTo>
                <a:cubicBezTo>
                  <a:pt x="181" y="204"/>
                  <a:pt x="181" y="204"/>
                  <a:pt x="181" y="204"/>
                </a:cubicBezTo>
                <a:cubicBezTo>
                  <a:pt x="180" y="204"/>
                  <a:pt x="180" y="204"/>
                  <a:pt x="180" y="204"/>
                </a:cubicBezTo>
                <a:cubicBezTo>
                  <a:pt x="179" y="204"/>
                  <a:pt x="179" y="204"/>
                  <a:pt x="179" y="204"/>
                </a:cubicBezTo>
                <a:cubicBezTo>
                  <a:pt x="179" y="204"/>
                  <a:pt x="179" y="204"/>
                  <a:pt x="179" y="204"/>
                </a:cubicBezTo>
                <a:cubicBezTo>
                  <a:pt x="178" y="205"/>
                  <a:pt x="178" y="205"/>
                  <a:pt x="178" y="205"/>
                </a:cubicBezTo>
                <a:cubicBezTo>
                  <a:pt x="177" y="205"/>
                  <a:pt x="177" y="205"/>
                  <a:pt x="177" y="205"/>
                </a:cubicBezTo>
                <a:cubicBezTo>
                  <a:pt x="177" y="206"/>
                  <a:pt x="177" y="206"/>
                  <a:pt x="177" y="206"/>
                </a:cubicBezTo>
                <a:cubicBezTo>
                  <a:pt x="177" y="206"/>
                  <a:pt x="177" y="206"/>
                  <a:pt x="177" y="206"/>
                </a:cubicBezTo>
                <a:cubicBezTo>
                  <a:pt x="176" y="207"/>
                  <a:pt x="176" y="207"/>
                  <a:pt x="176" y="207"/>
                </a:cubicBezTo>
                <a:cubicBezTo>
                  <a:pt x="176" y="208"/>
                  <a:pt x="176" y="208"/>
                  <a:pt x="176" y="208"/>
                </a:cubicBezTo>
                <a:cubicBezTo>
                  <a:pt x="175" y="209"/>
                  <a:pt x="175" y="209"/>
                  <a:pt x="175" y="209"/>
                </a:cubicBezTo>
                <a:cubicBezTo>
                  <a:pt x="174" y="209"/>
                  <a:pt x="174" y="209"/>
                  <a:pt x="174" y="209"/>
                </a:cubicBezTo>
                <a:cubicBezTo>
                  <a:pt x="173" y="209"/>
                  <a:pt x="173" y="209"/>
                  <a:pt x="173" y="209"/>
                </a:cubicBezTo>
                <a:cubicBezTo>
                  <a:pt x="173" y="208"/>
                  <a:pt x="173" y="208"/>
                  <a:pt x="173" y="208"/>
                </a:cubicBezTo>
                <a:cubicBezTo>
                  <a:pt x="176" y="207"/>
                  <a:pt x="176" y="207"/>
                  <a:pt x="176" y="207"/>
                </a:cubicBezTo>
                <a:cubicBezTo>
                  <a:pt x="176" y="206"/>
                  <a:pt x="176" y="206"/>
                  <a:pt x="176" y="206"/>
                </a:cubicBezTo>
                <a:cubicBezTo>
                  <a:pt x="176" y="205"/>
                  <a:pt x="176" y="205"/>
                  <a:pt x="176" y="205"/>
                </a:cubicBezTo>
                <a:cubicBezTo>
                  <a:pt x="176" y="205"/>
                  <a:pt x="176" y="205"/>
                  <a:pt x="176" y="205"/>
                </a:cubicBezTo>
                <a:cubicBezTo>
                  <a:pt x="175" y="206"/>
                  <a:pt x="175" y="206"/>
                  <a:pt x="175" y="206"/>
                </a:cubicBezTo>
                <a:cubicBezTo>
                  <a:pt x="174" y="205"/>
                  <a:pt x="174" y="205"/>
                  <a:pt x="174" y="205"/>
                </a:cubicBezTo>
                <a:cubicBezTo>
                  <a:pt x="175" y="205"/>
                  <a:pt x="175" y="205"/>
                  <a:pt x="175" y="205"/>
                </a:cubicBezTo>
                <a:cubicBezTo>
                  <a:pt x="173" y="205"/>
                  <a:pt x="173" y="205"/>
                  <a:pt x="173" y="205"/>
                </a:cubicBezTo>
                <a:cubicBezTo>
                  <a:pt x="173" y="205"/>
                  <a:pt x="173" y="205"/>
                  <a:pt x="173" y="205"/>
                </a:cubicBezTo>
                <a:cubicBezTo>
                  <a:pt x="173" y="205"/>
                  <a:pt x="173" y="205"/>
                  <a:pt x="173" y="205"/>
                </a:cubicBezTo>
                <a:cubicBezTo>
                  <a:pt x="174" y="206"/>
                  <a:pt x="174" y="206"/>
                  <a:pt x="174" y="206"/>
                </a:cubicBezTo>
                <a:close/>
                <a:moveTo>
                  <a:pt x="171" y="211"/>
                </a:moveTo>
                <a:cubicBezTo>
                  <a:pt x="172" y="210"/>
                  <a:pt x="172" y="210"/>
                  <a:pt x="172" y="210"/>
                </a:cubicBezTo>
                <a:cubicBezTo>
                  <a:pt x="172" y="211"/>
                  <a:pt x="172" y="211"/>
                  <a:pt x="172" y="211"/>
                </a:cubicBezTo>
                <a:cubicBezTo>
                  <a:pt x="171" y="211"/>
                  <a:pt x="171" y="211"/>
                  <a:pt x="171" y="211"/>
                </a:cubicBezTo>
                <a:close/>
                <a:moveTo>
                  <a:pt x="168" y="212"/>
                </a:moveTo>
                <a:cubicBezTo>
                  <a:pt x="169" y="210"/>
                  <a:pt x="169" y="210"/>
                  <a:pt x="169" y="210"/>
                </a:cubicBezTo>
                <a:cubicBezTo>
                  <a:pt x="171" y="209"/>
                  <a:pt x="171" y="209"/>
                  <a:pt x="171" y="209"/>
                </a:cubicBezTo>
                <a:cubicBezTo>
                  <a:pt x="169" y="212"/>
                  <a:pt x="169" y="212"/>
                  <a:pt x="169" y="212"/>
                </a:cubicBezTo>
                <a:cubicBezTo>
                  <a:pt x="168" y="212"/>
                  <a:pt x="168" y="212"/>
                  <a:pt x="168" y="212"/>
                </a:cubicBezTo>
                <a:close/>
                <a:moveTo>
                  <a:pt x="159" y="219"/>
                </a:moveTo>
                <a:cubicBezTo>
                  <a:pt x="159" y="219"/>
                  <a:pt x="159" y="219"/>
                  <a:pt x="159" y="219"/>
                </a:cubicBezTo>
                <a:cubicBezTo>
                  <a:pt x="159" y="218"/>
                  <a:pt x="159" y="218"/>
                  <a:pt x="159" y="218"/>
                </a:cubicBezTo>
                <a:cubicBezTo>
                  <a:pt x="160" y="218"/>
                  <a:pt x="160" y="218"/>
                  <a:pt x="160" y="218"/>
                </a:cubicBezTo>
                <a:cubicBezTo>
                  <a:pt x="160" y="219"/>
                  <a:pt x="160" y="219"/>
                  <a:pt x="160" y="219"/>
                </a:cubicBezTo>
                <a:cubicBezTo>
                  <a:pt x="159" y="219"/>
                  <a:pt x="159" y="219"/>
                  <a:pt x="159" y="219"/>
                </a:cubicBezTo>
                <a:close/>
                <a:moveTo>
                  <a:pt x="154" y="208"/>
                </a:moveTo>
                <a:cubicBezTo>
                  <a:pt x="156" y="208"/>
                  <a:pt x="156" y="208"/>
                  <a:pt x="156" y="208"/>
                </a:cubicBezTo>
                <a:cubicBezTo>
                  <a:pt x="156" y="209"/>
                  <a:pt x="156" y="209"/>
                  <a:pt x="156" y="209"/>
                </a:cubicBezTo>
                <a:cubicBezTo>
                  <a:pt x="155" y="209"/>
                  <a:pt x="155" y="209"/>
                  <a:pt x="155" y="209"/>
                </a:cubicBezTo>
                <a:cubicBezTo>
                  <a:pt x="154" y="208"/>
                  <a:pt x="154" y="208"/>
                  <a:pt x="154" y="208"/>
                </a:cubicBezTo>
                <a:close/>
                <a:moveTo>
                  <a:pt x="130" y="219"/>
                </a:moveTo>
                <a:cubicBezTo>
                  <a:pt x="130" y="219"/>
                  <a:pt x="131" y="219"/>
                  <a:pt x="131" y="219"/>
                </a:cubicBezTo>
                <a:cubicBezTo>
                  <a:pt x="131" y="219"/>
                  <a:pt x="131" y="219"/>
                  <a:pt x="131" y="219"/>
                </a:cubicBezTo>
                <a:cubicBezTo>
                  <a:pt x="130" y="219"/>
                  <a:pt x="130" y="219"/>
                  <a:pt x="130" y="219"/>
                </a:cubicBezTo>
                <a:close/>
                <a:moveTo>
                  <a:pt x="129" y="219"/>
                </a:moveTo>
                <a:cubicBezTo>
                  <a:pt x="129" y="220"/>
                  <a:pt x="129" y="220"/>
                  <a:pt x="129" y="220"/>
                </a:cubicBezTo>
                <a:cubicBezTo>
                  <a:pt x="129" y="220"/>
                  <a:pt x="129" y="220"/>
                  <a:pt x="129" y="220"/>
                </a:cubicBezTo>
                <a:cubicBezTo>
                  <a:pt x="129" y="219"/>
                  <a:pt x="129" y="219"/>
                  <a:pt x="129" y="219"/>
                </a:cubicBezTo>
                <a:close/>
                <a:moveTo>
                  <a:pt x="134" y="224"/>
                </a:moveTo>
                <a:cubicBezTo>
                  <a:pt x="134" y="225"/>
                  <a:pt x="134" y="225"/>
                  <a:pt x="134" y="225"/>
                </a:cubicBezTo>
                <a:cubicBezTo>
                  <a:pt x="134" y="225"/>
                  <a:pt x="134" y="225"/>
                  <a:pt x="134" y="225"/>
                </a:cubicBezTo>
                <a:cubicBezTo>
                  <a:pt x="134" y="225"/>
                  <a:pt x="134" y="225"/>
                  <a:pt x="134" y="225"/>
                </a:cubicBezTo>
                <a:cubicBezTo>
                  <a:pt x="134" y="224"/>
                  <a:pt x="134" y="224"/>
                  <a:pt x="134" y="224"/>
                </a:cubicBezTo>
                <a:close/>
                <a:moveTo>
                  <a:pt x="133" y="224"/>
                </a:moveTo>
                <a:cubicBezTo>
                  <a:pt x="134" y="222"/>
                  <a:pt x="134" y="222"/>
                  <a:pt x="134" y="222"/>
                </a:cubicBezTo>
                <a:cubicBezTo>
                  <a:pt x="134" y="223"/>
                  <a:pt x="134" y="223"/>
                  <a:pt x="134" y="223"/>
                </a:cubicBezTo>
                <a:cubicBezTo>
                  <a:pt x="134" y="223"/>
                  <a:pt x="133" y="224"/>
                  <a:pt x="133" y="224"/>
                </a:cubicBezTo>
                <a:close/>
                <a:moveTo>
                  <a:pt x="128" y="225"/>
                </a:moveTo>
                <a:cubicBezTo>
                  <a:pt x="129" y="223"/>
                  <a:pt x="129" y="223"/>
                  <a:pt x="129" y="223"/>
                </a:cubicBezTo>
                <a:cubicBezTo>
                  <a:pt x="130" y="222"/>
                  <a:pt x="130" y="222"/>
                  <a:pt x="130" y="222"/>
                </a:cubicBezTo>
                <a:cubicBezTo>
                  <a:pt x="130" y="222"/>
                  <a:pt x="130" y="222"/>
                  <a:pt x="130" y="222"/>
                </a:cubicBezTo>
                <a:cubicBezTo>
                  <a:pt x="132" y="222"/>
                  <a:pt x="132" y="222"/>
                  <a:pt x="132" y="222"/>
                </a:cubicBezTo>
                <a:cubicBezTo>
                  <a:pt x="131" y="223"/>
                  <a:pt x="131" y="223"/>
                  <a:pt x="131" y="223"/>
                </a:cubicBezTo>
                <a:cubicBezTo>
                  <a:pt x="131" y="223"/>
                  <a:pt x="131" y="223"/>
                  <a:pt x="131" y="223"/>
                </a:cubicBezTo>
                <a:cubicBezTo>
                  <a:pt x="129" y="224"/>
                  <a:pt x="129" y="224"/>
                  <a:pt x="129" y="224"/>
                </a:cubicBezTo>
                <a:cubicBezTo>
                  <a:pt x="128" y="225"/>
                  <a:pt x="128" y="225"/>
                  <a:pt x="128" y="225"/>
                </a:cubicBezTo>
                <a:close/>
                <a:moveTo>
                  <a:pt x="126" y="221"/>
                </a:moveTo>
                <a:cubicBezTo>
                  <a:pt x="126" y="221"/>
                  <a:pt x="126" y="221"/>
                  <a:pt x="126" y="221"/>
                </a:cubicBezTo>
                <a:cubicBezTo>
                  <a:pt x="126" y="219"/>
                  <a:pt x="126" y="219"/>
                  <a:pt x="126" y="219"/>
                </a:cubicBezTo>
                <a:cubicBezTo>
                  <a:pt x="127" y="219"/>
                  <a:pt x="127" y="219"/>
                  <a:pt x="127" y="219"/>
                </a:cubicBezTo>
                <a:cubicBezTo>
                  <a:pt x="128" y="220"/>
                  <a:pt x="128" y="220"/>
                  <a:pt x="128" y="220"/>
                </a:cubicBezTo>
                <a:cubicBezTo>
                  <a:pt x="127" y="221"/>
                  <a:pt x="127" y="221"/>
                  <a:pt x="127" y="221"/>
                </a:cubicBezTo>
                <a:cubicBezTo>
                  <a:pt x="127" y="221"/>
                  <a:pt x="127" y="221"/>
                  <a:pt x="127" y="221"/>
                </a:cubicBezTo>
                <a:cubicBezTo>
                  <a:pt x="126" y="221"/>
                  <a:pt x="126" y="221"/>
                  <a:pt x="126" y="221"/>
                </a:cubicBezTo>
                <a:close/>
                <a:moveTo>
                  <a:pt x="120" y="221"/>
                </a:moveTo>
                <a:cubicBezTo>
                  <a:pt x="121" y="220"/>
                  <a:pt x="121" y="220"/>
                  <a:pt x="121" y="220"/>
                </a:cubicBezTo>
                <a:cubicBezTo>
                  <a:pt x="121" y="221"/>
                  <a:pt x="121" y="221"/>
                  <a:pt x="121" y="221"/>
                </a:cubicBezTo>
                <a:cubicBezTo>
                  <a:pt x="121" y="222"/>
                  <a:pt x="121" y="222"/>
                  <a:pt x="121" y="222"/>
                </a:cubicBezTo>
                <a:cubicBezTo>
                  <a:pt x="120" y="221"/>
                  <a:pt x="120" y="221"/>
                  <a:pt x="120" y="221"/>
                </a:cubicBezTo>
                <a:close/>
                <a:moveTo>
                  <a:pt x="116" y="224"/>
                </a:moveTo>
                <a:cubicBezTo>
                  <a:pt x="116" y="223"/>
                  <a:pt x="116" y="223"/>
                  <a:pt x="116" y="223"/>
                </a:cubicBezTo>
                <a:cubicBezTo>
                  <a:pt x="117" y="222"/>
                  <a:pt x="117" y="222"/>
                  <a:pt x="117" y="222"/>
                </a:cubicBezTo>
                <a:cubicBezTo>
                  <a:pt x="117" y="223"/>
                  <a:pt x="117" y="223"/>
                  <a:pt x="117" y="223"/>
                </a:cubicBezTo>
                <a:cubicBezTo>
                  <a:pt x="116" y="224"/>
                  <a:pt x="116" y="224"/>
                  <a:pt x="116" y="224"/>
                </a:cubicBezTo>
                <a:close/>
                <a:moveTo>
                  <a:pt x="112" y="227"/>
                </a:moveTo>
                <a:cubicBezTo>
                  <a:pt x="113" y="228"/>
                  <a:pt x="113" y="228"/>
                  <a:pt x="113" y="228"/>
                </a:cubicBezTo>
                <a:cubicBezTo>
                  <a:pt x="112" y="228"/>
                  <a:pt x="112" y="228"/>
                  <a:pt x="112" y="228"/>
                </a:cubicBezTo>
                <a:cubicBezTo>
                  <a:pt x="111" y="227"/>
                  <a:pt x="111" y="227"/>
                  <a:pt x="111" y="227"/>
                </a:cubicBezTo>
                <a:cubicBezTo>
                  <a:pt x="112" y="227"/>
                  <a:pt x="112" y="227"/>
                  <a:pt x="112" y="227"/>
                </a:cubicBezTo>
                <a:close/>
                <a:moveTo>
                  <a:pt x="1" y="248"/>
                </a:moveTo>
                <a:cubicBezTo>
                  <a:pt x="0" y="249"/>
                  <a:pt x="0" y="249"/>
                  <a:pt x="0" y="249"/>
                </a:cubicBezTo>
                <a:cubicBezTo>
                  <a:pt x="1" y="249"/>
                  <a:pt x="1" y="249"/>
                  <a:pt x="1" y="249"/>
                </a:cubicBezTo>
                <a:cubicBezTo>
                  <a:pt x="1" y="248"/>
                  <a:pt x="1" y="248"/>
                  <a:pt x="1" y="248"/>
                </a:cubicBezTo>
                <a:close/>
                <a:moveTo>
                  <a:pt x="2" y="245"/>
                </a:moveTo>
                <a:cubicBezTo>
                  <a:pt x="1" y="246"/>
                  <a:pt x="1" y="246"/>
                  <a:pt x="1" y="246"/>
                </a:cubicBezTo>
                <a:cubicBezTo>
                  <a:pt x="2" y="247"/>
                  <a:pt x="2" y="247"/>
                  <a:pt x="2" y="247"/>
                </a:cubicBezTo>
                <a:cubicBezTo>
                  <a:pt x="3" y="246"/>
                  <a:pt x="3" y="246"/>
                  <a:pt x="3" y="246"/>
                </a:cubicBezTo>
                <a:cubicBezTo>
                  <a:pt x="2" y="245"/>
                  <a:pt x="2" y="245"/>
                  <a:pt x="2" y="245"/>
                </a:cubicBezTo>
                <a:close/>
                <a:moveTo>
                  <a:pt x="3" y="243"/>
                </a:moveTo>
                <a:cubicBezTo>
                  <a:pt x="4" y="243"/>
                  <a:pt x="4" y="243"/>
                  <a:pt x="4" y="243"/>
                </a:cubicBezTo>
                <a:cubicBezTo>
                  <a:pt x="4" y="242"/>
                  <a:pt x="4" y="242"/>
                  <a:pt x="4" y="242"/>
                </a:cubicBezTo>
                <a:cubicBezTo>
                  <a:pt x="3" y="243"/>
                  <a:pt x="3" y="243"/>
                  <a:pt x="3" y="243"/>
                </a:cubicBezTo>
                <a:close/>
                <a:moveTo>
                  <a:pt x="11" y="244"/>
                </a:moveTo>
                <a:cubicBezTo>
                  <a:pt x="10" y="242"/>
                  <a:pt x="10" y="242"/>
                  <a:pt x="10" y="242"/>
                </a:cubicBezTo>
                <a:cubicBezTo>
                  <a:pt x="9" y="242"/>
                  <a:pt x="9" y="242"/>
                  <a:pt x="9" y="242"/>
                </a:cubicBezTo>
                <a:cubicBezTo>
                  <a:pt x="8" y="243"/>
                  <a:pt x="8" y="243"/>
                  <a:pt x="8" y="243"/>
                </a:cubicBezTo>
                <a:cubicBezTo>
                  <a:pt x="8" y="243"/>
                  <a:pt x="8" y="243"/>
                  <a:pt x="8" y="243"/>
                </a:cubicBezTo>
                <a:cubicBezTo>
                  <a:pt x="9" y="244"/>
                  <a:pt x="9" y="244"/>
                  <a:pt x="9" y="244"/>
                </a:cubicBezTo>
                <a:cubicBezTo>
                  <a:pt x="8" y="244"/>
                  <a:pt x="8" y="244"/>
                  <a:pt x="8" y="244"/>
                </a:cubicBezTo>
                <a:cubicBezTo>
                  <a:pt x="9" y="245"/>
                  <a:pt x="9" y="245"/>
                  <a:pt x="9" y="245"/>
                </a:cubicBezTo>
                <a:cubicBezTo>
                  <a:pt x="10" y="245"/>
                  <a:pt x="10" y="245"/>
                  <a:pt x="10" y="245"/>
                </a:cubicBezTo>
                <a:cubicBezTo>
                  <a:pt x="10" y="244"/>
                  <a:pt x="10" y="244"/>
                  <a:pt x="10" y="244"/>
                </a:cubicBezTo>
                <a:cubicBezTo>
                  <a:pt x="11" y="244"/>
                  <a:pt x="11" y="244"/>
                  <a:pt x="11" y="244"/>
                </a:cubicBezTo>
                <a:close/>
                <a:moveTo>
                  <a:pt x="12" y="246"/>
                </a:moveTo>
                <a:cubicBezTo>
                  <a:pt x="13" y="246"/>
                  <a:pt x="13" y="246"/>
                  <a:pt x="13" y="246"/>
                </a:cubicBezTo>
                <a:cubicBezTo>
                  <a:pt x="14" y="245"/>
                  <a:pt x="14" y="245"/>
                  <a:pt x="14" y="245"/>
                </a:cubicBezTo>
                <a:cubicBezTo>
                  <a:pt x="14" y="244"/>
                  <a:pt x="14" y="244"/>
                  <a:pt x="14" y="244"/>
                </a:cubicBezTo>
                <a:cubicBezTo>
                  <a:pt x="15" y="243"/>
                  <a:pt x="15" y="243"/>
                  <a:pt x="15" y="243"/>
                </a:cubicBezTo>
                <a:cubicBezTo>
                  <a:pt x="14" y="243"/>
                  <a:pt x="14" y="243"/>
                  <a:pt x="14" y="243"/>
                </a:cubicBezTo>
                <a:cubicBezTo>
                  <a:pt x="13" y="244"/>
                  <a:pt x="13" y="244"/>
                  <a:pt x="13" y="244"/>
                </a:cubicBezTo>
                <a:cubicBezTo>
                  <a:pt x="13" y="245"/>
                  <a:pt x="13" y="245"/>
                  <a:pt x="13" y="245"/>
                </a:cubicBezTo>
                <a:cubicBezTo>
                  <a:pt x="12" y="246"/>
                  <a:pt x="12" y="246"/>
                  <a:pt x="12" y="246"/>
                </a:cubicBezTo>
                <a:close/>
                <a:moveTo>
                  <a:pt x="18" y="245"/>
                </a:moveTo>
                <a:cubicBezTo>
                  <a:pt x="18" y="243"/>
                  <a:pt x="18" y="243"/>
                  <a:pt x="18" y="243"/>
                </a:cubicBezTo>
                <a:cubicBezTo>
                  <a:pt x="17" y="243"/>
                  <a:pt x="17" y="243"/>
                  <a:pt x="17" y="243"/>
                </a:cubicBezTo>
                <a:cubicBezTo>
                  <a:pt x="17" y="245"/>
                  <a:pt x="17" y="245"/>
                  <a:pt x="17" y="245"/>
                </a:cubicBezTo>
                <a:cubicBezTo>
                  <a:pt x="16" y="245"/>
                  <a:pt x="16" y="245"/>
                  <a:pt x="16" y="245"/>
                </a:cubicBezTo>
                <a:cubicBezTo>
                  <a:pt x="16" y="246"/>
                  <a:pt x="16" y="246"/>
                  <a:pt x="16" y="246"/>
                </a:cubicBezTo>
                <a:cubicBezTo>
                  <a:pt x="17" y="246"/>
                  <a:pt x="17" y="246"/>
                  <a:pt x="17" y="246"/>
                </a:cubicBezTo>
                <a:cubicBezTo>
                  <a:pt x="18" y="245"/>
                  <a:pt x="18" y="245"/>
                  <a:pt x="18" y="245"/>
                </a:cubicBezTo>
                <a:close/>
                <a:moveTo>
                  <a:pt x="33" y="245"/>
                </a:moveTo>
                <a:cubicBezTo>
                  <a:pt x="33" y="244"/>
                  <a:pt x="33" y="244"/>
                  <a:pt x="33" y="244"/>
                </a:cubicBezTo>
                <a:cubicBezTo>
                  <a:pt x="34" y="243"/>
                  <a:pt x="34" y="243"/>
                  <a:pt x="34" y="243"/>
                </a:cubicBezTo>
                <a:cubicBezTo>
                  <a:pt x="34" y="242"/>
                  <a:pt x="34" y="242"/>
                  <a:pt x="34" y="242"/>
                </a:cubicBezTo>
                <a:cubicBezTo>
                  <a:pt x="33" y="241"/>
                  <a:pt x="33" y="241"/>
                  <a:pt x="33" y="241"/>
                </a:cubicBezTo>
                <a:cubicBezTo>
                  <a:pt x="32" y="242"/>
                  <a:pt x="32" y="242"/>
                  <a:pt x="32" y="242"/>
                </a:cubicBezTo>
                <a:cubicBezTo>
                  <a:pt x="32" y="243"/>
                  <a:pt x="32" y="243"/>
                  <a:pt x="32" y="243"/>
                </a:cubicBezTo>
                <a:cubicBezTo>
                  <a:pt x="31" y="243"/>
                  <a:pt x="31" y="243"/>
                  <a:pt x="31" y="243"/>
                </a:cubicBezTo>
                <a:cubicBezTo>
                  <a:pt x="31" y="243"/>
                  <a:pt x="31" y="243"/>
                  <a:pt x="31" y="243"/>
                </a:cubicBezTo>
                <a:cubicBezTo>
                  <a:pt x="30" y="244"/>
                  <a:pt x="30" y="244"/>
                  <a:pt x="30" y="244"/>
                </a:cubicBezTo>
                <a:cubicBezTo>
                  <a:pt x="29" y="244"/>
                  <a:pt x="29" y="244"/>
                  <a:pt x="29" y="244"/>
                </a:cubicBezTo>
                <a:cubicBezTo>
                  <a:pt x="28" y="244"/>
                  <a:pt x="28" y="244"/>
                  <a:pt x="28" y="244"/>
                </a:cubicBezTo>
                <a:cubicBezTo>
                  <a:pt x="28" y="244"/>
                  <a:pt x="28" y="244"/>
                  <a:pt x="28" y="244"/>
                </a:cubicBezTo>
                <a:cubicBezTo>
                  <a:pt x="28" y="245"/>
                  <a:pt x="28" y="245"/>
                  <a:pt x="28" y="245"/>
                </a:cubicBezTo>
                <a:cubicBezTo>
                  <a:pt x="29" y="245"/>
                  <a:pt x="29" y="245"/>
                  <a:pt x="29" y="245"/>
                </a:cubicBezTo>
                <a:cubicBezTo>
                  <a:pt x="30" y="245"/>
                  <a:pt x="30" y="245"/>
                  <a:pt x="30" y="245"/>
                </a:cubicBezTo>
                <a:cubicBezTo>
                  <a:pt x="32" y="244"/>
                  <a:pt x="32" y="244"/>
                  <a:pt x="32" y="244"/>
                </a:cubicBezTo>
                <a:cubicBezTo>
                  <a:pt x="33" y="245"/>
                  <a:pt x="33" y="245"/>
                  <a:pt x="33" y="245"/>
                </a:cubicBezTo>
                <a:close/>
                <a:moveTo>
                  <a:pt x="36" y="245"/>
                </a:moveTo>
                <a:cubicBezTo>
                  <a:pt x="39" y="246"/>
                  <a:pt x="39" y="246"/>
                  <a:pt x="39" y="246"/>
                </a:cubicBezTo>
                <a:cubicBezTo>
                  <a:pt x="39" y="245"/>
                  <a:pt x="39" y="245"/>
                  <a:pt x="39" y="245"/>
                </a:cubicBezTo>
                <a:cubicBezTo>
                  <a:pt x="40" y="246"/>
                  <a:pt x="40" y="246"/>
                  <a:pt x="40" y="246"/>
                </a:cubicBezTo>
                <a:cubicBezTo>
                  <a:pt x="39" y="247"/>
                  <a:pt x="39" y="247"/>
                  <a:pt x="39" y="247"/>
                </a:cubicBezTo>
                <a:cubicBezTo>
                  <a:pt x="36" y="246"/>
                  <a:pt x="36" y="246"/>
                  <a:pt x="36" y="246"/>
                </a:cubicBezTo>
                <a:cubicBezTo>
                  <a:pt x="35" y="246"/>
                  <a:pt x="35" y="246"/>
                  <a:pt x="35" y="246"/>
                </a:cubicBezTo>
                <a:cubicBezTo>
                  <a:pt x="34" y="245"/>
                  <a:pt x="34" y="245"/>
                  <a:pt x="34" y="245"/>
                </a:cubicBezTo>
                <a:cubicBezTo>
                  <a:pt x="34" y="245"/>
                  <a:pt x="36" y="245"/>
                  <a:pt x="36" y="245"/>
                </a:cubicBezTo>
                <a:close/>
                <a:moveTo>
                  <a:pt x="46" y="244"/>
                </a:moveTo>
                <a:cubicBezTo>
                  <a:pt x="45" y="243"/>
                  <a:pt x="45" y="243"/>
                  <a:pt x="45" y="243"/>
                </a:cubicBezTo>
                <a:cubicBezTo>
                  <a:pt x="43" y="243"/>
                  <a:pt x="43" y="243"/>
                  <a:pt x="43" y="243"/>
                </a:cubicBezTo>
                <a:cubicBezTo>
                  <a:pt x="43" y="244"/>
                  <a:pt x="43" y="244"/>
                  <a:pt x="43" y="244"/>
                </a:cubicBezTo>
                <a:cubicBezTo>
                  <a:pt x="45" y="244"/>
                  <a:pt x="45" y="244"/>
                  <a:pt x="45" y="244"/>
                </a:cubicBezTo>
                <a:cubicBezTo>
                  <a:pt x="46" y="244"/>
                  <a:pt x="46" y="244"/>
                  <a:pt x="46" y="244"/>
                </a:cubicBezTo>
                <a:close/>
                <a:moveTo>
                  <a:pt x="53" y="243"/>
                </a:moveTo>
                <a:cubicBezTo>
                  <a:pt x="52" y="241"/>
                  <a:pt x="52" y="241"/>
                  <a:pt x="52" y="241"/>
                </a:cubicBezTo>
                <a:cubicBezTo>
                  <a:pt x="52" y="243"/>
                  <a:pt x="52" y="243"/>
                  <a:pt x="52" y="243"/>
                </a:cubicBezTo>
                <a:cubicBezTo>
                  <a:pt x="53" y="243"/>
                  <a:pt x="53" y="243"/>
                  <a:pt x="53" y="243"/>
                </a:cubicBezTo>
                <a:close/>
                <a:moveTo>
                  <a:pt x="58" y="241"/>
                </a:moveTo>
                <a:cubicBezTo>
                  <a:pt x="56" y="240"/>
                  <a:pt x="56" y="240"/>
                  <a:pt x="56" y="240"/>
                </a:cubicBezTo>
                <a:cubicBezTo>
                  <a:pt x="55" y="241"/>
                  <a:pt x="55" y="241"/>
                  <a:pt x="55" y="241"/>
                </a:cubicBezTo>
                <a:cubicBezTo>
                  <a:pt x="55" y="242"/>
                  <a:pt x="55" y="242"/>
                  <a:pt x="55" y="242"/>
                </a:cubicBezTo>
                <a:cubicBezTo>
                  <a:pt x="57" y="241"/>
                  <a:pt x="57" y="241"/>
                  <a:pt x="57" y="241"/>
                </a:cubicBezTo>
                <a:cubicBezTo>
                  <a:pt x="58" y="241"/>
                  <a:pt x="58" y="241"/>
                  <a:pt x="58" y="241"/>
                </a:cubicBezTo>
                <a:close/>
                <a:moveTo>
                  <a:pt x="61" y="241"/>
                </a:moveTo>
                <a:cubicBezTo>
                  <a:pt x="60" y="240"/>
                  <a:pt x="60" y="240"/>
                  <a:pt x="60" y="240"/>
                </a:cubicBezTo>
                <a:cubicBezTo>
                  <a:pt x="59" y="241"/>
                  <a:pt x="59" y="241"/>
                  <a:pt x="59" y="241"/>
                </a:cubicBezTo>
                <a:cubicBezTo>
                  <a:pt x="60" y="241"/>
                  <a:pt x="60" y="241"/>
                  <a:pt x="60" y="241"/>
                </a:cubicBezTo>
                <a:cubicBezTo>
                  <a:pt x="61" y="241"/>
                  <a:pt x="61" y="241"/>
                  <a:pt x="61" y="241"/>
                </a:cubicBezTo>
                <a:close/>
                <a:moveTo>
                  <a:pt x="61" y="239"/>
                </a:moveTo>
                <a:cubicBezTo>
                  <a:pt x="61" y="238"/>
                  <a:pt x="61" y="238"/>
                  <a:pt x="61" y="238"/>
                </a:cubicBezTo>
                <a:cubicBezTo>
                  <a:pt x="60" y="239"/>
                  <a:pt x="60" y="239"/>
                  <a:pt x="60" y="239"/>
                </a:cubicBezTo>
                <a:cubicBezTo>
                  <a:pt x="61" y="239"/>
                  <a:pt x="61" y="239"/>
                  <a:pt x="61" y="239"/>
                </a:cubicBezTo>
                <a:close/>
                <a:moveTo>
                  <a:pt x="61" y="240"/>
                </a:moveTo>
                <a:cubicBezTo>
                  <a:pt x="62" y="240"/>
                  <a:pt x="62" y="240"/>
                  <a:pt x="62" y="240"/>
                </a:cubicBezTo>
                <a:cubicBezTo>
                  <a:pt x="63" y="240"/>
                  <a:pt x="63" y="240"/>
                  <a:pt x="63" y="240"/>
                </a:cubicBezTo>
                <a:cubicBezTo>
                  <a:pt x="63" y="239"/>
                  <a:pt x="63" y="239"/>
                  <a:pt x="63" y="239"/>
                </a:cubicBezTo>
                <a:cubicBezTo>
                  <a:pt x="61" y="240"/>
                  <a:pt x="61" y="240"/>
                  <a:pt x="61" y="240"/>
                </a:cubicBezTo>
                <a:close/>
                <a:moveTo>
                  <a:pt x="76" y="233"/>
                </a:moveTo>
                <a:cubicBezTo>
                  <a:pt x="76" y="234"/>
                  <a:pt x="76" y="234"/>
                  <a:pt x="76" y="234"/>
                </a:cubicBezTo>
                <a:cubicBezTo>
                  <a:pt x="77" y="234"/>
                  <a:pt x="77" y="234"/>
                  <a:pt x="77" y="234"/>
                </a:cubicBezTo>
                <a:cubicBezTo>
                  <a:pt x="76" y="235"/>
                  <a:pt x="76" y="235"/>
                  <a:pt x="76" y="235"/>
                </a:cubicBezTo>
                <a:cubicBezTo>
                  <a:pt x="75" y="236"/>
                  <a:pt x="75" y="236"/>
                  <a:pt x="75" y="236"/>
                </a:cubicBezTo>
                <a:cubicBezTo>
                  <a:pt x="74" y="237"/>
                  <a:pt x="74" y="237"/>
                  <a:pt x="74" y="237"/>
                </a:cubicBezTo>
                <a:cubicBezTo>
                  <a:pt x="72" y="239"/>
                  <a:pt x="72" y="239"/>
                  <a:pt x="72" y="239"/>
                </a:cubicBezTo>
                <a:cubicBezTo>
                  <a:pt x="70" y="239"/>
                  <a:pt x="70" y="239"/>
                  <a:pt x="70" y="239"/>
                </a:cubicBezTo>
                <a:cubicBezTo>
                  <a:pt x="69" y="241"/>
                  <a:pt x="69" y="241"/>
                  <a:pt x="69" y="241"/>
                </a:cubicBezTo>
                <a:cubicBezTo>
                  <a:pt x="66" y="241"/>
                  <a:pt x="66" y="241"/>
                  <a:pt x="66" y="241"/>
                </a:cubicBezTo>
                <a:cubicBezTo>
                  <a:pt x="67" y="240"/>
                  <a:pt x="67" y="240"/>
                  <a:pt x="67" y="240"/>
                </a:cubicBezTo>
                <a:cubicBezTo>
                  <a:pt x="68" y="240"/>
                  <a:pt x="68" y="240"/>
                  <a:pt x="68" y="240"/>
                </a:cubicBezTo>
                <a:cubicBezTo>
                  <a:pt x="69" y="238"/>
                  <a:pt x="69" y="238"/>
                  <a:pt x="69" y="238"/>
                </a:cubicBezTo>
                <a:cubicBezTo>
                  <a:pt x="70" y="238"/>
                  <a:pt x="70" y="238"/>
                  <a:pt x="70" y="238"/>
                </a:cubicBezTo>
                <a:cubicBezTo>
                  <a:pt x="70" y="237"/>
                  <a:pt x="70" y="237"/>
                  <a:pt x="70" y="237"/>
                </a:cubicBezTo>
                <a:cubicBezTo>
                  <a:pt x="71" y="236"/>
                  <a:pt x="71" y="236"/>
                  <a:pt x="71" y="236"/>
                </a:cubicBezTo>
                <a:cubicBezTo>
                  <a:pt x="73" y="236"/>
                  <a:pt x="73" y="236"/>
                  <a:pt x="73" y="236"/>
                </a:cubicBezTo>
                <a:cubicBezTo>
                  <a:pt x="73" y="234"/>
                  <a:pt x="73" y="234"/>
                  <a:pt x="73" y="234"/>
                </a:cubicBezTo>
                <a:cubicBezTo>
                  <a:pt x="73" y="234"/>
                  <a:pt x="73" y="234"/>
                  <a:pt x="73" y="234"/>
                </a:cubicBezTo>
                <a:cubicBezTo>
                  <a:pt x="75" y="234"/>
                  <a:pt x="75" y="234"/>
                  <a:pt x="75" y="234"/>
                </a:cubicBezTo>
                <a:cubicBezTo>
                  <a:pt x="75" y="234"/>
                  <a:pt x="76" y="233"/>
                  <a:pt x="76" y="233"/>
                </a:cubicBezTo>
                <a:close/>
                <a:moveTo>
                  <a:pt x="86" y="229"/>
                </a:moveTo>
                <a:cubicBezTo>
                  <a:pt x="85" y="229"/>
                  <a:pt x="85" y="229"/>
                  <a:pt x="85" y="229"/>
                </a:cubicBezTo>
                <a:cubicBezTo>
                  <a:pt x="84" y="230"/>
                  <a:pt x="84" y="230"/>
                  <a:pt x="84" y="230"/>
                </a:cubicBezTo>
                <a:cubicBezTo>
                  <a:pt x="84" y="231"/>
                  <a:pt x="84" y="231"/>
                  <a:pt x="84" y="231"/>
                </a:cubicBezTo>
                <a:cubicBezTo>
                  <a:pt x="85" y="232"/>
                  <a:pt x="85" y="232"/>
                  <a:pt x="85" y="232"/>
                </a:cubicBezTo>
                <a:cubicBezTo>
                  <a:pt x="85" y="232"/>
                  <a:pt x="85" y="232"/>
                  <a:pt x="85" y="232"/>
                </a:cubicBezTo>
                <a:cubicBezTo>
                  <a:pt x="83" y="232"/>
                  <a:pt x="83" y="232"/>
                  <a:pt x="83" y="232"/>
                </a:cubicBezTo>
                <a:cubicBezTo>
                  <a:pt x="82" y="232"/>
                  <a:pt x="82" y="232"/>
                  <a:pt x="82" y="232"/>
                </a:cubicBezTo>
                <a:cubicBezTo>
                  <a:pt x="82" y="233"/>
                  <a:pt x="82" y="233"/>
                  <a:pt x="82" y="233"/>
                </a:cubicBezTo>
                <a:cubicBezTo>
                  <a:pt x="82" y="233"/>
                  <a:pt x="82" y="233"/>
                  <a:pt x="82" y="233"/>
                </a:cubicBezTo>
                <a:cubicBezTo>
                  <a:pt x="81" y="235"/>
                  <a:pt x="81" y="235"/>
                  <a:pt x="81" y="235"/>
                </a:cubicBezTo>
                <a:cubicBezTo>
                  <a:pt x="80" y="235"/>
                  <a:pt x="80" y="235"/>
                  <a:pt x="80" y="235"/>
                </a:cubicBezTo>
                <a:cubicBezTo>
                  <a:pt x="78" y="236"/>
                  <a:pt x="78" y="236"/>
                  <a:pt x="78" y="236"/>
                </a:cubicBezTo>
                <a:cubicBezTo>
                  <a:pt x="77" y="236"/>
                  <a:pt x="77" y="236"/>
                  <a:pt x="77" y="236"/>
                </a:cubicBezTo>
                <a:cubicBezTo>
                  <a:pt x="77" y="236"/>
                  <a:pt x="77" y="236"/>
                  <a:pt x="77" y="236"/>
                </a:cubicBezTo>
                <a:cubicBezTo>
                  <a:pt x="77" y="237"/>
                  <a:pt x="77" y="237"/>
                  <a:pt x="77" y="237"/>
                </a:cubicBezTo>
                <a:cubicBezTo>
                  <a:pt x="79" y="237"/>
                  <a:pt x="79" y="237"/>
                  <a:pt x="79" y="237"/>
                </a:cubicBezTo>
                <a:cubicBezTo>
                  <a:pt x="81" y="236"/>
                  <a:pt x="81" y="236"/>
                  <a:pt x="81" y="236"/>
                </a:cubicBezTo>
                <a:cubicBezTo>
                  <a:pt x="82" y="235"/>
                  <a:pt x="82" y="235"/>
                  <a:pt x="82" y="235"/>
                </a:cubicBezTo>
                <a:cubicBezTo>
                  <a:pt x="83" y="236"/>
                  <a:pt x="83" y="236"/>
                  <a:pt x="83" y="236"/>
                </a:cubicBezTo>
                <a:cubicBezTo>
                  <a:pt x="83" y="236"/>
                  <a:pt x="83" y="236"/>
                  <a:pt x="83" y="236"/>
                </a:cubicBezTo>
                <a:cubicBezTo>
                  <a:pt x="84" y="235"/>
                  <a:pt x="84" y="235"/>
                  <a:pt x="84" y="235"/>
                </a:cubicBezTo>
                <a:cubicBezTo>
                  <a:pt x="84" y="234"/>
                  <a:pt x="84" y="234"/>
                  <a:pt x="84" y="234"/>
                </a:cubicBezTo>
                <a:cubicBezTo>
                  <a:pt x="85" y="234"/>
                  <a:pt x="85" y="234"/>
                  <a:pt x="85" y="234"/>
                </a:cubicBezTo>
                <a:cubicBezTo>
                  <a:pt x="85" y="235"/>
                  <a:pt x="85" y="235"/>
                  <a:pt x="85" y="235"/>
                </a:cubicBezTo>
                <a:cubicBezTo>
                  <a:pt x="86" y="235"/>
                  <a:pt x="86" y="235"/>
                  <a:pt x="86" y="235"/>
                </a:cubicBezTo>
                <a:cubicBezTo>
                  <a:pt x="87" y="233"/>
                  <a:pt x="87" y="233"/>
                  <a:pt x="87" y="233"/>
                </a:cubicBezTo>
                <a:cubicBezTo>
                  <a:pt x="88" y="233"/>
                  <a:pt x="88" y="233"/>
                  <a:pt x="88" y="233"/>
                </a:cubicBezTo>
                <a:cubicBezTo>
                  <a:pt x="88" y="232"/>
                  <a:pt x="88" y="232"/>
                  <a:pt x="88" y="232"/>
                </a:cubicBezTo>
                <a:cubicBezTo>
                  <a:pt x="87" y="232"/>
                  <a:pt x="87" y="232"/>
                  <a:pt x="87" y="232"/>
                </a:cubicBezTo>
                <a:cubicBezTo>
                  <a:pt x="89" y="231"/>
                  <a:pt x="89" y="231"/>
                  <a:pt x="89" y="231"/>
                </a:cubicBezTo>
                <a:cubicBezTo>
                  <a:pt x="88" y="230"/>
                  <a:pt x="88" y="230"/>
                  <a:pt x="88" y="230"/>
                </a:cubicBezTo>
                <a:cubicBezTo>
                  <a:pt x="87" y="229"/>
                  <a:pt x="87" y="229"/>
                  <a:pt x="87" y="229"/>
                </a:cubicBezTo>
                <a:cubicBezTo>
                  <a:pt x="86" y="229"/>
                  <a:pt x="86" y="229"/>
                  <a:pt x="86" y="229"/>
                </a:cubicBezTo>
                <a:close/>
                <a:moveTo>
                  <a:pt x="90" y="230"/>
                </a:moveTo>
                <a:cubicBezTo>
                  <a:pt x="90" y="230"/>
                  <a:pt x="90" y="230"/>
                  <a:pt x="90" y="230"/>
                </a:cubicBezTo>
                <a:cubicBezTo>
                  <a:pt x="89" y="229"/>
                  <a:pt x="89" y="229"/>
                  <a:pt x="89" y="229"/>
                </a:cubicBezTo>
                <a:cubicBezTo>
                  <a:pt x="89" y="230"/>
                  <a:pt x="89" y="230"/>
                  <a:pt x="89" y="230"/>
                </a:cubicBezTo>
                <a:cubicBezTo>
                  <a:pt x="90" y="230"/>
                  <a:pt x="90" y="230"/>
                  <a:pt x="90" y="230"/>
                </a:cubicBezTo>
                <a:close/>
                <a:moveTo>
                  <a:pt x="97" y="229"/>
                </a:moveTo>
                <a:cubicBezTo>
                  <a:pt x="97" y="229"/>
                  <a:pt x="97" y="229"/>
                  <a:pt x="97" y="229"/>
                </a:cubicBezTo>
                <a:cubicBezTo>
                  <a:pt x="98" y="229"/>
                  <a:pt x="98" y="229"/>
                  <a:pt x="98" y="229"/>
                </a:cubicBezTo>
                <a:cubicBezTo>
                  <a:pt x="98" y="230"/>
                  <a:pt x="98" y="230"/>
                  <a:pt x="98" y="230"/>
                </a:cubicBezTo>
                <a:cubicBezTo>
                  <a:pt x="97" y="230"/>
                  <a:pt x="97" y="230"/>
                  <a:pt x="97" y="230"/>
                </a:cubicBezTo>
                <a:cubicBezTo>
                  <a:pt x="97" y="229"/>
                  <a:pt x="97" y="229"/>
                  <a:pt x="97" y="229"/>
                </a:cubicBezTo>
                <a:close/>
                <a:moveTo>
                  <a:pt x="95" y="230"/>
                </a:moveTo>
                <a:cubicBezTo>
                  <a:pt x="95" y="229"/>
                  <a:pt x="95" y="229"/>
                  <a:pt x="95" y="229"/>
                </a:cubicBezTo>
                <a:cubicBezTo>
                  <a:pt x="96" y="230"/>
                  <a:pt x="96" y="230"/>
                  <a:pt x="96" y="230"/>
                </a:cubicBezTo>
                <a:cubicBezTo>
                  <a:pt x="95" y="230"/>
                  <a:pt x="95" y="230"/>
                  <a:pt x="95" y="230"/>
                </a:cubicBezTo>
                <a:close/>
                <a:moveTo>
                  <a:pt x="94" y="229"/>
                </a:moveTo>
                <a:cubicBezTo>
                  <a:pt x="94" y="228"/>
                  <a:pt x="94" y="228"/>
                  <a:pt x="94" y="228"/>
                </a:cubicBezTo>
                <a:cubicBezTo>
                  <a:pt x="94" y="227"/>
                  <a:pt x="94" y="227"/>
                  <a:pt x="94" y="227"/>
                </a:cubicBezTo>
                <a:cubicBezTo>
                  <a:pt x="95" y="227"/>
                  <a:pt x="95" y="227"/>
                  <a:pt x="95" y="227"/>
                </a:cubicBezTo>
                <a:cubicBezTo>
                  <a:pt x="95" y="228"/>
                  <a:pt x="95" y="228"/>
                  <a:pt x="95" y="228"/>
                </a:cubicBezTo>
                <a:cubicBezTo>
                  <a:pt x="94" y="229"/>
                  <a:pt x="94" y="229"/>
                  <a:pt x="94" y="229"/>
                </a:cubicBezTo>
                <a:close/>
                <a:moveTo>
                  <a:pt x="92" y="227"/>
                </a:moveTo>
                <a:cubicBezTo>
                  <a:pt x="91" y="228"/>
                  <a:pt x="91" y="228"/>
                  <a:pt x="91" y="228"/>
                </a:cubicBezTo>
                <a:cubicBezTo>
                  <a:pt x="91" y="229"/>
                  <a:pt x="91" y="229"/>
                  <a:pt x="91" y="229"/>
                </a:cubicBezTo>
                <a:cubicBezTo>
                  <a:pt x="92" y="230"/>
                  <a:pt x="92" y="230"/>
                  <a:pt x="92" y="230"/>
                </a:cubicBezTo>
                <a:cubicBezTo>
                  <a:pt x="93" y="229"/>
                  <a:pt x="93" y="229"/>
                  <a:pt x="93" y="229"/>
                </a:cubicBezTo>
                <a:cubicBezTo>
                  <a:pt x="93" y="228"/>
                  <a:pt x="93" y="228"/>
                  <a:pt x="93" y="228"/>
                </a:cubicBezTo>
                <a:cubicBezTo>
                  <a:pt x="92" y="228"/>
                  <a:pt x="92" y="228"/>
                  <a:pt x="92" y="228"/>
                </a:cubicBezTo>
                <a:cubicBezTo>
                  <a:pt x="92" y="227"/>
                  <a:pt x="92" y="227"/>
                  <a:pt x="92" y="227"/>
                </a:cubicBezTo>
                <a:close/>
                <a:moveTo>
                  <a:pt x="150" y="176"/>
                </a:moveTo>
                <a:cubicBezTo>
                  <a:pt x="149" y="176"/>
                  <a:pt x="149" y="176"/>
                  <a:pt x="149" y="176"/>
                </a:cubicBezTo>
                <a:cubicBezTo>
                  <a:pt x="151" y="175"/>
                  <a:pt x="151" y="175"/>
                  <a:pt x="151" y="175"/>
                </a:cubicBezTo>
                <a:cubicBezTo>
                  <a:pt x="150" y="176"/>
                  <a:pt x="150" y="176"/>
                  <a:pt x="150" y="176"/>
                </a:cubicBezTo>
                <a:cubicBezTo>
                  <a:pt x="150" y="176"/>
                  <a:pt x="150" y="176"/>
                  <a:pt x="150" y="176"/>
                </a:cubicBezTo>
                <a:close/>
                <a:moveTo>
                  <a:pt x="147" y="177"/>
                </a:moveTo>
                <a:cubicBezTo>
                  <a:pt x="147" y="177"/>
                  <a:pt x="147" y="177"/>
                  <a:pt x="147" y="177"/>
                </a:cubicBezTo>
                <a:cubicBezTo>
                  <a:pt x="147" y="176"/>
                  <a:pt x="147" y="176"/>
                  <a:pt x="147" y="176"/>
                </a:cubicBezTo>
                <a:cubicBezTo>
                  <a:pt x="148" y="175"/>
                  <a:pt x="148" y="175"/>
                  <a:pt x="148" y="175"/>
                </a:cubicBezTo>
                <a:cubicBezTo>
                  <a:pt x="149" y="174"/>
                  <a:pt x="149" y="174"/>
                  <a:pt x="149" y="174"/>
                </a:cubicBezTo>
                <a:cubicBezTo>
                  <a:pt x="149" y="175"/>
                  <a:pt x="149" y="175"/>
                  <a:pt x="149" y="175"/>
                </a:cubicBezTo>
                <a:cubicBezTo>
                  <a:pt x="148" y="176"/>
                  <a:pt x="148" y="176"/>
                  <a:pt x="148" y="176"/>
                </a:cubicBezTo>
                <a:cubicBezTo>
                  <a:pt x="147" y="177"/>
                  <a:pt x="147" y="177"/>
                  <a:pt x="147" y="177"/>
                </a:cubicBezTo>
                <a:close/>
                <a:moveTo>
                  <a:pt x="99" y="225"/>
                </a:moveTo>
                <a:cubicBezTo>
                  <a:pt x="100" y="223"/>
                  <a:pt x="100" y="223"/>
                  <a:pt x="100" y="223"/>
                </a:cubicBezTo>
                <a:cubicBezTo>
                  <a:pt x="100" y="223"/>
                  <a:pt x="100" y="223"/>
                  <a:pt x="100" y="223"/>
                </a:cubicBezTo>
                <a:cubicBezTo>
                  <a:pt x="101" y="223"/>
                  <a:pt x="101" y="223"/>
                  <a:pt x="101" y="223"/>
                </a:cubicBezTo>
                <a:cubicBezTo>
                  <a:pt x="102" y="222"/>
                  <a:pt x="102" y="222"/>
                  <a:pt x="102" y="222"/>
                </a:cubicBezTo>
                <a:cubicBezTo>
                  <a:pt x="102" y="222"/>
                  <a:pt x="102" y="222"/>
                  <a:pt x="102" y="222"/>
                </a:cubicBezTo>
                <a:cubicBezTo>
                  <a:pt x="103" y="220"/>
                  <a:pt x="103" y="220"/>
                  <a:pt x="103" y="220"/>
                </a:cubicBezTo>
                <a:cubicBezTo>
                  <a:pt x="104" y="220"/>
                  <a:pt x="104" y="220"/>
                  <a:pt x="104" y="220"/>
                </a:cubicBezTo>
                <a:cubicBezTo>
                  <a:pt x="105" y="221"/>
                  <a:pt x="105" y="221"/>
                  <a:pt x="105" y="221"/>
                </a:cubicBezTo>
                <a:cubicBezTo>
                  <a:pt x="105" y="220"/>
                  <a:pt x="105" y="220"/>
                  <a:pt x="105" y="220"/>
                </a:cubicBezTo>
                <a:cubicBezTo>
                  <a:pt x="107" y="221"/>
                  <a:pt x="107" y="221"/>
                  <a:pt x="107" y="221"/>
                </a:cubicBezTo>
                <a:cubicBezTo>
                  <a:pt x="108" y="220"/>
                  <a:pt x="108" y="220"/>
                  <a:pt x="108" y="220"/>
                </a:cubicBezTo>
                <a:cubicBezTo>
                  <a:pt x="108" y="220"/>
                  <a:pt x="108" y="220"/>
                  <a:pt x="108" y="220"/>
                </a:cubicBezTo>
                <a:cubicBezTo>
                  <a:pt x="110" y="220"/>
                  <a:pt x="110" y="220"/>
                  <a:pt x="110" y="220"/>
                </a:cubicBezTo>
                <a:cubicBezTo>
                  <a:pt x="110" y="221"/>
                  <a:pt x="110" y="221"/>
                  <a:pt x="110" y="221"/>
                </a:cubicBezTo>
                <a:cubicBezTo>
                  <a:pt x="110" y="222"/>
                  <a:pt x="110" y="222"/>
                  <a:pt x="110" y="222"/>
                </a:cubicBezTo>
                <a:cubicBezTo>
                  <a:pt x="112" y="223"/>
                  <a:pt x="112" y="223"/>
                  <a:pt x="112" y="223"/>
                </a:cubicBezTo>
                <a:cubicBezTo>
                  <a:pt x="112" y="224"/>
                  <a:pt x="112" y="224"/>
                  <a:pt x="112" y="224"/>
                </a:cubicBezTo>
                <a:cubicBezTo>
                  <a:pt x="110" y="224"/>
                  <a:pt x="110" y="224"/>
                  <a:pt x="110" y="224"/>
                </a:cubicBezTo>
                <a:cubicBezTo>
                  <a:pt x="109" y="225"/>
                  <a:pt x="109" y="225"/>
                  <a:pt x="109" y="225"/>
                </a:cubicBezTo>
                <a:cubicBezTo>
                  <a:pt x="107" y="225"/>
                  <a:pt x="107" y="225"/>
                  <a:pt x="107" y="225"/>
                </a:cubicBezTo>
                <a:cubicBezTo>
                  <a:pt x="106" y="224"/>
                  <a:pt x="106" y="224"/>
                  <a:pt x="106" y="224"/>
                </a:cubicBezTo>
                <a:cubicBezTo>
                  <a:pt x="103" y="224"/>
                  <a:pt x="103" y="224"/>
                  <a:pt x="103" y="224"/>
                </a:cubicBezTo>
                <a:cubicBezTo>
                  <a:pt x="102" y="226"/>
                  <a:pt x="102" y="226"/>
                  <a:pt x="102" y="226"/>
                </a:cubicBezTo>
                <a:cubicBezTo>
                  <a:pt x="102" y="226"/>
                  <a:pt x="102" y="226"/>
                  <a:pt x="102" y="226"/>
                </a:cubicBezTo>
                <a:cubicBezTo>
                  <a:pt x="101" y="226"/>
                  <a:pt x="101" y="226"/>
                  <a:pt x="101" y="226"/>
                </a:cubicBezTo>
                <a:cubicBezTo>
                  <a:pt x="100" y="226"/>
                  <a:pt x="100" y="226"/>
                  <a:pt x="100" y="226"/>
                </a:cubicBezTo>
                <a:lnTo>
                  <a:pt x="99" y="225"/>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3" name="Freeform 171">
            <a:extLst>
              <a:ext uri="{FF2B5EF4-FFF2-40B4-BE49-F238E27FC236}">
                <a16:creationId xmlns:a16="http://schemas.microsoft.com/office/drawing/2014/main" id="{6E1BCBA6-4DC1-3C57-70CD-9D13C7A8245A}"/>
              </a:ext>
            </a:extLst>
          </p:cNvPr>
          <p:cNvSpPr>
            <a:spLocks/>
          </p:cNvSpPr>
          <p:nvPr userDrawn="1"/>
        </p:nvSpPr>
        <p:spPr bwMode="auto">
          <a:xfrm>
            <a:off x="8168743" y="8133633"/>
            <a:ext cx="19049" cy="12702"/>
          </a:xfrm>
          <a:custGeom>
            <a:avLst/>
            <a:gdLst>
              <a:gd name="T0" fmla="*/ 6 w 6"/>
              <a:gd name="T1" fmla="*/ 0 h 4"/>
              <a:gd name="T2" fmla="*/ 3 w 6"/>
              <a:gd name="T3" fmla="*/ 0 h 4"/>
              <a:gd name="T4" fmla="*/ 0 w 6"/>
              <a:gd name="T5" fmla="*/ 4 h 4"/>
              <a:gd name="T6" fmla="*/ 3 w 6"/>
              <a:gd name="T7" fmla="*/ 4 h 4"/>
              <a:gd name="T8" fmla="*/ 6 w 6"/>
              <a:gd name="T9" fmla="*/ 0 h 4"/>
            </a:gdLst>
            <a:ahLst/>
            <a:cxnLst>
              <a:cxn ang="0">
                <a:pos x="T0" y="T1"/>
              </a:cxn>
              <a:cxn ang="0">
                <a:pos x="T2" y="T3"/>
              </a:cxn>
              <a:cxn ang="0">
                <a:pos x="T4" y="T5"/>
              </a:cxn>
              <a:cxn ang="0">
                <a:pos x="T6" y="T7"/>
              </a:cxn>
              <a:cxn ang="0">
                <a:pos x="T8" y="T9"/>
              </a:cxn>
            </a:cxnLst>
            <a:rect l="0" t="0" r="r" b="b"/>
            <a:pathLst>
              <a:path w="6" h="4">
                <a:moveTo>
                  <a:pt x="6" y="0"/>
                </a:moveTo>
                <a:lnTo>
                  <a:pt x="3" y="0"/>
                </a:lnTo>
                <a:lnTo>
                  <a:pt x="0" y="4"/>
                </a:lnTo>
                <a:lnTo>
                  <a:pt x="3" y="4"/>
                </a:lnTo>
                <a:lnTo>
                  <a:pt x="6"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4" name="Freeform 172">
            <a:extLst>
              <a:ext uri="{FF2B5EF4-FFF2-40B4-BE49-F238E27FC236}">
                <a16:creationId xmlns:a16="http://schemas.microsoft.com/office/drawing/2014/main" id="{B30FBD93-DEBC-EF1E-658A-A3FB3C890D7B}"/>
              </a:ext>
            </a:extLst>
          </p:cNvPr>
          <p:cNvSpPr>
            <a:spLocks/>
          </p:cNvSpPr>
          <p:nvPr userDrawn="1"/>
        </p:nvSpPr>
        <p:spPr bwMode="auto">
          <a:xfrm>
            <a:off x="8356053" y="8193959"/>
            <a:ext cx="139693" cy="60326"/>
          </a:xfrm>
          <a:custGeom>
            <a:avLst/>
            <a:gdLst>
              <a:gd name="T0" fmla="*/ 6 w 44"/>
              <a:gd name="T1" fmla="*/ 0 h 19"/>
              <a:gd name="T2" fmla="*/ 9 w 44"/>
              <a:gd name="T3" fmla="*/ 0 h 19"/>
              <a:gd name="T4" fmla="*/ 16 w 44"/>
              <a:gd name="T5" fmla="*/ 0 h 19"/>
              <a:gd name="T6" fmla="*/ 31 w 44"/>
              <a:gd name="T7" fmla="*/ 0 h 19"/>
              <a:gd name="T8" fmla="*/ 34 w 44"/>
              <a:gd name="T9" fmla="*/ 6 h 19"/>
              <a:gd name="T10" fmla="*/ 41 w 44"/>
              <a:gd name="T11" fmla="*/ 6 h 19"/>
              <a:gd name="T12" fmla="*/ 44 w 44"/>
              <a:gd name="T13" fmla="*/ 10 h 19"/>
              <a:gd name="T14" fmla="*/ 44 w 44"/>
              <a:gd name="T15" fmla="*/ 13 h 19"/>
              <a:gd name="T16" fmla="*/ 38 w 44"/>
              <a:gd name="T17" fmla="*/ 13 h 19"/>
              <a:gd name="T18" fmla="*/ 34 w 44"/>
              <a:gd name="T19" fmla="*/ 13 h 19"/>
              <a:gd name="T20" fmla="*/ 31 w 44"/>
              <a:gd name="T21" fmla="*/ 16 h 19"/>
              <a:gd name="T22" fmla="*/ 31 w 44"/>
              <a:gd name="T23" fmla="*/ 16 h 19"/>
              <a:gd name="T24" fmla="*/ 28 w 44"/>
              <a:gd name="T25" fmla="*/ 13 h 19"/>
              <a:gd name="T26" fmla="*/ 25 w 44"/>
              <a:gd name="T27" fmla="*/ 13 h 19"/>
              <a:gd name="T28" fmla="*/ 25 w 44"/>
              <a:gd name="T29" fmla="*/ 19 h 19"/>
              <a:gd name="T30" fmla="*/ 22 w 44"/>
              <a:gd name="T31" fmla="*/ 16 h 19"/>
              <a:gd name="T32" fmla="*/ 19 w 44"/>
              <a:gd name="T33" fmla="*/ 16 h 19"/>
              <a:gd name="T34" fmla="*/ 13 w 44"/>
              <a:gd name="T35" fmla="*/ 16 h 19"/>
              <a:gd name="T36" fmla="*/ 9 w 44"/>
              <a:gd name="T37" fmla="*/ 13 h 19"/>
              <a:gd name="T38" fmla="*/ 9 w 44"/>
              <a:gd name="T39" fmla="*/ 6 h 19"/>
              <a:gd name="T40" fmla="*/ 6 w 44"/>
              <a:gd name="T41" fmla="*/ 6 h 19"/>
              <a:gd name="T42" fmla="*/ 3 w 44"/>
              <a:gd name="T43" fmla="*/ 6 h 19"/>
              <a:gd name="T44" fmla="*/ 0 w 44"/>
              <a:gd name="T45" fmla="*/ 3 h 19"/>
              <a:gd name="T46" fmla="*/ 3 w 44"/>
              <a:gd name="T47" fmla="*/ 0 h 19"/>
              <a:gd name="T48" fmla="*/ 6 w 44"/>
              <a:gd name="T4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19">
                <a:moveTo>
                  <a:pt x="6" y="0"/>
                </a:moveTo>
                <a:lnTo>
                  <a:pt x="9" y="0"/>
                </a:lnTo>
                <a:lnTo>
                  <a:pt x="16" y="0"/>
                </a:lnTo>
                <a:lnTo>
                  <a:pt x="31" y="0"/>
                </a:lnTo>
                <a:lnTo>
                  <a:pt x="34" y="6"/>
                </a:lnTo>
                <a:lnTo>
                  <a:pt x="41" y="6"/>
                </a:lnTo>
                <a:lnTo>
                  <a:pt x="44" y="10"/>
                </a:lnTo>
                <a:lnTo>
                  <a:pt x="44" y="13"/>
                </a:lnTo>
                <a:lnTo>
                  <a:pt x="38" y="13"/>
                </a:lnTo>
                <a:lnTo>
                  <a:pt x="34" y="13"/>
                </a:lnTo>
                <a:lnTo>
                  <a:pt x="31" y="16"/>
                </a:lnTo>
                <a:lnTo>
                  <a:pt x="31" y="16"/>
                </a:lnTo>
                <a:lnTo>
                  <a:pt x="28" y="13"/>
                </a:lnTo>
                <a:lnTo>
                  <a:pt x="25" y="13"/>
                </a:lnTo>
                <a:lnTo>
                  <a:pt x="25" y="19"/>
                </a:lnTo>
                <a:lnTo>
                  <a:pt x="22" y="16"/>
                </a:lnTo>
                <a:lnTo>
                  <a:pt x="19" y="16"/>
                </a:lnTo>
                <a:lnTo>
                  <a:pt x="13" y="16"/>
                </a:lnTo>
                <a:lnTo>
                  <a:pt x="9" y="13"/>
                </a:lnTo>
                <a:lnTo>
                  <a:pt x="9" y="6"/>
                </a:lnTo>
                <a:lnTo>
                  <a:pt x="6" y="6"/>
                </a:lnTo>
                <a:lnTo>
                  <a:pt x="3" y="6"/>
                </a:lnTo>
                <a:lnTo>
                  <a:pt x="0" y="3"/>
                </a:lnTo>
                <a:lnTo>
                  <a:pt x="3" y="0"/>
                </a:lnTo>
                <a:lnTo>
                  <a:pt x="6"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5" name="Freeform 173">
            <a:extLst>
              <a:ext uri="{FF2B5EF4-FFF2-40B4-BE49-F238E27FC236}">
                <a16:creationId xmlns:a16="http://schemas.microsoft.com/office/drawing/2014/main" id="{583C1B08-E6C0-599B-A719-1F568E64D1BC}"/>
              </a:ext>
            </a:extLst>
          </p:cNvPr>
          <p:cNvSpPr>
            <a:spLocks noEditPoints="1"/>
          </p:cNvSpPr>
          <p:nvPr userDrawn="1"/>
        </p:nvSpPr>
        <p:spPr bwMode="auto">
          <a:xfrm>
            <a:off x="8603689" y="8086007"/>
            <a:ext cx="168267" cy="139702"/>
          </a:xfrm>
          <a:custGeom>
            <a:avLst/>
            <a:gdLst>
              <a:gd name="T0" fmla="*/ 15 w 17"/>
              <a:gd name="T1" fmla="*/ 13 h 14"/>
              <a:gd name="T2" fmla="*/ 16 w 17"/>
              <a:gd name="T3" fmla="*/ 10 h 14"/>
              <a:gd name="T4" fmla="*/ 16 w 17"/>
              <a:gd name="T5" fmla="*/ 8 h 14"/>
              <a:gd name="T6" fmla="*/ 17 w 17"/>
              <a:gd name="T7" fmla="*/ 7 h 14"/>
              <a:gd name="T8" fmla="*/ 17 w 17"/>
              <a:gd name="T9" fmla="*/ 5 h 14"/>
              <a:gd name="T10" fmla="*/ 17 w 17"/>
              <a:gd name="T11" fmla="*/ 3 h 14"/>
              <a:gd name="T12" fmla="*/ 16 w 17"/>
              <a:gd name="T13" fmla="*/ 3 h 14"/>
              <a:gd name="T14" fmla="*/ 14 w 17"/>
              <a:gd name="T15" fmla="*/ 2 h 14"/>
              <a:gd name="T16" fmla="*/ 10 w 17"/>
              <a:gd name="T17" fmla="*/ 2 h 14"/>
              <a:gd name="T18" fmla="*/ 7 w 17"/>
              <a:gd name="T19" fmla="*/ 2 h 14"/>
              <a:gd name="T20" fmla="*/ 8 w 17"/>
              <a:gd name="T21" fmla="*/ 3 h 14"/>
              <a:gd name="T22" fmla="*/ 11 w 17"/>
              <a:gd name="T23" fmla="*/ 5 h 14"/>
              <a:gd name="T24" fmla="*/ 11 w 17"/>
              <a:gd name="T25" fmla="*/ 7 h 14"/>
              <a:gd name="T26" fmla="*/ 13 w 17"/>
              <a:gd name="T27" fmla="*/ 9 h 14"/>
              <a:gd name="T28" fmla="*/ 14 w 17"/>
              <a:gd name="T29" fmla="*/ 11 h 14"/>
              <a:gd name="T30" fmla="*/ 11 w 17"/>
              <a:gd name="T31" fmla="*/ 11 h 14"/>
              <a:gd name="T32" fmla="*/ 8 w 17"/>
              <a:gd name="T33" fmla="*/ 11 h 14"/>
              <a:gd name="T34" fmla="*/ 5 w 17"/>
              <a:gd name="T35" fmla="*/ 11 h 14"/>
              <a:gd name="T36" fmla="*/ 5 w 17"/>
              <a:gd name="T37" fmla="*/ 10 h 14"/>
              <a:gd name="T38" fmla="*/ 2 w 17"/>
              <a:gd name="T39" fmla="*/ 10 h 14"/>
              <a:gd name="T40" fmla="*/ 0 w 17"/>
              <a:gd name="T41" fmla="*/ 11 h 14"/>
              <a:gd name="T42" fmla="*/ 2 w 17"/>
              <a:gd name="T43" fmla="*/ 12 h 14"/>
              <a:gd name="T44" fmla="*/ 4 w 17"/>
              <a:gd name="T45" fmla="*/ 14 h 14"/>
              <a:gd name="T46" fmla="*/ 5 w 17"/>
              <a:gd name="T47" fmla="*/ 13 h 14"/>
              <a:gd name="T48" fmla="*/ 9 w 17"/>
              <a:gd name="T49" fmla="*/ 13 h 14"/>
              <a:gd name="T50" fmla="*/ 13 w 17"/>
              <a:gd name="T51" fmla="*/ 13 h 14"/>
              <a:gd name="T52" fmla="*/ 15 w 17"/>
              <a:gd name="T53" fmla="*/ 14 h 14"/>
              <a:gd name="T54" fmla="*/ 11 w 17"/>
              <a:gd name="T55" fmla="*/ 0 h 14"/>
              <a:gd name="T56" fmla="*/ 11 w 17"/>
              <a:gd name="T57" fmla="*/ 1 h 14"/>
              <a:gd name="T58" fmla="*/ 7 w 17"/>
              <a:gd name="T59" fmla="*/ 8 h 14"/>
              <a:gd name="T60" fmla="*/ 10 w 17"/>
              <a:gd name="T61" fmla="*/ 8 h 14"/>
              <a:gd name="T62" fmla="*/ 8 w 17"/>
              <a:gd name="T63"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14">
                <a:moveTo>
                  <a:pt x="15" y="14"/>
                </a:moveTo>
                <a:cubicBezTo>
                  <a:pt x="15" y="13"/>
                  <a:pt x="15" y="13"/>
                  <a:pt x="15" y="13"/>
                </a:cubicBezTo>
                <a:cubicBezTo>
                  <a:pt x="16" y="11"/>
                  <a:pt x="16" y="11"/>
                  <a:pt x="16" y="11"/>
                </a:cubicBezTo>
                <a:cubicBezTo>
                  <a:pt x="16" y="10"/>
                  <a:pt x="16" y="10"/>
                  <a:pt x="16" y="10"/>
                </a:cubicBezTo>
                <a:cubicBezTo>
                  <a:pt x="16" y="9"/>
                  <a:pt x="16" y="9"/>
                  <a:pt x="16" y="9"/>
                </a:cubicBezTo>
                <a:cubicBezTo>
                  <a:pt x="16" y="8"/>
                  <a:pt x="16" y="8"/>
                  <a:pt x="16" y="8"/>
                </a:cubicBezTo>
                <a:cubicBezTo>
                  <a:pt x="16" y="8"/>
                  <a:pt x="16" y="8"/>
                  <a:pt x="16" y="8"/>
                </a:cubicBezTo>
                <a:cubicBezTo>
                  <a:pt x="17" y="7"/>
                  <a:pt x="17" y="7"/>
                  <a:pt x="17" y="7"/>
                </a:cubicBezTo>
                <a:cubicBezTo>
                  <a:pt x="17" y="6"/>
                  <a:pt x="17" y="6"/>
                  <a:pt x="17" y="6"/>
                </a:cubicBezTo>
                <a:cubicBezTo>
                  <a:pt x="17" y="5"/>
                  <a:pt x="17" y="5"/>
                  <a:pt x="17" y="5"/>
                </a:cubicBezTo>
                <a:cubicBezTo>
                  <a:pt x="17" y="4"/>
                  <a:pt x="17" y="4"/>
                  <a:pt x="17" y="4"/>
                </a:cubicBezTo>
                <a:cubicBezTo>
                  <a:pt x="17" y="3"/>
                  <a:pt x="17" y="3"/>
                  <a:pt x="17" y="3"/>
                </a:cubicBezTo>
                <a:cubicBezTo>
                  <a:pt x="17" y="3"/>
                  <a:pt x="17" y="3"/>
                  <a:pt x="17" y="3"/>
                </a:cubicBezTo>
                <a:cubicBezTo>
                  <a:pt x="16" y="3"/>
                  <a:pt x="16" y="3"/>
                  <a:pt x="16" y="3"/>
                </a:cubicBezTo>
                <a:cubicBezTo>
                  <a:pt x="15" y="3"/>
                  <a:pt x="15" y="3"/>
                  <a:pt x="15" y="3"/>
                </a:cubicBezTo>
                <a:cubicBezTo>
                  <a:pt x="14" y="2"/>
                  <a:pt x="14" y="2"/>
                  <a:pt x="14" y="2"/>
                </a:cubicBezTo>
                <a:cubicBezTo>
                  <a:pt x="11" y="2"/>
                  <a:pt x="11" y="2"/>
                  <a:pt x="11" y="2"/>
                </a:cubicBezTo>
                <a:cubicBezTo>
                  <a:pt x="10" y="2"/>
                  <a:pt x="10" y="2"/>
                  <a:pt x="10" y="2"/>
                </a:cubicBezTo>
                <a:cubicBezTo>
                  <a:pt x="9" y="2"/>
                  <a:pt x="9" y="2"/>
                  <a:pt x="9" y="2"/>
                </a:cubicBezTo>
                <a:cubicBezTo>
                  <a:pt x="7" y="2"/>
                  <a:pt x="7" y="2"/>
                  <a:pt x="7" y="2"/>
                </a:cubicBezTo>
                <a:cubicBezTo>
                  <a:pt x="7" y="2"/>
                  <a:pt x="7" y="2"/>
                  <a:pt x="7" y="2"/>
                </a:cubicBezTo>
                <a:cubicBezTo>
                  <a:pt x="7" y="2"/>
                  <a:pt x="8" y="3"/>
                  <a:pt x="8" y="3"/>
                </a:cubicBezTo>
                <a:cubicBezTo>
                  <a:pt x="11" y="4"/>
                  <a:pt x="11" y="4"/>
                  <a:pt x="11" y="4"/>
                </a:cubicBezTo>
                <a:cubicBezTo>
                  <a:pt x="11" y="5"/>
                  <a:pt x="11" y="5"/>
                  <a:pt x="11" y="5"/>
                </a:cubicBezTo>
                <a:cubicBezTo>
                  <a:pt x="11" y="6"/>
                  <a:pt x="11" y="6"/>
                  <a:pt x="11" y="6"/>
                </a:cubicBezTo>
                <a:cubicBezTo>
                  <a:pt x="11" y="7"/>
                  <a:pt x="11" y="7"/>
                  <a:pt x="11" y="7"/>
                </a:cubicBezTo>
                <a:cubicBezTo>
                  <a:pt x="11" y="8"/>
                  <a:pt x="11" y="8"/>
                  <a:pt x="11" y="8"/>
                </a:cubicBezTo>
                <a:cubicBezTo>
                  <a:pt x="13" y="9"/>
                  <a:pt x="13" y="9"/>
                  <a:pt x="13" y="9"/>
                </a:cubicBezTo>
                <a:cubicBezTo>
                  <a:pt x="14" y="10"/>
                  <a:pt x="14" y="10"/>
                  <a:pt x="14" y="10"/>
                </a:cubicBezTo>
                <a:cubicBezTo>
                  <a:pt x="14" y="11"/>
                  <a:pt x="14" y="11"/>
                  <a:pt x="14" y="11"/>
                </a:cubicBezTo>
                <a:cubicBezTo>
                  <a:pt x="11" y="11"/>
                  <a:pt x="11" y="11"/>
                  <a:pt x="11" y="11"/>
                </a:cubicBezTo>
                <a:cubicBezTo>
                  <a:pt x="11" y="11"/>
                  <a:pt x="11" y="11"/>
                  <a:pt x="11" y="11"/>
                </a:cubicBezTo>
                <a:cubicBezTo>
                  <a:pt x="9" y="11"/>
                  <a:pt x="9" y="11"/>
                  <a:pt x="9" y="11"/>
                </a:cubicBezTo>
                <a:cubicBezTo>
                  <a:pt x="8" y="11"/>
                  <a:pt x="8" y="11"/>
                  <a:pt x="8" y="11"/>
                </a:cubicBezTo>
                <a:cubicBezTo>
                  <a:pt x="7" y="10"/>
                  <a:pt x="7" y="10"/>
                  <a:pt x="7" y="10"/>
                </a:cubicBezTo>
                <a:cubicBezTo>
                  <a:pt x="5" y="11"/>
                  <a:pt x="5" y="11"/>
                  <a:pt x="5" y="11"/>
                </a:cubicBezTo>
                <a:cubicBezTo>
                  <a:pt x="5" y="10"/>
                  <a:pt x="5" y="10"/>
                  <a:pt x="5" y="10"/>
                </a:cubicBezTo>
                <a:cubicBezTo>
                  <a:pt x="5" y="10"/>
                  <a:pt x="5" y="10"/>
                  <a:pt x="5" y="10"/>
                </a:cubicBezTo>
                <a:cubicBezTo>
                  <a:pt x="3" y="11"/>
                  <a:pt x="3" y="11"/>
                  <a:pt x="3" y="11"/>
                </a:cubicBezTo>
                <a:cubicBezTo>
                  <a:pt x="2" y="10"/>
                  <a:pt x="2" y="10"/>
                  <a:pt x="2" y="10"/>
                </a:cubicBezTo>
                <a:cubicBezTo>
                  <a:pt x="0" y="10"/>
                  <a:pt x="0" y="10"/>
                  <a:pt x="0" y="10"/>
                </a:cubicBezTo>
                <a:cubicBezTo>
                  <a:pt x="0" y="11"/>
                  <a:pt x="0" y="11"/>
                  <a:pt x="0" y="11"/>
                </a:cubicBezTo>
                <a:cubicBezTo>
                  <a:pt x="0" y="12"/>
                  <a:pt x="0" y="12"/>
                  <a:pt x="0" y="12"/>
                </a:cubicBezTo>
                <a:cubicBezTo>
                  <a:pt x="2" y="12"/>
                  <a:pt x="2" y="12"/>
                  <a:pt x="2" y="12"/>
                </a:cubicBezTo>
                <a:cubicBezTo>
                  <a:pt x="3" y="14"/>
                  <a:pt x="3" y="14"/>
                  <a:pt x="3" y="14"/>
                </a:cubicBezTo>
                <a:cubicBezTo>
                  <a:pt x="4" y="14"/>
                  <a:pt x="4" y="14"/>
                  <a:pt x="4" y="14"/>
                </a:cubicBezTo>
                <a:cubicBezTo>
                  <a:pt x="4" y="13"/>
                  <a:pt x="4" y="13"/>
                  <a:pt x="4" y="13"/>
                </a:cubicBezTo>
                <a:cubicBezTo>
                  <a:pt x="5" y="13"/>
                  <a:pt x="5" y="13"/>
                  <a:pt x="5" y="13"/>
                </a:cubicBezTo>
                <a:cubicBezTo>
                  <a:pt x="7" y="13"/>
                  <a:pt x="7" y="13"/>
                  <a:pt x="7" y="13"/>
                </a:cubicBezTo>
                <a:cubicBezTo>
                  <a:pt x="9" y="13"/>
                  <a:pt x="9" y="13"/>
                  <a:pt x="9" y="13"/>
                </a:cubicBezTo>
                <a:cubicBezTo>
                  <a:pt x="12" y="13"/>
                  <a:pt x="12" y="13"/>
                  <a:pt x="12" y="13"/>
                </a:cubicBezTo>
                <a:cubicBezTo>
                  <a:pt x="13" y="13"/>
                  <a:pt x="13" y="13"/>
                  <a:pt x="13" y="13"/>
                </a:cubicBezTo>
                <a:cubicBezTo>
                  <a:pt x="14" y="13"/>
                  <a:pt x="14" y="13"/>
                  <a:pt x="14" y="13"/>
                </a:cubicBezTo>
                <a:cubicBezTo>
                  <a:pt x="15" y="14"/>
                  <a:pt x="15" y="14"/>
                  <a:pt x="15" y="14"/>
                </a:cubicBezTo>
                <a:close/>
                <a:moveTo>
                  <a:pt x="10" y="0"/>
                </a:moveTo>
                <a:cubicBezTo>
                  <a:pt x="11" y="0"/>
                  <a:pt x="11" y="0"/>
                  <a:pt x="11" y="0"/>
                </a:cubicBezTo>
                <a:cubicBezTo>
                  <a:pt x="13" y="1"/>
                  <a:pt x="13" y="1"/>
                  <a:pt x="13" y="1"/>
                </a:cubicBezTo>
                <a:cubicBezTo>
                  <a:pt x="11" y="1"/>
                  <a:pt x="11" y="1"/>
                  <a:pt x="11" y="1"/>
                </a:cubicBezTo>
                <a:cubicBezTo>
                  <a:pt x="10" y="0"/>
                  <a:pt x="10" y="0"/>
                  <a:pt x="10" y="0"/>
                </a:cubicBezTo>
                <a:close/>
                <a:moveTo>
                  <a:pt x="7" y="8"/>
                </a:moveTo>
                <a:cubicBezTo>
                  <a:pt x="9" y="7"/>
                  <a:pt x="9" y="7"/>
                  <a:pt x="9" y="7"/>
                </a:cubicBezTo>
                <a:cubicBezTo>
                  <a:pt x="10" y="8"/>
                  <a:pt x="10" y="8"/>
                  <a:pt x="10" y="8"/>
                </a:cubicBezTo>
                <a:cubicBezTo>
                  <a:pt x="10" y="9"/>
                  <a:pt x="10" y="9"/>
                  <a:pt x="10" y="9"/>
                </a:cubicBezTo>
                <a:cubicBezTo>
                  <a:pt x="8" y="9"/>
                  <a:pt x="8" y="9"/>
                  <a:pt x="8" y="9"/>
                </a:cubicBezTo>
                <a:lnTo>
                  <a:pt x="7" y="8"/>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6" name="Freeform 174">
            <a:extLst>
              <a:ext uri="{FF2B5EF4-FFF2-40B4-BE49-F238E27FC236}">
                <a16:creationId xmlns:a16="http://schemas.microsoft.com/office/drawing/2014/main" id="{68F24B00-3D21-7270-2EA8-68ACA1209A96}"/>
              </a:ext>
            </a:extLst>
          </p:cNvPr>
          <p:cNvSpPr>
            <a:spLocks noEditPoints="1"/>
          </p:cNvSpPr>
          <p:nvPr userDrawn="1"/>
        </p:nvSpPr>
        <p:spPr bwMode="auto">
          <a:xfrm>
            <a:off x="7959204" y="7876461"/>
            <a:ext cx="663533" cy="238126"/>
          </a:xfrm>
          <a:custGeom>
            <a:avLst/>
            <a:gdLst>
              <a:gd name="T0" fmla="*/ 44 w 209"/>
              <a:gd name="T1" fmla="*/ 28 h 75"/>
              <a:gd name="T2" fmla="*/ 44 w 209"/>
              <a:gd name="T3" fmla="*/ 38 h 75"/>
              <a:gd name="T4" fmla="*/ 41 w 209"/>
              <a:gd name="T5" fmla="*/ 34 h 75"/>
              <a:gd name="T6" fmla="*/ 41 w 209"/>
              <a:gd name="T7" fmla="*/ 31 h 75"/>
              <a:gd name="T8" fmla="*/ 13 w 209"/>
              <a:gd name="T9" fmla="*/ 19 h 75"/>
              <a:gd name="T10" fmla="*/ 9 w 209"/>
              <a:gd name="T11" fmla="*/ 22 h 75"/>
              <a:gd name="T12" fmla="*/ 0 w 209"/>
              <a:gd name="T13" fmla="*/ 28 h 75"/>
              <a:gd name="T14" fmla="*/ 9 w 209"/>
              <a:gd name="T15" fmla="*/ 25 h 75"/>
              <a:gd name="T16" fmla="*/ 19 w 209"/>
              <a:gd name="T17" fmla="*/ 25 h 75"/>
              <a:gd name="T18" fmla="*/ 28 w 209"/>
              <a:gd name="T19" fmla="*/ 19 h 75"/>
              <a:gd name="T20" fmla="*/ 41 w 209"/>
              <a:gd name="T21" fmla="*/ 13 h 75"/>
              <a:gd name="T22" fmla="*/ 53 w 209"/>
              <a:gd name="T23" fmla="*/ 13 h 75"/>
              <a:gd name="T24" fmla="*/ 69 w 209"/>
              <a:gd name="T25" fmla="*/ 16 h 75"/>
              <a:gd name="T26" fmla="*/ 56 w 209"/>
              <a:gd name="T27" fmla="*/ 19 h 75"/>
              <a:gd name="T28" fmla="*/ 75 w 209"/>
              <a:gd name="T29" fmla="*/ 22 h 75"/>
              <a:gd name="T30" fmla="*/ 88 w 209"/>
              <a:gd name="T31" fmla="*/ 25 h 75"/>
              <a:gd name="T32" fmla="*/ 94 w 209"/>
              <a:gd name="T33" fmla="*/ 25 h 75"/>
              <a:gd name="T34" fmla="*/ 106 w 209"/>
              <a:gd name="T35" fmla="*/ 31 h 75"/>
              <a:gd name="T36" fmla="*/ 116 w 209"/>
              <a:gd name="T37" fmla="*/ 34 h 75"/>
              <a:gd name="T38" fmla="*/ 125 w 209"/>
              <a:gd name="T39" fmla="*/ 34 h 75"/>
              <a:gd name="T40" fmla="*/ 138 w 209"/>
              <a:gd name="T41" fmla="*/ 53 h 75"/>
              <a:gd name="T42" fmla="*/ 150 w 209"/>
              <a:gd name="T43" fmla="*/ 53 h 75"/>
              <a:gd name="T44" fmla="*/ 153 w 209"/>
              <a:gd name="T45" fmla="*/ 63 h 75"/>
              <a:gd name="T46" fmla="*/ 144 w 209"/>
              <a:gd name="T47" fmla="*/ 72 h 75"/>
              <a:gd name="T48" fmla="*/ 156 w 209"/>
              <a:gd name="T49" fmla="*/ 72 h 75"/>
              <a:gd name="T50" fmla="*/ 178 w 209"/>
              <a:gd name="T51" fmla="*/ 75 h 75"/>
              <a:gd name="T52" fmla="*/ 194 w 209"/>
              <a:gd name="T53" fmla="*/ 69 h 75"/>
              <a:gd name="T54" fmla="*/ 206 w 209"/>
              <a:gd name="T55" fmla="*/ 66 h 75"/>
              <a:gd name="T56" fmla="*/ 203 w 209"/>
              <a:gd name="T57" fmla="*/ 60 h 75"/>
              <a:gd name="T58" fmla="*/ 184 w 209"/>
              <a:gd name="T59" fmla="*/ 53 h 75"/>
              <a:gd name="T60" fmla="*/ 184 w 209"/>
              <a:gd name="T61" fmla="*/ 44 h 75"/>
              <a:gd name="T62" fmla="*/ 175 w 209"/>
              <a:gd name="T63" fmla="*/ 44 h 75"/>
              <a:gd name="T64" fmla="*/ 163 w 209"/>
              <a:gd name="T65" fmla="*/ 38 h 75"/>
              <a:gd name="T66" fmla="*/ 153 w 209"/>
              <a:gd name="T67" fmla="*/ 34 h 75"/>
              <a:gd name="T68" fmla="*/ 150 w 209"/>
              <a:gd name="T69" fmla="*/ 34 h 75"/>
              <a:gd name="T70" fmla="*/ 134 w 209"/>
              <a:gd name="T71" fmla="*/ 25 h 75"/>
              <a:gd name="T72" fmla="*/ 116 w 209"/>
              <a:gd name="T73" fmla="*/ 19 h 75"/>
              <a:gd name="T74" fmla="*/ 106 w 209"/>
              <a:gd name="T75" fmla="*/ 6 h 75"/>
              <a:gd name="T76" fmla="*/ 84 w 209"/>
              <a:gd name="T77" fmla="*/ 3 h 75"/>
              <a:gd name="T78" fmla="*/ 72 w 209"/>
              <a:gd name="T79" fmla="*/ 0 h 75"/>
              <a:gd name="T80" fmla="*/ 50 w 209"/>
              <a:gd name="T81" fmla="*/ 3 h 75"/>
              <a:gd name="T82" fmla="*/ 28 w 209"/>
              <a:gd name="T83" fmla="*/ 6 h 75"/>
              <a:gd name="T84" fmla="*/ 13 w 209"/>
              <a:gd name="T85" fmla="*/ 1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9" h="75">
                <a:moveTo>
                  <a:pt x="41" y="28"/>
                </a:moveTo>
                <a:lnTo>
                  <a:pt x="41" y="25"/>
                </a:lnTo>
                <a:lnTo>
                  <a:pt x="44" y="28"/>
                </a:lnTo>
                <a:lnTo>
                  <a:pt x="50" y="31"/>
                </a:lnTo>
                <a:lnTo>
                  <a:pt x="47" y="34"/>
                </a:lnTo>
                <a:lnTo>
                  <a:pt x="44" y="38"/>
                </a:lnTo>
                <a:lnTo>
                  <a:pt x="38" y="34"/>
                </a:lnTo>
                <a:lnTo>
                  <a:pt x="38" y="31"/>
                </a:lnTo>
                <a:lnTo>
                  <a:pt x="41" y="34"/>
                </a:lnTo>
                <a:lnTo>
                  <a:pt x="41" y="34"/>
                </a:lnTo>
                <a:lnTo>
                  <a:pt x="44" y="31"/>
                </a:lnTo>
                <a:lnTo>
                  <a:pt x="41" y="31"/>
                </a:lnTo>
                <a:lnTo>
                  <a:pt x="41" y="28"/>
                </a:lnTo>
                <a:lnTo>
                  <a:pt x="41" y="28"/>
                </a:lnTo>
                <a:close/>
                <a:moveTo>
                  <a:pt x="13" y="19"/>
                </a:moveTo>
                <a:lnTo>
                  <a:pt x="16" y="22"/>
                </a:lnTo>
                <a:lnTo>
                  <a:pt x="13" y="25"/>
                </a:lnTo>
                <a:lnTo>
                  <a:pt x="9" y="22"/>
                </a:lnTo>
                <a:lnTo>
                  <a:pt x="3" y="28"/>
                </a:lnTo>
                <a:lnTo>
                  <a:pt x="0" y="25"/>
                </a:lnTo>
                <a:lnTo>
                  <a:pt x="0" y="28"/>
                </a:lnTo>
                <a:lnTo>
                  <a:pt x="3" y="31"/>
                </a:lnTo>
                <a:lnTo>
                  <a:pt x="9" y="25"/>
                </a:lnTo>
                <a:lnTo>
                  <a:pt x="9" y="25"/>
                </a:lnTo>
                <a:lnTo>
                  <a:pt x="9" y="28"/>
                </a:lnTo>
                <a:lnTo>
                  <a:pt x="16" y="28"/>
                </a:lnTo>
                <a:lnTo>
                  <a:pt x="19" y="25"/>
                </a:lnTo>
                <a:lnTo>
                  <a:pt x="22" y="22"/>
                </a:lnTo>
                <a:lnTo>
                  <a:pt x="28" y="22"/>
                </a:lnTo>
                <a:lnTo>
                  <a:pt x="28" y="19"/>
                </a:lnTo>
                <a:lnTo>
                  <a:pt x="31" y="22"/>
                </a:lnTo>
                <a:lnTo>
                  <a:pt x="34" y="22"/>
                </a:lnTo>
                <a:lnTo>
                  <a:pt x="41" y="13"/>
                </a:lnTo>
                <a:lnTo>
                  <a:pt x="44" y="13"/>
                </a:lnTo>
                <a:lnTo>
                  <a:pt x="47" y="9"/>
                </a:lnTo>
                <a:lnTo>
                  <a:pt x="53" y="13"/>
                </a:lnTo>
                <a:lnTo>
                  <a:pt x="56" y="13"/>
                </a:lnTo>
                <a:lnTo>
                  <a:pt x="66" y="13"/>
                </a:lnTo>
                <a:lnTo>
                  <a:pt x="69" y="16"/>
                </a:lnTo>
                <a:lnTo>
                  <a:pt x="66" y="16"/>
                </a:lnTo>
                <a:lnTo>
                  <a:pt x="59" y="16"/>
                </a:lnTo>
                <a:lnTo>
                  <a:pt x="56" y="19"/>
                </a:lnTo>
                <a:lnTo>
                  <a:pt x="59" y="22"/>
                </a:lnTo>
                <a:lnTo>
                  <a:pt x="72" y="22"/>
                </a:lnTo>
                <a:lnTo>
                  <a:pt x="75" y="22"/>
                </a:lnTo>
                <a:lnTo>
                  <a:pt x="78" y="22"/>
                </a:lnTo>
                <a:lnTo>
                  <a:pt x="81" y="25"/>
                </a:lnTo>
                <a:lnTo>
                  <a:pt x="88" y="25"/>
                </a:lnTo>
                <a:lnTo>
                  <a:pt x="91" y="25"/>
                </a:lnTo>
                <a:lnTo>
                  <a:pt x="91" y="22"/>
                </a:lnTo>
                <a:lnTo>
                  <a:pt x="94" y="25"/>
                </a:lnTo>
                <a:lnTo>
                  <a:pt x="94" y="25"/>
                </a:lnTo>
                <a:lnTo>
                  <a:pt x="100" y="31"/>
                </a:lnTo>
                <a:lnTo>
                  <a:pt x="106" y="31"/>
                </a:lnTo>
                <a:lnTo>
                  <a:pt x="106" y="31"/>
                </a:lnTo>
                <a:lnTo>
                  <a:pt x="109" y="34"/>
                </a:lnTo>
                <a:lnTo>
                  <a:pt x="116" y="34"/>
                </a:lnTo>
                <a:lnTo>
                  <a:pt x="119" y="34"/>
                </a:lnTo>
                <a:lnTo>
                  <a:pt x="122" y="31"/>
                </a:lnTo>
                <a:lnTo>
                  <a:pt x="125" y="34"/>
                </a:lnTo>
                <a:lnTo>
                  <a:pt x="128" y="44"/>
                </a:lnTo>
                <a:lnTo>
                  <a:pt x="134" y="53"/>
                </a:lnTo>
                <a:lnTo>
                  <a:pt x="138" y="53"/>
                </a:lnTo>
                <a:lnTo>
                  <a:pt x="141" y="50"/>
                </a:lnTo>
                <a:lnTo>
                  <a:pt x="144" y="53"/>
                </a:lnTo>
                <a:lnTo>
                  <a:pt x="150" y="53"/>
                </a:lnTo>
                <a:lnTo>
                  <a:pt x="153" y="56"/>
                </a:lnTo>
                <a:lnTo>
                  <a:pt x="156" y="56"/>
                </a:lnTo>
                <a:lnTo>
                  <a:pt x="153" y="63"/>
                </a:lnTo>
                <a:lnTo>
                  <a:pt x="150" y="63"/>
                </a:lnTo>
                <a:lnTo>
                  <a:pt x="144" y="69"/>
                </a:lnTo>
                <a:lnTo>
                  <a:pt x="144" y="72"/>
                </a:lnTo>
                <a:lnTo>
                  <a:pt x="150" y="72"/>
                </a:lnTo>
                <a:lnTo>
                  <a:pt x="153" y="72"/>
                </a:lnTo>
                <a:lnTo>
                  <a:pt x="156" y="72"/>
                </a:lnTo>
                <a:lnTo>
                  <a:pt x="166" y="69"/>
                </a:lnTo>
                <a:lnTo>
                  <a:pt x="172" y="72"/>
                </a:lnTo>
                <a:lnTo>
                  <a:pt x="178" y="75"/>
                </a:lnTo>
                <a:lnTo>
                  <a:pt x="191" y="72"/>
                </a:lnTo>
                <a:lnTo>
                  <a:pt x="191" y="69"/>
                </a:lnTo>
                <a:lnTo>
                  <a:pt x="194" y="69"/>
                </a:lnTo>
                <a:lnTo>
                  <a:pt x="197" y="66"/>
                </a:lnTo>
                <a:lnTo>
                  <a:pt x="203" y="69"/>
                </a:lnTo>
                <a:lnTo>
                  <a:pt x="206" y="66"/>
                </a:lnTo>
                <a:lnTo>
                  <a:pt x="209" y="63"/>
                </a:lnTo>
                <a:lnTo>
                  <a:pt x="209" y="60"/>
                </a:lnTo>
                <a:lnTo>
                  <a:pt x="203" y="60"/>
                </a:lnTo>
                <a:lnTo>
                  <a:pt x="203" y="56"/>
                </a:lnTo>
                <a:lnTo>
                  <a:pt x="194" y="53"/>
                </a:lnTo>
                <a:lnTo>
                  <a:pt x="184" y="53"/>
                </a:lnTo>
                <a:lnTo>
                  <a:pt x="181" y="50"/>
                </a:lnTo>
                <a:lnTo>
                  <a:pt x="181" y="50"/>
                </a:lnTo>
                <a:lnTo>
                  <a:pt x="184" y="44"/>
                </a:lnTo>
                <a:lnTo>
                  <a:pt x="181" y="44"/>
                </a:lnTo>
                <a:lnTo>
                  <a:pt x="178" y="44"/>
                </a:lnTo>
                <a:lnTo>
                  <a:pt x="175" y="44"/>
                </a:lnTo>
                <a:lnTo>
                  <a:pt x="169" y="38"/>
                </a:lnTo>
                <a:lnTo>
                  <a:pt x="166" y="41"/>
                </a:lnTo>
                <a:lnTo>
                  <a:pt x="163" y="38"/>
                </a:lnTo>
                <a:lnTo>
                  <a:pt x="156" y="34"/>
                </a:lnTo>
                <a:lnTo>
                  <a:pt x="153" y="38"/>
                </a:lnTo>
                <a:lnTo>
                  <a:pt x="153" y="34"/>
                </a:lnTo>
                <a:lnTo>
                  <a:pt x="153" y="31"/>
                </a:lnTo>
                <a:lnTo>
                  <a:pt x="150" y="31"/>
                </a:lnTo>
                <a:lnTo>
                  <a:pt x="150" y="34"/>
                </a:lnTo>
                <a:lnTo>
                  <a:pt x="147" y="31"/>
                </a:lnTo>
                <a:lnTo>
                  <a:pt x="141" y="31"/>
                </a:lnTo>
                <a:lnTo>
                  <a:pt x="134" y="25"/>
                </a:lnTo>
                <a:lnTo>
                  <a:pt x="131" y="22"/>
                </a:lnTo>
                <a:lnTo>
                  <a:pt x="125" y="19"/>
                </a:lnTo>
                <a:lnTo>
                  <a:pt x="116" y="19"/>
                </a:lnTo>
                <a:lnTo>
                  <a:pt x="113" y="16"/>
                </a:lnTo>
                <a:lnTo>
                  <a:pt x="109" y="13"/>
                </a:lnTo>
                <a:lnTo>
                  <a:pt x="106" y="6"/>
                </a:lnTo>
                <a:lnTo>
                  <a:pt x="100" y="9"/>
                </a:lnTo>
                <a:lnTo>
                  <a:pt x="100" y="6"/>
                </a:lnTo>
                <a:lnTo>
                  <a:pt x="84" y="3"/>
                </a:lnTo>
                <a:lnTo>
                  <a:pt x="81" y="6"/>
                </a:lnTo>
                <a:lnTo>
                  <a:pt x="75" y="3"/>
                </a:lnTo>
                <a:lnTo>
                  <a:pt x="72" y="0"/>
                </a:lnTo>
                <a:lnTo>
                  <a:pt x="63" y="0"/>
                </a:lnTo>
                <a:lnTo>
                  <a:pt x="53" y="0"/>
                </a:lnTo>
                <a:lnTo>
                  <a:pt x="50" y="3"/>
                </a:lnTo>
                <a:lnTo>
                  <a:pt x="38" y="3"/>
                </a:lnTo>
                <a:lnTo>
                  <a:pt x="31" y="3"/>
                </a:lnTo>
                <a:lnTo>
                  <a:pt x="28" y="6"/>
                </a:lnTo>
                <a:lnTo>
                  <a:pt x="19" y="9"/>
                </a:lnTo>
                <a:lnTo>
                  <a:pt x="16" y="13"/>
                </a:lnTo>
                <a:lnTo>
                  <a:pt x="13" y="16"/>
                </a:lnTo>
                <a:lnTo>
                  <a:pt x="13" y="19"/>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7" name="Freeform 175">
            <a:extLst>
              <a:ext uri="{FF2B5EF4-FFF2-40B4-BE49-F238E27FC236}">
                <a16:creationId xmlns:a16="http://schemas.microsoft.com/office/drawing/2014/main" id="{F6F02A16-5D98-A7A9-926E-EDF41F9E6314}"/>
              </a:ext>
            </a:extLst>
          </p:cNvPr>
          <p:cNvSpPr>
            <a:spLocks noEditPoints="1"/>
          </p:cNvSpPr>
          <p:nvPr userDrawn="1"/>
        </p:nvSpPr>
        <p:spPr bwMode="auto">
          <a:xfrm>
            <a:off x="8365577" y="7619285"/>
            <a:ext cx="358753" cy="415926"/>
          </a:xfrm>
          <a:custGeom>
            <a:avLst/>
            <a:gdLst>
              <a:gd name="T0" fmla="*/ 106 w 113"/>
              <a:gd name="T1" fmla="*/ 115 h 131"/>
              <a:gd name="T2" fmla="*/ 91 w 113"/>
              <a:gd name="T3" fmla="*/ 131 h 131"/>
              <a:gd name="T4" fmla="*/ 106 w 113"/>
              <a:gd name="T5" fmla="*/ 122 h 131"/>
              <a:gd name="T6" fmla="*/ 97 w 113"/>
              <a:gd name="T7" fmla="*/ 122 h 131"/>
              <a:gd name="T8" fmla="*/ 91 w 113"/>
              <a:gd name="T9" fmla="*/ 131 h 131"/>
              <a:gd name="T10" fmla="*/ 113 w 113"/>
              <a:gd name="T11" fmla="*/ 100 h 131"/>
              <a:gd name="T12" fmla="*/ 106 w 113"/>
              <a:gd name="T13" fmla="*/ 100 h 131"/>
              <a:gd name="T14" fmla="*/ 94 w 113"/>
              <a:gd name="T15" fmla="*/ 90 h 131"/>
              <a:gd name="T16" fmla="*/ 85 w 113"/>
              <a:gd name="T17" fmla="*/ 97 h 131"/>
              <a:gd name="T18" fmla="*/ 85 w 113"/>
              <a:gd name="T19" fmla="*/ 100 h 131"/>
              <a:gd name="T20" fmla="*/ 94 w 113"/>
              <a:gd name="T21" fmla="*/ 90 h 131"/>
              <a:gd name="T22" fmla="*/ 85 w 113"/>
              <a:gd name="T23" fmla="*/ 87 h 131"/>
              <a:gd name="T24" fmla="*/ 81 w 113"/>
              <a:gd name="T25" fmla="*/ 87 h 131"/>
              <a:gd name="T26" fmla="*/ 66 w 113"/>
              <a:gd name="T27" fmla="*/ 72 h 131"/>
              <a:gd name="T28" fmla="*/ 75 w 113"/>
              <a:gd name="T29" fmla="*/ 87 h 131"/>
              <a:gd name="T30" fmla="*/ 66 w 113"/>
              <a:gd name="T31" fmla="*/ 78 h 131"/>
              <a:gd name="T32" fmla="*/ 66 w 113"/>
              <a:gd name="T33" fmla="*/ 72 h 131"/>
              <a:gd name="T34" fmla="*/ 50 w 113"/>
              <a:gd name="T35" fmla="*/ 72 h 131"/>
              <a:gd name="T36" fmla="*/ 53 w 113"/>
              <a:gd name="T37" fmla="*/ 69 h 131"/>
              <a:gd name="T38" fmla="*/ 81 w 113"/>
              <a:gd name="T39" fmla="*/ 65 h 131"/>
              <a:gd name="T40" fmla="*/ 81 w 113"/>
              <a:gd name="T41" fmla="*/ 59 h 131"/>
              <a:gd name="T42" fmla="*/ 63 w 113"/>
              <a:gd name="T43" fmla="*/ 56 h 131"/>
              <a:gd name="T44" fmla="*/ 66 w 113"/>
              <a:gd name="T45" fmla="*/ 65 h 131"/>
              <a:gd name="T46" fmla="*/ 66 w 113"/>
              <a:gd name="T47" fmla="*/ 56 h 131"/>
              <a:gd name="T48" fmla="*/ 63 w 113"/>
              <a:gd name="T49" fmla="*/ 50 h 131"/>
              <a:gd name="T50" fmla="*/ 53 w 113"/>
              <a:gd name="T51" fmla="*/ 40 h 131"/>
              <a:gd name="T52" fmla="*/ 50 w 113"/>
              <a:gd name="T53" fmla="*/ 47 h 131"/>
              <a:gd name="T54" fmla="*/ 50 w 113"/>
              <a:gd name="T55" fmla="*/ 37 h 131"/>
              <a:gd name="T56" fmla="*/ 44 w 113"/>
              <a:gd name="T57" fmla="*/ 34 h 131"/>
              <a:gd name="T58" fmla="*/ 38 w 113"/>
              <a:gd name="T59" fmla="*/ 3 h 131"/>
              <a:gd name="T60" fmla="*/ 41 w 113"/>
              <a:gd name="T61" fmla="*/ 15 h 131"/>
              <a:gd name="T62" fmla="*/ 35 w 113"/>
              <a:gd name="T63" fmla="*/ 22 h 131"/>
              <a:gd name="T64" fmla="*/ 35 w 113"/>
              <a:gd name="T65" fmla="*/ 9 h 131"/>
              <a:gd name="T66" fmla="*/ 25 w 113"/>
              <a:gd name="T67" fmla="*/ 0 h 131"/>
              <a:gd name="T68" fmla="*/ 6 w 113"/>
              <a:gd name="T69" fmla="*/ 3 h 131"/>
              <a:gd name="T70" fmla="*/ 19 w 113"/>
              <a:gd name="T71" fmla="*/ 0 h 131"/>
              <a:gd name="T72" fmla="*/ 19 w 113"/>
              <a:gd name="T73" fmla="*/ 3 h 131"/>
              <a:gd name="T74" fmla="*/ 0 w 113"/>
              <a:gd name="T75" fmla="*/ 3 h 131"/>
              <a:gd name="T76" fmla="*/ 31 w 113"/>
              <a:gd name="T77" fmla="*/ 37 h 131"/>
              <a:gd name="T78" fmla="*/ 28 w 113"/>
              <a:gd name="T79" fmla="*/ 40 h 131"/>
              <a:gd name="T80" fmla="*/ 19 w 113"/>
              <a:gd name="T81" fmla="*/ 59 h 131"/>
              <a:gd name="T82" fmla="*/ 19 w 113"/>
              <a:gd name="T83" fmla="*/ 59 h 131"/>
              <a:gd name="T84" fmla="*/ 19 w 113"/>
              <a:gd name="T85" fmla="*/ 59 h 131"/>
              <a:gd name="T86" fmla="*/ 16 w 113"/>
              <a:gd name="T87" fmla="*/ 59 h 131"/>
              <a:gd name="T88" fmla="*/ 19 w 113"/>
              <a:gd name="T89" fmla="*/ 47 h 131"/>
              <a:gd name="T90" fmla="*/ 13 w 113"/>
              <a:gd name="T91" fmla="*/ 44 h 131"/>
              <a:gd name="T92" fmla="*/ 16 w 113"/>
              <a:gd name="T93" fmla="*/ 50 h 131"/>
              <a:gd name="T94" fmla="*/ 22 w 113"/>
              <a:gd name="T95" fmla="*/ 59 h 131"/>
              <a:gd name="T96" fmla="*/ 19 w 113"/>
              <a:gd name="T97" fmla="*/ 72 h 131"/>
              <a:gd name="T98" fmla="*/ 25 w 113"/>
              <a:gd name="T99" fmla="*/ 6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 h="131">
                <a:moveTo>
                  <a:pt x="106" y="119"/>
                </a:moveTo>
                <a:lnTo>
                  <a:pt x="106" y="119"/>
                </a:lnTo>
                <a:lnTo>
                  <a:pt x="106" y="115"/>
                </a:lnTo>
                <a:lnTo>
                  <a:pt x="106" y="119"/>
                </a:lnTo>
                <a:lnTo>
                  <a:pt x="106" y="119"/>
                </a:lnTo>
                <a:close/>
                <a:moveTo>
                  <a:pt x="91" y="131"/>
                </a:moveTo>
                <a:lnTo>
                  <a:pt x="103" y="131"/>
                </a:lnTo>
                <a:lnTo>
                  <a:pt x="106" y="125"/>
                </a:lnTo>
                <a:lnTo>
                  <a:pt x="106" y="122"/>
                </a:lnTo>
                <a:lnTo>
                  <a:pt x="103" y="122"/>
                </a:lnTo>
                <a:lnTo>
                  <a:pt x="103" y="125"/>
                </a:lnTo>
                <a:lnTo>
                  <a:pt x="97" y="122"/>
                </a:lnTo>
                <a:lnTo>
                  <a:pt x="94" y="125"/>
                </a:lnTo>
                <a:lnTo>
                  <a:pt x="91" y="131"/>
                </a:lnTo>
                <a:lnTo>
                  <a:pt x="91" y="131"/>
                </a:lnTo>
                <a:close/>
                <a:moveTo>
                  <a:pt x="103" y="100"/>
                </a:moveTo>
                <a:lnTo>
                  <a:pt x="106" y="97"/>
                </a:lnTo>
                <a:lnTo>
                  <a:pt x="113" y="100"/>
                </a:lnTo>
                <a:lnTo>
                  <a:pt x="113" y="103"/>
                </a:lnTo>
                <a:lnTo>
                  <a:pt x="110" y="100"/>
                </a:lnTo>
                <a:lnTo>
                  <a:pt x="106" y="100"/>
                </a:lnTo>
                <a:lnTo>
                  <a:pt x="103" y="100"/>
                </a:lnTo>
                <a:lnTo>
                  <a:pt x="103" y="100"/>
                </a:lnTo>
                <a:close/>
                <a:moveTo>
                  <a:pt x="94" y="90"/>
                </a:moveTo>
                <a:lnTo>
                  <a:pt x="88" y="90"/>
                </a:lnTo>
                <a:lnTo>
                  <a:pt x="88" y="94"/>
                </a:lnTo>
                <a:lnTo>
                  <a:pt x="85" y="97"/>
                </a:lnTo>
                <a:lnTo>
                  <a:pt x="85" y="100"/>
                </a:lnTo>
                <a:lnTo>
                  <a:pt x="81" y="100"/>
                </a:lnTo>
                <a:lnTo>
                  <a:pt x="85" y="100"/>
                </a:lnTo>
                <a:lnTo>
                  <a:pt x="94" y="97"/>
                </a:lnTo>
                <a:lnTo>
                  <a:pt x="94" y="90"/>
                </a:lnTo>
                <a:lnTo>
                  <a:pt x="94" y="90"/>
                </a:lnTo>
                <a:lnTo>
                  <a:pt x="94" y="90"/>
                </a:lnTo>
                <a:close/>
                <a:moveTo>
                  <a:pt x="81" y="87"/>
                </a:moveTo>
                <a:lnTo>
                  <a:pt x="85" y="87"/>
                </a:lnTo>
                <a:lnTo>
                  <a:pt x="88" y="90"/>
                </a:lnTo>
                <a:lnTo>
                  <a:pt x="85" y="90"/>
                </a:lnTo>
                <a:lnTo>
                  <a:pt x="81" y="87"/>
                </a:lnTo>
                <a:lnTo>
                  <a:pt x="81" y="87"/>
                </a:lnTo>
                <a:lnTo>
                  <a:pt x="81" y="87"/>
                </a:lnTo>
                <a:close/>
                <a:moveTo>
                  <a:pt x="66" y="72"/>
                </a:moveTo>
                <a:lnTo>
                  <a:pt x="69" y="78"/>
                </a:lnTo>
                <a:lnTo>
                  <a:pt x="72" y="81"/>
                </a:lnTo>
                <a:lnTo>
                  <a:pt x="75" y="87"/>
                </a:lnTo>
                <a:lnTo>
                  <a:pt x="72" y="87"/>
                </a:lnTo>
                <a:lnTo>
                  <a:pt x="69" y="84"/>
                </a:lnTo>
                <a:lnTo>
                  <a:pt x="66" y="78"/>
                </a:lnTo>
                <a:lnTo>
                  <a:pt x="69" y="78"/>
                </a:lnTo>
                <a:lnTo>
                  <a:pt x="66" y="72"/>
                </a:lnTo>
                <a:lnTo>
                  <a:pt x="66" y="72"/>
                </a:lnTo>
                <a:lnTo>
                  <a:pt x="66" y="72"/>
                </a:lnTo>
                <a:close/>
                <a:moveTo>
                  <a:pt x="53" y="69"/>
                </a:moveTo>
                <a:lnTo>
                  <a:pt x="50" y="72"/>
                </a:lnTo>
                <a:lnTo>
                  <a:pt x="53" y="72"/>
                </a:lnTo>
                <a:lnTo>
                  <a:pt x="53" y="69"/>
                </a:lnTo>
                <a:lnTo>
                  <a:pt x="53" y="69"/>
                </a:lnTo>
                <a:close/>
                <a:moveTo>
                  <a:pt x="81" y="59"/>
                </a:moveTo>
                <a:lnTo>
                  <a:pt x="81" y="65"/>
                </a:lnTo>
                <a:lnTo>
                  <a:pt x="81" y="65"/>
                </a:lnTo>
                <a:lnTo>
                  <a:pt x="85" y="62"/>
                </a:lnTo>
                <a:lnTo>
                  <a:pt x="81" y="59"/>
                </a:lnTo>
                <a:lnTo>
                  <a:pt x="81" y="59"/>
                </a:lnTo>
                <a:close/>
                <a:moveTo>
                  <a:pt x="63" y="50"/>
                </a:moveTo>
                <a:lnTo>
                  <a:pt x="60" y="53"/>
                </a:lnTo>
                <a:lnTo>
                  <a:pt x="63" y="56"/>
                </a:lnTo>
                <a:lnTo>
                  <a:pt x="66" y="62"/>
                </a:lnTo>
                <a:lnTo>
                  <a:pt x="63" y="62"/>
                </a:lnTo>
                <a:lnTo>
                  <a:pt x="66" y="65"/>
                </a:lnTo>
                <a:lnTo>
                  <a:pt x="69" y="65"/>
                </a:lnTo>
                <a:lnTo>
                  <a:pt x="69" y="62"/>
                </a:lnTo>
                <a:lnTo>
                  <a:pt x="66" y="56"/>
                </a:lnTo>
                <a:lnTo>
                  <a:pt x="66" y="53"/>
                </a:lnTo>
                <a:lnTo>
                  <a:pt x="63" y="50"/>
                </a:lnTo>
                <a:lnTo>
                  <a:pt x="63" y="50"/>
                </a:lnTo>
                <a:close/>
                <a:moveTo>
                  <a:pt x="44" y="34"/>
                </a:moveTo>
                <a:lnTo>
                  <a:pt x="50" y="37"/>
                </a:lnTo>
                <a:lnTo>
                  <a:pt x="53" y="40"/>
                </a:lnTo>
                <a:lnTo>
                  <a:pt x="53" y="47"/>
                </a:lnTo>
                <a:lnTo>
                  <a:pt x="50" y="47"/>
                </a:lnTo>
                <a:lnTo>
                  <a:pt x="50" y="47"/>
                </a:lnTo>
                <a:lnTo>
                  <a:pt x="50" y="44"/>
                </a:lnTo>
                <a:lnTo>
                  <a:pt x="53" y="40"/>
                </a:lnTo>
                <a:lnTo>
                  <a:pt x="50" y="37"/>
                </a:lnTo>
                <a:lnTo>
                  <a:pt x="44" y="37"/>
                </a:lnTo>
                <a:lnTo>
                  <a:pt x="44" y="34"/>
                </a:lnTo>
                <a:lnTo>
                  <a:pt x="44" y="34"/>
                </a:lnTo>
                <a:close/>
                <a:moveTo>
                  <a:pt x="25" y="0"/>
                </a:moveTo>
                <a:lnTo>
                  <a:pt x="31" y="0"/>
                </a:lnTo>
                <a:lnTo>
                  <a:pt x="38" y="3"/>
                </a:lnTo>
                <a:lnTo>
                  <a:pt x="38" y="6"/>
                </a:lnTo>
                <a:lnTo>
                  <a:pt x="41" y="9"/>
                </a:lnTo>
                <a:lnTo>
                  <a:pt x="41" y="15"/>
                </a:lnTo>
                <a:lnTo>
                  <a:pt x="38" y="15"/>
                </a:lnTo>
                <a:lnTo>
                  <a:pt x="38" y="19"/>
                </a:lnTo>
                <a:lnTo>
                  <a:pt x="35" y="22"/>
                </a:lnTo>
                <a:lnTo>
                  <a:pt x="35" y="15"/>
                </a:lnTo>
                <a:lnTo>
                  <a:pt x="35" y="12"/>
                </a:lnTo>
                <a:lnTo>
                  <a:pt x="35" y="9"/>
                </a:lnTo>
                <a:lnTo>
                  <a:pt x="31" y="6"/>
                </a:lnTo>
                <a:lnTo>
                  <a:pt x="31" y="0"/>
                </a:lnTo>
                <a:lnTo>
                  <a:pt x="25" y="0"/>
                </a:lnTo>
                <a:lnTo>
                  <a:pt x="25" y="0"/>
                </a:lnTo>
                <a:close/>
                <a:moveTo>
                  <a:pt x="0" y="3"/>
                </a:moveTo>
                <a:lnTo>
                  <a:pt x="6" y="3"/>
                </a:lnTo>
                <a:lnTo>
                  <a:pt x="10" y="6"/>
                </a:lnTo>
                <a:lnTo>
                  <a:pt x="16" y="0"/>
                </a:lnTo>
                <a:lnTo>
                  <a:pt x="19" y="0"/>
                </a:lnTo>
                <a:lnTo>
                  <a:pt x="25" y="6"/>
                </a:lnTo>
                <a:lnTo>
                  <a:pt x="22" y="6"/>
                </a:lnTo>
                <a:lnTo>
                  <a:pt x="19" y="3"/>
                </a:lnTo>
                <a:lnTo>
                  <a:pt x="10" y="9"/>
                </a:lnTo>
                <a:lnTo>
                  <a:pt x="6" y="9"/>
                </a:lnTo>
                <a:lnTo>
                  <a:pt x="0" y="3"/>
                </a:lnTo>
                <a:lnTo>
                  <a:pt x="0" y="3"/>
                </a:lnTo>
                <a:close/>
                <a:moveTo>
                  <a:pt x="25" y="40"/>
                </a:moveTo>
                <a:lnTo>
                  <a:pt x="31" y="37"/>
                </a:lnTo>
                <a:lnTo>
                  <a:pt x="35" y="37"/>
                </a:lnTo>
                <a:lnTo>
                  <a:pt x="35" y="40"/>
                </a:lnTo>
                <a:lnTo>
                  <a:pt x="28" y="40"/>
                </a:lnTo>
                <a:lnTo>
                  <a:pt x="25" y="40"/>
                </a:lnTo>
                <a:lnTo>
                  <a:pt x="25" y="40"/>
                </a:lnTo>
                <a:close/>
                <a:moveTo>
                  <a:pt x="19" y="59"/>
                </a:moveTo>
                <a:lnTo>
                  <a:pt x="19" y="56"/>
                </a:lnTo>
                <a:lnTo>
                  <a:pt x="22" y="56"/>
                </a:lnTo>
                <a:lnTo>
                  <a:pt x="19" y="59"/>
                </a:lnTo>
                <a:lnTo>
                  <a:pt x="19" y="59"/>
                </a:lnTo>
                <a:close/>
                <a:moveTo>
                  <a:pt x="16" y="59"/>
                </a:moveTo>
                <a:lnTo>
                  <a:pt x="19" y="59"/>
                </a:lnTo>
                <a:lnTo>
                  <a:pt x="19" y="62"/>
                </a:lnTo>
                <a:lnTo>
                  <a:pt x="16" y="59"/>
                </a:lnTo>
                <a:lnTo>
                  <a:pt x="16" y="59"/>
                </a:lnTo>
                <a:close/>
                <a:moveTo>
                  <a:pt x="16" y="56"/>
                </a:moveTo>
                <a:lnTo>
                  <a:pt x="22" y="53"/>
                </a:lnTo>
                <a:lnTo>
                  <a:pt x="19" y="47"/>
                </a:lnTo>
                <a:lnTo>
                  <a:pt x="19" y="40"/>
                </a:lnTo>
                <a:lnTo>
                  <a:pt x="16" y="40"/>
                </a:lnTo>
                <a:lnTo>
                  <a:pt x="13" y="44"/>
                </a:lnTo>
                <a:lnTo>
                  <a:pt x="10" y="50"/>
                </a:lnTo>
                <a:lnTo>
                  <a:pt x="13" y="53"/>
                </a:lnTo>
                <a:lnTo>
                  <a:pt x="16" y="50"/>
                </a:lnTo>
                <a:lnTo>
                  <a:pt x="16" y="56"/>
                </a:lnTo>
                <a:lnTo>
                  <a:pt x="16" y="56"/>
                </a:lnTo>
                <a:close/>
                <a:moveTo>
                  <a:pt x="22" y="59"/>
                </a:moveTo>
                <a:lnTo>
                  <a:pt x="19" y="62"/>
                </a:lnTo>
                <a:lnTo>
                  <a:pt x="19" y="65"/>
                </a:lnTo>
                <a:lnTo>
                  <a:pt x="19" y="72"/>
                </a:lnTo>
                <a:lnTo>
                  <a:pt x="22" y="72"/>
                </a:lnTo>
                <a:lnTo>
                  <a:pt x="25" y="65"/>
                </a:lnTo>
                <a:lnTo>
                  <a:pt x="25" y="65"/>
                </a:lnTo>
                <a:lnTo>
                  <a:pt x="25" y="62"/>
                </a:lnTo>
                <a:lnTo>
                  <a:pt x="22" y="59"/>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8" name="Freeform 176">
            <a:extLst>
              <a:ext uri="{FF2B5EF4-FFF2-40B4-BE49-F238E27FC236}">
                <a16:creationId xmlns:a16="http://schemas.microsoft.com/office/drawing/2014/main" id="{2B5C1226-5034-C0ED-C1B7-C042AA27001C}"/>
              </a:ext>
            </a:extLst>
          </p:cNvPr>
          <p:cNvSpPr>
            <a:spLocks noEditPoints="1"/>
          </p:cNvSpPr>
          <p:nvPr userDrawn="1"/>
        </p:nvSpPr>
        <p:spPr bwMode="auto">
          <a:xfrm>
            <a:off x="5774947" y="5660311"/>
            <a:ext cx="3524021" cy="2076450"/>
          </a:xfrm>
          <a:custGeom>
            <a:avLst/>
            <a:gdLst>
              <a:gd name="T0" fmla="*/ 206 w 355"/>
              <a:gd name="T1" fmla="*/ 20 h 209"/>
              <a:gd name="T2" fmla="*/ 250 w 355"/>
              <a:gd name="T3" fmla="*/ 40 h 209"/>
              <a:gd name="T4" fmla="*/ 297 w 355"/>
              <a:gd name="T5" fmla="*/ 63 h 209"/>
              <a:gd name="T6" fmla="*/ 334 w 355"/>
              <a:gd name="T7" fmla="*/ 52 h 209"/>
              <a:gd name="T8" fmla="*/ 351 w 355"/>
              <a:gd name="T9" fmla="*/ 43 h 209"/>
              <a:gd name="T10" fmla="*/ 354 w 355"/>
              <a:gd name="T11" fmla="*/ 62 h 209"/>
              <a:gd name="T12" fmla="*/ 342 w 355"/>
              <a:gd name="T13" fmla="*/ 65 h 209"/>
              <a:gd name="T14" fmla="*/ 332 w 355"/>
              <a:gd name="T15" fmla="*/ 71 h 209"/>
              <a:gd name="T16" fmla="*/ 330 w 355"/>
              <a:gd name="T17" fmla="*/ 83 h 209"/>
              <a:gd name="T18" fmla="*/ 323 w 355"/>
              <a:gd name="T19" fmla="*/ 89 h 209"/>
              <a:gd name="T20" fmla="*/ 305 w 355"/>
              <a:gd name="T21" fmla="*/ 96 h 209"/>
              <a:gd name="T22" fmla="*/ 298 w 355"/>
              <a:gd name="T23" fmla="*/ 107 h 209"/>
              <a:gd name="T24" fmla="*/ 296 w 355"/>
              <a:gd name="T25" fmla="*/ 110 h 209"/>
              <a:gd name="T26" fmla="*/ 290 w 355"/>
              <a:gd name="T27" fmla="*/ 117 h 209"/>
              <a:gd name="T28" fmla="*/ 289 w 355"/>
              <a:gd name="T29" fmla="*/ 105 h 209"/>
              <a:gd name="T30" fmla="*/ 287 w 355"/>
              <a:gd name="T31" fmla="*/ 114 h 209"/>
              <a:gd name="T32" fmla="*/ 287 w 355"/>
              <a:gd name="T33" fmla="*/ 118 h 209"/>
              <a:gd name="T34" fmla="*/ 284 w 355"/>
              <a:gd name="T35" fmla="*/ 122 h 209"/>
              <a:gd name="T36" fmla="*/ 285 w 355"/>
              <a:gd name="T37" fmla="*/ 130 h 209"/>
              <a:gd name="T38" fmla="*/ 289 w 355"/>
              <a:gd name="T39" fmla="*/ 134 h 209"/>
              <a:gd name="T40" fmla="*/ 284 w 355"/>
              <a:gd name="T41" fmla="*/ 138 h 209"/>
              <a:gd name="T42" fmla="*/ 273 w 355"/>
              <a:gd name="T43" fmla="*/ 147 h 209"/>
              <a:gd name="T44" fmla="*/ 258 w 355"/>
              <a:gd name="T45" fmla="*/ 156 h 209"/>
              <a:gd name="T46" fmla="*/ 249 w 355"/>
              <a:gd name="T47" fmla="*/ 173 h 209"/>
              <a:gd name="T48" fmla="*/ 254 w 355"/>
              <a:gd name="T49" fmla="*/ 200 h 209"/>
              <a:gd name="T50" fmla="*/ 244 w 355"/>
              <a:gd name="T51" fmla="*/ 204 h 209"/>
              <a:gd name="T52" fmla="*/ 239 w 355"/>
              <a:gd name="T53" fmla="*/ 195 h 209"/>
              <a:gd name="T54" fmla="*/ 238 w 355"/>
              <a:gd name="T55" fmla="*/ 181 h 209"/>
              <a:gd name="T56" fmla="*/ 227 w 355"/>
              <a:gd name="T57" fmla="*/ 176 h 209"/>
              <a:gd name="T58" fmla="*/ 221 w 355"/>
              <a:gd name="T59" fmla="*/ 172 h 209"/>
              <a:gd name="T60" fmla="*/ 210 w 355"/>
              <a:gd name="T61" fmla="*/ 171 h 209"/>
              <a:gd name="T62" fmla="*/ 196 w 355"/>
              <a:gd name="T63" fmla="*/ 175 h 209"/>
              <a:gd name="T64" fmla="*/ 197 w 355"/>
              <a:gd name="T65" fmla="*/ 181 h 209"/>
              <a:gd name="T66" fmla="*/ 187 w 355"/>
              <a:gd name="T67" fmla="*/ 179 h 209"/>
              <a:gd name="T68" fmla="*/ 177 w 355"/>
              <a:gd name="T69" fmla="*/ 176 h 209"/>
              <a:gd name="T70" fmla="*/ 164 w 355"/>
              <a:gd name="T71" fmla="*/ 177 h 209"/>
              <a:gd name="T72" fmla="*/ 153 w 355"/>
              <a:gd name="T73" fmla="*/ 184 h 209"/>
              <a:gd name="T74" fmla="*/ 146 w 355"/>
              <a:gd name="T75" fmla="*/ 202 h 209"/>
              <a:gd name="T76" fmla="*/ 135 w 355"/>
              <a:gd name="T77" fmla="*/ 193 h 209"/>
              <a:gd name="T78" fmla="*/ 128 w 355"/>
              <a:gd name="T79" fmla="*/ 176 h 209"/>
              <a:gd name="T80" fmla="*/ 116 w 355"/>
              <a:gd name="T81" fmla="*/ 177 h 209"/>
              <a:gd name="T82" fmla="*/ 108 w 355"/>
              <a:gd name="T83" fmla="*/ 176 h 209"/>
              <a:gd name="T84" fmla="*/ 103 w 355"/>
              <a:gd name="T85" fmla="*/ 168 h 209"/>
              <a:gd name="T86" fmla="*/ 95 w 355"/>
              <a:gd name="T87" fmla="*/ 158 h 209"/>
              <a:gd name="T88" fmla="*/ 25 w 355"/>
              <a:gd name="T89" fmla="*/ 138 h 209"/>
              <a:gd name="T90" fmla="*/ 13 w 355"/>
              <a:gd name="T91" fmla="*/ 129 h 209"/>
              <a:gd name="T92" fmla="*/ 8 w 355"/>
              <a:gd name="T93" fmla="*/ 112 h 209"/>
              <a:gd name="T94" fmla="*/ 8 w 355"/>
              <a:gd name="T95" fmla="*/ 104 h 209"/>
              <a:gd name="T96" fmla="*/ 6 w 355"/>
              <a:gd name="T97" fmla="*/ 103 h 209"/>
              <a:gd name="T98" fmla="*/ 1 w 355"/>
              <a:gd name="T99" fmla="*/ 82 h 209"/>
              <a:gd name="T100" fmla="*/ 4 w 355"/>
              <a:gd name="T101" fmla="*/ 60 h 209"/>
              <a:gd name="T102" fmla="*/ 15 w 355"/>
              <a:gd name="T103" fmla="*/ 30 h 209"/>
              <a:gd name="T104" fmla="*/ 16 w 355"/>
              <a:gd name="T105" fmla="*/ 25 h 209"/>
              <a:gd name="T106" fmla="*/ 18 w 355"/>
              <a:gd name="T107" fmla="*/ 11 h 209"/>
              <a:gd name="T108" fmla="*/ 26 w 355"/>
              <a:gd name="T109" fmla="*/ 12 h 209"/>
              <a:gd name="T110" fmla="*/ 27 w 355"/>
              <a:gd name="T111" fmla="*/ 18 h 209"/>
              <a:gd name="T112" fmla="*/ 32 w 355"/>
              <a:gd name="T113" fmla="*/ 4 h 209"/>
              <a:gd name="T114" fmla="*/ 308 w 355"/>
              <a:gd name="T115" fmla="*/ 94 h 209"/>
              <a:gd name="T116" fmla="*/ 315 w 355"/>
              <a:gd name="T117" fmla="*/ 91 h 209"/>
              <a:gd name="T118" fmla="*/ 31 w 355"/>
              <a:gd name="T119" fmla="*/ 6 h 209"/>
              <a:gd name="T120" fmla="*/ 148 w 355"/>
              <a:gd name="T121" fmla="*/ 193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5" h="209">
                <a:moveTo>
                  <a:pt x="31" y="0"/>
                </a:moveTo>
                <a:cubicBezTo>
                  <a:pt x="194" y="16"/>
                  <a:pt x="194" y="16"/>
                  <a:pt x="194" y="16"/>
                </a:cubicBezTo>
                <a:cubicBezTo>
                  <a:pt x="195" y="16"/>
                  <a:pt x="195" y="16"/>
                  <a:pt x="195" y="16"/>
                </a:cubicBezTo>
                <a:cubicBezTo>
                  <a:pt x="196" y="16"/>
                  <a:pt x="196" y="16"/>
                  <a:pt x="196" y="16"/>
                </a:cubicBezTo>
                <a:cubicBezTo>
                  <a:pt x="198" y="17"/>
                  <a:pt x="198" y="17"/>
                  <a:pt x="198" y="17"/>
                </a:cubicBezTo>
                <a:cubicBezTo>
                  <a:pt x="198" y="18"/>
                  <a:pt x="198" y="18"/>
                  <a:pt x="198" y="18"/>
                </a:cubicBezTo>
                <a:cubicBezTo>
                  <a:pt x="199" y="18"/>
                  <a:pt x="199" y="18"/>
                  <a:pt x="199" y="18"/>
                </a:cubicBezTo>
                <a:cubicBezTo>
                  <a:pt x="199" y="19"/>
                  <a:pt x="199" y="19"/>
                  <a:pt x="199" y="19"/>
                </a:cubicBezTo>
                <a:cubicBezTo>
                  <a:pt x="200" y="19"/>
                  <a:pt x="200" y="19"/>
                  <a:pt x="200" y="19"/>
                </a:cubicBezTo>
                <a:cubicBezTo>
                  <a:pt x="200" y="19"/>
                  <a:pt x="200" y="19"/>
                  <a:pt x="200" y="19"/>
                </a:cubicBezTo>
                <a:cubicBezTo>
                  <a:pt x="202" y="20"/>
                  <a:pt x="202" y="20"/>
                  <a:pt x="202" y="20"/>
                </a:cubicBezTo>
                <a:cubicBezTo>
                  <a:pt x="202" y="21"/>
                  <a:pt x="202" y="21"/>
                  <a:pt x="202" y="21"/>
                </a:cubicBezTo>
                <a:cubicBezTo>
                  <a:pt x="203" y="20"/>
                  <a:pt x="203" y="20"/>
                  <a:pt x="203" y="20"/>
                </a:cubicBezTo>
                <a:cubicBezTo>
                  <a:pt x="204" y="20"/>
                  <a:pt x="204" y="20"/>
                  <a:pt x="204" y="20"/>
                </a:cubicBezTo>
                <a:cubicBezTo>
                  <a:pt x="205" y="20"/>
                  <a:pt x="205" y="20"/>
                  <a:pt x="205" y="20"/>
                </a:cubicBezTo>
                <a:cubicBezTo>
                  <a:pt x="206" y="20"/>
                  <a:pt x="206" y="20"/>
                  <a:pt x="206" y="20"/>
                </a:cubicBezTo>
                <a:cubicBezTo>
                  <a:pt x="208" y="21"/>
                  <a:pt x="208" y="21"/>
                  <a:pt x="208" y="21"/>
                </a:cubicBezTo>
                <a:cubicBezTo>
                  <a:pt x="209" y="21"/>
                  <a:pt x="209" y="21"/>
                  <a:pt x="209" y="21"/>
                </a:cubicBezTo>
                <a:cubicBezTo>
                  <a:pt x="209" y="23"/>
                  <a:pt x="209" y="23"/>
                  <a:pt x="209" y="23"/>
                </a:cubicBezTo>
                <a:cubicBezTo>
                  <a:pt x="211" y="24"/>
                  <a:pt x="211" y="24"/>
                  <a:pt x="211" y="24"/>
                </a:cubicBezTo>
                <a:cubicBezTo>
                  <a:pt x="213" y="24"/>
                  <a:pt x="213" y="24"/>
                  <a:pt x="213" y="24"/>
                </a:cubicBezTo>
                <a:cubicBezTo>
                  <a:pt x="213" y="25"/>
                  <a:pt x="213" y="25"/>
                  <a:pt x="213" y="25"/>
                </a:cubicBezTo>
                <a:cubicBezTo>
                  <a:pt x="214" y="25"/>
                  <a:pt x="214" y="25"/>
                  <a:pt x="214" y="25"/>
                </a:cubicBezTo>
                <a:cubicBezTo>
                  <a:pt x="216" y="25"/>
                  <a:pt x="216" y="25"/>
                  <a:pt x="216" y="25"/>
                </a:cubicBezTo>
                <a:cubicBezTo>
                  <a:pt x="217" y="25"/>
                  <a:pt x="217" y="25"/>
                  <a:pt x="217" y="25"/>
                </a:cubicBezTo>
                <a:cubicBezTo>
                  <a:pt x="218" y="25"/>
                  <a:pt x="218" y="25"/>
                  <a:pt x="218" y="25"/>
                </a:cubicBezTo>
                <a:cubicBezTo>
                  <a:pt x="219" y="26"/>
                  <a:pt x="219" y="26"/>
                  <a:pt x="219" y="26"/>
                </a:cubicBezTo>
                <a:cubicBezTo>
                  <a:pt x="222" y="26"/>
                  <a:pt x="222" y="26"/>
                  <a:pt x="222" y="26"/>
                </a:cubicBezTo>
                <a:cubicBezTo>
                  <a:pt x="222" y="27"/>
                  <a:pt x="222" y="27"/>
                  <a:pt x="222" y="27"/>
                </a:cubicBezTo>
                <a:cubicBezTo>
                  <a:pt x="224" y="27"/>
                  <a:pt x="224" y="27"/>
                  <a:pt x="224" y="27"/>
                </a:cubicBezTo>
                <a:cubicBezTo>
                  <a:pt x="225" y="28"/>
                  <a:pt x="225" y="28"/>
                  <a:pt x="225" y="28"/>
                </a:cubicBezTo>
                <a:cubicBezTo>
                  <a:pt x="250" y="40"/>
                  <a:pt x="250" y="40"/>
                  <a:pt x="250" y="40"/>
                </a:cubicBezTo>
                <a:cubicBezTo>
                  <a:pt x="251" y="42"/>
                  <a:pt x="251" y="42"/>
                  <a:pt x="251" y="42"/>
                </a:cubicBezTo>
                <a:cubicBezTo>
                  <a:pt x="255" y="45"/>
                  <a:pt x="255" y="45"/>
                  <a:pt x="255" y="45"/>
                </a:cubicBezTo>
                <a:cubicBezTo>
                  <a:pt x="259" y="64"/>
                  <a:pt x="259" y="64"/>
                  <a:pt x="259" y="64"/>
                </a:cubicBezTo>
                <a:cubicBezTo>
                  <a:pt x="259" y="73"/>
                  <a:pt x="259" y="73"/>
                  <a:pt x="259" y="73"/>
                </a:cubicBezTo>
                <a:cubicBezTo>
                  <a:pt x="258" y="74"/>
                  <a:pt x="258" y="74"/>
                  <a:pt x="258" y="74"/>
                </a:cubicBezTo>
                <a:cubicBezTo>
                  <a:pt x="257" y="75"/>
                  <a:pt x="257" y="75"/>
                  <a:pt x="257" y="75"/>
                </a:cubicBezTo>
                <a:cubicBezTo>
                  <a:pt x="256" y="77"/>
                  <a:pt x="256" y="77"/>
                  <a:pt x="256" y="77"/>
                </a:cubicBezTo>
                <a:cubicBezTo>
                  <a:pt x="254" y="78"/>
                  <a:pt x="254" y="78"/>
                  <a:pt x="254" y="78"/>
                </a:cubicBezTo>
                <a:cubicBezTo>
                  <a:pt x="253" y="79"/>
                  <a:pt x="253" y="79"/>
                  <a:pt x="253" y="79"/>
                </a:cubicBezTo>
                <a:cubicBezTo>
                  <a:pt x="254" y="81"/>
                  <a:pt x="254" y="81"/>
                  <a:pt x="254" y="81"/>
                </a:cubicBezTo>
                <a:cubicBezTo>
                  <a:pt x="275" y="76"/>
                  <a:pt x="275" y="76"/>
                  <a:pt x="275" y="76"/>
                </a:cubicBezTo>
                <a:cubicBezTo>
                  <a:pt x="278" y="75"/>
                  <a:pt x="278" y="75"/>
                  <a:pt x="278" y="75"/>
                </a:cubicBezTo>
                <a:cubicBezTo>
                  <a:pt x="279" y="72"/>
                  <a:pt x="279" y="72"/>
                  <a:pt x="279" y="72"/>
                </a:cubicBezTo>
                <a:cubicBezTo>
                  <a:pt x="291" y="68"/>
                  <a:pt x="291" y="68"/>
                  <a:pt x="291" y="68"/>
                </a:cubicBezTo>
                <a:cubicBezTo>
                  <a:pt x="296" y="64"/>
                  <a:pt x="296" y="64"/>
                  <a:pt x="296" y="64"/>
                </a:cubicBezTo>
                <a:cubicBezTo>
                  <a:pt x="297" y="63"/>
                  <a:pt x="297" y="63"/>
                  <a:pt x="297" y="63"/>
                </a:cubicBezTo>
                <a:cubicBezTo>
                  <a:pt x="299" y="63"/>
                  <a:pt x="299" y="63"/>
                  <a:pt x="299" y="63"/>
                </a:cubicBezTo>
                <a:cubicBezTo>
                  <a:pt x="301" y="60"/>
                  <a:pt x="301" y="60"/>
                  <a:pt x="301" y="60"/>
                </a:cubicBezTo>
                <a:cubicBezTo>
                  <a:pt x="303" y="59"/>
                  <a:pt x="303" y="59"/>
                  <a:pt x="303" y="59"/>
                </a:cubicBezTo>
                <a:cubicBezTo>
                  <a:pt x="304" y="59"/>
                  <a:pt x="304" y="59"/>
                  <a:pt x="304" y="59"/>
                </a:cubicBezTo>
                <a:cubicBezTo>
                  <a:pt x="305" y="58"/>
                  <a:pt x="305" y="58"/>
                  <a:pt x="305" y="58"/>
                </a:cubicBezTo>
                <a:cubicBezTo>
                  <a:pt x="308" y="57"/>
                  <a:pt x="308" y="57"/>
                  <a:pt x="308" y="57"/>
                </a:cubicBezTo>
                <a:cubicBezTo>
                  <a:pt x="326" y="58"/>
                  <a:pt x="326" y="58"/>
                  <a:pt x="326" y="58"/>
                </a:cubicBezTo>
                <a:cubicBezTo>
                  <a:pt x="327" y="56"/>
                  <a:pt x="327" y="56"/>
                  <a:pt x="327" y="56"/>
                </a:cubicBezTo>
                <a:cubicBezTo>
                  <a:pt x="328" y="56"/>
                  <a:pt x="328" y="56"/>
                  <a:pt x="328" y="56"/>
                </a:cubicBezTo>
                <a:cubicBezTo>
                  <a:pt x="328" y="56"/>
                  <a:pt x="328" y="56"/>
                  <a:pt x="328" y="56"/>
                </a:cubicBezTo>
                <a:cubicBezTo>
                  <a:pt x="329" y="56"/>
                  <a:pt x="329" y="56"/>
                  <a:pt x="329" y="56"/>
                </a:cubicBezTo>
                <a:cubicBezTo>
                  <a:pt x="330" y="56"/>
                  <a:pt x="330" y="56"/>
                  <a:pt x="330" y="56"/>
                </a:cubicBezTo>
                <a:cubicBezTo>
                  <a:pt x="331" y="55"/>
                  <a:pt x="331" y="55"/>
                  <a:pt x="331" y="55"/>
                </a:cubicBezTo>
                <a:cubicBezTo>
                  <a:pt x="331" y="55"/>
                  <a:pt x="331" y="55"/>
                  <a:pt x="331" y="55"/>
                </a:cubicBezTo>
                <a:cubicBezTo>
                  <a:pt x="333" y="52"/>
                  <a:pt x="333" y="52"/>
                  <a:pt x="333" y="52"/>
                </a:cubicBezTo>
                <a:cubicBezTo>
                  <a:pt x="334" y="52"/>
                  <a:pt x="334" y="52"/>
                  <a:pt x="334" y="52"/>
                </a:cubicBezTo>
                <a:cubicBezTo>
                  <a:pt x="336" y="50"/>
                  <a:pt x="336" y="50"/>
                  <a:pt x="336" y="50"/>
                </a:cubicBezTo>
                <a:cubicBezTo>
                  <a:pt x="336" y="49"/>
                  <a:pt x="336" y="49"/>
                  <a:pt x="336" y="49"/>
                </a:cubicBezTo>
                <a:cubicBezTo>
                  <a:pt x="337" y="47"/>
                  <a:pt x="337" y="47"/>
                  <a:pt x="337" y="47"/>
                </a:cubicBezTo>
                <a:cubicBezTo>
                  <a:pt x="338" y="46"/>
                  <a:pt x="338" y="46"/>
                  <a:pt x="338" y="46"/>
                </a:cubicBezTo>
                <a:cubicBezTo>
                  <a:pt x="338" y="45"/>
                  <a:pt x="338" y="45"/>
                  <a:pt x="338" y="45"/>
                </a:cubicBezTo>
                <a:cubicBezTo>
                  <a:pt x="339" y="44"/>
                  <a:pt x="339" y="44"/>
                  <a:pt x="339" y="44"/>
                </a:cubicBezTo>
                <a:cubicBezTo>
                  <a:pt x="341" y="41"/>
                  <a:pt x="341" y="41"/>
                  <a:pt x="341" y="41"/>
                </a:cubicBezTo>
                <a:cubicBezTo>
                  <a:pt x="342" y="40"/>
                  <a:pt x="342" y="40"/>
                  <a:pt x="342" y="40"/>
                </a:cubicBezTo>
                <a:cubicBezTo>
                  <a:pt x="343" y="39"/>
                  <a:pt x="343" y="39"/>
                  <a:pt x="343" y="39"/>
                </a:cubicBezTo>
                <a:cubicBezTo>
                  <a:pt x="343" y="39"/>
                  <a:pt x="343" y="39"/>
                  <a:pt x="343" y="39"/>
                </a:cubicBezTo>
                <a:cubicBezTo>
                  <a:pt x="344" y="40"/>
                  <a:pt x="344" y="40"/>
                  <a:pt x="344" y="40"/>
                </a:cubicBezTo>
                <a:cubicBezTo>
                  <a:pt x="345" y="41"/>
                  <a:pt x="345" y="41"/>
                  <a:pt x="345" y="41"/>
                </a:cubicBezTo>
                <a:cubicBezTo>
                  <a:pt x="346" y="40"/>
                  <a:pt x="346" y="40"/>
                  <a:pt x="346" y="40"/>
                </a:cubicBezTo>
                <a:cubicBezTo>
                  <a:pt x="348" y="41"/>
                  <a:pt x="348" y="41"/>
                  <a:pt x="348" y="41"/>
                </a:cubicBezTo>
                <a:cubicBezTo>
                  <a:pt x="348" y="40"/>
                  <a:pt x="348" y="40"/>
                  <a:pt x="348" y="40"/>
                </a:cubicBezTo>
                <a:cubicBezTo>
                  <a:pt x="351" y="43"/>
                  <a:pt x="351" y="43"/>
                  <a:pt x="351" y="43"/>
                </a:cubicBezTo>
                <a:cubicBezTo>
                  <a:pt x="351" y="45"/>
                  <a:pt x="351" y="45"/>
                  <a:pt x="351" y="45"/>
                </a:cubicBezTo>
                <a:cubicBezTo>
                  <a:pt x="350" y="53"/>
                  <a:pt x="350" y="53"/>
                  <a:pt x="350" y="53"/>
                </a:cubicBezTo>
                <a:cubicBezTo>
                  <a:pt x="349" y="53"/>
                  <a:pt x="349" y="53"/>
                  <a:pt x="349" y="53"/>
                </a:cubicBezTo>
                <a:cubicBezTo>
                  <a:pt x="350" y="54"/>
                  <a:pt x="350" y="54"/>
                  <a:pt x="350" y="54"/>
                </a:cubicBezTo>
                <a:cubicBezTo>
                  <a:pt x="350" y="54"/>
                  <a:pt x="350" y="54"/>
                  <a:pt x="350" y="54"/>
                </a:cubicBezTo>
                <a:cubicBezTo>
                  <a:pt x="351" y="55"/>
                  <a:pt x="351" y="55"/>
                  <a:pt x="351" y="55"/>
                </a:cubicBezTo>
                <a:cubicBezTo>
                  <a:pt x="351" y="56"/>
                  <a:pt x="351" y="56"/>
                  <a:pt x="351" y="56"/>
                </a:cubicBezTo>
                <a:cubicBezTo>
                  <a:pt x="351" y="57"/>
                  <a:pt x="351" y="57"/>
                  <a:pt x="351" y="57"/>
                </a:cubicBezTo>
                <a:cubicBezTo>
                  <a:pt x="351" y="57"/>
                  <a:pt x="351" y="57"/>
                  <a:pt x="351" y="57"/>
                </a:cubicBezTo>
                <a:cubicBezTo>
                  <a:pt x="350" y="58"/>
                  <a:pt x="350" y="58"/>
                  <a:pt x="350" y="58"/>
                </a:cubicBezTo>
                <a:cubicBezTo>
                  <a:pt x="351" y="58"/>
                  <a:pt x="351" y="58"/>
                  <a:pt x="351" y="58"/>
                </a:cubicBezTo>
                <a:cubicBezTo>
                  <a:pt x="351" y="58"/>
                  <a:pt x="351" y="58"/>
                  <a:pt x="351" y="58"/>
                </a:cubicBezTo>
                <a:cubicBezTo>
                  <a:pt x="351" y="58"/>
                  <a:pt x="351" y="58"/>
                  <a:pt x="351" y="58"/>
                </a:cubicBezTo>
                <a:cubicBezTo>
                  <a:pt x="353" y="60"/>
                  <a:pt x="353" y="60"/>
                  <a:pt x="353" y="60"/>
                </a:cubicBezTo>
                <a:cubicBezTo>
                  <a:pt x="353" y="61"/>
                  <a:pt x="353" y="61"/>
                  <a:pt x="353" y="61"/>
                </a:cubicBezTo>
                <a:cubicBezTo>
                  <a:pt x="354" y="62"/>
                  <a:pt x="354" y="62"/>
                  <a:pt x="354" y="62"/>
                </a:cubicBezTo>
                <a:cubicBezTo>
                  <a:pt x="354" y="61"/>
                  <a:pt x="354" y="61"/>
                  <a:pt x="354" y="61"/>
                </a:cubicBezTo>
                <a:cubicBezTo>
                  <a:pt x="355" y="62"/>
                  <a:pt x="355" y="62"/>
                  <a:pt x="355" y="62"/>
                </a:cubicBezTo>
                <a:cubicBezTo>
                  <a:pt x="355" y="63"/>
                  <a:pt x="355" y="63"/>
                  <a:pt x="355" y="63"/>
                </a:cubicBezTo>
                <a:cubicBezTo>
                  <a:pt x="353" y="63"/>
                  <a:pt x="353" y="63"/>
                  <a:pt x="353" y="63"/>
                </a:cubicBezTo>
                <a:cubicBezTo>
                  <a:pt x="353" y="62"/>
                  <a:pt x="353" y="62"/>
                  <a:pt x="353" y="62"/>
                </a:cubicBezTo>
                <a:cubicBezTo>
                  <a:pt x="351" y="63"/>
                  <a:pt x="351" y="63"/>
                  <a:pt x="351" y="63"/>
                </a:cubicBezTo>
                <a:cubicBezTo>
                  <a:pt x="350" y="63"/>
                  <a:pt x="350" y="63"/>
                  <a:pt x="350" y="63"/>
                </a:cubicBezTo>
                <a:cubicBezTo>
                  <a:pt x="349" y="64"/>
                  <a:pt x="349" y="64"/>
                  <a:pt x="349" y="64"/>
                </a:cubicBezTo>
                <a:cubicBezTo>
                  <a:pt x="349" y="64"/>
                  <a:pt x="349" y="64"/>
                  <a:pt x="349" y="64"/>
                </a:cubicBezTo>
                <a:cubicBezTo>
                  <a:pt x="348" y="64"/>
                  <a:pt x="348" y="64"/>
                  <a:pt x="348" y="64"/>
                </a:cubicBezTo>
                <a:cubicBezTo>
                  <a:pt x="347" y="65"/>
                  <a:pt x="347" y="65"/>
                  <a:pt x="347" y="65"/>
                </a:cubicBezTo>
                <a:cubicBezTo>
                  <a:pt x="346" y="65"/>
                  <a:pt x="346" y="65"/>
                  <a:pt x="346" y="65"/>
                </a:cubicBezTo>
                <a:cubicBezTo>
                  <a:pt x="345" y="64"/>
                  <a:pt x="345" y="64"/>
                  <a:pt x="345" y="64"/>
                </a:cubicBezTo>
                <a:cubicBezTo>
                  <a:pt x="344" y="64"/>
                  <a:pt x="344" y="64"/>
                  <a:pt x="344" y="64"/>
                </a:cubicBezTo>
                <a:cubicBezTo>
                  <a:pt x="343" y="65"/>
                  <a:pt x="343" y="65"/>
                  <a:pt x="343" y="65"/>
                </a:cubicBezTo>
                <a:cubicBezTo>
                  <a:pt x="342" y="65"/>
                  <a:pt x="342" y="65"/>
                  <a:pt x="342" y="65"/>
                </a:cubicBezTo>
                <a:cubicBezTo>
                  <a:pt x="341" y="64"/>
                  <a:pt x="341" y="64"/>
                  <a:pt x="341" y="64"/>
                </a:cubicBezTo>
                <a:cubicBezTo>
                  <a:pt x="342" y="63"/>
                  <a:pt x="342" y="63"/>
                  <a:pt x="342" y="63"/>
                </a:cubicBezTo>
                <a:cubicBezTo>
                  <a:pt x="340" y="65"/>
                  <a:pt x="340" y="65"/>
                  <a:pt x="340" y="65"/>
                </a:cubicBezTo>
                <a:cubicBezTo>
                  <a:pt x="339" y="67"/>
                  <a:pt x="339" y="67"/>
                  <a:pt x="339" y="67"/>
                </a:cubicBezTo>
                <a:cubicBezTo>
                  <a:pt x="338" y="67"/>
                  <a:pt x="338" y="67"/>
                  <a:pt x="338" y="67"/>
                </a:cubicBezTo>
                <a:cubicBezTo>
                  <a:pt x="338" y="67"/>
                  <a:pt x="338" y="67"/>
                  <a:pt x="338" y="67"/>
                </a:cubicBezTo>
                <a:cubicBezTo>
                  <a:pt x="337" y="68"/>
                  <a:pt x="337" y="68"/>
                  <a:pt x="337" y="68"/>
                </a:cubicBezTo>
                <a:cubicBezTo>
                  <a:pt x="337" y="68"/>
                  <a:pt x="337" y="68"/>
                  <a:pt x="337" y="68"/>
                </a:cubicBezTo>
                <a:cubicBezTo>
                  <a:pt x="336" y="67"/>
                  <a:pt x="336" y="67"/>
                  <a:pt x="336" y="67"/>
                </a:cubicBezTo>
                <a:cubicBezTo>
                  <a:pt x="336" y="68"/>
                  <a:pt x="336" y="68"/>
                  <a:pt x="336" y="68"/>
                </a:cubicBezTo>
                <a:cubicBezTo>
                  <a:pt x="335" y="69"/>
                  <a:pt x="335" y="69"/>
                  <a:pt x="335" y="69"/>
                </a:cubicBezTo>
                <a:cubicBezTo>
                  <a:pt x="334" y="69"/>
                  <a:pt x="334" y="69"/>
                  <a:pt x="334" y="69"/>
                </a:cubicBezTo>
                <a:cubicBezTo>
                  <a:pt x="334" y="68"/>
                  <a:pt x="334" y="68"/>
                  <a:pt x="334" y="68"/>
                </a:cubicBezTo>
                <a:cubicBezTo>
                  <a:pt x="333" y="69"/>
                  <a:pt x="333" y="69"/>
                  <a:pt x="333" y="69"/>
                </a:cubicBezTo>
                <a:cubicBezTo>
                  <a:pt x="333" y="69"/>
                  <a:pt x="333" y="69"/>
                  <a:pt x="333" y="69"/>
                </a:cubicBezTo>
                <a:cubicBezTo>
                  <a:pt x="332" y="71"/>
                  <a:pt x="332" y="71"/>
                  <a:pt x="332" y="71"/>
                </a:cubicBezTo>
                <a:cubicBezTo>
                  <a:pt x="330" y="72"/>
                  <a:pt x="330" y="72"/>
                  <a:pt x="330" y="72"/>
                </a:cubicBezTo>
                <a:cubicBezTo>
                  <a:pt x="329" y="75"/>
                  <a:pt x="329" y="75"/>
                  <a:pt x="329" y="75"/>
                </a:cubicBezTo>
                <a:cubicBezTo>
                  <a:pt x="328" y="76"/>
                  <a:pt x="328" y="76"/>
                  <a:pt x="328" y="76"/>
                </a:cubicBezTo>
                <a:cubicBezTo>
                  <a:pt x="328" y="77"/>
                  <a:pt x="328" y="77"/>
                  <a:pt x="328" y="77"/>
                </a:cubicBezTo>
                <a:cubicBezTo>
                  <a:pt x="327" y="77"/>
                  <a:pt x="327" y="77"/>
                  <a:pt x="327" y="77"/>
                </a:cubicBezTo>
                <a:cubicBezTo>
                  <a:pt x="327" y="78"/>
                  <a:pt x="327" y="78"/>
                  <a:pt x="327" y="78"/>
                </a:cubicBezTo>
                <a:cubicBezTo>
                  <a:pt x="328" y="78"/>
                  <a:pt x="328" y="78"/>
                  <a:pt x="328" y="78"/>
                </a:cubicBezTo>
                <a:cubicBezTo>
                  <a:pt x="328" y="79"/>
                  <a:pt x="328" y="79"/>
                  <a:pt x="328" y="79"/>
                </a:cubicBezTo>
                <a:cubicBezTo>
                  <a:pt x="326" y="81"/>
                  <a:pt x="326" y="81"/>
                  <a:pt x="326" y="81"/>
                </a:cubicBezTo>
                <a:cubicBezTo>
                  <a:pt x="326" y="81"/>
                  <a:pt x="326" y="81"/>
                  <a:pt x="326" y="81"/>
                </a:cubicBezTo>
                <a:cubicBezTo>
                  <a:pt x="327" y="82"/>
                  <a:pt x="327" y="82"/>
                  <a:pt x="327" y="82"/>
                </a:cubicBezTo>
                <a:cubicBezTo>
                  <a:pt x="328" y="84"/>
                  <a:pt x="328" y="84"/>
                  <a:pt x="328" y="84"/>
                </a:cubicBezTo>
                <a:cubicBezTo>
                  <a:pt x="328" y="85"/>
                  <a:pt x="328" y="85"/>
                  <a:pt x="328" y="85"/>
                </a:cubicBezTo>
                <a:cubicBezTo>
                  <a:pt x="330" y="85"/>
                  <a:pt x="330" y="85"/>
                  <a:pt x="330" y="85"/>
                </a:cubicBezTo>
                <a:cubicBezTo>
                  <a:pt x="330" y="84"/>
                  <a:pt x="330" y="84"/>
                  <a:pt x="330" y="84"/>
                </a:cubicBezTo>
                <a:cubicBezTo>
                  <a:pt x="330" y="83"/>
                  <a:pt x="330" y="83"/>
                  <a:pt x="330" y="83"/>
                </a:cubicBezTo>
                <a:cubicBezTo>
                  <a:pt x="331" y="83"/>
                  <a:pt x="331" y="83"/>
                  <a:pt x="331" y="83"/>
                </a:cubicBezTo>
                <a:cubicBezTo>
                  <a:pt x="331" y="85"/>
                  <a:pt x="331" y="85"/>
                  <a:pt x="331" y="85"/>
                </a:cubicBezTo>
                <a:cubicBezTo>
                  <a:pt x="331" y="86"/>
                  <a:pt x="331" y="86"/>
                  <a:pt x="331" y="86"/>
                </a:cubicBezTo>
                <a:cubicBezTo>
                  <a:pt x="328" y="87"/>
                  <a:pt x="328" y="87"/>
                  <a:pt x="328" y="87"/>
                </a:cubicBezTo>
                <a:cubicBezTo>
                  <a:pt x="327" y="87"/>
                  <a:pt x="327" y="87"/>
                  <a:pt x="327" y="87"/>
                </a:cubicBezTo>
                <a:cubicBezTo>
                  <a:pt x="327" y="86"/>
                  <a:pt x="327" y="86"/>
                  <a:pt x="327" y="86"/>
                </a:cubicBezTo>
                <a:cubicBezTo>
                  <a:pt x="326" y="85"/>
                  <a:pt x="326" y="85"/>
                  <a:pt x="326" y="85"/>
                </a:cubicBezTo>
                <a:cubicBezTo>
                  <a:pt x="325" y="87"/>
                  <a:pt x="325" y="87"/>
                  <a:pt x="325" y="87"/>
                </a:cubicBezTo>
                <a:cubicBezTo>
                  <a:pt x="324" y="89"/>
                  <a:pt x="324" y="89"/>
                  <a:pt x="324" y="89"/>
                </a:cubicBezTo>
                <a:cubicBezTo>
                  <a:pt x="323" y="88"/>
                  <a:pt x="323" y="88"/>
                  <a:pt x="323" y="88"/>
                </a:cubicBezTo>
                <a:cubicBezTo>
                  <a:pt x="323" y="88"/>
                  <a:pt x="323" y="88"/>
                  <a:pt x="323" y="88"/>
                </a:cubicBezTo>
                <a:cubicBezTo>
                  <a:pt x="323" y="86"/>
                  <a:pt x="323" y="86"/>
                  <a:pt x="323" y="86"/>
                </a:cubicBezTo>
                <a:cubicBezTo>
                  <a:pt x="322" y="85"/>
                  <a:pt x="322" y="85"/>
                  <a:pt x="322" y="85"/>
                </a:cubicBezTo>
                <a:cubicBezTo>
                  <a:pt x="322" y="86"/>
                  <a:pt x="322" y="86"/>
                  <a:pt x="322" y="86"/>
                </a:cubicBezTo>
                <a:cubicBezTo>
                  <a:pt x="322" y="88"/>
                  <a:pt x="322" y="88"/>
                  <a:pt x="322" y="88"/>
                </a:cubicBezTo>
                <a:cubicBezTo>
                  <a:pt x="323" y="89"/>
                  <a:pt x="323" y="89"/>
                  <a:pt x="323" y="89"/>
                </a:cubicBezTo>
                <a:cubicBezTo>
                  <a:pt x="322" y="89"/>
                  <a:pt x="322" y="89"/>
                  <a:pt x="322" y="89"/>
                </a:cubicBezTo>
                <a:cubicBezTo>
                  <a:pt x="319" y="89"/>
                  <a:pt x="319" y="89"/>
                  <a:pt x="319" y="89"/>
                </a:cubicBezTo>
                <a:cubicBezTo>
                  <a:pt x="318" y="89"/>
                  <a:pt x="318" y="89"/>
                  <a:pt x="318" y="89"/>
                </a:cubicBezTo>
                <a:cubicBezTo>
                  <a:pt x="316" y="89"/>
                  <a:pt x="316" y="89"/>
                  <a:pt x="316" y="89"/>
                </a:cubicBezTo>
                <a:cubicBezTo>
                  <a:pt x="314" y="89"/>
                  <a:pt x="314" y="89"/>
                  <a:pt x="314" y="89"/>
                </a:cubicBezTo>
                <a:cubicBezTo>
                  <a:pt x="313" y="89"/>
                  <a:pt x="313" y="89"/>
                  <a:pt x="313" y="89"/>
                </a:cubicBezTo>
                <a:cubicBezTo>
                  <a:pt x="313" y="89"/>
                  <a:pt x="313" y="89"/>
                  <a:pt x="313" y="89"/>
                </a:cubicBezTo>
                <a:cubicBezTo>
                  <a:pt x="311" y="90"/>
                  <a:pt x="311" y="90"/>
                  <a:pt x="311" y="90"/>
                </a:cubicBezTo>
                <a:cubicBezTo>
                  <a:pt x="309" y="90"/>
                  <a:pt x="309" y="90"/>
                  <a:pt x="309" y="90"/>
                </a:cubicBezTo>
                <a:cubicBezTo>
                  <a:pt x="307" y="91"/>
                  <a:pt x="307" y="91"/>
                  <a:pt x="307" y="91"/>
                </a:cubicBezTo>
                <a:cubicBezTo>
                  <a:pt x="306" y="92"/>
                  <a:pt x="306" y="92"/>
                  <a:pt x="306" y="92"/>
                </a:cubicBezTo>
                <a:cubicBezTo>
                  <a:pt x="305" y="93"/>
                  <a:pt x="305" y="93"/>
                  <a:pt x="305" y="93"/>
                </a:cubicBezTo>
                <a:cubicBezTo>
                  <a:pt x="305" y="94"/>
                  <a:pt x="305" y="94"/>
                  <a:pt x="305" y="94"/>
                </a:cubicBezTo>
                <a:cubicBezTo>
                  <a:pt x="304" y="94"/>
                  <a:pt x="304" y="94"/>
                  <a:pt x="304" y="94"/>
                </a:cubicBezTo>
                <a:cubicBezTo>
                  <a:pt x="304" y="95"/>
                  <a:pt x="304" y="95"/>
                  <a:pt x="304" y="95"/>
                </a:cubicBezTo>
                <a:cubicBezTo>
                  <a:pt x="305" y="96"/>
                  <a:pt x="305" y="96"/>
                  <a:pt x="305" y="96"/>
                </a:cubicBezTo>
                <a:cubicBezTo>
                  <a:pt x="305" y="97"/>
                  <a:pt x="305" y="97"/>
                  <a:pt x="305" y="97"/>
                </a:cubicBezTo>
                <a:cubicBezTo>
                  <a:pt x="304" y="98"/>
                  <a:pt x="304" y="98"/>
                  <a:pt x="304" y="98"/>
                </a:cubicBezTo>
                <a:cubicBezTo>
                  <a:pt x="304" y="98"/>
                  <a:pt x="304" y="98"/>
                  <a:pt x="304" y="98"/>
                </a:cubicBezTo>
                <a:cubicBezTo>
                  <a:pt x="304" y="99"/>
                  <a:pt x="304" y="99"/>
                  <a:pt x="304" y="99"/>
                </a:cubicBezTo>
                <a:cubicBezTo>
                  <a:pt x="304" y="100"/>
                  <a:pt x="304" y="100"/>
                  <a:pt x="304" y="100"/>
                </a:cubicBezTo>
                <a:cubicBezTo>
                  <a:pt x="304" y="101"/>
                  <a:pt x="304" y="101"/>
                  <a:pt x="304" y="101"/>
                </a:cubicBezTo>
                <a:cubicBezTo>
                  <a:pt x="303" y="102"/>
                  <a:pt x="303" y="102"/>
                  <a:pt x="303" y="102"/>
                </a:cubicBezTo>
                <a:cubicBezTo>
                  <a:pt x="303" y="102"/>
                  <a:pt x="303" y="102"/>
                  <a:pt x="303" y="102"/>
                </a:cubicBezTo>
                <a:cubicBezTo>
                  <a:pt x="302" y="103"/>
                  <a:pt x="302" y="103"/>
                  <a:pt x="302" y="103"/>
                </a:cubicBezTo>
                <a:cubicBezTo>
                  <a:pt x="301" y="105"/>
                  <a:pt x="301" y="105"/>
                  <a:pt x="301" y="105"/>
                </a:cubicBezTo>
                <a:cubicBezTo>
                  <a:pt x="301" y="105"/>
                  <a:pt x="301" y="105"/>
                  <a:pt x="301" y="105"/>
                </a:cubicBezTo>
                <a:cubicBezTo>
                  <a:pt x="300" y="106"/>
                  <a:pt x="300" y="106"/>
                  <a:pt x="300" y="106"/>
                </a:cubicBezTo>
                <a:cubicBezTo>
                  <a:pt x="300" y="105"/>
                  <a:pt x="300" y="105"/>
                  <a:pt x="300" y="105"/>
                </a:cubicBezTo>
                <a:cubicBezTo>
                  <a:pt x="299" y="106"/>
                  <a:pt x="299" y="106"/>
                  <a:pt x="299" y="106"/>
                </a:cubicBezTo>
                <a:cubicBezTo>
                  <a:pt x="298" y="108"/>
                  <a:pt x="298" y="108"/>
                  <a:pt x="298" y="108"/>
                </a:cubicBezTo>
                <a:cubicBezTo>
                  <a:pt x="298" y="107"/>
                  <a:pt x="298" y="107"/>
                  <a:pt x="298" y="107"/>
                </a:cubicBezTo>
                <a:cubicBezTo>
                  <a:pt x="297" y="108"/>
                  <a:pt x="297" y="108"/>
                  <a:pt x="297" y="108"/>
                </a:cubicBezTo>
                <a:cubicBezTo>
                  <a:pt x="298" y="106"/>
                  <a:pt x="298" y="106"/>
                  <a:pt x="298" y="106"/>
                </a:cubicBezTo>
                <a:cubicBezTo>
                  <a:pt x="298" y="106"/>
                  <a:pt x="298" y="106"/>
                  <a:pt x="298" y="106"/>
                </a:cubicBezTo>
                <a:cubicBezTo>
                  <a:pt x="297" y="106"/>
                  <a:pt x="297" y="106"/>
                  <a:pt x="297" y="106"/>
                </a:cubicBezTo>
                <a:cubicBezTo>
                  <a:pt x="295" y="104"/>
                  <a:pt x="295" y="104"/>
                  <a:pt x="295" y="104"/>
                </a:cubicBezTo>
                <a:cubicBezTo>
                  <a:pt x="295" y="103"/>
                  <a:pt x="295" y="103"/>
                  <a:pt x="295" y="103"/>
                </a:cubicBezTo>
                <a:cubicBezTo>
                  <a:pt x="295" y="103"/>
                  <a:pt x="295" y="103"/>
                  <a:pt x="295" y="103"/>
                </a:cubicBezTo>
                <a:cubicBezTo>
                  <a:pt x="297" y="100"/>
                  <a:pt x="297" y="100"/>
                  <a:pt x="297" y="100"/>
                </a:cubicBezTo>
                <a:cubicBezTo>
                  <a:pt x="296" y="101"/>
                  <a:pt x="296" y="101"/>
                  <a:pt x="296" y="101"/>
                </a:cubicBezTo>
                <a:cubicBezTo>
                  <a:pt x="295" y="102"/>
                  <a:pt x="295" y="102"/>
                  <a:pt x="295" y="102"/>
                </a:cubicBezTo>
                <a:cubicBezTo>
                  <a:pt x="294" y="103"/>
                  <a:pt x="294" y="103"/>
                  <a:pt x="294" y="103"/>
                </a:cubicBezTo>
                <a:cubicBezTo>
                  <a:pt x="294" y="105"/>
                  <a:pt x="294" y="105"/>
                  <a:pt x="294" y="105"/>
                </a:cubicBezTo>
                <a:cubicBezTo>
                  <a:pt x="295" y="105"/>
                  <a:pt x="295" y="105"/>
                  <a:pt x="295" y="105"/>
                </a:cubicBezTo>
                <a:cubicBezTo>
                  <a:pt x="295" y="107"/>
                  <a:pt x="295" y="107"/>
                  <a:pt x="295" y="107"/>
                </a:cubicBezTo>
                <a:cubicBezTo>
                  <a:pt x="295" y="108"/>
                  <a:pt x="295" y="108"/>
                  <a:pt x="295" y="108"/>
                </a:cubicBezTo>
                <a:cubicBezTo>
                  <a:pt x="296" y="110"/>
                  <a:pt x="296" y="110"/>
                  <a:pt x="296" y="110"/>
                </a:cubicBezTo>
                <a:cubicBezTo>
                  <a:pt x="296" y="111"/>
                  <a:pt x="296" y="111"/>
                  <a:pt x="296" y="111"/>
                </a:cubicBezTo>
                <a:cubicBezTo>
                  <a:pt x="295" y="114"/>
                  <a:pt x="295" y="114"/>
                  <a:pt x="295" y="114"/>
                </a:cubicBezTo>
                <a:cubicBezTo>
                  <a:pt x="294" y="114"/>
                  <a:pt x="294" y="114"/>
                  <a:pt x="294" y="114"/>
                </a:cubicBezTo>
                <a:cubicBezTo>
                  <a:pt x="293" y="117"/>
                  <a:pt x="293" y="117"/>
                  <a:pt x="293" y="117"/>
                </a:cubicBezTo>
                <a:cubicBezTo>
                  <a:pt x="292" y="118"/>
                  <a:pt x="292" y="118"/>
                  <a:pt x="292" y="118"/>
                </a:cubicBezTo>
                <a:cubicBezTo>
                  <a:pt x="292" y="119"/>
                  <a:pt x="292" y="119"/>
                  <a:pt x="292" y="119"/>
                </a:cubicBezTo>
                <a:cubicBezTo>
                  <a:pt x="292" y="119"/>
                  <a:pt x="292" y="119"/>
                  <a:pt x="292" y="119"/>
                </a:cubicBezTo>
                <a:cubicBezTo>
                  <a:pt x="292" y="119"/>
                  <a:pt x="292" y="119"/>
                  <a:pt x="292" y="119"/>
                </a:cubicBezTo>
                <a:cubicBezTo>
                  <a:pt x="291" y="118"/>
                  <a:pt x="291" y="118"/>
                  <a:pt x="291" y="118"/>
                </a:cubicBezTo>
                <a:cubicBezTo>
                  <a:pt x="290" y="121"/>
                  <a:pt x="290" y="121"/>
                  <a:pt x="290" y="121"/>
                </a:cubicBezTo>
                <a:cubicBezTo>
                  <a:pt x="290" y="121"/>
                  <a:pt x="290" y="121"/>
                  <a:pt x="290" y="121"/>
                </a:cubicBezTo>
                <a:cubicBezTo>
                  <a:pt x="290" y="122"/>
                  <a:pt x="290" y="122"/>
                  <a:pt x="290" y="122"/>
                </a:cubicBezTo>
                <a:cubicBezTo>
                  <a:pt x="290" y="121"/>
                  <a:pt x="290" y="121"/>
                  <a:pt x="290" y="121"/>
                </a:cubicBezTo>
                <a:cubicBezTo>
                  <a:pt x="290" y="119"/>
                  <a:pt x="290" y="119"/>
                  <a:pt x="290" y="119"/>
                </a:cubicBezTo>
                <a:cubicBezTo>
                  <a:pt x="291" y="118"/>
                  <a:pt x="291" y="118"/>
                  <a:pt x="291" y="118"/>
                </a:cubicBezTo>
                <a:cubicBezTo>
                  <a:pt x="290" y="117"/>
                  <a:pt x="290" y="117"/>
                  <a:pt x="290" y="117"/>
                </a:cubicBezTo>
                <a:cubicBezTo>
                  <a:pt x="291" y="116"/>
                  <a:pt x="291" y="116"/>
                  <a:pt x="291" y="116"/>
                </a:cubicBezTo>
                <a:cubicBezTo>
                  <a:pt x="291" y="116"/>
                  <a:pt x="291" y="116"/>
                  <a:pt x="291" y="116"/>
                </a:cubicBezTo>
                <a:cubicBezTo>
                  <a:pt x="292" y="115"/>
                  <a:pt x="292" y="115"/>
                  <a:pt x="292" y="115"/>
                </a:cubicBezTo>
                <a:cubicBezTo>
                  <a:pt x="291" y="115"/>
                  <a:pt x="291" y="115"/>
                  <a:pt x="291" y="115"/>
                </a:cubicBezTo>
                <a:cubicBezTo>
                  <a:pt x="290" y="114"/>
                  <a:pt x="290" y="114"/>
                  <a:pt x="290" y="114"/>
                </a:cubicBezTo>
                <a:cubicBezTo>
                  <a:pt x="291" y="114"/>
                  <a:pt x="291" y="114"/>
                  <a:pt x="291" y="114"/>
                </a:cubicBezTo>
                <a:cubicBezTo>
                  <a:pt x="291" y="114"/>
                  <a:pt x="291" y="114"/>
                  <a:pt x="291" y="114"/>
                </a:cubicBezTo>
                <a:cubicBezTo>
                  <a:pt x="290" y="114"/>
                  <a:pt x="290" y="114"/>
                  <a:pt x="290" y="114"/>
                </a:cubicBezTo>
                <a:cubicBezTo>
                  <a:pt x="290" y="113"/>
                  <a:pt x="290" y="113"/>
                  <a:pt x="290" y="113"/>
                </a:cubicBezTo>
                <a:cubicBezTo>
                  <a:pt x="289" y="114"/>
                  <a:pt x="289" y="114"/>
                  <a:pt x="289" y="114"/>
                </a:cubicBezTo>
                <a:cubicBezTo>
                  <a:pt x="288" y="112"/>
                  <a:pt x="288" y="112"/>
                  <a:pt x="288" y="112"/>
                </a:cubicBezTo>
                <a:cubicBezTo>
                  <a:pt x="288" y="111"/>
                  <a:pt x="288" y="111"/>
                  <a:pt x="288" y="111"/>
                </a:cubicBezTo>
                <a:cubicBezTo>
                  <a:pt x="289" y="110"/>
                  <a:pt x="289" y="110"/>
                  <a:pt x="289" y="110"/>
                </a:cubicBezTo>
                <a:cubicBezTo>
                  <a:pt x="290" y="108"/>
                  <a:pt x="290" y="108"/>
                  <a:pt x="290" y="108"/>
                </a:cubicBezTo>
                <a:cubicBezTo>
                  <a:pt x="289" y="106"/>
                  <a:pt x="289" y="106"/>
                  <a:pt x="289" y="106"/>
                </a:cubicBezTo>
                <a:cubicBezTo>
                  <a:pt x="289" y="105"/>
                  <a:pt x="289" y="105"/>
                  <a:pt x="289" y="105"/>
                </a:cubicBezTo>
                <a:cubicBezTo>
                  <a:pt x="290" y="104"/>
                  <a:pt x="290" y="104"/>
                  <a:pt x="290" y="104"/>
                </a:cubicBezTo>
                <a:cubicBezTo>
                  <a:pt x="290" y="104"/>
                  <a:pt x="290" y="104"/>
                  <a:pt x="290" y="104"/>
                </a:cubicBezTo>
                <a:cubicBezTo>
                  <a:pt x="290" y="103"/>
                  <a:pt x="290" y="103"/>
                  <a:pt x="290" y="103"/>
                </a:cubicBezTo>
                <a:cubicBezTo>
                  <a:pt x="290" y="102"/>
                  <a:pt x="290" y="102"/>
                  <a:pt x="290" y="102"/>
                </a:cubicBezTo>
                <a:cubicBezTo>
                  <a:pt x="290" y="103"/>
                  <a:pt x="290" y="103"/>
                  <a:pt x="290" y="103"/>
                </a:cubicBezTo>
                <a:cubicBezTo>
                  <a:pt x="290" y="104"/>
                  <a:pt x="290" y="104"/>
                  <a:pt x="290" y="104"/>
                </a:cubicBezTo>
                <a:cubicBezTo>
                  <a:pt x="288" y="105"/>
                  <a:pt x="288" y="105"/>
                  <a:pt x="288" y="105"/>
                </a:cubicBezTo>
                <a:cubicBezTo>
                  <a:pt x="288" y="105"/>
                  <a:pt x="288" y="105"/>
                  <a:pt x="288" y="105"/>
                </a:cubicBezTo>
                <a:cubicBezTo>
                  <a:pt x="287" y="105"/>
                  <a:pt x="287" y="105"/>
                  <a:pt x="287" y="105"/>
                </a:cubicBezTo>
                <a:cubicBezTo>
                  <a:pt x="288" y="106"/>
                  <a:pt x="288" y="106"/>
                  <a:pt x="288" y="106"/>
                </a:cubicBezTo>
                <a:cubicBezTo>
                  <a:pt x="287" y="107"/>
                  <a:pt x="287" y="107"/>
                  <a:pt x="287" y="107"/>
                </a:cubicBezTo>
                <a:cubicBezTo>
                  <a:pt x="287" y="109"/>
                  <a:pt x="287" y="109"/>
                  <a:pt x="287" y="109"/>
                </a:cubicBezTo>
                <a:cubicBezTo>
                  <a:pt x="287" y="110"/>
                  <a:pt x="287" y="110"/>
                  <a:pt x="287" y="110"/>
                </a:cubicBezTo>
                <a:cubicBezTo>
                  <a:pt x="287" y="110"/>
                  <a:pt x="287" y="110"/>
                  <a:pt x="287" y="110"/>
                </a:cubicBezTo>
                <a:cubicBezTo>
                  <a:pt x="287" y="112"/>
                  <a:pt x="287" y="112"/>
                  <a:pt x="287" y="112"/>
                </a:cubicBezTo>
                <a:cubicBezTo>
                  <a:pt x="287" y="114"/>
                  <a:pt x="287" y="114"/>
                  <a:pt x="287" y="114"/>
                </a:cubicBezTo>
                <a:cubicBezTo>
                  <a:pt x="287" y="114"/>
                  <a:pt x="287" y="114"/>
                  <a:pt x="287" y="114"/>
                </a:cubicBezTo>
                <a:cubicBezTo>
                  <a:pt x="285" y="112"/>
                  <a:pt x="285" y="112"/>
                  <a:pt x="285" y="112"/>
                </a:cubicBezTo>
                <a:cubicBezTo>
                  <a:pt x="284" y="112"/>
                  <a:pt x="284" y="112"/>
                  <a:pt x="284" y="112"/>
                </a:cubicBezTo>
                <a:cubicBezTo>
                  <a:pt x="283" y="111"/>
                  <a:pt x="283" y="111"/>
                  <a:pt x="283" y="111"/>
                </a:cubicBezTo>
                <a:cubicBezTo>
                  <a:pt x="283" y="111"/>
                  <a:pt x="283" y="111"/>
                  <a:pt x="283" y="111"/>
                </a:cubicBezTo>
                <a:cubicBezTo>
                  <a:pt x="283" y="110"/>
                  <a:pt x="283" y="110"/>
                  <a:pt x="283" y="110"/>
                </a:cubicBezTo>
                <a:cubicBezTo>
                  <a:pt x="283" y="109"/>
                  <a:pt x="283" y="109"/>
                  <a:pt x="283" y="109"/>
                </a:cubicBezTo>
                <a:cubicBezTo>
                  <a:pt x="282" y="110"/>
                  <a:pt x="282" y="110"/>
                  <a:pt x="282" y="110"/>
                </a:cubicBezTo>
                <a:cubicBezTo>
                  <a:pt x="282" y="111"/>
                  <a:pt x="282" y="111"/>
                  <a:pt x="282" y="111"/>
                </a:cubicBezTo>
                <a:cubicBezTo>
                  <a:pt x="283" y="112"/>
                  <a:pt x="283" y="112"/>
                  <a:pt x="283" y="112"/>
                </a:cubicBezTo>
                <a:cubicBezTo>
                  <a:pt x="284" y="113"/>
                  <a:pt x="284" y="113"/>
                  <a:pt x="284" y="113"/>
                </a:cubicBezTo>
                <a:cubicBezTo>
                  <a:pt x="285" y="113"/>
                  <a:pt x="285" y="113"/>
                  <a:pt x="285" y="113"/>
                </a:cubicBezTo>
                <a:cubicBezTo>
                  <a:pt x="287" y="115"/>
                  <a:pt x="287" y="115"/>
                  <a:pt x="287" y="115"/>
                </a:cubicBezTo>
                <a:cubicBezTo>
                  <a:pt x="288" y="116"/>
                  <a:pt x="288" y="116"/>
                  <a:pt x="288" y="116"/>
                </a:cubicBezTo>
                <a:cubicBezTo>
                  <a:pt x="288" y="117"/>
                  <a:pt x="288" y="117"/>
                  <a:pt x="288" y="117"/>
                </a:cubicBezTo>
                <a:cubicBezTo>
                  <a:pt x="287" y="118"/>
                  <a:pt x="287" y="118"/>
                  <a:pt x="287" y="118"/>
                </a:cubicBezTo>
                <a:cubicBezTo>
                  <a:pt x="286" y="118"/>
                  <a:pt x="286" y="118"/>
                  <a:pt x="286" y="118"/>
                </a:cubicBezTo>
                <a:cubicBezTo>
                  <a:pt x="286" y="117"/>
                  <a:pt x="286" y="117"/>
                  <a:pt x="286" y="117"/>
                </a:cubicBezTo>
                <a:cubicBezTo>
                  <a:pt x="285" y="116"/>
                  <a:pt x="285" y="116"/>
                  <a:pt x="285" y="116"/>
                </a:cubicBezTo>
                <a:cubicBezTo>
                  <a:pt x="286" y="118"/>
                  <a:pt x="286" y="118"/>
                  <a:pt x="286" y="118"/>
                </a:cubicBezTo>
                <a:cubicBezTo>
                  <a:pt x="287" y="119"/>
                  <a:pt x="287" y="119"/>
                  <a:pt x="287" y="119"/>
                </a:cubicBezTo>
                <a:cubicBezTo>
                  <a:pt x="288" y="120"/>
                  <a:pt x="288" y="120"/>
                  <a:pt x="288" y="120"/>
                </a:cubicBezTo>
                <a:cubicBezTo>
                  <a:pt x="287" y="120"/>
                  <a:pt x="287" y="120"/>
                  <a:pt x="287" y="120"/>
                </a:cubicBezTo>
                <a:cubicBezTo>
                  <a:pt x="287" y="121"/>
                  <a:pt x="287" y="121"/>
                  <a:pt x="287" y="121"/>
                </a:cubicBezTo>
                <a:cubicBezTo>
                  <a:pt x="286" y="120"/>
                  <a:pt x="286" y="120"/>
                  <a:pt x="286" y="120"/>
                </a:cubicBezTo>
                <a:cubicBezTo>
                  <a:pt x="288" y="122"/>
                  <a:pt x="288" y="122"/>
                  <a:pt x="288" y="122"/>
                </a:cubicBezTo>
                <a:cubicBezTo>
                  <a:pt x="287" y="123"/>
                  <a:pt x="287" y="123"/>
                  <a:pt x="287" y="123"/>
                </a:cubicBezTo>
                <a:cubicBezTo>
                  <a:pt x="286" y="122"/>
                  <a:pt x="286" y="122"/>
                  <a:pt x="286" y="122"/>
                </a:cubicBezTo>
                <a:cubicBezTo>
                  <a:pt x="286" y="121"/>
                  <a:pt x="286" y="121"/>
                  <a:pt x="286" y="121"/>
                </a:cubicBezTo>
                <a:cubicBezTo>
                  <a:pt x="284" y="121"/>
                  <a:pt x="284" y="121"/>
                  <a:pt x="284" y="121"/>
                </a:cubicBezTo>
                <a:cubicBezTo>
                  <a:pt x="283" y="121"/>
                  <a:pt x="283" y="121"/>
                  <a:pt x="283" y="121"/>
                </a:cubicBezTo>
                <a:cubicBezTo>
                  <a:pt x="284" y="122"/>
                  <a:pt x="284" y="122"/>
                  <a:pt x="284" y="122"/>
                </a:cubicBezTo>
                <a:cubicBezTo>
                  <a:pt x="285" y="122"/>
                  <a:pt x="285" y="122"/>
                  <a:pt x="285" y="122"/>
                </a:cubicBezTo>
                <a:cubicBezTo>
                  <a:pt x="286" y="122"/>
                  <a:pt x="286" y="122"/>
                  <a:pt x="286" y="122"/>
                </a:cubicBezTo>
                <a:cubicBezTo>
                  <a:pt x="286" y="124"/>
                  <a:pt x="286" y="124"/>
                  <a:pt x="286" y="124"/>
                </a:cubicBezTo>
                <a:cubicBezTo>
                  <a:pt x="287" y="124"/>
                  <a:pt x="287" y="124"/>
                  <a:pt x="287" y="124"/>
                </a:cubicBezTo>
                <a:cubicBezTo>
                  <a:pt x="288" y="124"/>
                  <a:pt x="288" y="124"/>
                  <a:pt x="288" y="124"/>
                </a:cubicBezTo>
                <a:cubicBezTo>
                  <a:pt x="289" y="124"/>
                  <a:pt x="289" y="124"/>
                  <a:pt x="289" y="124"/>
                </a:cubicBezTo>
                <a:cubicBezTo>
                  <a:pt x="289" y="125"/>
                  <a:pt x="289" y="125"/>
                  <a:pt x="289" y="125"/>
                </a:cubicBezTo>
                <a:cubicBezTo>
                  <a:pt x="289" y="126"/>
                  <a:pt x="289" y="126"/>
                  <a:pt x="289" y="126"/>
                </a:cubicBezTo>
                <a:cubicBezTo>
                  <a:pt x="288" y="126"/>
                  <a:pt x="288" y="126"/>
                  <a:pt x="288" y="126"/>
                </a:cubicBezTo>
                <a:cubicBezTo>
                  <a:pt x="288" y="127"/>
                  <a:pt x="288" y="127"/>
                  <a:pt x="288" y="127"/>
                </a:cubicBezTo>
                <a:cubicBezTo>
                  <a:pt x="288" y="127"/>
                  <a:pt x="288" y="127"/>
                  <a:pt x="288" y="127"/>
                </a:cubicBezTo>
                <a:cubicBezTo>
                  <a:pt x="289" y="129"/>
                  <a:pt x="289" y="129"/>
                  <a:pt x="289" y="129"/>
                </a:cubicBezTo>
                <a:cubicBezTo>
                  <a:pt x="288" y="129"/>
                  <a:pt x="288" y="129"/>
                  <a:pt x="288" y="129"/>
                </a:cubicBezTo>
                <a:cubicBezTo>
                  <a:pt x="287" y="129"/>
                  <a:pt x="287" y="129"/>
                  <a:pt x="287" y="129"/>
                </a:cubicBezTo>
                <a:cubicBezTo>
                  <a:pt x="287" y="130"/>
                  <a:pt x="287" y="130"/>
                  <a:pt x="287" y="130"/>
                </a:cubicBezTo>
                <a:cubicBezTo>
                  <a:pt x="285" y="130"/>
                  <a:pt x="285" y="130"/>
                  <a:pt x="285" y="130"/>
                </a:cubicBezTo>
                <a:cubicBezTo>
                  <a:pt x="285" y="131"/>
                  <a:pt x="285" y="131"/>
                  <a:pt x="285" y="131"/>
                </a:cubicBezTo>
                <a:cubicBezTo>
                  <a:pt x="284" y="130"/>
                  <a:pt x="284" y="130"/>
                  <a:pt x="284" y="130"/>
                </a:cubicBezTo>
                <a:cubicBezTo>
                  <a:pt x="283" y="129"/>
                  <a:pt x="283" y="129"/>
                  <a:pt x="283" y="129"/>
                </a:cubicBezTo>
                <a:cubicBezTo>
                  <a:pt x="283" y="129"/>
                  <a:pt x="283" y="129"/>
                  <a:pt x="283" y="129"/>
                </a:cubicBezTo>
                <a:cubicBezTo>
                  <a:pt x="283" y="131"/>
                  <a:pt x="283" y="131"/>
                  <a:pt x="283" y="131"/>
                </a:cubicBezTo>
                <a:cubicBezTo>
                  <a:pt x="283" y="132"/>
                  <a:pt x="283" y="132"/>
                  <a:pt x="283" y="132"/>
                </a:cubicBezTo>
                <a:cubicBezTo>
                  <a:pt x="284" y="132"/>
                  <a:pt x="284" y="132"/>
                  <a:pt x="284" y="132"/>
                </a:cubicBezTo>
                <a:cubicBezTo>
                  <a:pt x="286" y="131"/>
                  <a:pt x="286" y="131"/>
                  <a:pt x="286" y="131"/>
                </a:cubicBezTo>
                <a:cubicBezTo>
                  <a:pt x="287" y="131"/>
                  <a:pt x="287" y="131"/>
                  <a:pt x="287" y="131"/>
                </a:cubicBezTo>
                <a:cubicBezTo>
                  <a:pt x="287" y="133"/>
                  <a:pt x="287" y="133"/>
                  <a:pt x="287" y="133"/>
                </a:cubicBezTo>
                <a:cubicBezTo>
                  <a:pt x="288" y="134"/>
                  <a:pt x="288" y="134"/>
                  <a:pt x="288" y="134"/>
                </a:cubicBezTo>
                <a:cubicBezTo>
                  <a:pt x="288" y="133"/>
                  <a:pt x="288" y="133"/>
                  <a:pt x="288" y="133"/>
                </a:cubicBezTo>
                <a:cubicBezTo>
                  <a:pt x="288" y="132"/>
                  <a:pt x="288" y="132"/>
                  <a:pt x="288" y="132"/>
                </a:cubicBezTo>
                <a:cubicBezTo>
                  <a:pt x="289" y="131"/>
                  <a:pt x="289" y="131"/>
                  <a:pt x="289" y="131"/>
                </a:cubicBezTo>
                <a:cubicBezTo>
                  <a:pt x="289" y="132"/>
                  <a:pt x="289" y="132"/>
                  <a:pt x="289" y="132"/>
                </a:cubicBezTo>
                <a:cubicBezTo>
                  <a:pt x="289" y="134"/>
                  <a:pt x="289" y="134"/>
                  <a:pt x="289" y="134"/>
                </a:cubicBezTo>
                <a:cubicBezTo>
                  <a:pt x="289" y="134"/>
                  <a:pt x="289" y="134"/>
                  <a:pt x="289" y="134"/>
                </a:cubicBezTo>
                <a:cubicBezTo>
                  <a:pt x="287" y="135"/>
                  <a:pt x="287" y="135"/>
                  <a:pt x="287" y="135"/>
                </a:cubicBezTo>
                <a:cubicBezTo>
                  <a:pt x="287" y="136"/>
                  <a:pt x="287" y="136"/>
                  <a:pt x="287" y="136"/>
                </a:cubicBezTo>
                <a:cubicBezTo>
                  <a:pt x="286" y="136"/>
                  <a:pt x="286" y="136"/>
                  <a:pt x="286" y="136"/>
                </a:cubicBezTo>
                <a:cubicBezTo>
                  <a:pt x="285" y="136"/>
                  <a:pt x="285" y="136"/>
                  <a:pt x="285" y="136"/>
                </a:cubicBezTo>
                <a:cubicBezTo>
                  <a:pt x="285" y="136"/>
                  <a:pt x="285" y="136"/>
                  <a:pt x="285" y="136"/>
                </a:cubicBezTo>
                <a:cubicBezTo>
                  <a:pt x="284" y="135"/>
                  <a:pt x="284" y="135"/>
                  <a:pt x="284" y="135"/>
                </a:cubicBezTo>
                <a:cubicBezTo>
                  <a:pt x="284" y="135"/>
                  <a:pt x="284" y="135"/>
                  <a:pt x="284" y="135"/>
                </a:cubicBezTo>
                <a:cubicBezTo>
                  <a:pt x="283" y="136"/>
                  <a:pt x="283" y="136"/>
                  <a:pt x="283" y="136"/>
                </a:cubicBezTo>
                <a:cubicBezTo>
                  <a:pt x="282" y="135"/>
                  <a:pt x="282" y="135"/>
                  <a:pt x="282" y="135"/>
                </a:cubicBezTo>
                <a:cubicBezTo>
                  <a:pt x="281" y="135"/>
                  <a:pt x="281" y="135"/>
                  <a:pt x="281" y="135"/>
                </a:cubicBezTo>
                <a:cubicBezTo>
                  <a:pt x="282" y="136"/>
                  <a:pt x="282" y="136"/>
                  <a:pt x="282" y="136"/>
                </a:cubicBezTo>
                <a:cubicBezTo>
                  <a:pt x="284" y="136"/>
                  <a:pt x="284" y="136"/>
                  <a:pt x="284" y="136"/>
                </a:cubicBezTo>
                <a:cubicBezTo>
                  <a:pt x="284" y="137"/>
                  <a:pt x="284" y="137"/>
                  <a:pt x="284" y="137"/>
                </a:cubicBezTo>
                <a:cubicBezTo>
                  <a:pt x="283" y="138"/>
                  <a:pt x="283" y="138"/>
                  <a:pt x="283" y="138"/>
                </a:cubicBezTo>
                <a:cubicBezTo>
                  <a:pt x="284" y="138"/>
                  <a:pt x="284" y="138"/>
                  <a:pt x="284" y="138"/>
                </a:cubicBezTo>
                <a:cubicBezTo>
                  <a:pt x="282" y="139"/>
                  <a:pt x="282" y="139"/>
                  <a:pt x="282" y="139"/>
                </a:cubicBezTo>
                <a:cubicBezTo>
                  <a:pt x="281" y="138"/>
                  <a:pt x="281" y="138"/>
                  <a:pt x="281" y="138"/>
                </a:cubicBezTo>
                <a:cubicBezTo>
                  <a:pt x="282" y="139"/>
                  <a:pt x="282" y="139"/>
                  <a:pt x="282" y="139"/>
                </a:cubicBezTo>
                <a:cubicBezTo>
                  <a:pt x="283" y="139"/>
                  <a:pt x="283" y="139"/>
                  <a:pt x="283" y="139"/>
                </a:cubicBezTo>
                <a:cubicBezTo>
                  <a:pt x="284" y="138"/>
                  <a:pt x="284" y="138"/>
                  <a:pt x="284" y="138"/>
                </a:cubicBezTo>
                <a:cubicBezTo>
                  <a:pt x="285" y="139"/>
                  <a:pt x="285" y="139"/>
                  <a:pt x="285" y="139"/>
                </a:cubicBezTo>
                <a:cubicBezTo>
                  <a:pt x="285" y="139"/>
                  <a:pt x="285" y="139"/>
                  <a:pt x="285" y="139"/>
                </a:cubicBezTo>
                <a:cubicBezTo>
                  <a:pt x="284" y="140"/>
                  <a:pt x="284" y="140"/>
                  <a:pt x="284" y="140"/>
                </a:cubicBezTo>
                <a:cubicBezTo>
                  <a:pt x="283" y="140"/>
                  <a:pt x="283" y="140"/>
                  <a:pt x="283" y="140"/>
                </a:cubicBezTo>
                <a:cubicBezTo>
                  <a:pt x="283" y="140"/>
                  <a:pt x="283" y="140"/>
                  <a:pt x="283" y="140"/>
                </a:cubicBezTo>
                <a:cubicBezTo>
                  <a:pt x="282" y="140"/>
                  <a:pt x="282" y="140"/>
                  <a:pt x="282" y="140"/>
                </a:cubicBezTo>
                <a:cubicBezTo>
                  <a:pt x="282" y="140"/>
                  <a:pt x="282" y="140"/>
                  <a:pt x="282" y="140"/>
                </a:cubicBezTo>
                <a:cubicBezTo>
                  <a:pt x="280" y="141"/>
                  <a:pt x="280" y="141"/>
                  <a:pt x="280" y="141"/>
                </a:cubicBezTo>
                <a:cubicBezTo>
                  <a:pt x="277" y="142"/>
                  <a:pt x="277" y="142"/>
                  <a:pt x="277" y="142"/>
                </a:cubicBezTo>
                <a:cubicBezTo>
                  <a:pt x="274" y="145"/>
                  <a:pt x="274" y="145"/>
                  <a:pt x="274" y="145"/>
                </a:cubicBezTo>
                <a:cubicBezTo>
                  <a:pt x="273" y="147"/>
                  <a:pt x="273" y="147"/>
                  <a:pt x="273" y="147"/>
                </a:cubicBezTo>
                <a:cubicBezTo>
                  <a:pt x="272" y="147"/>
                  <a:pt x="272" y="147"/>
                  <a:pt x="272" y="147"/>
                </a:cubicBezTo>
                <a:cubicBezTo>
                  <a:pt x="272" y="146"/>
                  <a:pt x="272" y="146"/>
                  <a:pt x="272" y="146"/>
                </a:cubicBezTo>
                <a:cubicBezTo>
                  <a:pt x="270" y="147"/>
                  <a:pt x="270" y="147"/>
                  <a:pt x="270" y="147"/>
                </a:cubicBezTo>
                <a:cubicBezTo>
                  <a:pt x="269" y="148"/>
                  <a:pt x="269" y="148"/>
                  <a:pt x="269" y="148"/>
                </a:cubicBezTo>
                <a:cubicBezTo>
                  <a:pt x="266" y="151"/>
                  <a:pt x="266" y="151"/>
                  <a:pt x="266" y="151"/>
                </a:cubicBezTo>
                <a:cubicBezTo>
                  <a:pt x="266" y="152"/>
                  <a:pt x="266" y="152"/>
                  <a:pt x="266" y="152"/>
                </a:cubicBezTo>
                <a:cubicBezTo>
                  <a:pt x="265" y="152"/>
                  <a:pt x="265" y="152"/>
                  <a:pt x="265" y="152"/>
                </a:cubicBezTo>
                <a:cubicBezTo>
                  <a:pt x="265" y="152"/>
                  <a:pt x="265" y="152"/>
                  <a:pt x="265" y="152"/>
                </a:cubicBezTo>
                <a:cubicBezTo>
                  <a:pt x="265" y="153"/>
                  <a:pt x="265" y="153"/>
                  <a:pt x="265" y="153"/>
                </a:cubicBezTo>
                <a:cubicBezTo>
                  <a:pt x="264" y="154"/>
                  <a:pt x="264" y="154"/>
                  <a:pt x="264" y="154"/>
                </a:cubicBezTo>
                <a:cubicBezTo>
                  <a:pt x="263" y="154"/>
                  <a:pt x="263" y="154"/>
                  <a:pt x="263" y="154"/>
                </a:cubicBezTo>
                <a:cubicBezTo>
                  <a:pt x="262" y="154"/>
                  <a:pt x="262" y="154"/>
                  <a:pt x="262" y="154"/>
                </a:cubicBezTo>
                <a:cubicBezTo>
                  <a:pt x="262" y="155"/>
                  <a:pt x="262" y="155"/>
                  <a:pt x="262" y="155"/>
                </a:cubicBezTo>
                <a:cubicBezTo>
                  <a:pt x="260" y="155"/>
                  <a:pt x="260" y="155"/>
                  <a:pt x="260" y="155"/>
                </a:cubicBezTo>
                <a:cubicBezTo>
                  <a:pt x="260" y="156"/>
                  <a:pt x="260" y="156"/>
                  <a:pt x="260" y="156"/>
                </a:cubicBezTo>
                <a:cubicBezTo>
                  <a:pt x="258" y="156"/>
                  <a:pt x="258" y="156"/>
                  <a:pt x="258" y="156"/>
                </a:cubicBezTo>
                <a:cubicBezTo>
                  <a:pt x="258" y="157"/>
                  <a:pt x="258" y="157"/>
                  <a:pt x="258" y="157"/>
                </a:cubicBezTo>
                <a:cubicBezTo>
                  <a:pt x="256" y="157"/>
                  <a:pt x="256" y="157"/>
                  <a:pt x="256" y="157"/>
                </a:cubicBezTo>
                <a:cubicBezTo>
                  <a:pt x="256" y="157"/>
                  <a:pt x="256" y="157"/>
                  <a:pt x="256" y="157"/>
                </a:cubicBezTo>
                <a:cubicBezTo>
                  <a:pt x="255" y="157"/>
                  <a:pt x="255" y="157"/>
                  <a:pt x="255" y="157"/>
                </a:cubicBezTo>
                <a:cubicBezTo>
                  <a:pt x="254" y="158"/>
                  <a:pt x="254" y="158"/>
                  <a:pt x="254" y="158"/>
                </a:cubicBezTo>
                <a:cubicBezTo>
                  <a:pt x="255" y="158"/>
                  <a:pt x="255" y="158"/>
                  <a:pt x="255" y="158"/>
                </a:cubicBezTo>
                <a:cubicBezTo>
                  <a:pt x="255" y="159"/>
                  <a:pt x="255" y="159"/>
                  <a:pt x="255" y="159"/>
                </a:cubicBezTo>
                <a:cubicBezTo>
                  <a:pt x="254" y="160"/>
                  <a:pt x="254" y="160"/>
                  <a:pt x="254" y="160"/>
                </a:cubicBezTo>
                <a:cubicBezTo>
                  <a:pt x="253" y="160"/>
                  <a:pt x="253" y="160"/>
                  <a:pt x="253" y="160"/>
                </a:cubicBezTo>
                <a:cubicBezTo>
                  <a:pt x="253" y="161"/>
                  <a:pt x="253" y="161"/>
                  <a:pt x="253" y="161"/>
                </a:cubicBezTo>
                <a:cubicBezTo>
                  <a:pt x="252" y="161"/>
                  <a:pt x="252" y="161"/>
                  <a:pt x="252" y="161"/>
                </a:cubicBezTo>
                <a:cubicBezTo>
                  <a:pt x="251" y="163"/>
                  <a:pt x="251" y="163"/>
                  <a:pt x="251" y="163"/>
                </a:cubicBezTo>
                <a:cubicBezTo>
                  <a:pt x="250" y="165"/>
                  <a:pt x="250" y="165"/>
                  <a:pt x="250" y="165"/>
                </a:cubicBezTo>
                <a:cubicBezTo>
                  <a:pt x="250" y="167"/>
                  <a:pt x="250" y="167"/>
                  <a:pt x="250" y="167"/>
                </a:cubicBezTo>
                <a:cubicBezTo>
                  <a:pt x="249" y="171"/>
                  <a:pt x="249" y="171"/>
                  <a:pt x="249" y="171"/>
                </a:cubicBezTo>
                <a:cubicBezTo>
                  <a:pt x="249" y="173"/>
                  <a:pt x="249" y="173"/>
                  <a:pt x="249" y="173"/>
                </a:cubicBezTo>
                <a:cubicBezTo>
                  <a:pt x="249" y="175"/>
                  <a:pt x="249" y="175"/>
                  <a:pt x="249" y="175"/>
                </a:cubicBezTo>
                <a:cubicBezTo>
                  <a:pt x="250" y="177"/>
                  <a:pt x="250" y="177"/>
                  <a:pt x="250" y="177"/>
                </a:cubicBezTo>
                <a:cubicBezTo>
                  <a:pt x="250" y="180"/>
                  <a:pt x="250" y="180"/>
                  <a:pt x="250" y="180"/>
                </a:cubicBezTo>
                <a:cubicBezTo>
                  <a:pt x="251" y="181"/>
                  <a:pt x="251" y="181"/>
                  <a:pt x="251" y="181"/>
                </a:cubicBezTo>
                <a:cubicBezTo>
                  <a:pt x="251" y="184"/>
                  <a:pt x="251" y="184"/>
                  <a:pt x="251" y="184"/>
                </a:cubicBezTo>
                <a:cubicBezTo>
                  <a:pt x="252" y="185"/>
                  <a:pt x="252" y="185"/>
                  <a:pt x="252" y="185"/>
                </a:cubicBezTo>
                <a:cubicBezTo>
                  <a:pt x="253" y="186"/>
                  <a:pt x="253" y="186"/>
                  <a:pt x="253" y="186"/>
                </a:cubicBezTo>
                <a:cubicBezTo>
                  <a:pt x="252" y="188"/>
                  <a:pt x="252" y="188"/>
                  <a:pt x="252" y="188"/>
                </a:cubicBezTo>
                <a:cubicBezTo>
                  <a:pt x="252" y="190"/>
                  <a:pt x="252" y="190"/>
                  <a:pt x="252" y="190"/>
                </a:cubicBezTo>
                <a:cubicBezTo>
                  <a:pt x="252" y="190"/>
                  <a:pt x="252" y="190"/>
                  <a:pt x="252" y="190"/>
                </a:cubicBezTo>
                <a:cubicBezTo>
                  <a:pt x="253" y="194"/>
                  <a:pt x="253" y="194"/>
                  <a:pt x="253" y="194"/>
                </a:cubicBezTo>
                <a:cubicBezTo>
                  <a:pt x="254" y="195"/>
                  <a:pt x="254" y="195"/>
                  <a:pt x="254" y="195"/>
                </a:cubicBezTo>
                <a:cubicBezTo>
                  <a:pt x="255" y="197"/>
                  <a:pt x="255" y="197"/>
                  <a:pt x="255" y="197"/>
                </a:cubicBezTo>
                <a:cubicBezTo>
                  <a:pt x="254" y="198"/>
                  <a:pt x="254" y="198"/>
                  <a:pt x="254" y="198"/>
                </a:cubicBezTo>
                <a:cubicBezTo>
                  <a:pt x="254" y="198"/>
                  <a:pt x="254" y="198"/>
                  <a:pt x="254" y="198"/>
                </a:cubicBezTo>
                <a:cubicBezTo>
                  <a:pt x="254" y="200"/>
                  <a:pt x="254" y="200"/>
                  <a:pt x="254" y="200"/>
                </a:cubicBezTo>
                <a:cubicBezTo>
                  <a:pt x="254" y="201"/>
                  <a:pt x="254" y="201"/>
                  <a:pt x="254" y="201"/>
                </a:cubicBezTo>
                <a:cubicBezTo>
                  <a:pt x="254" y="202"/>
                  <a:pt x="254" y="202"/>
                  <a:pt x="254" y="202"/>
                </a:cubicBezTo>
                <a:cubicBezTo>
                  <a:pt x="253" y="204"/>
                  <a:pt x="253" y="204"/>
                  <a:pt x="253" y="204"/>
                </a:cubicBezTo>
                <a:cubicBezTo>
                  <a:pt x="252" y="206"/>
                  <a:pt x="252" y="206"/>
                  <a:pt x="252" y="206"/>
                </a:cubicBezTo>
                <a:cubicBezTo>
                  <a:pt x="251" y="207"/>
                  <a:pt x="251" y="207"/>
                  <a:pt x="251" y="207"/>
                </a:cubicBezTo>
                <a:cubicBezTo>
                  <a:pt x="251" y="208"/>
                  <a:pt x="251" y="208"/>
                  <a:pt x="251" y="208"/>
                </a:cubicBezTo>
                <a:cubicBezTo>
                  <a:pt x="250" y="209"/>
                  <a:pt x="250" y="209"/>
                  <a:pt x="250" y="209"/>
                </a:cubicBezTo>
                <a:cubicBezTo>
                  <a:pt x="249" y="209"/>
                  <a:pt x="249" y="209"/>
                  <a:pt x="249" y="209"/>
                </a:cubicBezTo>
                <a:cubicBezTo>
                  <a:pt x="248" y="209"/>
                  <a:pt x="248" y="209"/>
                  <a:pt x="248" y="209"/>
                </a:cubicBezTo>
                <a:cubicBezTo>
                  <a:pt x="247" y="208"/>
                  <a:pt x="247" y="208"/>
                  <a:pt x="247" y="208"/>
                </a:cubicBezTo>
                <a:cubicBezTo>
                  <a:pt x="246" y="208"/>
                  <a:pt x="246" y="208"/>
                  <a:pt x="246" y="208"/>
                </a:cubicBezTo>
                <a:cubicBezTo>
                  <a:pt x="247" y="207"/>
                  <a:pt x="247" y="207"/>
                  <a:pt x="247" y="207"/>
                </a:cubicBezTo>
                <a:cubicBezTo>
                  <a:pt x="245" y="206"/>
                  <a:pt x="245" y="206"/>
                  <a:pt x="245" y="206"/>
                </a:cubicBezTo>
                <a:cubicBezTo>
                  <a:pt x="245" y="205"/>
                  <a:pt x="245" y="205"/>
                  <a:pt x="245" y="205"/>
                </a:cubicBezTo>
                <a:cubicBezTo>
                  <a:pt x="245" y="204"/>
                  <a:pt x="245" y="204"/>
                  <a:pt x="245" y="204"/>
                </a:cubicBezTo>
                <a:cubicBezTo>
                  <a:pt x="244" y="204"/>
                  <a:pt x="244" y="204"/>
                  <a:pt x="244" y="204"/>
                </a:cubicBezTo>
                <a:cubicBezTo>
                  <a:pt x="243" y="204"/>
                  <a:pt x="243" y="204"/>
                  <a:pt x="243" y="204"/>
                </a:cubicBezTo>
                <a:cubicBezTo>
                  <a:pt x="243" y="202"/>
                  <a:pt x="243" y="202"/>
                  <a:pt x="243" y="202"/>
                </a:cubicBezTo>
                <a:cubicBezTo>
                  <a:pt x="243" y="201"/>
                  <a:pt x="243" y="201"/>
                  <a:pt x="243" y="201"/>
                </a:cubicBezTo>
                <a:cubicBezTo>
                  <a:pt x="242" y="200"/>
                  <a:pt x="242" y="200"/>
                  <a:pt x="242" y="200"/>
                </a:cubicBezTo>
                <a:cubicBezTo>
                  <a:pt x="241" y="199"/>
                  <a:pt x="241" y="199"/>
                  <a:pt x="241" y="199"/>
                </a:cubicBezTo>
                <a:cubicBezTo>
                  <a:pt x="242" y="198"/>
                  <a:pt x="242" y="198"/>
                  <a:pt x="242" y="198"/>
                </a:cubicBezTo>
                <a:cubicBezTo>
                  <a:pt x="242" y="197"/>
                  <a:pt x="242" y="197"/>
                  <a:pt x="242" y="197"/>
                </a:cubicBezTo>
                <a:cubicBezTo>
                  <a:pt x="243" y="196"/>
                  <a:pt x="243" y="196"/>
                  <a:pt x="243" y="196"/>
                </a:cubicBezTo>
                <a:cubicBezTo>
                  <a:pt x="242" y="197"/>
                  <a:pt x="242" y="197"/>
                  <a:pt x="242" y="197"/>
                </a:cubicBezTo>
                <a:cubicBezTo>
                  <a:pt x="241" y="196"/>
                  <a:pt x="241" y="196"/>
                  <a:pt x="241" y="196"/>
                </a:cubicBezTo>
                <a:cubicBezTo>
                  <a:pt x="241" y="197"/>
                  <a:pt x="241" y="197"/>
                  <a:pt x="241" y="197"/>
                </a:cubicBezTo>
                <a:cubicBezTo>
                  <a:pt x="241" y="197"/>
                  <a:pt x="241" y="197"/>
                  <a:pt x="241" y="197"/>
                </a:cubicBezTo>
                <a:cubicBezTo>
                  <a:pt x="241" y="196"/>
                  <a:pt x="241" y="196"/>
                  <a:pt x="241" y="196"/>
                </a:cubicBezTo>
                <a:cubicBezTo>
                  <a:pt x="240" y="196"/>
                  <a:pt x="240" y="196"/>
                  <a:pt x="240" y="196"/>
                </a:cubicBezTo>
                <a:cubicBezTo>
                  <a:pt x="240" y="196"/>
                  <a:pt x="240" y="196"/>
                  <a:pt x="240" y="196"/>
                </a:cubicBezTo>
                <a:cubicBezTo>
                  <a:pt x="239" y="195"/>
                  <a:pt x="239" y="195"/>
                  <a:pt x="239" y="195"/>
                </a:cubicBezTo>
                <a:cubicBezTo>
                  <a:pt x="239" y="194"/>
                  <a:pt x="239" y="194"/>
                  <a:pt x="239" y="194"/>
                </a:cubicBezTo>
                <a:cubicBezTo>
                  <a:pt x="239" y="193"/>
                  <a:pt x="239" y="193"/>
                  <a:pt x="239" y="193"/>
                </a:cubicBezTo>
                <a:cubicBezTo>
                  <a:pt x="240" y="191"/>
                  <a:pt x="240" y="191"/>
                  <a:pt x="240" y="191"/>
                </a:cubicBezTo>
                <a:cubicBezTo>
                  <a:pt x="240" y="190"/>
                  <a:pt x="240" y="190"/>
                  <a:pt x="240" y="190"/>
                </a:cubicBezTo>
                <a:cubicBezTo>
                  <a:pt x="239" y="189"/>
                  <a:pt x="239" y="189"/>
                  <a:pt x="239" y="189"/>
                </a:cubicBezTo>
                <a:cubicBezTo>
                  <a:pt x="239" y="190"/>
                  <a:pt x="239" y="190"/>
                  <a:pt x="239" y="190"/>
                </a:cubicBezTo>
                <a:cubicBezTo>
                  <a:pt x="239" y="190"/>
                  <a:pt x="239" y="190"/>
                  <a:pt x="239" y="190"/>
                </a:cubicBezTo>
                <a:cubicBezTo>
                  <a:pt x="238" y="191"/>
                  <a:pt x="238" y="191"/>
                  <a:pt x="238" y="191"/>
                </a:cubicBezTo>
                <a:cubicBezTo>
                  <a:pt x="238" y="191"/>
                  <a:pt x="238" y="191"/>
                  <a:pt x="238" y="191"/>
                </a:cubicBezTo>
                <a:cubicBezTo>
                  <a:pt x="237" y="190"/>
                  <a:pt x="237" y="190"/>
                  <a:pt x="237" y="190"/>
                </a:cubicBezTo>
                <a:cubicBezTo>
                  <a:pt x="237" y="189"/>
                  <a:pt x="237" y="189"/>
                  <a:pt x="237" y="189"/>
                </a:cubicBezTo>
                <a:cubicBezTo>
                  <a:pt x="239" y="187"/>
                  <a:pt x="239" y="187"/>
                  <a:pt x="239" y="187"/>
                </a:cubicBezTo>
                <a:cubicBezTo>
                  <a:pt x="239" y="184"/>
                  <a:pt x="239" y="184"/>
                  <a:pt x="239" y="184"/>
                </a:cubicBezTo>
                <a:cubicBezTo>
                  <a:pt x="239" y="183"/>
                  <a:pt x="239" y="183"/>
                  <a:pt x="239" y="183"/>
                </a:cubicBezTo>
                <a:cubicBezTo>
                  <a:pt x="239" y="181"/>
                  <a:pt x="239" y="181"/>
                  <a:pt x="239" y="181"/>
                </a:cubicBezTo>
                <a:cubicBezTo>
                  <a:pt x="238" y="181"/>
                  <a:pt x="238" y="181"/>
                  <a:pt x="238" y="181"/>
                </a:cubicBezTo>
                <a:cubicBezTo>
                  <a:pt x="237" y="180"/>
                  <a:pt x="237" y="180"/>
                  <a:pt x="237" y="180"/>
                </a:cubicBezTo>
                <a:cubicBezTo>
                  <a:pt x="237" y="179"/>
                  <a:pt x="237" y="179"/>
                  <a:pt x="237" y="179"/>
                </a:cubicBezTo>
                <a:cubicBezTo>
                  <a:pt x="237" y="179"/>
                  <a:pt x="237" y="179"/>
                  <a:pt x="237" y="179"/>
                </a:cubicBezTo>
                <a:cubicBezTo>
                  <a:pt x="236" y="179"/>
                  <a:pt x="236" y="179"/>
                  <a:pt x="236" y="179"/>
                </a:cubicBezTo>
                <a:cubicBezTo>
                  <a:pt x="236" y="177"/>
                  <a:pt x="236" y="177"/>
                  <a:pt x="236" y="177"/>
                </a:cubicBezTo>
                <a:cubicBezTo>
                  <a:pt x="235" y="177"/>
                  <a:pt x="235" y="177"/>
                  <a:pt x="235" y="177"/>
                </a:cubicBezTo>
                <a:cubicBezTo>
                  <a:pt x="235" y="177"/>
                  <a:pt x="235" y="177"/>
                  <a:pt x="235" y="177"/>
                </a:cubicBezTo>
                <a:cubicBezTo>
                  <a:pt x="234" y="174"/>
                  <a:pt x="234" y="174"/>
                  <a:pt x="234" y="174"/>
                </a:cubicBezTo>
                <a:cubicBezTo>
                  <a:pt x="232" y="174"/>
                  <a:pt x="232" y="174"/>
                  <a:pt x="232" y="174"/>
                </a:cubicBezTo>
                <a:cubicBezTo>
                  <a:pt x="232" y="174"/>
                  <a:pt x="232" y="174"/>
                  <a:pt x="232" y="174"/>
                </a:cubicBezTo>
                <a:cubicBezTo>
                  <a:pt x="230" y="174"/>
                  <a:pt x="230" y="174"/>
                  <a:pt x="230" y="174"/>
                </a:cubicBezTo>
                <a:cubicBezTo>
                  <a:pt x="230" y="174"/>
                  <a:pt x="230" y="174"/>
                  <a:pt x="230" y="174"/>
                </a:cubicBezTo>
                <a:cubicBezTo>
                  <a:pt x="230" y="175"/>
                  <a:pt x="230" y="175"/>
                  <a:pt x="230" y="175"/>
                </a:cubicBezTo>
                <a:cubicBezTo>
                  <a:pt x="229" y="175"/>
                  <a:pt x="229" y="175"/>
                  <a:pt x="229" y="175"/>
                </a:cubicBezTo>
                <a:cubicBezTo>
                  <a:pt x="229" y="175"/>
                  <a:pt x="229" y="175"/>
                  <a:pt x="229" y="175"/>
                </a:cubicBezTo>
                <a:cubicBezTo>
                  <a:pt x="227" y="176"/>
                  <a:pt x="227" y="176"/>
                  <a:pt x="227" y="176"/>
                </a:cubicBezTo>
                <a:cubicBezTo>
                  <a:pt x="226" y="176"/>
                  <a:pt x="226" y="176"/>
                  <a:pt x="226" y="176"/>
                </a:cubicBezTo>
                <a:cubicBezTo>
                  <a:pt x="224" y="177"/>
                  <a:pt x="224" y="177"/>
                  <a:pt x="224" y="177"/>
                </a:cubicBezTo>
                <a:cubicBezTo>
                  <a:pt x="224" y="176"/>
                  <a:pt x="224" y="176"/>
                  <a:pt x="224" y="176"/>
                </a:cubicBezTo>
                <a:cubicBezTo>
                  <a:pt x="224" y="176"/>
                  <a:pt x="224" y="176"/>
                  <a:pt x="224" y="176"/>
                </a:cubicBezTo>
                <a:cubicBezTo>
                  <a:pt x="224" y="176"/>
                  <a:pt x="224" y="176"/>
                  <a:pt x="224" y="176"/>
                </a:cubicBezTo>
                <a:cubicBezTo>
                  <a:pt x="225" y="176"/>
                  <a:pt x="225" y="176"/>
                  <a:pt x="225" y="176"/>
                </a:cubicBezTo>
                <a:cubicBezTo>
                  <a:pt x="224" y="175"/>
                  <a:pt x="224" y="175"/>
                  <a:pt x="224" y="175"/>
                </a:cubicBezTo>
                <a:cubicBezTo>
                  <a:pt x="224" y="175"/>
                  <a:pt x="224" y="175"/>
                  <a:pt x="224" y="175"/>
                </a:cubicBezTo>
                <a:cubicBezTo>
                  <a:pt x="222" y="174"/>
                  <a:pt x="222" y="174"/>
                  <a:pt x="222" y="174"/>
                </a:cubicBezTo>
                <a:cubicBezTo>
                  <a:pt x="222" y="173"/>
                  <a:pt x="222" y="173"/>
                  <a:pt x="222" y="173"/>
                </a:cubicBezTo>
                <a:cubicBezTo>
                  <a:pt x="223" y="174"/>
                  <a:pt x="223" y="174"/>
                  <a:pt x="223" y="174"/>
                </a:cubicBezTo>
                <a:cubicBezTo>
                  <a:pt x="223" y="173"/>
                  <a:pt x="223" y="173"/>
                  <a:pt x="223" y="173"/>
                </a:cubicBezTo>
                <a:cubicBezTo>
                  <a:pt x="222" y="173"/>
                  <a:pt x="222" y="173"/>
                  <a:pt x="222" y="173"/>
                </a:cubicBezTo>
                <a:cubicBezTo>
                  <a:pt x="222" y="172"/>
                  <a:pt x="222" y="172"/>
                  <a:pt x="222" y="172"/>
                </a:cubicBezTo>
                <a:cubicBezTo>
                  <a:pt x="221" y="172"/>
                  <a:pt x="221" y="172"/>
                  <a:pt x="221" y="172"/>
                </a:cubicBezTo>
                <a:cubicBezTo>
                  <a:pt x="221" y="172"/>
                  <a:pt x="221" y="172"/>
                  <a:pt x="221" y="172"/>
                </a:cubicBezTo>
                <a:cubicBezTo>
                  <a:pt x="222" y="173"/>
                  <a:pt x="222" y="173"/>
                  <a:pt x="222" y="173"/>
                </a:cubicBezTo>
                <a:cubicBezTo>
                  <a:pt x="221" y="173"/>
                  <a:pt x="221" y="173"/>
                  <a:pt x="221" y="173"/>
                </a:cubicBezTo>
                <a:cubicBezTo>
                  <a:pt x="220" y="172"/>
                  <a:pt x="220" y="172"/>
                  <a:pt x="220" y="172"/>
                </a:cubicBezTo>
                <a:cubicBezTo>
                  <a:pt x="218" y="172"/>
                  <a:pt x="218" y="172"/>
                  <a:pt x="218" y="172"/>
                </a:cubicBezTo>
                <a:cubicBezTo>
                  <a:pt x="217" y="172"/>
                  <a:pt x="217" y="172"/>
                  <a:pt x="217" y="172"/>
                </a:cubicBezTo>
                <a:cubicBezTo>
                  <a:pt x="217" y="171"/>
                  <a:pt x="217" y="171"/>
                  <a:pt x="217" y="171"/>
                </a:cubicBezTo>
                <a:cubicBezTo>
                  <a:pt x="218" y="171"/>
                  <a:pt x="218" y="171"/>
                  <a:pt x="218" y="171"/>
                </a:cubicBezTo>
                <a:cubicBezTo>
                  <a:pt x="219" y="171"/>
                  <a:pt x="219" y="171"/>
                  <a:pt x="219" y="171"/>
                </a:cubicBezTo>
                <a:cubicBezTo>
                  <a:pt x="219" y="171"/>
                  <a:pt x="219" y="171"/>
                  <a:pt x="219" y="171"/>
                </a:cubicBezTo>
                <a:cubicBezTo>
                  <a:pt x="217" y="171"/>
                  <a:pt x="217" y="171"/>
                  <a:pt x="217" y="171"/>
                </a:cubicBezTo>
                <a:cubicBezTo>
                  <a:pt x="216" y="172"/>
                  <a:pt x="216" y="172"/>
                  <a:pt x="216" y="172"/>
                </a:cubicBezTo>
                <a:cubicBezTo>
                  <a:pt x="216" y="171"/>
                  <a:pt x="216" y="171"/>
                  <a:pt x="216" y="171"/>
                </a:cubicBezTo>
                <a:cubicBezTo>
                  <a:pt x="214" y="172"/>
                  <a:pt x="214" y="172"/>
                  <a:pt x="214" y="172"/>
                </a:cubicBezTo>
                <a:cubicBezTo>
                  <a:pt x="213" y="171"/>
                  <a:pt x="213" y="171"/>
                  <a:pt x="213" y="171"/>
                </a:cubicBezTo>
                <a:cubicBezTo>
                  <a:pt x="212" y="171"/>
                  <a:pt x="212" y="171"/>
                  <a:pt x="212" y="171"/>
                </a:cubicBezTo>
                <a:cubicBezTo>
                  <a:pt x="210" y="171"/>
                  <a:pt x="210" y="171"/>
                  <a:pt x="210" y="171"/>
                </a:cubicBezTo>
                <a:cubicBezTo>
                  <a:pt x="209" y="172"/>
                  <a:pt x="209" y="172"/>
                  <a:pt x="209" y="172"/>
                </a:cubicBezTo>
                <a:cubicBezTo>
                  <a:pt x="208" y="171"/>
                  <a:pt x="208" y="171"/>
                  <a:pt x="208" y="171"/>
                </a:cubicBezTo>
                <a:cubicBezTo>
                  <a:pt x="208" y="170"/>
                  <a:pt x="208" y="170"/>
                  <a:pt x="208" y="170"/>
                </a:cubicBezTo>
                <a:cubicBezTo>
                  <a:pt x="208" y="169"/>
                  <a:pt x="208" y="169"/>
                  <a:pt x="208" y="169"/>
                </a:cubicBezTo>
                <a:cubicBezTo>
                  <a:pt x="207" y="169"/>
                  <a:pt x="207" y="169"/>
                  <a:pt x="207" y="169"/>
                </a:cubicBezTo>
                <a:cubicBezTo>
                  <a:pt x="207" y="170"/>
                  <a:pt x="207" y="170"/>
                  <a:pt x="207" y="170"/>
                </a:cubicBezTo>
                <a:cubicBezTo>
                  <a:pt x="206" y="171"/>
                  <a:pt x="206" y="171"/>
                  <a:pt x="206" y="171"/>
                </a:cubicBezTo>
                <a:cubicBezTo>
                  <a:pt x="205" y="171"/>
                  <a:pt x="205" y="171"/>
                  <a:pt x="205" y="171"/>
                </a:cubicBezTo>
                <a:cubicBezTo>
                  <a:pt x="205" y="171"/>
                  <a:pt x="205" y="171"/>
                  <a:pt x="205" y="171"/>
                </a:cubicBezTo>
                <a:cubicBezTo>
                  <a:pt x="203" y="171"/>
                  <a:pt x="203" y="171"/>
                  <a:pt x="203" y="171"/>
                </a:cubicBezTo>
                <a:cubicBezTo>
                  <a:pt x="199" y="172"/>
                  <a:pt x="199" y="172"/>
                  <a:pt x="199" y="172"/>
                </a:cubicBezTo>
                <a:cubicBezTo>
                  <a:pt x="198" y="173"/>
                  <a:pt x="198" y="173"/>
                  <a:pt x="198" y="173"/>
                </a:cubicBezTo>
                <a:cubicBezTo>
                  <a:pt x="196" y="173"/>
                  <a:pt x="196" y="173"/>
                  <a:pt x="196" y="173"/>
                </a:cubicBezTo>
                <a:cubicBezTo>
                  <a:pt x="195" y="175"/>
                  <a:pt x="195" y="175"/>
                  <a:pt x="195" y="175"/>
                </a:cubicBezTo>
                <a:cubicBezTo>
                  <a:pt x="195" y="176"/>
                  <a:pt x="195" y="176"/>
                  <a:pt x="195" y="176"/>
                </a:cubicBezTo>
                <a:cubicBezTo>
                  <a:pt x="196" y="175"/>
                  <a:pt x="196" y="175"/>
                  <a:pt x="196" y="175"/>
                </a:cubicBezTo>
                <a:cubicBezTo>
                  <a:pt x="197" y="174"/>
                  <a:pt x="197" y="174"/>
                  <a:pt x="197" y="174"/>
                </a:cubicBezTo>
                <a:cubicBezTo>
                  <a:pt x="197" y="175"/>
                  <a:pt x="197" y="175"/>
                  <a:pt x="197" y="175"/>
                </a:cubicBezTo>
                <a:cubicBezTo>
                  <a:pt x="198" y="175"/>
                  <a:pt x="198" y="175"/>
                  <a:pt x="198" y="175"/>
                </a:cubicBezTo>
                <a:cubicBezTo>
                  <a:pt x="199" y="176"/>
                  <a:pt x="199" y="176"/>
                  <a:pt x="199" y="176"/>
                </a:cubicBezTo>
                <a:cubicBezTo>
                  <a:pt x="198" y="176"/>
                  <a:pt x="198" y="176"/>
                  <a:pt x="198" y="176"/>
                </a:cubicBezTo>
                <a:cubicBezTo>
                  <a:pt x="196" y="177"/>
                  <a:pt x="196" y="177"/>
                  <a:pt x="196" y="177"/>
                </a:cubicBezTo>
                <a:cubicBezTo>
                  <a:pt x="196" y="178"/>
                  <a:pt x="196" y="178"/>
                  <a:pt x="196" y="178"/>
                </a:cubicBezTo>
                <a:cubicBezTo>
                  <a:pt x="197" y="179"/>
                  <a:pt x="197" y="179"/>
                  <a:pt x="197" y="179"/>
                </a:cubicBezTo>
                <a:cubicBezTo>
                  <a:pt x="199" y="179"/>
                  <a:pt x="199" y="179"/>
                  <a:pt x="199" y="179"/>
                </a:cubicBezTo>
                <a:cubicBezTo>
                  <a:pt x="200" y="181"/>
                  <a:pt x="200" y="181"/>
                  <a:pt x="200" y="181"/>
                </a:cubicBezTo>
                <a:cubicBezTo>
                  <a:pt x="200" y="181"/>
                  <a:pt x="200" y="181"/>
                  <a:pt x="200" y="181"/>
                </a:cubicBezTo>
                <a:cubicBezTo>
                  <a:pt x="199" y="181"/>
                  <a:pt x="199" y="181"/>
                  <a:pt x="199" y="181"/>
                </a:cubicBezTo>
                <a:cubicBezTo>
                  <a:pt x="199" y="182"/>
                  <a:pt x="199" y="182"/>
                  <a:pt x="199" y="182"/>
                </a:cubicBezTo>
                <a:cubicBezTo>
                  <a:pt x="199" y="181"/>
                  <a:pt x="199" y="181"/>
                  <a:pt x="199" y="181"/>
                </a:cubicBezTo>
                <a:cubicBezTo>
                  <a:pt x="198" y="180"/>
                  <a:pt x="198" y="180"/>
                  <a:pt x="198" y="180"/>
                </a:cubicBezTo>
                <a:cubicBezTo>
                  <a:pt x="197" y="181"/>
                  <a:pt x="197" y="181"/>
                  <a:pt x="197" y="181"/>
                </a:cubicBezTo>
                <a:cubicBezTo>
                  <a:pt x="197" y="180"/>
                  <a:pt x="197" y="180"/>
                  <a:pt x="197" y="180"/>
                </a:cubicBezTo>
                <a:cubicBezTo>
                  <a:pt x="196" y="179"/>
                  <a:pt x="196" y="179"/>
                  <a:pt x="196" y="179"/>
                </a:cubicBezTo>
                <a:cubicBezTo>
                  <a:pt x="195" y="178"/>
                  <a:pt x="195" y="178"/>
                  <a:pt x="195" y="178"/>
                </a:cubicBezTo>
                <a:cubicBezTo>
                  <a:pt x="194" y="178"/>
                  <a:pt x="194" y="178"/>
                  <a:pt x="194" y="178"/>
                </a:cubicBezTo>
                <a:cubicBezTo>
                  <a:pt x="194" y="179"/>
                  <a:pt x="194" y="179"/>
                  <a:pt x="194" y="179"/>
                </a:cubicBezTo>
                <a:cubicBezTo>
                  <a:pt x="194" y="181"/>
                  <a:pt x="194" y="181"/>
                  <a:pt x="194" y="181"/>
                </a:cubicBezTo>
                <a:cubicBezTo>
                  <a:pt x="193" y="181"/>
                  <a:pt x="193" y="181"/>
                  <a:pt x="193" y="181"/>
                </a:cubicBezTo>
                <a:cubicBezTo>
                  <a:pt x="193" y="180"/>
                  <a:pt x="193" y="180"/>
                  <a:pt x="193" y="180"/>
                </a:cubicBezTo>
                <a:cubicBezTo>
                  <a:pt x="192" y="180"/>
                  <a:pt x="192" y="180"/>
                  <a:pt x="192" y="180"/>
                </a:cubicBezTo>
                <a:cubicBezTo>
                  <a:pt x="191" y="180"/>
                  <a:pt x="191" y="180"/>
                  <a:pt x="191" y="180"/>
                </a:cubicBezTo>
                <a:cubicBezTo>
                  <a:pt x="190" y="181"/>
                  <a:pt x="190" y="181"/>
                  <a:pt x="190" y="181"/>
                </a:cubicBezTo>
                <a:cubicBezTo>
                  <a:pt x="189" y="181"/>
                  <a:pt x="189" y="181"/>
                  <a:pt x="189" y="181"/>
                </a:cubicBezTo>
                <a:cubicBezTo>
                  <a:pt x="188" y="180"/>
                  <a:pt x="188" y="180"/>
                  <a:pt x="188" y="180"/>
                </a:cubicBezTo>
                <a:cubicBezTo>
                  <a:pt x="187" y="180"/>
                  <a:pt x="187" y="180"/>
                  <a:pt x="187" y="180"/>
                </a:cubicBezTo>
                <a:cubicBezTo>
                  <a:pt x="186" y="180"/>
                  <a:pt x="186" y="180"/>
                  <a:pt x="186" y="180"/>
                </a:cubicBezTo>
                <a:cubicBezTo>
                  <a:pt x="187" y="179"/>
                  <a:pt x="187" y="179"/>
                  <a:pt x="187" y="179"/>
                </a:cubicBezTo>
                <a:cubicBezTo>
                  <a:pt x="187" y="179"/>
                  <a:pt x="187" y="179"/>
                  <a:pt x="187" y="179"/>
                </a:cubicBezTo>
                <a:cubicBezTo>
                  <a:pt x="187" y="178"/>
                  <a:pt x="187" y="178"/>
                  <a:pt x="187" y="178"/>
                </a:cubicBezTo>
                <a:cubicBezTo>
                  <a:pt x="186" y="178"/>
                  <a:pt x="186" y="178"/>
                  <a:pt x="186" y="178"/>
                </a:cubicBezTo>
                <a:cubicBezTo>
                  <a:pt x="185" y="178"/>
                  <a:pt x="185" y="178"/>
                  <a:pt x="185" y="178"/>
                </a:cubicBezTo>
                <a:cubicBezTo>
                  <a:pt x="185" y="177"/>
                  <a:pt x="185" y="177"/>
                  <a:pt x="185" y="177"/>
                </a:cubicBezTo>
                <a:cubicBezTo>
                  <a:pt x="185" y="176"/>
                  <a:pt x="185" y="176"/>
                  <a:pt x="185" y="176"/>
                </a:cubicBezTo>
                <a:cubicBezTo>
                  <a:pt x="184" y="177"/>
                  <a:pt x="184" y="177"/>
                  <a:pt x="184" y="177"/>
                </a:cubicBezTo>
                <a:cubicBezTo>
                  <a:pt x="183" y="176"/>
                  <a:pt x="183" y="176"/>
                  <a:pt x="183" y="176"/>
                </a:cubicBezTo>
                <a:cubicBezTo>
                  <a:pt x="184" y="176"/>
                  <a:pt x="184" y="176"/>
                  <a:pt x="184" y="176"/>
                </a:cubicBezTo>
                <a:cubicBezTo>
                  <a:pt x="183" y="175"/>
                  <a:pt x="183" y="175"/>
                  <a:pt x="183" y="175"/>
                </a:cubicBezTo>
                <a:cubicBezTo>
                  <a:pt x="182" y="176"/>
                  <a:pt x="182" y="176"/>
                  <a:pt x="182" y="176"/>
                </a:cubicBezTo>
                <a:cubicBezTo>
                  <a:pt x="182" y="176"/>
                  <a:pt x="182" y="176"/>
                  <a:pt x="182" y="176"/>
                </a:cubicBezTo>
                <a:cubicBezTo>
                  <a:pt x="182" y="177"/>
                  <a:pt x="182" y="177"/>
                  <a:pt x="182" y="177"/>
                </a:cubicBezTo>
                <a:cubicBezTo>
                  <a:pt x="181" y="177"/>
                  <a:pt x="181" y="177"/>
                  <a:pt x="181" y="177"/>
                </a:cubicBezTo>
                <a:cubicBezTo>
                  <a:pt x="177" y="177"/>
                  <a:pt x="177" y="177"/>
                  <a:pt x="177" y="177"/>
                </a:cubicBezTo>
                <a:cubicBezTo>
                  <a:pt x="177" y="176"/>
                  <a:pt x="177" y="176"/>
                  <a:pt x="177" y="176"/>
                </a:cubicBezTo>
                <a:cubicBezTo>
                  <a:pt x="174" y="176"/>
                  <a:pt x="174" y="176"/>
                  <a:pt x="174" y="176"/>
                </a:cubicBezTo>
                <a:cubicBezTo>
                  <a:pt x="172" y="176"/>
                  <a:pt x="172" y="176"/>
                  <a:pt x="172" y="176"/>
                </a:cubicBezTo>
                <a:cubicBezTo>
                  <a:pt x="170" y="176"/>
                  <a:pt x="170" y="176"/>
                  <a:pt x="170" y="176"/>
                </a:cubicBezTo>
                <a:cubicBezTo>
                  <a:pt x="169" y="177"/>
                  <a:pt x="169" y="177"/>
                  <a:pt x="169" y="177"/>
                </a:cubicBezTo>
                <a:cubicBezTo>
                  <a:pt x="168" y="177"/>
                  <a:pt x="168" y="177"/>
                  <a:pt x="168" y="177"/>
                </a:cubicBezTo>
                <a:cubicBezTo>
                  <a:pt x="167" y="178"/>
                  <a:pt x="167" y="178"/>
                  <a:pt x="167" y="178"/>
                </a:cubicBezTo>
                <a:cubicBezTo>
                  <a:pt x="166" y="178"/>
                  <a:pt x="166" y="178"/>
                  <a:pt x="166" y="178"/>
                </a:cubicBezTo>
                <a:cubicBezTo>
                  <a:pt x="166" y="177"/>
                  <a:pt x="166" y="177"/>
                  <a:pt x="166" y="177"/>
                </a:cubicBezTo>
                <a:cubicBezTo>
                  <a:pt x="166" y="176"/>
                  <a:pt x="166" y="176"/>
                  <a:pt x="166" y="176"/>
                </a:cubicBezTo>
                <a:cubicBezTo>
                  <a:pt x="167" y="175"/>
                  <a:pt x="167" y="175"/>
                  <a:pt x="167" y="175"/>
                </a:cubicBezTo>
                <a:cubicBezTo>
                  <a:pt x="166" y="174"/>
                  <a:pt x="166" y="174"/>
                  <a:pt x="166" y="174"/>
                </a:cubicBezTo>
                <a:cubicBezTo>
                  <a:pt x="166" y="175"/>
                  <a:pt x="166" y="175"/>
                  <a:pt x="166" y="175"/>
                </a:cubicBezTo>
                <a:cubicBezTo>
                  <a:pt x="165" y="176"/>
                  <a:pt x="165" y="176"/>
                  <a:pt x="165" y="176"/>
                </a:cubicBezTo>
                <a:cubicBezTo>
                  <a:pt x="164" y="176"/>
                  <a:pt x="164" y="176"/>
                  <a:pt x="164" y="176"/>
                </a:cubicBezTo>
                <a:cubicBezTo>
                  <a:pt x="163" y="175"/>
                  <a:pt x="163" y="175"/>
                  <a:pt x="163" y="175"/>
                </a:cubicBezTo>
                <a:cubicBezTo>
                  <a:pt x="164" y="177"/>
                  <a:pt x="164" y="177"/>
                  <a:pt x="164" y="177"/>
                </a:cubicBezTo>
                <a:cubicBezTo>
                  <a:pt x="164" y="178"/>
                  <a:pt x="164" y="178"/>
                  <a:pt x="164" y="178"/>
                </a:cubicBezTo>
                <a:cubicBezTo>
                  <a:pt x="164" y="179"/>
                  <a:pt x="164" y="179"/>
                  <a:pt x="164" y="179"/>
                </a:cubicBezTo>
                <a:cubicBezTo>
                  <a:pt x="164" y="180"/>
                  <a:pt x="164" y="180"/>
                  <a:pt x="164" y="180"/>
                </a:cubicBezTo>
                <a:cubicBezTo>
                  <a:pt x="163" y="180"/>
                  <a:pt x="163" y="180"/>
                  <a:pt x="163" y="180"/>
                </a:cubicBezTo>
                <a:cubicBezTo>
                  <a:pt x="161" y="182"/>
                  <a:pt x="161" y="182"/>
                  <a:pt x="161" y="182"/>
                </a:cubicBezTo>
                <a:cubicBezTo>
                  <a:pt x="158" y="183"/>
                  <a:pt x="158" y="183"/>
                  <a:pt x="158" y="183"/>
                </a:cubicBezTo>
                <a:cubicBezTo>
                  <a:pt x="157" y="183"/>
                  <a:pt x="157" y="183"/>
                  <a:pt x="157" y="183"/>
                </a:cubicBezTo>
                <a:cubicBezTo>
                  <a:pt x="156" y="184"/>
                  <a:pt x="156" y="184"/>
                  <a:pt x="156" y="184"/>
                </a:cubicBezTo>
                <a:cubicBezTo>
                  <a:pt x="155" y="184"/>
                  <a:pt x="155" y="184"/>
                  <a:pt x="155" y="184"/>
                </a:cubicBezTo>
                <a:cubicBezTo>
                  <a:pt x="156" y="183"/>
                  <a:pt x="156" y="183"/>
                  <a:pt x="156" y="183"/>
                </a:cubicBezTo>
                <a:cubicBezTo>
                  <a:pt x="155" y="183"/>
                  <a:pt x="155" y="183"/>
                  <a:pt x="155" y="183"/>
                </a:cubicBezTo>
                <a:cubicBezTo>
                  <a:pt x="155" y="183"/>
                  <a:pt x="155" y="183"/>
                  <a:pt x="155" y="183"/>
                </a:cubicBezTo>
                <a:cubicBezTo>
                  <a:pt x="154" y="183"/>
                  <a:pt x="154" y="183"/>
                  <a:pt x="154" y="183"/>
                </a:cubicBezTo>
                <a:cubicBezTo>
                  <a:pt x="153" y="183"/>
                  <a:pt x="153" y="183"/>
                  <a:pt x="153" y="183"/>
                </a:cubicBezTo>
                <a:cubicBezTo>
                  <a:pt x="154" y="184"/>
                  <a:pt x="154" y="184"/>
                  <a:pt x="154" y="184"/>
                </a:cubicBezTo>
                <a:cubicBezTo>
                  <a:pt x="153" y="184"/>
                  <a:pt x="153" y="184"/>
                  <a:pt x="153" y="184"/>
                </a:cubicBezTo>
                <a:cubicBezTo>
                  <a:pt x="152" y="184"/>
                  <a:pt x="152" y="184"/>
                  <a:pt x="152" y="184"/>
                </a:cubicBezTo>
                <a:cubicBezTo>
                  <a:pt x="152" y="185"/>
                  <a:pt x="152" y="185"/>
                  <a:pt x="152" y="185"/>
                </a:cubicBezTo>
                <a:cubicBezTo>
                  <a:pt x="151" y="186"/>
                  <a:pt x="151" y="186"/>
                  <a:pt x="151" y="186"/>
                </a:cubicBezTo>
                <a:cubicBezTo>
                  <a:pt x="150" y="186"/>
                  <a:pt x="150" y="186"/>
                  <a:pt x="150" y="186"/>
                </a:cubicBezTo>
                <a:cubicBezTo>
                  <a:pt x="149" y="187"/>
                  <a:pt x="149" y="187"/>
                  <a:pt x="149" y="187"/>
                </a:cubicBezTo>
                <a:cubicBezTo>
                  <a:pt x="150" y="188"/>
                  <a:pt x="150" y="188"/>
                  <a:pt x="150" y="188"/>
                </a:cubicBezTo>
                <a:cubicBezTo>
                  <a:pt x="149" y="189"/>
                  <a:pt x="149" y="189"/>
                  <a:pt x="149" y="189"/>
                </a:cubicBezTo>
                <a:cubicBezTo>
                  <a:pt x="148" y="189"/>
                  <a:pt x="148" y="189"/>
                  <a:pt x="148" y="189"/>
                </a:cubicBezTo>
                <a:cubicBezTo>
                  <a:pt x="148" y="192"/>
                  <a:pt x="148" y="192"/>
                  <a:pt x="148" y="192"/>
                </a:cubicBezTo>
                <a:cubicBezTo>
                  <a:pt x="147" y="193"/>
                  <a:pt x="147" y="193"/>
                  <a:pt x="147" y="193"/>
                </a:cubicBezTo>
                <a:cubicBezTo>
                  <a:pt x="147" y="195"/>
                  <a:pt x="147" y="195"/>
                  <a:pt x="147" y="195"/>
                </a:cubicBezTo>
                <a:cubicBezTo>
                  <a:pt x="146" y="196"/>
                  <a:pt x="146" y="196"/>
                  <a:pt x="146" y="196"/>
                </a:cubicBezTo>
                <a:cubicBezTo>
                  <a:pt x="146" y="197"/>
                  <a:pt x="146" y="197"/>
                  <a:pt x="146" y="197"/>
                </a:cubicBezTo>
                <a:cubicBezTo>
                  <a:pt x="146" y="200"/>
                  <a:pt x="146" y="200"/>
                  <a:pt x="146" y="200"/>
                </a:cubicBezTo>
                <a:cubicBezTo>
                  <a:pt x="147" y="201"/>
                  <a:pt x="147" y="201"/>
                  <a:pt x="147" y="201"/>
                </a:cubicBezTo>
                <a:cubicBezTo>
                  <a:pt x="146" y="202"/>
                  <a:pt x="146" y="202"/>
                  <a:pt x="146" y="202"/>
                </a:cubicBezTo>
                <a:cubicBezTo>
                  <a:pt x="146" y="204"/>
                  <a:pt x="146" y="204"/>
                  <a:pt x="146" y="204"/>
                </a:cubicBezTo>
                <a:cubicBezTo>
                  <a:pt x="145" y="204"/>
                  <a:pt x="145" y="204"/>
                  <a:pt x="145" y="204"/>
                </a:cubicBezTo>
                <a:cubicBezTo>
                  <a:pt x="145" y="203"/>
                  <a:pt x="145" y="203"/>
                  <a:pt x="145" y="203"/>
                </a:cubicBezTo>
                <a:cubicBezTo>
                  <a:pt x="144" y="203"/>
                  <a:pt x="144" y="203"/>
                  <a:pt x="144" y="203"/>
                </a:cubicBezTo>
                <a:cubicBezTo>
                  <a:pt x="142" y="202"/>
                  <a:pt x="142" y="202"/>
                  <a:pt x="142" y="202"/>
                </a:cubicBezTo>
                <a:cubicBezTo>
                  <a:pt x="140" y="201"/>
                  <a:pt x="140" y="201"/>
                  <a:pt x="140" y="201"/>
                </a:cubicBezTo>
                <a:cubicBezTo>
                  <a:pt x="139" y="200"/>
                  <a:pt x="139" y="200"/>
                  <a:pt x="139" y="200"/>
                </a:cubicBezTo>
                <a:cubicBezTo>
                  <a:pt x="138" y="200"/>
                  <a:pt x="138" y="200"/>
                  <a:pt x="138" y="200"/>
                </a:cubicBezTo>
                <a:cubicBezTo>
                  <a:pt x="138" y="200"/>
                  <a:pt x="138" y="200"/>
                  <a:pt x="138" y="200"/>
                </a:cubicBezTo>
                <a:cubicBezTo>
                  <a:pt x="137" y="200"/>
                  <a:pt x="137" y="200"/>
                  <a:pt x="137" y="200"/>
                </a:cubicBezTo>
                <a:cubicBezTo>
                  <a:pt x="137" y="200"/>
                  <a:pt x="137" y="200"/>
                  <a:pt x="137" y="200"/>
                </a:cubicBezTo>
                <a:cubicBezTo>
                  <a:pt x="136" y="199"/>
                  <a:pt x="136" y="199"/>
                  <a:pt x="136" y="199"/>
                </a:cubicBezTo>
                <a:cubicBezTo>
                  <a:pt x="136" y="197"/>
                  <a:pt x="136" y="197"/>
                  <a:pt x="136" y="197"/>
                </a:cubicBezTo>
                <a:cubicBezTo>
                  <a:pt x="135" y="194"/>
                  <a:pt x="135" y="194"/>
                  <a:pt x="135" y="194"/>
                </a:cubicBezTo>
                <a:cubicBezTo>
                  <a:pt x="135" y="193"/>
                  <a:pt x="135" y="193"/>
                  <a:pt x="135" y="193"/>
                </a:cubicBezTo>
                <a:cubicBezTo>
                  <a:pt x="135" y="193"/>
                  <a:pt x="135" y="193"/>
                  <a:pt x="135" y="193"/>
                </a:cubicBezTo>
                <a:cubicBezTo>
                  <a:pt x="135" y="192"/>
                  <a:pt x="135" y="192"/>
                  <a:pt x="135" y="192"/>
                </a:cubicBezTo>
                <a:cubicBezTo>
                  <a:pt x="135" y="191"/>
                  <a:pt x="135" y="191"/>
                  <a:pt x="135" y="191"/>
                </a:cubicBezTo>
                <a:cubicBezTo>
                  <a:pt x="134" y="189"/>
                  <a:pt x="134" y="189"/>
                  <a:pt x="134" y="189"/>
                </a:cubicBezTo>
                <a:cubicBezTo>
                  <a:pt x="134" y="188"/>
                  <a:pt x="134" y="188"/>
                  <a:pt x="134" y="188"/>
                </a:cubicBezTo>
                <a:cubicBezTo>
                  <a:pt x="133" y="187"/>
                  <a:pt x="133" y="187"/>
                  <a:pt x="133" y="187"/>
                </a:cubicBezTo>
                <a:cubicBezTo>
                  <a:pt x="132" y="187"/>
                  <a:pt x="132" y="187"/>
                  <a:pt x="132" y="187"/>
                </a:cubicBezTo>
                <a:cubicBezTo>
                  <a:pt x="132" y="186"/>
                  <a:pt x="132" y="186"/>
                  <a:pt x="132" y="186"/>
                </a:cubicBezTo>
                <a:cubicBezTo>
                  <a:pt x="132" y="186"/>
                  <a:pt x="132" y="186"/>
                  <a:pt x="132" y="186"/>
                </a:cubicBezTo>
                <a:cubicBezTo>
                  <a:pt x="131" y="183"/>
                  <a:pt x="131" y="183"/>
                  <a:pt x="131" y="183"/>
                </a:cubicBezTo>
                <a:cubicBezTo>
                  <a:pt x="130" y="182"/>
                  <a:pt x="130" y="182"/>
                  <a:pt x="130" y="182"/>
                </a:cubicBezTo>
                <a:cubicBezTo>
                  <a:pt x="130" y="182"/>
                  <a:pt x="130" y="182"/>
                  <a:pt x="130" y="182"/>
                </a:cubicBezTo>
                <a:cubicBezTo>
                  <a:pt x="130" y="181"/>
                  <a:pt x="130" y="181"/>
                  <a:pt x="130" y="181"/>
                </a:cubicBezTo>
                <a:cubicBezTo>
                  <a:pt x="129" y="180"/>
                  <a:pt x="129" y="180"/>
                  <a:pt x="129" y="180"/>
                </a:cubicBezTo>
                <a:cubicBezTo>
                  <a:pt x="129" y="179"/>
                  <a:pt x="129" y="179"/>
                  <a:pt x="129" y="179"/>
                </a:cubicBezTo>
                <a:cubicBezTo>
                  <a:pt x="129" y="178"/>
                  <a:pt x="129" y="178"/>
                  <a:pt x="129" y="178"/>
                </a:cubicBezTo>
                <a:cubicBezTo>
                  <a:pt x="128" y="176"/>
                  <a:pt x="128" y="176"/>
                  <a:pt x="128" y="176"/>
                </a:cubicBezTo>
                <a:cubicBezTo>
                  <a:pt x="126" y="175"/>
                  <a:pt x="126" y="175"/>
                  <a:pt x="126" y="175"/>
                </a:cubicBezTo>
                <a:cubicBezTo>
                  <a:pt x="126" y="174"/>
                  <a:pt x="126" y="174"/>
                  <a:pt x="126" y="174"/>
                </a:cubicBezTo>
                <a:cubicBezTo>
                  <a:pt x="125" y="174"/>
                  <a:pt x="125" y="174"/>
                  <a:pt x="125" y="174"/>
                </a:cubicBezTo>
                <a:cubicBezTo>
                  <a:pt x="124" y="174"/>
                  <a:pt x="124" y="174"/>
                  <a:pt x="124" y="174"/>
                </a:cubicBezTo>
                <a:cubicBezTo>
                  <a:pt x="124" y="174"/>
                  <a:pt x="124" y="174"/>
                  <a:pt x="124" y="174"/>
                </a:cubicBezTo>
                <a:cubicBezTo>
                  <a:pt x="123" y="173"/>
                  <a:pt x="123" y="173"/>
                  <a:pt x="123" y="173"/>
                </a:cubicBezTo>
                <a:cubicBezTo>
                  <a:pt x="122" y="174"/>
                  <a:pt x="122" y="174"/>
                  <a:pt x="122" y="174"/>
                </a:cubicBezTo>
                <a:cubicBezTo>
                  <a:pt x="121" y="173"/>
                  <a:pt x="121" y="173"/>
                  <a:pt x="121" y="173"/>
                </a:cubicBezTo>
                <a:cubicBezTo>
                  <a:pt x="120" y="173"/>
                  <a:pt x="120" y="173"/>
                  <a:pt x="120" y="173"/>
                </a:cubicBezTo>
                <a:cubicBezTo>
                  <a:pt x="120" y="174"/>
                  <a:pt x="120" y="174"/>
                  <a:pt x="120" y="174"/>
                </a:cubicBezTo>
                <a:cubicBezTo>
                  <a:pt x="119" y="174"/>
                  <a:pt x="119" y="174"/>
                  <a:pt x="119" y="174"/>
                </a:cubicBezTo>
                <a:cubicBezTo>
                  <a:pt x="119" y="174"/>
                  <a:pt x="119" y="174"/>
                  <a:pt x="119" y="174"/>
                </a:cubicBezTo>
                <a:cubicBezTo>
                  <a:pt x="119" y="174"/>
                  <a:pt x="119" y="174"/>
                  <a:pt x="119" y="174"/>
                </a:cubicBezTo>
                <a:cubicBezTo>
                  <a:pt x="118" y="174"/>
                  <a:pt x="118" y="174"/>
                  <a:pt x="118" y="174"/>
                </a:cubicBezTo>
                <a:cubicBezTo>
                  <a:pt x="117" y="175"/>
                  <a:pt x="117" y="175"/>
                  <a:pt x="117" y="175"/>
                </a:cubicBezTo>
                <a:cubicBezTo>
                  <a:pt x="116" y="177"/>
                  <a:pt x="116" y="177"/>
                  <a:pt x="116" y="177"/>
                </a:cubicBezTo>
                <a:cubicBezTo>
                  <a:pt x="116" y="177"/>
                  <a:pt x="116" y="177"/>
                  <a:pt x="116" y="177"/>
                </a:cubicBezTo>
                <a:cubicBezTo>
                  <a:pt x="116" y="178"/>
                  <a:pt x="116" y="178"/>
                  <a:pt x="116" y="178"/>
                </a:cubicBezTo>
                <a:cubicBezTo>
                  <a:pt x="116" y="178"/>
                  <a:pt x="116" y="178"/>
                  <a:pt x="116" y="178"/>
                </a:cubicBezTo>
                <a:cubicBezTo>
                  <a:pt x="115" y="178"/>
                  <a:pt x="115" y="178"/>
                  <a:pt x="115" y="178"/>
                </a:cubicBezTo>
                <a:cubicBezTo>
                  <a:pt x="114" y="179"/>
                  <a:pt x="114" y="179"/>
                  <a:pt x="114" y="179"/>
                </a:cubicBezTo>
                <a:cubicBezTo>
                  <a:pt x="114" y="179"/>
                  <a:pt x="114" y="179"/>
                  <a:pt x="114" y="179"/>
                </a:cubicBezTo>
                <a:cubicBezTo>
                  <a:pt x="114" y="180"/>
                  <a:pt x="114" y="180"/>
                  <a:pt x="114" y="180"/>
                </a:cubicBezTo>
                <a:cubicBezTo>
                  <a:pt x="113" y="180"/>
                  <a:pt x="113" y="180"/>
                  <a:pt x="113" y="180"/>
                </a:cubicBezTo>
                <a:cubicBezTo>
                  <a:pt x="113" y="179"/>
                  <a:pt x="113" y="179"/>
                  <a:pt x="113" y="179"/>
                </a:cubicBezTo>
                <a:cubicBezTo>
                  <a:pt x="111" y="178"/>
                  <a:pt x="111" y="178"/>
                  <a:pt x="111" y="178"/>
                </a:cubicBezTo>
                <a:cubicBezTo>
                  <a:pt x="110" y="178"/>
                  <a:pt x="110" y="178"/>
                  <a:pt x="110" y="178"/>
                </a:cubicBezTo>
                <a:cubicBezTo>
                  <a:pt x="110" y="178"/>
                  <a:pt x="110" y="178"/>
                  <a:pt x="110" y="178"/>
                </a:cubicBezTo>
                <a:cubicBezTo>
                  <a:pt x="109" y="177"/>
                  <a:pt x="109" y="177"/>
                  <a:pt x="109" y="177"/>
                </a:cubicBezTo>
                <a:cubicBezTo>
                  <a:pt x="108" y="177"/>
                  <a:pt x="108" y="177"/>
                  <a:pt x="108" y="177"/>
                </a:cubicBezTo>
                <a:cubicBezTo>
                  <a:pt x="108" y="177"/>
                  <a:pt x="108" y="177"/>
                  <a:pt x="108" y="177"/>
                </a:cubicBezTo>
                <a:cubicBezTo>
                  <a:pt x="108" y="176"/>
                  <a:pt x="108" y="176"/>
                  <a:pt x="108" y="176"/>
                </a:cubicBezTo>
                <a:cubicBezTo>
                  <a:pt x="107" y="176"/>
                  <a:pt x="107" y="176"/>
                  <a:pt x="107" y="176"/>
                </a:cubicBezTo>
                <a:cubicBezTo>
                  <a:pt x="107" y="175"/>
                  <a:pt x="107" y="175"/>
                  <a:pt x="107" y="175"/>
                </a:cubicBezTo>
                <a:cubicBezTo>
                  <a:pt x="106" y="175"/>
                  <a:pt x="106" y="175"/>
                  <a:pt x="106" y="175"/>
                </a:cubicBezTo>
                <a:cubicBezTo>
                  <a:pt x="106" y="175"/>
                  <a:pt x="106" y="175"/>
                  <a:pt x="106" y="175"/>
                </a:cubicBezTo>
                <a:cubicBezTo>
                  <a:pt x="106" y="175"/>
                  <a:pt x="106" y="175"/>
                  <a:pt x="106" y="175"/>
                </a:cubicBezTo>
                <a:cubicBezTo>
                  <a:pt x="106" y="175"/>
                  <a:pt x="106" y="175"/>
                  <a:pt x="106" y="175"/>
                </a:cubicBezTo>
                <a:cubicBezTo>
                  <a:pt x="105" y="174"/>
                  <a:pt x="105" y="174"/>
                  <a:pt x="105" y="174"/>
                </a:cubicBezTo>
                <a:cubicBezTo>
                  <a:pt x="104" y="173"/>
                  <a:pt x="104" y="173"/>
                  <a:pt x="104" y="173"/>
                </a:cubicBezTo>
                <a:cubicBezTo>
                  <a:pt x="103" y="171"/>
                  <a:pt x="103" y="171"/>
                  <a:pt x="103" y="171"/>
                </a:cubicBezTo>
                <a:cubicBezTo>
                  <a:pt x="103" y="171"/>
                  <a:pt x="103" y="171"/>
                  <a:pt x="103" y="171"/>
                </a:cubicBezTo>
                <a:cubicBezTo>
                  <a:pt x="104" y="171"/>
                  <a:pt x="104" y="171"/>
                  <a:pt x="104" y="171"/>
                </a:cubicBezTo>
                <a:cubicBezTo>
                  <a:pt x="104" y="171"/>
                  <a:pt x="104" y="171"/>
                  <a:pt x="104" y="171"/>
                </a:cubicBezTo>
                <a:cubicBezTo>
                  <a:pt x="104" y="170"/>
                  <a:pt x="104" y="170"/>
                  <a:pt x="104" y="170"/>
                </a:cubicBezTo>
                <a:cubicBezTo>
                  <a:pt x="104" y="169"/>
                  <a:pt x="104" y="169"/>
                  <a:pt x="104" y="169"/>
                </a:cubicBezTo>
                <a:cubicBezTo>
                  <a:pt x="103" y="168"/>
                  <a:pt x="103" y="168"/>
                  <a:pt x="103" y="168"/>
                </a:cubicBezTo>
                <a:cubicBezTo>
                  <a:pt x="103" y="168"/>
                  <a:pt x="103" y="168"/>
                  <a:pt x="103" y="168"/>
                </a:cubicBezTo>
                <a:cubicBezTo>
                  <a:pt x="103" y="168"/>
                  <a:pt x="103" y="168"/>
                  <a:pt x="103" y="168"/>
                </a:cubicBezTo>
                <a:cubicBezTo>
                  <a:pt x="103" y="166"/>
                  <a:pt x="103" y="166"/>
                  <a:pt x="103" y="166"/>
                </a:cubicBezTo>
                <a:cubicBezTo>
                  <a:pt x="102" y="166"/>
                  <a:pt x="102" y="166"/>
                  <a:pt x="102" y="166"/>
                </a:cubicBezTo>
                <a:cubicBezTo>
                  <a:pt x="101" y="165"/>
                  <a:pt x="101" y="165"/>
                  <a:pt x="101" y="165"/>
                </a:cubicBezTo>
                <a:cubicBezTo>
                  <a:pt x="100" y="165"/>
                  <a:pt x="100" y="165"/>
                  <a:pt x="100" y="165"/>
                </a:cubicBezTo>
                <a:cubicBezTo>
                  <a:pt x="101" y="164"/>
                  <a:pt x="101" y="164"/>
                  <a:pt x="101" y="164"/>
                </a:cubicBezTo>
                <a:cubicBezTo>
                  <a:pt x="101" y="164"/>
                  <a:pt x="101" y="164"/>
                  <a:pt x="101" y="164"/>
                </a:cubicBezTo>
                <a:cubicBezTo>
                  <a:pt x="100" y="163"/>
                  <a:pt x="100" y="163"/>
                  <a:pt x="100" y="163"/>
                </a:cubicBezTo>
                <a:cubicBezTo>
                  <a:pt x="99" y="163"/>
                  <a:pt x="99" y="163"/>
                  <a:pt x="99" y="163"/>
                </a:cubicBezTo>
                <a:cubicBezTo>
                  <a:pt x="99" y="162"/>
                  <a:pt x="99" y="162"/>
                  <a:pt x="99" y="162"/>
                </a:cubicBezTo>
                <a:cubicBezTo>
                  <a:pt x="98" y="161"/>
                  <a:pt x="98" y="161"/>
                  <a:pt x="98" y="161"/>
                </a:cubicBezTo>
                <a:cubicBezTo>
                  <a:pt x="98" y="161"/>
                  <a:pt x="98" y="161"/>
                  <a:pt x="98" y="161"/>
                </a:cubicBezTo>
                <a:cubicBezTo>
                  <a:pt x="98" y="161"/>
                  <a:pt x="98" y="161"/>
                  <a:pt x="98" y="161"/>
                </a:cubicBezTo>
                <a:cubicBezTo>
                  <a:pt x="97" y="160"/>
                  <a:pt x="97" y="160"/>
                  <a:pt x="97" y="160"/>
                </a:cubicBezTo>
                <a:cubicBezTo>
                  <a:pt x="96" y="158"/>
                  <a:pt x="96" y="158"/>
                  <a:pt x="96" y="158"/>
                </a:cubicBezTo>
                <a:cubicBezTo>
                  <a:pt x="95" y="158"/>
                  <a:pt x="95" y="158"/>
                  <a:pt x="95" y="158"/>
                </a:cubicBezTo>
                <a:cubicBezTo>
                  <a:pt x="85" y="157"/>
                  <a:pt x="85" y="157"/>
                  <a:pt x="85" y="157"/>
                </a:cubicBezTo>
                <a:cubicBezTo>
                  <a:pt x="85" y="160"/>
                  <a:pt x="85" y="160"/>
                  <a:pt x="85" y="160"/>
                </a:cubicBezTo>
                <a:cubicBezTo>
                  <a:pt x="67" y="159"/>
                  <a:pt x="67" y="159"/>
                  <a:pt x="67" y="159"/>
                </a:cubicBezTo>
                <a:cubicBezTo>
                  <a:pt x="45" y="149"/>
                  <a:pt x="45" y="149"/>
                  <a:pt x="45" y="149"/>
                </a:cubicBezTo>
                <a:cubicBezTo>
                  <a:pt x="46" y="149"/>
                  <a:pt x="46" y="149"/>
                  <a:pt x="46" y="149"/>
                </a:cubicBezTo>
                <a:cubicBezTo>
                  <a:pt x="45" y="148"/>
                  <a:pt x="45" y="148"/>
                  <a:pt x="45" y="148"/>
                </a:cubicBezTo>
                <a:cubicBezTo>
                  <a:pt x="30" y="149"/>
                  <a:pt x="30" y="149"/>
                  <a:pt x="30" y="149"/>
                </a:cubicBezTo>
                <a:cubicBezTo>
                  <a:pt x="30" y="148"/>
                  <a:pt x="30" y="148"/>
                  <a:pt x="30" y="148"/>
                </a:cubicBezTo>
                <a:cubicBezTo>
                  <a:pt x="30" y="146"/>
                  <a:pt x="30" y="146"/>
                  <a:pt x="30" y="146"/>
                </a:cubicBezTo>
                <a:cubicBezTo>
                  <a:pt x="30" y="144"/>
                  <a:pt x="30" y="144"/>
                  <a:pt x="30" y="144"/>
                </a:cubicBezTo>
                <a:cubicBezTo>
                  <a:pt x="28" y="141"/>
                  <a:pt x="28" y="141"/>
                  <a:pt x="28" y="141"/>
                </a:cubicBezTo>
                <a:cubicBezTo>
                  <a:pt x="27" y="139"/>
                  <a:pt x="27" y="139"/>
                  <a:pt x="27" y="139"/>
                </a:cubicBezTo>
                <a:cubicBezTo>
                  <a:pt x="26" y="140"/>
                  <a:pt x="26" y="140"/>
                  <a:pt x="26" y="140"/>
                </a:cubicBezTo>
                <a:cubicBezTo>
                  <a:pt x="25" y="140"/>
                  <a:pt x="25" y="140"/>
                  <a:pt x="25" y="140"/>
                </a:cubicBezTo>
                <a:cubicBezTo>
                  <a:pt x="25" y="139"/>
                  <a:pt x="25" y="139"/>
                  <a:pt x="25" y="139"/>
                </a:cubicBezTo>
                <a:cubicBezTo>
                  <a:pt x="25" y="138"/>
                  <a:pt x="25" y="138"/>
                  <a:pt x="25" y="138"/>
                </a:cubicBezTo>
                <a:cubicBezTo>
                  <a:pt x="25" y="138"/>
                  <a:pt x="25" y="138"/>
                  <a:pt x="25" y="138"/>
                </a:cubicBezTo>
                <a:cubicBezTo>
                  <a:pt x="23" y="137"/>
                  <a:pt x="23" y="137"/>
                  <a:pt x="23" y="137"/>
                </a:cubicBezTo>
                <a:cubicBezTo>
                  <a:pt x="22" y="137"/>
                  <a:pt x="22" y="137"/>
                  <a:pt x="22" y="137"/>
                </a:cubicBezTo>
                <a:cubicBezTo>
                  <a:pt x="20" y="136"/>
                  <a:pt x="20" y="136"/>
                  <a:pt x="20" y="136"/>
                </a:cubicBezTo>
                <a:cubicBezTo>
                  <a:pt x="20" y="135"/>
                  <a:pt x="20" y="135"/>
                  <a:pt x="20" y="135"/>
                </a:cubicBezTo>
                <a:cubicBezTo>
                  <a:pt x="19" y="134"/>
                  <a:pt x="19" y="134"/>
                  <a:pt x="19" y="134"/>
                </a:cubicBezTo>
                <a:cubicBezTo>
                  <a:pt x="18" y="134"/>
                  <a:pt x="18" y="134"/>
                  <a:pt x="18" y="134"/>
                </a:cubicBezTo>
                <a:cubicBezTo>
                  <a:pt x="17" y="134"/>
                  <a:pt x="17" y="134"/>
                  <a:pt x="17" y="134"/>
                </a:cubicBezTo>
                <a:cubicBezTo>
                  <a:pt x="16" y="133"/>
                  <a:pt x="16" y="133"/>
                  <a:pt x="16" y="133"/>
                </a:cubicBezTo>
                <a:cubicBezTo>
                  <a:pt x="15" y="133"/>
                  <a:pt x="15" y="133"/>
                  <a:pt x="15" y="133"/>
                </a:cubicBezTo>
                <a:cubicBezTo>
                  <a:pt x="12" y="133"/>
                  <a:pt x="12" y="133"/>
                  <a:pt x="12" y="133"/>
                </a:cubicBezTo>
                <a:cubicBezTo>
                  <a:pt x="12" y="133"/>
                  <a:pt x="12" y="133"/>
                  <a:pt x="12" y="133"/>
                </a:cubicBezTo>
                <a:cubicBezTo>
                  <a:pt x="11" y="132"/>
                  <a:pt x="11" y="132"/>
                  <a:pt x="11" y="132"/>
                </a:cubicBezTo>
                <a:cubicBezTo>
                  <a:pt x="12" y="131"/>
                  <a:pt x="12" y="131"/>
                  <a:pt x="12" y="131"/>
                </a:cubicBezTo>
                <a:cubicBezTo>
                  <a:pt x="12" y="130"/>
                  <a:pt x="12" y="130"/>
                  <a:pt x="12" y="130"/>
                </a:cubicBezTo>
                <a:cubicBezTo>
                  <a:pt x="13" y="129"/>
                  <a:pt x="13" y="129"/>
                  <a:pt x="13" y="129"/>
                </a:cubicBezTo>
                <a:cubicBezTo>
                  <a:pt x="12" y="127"/>
                  <a:pt x="12" y="127"/>
                  <a:pt x="12" y="127"/>
                </a:cubicBezTo>
                <a:cubicBezTo>
                  <a:pt x="11" y="126"/>
                  <a:pt x="11" y="126"/>
                  <a:pt x="11" y="126"/>
                </a:cubicBezTo>
                <a:cubicBezTo>
                  <a:pt x="11" y="126"/>
                  <a:pt x="11" y="126"/>
                  <a:pt x="11" y="126"/>
                </a:cubicBezTo>
                <a:cubicBezTo>
                  <a:pt x="11" y="125"/>
                  <a:pt x="11" y="125"/>
                  <a:pt x="11" y="125"/>
                </a:cubicBezTo>
                <a:cubicBezTo>
                  <a:pt x="11" y="125"/>
                  <a:pt x="11" y="125"/>
                  <a:pt x="11" y="125"/>
                </a:cubicBezTo>
                <a:cubicBezTo>
                  <a:pt x="10" y="124"/>
                  <a:pt x="10" y="124"/>
                  <a:pt x="10" y="124"/>
                </a:cubicBezTo>
                <a:cubicBezTo>
                  <a:pt x="8" y="121"/>
                  <a:pt x="8" y="121"/>
                  <a:pt x="8" y="121"/>
                </a:cubicBezTo>
                <a:cubicBezTo>
                  <a:pt x="8" y="119"/>
                  <a:pt x="8" y="119"/>
                  <a:pt x="8" y="119"/>
                </a:cubicBezTo>
                <a:cubicBezTo>
                  <a:pt x="7" y="118"/>
                  <a:pt x="7" y="118"/>
                  <a:pt x="7" y="118"/>
                </a:cubicBezTo>
                <a:cubicBezTo>
                  <a:pt x="7" y="117"/>
                  <a:pt x="7" y="117"/>
                  <a:pt x="7" y="117"/>
                </a:cubicBezTo>
                <a:cubicBezTo>
                  <a:pt x="7" y="116"/>
                  <a:pt x="7" y="116"/>
                  <a:pt x="7" y="116"/>
                </a:cubicBezTo>
                <a:cubicBezTo>
                  <a:pt x="7" y="115"/>
                  <a:pt x="7" y="115"/>
                  <a:pt x="7" y="115"/>
                </a:cubicBezTo>
                <a:cubicBezTo>
                  <a:pt x="7" y="114"/>
                  <a:pt x="7" y="114"/>
                  <a:pt x="7" y="114"/>
                </a:cubicBezTo>
                <a:cubicBezTo>
                  <a:pt x="7" y="114"/>
                  <a:pt x="7" y="114"/>
                  <a:pt x="7" y="114"/>
                </a:cubicBezTo>
                <a:cubicBezTo>
                  <a:pt x="8" y="113"/>
                  <a:pt x="8" y="113"/>
                  <a:pt x="8" y="113"/>
                </a:cubicBezTo>
                <a:cubicBezTo>
                  <a:pt x="8" y="112"/>
                  <a:pt x="8" y="112"/>
                  <a:pt x="8" y="112"/>
                </a:cubicBezTo>
                <a:cubicBezTo>
                  <a:pt x="7" y="112"/>
                  <a:pt x="7" y="112"/>
                  <a:pt x="7" y="112"/>
                </a:cubicBezTo>
                <a:cubicBezTo>
                  <a:pt x="7" y="111"/>
                  <a:pt x="7" y="111"/>
                  <a:pt x="7" y="111"/>
                </a:cubicBezTo>
                <a:cubicBezTo>
                  <a:pt x="6" y="110"/>
                  <a:pt x="6" y="110"/>
                  <a:pt x="6" y="110"/>
                </a:cubicBezTo>
                <a:cubicBezTo>
                  <a:pt x="6" y="109"/>
                  <a:pt x="6" y="109"/>
                  <a:pt x="6" y="109"/>
                </a:cubicBezTo>
                <a:cubicBezTo>
                  <a:pt x="6" y="108"/>
                  <a:pt x="6" y="108"/>
                  <a:pt x="6" y="108"/>
                </a:cubicBezTo>
                <a:cubicBezTo>
                  <a:pt x="6" y="107"/>
                  <a:pt x="6" y="107"/>
                  <a:pt x="6" y="107"/>
                </a:cubicBezTo>
                <a:cubicBezTo>
                  <a:pt x="6" y="107"/>
                  <a:pt x="6" y="107"/>
                  <a:pt x="6" y="107"/>
                </a:cubicBezTo>
                <a:cubicBezTo>
                  <a:pt x="6" y="106"/>
                  <a:pt x="6" y="106"/>
                  <a:pt x="6" y="106"/>
                </a:cubicBezTo>
                <a:cubicBezTo>
                  <a:pt x="6" y="105"/>
                  <a:pt x="6" y="105"/>
                  <a:pt x="6" y="105"/>
                </a:cubicBezTo>
                <a:cubicBezTo>
                  <a:pt x="7" y="105"/>
                  <a:pt x="7" y="105"/>
                  <a:pt x="7" y="105"/>
                </a:cubicBezTo>
                <a:cubicBezTo>
                  <a:pt x="7" y="105"/>
                  <a:pt x="7" y="105"/>
                  <a:pt x="7" y="105"/>
                </a:cubicBezTo>
                <a:cubicBezTo>
                  <a:pt x="8" y="106"/>
                  <a:pt x="8" y="106"/>
                  <a:pt x="8" y="106"/>
                </a:cubicBezTo>
                <a:cubicBezTo>
                  <a:pt x="9" y="107"/>
                  <a:pt x="9" y="107"/>
                  <a:pt x="9" y="107"/>
                </a:cubicBezTo>
                <a:cubicBezTo>
                  <a:pt x="8" y="106"/>
                  <a:pt x="8" y="106"/>
                  <a:pt x="8" y="106"/>
                </a:cubicBezTo>
                <a:cubicBezTo>
                  <a:pt x="8" y="105"/>
                  <a:pt x="8" y="105"/>
                  <a:pt x="8" y="105"/>
                </a:cubicBezTo>
                <a:cubicBezTo>
                  <a:pt x="8" y="104"/>
                  <a:pt x="8" y="104"/>
                  <a:pt x="8" y="104"/>
                </a:cubicBezTo>
                <a:cubicBezTo>
                  <a:pt x="7" y="103"/>
                  <a:pt x="7" y="103"/>
                  <a:pt x="7" y="103"/>
                </a:cubicBezTo>
                <a:cubicBezTo>
                  <a:pt x="7" y="102"/>
                  <a:pt x="7" y="102"/>
                  <a:pt x="7" y="102"/>
                </a:cubicBezTo>
                <a:cubicBezTo>
                  <a:pt x="8" y="102"/>
                  <a:pt x="8" y="102"/>
                  <a:pt x="8" y="102"/>
                </a:cubicBezTo>
                <a:cubicBezTo>
                  <a:pt x="8" y="103"/>
                  <a:pt x="8" y="103"/>
                  <a:pt x="8" y="103"/>
                </a:cubicBezTo>
                <a:cubicBezTo>
                  <a:pt x="9" y="103"/>
                  <a:pt x="9" y="103"/>
                  <a:pt x="9" y="103"/>
                </a:cubicBezTo>
                <a:cubicBezTo>
                  <a:pt x="11" y="102"/>
                  <a:pt x="11" y="102"/>
                  <a:pt x="11" y="102"/>
                </a:cubicBezTo>
                <a:cubicBezTo>
                  <a:pt x="9" y="102"/>
                  <a:pt x="9" y="102"/>
                  <a:pt x="9" y="102"/>
                </a:cubicBezTo>
                <a:cubicBezTo>
                  <a:pt x="9" y="102"/>
                  <a:pt x="9" y="102"/>
                  <a:pt x="9" y="102"/>
                </a:cubicBezTo>
                <a:cubicBezTo>
                  <a:pt x="8" y="102"/>
                  <a:pt x="8" y="102"/>
                  <a:pt x="8" y="102"/>
                </a:cubicBezTo>
                <a:cubicBezTo>
                  <a:pt x="8" y="101"/>
                  <a:pt x="8" y="101"/>
                  <a:pt x="8" y="101"/>
                </a:cubicBezTo>
                <a:cubicBezTo>
                  <a:pt x="7" y="101"/>
                  <a:pt x="7" y="101"/>
                  <a:pt x="7" y="101"/>
                </a:cubicBezTo>
                <a:cubicBezTo>
                  <a:pt x="6" y="101"/>
                  <a:pt x="6" y="101"/>
                  <a:pt x="6" y="101"/>
                </a:cubicBezTo>
                <a:cubicBezTo>
                  <a:pt x="6" y="102"/>
                  <a:pt x="6" y="102"/>
                  <a:pt x="6" y="102"/>
                </a:cubicBezTo>
                <a:cubicBezTo>
                  <a:pt x="6" y="104"/>
                  <a:pt x="6" y="104"/>
                  <a:pt x="6" y="104"/>
                </a:cubicBezTo>
                <a:cubicBezTo>
                  <a:pt x="6" y="103"/>
                  <a:pt x="6" y="103"/>
                  <a:pt x="6" y="103"/>
                </a:cubicBezTo>
                <a:cubicBezTo>
                  <a:pt x="6" y="103"/>
                  <a:pt x="6" y="103"/>
                  <a:pt x="6" y="103"/>
                </a:cubicBezTo>
                <a:cubicBezTo>
                  <a:pt x="5" y="103"/>
                  <a:pt x="5" y="103"/>
                  <a:pt x="5" y="103"/>
                </a:cubicBezTo>
                <a:cubicBezTo>
                  <a:pt x="4" y="102"/>
                  <a:pt x="4" y="102"/>
                  <a:pt x="4" y="102"/>
                </a:cubicBezTo>
                <a:cubicBezTo>
                  <a:pt x="4" y="101"/>
                  <a:pt x="4" y="101"/>
                  <a:pt x="4" y="101"/>
                </a:cubicBezTo>
                <a:cubicBezTo>
                  <a:pt x="4" y="100"/>
                  <a:pt x="4" y="100"/>
                  <a:pt x="4" y="100"/>
                </a:cubicBezTo>
                <a:cubicBezTo>
                  <a:pt x="4" y="99"/>
                  <a:pt x="4" y="99"/>
                  <a:pt x="4" y="99"/>
                </a:cubicBezTo>
                <a:cubicBezTo>
                  <a:pt x="1" y="95"/>
                  <a:pt x="1" y="95"/>
                  <a:pt x="1" y="95"/>
                </a:cubicBezTo>
                <a:cubicBezTo>
                  <a:pt x="1" y="94"/>
                  <a:pt x="1" y="94"/>
                  <a:pt x="1" y="94"/>
                </a:cubicBezTo>
                <a:cubicBezTo>
                  <a:pt x="1" y="93"/>
                  <a:pt x="1" y="93"/>
                  <a:pt x="1" y="93"/>
                </a:cubicBezTo>
                <a:cubicBezTo>
                  <a:pt x="2" y="92"/>
                  <a:pt x="2" y="92"/>
                  <a:pt x="2" y="92"/>
                </a:cubicBezTo>
                <a:cubicBezTo>
                  <a:pt x="1" y="91"/>
                  <a:pt x="1" y="91"/>
                  <a:pt x="1" y="91"/>
                </a:cubicBezTo>
                <a:cubicBezTo>
                  <a:pt x="1" y="90"/>
                  <a:pt x="1" y="90"/>
                  <a:pt x="1" y="90"/>
                </a:cubicBezTo>
                <a:cubicBezTo>
                  <a:pt x="1" y="89"/>
                  <a:pt x="1" y="89"/>
                  <a:pt x="1" y="89"/>
                </a:cubicBezTo>
                <a:cubicBezTo>
                  <a:pt x="2" y="88"/>
                  <a:pt x="2" y="88"/>
                  <a:pt x="2" y="88"/>
                </a:cubicBezTo>
                <a:cubicBezTo>
                  <a:pt x="2" y="87"/>
                  <a:pt x="2" y="87"/>
                  <a:pt x="2" y="87"/>
                </a:cubicBezTo>
                <a:cubicBezTo>
                  <a:pt x="2" y="84"/>
                  <a:pt x="2" y="84"/>
                  <a:pt x="2" y="84"/>
                </a:cubicBezTo>
                <a:cubicBezTo>
                  <a:pt x="1" y="82"/>
                  <a:pt x="1" y="82"/>
                  <a:pt x="1" y="82"/>
                </a:cubicBezTo>
                <a:cubicBezTo>
                  <a:pt x="0" y="80"/>
                  <a:pt x="0" y="80"/>
                  <a:pt x="0" y="80"/>
                </a:cubicBezTo>
                <a:cubicBezTo>
                  <a:pt x="0" y="79"/>
                  <a:pt x="0" y="79"/>
                  <a:pt x="0" y="79"/>
                </a:cubicBezTo>
                <a:cubicBezTo>
                  <a:pt x="0" y="77"/>
                  <a:pt x="0" y="77"/>
                  <a:pt x="0" y="77"/>
                </a:cubicBezTo>
                <a:cubicBezTo>
                  <a:pt x="2" y="76"/>
                  <a:pt x="2" y="76"/>
                  <a:pt x="2" y="76"/>
                </a:cubicBezTo>
                <a:cubicBezTo>
                  <a:pt x="3" y="74"/>
                  <a:pt x="3" y="74"/>
                  <a:pt x="3" y="74"/>
                </a:cubicBezTo>
                <a:cubicBezTo>
                  <a:pt x="2" y="74"/>
                  <a:pt x="2" y="74"/>
                  <a:pt x="2" y="74"/>
                </a:cubicBezTo>
                <a:cubicBezTo>
                  <a:pt x="2" y="73"/>
                  <a:pt x="2" y="73"/>
                  <a:pt x="2" y="73"/>
                </a:cubicBezTo>
                <a:cubicBezTo>
                  <a:pt x="3" y="73"/>
                  <a:pt x="3" y="73"/>
                  <a:pt x="3" y="73"/>
                </a:cubicBezTo>
                <a:cubicBezTo>
                  <a:pt x="4" y="71"/>
                  <a:pt x="4" y="71"/>
                  <a:pt x="4" y="71"/>
                </a:cubicBezTo>
                <a:cubicBezTo>
                  <a:pt x="4" y="69"/>
                  <a:pt x="4" y="69"/>
                  <a:pt x="4" y="69"/>
                </a:cubicBezTo>
                <a:cubicBezTo>
                  <a:pt x="3" y="67"/>
                  <a:pt x="3" y="67"/>
                  <a:pt x="3" y="67"/>
                </a:cubicBezTo>
                <a:cubicBezTo>
                  <a:pt x="4" y="66"/>
                  <a:pt x="4" y="66"/>
                  <a:pt x="4" y="66"/>
                </a:cubicBezTo>
                <a:cubicBezTo>
                  <a:pt x="4" y="65"/>
                  <a:pt x="4" y="65"/>
                  <a:pt x="4" y="65"/>
                </a:cubicBezTo>
                <a:cubicBezTo>
                  <a:pt x="3" y="64"/>
                  <a:pt x="3" y="64"/>
                  <a:pt x="3" y="64"/>
                </a:cubicBezTo>
                <a:cubicBezTo>
                  <a:pt x="3" y="63"/>
                  <a:pt x="3" y="63"/>
                  <a:pt x="3" y="63"/>
                </a:cubicBezTo>
                <a:cubicBezTo>
                  <a:pt x="4" y="60"/>
                  <a:pt x="4" y="60"/>
                  <a:pt x="4" y="60"/>
                </a:cubicBezTo>
                <a:cubicBezTo>
                  <a:pt x="4" y="58"/>
                  <a:pt x="4" y="58"/>
                  <a:pt x="4" y="58"/>
                </a:cubicBezTo>
                <a:cubicBezTo>
                  <a:pt x="4" y="57"/>
                  <a:pt x="4" y="57"/>
                  <a:pt x="4" y="57"/>
                </a:cubicBezTo>
                <a:cubicBezTo>
                  <a:pt x="6" y="55"/>
                  <a:pt x="6" y="55"/>
                  <a:pt x="6" y="55"/>
                </a:cubicBezTo>
                <a:cubicBezTo>
                  <a:pt x="6" y="53"/>
                  <a:pt x="6" y="53"/>
                  <a:pt x="6" y="53"/>
                </a:cubicBezTo>
                <a:cubicBezTo>
                  <a:pt x="7" y="53"/>
                  <a:pt x="7" y="53"/>
                  <a:pt x="7" y="53"/>
                </a:cubicBezTo>
                <a:cubicBezTo>
                  <a:pt x="8" y="51"/>
                  <a:pt x="8" y="51"/>
                  <a:pt x="8" y="51"/>
                </a:cubicBezTo>
                <a:cubicBezTo>
                  <a:pt x="9" y="49"/>
                  <a:pt x="9" y="49"/>
                  <a:pt x="9" y="49"/>
                </a:cubicBezTo>
                <a:cubicBezTo>
                  <a:pt x="10" y="48"/>
                  <a:pt x="10" y="48"/>
                  <a:pt x="10" y="48"/>
                </a:cubicBezTo>
                <a:cubicBezTo>
                  <a:pt x="10" y="44"/>
                  <a:pt x="10" y="44"/>
                  <a:pt x="10" y="44"/>
                </a:cubicBezTo>
                <a:cubicBezTo>
                  <a:pt x="12" y="41"/>
                  <a:pt x="12" y="41"/>
                  <a:pt x="12" y="41"/>
                </a:cubicBezTo>
                <a:cubicBezTo>
                  <a:pt x="12" y="38"/>
                  <a:pt x="12" y="38"/>
                  <a:pt x="12" y="38"/>
                </a:cubicBezTo>
                <a:cubicBezTo>
                  <a:pt x="14" y="35"/>
                  <a:pt x="14" y="35"/>
                  <a:pt x="14" y="35"/>
                </a:cubicBezTo>
                <a:cubicBezTo>
                  <a:pt x="14" y="33"/>
                  <a:pt x="14" y="33"/>
                  <a:pt x="14" y="33"/>
                </a:cubicBezTo>
                <a:cubicBezTo>
                  <a:pt x="15" y="32"/>
                  <a:pt x="15" y="32"/>
                  <a:pt x="15" y="32"/>
                </a:cubicBezTo>
                <a:cubicBezTo>
                  <a:pt x="15" y="31"/>
                  <a:pt x="15" y="31"/>
                  <a:pt x="15" y="31"/>
                </a:cubicBezTo>
                <a:cubicBezTo>
                  <a:pt x="15" y="30"/>
                  <a:pt x="15" y="30"/>
                  <a:pt x="15" y="30"/>
                </a:cubicBezTo>
                <a:cubicBezTo>
                  <a:pt x="16" y="28"/>
                  <a:pt x="16" y="28"/>
                  <a:pt x="16" y="28"/>
                </a:cubicBezTo>
                <a:cubicBezTo>
                  <a:pt x="16" y="27"/>
                  <a:pt x="16" y="27"/>
                  <a:pt x="16" y="27"/>
                </a:cubicBezTo>
                <a:cubicBezTo>
                  <a:pt x="17" y="27"/>
                  <a:pt x="17" y="27"/>
                  <a:pt x="17" y="27"/>
                </a:cubicBezTo>
                <a:cubicBezTo>
                  <a:pt x="17" y="27"/>
                  <a:pt x="17" y="27"/>
                  <a:pt x="17" y="27"/>
                </a:cubicBezTo>
                <a:cubicBezTo>
                  <a:pt x="19" y="27"/>
                  <a:pt x="19" y="27"/>
                  <a:pt x="19" y="27"/>
                </a:cubicBezTo>
                <a:cubicBezTo>
                  <a:pt x="20" y="28"/>
                  <a:pt x="20" y="28"/>
                  <a:pt x="20" y="28"/>
                </a:cubicBezTo>
                <a:cubicBezTo>
                  <a:pt x="21" y="28"/>
                  <a:pt x="21" y="28"/>
                  <a:pt x="21" y="28"/>
                </a:cubicBezTo>
                <a:cubicBezTo>
                  <a:pt x="22" y="29"/>
                  <a:pt x="22" y="29"/>
                  <a:pt x="22" y="29"/>
                </a:cubicBezTo>
                <a:cubicBezTo>
                  <a:pt x="23" y="30"/>
                  <a:pt x="23" y="30"/>
                  <a:pt x="23" y="30"/>
                </a:cubicBezTo>
                <a:cubicBezTo>
                  <a:pt x="23" y="28"/>
                  <a:pt x="23" y="28"/>
                  <a:pt x="23" y="28"/>
                </a:cubicBezTo>
                <a:cubicBezTo>
                  <a:pt x="22" y="28"/>
                  <a:pt x="22" y="28"/>
                  <a:pt x="22" y="28"/>
                </a:cubicBezTo>
                <a:cubicBezTo>
                  <a:pt x="21" y="27"/>
                  <a:pt x="21" y="27"/>
                  <a:pt x="21" y="27"/>
                </a:cubicBezTo>
                <a:cubicBezTo>
                  <a:pt x="20" y="26"/>
                  <a:pt x="20" y="26"/>
                  <a:pt x="20" y="26"/>
                </a:cubicBezTo>
                <a:cubicBezTo>
                  <a:pt x="18" y="26"/>
                  <a:pt x="18" y="26"/>
                  <a:pt x="18" y="26"/>
                </a:cubicBezTo>
                <a:cubicBezTo>
                  <a:pt x="16" y="26"/>
                  <a:pt x="16" y="26"/>
                  <a:pt x="16" y="26"/>
                </a:cubicBezTo>
                <a:cubicBezTo>
                  <a:pt x="16" y="25"/>
                  <a:pt x="16" y="25"/>
                  <a:pt x="16" y="25"/>
                </a:cubicBezTo>
                <a:cubicBezTo>
                  <a:pt x="17" y="25"/>
                  <a:pt x="17" y="25"/>
                  <a:pt x="17" y="25"/>
                </a:cubicBezTo>
                <a:cubicBezTo>
                  <a:pt x="17" y="25"/>
                  <a:pt x="17" y="25"/>
                  <a:pt x="17" y="25"/>
                </a:cubicBezTo>
                <a:cubicBezTo>
                  <a:pt x="18" y="24"/>
                  <a:pt x="18" y="24"/>
                  <a:pt x="18" y="24"/>
                </a:cubicBezTo>
                <a:cubicBezTo>
                  <a:pt x="18" y="23"/>
                  <a:pt x="18" y="23"/>
                  <a:pt x="18" y="23"/>
                </a:cubicBezTo>
                <a:cubicBezTo>
                  <a:pt x="18" y="22"/>
                  <a:pt x="18" y="22"/>
                  <a:pt x="18" y="22"/>
                </a:cubicBezTo>
                <a:cubicBezTo>
                  <a:pt x="17" y="21"/>
                  <a:pt x="17" y="21"/>
                  <a:pt x="17" y="21"/>
                </a:cubicBezTo>
                <a:cubicBezTo>
                  <a:pt x="17" y="21"/>
                  <a:pt x="17" y="21"/>
                  <a:pt x="17" y="21"/>
                </a:cubicBezTo>
                <a:cubicBezTo>
                  <a:pt x="17" y="20"/>
                  <a:pt x="17" y="20"/>
                  <a:pt x="17" y="20"/>
                </a:cubicBezTo>
                <a:cubicBezTo>
                  <a:pt x="18" y="20"/>
                  <a:pt x="18" y="20"/>
                  <a:pt x="18" y="20"/>
                </a:cubicBezTo>
                <a:cubicBezTo>
                  <a:pt x="18" y="19"/>
                  <a:pt x="18" y="19"/>
                  <a:pt x="18" y="19"/>
                </a:cubicBezTo>
                <a:cubicBezTo>
                  <a:pt x="18" y="19"/>
                  <a:pt x="18" y="19"/>
                  <a:pt x="18" y="19"/>
                </a:cubicBezTo>
                <a:cubicBezTo>
                  <a:pt x="17" y="19"/>
                  <a:pt x="17" y="19"/>
                  <a:pt x="17" y="19"/>
                </a:cubicBezTo>
                <a:cubicBezTo>
                  <a:pt x="17" y="18"/>
                  <a:pt x="17" y="18"/>
                  <a:pt x="17" y="18"/>
                </a:cubicBezTo>
                <a:cubicBezTo>
                  <a:pt x="17" y="16"/>
                  <a:pt x="17" y="16"/>
                  <a:pt x="17" y="16"/>
                </a:cubicBezTo>
                <a:cubicBezTo>
                  <a:pt x="17" y="15"/>
                  <a:pt x="17" y="15"/>
                  <a:pt x="17" y="15"/>
                </a:cubicBezTo>
                <a:cubicBezTo>
                  <a:pt x="18" y="11"/>
                  <a:pt x="18" y="11"/>
                  <a:pt x="18" y="11"/>
                </a:cubicBezTo>
                <a:cubicBezTo>
                  <a:pt x="17" y="9"/>
                  <a:pt x="17" y="9"/>
                  <a:pt x="17" y="9"/>
                </a:cubicBezTo>
                <a:cubicBezTo>
                  <a:pt x="17" y="8"/>
                  <a:pt x="17" y="8"/>
                  <a:pt x="17" y="8"/>
                </a:cubicBezTo>
                <a:cubicBezTo>
                  <a:pt x="18" y="6"/>
                  <a:pt x="18" y="6"/>
                  <a:pt x="18" y="6"/>
                </a:cubicBezTo>
                <a:cubicBezTo>
                  <a:pt x="18" y="4"/>
                  <a:pt x="18" y="4"/>
                  <a:pt x="18" y="4"/>
                </a:cubicBezTo>
                <a:cubicBezTo>
                  <a:pt x="19" y="4"/>
                  <a:pt x="19" y="4"/>
                  <a:pt x="19" y="4"/>
                </a:cubicBezTo>
                <a:cubicBezTo>
                  <a:pt x="21" y="7"/>
                  <a:pt x="21" y="7"/>
                  <a:pt x="21" y="7"/>
                </a:cubicBezTo>
                <a:cubicBezTo>
                  <a:pt x="23" y="8"/>
                  <a:pt x="23" y="8"/>
                  <a:pt x="23" y="8"/>
                </a:cubicBezTo>
                <a:cubicBezTo>
                  <a:pt x="26" y="8"/>
                  <a:pt x="26" y="8"/>
                  <a:pt x="26" y="8"/>
                </a:cubicBezTo>
                <a:cubicBezTo>
                  <a:pt x="27" y="8"/>
                  <a:pt x="27" y="8"/>
                  <a:pt x="27" y="8"/>
                </a:cubicBezTo>
                <a:cubicBezTo>
                  <a:pt x="27" y="9"/>
                  <a:pt x="27" y="9"/>
                  <a:pt x="27" y="9"/>
                </a:cubicBezTo>
                <a:cubicBezTo>
                  <a:pt x="28" y="9"/>
                  <a:pt x="28" y="9"/>
                  <a:pt x="28" y="9"/>
                </a:cubicBezTo>
                <a:cubicBezTo>
                  <a:pt x="29" y="9"/>
                  <a:pt x="29" y="9"/>
                  <a:pt x="29" y="9"/>
                </a:cubicBezTo>
                <a:cubicBezTo>
                  <a:pt x="29" y="10"/>
                  <a:pt x="29" y="10"/>
                  <a:pt x="29" y="10"/>
                </a:cubicBezTo>
                <a:cubicBezTo>
                  <a:pt x="29" y="11"/>
                  <a:pt x="29" y="11"/>
                  <a:pt x="29" y="11"/>
                </a:cubicBezTo>
                <a:cubicBezTo>
                  <a:pt x="27" y="11"/>
                  <a:pt x="27" y="11"/>
                  <a:pt x="27" y="11"/>
                </a:cubicBezTo>
                <a:cubicBezTo>
                  <a:pt x="26" y="12"/>
                  <a:pt x="26" y="12"/>
                  <a:pt x="26" y="12"/>
                </a:cubicBezTo>
                <a:cubicBezTo>
                  <a:pt x="26" y="13"/>
                  <a:pt x="26" y="13"/>
                  <a:pt x="26" y="13"/>
                </a:cubicBezTo>
                <a:cubicBezTo>
                  <a:pt x="27" y="13"/>
                  <a:pt x="27" y="13"/>
                  <a:pt x="27" y="13"/>
                </a:cubicBezTo>
                <a:cubicBezTo>
                  <a:pt x="28" y="12"/>
                  <a:pt x="28" y="12"/>
                  <a:pt x="28" y="12"/>
                </a:cubicBezTo>
                <a:cubicBezTo>
                  <a:pt x="29" y="11"/>
                  <a:pt x="29" y="11"/>
                  <a:pt x="29" y="11"/>
                </a:cubicBezTo>
                <a:cubicBezTo>
                  <a:pt x="29" y="11"/>
                  <a:pt x="29" y="11"/>
                  <a:pt x="29" y="11"/>
                </a:cubicBezTo>
                <a:cubicBezTo>
                  <a:pt x="30" y="12"/>
                  <a:pt x="30" y="12"/>
                  <a:pt x="30" y="12"/>
                </a:cubicBezTo>
                <a:cubicBezTo>
                  <a:pt x="29" y="13"/>
                  <a:pt x="29" y="13"/>
                  <a:pt x="29" y="13"/>
                </a:cubicBezTo>
                <a:cubicBezTo>
                  <a:pt x="28" y="14"/>
                  <a:pt x="28" y="14"/>
                  <a:pt x="28" y="14"/>
                </a:cubicBezTo>
                <a:cubicBezTo>
                  <a:pt x="28" y="16"/>
                  <a:pt x="28" y="16"/>
                  <a:pt x="28" y="16"/>
                </a:cubicBezTo>
                <a:cubicBezTo>
                  <a:pt x="27" y="16"/>
                  <a:pt x="27" y="16"/>
                  <a:pt x="27" y="16"/>
                </a:cubicBezTo>
                <a:cubicBezTo>
                  <a:pt x="27" y="15"/>
                  <a:pt x="27" y="15"/>
                  <a:pt x="27" y="15"/>
                </a:cubicBezTo>
                <a:cubicBezTo>
                  <a:pt x="26" y="16"/>
                  <a:pt x="26" y="16"/>
                  <a:pt x="26" y="16"/>
                </a:cubicBezTo>
                <a:cubicBezTo>
                  <a:pt x="26" y="16"/>
                  <a:pt x="26" y="16"/>
                  <a:pt x="26" y="16"/>
                </a:cubicBezTo>
                <a:cubicBezTo>
                  <a:pt x="25" y="17"/>
                  <a:pt x="25" y="17"/>
                  <a:pt x="25" y="17"/>
                </a:cubicBezTo>
                <a:cubicBezTo>
                  <a:pt x="26" y="17"/>
                  <a:pt x="26" y="17"/>
                  <a:pt x="26" y="17"/>
                </a:cubicBezTo>
                <a:cubicBezTo>
                  <a:pt x="27" y="18"/>
                  <a:pt x="27" y="18"/>
                  <a:pt x="27" y="18"/>
                </a:cubicBezTo>
                <a:cubicBezTo>
                  <a:pt x="28" y="17"/>
                  <a:pt x="28" y="17"/>
                  <a:pt x="28" y="17"/>
                </a:cubicBezTo>
                <a:cubicBezTo>
                  <a:pt x="28" y="16"/>
                  <a:pt x="28" y="16"/>
                  <a:pt x="28" y="16"/>
                </a:cubicBezTo>
                <a:cubicBezTo>
                  <a:pt x="29" y="15"/>
                  <a:pt x="29" y="15"/>
                  <a:pt x="29" y="15"/>
                </a:cubicBezTo>
                <a:cubicBezTo>
                  <a:pt x="29" y="14"/>
                  <a:pt x="29" y="14"/>
                  <a:pt x="29" y="14"/>
                </a:cubicBezTo>
                <a:cubicBezTo>
                  <a:pt x="30" y="13"/>
                  <a:pt x="30" y="13"/>
                  <a:pt x="30" y="13"/>
                </a:cubicBezTo>
                <a:cubicBezTo>
                  <a:pt x="30" y="12"/>
                  <a:pt x="30" y="12"/>
                  <a:pt x="30" y="12"/>
                </a:cubicBezTo>
                <a:cubicBezTo>
                  <a:pt x="31" y="11"/>
                  <a:pt x="31" y="11"/>
                  <a:pt x="31" y="11"/>
                </a:cubicBezTo>
                <a:cubicBezTo>
                  <a:pt x="32" y="10"/>
                  <a:pt x="32" y="10"/>
                  <a:pt x="32" y="10"/>
                </a:cubicBezTo>
                <a:cubicBezTo>
                  <a:pt x="32" y="9"/>
                  <a:pt x="32" y="9"/>
                  <a:pt x="32" y="9"/>
                </a:cubicBezTo>
                <a:cubicBezTo>
                  <a:pt x="32" y="8"/>
                  <a:pt x="32" y="8"/>
                  <a:pt x="32" y="8"/>
                </a:cubicBezTo>
                <a:cubicBezTo>
                  <a:pt x="31" y="8"/>
                  <a:pt x="31" y="8"/>
                  <a:pt x="31" y="8"/>
                </a:cubicBezTo>
                <a:cubicBezTo>
                  <a:pt x="32" y="7"/>
                  <a:pt x="32" y="7"/>
                  <a:pt x="32" y="7"/>
                </a:cubicBezTo>
                <a:cubicBezTo>
                  <a:pt x="32" y="6"/>
                  <a:pt x="32" y="6"/>
                  <a:pt x="32" y="6"/>
                </a:cubicBezTo>
                <a:cubicBezTo>
                  <a:pt x="32" y="6"/>
                  <a:pt x="32" y="6"/>
                  <a:pt x="32" y="6"/>
                </a:cubicBezTo>
                <a:cubicBezTo>
                  <a:pt x="31" y="4"/>
                  <a:pt x="31" y="4"/>
                  <a:pt x="31" y="4"/>
                </a:cubicBezTo>
                <a:cubicBezTo>
                  <a:pt x="32" y="4"/>
                  <a:pt x="32" y="4"/>
                  <a:pt x="32" y="4"/>
                </a:cubicBezTo>
                <a:cubicBezTo>
                  <a:pt x="33" y="3"/>
                  <a:pt x="33" y="3"/>
                  <a:pt x="33" y="3"/>
                </a:cubicBezTo>
                <a:cubicBezTo>
                  <a:pt x="31" y="2"/>
                  <a:pt x="31" y="2"/>
                  <a:pt x="31" y="2"/>
                </a:cubicBezTo>
                <a:cubicBezTo>
                  <a:pt x="31" y="0"/>
                  <a:pt x="31" y="0"/>
                  <a:pt x="31" y="0"/>
                </a:cubicBezTo>
                <a:close/>
                <a:moveTo>
                  <a:pt x="326" y="89"/>
                </a:moveTo>
                <a:cubicBezTo>
                  <a:pt x="326" y="89"/>
                  <a:pt x="326" y="89"/>
                  <a:pt x="326" y="89"/>
                </a:cubicBezTo>
                <a:cubicBezTo>
                  <a:pt x="327" y="89"/>
                  <a:pt x="327" y="89"/>
                  <a:pt x="327" y="89"/>
                </a:cubicBezTo>
                <a:cubicBezTo>
                  <a:pt x="327" y="89"/>
                  <a:pt x="327" y="89"/>
                  <a:pt x="327" y="89"/>
                </a:cubicBezTo>
                <a:cubicBezTo>
                  <a:pt x="328" y="89"/>
                  <a:pt x="328" y="89"/>
                  <a:pt x="328" y="89"/>
                </a:cubicBezTo>
                <a:cubicBezTo>
                  <a:pt x="328" y="88"/>
                  <a:pt x="328" y="88"/>
                  <a:pt x="328" y="88"/>
                </a:cubicBezTo>
                <a:cubicBezTo>
                  <a:pt x="327" y="88"/>
                  <a:pt x="327" y="88"/>
                  <a:pt x="327" y="88"/>
                </a:cubicBezTo>
                <a:cubicBezTo>
                  <a:pt x="326" y="88"/>
                  <a:pt x="326" y="88"/>
                  <a:pt x="326" y="88"/>
                </a:cubicBezTo>
                <a:cubicBezTo>
                  <a:pt x="326" y="89"/>
                  <a:pt x="326" y="89"/>
                  <a:pt x="326" y="89"/>
                </a:cubicBezTo>
                <a:close/>
                <a:moveTo>
                  <a:pt x="307" y="94"/>
                </a:moveTo>
                <a:cubicBezTo>
                  <a:pt x="306" y="94"/>
                  <a:pt x="306" y="94"/>
                  <a:pt x="306" y="94"/>
                </a:cubicBezTo>
                <a:cubicBezTo>
                  <a:pt x="307" y="94"/>
                  <a:pt x="307" y="94"/>
                  <a:pt x="307" y="94"/>
                </a:cubicBezTo>
                <a:cubicBezTo>
                  <a:pt x="308" y="94"/>
                  <a:pt x="308" y="94"/>
                  <a:pt x="308" y="94"/>
                </a:cubicBezTo>
                <a:cubicBezTo>
                  <a:pt x="309" y="94"/>
                  <a:pt x="309" y="94"/>
                  <a:pt x="309" y="94"/>
                </a:cubicBezTo>
                <a:cubicBezTo>
                  <a:pt x="310" y="93"/>
                  <a:pt x="310" y="93"/>
                  <a:pt x="310" y="93"/>
                </a:cubicBezTo>
                <a:cubicBezTo>
                  <a:pt x="312" y="93"/>
                  <a:pt x="312" y="93"/>
                  <a:pt x="312" y="93"/>
                </a:cubicBezTo>
                <a:cubicBezTo>
                  <a:pt x="313" y="93"/>
                  <a:pt x="313" y="93"/>
                  <a:pt x="313" y="93"/>
                </a:cubicBezTo>
                <a:cubicBezTo>
                  <a:pt x="315" y="93"/>
                  <a:pt x="315" y="93"/>
                  <a:pt x="315" y="93"/>
                </a:cubicBezTo>
                <a:cubicBezTo>
                  <a:pt x="316" y="92"/>
                  <a:pt x="316" y="92"/>
                  <a:pt x="316" y="92"/>
                </a:cubicBezTo>
                <a:cubicBezTo>
                  <a:pt x="316" y="92"/>
                  <a:pt x="316" y="92"/>
                  <a:pt x="316" y="92"/>
                </a:cubicBezTo>
                <a:cubicBezTo>
                  <a:pt x="318" y="92"/>
                  <a:pt x="318" y="92"/>
                  <a:pt x="318" y="92"/>
                </a:cubicBezTo>
                <a:cubicBezTo>
                  <a:pt x="318" y="91"/>
                  <a:pt x="318" y="91"/>
                  <a:pt x="318" y="91"/>
                </a:cubicBezTo>
                <a:cubicBezTo>
                  <a:pt x="317" y="92"/>
                  <a:pt x="317" y="92"/>
                  <a:pt x="317" y="92"/>
                </a:cubicBezTo>
                <a:cubicBezTo>
                  <a:pt x="317" y="91"/>
                  <a:pt x="317" y="91"/>
                  <a:pt x="317" y="91"/>
                </a:cubicBezTo>
                <a:cubicBezTo>
                  <a:pt x="316" y="92"/>
                  <a:pt x="316" y="92"/>
                  <a:pt x="316" y="92"/>
                </a:cubicBezTo>
                <a:cubicBezTo>
                  <a:pt x="316" y="91"/>
                  <a:pt x="316" y="91"/>
                  <a:pt x="316" y="91"/>
                </a:cubicBezTo>
                <a:cubicBezTo>
                  <a:pt x="316" y="91"/>
                  <a:pt x="316" y="91"/>
                  <a:pt x="316" y="91"/>
                </a:cubicBezTo>
                <a:cubicBezTo>
                  <a:pt x="316" y="90"/>
                  <a:pt x="316" y="90"/>
                  <a:pt x="316" y="90"/>
                </a:cubicBezTo>
                <a:cubicBezTo>
                  <a:pt x="315" y="91"/>
                  <a:pt x="315" y="91"/>
                  <a:pt x="315" y="91"/>
                </a:cubicBezTo>
                <a:cubicBezTo>
                  <a:pt x="313" y="91"/>
                  <a:pt x="313" y="91"/>
                  <a:pt x="313" y="91"/>
                </a:cubicBezTo>
                <a:cubicBezTo>
                  <a:pt x="311" y="92"/>
                  <a:pt x="311" y="92"/>
                  <a:pt x="311" y="92"/>
                </a:cubicBezTo>
                <a:cubicBezTo>
                  <a:pt x="310" y="92"/>
                  <a:pt x="310" y="92"/>
                  <a:pt x="310" y="92"/>
                </a:cubicBezTo>
                <a:cubicBezTo>
                  <a:pt x="308" y="92"/>
                  <a:pt x="308" y="92"/>
                  <a:pt x="308" y="92"/>
                </a:cubicBezTo>
                <a:cubicBezTo>
                  <a:pt x="307" y="93"/>
                  <a:pt x="307" y="93"/>
                  <a:pt x="307" y="93"/>
                </a:cubicBezTo>
                <a:cubicBezTo>
                  <a:pt x="306" y="93"/>
                  <a:pt x="306" y="93"/>
                  <a:pt x="306" y="93"/>
                </a:cubicBezTo>
                <a:cubicBezTo>
                  <a:pt x="306" y="94"/>
                  <a:pt x="306" y="94"/>
                  <a:pt x="306" y="94"/>
                </a:cubicBezTo>
                <a:cubicBezTo>
                  <a:pt x="307" y="94"/>
                  <a:pt x="307" y="94"/>
                  <a:pt x="307" y="94"/>
                </a:cubicBezTo>
                <a:close/>
                <a:moveTo>
                  <a:pt x="31" y="6"/>
                </a:moveTo>
                <a:cubicBezTo>
                  <a:pt x="30" y="7"/>
                  <a:pt x="30" y="7"/>
                  <a:pt x="30" y="7"/>
                </a:cubicBezTo>
                <a:cubicBezTo>
                  <a:pt x="30" y="9"/>
                  <a:pt x="30" y="9"/>
                  <a:pt x="30" y="9"/>
                </a:cubicBezTo>
                <a:cubicBezTo>
                  <a:pt x="30" y="10"/>
                  <a:pt x="30" y="10"/>
                  <a:pt x="30" y="10"/>
                </a:cubicBezTo>
                <a:cubicBezTo>
                  <a:pt x="31" y="10"/>
                  <a:pt x="31" y="10"/>
                  <a:pt x="31" y="10"/>
                </a:cubicBezTo>
                <a:cubicBezTo>
                  <a:pt x="30" y="8"/>
                  <a:pt x="30" y="8"/>
                  <a:pt x="30" y="8"/>
                </a:cubicBezTo>
                <a:cubicBezTo>
                  <a:pt x="30" y="7"/>
                  <a:pt x="30" y="7"/>
                  <a:pt x="30" y="7"/>
                </a:cubicBezTo>
                <a:cubicBezTo>
                  <a:pt x="31" y="6"/>
                  <a:pt x="31" y="6"/>
                  <a:pt x="31" y="6"/>
                </a:cubicBezTo>
                <a:cubicBezTo>
                  <a:pt x="31" y="6"/>
                  <a:pt x="31" y="6"/>
                  <a:pt x="31" y="6"/>
                </a:cubicBezTo>
                <a:close/>
                <a:moveTo>
                  <a:pt x="150" y="189"/>
                </a:moveTo>
                <a:cubicBezTo>
                  <a:pt x="150" y="189"/>
                  <a:pt x="150" y="189"/>
                  <a:pt x="150" y="189"/>
                </a:cubicBezTo>
                <a:cubicBezTo>
                  <a:pt x="152" y="187"/>
                  <a:pt x="152" y="187"/>
                  <a:pt x="152" y="187"/>
                </a:cubicBezTo>
                <a:cubicBezTo>
                  <a:pt x="153" y="186"/>
                  <a:pt x="153" y="186"/>
                  <a:pt x="153" y="186"/>
                </a:cubicBezTo>
                <a:cubicBezTo>
                  <a:pt x="151" y="187"/>
                  <a:pt x="151" y="187"/>
                  <a:pt x="151" y="187"/>
                </a:cubicBezTo>
                <a:cubicBezTo>
                  <a:pt x="150" y="189"/>
                  <a:pt x="150" y="189"/>
                  <a:pt x="150" y="189"/>
                </a:cubicBezTo>
                <a:close/>
                <a:moveTo>
                  <a:pt x="148" y="192"/>
                </a:moveTo>
                <a:cubicBezTo>
                  <a:pt x="149" y="192"/>
                  <a:pt x="149" y="192"/>
                  <a:pt x="149" y="192"/>
                </a:cubicBezTo>
                <a:cubicBezTo>
                  <a:pt x="149" y="190"/>
                  <a:pt x="149" y="190"/>
                  <a:pt x="149" y="190"/>
                </a:cubicBezTo>
                <a:cubicBezTo>
                  <a:pt x="149" y="190"/>
                  <a:pt x="149" y="190"/>
                  <a:pt x="149" y="190"/>
                </a:cubicBezTo>
                <a:cubicBezTo>
                  <a:pt x="148" y="192"/>
                  <a:pt x="148" y="192"/>
                  <a:pt x="148" y="192"/>
                </a:cubicBezTo>
                <a:close/>
                <a:moveTo>
                  <a:pt x="148" y="201"/>
                </a:moveTo>
                <a:cubicBezTo>
                  <a:pt x="147" y="199"/>
                  <a:pt x="147" y="199"/>
                  <a:pt x="147" y="199"/>
                </a:cubicBezTo>
                <a:cubicBezTo>
                  <a:pt x="147" y="196"/>
                  <a:pt x="147" y="196"/>
                  <a:pt x="147" y="196"/>
                </a:cubicBezTo>
                <a:cubicBezTo>
                  <a:pt x="148" y="193"/>
                  <a:pt x="148" y="193"/>
                  <a:pt x="148" y="193"/>
                </a:cubicBezTo>
                <a:cubicBezTo>
                  <a:pt x="147" y="196"/>
                  <a:pt x="147" y="196"/>
                  <a:pt x="147" y="196"/>
                </a:cubicBezTo>
                <a:cubicBezTo>
                  <a:pt x="147" y="199"/>
                  <a:pt x="147" y="199"/>
                  <a:pt x="147" y="199"/>
                </a:cubicBezTo>
                <a:cubicBezTo>
                  <a:pt x="147" y="199"/>
                  <a:pt x="148" y="201"/>
                  <a:pt x="148" y="201"/>
                </a:cubicBez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9" name="Freeform 177">
            <a:extLst>
              <a:ext uri="{FF2B5EF4-FFF2-40B4-BE49-F238E27FC236}">
                <a16:creationId xmlns:a16="http://schemas.microsoft.com/office/drawing/2014/main" id="{CFF70BC5-D379-357D-B8DF-61A944CA94A3}"/>
              </a:ext>
            </a:extLst>
          </p:cNvPr>
          <p:cNvSpPr>
            <a:spLocks noEditPoints="1"/>
          </p:cNvSpPr>
          <p:nvPr userDrawn="1"/>
        </p:nvSpPr>
        <p:spPr bwMode="auto">
          <a:xfrm>
            <a:off x="9737087" y="13010435"/>
            <a:ext cx="1438184" cy="260350"/>
          </a:xfrm>
          <a:custGeom>
            <a:avLst/>
            <a:gdLst>
              <a:gd name="T0" fmla="*/ 142 w 145"/>
              <a:gd name="T1" fmla="*/ 24 h 26"/>
              <a:gd name="T2" fmla="*/ 141 w 145"/>
              <a:gd name="T3" fmla="*/ 22 h 26"/>
              <a:gd name="T4" fmla="*/ 139 w 145"/>
              <a:gd name="T5" fmla="*/ 21 h 26"/>
              <a:gd name="T6" fmla="*/ 138 w 145"/>
              <a:gd name="T7" fmla="*/ 20 h 26"/>
              <a:gd name="T8" fmla="*/ 141 w 145"/>
              <a:gd name="T9" fmla="*/ 21 h 26"/>
              <a:gd name="T10" fmla="*/ 141 w 145"/>
              <a:gd name="T11" fmla="*/ 21 h 26"/>
              <a:gd name="T12" fmla="*/ 143 w 145"/>
              <a:gd name="T13" fmla="*/ 23 h 26"/>
              <a:gd name="T14" fmla="*/ 144 w 145"/>
              <a:gd name="T15" fmla="*/ 24 h 26"/>
              <a:gd name="T16" fmla="*/ 145 w 145"/>
              <a:gd name="T17" fmla="*/ 25 h 26"/>
              <a:gd name="T18" fmla="*/ 143 w 145"/>
              <a:gd name="T19" fmla="*/ 26 h 26"/>
              <a:gd name="T20" fmla="*/ 142 w 145"/>
              <a:gd name="T21" fmla="*/ 25 h 26"/>
              <a:gd name="T22" fmla="*/ 8 w 145"/>
              <a:gd name="T23" fmla="*/ 0 h 26"/>
              <a:gd name="T24" fmla="*/ 7 w 145"/>
              <a:gd name="T25" fmla="*/ 0 h 26"/>
              <a:gd name="T26" fmla="*/ 5 w 145"/>
              <a:gd name="T27" fmla="*/ 1 h 26"/>
              <a:gd name="T28" fmla="*/ 5 w 145"/>
              <a:gd name="T29" fmla="*/ 0 h 26"/>
              <a:gd name="T30" fmla="*/ 1 w 145"/>
              <a:gd name="T31" fmla="*/ 5 h 26"/>
              <a:gd name="T32" fmla="*/ 2 w 145"/>
              <a:gd name="T33" fmla="*/ 6 h 26"/>
              <a:gd name="T34" fmla="*/ 0 w 145"/>
              <a:gd name="T35" fmla="*/ 6 h 26"/>
              <a:gd name="T36" fmla="*/ 10 w 145"/>
              <a:gd name="T37" fmla="*/ 8 h 26"/>
              <a:gd name="T38" fmla="*/ 12 w 145"/>
              <a:gd name="T39" fmla="*/ 9 h 26"/>
              <a:gd name="T40" fmla="*/ 11 w 145"/>
              <a:gd name="T41" fmla="*/ 8 h 26"/>
              <a:gd name="T42" fmla="*/ 13 w 145"/>
              <a:gd name="T43" fmla="*/ 8 h 26"/>
              <a:gd name="T44" fmla="*/ 13 w 145"/>
              <a:gd name="T45" fmla="*/ 7 h 26"/>
              <a:gd name="T46" fmla="*/ 14 w 145"/>
              <a:gd name="T47" fmla="*/ 7 h 26"/>
              <a:gd name="T48" fmla="*/ 15 w 145"/>
              <a:gd name="T49" fmla="*/ 6 h 26"/>
              <a:gd name="T50" fmla="*/ 13 w 145"/>
              <a:gd name="T51" fmla="*/ 6 h 26"/>
              <a:gd name="T52" fmla="*/ 15 w 145"/>
              <a:gd name="T53" fmla="*/ 5 h 26"/>
              <a:gd name="T54" fmla="*/ 18 w 145"/>
              <a:gd name="T55" fmla="*/ 4 h 26"/>
              <a:gd name="T56" fmla="*/ 19 w 145"/>
              <a:gd name="T57" fmla="*/ 3 h 26"/>
              <a:gd name="T58" fmla="*/ 18 w 145"/>
              <a:gd name="T59" fmla="*/ 3 h 26"/>
              <a:gd name="T60" fmla="*/ 19 w 145"/>
              <a:gd name="T61" fmla="*/ 2 h 26"/>
              <a:gd name="T62" fmla="*/ 17 w 145"/>
              <a:gd name="T63" fmla="*/ 1 h 26"/>
              <a:gd name="T64" fmla="*/ 17 w 145"/>
              <a:gd name="T65" fmla="*/ 2 h 26"/>
              <a:gd name="T66" fmla="*/ 15 w 145"/>
              <a:gd name="T67" fmla="*/ 1 h 26"/>
              <a:gd name="T68" fmla="*/ 13 w 145"/>
              <a:gd name="T69" fmla="*/ 0 h 26"/>
              <a:gd name="T70" fmla="*/ 12 w 145"/>
              <a:gd name="T71" fmla="*/ 1 h 26"/>
              <a:gd name="T72" fmla="*/ 12 w 145"/>
              <a:gd name="T73" fmla="*/ 3 h 26"/>
              <a:gd name="T74" fmla="*/ 13 w 145"/>
              <a:gd name="T75" fmla="*/ 5 h 26"/>
              <a:gd name="T76" fmla="*/ 11 w 145"/>
              <a:gd name="T77" fmla="*/ 5 h 26"/>
              <a:gd name="T78" fmla="*/ 8 w 145"/>
              <a:gd name="T79" fmla="*/ 1 h 26"/>
              <a:gd name="T80" fmla="*/ 9 w 145"/>
              <a:gd name="T81" fmla="*/ 2 h 26"/>
              <a:gd name="T82" fmla="*/ 10 w 145"/>
              <a:gd name="T83" fmla="*/ 1 h 26"/>
              <a:gd name="T84" fmla="*/ 10 w 145"/>
              <a:gd name="T85" fmla="*/ 3 h 26"/>
              <a:gd name="T86" fmla="*/ 9 w 145"/>
              <a:gd name="T87" fmla="*/ 6 h 26"/>
              <a:gd name="T88" fmla="*/ 6 w 145"/>
              <a:gd name="T89" fmla="*/ 6 h 26"/>
              <a:gd name="T90" fmla="*/ 6 w 145"/>
              <a:gd name="T91" fmla="*/ 8 h 26"/>
              <a:gd name="T92" fmla="*/ 4 w 145"/>
              <a:gd name="T93" fmla="*/ 8 h 26"/>
              <a:gd name="T94" fmla="*/ 2 w 145"/>
              <a:gd name="T95" fmla="*/ 8 h 26"/>
              <a:gd name="T96" fmla="*/ 3 w 145"/>
              <a:gd name="T97" fmla="*/ 7 h 26"/>
              <a:gd name="T98" fmla="*/ 4 w 145"/>
              <a:gd name="T99" fmla="*/ 5 h 26"/>
              <a:gd name="T100" fmla="*/ 6 w 145"/>
              <a:gd name="T101" fmla="*/ 5 h 26"/>
              <a:gd name="T102" fmla="*/ 5 w 145"/>
              <a:gd name="T103" fmla="*/ 4 h 26"/>
              <a:gd name="T104" fmla="*/ 4 w 145"/>
              <a:gd name="T105" fmla="*/ 2 h 26"/>
              <a:gd name="T106" fmla="*/ 6 w 145"/>
              <a:gd name="T107" fmla="*/ 3 h 26"/>
              <a:gd name="T108" fmla="*/ 8 w 145"/>
              <a:gd name="T109"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5" h="26">
                <a:moveTo>
                  <a:pt x="142" y="25"/>
                </a:moveTo>
                <a:cubicBezTo>
                  <a:pt x="142" y="24"/>
                  <a:pt x="142" y="24"/>
                  <a:pt x="142" y="24"/>
                </a:cubicBezTo>
                <a:cubicBezTo>
                  <a:pt x="141" y="23"/>
                  <a:pt x="141" y="23"/>
                  <a:pt x="141" y="23"/>
                </a:cubicBezTo>
                <a:cubicBezTo>
                  <a:pt x="141" y="22"/>
                  <a:pt x="141" y="22"/>
                  <a:pt x="141" y="22"/>
                </a:cubicBezTo>
                <a:cubicBezTo>
                  <a:pt x="140" y="22"/>
                  <a:pt x="140" y="22"/>
                  <a:pt x="140" y="22"/>
                </a:cubicBezTo>
                <a:cubicBezTo>
                  <a:pt x="139" y="21"/>
                  <a:pt x="139" y="21"/>
                  <a:pt x="139" y="21"/>
                </a:cubicBezTo>
                <a:cubicBezTo>
                  <a:pt x="138" y="21"/>
                  <a:pt x="138" y="21"/>
                  <a:pt x="138" y="21"/>
                </a:cubicBezTo>
                <a:cubicBezTo>
                  <a:pt x="138" y="20"/>
                  <a:pt x="138" y="20"/>
                  <a:pt x="138" y="20"/>
                </a:cubicBezTo>
                <a:cubicBezTo>
                  <a:pt x="139" y="20"/>
                  <a:pt x="139" y="20"/>
                  <a:pt x="139" y="20"/>
                </a:cubicBezTo>
                <a:cubicBezTo>
                  <a:pt x="141" y="21"/>
                  <a:pt x="141" y="21"/>
                  <a:pt x="141" y="21"/>
                </a:cubicBezTo>
                <a:cubicBezTo>
                  <a:pt x="141" y="21"/>
                  <a:pt x="141" y="21"/>
                  <a:pt x="141" y="21"/>
                </a:cubicBezTo>
                <a:cubicBezTo>
                  <a:pt x="141" y="21"/>
                  <a:pt x="141" y="21"/>
                  <a:pt x="141" y="21"/>
                </a:cubicBezTo>
                <a:cubicBezTo>
                  <a:pt x="142" y="22"/>
                  <a:pt x="143" y="22"/>
                  <a:pt x="143" y="22"/>
                </a:cubicBezTo>
                <a:cubicBezTo>
                  <a:pt x="143" y="23"/>
                  <a:pt x="143" y="23"/>
                  <a:pt x="143" y="23"/>
                </a:cubicBezTo>
                <a:cubicBezTo>
                  <a:pt x="143" y="24"/>
                  <a:pt x="143" y="24"/>
                  <a:pt x="143" y="24"/>
                </a:cubicBezTo>
                <a:cubicBezTo>
                  <a:pt x="144" y="24"/>
                  <a:pt x="144" y="24"/>
                  <a:pt x="144" y="24"/>
                </a:cubicBezTo>
                <a:cubicBezTo>
                  <a:pt x="145" y="24"/>
                  <a:pt x="145" y="24"/>
                  <a:pt x="145" y="24"/>
                </a:cubicBezTo>
                <a:cubicBezTo>
                  <a:pt x="145" y="25"/>
                  <a:pt x="145" y="25"/>
                  <a:pt x="145" y="25"/>
                </a:cubicBezTo>
                <a:cubicBezTo>
                  <a:pt x="144" y="25"/>
                  <a:pt x="144" y="25"/>
                  <a:pt x="144" y="25"/>
                </a:cubicBezTo>
                <a:cubicBezTo>
                  <a:pt x="143" y="26"/>
                  <a:pt x="143" y="26"/>
                  <a:pt x="143" y="26"/>
                </a:cubicBezTo>
                <a:cubicBezTo>
                  <a:pt x="142" y="26"/>
                  <a:pt x="142" y="26"/>
                  <a:pt x="142" y="26"/>
                </a:cubicBezTo>
                <a:cubicBezTo>
                  <a:pt x="142" y="25"/>
                  <a:pt x="142" y="25"/>
                  <a:pt x="142" y="25"/>
                </a:cubicBezTo>
                <a:close/>
                <a:moveTo>
                  <a:pt x="7" y="0"/>
                </a:moveTo>
                <a:cubicBezTo>
                  <a:pt x="8" y="0"/>
                  <a:pt x="8" y="0"/>
                  <a:pt x="8" y="0"/>
                </a:cubicBezTo>
                <a:cubicBezTo>
                  <a:pt x="9" y="0"/>
                  <a:pt x="9" y="0"/>
                  <a:pt x="9" y="0"/>
                </a:cubicBezTo>
                <a:cubicBezTo>
                  <a:pt x="7" y="0"/>
                  <a:pt x="7" y="0"/>
                  <a:pt x="7" y="0"/>
                </a:cubicBezTo>
                <a:close/>
                <a:moveTo>
                  <a:pt x="5" y="0"/>
                </a:moveTo>
                <a:cubicBezTo>
                  <a:pt x="5" y="1"/>
                  <a:pt x="5" y="1"/>
                  <a:pt x="5" y="1"/>
                </a:cubicBezTo>
                <a:cubicBezTo>
                  <a:pt x="6" y="1"/>
                  <a:pt x="6" y="1"/>
                  <a:pt x="6" y="1"/>
                </a:cubicBezTo>
                <a:cubicBezTo>
                  <a:pt x="5" y="0"/>
                  <a:pt x="5" y="0"/>
                  <a:pt x="5" y="0"/>
                </a:cubicBezTo>
                <a:close/>
                <a:moveTo>
                  <a:pt x="0" y="6"/>
                </a:moveTo>
                <a:cubicBezTo>
                  <a:pt x="1" y="5"/>
                  <a:pt x="1" y="5"/>
                  <a:pt x="1" y="5"/>
                </a:cubicBezTo>
                <a:cubicBezTo>
                  <a:pt x="2" y="6"/>
                  <a:pt x="2" y="6"/>
                  <a:pt x="2" y="6"/>
                </a:cubicBezTo>
                <a:cubicBezTo>
                  <a:pt x="2" y="6"/>
                  <a:pt x="2" y="6"/>
                  <a:pt x="2" y="6"/>
                </a:cubicBezTo>
                <a:cubicBezTo>
                  <a:pt x="1" y="6"/>
                  <a:pt x="1" y="6"/>
                  <a:pt x="1" y="6"/>
                </a:cubicBezTo>
                <a:cubicBezTo>
                  <a:pt x="0" y="6"/>
                  <a:pt x="0" y="6"/>
                  <a:pt x="0" y="6"/>
                </a:cubicBezTo>
                <a:close/>
                <a:moveTo>
                  <a:pt x="9" y="8"/>
                </a:moveTo>
                <a:cubicBezTo>
                  <a:pt x="10" y="8"/>
                  <a:pt x="10" y="8"/>
                  <a:pt x="10" y="8"/>
                </a:cubicBezTo>
                <a:cubicBezTo>
                  <a:pt x="11" y="9"/>
                  <a:pt x="11" y="9"/>
                  <a:pt x="11" y="9"/>
                </a:cubicBezTo>
                <a:cubicBezTo>
                  <a:pt x="12" y="9"/>
                  <a:pt x="12" y="9"/>
                  <a:pt x="12" y="9"/>
                </a:cubicBezTo>
                <a:cubicBezTo>
                  <a:pt x="12" y="9"/>
                  <a:pt x="12" y="9"/>
                  <a:pt x="12" y="9"/>
                </a:cubicBezTo>
                <a:cubicBezTo>
                  <a:pt x="11" y="8"/>
                  <a:pt x="11" y="8"/>
                  <a:pt x="11" y="8"/>
                </a:cubicBezTo>
                <a:cubicBezTo>
                  <a:pt x="12" y="7"/>
                  <a:pt x="12" y="7"/>
                  <a:pt x="12" y="7"/>
                </a:cubicBezTo>
                <a:cubicBezTo>
                  <a:pt x="13" y="8"/>
                  <a:pt x="13" y="8"/>
                  <a:pt x="13" y="8"/>
                </a:cubicBezTo>
                <a:cubicBezTo>
                  <a:pt x="13" y="8"/>
                  <a:pt x="13" y="8"/>
                  <a:pt x="13" y="8"/>
                </a:cubicBezTo>
                <a:cubicBezTo>
                  <a:pt x="13" y="7"/>
                  <a:pt x="13" y="7"/>
                  <a:pt x="13" y="7"/>
                </a:cubicBezTo>
                <a:cubicBezTo>
                  <a:pt x="13" y="6"/>
                  <a:pt x="13" y="6"/>
                  <a:pt x="13" y="6"/>
                </a:cubicBezTo>
                <a:cubicBezTo>
                  <a:pt x="14" y="7"/>
                  <a:pt x="14" y="7"/>
                  <a:pt x="14" y="7"/>
                </a:cubicBezTo>
                <a:cubicBezTo>
                  <a:pt x="15" y="6"/>
                  <a:pt x="15" y="6"/>
                  <a:pt x="15" y="6"/>
                </a:cubicBezTo>
                <a:cubicBezTo>
                  <a:pt x="15" y="6"/>
                  <a:pt x="15" y="6"/>
                  <a:pt x="15" y="6"/>
                </a:cubicBezTo>
                <a:cubicBezTo>
                  <a:pt x="14" y="6"/>
                  <a:pt x="14" y="6"/>
                  <a:pt x="14" y="6"/>
                </a:cubicBezTo>
                <a:cubicBezTo>
                  <a:pt x="13" y="6"/>
                  <a:pt x="13" y="6"/>
                  <a:pt x="13" y="6"/>
                </a:cubicBezTo>
                <a:cubicBezTo>
                  <a:pt x="14" y="5"/>
                  <a:pt x="14" y="5"/>
                  <a:pt x="14" y="5"/>
                </a:cubicBezTo>
                <a:cubicBezTo>
                  <a:pt x="15" y="5"/>
                  <a:pt x="15" y="5"/>
                  <a:pt x="15" y="5"/>
                </a:cubicBezTo>
                <a:cubicBezTo>
                  <a:pt x="17" y="5"/>
                  <a:pt x="17" y="5"/>
                  <a:pt x="17" y="5"/>
                </a:cubicBezTo>
                <a:cubicBezTo>
                  <a:pt x="18" y="4"/>
                  <a:pt x="18" y="4"/>
                  <a:pt x="18" y="4"/>
                </a:cubicBezTo>
                <a:cubicBezTo>
                  <a:pt x="19" y="4"/>
                  <a:pt x="19" y="4"/>
                  <a:pt x="19" y="4"/>
                </a:cubicBezTo>
                <a:cubicBezTo>
                  <a:pt x="19" y="3"/>
                  <a:pt x="19" y="3"/>
                  <a:pt x="19" y="3"/>
                </a:cubicBezTo>
                <a:cubicBezTo>
                  <a:pt x="18" y="3"/>
                  <a:pt x="18" y="3"/>
                  <a:pt x="18" y="3"/>
                </a:cubicBezTo>
                <a:cubicBezTo>
                  <a:pt x="18" y="3"/>
                  <a:pt x="18" y="3"/>
                  <a:pt x="18" y="3"/>
                </a:cubicBezTo>
                <a:cubicBezTo>
                  <a:pt x="18" y="2"/>
                  <a:pt x="18" y="2"/>
                  <a:pt x="18" y="2"/>
                </a:cubicBezTo>
                <a:cubicBezTo>
                  <a:pt x="19" y="2"/>
                  <a:pt x="19" y="2"/>
                  <a:pt x="19" y="2"/>
                </a:cubicBezTo>
                <a:cubicBezTo>
                  <a:pt x="19" y="2"/>
                  <a:pt x="19" y="2"/>
                  <a:pt x="19" y="2"/>
                </a:cubicBezTo>
                <a:cubicBezTo>
                  <a:pt x="17" y="1"/>
                  <a:pt x="17" y="1"/>
                  <a:pt x="17" y="1"/>
                </a:cubicBezTo>
                <a:cubicBezTo>
                  <a:pt x="16" y="1"/>
                  <a:pt x="16" y="1"/>
                  <a:pt x="16" y="1"/>
                </a:cubicBezTo>
                <a:cubicBezTo>
                  <a:pt x="17" y="2"/>
                  <a:pt x="17" y="2"/>
                  <a:pt x="17" y="2"/>
                </a:cubicBezTo>
                <a:cubicBezTo>
                  <a:pt x="16" y="3"/>
                  <a:pt x="16" y="3"/>
                  <a:pt x="16" y="3"/>
                </a:cubicBezTo>
                <a:cubicBezTo>
                  <a:pt x="15" y="1"/>
                  <a:pt x="15" y="1"/>
                  <a:pt x="15" y="1"/>
                </a:cubicBezTo>
                <a:cubicBezTo>
                  <a:pt x="15" y="0"/>
                  <a:pt x="15" y="0"/>
                  <a:pt x="15" y="0"/>
                </a:cubicBezTo>
                <a:cubicBezTo>
                  <a:pt x="13" y="0"/>
                  <a:pt x="13" y="0"/>
                  <a:pt x="13" y="0"/>
                </a:cubicBezTo>
                <a:cubicBezTo>
                  <a:pt x="13" y="1"/>
                  <a:pt x="13" y="1"/>
                  <a:pt x="13" y="1"/>
                </a:cubicBezTo>
                <a:cubicBezTo>
                  <a:pt x="12" y="1"/>
                  <a:pt x="12" y="1"/>
                  <a:pt x="12" y="1"/>
                </a:cubicBezTo>
                <a:cubicBezTo>
                  <a:pt x="12" y="2"/>
                  <a:pt x="12" y="2"/>
                  <a:pt x="12" y="2"/>
                </a:cubicBezTo>
                <a:cubicBezTo>
                  <a:pt x="12" y="3"/>
                  <a:pt x="12" y="3"/>
                  <a:pt x="12" y="3"/>
                </a:cubicBezTo>
                <a:cubicBezTo>
                  <a:pt x="13" y="4"/>
                  <a:pt x="13" y="4"/>
                  <a:pt x="13" y="4"/>
                </a:cubicBezTo>
                <a:cubicBezTo>
                  <a:pt x="13" y="5"/>
                  <a:pt x="13" y="5"/>
                  <a:pt x="13" y="5"/>
                </a:cubicBezTo>
                <a:cubicBezTo>
                  <a:pt x="12" y="4"/>
                  <a:pt x="12" y="4"/>
                  <a:pt x="12" y="4"/>
                </a:cubicBezTo>
                <a:cubicBezTo>
                  <a:pt x="11" y="5"/>
                  <a:pt x="11" y="5"/>
                  <a:pt x="11" y="5"/>
                </a:cubicBezTo>
                <a:cubicBezTo>
                  <a:pt x="9" y="8"/>
                  <a:pt x="9" y="8"/>
                  <a:pt x="9" y="8"/>
                </a:cubicBezTo>
                <a:close/>
                <a:moveTo>
                  <a:pt x="8" y="1"/>
                </a:moveTo>
                <a:cubicBezTo>
                  <a:pt x="9" y="2"/>
                  <a:pt x="9" y="2"/>
                  <a:pt x="9" y="2"/>
                </a:cubicBezTo>
                <a:cubicBezTo>
                  <a:pt x="9" y="2"/>
                  <a:pt x="9" y="2"/>
                  <a:pt x="9" y="2"/>
                </a:cubicBezTo>
                <a:cubicBezTo>
                  <a:pt x="10" y="1"/>
                  <a:pt x="10" y="1"/>
                  <a:pt x="10" y="1"/>
                </a:cubicBezTo>
                <a:cubicBezTo>
                  <a:pt x="10" y="1"/>
                  <a:pt x="10" y="1"/>
                  <a:pt x="10" y="1"/>
                </a:cubicBezTo>
                <a:cubicBezTo>
                  <a:pt x="11" y="2"/>
                  <a:pt x="11" y="2"/>
                  <a:pt x="11" y="2"/>
                </a:cubicBezTo>
                <a:cubicBezTo>
                  <a:pt x="10" y="3"/>
                  <a:pt x="10" y="3"/>
                  <a:pt x="10" y="3"/>
                </a:cubicBezTo>
                <a:cubicBezTo>
                  <a:pt x="9" y="5"/>
                  <a:pt x="9" y="5"/>
                  <a:pt x="9" y="5"/>
                </a:cubicBezTo>
                <a:cubicBezTo>
                  <a:pt x="9" y="6"/>
                  <a:pt x="9" y="6"/>
                  <a:pt x="9" y="6"/>
                </a:cubicBezTo>
                <a:cubicBezTo>
                  <a:pt x="7" y="7"/>
                  <a:pt x="7" y="7"/>
                  <a:pt x="7" y="7"/>
                </a:cubicBezTo>
                <a:cubicBezTo>
                  <a:pt x="6" y="6"/>
                  <a:pt x="6" y="6"/>
                  <a:pt x="6" y="6"/>
                </a:cubicBezTo>
                <a:cubicBezTo>
                  <a:pt x="5" y="7"/>
                  <a:pt x="5" y="7"/>
                  <a:pt x="5" y="7"/>
                </a:cubicBezTo>
                <a:cubicBezTo>
                  <a:pt x="6" y="8"/>
                  <a:pt x="6" y="8"/>
                  <a:pt x="6" y="8"/>
                </a:cubicBezTo>
                <a:cubicBezTo>
                  <a:pt x="5" y="9"/>
                  <a:pt x="5" y="9"/>
                  <a:pt x="5" y="9"/>
                </a:cubicBezTo>
                <a:cubicBezTo>
                  <a:pt x="4" y="8"/>
                  <a:pt x="4" y="8"/>
                  <a:pt x="4" y="8"/>
                </a:cubicBezTo>
                <a:cubicBezTo>
                  <a:pt x="3" y="9"/>
                  <a:pt x="3" y="9"/>
                  <a:pt x="3" y="9"/>
                </a:cubicBezTo>
                <a:cubicBezTo>
                  <a:pt x="2" y="8"/>
                  <a:pt x="2" y="8"/>
                  <a:pt x="2" y="8"/>
                </a:cubicBezTo>
                <a:cubicBezTo>
                  <a:pt x="2" y="7"/>
                  <a:pt x="2" y="7"/>
                  <a:pt x="2" y="7"/>
                </a:cubicBezTo>
                <a:cubicBezTo>
                  <a:pt x="3" y="7"/>
                  <a:pt x="3" y="7"/>
                  <a:pt x="3" y="7"/>
                </a:cubicBezTo>
                <a:cubicBezTo>
                  <a:pt x="4" y="6"/>
                  <a:pt x="4" y="6"/>
                  <a:pt x="4" y="6"/>
                </a:cubicBezTo>
                <a:cubicBezTo>
                  <a:pt x="4" y="5"/>
                  <a:pt x="4" y="5"/>
                  <a:pt x="4" y="5"/>
                </a:cubicBezTo>
                <a:cubicBezTo>
                  <a:pt x="5" y="5"/>
                  <a:pt x="5" y="5"/>
                  <a:pt x="5" y="5"/>
                </a:cubicBezTo>
                <a:cubicBezTo>
                  <a:pt x="6" y="5"/>
                  <a:pt x="6" y="5"/>
                  <a:pt x="6" y="5"/>
                </a:cubicBezTo>
                <a:cubicBezTo>
                  <a:pt x="6" y="4"/>
                  <a:pt x="6" y="4"/>
                  <a:pt x="6" y="4"/>
                </a:cubicBezTo>
                <a:cubicBezTo>
                  <a:pt x="5" y="4"/>
                  <a:pt x="5" y="4"/>
                  <a:pt x="5" y="4"/>
                </a:cubicBezTo>
                <a:cubicBezTo>
                  <a:pt x="3" y="2"/>
                  <a:pt x="3" y="2"/>
                  <a:pt x="3" y="2"/>
                </a:cubicBezTo>
                <a:cubicBezTo>
                  <a:pt x="4" y="2"/>
                  <a:pt x="4" y="2"/>
                  <a:pt x="4" y="2"/>
                </a:cubicBezTo>
                <a:cubicBezTo>
                  <a:pt x="5" y="3"/>
                  <a:pt x="5" y="3"/>
                  <a:pt x="5" y="3"/>
                </a:cubicBezTo>
                <a:cubicBezTo>
                  <a:pt x="6" y="3"/>
                  <a:pt x="6" y="3"/>
                  <a:pt x="6" y="3"/>
                </a:cubicBezTo>
                <a:cubicBezTo>
                  <a:pt x="7" y="1"/>
                  <a:pt x="7" y="1"/>
                  <a:pt x="7" y="1"/>
                </a:cubicBezTo>
                <a:lnTo>
                  <a:pt x="8" y="1"/>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0" name="Freeform 178">
            <a:extLst>
              <a:ext uri="{FF2B5EF4-FFF2-40B4-BE49-F238E27FC236}">
                <a16:creationId xmlns:a16="http://schemas.microsoft.com/office/drawing/2014/main" id="{C9036A10-C271-105B-72A7-E19633EBB030}"/>
              </a:ext>
            </a:extLst>
          </p:cNvPr>
          <p:cNvSpPr>
            <a:spLocks/>
          </p:cNvSpPr>
          <p:nvPr userDrawn="1"/>
        </p:nvSpPr>
        <p:spPr bwMode="auto">
          <a:xfrm>
            <a:off x="8048103" y="8771811"/>
            <a:ext cx="349227" cy="158750"/>
          </a:xfrm>
          <a:custGeom>
            <a:avLst/>
            <a:gdLst>
              <a:gd name="T0" fmla="*/ 94 w 110"/>
              <a:gd name="T1" fmla="*/ 43 h 50"/>
              <a:gd name="T2" fmla="*/ 88 w 110"/>
              <a:gd name="T3" fmla="*/ 31 h 50"/>
              <a:gd name="T4" fmla="*/ 94 w 110"/>
              <a:gd name="T5" fmla="*/ 25 h 50"/>
              <a:gd name="T6" fmla="*/ 97 w 110"/>
              <a:gd name="T7" fmla="*/ 25 h 50"/>
              <a:gd name="T8" fmla="*/ 94 w 110"/>
              <a:gd name="T9" fmla="*/ 22 h 50"/>
              <a:gd name="T10" fmla="*/ 91 w 110"/>
              <a:gd name="T11" fmla="*/ 25 h 50"/>
              <a:gd name="T12" fmla="*/ 88 w 110"/>
              <a:gd name="T13" fmla="*/ 18 h 50"/>
              <a:gd name="T14" fmla="*/ 81 w 110"/>
              <a:gd name="T15" fmla="*/ 15 h 50"/>
              <a:gd name="T16" fmla="*/ 75 w 110"/>
              <a:gd name="T17" fmla="*/ 9 h 50"/>
              <a:gd name="T18" fmla="*/ 66 w 110"/>
              <a:gd name="T19" fmla="*/ 12 h 50"/>
              <a:gd name="T20" fmla="*/ 66 w 110"/>
              <a:gd name="T21" fmla="*/ 18 h 50"/>
              <a:gd name="T22" fmla="*/ 60 w 110"/>
              <a:gd name="T23" fmla="*/ 25 h 50"/>
              <a:gd name="T24" fmla="*/ 50 w 110"/>
              <a:gd name="T25" fmla="*/ 28 h 50"/>
              <a:gd name="T26" fmla="*/ 50 w 110"/>
              <a:gd name="T27" fmla="*/ 34 h 50"/>
              <a:gd name="T28" fmla="*/ 56 w 110"/>
              <a:gd name="T29" fmla="*/ 37 h 50"/>
              <a:gd name="T30" fmla="*/ 56 w 110"/>
              <a:gd name="T31" fmla="*/ 43 h 50"/>
              <a:gd name="T32" fmla="*/ 50 w 110"/>
              <a:gd name="T33" fmla="*/ 47 h 50"/>
              <a:gd name="T34" fmla="*/ 41 w 110"/>
              <a:gd name="T35" fmla="*/ 47 h 50"/>
              <a:gd name="T36" fmla="*/ 41 w 110"/>
              <a:gd name="T37" fmla="*/ 43 h 50"/>
              <a:gd name="T38" fmla="*/ 41 w 110"/>
              <a:gd name="T39" fmla="*/ 37 h 50"/>
              <a:gd name="T40" fmla="*/ 38 w 110"/>
              <a:gd name="T41" fmla="*/ 34 h 50"/>
              <a:gd name="T42" fmla="*/ 38 w 110"/>
              <a:gd name="T43" fmla="*/ 37 h 50"/>
              <a:gd name="T44" fmla="*/ 31 w 110"/>
              <a:gd name="T45" fmla="*/ 40 h 50"/>
              <a:gd name="T46" fmla="*/ 25 w 110"/>
              <a:gd name="T47" fmla="*/ 34 h 50"/>
              <a:gd name="T48" fmla="*/ 19 w 110"/>
              <a:gd name="T49" fmla="*/ 28 h 50"/>
              <a:gd name="T50" fmla="*/ 16 w 110"/>
              <a:gd name="T51" fmla="*/ 25 h 50"/>
              <a:gd name="T52" fmla="*/ 13 w 110"/>
              <a:gd name="T53" fmla="*/ 25 h 50"/>
              <a:gd name="T54" fmla="*/ 6 w 110"/>
              <a:gd name="T55" fmla="*/ 25 h 50"/>
              <a:gd name="T56" fmla="*/ 3 w 110"/>
              <a:gd name="T57" fmla="*/ 25 h 50"/>
              <a:gd name="T58" fmla="*/ 3 w 110"/>
              <a:gd name="T59" fmla="*/ 18 h 50"/>
              <a:gd name="T60" fmla="*/ 3 w 110"/>
              <a:gd name="T61" fmla="*/ 12 h 50"/>
              <a:gd name="T62" fmla="*/ 3 w 110"/>
              <a:gd name="T63" fmla="*/ 9 h 50"/>
              <a:gd name="T64" fmla="*/ 3 w 110"/>
              <a:gd name="T65" fmla="*/ 3 h 50"/>
              <a:gd name="T66" fmla="*/ 10 w 110"/>
              <a:gd name="T67" fmla="*/ 3 h 50"/>
              <a:gd name="T68" fmla="*/ 13 w 110"/>
              <a:gd name="T69" fmla="*/ 6 h 50"/>
              <a:gd name="T70" fmla="*/ 16 w 110"/>
              <a:gd name="T71" fmla="*/ 6 h 50"/>
              <a:gd name="T72" fmla="*/ 16 w 110"/>
              <a:gd name="T73" fmla="*/ 9 h 50"/>
              <a:gd name="T74" fmla="*/ 16 w 110"/>
              <a:gd name="T75" fmla="*/ 12 h 50"/>
              <a:gd name="T76" fmla="*/ 22 w 110"/>
              <a:gd name="T77" fmla="*/ 12 h 50"/>
              <a:gd name="T78" fmla="*/ 19 w 110"/>
              <a:gd name="T79" fmla="*/ 9 h 50"/>
              <a:gd name="T80" fmla="*/ 25 w 110"/>
              <a:gd name="T81" fmla="*/ 9 h 50"/>
              <a:gd name="T82" fmla="*/ 38 w 110"/>
              <a:gd name="T83" fmla="*/ 15 h 50"/>
              <a:gd name="T84" fmla="*/ 47 w 110"/>
              <a:gd name="T85" fmla="*/ 12 h 50"/>
              <a:gd name="T86" fmla="*/ 63 w 110"/>
              <a:gd name="T87" fmla="*/ 3 h 50"/>
              <a:gd name="T88" fmla="*/ 72 w 110"/>
              <a:gd name="T89" fmla="*/ 0 h 50"/>
              <a:gd name="T90" fmla="*/ 75 w 110"/>
              <a:gd name="T91" fmla="*/ 3 h 50"/>
              <a:gd name="T92" fmla="*/ 88 w 110"/>
              <a:gd name="T93" fmla="*/ 3 h 50"/>
              <a:gd name="T94" fmla="*/ 100 w 110"/>
              <a:gd name="T95" fmla="*/ 9 h 50"/>
              <a:gd name="T96" fmla="*/ 103 w 110"/>
              <a:gd name="T97" fmla="*/ 15 h 50"/>
              <a:gd name="T98" fmla="*/ 110 w 110"/>
              <a:gd name="T99" fmla="*/ 18 h 50"/>
              <a:gd name="T100" fmla="*/ 110 w 110"/>
              <a:gd name="T101" fmla="*/ 25 h 50"/>
              <a:gd name="T102" fmla="*/ 106 w 110"/>
              <a:gd name="T103" fmla="*/ 34 h 50"/>
              <a:gd name="T104" fmla="*/ 103 w 110"/>
              <a:gd name="T105" fmla="*/ 40 h 50"/>
              <a:gd name="T106" fmla="*/ 100 w 110"/>
              <a:gd name="T107" fmla="*/ 4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 h="50">
                <a:moveTo>
                  <a:pt x="100" y="47"/>
                </a:moveTo>
                <a:lnTo>
                  <a:pt x="94" y="43"/>
                </a:lnTo>
                <a:lnTo>
                  <a:pt x="91" y="37"/>
                </a:lnTo>
                <a:lnTo>
                  <a:pt x="88" y="31"/>
                </a:lnTo>
                <a:lnTo>
                  <a:pt x="91" y="31"/>
                </a:lnTo>
                <a:lnTo>
                  <a:pt x="94" y="25"/>
                </a:lnTo>
                <a:lnTo>
                  <a:pt x="97" y="25"/>
                </a:lnTo>
                <a:lnTo>
                  <a:pt x="97" y="25"/>
                </a:lnTo>
                <a:lnTo>
                  <a:pt x="97" y="22"/>
                </a:lnTo>
                <a:lnTo>
                  <a:pt x="94" y="22"/>
                </a:lnTo>
                <a:lnTo>
                  <a:pt x="91" y="25"/>
                </a:lnTo>
                <a:lnTo>
                  <a:pt x="91" y="25"/>
                </a:lnTo>
                <a:lnTo>
                  <a:pt x="88" y="25"/>
                </a:lnTo>
                <a:lnTo>
                  <a:pt x="88" y="18"/>
                </a:lnTo>
                <a:lnTo>
                  <a:pt x="85" y="15"/>
                </a:lnTo>
                <a:lnTo>
                  <a:pt x="81" y="15"/>
                </a:lnTo>
                <a:lnTo>
                  <a:pt x="78" y="12"/>
                </a:lnTo>
                <a:lnTo>
                  <a:pt x="75" y="9"/>
                </a:lnTo>
                <a:lnTo>
                  <a:pt x="69" y="9"/>
                </a:lnTo>
                <a:lnTo>
                  <a:pt x="66" y="12"/>
                </a:lnTo>
                <a:lnTo>
                  <a:pt x="63" y="18"/>
                </a:lnTo>
                <a:lnTo>
                  <a:pt x="66" y="18"/>
                </a:lnTo>
                <a:lnTo>
                  <a:pt x="66" y="18"/>
                </a:lnTo>
                <a:lnTo>
                  <a:pt x="60" y="25"/>
                </a:lnTo>
                <a:lnTo>
                  <a:pt x="53" y="25"/>
                </a:lnTo>
                <a:lnTo>
                  <a:pt x="50" y="28"/>
                </a:lnTo>
                <a:lnTo>
                  <a:pt x="50" y="31"/>
                </a:lnTo>
                <a:lnTo>
                  <a:pt x="50" y="34"/>
                </a:lnTo>
                <a:lnTo>
                  <a:pt x="53" y="34"/>
                </a:lnTo>
                <a:lnTo>
                  <a:pt x="56" y="37"/>
                </a:lnTo>
                <a:lnTo>
                  <a:pt x="56" y="43"/>
                </a:lnTo>
                <a:lnTo>
                  <a:pt x="56" y="43"/>
                </a:lnTo>
                <a:lnTo>
                  <a:pt x="53" y="43"/>
                </a:lnTo>
                <a:lnTo>
                  <a:pt x="50" y="47"/>
                </a:lnTo>
                <a:lnTo>
                  <a:pt x="47" y="50"/>
                </a:lnTo>
                <a:lnTo>
                  <a:pt x="41" y="47"/>
                </a:lnTo>
                <a:lnTo>
                  <a:pt x="41" y="47"/>
                </a:lnTo>
                <a:lnTo>
                  <a:pt x="41" y="43"/>
                </a:lnTo>
                <a:lnTo>
                  <a:pt x="41" y="40"/>
                </a:lnTo>
                <a:lnTo>
                  <a:pt x="41" y="37"/>
                </a:lnTo>
                <a:lnTo>
                  <a:pt x="38" y="34"/>
                </a:lnTo>
                <a:lnTo>
                  <a:pt x="38" y="34"/>
                </a:lnTo>
                <a:lnTo>
                  <a:pt x="35" y="37"/>
                </a:lnTo>
                <a:lnTo>
                  <a:pt x="38" y="37"/>
                </a:lnTo>
                <a:lnTo>
                  <a:pt x="35" y="40"/>
                </a:lnTo>
                <a:lnTo>
                  <a:pt x="31" y="40"/>
                </a:lnTo>
                <a:lnTo>
                  <a:pt x="28" y="40"/>
                </a:lnTo>
                <a:lnTo>
                  <a:pt x="25" y="34"/>
                </a:lnTo>
                <a:lnTo>
                  <a:pt x="25" y="28"/>
                </a:lnTo>
                <a:lnTo>
                  <a:pt x="19" y="28"/>
                </a:lnTo>
                <a:lnTo>
                  <a:pt x="16" y="28"/>
                </a:lnTo>
                <a:lnTo>
                  <a:pt x="16" y="25"/>
                </a:lnTo>
                <a:lnTo>
                  <a:pt x="16" y="25"/>
                </a:lnTo>
                <a:lnTo>
                  <a:pt x="13" y="25"/>
                </a:lnTo>
                <a:lnTo>
                  <a:pt x="10" y="25"/>
                </a:lnTo>
                <a:lnTo>
                  <a:pt x="6" y="25"/>
                </a:lnTo>
                <a:lnTo>
                  <a:pt x="3" y="25"/>
                </a:lnTo>
                <a:lnTo>
                  <a:pt x="3" y="25"/>
                </a:lnTo>
                <a:lnTo>
                  <a:pt x="3" y="22"/>
                </a:lnTo>
                <a:lnTo>
                  <a:pt x="3" y="18"/>
                </a:lnTo>
                <a:lnTo>
                  <a:pt x="6" y="15"/>
                </a:lnTo>
                <a:lnTo>
                  <a:pt x="3" y="12"/>
                </a:lnTo>
                <a:lnTo>
                  <a:pt x="0" y="12"/>
                </a:lnTo>
                <a:lnTo>
                  <a:pt x="3" y="9"/>
                </a:lnTo>
                <a:lnTo>
                  <a:pt x="3" y="6"/>
                </a:lnTo>
                <a:lnTo>
                  <a:pt x="3" y="3"/>
                </a:lnTo>
                <a:lnTo>
                  <a:pt x="6" y="3"/>
                </a:lnTo>
                <a:lnTo>
                  <a:pt x="10" y="3"/>
                </a:lnTo>
                <a:lnTo>
                  <a:pt x="10" y="3"/>
                </a:lnTo>
                <a:lnTo>
                  <a:pt x="13" y="6"/>
                </a:lnTo>
                <a:lnTo>
                  <a:pt x="16" y="6"/>
                </a:lnTo>
                <a:lnTo>
                  <a:pt x="16" y="6"/>
                </a:lnTo>
                <a:lnTo>
                  <a:pt x="16" y="9"/>
                </a:lnTo>
                <a:lnTo>
                  <a:pt x="16" y="9"/>
                </a:lnTo>
                <a:lnTo>
                  <a:pt x="16" y="9"/>
                </a:lnTo>
                <a:lnTo>
                  <a:pt x="16" y="12"/>
                </a:lnTo>
                <a:lnTo>
                  <a:pt x="19" y="12"/>
                </a:lnTo>
                <a:lnTo>
                  <a:pt x="22" y="12"/>
                </a:lnTo>
                <a:lnTo>
                  <a:pt x="22" y="9"/>
                </a:lnTo>
                <a:lnTo>
                  <a:pt x="19" y="9"/>
                </a:lnTo>
                <a:lnTo>
                  <a:pt x="22" y="9"/>
                </a:lnTo>
                <a:lnTo>
                  <a:pt x="25" y="9"/>
                </a:lnTo>
                <a:lnTo>
                  <a:pt x="31" y="15"/>
                </a:lnTo>
                <a:lnTo>
                  <a:pt x="38" y="15"/>
                </a:lnTo>
                <a:lnTo>
                  <a:pt x="44" y="15"/>
                </a:lnTo>
                <a:lnTo>
                  <a:pt x="47" y="12"/>
                </a:lnTo>
                <a:lnTo>
                  <a:pt x="56" y="6"/>
                </a:lnTo>
                <a:lnTo>
                  <a:pt x="63" y="3"/>
                </a:lnTo>
                <a:lnTo>
                  <a:pt x="69" y="0"/>
                </a:lnTo>
                <a:lnTo>
                  <a:pt x="72" y="0"/>
                </a:lnTo>
                <a:lnTo>
                  <a:pt x="75" y="0"/>
                </a:lnTo>
                <a:lnTo>
                  <a:pt x="75" y="3"/>
                </a:lnTo>
                <a:lnTo>
                  <a:pt x="78" y="3"/>
                </a:lnTo>
                <a:lnTo>
                  <a:pt x="88" y="3"/>
                </a:lnTo>
                <a:lnTo>
                  <a:pt x="91" y="3"/>
                </a:lnTo>
                <a:lnTo>
                  <a:pt x="100" y="9"/>
                </a:lnTo>
                <a:lnTo>
                  <a:pt x="103" y="12"/>
                </a:lnTo>
                <a:lnTo>
                  <a:pt x="103" y="15"/>
                </a:lnTo>
                <a:lnTo>
                  <a:pt x="106" y="15"/>
                </a:lnTo>
                <a:lnTo>
                  <a:pt x="110" y="18"/>
                </a:lnTo>
                <a:lnTo>
                  <a:pt x="106" y="22"/>
                </a:lnTo>
                <a:lnTo>
                  <a:pt x="110" y="25"/>
                </a:lnTo>
                <a:lnTo>
                  <a:pt x="110" y="28"/>
                </a:lnTo>
                <a:lnTo>
                  <a:pt x="106" y="34"/>
                </a:lnTo>
                <a:lnTo>
                  <a:pt x="106" y="37"/>
                </a:lnTo>
                <a:lnTo>
                  <a:pt x="103" y="40"/>
                </a:lnTo>
                <a:lnTo>
                  <a:pt x="100" y="40"/>
                </a:lnTo>
                <a:lnTo>
                  <a:pt x="100" y="47"/>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1" name="Freeform 179">
            <a:extLst>
              <a:ext uri="{FF2B5EF4-FFF2-40B4-BE49-F238E27FC236}">
                <a16:creationId xmlns:a16="http://schemas.microsoft.com/office/drawing/2014/main" id="{0AF6BB0E-7B6A-5016-6E7B-AA9B7488B2CC}"/>
              </a:ext>
            </a:extLst>
          </p:cNvPr>
          <p:cNvSpPr>
            <a:spLocks/>
          </p:cNvSpPr>
          <p:nvPr userDrawn="1"/>
        </p:nvSpPr>
        <p:spPr bwMode="auto">
          <a:xfrm>
            <a:off x="7870313" y="8670211"/>
            <a:ext cx="209536" cy="200026"/>
          </a:xfrm>
          <a:custGeom>
            <a:avLst/>
            <a:gdLst>
              <a:gd name="T0" fmla="*/ 59 w 66"/>
              <a:gd name="T1" fmla="*/ 57 h 63"/>
              <a:gd name="T2" fmla="*/ 59 w 66"/>
              <a:gd name="T3" fmla="*/ 57 h 63"/>
              <a:gd name="T4" fmla="*/ 59 w 66"/>
              <a:gd name="T5" fmla="*/ 63 h 63"/>
              <a:gd name="T6" fmla="*/ 53 w 66"/>
              <a:gd name="T7" fmla="*/ 60 h 63"/>
              <a:gd name="T8" fmla="*/ 53 w 66"/>
              <a:gd name="T9" fmla="*/ 60 h 63"/>
              <a:gd name="T10" fmla="*/ 50 w 66"/>
              <a:gd name="T11" fmla="*/ 50 h 63"/>
              <a:gd name="T12" fmla="*/ 47 w 66"/>
              <a:gd name="T13" fmla="*/ 50 h 63"/>
              <a:gd name="T14" fmla="*/ 50 w 66"/>
              <a:gd name="T15" fmla="*/ 54 h 63"/>
              <a:gd name="T16" fmla="*/ 50 w 66"/>
              <a:gd name="T17" fmla="*/ 60 h 63"/>
              <a:gd name="T18" fmla="*/ 47 w 66"/>
              <a:gd name="T19" fmla="*/ 57 h 63"/>
              <a:gd name="T20" fmla="*/ 41 w 66"/>
              <a:gd name="T21" fmla="*/ 54 h 63"/>
              <a:gd name="T22" fmla="*/ 41 w 66"/>
              <a:gd name="T23" fmla="*/ 47 h 63"/>
              <a:gd name="T24" fmla="*/ 37 w 66"/>
              <a:gd name="T25" fmla="*/ 41 h 63"/>
              <a:gd name="T26" fmla="*/ 31 w 66"/>
              <a:gd name="T27" fmla="*/ 35 h 63"/>
              <a:gd name="T28" fmla="*/ 25 w 66"/>
              <a:gd name="T29" fmla="*/ 28 h 63"/>
              <a:gd name="T30" fmla="*/ 22 w 66"/>
              <a:gd name="T31" fmla="*/ 22 h 63"/>
              <a:gd name="T32" fmla="*/ 12 w 66"/>
              <a:gd name="T33" fmla="*/ 19 h 63"/>
              <a:gd name="T34" fmla="*/ 12 w 66"/>
              <a:gd name="T35" fmla="*/ 22 h 63"/>
              <a:gd name="T36" fmla="*/ 19 w 66"/>
              <a:gd name="T37" fmla="*/ 28 h 63"/>
              <a:gd name="T38" fmla="*/ 16 w 66"/>
              <a:gd name="T39" fmla="*/ 35 h 63"/>
              <a:gd name="T40" fmla="*/ 9 w 66"/>
              <a:gd name="T41" fmla="*/ 28 h 63"/>
              <a:gd name="T42" fmla="*/ 0 w 66"/>
              <a:gd name="T43" fmla="*/ 22 h 63"/>
              <a:gd name="T44" fmla="*/ 0 w 66"/>
              <a:gd name="T45" fmla="*/ 16 h 63"/>
              <a:gd name="T46" fmla="*/ 3 w 66"/>
              <a:gd name="T47" fmla="*/ 10 h 63"/>
              <a:gd name="T48" fmla="*/ 0 w 66"/>
              <a:gd name="T49" fmla="*/ 7 h 63"/>
              <a:gd name="T50" fmla="*/ 3 w 66"/>
              <a:gd name="T51" fmla="*/ 3 h 63"/>
              <a:gd name="T52" fmla="*/ 3 w 66"/>
              <a:gd name="T53" fmla="*/ 0 h 63"/>
              <a:gd name="T54" fmla="*/ 9 w 66"/>
              <a:gd name="T55" fmla="*/ 0 h 63"/>
              <a:gd name="T56" fmla="*/ 25 w 66"/>
              <a:gd name="T57" fmla="*/ 0 h 63"/>
              <a:gd name="T58" fmla="*/ 31 w 66"/>
              <a:gd name="T59" fmla="*/ 3 h 63"/>
              <a:gd name="T60" fmla="*/ 34 w 66"/>
              <a:gd name="T61" fmla="*/ 7 h 63"/>
              <a:gd name="T62" fmla="*/ 41 w 66"/>
              <a:gd name="T63" fmla="*/ 10 h 63"/>
              <a:gd name="T64" fmla="*/ 41 w 66"/>
              <a:gd name="T65" fmla="*/ 10 h 63"/>
              <a:gd name="T66" fmla="*/ 47 w 66"/>
              <a:gd name="T67" fmla="*/ 10 h 63"/>
              <a:gd name="T68" fmla="*/ 50 w 66"/>
              <a:gd name="T69" fmla="*/ 13 h 63"/>
              <a:gd name="T70" fmla="*/ 53 w 66"/>
              <a:gd name="T71" fmla="*/ 19 h 63"/>
              <a:gd name="T72" fmla="*/ 56 w 66"/>
              <a:gd name="T73" fmla="*/ 28 h 63"/>
              <a:gd name="T74" fmla="*/ 62 w 66"/>
              <a:gd name="T75" fmla="*/ 32 h 63"/>
              <a:gd name="T76" fmla="*/ 66 w 66"/>
              <a:gd name="T77" fmla="*/ 35 h 63"/>
              <a:gd name="T78" fmla="*/ 59 w 66"/>
              <a:gd name="T79" fmla="*/ 35 h 63"/>
              <a:gd name="T80" fmla="*/ 59 w 66"/>
              <a:gd name="T81" fmla="*/ 41 h 63"/>
              <a:gd name="T82" fmla="*/ 59 w 66"/>
              <a:gd name="T83" fmla="*/ 44 h 63"/>
              <a:gd name="T84" fmla="*/ 59 w 66"/>
              <a:gd name="T85" fmla="*/ 50 h 63"/>
              <a:gd name="T86" fmla="*/ 59 w 66"/>
              <a:gd name="T87" fmla="*/ 57 h 63"/>
              <a:gd name="T88" fmla="*/ 59 w 66"/>
              <a:gd name="T89" fmla="*/ 5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 h="63">
                <a:moveTo>
                  <a:pt x="59" y="57"/>
                </a:moveTo>
                <a:lnTo>
                  <a:pt x="59" y="57"/>
                </a:lnTo>
                <a:lnTo>
                  <a:pt x="59" y="57"/>
                </a:lnTo>
                <a:lnTo>
                  <a:pt x="59" y="57"/>
                </a:lnTo>
                <a:lnTo>
                  <a:pt x="59" y="60"/>
                </a:lnTo>
                <a:lnTo>
                  <a:pt x="59" y="63"/>
                </a:lnTo>
                <a:lnTo>
                  <a:pt x="56" y="63"/>
                </a:lnTo>
                <a:lnTo>
                  <a:pt x="53" y="60"/>
                </a:lnTo>
                <a:lnTo>
                  <a:pt x="53" y="60"/>
                </a:lnTo>
                <a:lnTo>
                  <a:pt x="53" y="60"/>
                </a:lnTo>
                <a:lnTo>
                  <a:pt x="53" y="57"/>
                </a:lnTo>
                <a:lnTo>
                  <a:pt x="50" y="50"/>
                </a:lnTo>
                <a:lnTo>
                  <a:pt x="47" y="50"/>
                </a:lnTo>
                <a:lnTo>
                  <a:pt x="47" y="50"/>
                </a:lnTo>
                <a:lnTo>
                  <a:pt x="47" y="50"/>
                </a:lnTo>
                <a:lnTo>
                  <a:pt x="50" y="54"/>
                </a:lnTo>
                <a:lnTo>
                  <a:pt x="50" y="57"/>
                </a:lnTo>
                <a:lnTo>
                  <a:pt x="50" y="60"/>
                </a:lnTo>
                <a:lnTo>
                  <a:pt x="50" y="60"/>
                </a:lnTo>
                <a:lnTo>
                  <a:pt x="47" y="57"/>
                </a:lnTo>
                <a:lnTo>
                  <a:pt x="41" y="57"/>
                </a:lnTo>
                <a:lnTo>
                  <a:pt x="41" y="54"/>
                </a:lnTo>
                <a:lnTo>
                  <a:pt x="41" y="50"/>
                </a:lnTo>
                <a:lnTo>
                  <a:pt x="41" y="47"/>
                </a:lnTo>
                <a:lnTo>
                  <a:pt x="41" y="44"/>
                </a:lnTo>
                <a:lnTo>
                  <a:pt x="37" y="41"/>
                </a:lnTo>
                <a:lnTo>
                  <a:pt x="34" y="38"/>
                </a:lnTo>
                <a:lnTo>
                  <a:pt x="31" y="35"/>
                </a:lnTo>
                <a:lnTo>
                  <a:pt x="25" y="32"/>
                </a:lnTo>
                <a:lnTo>
                  <a:pt x="25" y="28"/>
                </a:lnTo>
                <a:lnTo>
                  <a:pt x="22" y="25"/>
                </a:lnTo>
                <a:lnTo>
                  <a:pt x="22" y="22"/>
                </a:lnTo>
                <a:lnTo>
                  <a:pt x="19" y="22"/>
                </a:lnTo>
                <a:lnTo>
                  <a:pt x="12" y="19"/>
                </a:lnTo>
                <a:lnTo>
                  <a:pt x="12" y="19"/>
                </a:lnTo>
                <a:lnTo>
                  <a:pt x="12" y="22"/>
                </a:lnTo>
                <a:lnTo>
                  <a:pt x="19" y="25"/>
                </a:lnTo>
                <a:lnTo>
                  <a:pt x="19" y="28"/>
                </a:lnTo>
                <a:lnTo>
                  <a:pt x="19" y="35"/>
                </a:lnTo>
                <a:lnTo>
                  <a:pt x="16" y="35"/>
                </a:lnTo>
                <a:lnTo>
                  <a:pt x="12" y="32"/>
                </a:lnTo>
                <a:lnTo>
                  <a:pt x="9" y="28"/>
                </a:lnTo>
                <a:lnTo>
                  <a:pt x="6" y="28"/>
                </a:lnTo>
                <a:lnTo>
                  <a:pt x="0" y="22"/>
                </a:lnTo>
                <a:lnTo>
                  <a:pt x="0" y="19"/>
                </a:lnTo>
                <a:lnTo>
                  <a:pt x="0" y="16"/>
                </a:lnTo>
                <a:lnTo>
                  <a:pt x="3" y="13"/>
                </a:lnTo>
                <a:lnTo>
                  <a:pt x="3" y="10"/>
                </a:lnTo>
                <a:lnTo>
                  <a:pt x="0" y="10"/>
                </a:lnTo>
                <a:lnTo>
                  <a:pt x="0" y="7"/>
                </a:lnTo>
                <a:lnTo>
                  <a:pt x="0" y="7"/>
                </a:lnTo>
                <a:lnTo>
                  <a:pt x="3" y="3"/>
                </a:lnTo>
                <a:lnTo>
                  <a:pt x="0" y="0"/>
                </a:lnTo>
                <a:lnTo>
                  <a:pt x="3" y="0"/>
                </a:lnTo>
                <a:lnTo>
                  <a:pt x="3" y="0"/>
                </a:lnTo>
                <a:lnTo>
                  <a:pt x="9" y="0"/>
                </a:lnTo>
                <a:lnTo>
                  <a:pt x="19" y="3"/>
                </a:lnTo>
                <a:lnTo>
                  <a:pt x="25" y="0"/>
                </a:lnTo>
                <a:lnTo>
                  <a:pt x="28" y="0"/>
                </a:lnTo>
                <a:lnTo>
                  <a:pt x="31" y="3"/>
                </a:lnTo>
                <a:lnTo>
                  <a:pt x="34" y="7"/>
                </a:lnTo>
                <a:lnTo>
                  <a:pt x="34" y="7"/>
                </a:lnTo>
                <a:lnTo>
                  <a:pt x="37" y="10"/>
                </a:lnTo>
                <a:lnTo>
                  <a:pt x="41" y="10"/>
                </a:lnTo>
                <a:lnTo>
                  <a:pt x="41" y="10"/>
                </a:lnTo>
                <a:lnTo>
                  <a:pt x="41" y="10"/>
                </a:lnTo>
                <a:lnTo>
                  <a:pt x="44" y="10"/>
                </a:lnTo>
                <a:lnTo>
                  <a:pt x="47" y="10"/>
                </a:lnTo>
                <a:lnTo>
                  <a:pt x="47" y="10"/>
                </a:lnTo>
                <a:lnTo>
                  <a:pt x="50" y="13"/>
                </a:lnTo>
                <a:lnTo>
                  <a:pt x="50" y="16"/>
                </a:lnTo>
                <a:lnTo>
                  <a:pt x="53" y="19"/>
                </a:lnTo>
                <a:lnTo>
                  <a:pt x="56" y="25"/>
                </a:lnTo>
                <a:lnTo>
                  <a:pt x="56" y="28"/>
                </a:lnTo>
                <a:lnTo>
                  <a:pt x="59" y="28"/>
                </a:lnTo>
                <a:lnTo>
                  <a:pt x="62" y="32"/>
                </a:lnTo>
                <a:lnTo>
                  <a:pt x="66" y="32"/>
                </a:lnTo>
                <a:lnTo>
                  <a:pt x="66" y="35"/>
                </a:lnTo>
                <a:lnTo>
                  <a:pt x="62" y="35"/>
                </a:lnTo>
                <a:lnTo>
                  <a:pt x="59" y="35"/>
                </a:lnTo>
                <a:lnTo>
                  <a:pt x="59" y="38"/>
                </a:lnTo>
                <a:lnTo>
                  <a:pt x="59" y="41"/>
                </a:lnTo>
                <a:lnTo>
                  <a:pt x="56" y="44"/>
                </a:lnTo>
                <a:lnTo>
                  <a:pt x="59" y="44"/>
                </a:lnTo>
                <a:lnTo>
                  <a:pt x="62" y="47"/>
                </a:lnTo>
                <a:lnTo>
                  <a:pt x="59" y="50"/>
                </a:lnTo>
                <a:lnTo>
                  <a:pt x="59" y="54"/>
                </a:lnTo>
                <a:lnTo>
                  <a:pt x="59" y="57"/>
                </a:lnTo>
                <a:lnTo>
                  <a:pt x="59" y="57"/>
                </a:lnTo>
                <a:lnTo>
                  <a:pt x="59" y="57"/>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2" name="Freeform 180">
            <a:extLst>
              <a:ext uri="{FF2B5EF4-FFF2-40B4-BE49-F238E27FC236}">
                <a16:creationId xmlns:a16="http://schemas.microsoft.com/office/drawing/2014/main" id="{754DBB29-E5B2-DD9D-8970-4F521F668BAA}"/>
              </a:ext>
            </a:extLst>
          </p:cNvPr>
          <p:cNvSpPr>
            <a:spLocks/>
          </p:cNvSpPr>
          <p:nvPr userDrawn="1"/>
        </p:nvSpPr>
        <p:spPr bwMode="auto">
          <a:xfrm>
            <a:off x="7771895" y="8422558"/>
            <a:ext cx="285731" cy="279400"/>
          </a:xfrm>
          <a:custGeom>
            <a:avLst/>
            <a:gdLst>
              <a:gd name="T0" fmla="*/ 11 w 29"/>
              <a:gd name="T1" fmla="*/ 25 h 28"/>
              <a:gd name="T2" fmla="*/ 13 w 29"/>
              <a:gd name="T3" fmla="*/ 25 h 28"/>
              <a:gd name="T4" fmla="*/ 18 w 29"/>
              <a:gd name="T5" fmla="*/ 25 h 28"/>
              <a:gd name="T6" fmla="*/ 20 w 29"/>
              <a:gd name="T7" fmla="*/ 26 h 28"/>
              <a:gd name="T8" fmla="*/ 21 w 29"/>
              <a:gd name="T9" fmla="*/ 27 h 28"/>
              <a:gd name="T10" fmla="*/ 23 w 29"/>
              <a:gd name="T11" fmla="*/ 28 h 28"/>
              <a:gd name="T12" fmla="*/ 23 w 29"/>
              <a:gd name="T13" fmla="*/ 28 h 28"/>
              <a:gd name="T14" fmla="*/ 24 w 29"/>
              <a:gd name="T15" fmla="*/ 26 h 28"/>
              <a:gd name="T16" fmla="*/ 23 w 29"/>
              <a:gd name="T17" fmla="*/ 24 h 28"/>
              <a:gd name="T18" fmla="*/ 24 w 29"/>
              <a:gd name="T19" fmla="*/ 22 h 28"/>
              <a:gd name="T20" fmla="*/ 24 w 29"/>
              <a:gd name="T21" fmla="*/ 21 h 28"/>
              <a:gd name="T22" fmla="*/ 23 w 29"/>
              <a:gd name="T23" fmla="*/ 22 h 28"/>
              <a:gd name="T24" fmla="*/ 23 w 29"/>
              <a:gd name="T25" fmla="*/ 20 h 28"/>
              <a:gd name="T26" fmla="*/ 24 w 29"/>
              <a:gd name="T27" fmla="*/ 18 h 28"/>
              <a:gd name="T28" fmla="*/ 24 w 29"/>
              <a:gd name="T29" fmla="*/ 15 h 28"/>
              <a:gd name="T30" fmla="*/ 25 w 29"/>
              <a:gd name="T31" fmla="*/ 16 h 28"/>
              <a:gd name="T32" fmla="*/ 25 w 29"/>
              <a:gd name="T33" fmla="*/ 18 h 28"/>
              <a:gd name="T34" fmla="*/ 26 w 29"/>
              <a:gd name="T35" fmla="*/ 18 h 28"/>
              <a:gd name="T36" fmla="*/ 26 w 29"/>
              <a:gd name="T37" fmla="*/ 12 h 28"/>
              <a:gd name="T38" fmla="*/ 26 w 29"/>
              <a:gd name="T39" fmla="*/ 11 h 28"/>
              <a:gd name="T40" fmla="*/ 25 w 29"/>
              <a:gd name="T41" fmla="*/ 10 h 28"/>
              <a:gd name="T42" fmla="*/ 26 w 29"/>
              <a:gd name="T43" fmla="*/ 10 h 28"/>
              <a:gd name="T44" fmla="*/ 27 w 29"/>
              <a:gd name="T45" fmla="*/ 8 h 28"/>
              <a:gd name="T46" fmla="*/ 28 w 29"/>
              <a:gd name="T47" fmla="*/ 6 h 28"/>
              <a:gd name="T48" fmla="*/ 28 w 29"/>
              <a:gd name="T49" fmla="*/ 5 h 28"/>
              <a:gd name="T50" fmla="*/ 28 w 29"/>
              <a:gd name="T51" fmla="*/ 4 h 28"/>
              <a:gd name="T52" fmla="*/ 28 w 29"/>
              <a:gd name="T53" fmla="*/ 1 h 28"/>
              <a:gd name="T54" fmla="*/ 29 w 29"/>
              <a:gd name="T55" fmla="*/ 0 h 28"/>
              <a:gd name="T56" fmla="*/ 27 w 29"/>
              <a:gd name="T57" fmla="*/ 0 h 28"/>
              <a:gd name="T58" fmla="*/ 26 w 29"/>
              <a:gd name="T59" fmla="*/ 0 h 28"/>
              <a:gd name="T60" fmla="*/ 25 w 29"/>
              <a:gd name="T61" fmla="*/ 1 h 28"/>
              <a:gd name="T62" fmla="*/ 23 w 29"/>
              <a:gd name="T63" fmla="*/ 2 h 28"/>
              <a:gd name="T64" fmla="*/ 22 w 29"/>
              <a:gd name="T65" fmla="*/ 3 h 28"/>
              <a:gd name="T66" fmla="*/ 20 w 29"/>
              <a:gd name="T67" fmla="*/ 3 h 28"/>
              <a:gd name="T68" fmla="*/ 19 w 29"/>
              <a:gd name="T69" fmla="*/ 2 h 28"/>
              <a:gd name="T70" fmla="*/ 18 w 29"/>
              <a:gd name="T71" fmla="*/ 3 h 28"/>
              <a:gd name="T72" fmla="*/ 16 w 29"/>
              <a:gd name="T73" fmla="*/ 4 h 28"/>
              <a:gd name="T74" fmla="*/ 15 w 29"/>
              <a:gd name="T75" fmla="*/ 5 h 28"/>
              <a:gd name="T76" fmla="*/ 13 w 29"/>
              <a:gd name="T77" fmla="*/ 7 h 28"/>
              <a:gd name="T78" fmla="*/ 11 w 29"/>
              <a:gd name="T79" fmla="*/ 8 h 28"/>
              <a:gd name="T80" fmla="*/ 10 w 29"/>
              <a:gd name="T81" fmla="*/ 7 h 28"/>
              <a:gd name="T82" fmla="*/ 7 w 29"/>
              <a:gd name="T83" fmla="*/ 8 h 28"/>
              <a:gd name="T84" fmla="*/ 5 w 29"/>
              <a:gd name="T85" fmla="*/ 9 h 28"/>
              <a:gd name="T86" fmla="*/ 5 w 29"/>
              <a:gd name="T87" fmla="*/ 12 h 28"/>
              <a:gd name="T88" fmla="*/ 3 w 29"/>
              <a:gd name="T89" fmla="*/ 13 h 28"/>
              <a:gd name="T90" fmla="*/ 1 w 29"/>
              <a:gd name="T91" fmla="*/ 14 h 28"/>
              <a:gd name="T92" fmla="*/ 0 w 29"/>
              <a:gd name="T93" fmla="*/ 13 h 28"/>
              <a:gd name="T94" fmla="*/ 2 w 29"/>
              <a:gd name="T95" fmla="*/ 17 h 28"/>
              <a:gd name="T96" fmla="*/ 3 w 29"/>
              <a:gd name="T97" fmla="*/ 18 h 28"/>
              <a:gd name="T98" fmla="*/ 6 w 29"/>
              <a:gd name="T99" fmla="*/ 22 h 28"/>
              <a:gd name="T100" fmla="*/ 10 w 29"/>
              <a:gd name="T10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 h="28">
                <a:moveTo>
                  <a:pt x="10" y="25"/>
                </a:moveTo>
                <a:cubicBezTo>
                  <a:pt x="11" y="25"/>
                  <a:pt x="11" y="25"/>
                  <a:pt x="11" y="25"/>
                </a:cubicBezTo>
                <a:cubicBezTo>
                  <a:pt x="11" y="25"/>
                  <a:pt x="11" y="25"/>
                  <a:pt x="11" y="25"/>
                </a:cubicBezTo>
                <a:cubicBezTo>
                  <a:pt x="13" y="25"/>
                  <a:pt x="13" y="25"/>
                  <a:pt x="13" y="25"/>
                </a:cubicBezTo>
                <a:cubicBezTo>
                  <a:pt x="16" y="26"/>
                  <a:pt x="16" y="26"/>
                  <a:pt x="16" y="26"/>
                </a:cubicBezTo>
                <a:cubicBezTo>
                  <a:pt x="18" y="25"/>
                  <a:pt x="18" y="25"/>
                  <a:pt x="18" y="25"/>
                </a:cubicBezTo>
                <a:cubicBezTo>
                  <a:pt x="19" y="25"/>
                  <a:pt x="19" y="25"/>
                  <a:pt x="19" y="25"/>
                </a:cubicBezTo>
                <a:cubicBezTo>
                  <a:pt x="20" y="26"/>
                  <a:pt x="20" y="26"/>
                  <a:pt x="20" y="26"/>
                </a:cubicBezTo>
                <a:cubicBezTo>
                  <a:pt x="21" y="27"/>
                  <a:pt x="21" y="27"/>
                  <a:pt x="21" y="27"/>
                </a:cubicBezTo>
                <a:cubicBezTo>
                  <a:pt x="21" y="27"/>
                  <a:pt x="21" y="27"/>
                  <a:pt x="21" y="27"/>
                </a:cubicBezTo>
                <a:cubicBezTo>
                  <a:pt x="22" y="28"/>
                  <a:pt x="22" y="28"/>
                  <a:pt x="22" y="28"/>
                </a:cubicBezTo>
                <a:cubicBezTo>
                  <a:pt x="23" y="28"/>
                  <a:pt x="23" y="28"/>
                  <a:pt x="23" y="28"/>
                </a:cubicBezTo>
                <a:cubicBezTo>
                  <a:pt x="23" y="28"/>
                  <a:pt x="23" y="28"/>
                  <a:pt x="23" y="28"/>
                </a:cubicBezTo>
                <a:cubicBezTo>
                  <a:pt x="23" y="28"/>
                  <a:pt x="23" y="28"/>
                  <a:pt x="23" y="28"/>
                </a:cubicBezTo>
                <a:cubicBezTo>
                  <a:pt x="24" y="27"/>
                  <a:pt x="24" y="27"/>
                  <a:pt x="24" y="27"/>
                </a:cubicBezTo>
                <a:cubicBezTo>
                  <a:pt x="24" y="26"/>
                  <a:pt x="24" y="26"/>
                  <a:pt x="24" y="26"/>
                </a:cubicBezTo>
                <a:cubicBezTo>
                  <a:pt x="23" y="26"/>
                  <a:pt x="23" y="26"/>
                  <a:pt x="23" y="26"/>
                </a:cubicBezTo>
                <a:cubicBezTo>
                  <a:pt x="23" y="24"/>
                  <a:pt x="23" y="24"/>
                  <a:pt x="23" y="24"/>
                </a:cubicBezTo>
                <a:cubicBezTo>
                  <a:pt x="24" y="23"/>
                  <a:pt x="24" y="23"/>
                  <a:pt x="24" y="23"/>
                </a:cubicBezTo>
                <a:cubicBezTo>
                  <a:pt x="24" y="22"/>
                  <a:pt x="24" y="22"/>
                  <a:pt x="24" y="22"/>
                </a:cubicBezTo>
                <a:cubicBezTo>
                  <a:pt x="24" y="20"/>
                  <a:pt x="24" y="20"/>
                  <a:pt x="24" y="20"/>
                </a:cubicBezTo>
                <a:cubicBezTo>
                  <a:pt x="24" y="21"/>
                  <a:pt x="24" y="21"/>
                  <a:pt x="24" y="21"/>
                </a:cubicBezTo>
                <a:cubicBezTo>
                  <a:pt x="24" y="22"/>
                  <a:pt x="24" y="22"/>
                  <a:pt x="24" y="22"/>
                </a:cubicBezTo>
                <a:cubicBezTo>
                  <a:pt x="23" y="22"/>
                  <a:pt x="23" y="22"/>
                  <a:pt x="23" y="22"/>
                </a:cubicBezTo>
                <a:cubicBezTo>
                  <a:pt x="23" y="21"/>
                  <a:pt x="23" y="21"/>
                  <a:pt x="23" y="21"/>
                </a:cubicBezTo>
                <a:cubicBezTo>
                  <a:pt x="23" y="20"/>
                  <a:pt x="23" y="20"/>
                  <a:pt x="23" y="20"/>
                </a:cubicBezTo>
                <a:cubicBezTo>
                  <a:pt x="24" y="19"/>
                  <a:pt x="24" y="19"/>
                  <a:pt x="24" y="19"/>
                </a:cubicBezTo>
                <a:cubicBezTo>
                  <a:pt x="24" y="18"/>
                  <a:pt x="24" y="18"/>
                  <a:pt x="24" y="18"/>
                </a:cubicBezTo>
                <a:cubicBezTo>
                  <a:pt x="24" y="17"/>
                  <a:pt x="24" y="17"/>
                  <a:pt x="24" y="17"/>
                </a:cubicBezTo>
                <a:cubicBezTo>
                  <a:pt x="24" y="15"/>
                  <a:pt x="24" y="15"/>
                  <a:pt x="24" y="15"/>
                </a:cubicBezTo>
                <a:cubicBezTo>
                  <a:pt x="25" y="15"/>
                  <a:pt x="25" y="15"/>
                  <a:pt x="25" y="15"/>
                </a:cubicBezTo>
                <a:cubicBezTo>
                  <a:pt x="25" y="16"/>
                  <a:pt x="25" y="16"/>
                  <a:pt x="25" y="16"/>
                </a:cubicBezTo>
                <a:cubicBezTo>
                  <a:pt x="25" y="16"/>
                  <a:pt x="25" y="17"/>
                  <a:pt x="25" y="17"/>
                </a:cubicBezTo>
                <a:cubicBezTo>
                  <a:pt x="25" y="17"/>
                  <a:pt x="25" y="18"/>
                  <a:pt x="25" y="18"/>
                </a:cubicBezTo>
                <a:cubicBezTo>
                  <a:pt x="25" y="18"/>
                  <a:pt x="25" y="18"/>
                  <a:pt x="25" y="18"/>
                </a:cubicBezTo>
                <a:cubicBezTo>
                  <a:pt x="26" y="18"/>
                  <a:pt x="26" y="18"/>
                  <a:pt x="26" y="18"/>
                </a:cubicBezTo>
                <a:cubicBezTo>
                  <a:pt x="26" y="15"/>
                  <a:pt x="26" y="15"/>
                  <a:pt x="26" y="15"/>
                </a:cubicBezTo>
                <a:cubicBezTo>
                  <a:pt x="26" y="12"/>
                  <a:pt x="26" y="12"/>
                  <a:pt x="26" y="12"/>
                </a:cubicBezTo>
                <a:cubicBezTo>
                  <a:pt x="26" y="12"/>
                  <a:pt x="26" y="12"/>
                  <a:pt x="26" y="12"/>
                </a:cubicBezTo>
                <a:cubicBezTo>
                  <a:pt x="26" y="11"/>
                  <a:pt x="26" y="11"/>
                  <a:pt x="26" y="11"/>
                </a:cubicBezTo>
                <a:cubicBezTo>
                  <a:pt x="25" y="11"/>
                  <a:pt x="25" y="11"/>
                  <a:pt x="25" y="11"/>
                </a:cubicBezTo>
                <a:cubicBezTo>
                  <a:pt x="25" y="10"/>
                  <a:pt x="25" y="10"/>
                  <a:pt x="25" y="10"/>
                </a:cubicBezTo>
                <a:cubicBezTo>
                  <a:pt x="26" y="10"/>
                  <a:pt x="26" y="10"/>
                  <a:pt x="26" y="10"/>
                </a:cubicBezTo>
                <a:cubicBezTo>
                  <a:pt x="26" y="10"/>
                  <a:pt x="26" y="10"/>
                  <a:pt x="26" y="10"/>
                </a:cubicBezTo>
                <a:cubicBezTo>
                  <a:pt x="26" y="10"/>
                  <a:pt x="26" y="10"/>
                  <a:pt x="26" y="10"/>
                </a:cubicBezTo>
                <a:cubicBezTo>
                  <a:pt x="27" y="8"/>
                  <a:pt x="27" y="8"/>
                  <a:pt x="27" y="8"/>
                </a:cubicBezTo>
                <a:cubicBezTo>
                  <a:pt x="28" y="7"/>
                  <a:pt x="28" y="7"/>
                  <a:pt x="28" y="7"/>
                </a:cubicBezTo>
                <a:cubicBezTo>
                  <a:pt x="28" y="6"/>
                  <a:pt x="28" y="6"/>
                  <a:pt x="28" y="6"/>
                </a:cubicBezTo>
                <a:cubicBezTo>
                  <a:pt x="28" y="6"/>
                  <a:pt x="28" y="6"/>
                  <a:pt x="28" y="6"/>
                </a:cubicBezTo>
                <a:cubicBezTo>
                  <a:pt x="28" y="5"/>
                  <a:pt x="28" y="5"/>
                  <a:pt x="28" y="5"/>
                </a:cubicBezTo>
                <a:cubicBezTo>
                  <a:pt x="28" y="5"/>
                  <a:pt x="28" y="5"/>
                  <a:pt x="28" y="5"/>
                </a:cubicBezTo>
                <a:cubicBezTo>
                  <a:pt x="28" y="4"/>
                  <a:pt x="28" y="4"/>
                  <a:pt x="28" y="4"/>
                </a:cubicBezTo>
                <a:cubicBezTo>
                  <a:pt x="28" y="3"/>
                  <a:pt x="28" y="3"/>
                  <a:pt x="28" y="3"/>
                </a:cubicBezTo>
                <a:cubicBezTo>
                  <a:pt x="28" y="1"/>
                  <a:pt x="28" y="1"/>
                  <a:pt x="28" y="1"/>
                </a:cubicBezTo>
                <a:cubicBezTo>
                  <a:pt x="28" y="0"/>
                  <a:pt x="28" y="0"/>
                  <a:pt x="28" y="0"/>
                </a:cubicBezTo>
                <a:cubicBezTo>
                  <a:pt x="29" y="0"/>
                  <a:pt x="29" y="0"/>
                  <a:pt x="29" y="0"/>
                </a:cubicBezTo>
                <a:cubicBezTo>
                  <a:pt x="28" y="0"/>
                  <a:pt x="28" y="0"/>
                  <a:pt x="28" y="0"/>
                </a:cubicBezTo>
                <a:cubicBezTo>
                  <a:pt x="27" y="0"/>
                  <a:pt x="27" y="0"/>
                  <a:pt x="27" y="0"/>
                </a:cubicBezTo>
                <a:cubicBezTo>
                  <a:pt x="27" y="0"/>
                  <a:pt x="27" y="0"/>
                  <a:pt x="27" y="0"/>
                </a:cubicBezTo>
                <a:cubicBezTo>
                  <a:pt x="26" y="0"/>
                  <a:pt x="26" y="0"/>
                  <a:pt x="26" y="0"/>
                </a:cubicBezTo>
                <a:cubicBezTo>
                  <a:pt x="25" y="0"/>
                  <a:pt x="25" y="0"/>
                  <a:pt x="25" y="0"/>
                </a:cubicBezTo>
                <a:cubicBezTo>
                  <a:pt x="25" y="1"/>
                  <a:pt x="25" y="1"/>
                  <a:pt x="25" y="1"/>
                </a:cubicBezTo>
                <a:cubicBezTo>
                  <a:pt x="24" y="1"/>
                  <a:pt x="24" y="1"/>
                  <a:pt x="24" y="1"/>
                </a:cubicBezTo>
                <a:cubicBezTo>
                  <a:pt x="23" y="2"/>
                  <a:pt x="23" y="2"/>
                  <a:pt x="23" y="2"/>
                </a:cubicBezTo>
                <a:cubicBezTo>
                  <a:pt x="22" y="2"/>
                  <a:pt x="22" y="2"/>
                  <a:pt x="22" y="2"/>
                </a:cubicBezTo>
                <a:cubicBezTo>
                  <a:pt x="22" y="3"/>
                  <a:pt x="22" y="3"/>
                  <a:pt x="22" y="3"/>
                </a:cubicBezTo>
                <a:cubicBezTo>
                  <a:pt x="21" y="3"/>
                  <a:pt x="21" y="3"/>
                  <a:pt x="21" y="3"/>
                </a:cubicBezTo>
                <a:cubicBezTo>
                  <a:pt x="20" y="3"/>
                  <a:pt x="20" y="3"/>
                  <a:pt x="20" y="3"/>
                </a:cubicBezTo>
                <a:cubicBezTo>
                  <a:pt x="20" y="2"/>
                  <a:pt x="20" y="2"/>
                  <a:pt x="20" y="2"/>
                </a:cubicBezTo>
                <a:cubicBezTo>
                  <a:pt x="19" y="2"/>
                  <a:pt x="19" y="2"/>
                  <a:pt x="19" y="2"/>
                </a:cubicBezTo>
                <a:cubicBezTo>
                  <a:pt x="18" y="2"/>
                  <a:pt x="18" y="2"/>
                  <a:pt x="18" y="2"/>
                </a:cubicBezTo>
                <a:cubicBezTo>
                  <a:pt x="18" y="3"/>
                  <a:pt x="18" y="3"/>
                  <a:pt x="18" y="3"/>
                </a:cubicBezTo>
                <a:cubicBezTo>
                  <a:pt x="17" y="3"/>
                  <a:pt x="17" y="3"/>
                  <a:pt x="17" y="3"/>
                </a:cubicBezTo>
                <a:cubicBezTo>
                  <a:pt x="16" y="4"/>
                  <a:pt x="16" y="4"/>
                  <a:pt x="16" y="4"/>
                </a:cubicBezTo>
                <a:cubicBezTo>
                  <a:pt x="16" y="5"/>
                  <a:pt x="16" y="5"/>
                  <a:pt x="16" y="5"/>
                </a:cubicBezTo>
                <a:cubicBezTo>
                  <a:pt x="15" y="5"/>
                  <a:pt x="15" y="5"/>
                  <a:pt x="15" y="5"/>
                </a:cubicBezTo>
                <a:cubicBezTo>
                  <a:pt x="14" y="7"/>
                  <a:pt x="14" y="7"/>
                  <a:pt x="14" y="7"/>
                </a:cubicBezTo>
                <a:cubicBezTo>
                  <a:pt x="13" y="7"/>
                  <a:pt x="13" y="7"/>
                  <a:pt x="13" y="7"/>
                </a:cubicBezTo>
                <a:cubicBezTo>
                  <a:pt x="12" y="8"/>
                  <a:pt x="12" y="8"/>
                  <a:pt x="12" y="8"/>
                </a:cubicBezTo>
                <a:cubicBezTo>
                  <a:pt x="11" y="8"/>
                  <a:pt x="11" y="8"/>
                  <a:pt x="11" y="8"/>
                </a:cubicBezTo>
                <a:cubicBezTo>
                  <a:pt x="11" y="8"/>
                  <a:pt x="11" y="8"/>
                  <a:pt x="11" y="8"/>
                </a:cubicBezTo>
                <a:cubicBezTo>
                  <a:pt x="10" y="7"/>
                  <a:pt x="10" y="7"/>
                  <a:pt x="10" y="7"/>
                </a:cubicBezTo>
                <a:cubicBezTo>
                  <a:pt x="9" y="7"/>
                  <a:pt x="9" y="7"/>
                  <a:pt x="9" y="7"/>
                </a:cubicBezTo>
                <a:cubicBezTo>
                  <a:pt x="7" y="8"/>
                  <a:pt x="7" y="8"/>
                  <a:pt x="7" y="8"/>
                </a:cubicBezTo>
                <a:cubicBezTo>
                  <a:pt x="5" y="8"/>
                  <a:pt x="5" y="8"/>
                  <a:pt x="5" y="8"/>
                </a:cubicBezTo>
                <a:cubicBezTo>
                  <a:pt x="5" y="9"/>
                  <a:pt x="5" y="9"/>
                  <a:pt x="5" y="9"/>
                </a:cubicBezTo>
                <a:cubicBezTo>
                  <a:pt x="5" y="10"/>
                  <a:pt x="5" y="10"/>
                  <a:pt x="5" y="10"/>
                </a:cubicBezTo>
                <a:cubicBezTo>
                  <a:pt x="5" y="12"/>
                  <a:pt x="5" y="12"/>
                  <a:pt x="5" y="12"/>
                </a:cubicBezTo>
                <a:cubicBezTo>
                  <a:pt x="4" y="13"/>
                  <a:pt x="4" y="13"/>
                  <a:pt x="4" y="13"/>
                </a:cubicBezTo>
                <a:cubicBezTo>
                  <a:pt x="3" y="13"/>
                  <a:pt x="3" y="13"/>
                  <a:pt x="3" y="13"/>
                </a:cubicBezTo>
                <a:cubicBezTo>
                  <a:pt x="2" y="13"/>
                  <a:pt x="2" y="13"/>
                  <a:pt x="2" y="13"/>
                </a:cubicBezTo>
                <a:cubicBezTo>
                  <a:pt x="1" y="14"/>
                  <a:pt x="1" y="14"/>
                  <a:pt x="1" y="14"/>
                </a:cubicBezTo>
                <a:cubicBezTo>
                  <a:pt x="1" y="14"/>
                  <a:pt x="1" y="14"/>
                  <a:pt x="1" y="14"/>
                </a:cubicBezTo>
                <a:cubicBezTo>
                  <a:pt x="0" y="13"/>
                  <a:pt x="0" y="13"/>
                  <a:pt x="0" y="13"/>
                </a:cubicBezTo>
                <a:cubicBezTo>
                  <a:pt x="0" y="14"/>
                  <a:pt x="0" y="14"/>
                  <a:pt x="0" y="14"/>
                </a:cubicBezTo>
                <a:cubicBezTo>
                  <a:pt x="2" y="17"/>
                  <a:pt x="2" y="17"/>
                  <a:pt x="2" y="17"/>
                </a:cubicBezTo>
                <a:cubicBezTo>
                  <a:pt x="3" y="17"/>
                  <a:pt x="3" y="17"/>
                  <a:pt x="3" y="17"/>
                </a:cubicBezTo>
                <a:cubicBezTo>
                  <a:pt x="3" y="18"/>
                  <a:pt x="3" y="18"/>
                  <a:pt x="3" y="18"/>
                </a:cubicBezTo>
                <a:cubicBezTo>
                  <a:pt x="5" y="20"/>
                  <a:pt x="5" y="20"/>
                  <a:pt x="5" y="20"/>
                </a:cubicBezTo>
                <a:cubicBezTo>
                  <a:pt x="6" y="22"/>
                  <a:pt x="6" y="22"/>
                  <a:pt x="6" y="22"/>
                </a:cubicBezTo>
                <a:cubicBezTo>
                  <a:pt x="9" y="25"/>
                  <a:pt x="9" y="25"/>
                  <a:pt x="9" y="25"/>
                </a:cubicBezTo>
                <a:cubicBezTo>
                  <a:pt x="10" y="25"/>
                  <a:pt x="10" y="25"/>
                  <a:pt x="10" y="25"/>
                </a:cubicBez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3" name="Freeform 181">
            <a:extLst>
              <a:ext uri="{FF2B5EF4-FFF2-40B4-BE49-F238E27FC236}">
                <a16:creationId xmlns:a16="http://schemas.microsoft.com/office/drawing/2014/main" id="{F1C238C5-1AD8-4C15-E7A1-86C875AC8613}"/>
              </a:ext>
            </a:extLst>
          </p:cNvPr>
          <p:cNvSpPr>
            <a:spLocks/>
          </p:cNvSpPr>
          <p:nvPr userDrawn="1"/>
        </p:nvSpPr>
        <p:spPr bwMode="auto">
          <a:xfrm>
            <a:off x="7641728" y="8352709"/>
            <a:ext cx="415899" cy="200026"/>
          </a:xfrm>
          <a:custGeom>
            <a:avLst/>
            <a:gdLst>
              <a:gd name="T0" fmla="*/ 50 w 131"/>
              <a:gd name="T1" fmla="*/ 63 h 63"/>
              <a:gd name="T2" fmla="*/ 56 w 131"/>
              <a:gd name="T3" fmla="*/ 60 h 63"/>
              <a:gd name="T4" fmla="*/ 56 w 131"/>
              <a:gd name="T5" fmla="*/ 50 h 63"/>
              <a:gd name="T6" fmla="*/ 63 w 131"/>
              <a:gd name="T7" fmla="*/ 47 h 63"/>
              <a:gd name="T8" fmla="*/ 72 w 131"/>
              <a:gd name="T9" fmla="*/ 44 h 63"/>
              <a:gd name="T10" fmla="*/ 75 w 131"/>
              <a:gd name="T11" fmla="*/ 47 h 63"/>
              <a:gd name="T12" fmla="*/ 81 w 131"/>
              <a:gd name="T13" fmla="*/ 44 h 63"/>
              <a:gd name="T14" fmla="*/ 88 w 131"/>
              <a:gd name="T15" fmla="*/ 38 h 63"/>
              <a:gd name="T16" fmla="*/ 91 w 131"/>
              <a:gd name="T17" fmla="*/ 35 h 63"/>
              <a:gd name="T18" fmla="*/ 97 w 131"/>
              <a:gd name="T19" fmla="*/ 32 h 63"/>
              <a:gd name="T20" fmla="*/ 100 w 131"/>
              <a:gd name="T21" fmla="*/ 28 h 63"/>
              <a:gd name="T22" fmla="*/ 103 w 131"/>
              <a:gd name="T23" fmla="*/ 32 h 63"/>
              <a:gd name="T24" fmla="*/ 109 w 131"/>
              <a:gd name="T25" fmla="*/ 32 h 63"/>
              <a:gd name="T26" fmla="*/ 113 w 131"/>
              <a:gd name="T27" fmla="*/ 28 h 63"/>
              <a:gd name="T28" fmla="*/ 119 w 131"/>
              <a:gd name="T29" fmla="*/ 25 h 63"/>
              <a:gd name="T30" fmla="*/ 122 w 131"/>
              <a:gd name="T31" fmla="*/ 22 h 63"/>
              <a:gd name="T32" fmla="*/ 125 w 131"/>
              <a:gd name="T33" fmla="*/ 22 h 63"/>
              <a:gd name="T34" fmla="*/ 131 w 131"/>
              <a:gd name="T35" fmla="*/ 22 h 63"/>
              <a:gd name="T36" fmla="*/ 131 w 131"/>
              <a:gd name="T37" fmla="*/ 19 h 63"/>
              <a:gd name="T38" fmla="*/ 122 w 131"/>
              <a:gd name="T39" fmla="*/ 13 h 63"/>
              <a:gd name="T40" fmla="*/ 122 w 131"/>
              <a:gd name="T41" fmla="*/ 19 h 63"/>
              <a:gd name="T42" fmla="*/ 113 w 131"/>
              <a:gd name="T43" fmla="*/ 16 h 63"/>
              <a:gd name="T44" fmla="*/ 106 w 131"/>
              <a:gd name="T45" fmla="*/ 16 h 63"/>
              <a:gd name="T46" fmla="*/ 106 w 131"/>
              <a:gd name="T47" fmla="*/ 13 h 63"/>
              <a:gd name="T48" fmla="*/ 106 w 131"/>
              <a:gd name="T49" fmla="*/ 10 h 63"/>
              <a:gd name="T50" fmla="*/ 113 w 131"/>
              <a:gd name="T51" fmla="*/ 10 h 63"/>
              <a:gd name="T52" fmla="*/ 119 w 131"/>
              <a:gd name="T53" fmla="*/ 13 h 63"/>
              <a:gd name="T54" fmla="*/ 109 w 131"/>
              <a:gd name="T55" fmla="*/ 6 h 63"/>
              <a:gd name="T56" fmla="*/ 103 w 131"/>
              <a:gd name="T57" fmla="*/ 6 h 63"/>
              <a:gd name="T58" fmla="*/ 100 w 131"/>
              <a:gd name="T59" fmla="*/ 10 h 63"/>
              <a:gd name="T60" fmla="*/ 91 w 131"/>
              <a:gd name="T61" fmla="*/ 6 h 63"/>
              <a:gd name="T62" fmla="*/ 75 w 131"/>
              <a:gd name="T63" fmla="*/ 0 h 63"/>
              <a:gd name="T64" fmla="*/ 72 w 131"/>
              <a:gd name="T65" fmla="*/ 3 h 63"/>
              <a:gd name="T66" fmla="*/ 69 w 131"/>
              <a:gd name="T67" fmla="*/ 3 h 63"/>
              <a:gd name="T68" fmla="*/ 66 w 131"/>
              <a:gd name="T69" fmla="*/ 3 h 63"/>
              <a:gd name="T70" fmla="*/ 50 w 131"/>
              <a:gd name="T71" fmla="*/ 6 h 63"/>
              <a:gd name="T72" fmla="*/ 34 w 131"/>
              <a:gd name="T73" fmla="*/ 10 h 63"/>
              <a:gd name="T74" fmla="*/ 31 w 131"/>
              <a:gd name="T75" fmla="*/ 10 h 63"/>
              <a:gd name="T76" fmla="*/ 25 w 131"/>
              <a:gd name="T77" fmla="*/ 13 h 63"/>
              <a:gd name="T78" fmla="*/ 19 w 131"/>
              <a:gd name="T79" fmla="*/ 16 h 63"/>
              <a:gd name="T80" fmla="*/ 9 w 131"/>
              <a:gd name="T81" fmla="*/ 25 h 63"/>
              <a:gd name="T82" fmla="*/ 9 w 131"/>
              <a:gd name="T83" fmla="*/ 35 h 63"/>
              <a:gd name="T84" fmla="*/ 3 w 131"/>
              <a:gd name="T85" fmla="*/ 38 h 63"/>
              <a:gd name="T86" fmla="*/ 3 w 131"/>
              <a:gd name="T87" fmla="*/ 41 h 63"/>
              <a:gd name="T88" fmla="*/ 3 w 131"/>
              <a:gd name="T89" fmla="*/ 53 h 63"/>
              <a:gd name="T90" fmla="*/ 12 w 131"/>
              <a:gd name="T91" fmla="*/ 57 h 63"/>
              <a:gd name="T92" fmla="*/ 19 w 131"/>
              <a:gd name="T93" fmla="*/ 60 h 63"/>
              <a:gd name="T94" fmla="*/ 16 w 131"/>
              <a:gd name="T95" fmla="*/ 57 h 63"/>
              <a:gd name="T96" fmla="*/ 25 w 131"/>
              <a:gd name="T97" fmla="*/ 60 h 63"/>
              <a:gd name="T98" fmla="*/ 34 w 131"/>
              <a:gd name="T99" fmla="*/ 63 h 63"/>
              <a:gd name="T100" fmla="*/ 38 w 131"/>
              <a:gd name="T101" fmla="*/ 57 h 63"/>
              <a:gd name="T102" fmla="*/ 41 w 131"/>
              <a:gd name="T103" fmla="*/ 57 h 63"/>
              <a:gd name="T104" fmla="*/ 41 w 131"/>
              <a:gd name="T105" fmla="*/ 60 h 63"/>
              <a:gd name="T106" fmla="*/ 44 w 131"/>
              <a:gd name="T107" fmla="*/ 60 h 63"/>
              <a:gd name="T108" fmla="*/ 47 w 131"/>
              <a:gd name="T109"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1" h="63">
                <a:moveTo>
                  <a:pt x="47" y="63"/>
                </a:moveTo>
                <a:lnTo>
                  <a:pt x="50" y="63"/>
                </a:lnTo>
                <a:lnTo>
                  <a:pt x="53" y="63"/>
                </a:lnTo>
                <a:lnTo>
                  <a:pt x="56" y="60"/>
                </a:lnTo>
                <a:lnTo>
                  <a:pt x="56" y="53"/>
                </a:lnTo>
                <a:lnTo>
                  <a:pt x="56" y="50"/>
                </a:lnTo>
                <a:lnTo>
                  <a:pt x="56" y="47"/>
                </a:lnTo>
                <a:lnTo>
                  <a:pt x="63" y="47"/>
                </a:lnTo>
                <a:lnTo>
                  <a:pt x="69" y="44"/>
                </a:lnTo>
                <a:lnTo>
                  <a:pt x="72" y="44"/>
                </a:lnTo>
                <a:lnTo>
                  <a:pt x="75" y="47"/>
                </a:lnTo>
                <a:lnTo>
                  <a:pt x="75" y="47"/>
                </a:lnTo>
                <a:lnTo>
                  <a:pt x="78" y="47"/>
                </a:lnTo>
                <a:lnTo>
                  <a:pt x="81" y="44"/>
                </a:lnTo>
                <a:lnTo>
                  <a:pt x="84" y="44"/>
                </a:lnTo>
                <a:lnTo>
                  <a:pt x="88" y="38"/>
                </a:lnTo>
                <a:lnTo>
                  <a:pt x="91" y="38"/>
                </a:lnTo>
                <a:lnTo>
                  <a:pt x="91" y="35"/>
                </a:lnTo>
                <a:lnTo>
                  <a:pt x="94" y="32"/>
                </a:lnTo>
                <a:lnTo>
                  <a:pt x="97" y="32"/>
                </a:lnTo>
                <a:lnTo>
                  <a:pt x="97" y="28"/>
                </a:lnTo>
                <a:lnTo>
                  <a:pt x="100" y="28"/>
                </a:lnTo>
                <a:lnTo>
                  <a:pt x="103" y="28"/>
                </a:lnTo>
                <a:lnTo>
                  <a:pt x="103" y="32"/>
                </a:lnTo>
                <a:lnTo>
                  <a:pt x="106" y="32"/>
                </a:lnTo>
                <a:lnTo>
                  <a:pt x="109" y="32"/>
                </a:lnTo>
                <a:lnTo>
                  <a:pt x="109" y="28"/>
                </a:lnTo>
                <a:lnTo>
                  <a:pt x="113" y="28"/>
                </a:lnTo>
                <a:lnTo>
                  <a:pt x="116" y="25"/>
                </a:lnTo>
                <a:lnTo>
                  <a:pt x="119" y="25"/>
                </a:lnTo>
                <a:lnTo>
                  <a:pt x="119" y="22"/>
                </a:lnTo>
                <a:lnTo>
                  <a:pt x="122" y="22"/>
                </a:lnTo>
                <a:lnTo>
                  <a:pt x="125" y="22"/>
                </a:lnTo>
                <a:lnTo>
                  <a:pt x="125" y="22"/>
                </a:lnTo>
                <a:lnTo>
                  <a:pt x="128" y="22"/>
                </a:lnTo>
                <a:lnTo>
                  <a:pt x="131" y="22"/>
                </a:lnTo>
                <a:lnTo>
                  <a:pt x="131" y="22"/>
                </a:lnTo>
                <a:lnTo>
                  <a:pt x="131" y="19"/>
                </a:lnTo>
                <a:lnTo>
                  <a:pt x="125" y="16"/>
                </a:lnTo>
                <a:lnTo>
                  <a:pt x="122" y="13"/>
                </a:lnTo>
                <a:lnTo>
                  <a:pt x="122" y="13"/>
                </a:lnTo>
                <a:lnTo>
                  <a:pt x="122" y="19"/>
                </a:lnTo>
                <a:lnTo>
                  <a:pt x="119" y="16"/>
                </a:lnTo>
                <a:lnTo>
                  <a:pt x="113" y="16"/>
                </a:lnTo>
                <a:lnTo>
                  <a:pt x="113" y="16"/>
                </a:lnTo>
                <a:lnTo>
                  <a:pt x="106" y="16"/>
                </a:lnTo>
                <a:lnTo>
                  <a:pt x="103" y="16"/>
                </a:lnTo>
                <a:lnTo>
                  <a:pt x="106" y="13"/>
                </a:lnTo>
                <a:lnTo>
                  <a:pt x="106" y="13"/>
                </a:lnTo>
                <a:lnTo>
                  <a:pt x="106" y="10"/>
                </a:lnTo>
                <a:lnTo>
                  <a:pt x="109" y="10"/>
                </a:lnTo>
                <a:lnTo>
                  <a:pt x="113" y="10"/>
                </a:lnTo>
                <a:lnTo>
                  <a:pt x="119" y="13"/>
                </a:lnTo>
                <a:lnTo>
                  <a:pt x="119" y="13"/>
                </a:lnTo>
                <a:lnTo>
                  <a:pt x="116" y="10"/>
                </a:lnTo>
                <a:lnTo>
                  <a:pt x="109" y="6"/>
                </a:lnTo>
                <a:lnTo>
                  <a:pt x="106" y="6"/>
                </a:lnTo>
                <a:lnTo>
                  <a:pt x="103" y="6"/>
                </a:lnTo>
                <a:lnTo>
                  <a:pt x="100" y="6"/>
                </a:lnTo>
                <a:lnTo>
                  <a:pt x="100" y="10"/>
                </a:lnTo>
                <a:lnTo>
                  <a:pt x="97" y="6"/>
                </a:lnTo>
                <a:lnTo>
                  <a:pt x="91" y="6"/>
                </a:lnTo>
                <a:lnTo>
                  <a:pt x="81" y="6"/>
                </a:lnTo>
                <a:lnTo>
                  <a:pt x="75" y="0"/>
                </a:lnTo>
                <a:lnTo>
                  <a:pt x="72" y="0"/>
                </a:lnTo>
                <a:lnTo>
                  <a:pt x="72" y="3"/>
                </a:lnTo>
                <a:lnTo>
                  <a:pt x="72" y="3"/>
                </a:lnTo>
                <a:lnTo>
                  <a:pt x="69" y="3"/>
                </a:lnTo>
                <a:lnTo>
                  <a:pt x="69" y="6"/>
                </a:lnTo>
                <a:lnTo>
                  <a:pt x="66" y="3"/>
                </a:lnTo>
                <a:lnTo>
                  <a:pt x="59" y="6"/>
                </a:lnTo>
                <a:lnTo>
                  <a:pt x="50" y="6"/>
                </a:lnTo>
                <a:lnTo>
                  <a:pt x="38" y="6"/>
                </a:lnTo>
                <a:lnTo>
                  <a:pt x="34" y="10"/>
                </a:lnTo>
                <a:lnTo>
                  <a:pt x="31" y="6"/>
                </a:lnTo>
                <a:lnTo>
                  <a:pt x="31" y="10"/>
                </a:lnTo>
                <a:lnTo>
                  <a:pt x="28" y="10"/>
                </a:lnTo>
                <a:lnTo>
                  <a:pt x="25" y="13"/>
                </a:lnTo>
                <a:lnTo>
                  <a:pt x="22" y="16"/>
                </a:lnTo>
                <a:lnTo>
                  <a:pt x="19" y="16"/>
                </a:lnTo>
                <a:lnTo>
                  <a:pt x="12" y="22"/>
                </a:lnTo>
                <a:lnTo>
                  <a:pt x="9" y="25"/>
                </a:lnTo>
                <a:lnTo>
                  <a:pt x="9" y="28"/>
                </a:lnTo>
                <a:lnTo>
                  <a:pt x="9" y="35"/>
                </a:lnTo>
                <a:lnTo>
                  <a:pt x="3" y="38"/>
                </a:lnTo>
                <a:lnTo>
                  <a:pt x="3" y="38"/>
                </a:lnTo>
                <a:lnTo>
                  <a:pt x="3" y="41"/>
                </a:lnTo>
                <a:lnTo>
                  <a:pt x="3" y="41"/>
                </a:lnTo>
                <a:lnTo>
                  <a:pt x="0" y="50"/>
                </a:lnTo>
                <a:lnTo>
                  <a:pt x="3" y="53"/>
                </a:lnTo>
                <a:lnTo>
                  <a:pt x="3" y="53"/>
                </a:lnTo>
                <a:lnTo>
                  <a:pt x="12" y="57"/>
                </a:lnTo>
                <a:lnTo>
                  <a:pt x="19" y="60"/>
                </a:lnTo>
                <a:lnTo>
                  <a:pt x="19" y="60"/>
                </a:lnTo>
                <a:lnTo>
                  <a:pt x="16" y="57"/>
                </a:lnTo>
                <a:lnTo>
                  <a:pt x="16" y="57"/>
                </a:lnTo>
                <a:lnTo>
                  <a:pt x="22" y="57"/>
                </a:lnTo>
                <a:lnTo>
                  <a:pt x="25" y="60"/>
                </a:lnTo>
                <a:lnTo>
                  <a:pt x="25" y="63"/>
                </a:lnTo>
                <a:lnTo>
                  <a:pt x="34" y="63"/>
                </a:lnTo>
                <a:lnTo>
                  <a:pt x="38" y="60"/>
                </a:lnTo>
                <a:lnTo>
                  <a:pt x="38" y="57"/>
                </a:lnTo>
                <a:lnTo>
                  <a:pt x="38" y="57"/>
                </a:lnTo>
                <a:lnTo>
                  <a:pt x="41" y="57"/>
                </a:lnTo>
                <a:lnTo>
                  <a:pt x="41" y="60"/>
                </a:lnTo>
                <a:lnTo>
                  <a:pt x="41" y="60"/>
                </a:lnTo>
                <a:lnTo>
                  <a:pt x="44" y="57"/>
                </a:lnTo>
                <a:lnTo>
                  <a:pt x="44" y="60"/>
                </a:lnTo>
                <a:lnTo>
                  <a:pt x="44" y="60"/>
                </a:lnTo>
                <a:lnTo>
                  <a:pt x="47" y="63"/>
                </a:lnTo>
                <a:lnTo>
                  <a:pt x="47" y="63"/>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4" name="Freeform 182">
            <a:extLst>
              <a:ext uri="{FF2B5EF4-FFF2-40B4-BE49-F238E27FC236}">
                <a16:creationId xmlns:a16="http://schemas.microsoft.com/office/drawing/2014/main" id="{136970D4-DDC5-8DE8-F723-3FC854B763D5}"/>
              </a:ext>
            </a:extLst>
          </p:cNvPr>
          <p:cNvSpPr>
            <a:spLocks/>
          </p:cNvSpPr>
          <p:nvPr userDrawn="1"/>
        </p:nvSpPr>
        <p:spPr bwMode="auto">
          <a:xfrm>
            <a:off x="7613156" y="8463831"/>
            <a:ext cx="149216" cy="88902"/>
          </a:xfrm>
          <a:custGeom>
            <a:avLst/>
            <a:gdLst>
              <a:gd name="T0" fmla="*/ 15 w 47"/>
              <a:gd name="T1" fmla="*/ 0 h 28"/>
              <a:gd name="T2" fmla="*/ 18 w 47"/>
              <a:gd name="T3" fmla="*/ 0 h 28"/>
              <a:gd name="T4" fmla="*/ 21 w 47"/>
              <a:gd name="T5" fmla="*/ 0 h 28"/>
              <a:gd name="T6" fmla="*/ 21 w 47"/>
              <a:gd name="T7" fmla="*/ 3 h 28"/>
              <a:gd name="T8" fmla="*/ 25 w 47"/>
              <a:gd name="T9" fmla="*/ 3 h 28"/>
              <a:gd name="T10" fmla="*/ 28 w 47"/>
              <a:gd name="T11" fmla="*/ 3 h 28"/>
              <a:gd name="T12" fmla="*/ 31 w 47"/>
              <a:gd name="T13" fmla="*/ 3 h 28"/>
              <a:gd name="T14" fmla="*/ 34 w 47"/>
              <a:gd name="T15" fmla="*/ 6 h 28"/>
              <a:gd name="T16" fmla="*/ 34 w 47"/>
              <a:gd name="T17" fmla="*/ 9 h 28"/>
              <a:gd name="T18" fmla="*/ 37 w 47"/>
              <a:gd name="T19" fmla="*/ 12 h 28"/>
              <a:gd name="T20" fmla="*/ 37 w 47"/>
              <a:gd name="T21" fmla="*/ 9 h 28"/>
              <a:gd name="T22" fmla="*/ 40 w 47"/>
              <a:gd name="T23" fmla="*/ 6 h 28"/>
              <a:gd name="T24" fmla="*/ 43 w 47"/>
              <a:gd name="T25" fmla="*/ 6 h 28"/>
              <a:gd name="T26" fmla="*/ 43 w 47"/>
              <a:gd name="T27" fmla="*/ 6 h 28"/>
              <a:gd name="T28" fmla="*/ 47 w 47"/>
              <a:gd name="T29" fmla="*/ 9 h 28"/>
              <a:gd name="T30" fmla="*/ 47 w 47"/>
              <a:gd name="T31" fmla="*/ 12 h 28"/>
              <a:gd name="T32" fmla="*/ 47 w 47"/>
              <a:gd name="T33" fmla="*/ 15 h 28"/>
              <a:gd name="T34" fmla="*/ 47 w 47"/>
              <a:gd name="T35" fmla="*/ 15 h 28"/>
              <a:gd name="T36" fmla="*/ 47 w 47"/>
              <a:gd name="T37" fmla="*/ 18 h 28"/>
              <a:gd name="T38" fmla="*/ 47 w 47"/>
              <a:gd name="T39" fmla="*/ 22 h 28"/>
              <a:gd name="T40" fmla="*/ 47 w 47"/>
              <a:gd name="T41" fmla="*/ 22 h 28"/>
              <a:gd name="T42" fmla="*/ 47 w 47"/>
              <a:gd name="T43" fmla="*/ 25 h 28"/>
              <a:gd name="T44" fmla="*/ 43 w 47"/>
              <a:gd name="T45" fmla="*/ 28 h 28"/>
              <a:gd name="T46" fmla="*/ 34 w 47"/>
              <a:gd name="T47" fmla="*/ 28 h 28"/>
              <a:gd name="T48" fmla="*/ 34 w 47"/>
              <a:gd name="T49" fmla="*/ 25 h 28"/>
              <a:gd name="T50" fmla="*/ 31 w 47"/>
              <a:gd name="T51" fmla="*/ 22 h 28"/>
              <a:gd name="T52" fmla="*/ 25 w 47"/>
              <a:gd name="T53" fmla="*/ 22 h 28"/>
              <a:gd name="T54" fmla="*/ 25 w 47"/>
              <a:gd name="T55" fmla="*/ 22 h 28"/>
              <a:gd name="T56" fmla="*/ 28 w 47"/>
              <a:gd name="T57" fmla="*/ 25 h 28"/>
              <a:gd name="T58" fmla="*/ 28 w 47"/>
              <a:gd name="T59" fmla="*/ 25 h 28"/>
              <a:gd name="T60" fmla="*/ 21 w 47"/>
              <a:gd name="T61" fmla="*/ 22 h 28"/>
              <a:gd name="T62" fmla="*/ 12 w 47"/>
              <a:gd name="T63" fmla="*/ 18 h 28"/>
              <a:gd name="T64" fmla="*/ 12 w 47"/>
              <a:gd name="T65" fmla="*/ 18 h 28"/>
              <a:gd name="T66" fmla="*/ 6 w 47"/>
              <a:gd name="T67" fmla="*/ 18 h 28"/>
              <a:gd name="T68" fmla="*/ 3 w 47"/>
              <a:gd name="T69" fmla="*/ 15 h 28"/>
              <a:gd name="T70" fmla="*/ 0 w 47"/>
              <a:gd name="T71" fmla="*/ 15 h 28"/>
              <a:gd name="T72" fmla="*/ 0 w 47"/>
              <a:gd name="T73" fmla="*/ 15 h 28"/>
              <a:gd name="T74" fmla="*/ 0 w 47"/>
              <a:gd name="T75" fmla="*/ 12 h 28"/>
              <a:gd name="T76" fmla="*/ 0 w 47"/>
              <a:gd name="T77" fmla="*/ 12 h 28"/>
              <a:gd name="T78" fmla="*/ 3 w 47"/>
              <a:gd name="T79" fmla="*/ 6 h 28"/>
              <a:gd name="T80" fmla="*/ 9 w 47"/>
              <a:gd name="T81" fmla="*/ 6 h 28"/>
              <a:gd name="T82" fmla="*/ 12 w 47"/>
              <a:gd name="T83" fmla="*/ 6 h 28"/>
              <a:gd name="T84" fmla="*/ 12 w 47"/>
              <a:gd name="T85" fmla="*/ 3 h 28"/>
              <a:gd name="T86" fmla="*/ 15 w 47"/>
              <a:gd name="T8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 h="28">
                <a:moveTo>
                  <a:pt x="15" y="0"/>
                </a:moveTo>
                <a:lnTo>
                  <a:pt x="18" y="0"/>
                </a:lnTo>
                <a:lnTo>
                  <a:pt x="21" y="0"/>
                </a:lnTo>
                <a:lnTo>
                  <a:pt x="21" y="3"/>
                </a:lnTo>
                <a:lnTo>
                  <a:pt x="25" y="3"/>
                </a:lnTo>
                <a:lnTo>
                  <a:pt x="28" y="3"/>
                </a:lnTo>
                <a:lnTo>
                  <a:pt x="31" y="3"/>
                </a:lnTo>
                <a:lnTo>
                  <a:pt x="34" y="6"/>
                </a:lnTo>
                <a:lnTo>
                  <a:pt x="34" y="9"/>
                </a:lnTo>
                <a:lnTo>
                  <a:pt x="37" y="12"/>
                </a:lnTo>
                <a:lnTo>
                  <a:pt x="37" y="9"/>
                </a:lnTo>
                <a:lnTo>
                  <a:pt x="40" y="6"/>
                </a:lnTo>
                <a:lnTo>
                  <a:pt x="43" y="6"/>
                </a:lnTo>
                <a:lnTo>
                  <a:pt x="43" y="6"/>
                </a:lnTo>
                <a:lnTo>
                  <a:pt x="47" y="9"/>
                </a:lnTo>
                <a:lnTo>
                  <a:pt x="47" y="12"/>
                </a:lnTo>
                <a:lnTo>
                  <a:pt x="47" y="15"/>
                </a:lnTo>
                <a:lnTo>
                  <a:pt x="47" y="15"/>
                </a:lnTo>
                <a:lnTo>
                  <a:pt x="47" y="18"/>
                </a:lnTo>
                <a:lnTo>
                  <a:pt x="47" y="22"/>
                </a:lnTo>
                <a:lnTo>
                  <a:pt x="47" y="22"/>
                </a:lnTo>
                <a:lnTo>
                  <a:pt x="47" y="25"/>
                </a:lnTo>
                <a:lnTo>
                  <a:pt x="43" y="28"/>
                </a:lnTo>
                <a:lnTo>
                  <a:pt x="34" y="28"/>
                </a:lnTo>
                <a:lnTo>
                  <a:pt x="34" y="25"/>
                </a:lnTo>
                <a:lnTo>
                  <a:pt x="31" y="22"/>
                </a:lnTo>
                <a:lnTo>
                  <a:pt x="25" y="22"/>
                </a:lnTo>
                <a:lnTo>
                  <a:pt x="25" y="22"/>
                </a:lnTo>
                <a:lnTo>
                  <a:pt x="28" y="25"/>
                </a:lnTo>
                <a:lnTo>
                  <a:pt x="28" y="25"/>
                </a:lnTo>
                <a:lnTo>
                  <a:pt x="21" y="22"/>
                </a:lnTo>
                <a:lnTo>
                  <a:pt x="12" y="18"/>
                </a:lnTo>
                <a:lnTo>
                  <a:pt x="12" y="18"/>
                </a:lnTo>
                <a:lnTo>
                  <a:pt x="6" y="18"/>
                </a:lnTo>
                <a:lnTo>
                  <a:pt x="3" y="15"/>
                </a:lnTo>
                <a:lnTo>
                  <a:pt x="0" y="15"/>
                </a:lnTo>
                <a:lnTo>
                  <a:pt x="0" y="15"/>
                </a:lnTo>
                <a:lnTo>
                  <a:pt x="0" y="12"/>
                </a:lnTo>
                <a:lnTo>
                  <a:pt x="0" y="12"/>
                </a:lnTo>
                <a:lnTo>
                  <a:pt x="3" y="6"/>
                </a:lnTo>
                <a:lnTo>
                  <a:pt x="9" y="6"/>
                </a:lnTo>
                <a:lnTo>
                  <a:pt x="12" y="6"/>
                </a:lnTo>
                <a:lnTo>
                  <a:pt x="12" y="3"/>
                </a:lnTo>
                <a:lnTo>
                  <a:pt x="15"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5" name="Freeform 183">
            <a:extLst>
              <a:ext uri="{FF2B5EF4-FFF2-40B4-BE49-F238E27FC236}">
                <a16:creationId xmlns:a16="http://schemas.microsoft.com/office/drawing/2014/main" id="{842829A1-0C84-FE0B-C144-7F4FC36884E2}"/>
              </a:ext>
            </a:extLst>
          </p:cNvPr>
          <p:cNvSpPr>
            <a:spLocks/>
          </p:cNvSpPr>
          <p:nvPr userDrawn="1"/>
        </p:nvSpPr>
        <p:spPr bwMode="auto">
          <a:xfrm>
            <a:off x="7679823" y="8203487"/>
            <a:ext cx="69845" cy="158750"/>
          </a:xfrm>
          <a:custGeom>
            <a:avLst/>
            <a:gdLst>
              <a:gd name="T0" fmla="*/ 0 w 22"/>
              <a:gd name="T1" fmla="*/ 13 h 50"/>
              <a:gd name="T2" fmla="*/ 0 w 22"/>
              <a:gd name="T3" fmla="*/ 13 h 50"/>
              <a:gd name="T4" fmla="*/ 0 w 22"/>
              <a:gd name="T5" fmla="*/ 10 h 50"/>
              <a:gd name="T6" fmla="*/ 4 w 22"/>
              <a:gd name="T7" fmla="*/ 10 h 50"/>
              <a:gd name="T8" fmla="*/ 4 w 22"/>
              <a:gd name="T9" fmla="*/ 10 h 50"/>
              <a:gd name="T10" fmla="*/ 4 w 22"/>
              <a:gd name="T11" fmla="*/ 10 h 50"/>
              <a:gd name="T12" fmla="*/ 7 w 22"/>
              <a:gd name="T13" fmla="*/ 10 h 50"/>
              <a:gd name="T14" fmla="*/ 7 w 22"/>
              <a:gd name="T15" fmla="*/ 10 h 50"/>
              <a:gd name="T16" fmla="*/ 7 w 22"/>
              <a:gd name="T17" fmla="*/ 10 h 50"/>
              <a:gd name="T18" fmla="*/ 10 w 22"/>
              <a:gd name="T19" fmla="*/ 10 h 50"/>
              <a:gd name="T20" fmla="*/ 10 w 22"/>
              <a:gd name="T21" fmla="*/ 7 h 50"/>
              <a:gd name="T22" fmla="*/ 13 w 22"/>
              <a:gd name="T23" fmla="*/ 3 h 50"/>
              <a:gd name="T24" fmla="*/ 13 w 22"/>
              <a:gd name="T25" fmla="*/ 0 h 50"/>
              <a:gd name="T26" fmla="*/ 16 w 22"/>
              <a:gd name="T27" fmla="*/ 0 h 50"/>
              <a:gd name="T28" fmla="*/ 16 w 22"/>
              <a:gd name="T29" fmla="*/ 0 h 50"/>
              <a:gd name="T30" fmla="*/ 16 w 22"/>
              <a:gd name="T31" fmla="*/ 0 h 50"/>
              <a:gd name="T32" fmla="*/ 19 w 22"/>
              <a:gd name="T33" fmla="*/ 0 h 50"/>
              <a:gd name="T34" fmla="*/ 22 w 22"/>
              <a:gd name="T35" fmla="*/ 0 h 50"/>
              <a:gd name="T36" fmla="*/ 22 w 22"/>
              <a:gd name="T37" fmla="*/ 3 h 50"/>
              <a:gd name="T38" fmla="*/ 22 w 22"/>
              <a:gd name="T39" fmla="*/ 3 h 50"/>
              <a:gd name="T40" fmla="*/ 22 w 22"/>
              <a:gd name="T41" fmla="*/ 13 h 50"/>
              <a:gd name="T42" fmla="*/ 19 w 22"/>
              <a:gd name="T43" fmla="*/ 16 h 50"/>
              <a:gd name="T44" fmla="*/ 19 w 22"/>
              <a:gd name="T45" fmla="*/ 22 h 50"/>
              <a:gd name="T46" fmla="*/ 19 w 22"/>
              <a:gd name="T47" fmla="*/ 25 h 50"/>
              <a:gd name="T48" fmla="*/ 19 w 22"/>
              <a:gd name="T49" fmla="*/ 32 h 50"/>
              <a:gd name="T50" fmla="*/ 19 w 22"/>
              <a:gd name="T51" fmla="*/ 38 h 50"/>
              <a:gd name="T52" fmla="*/ 13 w 22"/>
              <a:gd name="T53" fmla="*/ 44 h 50"/>
              <a:gd name="T54" fmla="*/ 10 w 22"/>
              <a:gd name="T55" fmla="*/ 44 h 50"/>
              <a:gd name="T56" fmla="*/ 7 w 22"/>
              <a:gd name="T57" fmla="*/ 47 h 50"/>
              <a:gd name="T58" fmla="*/ 7 w 22"/>
              <a:gd name="T59" fmla="*/ 50 h 50"/>
              <a:gd name="T60" fmla="*/ 7 w 22"/>
              <a:gd name="T61" fmla="*/ 50 h 50"/>
              <a:gd name="T62" fmla="*/ 4 w 22"/>
              <a:gd name="T63" fmla="*/ 50 h 50"/>
              <a:gd name="T64" fmla="*/ 0 w 22"/>
              <a:gd name="T65" fmla="*/ 50 h 50"/>
              <a:gd name="T66" fmla="*/ 0 w 22"/>
              <a:gd name="T67" fmla="*/ 50 h 50"/>
              <a:gd name="T68" fmla="*/ 0 w 22"/>
              <a:gd name="T69" fmla="*/ 13 h 50"/>
              <a:gd name="T70" fmla="*/ 0 w 22"/>
              <a:gd name="T71" fmla="*/ 1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 h="50">
                <a:moveTo>
                  <a:pt x="0" y="13"/>
                </a:moveTo>
                <a:lnTo>
                  <a:pt x="0" y="13"/>
                </a:lnTo>
                <a:lnTo>
                  <a:pt x="0" y="10"/>
                </a:lnTo>
                <a:lnTo>
                  <a:pt x="4" y="10"/>
                </a:lnTo>
                <a:lnTo>
                  <a:pt x="4" y="10"/>
                </a:lnTo>
                <a:lnTo>
                  <a:pt x="4" y="10"/>
                </a:lnTo>
                <a:lnTo>
                  <a:pt x="7" y="10"/>
                </a:lnTo>
                <a:lnTo>
                  <a:pt x="7" y="10"/>
                </a:lnTo>
                <a:lnTo>
                  <a:pt x="7" y="10"/>
                </a:lnTo>
                <a:lnTo>
                  <a:pt x="10" y="10"/>
                </a:lnTo>
                <a:lnTo>
                  <a:pt x="10" y="7"/>
                </a:lnTo>
                <a:lnTo>
                  <a:pt x="13" y="3"/>
                </a:lnTo>
                <a:lnTo>
                  <a:pt x="13" y="0"/>
                </a:lnTo>
                <a:lnTo>
                  <a:pt x="16" y="0"/>
                </a:lnTo>
                <a:lnTo>
                  <a:pt x="16" y="0"/>
                </a:lnTo>
                <a:lnTo>
                  <a:pt x="16" y="0"/>
                </a:lnTo>
                <a:lnTo>
                  <a:pt x="19" y="0"/>
                </a:lnTo>
                <a:lnTo>
                  <a:pt x="22" y="0"/>
                </a:lnTo>
                <a:lnTo>
                  <a:pt x="22" y="3"/>
                </a:lnTo>
                <a:lnTo>
                  <a:pt x="22" y="3"/>
                </a:lnTo>
                <a:lnTo>
                  <a:pt x="22" y="13"/>
                </a:lnTo>
                <a:lnTo>
                  <a:pt x="19" y="16"/>
                </a:lnTo>
                <a:lnTo>
                  <a:pt x="19" y="22"/>
                </a:lnTo>
                <a:lnTo>
                  <a:pt x="19" y="25"/>
                </a:lnTo>
                <a:lnTo>
                  <a:pt x="19" y="32"/>
                </a:lnTo>
                <a:lnTo>
                  <a:pt x="19" y="38"/>
                </a:lnTo>
                <a:lnTo>
                  <a:pt x="13" y="44"/>
                </a:lnTo>
                <a:lnTo>
                  <a:pt x="10" y="44"/>
                </a:lnTo>
                <a:lnTo>
                  <a:pt x="7" y="47"/>
                </a:lnTo>
                <a:lnTo>
                  <a:pt x="7" y="50"/>
                </a:lnTo>
                <a:lnTo>
                  <a:pt x="7" y="50"/>
                </a:lnTo>
                <a:lnTo>
                  <a:pt x="4" y="50"/>
                </a:lnTo>
                <a:lnTo>
                  <a:pt x="0" y="50"/>
                </a:lnTo>
                <a:lnTo>
                  <a:pt x="0" y="50"/>
                </a:lnTo>
                <a:lnTo>
                  <a:pt x="0" y="13"/>
                </a:lnTo>
                <a:lnTo>
                  <a:pt x="0" y="13"/>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6" name="Freeform 184">
            <a:extLst>
              <a:ext uri="{FF2B5EF4-FFF2-40B4-BE49-F238E27FC236}">
                <a16:creationId xmlns:a16="http://schemas.microsoft.com/office/drawing/2014/main" id="{093E5B98-960C-44A8-A13C-9269B6DFAD16}"/>
              </a:ext>
            </a:extLst>
          </p:cNvPr>
          <p:cNvSpPr>
            <a:spLocks/>
          </p:cNvSpPr>
          <p:nvPr userDrawn="1"/>
        </p:nvSpPr>
        <p:spPr bwMode="auto">
          <a:xfrm>
            <a:off x="7482983" y="8244761"/>
            <a:ext cx="257159" cy="266702"/>
          </a:xfrm>
          <a:custGeom>
            <a:avLst/>
            <a:gdLst>
              <a:gd name="T0" fmla="*/ 41 w 81"/>
              <a:gd name="T1" fmla="*/ 84 h 84"/>
              <a:gd name="T2" fmla="*/ 41 w 81"/>
              <a:gd name="T3" fmla="*/ 81 h 84"/>
              <a:gd name="T4" fmla="*/ 41 w 81"/>
              <a:gd name="T5" fmla="*/ 81 h 84"/>
              <a:gd name="T6" fmla="*/ 44 w 81"/>
              <a:gd name="T7" fmla="*/ 75 h 84"/>
              <a:gd name="T8" fmla="*/ 50 w 81"/>
              <a:gd name="T9" fmla="*/ 75 h 84"/>
              <a:gd name="T10" fmla="*/ 53 w 81"/>
              <a:gd name="T11" fmla="*/ 75 h 84"/>
              <a:gd name="T12" fmla="*/ 53 w 81"/>
              <a:gd name="T13" fmla="*/ 72 h 84"/>
              <a:gd name="T14" fmla="*/ 59 w 81"/>
              <a:gd name="T15" fmla="*/ 69 h 84"/>
              <a:gd name="T16" fmla="*/ 59 w 81"/>
              <a:gd name="T17" fmla="*/ 62 h 84"/>
              <a:gd name="T18" fmla="*/ 59 w 81"/>
              <a:gd name="T19" fmla="*/ 59 h 84"/>
              <a:gd name="T20" fmla="*/ 62 w 81"/>
              <a:gd name="T21" fmla="*/ 56 h 84"/>
              <a:gd name="T22" fmla="*/ 69 w 81"/>
              <a:gd name="T23" fmla="*/ 50 h 84"/>
              <a:gd name="T24" fmla="*/ 72 w 81"/>
              <a:gd name="T25" fmla="*/ 50 h 84"/>
              <a:gd name="T26" fmla="*/ 75 w 81"/>
              <a:gd name="T27" fmla="*/ 47 h 84"/>
              <a:gd name="T28" fmla="*/ 78 w 81"/>
              <a:gd name="T29" fmla="*/ 44 h 84"/>
              <a:gd name="T30" fmla="*/ 81 w 81"/>
              <a:gd name="T31" fmla="*/ 44 h 84"/>
              <a:gd name="T32" fmla="*/ 81 w 81"/>
              <a:gd name="T33" fmla="*/ 40 h 84"/>
              <a:gd name="T34" fmla="*/ 78 w 81"/>
              <a:gd name="T35" fmla="*/ 40 h 84"/>
              <a:gd name="T36" fmla="*/ 75 w 81"/>
              <a:gd name="T37" fmla="*/ 40 h 84"/>
              <a:gd name="T38" fmla="*/ 75 w 81"/>
              <a:gd name="T39" fmla="*/ 40 h 84"/>
              <a:gd name="T40" fmla="*/ 72 w 81"/>
              <a:gd name="T41" fmla="*/ 40 h 84"/>
              <a:gd name="T42" fmla="*/ 69 w 81"/>
              <a:gd name="T43" fmla="*/ 40 h 84"/>
              <a:gd name="T44" fmla="*/ 69 w 81"/>
              <a:gd name="T45" fmla="*/ 37 h 84"/>
              <a:gd name="T46" fmla="*/ 66 w 81"/>
              <a:gd name="T47" fmla="*/ 37 h 84"/>
              <a:gd name="T48" fmla="*/ 62 w 81"/>
              <a:gd name="T49" fmla="*/ 37 h 84"/>
              <a:gd name="T50" fmla="*/ 62 w 81"/>
              <a:gd name="T51" fmla="*/ 37 h 84"/>
              <a:gd name="T52" fmla="*/ 62 w 81"/>
              <a:gd name="T53" fmla="*/ 0 h 84"/>
              <a:gd name="T54" fmla="*/ 62 w 81"/>
              <a:gd name="T55" fmla="*/ 0 h 84"/>
              <a:gd name="T56" fmla="*/ 28 w 81"/>
              <a:gd name="T57" fmla="*/ 0 h 84"/>
              <a:gd name="T58" fmla="*/ 28 w 81"/>
              <a:gd name="T59" fmla="*/ 9 h 84"/>
              <a:gd name="T60" fmla="*/ 19 w 81"/>
              <a:gd name="T61" fmla="*/ 9 h 84"/>
              <a:gd name="T62" fmla="*/ 22 w 81"/>
              <a:gd name="T63" fmla="*/ 12 h 84"/>
              <a:gd name="T64" fmla="*/ 22 w 81"/>
              <a:gd name="T65" fmla="*/ 15 h 84"/>
              <a:gd name="T66" fmla="*/ 25 w 81"/>
              <a:gd name="T67" fmla="*/ 19 h 84"/>
              <a:gd name="T68" fmla="*/ 28 w 81"/>
              <a:gd name="T69" fmla="*/ 22 h 84"/>
              <a:gd name="T70" fmla="*/ 31 w 81"/>
              <a:gd name="T71" fmla="*/ 22 h 84"/>
              <a:gd name="T72" fmla="*/ 31 w 81"/>
              <a:gd name="T73" fmla="*/ 25 h 84"/>
              <a:gd name="T74" fmla="*/ 34 w 81"/>
              <a:gd name="T75" fmla="*/ 25 h 84"/>
              <a:gd name="T76" fmla="*/ 34 w 81"/>
              <a:gd name="T77" fmla="*/ 28 h 84"/>
              <a:gd name="T78" fmla="*/ 37 w 81"/>
              <a:gd name="T79" fmla="*/ 28 h 84"/>
              <a:gd name="T80" fmla="*/ 41 w 81"/>
              <a:gd name="T81" fmla="*/ 28 h 84"/>
              <a:gd name="T82" fmla="*/ 41 w 81"/>
              <a:gd name="T83" fmla="*/ 31 h 84"/>
              <a:gd name="T84" fmla="*/ 37 w 81"/>
              <a:gd name="T85" fmla="*/ 34 h 84"/>
              <a:gd name="T86" fmla="*/ 12 w 81"/>
              <a:gd name="T87" fmla="*/ 34 h 84"/>
              <a:gd name="T88" fmla="*/ 0 w 81"/>
              <a:gd name="T89" fmla="*/ 53 h 84"/>
              <a:gd name="T90" fmla="*/ 0 w 81"/>
              <a:gd name="T91" fmla="*/ 56 h 84"/>
              <a:gd name="T92" fmla="*/ 3 w 81"/>
              <a:gd name="T93" fmla="*/ 56 h 84"/>
              <a:gd name="T94" fmla="*/ 0 w 81"/>
              <a:gd name="T95" fmla="*/ 59 h 84"/>
              <a:gd name="T96" fmla="*/ 3 w 81"/>
              <a:gd name="T97" fmla="*/ 59 h 84"/>
              <a:gd name="T98" fmla="*/ 3 w 81"/>
              <a:gd name="T99" fmla="*/ 62 h 84"/>
              <a:gd name="T100" fmla="*/ 3 w 81"/>
              <a:gd name="T101" fmla="*/ 62 h 84"/>
              <a:gd name="T102" fmla="*/ 0 w 81"/>
              <a:gd name="T103" fmla="*/ 66 h 84"/>
              <a:gd name="T104" fmla="*/ 0 w 81"/>
              <a:gd name="T105" fmla="*/ 66 h 84"/>
              <a:gd name="T106" fmla="*/ 0 w 81"/>
              <a:gd name="T107" fmla="*/ 66 h 84"/>
              <a:gd name="T108" fmla="*/ 3 w 81"/>
              <a:gd name="T109" fmla="*/ 72 h 84"/>
              <a:gd name="T110" fmla="*/ 6 w 81"/>
              <a:gd name="T111" fmla="*/ 75 h 84"/>
              <a:gd name="T112" fmla="*/ 9 w 81"/>
              <a:gd name="T113" fmla="*/ 75 h 84"/>
              <a:gd name="T114" fmla="*/ 9 w 81"/>
              <a:gd name="T115" fmla="*/ 78 h 84"/>
              <a:gd name="T116" fmla="*/ 22 w 81"/>
              <a:gd name="T117" fmla="*/ 81 h 84"/>
              <a:gd name="T118" fmla="*/ 28 w 81"/>
              <a:gd name="T119" fmla="*/ 81 h 84"/>
              <a:gd name="T120" fmla="*/ 31 w 81"/>
              <a:gd name="T121" fmla="*/ 81 h 84"/>
              <a:gd name="T122" fmla="*/ 41 w 81"/>
              <a:gd name="T12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 h="84">
                <a:moveTo>
                  <a:pt x="41" y="84"/>
                </a:moveTo>
                <a:lnTo>
                  <a:pt x="41" y="81"/>
                </a:lnTo>
                <a:lnTo>
                  <a:pt x="41" y="81"/>
                </a:lnTo>
                <a:lnTo>
                  <a:pt x="44" y="75"/>
                </a:lnTo>
                <a:lnTo>
                  <a:pt x="50" y="75"/>
                </a:lnTo>
                <a:lnTo>
                  <a:pt x="53" y="75"/>
                </a:lnTo>
                <a:lnTo>
                  <a:pt x="53" y="72"/>
                </a:lnTo>
                <a:lnTo>
                  <a:pt x="59" y="69"/>
                </a:lnTo>
                <a:lnTo>
                  <a:pt x="59" y="62"/>
                </a:lnTo>
                <a:lnTo>
                  <a:pt x="59" y="59"/>
                </a:lnTo>
                <a:lnTo>
                  <a:pt x="62" y="56"/>
                </a:lnTo>
                <a:lnTo>
                  <a:pt x="69" y="50"/>
                </a:lnTo>
                <a:lnTo>
                  <a:pt x="72" y="50"/>
                </a:lnTo>
                <a:lnTo>
                  <a:pt x="75" y="47"/>
                </a:lnTo>
                <a:lnTo>
                  <a:pt x="78" y="44"/>
                </a:lnTo>
                <a:lnTo>
                  <a:pt x="81" y="44"/>
                </a:lnTo>
                <a:lnTo>
                  <a:pt x="81" y="40"/>
                </a:lnTo>
                <a:lnTo>
                  <a:pt x="78" y="40"/>
                </a:lnTo>
                <a:lnTo>
                  <a:pt x="75" y="40"/>
                </a:lnTo>
                <a:lnTo>
                  <a:pt x="75" y="40"/>
                </a:lnTo>
                <a:lnTo>
                  <a:pt x="72" y="40"/>
                </a:lnTo>
                <a:lnTo>
                  <a:pt x="69" y="40"/>
                </a:lnTo>
                <a:lnTo>
                  <a:pt x="69" y="37"/>
                </a:lnTo>
                <a:lnTo>
                  <a:pt x="66" y="37"/>
                </a:lnTo>
                <a:lnTo>
                  <a:pt x="62" y="37"/>
                </a:lnTo>
                <a:lnTo>
                  <a:pt x="62" y="37"/>
                </a:lnTo>
                <a:lnTo>
                  <a:pt x="62" y="0"/>
                </a:lnTo>
                <a:lnTo>
                  <a:pt x="62" y="0"/>
                </a:lnTo>
                <a:lnTo>
                  <a:pt x="28" y="0"/>
                </a:lnTo>
                <a:lnTo>
                  <a:pt x="28" y="9"/>
                </a:lnTo>
                <a:lnTo>
                  <a:pt x="19" y="9"/>
                </a:lnTo>
                <a:lnTo>
                  <a:pt x="22" y="12"/>
                </a:lnTo>
                <a:lnTo>
                  <a:pt x="22" y="15"/>
                </a:lnTo>
                <a:lnTo>
                  <a:pt x="25" y="19"/>
                </a:lnTo>
                <a:lnTo>
                  <a:pt x="28" y="22"/>
                </a:lnTo>
                <a:lnTo>
                  <a:pt x="31" y="22"/>
                </a:lnTo>
                <a:lnTo>
                  <a:pt x="31" y="25"/>
                </a:lnTo>
                <a:lnTo>
                  <a:pt x="34" y="25"/>
                </a:lnTo>
                <a:lnTo>
                  <a:pt x="34" y="28"/>
                </a:lnTo>
                <a:lnTo>
                  <a:pt x="37" y="28"/>
                </a:lnTo>
                <a:lnTo>
                  <a:pt x="41" y="28"/>
                </a:lnTo>
                <a:lnTo>
                  <a:pt x="41" y="31"/>
                </a:lnTo>
                <a:lnTo>
                  <a:pt x="37" y="34"/>
                </a:lnTo>
                <a:lnTo>
                  <a:pt x="12" y="34"/>
                </a:lnTo>
                <a:lnTo>
                  <a:pt x="0" y="53"/>
                </a:lnTo>
                <a:lnTo>
                  <a:pt x="0" y="56"/>
                </a:lnTo>
                <a:lnTo>
                  <a:pt x="3" y="56"/>
                </a:lnTo>
                <a:lnTo>
                  <a:pt x="0" y="59"/>
                </a:lnTo>
                <a:lnTo>
                  <a:pt x="3" y="59"/>
                </a:lnTo>
                <a:lnTo>
                  <a:pt x="3" y="62"/>
                </a:lnTo>
                <a:lnTo>
                  <a:pt x="3" y="62"/>
                </a:lnTo>
                <a:lnTo>
                  <a:pt x="0" y="66"/>
                </a:lnTo>
                <a:lnTo>
                  <a:pt x="0" y="66"/>
                </a:lnTo>
                <a:lnTo>
                  <a:pt x="0" y="66"/>
                </a:lnTo>
                <a:lnTo>
                  <a:pt x="3" y="72"/>
                </a:lnTo>
                <a:lnTo>
                  <a:pt x="6" y="75"/>
                </a:lnTo>
                <a:lnTo>
                  <a:pt x="9" y="75"/>
                </a:lnTo>
                <a:lnTo>
                  <a:pt x="9" y="78"/>
                </a:lnTo>
                <a:lnTo>
                  <a:pt x="22" y="81"/>
                </a:lnTo>
                <a:lnTo>
                  <a:pt x="28" y="81"/>
                </a:lnTo>
                <a:lnTo>
                  <a:pt x="31" y="81"/>
                </a:lnTo>
                <a:lnTo>
                  <a:pt x="41" y="84"/>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7" name="Freeform 185">
            <a:extLst>
              <a:ext uri="{FF2B5EF4-FFF2-40B4-BE49-F238E27FC236}">
                <a16:creationId xmlns:a16="http://schemas.microsoft.com/office/drawing/2014/main" id="{2FA0F238-30F0-6052-AD94-219AC3ED2BDC}"/>
              </a:ext>
            </a:extLst>
          </p:cNvPr>
          <p:cNvSpPr>
            <a:spLocks noEditPoints="1"/>
          </p:cNvSpPr>
          <p:nvPr userDrawn="1"/>
        </p:nvSpPr>
        <p:spPr bwMode="auto">
          <a:xfrm>
            <a:off x="6073378" y="7130332"/>
            <a:ext cx="1787410" cy="1323976"/>
          </a:xfrm>
          <a:custGeom>
            <a:avLst/>
            <a:gdLst>
              <a:gd name="T0" fmla="*/ 213 w 563"/>
              <a:gd name="T1" fmla="*/ 41 h 417"/>
              <a:gd name="T2" fmla="*/ 228 w 563"/>
              <a:gd name="T3" fmla="*/ 57 h 417"/>
              <a:gd name="T4" fmla="*/ 235 w 563"/>
              <a:gd name="T5" fmla="*/ 82 h 417"/>
              <a:gd name="T6" fmla="*/ 250 w 563"/>
              <a:gd name="T7" fmla="*/ 94 h 417"/>
              <a:gd name="T8" fmla="*/ 269 w 563"/>
              <a:gd name="T9" fmla="*/ 91 h 417"/>
              <a:gd name="T10" fmla="*/ 291 w 563"/>
              <a:gd name="T11" fmla="*/ 79 h 417"/>
              <a:gd name="T12" fmla="*/ 313 w 563"/>
              <a:gd name="T13" fmla="*/ 107 h 417"/>
              <a:gd name="T14" fmla="*/ 328 w 563"/>
              <a:gd name="T15" fmla="*/ 141 h 417"/>
              <a:gd name="T16" fmla="*/ 350 w 563"/>
              <a:gd name="T17" fmla="*/ 169 h 417"/>
              <a:gd name="T18" fmla="*/ 366 w 563"/>
              <a:gd name="T19" fmla="*/ 176 h 417"/>
              <a:gd name="T20" fmla="*/ 356 w 563"/>
              <a:gd name="T21" fmla="*/ 194 h 417"/>
              <a:gd name="T22" fmla="*/ 347 w 563"/>
              <a:gd name="T23" fmla="*/ 248 h 417"/>
              <a:gd name="T24" fmla="*/ 353 w 563"/>
              <a:gd name="T25" fmla="*/ 279 h 417"/>
              <a:gd name="T26" fmla="*/ 385 w 563"/>
              <a:gd name="T27" fmla="*/ 329 h 417"/>
              <a:gd name="T28" fmla="*/ 428 w 563"/>
              <a:gd name="T29" fmla="*/ 335 h 417"/>
              <a:gd name="T30" fmla="*/ 463 w 563"/>
              <a:gd name="T31" fmla="*/ 341 h 417"/>
              <a:gd name="T32" fmla="*/ 481 w 563"/>
              <a:gd name="T33" fmla="*/ 310 h 417"/>
              <a:gd name="T34" fmla="*/ 532 w 563"/>
              <a:gd name="T35" fmla="*/ 273 h 417"/>
              <a:gd name="T36" fmla="*/ 557 w 563"/>
              <a:gd name="T37" fmla="*/ 291 h 417"/>
              <a:gd name="T38" fmla="*/ 541 w 563"/>
              <a:gd name="T39" fmla="*/ 323 h 417"/>
              <a:gd name="T40" fmla="*/ 532 w 563"/>
              <a:gd name="T41" fmla="*/ 329 h 417"/>
              <a:gd name="T42" fmla="*/ 513 w 563"/>
              <a:gd name="T43" fmla="*/ 348 h 417"/>
              <a:gd name="T44" fmla="*/ 466 w 563"/>
              <a:gd name="T45" fmla="*/ 366 h 417"/>
              <a:gd name="T46" fmla="*/ 456 w 563"/>
              <a:gd name="T47" fmla="*/ 385 h 417"/>
              <a:gd name="T48" fmla="*/ 441 w 563"/>
              <a:gd name="T49" fmla="*/ 413 h 417"/>
              <a:gd name="T50" fmla="*/ 403 w 563"/>
              <a:gd name="T51" fmla="*/ 382 h 417"/>
              <a:gd name="T52" fmla="*/ 400 w 563"/>
              <a:gd name="T53" fmla="*/ 382 h 417"/>
              <a:gd name="T54" fmla="*/ 394 w 563"/>
              <a:gd name="T55" fmla="*/ 385 h 417"/>
              <a:gd name="T56" fmla="*/ 328 w 563"/>
              <a:gd name="T57" fmla="*/ 382 h 417"/>
              <a:gd name="T58" fmla="*/ 285 w 563"/>
              <a:gd name="T59" fmla="*/ 366 h 417"/>
              <a:gd name="T60" fmla="*/ 238 w 563"/>
              <a:gd name="T61" fmla="*/ 341 h 417"/>
              <a:gd name="T62" fmla="*/ 203 w 563"/>
              <a:gd name="T63" fmla="*/ 320 h 417"/>
              <a:gd name="T64" fmla="*/ 194 w 563"/>
              <a:gd name="T65" fmla="*/ 291 h 417"/>
              <a:gd name="T66" fmla="*/ 194 w 563"/>
              <a:gd name="T67" fmla="*/ 251 h 417"/>
              <a:gd name="T68" fmla="*/ 150 w 563"/>
              <a:gd name="T69" fmla="*/ 198 h 417"/>
              <a:gd name="T70" fmla="*/ 131 w 563"/>
              <a:gd name="T71" fmla="*/ 176 h 417"/>
              <a:gd name="T72" fmla="*/ 131 w 563"/>
              <a:gd name="T73" fmla="*/ 154 h 417"/>
              <a:gd name="T74" fmla="*/ 110 w 563"/>
              <a:gd name="T75" fmla="*/ 126 h 417"/>
              <a:gd name="T76" fmla="*/ 91 w 563"/>
              <a:gd name="T77" fmla="*/ 104 h 417"/>
              <a:gd name="T78" fmla="*/ 75 w 563"/>
              <a:gd name="T79" fmla="*/ 69 h 417"/>
              <a:gd name="T80" fmla="*/ 66 w 563"/>
              <a:gd name="T81" fmla="*/ 35 h 417"/>
              <a:gd name="T82" fmla="*/ 41 w 563"/>
              <a:gd name="T83" fmla="*/ 38 h 417"/>
              <a:gd name="T84" fmla="*/ 56 w 563"/>
              <a:gd name="T85" fmla="*/ 91 h 417"/>
              <a:gd name="T86" fmla="*/ 75 w 563"/>
              <a:gd name="T87" fmla="*/ 122 h 417"/>
              <a:gd name="T88" fmla="*/ 88 w 563"/>
              <a:gd name="T89" fmla="*/ 144 h 417"/>
              <a:gd name="T90" fmla="*/ 97 w 563"/>
              <a:gd name="T91" fmla="*/ 182 h 417"/>
              <a:gd name="T92" fmla="*/ 106 w 563"/>
              <a:gd name="T93" fmla="*/ 204 h 417"/>
              <a:gd name="T94" fmla="*/ 113 w 563"/>
              <a:gd name="T95" fmla="*/ 235 h 417"/>
              <a:gd name="T96" fmla="*/ 85 w 563"/>
              <a:gd name="T97" fmla="*/ 201 h 417"/>
              <a:gd name="T98" fmla="*/ 72 w 563"/>
              <a:gd name="T99" fmla="*/ 157 h 417"/>
              <a:gd name="T100" fmla="*/ 47 w 563"/>
              <a:gd name="T101" fmla="*/ 141 h 417"/>
              <a:gd name="T102" fmla="*/ 31 w 563"/>
              <a:gd name="T103" fmla="*/ 119 h 417"/>
              <a:gd name="T104" fmla="*/ 44 w 563"/>
              <a:gd name="T105" fmla="*/ 110 h 417"/>
              <a:gd name="T106" fmla="*/ 22 w 563"/>
              <a:gd name="T107" fmla="*/ 72 h 417"/>
              <a:gd name="T108" fmla="*/ 13 w 563"/>
              <a:gd name="T109" fmla="*/ 38 h 417"/>
              <a:gd name="T110" fmla="*/ 103 w 563"/>
              <a:gd name="T111" fmla="*/ 188 h 417"/>
              <a:gd name="T112" fmla="*/ 106 w 563"/>
              <a:gd name="T113" fmla="*/ 201 h 417"/>
              <a:gd name="T114" fmla="*/ 356 w 563"/>
              <a:gd name="T115" fmla="*/ 194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63" h="417">
                <a:moveTo>
                  <a:pt x="0" y="4"/>
                </a:moveTo>
                <a:lnTo>
                  <a:pt x="47" y="0"/>
                </a:lnTo>
                <a:lnTo>
                  <a:pt x="50" y="4"/>
                </a:lnTo>
                <a:lnTo>
                  <a:pt x="47" y="4"/>
                </a:lnTo>
                <a:lnTo>
                  <a:pt x="116" y="35"/>
                </a:lnTo>
                <a:lnTo>
                  <a:pt x="172" y="38"/>
                </a:lnTo>
                <a:lnTo>
                  <a:pt x="172" y="29"/>
                </a:lnTo>
                <a:lnTo>
                  <a:pt x="203" y="32"/>
                </a:lnTo>
                <a:lnTo>
                  <a:pt x="206" y="32"/>
                </a:lnTo>
                <a:lnTo>
                  <a:pt x="210" y="38"/>
                </a:lnTo>
                <a:lnTo>
                  <a:pt x="213" y="41"/>
                </a:lnTo>
                <a:lnTo>
                  <a:pt x="213" y="41"/>
                </a:lnTo>
                <a:lnTo>
                  <a:pt x="213" y="41"/>
                </a:lnTo>
                <a:lnTo>
                  <a:pt x="216" y="44"/>
                </a:lnTo>
                <a:lnTo>
                  <a:pt x="216" y="47"/>
                </a:lnTo>
                <a:lnTo>
                  <a:pt x="219" y="47"/>
                </a:lnTo>
                <a:lnTo>
                  <a:pt x="222" y="51"/>
                </a:lnTo>
                <a:lnTo>
                  <a:pt x="222" y="51"/>
                </a:lnTo>
                <a:lnTo>
                  <a:pt x="219" y="54"/>
                </a:lnTo>
                <a:lnTo>
                  <a:pt x="222" y="54"/>
                </a:lnTo>
                <a:lnTo>
                  <a:pt x="225" y="57"/>
                </a:lnTo>
                <a:lnTo>
                  <a:pt x="228" y="57"/>
                </a:lnTo>
                <a:lnTo>
                  <a:pt x="228" y="63"/>
                </a:lnTo>
                <a:lnTo>
                  <a:pt x="228" y="63"/>
                </a:lnTo>
                <a:lnTo>
                  <a:pt x="228" y="63"/>
                </a:lnTo>
                <a:lnTo>
                  <a:pt x="231" y="66"/>
                </a:lnTo>
                <a:lnTo>
                  <a:pt x="231" y="69"/>
                </a:lnTo>
                <a:lnTo>
                  <a:pt x="231" y="72"/>
                </a:lnTo>
                <a:lnTo>
                  <a:pt x="231" y="72"/>
                </a:lnTo>
                <a:lnTo>
                  <a:pt x="228" y="72"/>
                </a:lnTo>
                <a:lnTo>
                  <a:pt x="228" y="72"/>
                </a:lnTo>
                <a:lnTo>
                  <a:pt x="231" y="79"/>
                </a:lnTo>
                <a:lnTo>
                  <a:pt x="235" y="82"/>
                </a:lnTo>
                <a:lnTo>
                  <a:pt x="238" y="85"/>
                </a:lnTo>
                <a:lnTo>
                  <a:pt x="238" y="85"/>
                </a:lnTo>
                <a:lnTo>
                  <a:pt x="238" y="85"/>
                </a:lnTo>
                <a:lnTo>
                  <a:pt x="238" y="85"/>
                </a:lnTo>
                <a:lnTo>
                  <a:pt x="241" y="85"/>
                </a:lnTo>
                <a:lnTo>
                  <a:pt x="241" y="88"/>
                </a:lnTo>
                <a:lnTo>
                  <a:pt x="244" y="88"/>
                </a:lnTo>
                <a:lnTo>
                  <a:pt x="244" y="91"/>
                </a:lnTo>
                <a:lnTo>
                  <a:pt x="244" y="91"/>
                </a:lnTo>
                <a:lnTo>
                  <a:pt x="247" y="91"/>
                </a:lnTo>
                <a:lnTo>
                  <a:pt x="250" y="94"/>
                </a:lnTo>
                <a:lnTo>
                  <a:pt x="250" y="94"/>
                </a:lnTo>
                <a:lnTo>
                  <a:pt x="253" y="94"/>
                </a:lnTo>
                <a:lnTo>
                  <a:pt x="260" y="97"/>
                </a:lnTo>
                <a:lnTo>
                  <a:pt x="260" y="101"/>
                </a:lnTo>
                <a:lnTo>
                  <a:pt x="263" y="101"/>
                </a:lnTo>
                <a:lnTo>
                  <a:pt x="263" y="97"/>
                </a:lnTo>
                <a:lnTo>
                  <a:pt x="263" y="97"/>
                </a:lnTo>
                <a:lnTo>
                  <a:pt x="266" y="94"/>
                </a:lnTo>
                <a:lnTo>
                  <a:pt x="269" y="94"/>
                </a:lnTo>
                <a:lnTo>
                  <a:pt x="269" y="94"/>
                </a:lnTo>
                <a:lnTo>
                  <a:pt x="269" y="91"/>
                </a:lnTo>
                <a:lnTo>
                  <a:pt x="269" y="91"/>
                </a:lnTo>
                <a:lnTo>
                  <a:pt x="272" y="85"/>
                </a:lnTo>
                <a:lnTo>
                  <a:pt x="275" y="82"/>
                </a:lnTo>
                <a:lnTo>
                  <a:pt x="278" y="82"/>
                </a:lnTo>
                <a:lnTo>
                  <a:pt x="278" y="82"/>
                </a:lnTo>
                <a:lnTo>
                  <a:pt x="278" y="82"/>
                </a:lnTo>
                <a:lnTo>
                  <a:pt x="281" y="82"/>
                </a:lnTo>
                <a:lnTo>
                  <a:pt x="281" y="79"/>
                </a:lnTo>
                <a:lnTo>
                  <a:pt x="285" y="79"/>
                </a:lnTo>
                <a:lnTo>
                  <a:pt x="288" y="82"/>
                </a:lnTo>
                <a:lnTo>
                  <a:pt x="291" y="79"/>
                </a:lnTo>
                <a:lnTo>
                  <a:pt x="294" y="82"/>
                </a:lnTo>
                <a:lnTo>
                  <a:pt x="294" y="82"/>
                </a:lnTo>
                <a:lnTo>
                  <a:pt x="297" y="82"/>
                </a:lnTo>
                <a:lnTo>
                  <a:pt x="300" y="82"/>
                </a:lnTo>
                <a:lnTo>
                  <a:pt x="300" y="85"/>
                </a:lnTo>
                <a:lnTo>
                  <a:pt x="306" y="88"/>
                </a:lnTo>
                <a:lnTo>
                  <a:pt x="310" y="94"/>
                </a:lnTo>
                <a:lnTo>
                  <a:pt x="310" y="97"/>
                </a:lnTo>
                <a:lnTo>
                  <a:pt x="310" y="101"/>
                </a:lnTo>
                <a:lnTo>
                  <a:pt x="313" y="104"/>
                </a:lnTo>
                <a:lnTo>
                  <a:pt x="313" y="107"/>
                </a:lnTo>
                <a:lnTo>
                  <a:pt x="313" y="107"/>
                </a:lnTo>
                <a:lnTo>
                  <a:pt x="316" y="110"/>
                </a:lnTo>
                <a:lnTo>
                  <a:pt x="319" y="119"/>
                </a:lnTo>
                <a:lnTo>
                  <a:pt x="319" y="119"/>
                </a:lnTo>
                <a:lnTo>
                  <a:pt x="319" y="122"/>
                </a:lnTo>
                <a:lnTo>
                  <a:pt x="322" y="122"/>
                </a:lnTo>
                <a:lnTo>
                  <a:pt x="325" y="126"/>
                </a:lnTo>
                <a:lnTo>
                  <a:pt x="325" y="129"/>
                </a:lnTo>
                <a:lnTo>
                  <a:pt x="328" y="135"/>
                </a:lnTo>
                <a:lnTo>
                  <a:pt x="328" y="138"/>
                </a:lnTo>
                <a:lnTo>
                  <a:pt x="328" y="141"/>
                </a:lnTo>
                <a:lnTo>
                  <a:pt x="328" y="141"/>
                </a:lnTo>
                <a:lnTo>
                  <a:pt x="328" y="144"/>
                </a:lnTo>
                <a:lnTo>
                  <a:pt x="331" y="154"/>
                </a:lnTo>
                <a:lnTo>
                  <a:pt x="331" y="160"/>
                </a:lnTo>
                <a:lnTo>
                  <a:pt x="335" y="163"/>
                </a:lnTo>
                <a:lnTo>
                  <a:pt x="335" y="163"/>
                </a:lnTo>
                <a:lnTo>
                  <a:pt x="338" y="163"/>
                </a:lnTo>
                <a:lnTo>
                  <a:pt x="338" y="163"/>
                </a:lnTo>
                <a:lnTo>
                  <a:pt x="341" y="163"/>
                </a:lnTo>
                <a:lnTo>
                  <a:pt x="344" y="166"/>
                </a:lnTo>
                <a:lnTo>
                  <a:pt x="350" y="169"/>
                </a:lnTo>
                <a:lnTo>
                  <a:pt x="356" y="173"/>
                </a:lnTo>
                <a:lnTo>
                  <a:pt x="360" y="173"/>
                </a:lnTo>
                <a:lnTo>
                  <a:pt x="360" y="176"/>
                </a:lnTo>
                <a:lnTo>
                  <a:pt x="363" y="176"/>
                </a:lnTo>
                <a:lnTo>
                  <a:pt x="360" y="179"/>
                </a:lnTo>
                <a:lnTo>
                  <a:pt x="363" y="176"/>
                </a:lnTo>
                <a:lnTo>
                  <a:pt x="366" y="169"/>
                </a:lnTo>
                <a:lnTo>
                  <a:pt x="369" y="169"/>
                </a:lnTo>
                <a:lnTo>
                  <a:pt x="366" y="169"/>
                </a:lnTo>
                <a:lnTo>
                  <a:pt x="366" y="176"/>
                </a:lnTo>
                <a:lnTo>
                  <a:pt x="366" y="176"/>
                </a:lnTo>
                <a:lnTo>
                  <a:pt x="363" y="182"/>
                </a:lnTo>
                <a:lnTo>
                  <a:pt x="360" y="185"/>
                </a:lnTo>
                <a:lnTo>
                  <a:pt x="360" y="188"/>
                </a:lnTo>
                <a:lnTo>
                  <a:pt x="360" y="188"/>
                </a:lnTo>
                <a:lnTo>
                  <a:pt x="360" y="188"/>
                </a:lnTo>
                <a:lnTo>
                  <a:pt x="360" y="185"/>
                </a:lnTo>
                <a:lnTo>
                  <a:pt x="356" y="182"/>
                </a:lnTo>
                <a:lnTo>
                  <a:pt x="356" y="188"/>
                </a:lnTo>
                <a:lnTo>
                  <a:pt x="353" y="191"/>
                </a:lnTo>
                <a:lnTo>
                  <a:pt x="356" y="194"/>
                </a:lnTo>
                <a:lnTo>
                  <a:pt x="356" y="194"/>
                </a:lnTo>
                <a:lnTo>
                  <a:pt x="353" y="201"/>
                </a:lnTo>
                <a:lnTo>
                  <a:pt x="353" y="204"/>
                </a:lnTo>
                <a:lnTo>
                  <a:pt x="353" y="207"/>
                </a:lnTo>
                <a:lnTo>
                  <a:pt x="353" y="210"/>
                </a:lnTo>
                <a:lnTo>
                  <a:pt x="353" y="213"/>
                </a:lnTo>
                <a:lnTo>
                  <a:pt x="353" y="216"/>
                </a:lnTo>
                <a:lnTo>
                  <a:pt x="350" y="226"/>
                </a:lnTo>
                <a:lnTo>
                  <a:pt x="350" y="232"/>
                </a:lnTo>
                <a:lnTo>
                  <a:pt x="350" y="241"/>
                </a:lnTo>
                <a:lnTo>
                  <a:pt x="347" y="244"/>
                </a:lnTo>
                <a:lnTo>
                  <a:pt x="347" y="248"/>
                </a:lnTo>
                <a:lnTo>
                  <a:pt x="350" y="254"/>
                </a:lnTo>
                <a:lnTo>
                  <a:pt x="347" y="260"/>
                </a:lnTo>
                <a:lnTo>
                  <a:pt x="353" y="266"/>
                </a:lnTo>
                <a:lnTo>
                  <a:pt x="353" y="273"/>
                </a:lnTo>
                <a:lnTo>
                  <a:pt x="353" y="273"/>
                </a:lnTo>
                <a:lnTo>
                  <a:pt x="353" y="266"/>
                </a:lnTo>
                <a:lnTo>
                  <a:pt x="347" y="260"/>
                </a:lnTo>
                <a:lnTo>
                  <a:pt x="347" y="266"/>
                </a:lnTo>
                <a:lnTo>
                  <a:pt x="350" y="269"/>
                </a:lnTo>
                <a:lnTo>
                  <a:pt x="353" y="276"/>
                </a:lnTo>
                <a:lnTo>
                  <a:pt x="353" y="279"/>
                </a:lnTo>
                <a:lnTo>
                  <a:pt x="353" y="282"/>
                </a:lnTo>
                <a:lnTo>
                  <a:pt x="353" y="285"/>
                </a:lnTo>
                <a:lnTo>
                  <a:pt x="356" y="288"/>
                </a:lnTo>
                <a:lnTo>
                  <a:pt x="366" y="301"/>
                </a:lnTo>
                <a:lnTo>
                  <a:pt x="369" y="304"/>
                </a:lnTo>
                <a:lnTo>
                  <a:pt x="372" y="310"/>
                </a:lnTo>
                <a:lnTo>
                  <a:pt x="372" y="313"/>
                </a:lnTo>
                <a:lnTo>
                  <a:pt x="372" y="316"/>
                </a:lnTo>
                <a:lnTo>
                  <a:pt x="381" y="326"/>
                </a:lnTo>
                <a:lnTo>
                  <a:pt x="381" y="329"/>
                </a:lnTo>
                <a:lnTo>
                  <a:pt x="385" y="329"/>
                </a:lnTo>
                <a:lnTo>
                  <a:pt x="391" y="329"/>
                </a:lnTo>
                <a:lnTo>
                  <a:pt x="391" y="329"/>
                </a:lnTo>
                <a:lnTo>
                  <a:pt x="397" y="332"/>
                </a:lnTo>
                <a:lnTo>
                  <a:pt x="400" y="338"/>
                </a:lnTo>
                <a:lnTo>
                  <a:pt x="403" y="345"/>
                </a:lnTo>
                <a:lnTo>
                  <a:pt x="406" y="341"/>
                </a:lnTo>
                <a:lnTo>
                  <a:pt x="413" y="341"/>
                </a:lnTo>
                <a:lnTo>
                  <a:pt x="416" y="341"/>
                </a:lnTo>
                <a:lnTo>
                  <a:pt x="419" y="341"/>
                </a:lnTo>
                <a:lnTo>
                  <a:pt x="425" y="338"/>
                </a:lnTo>
                <a:lnTo>
                  <a:pt x="428" y="335"/>
                </a:lnTo>
                <a:lnTo>
                  <a:pt x="435" y="335"/>
                </a:lnTo>
                <a:lnTo>
                  <a:pt x="438" y="335"/>
                </a:lnTo>
                <a:lnTo>
                  <a:pt x="444" y="332"/>
                </a:lnTo>
                <a:lnTo>
                  <a:pt x="447" y="332"/>
                </a:lnTo>
                <a:lnTo>
                  <a:pt x="453" y="332"/>
                </a:lnTo>
                <a:lnTo>
                  <a:pt x="453" y="332"/>
                </a:lnTo>
                <a:lnTo>
                  <a:pt x="460" y="332"/>
                </a:lnTo>
                <a:lnTo>
                  <a:pt x="456" y="335"/>
                </a:lnTo>
                <a:lnTo>
                  <a:pt x="453" y="338"/>
                </a:lnTo>
                <a:lnTo>
                  <a:pt x="460" y="338"/>
                </a:lnTo>
                <a:lnTo>
                  <a:pt x="463" y="341"/>
                </a:lnTo>
                <a:lnTo>
                  <a:pt x="463" y="338"/>
                </a:lnTo>
                <a:lnTo>
                  <a:pt x="466" y="338"/>
                </a:lnTo>
                <a:lnTo>
                  <a:pt x="469" y="335"/>
                </a:lnTo>
                <a:lnTo>
                  <a:pt x="469" y="329"/>
                </a:lnTo>
                <a:lnTo>
                  <a:pt x="469" y="326"/>
                </a:lnTo>
                <a:lnTo>
                  <a:pt x="466" y="329"/>
                </a:lnTo>
                <a:lnTo>
                  <a:pt x="466" y="326"/>
                </a:lnTo>
                <a:lnTo>
                  <a:pt x="472" y="323"/>
                </a:lnTo>
                <a:lnTo>
                  <a:pt x="475" y="323"/>
                </a:lnTo>
                <a:lnTo>
                  <a:pt x="481" y="316"/>
                </a:lnTo>
                <a:lnTo>
                  <a:pt x="481" y="310"/>
                </a:lnTo>
                <a:lnTo>
                  <a:pt x="488" y="304"/>
                </a:lnTo>
                <a:lnTo>
                  <a:pt x="488" y="301"/>
                </a:lnTo>
                <a:lnTo>
                  <a:pt x="488" y="288"/>
                </a:lnTo>
                <a:lnTo>
                  <a:pt x="494" y="282"/>
                </a:lnTo>
                <a:lnTo>
                  <a:pt x="491" y="282"/>
                </a:lnTo>
                <a:lnTo>
                  <a:pt x="491" y="279"/>
                </a:lnTo>
                <a:lnTo>
                  <a:pt x="503" y="276"/>
                </a:lnTo>
                <a:lnTo>
                  <a:pt x="522" y="276"/>
                </a:lnTo>
                <a:lnTo>
                  <a:pt x="525" y="269"/>
                </a:lnTo>
                <a:lnTo>
                  <a:pt x="528" y="269"/>
                </a:lnTo>
                <a:lnTo>
                  <a:pt x="532" y="273"/>
                </a:lnTo>
                <a:lnTo>
                  <a:pt x="535" y="269"/>
                </a:lnTo>
                <a:lnTo>
                  <a:pt x="535" y="266"/>
                </a:lnTo>
                <a:lnTo>
                  <a:pt x="544" y="266"/>
                </a:lnTo>
                <a:lnTo>
                  <a:pt x="550" y="269"/>
                </a:lnTo>
                <a:lnTo>
                  <a:pt x="553" y="269"/>
                </a:lnTo>
                <a:lnTo>
                  <a:pt x="553" y="266"/>
                </a:lnTo>
                <a:lnTo>
                  <a:pt x="557" y="266"/>
                </a:lnTo>
                <a:lnTo>
                  <a:pt x="563" y="273"/>
                </a:lnTo>
                <a:lnTo>
                  <a:pt x="563" y="279"/>
                </a:lnTo>
                <a:lnTo>
                  <a:pt x="560" y="282"/>
                </a:lnTo>
                <a:lnTo>
                  <a:pt x="557" y="291"/>
                </a:lnTo>
                <a:lnTo>
                  <a:pt x="547" y="298"/>
                </a:lnTo>
                <a:lnTo>
                  <a:pt x="544" y="301"/>
                </a:lnTo>
                <a:lnTo>
                  <a:pt x="544" y="307"/>
                </a:lnTo>
                <a:lnTo>
                  <a:pt x="541" y="307"/>
                </a:lnTo>
                <a:lnTo>
                  <a:pt x="541" y="310"/>
                </a:lnTo>
                <a:lnTo>
                  <a:pt x="541" y="313"/>
                </a:lnTo>
                <a:lnTo>
                  <a:pt x="544" y="313"/>
                </a:lnTo>
                <a:lnTo>
                  <a:pt x="544" y="316"/>
                </a:lnTo>
                <a:lnTo>
                  <a:pt x="541" y="320"/>
                </a:lnTo>
                <a:lnTo>
                  <a:pt x="541" y="323"/>
                </a:lnTo>
                <a:lnTo>
                  <a:pt x="541" y="323"/>
                </a:lnTo>
                <a:lnTo>
                  <a:pt x="544" y="320"/>
                </a:lnTo>
                <a:lnTo>
                  <a:pt x="547" y="320"/>
                </a:lnTo>
                <a:lnTo>
                  <a:pt x="544" y="323"/>
                </a:lnTo>
                <a:lnTo>
                  <a:pt x="541" y="335"/>
                </a:lnTo>
                <a:lnTo>
                  <a:pt x="538" y="341"/>
                </a:lnTo>
                <a:lnTo>
                  <a:pt x="535" y="341"/>
                </a:lnTo>
                <a:lnTo>
                  <a:pt x="535" y="338"/>
                </a:lnTo>
                <a:lnTo>
                  <a:pt x="532" y="335"/>
                </a:lnTo>
                <a:lnTo>
                  <a:pt x="528" y="335"/>
                </a:lnTo>
                <a:lnTo>
                  <a:pt x="532" y="332"/>
                </a:lnTo>
                <a:lnTo>
                  <a:pt x="532" y="329"/>
                </a:lnTo>
                <a:lnTo>
                  <a:pt x="528" y="329"/>
                </a:lnTo>
                <a:lnTo>
                  <a:pt x="525" y="335"/>
                </a:lnTo>
                <a:lnTo>
                  <a:pt x="522" y="338"/>
                </a:lnTo>
                <a:lnTo>
                  <a:pt x="522" y="338"/>
                </a:lnTo>
                <a:lnTo>
                  <a:pt x="522" y="338"/>
                </a:lnTo>
                <a:lnTo>
                  <a:pt x="519" y="338"/>
                </a:lnTo>
                <a:lnTo>
                  <a:pt x="519" y="341"/>
                </a:lnTo>
                <a:lnTo>
                  <a:pt x="516" y="345"/>
                </a:lnTo>
                <a:lnTo>
                  <a:pt x="516" y="348"/>
                </a:lnTo>
                <a:lnTo>
                  <a:pt x="513" y="348"/>
                </a:lnTo>
                <a:lnTo>
                  <a:pt x="513" y="348"/>
                </a:lnTo>
                <a:lnTo>
                  <a:pt x="513" y="348"/>
                </a:lnTo>
                <a:lnTo>
                  <a:pt x="510" y="348"/>
                </a:lnTo>
                <a:lnTo>
                  <a:pt x="510" y="348"/>
                </a:lnTo>
                <a:lnTo>
                  <a:pt x="510" y="348"/>
                </a:lnTo>
                <a:lnTo>
                  <a:pt x="506" y="348"/>
                </a:lnTo>
                <a:lnTo>
                  <a:pt x="506" y="351"/>
                </a:lnTo>
                <a:lnTo>
                  <a:pt x="472" y="351"/>
                </a:lnTo>
                <a:lnTo>
                  <a:pt x="472" y="360"/>
                </a:lnTo>
                <a:lnTo>
                  <a:pt x="463" y="360"/>
                </a:lnTo>
                <a:lnTo>
                  <a:pt x="466" y="363"/>
                </a:lnTo>
                <a:lnTo>
                  <a:pt x="466" y="366"/>
                </a:lnTo>
                <a:lnTo>
                  <a:pt x="469" y="370"/>
                </a:lnTo>
                <a:lnTo>
                  <a:pt x="472" y="373"/>
                </a:lnTo>
                <a:lnTo>
                  <a:pt x="475" y="373"/>
                </a:lnTo>
                <a:lnTo>
                  <a:pt x="475" y="376"/>
                </a:lnTo>
                <a:lnTo>
                  <a:pt x="478" y="376"/>
                </a:lnTo>
                <a:lnTo>
                  <a:pt x="478" y="379"/>
                </a:lnTo>
                <a:lnTo>
                  <a:pt x="481" y="379"/>
                </a:lnTo>
                <a:lnTo>
                  <a:pt x="485" y="379"/>
                </a:lnTo>
                <a:lnTo>
                  <a:pt x="485" y="382"/>
                </a:lnTo>
                <a:lnTo>
                  <a:pt x="481" y="385"/>
                </a:lnTo>
                <a:lnTo>
                  <a:pt x="456" y="385"/>
                </a:lnTo>
                <a:lnTo>
                  <a:pt x="444" y="404"/>
                </a:lnTo>
                <a:lnTo>
                  <a:pt x="444" y="407"/>
                </a:lnTo>
                <a:lnTo>
                  <a:pt x="447" y="407"/>
                </a:lnTo>
                <a:lnTo>
                  <a:pt x="444" y="410"/>
                </a:lnTo>
                <a:lnTo>
                  <a:pt x="447" y="410"/>
                </a:lnTo>
                <a:lnTo>
                  <a:pt x="447" y="413"/>
                </a:lnTo>
                <a:lnTo>
                  <a:pt x="447" y="413"/>
                </a:lnTo>
                <a:lnTo>
                  <a:pt x="444" y="417"/>
                </a:lnTo>
                <a:lnTo>
                  <a:pt x="444" y="417"/>
                </a:lnTo>
                <a:lnTo>
                  <a:pt x="444" y="417"/>
                </a:lnTo>
                <a:lnTo>
                  <a:pt x="441" y="413"/>
                </a:lnTo>
                <a:lnTo>
                  <a:pt x="435" y="410"/>
                </a:lnTo>
                <a:lnTo>
                  <a:pt x="435" y="407"/>
                </a:lnTo>
                <a:lnTo>
                  <a:pt x="431" y="407"/>
                </a:lnTo>
                <a:lnTo>
                  <a:pt x="416" y="395"/>
                </a:lnTo>
                <a:lnTo>
                  <a:pt x="416" y="391"/>
                </a:lnTo>
                <a:lnTo>
                  <a:pt x="416" y="391"/>
                </a:lnTo>
                <a:lnTo>
                  <a:pt x="413" y="385"/>
                </a:lnTo>
                <a:lnTo>
                  <a:pt x="406" y="382"/>
                </a:lnTo>
                <a:lnTo>
                  <a:pt x="403" y="382"/>
                </a:lnTo>
                <a:lnTo>
                  <a:pt x="403" y="382"/>
                </a:lnTo>
                <a:lnTo>
                  <a:pt x="403" y="382"/>
                </a:lnTo>
                <a:lnTo>
                  <a:pt x="403" y="382"/>
                </a:lnTo>
                <a:lnTo>
                  <a:pt x="410" y="385"/>
                </a:lnTo>
                <a:lnTo>
                  <a:pt x="413" y="391"/>
                </a:lnTo>
                <a:lnTo>
                  <a:pt x="413" y="391"/>
                </a:lnTo>
                <a:lnTo>
                  <a:pt x="410" y="388"/>
                </a:lnTo>
                <a:lnTo>
                  <a:pt x="403" y="385"/>
                </a:lnTo>
                <a:lnTo>
                  <a:pt x="400" y="385"/>
                </a:lnTo>
                <a:lnTo>
                  <a:pt x="397" y="385"/>
                </a:lnTo>
                <a:lnTo>
                  <a:pt x="397" y="385"/>
                </a:lnTo>
                <a:lnTo>
                  <a:pt x="397" y="382"/>
                </a:lnTo>
                <a:lnTo>
                  <a:pt x="400" y="382"/>
                </a:lnTo>
                <a:lnTo>
                  <a:pt x="400" y="382"/>
                </a:lnTo>
                <a:lnTo>
                  <a:pt x="397" y="382"/>
                </a:lnTo>
                <a:lnTo>
                  <a:pt x="394" y="382"/>
                </a:lnTo>
                <a:lnTo>
                  <a:pt x="394" y="379"/>
                </a:lnTo>
                <a:lnTo>
                  <a:pt x="394" y="379"/>
                </a:lnTo>
                <a:lnTo>
                  <a:pt x="388" y="382"/>
                </a:lnTo>
                <a:lnTo>
                  <a:pt x="388" y="385"/>
                </a:lnTo>
                <a:lnTo>
                  <a:pt x="391" y="385"/>
                </a:lnTo>
                <a:lnTo>
                  <a:pt x="397" y="385"/>
                </a:lnTo>
                <a:lnTo>
                  <a:pt x="397" y="385"/>
                </a:lnTo>
                <a:lnTo>
                  <a:pt x="394" y="385"/>
                </a:lnTo>
                <a:lnTo>
                  <a:pt x="388" y="385"/>
                </a:lnTo>
                <a:lnTo>
                  <a:pt x="385" y="385"/>
                </a:lnTo>
                <a:lnTo>
                  <a:pt x="378" y="391"/>
                </a:lnTo>
                <a:lnTo>
                  <a:pt x="375" y="391"/>
                </a:lnTo>
                <a:lnTo>
                  <a:pt x="366" y="395"/>
                </a:lnTo>
                <a:lnTo>
                  <a:pt x="363" y="395"/>
                </a:lnTo>
                <a:lnTo>
                  <a:pt x="350" y="391"/>
                </a:lnTo>
                <a:lnTo>
                  <a:pt x="347" y="388"/>
                </a:lnTo>
                <a:lnTo>
                  <a:pt x="341" y="388"/>
                </a:lnTo>
                <a:lnTo>
                  <a:pt x="331" y="385"/>
                </a:lnTo>
                <a:lnTo>
                  <a:pt x="328" y="382"/>
                </a:lnTo>
                <a:lnTo>
                  <a:pt x="328" y="385"/>
                </a:lnTo>
                <a:lnTo>
                  <a:pt x="325" y="382"/>
                </a:lnTo>
                <a:lnTo>
                  <a:pt x="319" y="382"/>
                </a:lnTo>
                <a:lnTo>
                  <a:pt x="316" y="376"/>
                </a:lnTo>
                <a:lnTo>
                  <a:pt x="316" y="376"/>
                </a:lnTo>
                <a:lnTo>
                  <a:pt x="313" y="376"/>
                </a:lnTo>
                <a:lnTo>
                  <a:pt x="306" y="376"/>
                </a:lnTo>
                <a:lnTo>
                  <a:pt x="300" y="376"/>
                </a:lnTo>
                <a:lnTo>
                  <a:pt x="300" y="370"/>
                </a:lnTo>
                <a:lnTo>
                  <a:pt x="294" y="366"/>
                </a:lnTo>
                <a:lnTo>
                  <a:pt x="285" y="366"/>
                </a:lnTo>
                <a:lnTo>
                  <a:pt x="275" y="363"/>
                </a:lnTo>
                <a:lnTo>
                  <a:pt x="272" y="357"/>
                </a:lnTo>
                <a:lnTo>
                  <a:pt x="269" y="357"/>
                </a:lnTo>
                <a:lnTo>
                  <a:pt x="260" y="348"/>
                </a:lnTo>
                <a:lnTo>
                  <a:pt x="256" y="345"/>
                </a:lnTo>
                <a:lnTo>
                  <a:pt x="253" y="345"/>
                </a:lnTo>
                <a:lnTo>
                  <a:pt x="253" y="348"/>
                </a:lnTo>
                <a:lnTo>
                  <a:pt x="250" y="348"/>
                </a:lnTo>
                <a:lnTo>
                  <a:pt x="244" y="345"/>
                </a:lnTo>
                <a:lnTo>
                  <a:pt x="241" y="345"/>
                </a:lnTo>
                <a:lnTo>
                  <a:pt x="238" y="341"/>
                </a:lnTo>
                <a:lnTo>
                  <a:pt x="235" y="341"/>
                </a:lnTo>
                <a:lnTo>
                  <a:pt x="231" y="341"/>
                </a:lnTo>
                <a:lnTo>
                  <a:pt x="228" y="335"/>
                </a:lnTo>
                <a:lnTo>
                  <a:pt x="225" y="332"/>
                </a:lnTo>
                <a:lnTo>
                  <a:pt x="219" y="326"/>
                </a:lnTo>
                <a:lnTo>
                  <a:pt x="216" y="326"/>
                </a:lnTo>
                <a:lnTo>
                  <a:pt x="216" y="323"/>
                </a:lnTo>
                <a:lnTo>
                  <a:pt x="216" y="320"/>
                </a:lnTo>
                <a:lnTo>
                  <a:pt x="216" y="320"/>
                </a:lnTo>
                <a:lnTo>
                  <a:pt x="210" y="323"/>
                </a:lnTo>
                <a:lnTo>
                  <a:pt x="203" y="320"/>
                </a:lnTo>
                <a:lnTo>
                  <a:pt x="203" y="316"/>
                </a:lnTo>
                <a:lnTo>
                  <a:pt x="200" y="316"/>
                </a:lnTo>
                <a:lnTo>
                  <a:pt x="197" y="316"/>
                </a:lnTo>
                <a:lnTo>
                  <a:pt x="197" y="310"/>
                </a:lnTo>
                <a:lnTo>
                  <a:pt x="194" y="307"/>
                </a:lnTo>
                <a:lnTo>
                  <a:pt x="194" y="304"/>
                </a:lnTo>
                <a:lnTo>
                  <a:pt x="191" y="301"/>
                </a:lnTo>
                <a:lnTo>
                  <a:pt x="188" y="295"/>
                </a:lnTo>
                <a:lnTo>
                  <a:pt x="188" y="291"/>
                </a:lnTo>
                <a:lnTo>
                  <a:pt x="191" y="291"/>
                </a:lnTo>
                <a:lnTo>
                  <a:pt x="194" y="291"/>
                </a:lnTo>
                <a:lnTo>
                  <a:pt x="197" y="288"/>
                </a:lnTo>
                <a:lnTo>
                  <a:pt x="194" y="288"/>
                </a:lnTo>
                <a:lnTo>
                  <a:pt x="191" y="285"/>
                </a:lnTo>
                <a:lnTo>
                  <a:pt x="194" y="285"/>
                </a:lnTo>
                <a:lnTo>
                  <a:pt x="197" y="279"/>
                </a:lnTo>
                <a:lnTo>
                  <a:pt x="200" y="276"/>
                </a:lnTo>
                <a:lnTo>
                  <a:pt x="200" y="273"/>
                </a:lnTo>
                <a:lnTo>
                  <a:pt x="194" y="260"/>
                </a:lnTo>
                <a:lnTo>
                  <a:pt x="194" y="257"/>
                </a:lnTo>
                <a:lnTo>
                  <a:pt x="191" y="254"/>
                </a:lnTo>
                <a:lnTo>
                  <a:pt x="194" y="251"/>
                </a:lnTo>
                <a:lnTo>
                  <a:pt x="191" y="244"/>
                </a:lnTo>
                <a:lnTo>
                  <a:pt x="185" y="238"/>
                </a:lnTo>
                <a:lnTo>
                  <a:pt x="185" y="232"/>
                </a:lnTo>
                <a:lnTo>
                  <a:pt x="178" y="226"/>
                </a:lnTo>
                <a:lnTo>
                  <a:pt x="175" y="219"/>
                </a:lnTo>
                <a:lnTo>
                  <a:pt x="169" y="210"/>
                </a:lnTo>
                <a:lnTo>
                  <a:pt x="163" y="207"/>
                </a:lnTo>
                <a:lnTo>
                  <a:pt x="160" y="204"/>
                </a:lnTo>
                <a:lnTo>
                  <a:pt x="160" y="201"/>
                </a:lnTo>
                <a:lnTo>
                  <a:pt x="153" y="201"/>
                </a:lnTo>
                <a:lnTo>
                  <a:pt x="150" y="198"/>
                </a:lnTo>
                <a:lnTo>
                  <a:pt x="150" y="198"/>
                </a:lnTo>
                <a:lnTo>
                  <a:pt x="153" y="194"/>
                </a:lnTo>
                <a:lnTo>
                  <a:pt x="156" y="191"/>
                </a:lnTo>
                <a:lnTo>
                  <a:pt x="153" y="188"/>
                </a:lnTo>
                <a:lnTo>
                  <a:pt x="153" y="185"/>
                </a:lnTo>
                <a:lnTo>
                  <a:pt x="150" y="185"/>
                </a:lnTo>
                <a:lnTo>
                  <a:pt x="150" y="185"/>
                </a:lnTo>
                <a:lnTo>
                  <a:pt x="144" y="182"/>
                </a:lnTo>
                <a:lnTo>
                  <a:pt x="138" y="176"/>
                </a:lnTo>
                <a:lnTo>
                  <a:pt x="135" y="176"/>
                </a:lnTo>
                <a:lnTo>
                  <a:pt x="131" y="176"/>
                </a:lnTo>
                <a:lnTo>
                  <a:pt x="128" y="173"/>
                </a:lnTo>
                <a:lnTo>
                  <a:pt x="128" y="169"/>
                </a:lnTo>
                <a:lnTo>
                  <a:pt x="128" y="163"/>
                </a:lnTo>
                <a:lnTo>
                  <a:pt x="131" y="160"/>
                </a:lnTo>
                <a:lnTo>
                  <a:pt x="135" y="157"/>
                </a:lnTo>
                <a:lnTo>
                  <a:pt x="138" y="160"/>
                </a:lnTo>
                <a:lnTo>
                  <a:pt x="138" y="157"/>
                </a:lnTo>
                <a:lnTo>
                  <a:pt x="138" y="157"/>
                </a:lnTo>
                <a:lnTo>
                  <a:pt x="138" y="154"/>
                </a:lnTo>
                <a:lnTo>
                  <a:pt x="135" y="157"/>
                </a:lnTo>
                <a:lnTo>
                  <a:pt x="131" y="154"/>
                </a:lnTo>
                <a:lnTo>
                  <a:pt x="131" y="151"/>
                </a:lnTo>
                <a:lnTo>
                  <a:pt x="128" y="147"/>
                </a:lnTo>
                <a:lnTo>
                  <a:pt x="125" y="147"/>
                </a:lnTo>
                <a:lnTo>
                  <a:pt x="122" y="147"/>
                </a:lnTo>
                <a:lnTo>
                  <a:pt x="122" y="144"/>
                </a:lnTo>
                <a:lnTo>
                  <a:pt x="122" y="141"/>
                </a:lnTo>
                <a:lnTo>
                  <a:pt x="119" y="138"/>
                </a:lnTo>
                <a:lnTo>
                  <a:pt x="116" y="138"/>
                </a:lnTo>
                <a:lnTo>
                  <a:pt x="110" y="132"/>
                </a:lnTo>
                <a:lnTo>
                  <a:pt x="110" y="129"/>
                </a:lnTo>
                <a:lnTo>
                  <a:pt x="110" y="126"/>
                </a:lnTo>
                <a:lnTo>
                  <a:pt x="110" y="122"/>
                </a:lnTo>
                <a:lnTo>
                  <a:pt x="110" y="119"/>
                </a:lnTo>
                <a:lnTo>
                  <a:pt x="106" y="119"/>
                </a:lnTo>
                <a:lnTo>
                  <a:pt x="103" y="119"/>
                </a:lnTo>
                <a:lnTo>
                  <a:pt x="103" y="119"/>
                </a:lnTo>
                <a:lnTo>
                  <a:pt x="100" y="116"/>
                </a:lnTo>
                <a:lnTo>
                  <a:pt x="100" y="116"/>
                </a:lnTo>
                <a:lnTo>
                  <a:pt x="97" y="113"/>
                </a:lnTo>
                <a:lnTo>
                  <a:pt x="97" y="107"/>
                </a:lnTo>
                <a:lnTo>
                  <a:pt x="94" y="107"/>
                </a:lnTo>
                <a:lnTo>
                  <a:pt x="91" y="104"/>
                </a:lnTo>
                <a:lnTo>
                  <a:pt x="91" y="101"/>
                </a:lnTo>
                <a:lnTo>
                  <a:pt x="91" y="97"/>
                </a:lnTo>
                <a:lnTo>
                  <a:pt x="88" y="97"/>
                </a:lnTo>
                <a:lnTo>
                  <a:pt x="85" y="88"/>
                </a:lnTo>
                <a:lnTo>
                  <a:pt x="85" y="88"/>
                </a:lnTo>
                <a:lnTo>
                  <a:pt x="81" y="88"/>
                </a:lnTo>
                <a:lnTo>
                  <a:pt x="81" y="85"/>
                </a:lnTo>
                <a:lnTo>
                  <a:pt x="81" y="82"/>
                </a:lnTo>
                <a:lnTo>
                  <a:pt x="81" y="82"/>
                </a:lnTo>
                <a:lnTo>
                  <a:pt x="78" y="76"/>
                </a:lnTo>
                <a:lnTo>
                  <a:pt x="75" y="69"/>
                </a:lnTo>
                <a:lnTo>
                  <a:pt x="78" y="69"/>
                </a:lnTo>
                <a:lnTo>
                  <a:pt x="75" y="63"/>
                </a:lnTo>
                <a:lnTo>
                  <a:pt x="75" y="60"/>
                </a:lnTo>
                <a:lnTo>
                  <a:pt x="75" y="54"/>
                </a:lnTo>
                <a:lnTo>
                  <a:pt x="72" y="47"/>
                </a:lnTo>
                <a:lnTo>
                  <a:pt x="72" y="44"/>
                </a:lnTo>
                <a:lnTo>
                  <a:pt x="75" y="41"/>
                </a:lnTo>
                <a:lnTo>
                  <a:pt x="75" y="41"/>
                </a:lnTo>
                <a:lnTo>
                  <a:pt x="69" y="38"/>
                </a:lnTo>
                <a:lnTo>
                  <a:pt x="66" y="38"/>
                </a:lnTo>
                <a:lnTo>
                  <a:pt x="66" y="35"/>
                </a:lnTo>
                <a:lnTo>
                  <a:pt x="63" y="32"/>
                </a:lnTo>
                <a:lnTo>
                  <a:pt x="60" y="35"/>
                </a:lnTo>
                <a:lnTo>
                  <a:pt x="56" y="35"/>
                </a:lnTo>
                <a:lnTo>
                  <a:pt x="53" y="32"/>
                </a:lnTo>
                <a:lnTo>
                  <a:pt x="50" y="29"/>
                </a:lnTo>
                <a:lnTo>
                  <a:pt x="47" y="25"/>
                </a:lnTo>
                <a:lnTo>
                  <a:pt x="44" y="19"/>
                </a:lnTo>
                <a:lnTo>
                  <a:pt x="44" y="25"/>
                </a:lnTo>
                <a:lnTo>
                  <a:pt x="44" y="29"/>
                </a:lnTo>
                <a:lnTo>
                  <a:pt x="44" y="35"/>
                </a:lnTo>
                <a:lnTo>
                  <a:pt x="41" y="38"/>
                </a:lnTo>
                <a:lnTo>
                  <a:pt x="44" y="47"/>
                </a:lnTo>
                <a:lnTo>
                  <a:pt x="44" y="63"/>
                </a:lnTo>
                <a:lnTo>
                  <a:pt x="41" y="66"/>
                </a:lnTo>
                <a:lnTo>
                  <a:pt x="44" y="66"/>
                </a:lnTo>
                <a:lnTo>
                  <a:pt x="47" y="72"/>
                </a:lnTo>
                <a:lnTo>
                  <a:pt x="47" y="76"/>
                </a:lnTo>
                <a:lnTo>
                  <a:pt x="47" y="76"/>
                </a:lnTo>
                <a:lnTo>
                  <a:pt x="50" y="79"/>
                </a:lnTo>
                <a:lnTo>
                  <a:pt x="56" y="82"/>
                </a:lnTo>
                <a:lnTo>
                  <a:pt x="56" y="88"/>
                </a:lnTo>
                <a:lnTo>
                  <a:pt x="56" y="91"/>
                </a:lnTo>
                <a:lnTo>
                  <a:pt x="56" y="94"/>
                </a:lnTo>
                <a:lnTo>
                  <a:pt x="60" y="97"/>
                </a:lnTo>
                <a:lnTo>
                  <a:pt x="63" y="97"/>
                </a:lnTo>
                <a:lnTo>
                  <a:pt x="63" y="104"/>
                </a:lnTo>
                <a:lnTo>
                  <a:pt x="66" y="104"/>
                </a:lnTo>
                <a:lnTo>
                  <a:pt x="66" y="107"/>
                </a:lnTo>
                <a:lnTo>
                  <a:pt x="72" y="110"/>
                </a:lnTo>
                <a:lnTo>
                  <a:pt x="69" y="113"/>
                </a:lnTo>
                <a:lnTo>
                  <a:pt x="69" y="119"/>
                </a:lnTo>
                <a:lnTo>
                  <a:pt x="75" y="122"/>
                </a:lnTo>
                <a:lnTo>
                  <a:pt x="75" y="122"/>
                </a:lnTo>
                <a:lnTo>
                  <a:pt x="78" y="129"/>
                </a:lnTo>
                <a:lnTo>
                  <a:pt x="78" y="135"/>
                </a:lnTo>
                <a:lnTo>
                  <a:pt x="81" y="135"/>
                </a:lnTo>
                <a:lnTo>
                  <a:pt x="81" y="138"/>
                </a:lnTo>
                <a:lnTo>
                  <a:pt x="81" y="141"/>
                </a:lnTo>
                <a:lnTo>
                  <a:pt x="81" y="144"/>
                </a:lnTo>
                <a:lnTo>
                  <a:pt x="85" y="151"/>
                </a:lnTo>
                <a:lnTo>
                  <a:pt x="88" y="147"/>
                </a:lnTo>
                <a:lnTo>
                  <a:pt x="88" y="144"/>
                </a:lnTo>
                <a:lnTo>
                  <a:pt x="88" y="144"/>
                </a:lnTo>
                <a:lnTo>
                  <a:pt x="88" y="144"/>
                </a:lnTo>
                <a:lnTo>
                  <a:pt x="88" y="147"/>
                </a:lnTo>
                <a:lnTo>
                  <a:pt x="91" y="151"/>
                </a:lnTo>
                <a:lnTo>
                  <a:pt x="94" y="157"/>
                </a:lnTo>
                <a:lnTo>
                  <a:pt x="91" y="160"/>
                </a:lnTo>
                <a:lnTo>
                  <a:pt x="91" y="166"/>
                </a:lnTo>
                <a:lnTo>
                  <a:pt x="94" y="169"/>
                </a:lnTo>
                <a:lnTo>
                  <a:pt x="94" y="173"/>
                </a:lnTo>
                <a:lnTo>
                  <a:pt x="97" y="176"/>
                </a:lnTo>
                <a:lnTo>
                  <a:pt x="97" y="179"/>
                </a:lnTo>
                <a:lnTo>
                  <a:pt x="97" y="179"/>
                </a:lnTo>
                <a:lnTo>
                  <a:pt x="97" y="182"/>
                </a:lnTo>
                <a:lnTo>
                  <a:pt x="97" y="185"/>
                </a:lnTo>
                <a:lnTo>
                  <a:pt x="100" y="188"/>
                </a:lnTo>
                <a:lnTo>
                  <a:pt x="100" y="191"/>
                </a:lnTo>
                <a:lnTo>
                  <a:pt x="97" y="198"/>
                </a:lnTo>
                <a:lnTo>
                  <a:pt x="97" y="201"/>
                </a:lnTo>
                <a:lnTo>
                  <a:pt x="100" y="204"/>
                </a:lnTo>
                <a:lnTo>
                  <a:pt x="103" y="207"/>
                </a:lnTo>
                <a:lnTo>
                  <a:pt x="106" y="207"/>
                </a:lnTo>
                <a:lnTo>
                  <a:pt x="106" y="207"/>
                </a:lnTo>
                <a:lnTo>
                  <a:pt x="106" y="204"/>
                </a:lnTo>
                <a:lnTo>
                  <a:pt x="106" y="204"/>
                </a:lnTo>
                <a:lnTo>
                  <a:pt x="110" y="204"/>
                </a:lnTo>
                <a:lnTo>
                  <a:pt x="113" y="207"/>
                </a:lnTo>
                <a:lnTo>
                  <a:pt x="113" y="210"/>
                </a:lnTo>
                <a:lnTo>
                  <a:pt x="116" y="210"/>
                </a:lnTo>
                <a:lnTo>
                  <a:pt x="116" y="216"/>
                </a:lnTo>
                <a:lnTo>
                  <a:pt x="119" y="216"/>
                </a:lnTo>
                <a:lnTo>
                  <a:pt x="119" y="219"/>
                </a:lnTo>
                <a:lnTo>
                  <a:pt x="122" y="223"/>
                </a:lnTo>
                <a:lnTo>
                  <a:pt x="122" y="226"/>
                </a:lnTo>
                <a:lnTo>
                  <a:pt x="119" y="232"/>
                </a:lnTo>
                <a:lnTo>
                  <a:pt x="113" y="235"/>
                </a:lnTo>
                <a:lnTo>
                  <a:pt x="110" y="235"/>
                </a:lnTo>
                <a:lnTo>
                  <a:pt x="110" y="229"/>
                </a:lnTo>
                <a:lnTo>
                  <a:pt x="110" y="229"/>
                </a:lnTo>
                <a:lnTo>
                  <a:pt x="106" y="226"/>
                </a:lnTo>
                <a:lnTo>
                  <a:pt x="106" y="219"/>
                </a:lnTo>
                <a:lnTo>
                  <a:pt x="103" y="216"/>
                </a:lnTo>
                <a:lnTo>
                  <a:pt x="100" y="216"/>
                </a:lnTo>
                <a:lnTo>
                  <a:pt x="97" y="213"/>
                </a:lnTo>
                <a:lnTo>
                  <a:pt x="94" y="210"/>
                </a:lnTo>
                <a:lnTo>
                  <a:pt x="91" y="210"/>
                </a:lnTo>
                <a:lnTo>
                  <a:pt x="85" y="201"/>
                </a:lnTo>
                <a:lnTo>
                  <a:pt x="81" y="198"/>
                </a:lnTo>
                <a:lnTo>
                  <a:pt x="78" y="198"/>
                </a:lnTo>
                <a:lnTo>
                  <a:pt x="78" y="194"/>
                </a:lnTo>
                <a:lnTo>
                  <a:pt x="75" y="194"/>
                </a:lnTo>
                <a:lnTo>
                  <a:pt x="72" y="191"/>
                </a:lnTo>
                <a:lnTo>
                  <a:pt x="72" y="188"/>
                </a:lnTo>
                <a:lnTo>
                  <a:pt x="75" y="182"/>
                </a:lnTo>
                <a:lnTo>
                  <a:pt x="75" y="176"/>
                </a:lnTo>
                <a:lnTo>
                  <a:pt x="75" y="166"/>
                </a:lnTo>
                <a:lnTo>
                  <a:pt x="72" y="160"/>
                </a:lnTo>
                <a:lnTo>
                  <a:pt x="72" y="157"/>
                </a:lnTo>
                <a:lnTo>
                  <a:pt x="69" y="157"/>
                </a:lnTo>
                <a:lnTo>
                  <a:pt x="66" y="157"/>
                </a:lnTo>
                <a:lnTo>
                  <a:pt x="60" y="151"/>
                </a:lnTo>
                <a:lnTo>
                  <a:pt x="60" y="144"/>
                </a:lnTo>
                <a:lnTo>
                  <a:pt x="60" y="141"/>
                </a:lnTo>
                <a:lnTo>
                  <a:pt x="56" y="141"/>
                </a:lnTo>
                <a:lnTo>
                  <a:pt x="53" y="144"/>
                </a:lnTo>
                <a:lnTo>
                  <a:pt x="53" y="144"/>
                </a:lnTo>
                <a:lnTo>
                  <a:pt x="50" y="144"/>
                </a:lnTo>
                <a:lnTo>
                  <a:pt x="47" y="141"/>
                </a:lnTo>
                <a:lnTo>
                  <a:pt x="47" y="141"/>
                </a:lnTo>
                <a:lnTo>
                  <a:pt x="47" y="141"/>
                </a:lnTo>
                <a:lnTo>
                  <a:pt x="44" y="141"/>
                </a:lnTo>
                <a:lnTo>
                  <a:pt x="44" y="138"/>
                </a:lnTo>
                <a:lnTo>
                  <a:pt x="38" y="135"/>
                </a:lnTo>
                <a:lnTo>
                  <a:pt x="35" y="135"/>
                </a:lnTo>
                <a:lnTo>
                  <a:pt x="35" y="132"/>
                </a:lnTo>
                <a:lnTo>
                  <a:pt x="35" y="129"/>
                </a:lnTo>
                <a:lnTo>
                  <a:pt x="28" y="126"/>
                </a:lnTo>
                <a:lnTo>
                  <a:pt x="25" y="119"/>
                </a:lnTo>
                <a:lnTo>
                  <a:pt x="28" y="119"/>
                </a:lnTo>
                <a:lnTo>
                  <a:pt x="31" y="119"/>
                </a:lnTo>
                <a:lnTo>
                  <a:pt x="35" y="119"/>
                </a:lnTo>
                <a:lnTo>
                  <a:pt x="41" y="122"/>
                </a:lnTo>
                <a:lnTo>
                  <a:pt x="44" y="122"/>
                </a:lnTo>
                <a:lnTo>
                  <a:pt x="44" y="122"/>
                </a:lnTo>
                <a:lnTo>
                  <a:pt x="44" y="119"/>
                </a:lnTo>
                <a:lnTo>
                  <a:pt x="41" y="119"/>
                </a:lnTo>
                <a:lnTo>
                  <a:pt x="41" y="116"/>
                </a:lnTo>
                <a:lnTo>
                  <a:pt x="44" y="116"/>
                </a:lnTo>
                <a:lnTo>
                  <a:pt x="44" y="116"/>
                </a:lnTo>
                <a:lnTo>
                  <a:pt x="47" y="113"/>
                </a:lnTo>
                <a:lnTo>
                  <a:pt x="44" y="110"/>
                </a:lnTo>
                <a:lnTo>
                  <a:pt x="44" y="107"/>
                </a:lnTo>
                <a:lnTo>
                  <a:pt x="47" y="107"/>
                </a:lnTo>
                <a:lnTo>
                  <a:pt x="44" y="101"/>
                </a:lnTo>
                <a:lnTo>
                  <a:pt x="44" y="101"/>
                </a:lnTo>
                <a:lnTo>
                  <a:pt x="41" y="94"/>
                </a:lnTo>
                <a:lnTo>
                  <a:pt x="35" y="91"/>
                </a:lnTo>
                <a:lnTo>
                  <a:pt x="35" y="88"/>
                </a:lnTo>
                <a:lnTo>
                  <a:pt x="31" y="82"/>
                </a:lnTo>
                <a:lnTo>
                  <a:pt x="25" y="76"/>
                </a:lnTo>
                <a:lnTo>
                  <a:pt x="25" y="79"/>
                </a:lnTo>
                <a:lnTo>
                  <a:pt x="22" y="72"/>
                </a:lnTo>
                <a:lnTo>
                  <a:pt x="19" y="69"/>
                </a:lnTo>
                <a:lnTo>
                  <a:pt x="19" y="63"/>
                </a:lnTo>
                <a:lnTo>
                  <a:pt x="19" y="60"/>
                </a:lnTo>
                <a:lnTo>
                  <a:pt x="16" y="57"/>
                </a:lnTo>
                <a:lnTo>
                  <a:pt x="16" y="54"/>
                </a:lnTo>
                <a:lnTo>
                  <a:pt x="16" y="51"/>
                </a:lnTo>
                <a:lnTo>
                  <a:pt x="16" y="47"/>
                </a:lnTo>
                <a:lnTo>
                  <a:pt x="13" y="44"/>
                </a:lnTo>
                <a:lnTo>
                  <a:pt x="13" y="41"/>
                </a:lnTo>
                <a:lnTo>
                  <a:pt x="13" y="41"/>
                </a:lnTo>
                <a:lnTo>
                  <a:pt x="13" y="38"/>
                </a:lnTo>
                <a:lnTo>
                  <a:pt x="6" y="32"/>
                </a:lnTo>
                <a:lnTo>
                  <a:pt x="6" y="29"/>
                </a:lnTo>
                <a:lnTo>
                  <a:pt x="6" y="25"/>
                </a:lnTo>
                <a:lnTo>
                  <a:pt x="10" y="25"/>
                </a:lnTo>
                <a:lnTo>
                  <a:pt x="6" y="22"/>
                </a:lnTo>
                <a:lnTo>
                  <a:pt x="3" y="16"/>
                </a:lnTo>
                <a:lnTo>
                  <a:pt x="0" y="7"/>
                </a:lnTo>
                <a:lnTo>
                  <a:pt x="0" y="4"/>
                </a:lnTo>
                <a:lnTo>
                  <a:pt x="0" y="4"/>
                </a:lnTo>
                <a:close/>
                <a:moveTo>
                  <a:pt x="103" y="191"/>
                </a:moveTo>
                <a:lnTo>
                  <a:pt x="103" y="188"/>
                </a:lnTo>
                <a:lnTo>
                  <a:pt x="103" y="188"/>
                </a:lnTo>
                <a:lnTo>
                  <a:pt x="103" y="185"/>
                </a:lnTo>
                <a:lnTo>
                  <a:pt x="100" y="185"/>
                </a:lnTo>
                <a:lnTo>
                  <a:pt x="103" y="188"/>
                </a:lnTo>
                <a:lnTo>
                  <a:pt x="103" y="191"/>
                </a:lnTo>
                <a:lnTo>
                  <a:pt x="103" y="191"/>
                </a:lnTo>
                <a:close/>
                <a:moveTo>
                  <a:pt x="106" y="201"/>
                </a:moveTo>
                <a:lnTo>
                  <a:pt x="106" y="201"/>
                </a:lnTo>
                <a:lnTo>
                  <a:pt x="106" y="201"/>
                </a:lnTo>
                <a:lnTo>
                  <a:pt x="110" y="201"/>
                </a:lnTo>
                <a:lnTo>
                  <a:pt x="106" y="201"/>
                </a:lnTo>
                <a:lnTo>
                  <a:pt x="106" y="201"/>
                </a:lnTo>
                <a:close/>
                <a:moveTo>
                  <a:pt x="356" y="194"/>
                </a:moveTo>
                <a:lnTo>
                  <a:pt x="360" y="194"/>
                </a:lnTo>
                <a:lnTo>
                  <a:pt x="360" y="191"/>
                </a:lnTo>
                <a:lnTo>
                  <a:pt x="356" y="191"/>
                </a:lnTo>
                <a:lnTo>
                  <a:pt x="356" y="194"/>
                </a:lnTo>
                <a:lnTo>
                  <a:pt x="356" y="194"/>
                </a:lnTo>
                <a:close/>
                <a:moveTo>
                  <a:pt x="356" y="198"/>
                </a:moveTo>
                <a:lnTo>
                  <a:pt x="356" y="198"/>
                </a:lnTo>
                <a:lnTo>
                  <a:pt x="356" y="194"/>
                </a:lnTo>
                <a:lnTo>
                  <a:pt x="356" y="194"/>
                </a:lnTo>
                <a:lnTo>
                  <a:pt x="356" y="198"/>
                </a:lnTo>
                <a:lnTo>
                  <a:pt x="356" y="198"/>
                </a:lnTo>
                <a:close/>
                <a:moveTo>
                  <a:pt x="353" y="207"/>
                </a:moveTo>
                <a:lnTo>
                  <a:pt x="356" y="204"/>
                </a:lnTo>
                <a:lnTo>
                  <a:pt x="356" y="201"/>
                </a:lnTo>
                <a:lnTo>
                  <a:pt x="353" y="207"/>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8" name="Freeform 186">
            <a:extLst>
              <a:ext uri="{FF2B5EF4-FFF2-40B4-BE49-F238E27FC236}">
                <a16:creationId xmlns:a16="http://schemas.microsoft.com/office/drawing/2014/main" id="{99A70323-1BE6-74D2-CAFB-2866B1FDE2E7}"/>
              </a:ext>
            </a:extLst>
          </p:cNvPr>
          <p:cNvSpPr>
            <a:spLocks noEditPoints="1"/>
          </p:cNvSpPr>
          <p:nvPr userDrawn="1"/>
        </p:nvSpPr>
        <p:spPr bwMode="auto">
          <a:xfrm>
            <a:off x="8613212" y="9048037"/>
            <a:ext cx="2431892" cy="2562226"/>
          </a:xfrm>
          <a:custGeom>
            <a:avLst/>
            <a:gdLst>
              <a:gd name="T0" fmla="*/ 146 w 245"/>
              <a:gd name="T1" fmla="*/ 35 h 258"/>
              <a:gd name="T2" fmla="*/ 148 w 245"/>
              <a:gd name="T3" fmla="*/ 34 h 258"/>
              <a:gd name="T4" fmla="*/ 150 w 245"/>
              <a:gd name="T5" fmla="*/ 34 h 258"/>
              <a:gd name="T6" fmla="*/ 154 w 245"/>
              <a:gd name="T7" fmla="*/ 35 h 258"/>
              <a:gd name="T8" fmla="*/ 141 w 245"/>
              <a:gd name="T9" fmla="*/ 7 h 258"/>
              <a:gd name="T10" fmla="*/ 133 w 245"/>
              <a:gd name="T11" fmla="*/ 19 h 258"/>
              <a:gd name="T12" fmla="*/ 124 w 245"/>
              <a:gd name="T13" fmla="*/ 21 h 258"/>
              <a:gd name="T14" fmla="*/ 112 w 245"/>
              <a:gd name="T15" fmla="*/ 19 h 258"/>
              <a:gd name="T16" fmla="*/ 106 w 245"/>
              <a:gd name="T17" fmla="*/ 21 h 258"/>
              <a:gd name="T18" fmla="*/ 91 w 245"/>
              <a:gd name="T19" fmla="*/ 24 h 258"/>
              <a:gd name="T20" fmla="*/ 90 w 245"/>
              <a:gd name="T21" fmla="*/ 8 h 258"/>
              <a:gd name="T22" fmla="*/ 83 w 245"/>
              <a:gd name="T23" fmla="*/ 0 h 258"/>
              <a:gd name="T24" fmla="*/ 62 w 245"/>
              <a:gd name="T25" fmla="*/ 9 h 258"/>
              <a:gd name="T26" fmla="*/ 65 w 245"/>
              <a:gd name="T27" fmla="*/ 18 h 258"/>
              <a:gd name="T28" fmla="*/ 43 w 245"/>
              <a:gd name="T29" fmla="*/ 26 h 258"/>
              <a:gd name="T30" fmla="*/ 25 w 245"/>
              <a:gd name="T31" fmla="*/ 25 h 258"/>
              <a:gd name="T32" fmla="*/ 28 w 245"/>
              <a:gd name="T33" fmla="*/ 44 h 258"/>
              <a:gd name="T34" fmla="*/ 14 w 245"/>
              <a:gd name="T35" fmla="*/ 63 h 258"/>
              <a:gd name="T36" fmla="*/ 3 w 245"/>
              <a:gd name="T37" fmla="*/ 77 h 258"/>
              <a:gd name="T38" fmla="*/ 7 w 245"/>
              <a:gd name="T39" fmla="*/ 94 h 258"/>
              <a:gd name="T40" fmla="*/ 22 w 245"/>
              <a:gd name="T41" fmla="*/ 105 h 258"/>
              <a:gd name="T42" fmla="*/ 38 w 245"/>
              <a:gd name="T43" fmla="*/ 103 h 258"/>
              <a:gd name="T44" fmla="*/ 53 w 245"/>
              <a:gd name="T45" fmla="*/ 103 h 258"/>
              <a:gd name="T46" fmla="*/ 71 w 245"/>
              <a:gd name="T47" fmla="*/ 118 h 258"/>
              <a:gd name="T48" fmla="*/ 88 w 245"/>
              <a:gd name="T49" fmla="*/ 135 h 258"/>
              <a:gd name="T50" fmla="*/ 104 w 245"/>
              <a:gd name="T51" fmla="*/ 166 h 258"/>
              <a:gd name="T52" fmla="*/ 119 w 245"/>
              <a:gd name="T53" fmla="*/ 179 h 258"/>
              <a:gd name="T54" fmla="*/ 127 w 245"/>
              <a:gd name="T55" fmla="*/ 199 h 258"/>
              <a:gd name="T56" fmla="*/ 130 w 245"/>
              <a:gd name="T57" fmla="*/ 213 h 258"/>
              <a:gd name="T58" fmla="*/ 117 w 245"/>
              <a:gd name="T59" fmla="*/ 225 h 258"/>
              <a:gd name="T60" fmla="*/ 119 w 245"/>
              <a:gd name="T61" fmla="*/ 235 h 258"/>
              <a:gd name="T62" fmla="*/ 135 w 245"/>
              <a:gd name="T63" fmla="*/ 246 h 258"/>
              <a:gd name="T64" fmla="*/ 144 w 245"/>
              <a:gd name="T65" fmla="*/ 250 h 258"/>
              <a:gd name="T66" fmla="*/ 149 w 245"/>
              <a:gd name="T67" fmla="*/ 238 h 258"/>
              <a:gd name="T68" fmla="*/ 153 w 245"/>
              <a:gd name="T69" fmla="*/ 233 h 258"/>
              <a:gd name="T70" fmla="*/ 147 w 245"/>
              <a:gd name="T71" fmla="*/ 244 h 258"/>
              <a:gd name="T72" fmla="*/ 164 w 245"/>
              <a:gd name="T73" fmla="*/ 219 h 258"/>
              <a:gd name="T74" fmla="*/ 164 w 245"/>
              <a:gd name="T75" fmla="*/ 208 h 258"/>
              <a:gd name="T76" fmla="*/ 168 w 245"/>
              <a:gd name="T77" fmla="*/ 197 h 258"/>
              <a:gd name="T78" fmla="*/ 184 w 245"/>
              <a:gd name="T79" fmla="*/ 186 h 258"/>
              <a:gd name="T80" fmla="*/ 193 w 245"/>
              <a:gd name="T81" fmla="*/ 181 h 258"/>
              <a:gd name="T82" fmla="*/ 199 w 245"/>
              <a:gd name="T83" fmla="*/ 181 h 258"/>
              <a:gd name="T84" fmla="*/ 210 w 245"/>
              <a:gd name="T85" fmla="*/ 170 h 258"/>
              <a:gd name="T86" fmla="*/ 217 w 245"/>
              <a:gd name="T87" fmla="*/ 150 h 258"/>
              <a:gd name="T88" fmla="*/ 221 w 245"/>
              <a:gd name="T89" fmla="*/ 123 h 258"/>
              <a:gd name="T90" fmla="*/ 219 w 245"/>
              <a:gd name="T91" fmla="*/ 114 h 258"/>
              <a:gd name="T92" fmla="*/ 227 w 245"/>
              <a:gd name="T93" fmla="*/ 112 h 258"/>
              <a:gd name="T94" fmla="*/ 244 w 245"/>
              <a:gd name="T95" fmla="*/ 88 h 258"/>
              <a:gd name="T96" fmla="*/ 238 w 245"/>
              <a:gd name="T97" fmla="*/ 66 h 258"/>
              <a:gd name="T98" fmla="*/ 214 w 245"/>
              <a:gd name="T99" fmla="*/ 52 h 258"/>
              <a:gd name="T100" fmla="*/ 201 w 245"/>
              <a:gd name="T101" fmla="*/ 52 h 258"/>
              <a:gd name="T102" fmla="*/ 190 w 245"/>
              <a:gd name="T103" fmla="*/ 50 h 258"/>
              <a:gd name="T104" fmla="*/ 184 w 245"/>
              <a:gd name="T105" fmla="*/ 55 h 258"/>
              <a:gd name="T106" fmla="*/ 178 w 245"/>
              <a:gd name="T107" fmla="*/ 45 h 258"/>
              <a:gd name="T108" fmla="*/ 170 w 245"/>
              <a:gd name="T109" fmla="*/ 40 h 258"/>
              <a:gd name="T110" fmla="*/ 160 w 245"/>
              <a:gd name="T111" fmla="*/ 43 h 258"/>
              <a:gd name="T112" fmla="*/ 151 w 245"/>
              <a:gd name="T113" fmla="*/ 52 h 258"/>
              <a:gd name="T114" fmla="*/ 148 w 245"/>
              <a:gd name="T115" fmla="*/ 46 h 258"/>
              <a:gd name="T116" fmla="*/ 160 w 245"/>
              <a:gd name="T117" fmla="*/ 37 h 258"/>
              <a:gd name="T118" fmla="*/ 146 w 245"/>
              <a:gd name="T119" fmla="*/ 39 h 258"/>
              <a:gd name="T120" fmla="*/ 139 w 245"/>
              <a:gd name="T121" fmla="*/ 40 h 258"/>
              <a:gd name="T122" fmla="*/ 149 w 245"/>
              <a:gd name="T123" fmla="*/ 28 h 258"/>
              <a:gd name="T124" fmla="*/ 143 w 245"/>
              <a:gd name="T125" fmla="*/ 1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5" h="258">
                <a:moveTo>
                  <a:pt x="143" y="38"/>
                </a:moveTo>
                <a:cubicBezTo>
                  <a:pt x="144" y="37"/>
                  <a:pt x="144" y="37"/>
                  <a:pt x="144" y="37"/>
                </a:cubicBezTo>
                <a:cubicBezTo>
                  <a:pt x="145" y="37"/>
                  <a:pt x="145" y="37"/>
                  <a:pt x="145" y="37"/>
                </a:cubicBezTo>
                <a:cubicBezTo>
                  <a:pt x="145" y="37"/>
                  <a:pt x="145" y="37"/>
                  <a:pt x="145" y="37"/>
                </a:cubicBezTo>
                <a:cubicBezTo>
                  <a:pt x="145" y="38"/>
                  <a:pt x="145" y="38"/>
                  <a:pt x="145" y="38"/>
                </a:cubicBezTo>
                <a:cubicBezTo>
                  <a:pt x="144" y="38"/>
                  <a:pt x="144" y="38"/>
                  <a:pt x="144" y="38"/>
                </a:cubicBezTo>
                <a:cubicBezTo>
                  <a:pt x="143" y="38"/>
                  <a:pt x="143" y="38"/>
                  <a:pt x="143" y="38"/>
                </a:cubicBezTo>
                <a:close/>
                <a:moveTo>
                  <a:pt x="142" y="38"/>
                </a:moveTo>
                <a:cubicBezTo>
                  <a:pt x="143" y="38"/>
                  <a:pt x="143" y="38"/>
                  <a:pt x="143" y="38"/>
                </a:cubicBezTo>
                <a:cubicBezTo>
                  <a:pt x="143" y="37"/>
                  <a:pt x="143" y="37"/>
                  <a:pt x="143" y="37"/>
                </a:cubicBezTo>
                <a:cubicBezTo>
                  <a:pt x="144" y="36"/>
                  <a:pt x="144" y="36"/>
                  <a:pt x="144" y="36"/>
                </a:cubicBezTo>
                <a:cubicBezTo>
                  <a:pt x="145" y="36"/>
                  <a:pt x="145" y="36"/>
                  <a:pt x="145" y="36"/>
                </a:cubicBezTo>
                <a:cubicBezTo>
                  <a:pt x="146" y="35"/>
                  <a:pt x="146" y="35"/>
                  <a:pt x="146" y="35"/>
                </a:cubicBezTo>
                <a:cubicBezTo>
                  <a:pt x="146" y="35"/>
                  <a:pt x="146" y="35"/>
                  <a:pt x="146" y="35"/>
                </a:cubicBezTo>
                <a:cubicBezTo>
                  <a:pt x="145" y="35"/>
                  <a:pt x="145" y="35"/>
                  <a:pt x="145" y="35"/>
                </a:cubicBezTo>
                <a:cubicBezTo>
                  <a:pt x="145" y="35"/>
                  <a:pt x="145" y="35"/>
                  <a:pt x="145" y="35"/>
                </a:cubicBezTo>
                <a:cubicBezTo>
                  <a:pt x="144" y="35"/>
                  <a:pt x="144" y="35"/>
                  <a:pt x="144" y="35"/>
                </a:cubicBezTo>
                <a:cubicBezTo>
                  <a:pt x="143" y="36"/>
                  <a:pt x="143" y="36"/>
                  <a:pt x="143" y="36"/>
                </a:cubicBezTo>
                <a:cubicBezTo>
                  <a:pt x="142" y="38"/>
                  <a:pt x="142" y="38"/>
                  <a:pt x="142" y="38"/>
                </a:cubicBezTo>
                <a:close/>
                <a:moveTo>
                  <a:pt x="148" y="34"/>
                </a:moveTo>
                <a:cubicBezTo>
                  <a:pt x="147" y="33"/>
                  <a:pt x="147" y="33"/>
                  <a:pt x="147" y="33"/>
                </a:cubicBezTo>
                <a:cubicBezTo>
                  <a:pt x="147" y="33"/>
                  <a:pt x="147" y="33"/>
                  <a:pt x="147" y="33"/>
                </a:cubicBezTo>
                <a:cubicBezTo>
                  <a:pt x="147" y="33"/>
                  <a:pt x="147" y="33"/>
                  <a:pt x="147" y="33"/>
                </a:cubicBezTo>
                <a:cubicBezTo>
                  <a:pt x="147" y="34"/>
                  <a:pt x="147" y="34"/>
                  <a:pt x="147" y="34"/>
                </a:cubicBezTo>
                <a:cubicBezTo>
                  <a:pt x="148" y="34"/>
                  <a:pt x="148" y="34"/>
                  <a:pt x="148" y="34"/>
                </a:cubicBezTo>
                <a:cubicBezTo>
                  <a:pt x="148" y="34"/>
                  <a:pt x="148" y="34"/>
                  <a:pt x="148" y="34"/>
                </a:cubicBezTo>
                <a:close/>
                <a:moveTo>
                  <a:pt x="148" y="32"/>
                </a:moveTo>
                <a:cubicBezTo>
                  <a:pt x="147" y="31"/>
                  <a:pt x="147" y="31"/>
                  <a:pt x="147" y="31"/>
                </a:cubicBezTo>
                <a:cubicBezTo>
                  <a:pt x="148" y="30"/>
                  <a:pt x="148" y="30"/>
                  <a:pt x="148" y="30"/>
                </a:cubicBezTo>
                <a:cubicBezTo>
                  <a:pt x="149" y="30"/>
                  <a:pt x="149" y="30"/>
                  <a:pt x="149" y="30"/>
                </a:cubicBezTo>
                <a:cubicBezTo>
                  <a:pt x="150" y="29"/>
                  <a:pt x="150" y="29"/>
                  <a:pt x="150" y="29"/>
                </a:cubicBezTo>
                <a:cubicBezTo>
                  <a:pt x="150" y="30"/>
                  <a:pt x="150" y="30"/>
                  <a:pt x="150" y="30"/>
                </a:cubicBezTo>
                <a:cubicBezTo>
                  <a:pt x="150" y="30"/>
                  <a:pt x="150" y="30"/>
                  <a:pt x="150" y="30"/>
                </a:cubicBezTo>
                <a:cubicBezTo>
                  <a:pt x="149" y="31"/>
                  <a:pt x="149" y="31"/>
                  <a:pt x="149" y="31"/>
                </a:cubicBezTo>
                <a:cubicBezTo>
                  <a:pt x="148" y="32"/>
                  <a:pt x="148" y="32"/>
                  <a:pt x="148" y="32"/>
                </a:cubicBezTo>
                <a:cubicBezTo>
                  <a:pt x="148" y="32"/>
                  <a:pt x="148" y="32"/>
                  <a:pt x="148" y="32"/>
                </a:cubicBezTo>
                <a:close/>
                <a:moveTo>
                  <a:pt x="148" y="33"/>
                </a:moveTo>
                <a:cubicBezTo>
                  <a:pt x="149" y="33"/>
                  <a:pt x="149" y="33"/>
                  <a:pt x="149" y="33"/>
                </a:cubicBezTo>
                <a:cubicBezTo>
                  <a:pt x="150" y="34"/>
                  <a:pt x="150" y="34"/>
                  <a:pt x="150" y="34"/>
                </a:cubicBezTo>
                <a:cubicBezTo>
                  <a:pt x="151" y="34"/>
                  <a:pt x="151" y="34"/>
                  <a:pt x="151" y="34"/>
                </a:cubicBezTo>
                <a:cubicBezTo>
                  <a:pt x="151" y="33"/>
                  <a:pt x="151" y="33"/>
                  <a:pt x="151" y="33"/>
                </a:cubicBezTo>
                <a:cubicBezTo>
                  <a:pt x="152" y="33"/>
                  <a:pt x="152" y="33"/>
                  <a:pt x="152" y="33"/>
                </a:cubicBezTo>
                <a:cubicBezTo>
                  <a:pt x="151" y="32"/>
                  <a:pt x="151" y="32"/>
                  <a:pt x="151" y="32"/>
                </a:cubicBezTo>
                <a:cubicBezTo>
                  <a:pt x="149" y="33"/>
                  <a:pt x="149" y="33"/>
                  <a:pt x="149" y="33"/>
                </a:cubicBezTo>
                <a:cubicBezTo>
                  <a:pt x="148" y="33"/>
                  <a:pt x="148" y="33"/>
                  <a:pt x="148" y="33"/>
                </a:cubicBezTo>
                <a:cubicBezTo>
                  <a:pt x="148" y="33"/>
                  <a:pt x="148" y="33"/>
                  <a:pt x="148" y="33"/>
                </a:cubicBezTo>
                <a:close/>
                <a:moveTo>
                  <a:pt x="152" y="35"/>
                </a:moveTo>
                <a:cubicBezTo>
                  <a:pt x="153" y="34"/>
                  <a:pt x="153" y="34"/>
                  <a:pt x="153" y="34"/>
                </a:cubicBezTo>
                <a:cubicBezTo>
                  <a:pt x="153" y="34"/>
                  <a:pt x="153" y="34"/>
                  <a:pt x="153" y="34"/>
                </a:cubicBezTo>
                <a:cubicBezTo>
                  <a:pt x="154" y="34"/>
                  <a:pt x="154" y="34"/>
                  <a:pt x="154" y="34"/>
                </a:cubicBezTo>
                <a:cubicBezTo>
                  <a:pt x="154" y="34"/>
                  <a:pt x="154" y="34"/>
                  <a:pt x="154" y="34"/>
                </a:cubicBezTo>
                <a:cubicBezTo>
                  <a:pt x="154" y="35"/>
                  <a:pt x="154" y="35"/>
                  <a:pt x="154" y="35"/>
                </a:cubicBezTo>
                <a:cubicBezTo>
                  <a:pt x="153" y="35"/>
                  <a:pt x="153" y="35"/>
                  <a:pt x="153" y="35"/>
                </a:cubicBezTo>
                <a:cubicBezTo>
                  <a:pt x="152" y="35"/>
                  <a:pt x="152" y="35"/>
                  <a:pt x="152" y="35"/>
                </a:cubicBezTo>
                <a:close/>
                <a:moveTo>
                  <a:pt x="148" y="22"/>
                </a:moveTo>
                <a:cubicBezTo>
                  <a:pt x="147" y="21"/>
                  <a:pt x="147" y="21"/>
                  <a:pt x="147" y="21"/>
                </a:cubicBezTo>
                <a:cubicBezTo>
                  <a:pt x="147" y="19"/>
                  <a:pt x="147" y="19"/>
                  <a:pt x="147" y="19"/>
                </a:cubicBezTo>
                <a:cubicBezTo>
                  <a:pt x="147" y="19"/>
                  <a:pt x="147" y="19"/>
                  <a:pt x="147" y="19"/>
                </a:cubicBezTo>
                <a:cubicBezTo>
                  <a:pt x="148" y="19"/>
                  <a:pt x="148" y="19"/>
                  <a:pt x="148" y="19"/>
                </a:cubicBezTo>
                <a:cubicBezTo>
                  <a:pt x="149" y="21"/>
                  <a:pt x="149" y="21"/>
                  <a:pt x="149" y="21"/>
                </a:cubicBezTo>
                <a:cubicBezTo>
                  <a:pt x="148" y="22"/>
                  <a:pt x="148" y="22"/>
                  <a:pt x="148" y="22"/>
                </a:cubicBezTo>
                <a:cubicBezTo>
                  <a:pt x="148" y="22"/>
                  <a:pt x="148" y="22"/>
                  <a:pt x="148" y="22"/>
                </a:cubicBezTo>
                <a:close/>
                <a:moveTo>
                  <a:pt x="142" y="9"/>
                </a:moveTo>
                <a:cubicBezTo>
                  <a:pt x="142" y="9"/>
                  <a:pt x="142" y="9"/>
                  <a:pt x="142" y="9"/>
                </a:cubicBezTo>
                <a:cubicBezTo>
                  <a:pt x="141" y="7"/>
                  <a:pt x="141" y="7"/>
                  <a:pt x="141" y="7"/>
                </a:cubicBezTo>
                <a:cubicBezTo>
                  <a:pt x="141" y="6"/>
                  <a:pt x="141" y="6"/>
                  <a:pt x="141" y="6"/>
                </a:cubicBezTo>
                <a:cubicBezTo>
                  <a:pt x="140" y="6"/>
                  <a:pt x="140" y="6"/>
                  <a:pt x="140" y="6"/>
                </a:cubicBezTo>
                <a:cubicBezTo>
                  <a:pt x="140" y="7"/>
                  <a:pt x="140" y="7"/>
                  <a:pt x="140" y="7"/>
                </a:cubicBezTo>
                <a:cubicBezTo>
                  <a:pt x="140" y="8"/>
                  <a:pt x="140" y="8"/>
                  <a:pt x="140" y="8"/>
                </a:cubicBezTo>
                <a:cubicBezTo>
                  <a:pt x="138" y="9"/>
                  <a:pt x="138" y="9"/>
                  <a:pt x="138" y="9"/>
                </a:cubicBezTo>
                <a:cubicBezTo>
                  <a:pt x="138" y="9"/>
                  <a:pt x="138" y="9"/>
                  <a:pt x="138" y="9"/>
                </a:cubicBezTo>
                <a:cubicBezTo>
                  <a:pt x="138" y="9"/>
                  <a:pt x="138" y="9"/>
                  <a:pt x="138" y="9"/>
                </a:cubicBezTo>
                <a:cubicBezTo>
                  <a:pt x="138" y="10"/>
                  <a:pt x="138" y="10"/>
                  <a:pt x="138" y="10"/>
                </a:cubicBezTo>
                <a:cubicBezTo>
                  <a:pt x="136" y="12"/>
                  <a:pt x="136" y="12"/>
                  <a:pt x="136" y="12"/>
                </a:cubicBezTo>
                <a:cubicBezTo>
                  <a:pt x="135" y="14"/>
                  <a:pt x="135" y="14"/>
                  <a:pt x="135" y="14"/>
                </a:cubicBezTo>
                <a:cubicBezTo>
                  <a:pt x="135" y="15"/>
                  <a:pt x="135" y="15"/>
                  <a:pt x="135" y="15"/>
                </a:cubicBezTo>
                <a:cubicBezTo>
                  <a:pt x="134" y="17"/>
                  <a:pt x="134" y="17"/>
                  <a:pt x="134" y="17"/>
                </a:cubicBezTo>
                <a:cubicBezTo>
                  <a:pt x="133" y="19"/>
                  <a:pt x="133" y="19"/>
                  <a:pt x="133" y="19"/>
                </a:cubicBezTo>
                <a:cubicBezTo>
                  <a:pt x="132" y="21"/>
                  <a:pt x="132" y="21"/>
                  <a:pt x="132" y="21"/>
                </a:cubicBezTo>
                <a:cubicBezTo>
                  <a:pt x="131" y="21"/>
                  <a:pt x="131" y="21"/>
                  <a:pt x="131" y="21"/>
                </a:cubicBezTo>
                <a:cubicBezTo>
                  <a:pt x="130" y="21"/>
                  <a:pt x="130" y="21"/>
                  <a:pt x="130" y="21"/>
                </a:cubicBezTo>
                <a:cubicBezTo>
                  <a:pt x="130" y="22"/>
                  <a:pt x="130" y="22"/>
                  <a:pt x="130" y="22"/>
                </a:cubicBezTo>
                <a:cubicBezTo>
                  <a:pt x="129" y="23"/>
                  <a:pt x="129" y="23"/>
                  <a:pt x="129" y="23"/>
                </a:cubicBezTo>
                <a:cubicBezTo>
                  <a:pt x="128" y="23"/>
                  <a:pt x="128" y="23"/>
                  <a:pt x="128" y="23"/>
                </a:cubicBezTo>
                <a:cubicBezTo>
                  <a:pt x="128" y="21"/>
                  <a:pt x="128" y="21"/>
                  <a:pt x="128" y="21"/>
                </a:cubicBezTo>
                <a:cubicBezTo>
                  <a:pt x="127" y="21"/>
                  <a:pt x="127" y="21"/>
                  <a:pt x="127" y="21"/>
                </a:cubicBezTo>
                <a:cubicBezTo>
                  <a:pt x="127" y="20"/>
                  <a:pt x="127" y="20"/>
                  <a:pt x="127" y="20"/>
                </a:cubicBezTo>
                <a:cubicBezTo>
                  <a:pt x="127" y="20"/>
                  <a:pt x="127" y="20"/>
                  <a:pt x="127" y="20"/>
                </a:cubicBezTo>
                <a:cubicBezTo>
                  <a:pt x="126" y="21"/>
                  <a:pt x="126" y="21"/>
                  <a:pt x="126" y="21"/>
                </a:cubicBezTo>
                <a:cubicBezTo>
                  <a:pt x="125" y="21"/>
                  <a:pt x="125" y="21"/>
                  <a:pt x="125" y="21"/>
                </a:cubicBezTo>
                <a:cubicBezTo>
                  <a:pt x="124" y="21"/>
                  <a:pt x="124" y="21"/>
                  <a:pt x="124" y="21"/>
                </a:cubicBezTo>
                <a:cubicBezTo>
                  <a:pt x="123" y="20"/>
                  <a:pt x="123" y="20"/>
                  <a:pt x="123" y="20"/>
                </a:cubicBezTo>
                <a:cubicBezTo>
                  <a:pt x="123" y="20"/>
                  <a:pt x="123" y="20"/>
                  <a:pt x="123" y="20"/>
                </a:cubicBezTo>
                <a:cubicBezTo>
                  <a:pt x="123" y="19"/>
                  <a:pt x="123" y="19"/>
                  <a:pt x="123" y="19"/>
                </a:cubicBezTo>
                <a:cubicBezTo>
                  <a:pt x="122" y="18"/>
                  <a:pt x="122" y="18"/>
                  <a:pt x="122" y="18"/>
                </a:cubicBezTo>
                <a:cubicBezTo>
                  <a:pt x="122" y="18"/>
                  <a:pt x="122" y="18"/>
                  <a:pt x="122" y="18"/>
                </a:cubicBezTo>
                <a:cubicBezTo>
                  <a:pt x="121" y="18"/>
                  <a:pt x="121" y="18"/>
                  <a:pt x="121" y="18"/>
                </a:cubicBezTo>
                <a:cubicBezTo>
                  <a:pt x="120" y="16"/>
                  <a:pt x="120" y="16"/>
                  <a:pt x="120" y="16"/>
                </a:cubicBezTo>
                <a:cubicBezTo>
                  <a:pt x="118" y="16"/>
                  <a:pt x="118" y="16"/>
                  <a:pt x="118" y="16"/>
                </a:cubicBezTo>
                <a:cubicBezTo>
                  <a:pt x="117" y="17"/>
                  <a:pt x="117" y="17"/>
                  <a:pt x="117" y="17"/>
                </a:cubicBezTo>
                <a:cubicBezTo>
                  <a:pt x="115" y="17"/>
                  <a:pt x="115" y="17"/>
                  <a:pt x="115" y="17"/>
                </a:cubicBezTo>
                <a:cubicBezTo>
                  <a:pt x="113" y="17"/>
                  <a:pt x="113" y="17"/>
                  <a:pt x="113" y="17"/>
                </a:cubicBezTo>
                <a:cubicBezTo>
                  <a:pt x="112" y="17"/>
                  <a:pt x="112" y="17"/>
                  <a:pt x="112" y="17"/>
                </a:cubicBezTo>
                <a:cubicBezTo>
                  <a:pt x="112" y="19"/>
                  <a:pt x="112" y="19"/>
                  <a:pt x="112" y="19"/>
                </a:cubicBezTo>
                <a:cubicBezTo>
                  <a:pt x="113" y="20"/>
                  <a:pt x="113" y="20"/>
                  <a:pt x="113" y="20"/>
                </a:cubicBezTo>
                <a:cubicBezTo>
                  <a:pt x="113" y="20"/>
                  <a:pt x="113" y="20"/>
                  <a:pt x="113" y="20"/>
                </a:cubicBezTo>
                <a:cubicBezTo>
                  <a:pt x="114" y="22"/>
                  <a:pt x="114" y="22"/>
                  <a:pt x="114" y="22"/>
                </a:cubicBezTo>
                <a:cubicBezTo>
                  <a:pt x="114" y="22"/>
                  <a:pt x="114" y="22"/>
                  <a:pt x="114" y="22"/>
                </a:cubicBezTo>
                <a:cubicBezTo>
                  <a:pt x="112" y="22"/>
                  <a:pt x="112" y="22"/>
                  <a:pt x="112" y="22"/>
                </a:cubicBezTo>
                <a:cubicBezTo>
                  <a:pt x="111" y="22"/>
                  <a:pt x="111" y="22"/>
                  <a:pt x="111" y="22"/>
                </a:cubicBezTo>
                <a:cubicBezTo>
                  <a:pt x="111" y="22"/>
                  <a:pt x="111" y="22"/>
                  <a:pt x="111" y="22"/>
                </a:cubicBezTo>
                <a:cubicBezTo>
                  <a:pt x="110" y="22"/>
                  <a:pt x="110" y="22"/>
                  <a:pt x="110" y="22"/>
                </a:cubicBezTo>
                <a:cubicBezTo>
                  <a:pt x="110" y="22"/>
                  <a:pt x="110" y="22"/>
                  <a:pt x="110" y="22"/>
                </a:cubicBezTo>
                <a:cubicBezTo>
                  <a:pt x="110" y="22"/>
                  <a:pt x="110" y="22"/>
                  <a:pt x="110" y="22"/>
                </a:cubicBezTo>
                <a:cubicBezTo>
                  <a:pt x="108" y="22"/>
                  <a:pt x="108" y="22"/>
                  <a:pt x="108" y="22"/>
                </a:cubicBezTo>
                <a:cubicBezTo>
                  <a:pt x="107" y="22"/>
                  <a:pt x="107" y="22"/>
                  <a:pt x="107" y="22"/>
                </a:cubicBezTo>
                <a:cubicBezTo>
                  <a:pt x="106" y="21"/>
                  <a:pt x="106" y="21"/>
                  <a:pt x="106" y="21"/>
                </a:cubicBezTo>
                <a:cubicBezTo>
                  <a:pt x="104" y="21"/>
                  <a:pt x="104" y="21"/>
                  <a:pt x="104" y="21"/>
                </a:cubicBezTo>
                <a:cubicBezTo>
                  <a:pt x="103" y="22"/>
                  <a:pt x="103" y="22"/>
                  <a:pt x="103" y="22"/>
                </a:cubicBezTo>
                <a:cubicBezTo>
                  <a:pt x="102" y="24"/>
                  <a:pt x="102" y="24"/>
                  <a:pt x="102" y="24"/>
                </a:cubicBezTo>
                <a:cubicBezTo>
                  <a:pt x="100" y="24"/>
                  <a:pt x="100" y="24"/>
                  <a:pt x="100" y="24"/>
                </a:cubicBezTo>
                <a:cubicBezTo>
                  <a:pt x="98" y="24"/>
                  <a:pt x="98" y="24"/>
                  <a:pt x="98" y="24"/>
                </a:cubicBezTo>
                <a:cubicBezTo>
                  <a:pt x="98" y="25"/>
                  <a:pt x="98" y="25"/>
                  <a:pt x="98" y="25"/>
                </a:cubicBezTo>
                <a:cubicBezTo>
                  <a:pt x="97" y="26"/>
                  <a:pt x="97" y="26"/>
                  <a:pt x="97" y="26"/>
                </a:cubicBezTo>
                <a:cubicBezTo>
                  <a:pt x="96" y="26"/>
                  <a:pt x="96" y="26"/>
                  <a:pt x="96" y="26"/>
                </a:cubicBezTo>
                <a:cubicBezTo>
                  <a:pt x="96" y="26"/>
                  <a:pt x="96" y="26"/>
                  <a:pt x="96" y="26"/>
                </a:cubicBezTo>
                <a:cubicBezTo>
                  <a:pt x="95" y="26"/>
                  <a:pt x="95" y="26"/>
                  <a:pt x="95" y="26"/>
                </a:cubicBezTo>
                <a:cubicBezTo>
                  <a:pt x="94" y="27"/>
                  <a:pt x="94" y="27"/>
                  <a:pt x="94" y="27"/>
                </a:cubicBezTo>
                <a:cubicBezTo>
                  <a:pt x="93" y="26"/>
                  <a:pt x="93" y="26"/>
                  <a:pt x="93" y="26"/>
                </a:cubicBezTo>
                <a:cubicBezTo>
                  <a:pt x="91" y="24"/>
                  <a:pt x="91" y="24"/>
                  <a:pt x="91" y="24"/>
                </a:cubicBezTo>
                <a:cubicBezTo>
                  <a:pt x="90" y="23"/>
                  <a:pt x="90" y="23"/>
                  <a:pt x="90" y="23"/>
                </a:cubicBezTo>
                <a:cubicBezTo>
                  <a:pt x="90" y="22"/>
                  <a:pt x="90" y="22"/>
                  <a:pt x="90" y="22"/>
                </a:cubicBezTo>
                <a:cubicBezTo>
                  <a:pt x="88" y="21"/>
                  <a:pt x="88" y="21"/>
                  <a:pt x="88" y="21"/>
                </a:cubicBezTo>
                <a:cubicBezTo>
                  <a:pt x="87" y="20"/>
                  <a:pt x="87" y="20"/>
                  <a:pt x="87" y="20"/>
                </a:cubicBezTo>
                <a:cubicBezTo>
                  <a:pt x="87" y="18"/>
                  <a:pt x="87" y="18"/>
                  <a:pt x="87" y="18"/>
                </a:cubicBezTo>
                <a:cubicBezTo>
                  <a:pt x="87" y="18"/>
                  <a:pt x="87" y="18"/>
                  <a:pt x="87" y="18"/>
                </a:cubicBezTo>
                <a:cubicBezTo>
                  <a:pt x="87" y="17"/>
                  <a:pt x="87" y="17"/>
                  <a:pt x="87" y="17"/>
                </a:cubicBezTo>
                <a:cubicBezTo>
                  <a:pt x="87" y="16"/>
                  <a:pt x="87" y="16"/>
                  <a:pt x="87" y="16"/>
                </a:cubicBezTo>
                <a:cubicBezTo>
                  <a:pt x="88" y="15"/>
                  <a:pt x="88" y="15"/>
                  <a:pt x="88" y="15"/>
                </a:cubicBezTo>
                <a:cubicBezTo>
                  <a:pt x="88" y="13"/>
                  <a:pt x="88" y="13"/>
                  <a:pt x="88" y="13"/>
                </a:cubicBezTo>
                <a:cubicBezTo>
                  <a:pt x="89" y="11"/>
                  <a:pt x="89" y="11"/>
                  <a:pt x="89" y="11"/>
                </a:cubicBezTo>
                <a:cubicBezTo>
                  <a:pt x="89" y="10"/>
                  <a:pt x="89" y="10"/>
                  <a:pt x="89" y="10"/>
                </a:cubicBezTo>
                <a:cubicBezTo>
                  <a:pt x="90" y="8"/>
                  <a:pt x="90" y="8"/>
                  <a:pt x="90" y="8"/>
                </a:cubicBezTo>
                <a:cubicBezTo>
                  <a:pt x="90" y="8"/>
                  <a:pt x="90" y="8"/>
                  <a:pt x="90" y="8"/>
                </a:cubicBezTo>
                <a:cubicBezTo>
                  <a:pt x="89" y="8"/>
                  <a:pt x="89" y="8"/>
                  <a:pt x="89" y="8"/>
                </a:cubicBezTo>
                <a:cubicBezTo>
                  <a:pt x="89" y="7"/>
                  <a:pt x="89" y="7"/>
                  <a:pt x="89" y="7"/>
                </a:cubicBezTo>
                <a:cubicBezTo>
                  <a:pt x="88" y="6"/>
                  <a:pt x="88" y="6"/>
                  <a:pt x="88" y="6"/>
                </a:cubicBezTo>
                <a:cubicBezTo>
                  <a:pt x="87" y="6"/>
                  <a:pt x="87" y="6"/>
                  <a:pt x="87" y="6"/>
                </a:cubicBezTo>
                <a:cubicBezTo>
                  <a:pt x="86" y="5"/>
                  <a:pt x="86" y="5"/>
                  <a:pt x="86" y="5"/>
                </a:cubicBezTo>
                <a:cubicBezTo>
                  <a:pt x="86" y="5"/>
                  <a:pt x="86" y="5"/>
                  <a:pt x="86" y="5"/>
                </a:cubicBezTo>
                <a:cubicBezTo>
                  <a:pt x="87" y="3"/>
                  <a:pt x="87" y="3"/>
                  <a:pt x="87" y="3"/>
                </a:cubicBezTo>
                <a:cubicBezTo>
                  <a:pt x="87" y="2"/>
                  <a:pt x="87" y="2"/>
                  <a:pt x="87" y="2"/>
                </a:cubicBezTo>
                <a:cubicBezTo>
                  <a:pt x="86" y="0"/>
                  <a:pt x="86" y="0"/>
                  <a:pt x="86" y="0"/>
                </a:cubicBezTo>
                <a:cubicBezTo>
                  <a:pt x="85" y="0"/>
                  <a:pt x="85" y="0"/>
                  <a:pt x="85" y="0"/>
                </a:cubicBezTo>
                <a:cubicBezTo>
                  <a:pt x="84" y="1"/>
                  <a:pt x="84" y="1"/>
                  <a:pt x="84" y="1"/>
                </a:cubicBezTo>
                <a:cubicBezTo>
                  <a:pt x="83" y="0"/>
                  <a:pt x="83" y="0"/>
                  <a:pt x="83" y="0"/>
                </a:cubicBezTo>
                <a:cubicBezTo>
                  <a:pt x="83" y="0"/>
                  <a:pt x="83" y="0"/>
                  <a:pt x="83" y="0"/>
                </a:cubicBezTo>
                <a:cubicBezTo>
                  <a:pt x="83" y="1"/>
                  <a:pt x="83" y="1"/>
                  <a:pt x="83" y="1"/>
                </a:cubicBezTo>
                <a:cubicBezTo>
                  <a:pt x="82" y="3"/>
                  <a:pt x="82" y="3"/>
                  <a:pt x="82" y="3"/>
                </a:cubicBezTo>
                <a:cubicBezTo>
                  <a:pt x="79" y="5"/>
                  <a:pt x="79" y="5"/>
                  <a:pt x="79" y="5"/>
                </a:cubicBezTo>
                <a:cubicBezTo>
                  <a:pt x="77" y="5"/>
                  <a:pt x="77" y="5"/>
                  <a:pt x="77" y="5"/>
                </a:cubicBezTo>
                <a:cubicBezTo>
                  <a:pt x="74" y="7"/>
                  <a:pt x="74" y="7"/>
                  <a:pt x="74" y="7"/>
                </a:cubicBezTo>
                <a:cubicBezTo>
                  <a:pt x="73" y="6"/>
                  <a:pt x="73" y="6"/>
                  <a:pt x="73" y="6"/>
                </a:cubicBezTo>
                <a:cubicBezTo>
                  <a:pt x="71" y="6"/>
                  <a:pt x="71" y="6"/>
                  <a:pt x="71" y="6"/>
                </a:cubicBezTo>
                <a:cubicBezTo>
                  <a:pt x="69" y="8"/>
                  <a:pt x="69" y="8"/>
                  <a:pt x="69" y="8"/>
                </a:cubicBezTo>
                <a:cubicBezTo>
                  <a:pt x="67" y="9"/>
                  <a:pt x="67" y="9"/>
                  <a:pt x="67" y="9"/>
                </a:cubicBezTo>
                <a:cubicBezTo>
                  <a:pt x="67" y="8"/>
                  <a:pt x="67" y="8"/>
                  <a:pt x="67" y="8"/>
                </a:cubicBezTo>
                <a:cubicBezTo>
                  <a:pt x="64" y="9"/>
                  <a:pt x="64" y="9"/>
                  <a:pt x="64" y="9"/>
                </a:cubicBezTo>
                <a:cubicBezTo>
                  <a:pt x="62" y="9"/>
                  <a:pt x="62" y="9"/>
                  <a:pt x="62" y="9"/>
                </a:cubicBezTo>
                <a:cubicBezTo>
                  <a:pt x="60" y="8"/>
                  <a:pt x="60" y="8"/>
                  <a:pt x="60" y="8"/>
                </a:cubicBezTo>
                <a:cubicBezTo>
                  <a:pt x="58" y="7"/>
                  <a:pt x="58" y="7"/>
                  <a:pt x="58" y="7"/>
                </a:cubicBezTo>
                <a:cubicBezTo>
                  <a:pt x="56" y="7"/>
                  <a:pt x="56" y="7"/>
                  <a:pt x="56" y="7"/>
                </a:cubicBezTo>
                <a:cubicBezTo>
                  <a:pt x="57" y="8"/>
                  <a:pt x="57" y="8"/>
                  <a:pt x="57" y="8"/>
                </a:cubicBezTo>
                <a:cubicBezTo>
                  <a:pt x="58" y="9"/>
                  <a:pt x="58" y="9"/>
                  <a:pt x="58" y="9"/>
                </a:cubicBezTo>
                <a:cubicBezTo>
                  <a:pt x="60" y="10"/>
                  <a:pt x="60" y="10"/>
                  <a:pt x="60" y="10"/>
                </a:cubicBezTo>
                <a:cubicBezTo>
                  <a:pt x="60" y="11"/>
                  <a:pt x="60" y="11"/>
                  <a:pt x="60" y="11"/>
                </a:cubicBezTo>
                <a:cubicBezTo>
                  <a:pt x="58" y="14"/>
                  <a:pt x="58" y="14"/>
                  <a:pt x="58" y="14"/>
                </a:cubicBezTo>
                <a:cubicBezTo>
                  <a:pt x="59" y="15"/>
                  <a:pt x="59" y="15"/>
                  <a:pt x="59" y="15"/>
                </a:cubicBezTo>
                <a:cubicBezTo>
                  <a:pt x="59" y="17"/>
                  <a:pt x="59" y="17"/>
                  <a:pt x="59" y="17"/>
                </a:cubicBezTo>
                <a:cubicBezTo>
                  <a:pt x="61" y="18"/>
                  <a:pt x="61" y="18"/>
                  <a:pt x="61" y="18"/>
                </a:cubicBezTo>
                <a:cubicBezTo>
                  <a:pt x="63" y="18"/>
                  <a:pt x="63" y="18"/>
                  <a:pt x="63" y="18"/>
                </a:cubicBezTo>
                <a:cubicBezTo>
                  <a:pt x="65" y="18"/>
                  <a:pt x="65" y="18"/>
                  <a:pt x="65" y="18"/>
                </a:cubicBezTo>
                <a:cubicBezTo>
                  <a:pt x="65" y="20"/>
                  <a:pt x="65" y="20"/>
                  <a:pt x="65" y="20"/>
                </a:cubicBezTo>
                <a:cubicBezTo>
                  <a:pt x="64" y="20"/>
                  <a:pt x="64" y="20"/>
                  <a:pt x="64" y="20"/>
                </a:cubicBezTo>
                <a:cubicBezTo>
                  <a:pt x="61" y="21"/>
                  <a:pt x="61" y="21"/>
                  <a:pt x="61" y="21"/>
                </a:cubicBezTo>
                <a:cubicBezTo>
                  <a:pt x="60" y="22"/>
                  <a:pt x="60" y="22"/>
                  <a:pt x="60" y="22"/>
                </a:cubicBezTo>
                <a:cubicBezTo>
                  <a:pt x="59" y="24"/>
                  <a:pt x="59" y="24"/>
                  <a:pt x="59" y="24"/>
                </a:cubicBezTo>
                <a:cubicBezTo>
                  <a:pt x="56" y="25"/>
                  <a:pt x="56" y="25"/>
                  <a:pt x="56" y="25"/>
                </a:cubicBezTo>
                <a:cubicBezTo>
                  <a:pt x="55" y="27"/>
                  <a:pt x="55" y="27"/>
                  <a:pt x="55" y="27"/>
                </a:cubicBezTo>
                <a:cubicBezTo>
                  <a:pt x="53" y="28"/>
                  <a:pt x="53" y="28"/>
                  <a:pt x="53" y="28"/>
                </a:cubicBezTo>
                <a:cubicBezTo>
                  <a:pt x="52" y="30"/>
                  <a:pt x="52" y="30"/>
                  <a:pt x="52" y="30"/>
                </a:cubicBezTo>
                <a:cubicBezTo>
                  <a:pt x="49" y="30"/>
                  <a:pt x="49" y="30"/>
                  <a:pt x="49" y="30"/>
                </a:cubicBezTo>
                <a:cubicBezTo>
                  <a:pt x="48" y="30"/>
                  <a:pt x="48" y="30"/>
                  <a:pt x="48" y="30"/>
                </a:cubicBezTo>
                <a:cubicBezTo>
                  <a:pt x="45" y="28"/>
                  <a:pt x="45" y="28"/>
                  <a:pt x="45" y="28"/>
                </a:cubicBezTo>
                <a:cubicBezTo>
                  <a:pt x="43" y="26"/>
                  <a:pt x="43" y="26"/>
                  <a:pt x="43" y="26"/>
                </a:cubicBezTo>
                <a:cubicBezTo>
                  <a:pt x="41" y="26"/>
                  <a:pt x="41" y="26"/>
                  <a:pt x="41" y="26"/>
                </a:cubicBezTo>
                <a:cubicBezTo>
                  <a:pt x="41" y="25"/>
                  <a:pt x="41" y="25"/>
                  <a:pt x="41" y="25"/>
                </a:cubicBezTo>
                <a:cubicBezTo>
                  <a:pt x="41" y="23"/>
                  <a:pt x="41" y="23"/>
                  <a:pt x="41" y="23"/>
                </a:cubicBezTo>
                <a:cubicBezTo>
                  <a:pt x="40" y="22"/>
                  <a:pt x="40" y="22"/>
                  <a:pt x="40" y="22"/>
                </a:cubicBezTo>
                <a:cubicBezTo>
                  <a:pt x="39" y="21"/>
                  <a:pt x="39" y="21"/>
                  <a:pt x="39" y="21"/>
                </a:cubicBezTo>
                <a:cubicBezTo>
                  <a:pt x="38" y="22"/>
                  <a:pt x="38" y="22"/>
                  <a:pt x="38" y="22"/>
                </a:cubicBezTo>
                <a:cubicBezTo>
                  <a:pt x="36" y="23"/>
                  <a:pt x="36" y="23"/>
                  <a:pt x="36" y="23"/>
                </a:cubicBezTo>
                <a:cubicBezTo>
                  <a:pt x="36" y="23"/>
                  <a:pt x="36" y="23"/>
                  <a:pt x="36" y="23"/>
                </a:cubicBezTo>
                <a:cubicBezTo>
                  <a:pt x="35" y="22"/>
                  <a:pt x="35" y="22"/>
                  <a:pt x="35" y="22"/>
                </a:cubicBezTo>
                <a:cubicBezTo>
                  <a:pt x="34" y="22"/>
                  <a:pt x="34" y="22"/>
                  <a:pt x="34" y="22"/>
                </a:cubicBezTo>
                <a:cubicBezTo>
                  <a:pt x="33" y="23"/>
                  <a:pt x="33" y="23"/>
                  <a:pt x="33" y="23"/>
                </a:cubicBezTo>
                <a:cubicBezTo>
                  <a:pt x="26" y="23"/>
                  <a:pt x="26" y="23"/>
                  <a:pt x="26" y="23"/>
                </a:cubicBezTo>
                <a:cubicBezTo>
                  <a:pt x="25" y="25"/>
                  <a:pt x="25" y="25"/>
                  <a:pt x="25" y="25"/>
                </a:cubicBezTo>
                <a:cubicBezTo>
                  <a:pt x="26" y="27"/>
                  <a:pt x="26" y="27"/>
                  <a:pt x="26" y="27"/>
                </a:cubicBezTo>
                <a:cubicBezTo>
                  <a:pt x="28" y="27"/>
                  <a:pt x="28" y="27"/>
                  <a:pt x="28" y="27"/>
                </a:cubicBezTo>
                <a:cubicBezTo>
                  <a:pt x="29" y="29"/>
                  <a:pt x="29" y="29"/>
                  <a:pt x="29" y="29"/>
                </a:cubicBezTo>
                <a:cubicBezTo>
                  <a:pt x="29" y="30"/>
                  <a:pt x="29" y="30"/>
                  <a:pt x="29" y="30"/>
                </a:cubicBezTo>
                <a:cubicBezTo>
                  <a:pt x="29" y="31"/>
                  <a:pt x="29" y="31"/>
                  <a:pt x="29" y="31"/>
                </a:cubicBezTo>
                <a:cubicBezTo>
                  <a:pt x="29" y="32"/>
                  <a:pt x="29" y="32"/>
                  <a:pt x="29" y="32"/>
                </a:cubicBezTo>
                <a:cubicBezTo>
                  <a:pt x="28" y="31"/>
                  <a:pt x="28" y="31"/>
                  <a:pt x="28" y="31"/>
                </a:cubicBezTo>
                <a:cubicBezTo>
                  <a:pt x="23" y="32"/>
                  <a:pt x="23" y="32"/>
                  <a:pt x="23" y="32"/>
                </a:cubicBezTo>
                <a:cubicBezTo>
                  <a:pt x="24" y="36"/>
                  <a:pt x="24" y="36"/>
                  <a:pt x="24" y="36"/>
                </a:cubicBezTo>
                <a:cubicBezTo>
                  <a:pt x="25" y="37"/>
                  <a:pt x="25" y="37"/>
                  <a:pt x="25" y="37"/>
                </a:cubicBezTo>
                <a:cubicBezTo>
                  <a:pt x="27" y="39"/>
                  <a:pt x="27" y="39"/>
                  <a:pt x="27" y="39"/>
                </a:cubicBezTo>
                <a:cubicBezTo>
                  <a:pt x="29" y="42"/>
                  <a:pt x="29" y="42"/>
                  <a:pt x="29" y="42"/>
                </a:cubicBezTo>
                <a:cubicBezTo>
                  <a:pt x="28" y="44"/>
                  <a:pt x="28" y="44"/>
                  <a:pt x="28" y="44"/>
                </a:cubicBezTo>
                <a:cubicBezTo>
                  <a:pt x="28" y="45"/>
                  <a:pt x="28" y="45"/>
                  <a:pt x="28" y="45"/>
                </a:cubicBezTo>
                <a:cubicBezTo>
                  <a:pt x="25" y="58"/>
                  <a:pt x="25" y="58"/>
                  <a:pt x="25" y="58"/>
                </a:cubicBezTo>
                <a:cubicBezTo>
                  <a:pt x="24" y="61"/>
                  <a:pt x="24" y="61"/>
                  <a:pt x="24" y="61"/>
                </a:cubicBezTo>
                <a:cubicBezTo>
                  <a:pt x="24" y="62"/>
                  <a:pt x="24" y="62"/>
                  <a:pt x="24" y="62"/>
                </a:cubicBezTo>
                <a:cubicBezTo>
                  <a:pt x="23" y="63"/>
                  <a:pt x="23" y="63"/>
                  <a:pt x="23" y="63"/>
                </a:cubicBezTo>
                <a:cubicBezTo>
                  <a:pt x="22" y="62"/>
                  <a:pt x="22" y="62"/>
                  <a:pt x="22" y="62"/>
                </a:cubicBezTo>
                <a:cubicBezTo>
                  <a:pt x="22" y="62"/>
                  <a:pt x="22" y="62"/>
                  <a:pt x="22" y="62"/>
                </a:cubicBezTo>
                <a:cubicBezTo>
                  <a:pt x="21" y="61"/>
                  <a:pt x="21" y="61"/>
                  <a:pt x="21" y="61"/>
                </a:cubicBezTo>
                <a:cubicBezTo>
                  <a:pt x="20" y="61"/>
                  <a:pt x="20" y="61"/>
                  <a:pt x="20" y="61"/>
                </a:cubicBezTo>
                <a:cubicBezTo>
                  <a:pt x="19" y="61"/>
                  <a:pt x="19" y="61"/>
                  <a:pt x="19" y="61"/>
                </a:cubicBezTo>
                <a:cubicBezTo>
                  <a:pt x="19" y="61"/>
                  <a:pt x="19" y="61"/>
                  <a:pt x="19" y="61"/>
                </a:cubicBezTo>
                <a:cubicBezTo>
                  <a:pt x="18" y="62"/>
                  <a:pt x="18" y="62"/>
                  <a:pt x="18" y="62"/>
                </a:cubicBezTo>
                <a:cubicBezTo>
                  <a:pt x="14" y="63"/>
                  <a:pt x="14" y="63"/>
                  <a:pt x="14" y="63"/>
                </a:cubicBezTo>
                <a:cubicBezTo>
                  <a:pt x="11" y="64"/>
                  <a:pt x="11" y="64"/>
                  <a:pt x="11" y="64"/>
                </a:cubicBezTo>
                <a:cubicBezTo>
                  <a:pt x="10" y="65"/>
                  <a:pt x="10" y="65"/>
                  <a:pt x="10" y="65"/>
                </a:cubicBezTo>
                <a:cubicBezTo>
                  <a:pt x="9" y="65"/>
                  <a:pt x="9" y="65"/>
                  <a:pt x="9" y="65"/>
                </a:cubicBezTo>
                <a:cubicBezTo>
                  <a:pt x="8" y="66"/>
                  <a:pt x="8" y="66"/>
                  <a:pt x="8" y="66"/>
                </a:cubicBezTo>
                <a:cubicBezTo>
                  <a:pt x="6" y="67"/>
                  <a:pt x="6" y="67"/>
                  <a:pt x="6" y="67"/>
                </a:cubicBezTo>
                <a:cubicBezTo>
                  <a:pt x="5" y="68"/>
                  <a:pt x="5" y="68"/>
                  <a:pt x="5" y="68"/>
                </a:cubicBezTo>
                <a:cubicBezTo>
                  <a:pt x="5" y="69"/>
                  <a:pt x="5" y="69"/>
                  <a:pt x="5" y="69"/>
                </a:cubicBezTo>
                <a:cubicBezTo>
                  <a:pt x="5" y="70"/>
                  <a:pt x="5" y="70"/>
                  <a:pt x="5" y="70"/>
                </a:cubicBezTo>
                <a:cubicBezTo>
                  <a:pt x="5" y="71"/>
                  <a:pt x="5" y="71"/>
                  <a:pt x="5" y="71"/>
                </a:cubicBezTo>
                <a:cubicBezTo>
                  <a:pt x="3" y="73"/>
                  <a:pt x="3" y="73"/>
                  <a:pt x="3" y="73"/>
                </a:cubicBezTo>
                <a:cubicBezTo>
                  <a:pt x="4" y="75"/>
                  <a:pt x="4" y="75"/>
                  <a:pt x="4" y="75"/>
                </a:cubicBezTo>
                <a:cubicBezTo>
                  <a:pt x="4" y="76"/>
                  <a:pt x="4" y="76"/>
                  <a:pt x="4" y="76"/>
                </a:cubicBezTo>
                <a:cubicBezTo>
                  <a:pt x="3" y="77"/>
                  <a:pt x="3" y="77"/>
                  <a:pt x="3" y="77"/>
                </a:cubicBezTo>
                <a:cubicBezTo>
                  <a:pt x="2" y="77"/>
                  <a:pt x="2" y="77"/>
                  <a:pt x="2" y="77"/>
                </a:cubicBezTo>
                <a:cubicBezTo>
                  <a:pt x="1" y="78"/>
                  <a:pt x="1" y="78"/>
                  <a:pt x="1" y="78"/>
                </a:cubicBezTo>
                <a:cubicBezTo>
                  <a:pt x="1" y="80"/>
                  <a:pt x="1" y="80"/>
                  <a:pt x="1" y="80"/>
                </a:cubicBezTo>
                <a:cubicBezTo>
                  <a:pt x="0" y="80"/>
                  <a:pt x="0" y="80"/>
                  <a:pt x="0" y="80"/>
                </a:cubicBezTo>
                <a:cubicBezTo>
                  <a:pt x="0" y="81"/>
                  <a:pt x="0" y="81"/>
                  <a:pt x="0" y="81"/>
                </a:cubicBezTo>
                <a:cubicBezTo>
                  <a:pt x="0" y="83"/>
                  <a:pt x="0" y="83"/>
                  <a:pt x="0" y="83"/>
                </a:cubicBezTo>
                <a:cubicBezTo>
                  <a:pt x="0" y="84"/>
                  <a:pt x="0" y="84"/>
                  <a:pt x="0" y="84"/>
                </a:cubicBezTo>
                <a:cubicBezTo>
                  <a:pt x="0" y="85"/>
                  <a:pt x="0" y="85"/>
                  <a:pt x="0" y="85"/>
                </a:cubicBezTo>
                <a:cubicBezTo>
                  <a:pt x="0" y="86"/>
                  <a:pt x="0" y="86"/>
                  <a:pt x="0" y="86"/>
                </a:cubicBezTo>
                <a:cubicBezTo>
                  <a:pt x="2" y="87"/>
                  <a:pt x="2" y="87"/>
                  <a:pt x="2" y="87"/>
                </a:cubicBezTo>
                <a:cubicBezTo>
                  <a:pt x="5" y="92"/>
                  <a:pt x="5" y="92"/>
                  <a:pt x="5" y="92"/>
                </a:cubicBezTo>
                <a:cubicBezTo>
                  <a:pt x="3" y="94"/>
                  <a:pt x="3" y="94"/>
                  <a:pt x="3" y="94"/>
                </a:cubicBezTo>
                <a:cubicBezTo>
                  <a:pt x="7" y="94"/>
                  <a:pt x="7" y="94"/>
                  <a:pt x="7" y="94"/>
                </a:cubicBezTo>
                <a:cubicBezTo>
                  <a:pt x="9" y="94"/>
                  <a:pt x="9" y="94"/>
                  <a:pt x="9" y="94"/>
                </a:cubicBezTo>
                <a:cubicBezTo>
                  <a:pt x="10" y="96"/>
                  <a:pt x="10" y="96"/>
                  <a:pt x="10" y="96"/>
                </a:cubicBezTo>
                <a:cubicBezTo>
                  <a:pt x="11" y="98"/>
                  <a:pt x="11" y="98"/>
                  <a:pt x="11" y="98"/>
                </a:cubicBezTo>
                <a:cubicBezTo>
                  <a:pt x="13" y="98"/>
                  <a:pt x="13" y="98"/>
                  <a:pt x="13" y="98"/>
                </a:cubicBezTo>
                <a:cubicBezTo>
                  <a:pt x="16" y="98"/>
                  <a:pt x="16" y="98"/>
                  <a:pt x="16" y="98"/>
                </a:cubicBezTo>
                <a:cubicBezTo>
                  <a:pt x="19" y="96"/>
                  <a:pt x="19" y="96"/>
                  <a:pt x="19" y="96"/>
                </a:cubicBezTo>
                <a:cubicBezTo>
                  <a:pt x="21" y="95"/>
                  <a:pt x="21" y="95"/>
                  <a:pt x="21" y="95"/>
                </a:cubicBezTo>
                <a:cubicBezTo>
                  <a:pt x="22" y="95"/>
                  <a:pt x="22" y="95"/>
                  <a:pt x="22" y="95"/>
                </a:cubicBezTo>
                <a:cubicBezTo>
                  <a:pt x="22" y="97"/>
                  <a:pt x="22" y="97"/>
                  <a:pt x="22" y="97"/>
                </a:cubicBezTo>
                <a:cubicBezTo>
                  <a:pt x="21" y="97"/>
                  <a:pt x="21" y="97"/>
                  <a:pt x="21" y="97"/>
                </a:cubicBezTo>
                <a:cubicBezTo>
                  <a:pt x="21" y="99"/>
                  <a:pt x="21" y="99"/>
                  <a:pt x="21" y="99"/>
                </a:cubicBezTo>
                <a:cubicBezTo>
                  <a:pt x="21" y="103"/>
                  <a:pt x="21" y="103"/>
                  <a:pt x="21" y="103"/>
                </a:cubicBezTo>
                <a:cubicBezTo>
                  <a:pt x="22" y="105"/>
                  <a:pt x="22" y="105"/>
                  <a:pt x="22" y="105"/>
                </a:cubicBezTo>
                <a:cubicBezTo>
                  <a:pt x="22" y="105"/>
                  <a:pt x="22" y="105"/>
                  <a:pt x="22" y="105"/>
                </a:cubicBezTo>
                <a:cubicBezTo>
                  <a:pt x="24" y="105"/>
                  <a:pt x="24" y="105"/>
                  <a:pt x="24" y="105"/>
                </a:cubicBezTo>
                <a:cubicBezTo>
                  <a:pt x="25" y="105"/>
                  <a:pt x="25" y="105"/>
                  <a:pt x="25" y="105"/>
                </a:cubicBezTo>
                <a:cubicBezTo>
                  <a:pt x="26" y="105"/>
                  <a:pt x="26" y="105"/>
                  <a:pt x="26" y="105"/>
                </a:cubicBezTo>
                <a:cubicBezTo>
                  <a:pt x="27" y="105"/>
                  <a:pt x="27" y="105"/>
                  <a:pt x="27" y="105"/>
                </a:cubicBezTo>
                <a:cubicBezTo>
                  <a:pt x="27" y="105"/>
                  <a:pt x="27" y="105"/>
                  <a:pt x="27" y="105"/>
                </a:cubicBezTo>
                <a:cubicBezTo>
                  <a:pt x="28" y="105"/>
                  <a:pt x="28" y="105"/>
                  <a:pt x="28" y="105"/>
                </a:cubicBezTo>
                <a:cubicBezTo>
                  <a:pt x="28" y="105"/>
                  <a:pt x="28" y="105"/>
                  <a:pt x="28" y="105"/>
                </a:cubicBezTo>
                <a:cubicBezTo>
                  <a:pt x="32" y="105"/>
                  <a:pt x="32" y="105"/>
                  <a:pt x="32" y="105"/>
                </a:cubicBezTo>
                <a:cubicBezTo>
                  <a:pt x="33" y="105"/>
                  <a:pt x="33" y="105"/>
                  <a:pt x="33" y="105"/>
                </a:cubicBezTo>
                <a:cubicBezTo>
                  <a:pt x="35" y="104"/>
                  <a:pt x="35" y="104"/>
                  <a:pt x="35" y="104"/>
                </a:cubicBezTo>
                <a:cubicBezTo>
                  <a:pt x="36" y="104"/>
                  <a:pt x="36" y="104"/>
                  <a:pt x="36" y="104"/>
                </a:cubicBezTo>
                <a:cubicBezTo>
                  <a:pt x="38" y="103"/>
                  <a:pt x="38" y="103"/>
                  <a:pt x="38" y="103"/>
                </a:cubicBezTo>
                <a:cubicBezTo>
                  <a:pt x="39" y="103"/>
                  <a:pt x="39" y="103"/>
                  <a:pt x="39" y="103"/>
                </a:cubicBezTo>
                <a:cubicBezTo>
                  <a:pt x="41" y="103"/>
                  <a:pt x="41" y="103"/>
                  <a:pt x="41" y="103"/>
                </a:cubicBezTo>
                <a:cubicBezTo>
                  <a:pt x="42" y="100"/>
                  <a:pt x="42" y="100"/>
                  <a:pt x="42" y="100"/>
                </a:cubicBezTo>
                <a:cubicBezTo>
                  <a:pt x="45" y="98"/>
                  <a:pt x="45" y="98"/>
                  <a:pt x="45" y="98"/>
                </a:cubicBezTo>
                <a:cubicBezTo>
                  <a:pt x="47" y="97"/>
                  <a:pt x="47" y="97"/>
                  <a:pt x="47" y="97"/>
                </a:cubicBezTo>
                <a:cubicBezTo>
                  <a:pt x="49" y="96"/>
                  <a:pt x="49" y="96"/>
                  <a:pt x="49" y="96"/>
                </a:cubicBezTo>
                <a:cubicBezTo>
                  <a:pt x="50" y="96"/>
                  <a:pt x="50" y="96"/>
                  <a:pt x="50" y="96"/>
                </a:cubicBezTo>
                <a:cubicBezTo>
                  <a:pt x="52" y="97"/>
                  <a:pt x="52" y="97"/>
                  <a:pt x="52" y="97"/>
                </a:cubicBezTo>
                <a:cubicBezTo>
                  <a:pt x="53" y="96"/>
                  <a:pt x="53" y="96"/>
                  <a:pt x="53" y="96"/>
                </a:cubicBezTo>
                <a:cubicBezTo>
                  <a:pt x="54" y="97"/>
                  <a:pt x="54" y="97"/>
                  <a:pt x="54" y="97"/>
                </a:cubicBezTo>
                <a:cubicBezTo>
                  <a:pt x="54" y="99"/>
                  <a:pt x="54" y="99"/>
                  <a:pt x="54" y="99"/>
                </a:cubicBezTo>
                <a:cubicBezTo>
                  <a:pt x="54" y="101"/>
                  <a:pt x="54" y="101"/>
                  <a:pt x="54" y="101"/>
                </a:cubicBezTo>
                <a:cubicBezTo>
                  <a:pt x="53" y="103"/>
                  <a:pt x="53" y="103"/>
                  <a:pt x="53" y="103"/>
                </a:cubicBezTo>
                <a:cubicBezTo>
                  <a:pt x="54" y="105"/>
                  <a:pt x="54" y="105"/>
                  <a:pt x="54" y="105"/>
                </a:cubicBezTo>
                <a:cubicBezTo>
                  <a:pt x="54" y="107"/>
                  <a:pt x="54" y="107"/>
                  <a:pt x="54" y="107"/>
                </a:cubicBezTo>
                <a:cubicBezTo>
                  <a:pt x="55" y="109"/>
                  <a:pt x="55" y="109"/>
                  <a:pt x="55" y="109"/>
                </a:cubicBezTo>
                <a:cubicBezTo>
                  <a:pt x="56" y="110"/>
                  <a:pt x="56" y="110"/>
                  <a:pt x="56" y="110"/>
                </a:cubicBezTo>
                <a:cubicBezTo>
                  <a:pt x="57" y="112"/>
                  <a:pt x="57" y="112"/>
                  <a:pt x="57" y="112"/>
                </a:cubicBezTo>
                <a:cubicBezTo>
                  <a:pt x="58" y="112"/>
                  <a:pt x="58" y="112"/>
                  <a:pt x="58" y="112"/>
                </a:cubicBezTo>
                <a:cubicBezTo>
                  <a:pt x="60" y="114"/>
                  <a:pt x="60" y="114"/>
                  <a:pt x="60" y="114"/>
                </a:cubicBezTo>
                <a:cubicBezTo>
                  <a:pt x="62" y="115"/>
                  <a:pt x="62" y="115"/>
                  <a:pt x="62" y="115"/>
                </a:cubicBezTo>
                <a:cubicBezTo>
                  <a:pt x="62" y="114"/>
                  <a:pt x="62" y="114"/>
                  <a:pt x="62" y="114"/>
                </a:cubicBezTo>
                <a:cubicBezTo>
                  <a:pt x="65" y="114"/>
                  <a:pt x="65" y="114"/>
                  <a:pt x="65" y="114"/>
                </a:cubicBezTo>
                <a:cubicBezTo>
                  <a:pt x="67" y="116"/>
                  <a:pt x="67" y="116"/>
                  <a:pt x="67" y="116"/>
                </a:cubicBezTo>
                <a:cubicBezTo>
                  <a:pt x="68" y="115"/>
                  <a:pt x="68" y="115"/>
                  <a:pt x="68" y="115"/>
                </a:cubicBezTo>
                <a:cubicBezTo>
                  <a:pt x="71" y="118"/>
                  <a:pt x="71" y="118"/>
                  <a:pt x="71" y="118"/>
                </a:cubicBezTo>
                <a:cubicBezTo>
                  <a:pt x="72" y="118"/>
                  <a:pt x="72" y="118"/>
                  <a:pt x="72" y="118"/>
                </a:cubicBezTo>
                <a:cubicBezTo>
                  <a:pt x="74" y="119"/>
                  <a:pt x="74" y="119"/>
                  <a:pt x="74" y="119"/>
                </a:cubicBezTo>
                <a:cubicBezTo>
                  <a:pt x="76" y="119"/>
                  <a:pt x="76" y="119"/>
                  <a:pt x="76" y="119"/>
                </a:cubicBezTo>
                <a:cubicBezTo>
                  <a:pt x="77" y="121"/>
                  <a:pt x="77" y="121"/>
                  <a:pt x="77" y="121"/>
                </a:cubicBezTo>
                <a:cubicBezTo>
                  <a:pt x="78" y="121"/>
                  <a:pt x="78" y="121"/>
                  <a:pt x="78" y="121"/>
                </a:cubicBezTo>
                <a:cubicBezTo>
                  <a:pt x="79" y="122"/>
                  <a:pt x="79" y="122"/>
                  <a:pt x="79" y="122"/>
                </a:cubicBezTo>
                <a:cubicBezTo>
                  <a:pt x="83" y="122"/>
                  <a:pt x="83" y="122"/>
                  <a:pt x="83" y="122"/>
                </a:cubicBezTo>
                <a:cubicBezTo>
                  <a:pt x="86" y="123"/>
                  <a:pt x="86" y="123"/>
                  <a:pt x="86" y="123"/>
                </a:cubicBezTo>
                <a:cubicBezTo>
                  <a:pt x="86" y="125"/>
                  <a:pt x="86" y="125"/>
                  <a:pt x="86" y="125"/>
                </a:cubicBezTo>
                <a:cubicBezTo>
                  <a:pt x="86" y="127"/>
                  <a:pt x="86" y="127"/>
                  <a:pt x="86" y="127"/>
                </a:cubicBezTo>
                <a:cubicBezTo>
                  <a:pt x="86" y="130"/>
                  <a:pt x="86" y="130"/>
                  <a:pt x="86" y="130"/>
                </a:cubicBezTo>
                <a:cubicBezTo>
                  <a:pt x="86" y="131"/>
                  <a:pt x="86" y="131"/>
                  <a:pt x="86" y="131"/>
                </a:cubicBezTo>
                <a:cubicBezTo>
                  <a:pt x="88" y="135"/>
                  <a:pt x="88" y="135"/>
                  <a:pt x="88" y="135"/>
                </a:cubicBezTo>
                <a:cubicBezTo>
                  <a:pt x="88" y="138"/>
                  <a:pt x="88" y="138"/>
                  <a:pt x="88" y="138"/>
                </a:cubicBezTo>
                <a:cubicBezTo>
                  <a:pt x="99" y="138"/>
                  <a:pt x="99" y="138"/>
                  <a:pt x="99" y="138"/>
                </a:cubicBezTo>
                <a:cubicBezTo>
                  <a:pt x="99" y="142"/>
                  <a:pt x="99" y="142"/>
                  <a:pt x="99" y="142"/>
                </a:cubicBezTo>
                <a:cubicBezTo>
                  <a:pt x="99" y="145"/>
                  <a:pt x="99" y="145"/>
                  <a:pt x="99" y="145"/>
                </a:cubicBezTo>
                <a:cubicBezTo>
                  <a:pt x="102" y="146"/>
                  <a:pt x="102" y="146"/>
                  <a:pt x="102" y="146"/>
                </a:cubicBezTo>
                <a:cubicBezTo>
                  <a:pt x="106" y="151"/>
                  <a:pt x="106" y="151"/>
                  <a:pt x="106" y="151"/>
                </a:cubicBezTo>
                <a:cubicBezTo>
                  <a:pt x="106" y="154"/>
                  <a:pt x="106" y="154"/>
                  <a:pt x="106" y="154"/>
                </a:cubicBezTo>
                <a:cubicBezTo>
                  <a:pt x="103" y="161"/>
                  <a:pt x="103" y="161"/>
                  <a:pt x="103" y="161"/>
                </a:cubicBezTo>
                <a:cubicBezTo>
                  <a:pt x="103" y="161"/>
                  <a:pt x="103" y="161"/>
                  <a:pt x="103" y="161"/>
                </a:cubicBezTo>
                <a:cubicBezTo>
                  <a:pt x="102" y="163"/>
                  <a:pt x="102" y="163"/>
                  <a:pt x="102" y="163"/>
                </a:cubicBezTo>
                <a:cubicBezTo>
                  <a:pt x="103" y="163"/>
                  <a:pt x="103" y="163"/>
                  <a:pt x="103" y="163"/>
                </a:cubicBezTo>
                <a:cubicBezTo>
                  <a:pt x="102" y="165"/>
                  <a:pt x="102" y="165"/>
                  <a:pt x="102" y="165"/>
                </a:cubicBezTo>
                <a:cubicBezTo>
                  <a:pt x="104" y="166"/>
                  <a:pt x="104" y="166"/>
                  <a:pt x="104" y="166"/>
                </a:cubicBezTo>
                <a:cubicBezTo>
                  <a:pt x="104" y="168"/>
                  <a:pt x="104" y="168"/>
                  <a:pt x="104" y="168"/>
                </a:cubicBezTo>
                <a:cubicBezTo>
                  <a:pt x="105" y="170"/>
                  <a:pt x="105" y="170"/>
                  <a:pt x="105" y="170"/>
                </a:cubicBezTo>
                <a:cubicBezTo>
                  <a:pt x="105" y="173"/>
                  <a:pt x="105" y="173"/>
                  <a:pt x="105" y="173"/>
                </a:cubicBezTo>
                <a:cubicBezTo>
                  <a:pt x="105" y="175"/>
                  <a:pt x="105" y="175"/>
                  <a:pt x="105" y="175"/>
                </a:cubicBezTo>
                <a:cubicBezTo>
                  <a:pt x="105" y="176"/>
                  <a:pt x="105" y="176"/>
                  <a:pt x="105" y="176"/>
                </a:cubicBezTo>
                <a:cubicBezTo>
                  <a:pt x="105" y="178"/>
                  <a:pt x="105" y="178"/>
                  <a:pt x="105" y="178"/>
                </a:cubicBezTo>
                <a:cubicBezTo>
                  <a:pt x="107" y="178"/>
                  <a:pt x="107" y="178"/>
                  <a:pt x="107" y="178"/>
                </a:cubicBezTo>
                <a:cubicBezTo>
                  <a:pt x="108" y="178"/>
                  <a:pt x="108" y="178"/>
                  <a:pt x="108" y="178"/>
                </a:cubicBezTo>
                <a:cubicBezTo>
                  <a:pt x="111" y="178"/>
                  <a:pt x="111" y="178"/>
                  <a:pt x="111" y="178"/>
                </a:cubicBezTo>
                <a:cubicBezTo>
                  <a:pt x="113" y="178"/>
                  <a:pt x="113" y="178"/>
                  <a:pt x="113" y="178"/>
                </a:cubicBezTo>
                <a:cubicBezTo>
                  <a:pt x="116" y="177"/>
                  <a:pt x="116" y="177"/>
                  <a:pt x="116" y="177"/>
                </a:cubicBezTo>
                <a:cubicBezTo>
                  <a:pt x="118" y="178"/>
                  <a:pt x="118" y="178"/>
                  <a:pt x="118" y="178"/>
                </a:cubicBezTo>
                <a:cubicBezTo>
                  <a:pt x="119" y="179"/>
                  <a:pt x="119" y="179"/>
                  <a:pt x="119" y="179"/>
                </a:cubicBezTo>
                <a:cubicBezTo>
                  <a:pt x="119" y="180"/>
                  <a:pt x="119" y="180"/>
                  <a:pt x="119" y="180"/>
                </a:cubicBezTo>
                <a:cubicBezTo>
                  <a:pt x="121" y="187"/>
                  <a:pt x="121" y="187"/>
                  <a:pt x="121" y="187"/>
                </a:cubicBezTo>
                <a:cubicBezTo>
                  <a:pt x="122" y="189"/>
                  <a:pt x="122" y="189"/>
                  <a:pt x="122" y="189"/>
                </a:cubicBezTo>
                <a:cubicBezTo>
                  <a:pt x="123" y="190"/>
                  <a:pt x="123" y="190"/>
                  <a:pt x="123" y="190"/>
                </a:cubicBezTo>
                <a:cubicBezTo>
                  <a:pt x="125" y="188"/>
                  <a:pt x="125" y="188"/>
                  <a:pt x="125" y="188"/>
                </a:cubicBezTo>
                <a:cubicBezTo>
                  <a:pt x="127" y="189"/>
                  <a:pt x="127" y="189"/>
                  <a:pt x="127" y="189"/>
                </a:cubicBezTo>
                <a:cubicBezTo>
                  <a:pt x="128" y="190"/>
                  <a:pt x="128" y="190"/>
                  <a:pt x="128" y="190"/>
                </a:cubicBezTo>
                <a:cubicBezTo>
                  <a:pt x="129" y="190"/>
                  <a:pt x="129" y="190"/>
                  <a:pt x="129" y="190"/>
                </a:cubicBezTo>
                <a:cubicBezTo>
                  <a:pt x="128" y="191"/>
                  <a:pt x="128" y="191"/>
                  <a:pt x="128" y="191"/>
                </a:cubicBezTo>
                <a:cubicBezTo>
                  <a:pt x="128" y="197"/>
                  <a:pt x="128" y="197"/>
                  <a:pt x="128" y="197"/>
                </a:cubicBezTo>
                <a:cubicBezTo>
                  <a:pt x="128" y="198"/>
                  <a:pt x="128" y="198"/>
                  <a:pt x="128" y="198"/>
                </a:cubicBezTo>
                <a:cubicBezTo>
                  <a:pt x="127" y="198"/>
                  <a:pt x="127" y="198"/>
                  <a:pt x="127" y="198"/>
                </a:cubicBezTo>
                <a:cubicBezTo>
                  <a:pt x="127" y="199"/>
                  <a:pt x="127" y="199"/>
                  <a:pt x="127" y="199"/>
                </a:cubicBezTo>
                <a:cubicBezTo>
                  <a:pt x="127" y="199"/>
                  <a:pt x="127" y="199"/>
                  <a:pt x="127" y="199"/>
                </a:cubicBezTo>
                <a:cubicBezTo>
                  <a:pt x="127" y="200"/>
                  <a:pt x="127" y="200"/>
                  <a:pt x="127" y="200"/>
                </a:cubicBezTo>
                <a:cubicBezTo>
                  <a:pt x="128" y="199"/>
                  <a:pt x="128" y="199"/>
                  <a:pt x="128" y="199"/>
                </a:cubicBezTo>
                <a:cubicBezTo>
                  <a:pt x="131" y="200"/>
                  <a:pt x="131" y="200"/>
                  <a:pt x="131" y="200"/>
                </a:cubicBezTo>
                <a:cubicBezTo>
                  <a:pt x="131" y="201"/>
                  <a:pt x="131" y="201"/>
                  <a:pt x="131" y="201"/>
                </a:cubicBezTo>
                <a:cubicBezTo>
                  <a:pt x="133" y="204"/>
                  <a:pt x="133" y="204"/>
                  <a:pt x="133" y="204"/>
                </a:cubicBezTo>
                <a:cubicBezTo>
                  <a:pt x="132" y="206"/>
                  <a:pt x="132" y="206"/>
                  <a:pt x="132" y="206"/>
                </a:cubicBezTo>
                <a:cubicBezTo>
                  <a:pt x="133" y="208"/>
                  <a:pt x="133" y="208"/>
                  <a:pt x="133" y="208"/>
                </a:cubicBezTo>
                <a:cubicBezTo>
                  <a:pt x="133" y="210"/>
                  <a:pt x="133" y="210"/>
                  <a:pt x="133" y="210"/>
                </a:cubicBezTo>
                <a:cubicBezTo>
                  <a:pt x="133" y="211"/>
                  <a:pt x="133" y="211"/>
                  <a:pt x="133" y="211"/>
                </a:cubicBezTo>
                <a:cubicBezTo>
                  <a:pt x="131" y="211"/>
                  <a:pt x="131" y="211"/>
                  <a:pt x="131" y="211"/>
                </a:cubicBezTo>
                <a:cubicBezTo>
                  <a:pt x="130" y="212"/>
                  <a:pt x="130" y="212"/>
                  <a:pt x="130" y="212"/>
                </a:cubicBezTo>
                <a:cubicBezTo>
                  <a:pt x="130" y="213"/>
                  <a:pt x="130" y="213"/>
                  <a:pt x="130" y="213"/>
                </a:cubicBezTo>
                <a:cubicBezTo>
                  <a:pt x="129" y="213"/>
                  <a:pt x="129" y="213"/>
                  <a:pt x="129" y="213"/>
                </a:cubicBezTo>
                <a:cubicBezTo>
                  <a:pt x="128" y="213"/>
                  <a:pt x="128" y="213"/>
                  <a:pt x="128" y="213"/>
                </a:cubicBezTo>
                <a:cubicBezTo>
                  <a:pt x="126" y="215"/>
                  <a:pt x="126" y="215"/>
                  <a:pt x="126" y="215"/>
                </a:cubicBezTo>
                <a:cubicBezTo>
                  <a:pt x="125" y="216"/>
                  <a:pt x="125" y="216"/>
                  <a:pt x="125" y="216"/>
                </a:cubicBezTo>
                <a:cubicBezTo>
                  <a:pt x="124" y="216"/>
                  <a:pt x="124" y="216"/>
                  <a:pt x="124" y="216"/>
                </a:cubicBezTo>
                <a:cubicBezTo>
                  <a:pt x="122" y="218"/>
                  <a:pt x="122" y="218"/>
                  <a:pt x="122" y="218"/>
                </a:cubicBezTo>
                <a:cubicBezTo>
                  <a:pt x="121" y="218"/>
                  <a:pt x="121" y="218"/>
                  <a:pt x="121" y="218"/>
                </a:cubicBezTo>
                <a:cubicBezTo>
                  <a:pt x="121" y="220"/>
                  <a:pt x="121" y="220"/>
                  <a:pt x="121" y="220"/>
                </a:cubicBezTo>
                <a:cubicBezTo>
                  <a:pt x="120" y="220"/>
                  <a:pt x="120" y="220"/>
                  <a:pt x="120" y="220"/>
                </a:cubicBezTo>
                <a:cubicBezTo>
                  <a:pt x="119" y="220"/>
                  <a:pt x="119" y="220"/>
                  <a:pt x="119" y="220"/>
                </a:cubicBezTo>
                <a:cubicBezTo>
                  <a:pt x="117" y="222"/>
                  <a:pt x="117" y="222"/>
                  <a:pt x="117" y="222"/>
                </a:cubicBezTo>
                <a:cubicBezTo>
                  <a:pt x="117" y="223"/>
                  <a:pt x="117" y="223"/>
                  <a:pt x="117" y="223"/>
                </a:cubicBezTo>
                <a:cubicBezTo>
                  <a:pt x="117" y="225"/>
                  <a:pt x="117" y="225"/>
                  <a:pt x="117" y="225"/>
                </a:cubicBezTo>
                <a:cubicBezTo>
                  <a:pt x="116" y="225"/>
                  <a:pt x="116" y="225"/>
                  <a:pt x="116" y="225"/>
                </a:cubicBezTo>
                <a:cubicBezTo>
                  <a:pt x="116" y="226"/>
                  <a:pt x="116" y="226"/>
                  <a:pt x="116" y="226"/>
                </a:cubicBezTo>
                <a:cubicBezTo>
                  <a:pt x="114" y="228"/>
                  <a:pt x="114" y="228"/>
                  <a:pt x="114" y="228"/>
                </a:cubicBezTo>
                <a:cubicBezTo>
                  <a:pt x="113" y="229"/>
                  <a:pt x="113" y="229"/>
                  <a:pt x="113" y="229"/>
                </a:cubicBezTo>
                <a:cubicBezTo>
                  <a:pt x="112" y="231"/>
                  <a:pt x="112" y="231"/>
                  <a:pt x="112" y="231"/>
                </a:cubicBezTo>
                <a:cubicBezTo>
                  <a:pt x="112" y="231"/>
                  <a:pt x="112" y="231"/>
                  <a:pt x="112" y="231"/>
                </a:cubicBezTo>
                <a:cubicBezTo>
                  <a:pt x="111" y="232"/>
                  <a:pt x="111" y="232"/>
                  <a:pt x="111" y="232"/>
                </a:cubicBezTo>
                <a:cubicBezTo>
                  <a:pt x="111" y="233"/>
                  <a:pt x="111" y="233"/>
                  <a:pt x="111" y="233"/>
                </a:cubicBezTo>
                <a:cubicBezTo>
                  <a:pt x="112" y="233"/>
                  <a:pt x="112" y="233"/>
                  <a:pt x="112" y="233"/>
                </a:cubicBezTo>
                <a:cubicBezTo>
                  <a:pt x="113" y="233"/>
                  <a:pt x="113" y="233"/>
                  <a:pt x="113" y="233"/>
                </a:cubicBezTo>
                <a:cubicBezTo>
                  <a:pt x="116" y="232"/>
                  <a:pt x="116" y="232"/>
                  <a:pt x="116" y="232"/>
                </a:cubicBezTo>
                <a:cubicBezTo>
                  <a:pt x="117" y="233"/>
                  <a:pt x="117" y="233"/>
                  <a:pt x="117" y="233"/>
                </a:cubicBezTo>
                <a:cubicBezTo>
                  <a:pt x="119" y="235"/>
                  <a:pt x="119" y="235"/>
                  <a:pt x="119" y="235"/>
                </a:cubicBezTo>
                <a:cubicBezTo>
                  <a:pt x="120" y="235"/>
                  <a:pt x="120" y="235"/>
                  <a:pt x="120" y="235"/>
                </a:cubicBezTo>
                <a:cubicBezTo>
                  <a:pt x="121" y="237"/>
                  <a:pt x="121" y="237"/>
                  <a:pt x="121" y="237"/>
                </a:cubicBezTo>
                <a:cubicBezTo>
                  <a:pt x="122" y="240"/>
                  <a:pt x="122" y="240"/>
                  <a:pt x="122" y="240"/>
                </a:cubicBezTo>
                <a:cubicBezTo>
                  <a:pt x="123" y="240"/>
                  <a:pt x="123" y="240"/>
                  <a:pt x="123" y="240"/>
                </a:cubicBezTo>
                <a:cubicBezTo>
                  <a:pt x="124" y="238"/>
                  <a:pt x="124" y="238"/>
                  <a:pt x="124" y="238"/>
                </a:cubicBezTo>
                <a:cubicBezTo>
                  <a:pt x="125" y="238"/>
                  <a:pt x="125" y="238"/>
                  <a:pt x="125" y="238"/>
                </a:cubicBezTo>
                <a:cubicBezTo>
                  <a:pt x="126" y="241"/>
                  <a:pt x="126" y="241"/>
                  <a:pt x="126" y="241"/>
                </a:cubicBezTo>
                <a:cubicBezTo>
                  <a:pt x="128" y="241"/>
                  <a:pt x="128" y="241"/>
                  <a:pt x="128" y="241"/>
                </a:cubicBezTo>
                <a:cubicBezTo>
                  <a:pt x="129" y="242"/>
                  <a:pt x="129" y="242"/>
                  <a:pt x="129" y="242"/>
                </a:cubicBezTo>
                <a:cubicBezTo>
                  <a:pt x="131" y="243"/>
                  <a:pt x="131" y="243"/>
                  <a:pt x="131" y="243"/>
                </a:cubicBezTo>
                <a:cubicBezTo>
                  <a:pt x="131" y="245"/>
                  <a:pt x="131" y="245"/>
                  <a:pt x="131" y="245"/>
                </a:cubicBezTo>
                <a:cubicBezTo>
                  <a:pt x="132" y="245"/>
                  <a:pt x="132" y="245"/>
                  <a:pt x="132" y="245"/>
                </a:cubicBezTo>
                <a:cubicBezTo>
                  <a:pt x="135" y="246"/>
                  <a:pt x="135" y="246"/>
                  <a:pt x="135" y="246"/>
                </a:cubicBezTo>
                <a:cubicBezTo>
                  <a:pt x="136" y="248"/>
                  <a:pt x="136" y="248"/>
                  <a:pt x="136" y="248"/>
                </a:cubicBezTo>
                <a:cubicBezTo>
                  <a:pt x="138" y="250"/>
                  <a:pt x="138" y="250"/>
                  <a:pt x="138" y="250"/>
                </a:cubicBezTo>
                <a:cubicBezTo>
                  <a:pt x="139" y="251"/>
                  <a:pt x="139" y="251"/>
                  <a:pt x="139" y="251"/>
                </a:cubicBezTo>
                <a:cubicBezTo>
                  <a:pt x="139" y="253"/>
                  <a:pt x="139" y="253"/>
                  <a:pt x="139" y="253"/>
                </a:cubicBezTo>
                <a:cubicBezTo>
                  <a:pt x="138" y="254"/>
                  <a:pt x="138" y="254"/>
                  <a:pt x="138" y="254"/>
                </a:cubicBezTo>
                <a:cubicBezTo>
                  <a:pt x="138" y="256"/>
                  <a:pt x="138" y="256"/>
                  <a:pt x="138" y="256"/>
                </a:cubicBezTo>
                <a:cubicBezTo>
                  <a:pt x="138" y="257"/>
                  <a:pt x="138" y="257"/>
                  <a:pt x="138" y="257"/>
                </a:cubicBezTo>
                <a:cubicBezTo>
                  <a:pt x="138" y="257"/>
                  <a:pt x="138" y="257"/>
                  <a:pt x="138" y="257"/>
                </a:cubicBezTo>
                <a:cubicBezTo>
                  <a:pt x="139" y="258"/>
                  <a:pt x="139" y="258"/>
                  <a:pt x="139" y="258"/>
                </a:cubicBezTo>
                <a:cubicBezTo>
                  <a:pt x="140" y="258"/>
                  <a:pt x="140" y="258"/>
                  <a:pt x="140" y="258"/>
                </a:cubicBezTo>
                <a:cubicBezTo>
                  <a:pt x="142" y="256"/>
                  <a:pt x="142" y="256"/>
                  <a:pt x="142" y="256"/>
                </a:cubicBezTo>
                <a:cubicBezTo>
                  <a:pt x="143" y="254"/>
                  <a:pt x="143" y="254"/>
                  <a:pt x="143" y="254"/>
                </a:cubicBezTo>
                <a:cubicBezTo>
                  <a:pt x="144" y="250"/>
                  <a:pt x="144" y="250"/>
                  <a:pt x="144" y="250"/>
                </a:cubicBezTo>
                <a:cubicBezTo>
                  <a:pt x="145" y="247"/>
                  <a:pt x="145" y="247"/>
                  <a:pt x="145" y="247"/>
                </a:cubicBezTo>
                <a:cubicBezTo>
                  <a:pt x="145" y="246"/>
                  <a:pt x="145" y="246"/>
                  <a:pt x="145" y="246"/>
                </a:cubicBezTo>
                <a:cubicBezTo>
                  <a:pt x="145" y="246"/>
                  <a:pt x="145" y="246"/>
                  <a:pt x="145" y="246"/>
                </a:cubicBezTo>
                <a:cubicBezTo>
                  <a:pt x="144" y="244"/>
                  <a:pt x="144" y="244"/>
                  <a:pt x="144" y="244"/>
                </a:cubicBezTo>
                <a:cubicBezTo>
                  <a:pt x="144" y="243"/>
                  <a:pt x="144" y="243"/>
                  <a:pt x="144" y="243"/>
                </a:cubicBezTo>
                <a:cubicBezTo>
                  <a:pt x="145" y="243"/>
                  <a:pt x="145" y="243"/>
                  <a:pt x="145" y="243"/>
                </a:cubicBezTo>
                <a:cubicBezTo>
                  <a:pt x="145" y="242"/>
                  <a:pt x="145" y="242"/>
                  <a:pt x="145" y="242"/>
                </a:cubicBezTo>
                <a:cubicBezTo>
                  <a:pt x="146" y="241"/>
                  <a:pt x="146" y="241"/>
                  <a:pt x="146" y="241"/>
                </a:cubicBezTo>
                <a:cubicBezTo>
                  <a:pt x="146" y="240"/>
                  <a:pt x="146" y="240"/>
                  <a:pt x="146" y="240"/>
                </a:cubicBezTo>
                <a:cubicBezTo>
                  <a:pt x="147" y="240"/>
                  <a:pt x="147" y="240"/>
                  <a:pt x="147" y="240"/>
                </a:cubicBezTo>
                <a:cubicBezTo>
                  <a:pt x="148" y="240"/>
                  <a:pt x="148" y="240"/>
                  <a:pt x="148" y="240"/>
                </a:cubicBezTo>
                <a:cubicBezTo>
                  <a:pt x="149" y="239"/>
                  <a:pt x="149" y="239"/>
                  <a:pt x="149" y="239"/>
                </a:cubicBezTo>
                <a:cubicBezTo>
                  <a:pt x="149" y="238"/>
                  <a:pt x="149" y="238"/>
                  <a:pt x="149" y="238"/>
                </a:cubicBezTo>
                <a:cubicBezTo>
                  <a:pt x="149" y="237"/>
                  <a:pt x="149" y="237"/>
                  <a:pt x="149" y="237"/>
                </a:cubicBezTo>
                <a:cubicBezTo>
                  <a:pt x="149" y="236"/>
                  <a:pt x="149" y="236"/>
                  <a:pt x="149" y="236"/>
                </a:cubicBezTo>
                <a:cubicBezTo>
                  <a:pt x="150" y="235"/>
                  <a:pt x="150" y="235"/>
                  <a:pt x="150" y="235"/>
                </a:cubicBezTo>
                <a:cubicBezTo>
                  <a:pt x="150" y="235"/>
                  <a:pt x="150" y="235"/>
                  <a:pt x="150" y="235"/>
                </a:cubicBezTo>
                <a:cubicBezTo>
                  <a:pt x="151" y="234"/>
                  <a:pt x="151" y="234"/>
                  <a:pt x="151" y="234"/>
                </a:cubicBezTo>
                <a:cubicBezTo>
                  <a:pt x="151" y="233"/>
                  <a:pt x="151" y="233"/>
                  <a:pt x="151" y="233"/>
                </a:cubicBezTo>
                <a:cubicBezTo>
                  <a:pt x="150" y="232"/>
                  <a:pt x="150" y="232"/>
                  <a:pt x="150" y="232"/>
                </a:cubicBezTo>
                <a:cubicBezTo>
                  <a:pt x="150" y="231"/>
                  <a:pt x="150" y="231"/>
                  <a:pt x="150" y="231"/>
                </a:cubicBezTo>
                <a:cubicBezTo>
                  <a:pt x="149" y="230"/>
                  <a:pt x="149" y="230"/>
                  <a:pt x="149" y="230"/>
                </a:cubicBezTo>
                <a:cubicBezTo>
                  <a:pt x="150" y="230"/>
                  <a:pt x="150" y="230"/>
                  <a:pt x="150" y="230"/>
                </a:cubicBezTo>
                <a:cubicBezTo>
                  <a:pt x="151" y="232"/>
                  <a:pt x="151" y="232"/>
                  <a:pt x="151" y="232"/>
                </a:cubicBezTo>
                <a:cubicBezTo>
                  <a:pt x="152" y="233"/>
                  <a:pt x="152" y="233"/>
                  <a:pt x="152" y="233"/>
                </a:cubicBezTo>
                <a:cubicBezTo>
                  <a:pt x="153" y="233"/>
                  <a:pt x="153" y="233"/>
                  <a:pt x="153" y="233"/>
                </a:cubicBezTo>
                <a:cubicBezTo>
                  <a:pt x="153" y="233"/>
                  <a:pt x="153" y="233"/>
                  <a:pt x="153" y="233"/>
                </a:cubicBezTo>
                <a:cubicBezTo>
                  <a:pt x="154" y="233"/>
                  <a:pt x="154" y="233"/>
                  <a:pt x="154" y="233"/>
                </a:cubicBezTo>
                <a:cubicBezTo>
                  <a:pt x="154" y="235"/>
                  <a:pt x="154" y="235"/>
                  <a:pt x="154" y="235"/>
                </a:cubicBezTo>
                <a:cubicBezTo>
                  <a:pt x="154" y="235"/>
                  <a:pt x="154" y="235"/>
                  <a:pt x="154" y="235"/>
                </a:cubicBezTo>
                <a:cubicBezTo>
                  <a:pt x="153" y="237"/>
                  <a:pt x="153" y="237"/>
                  <a:pt x="153" y="237"/>
                </a:cubicBezTo>
                <a:cubicBezTo>
                  <a:pt x="151" y="239"/>
                  <a:pt x="151" y="239"/>
                  <a:pt x="151" y="239"/>
                </a:cubicBezTo>
                <a:cubicBezTo>
                  <a:pt x="150" y="239"/>
                  <a:pt x="150" y="239"/>
                  <a:pt x="150" y="239"/>
                </a:cubicBezTo>
                <a:cubicBezTo>
                  <a:pt x="150" y="241"/>
                  <a:pt x="150" y="241"/>
                  <a:pt x="150" y="241"/>
                </a:cubicBezTo>
                <a:cubicBezTo>
                  <a:pt x="150" y="242"/>
                  <a:pt x="150" y="242"/>
                  <a:pt x="150" y="242"/>
                </a:cubicBezTo>
                <a:cubicBezTo>
                  <a:pt x="149" y="242"/>
                  <a:pt x="149" y="242"/>
                  <a:pt x="149" y="242"/>
                </a:cubicBezTo>
                <a:cubicBezTo>
                  <a:pt x="148" y="242"/>
                  <a:pt x="148" y="242"/>
                  <a:pt x="148" y="242"/>
                </a:cubicBezTo>
                <a:cubicBezTo>
                  <a:pt x="147" y="243"/>
                  <a:pt x="147" y="243"/>
                  <a:pt x="147" y="243"/>
                </a:cubicBezTo>
                <a:cubicBezTo>
                  <a:pt x="147" y="244"/>
                  <a:pt x="147" y="244"/>
                  <a:pt x="147" y="244"/>
                </a:cubicBezTo>
                <a:cubicBezTo>
                  <a:pt x="146" y="244"/>
                  <a:pt x="146" y="244"/>
                  <a:pt x="146" y="244"/>
                </a:cubicBezTo>
                <a:cubicBezTo>
                  <a:pt x="145" y="245"/>
                  <a:pt x="145" y="245"/>
                  <a:pt x="145" y="245"/>
                </a:cubicBezTo>
                <a:cubicBezTo>
                  <a:pt x="145" y="245"/>
                  <a:pt x="145" y="245"/>
                  <a:pt x="145" y="245"/>
                </a:cubicBezTo>
                <a:cubicBezTo>
                  <a:pt x="147" y="246"/>
                  <a:pt x="147" y="246"/>
                  <a:pt x="147" y="246"/>
                </a:cubicBezTo>
                <a:cubicBezTo>
                  <a:pt x="150" y="242"/>
                  <a:pt x="150" y="242"/>
                  <a:pt x="150" y="242"/>
                </a:cubicBezTo>
                <a:cubicBezTo>
                  <a:pt x="153" y="240"/>
                  <a:pt x="153" y="240"/>
                  <a:pt x="153" y="240"/>
                </a:cubicBezTo>
                <a:cubicBezTo>
                  <a:pt x="155" y="235"/>
                  <a:pt x="155" y="235"/>
                  <a:pt x="155" y="235"/>
                </a:cubicBezTo>
                <a:cubicBezTo>
                  <a:pt x="157" y="233"/>
                  <a:pt x="157" y="233"/>
                  <a:pt x="157" y="233"/>
                </a:cubicBezTo>
                <a:cubicBezTo>
                  <a:pt x="158" y="229"/>
                  <a:pt x="158" y="229"/>
                  <a:pt x="158" y="229"/>
                </a:cubicBezTo>
                <a:cubicBezTo>
                  <a:pt x="161" y="224"/>
                  <a:pt x="161" y="224"/>
                  <a:pt x="161" y="224"/>
                </a:cubicBezTo>
                <a:cubicBezTo>
                  <a:pt x="163" y="221"/>
                  <a:pt x="163" y="221"/>
                  <a:pt x="163" y="221"/>
                </a:cubicBezTo>
                <a:cubicBezTo>
                  <a:pt x="164" y="220"/>
                  <a:pt x="164" y="220"/>
                  <a:pt x="164" y="220"/>
                </a:cubicBezTo>
                <a:cubicBezTo>
                  <a:pt x="164" y="219"/>
                  <a:pt x="164" y="219"/>
                  <a:pt x="164" y="219"/>
                </a:cubicBezTo>
                <a:cubicBezTo>
                  <a:pt x="164" y="218"/>
                  <a:pt x="164" y="218"/>
                  <a:pt x="164" y="218"/>
                </a:cubicBezTo>
                <a:cubicBezTo>
                  <a:pt x="164" y="218"/>
                  <a:pt x="164" y="218"/>
                  <a:pt x="164" y="218"/>
                </a:cubicBezTo>
                <a:cubicBezTo>
                  <a:pt x="165" y="217"/>
                  <a:pt x="165" y="217"/>
                  <a:pt x="165" y="217"/>
                </a:cubicBezTo>
                <a:cubicBezTo>
                  <a:pt x="166" y="216"/>
                  <a:pt x="166" y="216"/>
                  <a:pt x="166" y="216"/>
                </a:cubicBezTo>
                <a:cubicBezTo>
                  <a:pt x="165" y="215"/>
                  <a:pt x="165" y="215"/>
                  <a:pt x="165" y="215"/>
                </a:cubicBezTo>
                <a:cubicBezTo>
                  <a:pt x="166" y="214"/>
                  <a:pt x="166" y="214"/>
                  <a:pt x="166" y="214"/>
                </a:cubicBezTo>
                <a:cubicBezTo>
                  <a:pt x="165" y="214"/>
                  <a:pt x="165" y="214"/>
                  <a:pt x="165" y="214"/>
                </a:cubicBezTo>
                <a:cubicBezTo>
                  <a:pt x="165" y="214"/>
                  <a:pt x="165" y="214"/>
                  <a:pt x="165" y="214"/>
                </a:cubicBezTo>
                <a:cubicBezTo>
                  <a:pt x="165" y="212"/>
                  <a:pt x="165" y="212"/>
                  <a:pt x="165" y="212"/>
                </a:cubicBezTo>
                <a:cubicBezTo>
                  <a:pt x="164" y="211"/>
                  <a:pt x="164" y="211"/>
                  <a:pt x="164" y="211"/>
                </a:cubicBezTo>
                <a:cubicBezTo>
                  <a:pt x="164" y="210"/>
                  <a:pt x="164" y="210"/>
                  <a:pt x="164" y="210"/>
                </a:cubicBezTo>
                <a:cubicBezTo>
                  <a:pt x="164" y="209"/>
                  <a:pt x="164" y="209"/>
                  <a:pt x="164" y="209"/>
                </a:cubicBezTo>
                <a:cubicBezTo>
                  <a:pt x="164" y="208"/>
                  <a:pt x="164" y="208"/>
                  <a:pt x="164" y="208"/>
                </a:cubicBezTo>
                <a:cubicBezTo>
                  <a:pt x="163" y="206"/>
                  <a:pt x="163" y="206"/>
                  <a:pt x="163" y="206"/>
                </a:cubicBezTo>
                <a:cubicBezTo>
                  <a:pt x="163" y="205"/>
                  <a:pt x="163" y="205"/>
                  <a:pt x="163" y="205"/>
                </a:cubicBezTo>
                <a:cubicBezTo>
                  <a:pt x="163" y="204"/>
                  <a:pt x="163" y="204"/>
                  <a:pt x="163" y="204"/>
                </a:cubicBezTo>
                <a:cubicBezTo>
                  <a:pt x="165" y="204"/>
                  <a:pt x="165" y="204"/>
                  <a:pt x="165" y="204"/>
                </a:cubicBezTo>
                <a:cubicBezTo>
                  <a:pt x="164" y="203"/>
                  <a:pt x="164" y="203"/>
                  <a:pt x="164" y="203"/>
                </a:cubicBezTo>
                <a:cubicBezTo>
                  <a:pt x="164" y="202"/>
                  <a:pt x="164" y="202"/>
                  <a:pt x="164" y="202"/>
                </a:cubicBezTo>
                <a:cubicBezTo>
                  <a:pt x="165" y="202"/>
                  <a:pt x="165" y="202"/>
                  <a:pt x="165" y="202"/>
                </a:cubicBezTo>
                <a:cubicBezTo>
                  <a:pt x="165" y="201"/>
                  <a:pt x="165" y="201"/>
                  <a:pt x="165" y="201"/>
                </a:cubicBezTo>
                <a:cubicBezTo>
                  <a:pt x="164" y="200"/>
                  <a:pt x="164" y="200"/>
                  <a:pt x="164" y="200"/>
                </a:cubicBezTo>
                <a:cubicBezTo>
                  <a:pt x="165" y="200"/>
                  <a:pt x="165" y="200"/>
                  <a:pt x="165" y="200"/>
                </a:cubicBezTo>
                <a:cubicBezTo>
                  <a:pt x="166" y="198"/>
                  <a:pt x="166" y="198"/>
                  <a:pt x="166" y="198"/>
                </a:cubicBezTo>
                <a:cubicBezTo>
                  <a:pt x="166" y="199"/>
                  <a:pt x="166" y="199"/>
                  <a:pt x="166" y="199"/>
                </a:cubicBezTo>
                <a:cubicBezTo>
                  <a:pt x="168" y="197"/>
                  <a:pt x="168" y="197"/>
                  <a:pt x="168" y="197"/>
                </a:cubicBezTo>
                <a:cubicBezTo>
                  <a:pt x="169" y="196"/>
                  <a:pt x="169" y="196"/>
                  <a:pt x="169" y="196"/>
                </a:cubicBezTo>
                <a:cubicBezTo>
                  <a:pt x="169" y="196"/>
                  <a:pt x="169" y="196"/>
                  <a:pt x="169" y="196"/>
                </a:cubicBezTo>
                <a:cubicBezTo>
                  <a:pt x="171" y="194"/>
                  <a:pt x="171" y="194"/>
                  <a:pt x="171" y="194"/>
                </a:cubicBezTo>
                <a:cubicBezTo>
                  <a:pt x="173" y="193"/>
                  <a:pt x="173" y="193"/>
                  <a:pt x="173" y="193"/>
                </a:cubicBezTo>
                <a:cubicBezTo>
                  <a:pt x="176" y="190"/>
                  <a:pt x="176" y="190"/>
                  <a:pt x="176" y="190"/>
                </a:cubicBezTo>
                <a:cubicBezTo>
                  <a:pt x="178" y="190"/>
                  <a:pt x="178" y="190"/>
                  <a:pt x="178" y="190"/>
                </a:cubicBezTo>
                <a:cubicBezTo>
                  <a:pt x="179" y="189"/>
                  <a:pt x="179" y="189"/>
                  <a:pt x="179" y="189"/>
                </a:cubicBezTo>
                <a:cubicBezTo>
                  <a:pt x="180" y="188"/>
                  <a:pt x="180" y="188"/>
                  <a:pt x="180" y="188"/>
                </a:cubicBezTo>
                <a:cubicBezTo>
                  <a:pt x="182" y="188"/>
                  <a:pt x="182" y="188"/>
                  <a:pt x="182" y="188"/>
                </a:cubicBezTo>
                <a:cubicBezTo>
                  <a:pt x="182" y="188"/>
                  <a:pt x="182" y="188"/>
                  <a:pt x="182" y="188"/>
                </a:cubicBezTo>
                <a:cubicBezTo>
                  <a:pt x="183" y="188"/>
                  <a:pt x="183" y="188"/>
                  <a:pt x="183" y="188"/>
                </a:cubicBezTo>
                <a:cubicBezTo>
                  <a:pt x="183" y="188"/>
                  <a:pt x="183" y="188"/>
                  <a:pt x="183" y="188"/>
                </a:cubicBezTo>
                <a:cubicBezTo>
                  <a:pt x="184" y="186"/>
                  <a:pt x="184" y="186"/>
                  <a:pt x="184" y="186"/>
                </a:cubicBezTo>
                <a:cubicBezTo>
                  <a:pt x="187" y="184"/>
                  <a:pt x="187" y="184"/>
                  <a:pt x="187" y="184"/>
                </a:cubicBezTo>
                <a:cubicBezTo>
                  <a:pt x="188" y="184"/>
                  <a:pt x="188" y="184"/>
                  <a:pt x="188" y="184"/>
                </a:cubicBezTo>
                <a:cubicBezTo>
                  <a:pt x="188" y="183"/>
                  <a:pt x="188" y="183"/>
                  <a:pt x="188" y="183"/>
                </a:cubicBezTo>
                <a:cubicBezTo>
                  <a:pt x="188" y="183"/>
                  <a:pt x="188" y="183"/>
                  <a:pt x="188" y="183"/>
                </a:cubicBezTo>
                <a:cubicBezTo>
                  <a:pt x="187" y="183"/>
                  <a:pt x="187" y="183"/>
                  <a:pt x="187" y="183"/>
                </a:cubicBezTo>
                <a:cubicBezTo>
                  <a:pt x="186" y="182"/>
                  <a:pt x="186" y="182"/>
                  <a:pt x="186" y="182"/>
                </a:cubicBezTo>
                <a:cubicBezTo>
                  <a:pt x="187" y="182"/>
                  <a:pt x="187" y="182"/>
                  <a:pt x="187" y="182"/>
                </a:cubicBezTo>
                <a:cubicBezTo>
                  <a:pt x="189" y="181"/>
                  <a:pt x="189" y="181"/>
                  <a:pt x="189" y="181"/>
                </a:cubicBezTo>
                <a:cubicBezTo>
                  <a:pt x="190" y="181"/>
                  <a:pt x="190" y="181"/>
                  <a:pt x="190" y="181"/>
                </a:cubicBezTo>
                <a:cubicBezTo>
                  <a:pt x="191" y="181"/>
                  <a:pt x="191" y="181"/>
                  <a:pt x="191" y="181"/>
                </a:cubicBezTo>
                <a:cubicBezTo>
                  <a:pt x="192" y="180"/>
                  <a:pt x="192" y="180"/>
                  <a:pt x="192" y="180"/>
                </a:cubicBezTo>
                <a:cubicBezTo>
                  <a:pt x="193" y="180"/>
                  <a:pt x="193" y="180"/>
                  <a:pt x="193" y="180"/>
                </a:cubicBezTo>
                <a:cubicBezTo>
                  <a:pt x="193" y="181"/>
                  <a:pt x="193" y="181"/>
                  <a:pt x="193" y="181"/>
                </a:cubicBezTo>
                <a:cubicBezTo>
                  <a:pt x="191" y="182"/>
                  <a:pt x="191" y="182"/>
                  <a:pt x="191" y="182"/>
                </a:cubicBezTo>
                <a:cubicBezTo>
                  <a:pt x="189" y="182"/>
                  <a:pt x="189" y="182"/>
                  <a:pt x="189" y="182"/>
                </a:cubicBezTo>
                <a:cubicBezTo>
                  <a:pt x="189" y="182"/>
                  <a:pt x="189" y="182"/>
                  <a:pt x="189" y="182"/>
                </a:cubicBezTo>
                <a:cubicBezTo>
                  <a:pt x="190" y="183"/>
                  <a:pt x="190" y="183"/>
                  <a:pt x="190" y="183"/>
                </a:cubicBezTo>
                <a:cubicBezTo>
                  <a:pt x="192" y="182"/>
                  <a:pt x="192" y="182"/>
                  <a:pt x="192" y="182"/>
                </a:cubicBezTo>
                <a:cubicBezTo>
                  <a:pt x="195" y="181"/>
                  <a:pt x="195" y="181"/>
                  <a:pt x="195" y="181"/>
                </a:cubicBezTo>
                <a:cubicBezTo>
                  <a:pt x="195" y="180"/>
                  <a:pt x="195" y="180"/>
                  <a:pt x="195" y="180"/>
                </a:cubicBezTo>
                <a:cubicBezTo>
                  <a:pt x="196" y="180"/>
                  <a:pt x="196" y="180"/>
                  <a:pt x="196" y="180"/>
                </a:cubicBezTo>
                <a:cubicBezTo>
                  <a:pt x="196" y="180"/>
                  <a:pt x="196" y="180"/>
                  <a:pt x="196" y="180"/>
                </a:cubicBezTo>
                <a:cubicBezTo>
                  <a:pt x="196" y="180"/>
                  <a:pt x="196" y="180"/>
                  <a:pt x="196" y="180"/>
                </a:cubicBezTo>
                <a:cubicBezTo>
                  <a:pt x="196" y="180"/>
                  <a:pt x="196" y="182"/>
                  <a:pt x="196" y="182"/>
                </a:cubicBezTo>
                <a:cubicBezTo>
                  <a:pt x="196" y="182"/>
                  <a:pt x="198" y="182"/>
                  <a:pt x="198" y="182"/>
                </a:cubicBezTo>
                <a:cubicBezTo>
                  <a:pt x="199" y="181"/>
                  <a:pt x="199" y="181"/>
                  <a:pt x="199" y="181"/>
                </a:cubicBezTo>
                <a:cubicBezTo>
                  <a:pt x="201" y="181"/>
                  <a:pt x="201" y="181"/>
                  <a:pt x="201" y="181"/>
                </a:cubicBezTo>
                <a:cubicBezTo>
                  <a:pt x="203" y="182"/>
                  <a:pt x="203" y="182"/>
                  <a:pt x="203" y="182"/>
                </a:cubicBezTo>
                <a:cubicBezTo>
                  <a:pt x="204" y="181"/>
                  <a:pt x="204" y="181"/>
                  <a:pt x="204" y="181"/>
                </a:cubicBezTo>
                <a:cubicBezTo>
                  <a:pt x="204" y="180"/>
                  <a:pt x="204" y="180"/>
                  <a:pt x="204" y="180"/>
                </a:cubicBezTo>
                <a:cubicBezTo>
                  <a:pt x="204" y="180"/>
                  <a:pt x="204" y="180"/>
                  <a:pt x="204" y="180"/>
                </a:cubicBezTo>
                <a:cubicBezTo>
                  <a:pt x="204" y="179"/>
                  <a:pt x="204" y="179"/>
                  <a:pt x="204" y="179"/>
                </a:cubicBezTo>
                <a:cubicBezTo>
                  <a:pt x="207" y="177"/>
                  <a:pt x="207" y="177"/>
                  <a:pt x="207" y="177"/>
                </a:cubicBezTo>
                <a:cubicBezTo>
                  <a:pt x="209" y="176"/>
                  <a:pt x="209" y="176"/>
                  <a:pt x="209" y="176"/>
                </a:cubicBezTo>
                <a:cubicBezTo>
                  <a:pt x="210" y="176"/>
                  <a:pt x="210" y="176"/>
                  <a:pt x="210" y="176"/>
                </a:cubicBezTo>
                <a:cubicBezTo>
                  <a:pt x="211" y="175"/>
                  <a:pt x="211" y="175"/>
                  <a:pt x="211" y="175"/>
                </a:cubicBezTo>
                <a:cubicBezTo>
                  <a:pt x="211" y="174"/>
                  <a:pt x="211" y="174"/>
                  <a:pt x="211" y="174"/>
                </a:cubicBezTo>
                <a:cubicBezTo>
                  <a:pt x="209" y="172"/>
                  <a:pt x="209" y="172"/>
                  <a:pt x="209" y="172"/>
                </a:cubicBezTo>
                <a:cubicBezTo>
                  <a:pt x="210" y="170"/>
                  <a:pt x="210" y="170"/>
                  <a:pt x="210" y="170"/>
                </a:cubicBezTo>
                <a:cubicBezTo>
                  <a:pt x="211" y="169"/>
                  <a:pt x="211" y="169"/>
                  <a:pt x="211" y="169"/>
                </a:cubicBezTo>
                <a:cubicBezTo>
                  <a:pt x="211" y="168"/>
                  <a:pt x="211" y="168"/>
                  <a:pt x="211" y="168"/>
                </a:cubicBezTo>
                <a:cubicBezTo>
                  <a:pt x="212" y="167"/>
                  <a:pt x="212" y="167"/>
                  <a:pt x="212" y="167"/>
                </a:cubicBezTo>
                <a:cubicBezTo>
                  <a:pt x="213" y="167"/>
                  <a:pt x="213" y="167"/>
                  <a:pt x="213" y="167"/>
                </a:cubicBezTo>
                <a:cubicBezTo>
                  <a:pt x="213" y="165"/>
                  <a:pt x="213" y="165"/>
                  <a:pt x="213" y="165"/>
                </a:cubicBezTo>
                <a:cubicBezTo>
                  <a:pt x="213" y="165"/>
                  <a:pt x="213" y="165"/>
                  <a:pt x="213" y="165"/>
                </a:cubicBezTo>
                <a:cubicBezTo>
                  <a:pt x="214" y="162"/>
                  <a:pt x="214" y="162"/>
                  <a:pt x="214" y="162"/>
                </a:cubicBezTo>
                <a:cubicBezTo>
                  <a:pt x="217" y="160"/>
                  <a:pt x="217" y="160"/>
                  <a:pt x="217" y="160"/>
                </a:cubicBezTo>
                <a:cubicBezTo>
                  <a:pt x="217" y="158"/>
                  <a:pt x="217" y="158"/>
                  <a:pt x="217" y="158"/>
                </a:cubicBezTo>
                <a:cubicBezTo>
                  <a:pt x="216" y="154"/>
                  <a:pt x="216" y="154"/>
                  <a:pt x="216" y="154"/>
                </a:cubicBezTo>
                <a:cubicBezTo>
                  <a:pt x="216" y="154"/>
                  <a:pt x="216" y="154"/>
                  <a:pt x="216" y="154"/>
                </a:cubicBezTo>
                <a:cubicBezTo>
                  <a:pt x="217" y="151"/>
                  <a:pt x="217" y="151"/>
                  <a:pt x="217" y="151"/>
                </a:cubicBezTo>
                <a:cubicBezTo>
                  <a:pt x="217" y="150"/>
                  <a:pt x="217" y="150"/>
                  <a:pt x="217" y="150"/>
                </a:cubicBezTo>
                <a:cubicBezTo>
                  <a:pt x="218" y="149"/>
                  <a:pt x="218" y="149"/>
                  <a:pt x="218" y="149"/>
                </a:cubicBezTo>
                <a:cubicBezTo>
                  <a:pt x="219" y="148"/>
                  <a:pt x="219" y="148"/>
                  <a:pt x="219" y="148"/>
                </a:cubicBezTo>
                <a:cubicBezTo>
                  <a:pt x="220" y="147"/>
                  <a:pt x="220" y="147"/>
                  <a:pt x="220" y="147"/>
                </a:cubicBezTo>
                <a:cubicBezTo>
                  <a:pt x="219" y="145"/>
                  <a:pt x="219" y="145"/>
                  <a:pt x="219" y="145"/>
                </a:cubicBezTo>
                <a:cubicBezTo>
                  <a:pt x="220" y="142"/>
                  <a:pt x="220" y="142"/>
                  <a:pt x="220" y="142"/>
                </a:cubicBezTo>
                <a:cubicBezTo>
                  <a:pt x="220" y="140"/>
                  <a:pt x="220" y="140"/>
                  <a:pt x="220" y="140"/>
                </a:cubicBezTo>
                <a:cubicBezTo>
                  <a:pt x="220" y="138"/>
                  <a:pt x="220" y="138"/>
                  <a:pt x="220" y="138"/>
                </a:cubicBezTo>
                <a:cubicBezTo>
                  <a:pt x="220" y="137"/>
                  <a:pt x="220" y="137"/>
                  <a:pt x="220" y="137"/>
                </a:cubicBezTo>
                <a:cubicBezTo>
                  <a:pt x="221" y="135"/>
                  <a:pt x="221" y="135"/>
                  <a:pt x="221" y="135"/>
                </a:cubicBezTo>
                <a:cubicBezTo>
                  <a:pt x="220" y="127"/>
                  <a:pt x="220" y="127"/>
                  <a:pt x="220" y="127"/>
                </a:cubicBezTo>
                <a:cubicBezTo>
                  <a:pt x="220" y="125"/>
                  <a:pt x="220" y="125"/>
                  <a:pt x="220" y="125"/>
                </a:cubicBezTo>
                <a:cubicBezTo>
                  <a:pt x="221" y="124"/>
                  <a:pt x="221" y="124"/>
                  <a:pt x="221" y="124"/>
                </a:cubicBezTo>
                <a:cubicBezTo>
                  <a:pt x="221" y="123"/>
                  <a:pt x="221" y="123"/>
                  <a:pt x="221" y="123"/>
                </a:cubicBezTo>
                <a:cubicBezTo>
                  <a:pt x="220" y="123"/>
                  <a:pt x="220" y="123"/>
                  <a:pt x="220" y="123"/>
                </a:cubicBezTo>
                <a:cubicBezTo>
                  <a:pt x="219" y="123"/>
                  <a:pt x="219" y="123"/>
                  <a:pt x="219" y="123"/>
                </a:cubicBezTo>
                <a:cubicBezTo>
                  <a:pt x="219" y="122"/>
                  <a:pt x="219" y="122"/>
                  <a:pt x="219" y="122"/>
                </a:cubicBezTo>
                <a:cubicBezTo>
                  <a:pt x="220" y="120"/>
                  <a:pt x="220" y="120"/>
                  <a:pt x="220" y="120"/>
                </a:cubicBezTo>
                <a:cubicBezTo>
                  <a:pt x="220" y="119"/>
                  <a:pt x="220" y="119"/>
                  <a:pt x="220" y="119"/>
                </a:cubicBezTo>
                <a:cubicBezTo>
                  <a:pt x="220" y="118"/>
                  <a:pt x="220" y="118"/>
                  <a:pt x="220" y="118"/>
                </a:cubicBezTo>
                <a:cubicBezTo>
                  <a:pt x="221" y="118"/>
                  <a:pt x="221" y="118"/>
                  <a:pt x="221" y="118"/>
                </a:cubicBezTo>
                <a:cubicBezTo>
                  <a:pt x="221" y="116"/>
                  <a:pt x="221" y="116"/>
                  <a:pt x="221" y="116"/>
                </a:cubicBezTo>
                <a:cubicBezTo>
                  <a:pt x="220" y="115"/>
                  <a:pt x="220" y="115"/>
                  <a:pt x="220" y="115"/>
                </a:cubicBezTo>
                <a:cubicBezTo>
                  <a:pt x="218" y="114"/>
                  <a:pt x="218" y="114"/>
                  <a:pt x="218" y="114"/>
                </a:cubicBezTo>
                <a:cubicBezTo>
                  <a:pt x="219" y="114"/>
                  <a:pt x="219" y="114"/>
                  <a:pt x="219" y="114"/>
                </a:cubicBezTo>
                <a:cubicBezTo>
                  <a:pt x="219" y="113"/>
                  <a:pt x="219" y="113"/>
                  <a:pt x="219" y="113"/>
                </a:cubicBezTo>
                <a:cubicBezTo>
                  <a:pt x="219" y="114"/>
                  <a:pt x="219" y="114"/>
                  <a:pt x="219" y="114"/>
                </a:cubicBezTo>
                <a:cubicBezTo>
                  <a:pt x="220" y="115"/>
                  <a:pt x="220" y="115"/>
                  <a:pt x="220" y="115"/>
                </a:cubicBezTo>
                <a:cubicBezTo>
                  <a:pt x="221" y="115"/>
                  <a:pt x="221" y="115"/>
                  <a:pt x="221" y="115"/>
                </a:cubicBezTo>
                <a:cubicBezTo>
                  <a:pt x="222" y="114"/>
                  <a:pt x="222" y="114"/>
                  <a:pt x="222" y="114"/>
                </a:cubicBezTo>
                <a:cubicBezTo>
                  <a:pt x="223" y="114"/>
                  <a:pt x="223" y="114"/>
                  <a:pt x="223" y="114"/>
                </a:cubicBezTo>
                <a:cubicBezTo>
                  <a:pt x="223" y="114"/>
                  <a:pt x="223" y="114"/>
                  <a:pt x="223" y="114"/>
                </a:cubicBezTo>
                <a:cubicBezTo>
                  <a:pt x="224" y="115"/>
                  <a:pt x="224" y="115"/>
                  <a:pt x="224" y="115"/>
                </a:cubicBezTo>
                <a:cubicBezTo>
                  <a:pt x="223" y="116"/>
                  <a:pt x="223" y="116"/>
                  <a:pt x="223" y="116"/>
                </a:cubicBezTo>
                <a:cubicBezTo>
                  <a:pt x="222" y="116"/>
                  <a:pt x="222" y="116"/>
                  <a:pt x="222" y="116"/>
                </a:cubicBezTo>
                <a:cubicBezTo>
                  <a:pt x="222" y="117"/>
                  <a:pt x="222" y="117"/>
                  <a:pt x="222" y="117"/>
                </a:cubicBezTo>
                <a:cubicBezTo>
                  <a:pt x="222" y="117"/>
                  <a:pt x="222" y="117"/>
                  <a:pt x="222" y="117"/>
                </a:cubicBezTo>
                <a:cubicBezTo>
                  <a:pt x="224" y="116"/>
                  <a:pt x="224" y="116"/>
                  <a:pt x="224" y="116"/>
                </a:cubicBezTo>
                <a:cubicBezTo>
                  <a:pt x="225" y="115"/>
                  <a:pt x="225" y="115"/>
                  <a:pt x="225" y="115"/>
                </a:cubicBezTo>
                <a:cubicBezTo>
                  <a:pt x="227" y="112"/>
                  <a:pt x="227" y="112"/>
                  <a:pt x="227" y="112"/>
                </a:cubicBezTo>
                <a:cubicBezTo>
                  <a:pt x="228" y="110"/>
                  <a:pt x="228" y="110"/>
                  <a:pt x="228" y="110"/>
                </a:cubicBezTo>
                <a:cubicBezTo>
                  <a:pt x="229" y="108"/>
                  <a:pt x="229" y="108"/>
                  <a:pt x="229" y="108"/>
                </a:cubicBezTo>
                <a:cubicBezTo>
                  <a:pt x="229" y="107"/>
                  <a:pt x="229" y="107"/>
                  <a:pt x="229" y="107"/>
                </a:cubicBezTo>
                <a:cubicBezTo>
                  <a:pt x="230" y="105"/>
                  <a:pt x="230" y="105"/>
                  <a:pt x="230" y="105"/>
                </a:cubicBezTo>
                <a:cubicBezTo>
                  <a:pt x="231" y="103"/>
                  <a:pt x="231" y="103"/>
                  <a:pt x="231" y="103"/>
                </a:cubicBezTo>
                <a:cubicBezTo>
                  <a:pt x="234" y="101"/>
                  <a:pt x="234" y="101"/>
                  <a:pt x="234" y="101"/>
                </a:cubicBezTo>
                <a:cubicBezTo>
                  <a:pt x="235" y="100"/>
                  <a:pt x="235" y="100"/>
                  <a:pt x="235" y="100"/>
                </a:cubicBezTo>
                <a:cubicBezTo>
                  <a:pt x="236" y="100"/>
                  <a:pt x="236" y="100"/>
                  <a:pt x="236" y="100"/>
                </a:cubicBezTo>
                <a:cubicBezTo>
                  <a:pt x="237" y="99"/>
                  <a:pt x="237" y="99"/>
                  <a:pt x="237" y="99"/>
                </a:cubicBezTo>
                <a:cubicBezTo>
                  <a:pt x="239" y="96"/>
                  <a:pt x="239" y="96"/>
                  <a:pt x="239" y="96"/>
                </a:cubicBezTo>
                <a:cubicBezTo>
                  <a:pt x="242" y="93"/>
                  <a:pt x="242" y="93"/>
                  <a:pt x="242" y="93"/>
                </a:cubicBezTo>
                <a:cubicBezTo>
                  <a:pt x="243" y="92"/>
                  <a:pt x="243" y="92"/>
                  <a:pt x="243" y="92"/>
                </a:cubicBezTo>
                <a:cubicBezTo>
                  <a:pt x="244" y="88"/>
                  <a:pt x="244" y="88"/>
                  <a:pt x="244" y="88"/>
                </a:cubicBezTo>
                <a:cubicBezTo>
                  <a:pt x="244" y="87"/>
                  <a:pt x="244" y="87"/>
                  <a:pt x="244" y="87"/>
                </a:cubicBezTo>
                <a:cubicBezTo>
                  <a:pt x="245" y="86"/>
                  <a:pt x="245" y="86"/>
                  <a:pt x="245" y="86"/>
                </a:cubicBezTo>
                <a:cubicBezTo>
                  <a:pt x="245" y="85"/>
                  <a:pt x="245" y="85"/>
                  <a:pt x="245" y="85"/>
                </a:cubicBezTo>
                <a:cubicBezTo>
                  <a:pt x="244" y="83"/>
                  <a:pt x="244" y="83"/>
                  <a:pt x="244" y="83"/>
                </a:cubicBezTo>
                <a:cubicBezTo>
                  <a:pt x="245" y="82"/>
                  <a:pt x="245" y="82"/>
                  <a:pt x="245" y="82"/>
                </a:cubicBezTo>
                <a:cubicBezTo>
                  <a:pt x="245" y="82"/>
                  <a:pt x="245" y="82"/>
                  <a:pt x="245" y="82"/>
                </a:cubicBezTo>
                <a:cubicBezTo>
                  <a:pt x="245" y="78"/>
                  <a:pt x="245" y="78"/>
                  <a:pt x="245" y="78"/>
                </a:cubicBezTo>
                <a:cubicBezTo>
                  <a:pt x="245" y="78"/>
                  <a:pt x="245" y="78"/>
                  <a:pt x="245" y="78"/>
                </a:cubicBezTo>
                <a:cubicBezTo>
                  <a:pt x="244" y="76"/>
                  <a:pt x="244" y="76"/>
                  <a:pt x="244" y="76"/>
                </a:cubicBezTo>
                <a:cubicBezTo>
                  <a:pt x="242" y="72"/>
                  <a:pt x="242" y="72"/>
                  <a:pt x="242" y="72"/>
                </a:cubicBezTo>
                <a:cubicBezTo>
                  <a:pt x="242" y="70"/>
                  <a:pt x="242" y="70"/>
                  <a:pt x="242" y="70"/>
                </a:cubicBezTo>
                <a:cubicBezTo>
                  <a:pt x="242" y="68"/>
                  <a:pt x="242" y="68"/>
                  <a:pt x="242" y="68"/>
                </a:cubicBezTo>
                <a:cubicBezTo>
                  <a:pt x="238" y="66"/>
                  <a:pt x="238" y="66"/>
                  <a:pt x="238" y="66"/>
                </a:cubicBezTo>
                <a:cubicBezTo>
                  <a:pt x="235" y="66"/>
                  <a:pt x="235" y="66"/>
                  <a:pt x="235" y="66"/>
                </a:cubicBezTo>
                <a:cubicBezTo>
                  <a:pt x="234" y="67"/>
                  <a:pt x="234" y="67"/>
                  <a:pt x="234" y="67"/>
                </a:cubicBezTo>
                <a:cubicBezTo>
                  <a:pt x="232" y="65"/>
                  <a:pt x="232" y="65"/>
                  <a:pt x="232" y="65"/>
                </a:cubicBezTo>
                <a:cubicBezTo>
                  <a:pt x="231" y="65"/>
                  <a:pt x="231" y="65"/>
                  <a:pt x="231" y="65"/>
                </a:cubicBezTo>
                <a:cubicBezTo>
                  <a:pt x="230" y="64"/>
                  <a:pt x="230" y="64"/>
                  <a:pt x="230" y="64"/>
                </a:cubicBezTo>
                <a:cubicBezTo>
                  <a:pt x="228" y="63"/>
                  <a:pt x="228" y="63"/>
                  <a:pt x="228" y="63"/>
                </a:cubicBezTo>
                <a:cubicBezTo>
                  <a:pt x="227" y="62"/>
                  <a:pt x="227" y="62"/>
                  <a:pt x="227" y="62"/>
                </a:cubicBezTo>
                <a:cubicBezTo>
                  <a:pt x="224" y="59"/>
                  <a:pt x="224" y="59"/>
                  <a:pt x="224" y="59"/>
                </a:cubicBezTo>
                <a:cubicBezTo>
                  <a:pt x="222" y="56"/>
                  <a:pt x="222" y="56"/>
                  <a:pt x="222" y="56"/>
                </a:cubicBezTo>
                <a:cubicBezTo>
                  <a:pt x="220" y="56"/>
                  <a:pt x="220" y="56"/>
                  <a:pt x="220" y="56"/>
                </a:cubicBezTo>
                <a:cubicBezTo>
                  <a:pt x="219" y="55"/>
                  <a:pt x="219" y="55"/>
                  <a:pt x="219" y="55"/>
                </a:cubicBezTo>
                <a:cubicBezTo>
                  <a:pt x="218" y="55"/>
                  <a:pt x="218" y="55"/>
                  <a:pt x="218" y="55"/>
                </a:cubicBezTo>
                <a:cubicBezTo>
                  <a:pt x="214" y="52"/>
                  <a:pt x="214" y="52"/>
                  <a:pt x="214" y="52"/>
                </a:cubicBezTo>
                <a:cubicBezTo>
                  <a:pt x="212" y="52"/>
                  <a:pt x="212" y="52"/>
                  <a:pt x="212" y="52"/>
                </a:cubicBezTo>
                <a:cubicBezTo>
                  <a:pt x="210" y="51"/>
                  <a:pt x="210" y="51"/>
                  <a:pt x="210" y="51"/>
                </a:cubicBezTo>
                <a:cubicBezTo>
                  <a:pt x="209" y="52"/>
                  <a:pt x="209" y="52"/>
                  <a:pt x="209" y="52"/>
                </a:cubicBezTo>
                <a:cubicBezTo>
                  <a:pt x="207" y="52"/>
                  <a:pt x="207" y="52"/>
                  <a:pt x="207" y="52"/>
                </a:cubicBezTo>
                <a:cubicBezTo>
                  <a:pt x="206" y="51"/>
                  <a:pt x="206" y="51"/>
                  <a:pt x="206" y="51"/>
                </a:cubicBezTo>
                <a:cubicBezTo>
                  <a:pt x="205" y="52"/>
                  <a:pt x="205" y="52"/>
                  <a:pt x="205" y="52"/>
                </a:cubicBezTo>
                <a:cubicBezTo>
                  <a:pt x="204" y="53"/>
                  <a:pt x="204" y="53"/>
                  <a:pt x="204" y="53"/>
                </a:cubicBezTo>
                <a:cubicBezTo>
                  <a:pt x="204" y="52"/>
                  <a:pt x="204" y="52"/>
                  <a:pt x="204" y="52"/>
                </a:cubicBezTo>
                <a:cubicBezTo>
                  <a:pt x="202" y="51"/>
                  <a:pt x="202" y="51"/>
                  <a:pt x="202" y="51"/>
                </a:cubicBezTo>
                <a:cubicBezTo>
                  <a:pt x="202" y="51"/>
                  <a:pt x="202" y="51"/>
                  <a:pt x="202" y="51"/>
                </a:cubicBezTo>
                <a:cubicBezTo>
                  <a:pt x="201" y="51"/>
                  <a:pt x="201" y="51"/>
                  <a:pt x="201" y="51"/>
                </a:cubicBezTo>
                <a:cubicBezTo>
                  <a:pt x="201" y="51"/>
                  <a:pt x="201" y="51"/>
                  <a:pt x="201" y="51"/>
                </a:cubicBezTo>
                <a:cubicBezTo>
                  <a:pt x="201" y="52"/>
                  <a:pt x="201" y="52"/>
                  <a:pt x="201" y="52"/>
                </a:cubicBezTo>
                <a:cubicBezTo>
                  <a:pt x="200" y="51"/>
                  <a:pt x="200" y="51"/>
                  <a:pt x="200" y="51"/>
                </a:cubicBezTo>
                <a:cubicBezTo>
                  <a:pt x="199" y="51"/>
                  <a:pt x="199" y="51"/>
                  <a:pt x="199" y="51"/>
                </a:cubicBezTo>
                <a:cubicBezTo>
                  <a:pt x="199" y="50"/>
                  <a:pt x="199" y="50"/>
                  <a:pt x="199" y="50"/>
                </a:cubicBezTo>
                <a:cubicBezTo>
                  <a:pt x="199" y="51"/>
                  <a:pt x="199" y="51"/>
                  <a:pt x="199" y="51"/>
                </a:cubicBezTo>
                <a:cubicBezTo>
                  <a:pt x="199" y="51"/>
                  <a:pt x="199" y="51"/>
                  <a:pt x="199" y="51"/>
                </a:cubicBezTo>
                <a:cubicBezTo>
                  <a:pt x="197" y="50"/>
                  <a:pt x="197" y="50"/>
                  <a:pt x="197" y="50"/>
                </a:cubicBezTo>
                <a:cubicBezTo>
                  <a:pt x="196" y="51"/>
                  <a:pt x="196" y="51"/>
                  <a:pt x="196" y="51"/>
                </a:cubicBezTo>
                <a:cubicBezTo>
                  <a:pt x="195" y="50"/>
                  <a:pt x="195" y="50"/>
                  <a:pt x="195" y="50"/>
                </a:cubicBezTo>
                <a:cubicBezTo>
                  <a:pt x="191" y="49"/>
                  <a:pt x="191" y="49"/>
                  <a:pt x="191" y="49"/>
                </a:cubicBezTo>
                <a:cubicBezTo>
                  <a:pt x="190" y="49"/>
                  <a:pt x="190" y="49"/>
                  <a:pt x="190" y="49"/>
                </a:cubicBezTo>
                <a:cubicBezTo>
                  <a:pt x="190" y="49"/>
                  <a:pt x="190" y="49"/>
                  <a:pt x="190" y="49"/>
                </a:cubicBezTo>
                <a:cubicBezTo>
                  <a:pt x="190" y="50"/>
                  <a:pt x="190" y="50"/>
                  <a:pt x="190" y="50"/>
                </a:cubicBezTo>
                <a:cubicBezTo>
                  <a:pt x="190" y="50"/>
                  <a:pt x="190" y="50"/>
                  <a:pt x="190" y="50"/>
                </a:cubicBezTo>
                <a:cubicBezTo>
                  <a:pt x="189" y="50"/>
                  <a:pt x="189" y="50"/>
                  <a:pt x="189" y="50"/>
                </a:cubicBezTo>
                <a:cubicBezTo>
                  <a:pt x="189" y="50"/>
                  <a:pt x="189" y="50"/>
                  <a:pt x="189" y="50"/>
                </a:cubicBezTo>
                <a:cubicBezTo>
                  <a:pt x="188" y="50"/>
                  <a:pt x="188" y="50"/>
                  <a:pt x="188" y="50"/>
                </a:cubicBezTo>
                <a:cubicBezTo>
                  <a:pt x="187" y="51"/>
                  <a:pt x="187" y="51"/>
                  <a:pt x="187" y="51"/>
                </a:cubicBezTo>
                <a:cubicBezTo>
                  <a:pt x="187" y="52"/>
                  <a:pt x="187" y="52"/>
                  <a:pt x="187" y="52"/>
                </a:cubicBezTo>
                <a:cubicBezTo>
                  <a:pt x="187" y="53"/>
                  <a:pt x="187" y="53"/>
                  <a:pt x="187" y="53"/>
                </a:cubicBezTo>
                <a:cubicBezTo>
                  <a:pt x="186" y="52"/>
                  <a:pt x="186" y="52"/>
                  <a:pt x="186" y="52"/>
                </a:cubicBezTo>
                <a:cubicBezTo>
                  <a:pt x="186" y="51"/>
                  <a:pt x="186" y="51"/>
                  <a:pt x="186" y="51"/>
                </a:cubicBezTo>
                <a:cubicBezTo>
                  <a:pt x="185" y="51"/>
                  <a:pt x="185" y="51"/>
                  <a:pt x="185" y="51"/>
                </a:cubicBezTo>
                <a:cubicBezTo>
                  <a:pt x="185" y="53"/>
                  <a:pt x="185" y="53"/>
                  <a:pt x="185" y="53"/>
                </a:cubicBezTo>
                <a:cubicBezTo>
                  <a:pt x="184" y="55"/>
                  <a:pt x="184" y="55"/>
                  <a:pt x="184" y="55"/>
                </a:cubicBezTo>
                <a:cubicBezTo>
                  <a:pt x="184" y="56"/>
                  <a:pt x="184" y="56"/>
                  <a:pt x="184" y="56"/>
                </a:cubicBezTo>
                <a:cubicBezTo>
                  <a:pt x="184" y="55"/>
                  <a:pt x="184" y="55"/>
                  <a:pt x="184" y="55"/>
                </a:cubicBezTo>
                <a:cubicBezTo>
                  <a:pt x="184" y="53"/>
                  <a:pt x="184" y="53"/>
                  <a:pt x="184" y="53"/>
                </a:cubicBezTo>
                <a:cubicBezTo>
                  <a:pt x="184" y="52"/>
                  <a:pt x="184" y="52"/>
                  <a:pt x="184" y="52"/>
                </a:cubicBezTo>
                <a:cubicBezTo>
                  <a:pt x="184" y="50"/>
                  <a:pt x="184" y="50"/>
                  <a:pt x="184" y="50"/>
                </a:cubicBezTo>
                <a:cubicBezTo>
                  <a:pt x="185" y="49"/>
                  <a:pt x="185" y="49"/>
                  <a:pt x="185" y="49"/>
                </a:cubicBezTo>
                <a:cubicBezTo>
                  <a:pt x="185" y="49"/>
                  <a:pt x="185" y="49"/>
                  <a:pt x="185" y="49"/>
                </a:cubicBezTo>
                <a:cubicBezTo>
                  <a:pt x="184" y="49"/>
                  <a:pt x="184" y="49"/>
                  <a:pt x="184" y="49"/>
                </a:cubicBezTo>
                <a:cubicBezTo>
                  <a:pt x="185" y="47"/>
                  <a:pt x="185" y="47"/>
                  <a:pt x="185" y="47"/>
                </a:cubicBezTo>
                <a:cubicBezTo>
                  <a:pt x="183" y="45"/>
                  <a:pt x="183" y="45"/>
                  <a:pt x="183" y="45"/>
                </a:cubicBezTo>
                <a:cubicBezTo>
                  <a:pt x="182" y="44"/>
                  <a:pt x="182" y="44"/>
                  <a:pt x="182" y="44"/>
                </a:cubicBezTo>
                <a:cubicBezTo>
                  <a:pt x="181" y="44"/>
                  <a:pt x="181" y="44"/>
                  <a:pt x="181" y="44"/>
                </a:cubicBezTo>
                <a:cubicBezTo>
                  <a:pt x="180" y="44"/>
                  <a:pt x="180" y="44"/>
                  <a:pt x="180" y="44"/>
                </a:cubicBezTo>
                <a:cubicBezTo>
                  <a:pt x="179" y="45"/>
                  <a:pt x="179" y="45"/>
                  <a:pt x="179" y="45"/>
                </a:cubicBezTo>
                <a:cubicBezTo>
                  <a:pt x="178" y="45"/>
                  <a:pt x="178" y="45"/>
                  <a:pt x="178" y="45"/>
                </a:cubicBezTo>
                <a:cubicBezTo>
                  <a:pt x="178" y="44"/>
                  <a:pt x="178" y="44"/>
                  <a:pt x="178" y="44"/>
                </a:cubicBezTo>
                <a:cubicBezTo>
                  <a:pt x="177" y="44"/>
                  <a:pt x="177" y="44"/>
                  <a:pt x="177" y="44"/>
                </a:cubicBezTo>
                <a:cubicBezTo>
                  <a:pt x="177" y="43"/>
                  <a:pt x="177" y="43"/>
                  <a:pt x="177" y="43"/>
                </a:cubicBezTo>
                <a:cubicBezTo>
                  <a:pt x="176" y="42"/>
                  <a:pt x="176" y="42"/>
                  <a:pt x="176" y="42"/>
                </a:cubicBezTo>
                <a:cubicBezTo>
                  <a:pt x="175" y="42"/>
                  <a:pt x="175" y="42"/>
                  <a:pt x="175" y="42"/>
                </a:cubicBezTo>
                <a:cubicBezTo>
                  <a:pt x="175" y="42"/>
                  <a:pt x="175" y="42"/>
                  <a:pt x="175" y="42"/>
                </a:cubicBezTo>
                <a:cubicBezTo>
                  <a:pt x="174" y="41"/>
                  <a:pt x="174" y="41"/>
                  <a:pt x="174" y="41"/>
                </a:cubicBezTo>
                <a:cubicBezTo>
                  <a:pt x="173" y="42"/>
                  <a:pt x="173" y="42"/>
                  <a:pt x="173" y="42"/>
                </a:cubicBezTo>
                <a:cubicBezTo>
                  <a:pt x="173" y="41"/>
                  <a:pt x="173" y="41"/>
                  <a:pt x="173" y="41"/>
                </a:cubicBezTo>
                <a:cubicBezTo>
                  <a:pt x="173" y="41"/>
                  <a:pt x="173" y="41"/>
                  <a:pt x="173" y="41"/>
                </a:cubicBezTo>
                <a:cubicBezTo>
                  <a:pt x="172" y="40"/>
                  <a:pt x="172" y="40"/>
                  <a:pt x="172" y="40"/>
                </a:cubicBezTo>
                <a:cubicBezTo>
                  <a:pt x="171" y="40"/>
                  <a:pt x="171" y="40"/>
                  <a:pt x="171" y="40"/>
                </a:cubicBezTo>
                <a:cubicBezTo>
                  <a:pt x="170" y="40"/>
                  <a:pt x="170" y="40"/>
                  <a:pt x="170" y="40"/>
                </a:cubicBezTo>
                <a:cubicBezTo>
                  <a:pt x="168" y="39"/>
                  <a:pt x="168" y="39"/>
                  <a:pt x="168" y="39"/>
                </a:cubicBezTo>
                <a:cubicBezTo>
                  <a:pt x="168" y="39"/>
                  <a:pt x="168" y="39"/>
                  <a:pt x="168" y="39"/>
                </a:cubicBezTo>
                <a:cubicBezTo>
                  <a:pt x="167" y="39"/>
                  <a:pt x="167" y="39"/>
                  <a:pt x="167" y="39"/>
                </a:cubicBezTo>
                <a:cubicBezTo>
                  <a:pt x="166" y="39"/>
                  <a:pt x="166" y="39"/>
                  <a:pt x="166" y="39"/>
                </a:cubicBezTo>
                <a:cubicBezTo>
                  <a:pt x="165" y="39"/>
                  <a:pt x="165" y="39"/>
                  <a:pt x="165" y="39"/>
                </a:cubicBezTo>
                <a:cubicBezTo>
                  <a:pt x="165" y="40"/>
                  <a:pt x="165" y="40"/>
                  <a:pt x="165" y="40"/>
                </a:cubicBezTo>
                <a:cubicBezTo>
                  <a:pt x="165" y="40"/>
                  <a:pt x="165" y="40"/>
                  <a:pt x="165" y="40"/>
                </a:cubicBezTo>
                <a:cubicBezTo>
                  <a:pt x="164" y="39"/>
                  <a:pt x="164" y="39"/>
                  <a:pt x="164" y="39"/>
                </a:cubicBezTo>
                <a:cubicBezTo>
                  <a:pt x="163" y="39"/>
                  <a:pt x="163" y="39"/>
                  <a:pt x="163" y="39"/>
                </a:cubicBezTo>
                <a:cubicBezTo>
                  <a:pt x="162" y="39"/>
                  <a:pt x="162" y="39"/>
                  <a:pt x="162" y="39"/>
                </a:cubicBezTo>
                <a:cubicBezTo>
                  <a:pt x="161" y="41"/>
                  <a:pt x="161" y="41"/>
                  <a:pt x="161" y="41"/>
                </a:cubicBezTo>
                <a:cubicBezTo>
                  <a:pt x="161" y="41"/>
                  <a:pt x="161" y="41"/>
                  <a:pt x="161" y="41"/>
                </a:cubicBezTo>
                <a:cubicBezTo>
                  <a:pt x="160" y="43"/>
                  <a:pt x="160" y="43"/>
                  <a:pt x="160" y="43"/>
                </a:cubicBezTo>
                <a:cubicBezTo>
                  <a:pt x="158" y="44"/>
                  <a:pt x="158" y="44"/>
                  <a:pt x="158" y="44"/>
                </a:cubicBezTo>
                <a:cubicBezTo>
                  <a:pt x="156" y="45"/>
                  <a:pt x="156" y="45"/>
                  <a:pt x="156" y="45"/>
                </a:cubicBezTo>
                <a:cubicBezTo>
                  <a:pt x="155" y="46"/>
                  <a:pt x="155" y="46"/>
                  <a:pt x="155" y="46"/>
                </a:cubicBezTo>
                <a:cubicBezTo>
                  <a:pt x="154" y="48"/>
                  <a:pt x="154" y="48"/>
                  <a:pt x="154" y="48"/>
                </a:cubicBezTo>
                <a:cubicBezTo>
                  <a:pt x="154" y="50"/>
                  <a:pt x="154" y="50"/>
                  <a:pt x="154" y="50"/>
                </a:cubicBezTo>
                <a:cubicBezTo>
                  <a:pt x="153" y="51"/>
                  <a:pt x="153" y="51"/>
                  <a:pt x="153" y="51"/>
                </a:cubicBezTo>
                <a:cubicBezTo>
                  <a:pt x="152" y="52"/>
                  <a:pt x="152" y="52"/>
                  <a:pt x="152" y="52"/>
                </a:cubicBezTo>
                <a:cubicBezTo>
                  <a:pt x="152" y="53"/>
                  <a:pt x="152" y="53"/>
                  <a:pt x="152" y="53"/>
                </a:cubicBezTo>
                <a:cubicBezTo>
                  <a:pt x="152" y="54"/>
                  <a:pt x="152" y="54"/>
                  <a:pt x="152" y="54"/>
                </a:cubicBezTo>
                <a:cubicBezTo>
                  <a:pt x="152" y="56"/>
                  <a:pt x="152" y="56"/>
                  <a:pt x="152" y="56"/>
                </a:cubicBezTo>
                <a:cubicBezTo>
                  <a:pt x="152" y="55"/>
                  <a:pt x="152" y="55"/>
                  <a:pt x="152" y="55"/>
                </a:cubicBezTo>
                <a:cubicBezTo>
                  <a:pt x="151" y="53"/>
                  <a:pt x="151" y="53"/>
                  <a:pt x="151" y="53"/>
                </a:cubicBezTo>
                <a:cubicBezTo>
                  <a:pt x="151" y="52"/>
                  <a:pt x="151" y="52"/>
                  <a:pt x="151" y="52"/>
                </a:cubicBezTo>
                <a:cubicBezTo>
                  <a:pt x="152" y="51"/>
                  <a:pt x="152" y="51"/>
                  <a:pt x="152" y="51"/>
                </a:cubicBezTo>
                <a:cubicBezTo>
                  <a:pt x="153" y="50"/>
                  <a:pt x="153" y="50"/>
                  <a:pt x="153" y="50"/>
                </a:cubicBezTo>
                <a:cubicBezTo>
                  <a:pt x="153" y="49"/>
                  <a:pt x="153" y="49"/>
                  <a:pt x="153" y="49"/>
                </a:cubicBezTo>
                <a:cubicBezTo>
                  <a:pt x="153" y="47"/>
                  <a:pt x="153" y="47"/>
                  <a:pt x="153" y="47"/>
                </a:cubicBezTo>
                <a:cubicBezTo>
                  <a:pt x="153" y="46"/>
                  <a:pt x="153" y="46"/>
                  <a:pt x="153" y="46"/>
                </a:cubicBezTo>
                <a:cubicBezTo>
                  <a:pt x="152" y="46"/>
                  <a:pt x="152" y="46"/>
                  <a:pt x="152" y="46"/>
                </a:cubicBezTo>
                <a:cubicBezTo>
                  <a:pt x="151" y="47"/>
                  <a:pt x="151" y="47"/>
                  <a:pt x="151" y="47"/>
                </a:cubicBezTo>
                <a:cubicBezTo>
                  <a:pt x="149" y="47"/>
                  <a:pt x="149" y="47"/>
                  <a:pt x="149" y="47"/>
                </a:cubicBezTo>
                <a:cubicBezTo>
                  <a:pt x="148" y="47"/>
                  <a:pt x="148" y="47"/>
                  <a:pt x="148" y="47"/>
                </a:cubicBezTo>
                <a:cubicBezTo>
                  <a:pt x="147" y="47"/>
                  <a:pt x="147" y="47"/>
                  <a:pt x="147" y="47"/>
                </a:cubicBezTo>
                <a:cubicBezTo>
                  <a:pt x="146" y="46"/>
                  <a:pt x="146" y="46"/>
                  <a:pt x="146" y="46"/>
                </a:cubicBezTo>
                <a:cubicBezTo>
                  <a:pt x="147" y="46"/>
                  <a:pt x="147" y="46"/>
                  <a:pt x="147" y="46"/>
                </a:cubicBezTo>
                <a:cubicBezTo>
                  <a:pt x="148" y="46"/>
                  <a:pt x="148" y="46"/>
                  <a:pt x="148" y="46"/>
                </a:cubicBezTo>
                <a:cubicBezTo>
                  <a:pt x="149" y="45"/>
                  <a:pt x="149" y="45"/>
                  <a:pt x="149" y="45"/>
                </a:cubicBezTo>
                <a:cubicBezTo>
                  <a:pt x="151" y="46"/>
                  <a:pt x="151" y="46"/>
                  <a:pt x="151" y="46"/>
                </a:cubicBezTo>
                <a:cubicBezTo>
                  <a:pt x="152" y="45"/>
                  <a:pt x="152" y="45"/>
                  <a:pt x="152" y="45"/>
                </a:cubicBezTo>
                <a:cubicBezTo>
                  <a:pt x="153" y="44"/>
                  <a:pt x="153" y="44"/>
                  <a:pt x="153" y="44"/>
                </a:cubicBezTo>
                <a:cubicBezTo>
                  <a:pt x="153" y="44"/>
                  <a:pt x="153" y="44"/>
                  <a:pt x="153" y="44"/>
                </a:cubicBezTo>
                <a:cubicBezTo>
                  <a:pt x="154" y="45"/>
                  <a:pt x="154" y="45"/>
                  <a:pt x="154" y="45"/>
                </a:cubicBezTo>
                <a:cubicBezTo>
                  <a:pt x="155" y="44"/>
                  <a:pt x="155" y="44"/>
                  <a:pt x="155" y="44"/>
                </a:cubicBezTo>
                <a:cubicBezTo>
                  <a:pt x="156" y="44"/>
                  <a:pt x="156" y="44"/>
                  <a:pt x="156" y="44"/>
                </a:cubicBezTo>
                <a:cubicBezTo>
                  <a:pt x="157" y="43"/>
                  <a:pt x="157" y="43"/>
                  <a:pt x="157" y="43"/>
                </a:cubicBezTo>
                <a:cubicBezTo>
                  <a:pt x="157" y="42"/>
                  <a:pt x="157" y="42"/>
                  <a:pt x="157" y="42"/>
                </a:cubicBezTo>
                <a:cubicBezTo>
                  <a:pt x="159" y="40"/>
                  <a:pt x="159" y="40"/>
                  <a:pt x="159" y="40"/>
                </a:cubicBezTo>
                <a:cubicBezTo>
                  <a:pt x="159" y="38"/>
                  <a:pt x="159" y="38"/>
                  <a:pt x="159" y="38"/>
                </a:cubicBezTo>
                <a:cubicBezTo>
                  <a:pt x="160" y="37"/>
                  <a:pt x="160" y="37"/>
                  <a:pt x="160" y="37"/>
                </a:cubicBezTo>
                <a:cubicBezTo>
                  <a:pt x="160" y="36"/>
                  <a:pt x="160" y="36"/>
                  <a:pt x="160" y="36"/>
                </a:cubicBezTo>
                <a:cubicBezTo>
                  <a:pt x="158" y="36"/>
                  <a:pt x="158" y="36"/>
                  <a:pt x="158" y="36"/>
                </a:cubicBezTo>
                <a:cubicBezTo>
                  <a:pt x="157" y="35"/>
                  <a:pt x="157" y="35"/>
                  <a:pt x="157" y="35"/>
                </a:cubicBezTo>
                <a:cubicBezTo>
                  <a:pt x="155" y="35"/>
                  <a:pt x="155" y="35"/>
                  <a:pt x="155" y="35"/>
                </a:cubicBezTo>
                <a:cubicBezTo>
                  <a:pt x="154" y="36"/>
                  <a:pt x="154" y="36"/>
                  <a:pt x="154" y="36"/>
                </a:cubicBezTo>
                <a:cubicBezTo>
                  <a:pt x="152" y="36"/>
                  <a:pt x="152" y="36"/>
                  <a:pt x="152" y="36"/>
                </a:cubicBezTo>
                <a:cubicBezTo>
                  <a:pt x="150" y="35"/>
                  <a:pt x="150" y="35"/>
                  <a:pt x="150" y="35"/>
                </a:cubicBezTo>
                <a:cubicBezTo>
                  <a:pt x="148" y="35"/>
                  <a:pt x="148" y="35"/>
                  <a:pt x="148" y="35"/>
                </a:cubicBezTo>
                <a:cubicBezTo>
                  <a:pt x="146" y="37"/>
                  <a:pt x="146" y="37"/>
                  <a:pt x="146" y="37"/>
                </a:cubicBezTo>
                <a:cubicBezTo>
                  <a:pt x="146" y="38"/>
                  <a:pt x="146" y="38"/>
                  <a:pt x="146" y="38"/>
                </a:cubicBezTo>
                <a:cubicBezTo>
                  <a:pt x="147" y="38"/>
                  <a:pt x="147" y="38"/>
                  <a:pt x="147" y="38"/>
                </a:cubicBezTo>
                <a:cubicBezTo>
                  <a:pt x="147" y="39"/>
                  <a:pt x="147" y="39"/>
                  <a:pt x="147" y="39"/>
                </a:cubicBezTo>
                <a:cubicBezTo>
                  <a:pt x="146" y="39"/>
                  <a:pt x="146" y="39"/>
                  <a:pt x="146" y="39"/>
                </a:cubicBezTo>
                <a:cubicBezTo>
                  <a:pt x="146" y="39"/>
                  <a:pt x="146" y="39"/>
                  <a:pt x="146" y="39"/>
                </a:cubicBezTo>
                <a:cubicBezTo>
                  <a:pt x="145" y="40"/>
                  <a:pt x="145" y="40"/>
                  <a:pt x="145" y="40"/>
                </a:cubicBezTo>
                <a:cubicBezTo>
                  <a:pt x="145" y="39"/>
                  <a:pt x="145" y="39"/>
                  <a:pt x="145" y="39"/>
                </a:cubicBezTo>
                <a:cubicBezTo>
                  <a:pt x="144" y="39"/>
                  <a:pt x="144" y="39"/>
                  <a:pt x="144" y="39"/>
                </a:cubicBezTo>
                <a:cubicBezTo>
                  <a:pt x="143" y="39"/>
                  <a:pt x="143" y="39"/>
                  <a:pt x="143" y="39"/>
                </a:cubicBezTo>
                <a:cubicBezTo>
                  <a:pt x="141" y="41"/>
                  <a:pt x="141" y="41"/>
                  <a:pt x="141" y="41"/>
                </a:cubicBezTo>
                <a:cubicBezTo>
                  <a:pt x="139" y="44"/>
                  <a:pt x="139" y="44"/>
                  <a:pt x="139" y="44"/>
                </a:cubicBezTo>
                <a:cubicBezTo>
                  <a:pt x="141" y="42"/>
                  <a:pt x="141" y="42"/>
                  <a:pt x="141" y="42"/>
                </a:cubicBezTo>
                <a:cubicBezTo>
                  <a:pt x="141" y="40"/>
                  <a:pt x="141" y="40"/>
                  <a:pt x="141" y="40"/>
                </a:cubicBezTo>
                <a:cubicBezTo>
                  <a:pt x="141" y="40"/>
                  <a:pt x="141" y="40"/>
                  <a:pt x="141" y="40"/>
                </a:cubicBezTo>
                <a:cubicBezTo>
                  <a:pt x="141" y="39"/>
                  <a:pt x="141" y="39"/>
                  <a:pt x="141" y="39"/>
                </a:cubicBezTo>
                <a:cubicBezTo>
                  <a:pt x="141" y="39"/>
                  <a:pt x="141" y="39"/>
                  <a:pt x="141" y="39"/>
                </a:cubicBezTo>
                <a:cubicBezTo>
                  <a:pt x="139" y="40"/>
                  <a:pt x="139" y="40"/>
                  <a:pt x="139" y="40"/>
                </a:cubicBezTo>
                <a:cubicBezTo>
                  <a:pt x="139" y="41"/>
                  <a:pt x="139" y="41"/>
                  <a:pt x="139" y="41"/>
                </a:cubicBezTo>
                <a:cubicBezTo>
                  <a:pt x="138" y="43"/>
                  <a:pt x="138" y="43"/>
                  <a:pt x="138" y="43"/>
                </a:cubicBezTo>
                <a:cubicBezTo>
                  <a:pt x="137" y="43"/>
                  <a:pt x="137" y="43"/>
                  <a:pt x="137" y="43"/>
                </a:cubicBezTo>
                <a:cubicBezTo>
                  <a:pt x="138" y="42"/>
                  <a:pt x="138" y="42"/>
                  <a:pt x="138" y="42"/>
                </a:cubicBezTo>
                <a:cubicBezTo>
                  <a:pt x="138" y="40"/>
                  <a:pt x="138" y="40"/>
                  <a:pt x="138" y="40"/>
                </a:cubicBezTo>
                <a:cubicBezTo>
                  <a:pt x="141" y="37"/>
                  <a:pt x="141" y="37"/>
                  <a:pt x="141" y="37"/>
                </a:cubicBezTo>
                <a:cubicBezTo>
                  <a:pt x="141" y="35"/>
                  <a:pt x="141" y="35"/>
                  <a:pt x="141" y="35"/>
                </a:cubicBezTo>
                <a:cubicBezTo>
                  <a:pt x="142" y="34"/>
                  <a:pt x="142" y="34"/>
                  <a:pt x="142" y="34"/>
                </a:cubicBezTo>
                <a:cubicBezTo>
                  <a:pt x="143" y="34"/>
                  <a:pt x="143" y="34"/>
                  <a:pt x="143" y="34"/>
                </a:cubicBezTo>
                <a:cubicBezTo>
                  <a:pt x="144" y="33"/>
                  <a:pt x="144" y="33"/>
                  <a:pt x="144" y="33"/>
                </a:cubicBezTo>
                <a:cubicBezTo>
                  <a:pt x="145" y="32"/>
                  <a:pt x="145" y="32"/>
                  <a:pt x="145" y="32"/>
                </a:cubicBezTo>
                <a:cubicBezTo>
                  <a:pt x="147" y="31"/>
                  <a:pt x="147" y="31"/>
                  <a:pt x="147" y="31"/>
                </a:cubicBezTo>
                <a:cubicBezTo>
                  <a:pt x="149" y="28"/>
                  <a:pt x="149" y="28"/>
                  <a:pt x="149" y="28"/>
                </a:cubicBezTo>
                <a:cubicBezTo>
                  <a:pt x="150" y="27"/>
                  <a:pt x="150" y="27"/>
                  <a:pt x="150" y="27"/>
                </a:cubicBezTo>
                <a:cubicBezTo>
                  <a:pt x="150" y="26"/>
                  <a:pt x="150" y="26"/>
                  <a:pt x="150" y="26"/>
                </a:cubicBezTo>
                <a:cubicBezTo>
                  <a:pt x="150" y="26"/>
                  <a:pt x="150" y="26"/>
                  <a:pt x="150" y="26"/>
                </a:cubicBezTo>
                <a:cubicBezTo>
                  <a:pt x="150" y="25"/>
                  <a:pt x="150" y="25"/>
                  <a:pt x="150" y="25"/>
                </a:cubicBezTo>
                <a:cubicBezTo>
                  <a:pt x="150" y="24"/>
                  <a:pt x="150" y="24"/>
                  <a:pt x="150" y="24"/>
                </a:cubicBezTo>
                <a:cubicBezTo>
                  <a:pt x="150" y="23"/>
                  <a:pt x="150" y="23"/>
                  <a:pt x="150" y="23"/>
                </a:cubicBezTo>
                <a:cubicBezTo>
                  <a:pt x="149" y="22"/>
                  <a:pt x="149" y="22"/>
                  <a:pt x="149" y="22"/>
                </a:cubicBezTo>
                <a:cubicBezTo>
                  <a:pt x="148" y="22"/>
                  <a:pt x="148" y="22"/>
                  <a:pt x="148" y="22"/>
                </a:cubicBezTo>
                <a:cubicBezTo>
                  <a:pt x="147" y="23"/>
                  <a:pt x="147" y="23"/>
                  <a:pt x="147" y="23"/>
                </a:cubicBezTo>
                <a:cubicBezTo>
                  <a:pt x="147" y="22"/>
                  <a:pt x="147" y="22"/>
                  <a:pt x="147" y="22"/>
                </a:cubicBezTo>
                <a:cubicBezTo>
                  <a:pt x="146" y="19"/>
                  <a:pt x="146" y="19"/>
                  <a:pt x="146" y="19"/>
                </a:cubicBezTo>
                <a:cubicBezTo>
                  <a:pt x="145" y="16"/>
                  <a:pt x="145" y="16"/>
                  <a:pt x="145" y="16"/>
                </a:cubicBezTo>
                <a:cubicBezTo>
                  <a:pt x="143" y="14"/>
                  <a:pt x="143" y="14"/>
                  <a:pt x="143" y="14"/>
                </a:cubicBezTo>
                <a:cubicBezTo>
                  <a:pt x="142" y="12"/>
                  <a:pt x="142" y="12"/>
                  <a:pt x="142" y="12"/>
                </a:cubicBezTo>
                <a:cubicBezTo>
                  <a:pt x="142" y="10"/>
                  <a:pt x="142" y="10"/>
                  <a:pt x="142" y="10"/>
                </a:cubicBezTo>
                <a:lnTo>
                  <a:pt x="142" y="9"/>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9" name="Freeform 187">
            <a:extLst>
              <a:ext uri="{FF2B5EF4-FFF2-40B4-BE49-F238E27FC236}">
                <a16:creationId xmlns:a16="http://schemas.microsoft.com/office/drawing/2014/main" id="{F53695C5-84B2-F1CC-F43F-739D717FCDEE}"/>
              </a:ext>
            </a:extLst>
          </p:cNvPr>
          <p:cNvSpPr>
            <a:spLocks/>
          </p:cNvSpPr>
          <p:nvPr userDrawn="1"/>
        </p:nvSpPr>
        <p:spPr bwMode="auto">
          <a:xfrm>
            <a:off x="9825983" y="9019456"/>
            <a:ext cx="177788" cy="257176"/>
          </a:xfrm>
          <a:custGeom>
            <a:avLst/>
            <a:gdLst>
              <a:gd name="T0" fmla="*/ 0 w 56"/>
              <a:gd name="T1" fmla="*/ 66 h 81"/>
              <a:gd name="T2" fmla="*/ 0 w 56"/>
              <a:gd name="T3" fmla="*/ 66 h 81"/>
              <a:gd name="T4" fmla="*/ 3 w 56"/>
              <a:gd name="T5" fmla="*/ 69 h 81"/>
              <a:gd name="T6" fmla="*/ 3 w 56"/>
              <a:gd name="T7" fmla="*/ 72 h 81"/>
              <a:gd name="T8" fmla="*/ 3 w 56"/>
              <a:gd name="T9" fmla="*/ 72 h 81"/>
              <a:gd name="T10" fmla="*/ 6 w 56"/>
              <a:gd name="T11" fmla="*/ 75 h 81"/>
              <a:gd name="T12" fmla="*/ 9 w 56"/>
              <a:gd name="T13" fmla="*/ 75 h 81"/>
              <a:gd name="T14" fmla="*/ 12 w 56"/>
              <a:gd name="T15" fmla="*/ 75 h 81"/>
              <a:gd name="T16" fmla="*/ 15 w 56"/>
              <a:gd name="T17" fmla="*/ 72 h 81"/>
              <a:gd name="T18" fmla="*/ 15 w 56"/>
              <a:gd name="T19" fmla="*/ 72 h 81"/>
              <a:gd name="T20" fmla="*/ 15 w 56"/>
              <a:gd name="T21" fmla="*/ 75 h 81"/>
              <a:gd name="T22" fmla="*/ 18 w 56"/>
              <a:gd name="T23" fmla="*/ 75 h 81"/>
              <a:gd name="T24" fmla="*/ 18 w 56"/>
              <a:gd name="T25" fmla="*/ 81 h 81"/>
              <a:gd name="T26" fmla="*/ 22 w 56"/>
              <a:gd name="T27" fmla="*/ 81 h 81"/>
              <a:gd name="T28" fmla="*/ 25 w 56"/>
              <a:gd name="T29" fmla="*/ 78 h 81"/>
              <a:gd name="T30" fmla="*/ 25 w 56"/>
              <a:gd name="T31" fmla="*/ 75 h 81"/>
              <a:gd name="T32" fmla="*/ 28 w 56"/>
              <a:gd name="T33" fmla="*/ 75 h 81"/>
              <a:gd name="T34" fmla="*/ 31 w 56"/>
              <a:gd name="T35" fmla="*/ 75 h 81"/>
              <a:gd name="T36" fmla="*/ 34 w 56"/>
              <a:gd name="T37" fmla="*/ 69 h 81"/>
              <a:gd name="T38" fmla="*/ 37 w 56"/>
              <a:gd name="T39" fmla="*/ 62 h 81"/>
              <a:gd name="T40" fmla="*/ 40 w 56"/>
              <a:gd name="T41" fmla="*/ 56 h 81"/>
              <a:gd name="T42" fmla="*/ 40 w 56"/>
              <a:gd name="T43" fmla="*/ 53 h 81"/>
              <a:gd name="T44" fmla="*/ 43 w 56"/>
              <a:gd name="T45" fmla="*/ 47 h 81"/>
              <a:gd name="T46" fmla="*/ 50 w 56"/>
              <a:gd name="T47" fmla="*/ 40 h 81"/>
              <a:gd name="T48" fmla="*/ 50 w 56"/>
              <a:gd name="T49" fmla="*/ 37 h 81"/>
              <a:gd name="T50" fmla="*/ 50 w 56"/>
              <a:gd name="T51" fmla="*/ 37 h 81"/>
              <a:gd name="T52" fmla="*/ 56 w 56"/>
              <a:gd name="T53" fmla="*/ 31 h 81"/>
              <a:gd name="T54" fmla="*/ 53 w 56"/>
              <a:gd name="T55" fmla="*/ 28 h 81"/>
              <a:gd name="T56" fmla="*/ 50 w 56"/>
              <a:gd name="T57" fmla="*/ 25 h 81"/>
              <a:gd name="T58" fmla="*/ 50 w 56"/>
              <a:gd name="T59" fmla="*/ 25 h 81"/>
              <a:gd name="T60" fmla="*/ 47 w 56"/>
              <a:gd name="T61" fmla="*/ 22 h 81"/>
              <a:gd name="T62" fmla="*/ 47 w 56"/>
              <a:gd name="T63" fmla="*/ 19 h 81"/>
              <a:gd name="T64" fmla="*/ 40 w 56"/>
              <a:gd name="T65" fmla="*/ 12 h 81"/>
              <a:gd name="T66" fmla="*/ 37 w 56"/>
              <a:gd name="T67" fmla="*/ 12 h 81"/>
              <a:gd name="T68" fmla="*/ 34 w 56"/>
              <a:gd name="T69" fmla="*/ 9 h 81"/>
              <a:gd name="T70" fmla="*/ 22 w 56"/>
              <a:gd name="T71" fmla="*/ 6 h 81"/>
              <a:gd name="T72" fmla="*/ 18 w 56"/>
              <a:gd name="T73" fmla="*/ 3 h 81"/>
              <a:gd name="T74" fmla="*/ 12 w 56"/>
              <a:gd name="T75" fmla="*/ 0 h 81"/>
              <a:gd name="T76" fmla="*/ 9 w 56"/>
              <a:gd name="T77" fmla="*/ 3 h 81"/>
              <a:gd name="T78" fmla="*/ 3 w 56"/>
              <a:gd name="T79" fmla="*/ 6 h 81"/>
              <a:gd name="T80" fmla="*/ 3 w 56"/>
              <a:gd name="T81" fmla="*/ 6 h 81"/>
              <a:gd name="T82" fmla="*/ 3 w 56"/>
              <a:gd name="T83" fmla="*/ 6 h 81"/>
              <a:gd name="T84" fmla="*/ 3 w 56"/>
              <a:gd name="T85" fmla="*/ 6 h 81"/>
              <a:gd name="T86" fmla="*/ 0 w 56"/>
              <a:gd name="T87" fmla="*/ 12 h 81"/>
              <a:gd name="T88" fmla="*/ 0 w 56"/>
              <a:gd name="T89" fmla="*/ 19 h 81"/>
              <a:gd name="T90" fmla="*/ 0 w 56"/>
              <a:gd name="T91" fmla="*/ 22 h 81"/>
              <a:gd name="T92" fmla="*/ 0 w 56"/>
              <a:gd name="T93" fmla="*/ 25 h 81"/>
              <a:gd name="T94" fmla="*/ 0 w 56"/>
              <a:gd name="T95" fmla="*/ 28 h 81"/>
              <a:gd name="T96" fmla="*/ 3 w 56"/>
              <a:gd name="T97" fmla="*/ 31 h 81"/>
              <a:gd name="T98" fmla="*/ 6 w 56"/>
              <a:gd name="T99" fmla="*/ 34 h 81"/>
              <a:gd name="T100" fmla="*/ 9 w 56"/>
              <a:gd name="T101" fmla="*/ 37 h 81"/>
              <a:gd name="T102" fmla="*/ 9 w 56"/>
              <a:gd name="T103" fmla="*/ 40 h 81"/>
              <a:gd name="T104" fmla="*/ 9 w 56"/>
              <a:gd name="T105" fmla="*/ 44 h 81"/>
              <a:gd name="T106" fmla="*/ 9 w 56"/>
              <a:gd name="T107" fmla="*/ 47 h 81"/>
              <a:gd name="T108" fmla="*/ 6 w 56"/>
              <a:gd name="T109" fmla="*/ 50 h 81"/>
              <a:gd name="T110" fmla="*/ 6 w 56"/>
              <a:gd name="T111" fmla="*/ 56 h 81"/>
              <a:gd name="T112" fmla="*/ 9 w 56"/>
              <a:gd name="T113" fmla="*/ 56 h 81"/>
              <a:gd name="T114" fmla="*/ 6 w 56"/>
              <a:gd name="T115" fmla="*/ 62 h 81"/>
              <a:gd name="T116" fmla="*/ 0 w 56"/>
              <a:gd name="T117" fmla="*/ 66 h 81"/>
              <a:gd name="T118" fmla="*/ 0 w 56"/>
              <a:gd name="T119" fmla="*/ 6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 h="81">
                <a:moveTo>
                  <a:pt x="0" y="66"/>
                </a:moveTo>
                <a:lnTo>
                  <a:pt x="0" y="66"/>
                </a:lnTo>
                <a:lnTo>
                  <a:pt x="3" y="69"/>
                </a:lnTo>
                <a:lnTo>
                  <a:pt x="3" y="72"/>
                </a:lnTo>
                <a:lnTo>
                  <a:pt x="3" y="72"/>
                </a:lnTo>
                <a:lnTo>
                  <a:pt x="6" y="75"/>
                </a:lnTo>
                <a:lnTo>
                  <a:pt x="9" y="75"/>
                </a:lnTo>
                <a:lnTo>
                  <a:pt x="12" y="75"/>
                </a:lnTo>
                <a:lnTo>
                  <a:pt x="15" y="72"/>
                </a:lnTo>
                <a:lnTo>
                  <a:pt x="15" y="72"/>
                </a:lnTo>
                <a:lnTo>
                  <a:pt x="15" y="75"/>
                </a:lnTo>
                <a:lnTo>
                  <a:pt x="18" y="75"/>
                </a:lnTo>
                <a:lnTo>
                  <a:pt x="18" y="81"/>
                </a:lnTo>
                <a:lnTo>
                  <a:pt x="22" y="81"/>
                </a:lnTo>
                <a:lnTo>
                  <a:pt x="25" y="78"/>
                </a:lnTo>
                <a:lnTo>
                  <a:pt x="25" y="75"/>
                </a:lnTo>
                <a:lnTo>
                  <a:pt x="28" y="75"/>
                </a:lnTo>
                <a:lnTo>
                  <a:pt x="31" y="75"/>
                </a:lnTo>
                <a:lnTo>
                  <a:pt x="34" y="69"/>
                </a:lnTo>
                <a:lnTo>
                  <a:pt x="37" y="62"/>
                </a:lnTo>
                <a:lnTo>
                  <a:pt x="40" y="56"/>
                </a:lnTo>
                <a:lnTo>
                  <a:pt x="40" y="53"/>
                </a:lnTo>
                <a:lnTo>
                  <a:pt x="43" y="47"/>
                </a:lnTo>
                <a:lnTo>
                  <a:pt x="50" y="40"/>
                </a:lnTo>
                <a:lnTo>
                  <a:pt x="50" y="37"/>
                </a:lnTo>
                <a:lnTo>
                  <a:pt x="50" y="37"/>
                </a:lnTo>
                <a:lnTo>
                  <a:pt x="56" y="31"/>
                </a:lnTo>
                <a:lnTo>
                  <a:pt x="53" y="28"/>
                </a:lnTo>
                <a:lnTo>
                  <a:pt x="50" y="25"/>
                </a:lnTo>
                <a:lnTo>
                  <a:pt x="50" y="25"/>
                </a:lnTo>
                <a:lnTo>
                  <a:pt x="47" y="22"/>
                </a:lnTo>
                <a:lnTo>
                  <a:pt x="47" y="19"/>
                </a:lnTo>
                <a:lnTo>
                  <a:pt x="40" y="12"/>
                </a:lnTo>
                <a:lnTo>
                  <a:pt x="37" y="12"/>
                </a:lnTo>
                <a:lnTo>
                  <a:pt x="34" y="9"/>
                </a:lnTo>
                <a:lnTo>
                  <a:pt x="22" y="6"/>
                </a:lnTo>
                <a:lnTo>
                  <a:pt x="18" y="3"/>
                </a:lnTo>
                <a:lnTo>
                  <a:pt x="12" y="0"/>
                </a:lnTo>
                <a:lnTo>
                  <a:pt x="9" y="3"/>
                </a:lnTo>
                <a:lnTo>
                  <a:pt x="3" y="6"/>
                </a:lnTo>
                <a:lnTo>
                  <a:pt x="3" y="6"/>
                </a:lnTo>
                <a:lnTo>
                  <a:pt x="3" y="6"/>
                </a:lnTo>
                <a:lnTo>
                  <a:pt x="3" y="6"/>
                </a:lnTo>
                <a:lnTo>
                  <a:pt x="0" y="12"/>
                </a:lnTo>
                <a:lnTo>
                  <a:pt x="0" y="19"/>
                </a:lnTo>
                <a:lnTo>
                  <a:pt x="0" y="22"/>
                </a:lnTo>
                <a:lnTo>
                  <a:pt x="0" y="25"/>
                </a:lnTo>
                <a:lnTo>
                  <a:pt x="0" y="28"/>
                </a:lnTo>
                <a:lnTo>
                  <a:pt x="3" y="31"/>
                </a:lnTo>
                <a:lnTo>
                  <a:pt x="6" y="34"/>
                </a:lnTo>
                <a:lnTo>
                  <a:pt x="9" y="37"/>
                </a:lnTo>
                <a:lnTo>
                  <a:pt x="9" y="40"/>
                </a:lnTo>
                <a:lnTo>
                  <a:pt x="9" y="44"/>
                </a:lnTo>
                <a:lnTo>
                  <a:pt x="9" y="47"/>
                </a:lnTo>
                <a:lnTo>
                  <a:pt x="6" y="50"/>
                </a:lnTo>
                <a:lnTo>
                  <a:pt x="6" y="56"/>
                </a:lnTo>
                <a:lnTo>
                  <a:pt x="9" y="56"/>
                </a:lnTo>
                <a:lnTo>
                  <a:pt x="6" y="62"/>
                </a:lnTo>
                <a:lnTo>
                  <a:pt x="0" y="66"/>
                </a:lnTo>
                <a:lnTo>
                  <a:pt x="0" y="66"/>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0" name="Freeform 188">
            <a:extLst>
              <a:ext uri="{FF2B5EF4-FFF2-40B4-BE49-F238E27FC236}">
                <a16:creationId xmlns:a16="http://schemas.microsoft.com/office/drawing/2014/main" id="{B6CDB116-E5ED-C037-23BB-197483D808DD}"/>
              </a:ext>
            </a:extLst>
          </p:cNvPr>
          <p:cNvSpPr>
            <a:spLocks/>
          </p:cNvSpPr>
          <p:nvPr userDrawn="1"/>
        </p:nvSpPr>
        <p:spPr bwMode="auto">
          <a:xfrm>
            <a:off x="9606926" y="9000409"/>
            <a:ext cx="247634" cy="266702"/>
          </a:xfrm>
          <a:custGeom>
            <a:avLst/>
            <a:gdLst>
              <a:gd name="T0" fmla="*/ 31 w 78"/>
              <a:gd name="T1" fmla="*/ 84 h 84"/>
              <a:gd name="T2" fmla="*/ 34 w 78"/>
              <a:gd name="T3" fmla="*/ 84 h 84"/>
              <a:gd name="T4" fmla="*/ 44 w 78"/>
              <a:gd name="T5" fmla="*/ 84 h 84"/>
              <a:gd name="T6" fmla="*/ 41 w 78"/>
              <a:gd name="T7" fmla="*/ 78 h 84"/>
              <a:gd name="T8" fmla="*/ 37 w 78"/>
              <a:gd name="T9" fmla="*/ 75 h 84"/>
              <a:gd name="T10" fmla="*/ 41 w 78"/>
              <a:gd name="T11" fmla="*/ 68 h 84"/>
              <a:gd name="T12" fmla="*/ 53 w 78"/>
              <a:gd name="T13" fmla="*/ 68 h 84"/>
              <a:gd name="T14" fmla="*/ 62 w 78"/>
              <a:gd name="T15" fmla="*/ 65 h 84"/>
              <a:gd name="T16" fmla="*/ 69 w 78"/>
              <a:gd name="T17" fmla="*/ 72 h 84"/>
              <a:gd name="T18" fmla="*/ 78 w 78"/>
              <a:gd name="T19" fmla="*/ 62 h 84"/>
              <a:gd name="T20" fmla="*/ 75 w 78"/>
              <a:gd name="T21" fmla="*/ 56 h 84"/>
              <a:gd name="T22" fmla="*/ 78 w 78"/>
              <a:gd name="T23" fmla="*/ 50 h 84"/>
              <a:gd name="T24" fmla="*/ 78 w 78"/>
              <a:gd name="T25" fmla="*/ 43 h 84"/>
              <a:gd name="T26" fmla="*/ 72 w 78"/>
              <a:gd name="T27" fmla="*/ 37 h 84"/>
              <a:gd name="T28" fmla="*/ 69 w 78"/>
              <a:gd name="T29" fmla="*/ 31 h 84"/>
              <a:gd name="T30" fmla="*/ 69 w 78"/>
              <a:gd name="T31" fmla="*/ 25 h 84"/>
              <a:gd name="T32" fmla="*/ 72 w 78"/>
              <a:gd name="T33" fmla="*/ 12 h 84"/>
              <a:gd name="T34" fmla="*/ 72 w 78"/>
              <a:gd name="T35" fmla="*/ 12 h 84"/>
              <a:gd name="T36" fmla="*/ 78 w 78"/>
              <a:gd name="T37" fmla="*/ 6 h 84"/>
              <a:gd name="T38" fmla="*/ 66 w 78"/>
              <a:gd name="T39" fmla="*/ 3 h 84"/>
              <a:gd name="T40" fmla="*/ 56 w 78"/>
              <a:gd name="T41" fmla="*/ 0 h 84"/>
              <a:gd name="T42" fmla="*/ 47 w 78"/>
              <a:gd name="T43" fmla="*/ 0 h 84"/>
              <a:gd name="T44" fmla="*/ 31 w 78"/>
              <a:gd name="T45" fmla="*/ 0 h 84"/>
              <a:gd name="T46" fmla="*/ 19 w 78"/>
              <a:gd name="T47" fmla="*/ 3 h 84"/>
              <a:gd name="T48" fmla="*/ 19 w 78"/>
              <a:gd name="T49" fmla="*/ 6 h 84"/>
              <a:gd name="T50" fmla="*/ 16 w 78"/>
              <a:gd name="T51" fmla="*/ 12 h 84"/>
              <a:gd name="T52" fmla="*/ 9 w 78"/>
              <a:gd name="T53" fmla="*/ 18 h 84"/>
              <a:gd name="T54" fmla="*/ 3 w 78"/>
              <a:gd name="T55" fmla="*/ 25 h 84"/>
              <a:gd name="T56" fmla="*/ 0 w 78"/>
              <a:gd name="T57" fmla="*/ 37 h 84"/>
              <a:gd name="T58" fmla="*/ 3 w 78"/>
              <a:gd name="T59" fmla="*/ 40 h 84"/>
              <a:gd name="T60" fmla="*/ 6 w 78"/>
              <a:gd name="T61" fmla="*/ 43 h 84"/>
              <a:gd name="T62" fmla="*/ 9 w 78"/>
              <a:gd name="T63" fmla="*/ 50 h 84"/>
              <a:gd name="T64" fmla="*/ 12 w 78"/>
              <a:gd name="T65" fmla="*/ 53 h 84"/>
              <a:gd name="T66" fmla="*/ 16 w 78"/>
              <a:gd name="T67" fmla="*/ 56 h 84"/>
              <a:gd name="T68" fmla="*/ 19 w 78"/>
              <a:gd name="T69" fmla="*/ 65 h 84"/>
              <a:gd name="T70" fmla="*/ 22 w 78"/>
              <a:gd name="T71" fmla="*/ 72 h 84"/>
              <a:gd name="T72" fmla="*/ 28 w 78"/>
              <a:gd name="T73" fmla="*/ 78 h 84"/>
              <a:gd name="T74" fmla="*/ 28 w 78"/>
              <a:gd name="T75" fmla="*/ 8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84">
                <a:moveTo>
                  <a:pt x="31" y="84"/>
                </a:moveTo>
                <a:lnTo>
                  <a:pt x="31" y="84"/>
                </a:lnTo>
                <a:lnTo>
                  <a:pt x="34" y="84"/>
                </a:lnTo>
                <a:lnTo>
                  <a:pt x="34" y="84"/>
                </a:lnTo>
                <a:lnTo>
                  <a:pt x="37" y="84"/>
                </a:lnTo>
                <a:lnTo>
                  <a:pt x="44" y="84"/>
                </a:lnTo>
                <a:lnTo>
                  <a:pt x="44" y="84"/>
                </a:lnTo>
                <a:lnTo>
                  <a:pt x="41" y="78"/>
                </a:lnTo>
                <a:lnTo>
                  <a:pt x="41" y="78"/>
                </a:lnTo>
                <a:lnTo>
                  <a:pt x="37" y="75"/>
                </a:lnTo>
                <a:lnTo>
                  <a:pt x="37" y="68"/>
                </a:lnTo>
                <a:lnTo>
                  <a:pt x="41" y="68"/>
                </a:lnTo>
                <a:lnTo>
                  <a:pt x="47" y="68"/>
                </a:lnTo>
                <a:lnTo>
                  <a:pt x="53" y="68"/>
                </a:lnTo>
                <a:lnTo>
                  <a:pt x="56" y="65"/>
                </a:lnTo>
                <a:lnTo>
                  <a:pt x="62" y="65"/>
                </a:lnTo>
                <a:lnTo>
                  <a:pt x="66" y="72"/>
                </a:lnTo>
                <a:lnTo>
                  <a:pt x="69" y="72"/>
                </a:lnTo>
                <a:lnTo>
                  <a:pt x="75" y="68"/>
                </a:lnTo>
                <a:lnTo>
                  <a:pt x="78" y="62"/>
                </a:lnTo>
                <a:lnTo>
                  <a:pt x="75" y="62"/>
                </a:lnTo>
                <a:lnTo>
                  <a:pt x="75" y="56"/>
                </a:lnTo>
                <a:lnTo>
                  <a:pt x="78" y="53"/>
                </a:lnTo>
                <a:lnTo>
                  <a:pt x="78" y="50"/>
                </a:lnTo>
                <a:lnTo>
                  <a:pt x="78" y="46"/>
                </a:lnTo>
                <a:lnTo>
                  <a:pt x="78" y="43"/>
                </a:lnTo>
                <a:lnTo>
                  <a:pt x="75" y="40"/>
                </a:lnTo>
                <a:lnTo>
                  <a:pt x="72" y="37"/>
                </a:lnTo>
                <a:lnTo>
                  <a:pt x="69" y="34"/>
                </a:lnTo>
                <a:lnTo>
                  <a:pt x="69" y="31"/>
                </a:lnTo>
                <a:lnTo>
                  <a:pt x="69" y="28"/>
                </a:lnTo>
                <a:lnTo>
                  <a:pt x="69" y="25"/>
                </a:lnTo>
                <a:lnTo>
                  <a:pt x="69" y="18"/>
                </a:lnTo>
                <a:lnTo>
                  <a:pt x="72" y="12"/>
                </a:lnTo>
                <a:lnTo>
                  <a:pt x="72" y="12"/>
                </a:lnTo>
                <a:lnTo>
                  <a:pt x="72" y="12"/>
                </a:lnTo>
                <a:lnTo>
                  <a:pt x="78" y="6"/>
                </a:lnTo>
                <a:lnTo>
                  <a:pt x="78" y="6"/>
                </a:lnTo>
                <a:lnTo>
                  <a:pt x="72" y="3"/>
                </a:lnTo>
                <a:lnTo>
                  <a:pt x="66" y="3"/>
                </a:lnTo>
                <a:lnTo>
                  <a:pt x="59" y="0"/>
                </a:lnTo>
                <a:lnTo>
                  <a:pt x="56" y="0"/>
                </a:lnTo>
                <a:lnTo>
                  <a:pt x="53" y="0"/>
                </a:lnTo>
                <a:lnTo>
                  <a:pt x="47" y="0"/>
                </a:lnTo>
                <a:lnTo>
                  <a:pt x="37" y="3"/>
                </a:lnTo>
                <a:lnTo>
                  <a:pt x="31" y="0"/>
                </a:lnTo>
                <a:lnTo>
                  <a:pt x="22" y="0"/>
                </a:lnTo>
                <a:lnTo>
                  <a:pt x="19" y="3"/>
                </a:lnTo>
                <a:lnTo>
                  <a:pt x="19" y="6"/>
                </a:lnTo>
                <a:lnTo>
                  <a:pt x="19" y="6"/>
                </a:lnTo>
                <a:lnTo>
                  <a:pt x="16" y="9"/>
                </a:lnTo>
                <a:lnTo>
                  <a:pt x="16" y="12"/>
                </a:lnTo>
                <a:lnTo>
                  <a:pt x="12" y="15"/>
                </a:lnTo>
                <a:lnTo>
                  <a:pt x="9" y="18"/>
                </a:lnTo>
                <a:lnTo>
                  <a:pt x="6" y="18"/>
                </a:lnTo>
                <a:lnTo>
                  <a:pt x="3" y="25"/>
                </a:lnTo>
                <a:lnTo>
                  <a:pt x="3" y="28"/>
                </a:lnTo>
                <a:lnTo>
                  <a:pt x="0" y="37"/>
                </a:lnTo>
                <a:lnTo>
                  <a:pt x="0" y="37"/>
                </a:lnTo>
                <a:lnTo>
                  <a:pt x="3" y="40"/>
                </a:lnTo>
                <a:lnTo>
                  <a:pt x="6" y="43"/>
                </a:lnTo>
                <a:lnTo>
                  <a:pt x="6" y="43"/>
                </a:lnTo>
                <a:lnTo>
                  <a:pt x="9" y="46"/>
                </a:lnTo>
                <a:lnTo>
                  <a:pt x="9" y="50"/>
                </a:lnTo>
                <a:lnTo>
                  <a:pt x="12" y="53"/>
                </a:lnTo>
                <a:lnTo>
                  <a:pt x="12" y="53"/>
                </a:lnTo>
                <a:lnTo>
                  <a:pt x="16" y="53"/>
                </a:lnTo>
                <a:lnTo>
                  <a:pt x="16" y="56"/>
                </a:lnTo>
                <a:lnTo>
                  <a:pt x="19" y="62"/>
                </a:lnTo>
                <a:lnTo>
                  <a:pt x="19" y="65"/>
                </a:lnTo>
                <a:lnTo>
                  <a:pt x="19" y="68"/>
                </a:lnTo>
                <a:lnTo>
                  <a:pt x="22" y="72"/>
                </a:lnTo>
                <a:lnTo>
                  <a:pt x="22" y="75"/>
                </a:lnTo>
                <a:lnTo>
                  <a:pt x="28" y="78"/>
                </a:lnTo>
                <a:lnTo>
                  <a:pt x="28" y="78"/>
                </a:lnTo>
                <a:lnTo>
                  <a:pt x="28" y="81"/>
                </a:lnTo>
                <a:lnTo>
                  <a:pt x="31" y="84"/>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1" name="Freeform 189">
            <a:extLst>
              <a:ext uri="{FF2B5EF4-FFF2-40B4-BE49-F238E27FC236}">
                <a16:creationId xmlns:a16="http://schemas.microsoft.com/office/drawing/2014/main" id="{24AEFDAE-C9AD-8DDF-5776-3E4357F4E250}"/>
              </a:ext>
            </a:extLst>
          </p:cNvPr>
          <p:cNvSpPr>
            <a:spLocks/>
          </p:cNvSpPr>
          <p:nvPr userDrawn="1"/>
        </p:nvSpPr>
        <p:spPr bwMode="auto">
          <a:xfrm>
            <a:off x="9387862" y="8841661"/>
            <a:ext cx="317481" cy="476250"/>
          </a:xfrm>
          <a:custGeom>
            <a:avLst/>
            <a:gdLst>
              <a:gd name="T0" fmla="*/ 16 w 100"/>
              <a:gd name="T1" fmla="*/ 65 h 150"/>
              <a:gd name="T2" fmla="*/ 22 w 100"/>
              <a:gd name="T3" fmla="*/ 65 h 150"/>
              <a:gd name="T4" fmla="*/ 28 w 100"/>
              <a:gd name="T5" fmla="*/ 71 h 150"/>
              <a:gd name="T6" fmla="*/ 25 w 100"/>
              <a:gd name="T7" fmla="*/ 81 h 150"/>
              <a:gd name="T8" fmla="*/ 28 w 100"/>
              <a:gd name="T9" fmla="*/ 84 h 150"/>
              <a:gd name="T10" fmla="*/ 34 w 100"/>
              <a:gd name="T11" fmla="*/ 87 h 150"/>
              <a:gd name="T12" fmla="*/ 38 w 100"/>
              <a:gd name="T13" fmla="*/ 90 h 150"/>
              <a:gd name="T14" fmla="*/ 34 w 100"/>
              <a:gd name="T15" fmla="*/ 96 h 150"/>
              <a:gd name="T16" fmla="*/ 31 w 100"/>
              <a:gd name="T17" fmla="*/ 106 h 150"/>
              <a:gd name="T18" fmla="*/ 28 w 100"/>
              <a:gd name="T19" fmla="*/ 115 h 150"/>
              <a:gd name="T20" fmla="*/ 28 w 100"/>
              <a:gd name="T21" fmla="*/ 122 h 150"/>
              <a:gd name="T22" fmla="*/ 28 w 100"/>
              <a:gd name="T23" fmla="*/ 128 h 150"/>
              <a:gd name="T24" fmla="*/ 38 w 100"/>
              <a:gd name="T25" fmla="*/ 134 h 150"/>
              <a:gd name="T26" fmla="*/ 41 w 100"/>
              <a:gd name="T27" fmla="*/ 140 h 150"/>
              <a:gd name="T28" fmla="*/ 50 w 100"/>
              <a:gd name="T29" fmla="*/ 150 h 150"/>
              <a:gd name="T30" fmla="*/ 56 w 100"/>
              <a:gd name="T31" fmla="*/ 147 h 150"/>
              <a:gd name="T32" fmla="*/ 59 w 100"/>
              <a:gd name="T33" fmla="*/ 147 h 150"/>
              <a:gd name="T34" fmla="*/ 63 w 100"/>
              <a:gd name="T35" fmla="*/ 140 h 150"/>
              <a:gd name="T36" fmla="*/ 75 w 100"/>
              <a:gd name="T37" fmla="*/ 140 h 150"/>
              <a:gd name="T38" fmla="*/ 81 w 100"/>
              <a:gd name="T39" fmla="*/ 131 h 150"/>
              <a:gd name="T40" fmla="*/ 91 w 100"/>
              <a:gd name="T41" fmla="*/ 134 h 150"/>
              <a:gd name="T42" fmla="*/ 100 w 100"/>
              <a:gd name="T43" fmla="*/ 134 h 150"/>
              <a:gd name="T44" fmla="*/ 97 w 100"/>
              <a:gd name="T45" fmla="*/ 128 h 150"/>
              <a:gd name="T46" fmla="*/ 91 w 100"/>
              <a:gd name="T47" fmla="*/ 125 h 150"/>
              <a:gd name="T48" fmla="*/ 88 w 100"/>
              <a:gd name="T49" fmla="*/ 118 h 150"/>
              <a:gd name="T50" fmla="*/ 88 w 100"/>
              <a:gd name="T51" fmla="*/ 112 h 150"/>
              <a:gd name="T52" fmla="*/ 85 w 100"/>
              <a:gd name="T53" fmla="*/ 103 h 150"/>
              <a:gd name="T54" fmla="*/ 81 w 100"/>
              <a:gd name="T55" fmla="*/ 103 h 150"/>
              <a:gd name="T56" fmla="*/ 78 w 100"/>
              <a:gd name="T57" fmla="*/ 96 h 150"/>
              <a:gd name="T58" fmla="*/ 75 w 100"/>
              <a:gd name="T59" fmla="*/ 93 h 150"/>
              <a:gd name="T60" fmla="*/ 69 w 100"/>
              <a:gd name="T61" fmla="*/ 87 h 150"/>
              <a:gd name="T62" fmla="*/ 72 w 100"/>
              <a:gd name="T63" fmla="*/ 78 h 150"/>
              <a:gd name="T64" fmla="*/ 75 w 100"/>
              <a:gd name="T65" fmla="*/ 68 h 150"/>
              <a:gd name="T66" fmla="*/ 81 w 100"/>
              <a:gd name="T67" fmla="*/ 65 h 150"/>
              <a:gd name="T68" fmla="*/ 85 w 100"/>
              <a:gd name="T69" fmla="*/ 59 h 150"/>
              <a:gd name="T70" fmla="*/ 88 w 100"/>
              <a:gd name="T71" fmla="*/ 56 h 150"/>
              <a:gd name="T72" fmla="*/ 85 w 100"/>
              <a:gd name="T73" fmla="*/ 53 h 150"/>
              <a:gd name="T74" fmla="*/ 85 w 100"/>
              <a:gd name="T75" fmla="*/ 43 h 150"/>
              <a:gd name="T76" fmla="*/ 69 w 100"/>
              <a:gd name="T77" fmla="*/ 37 h 150"/>
              <a:gd name="T78" fmla="*/ 63 w 100"/>
              <a:gd name="T79" fmla="*/ 34 h 150"/>
              <a:gd name="T80" fmla="*/ 56 w 100"/>
              <a:gd name="T81" fmla="*/ 37 h 150"/>
              <a:gd name="T82" fmla="*/ 56 w 100"/>
              <a:gd name="T83" fmla="*/ 37 h 150"/>
              <a:gd name="T84" fmla="*/ 59 w 100"/>
              <a:gd name="T85" fmla="*/ 28 h 150"/>
              <a:gd name="T86" fmla="*/ 53 w 100"/>
              <a:gd name="T87" fmla="*/ 18 h 150"/>
              <a:gd name="T88" fmla="*/ 41 w 100"/>
              <a:gd name="T89" fmla="*/ 9 h 150"/>
              <a:gd name="T90" fmla="*/ 34 w 100"/>
              <a:gd name="T91" fmla="*/ 3 h 150"/>
              <a:gd name="T92" fmla="*/ 31 w 100"/>
              <a:gd name="T93" fmla="*/ 0 h 150"/>
              <a:gd name="T94" fmla="*/ 25 w 100"/>
              <a:gd name="T95" fmla="*/ 9 h 150"/>
              <a:gd name="T96" fmla="*/ 19 w 100"/>
              <a:gd name="T97" fmla="*/ 12 h 150"/>
              <a:gd name="T98" fmla="*/ 13 w 100"/>
              <a:gd name="T99" fmla="*/ 21 h 150"/>
              <a:gd name="T100" fmla="*/ 22 w 100"/>
              <a:gd name="T101" fmla="*/ 25 h 150"/>
              <a:gd name="T102" fmla="*/ 25 w 100"/>
              <a:gd name="T103" fmla="*/ 34 h 150"/>
              <a:gd name="T104" fmla="*/ 13 w 100"/>
              <a:gd name="T105" fmla="*/ 34 h 150"/>
              <a:gd name="T106" fmla="*/ 9 w 100"/>
              <a:gd name="T107" fmla="*/ 34 h 150"/>
              <a:gd name="T108" fmla="*/ 6 w 100"/>
              <a:gd name="T109" fmla="*/ 43 h 150"/>
              <a:gd name="T110" fmla="*/ 3 w 100"/>
              <a:gd name="T111" fmla="*/ 53 h 150"/>
              <a:gd name="T112" fmla="*/ 16 w 100"/>
              <a:gd name="T113" fmla="*/ 6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0" h="150">
                <a:moveTo>
                  <a:pt x="16" y="65"/>
                </a:moveTo>
                <a:lnTo>
                  <a:pt x="16" y="65"/>
                </a:lnTo>
                <a:lnTo>
                  <a:pt x="19" y="68"/>
                </a:lnTo>
                <a:lnTo>
                  <a:pt x="22" y="65"/>
                </a:lnTo>
                <a:lnTo>
                  <a:pt x="25" y="65"/>
                </a:lnTo>
                <a:lnTo>
                  <a:pt x="28" y="71"/>
                </a:lnTo>
                <a:lnTo>
                  <a:pt x="28" y="75"/>
                </a:lnTo>
                <a:lnTo>
                  <a:pt x="25" y="81"/>
                </a:lnTo>
                <a:lnTo>
                  <a:pt x="25" y="81"/>
                </a:lnTo>
                <a:lnTo>
                  <a:pt x="28" y="84"/>
                </a:lnTo>
                <a:lnTo>
                  <a:pt x="31" y="84"/>
                </a:lnTo>
                <a:lnTo>
                  <a:pt x="34" y="87"/>
                </a:lnTo>
                <a:lnTo>
                  <a:pt x="34" y="90"/>
                </a:lnTo>
                <a:lnTo>
                  <a:pt x="38" y="90"/>
                </a:lnTo>
                <a:lnTo>
                  <a:pt x="38" y="90"/>
                </a:lnTo>
                <a:lnTo>
                  <a:pt x="34" y="96"/>
                </a:lnTo>
                <a:lnTo>
                  <a:pt x="34" y="100"/>
                </a:lnTo>
                <a:lnTo>
                  <a:pt x="31" y="106"/>
                </a:lnTo>
                <a:lnTo>
                  <a:pt x="31" y="112"/>
                </a:lnTo>
                <a:lnTo>
                  <a:pt x="28" y="115"/>
                </a:lnTo>
                <a:lnTo>
                  <a:pt x="28" y="118"/>
                </a:lnTo>
                <a:lnTo>
                  <a:pt x="28" y="122"/>
                </a:lnTo>
                <a:lnTo>
                  <a:pt x="28" y="122"/>
                </a:lnTo>
                <a:lnTo>
                  <a:pt x="28" y="128"/>
                </a:lnTo>
                <a:lnTo>
                  <a:pt x="31" y="131"/>
                </a:lnTo>
                <a:lnTo>
                  <a:pt x="38" y="134"/>
                </a:lnTo>
                <a:lnTo>
                  <a:pt x="38" y="137"/>
                </a:lnTo>
                <a:lnTo>
                  <a:pt x="41" y="140"/>
                </a:lnTo>
                <a:lnTo>
                  <a:pt x="47" y="147"/>
                </a:lnTo>
                <a:lnTo>
                  <a:pt x="50" y="150"/>
                </a:lnTo>
                <a:lnTo>
                  <a:pt x="53" y="147"/>
                </a:lnTo>
                <a:lnTo>
                  <a:pt x="56" y="147"/>
                </a:lnTo>
                <a:lnTo>
                  <a:pt x="56" y="147"/>
                </a:lnTo>
                <a:lnTo>
                  <a:pt x="59" y="147"/>
                </a:lnTo>
                <a:lnTo>
                  <a:pt x="63" y="143"/>
                </a:lnTo>
                <a:lnTo>
                  <a:pt x="63" y="140"/>
                </a:lnTo>
                <a:lnTo>
                  <a:pt x="69" y="140"/>
                </a:lnTo>
                <a:lnTo>
                  <a:pt x="75" y="140"/>
                </a:lnTo>
                <a:lnTo>
                  <a:pt x="78" y="134"/>
                </a:lnTo>
                <a:lnTo>
                  <a:pt x="81" y="131"/>
                </a:lnTo>
                <a:lnTo>
                  <a:pt x="88" y="131"/>
                </a:lnTo>
                <a:lnTo>
                  <a:pt x="91" y="134"/>
                </a:lnTo>
                <a:lnTo>
                  <a:pt x="94" y="134"/>
                </a:lnTo>
                <a:lnTo>
                  <a:pt x="100" y="134"/>
                </a:lnTo>
                <a:lnTo>
                  <a:pt x="97" y="131"/>
                </a:lnTo>
                <a:lnTo>
                  <a:pt x="97" y="128"/>
                </a:lnTo>
                <a:lnTo>
                  <a:pt x="97" y="128"/>
                </a:lnTo>
                <a:lnTo>
                  <a:pt x="91" y="125"/>
                </a:lnTo>
                <a:lnTo>
                  <a:pt x="91" y="122"/>
                </a:lnTo>
                <a:lnTo>
                  <a:pt x="88" y="118"/>
                </a:lnTo>
                <a:lnTo>
                  <a:pt x="88" y="115"/>
                </a:lnTo>
                <a:lnTo>
                  <a:pt x="88" y="112"/>
                </a:lnTo>
                <a:lnTo>
                  <a:pt x="85" y="106"/>
                </a:lnTo>
                <a:lnTo>
                  <a:pt x="85" y="103"/>
                </a:lnTo>
                <a:lnTo>
                  <a:pt x="81" y="103"/>
                </a:lnTo>
                <a:lnTo>
                  <a:pt x="81" y="103"/>
                </a:lnTo>
                <a:lnTo>
                  <a:pt x="78" y="100"/>
                </a:lnTo>
                <a:lnTo>
                  <a:pt x="78" y="96"/>
                </a:lnTo>
                <a:lnTo>
                  <a:pt x="75" y="93"/>
                </a:lnTo>
                <a:lnTo>
                  <a:pt x="75" y="93"/>
                </a:lnTo>
                <a:lnTo>
                  <a:pt x="72" y="90"/>
                </a:lnTo>
                <a:lnTo>
                  <a:pt x="69" y="87"/>
                </a:lnTo>
                <a:lnTo>
                  <a:pt x="69" y="87"/>
                </a:lnTo>
                <a:lnTo>
                  <a:pt x="72" y="78"/>
                </a:lnTo>
                <a:lnTo>
                  <a:pt x="72" y="75"/>
                </a:lnTo>
                <a:lnTo>
                  <a:pt x="75" y="68"/>
                </a:lnTo>
                <a:lnTo>
                  <a:pt x="78" y="68"/>
                </a:lnTo>
                <a:lnTo>
                  <a:pt x="81" y="65"/>
                </a:lnTo>
                <a:lnTo>
                  <a:pt x="85" y="62"/>
                </a:lnTo>
                <a:lnTo>
                  <a:pt x="85" y="59"/>
                </a:lnTo>
                <a:lnTo>
                  <a:pt x="88" y="56"/>
                </a:lnTo>
                <a:lnTo>
                  <a:pt x="88" y="56"/>
                </a:lnTo>
                <a:lnTo>
                  <a:pt x="88" y="56"/>
                </a:lnTo>
                <a:lnTo>
                  <a:pt x="85" y="53"/>
                </a:lnTo>
                <a:lnTo>
                  <a:pt x="85" y="46"/>
                </a:lnTo>
                <a:lnTo>
                  <a:pt x="85" y="43"/>
                </a:lnTo>
                <a:lnTo>
                  <a:pt x="75" y="43"/>
                </a:lnTo>
                <a:lnTo>
                  <a:pt x="69" y="37"/>
                </a:lnTo>
                <a:lnTo>
                  <a:pt x="66" y="34"/>
                </a:lnTo>
                <a:lnTo>
                  <a:pt x="63" y="34"/>
                </a:lnTo>
                <a:lnTo>
                  <a:pt x="59" y="34"/>
                </a:lnTo>
                <a:lnTo>
                  <a:pt x="56" y="37"/>
                </a:lnTo>
                <a:lnTo>
                  <a:pt x="56" y="43"/>
                </a:lnTo>
                <a:lnTo>
                  <a:pt x="56" y="37"/>
                </a:lnTo>
                <a:lnTo>
                  <a:pt x="56" y="31"/>
                </a:lnTo>
                <a:lnTo>
                  <a:pt x="59" y="28"/>
                </a:lnTo>
                <a:lnTo>
                  <a:pt x="56" y="21"/>
                </a:lnTo>
                <a:lnTo>
                  <a:pt x="53" y="18"/>
                </a:lnTo>
                <a:lnTo>
                  <a:pt x="44" y="15"/>
                </a:lnTo>
                <a:lnTo>
                  <a:pt x="41" y="9"/>
                </a:lnTo>
                <a:lnTo>
                  <a:pt x="41" y="6"/>
                </a:lnTo>
                <a:lnTo>
                  <a:pt x="34" y="3"/>
                </a:lnTo>
                <a:lnTo>
                  <a:pt x="31" y="0"/>
                </a:lnTo>
                <a:lnTo>
                  <a:pt x="31" y="0"/>
                </a:lnTo>
                <a:lnTo>
                  <a:pt x="31" y="3"/>
                </a:lnTo>
                <a:lnTo>
                  <a:pt x="25" y="9"/>
                </a:lnTo>
                <a:lnTo>
                  <a:pt x="22" y="12"/>
                </a:lnTo>
                <a:lnTo>
                  <a:pt x="19" y="12"/>
                </a:lnTo>
                <a:lnTo>
                  <a:pt x="13" y="18"/>
                </a:lnTo>
                <a:lnTo>
                  <a:pt x="13" y="21"/>
                </a:lnTo>
                <a:lnTo>
                  <a:pt x="16" y="25"/>
                </a:lnTo>
                <a:lnTo>
                  <a:pt x="22" y="25"/>
                </a:lnTo>
                <a:lnTo>
                  <a:pt x="25" y="28"/>
                </a:lnTo>
                <a:lnTo>
                  <a:pt x="25" y="34"/>
                </a:lnTo>
                <a:lnTo>
                  <a:pt x="19" y="34"/>
                </a:lnTo>
                <a:lnTo>
                  <a:pt x="13" y="34"/>
                </a:lnTo>
                <a:lnTo>
                  <a:pt x="13" y="37"/>
                </a:lnTo>
                <a:lnTo>
                  <a:pt x="9" y="34"/>
                </a:lnTo>
                <a:lnTo>
                  <a:pt x="6" y="37"/>
                </a:lnTo>
                <a:lnTo>
                  <a:pt x="6" y="43"/>
                </a:lnTo>
                <a:lnTo>
                  <a:pt x="0" y="46"/>
                </a:lnTo>
                <a:lnTo>
                  <a:pt x="3" y="53"/>
                </a:lnTo>
                <a:lnTo>
                  <a:pt x="6" y="59"/>
                </a:lnTo>
                <a:lnTo>
                  <a:pt x="16" y="65"/>
                </a:lnTo>
                <a:lnTo>
                  <a:pt x="16" y="65"/>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2" name="Freeform 190">
            <a:extLst>
              <a:ext uri="{FF2B5EF4-FFF2-40B4-BE49-F238E27FC236}">
                <a16:creationId xmlns:a16="http://schemas.microsoft.com/office/drawing/2014/main" id="{E89152DC-3D06-CAC3-A46D-764C830B359A}"/>
              </a:ext>
            </a:extLst>
          </p:cNvPr>
          <p:cNvSpPr>
            <a:spLocks noEditPoints="1"/>
          </p:cNvSpPr>
          <p:nvPr userDrawn="1"/>
        </p:nvSpPr>
        <p:spPr bwMode="auto">
          <a:xfrm>
            <a:off x="8654488" y="8581308"/>
            <a:ext cx="831796" cy="765176"/>
          </a:xfrm>
          <a:custGeom>
            <a:avLst/>
            <a:gdLst>
              <a:gd name="T0" fmla="*/ 48 w 84"/>
              <a:gd name="T1" fmla="*/ 77 h 77"/>
              <a:gd name="T2" fmla="*/ 56 w 84"/>
              <a:gd name="T3" fmla="*/ 69 h 77"/>
              <a:gd name="T4" fmla="*/ 59 w 84"/>
              <a:gd name="T5" fmla="*/ 65 h 77"/>
              <a:gd name="T6" fmla="*/ 56 w 84"/>
              <a:gd name="T7" fmla="*/ 58 h 77"/>
              <a:gd name="T8" fmla="*/ 54 w 84"/>
              <a:gd name="T9" fmla="*/ 54 h 77"/>
              <a:gd name="T10" fmla="*/ 63 w 84"/>
              <a:gd name="T11" fmla="*/ 56 h 77"/>
              <a:gd name="T12" fmla="*/ 73 w 84"/>
              <a:gd name="T13" fmla="*/ 52 h 77"/>
              <a:gd name="T14" fmla="*/ 76 w 84"/>
              <a:gd name="T15" fmla="*/ 45 h 77"/>
              <a:gd name="T16" fmla="*/ 77 w 84"/>
              <a:gd name="T17" fmla="*/ 37 h 77"/>
              <a:gd name="T18" fmla="*/ 82 w 84"/>
              <a:gd name="T19" fmla="*/ 35 h 77"/>
              <a:gd name="T20" fmla="*/ 80 w 84"/>
              <a:gd name="T21" fmla="*/ 30 h 77"/>
              <a:gd name="T22" fmla="*/ 84 w 84"/>
              <a:gd name="T23" fmla="*/ 26 h 77"/>
              <a:gd name="T24" fmla="*/ 78 w 84"/>
              <a:gd name="T25" fmla="*/ 25 h 77"/>
              <a:gd name="T26" fmla="*/ 74 w 84"/>
              <a:gd name="T27" fmla="*/ 25 h 77"/>
              <a:gd name="T28" fmla="*/ 77 w 84"/>
              <a:gd name="T29" fmla="*/ 22 h 77"/>
              <a:gd name="T30" fmla="*/ 72 w 84"/>
              <a:gd name="T31" fmla="*/ 19 h 77"/>
              <a:gd name="T32" fmla="*/ 68 w 84"/>
              <a:gd name="T33" fmla="*/ 16 h 77"/>
              <a:gd name="T34" fmla="*/ 65 w 84"/>
              <a:gd name="T35" fmla="*/ 15 h 77"/>
              <a:gd name="T36" fmla="*/ 71 w 84"/>
              <a:gd name="T37" fmla="*/ 13 h 77"/>
              <a:gd name="T38" fmla="*/ 63 w 84"/>
              <a:gd name="T39" fmla="*/ 11 h 77"/>
              <a:gd name="T40" fmla="*/ 55 w 84"/>
              <a:gd name="T41" fmla="*/ 14 h 77"/>
              <a:gd name="T42" fmla="*/ 50 w 84"/>
              <a:gd name="T43" fmla="*/ 16 h 77"/>
              <a:gd name="T44" fmla="*/ 36 w 84"/>
              <a:gd name="T45" fmla="*/ 14 h 77"/>
              <a:gd name="T46" fmla="*/ 33 w 84"/>
              <a:gd name="T47" fmla="*/ 11 h 77"/>
              <a:gd name="T48" fmla="*/ 26 w 84"/>
              <a:gd name="T49" fmla="*/ 7 h 77"/>
              <a:gd name="T50" fmla="*/ 22 w 84"/>
              <a:gd name="T51" fmla="*/ 2 h 77"/>
              <a:gd name="T52" fmla="*/ 19 w 84"/>
              <a:gd name="T53" fmla="*/ 7 h 77"/>
              <a:gd name="T54" fmla="*/ 21 w 84"/>
              <a:gd name="T55" fmla="*/ 8 h 77"/>
              <a:gd name="T56" fmla="*/ 18 w 84"/>
              <a:gd name="T57" fmla="*/ 9 h 77"/>
              <a:gd name="T58" fmla="*/ 12 w 84"/>
              <a:gd name="T59" fmla="*/ 14 h 77"/>
              <a:gd name="T60" fmla="*/ 10 w 84"/>
              <a:gd name="T61" fmla="*/ 23 h 77"/>
              <a:gd name="T62" fmla="*/ 8 w 84"/>
              <a:gd name="T63" fmla="*/ 17 h 77"/>
              <a:gd name="T64" fmla="*/ 10 w 84"/>
              <a:gd name="T65" fmla="*/ 10 h 77"/>
              <a:gd name="T66" fmla="*/ 10 w 84"/>
              <a:gd name="T67" fmla="*/ 6 h 77"/>
              <a:gd name="T68" fmla="*/ 9 w 84"/>
              <a:gd name="T69" fmla="*/ 6 h 77"/>
              <a:gd name="T70" fmla="*/ 3 w 84"/>
              <a:gd name="T71" fmla="*/ 12 h 77"/>
              <a:gd name="T72" fmla="*/ 0 w 84"/>
              <a:gd name="T73" fmla="*/ 21 h 77"/>
              <a:gd name="T74" fmla="*/ 6 w 84"/>
              <a:gd name="T75" fmla="*/ 28 h 77"/>
              <a:gd name="T76" fmla="*/ 5 w 84"/>
              <a:gd name="T77" fmla="*/ 33 h 77"/>
              <a:gd name="T78" fmla="*/ 12 w 84"/>
              <a:gd name="T79" fmla="*/ 35 h 77"/>
              <a:gd name="T80" fmla="*/ 19 w 84"/>
              <a:gd name="T81" fmla="*/ 35 h 77"/>
              <a:gd name="T82" fmla="*/ 28 w 84"/>
              <a:gd name="T83" fmla="*/ 40 h 77"/>
              <a:gd name="T84" fmla="*/ 34 w 84"/>
              <a:gd name="T85" fmla="*/ 41 h 77"/>
              <a:gd name="T86" fmla="*/ 36 w 84"/>
              <a:gd name="T87" fmla="*/ 44 h 77"/>
              <a:gd name="T88" fmla="*/ 34 w 84"/>
              <a:gd name="T89" fmla="*/ 50 h 77"/>
              <a:gd name="T90" fmla="*/ 34 w 84"/>
              <a:gd name="T91" fmla="*/ 56 h 77"/>
              <a:gd name="T92" fmla="*/ 35 w 84"/>
              <a:gd name="T93" fmla="*/ 64 h 77"/>
              <a:gd name="T94" fmla="*/ 37 w 84"/>
              <a:gd name="T95" fmla="*/ 67 h 77"/>
              <a:gd name="T96" fmla="*/ 30 w 84"/>
              <a:gd name="T97" fmla="*/ 2 h 77"/>
              <a:gd name="T98" fmla="*/ 31 w 84"/>
              <a:gd name="T99" fmla="*/ 3 h 77"/>
              <a:gd name="T100" fmla="*/ 28 w 84"/>
              <a:gd name="T101" fmla="*/ 3 h 77"/>
              <a:gd name="T102" fmla="*/ 21 w 84"/>
              <a:gd name="T103" fmla="*/ 1 h 77"/>
              <a:gd name="T104" fmla="*/ 57 w 84"/>
              <a:gd name="T105" fmla="*/ 9 h 77"/>
              <a:gd name="T106" fmla="*/ 58 w 84"/>
              <a:gd name="T107" fmla="*/ 1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 h="77">
                <a:moveTo>
                  <a:pt x="39" y="73"/>
                </a:moveTo>
                <a:cubicBezTo>
                  <a:pt x="41" y="75"/>
                  <a:pt x="41" y="75"/>
                  <a:pt x="41" y="75"/>
                </a:cubicBezTo>
                <a:cubicBezTo>
                  <a:pt x="44" y="77"/>
                  <a:pt x="44" y="77"/>
                  <a:pt x="44" y="77"/>
                </a:cubicBezTo>
                <a:cubicBezTo>
                  <a:pt x="45" y="77"/>
                  <a:pt x="45" y="77"/>
                  <a:pt x="45" y="77"/>
                </a:cubicBezTo>
                <a:cubicBezTo>
                  <a:pt x="48" y="77"/>
                  <a:pt x="48" y="77"/>
                  <a:pt x="48" y="77"/>
                </a:cubicBezTo>
                <a:cubicBezTo>
                  <a:pt x="49" y="75"/>
                  <a:pt x="49" y="75"/>
                  <a:pt x="49" y="75"/>
                </a:cubicBezTo>
                <a:cubicBezTo>
                  <a:pt x="51" y="74"/>
                  <a:pt x="51" y="74"/>
                  <a:pt x="51" y="74"/>
                </a:cubicBezTo>
                <a:cubicBezTo>
                  <a:pt x="52" y="72"/>
                  <a:pt x="52" y="72"/>
                  <a:pt x="52" y="72"/>
                </a:cubicBezTo>
                <a:cubicBezTo>
                  <a:pt x="55" y="71"/>
                  <a:pt x="55" y="71"/>
                  <a:pt x="55" y="71"/>
                </a:cubicBezTo>
                <a:cubicBezTo>
                  <a:pt x="56" y="69"/>
                  <a:pt x="56" y="69"/>
                  <a:pt x="56" y="69"/>
                </a:cubicBezTo>
                <a:cubicBezTo>
                  <a:pt x="57" y="68"/>
                  <a:pt x="57" y="68"/>
                  <a:pt x="57" y="68"/>
                </a:cubicBezTo>
                <a:cubicBezTo>
                  <a:pt x="60" y="67"/>
                  <a:pt x="60" y="67"/>
                  <a:pt x="60" y="67"/>
                </a:cubicBezTo>
                <a:cubicBezTo>
                  <a:pt x="61" y="67"/>
                  <a:pt x="61" y="67"/>
                  <a:pt x="61" y="67"/>
                </a:cubicBezTo>
                <a:cubicBezTo>
                  <a:pt x="61" y="65"/>
                  <a:pt x="61" y="65"/>
                  <a:pt x="61" y="65"/>
                </a:cubicBezTo>
                <a:cubicBezTo>
                  <a:pt x="59" y="65"/>
                  <a:pt x="59" y="65"/>
                  <a:pt x="59" y="65"/>
                </a:cubicBezTo>
                <a:cubicBezTo>
                  <a:pt x="57" y="65"/>
                  <a:pt x="57" y="65"/>
                  <a:pt x="57" y="65"/>
                </a:cubicBezTo>
                <a:cubicBezTo>
                  <a:pt x="55" y="64"/>
                  <a:pt x="55" y="64"/>
                  <a:pt x="55" y="64"/>
                </a:cubicBezTo>
                <a:cubicBezTo>
                  <a:pt x="55" y="62"/>
                  <a:pt x="55" y="62"/>
                  <a:pt x="55" y="62"/>
                </a:cubicBezTo>
                <a:cubicBezTo>
                  <a:pt x="54" y="61"/>
                  <a:pt x="54" y="61"/>
                  <a:pt x="54" y="61"/>
                </a:cubicBezTo>
                <a:cubicBezTo>
                  <a:pt x="56" y="58"/>
                  <a:pt x="56" y="58"/>
                  <a:pt x="56" y="58"/>
                </a:cubicBezTo>
                <a:cubicBezTo>
                  <a:pt x="56" y="57"/>
                  <a:pt x="56" y="57"/>
                  <a:pt x="56" y="57"/>
                </a:cubicBezTo>
                <a:cubicBezTo>
                  <a:pt x="54" y="56"/>
                  <a:pt x="54" y="56"/>
                  <a:pt x="54" y="56"/>
                </a:cubicBezTo>
                <a:cubicBezTo>
                  <a:pt x="53" y="55"/>
                  <a:pt x="53" y="55"/>
                  <a:pt x="53" y="55"/>
                </a:cubicBezTo>
                <a:cubicBezTo>
                  <a:pt x="52" y="54"/>
                  <a:pt x="52" y="54"/>
                  <a:pt x="52" y="54"/>
                </a:cubicBezTo>
                <a:cubicBezTo>
                  <a:pt x="54" y="54"/>
                  <a:pt x="54" y="54"/>
                  <a:pt x="54" y="54"/>
                </a:cubicBezTo>
                <a:cubicBezTo>
                  <a:pt x="56" y="55"/>
                  <a:pt x="56" y="55"/>
                  <a:pt x="56" y="55"/>
                </a:cubicBezTo>
                <a:cubicBezTo>
                  <a:pt x="58" y="56"/>
                  <a:pt x="58" y="56"/>
                  <a:pt x="58" y="56"/>
                </a:cubicBezTo>
                <a:cubicBezTo>
                  <a:pt x="60" y="56"/>
                  <a:pt x="60" y="56"/>
                  <a:pt x="60" y="56"/>
                </a:cubicBezTo>
                <a:cubicBezTo>
                  <a:pt x="63" y="55"/>
                  <a:pt x="63" y="55"/>
                  <a:pt x="63" y="55"/>
                </a:cubicBezTo>
                <a:cubicBezTo>
                  <a:pt x="63" y="56"/>
                  <a:pt x="63" y="56"/>
                  <a:pt x="63" y="56"/>
                </a:cubicBezTo>
                <a:cubicBezTo>
                  <a:pt x="65" y="55"/>
                  <a:pt x="65" y="55"/>
                  <a:pt x="65" y="55"/>
                </a:cubicBezTo>
                <a:cubicBezTo>
                  <a:pt x="67" y="53"/>
                  <a:pt x="67" y="53"/>
                  <a:pt x="67" y="53"/>
                </a:cubicBezTo>
                <a:cubicBezTo>
                  <a:pt x="69" y="53"/>
                  <a:pt x="69" y="53"/>
                  <a:pt x="69" y="53"/>
                </a:cubicBezTo>
                <a:cubicBezTo>
                  <a:pt x="70" y="54"/>
                  <a:pt x="70" y="54"/>
                  <a:pt x="70" y="54"/>
                </a:cubicBezTo>
                <a:cubicBezTo>
                  <a:pt x="73" y="52"/>
                  <a:pt x="73" y="52"/>
                  <a:pt x="73" y="52"/>
                </a:cubicBezTo>
                <a:cubicBezTo>
                  <a:pt x="75" y="52"/>
                  <a:pt x="75" y="52"/>
                  <a:pt x="75" y="52"/>
                </a:cubicBezTo>
                <a:cubicBezTo>
                  <a:pt x="78" y="50"/>
                  <a:pt x="78" y="50"/>
                  <a:pt x="78" y="50"/>
                </a:cubicBezTo>
                <a:cubicBezTo>
                  <a:pt x="79" y="48"/>
                  <a:pt x="79" y="48"/>
                  <a:pt x="79" y="48"/>
                </a:cubicBezTo>
                <a:cubicBezTo>
                  <a:pt x="79" y="47"/>
                  <a:pt x="79" y="47"/>
                  <a:pt x="79" y="47"/>
                </a:cubicBezTo>
                <a:cubicBezTo>
                  <a:pt x="76" y="45"/>
                  <a:pt x="76" y="45"/>
                  <a:pt x="76" y="45"/>
                </a:cubicBezTo>
                <a:cubicBezTo>
                  <a:pt x="75" y="43"/>
                  <a:pt x="75" y="43"/>
                  <a:pt x="75" y="43"/>
                </a:cubicBezTo>
                <a:cubicBezTo>
                  <a:pt x="74" y="41"/>
                  <a:pt x="74" y="41"/>
                  <a:pt x="74" y="41"/>
                </a:cubicBezTo>
                <a:cubicBezTo>
                  <a:pt x="76" y="40"/>
                  <a:pt x="76" y="40"/>
                  <a:pt x="76" y="40"/>
                </a:cubicBezTo>
                <a:cubicBezTo>
                  <a:pt x="76" y="38"/>
                  <a:pt x="76" y="38"/>
                  <a:pt x="76" y="38"/>
                </a:cubicBezTo>
                <a:cubicBezTo>
                  <a:pt x="77" y="37"/>
                  <a:pt x="77" y="37"/>
                  <a:pt x="77" y="37"/>
                </a:cubicBezTo>
                <a:cubicBezTo>
                  <a:pt x="78" y="38"/>
                  <a:pt x="78" y="38"/>
                  <a:pt x="78" y="38"/>
                </a:cubicBezTo>
                <a:cubicBezTo>
                  <a:pt x="78" y="37"/>
                  <a:pt x="78" y="37"/>
                  <a:pt x="78" y="37"/>
                </a:cubicBezTo>
                <a:cubicBezTo>
                  <a:pt x="80" y="37"/>
                  <a:pt x="80" y="37"/>
                  <a:pt x="80" y="37"/>
                </a:cubicBezTo>
                <a:cubicBezTo>
                  <a:pt x="82" y="37"/>
                  <a:pt x="82" y="37"/>
                  <a:pt x="82" y="37"/>
                </a:cubicBezTo>
                <a:cubicBezTo>
                  <a:pt x="82" y="35"/>
                  <a:pt x="82" y="35"/>
                  <a:pt x="82" y="35"/>
                </a:cubicBezTo>
                <a:cubicBezTo>
                  <a:pt x="81" y="34"/>
                  <a:pt x="81" y="34"/>
                  <a:pt x="81" y="34"/>
                </a:cubicBezTo>
                <a:cubicBezTo>
                  <a:pt x="79" y="34"/>
                  <a:pt x="79" y="34"/>
                  <a:pt x="79" y="34"/>
                </a:cubicBezTo>
                <a:cubicBezTo>
                  <a:pt x="78" y="33"/>
                  <a:pt x="78" y="33"/>
                  <a:pt x="78" y="33"/>
                </a:cubicBezTo>
                <a:cubicBezTo>
                  <a:pt x="78" y="32"/>
                  <a:pt x="78" y="32"/>
                  <a:pt x="78" y="32"/>
                </a:cubicBezTo>
                <a:cubicBezTo>
                  <a:pt x="80" y="30"/>
                  <a:pt x="80" y="30"/>
                  <a:pt x="80" y="30"/>
                </a:cubicBezTo>
                <a:cubicBezTo>
                  <a:pt x="81" y="30"/>
                  <a:pt x="81" y="30"/>
                  <a:pt x="81" y="30"/>
                </a:cubicBezTo>
                <a:cubicBezTo>
                  <a:pt x="82" y="29"/>
                  <a:pt x="82" y="29"/>
                  <a:pt x="82" y="29"/>
                </a:cubicBezTo>
                <a:cubicBezTo>
                  <a:pt x="84" y="27"/>
                  <a:pt x="84" y="27"/>
                  <a:pt x="84" y="27"/>
                </a:cubicBezTo>
                <a:cubicBezTo>
                  <a:pt x="84" y="26"/>
                  <a:pt x="84" y="26"/>
                  <a:pt x="84" y="26"/>
                </a:cubicBezTo>
                <a:cubicBezTo>
                  <a:pt x="84" y="26"/>
                  <a:pt x="84" y="26"/>
                  <a:pt x="84" y="26"/>
                </a:cubicBezTo>
                <a:cubicBezTo>
                  <a:pt x="81" y="25"/>
                  <a:pt x="81" y="25"/>
                  <a:pt x="81" y="25"/>
                </a:cubicBezTo>
                <a:cubicBezTo>
                  <a:pt x="80" y="25"/>
                  <a:pt x="80" y="25"/>
                  <a:pt x="80" y="25"/>
                </a:cubicBezTo>
                <a:cubicBezTo>
                  <a:pt x="80" y="25"/>
                  <a:pt x="80" y="25"/>
                  <a:pt x="80" y="25"/>
                </a:cubicBezTo>
                <a:cubicBezTo>
                  <a:pt x="78" y="25"/>
                  <a:pt x="78" y="25"/>
                  <a:pt x="78" y="25"/>
                </a:cubicBezTo>
                <a:cubicBezTo>
                  <a:pt x="78" y="25"/>
                  <a:pt x="78" y="25"/>
                  <a:pt x="78" y="25"/>
                </a:cubicBezTo>
                <a:cubicBezTo>
                  <a:pt x="77" y="25"/>
                  <a:pt x="77" y="25"/>
                  <a:pt x="77" y="25"/>
                </a:cubicBezTo>
                <a:cubicBezTo>
                  <a:pt x="75" y="26"/>
                  <a:pt x="75" y="26"/>
                  <a:pt x="75" y="26"/>
                </a:cubicBezTo>
                <a:cubicBezTo>
                  <a:pt x="73" y="26"/>
                  <a:pt x="73" y="26"/>
                  <a:pt x="73" y="26"/>
                </a:cubicBezTo>
                <a:cubicBezTo>
                  <a:pt x="72" y="26"/>
                  <a:pt x="72" y="26"/>
                  <a:pt x="72" y="26"/>
                </a:cubicBezTo>
                <a:cubicBezTo>
                  <a:pt x="74" y="25"/>
                  <a:pt x="74" y="25"/>
                  <a:pt x="74" y="25"/>
                </a:cubicBezTo>
                <a:cubicBezTo>
                  <a:pt x="74" y="25"/>
                  <a:pt x="74" y="25"/>
                  <a:pt x="74" y="25"/>
                </a:cubicBezTo>
                <a:cubicBezTo>
                  <a:pt x="75" y="25"/>
                  <a:pt x="75" y="25"/>
                  <a:pt x="75" y="25"/>
                </a:cubicBezTo>
                <a:cubicBezTo>
                  <a:pt x="76" y="24"/>
                  <a:pt x="76" y="24"/>
                  <a:pt x="76" y="24"/>
                </a:cubicBezTo>
                <a:cubicBezTo>
                  <a:pt x="77" y="23"/>
                  <a:pt x="77" y="23"/>
                  <a:pt x="77" y="23"/>
                </a:cubicBezTo>
                <a:cubicBezTo>
                  <a:pt x="77" y="22"/>
                  <a:pt x="77" y="22"/>
                  <a:pt x="77" y="22"/>
                </a:cubicBezTo>
                <a:cubicBezTo>
                  <a:pt x="77" y="22"/>
                  <a:pt x="77" y="22"/>
                  <a:pt x="77" y="22"/>
                </a:cubicBezTo>
                <a:cubicBezTo>
                  <a:pt x="77" y="21"/>
                  <a:pt x="77" y="21"/>
                  <a:pt x="77" y="21"/>
                </a:cubicBezTo>
                <a:cubicBezTo>
                  <a:pt x="76" y="20"/>
                  <a:pt x="76" y="20"/>
                  <a:pt x="76" y="20"/>
                </a:cubicBezTo>
                <a:cubicBezTo>
                  <a:pt x="75" y="19"/>
                  <a:pt x="75" y="19"/>
                  <a:pt x="75" y="19"/>
                </a:cubicBezTo>
                <a:cubicBezTo>
                  <a:pt x="72" y="19"/>
                  <a:pt x="72" y="19"/>
                  <a:pt x="72" y="19"/>
                </a:cubicBezTo>
                <a:cubicBezTo>
                  <a:pt x="72" y="18"/>
                  <a:pt x="72" y="18"/>
                  <a:pt x="72" y="18"/>
                </a:cubicBezTo>
                <a:cubicBezTo>
                  <a:pt x="71" y="18"/>
                  <a:pt x="71" y="18"/>
                  <a:pt x="71" y="18"/>
                </a:cubicBezTo>
                <a:cubicBezTo>
                  <a:pt x="70" y="18"/>
                  <a:pt x="70" y="18"/>
                  <a:pt x="70" y="18"/>
                </a:cubicBezTo>
                <a:cubicBezTo>
                  <a:pt x="69" y="17"/>
                  <a:pt x="69" y="17"/>
                  <a:pt x="69" y="17"/>
                </a:cubicBezTo>
                <a:cubicBezTo>
                  <a:pt x="68" y="16"/>
                  <a:pt x="68" y="16"/>
                  <a:pt x="68" y="16"/>
                </a:cubicBezTo>
                <a:cubicBezTo>
                  <a:pt x="67" y="16"/>
                  <a:pt x="67" y="16"/>
                  <a:pt x="67" y="16"/>
                </a:cubicBezTo>
                <a:cubicBezTo>
                  <a:pt x="68" y="18"/>
                  <a:pt x="68" y="18"/>
                  <a:pt x="68" y="18"/>
                </a:cubicBezTo>
                <a:cubicBezTo>
                  <a:pt x="67" y="16"/>
                  <a:pt x="67" y="16"/>
                  <a:pt x="67" y="16"/>
                </a:cubicBezTo>
                <a:cubicBezTo>
                  <a:pt x="66" y="15"/>
                  <a:pt x="66" y="15"/>
                  <a:pt x="66" y="15"/>
                </a:cubicBezTo>
                <a:cubicBezTo>
                  <a:pt x="65" y="15"/>
                  <a:pt x="65" y="15"/>
                  <a:pt x="65" y="15"/>
                </a:cubicBezTo>
                <a:cubicBezTo>
                  <a:pt x="65" y="14"/>
                  <a:pt x="65" y="14"/>
                  <a:pt x="65" y="14"/>
                </a:cubicBezTo>
                <a:cubicBezTo>
                  <a:pt x="65" y="13"/>
                  <a:pt x="65" y="13"/>
                  <a:pt x="65" y="13"/>
                </a:cubicBezTo>
                <a:cubicBezTo>
                  <a:pt x="68" y="13"/>
                  <a:pt x="68" y="13"/>
                  <a:pt x="68" y="13"/>
                </a:cubicBezTo>
                <a:cubicBezTo>
                  <a:pt x="69" y="13"/>
                  <a:pt x="69" y="13"/>
                  <a:pt x="69" y="13"/>
                </a:cubicBezTo>
                <a:cubicBezTo>
                  <a:pt x="71" y="13"/>
                  <a:pt x="71" y="13"/>
                  <a:pt x="71" y="13"/>
                </a:cubicBezTo>
                <a:cubicBezTo>
                  <a:pt x="71" y="12"/>
                  <a:pt x="71" y="12"/>
                  <a:pt x="71" y="12"/>
                </a:cubicBezTo>
                <a:cubicBezTo>
                  <a:pt x="69" y="12"/>
                  <a:pt x="69" y="12"/>
                  <a:pt x="69" y="12"/>
                </a:cubicBezTo>
                <a:cubicBezTo>
                  <a:pt x="67" y="11"/>
                  <a:pt x="67" y="11"/>
                  <a:pt x="67" y="11"/>
                </a:cubicBezTo>
                <a:cubicBezTo>
                  <a:pt x="65" y="12"/>
                  <a:pt x="65" y="12"/>
                  <a:pt x="65" y="12"/>
                </a:cubicBezTo>
                <a:cubicBezTo>
                  <a:pt x="63" y="11"/>
                  <a:pt x="63" y="11"/>
                  <a:pt x="63" y="11"/>
                </a:cubicBezTo>
                <a:cubicBezTo>
                  <a:pt x="60" y="12"/>
                  <a:pt x="60" y="12"/>
                  <a:pt x="60" y="12"/>
                </a:cubicBezTo>
                <a:cubicBezTo>
                  <a:pt x="60" y="12"/>
                  <a:pt x="60" y="12"/>
                  <a:pt x="60" y="12"/>
                </a:cubicBezTo>
                <a:cubicBezTo>
                  <a:pt x="58" y="12"/>
                  <a:pt x="58" y="12"/>
                  <a:pt x="58" y="12"/>
                </a:cubicBezTo>
                <a:cubicBezTo>
                  <a:pt x="56" y="14"/>
                  <a:pt x="56" y="14"/>
                  <a:pt x="56" y="14"/>
                </a:cubicBezTo>
                <a:cubicBezTo>
                  <a:pt x="55" y="14"/>
                  <a:pt x="55" y="14"/>
                  <a:pt x="55" y="14"/>
                </a:cubicBezTo>
                <a:cubicBezTo>
                  <a:pt x="53" y="15"/>
                  <a:pt x="53" y="15"/>
                  <a:pt x="53" y="15"/>
                </a:cubicBezTo>
                <a:cubicBezTo>
                  <a:pt x="53" y="15"/>
                  <a:pt x="53" y="15"/>
                  <a:pt x="53" y="15"/>
                </a:cubicBezTo>
                <a:cubicBezTo>
                  <a:pt x="51" y="16"/>
                  <a:pt x="51" y="16"/>
                  <a:pt x="51" y="16"/>
                </a:cubicBezTo>
                <a:cubicBezTo>
                  <a:pt x="51" y="16"/>
                  <a:pt x="51" y="16"/>
                  <a:pt x="51" y="16"/>
                </a:cubicBezTo>
                <a:cubicBezTo>
                  <a:pt x="50" y="16"/>
                  <a:pt x="50" y="16"/>
                  <a:pt x="50" y="16"/>
                </a:cubicBezTo>
                <a:cubicBezTo>
                  <a:pt x="47" y="14"/>
                  <a:pt x="47" y="14"/>
                  <a:pt x="47" y="14"/>
                </a:cubicBezTo>
                <a:cubicBezTo>
                  <a:pt x="46" y="13"/>
                  <a:pt x="46" y="13"/>
                  <a:pt x="46" y="13"/>
                </a:cubicBezTo>
                <a:cubicBezTo>
                  <a:pt x="45" y="13"/>
                  <a:pt x="45" y="13"/>
                  <a:pt x="45" y="13"/>
                </a:cubicBezTo>
                <a:cubicBezTo>
                  <a:pt x="42" y="13"/>
                  <a:pt x="42" y="13"/>
                  <a:pt x="42" y="13"/>
                </a:cubicBezTo>
                <a:cubicBezTo>
                  <a:pt x="36" y="14"/>
                  <a:pt x="36" y="14"/>
                  <a:pt x="36" y="14"/>
                </a:cubicBezTo>
                <a:cubicBezTo>
                  <a:pt x="34" y="14"/>
                  <a:pt x="34" y="14"/>
                  <a:pt x="34" y="14"/>
                </a:cubicBezTo>
                <a:cubicBezTo>
                  <a:pt x="32" y="13"/>
                  <a:pt x="32" y="13"/>
                  <a:pt x="32" y="13"/>
                </a:cubicBezTo>
                <a:cubicBezTo>
                  <a:pt x="32" y="12"/>
                  <a:pt x="32" y="12"/>
                  <a:pt x="32" y="12"/>
                </a:cubicBezTo>
                <a:cubicBezTo>
                  <a:pt x="32" y="11"/>
                  <a:pt x="32" y="11"/>
                  <a:pt x="32" y="11"/>
                </a:cubicBezTo>
                <a:cubicBezTo>
                  <a:pt x="33" y="11"/>
                  <a:pt x="33" y="11"/>
                  <a:pt x="33" y="11"/>
                </a:cubicBezTo>
                <a:cubicBezTo>
                  <a:pt x="33" y="10"/>
                  <a:pt x="33" y="10"/>
                  <a:pt x="33" y="10"/>
                </a:cubicBezTo>
                <a:cubicBezTo>
                  <a:pt x="31" y="8"/>
                  <a:pt x="31" y="8"/>
                  <a:pt x="31" y="8"/>
                </a:cubicBezTo>
                <a:cubicBezTo>
                  <a:pt x="30" y="8"/>
                  <a:pt x="30" y="8"/>
                  <a:pt x="30" y="8"/>
                </a:cubicBezTo>
                <a:cubicBezTo>
                  <a:pt x="27" y="8"/>
                  <a:pt x="27" y="8"/>
                  <a:pt x="27" y="8"/>
                </a:cubicBezTo>
                <a:cubicBezTo>
                  <a:pt x="26" y="7"/>
                  <a:pt x="26" y="7"/>
                  <a:pt x="26" y="7"/>
                </a:cubicBezTo>
                <a:cubicBezTo>
                  <a:pt x="25" y="7"/>
                  <a:pt x="25" y="7"/>
                  <a:pt x="25" y="7"/>
                </a:cubicBezTo>
                <a:cubicBezTo>
                  <a:pt x="24" y="8"/>
                  <a:pt x="24" y="8"/>
                  <a:pt x="24" y="8"/>
                </a:cubicBezTo>
                <a:cubicBezTo>
                  <a:pt x="23" y="6"/>
                  <a:pt x="23" y="6"/>
                  <a:pt x="23" y="6"/>
                </a:cubicBezTo>
                <a:cubicBezTo>
                  <a:pt x="23" y="4"/>
                  <a:pt x="23" y="4"/>
                  <a:pt x="23" y="4"/>
                </a:cubicBezTo>
                <a:cubicBezTo>
                  <a:pt x="22" y="2"/>
                  <a:pt x="22" y="2"/>
                  <a:pt x="22" y="2"/>
                </a:cubicBezTo>
                <a:cubicBezTo>
                  <a:pt x="22" y="2"/>
                  <a:pt x="22" y="2"/>
                  <a:pt x="22" y="2"/>
                </a:cubicBezTo>
                <a:cubicBezTo>
                  <a:pt x="20" y="3"/>
                  <a:pt x="20" y="3"/>
                  <a:pt x="20" y="3"/>
                </a:cubicBezTo>
                <a:cubicBezTo>
                  <a:pt x="18" y="5"/>
                  <a:pt x="18" y="5"/>
                  <a:pt x="18" y="5"/>
                </a:cubicBezTo>
                <a:cubicBezTo>
                  <a:pt x="19" y="6"/>
                  <a:pt x="19" y="6"/>
                  <a:pt x="19" y="6"/>
                </a:cubicBezTo>
                <a:cubicBezTo>
                  <a:pt x="19" y="7"/>
                  <a:pt x="19" y="7"/>
                  <a:pt x="19" y="7"/>
                </a:cubicBezTo>
                <a:cubicBezTo>
                  <a:pt x="21" y="6"/>
                  <a:pt x="21" y="6"/>
                  <a:pt x="21" y="6"/>
                </a:cubicBezTo>
                <a:cubicBezTo>
                  <a:pt x="22" y="6"/>
                  <a:pt x="22" y="6"/>
                  <a:pt x="22" y="6"/>
                </a:cubicBezTo>
                <a:cubicBezTo>
                  <a:pt x="23" y="7"/>
                  <a:pt x="23" y="7"/>
                  <a:pt x="23" y="7"/>
                </a:cubicBezTo>
                <a:cubicBezTo>
                  <a:pt x="22" y="8"/>
                  <a:pt x="22" y="8"/>
                  <a:pt x="22" y="8"/>
                </a:cubicBezTo>
                <a:cubicBezTo>
                  <a:pt x="21" y="8"/>
                  <a:pt x="21" y="8"/>
                  <a:pt x="21" y="8"/>
                </a:cubicBezTo>
                <a:cubicBezTo>
                  <a:pt x="20" y="8"/>
                  <a:pt x="20" y="8"/>
                  <a:pt x="20" y="8"/>
                </a:cubicBezTo>
                <a:cubicBezTo>
                  <a:pt x="20" y="7"/>
                  <a:pt x="20" y="7"/>
                  <a:pt x="20" y="7"/>
                </a:cubicBezTo>
                <a:cubicBezTo>
                  <a:pt x="19" y="8"/>
                  <a:pt x="19" y="8"/>
                  <a:pt x="19" y="8"/>
                </a:cubicBezTo>
                <a:cubicBezTo>
                  <a:pt x="19" y="8"/>
                  <a:pt x="19" y="8"/>
                  <a:pt x="19" y="8"/>
                </a:cubicBezTo>
                <a:cubicBezTo>
                  <a:pt x="18" y="9"/>
                  <a:pt x="18" y="9"/>
                  <a:pt x="18" y="9"/>
                </a:cubicBezTo>
                <a:cubicBezTo>
                  <a:pt x="15" y="9"/>
                  <a:pt x="15" y="9"/>
                  <a:pt x="15" y="9"/>
                </a:cubicBezTo>
                <a:cubicBezTo>
                  <a:pt x="12" y="11"/>
                  <a:pt x="12" y="11"/>
                  <a:pt x="12" y="11"/>
                </a:cubicBezTo>
                <a:cubicBezTo>
                  <a:pt x="11" y="12"/>
                  <a:pt x="11" y="12"/>
                  <a:pt x="11" y="12"/>
                </a:cubicBezTo>
                <a:cubicBezTo>
                  <a:pt x="11" y="13"/>
                  <a:pt x="11" y="13"/>
                  <a:pt x="11" y="13"/>
                </a:cubicBezTo>
                <a:cubicBezTo>
                  <a:pt x="12" y="14"/>
                  <a:pt x="12" y="14"/>
                  <a:pt x="12" y="14"/>
                </a:cubicBezTo>
                <a:cubicBezTo>
                  <a:pt x="12" y="17"/>
                  <a:pt x="12" y="17"/>
                  <a:pt x="12" y="17"/>
                </a:cubicBezTo>
                <a:cubicBezTo>
                  <a:pt x="12" y="18"/>
                  <a:pt x="12" y="18"/>
                  <a:pt x="12" y="18"/>
                </a:cubicBezTo>
                <a:cubicBezTo>
                  <a:pt x="13" y="20"/>
                  <a:pt x="13" y="20"/>
                  <a:pt x="13" y="20"/>
                </a:cubicBezTo>
                <a:cubicBezTo>
                  <a:pt x="12" y="22"/>
                  <a:pt x="12" y="22"/>
                  <a:pt x="12" y="22"/>
                </a:cubicBezTo>
                <a:cubicBezTo>
                  <a:pt x="10" y="23"/>
                  <a:pt x="10" y="23"/>
                  <a:pt x="10" y="23"/>
                </a:cubicBezTo>
                <a:cubicBezTo>
                  <a:pt x="9" y="23"/>
                  <a:pt x="9" y="23"/>
                  <a:pt x="9" y="23"/>
                </a:cubicBezTo>
                <a:cubicBezTo>
                  <a:pt x="9" y="21"/>
                  <a:pt x="9" y="21"/>
                  <a:pt x="9" y="21"/>
                </a:cubicBezTo>
                <a:cubicBezTo>
                  <a:pt x="7" y="19"/>
                  <a:pt x="7" y="19"/>
                  <a:pt x="7" y="19"/>
                </a:cubicBezTo>
                <a:cubicBezTo>
                  <a:pt x="7" y="18"/>
                  <a:pt x="7" y="18"/>
                  <a:pt x="7" y="18"/>
                </a:cubicBezTo>
                <a:cubicBezTo>
                  <a:pt x="8" y="17"/>
                  <a:pt x="8" y="17"/>
                  <a:pt x="8" y="17"/>
                </a:cubicBezTo>
                <a:cubicBezTo>
                  <a:pt x="8" y="16"/>
                  <a:pt x="8" y="16"/>
                  <a:pt x="8" y="16"/>
                </a:cubicBezTo>
                <a:cubicBezTo>
                  <a:pt x="11" y="14"/>
                  <a:pt x="11" y="14"/>
                  <a:pt x="11" y="14"/>
                </a:cubicBezTo>
                <a:cubicBezTo>
                  <a:pt x="11" y="12"/>
                  <a:pt x="11" y="12"/>
                  <a:pt x="11" y="12"/>
                </a:cubicBezTo>
                <a:cubicBezTo>
                  <a:pt x="10" y="11"/>
                  <a:pt x="10" y="11"/>
                  <a:pt x="10" y="11"/>
                </a:cubicBezTo>
                <a:cubicBezTo>
                  <a:pt x="10" y="10"/>
                  <a:pt x="10" y="10"/>
                  <a:pt x="10" y="10"/>
                </a:cubicBezTo>
                <a:cubicBezTo>
                  <a:pt x="10" y="9"/>
                  <a:pt x="10" y="9"/>
                  <a:pt x="10" y="9"/>
                </a:cubicBezTo>
                <a:cubicBezTo>
                  <a:pt x="9" y="9"/>
                  <a:pt x="9" y="9"/>
                  <a:pt x="9" y="9"/>
                </a:cubicBezTo>
                <a:cubicBezTo>
                  <a:pt x="9" y="8"/>
                  <a:pt x="9" y="8"/>
                  <a:pt x="9" y="8"/>
                </a:cubicBezTo>
                <a:cubicBezTo>
                  <a:pt x="9" y="7"/>
                  <a:pt x="9" y="7"/>
                  <a:pt x="9" y="7"/>
                </a:cubicBezTo>
                <a:cubicBezTo>
                  <a:pt x="10" y="6"/>
                  <a:pt x="10" y="6"/>
                  <a:pt x="10" y="6"/>
                </a:cubicBezTo>
                <a:cubicBezTo>
                  <a:pt x="12" y="6"/>
                  <a:pt x="12" y="6"/>
                  <a:pt x="12" y="6"/>
                </a:cubicBezTo>
                <a:cubicBezTo>
                  <a:pt x="13" y="4"/>
                  <a:pt x="13" y="4"/>
                  <a:pt x="13" y="4"/>
                </a:cubicBezTo>
                <a:cubicBezTo>
                  <a:pt x="12" y="4"/>
                  <a:pt x="12" y="4"/>
                  <a:pt x="12" y="4"/>
                </a:cubicBezTo>
                <a:cubicBezTo>
                  <a:pt x="12" y="4"/>
                  <a:pt x="12" y="4"/>
                  <a:pt x="12" y="4"/>
                </a:cubicBezTo>
                <a:cubicBezTo>
                  <a:pt x="9" y="6"/>
                  <a:pt x="9" y="6"/>
                  <a:pt x="9" y="6"/>
                </a:cubicBezTo>
                <a:cubicBezTo>
                  <a:pt x="7" y="9"/>
                  <a:pt x="7" y="9"/>
                  <a:pt x="7" y="9"/>
                </a:cubicBezTo>
                <a:cubicBezTo>
                  <a:pt x="6" y="9"/>
                  <a:pt x="6" y="9"/>
                  <a:pt x="6" y="9"/>
                </a:cubicBezTo>
                <a:cubicBezTo>
                  <a:pt x="5" y="10"/>
                  <a:pt x="5" y="10"/>
                  <a:pt x="5" y="10"/>
                </a:cubicBezTo>
                <a:cubicBezTo>
                  <a:pt x="4" y="11"/>
                  <a:pt x="4" y="11"/>
                  <a:pt x="4" y="11"/>
                </a:cubicBezTo>
                <a:cubicBezTo>
                  <a:pt x="3" y="12"/>
                  <a:pt x="3" y="12"/>
                  <a:pt x="3" y="12"/>
                </a:cubicBezTo>
                <a:cubicBezTo>
                  <a:pt x="1" y="15"/>
                  <a:pt x="1" y="15"/>
                  <a:pt x="1" y="15"/>
                </a:cubicBezTo>
                <a:cubicBezTo>
                  <a:pt x="1" y="16"/>
                  <a:pt x="1" y="16"/>
                  <a:pt x="1" y="16"/>
                </a:cubicBezTo>
                <a:cubicBezTo>
                  <a:pt x="1" y="17"/>
                  <a:pt x="1" y="17"/>
                  <a:pt x="1" y="17"/>
                </a:cubicBezTo>
                <a:cubicBezTo>
                  <a:pt x="1" y="19"/>
                  <a:pt x="1" y="19"/>
                  <a:pt x="1" y="19"/>
                </a:cubicBezTo>
                <a:cubicBezTo>
                  <a:pt x="0" y="21"/>
                  <a:pt x="0" y="21"/>
                  <a:pt x="0" y="21"/>
                </a:cubicBezTo>
                <a:cubicBezTo>
                  <a:pt x="0" y="22"/>
                  <a:pt x="0" y="22"/>
                  <a:pt x="0" y="22"/>
                </a:cubicBezTo>
                <a:cubicBezTo>
                  <a:pt x="1" y="22"/>
                  <a:pt x="1" y="22"/>
                  <a:pt x="1" y="22"/>
                </a:cubicBezTo>
                <a:cubicBezTo>
                  <a:pt x="2" y="22"/>
                  <a:pt x="2" y="22"/>
                  <a:pt x="2" y="22"/>
                </a:cubicBezTo>
                <a:cubicBezTo>
                  <a:pt x="5" y="26"/>
                  <a:pt x="5" y="26"/>
                  <a:pt x="5" y="26"/>
                </a:cubicBezTo>
                <a:cubicBezTo>
                  <a:pt x="6" y="28"/>
                  <a:pt x="6" y="28"/>
                  <a:pt x="6" y="28"/>
                </a:cubicBezTo>
                <a:cubicBezTo>
                  <a:pt x="6" y="29"/>
                  <a:pt x="6" y="29"/>
                  <a:pt x="6" y="29"/>
                </a:cubicBezTo>
                <a:cubicBezTo>
                  <a:pt x="5" y="31"/>
                  <a:pt x="5" y="31"/>
                  <a:pt x="5" y="31"/>
                </a:cubicBezTo>
                <a:cubicBezTo>
                  <a:pt x="5" y="31"/>
                  <a:pt x="5" y="31"/>
                  <a:pt x="5" y="31"/>
                </a:cubicBezTo>
                <a:cubicBezTo>
                  <a:pt x="5" y="32"/>
                  <a:pt x="5" y="32"/>
                  <a:pt x="5" y="32"/>
                </a:cubicBezTo>
                <a:cubicBezTo>
                  <a:pt x="5" y="33"/>
                  <a:pt x="5" y="33"/>
                  <a:pt x="5" y="33"/>
                </a:cubicBezTo>
                <a:cubicBezTo>
                  <a:pt x="7" y="34"/>
                  <a:pt x="7" y="34"/>
                  <a:pt x="7" y="34"/>
                </a:cubicBezTo>
                <a:cubicBezTo>
                  <a:pt x="8" y="35"/>
                  <a:pt x="8" y="35"/>
                  <a:pt x="8" y="35"/>
                </a:cubicBezTo>
                <a:cubicBezTo>
                  <a:pt x="9" y="35"/>
                  <a:pt x="9" y="35"/>
                  <a:pt x="9" y="35"/>
                </a:cubicBezTo>
                <a:cubicBezTo>
                  <a:pt x="11" y="36"/>
                  <a:pt x="11" y="36"/>
                  <a:pt x="11" y="36"/>
                </a:cubicBezTo>
                <a:cubicBezTo>
                  <a:pt x="12" y="35"/>
                  <a:pt x="12" y="35"/>
                  <a:pt x="12" y="35"/>
                </a:cubicBezTo>
                <a:cubicBezTo>
                  <a:pt x="13" y="35"/>
                  <a:pt x="13" y="35"/>
                  <a:pt x="13" y="35"/>
                </a:cubicBezTo>
                <a:cubicBezTo>
                  <a:pt x="15" y="36"/>
                  <a:pt x="15" y="36"/>
                  <a:pt x="15" y="36"/>
                </a:cubicBezTo>
                <a:cubicBezTo>
                  <a:pt x="15" y="35"/>
                  <a:pt x="15" y="35"/>
                  <a:pt x="15" y="35"/>
                </a:cubicBezTo>
                <a:cubicBezTo>
                  <a:pt x="17" y="35"/>
                  <a:pt x="17" y="35"/>
                  <a:pt x="17" y="35"/>
                </a:cubicBezTo>
                <a:cubicBezTo>
                  <a:pt x="19" y="35"/>
                  <a:pt x="19" y="35"/>
                  <a:pt x="19" y="35"/>
                </a:cubicBezTo>
                <a:cubicBezTo>
                  <a:pt x="20" y="36"/>
                  <a:pt x="20" y="36"/>
                  <a:pt x="20" y="36"/>
                </a:cubicBezTo>
                <a:cubicBezTo>
                  <a:pt x="25" y="41"/>
                  <a:pt x="25" y="41"/>
                  <a:pt x="25" y="41"/>
                </a:cubicBezTo>
                <a:cubicBezTo>
                  <a:pt x="27" y="40"/>
                  <a:pt x="27" y="40"/>
                  <a:pt x="27" y="40"/>
                </a:cubicBezTo>
                <a:cubicBezTo>
                  <a:pt x="27" y="41"/>
                  <a:pt x="27" y="41"/>
                  <a:pt x="27" y="41"/>
                </a:cubicBezTo>
                <a:cubicBezTo>
                  <a:pt x="28" y="40"/>
                  <a:pt x="28" y="40"/>
                  <a:pt x="28" y="40"/>
                </a:cubicBezTo>
                <a:cubicBezTo>
                  <a:pt x="29" y="41"/>
                  <a:pt x="29" y="41"/>
                  <a:pt x="29" y="41"/>
                </a:cubicBezTo>
                <a:cubicBezTo>
                  <a:pt x="30" y="41"/>
                  <a:pt x="30" y="41"/>
                  <a:pt x="30" y="41"/>
                </a:cubicBezTo>
                <a:cubicBezTo>
                  <a:pt x="31" y="41"/>
                  <a:pt x="31" y="41"/>
                  <a:pt x="31" y="41"/>
                </a:cubicBezTo>
                <a:cubicBezTo>
                  <a:pt x="32" y="41"/>
                  <a:pt x="32" y="41"/>
                  <a:pt x="32" y="41"/>
                </a:cubicBezTo>
                <a:cubicBezTo>
                  <a:pt x="34" y="41"/>
                  <a:pt x="34" y="41"/>
                  <a:pt x="34" y="41"/>
                </a:cubicBezTo>
                <a:cubicBezTo>
                  <a:pt x="34" y="40"/>
                  <a:pt x="34" y="40"/>
                  <a:pt x="34" y="40"/>
                </a:cubicBezTo>
                <a:cubicBezTo>
                  <a:pt x="35" y="40"/>
                  <a:pt x="35" y="40"/>
                  <a:pt x="35" y="40"/>
                </a:cubicBezTo>
                <a:cubicBezTo>
                  <a:pt x="36" y="41"/>
                  <a:pt x="36" y="41"/>
                  <a:pt x="36" y="41"/>
                </a:cubicBezTo>
                <a:cubicBezTo>
                  <a:pt x="37" y="43"/>
                  <a:pt x="37" y="43"/>
                  <a:pt x="37" y="43"/>
                </a:cubicBezTo>
                <a:cubicBezTo>
                  <a:pt x="36" y="44"/>
                  <a:pt x="36" y="44"/>
                  <a:pt x="36" y="44"/>
                </a:cubicBezTo>
                <a:cubicBezTo>
                  <a:pt x="36" y="45"/>
                  <a:pt x="36" y="45"/>
                  <a:pt x="36" y="45"/>
                </a:cubicBezTo>
                <a:cubicBezTo>
                  <a:pt x="36" y="46"/>
                  <a:pt x="36" y="46"/>
                  <a:pt x="36" y="46"/>
                </a:cubicBezTo>
                <a:cubicBezTo>
                  <a:pt x="34" y="47"/>
                  <a:pt x="34" y="47"/>
                  <a:pt x="34" y="47"/>
                </a:cubicBezTo>
                <a:cubicBezTo>
                  <a:pt x="34" y="48"/>
                  <a:pt x="34" y="48"/>
                  <a:pt x="34" y="48"/>
                </a:cubicBezTo>
                <a:cubicBezTo>
                  <a:pt x="34" y="50"/>
                  <a:pt x="34" y="50"/>
                  <a:pt x="34" y="50"/>
                </a:cubicBezTo>
                <a:cubicBezTo>
                  <a:pt x="34" y="51"/>
                  <a:pt x="34" y="51"/>
                  <a:pt x="34" y="51"/>
                </a:cubicBezTo>
                <a:cubicBezTo>
                  <a:pt x="34" y="52"/>
                  <a:pt x="34" y="52"/>
                  <a:pt x="34" y="52"/>
                </a:cubicBezTo>
                <a:cubicBezTo>
                  <a:pt x="34" y="54"/>
                  <a:pt x="34" y="54"/>
                  <a:pt x="34" y="54"/>
                </a:cubicBezTo>
                <a:cubicBezTo>
                  <a:pt x="34" y="55"/>
                  <a:pt x="34" y="55"/>
                  <a:pt x="34" y="55"/>
                </a:cubicBezTo>
                <a:cubicBezTo>
                  <a:pt x="34" y="56"/>
                  <a:pt x="34" y="56"/>
                  <a:pt x="34" y="56"/>
                </a:cubicBezTo>
                <a:cubicBezTo>
                  <a:pt x="36" y="59"/>
                  <a:pt x="36" y="59"/>
                  <a:pt x="36" y="59"/>
                </a:cubicBezTo>
                <a:cubicBezTo>
                  <a:pt x="34" y="63"/>
                  <a:pt x="34" y="63"/>
                  <a:pt x="34" y="63"/>
                </a:cubicBezTo>
                <a:cubicBezTo>
                  <a:pt x="34" y="64"/>
                  <a:pt x="34" y="64"/>
                  <a:pt x="34" y="64"/>
                </a:cubicBezTo>
                <a:cubicBezTo>
                  <a:pt x="35" y="64"/>
                  <a:pt x="35" y="64"/>
                  <a:pt x="35" y="64"/>
                </a:cubicBezTo>
                <a:cubicBezTo>
                  <a:pt x="35" y="64"/>
                  <a:pt x="35" y="64"/>
                  <a:pt x="35" y="64"/>
                </a:cubicBezTo>
                <a:cubicBezTo>
                  <a:pt x="35" y="64"/>
                  <a:pt x="35" y="64"/>
                  <a:pt x="35" y="64"/>
                </a:cubicBezTo>
                <a:cubicBezTo>
                  <a:pt x="36" y="65"/>
                  <a:pt x="36" y="65"/>
                  <a:pt x="36" y="65"/>
                </a:cubicBezTo>
                <a:cubicBezTo>
                  <a:pt x="36" y="65"/>
                  <a:pt x="36" y="65"/>
                  <a:pt x="36" y="65"/>
                </a:cubicBezTo>
                <a:cubicBezTo>
                  <a:pt x="37" y="67"/>
                  <a:pt x="37" y="67"/>
                  <a:pt x="37" y="67"/>
                </a:cubicBezTo>
                <a:cubicBezTo>
                  <a:pt x="37" y="67"/>
                  <a:pt x="37" y="67"/>
                  <a:pt x="37" y="67"/>
                </a:cubicBezTo>
                <a:cubicBezTo>
                  <a:pt x="37" y="69"/>
                  <a:pt x="37" y="69"/>
                  <a:pt x="37" y="69"/>
                </a:cubicBezTo>
                <a:cubicBezTo>
                  <a:pt x="39" y="72"/>
                  <a:pt x="39" y="72"/>
                  <a:pt x="39" y="72"/>
                </a:cubicBezTo>
                <a:cubicBezTo>
                  <a:pt x="39" y="73"/>
                  <a:pt x="39" y="73"/>
                  <a:pt x="39" y="73"/>
                </a:cubicBezTo>
                <a:cubicBezTo>
                  <a:pt x="39" y="73"/>
                  <a:pt x="39" y="73"/>
                  <a:pt x="39" y="73"/>
                </a:cubicBezTo>
                <a:close/>
                <a:moveTo>
                  <a:pt x="30" y="2"/>
                </a:moveTo>
                <a:cubicBezTo>
                  <a:pt x="32" y="2"/>
                  <a:pt x="32" y="2"/>
                  <a:pt x="32" y="2"/>
                </a:cubicBezTo>
                <a:cubicBezTo>
                  <a:pt x="33" y="3"/>
                  <a:pt x="33" y="3"/>
                  <a:pt x="33" y="3"/>
                </a:cubicBezTo>
                <a:cubicBezTo>
                  <a:pt x="32" y="4"/>
                  <a:pt x="32" y="4"/>
                  <a:pt x="32" y="4"/>
                </a:cubicBezTo>
                <a:cubicBezTo>
                  <a:pt x="32" y="3"/>
                  <a:pt x="32" y="3"/>
                  <a:pt x="32" y="3"/>
                </a:cubicBezTo>
                <a:cubicBezTo>
                  <a:pt x="31" y="3"/>
                  <a:pt x="31" y="3"/>
                  <a:pt x="31" y="3"/>
                </a:cubicBezTo>
                <a:cubicBezTo>
                  <a:pt x="30" y="2"/>
                  <a:pt x="30" y="2"/>
                  <a:pt x="30" y="2"/>
                </a:cubicBezTo>
                <a:close/>
                <a:moveTo>
                  <a:pt x="26" y="1"/>
                </a:moveTo>
                <a:cubicBezTo>
                  <a:pt x="27" y="2"/>
                  <a:pt x="27" y="2"/>
                  <a:pt x="27" y="2"/>
                </a:cubicBezTo>
                <a:cubicBezTo>
                  <a:pt x="28" y="3"/>
                  <a:pt x="28" y="3"/>
                  <a:pt x="28" y="3"/>
                </a:cubicBezTo>
                <a:cubicBezTo>
                  <a:pt x="28" y="3"/>
                  <a:pt x="28" y="3"/>
                  <a:pt x="28" y="3"/>
                </a:cubicBezTo>
                <a:cubicBezTo>
                  <a:pt x="26" y="3"/>
                  <a:pt x="26" y="3"/>
                  <a:pt x="26" y="3"/>
                </a:cubicBezTo>
                <a:cubicBezTo>
                  <a:pt x="26" y="2"/>
                  <a:pt x="26" y="2"/>
                  <a:pt x="26" y="2"/>
                </a:cubicBezTo>
                <a:cubicBezTo>
                  <a:pt x="26" y="1"/>
                  <a:pt x="26" y="1"/>
                  <a:pt x="26" y="1"/>
                </a:cubicBezTo>
                <a:close/>
                <a:moveTo>
                  <a:pt x="20" y="0"/>
                </a:moveTo>
                <a:cubicBezTo>
                  <a:pt x="21" y="1"/>
                  <a:pt x="21" y="1"/>
                  <a:pt x="21" y="1"/>
                </a:cubicBezTo>
                <a:cubicBezTo>
                  <a:pt x="22" y="1"/>
                  <a:pt x="22" y="1"/>
                  <a:pt x="22" y="1"/>
                </a:cubicBezTo>
                <a:cubicBezTo>
                  <a:pt x="21" y="0"/>
                  <a:pt x="21" y="0"/>
                  <a:pt x="21" y="0"/>
                </a:cubicBezTo>
                <a:cubicBezTo>
                  <a:pt x="20" y="0"/>
                  <a:pt x="20" y="0"/>
                  <a:pt x="20" y="0"/>
                </a:cubicBezTo>
                <a:close/>
                <a:moveTo>
                  <a:pt x="56" y="10"/>
                </a:moveTo>
                <a:cubicBezTo>
                  <a:pt x="57" y="9"/>
                  <a:pt x="57" y="9"/>
                  <a:pt x="57" y="9"/>
                </a:cubicBezTo>
                <a:cubicBezTo>
                  <a:pt x="57" y="10"/>
                  <a:pt x="57" y="10"/>
                  <a:pt x="57" y="10"/>
                </a:cubicBezTo>
                <a:cubicBezTo>
                  <a:pt x="59" y="9"/>
                  <a:pt x="59" y="9"/>
                  <a:pt x="59" y="9"/>
                </a:cubicBezTo>
                <a:cubicBezTo>
                  <a:pt x="60" y="10"/>
                  <a:pt x="60" y="10"/>
                  <a:pt x="60" y="10"/>
                </a:cubicBezTo>
                <a:cubicBezTo>
                  <a:pt x="59" y="11"/>
                  <a:pt x="59" y="11"/>
                  <a:pt x="59" y="11"/>
                </a:cubicBezTo>
                <a:cubicBezTo>
                  <a:pt x="58" y="11"/>
                  <a:pt x="58" y="11"/>
                  <a:pt x="58" y="11"/>
                </a:cubicBezTo>
                <a:cubicBezTo>
                  <a:pt x="56" y="11"/>
                  <a:pt x="56" y="11"/>
                  <a:pt x="56" y="11"/>
                </a:cubicBezTo>
                <a:cubicBezTo>
                  <a:pt x="56" y="11"/>
                  <a:pt x="56" y="10"/>
                  <a:pt x="56" y="10"/>
                </a:cubicBez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3" name="Freeform 191">
            <a:extLst>
              <a:ext uri="{FF2B5EF4-FFF2-40B4-BE49-F238E27FC236}">
                <a16:creationId xmlns:a16="http://schemas.microsoft.com/office/drawing/2014/main" id="{CD2A600B-203D-EB08-82F8-EFDF5CF99B56}"/>
              </a:ext>
            </a:extLst>
          </p:cNvPr>
          <p:cNvSpPr>
            <a:spLocks/>
          </p:cNvSpPr>
          <p:nvPr userDrawn="1"/>
        </p:nvSpPr>
        <p:spPr bwMode="auto">
          <a:xfrm>
            <a:off x="8286212" y="8590835"/>
            <a:ext cx="755601" cy="1063626"/>
          </a:xfrm>
          <a:custGeom>
            <a:avLst/>
            <a:gdLst>
              <a:gd name="T0" fmla="*/ 194 w 238"/>
              <a:gd name="T1" fmla="*/ 276 h 335"/>
              <a:gd name="T2" fmla="*/ 191 w 238"/>
              <a:gd name="T3" fmla="*/ 241 h 335"/>
              <a:gd name="T4" fmla="*/ 191 w 238"/>
              <a:gd name="T5" fmla="*/ 229 h 335"/>
              <a:gd name="T6" fmla="*/ 210 w 238"/>
              <a:gd name="T7" fmla="*/ 213 h 335"/>
              <a:gd name="T8" fmla="*/ 225 w 238"/>
              <a:gd name="T9" fmla="*/ 210 h 335"/>
              <a:gd name="T10" fmla="*/ 238 w 238"/>
              <a:gd name="T11" fmla="*/ 226 h 335"/>
              <a:gd name="T12" fmla="*/ 228 w 238"/>
              <a:gd name="T13" fmla="*/ 201 h 335"/>
              <a:gd name="T14" fmla="*/ 222 w 238"/>
              <a:gd name="T15" fmla="*/ 197 h 335"/>
              <a:gd name="T16" fmla="*/ 222 w 238"/>
              <a:gd name="T17" fmla="*/ 166 h 335"/>
              <a:gd name="T18" fmla="*/ 222 w 238"/>
              <a:gd name="T19" fmla="*/ 144 h 335"/>
              <a:gd name="T20" fmla="*/ 228 w 238"/>
              <a:gd name="T21" fmla="*/ 125 h 335"/>
              <a:gd name="T22" fmla="*/ 213 w 238"/>
              <a:gd name="T23" fmla="*/ 125 h 335"/>
              <a:gd name="T24" fmla="*/ 200 w 238"/>
              <a:gd name="T25" fmla="*/ 122 h 335"/>
              <a:gd name="T26" fmla="*/ 163 w 238"/>
              <a:gd name="T27" fmla="*/ 107 h 335"/>
              <a:gd name="T28" fmla="*/ 144 w 238"/>
              <a:gd name="T29" fmla="*/ 107 h 335"/>
              <a:gd name="T30" fmla="*/ 131 w 238"/>
              <a:gd name="T31" fmla="*/ 94 h 335"/>
              <a:gd name="T32" fmla="*/ 122 w 238"/>
              <a:gd name="T33" fmla="*/ 66 h 335"/>
              <a:gd name="T34" fmla="*/ 119 w 238"/>
              <a:gd name="T35" fmla="*/ 50 h 335"/>
              <a:gd name="T36" fmla="*/ 131 w 238"/>
              <a:gd name="T37" fmla="*/ 28 h 335"/>
              <a:gd name="T38" fmla="*/ 153 w 238"/>
              <a:gd name="T39" fmla="*/ 10 h 335"/>
              <a:gd name="T40" fmla="*/ 160 w 238"/>
              <a:gd name="T41" fmla="*/ 3 h 335"/>
              <a:gd name="T42" fmla="*/ 144 w 238"/>
              <a:gd name="T43" fmla="*/ 3 h 335"/>
              <a:gd name="T44" fmla="*/ 138 w 238"/>
              <a:gd name="T45" fmla="*/ 10 h 335"/>
              <a:gd name="T46" fmla="*/ 113 w 238"/>
              <a:gd name="T47" fmla="*/ 22 h 335"/>
              <a:gd name="T48" fmla="*/ 100 w 238"/>
              <a:gd name="T49" fmla="*/ 28 h 335"/>
              <a:gd name="T50" fmla="*/ 94 w 238"/>
              <a:gd name="T51" fmla="*/ 28 h 335"/>
              <a:gd name="T52" fmla="*/ 78 w 238"/>
              <a:gd name="T53" fmla="*/ 32 h 335"/>
              <a:gd name="T54" fmla="*/ 69 w 238"/>
              <a:gd name="T55" fmla="*/ 50 h 335"/>
              <a:gd name="T56" fmla="*/ 63 w 238"/>
              <a:gd name="T57" fmla="*/ 60 h 335"/>
              <a:gd name="T58" fmla="*/ 47 w 238"/>
              <a:gd name="T59" fmla="*/ 75 h 335"/>
              <a:gd name="T60" fmla="*/ 47 w 238"/>
              <a:gd name="T61" fmla="*/ 91 h 335"/>
              <a:gd name="T62" fmla="*/ 38 w 238"/>
              <a:gd name="T63" fmla="*/ 82 h 335"/>
              <a:gd name="T64" fmla="*/ 35 w 238"/>
              <a:gd name="T65" fmla="*/ 85 h 335"/>
              <a:gd name="T66" fmla="*/ 25 w 238"/>
              <a:gd name="T67" fmla="*/ 104 h 335"/>
              <a:gd name="T68" fmla="*/ 31 w 238"/>
              <a:gd name="T69" fmla="*/ 119 h 335"/>
              <a:gd name="T70" fmla="*/ 31 w 238"/>
              <a:gd name="T71" fmla="*/ 129 h 335"/>
              <a:gd name="T72" fmla="*/ 31 w 238"/>
              <a:gd name="T73" fmla="*/ 141 h 335"/>
              <a:gd name="T74" fmla="*/ 31 w 238"/>
              <a:gd name="T75" fmla="*/ 166 h 335"/>
              <a:gd name="T76" fmla="*/ 41 w 238"/>
              <a:gd name="T77" fmla="*/ 172 h 335"/>
              <a:gd name="T78" fmla="*/ 28 w 238"/>
              <a:gd name="T79" fmla="*/ 194 h 335"/>
              <a:gd name="T80" fmla="*/ 3 w 238"/>
              <a:gd name="T81" fmla="*/ 219 h 335"/>
              <a:gd name="T82" fmla="*/ 25 w 238"/>
              <a:gd name="T83" fmla="*/ 235 h 335"/>
              <a:gd name="T84" fmla="*/ 44 w 238"/>
              <a:gd name="T85" fmla="*/ 251 h 335"/>
              <a:gd name="T86" fmla="*/ 56 w 238"/>
              <a:gd name="T87" fmla="*/ 244 h 335"/>
              <a:gd name="T88" fmla="*/ 72 w 238"/>
              <a:gd name="T89" fmla="*/ 251 h 335"/>
              <a:gd name="T90" fmla="*/ 88 w 238"/>
              <a:gd name="T91" fmla="*/ 257 h 335"/>
              <a:gd name="T92" fmla="*/ 97 w 238"/>
              <a:gd name="T93" fmla="*/ 276 h 335"/>
              <a:gd name="T94" fmla="*/ 116 w 238"/>
              <a:gd name="T95" fmla="*/ 291 h 335"/>
              <a:gd name="T96" fmla="*/ 125 w 238"/>
              <a:gd name="T97" fmla="*/ 301 h 335"/>
              <a:gd name="T98" fmla="*/ 147 w 238"/>
              <a:gd name="T99" fmla="*/ 297 h 335"/>
              <a:gd name="T100" fmla="*/ 166 w 238"/>
              <a:gd name="T101" fmla="*/ 297 h 335"/>
              <a:gd name="T102" fmla="*/ 163 w 238"/>
              <a:gd name="T103" fmla="*/ 326 h 335"/>
              <a:gd name="T104" fmla="*/ 178 w 238"/>
              <a:gd name="T105" fmla="*/ 335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8" h="335">
                <a:moveTo>
                  <a:pt x="178" y="335"/>
                </a:moveTo>
                <a:lnTo>
                  <a:pt x="181" y="326"/>
                </a:lnTo>
                <a:lnTo>
                  <a:pt x="191" y="285"/>
                </a:lnTo>
                <a:lnTo>
                  <a:pt x="191" y="282"/>
                </a:lnTo>
                <a:lnTo>
                  <a:pt x="194" y="276"/>
                </a:lnTo>
                <a:lnTo>
                  <a:pt x="188" y="266"/>
                </a:lnTo>
                <a:lnTo>
                  <a:pt x="181" y="260"/>
                </a:lnTo>
                <a:lnTo>
                  <a:pt x="178" y="257"/>
                </a:lnTo>
                <a:lnTo>
                  <a:pt x="175" y="244"/>
                </a:lnTo>
                <a:lnTo>
                  <a:pt x="191" y="241"/>
                </a:lnTo>
                <a:lnTo>
                  <a:pt x="194" y="244"/>
                </a:lnTo>
                <a:lnTo>
                  <a:pt x="194" y="241"/>
                </a:lnTo>
                <a:lnTo>
                  <a:pt x="194" y="238"/>
                </a:lnTo>
                <a:lnTo>
                  <a:pt x="194" y="235"/>
                </a:lnTo>
                <a:lnTo>
                  <a:pt x="191" y="229"/>
                </a:lnTo>
                <a:lnTo>
                  <a:pt x="185" y="229"/>
                </a:lnTo>
                <a:lnTo>
                  <a:pt x="181" y="222"/>
                </a:lnTo>
                <a:lnTo>
                  <a:pt x="185" y="216"/>
                </a:lnTo>
                <a:lnTo>
                  <a:pt x="206" y="216"/>
                </a:lnTo>
                <a:lnTo>
                  <a:pt x="210" y="213"/>
                </a:lnTo>
                <a:lnTo>
                  <a:pt x="213" y="213"/>
                </a:lnTo>
                <a:lnTo>
                  <a:pt x="216" y="216"/>
                </a:lnTo>
                <a:lnTo>
                  <a:pt x="216" y="216"/>
                </a:lnTo>
                <a:lnTo>
                  <a:pt x="222" y="213"/>
                </a:lnTo>
                <a:lnTo>
                  <a:pt x="225" y="210"/>
                </a:lnTo>
                <a:lnTo>
                  <a:pt x="228" y="213"/>
                </a:lnTo>
                <a:lnTo>
                  <a:pt x="231" y="216"/>
                </a:lnTo>
                <a:lnTo>
                  <a:pt x="231" y="222"/>
                </a:lnTo>
                <a:lnTo>
                  <a:pt x="231" y="226"/>
                </a:lnTo>
                <a:lnTo>
                  <a:pt x="238" y="226"/>
                </a:lnTo>
                <a:lnTo>
                  <a:pt x="238" y="222"/>
                </a:lnTo>
                <a:lnTo>
                  <a:pt x="231" y="213"/>
                </a:lnTo>
                <a:lnTo>
                  <a:pt x="231" y="207"/>
                </a:lnTo>
                <a:lnTo>
                  <a:pt x="231" y="207"/>
                </a:lnTo>
                <a:lnTo>
                  <a:pt x="228" y="201"/>
                </a:lnTo>
                <a:lnTo>
                  <a:pt x="228" y="201"/>
                </a:lnTo>
                <a:lnTo>
                  <a:pt x="225" y="197"/>
                </a:lnTo>
                <a:lnTo>
                  <a:pt x="225" y="197"/>
                </a:lnTo>
                <a:lnTo>
                  <a:pt x="225" y="197"/>
                </a:lnTo>
                <a:lnTo>
                  <a:pt x="222" y="197"/>
                </a:lnTo>
                <a:lnTo>
                  <a:pt x="222" y="194"/>
                </a:lnTo>
                <a:lnTo>
                  <a:pt x="228" y="182"/>
                </a:lnTo>
                <a:lnTo>
                  <a:pt x="222" y="172"/>
                </a:lnTo>
                <a:lnTo>
                  <a:pt x="222" y="169"/>
                </a:lnTo>
                <a:lnTo>
                  <a:pt x="222" y="166"/>
                </a:lnTo>
                <a:lnTo>
                  <a:pt x="222" y="160"/>
                </a:lnTo>
                <a:lnTo>
                  <a:pt x="222" y="157"/>
                </a:lnTo>
                <a:lnTo>
                  <a:pt x="222" y="154"/>
                </a:lnTo>
                <a:lnTo>
                  <a:pt x="222" y="147"/>
                </a:lnTo>
                <a:lnTo>
                  <a:pt x="222" y="144"/>
                </a:lnTo>
                <a:lnTo>
                  <a:pt x="228" y="141"/>
                </a:lnTo>
                <a:lnTo>
                  <a:pt x="228" y="138"/>
                </a:lnTo>
                <a:lnTo>
                  <a:pt x="228" y="135"/>
                </a:lnTo>
                <a:lnTo>
                  <a:pt x="231" y="132"/>
                </a:lnTo>
                <a:lnTo>
                  <a:pt x="228" y="125"/>
                </a:lnTo>
                <a:lnTo>
                  <a:pt x="225" y="122"/>
                </a:lnTo>
                <a:lnTo>
                  <a:pt x="222" y="122"/>
                </a:lnTo>
                <a:lnTo>
                  <a:pt x="222" y="125"/>
                </a:lnTo>
                <a:lnTo>
                  <a:pt x="216" y="125"/>
                </a:lnTo>
                <a:lnTo>
                  <a:pt x="213" y="125"/>
                </a:lnTo>
                <a:lnTo>
                  <a:pt x="210" y="125"/>
                </a:lnTo>
                <a:lnTo>
                  <a:pt x="206" y="125"/>
                </a:lnTo>
                <a:lnTo>
                  <a:pt x="203" y="122"/>
                </a:lnTo>
                <a:lnTo>
                  <a:pt x="200" y="125"/>
                </a:lnTo>
                <a:lnTo>
                  <a:pt x="200" y="122"/>
                </a:lnTo>
                <a:lnTo>
                  <a:pt x="194" y="125"/>
                </a:lnTo>
                <a:lnTo>
                  <a:pt x="178" y="110"/>
                </a:lnTo>
                <a:lnTo>
                  <a:pt x="175" y="107"/>
                </a:lnTo>
                <a:lnTo>
                  <a:pt x="169" y="107"/>
                </a:lnTo>
                <a:lnTo>
                  <a:pt x="163" y="107"/>
                </a:lnTo>
                <a:lnTo>
                  <a:pt x="163" y="110"/>
                </a:lnTo>
                <a:lnTo>
                  <a:pt x="156" y="107"/>
                </a:lnTo>
                <a:lnTo>
                  <a:pt x="153" y="107"/>
                </a:lnTo>
                <a:lnTo>
                  <a:pt x="150" y="110"/>
                </a:lnTo>
                <a:lnTo>
                  <a:pt x="144" y="107"/>
                </a:lnTo>
                <a:lnTo>
                  <a:pt x="141" y="107"/>
                </a:lnTo>
                <a:lnTo>
                  <a:pt x="138" y="104"/>
                </a:lnTo>
                <a:lnTo>
                  <a:pt x="131" y="100"/>
                </a:lnTo>
                <a:lnTo>
                  <a:pt x="131" y="97"/>
                </a:lnTo>
                <a:lnTo>
                  <a:pt x="131" y="94"/>
                </a:lnTo>
                <a:lnTo>
                  <a:pt x="131" y="94"/>
                </a:lnTo>
                <a:lnTo>
                  <a:pt x="135" y="88"/>
                </a:lnTo>
                <a:lnTo>
                  <a:pt x="135" y="85"/>
                </a:lnTo>
                <a:lnTo>
                  <a:pt x="131" y="79"/>
                </a:lnTo>
                <a:lnTo>
                  <a:pt x="122" y="66"/>
                </a:lnTo>
                <a:lnTo>
                  <a:pt x="119" y="66"/>
                </a:lnTo>
                <a:lnTo>
                  <a:pt x="116" y="66"/>
                </a:lnTo>
                <a:lnTo>
                  <a:pt x="116" y="63"/>
                </a:lnTo>
                <a:lnTo>
                  <a:pt x="119" y="57"/>
                </a:lnTo>
                <a:lnTo>
                  <a:pt x="119" y="50"/>
                </a:lnTo>
                <a:lnTo>
                  <a:pt x="119" y="47"/>
                </a:lnTo>
                <a:lnTo>
                  <a:pt x="119" y="44"/>
                </a:lnTo>
                <a:lnTo>
                  <a:pt x="125" y="35"/>
                </a:lnTo>
                <a:lnTo>
                  <a:pt x="128" y="32"/>
                </a:lnTo>
                <a:lnTo>
                  <a:pt x="131" y="28"/>
                </a:lnTo>
                <a:lnTo>
                  <a:pt x="135" y="25"/>
                </a:lnTo>
                <a:lnTo>
                  <a:pt x="138" y="25"/>
                </a:lnTo>
                <a:lnTo>
                  <a:pt x="144" y="16"/>
                </a:lnTo>
                <a:lnTo>
                  <a:pt x="153" y="10"/>
                </a:lnTo>
                <a:lnTo>
                  <a:pt x="153" y="10"/>
                </a:lnTo>
                <a:lnTo>
                  <a:pt x="156" y="10"/>
                </a:lnTo>
                <a:lnTo>
                  <a:pt x="156" y="10"/>
                </a:lnTo>
                <a:lnTo>
                  <a:pt x="160" y="10"/>
                </a:lnTo>
                <a:lnTo>
                  <a:pt x="160" y="7"/>
                </a:lnTo>
                <a:lnTo>
                  <a:pt x="160" y="3"/>
                </a:lnTo>
                <a:lnTo>
                  <a:pt x="150" y="0"/>
                </a:lnTo>
                <a:lnTo>
                  <a:pt x="147" y="0"/>
                </a:lnTo>
                <a:lnTo>
                  <a:pt x="147" y="0"/>
                </a:lnTo>
                <a:lnTo>
                  <a:pt x="147" y="3"/>
                </a:lnTo>
                <a:lnTo>
                  <a:pt x="144" y="3"/>
                </a:lnTo>
                <a:lnTo>
                  <a:pt x="144" y="3"/>
                </a:lnTo>
                <a:lnTo>
                  <a:pt x="141" y="3"/>
                </a:lnTo>
                <a:lnTo>
                  <a:pt x="138" y="3"/>
                </a:lnTo>
                <a:lnTo>
                  <a:pt x="135" y="7"/>
                </a:lnTo>
                <a:lnTo>
                  <a:pt x="138" y="10"/>
                </a:lnTo>
                <a:lnTo>
                  <a:pt x="135" y="10"/>
                </a:lnTo>
                <a:lnTo>
                  <a:pt x="131" y="13"/>
                </a:lnTo>
                <a:lnTo>
                  <a:pt x="122" y="16"/>
                </a:lnTo>
                <a:lnTo>
                  <a:pt x="119" y="19"/>
                </a:lnTo>
                <a:lnTo>
                  <a:pt x="113" y="22"/>
                </a:lnTo>
                <a:lnTo>
                  <a:pt x="106" y="22"/>
                </a:lnTo>
                <a:lnTo>
                  <a:pt x="100" y="22"/>
                </a:lnTo>
                <a:lnTo>
                  <a:pt x="97" y="22"/>
                </a:lnTo>
                <a:lnTo>
                  <a:pt x="97" y="25"/>
                </a:lnTo>
                <a:lnTo>
                  <a:pt x="100" y="28"/>
                </a:lnTo>
                <a:lnTo>
                  <a:pt x="100" y="32"/>
                </a:lnTo>
                <a:lnTo>
                  <a:pt x="97" y="35"/>
                </a:lnTo>
                <a:lnTo>
                  <a:pt x="94" y="35"/>
                </a:lnTo>
                <a:lnTo>
                  <a:pt x="94" y="32"/>
                </a:lnTo>
                <a:lnTo>
                  <a:pt x="94" y="28"/>
                </a:lnTo>
                <a:lnTo>
                  <a:pt x="97" y="28"/>
                </a:lnTo>
                <a:lnTo>
                  <a:pt x="94" y="28"/>
                </a:lnTo>
                <a:lnTo>
                  <a:pt x="88" y="25"/>
                </a:lnTo>
                <a:lnTo>
                  <a:pt x="85" y="25"/>
                </a:lnTo>
                <a:lnTo>
                  <a:pt x="78" y="32"/>
                </a:lnTo>
                <a:lnTo>
                  <a:pt x="78" y="32"/>
                </a:lnTo>
                <a:lnTo>
                  <a:pt x="72" y="38"/>
                </a:lnTo>
                <a:lnTo>
                  <a:pt x="69" y="47"/>
                </a:lnTo>
                <a:lnTo>
                  <a:pt x="66" y="50"/>
                </a:lnTo>
                <a:lnTo>
                  <a:pt x="69" y="50"/>
                </a:lnTo>
                <a:lnTo>
                  <a:pt x="69" y="50"/>
                </a:lnTo>
                <a:lnTo>
                  <a:pt x="69" y="53"/>
                </a:lnTo>
                <a:lnTo>
                  <a:pt x="69" y="60"/>
                </a:lnTo>
                <a:lnTo>
                  <a:pt x="66" y="60"/>
                </a:lnTo>
                <a:lnTo>
                  <a:pt x="63" y="60"/>
                </a:lnTo>
                <a:lnTo>
                  <a:pt x="60" y="63"/>
                </a:lnTo>
                <a:lnTo>
                  <a:pt x="56" y="66"/>
                </a:lnTo>
                <a:lnTo>
                  <a:pt x="53" y="69"/>
                </a:lnTo>
                <a:lnTo>
                  <a:pt x="50" y="72"/>
                </a:lnTo>
                <a:lnTo>
                  <a:pt x="47" y="75"/>
                </a:lnTo>
                <a:lnTo>
                  <a:pt x="44" y="75"/>
                </a:lnTo>
                <a:lnTo>
                  <a:pt x="44" y="79"/>
                </a:lnTo>
                <a:lnTo>
                  <a:pt x="47" y="82"/>
                </a:lnTo>
                <a:lnTo>
                  <a:pt x="47" y="85"/>
                </a:lnTo>
                <a:lnTo>
                  <a:pt x="47" y="91"/>
                </a:lnTo>
                <a:lnTo>
                  <a:pt x="44" y="91"/>
                </a:lnTo>
                <a:lnTo>
                  <a:pt x="41" y="88"/>
                </a:lnTo>
                <a:lnTo>
                  <a:pt x="41" y="85"/>
                </a:lnTo>
                <a:lnTo>
                  <a:pt x="41" y="85"/>
                </a:lnTo>
                <a:lnTo>
                  <a:pt x="38" y="82"/>
                </a:lnTo>
                <a:lnTo>
                  <a:pt x="38" y="79"/>
                </a:lnTo>
                <a:lnTo>
                  <a:pt x="35" y="75"/>
                </a:lnTo>
                <a:lnTo>
                  <a:pt x="31" y="79"/>
                </a:lnTo>
                <a:lnTo>
                  <a:pt x="35" y="82"/>
                </a:lnTo>
                <a:lnTo>
                  <a:pt x="35" y="85"/>
                </a:lnTo>
                <a:lnTo>
                  <a:pt x="31" y="91"/>
                </a:lnTo>
                <a:lnTo>
                  <a:pt x="31" y="94"/>
                </a:lnTo>
                <a:lnTo>
                  <a:pt x="28" y="97"/>
                </a:lnTo>
                <a:lnTo>
                  <a:pt x="25" y="97"/>
                </a:lnTo>
                <a:lnTo>
                  <a:pt x="25" y="104"/>
                </a:lnTo>
                <a:lnTo>
                  <a:pt x="25" y="104"/>
                </a:lnTo>
                <a:lnTo>
                  <a:pt x="25" y="110"/>
                </a:lnTo>
                <a:lnTo>
                  <a:pt x="25" y="113"/>
                </a:lnTo>
                <a:lnTo>
                  <a:pt x="31" y="119"/>
                </a:lnTo>
                <a:lnTo>
                  <a:pt x="31" y="119"/>
                </a:lnTo>
                <a:lnTo>
                  <a:pt x="35" y="116"/>
                </a:lnTo>
                <a:lnTo>
                  <a:pt x="35" y="119"/>
                </a:lnTo>
                <a:lnTo>
                  <a:pt x="35" y="122"/>
                </a:lnTo>
                <a:lnTo>
                  <a:pt x="31" y="125"/>
                </a:lnTo>
                <a:lnTo>
                  <a:pt x="31" y="129"/>
                </a:lnTo>
                <a:lnTo>
                  <a:pt x="35" y="132"/>
                </a:lnTo>
                <a:lnTo>
                  <a:pt x="35" y="135"/>
                </a:lnTo>
                <a:lnTo>
                  <a:pt x="31" y="138"/>
                </a:lnTo>
                <a:lnTo>
                  <a:pt x="31" y="141"/>
                </a:lnTo>
                <a:lnTo>
                  <a:pt x="31" y="141"/>
                </a:lnTo>
                <a:lnTo>
                  <a:pt x="35" y="144"/>
                </a:lnTo>
                <a:lnTo>
                  <a:pt x="35" y="150"/>
                </a:lnTo>
                <a:lnTo>
                  <a:pt x="35" y="160"/>
                </a:lnTo>
                <a:lnTo>
                  <a:pt x="31" y="163"/>
                </a:lnTo>
                <a:lnTo>
                  <a:pt x="31" y="166"/>
                </a:lnTo>
                <a:lnTo>
                  <a:pt x="31" y="169"/>
                </a:lnTo>
                <a:lnTo>
                  <a:pt x="38" y="169"/>
                </a:lnTo>
                <a:lnTo>
                  <a:pt x="35" y="169"/>
                </a:lnTo>
                <a:lnTo>
                  <a:pt x="38" y="172"/>
                </a:lnTo>
                <a:lnTo>
                  <a:pt x="41" y="172"/>
                </a:lnTo>
                <a:lnTo>
                  <a:pt x="41" y="175"/>
                </a:lnTo>
                <a:lnTo>
                  <a:pt x="38" y="179"/>
                </a:lnTo>
                <a:lnTo>
                  <a:pt x="38" y="182"/>
                </a:lnTo>
                <a:lnTo>
                  <a:pt x="28" y="188"/>
                </a:lnTo>
                <a:lnTo>
                  <a:pt x="28" y="194"/>
                </a:lnTo>
                <a:lnTo>
                  <a:pt x="22" y="197"/>
                </a:lnTo>
                <a:lnTo>
                  <a:pt x="13" y="201"/>
                </a:lnTo>
                <a:lnTo>
                  <a:pt x="10" y="204"/>
                </a:lnTo>
                <a:lnTo>
                  <a:pt x="3" y="213"/>
                </a:lnTo>
                <a:lnTo>
                  <a:pt x="3" y="219"/>
                </a:lnTo>
                <a:lnTo>
                  <a:pt x="0" y="222"/>
                </a:lnTo>
                <a:lnTo>
                  <a:pt x="6" y="226"/>
                </a:lnTo>
                <a:lnTo>
                  <a:pt x="13" y="229"/>
                </a:lnTo>
                <a:lnTo>
                  <a:pt x="22" y="235"/>
                </a:lnTo>
                <a:lnTo>
                  <a:pt x="25" y="235"/>
                </a:lnTo>
                <a:lnTo>
                  <a:pt x="31" y="241"/>
                </a:lnTo>
                <a:lnTo>
                  <a:pt x="28" y="244"/>
                </a:lnTo>
                <a:lnTo>
                  <a:pt x="31" y="244"/>
                </a:lnTo>
                <a:lnTo>
                  <a:pt x="38" y="247"/>
                </a:lnTo>
                <a:lnTo>
                  <a:pt x="44" y="251"/>
                </a:lnTo>
                <a:lnTo>
                  <a:pt x="47" y="251"/>
                </a:lnTo>
                <a:lnTo>
                  <a:pt x="53" y="254"/>
                </a:lnTo>
                <a:lnTo>
                  <a:pt x="53" y="251"/>
                </a:lnTo>
                <a:lnTo>
                  <a:pt x="53" y="247"/>
                </a:lnTo>
                <a:lnTo>
                  <a:pt x="56" y="244"/>
                </a:lnTo>
                <a:lnTo>
                  <a:pt x="60" y="244"/>
                </a:lnTo>
                <a:lnTo>
                  <a:pt x="63" y="247"/>
                </a:lnTo>
                <a:lnTo>
                  <a:pt x="66" y="247"/>
                </a:lnTo>
                <a:lnTo>
                  <a:pt x="69" y="251"/>
                </a:lnTo>
                <a:lnTo>
                  <a:pt x="72" y="251"/>
                </a:lnTo>
                <a:lnTo>
                  <a:pt x="72" y="251"/>
                </a:lnTo>
                <a:lnTo>
                  <a:pt x="72" y="251"/>
                </a:lnTo>
                <a:lnTo>
                  <a:pt x="75" y="254"/>
                </a:lnTo>
                <a:lnTo>
                  <a:pt x="81" y="257"/>
                </a:lnTo>
                <a:lnTo>
                  <a:pt x="88" y="257"/>
                </a:lnTo>
                <a:lnTo>
                  <a:pt x="88" y="260"/>
                </a:lnTo>
                <a:lnTo>
                  <a:pt x="91" y="263"/>
                </a:lnTo>
                <a:lnTo>
                  <a:pt x="94" y="269"/>
                </a:lnTo>
                <a:lnTo>
                  <a:pt x="97" y="276"/>
                </a:lnTo>
                <a:lnTo>
                  <a:pt x="97" y="276"/>
                </a:lnTo>
                <a:lnTo>
                  <a:pt x="106" y="279"/>
                </a:lnTo>
                <a:lnTo>
                  <a:pt x="113" y="282"/>
                </a:lnTo>
                <a:lnTo>
                  <a:pt x="113" y="288"/>
                </a:lnTo>
                <a:lnTo>
                  <a:pt x="113" y="288"/>
                </a:lnTo>
                <a:lnTo>
                  <a:pt x="116" y="291"/>
                </a:lnTo>
                <a:lnTo>
                  <a:pt x="119" y="294"/>
                </a:lnTo>
                <a:lnTo>
                  <a:pt x="116" y="297"/>
                </a:lnTo>
                <a:lnTo>
                  <a:pt x="119" y="301"/>
                </a:lnTo>
                <a:lnTo>
                  <a:pt x="122" y="301"/>
                </a:lnTo>
                <a:lnTo>
                  <a:pt x="125" y="301"/>
                </a:lnTo>
                <a:lnTo>
                  <a:pt x="128" y="301"/>
                </a:lnTo>
                <a:lnTo>
                  <a:pt x="135" y="301"/>
                </a:lnTo>
                <a:lnTo>
                  <a:pt x="135" y="301"/>
                </a:lnTo>
                <a:lnTo>
                  <a:pt x="141" y="297"/>
                </a:lnTo>
                <a:lnTo>
                  <a:pt x="147" y="297"/>
                </a:lnTo>
                <a:lnTo>
                  <a:pt x="153" y="301"/>
                </a:lnTo>
                <a:lnTo>
                  <a:pt x="160" y="297"/>
                </a:lnTo>
                <a:lnTo>
                  <a:pt x="163" y="297"/>
                </a:lnTo>
                <a:lnTo>
                  <a:pt x="163" y="297"/>
                </a:lnTo>
                <a:lnTo>
                  <a:pt x="166" y="297"/>
                </a:lnTo>
                <a:lnTo>
                  <a:pt x="172" y="301"/>
                </a:lnTo>
                <a:lnTo>
                  <a:pt x="172" y="304"/>
                </a:lnTo>
                <a:lnTo>
                  <a:pt x="175" y="304"/>
                </a:lnTo>
                <a:lnTo>
                  <a:pt x="175" y="304"/>
                </a:lnTo>
                <a:lnTo>
                  <a:pt x="163" y="326"/>
                </a:lnTo>
                <a:lnTo>
                  <a:pt x="166" y="329"/>
                </a:lnTo>
                <a:lnTo>
                  <a:pt x="169" y="329"/>
                </a:lnTo>
                <a:lnTo>
                  <a:pt x="175" y="329"/>
                </a:lnTo>
                <a:lnTo>
                  <a:pt x="178" y="332"/>
                </a:lnTo>
                <a:lnTo>
                  <a:pt x="178" y="335"/>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4" name="Freeform 192">
            <a:extLst>
              <a:ext uri="{FF2B5EF4-FFF2-40B4-BE49-F238E27FC236}">
                <a16:creationId xmlns:a16="http://schemas.microsoft.com/office/drawing/2014/main" id="{877E7F5E-0181-874D-0ACB-88BC510E4A48}"/>
              </a:ext>
            </a:extLst>
          </p:cNvPr>
          <p:cNvSpPr>
            <a:spLocks noEditPoints="1"/>
          </p:cNvSpPr>
          <p:nvPr userDrawn="1"/>
        </p:nvSpPr>
        <p:spPr bwMode="auto">
          <a:xfrm>
            <a:off x="8159216" y="9295680"/>
            <a:ext cx="365102" cy="409576"/>
          </a:xfrm>
          <a:custGeom>
            <a:avLst/>
            <a:gdLst>
              <a:gd name="T0" fmla="*/ 112 w 115"/>
              <a:gd name="T1" fmla="*/ 29 h 129"/>
              <a:gd name="T2" fmla="*/ 106 w 115"/>
              <a:gd name="T3" fmla="*/ 25 h 129"/>
              <a:gd name="T4" fmla="*/ 100 w 115"/>
              <a:gd name="T5" fmla="*/ 22 h 129"/>
              <a:gd name="T6" fmla="*/ 93 w 115"/>
              <a:gd name="T7" fmla="*/ 25 h 129"/>
              <a:gd name="T8" fmla="*/ 93 w 115"/>
              <a:gd name="T9" fmla="*/ 32 h 129"/>
              <a:gd name="T10" fmla="*/ 84 w 115"/>
              <a:gd name="T11" fmla="*/ 29 h 129"/>
              <a:gd name="T12" fmla="*/ 71 w 115"/>
              <a:gd name="T13" fmla="*/ 22 h 129"/>
              <a:gd name="T14" fmla="*/ 71 w 115"/>
              <a:gd name="T15" fmla="*/ 19 h 129"/>
              <a:gd name="T16" fmla="*/ 62 w 115"/>
              <a:gd name="T17" fmla="*/ 13 h 129"/>
              <a:gd name="T18" fmla="*/ 46 w 115"/>
              <a:gd name="T19" fmla="*/ 4 h 129"/>
              <a:gd name="T20" fmla="*/ 40 w 115"/>
              <a:gd name="T21" fmla="*/ 7 h 129"/>
              <a:gd name="T22" fmla="*/ 25 w 115"/>
              <a:gd name="T23" fmla="*/ 13 h 129"/>
              <a:gd name="T24" fmla="*/ 15 w 115"/>
              <a:gd name="T25" fmla="*/ 16 h 129"/>
              <a:gd name="T26" fmla="*/ 18 w 115"/>
              <a:gd name="T27" fmla="*/ 22 h 129"/>
              <a:gd name="T28" fmla="*/ 18 w 115"/>
              <a:gd name="T29" fmla="*/ 32 h 129"/>
              <a:gd name="T30" fmla="*/ 12 w 115"/>
              <a:gd name="T31" fmla="*/ 41 h 129"/>
              <a:gd name="T32" fmla="*/ 9 w 115"/>
              <a:gd name="T33" fmla="*/ 50 h 129"/>
              <a:gd name="T34" fmla="*/ 3 w 115"/>
              <a:gd name="T35" fmla="*/ 54 h 129"/>
              <a:gd name="T36" fmla="*/ 3 w 115"/>
              <a:gd name="T37" fmla="*/ 63 h 129"/>
              <a:gd name="T38" fmla="*/ 6 w 115"/>
              <a:gd name="T39" fmla="*/ 72 h 129"/>
              <a:gd name="T40" fmla="*/ 0 w 115"/>
              <a:gd name="T41" fmla="*/ 75 h 129"/>
              <a:gd name="T42" fmla="*/ 6 w 115"/>
              <a:gd name="T43" fmla="*/ 82 h 129"/>
              <a:gd name="T44" fmla="*/ 15 w 115"/>
              <a:gd name="T45" fmla="*/ 88 h 129"/>
              <a:gd name="T46" fmla="*/ 18 w 115"/>
              <a:gd name="T47" fmla="*/ 82 h 129"/>
              <a:gd name="T48" fmla="*/ 21 w 115"/>
              <a:gd name="T49" fmla="*/ 75 h 129"/>
              <a:gd name="T50" fmla="*/ 21 w 115"/>
              <a:gd name="T51" fmla="*/ 82 h 129"/>
              <a:gd name="T52" fmla="*/ 21 w 115"/>
              <a:gd name="T53" fmla="*/ 79 h 129"/>
              <a:gd name="T54" fmla="*/ 25 w 115"/>
              <a:gd name="T55" fmla="*/ 82 h 129"/>
              <a:gd name="T56" fmla="*/ 25 w 115"/>
              <a:gd name="T57" fmla="*/ 91 h 129"/>
              <a:gd name="T58" fmla="*/ 18 w 115"/>
              <a:gd name="T59" fmla="*/ 101 h 129"/>
              <a:gd name="T60" fmla="*/ 21 w 115"/>
              <a:gd name="T61" fmla="*/ 107 h 129"/>
              <a:gd name="T62" fmla="*/ 12 w 115"/>
              <a:gd name="T63" fmla="*/ 113 h 129"/>
              <a:gd name="T64" fmla="*/ 18 w 115"/>
              <a:gd name="T65" fmla="*/ 116 h 129"/>
              <a:gd name="T66" fmla="*/ 25 w 115"/>
              <a:gd name="T67" fmla="*/ 119 h 129"/>
              <a:gd name="T68" fmla="*/ 34 w 115"/>
              <a:gd name="T69" fmla="*/ 119 h 129"/>
              <a:gd name="T70" fmla="*/ 43 w 115"/>
              <a:gd name="T71" fmla="*/ 129 h 129"/>
              <a:gd name="T72" fmla="*/ 62 w 115"/>
              <a:gd name="T73" fmla="*/ 94 h 129"/>
              <a:gd name="T74" fmla="*/ 84 w 115"/>
              <a:gd name="T75" fmla="*/ 85 h 129"/>
              <a:gd name="T76" fmla="*/ 106 w 115"/>
              <a:gd name="T77" fmla="*/ 66 h 129"/>
              <a:gd name="T78" fmla="*/ 115 w 115"/>
              <a:gd name="T79" fmla="*/ 54 h 129"/>
              <a:gd name="T80" fmla="*/ 115 w 115"/>
              <a:gd name="T81" fmla="*/ 47 h 129"/>
              <a:gd name="T82" fmla="*/ 112 w 115"/>
              <a:gd name="T83" fmla="*/ 35 h 129"/>
              <a:gd name="T84" fmla="*/ 112 w 115"/>
              <a:gd name="T85" fmla="*/ 29 h 129"/>
              <a:gd name="T86" fmla="*/ 112 w 115"/>
              <a:gd name="T87" fmla="*/ 29 h 129"/>
              <a:gd name="T88" fmla="*/ 15 w 115"/>
              <a:gd name="T89" fmla="*/ 91 h 129"/>
              <a:gd name="T90" fmla="*/ 18 w 115"/>
              <a:gd name="T91" fmla="*/ 85 h 129"/>
              <a:gd name="T92" fmla="*/ 18 w 115"/>
              <a:gd name="T93" fmla="*/ 88 h 129"/>
              <a:gd name="T94" fmla="*/ 18 w 115"/>
              <a:gd name="T95" fmla="*/ 94 h 129"/>
              <a:gd name="T96" fmla="*/ 15 w 115"/>
              <a:gd name="T97" fmla="*/ 9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5" h="129">
                <a:moveTo>
                  <a:pt x="112" y="29"/>
                </a:moveTo>
                <a:lnTo>
                  <a:pt x="112" y="29"/>
                </a:lnTo>
                <a:lnTo>
                  <a:pt x="109" y="29"/>
                </a:lnTo>
                <a:lnTo>
                  <a:pt x="106" y="25"/>
                </a:lnTo>
                <a:lnTo>
                  <a:pt x="103" y="25"/>
                </a:lnTo>
                <a:lnTo>
                  <a:pt x="100" y="22"/>
                </a:lnTo>
                <a:lnTo>
                  <a:pt x="96" y="22"/>
                </a:lnTo>
                <a:lnTo>
                  <a:pt x="93" y="25"/>
                </a:lnTo>
                <a:lnTo>
                  <a:pt x="93" y="29"/>
                </a:lnTo>
                <a:lnTo>
                  <a:pt x="93" y="32"/>
                </a:lnTo>
                <a:lnTo>
                  <a:pt x="87" y="29"/>
                </a:lnTo>
                <a:lnTo>
                  <a:pt x="84" y="29"/>
                </a:lnTo>
                <a:lnTo>
                  <a:pt x="78" y="25"/>
                </a:lnTo>
                <a:lnTo>
                  <a:pt x="71" y="22"/>
                </a:lnTo>
                <a:lnTo>
                  <a:pt x="68" y="22"/>
                </a:lnTo>
                <a:lnTo>
                  <a:pt x="71" y="19"/>
                </a:lnTo>
                <a:lnTo>
                  <a:pt x="65" y="13"/>
                </a:lnTo>
                <a:lnTo>
                  <a:pt x="62" y="13"/>
                </a:lnTo>
                <a:lnTo>
                  <a:pt x="53" y="7"/>
                </a:lnTo>
                <a:lnTo>
                  <a:pt x="46" y="4"/>
                </a:lnTo>
                <a:lnTo>
                  <a:pt x="40" y="0"/>
                </a:lnTo>
                <a:lnTo>
                  <a:pt x="40" y="7"/>
                </a:lnTo>
                <a:lnTo>
                  <a:pt x="34" y="7"/>
                </a:lnTo>
                <a:lnTo>
                  <a:pt x="25" y="13"/>
                </a:lnTo>
                <a:lnTo>
                  <a:pt x="21" y="13"/>
                </a:lnTo>
                <a:lnTo>
                  <a:pt x="15" y="16"/>
                </a:lnTo>
                <a:lnTo>
                  <a:pt x="18" y="19"/>
                </a:lnTo>
                <a:lnTo>
                  <a:pt x="18" y="22"/>
                </a:lnTo>
                <a:lnTo>
                  <a:pt x="18" y="25"/>
                </a:lnTo>
                <a:lnTo>
                  <a:pt x="18" y="32"/>
                </a:lnTo>
                <a:lnTo>
                  <a:pt x="12" y="38"/>
                </a:lnTo>
                <a:lnTo>
                  <a:pt x="12" y="41"/>
                </a:lnTo>
                <a:lnTo>
                  <a:pt x="12" y="44"/>
                </a:lnTo>
                <a:lnTo>
                  <a:pt x="9" y="50"/>
                </a:lnTo>
                <a:lnTo>
                  <a:pt x="6" y="50"/>
                </a:lnTo>
                <a:lnTo>
                  <a:pt x="3" y="54"/>
                </a:lnTo>
                <a:lnTo>
                  <a:pt x="3" y="57"/>
                </a:lnTo>
                <a:lnTo>
                  <a:pt x="3" y="63"/>
                </a:lnTo>
                <a:lnTo>
                  <a:pt x="3" y="66"/>
                </a:lnTo>
                <a:lnTo>
                  <a:pt x="6" y="72"/>
                </a:lnTo>
                <a:lnTo>
                  <a:pt x="3" y="75"/>
                </a:lnTo>
                <a:lnTo>
                  <a:pt x="0" y="75"/>
                </a:lnTo>
                <a:lnTo>
                  <a:pt x="3" y="79"/>
                </a:lnTo>
                <a:lnTo>
                  <a:pt x="6" y="82"/>
                </a:lnTo>
                <a:lnTo>
                  <a:pt x="12" y="85"/>
                </a:lnTo>
                <a:lnTo>
                  <a:pt x="15" y="88"/>
                </a:lnTo>
                <a:lnTo>
                  <a:pt x="15" y="85"/>
                </a:lnTo>
                <a:lnTo>
                  <a:pt x="18" y="82"/>
                </a:lnTo>
                <a:lnTo>
                  <a:pt x="18" y="79"/>
                </a:lnTo>
                <a:lnTo>
                  <a:pt x="21" y="75"/>
                </a:lnTo>
                <a:lnTo>
                  <a:pt x="21" y="79"/>
                </a:lnTo>
                <a:lnTo>
                  <a:pt x="21" y="82"/>
                </a:lnTo>
                <a:lnTo>
                  <a:pt x="21" y="82"/>
                </a:lnTo>
                <a:lnTo>
                  <a:pt x="21" y="79"/>
                </a:lnTo>
                <a:lnTo>
                  <a:pt x="25" y="79"/>
                </a:lnTo>
                <a:lnTo>
                  <a:pt x="25" y="82"/>
                </a:lnTo>
                <a:lnTo>
                  <a:pt x="25" y="88"/>
                </a:lnTo>
                <a:lnTo>
                  <a:pt x="25" y="91"/>
                </a:lnTo>
                <a:lnTo>
                  <a:pt x="21" y="97"/>
                </a:lnTo>
                <a:lnTo>
                  <a:pt x="18" y="101"/>
                </a:lnTo>
                <a:lnTo>
                  <a:pt x="18" y="101"/>
                </a:lnTo>
                <a:lnTo>
                  <a:pt x="21" y="107"/>
                </a:lnTo>
                <a:lnTo>
                  <a:pt x="15" y="110"/>
                </a:lnTo>
                <a:lnTo>
                  <a:pt x="12" y="113"/>
                </a:lnTo>
                <a:lnTo>
                  <a:pt x="15" y="116"/>
                </a:lnTo>
                <a:lnTo>
                  <a:pt x="18" y="116"/>
                </a:lnTo>
                <a:lnTo>
                  <a:pt x="21" y="116"/>
                </a:lnTo>
                <a:lnTo>
                  <a:pt x="25" y="119"/>
                </a:lnTo>
                <a:lnTo>
                  <a:pt x="31" y="119"/>
                </a:lnTo>
                <a:lnTo>
                  <a:pt x="34" y="119"/>
                </a:lnTo>
                <a:lnTo>
                  <a:pt x="40" y="129"/>
                </a:lnTo>
                <a:lnTo>
                  <a:pt x="43" y="129"/>
                </a:lnTo>
                <a:lnTo>
                  <a:pt x="46" y="126"/>
                </a:lnTo>
                <a:lnTo>
                  <a:pt x="62" y="94"/>
                </a:lnTo>
                <a:lnTo>
                  <a:pt x="62" y="91"/>
                </a:lnTo>
                <a:lnTo>
                  <a:pt x="84" y="85"/>
                </a:lnTo>
                <a:lnTo>
                  <a:pt x="93" y="79"/>
                </a:lnTo>
                <a:lnTo>
                  <a:pt x="106" y="66"/>
                </a:lnTo>
                <a:lnTo>
                  <a:pt x="112" y="54"/>
                </a:lnTo>
                <a:lnTo>
                  <a:pt x="115" y="54"/>
                </a:lnTo>
                <a:lnTo>
                  <a:pt x="115" y="50"/>
                </a:lnTo>
                <a:lnTo>
                  <a:pt x="115" y="47"/>
                </a:lnTo>
                <a:lnTo>
                  <a:pt x="115" y="41"/>
                </a:lnTo>
                <a:lnTo>
                  <a:pt x="112" y="35"/>
                </a:lnTo>
                <a:lnTo>
                  <a:pt x="112" y="32"/>
                </a:lnTo>
                <a:lnTo>
                  <a:pt x="112" y="29"/>
                </a:lnTo>
                <a:lnTo>
                  <a:pt x="112" y="29"/>
                </a:lnTo>
                <a:lnTo>
                  <a:pt x="112" y="29"/>
                </a:lnTo>
                <a:close/>
                <a:moveTo>
                  <a:pt x="15" y="94"/>
                </a:moveTo>
                <a:lnTo>
                  <a:pt x="15" y="91"/>
                </a:lnTo>
                <a:lnTo>
                  <a:pt x="15" y="88"/>
                </a:lnTo>
                <a:lnTo>
                  <a:pt x="18" y="85"/>
                </a:lnTo>
                <a:lnTo>
                  <a:pt x="18" y="85"/>
                </a:lnTo>
                <a:lnTo>
                  <a:pt x="18" y="88"/>
                </a:lnTo>
                <a:lnTo>
                  <a:pt x="18" y="91"/>
                </a:lnTo>
                <a:lnTo>
                  <a:pt x="18" y="94"/>
                </a:lnTo>
                <a:lnTo>
                  <a:pt x="15" y="94"/>
                </a:lnTo>
                <a:lnTo>
                  <a:pt x="15" y="94"/>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5" name="Freeform 193">
            <a:extLst>
              <a:ext uri="{FF2B5EF4-FFF2-40B4-BE49-F238E27FC236}">
                <a16:creationId xmlns:a16="http://schemas.microsoft.com/office/drawing/2014/main" id="{EE2A6835-450E-2E8B-CFC8-04F45F113745}"/>
              </a:ext>
            </a:extLst>
          </p:cNvPr>
          <p:cNvSpPr>
            <a:spLocks/>
          </p:cNvSpPr>
          <p:nvPr userDrawn="1"/>
        </p:nvSpPr>
        <p:spPr bwMode="auto">
          <a:xfrm>
            <a:off x="8136993" y="9387761"/>
            <a:ext cx="803226" cy="1190626"/>
          </a:xfrm>
          <a:custGeom>
            <a:avLst/>
            <a:gdLst>
              <a:gd name="T0" fmla="*/ 232 w 253"/>
              <a:gd name="T1" fmla="*/ 222 h 375"/>
              <a:gd name="T2" fmla="*/ 219 w 253"/>
              <a:gd name="T3" fmla="*/ 222 h 375"/>
              <a:gd name="T4" fmla="*/ 219 w 253"/>
              <a:gd name="T5" fmla="*/ 197 h 375"/>
              <a:gd name="T6" fmla="*/ 200 w 253"/>
              <a:gd name="T7" fmla="*/ 200 h 375"/>
              <a:gd name="T8" fmla="*/ 178 w 253"/>
              <a:gd name="T9" fmla="*/ 187 h 375"/>
              <a:gd name="T10" fmla="*/ 157 w 253"/>
              <a:gd name="T11" fmla="*/ 165 h 375"/>
              <a:gd name="T12" fmla="*/ 150 w 253"/>
              <a:gd name="T13" fmla="*/ 153 h 375"/>
              <a:gd name="T14" fmla="*/ 153 w 253"/>
              <a:gd name="T15" fmla="*/ 137 h 375"/>
              <a:gd name="T16" fmla="*/ 163 w 253"/>
              <a:gd name="T17" fmla="*/ 128 h 375"/>
              <a:gd name="T18" fmla="*/ 166 w 253"/>
              <a:gd name="T19" fmla="*/ 109 h 375"/>
              <a:gd name="T20" fmla="*/ 178 w 253"/>
              <a:gd name="T21" fmla="*/ 97 h 375"/>
              <a:gd name="T22" fmla="*/ 207 w 253"/>
              <a:gd name="T23" fmla="*/ 87 h 375"/>
              <a:gd name="T24" fmla="*/ 216 w 253"/>
              <a:gd name="T25" fmla="*/ 84 h 375"/>
              <a:gd name="T26" fmla="*/ 225 w 253"/>
              <a:gd name="T27" fmla="*/ 87 h 375"/>
              <a:gd name="T28" fmla="*/ 213 w 253"/>
              <a:gd name="T29" fmla="*/ 78 h 375"/>
              <a:gd name="T30" fmla="*/ 219 w 253"/>
              <a:gd name="T31" fmla="*/ 53 h 375"/>
              <a:gd name="T32" fmla="*/ 210 w 253"/>
              <a:gd name="T33" fmla="*/ 46 h 375"/>
              <a:gd name="T34" fmla="*/ 188 w 253"/>
              <a:gd name="T35" fmla="*/ 46 h 375"/>
              <a:gd name="T36" fmla="*/ 172 w 253"/>
              <a:gd name="T37" fmla="*/ 50 h 375"/>
              <a:gd name="T38" fmla="*/ 166 w 253"/>
              <a:gd name="T39" fmla="*/ 43 h 375"/>
              <a:gd name="T40" fmla="*/ 160 w 253"/>
              <a:gd name="T41" fmla="*/ 31 h 375"/>
              <a:gd name="T42" fmla="*/ 141 w 253"/>
              <a:gd name="T43" fmla="*/ 18 h 375"/>
              <a:gd name="T44" fmla="*/ 128 w 253"/>
              <a:gd name="T45" fmla="*/ 6 h 375"/>
              <a:gd name="T46" fmla="*/ 119 w 253"/>
              <a:gd name="T47" fmla="*/ 3 h 375"/>
              <a:gd name="T48" fmla="*/ 122 w 253"/>
              <a:gd name="T49" fmla="*/ 21 h 375"/>
              <a:gd name="T50" fmla="*/ 100 w 253"/>
              <a:gd name="T51" fmla="*/ 50 h 375"/>
              <a:gd name="T52" fmla="*/ 53 w 253"/>
              <a:gd name="T53" fmla="*/ 97 h 375"/>
              <a:gd name="T54" fmla="*/ 38 w 253"/>
              <a:gd name="T55" fmla="*/ 90 h 375"/>
              <a:gd name="T56" fmla="*/ 22 w 253"/>
              <a:gd name="T57" fmla="*/ 87 h 375"/>
              <a:gd name="T58" fmla="*/ 25 w 253"/>
              <a:gd name="T59" fmla="*/ 72 h 375"/>
              <a:gd name="T60" fmla="*/ 10 w 253"/>
              <a:gd name="T61" fmla="*/ 81 h 375"/>
              <a:gd name="T62" fmla="*/ 0 w 253"/>
              <a:gd name="T63" fmla="*/ 97 h 375"/>
              <a:gd name="T64" fmla="*/ 3 w 253"/>
              <a:gd name="T65" fmla="*/ 106 h 375"/>
              <a:gd name="T66" fmla="*/ 7 w 253"/>
              <a:gd name="T67" fmla="*/ 118 h 375"/>
              <a:gd name="T68" fmla="*/ 10 w 253"/>
              <a:gd name="T69" fmla="*/ 128 h 375"/>
              <a:gd name="T70" fmla="*/ 32 w 253"/>
              <a:gd name="T71" fmla="*/ 140 h 375"/>
              <a:gd name="T72" fmla="*/ 41 w 253"/>
              <a:gd name="T73" fmla="*/ 159 h 375"/>
              <a:gd name="T74" fmla="*/ 57 w 253"/>
              <a:gd name="T75" fmla="*/ 178 h 375"/>
              <a:gd name="T76" fmla="*/ 66 w 253"/>
              <a:gd name="T77" fmla="*/ 197 h 375"/>
              <a:gd name="T78" fmla="*/ 75 w 253"/>
              <a:gd name="T79" fmla="*/ 219 h 375"/>
              <a:gd name="T80" fmla="*/ 78 w 253"/>
              <a:gd name="T81" fmla="*/ 228 h 375"/>
              <a:gd name="T82" fmla="*/ 91 w 253"/>
              <a:gd name="T83" fmla="*/ 247 h 375"/>
              <a:gd name="T84" fmla="*/ 103 w 253"/>
              <a:gd name="T85" fmla="*/ 265 h 375"/>
              <a:gd name="T86" fmla="*/ 107 w 253"/>
              <a:gd name="T87" fmla="*/ 278 h 375"/>
              <a:gd name="T88" fmla="*/ 110 w 253"/>
              <a:gd name="T89" fmla="*/ 287 h 375"/>
              <a:gd name="T90" fmla="*/ 119 w 253"/>
              <a:gd name="T91" fmla="*/ 297 h 375"/>
              <a:gd name="T92" fmla="*/ 132 w 253"/>
              <a:gd name="T93" fmla="*/ 306 h 375"/>
              <a:gd name="T94" fmla="*/ 141 w 253"/>
              <a:gd name="T95" fmla="*/ 312 h 375"/>
              <a:gd name="T96" fmla="*/ 153 w 253"/>
              <a:gd name="T97" fmla="*/ 322 h 375"/>
              <a:gd name="T98" fmla="*/ 163 w 253"/>
              <a:gd name="T99" fmla="*/ 331 h 375"/>
              <a:gd name="T100" fmla="*/ 182 w 253"/>
              <a:gd name="T101" fmla="*/ 337 h 375"/>
              <a:gd name="T102" fmla="*/ 194 w 253"/>
              <a:gd name="T103" fmla="*/ 347 h 375"/>
              <a:gd name="T104" fmla="*/ 203 w 253"/>
              <a:gd name="T105" fmla="*/ 356 h 375"/>
              <a:gd name="T106" fmla="*/ 213 w 253"/>
              <a:gd name="T107" fmla="*/ 362 h 375"/>
              <a:gd name="T108" fmla="*/ 228 w 253"/>
              <a:gd name="T109" fmla="*/ 375 h 375"/>
              <a:gd name="T110" fmla="*/ 244 w 253"/>
              <a:gd name="T111" fmla="*/ 369 h 375"/>
              <a:gd name="T112" fmla="*/ 244 w 253"/>
              <a:gd name="T113" fmla="*/ 353 h 375"/>
              <a:gd name="T114" fmla="*/ 241 w 253"/>
              <a:gd name="T115" fmla="*/ 350 h 375"/>
              <a:gd name="T116" fmla="*/ 253 w 253"/>
              <a:gd name="T117" fmla="*/ 331 h 375"/>
              <a:gd name="T118" fmla="*/ 250 w 253"/>
              <a:gd name="T119" fmla="*/ 306 h 375"/>
              <a:gd name="T120" fmla="*/ 250 w 253"/>
              <a:gd name="T121" fmla="*/ 281 h 375"/>
              <a:gd name="T122" fmla="*/ 253 w 253"/>
              <a:gd name="T123" fmla="*/ 25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375">
                <a:moveTo>
                  <a:pt x="238" y="222"/>
                </a:moveTo>
                <a:lnTo>
                  <a:pt x="235" y="222"/>
                </a:lnTo>
                <a:lnTo>
                  <a:pt x="235" y="222"/>
                </a:lnTo>
                <a:lnTo>
                  <a:pt x="232" y="222"/>
                </a:lnTo>
                <a:lnTo>
                  <a:pt x="228" y="222"/>
                </a:lnTo>
                <a:lnTo>
                  <a:pt x="225" y="222"/>
                </a:lnTo>
                <a:lnTo>
                  <a:pt x="219" y="222"/>
                </a:lnTo>
                <a:lnTo>
                  <a:pt x="219" y="222"/>
                </a:lnTo>
                <a:lnTo>
                  <a:pt x="216" y="215"/>
                </a:lnTo>
                <a:lnTo>
                  <a:pt x="216" y="203"/>
                </a:lnTo>
                <a:lnTo>
                  <a:pt x="216" y="197"/>
                </a:lnTo>
                <a:lnTo>
                  <a:pt x="219" y="197"/>
                </a:lnTo>
                <a:lnTo>
                  <a:pt x="219" y="190"/>
                </a:lnTo>
                <a:lnTo>
                  <a:pt x="216" y="190"/>
                </a:lnTo>
                <a:lnTo>
                  <a:pt x="210" y="194"/>
                </a:lnTo>
                <a:lnTo>
                  <a:pt x="200" y="200"/>
                </a:lnTo>
                <a:lnTo>
                  <a:pt x="191" y="200"/>
                </a:lnTo>
                <a:lnTo>
                  <a:pt x="185" y="200"/>
                </a:lnTo>
                <a:lnTo>
                  <a:pt x="182" y="194"/>
                </a:lnTo>
                <a:lnTo>
                  <a:pt x="178" y="187"/>
                </a:lnTo>
                <a:lnTo>
                  <a:pt x="172" y="187"/>
                </a:lnTo>
                <a:lnTo>
                  <a:pt x="160" y="187"/>
                </a:lnTo>
                <a:lnTo>
                  <a:pt x="166" y="181"/>
                </a:lnTo>
                <a:lnTo>
                  <a:pt x="157" y="165"/>
                </a:lnTo>
                <a:lnTo>
                  <a:pt x="150" y="162"/>
                </a:lnTo>
                <a:lnTo>
                  <a:pt x="150" y="159"/>
                </a:lnTo>
                <a:lnTo>
                  <a:pt x="150" y="156"/>
                </a:lnTo>
                <a:lnTo>
                  <a:pt x="150" y="153"/>
                </a:lnTo>
                <a:lnTo>
                  <a:pt x="150" y="147"/>
                </a:lnTo>
                <a:lnTo>
                  <a:pt x="150" y="143"/>
                </a:lnTo>
                <a:lnTo>
                  <a:pt x="153" y="143"/>
                </a:lnTo>
                <a:lnTo>
                  <a:pt x="153" y="137"/>
                </a:lnTo>
                <a:lnTo>
                  <a:pt x="157" y="134"/>
                </a:lnTo>
                <a:lnTo>
                  <a:pt x="160" y="134"/>
                </a:lnTo>
                <a:lnTo>
                  <a:pt x="163" y="131"/>
                </a:lnTo>
                <a:lnTo>
                  <a:pt x="163" y="128"/>
                </a:lnTo>
                <a:lnTo>
                  <a:pt x="160" y="122"/>
                </a:lnTo>
                <a:lnTo>
                  <a:pt x="166" y="115"/>
                </a:lnTo>
                <a:lnTo>
                  <a:pt x="166" y="112"/>
                </a:lnTo>
                <a:lnTo>
                  <a:pt x="166" y="109"/>
                </a:lnTo>
                <a:lnTo>
                  <a:pt x="166" y="106"/>
                </a:lnTo>
                <a:lnTo>
                  <a:pt x="169" y="103"/>
                </a:lnTo>
                <a:lnTo>
                  <a:pt x="175" y="100"/>
                </a:lnTo>
                <a:lnTo>
                  <a:pt x="178" y="97"/>
                </a:lnTo>
                <a:lnTo>
                  <a:pt x="182" y="97"/>
                </a:lnTo>
                <a:lnTo>
                  <a:pt x="185" y="93"/>
                </a:lnTo>
                <a:lnTo>
                  <a:pt x="194" y="90"/>
                </a:lnTo>
                <a:lnTo>
                  <a:pt x="207" y="87"/>
                </a:lnTo>
                <a:lnTo>
                  <a:pt x="210" y="84"/>
                </a:lnTo>
                <a:lnTo>
                  <a:pt x="210" y="84"/>
                </a:lnTo>
                <a:lnTo>
                  <a:pt x="213" y="84"/>
                </a:lnTo>
                <a:lnTo>
                  <a:pt x="216" y="84"/>
                </a:lnTo>
                <a:lnTo>
                  <a:pt x="219" y="87"/>
                </a:lnTo>
                <a:lnTo>
                  <a:pt x="219" y="87"/>
                </a:lnTo>
                <a:lnTo>
                  <a:pt x="222" y="90"/>
                </a:lnTo>
                <a:lnTo>
                  <a:pt x="225" y="87"/>
                </a:lnTo>
                <a:lnTo>
                  <a:pt x="225" y="81"/>
                </a:lnTo>
                <a:lnTo>
                  <a:pt x="222" y="78"/>
                </a:lnTo>
                <a:lnTo>
                  <a:pt x="216" y="78"/>
                </a:lnTo>
                <a:lnTo>
                  <a:pt x="213" y="78"/>
                </a:lnTo>
                <a:lnTo>
                  <a:pt x="210" y="75"/>
                </a:lnTo>
                <a:lnTo>
                  <a:pt x="222" y="53"/>
                </a:lnTo>
                <a:lnTo>
                  <a:pt x="222" y="53"/>
                </a:lnTo>
                <a:lnTo>
                  <a:pt x="219" y="53"/>
                </a:lnTo>
                <a:lnTo>
                  <a:pt x="219" y="50"/>
                </a:lnTo>
                <a:lnTo>
                  <a:pt x="213" y="46"/>
                </a:lnTo>
                <a:lnTo>
                  <a:pt x="210" y="46"/>
                </a:lnTo>
                <a:lnTo>
                  <a:pt x="210" y="46"/>
                </a:lnTo>
                <a:lnTo>
                  <a:pt x="207" y="46"/>
                </a:lnTo>
                <a:lnTo>
                  <a:pt x="200" y="50"/>
                </a:lnTo>
                <a:lnTo>
                  <a:pt x="194" y="46"/>
                </a:lnTo>
                <a:lnTo>
                  <a:pt x="188" y="46"/>
                </a:lnTo>
                <a:lnTo>
                  <a:pt x="182" y="50"/>
                </a:lnTo>
                <a:lnTo>
                  <a:pt x="182" y="50"/>
                </a:lnTo>
                <a:lnTo>
                  <a:pt x="175" y="50"/>
                </a:lnTo>
                <a:lnTo>
                  <a:pt x="172" y="50"/>
                </a:lnTo>
                <a:lnTo>
                  <a:pt x="169" y="50"/>
                </a:lnTo>
                <a:lnTo>
                  <a:pt x="166" y="50"/>
                </a:lnTo>
                <a:lnTo>
                  <a:pt x="163" y="46"/>
                </a:lnTo>
                <a:lnTo>
                  <a:pt x="166" y="43"/>
                </a:lnTo>
                <a:lnTo>
                  <a:pt x="163" y="40"/>
                </a:lnTo>
                <a:lnTo>
                  <a:pt x="160" y="37"/>
                </a:lnTo>
                <a:lnTo>
                  <a:pt x="160" y="37"/>
                </a:lnTo>
                <a:lnTo>
                  <a:pt x="160" y="31"/>
                </a:lnTo>
                <a:lnTo>
                  <a:pt x="153" y="28"/>
                </a:lnTo>
                <a:lnTo>
                  <a:pt x="144" y="25"/>
                </a:lnTo>
                <a:lnTo>
                  <a:pt x="144" y="25"/>
                </a:lnTo>
                <a:lnTo>
                  <a:pt x="141" y="18"/>
                </a:lnTo>
                <a:lnTo>
                  <a:pt x="138" y="12"/>
                </a:lnTo>
                <a:lnTo>
                  <a:pt x="135" y="9"/>
                </a:lnTo>
                <a:lnTo>
                  <a:pt x="135" y="6"/>
                </a:lnTo>
                <a:lnTo>
                  <a:pt x="128" y="6"/>
                </a:lnTo>
                <a:lnTo>
                  <a:pt x="122" y="3"/>
                </a:lnTo>
                <a:lnTo>
                  <a:pt x="119" y="0"/>
                </a:lnTo>
                <a:lnTo>
                  <a:pt x="119" y="0"/>
                </a:lnTo>
                <a:lnTo>
                  <a:pt x="119" y="3"/>
                </a:lnTo>
                <a:lnTo>
                  <a:pt x="119" y="6"/>
                </a:lnTo>
                <a:lnTo>
                  <a:pt x="122" y="12"/>
                </a:lnTo>
                <a:lnTo>
                  <a:pt x="122" y="18"/>
                </a:lnTo>
                <a:lnTo>
                  <a:pt x="122" y="21"/>
                </a:lnTo>
                <a:lnTo>
                  <a:pt x="122" y="25"/>
                </a:lnTo>
                <a:lnTo>
                  <a:pt x="119" y="25"/>
                </a:lnTo>
                <a:lnTo>
                  <a:pt x="113" y="37"/>
                </a:lnTo>
                <a:lnTo>
                  <a:pt x="100" y="50"/>
                </a:lnTo>
                <a:lnTo>
                  <a:pt x="91" y="56"/>
                </a:lnTo>
                <a:lnTo>
                  <a:pt x="69" y="62"/>
                </a:lnTo>
                <a:lnTo>
                  <a:pt x="69" y="65"/>
                </a:lnTo>
                <a:lnTo>
                  <a:pt x="53" y="97"/>
                </a:lnTo>
                <a:lnTo>
                  <a:pt x="50" y="100"/>
                </a:lnTo>
                <a:lnTo>
                  <a:pt x="47" y="100"/>
                </a:lnTo>
                <a:lnTo>
                  <a:pt x="41" y="90"/>
                </a:lnTo>
                <a:lnTo>
                  <a:pt x="38" y="90"/>
                </a:lnTo>
                <a:lnTo>
                  <a:pt x="32" y="90"/>
                </a:lnTo>
                <a:lnTo>
                  <a:pt x="28" y="87"/>
                </a:lnTo>
                <a:lnTo>
                  <a:pt x="25" y="87"/>
                </a:lnTo>
                <a:lnTo>
                  <a:pt x="22" y="87"/>
                </a:lnTo>
                <a:lnTo>
                  <a:pt x="19" y="84"/>
                </a:lnTo>
                <a:lnTo>
                  <a:pt x="22" y="81"/>
                </a:lnTo>
                <a:lnTo>
                  <a:pt x="28" y="78"/>
                </a:lnTo>
                <a:lnTo>
                  <a:pt x="25" y="72"/>
                </a:lnTo>
                <a:lnTo>
                  <a:pt x="25" y="72"/>
                </a:lnTo>
                <a:lnTo>
                  <a:pt x="25" y="72"/>
                </a:lnTo>
                <a:lnTo>
                  <a:pt x="16" y="78"/>
                </a:lnTo>
                <a:lnTo>
                  <a:pt x="10" y="81"/>
                </a:lnTo>
                <a:lnTo>
                  <a:pt x="3" y="87"/>
                </a:lnTo>
                <a:lnTo>
                  <a:pt x="3" y="90"/>
                </a:lnTo>
                <a:lnTo>
                  <a:pt x="0" y="97"/>
                </a:lnTo>
                <a:lnTo>
                  <a:pt x="0" y="97"/>
                </a:lnTo>
                <a:lnTo>
                  <a:pt x="3" y="100"/>
                </a:lnTo>
                <a:lnTo>
                  <a:pt x="7" y="103"/>
                </a:lnTo>
                <a:lnTo>
                  <a:pt x="3" y="103"/>
                </a:lnTo>
                <a:lnTo>
                  <a:pt x="3" y="106"/>
                </a:lnTo>
                <a:lnTo>
                  <a:pt x="7" y="109"/>
                </a:lnTo>
                <a:lnTo>
                  <a:pt x="10" y="115"/>
                </a:lnTo>
                <a:lnTo>
                  <a:pt x="10" y="118"/>
                </a:lnTo>
                <a:lnTo>
                  <a:pt x="7" y="118"/>
                </a:lnTo>
                <a:lnTo>
                  <a:pt x="3" y="122"/>
                </a:lnTo>
                <a:lnTo>
                  <a:pt x="0" y="125"/>
                </a:lnTo>
                <a:lnTo>
                  <a:pt x="7" y="128"/>
                </a:lnTo>
                <a:lnTo>
                  <a:pt x="10" y="128"/>
                </a:lnTo>
                <a:lnTo>
                  <a:pt x="16" y="134"/>
                </a:lnTo>
                <a:lnTo>
                  <a:pt x="19" y="134"/>
                </a:lnTo>
                <a:lnTo>
                  <a:pt x="28" y="140"/>
                </a:lnTo>
                <a:lnTo>
                  <a:pt x="32" y="140"/>
                </a:lnTo>
                <a:lnTo>
                  <a:pt x="35" y="143"/>
                </a:lnTo>
                <a:lnTo>
                  <a:pt x="38" y="150"/>
                </a:lnTo>
                <a:lnTo>
                  <a:pt x="38" y="156"/>
                </a:lnTo>
                <a:lnTo>
                  <a:pt x="41" y="159"/>
                </a:lnTo>
                <a:lnTo>
                  <a:pt x="47" y="162"/>
                </a:lnTo>
                <a:lnTo>
                  <a:pt x="53" y="168"/>
                </a:lnTo>
                <a:lnTo>
                  <a:pt x="53" y="175"/>
                </a:lnTo>
                <a:lnTo>
                  <a:pt x="57" y="178"/>
                </a:lnTo>
                <a:lnTo>
                  <a:pt x="57" y="184"/>
                </a:lnTo>
                <a:lnTo>
                  <a:pt x="60" y="190"/>
                </a:lnTo>
                <a:lnTo>
                  <a:pt x="63" y="190"/>
                </a:lnTo>
                <a:lnTo>
                  <a:pt x="66" y="197"/>
                </a:lnTo>
                <a:lnTo>
                  <a:pt x="66" y="203"/>
                </a:lnTo>
                <a:lnTo>
                  <a:pt x="66" y="203"/>
                </a:lnTo>
                <a:lnTo>
                  <a:pt x="69" y="209"/>
                </a:lnTo>
                <a:lnTo>
                  <a:pt x="75" y="219"/>
                </a:lnTo>
                <a:lnTo>
                  <a:pt x="75" y="222"/>
                </a:lnTo>
                <a:lnTo>
                  <a:pt x="75" y="225"/>
                </a:lnTo>
                <a:lnTo>
                  <a:pt x="75" y="228"/>
                </a:lnTo>
                <a:lnTo>
                  <a:pt x="78" y="228"/>
                </a:lnTo>
                <a:lnTo>
                  <a:pt x="85" y="234"/>
                </a:lnTo>
                <a:lnTo>
                  <a:pt x="88" y="237"/>
                </a:lnTo>
                <a:lnTo>
                  <a:pt x="88" y="244"/>
                </a:lnTo>
                <a:lnTo>
                  <a:pt x="91" y="247"/>
                </a:lnTo>
                <a:lnTo>
                  <a:pt x="94" y="250"/>
                </a:lnTo>
                <a:lnTo>
                  <a:pt x="97" y="253"/>
                </a:lnTo>
                <a:lnTo>
                  <a:pt x="100" y="262"/>
                </a:lnTo>
                <a:lnTo>
                  <a:pt x="103" y="265"/>
                </a:lnTo>
                <a:lnTo>
                  <a:pt x="110" y="275"/>
                </a:lnTo>
                <a:lnTo>
                  <a:pt x="110" y="278"/>
                </a:lnTo>
                <a:lnTo>
                  <a:pt x="107" y="281"/>
                </a:lnTo>
                <a:lnTo>
                  <a:pt x="107" y="278"/>
                </a:lnTo>
                <a:lnTo>
                  <a:pt x="107" y="281"/>
                </a:lnTo>
                <a:lnTo>
                  <a:pt x="107" y="284"/>
                </a:lnTo>
                <a:lnTo>
                  <a:pt x="107" y="287"/>
                </a:lnTo>
                <a:lnTo>
                  <a:pt x="110" y="287"/>
                </a:lnTo>
                <a:lnTo>
                  <a:pt x="113" y="287"/>
                </a:lnTo>
                <a:lnTo>
                  <a:pt x="113" y="290"/>
                </a:lnTo>
                <a:lnTo>
                  <a:pt x="110" y="294"/>
                </a:lnTo>
                <a:lnTo>
                  <a:pt x="119" y="297"/>
                </a:lnTo>
                <a:lnTo>
                  <a:pt x="125" y="300"/>
                </a:lnTo>
                <a:lnTo>
                  <a:pt x="125" y="303"/>
                </a:lnTo>
                <a:lnTo>
                  <a:pt x="128" y="306"/>
                </a:lnTo>
                <a:lnTo>
                  <a:pt x="132" y="306"/>
                </a:lnTo>
                <a:lnTo>
                  <a:pt x="132" y="309"/>
                </a:lnTo>
                <a:lnTo>
                  <a:pt x="135" y="312"/>
                </a:lnTo>
                <a:lnTo>
                  <a:pt x="135" y="316"/>
                </a:lnTo>
                <a:lnTo>
                  <a:pt x="141" y="312"/>
                </a:lnTo>
                <a:lnTo>
                  <a:pt x="144" y="312"/>
                </a:lnTo>
                <a:lnTo>
                  <a:pt x="144" y="316"/>
                </a:lnTo>
                <a:lnTo>
                  <a:pt x="147" y="319"/>
                </a:lnTo>
                <a:lnTo>
                  <a:pt x="153" y="322"/>
                </a:lnTo>
                <a:lnTo>
                  <a:pt x="157" y="325"/>
                </a:lnTo>
                <a:lnTo>
                  <a:pt x="157" y="328"/>
                </a:lnTo>
                <a:lnTo>
                  <a:pt x="160" y="328"/>
                </a:lnTo>
                <a:lnTo>
                  <a:pt x="163" y="331"/>
                </a:lnTo>
                <a:lnTo>
                  <a:pt x="166" y="331"/>
                </a:lnTo>
                <a:lnTo>
                  <a:pt x="169" y="331"/>
                </a:lnTo>
                <a:lnTo>
                  <a:pt x="175" y="337"/>
                </a:lnTo>
                <a:lnTo>
                  <a:pt x="182" y="337"/>
                </a:lnTo>
                <a:lnTo>
                  <a:pt x="185" y="337"/>
                </a:lnTo>
                <a:lnTo>
                  <a:pt x="188" y="341"/>
                </a:lnTo>
                <a:lnTo>
                  <a:pt x="188" y="341"/>
                </a:lnTo>
                <a:lnTo>
                  <a:pt x="194" y="347"/>
                </a:lnTo>
                <a:lnTo>
                  <a:pt x="197" y="347"/>
                </a:lnTo>
                <a:lnTo>
                  <a:pt x="200" y="353"/>
                </a:lnTo>
                <a:lnTo>
                  <a:pt x="203" y="353"/>
                </a:lnTo>
                <a:lnTo>
                  <a:pt x="203" y="356"/>
                </a:lnTo>
                <a:lnTo>
                  <a:pt x="203" y="356"/>
                </a:lnTo>
                <a:lnTo>
                  <a:pt x="203" y="359"/>
                </a:lnTo>
                <a:lnTo>
                  <a:pt x="210" y="362"/>
                </a:lnTo>
                <a:lnTo>
                  <a:pt x="213" y="362"/>
                </a:lnTo>
                <a:lnTo>
                  <a:pt x="219" y="369"/>
                </a:lnTo>
                <a:lnTo>
                  <a:pt x="222" y="372"/>
                </a:lnTo>
                <a:lnTo>
                  <a:pt x="225" y="375"/>
                </a:lnTo>
                <a:lnTo>
                  <a:pt x="228" y="375"/>
                </a:lnTo>
                <a:lnTo>
                  <a:pt x="232" y="372"/>
                </a:lnTo>
                <a:lnTo>
                  <a:pt x="238" y="369"/>
                </a:lnTo>
                <a:lnTo>
                  <a:pt x="238" y="369"/>
                </a:lnTo>
                <a:lnTo>
                  <a:pt x="244" y="369"/>
                </a:lnTo>
                <a:lnTo>
                  <a:pt x="244" y="366"/>
                </a:lnTo>
                <a:lnTo>
                  <a:pt x="241" y="362"/>
                </a:lnTo>
                <a:lnTo>
                  <a:pt x="241" y="356"/>
                </a:lnTo>
                <a:lnTo>
                  <a:pt x="244" y="353"/>
                </a:lnTo>
                <a:lnTo>
                  <a:pt x="247" y="356"/>
                </a:lnTo>
                <a:lnTo>
                  <a:pt x="247" y="353"/>
                </a:lnTo>
                <a:lnTo>
                  <a:pt x="244" y="353"/>
                </a:lnTo>
                <a:lnTo>
                  <a:pt x="241" y="350"/>
                </a:lnTo>
                <a:lnTo>
                  <a:pt x="244" y="344"/>
                </a:lnTo>
                <a:lnTo>
                  <a:pt x="250" y="341"/>
                </a:lnTo>
                <a:lnTo>
                  <a:pt x="253" y="334"/>
                </a:lnTo>
                <a:lnTo>
                  <a:pt x="253" y="331"/>
                </a:lnTo>
                <a:lnTo>
                  <a:pt x="247" y="319"/>
                </a:lnTo>
                <a:lnTo>
                  <a:pt x="250" y="316"/>
                </a:lnTo>
                <a:lnTo>
                  <a:pt x="250" y="309"/>
                </a:lnTo>
                <a:lnTo>
                  <a:pt x="250" y="306"/>
                </a:lnTo>
                <a:lnTo>
                  <a:pt x="247" y="303"/>
                </a:lnTo>
                <a:lnTo>
                  <a:pt x="250" y="300"/>
                </a:lnTo>
                <a:lnTo>
                  <a:pt x="250" y="294"/>
                </a:lnTo>
                <a:lnTo>
                  <a:pt x="250" y="281"/>
                </a:lnTo>
                <a:lnTo>
                  <a:pt x="250" y="275"/>
                </a:lnTo>
                <a:lnTo>
                  <a:pt x="250" y="269"/>
                </a:lnTo>
                <a:lnTo>
                  <a:pt x="250" y="256"/>
                </a:lnTo>
                <a:lnTo>
                  <a:pt x="253" y="250"/>
                </a:lnTo>
                <a:lnTo>
                  <a:pt x="253" y="247"/>
                </a:lnTo>
                <a:lnTo>
                  <a:pt x="238" y="222"/>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6" name="Freeform 194">
            <a:extLst>
              <a:ext uri="{FF2B5EF4-FFF2-40B4-BE49-F238E27FC236}">
                <a16:creationId xmlns:a16="http://schemas.microsoft.com/office/drawing/2014/main" id="{84F21FE4-DAC7-1475-3D86-0152371FB15B}"/>
              </a:ext>
            </a:extLst>
          </p:cNvPr>
          <p:cNvSpPr>
            <a:spLocks/>
          </p:cNvSpPr>
          <p:nvPr userDrawn="1"/>
        </p:nvSpPr>
        <p:spPr bwMode="auto">
          <a:xfrm>
            <a:off x="8892596" y="10003711"/>
            <a:ext cx="774652" cy="873126"/>
          </a:xfrm>
          <a:custGeom>
            <a:avLst/>
            <a:gdLst>
              <a:gd name="T0" fmla="*/ 234 w 244"/>
              <a:gd name="T1" fmla="*/ 203 h 275"/>
              <a:gd name="T2" fmla="*/ 231 w 244"/>
              <a:gd name="T3" fmla="*/ 156 h 275"/>
              <a:gd name="T4" fmla="*/ 222 w 244"/>
              <a:gd name="T5" fmla="*/ 131 h 275"/>
              <a:gd name="T6" fmla="*/ 181 w 244"/>
              <a:gd name="T7" fmla="*/ 109 h 275"/>
              <a:gd name="T8" fmla="*/ 181 w 244"/>
              <a:gd name="T9" fmla="*/ 90 h 275"/>
              <a:gd name="T10" fmla="*/ 159 w 244"/>
              <a:gd name="T11" fmla="*/ 81 h 275"/>
              <a:gd name="T12" fmla="*/ 150 w 244"/>
              <a:gd name="T13" fmla="*/ 71 h 275"/>
              <a:gd name="T14" fmla="*/ 134 w 244"/>
              <a:gd name="T15" fmla="*/ 68 h 275"/>
              <a:gd name="T16" fmla="*/ 115 w 244"/>
              <a:gd name="T17" fmla="*/ 56 h 275"/>
              <a:gd name="T18" fmla="*/ 100 w 244"/>
              <a:gd name="T19" fmla="*/ 56 h 275"/>
              <a:gd name="T20" fmla="*/ 87 w 244"/>
              <a:gd name="T21" fmla="*/ 43 h 275"/>
              <a:gd name="T22" fmla="*/ 81 w 244"/>
              <a:gd name="T23" fmla="*/ 28 h 275"/>
              <a:gd name="T24" fmla="*/ 81 w 244"/>
              <a:gd name="T25" fmla="*/ 9 h 275"/>
              <a:gd name="T26" fmla="*/ 75 w 244"/>
              <a:gd name="T27" fmla="*/ 3 h 275"/>
              <a:gd name="T28" fmla="*/ 59 w 244"/>
              <a:gd name="T29" fmla="*/ 3 h 275"/>
              <a:gd name="T30" fmla="*/ 40 w 244"/>
              <a:gd name="T31" fmla="*/ 21 h 275"/>
              <a:gd name="T32" fmla="*/ 25 w 244"/>
              <a:gd name="T33" fmla="*/ 25 h 275"/>
              <a:gd name="T34" fmla="*/ 12 w 244"/>
              <a:gd name="T35" fmla="*/ 28 h 275"/>
              <a:gd name="T36" fmla="*/ 15 w 244"/>
              <a:gd name="T37" fmla="*/ 56 h 275"/>
              <a:gd name="T38" fmla="*/ 12 w 244"/>
              <a:gd name="T39" fmla="*/ 81 h 275"/>
              <a:gd name="T40" fmla="*/ 12 w 244"/>
              <a:gd name="T41" fmla="*/ 106 h 275"/>
              <a:gd name="T42" fmla="*/ 12 w 244"/>
              <a:gd name="T43" fmla="*/ 115 h 275"/>
              <a:gd name="T44" fmla="*/ 15 w 244"/>
              <a:gd name="T45" fmla="*/ 137 h 275"/>
              <a:gd name="T46" fmla="*/ 6 w 244"/>
              <a:gd name="T47" fmla="*/ 150 h 275"/>
              <a:gd name="T48" fmla="*/ 9 w 244"/>
              <a:gd name="T49" fmla="*/ 159 h 275"/>
              <a:gd name="T50" fmla="*/ 9 w 244"/>
              <a:gd name="T51" fmla="*/ 165 h 275"/>
              <a:gd name="T52" fmla="*/ 15 w 244"/>
              <a:gd name="T53" fmla="*/ 175 h 275"/>
              <a:gd name="T54" fmla="*/ 19 w 244"/>
              <a:gd name="T55" fmla="*/ 187 h 275"/>
              <a:gd name="T56" fmla="*/ 31 w 244"/>
              <a:gd name="T57" fmla="*/ 203 h 275"/>
              <a:gd name="T58" fmla="*/ 25 w 244"/>
              <a:gd name="T59" fmla="*/ 222 h 275"/>
              <a:gd name="T60" fmla="*/ 53 w 244"/>
              <a:gd name="T61" fmla="*/ 275 h 275"/>
              <a:gd name="T62" fmla="*/ 62 w 244"/>
              <a:gd name="T63" fmla="*/ 272 h 275"/>
              <a:gd name="T64" fmla="*/ 69 w 244"/>
              <a:gd name="T65" fmla="*/ 262 h 275"/>
              <a:gd name="T66" fmla="*/ 84 w 244"/>
              <a:gd name="T67" fmla="*/ 256 h 275"/>
              <a:gd name="T68" fmla="*/ 100 w 244"/>
              <a:gd name="T69" fmla="*/ 256 h 275"/>
              <a:gd name="T70" fmla="*/ 109 w 244"/>
              <a:gd name="T71" fmla="*/ 259 h 275"/>
              <a:gd name="T72" fmla="*/ 115 w 244"/>
              <a:gd name="T73" fmla="*/ 269 h 275"/>
              <a:gd name="T74" fmla="*/ 119 w 244"/>
              <a:gd name="T75" fmla="*/ 256 h 275"/>
              <a:gd name="T76" fmla="*/ 144 w 244"/>
              <a:gd name="T77" fmla="*/ 253 h 275"/>
              <a:gd name="T78" fmla="*/ 153 w 244"/>
              <a:gd name="T79" fmla="*/ 240 h 275"/>
              <a:gd name="T80" fmla="*/ 150 w 244"/>
              <a:gd name="T81" fmla="*/ 225 h 275"/>
              <a:gd name="T82" fmla="*/ 159 w 244"/>
              <a:gd name="T83" fmla="*/ 206 h 275"/>
              <a:gd name="T84" fmla="*/ 212 w 244"/>
              <a:gd name="T85" fmla="*/ 197 h 275"/>
              <a:gd name="T86" fmla="*/ 231 w 244"/>
              <a:gd name="T87" fmla="*/ 20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4" h="275">
                <a:moveTo>
                  <a:pt x="231" y="209"/>
                </a:moveTo>
                <a:lnTo>
                  <a:pt x="234" y="203"/>
                </a:lnTo>
                <a:lnTo>
                  <a:pt x="234" y="203"/>
                </a:lnTo>
                <a:lnTo>
                  <a:pt x="244" y="181"/>
                </a:lnTo>
                <a:lnTo>
                  <a:pt x="244" y="172"/>
                </a:lnTo>
                <a:lnTo>
                  <a:pt x="231" y="156"/>
                </a:lnTo>
                <a:lnTo>
                  <a:pt x="222" y="153"/>
                </a:lnTo>
                <a:lnTo>
                  <a:pt x="222" y="143"/>
                </a:lnTo>
                <a:lnTo>
                  <a:pt x="222" y="131"/>
                </a:lnTo>
                <a:lnTo>
                  <a:pt x="187" y="131"/>
                </a:lnTo>
                <a:lnTo>
                  <a:pt x="187" y="122"/>
                </a:lnTo>
                <a:lnTo>
                  <a:pt x="181" y="109"/>
                </a:lnTo>
                <a:lnTo>
                  <a:pt x="181" y="106"/>
                </a:lnTo>
                <a:lnTo>
                  <a:pt x="181" y="96"/>
                </a:lnTo>
                <a:lnTo>
                  <a:pt x="181" y="90"/>
                </a:lnTo>
                <a:lnTo>
                  <a:pt x="181" y="84"/>
                </a:lnTo>
                <a:lnTo>
                  <a:pt x="172" y="81"/>
                </a:lnTo>
                <a:lnTo>
                  <a:pt x="159" y="81"/>
                </a:lnTo>
                <a:lnTo>
                  <a:pt x="156" y="78"/>
                </a:lnTo>
                <a:lnTo>
                  <a:pt x="153" y="78"/>
                </a:lnTo>
                <a:lnTo>
                  <a:pt x="150" y="71"/>
                </a:lnTo>
                <a:lnTo>
                  <a:pt x="144" y="71"/>
                </a:lnTo>
                <a:lnTo>
                  <a:pt x="137" y="68"/>
                </a:lnTo>
                <a:lnTo>
                  <a:pt x="134" y="68"/>
                </a:lnTo>
                <a:lnTo>
                  <a:pt x="125" y="59"/>
                </a:lnTo>
                <a:lnTo>
                  <a:pt x="122" y="62"/>
                </a:lnTo>
                <a:lnTo>
                  <a:pt x="115" y="56"/>
                </a:lnTo>
                <a:lnTo>
                  <a:pt x="106" y="56"/>
                </a:lnTo>
                <a:lnTo>
                  <a:pt x="106" y="59"/>
                </a:lnTo>
                <a:lnTo>
                  <a:pt x="100" y="56"/>
                </a:lnTo>
                <a:lnTo>
                  <a:pt x="94" y="50"/>
                </a:lnTo>
                <a:lnTo>
                  <a:pt x="90" y="50"/>
                </a:lnTo>
                <a:lnTo>
                  <a:pt x="87" y="43"/>
                </a:lnTo>
                <a:lnTo>
                  <a:pt x="84" y="40"/>
                </a:lnTo>
                <a:lnTo>
                  <a:pt x="81" y="34"/>
                </a:lnTo>
                <a:lnTo>
                  <a:pt x="81" y="28"/>
                </a:lnTo>
                <a:lnTo>
                  <a:pt x="78" y="21"/>
                </a:lnTo>
                <a:lnTo>
                  <a:pt x="81" y="15"/>
                </a:lnTo>
                <a:lnTo>
                  <a:pt x="81" y="9"/>
                </a:lnTo>
                <a:lnTo>
                  <a:pt x="81" y="3"/>
                </a:lnTo>
                <a:lnTo>
                  <a:pt x="78" y="0"/>
                </a:lnTo>
                <a:lnTo>
                  <a:pt x="75" y="3"/>
                </a:lnTo>
                <a:lnTo>
                  <a:pt x="69" y="0"/>
                </a:lnTo>
                <a:lnTo>
                  <a:pt x="65" y="0"/>
                </a:lnTo>
                <a:lnTo>
                  <a:pt x="59" y="3"/>
                </a:lnTo>
                <a:lnTo>
                  <a:pt x="53" y="6"/>
                </a:lnTo>
                <a:lnTo>
                  <a:pt x="44" y="12"/>
                </a:lnTo>
                <a:lnTo>
                  <a:pt x="40" y="21"/>
                </a:lnTo>
                <a:lnTo>
                  <a:pt x="34" y="21"/>
                </a:lnTo>
                <a:lnTo>
                  <a:pt x="31" y="21"/>
                </a:lnTo>
                <a:lnTo>
                  <a:pt x="25" y="25"/>
                </a:lnTo>
                <a:lnTo>
                  <a:pt x="22" y="25"/>
                </a:lnTo>
                <a:lnTo>
                  <a:pt x="15" y="28"/>
                </a:lnTo>
                <a:lnTo>
                  <a:pt x="12" y="28"/>
                </a:lnTo>
                <a:lnTo>
                  <a:pt x="0" y="28"/>
                </a:lnTo>
                <a:lnTo>
                  <a:pt x="15" y="53"/>
                </a:lnTo>
                <a:lnTo>
                  <a:pt x="15" y="56"/>
                </a:lnTo>
                <a:lnTo>
                  <a:pt x="12" y="62"/>
                </a:lnTo>
                <a:lnTo>
                  <a:pt x="12" y="75"/>
                </a:lnTo>
                <a:lnTo>
                  <a:pt x="12" y="81"/>
                </a:lnTo>
                <a:lnTo>
                  <a:pt x="12" y="87"/>
                </a:lnTo>
                <a:lnTo>
                  <a:pt x="12" y="100"/>
                </a:lnTo>
                <a:lnTo>
                  <a:pt x="12" y="106"/>
                </a:lnTo>
                <a:lnTo>
                  <a:pt x="9" y="109"/>
                </a:lnTo>
                <a:lnTo>
                  <a:pt x="12" y="112"/>
                </a:lnTo>
                <a:lnTo>
                  <a:pt x="12" y="115"/>
                </a:lnTo>
                <a:lnTo>
                  <a:pt x="12" y="122"/>
                </a:lnTo>
                <a:lnTo>
                  <a:pt x="9" y="125"/>
                </a:lnTo>
                <a:lnTo>
                  <a:pt x="15" y="137"/>
                </a:lnTo>
                <a:lnTo>
                  <a:pt x="15" y="140"/>
                </a:lnTo>
                <a:lnTo>
                  <a:pt x="12" y="147"/>
                </a:lnTo>
                <a:lnTo>
                  <a:pt x="6" y="150"/>
                </a:lnTo>
                <a:lnTo>
                  <a:pt x="3" y="156"/>
                </a:lnTo>
                <a:lnTo>
                  <a:pt x="6" y="159"/>
                </a:lnTo>
                <a:lnTo>
                  <a:pt x="9" y="159"/>
                </a:lnTo>
                <a:lnTo>
                  <a:pt x="9" y="162"/>
                </a:lnTo>
                <a:lnTo>
                  <a:pt x="9" y="162"/>
                </a:lnTo>
                <a:lnTo>
                  <a:pt x="9" y="165"/>
                </a:lnTo>
                <a:lnTo>
                  <a:pt x="15" y="168"/>
                </a:lnTo>
                <a:lnTo>
                  <a:pt x="15" y="172"/>
                </a:lnTo>
                <a:lnTo>
                  <a:pt x="15" y="175"/>
                </a:lnTo>
                <a:lnTo>
                  <a:pt x="15" y="178"/>
                </a:lnTo>
                <a:lnTo>
                  <a:pt x="15" y="181"/>
                </a:lnTo>
                <a:lnTo>
                  <a:pt x="19" y="187"/>
                </a:lnTo>
                <a:lnTo>
                  <a:pt x="22" y="193"/>
                </a:lnTo>
                <a:lnTo>
                  <a:pt x="31" y="200"/>
                </a:lnTo>
                <a:lnTo>
                  <a:pt x="31" y="203"/>
                </a:lnTo>
                <a:lnTo>
                  <a:pt x="28" y="209"/>
                </a:lnTo>
                <a:lnTo>
                  <a:pt x="31" y="212"/>
                </a:lnTo>
                <a:lnTo>
                  <a:pt x="25" y="222"/>
                </a:lnTo>
                <a:lnTo>
                  <a:pt x="28" y="228"/>
                </a:lnTo>
                <a:lnTo>
                  <a:pt x="37" y="237"/>
                </a:lnTo>
                <a:lnTo>
                  <a:pt x="53" y="275"/>
                </a:lnTo>
                <a:lnTo>
                  <a:pt x="56" y="275"/>
                </a:lnTo>
                <a:lnTo>
                  <a:pt x="59" y="272"/>
                </a:lnTo>
                <a:lnTo>
                  <a:pt x="62" y="272"/>
                </a:lnTo>
                <a:lnTo>
                  <a:pt x="62" y="272"/>
                </a:lnTo>
                <a:lnTo>
                  <a:pt x="65" y="269"/>
                </a:lnTo>
                <a:lnTo>
                  <a:pt x="69" y="262"/>
                </a:lnTo>
                <a:lnTo>
                  <a:pt x="75" y="253"/>
                </a:lnTo>
                <a:lnTo>
                  <a:pt x="81" y="253"/>
                </a:lnTo>
                <a:lnTo>
                  <a:pt x="84" y="256"/>
                </a:lnTo>
                <a:lnTo>
                  <a:pt x="90" y="256"/>
                </a:lnTo>
                <a:lnTo>
                  <a:pt x="94" y="256"/>
                </a:lnTo>
                <a:lnTo>
                  <a:pt x="100" y="256"/>
                </a:lnTo>
                <a:lnTo>
                  <a:pt x="106" y="253"/>
                </a:lnTo>
                <a:lnTo>
                  <a:pt x="109" y="256"/>
                </a:lnTo>
                <a:lnTo>
                  <a:pt x="109" y="259"/>
                </a:lnTo>
                <a:lnTo>
                  <a:pt x="112" y="269"/>
                </a:lnTo>
                <a:lnTo>
                  <a:pt x="115" y="272"/>
                </a:lnTo>
                <a:lnTo>
                  <a:pt x="115" y="269"/>
                </a:lnTo>
                <a:lnTo>
                  <a:pt x="115" y="265"/>
                </a:lnTo>
                <a:lnTo>
                  <a:pt x="119" y="262"/>
                </a:lnTo>
                <a:lnTo>
                  <a:pt x="119" y="256"/>
                </a:lnTo>
                <a:lnTo>
                  <a:pt x="122" y="253"/>
                </a:lnTo>
                <a:lnTo>
                  <a:pt x="131" y="253"/>
                </a:lnTo>
                <a:lnTo>
                  <a:pt x="144" y="253"/>
                </a:lnTo>
                <a:lnTo>
                  <a:pt x="147" y="256"/>
                </a:lnTo>
                <a:lnTo>
                  <a:pt x="147" y="250"/>
                </a:lnTo>
                <a:lnTo>
                  <a:pt x="153" y="240"/>
                </a:lnTo>
                <a:lnTo>
                  <a:pt x="153" y="234"/>
                </a:lnTo>
                <a:lnTo>
                  <a:pt x="153" y="228"/>
                </a:lnTo>
                <a:lnTo>
                  <a:pt x="150" y="225"/>
                </a:lnTo>
                <a:lnTo>
                  <a:pt x="156" y="215"/>
                </a:lnTo>
                <a:lnTo>
                  <a:pt x="159" y="209"/>
                </a:lnTo>
                <a:lnTo>
                  <a:pt x="159" y="206"/>
                </a:lnTo>
                <a:lnTo>
                  <a:pt x="165" y="203"/>
                </a:lnTo>
                <a:lnTo>
                  <a:pt x="190" y="197"/>
                </a:lnTo>
                <a:lnTo>
                  <a:pt x="212" y="197"/>
                </a:lnTo>
                <a:lnTo>
                  <a:pt x="225" y="206"/>
                </a:lnTo>
                <a:lnTo>
                  <a:pt x="228" y="206"/>
                </a:lnTo>
                <a:lnTo>
                  <a:pt x="231" y="209"/>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7" name="Freeform 195">
            <a:extLst>
              <a:ext uri="{FF2B5EF4-FFF2-40B4-BE49-F238E27FC236}">
                <a16:creationId xmlns:a16="http://schemas.microsoft.com/office/drawing/2014/main" id="{A76EBC4B-BCBC-7308-665D-33E1342228B7}"/>
              </a:ext>
            </a:extLst>
          </p:cNvPr>
          <p:cNvSpPr>
            <a:spLocks/>
          </p:cNvSpPr>
          <p:nvPr userDrawn="1"/>
        </p:nvSpPr>
        <p:spPr bwMode="auto">
          <a:xfrm>
            <a:off x="9359287" y="10629185"/>
            <a:ext cx="536541" cy="555626"/>
          </a:xfrm>
          <a:custGeom>
            <a:avLst/>
            <a:gdLst>
              <a:gd name="T0" fmla="*/ 0 w 169"/>
              <a:gd name="T1" fmla="*/ 53 h 175"/>
              <a:gd name="T2" fmla="*/ 6 w 169"/>
              <a:gd name="T3" fmla="*/ 37 h 175"/>
              <a:gd name="T4" fmla="*/ 3 w 169"/>
              <a:gd name="T5" fmla="*/ 28 h 175"/>
              <a:gd name="T6" fmla="*/ 12 w 169"/>
              <a:gd name="T7" fmla="*/ 12 h 175"/>
              <a:gd name="T8" fmla="*/ 18 w 169"/>
              <a:gd name="T9" fmla="*/ 6 h 175"/>
              <a:gd name="T10" fmla="*/ 65 w 169"/>
              <a:gd name="T11" fmla="*/ 0 h 175"/>
              <a:gd name="T12" fmla="*/ 81 w 169"/>
              <a:gd name="T13" fmla="*/ 9 h 175"/>
              <a:gd name="T14" fmla="*/ 84 w 169"/>
              <a:gd name="T15" fmla="*/ 18 h 175"/>
              <a:gd name="T16" fmla="*/ 90 w 169"/>
              <a:gd name="T17" fmla="*/ 28 h 175"/>
              <a:gd name="T18" fmla="*/ 94 w 169"/>
              <a:gd name="T19" fmla="*/ 43 h 175"/>
              <a:gd name="T20" fmla="*/ 94 w 169"/>
              <a:gd name="T21" fmla="*/ 53 h 175"/>
              <a:gd name="T22" fmla="*/ 100 w 169"/>
              <a:gd name="T23" fmla="*/ 59 h 175"/>
              <a:gd name="T24" fmla="*/ 112 w 169"/>
              <a:gd name="T25" fmla="*/ 59 h 175"/>
              <a:gd name="T26" fmla="*/ 128 w 169"/>
              <a:gd name="T27" fmla="*/ 56 h 175"/>
              <a:gd name="T28" fmla="*/ 137 w 169"/>
              <a:gd name="T29" fmla="*/ 62 h 175"/>
              <a:gd name="T30" fmla="*/ 144 w 169"/>
              <a:gd name="T31" fmla="*/ 87 h 175"/>
              <a:gd name="T32" fmla="*/ 150 w 169"/>
              <a:gd name="T33" fmla="*/ 97 h 175"/>
              <a:gd name="T34" fmla="*/ 162 w 169"/>
              <a:gd name="T35" fmla="*/ 93 h 175"/>
              <a:gd name="T36" fmla="*/ 169 w 169"/>
              <a:gd name="T37" fmla="*/ 97 h 175"/>
              <a:gd name="T38" fmla="*/ 165 w 169"/>
              <a:gd name="T39" fmla="*/ 118 h 175"/>
              <a:gd name="T40" fmla="*/ 162 w 169"/>
              <a:gd name="T41" fmla="*/ 122 h 175"/>
              <a:gd name="T42" fmla="*/ 162 w 169"/>
              <a:gd name="T43" fmla="*/ 125 h 175"/>
              <a:gd name="T44" fmla="*/ 162 w 169"/>
              <a:gd name="T45" fmla="*/ 128 h 175"/>
              <a:gd name="T46" fmla="*/ 162 w 169"/>
              <a:gd name="T47" fmla="*/ 137 h 175"/>
              <a:gd name="T48" fmla="*/ 159 w 169"/>
              <a:gd name="T49" fmla="*/ 147 h 175"/>
              <a:gd name="T50" fmla="*/ 153 w 169"/>
              <a:gd name="T51" fmla="*/ 156 h 175"/>
              <a:gd name="T52" fmla="*/ 144 w 169"/>
              <a:gd name="T53" fmla="*/ 165 h 175"/>
              <a:gd name="T54" fmla="*/ 137 w 169"/>
              <a:gd name="T55" fmla="*/ 169 h 175"/>
              <a:gd name="T56" fmla="*/ 131 w 169"/>
              <a:gd name="T57" fmla="*/ 175 h 175"/>
              <a:gd name="T58" fmla="*/ 125 w 169"/>
              <a:gd name="T59" fmla="*/ 175 h 175"/>
              <a:gd name="T60" fmla="*/ 112 w 169"/>
              <a:gd name="T61" fmla="*/ 172 h 175"/>
              <a:gd name="T62" fmla="*/ 87 w 169"/>
              <a:gd name="T63" fmla="*/ 169 h 175"/>
              <a:gd name="T64" fmla="*/ 84 w 169"/>
              <a:gd name="T65" fmla="*/ 165 h 175"/>
              <a:gd name="T66" fmla="*/ 94 w 169"/>
              <a:gd name="T67" fmla="*/ 150 h 175"/>
              <a:gd name="T68" fmla="*/ 94 w 169"/>
              <a:gd name="T69" fmla="*/ 144 h 175"/>
              <a:gd name="T70" fmla="*/ 103 w 169"/>
              <a:gd name="T71" fmla="*/ 137 h 175"/>
              <a:gd name="T72" fmla="*/ 100 w 169"/>
              <a:gd name="T73" fmla="*/ 128 h 175"/>
              <a:gd name="T74" fmla="*/ 90 w 169"/>
              <a:gd name="T75" fmla="*/ 118 h 175"/>
              <a:gd name="T76" fmla="*/ 68 w 169"/>
              <a:gd name="T77" fmla="*/ 112 h 175"/>
              <a:gd name="T78" fmla="*/ 56 w 169"/>
              <a:gd name="T79" fmla="*/ 103 h 175"/>
              <a:gd name="T80" fmla="*/ 37 w 169"/>
              <a:gd name="T81" fmla="*/ 97 h 175"/>
              <a:gd name="T82" fmla="*/ 31 w 169"/>
              <a:gd name="T83" fmla="*/ 87 h 175"/>
              <a:gd name="T84" fmla="*/ 12 w 169"/>
              <a:gd name="T85" fmla="*/ 75 h 175"/>
              <a:gd name="T86" fmla="*/ 3 w 169"/>
              <a:gd name="T87" fmla="*/ 65 h 175"/>
              <a:gd name="T88" fmla="*/ 0 w 169"/>
              <a:gd name="T89" fmla="*/ 5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9" h="175">
                <a:moveTo>
                  <a:pt x="0" y="59"/>
                </a:moveTo>
                <a:lnTo>
                  <a:pt x="0" y="53"/>
                </a:lnTo>
                <a:lnTo>
                  <a:pt x="6" y="43"/>
                </a:lnTo>
                <a:lnTo>
                  <a:pt x="6" y="37"/>
                </a:lnTo>
                <a:lnTo>
                  <a:pt x="6" y="31"/>
                </a:lnTo>
                <a:lnTo>
                  <a:pt x="3" y="28"/>
                </a:lnTo>
                <a:lnTo>
                  <a:pt x="9" y="18"/>
                </a:lnTo>
                <a:lnTo>
                  <a:pt x="12" y="12"/>
                </a:lnTo>
                <a:lnTo>
                  <a:pt x="12" y="9"/>
                </a:lnTo>
                <a:lnTo>
                  <a:pt x="18" y="6"/>
                </a:lnTo>
                <a:lnTo>
                  <a:pt x="43" y="0"/>
                </a:lnTo>
                <a:lnTo>
                  <a:pt x="65" y="0"/>
                </a:lnTo>
                <a:lnTo>
                  <a:pt x="78" y="9"/>
                </a:lnTo>
                <a:lnTo>
                  <a:pt x="81" y="9"/>
                </a:lnTo>
                <a:lnTo>
                  <a:pt x="87" y="12"/>
                </a:lnTo>
                <a:lnTo>
                  <a:pt x="84" y="18"/>
                </a:lnTo>
                <a:lnTo>
                  <a:pt x="90" y="21"/>
                </a:lnTo>
                <a:lnTo>
                  <a:pt x="90" y="28"/>
                </a:lnTo>
                <a:lnTo>
                  <a:pt x="94" y="34"/>
                </a:lnTo>
                <a:lnTo>
                  <a:pt x="94" y="43"/>
                </a:lnTo>
                <a:lnTo>
                  <a:pt x="94" y="50"/>
                </a:lnTo>
                <a:lnTo>
                  <a:pt x="94" y="53"/>
                </a:lnTo>
                <a:lnTo>
                  <a:pt x="94" y="59"/>
                </a:lnTo>
                <a:lnTo>
                  <a:pt x="100" y="59"/>
                </a:lnTo>
                <a:lnTo>
                  <a:pt x="103" y="59"/>
                </a:lnTo>
                <a:lnTo>
                  <a:pt x="112" y="59"/>
                </a:lnTo>
                <a:lnTo>
                  <a:pt x="119" y="59"/>
                </a:lnTo>
                <a:lnTo>
                  <a:pt x="128" y="56"/>
                </a:lnTo>
                <a:lnTo>
                  <a:pt x="134" y="59"/>
                </a:lnTo>
                <a:lnTo>
                  <a:pt x="137" y="62"/>
                </a:lnTo>
                <a:lnTo>
                  <a:pt x="137" y="65"/>
                </a:lnTo>
                <a:lnTo>
                  <a:pt x="144" y="87"/>
                </a:lnTo>
                <a:lnTo>
                  <a:pt x="147" y="93"/>
                </a:lnTo>
                <a:lnTo>
                  <a:pt x="150" y="97"/>
                </a:lnTo>
                <a:lnTo>
                  <a:pt x="156" y="90"/>
                </a:lnTo>
                <a:lnTo>
                  <a:pt x="162" y="93"/>
                </a:lnTo>
                <a:lnTo>
                  <a:pt x="165" y="97"/>
                </a:lnTo>
                <a:lnTo>
                  <a:pt x="169" y="97"/>
                </a:lnTo>
                <a:lnTo>
                  <a:pt x="165" y="100"/>
                </a:lnTo>
                <a:lnTo>
                  <a:pt x="165" y="118"/>
                </a:lnTo>
                <a:lnTo>
                  <a:pt x="165" y="122"/>
                </a:lnTo>
                <a:lnTo>
                  <a:pt x="162" y="122"/>
                </a:lnTo>
                <a:lnTo>
                  <a:pt x="162" y="125"/>
                </a:lnTo>
                <a:lnTo>
                  <a:pt x="162" y="125"/>
                </a:lnTo>
                <a:lnTo>
                  <a:pt x="162" y="128"/>
                </a:lnTo>
                <a:lnTo>
                  <a:pt x="162" y="128"/>
                </a:lnTo>
                <a:lnTo>
                  <a:pt x="162" y="134"/>
                </a:lnTo>
                <a:lnTo>
                  <a:pt x="162" y="137"/>
                </a:lnTo>
                <a:lnTo>
                  <a:pt x="162" y="144"/>
                </a:lnTo>
                <a:lnTo>
                  <a:pt x="159" y="147"/>
                </a:lnTo>
                <a:lnTo>
                  <a:pt x="156" y="150"/>
                </a:lnTo>
                <a:lnTo>
                  <a:pt x="153" y="156"/>
                </a:lnTo>
                <a:lnTo>
                  <a:pt x="147" y="162"/>
                </a:lnTo>
                <a:lnTo>
                  <a:pt x="144" y="165"/>
                </a:lnTo>
                <a:lnTo>
                  <a:pt x="140" y="172"/>
                </a:lnTo>
                <a:lnTo>
                  <a:pt x="137" y="169"/>
                </a:lnTo>
                <a:lnTo>
                  <a:pt x="134" y="172"/>
                </a:lnTo>
                <a:lnTo>
                  <a:pt x="131" y="175"/>
                </a:lnTo>
                <a:lnTo>
                  <a:pt x="128" y="175"/>
                </a:lnTo>
                <a:lnTo>
                  <a:pt x="125" y="175"/>
                </a:lnTo>
                <a:lnTo>
                  <a:pt x="122" y="175"/>
                </a:lnTo>
                <a:lnTo>
                  <a:pt x="112" y="172"/>
                </a:lnTo>
                <a:lnTo>
                  <a:pt x="103" y="169"/>
                </a:lnTo>
                <a:lnTo>
                  <a:pt x="87" y="169"/>
                </a:lnTo>
                <a:lnTo>
                  <a:pt x="84" y="169"/>
                </a:lnTo>
                <a:lnTo>
                  <a:pt x="84" y="165"/>
                </a:lnTo>
                <a:lnTo>
                  <a:pt x="90" y="159"/>
                </a:lnTo>
                <a:lnTo>
                  <a:pt x="94" y="150"/>
                </a:lnTo>
                <a:lnTo>
                  <a:pt x="94" y="147"/>
                </a:lnTo>
                <a:lnTo>
                  <a:pt x="94" y="144"/>
                </a:lnTo>
                <a:lnTo>
                  <a:pt x="100" y="140"/>
                </a:lnTo>
                <a:lnTo>
                  <a:pt x="103" y="137"/>
                </a:lnTo>
                <a:lnTo>
                  <a:pt x="103" y="131"/>
                </a:lnTo>
                <a:lnTo>
                  <a:pt x="100" y="128"/>
                </a:lnTo>
                <a:lnTo>
                  <a:pt x="94" y="122"/>
                </a:lnTo>
                <a:lnTo>
                  <a:pt x="90" y="118"/>
                </a:lnTo>
                <a:lnTo>
                  <a:pt x="78" y="115"/>
                </a:lnTo>
                <a:lnTo>
                  <a:pt x="68" y="112"/>
                </a:lnTo>
                <a:lnTo>
                  <a:pt x="62" y="103"/>
                </a:lnTo>
                <a:lnTo>
                  <a:pt x="56" y="103"/>
                </a:lnTo>
                <a:lnTo>
                  <a:pt x="50" y="100"/>
                </a:lnTo>
                <a:lnTo>
                  <a:pt x="37" y="97"/>
                </a:lnTo>
                <a:lnTo>
                  <a:pt x="34" y="90"/>
                </a:lnTo>
                <a:lnTo>
                  <a:pt x="31" y="87"/>
                </a:lnTo>
                <a:lnTo>
                  <a:pt x="25" y="87"/>
                </a:lnTo>
                <a:lnTo>
                  <a:pt x="12" y="75"/>
                </a:lnTo>
                <a:lnTo>
                  <a:pt x="9" y="65"/>
                </a:lnTo>
                <a:lnTo>
                  <a:pt x="3" y="65"/>
                </a:lnTo>
                <a:lnTo>
                  <a:pt x="0" y="59"/>
                </a:lnTo>
                <a:lnTo>
                  <a:pt x="0" y="59"/>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8" name="Freeform 196">
            <a:extLst>
              <a:ext uri="{FF2B5EF4-FFF2-40B4-BE49-F238E27FC236}">
                <a16:creationId xmlns:a16="http://schemas.microsoft.com/office/drawing/2014/main" id="{12129FFC-58A1-ECA0-2D14-422B63CA42CA}"/>
              </a:ext>
            </a:extLst>
          </p:cNvPr>
          <p:cNvSpPr>
            <a:spLocks/>
          </p:cNvSpPr>
          <p:nvPr userDrawn="1"/>
        </p:nvSpPr>
        <p:spPr bwMode="auto">
          <a:xfrm>
            <a:off x="9686295" y="11353080"/>
            <a:ext cx="317481" cy="358776"/>
          </a:xfrm>
          <a:custGeom>
            <a:avLst/>
            <a:gdLst>
              <a:gd name="T0" fmla="*/ 12 w 100"/>
              <a:gd name="T1" fmla="*/ 3 h 113"/>
              <a:gd name="T2" fmla="*/ 25 w 100"/>
              <a:gd name="T3" fmla="*/ 0 h 113"/>
              <a:gd name="T4" fmla="*/ 34 w 100"/>
              <a:gd name="T5" fmla="*/ 9 h 113"/>
              <a:gd name="T6" fmla="*/ 41 w 100"/>
              <a:gd name="T7" fmla="*/ 16 h 113"/>
              <a:gd name="T8" fmla="*/ 47 w 100"/>
              <a:gd name="T9" fmla="*/ 25 h 113"/>
              <a:gd name="T10" fmla="*/ 53 w 100"/>
              <a:gd name="T11" fmla="*/ 19 h 113"/>
              <a:gd name="T12" fmla="*/ 62 w 100"/>
              <a:gd name="T13" fmla="*/ 28 h 113"/>
              <a:gd name="T14" fmla="*/ 72 w 100"/>
              <a:gd name="T15" fmla="*/ 34 h 113"/>
              <a:gd name="T16" fmla="*/ 75 w 100"/>
              <a:gd name="T17" fmla="*/ 41 h 113"/>
              <a:gd name="T18" fmla="*/ 87 w 100"/>
              <a:gd name="T19" fmla="*/ 50 h 113"/>
              <a:gd name="T20" fmla="*/ 97 w 100"/>
              <a:gd name="T21" fmla="*/ 59 h 113"/>
              <a:gd name="T22" fmla="*/ 94 w 100"/>
              <a:gd name="T23" fmla="*/ 69 h 113"/>
              <a:gd name="T24" fmla="*/ 94 w 100"/>
              <a:gd name="T25" fmla="*/ 78 h 113"/>
              <a:gd name="T26" fmla="*/ 97 w 100"/>
              <a:gd name="T27" fmla="*/ 81 h 113"/>
              <a:gd name="T28" fmla="*/ 97 w 100"/>
              <a:gd name="T29" fmla="*/ 84 h 113"/>
              <a:gd name="T30" fmla="*/ 94 w 100"/>
              <a:gd name="T31" fmla="*/ 94 h 113"/>
              <a:gd name="T32" fmla="*/ 87 w 100"/>
              <a:gd name="T33" fmla="*/ 100 h 113"/>
              <a:gd name="T34" fmla="*/ 87 w 100"/>
              <a:gd name="T35" fmla="*/ 103 h 113"/>
              <a:gd name="T36" fmla="*/ 75 w 100"/>
              <a:gd name="T37" fmla="*/ 109 h 113"/>
              <a:gd name="T38" fmla="*/ 72 w 100"/>
              <a:gd name="T39" fmla="*/ 109 h 113"/>
              <a:gd name="T40" fmla="*/ 72 w 100"/>
              <a:gd name="T41" fmla="*/ 113 h 113"/>
              <a:gd name="T42" fmla="*/ 66 w 100"/>
              <a:gd name="T43" fmla="*/ 113 h 113"/>
              <a:gd name="T44" fmla="*/ 59 w 100"/>
              <a:gd name="T45" fmla="*/ 109 h 113"/>
              <a:gd name="T46" fmla="*/ 50 w 100"/>
              <a:gd name="T47" fmla="*/ 109 h 113"/>
              <a:gd name="T48" fmla="*/ 44 w 100"/>
              <a:gd name="T49" fmla="*/ 113 h 113"/>
              <a:gd name="T50" fmla="*/ 44 w 100"/>
              <a:gd name="T51" fmla="*/ 109 h 113"/>
              <a:gd name="T52" fmla="*/ 41 w 100"/>
              <a:gd name="T53" fmla="*/ 109 h 113"/>
              <a:gd name="T54" fmla="*/ 31 w 100"/>
              <a:gd name="T55" fmla="*/ 103 h 113"/>
              <a:gd name="T56" fmla="*/ 19 w 100"/>
              <a:gd name="T57" fmla="*/ 103 h 113"/>
              <a:gd name="T58" fmla="*/ 9 w 100"/>
              <a:gd name="T59" fmla="*/ 100 h 113"/>
              <a:gd name="T60" fmla="*/ 3 w 100"/>
              <a:gd name="T61" fmla="*/ 91 h 113"/>
              <a:gd name="T62" fmla="*/ 0 w 100"/>
              <a:gd name="T63" fmla="*/ 75 h 113"/>
              <a:gd name="T64" fmla="*/ 0 w 100"/>
              <a:gd name="T65" fmla="*/ 72 h 113"/>
              <a:gd name="T66" fmla="*/ 3 w 100"/>
              <a:gd name="T67" fmla="*/ 66 h 113"/>
              <a:gd name="T68" fmla="*/ 0 w 100"/>
              <a:gd name="T69" fmla="*/ 53 h 113"/>
              <a:gd name="T70" fmla="*/ 0 w 100"/>
              <a:gd name="T71" fmla="*/ 44 h 113"/>
              <a:gd name="T72" fmla="*/ 3 w 100"/>
              <a:gd name="T73" fmla="*/ 38 h 113"/>
              <a:gd name="T74" fmla="*/ 3 w 100"/>
              <a:gd name="T75" fmla="*/ 25 h 113"/>
              <a:gd name="T76" fmla="*/ 6 w 100"/>
              <a:gd name="T77" fmla="*/ 19 h 113"/>
              <a:gd name="T78" fmla="*/ 6 w 100"/>
              <a:gd name="T79" fmla="*/ 6 h 113"/>
              <a:gd name="T80" fmla="*/ 9 w 100"/>
              <a:gd name="T81" fmla="*/ 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113">
                <a:moveTo>
                  <a:pt x="9" y="3"/>
                </a:moveTo>
                <a:lnTo>
                  <a:pt x="12" y="3"/>
                </a:lnTo>
                <a:lnTo>
                  <a:pt x="16" y="3"/>
                </a:lnTo>
                <a:lnTo>
                  <a:pt x="25" y="0"/>
                </a:lnTo>
                <a:lnTo>
                  <a:pt x="28" y="3"/>
                </a:lnTo>
                <a:lnTo>
                  <a:pt x="34" y="9"/>
                </a:lnTo>
                <a:lnTo>
                  <a:pt x="37" y="9"/>
                </a:lnTo>
                <a:lnTo>
                  <a:pt x="41" y="16"/>
                </a:lnTo>
                <a:lnTo>
                  <a:pt x="44" y="25"/>
                </a:lnTo>
                <a:lnTo>
                  <a:pt x="47" y="25"/>
                </a:lnTo>
                <a:lnTo>
                  <a:pt x="50" y="19"/>
                </a:lnTo>
                <a:lnTo>
                  <a:pt x="53" y="19"/>
                </a:lnTo>
                <a:lnTo>
                  <a:pt x="56" y="28"/>
                </a:lnTo>
                <a:lnTo>
                  <a:pt x="62" y="28"/>
                </a:lnTo>
                <a:lnTo>
                  <a:pt x="66" y="31"/>
                </a:lnTo>
                <a:lnTo>
                  <a:pt x="72" y="34"/>
                </a:lnTo>
                <a:lnTo>
                  <a:pt x="72" y="41"/>
                </a:lnTo>
                <a:lnTo>
                  <a:pt x="75" y="41"/>
                </a:lnTo>
                <a:lnTo>
                  <a:pt x="84" y="44"/>
                </a:lnTo>
                <a:lnTo>
                  <a:pt x="87" y="50"/>
                </a:lnTo>
                <a:lnTo>
                  <a:pt x="94" y="56"/>
                </a:lnTo>
                <a:lnTo>
                  <a:pt x="97" y="59"/>
                </a:lnTo>
                <a:lnTo>
                  <a:pt x="97" y="66"/>
                </a:lnTo>
                <a:lnTo>
                  <a:pt x="94" y="69"/>
                </a:lnTo>
                <a:lnTo>
                  <a:pt x="94" y="75"/>
                </a:lnTo>
                <a:lnTo>
                  <a:pt x="94" y="78"/>
                </a:lnTo>
                <a:lnTo>
                  <a:pt x="94" y="78"/>
                </a:lnTo>
                <a:lnTo>
                  <a:pt x="97" y="81"/>
                </a:lnTo>
                <a:lnTo>
                  <a:pt x="100" y="81"/>
                </a:lnTo>
                <a:lnTo>
                  <a:pt x="97" y="84"/>
                </a:lnTo>
                <a:lnTo>
                  <a:pt x="94" y="88"/>
                </a:lnTo>
                <a:lnTo>
                  <a:pt x="94" y="94"/>
                </a:lnTo>
                <a:lnTo>
                  <a:pt x="91" y="97"/>
                </a:lnTo>
                <a:lnTo>
                  <a:pt x="87" y="100"/>
                </a:lnTo>
                <a:lnTo>
                  <a:pt x="87" y="100"/>
                </a:lnTo>
                <a:lnTo>
                  <a:pt x="87" y="103"/>
                </a:lnTo>
                <a:lnTo>
                  <a:pt x="84" y="106"/>
                </a:lnTo>
                <a:lnTo>
                  <a:pt x="75" y="109"/>
                </a:lnTo>
                <a:lnTo>
                  <a:pt x="75" y="109"/>
                </a:lnTo>
                <a:lnTo>
                  <a:pt x="72" y="109"/>
                </a:lnTo>
                <a:lnTo>
                  <a:pt x="72" y="113"/>
                </a:lnTo>
                <a:lnTo>
                  <a:pt x="72" y="113"/>
                </a:lnTo>
                <a:lnTo>
                  <a:pt x="69" y="113"/>
                </a:lnTo>
                <a:lnTo>
                  <a:pt x="66" y="113"/>
                </a:lnTo>
                <a:lnTo>
                  <a:pt x="62" y="113"/>
                </a:lnTo>
                <a:lnTo>
                  <a:pt x="59" y="109"/>
                </a:lnTo>
                <a:lnTo>
                  <a:pt x="56" y="109"/>
                </a:lnTo>
                <a:lnTo>
                  <a:pt x="50" y="109"/>
                </a:lnTo>
                <a:lnTo>
                  <a:pt x="47" y="113"/>
                </a:lnTo>
                <a:lnTo>
                  <a:pt x="44" y="113"/>
                </a:lnTo>
                <a:lnTo>
                  <a:pt x="44" y="109"/>
                </a:lnTo>
                <a:lnTo>
                  <a:pt x="44" y="109"/>
                </a:lnTo>
                <a:lnTo>
                  <a:pt x="44" y="109"/>
                </a:lnTo>
                <a:lnTo>
                  <a:pt x="41" y="109"/>
                </a:lnTo>
                <a:lnTo>
                  <a:pt x="37" y="106"/>
                </a:lnTo>
                <a:lnTo>
                  <a:pt x="31" y="103"/>
                </a:lnTo>
                <a:lnTo>
                  <a:pt x="25" y="103"/>
                </a:lnTo>
                <a:lnTo>
                  <a:pt x="19" y="103"/>
                </a:lnTo>
                <a:lnTo>
                  <a:pt x="16" y="103"/>
                </a:lnTo>
                <a:lnTo>
                  <a:pt x="9" y="100"/>
                </a:lnTo>
                <a:lnTo>
                  <a:pt x="6" y="97"/>
                </a:lnTo>
                <a:lnTo>
                  <a:pt x="3" y="91"/>
                </a:lnTo>
                <a:lnTo>
                  <a:pt x="0" y="84"/>
                </a:lnTo>
                <a:lnTo>
                  <a:pt x="0" y="75"/>
                </a:lnTo>
                <a:lnTo>
                  <a:pt x="0" y="75"/>
                </a:lnTo>
                <a:lnTo>
                  <a:pt x="0" y="72"/>
                </a:lnTo>
                <a:lnTo>
                  <a:pt x="3" y="69"/>
                </a:lnTo>
                <a:lnTo>
                  <a:pt x="3" y="66"/>
                </a:lnTo>
                <a:lnTo>
                  <a:pt x="3" y="59"/>
                </a:lnTo>
                <a:lnTo>
                  <a:pt x="0" y="53"/>
                </a:lnTo>
                <a:lnTo>
                  <a:pt x="3" y="50"/>
                </a:lnTo>
                <a:lnTo>
                  <a:pt x="0" y="44"/>
                </a:lnTo>
                <a:lnTo>
                  <a:pt x="3" y="41"/>
                </a:lnTo>
                <a:lnTo>
                  <a:pt x="3" y="38"/>
                </a:lnTo>
                <a:lnTo>
                  <a:pt x="3" y="34"/>
                </a:lnTo>
                <a:lnTo>
                  <a:pt x="3" y="25"/>
                </a:lnTo>
                <a:lnTo>
                  <a:pt x="3" y="22"/>
                </a:lnTo>
                <a:lnTo>
                  <a:pt x="6" y="19"/>
                </a:lnTo>
                <a:lnTo>
                  <a:pt x="3" y="12"/>
                </a:lnTo>
                <a:lnTo>
                  <a:pt x="6" y="6"/>
                </a:lnTo>
                <a:lnTo>
                  <a:pt x="9" y="3"/>
                </a:lnTo>
                <a:lnTo>
                  <a:pt x="9" y="3"/>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9" name="Freeform 197">
            <a:extLst>
              <a:ext uri="{FF2B5EF4-FFF2-40B4-BE49-F238E27FC236}">
                <a16:creationId xmlns:a16="http://schemas.microsoft.com/office/drawing/2014/main" id="{D915A085-F1EA-0203-864E-78018120857D}"/>
              </a:ext>
            </a:extLst>
          </p:cNvPr>
          <p:cNvSpPr>
            <a:spLocks noEditPoints="1"/>
          </p:cNvSpPr>
          <p:nvPr userDrawn="1"/>
        </p:nvSpPr>
        <p:spPr bwMode="auto">
          <a:xfrm>
            <a:off x="8930692" y="10806985"/>
            <a:ext cx="1003237" cy="2581278"/>
          </a:xfrm>
          <a:custGeom>
            <a:avLst/>
            <a:gdLst>
              <a:gd name="T0" fmla="*/ 82 w 316"/>
              <a:gd name="T1" fmla="*/ 3 h 813"/>
              <a:gd name="T2" fmla="*/ 103 w 316"/>
              <a:gd name="T3" fmla="*/ 12 h 813"/>
              <a:gd name="T4" fmla="*/ 144 w 316"/>
              <a:gd name="T5" fmla="*/ 9 h 813"/>
              <a:gd name="T6" fmla="*/ 197 w 316"/>
              <a:gd name="T7" fmla="*/ 47 h 813"/>
              <a:gd name="T8" fmla="*/ 235 w 316"/>
              <a:gd name="T9" fmla="*/ 84 h 813"/>
              <a:gd name="T10" fmla="*/ 238 w 316"/>
              <a:gd name="T11" fmla="*/ 113 h 813"/>
              <a:gd name="T12" fmla="*/ 275 w 316"/>
              <a:gd name="T13" fmla="*/ 116 h 813"/>
              <a:gd name="T14" fmla="*/ 297 w 316"/>
              <a:gd name="T15" fmla="*/ 78 h 813"/>
              <a:gd name="T16" fmla="*/ 316 w 316"/>
              <a:gd name="T17" fmla="*/ 103 h 813"/>
              <a:gd name="T18" fmla="*/ 291 w 316"/>
              <a:gd name="T19" fmla="*/ 122 h 813"/>
              <a:gd name="T20" fmla="*/ 266 w 316"/>
              <a:gd name="T21" fmla="*/ 144 h 813"/>
              <a:gd name="T22" fmla="*/ 247 w 316"/>
              <a:gd name="T23" fmla="*/ 172 h 813"/>
              <a:gd name="T24" fmla="*/ 241 w 316"/>
              <a:gd name="T25" fmla="*/ 210 h 813"/>
              <a:gd name="T26" fmla="*/ 238 w 316"/>
              <a:gd name="T27" fmla="*/ 244 h 813"/>
              <a:gd name="T28" fmla="*/ 238 w 316"/>
              <a:gd name="T29" fmla="*/ 269 h 813"/>
              <a:gd name="T30" fmla="*/ 263 w 316"/>
              <a:gd name="T31" fmla="*/ 310 h 813"/>
              <a:gd name="T32" fmla="*/ 279 w 316"/>
              <a:gd name="T33" fmla="*/ 328 h 813"/>
              <a:gd name="T34" fmla="*/ 269 w 316"/>
              <a:gd name="T35" fmla="*/ 357 h 813"/>
              <a:gd name="T36" fmla="*/ 213 w 316"/>
              <a:gd name="T37" fmla="*/ 382 h 813"/>
              <a:gd name="T38" fmla="*/ 182 w 316"/>
              <a:gd name="T39" fmla="*/ 375 h 813"/>
              <a:gd name="T40" fmla="*/ 188 w 316"/>
              <a:gd name="T41" fmla="*/ 397 h 813"/>
              <a:gd name="T42" fmla="*/ 188 w 316"/>
              <a:gd name="T43" fmla="*/ 416 h 813"/>
              <a:gd name="T44" fmla="*/ 163 w 316"/>
              <a:gd name="T45" fmla="*/ 438 h 813"/>
              <a:gd name="T46" fmla="*/ 132 w 316"/>
              <a:gd name="T47" fmla="*/ 428 h 813"/>
              <a:gd name="T48" fmla="*/ 150 w 316"/>
              <a:gd name="T49" fmla="*/ 463 h 813"/>
              <a:gd name="T50" fmla="*/ 153 w 316"/>
              <a:gd name="T51" fmla="*/ 460 h 813"/>
              <a:gd name="T52" fmla="*/ 169 w 316"/>
              <a:gd name="T53" fmla="*/ 475 h 813"/>
              <a:gd name="T54" fmla="*/ 147 w 316"/>
              <a:gd name="T55" fmla="*/ 472 h 813"/>
              <a:gd name="T56" fmla="*/ 144 w 316"/>
              <a:gd name="T57" fmla="*/ 491 h 813"/>
              <a:gd name="T58" fmla="*/ 141 w 316"/>
              <a:gd name="T59" fmla="*/ 513 h 813"/>
              <a:gd name="T60" fmla="*/ 141 w 316"/>
              <a:gd name="T61" fmla="*/ 535 h 813"/>
              <a:gd name="T62" fmla="*/ 116 w 316"/>
              <a:gd name="T63" fmla="*/ 547 h 813"/>
              <a:gd name="T64" fmla="*/ 113 w 316"/>
              <a:gd name="T65" fmla="*/ 576 h 813"/>
              <a:gd name="T66" fmla="*/ 147 w 316"/>
              <a:gd name="T67" fmla="*/ 591 h 813"/>
              <a:gd name="T68" fmla="*/ 150 w 316"/>
              <a:gd name="T69" fmla="*/ 613 h 813"/>
              <a:gd name="T70" fmla="*/ 138 w 316"/>
              <a:gd name="T71" fmla="*/ 632 h 813"/>
              <a:gd name="T72" fmla="*/ 122 w 316"/>
              <a:gd name="T73" fmla="*/ 654 h 813"/>
              <a:gd name="T74" fmla="*/ 113 w 316"/>
              <a:gd name="T75" fmla="*/ 669 h 813"/>
              <a:gd name="T76" fmla="*/ 103 w 316"/>
              <a:gd name="T77" fmla="*/ 694 h 813"/>
              <a:gd name="T78" fmla="*/ 113 w 316"/>
              <a:gd name="T79" fmla="*/ 719 h 813"/>
              <a:gd name="T80" fmla="*/ 116 w 316"/>
              <a:gd name="T81" fmla="*/ 729 h 813"/>
              <a:gd name="T82" fmla="*/ 53 w 316"/>
              <a:gd name="T83" fmla="*/ 713 h 813"/>
              <a:gd name="T84" fmla="*/ 22 w 316"/>
              <a:gd name="T85" fmla="*/ 682 h 813"/>
              <a:gd name="T86" fmla="*/ 35 w 316"/>
              <a:gd name="T87" fmla="*/ 607 h 813"/>
              <a:gd name="T88" fmla="*/ 32 w 316"/>
              <a:gd name="T89" fmla="*/ 557 h 813"/>
              <a:gd name="T90" fmla="*/ 19 w 316"/>
              <a:gd name="T91" fmla="*/ 532 h 813"/>
              <a:gd name="T92" fmla="*/ 19 w 316"/>
              <a:gd name="T93" fmla="*/ 507 h 813"/>
              <a:gd name="T94" fmla="*/ 13 w 316"/>
              <a:gd name="T95" fmla="*/ 460 h 813"/>
              <a:gd name="T96" fmla="*/ 13 w 316"/>
              <a:gd name="T97" fmla="*/ 388 h 813"/>
              <a:gd name="T98" fmla="*/ 19 w 316"/>
              <a:gd name="T99" fmla="*/ 319 h 813"/>
              <a:gd name="T100" fmla="*/ 22 w 316"/>
              <a:gd name="T101" fmla="*/ 269 h 813"/>
              <a:gd name="T102" fmla="*/ 0 w 316"/>
              <a:gd name="T103" fmla="*/ 210 h 813"/>
              <a:gd name="T104" fmla="*/ 10 w 316"/>
              <a:gd name="T105" fmla="*/ 153 h 813"/>
              <a:gd name="T106" fmla="*/ 28 w 316"/>
              <a:gd name="T107" fmla="*/ 103 h 813"/>
              <a:gd name="T108" fmla="*/ 28 w 316"/>
              <a:gd name="T109" fmla="*/ 72 h 813"/>
              <a:gd name="T110" fmla="*/ 210 w 316"/>
              <a:gd name="T111" fmla="*/ 804 h 813"/>
              <a:gd name="T112" fmla="*/ 210 w 316"/>
              <a:gd name="T113" fmla="*/ 804 h 813"/>
              <a:gd name="T114" fmla="*/ 132 w 316"/>
              <a:gd name="T115" fmla="*/ 760 h 813"/>
              <a:gd name="T116" fmla="*/ 141 w 316"/>
              <a:gd name="T117" fmla="*/ 776 h 813"/>
              <a:gd name="T118" fmla="*/ 185 w 316"/>
              <a:gd name="T119" fmla="*/ 798 h 813"/>
              <a:gd name="T120" fmla="*/ 188 w 316"/>
              <a:gd name="T121" fmla="*/ 807 h 813"/>
              <a:gd name="T122" fmla="*/ 144 w 316"/>
              <a:gd name="T123" fmla="*/ 810 h 813"/>
              <a:gd name="T124" fmla="*/ 147 w 316"/>
              <a:gd name="T125" fmla="*/ 801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 h="813">
                <a:moveTo>
                  <a:pt x="50" y="19"/>
                </a:moveTo>
                <a:lnTo>
                  <a:pt x="53" y="16"/>
                </a:lnTo>
                <a:lnTo>
                  <a:pt x="57" y="9"/>
                </a:lnTo>
                <a:lnTo>
                  <a:pt x="63" y="0"/>
                </a:lnTo>
                <a:lnTo>
                  <a:pt x="69" y="0"/>
                </a:lnTo>
                <a:lnTo>
                  <a:pt x="72" y="3"/>
                </a:lnTo>
                <a:lnTo>
                  <a:pt x="78" y="3"/>
                </a:lnTo>
                <a:lnTo>
                  <a:pt x="82" y="3"/>
                </a:lnTo>
                <a:lnTo>
                  <a:pt x="88" y="3"/>
                </a:lnTo>
                <a:lnTo>
                  <a:pt x="94" y="0"/>
                </a:lnTo>
                <a:lnTo>
                  <a:pt x="97" y="3"/>
                </a:lnTo>
                <a:lnTo>
                  <a:pt x="97" y="6"/>
                </a:lnTo>
                <a:lnTo>
                  <a:pt x="100" y="16"/>
                </a:lnTo>
                <a:lnTo>
                  <a:pt x="103" y="19"/>
                </a:lnTo>
                <a:lnTo>
                  <a:pt x="103" y="16"/>
                </a:lnTo>
                <a:lnTo>
                  <a:pt x="103" y="12"/>
                </a:lnTo>
                <a:lnTo>
                  <a:pt x="107" y="9"/>
                </a:lnTo>
                <a:lnTo>
                  <a:pt x="107" y="3"/>
                </a:lnTo>
                <a:lnTo>
                  <a:pt x="110" y="0"/>
                </a:lnTo>
                <a:lnTo>
                  <a:pt x="119" y="0"/>
                </a:lnTo>
                <a:lnTo>
                  <a:pt x="132" y="0"/>
                </a:lnTo>
                <a:lnTo>
                  <a:pt x="135" y="3"/>
                </a:lnTo>
                <a:lnTo>
                  <a:pt x="138" y="9"/>
                </a:lnTo>
                <a:lnTo>
                  <a:pt x="144" y="9"/>
                </a:lnTo>
                <a:lnTo>
                  <a:pt x="147" y="19"/>
                </a:lnTo>
                <a:lnTo>
                  <a:pt x="160" y="31"/>
                </a:lnTo>
                <a:lnTo>
                  <a:pt x="166" y="31"/>
                </a:lnTo>
                <a:lnTo>
                  <a:pt x="169" y="34"/>
                </a:lnTo>
                <a:lnTo>
                  <a:pt x="172" y="41"/>
                </a:lnTo>
                <a:lnTo>
                  <a:pt x="185" y="44"/>
                </a:lnTo>
                <a:lnTo>
                  <a:pt x="191" y="47"/>
                </a:lnTo>
                <a:lnTo>
                  <a:pt x="197" y="47"/>
                </a:lnTo>
                <a:lnTo>
                  <a:pt x="203" y="56"/>
                </a:lnTo>
                <a:lnTo>
                  <a:pt x="213" y="59"/>
                </a:lnTo>
                <a:lnTo>
                  <a:pt x="225" y="62"/>
                </a:lnTo>
                <a:lnTo>
                  <a:pt x="229" y="66"/>
                </a:lnTo>
                <a:lnTo>
                  <a:pt x="235" y="72"/>
                </a:lnTo>
                <a:lnTo>
                  <a:pt x="238" y="75"/>
                </a:lnTo>
                <a:lnTo>
                  <a:pt x="238" y="81"/>
                </a:lnTo>
                <a:lnTo>
                  <a:pt x="235" y="84"/>
                </a:lnTo>
                <a:lnTo>
                  <a:pt x="229" y="88"/>
                </a:lnTo>
                <a:lnTo>
                  <a:pt x="229" y="91"/>
                </a:lnTo>
                <a:lnTo>
                  <a:pt x="229" y="94"/>
                </a:lnTo>
                <a:lnTo>
                  <a:pt x="225" y="103"/>
                </a:lnTo>
                <a:lnTo>
                  <a:pt x="219" y="109"/>
                </a:lnTo>
                <a:lnTo>
                  <a:pt x="219" y="113"/>
                </a:lnTo>
                <a:lnTo>
                  <a:pt x="222" y="113"/>
                </a:lnTo>
                <a:lnTo>
                  <a:pt x="238" y="113"/>
                </a:lnTo>
                <a:lnTo>
                  <a:pt x="247" y="116"/>
                </a:lnTo>
                <a:lnTo>
                  <a:pt x="257" y="119"/>
                </a:lnTo>
                <a:lnTo>
                  <a:pt x="260" y="119"/>
                </a:lnTo>
                <a:lnTo>
                  <a:pt x="263" y="119"/>
                </a:lnTo>
                <a:lnTo>
                  <a:pt x="266" y="119"/>
                </a:lnTo>
                <a:lnTo>
                  <a:pt x="269" y="116"/>
                </a:lnTo>
                <a:lnTo>
                  <a:pt x="272" y="113"/>
                </a:lnTo>
                <a:lnTo>
                  <a:pt x="275" y="116"/>
                </a:lnTo>
                <a:lnTo>
                  <a:pt x="279" y="109"/>
                </a:lnTo>
                <a:lnTo>
                  <a:pt x="282" y="106"/>
                </a:lnTo>
                <a:lnTo>
                  <a:pt x="288" y="100"/>
                </a:lnTo>
                <a:lnTo>
                  <a:pt x="291" y="94"/>
                </a:lnTo>
                <a:lnTo>
                  <a:pt x="294" y="91"/>
                </a:lnTo>
                <a:lnTo>
                  <a:pt x="297" y="88"/>
                </a:lnTo>
                <a:lnTo>
                  <a:pt x="297" y="81"/>
                </a:lnTo>
                <a:lnTo>
                  <a:pt x="297" y="78"/>
                </a:lnTo>
                <a:lnTo>
                  <a:pt x="297" y="72"/>
                </a:lnTo>
                <a:lnTo>
                  <a:pt x="300" y="69"/>
                </a:lnTo>
                <a:lnTo>
                  <a:pt x="310" y="72"/>
                </a:lnTo>
                <a:lnTo>
                  <a:pt x="310" y="75"/>
                </a:lnTo>
                <a:lnTo>
                  <a:pt x="316" y="84"/>
                </a:lnTo>
                <a:lnTo>
                  <a:pt x="313" y="91"/>
                </a:lnTo>
                <a:lnTo>
                  <a:pt x="316" y="97"/>
                </a:lnTo>
                <a:lnTo>
                  <a:pt x="316" y="103"/>
                </a:lnTo>
                <a:lnTo>
                  <a:pt x="316" y="106"/>
                </a:lnTo>
                <a:lnTo>
                  <a:pt x="310" y="106"/>
                </a:lnTo>
                <a:lnTo>
                  <a:pt x="307" y="109"/>
                </a:lnTo>
                <a:lnTo>
                  <a:pt x="307" y="113"/>
                </a:lnTo>
                <a:lnTo>
                  <a:pt x="304" y="113"/>
                </a:lnTo>
                <a:lnTo>
                  <a:pt x="300" y="113"/>
                </a:lnTo>
                <a:lnTo>
                  <a:pt x="294" y="119"/>
                </a:lnTo>
                <a:lnTo>
                  <a:pt x="291" y="122"/>
                </a:lnTo>
                <a:lnTo>
                  <a:pt x="288" y="122"/>
                </a:lnTo>
                <a:lnTo>
                  <a:pt x="282" y="128"/>
                </a:lnTo>
                <a:lnTo>
                  <a:pt x="279" y="128"/>
                </a:lnTo>
                <a:lnTo>
                  <a:pt x="279" y="134"/>
                </a:lnTo>
                <a:lnTo>
                  <a:pt x="275" y="134"/>
                </a:lnTo>
                <a:lnTo>
                  <a:pt x="272" y="134"/>
                </a:lnTo>
                <a:lnTo>
                  <a:pt x="266" y="141"/>
                </a:lnTo>
                <a:lnTo>
                  <a:pt x="266" y="144"/>
                </a:lnTo>
                <a:lnTo>
                  <a:pt x="266" y="150"/>
                </a:lnTo>
                <a:lnTo>
                  <a:pt x="263" y="150"/>
                </a:lnTo>
                <a:lnTo>
                  <a:pt x="263" y="153"/>
                </a:lnTo>
                <a:lnTo>
                  <a:pt x="257" y="159"/>
                </a:lnTo>
                <a:lnTo>
                  <a:pt x="254" y="163"/>
                </a:lnTo>
                <a:lnTo>
                  <a:pt x="250" y="169"/>
                </a:lnTo>
                <a:lnTo>
                  <a:pt x="250" y="169"/>
                </a:lnTo>
                <a:lnTo>
                  <a:pt x="247" y="172"/>
                </a:lnTo>
                <a:lnTo>
                  <a:pt x="247" y="175"/>
                </a:lnTo>
                <a:lnTo>
                  <a:pt x="244" y="178"/>
                </a:lnTo>
                <a:lnTo>
                  <a:pt x="241" y="184"/>
                </a:lnTo>
                <a:lnTo>
                  <a:pt x="244" y="191"/>
                </a:lnTo>
                <a:lnTo>
                  <a:pt x="241" y="194"/>
                </a:lnTo>
                <a:lnTo>
                  <a:pt x="241" y="197"/>
                </a:lnTo>
                <a:lnTo>
                  <a:pt x="241" y="206"/>
                </a:lnTo>
                <a:lnTo>
                  <a:pt x="241" y="210"/>
                </a:lnTo>
                <a:lnTo>
                  <a:pt x="241" y="213"/>
                </a:lnTo>
                <a:lnTo>
                  <a:pt x="238" y="216"/>
                </a:lnTo>
                <a:lnTo>
                  <a:pt x="241" y="222"/>
                </a:lnTo>
                <a:lnTo>
                  <a:pt x="238" y="225"/>
                </a:lnTo>
                <a:lnTo>
                  <a:pt x="241" y="231"/>
                </a:lnTo>
                <a:lnTo>
                  <a:pt x="241" y="238"/>
                </a:lnTo>
                <a:lnTo>
                  <a:pt x="241" y="241"/>
                </a:lnTo>
                <a:lnTo>
                  <a:pt x="238" y="244"/>
                </a:lnTo>
                <a:lnTo>
                  <a:pt x="238" y="247"/>
                </a:lnTo>
                <a:lnTo>
                  <a:pt x="238" y="247"/>
                </a:lnTo>
                <a:lnTo>
                  <a:pt x="238" y="247"/>
                </a:lnTo>
                <a:lnTo>
                  <a:pt x="235" y="253"/>
                </a:lnTo>
                <a:lnTo>
                  <a:pt x="238" y="263"/>
                </a:lnTo>
                <a:lnTo>
                  <a:pt x="238" y="263"/>
                </a:lnTo>
                <a:lnTo>
                  <a:pt x="238" y="266"/>
                </a:lnTo>
                <a:lnTo>
                  <a:pt x="238" y="269"/>
                </a:lnTo>
                <a:lnTo>
                  <a:pt x="238" y="272"/>
                </a:lnTo>
                <a:lnTo>
                  <a:pt x="241" y="275"/>
                </a:lnTo>
                <a:lnTo>
                  <a:pt x="247" y="281"/>
                </a:lnTo>
                <a:lnTo>
                  <a:pt x="257" y="285"/>
                </a:lnTo>
                <a:lnTo>
                  <a:pt x="266" y="291"/>
                </a:lnTo>
                <a:lnTo>
                  <a:pt x="269" y="294"/>
                </a:lnTo>
                <a:lnTo>
                  <a:pt x="269" y="300"/>
                </a:lnTo>
                <a:lnTo>
                  <a:pt x="263" y="310"/>
                </a:lnTo>
                <a:lnTo>
                  <a:pt x="263" y="313"/>
                </a:lnTo>
                <a:lnTo>
                  <a:pt x="266" y="316"/>
                </a:lnTo>
                <a:lnTo>
                  <a:pt x="272" y="319"/>
                </a:lnTo>
                <a:lnTo>
                  <a:pt x="275" y="319"/>
                </a:lnTo>
                <a:lnTo>
                  <a:pt x="279" y="319"/>
                </a:lnTo>
                <a:lnTo>
                  <a:pt x="279" y="319"/>
                </a:lnTo>
                <a:lnTo>
                  <a:pt x="279" y="322"/>
                </a:lnTo>
                <a:lnTo>
                  <a:pt x="279" y="328"/>
                </a:lnTo>
                <a:lnTo>
                  <a:pt x="279" y="335"/>
                </a:lnTo>
                <a:lnTo>
                  <a:pt x="275" y="341"/>
                </a:lnTo>
                <a:lnTo>
                  <a:pt x="275" y="347"/>
                </a:lnTo>
                <a:lnTo>
                  <a:pt x="272" y="347"/>
                </a:lnTo>
                <a:lnTo>
                  <a:pt x="272" y="344"/>
                </a:lnTo>
                <a:lnTo>
                  <a:pt x="269" y="347"/>
                </a:lnTo>
                <a:lnTo>
                  <a:pt x="269" y="353"/>
                </a:lnTo>
                <a:lnTo>
                  <a:pt x="269" y="357"/>
                </a:lnTo>
                <a:lnTo>
                  <a:pt x="269" y="363"/>
                </a:lnTo>
                <a:lnTo>
                  <a:pt x="257" y="369"/>
                </a:lnTo>
                <a:lnTo>
                  <a:pt x="250" y="372"/>
                </a:lnTo>
                <a:lnTo>
                  <a:pt x="247" y="369"/>
                </a:lnTo>
                <a:lnTo>
                  <a:pt x="247" y="372"/>
                </a:lnTo>
                <a:lnTo>
                  <a:pt x="235" y="375"/>
                </a:lnTo>
                <a:lnTo>
                  <a:pt x="222" y="378"/>
                </a:lnTo>
                <a:lnTo>
                  <a:pt x="213" y="382"/>
                </a:lnTo>
                <a:lnTo>
                  <a:pt x="207" y="378"/>
                </a:lnTo>
                <a:lnTo>
                  <a:pt x="200" y="382"/>
                </a:lnTo>
                <a:lnTo>
                  <a:pt x="197" y="382"/>
                </a:lnTo>
                <a:lnTo>
                  <a:pt x="191" y="378"/>
                </a:lnTo>
                <a:lnTo>
                  <a:pt x="188" y="375"/>
                </a:lnTo>
                <a:lnTo>
                  <a:pt x="185" y="375"/>
                </a:lnTo>
                <a:lnTo>
                  <a:pt x="182" y="372"/>
                </a:lnTo>
                <a:lnTo>
                  <a:pt x="182" y="375"/>
                </a:lnTo>
                <a:lnTo>
                  <a:pt x="182" y="378"/>
                </a:lnTo>
                <a:lnTo>
                  <a:pt x="182" y="382"/>
                </a:lnTo>
                <a:lnTo>
                  <a:pt x="182" y="388"/>
                </a:lnTo>
                <a:lnTo>
                  <a:pt x="185" y="391"/>
                </a:lnTo>
                <a:lnTo>
                  <a:pt x="185" y="391"/>
                </a:lnTo>
                <a:lnTo>
                  <a:pt x="188" y="391"/>
                </a:lnTo>
                <a:lnTo>
                  <a:pt x="188" y="394"/>
                </a:lnTo>
                <a:lnTo>
                  <a:pt x="188" y="397"/>
                </a:lnTo>
                <a:lnTo>
                  <a:pt x="185" y="397"/>
                </a:lnTo>
                <a:lnTo>
                  <a:pt x="185" y="400"/>
                </a:lnTo>
                <a:lnTo>
                  <a:pt x="182" y="403"/>
                </a:lnTo>
                <a:lnTo>
                  <a:pt x="182" y="407"/>
                </a:lnTo>
                <a:lnTo>
                  <a:pt x="182" y="407"/>
                </a:lnTo>
                <a:lnTo>
                  <a:pt x="182" y="413"/>
                </a:lnTo>
                <a:lnTo>
                  <a:pt x="185" y="416"/>
                </a:lnTo>
                <a:lnTo>
                  <a:pt x="188" y="416"/>
                </a:lnTo>
                <a:lnTo>
                  <a:pt x="185" y="419"/>
                </a:lnTo>
                <a:lnTo>
                  <a:pt x="185" y="422"/>
                </a:lnTo>
                <a:lnTo>
                  <a:pt x="185" y="425"/>
                </a:lnTo>
                <a:lnTo>
                  <a:pt x="185" y="428"/>
                </a:lnTo>
                <a:lnTo>
                  <a:pt x="182" y="432"/>
                </a:lnTo>
                <a:lnTo>
                  <a:pt x="182" y="432"/>
                </a:lnTo>
                <a:lnTo>
                  <a:pt x="175" y="438"/>
                </a:lnTo>
                <a:lnTo>
                  <a:pt x="163" y="438"/>
                </a:lnTo>
                <a:lnTo>
                  <a:pt x="157" y="435"/>
                </a:lnTo>
                <a:lnTo>
                  <a:pt x="150" y="432"/>
                </a:lnTo>
                <a:lnTo>
                  <a:pt x="144" y="428"/>
                </a:lnTo>
                <a:lnTo>
                  <a:pt x="138" y="428"/>
                </a:lnTo>
                <a:lnTo>
                  <a:pt x="138" y="428"/>
                </a:lnTo>
                <a:lnTo>
                  <a:pt x="138" y="425"/>
                </a:lnTo>
                <a:lnTo>
                  <a:pt x="135" y="425"/>
                </a:lnTo>
                <a:lnTo>
                  <a:pt x="132" y="428"/>
                </a:lnTo>
                <a:lnTo>
                  <a:pt x="132" y="438"/>
                </a:lnTo>
                <a:lnTo>
                  <a:pt x="135" y="441"/>
                </a:lnTo>
                <a:lnTo>
                  <a:pt x="138" y="447"/>
                </a:lnTo>
                <a:lnTo>
                  <a:pt x="138" y="457"/>
                </a:lnTo>
                <a:lnTo>
                  <a:pt x="138" y="460"/>
                </a:lnTo>
                <a:lnTo>
                  <a:pt x="144" y="463"/>
                </a:lnTo>
                <a:lnTo>
                  <a:pt x="150" y="463"/>
                </a:lnTo>
                <a:lnTo>
                  <a:pt x="150" y="463"/>
                </a:lnTo>
                <a:lnTo>
                  <a:pt x="150" y="466"/>
                </a:lnTo>
                <a:lnTo>
                  <a:pt x="147" y="466"/>
                </a:lnTo>
                <a:lnTo>
                  <a:pt x="150" y="469"/>
                </a:lnTo>
                <a:lnTo>
                  <a:pt x="157" y="466"/>
                </a:lnTo>
                <a:lnTo>
                  <a:pt x="157" y="463"/>
                </a:lnTo>
                <a:lnTo>
                  <a:pt x="153" y="463"/>
                </a:lnTo>
                <a:lnTo>
                  <a:pt x="153" y="463"/>
                </a:lnTo>
                <a:lnTo>
                  <a:pt x="153" y="460"/>
                </a:lnTo>
                <a:lnTo>
                  <a:pt x="157" y="460"/>
                </a:lnTo>
                <a:lnTo>
                  <a:pt x="163" y="457"/>
                </a:lnTo>
                <a:lnTo>
                  <a:pt x="163" y="457"/>
                </a:lnTo>
                <a:lnTo>
                  <a:pt x="166" y="463"/>
                </a:lnTo>
                <a:lnTo>
                  <a:pt x="166" y="466"/>
                </a:lnTo>
                <a:lnTo>
                  <a:pt x="166" y="466"/>
                </a:lnTo>
                <a:lnTo>
                  <a:pt x="166" y="469"/>
                </a:lnTo>
                <a:lnTo>
                  <a:pt x="169" y="475"/>
                </a:lnTo>
                <a:lnTo>
                  <a:pt x="169" y="479"/>
                </a:lnTo>
                <a:lnTo>
                  <a:pt x="160" y="482"/>
                </a:lnTo>
                <a:lnTo>
                  <a:pt x="157" y="482"/>
                </a:lnTo>
                <a:lnTo>
                  <a:pt x="157" y="479"/>
                </a:lnTo>
                <a:lnTo>
                  <a:pt x="157" y="475"/>
                </a:lnTo>
                <a:lnTo>
                  <a:pt x="157" y="472"/>
                </a:lnTo>
                <a:lnTo>
                  <a:pt x="150" y="472"/>
                </a:lnTo>
                <a:lnTo>
                  <a:pt x="147" y="472"/>
                </a:lnTo>
                <a:lnTo>
                  <a:pt x="144" y="475"/>
                </a:lnTo>
                <a:lnTo>
                  <a:pt x="141" y="479"/>
                </a:lnTo>
                <a:lnTo>
                  <a:pt x="144" y="482"/>
                </a:lnTo>
                <a:lnTo>
                  <a:pt x="147" y="482"/>
                </a:lnTo>
                <a:lnTo>
                  <a:pt x="153" y="482"/>
                </a:lnTo>
                <a:lnTo>
                  <a:pt x="153" y="485"/>
                </a:lnTo>
                <a:lnTo>
                  <a:pt x="150" y="488"/>
                </a:lnTo>
                <a:lnTo>
                  <a:pt x="144" y="491"/>
                </a:lnTo>
                <a:lnTo>
                  <a:pt x="141" y="494"/>
                </a:lnTo>
                <a:lnTo>
                  <a:pt x="144" y="494"/>
                </a:lnTo>
                <a:lnTo>
                  <a:pt x="141" y="497"/>
                </a:lnTo>
                <a:lnTo>
                  <a:pt x="138" y="500"/>
                </a:lnTo>
                <a:lnTo>
                  <a:pt x="138" y="507"/>
                </a:lnTo>
                <a:lnTo>
                  <a:pt x="141" y="510"/>
                </a:lnTo>
                <a:lnTo>
                  <a:pt x="141" y="513"/>
                </a:lnTo>
                <a:lnTo>
                  <a:pt x="141" y="513"/>
                </a:lnTo>
                <a:lnTo>
                  <a:pt x="144" y="519"/>
                </a:lnTo>
                <a:lnTo>
                  <a:pt x="144" y="519"/>
                </a:lnTo>
                <a:lnTo>
                  <a:pt x="144" y="522"/>
                </a:lnTo>
                <a:lnTo>
                  <a:pt x="144" y="525"/>
                </a:lnTo>
                <a:lnTo>
                  <a:pt x="138" y="529"/>
                </a:lnTo>
                <a:lnTo>
                  <a:pt x="138" y="532"/>
                </a:lnTo>
                <a:lnTo>
                  <a:pt x="138" y="532"/>
                </a:lnTo>
                <a:lnTo>
                  <a:pt x="141" y="535"/>
                </a:lnTo>
                <a:lnTo>
                  <a:pt x="144" y="535"/>
                </a:lnTo>
                <a:lnTo>
                  <a:pt x="141" y="538"/>
                </a:lnTo>
                <a:lnTo>
                  <a:pt x="135" y="538"/>
                </a:lnTo>
                <a:lnTo>
                  <a:pt x="132" y="538"/>
                </a:lnTo>
                <a:lnTo>
                  <a:pt x="128" y="538"/>
                </a:lnTo>
                <a:lnTo>
                  <a:pt x="122" y="544"/>
                </a:lnTo>
                <a:lnTo>
                  <a:pt x="119" y="544"/>
                </a:lnTo>
                <a:lnTo>
                  <a:pt x="116" y="547"/>
                </a:lnTo>
                <a:lnTo>
                  <a:pt x="113" y="547"/>
                </a:lnTo>
                <a:lnTo>
                  <a:pt x="113" y="554"/>
                </a:lnTo>
                <a:lnTo>
                  <a:pt x="110" y="557"/>
                </a:lnTo>
                <a:lnTo>
                  <a:pt x="107" y="560"/>
                </a:lnTo>
                <a:lnTo>
                  <a:pt x="107" y="563"/>
                </a:lnTo>
                <a:lnTo>
                  <a:pt x="107" y="566"/>
                </a:lnTo>
                <a:lnTo>
                  <a:pt x="107" y="569"/>
                </a:lnTo>
                <a:lnTo>
                  <a:pt x="113" y="576"/>
                </a:lnTo>
                <a:lnTo>
                  <a:pt x="116" y="579"/>
                </a:lnTo>
                <a:lnTo>
                  <a:pt x="119" y="582"/>
                </a:lnTo>
                <a:lnTo>
                  <a:pt x="125" y="585"/>
                </a:lnTo>
                <a:lnTo>
                  <a:pt x="132" y="591"/>
                </a:lnTo>
                <a:lnTo>
                  <a:pt x="138" y="591"/>
                </a:lnTo>
                <a:lnTo>
                  <a:pt x="141" y="591"/>
                </a:lnTo>
                <a:lnTo>
                  <a:pt x="144" y="591"/>
                </a:lnTo>
                <a:lnTo>
                  <a:pt x="147" y="591"/>
                </a:lnTo>
                <a:lnTo>
                  <a:pt x="147" y="594"/>
                </a:lnTo>
                <a:lnTo>
                  <a:pt x="147" y="594"/>
                </a:lnTo>
                <a:lnTo>
                  <a:pt x="147" y="597"/>
                </a:lnTo>
                <a:lnTo>
                  <a:pt x="147" y="604"/>
                </a:lnTo>
                <a:lnTo>
                  <a:pt x="147" y="607"/>
                </a:lnTo>
                <a:lnTo>
                  <a:pt x="144" y="610"/>
                </a:lnTo>
                <a:lnTo>
                  <a:pt x="147" y="610"/>
                </a:lnTo>
                <a:lnTo>
                  <a:pt x="150" y="613"/>
                </a:lnTo>
                <a:lnTo>
                  <a:pt x="147" y="613"/>
                </a:lnTo>
                <a:lnTo>
                  <a:pt x="147" y="616"/>
                </a:lnTo>
                <a:lnTo>
                  <a:pt x="150" y="616"/>
                </a:lnTo>
                <a:lnTo>
                  <a:pt x="147" y="622"/>
                </a:lnTo>
                <a:lnTo>
                  <a:pt x="144" y="622"/>
                </a:lnTo>
                <a:lnTo>
                  <a:pt x="141" y="626"/>
                </a:lnTo>
                <a:lnTo>
                  <a:pt x="141" y="626"/>
                </a:lnTo>
                <a:lnTo>
                  <a:pt x="138" y="632"/>
                </a:lnTo>
                <a:lnTo>
                  <a:pt x="135" y="635"/>
                </a:lnTo>
                <a:lnTo>
                  <a:pt x="132" y="635"/>
                </a:lnTo>
                <a:lnTo>
                  <a:pt x="128" y="638"/>
                </a:lnTo>
                <a:lnTo>
                  <a:pt x="125" y="644"/>
                </a:lnTo>
                <a:lnTo>
                  <a:pt x="125" y="647"/>
                </a:lnTo>
                <a:lnTo>
                  <a:pt x="122" y="651"/>
                </a:lnTo>
                <a:lnTo>
                  <a:pt x="122" y="654"/>
                </a:lnTo>
                <a:lnTo>
                  <a:pt x="122" y="654"/>
                </a:lnTo>
                <a:lnTo>
                  <a:pt x="125" y="654"/>
                </a:lnTo>
                <a:lnTo>
                  <a:pt x="128" y="660"/>
                </a:lnTo>
                <a:lnTo>
                  <a:pt x="125" y="663"/>
                </a:lnTo>
                <a:lnTo>
                  <a:pt x="122" y="666"/>
                </a:lnTo>
                <a:lnTo>
                  <a:pt x="122" y="669"/>
                </a:lnTo>
                <a:lnTo>
                  <a:pt x="119" y="672"/>
                </a:lnTo>
                <a:lnTo>
                  <a:pt x="116" y="672"/>
                </a:lnTo>
                <a:lnTo>
                  <a:pt x="113" y="669"/>
                </a:lnTo>
                <a:lnTo>
                  <a:pt x="110" y="666"/>
                </a:lnTo>
                <a:lnTo>
                  <a:pt x="113" y="669"/>
                </a:lnTo>
                <a:lnTo>
                  <a:pt x="113" y="672"/>
                </a:lnTo>
                <a:lnTo>
                  <a:pt x="113" y="676"/>
                </a:lnTo>
                <a:lnTo>
                  <a:pt x="110" y="679"/>
                </a:lnTo>
                <a:lnTo>
                  <a:pt x="107" y="682"/>
                </a:lnTo>
                <a:lnTo>
                  <a:pt x="103" y="688"/>
                </a:lnTo>
                <a:lnTo>
                  <a:pt x="103" y="694"/>
                </a:lnTo>
                <a:lnTo>
                  <a:pt x="110" y="701"/>
                </a:lnTo>
                <a:lnTo>
                  <a:pt x="113" y="710"/>
                </a:lnTo>
                <a:lnTo>
                  <a:pt x="113" y="713"/>
                </a:lnTo>
                <a:lnTo>
                  <a:pt x="113" y="713"/>
                </a:lnTo>
                <a:lnTo>
                  <a:pt x="113" y="716"/>
                </a:lnTo>
                <a:lnTo>
                  <a:pt x="110" y="716"/>
                </a:lnTo>
                <a:lnTo>
                  <a:pt x="113" y="719"/>
                </a:lnTo>
                <a:lnTo>
                  <a:pt x="113" y="719"/>
                </a:lnTo>
                <a:lnTo>
                  <a:pt x="116" y="723"/>
                </a:lnTo>
                <a:lnTo>
                  <a:pt x="119" y="726"/>
                </a:lnTo>
                <a:lnTo>
                  <a:pt x="125" y="729"/>
                </a:lnTo>
                <a:lnTo>
                  <a:pt x="128" y="732"/>
                </a:lnTo>
                <a:lnTo>
                  <a:pt x="128" y="735"/>
                </a:lnTo>
                <a:lnTo>
                  <a:pt x="128" y="735"/>
                </a:lnTo>
                <a:lnTo>
                  <a:pt x="122" y="735"/>
                </a:lnTo>
                <a:lnTo>
                  <a:pt x="116" y="729"/>
                </a:lnTo>
                <a:lnTo>
                  <a:pt x="113" y="729"/>
                </a:lnTo>
                <a:lnTo>
                  <a:pt x="113" y="726"/>
                </a:lnTo>
                <a:lnTo>
                  <a:pt x="88" y="726"/>
                </a:lnTo>
                <a:lnTo>
                  <a:pt x="72" y="729"/>
                </a:lnTo>
                <a:lnTo>
                  <a:pt x="69" y="729"/>
                </a:lnTo>
                <a:lnTo>
                  <a:pt x="60" y="726"/>
                </a:lnTo>
                <a:lnTo>
                  <a:pt x="57" y="719"/>
                </a:lnTo>
                <a:lnTo>
                  <a:pt x="53" y="713"/>
                </a:lnTo>
                <a:lnTo>
                  <a:pt x="50" y="707"/>
                </a:lnTo>
                <a:lnTo>
                  <a:pt x="50" y="698"/>
                </a:lnTo>
                <a:lnTo>
                  <a:pt x="50" y="691"/>
                </a:lnTo>
                <a:lnTo>
                  <a:pt x="44" y="691"/>
                </a:lnTo>
                <a:lnTo>
                  <a:pt x="38" y="694"/>
                </a:lnTo>
                <a:lnTo>
                  <a:pt x="35" y="698"/>
                </a:lnTo>
                <a:lnTo>
                  <a:pt x="32" y="698"/>
                </a:lnTo>
                <a:lnTo>
                  <a:pt x="22" y="682"/>
                </a:lnTo>
                <a:lnTo>
                  <a:pt x="22" y="676"/>
                </a:lnTo>
                <a:lnTo>
                  <a:pt x="25" y="657"/>
                </a:lnTo>
                <a:lnTo>
                  <a:pt x="28" y="651"/>
                </a:lnTo>
                <a:lnTo>
                  <a:pt x="35" y="644"/>
                </a:lnTo>
                <a:lnTo>
                  <a:pt x="38" y="635"/>
                </a:lnTo>
                <a:lnTo>
                  <a:pt x="35" y="626"/>
                </a:lnTo>
                <a:lnTo>
                  <a:pt x="32" y="616"/>
                </a:lnTo>
                <a:lnTo>
                  <a:pt x="35" y="607"/>
                </a:lnTo>
                <a:lnTo>
                  <a:pt x="38" y="604"/>
                </a:lnTo>
                <a:lnTo>
                  <a:pt x="35" y="594"/>
                </a:lnTo>
                <a:lnTo>
                  <a:pt x="35" y="588"/>
                </a:lnTo>
                <a:lnTo>
                  <a:pt x="38" y="585"/>
                </a:lnTo>
                <a:lnTo>
                  <a:pt x="35" y="576"/>
                </a:lnTo>
                <a:lnTo>
                  <a:pt x="35" y="566"/>
                </a:lnTo>
                <a:lnTo>
                  <a:pt x="32" y="560"/>
                </a:lnTo>
                <a:lnTo>
                  <a:pt x="32" y="557"/>
                </a:lnTo>
                <a:lnTo>
                  <a:pt x="38" y="554"/>
                </a:lnTo>
                <a:lnTo>
                  <a:pt x="38" y="547"/>
                </a:lnTo>
                <a:lnTo>
                  <a:pt x="32" y="541"/>
                </a:lnTo>
                <a:lnTo>
                  <a:pt x="25" y="538"/>
                </a:lnTo>
                <a:lnTo>
                  <a:pt x="22" y="538"/>
                </a:lnTo>
                <a:lnTo>
                  <a:pt x="22" y="538"/>
                </a:lnTo>
                <a:lnTo>
                  <a:pt x="19" y="535"/>
                </a:lnTo>
                <a:lnTo>
                  <a:pt x="19" y="532"/>
                </a:lnTo>
                <a:lnTo>
                  <a:pt x="28" y="532"/>
                </a:lnTo>
                <a:lnTo>
                  <a:pt x="32" y="525"/>
                </a:lnTo>
                <a:lnTo>
                  <a:pt x="32" y="522"/>
                </a:lnTo>
                <a:lnTo>
                  <a:pt x="32" y="522"/>
                </a:lnTo>
                <a:lnTo>
                  <a:pt x="28" y="522"/>
                </a:lnTo>
                <a:lnTo>
                  <a:pt x="22" y="522"/>
                </a:lnTo>
                <a:lnTo>
                  <a:pt x="22" y="513"/>
                </a:lnTo>
                <a:lnTo>
                  <a:pt x="19" y="507"/>
                </a:lnTo>
                <a:lnTo>
                  <a:pt x="19" y="500"/>
                </a:lnTo>
                <a:lnTo>
                  <a:pt x="19" y="494"/>
                </a:lnTo>
                <a:lnTo>
                  <a:pt x="13" y="491"/>
                </a:lnTo>
                <a:lnTo>
                  <a:pt x="10" y="485"/>
                </a:lnTo>
                <a:lnTo>
                  <a:pt x="10" y="469"/>
                </a:lnTo>
                <a:lnTo>
                  <a:pt x="13" y="466"/>
                </a:lnTo>
                <a:lnTo>
                  <a:pt x="16" y="463"/>
                </a:lnTo>
                <a:lnTo>
                  <a:pt x="13" y="460"/>
                </a:lnTo>
                <a:lnTo>
                  <a:pt x="10" y="457"/>
                </a:lnTo>
                <a:lnTo>
                  <a:pt x="7" y="447"/>
                </a:lnTo>
                <a:lnTo>
                  <a:pt x="7" y="435"/>
                </a:lnTo>
                <a:lnTo>
                  <a:pt x="7" y="419"/>
                </a:lnTo>
                <a:lnTo>
                  <a:pt x="3" y="413"/>
                </a:lnTo>
                <a:lnTo>
                  <a:pt x="3" y="407"/>
                </a:lnTo>
                <a:lnTo>
                  <a:pt x="10" y="397"/>
                </a:lnTo>
                <a:lnTo>
                  <a:pt x="13" y="388"/>
                </a:lnTo>
                <a:lnTo>
                  <a:pt x="16" y="385"/>
                </a:lnTo>
                <a:lnTo>
                  <a:pt x="19" y="382"/>
                </a:lnTo>
                <a:lnTo>
                  <a:pt x="7" y="357"/>
                </a:lnTo>
                <a:lnTo>
                  <a:pt x="10" y="350"/>
                </a:lnTo>
                <a:lnTo>
                  <a:pt x="10" y="344"/>
                </a:lnTo>
                <a:lnTo>
                  <a:pt x="10" y="332"/>
                </a:lnTo>
                <a:lnTo>
                  <a:pt x="13" y="322"/>
                </a:lnTo>
                <a:lnTo>
                  <a:pt x="19" y="319"/>
                </a:lnTo>
                <a:lnTo>
                  <a:pt x="16" y="310"/>
                </a:lnTo>
                <a:lnTo>
                  <a:pt x="13" y="303"/>
                </a:lnTo>
                <a:lnTo>
                  <a:pt x="10" y="300"/>
                </a:lnTo>
                <a:lnTo>
                  <a:pt x="16" y="294"/>
                </a:lnTo>
                <a:lnTo>
                  <a:pt x="13" y="288"/>
                </a:lnTo>
                <a:lnTo>
                  <a:pt x="16" y="278"/>
                </a:lnTo>
                <a:lnTo>
                  <a:pt x="22" y="278"/>
                </a:lnTo>
                <a:lnTo>
                  <a:pt x="22" y="269"/>
                </a:lnTo>
                <a:lnTo>
                  <a:pt x="19" y="253"/>
                </a:lnTo>
                <a:lnTo>
                  <a:pt x="16" y="250"/>
                </a:lnTo>
                <a:lnTo>
                  <a:pt x="16" y="241"/>
                </a:lnTo>
                <a:lnTo>
                  <a:pt x="13" y="235"/>
                </a:lnTo>
                <a:lnTo>
                  <a:pt x="7" y="225"/>
                </a:lnTo>
                <a:lnTo>
                  <a:pt x="7" y="222"/>
                </a:lnTo>
                <a:lnTo>
                  <a:pt x="3" y="219"/>
                </a:lnTo>
                <a:lnTo>
                  <a:pt x="0" y="210"/>
                </a:lnTo>
                <a:lnTo>
                  <a:pt x="3" y="200"/>
                </a:lnTo>
                <a:lnTo>
                  <a:pt x="7" y="197"/>
                </a:lnTo>
                <a:lnTo>
                  <a:pt x="7" y="188"/>
                </a:lnTo>
                <a:lnTo>
                  <a:pt x="10" y="184"/>
                </a:lnTo>
                <a:lnTo>
                  <a:pt x="10" y="175"/>
                </a:lnTo>
                <a:lnTo>
                  <a:pt x="7" y="169"/>
                </a:lnTo>
                <a:lnTo>
                  <a:pt x="7" y="156"/>
                </a:lnTo>
                <a:lnTo>
                  <a:pt x="10" y="153"/>
                </a:lnTo>
                <a:lnTo>
                  <a:pt x="10" y="141"/>
                </a:lnTo>
                <a:lnTo>
                  <a:pt x="16" y="134"/>
                </a:lnTo>
                <a:lnTo>
                  <a:pt x="19" y="122"/>
                </a:lnTo>
                <a:lnTo>
                  <a:pt x="25" y="116"/>
                </a:lnTo>
                <a:lnTo>
                  <a:pt x="28" y="116"/>
                </a:lnTo>
                <a:lnTo>
                  <a:pt x="32" y="109"/>
                </a:lnTo>
                <a:lnTo>
                  <a:pt x="28" y="109"/>
                </a:lnTo>
                <a:lnTo>
                  <a:pt x="28" y="103"/>
                </a:lnTo>
                <a:lnTo>
                  <a:pt x="28" y="100"/>
                </a:lnTo>
                <a:lnTo>
                  <a:pt x="25" y="97"/>
                </a:lnTo>
                <a:lnTo>
                  <a:pt x="25" y="94"/>
                </a:lnTo>
                <a:lnTo>
                  <a:pt x="32" y="91"/>
                </a:lnTo>
                <a:lnTo>
                  <a:pt x="32" y="88"/>
                </a:lnTo>
                <a:lnTo>
                  <a:pt x="25" y="81"/>
                </a:lnTo>
                <a:lnTo>
                  <a:pt x="25" y="75"/>
                </a:lnTo>
                <a:lnTo>
                  <a:pt x="28" y="72"/>
                </a:lnTo>
                <a:lnTo>
                  <a:pt x="25" y="66"/>
                </a:lnTo>
                <a:lnTo>
                  <a:pt x="22" y="62"/>
                </a:lnTo>
                <a:lnTo>
                  <a:pt x="25" y="59"/>
                </a:lnTo>
                <a:lnTo>
                  <a:pt x="47" y="47"/>
                </a:lnTo>
                <a:lnTo>
                  <a:pt x="53" y="25"/>
                </a:lnTo>
                <a:lnTo>
                  <a:pt x="50" y="19"/>
                </a:lnTo>
                <a:lnTo>
                  <a:pt x="50" y="19"/>
                </a:lnTo>
                <a:close/>
                <a:moveTo>
                  <a:pt x="210" y="804"/>
                </a:moveTo>
                <a:lnTo>
                  <a:pt x="213" y="807"/>
                </a:lnTo>
                <a:lnTo>
                  <a:pt x="219" y="804"/>
                </a:lnTo>
                <a:lnTo>
                  <a:pt x="222" y="804"/>
                </a:lnTo>
                <a:lnTo>
                  <a:pt x="225" y="798"/>
                </a:lnTo>
                <a:lnTo>
                  <a:pt x="222" y="798"/>
                </a:lnTo>
                <a:lnTo>
                  <a:pt x="219" y="801"/>
                </a:lnTo>
                <a:lnTo>
                  <a:pt x="213" y="801"/>
                </a:lnTo>
                <a:lnTo>
                  <a:pt x="210" y="804"/>
                </a:lnTo>
                <a:lnTo>
                  <a:pt x="210" y="804"/>
                </a:lnTo>
                <a:close/>
                <a:moveTo>
                  <a:pt x="122" y="741"/>
                </a:moveTo>
                <a:lnTo>
                  <a:pt x="125" y="741"/>
                </a:lnTo>
                <a:lnTo>
                  <a:pt x="125" y="744"/>
                </a:lnTo>
                <a:lnTo>
                  <a:pt x="132" y="751"/>
                </a:lnTo>
                <a:lnTo>
                  <a:pt x="135" y="760"/>
                </a:lnTo>
                <a:lnTo>
                  <a:pt x="132" y="760"/>
                </a:lnTo>
                <a:lnTo>
                  <a:pt x="132" y="760"/>
                </a:lnTo>
                <a:lnTo>
                  <a:pt x="128" y="763"/>
                </a:lnTo>
                <a:lnTo>
                  <a:pt x="122" y="741"/>
                </a:lnTo>
                <a:lnTo>
                  <a:pt x="122" y="741"/>
                </a:lnTo>
                <a:close/>
                <a:moveTo>
                  <a:pt x="128" y="763"/>
                </a:moveTo>
                <a:lnTo>
                  <a:pt x="132" y="766"/>
                </a:lnTo>
                <a:lnTo>
                  <a:pt x="138" y="766"/>
                </a:lnTo>
                <a:lnTo>
                  <a:pt x="141" y="769"/>
                </a:lnTo>
                <a:lnTo>
                  <a:pt x="141" y="776"/>
                </a:lnTo>
                <a:lnTo>
                  <a:pt x="147" y="776"/>
                </a:lnTo>
                <a:lnTo>
                  <a:pt x="153" y="779"/>
                </a:lnTo>
                <a:lnTo>
                  <a:pt x="153" y="785"/>
                </a:lnTo>
                <a:lnTo>
                  <a:pt x="157" y="785"/>
                </a:lnTo>
                <a:lnTo>
                  <a:pt x="172" y="791"/>
                </a:lnTo>
                <a:lnTo>
                  <a:pt x="175" y="794"/>
                </a:lnTo>
                <a:lnTo>
                  <a:pt x="178" y="794"/>
                </a:lnTo>
                <a:lnTo>
                  <a:pt x="185" y="798"/>
                </a:lnTo>
                <a:lnTo>
                  <a:pt x="188" y="801"/>
                </a:lnTo>
                <a:lnTo>
                  <a:pt x="197" y="798"/>
                </a:lnTo>
                <a:lnTo>
                  <a:pt x="200" y="798"/>
                </a:lnTo>
                <a:lnTo>
                  <a:pt x="200" y="804"/>
                </a:lnTo>
                <a:lnTo>
                  <a:pt x="194" y="804"/>
                </a:lnTo>
                <a:lnTo>
                  <a:pt x="194" y="804"/>
                </a:lnTo>
                <a:lnTo>
                  <a:pt x="188" y="804"/>
                </a:lnTo>
                <a:lnTo>
                  <a:pt x="188" y="807"/>
                </a:lnTo>
                <a:lnTo>
                  <a:pt x="185" y="813"/>
                </a:lnTo>
                <a:lnTo>
                  <a:pt x="182" y="813"/>
                </a:lnTo>
                <a:lnTo>
                  <a:pt x="175" y="810"/>
                </a:lnTo>
                <a:lnTo>
                  <a:pt x="172" y="810"/>
                </a:lnTo>
                <a:lnTo>
                  <a:pt x="163" y="807"/>
                </a:lnTo>
                <a:lnTo>
                  <a:pt x="157" y="810"/>
                </a:lnTo>
                <a:lnTo>
                  <a:pt x="150" y="807"/>
                </a:lnTo>
                <a:lnTo>
                  <a:pt x="144" y="810"/>
                </a:lnTo>
                <a:lnTo>
                  <a:pt x="141" y="810"/>
                </a:lnTo>
                <a:lnTo>
                  <a:pt x="138" y="804"/>
                </a:lnTo>
                <a:lnTo>
                  <a:pt x="147" y="804"/>
                </a:lnTo>
                <a:lnTo>
                  <a:pt x="153" y="801"/>
                </a:lnTo>
                <a:lnTo>
                  <a:pt x="157" y="801"/>
                </a:lnTo>
                <a:lnTo>
                  <a:pt x="157" y="798"/>
                </a:lnTo>
                <a:lnTo>
                  <a:pt x="150" y="801"/>
                </a:lnTo>
                <a:lnTo>
                  <a:pt x="147" y="801"/>
                </a:lnTo>
                <a:lnTo>
                  <a:pt x="141" y="801"/>
                </a:lnTo>
                <a:lnTo>
                  <a:pt x="138" y="801"/>
                </a:lnTo>
                <a:lnTo>
                  <a:pt x="128" y="763"/>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0" name="Freeform 198">
            <a:extLst>
              <a:ext uri="{FF2B5EF4-FFF2-40B4-BE49-F238E27FC236}">
                <a16:creationId xmlns:a16="http://schemas.microsoft.com/office/drawing/2014/main" id="{87595A88-9575-6967-AFA9-6B4931DC6FEF}"/>
              </a:ext>
            </a:extLst>
          </p:cNvPr>
          <p:cNvSpPr>
            <a:spLocks noEditPoints="1"/>
          </p:cNvSpPr>
          <p:nvPr userDrawn="1"/>
        </p:nvSpPr>
        <p:spPr bwMode="auto">
          <a:xfrm>
            <a:off x="8794176" y="10508535"/>
            <a:ext cx="682582" cy="2968626"/>
          </a:xfrm>
          <a:custGeom>
            <a:avLst/>
            <a:gdLst>
              <a:gd name="T0" fmla="*/ 47 w 69"/>
              <a:gd name="T1" fmla="*/ 287 h 299"/>
              <a:gd name="T2" fmla="*/ 46 w 69"/>
              <a:gd name="T3" fmla="*/ 290 h 299"/>
              <a:gd name="T4" fmla="*/ 57 w 69"/>
              <a:gd name="T5" fmla="*/ 290 h 299"/>
              <a:gd name="T6" fmla="*/ 47 w 69"/>
              <a:gd name="T7" fmla="*/ 278 h 299"/>
              <a:gd name="T8" fmla="*/ 55 w 69"/>
              <a:gd name="T9" fmla="*/ 274 h 299"/>
              <a:gd name="T10" fmla="*/ 21 w 69"/>
              <a:gd name="T11" fmla="*/ 246 h 299"/>
              <a:gd name="T12" fmla="*/ 21 w 69"/>
              <a:gd name="T13" fmla="*/ 202 h 299"/>
              <a:gd name="T14" fmla="*/ 16 w 69"/>
              <a:gd name="T15" fmla="*/ 169 h 299"/>
              <a:gd name="T16" fmla="*/ 21 w 69"/>
              <a:gd name="T17" fmla="*/ 116 h 299"/>
              <a:gd name="T18" fmla="*/ 23 w 69"/>
              <a:gd name="T19" fmla="*/ 67 h 299"/>
              <a:gd name="T20" fmla="*/ 22 w 69"/>
              <a:gd name="T21" fmla="*/ 25 h 299"/>
              <a:gd name="T22" fmla="*/ 10 w 69"/>
              <a:gd name="T23" fmla="*/ 5 h 299"/>
              <a:gd name="T24" fmla="*/ 7 w 69"/>
              <a:gd name="T25" fmla="*/ 39 h 299"/>
              <a:gd name="T26" fmla="*/ 7 w 69"/>
              <a:gd name="T27" fmla="*/ 74 h 299"/>
              <a:gd name="T28" fmla="*/ 9 w 69"/>
              <a:gd name="T29" fmla="*/ 106 h 299"/>
              <a:gd name="T30" fmla="*/ 6 w 69"/>
              <a:gd name="T31" fmla="*/ 129 h 299"/>
              <a:gd name="T32" fmla="*/ 3 w 69"/>
              <a:gd name="T33" fmla="*/ 148 h 299"/>
              <a:gd name="T34" fmla="*/ 4 w 69"/>
              <a:gd name="T35" fmla="*/ 172 h 299"/>
              <a:gd name="T36" fmla="*/ 15 w 69"/>
              <a:gd name="T37" fmla="*/ 183 h 299"/>
              <a:gd name="T38" fmla="*/ 12 w 69"/>
              <a:gd name="T39" fmla="*/ 196 h 299"/>
              <a:gd name="T40" fmla="*/ 12 w 69"/>
              <a:gd name="T41" fmla="*/ 216 h 299"/>
              <a:gd name="T42" fmla="*/ 4 w 69"/>
              <a:gd name="T43" fmla="*/ 211 h 299"/>
              <a:gd name="T44" fmla="*/ 8 w 69"/>
              <a:gd name="T45" fmla="*/ 219 h 299"/>
              <a:gd name="T46" fmla="*/ 14 w 69"/>
              <a:gd name="T47" fmla="*/ 227 h 299"/>
              <a:gd name="T48" fmla="*/ 14 w 69"/>
              <a:gd name="T49" fmla="*/ 235 h 299"/>
              <a:gd name="T50" fmla="*/ 16 w 69"/>
              <a:gd name="T51" fmla="*/ 246 h 299"/>
              <a:gd name="T52" fmla="*/ 22 w 69"/>
              <a:gd name="T53" fmla="*/ 258 h 299"/>
              <a:gd name="T54" fmla="*/ 28 w 69"/>
              <a:gd name="T55" fmla="*/ 262 h 299"/>
              <a:gd name="T56" fmla="*/ 30 w 69"/>
              <a:gd name="T57" fmla="*/ 267 h 299"/>
              <a:gd name="T58" fmla="*/ 26 w 69"/>
              <a:gd name="T59" fmla="*/ 270 h 299"/>
              <a:gd name="T60" fmla="*/ 32 w 69"/>
              <a:gd name="T61" fmla="*/ 269 h 299"/>
              <a:gd name="T62" fmla="*/ 30 w 69"/>
              <a:gd name="T63" fmla="*/ 275 h 299"/>
              <a:gd name="T64" fmla="*/ 40 w 69"/>
              <a:gd name="T65" fmla="*/ 272 h 299"/>
              <a:gd name="T66" fmla="*/ 41 w 69"/>
              <a:gd name="T67" fmla="*/ 281 h 299"/>
              <a:gd name="T68" fmla="*/ 53 w 69"/>
              <a:gd name="T69" fmla="*/ 265 h 299"/>
              <a:gd name="T70" fmla="*/ 4 w 69"/>
              <a:gd name="T71" fmla="*/ 184 h 299"/>
              <a:gd name="T72" fmla="*/ 11 w 69"/>
              <a:gd name="T73" fmla="*/ 181 h 299"/>
              <a:gd name="T74" fmla="*/ 9 w 69"/>
              <a:gd name="T75" fmla="*/ 194 h 299"/>
              <a:gd name="T76" fmla="*/ 4 w 69"/>
              <a:gd name="T77" fmla="*/ 201 h 299"/>
              <a:gd name="T78" fmla="*/ 6 w 69"/>
              <a:gd name="T79" fmla="*/ 200 h 299"/>
              <a:gd name="T80" fmla="*/ 13 w 69"/>
              <a:gd name="T81" fmla="*/ 198 h 299"/>
              <a:gd name="T82" fmla="*/ 8 w 69"/>
              <a:gd name="T83" fmla="*/ 204 h 299"/>
              <a:gd name="T84" fmla="*/ 10 w 69"/>
              <a:gd name="T85" fmla="*/ 233 h 299"/>
              <a:gd name="T86" fmla="*/ 8 w 69"/>
              <a:gd name="T87" fmla="*/ 232 h 299"/>
              <a:gd name="T88" fmla="*/ 7 w 69"/>
              <a:gd name="T89" fmla="*/ 239 h 299"/>
              <a:gd name="T90" fmla="*/ 9 w 69"/>
              <a:gd name="T91" fmla="*/ 241 h 299"/>
              <a:gd name="T92" fmla="*/ 13 w 69"/>
              <a:gd name="T93" fmla="*/ 245 h 299"/>
              <a:gd name="T94" fmla="*/ 14 w 69"/>
              <a:gd name="T95" fmla="*/ 254 h 299"/>
              <a:gd name="T96" fmla="*/ 14 w 69"/>
              <a:gd name="T97" fmla="*/ 253 h 299"/>
              <a:gd name="T98" fmla="*/ 16 w 69"/>
              <a:gd name="T99" fmla="*/ 262 h 299"/>
              <a:gd name="T100" fmla="*/ 20 w 69"/>
              <a:gd name="T101" fmla="*/ 265 h 299"/>
              <a:gd name="T102" fmla="*/ 21 w 69"/>
              <a:gd name="T103" fmla="*/ 265 h 299"/>
              <a:gd name="T104" fmla="*/ 25 w 69"/>
              <a:gd name="T105" fmla="*/ 270 h 299"/>
              <a:gd name="T106" fmla="*/ 30 w 69"/>
              <a:gd name="T107" fmla="*/ 277 h 299"/>
              <a:gd name="T108" fmla="*/ 31 w 69"/>
              <a:gd name="T109" fmla="*/ 283 h 299"/>
              <a:gd name="T110" fmla="*/ 36 w 69"/>
              <a:gd name="T111" fmla="*/ 283 h 299"/>
              <a:gd name="T112" fmla="*/ 38 w 69"/>
              <a:gd name="T113" fmla="*/ 284 h 299"/>
              <a:gd name="T114" fmla="*/ 44 w 69"/>
              <a:gd name="T115" fmla="*/ 281 h 299"/>
              <a:gd name="T116" fmla="*/ 68 w 69"/>
              <a:gd name="T117" fmla="*/ 296 h 299"/>
              <a:gd name="T118" fmla="*/ 64 w 69"/>
              <a:gd name="T119" fmla="*/ 292 h 299"/>
              <a:gd name="T120" fmla="*/ 58 w 69"/>
              <a:gd name="T121" fmla="*/ 29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 h="299">
                <a:moveTo>
                  <a:pt x="59" y="289"/>
                </a:moveTo>
                <a:cubicBezTo>
                  <a:pt x="58" y="287"/>
                  <a:pt x="58" y="287"/>
                  <a:pt x="58" y="287"/>
                </a:cubicBezTo>
                <a:cubicBezTo>
                  <a:pt x="58" y="287"/>
                  <a:pt x="58" y="287"/>
                  <a:pt x="58" y="287"/>
                </a:cubicBezTo>
                <a:cubicBezTo>
                  <a:pt x="56" y="286"/>
                  <a:pt x="56" y="286"/>
                  <a:pt x="56" y="286"/>
                </a:cubicBezTo>
                <a:cubicBezTo>
                  <a:pt x="54" y="285"/>
                  <a:pt x="54" y="285"/>
                  <a:pt x="54" y="285"/>
                </a:cubicBezTo>
                <a:cubicBezTo>
                  <a:pt x="51" y="284"/>
                  <a:pt x="51" y="284"/>
                  <a:pt x="51" y="284"/>
                </a:cubicBezTo>
                <a:cubicBezTo>
                  <a:pt x="50" y="284"/>
                  <a:pt x="50" y="284"/>
                  <a:pt x="50" y="284"/>
                </a:cubicBezTo>
                <a:cubicBezTo>
                  <a:pt x="49" y="284"/>
                  <a:pt x="49" y="284"/>
                  <a:pt x="49" y="284"/>
                </a:cubicBezTo>
                <a:cubicBezTo>
                  <a:pt x="50" y="285"/>
                  <a:pt x="50" y="285"/>
                  <a:pt x="50" y="285"/>
                </a:cubicBezTo>
                <a:cubicBezTo>
                  <a:pt x="49" y="285"/>
                  <a:pt x="49" y="285"/>
                  <a:pt x="49" y="285"/>
                </a:cubicBezTo>
                <a:cubicBezTo>
                  <a:pt x="49" y="285"/>
                  <a:pt x="49" y="285"/>
                  <a:pt x="49" y="285"/>
                </a:cubicBezTo>
                <a:cubicBezTo>
                  <a:pt x="47" y="284"/>
                  <a:pt x="47" y="284"/>
                  <a:pt x="47" y="284"/>
                </a:cubicBezTo>
                <a:cubicBezTo>
                  <a:pt x="46" y="283"/>
                  <a:pt x="46" y="283"/>
                  <a:pt x="46" y="283"/>
                </a:cubicBezTo>
                <a:cubicBezTo>
                  <a:pt x="45" y="284"/>
                  <a:pt x="45" y="284"/>
                  <a:pt x="45" y="284"/>
                </a:cubicBezTo>
                <a:cubicBezTo>
                  <a:pt x="46" y="284"/>
                  <a:pt x="46" y="284"/>
                  <a:pt x="46" y="284"/>
                </a:cubicBezTo>
                <a:cubicBezTo>
                  <a:pt x="48" y="286"/>
                  <a:pt x="48" y="286"/>
                  <a:pt x="48" y="286"/>
                </a:cubicBezTo>
                <a:cubicBezTo>
                  <a:pt x="49" y="286"/>
                  <a:pt x="49" y="286"/>
                  <a:pt x="49" y="286"/>
                </a:cubicBezTo>
                <a:cubicBezTo>
                  <a:pt x="48" y="286"/>
                  <a:pt x="48" y="286"/>
                  <a:pt x="48" y="286"/>
                </a:cubicBezTo>
                <a:cubicBezTo>
                  <a:pt x="48" y="286"/>
                  <a:pt x="48" y="286"/>
                  <a:pt x="48" y="286"/>
                </a:cubicBezTo>
                <a:cubicBezTo>
                  <a:pt x="48" y="287"/>
                  <a:pt x="48" y="287"/>
                  <a:pt x="48" y="287"/>
                </a:cubicBezTo>
                <a:cubicBezTo>
                  <a:pt x="47" y="287"/>
                  <a:pt x="47" y="287"/>
                  <a:pt x="47" y="287"/>
                </a:cubicBezTo>
                <a:cubicBezTo>
                  <a:pt x="47" y="286"/>
                  <a:pt x="47" y="286"/>
                  <a:pt x="47" y="286"/>
                </a:cubicBezTo>
                <a:cubicBezTo>
                  <a:pt x="45" y="285"/>
                  <a:pt x="45" y="285"/>
                  <a:pt x="45" y="285"/>
                </a:cubicBezTo>
                <a:cubicBezTo>
                  <a:pt x="45" y="286"/>
                  <a:pt x="45" y="286"/>
                  <a:pt x="45" y="286"/>
                </a:cubicBezTo>
                <a:cubicBezTo>
                  <a:pt x="45" y="286"/>
                  <a:pt x="45" y="286"/>
                  <a:pt x="45" y="286"/>
                </a:cubicBezTo>
                <a:cubicBezTo>
                  <a:pt x="44" y="287"/>
                  <a:pt x="44" y="287"/>
                  <a:pt x="44" y="287"/>
                </a:cubicBezTo>
                <a:cubicBezTo>
                  <a:pt x="42" y="287"/>
                  <a:pt x="42" y="287"/>
                  <a:pt x="42" y="287"/>
                </a:cubicBezTo>
                <a:cubicBezTo>
                  <a:pt x="42" y="287"/>
                  <a:pt x="42" y="287"/>
                  <a:pt x="42" y="287"/>
                </a:cubicBezTo>
                <a:cubicBezTo>
                  <a:pt x="42" y="287"/>
                  <a:pt x="42" y="287"/>
                  <a:pt x="42" y="287"/>
                </a:cubicBezTo>
                <a:cubicBezTo>
                  <a:pt x="42" y="288"/>
                  <a:pt x="42" y="288"/>
                  <a:pt x="42" y="288"/>
                </a:cubicBezTo>
                <a:cubicBezTo>
                  <a:pt x="41" y="288"/>
                  <a:pt x="41" y="288"/>
                  <a:pt x="41" y="288"/>
                </a:cubicBezTo>
                <a:cubicBezTo>
                  <a:pt x="40" y="288"/>
                  <a:pt x="40" y="288"/>
                  <a:pt x="40" y="288"/>
                </a:cubicBezTo>
                <a:cubicBezTo>
                  <a:pt x="40" y="289"/>
                  <a:pt x="40" y="289"/>
                  <a:pt x="40" y="289"/>
                </a:cubicBezTo>
                <a:cubicBezTo>
                  <a:pt x="41" y="289"/>
                  <a:pt x="41" y="289"/>
                  <a:pt x="41" y="289"/>
                </a:cubicBezTo>
                <a:cubicBezTo>
                  <a:pt x="43" y="289"/>
                  <a:pt x="43" y="289"/>
                  <a:pt x="43" y="289"/>
                </a:cubicBezTo>
                <a:cubicBezTo>
                  <a:pt x="43" y="288"/>
                  <a:pt x="43" y="288"/>
                  <a:pt x="43" y="288"/>
                </a:cubicBezTo>
                <a:cubicBezTo>
                  <a:pt x="43" y="288"/>
                  <a:pt x="43" y="288"/>
                  <a:pt x="43" y="288"/>
                </a:cubicBezTo>
                <a:cubicBezTo>
                  <a:pt x="44" y="288"/>
                  <a:pt x="44" y="288"/>
                  <a:pt x="44" y="288"/>
                </a:cubicBezTo>
                <a:cubicBezTo>
                  <a:pt x="45" y="289"/>
                  <a:pt x="45" y="289"/>
                  <a:pt x="45" y="289"/>
                </a:cubicBezTo>
                <a:cubicBezTo>
                  <a:pt x="46" y="289"/>
                  <a:pt x="46" y="289"/>
                  <a:pt x="46" y="289"/>
                </a:cubicBezTo>
                <a:cubicBezTo>
                  <a:pt x="46" y="289"/>
                  <a:pt x="46" y="289"/>
                  <a:pt x="46" y="289"/>
                </a:cubicBezTo>
                <a:cubicBezTo>
                  <a:pt x="46" y="290"/>
                  <a:pt x="46" y="290"/>
                  <a:pt x="46" y="290"/>
                </a:cubicBezTo>
                <a:cubicBezTo>
                  <a:pt x="47" y="290"/>
                  <a:pt x="47" y="290"/>
                  <a:pt x="47" y="290"/>
                </a:cubicBezTo>
                <a:cubicBezTo>
                  <a:pt x="46" y="291"/>
                  <a:pt x="46" y="291"/>
                  <a:pt x="46" y="291"/>
                </a:cubicBezTo>
                <a:cubicBezTo>
                  <a:pt x="46" y="292"/>
                  <a:pt x="46" y="292"/>
                  <a:pt x="46" y="292"/>
                </a:cubicBezTo>
                <a:cubicBezTo>
                  <a:pt x="46" y="293"/>
                  <a:pt x="46" y="293"/>
                  <a:pt x="46" y="293"/>
                </a:cubicBezTo>
                <a:cubicBezTo>
                  <a:pt x="47" y="293"/>
                  <a:pt x="47" y="293"/>
                  <a:pt x="47" y="293"/>
                </a:cubicBezTo>
                <a:cubicBezTo>
                  <a:pt x="48" y="293"/>
                  <a:pt x="48" y="293"/>
                  <a:pt x="48" y="293"/>
                </a:cubicBezTo>
                <a:cubicBezTo>
                  <a:pt x="49" y="294"/>
                  <a:pt x="49" y="294"/>
                  <a:pt x="49" y="294"/>
                </a:cubicBezTo>
                <a:cubicBezTo>
                  <a:pt x="50" y="294"/>
                  <a:pt x="50" y="294"/>
                  <a:pt x="50" y="294"/>
                </a:cubicBezTo>
                <a:cubicBezTo>
                  <a:pt x="50" y="294"/>
                  <a:pt x="50" y="294"/>
                  <a:pt x="50" y="294"/>
                </a:cubicBezTo>
                <a:cubicBezTo>
                  <a:pt x="49" y="293"/>
                  <a:pt x="49" y="293"/>
                  <a:pt x="49" y="293"/>
                </a:cubicBezTo>
                <a:cubicBezTo>
                  <a:pt x="48" y="292"/>
                  <a:pt x="48" y="292"/>
                  <a:pt x="48" y="292"/>
                </a:cubicBezTo>
                <a:cubicBezTo>
                  <a:pt x="48" y="292"/>
                  <a:pt x="48" y="292"/>
                  <a:pt x="48" y="292"/>
                </a:cubicBezTo>
                <a:cubicBezTo>
                  <a:pt x="48" y="292"/>
                  <a:pt x="48" y="292"/>
                  <a:pt x="48" y="292"/>
                </a:cubicBezTo>
                <a:cubicBezTo>
                  <a:pt x="49" y="292"/>
                  <a:pt x="49" y="292"/>
                  <a:pt x="49" y="292"/>
                </a:cubicBezTo>
                <a:cubicBezTo>
                  <a:pt x="50" y="292"/>
                  <a:pt x="50" y="292"/>
                  <a:pt x="50" y="292"/>
                </a:cubicBezTo>
                <a:cubicBezTo>
                  <a:pt x="50" y="291"/>
                  <a:pt x="50" y="291"/>
                  <a:pt x="50" y="291"/>
                </a:cubicBezTo>
                <a:cubicBezTo>
                  <a:pt x="49" y="291"/>
                  <a:pt x="49" y="291"/>
                  <a:pt x="49" y="291"/>
                </a:cubicBezTo>
                <a:cubicBezTo>
                  <a:pt x="48" y="290"/>
                  <a:pt x="48" y="290"/>
                  <a:pt x="48" y="290"/>
                </a:cubicBezTo>
                <a:cubicBezTo>
                  <a:pt x="51" y="289"/>
                  <a:pt x="51" y="289"/>
                  <a:pt x="51" y="289"/>
                </a:cubicBezTo>
                <a:cubicBezTo>
                  <a:pt x="52" y="289"/>
                  <a:pt x="52" y="289"/>
                  <a:pt x="52" y="289"/>
                </a:cubicBezTo>
                <a:cubicBezTo>
                  <a:pt x="57" y="290"/>
                  <a:pt x="57" y="290"/>
                  <a:pt x="57" y="290"/>
                </a:cubicBezTo>
                <a:cubicBezTo>
                  <a:pt x="58" y="290"/>
                  <a:pt x="58" y="290"/>
                  <a:pt x="58" y="290"/>
                </a:cubicBezTo>
                <a:cubicBezTo>
                  <a:pt x="57" y="289"/>
                  <a:pt x="57" y="289"/>
                  <a:pt x="57" y="289"/>
                </a:cubicBezTo>
                <a:cubicBezTo>
                  <a:pt x="59" y="289"/>
                  <a:pt x="59" y="289"/>
                  <a:pt x="59" y="289"/>
                </a:cubicBezTo>
                <a:close/>
                <a:moveTo>
                  <a:pt x="58" y="286"/>
                </a:moveTo>
                <a:cubicBezTo>
                  <a:pt x="57" y="286"/>
                  <a:pt x="57" y="286"/>
                  <a:pt x="57" y="286"/>
                </a:cubicBezTo>
                <a:cubicBezTo>
                  <a:pt x="54" y="284"/>
                  <a:pt x="54" y="284"/>
                  <a:pt x="54" y="284"/>
                </a:cubicBezTo>
                <a:cubicBezTo>
                  <a:pt x="52" y="283"/>
                  <a:pt x="52" y="283"/>
                  <a:pt x="52" y="283"/>
                </a:cubicBezTo>
                <a:cubicBezTo>
                  <a:pt x="50" y="283"/>
                  <a:pt x="50" y="283"/>
                  <a:pt x="50" y="283"/>
                </a:cubicBezTo>
                <a:cubicBezTo>
                  <a:pt x="49" y="282"/>
                  <a:pt x="49" y="282"/>
                  <a:pt x="49" y="282"/>
                </a:cubicBezTo>
                <a:cubicBezTo>
                  <a:pt x="48" y="281"/>
                  <a:pt x="48" y="281"/>
                  <a:pt x="48" y="281"/>
                </a:cubicBezTo>
                <a:cubicBezTo>
                  <a:pt x="48" y="280"/>
                  <a:pt x="48" y="280"/>
                  <a:pt x="48" y="280"/>
                </a:cubicBezTo>
                <a:cubicBezTo>
                  <a:pt x="48" y="280"/>
                  <a:pt x="48" y="280"/>
                  <a:pt x="48" y="280"/>
                </a:cubicBezTo>
                <a:cubicBezTo>
                  <a:pt x="50" y="279"/>
                  <a:pt x="50" y="279"/>
                  <a:pt x="50" y="279"/>
                </a:cubicBezTo>
                <a:cubicBezTo>
                  <a:pt x="50" y="278"/>
                  <a:pt x="50" y="278"/>
                  <a:pt x="50" y="278"/>
                </a:cubicBezTo>
                <a:cubicBezTo>
                  <a:pt x="51" y="278"/>
                  <a:pt x="51" y="278"/>
                  <a:pt x="51" y="278"/>
                </a:cubicBezTo>
                <a:cubicBezTo>
                  <a:pt x="52" y="277"/>
                  <a:pt x="52" y="277"/>
                  <a:pt x="52" y="277"/>
                </a:cubicBezTo>
                <a:cubicBezTo>
                  <a:pt x="52" y="275"/>
                  <a:pt x="52" y="275"/>
                  <a:pt x="52" y="275"/>
                </a:cubicBezTo>
                <a:cubicBezTo>
                  <a:pt x="50" y="275"/>
                  <a:pt x="50" y="275"/>
                  <a:pt x="50" y="275"/>
                </a:cubicBezTo>
                <a:cubicBezTo>
                  <a:pt x="49" y="276"/>
                  <a:pt x="49" y="276"/>
                  <a:pt x="49" y="276"/>
                </a:cubicBezTo>
                <a:cubicBezTo>
                  <a:pt x="48" y="277"/>
                  <a:pt x="48" y="277"/>
                  <a:pt x="48" y="277"/>
                </a:cubicBezTo>
                <a:cubicBezTo>
                  <a:pt x="47" y="278"/>
                  <a:pt x="47" y="278"/>
                  <a:pt x="47" y="278"/>
                </a:cubicBezTo>
                <a:cubicBezTo>
                  <a:pt x="46" y="276"/>
                  <a:pt x="46" y="276"/>
                  <a:pt x="46" y="276"/>
                </a:cubicBezTo>
                <a:cubicBezTo>
                  <a:pt x="45" y="275"/>
                  <a:pt x="45" y="275"/>
                  <a:pt x="45" y="275"/>
                </a:cubicBezTo>
                <a:cubicBezTo>
                  <a:pt x="45" y="274"/>
                  <a:pt x="45" y="274"/>
                  <a:pt x="45" y="274"/>
                </a:cubicBezTo>
                <a:cubicBezTo>
                  <a:pt x="46" y="273"/>
                  <a:pt x="46" y="273"/>
                  <a:pt x="46" y="273"/>
                </a:cubicBezTo>
                <a:cubicBezTo>
                  <a:pt x="46" y="272"/>
                  <a:pt x="46" y="272"/>
                  <a:pt x="46" y="272"/>
                </a:cubicBezTo>
                <a:cubicBezTo>
                  <a:pt x="45" y="272"/>
                  <a:pt x="45" y="272"/>
                  <a:pt x="45" y="272"/>
                </a:cubicBezTo>
                <a:cubicBezTo>
                  <a:pt x="45" y="271"/>
                  <a:pt x="45" y="271"/>
                  <a:pt x="45" y="271"/>
                </a:cubicBezTo>
                <a:cubicBezTo>
                  <a:pt x="45" y="270"/>
                  <a:pt x="45" y="270"/>
                  <a:pt x="45" y="270"/>
                </a:cubicBezTo>
                <a:cubicBezTo>
                  <a:pt x="46" y="271"/>
                  <a:pt x="46" y="271"/>
                  <a:pt x="46" y="271"/>
                </a:cubicBezTo>
                <a:cubicBezTo>
                  <a:pt x="47" y="271"/>
                  <a:pt x="47" y="271"/>
                  <a:pt x="47" y="271"/>
                </a:cubicBezTo>
                <a:cubicBezTo>
                  <a:pt x="48" y="271"/>
                  <a:pt x="48" y="271"/>
                  <a:pt x="48" y="271"/>
                </a:cubicBezTo>
                <a:cubicBezTo>
                  <a:pt x="49" y="270"/>
                  <a:pt x="49" y="270"/>
                  <a:pt x="49" y="270"/>
                </a:cubicBezTo>
                <a:cubicBezTo>
                  <a:pt x="49" y="269"/>
                  <a:pt x="49" y="269"/>
                  <a:pt x="49" y="269"/>
                </a:cubicBezTo>
                <a:cubicBezTo>
                  <a:pt x="49" y="268"/>
                  <a:pt x="49" y="268"/>
                  <a:pt x="49" y="268"/>
                </a:cubicBezTo>
                <a:cubicBezTo>
                  <a:pt x="49" y="267"/>
                  <a:pt x="49" y="267"/>
                  <a:pt x="49" y="267"/>
                </a:cubicBezTo>
                <a:cubicBezTo>
                  <a:pt x="50" y="267"/>
                  <a:pt x="50" y="267"/>
                  <a:pt x="50" y="267"/>
                </a:cubicBezTo>
                <a:cubicBezTo>
                  <a:pt x="51" y="268"/>
                  <a:pt x="51" y="268"/>
                  <a:pt x="51" y="268"/>
                </a:cubicBezTo>
                <a:cubicBezTo>
                  <a:pt x="52" y="268"/>
                  <a:pt x="52" y="268"/>
                  <a:pt x="52" y="268"/>
                </a:cubicBezTo>
                <a:cubicBezTo>
                  <a:pt x="53" y="267"/>
                  <a:pt x="53" y="267"/>
                  <a:pt x="53" y="267"/>
                </a:cubicBezTo>
                <a:cubicBezTo>
                  <a:pt x="55" y="274"/>
                  <a:pt x="55" y="274"/>
                  <a:pt x="55" y="274"/>
                </a:cubicBezTo>
                <a:cubicBezTo>
                  <a:pt x="55" y="274"/>
                  <a:pt x="55" y="274"/>
                  <a:pt x="55" y="274"/>
                </a:cubicBezTo>
                <a:cubicBezTo>
                  <a:pt x="55" y="274"/>
                  <a:pt x="55" y="274"/>
                  <a:pt x="55" y="274"/>
                </a:cubicBezTo>
                <a:cubicBezTo>
                  <a:pt x="58" y="286"/>
                  <a:pt x="58" y="286"/>
                  <a:pt x="58" y="286"/>
                </a:cubicBezTo>
                <a:close/>
                <a:moveTo>
                  <a:pt x="53" y="265"/>
                </a:moveTo>
                <a:cubicBezTo>
                  <a:pt x="51" y="263"/>
                  <a:pt x="51" y="263"/>
                  <a:pt x="51" y="263"/>
                </a:cubicBezTo>
                <a:cubicBezTo>
                  <a:pt x="50" y="263"/>
                  <a:pt x="50" y="263"/>
                  <a:pt x="50" y="263"/>
                </a:cubicBezTo>
                <a:cubicBezTo>
                  <a:pt x="50" y="262"/>
                  <a:pt x="50" y="262"/>
                  <a:pt x="50" y="262"/>
                </a:cubicBezTo>
                <a:cubicBezTo>
                  <a:pt x="42" y="262"/>
                  <a:pt x="42" y="262"/>
                  <a:pt x="42" y="262"/>
                </a:cubicBezTo>
                <a:cubicBezTo>
                  <a:pt x="37" y="263"/>
                  <a:pt x="37" y="263"/>
                  <a:pt x="37" y="263"/>
                </a:cubicBezTo>
                <a:cubicBezTo>
                  <a:pt x="36" y="263"/>
                  <a:pt x="36" y="263"/>
                  <a:pt x="36" y="263"/>
                </a:cubicBezTo>
                <a:cubicBezTo>
                  <a:pt x="33" y="262"/>
                  <a:pt x="33" y="262"/>
                  <a:pt x="33" y="262"/>
                </a:cubicBezTo>
                <a:cubicBezTo>
                  <a:pt x="32" y="260"/>
                  <a:pt x="32" y="260"/>
                  <a:pt x="32" y="260"/>
                </a:cubicBezTo>
                <a:cubicBezTo>
                  <a:pt x="31" y="258"/>
                  <a:pt x="31" y="258"/>
                  <a:pt x="31" y="258"/>
                </a:cubicBezTo>
                <a:cubicBezTo>
                  <a:pt x="30" y="256"/>
                  <a:pt x="30" y="256"/>
                  <a:pt x="30" y="256"/>
                </a:cubicBezTo>
                <a:cubicBezTo>
                  <a:pt x="30" y="253"/>
                  <a:pt x="30" y="253"/>
                  <a:pt x="30" y="253"/>
                </a:cubicBezTo>
                <a:cubicBezTo>
                  <a:pt x="30" y="251"/>
                  <a:pt x="30" y="251"/>
                  <a:pt x="30" y="251"/>
                </a:cubicBezTo>
                <a:cubicBezTo>
                  <a:pt x="28" y="251"/>
                  <a:pt x="28" y="251"/>
                  <a:pt x="28" y="251"/>
                </a:cubicBezTo>
                <a:cubicBezTo>
                  <a:pt x="26" y="252"/>
                  <a:pt x="26" y="252"/>
                  <a:pt x="26" y="252"/>
                </a:cubicBezTo>
                <a:cubicBezTo>
                  <a:pt x="25" y="253"/>
                  <a:pt x="25" y="253"/>
                  <a:pt x="25" y="253"/>
                </a:cubicBezTo>
                <a:cubicBezTo>
                  <a:pt x="24" y="253"/>
                  <a:pt x="24" y="253"/>
                  <a:pt x="24" y="253"/>
                </a:cubicBezTo>
                <a:cubicBezTo>
                  <a:pt x="21" y="248"/>
                  <a:pt x="21" y="248"/>
                  <a:pt x="21" y="248"/>
                </a:cubicBezTo>
                <a:cubicBezTo>
                  <a:pt x="21" y="246"/>
                  <a:pt x="21" y="246"/>
                  <a:pt x="21" y="246"/>
                </a:cubicBezTo>
                <a:cubicBezTo>
                  <a:pt x="22" y="240"/>
                  <a:pt x="22" y="240"/>
                  <a:pt x="22" y="240"/>
                </a:cubicBezTo>
                <a:cubicBezTo>
                  <a:pt x="23" y="238"/>
                  <a:pt x="23" y="238"/>
                  <a:pt x="23" y="238"/>
                </a:cubicBezTo>
                <a:cubicBezTo>
                  <a:pt x="25" y="236"/>
                  <a:pt x="25" y="236"/>
                  <a:pt x="25" y="236"/>
                </a:cubicBezTo>
                <a:cubicBezTo>
                  <a:pt x="26" y="233"/>
                  <a:pt x="26" y="233"/>
                  <a:pt x="26" y="233"/>
                </a:cubicBezTo>
                <a:cubicBezTo>
                  <a:pt x="25" y="230"/>
                  <a:pt x="25" y="230"/>
                  <a:pt x="25" y="230"/>
                </a:cubicBezTo>
                <a:cubicBezTo>
                  <a:pt x="24" y="227"/>
                  <a:pt x="24" y="227"/>
                  <a:pt x="24" y="227"/>
                </a:cubicBezTo>
                <a:cubicBezTo>
                  <a:pt x="25" y="224"/>
                  <a:pt x="25" y="224"/>
                  <a:pt x="25" y="224"/>
                </a:cubicBezTo>
                <a:cubicBezTo>
                  <a:pt x="26" y="223"/>
                  <a:pt x="26" y="223"/>
                  <a:pt x="26" y="223"/>
                </a:cubicBezTo>
                <a:cubicBezTo>
                  <a:pt x="25" y="220"/>
                  <a:pt x="25" y="220"/>
                  <a:pt x="25" y="220"/>
                </a:cubicBezTo>
                <a:cubicBezTo>
                  <a:pt x="25" y="218"/>
                  <a:pt x="25" y="218"/>
                  <a:pt x="25" y="218"/>
                </a:cubicBezTo>
                <a:cubicBezTo>
                  <a:pt x="26" y="217"/>
                  <a:pt x="26" y="217"/>
                  <a:pt x="26" y="217"/>
                </a:cubicBezTo>
                <a:cubicBezTo>
                  <a:pt x="25" y="214"/>
                  <a:pt x="25" y="214"/>
                  <a:pt x="25" y="214"/>
                </a:cubicBezTo>
                <a:cubicBezTo>
                  <a:pt x="25" y="211"/>
                  <a:pt x="25" y="211"/>
                  <a:pt x="25" y="211"/>
                </a:cubicBezTo>
                <a:cubicBezTo>
                  <a:pt x="24" y="209"/>
                  <a:pt x="24" y="209"/>
                  <a:pt x="24" y="209"/>
                </a:cubicBezTo>
                <a:cubicBezTo>
                  <a:pt x="24" y="208"/>
                  <a:pt x="24" y="208"/>
                  <a:pt x="24" y="208"/>
                </a:cubicBezTo>
                <a:cubicBezTo>
                  <a:pt x="26" y="207"/>
                  <a:pt x="26" y="207"/>
                  <a:pt x="26" y="207"/>
                </a:cubicBezTo>
                <a:cubicBezTo>
                  <a:pt x="26" y="205"/>
                  <a:pt x="26" y="205"/>
                  <a:pt x="26" y="205"/>
                </a:cubicBezTo>
                <a:cubicBezTo>
                  <a:pt x="24" y="203"/>
                  <a:pt x="24" y="203"/>
                  <a:pt x="24" y="203"/>
                </a:cubicBezTo>
                <a:cubicBezTo>
                  <a:pt x="22" y="202"/>
                  <a:pt x="22" y="202"/>
                  <a:pt x="22" y="202"/>
                </a:cubicBezTo>
                <a:cubicBezTo>
                  <a:pt x="21" y="202"/>
                  <a:pt x="21" y="202"/>
                  <a:pt x="21" y="202"/>
                </a:cubicBezTo>
                <a:cubicBezTo>
                  <a:pt x="21" y="202"/>
                  <a:pt x="21" y="202"/>
                  <a:pt x="21" y="202"/>
                </a:cubicBezTo>
                <a:cubicBezTo>
                  <a:pt x="20" y="201"/>
                  <a:pt x="20" y="201"/>
                  <a:pt x="20" y="201"/>
                </a:cubicBezTo>
                <a:cubicBezTo>
                  <a:pt x="20" y="200"/>
                  <a:pt x="20" y="200"/>
                  <a:pt x="20" y="200"/>
                </a:cubicBezTo>
                <a:cubicBezTo>
                  <a:pt x="23" y="200"/>
                  <a:pt x="23" y="200"/>
                  <a:pt x="23" y="200"/>
                </a:cubicBezTo>
                <a:cubicBezTo>
                  <a:pt x="24" y="198"/>
                  <a:pt x="24" y="198"/>
                  <a:pt x="24" y="198"/>
                </a:cubicBezTo>
                <a:cubicBezTo>
                  <a:pt x="24" y="197"/>
                  <a:pt x="24" y="197"/>
                  <a:pt x="24" y="197"/>
                </a:cubicBezTo>
                <a:cubicBezTo>
                  <a:pt x="24" y="197"/>
                  <a:pt x="24" y="197"/>
                  <a:pt x="24" y="197"/>
                </a:cubicBezTo>
                <a:cubicBezTo>
                  <a:pt x="23" y="197"/>
                  <a:pt x="23" y="197"/>
                  <a:pt x="23" y="197"/>
                </a:cubicBezTo>
                <a:cubicBezTo>
                  <a:pt x="21" y="197"/>
                  <a:pt x="21" y="197"/>
                  <a:pt x="21" y="197"/>
                </a:cubicBezTo>
                <a:cubicBezTo>
                  <a:pt x="21" y="194"/>
                  <a:pt x="21" y="194"/>
                  <a:pt x="21" y="194"/>
                </a:cubicBezTo>
                <a:cubicBezTo>
                  <a:pt x="20" y="192"/>
                  <a:pt x="20" y="192"/>
                  <a:pt x="20" y="192"/>
                </a:cubicBezTo>
                <a:cubicBezTo>
                  <a:pt x="20" y="190"/>
                  <a:pt x="20" y="190"/>
                  <a:pt x="20" y="190"/>
                </a:cubicBezTo>
                <a:cubicBezTo>
                  <a:pt x="20" y="188"/>
                  <a:pt x="20" y="188"/>
                  <a:pt x="20" y="188"/>
                </a:cubicBezTo>
                <a:cubicBezTo>
                  <a:pt x="18" y="187"/>
                  <a:pt x="18" y="187"/>
                  <a:pt x="18" y="187"/>
                </a:cubicBezTo>
                <a:cubicBezTo>
                  <a:pt x="17" y="185"/>
                  <a:pt x="17" y="185"/>
                  <a:pt x="17" y="185"/>
                </a:cubicBezTo>
                <a:cubicBezTo>
                  <a:pt x="17" y="180"/>
                  <a:pt x="17" y="180"/>
                  <a:pt x="17" y="180"/>
                </a:cubicBezTo>
                <a:cubicBezTo>
                  <a:pt x="18" y="179"/>
                  <a:pt x="18" y="179"/>
                  <a:pt x="18" y="179"/>
                </a:cubicBezTo>
                <a:cubicBezTo>
                  <a:pt x="19" y="178"/>
                  <a:pt x="19" y="178"/>
                  <a:pt x="19" y="178"/>
                </a:cubicBezTo>
                <a:cubicBezTo>
                  <a:pt x="18" y="177"/>
                  <a:pt x="18" y="177"/>
                  <a:pt x="18" y="177"/>
                </a:cubicBezTo>
                <a:cubicBezTo>
                  <a:pt x="17" y="176"/>
                  <a:pt x="17" y="176"/>
                  <a:pt x="17" y="176"/>
                </a:cubicBezTo>
                <a:cubicBezTo>
                  <a:pt x="16" y="173"/>
                  <a:pt x="16" y="173"/>
                  <a:pt x="16" y="173"/>
                </a:cubicBezTo>
                <a:cubicBezTo>
                  <a:pt x="16" y="169"/>
                  <a:pt x="16" y="169"/>
                  <a:pt x="16" y="169"/>
                </a:cubicBezTo>
                <a:cubicBezTo>
                  <a:pt x="16" y="164"/>
                  <a:pt x="16" y="164"/>
                  <a:pt x="16" y="164"/>
                </a:cubicBezTo>
                <a:cubicBezTo>
                  <a:pt x="15" y="162"/>
                  <a:pt x="15" y="162"/>
                  <a:pt x="15" y="162"/>
                </a:cubicBezTo>
                <a:cubicBezTo>
                  <a:pt x="15" y="160"/>
                  <a:pt x="15" y="160"/>
                  <a:pt x="15" y="160"/>
                </a:cubicBezTo>
                <a:cubicBezTo>
                  <a:pt x="17" y="157"/>
                  <a:pt x="17" y="157"/>
                  <a:pt x="17" y="157"/>
                </a:cubicBezTo>
                <a:cubicBezTo>
                  <a:pt x="18" y="154"/>
                  <a:pt x="18" y="154"/>
                  <a:pt x="18" y="154"/>
                </a:cubicBezTo>
                <a:cubicBezTo>
                  <a:pt x="19" y="153"/>
                  <a:pt x="19" y="153"/>
                  <a:pt x="19" y="153"/>
                </a:cubicBezTo>
                <a:cubicBezTo>
                  <a:pt x="20" y="152"/>
                  <a:pt x="20" y="152"/>
                  <a:pt x="20" y="152"/>
                </a:cubicBezTo>
                <a:cubicBezTo>
                  <a:pt x="16" y="144"/>
                  <a:pt x="16" y="144"/>
                  <a:pt x="16" y="144"/>
                </a:cubicBezTo>
                <a:cubicBezTo>
                  <a:pt x="17" y="142"/>
                  <a:pt x="17" y="142"/>
                  <a:pt x="17" y="142"/>
                </a:cubicBezTo>
                <a:cubicBezTo>
                  <a:pt x="17" y="140"/>
                  <a:pt x="17" y="140"/>
                  <a:pt x="17" y="140"/>
                </a:cubicBezTo>
                <a:cubicBezTo>
                  <a:pt x="17" y="136"/>
                  <a:pt x="17" y="136"/>
                  <a:pt x="17" y="136"/>
                </a:cubicBezTo>
                <a:cubicBezTo>
                  <a:pt x="18" y="133"/>
                  <a:pt x="18" y="133"/>
                  <a:pt x="18" y="133"/>
                </a:cubicBezTo>
                <a:cubicBezTo>
                  <a:pt x="20" y="132"/>
                  <a:pt x="20" y="132"/>
                  <a:pt x="20" y="132"/>
                </a:cubicBezTo>
                <a:cubicBezTo>
                  <a:pt x="19" y="129"/>
                  <a:pt x="19" y="129"/>
                  <a:pt x="19" y="129"/>
                </a:cubicBezTo>
                <a:cubicBezTo>
                  <a:pt x="18" y="127"/>
                  <a:pt x="18" y="127"/>
                  <a:pt x="18" y="127"/>
                </a:cubicBezTo>
                <a:cubicBezTo>
                  <a:pt x="17" y="126"/>
                  <a:pt x="17" y="126"/>
                  <a:pt x="17" y="126"/>
                </a:cubicBezTo>
                <a:cubicBezTo>
                  <a:pt x="19" y="124"/>
                  <a:pt x="19" y="124"/>
                  <a:pt x="19" y="124"/>
                </a:cubicBezTo>
                <a:cubicBezTo>
                  <a:pt x="18" y="122"/>
                  <a:pt x="18" y="122"/>
                  <a:pt x="18" y="122"/>
                </a:cubicBezTo>
                <a:cubicBezTo>
                  <a:pt x="19" y="119"/>
                  <a:pt x="19" y="119"/>
                  <a:pt x="19" y="119"/>
                </a:cubicBezTo>
                <a:cubicBezTo>
                  <a:pt x="21" y="119"/>
                  <a:pt x="21" y="119"/>
                  <a:pt x="21" y="119"/>
                </a:cubicBezTo>
                <a:cubicBezTo>
                  <a:pt x="21" y="116"/>
                  <a:pt x="21" y="116"/>
                  <a:pt x="21" y="116"/>
                </a:cubicBezTo>
                <a:cubicBezTo>
                  <a:pt x="20" y="111"/>
                  <a:pt x="20" y="111"/>
                  <a:pt x="20" y="111"/>
                </a:cubicBezTo>
                <a:cubicBezTo>
                  <a:pt x="19" y="110"/>
                  <a:pt x="19" y="110"/>
                  <a:pt x="19" y="110"/>
                </a:cubicBezTo>
                <a:cubicBezTo>
                  <a:pt x="19" y="107"/>
                  <a:pt x="19" y="107"/>
                  <a:pt x="19" y="107"/>
                </a:cubicBezTo>
                <a:cubicBezTo>
                  <a:pt x="18" y="105"/>
                  <a:pt x="18" y="105"/>
                  <a:pt x="18" y="105"/>
                </a:cubicBezTo>
                <a:cubicBezTo>
                  <a:pt x="16" y="102"/>
                  <a:pt x="16" y="102"/>
                  <a:pt x="16" y="102"/>
                </a:cubicBezTo>
                <a:cubicBezTo>
                  <a:pt x="16" y="101"/>
                  <a:pt x="16" y="101"/>
                  <a:pt x="16" y="101"/>
                </a:cubicBezTo>
                <a:cubicBezTo>
                  <a:pt x="15" y="100"/>
                  <a:pt x="15" y="100"/>
                  <a:pt x="15" y="100"/>
                </a:cubicBezTo>
                <a:cubicBezTo>
                  <a:pt x="14" y="97"/>
                  <a:pt x="14" y="97"/>
                  <a:pt x="14" y="97"/>
                </a:cubicBezTo>
                <a:cubicBezTo>
                  <a:pt x="15" y="94"/>
                  <a:pt x="15" y="94"/>
                  <a:pt x="15" y="94"/>
                </a:cubicBezTo>
                <a:cubicBezTo>
                  <a:pt x="16" y="93"/>
                  <a:pt x="16" y="93"/>
                  <a:pt x="16" y="93"/>
                </a:cubicBezTo>
                <a:cubicBezTo>
                  <a:pt x="16" y="90"/>
                  <a:pt x="16" y="90"/>
                  <a:pt x="16" y="90"/>
                </a:cubicBezTo>
                <a:cubicBezTo>
                  <a:pt x="17" y="89"/>
                  <a:pt x="17" y="89"/>
                  <a:pt x="17" y="89"/>
                </a:cubicBezTo>
                <a:cubicBezTo>
                  <a:pt x="17" y="86"/>
                  <a:pt x="17" y="86"/>
                  <a:pt x="17" y="86"/>
                </a:cubicBezTo>
                <a:cubicBezTo>
                  <a:pt x="16" y="84"/>
                  <a:pt x="16" y="84"/>
                  <a:pt x="16" y="84"/>
                </a:cubicBezTo>
                <a:cubicBezTo>
                  <a:pt x="16" y="80"/>
                  <a:pt x="16" y="80"/>
                  <a:pt x="16" y="80"/>
                </a:cubicBezTo>
                <a:cubicBezTo>
                  <a:pt x="17" y="79"/>
                  <a:pt x="17" y="79"/>
                  <a:pt x="17" y="79"/>
                </a:cubicBezTo>
                <a:cubicBezTo>
                  <a:pt x="17" y="75"/>
                  <a:pt x="17" y="75"/>
                  <a:pt x="17" y="75"/>
                </a:cubicBezTo>
                <a:cubicBezTo>
                  <a:pt x="19" y="73"/>
                  <a:pt x="19" y="73"/>
                  <a:pt x="19" y="73"/>
                </a:cubicBezTo>
                <a:cubicBezTo>
                  <a:pt x="20" y="69"/>
                  <a:pt x="20" y="69"/>
                  <a:pt x="20" y="69"/>
                </a:cubicBezTo>
                <a:cubicBezTo>
                  <a:pt x="22" y="67"/>
                  <a:pt x="22" y="67"/>
                  <a:pt x="22" y="67"/>
                </a:cubicBezTo>
                <a:cubicBezTo>
                  <a:pt x="23" y="67"/>
                  <a:pt x="23" y="67"/>
                  <a:pt x="23" y="67"/>
                </a:cubicBezTo>
                <a:cubicBezTo>
                  <a:pt x="24" y="65"/>
                  <a:pt x="24" y="65"/>
                  <a:pt x="24" y="65"/>
                </a:cubicBezTo>
                <a:cubicBezTo>
                  <a:pt x="23" y="65"/>
                  <a:pt x="23" y="65"/>
                  <a:pt x="23" y="65"/>
                </a:cubicBezTo>
                <a:cubicBezTo>
                  <a:pt x="23" y="63"/>
                  <a:pt x="23" y="63"/>
                  <a:pt x="23" y="63"/>
                </a:cubicBezTo>
                <a:cubicBezTo>
                  <a:pt x="23" y="62"/>
                  <a:pt x="23" y="62"/>
                  <a:pt x="23" y="62"/>
                </a:cubicBezTo>
                <a:cubicBezTo>
                  <a:pt x="22" y="61"/>
                  <a:pt x="22" y="61"/>
                  <a:pt x="22" y="61"/>
                </a:cubicBezTo>
                <a:cubicBezTo>
                  <a:pt x="22" y="60"/>
                  <a:pt x="22" y="60"/>
                  <a:pt x="22" y="60"/>
                </a:cubicBezTo>
                <a:cubicBezTo>
                  <a:pt x="24" y="59"/>
                  <a:pt x="24" y="59"/>
                  <a:pt x="24" y="59"/>
                </a:cubicBezTo>
                <a:cubicBezTo>
                  <a:pt x="24" y="58"/>
                  <a:pt x="24" y="58"/>
                  <a:pt x="24" y="58"/>
                </a:cubicBezTo>
                <a:cubicBezTo>
                  <a:pt x="22" y="56"/>
                  <a:pt x="22" y="56"/>
                  <a:pt x="22" y="56"/>
                </a:cubicBezTo>
                <a:cubicBezTo>
                  <a:pt x="22" y="54"/>
                  <a:pt x="22" y="54"/>
                  <a:pt x="22" y="54"/>
                </a:cubicBezTo>
                <a:cubicBezTo>
                  <a:pt x="23" y="53"/>
                  <a:pt x="23" y="53"/>
                  <a:pt x="23" y="53"/>
                </a:cubicBezTo>
                <a:cubicBezTo>
                  <a:pt x="22" y="51"/>
                  <a:pt x="22" y="51"/>
                  <a:pt x="22" y="51"/>
                </a:cubicBezTo>
                <a:cubicBezTo>
                  <a:pt x="21" y="50"/>
                  <a:pt x="21" y="50"/>
                  <a:pt x="21" y="50"/>
                </a:cubicBezTo>
                <a:cubicBezTo>
                  <a:pt x="22" y="49"/>
                  <a:pt x="22" y="49"/>
                  <a:pt x="22" y="49"/>
                </a:cubicBezTo>
                <a:cubicBezTo>
                  <a:pt x="29" y="45"/>
                  <a:pt x="29" y="45"/>
                  <a:pt x="29" y="45"/>
                </a:cubicBezTo>
                <a:cubicBezTo>
                  <a:pt x="31" y="38"/>
                  <a:pt x="31" y="38"/>
                  <a:pt x="31" y="38"/>
                </a:cubicBezTo>
                <a:cubicBezTo>
                  <a:pt x="30" y="36"/>
                  <a:pt x="30" y="36"/>
                  <a:pt x="30" y="36"/>
                </a:cubicBezTo>
                <a:cubicBezTo>
                  <a:pt x="29" y="36"/>
                  <a:pt x="29" y="36"/>
                  <a:pt x="29" y="36"/>
                </a:cubicBezTo>
                <a:cubicBezTo>
                  <a:pt x="28" y="37"/>
                  <a:pt x="28" y="37"/>
                  <a:pt x="28" y="37"/>
                </a:cubicBezTo>
                <a:cubicBezTo>
                  <a:pt x="27" y="37"/>
                  <a:pt x="27" y="37"/>
                  <a:pt x="27" y="37"/>
                </a:cubicBezTo>
                <a:cubicBezTo>
                  <a:pt x="22" y="25"/>
                  <a:pt x="22" y="25"/>
                  <a:pt x="22" y="25"/>
                </a:cubicBezTo>
                <a:cubicBezTo>
                  <a:pt x="19" y="22"/>
                  <a:pt x="19" y="22"/>
                  <a:pt x="19" y="22"/>
                </a:cubicBezTo>
                <a:cubicBezTo>
                  <a:pt x="18" y="20"/>
                  <a:pt x="18" y="20"/>
                  <a:pt x="18" y="20"/>
                </a:cubicBezTo>
                <a:cubicBezTo>
                  <a:pt x="20" y="17"/>
                  <a:pt x="20" y="17"/>
                  <a:pt x="20" y="17"/>
                </a:cubicBezTo>
                <a:cubicBezTo>
                  <a:pt x="19" y="16"/>
                  <a:pt x="19" y="16"/>
                  <a:pt x="19" y="16"/>
                </a:cubicBezTo>
                <a:cubicBezTo>
                  <a:pt x="20" y="14"/>
                  <a:pt x="20" y="14"/>
                  <a:pt x="20" y="14"/>
                </a:cubicBezTo>
                <a:cubicBezTo>
                  <a:pt x="20" y="13"/>
                  <a:pt x="20" y="13"/>
                  <a:pt x="20" y="13"/>
                </a:cubicBezTo>
                <a:cubicBezTo>
                  <a:pt x="17" y="11"/>
                  <a:pt x="17" y="11"/>
                  <a:pt x="17" y="11"/>
                </a:cubicBezTo>
                <a:cubicBezTo>
                  <a:pt x="16" y="9"/>
                  <a:pt x="16" y="9"/>
                  <a:pt x="16" y="9"/>
                </a:cubicBezTo>
                <a:cubicBezTo>
                  <a:pt x="15" y="7"/>
                  <a:pt x="15" y="7"/>
                  <a:pt x="15" y="7"/>
                </a:cubicBezTo>
                <a:cubicBezTo>
                  <a:pt x="15" y="6"/>
                  <a:pt x="15" y="6"/>
                  <a:pt x="15" y="6"/>
                </a:cubicBezTo>
                <a:cubicBezTo>
                  <a:pt x="15" y="5"/>
                  <a:pt x="15" y="5"/>
                  <a:pt x="15" y="5"/>
                </a:cubicBezTo>
                <a:cubicBezTo>
                  <a:pt x="15" y="4"/>
                  <a:pt x="15" y="4"/>
                  <a:pt x="15" y="4"/>
                </a:cubicBezTo>
                <a:cubicBezTo>
                  <a:pt x="15" y="3"/>
                  <a:pt x="15" y="3"/>
                  <a:pt x="15" y="3"/>
                </a:cubicBezTo>
                <a:cubicBezTo>
                  <a:pt x="13" y="2"/>
                  <a:pt x="13" y="2"/>
                  <a:pt x="13" y="2"/>
                </a:cubicBezTo>
                <a:cubicBezTo>
                  <a:pt x="13" y="1"/>
                  <a:pt x="13" y="1"/>
                  <a:pt x="13" y="1"/>
                </a:cubicBezTo>
                <a:cubicBezTo>
                  <a:pt x="12" y="0"/>
                  <a:pt x="12" y="0"/>
                  <a:pt x="12" y="0"/>
                </a:cubicBezTo>
                <a:cubicBezTo>
                  <a:pt x="11" y="1"/>
                  <a:pt x="11" y="1"/>
                  <a:pt x="11" y="1"/>
                </a:cubicBezTo>
                <a:cubicBezTo>
                  <a:pt x="11" y="3"/>
                  <a:pt x="11" y="3"/>
                  <a:pt x="11" y="3"/>
                </a:cubicBezTo>
                <a:cubicBezTo>
                  <a:pt x="12" y="4"/>
                  <a:pt x="12" y="4"/>
                  <a:pt x="12" y="4"/>
                </a:cubicBezTo>
                <a:cubicBezTo>
                  <a:pt x="12" y="5"/>
                  <a:pt x="12" y="5"/>
                  <a:pt x="12" y="5"/>
                </a:cubicBezTo>
                <a:cubicBezTo>
                  <a:pt x="10" y="5"/>
                  <a:pt x="10" y="5"/>
                  <a:pt x="10" y="5"/>
                </a:cubicBezTo>
                <a:cubicBezTo>
                  <a:pt x="10" y="5"/>
                  <a:pt x="10" y="5"/>
                  <a:pt x="10" y="5"/>
                </a:cubicBezTo>
                <a:cubicBezTo>
                  <a:pt x="8" y="6"/>
                  <a:pt x="8" y="6"/>
                  <a:pt x="8" y="6"/>
                </a:cubicBezTo>
                <a:cubicBezTo>
                  <a:pt x="7" y="7"/>
                  <a:pt x="7" y="7"/>
                  <a:pt x="7" y="7"/>
                </a:cubicBezTo>
                <a:cubicBezTo>
                  <a:pt x="7" y="7"/>
                  <a:pt x="7" y="7"/>
                  <a:pt x="7" y="7"/>
                </a:cubicBezTo>
                <a:cubicBezTo>
                  <a:pt x="7" y="9"/>
                  <a:pt x="7" y="9"/>
                  <a:pt x="7" y="9"/>
                </a:cubicBezTo>
                <a:cubicBezTo>
                  <a:pt x="7" y="11"/>
                  <a:pt x="7" y="11"/>
                  <a:pt x="7" y="11"/>
                </a:cubicBezTo>
                <a:cubicBezTo>
                  <a:pt x="8" y="12"/>
                  <a:pt x="8" y="12"/>
                  <a:pt x="8" y="12"/>
                </a:cubicBezTo>
                <a:cubicBezTo>
                  <a:pt x="9" y="17"/>
                  <a:pt x="9" y="17"/>
                  <a:pt x="9" y="17"/>
                </a:cubicBezTo>
                <a:cubicBezTo>
                  <a:pt x="9" y="19"/>
                  <a:pt x="9" y="19"/>
                  <a:pt x="9" y="19"/>
                </a:cubicBezTo>
                <a:cubicBezTo>
                  <a:pt x="8" y="20"/>
                  <a:pt x="8" y="20"/>
                  <a:pt x="8" y="20"/>
                </a:cubicBezTo>
                <a:cubicBezTo>
                  <a:pt x="8" y="21"/>
                  <a:pt x="8" y="21"/>
                  <a:pt x="8" y="21"/>
                </a:cubicBezTo>
                <a:cubicBezTo>
                  <a:pt x="8" y="23"/>
                  <a:pt x="8" y="23"/>
                  <a:pt x="8" y="23"/>
                </a:cubicBezTo>
                <a:cubicBezTo>
                  <a:pt x="9" y="25"/>
                  <a:pt x="9" y="25"/>
                  <a:pt x="9" y="25"/>
                </a:cubicBezTo>
                <a:cubicBezTo>
                  <a:pt x="10" y="27"/>
                  <a:pt x="10" y="27"/>
                  <a:pt x="10" y="27"/>
                </a:cubicBezTo>
                <a:cubicBezTo>
                  <a:pt x="10" y="31"/>
                  <a:pt x="10" y="31"/>
                  <a:pt x="10" y="31"/>
                </a:cubicBezTo>
                <a:cubicBezTo>
                  <a:pt x="9" y="32"/>
                  <a:pt x="9" y="32"/>
                  <a:pt x="9" y="32"/>
                </a:cubicBezTo>
                <a:cubicBezTo>
                  <a:pt x="9" y="32"/>
                  <a:pt x="9" y="32"/>
                  <a:pt x="9" y="32"/>
                </a:cubicBezTo>
                <a:cubicBezTo>
                  <a:pt x="9" y="37"/>
                  <a:pt x="9" y="37"/>
                  <a:pt x="9" y="37"/>
                </a:cubicBezTo>
                <a:cubicBezTo>
                  <a:pt x="9" y="38"/>
                  <a:pt x="9" y="38"/>
                  <a:pt x="9" y="38"/>
                </a:cubicBezTo>
                <a:cubicBezTo>
                  <a:pt x="8" y="38"/>
                  <a:pt x="8" y="38"/>
                  <a:pt x="8" y="38"/>
                </a:cubicBezTo>
                <a:cubicBezTo>
                  <a:pt x="7" y="39"/>
                  <a:pt x="7" y="39"/>
                  <a:pt x="7" y="39"/>
                </a:cubicBezTo>
                <a:cubicBezTo>
                  <a:pt x="8" y="41"/>
                  <a:pt x="8" y="41"/>
                  <a:pt x="8" y="41"/>
                </a:cubicBezTo>
                <a:cubicBezTo>
                  <a:pt x="8" y="42"/>
                  <a:pt x="8" y="42"/>
                  <a:pt x="8" y="42"/>
                </a:cubicBezTo>
                <a:cubicBezTo>
                  <a:pt x="9" y="41"/>
                  <a:pt x="9" y="41"/>
                  <a:pt x="9" y="41"/>
                </a:cubicBezTo>
                <a:cubicBezTo>
                  <a:pt x="9" y="42"/>
                  <a:pt x="9" y="42"/>
                  <a:pt x="9" y="42"/>
                </a:cubicBezTo>
                <a:cubicBezTo>
                  <a:pt x="8" y="43"/>
                  <a:pt x="8" y="43"/>
                  <a:pt x="8" y="43"/>
                </a:cubicBezTo>
                <a:cubicBezTo>
                  <a:pt x="9" y="49"/>
                  <a:pt x="9" y="49"/>
                  <a:pt x="9" y="49"/>
                </a:cubicBezTo>
                <a:cubicBezTo>
                  <a:pt x="9" y="52"/>
                  <a:pt x="9" y="52"/>
                  <a:pt x="9" y="52"/>
                </a:cubicBezTo>
                <a:cubicBezTo>
                  <a:pt x="10" y="54"/>
                  <a:pt x="10" y="54"/>
                  <a:pt x="10" y="54"/>
                </a:cubicBezTo>
                <a:cubicBezTo>
                  <a:pt x="9" y="55"/>
                  <a:pt x="9" y="55"/>
                  <a:pt x="9" y="55"/>
                </a:cubicBezTo>
                <a:cubicBezTo>
                  <a:pt x="8" y="57"/>
                  <a:pt x="8" y="57"/>
                  <a:pt x="8" y="57"/>
                </a:cubicBezTo>
                <a:cubicBezTo>
                  <a:pt x="8" y="59"/>
                  <a:pt x="8" y="59"/>
                  <a:pt x="8" y="59"/>
                </a:cubicBezTo>
                <a:cubicBezTo>
                  <a:pt x="10" y="61"/>
                  <a:pt x="10" y="61"/>
                  <a:pt x="10" y="61"/>
                </a:cubicBezTo>
                <a:cubicBezTo>
                  <a:pt x="9" y="62"/>
                  <a:pt x="9" y="62"/>
                  <a:pt x="9" y="62"/>
                </a:cubicBezTo>
                <a:cubicBezTo>
                  <a:pt x="9" y="65"/>
                  <a:pt x="9" y="65"/>
                  <a:pt x="9" y="65"/>
                </a:cubicBezTo>
                <a:cubicBezTo>
                  <a:pt x="8" y="66"/>
                  <a:pt x="8" y="66"/>
                  <a:pt x="8" y="66"/>
                </a:cubicBezTo>
                <a:cubicBezTo>
                  <a:pt x="8" y="68"/>
                  <a:pt x="8" y="68"/>
                  <a:pt x="8" y="68"/>
                </a:cubicBezTo>
                <a:cubicBezTo>
                  <a:pt x="9" y="69"/>
                  <a:pt x="9" y="69"/>
                  <a:pt x="9" y="69"/>
                </a:cubicBezTo>
                <a:cubicBezTo>
                  <a:pt x="9" y="70"/>
                  <a:pt x="9" y="70"/>
                  <a:pt x="9" y="70"/>
                </a:cubicBezTo>
                <a:cubicBezTo>
                  <a:pt x="8" y="71"/>
                  <a:pt x="8" y="71"/>
                  <a:pt x="8" y="71"/>
                </a:cubicBezTo>
                <a:cubicBezTo>
                  <a:pt x="8" y="73"/>
                  <a:pt x="8" y="73"/>
                  <a:pt x="8" y="73"/>
                </a:cubicBezTo>
                <a:cubicBezTo>
                  <a:pt x="7" y="74"/>
                  <a:pt x="7" y="74"/>
                  <a:pt x="7" y="74"/>
                </a:cubicBezTo>
                <a:cubicBezTo>
                  <a:pt x="7" y="76"/>
                  <a:pt x="7" y="76"/>
                  <a:pt x="7" y="76"/>
                </a:cubicBezTo>
                <a:cubicBezTo>
                  <a:pt x="7" y="77"/>
                  <a:pt x="7" y="77"/>
                  <a:pt x="7" y="77"/>
                </a:cubicBezTo>
                <a:cubicBezTo>
                  <a:pt x="6" y="79"/>
                  <a:pt x="6" y="79"/>
                  <a:pt x="6" y="79"/>
                </a:cubicBezTo>
                <a:cubicBezTo>
                  <a:pt x="6" y="80"/>
                  <a:pt x="6" y="80"/>
                  <a:pt x="6" y="80"/>
                </a:cubicBezTo>
                <a:cubicBezTo>
                  <a:pt x="7" y="82"/>
                  <a:pt x="7" y="82"/>
                  <a:pt x="7" y="82"/>
                </a:cubicBezTo>
                <a:cubicBezTo>
                  <a:pt x="7" y="84"/>
                  <a:pt x="7" y="84"/>
                  <a:pt x="7" y="84"/>
                </a:cubicBezTo>
                <a:cubicBezTo>
                  <a:pt x="8" y="85"/>
                  <a:pt x="8" y="85"/>
                  <a:pt x="8" y="85"/>
                </a:cubicBezTo>
                <a:cubicBezTo>
                  <a:pt x="7" y="85"/>
                  <a:pt x="7" y="85"/>
                  <a:pt x="7" y="85"/>
                </a:cubicBezTo>
                <a:cubicBezTo>
                  <a:pt x="7" y="87"/>
                  <a:pt x="7" y="87"/>
                  <a:pt x="7" y="87"/>
                </a:cubicBezTo>
                <a:cubicBezTo>
                  <a:pt x="8" y="88"/>
                  <a:pt x="8" y="88"/>
                  <a:pt x="8" y="88"/>
                </a:cubicBezTo>
                <a:cubicBezTo>
                  <a:pt x="7" y="89"/>
                  <a:pt x="7" y="89"/>
                  <a:pt x="7" y="89"/>
                </a:cubicBezTo>
                <a:cubicBezTo>
                  <a:pt x="6" y="89"/>
                  <a:pt x="6" y="89"/>
                  <a:pt x="6" y="89"/>
                </a:cubicBezTo>
                <a:cubicBezTo>
                  <a:pt x="6" y="91"/>
                  <a:pt x="6" y="91"/>
                  <a:pt x="6" y="91"/>
                </a:cubicBezTo>
                <a:cubicBezTo>
                  <a:pt x="6" y="92"/>
                  <a:pt x="6" y="92"/>
                  <a:pt x="6" y="92"/>
                </a:cubicBezTo>
                <a:cubicBezTo>
                  <a:pt x="6" y="94"/>
                  <a:pt x="6" y="94"/>
                  <a:pt x="6" y="94"/>
                </a:cubicBezTo>
                <a:cubicBezTo>
                  <a:pt x="8" y="98"/>
                  <a:pt x="8" y="98"/>
                  <a:pt x="8" y="98"/>
                </a:cubicBezTo>
                <a:cubicBezTo>
                  <a:pt x="8" y="100"/>
                  <a:pt x="8" y="100"/>
                  <a:pt x="8" y="100"/>
                </a:cubicBezTo>
                <a:cubicBezTo>
                  <a:pt x="7" y="100"/>
                  <a:pt x="7" y="100"/>
                  <a:pt x="7" y="100"/>
                </a:cubicBezTo>
                <a:cubicBezTo>
                  <a:pt x="7" y="101"/>
                  <a:pt x="7" y="101"/>
                  <a:pt x="7" y="101"/>
                </a:cubicBezTo>
                <a:cubicBezTo>
                  <a:pt x="8" y="103"/>
                  <a:pt x="8" y="103"/>
                  <a:pt x="8" y="103"/>
                </a:cubicBezTo>
                <a:cubicBezTo>
                  <a:pt x="9" y="106"/>
                  <a:pt x="9" y="106"/>
                  <a:pt x="9" y="106"/>
                </a:cubicBezTo>
                <a:cubicBezTo>
                  <a:pt x="8" y="107"/>
                  <a:pt x="8" y="107"/>
                  <a:pt x="8" y="107"/>
                </a:cubicBezTo>
                <a:cubicBezTo>
                  <a:pt x="8" y="108"/>
                  <a:pt x="8" y="108"/>
                  <a:pt x="8" y="108"/>
                </a:cubicBezTo>
                <a:cubicBezTo>
                  <a:pt x="9" y="109"/>
                  <a:pt x="9" y="109"/>
                  <a:pt x="9" y="109"/>
                </a:cubicBezTo>
                <a:cubicBezTo>
                  <a:pt x="8" y="110"/>
                  <a:pt x="8" y="110"/>
                  <a:pt x="8" y="110"/>
                </a:cubicBezTo>
                <a:cubicBezTo>
                  <a:pt x="8" y="111"/>
                  <a:pt x="8" y="111"/>
                  <a:pt x="8" y="111"/>
                </a:cubicBezTo>
                <a:cubicBezTo>
                  <a:pt x="8" y="111"/>
                  <a:pt x="8" y="111"/>
                  <a:pt x="8" y="111"/>
                </a:cubicBezTo>
                <a:cubicBezTo>
                  <a:pt x="10" y="113"/>
                  <a:pt x="10" y="113"/>
                  <a:pt x="10" y="113"/>
                </a:cubicBezTo>
                <a:cubicBezTo>
                  <a:pt x="10" y="114"/>
                  <a:pt x="10" y="114"/>
                  <a:pt x="10" y="114"/>
                </a:cubicBezTo>
                <a:cubicBezTo>
                  <a:pt x="9" y="116"/>
                  <a:pt x="9" y="116"/>
                  <a:pt x="9" y="116"/>
                </a:cubicBezTo>
                <a:cubicBezTo>
                  <a:pt x="8" y="116"/>
                  <a:pt x="8" y="116"/>
                  <a:pt x="8" y="116"/>
                </a:cubicBezTo>
                <a:cubicBezTo>
                  <a:pt x="8" y="118"/>
                  <a:pt x="8" y="118"/>
                  <a:pt x="8" y="118"/>
                </a:cubicBezTo>
                <a:cubicBezTo>
                  <a:pt x="8" y="118"/>
                  <a:pt x="8" y="118"/>
                  <a:pt x="8" y="118"/>
                </a:cubicBezTo>
                <a:cubicBezTo>
                  <a:pt x="8" y="119"/>
                  <a:pt x="8" y="119"/>
                  <a:pt x="8" y="119"/>
                </a:cubicBezTo>
                <a:cubicBezTo>
                  <a:pt x="8" y="121"/>
                  <a:pt x="8" y="121"/>
                  <a:pt x="8" y="121"/>
                </a:cubicBezTo>
                <a:cubicBezTo>
                  <a:pt x="7" y="121"/>
                  <a:pt x="7" y="121"/>
                  <a:pt x="7" y="121"/>
                </a:cubicBezTo>
                <a:cubicBezTo>
                  <a:pt x="7" y="122"/>
                  <a:pt x="7" y="122"/>
                  <a:pt x="7" y="122"/>
                </a:cubicBezTo>
                <a:cubicBezTo>
                  <a:pt x="7" y="124"/>
                  <a:pt x="7" y="124"/>
                  <a:pt x="7" y="124"/>
                </a:cubicBezTo>
                <a:cubicBezTo>
                  <a:pt x="6" y="125"/>
                  <a:pt x="6" y="125"/>
                  <a:pt x="6" y="125"/>
                </a:cubicBezTo>
                <a:cubicBezTo>
                  <a:pt x="6" y="126"/>
                  <a:pt x="6" y="126"/>
                  <a:pt x="6" y="126"/>
                </a:cubicBezTo>
                <a:cubicBezTo>
                  <a:pt x="6" y="127"/>
                  <a:pt x="6" y="127"/>
                  <a:pt x="6" y="127"/>
                </a:cubicBezTo>
                <a:cubicBezTo>
                  <a:pt x="6" y="129"/>
                  <a:pt x="6" y="129"/>
                  <a:pt x="6" y="129"/>
                </a:cubicBezTo>
                <a:cubicBezTo>
                  <a:pt x="5" y="129"/>
                  <a:pt x="5" y="129"/>
                  <a:pt x="5" y="129"/>
                </a:cubicBezTo>
                <a:cubicBezTo>
                  <a:pt x="5" y="130"/>
                  <a:pt x="5" y="130"/>
                  <a:pt x="5" y="130"/>
                </a:cubicBezTo>
                <a:cubicBezTo>
                  <a:pt x="6" y="131"/>
                  <a:pt x="6" y="131"/>
                  <a:pt x="6" y="131"/>
                </a:cubicBezTo>
                <a:cubicBezTo>
                  <a:pt x="5" y="132"/>
                  <a:pt x="5" y="132"/>
                  <a:pt x="5" y="132"/>
                </a:cubicBezTo>
                <a:cubicBezTo>
                  <a:pt x="5" y="134"/>
                  <a:pt x="5" y="134"/>
                  <a:pt x="5" y="134"/>
                </a:cubicBezTo>
                <a:cubicBezTo>
                  <a:pt x="5" y="135"/>
                  <a:pt x="5" y="135"/>
                  <a:pt x="5" y="135"/>
                </a:cubicBezTo>
                <a:cubicBezTo>
                  <a:pt x="4" y="135"/>
                  <a:pt x="4" y="135"/>
                  <a:pt x="4" y="135"/>
                </a:cubicBezTo>
                <a:cubicBezTo>
                  <a:pt x="4" y="136"/>
                  <a:pt x="4" y="136"/>
                  <a:pt x="4" y="136"/>
                </a:cubicBezTo>
                <a:cubicBezTo>
                  <a:pt x="3" y="137"/>
                  <a:pt x="3" y="137"/>
                  <a:pt x="3" y="137"/>
                </a:cubicBezTo>
                <a:cubicBezTo>
                  <a:pt x="3" y="138"/>
                  <a:pt x="3" y="138"/>
                  <a:pt x="3" y="138"/>
                </a:cubicBezTo>
                <a:cubicBezTo>
                  <a:pt x="4" y="139"/>
                  <a:pt x="4" y="139"/>
                  <a:pt x="4" y="139"/>
                </a:cubicBezTo>
                <a:cubicBezTo>
                  <a:pt x="4" y="140"/>
                  <a:pt x="4" y="140"/>
                  <a:pt x="4" y="140"/>
                </a:cubicBezTo>
                <a:cubicBezTo>
                  <a:pt x="3" y="141"/>
                  <a:pt x="3" y="141"/>
                  <a:pt x="3" y="141"/>
                </a:cubicBezTo>
                <a:cubicBezTo>
                  <a:pt x="2" y="141"/>
                  <a:pt x="2" y="141"/>
                  <a:pt x="2" y="141"/>
                </a:cubicBezTo>
                <a:cubicBezTo>
                  <a:pt x="1" y="141"/>
                  <a:pt x="1" y="141"/>
                  <a:pt x="1" y="141"/>
                </a:cubicBezTo>
                <a:cubicBezTo>
                  <a:pt x="1" y="141"/>
                  <a:pt x="1" y="141"/>
                  <a:pt x="1" y="141"/>
                </a:cubicBezTo>
                <a:cubicBezTo>
                  <a:pt x="0" y="142"/>
                  <a:pt x="0" y="142"/>
                  <a:pt x="0" y="142"/>
                </a:cubicBezTo>
                <a:cubicBezTo>
                  <a:pt x="1" y="143"/>
                  <a:pt x="1" y="143"/>
                  <a:pt x="1" y="143"/>
                </a:cubicBezTo>
                <a:cubicBezTo>
                  <a:pt x="1" y="145"/>
                  <a:pt x="1" y="145"/>
                  <a:pt x="1" y="145"/>
                </a:cubicBezTo>
                <a:cubicBezTo>
                  <a:pt x="2" y="146"/>
                  <a:pt x="2" y="146"/>
                  <a:pt x="2" y="146"/>
                </a:cubicBezTo>
                <a:cubicBezTo>
                  <a:pt x="3" y="148"/>
                  <a:pt x="3" y="148"/>
                  <a:pt x="3" y="148"/>
                </a:cubicBezTo>
                <a:cubicBezTo>
                  <a:pt x="3" y="149"/>
                  <a:pt x="3" y="149"/>
                  <a:pt x="3" y="149"/>
                </a:cubicBezTo>
                <a:cubicBezTo>
                  <a:pt x="3" y="151"/>
                  <a:pt x="3" y="151"/>
                  <a:pt x="3" y="151"/>
                </a:cubicBezTo>
                <a:cubicBezTo>
                  <a:pt x="5" y="154"/>
                  <a:pt x="5" y="154"/>
                  <a:pt x="5" y="154"/>
                </a:cubicBezTo>
                <a:cubicBezTo>
                  <a:pt x="5" y="155"/>
                  <a:pt x="5" y="155"/>
                  <a:pt x="5" y="155"/>
                </a:cubicBezTo>
                <a:cubicBezTo>
                  <a:pt x="6" y="155"/>
                  <a:pt x="6" y="155"/>
                  <a:pt x="6" y="155"/>
                </a:cubicBezTo>
                <a:cubicBezTo>
                  <a:pt x="6" y="158"/>
                  <a:pt x="6" y="158"/>
                  <a:pt x="6" y="158"/>
                </a:cubicBezTo>
                <a:cubicBezTo>
                  <a:pt x="5" y="160"/>
                  <a:pt x="5" y="160"/>
                  <a:pt x="5" y="160"/>
                </a:cubicBezTo>
                <a:cubicBezTo>
                  <a:pt x="5" y="161"/>
                  <a:pt x="5" y="161"/>
                  <a:pt x="5" y="161"/>
                </a:cubicBezTo>
                <a:cubicBezTo>
                  <a:pt x="5" y="162"/>
                  <a:pt x="5" y="162"/>
                  <a:pt x="5" y="162"/>
                </a:cubicBezTo>
                <a:cubicBezTo>
                  <a:pt x="5" y="162"/>
                  <a:pt x="5" y="162"/>
                  <a:pt x="5" y="162"/>
                </a:cubicBezTo>
                <a:cubicBezTo>
                  <a:pt x="4" y="162"/>
                  <a:pt x="4" y="162"/>
                  <a:pt x="4" y="162"/>
                </a:cubicBezTo>
                <a:cubicBezTo>
                  <a:pt x="4" y="162"/>
                  <a:pt x="4" y="162"/>
                  <a:pt x="4" y="162"/>
                </a:cubicBezTo>
                <a:cubicBezTo>
                  <a:pt x="3" y="163"/>
                  <a:pt x="3" y="163"/>
                  <a:pt x="3" y="163"/>
                </a:cubicBezTo>
                <a:cubicBezTo>
                  <a:pt x="4" y="165"/>
                  <a:pt x="4" y="165"/>
                  <a:pt x="4" y="165"/>
                </a:cubicBezTo>
                <a:cubicBezTo>
                  <a:pt x="4" y="165"/>
                  <a:pt x="4" y="165"/>
                  <a:pt x="4" y="165"/>
                </a:cubicBezTo>
                <a:cubicBezTo>
                  <a:pt x="4" y="168"/>
                  <a:pt x="4" y="168"/>
                  <a:pt x="4" y="168"/>
                </a:cubicBezTo>
                <a:cubicBezTo>
                  <a:pt x="4" y="169"/>
                  <a:pt x="4" y="169"/>
                  <a:pt x="4" y="169"/>
                </a:cubicBezTo>
                <a:cubicBezTo>
                  <a:pt x="3" y="170"/>
                  <a:pt x="3" y="170"/>
                  <a:pt x="3" y="170"/>
                </a:cubicBezTo>
                <a:cubicBezTo>
                  <a:pt x="4" y="170"/>
                  <a:pt x="4" y="170"/>
                  <a:pt x="4" y="170"/>
                </a:cubicBezTo>
                <a:cubicBezTo>
                  <a:pt x="4" y="171"/>
                  <a:pt x="4" y="171"/>
                  <a:pt x="4" y="171"/>
                </a:cubicBezTo>
                <a:cubicBezTo>
                  <a:pt x="4" y="172"/>
                  <a:pt x="4" y="172"/>
                  <a:pt x="4" y="172"/>
                </a:cubicBezTo>
                <a:cubicBezTo>
                  <a:pt x="4" y="172"/>
                  <a:pt x="4" y="172"/>
                  <a:pt x="4" y="172"/>
                </a:cubicBezTo>
                <a:cubicBezTo>
                  <a:pt x="6" y="175"/>
                  <a:pt x="6" y="175"/>
                  <a:pt x="6" y="175"/>
                </a:cubicBezTo>
                <a:cubicBezTo>
                  <a:pt x="7" y="176"/>
                  <a:pt x="7" y="176"/>
                  <a:pt x="7" y="176"/>
                </a:cubicBezTo>
                <a:cubicBezTo>
                  <a:pt x="7" y="177"/>
                  <a:pt x="7" y="177"/>
                  <a:pt x="7" y="177"/>
                </a:cubicBezTo>
                <a:cubicBezTo>
                  <a:pt x="9" y="177"/>
                  <a:pt x="9" y="177"/>
                  <a:pt x="9" y="177"/>
                </a:cubicBezTo>
                <a:cubicBezTo>
                  <a:pt x="11" y="177"/>
                  <a:pt x="11" y="177"/>
                  <a:pt x="11" y="177"/>
                </a:cubicBezTo>
                <a:cubicBezTo>
                  <a:pt x="11" y="175"/>
                  <a:pt x="11" y="175"/>
                  <a:pt x="11" y="175"/>
                </a:cubicBezTo>
                <a:cubicBezTo>
                  <a:pt x="11" y="175"/>
                  <a:pt x="11" y="175"/>
                  <a:pt x="11" y="175"/>
                </a:cubicBezTo>
                <a:cubicBezTo>
                  <a:pt x="12" y="175"/>
                  <a:pt x="12" y="175"/>
                  <a:pt x="12" y="175"/>
                </a:cubicBezTo>
                <a:cubicBezTo>
                  <a:pt x="13" y="176"/>
                  <a:pt x="13" y="176"/>
                  <a:pt x="13" y="176"/>
                </a:cubicBezTo>
                <a:cubicBezTo>
                  <a:pt x="13" y="176"/>
                  <a:pt x="13" y="176"/>
                  <a:pt x="13" y="176"/>
                </a:cubicBezTo>
                <a:cubicBezTo>
                  <a:pt x="14" y="176"/>
                  <a:pt x="14" y="176"/>
                  <a:pt x="14" y="176"/>
                </a:cubicBezTo>
                <a:cubicBezTo>
                  <a:pt x="14" y="177"/>
                  <a:pt x="14" y="177"/>
                  <a:pt x="14" y="177"/>
                </a:cubicBezTo>
                <a:cubicBezTo>
                  <a:pt x="12" y="178"/>
                  <a:pt x="12" y="178"/>
                  <a:pt x="12" y="178"/>
                </a:cubicBezTo>
                <a:cubicBezTo>
                  <a:pt x="12" y="179"/>
                  <a:pt x="12" y="179"/>
                  <a:pt x="12" y="179"/>
                </a:cubicBezTo>
                <a:cubicBezTo>
                  <a:pt x="13" y="179"/>
                  <a:pt x="13" y="179"/>
                  <a:pt x="13" y="179"/>
                </a:cubicBezTo>
                <a:cubicBezTo>
                  <a:pt x="14" y="179"/>
                  <a:pt x="14" y="179"/>
                  <a:pt x="14" y="179"/>
                </a:cubicBezTo>
                <a:cubicBezTo>
                  <a:pt x="14" y="180"/>
                  <a:pt x="14" y="180"/>
                  <a:pt x="14" y="180"/>
                </a:cubicBezTo>
                <a:cubicBezTo>
                  <a:pt x="14" y="182"/>
                  <a:pt x="14" y="182"/>
                  <a:pt x="14" y="182"/>
                </a:cubicBezTo>
                <a:cubicBezTo>
                  <a:pt x="15" y="183"/>
                  <a:pt x="15" y="183"/>
                  <a:pt x="15" y="183"/>
                </a:cubicBezTo>
                <a:cubicBezTo>
                  <a:pt x="15" y="183"/>
                  <a:pt x="15" y="183"/>
                  <a:pt x="15" y="183"/>
                </a:cubicBezTo>
                <a:cubicBezTo>
                  <a:pt x="14" y="182"/>
                  <a:pt x="14" y="182"/>
                  <a:pt x="14" y="182"/>
                </a:cubicBezTo>
                <a:cubicBezTo>
                  <a:pt x="13" y="181"/>
                  <a:pt x="13" y="181"/>
                  <a:pt x="13" y="181"/>
                </a:cubicBezTo>
                <a:cubicBezTo>
                  <a:pt x="13" y="181"/>
                  <a:pt x="13" y="181"/>
                  <a:pt x="13" y="181"/>
                </a:cubicBezTo>
                <a:cubicBezTo>
                  <a:pt x="12" y="181"/>
                  <a:pt x="12" y="181"/>
                  <a:pt x="12" y="181"/>
                </a:cubicBezTo>
                <a:cubicBezTo>
                  <a:pt x="12" y="182"/>
                  <a:pt x="12" y="182"/>
                  <a:pt x="12" y="182"/>
                </a:cubicBezTo>
                <a:cubicBezTo>
                  <a:pt x="14" y="183"/>
                  <a:pt x="14" y="183"/>
                  <a:pt x="14" y="183"/>
                </a:cubicBezTo>
                <a:cubicBezTo>
                  <a:pt x="14" y="184"/>
                  <a:pt x="14" y="184"/>
                  <a:pt x="14" y="184"/>
                </a:cubicBezTo>
                <a:cubicBezTo>
                  <a:pt x="13" y="184"/>
                  <a:pt x="13" y="184"/>
                  <a:pt x="13" y="184"/>
                </a:cubicBezTo>
                <a:cubicBezTo>
                  <a:pt x="13" y="184"/>
                  <a:pt x="13" y="184"/>
                  <a:pt x="13" y="184"/>
                </a:cubicBezTo>
                <a:cubicBezTo>
                  <a:pt x="13" y="186"/>
                  <a:pt x="13" y="186"/>
                  <a:pt x="13" y="186"/>
                </a:cubicBezTo>
                <a:cubicBezTo>
                  <a:pt x="14" y="187"/>
                  <a:pt x="14" y="187"/>
                  <a:pt x="14" y="187"/>
                </a:cubicBezTo>
                <a:cubicBezTo>
                  <a:pt x="13" y="188"/>
                  <a:pt x="13" y="188"/>
                  <a:pt x="13" y="188"/>
                </a:cubicBezTo>
                <a:cubicBezTo>
                  <a:pt x="13" y="189"/>
                  <a:pt x="13" y="189"/>
                  <a:pt x="13" y="189"/>
                </a:cubicBezTo>
                <a:cubicBezTo>
                  <a:pt x="13" y="189"/>
                  <a:pt x="13" y="189"/>
                  <a:pt x="13" y="189"/>
                </a:cubicBezTo>
                <a:cubicBezTo>
                  <a:pt x="12" y="190"/>
                  <a:pt x="12" y="190"/>
                  <a:pt x="12" y="190"/>
                </a:cubicBezTo>
                <a:cubicBezTo>
                  <a:pt x="12" y="191"/>
                  <a:pt x="12" y="191"/>
                  <a:pt x="12" y="191"/>
                </a:cubicBezTo>
                <a:cubicBezTo>
                  <a:pt x="14" y="192"/>
                  <a:pt x="14" y="192"/>
                  <a:pt x="14" y="192"/>
                </a:cubicBezTo>
                <a:cubicBezTo>
                  <a:pt x="13" y="193"/>
                  <a:pt x="13" y="193"/>
                  <a:pt x="13" y="193"/>
                </a:cubicBezTo>
                <a:cubicBezTo>
                  <a:pt x="13" y="194"/>
                  <a:pt x="13" y="194"/>
                  <a:pt x="13" y="194"/>
                </a:cubicBezTo>
                <a:cubicBezTo>
                  <a:pt x="12" y="195"/>
                  <a:pt x="12" y="195"/>
                  <a:pt x="12" y="195"/>
                </a:cubicBezTo>
                <a:cubicBezTo>
                  <a:pt x="12" y="196"/>
                  <a:pt x="12" y="196"/>
                  <a:pt x="12" y="196"/>
                </a:cubicBezTo>
                <a:cubicBezTo>
                  <a:pt x="13" y="197"/>
                  <a:pt x="13" y="197"/>
                  <a:pt x="13" y="197"/>
                </a:cubicBezTo>
                <a:cubicBezTo>
                  <a:pt x="14" y="197"/>
                  <a:pt x="14" y="197"/>
                  <a:pt x="14" y="197"/>
                </a:cubicBezTo>
                <a:cubicBezTo>
                  <a:pt x="15" y="198"/>
                  <a:pt x="15" y="198"/>
                  <a:pt x="15" y="198"/>
                </a:cubicBezTo>
                <a:cubicBezTo>
                  <a:pt x="15" y="199"/>
                  <a:pt x="15" y="199"/>
                  <a:pt x="15" y="199"/>
                </a:cubicBezTo>
                <a:cubicBezTo>
                  <a:pt x="16" y="199"/>
                  <a:pt x="16" y="199"/>
                  <a:pt x="16" y="199"/>
                </a:cubicBezTo>
                <a:cubicBezTo>
                  <a:pt x="16" y="199"/>
                  <a:pt x="16" y="199"/>
                  <a:pt x="16" y="199"/>
                </a:cubicBezTo>
                <a:cubicBezTo>
                  <a:pt x="16" y="201"/>
                  <a:pt x="16" y="201"/>
                  <a:pt x="16" y="201"/>
                </a:cubicBezTo>
                <a:cubicBezTo>
                  <a:pt x="15" y="203"/>
                  <a:pt x="15" y="203"/>
                  <a:pt x="15" y="203"/>
                </a:cubicBezTo>
                <a:cubicBezTo>
                  <a:pt x="14" y="204"/>
                  <a:pt x="14" y="204"/>
                  <a:pt x="14" y="204"/>
                </a:cubicBezTo>
                <a:cubicBezTo>
                  <a:pt x="13" y="204"/>
                  <a:pt x="13" y="204"/>
                  <a:pt x="13" y="204"/>
                </a:cubicBezTo>
                <a:cubicBezTo>
                  <a:pt x="13" y="205"/>
                  <a:pt x="13" y="205"/>
                  <a:pt x="13" y="205"/>
                </a:cubicBezTo>
                <a:cubicBezTo>
                  <a:pt x="13" y="206"/>
                  <a:pt x="13" y="206"/>
                  <a:pt x="13" y="206"/>
                </a:cubicBezTo>
                <a:cubicBezTo>
                  <a:pt x="13" y="207"/>
                  <a:pt x="13" y="207"/>
                  <a:pt x="13" y="207"/>
                </a:cubicBezTo>
                <a:cubicBezTo>
                  <a:pt x="13" y="208"/>
                  <a:pt x="13" y="208"/>
                  <a:pt x="13" y="208"/>
                </a:cubicBezTo>
                <a:cubicBezTo>
                  <a:pt x="14" y="208"/>
                  <a:pt x="14" y="208"/>
                  <a:pt x="14" y="208"/>
                </a:cubicBezTo>
                <a:cubicBezTo>
                  <a:pt x="13" y="209"/>
                  <a:pt x="13" y="209"/>
                  <a:pt x="13" y="209"/>
                </a:cubicBezTo>
                <a:cubicBezTo>
                  <a:pt x="12" y="211"/>
                  <a:pt x="12" y="211"/>
                  <a:pt x="12" y="211"/>
                </a:cubicBezTo>
                <a:cubicBezTo>
                  <a:pt x="12" y="213"/>
                  <a:pt x="12" y="213"/>
                  <a:pt x="12" y="213"/>
                </a:cubicBezTo>
                <a:cubicBezTo>
                  <a:pt x="13" y="213"/>
                  <a:pt x="13" y="213"/>
                  <a:pt x="13" y="213"/>
                </a:cubicBezTo>
                <a:cubicBezTo>
                  <a:pt x="12" y="214"/>
                  <a:pt x="12" y="214"/>
                  <a:pt x="12" y="214"/>
                </a:cubicBezTo>
                <a:cubicBezTo>
                  <a:pt x="12" y="216"/>
                  <a:pt x="12" y="216"/>
                  <a:pt x="12" y="216"/>
                </a:cubicBezTo>
                <a:cubicBezTo>
                  <a:pt x="11" y="216"/>
                  <a:pt x="11" y="216"/>
                  <a:pt x="11" y="216"/>
                </a:cubicBezTo>
                <a:cubicBezTo>
                  <a:pt x="11" y="218"/>
                  <a:pt x="11" y="218"/>
                  <a:pt x="11" y="218"/>
                </a:cubicBezTo>
                <a:cubicBezTo>
                  <a:pt x="11" y="217"/>
                  <a:pt x="11" y="217"/>
                  <a:pt x="11" y="217"/>
                </a:cubicBezTo>
                <a:cubicBezTo>
                  <a:pt x="11" y="216"/>
                  <a:pt x="11" y="216"/>
                  <a:pt x="11" y="216"/>
                </a:cubicBezTo>
                <a:cubicBezTo>
                  <a:pt x="11" y="214"/>
                  <a:pt x="11" y="214"/>
                  <a:pt x="11" y="214"/>
                </a:cubicBezTo>
                <a:cubicBezTo>
                  <a:pt x="11" y="213"/>
                  <a:pt x="11" y="213"/>
                  <a:pt x="11" y="213"/>
                </a:cubicBezTo>
                <a:cubicBezTo>
                  <a:pt x="11" y="213"/>
                  <a:pt x="11" y="213"/>
                  <a:pt x="11" y="213"/>
                </a:cubicBezTo>
                <a:cubicBezTo>
                  <a:pt x="11" y="212"/>
                  <a:pt x="11" y="212"/>
                  <a:pt x="11" y="212"/>
                </a:cubicBezTo>
                <a:cubicBezTo>
                  <a:pt x="9" y="213"/>
                  <a:pt x="9" y="213"/>
                  <a:pt x="9" y="213"/>
                </a:cubicBezTo>
                <a:cubicBezTo>
                  <a:pt x="8" y="214"/>
                  <a:pt x="8" y="214"/>
                  <a:pt x="8" y="214"/>
                </a:cubicBezTo>
                <a:cubicBezTo>
                  <a:pt x="7" y="214"/>
                  <a:pt x="7" y="214"/>
                  <a:pt x="7" y="214"/>
                </a:cubicBezTo>
                <a:cubicBezTo>
                  <a:pt x="8" y="213"/>
                  <a:pt x="8" y="213"/>
                  <a:pt x="8" y="213"/>
                </a:cubicBezTo>
                <a:cubicBezTo>
                  <a:pt x="9" y="213"/>
                  <a:pt x="9" y="213"/>
                  <a:pt x="9" y="213"/>
                </a:cubicBezTo>
                <a:cubicBezTo>
                  <a:pt x="9" y="212"/>
                  <a:pt x="9" y="212"/>
                  <a:pt x="9" y="212"/>
                </a:cubicBezTo>
                <a:cubicBezTo>
                  <a:pt x="9" y="210"/>
                  <a:pt x="9" y="210"/>
                  <a:pt x="9" y="210"/>
                </a:cubicBezTo>
                <a:cubicBezTo>
                  <a:pt x="9" y="210"/>
                  <a:pt x="9" y="210"/>
                  <a:pt x="9" y="210"/>
                </a:cubicBezTo>
                <a:cubicBezTo>
                  <a:pt x="8" y="211"/>
                  <a:pt x="8" y="211"/>
                  <a:pt x="8" y="211"/>
                </a:cubicBezTo>
                <a:cubicBezTo>
                  <a:pt x="5" y="211"/>
                  <a:pt x="5" y="211"/>
                  <a:pt x="5" y="211"/>
                </a:cubicBezTo>
                <a:cubicBezTo>
                  <a:pt x="5" y="210"/>
                  <a:pt x="5" y="210"/>
                  <a:pt x="5" y="210"/>
                </a:cubicBezTo>
                <a:cubicBezTo>
                  <a:pt x="4" y="211"/>
                  <a:pt x="4" y="211"/>
                  <a:pt x="4" y="211"/>
                </a:cubicBezTo>
                <a:cubicBezTo>
                  <a:pt x="4" y="211"/>
                  <a:pt x="4" y="211"/>
                  <a:pt x="4" y="211"/>
                </a:cubicBezTo>
                <a:cubicBezTo>
                  <a:pt x="4" y="213"/>
                  <a:pt x="4" y="213"/>
                  <a:pt x="4" y="213"/>
                </a:cubicBezTo>
                <a:cubicBezTo>
                  <a:pt x="5" y="213"/>
                  <a:pt x="5" y="213"/>
                  <a:pt x="5" y="213"/>
                </a:cubicBezTo>
                <a:cubicBezTo>
                  <a:pt x="5" y="214"/>
                  <a:pt x="5" y="214"/>
                  <a:pt x="5" y="214"/>
                </a:cubicBezTo>
                <a:cubicBezTo>
                  <a:pt x="4" y="214"/>
                  <a:pt x="4" y="214"/>
                  <a:pt x="4" y="214"/>
                </a:cubicBezTo>
                <a:cubicBezTo>
                  <a:pt x="4" y="215"/>
                  <a:pt x="4" y="215"/>
                  <a:pt x="4" y="215"/>
                </a:cubicBezTo>
                <a:cubicBezTo>
                  <a:pt x="3" y="216"/>
                  <a:pt x="3" y="216"/>
                  <a:pt x="3" y="216"/>
                </a:cubicBezTo>
                <a:cubicBezTo>
                  <a:pt x="3" y="217"/>
                  <a:pt x="3" y="217"/>
                  <a:pt x="3" y="217"/>
                </a:cubicBezTo>
                <a:cubicBezTo>
                  <a:pt x="1" y="218"/>
                  <a:pt x="1" y="218"/>
                  <a:pt x="1" y="218"/>
                </a:cubicBezTo>
                <a:cubicBezTo>
                  <a:pt x="1" y="219"/>
                  <a:pt x="1" y="219"/>
                  <a:pt x="1" y="219"/>
                </a:cubicBezTo>
                <a:cubicBezTo>
                  <a:pt x="3" y="221"/>
                  <a:pt x="3" y="221"/>
                  <a:pt x="3" y="221"/>
                </a:cubicBezTo>
                <a:cubicBezTo>
                  <a:pt x="4" y="221"/>
                  <a:pt x="4" y="221"/>
                  <a:pt x="4" y="221"/>
                </a:cubicBezTo>
                <a:cubicBezTo>
                  <a:pt x="4" y="220"/>
                  <a:pt x="4" y="220"/>
                  <a:pt x="4" y="220"/>
                </a:cubicBezTo>
                <a:cubicBezTo>
                  <a:pt x="4" y="219"/>
                  <a:pt x="4" y="219"/>
                  <a:pt x="4" y="219"/>
                </a:cubicBezTo>
                <a:cubicBezTo>
                  <a:pt x="3" y="219"/>
                  <a:pt x="3" y="219"/>
                  <a:pt x="3" y="219"/>
                </a:cubicBezTo>
                <a:cubicBezTo>
                  <a:pt x="3" y="218"/>
                  <a:pt x="3" y="218"/>
                  <a:pt x="3" y="218"/>
                </a:cubicBezTo>
                <a:cubicBezTo>
                  <a:pt x="3" y="217"/>
                  <a:pt x="3" y="217"/>
                  <a:pt x="3" y="217"/>
                </a:cubicBezTo>
                <a:cubicBezTo>
                  <a:pt x="5" y="217"/>
                  <a:pt x="5" y="217"/>
                  <a:pt x="5" y="217"/>
                </a:cubicBezTo>
                <a:cubicBezTo>
                  <a:pt x="5" y="217"/>
                  <a:pt x="5" y="217"/>
                  <a:pt x="5" y="217"/>
                </a:cubicBezTo>
                <a:cubicBezTo>
                  <a:pt x="6" y="218"/>
                  <a:pt x="6" y="218"/>
                  <a:pt x="6" y="218"/>
                </a:cubicBezTo>
                <a:cubicBezTo>
                  <a:pt x="7" y="219"/>
                  <a:pt x="7" y="219"/>
                  <a:pt x="7" y="219"/>
                </a:cubicBezTo>
                <a:cubicBezTo>
                  <a:pt x="8" y="219"/>
                  <a:pt x="8" y="219"/>
                  <a:pt x="8" y="219"/>
                </a:cubicBezTo>
                <a:cubicBezTo>
                  <a:pt x="9" y="218"/>
                  <a:pt x="9" y="218"/>
                  <a:pt x="9" y="218"/>
                </a:cubicBezTo>
                <a:cubicBezTo>
                  <a:pt x="10" y="218"/>
                  <a:pt x="10" y="218"/>
                  <a:pt x="10" y="218"/>
                </a:cubicBezTo>
                <a:cubicBezTo>
                  <a:pt x="10" y="219"/>
                  <a:pt x="10" y="219"/>
                  <a:pt x="10" y="219"/>
                </a:cubicBezTo>
                <a:cubicBezTo>
                  <a:pt x="12" y="220"/>
                  <a:pt x="12" y="220"/>
                  <a:pt x="12" y="220"/>
                </a:cubicBezTo>
                <a:cubicBezTo>
                  <a:pt x="12" y="221"/>
                  <a:pt x="12" y="221"/>
                  <a:pt x="12" y="221"/>
                </a:cubicBezTo>
                <a:cubicBezTo>
                  <a:pt x="12" y="221"/>
                  <a:pt x="12" y="221"/>
                  <a:pt x="12" y="221"/>
                </a:cubicBezTo>
                <a:cubicBezTo>
                  <a:pt x="11" y="221"/>
                  <a:pt x="11" y="221"/>
                  <a:pt x="11" y="221"/>
                </a:cubicBezTo>
                <a:cubicBezTo>
                  <a:pt x="12" y="222"/>
                  <a:pt x="12" y="222"/>
                  <a:pt x="12" y="222"/>
                </a:cubicBezTo>
                <a:cubicBezTo>
                  <a:pt x="11" y="223"/>
                  <a:pt x="11" y="223"/>
                  <a:pt x="11" y="223"/>
                </a:cubicBezTo>
                <a:cubicBezTo>
                  <a:pt x="11" y="224"/>
                  <a:pt x="11" y="224"/>
                  <a:pt x="11" y="224"/>
                </a:cubicBezTo>
                <a:cubicBezTo>
                  <a:pt x="11" y="224"/>
                  <a:pt x="11" y="224"/>
                  <a:pt x="11" y="224"/>
                </a:cubicBezTo>
                <a:cubicBezTo>
                  <a:pt x="12" y="225"/>
                  <a:pt x="12" y="225"/>
                  <a:pt x="12" y="225"/>
                </a:cubicBezTo>
                <a:cubicBezTo>
                  <a:pt x="12" y="225"/>
                  <a:pt x="12" y="225"/>
                  <a:pt x="12" y="225"/>
                </a:cubicBezTo>
                <a:cubicBezTo>
                  <a:pt x="11" y="225"/>
                  <a:pt x="11" y="225"/>
                  <a:pt x="11" y="225"/>
                </a:cubicBezTo>
                <a:cubicBezTo>
                  <a:pt x="10" y="224"/>
                  <a:pt x="10" y="224"/>
                  <a:pt x="10" y="224"/>
                </a:cubicBezTo>
                <a:cubicBezTo>
                  <a:pt x="10" y="224"/>
                  <a:pt x="10" y="224"/>
                  <a:pt x="10" y="224"/>
                </a:cubicBezTo>
                <a:cubicBezTo>
                  <a:pt x="10" y="225"/>
                  <a:pt x="10" y="225"/>
                  <a:pt x="10" y="225"/>
                </a:cubicBezTo>
                <a:cubicBezTo>
                  <a:pt x="11" y="226"/>
                  <a:pt x="11" y="226"/>
                  <a:pt x="11" y="226"/>
                </a:cubicBezTo>
                <a:cubicBezTo>
                  <a:pt x="11" y="227"/>
                  <a:pt x="11" y="227"/>
                  <a:pt x="11" y="227"/>
                </a:cubicBezTo>
                <a:cubicBezTo>
                  <a:pt x="13" y="227"/>
                  <a:pt x="13" y="227"/>
                  <a:pt x="13" y="227"/>
                </a:cubicBezTo>
                <a:cubicBezTo>
                  <a:pt x="14" y="227"/>
                  <a:pt x="14" y="227"/>
                  <a:pt x="14" y="227"/>
                </a:cubicBezTo>
                <a:cubicBezTo>
                  <a:pt x="15" y="227"/>
                  <a:pt x="15" y="227"/>
                  <a:pt x="15" y="227"/>
                </a:cubicBezTo>
                <a:cubicBezTo>
                  <a:pt x="16" y="227"/>
                  <a:pt x="16" y="227"/>
                  <a:pt x="16" y="227"/>
                </a:cubicBezTo>
                <a:cubicBezTo>
                  <a:pt x="17" y="227"/>
                  <a:pt x="17" y="227"/>
                  <a:pt x="17" y="227"/>
                </a:cubicBezTo>
                <a:cubicBezTo>
                  <a:pt x="16" y="228"/>
                  <a:pt x="16" y="228"/>
                  <a:pt x="16" y="228"/>
                </a:cubicBezTo>
                <a:cubicBezTo>
                  <a:pt x="17" y="228"/>
                  <a:pt x="17" y="228"/>
                  <a:pt x="17" y="228"/>
                </a:cubicBezTo>
                <a:cubicBezTo>
                  <a:pt x="16" y="228"/>
                  <a:pt x="16" y="228"/>
                  <a:pt x="16" y="228"/>
                </a:cubicBezTo>
                <a:cubicBezTo>
                  <a:pt x="15" y="228"/>
                  <a:pt x="15" y="228"/>
                  <a:pt x="15" y="228"/>
                </a:cubicBezTo>
                <a:cubicBezTo>
                  <a:pt x="15" y="229"/>
                  <a:pt x="15" y="229"/>
                  <a:pt x="15" y="229"/>
                </a:cubicBezTo>
                <a:cubicBezTo>
                  <a:pt x="14" y="228"/>
                  <a:pt x="14" y="228"/>
                  <a:pt x="14" y="228"/>
                </a:cubicBezTo>
                <a:cubicBezTo>
                  <a:pt x="12" y="229"/>
                  <a:pt x="12" y="229"/>
                  <a:pt x="12" y="229"/>
                </a:cubicBezTo>
                <a:cubicBezTo>
                  <a:pt x="11" y="229"/>
                  <a:pt x="11" y="229"/>
                  <a:pt x="11" y="229"/>
                </a:cubicBezTo>
                <a:cubicBezTo>
                  <a:pt x="12" y="230"/>
                  <a:pt x="12" y="230"/>
                  <a:pt x="12" y="230"/>
                </a:cubicBezTo>
                <a:cubicBezTo>
                  <a:pt x="13" y="231"/>
                  <a:pt x="13" y="231"/>
                  <a:pt x="13" y="231"/>
                </a:cubicBezTo>
                <a:cubicBezTo>
                  <a:pt x="13" y="232"/>
                  <a:pt x="13" y="232"/>
                  <a:pt x="13" y="232"/>
                </a:cubicBezTo>
                <a:cubicBezTo>
                  <a:pt x="14" y="232"/>
                  <a:pt x="14" y="232"/>
                  <a:pt x="14" y="232"/>
                </a:cubicBezTo>
                <a:cubicBezTo>
                  <a:pt x="15" y="232"/>
                  <a:pt x="15" y="232"/>
                  <a:pt x="15" y="232"/>
                </a:cubicBezTo>
                <a:cubicBezTo>
                  <a:pt x="15" y="232"/>
                  <a:pt x="15" y="232"/>
                  <a:pt x="15" y="232"/>
                </a:cubicBezTo>
                <a:cubicBezTo>
                  <a:pt x="14" y="233"/>
                  <a:pt x="14" y="233"/>
                  <a:pt x="14" y="233"/>
                </a:cubicBezTo>
                <a:cubicBezTo>
                  <a:pt x="14" y="234"/>
                  <a:pt x="14" y="234"/>
                  <a:pt x="14" y="234"/>
                </a:cubicBezTo>
                <a:cubicBezTo>
                  <a:pt x="14" y="234"/>
                  <a:pt x="14" y="234"/>
                  <a:pt x="14" y="234"/>
                </a:cubicBezTo>
                <a:cubicBezTo>
                  <a:pt x="14" y="235"/>
                  <a:pt x="14" y="235"/>
                  <a:pt x="14" y="235"/>
                </a:cubicBezTo>
                <a:cubicBezTo>
                  <a:pt x="13" y="235"/>
                  <a:pt x="13" y="235"/>
                  <a:pt x="13" y="235"/>
                </a:cubicBezTo>
                <a:cubicBezTo>
                  <a:pt x="13" y="236"/>
                  <a:pt x="13" y="236"/>
                  <a:pt x="13" y="236"/>
                </a:cubicBezTo>
                <a:cubicBezTo>
                  <a:pt x="14" y="239"/>
                  <a:pt x="14" y="239"/>
                  <a:pt x="14" y="239"/>
                </a:cubicBezTo>
                <a:cubicBezTo>
                  <a:pt x="15" y="240"/>
                  <a:pt x="15" y="240"/>
                  <a:pt x="15" y="240"/>
                </a:cubicBezTo>
                <a:cubicBezTo>
                  <a:pt x="14" y="241"/>
                  <a:pt x="14" y="241"/>
                  <a:pt x="14" y="241"/>
                </a:cubicBezTo>
                <a:cubicBezTo>
                  <a:pt x="15" y="243"/>
                  <a:pt x="15" y="243"/>
                  <a:pt x="15" y="243"/>
                </a:cubicBezTo>
                <a:cubicBezTo>
                  <a:pt x="16" y="243"/>
                  <a:pt x="16" y="243"/>
                  <a:pt x="16" y="243"/>
                </a:cubicBezTo>
                <a:cubicBezTo>
                  <a:pt x="16" y="241"/>
                  <a:pt x="16" y="241"/>
                  <a:pt x="16" y="241"/>
                </a:cubicBezTo>
                <a:cubicBezTo>
                  <a:pt x="17" y="239"/>
                  <a:pt x="17" y="239"/>
                  <a:pt x="17" y="239"/>
                </a:cubicBezTo>
                <a:cubicBezTo>
                  <a:pt x="18" y="238"/>
                  <a:pt x="18" y="238"/>
                  <a:pt x="18" y="238"/>
                </a:cubicBezTo>
                <a:cubicBezTo>
                  <a:pt x="18" y="238"/>
                  <a:pt x="18" y="238"/>
                  <a:pt x="18" y="238"/>
                </a:cubicBezTo>
                <a:cubicBezTo>
                  <a:pt x="17" y="239"/>
                  <a:pt x="17" y="239"/>
                  <a:pt x="17" y="239"/>
                </a:cubicBezTo>
                <a:cubicBezTo>
                  <a:pt x="17" y="241"/>
                  <a:pt x="17" y="241"/>
                  <a:pt x="17" y="241"/>
                </a:cubicBezTo>
                <a:cubicBezTo>
                  <a:pt x="17" y="242"/>
                  <a:pt x="17" y="242"/>
                  <a:pt x="17" y="242"/>
                </a:cubicBezTo>
                <a:cubicBezTo>
                  <a:pt x="18" y="242"/>
                  <a:pt x="18" y="242"/>
                  <a:pt x="18" y="242"/>
                </a:cubicBezTo>
                <a:cubicBezTo>
                  <a:pt x="19" y="242"/>
                  <a:pt x="19" y="242"/>
                  <a:pt x="19" y="242"/>
                </a:cubicBezTo>
                <a:cubicBezTo>
                  <a:pt x="18" y="243"/>
                  <a:pt x="18" y="243"/>
                  <a:pt x="18" y="243"/>
                </a:cubicBezTo>
                <a:cubicBezTo>
                  <a:pt x="17" y="243"/>
                  <a:pt x="17" y="243"/>
                  <a:pt x="17" y="243"/>
                </a:cubicBezTo>
                <a:cubicBezTo>
                  <a:pt x="16" y="244"/>
                  <a:pt x="16" y="244"/>
                  <a:pt x="16" y="244"/>
                </a:cubicBezTo>
                <a:cubicBezTo>
                  <a:pt x="16" y="245"/>
                  <a:pt x="16" y="245"/>
                  <a:pt x="16" y="245"/>
                </a:cubicBezTo>
                <a:cubicBezTo>
                  <a:pt x="16" y="246"/>
                  <a:pt x="16" y="246"/>
                  <a:pt x="16" y="246"/>
                </a:cubicBezTo>
                <a:cubicBezTo>
                  <a:pt x="16" y="247"/>
                  <a:pt x="16" y="247"/>
                  <a:pt x="16" y="247"/>
                </a:cubicBezTo>
                <a:cubicBezTo>
                  <a:pt x="15" y="247"/>
                  <a:pt x="15" y="247"/>
                  <a:pt x="15" y="247"/>
                </a:cubicBezTo>
                <a:cubicBezTo>
                  <a:pt x="14" y="248"/>
                  <a:pt x="14" y="248"/>
                  <a:pt x="14" y="248"/>
                </a:cubicBezTo>
                <a:cubicBezTo>
                  <a:pt x="15" y="249"/>
                  <a:pt x="15" y="249"/>
                  <a:pt x="15" y="249"/>
                </a:cubicBezTo>
                <a:cubicBezTo>
                  <a:pt x="16" y="251"/>
                  <a:pt x="16" y="251"/>
                  <a:pt x="16" y="251"/>
                </a:cubicBezTo>
                <a:cubicBezTo>
                  <a:pt x="19" y="251"/>
                  <a:pt x="19" y="251"/>
                  <a:pt x="19" y="251"/>
                </a:cubicBezTo>
                <a:cubicBezTo>
                  <a:pt x="20" y="252"/>
                  <a:pt x="20" y="252"/>
                  <a:pt x="20" y="252"/>
                </a:cubicBezTo>
                <a:cubicBezTo>
                  <a:pt x="19" y="252"/>
                  <a:pt x="19" y="252"/>
                  <a:pt x="19" y="252"/>
                </a:cubicBezTo>
                <a:cubicBezTo>
                  <a:pt x="19" y="252"/>
                  <a:pt x="19" y="252"/>
                  <a:pt x="19" y="252"/>
                </a:cubicBezTo>
                <a:cubicBezTo>
                  <a:pt x="19" y="254"/>
                  <a:pt x="19" y="254"/>
                  <a:pt x="19" y="254"/>
                </a:cubicBezTo>
                <a:cubicBezTo>
                  <a:pt x="20" y="254"/>
                  <a:pt x="20" y="254"/>
                  <a:pt x="20" y="254"/>
                </a:cubicBezTo>
                <a:cubicBezTo>
                  <a:pt x="21" y="253"/>
                  <a:pt x="21" y="253"/>
                  <a:pt x="21" y="253"/>
                </a:cubicBezTo>
                <a:cubicBezTo>
                  <a:pt x="21" y="254"/>
                  <a:pt x="21" y="254"/>
                  <a:pt x="21" y="254"/>
                </a:cubicBezTo>
                <a:cubicBezTo>
                  <a:pt x="20" y="255"/>
                  <a:pt x="20" y="255"/>
                  <a:pt x="20" y="255"/>
                </a:cubicBezTo>
                <a:cubicBezTo>
                  <a:pt x="19" y="255"/>
                  <a:pt x="19" y="255"/>
                  <a:pt x="19" y="255"/>
                </a:cubicBezTo>
                <a:cubicBezTo>
                  <a:pt x="19" y="256"/>
                  <a:pt x="19" y="256"/>
                  <a:pt x="19" y="256"/>
                </a:cubicBezTo>
                <a:cubicBezTo>
                  <a:pt x="19" y="257"/>
                  <a:pt x="19" y="257"/>
                  <a:pt x="19" y="257"/>
                </a:cubicBezTo>
                <a:cubicBezTo>
                  <a:pt x="20" y="257"/>
                  <a:pt x="20" y="257"/>
                  <a:pt x="20" y="257"/>
                </a:cubicBezTo>
                <a:cubicBezTo>
                  <a:pt x="20" y="257"/>
                  <a:pt x="20" y="257"/>
                  <a:pt x="20" y="257"/>
                </a:cubicBezTo>
                <a:cubicBezTo>
                  <a:pt x="21" y="258"/>
                  <a:pt x="21" y="258"/>
                  <a:pt x="21" y="258"/>
                </a:cubicBezTo>
                <a:cubicBezTo>
                  <a:pt x="22" y="258"/>
                  <a:pt x="22" y="258"/>
                  <a:pt x="22" y="258"/>
                </a:cubicBezTo>
                <a:cubicBezTo>
                  <a:pt x="22" y="258"/>
                  <a:pt x="22" y="258"/>
                  <a:pt x="22" y="258"/>
                </a:cubicBezTo>
                <a:cubicBezTo>
                  <a:pt x="22" y="259"/>
                  <a:pt x="22" y="259"/>
                  <a:pt x="22" y="259"/>
                </a:cubicBezTo>
                <a:cubicBezTo>
                  <a:pt x="23" y="260"/>
                  <a:pt x="23" y="260"/>
                  <a:pt x="23" y="260"/>
                </a:cubicBezTo>
                <a:cubicBezTo>
                  <a:pt x="22" y="260"/>
                  <a:pt x="22" y="260"/>
                  <a:pt x="22" y="260"/>
                </a:cubicBezTo>
                <a:cubicBezTo>
                  <a:pt x="22" y="260"/>
                  <a:pt x="22" y="260"/>
                  <a:pt x="22" y="260"/>
                </a:cubicBezTo>
                <a:cubicBezTo>
                  <a:pt x="21" y="260"/>
                  <a:pt x="21" y="260"/>
                  <a:pt x="21" y="260"/>
                </a:cubicBezTo>
                <a:cubicBezTo>
                  <a:pt x="21" y="260"/>
                  <a:pt x="21" y="260"/>
                  <a:pt x="21" y="260"/>
                </a:cubicBezTo>
                <a:cubicBezTo>
                  <a:pt x="22" y="262"/>
                  <a:pt x="22" y="262"/>
                  <a:pt x="22" y="262"/>
                </a:cubicBezTo>
                <a:cubicBezTo>
                  <a:pt x="22" y="262"/>
                  <a:pt x="22" y="262"/>
                  <a:pt x="22" y="262"/>
                </a:cubicBezTo>
                <a:cubicBezTo>
                  <a:pt x="23" y="263"/>
                  <a:pt x="23" y="263"/>
                  <a:pt x="23" y="263"/>
                </a:cubicBezTo>
                <a:cubicBezTo>
                  <a:pt x="23" y="264"/>
                  <a:pt x="23" y="264"/>
                  <a:pt x="23" y="264"/>
                </a:cubicBezTo>
                <a:cubicBezTo>
                  <a:pt x="24" y="265"/>
                  <a:pt x="24" y="265"/>
                  <a:pt x="24" y="265"/>
                </a:cubicBezTo>
                <a:cubicBezTo>
                  <a:pt x="25" y="265"/>
                  <a:pt x="25" y="265"/>
                  <a:pt x="25" y="265"/>
                </a:cubicBezTo>
                <a:cubicBezTo>
                  <a:pt x="25" y="263"/>
                  <a:pt x="25" y="263"/>
                  <a:pt x="25" y="263"/>
                </a:cubicBezTo>
                <a:cubicBezTo>
                  <a:pt x="25" y="262"/>
                  <a:pt x="25" y="262"/>
                  <a:pt x="25" y="262"/>
                </a:cubicBezTo>
                <a:cubicBezTo>
                  <a:pt x="25" y="262"/>
                  <a:pt x="25" y="262"/>
                  <a:pt x="25" y="262"/>
                </a:cubicBezTo>
                <a:cubicBezTo>
                  <a:pt x="26" y="262"/>
                  <a:pt x="26" y="262"/>
                  <a:pt x="26" y="262"/>
                </a:cubicBezTo>
                <a:cubicBezTo>
                  <a:pt x="26" y="263"/>
                  <a:pt x="26" y="263"/>
                  <a:pt x="26" y="263"/>
                </a:cubicBezTo>
                <a:cubicBezTo>
                  <a:pt x="26" y="264"/>
                  <a:pt x="26" y="264"/>
                  <a:pt x="26" y="264"/>
                </a:cubicBezTo>
                <a:cubicBezTo>
                  <a:pt x="27" y="263"/>
                  <a:pt x="27" y="263"/>
                  <a:pt x="27" y="263"/>
                </a:cubicBezTo>
                <a:cubicBezTo>
                  <a:pt x="28" y="262"/>
                  <a:pt x="28" y="262"/>
                  <a:pt x="28" y="262"/>
                </a:cubicBezTo>
                <a:cubicBezTo>
                  <a:pt x="28" y="261"/>
                  <a:pt x="28" y="261"/>
                  <a:pt x="28" y="261"/>
                </a:cubicBezTo>
                <a:cubicBezTo>
                  <a:pt x="27" y="261"/>
                  <a:pt x="27" y="261"/>
                  <a:pt x="27" y="261"/>
                </a:cubicBezTo>
                <a:cubicBezTo>
                  <a:pt x="25" y="261"/>
                  <a:pt x="25" y="261"/>
                  <a:pt x="25" y="261"/>
                </a:cubicBezTo>
                <a:cubicBezTo>
                  <a:pt x="25" y="260"/>
                  <a:pt x="25" y="260"/>
                  <a:pt x="25" y="260"/>
                </a:cubicBezTo>
                <a:cubicBezTo>
                  <a:pt x="26" y="260"/>
                  <a:pt x="26" y="260"/>
                  <a:pt x="26" y="260"/>
                </a:cubicBezTo>
                <a:cubicBezTo>
                  <a:pt x="28" y="261"/>
                  <a:pt x="28" y="261"/>
                  <a:pt x="28" y="261"/>
                </a:cubicBezTo>
                <a:cubicBezTo>
                  <a:pt x="29" y="261"/>
                  <a:pt x="29" y="261"/>
                  <a:pt x="29" y="261"/>
                </a:cubicBezTo>
                <a:cubicBezTo>
                  <a:pt x="30" y="262"/>
                  <a:pt x="30" y="262"/>
                  <a:pt x="30" y="262"/>
                </a:cubicBezTo>
                <a:cubicBezTo>
                  <a:pt x="30" y="260"/>
                  <a:pt x="30" y="260"/>
                  <a:pt x="30" y="260"/>
                </a:cubicBezTo>
                <a:cubicBezTo>
                  <a:pt x="28" y="260"/>
                  <a:pt x="28" y="260"/>
                  <a:pt x="28" y="260"/>
                </a:cubicBezTo>
                <a:cubicBezTo>
                  <a:pt x="26" y="260"/>
                  <a:pt x="26" y="260"/>
                  <a:pt x="26" y="260"/>
                </a:cubicBezTo>
                <a:cubicBezTo>
                  <a:pt x="26" y="259"/>
                  <a:pt x="26" y="259"/>
                  <a:pt x="26" y="259"/>
                </a:cubicBezTo>
                <a:cubicBezTo>
                  <a:pt x="27" y="259"/>
                  <a:pt x="27" y="259"/>
                  <a:pt x="27" y="259"/>
                </a:cubicBezTo>
                <a:cubicBezTo>
                  <a:pt x="29" y="260"/>
                  <a:pt x="29" y="260"/>
                  <a:pt x="29" y="260"/>
                </a:cubicBezTo>
                <a:cubicBezTo>
                  <a:pt x="31" y="261"/>
                  <a:pt x="31" y="261"/>
                  <a:pt x="31" y="261"/>
                </a:cubicBezTo>
                <a:cubicBezTo>
                  <a:pt x="31" y="262"/>
                  <a:pt x="31" y="262"/>
                  <a:pt x="31" y="262"/>
                </a:cubicBezTo>
                <a:cubicBezTo>
                  <a:pt x="30" y="263"/>
                  <a:pt x="30" y="263"/>
                  <a:pt x="30" y="263"/>
                </a:cubicBezTo>
                <a:cubicBezTo>
                  <a:pt x="30" y="264"/>
                  <a:pt x="30" y="264"/>
                  <a:pt x="30" y="264"/>
                </a:cubicBezTo>
                <a:cubicBezTo>
                  <a:pt x="31" y="266"/>
                  <a:pt x="31" y="266"/>
                  <a:pt x="31" y="266"/>
                </a:cubicBezTo>
                <a:cubicBezTo>
                  <a:pt x="31" y="267"/>
                  <a:pt x="31" y="267"/>
                  <a:pt x="31" y="267"/>
                </a:cubicBezTo>
                <a:cubicBezTo>
                  <a:pt x="30" y="267"/>
                  <a:pt x="30" y="267"/>
                  <a:pt x="30" y="267"/>
                </a:cubicBezTo>
                <a:cubicBezTo>
                  <a:pt x="30" y="266"/>
                  <a:pt x="30" y="266"/>
                  <a:pt x="30" y="266"/>
                </a:cubicBezTo>
                <a:cubicBezTo>
                  <a:pt x="29" y="264"/>
                  <a:pt x="29" y="264"/>
                  <a:pt x="29" y="264"/>
                </a:cubicBezTo>
                <a:cubicBezTo>
                  <a:pt x="29" y="263"/>
                  <a:pt x="29" y="263"/>
                  <a:pt x="29" y="263"/>
                </a:cubicBezTo>
                <a:cubicBezTo>
                  <a:pt x="28" y="264"/>
                  <a:pt x="28" y="264"/>
                  <a:pt x="28" y="264"/>
                </a:cubicBezTo>
                <a:cubicBezTo>
                  <a:pt x="28" y="265"/>
                  <a:pt x="28" y="265"/>
                  <a:pt x="28" y="265"/>
                </a:cubicBezTo>
                <a:cubicBezTo>
                  <a:pt x="29" y="266"/>
                  <a:pt x="29" y="266"/>
                  <a:pt x="29" y="266"/>
                </a:cubicBezTo>
                <a:cubicBezTo>
                  <a:pt x="28" y="267"/>
                  <a:pt x="28" y="267"/>
                  <a:pt x="28" y="267"/>
                </a:cubicBezTo>
                <a:cubicBezTo>
                  <a:pt x="28" y="266"/>
                  <a:pt x="28" y="266"/>
                  <a:pt x="28" y="266"/>
                </a:cubicBezTo>
                <a:cubicBezTo>
                  <a:pt x="27" y="265"/>
                  <a:pt x="27" y="265"/>
                  <a:pt x="27" y="265"/>
                </a:cubicBezTo>
                <a:cubicBezTo>
                  <a:pt x="27" y="265"/>
                  <a:pt x="27" y="265"/>
                  <a:pt x="27" y="265"/>
                </a:cubicBezTo>
                <a:cubicBezTo>
                  <a:pt x="26" y="266"/>
                  <a:pt x="26" y="266"/>
                  <a:pt x="26" y="266"/>
                </a:cubicBezTo>
                <a:cubicBezTo>
                  <a:pt x="24" y="266"/>
                  <a:pt x="24" y="266"/>
                  <a:pt x="24" y="266"/>
                </a:cubicBezTo>
                <a:cubicBezTo>
                  <a:pt x="23" y="266"/>
                  <a:pt x="23" y="266"/>
                  <a:pt x="23" y="266"/>
                </a:cubicBezTo>
                <a:cubicBezTo>
                  <a:pt x="24" y="267"/>
                  <a:pt x="24" y="267"/>
                  <a:pt x="24" y="267"/>
                </a:cubicBezTo>
                <a:cubicBezTo>
                  <a:pt x="24" y="269"/>
                  <a:pt x="24" y="269"/>
                  <a:pt x="24" y="269"/>
                </a:cubicBezTo>
                <a:cubicBezTo>
                  <a:pt x="25" y="269"/>
                  <a:pt x="25" y="269"/>
                  <a:pt x="25" y="269"/>
                </a:cubicBezTo>
                <a:cubicBezTo>
                  <a:pt x="25" y="270"/>
                  <a:pt x="25" y="270"/>
                  <a:pt x="25" y="270"/>
                </a:cubicBezTo>
                <a:cubicBezTo>
                  <a:pt x="25" y="271"/>
                  <a:pt x="25" y="271"/>
                  <a:pt x="25" y="271"/>
                </a:cubicBezTo>
                <a:cubicBezTo>
                  <a:pt x="25" y="271"/>
                  <a:pt x="25" y="271"/>
                  <a:pt x="25" y="271"/>
                </a:cubicBezTo>
                <a:cubicBezTo>
                  <a:pt x="26" y="271"/>
                  <a:pt x="26" y="271"/>
                  <a:pt x="26" y="271"/>
                </a:cubicBezTo>
                <a:cubicBezTo>
                  <a:pt x="26" y="270"/>
                  <a:pt x="26" y="270"/>
                  <a:pt x="26" y="270"/>
                </a:cubicBezTo>
                <a:cubicBezTo>
                  <a:pt x="27" y="271"/>
                  <a:pt x="27" y="271"/>
                  <a:pt x="27" y="271"/>
                </a:cubicBezTo>
                <a:cubicBezTo>
                  <a:pt x="28" y="271"/>
                  <a:pt x="28" y="271"/>
                  <a:pt x="28" y="271"/>
                </a:cubicBezTo>
                <a:cubicBezTo>
                  <a:pt x="28" y="272"/>
                  <a:pt x="28" y="272"/>
                  <a:pt x="28" y="272"/>
                </a:cubicBezTo>
                <a:cubicBezTo>
                  <a:pt x="27" y="272"/>
                  <a:pt x="27" y="272"/>
                  <a:pt x="27" y="272"/>
                </a:cubicBezTo>
                <a:cubicBezTo>
                  <a:pt x="26" y="273"/>
                  <a:pt x="26" y="273"/>
                  <a:pt x="26" y="273"/>
                </a:cubicBezTo>
                <a:cubicBezTo>
                  <a:pt x="26" y="273"/>
                  <a:pt x="26" y="273"/>
                  <a:pt x="26" y="273"/>
                </a:cubicBezTo>
                <a:cubicBezTo>
                  <a:pt x="28" y="273"/>
                  <a:pt x="28" y="273"/>
                  <a:pt x="28" y="273"/>
                </a:cubicBezTo>
                <a:cubicBezTo>
                  <a:pt x="29" y="274"/>
                  <a:pt x="29" y="274"/>
                  <a:pt x="29" y="274"/>
                </a:cubicBezTo>
                <a:cubicBezTo>
                  <a:pt x="30" y="274"/>
                  <a:pt x="30" y="274"/>
                  <a:pt x="30" y="274"/>
                </a:cubicBezTo>
                <a:cubicBezTo>
                  <a:pt x="31" y="273"/>
                  <a:pt x="31" y="273"/>
                  <a:pt x="31" y="273"/>
                </a:cubicBezTo>
                <a:cubicBezTo>
                  <a:pt x="30" y="272"/>
                  <a:pt x="30" y="272"/>
                  <a:pt x="30" y="272"/>
                </a:cubicBezTo>
                <a:cubicBezTo>
                  <a:pt x="30" y="271"/>
                  <a:pt x="30" y="271"/>
                  <a:pt x="30" y="271"/>
                </a:cubicBezTo>
                <a:cubicBezTo>
                  <a:pt x="30" y="270"/>
                  <a:pt x="30" y="270"/>
                  <a:pt x="30" y="270"/>
                </a:cubicBezTo>
                <a:cubicBezTo>
                  <a:pt x="30" y="270"/>
                  <a:pt x="30" y="270"/>
                  <a:pt x="30" y="270"/>
                </a:cubicBezTo>
                <a:cubicBezTo>
                  <a:pt x="29" y="270"/>
                  <a:pt x="29" y="270"/>
                  <a:pt x="29" y="270"/>
                </a:cubicBezTo>
                <a:cubicBezTo>
                  <a:pt x="29" y="270"/>
                  <a:pt x="29" y="270"/>
                  <a:pt x="29" y="270"/>
                </a:cubicBezTo>
                <a:cubicBezTo>
                  <a:pt x="30" y="269"/>
                  <a:pt x="30" y="269"/>
                  <a:pt x="30" y="269"/>
                </a:cubicBezTo>
                <a:cubicBezTo>
                  <a:pt x="30" y="269"/>
                  <a:pt x="30" y="269"/>
                  <a:pt x="30" y="269"/>
                </a:cubicBezTo>
                <a:cubicBezTo>
                  <a:pt x="30" y="268"/>
                  <a:pt x="30" y="268"/>
                  <a:pt x="30" y="268"/>
                </a:cubicBezTo>
                <a:cubicBezTo>
                  <a:pt x="32" y="269"/>
                  <a:pt x="32" y="269"/>
                  <a:pt x="32" y="269"/>
                </a:cubicBezTo>
                <a:cubicBezTo>
                  <a:pt x="32" y="269"/>
                  <a:pt x="32" y="269"/>
                  <a:pt x="32" y="269"/>
                </a:cubicBezTo>
                <a:cubicBezTo>
                  <a:pt x="32" y="269"/>
                  <a:pt x="32" y="269"/>
                  <a:pt x="32" y="269"/>
                </a:cubicBezTo>
                <a:cubicBezTo>
                  <a:pt x="33" y="269"/>
                  <a:pt x="33" y="269"/>
                  <a:pt x="33" y="269"/>
                </a:cubicBezTo>
                <a:cubicBezTo>
                  <a:pt x="33" y="269"/>
                  <a:pt x="33" y="269"/>
                  <a:pt x="33" y="269"/>
                </a:cubicBezTo>
                <a:cubicBezTo>
                  <a:pt x="35" y="269"/>
                  <a:pt x="35" y="269"/>
                  <a:pt x="35" y="269"/>
                </a:cubicBezTo>
                <a:cubicBezTo>
                  <a:pt x="36" y="269"/>
                  <a:pt x="36" y="269"/>
                  <a:pt x="36" y="269"/>
                </a:cubicBezTo>
                <a:cubicBezTo>
                  <a:pt x="37" y="269"/>
                  <a:pt x="37" y="269"/>
                  <a:pt x="37" y="269"/>
                </a:cubicBezTo>
                <a:cubicBezTo>
                  <a:pt x="38" y="269"/>
                  <a:pt x="38" y="269"/>
                  <a:pt x="38" y="269"/>
                </a:cubicBezTo>
                <a:cubicBezTo>
                  <a:pt x="38" y="269"/>
                  <a:pt x="38" y="269"/>
                  <a:pt x="38" y="269"/>
                </a:cubicBezTo>
                <a:cubicBezTo>
                  <a:pt x="37" y="270"/>
                  <a:pt x="37" y="270"/>
                  <a:pt x="37" y="270"/>
                </a:cubicBezTo>
                <a:cubicBezTo>
                  <a:pt x="37" y="270"/>
                  <a:pt x="37" y="270"/>
                  <a:pt x="37" y="270"/>
                </a:cubicBezTo>
                <a:cubicBezTo>
                  <a:pt x="36" y="270"/>
                  <a:pt x="36" y="270"/>
                  <a:pt x="36" y="270"/>
                </a:cubicBezTo>
                <a:cubicBezTo>
                  <a:pt x="35" y="270"/>
                  <a:pt x="35" y="270"/>
                  <a:pt x="35" y="270"/>
                </a:cubicBezTo>
                <a:cubicBezTo>
                  <a:pt x="35" y="270"/>
                  <a:pt x="35" y="270"/>
                  <a:pt x="35" y="270"/>
                </a:cubicBezTo>
                <a:cubicBezTo>
                  <a:pt x="33" y="272"/>
                  <a:pt x="33" y="272"/>
                  <a:pt x="33" y="272"/>
                </a:cubicBezTo>
                <a:cubicBezTo>
                  <a:pt x="32" y="272"/>
                  <a:pt x="32" y="272"/>
                  <a:pt x="32" y="272"/>
                </a:cubicBezTo>
                <a:cubicBezTo>
                  <a:pt x="32" y="272"/>
                  <a:pt x="32" y="272"/>
                  <a:pt x="32" y="272"/>
                </a:cubicBezTo>
                <a:cubicBezTo>
                  <a:pt x="31" y="272"/>
                  <a:pt x="31" y="272"/>
                  <a:pt x="31" y="272"/>
                </a:cubicBezTo>
                <a:cubicBezTo>
                  <a:pt x="31" y="273"/>
                  <a:pt x="31" y="273"/>
                  <a:pt x="31" y="273"/>
                </a:cubicBezTo>
                <a:cubicBezTo>
                  <a:pt x="31" y="274"/>
                  <a:pt x="31" y="274"/>
                  <a:pt x="31" y="274"/>
                </a:cubicBezTo>
                <a:cubicBezTo>
                  <a:pt x="30" y="274"/>
                  <a:pt x="30" y="274"/>
                  <a:pt x="30" y="274"/>
                </a:cubicBezTo>
                <a:cubicBezTo>
                  <a:pt x="30" y="275"/>
                  <a:pt x="30" y="275"/>
                  <a:pt x="30" y="275"/>
                </a:cubicBezTo>
                <a:cubicBezTo>
                  <a:pt x="31" y="275"/>
                  <a:pt x="31" y="275"/>
                  <a:pt x="31" y="275"/>
                </a:cubicBezTo>
                <a:cubicBezTo>
                  <a:pt x="30" y="276"/>
                  <a:pt x="30" y="276"/>
                  <a:pt x="30" y="276"/>
                </a:cubicBezTo>
                <a:cubicBezTo>
                  <a:pt x="30" y="276"/>
                  <a:pt x="30" y="276"/>
                  <a:pt x="30" y="276"/>
                </a:cubicBezTo>
                <a:cubicBezTo>
                  <a:pt x="32" y="277"/>
                  <a:pt x="32" y="277"/>
                  <a:pt x="32" y="277"/>
                </a:cubicBezTo>
                <a:cubicBezTo>
                  <a:pt x="34" y="278"/>
                  <a:pt x="34" y="278"/>
                  <a:pt x="34" y="278"/>
                </a:cubicBezTo>
                <a:cubicBezTo>
                  <a:pt x="34" y="278"/>
                  <a:pt x="34" y="278"/>
                  <a:pt x="34" y="278"/>
                </a:cubicBezTo>
                <a:cubicBezTo>
                  <a:pt x="34" y="278"/>
                  <a:pt x="34" y="278"/>
                  <a:pt x="34" y="278"/>
                </a:cubicBezTo>
                <a:cubicBezTo>
                  <a:pt x="34" y="277"/>
                  <a:pt x="34" y="277"/>
                  <a:pt x="34" y="277"/>
                </a:cubicBezTo>
                <a:cubicBezTo>
                  <a:pt x="35" y="276"/>
                  <a:pt x="35" y="276"/>
                  <a:pt x="35" y="276"/>
                </a:cubicBezTo>
                <a:cubicBezTo>
                  <a:pt x="35" y="276"/>
                  <a:pt x="35" y="276"/>
                  <a:pt x="35" y="276"/>
                </a:cubicBezTo>
                <a:cubicBezTo>
                  <a:pt x="36" y="275"/>
                  <a:pt x="36" y="275"/>
                  <a:pt x="36" y="275"/>
                </a:cubicBezTo>
                <a:cubicBezTo>
                  <a:pt x="35" y="274"/>
                  <a:pt x="35" y="274"/>
                  <a:pt x="35" y="274"/>
                </a:cubicBezTo>
                <a:cubicBezTo>
                  <a:pt x="36" y="274"/>
                  <a:pt x="36" y="274"/>
                  <a:pt x="36" y="274"/>
                </a:cubicBezTo>
                <a:cubicBezTo>
                  <a:pt x="37" y="273"/>
                  <a:pt x="37" y="273"/>
                  <a:pt x="37" y="273"/>
                </a:cubicBezTo>
                <a:cubicBezTo>
                  <a:pt x="38" y="271"/>
                  <a:pt x="38" y="271"/>
                  <a:pt x="38" y="271"/>
                </a:cubicBezTo>
                <a:cubicBezTo>
                  <a:pt x="39" y="271"/>
                  <a:pt x="39" y="271"/>
                  <a:pt x="39" y="271"/>
                </a:cubicBezTo>
                <a:cubicBezTo>
                  <a:pt x="39" y="271"/>
                  <a:pt x="39" y="271"/>
                  <a:pt x="39" y="271"/>
                </a:cubicBezTo>
                <a:cubicBezTo>
                  <a:pt x="40" y="271"/>
                  <a:pt x="40" y="271"/>
                  <a:pt x="40" y="271"/>
                </a:cubicBezTo>
                <a:cubicBezTo>
                  <a:pt x="41" y="271"/>
                  <a:pt x="41" y="271"/>
                  <a:pt x="41" y="271"/>
                </a:cubicBezTo>
                <a:cubicBezTo>
                  <a:pt x="41" y="272"/>
                  <a:pt x="41" y="272"/>
                  <a:pt x="41" y="272"/>
                </a:cubicBezTo>
                <a:cubicBezTo>
                  <a:pt x="40" y="272"/>
                  <a:pt x="40" y="272"/>
                  <a:pt x="40" y="272"/>
                </a:cubicBezTo>
                <a:cubicBezTo>
                  <a:pt x="40" y="273"/>
                  <a:pt x="40" y="273"/>
                  <a:pt x="40" y="273"/>
                </a:cubicBezTo>
                <a:cubicBezTo>
                  <a:pt x="39" y="274"/>
                  <a:pt x="39" y="274"/>
                  <a:pt x="39" y="274"/>
                </a:cubicBezTo>
                <a:cubicBezTo>
                  <a:pt x="38" y="275"/>
                  <a:pt x="38" y="275"/>
                  <a:pt x="38" y="275"/>
                </a:cubicBezTo>
                <a:cubicBezTo>
                  <a:pt x="38" y="276"/>
                  <a:pt x="38" y="276"/>
                  <a:pt x="38" y="276"/>
                </a:cubicBezTo>
                <a:cubicBezTo>
                  <a:pt x="39" y="277"/>
                  <a:pt x="39" y="277"/>
                  <a:pt x="39" y="277"/>
                </a:cubicBezTo>
                <a:cubicBezTo>
                  <a:pt x="38" y="278"/>
                  <a:pt x="38" y="278"/>
                  <a:pt x="38" y="278"/>
                </a:cubicBezTo>
                <a:cubicBezTo>
                  <a:pt x="37" y="278"/>
                  <a:pt x="37" y="278"/>
                  <a:pt x="37" y="278"/>
                </a:cubicBezTo>
                <a:cubicBezTo>
                  <a:pt x="37" y="278"/>
                  <a:pt x="37" y="278"/>
                  <a:pt x="37" y="278"/>
                </a:cubicBezTo>
                <a:cubicBezTo>
                  <a:pt x="38" y="277"/>
                  <a:pt x="38" y="277"/>
                  <a:pt x="38" y="277"/>
                </a:cubicBezTo>
                <a:cubicBezTo>
                  <a:pt x="38" y="276"/>
                  <a:pt x="38" y="276"/>
                  <a:pt x="38" y="276"/>
                </a:cubicBezTo>
                <a:cubicBezTo>
                  <a:pt x="37" y="276"/>
                  <a:pt x="37" y="276"/>
                  <a:pt x="37" y="276"/>
                </a:cubicBezTo>
                <a:cubicBezTo>
                  <a:pt x="37" y="276"/>
                  <a:pt x="37" y="276"/>
                  <a:pt x="37" y="276"/>
                </a:cubicBezTo>
                <a:cubicBezTo>
                  <a:pt x="36" y="277"/>
                  <a:pt x="36" y="277"/>
                  <a:pt x="36" y="277"/>
                </a:cubicBezTo>
                <a:cubicBezTo>
                  <a:pt x="36" y="277"/>
                  <a:pt x="36" y="277"/>
                  <a:pt x="36" y="277"/>
                </a:cubicBezTo>
                <a:cubicBezTo>
                  <a:pt x="35" y="277"/>
                  <a:pt x="35" y="277"/>
                  <a:pt x="35" y="277"/>
                </a:cubicBezTo>
                <a:cubicBezTo>
                  <a:pt x="35" y="277"/>
                  <a:pt x="35" y="277"/>
                  <a:pt x="35" y="277"/>
                </a:cubicBezTo>
                <a:cubicBezTo>
                  <a:pt x="35" y="278"/>
                  <a:pt x="35" y="278"/>
                  <a:pt x="35" y="278"/>
                </a:cubicBezTo>
                <a:cubicBezTo>
                  <a:pt x="37" y="280"/>
                  <a:pt x="37" y="280"/>
                  <a:pt x="37" y="280"/>
                </a:cubicBezTo>
                <a:cubicBezTo>
                  <a:pt x="39" y="281"/>
                  <a:pt x="39" y="281"/>
                  <a:pt x="39" y="281"/>
                </a:cubicBezTo>
                <a:cubicBezTo>
                  <a:pt x="40" y="281"/>
                  <a:pt x="40" y="281"/>
                  <a:pt x="40" y="281"/>
                </a:cubicBezTo>
                <a:cubicBezTo>
                  <a:pt x="41" y="281"/>
                  <a:pt x="41" y="281"/>
                  <a:pt x="41" y="281"/>
                </a:cubicBezTo>
                <a:cubicBezTo>
                  <a:pt x="42" y="282"/>
                  <a:pt x="42" y="282"/>
                  <a:pt x="42" y="282"/>
                </a:cubicBezTo>
                <a:cubicBezTo>
                  <a:pt x="43" y="281"/>
                  <a:pt x="43" y="281"/>
                  <a:pt x="43" y="281"/>
                </a:cubicBezTo>
                <a:cubicBezTo>
                  <a:pt x="43" y="280"/>
                  <a:pt x="43" y="280"/>
                  <a:pt x="43" y="280"/>
                </a:cubicBezTo>
                <a:cubicBezTo>
                  <a:pt x="43" y="278"/>
                  <a:pt x="43" y="278"/>
                  <a:pt x="43" y="278"/>
                </a:cubicBezTo>
                <a:cubicBezTo>
                  <a:pt x="43" y="277"/>
                  <a:pt x="43" y="277"/>
                  <a:pt x="43" y="277"/>
                </a:cubicBezTo>
                <a:cubicBezTo>
                  <a:pt x="43" y="276"/>
                  <a:pt x="43" y="276"/>
                  <a:pt x="43" y="276"/>
                </a:cubicBezTo>
                <a:cubicBezTo>
                  <a:pt x="43" y="274"/>
                  <a:pt x="43" y="274"/>
                  <a:pt x="43" y="274"/>
                </a:cubicBezTo>
                <a:cubicBezTo>
                  <a:pt x="43" y="272"/>
                  <a:pt x="43" y="272"/>
                  <a:pt x="43" y="272"/>
                </a:cubicBezTo>
                <a:cubicBezTo>
                  <a:pt x="43" y="271"/>
                  <a:pt x="43" y="271"/>
                  <a:pt x="43" y="271"/>
                </a:cubicBezTo>
                <a:cubicBezTo>
                  <a:pt x="43" y="270"/>
                  <a:pt x="43" y="270"/>
                  <a:pt x="43" y="270"/>
                </a:cubicBezTo>
                <a:cubicBezTo>
                  <a:pt x="44" y="269"/>
                  <a:pt x="44" y="269"/>
                  <a:pt x="44" y="269"/>
                </a:cubicBezTo>
                <a:cubicBezTo>
                  <a:pt x="46" y="268"/>
                  <a:pt x="46" y="268"/>
                  <a:pt x="46" y="268"/>
                </a:cubicBezTo>
                <a:cubicBezTo>
                  <a:pt x="47" y="267"/>
                  <a:pt x="47" y="267"/>
                  <a:pt x="47" y="267"/>
                </a:cubicBezTo>
                <a:cubicBezTo>
                  <a:pt x="48" y="267"/>
                  <a:pt x="48" y="267"/>
                  <a:pt x="48" y="267"/>
                </a:cubicBezTo>
                <a:cubicBezTo>
                  <a:pt x="49" y="267"/>
                  <a:pt x="49" y="267"/>
                  <a:pt x="49" y="267"/>
                </a:cubicBezTo>
                <a:cubicBezTo>
                  <a:pt x="48" y="265"/>
                  <a:pt x="48" y="265"/>
                  <a:pt x="48" y="265"/>
                </a:cubicBezTo>
                <a:cubicBezTo>
                  <a:pt x="49" y="265"/>
                  <a:pt x="49" y="265"/>
                  <a:pt x="49" y="265"/>
                </a:cubicBezTo>
                <a:cubicBezTo>
                  <a:pt x="51" y="264"/>
                  <a:pt x="51" y="264"/>
                  <a:pt x="51" y="264"/>
                </a:cubicBezTo>
                <a:cubicBezTo>
                  <a:pt x="52" y="265"/>
                  <a:pt x="52" y="265"/>
                  <a:pt x="52" y="265"/>
                </a:cubicBezTo>
                <a:cubicBezTo>
                  <a:pt x="53" y="265"/>
                  <a:pt x="53" y="265"/>
                  <a:pt x="53" y="265"/>
                </a:cubicBezTo>
                <a:cubicBezTo>
                  <a:pt x="53" y="265"/>
                  <a:pt x="53" y="265"/>
                  <a:pt x="53" y="265"/>
                </a:cubicBezTo>
                <a:close/>
                <a:moveTo>
                  <a:pt x="66" y="298"/>
                </a:moveTo>
                <a:cubicBezTo>
                  <a:pt x="66" y="299"/>
                  <a:pt x="66" y="299"/>
                  <a:pt x="66" y="299"/>
                </a:cubicBezTo>
                <a:cubicBezTo>
                  <a:pt x="67" y="298"/>
                  <a:pt x="67" y="298"/>
                  <a:pt x="67" y="298"/>
                </a:cubicBezTo>
                <a:cubicBezTo>
                  <a:pt x="66" y="298"/>
                  <a:pt x="66" y="298"/>
                  <a:pt x="66" y="298"/>
                </a:cubicBezTo>
                <a:cubicBezTo>
                  <a:pt x="66" y="298"/>
                  <a:pt x="66" y="298"/>
                  <a:pt x="66" y="298"/>
                </a:cubicBezTo>
                <a:close/>
                <a:moveTo>
                  <a:pt x="9" y="184"/>
                </a:moveTo>
                <a:cubicBezTo>
                  <a:pt x="8" y="184"/>
                  <a:pt x="8" y="184"/>
                  <a:pt x="8" y="184"/>
                </a:cubicBezTo>
                <a:cubicBezTo>
                  <a:pt x="7" y="184"/>
                  <a:pt x="7" y="184"/>
                  <a:pt x="7" y="184"/>
                </a:cubicBezTo>
                <a:cubicBezTo>
                  <a:pt x="7" y="184"/>
                  <a:pt x="7" y="184"/>
                  <a:pt x="7" y="184"/>
                </a:cubicBezTo>
                <a:cubicBezTo>
                  <a:pt x="8" y="186"/>
                  <a:pt x="8" y="186"/>
                  <a:pt x="8" y="186"/>
                </a:cubicBezTo>
                <a:cubicBezTo>
                  <a:pt x="8" y="186"/>
                  <a:pt x="8" y="186"/>
                  <a:pt x="8" y="186"/>
                </a:cubicBezTo>
                <a:cubicBezTo>
                  <a:pt x="9" y="188"/>
                  <a:pt x="9" y="188"/>
                  <a:pt x="9" y="188"/>
                </a:cubicBezTo>
                <a:cubicBezTo>
                  <a:pt x="9" y="188"/>
                  <a:pt x="9" y="188"/>
                  <a:pt x="9" y="188"/>
                </a:cubicBezTo>
                <a:cubicBezTo>
                  <a:pt x="8" y="187"/>
                  <a:pt x="8" y="187"/>
                  <a:pt x="8" y="187"/>
                </a:cubicBezTo>
                <a:cubicBezTo>
                  <a:pt x="7" y="188"/>
                  <a:pt x="7" y="188"/>
                  <a:pt x="7" y="188"/>
                </a:cubicBezTo>
                <a:cubicBezTo>
                  <a:pt x="7" y="190"/>
                  <a:pt x="7" y="190"/>
                  <a:pt x="7" y="190"/>
                </a:cubicBezTo>
                <a:cubicBezTo>
                  <a:pt x="7" y="190"/>
                  <a:pt x="7" y="190"/>
                  <a:pt x="7" y="190"/>
                </a:cubicBezTo>
                <a:cubicBezTo>
                  <a:pt x="5" y="190"/>
                  <a:pt x="5" y="190"/>
                  <a:pt x="5" y="190"/>
                </a:cubicBezTo>
                <a:cubicBezTo>
                  <a:pt x="4" y="190"/>
                  <a:pt x="4" y="190"/>
                  <a:pt x="4" y="190"/>
                </a:cubicBezTo>
                <a:cubicBezTo>
                  <a:pt x="4" y="188"/>
                  <a:pt x="4" y="188"/>
                  <a:pt x="4" y="188"/>
                </a:cubicBezTo>
                <a:cubicBezTo>
                  <a:pt x="4" y="184"/>
                  <a:pt x="4" y="184"/>
                  <a:pt x="4" y="184"/>
                </a:cubicBezTo>
                <a:cubicBezTo>
                  <a:pt x="4" y="183"/>
                  <a:pt x="4" y="183"/>
                  <a:pt x="4" y="183"/>
                </a:cubicBezTo>
                <a:cubicBezTo>
                  <a:pt x="3" y="183"/>
                  <a:pt x="3" y="183"/>
                  <a:pt x="3" y="183"/>
                </a:cubicBezTo>
                <a:cubicBezTo>
                  <a:pt x="3" y="182"/>
                  <a:pt x="3" y="182"/>
                  <a:pt x="3" y="182"/>
                </a:cubicBezTo>
                <a:cubicBezTo>
                  <a:pt x="3" y="181"/>
                  <a:pt x="3" y="181"/>
                  <a:pt x="3" y="181"/>
                </a:cubicBezTo>
                <a:cubicBezTo>
                  <a:pt x="4" y="180"/>
                  <a:pt x="4" y="180"/>
                  <a:pt x="4" y="180"/>
                </a:cubicBezTo>
                <a:cubicBezTo>
                  <a:pt x="4" y="179"/>
                  <a:pt x="4" y="179"/>
                  <a:pt x="4" y="179"/>
                </a:cubicBezTo>
                <a:cubicBezTo>
                  <a:pt x="4" y="179"/>
                  <a:pt x="4" y="179"/>
                  <a:pt x="4" y="179"/>
                </a:cubicBezTo>
                <a:cubicBezTo>
                  <a:pt x="4" y="178"/>
                  <a:pt x="4" y="178"/>
                  <a:pt x="4" y="178"/>
                </a:cubicBezTo>
                <a:cubicBezTo>
                  <a:pt x="5" y="177"/>
                  <a:pt x="5" y="177"/>
                  <a:pt x="5" y="177"/>
                </a:cubicBezTo>
                <a:cubicBezTo>
                  <a:pt x="6" y="177"/>
                  <a:pt x="6" y="177"/>
                  <a:pt x="6" y="177"/>
                </a:cubicBezTo>
                <a:cubicBezTo>
                  <a:pt x="7" y="178"/>
                  <a:pt x="7" y="178"/>
                  <a:pt x="7" y="178"/>
                </a:cubicBezTo>
                <a:cubicBezTo>
                  <a:pt x="8" y="179"/>
                  <a:pt x="8" y="179"/>
                  <a:pt x="8" y="179"/>
                </a:cubicBezTo>
                <a:cubicBezTo>
                  <a:pt x="8" y="181"/>
                  <a:pt x="8" y="181"/>
                  <a:pt x="8" y="181"/>
                </a:cubicBezTo>
                <a:cubicBezTo>
                  <a:pt x="8" y="181"/>
                  <a:pt x="8" y="181"/>
                  <a:pt x="8" y="181"/>
                </a:cubicBezTo>
                <a:cubicBezTo>
                  <a:pt x="8" y="183"/>
                  <a:pt x="8" y="183"/>
                  <a:pt x="8" y="183"/>
                </a:cubicBezTo>
                <a:cubicBezTo>
                  <a:pt x="7" y="182"/>
                  <a:pt x="7" y="182"/>
                  <a:pt x="7" y="182"/>
                </a:cubicBezTo>
                <a:cubicBezTo>
                  <a:pt x="8" y="183"/>
                  <a:pt x="8" y="183"/>
                  <a:pt x="8" y="183"/>
                </a:cubicBezTo>
                <a:cubicBezTo>
                  <a:pt x="9" y="184"/>
                  <a:pt x="9" y="184"/>
                  <a:pt x="9" y="184"/>
                </a:cubicBezTo>
                <a:cubicBezTo>
                  <a:pt x="9" y="184"/>
                  <a:pt x="9" y="184"/>
                  <a:pt x="9" y="184"/>
                </a:cubicBezTo>
                <a:close/>
                <a:moveTo>
                  <a:pt x="10" y="181"/>
                </a:moveTo>
                <a:cubicBezTo>
                  <a:pt x="11" y="181"/>
                  <a:pt x="11" y="181"/>
                  <a:pt x="11" y="181"/>
                </a:cubicBezTo>
                <a:cubicBezTo>
                  <a:pt x="11" y="181"/>
                  <a:pt x="11" y="181"/>
                  <a:pt x="11" y="181"/>
                </a:cubicBezTo>
                <a:cubicBezTo>
                  <a:pt x="11" y="182"/>
                  <a:pt x="11" y="182"/>
                  <a:pt x="11" y="182"/>
                </a:cubicBezTo>
                <a:cubicBezTo>
                  <a:pt x="10" y="181"/>
                  <a:pt x="10" y="181"/>
                  <a:pt x="10" y="181"/>
                </a:cubicBezTo>
                <a:close/>
                <a:moveTo>
                  <a:pt x="2" y="193"/>
                </a:moveTo>
                <a:cubicBezTo>
                  <a:pt x="3" y="192"/>
                  <a:pt x="3" y="192"/>
                  <a:pt x="3" y="192"/>
                </a:cubicBezTo>
                <a:cubicBezTo>
                  <a:pt x="4" y="192"/>
                  <a:pt x="4" y="192"/>
                  <a:pt x="4" y="192"/>
                </a:cubicBezTo>
                <a:cubicBezTo>
                  <a:pt x="5" y="193"/>
                  <a:pt x="5" y="193"/>
                  <a:pt x="5" y="193"/>
                </a:cubicBezTo>
                <a:cubicBezTo>
                  <a:pt x="3" y="194"/>
                  <a:pt x="3" y="194"/>
                  <a:pt x="3" y="194"/>
                </a:cubicBezTo>
                <a:cubicBezTo>
                  <a:pt x="2" y="193"/>
                  <a:pt x="2" y="193"/>
                  <a:pt x="2" y="193"/>
                </a:cubicBezTo>
                <a:close/>
                <a:moveTo>
                  <a:pt x="11" y="194"/>
                </a:moveTo>
                <a:cubicBezTo>
                  <a:pt x="12" y="194"/>
                  <a:pt x="12" y="194"/>
                  <a:pt x="12" y="194"/>
                </a:cubicBezTo>
                <a:cubicBezTo>
                  <a:pt x="12" y="194"/>
                  <a:pt x="12" y="194"/>
                  <a:pt x="12" y="194"/>
                </a:cubicBezTo>
                <a:cubicBezTo>
                  <a:pt x="11" y="195"/>
                  <a:pt x="11" y="195"/>
                  <a:pt x="11" y="195"/>
                </a:cubicBezTo>
                <a:cubicBezTo>
                  <a:pt x="11" y="194"/>
                  <a:pt x="11" y="194"/>
                  <a:pt x="11" y="194"/>
                </a:cubicBezTo>
                <a:close/>
                <a:moveTo>
                  <a:pt x="9" y="194"/>
                </a:moveTo>
                <a:cubicBezTo>
                  <a:pt x="10" y="194"/>
                  <a:pt x="10" y="194"/>
                  <a:pt x="10" y="194"/>
                </a:cubicBezTo>
                <a:cubicBezTo>
                  <a:pt x="10" y="196"/>
                  <a:pt x="10" y="196"/>
                  <a:pt x="10" y="196"/>
                </a:cubicBezTo>
                <a:cubicBezTo>
                  <a:pt x="9" y="196"/>
                  <a:pt x="9" y="196"/>
                  <a:pt x="9" y="196"/>
                </a:cubicBezTo>
                <a:cubicBezTo>
                  <a:pt x="9" y="195"/>
                  <a:pt x="9" y="195"/>
                  <a:pt x="9" y="195"/>
                </a:cubicBezTo>
                <a:cubicBezTo>
                  <a:pt x="8" y="195"/>
                  <a:pt x="8" y="195"/>
                  <a:pt x="8" y="195"/>
                </a:cubicBezTo>
                <a:cubicBezTo>
                  <a:pt x="9" y="194"/>
                  <a:pt x="9" y="194"/>
                  <a:pt x="9" y="194"/>
                </a:cubicBezTo>
                <a:close/>
                <a:moveTo>
                  <a:pt x="6" y="194"/>
                </a:moveTo>
                <a:cubicBezTo>
                  <a:pt x="7" y="193"/>
                  <a:pt x="7" y="193"/>
                  <a:pt x="7" y="193"/>
                </a:cubicBezTo>
                <a:cubicBezTo>
                  <a:pt x="8" y="194"/>
                  <a:pt x="8" y="194"/>
                  <a:pt x="8" y="194"/>
                </a:cubicBezTo>
                <a:cubicBezTo>
                  <a:pt x="7" y="194"/>
                  <a:pt x="7" y="194"/>
                  <a:pt x="7" y="194"/>
                </a:cubicBezTo>
                <a:cubicBezTo>
                  <a:pt x="6" y="194"/>
                  <a:pt x="6" y="194"/>
                  <a:pt x="6" y="194"/>
                </a:cubicBezTo>
                <a:close/>
                <a:moveTo>
                  <a:pt x="7" y="196"/>
                </a:moveTo>
                <a:cubicBezTo>
                  <a:pt x="7" y="196"/>
                  <a:pt x="7" y="196"/>
                  <a:pt x="7" y="196"/>
                </a:cubicBezTo>
                <a:cubicBezTo>
                  <a:pt x="8" y="196"/>
                  <a:pt x="8" y="196"/>
                  <a:pt x="8" y="196"/>
                </a:cubicBezTo>
                <a:cubicBezTo>
                  <a:pt x="7" y="197"/>
                  <a:pt x="7" y="197"/>
                  <a:pt x="7" y="197"/>
                </a:cubicBezTo>
                <a:cubicBezTo>
                  <a:pt x="7" y="196"/>
                  <a:pt x="7" y="196"/>
                  <a:pt x="7" y="196"/>
                </a:cubicBezTo>
                <a:close/>
                <a:moveTo>
                  <a:pt x="5" y="198"/>
                </a:moveTo>
                <a:cubicBezTo>
                  <a:pt x="6" y="197"/>
                  <a:pt x="6" y="197"/>
                  <a:pt x="6" y="197"/>
                </a:cubicBezTo>
                <a:cubicBezTo>
                  <a:pt x="6" y="197"/>
                  <a:pt x="6" y="197"/>
                  <a:pt x="6" y="197"/>
                </a:cubicBezTo>
                <a:cubicBezTo>
                  <a:pt x="7" y="198"/>
                  <a:pt x="7" y="198"/>
                  <a:pt x="7" y="198"/>
                </a:cubicBezTo>
                <a:cubicBezTo>
                  <a:pt x="7" y="198"/>
                  <a:pt x="7" y="198"/>
                  <a:pt x="7" y="198"/>
                </a:cubicBezTo>
                <a:cubicBezTo>
                  <a:pt x="6" y="198"/>
                  <a:pt x="6" y="198"/>
                  <a:pt x="6" y="198"/>
                </a:cubicBezTo>
                <a:cubicBezTo>
                  <a:pt x="5" y="198"/>
                  <a:pt x="5" y="198"/>
                  <a:pt x="5" y="198"/>
                </a:cubicBezTo>
                <a:cubicBezTo>
                  <a:pt x="5" y="198"/>
                  <a:pt x="5" y="198"/>
                  <a:pt x="5" y="198"/>
                </a:cubicBezTo>
                <a:close/>
                <a:moveTo>
                  <a:pt x="4" y="200"/>
                </a:moveTo>
                <a:cubicBezTo>
                  <a:pt x="5" y="200"/>
                  <a:pt x="5" y="200"/>
                  <a:pt x="5" y="200"/>
                </a:cubicBezTo>
                <a:cubicBezTo>
                  <a:pt x="4" y="201"/>
                  <a:pt x="4" y="201"/>
                  <a:pt x="4" y="201"/>
                </a:cubicBezTo>
                <a:cubicBezTo>
                  <a:pt x="3" y="201"/>
                  <a:pt x="3" y="201"/>
                  <a:pt x="3" y="201"/>
                </a:cubicBezTo>
                <a:cubicBezTo>
                  <a:pt x="4" y="200"/>
                  <a:pt x="4" y="200"/>
                  <a:pt x="4" y="200"/>
                </a:cubicBezTo>
                <a:close/>
                <a:moveTo>
                  <a:pt x="10" y="199"/>
                </a:moveTo>
                <a:cubicBezTo>
                  <a:pt x="10" y="201"/>
                  <a:pt x="10" y="201"/>
                  <a:pt x="10" y="201"/>
                </a:cubicBezTo>
                <a:cubicBezTo>
                  <a:pt x="10" y="201"/>
                  <a:pt x="10" y="201"/>
                  <a:pt x="10" y="201"/>
                </a:cubicBezTo>
                <a:cubicBezTo>
                  <a:pt x="10" y="199"/>
                  <a:pt x="10" y="199"/>
                  <a:pt x="10" y="199"/>
                </a:cubicBezTo>
                <a:close/>
                <a:moveTo>
                  <a:pt x="8" y="199"/>
                </a:moveTo>
                <a:cubicBezTo>
                  <a:pt x="9" y="198"/>
                  <a:pt x="9" y="198"/>
                  <a:pt x="9" y="198"/>
                </a:cubicBezTo>
                <a:cubicBezTo>
                  <a:pt x="9" y="200"/>
                  <a:pt x="9" y="200"/>
                  <a:pt x="9" y="200"/>
                </a:cubicBezTo>
                <a:cubicBezTo>
                  <a:pt x="8" y="199"/>
                  <a:pt x="8" y="199"/>
                  <a:pt x="8" y="199"/>
                </a:cubicBezTo>
                <a:close/>
                <a:moveTo>
                  <a:pt x="5" y="209"/>
                </a:moveTo>
                <a:cubicBezTo>
                  <a:pt x="6" y="209"/>
                  <a:pt x="6" y="209"/>
                  <a:pt x="6" y="209"/>
                </a:cubicBezTo>
                <a:cubicBezTo>
                  <a:pt x="6" y="210"/>
                  <a:pt x="6" y="210"/>
                  <a:pt x="6" y="210"/>
                </a:cubicBezTo>
                <a:cubicBezTo>
                  <a:pt x="5" y="210"/>
                  <a:pt x="5" y="210"/>
                  <a:pt x="5" y="210"/>
                </a:cubicBezTo>
                <a:cubicBezTo>
                  <a:pt x="5" y="209"/>
                  <a:pt x="5" y="209"/>
                  <a:pt x="5" y="209"/>
                </a:cubicBezTo>
                <a:close/>
                <a:moveTo>
                  <a:pt x="5" y="201"/>
                </a:moveTo>
                <a:cubicBezTo>
                  <a:pt x="5" y="200"/>
                  <a:pt x="5" y="200"/>
                  <a:pt x="5" y="200"/>
                </a:cubicBezTo>
                <a:cubicBezTo>
                  <a:pt x="5" y="199"/>
                  <a:pt x="5" y="199"/>
                  <a:pt x="5" y="199"/>
                </a:cubicBezTo>
                <a:cubicBezTo>
                  <a:pt x="6" y="199"/>
                  <a:pt x="6" y="199"/>
                  <a:pt x="6" y="199"/>
                </a:cubicBezTo>
                <a:cubicBezTo>
                  <a:pt x="7" y="200"/>
                  <a:pt x="7" y="200"/>
                  <a:pt x="7" y="200"/>
                </a:cubicBezTo>
                <a:cubicBezTo>
                  <a:pt x="6" y="200"/>
                  <a:pt x="6" y="200"/>
                  <a:pt x="6" y="200"/>
                </a:cubicBezTo>
                <a:cubicBezTo>
                  <a:pt x="5" y="201"/>
                  <a:pt x="5" y="201"/>
                  <a:pt x="5" y="201"/>
                </a:cubicBezTo>
                <a:close/>
                <a:moveTo>
                  <a:pt x="3" y="203"/>
                </a:moveTo>
                <a:cubicBezTo>
                  <a:pt x="1" y="202"/>
                  <a:pt x="1" y="202"/>
                  <a:pt x="1" y="202"/>
                </a:cubicBezTo>
                <a:cubicBezTo>
                  <a:pt x="1" y="201"/>
                  <a:pt x="1" y="201"/>
                  <a:pt x="1" y="201"/>
                </a:cubicBezTo>
                <a:cubicBezTo>
                  <a:pt x="3" y="201"/>
                  <a:pt x="3" y="201"/>
                  <a:pt x="3" y="201"/>
                </a:cubicBezTo>
                <a:cubicBezTo>
                  <a:pt x="3" y="202"/>
                  <a:pt x="3" y="202"/>
                  <a:pt x="3" y="202"/>
                </a:cubicBezTo>
                <a:cubicBezTo>
                  <a:pt x="3" y="203"/>
                  <a:pt x="3" y="203"/>
                  <a:pt x="3" y="203"/>
                </a:cubicBezTo>
                <a:close/>
                <a:moveTo>
                  <a:pt x="7" y="207"/>
                </a:moveTo>
                <a:cubicBezTo>
                  <a:pt x="8" y="207"/>
                  <a:pt x="8" y="207"/>
                  <a:pt x="8" y="207"/>
                </a:cubicBezTo>
                <a:cubicBezTo>
                  <a:pt x="8" y="208"/>
                  <a:pt x="8" y="208"/>
                  <a:pt x="8" y="208"/>
                </a:cubicBezTo>
                <a:cubicBezTo>
                  <a:pt x="7" y="207"/>
                  <a:pt x="7" y="207"/>
                  <a:pt x="7" y="207"/>
                </a:cubicBezTo>
                <a:close/>
                <a:moveTo>
                  <a:pt x="9" y="208"/>
                </a:moveTo>
                <a:cubicBezTo>
                  <a:pt x="10" y="208"/>
                  <a:pt x="10" y="208"/>
                  <a:pt x="10" y="208"/>
                </a:cubicBezTo>
                <a:cubicBezTo>
                  <a:pt x="9" y="209"/>
                  <a:pt x="9" y="209"/>
                  <a:pt x="9" y="209"/>
                </a:cubicBezTo>
                <a:cubicBezTo>
                  <a:pt x="9" y="208"/>
                  <a:pt x="9" y="208"/>
                  <a:pt x="9" y="208"/>
                </a:cubicBezTo>
                <a:close/>
                <a:moveTo>
                  <a:pt x="11" y="197"/>
                </a:moveTo>
                <a:cubicBezTo>
                  <a:pt x="12" y="197"/>
                  <a:pt x="12" y="197"/>
                  <a:pt x="12" y="197"/>
                </a:cubicBezTo>
                <a:cubicBezTo>
                  <a:pt x="13" y="198"/>
                  <a:pt x="13" y="198"/>
                  <a:pt x="13" y="198"/>
                </a:cubicBezTo>
                <a:cubicBezTo>
                  <a:pt x="11" y="198"/>
                  <a:pt x="11" y="198"/>
                  <a:pt x="11" y="198"/>
                </a:cubicBezTo>
                <a:cubicBezTo>
                  <a:pt x="11" y="197"/>
                  <a:pt x="11" y="197"/>
                  <a:pt x="11" y="197"/>
                </a:cubicBezTo>
                <a:close/>
                <a:moveTo>
                  <a:pt x="13" y="198"/>
                </a:moveTo>
                <a:cubicBezTo>
                  <a:pt x="14" y="199"/>
                  <a:pt x="14" y="199"/>
                  <a:pt x="14" y="199"/>
                </a:cubicBezTo>
                <a:cubicBezTo>
                  <a:pt x="15" y="199"/>
                  <a:pt x="15" y="199"/>
                  <a:pt x="15" y="199"/>
                </a:cubicBezTo>
                <a:cubicBezTo>
                  <a:pt x="16" y="201"/>
                  <a:pt x="16" y="201"/>
                  <a:pt x="16" y="201"/>
                </a:cubicBezTo>
                <a:cubicBezTo>
                  <a:pt x="15" y="202"/>
                  <a:pt x="15" y="202"/>
                  <a:pt x="15" y="202"/>
                </a:cubicBezTo>
                <a:cubicBezTo>
                  <a:pt x="15" y="202"/>
                  <a:pt x="15" y="202"/>
                  <a:pt x="15" y="202"/>
                </a:cubicBezTo>
                <a:cubicBezTo>
                  <a:pt x="14" y="203"/>
                  <a:pt x="14" y="203"/>
                  <a:pt x="14" y="203"/>
                </a:cubicBezTo>
                <a:cubicBezTo>
                  <a:pt x="13" y="202"/>
                  <a:pt x="13" y="202"/>
                  <a:pt x="13" y="202"/>
                </a:cubicBezTo>
                <a:cubicBezTo>
                  <a:pt x="13" y="202"/>
                  <a:pt x="13" y="202"/>
                  <a:pt x="13" y="202"/>
                </a:cubicBezTo>
                <a:cubicBezTo>
                  <a:pt x="12" y="203"/>
                  <a:pt x="12" y="203"/>
                  <a:pt x="12" y="203"/>
                </a:cubicBezTo>
                <a:cubicBezTo>
                  <a:pt x="12" y="202"/>
                  <a:pt x="12" y="202"/>
                  <a:pt x="12" y="202"/>
                </a:cubicBezTo>
                <a:cubicBezTo>
                  <a:pt x="11" y="201"/>
                  <a:pt x="11" y="201"/>
                  <a:pt x="11" y="201"/>
                </a:cubicBezTo>
                <a:cubicBezTo>
                  <a:pt x="12" y="199"/>
                  <a:pt x="12" y="199"/>
                  <a:pt x="12" y="199"/>
                </a:cubicBezTo>
                <a:cubicBezTo>
                  <a:pt x="13" y="198"/>
                  <a:pt x="13" y="198"/>
                  <a:pt x="13" y="198"/>
                </a:cubicBezTo>
                <a:close/>
                <a:moveTo>
                  <a:pt x="6" y="202"/>
                </a:moveTo>
                <a:cubicBezTo>
                  <a:pt x="7" y="201"/>
                  <a:pt x="7" y="201"/>
                  <a:pt x="7" y="201"/>
                </a:cubicBezTo>
                <a:cubicBezTo>
                  <a:pt x="9" y="201"/>
                  <a:pt x="9" y="201"/>
                  <a:pt x="9" y="201"/>
                </a:cubicBezTo>
                <a:cubicBezTo>
                  <a:pt x="9" y="202"/>
                  <a:pt x="9" y="202"/>
                  <a:pt x="9" y="202"/>
                </a:cubicBezTo>
                <a:cubicBezTo>
                  <a:pt x="7" y="202"/>
                  <a:pt x="7" y="202"/>
                  <a:pt x="7" y="202"/>
                </a:cubicBezTo>
                <a:cubicBezTo>
                  <a:pt x="7" y="203"/>
                  <a:pt x="7" y="203"/>
                  <a:pt x="7" y="203"/>
                </a:cubicBezTo>
                <a:cubicBezTo>
                  <a:pt x="7" y="203"/>
                  <a:pt x="6" y="202"/>
                  <a:pt x="6" y="202"/>
                </a:cubicBezTo>
                <a:close/>
                <a:moveTo>
                  <a:pt x="8" y="204"/>
                </a:moveTo>
                <a:cubicBezTo>
                  <a:pt x="7" y="204"/>
                  <a:pt x="7" y="204"/>
                  <a:pt x="7" y="204"/>
                </a:cubicBezTo>
                <a:cubicBezTo>
                  <a:pt x="8" y="203"/>
                  <a:pt x="8" y="203"/>
                  <a:pt x="8" y="203"/>
                </a:cubicBezTo>
                <a:cubicBezTo>
                  <a:pt x="9" y="203"/>
                  <a:pt x="9" y="203"/>
                  <a:pt x="9" y="203"/>
                </a:cubicBezTo>
                <a:cubicBezTo>
                  <a:pt x="9" y="204"/>
                  <a:pt x="9" y="204"/>
                  <a:pt x="9" y="204"/>
                </a:cubicBezTo>
                <a:cubicBezTo>
                  <a:pt x="8" y="204"/>
                  <a:pt x="8" y="204"/>
                  <a:pt x="8" y="204"/>
                </a:cubicBezTo>
                <a:close/>
                <a:moveTo>
                  <a:pt x="8" y="205"/>
                </a:moveTo>
                <a:cubicBezTo>
                  <a:pt x="9" y="205"/>
                  <a:pt x="9" y="205"/>
                  <a:pt x="9" y="205"/>
                </a:cubicBezTo>
                <a:cubicBezTo>
                  <a:pt x="11" y="205"/>
                  <a:pt x="11" y="205"/>
                  <a:pt x="11" y="205"/>
                </a:cubicBezTo>
                <a:cubicBezTo>
                  <a:pt x="11" y="207"/>
                  <a:pt x="11" y="207"/>
                  <a:pt x="11" y="207"/>
                </a:cubicBezTo>
                <a:cubicBezTo>
                  <a:pt x="10" y="208"/>
                  <a:pt x="10" y="208"/>
                  <a:pt x="10" y="208"/>
                </a:cubicBezTo>
                <a:cubicBezTo>
                  <a:pt x="9" y="207"/>
                  <a:pt x="9" y="207"/>
                  <a:pt x="9" y="207"/>
                </a:cubicBezTo>
                <a:cubicBezTo>
                  <a:pt x="9" y="206"/>
                  <a:pt x="9" y="206"/>
                  <a:pt x="9" y="206"/>
                </a:cubicBezTo>
                <a:cubicBezTo>
                  <a:pt x="8" y="205"/>
                  <a:pt x="8" y="205"/>
                  <a:pt x="8" y="205"/>
                </a:cubicBezTo>
                <a:close/>
                <a:moveTo>
                  <a:pt x="6" y="209"/>
                </a:moveTo>
                <a:cubicBezTo>
                  <a:pt x="7" y="208"/>
                  <a:pt x="7" y="208"/>
                  <a:pt x="7" y="208"/>
                </a:cubicBezTo>
                <a:cubicBezTo>
                  <a:pt x="7" y="208"/>
                  <a:pt x="7" y="208"/>
                  <a:pt x="7" y="208"/>
                </a:cubicBezTo>
                <a:cubicBezTo>
                  <a:pt x="8" y="209"/>
                  <a:pt x="8" y="209"/>
                  <a:pt x="8" y="209"/>
                </a:cubicBezTo>
                <a:cubicBezTo>
                  <a:pt x="9" y="210"/>
                  <a:pt x="9" y="210"/>
                  <a:pt x="9" y="210"/>
                </a:cubicBezTo>
                <a:cubicBezTo>
                  <a:pt x="8" y="210"/>
                  <a:pt x="8" y="210"/>
                  <a:pt x="8" y="210"/>
                </a:cubicBezTo>
                <a:cubicBezTo>
                  <a:pt x="6" y="209"/>
                  <a:pt x="6" y="209"/>
                  <a:pt x="6" y="209"/>
                </a:cubicBezTo>
                <a:close/>
                <a:moveTo>
                  <a:pt x="10" y="233"/>
                </a:moveTo>
                <a:cubicBezTo>
                  <a:pt x="10" y="232"/>
                  <a:pt x="10" y="232"/>
                  <a:pt x="10" y="232"/>
                </a:cubicBezTo>
                <a:cubicBezTo>
                  <a:pt x="10" y="232"/>
                  <a:pt x="10" y="232"/>
                  <a:pt x="10" y="232"/>
                </a:cubicBezTo>
                <a:cubicBezTo>
                  <a:pt x="10" y="232"/>
                  <a:pt x="10" y="232"/>
                  <a:pt x="10" y="232"/>
                </a:cubicBezTo>
                <a:cubicBezTo>
                  <a:pt x="8" y="230"/>
                  <a:pt x="8" y="230"/>
                  <a:pt x="8" y="230"/>
                </a:cubicBezTo>
                <a:cubicBezTo>
                  <a:pt x="7" y="229"/>
                  <a:pt x="7" y="229"/>
                  <a:pt x="7" y="229"/>
                </a:cubicBezTo>
                <a:cubicBezTo>
                  <a:pt x="7" y="228"/>
                  <a:pt x="7" y="228"/>
                  <a:pt x="7" y="228"/>
                </a:cubicBezTo>
                <a:cubicBezTo>
                  <a:pt x="8" y="228"/>
                  <a:pt x="8" y="228"/>
                  <a:pt x="8" y="228"/>
                </a:cubicBezTo>
                <a:cubicBezTo>
                  <a:pt x="9" y="228"/>
                  <a:pt x="9" y="228"/>
                  <a:pt x="9" y="228"/>
                </a:cubicBezTo>
                <a:cubicBezTo>
                  <a:pt x="10" y="230"/>
                  <a:pt x="10" y="230"/>
                  <a:pt x="10" y="230"/>
                </a:cubicBezTo>
                <a:cubicBezTo>
                  <a:pt x="11" y="230"/>
                  <a:pt x="11" y="230"/>
                  <a:pt x="11" y="230"/>
                </a:cubicBezTo>
                <a:cubicBezTo>
                  <a:pt x="11" y="231"/>
                  <a:pt x="11" y="231"/>
                  <a:pt x="11" y="231"/>
                </a:cubicBezTo>
                <a:cubicBezTo>
                  <a:pt x="12" y="232"/>
                  <a:pt x="12" y="232"/>
                  <a:pt x="12" y="232"/>
                </a:cubicBezTo>
                <a:cubicBezTo>
                  <a:pt x="13" y="234"/>
                  <a:pt x="13" y="234"/>
                  <a:pt x="13" y="234"/>
                </a:cubicBezTo>
                <a:cubicBezTo>
                  <a:pt x="11" y="234"/>
                  <a:pt x="11" y="234"/>
                  <a:pt x="11" y="234"/>
                </a:cubicBezTo>
                <a:cubicBezTo>
                  <a:pt x="10" y="234"/>
                  <a:pt x="10" y="234"/>
                  <a:pt x="10" y="234"/>
                </a:cubicBezTo>
                <a:cubicBezTo>
                  <a:pt x="10" y="233"/>
                  <a:pt x="10" y="233"/>
                  <a:pt x="10" y="233"/>
                </a:cubicBezTo>
                <a:close/>
                <a:moveTo>
                  <a:pt x="5" y="231"/>
                </a:moveTo>
                <a:cubicBezTo>
                  <a:pt x="5" y="230"/>
                  <a:pt x="5" y="230"/>
                  <a:pt x="5" y="230"/>
                </a:cubicBezTo>
                <a:cubicBezTo>
                  <a:pt x="5" y="229"/>
                  <a:pt x="5" y="229"/>
                  <a:pt x="5" y="229"/>
                </a:cubicBezTo>
                <a:cubicBezTo>
                  <a:pt x="7" y="230"/>
                  <a:pt x="7" y="230"/>
                  <a:pt x="7" y="230"/>
                </a:cubicBezTo>
                <a:cubicBezTo>
                  <a:pt x="8" y="232"/>
                  <a:pt x="8" y="232"/>
                  <a:pt x="8" y="232"/>
                </a:cubicBezTo>
                <a:cubicBezTo>
                  <a:pt x="9" y="234"/>
                  <a:pt x="9" y="234"/>
                  <a:pt x="9" y="234"/>
                </a:cubicBezTo>
                <a:cubicBezTo>
                  <a:pt x="9" y="235"/>
                  <a:pt x="9" y="235"/>
                  <a:pt x="9" y="235"/>
                </a:cubicBezTo>
                <a:cubicBezTo>
                  <a:pt x="9" y="236"/>
                  <a:pt x="9" y="236"/>
                  <a:pt x="9" y="236"/>
                </a:cubicBezTo>
                <a:cubicBezTo>
                  <a:pt x="8" y="235"/>
                  <a:pt x="8" y="235"/>
                  <a:pt x="8" y="235"/>
                </a:cubicBezTo>
                <a:cubicBezTo>
                  <a:pt x="7" y="233"/>
                  <a:pt x="7" y="233"/>
                  <a:pt x="7" y="233"/>
                </a:cubicBezTo>
                <a:cubicBezTo>
                  <a:pt x="7" y="233"/>
                  <a:pt x="7" y="233"/>
                  <a:pt x="7" y="233"/>
                </a:cubicBezTo>
                <a:cubicBezTo>
                  <a:pt x="7" y="232"/>
                  <a:pt x="7" y="232"/>
                  <a:pt x="7" y="232"/>
                </a:cubicBezTo>
                <a:cubicBezTo>
                  <a:pt x="5" y="232"/>
                  <a:pt x="5" y="232"/>
                  <a:pt x="5" y="232"/>
                </a:cubicBezTo>
                <a:cubicBezTo>
                  <a:pt x="5" y="231"/>
                  <a:pt x="5" y="231"/>
                  <a:pt x="5" y="231"/>
                </a:cubicBezTo>
                <a:close/>
                <a:moveTo>
                  <a:pt x="5" y="233"/>
                </a:moveTo>
                <a:cubicBezTo>
                  <a:pt x="6" y="233"/>
                  <a:pt x="6" y="233"/>
                  <a:pt x="6" y="233"/>
                </a:cubicBezTo>
                <a:cubicBezTo>
                  <a:pt x="7" y="233"/>
                  <a:pt x="7" y="233"/>
                  <a:pt x="7" y="233"/>
                </a:cubicBezTo>
                <a:cubicBezTo>
                  <a:pt x="7" y="234"/>
                  <a:pt x="7" y="234"/>
                  <a:pt x="7" y="234"/>
                </a:cubicBezTo>
                <a:cubicBezTo>
                  <a:pt x="7" y="235"/>
                  <a:pt x="7" y="235"/>
                  <a:pt x="7" y="235"/>
                </a:cubicBezTo>
                <a:cubicBezTo>
                  <a:pt x="6" y="235"/>
                  <a:pt x="6" y="235"/>
                  <a:pt x="6" y="235"/>
                </a:cubicBezTo>
                <a:cubicBezTo>
                  <a:pt x="6" y="235"/>
                  <a:pt x="6" y="235"/>
                  <a:pt x="6" y="235"/>
                </a:cubicBezTo>
                <a:cubicBezTo>
                  <a:pt x="5" y="234"/>
                  <a:pt x="5" y="234"/>
                  <a:pt x="5" y="234"/>
                </a:cubicBezTo>
                <a:cubicBezTo>
                  <a:pt x="5" y="233"/>
                  <a:pt x="5" y="233"/>
                  <a:pt x="5" y="233"/>
                </a:cubicBezTo>
                <a:close/>
                <a:moveTo>
                  <a:pt x="8" y="240"/>
                </a:moveTo>
                <a:cubicBezTo>
                  <a:pt x="7" y="240"/>
                  <a:pt x="7" y="240"/>
                  <a:pt x="7" y="240"/>
                </a:cubicBezTo>
                <a:cubicBezTo>
                  <a:pt x="7" y="239"/>
                  <a:pt x="7" y="239"/>
                  <a:pt x="7" y="239"/>
                </a:cubicBezTo>
                <a:cubicBezTo>
                  <a:pt x="7" y="237"/>
                  <a:pt x="7" y="237"/>
                  <a:pt x="7" y="237"/>
                </a:cubicBezTo>
                <a:cubicBezTo>
                  <a:pt x="7" y="236"/>
                  <a:pt x="7" y="236"/>
                  <a:pt x="7" y="236"/>
                </a:cubicBezTo>
                <a:cubicBezTo>
                  <a:pt x="7" y="237"/>
                  <a:pt x="7" y="237"/>
                  <a:pt x="7" y="237"/>
                </a:cubicBezTo>
                <a:cubicBezTo>
                  <a:pt x="9" y="237"/>
                  <a:pt x="9" y="237"/>
                  <a:pt x="9" y="237"/>
                </a:cubicBezTo>
                <a:cubicBezTo>
                  <a:pt x="9" y="238"/>
                  <a:pt x="9" y="238"/>
                  <a:pt x="9" y="238"/>
                </a:cubicBezTo>
                <a:cubicBezTo>
                  <a:pt x="9" y="238"/>
                  <a:pt x="9" y="238"/>
                  <a:pt x="9" y="238"/>
                </a:cubicBezTo>
                <a:cubicBezTo>
                  <a:pt x="8" y="240"/>
                  <a:pt x="8" y="240"/>
                  <a:pt x="8" y="240"/>
                </a:cubicBezTo>
                <a:close/>
                <a:moveTo>
                  <a:pt x="9" y="245"/>
                </a:moveTo>
                <a:cubicBezTo>
                  <a:pt x="8" y="245"/>
                  <a:pt x="8" y="245"/>
                  <a:pt x="8" y="245"/>
                </a:cubicBezTo>
                <a:cubicBezTo>
                  <a:pt x="8" y="245"/>
                  <a:pt x="8" y="245"/>
                  <a:pt x="8" y="245"/>
                </a:cubicBezTo>
                <a:cubicBezTo>
                  <a:pt x="8" y="244"/>
                  <a:pt x="8" y="244"/>
                  <a:pt x="8" y="244"/>
                </a:cubicBezTo>
                <a:cubicBezTo>
                  <a:pt x="7" y="243"/>
                  <a:pt x="7" y="243"/>
                  <a:pt x="7" y="243"/>
                </a:cubicBezTo>
                <a:cubicBezTo>
                  <a:pt x="9" y="243"/>
                  <a:pt x="9" y="243"/>
                  <a:pt x="9" y="243"/>
                </a:cubicBezTo>
                <a:cubicBezTo>
                  <a:pt x="10" y="244"/>
                  <a:pt x="10" y="244"/>
                  <a:pt x="10" y="244"/>
                </a:cubicBezTo>
                <a:cubicBezTo>
                  <a:pt x="9" y="245"/>
                  <a:pt x="9" y="245"/>
                  <a:pt x="9" y="245"/>
                </a:cubicBezTo>
                <a:close/>
                <a:moveTo>
                  <a:pt x="12" y="244"/>
                </a:moveTo>
                <a:cubicBezTo>
                  <a:pt x="12" y="246"/>
                  <a:pt x="12" y="246"/>
                  <a:pt x="12" y="246"/>
                </a:cubicBezTo>
                <a:cubicBezTo>
                  <a:pt x="12" y="246"/>
                  <a:pt x="12" y="246"/>
                  <a:pt x="12" y="246"/>
                </a:cubicBezTo>
                <a:cubicBezTo>
                  <a:pt x="10" y="245"/>
                  <a:pt x="10" y="245"/>
                  <a:pt x="10" y="245"/>
                </a:cubicBezTo>
                <a:cubicBezTo>
                  <a:pt x="10" y="244"/>
                  <a:pt x="10" y="244"/>
                  <a:pt x="10" y="244"/>
                </a:cubicBezTo>
                <a:cubicBezTo>
                  <a:pt x="9" y="241"/>
                  <a:pt x="9" y="241"/>
                  <a:pt x="9" y="241"/>
                </a:cubicBezTo>
                <a:cubicBezTo>
                  <a:pt x="10" y="241"/>
                  <a:pt x="10" y="241"/>
                  <a:pt x="10" y="241"/>
                </a:cubicBezTo>
                <a:cubicBezTo>
                  <a:pt x="11" y="240"/>
                  <a:pt x="11" y="240"/>
                  <a:pt x="11" y="240"/>
                </a:cubicBezTo>
                <a:cubicBezTo>
                  <a:pt x="11" y="239"/>
                  <a:pt x="11" y="239"/>
                  <a:pt x="11" y="239"/>
                </a:cubicBezTo>
                <a:cubicBezTo>
                  <a:pt x="11" y="240"/>
                  <a:pt x="11" y="240"/>
                  <a:pt x="11" y="240"/>
                </a:cubicBezTo>
                <a:cubicBezTo>
                  <a:pt x="10" y="240"/>
                  <a:pt x="10" y="240"/>
                  <a:pt x="10" y="240"/>
                </a:cubicBezTo>
                <a:cubicBezTo>
                  <a:pt x="10" y="239"/>
                  <a:pt x="10" y="239"/>
                  <a:pt x="10" y="239"/>
                </a:cubicBezTo>
                <a:cubicBezTo>
                  <a:pt x="10" y="238"/>
                  <a:pt x="10" y="238"/>
                  <a:pt x="10" y="238"/>
                </a:cubicBezTo>
                <a:cubicBezTo>
                  <a:pt x="9" y="237"/>
                  <a:pt x="9" y="237"/>
                  <a:pt x="9" y="237"/>
                </a:cubicBezTo>
                <a:cubicBezTo>
                  <a:pt x="9" y="236"/>
                  <a:pt x="9" y="236"/>
                  <a:pt x="9" y="236"/>
                </a:cubicBezTo>
                <a:cubicBezTo>
                  <a:pt x="10" y="235"/>
                  <a:pt x="10" y="235"/>
                  <a:pt x="10" y="235"/>
                </a:cubicBezTo>
                <a:cubicBezTo>
                  <a:pt x="12" y="235"/>
                  <a:pt x="12" y="235"/>
                  <a:pt x="12" y="235"/>
                </a:cubicBezTo>
                <a:cubicBezTo>
                  <a:pt x="13" y="236"/>
                  <a:pt x="13" y="236"/>
                  <a:pt x="13" y="236"/>
                </a:cubicBezTo>
                <a:cubicBezTo>
                  <a:pt x="13" y="239"/>
                  <a:pt x="13" y="239"/>
                  <a:pt x="13" y="239"/>
                </a:cubicBezTo>
                <a:cubicBezTo>
                  <a:pt x="14" y="240"/>
                  <a:pt x="14" y="240"/>
                  <a:pt x="14" y="240"/>
                </a:cubicBezTo>
                <a:cubicBezTo>
                  <a:pt x="14" y="242"/>
                  <a:pt x="14" y="242"/>
                  <a:pt x="14" y="242"/>
                </a:cubicBezTo>
                <a:cubicBezTo>
                  <a:pt x="14" y="243"/>
                  <a:pt x="14" y="243"/>
                  <a:pt x="14" y="243"/>
                </a:cubicBezTo>
                <a:cubicBezTo>
                  <a:pt x="15" y="245"/>
                  <a:pt x="15" y="245"/>
                  <a:pt x="15" y="245"/>
                </a:cubicBezTo>
                <a:cubicBezTo>
                  <a:pt x="15" y="246"/>
                  <a:pt x="15" y="246"/>
                  <a:pt x="15" y="246"/>
                </a:cubicBezTo>
                <a:cubicBezTo>
                  <a:pt x="14" y="247"/>
                  <a:pt x="14" y="247"/>
                  <a:pt x="14" y="247"/>
                </a:cubicBezTo>
                <a:cubicBezTo>
                  <a:pt x="13" y="247"/>
                  <a:pt x="13" y="247"/>
                  <a:pt x="13" y="247"/>
                </a:cubicBezTo>
                <a:cubicBezTo>
                  <a:pt x="13" y="245"/>
                  <a:pt x="13" y="245"/>
                  <a:pt x="13" y="245"/>
                </a:cubicBezTo>
                <a:cubicBezTo>
                  <a:pt x="12" y="244"/>
                  <a:pt x="12" y="244"/>
                  <a:pt x="12" y="244"/>
                </a:cubicBezTo>
                <a:close/>
                <a:moveTo>
                  <a:pt x="11" y="251"/>
                </a:moveTo>
                <a:cubicBezTo>
                  <a:pt x="11" y="250"/>
                  <a:pt x="11" y="250"/>
                  <a:pt x="11" y="250"/>
                </a:cubicBezTo>
                <a:cubicBezTo>
                  <a:pt x="10" y="249"/>
                  <a:pt x="10" y="249"/>
                  <a:pt x="10" y="249"/>
                </a:cubicBezTo>
                <a:cubicBezTo>
                  <a:pt x="11" y="249"/>
                  <a:pt x="11" y="249"/>
                  <a:pt x="11" y="249"/>
                </a:cubicBezTo>
                <a:cubicBezTo>
                  <a:pt x="11" y="248"/>
                  <a:pt x="11" y="248"/>
                  <a:pt x="11" y="248"/>
                </a:cubicBezTo>
                <a:cubicBezTo>
                  <a:pt x="11" y="248"/>
                  <a:pt x="11" y="248"/>
                  <a:pt x="11" y="248"/>
                </a:cubicBezTo>
                <a:cubicBezTo>
                  <a:pt x="12" y="248"/>
                  <a:pt x="12" y="248"/>
                  <a:pt x="12" y="248"/>
                </a:cubicBezTo>
                <a:cubicBezTo>
                  <a:pt x="13" y="248"/>
                  <a:pt x="13" y="248"/>
                  <a:pt x="13" y="248"/>
                </a:cubicBezTo>
                <a:cubicBezTo>
                  <a:pt x="13" y="249"/>
                  <a:pt x="13" y="249"/>
                  <a:pt x="13" y="249"/>
                </a:cubicBezTo>
                <a:cubicBezTo>
                  <a:pt x="13" y="250"/>
                  <a:pt x="13" y="250"/>
                  <a:pt x="13" y="250"/>
                </a:cubicBezTo>
                <a:cubicBezTo>
                  <a:pt x="12" y="251"/>
                  <a:pt x="12" y="251"/>
                  <a:pt x="12" y="251"/>
                </a:cubicBezTo>
                <a:cubicBezTo>
                  <a:pt x="11" y="251"/>
                  <a:pt x="11" y="251"/>
                  <a:pt x="11" y="251"/>
                </a:cubicBezTo>
                <a:close/>
                <a:moveTo>
                  <a:pt x="11" y="253"/>
                </a:moveTo>
                <a:cubicBezTo>
                  <a:pt x="11" y="252"/>
                  <a:pt x="11" y="252"/>
                  <a:pt x="11" y="252"/>
                </a:cubicBezTo>
                <a:cubicBezTo>
                  <a:pt x="12" y="252"/>
                  <a:pt x="12" y="252"/>
                  <a:pt x="12" y="252"/>
                </a:cubicBezTo>
                <a:cubicBezTo>
                  <a:pt x="11" y="252"/>
                  <a:pt x="11" y="252"/>
                  <a:pt x="11" y="252"/>
                </a:cubicBezTo>
                <a:cubicBezTo>
                  <a:pt x="11" y="253"/>
                  <a:pt x="11" y="253"/>
                  <a:pt x="11" y="253"/>
                </a:cubicBezTo>
                <a:close/>
                <a:moveTo>
                  <a:pt x="13" y="252"/>
                </a:moveTo>
                <a:cubicBezTo>
                  <a:pt x="14" y="253"/>
                  <a:pt x="14" y="253"/>
                  <a:pt x="14" y="253"/>
                </a:cubicBezTo>
                <a:cubicBezTo>
                  <a:pt x="14" y="254"/>
                  <a:pt x="14" y="254"/>
                  <a:pt x="14" y="254"/>
                </a:cubicBezTo>
                <a:cubicBezTo>
                  <a:pt x="13" y="254"/>
                  <a:pt x="13" y="254"/>
                  <a:pt x="13" y="254"/>
                </a:cubicBezTo>
                <a:cubicBezTo>
                  <a:pt x="13" y="253"/>
                  <a:pt x="13" y="253"/>
                  <a:pt x="13" y="253"/>
                </a:cubicBezTo>
                <a:cubicBezTo>
                  <a:pt x="13" y="252"/>
                  <a:pt x="13" y="252"/>
                  <a:pt x="13" y="252"/>
                </a:cubicBezTo>
                <a:close/>
                <a:moveTo>
                  <a:pt x="14" y="251"/>
                </a:moveTo>
                <a:cubicBezTo>
                  <a:pt x="14" y="251"/>
                  <a:pt x="14" y="251"/>
                  <a:pt x="14" y="251"/>
                </a:cubicBezTo>
                <a:cubicBezTo>
                  <a:pt x="15" y="251"/>
                  <a:pt x="15" y="251"/>
                  <a:pt x="15" y="251"/>
                </a:cubicBezTo>
                <a:cubicBezTo>
                  <a:pt x="16" y="251"/>
                  <a:pt x="16" y="251"/>
                  <a:pt x="16" y="251"/>
                </a:cubicBezTo>
                <a:cubicBezTo>
                  <a:pt x="16" y="251"/>
                  <a:pt x="16" y="251"/>
                  <a:pt x="16" y="251"/>
                </a:cubicBezTo>
                <a:cubicBezTo>
                  <a:pt x="17" y="253"/>
                  <a:pt x="17" y="253"/>
                  <a:pt x="17" y="253"/>
                </a:cubicBezTo>
                <a:cubicBezTo>
                  <a:pt x="18" y="255"/>
                  <a:pt x="18" y="255"/>
                  <a:pt x="18" y="255"/>
                </a:cubicBezTo>
                <a:cubicBezTo>
                  <a:pt x="16" y="253"/>
                  <a:pt x="16" y="253"/>
                  <a:pt x="16" y="253"/>
                </a:cubicBezTo>
                <a:cubicBezTo>
                  <a:pt x="15" y="253"/>
                  <a:pt x="15" y="253"/>
                  <a:pt x="15" y="253"/>
                </a:cubicBezTo>
                <a:cubicBezTo>
                  <a:pt x="14" y="251"/>
                  <a:pt x="14" y="251"/>
                  <a:pt x="14" y="251"/>
                </a:cubicBezTo>
                <a:close/>
                <a:moveTo>
                  <a:pt x="14" y="253"/>
                </a:moveTo>
                <a:cubicBezTo>
                  <a:pt x="15" y="253"/>
                  <a:pt x="15" y="253"/>
                  <a:pt x="15" y="253"/>
                </a:cubicBezTo>
                <a:cubicBezTo>
                  <a:pt x="16" y="254"/>
                  <a:pt x="16" y="254"/>
                  <a:pt x="16" y="254"/>
                </a:cubicBezTo>
                <a:cubicBezTo>
                  <a:pt x="17" y="256"/>
                  <a:pt x="17" y="256"/>
                  <a:pt x="17" y="256"/>
                </a:cubicBezTo>
                <a:cubicBezTo>
                  <a:pt x="17" y="257"/>
                  <a:pt x="17" y="257"/>
                  <a:pt x="17" y="257"/>
                </a:cubicBezTo>
                <a:cubicBezTo>
                  <a:pt x="16" y="257"/>
                  <a:pt x="16" y="257"/>
                  <a:pt x="16" y="257"/>
                </a:cubicBezTo>
                <a:cubicBezTo>
                  <a:pt x="14" y="255"/>
                  <a:pt x="14" y="255"/>
                  <a:pt x="14" y="255"/>
                </a:cubicBezTo>
                <a:cubicBezTo>
                  <a:pt x="14" y="253"/>
                  <a:pt x="14" y="253"/>
                  <a:pt x="14" y="253"/>
                </a:cubicBezTo>
                <a:close/>
                <a:moveTo>
                  <a:pt x="15" y="260"/>
                </a:moveTo>
                <a:cubicBezTo>
                  <a:pt x="14" y="260"/>
                  <a:pt x="14" y="260"/>
                  <a:pt x="14" y="260"/>
                </a:cubicBezTo>
                <a:cubicBezTo>
                  <a:pt x="13" y="259"/>
                  <a:pt x="13" y="259"/>
                  <a:pt x="13" y="259"/>
                </a:cubicBezTo>
                <a:cubicBezTo>
                  <a:pt x="14" y="259"/>
                  <a:pt x="14" y="259"/>
                  <a:pt x="14" y="259"/>
                </a:cubicBezTo>
                <a:cubicBezTo>
                  <a:pt x="14" y="258"/>
                  <a:pt x="14" y="258"/>
                  <a:pt x="14" y="258"/>
                </a:cubicBezTo>
                <a:cubicBezTo>
                  <a:pt x="13" y="257"/>
                  <a:pt x="13" y="257"/>
                  <a:pt x="13" y="257"/>
                </a:cubicBezTo>
                <a:cubicBezTo>
                  <a:pt x="14" y="256"/>
                  <a:pt x="14" y="256"/>
                  <a:pt x="14" y="256"/>
                </a:cubicBezTo>
                <a:cubicBezTo>
                  <a:pt x="15" y="257"/>
                  <a:pt x="15" y="257"/>
                  <a:pt x="15" y="257"/>
                </a:cubicBezTo>
                <a:cubicBezTo>
                  <a:pt x="16" y="257"/>
                  <a:pt x="16" y="257"/>
                  <a:pt x="16" y="257"/>
                </a:cubicBezTo>
                <a:cubicBezTo>
                  <a:pt x="18" y="258"/>
                  <a:pt x="18" y="258"/>
                  <a:pt x="18" y="258"/>
                </a:cubicBezTo>
                <a:cubicBezTo>
                  <a:pt x="18" y="259"/>
                  <a:pt x="18" y="259"/>
                  <a:pt x="18" y="259"/>
                </a:cubicBezTo>
                <a:cubicBezTo>
                  <a:pt x="17" y="259"/>
                  <a:pt x="17" y="259"/>
                  <a:pt x="17" y="259"/>
                </a:cubicBezTo>
                <a:cubicBezTo>
                  <a:pt x="17" y="259"/>
                  <a:pt x="17" y="259"/>
                  <a:pt x="17" y="259"/>
                </a:cubicBezTo>
                <a:cubicBezTo>
                  <a:pt x="15" y="260"/>
                  <a:pt x="15" y="260"/>
                  <a:pt x="15" y="260"/>
                </a:cubicBezTo>
                <a:close/>
                <a:moveTo>
                  <a:pt x="17" y="265"/>
                </a:moveTo>
                <a:cubicBezTo>
                  <a:pt x="16" y="265"/>
                  <a:pt x="16" y="265"/>
                  <a:pt x="16" y="265"/>
                </a:cubicBezTo>
                <a:cubicBezTo>
                  <a:pt x="15" y="264"/>
                  <a:pt x="15" y="264"/>
                  <a:pt x="15" y="264"/>
                </a:cubicBezTo>
                <a:cubicBezTo>
                  <a:pt x="15" y="263"/>
                  <a:pt x="15" y="263"/>
                  <a:pt x="15" y="263"/>
                </a:cubicBezTo>
                <a:cubicBezTo>
                  <a:pt x="15" y="263"/>
                  <a:pt x="15" y="263"/>
                  <a:pt x="15" y="263"/>
                </a:cubicBezTo>
                <a:cubicBezTo>
                  <a:pt x="16" y="262"/>
                  <a:pt x="16" y="262"/>
                  <a:pt x="16" y="262"/>
                </a:cubicBezTo>
                <a:cubicBezTo>
                  <a:pt x="16" y="262"/>
                  <a:pt x="16" y="262"/>
                  <a:pt x="16" y="262"/>
                </a:cubicBezTo>
                <a:cubicBezTo>
                  <a:pt x="15" y="261"/>
                  <a:pt x="15" y="261"/>
                  <a:pt x="15" y="261"/>
                </a:cubicBezTo>
                <a:cubicBezTo>
                  <a:pt x="16" y="261"/>
                  <a:pt x="16" y="261"/>
                  <a:pt x="16" y="261"/>
                </a:cubicBezTo>
                <a:cubicBezTo>
                  <a:pt x="17" y="262"/>
                  <a:pt x="17" y="262"/>
                  <a:pt x="17" y="262"/>
                </a:cubicBezTo>
                <a:cubicBezTo>
                  <a:pt x="17" y="263"/>
                  <a:pt x="17" y="263"/>
                  <a:pt x="17" y="263"/>
                </a:cubicBezTo>
                <a:cubicBezTo>
                  <a:pt x="16" y="264"/>
                  <a:pt x="16" y="264"/>
                  <a:pt x="16" y="264"/>
                </a:cubicBezTo>
                <a:cubicBezTo>
                  <a:pt x="17" y="265"/>
                  <a:pt x="17" y="265"/>
                  <a:pt x="17" y="265"/>
                </a:cubicBezTo>
                <a:close/>
                <a:moveTo>
                  <a:pt x="17" y="263"/>
                </a:moveTo>
                <a:cubicBezTo>
                  <a:pt x="17" y="262"/>
                  <a:pt x="17" y="262"/>
                  <a:pt x="17" y="262"/>
                </a:cubicBezTo>
                <a:cubicBezTo>
                  <a:pt x="18" y="262"/>
                  <a:pt x="18" y="262"/>
                  <a:pt x="18" y="262"/>
                </a:cubicBezTo>
                <a:cubicBezTo>
                  <a:pt x="18" y="262"/>
                  <a:pt x="18" y="262"/>
                  <a:pt x="18" y="262"/>
                </a:cubicBezTo>
                <a:cubicBezTo>
                  <a:pt x="19" y="263"/>
                  <a:pt x="19" y="263"/>
                  <a:pt x="19" y="263"/>
                </a:cubicBezTo>
                <a:cubicBezTo>
                  <a:pt x="19" y="264"/>
                  <a:pt x="19" y="264"/>
                  <a:pt x="19" y="264"/>
                </a:cubicBezTo>
                <a:cubicBezTo>
                  <a:pt x="18" y="265"/>
                  <a:pt x="18" y="265"/>
                  <a:pt x="18" y="265"/>
                </a:cubicBezTo>
                <a:cubicBezTo>
                  <a:pt x="18" y="265"/>
                  <a:pt x="18" y="265"/>
                  <a:pt x="18" y="265"/>
                </a:cubicBezTo>
                <a:cubicBezTo>
                  <a:pt x="17" y="264"/>
                  <a:pt x="17" y="264"/>
                  <a:pt x="17" y="264"/>
                </a:cubicBezTo>
                <a:cubicBezTo>
                  <a:pt x="17" y="264"/>
                  <a:pt x="17" y="264"/>
                  <a:pt x="17" y="264"/>
                </a:cubicBezTo>
                <a:cubicBezTo>
                  <a:pt x="17" y="263"/>
                  <a:pt x="17" y="263"/>
                  <a:pt x="17" y="263"/>
                </a:cubicBezTo>
                <a:close/>
                <a:moveTo>
                  <a:pt x="19" y="263"/>
                </a:moveTo>
                <a:cubicBezTo>
                  <a:pt x="20" y="264"/>
                  <a:pt x="20" y="264"/>
                  <a:pt x="20" y="264"/>
                </a:cubicBezTo>
                <a:cubicBezTo>
                  <a:pt x="21" y="265"/>
                  <a:pt x="21" y="265"/>
                  <a:pt x="21" y="265"/>
                </a:cubicBezTo>
                <a:cubicBezTo>
                  <a:pt x="20" y="265"/>
                  <a:pt x="20" y="265"/>
                  <a:pt x="20" y="265"/>
                </a:cubicBezTo>
                <a:cubicBezTo>
                  <a:pt x="19" y="264"/>
                  <a:pt x="19" y="264"/>
                  <a:pt x="19" y="264"/>
                </a:cubicBezTo>
                <a:cubicBezTo>
                  <a:pt x="19" y="263"/>
                  <a:pt x="19" y="263"/>
                  <a:pt x="19" y="263"/>
                </a:cubicBezTo>
                <a:close/>
                <a:moveTo>
                  <a:pt x="19" y="268"/>
                </a:moveTo>
                <a:cubicBezTo>
                  <a:pt x="18" y="268"/>
                  <a:pt x="18" y="268"/>
                  <a:pt x="18" y="268"/>
                </a:cubicBezTo>
                <a:cubicBezTo>
                  <a:pt x="18" y="267"/>
                  <a:pt x="18" y="267"/>
                  <a:pt x="18" y="267"/>
                </a:cubicBezTo>
                <a:cubicBezTo>
                  <a:pt x="18" y="267"/>
                  <a:pt x="18" y="267"/>
                  <a:pt x="18" y="267"/>
                </a:cubicBezTo>
                <a:cubicBezTo>
                  <a:pt x="18" y="266"/>
                  <a:pt x="18" y="266"/>
                  <a:pt x="18" y="266"/>
                </a:cubicBezTo>
                <a:cubicBezTo>
                  <a:pt x="19" y="265"/>
                  <a:pt x="19" y="265"/>
                  <a:pt x="19" y="265"/>
                </a:cubicBezTo>
                <a:cubicBezTo>
                  <a:pt x="19" y="266"/>
                  <a:pt x="19" y="266"/>
                  <a:pt x="19" y="266"/>
                </a:cubicBezTo>
                <a:cubicBezTo>
                  <a:pt x="19" y="268"/>
                  <a:pt x="19" y="268"/>
                  <a:pt x="19" y="268"/>
                </a:cubicBezTo>
                <a:close/>
                <a:moveTo>
                  <a:pt x="22" y="264"/>
                </a:moveTo>
                <a:cubicBezTo>
                  <a:pt x="21" y="264"/>
                  <a:pt x="21" y="264"/>
                  <a:pt x="21" y="264"/>
                </a:cubicBezTo>
                <a:cubicBezTo>
                  <a:pt x="20" y="263"/>
                  <a:pt x="20" y="263"/>
                  <a:pt x="20" y="263"/>
                </a:cubicBezTo>
                <a:cubicBezTo>
                  <a:pt x="20" y="261"/>
                  <a:pt x="20" y="261"/>
                  <a:pt x="20" y="261"/>
                </a:cubicBezTo>
                <a:cubicBezTo>
                  <a:pt x="21" y="261"/>
                  <a:pt x="21" y="261"/>
                  <a:pt x="21" y="261"/>
                </a:cubicBezTo>
                <a:cubicBezTo>
                  <a:pt x="21" y="262"/>
                  <a:pt x="21" y="262"/>
                  <a:pt x="21" y="262"/>
                </a:cubicBezTo>
                <a:cubicBezTo>
                  <a:pt x="22" y="264"/>
                  <a:pt x="22" y="264"/>
                  <a:pt x="22" y="264"/>
                </a:cubicBezTo>
                <a:cubicBezTo>
                  <a:pt x="23" y="264"/>
                  <a:pt x="23" y="264"/>
                  <a:pt x="23" y="264"/>
                </a:cubicBezTo>
                <a:cubicBezTo>
                  <a:pt x="22" y="264"/>
                  <a:pt x="22" y="264"/>
                  <a:pt x="22" y="264"/>
                </a:cubicBezTo>
                <a:close/>
                <a:moveTo>
                  <a:pt x="22" y="266"/>
                </a:moveTo>
                <a:cubicBezTo>
                  <a:pt x="21" y="265"/>
                  <a:pt x="21" y="265"/>
                  <a:pt x="21" y="265"/>
                </a:cubicBezTo>
                <a:cubicBezTo>
                  <a:pt x="21" y="265"/>
                  <a:pt x="21" y="265"/>
                  <a:pt x="21" y="265"/>
                </a:cubicBezTo>
                <a:cubicBezTo>
                  <a:pt x="22" y="265"/>
                  <a:pt x="22" y="265"/>
                  <a:pt x="22" y="265"/>
                </a:cubicBezTo>
                <a:cubicBezTo>
                  <a:pt x="23" y="266"/>
                  <a:pt x="23" y="266"/>
                  <a:pt x="23" y="266"/>
                </a:cubicBezTo>
                <a:cubicBezTo>
                  <a:pt x="22" y="266"/>
                  <a:pt x="22" y="266"/>
                  <a:pt x="22" y="266"/>
                </a:cubicBezTo>
                <a:close/>
                <a:moveTo>
                  <a:pt x="23" y="269"/>
                </a:moveTo>
                <a:cubicBezTo>
                  <a:pt x="21" y="267"/>
                  <a:pt x="21" y="267"/>
                  <a:pt x="21" y="267"/>
                </a:cubicBezTo>
                <a:cubicBezTo>
                  <a:pt x="21" y="266"/>
                  <a:pt x="21" y="266"/>
                  <a:pt x="21" y="266"/>
                </a:cubicBezTo>
                <a:cubicBezTo>
                  <a:pt x="21" y="266"/>
                  <a:pt x="21" y="266"/>
                  <a:pt x="21" y="266"/>
                </a:cubicBezTo>
                <a:cubicBezTo>
                  <a:pt x="23" y="267"/>
                  <a:pt x="23" y="267"/>
                  <a:pt x="23" y="267"/>
                </a:cubicBezTo>
                <a:cubicBezTo>
                  <a:pt x="23" y="268"/>
                  <a:pt x="23" y="268"/>
                  <a:pt x="23" y="268"/>
                </a:cubicBezTo>
                <a:cubicBezTo>
                  <a:pt x="23" y="269"/>
                  <a:pt x="23" y="269"/>
                  <a:pt x="23" y="269"/>
                </a:cubicBezTo>
                <a:close/>
                <a:moveTo>
                  <a:pt x="24" y="271"/>
                </a:moveTo>
                <a:cubicBezTo>
                  <a:pt x="23" y="271"/>
                  <a:pt x="23" y="271"/>
                  <a:pt x="23" y="271"/>
                </a:cubicBezTo>
                <a:cubicBezTo>
                  <a:pt x="23" y="271"/>
                  <a:pt x="23" y="271"/>
                  <a:pt x="23" y="271"/>
                </a:cubicBezTo>
                <a:cubicBezTo>
                  <a:pt x="23" y="270"/>
                  <a:pt x="23" y="270"/>
                  <a:pt x="23" y="270"/>
                </a:cubicBezTo>
                <a:cubicBezTo>
                  <a:pt x="21" y="270"/>
                  <a:pt x="21" y="270"/>
                  <a:pt x="21" y="270"/>
                </a:cubicBezTo>
                <a:cubicBezTo>
                  <a:pt x="21" y="270"/>
                  <a:pt x="21" y="270"/>
                  <a:pt x="21" y="270"/>
                </a:cubicBezTo>
                <a:cubicBezTo>
                  <a:pt x="22" y="269"/>
                  <a:pt x="22" y="269"/>
                  <a:pt x="22" y="269"/>
                </a:cubicBezTo>
                <a:cubicBezTo>
                  <a:pt x="23" y="269"/>
                  <a:pt x="23" y="269"/>
                  <a:pt x="23" y="269"/>
                </a:cubicBezTo>
                <a:cubicBezTo>
                  <a:pt x="24" y="269"/>
                  <a:pt x="24" y="269"/>
                  <a:pt x="24" y="269"/>
                </a:cubicBezTo>
                <a:cubicBezTo>
                  <a:pt x="25" y="270"/>
                  <a:pt x="25" y="270"/>
                  <a:pt x="25" y="270"/>
                </a:cubicBezTo>
                <a:cubicBezTo>
                  <a:pt x="24" y="271"/>
                  <a:pt x="24" y="271"/>
                  <a:pt x="24" y="271"/>
                </a:cubicBezTo>
                <a:close/>
                <a:moveTo>
                  <a:pt x="28" y="278"/>
                </a:moveTo>
                <a:cubicBezTo>
                  <a:pt x="26" y="277"/>
                  <a:pt x="26" y="277"/>
                  <a:pt x="26" y="277"/>
                </a:cubicBezTo>
                <a:cubicBezTo>
                  <a:pt x="26" y="277"/>
                  <a:pt x="26" y="277"/>
                  <a:pt x="26" y="277"/>
                </a:cubicBezTo>
                <a:cubicBezTo>
                  <a:pt x="25" y="277"/>
                  <a:pt x="25" y="277"/>
                  <a:pt x="25" y="277"/>
                </a:cubicBezTo>
                <a:cubicBezTo>
                  <a:pt x="24" y="277"/>
                  <a:pt x="24" y="277"/>
                  <a:pt x="24" y="277"/>
                </a:cubicBezTo>
                <a:cubicBezTo>
                  <a:pt x="22" y="276"/>
                  <a:pt x="22" y="276"/>
                  <a:pt x="22" y="276"/>
                </a:cubicBezTo>
                <a:cubicBezTo>
                  <a:pt x="21" y="276"/>
                  <a:pt x="21" y="276"/>
                  <a:pt x="21" y="276"/>
                </a:cubicBezTo>
                <a:cubicBezTo>
                  <a:pt x="20" y="274"/>
                  <a:pt x="20" y="274"/>
                  <a:pt x="20" y="274"/>
                </a:cubicBezTo>
                <a:cubicBezTo>
                  <a:pt x="20" y="273"/>
                  <a:pt x="20" y="273"/>
                  <a:pt x="20" y="273"/>
                </a:cubicBezTo>
                <a:cubicBezTo>
                  <a:pt x="20" y="272"/>
                  <a:pt x="20" y="272"/>
                  <a:pt x="20" y="272"/>
                </a:cubicBezTo>
                <a:cubicBezTo>
                  <a:pt x="21" y="273"/>
                  <a:pt x="21" y="273"/>
                  <a:pt x="21" y="273"/>
                </a:cubicBezTo>
                <a:cubicBezTo>
                  <a:pt x="22" y="274"/>
                  <a:pt x="22" y="274"/>
                  <a:pt x="22" y="274"/>
                </a:cubicBezTo>
                <a:cubicBezTo>
                  <a:pt x="23" y="275"/>
                  <a:pt x="23" y="275"/>
                  <a:pt x="23" y="275"/>
                </a:cubicBezTo>
                <a:cubicBezTo>
                  <a:pt x="24" y="275"/>
                  <a:pt x="24" y="275"/>
                  <a:pt x="24" y="275"/>
                </a:cubicBezTo>
                <a:cubicBezTo>
                  <a:pt x="25" y="275"/>
                  <a:pt x="25" y="275"/>
                  <a:pt x="25" y="275"/>
                </a:cubicBezTo>
                <a:cubicBezTo>
                  <a:pt x="26" y="276"/>
                  <a:pt x="26" y="276"/>
                  <a:pt x="26" y="276"/>
                </a:cubicBezTo>
                <a:cubicBezTo>
                  <a:pt x="28" y="276"/>
                  <a:pt x="28" y="276"/>
                  <a:pt x="28" y="276"/>
                </a:cubicBezTo>
                <a:cubicBezTo>
                  <a:pt x="28" y="276"/>
                  <a:pt x="28" y="276"/>
                  <a:pt x="28" y="276"/>
                </a:cubicBezTo>
                <a:cubicBezTo>
                  <a:pt x="29" y="277"/>
                  <a:pt x="29" y="277"/>
                  <a:pt x="29" y="277"/>
                </a:cubicBezTo>
                <a:cubicBezTo>
                  <a:pt x="30" y="277"/>
                  <a:pt x="30" y="277"/>
                  <a:pt x="30" y="277"/>
                </a:cubicBezTo>
                <a:cubicBezTo>
                  <a:pt x="30" y="278"/>
                  <a:pt x="30" y="278"/>
                  <a:pt x="30" y="278"/>
                </a:cubicBezTo>
                <a:cubicBezTo>
                  <a:pt x="30" y="278"/>
                  <a:pt x="30" y="278"/>
                  <a:pt x="30" y="278"/>
                </a:cubicBezTo>
                <a:cubicBezTo>
                  <a:pt x="29" y="278"/>
                  <a:pt x="29" y="278"/>
                  <a:pt x="29" y="278"/>
                </a:cubicBezTo>
                <a:cubicBezTo>
                  <a:pt x="28" y="278"/>
                  <a:pt x="28" y="278"/>
                  <a:pt x="28" y="278"/>
                </a:cubicBezTo>
                <a:close/>
                <a:moveTo>
                  <a:pt x="24" y="278"/>
                </a:moveTo>
                <a:cubicBezTo>
                  <a:pt x="24" y="278"/>
                  <a:pt x="25" y="279"/>
                  <a:pt x="25" y="279"/>
                </a:cubicBezTo>
                <a:cubicBezTo>
                  <a:pt x="23" y="279"/>
                  <a:pt x="23" y="279"/>
                  <a:pt x="23" y="279"/>
                </a:cubicBezTo>
                <a:cubicBezTo>
                  <a:pt x="24" y="278"/>
                  <a:pt x="24" y="278"/>
                  <a:pt x="24" y="278"/>
                </a:cubicBezTo>
                <a:close/>
                <a:moveTo>
                  <a:pt x="32" y="284"/>
                </a:moveTo>
                <a:cubicBezTo>
                  <a:pt x="33" y="284"/>
                  <a:pt x="33" y="284"/>
                  <a:pt x="33" y="284"/>
                </a:cubicBezTo>
                <a:cubicBezTo>
                  <a:pt x="33" y="284"/>
                  <a:pt x="33" y="284"/>
                  <a:pt x="33" y="284"/>
                </a:cubicBezTo>
                <a:cubicBezTo>
                  <a:pt x="33" y="283"/>
                  <a:pt x="33" y="283"/>
                  <a:pt x="33" y="283"/>
                </a:cubicBezTo>
                <a:cubicBezTo>
                  <a:pt x="32" y="284"/>
                  <a:pt x="32" y="284"/>
                  <a:pt x="32" y="284"/>
                </a:cubicBezTo>
                <a:cubicBezTo>
                  <a:pt x="32" y="284"/>
                  <a:pt x="32" y="284"/>
                  <a:pt x="32" y="284"/>
                </a:cubicBezTo>
                <a:close/>
                <a:moveTo>
                  <a:pt x="36" y="285"/>
                </a:moveTo>
                <a:cubicBezTo>
                  <a:pt x="35" y="285"/>
                  <a:pt x="35" y="285"/>
                  <a:pt x="35" y="285"/>
                </a:cubicBezTo>
                <a:cubicBezTo>
                  <a:pt x="34" y="284"/>
                  <a:pt x="34" y="284"/>
                  <a:pt x="34" y="284"/>
                </a:cubicBezTo>
                <a:cubicBezTo>
                  <a:pt x="34" y="283"/>
                  <a:pt x="34" y="283"/>
                  <a:pt x="34" y="283"/>
                </a:cubicBezTo>
                <a:cubicBezTo>
                  <a:pt x="33" y="283"/>
                  <a:pt x="33" y="283"/>
                  <a:pt x="33" y="283"/>
                </a:cubicBezTo>
                <a:cubicBezTo>
                  <a:pt x="32" y="283"/>
                  <a:pt x="32" y="283"/>
                  <a:pt x="32" y="283"/>
                </a:cubicBezTo>
                <a:cubicBezTo>
                  <a:pt x="31" y="283"/>
                  <a:pt x="31" y="283"/>
                  <a:pt x="31" y="283"/>
                </a:cubicBezTo>
                <a:cubicBezTo>
                  <a:pt x="30" y="282"/>
                  <a:pt x="30" y="282"/>
                  <a:pt x="30" y="282"/>
                </a:cubicBezTo>
                <a:cubicBezTo>
                  <a:pt x="28" y="281"/>
                  <a:pt x="28" y="281"/>
                  <a:pt x="28" y="281"/>
                </a:cubicBezTo>
                <a:cubicBezTo>
                  <a:pt x="28" y="280"/>
                  <a:pt x="28" y="280"/>
                  <a:pt x="28" y="280"/>
                </a:cubicBezTo>
                <a:cubicBezTo>
                  <a:pt x="27" y="279"/>
                  <a:pt x="27" y="279"/>
                  <a:pt x="27" y="279"/>
                </a:cubicBezTo>
                <a:cubicBezTo>
                  <a:pt x="27" y="279"/>
                  <a:pt x="27" y="279"/>
                  <a:pt x="27" y="279"/>
                </a:cubicBezTo>
                <a:cubicBezTo>
                  <a:pt x="27" y="278"/>
                  <a:pt x="27" y="278"/>
                  <a:pt x="27" y="278"/>
                </a:cubicBezTo>
                <a:cubicBezTo>
                  <a:pt x="28" y="278"/>
                  <a:pt x="28" y="278"/>
                  <a:pt x="28" y="278"/>
                </a:cubicBezTo>
                <a:cubicBezTo>
                  <a:pt x="29" y="279"/>
                  <a:pt x="29" y="279"/>
                  <a:pt x="29" y="279"/>
                </a:cubicBezTo>
                <a:cubicBezTo>
                  <a:pt x="29" y="279"/>
                  <a:pt x="29" y="279"/>
                  <a:pt x="29" y="279"/>
                </a:cubicBezTo>
                <a:cubicBezTo>
                  <a:pt x="30" y="279"/>
                  <a:pt x="30" y="279"/>
                  <a:pt x="30" y="279"/>
                </a:cubicBezTo>
                <a:cubicBezTo>
                  <a:pt x="32" y="279"/>
                  <a:pt x="32" y="279"/>
                  <a:pt x="32" y="279"/>
                </a:cubicBezTo>
                <a:cubicBezTo>
                  <a:pt x="33" y="280"/>
                  <a:pt x="33" y="280"/>
                  <a:pt x="33" y="280"/>
                </a:cubicBezTo>
                <a:cubicBezTo>
                  <a:pt x="34" y="280"/>
                  <a:pt x="34" y="280"/>
                  <a:pt x="34" y="280"/>
                </a:cubicBezTo>
                <a:cubicBezTo>
                  <a:pt x="35" y="281"/>
                  <a:pt x="35" y="281"/>
                  <a:pt x="35" y="281"/>
                </a:cubicBezTo>
                <a:cubicBezTo>
                  <a:pt x="36" y="281"/>
                  <a:pt x="36" y="281"/>
                  <a:pt x="36" y="281"/>
                </a:cubicBezTo>
                <a:cubicBezTo>
                  <a:pt x="37" y="281"/>
                  <a:pt x="37" y="281"/>
                  <a:pt x="37" y="281"/>
                </a:cubicBezTo>
                <a:cubicBezTo>
                  <a:pt x="37" y="282"/>
                  <a:pt x="37" y="282"/>
                  <a:pt x="37" y="282"/>
                </a:cubicBezTo>
                <a:cubicBezTo>
                  <a:pt x="36" y="282"/>
                  <a:pt x="36" y="282"/>
                  <a:pt x="36" y="282"/>
                </a:cubicBezTo>
                <a:cubicBezTo>
                  <a:pt x="36" y="282"/>
                  <a:pt x="36" y="282"/>
                  <a:pt x="36" y="282"/>
                </a:cubicBezTo>
                <a:cubicBezTo>
                  <a:pt x="36" y="282"/>
                  <a:pt x="36" y="282"/>
                  <a:pt x="36" y="282"/>
                </a:cubicBezTo>
                <a:cubicBezTo>
                  <a:pt x="36" y="283"/>
                  <a:pt x="36" y="283"/>
                  <a:pt x="36" y="283"/>
                </a:cubicBezTo>
                <a:cubicBezTo>
                  <a:pt x="35" y="284"/>
                  <a:pt x="35" y="284"/>
                  <a:pt x="35" y="284"/>
                </a:cubicBezTo>
                <a:cubicBezTo>
                  <a:pt x="36" y="285"/>
                  <a:pt x="36" y="285"/>
                  <a:pt x="36" y="285"/>
                </a:cubicBezTo>
                <a:close/>
                <a:moveTo>
                  <a:pt x="37" y="284"/>
                </a:moveTo>
                <a:cubicBezTo>
                  <a:pt x="36" y="285"/>
                  <a:pt x="36" y="285"/>
                  <a:pt x="36" y="285"/>
                </a:cubicBezTo>
                <a:cubicBezTo>
                  <a:pt x="36" y="286"/>
                  <a:pt x="36" y="286"/>
                  <a:pt x="36" y="286"/>
                </a:cubicBezTo>
                <a:cubicBezTo>
                  <a:pt x="37" y="286"/>
                  <a:pt x="37" y="286"/>
                  <a:pt x="37" y="286"/>
                </a:cubicBezTo>
                <a:cubicBezTo>
                  <a:pt x="38" y="285"/>
                  <a:pt x="38" y="285"/>
                  <a:pt x="38" y="285"/>
                </a:cubicBezTo>
                <a:cubicBezTo>
                  <a:pt x="38" y="284"/>
                  <a:pt x="38" y="284"/>
                  <a:pt x="38" y="284"/>
                </a:cubicBezTo>
                <a:cubicBezTo>
                  <a:pt x="37" y="284"/>
                  <a:pt x="37" y="284"/>
                  <a:pt x="37" y="284"/>
                </a:cubicBezTo>
                <a:cubicBezTo>
                  <a:pt x="37" y="284"/>
                  <a:pt x="37" y="284"/>
                  <a:pt x="37" y="284"/>
                </a:cubicBezTo>
                <a:close/>
                <a:moveTo>
                  <a:pt x="44" y="283"/>
                </a:moveTo>
                <a:cubicBezTo>
                  <a:pt x="44" y="284"/>
                  <a:pt x="44" y="284"/>
                  <a:pt x="44" y="284"/>
                </a:cubicBezTo>
                <a:cubicBezTo>
                  <a:pt x="44" y="285"/>
                  <a:pt x="44" y="285"/>
                  <a:pt x="44" y="285"/>
                </a:cubicBezTo>
                <a:cubicBezTo>
                  <a:pt x="43" y="285"/>
                  <a:pt x="43" y="285"/>
                  <a:pt x="43" y="285"/>
                </a:cubicBezTo>
                <a:cubicBezTo>
                  <a:pt x="42" y="285"/>
                  <a:pt x="42" y="285"/>
                  <a:pt x="42" y="285"/>
                </a:cubicBezTo>
                <a:cubicBezTo>
                  <a:pt x="42" y="284"/>
                  <a:pt x="42" y="284"/>
                  <a:pt x="42" y="284"/>
                </a:cubicBezTo>
                <a:cubicBezTo>
                  <a:pt x="41" y="285"/>
                  <a:pt x="41" y="285"/>
                  <a:pt x="41" y="285"/>
                </a:cubicBezTo>
                <a:cubicBezTo>
                  <a:pt x="41" y="284"/>
                  <a:pt x="41" y="284"/>
                  <a:pt x="41" y="284"/>
                </a:cubicBezTo>
                <a:cubicBezTo>
                  <a:pt x="39" y="284"/>
                  <a:pt x="39" y="284"/>
                  <a:pt x="39" y="284"/>
                </a:cubicBezTo>
                <a:cubicBezTo>
                  <a:pt x="39" y="285"/>
                  <a:pt x="39" y="285"/>
                  <a:pt x="39" y="285"/>
                </a:cubicBezTo>
                <a:cubicBezTo>
                  <a:pt x="38" y="284"/>
                  <a:pt x="38" y="284"/>
                  <a:pt x="38" y="284"/>
                </a:cubicBezTo>
                <a:cubicBezTo>
                  <a:pt x="38" y="283"/>
                  <a:pt x="38" y="283"/>
                  <a:pt x="38" y="283"/>
                </a:cubicBezTo>
                <a:cubicBezTo>
                  <a:pt x="38" y="283"/>
                  <a:pt x="38" y="283"/>
                  <a:pt x="38" y="283"/>
                </a:cubicBezTo>
                <a:cubicBezTo>
                  <a:pt x="39" y="282"/>
                  <a:pt x="39" y="282"/>
                  <a:pt x="39" y="282"/>
                </a:cubicBezTo>
                <a:cubicBezTo>
                  <a:pt x="40" y="282"/>
                  <a:pt x="40" y="282"/>
                  <a:pt x="40" y="282"/>
                </a:cubicBezTo>
                <a:cubicBezTo>
                  <a:pt x="42" y="283"/>
                  <a:pt x="42" y="283"/>
                  <a:pt x="42" y="283"/>
                </a:cubicBezTo>
                <a:cubicBezTo>
                  <a:pt x="42" y="283"/>
                  <a:pt x="42" y="283"/>
                  <a:pt x="42" y="283"/>
                </a:cubicBezTo>
                <a:cubicBezTo>
                  <a:pt x="43" y="283"/>
                  <a:pt x="43" y="283"/>
                  <a:pt x="43" y="283"/>
                </a:cubicBezTo>
                <a:cubicBezTo>
                  <a:pt x="44" y="283"/>
                  <a:pt x="44" y="283"/>
                  <a:pt x="44" y="283"/>
                </a:cubicBezTo>
                <a:cubicBezTo>
                  <a:pt x="44" y="283"/>
                  <a:pt x="44" y="283"/>
                  <a:pt x="44" y="283"/>
                </a:cubicBezTo>
                <a:close/>
                <a:moveTo>
                  <a:pt x="48" y="283"/>
                </a:moveTo>
                <a:cubicBezTo>
                  <a:pt x="46" y="282"/>
                  <a:pt x="46" y="282"/>
                  <a:pt x="46" y="282"/>
                </a:cubicBezTo>
                <a:cubicBezTo>
                  <a:pt x="47" y="281"/>
                  <a:pt x="47" y="281"/>
                  <a:pt x="47" y="281"/>
                </a:cubicBezTo>
                <a:cubicBezTo>
                  <a:pt x="47" y="280"/>
                  <a:pt x="47" y="280"/>
                  <a:pt x="47" y="280"/>
                </a:cubicBezTo>
                <a:cubicBezTo>
                  <a:pt x="47" y="280"/>
                  <a:pt x="47" y="280"/>
                  <a:pt x="47" y="280"/>
                </a:cubicBezTo>
                <a:cubicBezTo>
                  <a:pt x="46" y="278"/>
                  <a:pt x="46" y="278"/>
                  <a:pt x="46" y="278"/>
                </a:cubicBezTo>
                <a:cubicBezTo>
                  <a:pt x="46" y="277"/>
                  <a:pt x="46" y="277"/>
                  <a:pt x="46" y="277"/>
                </a:cubicBezTo>
                <a:cubicBezTo>
                  <a:pt x="45" y="277"/>
                  <a:pt x="45" y="277"/>
                  <a:pt x="45" y="277"/>
                </a:cubicBezTo>
                <a:cubicBezTo>
                  <a:pt x="45" y="278"/>
                  <a:pt x="45" y="278"/>
                  <a:pt x="45" y="278"/>
                </a:cubicBezTo>
                <a:cubicBezTo>
                  <a:pt x="44" y="279"/>
                  <a:pt x="44" y="279"/>
                  <a:pt x="44" y="279"/>
                </a:cubicBezTo>
                <a:cubicBezTo>
                  <a:pt x="45" y="280"/>
                  <a:pt x="45" y="280"/>
                  <a:pt x="45" y="280"/>
                </a:cubicBezTo>
                <a:cubicBezTo>
                  <a:pt x="44" y="281"/>
                  <a:pt x="44" y="281"/>
                  <a:pt x="44" y="281"/>
                </a:cubicBezTo>
                <a:cubicBezTo>
                  <a:pt x="44" y="282"/>
                  <a:pt x="44" y="282"/>
                  <a:pt x="44" y="282"/>
                </a:cubicBezTo>
                <a:cubicBezTo>
                  <a:pt x="46" y="283"/>
                  <a:pt x="46" y="283"/>
                  <a:pt x="46" y="283"/>
                </a:cubicBezTo>
                <a:cubicBezTo>
                  <a:pt x="47" y="283"/>
                  <a:pt x="47" y="283"/>
                  <a:pt x="47" y="283"/>
                </a:cubicBezTo>
                <a:cubicBezTo>
                  <a:pt x="47" y="283"/>
                  <a:pt x="47" y="283"/>
                  <a:pt x="47" y="283"/>
                </a:cubicBezTo>
                <a:cubicBezTo>
                  <a:pt x="48" y="283"/>
                  <a:pt x="48" y="283"/>
                  <a:pt x="48" y="283"/>
                </a:cubicBezTo>
                <a:close/>
                <a:moveTo>
                  <a:pt x="43" y="292"/>
                </a:moveTo>
                <a:cubicBezTo>
                  <a:pt x="44" y="292"/>
                  <a:pt x="44" y="292"/>
                  <a:pt x="44" y="292"/>
                </a:cubicBezTo>
                <a:cubicBezTo>
                  <a:pt x="44" y="292"/>
                  <a:pt x="44" y="292"/>
                  <a:pt x="44" y="292"/>
                </a:cubicBezTo>
                <a:cubicBezTo>
                  <a:pt x="44" y="293"/>
                  <a:pt x="44" y="293"/>
                  <a:pt x="44" y="293"/>
                </a:cubicBezTo>
                <a:cubicBezTo>
                  <a:pt x="43" y="292"/>
                  <a:pt x="43" y="292"/>
                  <a:pt x="43" y="292"/>
                </a:cubicBezTo>
                <a:close/>
                <a:moveTo>
                  <a:pt x="43" y="291"/>
                </a:moveTo>
                <a:cubicBezTo>
                  <a:pt x="43" y="290"/>
                  <a:pt x="43" y="290"/>
                  <a:pt x="43" y="290"/>
                </a:cubicBezTo>
                <a:cubicBezTo>
                  <a:pt x="43" y="290"/>
                  <a:pt x="43" y="290"/>
                  <a:pt x="43" y="290"/>
                </a:cubicBezTo>
                <a:cubicBezTo>
                  <a:pt x="44" y="290"/>
                  <a:pt x="44" y="290"/>
                  <a:pt x="44" y="290"/>
                </a:cubicBezTo>
                <a:cubicBezTo>
                  <a:pt x="44" y="291"/>
                  <a:pt x="44" y="291"/>
                  <a:pt x="44" y="291"/>
                </a:cubicBezTo>
                <a:cubicBezTo>
                  <a:pt x="43" y="291"/>
                  <a:pt x="43" y="291"/>
                  <a:pt x="43" y="291"/>
                </a:cubicBezTo>
                <a:close/>
                <a:moveTo>
                  <a:pt x="68" y="297"/>
                </a:moveTo>
                <a:cubicBezTo>
                  <a:pt x="67" y="297"/>
                  <a:pt x="67" y="297"/>
                  <a:pt x="67" y="297"/>
                </a:cubicBezTo>
                <a:cubicBezTo>
                  <a:pt x="68" y="296"/>
                  <a:pt x="68" y="296"/>
                  <a:pt x="68" y="296"/>
                </a:cubicBezTo>
                <a:cubicBezTo>
                  <a:pt x="68" y="295"/>
                  <a:pt x="68" y="295"/>
                  <a:pt x="68" y="295"/>
                </a:cubicBezTo>
                <a:cubicBezTo>
                  <a:pt x="68" y="296"/>
                  <a:pt x="68" y="296"/>
                  <a:pt x="68" y="296"/>
                </a:cubicBezTo>
                <a:cubicBezTo>
                  <a:pt x="69" y="296"/>
                  <a:pt x="69" y="296"/>
                  <a:pt x="69" y="296"/>
                </a:cubicBezTo>
                <a:cubicBezTo>
                  <a:pt x="69" y="298"/>
                  <a:pt x="69" y="298"/>
                  <a:pt x="69" y="298"/>
                </a:cubicBezTo>
                <a:cubicBezTo>
                  <a:pt x="68" y="297"/>
                  <a:pt x="68" y="297"/>
                  <a:pt x="68" y="297"/>
                </a:cubicBezTo>
                <a:close/>
                <a:moveTo>
                  <a:pt x="52" y="291"/>
                </a:moveTo>
                <a:cubicBezTo>
                  <a:pt x="53" y="291"/>
                  <a:pt x="53" y="291"/>
                  <a:pt x="53" y="291"/>
                </a:cubicBezTo>
                <a:cubicBezTo>
                  <a:pt x="54" y="291"/>
                  <a:pt x="54" y="291"/>
                  <a:pt x="54" y="291"/>
                </a:cubicBezTo>
                <a:cubicBezTo>
                  <a:pt x="55" y="291"/>
                  <a:pt x="55" y="291"/>
                  <a:pt x="55" y="291"/>
                </a:cubicBezTo>
                <a:cubicBezTo>
                  <a:pt x="56" y="291"/>
                  <a:pt x="56" y="291"/>
                  <a:pt x="56" y="291"/>
                </a:cubicBezTo>
                <a:cubicBezTo>
                  <a:pt x="59" y="290"/>
                  <a:pt x="59" y="290"/>
                  <a:pt x="59" y="290"/>
                </a:cubicBezTo>
                <a:cubicBezTo>
                  <a:pt x="61" y="289"/>
                  <a:pt x="61" y="289"/>
                  <a:pt x="61" y="289"/>
                </a:cubicBezTo>
                <a:cubicBezTo>
                  <a:pt x="63" y="290"/>
                  <a:pt x="63" y="290"/>
                  <a:pt x="63" y="290"/>
                </a:cubicBezTo>
                <a:cubicBezTo>
                  <a:pt x="64" y="289"/>
                  <a:pt x="64" y="289"/>
                  <a:pt x="64" y="289"/>
                </a:cubicBezTo>
                <a:cubicBezTo>
                  <a:pt x="66" y="289"/>
                  <a:pt x="66" y="289"/>
                  <a:pt x="66" y="289"/>
                </a:cubicBezTo>
                <a:cubicBezTo>
                  <a:pt x="67" y="290"/>
                  <a:pt x="67" y="290"/>
                  <a:pt x="67" y="290"/>
                </a:cubicBezTo>
                <a:cubicBezTo>
                  <a:pt x="68" y="291"/>
                  <a:pt x="68" y="291"/>
                  <a:pt x="68" y="291"/>
                </a:cubicBezTo>
                <a:cubicBezTo>
                  <a:pt x="68" y="291"/>
                  <a:pt x="68" y="291"/>
                  <a:pt x="68" y="291"/>
                </a:cubicBezTo>
                <a:cubicBezTo>
                  <a:pt x="68" y="292"/>
                  <a:pt x="68" y="292"/>
                  <a:pt x="68" y="292"/>
                </a:cubicBezTo>
                <a:cubicBezTo>
                  <a:pt x="67" y="293"/>
                  <a:pt x="67" y="293"/>
                  <a:pt x="67" y="293"/>
                </a:cubicBezTo>
                <a:cubicBezTo>
                  <a:pt x="66" y="292"/>
                  <a:pt x="66" y="292"/>
                  <a:pt x="66" y="292"/>
                </a:cubicBezTo>
                <a:cubicBezTo>
                  <a:pt x="65" y="292"/>
                  <a:pt x="65" y="292"/>
                  <a:pt x="65" y="292"/>
                </a:cubicBezTo>
                <a:cubicBezTo>
                  <a:pt x="64" y="292"/>
                  <a:pt x="64" y="292"/>
                  <a:pt x="64" y="292"/>
                </a:cubicBezTo>
                <a:cubicBezTo>
                  <a:pt x="63" y="293"/>
                  <a:pt x="63" y="293"/>
                  <a:pt x="63" y="293"/>
                </a:cubicBezTo>
                <a:cubicBezTo>
                  <a:pt x="62" y="292"/>
                  <a:pt x="62" y="292"/>
                  <a:pt x="62" y="292"/>
                </a:cubicBezTo>
                <a:cubicBezTo>
                  <a:pt x="62" y="291"/>
                  <a:pt x="62" y="291"/>
                  <a:pt x="62" y="291"/>
                </a:cubicBezTo>
                <a:cubicBezTo>
                  <a:pt x="61" y="291"/>
                  <a:pt x="61" y="291"/>
                  <a:pt x="61" y="291"/>
                </a:cubicBezTo>
                <a:cubicBezTo>
                  <a:pt x="60" y="292"/>
                  <a:pt x="60" y="292"/>
                  <a:pt x="60" y="292"/>
                </a:cubicBezTo>
                <a:cubicBezTo>
                  <a:pt x="59" y="292"/>
                  <a:pt x="59" y="292"/>
                  <a:pt x="59" y="292"/>
                </a:cubicBezTo>
                <a:cubicBezTo>
                  <a:pt x="58" y="292"/>
                  <a:pt x="58" y="292"/>
                  <a:pt x="58" y="292"/>
                </a:cubicBezTo>
                <a:cubicBezTo>
                  <a:pt x="59" y="293"/>
                  <a:pt x="59" y="293"/>
                  <a:pt x="59" y="293"/>
                </a:cubicBezTo>
                <a:cubicBezTo>
                  <a:pt x="59" y="293"/>
                  <a:pt x="59" y="293"/>
                  <a:pt x="59" y="293"/>
                </a:cubicBezTo>
                <a:cubicBezTo>
                  <a:pt x="61" y="293"/>
                  <a:pt x="61" y="293"/>
                  <a:pt x="61" y="293"/>
                </a:cubicBezTo>
                <a:cubicBezTo>
                  <a:pt x="61" y="293"/>
                  <a:pt x="61" y="293"/>
                  <a:pt x="61" y="293"/>
                </a:cubicBezTo>
                <a:cubicBezTo>
                  <a:pt x="61" y="294"/>
                  <a:pt x="61" y="294"/>
                  <a:pt x="61" y="294"/>
                </a:cubicBezTo>
                <a:cubicBezTo>
                  <a:pt x="62" y="294"/>
                  <a:pt x="62" y="294"/>
                  <a:pt x="62" y="294"/>
                </a:cubicBezTo>
                <a:cubicBezTo>
                  <a:pt x="63" y="295"/>
                  <a:pt x="63" y="295"/>
                  <a:pt x="63" y="295"/>
                </a:cubicBezTo>
                <a:cubicBezTo>
                  <a:pt x="63" y="296"/>
                  <a:pt x="63" y="296"/>
                  <a:pt x="63" y="296"/>
                </a:cubicBezTo>
                <a:cubicBezTo>
                  <a:pt x="63" y="296"/>
                  <a:pt x="63" y="296"/>
                  <a:pt x="63" y="296"/>
                </a:cubicBezTo>
                <a:cubicBezTo>
                  <a:pt x="61" y="295"/>
                  <a:pt x="61" y="295"/>
                  <a:pt x="61" y="295"/>
                </a:cubicBezTo>
                <a:cubicBezTo>
                  <a:pt x="60" y="295"/>
                  <a:pt x="60" y="295"/>
                  <a:pt x="60" y="295"/>
                </a:cubicBezTo>
                <a:cubicBezTo>
                  <a:pt x="59" y="295"/>
                  <a:pt x="59" y="295"/>
                  <a:pt x="59" y="295"/>
                </a:cubicBezTo>
                <a:cubicBezTo>
                  <a:pt x="58" y="295"/>
                  <a:pt x="58" y="295"/>
                  <a:pt x="58" y="295"/>
                </a:cubicBezTo>
                <a:cubicBezTo>
                  <a:pt x="58" y="294"/>
                  <a:pt x="58" y="294"/>
                  <a:pt x="58" y="294"/>
                </a:cubicBezTo>
                <a:cubicBezTo>
                  <a:pt x="57" y="294"/>
                  <a:pt x="57" y="294"/>
                  <a:pt x="57" y="294"/>
                </a:cubicBezTo>
                <a:cubicBezTo>
                  <a:pt x="57" y="294"/>
                  <a:pt x="57" y="294"/>
                  <a:pt x="57" y="294"/>
                </a:cubicBezTo>
                <a:cubicBezTo>
                  <a:pt x="58" y="295"/>
                  <a:pt x="58" y="295"/>
                  <a:pt x="58" y="295"/>
                </a:cubicBezTo>
                <a:cubicBezTo>
                  <a:pt x="57" y="296"/>
                  <a:pt x="57" y="296"/>
                  <a:pt x="57" y="296"/>
                </a:cubicBezTo>
                <a:cubicBezTo>
                  <a:pt x="57" y="296"/>
                  <a:pt x="57" y="296"/>
                  <a:pt x="57" y="296"/>
                </a:cubicBezTo>
                <a:cubicBezTo>
                  <a:pt x="55" y="295"/>
                  <a:pt x="55" y="295"/>
                  <a:pt x="55" y="295"/>
                </a:cubicBezTo>
                <a:cubicBezTo>
                  <a:pt x="55" y="296"/>
                  <a:pt x="55" y="296"/>
                  <a:pt x="55" y="296"/>
                </a:cubicBezTo>
                <a:cubicBezTo>
                  <a:pt x="54" y="295"/>
                  <a:pt x="54" y="295"/>
                  <a:pt x="54" y="295"/>
                </a:cubicBezTo>
                <a:cubicBezTo>
                  <a:pt x="53" y="295"/>
                  <a:pt x="53" y="295"/>
                  <a:pt x="53" y="295"/>
                </a:cubicBezTo>
                <a:cubicBezTo>
                  <a:pt x="54" y="294"/>
                  <a:pt x="54" y="294"/>
                  <a:pt x="54" y="294"/>
                </a:cubicBezTo>
                <a:cubicBezTo>
                  <a:pt x="53" y="294"/>
                  <a:pt x="53" y="294"/>
                  <a:pt x="53" y="294"/>
                </a:cubicBezTo>
                <a:cubicBezTo>
                  <a:pt x="52" y="294"/>
                  <a:pt x="52" y="294"/>
                  <a:pt x="52" y="294"/>
                </a:cubicBezTo>
                <a:cubicBezTo>
                  <a:pt x="52" y="293"/>
                  <a:pt x="52" y="293"/>
                  <a:pt x="52" y="293"/>
                </a:cubicBezTo>
                <a:cubicBezTo>
                  <a:pt x="53" y="293"/>
                  <a:pt x="53" y="293"/>
                  <a:pt x="53" y="293"/>
                </a:cubicBezTo>
                <a:cubicBezTo>
                  <a:pt x="55" y="292"/>
                  <a:pt x="55" y="292"/>
                  <a:pt x="55" y="292"/>
                </a:cubicBezTo>
                <a:cubicBezTo>
                  <a:pt x="54" y="291"/>
                  <a:pt x="54" y="291"/>
                  <a:pt x="54" y="291"/>
                </a:cubicBezTo>
                <a:cubicBezTo>
                  <a:pt x="53" y="292"/>
                  <a:pt x="53" y="292"/>
                  <a:pt x="53" y="292"/>
                </a:cubicBezTo>
                <a:lnTo>
                  <a:pt x="52" y="291"/>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1" name="Freeform 199">
            <a:extLst>
              <a:ext uri="{FF2B5EF4-FFF2-40B4-BE49-F238E27FC236}">
                <a16:creationId xmlns:a16="http://schemas.microsoft.com/office/drawing/2014/main" id="{BC8622D6-FC47-4739-4F3D-0AC22DC4D758}"/>
              </a:ext>
            </a:extLst>
          </p:cNvPr>
          <p:cNvSpPr>
            <a:spLocks/>
          </p:cNvSpPr>
          <p:nvPr userDrawn="1"/>
        </p:nvSpPr>
        <p:spPr bwMode="auto">
          <a:xfrm>
            <a:off x="9349765" y="8305085"/>
            <a:ext cx="9525" cy="9526"/>
          </a:xfrm>
          <a:custGeom>
            <a:avLst/>
            <a:gdLst>
              <a:gd name="T0" fmla="*/ 0 w 3"/>
              <a:gd name="T1" fmla="*/ 0 h 3"/>
              <a:gd name="T2" fmla="*/ 0 w 3"/>
              <a:gd name="T3" fmla="*/ 3 h 3"/>
              <a:gd name="T4" fmla="*/ 3 w 3"/>
              <a:gd name="T5" fmla="*/ 3 h 3"/>
              <a:gd name="T6" fmla="*/ 0 w 3"/>
              <a:gd name="T7" fmla="*/ 0 h 3"/>
            </a:gdLst>
            <a:ahLst/>
            <a:cxnLst>
              <a:cxn ang="0">
                <a:pos x="T0" y="T1"/>
              </a:cxn>
              <a:cxn ang="0">
                <a:pos x="T2" y="T3"/>
              </a:cxn>
              <a:cxn ang="0">
                <a:pos x="T4" y="T5"/>
              </a:cxn>
              <a:cxn ang="0">
                <a:pos x="T6" y="T7"/>
              </a:cxn>
            </a:cxnLst>
            <a:rect l="0" t="0" r="r" b="b"/>
            <a:pathLst>
              <a:path w="3" h="3">
                <a:moveTo>
                  <a:pt x="0" y="0"/>
                </a:moveTo>
                <a:lnTo>
                  <a:pt x="0" y="3"/>
                </a:lnTo>
                <a:lnTo>
                  <a:pt x="3" y="3"/>
                </a:lnTo>
                <a:lnTo>
                  <a:pt x="0"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2" name="Freeform 200">
            <a:extLst>
              <a:ext uri="{FF2B5EF4-FFF2-40B4-BE49-F238E27FC236}">
                <a16:creationId xmlns:a16="http://schemas.microsoft.com/office/drawing/2014/main" id="{371BB57B-7889-6AF9-26F3-B9FC21E56906}"/>
              </a:ext>
            </a:extLst>
          </p:cNvPr>
          <p:cNvSpPr>
            <a:spLocks noEditPoints="1"/>
          </p:cNvSpPr>
          <p:nvPr userDrawn="1"/>
        </p:nvSpPr>
        <p:spPr bwMode="auto">
          <a:xfrm>
            <a:off x="9378336" y="8314611"/>
            <a:ext cx="38100" cy="57150"/>
          </a:xfrm>
          <a:custGeom>
            <a:avLst/>
            <a:gdLst>
              <a:gd name="T0" fmla="*/ 12 w 12"/>
              <a:gd name="T1" fmla="*/ 12 h 18"/>
              <a:gd name="T2" fmla="*/ 9 w 12"/>
              <a:gd name="T3" fmla="*/ 15 h 18"/>
              <a:gd name="T4" fmla="*/ 12 w 12"/>
              <a:gd name="T5" fmla="*/ 18 h 18"/>
              <a:gd name="T6" fmla="*/ 12 w 12"/>
              <a:gd name="T7" fmla="*/ 12 h 18"/>
              <a:gd name="T8" fmla="*/ 12 w 12"/>
              <a:gd name="T9" fmla="*/ 12 h 18"/>
              <a:gd name="T10" fmla="*/ 9 w 12"/>
              <a:gd name="T11" fmla="*/ 0 h 18"/>
              <a:gd name="T12" fmla="*/ 6 w 12"/>
              <a:gd name="T13" fmla="*/ 3 h 18"/>
              <a:gd name="T14" fmla="*/ 9 w 12"/>
              <a:gd name="T15" fmla="*/ 9 h 18"/>
              <a:gd name="T16" fmla="*/ 12 w 12"/>
              <a:gd name="T17" fmla="*/ 9 h 18"/>
              <a:gd name="T18" fmla="*/ 9 w 12"/>
              <a:gd name="T19" fmla="*/ 0 h 18"/>
              <a:gd name="T20" fmla="*/ 9 w 12"/>
              <a:gd name="T21" fmla="*/ 0 h 18"/>
              <a:gd name="T22" fmla="*/ 3 w 12"/>
              <a:gd name="T23" fmla="*/ 6 h 18"/>
              <a:gd name="T24" fmla="*/ 6 w 12"/>
              <a:gd name="T25" fmla="*/ 9 h 18"/>
              <a:gd name="T26" fmla="*/ 3 w 12"/>
              <a:gd name="T27" fmla="*/ 15 h 18"/>
              <a:gd name="T28" fmla="*/ 0 w 12"/>
              <a:gd name="T29" fmla="*/ 9 h 18"/>
              <a:gd name="T30" fmla="*/ 0 w 12"/>
              <a:gd name="T31" fmla="*/ 6 h 18"/>
              <a:gd name="T32" fmla="*/ 3 w 12"/>
              <a:gd name="T33"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8">
                <a:moveTo>
                  <a:pt x="12" y="12"/>
                </a:moveTo>
                <a:lnTo>
                  <a:pt x="9" y="15"/>
                </a:lnTo>
                <a:lnTo>
                  <a:pt x="12" y="18"/>
                </a:lnTo>
                <a:lnTo>
                  <a:pt x="12" y="12"/>
                </a:lnTo>
                <a:lnTo>
                  <a:pt x="12" y="12"/>
                </a:lnTo>
                <a:close/>
                <a:moveTo>
                  <a:pt x="9" y="0"/>
                </a:moveTo>
                <a:lnTo>
                  <a:pt x="6" y="3"/>
                </a:lnTo>
                <a:lnTo>
                  <a:pt x="9" y="9"/>
                </a:lnTo>
                <a:lnTo>
                  <a:pt x="12" y="9"/>
                </a:lnTo>
                <a:lnTo>
                  <a:pt x="9" y="0"/>
                </a:lnTo>
                <a:lnTo>
                  <a:pt x="9" y="0"/>
                </a:lnTo>
                <a:close/>
                <a:moveTo>
                  <a:pt x="3" y="6"/>
                </a:moveTo>
                <a:lnTo>
                  <a:pt x="6" y="9"/>
                </a:lnTo>
                <a:lnTo>
                  <a:pt x="3" y="15"/>
                </a:lnTo>
                <a:lnTo>
                  <a:pt x="0" y="9"/>
                </a:lnTo>
                <a:lnTo>
                  <a:pt x="0" y="6"/>
                </a:lnTo>
                <a:lnTo>
                  <a:pt x="3" y="6"/>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3" name="Freeform 201">
            <a:extLst>
              <a:ext uri="{FF2B5EF4-FFF2-40B4-BE49-F238E27FC236}">
                <a16:creationId xmlns:a16="http://schemas.microsoft.com/office/drawing/2014/main" id="{017CC1B0-9632-0826-888B-8F1915141D17}"/>
              </a:ext>
            </a:extLst>
          </p:cNvPr>
          <p:cNvSpPr>
            <a:spLocks/>
          </p:cNvSpPr>
          <p:nvPr userDrawn="1"/>
        </p:nvSpPr>
        <p:spPr bwMode="auto">
          <a:xfrm>
            <a:off x="9397390" y="8384456"/>
            <a:ext cx="9525" cy="28576"/>
          </a:xfrm>
          <a:custGeom>
            <a:avLst/>
            <a:gdLst>
              <a:gd name="T0" fmla="*/ 0 w 1"/>
              <a:gd name="T1" fmla="*/ 0 h 3"/>
              <a:gd name="T2" fmla="*/ 1 w 1"/>
              <a:gd name="T3" fmla="*/ 1 h 3"/>
              <a:gd name="T4" fmla="*/ 1 w 1"/>
              <a:gd name="T5" fmla="*/ 3 h 3"/>
              <a:gd name="T6" fmla="*/ 0 w 1"/>
              <a:gd name="T7" fmla="*/ 3 h 3"/>
              <a:gd name="T8" fmla="*/ 0 w 1"/>
              <a:gd name="T9" fmla="*/ 1 h 3"/>
              <a:gd name="T10" fmla="*/ 0 w 1"/>
              <a:gd name="T11" fmla="*/ 0 h 3"/>
            </a:gdLst>
            <a:ahLst/>
            <a:cxnLst>
              <a:cxn ang="0">
                <a:pos x="T0" y="T1"/>
              </a:cxn>
              <a:cxn ang="0">
                <a:pos x="T2" y="T3"/>
              </a:cxn>
              <a:cxn ang="0">
                <a:pos x="T4" y="T5"/>
              </a:cxn>
              <a:cxn ang="0">
                <a:pos x="T6" y="T7"/>
              </a:cxn>
              <a:cxn ang="0">
                <a:pos x="T8" y="T9"/>
              </a:cxn>
              <a:cxn ang="0">
                <a:pos x="T10" y="T11"/>
              </a:cxn>
            </a:cxnLst>
            <a:rect l="0" t="0" r="r" b="b"/>
            <a:pathLst>
              <a:path w="1" h="3">
                <a:moveTo>
                  <a:pt x="0" y="0"/>
                </a:moveTo>
                <a:cubicBezTo>
                  <a:pt x="1" y="1"/>
                  <a:pt x="1" y="1"/>
                  <a:pt x="1" y="1"/>
                </a:cubicBezTo>
                <a:cubicBezTo>
                  <a:pt x="1" y="3"/>
                  <a:pt x="1" y="3"/>
                  <a:pt x="1" y="3"/>
                </a:cubicBezTo>
                <a:cubicBezTo>
                  <a:pt x="0" y="3"/>
                  <a:pt x="0" y="3"/>
                  <a:pt x="0" y="3"/>
                </a:cubicBezTo>
                <a:cubicBezTo>
                  <a:pt x="0" y="1"/>
                  <a:pt x="0" y="1"/>
                  <a:pt x="0" y="1"/>
                </a:cubicBezTo>
                <a:cubicBezTo>
                  <a:pt x="0" y="1"/>
                  <a:pt x="1" y="0"/>
                  <a:pt x="0" y="0"/>
                </a:cubicBez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4" name="Freeform 202">
            <a:extLst>
              <a:ext uri="{FF2B5EF4-FFF2-40B4-BE49-F238E27FC236}">
                <a16:creationId xmlns:a16="http://schemas.microsoft.com/office/drawing/2014/main" id="{53D89D10-7854-3228-CCA2-401329FC8AA3}"/>
              </a:ext>
            </a:extLst>
          </p:cNvPr>
          <p:cNvSpPr>
            <a:spLocks noEditPoints="1"/>
          </p:cNvSpPr>
          <p:nvPr userDrawn="1"/>
        </p:nvSpPr>
        <p:spPr bwMode="auto">
          <a:xfrm>
            <a:off x="9397388" y="8432083"/>
            <a:ext cx="41275" cy="88902"/>
          </a:xfrm>
          <a:custGeom>
            <a:avLst/>
            <a:gdLst>
              <a:gd name="T0" fmla="*/ 10 w 13"/>
              <a:gd name="T1" fmla="*/ 16 h 28"/>
              <a:gd name="T2" fmla="*/ 3 w 13"/>
              <a:gd name="T3" fmla="*/ 22 h 28"/>
              <a:gd name="T4" fmla="*/ 6 w 13"/>
              <a:gd name="T5" fmla="*/ 25 h 28"/>
              <a:gd name="T6" fmla="*/ 10 w 13"/>
              <a:gd name="T7" fmla="*/ 28 h 28"/>
              <a:gd name="T8" fmla="*/ 10 w 13"/>
              <a:gd name="T9" fmla="*/ 22 h 28"/>
              <a:gd name="T10" fmla="*/ 10 w 13"/>
              <a:gd name="T11" fmla="*/ 16 h 28"/>
              <a:gd name="T12" fmla="*/ 10 w 13"/>
              <a:gd name="T13" fmla="*/ 16 h 28"/>
              <a:gd name="T14" fmla="*/ 0 w 13"/>
              <a:gd name="T15" fmla="*/ 0 h 28"/>
              <a:gd name="T16" fmla="*/ 10 w 13"/>
              <a:gd name="T17" fmla="*/ 0 h 28"/>
              <a:gd name="T18" fmla="*/ 13 w 13"/>
              <a:gd name="T19" fmla="*/ 10 h 28"/>
              <a:gd name="T20" fmla="*/ 10 w 13"/>
              <a:gd name="T21" fmla="*/ 13 h 28"/>
              <a:gd name="T22" fmla="*/ 6 w 13"/>
              <a:gd name="T23" fmla="*/ 10 h 28"/>
              <a:gd name="T24" fmla="*/ 6 w 13"/>
              <a:gd name="T25" fmla="*/ 10 h 28"/>
              <a:gd name="T26" fmla="*/ 6 w 13"/>
              <a:gd name="T27" fmla="*/ 7 h 28"/>
              <a:gd name="T28" fmla="*/ 0 w 13"/>
              <a:gd name="T29" fmla="*/ 3 h 28"/>
              <a:gd name="T30" fmla="*/ 0 w 13"/>
              <a:gd name="T3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28">
                <a:moveTo>
                  <a:pt x="10" y="16"/>
                </a:moveTo>
                <a:lnTo>
                  <a:pt x="3" y="22"/>
                </a:lnTo>
                <a:lnTo>
                  <a:pt x="6" y="25"/>
                </a:lnTo>
                <a:lnTo>
                  <a:pt x="10" y="28"/>
                </a:lnTo>
                <a:lnTo>
                  <a:pt x="10" y="22"/>
                </a:lnTo>
                <a:lnTo>
                  <a:pt x="10" y="16"/>
                </a:lnTo>
                <a:lnTo>
                  <a:pt x="10" y="16"/>
                </a:lnTo>
                <a:close/>
                <a:moveTo>
                  <a:pt x="0" y="0"/>
                </a:moveTo>
                <a:lnTo>
                  <a:pt x="10" y="0"/>
                </a:lnTo>
                <a:lnTo>
                  <a:pt x="13" y="10"/>
                </a:lnTo>
                <a:lnTo>
                  <a:pt x="10" y="13"/>
                </a:lnTo>
                <a:lnTo>
                  <a:pt x="6" y="10"/>
                </a:lnTo>
                <a:lnTo>
                  <a:pt x="6" y="10"/>
                </a:lnTo>
                <a:lnTo>
                  <a:pt x="6" y="7"/>
                </a:lnTo>
                <a:lnTo>
                  <a:pt x="0" y="3"/>
                </a:lnTo>
                <a:lnTo>
                  <a:pt x="0"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5" name="Freeform 203">
            <a:extLst>
              <a:ext uri="{FF2B5EF4-FFF2-40B4-BE49-F238E27FC236}">
                <a16:creationId xmlns:a16="http://schemas.microsoft.com/office/drawing/2014/main" id="{22F856E7-7FE7-D54C-3C13-F6428F97EEA2}"/>
              </a:ext>
            </a:extLst>
          </p:cNvPr>
          <p:cNvSpPr>
            <a:spLocks/>
          </p:cNvSpPr>
          <p:nvPr userDrawn="1"/>
        </p:nvSpPr>
        <p:spPr bwMode="auto">
          <a:xfrm>
            <a:off x="9508504" y="8533685"/>
            <a:ext cx="19049" cy="19050"/>
          </a:xfrm>
          <a:custGeom>
            <a:avLst/>
            <a:gdLst>
              <a:gd name="T0" fmla="*/ 3 w 6"/>
              <a:gd name="T1" fmla="*/ 0 h 6"/>
              <a:gd name="T2" fmla="*/ 0 w 6"/>
              <a:gd name="T3" fmla="*/ 3 h 6"/>
              <a:gd name="T4" fmla="*/ 3 w 6"/>
              <a:gd name="T5" fmla="*/ 6 h 6"/>
              <a:gd name="T6" fmla="*/ 6 w 6"/>
              <a:gd name="T7" fmla="*/ 6 h 6"/>
              <a:gd name="T8" fmla="*/ 6 w 6"/>
              <a:gd name="T9" fmla="*/ 3 h 6"/>
              <a:gd name="T10" fmla="*/ 3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3" y="0"/>
                </a:moveTo>
                <a:lnTo>
                  <a:pt x="0" y="3"/>
                </a:lnTo>
                <a:lnTo>
                  <a:pt x="3" y="6"/>
                </a:lnTo>
                <a:lnTo>
                  <a:pt x="6" y="6"/>
                </a:lnTo>
                <a:lnTo>
                  <a:pt x="6" y="3"/>
                </a:lnTo>
                <a:lnTo>
                  <a:pt x="3"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6" name="Freeform 204">
            <a:extLst>
              <a:ext uri="{FF2B5EF4-FFF2-40B4-BE49-F238E27FC236}">
                <a16:creationId xmlns:a16="http://schemas.microsoft.com/office/drawing/2014/main" id="{030E276F-F0D1-B967-8A8B-53C0050D74E0}"/>
              </a:ext>
            </a:extLst>
          </p:cNvPr>
          <p:cNvSpPr>
            <a:spLocks noEditPoints="1"/>
          </p:cNvSpPr>
          <p:nvPr userDrawn="1"/>
        </p:nvSpPr>
        <p:spPr bwMode="auto">
          <a:xfrm>
            <a:off x="9368815" y="8520980"/>
            <a:ext cx="47623" cy="101600"/>
          </a:xfrm>
          <a:custGeom>
            <a:avLst/>
            <a:gdLst>
              <a:gd name="T0" fmla="*/ 3 w 5"/>
              <a:gd name="T1" fmla="*/ 9 h 10"/>
              <a:gd name="T2" fmla="*/ 2 w 5"/>
              <a:gd name="T3" fmla="*/ 8 h 10"/>
              <a:gd name="T4" fmla="*/ 1 w 5"/>
              <a:gd name="T5" fmla="*/ 8 h 10"/>
              <a:gd name="T6" fmla="*/ 0 w 5"/>
              <a:gd name="T7" fmla="*/ 10 h 10"/>
              <a:gd name="T8" fmla="*/ 2 w 5"/>
              <a:gd name="T9" fmla="*/ 10 h 10"/>
              <a:gd name="T10" fmla="*/ 3 w 5"/>
              <a:gd name="T11" fmla="*/ 9 h 10"/>
              <a:gd name="T12" fmla="*/ 3 w 5"/>
              <a:gd name="T13" fmla="*/ 6 h 10"/>
              <a:gd name="T14" fmla="*/ 4 w 5"/>
              <a:gd name="T15" fmla="*/ 7 h 10"/>
              <a:gd name="T16" fmla="*/ 3 w 5"/>
              <a:gd name="T17" fmla="*/ 7 h 10"/>
              <a:gd name="T18" fmla="*/ 3 w 5"/>
              <a:gd name="T19" fmla="*/ 6 h 10"/>
              <a:gd name="T20" fmla="*/ 4 w 5"/>
              <a:gd name="T21" fmla="*/ 0 h 10"/>
              <a:gd name="T22" fmla="*/ 5 w 5"/>
              <a:gd name="T23" fmla="*/ 2 h 10"/>
              <a:gd name="T24" fmla="*/ 4 w 5"/>
              <a:gd name="T25" fmla="*/ 4 h 10"/>
              <a:gd name="T26" fmla="*/ 4 w 5"/>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0">
                <a:moveTo>
                  <a:pt x="3" y="9"/>
                </a:moveTo>
                <a:cubicBezTo>
                  <a:pt x="2" y="8"/>
                  <a:pt x="2" y="8"/>
                  <a:pt x="2" y="8"/>
                </a:cubicBezTo>
                <a:cubicBezTo>
                  <a:pt x="1" y="8"/>
                  <a:pt x="1" y="8"/>
                  <a:pt x="1" y="8"/>
                </a:cubicBezTo>
                <a:cubicBezTo>
                  <a:pt x="0" y="10"/>
                  <a:pt x="0" y="10"/>
                  <a:pt x="0" y="10"/>
                </a:cubicBezTo>
                <a:cubicBezTo>
                  <a:pt x="2" y="10"/>
                  <a:pt x="2" y="10"/>
                  <a:pt x="2" y="10"/>
                </a:cubicBezTo>
                <a:cubicBezTo>
                  <a:pt x="3" y="9"/>
                  <a:pt x="3" y="9"/>
                  <a:pt x="3" y="9"/>
                </a:cubicBezTo>
                <a:close/>
                <a:moveTo>
                  <a:pt x="3" y="6"/>
                </a:moveTo>
                <a:cubicBezTo>
                  <a:pt x="4" y="7"/>
                  <a:pt x="4" y="7"/>
                  <a:pt x="4" y="7"/>
                </a:cubicBezTo>
                <a:cubicBezTo>
                  <a:pt x="3" y="7"/>
                  <a:pt x="3" y="7"/>
                  <a:pt x="3" y="7"/>
                </a:cubicBezTo>
                <a:cubicBezTo>
                  <a:pt x="3" y="7"/>
                  <a:pt x="3" y="6"/>
                  <a:pt x="3" y="6"/>
                </a:cubicBezTo>
                <a:close/>
                <a:moveTo>
                  <a:pt x="4" y="0"/>
                </a:moveTo>
                <a:cubicBezTo>
                  <a:pt x="5" y="2"/>
                  <a:pt x="5" y="2"/>
                  <a:pt x="5" y="2"/>
                </a:cubicBezTo>
                <a:cubicBezTo>
                  <a:pt x="4" y="4"/>
                  <a:pt x="4" y="4"/>
                  <a:pt x="4" y="4"/>
                </a:cubicBezTo>
                <a:lnTo>
                  <a:pt x="4"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7" name="Freeform 206">
            <a:extLst>
              <a:ext uri="{FF2B5EF4-FFF2-40B4-BE49-F238E27FC236}">
                <a16:creationId xmlns:a16="http://schemas.microsoft.com/office/drawing/2014/main" id="{9A5B5C91-D579-9050-0555-59DDAEBAE129}"/>
              </a:ext>
            </a:extLst>
          </p:cNvPr>
          <p:cNvSpPr>
            <a:spLocks noEditPoints="1"/>
          </p:cNvSpPr>
          <p:nvPr userDrawn="1"/>
        </p:nvSpPr>
        <p:spPr bwMode="auto">
          <a:xfrm>
            <a:off x="9359290" y="8670208"/>
            <a:ext cx="88896" cy="79376"/>
          </a:xfrm>
          <a:custGeom>
            <a:avLst/>
            <a:gdLst>
              <a:gd name="T0" fmla="*/ 22 w 28"/>
              <a:gd name="T1" fmla="*/ 3 h 25"/>
              <a:gd name="T2" fmla="*/ 28 w 28"/>
              <a:gd name="T3" fmla="*/ 0 h 25"/>
              <a:gd name="T4" fmla="*/ 25 w 28"/>
              <a:gd name="T5" fmla="*/ 3 h 25"/>
              <a:gd name="T6" fmla="*/ 22 w 28"/>
              <a:gd name="T7" fmla="*/ 3 h 25"/>
              <a:gd name="T8" fmla="*/ 22 w 28"/>
              <a:gd name="T9" fmla="*/ 3 h 25"/>
              <a:gd name="T10" fmla="*/ 22 w 28"/>
              <a:gd name="T11" fmla="*/ 7 h 25"/>
              <a:gd name="T12" fmla="*/ 12 w 28"/>
              <a:gd name="T13" fmla="*/ 10 h 25"/>
              <a:gd name="T14" fmla="*/ 9 w 28"/>
              <a:gd name="T15" fmla="*/ 7 h 25"/>
              <a:gd name="T16" fmla="*/ 6 w 28"/>
              <a:gd name="T17" fmla="*/ 10 h 25"/>
              <a:gd name="T18" fmla="*/ 3 w 28"/>
              <a:gd name="T19" fmla="*/ 10 h 25"/>
              <a:gd name="T20" fmla="*/ 9 w 28"/>
              <a:gd name="T21" fmla="*/ 13 h 25"/>
              <a:gd name="T22" fmla="*/ 9 w 28"/>
              <a:gd name="T23" fmla="*/ 19 h 25"/>
              <a:gd name="T24" fmla="*/ 6 w 28"/>
              <a:gd name="T25" fmla="*/ 22 h 25"/>
              <a:gd name="T26" fmla="*/ 0 w 28"/>
              <a:gd name="T27" fmla="*/ 22 h 25"/>
              <a:gd name="T28" fmla="*/ 6 w 28"/>
              <a:gd name="T29" fmla="*/ 25 h 25"/>
              <a:gd name="T30" fmla="*/ 15 w 28"/>
              <a:gd name="T31" fmla="*/ 22 h 25"/>
              <a:gd name="T32" fmla="*/ 18 w 28"/>
              <a:gd name="T33" fmla="*/ 19 h 25"/>
              <a:gd name="T34" fmla="*/ 18 w 28"/>
              <a:gd name="T35" fmla="*/ 16 h 25"/>
              <a:gd name="T36" fmla="*/ 15 w 28"/>
              <a:gd name="T37" fmla="*/ 13 h 25"/>
              <a:gd name="T38" fmla="*/ 22 w 28"/>
              <a:gd name="T39" fmla="*/ 7 h 25"/>
              <a:gd name="T40" fmla="*/ 22 w 28"/>
              <a:gd name="T41"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25">
                <a:moveTo>
                  <a:pt x="22" y="3"/>
                </a:moveTo>
                <a:lnTo>
                  <a:pt x="28" y="0"/>
                </a:lnTo>
                <a:lnTo>
                  <a:pt x="25" y="3"/>
                </a:lnTo>
                <a:lnTo>
                  <a:pt x="22" y="3"/>
                </a:lnTo>
                <a:lnTo>
                  <a:pt x="22" y="3"/>
                </a:lnTo>
                <a:close/>
                <a:moveTo>
                  <a:pt x="22" y="7"/>
                </a:moveTo>
                <a:lnTo>
                  <a:pt x="12" y="10"/>
                </a:lnTo>
                <a:lnTo>
                  <a:pt x="9" y="7"/>
                </a:lnTo>
                <a:lnTo>
                  <a:pt x="6" y="10"/>
                </a:lnTo>
                <a:lnTo>
                  <a:pt x="3" y="10"/>
                </a:lnTo>
                <a:lnTo>
                  <a:pt x="9" y="13"/>
                </a:lnTo>
                <a:lnTo>
                  <a:pt x="9" y="19"/>
                </a:lnTo>
                <a:lnTo>
                  <a:pt x="6" y="22"/>
                </a:lnTo>
                <a:lnTo>
                  <a:pt x="0" y="22"/>
                </a:lnTo>
                <a:lnTo>
                  <a:pt x="6" y="25"/>
                </a:lnTo>
                <a:lnTo>
                  <a:pt x="15" y="22"/>
                </a:lnTo>
                <a:lnTo>
                  <a:pt x="18" y="19"/>
                </a:lnTo>
                <a:lnTo>
                  <a:pt x="18" y="16"/>
                </a:lnTo>
                <a:lnTo>
                  <a:pt x="15" y="13"/>
                </a:lnTo>
                <a:lnTo>
                  <a:pt x="22" y="7"/>
                </a:lnTo>
                <a:lnTo>
                  <a:pt x="22" y="7"/>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10" name="TextBox 1809">
            <a:extLst>
              <a:ext uri="{FF2B5EF4-FFF2-40B4-BE49-F238E27FC236}">
                <a16:creationId xmlns:a16="http://schemas.microsoft.com/office/drawing/2014/main" id="{5C9C8613-F3BE-4825-58D3-4A2EE0066D6E}"/>
              </a:ext>
            </a:extLst>
          </p:cNvPr>
          <p:cNvSpPr txBox="1"/>
          <p:nvPr userDrawn="1"/>
        </p:nvSpPr>
        <p:spPr>
          <a:xfrm>
            <a:off x="22416463" y="13226644"/>
            <a:ext cx="1872086" cy="400110"/>
          </a:xfrm>
          <a:prstGeom prst="rect">
            <a:avLst/>
          </a:prstGeom>
          <a:noFill/>
        </p:spPr>
        <p:txBody>
          <a:bodyPr wrap="square" rtlCol="0" anchor="b">
            <a:spAutoFit/>
          </a:bodyPr>
          <a:lstStyle/>
          <a:p>
            <a:pPr marL="0" marR="0" lvl="0" indent="0" algn="r" defTabSz="1828573" rtl="0" eaLnBrk="1" fontAlgn="auto" latinLnBrk="0" hangingPunct="1">
              <a:lnSpc>
                <a:spcPct val="100000"/>
              </a:lnSpc>
              <a:spcBef>
                <a:spcPts val="0"/>
              </a:spcBef>
              <a:spcAft>
                <a:spcPts val="0"/>
              </a:spcAft>
              <a:buClrTx/>
              <a:buSzTx/>
              <a:buFontTx/>
              <a:buNone/>
              <a:tabLst/>
              <a:defRPr/>
            </a:pPr>
            <a:fld id="{6CE035FB-656D-BE4C-9C54-3AFE6E724348}" type="slidenum">
              <a:rPr kumimoji="0" lang="en-GB" sz="2000" b="0" i="0" u="none" strike="noStrike" kern="1200" cap="none" spc="0" normalizeH="0" baseline="0" noProof="0" smtClean="0">
                <a:ln>
                  <a:noFill/>
                </a:ln>
                <a:solidFill>
                  <a:srgbClr val="000000"/>
                </a:solidFill>
                <a:effectLst/>
                <a:uLnTx/>
                <a:uFillTx/>
                <a:latin typeface="Noto IKEA Latin" panose="020B0502040504020204" pitchFamily="34" charset="0"/>
                <a:ea typeface="+mn-ea"/>
                <a:cs typeface="+mn-cs"/>
              </a:rPr>
              <a:pPr marL="0" marR="0" lvl="0" indent="0" algn="r" defTabSz="1828573" rtl="0" eaLnBrk="1" fontAlgn="auto" latinLnBrk="0" hangingPunct="1">
                <a:lnSpc>
                  <a:spcPct val="100000"/>
                </a:lnSpc>
                <a:spcBef>
                  <a:spcPts val="0"/>
                </a:spcBef>
                <a:spcAft>
                  <a:spcPts val="0"/>
                </a:spcAft>
                <a:buClrTx/>
                <a:buSzTx/>
                <a:buFontTx/>
                <a:buNone/>
                <a:tabLst/>
                <a:defRPr/>
              </a:pPr>
              <a:t>‹#›</a:t>
            </a:fld>
            <a:endParaRPr kumimoji="0" lang="en-GB" sz="2000" b="0" i="0" u="none" strike="noStrike" kern="1200" cap="none" spc="0" normalizeH="0" baseline="0" noProof="0">
              <a:ln>
                <a:noFill/>
              </a:ln>
              <a:solidFill>
                <a:srgbClr val="000000"/>
              </a:solidFill>
              <a:effectLst/>
              <a:uLnTx/>
              <a:uFillTx/>
              <a:latin typeface="Noto IKEA Latin" panose="020B0502040504020204" pitchFamily="34" charset="0"/>
              <a:ea typeface="+mn-ea"/>
              <a:cs typeface="+mn-cs"/>
            </a:endParaRPr>
          </a:p>
        </p:txBody>
      </p:sp>
    </p:spTree>
    <p:extLst>
      <p:ext uri="{BB962C8B-B14F-4D97-AF65-F5344CB8AC3E}">
        <p14:creationId xmlns:p14="http://schemas.microsoft.com/office/powerpoint/2010/main" val="293198385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imeline a">
    <p:spTree>
      <p:nvGrpSpPr>
        <p:cNvPr id="1" name=""/>
        <p:cNvGrpSpPr/>
        <p:nvPr/>
      </p:nvGrpSpPr>
      <p:grpSpPr>
        <a:xfrm>
          <a:off x="0" y="0"/>
          <a:ext cx="0" cy="0"/>
          <a:chOff x="0" y="0"/>
          <a:chExt cx="0" cy="0"/>
        </a:xfrm>
      </p:grpSpPr>
      <p:cxnSp>
        <p:nvCxnSpPr>
          <p:cNvPr id="28" name="Straight Connector 27">
            <a:extLst>
              <a:ext uri="{FF2B5EF4-FFF2-40B4-BE49-F238E27FC236}">
                <a16:creationId xmlns:a16="http://schemas.microsoft.com/office/drawing/2014/main" id="{CBAD3FB8-9E01-2EC1-BC27-7E3BECA73148}"/>
              </a:ext>
            </a:extLst>
          </p:cNvPr>
          <p:cNvCxnSpPr>
            <a:cxnSpLocks/>
          </p:cNvCxnSpPr>
          <p:nvPr userDrawn="1"/>
        </p:nvCxnSpPr>
        <p:spPr>
          <a:xfrm>
            <a:off x="12191207" y="8275245"/>
            <a:ext cx="0" cy="544075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Picture Placeholder 2">
            <a:extLst>
              <a:ext uri="{FF2B5EF4-FFF2-40B4-BE49-F238E27FC236}">
                <a16:creationId xmlns:a16="http://schemas.microsoft.com/office/drawing/2014/main" id="{E6A6E655-D96A-9B80-8D18-AA4B5BEAFE99}"/>
              </a:ext>
            </a:extLst>
          </p:cNvPr>
          <p:cNvSpPr>
            <a:spLocks noGrp="1"/>
          </p:cNvSpPr>
          <p:nvPr>
            <p:ph type="pic" sz="quarter" idx="19" hasCustomPrompt="1"/>
          </p:nvPr>
        </p:nvSpPr>
        <p:spPr>
          <a:xfrm>
            <a:off x="9612585" y="3113584"/>
            <a:ext cx="5157244" cy="51588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Tree>
    <p:extLst>
      <p:ext uri="{BB962C8B-B14F-4D97-AF65-F5344CB8AC3E}">
        <p14:creationId xmlns:p14="http://schemas.microsoft.com/office/powerpoint/2010/main" val="306940188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imeline b">
    <p:spTree>
      <p:nvGrpSpPr>
        <p:cNvPr id="1" name=""/>
        <p:cNvGrpSpPr/>
        <p:nvPr/>
      </p:nvGrpSpPr>
      <p:grpSpPr>
        <a:xfrm>
          <a:off x="0" y="0"/>
          <a:ext cx="0" cy="0"/>
          <a:chOff x="0" y="0"/>
          <a:chExt cx="0" cy="0"/>
        </a:xfrm>
      </p:grpSpPr>
      <p:cxnSp>
        <p:nvCxnSpPr>
          <p:cNvPr id="19" name="Straight Connector 18">
            <a:extLst>
              <a:ext uri="{FF2B5EF4-FFF2-40B4-BE49-F238E27FC236}">
                <a16:creationId xmlns:a16="http://schemas.microsoft.com/office/drawing/2014/main" id="{9BD6F7A3-B3D7-3785-90D5-057D3BF1DC94}"/>
              </a:ext>
            </a:extLst>
          </p:cNvPr>
          <p:cNvCxnSpPr>
            <a:cxnSpLocks/>
          </p:cNvCxnSpPr>
          <p:nvPr userDrawn="1"/>
        </p:nvCxnSpPr>
        <p:spPr>
          <a:xfrm>
            <a:off x="12191207" y="0"/>
            <a:ext cx="0" cy="137160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834496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meline c">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3ADC2D84-6F4C-92C9-B642-AD62273EFC2F}"/>
              </a:ext>
            </a:extLst>
          </p:cNvPr>
          <p:cNvCxnSpPr>
            <a:cxnSpLocks/>
          </p:cNvCxnSpPr>
          <p:nvPr userDrawn="1"/>
        </p:nvCxnSpPr>
        <p:spPr>
          <a:xfrm>
            <a:off x="12191207" y="0"/>
            <a:ext cx="0" cy="1060241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516858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DAE5E194-00D9-E75D-3576-A56FDA41DA3F}"/>
              </a:ext>
            </a:extLst>
          </p:cNvPr>
          <p:cNvSpPr>
            <a:spLocks noGrp="1"/>
          </p:cNvSpPr>
          <p:nvPr>
            <p:ph type="pic" sz="quarter" idx="11"/>
          </p:nvPr>
        </p:nvSpPr>
        <p:spPr>
          <a:xfrm>
            <a:off x="1927741" y="4928905"/>
            <a:ext cx="3888985" cy="3888986"/>
          </a:xfrm>
        </p:spPr>
        <p:txBody>
          <a:bodyPr/>
          <a:lstStyle/>
          <a:p>
            <a:r>
              <a:rPr lang="de-DE"/>
              <a:t>Bild durch Klicken auf Symbol hinzufügen</a:t>
            </a:r>
            <a:endParaRPr lang="en-US"/>
          </a:p>
        </p:txBody>
      </p:sp>
      <p:sp>
        <p:nvSpPr>
          <p:cNvPr id="13" name="Picture Placeholder 11">
            <a:extLst>
              <a:ext uri="{FF2B5EF4-FFF2-40B4-BE49-F238E27FC236}">
                <a16:creationId xmlns:a16="http://schemas.microsoft.com/office/drawing/2014/main" id="{B0BE321F-8EE4-C89E-A53D-8A85D61C9E14}"/>
              </a:ext>
            </a:extLst>
          </p:cNvPr>
          <p:cNvSpPr>
            <a:spLocks noGrp="1"/>
          </p:cNvSpPr>
          <p:nvPr>
            <p:ph type="pic" sz="quarter" idx="12"/>
          </p:nvPr>
        </p:nvSpPr>
        <p:spPr>
          <a:xfrm>
            <a:off x="7400399" y="4928905"/>
            <a:ext cx="3888985" cy="3888986"/>
          </a:xfrm>
        </p:spPr>
        <p:txBody>
          <a:bodyPr/>
          <a:lstStyle/>
          <a:p>
            <a:r>
              <a:rPr lang="de-DE"/>
              <a:t>Bild durch Klicken auf Symbol hinzufügen</a:t>
            </a:r>
            <a:endParaRPr lang="en-US"/>
          </a:p>
        </p:txBody>
      </p:sp>
      <p:sp>
        <p:nvSpPr>
          <p:cNvPr id="15" name="Picture Placeholder 11">
            <a:extLst>
              <a:ext uri="{FF2B5EF4-FFF2-40B4-BE49-F238E27FC236}">
                <a16:creationId xmlns:a16="http://schemas.microsoft.com/office/drawing/2014/main" id="{DD4BA9AA-7CAA-DBBF-4EC8-EEC5A6FA3F9A}"/>
              </a:ext>
            </a:extLst>
          </p:cNvPr>
          <p:cNvSpPr>
            <a:spLocks noGrp="1"/>
          </p:cNvSpPr>
          <p:nvPr>
            <p:ph type="pic" sz="quarter" idx="13"/>
          </p:nvPr>
        </p:nvSpPr>
        <p:spPr>
          <a:xfrm>
            <a:off x="12873007" y="4928905"/>
            <a:ext cx="3888985" cy="3888986"/>
          </a:xfrm>
        </p:spPr>
        <p:txBody>
          <a:bodyPr/>
          <a:lstStyle/>
          <a:p>
            <a:r>
              <a:rPr lang="de-DE"/>
              <a:t>Bild durch Klicken auf Symbol hinzufügen</a:t>
            </a:r>
            <a:endParaRPr lang="en-US"/>
          </a:p>
        </p:txBody>
      </p:sp>
      <p:sp>
        <p:nvSpPr>
          <p:cNvPr id="16" name="Picture Placeholder 11">
            <a:extLst>
              <a:ext uri="{FF2B5EF4-FFF2-40B4-BE49-F238E27FC236}">
                <a16:creationId xmlns:a16="http://schemas.microsoft.com/office/drawing/2014/main" id="{4A26D564-5935-444D-7220-881B06BF9B6E}"/>
              </a:ext>
            </a:extLst>
          </p:cNvPr>
          <p:cNvSpPr>
            <a:spLocks noGrp="1"/>
          </p:cNvSpPr>
          <p:nvPr>
            <p:ph type="pic" sz="quarter" idx="14"/>
          </p:nvPr>
        </p:nvSpPr>
        <p:spPr>
          <a:xfrm>
            <a:off x="18345665" y="4904781"/>
            <a:ext cx="3888985" cy="3888986"/>
          </a:xfrm>
        </p:spPr>
        <p:txBody>
          <a:bodyPr/>
          <a:lstStyle/>
          <a:p>
            <a:r>
              <a:rPr lang="de-DE"/>
              <a:t>Bild durch Klicken auf Symbol hinzufügen</a:t>
            </a:r>
            <a:endParaRPr lang="en-US"/>
          </a:p>
        </p:txBody>
      </p:sp>
    </p:spTree>
    <p:extLst>
      <p:ext uri="{BB962C8B-B14F-4D97-AF65-F5344CB8AC3E}">
        <p14:creationId xmlns:p14="http://schemas.microsoft.com/office/powerpoint/2010/main" val="62686413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_Title on simple background">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7C1D6C0-9082-6D41-8CF2-4BE2980201A9}"/>
              </a:ext>
            </a:extLst>
          </p:cNvPr>
          <p:cNvSpPr>
            <a:spLocks noGrp="1"/>
          </p:cNvSpPr>
          <p:nvPr>
            <p:ph type="pic" sz="quarter" idx="18" hasCustomPrompt="1"/>
          </p:nvPr>
        </p:nvSpPr>
        <p:spPr>
          <a:xfrm>
            <a:off x="491206" y="486000"/>
            <a:ext cx="23400001" cy="12744000"/>
          </a:xfrm>
          <a:custGeom>
            <a:avLst/>
            <a:gdLst>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4730 w 23399999"/>
              <a:gd name="connsiteY8"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1337594 w 23399999"/>
              <a:gd name="connsiteY8" fmla="*/ 1164380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56794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5 w 23400000"/>
              <a:gd name="connsiteY4" fmla="*/ 9824813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400000" h="12744000">
                <a:moveTo>
                  <a:pt x="2564730" y="0"/>
                </a:moveTo>
                <a:lnTo>
                  <a:pt x="23399999" y="0"/>
                </a:lnTo>
                <a:lnTo>
                  <a:pt x="23399999" y="0"/>
                </a:lnTo>
                <a:cubicBezTo>
                  <a:pt x="23399999" y="3277203"/>
                  <a:pt x="23400000" y="6554405"/>
                  <a:pt x="23400000" y="9831608"/>
                </a:cubicBezTo>
                <a:cubicBezTo>
                  <a:pt x="23399581" y="9831571"/>
                  <a:pt x="17815405" y="9823891"/>
                  <a:pt x="17820604" y="9824813"/>
                </a:cubicBezTo>
                <a:cubicBezTo>
                  <a:pt x="17837181" y="9827753"/>
                  <a:pt x="17814938" y="12744037"/>
                  <a:pt x="17820605" y="12744000"/>
                </a:cubicBezTo>
                <a:lnTo>
                  <a:pt x="0" y="12744000"/>
                </a:lnTo>
                <a:lnTo>
                  <a:pt x="0" y="12744000"/>
                </a:lnTo>
                <a:lnTo>
                  <a:pt x="0" y="851260"/>
                </a:lnTo>
                <a:cubicBezTo>
                  <a:pt x="6513" y="855406"/>
                  <a:pt x="2562637" y="855434"/>
                  <a:pt x="2560913" y="855461"/>
                </a:cubicBezTo>
                <a:cubicBezTo>
                  <a:pt x="2564931" y="864124"/>
                  <a:pt x="2564831" y="283781"/>
                  <a:pt x="2564730" y="0"/>
                </a:cubicBezTo>
                <a:close/>
              </a:path>
            </a:pathLst>
          </a:custGeom>
          <a:solidFill>
            <a:schemeClr val="bg1">
              <a:lumMod val="95000"/>
            </a:schemeClr>
          </a:solidFill>
        </p:spPr>
        <p:txBody>
          <a:bodyPr/>
          <a:lstStyle>
            <a:lvl1pPr algn="ctr">
              <a:defRPr sz="2400">
                <a:solidFill>
                  <a:schemeClr val="tx1">
                    <a:lumMod val="65000"/>
                    <a:lumOff val="35000"/>
                  </a:schemeClr>
                </a:solidFill>
              </a:defRPr>
            </a:lvl1pPr>
          </a:lstStyle>
          <a:p>
            <a:r>
              <a:rPr lang="en-NL"/>
              <a:t>Drag and drop a topic-related picture into this fram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3059999" y="3402014"/>
            <a:ext cx="12156189" cy="6911976"/>
          </a:xfrm>
          <a:prstGeom prst="rect">
            <a:avLst/>
          </a:prstGeom>
          <a:solidFill>
            <a:schemeClr val="bg1"/>
          </a:solidFill>
        </p:spPr>
        <p:txBody>
          <a:bodyPr vert="horz" lIns="720000" tIns="540000" rIns="360000" bIns="360000" rtlCol="0" anchor="t">
            <a:noAutofit/>
          </a:bodyPr>
          <a:lstStyle>
            <a:lvl1pPr>
              <a:defRPr/>
            </a:lvl1pPr>
          </a:lstStyle>
          <a:p>
            <a:r>
              <a:rPr lang="en-GB" noProof="0"/>
              <a:t>Put the title here,</a:t>
            </a:r>
            <a:br>
              <a:rPr lang="en-GB" noProof="0"/>
            </a:br>
            <a:r>
              <a:rPr lang="en-GB" noProof="0"/>
              <a:t>keep it bold 80 </a:t>
            </a:r>
            <a:r>
              <a:rPr lang="en-GB" noProof="0" err="1"/>
              <a:t>pt</a:t>
            </a:r>
            <a:br>
              <a:rPr lang="en-GB" noProof="0"/>
            </a:br>
            <a:endParaRPr lang="en-GB" noProof="0"/>
          </a:p>
        </p:txBody>
      </p:sp>
      <p:pic>
        <p:nvPicPr>
          <p:cNvPr id="16" name="Picture 15">
            <a:extLst>
              <a:ext uri="{FF2B5EF4-FFF2-40B4-BE49-F238E27FC236}">
                <a16:creationId xmlns:a16="http://schemas.microsoft.com/office/drawing/2014/main" id="{B318DE6B-1EB2-D248-BE9E-1B173597E1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32676" y="10313988"/>
            <a:ext cx="5058531" cy="3402012"/>
          </a:xfrm>
          <a:prstGeom prst="rect">
            <a:avLst/>
          </a:prstGeom>
        </p:spPr>
      </p:pic>
      <p:sp>
        <p:nvSpPr>
          <p:cNvPr id="18" name="TextBox 17">
            <a:extLst>
              <a:ext uri="{FF2B5EF4-FFF2-40B4-BE49-F238E27FC236}">
                <a16:creationId xmlns:a16="http://schemas.microsoft.com/office/drawing/2014/main" id="{328A1B16-9A25-3541-9435-BC1CEEFFC8BA}"/>
              </a:ext>
            </a:extLst>
          </p:cNvPr>
          <p:cNvSpPr txBox="1"/>
          <p:nvPr userDrawn="1"/>
        </p:nvSpPr>
        <p:spPr>
          <a:xfrm>
            <a:off x="400182" y="419673"/>
            <a:ext cx="2659819" cy="893714"/>
          </a:xfrm>
          <a:prstGeom prst="rect">
            <a:avLst/>
          </a:prstGeom>
          <a:noFill/>
        </p:spPr>
        <p:txBody>
          <a:bodyPr wrap="square" rtlCol="0">
            <a:noAutofit/>
          </a:bodyPr>
          <a:lstStyle/>
          <a:p>
            <a:pPr algn="l"/>
            <a:r>
              <a:rPr lang="en-NL" sz="2400"/>
              <a:t>Supply</a:t>
            </a:r>
          </a:p>
        </p:txBody>
      </p:sp>
    </p:spTree>
    <p:extLst>
      <p:ext uri="{BB962C8B-B14F-4D97-AF65-F5344CB8AC3E}">
        <p14:creationId xmlns:p14="http://schemas.microsoft.com/office/powerpoint/2010/main" val="91034332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on partial colour background, texture or image with IKEA logo">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87BBF9D-BEB5-5444-89E4-010A3501B6E5}"/>
              </a:ext>
            </a:extLst>
          </p:cNvPr>
          <p:cNvSpPr>
            <a:spLocks noGrp="1"/>
          </p:cNvSpPr>
          <p:nvPr>
            <p:ph type="pic" sz="quarter" idx="14" hasCustomPrompt="1"/>
          </p:nvPr>
        </p:nvSpPr>
        <p:spPr>
          <a:xfrm>
            <a:off x="0" y="-1"/>
            <a:ext cx="24382413" cy="10458450"/>
          </a:xfrm>
          <a:solidFill>
            <a:srgbClr val="E4E5E3"/>
          </a:solidFill>
        </p:spPr>
        <p:txBody>
          <a:bodyPr>
            <a:normAutofit/>
          </a:bodyPr>
          <a:lstStyle>
            <a:lvl1pPr marL="0" marR="0" indent="0" algn="l" defTabSz="182857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Drag and drop to add a pictur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1679467" y="1677603"/>
            <a:ext cx="21029831" cy="4013370"/>
          </a:xfrm>
          <a:prstGeom prst="rect">
            <a:avLst/>
          </a:prstGeom>
        </p:spPr>
        <p:txBody>
          <a:bodyPr vert="horz" lIns="91440" tIns="45720" rIns="91440" bIns="45720" rtlCol="0" anchor="t">
            <a:noAutofit/>
          </a:bodyPr>
          <a:lstStyle>
            <a:lvl1pPr>
              <a:defRPr/>
            </a:lvl1pPr>
          </a:lstStyle>
          <a:p>
            <a:r>
              <a:rPr lang="en-GB" noProof="0"/>
              <a:t>Put the title here,</a:t>
            </a:r>
            <a:br>
              <a:rPr lang="en-GB" noProof="0"/>
            </a:br>
            <a:r>
              <a:rPr lang="en-GB" noProof="0"/>
              <a:t>keep it bold 60 pt</a:t>
            </a:r>
          </a:p>
        </p:txBody>
      </p:sp>
      <p:sp>
        <p:nvSpPr>
          <p:cNvPr id="10" name="Text Placeholder 6">
            <a:extLst>
              <a:ext uri="{FF2B5EF4-FFF2-40B4-BE49-F238E27FC236}">
                <a16:creationId xmlns:a16="http://schemas.microsoft.com/office/drawing/2014/main" id="{ECC773ED-664B-824F-91D1-6C08CFB17BDA}"/>
              </a:ext>
            </a:extLst>
          </p:cNvPr>
          <p:cNvSpPr>
            <a:spLocks noGrp="1"/>
          </p:cNvSpPr>
          <p:nvPr>
            <p:ph type="body" sz="quarter" idx="13" hasCustomPrompt="1"/>
          </p:nvPr>
        </p:nvSpPr>
        <p:spPr>
          <a:xfrm>
            <a:off x="1700166" y="6137281"/>
            <a:ext cx="10657784" cy="3457030"/>
          </a:xfrm>
        </p:spPr>
        <p:txBody>
          <a:bodyPr/>
          <a:lstStyle>
            <a:lvl1pPr>
              <a:spcBef>
                <a:spcPts val="0"/>
              </a:spcBef>
              <a:defRPr sz="4800"/>
            </a:lvl1pPr>
          </a:lstStyle>
          <a:p>
            <a:pPr lvl="0"/>
            <a:r>
              <a:rPr lang="en-GB" noProof="0"/>
              <a:t>Put the subtitle here,</a:t>
            </a:r>
            <a:br>
              <a:rPr lang="en-GB" noProof="0"/>
            </a:br>
            <a:r>
              <a:rPr lang="en-GB" noProof="0"/>
              <a:t>keep it regular 24 </a:t>
            </a:r>
            <a:r>
              <a:rPr lang="en-GB" noProof="0" err="1"/>
              <a:t>pt</a:t>
            </a:r>
            <a:endParaRPr lang="en-GB" noProof="0"/>
          </a:p>
        </p:txBody>
      </p:sp>
      <p:pic>
        <p:nvPicPr>
          <p:cNvPr id="9" name="Picture 8">
            <a:extLst>
              <a:ext uri="{FF2B5EF4-FFF2-40B4-BE49-F238E27FC236}">
                <a16:creationId xmlns:a16="http://schemas.microsoft.com/office/drawing/2014/main" id="{96D72230-E953-2344-BE6F-83C4D88C1C4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570075" y="10514135"/>
            <a:ext cx="4812341" cy="3236442"/>
          </a:xfrm>
          <a:prstGeom prst="rect">
            <a:avLst/>
          </a:prstGeom>
        </p:spPr>
      </p:pic>
      <p:sp>
        <p:nvSpPr>
          <p:cNvPr id="4" name="Text Placeholder 3">
            <a:extLst>
              <a:ext uri="{FF2B5EF4-FFF2-40B4-BE49-F238E27FC236}">
                <a16:creationId xmlns:a16="http://schemas.microsoft.com/office/drawing/2014/main" id="{B5329D23-EF50-DA48-938A-1EBB7615B30C}"/>
              </a:ext>
            </a:extLst>
          </p:cNvPr>
          <p:cNvSpPr>
            <a:spLocks noGrp="1"/>
          </p:cNvSpPr>
          <p:nvPr>
            <p:ph type="body" sz="quarter" idx="18" hasCustomPrompt="1"/>
          </p:nvPr>
        </p:nvSpPr>
        <p:spPr>
          <a:xfrm rot="5400000">
            <a:off x="20902621" y="2898380"/>
            <a:ext cx="5759746" cy="719337"/>
          </a:xfrm>
        </p:spPr>
        <p:txBody>
          <a:bodyPr anchor="ctr"/>
          <a:lstStyle>
            <a:lvl1pPr>
              <a:defRPr sz="1600">
                <a:solidFill>
                  <a:schemeClr val="tx1">
                    <a:lumMod val="50000"/>
                    <a:lumOff val="50000"/>
                  </a:schemeClr>
                </a:solidFill>
              </a:defRPr>
            </a:lvl1pPr>
          </a:lstStyle>
          <a:p>
            <a:pPr lvl="0"/>
            <a:r>
              <a:rPr lang="en-US"/>
              <a:t>© Inter IKEA Systems B.V. 2020</a:t>
            </a:r>
            <a:endParaRPr lang="en-GB"/>
          </a:p>
        </p:txBody>
      </p:sp>
    </p:spTree>
    <p:extLst>
      <p:ext uri="{BB962C8B-B14F-4D97-AF65-F5344CB8AC3E}">
        <p14:creationId xmlns:p14="http://schemas.microsoft.com/office/powerpoint/2010/main" val="28189437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ong text in two columns">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63367C8D-9B77-984C-8B9E-6950D34AC3FE}"/>
              </a:ext>
            </a:extLst>
          </p:cNvPr>
          <p:cNvSpPr>
            <a:spLocks noGrp="1"/>
          </p:cNvSpPr>
          <p:nvPr>
            <p:ph type="title" hasCustomPrompt="1"/>
          </p:nvPr>
        </p:nvSpPr>
        <p:spPr>
          <a:xfrm>
            <a:off x="1676293" y="1677600"/>
            <a:ext cx="21033007" cy="2446607"/>
          </a:xfrm>
        </p:spPr>
        <p:txBody>
          <a:bodyPr/>
          <a:lstStyle>
            <a:lvl1pPr>
              <a:defRPr sz="6000" spc="0" baseline="0"/>
            </a:lvl1pPr>
          </a:lstStyle>
          <a:p>
            <a:r>
              <a:rPr lang="en-GB"/>
              <a:t>Put the headline here, </a:t>
            </a:r>
            <a:br>
              <a:rPr lang="en-GB"/>
            </a:br>
            <a:r>
              <a:rPr lang="en-GB"/>
              <a:t>keep it bold 60 </a:t>
            </a:r>
            <a:r>
              <a:rPr lang="en-GB" err="1"/>
              <a:t>pt</a:t>
            </a:r>
            <a:endParaRPr lang="en-NL"/>
          </a:p>
        </p:txBody>
      </p:sp>
      <p:sp>
        <p:nvSpPr>
          <p:cNvPr id="10" name="Text Placeholder 3">
            <a:extLst>
              <a:ext uri="{FF2B5EF4-FFF2-40B4-BE49-F238E27FC236}">
                <a16:creationId xmlns:a16="http://schemas.microsoft.com/office/drawing/2014/main" id="{939100DF-247B-744C-82E5-5A131B43B255}"/>
              </a:ext>
            </a:extLst>
          </p:cNvPr>
          <p:cNvSpPr>
            <a:spLocks noGrp="1"/>
          </p:cNvSpPr>
          <p:nvPr>
            <p:ph type="body" sz="quarter" idx="18" hasCustomPrompt="1"/>
          </p:nvPr>
        </p:nvSpPr>
        <p:spPr>
          <a:xfrm>
            <a:off x="1674329" y="4124207"/>
            <a:ext cx="10080000" cy="7909518"/>
          </a:xfrm>
        </p:spPr>
        <p:txBody>
          <a:bodyPr>
            <a:noAutofit/>
          </a:bodyPr>
          <a:lstStyle>
            <a:lvl1pPr>
              <a:spcBef>
                <a:spcPts val="2000"/>
              </a:spcBef>
              <a:defRPr sz="2400"/>
            </a:lvl1pPr>
          </a:lstStyle>
          <a:p>
            <a:pPr lvl="0"/>
            <a:r>
              <a:rPr lang="en-GB" noProof="0"/>
              <a:t>Put the first column text here, keep it regular 24 </a:t>
            </a:r>
            <a:r>
              <a:rPr lang="en-GB" noProof="0" err="1"/>
              <a:t>pt</a:t>
            </a:r>
            <a:endParaRPr lang="en-GB" noProof="0"/>
          </a:p>
        </p:txBody>
      </p:sp>
      <p:sp>
        <p:nvSpPr>
          <p:cNvPr id="11" name="Text Placeholder 3">
            <a:extLst>
              <a:ext uri="{FF2B5EF4-FFF2-40B4-BE49-F238E27FC236}">
                <a16:creationId xmlns:a16="http://schemas.microsoft.com/office/drawing/2014/main" id="{9CCF0755-F145-EA44-8033-C854ED47EF7D}"/>
              </a:ext>
            </a:extLst>
          </p:cNvPr>
          <p:cNvSpPr>
            <a:spLocks noGrp="1"/>
          </p:cNvSpPr>
          <p:nvPr>
            <p:ph type="body" sz="quarter" idx="20" hasCustomPrompt="1"/>
          </p:nvPr>
        </p:nvSpPr>
        <p:spPr>
          <a:xfrm>
            <a:off x="12628084" y="4124207"/>
            <a:ext cx="10080000" cy="7909518"/>
          </a:xfrm>
        </p:spPr>
        <p:txBody>
          <a:bodyPr>
            <a:noAutofit/>
          </a:bodyPr>
          <a:lstStyle>
            <a:lvl1pPr>
              <a:spcBef>
                <a:spcPts val="2000"/>
              </a:spcBef>
              <a:defRPr sz="2400"/>
            </a:lvl1pPr>
          </a:lstStyle>
          <a:p>
            <a:pPr lvl="0"/>
            <a:r>
              <a:rPr lang="en-GB" noProof="0"/>
              <a:t>Put the second column text here, keep it regular 24 </a:t>
            </a:r>
            <a:r>
              <a:rPr lang="en-GB" noProof="0" err="1"/>
              <a:t>pt</a:t>
            </a:r>
            <a:endParaRPr lang="en-GB" noProof="0"/>
          </a:p>
        </p:txBody>
      </p:sp>
      <p:sp>
        <p:nvSpPr>
          <p:cNvPr id="4" name="Footer Placeholder 3">
            <a:extLst>
              <a:ext uri="{FF2B5EF4-FFF2-40B4-BE49-F238E27FC236}">
                <a16:creationId xmlns:a16="http://schemas.microsoft.com/office/drawing/2014/main" id="{513A86D6-E57E-5649-8AF5-453D2B2B151A}"/>
              </a:ext>
            </a:extLst>
          </p:cNvPr>
          <p:cNvSpPr>
            <a:spLocks noGrp="1"/>
          </p:cNvSpPr>
          <p:nvPr>
            <p:ph type="ftr" sz="quarter" idx="21"/>
          </p:nvPr>
        </p:nvSpPr>
        <p:spPr/>
        <p:txBody>
          <a:bodyPr/>
          <a:lstStyle/>
          <a:p>
            <a:endParaRPr lang="en-NL"/>
          </a:p>
        </p:txBody>
      </p:sp>
      <p:sp>
        <p:nvSpPr>
          <p:cNvPr id="13" name="TextBox 12">
            <a:extLst>
              <a:ext uri="{FF2B5EF4-FFF2-40B4-BE49-F238E27FC236}">
                <a16:creationId xmlns:a16="http://schemas.microsoft.com/office/drawing/2014/main" id="{F69A19F4-DC87-0B48-B9A2-A753D080F470}"/>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89167660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63592" y="3419479"/>
            <a:ext cx="21029831" cy="5705474"/>
          </a:xfrm>
        </p:spPr>
        <p:txBody>
          <a:bodyPr anchor="b"/>
          <a:lstStyle>
            <a:lvl1pPr>
              <a:defRPr sz="11999"/>
            </a:lvl1pPr>
          </a:lstStyle>
          <a:p>
            <a:r>
              <a:rPr lang="en-US"/>
              <a:t>Click to edit Master title style</a:t>
            </a:r>
            <a:endParaRPr lang="en-GB"/>
          </a:p>
        </p:txBody>
      </p:sp>
      <p:sp>
        <p:nvSpPr>
          <p:cNvPr id="3" name="Text Placeholder 2"/>
          <p:cNvSpPr>
            <a:spLocks noGrp="1"/>
          </p:cNvSpPr>
          <p:nvPr>
            <p:ph type="body" idx="1"/>
          </p:nvPr>
        </p:nvSpPr>
        <p:spPr>
          <a:xfrm>
            <a:off x="1663592" y="9178929"/>
            <a:ext cx="21029831" cy="3000374"/>
          </a:xfrm>
        </p:spPr>
        <p:txBody>
          <a:bodyPr/>
          <a:lstStyle>
            <a:lvl1pPr marL="0" indent="0">
              <a:buNone/>
              <a:defRPr sz="4800">
                <a:solidFill>
                  <a:schemeClr val="tx1">
                    <a:tint val="75000"/>
                  </a:schemeClr>
                </a:solidFill>
              </a:defRPr>
            </a:lvl1pPr>
            <a:lvl2pPr marL="914308" indent="0">
              <a:buNone/>
              <a:defRPr sz="4000">
                <a:solidFill>
                  <a:schemeClr val="tx1">
                    <a:tint val="75000"/>
                  </a:schemeClr>
                </a:solidFill>
              </a:defRPr>
            </a:lvl2pPr>
            <a:lvl3pPr marL="1828619" indent="0">
              <a:buNone/>
              <a:defRPr sz="3600">
                <a:solidFill>
                  <a:schemeClr val="tx1">
                    <a:tint val="75000"/>
                  </a:schemeClr>
                </a:solidFill>
              </a:defRPr>
            </a:lvl3pPr>
            <a:lvl4pPr marL="2742927" indent="0">
              <a:buNone/>
              <a:defRPr sz="3200">
                <a:solidFill>
                  <a:schemeClr val="tx1">
                    <a:tint val="75000"/>
                  </a:schemeClr>
                </a:solidFill>
              </a:defRPr>
            </a:lvl4pPr>
            <a:lvl5pPr marL="3657235" indent="0">
              <a:buNone/>
              <a:defRPr sz="3200">
                <a:solidFill>
                  <a:schemeClr val="tx1">
                    <a:tint val="75000"/>
                  </a:schemeClr>
                </a:solidFill>
              </a:defRPr>
            </a:lvl5pPr>
            <a:lvl6pPr marL="4571543" indent="0">
              <a:buNone/>
              <a:defRPr sz="3200">
                <a:solidFill>
                  <a:schemeClr val="tx1">
                    <a:tint val="75000"/>
                  </a:schemeClr>
                </a:solidFill>
              </a:defRPr>
            </a:lvl6pPr>
            <a:lvl7pPr marL="5485852" indent="0">
              <a:buNone/>
              <a:defRPr sz="3200">
                <a:solidFill>
                  <a:schemeClr val="tx1">
                    <a:tint val="75000"/>
                  </a:schemeClr>
                </a:solidFill>
              </a:defRPr>
            </a:lvl7pPr>
            <a:lvl8pPr marL="6400160" indent="0">
              <a:buNone/>
              <a:defRPr sz="3200">
                <a:solidFill>
                  <a:schemeClr val="tx1">
                    <a:tint val="75000"/>
                  </a:schemeClr>
                </a:solidFill>
              </a:defRPr>
            </a:lvl8pPr>
            <a:lvl9pPr marL="7314468" indent="0">
              <a:buNone/>
              <a:defRPr sz="3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8CB2AC7-B352-4C06-A37F-C1AFABEB433B}" type="datetimeFigureOut">
              <a:rPr lang="en-GB" smtClean="0">
                <a:solidFill>
                  <a:prstClr val="black">
                    <a:tint val="75000"/>
                  </a:prstClr>
                </a:solidFill>
              </a:rPr>
              <a:pPr/>
              <a:t>12/03/202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A225A4FA-9CCD-446F-8574-0A543A292A1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73792916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8400" b="0" i="0">
                <a:solidFill>
                  <a:schemeClr val="tx1"/>
                </a:solidFill>
                <a:latin typeface="Verdana"/>
                <a:cs typeface="Verdana"/>
              </a:defRPr>
            </a:lvl1pPr>
          </a:lstStyle>
          <a:p>
            <a:endParaRPr/>
          </a:p>
        </p:txBody>
      </p:sp>
      <p:sp>
        <p:nvSpPr>
          <p:cNvPr id="3" name="Holder 3"/>
          <p:cNvSpPr>
            <a:spLocks noGrp="1"/>
          </p:cNvSpPr>
          <p:nvPr>
            <p:ph sz="half" idx="2"/>
          </p:nvPr>
        </p:nvSpPr>
        <p:spPr>
          <a:xfrm>
            <a:off x="1219755" y="3154680"/>
            <a:ext cx="10611873" cy="492444"/>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12563482" y="3154680"/>
            <a:ext cx="10611873" cy="492444"/>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863744" y="12897915"/>
            <a:ext cx="1774073" cy="236218"/>
          </a:xfrm>
          <a:prstGeom prst="rect">
            <a:avLst/>
          </a:prstGeom>
        </p:spPr>
        <p:txBody>
          <a:bodyPr lIns="0" tIns="0" rIns="0" bIns="0"/>
          <a:lstStyle>
            <a:lvl1pPr>
              <a:defRPr sz="1200" b="0" i="0">
                <a:solidFill>
                  <a:srgbClr val="BCBEC0"/>
                </a:solidFill>
                <a:latin typeface="Verdana"/>
                <a:cs typeface="Verdana"/>
              </a:defRPr>
            </a:lvl1pPr>
          </a:lstStyle>
          <a:p>
            <a:pPr marL="25399">
              <a:spcBef>
                <a:spcPts val="200"/>
              </a:spcBef>
            </a:pPr>
            <a:r>
              <a:rPr lang="sv-SE"/>
              <a:t>Logistics</a:t>
            </a:r>
            <a:r>
              <a:rPr lang="sv-SE" spc="-80"/>
              <a:t> </a:t>
            </a:r>
            <a:r>
              <a:rPr lang="sv-SE" spc="-10"/>
              <a:t>Development</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3/12/2025</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defRPr sz="1200" b="0" i="0">
                <a:solidFill>
                  <a:srgbClr val="BCBEC0"/>
                </a:solidFill>
                <a:latin typeface="Verdana"/>
                <a:cs typeface="Verdana"/>
              </a:defRPr>
            </a:lvl1pPr>
          </a:lstStyle>
          <a:p>
            <a:pPr marL="50795">
              <a:spcBef>
                <a:spcPts val="200"/>
              </a:spcBef>
            </a:pPr>
            <a:fld id="{81D60167-4931-47E6-BA6A-407CBD079E47}" type="slidenum">
              <a:rPr lang="sv-SE" smtClean="0"/>
              <a:pPr marL="50795">
                <a:spcBef>
                  <a:spcPts val="200"/>
                </a:spcBef>
              </a:pPr>
              <a:t>‹#›</a:t>
            </a:fld>
            <a:endParaRPr lang="sv-SE"/>
          </a:p>
        </p:txBody>
      </p:sp>
    </p:spTree>
    <p:extLst>
      <p:ext uri="{BB962C8B-B14F-4D97-AF65-F5344CB8AC3E}">
        <p14:creationId xmlns:p14="http://schemas.microsoft.com/office/powerpoint/2010/main" val="283643647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1_Big statement on colour background, texture or image">
    <p:bg>
      <p:bgPr>
        <a:solidFill>
          <a:srgbClr val="FFC000"/>
        </a:solidFill>
        <a:effectLst/>
      </p:bgPr>
    </p:bg>
    <p:spTree>
      <p:nvGrpSpPr>
        <p:cNvPr id="1" name=""/>
        <p:cNvGrpSpPr/>
        <p:nvPr/>
      </p:nvGrpSpPr>
      <p:grpSpPr>
        <a:xfrm>
          <a:off x="0" y="0"/>
          <a:ext cx="0" cy="0"/>
          <a:chOff x="0" y="0"/>
          <a:chExt cx="0" cy="0"/>
        </a:xfrm>
      </p:grpSpPr>
      <p:sp>
        <p:nvSpPr>
          <p:cNvPr id="10" name="Title Placeholder 6">
            <a:extLst>
              <a:ext uri="{FF2B5EF4-FFF2-40B4-BE49-F238E27FC236}">
                <a16:creationId xmlns:a16="http://schemas.microsoft.com/office/drawing/2014/main" id="{048B0FEC-E6E9-1B42-9F79-233E0858B4AD}"/>
              </a:ext>
            </a:extLst>
          </p:cNvPr>
          <p:cNvSpPr>
            <a:spLocks noGrp="1"/>
          </p:cNvSpPr>
          <p:nvPr>
            <p:ph type="title" hasCustomPrompt="1"/>
          </p:nvPr>
        </p:nvSpPr>
        <p:spPr>
          <a:xfrm>
            <a:off x="1679467" y="1692505"/>
            <a:ext cx="21029831" cy="10330998"/>
          </a:xfrm>
          <a:prstGeom prst="rect">
            <a:avLst/>
          </a:prstGeom>
        </p:spPr>
        <p:txBody>
          <a:bodyPr vert="horz" lIns="91440" tIns="45720" rIns="91440" bIns="45720" rtlCol="0" anchor="ctr">
            <a:noAutofit/>
          </a:bodyPr>
          <a:lstStyle>
            <a:lvl1pPr>
              <a:defRPr sz="17999" baseline="0"/>
            </a:lvl1pPr>
          </a:lstStyle>
          <a:p>
            <a:r>
              <a:rPr lang="en-GB" noProof="0"/>
              <a:t>Statement here,</a:t>
            </a:r>
            <a:br>
              <a:rPr lang="en-GB" noProof="0"/>
            </a:br>
            <a:r>
              <a:rPr lang="en-GB" noProof="0"/>
              <a:t>keep it bold 90 </a:t>
            </a:r>
            <a:r>
              <a:rPr lang="en-GB" noProof="0" err="1"/>
              <a:t>pt</a:t>
            </a:r>
            <a:endParaRPr lang="en-GB" noProof="0"/>
          </a:p>
        </p:txBody>
      </p:sp>
    </p:spTree>
    <p:extLst>
      <p:ext uri="{BB962C8B-B14F-4D97-AF65-F5344CB8AC3E}">
        <p14:creationId xmlns:p14="http://schemas.microsoft.com/office/powerpoint/2010/main" val="79876340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600" b="1" i="0">
                <a:solidFill>
                  <a:schemeClr val="tx1"/>
                </a:solidFill>
                <a:latin typeface="Noto Sans" panose="020B0502040504020204" pitchFamily="34" charset="0"/>
                <a:cs typeface="Arial"/>
              </a:defRPr>
            </a:lvl1pPr>
          </a:lstStyle>
          <a:p>
            <a:endParaRPr/>
          </a:p>
        </p:txBody>
      </p:sp>
      <p:sp>
        <p:nvSpPr>
          <p:cNvPr id="3" name="Holder 3"/>
          <p:cNvSpPr>
            <a:spLocks noGrp="1"/>
          </p:cNvSpPr>
          <p:nvPr>
            <p:ph type="body" idx="1"/>
          </p:nvPr>
        </p:nvSpPr>
        <p:spPr/>
        <p:txBody>
          <a:bodyPr lIns="0" tIns="0" rIns="0" bIns="0"/>
          <a:lstStyle>
            <a:lvl1pPr>
              <a:defRPr sz="2400" b="1" i="0">
                <a:solidFill>
                  <a:schemeClr val="tx1"/>
                </a:solidFill>
                <a:latin typeface="Noto Sans" panose="020B0502040504020204" pitchFamily="34" charset="0"/>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2/2025</a:t>
            </a:fld>
            <a:endParaRPr lang="en-US"/>
          </a:p>
        </p:txBody>
      </p:sp>
      <p:sp>
        <p:nvSpPr>
          <p:cNvPr id="6" name="Holder 6"/>
          <p:cNvSpPr>
            <a:spLocks noGrp="1"/>
          </p:cNvSpPr>
          <p:nvPr>
            <p:ph type="sldNum" sz="quarter" idx="7"/>
          </p:nvPr>
        </p:nvSpPr>
        <p:spPr/>
        <p:txBody>
          <a:bodyPr lIns="0" tIns="0" rIns="0" bIns="0"/>
          <a:lstStyle>
            <a:lvl1pPr>
              <a:defRPr sz="2000" b="0" i="0">
                <a:solidFill>
                  <a:schemeClr val="tx1"/>
                </a:solidFill>
                <a:latin typeface="Arial"/>
                <a:cs typeface="Arial"/>
              </a:defRPr>
            </a:lvl1pPr>
          </a:lstStyle>
          <a:p>
            <a:pPr marL="198100">
              <a:spcBef>
                <a:spcPts val="450"/>
              </a:spcBef>
            </a:pPr>
            <a:fld id="{81D60167-4931-47E6-BA6A-407CBD079E47}" type="slidenum">
              <a:rPr lang="sv-SE" spc="-10" smtClean="0">
                <a:latin typeface="Franklin Gothic Medium"/>
                <a:cs typeface="Franklin Gothic Medium"/>
              </a:rPr>
              <a:pPr marL="198100">
                <a:spcBef>
                  <a:spcPts val="450"/>
                </a:spcBef>
              </a:pPr>
              <a:t>‹#›</a:t>
            </a:fld>
            <a:endParaRPr lang="sv-SE" spc="-10">
              <a:latin typeface="Franklin Gothic Medium"/>
              <a:cs typeface="Franklin Gothic Medium"/>
            </a:endParaRPr>
          </a:p>
        </p:txBody>
      </p:sp>
    </p:spTree>
    <p:extLst>
      <p:ext uri="{BB962C8B-B14F-4D97-AF65-F5344CB8AC3E}">
        <p14:creationId xmlns:p14="http://schemas.microsoft.com/office/powerpoint/2010/main" val="200724752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743827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12349" y="236632"/>
            <a:ext cx="18286810" cy="1484592"/>
          </a:xfrm>
          <a:prstGeom prst="rect">
            <a:avLst/>
          </a:prstGeom>
        </p:spPr>
        <p:txBody>
          <a:bodyPr anchor="b"/>
          <a:lstStyle>
            <a:lvl1pPr algn="l">
              <a:defRPr sz="7200" b="1">
                <a:solidFill>
                  <a:schemeClr val="bg1"/>
                </a:solidFill>
                <a:latin typeface="Noto IKEA Latin" panose="020B0502040504020204" pitchFamily="34" charset="0"/>
              </a:defRPr>
            </a:lvl1pPr>
          </a:lstStyle>
          <a:p>
            <a:r>
              <a:rPr lang="en-US"/>
              <a:t>Click to edit Master title style</a:t>
            </a:r>
            <a:endParaRPr lang="en-GB"/>
          </a:p>
        </p:txBody>
      </p:sp>
      <p:sp>
        <p:nvSpPr>
          <p:cNvPr id="3" name="Subtitle 2"/>
          <p:cNvSpPr>
            <a:spLocks noGrp="1"/>
          </p:cNvSpPr>
          <p:nvPr>
            <p:ph type="subTitle" idx="1"/>
          </p:nvPr>
        </p:nvSpPr>
        <p:spPr>
          <a:xfrm>
            <a:off x="3047802" y="7204076"/>
            <a:ext cx="18286810" cy="3311524"/>
          </a:xfrm>
          <a:prstGeom prst="rect">
            <a:avLst/>
          </a:prstGeom>
        </p:spPr>
        <p:txBody>
          <a:bodyPr/>
          <a:lstStyle>
            <a:lvl1pPr marL="0" indent="0" algn="ctr">
              <a:buNone/>
              <a:defRPr sz="4800">
                <a:latin typeface="Noto IKEA Latin" panose="020B0502040504020204" pitchFamily="34" charset="0"/>
              </a:defRPr>
            </a:lvl1pPr>
            <a:lvl2pPr marL="914308" indent="0" algn="ctr">
              <a:buNone/>
              <a:defRPr sz="4000"/>
            </a:lvl2pPr>
            <a:lvl3pPr marL="1828619" indent="0" algn="ctr">
              <a:buNone/>
              <a:defRPr sz="3600"/>
            </a:lvl3pPr>
            <a:lvl4pPr marL="2742927" indent="0" algn="ctr">
              <a:buNone/>
              <a:defRPr sz="3200"/>
            </a:lvl4pPr>
            <a:lvl5pPr marL="3657235" indent="0" algn="ctr">
              <a:buNone/>
              <a:defRPr sz="3200"/>
            </a:lvl5pPr>
            <a:lvl6pPr marL="4571543" indent="0" algn="ctr">
              <a:buNone/>
              <a:defRPr sz="3200"/>
            </a:lvl6pPr>
            <a:lvl7pPr marL="5485852" indent="0" algn="ctr">
              <a:buNone/>
              <a:defRPr sz="3200"/>
            </a:lvl7pPr>
            <a:lvl8pPr marL="6400160" indent="0" algn="ctr">
              <a:buNone/>
              <a:defRPr sz="3200"/>
            </a:lvl8pPr>
            <a:lvl9pPr marL="7314468" indent="0" algn="ctr">
              <a:buNone/>
              <a:defRPr sz="3200"/>
            </a:lvl9pPr>
          </a:lstStyle>
          <a:p>
            <a:r>
              <a:rPr lang="en-US"/>
              <a:t>Click to edit Master subtitle style</a:t>
            </a:r>
            <a:endParaRPr lang="en-GB"/>
          </a:p>
        </p:txBody>
      </p:sp>
      <p:sp>
        <p:nvSpPr>
          <p:cNvPr id="4" name="Date Placeholder 3"/>
          <p:cNvSpPr>
            <a:spLocks noGrp="1"/>
          </p:cNvSpPr>
          <p:nvPr>
            <p:ph type="dt" sz="half" idx="10"/>
          </p:nvPr>
        </p:nvSpPr>
        <p:spPr>
          <a:xfrm>
            <a:off x="1676291" y="12712703"/>
            <a:ext cx="5486043" cy="730250"/>
          </a:xfrm>
          <a:prstGeom prst="rect">
            <a:avLst/>
          </a:prstGeom>
        </p:spPr>
        <p:txBody>
          <a:bodyPr/>
          <a:lstStyle/>
          <a:p>
            <a:fld id="{B02616A3-6CF4-454C-90FC-1CD500243AFB}" type="datetimeFigureOut">
              <a:rPr lang="en-GB" smtClean="0"/>
              <a:t>12/03/2025</a:t>
            </a:fld>
            <a:endParaRPr lang="en-GB"/>
          </a:p>
        </p:txBody>
      </p:sp>
      <p:sp>
        <p:nvSpPr>
          <p:cNvPr id="5" name="Footer Placeholder 4"/>
          <p:cNvSpPr>
            <a:spLocks noGrp="1"/>
          </p:cNvSpPr>
          <p:nvPr>
            <p:ph type="ftr" sz="quarter" idx="11"/>
          </p:nvPr>
        </p:nvSpPr>
        <p:spPr>
          <a:xfrm>
            <a:off x="8076675" y="12712703"/>
            <a:ext cx="8229064" cy="730250"/>
          </a:xfrm>
          <a:prstGeom prst="rect">
            <a:avLst/>
          </a:prstGeom>
        </p:spPr>
        <p:txBody>
          <a:bodyPr/>
          <a:lstStyle/>
          <a:p>
            <a:endParaRPr lang="en-GB"/>
          </a:p>
        </p:txBody>
      </p:sp>
      <p:sp>
        <p:nvSpPr>
          <p:cNvPr id="6" name="Slide Number Placeholder 5"/>
          <p:cNvSpPr>
            <a:spLocks noGrp="1"/>
          </p:cNvSpPr>
          <p:nvPr>
            <p:ph type="sldNum" sz="quarter" idx="12"/>
          </p:nvPr>
        </p:nvSpPr>
        <p:spPr>
          <a:xfrm>
            <a:off x="17220079" y="12712703"/>
            <a:ext cx="5486043" cy="730250"/>
          </a:xfrm>
          <a:prstGeom prst="rect">
            <a:avLst/>
          </a:prstGeom>
        </p:spPr>
        <p:txBody>
          <a:bodyPr/>
          <a:lstStyle/>
          <a:p>
            <a:fld id="{84A08B04-7488-493E-8649-843F3ACCD056}" type="slidenum">
              <a:rPr lang="en-GB" smtClean="0"/>
              <a:t>‹#›</a:t>
            </a:fld>
            <a:endParaRPr lang="en-GB"/>
          </a:p>
        </p:txBody>
      </p:sp>
    </p:spTree>
    <p:extLst>
      <p:ext uri="{BB962C8B-B14F-4D97-AF65-F5344CB8AC3E}">
        <p14:creationId xmlns:p14="http://schemas.microsoft.com/office/powerpoint/2010/main" val="51201065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3_Title on simple background">
    <p:bg>
      <p:bgPr>
        <a:solidFill>
          <a:schemeClr val="bg1"/>
        </a:solidFill>
        <a:effectLst/>
      </p:bgPr>
    </p:bg>
    <p:spTree>
      <p:nvGrpSpPr>
        <p:cNvPr id="1" name=""/>
        <p:cNvGrpSpPr/>
        <p:nvPr/>
      </p:nvGrpSpPr>
      <p:grpSpPr>
        <a:xfrm>
          <a:off x="0" y="0"/>
          <a:ext cx="0" cy="0"/>
          <a:chOff x="0" y="0"/>
          <a:chExt cx="0" cy="0"/>
        </a:xfrm>
      </p:grpSpPr>
      <p:sp>
        <p:nvSpPr>
          <p:cNvPr id="3" name="Picture Placeholder 10">
            <a:extLst>
              <a:ext uri="{FF2B5EF4-FFF2-40B4-BE49-F238E27FC236}">
                <a16:creationId xmlns:a16="http://schemas.microsoft.com/office/drawing/2014/main" id="{2F11C4C6-DEAB-AFC3-A6A2-6B3BD0CF1E78}"/>
              </a:ext>
            </a:extLst>
          </p:cNvPr>
          <p:cNvSpPr>
            <a:spLocks noGrp="1"/>
          </p:cNvSpPr>
          <p:nvPr>
            <p:ph type="pic" sz="quarter" idx="14" hasCustomPrompt="1"/>
          </p:nvPr>
        </p:nvSpPr>
        <p:spPr>
          <a:xfrm>
            <a:off x="491206" y="486000"/>
            <a:ext cx="23400001" cy="12747400"/>
          </a:xfrm>
          <a:custGeom>
            <a:avLst/>
            <a:gdLst>
              <a:gd name="connsiteX0" fmla="*/ 0 w 23400000"/>
              <a:gd name="connsiteY0" fmla="*/ 0 h 12744000"/>
              <a:gd name="connsiteX1" fmla="*/ 23400000 w 23400000"/>
              <a:gd name="connsiteY1" fmla="*/ 0 h 12744000"/>
              <a:gd name="connsiteX2" fmla="*/ 23400000 w 23400000"/>
              <a:gd name="connsiteY2" fmla="*/ 12744000 h 12744000"/>
              <a:gd name="connsiteX3" fmla="*/ 0 w 23400000"/>
              <a:gd name="connsiteY3" fmla="*/ 12744000 h 12744000"/>
              <a:gd name="connsiteX4" fmla="*/ 0 w 23400000"/>
              <a:gd name="connsiteY4" fmla="*/ 0 h 12744000"/>
              <a:gd name="connsiteX0" fmla="*/ 0 w 23400000"/>
              <a:gd name="connsiteY0" fmla="*/ 0 h 12744000"/>
              <a:gd name="connsiteX1" fmla="*/ 23400000 w 23400000"/>
              <a:gd name="connsiteY1" fmla="*/ 0 h 12744000"/>
              <a:gd name="connsiteX2" fmla="*/ 23394405 w 23400000"/>
              <a:gd name="connsiteY2" fmla="*/ 9831892 h 12744000"/>
              <a:gd name="connsiteX3" fmla="*/ 23400000 w 23400000"/>
              <a:gd name="connsiteY3" fmla="*/ 12744000 h 12744000"/>
              <a:gd name="connsiteX4" fmla="*/ 0 w 23400000"/>
              <a:gd name="connsiteY4" fmla="*/ 12744000 h 12744000"/>
              <a:gd name="connsiteX5" fmla="*/ 0 w 23400000"/>
              <a:gd name="connsiteY5" fmla="*/ 0 h 12744000"/>
              <a:gd name="connsiteX0" fmla="*/ 0 w 23400000"/>
              <a:gd name="connsiteY0" fmla="*/ 0 h 12747400"/>
              <a:gd name="connsiteX1" fmla="*/ 23400000 w 23400000"/>
              <a:gd name="connsiteY1" fmla="*/ 0 h 12747400"/>
              <a:gd name="connsiteX2" fmla="*/ 23394405 w 23400000"/>
              <a:gd name="connsiteY2" fmla="*/ 9831892 h 12747400"/>
              <a:gd name="connsiteX3" fmla="*/ 23400000 w 23400000"/>
              <a:gd name="connsiteY3" fmla="*/ 12744000 h 12747400"/>
              <a:gd name="connsiteX4" fmla="*/ 17828544 w 23400000"/>
              <a:gd name="connsiteY4" fmla="*/ 12747400 h 12747400"/>
              <a:gd name="connsiteX5" fmla="*/ 0 w 23400000"/>
              <a:gd name="connsiteY5" fmla="*/ 12744000 h 12747400"/>
              <a:gd name="connsiteX6" fmla="*/ 0 w 23400000"/>
              <a:gd name="connsiteY6" fmla="*/ 0 h 12747400"/>
              <a:gd name="connsiteX0" fmla="*/ 0 w 23400000"/>
              <a:gd name="connsiteY0" fmla="*/ 0 h 12747400"/>
              <a:gd name="connsiteX1" fmla="*/ 23400000 w 23400000"/>
              <a:gd name="connsiteY1" fmla="*/ 0 h 12747400"/>
              <a:gd name="connsiteX2" fmla="*/ 23394405 w 23400000"/>
              <a:gd name="connsiteY2" fmla="*/ 9831892 h 12747400"/>
              <a:gd name="connsiteX3" fmla="*/ 17831050 w 23400000"/>
              <a:gd name="connsiteY3" fmla="*/ 9829350 h 12747400"/>
              <a:gd name="connsiteX4" fmla="*/ 17828544 w 23400000"/>
              <a:gd name="connsiteY4" fmla="*/ 12747400 h 12747400"/>
              <a:gd name="connsiteX5" fmla="*/ 0 w 23400000"/>
              <a:gd name="connsiteY5" fmla="*/ 12744000 h 12747400"/>
              <a:gd name="connsiteX6" fmla="*/ 0 w 23400000"/>
              <a:gd name="connsiteY6" fmla="*/ 0 h 12747400"/>
              <a:gd name="connsiteX0" fmla="*/ 0 w 23400000"/>
              <a:gd name="connsiteY0" fmla="*/ 0 h 12747400"/>
              <a:gd name="connsiteX1" fmla="*/ 23400000 w 23400000"/>
              <a:gd name="connsiteY1" fmla="*/ 0 h 12747400"/>
              <a:gd name="connsiteX2" fmla="*/ 23394405 w 23400000"/>
              <a:gd name="connsiteY2" fmla="*/ 9831892 h 12747400"/>
              <a:gd name="connsiteX3" fmla="*/ 17831050 w 23400000"/>
              <a:gd name="connsiteY3" fmla="*/ 9833176 h 12747400"/>
              <a:gd name="connsiteX4" fmla="*/ 17828544 w 23400000"/>
              <a:gd name="connsiteY4" fmla="*/ 12747400 h 12747400"/>
              <a:gd name="connsiteX5" fmla="*/ 0 w 23400000"/>
              <a:gd name="connsiteY5" fmla="*/ 12744000 h 12747400"/>
              <a:gd name="connsiteX6" fmla="*/ 0 w 23400000"/>
              <a:gd name="connsiteY6" fmla="*/ 0 h 1274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400000" h="12747400">
                <a:moveTo>
                  <a:pt x="0" y="0"/>
                </a:moveTo>
                <a:lnTo>
                  <a:pt x="23400000" y="0"/>
                </a:lnTo>
                <a:lnTo>
                  <a:pt x="23394405" y="9831892"/>
                </a:lnTo>
                <a:lnTo>
                  <a:pt x="17831050" y="9833176"/>
                </a:lnTo>
                <a:cubicBezTo>
                  <a:pt x="17830215" y="10805859"/>
                  <a:pt x="17829379" y="11774717"/>
                  <a:pt x="17828544" y="12747400"/>
                </a:cubicBezTo>
                <a:lnTo>
                  <a:pt x="0" y="12744000"/>
                </a:lnTo>
                <a:lnTo>
                  <a:pt x="0" y="0"/>
                </a:lnTo>
                <a:close/>
              </a:path>
            </a:pathLst>
          </a:custGeom>
          <a:solidFill>
            <a:schemeClr val="bg1">
              <a:lumMod val="95000"/>
            </a:schemeClr>
          </a:solidFill>
        </p:spPr>
        <p:txBody>
          <a:bodyPr>
            <a:normAutofit/>
          </a:bodyPr>
          <a:lstStyle>
            <a:lvl1pPr marL="0" marR="0" indent="0" algn="ctr" defTabSz="1828483" rtl="0" eaLnBrk="1" fontAlgn="auto" latinLnBrk="0" hangingPunct="1">
              <a:lnSpc>
                <a:spcPct val="10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sv-SE"/>
              <a:t>Drag </a:t>
            </a:r>
            <a:r>
              <a:rPr lang="en-NL"/>
              <a:t>and drop a background image into this fram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3059999" y="3402014"/>
            <a:ext cx="12156189" cy="6911976"/>
          </a:xfrm>
          <a:prstGeom prst="rect">
            <a:avLst/>
          </a:prstGeom>
          <a:solidFill>
            <a:schemeClr val="bg1"/>
          </a:solidFill>
        </p:spPr>
        <p:txBody>
          <a:bodyPr vert="horz" lIns="720000" tIns="540000" rIns="360000" bIns="360000" rtlCol="0" anchor="t">
            <a:noAutofit/>
          </a:bodyPr>
          <a:lstStyle>
            <a:lvl1pPr>
              <a:defRPr/>
            </a:lvl1pPr>
          </a:lstStyle>
          <a:p>
            <a:r>
              <a:rPr lang="en-GB" noProof="0"/>
              <a:t>Put the title here,</a:t>
            </a:r>
            <a:br>
              <a:rPr lang="en-GB" noProof="0"/>
            </a:br>
            <a:r>
              <a:rPr lang="en-GB" noProof="0"/>
              <a:t>keep it bold 80 </a:t>
            </a:r>
            <a:r>
              <a:rPr lang="en-GB" noProof="0" err="1"/>
              <a:t>pt</a:t>
            </a:r>
            <a:br>
              <a:rPr lang="en-GB" noProof="0"/>
            </a:br>
            <a:endParaRPr lang="en-GB" noProof="0"/>
          </a:p>
        </p:txBody>
      </p:sp>
      <p:pic>
        <p:nvPicPr>
          <p:cNvPr id="16" name="Picture 15">
            <a:extLst>
              <a:ext uri="{FF2B5EF4-FFF2-40B4-BE49-F238E27FC236}">
                <a16:creationId xmlns:a16="http://schemas.microsoft.com/office/drawing/2014/main" id="{B318DE6B-1EB2-D248-BE9E-1B173597E1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32676" y="10313988"/>
            <a:ext cx="5058531" cy="3402012"/>
          </a:xfrm>
          <a:prstGeom prst="rect">
            <a:avLst/>
          </a:prstGeom>
        </p:spPr>
      </p:pic>
    </p:spTree>
    <p:extLst>
      <p:ext uri="{BB962C8B-B14F-4D97-AF65-F5344CB8AC3E}">
        <p14:creationId xmlns:p14="http://schemas.microsoft.com/office/powerpoint/2010/main" val="423115192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Title on double background">
    <p:bg>
      <p:bgPr>
        <a:solidFill>
          <a:schemeClr val="bg1"/>
        </a:solidFill>
        <a:effectLst/>
      </p:bgPr>
    </p:bg>
    <p:spTree>
      <p:nvGrpSpPr>
        <p:cNvPr id="1" name=""/>
        <p:cNvGrpSpPr/>
        <p:nvPr/>
      </p:nvGrpSpPr>
      <p:grpSpPr>
        <a:xfrm>
          <a:off x="0" y="0"/>
          <a:ext cx="0" cy="0"/>
          <a:chOff x="0" y="0"/>
          <a:chExt cx="0" cy="0"/>
        </a:xfrm>
      </p:grpSpPr>
      <p:sp>
        <p:nvSpPr>
          <p:cNvPr id="2" name="Picture Placeholder 10">
            <a:extLst>
              <a:ext uri="{FF2B5EF4-FFF2-40B4-BE49-F238E27FC236}">
                <a16:creationId xmlns:a16="http://schemas.microsoft.com/office/drawing/2014/main" id="{DAF73074-2E04-AA55-418B-D0B0A182F573}"/>
              </a:ext>
            </a:extLst>
          </p:cNvPr>
          <p:cNvSpPr>
            <a:spLocks noGrp="1"/>
          </p:cNvSpPr>
          <p:nvPr>
            <p:ph type="pic" sz="quarter" idx="15" hasCustomPrompt="1"/>
          </p:nvPr>
        </p:nvSpPr>
        <p:spPr>
          <a:xfrm>
            <a:off x="491102" y="486000"/>
            <a:ext cx="8674687" cy="12744000"/>
          </a:xfrm>
          <a:solidFill>
            <a:schemeClr val="bg1">
              <a:lumMod val="8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14" name="Picture Placeholder 6">
            <a:extLst>
              <a:ext uri="{FF2B5EF4-FFF2-40B4-BE49-F238E27FC236}">
                <a16:creationId xmlns:a16="http://schemas.microsoft.com/office/drawing/2014/main" id="{692D6ABC-8D9C-1E47-A2A8-2DC39B83F77E}"/>
              </a:ext>
            </a:extLst>
          </p:cNvPr>
          <p:cNvSpPr>
            <a:spLocks noGrp="1"/>
          </p:cNvSpPr>
          <p:nvPr>
            <p:ph type="pic" sz="quarter" idx="19" hasCustomPrompt="1"/>
          </p:nvPr>
        </p:nvSpPr>
        <p:spPr>
          <a:xfrm>
            <a:off x="9165792" y="486000"/>
            <a:ext cx="14725416" cy="12744000"/>
          </a:xfrm>
          <a:custGeom>
            <a:avLst/>
            <a:gdLst>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4730 w 23399999"/>
              <a:gd name="connsiteY8"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1337594 w 23399999"/>
              <a:gd name="connsiteY8" fmla="*/ 1164380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56794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5 w 23400000"/>
              <a:gd name="connsiteY4" fmla="*/ 9824813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603855 w 23439125"/>
              <a:gd name="connsiteY0" fmla="*/ 331220 h 13075220"/>
              <a:gd name="connsiteX1" fmla="*/ 23439124 w 23439125"/>
              <a:gd name="connsiteY1" fmla="*/ 331220 h 13075220"/>
              <a:gd name="connsiteX2" fmla="*/ 23439124 w 23439125"/>
              <a:gd name="connsiteY2" fmla="*/ 331220 h 13075220"/>
              <a:gd name="connsiteX3" fmla="*/ 23439125 w 23439125"/>
              <a:gd name="connsiteY3" fmla="*/ 10162828 h 13075220"/>
              <a:gd name="connsiteX4" fmla="*/ 17859729 w 23439125"/>
              <a:gd name="connsiteY4" fmla="*/ 10156033 h 13075220"/>
              <a:gd name="connsiteX5" fmla="*/ 17859730 w 23439125"/>
              <a:gd name="connsiteY5" fmla="*/ 13075220 h 13075220"/>
              <a:gd name="connsiteX6" fmla="*/ 39125 w 23439125"/>
              <a:gd name="connsiteY6" fmla="*/ 13075220 h 13075220"/>
              <a:gd name="connsiteX7" fmla="*/ 39125 w 23439125"/>
              <a:gd name="connsiteY7" fmla="*/ 13075220 h 13075220"/>
              <a:gd name="connsiteX8" fmla="*/ 39125 w 23439125"/>
              <a:gd name="connsiteY8" fmla="*/ 1182480 h 13075220"/>
              <a:gd name="connsiteX9" fmla="*/ 2603855 w 23439125"/>
              <a:gd name="connsiteY9" fmla="*/ 331220 h 1307522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2564730 w 23400000"/>
              <a:gd name="connsiteY8" fmla="*/ 0 h 12744000"/>
              <a:gd name="connsiteX0" fmla="*/ 869121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8691210 w 23400000"/>
              <a:gd name="connsiteY8" fmla="*/ 0 h 12744000"/>
              <a:gd name="connsiteX0" fmla="*/ 8674584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8674584 w 23400000"/>
              <a:gd name="connsiteY8" fmla="*/ 0 h 12744000"/>
              <a:gd name="connsiteX0" fmla="*/ 8674584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8674584 w 23400000"/>
              <a:gd name="connsiteY7" fmla="*/ 0 h 12744000"/>
              <a:gd name="connsiteX0" fmla="*/ 0 w 14725416"/>
              <a:gd name="connsiteY0" fmla="*/ 0 h 12744000"/>
              <a:gd name="connsiteX1" fmla="*/ 14725415 w 14725416"/>
              <a:gd name="connsiteY1" fmla="*/ 0 h 12744000"/>
              <a:gd name="connsiteX2" fmla="*/ 14725415 w 14725416"/>
              <a:gd name="connsiteY2" fmla="*/ 0 h 12744000"/>
              <a:gd name="connsiteX3" fmla="*/ 14725416 w 14725416"/>
              <a:gd name="connsiteY3" fmla="*/ 9831608 h 12744000"/>
              <a:gd name="connsiteX4" fmla="*/ 9146020 w 14725416"/>
              <a:gd name="connsiteY4" fmla="*/ 9824813 h 12744000"/>
              <a:gd name="connsiteX5" fmla="*/ 9146021 w 14725416"/>
              <a:gd name="connsiteY5" fmla="*/ 12744000 h 12744000"/>
              <a:gd name="connsiteX6" fmla="*/ 3903 w 14725416"/>
              <a:gd name="connsiteY6" fmla="*/ 12744000 h 12744000"/>
              <a:gd name="connsiteX7" fmla="*/ 0 w 14725416"/>
              <a:gd name="connsiteY7" fmla="*/ 0 h 127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25416" h="12744000">
                <a:moveTo>
                  <a:pt x="0" y="0"/>
                </a:moveTo>
                <a:lnTo>
                  <a:pt x="14725415" y="0"/>
                </a:lnTo>
                <a:lnTo>
                  <a:pt x="14725415" y="0"/>
                </a:lnTo>
                <a:cubicBezTo>
                  <a:pt x="14725415" y="3277203"/>
                  <a:pt x="14725416" y="6554405"/>
                  <a:pt x="14725416" y="9831608"/>
                </a:cubicBezTo>
                <a:cubicBezTo>
                  <a:pt x="14724997" y="9831571"/>
                  <a:pt x="9140821" y="9823891"/>
                  <a:pt x="9146020" y="9824813"/>
                </a:cubicBezTo>
                <a:cubicBezTo>
                  <a:pt x="9162597" y="9827753"/>
                  <a:pt x="9140354" y="12744037"/>
                  <a:pt x="9146021" y="12744000"/>
                </a:cubicBezTo>
                <a:lnTo>
                  <a:pt x="3903" y="12744000"/>
                </a:lnTo>
                <a:lnTo>
                  <a:pt x="0" y="0"/>
                </a:lnTo>
                <a:close/>
              </a:path>
            </a:pathLst>
          </a:custGeom>
          <a:solidFill>
            <a:schemeClr val="bg1">
              <a:lumMod val="95000"/>
            </a:schemeClr>
          </a:solidFill>
        </p:spPr>
        <p:txBody>
          <a:bodyPr/>
          <a:lstStyle>
            <a:lvl1pPr algn="ctr">
              <a:defRPr sz="2400">
                <a:solidFill>
                  <a:schemeClr val="tx1">
                    <a:lumMod val="65000"/>
                    <a:lumOff val="35000"/>
                  </a:schemeClr>
                </a:solidFill>
              </a:defRPr>
            </a:lvl1pPr>
          </a:lstStyle>
          <a:p>
            <a:r>
              <a:rPr lang="en-NL"/>
              <a:t>Drag and drop a topic-related picture into this fram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3059999" y="3402014"/>
            <a:ext cx="12156189" cy="6911976"/>
          </a:xfrm>
          <a:prstGeom prst="rect">
            <a:avLst/>
          </a:prstGeom>
          <a:solidFill>
            <a:schemeClr val="bg1"/>
          </a:solidFill>
        </p:spPr>
        <p:txBody>
          <a:bodyPr vert="horz" lIns="720000" tIns="540000" rIns="360000" bIns="360000" rtlCol="0" anchor="t">
            <a:noAutofit/>
          </a:bodyPr>
          <a:lstStyle>
            <a:lvl1pPr>
              <a:defRPr/>
            </a:lvl1pPr>
          </a:lstStyle>
          <a:p>
            <a:r>
              <a:rPr lang="en-GB" noProof="0"/>
              <a:t>Put the title here,</a:t>
            </a:r>
            <a:br>
              <a:rPr lang="en-GB" noProof="0"/>
            </a:br>
            <a:r>
              <a:rPr lang="en-GB" noProof="0"/>
              <a:t>keep it bold 80 </a:t>
            </a:r>
            <a:r>
              <a:rPr lang="en-GB" noProof="0" err="1"/>
              <a:t>pt</a:t>
            </a:r>
            <a:endParaRPr lang="en-GB" noProof="0"/>
          </a:p>
        </p:txBody>
      </p:sp>
      <p:pic>
        <p:nvPicPr>
          <p:cNvPr id="16" name="Picture 15">
            <a:extLst>
              <a:ext uri="{FF2B5EF4-FFF2-40B4-BE49-F238E27FC236}">
                <a16:creationId xmlns:a16="http://schemas.microsoft.com/office/drawing/2014/main" id="{B318DE6B-1EB2-D248-BE9E-1B173597E1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32676" y="10313988"/>
            <a:ext cx="5058531" cy="3402012"/>
          </a:xfrm>
          <a:prstGeom prst="rect">
            <a:avLst/>
          </a:prstGeom>
        </p:spPr>
      </p:pic>
    </p:spTree>
    <p:extLst>
      <p:ext uri="{BB962C8B-B14F-4D97-AF65-F5344CB8AC3E}">
        <p14:creationId xmlns:p14="http://schemas.microsoft.com/office/powerpoint/2010/main" val="266393819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Agenda or conten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3293FC4-39C9-4047-8405-0EE5AF044904}"/>
              </a:ext>
            </a:extLst>
          </p:cNvPr>
          <p:cNvSpPr>
            <a:spLocks noGrp="1"/>
          </p:cNvSpPr>
          <p:nvPr>
            <p:ph type="pic" sz="quarter" idx="13" hasCustomPrompt="1"/>
          </p:nvPr>
        </p:nvSpPr>
        <p:spPr>
          <a:xfrm>
            <a:off x="486001" y="486000"/>
            <a:ext cx="10440000" cy="12744000"/>
          </a:xfrm>
          <a:solidFill>
            <a:schemeClr val="bg1">
              <a:lumMod val="95000"/>
            </a:schemeClr>
          </a:solidFill>
        </p:spPr>
        <p:txBody>
          <a:bodyPr/>
          <a:lstStyle>
            <a:lvl1pPr algn="ctr">
              <a:defRPr sz="2400">
                <a:solidFill>
                  <a:schemeClr val="tx1">
                    <a:lumMod val="65000"/>
                    <a:lumOff val="35000"/>
                  </a:schemeClr>
                </a:solidFill>
              </a:defRPr>
            </a:lvl1pPr>
          </a:lstStyle>
          <a:p>
            <a:r>
              <a:rPr lang="en-NL"/>
              <a:t>Fill this frame with one of the Theme Colours</a:t>
            </a:r>
          </a:p>
        </p:txBody>
      </p:sp>
      <p:sp>
        <p:nvSpPr>
          <p:cNvPr id="9" name="Text Placeholder 3">
            <a:extLst>
              <a:ext uri="{FF2B5EF4-FFF2-40B4-BE49-F238E27FC236}">
                <a16:creationId xmlns:a16="http://schemas.microsoft.com/office/drawing/2014/main" id="{74EDCDDC-BFAD-0048-95CD-93E49D18174D}"/>
              </a:ext>
            </a:extLst>
          </p:cNvPr>
          <p:cNvSpPr>
            <a:spLocks noGrp="1"/>
          </p:cNvSpPr>
          <p:nvPr>
            <p:ph type="body" sz="half" idx="2" hasCustomPrompt="1"/>
          </p:nvPr>
        </p:nvSpPr>
        <p:spPr>
          <a:xfrm>
            <a:off x="12191208" y="1961458"/>
            <a:ext cx="9144793" cy="10081320"/>
          </a:xfrm>
        </p:spPr>
        <p:txBody>
          <a:bodyPr>
            <a:noAutofit/>
          </a:bodyPr>
          <a:lstStyle>
            <a:lvl1pPr marL="0" marR="0" indent="0" algn="l" defTabSz="1828483" rtl="0" eaLnBrk="1" fontAlgn="auto" latinLnBrk="0" hangingPunct="1">
              <a:lnSpc>
                <a:spcPct val="100000"/>
              </a:lnSpc>
              <a:spcBef>
                <a:spcPts val="2000"/>
              </a:spcBef>
              <a:spcAft>
                <a:spcPts val="0"/>
              </a:spcAft>
              <a:buClrTx/>
              <a:buSzTx/>
              <a:buFont typeface="Arial" panose="020B0604020202020204" pitchFamily="34" charset="0"/>
              <a:buNone/>
              <a:tabLst/>
              <a:defRPr sz="3200"/>
            </a:lvl1pPr>
            <a:lvl2pPr marL="914240" indent="0">
              <a:buNone/>
              <a:defRPr sz="2800"/>
            </a:lvl2pPr>
            <a:lvl3pPr marL="1828483" indent="0">
              <a:buNone/>
              <a:defRPr sz="2400"/>
            </a:lvl3pPr>
            <a:lvl4pPr marL="2742723" indent="0">
              <a:buNone/>
              <a:defRPr sz="2000"/>
            </a:lvl4pPr>
            <a:lvl5pPr marL="3656961" indent="0">
              <a:buNone/>
              <a:defRPr sz="2000"/>
            </a:lvl5pPr>
            <a:lvl6pPr marL="4571201" indent="0">
              <a:buNone/>
              <a:defRPr sz="2000"/>
            </a:lvl6pPr>
            <a:lvl7pPr marL="5485440" indent="0">
              <a:buNone/>
              <a:defRPr sz="2000"/>
            </a:lvl7pPr>
            <a:lvl8pPr marL="6399680" indent="0">
              <a:buNone/>
              <a:defRPr sz="2000"/>
            </a:lvl8pPr>
            <a:lvl9pPr marL="7313920" indent="0">
              <a:buNone/>
              <a:defRPr sz="2000"/>
            </a:lvl9pPr>
          </a:lstStyle>
          <a:p>
            <a:pPr marL="0" marR="0" lvl="0" indent="0" algn="l" defTabSz="182848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48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48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48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48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483" rtl="0" eaLnBrk="1" fontAlgn="auto" latinLnBrk="0" hangingPunct="1">
              <a:lnSpc>
                <a:spcPct val="100000"/>
              </a:lnSpc>
              <a:spcBef>
                <a:spcPts val="2000"/>
              </a:spcBef>
              <a:spcAft>
                <a:spcPts val="0"/>
              </a:spcAft>
              <a:buClrTx/>
              <a:buSzTx/>
              <a:buFont typeface="Arial" panose="020B0604020202020204" pitchFamily="34" charset="0"/>
              <a:buNone/>
              <a:tabLst/>
              <a:defRPr/>
            </a:pPr>
            <a:endParaRPr lang="en-GB" noProof="0"/>
          </a:p>
        </p:txBody>
      </p:sp>
      <p:sp>
        <p:nvSpPr>
          <p:cNvPr id="6" name="Title 5">
            <a:extLst>
              <a:ext uri="{FF2B5EF4-FFF2-40B4-BE49-F238E27FC236}">
                <a16:creationId xmlns:a16="http://schemas.microsoft.com/office/drawing/2014/main" id="{07211B91-AE84-A342-91A4-CA604C6D63E9}"/>
              </a:ext>
            </a:extLst>
          </p:cNvPr>
          <p:cNvSpPr>
            <a:spLocks noGrp="1"/>
          </p:cNvSpPr>
          <p:nvPr>
            <p:ph type="title" hasCustomPrompt="1"/>
          </p:nvPr>
        </p:nvSpPr>
        <p:spPr>
          <a:xfrm>
            <a:off x="1676296" y="1677600"/>
            <a:ext cx="9000000" cy="8633316"/>
          </a:xfrm>
        </p:spPr>
        <p:txBody>
          <a:bodyPr bIns="46800"/>
          <a:lstStyle/>
          <a:p>
            <a:r>
              <a:rPr lang="en-GB"/>
              <a:t>Agenda or contents</a:t>
            </a:r>
            <a:endParaRPr lang="en-NL"/>
          </a:p>
        </p:txBody>
      </p:sp>
      <p:sp>
        <p:nvSpPr>
          <p:cNvPr id="7" name="Footer Placeholder 6">
            <a:extLst>
              <a:ext uri="{FF2B5EF4-FFF2-40B4-BE49-F238E27FC236}">
                <a16:creationId xmlns:a16="http://schemas.microsoft.com/office/drawing/2014/main" id="{AA71B48D-AD8E-4041-BC0A-97827EA167E2}"/>
              </a:ext>
            </a:extLst>
          </p:cNvPr>
          <p:cNvSpPr>
            <a:spLocks noGrp="1"/>
          </p:cNvSpPr>
          <p:nvPr>
            <p:ph type="ftr" sz="quarter" idx="16"/>
          </p:nvPr>
        </p:nvSpPr>
        <p:spPr/>
        <p:txBody>
          <a:bodyPr/>
          <a:lstStyle/>
          <a:p>
            <a:endParaRPr lang="en-NL"/>
          </a:p>
        </p:txBody>
      </p:sp>
      <p:sp>
        <p:nvSpPr>
          <p:cNvPr id="13" name="TextBox 12">
            <a:extLst>
              <a:ext uri="{FF2B5EF4-FFF2-40B4-BE49-F238E27FC236}">
                <a16:creationId xmlns:a16="http://schemas.microsoft.com/office/drawing/2014/main" id="{3A2D6FA1-9D20-AF47-912B-1D770AF0FEBC}"/>
              </a:ext>
            </a:extLst>
          </p:cNvPr>
          <p:cNvSpPr txBox="1"/>
          <p:nvPr userDrawn="1"/>
        </p:nvSpPr>
        <p:spPr>
          <a:xfrm>
            <a:off x="22416463" y="13226646"/>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50127699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Chapter headline on simple background">
    <p:bg>
      <p:bgPr>
        <a:solidFill>
          <a:schemeClr val="bg1"/>
        </a:solidFill>
        <a:effectLst/>
      </p:bgPr>
    </p:bg>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ADB4BA95-E492-D840-88F6-2FE23D26918D}"/>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483" rtl="0" eaLnBrk="1" fontAlgn="auto" latinLnBrk="0" hangingPunct="1">
              <a:lnSpc>
                <a:spcPct val="10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7" name="Title Placeholder 6">
            <a:extLst>
              <a:ext uri="{FF2B5EF4-FFF2-40B4-BE49-F238E27FC236}">
                <a16:creationId xmlns:a16="http://schemas.microsoft.com/office/drawing/2014/main" id="{1B090AE2-5953-9248-BD9A-B5FA2155AD8A}"/>
              </a:ext>
            </a:extLst>
          </p:cNvPr>
          <p:cNvSpPr>
            <a:spLocks noGrp="1"/>
          </p:cNvSpPr>
          <p:nvPr>
            <p:ph type="title" hasCustomPrompt="1"/>
          </p:nvPr>
        </p:nvSpPr>
        <p:spPr>
          <a:xfrm>
            <a:off x="3059999" y="3402014"/>
            <a:ext cx="12156189" cy="6911976"/>
          </a:xfrm>
          <a:prstGeom prst="rect">
            <a:avLst/>
          </a:prstGeom>
          <a:solidFill>
            <a:schemeClr val="bg1"/>
          </a:solidFill>
        </p:spPr>
        <p:txBody>
          <a:bodyPr vert="horz" lIns="720000" tIns="360000" rIns="360000" bIns="36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C4ADDE55-E340-6E4C-86B1-7B03B8C32387}"/>
              </a:ext>
            </a:extLst>
          </p:cNvPr>
          <p:cNvSpPr>
            <a:spLocks noGrp="1"/>
          </p:cNvSpPr>
          <p:nvPr>
            <p:ph type="ftr" sz="quarter" idx="15"/>
          </p:nvPr>
        </p:nvSpPr>
        <p:spPr/>
        <p:txBody>
          <a:bodyPr/>
          <a:lstStyle/>
          <a:p>
            <a:endParaRPr lang="en-NL"/>
          </a:p>
        </p:txBody>
      </p:sp>
      <p:sp>
        <p:nvSpPr>
          <p:cNvPr id="10" name="TextBox 9">
            <a:extLst>
              <a:ext uri="{FF2B5EF4-FFF2-40B4-BE49-F238E27FC236}">
                <a16:creationId xmlns:a16="http://schemas.microsoft.com/office/drawing/2014/main" id="{7FB25574-EA1E-8647-9572-8972274746BB}"/>
              </a:ext>
            </a:extLst>
          </p:cNvPr>
          <p:cNvSpPr txBox="1"/>
          <p:nvPr userDrawn="1"/>
        </p:nvSpPr>
        <p:spPr>
          <a:xfrm>
            <a:off x="22416463" y="13226646"/>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0529699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ong text in two columns and picture">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EED5078-C5D9-0E4F-B9E3-7CF7BBC8C373}"/>
              </a:ext>
            </a:extLst>
          </p:cNvPr>
          <p:cNvSpPr>
            <a:spLocks noGrp="1"/>
          </p:cNvSpPr>
          <p:nvPr>
            <p:ph type="pic" sz="quarter" idx="15" hasCustomPrompt="1"/>
          </p:nvPr>
        </p:nvSpPr>
        <p:spPr>
          <a:xfrm>
            <a:off x="491102" y="486000"/>
            <a:ext cx="10764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2" name="Text Placeholder 3">
            <a:extLst>
              <a:ext uri="{FF2B5EF4-FFF2-40B4-BE49-F238E27FC236}">
                <a16:creationId xmlns:a16="http://schemas.microsoft.com/office/drawing/2014/main" id="{AE87E5A1-8A67-0448-BA9A-DA74F50AE099}"/>
              </a:ext>
            </a:extLst>
          </p:cNvPr>
          <p:cNvSpPr>
            <a:spLocks noGrp="1"/>
          </p:cNvSpPr>
          <p:nvPr>
            <p:ph type="body" sz="quarter" idx="18" hasCustomPrompt="1"/>
          </p:nvPr>
        </p:nvSpPr>
        <p:spPr>
          <a:xfrm>
            <a:off x="12191206" y="5129213"/>
            <a:ext cx="5040560" cy="6904512"/>
          </a:xfrm>
        </p:spPr>
        <p:txBody>
          <a:bodyPr>
            <a:noAutofit/>
          </a:bodyPr>
          <a:lstStyle>
            <a:lvl1pPr>
              <a:spcBef>
                <a:spcPts val="2000"/>
              </a:spcBef>
              <a:defRPr sz="2400"/>
            </a:lvl1pPr>
          </a:lstStyle>
          <a:p>
            <a:pPr lvl="0"/>
            <a:r>
              <a:rPr lang="en-GB" noProof="0"/>
              <a:t>Put the first column text here, keep it regular 24 </a:t>
            </a:r>
            <a:r>
              <a:rPr lang="en-GB" noProof="0" err="1"/>
              <a:t>pt</a:t>
            </a:r>
            <a:endParaRPr lang="en-GB" noProof="0"/>
          </a:p>
        </p:txBody>
      </p:sp>
      <p:sp>
        <p:nvSpPr>
          <p:cNvPr id="13" name="Title 1">
            <a:extLst>
              <a:ext uri="{FF2B5EF4-FFF2-40B4-BE49-F238E27FC236}">
                <a16:creationId xmlns:a16="http://schemas.microsoft.com/office/drawing/2014/main" id="{0614539B-EA7E-5F48-845E-1115C11137DF}"/>
              </a:ext>
            </a:extLst>
          </p:cNvPr>
          <p:cNvSpPr>
            <a:spLocks noGrp="1"/>
          </p:cNvSpPr>
          <p:nvPr>
            <p:ph type="title" hasCustomPrompt="1"/>
          </p:nvPr>
        </p:nvSpPr>
        <p:spPr>
          <a:xfrm>
            <a:off x="12193170" y="1677600"/>
            <a:ext cx="10514913" cy="3011659"/>
          </a:xfrm>
        </p:spPr>
        <p:txBody>
          <a:bodyPr/>
          <a:lstStyle>
            <a:lvl1pPr>
              <a:defRPr sz="6000" spc="0" baseline="0"/>
            </a:lvl1pPr>
          </a:lstStyle>
          <a:p>
            <a:r>
              <a:rPr lang="en-GB"/>
              <a:t>Put the headline here, keep it 60 </a:t>
            </a:r>
            <a:r>
              <a:rPr lang="en-GB" err="1"/>
              <a:t>pt</a:t>
            </a:r>
            <a:endParaRPr lang="en-NL"/>
          </a:p>
        </p:txBody>
      </p:sp>
      <p:sp>
        <p:nvSpPr>
          <p:cNvPr id="7" name="Text Placeholder 3">
            <a:extLst>
              <a:ext uri="{FF2B5EF4-FFF2-40B4-BE49-F238E27FC236}">
                <a16:creationId xmlns:a16="http://schemas.microsoft.com/office/drawing/2014/main" id="{B26CACA4-13A0-5940-A8FA-3FC8769DA450}"/>
              </a:ext>
            </a:extLst>
          </p:cNvPr>
          <p:cNvSpPr>
            <a:spLocks noGrp="1"/>
          </p:cNvSpPr>
          <p:nvPr>
            <p:ph type="body" sz="quarter" idx="20" hasCustomPrompt="1"/>
          </p:nvPr>
        </p:nvSpPr>
        <p:spPr>
          <a:xfrm>
            <a:off x="17653543" y="5164141"/>
            <a:ext cx="5040560" cy="6904512"/>
          </a:xfrm>
        </p:spPr>
        <p:txBody>
          <a:bodyPr>
            <a:noAutofit/>
          </a:bodyPr>
          <a:lstStyle>
            <a:lvl1pPr>
              <a:spcBef>
                <a:spcPts val="2000"/>
              </a:spcBef>
              <a:defRPr sz="2400"/>
            </a:lvl1pPr>
          </a:lstStyle>
          <a:p>
            <a:pPr lvl="0"/>
            <a:r>
              <a:rPr lang="en-GB" noProof="0"/>
              <a:t>Put the second column text here, keep it regular 24 </a:t>
            </a:r>
            <a:r>
              <a:rPr lang="en-GB" noProof="0" err="1"/>
              <a:t>pt</a:t>
            </a:r>
            <a:endParaRPr lang="en-GB" noProof="0"/>
          </a:p>
        </p:txBody>
      </p:sp>
      <p:sp>
        <p:nvSpPr>
          <p:cNvPr id="4" name="Footer Placeholder 3">
            <a:extLst>
              <a:ext uri="{FF2B5EF4-FFF2-40B4-BE49-F238E27FC236}">
                <a16:creationId xmlns:a16="http://schemas.microsoft.com/office/drawing/2014/main" id="{236B4C3F-2345-FD42-B780-BD49D67130E9}"/>
              </a:ext>
            </a:extLst>
          </p:cNvPr>
          <p:cNvSpPr>
            <a:spLocks noGrp="1"/>
          </p:cNvSpPr>
          <p:nvPr>
            <p:ph type="ftr" sz="quarter" idx="21"/>
          </p:nvPr>
        </p:nvSpPr>
        <p:spPr/>
        <p:txBody>
          <a:bodyPr/>
          <a:lstStyle/>
          <a:p>
            <a:endParaRPr lang="en-NL"/>
          </a:p>
        </p:txBody>
      </p:sp>
      <p:sp>
        <p:nvSpPr>
          <p:cNvPr id="11" name="TextBox 10">
            <a:extLst>
              <a:ext uri="{FF2B5EF4-FFF2-40B4-BE49-F238E27FC236}">
                <a16:creationId xmlns:a16="http://schemas.microsoft.com/office/drawing/2014/main" id="{2C18B1BF-0727-F84E-B2A7-098862261928}"/>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103337252"/>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Chapter headline on double background">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7D48BD0-6997-F144-A2F5-799BC3C77E9E}"/>
              </a:ext>
            </a:extLst>
          </p:cNvPr>
          <p:cNvSpPr>
            <a:spLocks noGrp="1"/>
          </p:cNvSpPr>
          <p:nvPr>
            <p:ph type="pic" sz="quarter" idx="16" hasCustomPrompt="1"/>
          </p:nvPr>
        </p:nvSpPr>
        <p:spPr>
          <a:xfrm>
            <a:off x="9166226" y="486000"/>
            <a:ext cx="14724980" cy="12744000"/>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background image into this frame</a:t>
            </a:r>
          </a:p>
        </p:txBody>
      </p:sp>
      <p:sp>
        <p:nvSpPr>
          <p:cNvPr id="8" name="Picture Placeholder 10">
            <a:extLst>
              <a:ext uri="{FF2B5EF4-FFF2-40B4-BE49-F238E27FC236}">
                <a16:creationId xmlns:a16="http://schemas.microsoft.com/office/drawing/2014/main" id="{1309BD59-499E-7B48-84B0-F24A66C27380}"/>
              </a:ext>
            </a:extLst>
          </p:cNvPr>
          <p:cNvSpPr>
            <a:spLocks noGrp="1"/>
          </p:cNvSpPr>
          <p:nvPr>
            <p:ph type="pic" sz="quarter" idx="14" hasCustomPrompt="1"/>
          </p:nvPr>
        </p:nvSpPr>
        <p:spPr>
          <a:xfrm>
            <a:off x="491206" y="486000"/>
            <a:ext cx="8675019" cy="12744000"/>
          </a:xfrm>
          <a:solidFill>
            <a:schemeClr val="bg1">
              <a:lumMod val="8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9" name="Title Placeholder 6">
            <a:extLst>
              <a:ext uri="{FF2B5EF4-FFF2-40B4-BE49-F238E27FC236}">
                <a16:creationId xmlns:a16="http://schemas.microsoft.com/office/drawing/2014/main" id="{9DDA9E19-4F77-3D4F-9876-A15B1427723D}"/>
              </a:ext>
            </a:extLst>
          </p:cNvPr>
          <p:cNvSpPr>
            <a:spLocks noGrp="1"/>
          </p:cNvSpPr>
          <p:nvPr>
            <p:ph type="title" hasCustomPrompt="1"/>
          </p:nvPr>
        </p:nvSpPr>
        <p:spPr>
          <a:xfrm>
            <a:off x="3059999" y="3402014"/>
            <a:ext cx="12156189" cy="6911976"/>
          </a:xfrm>
          <a:prstGeom prst="rect">
            <a:avLst/>
          </a:prstGeom>
          <a:solidFill>
            <a:schemeClr val="bg1"/>
          </a:solidFill>
        </p:spPr>
        <p:txBody>
          <a:bodyPr vert="horz" lIns="720000" tIns="360000" rIns="360000" bIns="36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5CA18264-1F8B-3A44-B551-1BBEE87ED5B3}"/>
              </a:ext>
            </a:extLst>
          </p:cNvPr>
          <p:cNvSpPr>
            <a:spLocks noGrp="1"/>
          </p:cNvSpPr>
          <p:nvPr>
            <p:ph type="ftr" sz="quarter" idx="17"/>
          </p:nvPr>
        </p:nvSpPr>
        <p:spPr/>
        <p:txBody>
          <a:bodyPr/>
          <a:lstStyle/>
          <a:p>
            <a:endParaRPr lang="en-NL"/>
          </a:p>
        </p:txBody>
      </p:sp>
      <p:sp>
        <p:nvSpPr>
          <p:cNvPr id="11" name="TextBox 10">
            <a:extLst>
              <a:ext uri="{FF2B5EF4-FFF2-40B4-BE49-F238E27FC236}">
                <a16:creationId xmlns:a16="http://schemas.microsoft.com/office/drawing/2014/main" id="{17ABB78B-16D4-9548-AD33-F584DB55BA7A}"/>
              </a:ext>
            </a:extLst>
          </p:cNvPr>
          <p:cNvSpPr txBox="1"/>
          <p:nvPr userDrawn="1"/>
        </p:nvSpPr>
        <p:spPr>
          <a:xfrm>
            <a:off x="22416463" y="13226646"/>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12726905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Chapter headline and number 1">
    <p:bg>
      <p:bgPr>
        <a:solidFill>
          <a:schemeClr val="bg1"/>
        </a:solidFill>
        <a:effectLst/>
      </p:bgPr>
    </p:bg>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FBC26CA4-EB48-1543-B2BB-C8B879012FEC}"/>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5" name="Text Placeholder 4">
            <a:extLst>
              <a:ext uri="{FF2B5EF4-FFF2-40B4-BE49-F238E27FC236}">
                <a16:creationId xmlns:a16="http://schemas.microsoft.com/office/drawing/2014/main" id="{D692063E-373D-9A4C-B3F2-4CED294F18A0}"/>
              </a:ext>
            </a:extLst>
          </p:cNvPr>
          <p:cNvSpPr>
            <a:spLocks noGrp="1"/>
          </p:cNvSpPr>
          <p:nvPr>
            <p:ph type="body" sz="quarter" idx="11" hasCustomPrompt="1"/>
          </p:nvPr>
        </p:nvSpPr>
        <p:spPr>
          <a:xfrm>
            <a:off x="3066646" y="3402014"/>
            <a:ext cx="6113166" cy="6911976"/>
          </a:xfrm>
          <a:solidFill>
            <a:schemeClr val="bg1"/>
          </a:solidFill>
        </p:spPr>
        <p:txBody>
          <a:bodyPr anchor="ctr" anchorCtr="0">
            <a:noAutofit/>
          </a:bodyPr>
          <a:lstStyle>
            <a:lvl1pPr marL="0" indent="0" algn="ctr">
              <a:buNone/>
              <a:defRPr sz="29999" b="1" spc="-600" baseline="0">
                <a:ln>
                  <a:noFill/>
                </a:ln>
                <a:solidFill>
                  <a:schemeClr val="tx1"/>
                </a:solidFill>
              </a:defRPr>
            </a:lvl1pPr>
          </a:lstStyle>
          <a:p>
            <a:pPr lvl="0"/>
            <a:r>
              <a:rPr lang="en-GB" noProof="0"/>
              <a:t>#</a:t>
            </a:r>
          </a:p>
        </p:txBody>
      </p:sp>
      <p:sp>
        <p:nvSpPr>
          <p:cNvPr id="9" name="Title Placeholder 6">
            <a:extLst>
              <a:ext uri="{FF2B5EF4-FFF2-40B4-BE49-F238E27FC236}">
                <a16:creationId xmlns:a16="http://schemas.microsoft.com/office/drawing/2014/main" id="{8EE4B79D-13C4-D44B-B7EA-5A90670CE600}"/>
              </a:ext>
            </a:extLst>
          </p:cNvPr>
          <p:cNvSpPr>
            <a:spLocks noGrp="1"/>
          </p:cNvSpPr>
          <p:nvPr>
            <p:ph type="title" hasCustomPrompt="1"/>
          </p:nvPr>
        </p:nvSpPr>
        <p:spPr>
          <a:xfrm>
            <a:off x="9166225" y="3402014"/>
            <a:ext cx="12169776" cy="6911976"/>
          </a:xfrm>
          <a:prstGeom prst="rect">
            <a:avLst/>
          </a:prstGeom>
          <a:solidFill>
            <a:schemeClr val="bg1"/>
          </a:solidFill>
        </p:spPr>
        <p:txBody>
          <a:bodyPr vert="horz" lIns="360000" tIns="360000" rIns="360000" bIns="36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1A1CBB60-7354-0F46-A5EC-2B7F347405A8}"/>
              </a:ext>
            </a:extLst>
          </p:cNvPr>
          <p:cNvSpPr>
            <a:spLocks noGrp="1"/>
          </p:cNvSpPr>
          <p:nvPr>
            <p:ph type="ftr" sz="quarter" idx="15"/>
          </p:nvPr>
        </p:nvSpPr>
        <p:spPr/>
        <p:txBody>
          <a:bodyPr/>
          <a:lstStyle/>
          <a:p>
            <a:endParaRPr lang="en-NL"/>
          </a:p>
        </p:txBody>
      </p:sp>
      <p:sp>
        <p:nvSpPr>
          <p:cNvPr id="11" name="TextBox 10">
            <a:extLst>
              <a:ext uri="{FF2B5EF4-FFF2-40B4-BE49-F238E27FC236}">
                <a16:creationId xmlns:a16="http://schemas.microsoft.com/office/drawing/2014/main" id="{40541476-0AFC-234B-BC49-0499CC038C91}"/>
              </a:ext>
            </a:extLst>
          </p:cNvPr>
          <p:cNvSpPr txBox="1"/>
          <p:nvPr userDrawn="1"/>
        </p:nvSpPr>
        <p:spPr>
          <a:xfrm>
            <a:off x="22416463" y="13226646"/>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69444945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Text and picture on the right">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13127310" y="486000"/>
            <a:ext cx="10763999" cy="12744000"/>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1674329" y="5129214"/>
            <a:ext cx="10516084" cy="6904512"/>
          </a:xfrm>
        </p:spPr>
        <p:txBody>
          <a:bodyPr>
            <a:noAutofit/>
          </a:bodyPr>
          <a:lstStyle>
            <a:lvl1pPr>
              <a:spcBef>
                <a:spcPts val="2000"/>
              </a:spcBef>
              <a:defRPr sz="3200"/>
            </a:lvl1pPr>
          </a:lstStyle>
          <a:p>
            <a:pPr lvl="0"/>
            <a:r>
              <a:rPr lang="en-GB" noProof="0"/>
              <a:t>Put the paragraph text here, keep it regular 32 </a:t>
            </a:r>
            <a:r>
              <a:rPr lang="en-GB" noProof="0" err="1"/>
              <a:t>pt</a:t>
            </a:r>
            <a:endParaRPr lang="en-GB" noProof="0"/>
          </a:p>
        </p:txBody>
      </p:sp>
      <p:sp>
        <p:nvSpPr>
          <p:cNvPr id="2" name="Title 1">
            <a:extLst>
              <a:ext uri="{FF2B5EF4-FFF2-40B4-BE49-F238E27FC236}">
                <a16:creationId xmlns:a16="http://schemas.microsoft.com/office/drawing/2014/main" id="{44A2E15B-0973-F742-A266-E1107E35FE40}"/>
              </a:ext>
            </a:extLst>
          </p:cNvPr>
          <p:cNvSpPr>
            <a:spLocks noGrp="1"/>
          </p:cNvSpPr>
          <p:nvPr>
            <p:ph type="title" hasCustomPrompt="1"/>
          </p:nvPr>
        </p:nvSpPr>
        <p:spPr>
          <a:xfrm>
            <a:off x="1676296" y="1677600"/>
            <a:ext cx="10514914" cy="3011660"/>
          </a:xfrm>
        </p:spPr>
        <p:txBody>
          <a:bodyPr/>
          <a:lstStyle/>
          <a:p>
            <a:r>
              <a:rPr lang="en-GB"/>
              <a:t>Put the headline here, keep it 80 </a:t>
            </a:r>
            <a:r>
              <a:rPr lang="en-GB" err="1"/>
              <a:t>pt</a:t>
            </a:r>
            <a:endParaRPr lang="en-NL"/>
          </a:p>
        </p:txBody>
      </p:sp>
      <p:sp>
        <p:nvSpPr>
          <p:cNvPr id="7" name="Footer Placeholder 6">
            <a:extLst>
              <a:ext uri="{FF2B5EF4-FFF2-40B4-BE49-F238E27FC236}">
                <a16:creationId xmlns:a16="http://schemas.microsoft.com/office/drawing/2014/main" id="{1BBF2C0D-081E-D341-990A-85E80DD0D1B7}"/>
              </a:ext>
            </a:extLst>
          </p:cNvPr>
          <p:cNvSpPr>
            <a:spLocks noGrp="1"/>
          </p:cNvSpPr>
          <p:nvPr>
            <p:ph type="ftr" sz="quarter" idx="19"/>
          </p:nvPr>
        </p:nvSpPr>
        <p:spPr/>
        <p:txBody>
          <a:bodyPr/>
          <a:lstStyle/>
          <a:p>
            <a:endParaRPr lang="en-NL"/>
          </a:p>
        </p:txBody>
      </p:sp>
      <p:sp>
        <p:nvSpPr>
          <p:cNvPr id="10" name="TextBox 9">
            <a:extLst>
              <a:ext uri="{FF2B5EF4-FFF2-40B4-BE49-F238E27FC236}">
                <a16:creationId xmlns:a16="http://schemas.microsoft.com/office/drawing/2014/main" id="{894FC958-E5A8-B74F-A7E7-30B82C0B44E8}"/>
              </a:ext>
            </a:extLst>
          </p:cNvPr>
          <p:cNvSpPr txBox="1"/>
          <p:nvPr userDrawn="1"/>
        </p:nvSpPr>
        <p:spPr>
          <a:xfrm>
            <a:off x="22416463" y="13226646"/>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70993975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Text and picture on the left">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EED5078-C5D9-0E4F-B9E3-7CF7BBC8C373}"/>
              </a:ext>
            </a:extLst>
          </p:cNvPr>
          <p:cNvSpPr>
            <a:spLocks noGrp="1"/>
          </p:cNvSpPr>
          <p:nvPr>
            <p:ph type="pic" sz="quarter" idx="15" hasCustomPrompt="1"/>
          </p:nvPr>
        </p:nvSpPr>
        <p:spPr>
          <a:xfrm>
            <a:off x="491102" y="486000"/>
            <a:ext cx="10763999" cy="12744000"/>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pPr marL="0" marR="0" lvl="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a:pPr>
            <a:r>
              <a:rPr lang="en-NL"/>
              <a:t>Drag and drop a topic-related picture into this frame</a:t>
            </a:r>
          </a:p>
        </p:txBody>
      </p:sp>
      <p:sp>
        <p:nvSpPr>
          <p:cNvPr id="12" name="Text Placeholder 3">
            <a:extLst>
              <a:ext uri="{FF2B5EF4-FFF2-40B4-BE49-F238E27FC236}">
                <a16:creationId xmlns:a16="http://schemas.microsoft.com/office/drawing/2014/main" id="{AE87E5A1-8A67-0448-BA9A-DA74F50AE099}"/>
              </a:ext>
            </a:extLst>
          </p:cNvPr>
          <p:cNvSpPr>
            <a:spLocks noGrp="1"/>
          </p:cNvSpPr>
          <p:nvPr>
            <p:ph type="body" sz="quarter" idx="18" hasCustomPrompt="1"/>
          </p:nvPr>
        </p:nvSpPr>
        <p:spPr>
          <a:xfrm>
            <a:off x="12191206" y="5129214"/>
            <a:ext cx="10516084" cy="6904512"/>
          </a:xfrm>
        </p:spPr>
        <p:txBody>
          <a:bodyPr>
            <a:noAutofit/>
          </a:bodyPr>
          <a:lstStyle>
            <a:lvl1pPr>
              <a:spcBef>
                <a:spcPts val="2000"/>
              </a:spcBef>
              <a:defRPr sz="3200"/>
            </a:lvl1pPr>
          </a:lstStyle>
          <a:p>
            <a:pPr lvl="0"/>
            <a:r>
              <a:rPr lang="en-GB" noProof="0"/>
              <a:t>Put the paragraph text here, keep it regular 32 </a:t>
            </a:r>
            <a:r>
              <a:rPr lang="en-GB" noProof="0" err="1"/>
              <a:t>pt</a:t>
            </a:r>
            <a:endParaRPr lang="en-GB" noProof="0"/>
          </a:p>
        </p:txBody>
      </p:sp>
      <p:sp>
        <p:nvSpPr>
          <p:cNvPr id="13" name="Title 1">
            <a:extLst>
              <a:ext uri="{FF2B5EF4-FFF2-40B4-BE49-F238E27FC236}">
                <a16:creationId xmlns:a16="http://schemas.microsoft.com/office/drawing/2014/main" id="{0614539B-EA7E-5F48-845E-1115C11137DF}"/>
              </a:ext>
            </a:extLst>
          </p:cNvPr>
          <p:cNvSpPr>
            <a:spLocks noGrp="1"/>
          </p:cNvSpPr>
          <p:nvPr>
            <p:ph type="title" hasCustomPrompt="1"/>
          </p:nvPr>
        </p:nvSpPr>
        <p:spPr>
          <a:xfrm>
            <a:off x="12193171" y="1677600"/>
            <a:ext cx="10514914" cy="3011660"/>
          </a:xfrm>
        </p:spPr>
        <p:txBody>
          <a:bodyPr/>
          <a:lstStyle/>
          <a:p>
            <a:r>
              <a:rPr lang="en-GB"/>
              <a:t>Put the headline here, keep it 80 </a:t>
            </a:r>
            <a:r>
              <a:rPr lang="en-GB" err="1"/>
              <a:t>pt</a:t>
            </a:r>
            <a:endParaRPr lang="en-NL"/>
          </a:p>
        </p:txBody>
      </p:sp>
      <p:sp>
        <p:nvSpPr>
          <p:cNvPr id="4" name="Footer Placeholder 3">
            <a:extLst>
              <a:ext uri="{FF2B5EF4-FFF2-40B4-BE49-F238E27FC236}">
                <a16:creationId xmlns:a16="http://schemas.microsoft.com/office/drawing/2014/main" id="{CB40AB27-22C2-8049-AEFA-EC9ADA9C74F8}"/>
              </a:ext>
            </a:extLst>
          </p:cNvPr>
          <p:cNvSpPr>
            <a:spLocks noGrp="1"/>
          </p:cNvSpPr>
          <p:nvPr>
            <p:ph type="ftr" sz="quarter" idx="19"/>
          </p:nvPr>
        </p:nvSpPr>
        <p:spPr/>
        <p:txBody>
          <a:bodyPr/>
          <a:lstStyle/>
          <a:p>
            <a:endParaRPr lang="en-NL"/>
          </a:p>
        </p:txBody>
      </p:sp>
      <p:sp>
        <p:nvSpPr>
          <p:cNvPr id="11" name="TextBox 10">
            <a:extLst>
              <a:ext uri="{FF2B5EF4-FFF2-40B4-BE49-F238E27FC236}">
                <a16:creationId xmlns:a16="http://schemas.microsoft.com/office/drawing/2014/main" id="{5D320D55-E281-9946-A96D-D7865543B7DC}"/>
              </a:ext>
            </a:extLst>
          </p:cNvPr>
          <p:cNvSpPr txBox="1"/>
          <p:nvPr userDrawn="1"/>
        </p:nvSpPr>
        <p:spPr>
          <a:xfrm>
            <a:off x="22416463" y="13226646"/>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50438072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Statement 1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6070604" y="3402014"/>
            <a:ext cx="12241213" cy="6911976"/>
          </a:xfrm>
          <a:prstGeom prst="rect">
            <a:avLst/>
          </a:prstGeom>
          <a:solidFill>
            <a:schemeClr val="bg1"/>
          </a:solidFill>
        </p:spPr>
        <p:txBody>
          <a:bodyPr vert="horz" lIns="900000" tIns="360000" rIns="360000" bIns="360000" rtlCol="0" anchor="ctr">
            <a:noAutofit/>
          </a:bodyPr>
          <a:lstStyle>
            <a:lvl1pPr>
              <a:defRPr sz="6000" b="1" spc="0" baseline="0"/>
            </a:lvl1pPr>
          </a:lstStyle>
          <a:p>
            <a:r>
              <a:rPr lang="en-GB" noProof="0"/>
              <a:t>Put a short statement here, keep it regular 60 </a:t>
            </a:r>
            <a:r>
              <a:rPr lang="en-GB" noProof="0" err="1"/>
              <a:t>pt</a:t>
            </a:r>
            <a:endParaRPr lang="en-GB" noProof="0"/>
          </a:p>
        </p:txBody>
      </p:sp>
      <p:sp>
        <p:nvSpPr>
          <p:cNvPr id="4" name="Footer Placeholder 3">
            <a:extLst>
              <a:ext uri="{FF2B5EF4-FFF2-40B4-BE49-F238E27FC236}">
                <a16:creationId xmlns:a16="http://schemas.microsoft.com/office/drawing/2014/main" id="{4D585EBC-728D-F748-BD9C-1622617E10E7}"/>
              </a:ext>
            </a:extLst>
          </p:cNvPr>
          <p:cNvSpPr>
            <a:spLocks noGrp="1"/>
          </p:cNvSpPr>
          <p:nvPr>
            <p:ph type="ftr" sz="quarter" idx="15"/>
          </p:nvPr>
        </p:nvSpPr>
        <p:spPr/>
        <p:txBody>
          <a:bodyPr/>
          <a:lstStyle/>
          <a:p>
            <a:endParaRPr lang="en-NL"/>
          </a:p>
        </p:txBody>
      </p:sp>
      <p:sp>
        <p:nvSpPr>
          <p:cNvPr id="8" name="TextBox 7">
            <a:extLst>
              <a:ext uri="{FF2B5EF4-FFF2-40B4-BE49-F238E27FC236}">
                <a16:creationId xmlns:a16="http://schemas.microsoft.com/office/drawing/2014/main" id="{5F6D9EA7-3CF9-7B43-B287-97692C1A4E03}"/>
              </a:ext>
            </a:extLst>
          </p:cNvPr>
          <p:cNvSpPr txBox="1"/>
          <p:nvPr userDrawn="1"/>
        </p:nvSpPr>
        <p:spPr>
          <a:xfrm>
            <a:off x="22416463" y="13226646"/>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05246831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Statement 2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3088134" y="3402014"/>
            <a:ext cx="9102282" cy="6911976"/>
          </a:xfrm>
          <a:prstGeom prst="rect">
            <a:avLst/>
          </a:prstGeom>
          <a:solidFill>
            <a:schemeClr val="bg1"/>
          </a:solidFill>
        </p:spPr>
        <p:txBody>
          <a:bodyPr vert="horz" lIns="720000" tIns="360000" rIns="360000" bIns="360000" rtlCol="0" anchor="ctr">
            <a:noAutofit/>
          </a:bodyPr>
          <a:lstStyle>
            <a:lvl1pPr>
              <a:defRPr sz="6000" b="0" spc="0" baseline="0"/>
            </a:lvl1pPr>
          </a:lstStyle>
          <a:p>
            <a:r>
              <a:rPr lang="en-GB" noProof="0"/>
              <a:t>Put a long statement here, keep it regular 60 </a:t>
            </a:r>
            <a:r>
              <a:rPr lang="en-GB" noProof="0" err="1"/>
              <a:t>pt</a:t>
            </a:r>
            <a:endParaRPr lang="en-GB" noProof="0"/>
          </a:p>
        </p:txBody>
      </p:sp>
      <p:sp>
        <p:nvSpPr>
          <p:cNvPr id="4" name="Footer Placeholder 3">
            <a:extLst>
              <a:ext uri="{FF2B5EF4-FFF2-40B4-BE49-F238E27FC236}">
                <a16:creationId xmlns:a16="http://schemas.microsoft.com/office/drawing/2014/main" id="{F698052A-206B-8B44-B965-9B18AA398EAF}"/>
              </a:ext>
            </a:extLst>
          </p:cNvPr>
          <p:cNvSpPr>
            <a:spLocks noGrp="1"/>
          </p:cNvSpPr>
          <p:nvPr>
            <p:ph type="ftr" sz="quarter" idx="15"/>
          </p:nvPr>
        </p:nvSpPr>
        <p:spPr/>
        <p:txBody>
          <a:bodyPr/>
          <a:lstStyle/>
          <a:p>
            <a:endParaRPr lang="en-NL"/>
          </a:p>
        </p:txBody>
      </p:sp>
      <p:sp>
        <p:nvSpPr>
          <p:cNvPr id="8" name="TextBox 7">
            <a:extLst>
              <a:ext uri="{FF2B5EF4-FFF2-40B4-BE49-F238E27FC236}">
                <a16:creationId xmlns:a16="http://schemas.microsoft.com/office/drawing/2014/main" id="{6717F6DA-71F4-F94F-A4FF-3581F301E2A5}"/>
              </a:ext>
            </a:extLst>
          </p:cNvPr>
          <p:cNvSpPr txBox="1"/>
          <p:nvPr userDrawn="1"/>
        </p:nvSpPr>
        <p:spPr>
          <a:xfrm>
            <a:off x="22416463" y="13226646"/>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92052584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Statement 3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12191209" y="3402014"/>
            <a:ext cx="9144795" cy="6911976"/>
          </a:xfrm>
          <a:prstGeom prst="rect">
            <a:avLst/>
          </a:prstGeom>
          <a:solidFill>
            <a:schemeClr val="bg1"/>
          </a:solidFill>
        </p:spPr>
        <p:txBody>
          <a:bodyPr vert="horz" lIns="720000" tIns="360000" rIns="360000" bIns="360000" rtlCol="0" anchor="ctr">
            <a:noAutofit/>
          </a:bodyPr>
          <a:lstStyle>
            <a:lvl1pPr>
              <a:defRPr sz="4000" b="0" spc="0" baseline="0"/>
            </a:lvl1pPr>
          </a:lstStyle>
          <a:p>
            <a:r>
              <a:rPr lang="en-GB" noProof="0"/>
              <a:t>Put a long statement or a quote here, keep it regular 40 </a:t>
            </a:r>
            <a:r>
              <a:rPr lang="en-GB" noProof="0" err="1"/>
              <a:t>pt</a:t>
            </a:r>
            <a:endParaRPr lang="en-GB" noProof="0"/>
          </a:p>
        </p:txBody>
      </p:sp>
      <p:sp>
        <p:nvSpPr>
          <p:cNvPr id="4" name="Footer Placeholder 3">
            <a:extLst>
              <a:ext uri="{FF2B5EF4-FFF2-40B4-BE49-F238E27FC236}">
                <a16:creationId xmlns:a16="http://schemas.microsoft.com/office/drawing/2014/main" id="{F08AE3EC-F985-214A-B20E-84BB4377F356}"/>
              </a:ext>
            </a:extLst>
          </p:cNvPr>
          <p:cNvSpPr>
            <a:spLocks noGrp="1"/>
          </p:cNvSpPr>
          <p:nvPr>
            <p:ph type="ftr" sz="quarter" idx="15"/>
          </p:nvPr>
        </p:nvSpPr>
        <p:spPr/>
        <p:txBody>
          <a:bodyPr/>
          <a:lstStyle/>
          <a:p>
            <a:endParaRPr lang="en-NL"/>
          </a:p>
        </p:txBody>
      </p:sp>
      <p:sp>
        <p:nvSpPr>
          <p:cNvPr id="8" name="TextBox 7">
            <a:extLst>
              <a:ext uri="{FF2B5EF4-FFF2-40B4-BE49-F238E27FC236}">
                <a16:creationId xmlns:a16="http://schemas.microsoft.com/office/drawing/2014/main" id="{0FE629E5-989E-6549-877B-8C45333B32D6}"/>
              </a:ext>
            </a:extLst>
          </p:cNvPr>
          <p:cNvSpPr txBox="1"/>
          <p:nvPr userDrawn="1"/>
        </p:nvSpPr>
        <p:spPr>
          <a:xfrm>
            <a:off x="22416463" y="13226646"/>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65672780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tatement 1 on double background">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2E196F3F-0661-674B-B21B-282CCEADCBCE}"/>
              </a:ext>
            </a:extLst>
          </p:cNvPr>
          <p:cNvSpPr>
            <a:spLocks noGrp="1"/>
          </p:cNvSpPr>
          <p:nvPr>
            <p:ph type="pic" sz="quarter" idx="16" hasCustomPrompt="1"/>
          </p:nvPr>
        </p:nvSpPr>
        <p:spPr>
          <a:xfrm>
            <a:off x="12190416" y="486000"/>
            <a:ext cx="11700792" cy="12744000"/>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n inspirational picture into this frame. Or fill with one of the Theme Colours</a:t>
            </a:r>
          </a:p>
        </p:txBody>
      </p:sp>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7" y="486000"/>
            <a:ext cx="11700000" cy="12744000"/>
          </a:xfrm>
          <a:solidFill>
            <a:schemeClr val="bg1">
              <a:lumMod val="8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9179812" y="1673226"/>
            <a:ext cx="9132002" cy="8640764"/>
          </a:xfrm>
          <a:prstGeom prst="rect">
            <a:avLst/>
          </a:prstGeom>
          <a:solidFill>
            <a:schemeClr val="bg1"/>
          </a:solidFill>
        </p:spPr>
        <p:txBody>
          <a:bodyPr vert="horz" lIns="720000" tIns="360000" rIns="360000" bIns="360000" rtlCol="0" anchor="ctr">
            <a:noAutofit/>
          </a:bodyPr>
          <a:lstStyle>
            <a:lvl1pPr>
              <a:defRPr sz="4000" b="0" spc="0" baseline="0"/>
            </a:lvl1pPr>
          </a:lstStyle>
          <a:p>
            <a:r>
              <a:rPr lang="en-GB" noProof="0"/>
              <a:t>Put a long statement or a quote here, keep it regular 40 </a:t>
            </a:r>
            <a:r>
              <a:rPr lang="en-GB" noProof="0" err="1"/>
              <a:t>pt</a:t>
            </a:r>
            <a:endParaRPr lang="en-GB" noProof="0"/>
          </a:p>
        </p:txBody>
      </p:sp>
      <p:sp>
        <p:nvSpPr>
          <p:cNvPr id="3" name="Footer Placeholder 2">
            <a:extLst>
              <a:ext uri="{FF2B5EF4-FFF2-40B4-BE49-F238E27FC236}">
                <a16:creationId xmlns:a16="http://schemas.microsoft.com/office/drawing/2014/main" id="{50DDB570-67BE-EB4D-A534-19942E8D0F02}"/>
              </a:ext>
            </a:extLst>
          </p:cNvPr>
          <p:cNvSpPr>
            <a:spLocks noGrp="1"/>
          </p:cNvSpPr>
          <p:nvPr>
            <p:ph type="ftr" sz="quarter" idx="17"/>
          </p:nvPr>
        </p:nvSpPr>
        <p:spPr/>
        <p:txBody>
          <a:bodyPr/>
          <a:lstStyle/>
          <a:p>
            <a:endParaRPr lang="en-NL"/>
          </a:p>
        </p:txBody>
      </p:sp>
      <p:sp>
        <p:nvSpPr>
          <p:cNvPr id="8" name="TextBox 7">
            <a:extLst>
              <a:ext uri="{FF2B5EF4-FFF2-40B4-BE49-F238E27FC236}">
                <a16:creationId xmlns:a16="http://schemas.microsoft.com/office/drawing/2014/main" id="{EEDCEF97-2600-484D-BCF3-2F9C6FC44F07}"/>
              </a:ext>
            </a:extLst>
          </p:cNvPr>
          <p:cNvSpPr txBox="1"/>
          <p:nvPr userDrawn="1"/>
        </p:nvSpPr>
        <p:spPr>
          <a:xfrm>
            <a:off x="22416463" y="13226646"/>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39676371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Statement 2 on double background">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31FA6885-927C-7B4C-8BD0-54E7A0823B52}"/>
              </a:ext>
            </a:extLst>
          </p:cNvPr>
          <p:cNvSpPr>
            <a:spLocks noGrp="1"/>
          </p:cNvSpPr>
          <p:nvPr>
            <p:ph type="pic" sz="quarter" idx="16" hasCustomPrompt="1"/>
          </p:nvPr>
        </p:nvSpPr>
        <p:spPr>
          <a:xfrm>
            <a:off x="6049097" y="486000"/>
            <a:ext cx="17842113" cy="12744000"/>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n inspirational picture into this frame. Or fill with one of the Theme Colours</a:t>
            </a:r>
          </a:p>
        </p:txBody>
      </p:sp>
      <p:sp>
        <p:nvSpPr>
          <p:cNvPr id="9" name="Picture Placeholder 10">
            <a:extLst>
              <a:ext uri="{FF2B5EF4-FFF2-40B4-BE49-F238E27FC236}">
                <a16:creationId xmlns:a16="http://schemas.microsoft.com/office/drawing/2014/main" id="{ADB4BA95-E492-D840-88F6-2FE23D26918D}"/>
              </a:ext>
            </a:extLst>
          </p:cNvPr>
          <p:cNvSpPr>
            <a:spLocks noGrp="1"/>
          </p:cNvSpPr>
          <p:nvPr>
            <p:ph type="pic" sz="quarter" idx="14" hasCustomPrompt="1"/>
          </p:nvPr>
        </p:nvSpPr>
        <p:spPr>
          <a:xfrm>
            <a:off x="491206" y="486000"/>
            <a:ext cx="11699207" cy="12744000"/>
          </a:xfrm>
          <a:prstGeom prst="corner">
            <a:avLst>
              <a:gd name="adj1" fmla="val 25065"/>
              <a:gd name="adj2" fmla="val 47348"/>
            </a:avLst>
          </a:prstGeom>
          <a:solidFill>
            <a:schemeClr val="bg1">
              <a:lumMod val="8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7" name="Title Placeholder 6">
            <a:extLst>
              <a:ext uri="{FF2B5EF4-FFF2-40B4-BE49-F238E27FC236}">
                <a16:creationId xmlns:a16="http://schemas.microsoft.com/office/drawing/2014/main" id="{1B090AE2-5953-9248-BD9A-B5FA2155AD8A}"/>
              </a:ext>
            </a:extLst>
          </p:cNvPr>
          <p:cNvSpPr>
            <a:spLocks noGrp="1"/>
          </p:cNvSpPr>
          <p:nvPr>
            <p:ph type="title" hasCustomPrompt="1"/>
          </p:nvPr>
        </p:nvSpPr>
        <p:spPr>
          <a:xfrm>
            <a:off x="6049095" y="3402014"/>
            <a:ext cx="12284224" cy="6911976"/>
          </a:xfrm>
          <a:prstGeom prst="rect">
            <a:avLst/>
          </a:prstGeom>
          <a:solidFill>
            <a:schemeClr val="bg1"/>
          </a:solidFill>
        </p:spPr>
        <p:txBody>
          <a:bodyPr vert="horz" lIns="720000" tIns="360000" rIns="360000" bIns="360000" rtlCol="0" anchor="ctr">
            <a:noAutofit/>
          </a:bodyPr>
          <a:lstStyle>
            <a:lvl1pPr>
              <a:defRPr/>
            </a:lvl1pPr>
          </a:lstStyle>
          <a:p>
            <a:r>
              <a:rPr lang="en-GB" noProof="0"/>
              <a:t>Put a short statement here, keep it bold 80 </a:t>
            </a:r>
            <a:r>
              <a:rPr lang="en-GB" noProof="0" err="1"/>
              <a:t>pt</a:t>
            </a:r>
            <a:endParaRPr lang="en-GB" noProof="0"/>
          </a:p>
        </p:txBody>
      </p:sp>
      <p:sp>
        <p:nvSpPr>
          <p:cNvPr id="3" name="Footer Placeholder 2">
            <a:extLst>
              <a:ext uri="{FF2B5EF4-FFF2-40B4-BE49-F238E27FC236}">
                <a16:creationId xmlns:a16="http://schemas.microsoft.com/office/drawing/2014/main" id="{23AF250D-036E-9947-B629-124D8B6FF87C}"/>
              </a:ext>
            </a:extLst>
          </p:cNvPr>
          <p:cNvSpPr>
            <a:spLocks noGrp="1"/>
          </p:cNvSpPr>
          <p:nvPr>
            <p:ph type="ftr" sz="quarter" idx="17"/>
          </p:nvPr>
        </p:nvSpPr>
        <p:spPr/>
        <p:txBody>
          <a:bodyPr/>
          <a:lstStyle/>
          <a:p>
            <a:endParaRPr lang="en-NL"/>
          </a:p>
        </p:txBody>
      </p:sp>
      <p:sp>
        <p:nvSpPr>
          <p:cNvPr id="8" name="TextBox 7">
            <a:extLst>
              <a:ext uri="{FF2B5EF4-FFF2-40B4-BE49-F238E27FC236}">
                <a16:creationId xmlns:a16="http://schemas.microsoft.com/office/drawing/2014/main" id="{EA23A869-D63F-9145-B2E7-DAF3BC84C059}"/>
              </a:ext>
            </a:extLst>
          </p:cNvPr>
          <p:cNvSpPr txBox="1"/>
          <p:nvPr userDrawn="1"/>
        </p:nvSpPr>
        <p:spPr>
          <a:xfrm>
            <a:off x="22416463" y="13226646"/>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86149149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Text in three columns">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F48D91E-AB60-4041-B4FC-3E50759777E5}"/>
              </a:ext>
            </a:extLst>
          </p:cNvPr>
          <p:cNvSpPr>
            <a:spLocks noGrp="1"/>
          </p:cNvSpPr>
          <p:nvPr>
            <p:ph type="title" hasCustomPrompt="1"/>
          </p:nvPr>
        </p:nvSpPr>
        <p:spPr>
          <a:xfrm>
            <a:off x="1676293" y="1677600"/>
            <a:ext cx="21033007" cy="3011660"/>
          </a:xfrm>
        </p:spPr>
        <p:txBody>
          <a:bodyPr/>
          <a:lstStyle/>
          <a:p>
            <a:r>
              <a:rPr lang="en-GB"/>
              <a:t>Put the headline here,</a:t>
            </a:r>
            <a:br>
              <a:rPr lang="en-GB"/>
            </a:br>
            <a:r>
              <a:rPr lang="en-GB"/>
              <a:t>keep it bold 80 </a:t>
            </a:r>
            <a:r>
              <a:rPr lang="en-GB" err="1"/>
              <a:t>pt</a:t>
            </a:r>
            <a:endParaRPr lang="en-NL"/>
          </a:p>
        </p:txBody>
      </p:sp>
      <p:sp>
        <p:nvSpPr>
          <p:cNvPr id="19" name="Text Placeholder 3">
            <a:extLst>
              <a:ext uri="{FF2B5EF4-FFF2-40B4-BE49-F238E27FC236}">
                <a16:creationId xmlns:a16="http://schemas.microsoft.com/office/drawing/2014/main" id="{292A3CC4-2948-634E-A9F0-D2126C8DA330}"/>
              </a:ext>
            </a:extLst>
          </p:cNvPr>
          <p:cNvSpPr>
            <a:spLocks noGrp="1"/>
          </p:cNvSpPr>
          <p:nvPr>
            <p:ph type="body" sz="quarter" idx="21" hasCustomPrompt="1"/>
          </p:nvPr>
        </p:nvSpPr>
        <p:spPr>
          <a:xfrm>
            <a:off x="9166226" y="5129214"/>
            <a:ext cx="6049964" cy="6904512"/>
          </a:xfrm>
        </p:spPr>
        <p:txBody>
          <a:bodyPr>
            <a:noAutofit/>
          </a:bodyPr>
          <a:lstStyle>
            <a:lvl1pPr marL="342867" indent="-342867">
              <a:spcBef>
                <a:spcPts val="2000"/>
              </a:spcBef>
              <a:buFont typeface="Arial" panose="020B0604020202020204" pitchFamily="34" charset="0"/>
              <a:buChar char="•"/>
              <a:defRPr sz="2400"/>
            </a:lvl1pPr>
          </a:lstStyle>
          <a:p>
            <a:pPr lvl="0"/>
            <a:r>
              <a:rPr lang="en-GB" noProof="0"/>
              <a:t>Put the second column list here, keep it regular 24 </a:t>
            </a:r>
            <a:r>
              <a:rPr lang="en-GB" noProof="0" err="1"/>
              <a:t>pt</a:t>
            </a:r>
            <a:endParaRPr lang="en-GB" noProof="0"/>
          </a:p>
        </p:txBody>
      </p:sp>
      <p:sp>
        <p:nvSpPr>
          <p:cNvPr id="20" name="Text Placeholder 3">
            <a:extLst>
              <a:ext uri="{FF2B5EF4-FFF2-40B4-BE49-F238E27FC236}">
                <a16:creationId xmlns:a16="http://schemas.microsoft.com/office/drawing/2014/main" id="{B772D797-9E99-7B44-81B1-A91F96DFFAD6}"/>
              </a:ext>
            </a:extLst>
          </p:cNvPr>
          <p:cNvSpPr>
            <a:spLocks noGrp="1"/>
          </p:cNvSpPr>
          <p:nvPr>
            <p:ph type="body" sz="quarter" idx="22" hasCustomPrompt="1"/>
          </p:nvPr>
        </p:nvSpPr>
        <p:spPr>
          <a:xfrm>
            <a:off x="1676292" y="5129214"/>
            <a:ext cx="6049964" cy="6904512"/>
          </a:xfrm>
        </p:spPr>
        <p:txBody>
          <a:bodyPr>
            <a:noAutofit/>
          </a:bodyPr>
          <a:lstStyle>
            <a:lvl1pPr marL="342867" indent="-342867">
              <a:spcBef>
                <a:spcPts val="2000"/>
              </a:spcBef>
              <a:buFont typeface="Arial" panose="020B0604020202020204" pitchFamily="34" charset="0"/>
              <a:buChar char="•"/>
              <a:defRPr sz="2400"/>
            </a:lvl1pPr>
          </a:lstStyle>
          <a:p>
            <a:pPr lvl="0"/>
            <a:r>
              <a:rPr lang="en-GB" noProof="0"/>
              <a:t>Put the first column list here, keep it regular 24 </a:t>
            </a:r>
            <a:r>
              <a:rPr lang="en-GB" noProof="0" err="1"/>
              <a:t>pt</a:t>
            </a:r>
            <a:endParaRPr lang="en-GB" noProof="0"/>
          </a:p>
        </p:txBody>
      </p:sp>
      <p:sp>
        <p:nvSpPr>
          <p:cNvPr id="21" name="Text Placeholder 3">
            <a:extLst>
              <a:ext uri="{FF2B5EF4-FFF2-40B4-BE49-F238E27FC236}">
                <a16:creationId xmlns:a16="http://schemas.microsoft.com/office/drawing/2014/main" id="{EA077ACA-637D-0643-8E1E-31E31C902655}"/>
              </a:ext>
            </a:extLst>
          </p:cNvPr>
          <p:cNvSpPr>
            <a:spLocks noGrp="1"/>
          </p:cNvSpPr>
          <p:nvPr>
            <p:ph type="body" sz="quarter" idx="23" hasCustomPrompt="1"/>
          </p:nvPr>
        </p:nvSpPr>
        <p:spPr>
          <a:xfrm>
            <a:off x="16656161" y="5129214"/>
            <a:ext cx="6049964" cy="6904512"/>
          </a:xfrm>
        </p:spPr>
        <p:txBody>
          <a:bodyPr>
            <a:noAutofit/>
          </a:bodyPr>
          <a:lstStyle>
            <a:lvl1pPr marL="342867" indent="-342867">
              <a:spcBef>
                <a:spcPts val="2000"/>
              </a:spcBef>
              <a:buFont typeface="Arial" panose="020B0604020202020204" pitchFamily="34" charset="0"/>
              <a:buChar char="•"/>
              <a:defRPr sz="2400"/>
            </a:lvl1pPr>
          </a:lstStyle>
          <a:p>
            <a:pPr lvl="0"/>
            <a:r>
              <a:rPr lang="en-GB" noProof="0"/>
              <a:t>Put the third column list here, keep it regular 24 </a:t>
            </a:r>
            <a:r>
              <a:rPr lang="en-GB" noProof="0" err="1"/>
              <a:t>pt</a:t>
            </a:r>
            <a:endParaRPr lang="en-GB" noProof="0"/>
          </a:p>
        </p:txBody>
      </p:sp>
      <p:sp>
        <p:nvSpPr>
          <p:cNvPr id="4" name="Footer Placeholder 3">
            <a:extLst>
              <a:ext uri="{FF2B5EF4-FFF2-40B4-BE49-F238E27FC236}">
                <a16:creationId xmlns:a16="http://schemas.microsoft.com/office/drawing/2014/main" id="{9F259679-D8E8-0F42-BB59-3BCBFC65EB1B}"/>
              </a:ext>
            </a:extLst>
          </p:cNvPr>
          <p:cNvSpPr>
            <a:spLocks noGrp="1"/>
          </p:cNvSpPr>
          <p:nvPr>
            <p:ph type="ftr" sz="quarter" idx="24"/>
          </p:nvPr>
        </p:nvSpPr>
        <p:spPr/>
        <p:txBody>
          <a:bodyPr/>
          <a:lstStyle/>
          <a:p>
            <a:endParaRPr lang="en-NL"/>
          </a:p>
        </p:txBody>
      </p:sp>
      <p:sp>
        <p:nvSpPr>
          <p:cNvPr id="10" name="TextBox 9">
            <a:extLst>
              <a:ext uri="{FF2B5EF4-FFF2-40B4-BE49-F238E27FC236}">
                <a16:creationId xmlns:a16="http://schemas.microsoft.com/office/drawing/2014/main" id="{F6C0470B-F20E-A142-917D-853951DA8234}"/>
              </a:ext>
            </a:extLst>
          </p:cNvPr>
          <p:cNvSpPr txBox="1"/>
          <p:nvPr userDrawn="1"/>
        </p:nvSpPr>
        <p:spPr>
          <a:xfrm>
            <a:off x="22416463" y="13226646"/>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8032444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ong text in three columns and picture">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EED5078-C5D9-0E4F-B9E3-7CF7BBC8C373}"/>
              </a:ext>
            </a:extLst>
          </p:cNvPr>
          <p:cNvSpPr>
            <a:spLocks noGrp="1"/>
          </p:cNvSpPr>
          <p:nvPr>
            <p:ph type="pic" sz="quarter" idx="15" hasCustomPrompt="1"/>
          </p:nvPr>
        </p:nvSpPr>
        <p:spPr>
          <a:xfrm>
            <a:off x="491102" y="486000"/>
            <a:ext cx="5579498"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2" name="Text Placeholder 3">
            <a:extLst>
              <a:ext uri="{FF2B5EF4-FFF2-40B4-BE49-F238E27FC236}">
                <a16:creationId xmlns:a16="http://schemas.microsoft.com/office/drawing/2014/main" id="{AE87E5A1-8A67-0448-BA9A-DA74F50AE099}"/>
              </a:ext>
            </a:extLst>
          </p:cNvPr>
          <p:cNvSpPr>
            <a:spLocks noGrp="1"/>
          </p:cNvSpPr>
          <p:nvPr>
            <p:ph type="body" sz="quarter" idx="18" hasCustomPrompt="1"/>
          </p:nvPr>
        </p:nvSpPr>
        <p:spPr>
          <a:xfrm>
            <a:off x="12191206" y="5129213"/>
            <a:ext cx="5040560" cy="6904512"/>
          </a:xfrm>
        </p:spPr>
        <p:txBody>
          <a:bodyPr>
            <a:noAutofit/>
          </a:bodyPr>
          <a:lstStyle>
            <a:lvl1pPr>
              <a:spcBef>
                <a:spcPts val="2000"/>
              </a:spcBef>
              <a:defRPr sz="1600"/>
            </a:lvl1pPr>
          </a:lstStyle>
          <a:p>
            <a:pPr lvl="0"/>
            <a:r>
              <a:rPr lang="en-GB" noProof="0"/>
              <a:t>Put the body text here, keep it regular 16 </a:t>
            </a:r>
            <a:r>
              <a:rPr lang="en-GB" noProof="0" err="1"/>
              <a:t>pt</a:t>
            </a:r>
            <a:endParaRPr lang="en-GB" noProof="0"/>
          </a:p>
        </p:txBody>
      </p:sp>
      <p:sp>
        <p:nvSpPr>
          <p:cNvPr id="13" name="Title 1">
            <a:extLst>
              <a:ext uri="{FF2B5EF4-FFF2-40B4-BE49-F238E27FC236}">
                <a16:creationId xmlns:a16="http://schemas.microsoft.com/office/drawing/2014/main" id="{0614539B-EA7E-5F48-845E-1115C11137DF}"/>
              </a:ext>
            </a:extLst>
          </p:cNvPr>
          <p:cNvSpPr>
            <a:spLocks noGrp="1"/>
          </p:cNvSpPr>
          <p:nvPr>
            <p:ph type="title" hasCustomPrompt="1"/>
          </p:nvPr>
        </p:nvSpPr>
        <p:spPr>
          <a:xfrm>
            <a:off x="6728870" y="1677600"/>
            <a:ext cx="15979214" cy="3011659"/>
          </a:xfrm>
        </p:spPr>
        <p:txBody>
          <a:bodyPr/>
          <a:lstStyle>
            <a:lvl1pPr>
              <a:defRPr sz="6000" spc="0" baseline="0"/>
            </a:lvl1pPr>
          </a:lstStyle>
          <a:p>
            <a:r>
              <a:rPr lang="en-GB"/>
              <a:t>Put the headline here, </a:t>
            </a:r>
            <a:br>
              <a:rPr lang="en-GB"/>
            </a:br>
            <a:r>
              <a:rPr lang="en-GB"/>
              <a:t>keep it 60 </a:t>
            </a:r>
            <a:r>
              <a:rPr lang="en-GB" err="1"/>
              <a:t>pt</a:t>
            </a:r>
            <a:endParaRPr lang="en-NL"/>
          </a:p>
        </p:txBody>
      </p:sp>
      <p:sp>
        <p:nvSpPr>
          <p:cNvPr id="7" name="Text Placeholder 3">
            <a:extLst>
              <a:ext uri="{FF2B5EF4-FFF2-40B4-BE49-F238E27FC236}">
                <a16:creationId xmlns:a16="http://schemas.microsoft.com/office/drawing/2014/main" id="{B26CACA4-13A0-5940-A8FA-3FC8769DA450}"/>
              </a:ext>
            </a:extLst>
          </p:cNvPr>
          <p:cNvSpPr>
            <a:spLocks noGrp="1"/>
          </p:cNvSpPr>
          <p:nvPr>
            <p:ph type="body" sz="quarter" idx="20" hasCustomPrompt="1"/>
          </p:nvPr>
        </p:nvSpPr>
        <p:spPr>
          <a:xfrm>
            <a:off x="17653543" y="5164141"/>
            <a:ext cx="5040560" cy="6904512"/>
          </a:xfrm>
        </p:spPr>
        <p:txBody>
          <a:bodyPr>
            <a:noAutofit/>
          </a:bodyPr>
          <a:lstStyle>
            <a:lvl1pPr>
              <a:spcBef>
                <a:spcPts val="2000"/>
              </a:spcBef>
              <a:defRPr sz="1600"/>
            </a:lvl1pPr>
          </a:lstStyle>
          <a:p>
            <a:pPr lvl="0"/>
            <a:r>
              <a:rPr lang="en-GB" noProof="0"/>
              <a:t>Put the body text here, keep it regular 16 </a:t>
            </a:r>
            <a:r>
              <a:rPr lang="en-GB" noProof="0" err="1"/>
              <a:t>pt</a:t>
            </a:r>
            <a:endParaRPr lang="en-GB" noProof="0"/>
          </a:p>
        </p:txBody>
      </p:sp>
      <p:sp>
        <p:nvSpPr>
          <p:cNvPr id="8" name="Text Placeholder 3">
            <a:extLst>
              <a:ext uri="{FF2B5EF4-FFF2-40B4-BE49-F238E27FC236}">
                <a16:creationId xmlns:a16="http://schemas.microsoft.com/office/drawing/2014/main" id="{0C7CE63B-C4F3-714B-8275-BBB3C3035E61}"/>
              </a:ext>
            </a:extLst>
          </p:cNvPr>
          <p:cNvSpPr>
            <a:spLocks noGrp="1"/>
          </p:cNvSpPr>
          <p:nvPr>
            <p:ph type="body" sz="quarter" idx="21" hasCustomPrompt="1"/>
          </p:nvPr>
        </p:nvSpPr>
        <p:spPr>
          <a:xfrm>
            <a:off x="6728869" y="5129213"/>
            <a:ext cx="5040560" cy="6904512"/>
          </a:xfrm>
        </p:spPr>
        <p:txBody>
          <a:bodyPr>
            <a:noAutofit/>
          </a:bodyPr>
          <a:lstStyle>
            <a:lvl1pPr>
              <a:spcBef>
                <a:spcPts val="2000"/>
              </a:spcBef>
              <a:defRPr sz="1600"/>
            </a:lvl1pPr>
          </a:lstStyle>
          <a:p>
            <a:pPr lvl="0"/>
            <a:r>
              <a:rPr lang="en-GB" noProof="0"/>
              <a:t>Put the body text here, keep it regular 16 </a:t>
            </a:r>
            <a:r>
              <a:rPr lang="en-GB" noProof="0" err="1"/>
              <a:t>pt</a:t>
            </a:r>
            <a:endParaRPr lang="en-GB" noProof="0"/>
          </a:p>
        </p:txBody>
      </p:sp>
      <p:sp>
        <p:nvSpPr>
          <p:cNvPr id="4" name="Footer Placeholder 3">
            <a:extLst>
              <a:ext uri="{FF2B5EF4-FFF2-40B4-BE49-F238E27FC236}">
                <a16:creationId xmlns:a16="http://schemas.microsoft.com/office/drawing/2014/main" id="{4194F0DB-380C-DF44-86E3-D79D56DFF85C}"/>
              </a:ext>
            </a:extLst>
          </p:cNvPr>
          <p:cNvSpPr>
            <a:spLocks noGrp="1"/>
          </p:cNvSpPr>
          <p:nvPr>
            <p:ph type="ftr" sz="quarter" idx="22"/>
          </p:nvPr>
        </p:nvSpPr>
        <p:spPr/>
        <p:txBody>
          <a:bodyPr/>
          <a:lstStyle/>
          <a:p>
            <a:endParaRPr lang="en-NL"/>
          </a:p>
        </p:txBody>
      </p:sp>
      <p:sp>
        <p:nvSpPr>
          <p:cNvPr id="11" name="TextBox 10">
            <a:extLst>
              <a:ext uri="{FF2B5EF4-FFF2-40B4-BE49-F238E27FC236}">
                <a16:creationId xmlns:a16="http://schemas.microsoft.com/office/drawing/2014/main" id="{8382B125-311F-9F4E-88E7-2B54BB6A3B94}"/>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57462571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Long text in two columns and picture">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EED5078-C5D9-0E4F-B9E3-7CF7BBC8C373}"/>
              </a:ext>
            </a:extLst>
          </p:cNvPr>
          <p:cNvSpPr>
            <a:spLocks noGrp="1"/>
          </p:cNvSpPr>
          <p:nvPr>
            <p:ph type="pic" sz="quarter" idx="15" hasCustomPrompt="1"/>
          </p:nvPr>
        </p:nvSpPr>
        <p:spPr>
          <a:xfrm>
            <a:off x="491102" y="486000"/>
            <a:ext cx="10763999" cy="12744000"/>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2" name="Text Placeholder 3">
            <a:extLst>
              <a:ext uri="{FF2B5EF4-FFF2-40B4-BE49-F238E27FC236}">
                <a16:creationId xmlns:a16="http://schemas.microsoft.com/office/drawing/2014/main" id="{AE87E5A1-8A67-0448-BA9A-DA74F50AE099}"/>
              </a:ext>
            </a:extLst>
          </p:cNvPr>
          <p:cNvSpPr>
            <a:spLocks noGrp="1"/>
          </p:cNvSpPr>
          <p:nvPr>
            <p:ph type="body" sz="quarter" idx="18" hasCustomPrompt="1"/>
          </p:nvPr>
        </p:nvSpPr>
        <p:spPr>
          <a:xfrm>
            <a:off x="12191206" y="5129214"/>
            <a:ext cx="5040560" cy="6904512"/>
          </a:xfrm>
        </p:spPr>
        <p:txBody>
          <a:bodyPr>
            <a:noAutofit/>
          </a:bodyPr>
          <a:lstStyle>
            <a:lvl1pPr>
              <a:spcBef>
                <a:spcPts val="2000"/>
              </a:spcBef>
              <a:defRPr sz="2400"/>
            </a:lvl1pPr>
          </a:lstStyle>
          <a:p>
            <a:pPr lvl="0"/>
            <a:r>
              <a:rPr lang="en-GB" noProof="0"/>
              <a:t>Put the first column text here, keep it regular 24 </a:t>
            </a:r>
            <a:r>
              <a:rPr lang="en-GB" noProof="0" err="1"/>
              <a:t>pt</a:t>
            </a:r>
            <a:endParaRPr lang="en-GB" noProof="0"/>
          </a:p>
        </p:txBody>
      </p:sp>
      <p:sp>
        <p:nvSpPr>
          <p:cNvPr id="13" name="Title 1">
            <a:extLst>
              <a:ext uri="{FF2B5EF4-FFF2-40B4-BE49-F238E27FC236}">
                <a16:creationId xmlns:a16="http://schemas.microsoft.com/office/drawing/2014/main" id="{0614539B-EA7E-5F48-845E-1115C11137DF}"/>
              </a:ext>
            </a:extLst>
          </p:cNvPr>
          <p:cNvSpPr>
            <a:spLocks noGrp="1"/>
          </p:cNvSpPr>
          <p:nvPr>
            <p:ph type="title" hasCustomPrompt="1"/>
          </p:nvPr>
        </p:nvSpPr>
        <p:spPr>
          <a:xfrm>
            <a:off x="12193171" y="1677600"/>
            <a:ext cx="10514914" cy="3011660"/>
          </a:xfrm>
        </p:spPr>
        <p:txBody>
          <a:bodyPr/>
          <a:lstStyle>
            <a:lvl1pPr>
              <a:defRPr sz="6000" spc="0" baseline="0"/>
            </a:lvl1pPr>
          </a:lstStyle>
          <a:p>
            <a:r>
              <a:rPr lang="en-GB"/>
              <a:t>Put the headline here, keep it 60 </a:t>
            </a:r>
            <a:r>
              <a:rPr lang="en-GB" err="1"/>
              <a:t>pt</a:t>
            </a:r>
            <a:endParaRPr lang="en-NL"/>
          </a:p>
        </p:txBody>
      </p:sp>
      <p:sp>
        <p:nvSpPr>
          <p:cNvPr id="7" name="Text Placeholder 3">
            <a:extLst>
              <a:ext uri="{FF2B5EF4-FFF2-40B4-BE49-F238E27FC236}">
                <a16:creationId xmlns:a16="http://schemas.microsoft.com/office/drawing/2014/main" id="{B26CACA4-13A0-5940-A8FA-3FC8769DA450}"/>
              </a:ext>
            </a:extLst>
          </p:cNvPr>
          <p:cNvSpPr>
            <a:spLocks noGrp="1"/>
          </p:cNvSpPr>
          <p:nvPr>
            <p:ph type="body" sz="quarter" idx="20" hasCustomPrompt="1"/>
          </p:nvPr>
        </p:nvSpPr>
        <p:spPr>
          <a:xfrm>
            <a:off x="17653543" y="5164142"/>
            <a:ext cx="5040560" cy="6904512"/>
          </a:xfrm>
        </p:spPr>
        <p:txBody>
          <a:bodyPr>
            <a:noAutofit/>
          </a:bodyPr>
          <a:lstStyle>
            <a:lvl1pPr>
              <a:spcBef>
                <a:spcPts val="2000"/>
              </a:spcBef>
              <a:defRPr sz="2400"/>
            </a:lvl1pPr>
          </a:lstStyle>
          <a:p>
            <a:pPr lvl="0"/>
            <a:r>
              <a:rPr lang="en-GB" noProof="0"/>
              <a:t>Put the second column text here, keep it regular 24 </a:t>
            </a:r>
            <a:r>
              <a:rPr lang="en-GB" noProof="0" err="1"/>
              <a:t>pt</a:t>
            </a:r>
            <a:endParaRPr lang="en-GB" noProof="0"/>
          </a:p>
        </p:txBody>
      </p:sp>
      <p:sp>
        <p:nvSpPr>
          <p:cNvPr id="4" name="Footer Placeholder 3">
            <a:extLst>
              <a:ext uri="{FF2B5EF4-FFF2-40B4-BE49-F238E27FC236}">
                <a16:creationId xmlns:a16="http://schemas.microsoft.com/office/drawing/2014/main" id="{236B4C3F-2345-FD42-B780-BD49D67130E9}"/>
              </a:ext>
            </a:extLst>
          </p:cNvPr>
          <p:cNvSpPr>
            <a:spLocks noGrp="1"/>
          </p:cNvSpPr>
          <p:nvPr>
            <p:ph type="ftr" sz="quarter" idx="21"/>
          </p:nvPr>
        </p:nvSpPr>
        <p:spPr/>
        <p:txBody>
          <a:bodyPr/>
          <a:lstStyle/>
          <a:p>
            <a:endParaRPr lang="en-NL"/>
          </a:p>
        </p:txBody>
      </p:sp>
      <p:sp>
        <p:nvSpPr>
          <p:cNvPr id="11" name="TextBox 10">
            <a:extLst>
              <a:ext uri="{FF2B5EF4-FFF2-40B4-BE49-F238E27FC236}">
                <a16:creationId xmlns:a16="http://schemas.microsoft.com/office/drawing/2014/main" id="{2C18B1BF-0727-F84E-B2A7-098862261928}"/>
              </a:ext>
            </a:extLst>
          </p:cNvPr>
          <p:cNvSpPr txBox="1"/>
          <p:nvPr userDrawn="1"/>
        </p:nvSpPr>
        <p:spPr>
          <a:xfrm>
            <a:off x="22416463" y="13226646"/>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78359399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Long text in three columns and picture">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EED5078-C5D9-0E4F-B9E3-7CF7BBC8C373}"/>
              </a:ext>
            </a:extLst>
          </p:cNvPr>
          <p:cNvSpPr>
            <a:spLocks noGrp="1"/>
          </p:cNvSpPr>
          <p:nvPr>
            <p:ph type="pic" sz="quarter" idx="15" hasCustomPrompt="1"/>
          </p:nvPr>
        </p:nvSpPr>
        <p:spPr>
          <a:xfrm>
            <a:off x="491105" y="486000"/>
            <a:ext cx="5579499" cy="12744000"/>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2" name="Text Placeholder 3">
            <a:extLst>
              <a:ext uri="{FF2B5EF4-FFF2-40B4-BE49-F238E27FC236}">
                <a16:creationId xmlns:a16="http://schemas.microsoft.com/office/drawing/2014/main" id="{AE87E5A1-8A67-0448-BA9A-DA74F50AE099}"/>
              </a:ext>
            </a:extLst>
          </p:cNvPr>
          <p:cNvSpPr>
            <a:spLocks noGrp="1"/>
          </p:cNvSpPr>
          <p:nvPr>
            <p:ph type="body" sz="quarter" idx="18" hasCustomPrompt="1"/>
          </p:nvPr>
        </p:nvSpPr>
        <p:spPr>
          <a:xfrm>
            <a:off x="12191206" y="5129214"/>
            <a:ext cx="5040560" cy="6904512"/>
          </a:xfrm>
        </p:spPr>
        <p:txBody>
          <a:bodyPr>
            <a:noAutofit/>
          </a:bodyPr>
          <a:lstStyle>
            <a:lvl1pPr>
              <a:spcBef>
                <a:spcPts val="2000"/>
              </a:spcBef>
              <a:defRPr sz="1600"/>
            </a:lvl1pPr>
          </a:lstStyle>
          <a:p>
            <a:pPr lvl="0"/>
            <a:r>
              <a:rPr lang="en-GB" noProof="0"/>
              <a:t>Put the body text here, keep it regular 16 </a:t>
            </a:r>
            <a:r>
              <a:rPr lang="en-GB" noProof="0" err="1"/>
              <a:t>pt</a:t>
            </a:r>
            <a:endParaRPr lang="en-GB" noProof="0"/>
          </a:p>
        </p:txBody>
      </p:sp>
      <p:sp>
        <p:nvSpPr>
          <p:cNvPr id="13" name="Title 1">
            <a:extLst>
              <a:ext uri="{FF2B5EF4-FFF2-40B4-BE49-F238E27FC236}">
                <a16:creationId xmlns:a16="http://schemas.microsoft.com/office/drawing/2014/main" id="{0614539B-EA7E-5F48-845E-1115C11137DF}"/>
              </a:ext>
            </a:extLst>
          </p:cNvPr>
          <p:cNvSpPr>
            <a:spLocks noGrp="1"/>
          </p:cNvSpPr>
          <p:nvPr>
            <p:ph type="title" hasCustomPrompt="1"/>
          </p:nvPr>
        </p:nvSpPr>
        <p:spPr>
          <a:xfrm>
            <a:off x="6728871" y="1677600"/>
            <a:ext cx="15979214" cy="3011660"/>
          </a:xfrm>
        </p:spPr>
        <p:txBody>
          <a:bodyPr/>
          <a:lstStyle>
            <a:lvl1pPr>
              <a:defRPr sz="6000" spc="0" baseline="0"/>
            </a:lvl1pPr>
          </a:lstStyle>
          <a:p>
            <a:r>
              <a:rPr lang="en-GB"/>
              <a:t>Put the headline here, </a:t>
            </a:r>
            <a:br>
              <a:rPr lang="en-GB"/>
            </a:br>
            <a:r>
              <a:rPr lang="en-GB"/>
              <a:t>keep it 60 </a:t>
            </a:r>
            <a:r>
              <a:rPr lang="en-GB" err="1"/>
              <a:t>pt</a:t>
            </a:r>
            <a:endParaRPr lang="en-NL"/>
          </a:p>
        </p:txBody>
      </p:sp>
      <p:sp>
        <p:nvSpPr>
          <p:cNvPr id="7" name="Text Placeholder 3">
            <a:extLst>
              <a:ext uri="{FF2B5EF4-FFF2-40B4-BE49-F238E27FC236}">
                <a16:creationId xmlns:a16="http://schemas.microsoft.com/office/drawing/2014/main" id="{B26CACA4-13A0-5940-A8FA-3FC8769DA450}"/>
              </a:ext>
            </a:extLst>
          </p:cNvPr>
          <p:cNvSpPr>
            <a:spLocks noGrp="1"/>
          </p:cNvSpPr>
          <p:nvPr>
            <p:ph type="body" sz="quarter" idx="20" hasCustomPrompt="1"/>
          </p:nvPr>
        </p:nvSpPr>
        <p:spPr>
          <a:xfrm>
            <a:off x="17653543" y="5164142"/>
            <a:ext cx="5040560" cy="6904512"/>
          </a:xfrm>
        </p:spPr>
        <p:txBody>
          <a:bodyPr>
            <a:noAutofit/>
          </a:bodyPr>
          <a:lstStyle>
            <a:lvl1pPr>
              <a:spcBef>
                <a:spcPts val="2000"/>
              </a:spcBef>
              <a:defRPr sz="1600"/>
            </a:lvl1pPr>
          </a:lstStyle>
          <a:p>
            <a:pPr lvl="0"/>
            <a:r>
              <a:rPr lang="en-GB" noProof="0"/>
              <a:t>Put the body text here, keep it regular 16 </a:t>
            </a:r>
            <a:r>
              <a:rPr lang="en-GB" noProof="0" err="1"/>
              <a:t>pt</a:t>
            </a:r>
            <a:endParaRPr lang="en-GB" noProof="0"/>
          </a:p>
        </p:txBody>
      </p:sp>
      <p:sp>
        <p:nvSpPr>
          <p:cNvPr id="8" name="Text Placeholder 3">
            <a:extLst>
              <a:ext uri="{FF2B5EF4-FFF2-40B4-BE49-F238E27FC236}">
                <a16:creationId xmlns:a16="http://schemas.microsoft.com/office/drawing/2014/main" id="{0C7CE63B-C4F3-714B-8275-BBB3C3035E61}"/>
              </a:ext>
            </a:extLst>
          </p:cNvPr>
          <p:cNvSpPr>
            <a:spLocks noGrp="1"/>
          </p:cNvSpPr>
          <p:nvPr>
            <p:ph type="body" sz="quarter" idx="21" hasCustomPrompt="1"/>
          </p:nvPr>
        </p:nvSpPr>
        <p:spPr>
          <a:xfrm>
            <a:off x="6728870" y="5129214"/>
            <a:ext cx="5040560" cy="6904512"/>
          </a:xfrm>
        </p:spPr>
        <p:txBody>
          <a:bodyPr>
            <a:noAutofit/>
          </a:bodyPr>
          <a:lstStyle>
            <a:lvl1pPr>
              <a:spcBef>
                <a:spcPts val="2000"/>
              </a:spcBef>
              <a:defRPr sz="1600"/>
            </a:lvl1pPr>
          </a:lstStyle>
          <a:p>
            <a:pPr lvl="0"/>
            <a:r>
              <a:rPr lang="en-GB" noProof="0"/>
              <a:t>Put the body text here, keep it regular 16 </a:t>
            </a:r>
            <a:r>
              <a:rPr lang="en-GB" noProof="0" err="1"/>
              <a:t>pt</a:t>
            </a:r>
            <a:endParaRPr lang="en-GB" noProof="0"/>
          </a:p>
        </p:txBody>
      </p:sp>
      <p:sp>
        <p:nvSpPr>
          <p:cNvPr id="4" name="Footer Placeholder 3">
            <a:extLst>
              <a:ext uri="{FF2B5EF4-FFF2-40B4-BE49-F238E27FC236}">
                <a16:creationId xmlns:a16="http://schemas.microsoft.com/office/drawing/2014/main" id="{4194F0DB-380C-DF44-86E3-D79D56DFF85C}"/>
              </a:ext>
            </a:extLst>
          </p:cNvPr>
          <p:cNvSpPr>
            <a:spLocks noGrp="1"/>
          </p:cNvSpPr>
          <p:nvPr>
            <p:ph type="ftr" sz="quarter" idx="22"/>
          </p:nvPr>
        </p:nvSpPr>
        <p:spPr/>
        <p:txBody>
          <a:bodyPr/>
          <a:lstStyle/>
          <a:p>
            <a:endParaRPr lang="en-NL"/>
          </a:p>
        </p:txBody>
      </p:sp>
      <p:sp>
        <p:nvSpPr>
          <p:cNvPr id="11" name="TextBox 10">
            <a:extLst>
              <a:ext uri="{FF2B5EF4-FFF2-40B4-BE49-F238E27FC236}">
                <a16:creationId xmlns:a16="http://schemas.microsoft.com/office/drawing/2014/main" id="{8382B125-311F-9F4E-88E7-2B54BB6A3B94}"/>
              </a:ext>
            </a:extLst>
          </p:cNvPr>
          <p:cNvSpPr txBox="1"/>
          <p:nvPr userDrawn="1"/>
        </p:nvSpPr>
        <p:spPr>
          <a:xfrm>
            <a:off x="22416463" y="13226646"/>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79215796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Long text in one column and picture">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6790609" y="486000"/>
            <a:ext cx="17100705" cy="12744000"/>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1674330" y="5129214"/>
            <a:ext cx="4394308" cy="6904512"/>
          </a:xfrm>
        </p:spPr>
        <p:txBody>
          <a:bodyPr>
            <a:noAutofit/>
          </a:bodyPr>
          <a:lstStyle>
            <a:lvl1pPr>
              <a:spcBef>
                <a:spcPts val="2000"/>
              </a:spcBef>
              <a:defRPr sz="2400"/>
            </a:lvl1pPr>
          </a:lstStyle>
          <a:p>
            <a:pPr lvl="0"/>
            <a:r>
              <a:rPr lang="en-GB" noProof="0"/>
              <a:t>Put the paragraph text here, keep it regular 24 </a:t>
            </a:r>
            <a:r>
              <a:rPr lang="en-GB" noProof="0" err="1"/>
              <a:t>pt</a:t>
            </a:r>
            <a:endParaRPr lang="en-GB" noProof="0"/>
          </a:p>
        </p:txBody>
      </p:sp>
      <p:sp>
        <p:nvSpPr>
          <p:cNvPr id="2" name="Title 1">
            <a:extLst>
              <a:ext uri="{FF2B5EF4-FFF2-40B4-BE49-F238E27FC236}">
                <a16:creationId xmlns:a16="http://schemas.microsoft.com/office/drawing/2014/main" id="{44A2E15B-0973-F742-A266-E1107E35FE40}"/>
              </a:ext>
            </a:extLst>
          </p:cNvPr>
          <p:cNvSpPr>
            <a:spLocks noGrp="1"/>
          </p:cNvSpPr>
          <p:nvPr>
            <p:ph type="title" hasCustomPrompt="1"/>
          </p:nvPr>
        </p:nvSpPr>
        <p:spPr>
          <a:xfrm>
            <a:off x="1676296" y="1677600"/>
            <a:ext cx="4394308" cy="3011660"/>
          </a:xfrm>
        </p:spPr>
        <p:txBody>
          <a:bodyPr/>
          <a:lstStyle>
            <a:lvl1pPr>
              <a:defRPr sz="4000" spc="0" baseline="0"/>
            </a:lvl1pPr>
          </a:lstStyle>
          <a:p>
            <a:r>
              <a:rPr lang="en-GB"/>
              <a:t>Put the headline here, keep it bold 40 </a:t>
            </a:r>
            <a:r>
              <a:rPr lang="en-GB" err="1"/>
              <a:t>pt</a:t>
            </a:r>
            <a:endParaRPr lang="en-NL"/>
          </a:p>
        </p:txBody>
      </p:sp>
      <p:sp>
        <p:nvSpPr>
          <p:cNvPr id="7" name="Footer Placeholder 6">
            <a:extLst>
              <a:ext uri="{FF2B5EF4-FFF2-40B4-BE49-F238E27FC236}">
                <a16:creationId xmlns:a16="http://schemas.microsoft.com/office/drawing/2014/main" id="{BDFCBB05-AE3F-8B46-8B28-FBA47A7B8DF9}"/>
              </a:ext>
            </a:extLst>
          </p:cNvPr>
          <p:cNvSpPr>
            <a:spLocks noGrp="1"/>
          </p:cNvSpPr>
          <p:nvPr>
            <p:ph type="ftr" sz="quarter" idx="19"/>
          </p:nvPr>
        </p:nvSpPr>
        <p:spPr/>
        <p:txBody>
          <a:bodyPr/>
          <a:lstStyle/>
          <a:p>
            <a:endParaRPr lang="en-NL"/>
          </a:p>
        </p:txBody>
      </p:sp>
      <p:sp>
        <p:nvSpPr>
          <p:cNvPr id="10" name="TextBox 9">
            <a:extLst>
              <a:ext uri="{FF2B5EF4-FFF2-40B4-BE49-F238E27FC236}">
                <a16:creationId xmlns:a16="http://schemas.microsoft.com/office/drawing/2014/main" id="{1A281C68-F05E-474E-B89A-873F6871F7AE}"/>
              </a:ext>
            </a:extLst>
          </p:cNvPr>
          <p:cNvSpPr txBox="1"/>
          <p:nvPr userDrawn="1"/>
        </p:nvSpPr>
        <p:spPr>
          <a:xfrm>
            <a:off x="22416463" y="13226646"/>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425422655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Process">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0D2B4B01-8F71-1C43-804A-AE91ACAAB690}"/>
              </a:ext>
            </a:extLst>
          </p:cNvPr>
          <p:cNvSpPr>
            <a:spLocks noGrp="1"/>
          </p:cNvSpPr>
          <p:nvPr>
            <p:ph type="body" sz="quarter" idx="12" hasCustomPrompt="1"/>
          </p:nvPr>
        </p:nvSpPr>
        <p:spPr>
          <a:xfrm>
            <a:off x="3046414" y="7723209"/>
            <a:ext cx="3024187" cy="1727166"/>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3" name="Title 2">
            <a:extLst>
              <a:ext uri="{FF2B5EF4-FFF2-40B4-BE49-F238E27FC236}">
                <a16:creationId xmlns:a16="http://schemas.microsoft.com/office/drawing/2014/main" id="{6E79ED74-1833-CD4B-828E-58428E0E2A1D}"/>
              </a:ext>
            </a:extLst>
          </p:cNvPr>
          <p:cNvSpPr>
            <a:spLocks noGrp="1"/>
          </p:cNvSpPr>
          <p:nvPr>
            <p:ph type="title" hasCustomPrompt="1"/>
          </p:nvPr>
        </p:nvSpPr>
        <p:spPr>
          <a:xfrm>
            <a:off x="1676293" y="1677605"/>
            <a:ext cx="21033007" cy="1722906"/>
          </a:xfrm>
        </p:spPr>
        <p:txBody>
          <a:bodyPr/>
          <a:lstStyle/>
          <a:p>
            <a:r>
              <a:rPr lang="en-GB"/>
              <a:t>Process</a:t>
            </a:r>
            <a:endParaRPr lang="en-NL"/>
          </a:p>
        </p:txBody>
      </p:sp>
      <p:cxnSp>
        <p:nvCxnSpPr>
          <p:cNvPr id="5" name="Straight Arrow Connector 4">
            <a:extLst>
              <a:ext uri="{FF2B5EF4-FFF2-40B4-BE49-F238E27FC236}">
                <a16:creationId xmlns:a16="http://schemas.microsoft.com/office/drawing/2014/main" id="{0798A829-D289-394A-914F-EDD8D97B2357}"/>
              </a:ext>
            </a:extLst>
          </p:cNvPr>
          <p:cNvCxnSpPr>
            <a:cxnSpLocks/>
          </p:cNvCxnSpPr>
          <p:nvPr userDrawn="1"/>
        </p:nvCxnSpPr>
        <p:spPr>
          <a:xfrm>
            <a:off x="1674706" y="6858000"/>
            <a:ext cx="21033009" cy="0"/>
          </a:xfrm>
          <a:prstGeom prst="straightConnector1">
            <a:avLst/>
          </a:prstGeom>
          <a:ln w="190500">
            <a:solidFill>
              <a:schemeClr val="bg2"/>
            </a:solidFill>
            <a:tailEnd type="none" w="med" len="sm"/>
          </a:ln>
        </p:spPr>
        <p:style>
          <a:lnRef idx="1">
            <a:schemeClr val="accent1"/>
          </a:lnRef>
          <a:fillRef idx="0">
            <a:schemeClr val="accent1"/>
          </a:fillRef>
          <a:effectRef idx="0">
            <a:schemeClr val="accent1"/>
          </a:effectRef>
          <a:fontRef idx="minor">
            <a:schemeClr val="tx1"/>
          </a:fontRef>
        </p:style>
      </p:cxnSp>
      <p:sp>
        <p:nvSpPr>
          <p:cNvPr id="37" name="L-shape 36">
            <a:extLst>
              <a:ext uri="{FF2B5EF4-FFF2-40B4-BE49-F238E27FC236}">
                <a16:creationId xmlns:a16="http://schemas.microsoft.com/office/drawing/2014/main" id="{A3A516EF-4158-0845-AB22-B4F71119802B}"/>
              </a:ext>
            </a:extLst>
          </p:cNvPr>
          <p:cNvSpPr/>
          <p:nvPr userDrawn="1"/>
        </p:nvSpPr>
        <p:spPr>
          <a:xfrm rot="13500000">
            <a:off x="21934797" y="6498005"/>
            <a:ext cx="720000" cy="719999"/>
          </a:xfrm>
          <a:prstGeom prst="corner">
            <a:avLst>
              <a:gd name="adj1" fmla="val 26540"/>
              <a:gd name="adj2" fmla="val 2661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endParaRPr lang="en-NL" sz="1800"/>
          </a:p>
        </p:txBody>
      </p:sp>
      <p:sp>
        <p:nvSpPr>
          <p:cNvPr id="38" name="Text Placeholder 5">
            <a:extLst>
              <a:ext uri="{FF2B5EF4-FFF2-40B4-BE49-F238E27FC236}">
                <a16:creationId xmlns:a16="http://schemas.microsoft.com/office/drawing/2014/main" id="{DDC37633-16B3-3744-A593-529313A8F214}"/>
              </a:ext>
            </a:extLst>
          </p:cNvPr>
          <p:cNvSpPr>
            <a:spLocks noGrp="1"/>
          </p:cNvSpPr>
          <p:nvPr>
            <p:ph type="body" sz="quarter" idx="21" hasCustomPrompt="1"/>
          </p:nvPr>
        </p:nvSpPr>
        <p:spPr>
          <a:xfrm>
            <a:off x="6142038" y="4265715"/>
            <a:ext cx="3024187" cy="1727166"/>
          </a:xfrm>
        </p:spPr>
        <p:txBody>
          <a:bodyPr anchor="b">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39" name="Text Placeholder 5">
            <a:extLst>
              <a:ext uri="{FF2B5EF4-FFF2-40B4-BE49-F238E27FC236}">
                <a16:creationId xmlns:a16="http://schemas.microsoft.com/office/drawing/2014/main" id="{4B3F39C9-E76C-2D44-9D1B-E9B07074F77E}"/>
              </a:ext>
            </a:extLst>
          </p:cNvPr>
          <p:cNvSpPr>
            <a:spLocks noGrp="1"/>
          </p:cNvSpPr>
          <p:nvPr>
            <p:ph type="body" sz="quarter" idx="22" hasCustomPrompt="1"/>
          </p:nvPr>
        </p:nvSpPr>
        <p:spPr>
          <a:xfrm>
            <a:off x="9167019" y="7723209"/>
            <a:ext cx="3024187" cy="1727166"/>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0" name="Text Placeholder 5">
            <a:extLst>
              <a:ext uri="{FF2B5EF4-FFF2-40B4-BE49-F238E27FC236}">
                <a16:creationId xmlns:a16="http://schemas.microsoft.com/office/drawing/2014/main" id="{8814CF3B-C6B0-0648-A9C1-CE26FF4CB2D8}"/>
              </a:ext>
            </a:extLst>
          </p:cNvPr>
          <p:cNvSpPr>
            <a:spLocks noGrp="1"/>
          </p:cNvSpPr>
          <p:nvPr>
            <p:ph type="body" sz="quarter" idx="23" hasCustomPrompt="1"/>
          </p:nvPr>
        </p:nvSpPr>
        <p:spPr>
          <a:xfrm>
            <a:off x="12190413" y="4265715"/>
            <a:ext cx="3024187" cy="1727166"/>
          </a:xfrm>
        </p:spPr>
        <p:txBody>
          <a:bodyPr anchor="b">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1" name="Text Placeholder 5">
            <a:extLst>
              <a:ext uri="{FF2B5EF4-FFF2-40B4-BE49-F238E27FC236}">
                <a16:creationId xmlns:a16="http://schemas.microsoft.com/office/drawing/2014/main" id="{3356431A-93FA-3546-85F8-B31F1C9169B6}"/>
              </a:ext>
            </a:extLst>
          </p:cNvPr>
          <p:cNvSpPr>
            <a:spLocks noGrp="1"/>
          </p:cNvSpPr>
          <p:nvPr>
            <p:ph type="body" sz="quarter" idx="24" hasCustomPrompt="1"/>
          </p:nvPr>
        </p:nvSpPr>
        <p:spPr>
          <a:xfrm>
            <a:off x="15287627" y="7723209"/>
            <a:ext cx="3024187" cy="1727166"/>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2" name="Text Placeholder 5">
            <a:extLst>
              <a:ext uri="{FF2B5EF4-FFF2-40B4-BE49-F238E27FC236}">
                <a16:creationId xmlns:a16="http://schemas.microsoft.com/office/drawing/2014/main" id="{5CD9E15C-1210-D245-AE40-F67BE5C74056}"/>
              </a:ext>
            </a:extLst>
          </p:cNvPr>
          <p:cNvSpPr>
            <a:spLocks noGrp="1"/>
          </p:cNvSpPr>
          <p:nvPr>
            <p:ph type="body" sz="quarter" idx="25" hasCustomPrompt="1"/>
          </p:nvPr>
        </p:nvSpPr>
        <p:spPr>
          <a:xfrm>
            <a:off x="18311814" y="4265715"/>
            <a:ext cx="3024187" cy="1727166"/>
          </a:xfrm>
        </p:spPr>
        <p:txBody>
          <a:bodyPr anchor="b">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4" name="Footer Placeholder 43">
            <a:extLst>
              <a:ext uri="{FF2B5EF4-FFF2-40B4-BE49-F238E27FC236}">
                <a16:creationId xmlns:a16="http://schemas.microsoft.com/office/drawing/2014/main" id="{3DC74232-9167-9144-A25D-B5C31FFA7A3A}"/>
              </a:ext>
            </a:extLst>
          </p:cNvPr>
          <p:cNvSpPr>
            <a:spLocks noGrp="1"/>
          </p:cNvSpPr>
          <p:nvPr>
            <p:ph type="ftr" sz="quarter" idx="26"/>
          </p:nvPr>
        </p:nvSpPr>
        <p:spPr/>
        <p:txBody>
          <a:bodyPr/>
          <a:lstStyle/>
          <a:p>
            <a:endParaRPr lang="en-NL"/>
          </a:p>
        </p:txBody>
      </p:sp>
      <p:sp>
        <p:nvSpPr>
          <p:cNvPr id="45" name="TextBox 44">
            <a:extLst>
              <a:ext uri="{FF2B5EF4-FFF2-40B4-BE49-F238E27FC236}">
                <a16:creationId xmlns:a16="http://schemas.microsoft.com/office/drawing/2014/main" id="{69E14940-6394-8440-928E-5262E6E6434C}"/>
              </a:ext>
            </a:extLst>
          </p:cNvPr>
          <p:cNvSpPr txBox="1"/>
          <p:nvPr userDrawn="1"/>
        </p:nvSpPr>
        <p:spPr>
          <a:xfrm>
            <a:off x="22416463" y="13226646"/>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13572549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Focus areas 2">
    <p:spTree>
      <p:nvGrpSpPr>
        <p:cNvPr id="1" name=""/>
        <p:cNvGrpSpPr/>
        <p:nvPr/>
      </p:nvGrpSpPr>
      <p:grpSpPr>
        <a:xfrm>
          <a:off x="0" y="0"/>
          <a:ext cx="0" cy="0"/>
          <a:chOff x="0" y="0"/>
          <a:chExt cx="0" cy="0"/>
        </a:xfrm>
      </p:grpSpPr>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9166226" y="4124211"/>
            <a:ext cx="6049962" cy="4462582"/>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6" name="Text Placeholder 5">
            <a:extLst>
              <a:ext uri="{FF2B5EF4-FFF2-40B4-BE49-F238E27FC236}">
                <a16:creationId xmlns:a16="http://schemas.microsoft.com/office/drawing/2014/main" id="{50C5C652-3240-6341-9095-4EF7D7DC26F2}"/>
              </a:ext>
            </a:extLst>
          </p:cNvPr>
          <p:cNvSpPr>
            <a:spLocks noGrp="1"/>
          </p:cNvSpPr>
          <p:nvPr>
            <p:ph type="body" sz="quarter" idx="30" hasCustomPrompt="1"/>
          </p:nvPr>
        </p:nvSpPr>
        <p:spPr>
          <a:xfrm>
            <a:off x="9166226" y="9162256"/>
            <a:ext cx="6049962" cy="2880520"/>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18" name="Picture Placeholder 2">
            <a:extLst>
              <a:ext uri="{FF2B5EF4-FFF2-40B4-BE49-F238E27FC236}">
                <a16:creationId xmlns:a16="http://schemas.microsoft.com/office/drawing/2014/main" id="{CA5C6F99-363F-0A44-B903-36748B19D967}"/>
              </a:ext>
            </a:extLst>
          </p:cNvPr>
          <p:cNvSpPr>
            <a:spLocks noGrp="1"/>
          </p:cNvSpPr>
          <p:nvPr>
            <p:ph type="pic" sz="quarter" idx="32" hasCustomPrompt="1"/>
          </p:nvPr>
        </p:nvSpPr>
        <p:spPr>
          <a:xfrm>
            <a:off x="1673111" y="4124211"/>
            <a:ext cx="6049962" cy="4462582"/>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0" name="Text Placeholder 5">
            <a:extLst>
              <a:ext uri="{FF2B5EF4-FFF2-40B4-BE49-F238E27FC236}">
                <a16:creationId xmlns:a16="http://schemas.microsoft.com/office/drawing/2014/main" id="{75455B56-07F2-2943-AFDE-22F2A9DF65C4}"/>
              </a:ext>
            </a:extLst>
          </p:cNvPr>
          <p:cNvSpPr>
            <a:spLocks noGrp="1"/>
          </p:cNvSpPr>
          <p:nvPr>
            <p:ph type="body" sz="quarter" idx="33" hasCustomPrompt="1"/>
          </p:nvPr>
        </p:nvSpPr>
        <p:spPr>
          <a:xfrm>
            <a:off x="1673113" y="9162256"/>
            <a:ext cx="6049962" cy="2880520"/>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21" name="Picture Placeholder 2">
            <a:extLst>
              <a:ext uri="{FF2B5EF4-FFF2-40B4-BE49-F238E27FC236}">
                <a16:creationId xmlns:a16="http://schemas.microsoft.com/office/drawing/2014/main" id="{2F983719-8E56-644B-87F9-AA87D0158471}"/>
              </a:ext>
            </a:extLst>
          </p:cNvPr>
          <p:cNvSpPr>
            <a:spLocks noGrp="1"/>
          </p:cNvSpPr>
          <p:nvPr>
            <p:ph type="pic" sz="quarter" idx="34" hasCustomPrompt="1"/>
          </p:nvPr>
        </p:nvSpPr>
        <p:spPr>
          <a:xfrm>
            <a:off x="16656158" y="4124211"/>
            <a:ext cx="6049962" cy="4462582"/>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2" name="Text Placeholder 5">
            <a:extLst>
              <a:ext uri="{FF2B5EF4-FFF2-40B4-BE49-F238E27FC236}">
                <a16:creationId xmlns:a16="http://schemas.microsoft.com/office/drawing/2014/main" id="{CAE497B4-C614-C44B-94BA-C3BDE7D75DEC}"/>
              </a:ext>
            </a:extLst>
          </p:cNvPr>
          <p:cNvSpPr>
            <a:spLocks noGrp="1"/>
          </p:cNvSpPr>
          <p:nvPr>
            <p:ph type="body" sz="quarter" idx="35" hasCustomPrompt="1"/>
          </p:nvPr>
        </p:nvSpPr>
        <p:spPr>
          <a:xfrm>
            <a:off x="16656160" y="9162256"/>
            <a:ext cx="6049962" cy="2880520"/>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2" name="Title 1">
            <a:extLst>
              <a:ext uri="{FF2B5EF4-FFF2-40B4-BE49-F238E27FC236}">
                <a16:creationId xmlns:a16="http://schemas.microsoft.com/office/drawing/2014/main" id="{B714AECF-762E-AF4B-AE68-4E3BB8D405CD}"/>
              </a:ext>
            </a:extLst>
          </p:cNvPr>
          <p:cNvSpPr>
            <a:spLocks noGrp="1"/>
          </p:cNvSpPr>
          <p:nvPr>
            <p:ph type="title" hasCustomPrompt="1"/>
          </p:nvPr>
        </p:nvSpPr>
        <p:spPr>
          <a:xfrm>
            <a:off x="1676293" y="1677603"/>
            <a:ext cx="21033007" cy="1724414"/>
          </a:xfrm>
        </p:spPr>
        <p:txBody>
          <a:bodyPr/>
          <a:lstStyle/>
          <a:p>
            <a:r>
              <a:rPr lang="en-GB"/>
              <a:t>Focus areas</a:t>
            </a:r>
            <a:endParaRPr lang="en-NL"/>
          </a:p>
        </p:txBody>
      </p:sp>
      <p:sp>
        <p:nvSpPr>
          <p:cNvPr id="6" name="Footer Placeholder 5">
            <a:extLst>
              <a:ext uri="{FF2B5EF4-FFF2-40B4-BE49-F238E27FC236}">
                <a16:creationId xmlns:a16="http://schemas.microsoft.com/office/drawing/2014/main" id="{905FD5AF-E14D-EF49-88A1-61AE79880A4D}"/>
              </a:ext>
            </a:extLst>
          </p:cNvPr>
          <p:cNvSpPr>
            <a:spLocks noGrp="1"/>
          </p:cNvSpPr>
          <p:nvPr>
            <p:ph type="ftr" sz="quarter" idx="36"/>
          </p:nvPr>
        </p:nvSpPr>
        <p:spPr/>
        <p:txBody>
          <a:bodyPr/>
          <a:lstStyle/>
          <a:p>
            <a:endParaRPr lang="en-NL"/>
          </a:p>
        </p:txBody>
      </p:sp>
      <p:sp>
        <p:nvSpPr>
          <p:cNvPr id="14" name="TextBox 13">
            <a:extLst>
              <a:ext uri="{FF2B5EF4-FFF2-40B4-BE49-F238E27FC236}">
                <a16:creationId xmlns:a16="http://schemas.microsoft.com/office/drawing/2014/main" id="{7DDFA0A1-FCD3-7344-8E11-BA02D0C38EE6}"/>
              </a:ext>
            </a:extLst>
          </p:cNvPr>
          <p:cNvSpPr txBox="1"/>
          <p:nvPr userDrawn="1"/>
        </p:nvSpPr>
        <p:spPr>
          <a:xfrm>
            <a:off x="22416463" y="13226646"/>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29834449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Focus areas 3">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6F4D095-75F9-A649-B638-1297084AD7A4}"/>
              </a:ext>
            </a:extLst>
          </p:cNvPr>
          <p:cNvSpPr>
            <a:spLocks noGrp="1"/>
          </p:cNvSpPr>
          <p:nvPr>
            <p:ph type="pic" sz="quarter" idx="20" hasCustomPrompt="1"/>
          </p:nvPr>
        </p:nvSpPr>
        <p:spPr>
          <a:xfrm>
            <a:off x="3110925" y="5160733"/>
            <a:ext cx="3425835" cy="3426058"/>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3110923" y="8904155"/>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1" name="Picture Placeholder 7">
            <a:extLst>
              <a:ext uri="{FF2B5EF4-FFF2-40B4-BE49-F238E27FC236}">
                <a16:creationId xmlns:a16="http://schemas.microsoft.com/office/drawing/2014/main" id="{541447E4-2AA6-7F48-B55B-B62747E0ABD2}"/>
              </a:ext>
            </a:extLst>
          </p:cNvPr>
          <p:cNvSpPr>
            <a:spLocks noGrp="1"/>
          </p:cNvSpPr>
          <p:nvPr>
            <p:ph type="pic" sz="quarter" idx="22" hasCustomPrompt="1"/>
          </p:nvPr>
        </p:nvSpPr>
        <p:spPr>
          <a:xfrm>
            <a:off x="8045295" y="5160733"/>
            <a:ext cx="3425835" cy="3426058"/>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2" name="Text Placeholder 11">
            <a:extLst>
              <a:ext uri="{FF2B5EF4-FFF2-40B4-BE49-F238E27FC236}">
                <a16:creationId xmlns:a16="http://schemas.microsoft.com/office/drawing/2014/main" id="{2AD28FF4-13F4-2C40-9AF9-E173148BF12A}"/>
              </a:ext>
            </a:extLst>
          </p:cNvPr>
          <p:cNvSpPr>
            <a:spLocks noGrp="1"/>
          </p:cNvSpPr>
          <p:nvPr>
            <p:ph type="body" sz="quarter" idx="23" hasCustomPrompt="1"/>
          </p:nvPr>
        </p:nvSpPr>
        <p:spPr>
          <a:xfrm>
            <a:off x="8045295" y="8904155"/>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3" name="Picture Placeholder 7">
            <a:extLst>
              <a:ext uri="{FF2B5EF4-FFF2-40B4-BE49-F238E27FC236}">
                <a16:creationId xmlns:a16="http://schemas.microsoft.com/office/drawing/2014/main" id="{76549726-CD0C-C144-A1EB-76A281BC952E}"/>
              </a:ext>
            </a:extLst>
          </p:cNvPr>
          <p:cNvSpPr>
            <a:spLocks noGrp="1"/>
          </p:cNvSpPr>
          <p:nvPr>
            <p:ph type="pic" sz="quarter" idx="24" hasCustomPrompt="1"/>
          </p:nvPr>
        </p:nvSpPr>
        <p:spPr>
          <a:xfrm>
            <a:off x="12911289" y="5160733"/>
            <a:ext cx="3425835" cy="3426058"/>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4" name="Text Placeholder 11">
            <a:extLst>
              <a:ext uri="{FF2B5EF4-FFF2-40B4-BE49-F238E27FC236}">
                <a16:creationId xmlns:a16="http://schemas.microsoft.com/office/drawing/2014/main" id="{5B3AA100-6E6E-D34B-943C-1D75F59C39B5}"/>
              </a:ext>
            </a:extLst>
          </p:cNvPr>
          <p:cNvSpPr>
            <a:spLocks noGrp="1"/>
          </p:cNvSpPr>
          <p:nvPr>
            <p:ph type="body" sz="quarter" idx="25" hasCustomPrompt="1"/>
          </p:nvPr>
        </p:nvSpPr>
        <p:spPr>
          <a:xfrm>
            <a:off x="12911289" y="8904155"/>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5" name="Picture Placeholder 7">
            <a:extLst>
              <a:ext uri="{FF2B5EF4-FFF2-40B4-BE49-F238E27FC236}">
                <a16:creationId xmlns:a16="http://schemas.microsoft.com/office/drawing/2014/main" id="{DCB14019-6F34-AB4B-B98E-4393A31FE4D7}"/>
              </a:ext>
            </a:extLst>
          </p:cNvPr>
          <p:cNvSpPr>
            <a:spLocks noGrp="1"/>
          </p:cNvSpPr>
          <p:nvPr>
            <p:ph type="pic" sz="quarter" idx="26" hasCustomPrompt="1"/>
          </p:nvPr>
        </p:nvSpPr>
        <p:spPr>
          <a:xfrm>
            <a:off x="17910169" y="5160733"/>
            <a:ext cx="3425835" cy="3426058"/>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6" name="Text Placeholder 11">
            <a:extLst>
              <a:ext uri="{FF2B5EF4-FFF2-40B4-BE49-F238E27FC236}">
                <a16:creationId xmlns:a16="http://schemas.microsoft.com/office/drawing/2014/main" id="{1C762A72-2425-1F42-B142-A5C927AEEBB1}"/>
              </a:ext>
            </a:extLst>
          </p:cNvPr>
          <p:cNvSpPr>
            <a:spLocks noGrp="1"/>
          </p:cNvSpPr>
          <p:nvPr>
            <p:ph type="body" sz="quarter" idx="27" hasCustomPrompt="1"/>
          </p:nvPr>
        </p:nvSpPr>
        <p:spPr>
          <a:xfrm>
            <a:off x="17910169" y="8904155"/>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 name="Title 1">
            <a:extLst>
              <a:ext uri="{FF2B5EF4-FFF2-40B4-BE49-F238E27FC236}">
                <a16:creationId xmlns:a16="http://schemas.microsoft.com/office/drawing/2014/main" id="{A0F5E023-04B8-2F4C-ACC9-EA2D15A8206D}"/>
              </a:ext>
            </a:extLst>
          </p:cNvPr>
          <p:cNvSpPr>
            <a:spLocks noGrp="1"/>
          </p:cNvSpPr>
          <p:nvPr>
            <p:ph type="title" hasCustomPrompt="1"/>
          </p:nvPr>
        </p:nvSpPr>
        <p:spPr/>
        <p:txBody>
          <a:bodyPr/>
          <a:lstStyle/>
          <a:p>
            <a:r>
              <a:rPr lang="en-GB"/>
              <a:t>Focus areas</a:t>
            </a:r>
            <a:endParaRPr lang="en-NL"/>
          </a:p>
        </p:txBody>
      </p:sp>
      <p:sp>
        <p:nvSpPr>
          <p:cNvPr id="6" name="Footer Placeholder 5">
            <a:extLst>
              <a:ext uri="{FF2B5EF4-FFF2-40B4-BE49-F238E27FC236}">
                <a16:creationId xmlns:a16="http://schemas.microsoft.com/office/drawing/2014/main" id="{7BEF6BFC-32B9-EE4E-B0BD-51735697E79A}"/>
              </a:ext>
            </a:extLst>
          </p:cNvPr>
          <p:cNvSpPr>
            <a:spLocks noGrp="1"/>
          </p:cNvSpPr>
          <p:nvPr>
            <p:ph type="ftr" sz="quarter" idx="28"/>
          </p:nvPr>
        </p:nvSpPr>
        <p:spPr/>
        <p:txBody>
          <a:bodyPr/>
          <a:lstStyle/>
          <a:p>
            <a:endParaRPr lang="en-NL"/>
          </a:p>
        </p:txBody>
      </p:sp>
      <p:sp>
        <p:nvSpPr>
          <p:cNvPr id="17" name="TextBox 16">
            <a:extLst>
              <a:ext uri="{FF2B5EF4-FFF2-40B4-BE49-F238E27FC236}">
                <a16:creationId xmlns:a16="http://schemas.microsoft.com/office/drawing/2014/main" id="{D03693B7-36DD-2044-BD6D-C7E743BAFEC9}"/>
              </a:ext>
            </a:extLst>
          </p:cNvPr>
          <p:cNvSpPr txBox="1"/>
          <p:nvPr userDrawn="1"/>
        </p:nvSpPr>
        <p:spPr>
          <a:xfrm>
            <a:off x="22416463" y="13226646"/>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17667523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Organisational chart with pictur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6F4D095-75F9-A649-B638-1297084AD7A4}"/>
              </a:ext>
            </a:extLst>
          </p:cNvPr>
          <p:cNvSpPr>
            <a:spLocks noGrp="1"/>
          </p:cNvSpPr>
          <p:nvPr>
            <p:ph type="pic" sz="quarter" idx="20" hasCustomPrompt="1"/>
          </p:nvPr>
        </p:nvSpPr>
        <p:spPr>
          <a:xfrm>
            <a:off x="10841207" y="1719944"/>
            <a:ext cx="2591999" cy="2592000"/>
          </a:xfrm>
          <a:prstGeom prst="ellipse">
            <a:avLst/>
          </a:prstGeom>
          <a:solidFill>
            <a:schemeClr val="bg1">
              <a:lumMod val="95000"/>
            </a:schemeClr>
          </a:solidFill>
        </p:spPr>
        <p:txBody>
          <a:bodyPr anchor="ct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9670605" y="4512108"/>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2" name="Title 1">
            <a:extLst>
              <a:ext uri="{FF2B5EF4-FFF2-40B4-BE49-F238E27FC236}">
                <a16:creationId xmlns:a16="http://schemas.microsoft.com/office/drawing/2014/main" id="{43DA5788-F32B-A54D-BD65-3FF50B9E8946}"/>
              </a:ext>
            </a:extLst>
          </p:cNvPr>
          <p:cNvSpPr>
            <a:spLocks noGrp="1"/>
          </p:cNvSpPr>
          <p:nvPr>
            <p:ph type="title" hasCustomPrompt="1"/>
          </p:nvPr>
        </p:nvSpPr>
        <p:spPr>
          <a:xfrm>
            <a:off x="1676293" y="1677600"/>
            <a:ext cx="7489932" cy="3011660"/>
          </a:xfrm>
        </p:spPr>
        <p:txBody>
          <a:bodyPr/>
          <a:lstStyle>
            <a:lvl1pPr>
              <a:defRPr sz="6000"/>
            </a:lvl1pPr>
          </a:lstStyle>
          <a:p>
            <a:r>
              <a:rPr lang="en-GB"/>
              <a:t>Department name</a:t>
            </a:r>
            <a:endParaRPr lang="en-NL"/>
          </a:p>
        </p:txBody>
      </p:sp>
      <p:sp>
        <p:nvSpPr>
          <p:cNvPr id="31" name="Text Placeholder 11">
            <a:extLst>
              <a:ext uri="{FF2B5EF4-FFF2-40B4-BE49-F238E27FC236}">
                <a16:creationId xmlns:a16="http://schemas.microsoft.com/office/drawing/2014/main" id="{75F485D7-B4EF-5A4B-879E-86975974580C}"/>
              </a:ext>
            </a:extLst>
          </p:cNvPr>
          <p:cNvSpPr>
            <a:spLocks noGrp="1"/>
          </p:cNvSpPr>
          <p:nvPr>
            <p:ph type="body" sz="quarter" idx="30" hasCustomPrompt="1"/>
          </p:nvPr>
        </p:nvSpPr>
        <p:spPr>
          <a:xfrm>
            <a:off x="7114432" y="8596286"/>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2" name="Text Placeholder 11">
            <a:extLst>
              <a:ext uri="{FF2B5EF4-FFF2-40B4-BE49-F238E27FC236}">
                <a16:creationId xmlns:a16="http://schemas.microsoft.com/office/drawing/2014/main" id="{8EE80A14-44BF-1D48-8C22-8748FD98477A}"/>
              </a:ext>
            </a:extLst>
          </p:cNvPr>
          <p:cNvSpPr>
            <a:spLocks noGrp="1"/>
          </p:cNvSpPr>
          <p:nvPr>
            <p:ph type="body" sz="quarter" idx="31" hasCustomPrompt="1"/>
          </p:nvPr>
        </p:nvSpPr>
        <p:spPr>
          <a:xfrm>
            <a:off x="12197877" y="8596286"/>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3" name="Text Placeholder 11">
            <a:extLst>
              <a:ext uri="{FF2B5EF4-FFF2-40B4-BE49-F238E27FC236}">
                <a16:creationId xmlns:a16="http://schemas.microsoft.com/office/drawing/2014/main" id="{4122F631-7AEE-E940-A99A-F863EBC69A3E}"/>
              </a:ext>
            </a:extLst>
          </p:cNvPr>
          <p:cNvSpPr>
            <a:spLocks noGrp="1"/>
          </p:cNvSpPr>
          <p:nvPr>
            <p:ph type="body" sz="quarter" idx="32" hasCustomPrompt="1"/>
          </p:nvPr>
        </p:nvSpPr>
        <p:spPr>
          <a:xfrm>
            <a:off x="17276564" y="8596286"/>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4" name="Text Placeholder 11">
            <a:extLst>
              <a:ext uri="{FF2B5EF4-FFF2-40B4-BE49-F238E27FC236}">
                <a16:creationId xmlns:a16="http://schemas.microsoft.com/office/drawing/2014/main" id="{DEF7042E-C2C0-904C-A1CD-FA245CD87451}"/>
              </a:ext>
            </a:extLst>
          </p:cNvPr>
          <p:cNvSpPr>
            <a:spLocks noGrp="1"/>
          </p:cNvSpPr>
          <p:nvPr>
            <p:ph type="body" sz="quarter" idx="33" hasCustomPrompt="1"/>
          </p:nvPr>
        </p:nvSpPr>
        <p:spPr>
          <a:xfrm>
            <a:off x="2059337" y="8596286"/>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6" name="Text Placeholder 11">
            <a:extLst>
              <a:ext uri="{FF2B5EF4-FFF2-40B4-BE49-F238E27FC236}">
                <a16:creationId xmlns:a16="http://schemas.microsoft.com/office/drawing/2014/main" id="{BF736EFA-67F1-B044-A2C3-78E7C51705B6}"/>
              </a:ext>
            </a:extLst>
          </p:cNvPr>
          <p:cNvSpPr>
            <a:spLocks noGrp="1"/>
          </p:cNvSpPr>
          <p:nvPr>
            <p:ph type="body" sz="quarter" idx="35" hasCustomPrompt="1"/>
          </p:nvPr>
        </p:nvSpPr>
        <p:spPr>
          <a:xfrm>
            <a:off x="14755171" y="4523154"/>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18" name="Picture Placeholder 7">
            <a:extLst>
              <a:ext uri="{FF2B5EF4-FFF2-40B4-BE49-F238E27FC236}">
                <a16:creationId xmlns:a16="http://schemas.microsoft.com/office/drawing/2014/main" id="{E32092D4-F5E4-9948-BB3B-B209229D6C06}"/>
              </a:ext>
            </a:extLst>
          </p:cNvPr>
          <p:cNvSpPr>
            <a:spLocks noGrp="1"/>
          </p:cNvSpPr>
          <p:nvPr>
            <p:ph type="pic" sz="quarter" idx="36" hasCustomPrompt="1"/>
          </p:nvPr>
        </p:nvSpPr>
        <p:spPr>
          <a:xfrm>
            <a:off x="15943082" y="1719944"/>
            <a:ext cx="2591999" cy="2592000"/>
          </a:xfrm>
          <a:prstGeom prst="ellipse">
            <a:avLst/>
          </a:prstGeom>
          <a:solidFill>
            <a:schemeClr val="bg1">
              <a:lumMod val="95000"/>
            </a:schemeClr>
          </a:solidFill>
        </p:spPr>
        <p:txBody>
          <a:bodyPr anchor="ct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0" name="Picture Placeholder 7">
            <a:extLst>
              <a:ext uri="{FF2B5EF4-FFF2-40B4-BE49-F238E27FC236}">
                <a16:creationId xmlns:a16="http://schemas.microsoft.com/office/drawing/2014/main" id="{9642D2C8-E8D9-D24B-8B56-E869E37E5558}"/>
              </a:ext>
            </a:extLst>
          </p:cNvPr>
          <p:cNvSpPr>
            <a:spLocks noGrp="1"/>
          </p:cNvSpPr>
          <p:nvPr>
            <p:ph type="pic" sz="quarter" idx="37" hasCustomPrompt="1"/>
          </p:nvPr>
        </p:nvSpPr>
        <p:spPr>
          <a:xfrm>
            <a:off x="3283936" y="5777880"/>
            <a:ext cx="2591999" cy="2592000"/>
          </a:xfrm>
          <a:prstGeom prst="ellipse">
            <a:avLst/>
          </a:prstGeom>
          <a:solidFill>
            <a:schemeClr val="bg1">
              <a:lumMod val="95000"/>
            </a:schemeClr>
          </a:solidFill>
        </p:spPr>
        <p:txBody>
          <a:bodyPr anchor="ct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1" name="Picture Placeholder 7">
            <a:extLst>
              <a:ext uri="{FF2B5EF4-FFF2-40B4-BE49-F238E27FC236}">
                <a16:creationId xmlns:a16="http://schemas.microsoft.com/office/drawing/2014/main" id="{CDF87832-9FDB-3F47-97C5-15DEFCD1488C}"/>
              </a:ext>
            </a:extLst>
          </p:cNvPr>
          <p:cNvSpPr>
            <a:spLocks noGrp="1"/>
          </p:cNvSpPr>
          <p:nvPr>
            <p:ph type="pic" sz="quarter" idx="38" hasCustomPrompt="1"/>
          </p:nvPr>
        </p:nvSpPr>
        <p:spPr>
          <a:xfrm>
            <a:off x="8394042" y="5777880"/>
            <a:ext cx="2591999" cy="2592000"/>
          </a:xfrm>
          <a:prstGeom prst="ellipse">
            <a:avLst/>
          </a:prstGeom>
          <a:solidFill>
            <a:schemeClr val="bg1">
              <a:lumMod val="95000"/>
            </a:schemeClr>
          </a:solidFill>
        </p:spPr>
        <p:txBody>
          <a:bodyPr anchor="ct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2" name="Picture Placeholder 7">
            <a:extLst>
              <a:ext uri="{FF2B5EF4-FFF2-40B4-BE49-F238E27FC236}">
                <a16:creationId xmlns:a16="http://schemas.microsoft.com/office/drawing/2014/main" id="{9F605B20-5BFC-D34B-AC34-62C629AE60C8}"/>
              </a:ext>
            </a:extLst>
          </p:cNvPr>
          <p:cNvSpPr>
            <a:spLocks noGrp="1"/>
          </p:cNvSpPr>
          <p:nvPr>
            <p:ph type="pic" sz="quarter" idx="39" hasCustomPrompt="1"/>
          </p:nvPr>
        </p:nvSpPr>
        <p:spPr>
          <a:xfrm>
            <a:off x="13459168" y="5777880"/>
            <a:ext cx="2591999" cy="2592000"/>
          </a:xfrm>
          <a:prstGeom prst="ellipse">
            <a:avLst/>
          </a:prstGeom>
          <a:solidFill>
            <a:schemeClr val="bg1">
              <a:lumMod val="95000"/>
            </a:schemeClr>
          </a:solidFill>
        </p:spPr>
        <p:txBody>
          <a:bodyPr anchor="ct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3" name="Picture Placeholder 7">
            <a:extLst>
              <a:ext uri="{FF2B5EF4-FFF2-40B4-BE49-F238E27FC236}">
                <a16:creationId xmlns:a16="http://schemas.microsoft.com/office/drawing/2014/main" id="{CB528120-A57D-C04A-A5CE-A13C8EDF86ED}"/>
              </a:ext>
            </a:extLst>
          </p:cNvPr>
          <p:cNvSpPr>
            <a:spLocks noGrp="1"/>
          </p:cNvSpPr>
          <p:nvPr>
            <p:ph type="pic" sz="quarter" idx="40" hasCustomPrompt="1"/>
          </p:nvPr>
        </p:nvSpPr>
        <p:spPr>
          <a:xfrm>
            <a:off x="18569274" y="5777880"/>
            <a:ext cx="2591999" cy="2592000"/>
          </a:xfrm>
          <a:prstGeom prst="ellipse">
            <a:avLst/>
          </a:prstGeom>
          <a:solidFill>
            <a:schemeClr val="bg1">
              <a:lumMod val="95000"/>
            </a:schemeClr>
          </a:solidFill>
        </p:spPr>
        <p:txBody>
          <a:bodyPr anchor="ct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4" name="Text Placeholder 11">
            <a:extLst>
              <a:ext uri="{FF2B5EF4-FFF2-40B4-BE49-F238E27FC236}">
                <a16:creationId xmlns:a16="http://schemas.microsoft.com/office/drawing/2014/main" id="{6BDE82E8-4C03-4846-972E-989D2C69E3BD}"/>
              </a:ext>
            </a:extLst>
          </p:cNvPr>
          <p:cNvSpPr>
            <a:spLocks noGrp="1"/>
          </p:cNvSpPr>
          <p:nvPr>
            <p:ph type="body" sz="quarter" idx="41" hasCustomPrompt="1"/>
          </p:nvPr>
        </p:nvSpPr>
        <p:spPr>
          <a:xfrm>
            <a:off x="2059337" y="12248704"/>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25" name="Picture Placeholder 7">
            <a:extLst>
              <a:ext uri="{FF2B5EF4-FFF2-40B4-BE49-F238E27FC236}">
                <a16:creationId xmlns:a16="http://schemas.microsoft.com/office/drawing/2014/main" id="{83187330-3EBE-934C-B545-3351D604B7B9}"/>
              </a:ext>
            </a:extLst>
          </p:cNvPr>
          <p:cNvSpPr>
            <a:spLocks noGrp="1"/>
          </p:cNvSpPr>
          <p:nvPr>
            <p:ph type="pic" sz="quarter" idx="42" hasCustomPrompt="1"/>
          </p:nvPr>
        </p:nvSpPr>
        <p:spPr>
          <a:xfrm>
            <a:off x="3283936" y="9430298"/>
            <a:ext cx="2591999" cy="2592000"/>
          </a:xfrm>
          <a:prstGeom prst="ellipse">
            <a:avLst/>
          </a:prstGeom>
          <a:solidFill>
            <a:schemeClr val="bg1">
              <a:lumMod val="95000"/>
            </a:schemeClr>
          </a:solidFill>
        </p:spPr>
        <p:txBody>
          <a:bodyPr anchor="ct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6" name="TextBox 25">
            <a:extLst>
              <a:ext uri="{FF2B5EF4-FFF2-40B4-BE49-F238E27FC236}">
                <a16:creationId xmlns:a16="http://schemas.microsoft.com/office/drawing/2014/main" id="{550D2F5E-666A-C14D-8B7B-3A62CE2C1C05}"/>
              </a:ext>
            </a:extLst>
          </p:cNvPr>
          <p:cNvSpPr txBox="1"/>
          <p:nvPr userDrawn="1"/>
        </p:nvSpPr>
        <p:spPr>
          <a:xfrm>
            <a:off x="22416463" y="13226646"/>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65202010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Full picture">
    <p:bg>
      <p:bgPr>
        <a:solidFill>
          <a:schemeClr val="bg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73BADB48-5F7B-4C4D-BDD5-124AFC5BC91E}"/>
              </a:ext>
            </a:extLst>
          </p:cNvPr>
          <p:cNvSpPr txBox="1"/>
          <p:nvPr userDrawn="1"/>
        </p:nvSpPr>
        <p:spPr>
          <a:xfrm>
            <a:off x="22127664" y="12977378"/>
            <a:ext cx="1872086" cy="400110"/>
          </a:xfrm>
          <a:prstGeom prst="rect">
            <a:avLst/>
          </a:prstGeom>
          <a:noFill/>
        </p:spPr>
        <p:txBody>
          <a:bodyPr wrap="square" rtlCol="0" anchor="b">
            <a:spAutoFit/>
          </a:bodyPr>
          <a:lstStyle/>
          <a:p>
            <a:pPr algn="r"/>
            <a:fld id="{6CE035FB-656D-BE4C-9C54-3AFE6E724348}" type="slidenum">
              <a:rPr lang="en-GB" sz="2000" smtClean="0">
                <a:latin typeface="Noto IKEA Latin" panose="020B0502040504020204" pitchFamily="34" charset="0"/>
              </a:rPr>
              <a:pPr algn="r"/>
              <a:t>‹#›</a:t>
            </a:fld>
            <a:endParaRPr lang="en-GB" sz="2000">
              <a:latin typeface="Noto IKEA Latin" panose="020B0502040504020204" pitchFamily="34" charset="0"/>
            </a:endParaRPr>
          </a:p>
        </p:txBody>
      </p:sp>
      <p:sp>
        <p:nvSpPr>
          <p:cNvPr id="7" name="Picture Placeholder 10">
            <a:extLst>
              <a:ext uri="{FF2B5EF4-FFF2-40B4-BE49-F238E27FC236}">
                <a16:creationId xmlns:a16="http://schemas.microsoft.com/office/drawing/2014/main" id="{83374E3F-FD44-FF48-B59B-E0793285F562}"/>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picture into this frame</a:t>
            </a:r>
          </a:p>
        </p:txBody>
      </p:sp>
      <p:sp>
        <p:nvSpPr>
          <p:cNvPr id="4" name="TextBox 3">
            <a:extLst>
              <a:ext uri="{FF2B5EF4-FFF2-40B4-BE49-F238E27FC236}">
                <a16:creationId xmlns:a16="http://schemas.microsoft.com/office/drawing/2014/main" id="{A28FA5BF-CC16-F74C-B2AD-7675C1B452C4}"/>
              </a:ext>
            </a:extLst>
          </p:cNvPr>
          <p:cNvSpPr txBox="1"/>
          <p:nvPr userDrawn="1"/>
        </p:nvSpPr>
        <p:spPr>
          <a:xfrm>
            <a:off x="22416463" y="13226646"/>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65872450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Two pcitures">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7573FD41-AC43-F04C-8700-DDD5AFA33E14}"/>
              </a:ext>
            </a:extLst>
          </p:cNvPr>
          <p:cNvSpPr>
            <a:spLocks noGrp="1"/>
          </p:cNvSpPr>
          <p:nvPr>
            <p:ph type="pic" sz="quarter" idx="14" hasCustomPrompt="1"/>
          </p:nvPr>
        </p:nvSpPr>
        <p:spPr>
          <a:xfrm>
            <a:off x="491206" y="486000"/>
            <a:ext cx="11483977" cy="9827988"/>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0" name="Picture Placeholder 10">
            <a:extLst>
              <a:ext uri="{FF2B5EF4-FFF2-40B4-BE49-F238E27FC236}">
                <a16:creationId xmlns:a16="http://schemas.microsoft.com/office/drawing/2014/main" id="{250173C0-66DE-2B44-9C5C-228A0DC74671}"/>
              </a:ext>
            </a:extLst>
          </p:cNvPr>
          <p:cNvSpPr>
            <a:spLocks noGrp="1"/>
          </p:cNvSpPr>
          <p:nvPr>
            <p:ph type="pic" sz="quarter" idx="18" hasCustomPrompt="1"/>
          </p:nvPr>
        </p:nvSpPr>
        <p:spPr>
          <a:xfrm>
            <a:off x="12407230" y="486000"/>
            <a:ext cx="11483977" cy="9827988"/>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1" name="Text Placeholder 5">
            <a:extLst>
              <a:ext uri="{FF2B5EF4-FFF2-40B4-BE49-F238E27FC236}">
                <a16:creationId xmlns:a16="http://schemas.microsoft.com/office/drawing/2014/main" id="{32E65FF3-CD8C-8D42-A347-F026094D4707}"/>
              </a:ext>
            </a:extLst>
          </p:cNvPr>
          <p:cNvSpPr>
            <a:spLocks noGrp="1"/>
          </p:cNvSpPr>
          <p:nvPr>
            <p:ph type="body" sz="quarter" idx="33" hasCustomPrompt="1"/>
          </p:nvPr>
        </p:nvSpPr>
        <p:spPr>
          <a:xfrm>
            <a:off x="486322" y="10602416"/>
            <a:ext cx="8679903" cy="1440360"/>
          </a:xfrm>
        </p:spPr>
        <p:txBody>
          <a:bodyPr>
            <a:noAutofit/>
          </a:bodyPr>
          <a:lstStyle>
            <a:lvl1pPr>
              <a:spcBef>
                <a:spcPts val="0"/>
              </a:spcBef>
              <a:defRPr sz="3200"/>
            </a:lvl1pPr>
          </a:lstStyle>
          <a:p>
            <a:pPr lvl="0"/>
            <a:r>
              <a:rPr lang="en-GB" noProof="0"/>
              <a:t>Put the description text here, keep it regular 32 </a:t>
            </a:r>
            <a:r>
              <a:rPr lang="en-GB" noProof="0" err="1"/>
              <a:t>pt</a:t>
            </a:r>
            <a:endParaRPr lang="en-GB" noProof="0"/>
          </a:p>
        </p:txBody>
      </p:sp>
      <p:sp>
        <p:nvSpPr>
          <p:cNvPr id="12" name="Text Placeholder 5">
            <a:extLst>
              <a:ext uri="{FF2B5EF4-FFF2-40B4-BE49-F238E27FC236}">
                <a16:creationId xmlns:a16="http://schemas.microsoft.com/office/drawing/2014/main" id="{7A080EE2-1AD5-5F46-8A70-65AD78446B90}"/>
              </a:ext>
            </a:extLst>
          </p:cNvPr>
          <p:cNvSpPr>
            <a:spLocks noGrp="1"/>
          </p:cNvSpPr>
          <p:nvPr>
            <p:ph type="body" sz="quarter" idx="34" hasCustomPrompt="1"/>
          </p:nvPr>
        </p:nvSpPr>
        <p:spPr>
          <a:xfrm>
            <a:off x="12407235" y="10602416"/>
            <a:ext cx="8928769" cy="1440360"/>
          </a:xfrm>
        </p:spPr>
        <p:txBody>
          <a:bodyPr>
            <a:noAutofit/>
          </a:bodyPr>
          <a:lstStyle>
            <a:lvl1pPr>
              <a:spcBef>
                <a:spcPts val="0"/>
              </a:spcBef>
              <a:defRPr sz="3200"/>
            </a:lvl1pPr>
          </a:lstStyle>
          <a:p>
            <a:pPr lvl="0"/>
            <a:r>
              <a:rPr lang="en-GB" noProof="0"/>
              <a:t>Put the </a:t>
            </a:r>
            <a:r>
              <a:rPr lang="en-GB" noProof="0" err="1"/>
              <a:t>desccription</a:t>
            </a:r>
            <a:r>
              <a:rPr lang="en-GB" noProof="0"/>
              <a:t> text here, keep it regular 32 </a:t>
            </a:r>
            <a:r>
              <a:rPr lang="en-GB" noProof="0" err="1"/>
              <a:t>pt</a:t>
            </a:r>
            <a:endParaRPr lang="en-GB" noProof="0"/>
          </a:p>
        </p:txBody>
      </p:sp>
      <p:sp>
        <p:nvSpPr>
          <p:cNvPr id="13" name="TextBox 12">
            <a:extLst>
              <a:ext uri="{FF2B5EF4-FFF2-40B4-BE49-F238E27FC236}">
                <a16:creationId xmlns:a16="http://schemas.microsoft.com/office/drawing/2014/main" id="{2B01AC93-92D9-A147-BDC6-27DC8FA8CB34}"/>
              </a:ext>
            </a:extLst>
          </p:cNvPr>
          <p:cNvSpPr txBox="1"/>
          <p:nvPr userDrawn="1"/>
        </p:nvSpPr>
        <p:spPr>
          <a:xfrm>
            <a:off x="22416463" y="13226646"/>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574543313"/>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Four picture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124A353B-E374-7740-BADE-D936639B642B}"/>
              </a:ext>
            </a:extLst>
          </p:cNvPr>
          <p:cNvSpPr>
            <a:spLocks noGrp="1"/>
          </p:cNvSpPr>
          <p:nvPr>
            <p:ph type="body" sz="half" idx="2" hasCustomPrompt="1"/>
          </p:nvPr>
        </p:nvSpPr>
        <p:spPr>
          <a:xfrm>
            <a:off x="6766973" y="486000"/>
            <a:ext cx="5004056" cy="5939952"/>
          </a:xfrm>
        </p:spPr>
        <p:txBody>
          <a:bodyPr>
            <a:noAutofit/>
          </a:bodyPr>
          <a:lstStyle>
            <a:lvl1pPr marL="0" indent="0">
              <a:lnSpc>
                <a:spcPct val="100000"/>
              </a:lnSpc>
              <a:buNone/>
              <a:defRPr sz="2400"/>
            </a:lvl1pPr>
            <a:lvl2pPr marL="914240" indent="0">
              <a:buNone/>
              <a:defRPr sz="2800"/>
            </a:lvl2pPr>
            <a:lvl3pPr marL="1828483" indent="0">
              <a:buNone/>
              <a:defRPr sz="2400"/>
            </a:lvl3pPr>
            <a:lvl4pPr marL="2742723" indent="0">
              <a:buNone/>
              <a:defRPr sz="2000"/>
            </a:lvl4pPr>
            <a:lvl5pPr marL="3656961" indent="0">
              <a:buNone/>
              <a:defRPr sz="2000"/>
            </a:lvl5pPr>
            <a:lvl6pPr marL="4571201" indent="0">
              <a:buNone/>
              <a:defRPr sz="2000"/>
            </a:lvl6pPr>
            <a:lvl7pPr marL="5485440" indent="0">
              <a:buNone/>
              <a:defRPr sz="2000"/>
            </a:lvl7pPr>
            <a:lvl8pPr marL="6399680" indent="0">
              <a:buNone/>
              <a:defRPr sz="2000"/>
            </a:lvl8pPr>
            <a:lvl9pPr marL="7313920" indent="0">
              <a:buNone/>
              <a:defRPr sz="2000"/>
            </a:lvl9pPr>
          </a:lstStyle>
          <a:p>
            <a:pPr lvl="0"/>
            <a:r>
              <a:rPr lang="en-GB" noProof="0"/>
              <a:t>Put the description text here, keep it regular 24 </a:t>
            </a:r>
            <a:r>
              <a:rPr lang="en-GB" noProof="0" err="1"/>
              <a:t>pt</a:t>
            </a:r>
            <a:endParaRPr lang="en-GB" noProof="0"/>
          </a:p>
        </p:txBody>
      </p:sp>
      <p:sp>
        <p:nvSpPr>
          <p:cNvPr id="3" name="Picture Placeholder 2">
            <a:extLst>
              <a:ext uri="{FF2B5EF4-FFF2-40B4-BE49-F238E27FC236}">
                <a16:creationId xmlns:a16="http://schemas.microsoft.com/office/drawing/2014/main" id="{DEE2AB82-CBD5-1145-9E32-3577A8B871DC}"/>
              </a:ext>
            </a:extLst>
          </p:cNvPr>
          <p:cNvSpPr>
            <a:spLocks noGrp="1"/>
          </p:cNvSpPr>
          <p:nvPr>
            <p:ph type="pic" sz="quarter" idx="19" hasCustomPrompt="1"/>
          </p:nvPr>
        </p:nvSpPr>
        <p:spPr>
          <a:xfrm>
            <a:off x="486000" y="486000"/>
            <a:ext cx="5849999" cy="6372000"/>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9" name="Picture Placeholder 2">
            <a:extLst>
              <a:ext uri="{FF2B5EF4-FFF2-40B4-BE49-F238E27FC236}">
                <a16:creationId xmlns:a16="http://schemas.microsoft.com/office/drawing/2014/main" id="{224B314B-F368-C345-A11C-63D267394698}"/>
              </a:ext>
            </a:extLst>
          </p:cNvPr>
          <p:cNvSpPr>
            <a:spLocks noGrp="1"/>
          </p:cNvSpPr>
          <p:nvPr>
            <p:ph type="pic" sz="quarter" idx="20" hasCustomPrompt="1"/>
          </p:nvPr>
        </p:nvSpPr>
        <p:spPr>
          <a:xfrm>
            <a:off x="6351996" y="6858000"/>
            <a:ext cx="5828421" cy="6372000"/>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3" name="Picture Placeholder 2">
            <a:extLst>
              <a:ext uri="{FF2B5EF4-FFF2-40B4-BE49-F238E27FC236}">
                <a16:creationId xmlns:a16="http://schemas.microsoft.com/office/drawing/2014/main" id="{0BDAE9D1-09EE-5948-864F-662D2BEFC95D}"/>
              </a:ext>
            </a:extLst>
          </p:cNvPr>
          <p:cNvSpPr>
            <a:spLocks noGrp="1"/>
          </p:cNvSpPr>
          <p:nvPr>
            <p:ph type="pic" sz="quarter" idx="21" hasCustomPrompt="1"/>
          </p:nvPr>
        </p:nvSpPr>
        <p:spPr>
          <a:xfrm>
            <a:off x="12201996" y="486000"/>
            <a:ext cx="5849999" cy="6372000"/>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4" name="Picture Placeholder 2">
            <a:extLst>
              <a:ext uri="{FF2B5EF4-FFF2-40B4-BE49-F238E27FC236}">
                <a16:creationId xmlns:a16="http://schemas.microsoft.com/office/drawing/2014/main" id="{5A3CC44A-564E-0843-B5E6-9CA66C87720E}"/>
              </a:ext>
            </a:extLst>
          </p:cNvPr>
          <p:cNvSpPr>
            <a:spLocks noGrp="1"/>
          </p:cNvSpPr>
          <p:nvPr>
            <p:ph type="pic" sz="quarter" idx="22" hasCustomPrompt="1"/>
          </p:nvPr>
        </p:nvSpPr>
        <p:spPr>
          <a:xfrm>
            <a:off x="18073575" y="6858000"/>
            <a:ext cx="5828421" cy="6372000"/>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5" name="Text Placeholder 3">
            <a:extLst>
              <a:ext uri="{FF2B5EF4-FFF2-40B4-BE49-F238E27FC236}">
                <a16:creationId xmlns:a16="http://schemas.microsoft.com/office/drawing/2014/main" id="{18BFCA73-5A52-2948-854C-23498017B30C}"/>
              </a:ext>
            </a:extLst>
          </p:cNvPr>
          <p:cNvSpPr>
            <a:spLocks noGrp="1"/>
          </p:cNvSpPr>
          <p:nvPr>
            <p:ph type="body" sz="half" idx="23" hasCustomPrompt="1"/>
          </p:nvPr>
        </p:nvSpPr>
        <p:spPr>
          <a:xfrm>
            <a:off x="908976" y="7286690"/>
            <a:ext cx="5004056" cy="5939952"/>
          </a:xfrm>
        </p:spPr>
        <p:txBody>
          <a:bodyPr>
            <a:noAutofit/>
          </a:bodyPr>
          <a:lstStyle>
            <a:lvl1pPr marL="0" indent="0">
              <a:lnSpc>
                <a:spcPct val="100000"/>
              </a:lnSpc>
              <a:buNone/>
              <a:defRPr sz="2400"/>
            </a:lvl1pPr>
            <a:lvl2pPr marL="914240" indent="0">
              <a:buNone/>
              <a:defRPr sz="2800"/>
            </a:lvl2pPr>
            <a:lvl3pPr marL="1828483" indent="0">
              <a:buNone/>
              <a:defRPr sz="2400"/>
            </a:lvl3pPr>
            <a:lvl4pPr marL="2742723" indent="0">
              <a:buNone/>
              <a:defRPr sz="2000"/>
            </a:lvl4pPr>
            <a:lvl5pPr marL="3656961" indent="0">
              <a:buNone/>
              <a:defRPr sz="2000"/>
            </a:lvl5pPr>
            <a:lvl6pPr marL="4571201" indent="0">
              <a:buNone/>
              <a:defRPr sz="2000"/>
            </a:lvl6pPr>
            <a:lvl7pPr marL="5485440" indent="0">
              <a:buNone/>
              <a:defRPr sz="2000"/>
            </a:lvl7pPr>
            <a:lvl8pPr marL="6399680" indent="0">
              <a:buNone/>
              <a:defRPr sz="2000"/>
            </a:lvl8pPr>
            <a:lvl9pPr marL="7313920" indent="0">
              <a:buNone/>
              <a:defRPr sz="2000"/>
            </a:lvl9pPr>
          </a:lstStyle>
          <a:p>
            <a:pPr lvl="0"/>
            <a:r>
              <a:rPr lang="en-GB" noProof="0"/>
              <a:t>Put the description text here, keep it regular 24 </a:t>
            </a:r>
            <a:r>
              <a:rPr lang="en-GB" noProof="0" err="1"/>
              <a:t>pt</a:t>
            </a:r>
            <a:endParaRPr lang="en-GB" noProof="0"/>
          </a:p>
        </p:txBody>
      </p:sp>
      <p:sp>
        <p:nvSpPr>
          <p:cNvPr id="36" name="Text Placeholder 3">
            <a:extLst>
              <a:ext uri="{FF2B5EF4-FFF2-40B4-BE49-F238E27FC236}">
                <a16:creationId xmlns:a16="http://schemas.microsoft.com/office/drawing/2014/main" id="{26C19E7B-3293-A34C-8019-B66220F68581}"/>
              </a:ext>
            </a:extLst>
          </p:cNvPr>
          <p:cNvSpPr>
            <a:spLocks noGrp="1"/>
          </p:cNvSpPr>
          <p:nvPr>
            <p:ph type="body" sz="half" idx="24" hasCustomPrompt="1"/>
          </p:nvPr>
        </p:nvSpPr>
        <p:spPr>
          <a:xfrm>
            <a:off x="18485760" y="486000"/>
            <a:ext cx="5004056" cy="5939952"/>
          </a:xfrm>
        </p:spPr>
        <p:txBody>
          <a:bodyPr>
            <a:noAutofit/>
          </a:bodyPr>
          <a:lstStyle>
            <a:lvl1pPr marL="0" indent="0">
              <a:lnSpc>
                <a:spcPct val="100000"/>
              </a:lnSpc>
              <a:buNone/>
              <a:defRPr sz="2400"/>
            </a:lvl1pPr>
            <a:lvl2pPr marL="914240" indent="0">
              <a:buNone/>
              <a:defRPr sz="2800"/>
            </a:lvl2pPr>
            <a:lvl3pPr marL="1828483" indent="0">
              <a:buNone/>
              <a:defRPr sz="2400"/>
            </a:lvl3pPr>
            <a:lvl4pPr marL="2742723" indent="0">
              <a:buNone/>
              <a:defRPr sz="2000"/>
            </a:lvl4pPr>
            <a:lvl5pPr marL="3656961" indent="0">
              <a:buNone/>
              <a:defRPr sz="2000"/>
            </a:lvl5pPr>
            <a:lvl6pPr marL="4571201" indent="0">
              <a:buNone/>
              <a:defRPr sz="2000"/>
            </a:lvl6pPr>
            <a:lvl7pPr marL="5485440" indent="0">
              <a:buNone/>
              <a:defRPr sz="2000"/>
            </a:lvl7pPr>
            <a:lvl8pPr marL="6399680" indent="0">
              <a:buNone/>
              <a:defRPr sz="2000"/>
            </a:lvl8pPr>
            <a:lvl9pPr marL="7313920" indent="0">
              <a:buNone/>
              <a:defRPr sz="2000"/>
            </a:lvl9pPr>
          </a:lstStyle>
          <a:p>
            <a:pPr lvl="0"/>
            <a:r>
              <a:rPr lang="en-GB" noProof="0"/>
              <a:t>Put the description text here, keep it regular 24 </a:t>
            </a:r>
            <a:r>
              <a:rPr lang="en-GB" noProof="0" err="1"/>
              <a:t>pt</a:t>
            </a:r>
            <a:endParaRPr lang="en-GB" noProof="0"/>
          </a:p>
        </p:txBody>
      </p:sp>
      <p:sp>
        <p:nvSpPr>
          <p:cNvPr id="37" name="Text Placeholder 3">
            <a:extLst>
              <a:ext uri="{FF2B5EF4-FFF2-40B4-BE49-F238E27FC236}">
                <a16:creationId xmlns:a16="http://schemas.microsoft.com/office/drawing/2014/main" id="{71E04723-43C9-E249-B03C-FDED0C006F77}"/>
              </a:ext>
            </a:extLst>
          </p:cNvPr>
          <p:cNvSpPr>
            <a:spLocks noGrp="1"/>
          </p:cNvSpPr>
          <p:nvPr>
            <p:ph type="body" sz="half" idx="25" hasCustomPrompt="1"/>
          </p:nvPr>
        </p:nvSpPr>
        <p:spPr>
          <a:xfrm>
            <a:off x="12624969" y="7286690"/>
            <a:ext cx="5004056" cy="5939952"/>
          </a:xfrm>
        </p:spPr>
        <p:txBody>
          <a:bodyPr>
            <a:noAutofit/>
          </a:bodyPr>
          <a:lstStyle>
            <a:lvl1pPr marL="0" indent="0">
              <a:lnSpc>
                <a:spcPct val="100000"/>
              </a:lnSpc>
              <a:buNone/>
              <a:defRPr sz="2400"/>
            </a:lvl1pPr>
            <a:lvl2pPr marL="914240" indent="0">
              <a:buNone/>
              <a:defRPr sz="2800"/>
            </a:lvl2pPr>
            <a:lvl3pPr marL="1828483" indent="0">
              <a:buNone/>
              <a:defRPr sz="2400"/>
            </a:lvl3pPr>
            <a:lvl4pPr marL="2742723" indent="0">
              <a:buNone/>
              <a:defRPr sz="2000"/>
            </a:lvl4pPr>
            <a:lvl5pPr marL="3656961" indent="0">
              <a:buNone/>
              <a:defRPr sz="2000"/>
            </a:lvl5pPr>
            <a:lvl6pPr marL="4571201" indent="0">
              <a:buNone/>
              <a:defRPr sz="2000"/>
            </a:lvl6pPr>
            <a:lvl7pPr marL="5485440" indent="0">
              <a:buNone/>
              <a:defRPr sz="2000"/>
            </a:lvl7pPr>
            <a:lvl8pPr marL="6399680" indent="0">
              <a:buNone/>
              <a:defRPr sz="2000"/>
            </a:lvl8pPr>
            <a:lvl9pPr marL="7313920" indent="0">
              <a:buNone/>
              <a:defRPr sz="2000"/>
            </a:lvl9pPr>
          </a:lstStyle>
          <a:p>
            <a:pPr lvl="0"/>
            <a:r>
              <a:rPr lang="en-GB" noProof="0"/>
              <a:t>Put the description text here, keep it regular 24 </a:t>
            </a:r>
            <a:r>
              <a:rPr lang="en-GB" noProof="0" err="1"/>
              <a:t>pt</a:t>
            </a:r>
            <a:endParaRPr lang="en-GB" noProof="0"/>
          </a:p>
        </p:txBody>
      </p:sp>
      <p:sp>
        <p:nvSpPr>
          <p:cNvPr id="11" name="TextBox 10">
            <a:extLst>
              <a:ext uri="{FF2B5EF4-FFF2-40B4-BE49-F238E27FC236}">
                <a16:creationId xmlns:a16="http://schemas.microsoft.com/office/drawing/2014/main" id="{5D4B7E75-FBA5-1D4B-BA9C-11BD2FE3C7B0}"/>
              </a:ext>
            </a:extLst>
          </p:cNvPr>
          <p:cNvSpPr txBox="1"/>
          <p:nvPr userDrawn="1"/>
        </p:nvSpPr>
        <p:spPr>
          <a:xfrm>
            <a:off x="22416463" y="13226646"/>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4178145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ong text in one column and picture">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6790606" y="486000"/>
            <a:ext cx="17100704"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1674329" y="5129213"/>
            <a:ext cx="4394307" cy="6904512"/>
          </a:xfrm>
        </p:spPr>
        <p:txBody>
          <a:bodyPr>
            <a:noAutofit/>
          </a:bodyPr>
          <a:lstStyle>
            <a:lvl1pPr>
              <a:spcBef>
                <a:spcPts val="2000"/>
              </a:spcBef>
              <a:defRPr sz="2400"/>
            </a:lvl1pPr>
          </a:lstStyle>
          <a:p>
            <a:pPr lvl="0"/>
            <a:r>
              <a:rPr lang="en-GB" noProof="0"/>
              <a:t>Put the paragraph text here, keep it regular 24 </a:t>
            </a:r>
            <a:r>
              <a:rPr lang="en-GB" noProof="0" err="1"/>
              <a:t>pt</a:t>
            </a:r>
            <a:endParaRPr lang="en-GB" noProof="0"/>
          </a:p>
        </p:txBody>
      </p:sp>
      <p:sp>
        <p:nvSpPr>
          <p:cNvPr id="2" name="Title 1">
            <a:extLst>
              <a:ext uri="{FF2B5EF4-FFF2-40B4-BE49-F238E27FC236}">
                <a16:creationId xmlns:a16="http://schemas.microsoft.com/office/drawing/2014/main" id="{44A2E15B-0973-F742-A266-E1107E35FE40}"/>
              </a:ext>
            </a:extLst>
          </p:cNvPr>
          <p:cNvSpPr>
            <a:spLocks noGrp="1"/>
          </p:cNvSpPr>
          <p:nvPr>
            <p:ph type="title" hasCustomPrompt="1"/>
          </p:nvPr>
        </p:nvSpPr>
        <p:spPr>
          <a:xfrm>
            <a:off x="1676293" y="1677600"/>
            <a:ext cx="4394307" cy="3011659"/>
          </a:xfrm>
        </p:spPr>
        <p:txBody>
          <a:bodyPr/>
          <a:lstStyle>
            <a:lvl1pPr>
              <a:defRPr sz="4000" spc="0" baseline="0"/>
            </a:lvl1pPr>
          </a:lstStyle>
          <a:p>
            <a:r>
              <a:rPr lang="en-GB"/>
              <a:t>Put the headline here, keep it bold 40 </a:t>
            </a:r>
            <a:r>
              <a:rPr lang="en-GB" err="1"/>
              <a:t>pt</a:t>
            </a:r>
            <a:endParaRPr lang="en-NL"/>
          </a:p>
        </p:txBody>
      </p:sp>
      <p:sp>
        <p:nvSpPr>
          <p:cNvPr id="7" name="Footer Placeholder 6">
            <a:extLst>
              <a:ext uri="{FF2B5EF4-FFF2-40B4-BE49-F238E27FC236}">
                <a16:creationId xmlns:a16="http://schemas.microsoft.com/office/drawing/2014/main" id="{BDFCBB05-AE3F-8B46-8B28-FBA47A7B8DF9}"/>
              </a:ext>
            </a:extLst>
          </p:cNvPr>
          <p:cNvSpPr>
            <a:spLocks noGrp="1"/>
          </p:cNvSpPr>
          <p:nvPr>
            <p:ph type="ftr" sz="quarter" idx="19"/>
          </p:nvPr>
        </p:nvSpPr>
        <p:spPr/>
        <p:txBody>
          <a:bodyPr/>
          <a:lstStyle/>
          <a:p>
            <a:endParaRPr lang="en-NL"/>
          </a:p>
        </p:txBody>
      </p:sp>
      <p:sp>
        <p:nvSpPr>
          <p:cNvPr id="10" name="TextBox 9">
            <a:extLst>
              <a:ext uri="{FF2B5EF4-FFF2-40B4-BE49-F238E27FC236}">
                <a16:creationId xmlns:a16="http://schemas.microsoft.com/office/drawing/2014/main" id="{1A281C68-F05E-474E-B89A-873F6871F7AE}"/>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99834286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Eight pictures">
    <p:spTree>
      <p:nvGrpSpPr>
        <p:cNvPr id="1" name=""/>
        <p:cNvGrpSpPr/>
        <p:nvPr/>
      </p:nvGrpSpPr>
      <p:grpSpPr>
        <a:xfrm>
          <a:off x="0" y="0"/>
          <a:ext cx="0" cy="0"/>
          <a:chOff x="0" y="0"/>
          <a:chExt cx="0" cy="0"/>
        </a:xfrm>
      </p:grpSpPr>
      <p:sp>
        <p:nvSpPr>
          <p:cNvPr id="13" name="Picture Placeholder 2">
            <a:extLst>
              <a:ext uri="{FF2B5EF4-FFF2-40B4-BE49-F238E27FC236}">
                <a16:creationId xmlns:a16="http://schemas.microsoft.com/office/drawing/2014/main" id="{D1148F2D-229C-E245-B364-AD926A8E5678}"/>
              </a:ext>
            </a:extLst>
          </p:cNvPr>
          <p:cNvSpPr>
            <a:spLocks noGrp="1"/>
          </p:cNvSpPr>
          <p:nvPr>
            <p:ph type="pic" sz="quarter" idx="19" hasCustomPrompt="1"/>
          </p:nvPr>
        </p:nvSpPr>
        <p:spPr>
          <a:xfrm>
            <a:off x="486000" y="486003"/>
            <a:ext cx="5584601" cy="2916014"/>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4" name="Text Placeholder 3">
            <a:extLst>
              <a:ext uri="{FF2B5EF4-FFF2-40B4-BE49-F238E27FC236}">
                <a16:creationId xmlns:a16="http://schemas.microsoft.com/office/drawing/2014/main" id="{EF6C2542-122E-CD4A-95A0-0315258EEA53}"/>
              </a:ext>
            </a:extLst>
          </p:cNvPr>
          <p:cNvSpPr>
            <a:spLocks noGrp="1"/>
          </p:cNvSpPr>
          <p:nvPr>
            <p:ph type="body" sz="half" idx="23" hasCustomPrompt="1"/>
          </p:nvPr>
        </p:nvSpPr>
        <p:spPr>
          <a:xfrm>
            <a:off x="513287" y="3888024"/>
            <a:ext cx="5557314" cy="2969976"/>
          </a:xfrm>
        </p:spPr>
        <p:txBody>
          <a:bodyPr>
            <a:noAutofit/>
          </a:bodyPr>
          <a:lstStyle>
            <a:lvl1pPr marL="0" indent="0">
              <a:lnSpc>
                <a:spcPct val="100000"/>
              </a:lnSpc>
              <a:buNone/>
              <a:defRPr sz="2400"/>
            </a:lvl1pPr>
            <a:lvl2pPr marL="914240" indent="0">
              <a:buNone/>
              <a:defRPr sz="2800"/>
            </a:lvl2pPr>
            <a:lvl3pPr marL="1828483" indent="0">
              <a:buNone/>
              <a:defRPr sz="2400"/>
            </a:lvl3pPr>
            <a:lvl4pPr marL="2742723" indent="0">
              <a:buNone/>
              <a:defRPr sz="2000"/>
            </a:lvl4pPr>
            <a:lvl5pPr marL="3656961" indent="0">
              <a:buNone/>
              <a:defRPr sz="2000"/>
            </a:lvl5pPr>
            <a:lvl6pPr marL="4571201" indent="0">
              <a:buNone/>
              <a:defRPr sz="2000"/>
            </a:lvl6pPr>
            <a:lvl7pPr marL="5485440" indent="0">
              <a:buNone/>
              <a:defRPr sz="2000"/>
            </a:lvl7pPr>
            <a:lvl8pPr marL="6399680" indent="0">
              <a:buNone/>
              <a:defRPr sz="2000"/>
            </a:lvl8pPr>
            <a:lvl9pPr marL="7313920" indent="0">
              <a:buNone/>
              <a:defRPr sz="2000"/>
            </a:lvl9pPr>
          </a:lstStyle>
          <a:p>
            <a:pPr lvl="0"/>
            <a:r>
              <a:rPr lang="en-GB" noProof="0"/>
              <a:t>Put the description text here, keep it regular 24 </a:t>
            </a:r>
            <a:r>
              <a:rPr lang="en-GB" noProof="0" err="1"/>
              <a:t>pt</a:t>
            </a:r>
            <a:endParaRPr lang="en-GB" noProof="0"/>
          </a:p>
        </p:txBody>
      </p:sp>
      <p:sp>
        <p:nvSpPr>
          <p:cNvPr id="15" name="Picture Placeholder 2">
            <a:extLst>
              <a:ext uri="{FF2B5EF4-FFF2-40B4-BE49-F238E27FC236}">
                <a16:creationId xmlns:a16="http://schemas.microsoft.com/office/drawing/2014/main" id="{EBB6C642-10AD-6A47-8744-E825A5EEEA34}"/>
              </a:ext>
            </a:extLst>
          </p:cNvPr>
          <p:cNvSpPr>
            <a:spLocks noGrp="1"/>
          </p:cNvSpPr>
          <p:nvPr>
            <p:ph type="pic" sz="quarter" idx="24" hasCustomPrompt="1"/>
          </p:nvPr>
        </p:nvSpPr>
        <p:spPr>
          <a:xfrm>
            <a:off x="6430565" y="486003"/>
            <a:ext cx="5584601" cy="2916014"/>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6" name="Picture Placeholder 2">
            <a:extLst>
              <a:ext uri="{FF2B5EF4-FFF2-40B4-BE49-F238E27FC236}">
                <a16:creationId xmlns:a16="http://schemas.microsoft.com/office/drawing/2014/main" id="{B2B7FCEF-39D8-6D47-A0D2-218CCB2588EF}"/>
              </a:ext>
            </a:extLst>
          </p:cNvPr>
          <p:cNvSpPr>
            <a:spLocks noGrp="1"/>
          </p:cNvSpPr>
          <p:nvPr>
            <p:ph type="pic" sz="quarter" idx="25" hasCustomPrompt="1"/>
          </p:nvPr>
        </p:nvSpPr>
        <p:spPr>
          <a:xfrm>
            <a:off x="12367245" y="486003"/>
            <a:ext cx="5584601" cy="2916014"/>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7" name="Picture Placeholder 2">
            <a:extLst>
              <a:ext uri="{FF2B5EF4-FFF2-40B4-BE49-F238E27FC236}">
                <a16:creationId xmlns:a16="http://schemas.microsoft.com/office/drawing/2014/main" id="{D227A8B8-BE42-0845-B6D6-A1A356E29BFC}"/>
              </a:ext>
            </a:extLst>
          </p:cNvPr>
          <p:cNvSpPr>
            <a:spLocks noGrp="1"/>
          </p:cNvSpPr>
          <p:nvPr>
            <p:ph type="pic" sz="quarter" idx="22" hasCustomPrompt="1"/>
          </p:nvPr>
        </p:nvSpPr>
        <p:spPr>
          <a:xfrm>
            <a:off x="18317394" y="461347"/>
            <a:ext cx="5584601" cy="2916014"/>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8" name="Text Placeholder 3">
            <a:extLst>
              <a:ext uri="{FF2B5EF4-FFF2-40B4-BE49-F238E27FC236}">
                <a16:creationId xmlns:a16="http://schemas.microsoft.com/office/drawing/2014/main" id="{8BC99C37-5961-7A49-BB6C-EF345DB054E6}"/>
              </a:ext>
            </a:extLst>
          </p:cNvPr>
          <p:cNvSpPr>
            <a:spLocks noGrp="1"/>
          </p:cNvSpPr>
          <p:nvPr>
            <p:ph type="body" sz="half" idx="26" hasCustomPrompt="1"/>
          </p:nvPr>
        </p:nvSpPr>
        <p:spPr>
          <a:xfrm>
            <a:off x="6430566" y="3888024"/>
            <a:ext cx="5557314" cy="2969976"/>
          </a:xfrm>
        </p:spPr>
        <p:txBody>
          <a:bodyPr>
            <a:noAutofit/>
          </a:bodyPr>
          <a:lstStyle>
            <a:lvl1pPr marL="0" indent="0">
              <a:lnSpc>
                <a:spcPct val="100000"/>
              </a:lnSpc>
              <a:buNone/>
              <a:defRPr sz="2400"/>
            </a:lvl1pPr>
            <a:lvl2pPr marL="914240" indent="0">
              <a:buNone/>
              <a:defRPr sz="2800"/>
            </a:lvl2pPr>
            <a:lvl3pPr marL="1828483" indent="0">
              <a:buNone/>
              <a:defRPr sz="2400"/>
            </a:lvl3pPr>
            <a:lvl4pPr marL="2742723" indent="0">
              <a:buNone/>
              <a:defRPr sz="2000"/>
            </a:lvl4pPr>
            <a:lvl5pPr marL="3656961" indent="0">
              <a:buNone/>
              <a:defRPr sz="2000"/>
            </a:lvl5pPr>
            <a:lvl6pPr marL="4571201" indent="0">
              <a:buNone/>
              <a:defRPr sz="2000"/>
            </a:lvl6pPr>
            <a:lvl7pPr marL="5485440" indent="0">
              <a:buNone/>
              <a:defRPr sz="2000"/>
            </a:lvl7pPr>
            <a:lvl8pPr marL="6399680" indent="0">
              <a:buNone/>
              <a:defRPr sz="2000"/>
            </a:lvl8pPr>
            <a:lvl9pPr marL="7313920" indent="0">
              <a:buNone/>
              <a:defRPr sz="2000"/>
            </a:lvl9pPr>
          </a:lstStyle>
          <a:p>
            <a:pPr lvl="0"/>
            <a:r>
              <a:rPr lang="en-GB" noProof="0"/>
              <a:t>Put the description text here, keep it regular 24 </a:t>
            </a:r>
            <a:r>
              <a:rPr lang="en-GB" noProof="0" err="1"/>
              <a:t>pt</a:t>
            </a:r>
            <a:endParaRPr lang="en-GB" noProof="0"/>
          </a:p>
        </p:txBody>
      </p:sp>
      <p:sp>
        <p:nvSpPr>
          <p:cNvPr id="19" name="Text Placeholder 3">
            <a:extLst>
              <a:ext uri="{FF2B5EF4-FFF2-40B4-BE49-F238E27FC236}">
                <a16:creationId xmlns:a16="http://schemas.microsoft.com/office/drawing/2014/main" id="{EA510DE5-BF9D-6347-AB9C-33A7759FF1D4}"/>
              </a:ext>
            </a:extLst>
          </p:cNvPr>
          <p:cNvSpPr>
            <a:spLocks noGrp="1"/>
          </p:cNvSpPr>
          <p:nvPr>
            <p:ph type="body" sz="half" idx="27" hasCustomPrompt="1"/>
          </p:nvPr>
        </p:nvSpPr>
        <p:spPr>
          <a:xfrm>
            <a:off x="12347846" y="3888024"/>
            <a:ext cx="5557314" cy="2969976"/>
          </a:xfrm>
        </p:spPr>
        <p:txBody>
          <a:bodyPr>
            <a:noAutofit/>
          </a:bodyPr>
          <a:lstStyle>
            <a:lvl1pPr marL="0" indent="0">
              <a:lnSpc>
                <a:spcPct val="100000"/>
              </a:lnSpc>
              <a:buNone/>
              <a:defRPr sz="2400"/>
            </a:lvl1pPr>
            <a:lvl2pPr marL="914240" indent="0">
              <a:buNone/>
              <a:defRPr sz="2800"/>
            </a:lvl2pPr>
            <a:lvl3pPr marL="1828483" indent="0">
              <a:buNone/>
              <a:defRPr sz="2400"/>
            </a:lvl3pPr>
            <a:lvl4pPr marL="2742723" indent="0">
              <a:buNone/>
              <a:defRPr sz="2000"/>
            </a:lvl4pPr>
            <a:lvl5pPr marL="3656961" indent="0">
              <a:buNone/>
              <a:defRPr sz="2000"/>
            </a:lvl5pPr>
            <a:lvl6pPr marL="4571201" indent="0">
              <a:buNone/>
              <a:defRPr sz="2000"/>
            </a:lvl6pPr>
            <a:lvl7pPr marL="5485440" indent="0">
              <a:buNone/>
              <a:defRPr sz="2000"/>
            </a:lvl7pPr>
            <a:lvl8pPr marL="6399680" indent="0">
              <a:buNone/>
              <a:defRPr sz="2000"/>
            </a:lvl8pPr>
            <a:lvl9pPr marL="7313920" indent="0">
              <a:buNone/>
              <a:defRPr sz="2000"/>
            </a:lvl9pPr>
          </a:lstStyle>
          <a:p>
            <a:pPr lvl="0"/>
            <a:r>
              <a:rPr lang="en-GB" noProof="0"/>
              <a:t>Put the description text here, keep it regular 24 </a:t>
            </a:r>
            <a:r>
              <a:rPr lang="en-GB" noProof="0" err="1"/>
              <a:t>pt</a:t>
            </a:r>
            <a:endParaRPr lang="en-GB" noProof="0"/>
          </a:p>
        </p:txBody>
      </p:sp>
      <p:sp>
        <p:nvSpPr>
          <p:cNvPr id="24" name="Text Placeholder 3">
            <a:extLst>
              <a:ext uri="{FF2B5EF4-FFF2-40B4-BE49-F238E27FC236}">
                <a16:creationId xmlns:a16="http://schemas.microsoft.com/office/drawing/2014/main" id="{A33793B0-DBB7-ED4A-8B92-AE77D9B42399}"/>
              </a:ext>
            </a:extLst>
          </p:cNvPr>
          <p:cNvSpPr>
            <a:spLocks noGrp="1"/>
          </p:cNvSpPr>
          <p:nvPr>
            <p:ph type="body" sz="half" idx="28" hasCustomPrompt="1"/>
          </p:nvPr>
        </p:nvSpPr>
        <p:spPr>
          <a:xfrm>
            <a:off x="18344680" y="3888024"/>
            <a:ext cx="5557314" cy="2969976"/>
          </a:xfrm>
        </p:spPr>
        <p:txBody>
          <a:bodyPr>
            <a:noAutofit/>
          </a:bodyPr>
          <a:lstStyle>
            <a:lvl1pPr marL="0" indent="0">
              <a:lnSpc>
                <a:spcPct val="100000"/>
              </a:lnSpc>
              <a:buNone/>
              <a:defRPr sz="2400"/>
            </a:lvl1pPr>
            <a:lvl2pPr marL="914240" indent="0">
              <a:buNone/>
              <a:defRPr sz="2800"/>
            </a:lvl2pPr>
            <a:lvl3pPr marL="1828483" indent="0">
              <a:buNone/>
              <a:defRPr sz="2400"/>
            </a:lvl3pPr>
            <a:lvl4pPr marL="2742723" indent="0">
              <a:buNone/>
              <a:defRPr sz="2000"/>
            </a:lvl4pPr>
            <a:lvl5pPr marL="3656961" indent="0">
              <a:buNone/>
              <a:defRPr sz="2000"/>
            </a:lvl5pPr>
            <a:lvl6pPr marL="4571201" indent="0">
              <a:buNone/>
              <a:defRPr sz="2000"/>
            </a:lvl6pPr>
            <a:lvl7pPr marL="5485440" indent="0">
              <a:buNone/>
              <a:defRPr sz="2000"/>
            </a:lvl7pPr>
            <a:lvl8pPr marL="6399680" indent="0">
              <a:buNone/>
              <a:defRPr sz="2000"/>
            </a:lvl8pPr>
            <a:lvl9pPr marL="7313920" indent="0">
              <a:buNone/>
              <a:defRPr sz="2000"/>
            </a:lvl9pPr>
          </a:lstStyle>
          <a:p>
            <a:pPr lvl="0"/>
            <a:r>
              <a:rPr lang="en-GB" noProof="0"/>
              <a:t>Put the description text here, keep it regular 24 </a:t>
            </a:r>
            <a:r>
              <a:rPr lang="en-GB" noProof="0" err="1"/>
              <a:t>pt</a:t>
            </a:r>
            <a:endParaRPr lang="en-GB" noProof="0"/>
          </a:p>
        </p:txBody>
      </p:sp>
      <p:sp>
        <p:nvSpPr>
          <p:cNvPr id="27" name="Picture Placeholder 2">
            <a:extLst>
              <a:ext uri="{FF2B5EF4-FFF2-40B4-BE49-F238E27FC236}">
                <a16:creationId xmlns:a16="http://schemas.microsoft.com/office/drawing/2014/main" id="{37D70117-C030-944C-BBCC-0D4544F2D82B}"/>
              </a:ext>
            </a:extLst>
          </p:cNvPr>
          <p:cNvSpPr>
            <a:spLocks noGrp="1"/>
          </p:cNvSpPr>
          <p:nvPr>
            <p:ph type="pic" sz="quarter" idx="29" hasCustomPrompt="1"/>
          </p:nvPr>
        </p:nvSpPr>
        <p:spPr>
          <a:xfrm>
            <a:off x="486000" y="6885327"/>
            <a:ext cx="5584601" cy="2916014"/>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8" name="Text Placeholder 3">
            <a:extLst>
              <a:ext uri="{FF2B5EF4-FFF2-40B4-BE49-F238E27FC236}">
                <a16:creationId xmlns:a16="http://schemas.microsoft.com/office/drawing/2014/main" id="{5568282C-2BAE-0F42-AC35-AC2003AF14A7}"/>
              </a:ext>
            </a:extLst>
          </p:cNvPr>
          <p:cNvSpPr>
            <a:spLocks noGrp="1"/>
          </p:cNvSpPr>
          <p:nvPr>
            <p:ph type="body" sz="half" idx="30" hasCustomPrompt="1"/>
          </p:nvPr>
        </p:nvSpPr>
        <p:spPr>
          <a:xfrm>
            <a:off x="513287" y="10287348"/>
            <a:ext cx="5557314" cy="2969976"/>
          </a:xfrm>
        </p:spPr>
        <p:txBody>
          <a:bodyPr>
            <a:noAutofit/>
          </a:bodyPr>
          <a:lstStyle>
            <a:lvl1pPr marL="0" indent="0">
              <a:lnSpc>
                <a:spcPct val="100000"/>
              </a:lnSpc>
              <a:buNone/>
              <a:defRPr sz="2400"/>
            </a:lvl1pPr>
            <a:lvl2pPr marL="914240" indent="0">
              <a:buNone/>
              <a:defRPr sz="2800"/>
            </a:lvl2pPr>
            <a:lvl3pPr marL="1828483" indent="0">
              <a:buNone/>
              <a:defRPr sz="2400"/>
            </a:lvl3pPr>
            <a:lvl4pPr marL="2742723" indent="0">
              <a:buNone/>
              <a:defRPr sz="2000"/>
            </a:lvl4pPr>
            <a:lvl5pPr marL="3656961" indent="0">
              <a:buNone/>
              <a:defRPr sz="2000"/>
            </a:lvl5pPr>
            <a:lvl6pPr marL="4571201" indent="0">
              <a:buNone/>
              <a:defRPr sz="2000"/>
            </a:lvl6pPr>
            <a:lvl7pPr marL="5485440" indent="0">
              <a:buNone/>
              <a:defRPr sz="2000"/>
            </a:lvl7pPr>
            <a:lvl8pPr marL="6399680" indent="0">
              <a:buNone/>
              <a:defRPr sz="2000"/>
            </a:lvl8pPr>
            <a:lvl9pPr marL="7313920" indent="0">
              <a:buNone/>
              <a:defRPr sz="2000"/>
            </a:lvl9pPr>
          </a:lstStyle>
          <a:p>
            <a:pPr lvl="0"/>
            <a:r>
              <a:rPr lang="en-GB" noProof="0"/>
              <a:t>Put the description text here, keep it regular 24 </a:t>
            </a:r>
            <a:r>
              <a:rPr lang="en-GB" noProof="0" err="1"/>
              <a:t>pt</a:t>
            </a:r>
            <a:endParaRPr lang="en-GB" noProof="0"/>
          </a:p>
        </p:txBody>
      </p:sp>
      <p:sp>
        <p:nvSpPr>
          <p:cNvPr id="29" name="Picture Placeholder 2">
            <a:extLst>
              <a:ext uri="{FF2B5EF4-FFF2-40B4-BE49-F238E27FC236}">
                <a16:creationId xmlns:a16="http://schemas.microsoft.com/office/drawing/2014/main" id="{37CDDD74-2C1A-CC4F-BC4A-348492B730E7}"/>
              </a:ext>
            </a:extLst>
          </p:cNvPr>
          <p:cNvSpPr>
            <a:spLocks noGrp="1"/>
          </p:cNvSpPr>
          <p:nvPr>
            <p:ph type="pic" sz="quarter" idx="31" hasCustomPrompt="1"/>
          </p:nvPr>
        </p:nvSpPr>
        <p:spPr>
          <a:xfrm>
            <a:off x="6430565" y="6885327"/>
            <a:ext cx="5584601" cy="2916014"/>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0" name="Picture Placeholder 2">
            <a:extLst>
              <a:ext uri="{FF2B5EF4-FFF2-40B4-BE49-F238E27FC236}">
                <a16:creationId xmlns:a16="http://schemas.microsoft.com/office/drawing/2014/main" id="{F877013E-58D2-1048-9A44-45952400B3C6}"/>
              </a:ext>
            </a:extLst>
          </p:cNvPr>
          <p:cNvSpPr>
            <a:spLocks noGrp="1"/>
          </p:cNvSpPr>
          <p:nvPr>
            <p:ph type="pic" sz="quarter" idx="32" hasCustomPrompt="1"/>
          </p:nvPr>
        </p:nvSpPr>
        <p:spPr>
          <a:xfrm>
            <a:off x="12367245" y="6885327"/>
            <a:ext cx="5584601" cy="2916014"/>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1" name="Picture Placeholder 2">
            <a:extLst>
              <a:ext uri="{FF2B5EF4-FFF2-40B4-BE49-F238E27FC236}">
                <a16:creationId xmlns:a16="http://schemas.microsoft.com/office/drawing/2014/main" id="{E8D329DB-9A89-5049-B680-BC0FE4373220}"/>
              </a:ext>
            </a:extLst>
          </p:cNvPr>
          <p:cNvSpPr>
            <a:spLocks noGrp="1"/>
          </p:cNvSpPr>
          <p:nvPr>
            <p:ph type="pic" sz="quarter" idx="33" hasCustomPrompt="1"/>
          </p:nvPr>
        </p:nvSpPr>
        <p:spPr>
          <a:xfrm>
            <a:off x="18317394" y="6860671"/>
            <a:ext cx="5584601" cy="2916014"/>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2" name="Text Placeholder 3">
            <a:extLst>
              <a:ext uri="{FF2B5EF4-FFF2-40B4-BE49-F238E27FC236}">
                <a16:creationId xmlns:a16="http://schemas.microsoft.com/office/drawing/2014/main" id="{DCCD54B1-4EFD-D84A-AB50-B7F0F8E84372}"/>
              </a:ext>
            </a:extLst>
          </p:cNvPr>
          <p:cNvSpPr>
            <a:spLocks noGrp="1"/>
          </p:cNvSpPr>
          <p:nvPr>
            <p:ph type="body" sz="half" idx="34" hasCustomPrompt="1"/>
          </p:nvPr>
        </p:nvSpPr>
        <p:spPr>
          <a:xfrm>
            <a:off x="6430566" y="10287348"/>
            <a:ext cx="5557314" cy="2969976"/>
          </a:xfrm>
        </p:spPr>
        <p:txBody>
          <a:bodyPr>
            <a:noAutofit/>
          </a:bodyPr>
          <a:lstStyle>
            <a:lvl1pPr marL="0" indent="0">
              <a:lnSpc>
                <a:spcPct val="100000"/>
              </a:lnSpc>
              <a:buNone/>
              <a:defRPr sz="2400"/>
            </a:lvl1pPr>
            <a:lvl2pPr marL="914240" indent="0">
              <a:buNone/>
              <a:defRPr sz="2800"/>
            </a:lvl2pPr>
            <a:lvl3pPr marL="1828483" indent="0">
              <a:buNone/>
              <a:defRPr sz="2400"/>
            </a:lvl3pPr>
            <a:lvl4pPr marL="2742723" indent="0">
              <a:buNone/>
              <a:defRPr sz="2000"/>
            </a:lvl4pPr>
            <a:lvl5pPr marL="3656961" indent="0">
              <a:buNone/>
              <a:defRPr sz="2000"/>
            </a:lvl5pPr>
            <a:lvl6pPr marL="4571201" indent="0">
              <a:buNone/>
              <a:defRPr sz="2000"/>
            </a:lvl6pPr>
            <a:lvl7pPr marL="5485440" indent="0">
              <a:buNone/>
              <a:defRPr sz="2000"/>
            </a:lvl7pPr>
            <a:lvl8pPr marL="6399680" indent="0">
              <a:buNone/>
              <a:defRPr sz="2000"/>
            </a:lvl8pPr>
            <a:lvl9pPr marL="7313920" indent="0">
              <a:buNone/>
              <a:defRPr sz="2000"/>
            </a:lvl9pPr>
          </a:lstStyle>
          <a:p>
            <a:pPr lvl="0"/>
            <a:r>
              <a:rPr lang="en-GB" noProof="0"/>
              <a:t>Put the description text here, keep it regular 24 </a:t>
            </a:r>
            <a:r>
              <a:rPr lang="en-GB" noProof="0" err="1"/>
              <a:t>pt</a:t>
            </a:r>
            <a:endParaRPr lang="en-GB" noProof="0"/>
          </a:p>
        </p:txBody>
      </p:sp>
      <p:sp>
        <p:nvSpPr>
          <p:cNvPr id="33" name="Text Placeholder 3">
            <a:extLst>
              <a:ext uri="{FF2B5EF4-FFF2-40B4-BE49-F238E27FC236}">
                <a16:creationId xmlns:a16="http://schemas.microsoft.com/office/drawing/2014/main" id="{EA8F0C11-5CFB-B74A-9620-D6344A6CE488}"/>
              </a:ext>
            </a:extLst>
          </p:cNvPr>
          <p:cNvSpPr>
            <a:spLocks noGrp="1"/>
          </p:cNvSpPr>
          <p:nvPr>
            <p:ph type="body" sz="half" idx="35" hasCustomPrompt="1"/>
          </p:nvPr>
        </p:nvSpPr>
        <p:spPr>
          <a:xfrm>
            <a:off x="12347846" y="10287348"/>
            <a:ext cx="5557314" cy="2969976"/>
          </a:xfrm>
        </p:spPr>
        <p:txBody>
          <a:bodyPr>
            <a:noAutofit/>
          </a:bodyPr>
          <a:lstStyle>
            <a:lvl1pPr marL="0" indent="0">
              <a:lnSpc>
                <a:spcPct val="100000"/>
              </a:lnSpc>
              <a:buNone/>
              <a:defRPr sz="2400"/>
            </a:lvl1pPr>
            <a:lvl2pPr marL="914240" indent="0">
              <a:buNone/>
              <a:defRPr sz="2800"/>
            </a:lvl2pPr>
            <a:lvl3pPr marL="1828483" indent="0">
              <a:buNone/>
              <a:defRPr sz="2400"/>
            </a:lvl3pPr>
            <a:lvl4pPr marL="2742723" indent="0">
              <a:buNone/>
              <a:defRPr sz="2000"/>
            </a:lvl4pPr>
            <a:lvl5pPr marL="3656961" indent="0">
              <a:buNone/>
              <a:defRPr sz="2000"/>
            </a:lvl5pPr>
            <a:lvl6pPr marL="4571201" indent="0">
              <a:buNone/>
              <a:defRPr sz="2000"/>
            </a:lvl6pPr>
            <a:lvl7pPr marL="5485440" indent="0">
              <a:buNone/>
              <a:defRPr sz="2000"/>
            </a:lvl7pPr>
            <a:lvl8pPr marL="6399680" indent="0">
              <a:buNone/>
              <a:defRPr sz="2000"/>
            </a:lvl8pPr>
            <a:lvl9pPr marL="7313920" indent="0">
              <a:buNone/>
              <a:defRPr sz="2000"/>
            </a:lvl9pPr>
          </a:lstStyle>
          <a:p>
            <a:pPr lvl="0"/>
            <a:r>
              <a:rPr lang="en-GB" noProof="0"/>
              <a:t>Put the description text here, keep it regular 24 </a:t>
            </a:r>
            <a:r>
              <a:rPr lang="en-GB" noProof="0" err="1"/>
              <a:t>pt</a:t>
            </a:r>
            <a:endParaRPr lang="en-GB" noProof="0"/>
          </a:p>
        </p:txBody>
      </p:sp>
      <p:sp>
        <p:nvSpPr>
          <p:cNvPr id="34" name="Text Placeholder 3">
            <a:extLst>
              <a:ext uri="{FF2B5EF4-FFF2-40B4-BE49-F238E27FC236}">
                <a16:creationId xmlns:a16="http://schemas.microsoft.com/office/drawing/2014/main" id="{49DC448D-7351-DA40-9CEB-36EEBA5F7C1B}"/>
              </a:ext>
            </a:extLst>
          </p:cNvPr>
          <p:cNvSpPr>
            <a:spLocks noGrp="1"/>
          </p:cNvSpPr>
          <p:nvPr>
            <p:ph type="body" sz="half" idx="36" hasCustomPrompt="1"/>
          </p:nvPr>
        </p:nvSpPr>
        <p:spPr>
          <a:xfrm>
            <a:off x="18344680" y="10287348"/>
            <a:ext cx="5557314" cy="2969976"/>
          </a:xfrm>
        </p:spPr>
        <p:txBody>
          <a:bodyPr>
            <a:noAutofit/>
          </a:bodyPr>
          <a:lstStyle>
            <a:lvl1pPr marL="0" indent="0">
              <a:lnSpc>
                <a:spcPct val="100000"/>
              </a:lnSpc>
              <a:buNone/>
              <a:defRPr sz="2400"/>
            </a:lvl1pPr>
            <a:lvl2pPr marL="914240" indent="0">
              <a:buNone/>
              <a:defRPr sz="2800"/>
            </a:lvl2pPr>
            <a:lvl3pPr marL="1828483" indent="0">
              <a:buNone/>
              <a:defRPr sz="2400"/>
            </a:lvl3pPr>
            <a:lvl4pPr marL="2742723" indent="0">
              <a:buNone/>
              <a:defRPr sz="2000"/>
            </a:lvl4pPr>
            <a:lvl5pPr marL="3656961" indent="0">
              <a:buNone/>
              <a:defRPr sz="2000"/>
            </a:lvl5pPr>
            <a:lvl6pPr marL="4571201" indent="0">
              <a:buNone/>
              <a:defRPr sz="2000"/>
            </a:lvl6pPr>
            <a:lvl7pPr marL="5485440" indent="0">
              <a:buNone/>
              <a:defRPr sz="2000"/>
            </a:lvl7pPr>
            <a:lvl8pPr marL="6399680" indent="0">
              <a:buNone/>
              <a:defRPr sz="2000"/>
            </a:lvl8pPr>
            <a:lvl9pPr marL="7313920" indent="0">
              <a:buNone/>
              <a:defRPr sz="2000"/>
            </a:lvl9pPr>
          </a:lstStyle>
          <a:p>
            <a:pPr lvl="0"/>
            <a:r>
              <a:rPr lang="en-GB" noProof="0"/>
              <a:t>Put the description text here, keep it regular 24 </a:t>
            </a:r>
            <a:r>
              <a:rPr lang="en-GB" noProof="0" err="1"/>
              <a:t>pt</a:t>
            </a:r>
            <a:endParaRPr lang="en-GB" noProof="0"/>
          </a:p>
        </p:txBody>
      </p:sp>
      <p:sp>
        <p:nvSpPr>
          <p:cNvPr id="20" name="TextBox 19">
            <a:extLst>
              <a:ext uri="{FF2B5EF4-FFF2-40B4-BE49-F238E27FC236}">
                <a16:creationId xmlns:a16="http://schemas.microsoft.com/office/drawing/2014/main" id="{13CC2D47-81A3-FF42-97E8-18400B5ECD17}"/>
              </a:ext>
            </a:extLst>
          </p:cNvPr>
          <p:cNvSpPr txBox="1"/>
          <p:nvPr userDrawn="1"/>
        </p:nvSpPr>
        <p:spPr>
          <a:xfrm>
            <a:off x="22416463" y="13226646"/>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33828061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Before/aft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413F907-AE77-0746-B805-0D2E5F01B01D}"/>
              </a:ext>
            </a:extLst>
          </p:cNvPr>
          <p:cNvSpPr>
            <a:spLocks noGrp="1"/>
          </p:cNvSpPr>
          <p:nvPr>
            <p:ph type="pic" sz="quarter" idx="17" hasCustomPrompt="1"/>
          </p:nvPr>
        </p:nvSpPr>
        <p:spPr>
          <a:xfrm>
            <a:off x="3046417" y="4124211"/>
            <a:ext cx="7417707" cy="4462582"/>
          </a:xfrm>
          <a:solidFill>
            <a:srgbClr val="E4E5E3"/>
          </a:solidFill>
        </p:spPr>
        <p:txBody>
          <a:bodyPr>
            <a:normAutofit/>
          </a:bodyPr>
          <a:lstStyle>
            <a:lvl1pPr marL="0" indent="0" algn="ctr">
              <a:buNone/>
              <a:defRPr sz="2400">
                <a:solidFill>
                  <a:schemeClr val="tx1">
                    <a:lumMod val="65000"/>
                    <a:lumOff val="35000"/>
                  </a:schemeClr>
                </a:solidFill>
              </a:defRPr>
            </a:lvl1pPr>
          </a:lstStyle>
          <a:p>
            <a:r>
              <a:rPr lang="en-NL"/>
              <a:t>Drag and drop a topic-related picture into this frame</a:t>
            </a:r>
          </a:p>
        </p:txBody>
      </p:sp>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13984332" y="4124211"/>
            <a:ext cx="7351669" cy="4462582"/>
          </a:xfrm>
          <a:solidFill>
            <a:srgbClr val="E4E5E3"/>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6" name="Text Placeholder 5">
            <a:extLst>
              <a:ext uri="{FF2B5EF4-FFF2-40B4-BE49-F238E27FC236}">
                <a16:creationId xmlns:a16="http://schemas.microsoft.com/office/drawing/2014/main" id="{8B805C66-9B81-6F4A-8653-8751DC71F3C3}"/>
              </a:ext>
            </a:extLst>
          </p:cNvPr>
          <p:cNvSpPr>
            <a:spLocks noGrp="1"/>
          </p:cNvSpPr>
          <p:nvPr>
            <p:ph type="body" sz="quarter" idx="12" hasCustomPrompt="1"/>
          </p:nvPr>
        </p:nvSpPr>
        <p:spPr>
          <a:xfrm>
            <a:off x="3046417" y="9038944"/>
            <a:ext cx="7417707" cy="3003832"/>
          </a:xfrm>
        </p:spPr>
        <p:txBody>
          <a:bodyPr>
            <a:noAutofit/>
          </a:bodyPr>
          <a:lstStyle>
            <a:lvl1pPr>
              <a:spcBef>
                <a:spcPts val="0"/>
              </a:spcBef>
              <a:defRPr sz="3200"/>
            </a:lvl1pPr>
          </a:lstStyle>
          <a:p>
            <a:pPr lvl="0"/>
            <a:r>
              <a:rPr lang="en-GB" noProof="0"/>
              <a:t>Put the paragraph text here, keep it regular 32 </a:t>
            </a:r>
            <a:r>
              <a:rPr lang="en-GB" noProof="0" err="1"/>
              <a:t>pt</a:t>
            </a:r>
            <a:endParaRPr lang="en-GB" noProof="0"/>
          </a:p>
        </p:txBody>
      </p:sp>
      <p:sp>
        <p:nvSpPr>
          <p:cNvPr id="17" name="Text Placeholder 5">
            <a:extLst>
              <a:ext uri="{FF2B5EF4-FFF2-40B4-BE49-F238E27FC236}">
                <a16:creationId xmlns:a16="http://schemas.microsoft.com/office/drawing/2014/main" id="{FA6FB3B4-ED87-C644-AEAC-F1AF465F1548}"/>
              </a:ext>
            </a:extLst>
          </p:cNvPr>
          <p:cNvSpPr>
            <a:spLocks noGrp="1"/>
          </p:cNvSpPr>
          <p:nvPr>
            <p:ph type="body" sz="quarter" idx="22" hasCustomPrompt="1"/>
          </p:nvPr>
        </p:nvSpPr>
        <p:spPr>
          <a:xfrm>
            <a:off x="13993172" y="9038947"/>
            <a:ext cx="7342828" cy="3003830"/>
          </a:xfrm>
        </p:spPr>
        <p:txBody>
          <a:bodyPr>
            <a:noAutofit/>
          </a:bodyPr>
          <a:lstStyle>
            <a:lvl1pPr>
              <a:spcBef>
                <a:spcPts val="0"/>
              </a:spcBef>
              <a:defRPr sz="3200"/>
            </a:lvl1pPr>
          </a:lstStyle>
          <a:p>
            <a:pPr lvl="0"/>
            <a:r>
              <a:rPr lang="en-GB" noProof="0"/>
              <a:t>Put the paragraph text here, keep it regular 32 </a:t>
            </a:r>
            <a:r>
              <a:rPr lang="en-GB" noProof="0" err="1"/>
              <a:t>pt</a:t>
            </a:r>
            <a:endParaRPr lang="en-GB" noProof="0"/>
          </a:p>
        </p:txBody>
      </p:sp>
      <p:pic>
        <p:nvPicPr>
          <p:cNvPr id="6" name="Graphic 5">
            <a:extLst>
              <a:ext uri="{FF2B5EF4-FFF2-40B4-BE49-F238E27FC236}">
                <a16:creationId xmlns:a16="http://schemas.microsoft.com/office/drawing/2014/main" id="{326B79F7-6D85-D543-AFB0-64FD75BF7EB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31207" y="5056160"/>
            <a:ext cx="2520000" cy="2520000"/>
          </a:xfrm>
          <a:prstGeom prst="rect">
            <a:avLst/>
          </a:prstGeom>
        </p:spPr>
      </p:pic>
      <p:sp>
        <p:nvSpPr>
          <p:cNvPr id="10" name="Title 3">
            <a:extLst>
              <a:ext uri="{FF2B5EF4-FFF2-40B4-BE49-F238E27FC236}">
                <a16:creationId xmlns:a16="http://schemas.microsoft.com/office/drawing/2014/main" id="{F1E86907-9BCD-794E-BD6D-4F29BDCAC4DD}"/>
              </a:ext>
            </a:extLst>
          </p:cNvPr>
          <p:cNvSpPr>
            <a:spLocks noGrp="1"/>
          </p:cNvSpPr>
          <p:nvPr>
            <p:ph type="title" hasCustomPrompt="1"/>
          </p:nvPr>
        </p:nvSpPr>
        <p:spPr>
          <a:xfrm>
            <a:off x="1676293" y="1677600"/>
            <a:ext cx="21033007" cy="2446608"/>
          </a:xfrm>
        </p:spPr>
        <p:txBody>
          <a:bodyPr/>
          <a:lstStyle>
            <a:lvl1pPr>
              <a:defRPr sz="6000" spc="0" baseline="0"/>
            </a:lvl1pPr>
          </a:lstStyle>
          <a:p>
            <a:r>
              <a:rPr lang="en-GB"/>
              <a:t>Put a short headline here, keep it bold 60 </a:t>
            </a:r>
            <a:r>
              <a:rPr lang="en-GB" err="1"/>
              <a:t>pt</a:t>
            </a:r>
            <a:endParaRPr lang="en-NL"/>
          </a:p>
        </p:txBody>
      </p:sp>
      <p:sp>
        <p:nvSpPr>
          <p:cNvPr id="4" name="Footer Placeholder 3">
            <a:extLst>
              <a:ext uri="{FF2B5EF4-FFF2-40B4-BE49-F238E27FC236}">
                <a16:creationId xmlns:a16="http://schemas.microsoft.com/office/drawing/2014/main" id="{98B6467D-F33B-A84D-B882-5C4860E480A0}"/>
              </a:ext>
            </a:extLst>
          </p:cNvPr>
          <p:cNvSpPr>
            <a:spLocks noGrp="1"/>
          </p:cNvSpPr>
          <p:nvPr>
            <p:ph type="ftr" sz="quarter" idx="23"/>
          </p:nvPr>
        </p:nvSpPr>
        <p:spPr/>
        <p:txBody>
          <a:bodyPr/>
          <a:lstStyle/>
          <a:p>
            <a:endParaRPr lang="en-NL"/>
          </a:p>
        </p:txBody>
      </p:sp>
      <p:sp>
        <p:nvSpPr>
          <p:cNvPr id="13" name="TextBox 12">
            <a:extLst>
              <a:ext uri="{FF2B5EF4-FFF2-40B4-BE49-F238E27FC236}">
                <a16:creationId xmlns:a16="http://schemas.microsoft.com/office/drawing/2014/main" id="{698B3729-CC41-244D-B453-5B310C875397}"/>
              </a:ext>
            </a:extLst>
          </p:cNvPr>
          <p:cNvSpPr txBox="1"/>
          <p:nvPr userDrawn="1"/>
        </p:nvSpPr>
        <p:spPr>
          <a:xfrm>
            <a:off x="22416463" y="13226646"/>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88107157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Agenda/contents">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90F7D97-7943-F74E-8640-D30812E6AB99}"/>
              </a:ext>
            </a:extLst>
          </p:cNvPr>
          <p:cNvSpPr>
            <a:spLocks noGrp="1"/>
          </p:cNvSpPr>
          <p:nvPr>
            <p:ph type="title" hasCustomPrompt="1"/>
          </p:nvPr>
        </p:nvSpPr>
        <p:spPr>
          <a:xfrm>
            <a:off x="1676291" y="1677605"/>
            <a:ext cx="10514916" cy="2304454"/>
          </a:xfrm>
          <a:prstGeom prst="rect">
            <a:avLst/>
          </a:prstGeom>
        </p:spPr>
        <p:txBody>
          <a:bodyPr/>
          <a:lstStyle>
            <a:lvl1pPr>
              <a:lnSpc>
                <a:spcPct val="100000"/>
              </a:lnSpc>
              <a:defRPr sz="7200"/>
            </a:lvl1pPr>
          </a:lstStyle>
          <a:p>
            <a:r>
              <a:rPr lang="en-GB" noProof="0"/>
              <a:t>Agenda or contents</a:t>
            </a:r>
          </a:p>
        </p:txBody>
      </p:sp>
      <p:sp>
        <p:nvSpPr>
          <p:cNvPr id="10" name="Text Placeholder 9">
            <a:extLst>
              <a:ext uri="{FF2B5EF4-FFF2-40B4-BE49-F238E27FC236}">
                <a16:creationId xmlns:a16="http://schemas.microsoft.com/office/drawing/2014/main" id="{E234D5AF-452C-2E41-B572-1BD2DC3468B0}"/>
              </a:ext>
            </a:extLst>
          </p:cNvPr>
          <p:cNvSpPr>
            <a:spLocks noGrp="1"/>
          </p:cNvSpPr>
          <p:nvPr>
            <p:ph type="body" sz="quarter" idx="11" hasCustomPrompt="1"/>
          </p:nvPr>
        </p:nvSpPr>
        <p:spPr>
          <a:xfrm>
            <a:off x="1676291" y="4409735"/>
            <a:ext cx="10514916" cy="7633046"/>
          </a:xfrm>
        </p:spPr>
        <p:txBody>
          <a:bodyPr lIns="90000" rIns="90000">
            <a:noAutofit/>
          </a:bodyPr>
          <a:lstStyle>
            <a:lvl1pPr marL="0" marR="0" indent="0" algn="l" defTabSz="1828483" rtl="0" eaLnBrk="1" fontAlgn="auto" latinLnBrk="0" hangingPunct="1">
              <a:lnSpc>
                <a:spcPct val="100000"/>
              </a:lnSpc>
              <a:spcBef>
                <a:spcPts val="2000"/>
              </a:spcBef>
              <a:spcAft>
                <a:spcPts val="0"/>
              </a:spcAft>
              <a:buClrTx/>
              <a:buSzTx/>
              <a:buFont typeface="Arial" panose="020B0604020202020204" pitchFamily="34" charset="0"/>
              <a:buNone/>
              <a:tabLst/>
              <a:defRPr sz="4800"/>
            </a:lvl1pPr>
            <a:lvl2pPr marL="914240" marR="0" indent="0" algn="l" defTabSz="1828483" rtl="0" eaLnBrk="1" fontAlgn="auto" latinLnBrk="0" hangingPunct="1">
              <a:lnSpc>
                <a:spcPct val="100000"/>
              </a:lnSpc>
              <a:spcBef>
                <a:spcPts val="1000"/>
              </a:spcBef>
              <a:spcAft>
                <a:spcPts val="0"/>
              </a:spcAft>
              <a:buClrTx/>
              <a:buSzTx/>
              <a:buFont typeface="Arial" panose="020B0604020202020204" pitchFamily="34" charset="0"/>
              <a:buNone/>
              <a:tabLst/>
              <a:defRPr sz="3600"/>
            </a:lvl2pPr>
          </a:lstStyle>
          <a:p>
            <a:pPr lvl="0"/>
            <a:r>
              <a:rPr lang="en-GB" noProof="0"/>
              <a:t>Put the agenda topic here, </a:t>
            </a:r>
            <a:br>
              <a:rPr lang="en-GB" noProof="0"/>
            </a:br>
            <a:r>
              <a:rPr lang="en-GB" noProof="0"/>
              <a:t>keep it regular 24 pt</a:t>
            </a:r>
          </a:p>
        </p:txBody>
      </p:sp>
    </p:spTree>
    <p:extLst>
      <p:ext uri="{BB962C8B-B14F-4D97-AF65-F5344CB8AC3E}">
        <p14:creationId xmlns:p14="http://schemas.microsoft.com/office/powerpoint/2010/main" val="66353618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60_Title Sl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F6F0CEE-5038-4071-B80B-826461EE5D42}"/>
              </a:ext>
            </a:extLst>
          </p:cNvPr>
          <p:cNvSpPr>
            <a:spLocks noGrp="1"/>
          </p:cNvSpPr>
          <p:nvPr>
            <p:ph type="pic" sz="quarter" idx="10"/>
          </p:nvPr>
        </p:nvSpPr>
        <p:spPr>
          <a:xfrm>
            <a:off x="12164706" y="0"/>
            <a:ext cx="12217709" cy="13716000"/>
          </a:xfrm>
          <a:custGeom>
            <a:avLst/>
            <a:gdLst>
              <a:gd name="connsiteX0" fmla="*/ 0 w 3619500"/>
              <a:gd name="connsiteY0" fmla="*/ 0 h 5543550"/>
              <a:gd name="connsiteX1" fmla="*/ 3619500 w 3619500"/>
              <a:gd name="connsiteY1" fmla="*/ 0 h 5543550"/>
              <a:gd name="connsiteX2" fmla="*/ 3619500 w 3619500"/>
              <a:gd name="connsiteY2" fmla="*/ 5543550 h 5543550"/>
              <a:gd name="connsiteX3" fmla="*/ 0 w 3619500"/>
              <a:gd name="connsiteY3" fmla="*/ 5543550 h 5543550"/>
            </a:gdLst>
            <a:ahLst/>
            <a:cxnLst>
              <a:cxn ang="0">
                <a:pos x="connsiteX0" y="connsiteY0"/>
              </a:cxn>
              <a:cxn ang="0">
                <a:pos x="connsiteX1" y="connsiteY1"/>
              </a:cxn>
              <a:cxn ang="0">
                <a:pos x="connsiteX2" y="connsiteY2"/>
              </a:cxn>
              <a:cxn ang="0">
                <a:pos x="connsiteX3" y="connsiteY3"/>
              </a:cxn>
            </a:cxnLst>
            <a:rect l="l" t="t" r="r" b="b"/>
            <a:pathLst>
              <a:path w="3619500" h="5543550">
                <a:moveTo>
                  <a:pt x="0" y="0"/>
                </a:moveTo>
                <a:lnTo>
                  <a:pt x="3619500" y="0"/>
                </a:lnTo>
                <a:lnTo>
                  <a:pt x="3619500" y="5543550"/>
                </a:lnTo>
                <a:lnTo>
                  <a:pt x="0" y="5543550"/>
                </a:lnTo>
                <a:close/>
              </a:path>
            </a:pathLst>
          </a:custGeom>
          <a:solidFill>
            <a:schemeClr val="bg2"/>
          </a:solidFill>
          <a:ln>
            <a:noFill/>
          </a:ln>
        </p:spPr>
        <p:txBody>
          <a:bodyPr wrap="square">
            <a:noAutofit/>
          </a:bodyPr>
          <a:lstStyle>
            <a:lvl1pPr>
              <a:defRPr sz="2200"/>
            </a:lvl1pPr>
          </a:lstStyle>
          <a:p>
            <a:r>
              <a:rPr lang="en-US"/>
              <a:t>Click icon to add picture</a:t>
            </a:r>
            <a:endParaRPr lang="id-ID"/>
          </a:p>
        </p:txBody>
      </p:sp>
      <p:sp>
        <p:nvSpPr>
          <p:cNvPr id="12" name="Text Placeholder 8"/>
          <p:cNvSpPr>
            <a:spLocks noGrp="1"/>
          </p:cNvSpPr>
          <p:nvPr>
            <p:ph type="body" sz="quarter" idx="11" hasCustomPrompt="1"/>
          </p:nvPr>
        </p:nvSpPr>
        <p:spPr>
          <a:xfrm>
            <a:off x="1666772" y="6511931"/>
            <a:ext cx="9454771" cy="6395862"/>
          </a:xfrm>
          <a:prstGeom prst="rect">
            <a:avLst/>
          </a:prstGeom>
        </p:spPr>
        <p:txBody>
          <a:bodyPr/>
          <a:lstStyle>
            <a:lvl1pPr marL="0" indent="0">
              <a:buNone/>
              <a:defRPr sz="4800">
                <a:solidFill>
                  <a:schemeClr val="tx2"/>
                </a:solidFill>
                <a:latin typeface="+mj-lt"/>
              </a:defRPr>
            </a:lvl1pPr>
            <a:lvl2pPr marL="914262" indent="0">
              <a:buNone/>
              <a:defRPr sz="4000">
                <a:solidFill>
                  <a:schemeClr val="tx2"/>
                </a:solidFill>
                <a:latin typeface="+mj-lt"/>
              </a:defRPr>
            </a:lvl2pPr>
            <a:lvl3pPr marL="1828529" indent="0">
              <a:buNone/>
              <a:defRPr sz="3600">
                <a:solidFill>
                  <a:schemeClr val="tx2"/>
                </a:solidFill>
                <a:latin typeface="+mj-lt"/>
              </a:defRPr>
            </a:lvl3pPr>
            <a:lvl4pPr marL="2742791" indent="0">
              <a:buNone/>
              <a:defRPr sz="3200">
                <a:solidFill>
                  <a:schemeClr val="tx2"/>
                </a:solidFill>
                <a:latin typeface="+mj-lt"/>
              </a:defRPr>
            </a:lvl4pPr>
            <a:lvl5pPr marL="3657053" indent="0">
              <a:buNone/>
              <a:defRPr sz="3200">
                <a:solidFill>
                  <a:schemeClr val="tx2"/>
                </a:solidFill>
                <a:latin typeface="+mj-lt"/>
              </a:defRPr>
            </a:lvl5pPr>
          </a:lstStyle>
          <a:p>
            <a:pPr lvl="0"/>
            <a:r>
              <a:rPr lang="en-US"/>
              <a:t>Additional text or explanation</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itle 6"/>
          <p:cNvSpPr>
            <a:spLocks noGrp="1"/>
          </p:cNvSpPr>
          <p:nvPr>
            <p:ph type="title" hasCustomPrompt="1"/>
          </p:nvPr>
        </p:nvSpPr>
        <p:spPr>
          <a:xfrm>
            <a:off x="1667991" y="3223679"/>
            <a:ext cx="9445675" cy="2390130"/>
          </a:xfrm>
          <a:prstGeom prst="rect">
            <a:avLst/>
          </a:prstGeom>
        </p:spPr>
        <p:txBody>
          <a:bodyPr anchor="ctr"/>
          <a:lstStyle>
            <a:lvl1pPr>
              <a:defRPr sz="8000" b="1" baseline="0">
                <a:solidFill>
                  <a:schemeClr val="tx2"/>
                </a:solidFill>
              </a:defRPr>
            </a:lvl1pPr>
          </a:lstStyle>
          <a:p>
            <a:r>
              <a:rPr lang="en-US"/>
              <a:t>Slide title or statement here!</a:t>
            </a:r>
            <a:endParaRPr lang="en-GB"/>
          </a:p>
        </p:txBody>
      </p:sp>
      <p:sp>
        <p:nvSpPr>
          <p:cNvPr id="14" name="object 5"/>
          <p:cNvSpPr txBox="1"/>
          <p:nvPr userDrawn="1"/>
        </p:nvSpPr>
        <p:spPr>
          <a:xfrm>
            <a:off x="21829879" y="330730"/>
            <a:ext cx="2314425" cy="210308"/>
          </a:xfrm>
          <a:prstGeom prst="rect">
            <a:avLst/>
          </a:prstGeom>
        </p:spPr>
        <p:txBody>
          <a:bodyPr vert="horz" wrap="square" lIns="0" tIns="25394" rIns="0" bIns="0" rtlCol="0">
            <a:spAutoFit/>
          </a:bodyPr>
          <a:lstStyle/>
          <a:p>
            <a:pPr marL="25399">
              <a:lnSpc>
                <a:spcPct val="100000"/>
              </a:lnSpc>
              <a:spcBef>
                <a:spcPts val="200"/>
              </a:spcBef>
            </a:pPr>
            <a:r>
              <a:rPr sz="1200">
                <a:solidFill>
                  <a:srgbClr val="BCBEC0"/>
                </a:solidFill>
                <a:latin typeface="Noto IKEA Latin" panose="020B0502040504020204" pitchFamily="34" charset="0"/>
                <a:cs typeface="Verdana"/>
              </a:rPr>
              <a:t>© Inter IKEA </a:t>
            </a:r>
            <a:r>
              <a:rPr sz="1200" spc="-10">
                <a:solidFill>
                  <a:srgbClr val="BCBEC0"/>
                </a:solidFill>
                <a:latin typeface="Noto IKEA Latin" panose="020B0502040504020204" pitchFamily="34" charset="0"/>
                <a:cs typeface="Verdana"/>
              </a:rPr>
              <a:t>Systems </a:t>
            </a:r>
            <a:r>
              <a:rPr sz="1200" spc="-50">
                <a:solidFill>
                  <a:srgbClr val="BCBEC0"/>
                </a:solidFill>
                <a:latin typeface="Noto IKEA Latin" panose="020B0502040504020204" pitchFamily="34" charset="0"/>
                <a:cs typeface="Verdana"/>
              </a:rPr>
              <a:t>B.V.</a:t>
            </a:r>
            <a:r>
              <a:rPr sz="1200" spc="-140">
                <a:solidFill>
                  <a:srgbClr val="BCBEC0"/>
                </a:solidFill>
                <a:latin typeface="Noto IKEA Latin" panose="020B0502040504020204" pitchFamily="34" charset="0"/>
                <a:cs typeface="Verdana"/>
              </a:rPr>
              <a:t> </a:t>
            </a:r>
            <a:r>
              <a:rPr sz="1200">
                <a:solidFill>
                  <a:srgbClr val="BCBEC0"/>
                </a:solidFill>
                <a:latin typeface="Noto IKEA Latin" panose="020B0502040504020204" pitchFamily="34" charset="0"/>
                <a:cs typeface="Verdana"/>
              </a:rPr>
              <a:t>20</a:t>
            </a:r>
            <a:r>
              <a:rPr lang="de-DE" sz="1200">
                <a:solidFill>
                  <a:srgbClr val="BCBEC0"/>
                </a:solidFill>
                <a:latin typeface="Noto IKEA Latin" panose="020B0502040504020204" pitchFamily="34" charset="0"/>
                <a:cs typeface="Verdana"/>
              </a:rPr>
              <a:t>21</a:t>
            </a:r>
            <a:endParaRPr sz="1200">
              <a:latin typeface="Noto IKEA Latin" panose="020B0502040504020204" pitchFamily="34" charset="0"/>
              <a:cs typeface="Verdana"/>
            </a:endParaRPr>
          </a:p>
        </p:txBody>
      </p:sp>
      <p:sp>
        <p:nvSpPr>
          <p:cNvPr id="19" name="Freeform 16">
            <a:extLst>
              <a:ext uri="{FF2B5EF4-FFF2-40B4-BE49-F238E27FC236}">
                <a16:creationId xmlns:a16="http://schemas.microsoft.com/office/drawing/2014/main" id="{55B8A401-BE23-4241-BDCF-933FC8D52F4B}"/>
              </a:ext>
            </a:extLst>
          </p:cNvPr>
          <p:cNvSpPr>
            <a:spLocks/>
          </p:cNvSpPr>
          <p:nvPr userDrawn="1"/>
        </p:nvSpPr>
        <p:spPr bwMode="auto">
          <a:xfrm rot="10800000">
            <a:off x="868503" y="908799"/>
            <a:ext cx="717779" cy="615554"/>
          </a:xfrm>
          <a:custGeom>
            <a:avLst/>
            <a:gdLst>
              <a:gd name="T0" fmla="*/ 595 w 632"/>
              <a:gd name="T1" fmla="*/ 346 h 598"/>
              <a:gd name="T2" fmla="*/ 559 w 632"/>
              <a:gd name="T3" fmla="*/ 341 h 598"/>
              <a:gd name="T4" fmla="*/ 510 w 632"/>
              <a:gd name="T5" fmla="*/ 359 h 598"/>
              <a:gd name="T6" fmla="*/ 476 w 632"/>
              <a:gd name="T7" fmla="*/ 377 h 598"/>
              <a:gd name="T8" fmla="*/ 438 w 632"/>
              <a:gd name="T9" fmla="*/ 359 h 598"/>
              <a:gd name="T10" fmla="*/ 425 w 632"/>
              <a:gd name="T11" fmla="*/ 329 h 598"/>
              <a:gd name="T12" fmla="*/ 434 w 632"/>
              <a:gd name="T13" fmla="*/ 222 h 598"/>
              <a:gd name="T14" fmla="*/ 438 w 632"/>
              <a:gd name="T15" fmla="*/ 196 h 598"/>
              <a:gd name="T16" fmla="*/ 397 w 632"/>
              <a:gd name="T17" fmla="*/ 197 h 598"/>
              <a:gd name="T18" fmla="*/ 307 w 632"/>
              <a:gd name="T19" fmla="*/ 206 h 598"/>
              <a:gd name="T20" fmla="*/ 264 w 632"/>
              <a:gd name="T21" fmla="*/ 193 h 598"/>
              <a:gd name="T22" fmla="*/ 253 w 632"/>
              <a:gd name="T23" fmla="*/ 174 h 598"/>
              <a:gd name="T24" fmla="*/ 257 w 632"/>
              <a:gd name="T25" fmla="*/ 143 h 598"/>
              <a:gd name="T26" fmla="*/ 288 w 632"/>
              <a:gd name="T27" fmla="*/ 93 h 598"/>
              <a:gd name="T28" fmla="*/ 294 w 632"/>
              <a:gd name="T29" fmla="*/ 56 h 598"/>
              <a:gd name="T30" fmla="*/ 282 w 632"/>
              <a:gd name="T31" fmla="*/ 26 h 598"/>
              <a:gd name="T32" fmla="*/ 258 w 632"/>
              <a:gd name="T33" fmla="*/ 6 h 598"/>
              <a:gd name="T34" fmla="*/ 223 w 632"/>
              <a:gd name="T35" fmla="*/ 0 h 598"/>
              <a:gd name="T36" fmla="*/ 186 w 632"/>
              <a:gd name="T37" fmla="*/ 6 h 598"/>
              <a:gd name="T38" fmla="*/ 158 w 632"/>
              <a:gd name="T39" fmla="*/ 27 h 598"/>
              <a:gd name="T40" fmla="*/ 146 w 632"/>
              <a:gd name="T41" fmla="*/ 58 h 598"/>
              <a:gd name="T42" fmla="*/ 152 w 632"/>
              <a:gd name="T43" fmla="*/ 97 h 598"/>
              <a:gd name="T44" fmla="*/ 180 w 632"/>
              <a:gd name="T45" fmla="*/ 147 h 598"/>
              <a:gd name="T46" fmla="*/ 179 w 632"/>
              <a:gd name="T47" fmla="*/ 178 h 598"/>
              <a:gd name="T48" fmla="*/ 153 w 632"/>
              <a:gd name="T49" fmla="*/ 203 h 598"/>
              <a:gd name="T50" fmla="*/ 79 w 632"/>
              <a:gd name="T51" fmla="*/ 206 h 598"/>
              <a:gd name="T52" fmla="*/ 12 w 632"/>
              <a:gd name="T53" fmla="*/ 196 h 598"/>
              <a:gd name="T54" fmla="*/ 0 w 632"/>
              <a:gd name="T55" fmla="*/ 584 h 598"/>
              <a:gd name="T56" fmla="*/ 11 w 632"/>
              <a:gd name="T57" fmla="*/ 586 h 598"/>
              <a:gd name="T58" fmla="*/ 79 w 632"/>
              <a:gd name="T59" fmla="*/ 596 h 598"/>
              <a:gd name="T60" fmla="*/ 153 w 632"/>
              <a:gd name="T61" fmla="*/ 593 h 598"/>
              <a:gd name="T62" fmla="*/ 179 w 632"/>
              <a:gd name="T63" fmla="*/ 568 h 598"/>
              <a:gd name="T64" fmla="*/ 180 w 632"/>
              <a:gd name="T65" fmla="*/ 537 h 598"/>
              <a:gd name="T66" fmla="*/ 152 w 632"/>
              <a:gd name="T67" fmla="*/ 487 h 598"/>
              <a:gd name="T68" fmla="*/ 146 w 632"/>
              <a:gd name="T69" fmla="*/ 448 h 598"/>
              <a:gd name="T70" fmla="*/ 158 w 632"/>
              <a:gd name="T71" fmla="*/ 416 h 598"/>
              <a:gd name="T72" fmla="*/ 186 w 632"/>
              <a:gd name="T73" fmla="*/ 396 h 598"/>
              <a:gd name="T74" fmla="*/ 223 w 632"/>
              <a:gd name="T75" fmla="*/ 390 h 598"/>
              <a:gd name="T76" fmla="*/ 258 w 632"/>
              <a:gd name="T77" fmla="*/ 396 h 598"/>
              <a:gd name="T78" fmla="*/ 284 w 632"/>
              <a:gd name="T79" fmla="*/ 416 h 598"/>
              <a:gd name="T80" fmla="*/ 294 w 632"/>
              <a:gd name="T81" fmla="*/ 446 h 598"/>
              <a:gd name="T82" fmla="*/ 288 w 632"/>
              <a:gd name="T83" fmla="*/ 483 h 598"/>
              <a:gd name="T84" fmla="*/ 257 w 632"/>
              <a:gd name="T85" fmla="*/ 533 h 598"/>
              <a:gd name="T86" fmla="*/ 253 w 632"/>
              <a:gd name="T87" fmla="*/ 564 h 598"/>
              <a:gd name="T88" fmla="*/ 264 w 632"/>
              <a:gd name="T89" fmla="*/ 583 h 598"/>
              <a:gd name="T90" fmla="*/ 307 w 632"/>
              <a:gd name="T91" fmla="*/ 596 h 598"/>
              <a:gd name="T92" fmla="*/ 355 w 632"/>
              <a:gd name="T93" fmla="*/ 593 h 598"/>
              <a:gd name="T94" fmla="*/ 410 w 632"/>
              <a:gd name="T95" fmla="*/ 586 h 598"/>
              <a:gd name="T96" fmla="*/ 438 w 632"/>
              <a:gd name="T97" fmla="*/ 582 h 598"/>
              <a:gd name="T98" fmla="*/ 430 w 632"/>
              <a:gd name="T99" fmla="*/ 525 h 598"/>
              <a:gd name="T100" fmla="*/ 429 w 632"/>
              <a:gd name="T101" fmla="*/ 474 h 598"/>
              <a:gd name="T102" fmla="*/ 459 w 632"/>
              <a:gd name="T103" fmla="*/ 448 h 598"/>
              <a:gd name="T104" fmla="*/ 495 w 632"/>
              <a:gd name="T105" fmla="*/ 453 h 598"/>
              <a:gd name="T106" fmla="*/ 546 w 632"/>
              <a:gd name="T107" fmla="*/ 486 h 598"/>
              <a:gd name="T108" fmla="*/ 583 w 632"/>
              <a:gd name="T109" fmla="*/ 488 h 598"/>
              <a:gd name="T110" fmla="*/ 612 w 632"/>
              <a:gd name="T111" fmla="*/ 474 h 598"/>
              <a:gd name="T112" fmla="*/ 629 w 632"/>
              <a:gd name="T113" fmla="*/ 446 h 598"/>
              <a:gd name="T114" fmla="*/ 632 w 632"/>
              <a:gd name="T115" fmla="*/ 409 h 598"/>
              <a:gd name="T116" fmla="*/ 623 w 632"/>
              <a:gd name="T117" fmla="*/ 375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32" h="598">
                <a:moveTo>
                  <a:pt x="615" y="363"/>
                </a:moveTo>
                <a:lnTo>
                  <a:pt x="611" y="357"/>
                </a:lnTo>
                <a:lnTo>
                  <a:pt x="606" y="353"/>
                </a:lnTo>
                <a:lnTo>
                  <a:pt x="601" y="350"/>
                </a:lnTo>
                <a:lnTo>
                  <a:pt x="595" y="346"/>
                </a:lnTo>
                <a:lnTo>
                  <a:pt x="588" y="343"/>
                </a:lnTo>
                <a:lnTo>
                  <a:pt x="582" y="342"/>
                </a:lnTo>
                <a:lnTo>
                  <a:pt x="574" y="341"/>
                </a:lnTo>
                <a:lnTo>
                  <a:pt x="567" y="340"/>
                </a:lnTo>
                <a:lnTo>
                  <a:pt x="559" y="341"/>
                </a:lnTo>
                <a:lnTo>
                  <a:pt x="551" y="342"/>
                </a:lnTo>
                <a:lnTo>
                  <a:pt x="543" y="343"/>
                </a:lnTo>
                <a:lnTo>
                  <a:pt x="535" y="346"/>
                </a:lnTo>
                <a:lnTo>
                  <a:pt x="521" y="352"/>
                </a:lnTo>
                <a:lnTo>
                  <a:pt x="510" y="359"/>
                </a:lnTo>
                <a:lnTo>
                  <a:pt x="502" y="366"/>
                </a:lnTo>
                <a:lnTo>
                  <a:pt x="491" y="371"/>
                </a:lnTo>
                <a:lnTo>
                  <a:pt x="486" y="375"/>
                </a:lnTo>
                <a:lnTo>
                  <a:pt x="480" y="376"/>
                </a:lnTo>
                <a:lnTo>
                  <a:pt x="476" y="377"/>
                </a:lnTo>
                <a:lnTo>
                  <a:pt x="471" y="378"/>
                </a:lnTo>
                <a:lnTo>
                  <a:pt x="463" y="377"/>
                </a:lnTo>
                <a:lnTo>
                  <a:pt x="454" y="373"/>
                </a:lnTo>
                <a:lnTo>
                  <a:pt x="446" y="368"/>
                </a:lnTo>
                <a:lnTo>
                  <a:pt x="438" y="359"/>
                </a:lnTo>
                <a:lnTo>
                  <a:pt x="435" y="356"/>
                </a:lnTo>
                <a:lnTo>
                  <a:pt x="432" y="352"/>
                </a:lnTo>
                <a:lnTo>
                  <a:pt x="429" y="348"/>
                </a:lnTo>
                <a:lnTo>
                  <a:pt x="427" y="342"/>
                </a:lnTo>
                <a:lnTo>
                  <a:pt x="425" y="329"/>
                </a:lnTo>
                <a:lnTo>
                  <a:pt x="424" y="315"/>
                </a:lnTo>
                <a:lnTo>
                  <a:pt x="425" y="296"/>
                </a:lnTo>
                <a:lnTo>
                  <a:pt x="426" y="274"/>
                </a:lnTo>
                <a:lnTo>
                  <a:pt x="429" y="249"/>
                </a:lnTo>
                <a:lnTo>
                  <a:pt x="434" y="222"/>
                </a:lnTo>
                <a:lnTo>
                  <a:pt x="434" y="220"/>
                </a:lnTo>
                <a:lnTo>
                  <a:pt x="435" y="214"/>
                </a:lnTo>
                <a:lnTo>
                  <a:pt x="436" y="207"/>
                </a:lnTo>
                <a:lnTo>
                  <a:pt x="437" y="201"/>
                </a:lnTo>
                <a:lnTo>
                  <a:pt x="438" y="196"/>
                </a:lnTo>
                <a:lnTo>
                  <a:pt x="438" y="194"/>
                </a:lnTo>
                <a:lnTo>
                  <a:pt x="438" y="194"/>
                </a:lnTo>
                <a:lnTo>
                  <a:pt x="427" y="194"/>
                </a:lnTo>
                <a:lnTo>
                  <a:pt x="413" y="195"/>
                </a:lnTo>
                <a:lnTo>
                  <a:pt x="397" y="197"/>
                </a:lnTo>
                <a:lnTo>
                  <a:pt x="376" y="200"/>
                </a:lnTo>
                <a:lnTo>
                  <a:pt x="355" y="203"/>
                </a:lnTo>
                <a:lnTo>
                  <a:pt x="336" y="204"/>
                </a:lnTo>
                <a:lnTo>
                  <a:pt x="321" y="205"/>
                </a:lnTo>
                <a:lnTo>
                  <a:pt x="307" y="206"/>
                </a:lnTo>
                <a:lnTo>
                  <a:pt x="297" y="205"/>
                </a:lnTo>
                <a:lnTo>
                  <a:pt x="286" y="203"/>
                </a:lnTo>
                <a:lnTo>
                  <a:pt x="277" y="201"/>
                </a:lnTo>
                <a:lnTo>
                  <a:pt x="268" y="195"/>
                </a:lnTo>
                <a:lnTo>
                  <a:pt x="264" y="193"/>
                </a:lnTo>
                <a:lnTo>
                  <a:pt x="261" y="190"/>
                </a:lnTo>
                <a:lnTo>
                  <a:pt x="259" y="187"/>
                </a:lnTo>
                <a:lnTo>
                  <a:pt x="257" y="182"/>
                </a:lnTo>
                <a:lnTo>
                  <a:pt x="254" y="179"/>
                </a:lnTo>
                <a:lnTo>
                  <a:pt x="253" y="174"/>
                </a:lnTo>
                <a:lnTo>
                  <a:pt x="252" y="169"/>
                </a:lnTo>
                <a:lnTo>
                  <a:pt x="252" y="164"/>
                </a:lnTo>
                <a:lnTo>
                  <a:pt x="252" y="158"/>
                </a:lnTo>
                <a:lnTo>
                  <a:pt x="254" y="150"/>
                </a:lnTo>
                <a:lnTo>
                  <a:pt x="257" y="143"/>
                </a:lnTo>
                <a:lnTo>
                  <a:pt x="259" y="137"/>
                </a:lnTo>
                <a:lnTo>
                  <a:pt x="266" y="125"/>
                </a:lnTo>
                <a:lnTo>
                  <a:pt x="274" y="115"/>
                </a:lnTo>
                <a:lnTo>
                  <a:pt x="281" y="106"/>
                </a:lnTo>
                <a:lnTo>
                  <a:pt x="288" y="93"/>
                </a:lnTo>
                <a:lnTo>
                  <a:pt x="291" y="86"/>
                </a:lnTo>
                <a:lnTo>
                  <a:pt x="293" y="79"/>
                </a:lnTo>
                <a:lnTo>
                  <a:pt x="294" y="71"/>
                </a:lnTo>
                <a:lnTo>
                  <a:pt x="294" y="64"/>
                </a:lnTo>
                <a:lnTo>
                  <a:pt x="294" y="56"/>
                </a:lnTo>
                <a:lnTo>
                  <a:pt x="293" y="50"/>
                </a:lnTo>
                <a:lnTo>
                  <a:pt x="292" y="43"/>
                </a:lnTo>
                <a:lnTo>
                  <a:pt x="289" y="37"/>
                </a:lnTo>
                <a:lnTo>
                  <a:pt x="287" y="31"/>
                </a:lnTo>
                <a:lnTo>
                  <a:pt x="282" y="26"/>
                </a:lnTo>
                <a:lnTo>
                  <a:pt x="279" y="21"/>
                </a:lnTo>
                <a:lnTo>
                  <a:pt x="274" y="16"/>
                </a:lnTo>
                <a:lnTo>
                  <a:pt x="268" y="13"/>
                </a:lnTo>
                <a:lnTo>
                  <a:pt x="263" y="10"/>
                </a:lnTo>
                <a:lnTo>
                  <a:pt x="258" y="6"/>
                </a:lnTo>
                <a:lnTo>
                  <a:pt x="251" y="4"/>
                </a:lnTo>
                <a:lnTo>
                  <a:pt x="245" y="2"/>
                </a:lnTo>
                <a:lnTo>
                  <a:pt x="237" y="1"/>
                </a:lnTo>
                <a:lnTo>
                  <a:pt x="231" y="0"/>
                </a:lnTo>
                <a:lnTo>
                  <a:pt x="223" y="0"/>
                </a:lnTo>
                <a:lnTo>
                  <a:pt x="216" y="0"/>
                </a:lnTo>
                <a:lnTo>
                  <a:pt x="208" y="1"/>
                </a:lnTo>
                <a:lnTo>
                  <a:pt x="200" y="2"/>
                </a:lnTo>
                <a:lnTo>
                  <a:pt x="193" y="4"/>
                </a:lnTo>
                <a:lnTo>
                  <a:pt x="186" y="6"/>
                </a:lnTo>
                <a:lnTo>
                  <a:pt x="180" y="10"/>
                </a:lnTo>
                <a:lnTo>
                  <a:pt x="174" y="13"/>
                </a:lnTo>
                <a:lnTo>
                  <a:pt x="168" y="17"/>
                </a:lnTo>
                <a:lnTo>
                  <a:pt x="163" y="21"/>
                </a:lnTo>
                <a:lnTo>
                  <a:pt x="158" y="27"/>
                </a:lnTo>
                <a:lnTo>
                  <a:pt x="155" y="32"/>
                </a:lnTo>
                <a:lnTo>
                  <a:pt x="152" y="38"/>
                </a:lnTo>
                <a:lnTo>
                  <a:pt x="149" y="44"/>
                </a:lnTo>
                <a:lnTo>
                  <a:pt x="147" y="51"/>
                </a:lnTo>
                <a:lnTo>
                  <a:pt x="146" y="58"/>
                </a:lnTo>
                <a:lnTo>
                  <a:pt x="145" y="66"/>
                </a:lnTo>
                <a:lnTo>
                  <a:pt x="146" y="73"/>
                </a:lnTo>
                <a:lnTo>
                  <a:pt x="147" y="82"/>
                </a:lnTo>
                <a:lnTo>
                  <a:pt x="149" y="90"/>
                </a:lnTo>
                <a:lnTo>
                  <a:pt x="152" y="97"/>
                </a:lnTo>
                <a:lnTo>
                  <a:pt x="157" y="111"/>
                </a:lnTo>
                <a:lnTo>
                  <a:pt x="165" y="122"/>
                </a:lnTo>
                <a:lnTo>
                  <a:pt x="171" y="132"/>
                </a:lnTo>
                <a:lnTo>
                  <a:pt x="177" y="141"/>
                </a:lnTo>
                <a:lnTo>
                  <a:pt x="180" y="147"/>
                </a:lnTo>
                <a:lnTo>
                  <a:pt x="181" y="152"/>
                </a:lnTo>
                <a:lnTo>
                  <a:pt x="182" y="156"/>
                </a:lnTo>
                <a:lnTo>
                  <a:pt x="183" y="161"/>
                </a:lnTo>
                <a:lnTo>
                  <a:pt x="182" y="169"/>
                </a:lnTo>
                <a:lnTo>
                  <a:pt x="179" y="178"/>
                </a:lnTo>
                <a:lnTo>
                  <a:pt x="173" y="187"/>
                </a:lnTo>
                <a:lnTo>
                  <a:pt x="165" y="195"/>
                </a:lnTo>
                <a:lnTo>
                  <a:pt x="162" y="197"/>
                </a:lnTo>
                <a:lnTo>
                  <a:pt x="157" y="201"/>
                </a:lnTo>
                <a:lnTo>
                  <a:pt x="153" y="203"/>
                </a:lnTo>
                <a:lnTo>
                  <a:pt x="147" y="205"/>
                </a:lnTo>
                <a:lnTo>
                  <a:pt x="135" y="207"/>
                </a:lnTo>
                <a:lnTo>
                  <a:pt x="120" y="208"/>
                </a:lnTo>
                <a:lnTo>
                  <a:pt x="101" y="207"/>
                </a:lnTo>
                <a:lnTo>
                  <a:pt x="79" y="206"/>
                </a:lnTo>
                <a:lnTo>
                  <a:pt x="55" y="203"/>
                </a:lnTo>
                <a:lnTo>
                  <a:pt x="28" y="199"/>
                </a:lnTo>
                <a:lnTo>
                  <a:pt x="24" y="199"/>
                </a:lnTo>
                <a:lnTo>
                  <a:pt x="19" y="197"/>
                </a:lnTo>
                <a:lnTo>
                  <a:pt x="12" y="196"/>
                </a:lnTo>
                <a:lnTo>
                  <a:pt x="6" y="195"/>
                </a:lnTo>
                <a:lnTo>
                  <a:pt x="2" y="195"/>
                </a:lnTo>
                <a:lnTo>
                  <a:pt x="0" y="194"/>
                </a:lnTo>
                <a:lnTo>
                  <a:pt x="0" y="584"/>
                </a:lnTo>
                <a:lnTo>
                  <a:pt x="0" y="584"/>
                </a:lnTo>
                <a:lnTo>
                  <a:pt x="1" y="584"/>
                </a:lnTo>
                <a:lnTo>
                  <a:pt x="1" y="585"/>
                </a:lnTo>
                <a:lnTo>
                  <a:pt x="2" y="585"/>
                </a:lnTo>
                <a:lnTo>
                  <a:pt x="7" y="585"/>
                </a:lnTo>
                <a:lnTo>
                  <a:pt x="11" y="586"/>
                </a:lnTo>
                <a:lnTo>
                  <a:pt x="17" y="587"/>
                </a:lnTo>
                <a:lnTo>
                  <a:pt x="23" y="588"/>
                </a:lnTo>
                <a:lnTo>
                  <a:pt x="28" y="588"/>
                </a:lnTo>
                <a:lnTo>
                  <a:pt x="55" y="593"/>
                </a:lnTo>
                <a:lnTo>
                  <a:pt x="79" y="596"/>
                </a:lnTo>
                <a:lnTo>
                  <a:pt x="101" y="597"/>
                </a:lnTo>
                <a:lnTo>
                  <a:pt x="120" y="598"/>
                </a:lnTo>
                <a:lnTo>
                  <a:pt x="135" y="597"/>
                </a:lnTo>
                <a:lnTo>
                  <a:pt x="147" y="595"/>
                </a:lnTo>
                <a:lnTo>
                  <a:pt x="153" y="593"/>
                </a:lnTo>
                <a:lnTo>
                  <a:pt x="157" y="591"/>
                </a:lnTo>
                <a:lnTo>
                  <a:pt x="162" y="587"/>
                </a:lnTo>
                <a:lnTo>
                  <a:pt x="165" y="584"/>
                </a:lnTo>
                <a:lnTo>
                  <a:pt x="173" y="576"/>
                </a:lnTo>
                <a:lnTo>
                  <a:pt x="179" y="568"/>
                </a:lnTo>
                <a:lnTo>
                  <a:pt x="182" y="559"/>
                </a:lnTo>
                <a:lnTo>
                  <a:pt x="183" y="551"/>
                </a:lnTo>
                <a:lnTo>
                  <a:pt x="182" y="546"/>
                </a:lnTo>
                <a:lnTo>
                  <a:pt x="181" y="542"/>
                </a:lnTo>
                <a:lnTo>
                  <a:pt x="180" y="537"/>
                </a:lnTo>
                <a:lnTo>
                  <a:pt x="177" y="531"/>
                </a:lnTo>
                <a:lnTo>
                  <a:pt x="171" y="521"/>
                </a:lnTo>
                <a:lnTo>
                  <a:pt x="165" y="512"/>
                </a:lnTo>
                <a:lnTo>
                  <a:pt x="157" y="501"/>
                </a:lnTo>
                <a:lnTo>
                  <a:pt x="152" y="487"/>
                </a:lnTo>
                <a:lnTo>
                  <a:pt x="149" y="479"/>
                </a:lnTo>
                <a:lnTo>
                  <a:pt x="147" y="471"/>
                </a:lnTo>
                <a:lnTo>
                  <a:pt x="146" y="463"/>
                </a:lnTo>
                <a:lnTo>
                  <a:pt x="145" y="456"/>
                </a:lnTo>
                <a:lnTo>
                  <a:pt x="146" y="448"/>
                </a:lnTo>
                <a:lnTo>
                  <a:pt x="147" y="440"/>
                </a:lnTo>
                <a:lnTo>
                  <a:pt x="149" y="434"/>
                </a:lnTo>
                <a:lnTo>
                  <a:pt x="152" y="427"/>
                </a:lnTo>
                <a:lnTo>
                  <a:pt x="155" y="421"/>
                </a:lnTo>
                <a:lnTo>
                  <a:pt x="158" y="416"/>
                </a:lnTo>
                <a:lnTo>
                  <a:pt x="163" y="411"/>
                </a:lnTo>
                <a:lnTo>
                  <a:pt x="168" y="407"/>
                </a:lnTo>
                <a:lnTo>
                  <a:pt x="174" y="403"/>
                </a:lnTo>
                <a:lnTo>
                  <a:pt x="180" y="399"/>
                </a:lnTo>
                <a:lnTo>
                  <a:pt x="186" y="396"/>
                </a:lnTo>
                <a:lnTo>
                  <a:pt x="193" y="394"/>
                </a:lnTo>
                <a:lnTo>
                  <a:pt x="200" y="392"/>
                </a:lnTo>
                <a:lnTo>
                  <a:pt x="207" y="391"/>
                </a:lnTo>
                <a:lnTo>
                  <a:pt x="214" y="390"/>
                </a:lnTo>
                <a:lnTo>
                  <a:pt x="223" y="390"/>
                </a:lnTo>
                <a:lnTo>
                  <a:pt x="231" y="390"/>
                </a:lnTo>
                <a:lnTo>
                  <a:pt x="237" y="391"/>
                </a:lnTo>
                <a:lnTo>
                  <a:pt x="245" y="392"/>
                </a:lnTo>
                <a:lnTo>
                  <a:pt x="251" y="394"/>
                </a:lnTo>
                <a:lnTo>
                  <a:pt x="258" y="396"/>
                </a:lnTo>
                <a:lnTo>
                  <a:pt x="263" y="398"/>
                </a:lnTo>
                <a:lnTo>
                  <a:pt x="268" y="403"/>
                </a:lnTo>
                <a:lnTo>
                  <a:pt x="274" y="406"/>
                </a:lnTo>
                <a:lnTo>
                  <a:pt x="279" y="410"/>
                </a:lnTo>
                <a:lnTo>
                  <a:pt x="284" y="416"/>
                </a:lnTo>
                <a:lnTo>
                  <a:pt x="287" y="421"/>
                </a:lnTo>
                <a:lnTo>
                  <a:pt x="289" y="426"/>
                </a:lnTo>
                <a:lnTo>
                  <a:pt x="292" y="433"/>
                </a:lnTo>
                <a:lnTo>
                  <a:pt x="293" y="439"/>
                </a:lnTo>
                <a:lnTo>
                  <a:pt x="294" y="446"/>
                </a:lnTo>
                <a:lnTo>
                  <a:pt x="294" y="453"/>
                </a:lnTo>
                <a:lnTo>
                  <a:pt x="294" y="461"/>
                </a:lnTo>
                <a:lnTo>
                  <a:pt x="293" y="469"/>
                </a:lnTo>
                <a:lnTo>
                  <a:pt x="291" y="476"/>
                </a:lnTo>
                <a:lnTo>
                  <a:pt x="288" y="483"/>
                </a:lnTo>
                <a:lnTo>
                  <a:pt x="281" y="495"/>
                </a:lnTo>
                <a:lnTo>
                  <a:pt x="274" y="505"/>
                </a:lnTo>
                <a:lnTo>
                  <a:pt x="266" y="515"/>
                </a:lnTo>
                <a:lnTo>
                  <a:pt x="259" y="527"/>
                </a:lnTo>
                <a:lnTo>
                  <a:pt x="257" y="533"/>
                </a:lnTo>
                <a:lnTo>
                  <a:pt x="254" y="540"/>
                </a:lnTo>
                <a:lnTo>
                  <a:pt x="252" y="546"/>
                </a:lnTo>
                <a:lnTo>
                  <a:pt x="252" y="554"/>
                </a:lnTo>
                <a:lnTo>
                  <a:pt x="252" y="559"/>
                </a:lnTo>
                <a:lnTo>
                  <a:pt x="253" y="564"/>
                </a:lnTo>
                <a:lnTo>
                  <a:pt x="254" y="568"/>
                </a:lnTo>
                <a:lnTo>
                  <a:pt x="257" y="572"/>
                </a:lnTo>
                <a:lnTo>
                  <a:pt x="259" y="576"/>
                </a:lnTo>
                <a:lnTo>
                  <a:pt x="261" y="580"/>
                </a:lnTo>
                <a:lnTo>
                  <a:pt x="264" y="583"/>
                </a:lnTo>
                <a:lnTo>
                  <a:pt x="268" y="585"/>
                </a:lnTo>
                <a:lnTo>
                  <a:pt x="277" y="589"/>
                </a:lnTo>
                <a:lnTo>
                  <a:pt x="286" y="593"/>
                </a:lnTo>
                <a:lnTo>
                  <a:pt x="297" y="595"/>
                </a:lnTo>
                <a:lnTo>
                  <a:pt x="307" y="596"/>
                </a:lnTo>
                <a:lnTo>
                  <a:pt x="316" y="595"/>
                </a:lnTo>
                <a:lnTo>
                  <a:pt x="326" y="595"/>
                </a:lnTo>
                <a:lnTo>
                  <a:pt x="335" y="595"/>
                </a:lnTo>
                <a:lnTo>
                  <a:pt x="345" y="594"/>
                </a:lnTo>
                <a:lnTo>
                  <a:pt x="355" y="593"/>
                </a:lnTo>
                <a:lnTo>
                  <a:pt x="366" y="592"/>
                </a:lnTo>
                <a:lnTo>
                  <a:pt x="376" y="589"/>
                </a:lnTo>
                <a:lnTo>
                  <a:pt x="388" y="588"/>
                </a:lnTo>
                <a:lnTo>
                  <a:pt x="400" y="587"/>
                </a:lnTo>
                <a:lnTo>
                  <a:pt x="410" y="586"/>
                </a:lnTo>
                <a:lnTo>
                  <a:pt x="419" y="585"/>
                </a:lnTo>
                <a:lnTo>
                  <a:pt x="426" y="584"/>
                </a:lnTo>
                <a:lnTo>
                  <a:pt x="432" y="584"/>
                </a:lnTo>
                <a:lnTo>
                  <a:pt x="438" y="584"/>
                </a:lnTo>
                <a:lnTo>
                  <a:pt x="438" y="582"/>
                </a:lnTo>
                <a:lnTo>
                  <a:pt x="438" y="573"/>
                </a:lnTo>
                <a:lnTo>
                  <a:pt x="437" y="564"/>
                </a:lnTo>
                <a:lnTo>
                  <a:pt x="436" y="552"/>
                </a:lnTo>
                <a:lnTo>
                  <a:pt x="433" y="538"/>
                </a:lnTo>
                <a:lnTo>
                  <a:pt x="430" y="525"/>
                </a:lnTo>
                <a:lnTo>
                  <a:pt x="428" y="513"/>
                </a:lnTo>
                <a:lnTo>
                  <a:pt x="427" y="503"/>
                </a:lnTo>
                <a:lnTo>
                  <a:pt x="426" y="494"/>
                </a:lnTo>
                <a:lnTo>
                  <a:pt x="427" y="484"/>
                </a:lnTo>
                <a:lnTo>
                  <a:pt x="429" y="474"/>
                </a:lnTo>
                <a:lnTo>
                  <a:pt x="433" y="465"/>
                </a:lnTo>
                <a:lnTo>
                  <a:pt x="437" y="459"/>
                </a:lnTo>
                <a:lnTo>
                  <a:pt x="443" y="453"/>
                </a:lnTo>
                <a:lnTo>
                  <a:pt x="450" y="450"/>
                </a:lnTo>
                <a:lnTo>
                  <a:pt x="459" y="448"/>
                </a:lnTo>
                <a:lnTo>
                  <a:pt x="468" y="447"/>
                </a:lnTo>
                <a:lnTo>
                  <a:pt x="476" y="448"/>
                </a:lnTo>
                <a:lnTo>
                  <a:pt x="482" y="449"/>
                </a:lnTo>
                <a:lnTo>
                  <a:pt x="489" y="451"/>
                </a:lnTo>
                <a:lnTo>
                  <a:pt x="495" y="453"/>
                </a:lnTo>
                <a:lnTo>
                  <a:pt x="507" y="461"/>
                </a:lnTo>
                <a:lnTo>
                  <a:pt x="517" y="469"/>
                </a:lnTo>
                <a:lnTo>
                  <a:pt x="527" y="476"/>
                </a:lnTo>
                <a:lnTo>
                  <a:pt x="540" y="483"/>
                </a:lnTo>
                <a:lnTo>
                  <a:pt x="546" y="486"/>
                </a:lnTo>
                <a:lnTo>
                  <a:pt x="554" y="488"/>
                </a:lnTo>
                <a:lnTo>
                  <a:pt x="561" y="489"/>
                </a:lnTo>
                <a:lnTo>
                  <a:pt x="569" y="489"/>
                </a:lnTo>
                <a:lnTo>
                  <a:pt x="576" y="489"/>
                </a:lnTo>
                <a:lnTo>
                  <a:pt x="583" y="488"/>
                </a:lnTo>
                <a:lnTo>
                  <a:pt x="589" y="487"/>
                </a:lnTo>
                <a:lnTo>
                  <a:pt x="596" y="485"/>
                </a:lnTo>
                <a:lnTo>
                  <a:pt x="601" y="481"/>
                </a:lnTo>
                <a:lnTo>
                  <a:pt x="606" y="478"/>
                </a:lnTo>
                <a:lnTo>
                  <a:pt x="612" y="474"/>
                </a:lnTo>
                <a:lnTo>
                  <a:pt x="616" y="469"/>
                </a:lnTo>
                <a:lnTo>
                  <a:pt x="619" y="463"/>
                </a:lnTo>
                <a:lnTo>
                  <a:pt x="624" y="458"/>
                </a:lnTo>
                <a:lnTo>
                  <a:pt x="626" y="452"/>
                </a:lnTo>
                <a:lnTo>
                  <a:pt x="629" y="446"/>
                </a:lnTo>
                <a:lnTo>
                  <a:pt x="630" y="439"/>
                </a:lnTo>
                <a:lnTo>
                  <a:pt x="631" y="432"/>
                </a:lnTo>
                <a:lnTo>
                  <a:pt x="632" y="425"/>
                </a:lnTo>
                <a:lnTo>
                  <a:pt x="632" y="418"/>
                </a:lnTo>
                <a:lnTo>
                  <a:pt x="632" y="409"/>
                </a:lnTo>
                <a:lnTo>
                  <a:pt x="631" y="402"/>
                </a:lnTo>
                <a:lnTo>
                  <a:pt x="630" y="395"/>
                </a:lnTo>
                <a:lnTo>
                  <a:pt x="628" y="388"/>
                </a:lnTo>
                <a:lnTo>
                  <a:pt x="626" y="381"/>
                </a:lnTo>
                <a:lnTo>
                  <a:pt x="623" y="375"/>
                </a:lnTo>
                <a:lnTo>
                  <a:pt x="619" y="369"/>
                </a:lnTo>
                <a:lnTo>
                  <a:pt x="615" y="363"/>
                </a:lnTo>
                <a:close/>
              </a:path>
            </a:pathLst>
          </a:custGeom>
          <a:solidFill>
            <a:schemeClr val="bg1"/>
          </a:solidFill>
          <a:ln>
            <a:noFill/>
          </a:ln>
        </p:spPr>
        <p:txBody>
          <a:bodyPr vert="horz" wrap="square" lIns="487488" tIns="243744" rIns="487488" bIns="243744" numCol="1" anchor="t" anchorCtr="0" compatLnSpc="1">
            <a:prstTxWarp prst="textNoShape">
              <a:avLst/>
            </a:prstTxWarp>
          </a:bodyPr>
          <a:lstStyle/>
          <a:p>
            <a:endParaRPr lang="ru-RU" sz="4800"/>
          </a:p>
        </p:txBody>
      </p:sp>
    </p:spTree>
    <p:extLst>
      <p:ext uri="{BB962C8B-B14F-4D97-AF65-F5344CB8AC3E}">
        <p14:creationId xmlns:p14="http://schemas.microsoft.com/office/powerpoint/2010/main" val="393799667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1_Images with description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413F907-AE77-0746-B805-0D2E5F01B01D}"/>
              </a:ext>
            </a:extLst>
          </p:cNvPr>
          <p:cNvSpPr>
            <a:spLocks noGrp="1"/>
          </p:cNvSpPr>
          <p:nvPr>
            <p:ph type="pic" sz="quarter" idx="17" hasCustomPrompt="1"/>
          </p:nvPr>
        </p:nvSpPr>
        <p:spPr>
          <a:xfrm>
            <a:off x="1710106" y="4124211"/>
            <a:ext cx="6113952" cy="4606926"/>
          </a:xfrm>
          <a:solidFill>
            <a:srgbClr val="E4E5E3"/>
          </a:solidFill>
        </p:spPr>
        <p:txBody>
          <a:bodyPr>
            <a:normAutofit/>
          </a:bodyPr>
          <a:lstStyle>
            <a:lvl1pPr marL="0" marR="0" indent="0" algn="l" defTabSz="182848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9167072" y="4124211"/>
            <a:ext cx="6113952" cy="4606926"/>
          </a:xfrm>
          <a:solidFill>
            <a:srgbClr val="E4E5E3"/>
          </a:solidFill>
        </p:spPr>
        <p:txBody>
          <a:bodyPr>
            <a:normAutofit/>
          </a:bodyPr>
          <a:lstStyle>
            <a:lvl1pPr marL="0" marR="0" indent="0" algn="l" defTabSz="182848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13" name="Picture Placeholder 2">
            <a:extLst>
              <a:ext uri="{FF2B5EF4-FFF2-40B4-BE49-F238E27FC236}">
                <a16:creationId xmlns:a16="http://schemas.microsoft.com/office/drawing/2014/main" id="{AADE64AA-EB12-9B42-B094-87CAEF84C4AB}"/>
              </a:ext>
            </a:extLst>
          </p:cNvPr>
          <p:cNvSpPr>
            <a:spLocks noGrp="1"/>
          </p:cNvSpPr>
          <p:nvPr>
            <p:ph type="pic" sz="quarter" idx="23" hasCustomPrompt="1"/>
          </p:nvPr>
        </p:nvSpPr>
        <p:spPr>
          <a:xfrm>
            <a:off x="16545286" y="4124211"/>
            <a:ext cx="6113952" cy="4606926"/>
          </a:xfrm>
          <a:solidFill>
            <a:srgbClr val="E4E5E3"/>
          </a:solidFill>
        </p:spPr>
        <p:txBody>
          <a:bodyPr>
            <a:normAutofit/>
          </a:bodyPr>
          <a:lstStyle>
            <a:lvl1pPr marL="0" marR="0" indent="0" algn="l" defTabSz="182848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14" name="Title 1">
            <a:extLst>
              <a:ext uri="{FF2B5EF4-FFF2-40B4-BE49-F238E27FC236}">
                <a16:creationId xmlns:a16="http://schemas.microsoft.com/office/drawing/2014/main" id="{15330994-19DA-9E46-A2E3-C446A8DB80A5}"/>
              </a:ext>
            </a:extLst>
          </p:cNvPr>
          <p:cNvSpPr>
            <a:spLocks noGrp="1"/>
          </p:cNvSpPr>
          <p:nvPr>
            <p:ph type="title" hasCustomPrompt="1"/>
          </p:nvPr>
        </p:nvSpPr>
        <p:spPr>
          <a:xfrm>
            <a:off x="1676293" y="1677605"/>
            <a:ext cx="21033007" cy="2450978"/>
          </a:xfrm>
          <a:prstGeom prst="rect">
            <a:avLst/>
          </a:prstGeom>
        </p:spPr>
        <p:txBody>
          <a:bodyPr/>
          <a:lstStyle>
            <a:lvl1pPr>
              <a:lnSpc>
                <a:spcPct val="100000"/>
              </a:lnSpc>
              <a:defRPr sz="7200"/>
            </a:lvl1pPr>
          </a:lstStyle>
          <a:p>
            <a:r>
              <a:rPr lang="en-US"/>
              <a:t>Put the slide headline here</a:t>
            </a:r>
          </a:p>
        </p:txBody>
      </p:sp>
      <p:sp>
        <p:nvSpPr>
          <p:cNvPr id="15" name="Text Placeholder 5">
            <a:extLst>
              <a:ext uri="{FF2B5EF4-FFF2-40B4-BE49-F238E27FC236}">
                <a16:creationId xmlns:a16="http://schemas.microsoft.com/office/drawing/2014/main" id="{EA551AE1-5794-8645-B13C-A75DC3F29BBC}"/>
              </a:ext>
            </a:extLst>
          </p:cNvPr>
          <p:cNvSpPr>
            <a:spLocks noGrp="1"/>
          </p:cNvSpPr>
          <p:nvPr>
            <p:ph type="body" sz="quarter" idx="12" hasCustomPrompt="1"/>
          </p:nvPr>
        </p:nvSpPr>
        <p:spPr>
          <a:xfrm>
            <a:off x="1710106" y="9038944"/>
            <a:ext cx="6113952" cy="2859616"/>
          </a:xfrm>
        </p:spPr>
        <p:txBody>
          <a:bodyPr>
            <a:noAutofit/>
          </a:bodyPr>
          <a:lstStyle>
            <a:lvl1pPr>
              <a:spcBef>
                <a:spcPts val="0"/>
              </a:spcBef>
              <a:defRPr sz="2800"/>
            </a:lvl1pPr>
          </a:lstStyle>
          <a:p>
            <a:pPr lvl="0"/>
            <a:r>
              <a:rPr lang="en-US"/>
              <a:t>Put the body text or caption here</a:t>
            </a:r>
            <a:endParaRPr lang="en-GB"/>
          </a:p>
        </p:txBody>
      </p:sp>
      <p:sp>
        <p:nvSpPr>
          <p:cNvPr id="16" name="Text Placeholder 5">
            <a:extLst>
              <a:ext uri="{FF2B5EF4-FFF2-40B4-BE49-F238E27FC236}">
                <a16:creationId xmlns:a16="http://schemas.microsoft.com/office/drawing/2014/main" id="{50C5C652-3240-6341-9095-4EF7D7DC26F2}"/>
              </a:ext>
            </a:extLst>
          </p:cNvPr>
          <p:cNvSpPr>
            <a:spLocks noGrp="1"/>
          </p:cNvSpPr>
          <p:nvPr>
            <p:ph type="body" sz="quarter" idx="30" hasCustomPrompt="1"/>
          </p:nvPr>
        </p:nvSpPr>
        <p:spPr>
          <a:xfrm>
            <a:off x="9134234" y="9038944"/>
            <a:ext cx="6113952" cy="2859616"/>
          </a:xfrm>
        </p:spPr>
        <p:txBody>
          <a:bodyPr>
            <a:noAutofit/>
          </a:bodyPr>
          <a:lstStyle>
            <a:lvl1pPr>
              <a:spcBef>
                <a:spcPts val="0"/>
              </a:spcBef>
              <a:defRPr sz="2800"/>
            </a:lvl1pPr>
          </a:lstStyle>
          <a:p>
            <a:pPr lvl="0"/>
            <a:r>
              <a:rPr lang="en-US"/>
              <a:t>Put the body text or caption here</a:t>
            </a:r>
            <a:endParaRPr lang="en-GB"/>
          </a:p>
        </p:txBody>
      </p:sp>
      <p:sp>
        <p:nvSpPr>
          <p:cNvPr id="25" name="Text Placeholder 5">
            <a:extLst>
              <a:ext uri="{FF2B5EF4-FFF2-40B4-BE49-F238E27FC236}">
                <a16:creationId xmlns:a16="http://schemas.microsoft.com/office/drawing/2014/main" id="{154F45D7-B176-5742-A305-63E532076396}"/>
              </a:ext>
            </a:extLst>
          </p:cNvPr>
          <p:cNvSpPr>
            <a:spLocks noGrp="1"/>
          </p:cNvSpPr>
          <p:nvPr>
            <p:ph type="body" sz="quarter" idx="31" hasCustomPrompt="1"/>
          </p:nvPr>
        </p:nvSpPr>
        <p:spPr>
          <a:xfrm>
            <a:off x="16595353" y="9038944"/>
            <a:ext cx="6113952" cy="2859616"/>
          </a:xfrm>
        </p:spPr>
        <p:txBody>
          <a:bodyPr>
            <a:noAutofit/>
          </a:bodyPr>
          <a:lstStyle>
            <a:lvl1pPr>
              <a:spcBef>
                <a:spcPts val="0"/>
              </a:spcBef>
              <a:defRPr sz="2800"/>
            </a:lvl1pPr>
          </a:lstStyle>
          <a:p>
            <a:pPr lvl="0"/>
            <a:r>
              <a:rPr lang="en-US"/>
              <a:t>Put the body text or caption here</a:t>
            </a:r>
            <a:endParaRPr lang="en-GB"/>
          </a:p>
        </p:txBody>
      </p:sp>
    </p:spTree>
    <p:extLst>
      <p:ext uri="{BB962C8B-B14F-4D97-AF65-F5344CB8AC3E}">
        <p14:creationId xmlns:p14="http://schemas.microsoft.com/office/powerpoint/2010/main" val="149207877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1_Chapter name on colour background or image">
    <p:bg>
      <p:bgPr>
        <a:solidFill>
          <a:schemeClr val="bg1"/>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9F99187E-75C3-704C-B702-5FF1467E154C}"/>
              </a:ext>
            </a:extLst>
          </p:cNvPr>
          <p:cNvSpPr>
            <a:spLocks noGrp="1"/>
          </p:cNvSpPr>
          <p:nvPr>
            <p:ph type="subTitle" idx="1" hasCustomPrompt="1"/>
          </p:nvPr>
        </p:nvSpPr>
        <p:spPr>
          <a:xfrm>
            <a:off x="1700170" y="3905672"/>
            <a:ext cx="15531275" cy="5904656"/>
          </a:xfrm>
        </p:spPr>
        <p:txBody>
          <a:bodyPr anchor="ctr" anchorCtr="0">
            <a:noAutofit/>
          </a:bodyPr>
          <a:lstStyle>
            <a:lvl1pPr marL="0" indent="0" algn="l">
              <a:lnSpc>
                <a:spcPct val="100000"/>
              </a:lnSpc>
              <a:buNone/>
              <a:defRPr sz="11999" b="1" spc="-200" baseline="0">
                <a:latin typeface="Noto IKEA Latin" panose="020B0502040504020204" pitchFamily="34" charset="0"/>
              </a:defRPr>
            </a:lvl1pPr>
            <a:lvl2pPr marL="914240" indent="0" algn="ctr">
              <a:buNone/>
              <a:defRPr sz="4000"/>
            </a:lvl2pPr>
            <a:lvl3pPr marL="1828483" indent="0" algn="ctr">
              <a:buNone/>
              <a:defRPr sz="3600"/>
            </a:lvl3pPr>
            <a:lvl4pPr marL="2742723" indent="0" algn="ctr">
              <a:buNone/>
              <a:defRPr sz="3200"/>
            </a:lvl4pPr>
            <a:lvl5pPr marL="3656961" indent="0" algn="ctr">
              <a:buNone/>
              <a:defRPr sz="3200"/>
            </a:lvl5pPr>
            <a:lvl6pPr marL="4571201" indent="0" algn="ctr">
              <a:buNone/>
              <a:defRPr sz="3200"/>
            </a:lvl6pPr>
            <a:lvl7pPr marL="5485440" indent="0" algn="ctr">
              <a:buNone/>
              <a:defRPr sz="3200"/>
            </a:lvl7pPr>
            <a:lvl8pPr marL="6399680" indent="0" algn="ctr">
              <a:buNone/>
              <a:defRPr sz="3200"/>
            </a:lvl8pPr>
            <a:lvl9pPr marL="7313920" indent="0" algn="ctr">
              <a:buNone/>
              <a:defRPr sz="3200"/>
            </a:lvl9pPr>
          </a:lstStyle>
          <a:p>
            <a:r>
              <a:rPr lang="en-GB" noProof="0"/>
              <a:t>Put the chapter headline here, </a:t>
            </a:r>
            <a:br>
              <a:rPr lang="en-GB" noProof="0"/>
            </a:br>
            <a:r>
              <a:rPr lang="en-GB" noProof="0"/>
              <a:t>keep it bold 60 </a:t>
            </a:r>
            <a:r>
              <a:rPr lang="en-GB" noProof="0" err="1"/>
              <a:t>pt</a:t>
            </a:r>
            <a:endParaRPr lang="en-GB" noProof="0"/>
          </a:p>
        </p:txBody>
      </p:sp>
      <p:sp>
        <p:nvSpPr>
          <p:cNvPr id="7" name="Text Placeholder 3">
            <a:extLst>
              <a:ext uri="{FF2B5EF4-FFF2-40B4-BE49-F238E27FC236}">
                <a16:creationId xmlns:a16="http://schemas.microsoft.com/office/drawing/2014/main" id="{6197EBF1-7F60-D44A-93CB-4809CDC33B1D}"/>
              </a:ext>
            </a:extLst>
          </p:cNvPr>
          <p:cNvSpPr>
            <a:spLocks noGrp="1"/>
          </p:cNvSpPr>
          <p:nvPr>
            <p:ph type="body" sz="quarter" idx="18" hasCustomPrompt="1"/>
          </p:nvPr>
        </p:nvSpPr>
        <p:spPr>
          <a:xfrm rot="5400000">
            <a:off x="20902621" y="2898382"/>
            <a:ext cx="5759746" cy="719337"/>
          </a:xfrm>
        </p:spPr>
        <p:txBody>
          <a:bodyPr anchor="ctr"/>
          <a:lstStyle>
            <a:lvl1pPr>
              <a:defRPr sz="1600">
                <a:solidFill>
                  <a:schemeClr val="tx1">
                    <a:lumMod val="50000"/>
                    <a:lumOff val="50000"/>
                  </a:schemeClr>
                </a:solidFill>
              </a:defRPr>
            </a:lvl1pPr>
          </a:lstStyle>
          <a:p>
            <a:pPr lvl="0"/>
            <a:r>
              <a:rPr lang="en-US"/>
              <a:t>© Inter IKEA Systems B.V. 2020</a:t>
            </a:r>
            <a:endParaRPr lang="en-GB"/>
          </a:p>
        </p:txBody>
      </p:sp>
    </p:spTree>
    <p:extLst>
      <p:ext uri="{BB962C8B-B14F-4D97-AF65-F5344CB8AC3E}">
        <p14:creationId xmlns:p14="http://schemas.microsoft.com/office/powerpoint/2010/main" val="393004046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1_Chapter name with number on colour background or image">
    <p:bg>
      <p:bgPr>
        <a:solidFill>
          <a:schemeClr val="bg1"/>
        </a:solidFill>
        <a:effectLst/>
      </p:bgPr>
    </p:bg>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85D87CF5-198A-D24A-8C46-75F45766C3CF}"/>
              </a:ext>
            </a:extLst>
          </p:cNvPr>
          <p:cNvSpPr>
            <a:spLocks noGrp="1"/>
          </p:cNvSpPr>
          <p:nvPr>
            <p:ph type="pic" sz="quarter" idx="14" hasCustomPrompt="1"/>
          </p:nvPr>
        </p:nvSpPr>
        <p:spPr>
          <a:xfrm>
            <a:off x="0" y="0"/>
            <a:ext cx="24382413" cy="13716000"/>
          </a:xfrm>
          <a:solidFill>
            <a:srgbClr val="E4E5E3"/>
          </a:solidFill>
        </p:spPr>
        <p:txBody>
          <a:bodyPr>
            <a:normAutofit/>
          </a:bodyPr>
          <a:lstStyle>
            <a:lvl1pPr marL="0" marR="0" indent="0" algn="l" defTabSz="182848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Select a colour for background. Or drag and drop to add a picture</a:t>
            </a:r>
          </a:p>
        </p:txBody>
      </p:sp>
      <p:sp>
        <p:nvSpPr>
          <p:cNvPr id="15" name="Text Placeholder 4">
            <a:extLst>
              <a:ext uri="{FF2B5EF4-FFF2-40B4-BE49-F238E27FC236}">
                <a16:creationId xmlns:a16="http://schemas.microsoft.com/office/drawing/2014/main" id="{D692063E-373D-9A4C-B3F2-4CED294F18A0}"/>
              </a:ext>
            </a:extLst>
          </p:cNvPr>
          <p:cNvSpPr>
            <a:spLocks noGrp="1"/>
          </p:cNvSpPr>
          <p:nvPr>
            <p:ph type="body" sz="quarter" idx="11" hasCustomPrompt="1"/>
          </p:nvPr>
        </p:nvSpPr>
        <p:spPr>
          <a:xfrm>
            <a:off x="481101" y="3905672"/>
            <a:ext cx="8076674" cy="5904656"/>
          </a:xfrm>
        </p:spPr>
        <p:txBody>
          <a:bodyPr anchor="ctr" anchorCtr="0">
            <a:noAutofit/>
          </a:bodyPr>
          <a:lstStyle>
            <a:lvl1pPr marL="0" indent="0" algn="ctr">
              <a:buNone/>
              <a:defRPr sz="49992" b="1" spc="-600" baseline="0">
                <a:ln>
                  <a:noFill/>
                </a:ln>
                <a:solidFill>
                  <a:schemeClr val="tx1"/>
                </a:solidFill>
              </a:defRPr>
            </a:lvl1pPr>
          </a:lstStyle>
          <a:p>
            <a:pPr lvl="0"/>
            <a:r>
              <a:rPr lang="en-GB" noProof="0"/>
              <a:t>#</a:t>
            </a:r>
          </a:p>
        </p:txBody>
      </p:sp>
      <p:sp>
        <p:nvSpPr>
          <p:cNvPr id="8" name="Subtitle 2">
            <a:extLst>
              <a:ext uri="{FF2B5EF4-FFF2-40B4-BE49-F238E27FC236}">
                <a16:creationId xmlns:a16="http://schemas.microsoft.com/office/drawing/2014/main" id="{03179F04-E3DD-714F-9E83-2F320F41AF4B}"/>
              </a:ext>
            </a:extLst>
          </p:cNvPr>
          <p:cNvSpPr>
            <a:spLocks noGrp="1"/>
          </p:cNvSpPr>
          <p:nvPr>
            <p:ph type="subTitle" idx="1" hasCustomPrompt="1"/>
          </p:nvPr>
        </p:nvSpPr>
        <p:spPr>
          <a:xfrm>
            <a:off x="8784128" y="3905672"/>
            <a:ext cx="14400663" cy="5904656"/>
          </a:xfrm>
        </p:spPr>
        <p:txBody>
          <a:bodyPr anchor="ctr" anchorCtr="0">
            <a:noAutofit/>
          </a:bodyPr>
          <a:lstStyle>
            <a:lvl1pPr marL="0" indent="0" algn="l">
              <a:lnSpc>
                <a:spcPct val="100000"/>
              </a:lnSpc>
              <a:buNone/>
              <a:defRPr sz="11999" b="1" spc="-200" baseline="0">
                <a:latin typeface="Noto IKEA Latin" panose="020B0502040504020204" pitchFamily="34" charset="0"/>
              </a:defRPr>
            </a:lvl1pPr>
            <a:lvl2pPr marL="914240" indent="0" algn="ctr">
              <a:buNone/>
              <a:defRPr sz="4000"/>
            </a:lvl2pPr>
            <a:lvl3pPr marL="1828483" indent="0" algn="ctr">
              <a:buNone/>
              <a:defRPr sz="3600"/>
            </a:lvl3pPr>
            <a:lvl4pPr marL="2742723" indent="0" algn="ctr">
              <a:buNone/>
              <a:defRPr sz="3200"/>
            </a:lvl4pPr>
            <a:lvl5pPr marL="3656961" indent="0" algn="ctr">
              <a:buNone/>
              <a:defRPr sz="3200"/>
            </a:lvl5pPr>
            <a:lvl6pPr marL="4571201" indent="0" algn="ctr">
              <a:buNone/>
              <a:defRPr sz="3200"/>
            </a:lvl6pPr>
            <a:lvl7pPr marL="5485440" indent="0" algn="ctr">
              <a:buNone/>
              <a:defRPr sz="3200"/>
            </a:lvl7pPr>
            <a:lvl8pPr marL="6399680" indent="0" algn="ctr">
              <a:buNone/>
              <a:defRPr sz="3200"/>
            </a:lvl8pPr>
            <a:lvl9pPr marL="7313920" indent="0" algn="ctr">
              <a:buNone/>
              <a:defRPr sz="3200"/>
            </a:lvl9pPr>
          </a:lstStyle>
          <a:p>
            <a:r>
              <a:rPr lang="en-GB" noProof="0"/>
              <a:t>Put the chapter headline here, </a:t>
            </a:r>
            <a:br>
              <a:rPr lang="en-GB" noProof="0"/>
            </a:br>
            <a:r>
              <a:rPr lang="en-GB" noProof="0"/>
              <a:t>keep it bold 60 pt</a:t>
            </a:r>
          </a:p>
        </p:txBody>
      </p:sp>
      <p:sp>
        <p:nvSpPr>
          <p:cNvPr id="9" name="Text Placeholder 3">
            <a:extLst>
              <a:ext uri="{FF2B5EF4-FFF2-40B4-BE49-F238E27FC236}">
                <a16:creationId xmlns:a16="http://schemas.microsoft.com/office/drawing/2014/main" id="{F8BD17D0-4B46-D44C-A53F-CFC6399AEEEB}"/>
              </a:ext>
            </a:extLst>
          </p:cNvPr>
          <p:cNvSpPr>
            <a:spLocks noGrp="1"/>
          </p:cNvSpPr>
          <p:nvPr>
            <p:ph type="body" sz="quarter" idx="18" hasCustomPrompt="1"/>
          </p:nvPr>
        </p:nvSpPr>
        <p:spPr>
          <a:xfrm rot="5400000">
            <a:off x="20902621" y="2898382"/>
            <a:ext cx="5759746" cy="719337"/>
          </a:xfrm>
        </p:spPr>
        <p:txBody>
          <a:bodyPr anchor="ctr"/>
          <a:lstStyle>
            <a:lvl1pPr>
              <a:defRPr sz="1600">
                <a:solidFill>
                  <a:schemeClr val="tx1">
                    <a:lumMod val="50000"/>
                    <a:lumOff val="50000"/>
                  </a:schemeClr>
                </a:solidFill>
              </a:defRPr>
            </a:lvl1pPr>
          </a:lstStyle>
          <a:p>
            <a:pPr lvl="0"/>
            <a:r>
              <a:rPr lang="en-US"/>
              <a:t>© Inter IKEA Systems B.V. 2022</a:t>
            </a:r>
            <a:endParaRPr lang="en-GB"/>
          </a:p>
        </p:txBody>
      </p:sp>
    </p:spTree>
    <p:extLst>
      <p:ext uri="{BB962C8B-B14F-4D97-AF65-F5344CB8AC3E}">
        <p14:creationId xmlns:p14="http://schemas.microsoft.com/office/powerpoint/2010/main" val="117538059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_Chapter name with number on texture or image">
    <p:bg>
      <p:bgPr>
        <a:solidFill>
          <a:schemeClr val="bg1"/>
        </a:solidFill>
        <a:effectLst/>
      </p:bgPr>
    </p:bg>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C2E2C76C-B512-4744-83A7-60E61AA545D5}"/>
              </a:ext>
            </a:extLst>
          </p:cNvPr>
          <p:cNvSpPr>
            <a:spLocks noGrp="1"/>
          </p:cNvSpPr>
          <p:nvPr>
            <p:ph type="pic" sz="quarter" idx="14" hasCustomPrompt="1"/>
          </p:nvPr>
        </p:nvSpPr>
        <p:spPr>
          <a:xfrm>
            <a:off x="0" y="0"/>
            <a:ext cx="24382413" cy="13716000"/>
          </a:xfrm>
          <a:solidFill>
            <a:srgbClr val="E4E5E3"/>
          </a:solidFill>
        </p:spPr>
        <p:txBody>
          <a:bodyPr>
            <a:normAutofit/>
          </a:bodyPr>
          <a:lstStyle>
            <a:lvl1pPr marL="0" marR="0" indent="0" algn="l" defTabSz="182848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Select a colour for background. Or drag and drop to add a picture</a:t>
            </a:r>
          </a:p>
        </p:txBody>
      </p:sp>
      <p:sp>
        <p:nvSpPr>
          <p:cNvPr id="5" name="Picture Placeholder 4">
            <a:extLst>
              <a:ext uri="{FF2B5EF4-FFF2-40B4-BE49-F238E27FC236}">
                <a16:creationId xmlns:a16="http://schemas.microsoft.com/office/drawing/2014/main" id="{FB1122C6-C8D2-B547-ADCC-E7F92107FD3B}"/>
              </a:ext>
            </a:extLst>
          </p:cNvPr>
          <p:cNvSpPr>
            <a:spLocks noGrp="1"/>
          </p:cNvSpPr>
          <p:nvPr>
            <p:ph type="pic" sz="quarter" idx="18" hasCustomPrompt="1"/>
          </p:nvPr>
        </p:nvSpPr>
        <p:spPr>
          <a:xfrm>
            <a:off x="1677884" y="3649662"/>
            <a:ext cx="21026657" cy="6416676"/>
          </a:xfrm>
          <a:solidFill>
            <a:schemeClr val="bg1"/>
          </a:solidFill>
        </p:spPr>
        <p:txBody>
          <a:bodyPr/>
          <a:lstStyle/>
          <a:p>
            <a:r>
              <a:rPr lang="en-GB" noProof="0"/>
              <a:t> </a:t>
            </a:r>
          </a:p>
        </p:txBody>
      </p:sp>
      <p:sp>
        <p:nvSpPr>
          <p:cNvPr id="8" name="Subtitle 2">
            <a:extLst>
              <a:ext uri="{FF2B5EF4-FFF2-40B4-BE49-F238E27FC236}">
                <a16:creationId xmlns:a16="http://schemas.microsoft.com/office/drawing/2014/main" id="{03179F04-E3DD-714F-9E83-2F320F41AF4B}"/>
              </a:ext>
            </a:extLst>
          </p:cNvPr>
          <p:cNvSpPr>
            <a:spLocks noGrp="1"/>
          </p:cNvSpPr>
          <p:nvPr>
            <p:ph type="subTitle" idx="1" hasCustomPrompt="1"/>
          </p:nvPr>
        </p:nvSpPr>
        <p:spPr>
          <a:xfrm>
            <a:off x="6718955" y="5069839"/>
            <a:ext cx="15408709" cy="3604518"/>
          </a:xfrm>
        </p:spPr>
        <p:txBody>
          <a:bodyPr anchor="ctr">
            <a:noAutofit/>
          </a:bodyPr>
          <a:lstStyle>
            <a:lvl1pPr marL="0" indent="0" algn="l">
              <a:lnSpc>
                <a:spcPct val="100000"/>
              </a:lnSpc>
              <a:buNone/>
              <a:defRPr sz="11999" b="1" spc="-200" baseline="0">
                <a:latin typeface="Noto IKEA Latin" panose="020B0502040504020204" pitchFamily="34" charset="0"/>
              </a:defRPr>
            </a:lvl1pPr>
            <a:lvl2pPr marL="914240" indent="0" algn="ctr">
              <a:buNone/>
              <a:defRPr sz="4000"/>
            </a:lvl2pPr>
            <a:lvl3pPr marL="1828483" indent="0" algn="ctr">
              <a:buNone/>
              <a:defRPr sz="3600"/>
            </a:lvl3pPr>
            <a:lvl4pPr marL="2742723" indent="0" algn="ctr">
              <a:buNone/>
              <a:defRPr sz="3200"/>
            </a:lvl4pPr>
            <a:lvl5pPr marL="3656961" indent="0" algn="ctr">
              <a:buNone/>
              <a:defRPr sz="3200"/>
            </a:lvl5pPr>
            <a:lvl6pPr marL="4571201" indent="0" algn="ctr">
              <a:buNone/>
              <a:defRPr sz="3200"/>
            </a:lvl6pPr>
            <a:lvl7pPr marL="5485440" indent="0" algn="ctr">
              <a:buNone/>
              <a:defRPr sz="3200"/>
            </a:lvl7pPr>
            <a:lvl8pPr marL="6399680" indent="0" algn="ctr">
              <a:buNone/>
              <a:defRPr sz="3200"/>
            </a:lvl8pPr>
            <a:lvl9pPr marL="7313920" indent="0" algn="ctr">
              <a:buNone/>
              <a:defRPr sz="3200"/>
            </a:lvl9pPr>
          </a:lstStyle>
          <a:p>
            <a:r>
              <a:rPr lang="en-GB" noProof="0"/>
              <a:t>Put the chapter headline here</a:t>
            </a:r>
          </a:p>
        </p:txBody>
      </p:sp>
      <p:sp>
        <p:nvSpPr>
          <p:cNvPr id="11" name="Text Placeholder 4">
            <a:extLst>
              <a:ext uri="{FF2B5EF4-FFF2-40B4-BE49-F238E27FC236}">
                <a16:creationId xmlns:a16="http://schemas.microsoft.com/office/drawing/2014/main" id="{E6CA9D82-2C12-3A47-9717-927FD5070851}"/>
              </a:ext>
            </a:extLst>
          </p:cNvPr>
          <p:cNvSpPr>
            <a:spLocks noGrp="1"/>
          </p:cNvSpPr>
          <p:nvPr>
            <p:ph type="body" sz="quarter" idx="11" hasCustomPrompt="1"/>
          </p:nvPr>
        </p:nvSpPr>
        <p:spPr>
          <a:xfrm>
            <a:off x="1700165" y="5069839"/>
            <a:ext cx="4874783" cy="3604518"/>
          </a:xfrm>
        </p:spPr>
        <p:txBody>
          <a:bodyPr anchor="ctr">
            <a:noAutofit/>
          </a:bodyPr>
          <a:lstStyle>
            <a:lvl1pPr marL="0" indent="0" algn="ctr">
              <a:lnSpc>
                <a:spcPct val="100000"/>
              </a:lnSpc>
              <a:buNone/>
              <a:defRPr sz="29999" b="1" spc="-600" baseline="0">
                <a:ln>
                  <a:noFill/>
                </a:ln>
                <a:solidFill>
                  <a:schemeClr val="tx1"/>
                </a:solidFill>
              </a:defRPr>
            </a:lvl1pPr>
          </a:lstStyle>
          <a:p>
            <a:pPr lvl="0"/>
            <a:r>
              <a:rPr lang="en-GB" noProof="0"/>
              <a:t>#</a:t>
            </a:r>
          </a:p>
        </p:txBody>
      </p:sp>
      <p:sp>
        <p:nvSpPr>
          <p:cNvPr id="9" name="Text Placeholder 3">
            <a:extLst>
              <a:ext uri="{FF2B5EF4-FFF2-40B4-BE49-F238E27FC236}">
                <a16:creationId xmlns:a16="http://schemas.microsoft.com/office/drawing/2014/main" id="{CDB35E14-306E-CC47-BA9B-1EED6583B986}"/>
              </a:ext>
            </a:extLst>
          </p:cNvPr>
          <p:cNvSpPr>
            <a:spLocks noGrp="1"/>
          </p:cNvSpPr>
          <p:nvPr>
            <p:ph type="body" sz="quarter" idx="19" hasCustomPrompt="1"/>
          </p:nvPr>
        </p:nvSpPr>
        <p:spPr>
          <a:xfrm rot="5400000">
            <a:off x="20902621" y="2898382"/>
            <a:ext cx="5759746" cy="719337"/>
          </a:xfrm>
        </p:spPr>
        <p:txBody>
          <a:bodyPr anchor="ctr"/>
          <a:lstStyle>
            <a:lvl1pPr>
              <a:defRPr sz="1600">
                <a:solidFill>
                  <a:schemeClr val="tx1">
                    <a:lumMod val="50000"/>
                    <a:lumOff val="50000"/>
                  </a:schemeClr>
                </a:solidFill>
              </a:defRPr>
            </a:lvl1pPr>
          </a:lstStyle>
          <a:p>
            <a:pPr lvl="0"/>
            <a:r>
              <a:rPr lang="en-US"/>
              <a:t>© Inter IKEA Systems B.V. 2022</a:t>
            </a:r>
            <a:endParaRPr lang="en-GB"/>
          </a:p>
        </p:txBody>
      </p:sp>
    </p:spTree>
    <p:extLst>
      <p:ext uri="{BB962C8B-B14F-4D97-AF65-F5344CB8AC3E}">
        <p14:creationId xmlns:p14="http://schemas.microsoft.com/office/powerpoint/2010/main" val="315799766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_Text and image on the left">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5D527F14-48A9-BB4D-8ABB-D25C9E004E4D}"/>
              </a:ext>
            </a:extLst>
          </p:cNvPr>
          <p:cNvSpPr>
            <a:spLocks noGrp="1"/>
          </p:cNvSpPr>
          <p:nvPr>
            <p:ph type="pic" sz="quarter" idx="15" hasCustomPrompt="1"/>
          </p:nvPr>
        </p:nvSpPr>
        <p:spPr>
          <a:xfrm>
            <a:off x="0" y="0"/>
            <a:ext cx="12123563" cy="13716000"/>
          </a:xfrm>
          <a:solidFill>
            <a:srgbClr val="E4E5E3"/>
          </a:solidFill>
        </p:spPr>
        <p:txBody>
          <a:bodyPr>
            <a:normAutofit/>
          </a:bodyPr>
          <a:lstStyle>
            <a:lvl1pPr marL="0" marR="0" indent="0" algn="l" defTabSz="182848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Drag and drop or click the icon to add a picture</a:t>
            </a:r>
          </a:p>
        </p:txBody>
      </p:sp>
      <p:sp>
        <p:nvSpPr>
          <p:cNvPr id="11" name="Title 1">
            <a:extLst>
              <a:ext uri="{FF2B5EF4-FFF2-40B4-BE49-F238E27FC236}">
                <a16:creationId xmlns:a16="http://schemas.microsoft.com/office/drawing/2014/main" id="{126F91B4-0CEF-044B-8873-D93BD278142D}"/>
              </a:ext>
            </a:extLst>
          </p:cNvPr>
          <p:cNvSpPr>
            <a:spLocks noGrp="1"/>
          </p:cNvSpPr>
          <p:nvPr>
            <p:ph type="title" hasCustomPrompt="1"/>
          </p:nvPr>
        </p:nvSpPr>
        <p:spPr>
          <a:xfrm>
            <a:off x="13353298" y="1677605"/>
            <a:ext cx="9648914" cy="3457574"/>
          </a:xfrm>
          <a:prstGeom prst="rect">
            <a:avLst/>
          </a:prstGeom>
        </p:spPr>
        <p:txBody>
          <a:bodyPr/>
          <a:lstStyle>
            <a:lvl1pPr>
              <a:lnSpc>
                <a:spcPct val="100000"/>
              </a:lnSpc>
              <a:defRPr sz="7200"/>
            </a:lvl1pPr>
          </a:lstStyle>
          <a:p>
            <a:r>
              <a:rPr lang="en-GB" noProof="0"/>
              <a:t>Put the slide headline here, </a:t>
            </a:r>
            <a:br>
              <a:rPr lang="en-GB" noProof="0"/>
            </a:br>
            <a:r>
              <a:rPr lang="en-GB" noProof="0"/>
              <a:t>keep it bold 36 pt</a:t>
            </a:r>
          </a:p>
        </p:txBody>
      </p:sp>
      <p:sp>
        <p:nvSpPr>
          <p:cNvPr id="8" name="Text Placeholder 3">
            <a:extLst>
              <a:ext uri="{FF2B5EF4-FFF2-40B4-BE49-F238E27FC236}">
                <a16:creationId xmlns:a16="http://schemas.microsoft.com/office/drawing/2014/main" id="{B49D2ED4-85B6-784A-A881-461D6437618F}"/>
              </a:ext>
            </a:extLst>
          </p:cNvPr>
          <p:cNvSpPr>
            <a:spLocks noGrp="1"/>
          </p:cNvSpPr>
          <p:nvPr>
            <p:ph type="body" sz="quarter" idx="18" hasCustomPrompt="1"/>
          </p:nvPr>
        </p:nvSpPr>
        <p:spPr>
          <a:xfrm>
            <a:off x="13298740" y="5696431"/>
            <a:ext cx="9650876" cy="6337298"/>
          </a:xfrm>
        </p:spPr>
        <p:txBody>
          <a:bodyPr>
            <a:noAutofit/>
          </a:bodyPr>
          <a:lstStyle>
            <a:lvl1pPr>
              <a:spcBef>
                <a:spcPts val="2000"/>
              </a:spcBef>
              <a:defRPr sz="2800"/>
            </a:lvl1pPr>
          </a:lstStyle>
          <a:p>
            <a:pPr lvl="0"/>
            <a:r>
              <a:rPr lang="en-GB" noProof="0"/>
              <a:t>Put the body text or caption here,</a:t>
            </a:r>
            <a:br>
              <a:rPr lang="en-GB" noProof="0"/>
            </a:br>
            <a:r>
              <a:rPr lang="en-GB" noProof="0"/>
              <a:t>keep it regular 14 pt</a:t>
            </a:r>
          </a:p>
        </p:txBody>
      </p:sp>
    </p:spTree>
    <p:extLst>
      <p:ext uri="{BB962C8B-B14F-4D97-AF65-F5344CB8AC3E}">
        <p14:creationId xmlns:p14="http://schemas.microsoft.com/office/powerpoint/2010/main" val="20878633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1_Quote on imag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1600D40-C419-DE4F-928F-E01FB6D4191F}"/>
              </a:ext>
            </a:extLst>
          </p:cNvPr>
          <p:cNvSpPr>
            <a:spLocks noGrp="1"/>
          </p:cNvSpPr>
          <p:nvPr>
            <p:ph type="pic" sz="quarter" idx="14" hasCustomPrompt="1"/>
          </p:nvPr>
        </p:nvSpPr>
        <p:spPr>
          <a:xfrm>
            <a:off x="0" y="-7514"/>
            <a:ext cx="24382413" cy="13716000"/>
          </a:xfrm>
          <a:solidFill>
            <a:srgbClr val="E4E5E3"/>
          </a:solidFill>
        </p:spPr>
        <p:txBody>
          <a:bodyPr>
            <a:normAutofit/>
          </a:bodyPr>
          <a:lstStyle>
            <a:lvl1pPr>
              <a:defRPr sz="2800">
                <a:solidFill>
                  <a:schemeClr val="bg1">
                    <a:lumMod val="50000"/>
                  </a:schemeClr>
                </a:solidFill>
              </a:defRPr>
            </a:lvl1pPr>
          </a:lstStyle>
          <a:p>
            <a:r>
              <a:rPr lang="en-US"/>
              <a:t>Drag and drop or click the icon to add a picture</a:t>
            </a:r>
          </a:p>
        </p:txBody>
      </p:sp>
      <p:sp>
        <p:nvSpPr>
          <p:cNvPr id="4" name="Text Placeholder 3">
            <a:extLst>
              <a:ext uri="{FF2B5EF4-FFF2-40B4-BE49-F238E27FC236}">
                <a16:creationId xmlns:a16="http://schemas.microsoft.com/office/drawing/2014/main" id="{BB8E265F-FE98-834A-BB93-0F7C365B8C12}"/>
              </a:ext>
            </a:extLst>
          </p:cNvPr>
          <p:cNvSpPr>
            <a:spLocks noGrp="1"/>
          </p:cNvSpPr>
          <p:nvPr>
            <p:ph type="body" sz="half" idx="2" hasCustomPrompt="1"/>
          </p:nvPr>
        </p:nvSpPr>
        <p:spPr>
          <a:xfrm>
            <a:off x="13631280" y="3185597"/>
            <a:ext cx="9202503" cy="7344818"/>
          </a:xfrm>
          <a:solidFill>
            <a:schemeClr val="bg1"/>
          </a:solidFill>
        </p:spPr>
        <p:txBody>
          <a:bodyPr lIns="360000" tIns="46800" rIns="360000" bIns="46800" anchor="ctr">
            <a:noAutofit/>
          </a:bodyPr>
          <a:lstStyle>
            <a:lvl1pPr marL="0" indent="0">
              <a:lnSpc>
                <a:spcPct val="100000"/>
              </a:lnSpc>
              <a:spcBef>
                <a:spcPts val="0"/>
              </a:spcBef>
              <a:buNone/>
              <a:defRPr sz="4800" b="0" i="0">
                <a:solidFill>
                  <a:schemeClr val="tx1"/>
                </a:solidFill>
              </a:defRPr>
            </a:lvl1pPr>
            <a:lvl2pPr marL="914240" indent="0">
              <a:buNone/>
              <a:defRPr sz="2800"/>
            </a:lvl2pPr>
            <a:lvl3pPr marL="1828483" indent="0">
              <a:buNone/>
              <a:defRPr sz="2400"/>
            </a:lvl3pPr>
            <a:lvl4pPr marL="2742723" indent="0">
              <a:buNone/>
              <a:defRPr sz="2000"/>
            </a:lvl4pPr>
            <a:lvl5pPr marL="3656961" indent="0">
              <a:buNone/>
              <a:defRPr sz="2000"/>
            </a:lvl5pPr>
            <a:lvl6pPr marL="4571201" indent="0">
              <a:buNone/>
              <a:defRPr sz="2000"/>
            </a:lvl6pPr>
            <a:lvl7pPr marL="5485440" indent="0">
              <a:buNone/>
              <a:defRPr sz="2000"/>
            </a:lvl7pPr>
            <a:lvl8pPr marL="6399680" indent="0">
              <a:buNone/>
              <a:defRPr sz="2000"/>
            </a:lvl8pPr>
            <a:lvl9pPr marL="7313920" indent="0">
              <a:buNone/>
              <a:defRPr sz="2000"/>
            </a:lvl9pPr>
          </a:lstStyle>
          <a:p>
            <a:pPr lvl="0"/>
            <a:r>
              <a:rPr lang="en-US"/>
              <a:t>“Put the quote here. Put the quote here. Put the quote here. Put the quote here. Put the quote here.”</a:t>
            </a:r>
          </a:p>
        </p:txBody>
      </p:sp>
      <p:sp>
        <p:nvSpPr>
          <p:cNvPr id="9" name="Text Placeholder 3">
            <a:extLst>
              <a:ext uri="{FF2B5EF4-FFF2-40B4-BE49-F238E27FC236}">
                <a16:creationId xmlns:a16="http://schemas.microsoft.com/office/drawing/2014/main" id="{52163A22-09CB-E440-8750-18D411BC5D92}"/>
              </a:ext>
            </a:extLst>
          </p:cNvPr>
          <p:cNvSpPr>
            <a:spLocks noGrp="1"/>
          </p:cNvSpPr>
          <p:nvPr>
            <p:ph type="body" sz="quarter" idx="18" hasCustomPrompt="1"/>
          </p:nvPr>
        </p:nvSpPr>
        <p:spPr>
          <a:xfrm rot="5400000">
            <a:off x="20902621" y="2898382"/>
            <a:ext cx="5759746" cy="719337"/>
          </a:xfrm>
        </p:spPr>
        <p:txBody>
          <a:bodyPr anchor="ctr"/>
          <a:lstStyle>
            <a:lvl1pPr>
              <a:defRPr sz="1600">
                <a:solidFill>
                  <a:schemeClr val="tx1">
                    <a:lumMod val="50000"/>
                    <a:lumOff val="50000"/>
                  </a:schemeClr>
                </a:solidFill>
              </a:defRPr>
            </a:lvl1pPr>
          </a:lstStyle>
          <a:p>
            <a:pPr lvl="0"/>
            <a:r>
              <a:rPr lang="en-US"/>
              <a:t>© Inter IKEA Systems B.V. 2022</a:t>
            </a:r>
            <a:endParaRPr lang="en-GB"/>
          </a:p>
        </p:txBody>
      </p:sp>
    </p:spTree>
    <p:extLst>
      <p:ext uri="{BB962C8B-B14F-4D97-AF65-F5344CB8AC3E}">
        <p14:creationId xmlns:p14="http://schemas.microsoft.com/office/powerpoint/2010/main" val="42661021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rocess">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0D2B4B01-8F71-1C43-804A-AE91ACAAB690}"/>
              </a:ext>
            </a:extLst>
          </p:cNvPr>
          <p:cNvSpPr>
            <a:spLocks noGrp="1"/>
          </p:cNvSpPr>
          <p:nvPr>
            <p:ph type="body" sz="quarter" idx="12" hasCustomPrompt="1"/>
          </p:nvPr>
        </p:nvSpPr>
        <p:spPr>
          <a:xfrm>
            <a:off x="3046413" y="7723206"/>
            <a:ext cx="3024187" cy="1727166"/>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3" name="Title 2">
            <a:extLst>
              <a:ext uri="{FF2B5EF4-FFF2-40B4-BE49-F238E27FC236}">
                <a16:creationId xmlns:a16="http://schemas.microsoft.com/office/drawing/2014/main" id="{6E79ED74-1833-CD4B-828E-58428E0E2A1D}"/>
              </a:ext>
            </a:extLst>
          </p:cNvPr>
          <p:cNvSpPr>
            <a:spLocks noGrp="1"/>
          </p:cNvSpPr>
          <p:nvPr>
            <p:ph type="title" hasCustomPrompt="1"/>
          </p:nvPr>
        </p:nvSpPr>
        <p:spPr>
          <a:xfrm>
            <a:off x="1676293" y="1677601"/>
            <a:ext cx="21033007" cy="1722906"/>
          </a:xfrm>
        </p:spPr>
        <p:txBody>
          <a:bodyPr/>
          <a:lstStyle/>
          <a:p>
            <a:r>
              <a:rPr lang="en-GB"/>
              <a:t>Process</a:t>
            </a:r>
            <a:endParaRPr lang="en-NL"/>
          </a:p>
        </p:txBody>
      </p:sp>
      <p:cxnSp>
        <p:nvCxnSpPr>
          <p:cNvPr id="5" name="Straight Arrow Connector 4">
            <a:extLst>
              <a:ext uri="{FF2B5EF4-FFF2-40B4-BE49-F238E27FC236}">
                <a16:creationId xmlns:a16="http://schemas.microsoft.com/office/drawing/2014/main" id="{0798A829-D289-394A-914F-EDD8D97B2357}"/>
              </a:ext>
            </a:extLst>
          </p:cNvPr>
          <p:cNvCxnSpPr>
            <a:cxnSpLocks/>
          </p:cNvCxnSpPr>
          <p:nvPr userDrawn="1"/>
        </p:nvCxnSpPr>
        <p:spPr>
          <a:xfrm>
            <a:off x="1674702" y="6858000"/>
            <a:ext cx="21033009" cy="0"/>
          </a:xfrm>
          <a:prstGeom prst="straightConnector1">
            <a:avLst/>
          </a:prstGeom>
          <a:ln w="190500">
            <a:solidFill>
              <a:schemeClr val="bg2"/>
            </a:solidFill>
            <a:tailEnd type="none" w="med" len="sm"/>
          </a:ln>
        </p:spPr>
        <p:style>
          <a:lnRef idx="1">
            <a:schemeClr val="accent1"/>
          </a:lnRef>
          <a:fillRef idx="0">
            <a:schemeClr val="accent1"/>
          </a:fillRef>
          <a:effectRef idx="0">
            <a:schemeClr val="accent1"/>
          </a:effectRef>
          <a:fontRef idx="minor">
            <a:schemeClr val="tx1"/>
          </a:fontRef>
        </p:style>
      </p:cxnSp>
      <p:sp>
        <p:nvSpPr>
          <p:cNvPr id="37" name="L-shape 36">
            <a:extLst>
              <a:ext uri="{FF2B5EF4-FFF2-40B4-BE49-F238E27FC236}">
                <a16:creationId xmlns:a16="http://schemas.microsoft.com/office/drawing/2014/main" id="{A3A516EF-4158-0845-AB22-B4F71119802B}"/>
              </a:ext>
            </a:extLst>
          </p:cNvPr>
          <p:cNvSpPr/>
          <p:nvPr userDrawn="1"/>
        </p:nvSpPr>
        <p:spPr>
          <a:xfrm rot="13500000">
            <a:off x="21934797" y="6498000"/>
            <a:ext cx="720000" cy="720000"/>
          </a:xfrm>
          <a:prstGeom prst="corner">
            <a:avLst>
              <a:gd name="adj1" fmla="val 26540"/>
              <a:gd name="adj2" fmla="val 2661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NL"/>
          </a:p>
        </p:txBody>
      </p:sp>
      <p:sp>
        <p:nvSpPr>
          <p:cNvPr id="38" name="Text Placeholder 5">
            <a:extLst>
              <a:ext uri="{FF2B5EF4-FFF2-40B4-BE49-F238E27FC236}">
                <a16:creationId xmlns:a16="http://schemas.microsoft.com/office/drawing/2014/main" id="{DDC37633-16B3-3744-A593-529313A8F214}"/>
              </a:ext>
            </a:extLst>
          </p:cNvPr>
          <p:cNvSpPr>
            <a:spLocks noGrp="1"/>
          </p:cNvSpPr>
          <p:nvPr>
            <p:ph type="body" sz="quarter" idx="21" hasCustomPrompt="1"/>
          </p:nvPr>
        </p:nvSpPr>
        <p:spPr>
          <a:xfrm>
            <a:off x="6142038" y="4265712"/>
            <a:ext cx="3024187" cy="1727166"/>
          </a:xfrm>
        </p:spPr>
        <p:txBody>
          <a:bodyPr anchor="b">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39" name="Text Placeholder 5">
            <a:extLst>
              <a:ext uri="{FF2B5EF4-FFF2-40B4-BE49-F238E27FC236}">
                <a16:creationId xmlns:a16="http://schemas.microsoft.com/office/drawing/2014/main" id="{4B3F39C9-E76C-2D44-9D1B-E9B07074F77E}"/>
              </a:ext>
            </a:extLst>
          </p:cNvPr>
          <p:cNvSpPr>
            <a:spLocks noGrp="1"/>
          </p:cNvSpPr>
          <p:nvPr>
            <p:ph type="body" sz="quarter" idx="22" hasCustomPrompt="1"/>
          </p:nvPr>
        </p:nvSpPr>
        <p:spPr>
          <a:xfrm>
            <a:off x="9167019" y="7723205"/>
            <a:ext cx="3024187" cy="1727166"/>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0" name="Text Placeholder 5">
            <a:extLst>
              <a:ext uri="{FF2B5EF4-FFF2-40B4-BE49-F238E27FC236}">
                <a16:creationId xmlns:a16="http://schemas.microsoft.com/office/drawing/2014/main" id="{8814CF3B-C6B0-0648-A9C1-CE26FF4CB2D8}"/>
              </a:ext>
            </a:extLst>
          </p:cNvPr>
          <p:cNvSpPr>
            <a:spLocks noGrp="1"/>
          </p:cNvSpPr>
          <p:nvPr>
            <p:ph type="body" sz="quarter" idx="23" hasCustomPrompt="1"/>
          </p:nvPr>
        </p:nvSpPr>
        <p:spPr>
          <a:xfrm>
            <a:off x="12190413" y="4265712"/>
            <a:ext cx="3024187" cy="1727166"/>
          </a:xfrm>
        </p:spPr>
        <p:txBody>
          <a:bodyPr anchor="b">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1" name="Text Placeholder 5">
            <a:extLst>
              <a:ext uri="{FF2B5EF4-FFF2-40B4-BE49-F238E27FC236}">
                <a16:creationId xmlns:a16="http://schemas.microsoft.com/office/drawing/2014/main" id="{3356431A-93FA-3546-85F8-B31F1C9169B6}"/>
              </a:ext>
            </a:extLst>
          </p:cNvPr>
          <p:cNvSpPr>
            <a:spLocks noGrp="1"/>
          </p:cNvSpPr>
          <p:nvPr>
            <p:ph type="body" sz="quarter" idx="24" hasCustomPrompt="1"/>
          </p:nvPr>
        </p:nvSpPr>
        <p:spPr>
          <a:xfrm>
            <a:off x="15287626" y="7723205"/>
            <a:ext cx="3024187" cy="1727166"/>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2" name="Text Placeholder 5">
            <a:extLst>
              <a:ext uri="{FF2B5EF4-FFF2-40B4-BE49-F238E27FC236}">
                <a16:creationId xmlns:a16="http://schemas.microsoft.com/office/drawing/2014/main" id="{5CD9E15C-1210-D245-AE40-F67BE5C74056}"/>
              </a:ext>
            </a:extLst>
          </p:cNvPr>
          <p:cNvSpPr>
            <a:spLocks noGrp="1"/>
          </p:cNvSpPr>
          <p:nvPr>
            <p:ph type="body" sz="quarter" idx="25" hasCustomPrompt="1"/>
          </p:nvPr>
        </p:nvSpPr>
        <p:spPr>
          <a:xfrm>
            <a:off x="18311813" y="4265712"/>
            <a:ext cx="3024187" cy="1727166"/>
          </a:xfrm>
        </p:spPr>
        <p:txBody>
          <a:bodyPr anchor="b">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4" name="Footer Placeholder 43">
            <a:extLst>
              <a:ext uri="{FF2B5EF4-FFF2-40B4-BE49-F238E27FC236}">
                <a16:creationId xmlns:a16="http://schemas.microsoft.com/office/drawing/2014/main" id="{3DC74232-9167-9144-A25D-B5C31FFA7A3A}"/>
              </a:ext>
            </a:extLst>
          </p:cNvPr>
          <p:cNvSpPr>
            <a:spLocks noGrp="1"/>
          </p:cNvSpPr>
          <p:nvPr>
            <p:ph type="ftr" sz="quarter" idx="26"/>
          </p:nvPr>
        </p:nvSpPr>
        <p:spPr/>
        <p:txBody>
          <a:bodyPr/>
          <a:lstStyle/>
          <a:p>
            <a:endParaRPr lang="en-NL"/>
          </a:p>
        </p:txBody>
      </p:sp>
      <p:sp>
        <p:nvSpPr>
          <p:cNvPr id="45" name="TextBox 44">
            <a:extLst>
              <a:ext uri="{FF2B5EF4-FFF2-40B4-BE49-F238E27FC236}">
                <a16:creationId xmlns:a16="http://schemas.microsoft.com/office/drawing/2014/main" id="{69E14940-6394-8440-928E-5262E6E6434C}"/>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02576914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4_Big statement on colour background, texture or image">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0" y="0"/>
            <a:ext cx="24382413" cy="13716000"/>
          </a:xfrm>
          <a:solidFill>
            <a:srgbClr val="E4E5E3"/>
          </a:solidFill>
        </p:spPr>
        <p:txBody>
          <a:bodyPr>
            <a:normAutofit/>
          </a:bodyPr>
          <a:lstStyle>
            <a:lvl1pPr marL="0" marR="0" indent="0" algn="l" defTabSz="182848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Select a colour for background. Or drag and drop to add a picture</a:t>
            </a:r>
          </a:p>
        </p:txBody>
      </p:sp>
      <p:sp>
        <p:nvSpPr>
          <p:cNvPr id="10" name="Title Placeholder 6">
            <a:extLst>
              <a:ext uri="{FF2B5EF4-FFF2-40B4-BE49-F238E27FC236}">
                <a16:creationId xmlns:a16="http://schemas.microsoft.com/office/drawing/2014/main" id="{048B0FEC-E6E9-1B42-9F79-233E0858B4AD}"/>
              </a:ext>
            </a:extLst>
          </p:cNvPr>
          <p:cNvSpPr>
            <a:spLocks noGrp="1"/>
          </p:cNvSpPr>
          <p:nvPr>
            <p:ph type="title" hasCustomPrompt="1"/>
          </p:nvPr>
        </p:nvSpPr>
        <p:spPr>
          <a:xfrm>
            <a:off x="1679467" y="1692507"/>
            <a:ext cx="21029831" cy="10330998"/>
          </a:xfrm>
          <a:prstGeom prst="rect">
            <a:avLst/>
          </a:prstGeom>
        </p:spPr>
        <p:txBody>
          <a:bodyPr vert="horz" lIns="91440" tIns="45720" rIns="91440" bIns="45720" rtlCol="0" anchor="ctr">
            <a:noAutofit/>
          </a:bodyPr>
          <a:lstStyle>
            <a:lvl1pPr>
              <a:defRPr/>
            </a:lvl1pPr>
          </a:lstStyle>
          <a:p>
            <a:r>
              <a:rPr lang="en-GB" noProof="0"/>
              <a:t>Put a statement here,</a:t>
            </a:r>
            <a:br>
              <a:rPr lang="en-GB" noProof="0"/>
            </a:br>
            <a:r>
              <a:rPr lang="en-GB" noProof="0"/>
              <a:t>keep it bold 60 </a:t>
            </a:r>
            <a:r>
              <a:rPr lang="en-GB" noProof="0" err="1"/>
              <a:t>pt</a:t>
            </a:r>
            <a:endParaRPr lang="en-GB" noProof="0"/>
          </a:p>
        </p:txBody>
      </p:sp>
      <p:sp>
        <p:nvSpPr>
          <p:cNvPr id="7" name="Text Placeholder 3">
            <a:extLst>
              <a:ext uri="{FF2B5EF4-FFF2-40B4-BE49-F238E27FC236}">
                <a16:creationId xmlns:a16="http://schemas.microsoft.com/office/drawing/2014/main" id="{E7B9ED26-2920-4043-83C2-B0926B2E20C6}"/>
              </a:ext>
            </a:extLst>
          </p:cNvPr>
          <p:cNvSpPr>
            <a:spLocks noGrp="1"/>
          </p:cNvSpPr>
          <p:nvPr>
            <p:ph type="body" sz="quarter" idx="18" hasCustomPrompt="1"/>
          </p:nvPr>
        </p:nvSpPr>
        <p:spPr>
          <a:xfrm rot="5400000">
            <a:off x="20902621" y="2898382"/>
            <a:ext cx="5759746" cy="719337"/>
          </a:xfrm>
        </p:spPr>
        <p:txBody>
          <a:bodyPr anchor="ctr"/>
          <a:lstStyle>
            <a:lvl1pPr>
              <a:defRPr sz="1600">
                <a:solidFill>
                  <a:schemeClr val="tx1">
                    <a:lumMod val="50000"/>
                    <a:lumOff val="50000"/>
                  </a:schemeClr>
                </a:solidFill>
              </a:defRPr>
            </a:lvl1pPr>
          </a:lstStyle>
          <a:p>
            <a:pPr lvl="0"/>
            <a:r>
              <a:rPr lang="en-US"/>
              <a:t>© Inter IKEA Systems B.V. 2022</a:t>
            </a:r>
            <a:endParaRPr lang="en-GB"/>
          </a:p>
        </p:txBody>
      </p:sp>
    </p:spTree>
    <p:extLst>
      <p:ext uri="{BB962C8B-B14F-4D97-AF65-F5344CB8AC3E}">
        <p14:creationId xmlns:p14="http://schemas.microsoft.com/office/powerpoint/2010/main" val="757509347"/>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1_Bullet points in three columns">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00941136-4B4C-4145-A979-62087D971861}"/>
              </a:ext>
            </a:extLst>
          </p:cNvPr>
          <p:cNvSpPr>
            <a:spLocks noGrp="1"/>
          </p:cNvSpPr>
          <p:nvPr>
            <p:ph type="title" hasCustomPrompt="1"/>
          </p:nvPr>
        </p:nvSpPr>
        <p:spPr>
          <a:xfrm>
            <a:off x="1676293" y="1677605"/>
            <a:ext cx="21033007" cy="3457574"/>
          </a:xfrm>
          <a:prstGeom prst="rect">
            <a:avLst/>
          </a:prstGeom>
        </p:spPr>
        <p:txBody>
          <a:bodyPr/>
          <a:lstStyle>
            <a:lvl1pPr>
              <a:lnSpc>
                <a:spcPct val="100000"/>
              </a:lnSpc>
              <a:defRPr sz="7200"/>
            </a:lvl1pPr>
          </a:lstStyle>
          <a:p>
            <a:r>
              <a:rPr lang="en-GB" noProof="0"/>
              <a:t>Put the slide headline here, </a:t>
            </a:r>
            <a:br>
              <a:rPr lang="en-GB" noProof="0"/>
            </a:br>
            <a:r>
              <a:rPr lang="en-GB" noProof="0"/>
              <a:t>keep it bold 36 pt</a:t>
            </a:r>
          </a:p>
        </p:txBody>
      </p:sp>
      <p:sp>
        <p:nvSpPr>
          <p:cNvPr id="8" name="Text Placeholder 3">
            <a:extLst>
              <a:ext uri="{FF2B5EF4-FFF2-40B4-BE49-F238E27FC236}">
                <a16:creationId xmlns:a16="http://schemas.microsoft.com/office/drawing/2014/main" id="{CB00048D-5466-AD48-828A-D48CFE43B8E5}"/>
              </a:ext>
            </a:extLst>
          </p:cNvPr>
          <p:cNvSpPr>
            <a:spLocks noGrp="1"/>
          </p:cNvSpPr>
          <p:nvPr>
            <p:ph type="body" sz="quarter" idx="18" hasCustomPrompt="1"/>
          </p:nvPr>
        </p:nvSpPr>
        <p:spPr>
          <a:xfrm>
            <a:off x="1674330" y="5696431"/>
            <a:ext cx="6388570" cy="6337298"/>
          </a:xfrm>
        </p:spPr>
        <p:txBody>
          <a:bodyPr>
            <a:noAutofit/>
          </a:bodyPr>
          <a:lstStyle>
            <a:lvl1pPr marL="571415" indent="-571415">
              <a:spcBef>
                <a:spcPts val="2000"/>
              </a:spcBef>
              <a:buFont typeface="Arial" panose="020B0604020202020204" pitchFamily="34" charset="0"/>
              <a:buChar char="•"/>
              <a:defRPr sz="2800"/>
            </a:lvl1pPr>
          </a:lstStyle>
          <a:p>
            <a:pPr lvl="0"/>
            <a:r>
              <a:rPr lang="en-GB" noProof="0"/>
              <a:t>Put the list text here,</a:t>
            </a:r>
            <a:br>
              <a:rPr lang="en-GB" noProof="0"/>
            </a:br>
            <a:r>
              <a:rPr lang="en-GB" noProof="0"/>
              <a:t>keep it regular 14 pt</a:t>
            </a:r>
          </a:p>
          <a:p>
            <a:pPr lvl="0"/>
            <a:endParaRPr lang="en-GB" noProof="0"/>
          </a:p>
        </p:txBody>
      </p:sp>
      <p:sp>
        <p:nvSpPr>
          <p:cNvPr id="10" name="Text Placeholder 3">
            <a:extLst>
              <a:ext uri="{FF2B5EF4-FFF2-40B4-BE49-F238E27FC236}">
                <a16:creationId xmlns:a16="http://schemas.microsoft.com/office/drawing/2014/main" id="{316CE0BD-CEC3-544F-8484-175C25F90EEC}"/>
              </a:ext>
            </a:extLst>
          </p:cNvPr>
          <p:cNvSpPr>
            <a:spLocks noGrp="1"/>
          </p:cNvSpPr>
          <p:nvPr>
            <p:ph type="body" sz="quarter" idx="19" hasCustomPrompt="1"/>
          </p:nvPr>
        </p:nvSpPr>
        <p:spPr>
          <a:xfrm>
            <a:off x="16319523" y="5696431"/>
            <a:ext cx="6388570" cy="6337298"/>
          </a:xfrm>
        </p:spPr>
        <p:txBody>
          <a:bodyPr>
            <a:noAutofit/>
          </a:bodyPr>
          <a:lstStyle>
            <a:lvl1pPr marL="571415" indent="-571415">
              <a:spcBef>
                <a:spcPts val="2000"/>
              </a:spcBef>
              <a:buFont typeface="Arial" panose="020B0604020202020204" pitchFamily="34" charset="0"/>
              <a:buChar char="•"/>
              <a:defRPr sz="2800"/>
            </a:lvl1pPr>
          </a:lstStyle>
          <a:p>
            <a:pPr lvl="0"/>
            <a:r>
              <a:rPr lang="en-GB" noProof="0"/>
              <a:t>Put the list text here,</a:t>
            </a:r>
            <a:br>
              <a:rPr lang="en-GB" noProof="0"/>
            </a:br>
            <a:r>
              <a:rPr lang="en-GB" noProof="0"/>
              <a:t>keep it regular 14 pt</a:t>
            </a:r>
          </a:p>
          <a:p>
            <a:pPr lvl="0"/>
            <a:endParaRPr lang="en-GB" noProof="0"/>
          </a:p>
        </p:txBody>
      </p:sp>
      <p:sp>
        <p:nvSpPr>
          <p:cNvPr id="11" name="Text Placeholder 3">
            <a:extLst>
              <a:ext uri="{FF2B5EF4-FFF2-40B4-BE49-F238E27FC236}">
                <a16:creationId xmlns:a16="http://schemas.microsoft.com/office/drawing/2014/main" id="{52CADF44-9CA4-8D41-B1AA-2D27B1FDB07E}"/>
              </a:ext>
            </a:extLst>
          </p:cNvPr>
          <p:cNvSpPr>
            <a:spLocks noGrp="1"/>
          </p:cNvSpPr>
          <p:nvPr>
            <p:ph type="body" sz="quarter" idx="20" hasCustomPrompt="1"/>
          </p:nvPr>
        </p:nvSpPr>
        <p:spPr>
          <a:xfrm>
            <a:off x="8996923" y="5696431"/>
            <a:ext cx="6388570" cy="6337298"/>
          </a:xfrm>
        </p:spPr>
        <p:txBody>
          <a:bodyPr>
            <a:noAutofit/>
          </a:bodyPr>
          <a:lstStyle>
            <a:lvl1pPr marL="571415" indent="-571415">
              <a:spcBef>
                <a:spcPts val="2000"/>
              </a:spcBef>
              <a:buFont typeface="Arial" panose="020B0604020202020204" pitchFamily="34" charset="0"/>
              <a:buChar char="•"/>
              <a:defRPr sz="2800"/>
            </a:lvl1pPr>
          </a:lstStyle>
          <a:p>
            <a:pPr lvl="0"/>
            <a:r>
              <a:rPr lang="en-GB" noProof="0"/>
              <a:t>Put the list text here,</a:t>
            </a:r>
            <a:br>
              <a:rPr lang="en-GB" noProof="0"/>
            </a:br>
            <a:r>
              <a:rPr lang="en-GB" noProof="0"/>
              <a:t>keep it regular 14 pt</a:t>
            </a:r>
          </a:p>
          <a:p>
            <a:pPr lvl="0"/>
            <a:endParaRPr lang="en-GB" noProof="0"/>
          </a:p>
        </p:txBody>
      </p:sp>
    </p:spTree>
    <p:extLst>
      <p:ext uri="{BB962C8B-B14F-4D97-AF65-F5344CB8AC3E}">
        <p14:creationId xmlns:p14="http://schemas.microsoft.com/office/powerpoint/2010/main" val="1371581076"/>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1_Image and caption">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70934038-8254-5843-BA59-EAFE94F02D83}"/>
              </a:ext>
            </a:extLst>
          </p:cNvPr>
          <p:cNvSpPr>
            <a:spLocks noGrp="1"/>
          </p:cNvSpPr>
          <p:nvPr>
            <p:ph type="pic" sz="quarter" idx="16" hasCustomPrompt="1"/>
          </p:nvPr>
        </p:nvSpPr>
        <p:spPr>
          <a:xfrm>
            <a:off x="1726831" y="1673233"/>
            <a:ext cx="18433558" cy="10369550"/>
          </a:xfrm>
          <a:solidFill>
            <a:srgbClr val="E4E5E3"/>
          </a:solidFill>
        </p:spPr>
        <p:txBody>
          <a:bodyPr>
            <a:normAutofit/>
          </a:bodyPr>
          <a:lstStyle>
            <a:lvl1pPr marL="0" marR="0" indent="0" algn="l" defTabSz="182848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4" name="Text Placeholder 3">
            <a:extLst>
              <a:ext uri="{FF2B5EF4-FFF2-40B4-BE49-F238E27FC236}">
                <a16:creationId xmlns:a16="http://schemas.microsoft.com/office/drawing/2014/main" id="{BB8E265F-FE98-834A-BB93-0F7C365B8C12}"/>
              </a:ext>
            </a:extLst>
          </p:cNvPr>
          <p:cNvSpPr>
            <a:spLocks noGrp="1"/>
          </p:cNvSpPr>
          <p:nvPr>
            <p:ph type="body" sz="half" idx="2" hasCustomPrompt="1"/>
          </p:nvPr>
        </p:nvSpPr>
        <p:spPr>
          <a:xfrm>
            <a:off x="20512194" y="5273627"/>
            <a:ext cx="3487563" cy="6912970"/>
          </a:xfrm>
        </p:spPr>
        <p:txBody>
          <a:bodyPr anchor="b">
            <a:noAutofit/>
          </a:bodyPr>
          <a:lstStyle>
            <a:lvl1pPr marL="0" indent="0">
              <a:lnSpc>
                <a:spcPct val="100000"/>
              </a:lnSpc>
              <a:buNone/>
              <a:defRPr sz="2800"/>
            </a:lvl1pPr>
            <a:lvl2pPr marL="914240" indent="0">
              <a:buNone/>
              <a:defRPr sz="2800"/>
            </a:lvl2pPr>
            <a:lvl3pPr marL="1828483" indent="0">
              <a:buNone/>
              <a:defRPr sz="2400"/>
            </a:lvl3pPr>
            <a:lvl4pPr marL="2742723" indent="0">
              <a:buNone/>
              <a:defRPr sz="2000"/>
            </a:lvl4pPr>
            <a:lvl5pPr marL="3656961" indent="0">
              <a:buNone/>
              <a:defRPr sz="2000"/>
            </a:lvl5pPr>
            <a:lvl6pPr marL="4571201" indent="0">
              <a:buNone/>
              <a:defRPr sz="2000"/>
            </a:lvl6pPr>
            <a:lvl7pPr marL="5485440" indent="0">
              <a:buNone/>
              <a:defRPr sz="2000"/>
            </a:lvl7pPr>
            <a:lvl8pPr marL="6399680" indent="0">
              <a:buNone/>
              <a:defRPr sz="2000"/>
            </a:lvl8pPr>
            <a:lvl9pPr marL="7313920" indent="0">
              <a:buNone/>
              <a:defRPr sz="2000"/>
            </a:lvl9pPr>
          </a:lstStyle>
          <a:p>
            <a:pPr lvl="0"/>
            <a:r>
              <a:rPr lang="en-US"/>
              <a:t>Put the caption here, keep it regular 14 </a:t>
            </a:r>
            <a:r>
              <a:rPr lang="en-US" err="1"/>
              <a:t>pt</a:t>
            </a:r>
            <a:endParaRPr lang="en-US"/>
          </a:p>
        </p:txBody>
      </p:sp>
    </p:spTree>
    <p:extLst>
      <p:ext uri="{BB962C8B-B14F-4D97-AF65-F5344CB8AC3E}">
        <p14:creationId xmlns:p14="http://schemas.microsoft.com/office/powerpoint/2010/main" val="1516583097"/>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1_Images with caption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124A353B-E374-7740-BADE-D936639B642B}"/>
              </a:ext>
            </a:extLst>
          </p:cNvPr>
          <p:cNvSpPr>
            <a:spLocks noGrp="1"/>
          </p:cNvSpPr>
          <p:nvPr>
            <p:ph type="body" sz="half" idx="2" hasCustomPrompt="1"/>
          </p:nvPr>
        </p:nvSpPr>
        <p:spPr>
          <a:xfrm>
            <a:off x="8058561" y="1673231"/>
            <a:ext cx="3700633" cy="4032250"/>
          </a:xfrm>
        </p:spPr>
        <p:txBody>
          <a:bodyPr>
            <a:noAutofit/>
          </a:bodyPr>
          <a:lstStyle>
            <a:lvl1pPr marL="0" indent="0">
              <a:lnSpc>
                <a:spcPct val="100000"/>
              </a:lnSpc>
              <a:buNone/>
              <a:defRPr sz="2800"/>
            </a:lvl1pPr>
            <a:lvl2pPr marL="914240" indent="0">
              <a:buNone/>
              <a:defRPr sz="2800"/>
            </a:lvl2pPr>
            <a:lvl3pPr marL="1828483" indent="0">
              <a:buNone/>
              <a:defRPr sz="2400"/>
            </a:lvl3pPr>
            <a:lvl4pPr marL="2742723" indent="0">
              <a:buNone/>
              <a:defRPr sz="2000"/>
            </a:lvl4pPr>
            <a:lvl5pPr marL="3656961" indent="0">
              <a:buNone/>
              <a:defRPr sz="2000"/>
            </a:lvl5pPr>
            <a:lvl6pPr marL="4571201" indent="0">
              <a:buNone/>
              <a:defRPr sz="2000"/>
            </a:lvl6pPr>
            <a:lvl7pPr marL="5485440" indent="0">
              <a:buNone/>
              <a:defRPr sz="2000"/>
            </a:lvl7pPr>
            <a:lvl8pPr marL="6399680" indent="0">
              <a:buNone/>
              <a:defRPr sz="2000"/>
            </a:lvl8pPr>
            <a:lvl9pPr marL="7313920" indent="0">
              <a:buNone/>
              <a:defRPr sz="2000"/>
            </a:lvl9pPr>
          </a:lstStyle>
          <a:p>
            <a:pPr lvl="0"/>
            <a:r>
              <a:rPr lang="en-US"/>
              <a:t>Put the body text or caption here</a:t>
            </a:r>
            <a:endParaRPr lang="en-GB"/>
          </a:p>
        </p:txBody>
      </p:sp>
      <p:sp>
        <p:nvSpPr>
          <p:cNvPr id="3" name="Picture Placeholder 2">
            <a:extLst>
              <a:ext uri="{FF2B5EF4-FFF2-40B4-BE49-F238E27FC236}">
                <a16:creationId xmlns:a16="http://schemas.microsoft.com/office/drawing/2014/main" id="{DEE2AB82-CBD5-1145-9E32-3577A8B871DC}"/>
              </a:ext>
            </a:extLst>
          </p:cNvPr>
          <p:cNvSpPr>
            <a:spLocks noGrp="1"/>
          </p:cNvSpPr>
          <p:nvPr>
            <p:ph type="pic" sz="quarter" idx="19" hasCustomPrompt="1"/>
          </p:nvPr>
        </p:nvSpPr>
        <p:spPr>
          <a:xfrm>
            <a:off x="1679474" y="1673231"/>
            <a:ext cx="6047980" cy="4032250"/>
          </a:xfrm>
          <a:solidFill>
            <a:srgbClr val="E4E5E3"/>
          </a:solidFill>
        </p:spPr>
        <p:txBody>
          <a:bodyPr>
            <a:normAutofit/>
          </a:bodyPr>
          <a:lstStyle>
            <a:lvl1pPr marL="0" marR="0" indent="0" algn="l" defTabSz="182848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14" name="Text Placeholder 3">
            <a:extLst>
              <a:ext uri="{FF2B5EF4-FFF2-40B4-BE49-F238E27FC236}">
                <a16:creationId xmlns:a16="http://schemas.microsoft.com/office/drawing/2014/main" id="{0EC9DAF8-6896-F945-BC62-1FA59028EACA}"/>
              </a:ext>
            </a:extLst>
          </p:cNvPr>
          <p:cNvSpPr>
            <a:spLocks noGrp="1"/>
          </p:cNvSpPr>
          <p:nvPr>
            <p:ph type="body" sz="half" idx="20" hasCustomPrompt="1"/>
          </p:nvPr>
        </p:nvSpPr>
        <p:spPr>
          <a:xfrm>
            <a:off x="18984929" y="1673231"/>
            <a:ext cx="3700633" cy="4032250"/>
          </a:xfrm>
        </p:spPr>
        <p:txBody>
          <a:bodyPr>
            <a:noAutofit/>
          </a:bodyPr>
          <a:lstStyle>
            <a:lvl1pPr marL="0" indent="0">
              <a:lnSpc>
                <a:spcPct val="100000"/>
              </a:lnSpc>
              <a:buNone/>
              <a:defRPr sz="2800"/>
            </a:lvl1pPr>
            <a:lvl2pPr marL="914240" indent="0">
              <a:buNone/>
              <a:defRPr sz="2800"/>
            </a:lvl2pPr>
            <a:lvl3pPr marL="1828483" indent="0">
              <a:buNone/>
              <a:defRPr sz="2400"/>
            </a:lvl3pPr>
            <a:lvl4pPr marL="2742723" indent="0">
              <a:buNone/>
              <a:defRPr sz="2000"/>
            </a:lvl4pPr>
            <a:lvl5pPr marL="3656961" indent="0">
              <a:buNone/>
              <a:defRPr sz="2000"/>
            </a:lvl5pPr>
            <a:lvl6pPr marL="4571201" indent="0">
              <a:buNone/>
              <a:defRPr sz="2000"/>
            </a:lvl6pPr>
            <a:lvl7pPr marL="5485440" indent="0">
              <a:buNone/>
              <a:defRPr sz="2000"/>
            </a:lvl7pPr>
            <a:lvl8pPr marL="6399680" indent="0">
              <a:buNone/>
              <a:defRPr sz="2000"/>
            </a:lvl8pPr>
            <a:lvl9pPr marL="7313920" indent="0">
              <a:buNone/>
              <a:defRPr sz="2000"/>
            </a:lvl9pPr>
          </a:lstStyle>
          <a:p>
            <a:pPr lvl="0"/>
            <a:r>
              <a:rPr lang="en-US"/>
              <a:t>Put the body text or caption here</a:t>
            </a:r>
            <a:endParaRPr lang="en-GB"/>
          </a:p>
        </p:txBody>
      </p:sp>
      <p:sp>
        <p:nvSpPr>
          <p:cNvPr id="15" name="Picture Placeholder 2">
            <a:extLst>
              <a:ext uri="{FF2B5EF4-FFF2-40B4-BE49-F238E27FC236}">
                <a16:creationId xmlns:a16="http://schemas.microsoft.com/office/drawing/2014/main" id="{DFDA796F-563B-BF4B-9884-8B1A4AA2E248}"/>
              </a:ext>
            </a:extLst>
          </p:cNvPr>
          <p:cNvSpPr>
            <a:spLocks noGrp="1"/>
          </p:cNvSpPr>
          <p:nvPr>
            <p:ph type="pic" sz="quarter" idx="21" hasCustomPrompt="1"/>
          </p:nvPr>
        </p:nvSpPr>
        <p:spPr>
          <a:xfrm>
            <a:off x="12605843" y="1673231"/>
            <a:ext cx="6047980" cy="4032250"/>
          </a:xfrm>
          <a:solidFill>
            <a:srgbClr val="E4E5E3"/>
          </a:solidFill>
        </p:spPr>
        <p:txBody>
          <a:bodyPr>
            <a:normAutofit/>
          </a:bodyPr>
          <a:lstStyle>
            <a:lvl1pPr marL="0" marR="0" indent="0" algn="l" defTabSz="182848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16" name="Text Placeholder 3">
            <a:extLst>
              <a:ext uri="{FF2B5EF4-FFF2-40B4-BE49-F238E27FC236}">
                <a16:creationId xmlns:a16="http://schemas.microsoft.com/office/drawing/2014/main" id="{B2CDF5E0-6262-EF4B-90E2-B7C89A2D4134}"/>
              </a:ext>
            </a:extLst>
          </p:cNvPr>
          <p:cNvSpPr>
            <a:spLocks noGrp="1"/>
          </p:cNvSpPr>
          <p:nvPr>
            <p:ph type="body" sz="half" idx="22" hasCustomPrompt="1"/>
          </p:nvPr>
        </p:nvSpPr>
        <p:spPr>
          <a:xfrm>
            <a:off x="8058561" y="6862453"/>
            <a:ext cx="3700633" cy="4032250"/>
          </a:xfrm>
        </p:spPr>
        <p:txBody>
          <a:bodyPr>
            <a:noAutofit/>
          </a:bodyPr>
          <a:lstStyle>
            <a:lvl1pPr marL="0" indent="0">
              <a:lnSpc>
                <a:spcPct val="100000"/>
              </a:lnSpc>
              <a:buNone/>
              <a:defRPr sz="2800"/>
            </a:lvl1pPr>
            <a:lvl2pPr marL="914240" indent="0">
              <a:buNone/>
              <a:defRPr sz="2800"/>
            </a:lvl2pPr>
            <a:lvl3pPr marL="1828483" indent="0">
              <a:buNone/>
              <a:defRPr sz="2400"/>
            </a:lvl3pPr>
            <a:lvl4pPr marL="2742723" indent="0">
              <a:buNone/>
              <a:defRPr sz="2000"/>
            </a:lvl4pPr>
            <a:lvl5pPr marL="3656961" indent="0">
              <a:buNone/>
              <a:defRPr sz="2000"/>
            </a:lvl5pPr>
            <a:lvl6pPr marL="4571201" indent="0">
              <a:buNone/>
              <a:defRPr sz="2000"/>
            </a:lvl6pPr>
            <a:lvl7pPr marL="5485440" indent="0">
              <a:buNone/>
              <a:defRPr sz="2000"/>
            </a:lvl7pPr>
            <a:lvl8pPr marL="6399680" indent="0">
              <a:buNone/>
              <a:defRPr sz="2000"/>
            </a:lvl8pPr>
            <a:lvl9pPr marL="7313920" indent="0">
              <a:buNone/>
              <a:defRPr sz="2000"/>
            </a:lvl9pPr>
          </a:lstStyle>
          <a:p>
            <a:pPr lvl="0"/>
            <a:r>
              <a:rPr lang="en-US"/>
              <a:t>Put the body text or caption here</a:t>
            </a:r>
            <a:endParaRPr lang="en-GB"/>
          </a:p>
        </p:txBody>
      </p:sp>
      <p:sp>
        <p:nvSpPr>
          <p:cNvPr id="17" name="Picture Placeholder 2">
            <a:extLst>
              <a:ext uri="{FF2B5EF4-FFF2-40B4-BE49-F238E27FC236}">
                <a16:creationId xmlns:a16="http://schemas.microsoft.com/office/drawing/2014/main" id="{7B0F94D7-E140-844D-9E21-505B0B19C200}"/>
              </a:ext>
            </a:extLst>
          </p:cNvPr>
          <p:cNvSpPr>
            <a:spLocks noGrp="1"/>
          </p:cNvSpPr>
          <p:nvPr>
            <p:ph type="pic" sz="quarter" idx="23" hasCustomPrompt="1"/>
          </p:nvPr>
        </p:nvSpPr>
        <p:spPr>
          <a:xfrm>
            <a:off x="1679474" y="6862453"/>
            <a:ext cx="6047980" cy="4032250"/>
          </a:xfrm>
          <a:solidFill>
            <a:srgbClr val="E4E5E3"/>
          </a:solidFill>
        </p:spPr>
        <p:txBody>
          <a:bodyPr>
            <a:normAutofit/>
          </a:bodyPr>
          <a:lstStyle>
            <a:lvl1pPr marL="0" marR="0" indent="0" algn="l" defTabSz="182848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24" name="Text Placeholder 3">
            <a:extLst>
              <a:ext uri="{FF2B5EF4-FFF2-40B4-BE49-F238E27FC236}">
                <a16:creationId xmlns:a16="http://schemas.microsoft.com/office/drawing/2014/main" id="{7CD72929-2819-6941-BC3F-7845DE153E75}"/>
              </a:ext>
            </a:extLst>
          </p:cNvPr>
          <p:cNvSpPr>
            <a:spLocks noGrp="1"/>
          </p:cNvSpPr>
          <p:nvPr>
            <p:ph type="body" sz="half" idx="24" hasCustomPrompt="1"/>
          </p:nvPr>
        </p:nvSpPr>
        <p:spPr>
          <a:xfrm>
            <a:off x="18984929" y="6862453"/>
            <a:ext cx="3700633" cy="4032250"/>
          </a:xfrm>
        </p:spPr>
        <p:txBody>
          <a:bodyPr>
            <a:noAutofit/>
          </a:bodyPr>
          <a:lstStyle>
            <a:lvl1pPr marL="0" indent="0">
              <a:lnSpc>
                <a:spcPct val="100000"/>
              </a:lnSpc>
              <a:buNone/>
              <a:defRPr sz="2800"/>
            </a:lvl1pPr>
            <a:lvl2pPr marL="914240" indent="0">
              <a:buNone/>
              <a:defRPr sz="2800"/>
            </a:lvl2pPr>
            <a:lvl3pPr marL="1828483" indent="0">
              <a:buNone/>
              <a:defRPr sz="2400"/>
            </a:lvl3pPr>
            <a:lvl4pPr marL="2742723" indent="0">
              <a:buNone/>
              <a:defRPr sz="2000"/>
            </a:lvl4pPr>
            <a:lvl5pPr marL="3656961" indent="0">
              <a:buNone/>
              <a:defRPr sz="2000"/>
            </a:lvl5pPr>
            <a:lvl6pPr marL="4571201" indent="0">
              <a:buNone/>
              <a:defRPr sz="2000"/>
            </a:lvl6pPr>
            <a:lvl7pPr marL="5485440" indent="0">
              <a:buNone/>
              <a:defRPr sz="2000"/>
            </a:lvl7pPr>
            <a:lvl8pPr marL="6399680" indent="0">
              <a:buNone/>
              <a:defRPr sz="2000"/>
            </a:lvl8pPr>
            <a:lvl9pPr marL="7313920" indent="0">
              <a:buNone/>
              <a:defRPr sz="2000"/>
            </a:lvl9pPr>
          </a:lstStyle>
          <a:p>
            <a:pPr lvl="0"/>
            <a:r>
              <a:rPr lang="en-US"/>
              <a:t>Put the body text or caption here</a:t>
            </a:r>
            <a:endParaRPr lang="en-GB"/>
          </a:p>
        </p:txBody>
      </p:sp>
      <p:sp>
        <p:nvSpPr>
          <p:cNvPr id="25" name="Picture Placeholder 2">
            <a:extLst>
              <a:ext uri="{FF2B5EF4-FFF2-40B4-BE49-F238E27FC236}">
                <a16:creationId xmlns:a16="http://schemas.microsoft.com/office/drawing/2014/main" id="{F2547076-AD08-1049-989A-EEE9D2FA7CED}"/>
              </a:ext>
            </a:extLst>
          </p:cNvPr>
          <p:cNvSpPr>
            <a:spLocks noGrp="1"/>
          </p:cNvSpPr>
          <p:nvPr>
            <p:ph type="pic" sz="quarter" idx="25" hasCustomPrompt="1"/>
          </p:nvPr>
        </p:nvSpPr>
        <p:spPr>
          <a:xfrm>
            <a:off x="12605843" y="6862453"/>
            <a:ext cx="6047980" cy="4032250"/>
          </a:xfrm>
          <a:solidFill>
            <a:srgbClr val="E4E5E3"/>
          </a:solidFill>
        </p:spPr>
        <p:txBody>
          <a:bodyPr>
            <a:normAutofit/>
          </a:bodyPr>
          <a:lstStyle>
            <a:lvl1pPr marL="0" marR="0" indent="0" algn="l" defTabSz="182848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Tree>
    <p:extLst>
      <p:ext uri="{BB962C8B-B14F-4D97-AF65-F5344CB8AC3E}">
        <p14:creationId xmlns:p14="http://schemas.microsoft.com/office/powerpoint/2010/main" val="427355155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1_Worldmap">
    <p:bg>
      <p:bgPr>
        <a:solidFill>
          <a:schemeClr val="bg1"/>
        </a:solidFill>
        <a:effectLst/>
      </p:bgPr>
    </p:bg>
    <p:spTree>
      <p:nvGrpSpPr>
        <p:cNvPr id="1" name=""/>
        <p:cNvGrpSpPr/>
        <p:nvPr/>
      </p:nvGrpSpPr>
      <p:grpSpPr>
        <a:xfrm>
          <a:off x="0" y="0"/>
          <a:ext cx="0" cy="0"/>
          <a:chOff x="0" y="0"/>
          <a:chExt cx="0" cy="0"/>
        </a:xfrm>
      </p:grpSpPr>
      <p:sp>
        <p:nvSpPr>
          <p:cNvPr id="1607" name="Freeform 5">
            <a:extLst>
              <a:ext uri="{FF2B5EF4-FFF2-40B4-BE49-F238E27FC236}">
                <a16:creationId xmlns:a16="http://schemas.microsoft.com/office/drawing/2014/main" id="{663D4140-A46B-CC56-42A1-B64D6BC07598}"/>
              </a:ext>
            </a:extLst>
          </p:cNvPr>
          <p:cNvSpPr>
            <a:spLocks/>
          </p:cNvSpPr>
          <p:nvPr userDrawn="1"/>
        </p:nvSpPr>
        <p:spPr bwMode="auto">
          <a:xfrm>
            <a:off x="15966036" y="10181506"/>
            <a:ext cx="12701" cy="28576"/>
          </a:xfrm>
          <a:custGeom>
            <a:avLst/>
            <a:gdLst>
              <a:gd name="T0" fmla="*/ 0 w 4"/>
              <a:gd name="T1" fmla="*/ 6 h 9"/>
              <a:gd name="T2" fmla="*/ 0 w 4"/>
              <a:gd name="T3" fmla="*/ 3 h 9"/>
              <a:gd name="T4" fmla="*/ 0 w 4"/>
              <a:gd name="T5" fmla="*/ 0 h 9"/>
              <a:gd name="T6" fmla="*/ 0 w 4"/>
              <a:gd name="T7" fmla="*/ 0 h 9"/>
              <a:gd name="T8" fmla="*/ 4 w 4"/>
              <a:gd name="T9" fmla="*/ 3 h 9"/>
              <a:gd name="T10" fmla="*/ 0 w 4"/>
              <a:gd name="T11" fmla="*/ 9 h 9"/>
              <a:gd name="T12" fmla="*/ 0 w 4"/>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4" h="9">
                <a:moveTo>
                  <a:pt x="0" y="6"/>
                </a:moveTo>
                <a:lnTo>
                  <a:pt x="0" y="3"/>
                </a:lnTo>
                <a:lnTo>
                  <a:pt x="0" y="0"/>
                </a:lnTo>
                <a:lnTo>
                  <a:pt x="0" y="0"/>
                </a:lnTo>
                <a:lnTo>
                  <a:pt x="4" y="3"/>
                </a:lnTo>
                <a:lnTo>
                  <a:pt x="0" y="9"/>
                </a:lnTo>
                <a:lnTo>
                  <a:pt x="0" y="6"/>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08" name="Freeform 6">
            <a:extLst>
              <a:ext uri="{FF2B5EF4-FFF2-40B4-BE49-F238E27FC236}">
                <a16:creationId xmlns:a16="http://schemas.microsoft.com/office/drawing/2014/main" id="{CEA24B5F-4D6C-40A4-293A-552B9FC59BD1}"/>
              </a:ext>
            </a:extLst>
          </p:cNvPr>
          <p:cNvSpPr>
            <a:spLocks noEditPoints="1"/>
          </p:cNvSpPr>
          <p:nvPr userDrawn="1"/>
        </p:nvSpPr>
        <p:spPr bwMode="auto">
          <a:xfrm>
            <a:off x="15839046" y="10092613"/>
            <a:ext cx="98420" cy="69850"/>
          </a:xfrm>
          <a:custGeom>
            <a:avLst/>
            <a:gdLst>
              <a:gd name="T0" fmla="*/ 6 w 31"/>
              <a:gd name="T1" fmla="*/ 12 h 22"/>
              <a:gd name="T2" fmla="*/ 9 w 31"/>
              <a:gd name="T3" fmla="*/ 9 h 22"/>
              <a:gd name="T4" fmla="*/ 6 w 31"/>
              <a:gd name="T5" fmla="*/ 6 h 22"/>
              <a:gd name="T6" fmla="*/ 9 w 31"/>
              <a:gd name="T7" fmla="*/ 6 h 22"/>
              <a:gd name="T8" fmla="*/ 6 w 31"/>
              <a:gd name="T9" fmla="*/ 0 h 22"/>
              <a:gd name="T10" fmla="*/ 3 w 31"/>
              <a:gd name="T11" fmla="*/ 0 h 22"/>
              <a:gd name="T12" fmla="*/ 0 w 31"/>
              <a:gd name="T13" fmla="*/ 6 h 22"/>
              <a:gd name="T14" fmla="*/ 3 w 31"/>
              <a:gd name="T15" fmla="*/ 9 h 22"/>
              <a:gd name="T16" fmla="*/ 3 w 31"/>
              <a:gd name="T17" fmla="*/ 12 h 22"/>
              <a:gd name="T18" fmla="*/ 6 w 31"/>
              <a:gd name="T19" fmla="*/ 12 h 22"/>
              <a:gd name="T20" fmla="*/ 6 w 31"/>
              <a:gd name="T21" fmla="*/ 12 h 22"/>
              <a:gd name="T22" fmla="*/ 6 w 31"/>
              <a:gd name="T23" fmla="*/ 12 h 22"/>
              <a:gd name="T24" fmla="*/ 9 w 31"/>
              <a:gd name="T25" fmla="*/ 22 h 22"/>
              <a:gd name="T26" fmla="*/ 9 w 31"/>
              <a:gd name="T27" fmla="*/ 22 h 22"/>
              <a:gd name="T28" fmla="*/ 12 w 31"/>
              <a:gd name="T29" fmla="*/ 22 h 22"/>
              <a:gd name="T30" fmla="*/ 9 w 31"/>
              <a:gd name="T31" fmla="*/ 22 h 22"/>
              <a:gd name="T32" fmla="*/ 6 w 31"/>
              <a:gd name="T33" fmla="*/ 22 h 22"/>
              <a:gd name="T34" fmla="*/ 9 w 31"/>
              <a:gd name="T35" fmla="*/ 22 h 22"/>
              <a:gd name="T36" fmla="*/ 9 w 31"/>
              <a:gd name="T37" fmla="*/ 22 h 22"/>
              <a:gd name="T38" fmla="*/ 28 w 31"/>
              <a:gd name="T39" fmla="*/ 22 h 22"/>
              <a:gd name="T40" fmla="*/ 31 w 31"/>
              <a:gd name="T41" fmla="*/ 22 h 22"/>
              <a:gd name="T42" fmla="*/ 28 w 31"/>
              <a:gd name="T43" fmla="*/ 15 h 22"/>
              <a:gd name="T44" fmla="*/ 28 w 31"/>
              <a:gd name="T45" fmla="*/ 18 h 22"/>
              <a:gd name="T46" fmla="*/ 25 w 31"/>
              <a:gd name="T47" fmla="*/ 18 h 22"/>
              <a:gd name="T48" fmla="*/ 28 w 31"/>
              <a:gd name="T49" fmla="*/ 22 h 22"/>
              <a:gd name="T50" fmla="*/ 28 w 31"/>
              <a:gd name="T5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22">
                <a:moveTo>
                  <a:pt x="6" y="12"/>
                </a:moveTo>
                <a:lnTo>
                  <a:pt x="9" y="9"/>
                </a:lnTo>
                <a:lnTo>
                  <a:pt x="6" y="6"/>
                </a:lnTo>
                <a:lnTo>
                  <a:pt x="9" y="6"/>
                </a:lnTo>
                <a:lnTo>
                  <a:pt x="6" y="0"/>
                </a:lnTo>
                <a:lnTo>
                  <a:pt x="3" y="0"/>
                </a:lnTo>
                <a:lnTo>
                  <a:pt x="0" y="6"/>
                </a:lnTo>
                <a:lnTo>
                  <a:pt x="3" y="9"/>
                </a:lnTo>
                <a:lnTo>
                  <a:pt x="3" y="12"/>
                </a:lnTo>
                <a:lnTo>
                  <a:pt x="6" y="12"/>
                </a:lnTo>
                <a:lnTo>
                  <a:pt x="6" y="12"/>
                </a:lnTo>
                <a:lnTo>
                  <a:pt x="6" y="12"/>
                </a:lnTo>
                <a:close/>
                <a:moveTo>
                  <a:pt x="9" y="22"/>
                </a:moveTo>
                <a:lnTo>
                  <a:pt x="9" y="22"/>
                </a:lnTo>
                <a:lnTo>
                  <a:pt x="12" y="22"/>
                </a:lnTo>
                <a:lnTo>
                  <a:pt x="9" y="22"/>
                </a:lnTo>
                <a:lnTo>
                  <a:pt x="6" y="22"/>
                </a:lnTo>
                <a:lnTo>
                  <a:pt x="9" y="22"/>
                </a:lnTo>
                <a:lnTo>
                  <a:pt x="9" y="22"/>
                </a:lnTo>
                <a:close/>
                <a:moveTo>
                  <a:pt x="28" y="22"/>
                </a:moveTo>
                <a:lnTo>
                  <a:pt x="31" y="22"/>
                </a:lnTo>
                <a:lnTo>
                  <a:pt x="28" y="15"/>
                </a:lnTo>
                <a:lnTo>
                  <a:pt x="28" y="18"/>
                </a:lnTo>
                <a:lnTo>
                  <a:pt x="25" y="18"/>
                </a:lnTo>
                <a:lnTo>
                  <a:pt x="28" y="22"/>
                </a:lnTo>
                <a:lnTo>
                  <a:pt x="28" y="22"/>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09" name="Freeform 7">
            <a:extLst>
              <a:ext uri="{FF2B5EF4-FFF2-40B4-BE49-F238E27FC236}">
                <a16:creationId xmlns:a16="http://schemas.microsoft.com/office/drawing/2014/main" id="{4148015F-CFE2-15F1-3028-6764DE479678}"/>
              </a:ext>
            </a:extLst>
          </p:cNvPr>
          <p:cNvSpPr>
            <a:spLocks noEditPoints="1"/>
          </p:cNvSpPr>
          <p:nvPr userDrawn="1"/>
        </p:nvSpPr>
        <p:spPr bwMode="auto">
          <a:xfrm>
            <a:off x="16045407" y="9673508"/>
            <a:ext cx="596863" cy="330200"/>
          </a:xfrm>
          <a:custGeom>
            <a:avLst/>
            <a:gdLst>
              <a:gd name="T0" fmla="*/ 182 w 188"/>
              <a:gd name="T1" fmla="*/ 7 h 104"/>
              <a:gd name="T2" fmla="*/ 188 w 188"/>
              <a:gd name="T3" fmla="*/ 3 h 104"/>
              <a:gd name="T4" fmla="*/ 185 w 188"/>
              <a:gd name="T5" fmla="*/ 3 h 104"/>
              <a:gd name="T6" fmla="*/ 182 w 188"/>
              <a:gd name="T7" fmla="*/ 0 h 104"/>
              <a:gd name="T8" fmla="*/ 182 w 188"/>
              <a:gd name="T9" fmla="*/ 3 h 104"/>
              <a:gd name="T10" fmla="*/ 182 w 188"/>
              <a:gd name="T11" fmla="*/ 7 h 104"/>
              <a:gd name="T12" fmla="*/ 182 w 188"/>
              <a:gd name="T13" fmla="*/ 7 h 104"/>
              <a:gd name="T14" fmla="*/ 4 w 188"/>
              <a:gd name="T15" fmla="*/ 100 h 104"/>
              <a:gd name="T16" fmla="*/ 7 w 188"/>
              <a:gd name="T17" fmla="*/ 100 h 104"/>
              <a:gd name="T18" fmla="*/ 7 w 188"/>
              <a:gd name="T19" fmla="*/ 104 h 104"/>
              <a:gd name="T20" fmla="*/ 4 w 188"/>
              <a:gd name="T21" fmla="*/ 100 h 104"/>
              <a:gd name="T22" fmla="*/ 4 w 188"/>
              <a:gd name="T23" fmla="*/ 100 h 104"/>
              <a:gd name="T24" fmla="*/ 0 w 188"/>
              <a:gd name="T25" fmla="*/ 94 h 104"/>
              <a:gd name="T26" fmla="*/ 4 w 188"/>
              <a:gd name="T27" fmla="*/ 91 h 104"/>
              <a:gd name="T28" fmla="*/ 7 w 188"/>
              <a:gd name="T29" fmla="*/ 94 h 104"/>
              <a:gd name="T30" fmla="*/ 7 w 188"/>
              <a:gd name="T31" fmla="*/ 94 h 104"/>
              <a:gd name="T32" fmla="*/ 7 w 188"/>
              <a:gd name="T33" fmla="*/ 94 h 104"/>
              <a:gd name="T34" fmla="*/ 4 w 188"/>
              <a:gd name="T35" fmla="*/ 94 h 104"/>
              <a:gd name="T36" fmla="*/ 0 w 188"/>
              <a:gd name="T37" fmla="*/ 9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8" h="104">
                <a:moveTo>
                  <a:pt x="182" y="7"/>
                </a:moveTo>
                <a:lnTo>
                  <a:pt x="188" y="3"/>
                </a:lnTo>
                <a:lnTo>
                  <a:pt x="185" y="3"/>
                </a:lnTo>
                <a:lnTo>
                  <a:pt x="182" y="0"/>
                </a:lnTo>
                <a:lnTo>
                  <a:pt x="182" y="3"/>
                </a:lnTo>
                <a:lnTo>
                  <a:pt x="182" y="7"/>
                </a:lnTo>
                <a:lnTo>
                  <a:pt x="182" y="7"/>
                </a:lnTo>
                <a:close/>
                <a:moveTo>
                  <a:pt x="4" y="100"/>
                </a:moveTo>
                <a:lnTo>
                  <a:pt x="7" y="100"/>
                </a:lnTo>
                <a:lnTo>
                  <a:pt x="7" y="104"/>
                </a:lnTo>
                <a:lnTo>
                  <a:pt x="4" y="100"/>
                </a:lnTo>
                <a:lnTo>
                  <a:pt x="4" y="100"/>
                </a:lnTo>
                <a:close/>
                <a:moveTo>
                  <a:pt x="0" y="94"/>
                </a:moveTo>
                <a:lnTo>
                  <a:pt x="4" y="91"/>
                </a:lnTo>
                <a:lnTo>
                  <a:pt x="7" y="94"/>
                </a:lnTo>
                <a:lnTo>
                  <a:pt x="7" y="94"/>
                </a:lnTo>
                <a:lnTo>
                  <a:pt x="7" y="94"/>
                </a:lnTo>
                <a:lnTo>
                  <a:pt x="4" y="94"/>
                </a:lnTo>
                <a:lnTo>
                  <a:pt x="0" y="94"/>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0" name="Freeform 8">
            <a:extLst>
              <a:ext uri="{FF2B5EF4-FFF2-40B4-BE49-F238E27FC236}">
                <a16:creationId xmlns:a16="http://schemas.microsoft.com/office/drawing/2014/main" id="{317C6F66-A9E3-BF48-47B1-D16EC261A1D1}"/>
              </a:ext>
            </a:extLst>
          </p:cNvPr>
          <p:cNvSpPr>
            <a:spLocks noEditPoints="1"/>
          </p:cNvSpPr>
          <p:nvPr userDrawn="1"/>
        </p:nvSpPr>
        <p:spPr bwMode="auto">
          <a:xfrm>
            <a:off x="18915424" y="8501930"/>
            <a:ext cx="136517" cy="457200"/>
          </a:xfrm>
          <a:custGeom>
            <a:avLst/>
            <a:gdLst>
              <a:gd name="T0" fmla="*/ 6 w 14"/>
              <a:gd name="T1" fmla="*/ 8 h 46"/>
              <a:gd name="T2" fmla="*/ 5 w 14"/>
              <a:gd name="T3" fmla="*/ 5 h 46"/>
              <a:gd name="T4" fmla="*/ 6 w 14"/>
              <a:gd name="T5" fmla="*/ 3 h 46"/>
              <a:gd name="T6" fmla="*/ 6 w 14"/>
              <a:gd name="T7" fmla="*/ 1 h 46"/>
              <a:gd name="T8" fmla="*/ 4 w 14"/>
              <a:gd name="T9" fmla="*/ 2 h 46"/>
              <a:gd name="T10" fmla="*/ 4 w 14"/>
              <a:gd name="T11" fmla="*/ 5 h 46"/>
              <a:gd name="T12" fmla="*/ 4 w 14"/>
              <a:gd name="T13" fmla="*/ 8 h 46"/>
              <a:gd name="T14" fmla="*/ 4 w 14"/>
              <a:gd name="T15" fmla="*/ 16 h 46"/>
              <a:gd name="T16" fmla="*/ 4 w 14"/>
              <a:gd name="T17" fmla="*/ 13 h 46"/>
              <a:gd name="T18" fmla="*/ 4 w 14"/>
              <a:gd name="T19" fmla="*/ 11 h 46"/>
              <a:gd name="T20" fmla="*/ 5 w 14"/>
              <a:gd name="T21" fmla="*/ 9 h 46"/>
              <a:gd name="T22" fmla="*/ 3 w 14"/>
              <a:gd name="T23" fmla="*/ 12 h 46"/>
              <a:gd name="T24" fmla="*/ 4 w 14"/>
              <a:gd name="T25" fmla="*/ 14 h 46"/>
              <a:gd name="T26" fmla="*/ 4 w 14"/>
              <a:gd name="T27" fmla="*/ 16 h 46"/>
              <a:gd name="T28" fmla="*/ 2 w 14"/>
              <a:gd name="T29" fmla="*/ 15 h 46"/>
              <a:gd name="T30" fmla="*/ 0 w 14"/>
              <a:gd name="T31" fmla="*/ 15 h 46"/>
              <a:gd name="T32" fmla="*/ 4 w 14"/>
              <a:gd name="T33" fmla="*/ 22 h 46"/>
              <a:gd name="T34" fmla="*/ 4 w 14"/>
              <a:gd name="T35" fmla="*/ 19 h 46"/>
              <a:gd name="T36" fmla="*/ 2 w 14"/>
              <a:gd name="T37" fmla="*/ 21 h 46"/>
              <a:gd name="T38" fmla="*/ 6 w 14"/>
              <a:gd name="T39" fmla="*/ 29 h 46"/>
              <a:gd name="T40" fmla="*/ 6 w 14"/>
              <a:gd name="T41" fmla="*/ 30 h 46"/>
              <a:gd name="T42" fmla="*/ 8 w 14"/>
              <a:gd name="T43" fmla="*/ 34 h 46"/>
              <a:gd name="T44" fmla="*/ 9 w 14"/>
              <a:gd name="T45" fmla="*/ 36 h 46"/>
              <a:gd name="T46" fmla="*/ 8 w 14"/>
              <a:gd name="T47" fmla="*/ 34 h 46"/>
              <a:gd name="T48" fmla="*/ 10 w 14"/>
              <a:gd name="T49" fmla="*/ 36 h 46"/>
              <a:gd name="T50" fmla="*/ 11 w 14"/>
              <a:gd name="T51" fmla="*/ 37 h 46"/>
              <a:gd name="T52" fmla="*/ 11 w 14"/>
              <a:gd name="T53" fmla="*/ 35 h 46"/>
              <a:gd name="T54" fmla="*/ 10 w 14"/>
              <a:gd name="T55" fmla="*/ 39 h 46"/>
              <a:gd name="T56" fmla="*/ 10 w 14"/>
              <a:gd name="T57" fmla="*/ 37 h 46"/>
              <a:gd name="T58" fmla="*/ 9 w 14"/>
              <a:gd name="T59" fmla="*/ 39 h 46"/>
              <a:gd name="T60" fmla="*/ 13 w 14"/>
              <a:gd name="T61" fmla="*/ 41 h 46"/>
              <a:gd name="T62" fmla="*/ 11 w 14"/>
              <a:gd name="T63" fmla="*/ 41 h 46"/>
              <a:gd name="T64" fmla="*/ 13 w 14"/>
              <a:gd name="T65" fmla="*/ 42 h 46"/>
              <a:gd name="T66" fmla="*/ 12 w 14"/>
              <a:gd name="T67" fmla="*/ 44 h 46"/>
              <a:gd name="T68" fmla="*/ 13 w 14"/>
              <a:gd name="T69" fmla="*/ 46 h 46"/>
              <a:gd name="T70" fmla="*/ 13 w 14"/>
              <a:gd name="T71" fmla="*/ 44 h 46"/>
              <a:gd name="T72" fmla="*/ 13 w 14"/>
              <a:gd name="T73"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46">
                <a:moveTo>
                  <a:pt x="4" y="9"/>
                </a:moveTo>
                <a:cubicBezTo>
                  <a:pt x="6" y="8"/>
                  <a:pt x="6" y="8"/>
                  <a:pt x="6" y="8"/>
                </a:cubicBezTo>
                <a:cubicBezTo>
                  <a:pt x="6" y="6"/>
                  <a:pt x="6" y="6"/>
                  <a:pt x="6" y="6"/>
                </a:cubicBezTo>
                <a:cubicBezTo>
                  <a:pt x="5" y="5"/>
                  <a:pt x="5" y="5"/>
                  <a:pt x="5" y="5"/>
                </a:cubicBezTo>
                <a:cubicBezTo>
                  <a:pt x="6" y="4"/>
                  <a:pt x="6" y="4"/>
                  <a:pt x="6" y="4"/>
                </a:cubicBezTo>
                <a:cubicBezTo>
                  <a:pt x="6" y="3"/>
                  <a:pt x="6" y="3"/>
                  <a:pt x="6" y="3"/>
                </a:cubicBezTo>
                <a:cubicBezTo>
                  <a:pt x="5" y="2"/>
                  <a:pt x="5" y="2"/>
                  <a:pt x="5" y="2"/>
                </a:cubicBezTo>
                <a:cubicBezTo>
                  <a:pt x="6" y="1"/>
                  <a:pt x="6" y="1"/>
                  <a:pt x="6" y="1"/>
                </a:cubicBezTo>
                <a:cubicBezTo>
                  <a:pt x="5" y="0"/>
                  <a:pt x="5" y="0"/>
                  <a:pt x="5" y="0"/>
                </a:cubicBezTo>
                <a:cubicBezTo>
                  <a:pt x="4" y="2"/>
                  <a:pt x="4" y="2"/>
                  <a:pt x="4" y="2"/>
                </a:cubicBezTo>
                <a:cubicBezTo>
                  <a:pt x="4" y="4"/>
                  <a:pt x="4" y="4"/>
                  <a:pt x="4" y="4"/>
                </a:cubicBezTo>
                <a:cubicBezTo>
                  <a:pt x="4" y="5"/>
                  <a:pt x="4" y="5"/>
                  <a:pt x="4" y="5"/>
                </a:cubicBezTo>
                <a:cubicBezTo>
                  <a:pt x="4" y="5"/>
                  <a:pt x="4" y="5"/>
                  <a:pt x="4" y="5"/>
                </a:cubicBezTo>
                <a:cubicBezTo>
                  <a:pt x="4" y="8"/>
                  <a:pt x="4" y="8"/>
                  <a:pt x="4" y="8"/>
                </a:cubicBezTo>
                <a:cubicBezTo>
                  <a:pt x="4" y="9"/>
                  <a:pt x="4" y="9"/>
                  <a:pt x="4" y="9"/>
                </a:cubicBezTo>
                <a:close/>
                <a:moveTo>
                  <a:pt x="4" y="16"/>
                </a:moveTo>
                <a:cubicBezTo>
                  <a:pt x="4" y="14"/>
                  <a:pt x="4" y="14"/>
                  <a:pt x="4" y="14"/>
                </a:cubicBezTo>
                <a:cubicBezTo>
                  <a:pt x="4" y="13"/>
                  <a:pt x="4" y="13"/>
                  <a:pt x="4" y="13"/>
                </a:cubicBezTo>
                <a:cubicBezTo>
                  <a:pt x="4" y="12"/>
                  <a:pt x="4" y="12"/>
                  <a:pt x="4" y="12"/>
                </a:cubicBezTo>
                <a:cubicBezTo>
                  <a:pt x="4" y="11"/>
                  <a:pt x="4" y="11"/>
                  <a:pt x="4" y="11"/>
                </a:cubicBezTo>
                <a:cubicBezTo>
                  <a:pt x="5" y="10"/>
                  <a:pt x="5" y="10"/>
                  <a:pt x="5" y="10"/>
                </a:cubicBezTo>
                <a:cubicBezTo>
                  <a:pt x="5" y="9"/>
                  <a:pt x="5" y="9"/>
                  <a:pt x="5" y="9"/>
                </a:cubicBezTo>
                <a:cubicBezTo>
                  <a:pt x="3" y="10"/>
                  <a:pt x="3" y="10"/>
                  <a:pt x="3" y="10"/>
                </a:cubicBezTo>
                <a:cubicBezTo>
                  <a:pt x="3" y="12"/>
                  <a:pt x="3" y="12"/>
                  <a:pt x="3" y="12"/>
                </a:cubicBezTo>
                <a:cubicBezTo>
                  <a:pt x="3" y="13"/>
                  <a:pt x="3" y="13"/>
                  <a:pt x="3" y="13"/>
                </a:cubicBezTo>
                <a:cubicBezTo>
                  <a:pt x="4" y="14"/>
                  <a:pt x="4" y="14"/>
                  <a:pt x="4" y="14"/>
                </a:cubicBezTo>
                <a:cubicBezTo>
                  <a:pt x="3" y="15"/>
                  <a:pt x="3" y="15"/>
                  <a:pt x="3" y="15"/>
                </a:cubicBezTo>
                <a:cubicBezTo>
                  <a:pt x="4" y="16"/>
                  <a:pt x="4" y="16"/>
                  <a:pt x="4" y="16"/>
                </a:cubicBezTo>
                <a:close/>
                <a:moveTo>
                  <a:pt x="0" y="15"/>
                </a:moveTo>
                <a:cubicBezTo>
                  <a:pt x="2" y="15"/>
                  <a:pt x="2" y="15"/>
                  <a:pt x="2" y="15"/>
                </a:cubicBezTo>
                <a:cubicBezTo>
                  <a:pt x="1" y="14"/>
                  <a:pt x="1" y="14"/>
                  <a:pt x="1" y="14"/>
                </a:cubicBezTo>
                <a:cubicBezTo>
                  <a:pt x="0" y="15"/>
                  <a:pt x="0" y="15"/>
                  <a:pt x="0" y="15"/>
                </a:cubicBezTo>
                <a:close/>
                <a:moveTo>
                  <a:pt x="2" y="22"/>
                </a:moveTo>
                <a:cubicBezTo>
                  <a:pt x="4" y="22"/>
                  <a:pt x="4" y="22"/>
                  <a:pt x="4" y="22"/>
                </a:cubicBezTo>
                <a:cubicBezTo>
                  <a:pt x="4" y="20"/>
                  <a:pt x="4" y="20"/>
                  <a:pt x="4" y="20"/>
                </a:cubicBezTo>
                <a:cubicBezTo>
                  <a:pt x="4" y="19"/>
                  <a:pt x="4" y="19"/>
                  <a:pt x="4" y="19"/>
                </a:cubicBezTo>
                <a:cubicBezTo>
                  <a:pt x="3" y="19"/>
                  <a:pt x="3" y="19"/>
                  <a:pt x="3" y="19"/>
                </a:cubicBezTo>
                <a:cubicBezTo>
                  <a:pt x="2" y="21"/>
                  <a:pt x="2" y="21"/>
                  <a:pt x="2" y="21"/>
                </a:cubicBezTo>
                <a:cubicBezTo>
                  <a:pt x="2" y="21"/>
                  <a:pt x="2" y="22"/>
                  <a:pt x="2" y="22"/>
                </a:cubicBezTo>
                <a:close/>
                <a:moveTo>
                  <a:pt x="6" y="29"/>
                </a:moveTo>
                <a:cubicBezTo>
                  <a:pt x="5" y="30"/>
                  <a:pt x="5" y="30"/>
                  <a:pt x="5" y="30"/>
                </a:cubicBezTo>
                <a:cubicBezTo>
                  <a:pt x="6" y="30"/>
                  <a:pt x="6" y="30"/>
                  <a:pt x="6" y="30"/>
                </a:cubicBezTo>
                <a:cubicBezTo>
                  <a:pt x="6" y="29"/>
                  <a:pt x="6" y="29"/>
                  <a:pt x="6" y="29"/>
                </a:cubicBezTo>
                <a:close/>
                <a:moveTo>
                  <a:pt x="8" y="34"/>
                </a:moveTo>
                <a:cubicBezTo>
                  <a:pt x="8" y="35"/>
                  <a:pt x="8" y="35"/>
                  <a:pt x="8" y="35"/>
                </a:cubicBezTo>
                <a:cubicBezTo>
                  <a:pt x="9" y="36"/>
                  <a:pt x="9" y="36"/>
                  <a:pt x="9" y="36"/>
                </a:cubicBezTo>
                <a:cubicBezTo>
                  <a:pt x="8" y="35"/>
                  <a:pt x="8" y="35"/>
                  <a:pt x="8" y="35"/>
                </a:cubicBezTo>
                <a:cubicBezTo>
                  <a:pt x="8" y="35"/>
                  <a:pt x="8" y="34"/>
                  <a:pt x="8" y="34"/>
                </a:cubicBezTo>
                <a:close/>
                <a:moveTo>
                  <a:pt x="11" y="35"/>
                </a:moveTo>
                <a:cubicBezTo>
                  <a:pt x="10" y="36"/>
                  <a:pt x="10" y="36"/>
                  <a:pt x="10" y="36"/>
                </a:cubicBezTo>
                <a:cubicBezTo>
                  <a:pt x="11" y="37"/>
                  <a:pt x="11" y="37"/>
                  <a:pt x="11" y="37"/>
                </a:cubicBezTo>
                <a:cubicBezTo>
                  <a:pt x="11" y="37"/>
                  <a:pt x="11" y="37"/>
                  <a:pt x="11" y="37"/>
                </a:cubicBezTo>
                <a:cubicBezTo>
                  <a:pt x="11" y="36"/>
                  <a:pt x="11" y="36"/>
                  <a:pt x="11" y="36"/>
                </a:cubicBezTo>
                <a:cubicBezTo>
                  <a:pt x="11" y="35"/>
                  <a:pt x="11" y="35"/>
                  <a:pt x="11" y="35"/>
                </a:cubicBezTo>
                <a:close/>
                <a:moveTo>
                  <a:pt x="9" y="39"/>
                </a:moveTo>
                <a:cubicBezTo>
                  <a:pt x="10" y="39"/>
                  <a:pt x="10" y="39"/>
                  <a:pt x="10" y="39"/>
                </a:cubicBezTo>
                <a:cubicBezTo>
                  <a:pt x="11" y="39"/>
                  <a:pt x="11" y="39"/>
                  <a:pt x="11" y="39"/>
                </a:cubicBezTo>
                <a:cubicBezTo>
                  <a:pt x="10" y="37"/>
                  <a:pt x="10" y="37"/>
                  <a:pt x="10" y="37"/>
                </a:cubicBezTo>
                <a:cubicBezTo>
                  <a:pt x="9" y="38"/>
                  <a:pt x="9" y="38"/>
                  <a:pt x="9" y="38"/>
                </a:cubicBezTo>
                <a:cubicBezTo>
                  <a:pt x="9" y="39"/>
                  <a:pt x="9" y="39"/>
                  <a:pt x="9" y="39"/>
                </a:cubicBezTo>
                <a:close/>
                <a:moveTo>
                  <a:pt x="12" y="42"/>
                </a:moveTo>
                <a:cubicBezTo>
                  <a:pt x="13" y="41"/>
                  <a:pt x="13" y="41"/>
                  <a:pt x="13" y="41"/>
                </a:cubicBezTo>
                <a:cubicBezTo>
                  <a:pt x="12" y="41"/>
                  <a:pt x="12" y="41"/>
                  <a:pt x="12" y="41"/>
                </a:cubicBezTo>
                <a:cubicBezTo>
                  <a:pt x="11" y="41"/>
                  <a:pt x="11" y="41"/>
                  <a:pt x="11" y="41"/>
                </a:cubicBezTo>
                <a:cubicBezTo>
                  <a:pt x="12" y="42"/>
                  <a:pt x="12" y="42"/>
                  <a:pt x="12" y="42"/>
                </a:cubicBezTo>
                <a:close/>
                <a:moveTo>
                  <a:pt x="13" y="42"/>
                </a:moveTo>
                <a:cubicBezTo>
                  <a:pt x="12" y="43"/>
                  <a:pt x="12" y="43"/>
                  <a:pt x="12" y="43"/>
                </a:cubicBezTo>
                <a:cubicBezTo>
                  <a:pt x="12" y="44"/>
                  <a:pt x="12" y="44"/>
                  <a:pt x="12" y="44"/>
                </a:cubicBezTo>
                <a:cubicBezTo>
                  <a:pt x="12" y="44"/>
                  <a:pt x="12" y="44"/>
                  <a:pt x="12" y="45"/>
                </a:cubicBezTo>
                <a:cubicBezTo>
                  <a:pt x="12" y="45"/>
                  <a:pt x="13" y="46"/>
                  <a:pt x="13" y="46"/>
                </a:cubicBezTo>
                <a:cubicBezTo>
                  <a:pt x="14" y="45"/>
                  <a:pt x="14" y="45"/>
                  <a:pt x="14" y="45"/>
                </a:cubicBezTo>
                <a:cubicBezTo>
                  <a:pt x="13" y="44"/>
                  <a:pt x="13" y="44"/>
                  <a:pt x="13" y="44"/>
                </a:cubicBezTo>
                <a:cubicBezTo>
                  <a:pt x="13" y="43"/>
                  <a:pt x="13" y="43"/>
                  <a:pt x="13" y="43"/>
                </a:cubicBezTo>
                <a:lnTo>
                  <a:pt x="13" y="42"/>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1" name="Freeform 9">
            <a:extLst>
              <a:ext uri="{FF2B5EF4-FFF2-40B4-BE49-F238E27FC236}">
                <a16:creationId xmlns:a16="http://schemas.microsoft.com/office/drawing/2014/main" id="{DD89DE80-3D9E-7C8A-1FEC-797731833B3B}"/>
              </a:ext>
            </a:extLst>
          </p:cNvPr>
          <p:cNvSpPr>
            <a:spLocks noEditPoints="1"/>
          </p:cNvSpPr>
          <p:nvPr userDrawn="1"/>
        </p:nvSpPr>
        <p:spPr bwMode="auto">
          <a:xfrm>
            <a:off x="22179102" y="8371763"/>
            <a:ext cx="79371" cy="149226"/>
          </a:xfrm>
          <a:custGeom>
            <a:avLst/>
            <a:gdLst>
              <a:gd name="T0" fmla="*/ 25 w 25"/>
              <a:gd name="T1" fmla="*/ 0 h 47"/>
              <a:gd name="T2" fmla="*/ 19 w 25"/>
              <a:gd name="T3" fmla="*/ 4 h 47"/>
              <a:gd name="T4" fmla="*/ 22 w 25"/>
              <a:gd name="T5" fmla="*/ 10 h 47"/>
              <a:gd name="T6" fmla="*/ 22 w 25"/>
              <a:gd name="T7" fmla="*/ 4 h 47"/>
              <a:gd name="T8" fmla="*/ 25 w 25"/>
              <a:gd name="T9" fmla="*/ 0 h 47"/>
              <a:gd name="T10" fmla="*/ 25 w 25"/>
              <a:gd name="T11" fmla="*/ 0 h 47"/>
              <a:gd name="T12" fmla="*/ 25 w 25"/>
              <a:gd name="T13" fmla="*/ 0 h 47"/>
              <a:gd name="T14" fmla="*/ 13 w 25"/>
              <a:gd name="T15" fmla="*/ 29 h 47"/>
              <a:gd name="T16" fmla="*/ 16 w 25"/>
              <a:gd name="T17" fmla="*/ 26 h 47"/>
              <a:gd name="T18" fmla="*/ 19 w 25"/>
              <a:gd name="T19" fmla="*/ 29 h 47"/>
              <a:gd name="T20" fmla="*/ 16 w 25"/>
              <a:gd name="T21" fmla="*/ 29 h 47"/>
              <a:gd name="T22" fmla="*/ 13 w 25"/>
              <a:gd name="T23" fmla="*/ 29 h 47"/>
              <a:gd name="T24" fmla="*/ 13 w 25"/>
              <a:gd name="T25" fmla="*/ 29 h 47"/>
              <a:gd name="T26" fmla="*/ 3 w 25"/>
              <a:gd name="T27" fmla="*/ 44 h 47"/>
              <a:gd name="T28" fmla="*/ 3 w 25"/>
              <a:gd name="T29" fmla="*/ 41 h 47"/>
              <a:gd name="T30" fmla="*/ 6 w 25"/>
              <a:gd name="T31" fmla="*/ 38 h 47"/>
              <a:gd name="T32" fmla="*/ 9 w 25"/>
              <a:gd name="T33" fmla="*/ 41 h 47"/>
              <a:gd name="T34" fmla="*/ 6 w 25"/>
              <a:gd name="T35" fmla="*/ 47 h 47"/>
              <a:gd name="T36" fmla="*/ 3 w 25"/>
              <a:gd name="T37" fmla="*/ 47 h 47"/>
              <a:gd name="T38" fmla="*/ 0 w 25"/>
              <a:gd name="T39" fmla="*/ 44 h 47"/>
              <a:gd name="T40" fmla="*/ 3 w 25"/>
              <a:gd name="T41"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47">
                <a:moveTo>
                  <a:pt x="25" y="0"/>
                </a:moveTo>
                <a:lnTo>
                  <a:pt x="19" y="4"/>
                </a:lnTo>
                <a:lnTo>
                  <a:pt x="22" y="10"/>
                </a:lnTo>
                <a:lnTo>
                  <a:pt x="22" y="4"/>
                </a:lnTo>
                <a:lnTo>
                  <a:pt x="25" y="0"/>
                </a:lnTo>
                <a:lnTo>
                  <a:pt x="25" y="0"/>
                </a:lnTo>
                <a:lnTo>
                  <a:pt x="25" y="0"/>
                </a:lnTo>
                <a:close/>
                <a:moveTo>
                  <a:pt x="13" y="29"/>
                </a:moveTo>
                <a:lnTo>
                  <a:pt x="16" y="26"/>
                </a:lnTo>
                <a:lnTo>
                  <a:pt x="19" y="29"/>
                </a:lnTo>
                <a:lnTo>
                  <a:pt x="16" y="29"/>
                </a:lnTo>
                <a:lnTo>
                  <a:pt x="13" y="29"/>
                </a:lnTo>
                <a:lnTo>
                  <a:pt x="13" y="29"/>
                </a:lnTo>
                <a:close/>
                <a:moveTo>
                  <a:pt x="3" y="44"/>
                </a:moveTo>
                <a:lnTo>
                  <a:pt x="3" y="41"/>
                </a:lnTo>
                <a:lnTo>
                  <a:pt x="6" y="38"/>
                </a:lnTo>
                <a:lnTo>
                  <a:pt x="9" y="41"/>
                </a:lnTo>
                <a:lnTo>
                  <a:pt x="6" y="47"/>
                </a:lnTo>
                <a:lnTo>
                  <a:pt x="3" y="47"/>
                </a:lnTo>
                <a:lnTo>
                  <a:pt x="0" y="44"/>
                </a:lnTo>
                <a:lnTo>
                  <a:pt x="3" y="44"/>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2" name="Freeform 10">
            <a:extLst>
              <a:ext uri="{FF2B5EF4-FFF2-40B4-BE49-F238E27FC236}">
                <a16:creationId xmlns:a16="http://schemas.microsoft.com/office/drawing/2014/main" id="{91C92606-AF3B-9C58-F521-F92AE6546400}"/>
              </a:ext>
            </a:extLst>
          </p:cNvPr>
          <p:cNvSpPr>
            <a:spLocks noEditPoints="1"/>
          </p:cNvSpPr>
          <p:nvPr userDrawn="1"/>
        </p:nvSpPr>
        <p:spPr bwMode="auto">
          <a:xfrm>
            <a:off x="14537374" y="1669333"/>
            <a:ext cx="8206842" cy="4946650"/>
          </a:xfrm>
          <a:custGeom>
            <a:avLst/>
            <a:gdLst>
              <a:gd name="T0" fmla="*/ 633 w 827"/>
              <a:gd name="T1" fmla="*/ 408 h 498"/>
              <a:gd name="T2" fmla="*/ 578 w 827"/>
              <a:gd name="T3" fmla="*/ 356 h 498"/>
              <a:gd name="T4" fmla="*/ 516 w 827"/>
              <a:gd name="T5" fmla="*/ 401 h 498"/>
              <a:gd name="T6" fmla="*/ 401 w 827"/>
              <a:gd name="T7" fmla="*/ 403 h 498"/>
              <a:gd name="T8" fmla="*/ 283 w 827"/>
              <a:gd name="T9" fmla="*/ 383 h 498"/>
              <a:gd name="T10" fmla="*/ 208 w 827"/>
              <a:gd name="T11" fmla="*/ 393 h 498"/>
              <a:gd name="T12" fmla="*/ 140 w 827"/>
              <a:gd name="T13" fmla="*/ 425 h 498"/>
              <a:gd name="T14" fmla="*/ 120 w 827"/>
              <a:gd name="T15" fmla="*/ 497 h 498"/>
              <a:gd name="T16" fmla="*/ 69 w 827"/>
              <a:gd name="T17" fmla="*/ 425 h 498"/>
              <a:gd name="T18" fmla="*/ 11 w 827"/>
              <a:gd name="T19" fmla="*/ 334 h 498"/>
              <a:gd name="T20" fmla="*/ 22 w 827"/>
              <a:gd name="T21" fmla="*/ 238 h 498"/>
              <a:gd name="T22" fmla="*/ 30 w 827"/>
              <a:gd name="T23" fmla="*/ 270 h 498"/>
              <a:gd name="T24" fmla="*/ 84 w 827"/>
              <a:gd name="T25" fmla="*/ 263 h 498"/>
              <a:gd name="T26" fmla="*/ 128 w 827"/>
              <a:gd name="T27" fmla="*/ 239 h 498"/>
              <a:gd name="T28" fmla="*/ 204 w 827"/>
              <a:gd name="T29" fmla="*/ 224 h 498"/>
              <a:gd name="T30" fmla="*/ 226 w 827"/>
              <a:gd name="T31" fmla="*/ 227 h 498"/>
              <a:gd name="T32" fmla="*/ 247 w 827"/>
              <a:gd name="T33" fmla="*/ 220 h 498"/>
              <a:gd name="T34" fmla="*/ 239 w 827"/>
              <a:gd name="T35" fmla="*/ 171 h 498"/>
              <a:gd name="T36" fmla="*/ 248 w 827"/>
              <a:gd name="T37" fmla="*/ 144 h 498"/>
              <a:gd name="T38" fmla="*/ 273 w 827"/>
              <a:gd name="T39" fmla="*/ 96 h 498"/>
              <a:gd name="T40" fmla="*/ 311 w 827"/>
              <a:gd name="T41" fmla="*/ 65 h 498"/>
              <a:gd name="T42" fmla="*/ 364 w 827"/>
              <a:gd name="T43" fmla="*/ 94 h 498"/>
              <a:gd name="T44" fmla="*/ 386 w 827"/>
              <a:gd name="T45" fmla="*/ 114 h 498"/>
              <a:gd name="T46" fmla="*/ 466 w 827"/>
              <a:gd name="T47" fmla="*/ 109 h 498"/>
              <a:gd name="T48" fmla="*/ 525 w 827"/>
              <a:gd name="T49" fmla="*/ 102 h 498"/>
              <a:gd name="T50" fmla="*/ 581 w 827"/>
              <a:gd name="T51" fmla="*/ 91 h 498"/>
              <a:gd name="T52" fmla="*/ 705 w 827"/>
              <a:gd name="T53" fmla="*/ 93 h 498"/>
              <a:gd name="T54" fmla="*/ 783 w 827"/>
              <a:gd name="T55" fmla="*/ 77 h 498"/>
              <a:gd name="T56" fmla="*/ 819 w 827"/>
              <a:gd name="T57" fmla="*/ 97 h 498"/>
              <a:gd name="T58" fmla="*/ 796 w 827"/>
              <a:gd name="T59" fmla="*/ 131 h 498"/>
              <a:gd name="T60" fmla="*/ 800 w 827"/>
              <a:gd name="T61" fmla="*/ 187 h 498"/>
              <a:gd name="T62" fmla="*/ 758 w 827"/>
              <a:gd name="T63" fmla="*/ 248 h 498"/>
              <a:gd name="T64" fmla="*/ 772 w 827"/>
              <a:gd name="T65" fmla="*/ 339 h 498"/>
              <a:gd name="T66" fmla="*/ 741 w 827"/>
              <a:gd name="T67" fmla="*/ 206 h 498"/>
              <a:gd name="T68" fmla="*/ 706 w 827"/>
              <a:gd name="T69" fmla="*/ 230 h 498"/>
              <a:gd name="T70" fmla="*/ 661 w 827"/>
              <a:gd name="T71" fmla="*/ 264 h 498"/>
              <a:gd name="T72" fmla="*/ 651 w 827"/>
              <a:gd name="T73" fmla="*/ 333 h 498"/>
              <a:gd name="T74" fmla="*/ 656 w 827"/>
              <a:gd name="T75" fmla="*/ 453 h 498"/>
              <a:gd name="T76" fmla="*/ 56 w 827"/>
              <a:gd name="T77" fmla="*/ 51 h 498"/>
              <a:gd name="T78" fmla="*/ 77 w 827"/>
              <a:gd name="T79" fmla="*/ 31 h 498"/>
              <a:gd name="T80" fmla="*/ 70 w 827"/>
              <a:gd name="T81" fmla="*/ 51 h 498"/>
              <a:gd name="T82" fmla="*/ 74 w 827"/>
              <a:gd name="T83" fmla="*/ 52 h 498"/>
              <a:gd name="T84" fmla="*/ 92 w 827"/>
              <a:gd name="T85" fmla="*/ 44 h 498"/>
              <a:gd name="T86" fmla="*/ 119 w 827"/>
              <a:gd name="T87" fmla="*/ 171 h 498"/>
              <a:gd name="T88" fmla="*/ 145 w 827"/>
              <a:gd name="T89" fmla="*/ 112 h 498"/>
              <a:gd name="T90" fmla="*/ 113 w 827"/>
              <a:gd name="T91" fmla="*/ 159 h 498"/>
              <a:gd name="T92" fmla="*/ 107 w 827"/>
              <a:gd name="T93" fmla="*/ 180 h 498"/>
              <a:gd name="T94" fmla="*/ 137 w 827"/>
              <a:gd name="T95" fmla="*/ 211 h 498"/>
              <a:gd name="T96" fmla="*/ 265 w 827"/>
              <a:gd name="T97" fmla="*/ 189 h 498"/>
              <a:gd name="T98" fmla="*/ 208 w 827"/>
              <a:gd name="T99" fmla="*/ 165 h 498"/>
              <a:gd name="T100" fmla="*/ 223 w 827"/>
              <a:gd name="T101" fmla="*/ 109 h 498"/>
              <a:gd name="T102" fmla="*/ 269 w 827"/>
              <a:gd name="T103" fmla="*/ 79 h 498"/>
              <a:gd name="T104" fmla="*/ 205 w 827"/>
              <a:gd name="T105" fmla="*/ 8 h 498"/>
              <a:gd name="T106" fmla="*/ 236 w 827"/>
              <a:gd name="T107" fmla="*/ 38 h 498"/>
              <a:gd name="T108" fmla="*/ 510 w 827"/>
              <a:gd name="T109" fmla="*/ 26 h 498"/>
              <a:gd name="T110" fmla="*/ 462 w 827"/>
              <a:gd name="T111" fmla="*/ 38 h 498"/>
              <a:gd name="T112" fmla="*/ 276 w 827"/>
              <a:gd name="T113" fmla="*/ 29 h 498"/>
              <a:gd name="T114" fmla="*/ 376 w 827"/>
              <a:gd name="T115" fmla="*/ 103 h 498"/>
              <a:gd name="T116" fmla="*/ 653 w 827"/>
              <a:gd name="T117" fmla="*/ 97 h 498"/>
              <a:gd name="T118" fmla="*/ 700 w 827"/>
              <a:gd name="T119" fmla="*/ 379 h 498"/>
              <a:gd name="T120" fmla="*/ 694 w 827"/>
              <a:gd name="T121" fmla="*/ 402 h 498"/>
              <a:gd name="T122" fmla="*/ 764 w 827"/>
              <a:gd name="T123" fmla="*/ 252 h 498"/>
              <a:gd name="T124" fmla="*/ 761 w 827"/>
              <a:gd name="T125" fmla="*/ 38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7" h="498">
                <a:moveTo>
                  <a:pt x="642" y="458"/>
                </a:moveTo>
                <a:cubicBezTo>
                  <a:pt x="641" y="458"/>
                  <a:pt x="641" y="458"/>
                  <a:pt x="641" y="458"/>
                </a:cubicBezTo>
                <a:cubicBezTo>
                  <a:pt x="640" y="457"/>
                  <a:pt x="640" y="457"/>
                  <a:pt x="640" y="457"/>
                </a:cubicBezTo>
                <a:cubicBezTo>
                  <a:pt x="640" y="457"/>
                  <a:pt x="640" y="457"/>
                  <a:pt x="640" y="457"/>
                </a:cubicBezTo>
                <a:cubicBezTo>
                  <a:pt x="641" y="456"/>
                  <a:pt x="641" y="456"/>
                  <a:pt x="641" y="456"/>
                </a:cubicBezTo>
                <a:cubicBezTo>
                  <a:pt x="641" y="455"/>
                  <a:pt x="641" y="455"/>
                  <a:pt x="641" y="455"/>
                </a:cubicBezTo>
                <a:cubicBezTo>
                  <a:pt x="640" y="455"/>
                  <a:pt x="640" y="455"/>
                  <a:pt x="640" y="455"/>
                </a:cubicBezTo>
                <a:cubicBezTo>
                  <a:pt x="640" y="454"/>
                  <a:pt x="640" y="454"/>
                  <a:pt x="640" y="454"/>
                </a:cubicBezTo>
                <a:cubicBezTo>
                  <a:pt x="640" y="453"/>
                  <a:pt x="640" y="453"/>
                  <a:pt x="640" y="453"/>
                </a:cubicBezTo>
                <a:cubicBezTo>
                  <a:pt x="641" y="453"/>
                  <a:pt x="641" y="453"/>
                  <a:pt x="641" y="453"/>
                </a:cubicBezTo>
                <a:cubicBezTo>
                  <a:pt x="642" y="453"/>
                  <a:pt x="642" y="453"/>
                  <a:pt x="642" y="453"/>
                </a:cubicBezTo>
                <a:cubicBezTo>
                  <a:pt x="643" y="453"/>
                  <a:pt x="643" y="453"/>
                  <a:pt x="643" y="453"/>
                </a:cubicBezTo>
                <a:cubicBezTo>
                  <a:pt x="643" y="452"/>
                  <a:pt x="643" y="452"/>
                  <a:pt x="643" y="452"/>
                </a:cubicBezTo>
                <a:cubicBezTo>
                  <a:pt x="642" y="451"/>
                  <a:pt x="642" y="451"/>
                  <a:pt x="642" y="451"/>
                </a:cubicBezTo>
                <a:cubicBezTo>
                  <a:pt x="643" y="450"/>
                  <a:pt x="643" y="450"/>
                  <a:pt x="643" y="450"/>
                </a:cubicBezTo>
                <a:cubicBezTo>
                  <a:pt x="643" y="450"/>
                  <a:pt x="643" y="450"/>
                  <a:pt x="643" y="450"/>
                </a:cubicBezTo>
                <a:cubicBezTo>
                  <a:pt x="643" y="449"/>
                  <a:pt x="643" y="449"/>
                  <a:pt x="643" y="449"/>
                </a:cubicBezTo>
                <a:cubicBezTo>
                  <a:pt x="643" y="447"/>
                  <a:pt x="643" y="447"/>
                  <a:pt x="643" y="447"/>
                </a:cubicBezTo>
                <a:cubicBezTo>
                  <a:pt x="642" y="447"/>
                  <a:pt x="642" y="447"/>
                  <a:pt x="642" y="447"/>
                </a:cubicBezTo>
                <a:cubicBezTo>
                  <a:pt x="642" y="445"/>
                  <a:pt x="642" y="445"/>
                  <a:pt x="642" y="445"/>
                </a:cubicBezTo>
                <a:cubicBezTo>
                  <a:pt x="642" y="444"/>
                  <a:pt x="642" y="444"/>
                  <a:pt x="642" y="444"/>
                </a:cubicBezTo>
                <a:cubicBezTo>
                  <a:pt x="642" y="442"/>
                  <a:pt x="642" y="442"/>
                  <a:pt x="642" y="442"/>
                </a:cubicBezTo>
                <a:cubicBezTo>
                  <a:pt x="642" y="441"/>
                  <a:pt x="642" y="441"/>
                  <a:pt x="642" y="441"/>
                </a:cubicBezTo>
                <a:cubicBezTo>
                  <a:pt x="641" y="440"/>
                  <a:pt x="641" y="440"/>
                  <a:pt x="641" y="440"/>
                </a:cubicBezTo>
                <a:cubicBezTo>
                  <a:pt x="641" y="439"/>
                  <a:pt x="641" y="439"/>
                  <a:pt x="641" y="439"/>
                </a:cubicBezTo>
                <a:cubicBezTo>
                  <a:pt x="640" y="438"/>
                  <a:pt x="640" y="438"/>
                  <a:pt x="640" y="438"/>
                </a:cubicBezTo>
                <a:cubicBezTo>
                  <a:pt x="639" y="436"/>
                  <a:pt x="639" y="436"/>
                  <a:pt x="639" y="436"/>
                </a:cubicBezTo>
                <a:cubicBezTo>
                  <a:pt x="638" y="435"/>
                  <a:pt x="638" y="435"/>
                  <a:pt x="638" y="435"/>
                </a:cubicBezTo>
                <a:cubicBezTo>
                  <a:pt x="639" y="434"/>
                  <a:pt x="639" y="434"/>
                  <a:pt x="639" y="434"/>
                </a:cubicBezTo>
                <a:cubicBezTo>
                  <a:pt x="639" y="434"/>
                  <a:pt x="639" y="434"/>
                  <a:pt x="639" y="434"/>
                </a:cubicBezTo>
                <a:cubicBezTo>
                  <a:pt x="640" y="434"/>
                  <a:pt x="640" y="434"/>
                  <a:pt x="640" y="434"/>
                </a:cubicBezTo>
                <a:cubicBezTo>
                  <a:pt x="641" y="433"/>
                  <a:pt x="641" y="433"/>
                  <a:pt x="641" y="433"/>
                </a:cubicBezTo>
                <a:cubicBezTo>
                  <a:pt x="641" y="432"/>
                  <a:pt x="641" y="432"/>
                  <a:pt x="641" y="432"/>
                </a:cubicBezTo>
                <a:cubicBezTo>
                  <a:pt x="642" y="430"/>
                  <a:pt x="642" y="430"/>
                  <a:pt x="642" y="430"/>
                </a:cubicBezTo>
                <a:cubicBezTo>
                  <a:pt x="643" y="430"/>
                  <a:pt x="643" y="430"/>
                  <a:pt x="643" y="430"/>
                </a:cubicBezTo>
                <a:cubicBezTo>
                  <a:pt x="644" y="431"/>
                  <a:pt x="644" y="431"/>
                  <a:pt x="644" y="431"/>
                </a:cubicBezTo>
                <a:cubicBezTo>
                  <a:pt x="644" y="431"/>
                  <a:pt x="644" y="431"/>
                  <a:pt x="644" y="431"/>
                </a:cubicBezTo>
                <a:cubicBezTo>
                  <a:pt x="648" y="432"/>
                  <a:pt x="648" y="432"/>
                  <a:pt x="648" y="432"/>
                </a:cubicBezTo>
                <a:cubicBezTo>
                  <a:pt x="649" y="432"/>
                  <a:pt x="649" y="432"/>
                  <a:pt x="649" y="432"/>
                </a:cubicBezTo>
                <a:cubicBezTo>
                  <a:pt x="650" y="432"/>
                  <a:pt x="650" y="432"/>
                  <a:pt x="650" y="432"/>
                </a:cubicBezTo>
                <a:cubicBezTo>
                  <a:pt x="650" y="431"/>
                  <a:pt x="650" y="431"/>
                  <a:pt x="650" y="431"/>
                </a:cubicBezTo>
                <a:cubicBezTo>
                  <a:pt x="650" y="430"/>
                  <a:pt x="650" y="430"/>
                  <a:pt x="650" y="430"/>
                </a:cubicBezTo>
                <a:cubicBezTo>
                  <a:pt x="650" y="430"/>
                  <a:pt x="650" y="430"/>
                  <a:pt x="650" y="430"/>
                </a:cubicBezTo>
                <a:cubicBezTo>
                  <a:pt x="650" y="429"/>
                  <a:pt x="650" y="429"/>
                  <a:pt x="650" y="429"/>
                </a:cubicBezTo>
                <a:cubicBezTo>
                  <a:pt x="650" y="428"/>
                  <a:pt x="650" y="428"/>
                  <a:pt x="650" y="428"/>
                </a:cubicBezTo>
                <a:cubicBezTo>
                  <a:pt x="650" y="428"/>
                  <a:pt x="650" y="428"/>
                  <a:pt x="650" y="428"/>
                </a:cubicBezTo>
                <a:cubicBezTo>
                  <a:pt x="649" y="427"/>
                  <a:pt x="649" y="427"/>
                  <a:pt x="649" y="427"/>
                </a:cubicBezTo>
                <a:cubicBezTo>
                  <a:pt x="650" y="426"/>
                  <a:pt x="650" y="426"/>
                  <a:pt x="650" y="426"/>
                </a:cubicBezTo>
                <a:cubicBezTo>
                  <a:pt x="650" y="425"/>
                  <a:pt x="650" y="425"/>
                  <a:pt x="650" y="425"/>
                </a:cubicBezTo>
                <a:cubicBezTo>
                  <a:pt x="650" y="424"/>
                  <a:pt x="650" y="424"/>
                  <a:pt x="650" y="424"/>
                </a:cubicBezTo>
                <a:cubicBezTo>
                  <a:pt x="650" y="424"/>
                  <a:pt x="650" y="424"/>
                  <a:pt x="650" y="424"/>
                </a:cubicBezTo>
                <a:cubicBezTo>
                  <a:pt x="650" y="423"/>
                  <a:pt x="650" y="423"/>
                  <a:pt x="650" y="423"/>
                </a:cubicBezTo>
                <a:cubicBezTo>
                  <a:pt x="651" y="423"/>
                  <a:pt x="651" y="423"/>
                  <a:pt x="651" y="423"/>
                </a:cubicBezTo>
                <a:cubicBezTo>
                  <a:pt x="650" y="422"/>
                  <a:pt x="650" y="422"/>
                  <a:pt x="650" y="422"/>
                </a:cubicBezTo>
                <a:cubicBezTo>
                  <a:pt x="650" y="422"/>
                  <a:pt x="650" y="422"/>
                  <a:pt x="650" y="422"/>
                </a:cubicBezTo>
                <a:cubicBezTo>
                  <a:pt x="650" y="421"/>
                  <a:pt x="650" y="421"/>
                  <a:pt x="650" y="421"/>
                </a:cubicBezTo>
                <a:cubicBezTo>
                  <a:pt x="650" y="420"/>
                  <a:pt x="650" y="420"/>
                  <a:pt x="650" y="420"/>
                </a:cubicBezTo>
                <a:cubicBezTo>
                  <a:pt x="651" y="420"/>
                  <a:pt x="651" y="420"/>
                  <a:pt x="651" y="420"/>
                </a:cubicBezTo>
                <a:cubicBezTo>
                  <a:pt x="651" y="419"/>
                  <a:pt x="651" y="419"/>
                  <a:pt x="651" y="419"/>
                </a:cubicBezTo>
                <a:cubicBezTo>
                  <a:pt x="651" y="419"/>
                  <a:pt x="651" y="419"/>
                  <a:pt x="651" y="419"/>
                </a:cubicBezTo>
                <a:cubicBezTo>
                  <a:pt x="650" y="417"/>
                  <a:pt x="650" y="417"/>
                  <a:pt x="650" y="417"/>
                </a:cubicBezTo>
                <a:cubicBezTo>
                  <a:pt x="650" y="416"/>
                  <a:pt x="650" y="416"/>
                  <a:pt x="650" y="416"/>
                </a:cubicBezTo>
                <a:cubicBezTo>
                  <a:pt x="650" y="416"/>
                  <a:pt x="650" y="416"/>
                  <a:pt x="650" y="416"/>
                </a:cubicBezTo>
                <a:cubicBezTo>
                  <a:pt x="651" y="415"/>
                  <a:pt x="651" y="415"/>
                  <a:pt x="651" y="415"/>
                </a:cubicBezTo>
                <a:cubicBezTo>
                  <a:pt x="651" y="415"/>
                  <a:pt x="651" y="415"/>
                  <a:pt x="651" y="415"/>
                </a:cubicBezTo>
                <a:cubicBezTo>
                  <a:pt x="650" y="414"/>
                  <a:pt x="650" y="414"/>
                  <a:pt x="650" y="414"/>
                </a:cubicBezTo>
                <a:cubicBezTo>
                  <a:pt x="650" y="414"/>
                  <a:pt x="650" y="414"/>
                  <a:pt x="650" y="414"/>
                </a:cubicBezTo>
                <a:cubicBezTo>
                  <a:pt x="650" y="413"/>
                  <a:pt x="650" y="413"/>
                  <a:pt x="650" y="413"/>
                </a:cubicBezTo>
                <a:cubicBezTo>
                  <a:pt x="650" y="413"/>
                  <a:pt x="650" y="413"/>
                  <a:pt x="650" y="413"/>
                </a:cubicBezTo>
                <a:cubicBezTo>
                  <a:pt x="650" y="412"/>
                  <a:pt x="650" y="412"/>
                  <a:pt x="650" y="412"/>
                </a:cubicBezTo>
                <a:cubicBezTo>
                  <a:pt x="650" y="411"/>
                  <a:pt x="650" y="411"/>
                  <a:pt x="650" y="411"/>
                </a:cubicBezTo>
                <a:cubicBezTo>
                  <a:pt x="650" y="410"/>
                  <a:pt x="650" y="410"/>
                  <a:pt x="650" y="410"/>
                </a:cubicBezTo>
                <a:cubicBezTo>
                  <a:pt x="649" y="410"/>
                  <a:pt x="649" y="410"/>
                  <a:pt x="649" y="410"/>
                </a:cubicBezTo>
                <a:cubicBezTo>
                  <a:pt x="649" y="409"/>
                  <a:pt x="649" y="409"/>
                  <a:pt x="649" y="409"/>
                </a:cubicBezTo>
                <a:cubicBezTo>
                  <a:pt x="650" y="408"/>
                  <a:pt x="650" y="408"/>
                  <a:pt x="650" y="408"/>
                </a:cubicBezTo>
                <a:cubicBezTo>
                  <a:pt x="651" y="408"/>
                  <a:pt x="651" y="408"/>
                  <a:pt x="651" y="408"/>
                </a:cubicBezTo>
                <a:cubicBezTo>
                  <a:pt x="651" y="407"/>
                  <a:pt x="651" y="407"/>
                  <a:pt x="651" y="407"/>
                </a:cubicBezTo>
                <a:cubicBezTo>
                  <a:pt x="651" y="406"/>
                  <a:pt x="651" y="406"/>
                  <a:pt x="651" y="406"/>
                </a:cubicBezTo>
                <a:cubicBezTo>
                  <a:pt x="652" y="405"/>
                  <a:pt x="652" y="405"/>
                  <a:pt x="652" y="405"/>
                </a:cubicBezTo>
                <a:cubicBezTo>
                  <a:pt x="651" y="405"/>
                  <a:pt x="651" y="405"/>
                  <a:pt x="651" y="405"/>
                </a:cubicBezTo>
                <a:cubicBezTo>
                  <a:pt x="650" y="404"/>
                  <a:pt x="650" y="404"/>
                  <a:pt x="650" y="404"/>
                </a:cubicBezTo>
                <a:cubicBezTo>
                  <a:pt x="650" y="403"/>
                  <a:pt x="650" y="403"/>
                  <a:pt x="650" y="403"/>
                </a:cubicBezTo>
                <a:cubicBezTo>
                  <a:pt x="649" y="402"/>
                  <a:pt x="649" y="402"/>
                  <a:pt x="649" y="402"/>
                </a:cubicBezTo>
                <a:cubicBezTo>
                  <a:pt x="649" y="401"/>
                  <a:pt x="649" y="401"/>
                  <a:pt x="649" y="401"/>
                </a:cubicBezTo>
                <a:cubicBezTo>
                  <a:pt x="649" y="401"/>
                  <a:pt x="649" y="401"/>
                  <a:pt x="649" y="401"/>
                </a:cubicBezTo>
                <a:cubicBezTo>
                  <a:pt x="649" y="400"/>
                  <a:pt x="649" y="400"/>
                  <a:pt x="649" y="400"/>
                </a:cubicBezTo>
                <a:cubicBezTo>
                  <a:pt x="648" y="399"/>
                  <a:pt x="648" y="399"/>
                  <a:pt x="648" y="399"/>
                </a:cubicBezTo>
                <a:cubicBezTo>
                  <a:pt x="647" y="399"/>
                  <a:pt x="647" y="399"/>
                  <a:pt x="647" y="399"/>
                </a:cubicBezTo>
                <a:cubicBezTo>
                  <a:pt x="647" y="398"/>
                  <a:pt x="647" y="398"/>
                  <a:pt x="647" y="398"/>
                </a:cubicBezTo>
                <a:cubicBezTo>
                  <a:pt x="645" y="398"/>
                  <a:pt x="645" y="398"/>
                  <a:pt x="645" y="398"/>
                </a:cubicBezTo>
                <a:cubicBezTo>
                  <a:pt x="645" y="398"/>
                  <a:pt x="645" y="398"/>
                  <a:pt x="645" y="398"/>
                </a:cubicBezTo>
                <a:cubicBezTo>
                  <a:pt x="644" y="399"/>
                  <a:pt x="644" y="399"/>
                  <a:pt x="644" y="399"/>
                </a:cubicBezTo>
                <a:cubicBezTo>
                  <a:pt x="643" y="399"/>
                  <a:pt x="643" y="399"/>
                  <a:pt x="643" y="399"/>
                </a:cubicBezTo>
                <a:cubicBezTo>
                  <a:pt x="643" y="400"/>
                  <a:pt x="643" y="400"/>
                  <a:pt x="643" y="400"/>
                </a:cubicBezTo>
                <a:cubicBezTo>
                  <a:pt x="642" y="400"/>
                  <a:pt x="642" y="400"/>
                  <a:pt x="642" y="400"/>
                </a:cubicBezTo>
                <a:cubicBezTo>
                  <a:pt x="642" y="401"/>
                  <a:pt x="642" y="401"/>
                  <a:pt x="642" y="401"/>
                </a:cubicBezTo>
                <a:cubicBezTo>
                  <a:pt x="641" y="402"/>
                  <a:pt x="641" y="402"/>
                  <a:pt x="641" y="402"/>
                </a:cubicBezTo>
                <a:cubicBezTo>
                  <a:pt x="640" y="402"/>
                  <a:pt x="640" y="402"/>
                  <a:pt x="640" y="402"/>
                </a:cubicBezTo>
                <a:cubicBezTo>
                  <a:pt x="639" y="402"/>
                  <a:pt x="639" y="402"/>
                  <a:pt x="639" y="402"/>
                </a:cubicBezTo>
                <a:cubicBezTo>
                  <a:pt x="639" y="403"/>
                  <a:pt x="639" y="403"/>
                  <a:pt x="639" y="403"/>
                </a:cubicBezTo>
                <a:cubicBezTo>
                  <a:pt x="639" y="404"/>
                  <a:pt x="639" y="404"/>
                  <a:pt x="639" y="404"/>
                </a:cubicBezTo>
                <a:cubicBezTo>
                  <a:pt x="638" y="404"/>
                  <a:pt x="638" y="404"/>
                  <a:pt x="638" y="404"/>
                </a:cubicBezTo>
                <a:cubicBezTo>
                  <a:pt x="638" y="405"/>
                  <a:pt x="638" y="405"/>
                  <a:pt x="638" y="405"/>
                </a:cubicBezTo>
                <a:cubicBezTo>
                  <a:pt x="638" y="406"/>
                  <a:pt x="638" y="406"/>
                  <a:pt x="638" y="406"/>
                </a:cubicBezTo>
                <a:cubicBezTo>
                  <a:pt x="637" y="406"/>
                  <a:pt x="637" y="406"/>
                  <a:pt x="637" y="406"/>
                </a:cubicBezTo>
                <a:cubicBezTo>
                  <a:pt x="636" y="407"/>
                  <a:pt x="636" y="407"/>
                  <a:pt x="636" y="407"/>
                </a:cubicBezTo>
                <a:cubicBezTo>
                  <a:pt x="635" y="407"/>
                  <a:pt x="635" y="407"/>
                  <a:pt x="635" y="407"/>
                </a:cubicBezTo>
                <a:cubicBezTo>
                  <a:pt x="634" y="408"/>
                  <a:pt x="634" y="408"/>
                  <a:pt x="634" y="408"/>
                </a:cubicBezTo>
                <a:cubicBezTo>
                  <a:pt x="633" y="407"/>
                  <a:pt x="633" y="407"/>
                  <a:pt x="633" y="407"/>
                </a:cubicBezTo>
                <a:cubicBezTo>
                  <a:pt x="633" y="408"/>
                  <a:pt x="633" y="408"/>
                  <a:pt x="633" y="408"/>
                </a:cubicBezTo>
                <a:cubicBezTo>
                  <a:pt x="632" y="408"/>
                  <a:pt x="632" y="408"/>
                  <a:pt x="632" y="408"/>
                </a:cubicBezTo>
                <a:cubicBezTo>
                  <a:pt x="632" y="407"/>
                  <a:pt x="632" y="407"/>
                  <a:pt x="632" y="407"/>
                </a:cubicBezTo>
                <a:cubicBezTo>
                  <a:pt x="631" y="407"/>
                  <a:pt x="631" y="407"/>
                  <a:pt x="631" y="407"/>
                </a:cubicBezTo>
                <a:cubicBezTo>
                  <a:pt x="630" y="407"/>
                  <a:pt x="630" y="407"/>
                  <a:pt x="630" y="407"/>
                </a:cubicBezTo>
                <a:cubicBezTo>
                  <a:pt x="629" y="407"/>
                  <a:pt x="629" y="407"/>
                  <a:pt x="629" y="407"/>
                </a:cubicBezTo>
                <a:cubicBezTo>
                  <a:pt x="628" y="407"/>
                  <a:pt x="628" y="407"/>
                  <a:pt x="628" y="407"/>
                </a:cubicBezTo>
                <a:cubicBezTo>
                  <a:pt x="628" y="407"/>
                  <a:pt x="628" y="407"/>
                  <a:pt x="628" y="407"/>
                </a:cubicBezTo>
                <a:cubicBezTo>
                  <a:pt x="627" y="406"/>
                  <a:pt x="627" y="406"/>
                  <a:pt x="627" y="406"/>
                </a:cubicBezTo>
                <a:cubicBezTo>
                  <a:pt x="626" y="405"/>
                  <a:pt x="626" y="405"/>
                  <a:pt x="626" y="405"/>
                </a:cubicBezTo>
                <a:cubicBezTo>
                  <a:pt x="625" y="404"/>
                  <a:pt x="625" y="404"/>
                  <a:pt x="625" y="404"/>
                </a:cubicBezTo>
                <a:cubicBezTo>
                  <a:pt x="625" y="403"/>
                  <a:pt x="625" y="403"/>
                  <a:pt x="625" y="403"/>
                </a:cubicBezTo>
                <a:cubicBezTo>
                  <a:pt x="626" y="402"/>
                  <a:pt x="626" y="402"/>
                  <a:pt x="626" y="402"/>
                </a:cubicBezTo>
                <a:cubicBezTo>
                  <a:pt x="626" y="401"/>
                  <a:pt x="626" y="401"/>
                  <a:pt x="626" y="401"/>
                </a:cubicBezTo>
                <a:cubicBezTo>
                  <a:pt x="625" y="400"/>
                  <a:pt x="625" y="400"/>
                  <a:pt x="625" y="400"/>
                </a:cubicBezTo>
                <a:cubicBezTo>
                  <a:pt x="625" y="399"/>
                  <a:pt x="625" y="399"/>
                  <a:pt x="625" y="399"/>
                </a:cubicBezTo>
                <a:cubicBezTo>
                  <a:pt x="624" y="399"/>
                  <a:pt x="624" y="399"/>
                  <a:pt x="624" y="399"/>
                </a:cubicBezTo>
                <a:cubicBezTo>
                  <a:pt x="624" y="398"/>
                  <a:pt x="624" y="398"/>
                  <a:pt x="624" y="398"/>
                </a:cubicBezTo>
                <a:cubicBezTo>
                  <a:pt x="624" y="398"/>
                  <a:pt x="624" y="398"/>
                  <a:pt x="624" y="398"/>
                </a:cubicBezTo>
                <a:cubicBezTo>
                  <a:pt x="624" y="397"/>
                  <a:pt x="624" y="397"/>
                  <a:pt x="624" y="397"/>
                </a:cubicBezTo>
                <a:cubicBezTo>
                  <a:pt x="625" y="396"/>
                  <a:pt x="625" y="396"/>
                  <a:pt x="625" y="396"/>
                </a:cubicBezTo>
                <a:cubicBezTo>
                  <a:pt x="624" y="396"/>
                  <a:pt x="624" y="396"/>
                  <a:pt x="624" y="396"/>
                </a:cubicBezTo>
                <a:cubicBezTo>
                  <a:pt x="624" y="396"/>
                  <a:pt x="624" y="396"/>
                  <a:pt x="624" y="396"/>
                </a:cubicBezTo>
                <a:cubicBezTo>
                  <a:pt x="623" y="396"/>
                  <a:pt x="623" y="396"/>
                  <a:pt x="623" y="396"/>
                </a:cubicBezTo>
                <a:cubicBezTo>
                  <a:pt x="622" y="396"/>
                  <a:pt x="622" y="396"/>
                  <a:pt x="622" y="396"/>
                </a:cubicBezTo>
                <a:cubicBezTo>
                  <a:pt x="622" y="397"/>
                  <a:pt x="622" y="397"/>
                  <a:pt x="622" y="397"/>
                </a:cubicBezTo>
                <a:cubicBezTo>
                  <a:pt x="621" y="397"/>
                  <a:pt x="621" y="397"/>
                  <a:pt x="621" y="397"/>
                </a:cubicBezTo>
                <a:cubicBezTo>
                  <a:pt x="620" y="396"/>
                  <a:pt x="620" y="396"/>
                  <a:pt x="620" y="396"/>
                </a:cubicBezTo>
                <a:cubicBezTo>
                  <a:pt x="619" y="396"/>
                  <a:pt x="619" y="396"/>
                  <a:pt x="619" y="396"/>
                </a:cubicBezTo>
                <a:cubicBezTo>
                  <a:pt x="619" y="396"/>
                  <a:pt x="619" y="396"/>
                  <a:pt x="619" y="396"/>
                </a:cubicBezTo>
                <a:cubicBezTo>
                  <a:pt x="618" y="395"/>
                  <a:pt x="618" y="395"/>
                  <a:pt x="618" y="395"/>
                </a:cubicBezTo>
                <a:cubicBezTo>
                  <a:pt x="618" y="394"/>
                  <a:pt x="618" y="394"/>
                  <a:pt x="618" y="394"/>
                </a:cubicBezTo>
                <a:cubicBezTo>
                  <a:pt x="617" y="394"/>
                  <a:pt x="617" y="394"/>
                  <a:pt x="617" y="394"/>
                </a:cubicBezTo>
                <a:cubicBezTo>
                  <a:pt x="617" y="394"/>
                  <a:pt x="617" y="394"/>
                  <a:pt x="617" y="394"/>
                </a:cubicBezTo>
                <a:cubicBezTo>
                  <a:pt x="616" y="393"/>
                  <a:pt x="616" y="393"/>
                  <a:pt x="616" y="393"/>
                </a:cubicBezTo>
                <a:cubicBezTo>
                  <a:pt x="616" y="393"/>
                  <a:pt x="616" y="393"/>
                  <a:pt x="616" y="393"/>
                </a:cubicBezTo>
                <a:cubicBezTo>
                  <a:pt x="615" y="393"/>
                  <a:pt x="615" y="393"/>
                  <a:pt x="615" y="393"/>
                </a:cubicBezTo>
                <a:cubicBezTo>
                  <a:pt x="615" y="392"/>
                  <a:pt x="615" y="392"/>
                  <a:pt x="615" y="392"/>
                </a:cubicBezTo>
                <a:cubicBezTo>
                  <a:pt x="614" y="391"/>
                  <a:pt x="614" y="391"/>
                  <a:pt x="614" y="391"/>
                </a:cubicBezTo>
                <a:cubicBezTo>
                  <a:pt x="614" y="391"/>
                  <a:pt x="614" y="391"/>
                  <a:pt x="614" y="391"/>
                </a:cubicBezTo>
                <a:cubicBezTo>
                  <a:pt x="613" y="391"/>
                  <a:pt x="613" y="391"/>
                  <a:pt x="613" y="391"/>
                </a:cubicBezTo>
                <a:cubicBezTo>
                  <a:pt x="613" y="392"/>
                  <a:pt x="613" y="392"/>
                  <a:pt x="613" y="392"/>
                </a:cubicBezTo>
                <a:cubicBezTo>
                  <a:pt x="612" y="391"/>
                  <a:pt x="612" y="391"/>
                  <a:pt x="612" y="391"/>
                </a:cubicBezTo>
                <a:cubicBezTo>
                  <a:pt x="612" y="392"/>
                  <a:pt x="612" y="392"/>
                  <a:pt x="612" y="392"/>
                </a:cubicBezTo>
                <a:cubicBezTo>
                  <a:pt x="611" y="392"/>
                  <a:pt x="611" y="392"/>
                  <a:pt x="611" y="392"/>
                </a:cubicBezTo>
                <a:cubicBezTo>
                  <a:pt x="611" y="392"/>
                  <a:pt x="611" y="392"/>
                  <a:pt x="611" y="392"/>
                </a:cubicBezTo>
                <a:cubicBezTo>
                  <a:pt x="610" y="391"/>
                  <a:pt x="610" y="391"/>
                  <a:pt x="610" y="391"/>
                </a:cubicBezTo>
                <a:cubicBezTo>
                  <a:pt x="610" y="391"/>
                  <a:pt x="610" y="391"/>
                  <a:pt x="610" y="391"/>
                </a:cubicBezTo>
                <a:cubicBezTo>
                  <a:pt x="608" y="391"/>
                  <a:pt x="608" y="391"/>
                  <a:pt x="608" y="391"/>
                </a:cubicBezTo>
                <a:cubicBezTo>
                  <a:pt x="608" y="390"/>
                  <a:pt x="608" y="390"/>
                  <a:pt x="608" y="390"/>
                </a:cubicBezTo>
                <a:cubicBezTo>
                  <a:pt x="608" y="390"/>
                  <a:pt x="608" y="390"/>
                  <a:pt x="608" y="390"/>
                </a:cubicBezTo>
                <a:cubicBezTo>
                  <a:pt x="608" y="389"/>
                  <a:pt x="608" y="389"/>
                  <a:pt x="608" y="389"/>
                </a:cubicBezTo>
                <a:cubicBezTo>
                  <a:pt x="607" y="389"/>
                  <a:pt x="607" y="389"/>
                  <a:pt x="607" y="389"/>
                </a:cubicBezTo>
                <a:cubicBezTo>
                  <a:pt x="607" y="390"/>
                  <a:pt x="607" y="390"/>
                  <a:pt x="607" y="390"/>
                </a:cubicBezTo>
                <a:cubicBezTo>
                  <a:pt x="605" y="390"/>
                  <a:pt x="605" y="390"/>
                  <a:pt x="605" y="390"/>
                </a:cubicBezTo>
                <a:cubicBezTo>
                  <a:pt x="605" y="390"/>
                  <a:pt x="605" y="390"/>
                  <a:pt x="605" y="390"/>
                </a:cubicBezTo>
                <a:cubicBezTo>
                  <a:pt x="604" y="390"/>
                  <a:pt x="604" y="390"/>
                  <a:pt x="604" y="390"/>
                </a:cubicBezTo>
                <a:cubicBezTo>
                  <a:pt x="604" y="390"/>
                  <a:pt x="604" y="390"/>
                  <a:pt x="604" y="390"/>
                </a:cubicBezTo>
                <a:cubicBezTo>
                  <a:pt x="603" y="390"/>
                  <a:pt x="603" y="390"/>
                  <a:pt x="603" y="390"/>
                </a:cubicBezTo>
                <a:cubicBezTo>
                  <a:pt x="602" y="389"/>
                  <a:pt x="602" y="389"/>
                  <a:pt x="602" y="389"/>
                </a:cubicBezTo>
                <a:cubicBezTo>
                  <a:pt x="601" y="389"/>
                  <a:pt x="601" y="389"/>
                  <a:pt x="601" y="389"/>
                </a:cubicBezTo>
                <a:cubicBezTo>
                  <a:pt x="600" y="387"/>
                  <a:pt x="600" y="387"/>
                  <a:pt x="600" y="387"/>
                </a:cubicBezTo>
                <a:cubicBezTo>
                  <a:pt x="599" y="386"/>
                  <a:pt x="599" y="386"/>
                  <a:pt x="599" y="386"/>
                </a:cubicBezTo>
                <a:cubicBezTo>
                  <a:pt x="599" y="385"/>
                  <a:pt x="599" y="385"/>
                  <a:pt x="599" y="385"/>
                </a:cubicBezTo>
                <a:cubicBezTo>
                  <a:pt x="599" y="384"/>
                  <a:pt x="599" y="384"/>
                  <a:pt x="599" y="384"/>
                </a:cubicBezTo>
                <a:cubicBezTo>
                  <a:pt x="598" y="384"/>
                  <a:pt x="598" y="384"/>
                  <a:pt x="598" y="384"/>
                </a:cubicBezTo>
                <a:cubicBezTo>
                  <a:pt x="598" y="383"/>
                  <a:pt x="598" y="383"/>
                  <a:pt x="598" y="383"/>
                </a:cubicBezTo>
                <a:cubicBezTo>
                  <a:pt x="598" y="382"/>
                  <a:pt x="598" y="382"/>
                  <a:pt x="598" y="382"/>
                </a:cubicBezTo>
                <a:cubicBezTo>
                  <a:pt x="597" y="382"/>
                  <a:pt x="597" y="382"/>
                  <a:pt x="597" y="382"/>
                </a:cubicBezTo>
                <a:cubicBezTo>
                  <a:pt x="597" y="381"/>
                  <a:pt x="597" y="381"/>
                  <a:pt x="597" y="381"/>
                </a:cubicBezTo>
                <a:cubicBezTo>
                  <a:pt x="597" y="379"/>
                  <a:pt x="597" y="379"/>
                  <a:pt x="597" y="379"/>
                </a:cubicBezTo>
                <a:cubicBezTo>
                  <a:pt x="594" y="378"/>
                  <a:pt x="594" y="378"/>
                  <a:pt x="594" y="378"/>
                </a:cubicBezTo>
                <a:cubicBezTo>
                  <a:pt x="593" y="376"/>
                  <a:pt x="593" y="376"/>
                  <a:pt x="593" y="376"/>
                </a:cubicBezTo>
                <a:cubicBezTo>
                  <a:pt x="593" y="376"/>
                  <a:pt x="593" y="376"/>
                  <a:pt x="593" y="376"/>
                </a:cubicBezTo>
                <a:cubicBezTo>
                  <a:pt x="592" y="375"/>
                  <a:pt x="592" y="375"/>
                  <a:pt x="592" y="375"/>
                </a:cubicBezTo>
                <a:cubicBezTo>
                  <a:pt x="592" y="375"/>
                  <a:pt x="592" y="375"/>
                  <a:pt x="592" y="375"/>
                </a:cubicBezTo>
                <a:cubicBezTo>
                  <a:pt x="591" y="375"/>
                  <a:pt x="591" y="375"/>
                  <a:pt x="591" y="375"/>
                </a:cubicBezTo>
                <a:cubicBezTo>
                  <a:pt x="592" y="374"/>
                  <a:pt x="592" y="374"/>
                  <a:pt x="592" y="374"/>
                </a:cubicBezTo>
                <a:cubicBezTo>
                  <a:pt x="592" y="373"/>
                  <a:pt x="592" y="373"/>
                  <a:pt x="592" y="373"/>
                </a:cubicBezTo>
                <a:cubicBezTo>
                  <a:pt x="591" y="373"/>
                  <a:pt x="591" y="373"/>
                  <a:pt x="591" y="373"/>
                </a:cubicBezTo>
                <a:cubicBezTo>
                  <a:pt x="590" y="372"/>
                  <a:pt x="590" y="372"/>
                  <a:pt x="590" y="372"/>
                </a:cubicBezTo>
                <a:cubicBezTo>
                  <a:pt x="590" y="371"/>
                  <a:pt x="590" y="371"/>
                  <a:pt x="590" y="371"/>
                </a:cubicBezTo>
                <a:cubicBezTo>
                  <a:pt x="590" y="371"/>
                  <a:pt x="590" y="371"/>
                  <a:pt x="590" y="371"/>
                </a:cubicBezTo>
                <a:cubicBezTo>
                  <a:pt x="589" y="370"/>
                  <a:pt x="589" y="370"/>
                  <a:pt x="589" y="370"/>
                </a:cubicBezTo>
                <a:cubicBezTo>
                  <a:pt x="588" y="368"/>
                  <a:pt x="588" y="368"/>
                  <a:pt x="588" y="368"/>
                </a:cubicBezTo>
                <a:cubicBezTo>
                  <a:pt x="587" y="368"/>
                  <a:pt x="587" y="368"/>
                  <a:pt x="587" y="368"/>
                </a:cubicBezTo>
                <a:cubicBezTo>
                  <a:pt x="587" y="367"/>
                  <a:pt x="587" y="367"/>
                  <a:pt x="587" y="367"/>
                </a:cubicBezTo>
                <a:cubicBezTo>
                  <a:pt x="587" y="366"/>
                  <a:pt x="587" y="366"/>
                  <a:pt x="587" y="366"/>
                </a:cubicBezTo>
                <a:cubicBezTo>
                  <a:pt x="587" y="365"/>
                  <a:pt x="587" y="365"/>
                  <a:pt x="587" y="365"/>
                </a:cubicBezTo>
                <a:cubicBezTo>
                  <a:pt x="585" y="365"/>
                  <a:pt x="585" y="365"/>
                  <a:pt x="585" y="365"/>
                </a:cubicBezTo>
                <a:cubicBezTo>
                  <a:pt x="585" y="365"/>
                  <a:pt x="585" y="365"/>
                  <a:pt x="585" y="365"/>
                </a:cubicBezTo>
                <a:cubicBezTo>
                  <a:pt x="585" y="364"/>
                  <a:pt x="585" y="364"/>
                  <a:pt x="585" y="364"/>
                </a:cubicBezTo>
                <a:cubicBezTo>
                  <a:pt x="585" y="364"/>
                  <a:pt x="585" y="364"/>
                  <a:pt x="585" y="364"/>
                </a:cubicBezTo>
                <a:cubicBezTo>
                  <a:pt x="585" y="363"/>
                  <a:pt x="585" y="363"/>
                  <a:pt x="585" y="363"/>
                </a:cubicBezTo>
                <a:cubicBezTo>
                  <a:pt x="584" y="362"/>
                  <a:pt x="584" y="362"/>
                  <a:pt x="584" y="362"/>
                </a:cubicBezTo>
                <a:cubicBezTo>
                  <a:pt x="584" y="362"/>
                  <a:pt x="584" y="362"/>
                  <a:pt x="584" y="362"/>
                </a:cubicBezTo>
                <a:cubicBezTo>
                  <a:pt x="584" y="361"/>
                  <a:pt x="584" y="361"/>
                  <a:pt x="584" y="361"/>
                </a:cubicBezTo>
                <a:cubicBezTo>
                  <a:pt x="583" y="361"/>
                  <a:pt x="583" y="361"/>
                  <a:pt x="583" y="361"/>
                </a:cubicBezTo>
                <a:cubicBezTo>
                  <a:pt x="583" y="361"/>
                  <a:pt x="583" y="361"/>
                  <a:pt x="583" y="361"/>
                </a:cubicBezTo>
                <a:cubicBezTo>
                  <a:pt x="581" y="360"/>
                  <a:pt x="581" y="360"/>
                  <a:pt x="581" y="360"/>
                </a:cubicBezTo>
                <a:cubicBezTo>
                  <a:pt x="581" y="360"/>
                  <a:pt x="581" y="360"/>
                  <a:pt x="581" y="360"/>
                </a:cubicBezTo>
                <a:cubicBezTo>
                  <a:pt x="582" y="359"/>
                  <a:pt x="582" y="359"/>
                  <a:pt x="582" y="359"/>
                </a:cubicBezTo>
                <a:cubicBezTo>
                  <a:pt x="581" y="359"/>
                  <a:pt x="581" y="359"/>
                  <a:pt x="581" y="359"/>
                </a:cubicBezTo>
                <a:cubicBezTo>
                  <a:pt x="580" y="359"/>
                  <a:pt x="580" y="359"/>
                  <a:pt x="580" y="359"/>
                </a:cubicBezTo>
                <a:cubicBezTo>
                  <a:pt x="580" y="359"/>
                  <a:pt x="580" y="359"/>
                  <a:pt x="580" y="359"/>
                </a:cubicBezTo>
                <a:cubicBezTo>
                  <a:pt x="580" y="359"/>
                  <a:pt x="580" y="359"/>
                  <a:pt x="580" y="359"/>
                </a:cubicBezTo>
                <a:cubicBezTo>
                  <a:pt x="579" y="359"/>
                  <a:pt x="579" y="359"/>
                  <a:pt x="579" y="359"/>
                </a:cubicBezTo>
                <a:cubicBezTo>
                  <a:pt x="579" y="358"/>
                  <a:pt x="579" y="358"/>
                  <a:pt x="579" y="358"/>
                </a:cubicBezTo>
                <a:cubicBezTo>
                  <a:pt x="579" y="357"/>
                  <a:pt x="579" y="357"/>
                  <a:pt x="579" y="357"/>
                </a:cubicBezTo>
                <a:cubicBezTo>
                  <a:pt x="578" y="357"/>
                  <a:pt x="578" y="357"/>
                  <a:pt x="578" y="357"/>
                </a:cubicBezTo>
                <a:cubicBezTo>
                  <a:pt x="578" y="356"/>
                  <a:pt x="578" y="356"/>
                  <a:pt x="578" y="356"/>
                </a:cubicBezTo>
                <a:cubicBezTo>
                  <a:pt x="577" y="356"/>
                  <a:pt x="577" y="356"/>
                  <a:pt x="577" y="356"/>
                </a:cubicBezTo>
                <a:cubicBezTo>
                  <a:pt x="576" y="356"/>
                  <a:pt x="576" y="356"/>
                  <a:pt x="576" y="356"/>
                </a:cubicBezTo>
                <a:cubicBezTo>
                  <a:pt x="576" y="356"/>
                  <a:pt x="576" y="356"/>
                  <a:pt x="576" y="356"/>
                </a:cubicBezTo>
                <a:cubicBezTo>
                  <a:pt x="575" y="356"/>
                  <a:pt x="575" y="356"/>
                  <a:pt x="575" y="356"/>
                </a:cubicBezTo>
                <a:cubicBezTo>
                  <a:pt x="574" y="356"/>
                  <a:pt x="574" y="356"/>
                  <a:pt x="574" y="356"/>
                </a:cubicBezTo>
                <a:cubicBezTo>
                  <a:pt x="574" y="356"/>
                  <a:pt x="574" y="356"/>
                  <a:pt x="574" y="356"/>
                </a:cubicBezTo>
                <a:cubicBezTo>
                  <a:pt x="574" y="357"/>
                  <a:pt x="574" y="357"/>
                  <a:pt x="574" y="357"/>
                </a:cubicBezTo>
                <a:cubicBezTo>
                  <a:pt x="573" y="357"/>
                  <a:pt x="573" y="357"/>
                  <a:pt x="573" y="357"/>
                </a:cubicBezTo>
                <a:cubicBezTo>
                  <a:pt x="572" y="356"/>
                  <a:pt x="572" y="356"/>
                  <a:pt x="572" y="356"/>
                </a:cubicBezTo>
                <a:cubicBezTo>
                  <a:pt x="572" y="356"/>
                  <a:pt x="572" y="356"/>
                  <a:pt x="572" y="356"/>
                </a:cubicBezTo>
                <a:cubicBezTo>
                  <a:pt x="571" y="356"/>
                  <a:pt x="571" y="356"/>
                  <a:pt x="571" y="356"/>
                </a:cubicBezTo>
                <a:cubicBezTo>
                  <a:pt x="570" y="356"/>
                  <a:pt x="570" y="356"/>
                  <a:pt x="570" y="356"/>
                </a:cubicBezTo>
                <a:cubicBezTo>
                  <a:pt x="569" y="356"/>
                  <a:pt x="569" y="356"/>
                  <a:pt x="569" y="356"/>
                </a:cubicBezTo>
                <a:cubicBezTo>
                  <a:pt x="569" y="355"/>
                  <a:pt x="569" y="355"/>
                  <a:pt x="569" y="355"/>
                </a:cubicBezTo>
                <a:cubicBezTo>
                  <a:pt x="567" y="355"/>
                  <a:pt x="567" y="355"/>
                  <a:pt x="567" y="355"/>
                </a:cubicBezTo>
                <a:cubicBezTo>
                  <a:pt x="566" y="354"/>
                  <a:pt x="566" y="354"/>
                  <a:pt x="566" y="354"/>
                </a:cubicBezTo>
                <a:cubicBezTo>
                  <a:pt x="565" y="354"/>
                  <a:pt x="565" y="354"/>
                  <a:pt x="565" y="354"/>
                </a:cubicBezTo>
                <a:cubicBezTo>
                  <a:pt x="564" y="354"/>
                  <a:pt x="564" y="354"/>
                  <a:pt x="564" y="354"/>
                </a:cubicBezTo>
                <a:cubicBezTo>
                  <a:pt x="564" y="354"/>
                  <a:pt x="564" y="354"/>
                  <a:pt x="564" y="354"/>
                </a:cubicBezTo>
                <a:cubicBezTo>
                  <a:pt x="562" y="354"/>
                  <a:pt x="562" y="354"/>
                  <a:pt x="562" y="354"/>
                </a:cubicBezTo>
                <a:cubicBezTo>
                  <a:pt x="562" y="355"/>
                  <a:pt x="562" y="355"/>
                  <a:pt x="562" y="355"/>
                </a:cubicBezTo>
                <a:cubicBezTo>
                  <a:pt x="561" y="355"/>
                  <a:pt x="561" y="355"/>
                  <a:pt x="561" y="355"/>
                </a:cubicBezTo>
                <a:cubicBezTo>
                  <a:pt x="560" y="356"/>
                  <a:pt x="560" y="356"/>
                  <a:pt x="560" y="356"/>
                </a:cubicBezTo>
                <a:cubicBezTo>
                  <a:pt x="559" y="356"/>
                  <a:pt x="559" y="356"/>
                  <a:pt x="559" y="356"/>
                </a:cubicBezTo>
                <a:cubicBezTo>
                  <a:pt x="558" y="356"/>
                  <a:pt x="558" y="356"/>
                  <a:pt x="558" y="356"/>
                </a:cubicBezTo>
                <a:cubicBezTo>
                  <a:pt x="557" y="356"/>
                  <a:pt x="557" y="356"/>
                  <a:pt x="557" y="356"/>
                </a:cubicBezTo>
                <a:cubicBezTo>
                  <a:pt x="556" y="357"/>
                  <a:pt x="556" y="357"/>
                  <a:pt x="556" y="357"/>
                </a:cubicBezTo>
                <a:cubicBezTo>
                  <a:pt x="555" y="357"/>
                  <a:pt x="555" y="357"/>
                  <a:pt x="555" y="357"/>
                </a:cubicBezTo>
                <a:cubicBezTo>
                  <a:pt x="555" y="358"/>
                  <a:pt x="555" y="358"/>
                  <a:pt x="555" y="358"/>
                </a:cubicBezTo>
                <a:cubicBezTo>
                  <a:pt x="554" y="358"/>
                  <a:pt x="554" y="358"/>
                  <a:pt x="554" y="358"/>
                </a:cubicBezTo>
                <a:cubicBezTo>
                  <a:pt x="553" y="358"/>
                  <a:pt x="553" y="358"/>
                  <a:pt x="553" y="358"/>
                </a:cubicBezTo>
                <a:cubicBezTo>
                  <a:pt x="553" y="358"/>
                  <a:pt x="553" y="358"/>
                  <a:pt x="553" y="358"/>
                </a:cubicBezTo>
                <a:cubicBezTo>
                  <a:pt x="552" y="358"/>
                  <a:pt x="552" y="358"/>
                  <a:pt x="552" y="358"/>
                </a:cubicBezTo>
                <a:cubicBezTo>
                  <a:pt x="551" y="358"/>
                  <a:pt x="551" y="358"/>
                  <a:pt x="551" y="358"/>
                </a:cubicBezTo>
                <a:cubicBezTo>
                  <a:pt x="549" y="359"/>
                  <a:pt x="549" y="359"/>
                  <a:pt x="549" y="359"/>
                </a:cubicBezTo>
                <a:cubicBezTo>
                  <a:pt x="549" y="359"/>
                  <a:pt x="549" y="359"/>
                  <a:pt x="549" y="359"/>
                </a:cubicBezTo>
                <a:cubicBezTo>
                  <a:pt x="549" y="360"/>
                  <a:pt x="549" y="360"/>
                  <a:pt x="549" y="360"/>
                </a:cubicBezTo>
                <a:cubicBezTo>
                  <a:pt x="548" y="361"/>
                  <a:pt x="548" y="361"/>
                  <a:pt x="548" y="361"/>
                </a:cubicBezTo>
                <a:cubicBezTo>
                  <a:pt x="548" y="362"/>
                  <a:pt x="548" y="362"/>
                  <a:pt x="548" y="362"/>
                </a:cubicBezTo>
                <a:cubicBezTo>
                  <a:pt x="547" y="363"/>
                  <a:pt x="547" y="363"/>
                  <a:pt x="547" y="363"/>
                </a:cubicBezTo>
                <a:cubicBezTo>
                  <a:pt x="547" y="363"/>
                  <a:pt x="547" y="363"/>
                  <a:pt x="547" y="363"/>
                </a:cubicBezTo>
                <a:cubicBezTo>
                  <a:pt x="547" y="364"/>
                  <a:pt x="547" y="364"/>
                  <a:pt x="547" y="364"/>
                </a:cubicBezTo>
                <a:cubicBezTo>
                  <a:pt x="547" y="366"/>
                  <a:pt x="547" y="366"/>
                  <a:pt x="547" y="366"/>
                </a:cubicBezTo>
                <a:cubicBezTo>
                  <a:pt x="547" y="366"/>
                  <a:pt x="547" y="366"/>
                  <a:pt x="547" y="366"/>
                </a:cubicBezTo>
                <a:cubicBezTo>
                  <a:pt x="548" y="366"/>
                  <a:pt x="548" y="366"/>
                  <a:pt x="548" y="366"/>
                </a:cubicBezTo>
                <a:cubicBezTo>
                  <a:pt x="549" y="365"/>
                  <a:pt x="549" y="365"/>
                  <a:pt x="549" y="365"/>
                </a:cubicBezTo>
                <a:cubicBezTo>
                  <a:pt x="550" y="365"/>
                  <a:pt x="550" y="365"/>
                  <a:pt x="550" y="365"/>
                </a:cubicBezTo>
                <a:cubicBezTo>
                  <a:pt x="551" y="365"/>
                  <a:pt x="551" y="365"/>
                  <a:pt x="551" y="365"/>
                </a:cubicBezTo>
                <a:cubicBezTo>
                  <a:pt x="552" y="367"/>
                  <a:pt x="552" y="367"/>
                  <a:pt x="552" y="367"/>
                </a:cubicBezTo>
                <a:cubicBezTo>
                  <a:pt x="552" y="368"/>
                  <a:pt x="552" y="368"/>
                  <a:pt x="552" y="368"/>
                </a:cubicBezTo>
                <a:cubicBezTo>
                  <a:pt x="553" y="368"/>
                  <a:pt x="553" y="368"/>
                  <a:pt x="553" y="368"/>
                </a:cubicBezTo>
                <a:cubicBezTo>
                  <a:pt x="553" y="369"/>
                  <a:pt x="553" y="369"/>
                  <a:pt x="553" y="369"/>
                </a:cubicBezTo>
                <a:cubicBezTo>
                  <a:pt x="553" y="370"/>
                  <a:pt x="553" y="370"/>
                  <a:pt x="553" y="370"/>
                </a:cubicBezTo>
                <a:cubicBezTo>
                  <a:pt x="553" y="372"/>
                  <a:pt x="553" y="372"/>
                  <a:pt x="553" y="372"/>
                </a:cubicBezTo>
                <a:cubicBezTo>
                  <a:pt x="552" y="372"/>
                  <a:pt x="552" y="372"/>
                  <a:pt x="552" y="372"/>
                </a:cubicBezTo>
                <a:cubicBezTo>
                  <a:pt x="552" y="373"/>
                  <a:pt x="552" y="373"/>
                  <a:pt x="552" y="373"/>
                </a:cubicBezTo>
                <a:cubicBezTo>
                  <a:pt x="551" y="375"/>
                  <a:pt x="551" y="375"/>
                  <a:pt x="551" y="375"/>
                </a:cubicBezTo>
                <a:cubicBezTo>
                  <a:pt x="551" y="376"/>
                  <a:pt x="551" y="376"/>
                  <a:pt x="551" y="376"/>
                </a:cubicBezTo>
                <a:cubicBezTo>
                  <a:pt x="550" y="377"/>
                  <a:pt x="550" y="377"/>
                  <a:pt x="550" y="377"/>
                </a:cubicBezTo>
                <a:cubicBezTo>
                  <a:pt x="550" y="378"/>
                  <a:pt x="550" y="378"/>
                  <a:pt x="550" y="378"/>
                </a:cubicBezTo>
                <a:cubicBezTo>
                  <a:pt x="550" y="379"/>
                  <a:pt x="550" y="379"/>
                  <a:pt x="550" y="379"/>
                </a:cubicBezTo>
                <a:cubicBezTo>
                  <a:pt x="550" y="380"/>
                  <a:pt x="550" y="380"/>
                  <a:pt x="550" y="380"/>
                </a:cubicBezTo>
                <a:cubicBezTo>
                  <a:pt x="550" y="381"/>
                  <a:pt x="550" y="381"/>
                  <a:pt x="550" y="381"/>
                </a:cubicBezTo>
                <a:cubicBezTo>
                  <a:pt x="551" y="382"/>
                  <a:pt x="551" y="382"/>
                  <a:pt x="551" y="382"/>
                </a:cubicBezTo>
                <a:cubicBezTo>
                  <a:pt x="551" y="383"/>
                  <a:pt x="551" y="383"/>
                  <a:pt x="551" y="383"/>
                </a:cubicBezTo>
                <a:cubicBezTo>
                  <a:pt x="550" y="383"/>
                  <a:pt x="550" y="383"/>
                  <a:pt x="550" y="383"/>
                </a:cubicBezTo>
                <a:cubicBezTo>
                  <a:pt x="550" y="384"/>
                  <a:pt x="550" y="384"/>
                  <a:pt x="550" y="384"/>
                </a:cubicBezTo>
                <a:cubicBezTo>
                  <a:pt x="550" y="385"/>
                  <a:pt x="550" y="385"/>
                  <a:pt x="550" y="385"/>
                </a:cubicBezTo>
                <a:cubicBezTo>
                  <a:pt x="550" y="387"/>
                  <a:pt x="550" y="387"/>
                  <a:pt x="550" y="387"/>
                </a:cubicBezTo>
                <a:cubicBezTo>
                  <a:pt x="550" y="387"/>
                  <a:pt x="550" y="387"/>
                  <a:pt x="550" y="387"/>
                </a:cubicBezTo>
                <a:cubicBezTo>
                  <a:pt x="550" y="389"/>
                  <a:pt x="550" y="389"/>
                  <a:pt x="550" y="389"/>
                </a:cubicBezTo>
                <a:cubicBezTo>
                  <a:pt x="551" y="389"/>
                  <a:pt x="551" y="389"/>
                  <a:pt x="551" y="389"/>
                </a:cubicBezTo>
                <a:cubicBezTo>
                  <a:pt x="551" y="390"/>
                  <a:pt x="551" y="390"/>
                  <a:pt x="551" y="390"/>
                </a:cubicBezTo>
                <a:cubicBezTo>
                  <a:pt x="552" y="389"/>
                  <a:pt x="552" y="389"/>
                  <a:pt x="552" y="389"/>
                </a:cubicBezTo>
                <a:cubicBezTo>
                  <a:pt x="552" y="390"/>
                  <a:pt x="552" y="390"/>
                  <a:pt x="552" y="390"/>
                </a:cubicBezTo>
                <a:cubicBezTo>
                  <a:pt x="553" y="391"/>
                  <a:pt x="553" y="391"/>
                  <a:pt x="553" y="391"/>
                </a:cubicBezTo>
                <a:cubicBezTo>
                  <a:pt x="552" y="392"/>
                  <a:pt x="552" y="392"/>
                  <a:pt x="552" y="392"/>
                </a:cubicBezTo>
                <a:cubicBezTo>
                  <a:pt x="551" y="393"/>
                  <a:pt x="551" y="393"/>
                  <a:pt x="551" y="393"/>
                </a:cubicBezTo>
                <a:cubicBezTo>
                  <a:pt x="549" y="393"/>
                  <a:pt x="549" y="393"/>
                  <a:pt x="549" y="393"/>
                </a:cubicBezTo>
                <a:cubicBezTo>
                  <a:pt x="548" y="394"/>
                  <a:pt x="548" y="394"/>
                  <a:pt x="548" y="394"/>
                </a:cubicBezTo>
                <a:cubicBezTo>
                  <a:pt x="545" y="397"/>
                  <a:pt x="545" y="397"/>
                  <a:pt x="545" y="397"/>
                </a:cubicBezTo>
                <a:cubicBezTo>
                  <a:pt x="544" y="397"/>
                  <a:pt x="544" y="397"/>
                  <a:pt x="544" y="397"/>
                </a:cubicBezTo>
                <a:cubicBezTo>
                  <a:pt x="543" y="397"/>
                  <a:pt x="543" y="397"/>
                  <a:pt x="543" y="397"/>
                </a:cubicBezTo>
                <a:cubicBezTo>
                  <a:pt x="541" y="396"/>
                  <a:pt x="541" y="396"/>
                  <a:pt x="541" y="396"/>
                </a:cubicBezTo>
                <a:cubicBezTo>
                  <a:pt x="540" y="397"/>
                  <a:pt x="540" y="397"/>
                  <a:pt x="540" y="397"/>
                </a:cubicBezTo>
                <a:cubicBezTo>
                  <a:pt x="540" y="396"/>
                  <a:pt x="540" y="396"/>
                  <a:pt x="540" y="396"/>
                </a:cubicBezTo>
                <a:cubicBezTo>
                  <a:pt x="539" y="396"/>
                  <a:pt x="539" y="396"/>
                  <a:pt x="539" y="396"/>
                </a:cubicBezTo>
                <a:cubicBezTo>
                  <a:pt x="538" y="396"/>
                  <a:pt x="538" y="396"/>
                  <a:pt x="538" y="396"/>
                </a:cubicBezTo>
                <a:cubicBezTo>
                  <a:pt x="538" y="396"/>
                  <a:pt x="538" y="396"/>
                  <a:pt x="538" y="396"/>
                </a:cubicBezTo>
                <a:cubicBezTo>
                  <a:pt x="535" y="395"/>
                  <a:pt x="535" y="395"/>
                  <a:pt x="535" y="395"/>
                </a:cubicBezTo>
                <a:cubicBezTo>
                  <a:pt x="533" y="395"/>
                  <a:pt x="533" y="395"/>
                  <a:pt x="533" y="395"/>
                </a:cubicBezTo>
                <a:cubicBezTo>
                  <a:pt x="533" y="396"/>
                  <a:pt x="533" y="396"/>
                  <a:pt x="533" y="396"/>
                </a:cubicBezTo>
                <a:cubicBezTo>
                  <a:pt x="532" y="397"/>
                  <a:pt x="532" y="397"/>
                  <a:pt x="532" y="397"/>
                </a:cubicBezTo>
                <a:cubicBezTo>
                  <a:pt x="531" y="397"/>
                  <a:pt x="531" y="397"/>
                  <a:pt x="531" y="397"/>
                </a:cubicBezTo>
                <a:cubicBezTo>
                  <a:pt x="530" y="396"/>
                  <a:pt x="530" y="396"/>
                  <a:pt x="530" y="396"/>
                </a:cubicBezTo>
                <a:cubicBezTo>
                  <a:pt x="529" y="397"/>
                  <a:pt x="529" y="397"/>
                  <a:pt x="529" y="397"/>
                </a:cubicBezTo>
                <a:cubicBezTo>
                  <a:pt x="528" y="397"/>
                  <a:pt x="528" y="397"/>
                  <a:pt x="528" y="397"/>
                </a:cubicBezTo>
                <a:cubicBezTo>
                  <a:pt x="527" y="395"/>
                  <a:pt x="527" y="395"/>
                  <a:pt x="527" y="395"/>
                </a:cubicBezTo>
                <a:cubicBezTo>
                  <a:pt x="526" y="394"/>
                  <a:pt x="526" y="394"/>
                  <a:pt x="526" y="394"/>
                </a:cubicBezTo>
                <a:cubicBezTo>
                  <a:pt x="524" y="394"/>
                  <a:pt x="524" y="394"/>
                  <a:pt x="524" y="394"/>
                </a:cubicBezTo>
                <a:cubicBezTo>
                  <a:pt x="523" y="395"/>
                  <a:pt x="523" y="395"/>
                  <a:pt x="523" y="395"/>
                </a:cubicBezTo>
                <a:cubicBezTo>
                  <a:pt x="522" y="394"/>
                  <a:pt x="522" y="394"/>
                  <a:pt x="522" y="394"/>
                </a:cubicBezTo>
                <a:cubicBezTo>
                  <a:pt x="521" y="394"/>
                  <a:pt x="521" y="394"/>
                  <a:pt x="521" y="394"/>
                </a:cubicBezTo>
                <a:cubicBezTo>
                  <a:pt x="520" y="395"/>
                  <a:pt x="520" y="395"/>
                  <a:pt x="520" y="395"/>
                </a:cubicBezTo>
                <a:cubicBezTo>
                  <a:pt x="520" y="397"/>
                  <a:pt x="520" y="397"/>
                  <a:pt x="520" y="397"/>
                </a:cubicBezTo>
                <a:cubicBezTo>
                  <a:pt x="519" y="398"/>
                  <a:pt x="519" y="398"/>
                  <a:pt x="519" y="398"/>
                </a:cubicBezTo>
                <a:cubicBezTo>
                  <a:pt x="517" y="398"/>
                  <a:pt x="517" y="398"/>
                  <a:pt x="517" y="398"/>
                </a:cubicBezTo>
                <a:cubicBezTo>
                  <a:pt x="517" y="400"/>
                  <a:pt x="517" y="400"/>
                  <a:pt x="517" y="400"/>
                </a:cubicBezTo>
                <a:cubicBezTo>
                  <a:pt x="517" y="400"/>
                  <a:pt x="517" y="400"/>
                  <a:pt x="517" y="400"/>
                </a:cubicBezTo>
                <a:cubicBezTo>
                  <a:pt x="516" y="401"/>
                  <a:pt x="516" y="401"/>
                  <a:pt x="516" y="401"/>
                </a:cubicBezTo>
                <a:cubicBezTo>
                  <a:pt x="515" y="402"/>
                  <a:pt x="515" y="402"/>
                  <a:pt x="515" y="402"/>
                </a:cubicBezTo>
                <a:cubicBezTo>
                  <a:pt x="512" y="402"/>
                  <a:pt x="512" y="402"/>
                  <a:pt x="512" y="402"/>
                </a:cubicBezTo>
                <a:cubicBezTo>
                  <a:pt x="511" y="403"/>
                  <a:pt x="511" y="403"/>
                  <a:pt x="511" y="403"/>
                </a:cubicBezTo>
                <a:cubicBezTo>
                  <a:pt x="510" y="404"/>
                  <a:pt x="510" y="404"/>
                  <a:pt x="510" y="404"/>
                </a:cubicBezTo>
                <a:cubicBezTo>
                  <a:pt x="509" y="404"/>
                  <a:pt x="509" y="404"/>
                  <a:pt x="509" y="404"/>
                </a:cubicBezTo>
                <a:cubicBezTo>
                  <a:pt x="506" y="405"/>
                  <a:pt x="506" y="405"/>
                  <a:pt x="506" y="405"/>
                </a:cubicBezTo>
                <a:cubicBezTo>
                  <a:pt x="505" y="407"/>
                  <a:pt x="505" y="407"/>
                  <a:pt x="505" y="407"/>
                </a:cubicBezTo>
                <a:cubicBezTo>
                  <a:pt x="505" y="407"/>
                  <a:pt x="505" y="407"/>
                  <a:pt x="505" y="407"/>
                </a:cubicBezTo>
                <a:cubicBezTo>
                  <a:pt x="503" y="406"/>
                  <a:pt x="503" y="406"/>
                  <a:pt x="503" y="406"/>
                </a:cubicBezTo>
                <a:cubicBezTo>
                  <a:pt x="502" y="406"/>
                  <a:pt x="502" y="406"/>
                  <a:pt x="502" y="406"/>
                </a:cubicBezTo>
                <a:cubicBezTo>
                  <a:pt x="501" y="406"/>
                  <a:pt x="501" y="406"/>
                  <a:pt x="501" y="406"/>
                </a:cubicBezTo>
                <a:cubicBezTo>
                  <a:pt x="500" y="407"/>
                  <a:pt x="500" y="407"/>
                  <a:pt x="500" y="407"/>
                </a:cubicBezTo>
                <a:cubicBezTo>
                  <a:pt x="496" y="407"/>
                  <a:pt x="496" y="407"/>
                  <a:pt x="496" y="407"/>
                </a:cubicBezTo>
                <a:cubicBezTo>
                  <a:pt x="493" y="406"/>
                  <a:pt x="493" y="406"/>
                  <a:pt x="493" y="406"/>
                </a:cubicBezTo>
                <a:cubicBezTo>
                  <a:pt x="491" y="406"/>
                  <a:pt x="491" y="406"/>
                  <a:pt x="491" y="406"/>
                </a:cubicBezTo>
                <a:cubicBezTo>
                  <a:pt x="490" y="406"/>
                  <a:pt x="490" y="406"/>
                  <a:pt x="490" y="406"/>
                </a:cubicBezTo>
                <a:cubicBezTo>
                  <a:pt x="489" y="405"/>
                  <a:pt x="489" y="405"/>
                  <a:pt x="489" y="405"/>
                </a:cubicBezTo>
                <a:cubicBezTo>
                  <a:pt x="488" y="405"/>
                  <a:pt x="488" y="405"/>
                  <a:pt x="488" y="405"/>
                </a:cubicBezTo>
                <a:cubicBezTo>
                  <a:pt x="487" y="404"/>
                  <a:pt x="487" y="404"/>
                  <a:pt x="487" y="404"/>
                </a:cubicBezTo>
                <a:cubicBezTo>
                  <a:pt x="486" y="404"/>
                  <a:pt x="486" y="404"/>
                  <a:pt x="486" y="404"/>
                </a:cubicBezTo>
                <a:cubicBezTo>
                  <a:pt x="485" y="402"/>
                  <a:pt x="485" y="402"/>
                  <a:pt x="485" y="402"/>
                </a:cubicBezTo>
                <a:cubicBezTo>
                  <a:pt x="484" y="401"/>
                  <a:pt x="484" y="401"/>
                  <a:pt x="484" y="401"/>
                </a:cubicBezTo>
                <a:cubicBezTo>
                  <a:pt x="483" y="401"/>
                  <a:pt x="483" y="401"/>
                  <a:pt x="483" y="401"/>
                </a:cubicBezTo>
                <a:cubicBezTo>
                  <a:pt x="481" y="401"/>
                  <a:pt x="481" y="401"/>
                  <a:pt x="481" y="401"/>
                </a:cubicBezTo>
                <a:cubicBezTo>
                  <a:pt x="479" y="401"/>
                  <a:pt x="479" y="401"/>
                  <a:pt x="479" y="401"/>
                </a:cubicBezTo>
                <a:cubicBezTo>
                  <a:pt x="478" y="399"/>
                  <a:pt x="478" y="399"/>
                  <a:pt x="478" y="399"/>
                </a:cubicBezTo>
                <a:cubicBezTo>
                  <a:pt x="475" y="399"/>
                  <a:pt x="475" y="399"/>
                  <a:pt x="475" y="399"/>
                </a:cubicBezTo>
                <a:cubicBezTo>
                  <a:pt x="474" y="399"/>
                  <a:pt x="474" y="399"/>
                  <a:pt x="474" y="399"/>
                </a:cubicBezTo>
                <a:cubicBezTo>
                  <a:pt x="472" y="398"/>
                  <a:pt x="472" y="398"/>
                  <a:pt x="472" y="398"/>
                </a:cubicBezTo>
                <a:cubicBezTo>
                  <a:pt x="471" y="398"/>
                  <a:pt x="471" y="398"/>
                  <a:pt x="471" y="398"/>
                </a:cubicBezTo>
                <a:cubicBezTo>
                  <a:pt x="469" y="398"/>
                  <a:pt x="469" y="398"/>
                  <a:pt x="469" y="398"/>
                </a:cubicBezTo>
                <a:cubicBezTo>
                  <a:pt x="468" y="399"/>
                  <a:pt x="468" y="399"/>
                  <a:pt x="468" y="399"/>
                </a:cubicBezTo>
                <a:cubicBezTo>
                  <a:pt x="465" y="399"/>
                  <a:pt x="465" y="399"/>
                  <a:pt x="465" y="399"/>
                </a:cubicBezTo>
                <a:cubicBezTo>
                  <a:pt x="463" y="400"/>
                  <a:pt x="463" y="400"/>
                  <a:pt x="463" y="400"/>
                </a:cubicBezTo>
                <a:cubicBezTo>
                  <a:pt x="462" y="401"/>
                  <a:pt x="462" y="401"/>
                  <a:pt x="462" y="401"/>
                </a:cubicBezTo>
                <a:cubicBezTo>
                  <a:pt x="461" y="401"/>
                  <a:pt x="461" y="401"/>
                  <a:pt x="461" y="401"/>
                </a:cubicBezTo>
                <a:cubicBezTo>
                  <a:pt x="461" y="401"/>
                  <a:pt x="461" y="401"/>
                  <a:pt x="461" y="401"/>
                </a:cubicBezTo>
                <a:cubicBezTo>
                  <a:pt x="460" y="401"/>
                  <a:pt x="460" y="401"/>
                  <a:pt x="460" y="401"/>
                </a:cubicBezTo>
                <a:cubicBezTo>
                  <a:pt x="459" y="402"/>
                  <a:pt x="459" y="402"/>
                  <a:pt x="459" y="402"/>
                </a:cubicBezTo>
                <a:cubicBezTo>
                  <a:pt x="457" y="401"/>
                  <a:pt x="457" y="401"/>
                  <a:pt x="457" y="401"/>
                </a:cubicBezTo>
                <a:cubicBezTo>
                  <a:pt x="457" y="402"/>
                  <a:pt x="457" y="402"/>
                  <a:pt x="457" y="402"/>
                </a:cubicBezTo>
                <a:cubicBezTo>
                  <a:pt x="456" y="402"/>
                  <a:pt x="456" y="402"/>
                  <a:pt x="456" y="402"/>
                </a:cubicBezTo>
                <a:cubicBezTo>
                  <a:pt x="454" y="401"/>
                  <a:pt x="454" y="401"/>
                  <a:pt x="454" y="401"/>
                </a:cubicBezTo>
                <a:cubicBezTo>
                  <a:pt x="452" y="400"/>
                  <a:pt x="452" y="400"/>
                  <a:pt x="452" y="400"/>
                </a:cubicBezTo>
                <a:cubicBezTo>
                  <a:pt x="451" y="400"/>
                  <a:pt x="451" y="400"/>
                  <a:pt x="451" y="400"/>
                </a:cubicBezTo>
                <a:cubicBezTo>
                  <a:pt x="450" y="398"/>
                  <a:pt x="450" y="398"/>
                  <a:pt x="450" y="398"/>
                </a:cubicBezTo>
                <a:cubicBezTo>
                  <a:pt x="449" y="398"/>
                  <a:pt x="449" y="398"/>
                  <a:pt x="449" y="398"/>
                </a:cubicBezTo>
                <a:cubicBezTo>
                  <a:pt x="449" y="398"/>
                  <a:pt x="449" y="398"/>
                  <a:pt x="449" y="398"/>
                </a:cubicBezTo>
                <a:cubicBezTo>
                  <a:pt x="449" y="397"/>
                  <a:pt x="449" y="397"/>
                  <a:pt x="449" y="397"/>
                </a:cubicBezTo>
                <a:cubicBezTo>
                  <a:pt x="448" y="395"/>
                  <a:pt x="448" y="395"/>
                  <a:pt x="448" y="395"/>
                </a:cubicBezTo>
                <a:cubicBezTo>
                  <a:pt x="448" y="395"/>
                  <a:pt x="448" y="395"/>
                  <a:pt x="448" y="395"/>
                </a:cubicBezTo>
                <a:cubicBezTo>
                  <a:pt x="448" y="394"/>
                  <a:pt x="448" y="394"/>
                  <a:pt x="448" y="394"/>
                </a:cubicBezTo>
                <a:cubicBezTo>
                  <a:pt x="447" y="393"/>
                  <a:pt x="447" y="393"/>
                  <a:pt x="447" y="393"/>
                </a:cubicBezTo>
                <a:cubicBezTo>
                  <a:pt x="447" y="392"/>
                  <a:pt x="447" y="392"/>
                  <a:pt x="447" y="392"/>
                </a:cubicBezTo>
                <a:cubicBezTo>
                  <a:pt x="446" y="391"/>
                  <a:pt x="446" y="391"/>
                  <a:pt x="446" y="391"/>
                </a:cubicBezTo>
                <a:cubicBezTo>
                  <a:pt x="445" y="391"/>
                  <a:pt x="445" y="391"/>
                  <a:pt x="445" y="391"/>
                </a:cubicBezTo>
                <a:cubicBezTo>
                  <a:pt x="443" y="391"/>
                  <a:pt x="443" y="391"/>
                  <a:pt x="443" y="391"/>
                </a:cubicBezTo>
                <a:cubicBezTo>
                  <a:pt x="442" y="391"/>
                  <a:pt x="442" y="391"/>
                  <a:pt x="442" y="391"/>
                </a:cubicBezTo>
                <a:cubicBezTo>
                  <a:pt x="441" y="390"/>
                  <a:pt x="441" y="390"/>
                  <a:pt x="441" y="390"/>
                </a:cubicBezTo>
                <a:cubicBezTo>
                  <a:pt x="439" y="390"/>
                  <a:pt x="439" y="390"/>
                  <a:pt x="439" y="390"/>
                </a:cubicBezTo>
                <a:cubicBezTo>
                  <a:pt x="439" y="389"/>
                  <a:pt x="439" y="389"/>
                  <a:pt x="439" y="389"/>
                </a:cubicBezTo>
                <a:cubicBezTo>
                  <a:pt x="438" y="389"/>
                  <a:pt x="438" y="389"/>
                  <a:pt x="438" y="389"/>
                </a:cubicBezTo>
                <a:cubicBezTo>
                  <a:pt x="435" y="389"/>
                  <a:pt x="435" y="389"/>
                  <a:pt x="435" y="389"/>
                </a:cubicBezTo>
                <a:cubicBezTo>
                  <a:pt x="434" y="389"/>
                  <a:pt x="434" y="389"/>
                  <a:pt x="434" y="389"/>
                </a:cubicBezTo>
                <a:cubicBezTo>
                  <a:pt x="432" y="388"/>
                  <a:pt x="432" y="388"/>
                  <a:pt x="432" y="388"/>
                </a:cubicBezTo>
                <a:cubicBezTo>
                  <a:pt x="432" y="388"/>
                  <a:pt x="432" y="388"/>
                  <a:pt x="432" y="388"/>
                </a:cubicBezTo>
                <a:cubicBezTo>
                  <a:pt x="431" y="387"/>
                  <a:pt x="431" y="387"/>
                  <a:pt x="431" y="387"/>
                </a:cubicBezTo>
                <a:cubicBezTo>
                  <a:pt x="429" y="387"/>
                  <a:pt x="429" y="387"/>
                  <a:pt x="429" y="387"/>
                </a:cubicBezTo>
                <a:cubicBezTo>
                  <a:pt x="428" y="386"/>
                  <a:pt x="428" y="386"/>
                  <a:pt x="428" y="386"/>
                </a:cubicBezTo>
                <a:cubicBezTo>
                  <a:pt x="427" y="386"/>
                  <a:pt x="427" y="386"/>
                  <a:pt x="427" y="386"/>
                </a:cubicBezTo>
                <a:cubicBezTo>
                  <a:pt x="426" y="387"/>
                  <a:pt x="426" y="387"/>
                  <a:pt x="426" y="387"/>
                </a:cubicBezTo>
                <a:cubicBezTo>
                  <a:pt x="426" y="388"/>
                  <a:pt x="426" y="388"/>
                  <a:pt x="426" y="388"/>
                </a:cubicBezTo>
                <a:cubicBezTo>
                  <a:pt x="426" y="389"/>
                  <a:pt x="426" y="389"/>
                  <a:pt x="426" y="389"/>
                </a:cubicBezTo>
                <a:cubicBezTo>
                  <a:pt x="426" y="390"/>
                  <a:pt x="426" y="390"/>
                  <a:pt x="426" y="390"/>
                </a:cubicBezTo>
                <a:cubicBezTo>
                  <a:pt x="425" y="389"/>
                  <a:pt x="425" y="389"/>
                  <a:pt x="425" y="389"/>
                </a:cubicBezTo>
                <a:cubicBezTo>
                  <a:pt x="424" y="390"/>
                  <a:pt x="424" y="390"/>
                  <a:pt x="424" y="390"/>
                </a:cubicBezTo>
                <a:cubicBezTo>
                  <a:pt x="423" y="391"/>
                  <a:pt x="423" y="391"/>
                  <a:pt x="423" y="391"/>
                </a:cubicBezTo>
                <a:cubicBezTo>
                  <a:pt x="423" y="392"/>
                  <a:pt x="423" y="392"/>
                  <a:pt x="423" y="392"/>
                </a:cubicBezTo>
                <a:cubicBezTo>
                  <a:pt x="422" y="393"/>
                  <a:pt x="422" y="393"/>
                  <a:pt x="422" y="393"/>
                </a:cubicBezTo>
                <a:cubicBezTo>
                  <a:pt x="422" y="396"/>
                  <a:pt x="422" y="396"/>
                  <a:pt x="422" y="396"/>
                </a:cubicBezTo>
                <a:cubicBezTo>
                  <a:pt x="423" y="398"/>
                  <a:pt x="423" y="398"/>
                  <a:pt x="423" y="398"/>
                </a:cubicBezTo>
                <a:cubicBezTo>
                  <a:pt x="424" y="398"/>
                  <a:pt x="424" y="398"/>
                  <a:pt x="424" y="398"/>
                </a:cubicBezTo>
                <a:cubicBezTo>
                  <a:pt x="425" y="399"/>
                  <a:pt x="425" y="399"/>
                  <a:pt x="425" y="399"/>
                </a:cubicBezTo>
                <a:cubicBezTo>
                  <a:pt x="426" y="400"/>
                  <a:pt x="426" y="400"/>
                  <a:pt x="426" y="400"/>
                </a:cubicBezTo>
                <a:cubicBezTo>
                  <a:pt x="427" y="400"/>
                  <a:pt x="427" y="400"/>
                  <a:pt x="427" y="400"/>
                </a:cubicBezTo>
                <a:cubicBezTo>
                  <a:pt x="426" y="402"/>
                  <a:pt x="426" y="402"/>
                  <a:pt x="426" y="402"/>
                </a:cubicBezTo>
                <a:cubicBezTo>
                  <a:pt x="426" y="404"/>
                  <a:pt x="426" y="404"/>
                  <a:pt x="426" y="404"/>
                </a:cubicBezTo>
                <a:cubicBezTo>
                  <a:pt x="427" y="405"/>
                  <a:pt x="427" y="405"/>
                  <a:pt x="427" y="405"/>
                </a:cubicBezTo>
                <a:cubicBezTo>
                  <a:pt x="428" y="406"/>
                  <a:pt x="428" y="406"/>
                  <a:pt x="428" y="406"/>
                </a:cubicBezTo>
                <a:cubicBezTo>
                  <a:pt x="427" y="408"/>
                  <a:pt x="427" y="408"/>
                  <a:pt x="427" y="408"/>
                </a:cubicBezTo>
                <a:cubicBezTo>
                  <a:pt x="425" y="408"/>
                  <a:pt x="425" y="408"/>
                  <a:pt x="425" y="408"/>
                </a:cubicBezTo>
                <a:cubicBezTo>
                  <a:pt x="424" y="408"/>
                  <a:pt x="424" y="408"/>
                  <a:pt x="424" y="408"/>
                </a:cubicBezTo>
                <a:cubicBezTo>
                  <a:pt x="423" y="408"/>
                  <a:pt x="423" y="408"/>
                  <a:pt x="423" y="408"/>
                </a:cubicBezTo>
                <a:cubicBezTo>
                  <a:pt x="422" y="408"/>
                  <a:pt x="422" y="408"/>
                  <a:pt x="422" y="408"/>
                </a:cubicBezTo>
                <a:cubicBezTo>
                  <a:pt x="421" y="408"/>
                  <a:pt x="421" y="408"/>
                  <a:pt x="421" y="408"/>
                </a:cubicBezTo>
                <a:cubicBezTo>
                  <a:pt x="418" y="408"/>
                  <a:pt x="418" y="408"/>
                  <a:pt x="418" y="408"/>
                </a:cubicBezTo>
                <a:cubicBezTo>
                  <a:pt x="417" y="408"/>
                  <a:pt x="417" y="408"/>
                  <a:pt x="417" y="408"/>
                </a:cubicBezTo>
                <a:cubicBezTo>
                  <a:pt x="416" y="407"/>
                  <a:pt x="416" y="407"/>
                  <a:pt x="416" y="407"/>
                </a:cubicBezTo>
                <a:cubicBezTo>
                  <a:pt x="415" y="407"/>
                  <a:pt x="415" y="407"/>
                  <a:pt x="415" y="407"/>
                </a:cubicBezTo>
                <a:cubicBezTo>
                  <a:pt x="414" y="407"/>
                  <a:pt x="414" y="407"/>
                  <a:pt x="414" y="407"/>
                </a:cubicBezTo>
                <a:cubicBezTo>
                  <a:pt x="413" y="408"/>
                  <a:pt x="413" y="408"/>
                  <a:pt x="413" y="408"/>
                </a:cubicBezTo>
                <a:cubicBezTo>
                  <a:pt x="412" y="409"/>
                  <a:pt x="412" y="409"/>
                  <a:pt x="412" y="409"/>
                </a:cubicBezTo>
                <a:cubicBezTo>
                  <a:pt x="411" y="409"/>
                  <a:pt x="411" y="409"/>
                  <a:pt x="411" y="409"/>
                </a:cubicBezTo>
                <a:cubicBezTo>
                  <a:pt x="408" y="408"/>
                  <a:pt x="408" y="408"/>
                  <a:pt x="408" y="408"/>
                </a:cubicBezTo>
                <a:cubicBezTo>
                  <a:pt x="407" y="407"/>
                  <a:pt x="407" y="407"/>
                  <a:pt x="407" y="407"/>
                </a:cubicBezTo>
                <a:cubicBezTo>
                  <a:pt x="404" y="405"/>
                  <a:pt x="404" y="405"/>
                  <a:pt x="404" y="405"/>
                </a:cubicBezTo>
                <a:cubicBezTo>
                  <a:pt x="404" y="405"/>
                  <a:pt x="404" y="405"/>
                  <a:pt x="404" y="405"/>
                </a:cubicBezTo>
                <a:cubicBezTo>
                  <a:pt x="404" y="404"/>
                  <a:pt x="404" y="404"/>
                  <a:pt x="404" y="404"/>
                </a:cubicBezTo>
                <a:cubicBezTo>
                  <a:pt x="403" y="403"/>
                  <a:pt x="403" y="403"/>
                  <a:pt x="403" y="403"/>
                </a:cubicBezTo>
                <a:cubicBezTo>
                  <a:pt x="401" y="403"/>
                  <a:pt x="401" y="403"/>
                  <a:pt x="401" y="403"/>
                </a:cubicBezTo>
                <a:cubicBezTo>
                  <a:pt x="400" y="403"/>
                  <a:pt x="400" y="403"/>
                  <a:pt x="400" y="403"/>
                </a:cubicBezTo>
                <a:cubicBezTo>
                  <a:pt x="399" y="403"/>
                  <a:pt x="399" y="403"/>
                  <a:pt x="399" y="403"/>
                </a:cubicBezTo>
                <a:cubicBezTo>
                  <a:pt x="398" y="404"/>
                  <a:pt x="398" y="404"/>
                  <a:pt x="398" y="404"/>
                </a:cubicBezTo>
                <a:cubicBezTo>
                  <a:pt x="397" y="404"/>
                  <a:pt x="397" y="404"/>
                  <a:pt x="397" y="404"/>
                </a:cubicBezTo>
                <a:cubicBezTo>
                  <a:pt x="396" y="403"/>
                  <a:pt x="396" y="403"/>
                  <a:pt x="396" y="403"/>
                </a:cubicBezTo>
                <a:cubicBezTo>
                  <a:pt x="396" y="402"/>
                  <a:pt x="396" y="402"/>
                  <a:pt x="396" y="402"/>
                </a:cubicBezTo>
                <a:cubicBezTo>
                  <a:pt x="396" y="401"/>
                  <a:pt x="396" y="401"/>
                  <a:pt x="396" y="401"/>
                </a:cubicBezTo>
                <a:cubicBezTo>
                  <a:pt x="395" y="401"/>
                  <a:pt x="395" y="401"/>
                  <a:pt x="395" y="401"/>
                </a:cubicBezTo>
                <a:cubicBezTo>
                  <a:pt x="394" y="402"/>
                  <a:pt x="394" y="402"/>
                  <a:pt x="394" y="402"/>
                </a:cubicBezTo>
                <a:cubicBezTo>
                  <a:pt x="393" y="402"/>
                  <a:pt x="393" y="402"/>
                  <a:pt x="393" y="402"/>
                </a:cubicBezTo>
                <a:cubicBezTo>
                  <a:pt x="392" y="402"/>
                  <a:pt x="392" y="402"/>
                  <a:pt x="392" y="402"/>
                </a:cubicBezTo>
                <a:cubicBezTo>
                  <a:pt x="391" y="402"/>
                  <a:pt x="391" y="402"/>
                  <a:pt x="391" y="402"/>
                </a:cubicBezTo>
                <a:cubicBezTo>
                  <a:pt x="388" y="402"/>
                  <a:pt x="388" y="402"/>
                  <a:pt x="388" y="402"/>
                </a:cubicBezTo>
                <a:cubicBezTo>
                  <a:pt x="387" y="403"/>
                  <a:pt x="387" y="403"/>
                  <a:pt x="387" y="403"/>
                </a:cubicBezTo>
                <a:cubicBezTo>
                  <a:pt x="387" y="404"/>
                  <a:pt x="387" y="404"/>
                  <a:pt x="387" y="404"/>
                </a:cubicBezTo>
                <a:cubicBezTo>
                  <a:pt x="386" y="405"/>
                  <a:pt x="386" y="405"/>
                  <a:pt x="386" y="405"/>
                </a:cubicBezTo>
                <a:cubicBezTo>
                  <a:pt x="384" y="404"/>
                  <a:pt x="384" y="404"/>
                  <a:pt x="384" y="404"/>
                </a:cubicBezTo>
                <a:cubicBezTo>
                  <a:pt x="383" y="405"/>
                  <a:pt x="383" y="405"/>
                  <a:pt x="383" y="405"/>
                </a:cubicBezTo>
                <a:cubicBezTo>
                  <a:pt x="383" y="405"/>
                  <a:pt x="383" y="405"/>
                  <a:pt x="383" y="405"/>
                </a:cubicBezTo>
                <a:cubicBezTo>
                  <a:pt x="384" y="406"/>
                  <a:pt x="384" y="406"/>
                  <a:pt x="384" y="406"/>
                </a:cubicBezTo>
                <a:cubicBezTo>
                  <a:pt x="384" y="406"/>
                  <a:pt x="384" y="406"/>
                  <a:pt x="384" y="406"/>
                </a:cubicBezTo>
                <a:cubicBezTo>
                  <a:pt x="383" y="408"/>
                  <a:pt x="383" y="408"/>
                  <a:pt x="383" y="408"/>
                </a:cubicBezTo>
                <a:cubicBezTo>
                  <a:pt x="382" y="408"/>
                  <a:pt x="382" y="408"/>
                  <a:pt x="382" y="408"/>
                </a:cubicBezTo>
                <a:cubicBezTo>
                  <a:pt x="381" y="409"/>
                  <a:pt x="381" y="409"/>
                  <a:pt x="381" y="409"/>
                </a:cubicBezTo>
                <a:cubicBezTo>
                  <a:pt x="381" y="410"/>
                  <a:pt x="381" y="410"/>
                  <a:pt x="381" y="410"/>
                </a:cubicBezTo>
                <a:cubicBezTo>
                  <a:pt x="379" y="411"/>
                  <a:pt x="379" y="411"/>
                  <a:pt x="379" y="411"/>
                </a:cubicBezTo>
                <a:cubicBezTo>
                  <a:pt x="378" y="412"/>
                  <a:pt x="378" y="412"/>
                  <a:pt x="378" y="412"/>
                </a:cubicBezTo>
                <a:cubicBezTo>
                  <a:pt x="378" y="413"/>
                  <a:pt x="378" y="413"/>
                  <a:pt x="378" y="413"/>
                </a:cubicBezTo>
                <a:cubicBezTo>
                  <a:pt x="376" y="414"/>
                  <a:pt x="376" y="414"/>
                  <a:pt x="376" y="414"/>
                </a:cubicBezTo>
                <a:cubicBezTo>
                  <a:pt x="375" y="415"/>
                  <a:pt x="375" y="415"/>
                  <a:pt x="375" y="415"/>
                </a:cubicBezTo>
                <a:cubicBezTo>
                  <a:pt x="375" y="416"/>
                  <a:pt x="375" y="416"/>
                  <a:pt x="375" y="416"/>
                </a:cubicBezTo>
                <a:cubicBezTo>
                  <a:pt x="372" y="416"/>
                  <a:pt x="372" y="416"/>
                  <a:pt x="372" y="416"/>
                </a:cubicBezTo>
                <a:cubicBezTo>
                  <a:pt x="371" y="416"/>
                  <a:pt x="371" y="416"/>
                  <a:pt x="371" y="416"/>
                </a:cubicBezTo>
                <a:cubicBezTo>
                  <a:pt x="370" y="418"/>
                  <a:pt x="370" y="418"/>
                  <a:pt x="370" y="418"/>
                </a:cubicBezTo>
                <a:cubicBezTo>
                  <a:pt x="370" y="419"/>
                  <a:pt x="370" y="419"/>
                  <a:pt x="370" y="419"/>
                </a:cubicBezTo>
                <a:cubicBezTo>
                  <a:pt x="369" y="419"/>
                  <a:pt x="369" y="419"/>
                  <a:pt x="369" y="419"/>
                </a:cubicBezTo>
                <a:cubicBezTo>
                  <a:pt x="368" y="418"/>
                  <a:pt x="368" y="418"/>
                  <a:pt x="368" y="418"/>
                </a:cubicBezTo>
                <a:cubicBezTo>
                  <a:pt x="367" y="418"/>
                  <a:pt x="367" y="418"/>
                  <a:pt x="367" y="418"/>
                </a:cubicBezTo>
                <a:cubicBezTo>
                  <a:pt x="367" y="418"/>
                  <a:pt x="367" y="418"/>
                  <a:pt x="367" y="418"/>
                </a:cubicBezTo>
                <a:cubicBezTo>
                  <a:pt x="365" y="417"/>
                  <a:pt x="365" y="417"/>
                  <a:pt x="365" y="417"/>
                </a:cubicBezTo>
                <a:cubicBezTo>
                  <a:pt x="364" y="416"/>
                  <a:pt x="364" y="416"/>
                  <a:pt x="364" y="416"/>
                </a:cubicBezTo>
                <a:cubicBezTo>
                  <a:pt x="363" y="416"/>
                  <a:pt x="363" y="416"/>
                  <a:pt x="363" y="416"/>
                </a:cubicBezTo>
                <a:cubicBezTo>
                  <a:pt x="363" y="415"/>
                  <a:pt x="363" y="415"/>
                  <a:pt x="363" y="415"/>
                </a:cubicBezTo>
                <a:cubicBezTo>
                  <a:pt x="363" y="413"/>
                  <a:pt x="363" y="413"/>
                  <a:pt x="363" y="413"/>
                </a:cubicBezTo>
                <a:cubicBezTo>
                  <a:pt x="362" y="413"/>
                  <a:pt x="362" y="413"/>
                  <a:pt x="362" y="413"/>
                </a:cubicBezTo>
                <a:cubicBezTo>
                  <a:pt x="361" y="413"/>
                  <a:pt x="361" y="413"/>
                  <a:pt x="361" y="413"/>
                </a:cubicBezTo>
                <a:cubicBezTo>
                  <a:pt x="361" y="415"/>
                  <a:pt x="361" y="415"/>
                  <a:pt x="361" y="415"/>
                </a:cubicBezTo>
                <a:cubicBezTo>
                  <a:pt x="359" y="415"/>
                  <a:pt x="359" y="415"/>
                  <a:pt x="359" y="415"/>
                </a:cubicBezTo>
                <a:cubicBezTo>
                  <a:pt x="356" y="415"/>
                  <a:pt x="356" y="415"/>
                  <a:pt x="356" y="415"/>
                </a:cubicBezTo>
                <a:cubicBezTo>
                  <a:pt x="355" y="416"/>
                  <a:pt x="355" y="416"/>
                  <a:pt x="355" y="416"/>
                </a:cubicBezTo>
                <a:cubicBezTo>
                  <a:pt x="355" y="416"/>
                  <a:pt x="355" y="416"/>
                  <a:pt x="355" y="416"/>
                </a:cubicBezTo>
                <a:cubicBezTo>
                  <a:pt x="354" y="416"/>
                  <a:pt x="354" y="416"/>
                  <a:pt x="354" y="416"/>
                </a:cubicBezTo>
                <a:cubicBezTo>
                  <a:pt x="353" y="415"/>
                  <a:pt x="353" y="415"/>
                  <a:pt x="353" y="415"/>
                </a:cubicBezTo>
                <a:cubicBezTo>
                  <a:pt x="352" y="415"/>
                  <a:pt x="352" y="415"/>
                  <a:pt x="352" y="415"/>
                </a:cubicBezTo>
                <a:cubicBezTo>
                  <a:pt x="352" y="415"/>
                  <a:pt x="352" y="415"/>
                  <a:pt x="352" y="415"/>
                </a:cubicBezTo>
                <a:cubicBezTo>
                  <a:pt x="351" y="414"/>
                  <a:pt x="351" y="414"/>
                  <a:pt x="351" y="414"/>
                </a:cubicBezTo>
                <a:cubicBezTo>
                  <a:pt x="351" y="414"/>
                  <a:pt x="351" y="414"/>
                  <a:pt x="351" y="414"/>
                </a:cubicBezTo>
                <a:cubicBezTo>
                  <a:pt x="351" y="413"/>
                  <a:pt x="351" y="413"/>
                  <a:pt x="351" y="413"/>
                </a:cubicBezTo>
                <a:cubicBezTo>
                  <a:pt x="351" y="412"/>
                  <a:pt x="351" y="412"/>
                  <a:pt x="351" y="412"/>
                </a:cubicBezTo>
                <a:cubicBezTo>
                  <a:pt x="351" y="411"/>
                  <a:pt x="351" y="411"/>
                  <a:pt x="351" y="411"/>
                </a:cubicBezTo>
                <a:cubicBezTo>
                  <a:pt x="350" y="411"/>
                  <a:pt x="350" y="411"/>
                  <a:pt x="350" y="411"/>
                </a:cubicBezTo>
                <a:cubicBezTo>
                  <a:pt x="350" y="411"/>
                  <a:pt x="350" y="411"/>
                  <a:pt x="350" y="411"/>
                </a:cubicBezTo>
                <a:cubicBezTo>
                  <a:pt x="348" y="410"/>
                  <a:pt x="348" y="410"/>
                  <a:pt x="348" y="410"/>
                </a:cubicBezTo>
                <a:cubicBezTo>
                  <a:pt x="347" y="409"/>
                  <a:pt x="347" y="409"/>
                  <a:pt x="347" y="409"/>
                </a:cubicBezTo>
                <a:cubicBezTo>
                  <a:pt x="346" y="409"/>
                  <a:pt x="346" y="409"/>
                  <a:pt x="346" y="409"/>
                </a:cubicBezTo>
                <a:cubicBezTo>
                  <a:pt x="346" y="408"/>
                  <a:pt x="346" y="408"/>
                  <a:pt x="346" y="408"/>
                </a:cubicBezTo>
                <a:cubicBezTo>
                  <a:pt x="345" y="406"/>
                  <a:pt x="345" y="406"/>
                  <a:pt x="345" y="406"/>
                </a:cubicBezTo>
                <a:cubicBezTo>
                  <a:pt x="343" y="405"/>
                  <a:pt x="343" y="405"/>
                  <a:pt x="343" y="405"/>
                </a:cubicBezTo>
                <a:cubicBezTo>
                  <a:pt x="341" y="404"/>
                  <a:pt x="341" y="404"/>
                  <a:pt x="341" y="404"/>
                </a:cubicBezTo>
                <a:cubicBezTo>
                  <a:pt x="339" y="404"/>
                  <a:pt x="339" y="404"/>
                  <a:pt x="339" y="404"/>
                </a:cubicBezTo>
                <a:cubicBezTo>
                  <a:pt x="336" y="405"/>
                  <a:pt x="336" y="405"/>
                  <a:pt x="336" y="405"/>
                </a:cubicBezTo>
                <a:cubicBezTo>
                  <a:pt x="336" y="405"/>
                  <a:pt x="336" y="405"/>
                  <a:pt x="336" y="405"/>
                </a:cubicBezTo>
                <a:cubicBezTo>
                  <a:pt x="337" y="406"/>
                  <a:pt x="337" y="406"/>
                  <a:pt x="337" y="406"/>
                </a:cubicBezTo>
                <a:cubicBezTo>
                  <a:pt x="336" y="406"/>
                  <a:pt x="336" y="406"/>
                  <a:pt x="336" y="406"/>
                </a:cubicBezTo>
                <a:cubicBezTo>
                  <a:pt x="335" y="407"/>
                  <a:pt x="335" y="407"/>
                  <a:pt x="335" y="407"/>
                </a:cubicBezTo>
                <a:cubicBezTo>
                  <a:pt x="334" y="407"/>
                  <a:pt x="334" y="407"/>
                  <a:pt x="334" y="407"/>
                </a:cubicBezTo>
                <a:cubicBezTo>
                  <a:pt x="333" y="407"/>
                  <a:pt x="333" y="407"/>
                  <a:pt x="333" y="407"/>
                </a:cubicBezTo>
                <a:cubicBezTo>
                  <a:pt x="331" y="406"/>
                  <a:pt x="331" y="406"/>
                  <a:pt x="331" y="406"/>
                </a:cubicBezTo>
                <a:cubicBezTo>
                  <a:pt x="330" y="407"/>
                  <a:pt x="330" y="407"/>
                  <a:pt x="330" y="407"/>
                </a:cubicBezTo>
                <a:cubicBezTo>
                  <a:pt x="329" y="407"/>
                  <a:pt x="329" y="407"/>
                  <a:pt x="329" y="407"/>
                </a:cubicBezTo>
                <a:cubicBezTo>
                  <a:pt x="328" y="407"/>
                  <a:pt x="328" y="407"/>
                  <a:pt x="328" y="407"/>
                </a:cubicBezTo>
                <a:cubicBezTo>
                  <a:pt x="327" y="406"/>
                  <a:pt x="327" y="406"/>
                  <a:pt x="327" y="406"/>
                </a:cubicBezTo>
                <a:cubicBezTo>
                  <a:pt x="326" y="406"/>
                  <a:pt x="326" y="406"/>
                  <a:pt x="326" y="406"/>
                </a:cubicBezTo>
                <a:cubicBezTo>
                  <a:pt x="326" y="405"/>
                  <a:pt x="326" y="405"/>
                  <a:pt x="326" y="405"/>
                </a:cubicBezTo>
                <a:cubicBezTo>
                  <a:pt x="326" y="404"/>
                  <a:pt x="326" y="404"/>
                  <a:pt x="326" y="404"/>
                </a:cubicBezTo>
                <a:cubicBezTo>
                  <a:pt x="324" y="403"/>
                  <a:pt x="324" y="403"/>
                  <a:pt x="324" y="403"/>
                </a:cubicBezTo>
                <a:cubicBezTo>
                  <a:pt x="323" y="404"/>
                  <a:pt x="323" y="404"/>
                  <a:pt x="323" y="404"/>
                </a:cubicBezTo>
                <a:cubicBezTo>
                  <a:pt x="323" y="405"/>
                  <a:pt x="323" y="405"/>
                  <a:pt x="323" y="405"/>
                </a:cubicBezTo>
                <a:cubicBezTo>
                  <a:pt x="323" y="405"/>
                  <a:pt x="323" y="405"/>
                  <a:pt x="323" y="405"/>
                </a:cubicBezTo>
                <a:cubicBezTo>
                  <a:pt x="323" y="406"/>
                  <a:pt x="323" y="406"/>
                  <a:pt x="323" y="406"/>
                </a:cubicBezTo>
                <a:cubicBezTo>
                  <a:pt x="322" y="407"/>
                  <a:pt x="322" y="407"/>
                  <a:pt x="322" y="407"/>
                </a:cubicBezTo>
                <a:cubicBezTo>
                  <a:pt x="321" y="407"/>
                  <a:pt x="321" y="407"/>
                  <a:pt x="321" y="407"/>
                </a:cubicBezTo>
                <a:cubicBezTo>
                  <a:pt x="305" y="388"/>
                  <a:pt x="305" y="388"/>
                  <a:pt x="305" y="388"/>
                </a:cubicBezTo>
                <a:cubicBezTo>
                  <a:pt x="294" y="379"/>
                  <a:pt x="294" y="379"/>
                  <a:pt x="294" y="379"/>
                </a:cubicBezTo>
                <a:cubicBezTo>
                  <a:pt x="293" y="378"/>
                  <a:pt x="293" y="378"/>
                  <a:pt x="293" y="378"/>
                </a:cubicBezTo>
                <a:cubicBezTo>
                  <a:pt x="294" y="378"/>
                  <a:pt x="294" y="378"/>
                  <a:pt x="294" y="378"/>
                </a:cubicBezTo>
                <a:cubicBezTo>
                  <a:pt x="295" y="377"/>
                  <a:pt x="295" y="377"/>
                  <a:pt x="295" y="377"/>
                </a:cubicBezTo>
                <a:cubicBezTo>
                  <a:pt x="295" y="376"/>
                  <a:pt x="295" y="376"/>
                  <a:pt x="295" y="376"/>
                </a:cubicBezTo>
                <a:cubicBezTo>
                  <a:pt x="295" y="375"/>
                  <a:pt x="295" y="375"/>
                  <a:pt x="295" y="375"/>
                </a:cubicBezTo>
                <a:cubicBezTo>
                  <a:pt x="293" y="376"/>
                  <a:pt x="293" y="376"/>
                  <a:pt x="293" y="376"/>
                </a:cubicBezTo>
                <a:cubicBezTo>
                  <a:pt x="292" y="376"/>
                  <a:pt x="292" y="376"/>
                  <a:pt x="292" y="376"/>
                </a:cubicBezTo>
                <a:cubicBezTo>
                  <a:pt x="291" y="377"/>
                  <a:pt x="291" y="377"/>
                  <a:pt x="291" y="377"/>
                </a:cubicBezTo>
                <a:cubicBezTo>
                  <a:pt x="290" y="378"/>
                  <a:pt x="290" y="378"/>
                  <a:pt x="290" y="378"/>
                </a:cubicBezTo>
                <a:cubicBezTo>
                  <a:pt x="288" y="379"/>
                  <a:pt x="288" y="379"/>
                  <a:pt x="288" y="379"/>
                </a:cubicBezTo>
                <a:cubicBezTo>
                  <a:pt x="288" y="380"/>
                  <a:pt x="288" y="380"/>
                  <a:pt x="288" y="380"/>
                </a:cubicBezTo>
                <a:cubicBezTo>
                  <a:pt x="287" y="381"/>
                  <a:pt x="287" y="381"/>
                  <a:pt x="287" y="381"/>
                </a:cubicBezTo>
                <a:cubicBezTo>
                  <a:pt x="287" y="382"/>
                  <a:pt x="287" y="382"/>
                  <a:pt x="287" y="382"/>
                </a:cubicBezTo>
                <a:cubicBezTo>
                  <a:pt x="286" y="383"/>
                  <a:pt x="286" y="383"/>
                  <a:pt x="286" y="383"/>
                </a:cubicBezTo>
                <a:cubicBezTo>
                  <a:pt x="284" y="383"/>
                  <a:pt x="284" y="383"/>
                  <a:pt x="284" y="383"/>
                </a:cubicBezTo>
                <a:cubicBezTo>
                  <a:pt x="283" y="383"/>
                  <a:pt x="283" y="383"/>
                  <a:pt x="283" y="383"/>
                </a:cubicBezTo>
                <a:cubicBezTo>
                  <a:pt x="283" y="385"/>
                  <a:pt x="283" y="385"/>
                  <a:pt x="283" y="385"/>
                </a:cubicBezTo>
                <a:cubicBezTo>
                  <a:pt x="282" y="385"/>
                  <a:pt x="282" y="385"/>
                  <a:pt x="282" y="385"/>
                </a:cubicBezTo>
                <a:cubicBezTo>
                  <a:pt x="282" y="385"/>
                  <a:pt x="282" y="385"/>
                  <a:pt x="282" y="385"/>
                </a:cubicBezTo>
                <a:cubicBezTo>
                  <a:pt x="279" y="384"/>
                  <a:pt x="279" y="384"/>
                  <a:pt x="279" y="384"/>
                </a:cubicBezTo>
                <a:cubicBezTo>
                  <a:pt x="278" y="385"/>
                  <a:pt x="278" y="385"/>
                  <a:pt x="278" y="385"/>
                </a:cubicBezTo>
                <a:cubicBezTo>
                  <a:pt x="277" y="386"/>
                  <a:pt x="277" y="386"/>
                  <a:pt x="277" y="386"/>
                </a:cubicBezTo>
                <a:cubicBezTo>
                  <a:pt x="276" y="386"/>
                  <a:pt x="276" y="386"/>
                  <a:pt x="276" y="386"/>
                </a:cubicBezTo>
                <a:cubicBezTo>
                  <a:pt x="275" y="384"/>
                  <a:pt x="275" y="384"/>
                  <a:pt x="275" y="384"/>
                </a:cubicBezTo>
                <a:cubicBezTo>
                  <a:pt x="275" y="383"/>
                  <a:pt x="275" y="383"/>
                  <a:pt x="275" y="383"/>
                </a:cubicBezTo>
                <a:cubicBezTo>
                  <a:pt x="276" y="382"/>
                  <a:pt x="276" y="382"/>
                  <a:pt x="276" y="382"/>
                </a:cubicBezTo>
                <a:cubicBezTo>
                  <a:pt x="276" y="381"/>
                  <a:pt x="276" y="381"/>
                  <a:pt x="276" y="381"/>
                </a:cubicBezTo>
                <a:cubicBezTo>
                  <a:pt x="276" y="381"/>
                  <a:pt x="276" y="381"/>
                  <a:pt x="276" y="381"/>
                </a:cubicBezTo>
                <a:cubicBezTo>
                  <a:pt x="275" y="381"/>
                  <a:pt x="275" y="381"/>
                  <a:pt x="275" y="381"/>
                </a:cubicBezTo>
                <a:cubicBezTo>
                  <a:pt x="274" y="381"/>
                  <a:pt x="274" y="381"/>
                  <a:pt x="274" y="381"/>
                </a:cubicBezTo>
                <a:cubicBezTo>
                  <a:pt x="272" y="380"/>
                  <a:pt x="272" y="380"/>
                  <a:pt x="272" y="380"/>
                </a:cubicBezTo>
                <a:cubicBezTo>
                  <a:pt x="270" y="380"/>
                  <a:pt x="270" y="380"/>
                  <a:pt x="270" y="380"/>
                </a:cubicBezTo>
                <a:cubicBezTo>
                  <a:pt x="271" y="381"/>
                  <a:pt x="271" y="381"/>
                  <a:pt x="271" y="381"/>
                </a:cubicBezTo>
                <a:cubicBezTo>
                  <a:pt x="271" y="382"/>
                  <a:pt x="271" y="382"/>
                  <a:pt x="271" y="382"/>
                </a:cubicBezTo>
                <a:cubicBezTo>
                  <a:pt x="270" y="382"/>
                  <a:pt x="270" y="382"/>
                  <a:pt x="270" y="382"/>
                </a:cubicBezTo>
                <a:cubicBezTo>
                  <a:pt x="270" y="383"/>
                  <a:pt x="270" y="383"/>
                  <a:pt x="270" y="383"/>
                </a:cubicBezTo>
                <a:cubicBezTo>
                  <a:pt x="269" y="381"/>
                  <a:pt x="269" y="381"/>
                  <a:pt x="269" y="381"/>
                </a:cubicBezTo>
                <a:cubicBezTo>
                  <a:pt x="269" y="379"/>
                  <a:pt x="269" y="379"/>
                  <a:pt x="269" y="379"/>
                </a:cubicBezTo>
                <a:cubicBezTo>
                  <a:pt x="266" y="377"/>
                  <a:pt x="266" y="377"/>
                  <a:pt x="266" y="377"/>
                </a:cubicBezTo>
                <a:cubicBezTo>
                  <a:pt x="266" y="378"/>
                  <a:pt x="266" y="378"/>
                  <a:pt x="266" y="378"/>
                </a:cubicBezTo>
                <a:cubicBezTo>
                  <a:pt x="266" y="379"/>
                  <a:pt x="266" y="379"/>
                  <a:pt x="266" y="379"/>
                </a:cubicBezTo>
                <a:cubicBezTo>
                  <a:pt x="266" y="380"/>
                  <a:pt x="266" y="380"/>
                  <a:pt x="266" y="380"/>
                </a:cubicBezTo>
                <a:cubicBezTo>
                  <a:pt x="266" y="380"/>
                  <a:pt x="266" y="380"/>
                  <a:pt x="266" y="380"/>
                </a:cubicBezTo>
                <a:cubicBezTo>
                  <a:pt x="265" y="379"/>
                  <a:pt x="265" y="379"/>
                  <a:pt x="265" y="379"/>
                </a:cubicBezTo>
                <a:cubicBezTo>
                  <a:pt x="264" y="379"/>
                  <a:pt x="264" y="379"/>
                  <a:pt x="264" y="379"/>
                </a:cubicBezTo>
                <a:cubicBezTo>
                  <a:pt x="264" y="380"/>
                  <a:pt x="264" y="380"/>
                  <a:pt x="264" y="380"/>
                </a:cubicBezTo>
                <a:cubicBezTo>
                  <a:pt x="263" y="380"/>
                  <a:pt x="263" y="380"/>
                  <a:pt x="263" y="380"/>
                </a:cubicBezTo>
                <a:cubicBezTo>
                  <a:pt x="262" y="380"/>
                  <a:pt x="262" y="380"/>
                  <a:pt x="262" y="380"/>
                </a:cubicBezTo>
                <a:cubicBezTo>
                  <a:pt x="261" y="380"/>
                  <a:pt x="261" y="380"/>
                  <a:pt x="261" y="380"/>
                </a:cubicBezTo>
                <a:cubicBezTo>
                  <a:pt x="260" y="380"/>
                  <a:pt x="260" y="380"/>
                  <a:pt x="260" y="380"/>
                </a:cubicBezTo>
                <a:cubicBezTo>
                  <a:pt x="260" y="379"/>
                  <a:pt x="260" y="379"/>
                  <a:pt x="260" y="379"/>
                </a:cubicBezTo>
                <a:cubicBezTo>
                  <a:pt x="261" y="378"/>
                  <a:pt x="261" y="378"/>
                  <a:pt x="261" y="378"/>
                </a:cubicBezTo>
                <a:cubicBezTo>
                  <a:pt x="261" y="378"/>
                  <a:pt x="261" y="378"/>
                  <a:pt x="261" y="378"/>
                </a:cubicBezTo>
                <a:cubicBezTo>
                  <a:pt x="261" y="377"/>
                  <a:pt x="261" y="377"/>
                  <a:pt x="261" y="377"/>
                </a:cubicBezTo>
                <a:cubicBezTo>
                  <a:pt x="261" y="376"/>
                  <a:pt x="261" y="376"/>
                  <a:pt x="261" y="376"/>
                </a:cubicBezTo>
                <a:cubicBezTo>
                  <a:pt x="261" y="375"/>
                  <a:pt x="261" y="375"/>
                  <a:pt x="261" y="375"/>
                </a:cubicBezTo>
                <a:cubicBezTo>
                  <a:pt x="260" y="375"/>
                  <a:pt x="260" y="375"/>
                  <a:pt x="260" y="375"/>
                </a:cubicBezTo>
                <a:cubicBezTo>
                  <a:pt x="259" y="373"/>
                  <a:pt x="259" y="373"/>
                  <a:pt x="259" y="373"/>
                </a:cubicBezTo>
                <a:cubicBezTo>
                  <a:pt x="259" y="372"/>
                  <a:pt x="259" y="372"/>
                  <a:pt x="259" y="372"/>
                </a:cubicBezTo>
                <a:cubicBezTo>
                  <a:pt x="258" y="372"/>
                  <a:pt x="258" y="372"/>
                  <a:pt x="258" y="372"/>
                </a:cubicBezTo>
                <a:cubicBezTo>
                  <a:pt x="258" y="370"/>
                  <a:pt x="258" y="370"/>
                  <a:pt x="258" y="370"/>
                </a:cubicBezTo>
                <a:cubicBezTo>
                  <a:pt x="256" y="370"/>
                  <a:pt x="256" y="370"/>
                  <a:pt x="256" y="370"/>
                </a:cubicBezTo>
                <a:cubicBezTo>
                  <a:pt x="255" y="371"/>
                  <a:pt x="255" y="371"/>
                  <a:pt x="255" y="371"/>
                </a:cubicBezTo>
                <a:cubicBezTo>
                  <a:pt x="253" y="371"/>
                  <a:pt x="253" y="371"/>
                  <a:pt x="253" y="371"/>
                </a:cubicBezTo>
                <a:cubicBezTo>
                  <a:pt x="252" y="370"/>
                  <a:pt x="252" y="370"/>
                  <a:pt x="252" y="370"/>
                </a:cubicBezTo>
                <a:cubicBezTo>
                  <a:pt x="250" y="370"/>
                  <a:pt x="250" y="370"/>
                  <a:pt x="250" y="370"/>
                </a:cubicBezTo>
                <a:cubicBezTo>
                  <a:pt x="249" y="369"/>
                  <a:pt x="249" y="369"/>
                  <a:pt x="249" y="369"/>
                </a:cubicBezTo>
                <a:cubicBezTo>
                  <a:pt x="248" y="370"/>
                  <a:pt x="248" y="370"/>
                  <a:pt x="248" y="370"/>
                </a:cubicBezTo>
                <a:cubicBezTo>
                  <a:pt x="247" y="369"/>
                  <a:pt x="247" y="369"/>
                  <a:pt x="247" y="369"/>
                </a:cubicBezTo>
                <a:cubicBezTo>
                  <a:pt x="246" y="370"/>
                  <a:pt x="246" y="370"/>
                  <a:pt x="246" y="370"/>
                </a:cubicBezTo>
                <a:cubicBezTo>
                  <a:pt x="245" y="371"/>
                  <a:pt x="245" y="371"/>
                  <a:pt x="245" y="371"/>
                </a:cubicBezTo>
                <a:cubicBezTo>
                  <a:pt x="244" y="371"/>
                  <a:pt x="244" y="371"/>
                  <a:pt x="244" y="371"/>
                </a:cubicBezTo>
                <a:cubicBezTo>
                  <a:pt x="243" y="372"/>
                  <a:pt x="243" y="372"/>
                  <a:pt x="243" y="372"/>
                </a:cubicBezTo>
                <a:cubicBezTo>
                  <a:pt x="244" y="373"/>
                  <a:pt x="244" y="373"/>
                  <a:pt x="244" y="373"/>
                </a:cubicBezTo>
                <a:cubicBezTo>
                  <a:pt x="244" y="374"/>
                  <a:pt x="244" y="374"/>
                  <a:pt x="244" y="374"/>
                </a:cubicBezTo>
                <a:cubicBezTo>
                  <a:pt x="242" y="374"/>
                  <a:pt x="242" y="374"/>
                  <a:pt x="242" y="374"/>
                </a:cubicBezTo>
                <a:cubicBezTo>
                  <a:pt x="241" y="374"/>
                  <a:pt x="241" y="374"/>
                  <a:pt x="241" y="374"/>
                </a:cubicBezTo>
                <a:cubicBezTo>
                  <a:pt x="240" y="375"/>
                  <a:pt x="240" y="375"/>
                  <a:pt x="240" y="375"/>
                </a:cubicBezTo>
                <a:cubicBezTo>
                  <a:pt x="239" y="375"/>
                  <a:pt x="239" y="375"/>
                  <a:pt x="239" y="375"/>
                </a:cubicBezTo>
                <a:cubicBezTo>
                  <a:pt x="238" y="376"/>
                  <a:pt x="238" y="376"/>
                  <a:pt x="238" y="376"/>
                </a:cubicBezTo>
                <a:cubicBezTo>
                  <a:pt x="238" y="376"/>
                  <a:pt x="238" y="376"/>
                  <a:pt x="238" y="376"/>
                </a:cubicBezTo>
                <a:cubicBezTo>
                  <a:pt x="235" y="377"/>
                  <a:pt x="235" y="377"/>
                  <a:pt x="235" y="377"/>
                </a:cubicBezTo>
                <a:cubicBezTo>
                  <a:pt x="234" y="378"/>
                  <a:pt x="234" y="378"/>
                  <a:pt x="234" y="378"/>
                </a:cubicBezTo>
                <a:cubicBezTo>
                  <a:pt x="232" y="379"/>
                  <a:pt x="232" y="379"/>
                  <a:pt x="232" y="379"/>
                </a:cubicBezTo>
                <a:cubicBezTo>
                  <a:pt x="232" y="378"/>
                  <a:pt x="232" y="378"/>
                  <a:pt x="232" y="378"/>
                </a:cubicBezTo>
                <a:cubicBezTo>
                  <a:pt x="231" y="378"/>
                  <a:pt x="231" y="378"/>
                  <a:pt x="231" y="378"/>
                </a:cubicBezTo>
                <a:cubicBezTo>
                  <a:pt x="230" y="378"/>
                  <a:pt x="230" y="378"/>
                  <a:pt x="230" y="378"/>
                </a:cubicBezTo>
                <a:cubicBezTo>
                  <a:pt x="230" y="379"/>
                  <a:pt x="230" y="379"/>
                  <a:pt x="230" y="379"/>
                </a:cubicBezTo>
                <a:cubicBezTo>
                  <a:pt x="228" y="379"/>
                  <a:pt x="228" y="379"/>
                  <a:pt x="228" y="379"/>
                </a:cubicBezTo>
                <a:cubicBezTo>
                  <a:pt x="228" y="380"/>
                  <a:pt x="228" y="380"/>
                  <a:pt x="228" y="380"/>
                </a:cubicBezTo>
                <a:cubicBezTo>
                  <a:pt x="228" y="381"/>
                  <a:pt x="228" y="381"/>
                  <a:pt x="228" y="381"/>
                </a:cubicBezTo>
                <a:cubicBezTo>
                  <a:pt x="227" y="382"/>
                  <a:pt x="227" y="382"/>
                  <a:pt x="227" y="382"/>
                </a:cubicBezTo>
                <a:cubicBezTo>
                  <a:pt x="226" y="381"/>
                  <a:pt x="226" y="381"/>
                  <a:pt x="226" y="381"/>
                </a:cubicBezTo>
                <a:cubicBezTo>
                  <a:pt x="226" y="381"/>
                  <a:pt x="226" y="381"/>
                  <a:pt x="226" y="381"/>
                </a:cubicBezTo>
                <a:cubicBezTo>
                  <a:pt x="225" y="382"/>
                  <a:pt x="225" y="382"/>
                  <a:pt x="225" y="382"/>
                </a:cubicBezTo>
                <a:cubicBezTo>
                  <a:pt x="223" y="382"/>
                  <a:pt x="223" y="382"/>
                  <a:pt x="223" y="382"/>
                </a:cubicBezTo>
                <a:cubicBezTo>
                  <a:pt x="221" y="383"/>
                  <a:pt x="221" y="383"/>
                  <a:pt x="221" y="383"/>
                </a:cubicBezTo>
                <a:cubicBezTo>
                  <a:pt x="221" y="384"/>
                  <a:pt x="221" y="384"/>
                  <a:pt x="221" y="384"/>
                </a:cubicBezTo>
                <a:cubicBezTo>
                  <a:pt x="219" y="384"/>
                  <a:pt x="219" y="384"/>
                  <a:pt x="219" y="384"/>
                </a:cubicBezTo>
                <a:cubicBezTo>
                  <a:pt x="218" y="385"/>
                  <a:pt x="218" y="385"/>
                  <a:pt x="218" y="385"/>
                </a:cubicBezTo>
                <a:cubicBezTo>
                  <a:pt x="216" y="385"/>
                  <a:pt x="216" y="385"/>
                  <a:pt x="216" y="385"/>
                </a:cubicBezTo>
                <a:cubicBezTo>
                  <a:pt x="214" y="385"/>
                  <a:pt x="214" y="385"/>
                  <a:pt x="214" y="385"/>
                </a:cubicBezTo>
                <a:cubicBezTo>
                  <a:pt x="214" y="386"/>
                  <a:pt x="214" y="386"/>
                  <a:pt x="214" y="386"/>
                </a:cubicBezTo>
                <a:cubicBezTo>
                  <a:pt x="213" y="387"/>
                  <a:pt x="213" y="387"/>
                  <a:pt x="213" y="387"/>
                </a:cubicBezTo>
                <a:cubicBezTo>
                  <a:pt x="213" y="386"/>
                  <a:pt x="213" y="386"/>
                  <a:pt x="213" y="386"/>
                </a:cubicBezTo>
                <a:cubicBezTo>
                  <a:pt x="212" y="386"/>
                  <a:pt x="212" y="386"/>
                  <a:pt x="212" y="386"/>
                </a:cubicBezTo>
                <a:cubicBezTo>
                  <a:pt x="210" y="387"/>
                  <a:pt x="210" y="387"/>
                  <a:pt x="210" y="387"/>
                </a:cubicBezTo>
                <a:cubicBezTo>
                  <a:pt x="210" y="387"/>
                  <a:pt x="210" y="387"/>
                  <a:pt x="210" y="387"/>
                </a:cubicBezTo>
                <a:cubicBezTo>
                  <a:pt x="210" y="388"/>
                  <a:pt x="210" y="388"/>
                  <a:pt x="210" y="388"/>
                </a:cubicBezTo>
                <a:cubicBezTo>
                  <a:pt x="209" y="387"/>
                  <a:pt x="209" y="387"/>
                  <a:pt x="209" y="387"/>
                </a:cubicBezTo>
                <a:cubicBezTo>
                  <a:pt x="207" y="387"/>
                  <a:pt x="207" y="387"/>
                  <a:pt x="207" y="387"/>
                </a:cubicBezTo>
                <a:cubicBezTo>
                  <a:pt x="207" y="387"/>
                  <a:pt x="207" y="387"/>
                  <a:pt x="207" y="387"/>
                </a:cubicBezTo>
                <a:cubicBezTo>
                  <a:pt x="206" y="387"/>
                  <a:pt x="206" y="387"/>
                  <a:pt x="206" y="387"/>
                </a:cubicBezTo>
                <a:cubicBezTo>
                  <a:pt x="205" y="387"/>
                  <a:pt x="205" y="387"/>
                  <a:pt x="205" y="387"/>
                </a:cubicBezTo>
                <a:cubicBezTo>
                  <a:pt x="204" y="387"/>
                  <a:pt x="204" y="387"/>
                  <a:pt x="204" y="387"/>
                </a:cubicBezTo>
                <a:cubicBezTo>
                  <a:pt x="204" y="388"/>
                  <a:pt x="204" y="388"/>
                  <a:pt x="204" y="388"/>
                </a:cubicBezTo>
                <a:cubicBezTo>
                  <a:pt x="204" y="389"/>
                  <a:pt x="204" y="389"/>
                  <a:pt x="204" y="389"/>
                </a:cubicBezTo>
                <a:cubicBezTo>
                  <a:pt x="204" y="390"/>
                  <a:pt x="204" y="390"/>
                  <a:pt x="204" y="390"/>
                </a:cubicBezTo>
                <a:cubicBezTo>
                  <a:pt x="205" y="390"/>
                  <a:pt x="205" y="390"/>
                  <a:pt x="205" y="390"/>
                </a:cubicBezTo>
                <a:cubicBezTo>
                  <a:pt x="206" y="390"/>
                  <a:pt x="206" y="390"/>
                  <a:pt x="206" y="390"/>
                </a:cubicBezTo>
                <a:cubicBezTo>
                  <a:pt x="207" y="391"/>
                  <a:pt x="207" y="391"/>
                  <a:pt x="207" y="391"/>
                </a:cubicBezTo>
                <a:cubicBezTo>
                  <a:pt x="205" y="392"/>
                  <a:pt x="205" y="392"/>
                  <a:pt x="205" y="392"/>
                </a:cubicBezTo>
                <a:cubicBezTo>
                  <a:pt x="205" y="392"/>
                  <a:pt x="205" y="392"/>
                  <a:pt x="205" y="392"/>
                </a:cubicBezTo>
                <a:cubicBezTo>
                  <a:pt x="205" y="393"/>
                  <a:pt x="205" y="393"/>
                  <a:pt x="205" y="393"/>
                </a:cubicBezTo>
                <a:cubicBezTo>
                  <a:pt x="206" y="393"/>
                  <a:pt x="206" y="393"/>
                  <a:pt x="206" y="393"/>
                </a:cubicBezTo>
                <a:cubicBezTo>
                  <a:pt x="208" y="393"/>
                  <a:pt x="208" y="393"/>
                  <a:pt x="208" y="393"/>
                </a:cubicBezTo>
                <a:cubicBezTo>
                  <a:pt x="209" y="393"/>
                  <a:pt x="209" y="393"/>
                  <a:pt x="209" y="393"/>
                </a:cubicBezTo>
                <a:cubicBezTo>
                  <a:pt x="209" y="393"/>
                  <a:pt x="209" y="393"/>
                  <a:pt x="209" y="393"/>
                </a:cubicBezTo>
                <a:cubicBezTo>
                  <a:pt x="210" y="394"/>
                  <a:pt x="210" y="394"/>
                  <a:pt x="210" y="394"/>
                </a:cubicBezTo>
                <a:cubicBezTo>
                  <a:pt x="212" y="394"/>
                  <a:pt x="212" y="394"/>
                  <a:pt x="212" y="394"/>
                </a:cubicBezTo>
                <a:cubicBezTo>
                  <a:pt x="212" y="395"/>
                  <a:pt x="212" y="395"/>
                  <a:pt x="212" y="395"/>
                </a:cubicBezTo>
                <a:cubicBezTo>
                  <a:pt x="211" y="396"/>
                  <a:pt x="211" y="396"/>
                  <a:pt x="211" y="396"/>
                </a:cubicBezTo>
                <a:cubicBezTo>
                  <a:pt x="210" y="396"/>
                  <a:pt x="210" y="396"/>
                  <a:pt x="210" y="396"/>
                </a:cubicBezTo>
                <a:cubicBezTo>
                  <a:pt x="207" y="396"/>
                  <a:pt x="207" y="396"/>
                  <a:pt x="207" y="396"/>
                </a:cubicBezTo>
                <a:cubicBezTo>
                  <a:pt x="206" y="397"/>
                  <a:pt x="206" y="397"/>
                  <a:pt x="206" y="397"/>
                </a:cubicBezTo>
                <a:cubicBezTo>
                  <a:pt x="204" y="399"/>
                  <a:pt x="204" y="399"/>
                  <a:pt x="204" y="399"/>
                </a:cubicBezTo>
                <a:cubicBezTo>
                  <a:pt x="205" y="401"/>
                  <a:pt x="205" y="401"/>
                  <a:pt x="205" y="401"/>
                </a:cubicBezTo>
                <a:cubicBezTo>
                  <a:pt x="205" y="401"/>
                  <a:pt x="205" y="401"/>
                  <a:pt x="205" y="401"/>
                </a:cubicBezTo>
                <a:cubicBezTo>
                  <a:pt x="206" y="402"/>
                  <a:pt x="206" y="402"/>
                  <a:pt x="206" y="402"/>
                </a:cubicBezTo>
                <a:cubicBezTo>
                  <a:pt x="205" y="403"/>
                  <a:pt x="205" y="403"/>
                  <a:pt x="205" y="403"/>
                </a:cubicBezTo>
                <a:cubicBezTo>
                  <a:pt x="205" y="405"/>
                  <a:pt x="205" y="405"/>
                  <a:pt x="205" y="405"/>
                </a:cubicBezTo>
                <a:cubicBezTo>
                  <a:pt x="203" y="405"/>
                  <a:pt x="203" y="405"/>
                  <a:pt x="203" y="405"/>
                </a:cubicBezTo>
                <a:cubicBezTo>
                  <a:pt x="203" y="405"/>
                  <a:pt x="203" y="405"/>
                  <a:pt x="203" y="405"/>
                </a:cubicBezTo>
                <a:cubicBezTo>
                  <a:pt x="204" y="406"/>
                  <a:pt x="204" y="406"/>
                  <a:pt x="204" y="406"/>
                </a:cubicBezTo>
                <a:cubicBezTo>
                  <a:pt x="204" y="407"/>
                  <a:pt x="204" y="407"/>
                  <a:pt x="204" y="407"/>
                </a:cubicBezTo>
                <a:cubicBezTo>
                  <a:pt x="205" y="407"/>
                  <a:pt x="205" y="407"/>
                  <a:pt x="205" y="407"/>
                </a:cubicBezTo>
                <a:cubicBezTo>
                  <a:pt x="206" y="408"/>
                  <a:pt x="206" y="408"/>
                  <a:pt x="206" y="408"/>
                </a:cubicBezTo>
                <a:cubicBezTo>
                  <a:pt x="208" y="408"/>
                  <a:pt x="208" y="408"/>
                  <a:pt x="208" y="408"/>
                </a:cubicBezTo>
                <a:cubicBezTo>
                  <a:pt x="208" y="409"/>
                  <a:pt x="208" y="409"/>
                  <a:pt x="208" y="409"/>
                </a:cubicBezTo>
                <a:cubicBezTo>
                  <a:pt x="209" y="410"/>
                  <a:pt x="209" y="410"/>
                  <a:pt x="209" y="410"/>
                </a:cubicBezTo>
                <a:cubicBezTo>
                  <a:pt x="211" y="410"/>
                  <a:pt x="211" y="410"/>
                  <a:pt x="211" y="410"/>
                </a:cubicBezTo>
                <a:cubicBezTo>
                  <a:pt x="211" y="410"/>
                  <a:pt x="211" y="410"/>
                  <a:pt x="211" y="410"/>
                </a:cubicBezTo>
                <a:cubicBezTo>
                  <a:pt x="212" y="415"/>
                  <a:pt x="212" y="415"/>
                  <a:pt x="212" y="415"/>
                </a:cubicBezTo>
                <a:cubicBezTo>
                  <a:pt x="211" y="416"/>
                  <a:pt x="211" y="416"/>
                  <a:pt x="211" y="416"/>
                </a:cubicBezTo>
                <a:cubicBezTo>
                  <a:pt x="209" y="417"/>
                  <a:pt x="209" y="417"/>
                  <a:pt x="209" y="417"/>
                </a:cubicBezTo>
                <a:cubicBezTo>
                  <a:pt x="207" y="417"/>
                  <a:pt x="207" y="417"/>
                  <a:pt x="207" y="417"/>
                </a:cubicBezTo>
                <a:cubicBezTo>
                  <a:pt x="205" y="415"/>
                  <a:pt x="205" y="415"/>
                  <a:pt x="205" y="415"/>
                </a:cubicBezTo>
                <a:cubicBezTo>
                  <a:pt x="205" y="416"/>
                  <a:pt x="205" y="416"/>
                  <a:pt x="205" y="416"/>
                </a:cubicBezTo>
                <a:cubicBezTo>
                  <a:pt x="205" y="417"/>
                  <a:pt x="205" y="417"/>
                  <a:pt x="205" y="417"/>
                </a:cubicBezTo>
                <a:cubicBezTo>
                  <a:pt x="204" y="419"/>
                  <a:pt x="204" y="419"/>
                  <a:pt x="204" y="419"/>
                </a:cubicBezTo>
                <a:cubicBezTo>
                  <a:pt x="203" y="419"/>
                  <a:pt x="203" y="419"/>
                  <a:pt x="203" y="419"/>
                </a:cubicBezTo>
                <a:cubicBezTo>
                  <a:pt x="200" y="418"/>
                  <a:pt x="200" y="418"/>
                  <a:pt x="200" y="418"/>
                </a:cubicBezTo>
                <a:cubicBezTo>
                  <a:pt x="198" y="418"/>
                  <a:pt x="198" y="418"/>
                  <a:pt x="198" y="418"/>
                </a:cubicBezTo>
                <a:cubicBezTo>
                  <a:pt x="198" y="417"/>
                  <a:pt x="198" y="417"/>
                  <a:pt x="198" y="417"/>
                </a:cubicBezTo>
                <a:cubicBezTo>
                  <a:pt x="197" y="418"/>
                  <a:pt x="197" y="418"/>
                  <a:pt x="197" y="418"/>
                </a:cubicBezTo>
                <a:cubicBezTo>
                  <a:pt x="196" y="417"/>
                  <a:pt x="196" y="417"/>
                  <a:pt x="196" y="417"/>
                </a:cubicBezTo>
                <a:cubicBezTo>
                  <a:pt x="195" y="416"/>
                  <a:pt x="195" y="416"/>
                  <a:pt x="195" y="416"/>
                </a:cubicBezTo>
                <a:cubicBezTo>
                  <a:pt x="196" y="415"/>
                  <a:pt x="196" y="415"/>
                  <a:pt x="196" y="415"/>
                </a:cubicBezTo>
                <a:cubicBezTo>
                  <a:pt x="196" y="414"/>
                  <a:pt x="196" y="414"/>
                  <a:pt x="196" y="414"/>
                </a:cubicBezTo>
                <a:cubicBezTo>
                  <a:pt x="195" y="414"/>
                  <a:pt x="195" y="414"/>
                  <a:pt x="195" y="414"/>
                </a:cubicBezTo>
                <a:cubicBezTo>
                  <a:pt x="194" y="413"/>
                  <a:pt x="194" y="413"/>
                  <a:pt x="194" y="413"/>
                </a:cubicBezTo>
                <a:cubicBezTo>
                  <a:pt x="193" y="414"/>
                  <a:pt x="193" y="414"/>
                  <a:pt x="193" y="414"/>
                </a:cubicBezTo>
                <a:cubicBezTo>
                  <a:pt x="192" y="414"/>
                  <a:pt x="192" y="414"/>
                  <a:pt x="192" y="414"/>
                </a:cubicBezTo>
                <a:cubicBezTo>
                  <a:pt x="191" y="414"/>
                  <a:pt x="191" y="414"/>
                  <a:pt x="191" y="414"/>
                </a:cubicBezTo>
                <a:cubicBezTo>
                  <a:pt x="191" y="416"/>
                  <a:pt x="191" y="416"/>
                  <a:pt x="191" y="416"/>
                </a:cubicBezTo>
                <a:cubicBezTo>
                  <a:pt x="189" y="416"/>
                  <a:pt x="189" y="416"/>
                  <a:pt x="189" y="416"/>
                </a:cubicBezTo>
                <a:cubicBezTo>
                  <a:pt x="189" y="415"/>
                  <a:pt x="189" y="415"/>
                  <a:pt x="189" y="415"/>
                </a:cubicBezTo>
                <a:cubicBezTo>
                  <a:pt x="187" y="414"/>
                  <a:pt x="187" y="414"/>
                  <a:pt x="187" y="414"/>
                </a:cubicBezTo>
                <a:cubicBezTo>
                  <a:pt x="185" y="414"/>
                  <a:pt x="185" y="414"/>
                  <a:pt x="185" y="414"/>
                </a:cubicBezTo>
                <a:cubicBezTo>
                  <a:pt x="185" y="415"/>
                  <a:pt x="185" y="415"/>
                  <a:pt x="185" y="415"/>
                </a:cubicBezTo>
                <a:cubicBezTo>
                  <a:pt x="184" y="414"/>
                  <a:pt x="184" y="414"/>
                  <a:pt x="184" y="414"/>
                </a:cubicBezTo>
                <a:cubicBezTo>
                  <a:pt x="183" y="414"/>
                  <a:pt x="183" y="414"/>
                  <a:pt x="183" y="414"/>
                </a:cubicBezTo>
                <a:cubicBezTo>
                  <a:pt x="183" y="415"/>
                  <a:pt x="183" y="415"/>
                  <a:pt x="183" y="415"/>
                </a:cubicBezTo>
                <a:cubicBezTo>
                  <a:pt x="182" y="416"/>
                  <a:pt x="182" y="416"/>
                  <a:pt x="182" y="416"/>
                </a:cubicBezTo>
                <a:cubicBezTo>
                  <a:pt x="182" y="418"/>
                  <a:pt x="182" y="418"/>
                  <a:pt x="182" y="418"/>
                </a:cubicBezTo>
                <a:cubicBezTo>
                  <a:pt x="180" y="419"/>
                  <a:pt x="180" y="419"/>
                  <a:pt x="180" y="419"/>
                </a:cubicBezTo>
                <a:cubicBezTo>
                  <a:pt x="179" y="419"/>
                  <a:pt x="179" y="419"/>
                  <a:pt x="179" y="419"/>
                </a:cubicBezTo>
                <a:cubicBezTo>
                  <a:pt x="178" y="417"/>
                  <a:pt x="178" y="417"/>
                  <a:pt x="178" y="417"/>
                </a:cubicBezTo>
                <a:cubicBezTo>
                  <a:pt x="176" y="417"/>
                  <a:pt x="176" y="417"/>
                  <a:pt x="176" y="417"/>
                </a:cubicBezTo>
                <a:cubicBezTo>
                  <a:pt x="175" y="416"/>
                  <a:pt x="175" y="416"/>
                  <a:pt x="175" y="416"/>
                </a:cubicBezTo>
                <a:cubicBezTo>
                  <a:pt x="174" y="417"/>
                  <a:pt x="174" y="417"/>
                  <a:pt x="174" y="417"/>
                </a:cubicBezTo>
                <a:cubicBezTo>
                  <a:pt x="174" y="418"/>
                  <a:pt x="174" y="418"/>
                  <a:pt x="174" y="418"/>
                </a:cubicBezTo>
                <a:cubicBezTo>
                  <a:pt x="173" y="419"/>
                  <a:pt x="173" y="419"/>
                  <a:pt x="173" y="419"/>
                </a:cubicBezTo>
                <a:cubicBezTo>
                  <a:pt x="172" y="419"/>
                  <a:pt x="172" y="419"/>
                  <a:pt x="172" y="419"/>
                </a:cubicBezTo>
                <a:cubicBezTo>
                  <a:pt x="172" y="418"/>
                  <a:pt x="172" y="418"/>
                  <a:pt x="172" y="418"/>
                </a:cubicBezTo>
                <a:cubicBezTo>
                  <a:pt x="172" y="417"/>
                  <a:pt x="172" y="417"/>
                  <a:pt x="172" y="417"/>
                </a:cubicBezTo>
                <a:cubicBezTo>
                  <a:pt x="171" y="417"/>
                  <a:pt x="171" y="417"/>
                  <a:pt x="171" y="417"/>
                </a:cubicBezTo>
                <a:cubicBezTo>
                  <a:pt x="169" y="415"/>
                  <a:pt x="169" y="415"/>
                  <a:pt x="169" y="415"/>
                </a:cubicBezTo>
                <a:cubicBezTo>
                  <a:pt x="168" y="414"/>
                  <a:pt x="168" y="414"/>
                  <a:pt x="168" y="414"/>
                </a:cubicBezTo>
                <a:cubicBezTo>
                  <a:pt x="167" y="414"/>
                  <a:pt x="167" y="414"/>
                  <a:pt x="167" y="414"/>
                </a:cubicBezTo>
                <a:cubicBezTo>
                  <a:pt x="165" y="413"/>
                  <a:pt x="165" y="413"/>
                  <a:pt x="165" y="413"/>
                </a:cubicBezTo>
                <a:cubicBezTo>
                  <a:pt x="165" y="413"/>
                  <a:pt x="165" y="413"/>
                  <a:pt x="165" y="413"/>
                </a:cubicBezTo>
                <a:cubicBezTo>
                  <a:pt x="164" y="412"/>
                  <a:pt x="164" y="412"/>
                  <a:pt x="164" y="412"/>
                </a:cubicBezTo>
                <a:cubicBezTo>
                  <a:pt x="163" y="412"/>
                  <a:pt x="163" y="412"/>
                  <a:pt x="163" y="412"/>
                </a:cubicBezTo>
                <a:cubicBezTo>
                  <a:pt x="161" y="412"/>
                  <a:pt x="161" y="412"/>
                  <a:pt x="161" y="412"/>
                </a:cubicBezTo>
                <a:cubicBezTo>
                  <a:pt x="159" y="411"/>
                  <a:pt x="159" y="411"/>
                  <a:pt x="159" y="411"/>
                </a:cubicBezTo>
                <a:cubicBezTo>
                  <a:pt x="159" y="410"/>
                  <a:pt x="159" y="410"/>
                  <a:pt x="159" y="410"/>
                </a:cubicBezTo>
                <a:cubicBezTo>
                  <a:pt x="158" y="410"/>
                  <a:pt x="158" y="410"/>
                  <a:pt x="158" y="410"/>
                </a:cubicBezTo>
                <a:cubicBezTo>
                  <a:pt x="156" y="411"/>
                  <a:pt x="156" y="411"/>
                  <a:pt x="156" y="411"/>
                </a:cubicBezTo>
                <a:cubicBezTo>
                  <a:pt x="155" y="411"/>
                  <a:pt x="155" y="411"/>
                  <a:pt x="155" y="411"/>
                </a:cubicBezTo>
                <a:cubicBezTo>
                  <a:pt x="155" y="411"/>
                  <a:pt x="155" y="411"/>
                  <a:pt x="155" y="411"/>
                </a:cubicBezTo>
                <a:cubicBezTo>
                  <a:pt x="154" y="412"/>
                  <a:pt x="154" y="412"/>
                  <a:pt x="154" y="412"/>
                </a:cubicBezTo>
                <a:cubicBezTo>
                  <a:pt x="154" y="411"/>
                  <a:pt x="154" y="411"/>
                  <a:pt x="154" y="411"/>
                </a:cubicBezTo>
                <a:cubicBezTo>
                  <a:pt x="153" y="412"/>
                  <a:pt x="153" y="412"/>
                  <a:pt x="153" y="412"/>
                </a:cubicBezTo>
                <a:cubicBezTo>
                  <a:pt x="153" y="413"/>
                  <a:pt x="153" y="413"/>
                  <a:pt x="153" y="413"/>
                </a:cubicBezTo>
                <a:cubicBezTo>
                  <a:pt x="152" y="413"/>
                  <a:pt x="152" y="413"/>
                  <a:pt x="152" y="413"/>
                </a:cubicBezTo>
                <a:cubicBezTo>
                  <a:pt x="151" y="413"/>
                  <a:pt x="151" y="413"/>
                  <a:pt x="151" y="413"/>
                </a:cubicBezTo>
                <a:cubicBezTo>
                  <a:pt x="152" y="412"/>
                  <a:pt x="152" y="412"/>
                  <a:pt x="152" y="412"/>
                </a:cubicBezTo>
                <a:cubicBezTo>
                  <a:pt x="152" y="411"/>
                  <a:pt x="152" y="411"/>
                  <a:pt x="152" y="411"/>
                </a:cubicBezTo>
                <a:cubicBezTo>
                  <a:pt x="151" y="410"/>
                  <a:pt x="151" y="410"/>
                  <a:pt x="151" y="410"/>
                </a:cubicBezTo>
                <a:cubicBezTo>
                  <a:pt x="149" y="409"/>
                  <a:pt x="149" y="409"/>
                  <a:pt x="149" y="409"/>
                </a:cubicBezTo>
                <a:cubicBezTo>
                  <a:pt x="148" y="410"/>
                  <a:pt x="148" y="410"/>
                  <a:pt x="148" y="410"/>
                </a:cubicBezTo>
                <a:cubicBezTo>
                  <a:pt x="149" y="411"/>
                  <a:pt x="149" y="411"/>
                  <a:pt x="149" y="411"/>
                </a:cubicBezTo>
                <a:cubicBezTo>
                  <a:pt x="149" y="412"/>
                  <a:pt x="149" y="412"/>
                  <a:pt x="149" y="412"/>
                </a:cubicBezTo>
                <a:cubicBezTo>
                  <a:pt x="147" y="412"/>
                  <a:pt x="147" y="412"/>
                  <a:pt x="147" y="412"/>
                </a:cubicBezTo>
                <a:cubicBezTo>
                  <a:pt x="146" y="413"/>
                  <a:pt x="146" y="413"/>
                  <a:pt x="146" y="413"/>
                </a:cubicBezTo>
                <a:cubicBezTo>
                  <a:pt x="146" y="414"/>
                  <a:pt x="146" y="414"/>
                  <a:pt x="146" y="414"/>
                </a:cubicBezTo>
                <a:cubicBezTo>
                  <a:pt x="145" y="414"/>
                  <a:pt x="145" y="414"/>
                  <a:pt x="145" y="414"/>
                </a:cubicBezTo>
                <a:cubicBezTo>
                  <a:pt x="143" y="416"/>
                  <a:pt x="143" y="416"/>
                  <a:pt x="143" y="416"/>
                </a:cubicBezTo>
                <a:cubicBezTo>
                  <a:pt x="143" y="417"/>
                  <a:pt x="143" y="417"/>
                  <a:pt x="143" y="417"/>
                </a:cubicBezTo>
                <a:cubicBezTo>
                  <a:pt x="143" y="418"/>
                  <a:pt x="143" y="418"/>
                  <a:pt x="143" y="418"/>
                </a:cubicBezTo>
                <a:cubicBezTo>
                  <a:pt x="143" y="420"/>
                  <a:pt x="143" y="420"/>
                  <a:pt x="143" y="420"/>
                </a:cubicBezTo>
                <a:cubicBezTo>
                  <a:pt x="141" y="420"/>
                  <a:pt x="141" y="420"/>
                  <a:pt x="141" y="420"/>
                </a:cubicBezTo>
                <a:cubicBezTo>
                  <a:pt x="140" y="420"/>
                  <a:pt x="140" y="420"/>
                  <a:pt x="140" y="420"/>
                </a:cubicBezTo>
                <a:cubicBezTo>
                  <a:pt x="141" y="425"/>
                  <a:pt x="141" y="425"/>
                  <a:pt x="141" y="425"/>
                </a:cubicBezTo>
                <a:cubicBezTo>
                  <a:pt x="140" y="425"/>
                  <a:pt x="140" y="425"/>
                  <a:pt x="140" y="425"/>
                </a:cubicBezTo>
                <a:cubicBezTo>
                  <a:pt x="140" y="427"/>
                  <a:pt x="140" y="427"/>
                  <a:pt x="140" y="427"/>
                </a:cubicBezTo>
                <a:cubicBezTo>
                  <a:pt x="138" y="428"/>
                  <a:pt x="138" y="428"/>
                  <a:pt x="138" y="428"/>
                </a:cubicBezTo>
                <a:cubicBezTo>
                  <a:pt x="137" y="426"/>
                  <a:pt x="137" y="426"/>
                  <a:pt x="137" y="426"/>
                </a:cubicBezTo>
                <a:cubicBezTo>
                  <a:pt x="136" y="425"/>
                  <a:pt x="136" y="425"/>
                  <a:pt x="136" y="425"/>
                </a:cubicBezTo>
                <a:cubicBezTo>
                  <a:pt x="133" y="422"/>
                  <a:pt x="133" y="422"/>
                  <a:pt x="133" y="422"/>
                </a:cubicBezTo>
                <a:cubicBezTo>
                  <a:pt x="132" y="423"/>
                  <a:pt x="132" y="423"/>
                  <a:pt x="132" y="423"/>
                </a:cubicBezTo>
                <a:cubicBezTo>
                  <a:pt x="132" y="425"/>
                  <a:pt x="132" y="425"/>
                  <a:pt x="132" y="425"/>
                </a:cubicBezTo>
                <a:cubicBezTo>
                  <a:pt x="130" y="427"/>
                  <a:pt x="130" y="427"/>
                  <a:pt x="130" y="427"/>
                </a:cubicBezTo>
                <a:cubicBezTo>
                  <a:pt x="129" y="428"/>
                  <a:pt x="129" y="428"/>
                  <a:pt x="129" y="428"/>
                </a:cubicBezTo>
                <a:cubicBezTo>
                  <a:pt x="129" y="431"/>
                  <a:pt x="129" y="431"/>
                  <a:pt x="129" y="431"/>
                </a:cubicBezTo>
                <a:cubicBezTo>
                  <a:pt x="130" y="432"/>
                  <a:pt x="130" y="432"/>
                  <a:pt x="130" y="432"/>
                </a:cubicBezTo>
                <a:cubicBezTo>
                  <a:pt x="130" y="436"/>
                  <a:pt x="130" y="436"/>
                  <a:pt x="130" y="436"/>
                </a:cubicBezTo>
                <a:cubicBezTo>
                  <a:pt x="129" y="438"/>
                  <a:pt x="129" y="438"/>
                  <a:pt x="129" y="438"/>
                </a:cubicBezTo>
                <a:cubicBezTo>
                  <a:pt x="131" y="439"/>
                  <a:pt x="131" y="439"/>
                  <a:pt x="131" y="439"/>
                </a:cubicBezTo>
                <a:cubicBezTo>
                  <a:pt x="132" y="441"/>
                  <a:pt x="132" y="441"/>
                  <a:pt x="132" y="441"/>
                </a:cubicBezTo>
                <a:cubicBezTo>
                  <a:pt x="132" y="441"/>
                  <a:pt x="132" y="441"/>
                  <a:pt x="132" y="441"/>
                </a:cubicBezTo>
                <a:cubicBezTo>
                  <a:pt x="134" y="443"/>
                  <a:pt x="134" y="443"/>
                  <a:pt x="134" y="443"/>
                </a:cubicBezTo>
                <a:cubicBezTo>
                  <a:pt x="135" y="442"/>
                  <a:pt x="135" y="442"/>
                  <a:pt x="135" y="442"/>
                </a:cubicBezTo>
                <a:cubicBezTo>
                  <a:pt x="139" y="443"/>
                  <a:pt x="139" y="443"/>
                  <a:pt x="139" y="443"/>
                </a:cubicBezTo>
                <a:cubicBezTo>
                  <a:pt x="142" y="446"/>
                  <a:pt x="142" y="446"/>
                  <a:pt x="142" y="446"/>
                </a:cubicBezTo>
                <a:cubicBezTo>
                  <a:pt x="144" y="450"/>
                  <a:pt x="144" y="450"/>
                  <a:pt x="144" y="450"/>
                </a:cubicBezTo>
                <a:cubicBezTo>
                  <a:pt x="142" y="450"/>
                  <a:pt x="142" y="450"/>
                  <a:pt x="142" y="450"/>
                </a:cubicBezTo>
                <a:cubicBezTo>
                  <a:pt x="142" y="451"/>
                  <a:pt x="142" y="451"/>
                  <a:pt x="142" y="451"/>
                </a:cubicBezTo>
                <a:cubicBezTo>
                  <a:pt x="144" y="453"/>
                  <a:pt x="144" y="453"/>
                  <a:pt x="144" y="453"/>
                </a:cubicBezTo>
                <a:cubicBezTo>
                  <a:pt x="145" y="452"/>
                  <a:pt x="145" y="452"/>
                  <a:pt x="145" y="452"/>
                </a:cubicBezTo>
                <a:cubicBezTo>
                  <a:pt x="147" y="453"/>
                  <a:pt x="147" y="453"/>
                  <a:pt x="147" y="453"/>
                </a:cubicBezTo>
                <a:cubicBezTo>
                  <a:pt x="147" y="453"/>
                  <a:pt x="147" y="453"/>
                  <a:pt x="147" y="453"/>
                </a:cubicBezTo>
                <a:cubicBezTo>
                  <a:pt x="147" y="453"/>
                  <a:pt x="147" y="453"/>
                  <a:pt x="147" y="453"/>
                </a:cubicBezTo>
                <a:cubicBezTo>
                  <a:pt x="147" y="454"/>
                  <a:pt x="147" y="454"/>
                  <a:pt x="147" y="454"/>
                </a:cubicBezTo>
                <a:cubicBezTo>
                  <a:pt x="147" y="455"/>
                  <a:pt x="147" y="455"/>
                  <a:pt x="147" y="455"/>
                </a:cubicBezTo>
                <a:cubicBezTo>
                  <a:pt x="146" y="455"/>
                  <a:pt x="146" y="455"/>
                  <a:pt x="146" y="455"/>
                </a:cubicBezTo>
                <a:cubicBezTo>
                  <a:pt x="146" y="455"/>
                  <a:pt x="146" y="455"/>
                  <a:pt x="146" y="455"/>
                </a:cubicBezTo>
                <a:cubicBezTo>
                  <a:pt x="146" y="456"/>
                  <a:pt x="146" y="456"/>
                  <a:pt x="146" y="456"/>
                </a:cubicBezTo>
                <a:cubicBezTo>
                  <a:pt x="146" y="456"/>
                  <a:pt x="146" y="456"/>
                  <a:pt x="146" y="456"/>
                </a:cubicBezTo>
                <a:cubicBezTo>
                  <a:pt x="146" y="456"/>
                  <a:pt x="146" y="456"/>
                  <a:pt x="146" y="456"/>
                </a:cubicBezTo>
                <a:cubicBezTo>
                  <a:pt x="146" y="457"/>
                  <a:pt x="146" y="457"/>
                  <a:pt x="146" y="457"/>
                </a:cubicBezTo>
                <a:cubicBezTo>
                  <a:pt x="145" y="457"/>
                  <a:pt x="145" y="457"/>
                  <a:pt x="145" y="457"/>
                </a:cubicBezTo>
                <a:cubicBezTo>
                  <a:pt x="145" y="457"/>
                  <a:pt x="145" y="457"/>
                  <a:pt x="145" y="457"/>
                </a:cubicBezTo>
                <a:cubicBezTo>
                  <a:pt x="144" y="457"/>
                  <a:pt x="144" y="457"/>
                  <a:pt x="144" y="457"/>
                </a:cubicBezTo>
                <a:cubicBezTo>
                  <a:pt x="143" y="457"/>
                  <a:pt x="143" y="457"/>
                  <a:pt x="143" y="457"/>
                </a:cubicBezTo>
                <a:cubicBezTo>
                  <a:pt x="145" y="458"/>
                  <a:pt x="145" y="458"/>
                  <a:pt x="145" y="458"/>
                </a:cubicBezTo>
                <a:cubicBezTo>
                  <a:pt x="145" y="459"/>
                  <a:pt x="145" y="459"/>
                  <a:pt x="145" y="459"/>
                </a:cubicBezTo>
                <a:cubicBezTo>
                  <a:pt x="145" y="459"/>
                  <a:pt x="145" y="459"/>
                  <a:pt x="145" y="459"/>
                </a:cubicBezTo>
                <a:cubicBezTo>
                  <a:pt x="144" y="458"/>
                  <a:pt x="144" y="458"/>
                  <a:pt x="144" y="458"/>
                </a:cubicBezTo>
                <a:cubicBezTo>
                  <a:pt x="144" y="458"/>
                  <a:pt x="143" y="459"/>
                  <a:pt x="143" y="459"/>
                </a:cubicBezTo>
                <a:cubicBezTo>
                  <a:pt x="143" y="459"/>
                  <a:pt x="142" y="458"/>
                  <a:pt x="142" y="458"/>
                </a:cubicBezTo>
                <a:cubicBezTo>
                  <a:pt x="142" y="458"/>
                  <a:pt x="142" y="458"/>
                  <a:pt x="142" y="458"/>
                </a:cubicBezTo>
                <a:cubicBezTo>
                  <a:pt x="143" y="459"/>
                  <a:pt x="143" y="459"/>
                  <a:pt x="143" y="459"/>
                </a:cubicBezTo>
                <a:cubicBezTo>
                  <a:pt x="143" y="459"/>
                  <a:pt x="143" y="459"/>
                  <a:pt x="143" y="459"/>
                </a:cubicBezTo>
                <a:cubicBezTo>
                  <a:pt x="142" y="460"/>
                  <a:pt x="142" y="460"/>
                  <a:pt x="142" y="460"/>
                </a:cubicBezTo>
                <a:cubicBezTo>
                  <a:pt x="141" y="460"/>
                  <a:pt x="141" y="460"/>
                  <a:pt x="141" y="460"/>
                </a:cubicBezTo>
                <a:cubicBezTo>
                  <a:pt x="141" y="460"/>
                  <a:pt x="141" y="460"/>
                  <a:pt x="141" y="460"/>
                </a:cubicBezTo>
                <a:cubicBezTo>
                  <a:pt x="140" y="460"/>
                  <a:pt x="140" y="460"/>
                  <a:pt x="140" y="460"/>
                </a:cubicBezTo>
                <a:cubicBezTo>
                  <a:pt x="140" y="461"/>
                  <a:pt x="140" y="461"/>
                  <a:pt x="140" y="461"/>
                </a:cubicBezTo>
                <a:cubicBezTo>
                  <a:pt x="139" y="461"/>
                  <a:pt x="139" y="461"/>
                  <a:pt x="139" y="461"/>
                </a:cubicBezTo>
                <a:cubicBezTo>
                  <a:pt x="139" y="460"/>
                  <a:pt x="139" y="460"/>
                  <a:pt x="139" y="460"/>
                </a:cubicBezTo>
                <a:cubicBezTo>
                  <a:pt x="138" y="460"/>
                  <a:pt x="138" y="460"/>
                  <a:pt x="138" y="460"/>
                </a:cubicBezTo>
                <a:cubicBezTo>
                  <a:pt x="138" y="461"/>
                  <a:pt x="138" y="461"/>
                  <a:pt x="138" y="461"/>
                </a:cubicBezTo>
                <a:cubicBezTo>
                  <a:pt x="137" y="462"/>
                  <a:pt x="137" y="462"/>
                  <a:pt x="137" y="462"/>
                </a:cubicBezTo>
                <a:cubicBezTo>
                  <a:pt x="137" y="463"/>
                  <a:pt x="137" y="463"/>
                  <a:pt x="137" y="463"/>
                </a:cubicBezTo>
                <a:cubicBezTo>
                  <a:pt x="137" y="464"/>
                  <a:pt x="137" y="464"/>
                  <a:pt x="137" y="464"/>
                </a:cubicBezTo>
                <a:cubicBezTo>
                  <a:pt x="136" y="465"/>
                  <a:pt x="136" y="465"/>
                  <a:pt x="136" y="465"/>
                </a:cubicBezTo>
                <a:cubicBezTo>
                  <a:pt x="136" y="466"/>
                  <a:pt x="136" y="466"/>
                  <a:pt x="136" y="466"/>
                </a:cubicBezTo>
                <a:cubicBezTo>
                  <a:pt x="136" y="468"/>
                  <a:pt x="136" y="468"/>
                  <a:pt x="136" y="468"/>
                </a:cubicBezTo>
                <a:cubicBezTo>
                  <a:pt x="135" y="469"/>
                  <a:pt x="135" y="469"/>
                  <a:pt x="135" y="469"/>
                </a:cubicBezTo>
                <a:cubicBezTo>
                  <a:pt x="135" y="470"/>
                  <a:pt x="135" y="470"/>
                  <a:pt x="135" y="470"/>
                </a:cubicBezTo>
                <a:cubicBezTo>
                  <a:pt x="135" y="472"/>
                  <a:pt x="135" y="472"/>
                  <a:pt x="135" y="472"/>
                </a:cubicBezTo>
                <a:cubicBezTo>
                  <a:pt x="136" y="472"/>
                  <a:pt x="136" y="472"/>
                  <a:pt x="136" y="472"/>
                </a:cubicBezTo>
                <a:cubicBezTo>
                  <a:pt x="137" y="472"/>
                  <a:pt x="137" y="472"/>
                  <a:pt x="137" y="472"/>
                </a:cubicBezTo>
                <a:cubicBezTo>
                  <a:pt x="138" y="473"/>
                  <a:pt x="138" y="473"/>
                  <a:pt x="138" y="473"/>
                </a:cubicBezTo>
                <a:cubicBezTo>
                  <a:pt x="139" y="474"/>
                  <a:pt x="139" y="474"/>
                  <a:pt x="139" y="474"/>
                </a:cubicBezTo>
                <a:cubicBezTo>
                  <a:pt x="139" y="476"/>
                  <a:pt x="139" y="476"/>
                  <a:pt x="139" y="476"/>
                </a:cubicBezTo>
                <a:cubicBezTo>
                  <a:pt x="140" y="476"/>
                  <a:pt x="140" y="476"/>
                  <a:pt x="140" y="476"/>
                </a:cubicBezTo>
                <a:cubicBezTo>
                  <a:pt x="141" y="476"/>
                  <a:pt x="141" y="476"/>
                  <a:pt x="141" y="476"/>
                </a:cubicBezTo>
                <a:cubicBezTo>
                  <a:pt x="142" y="476"/>
                  <a:pt x="142" y="476"/>
                  <a:pt x="142" y="476"/>
                </a:cubicBezTo>
                <a:cubicBezTo>
                  <a:pt x="141" y="477"/>
                  <a:pt x="141" y="477"/>
                  <a:pt x="141" y="477"/>
                </a:cubicBezTo>
                <a:cubicBezTo>
                  <a:pt x="141" y="478"/>
                  <a:pt x="141" y="478"/>
                  <a:pt x="141" y="478"/>
                </a:cubicBezTo>
                <a:cubicBezTo>
                  <a:pt x="140" y="478"/>
                  <a:pt x="140" y="478"/>
                  <a:pt x="140" y="478"/>
                </a:cubicBezTo>
                <a:cubicBezTo>
                  <a:pt x="140" y="479"/>
                  <a:pt x="140" y="479"/>
                  <a:pt x="140" y="479"/>
                </a:cubicBezTo>
                <a:cubicBezTo>
                  <a:pt x="141" y="479"/>
                  <a:pt x="141" y="479"/>
                  <a:pt x="141" y="479"/>
                </a:cubicBezTo>
                <a:cubicBezTo>
                  <a:pt x="141" y="480"/>
                  <a:pt x="141" y="480"/>
                  <a:pt x="141" y="480"/>
                </a:cubicBezTo>
                <a:cubicBezTo>
                  <a:pt x="142" y="480"/>
                  <a:pt x="142" y="480"/>
                  <a:pt x="142" y="480"/>
                </a:cubicBezTo>
                <a:cubicBezTo>
                  <a:pt x="142" y="482"/>
                  <a:pt x="142" y="482"/>
                  <a:pt x="142" y="482"/>
                </a:cubicBezTo>
                <a:cubicBezTo>
                  <a:pt x="143" y="483"/>
                  <a:pt x="143" y="483"/>
                  <a:pt x="143" y="483"/>
                </a:cubicBezTo>
                <a:cubicBezTo>
                  <a:pt x="143" y="485"/>
                  <a:pt x="143" y="485"/>
                  <a:pt x="143" y="485"/>
                </a:cubicBezTo>
                <a:cubicBezTo>
                  <a:pt x="145" y="488"/>
                  <a:pt x="145" y="488"/>
                  <a:pt x="145" y="488"/>
                </a:cubicBezTo>
                <a:cubicBezTo>
                  <a:pt x="149" y="491"/>
                  <a:pt x="149" y="491"/>
                  <a:pt x="149" y="491"/>
                </a:cubicBezTo>
                <a:cubicBezTo>
                  <a:pt x="149" y="491"/>
                  <a:pt x="149" y="491"/>
                  <a:pt x="149" y="491"/>
                </a:cubicBezTo>
                <a:cubicBezTo>
                  <a:pt x="149" y="491"/>
                  <a:pt x="149" y="491"/>
                  <a:pt x="149" y="491"/>
                </a:cubicBezTo>
                <a:cubicBezTo>
                  <a:pt x="147" y="494"/>
                  <a:pt x="147" y="494"/>
                  <a:pt x="147" y="494"/>
                </a:cubicBezTo>
                <a:cubicBezTo>
                  <a:pt x="145" y="495"/>
                  <a:pt x="145" y="495"/>
                  <a:pt x="145" y="495"/>
                </a:cubicBezTo>
                <a:cubicBezTo>
                  <a:pt x="145" y="496"/>
                  <a:pt x="145" y="496"/>
                  <a:pt x="145" y="496"/>
                </a:cubicBezTo>
                <a:cubicBezTo>
                  <a:pt x="142" y="496"/>
                  <a:pt x="142" y="496"/>
                  <a:pt x="142" y="496"/>
                </a:cubicBezTo>
                <a:cubicBezTo>
                  <a:pt x="141" y="494"/>
                  <a:pt x="141" y="494"/>
                  <a:pt x="141" y="494"/>
                </a:cubicBezTo>
                <a:cubicBezTo>
                  <a:pt x="138" y="492"/>
                  <a:pt x="138" y="492"/>
                  <a:pt x="138" y="492"/>
                </a:cubicBezTo>
                <a:cubicBezTo>
                  <a:pt x="136" y="492"/>
                  <a:pt x="136" y="492"/>
                  <a:pt x="136" y="492"/>
                </a:cubicBezTo>
                <a:cubicBezTo>
                  <a:pt x="136" y="494"/>
                  <a:pt x="136" y="494"/>
                  <a:pt x="136" y="494"/>
                </a:cubicBezTo>
                <a:cubicBezTo>
                  <a:pt x="137" y="495"/>
                  <a:pt x="137" y="495"/>
                  <a:pt x="137" y="495"/>
                </a:cubicBezTo>
                <a:cubicBezTo>
                  <a:pt x="138" y="496"/>
                  <a:pt x="138" y="496"/>
                  <a:pt x="138" y="496"/>
                </a:cubicBezTo>
                <a:cubicBezTo>
                  <a:pt x="138" y="498"/>
                  <a:pt x="138" y="498"/>
                  <a:pt x="138" y="498"/>
                </a:cubicBezTo>
                <a:cubicBezTo>
                  <a:pt x="136" y="497"/>
                  <a:pt x="136" y="497"/>
                  <a:pt x="136" y="497"/>
                </a:cubicBezTo>
                <a:cubicBezTo>
                  <a:pt x="133" y="497"/>
                  <a:pt x="133" y="497"/>
                  <a:pt x="133" y="497"/>
                </a:cubicBezTo>
                <a:cubicBezTo>
                  <a:pt x="130" y="495"/>
                  <a:pt x="130" y="495"/>
                  <a:pt x="130" y="495"/>
                </a:cubicBezTo>
                <a:cubicBezTo>
                  <a:pt x="127" y="496"/>
                  <a:pt x="127" y="496"/>
                  <a:pt x="127" y="496"/>
                </a:cubicBezTo>
                <a:cubicBezTo>
                  <a:pt x="127" y="497"/>
                  <a:pt x="127" y="497"/>
                  <a:pt x="127" y="497"/>
                </a:cubicBezTo>
                <a:cubicBezTo>
                  <a:pt x="128" y="498"/>
                  <a:pt x="128" y="498"/>
                  <a:pt x="128" y="498"/>
                </a:cubicBezTo>
                <a:cubicBezTo>
                  <a:pt x="127" y="497"/>
                  <a:pt x="127" y="497"/>
                  <a:pt x="127" y="497"/>
                </a:cubicBezTo>
                <a:cubicBezTo>
                  <a:pt x="123" y="497"/>
                  <a:pt x="123" y="497"/>
                  <a:pt x="123" y="497"/>
                </a:cubicBezTo>
                <a:cubicBezTo>
                  <a:pt x="123" y="497"/>
                  <a:pt x="123" y="497"/>
                  <a:pt x="123" y="497"/>
                </a:cubicBezTo>
                <a:cubicBezTo>
                  <a:pt x="120" y="497"/>
                  <a:pt x="120" y="497"/>
                  <a:pt x="120" y="497"/>
                </a:cubicBezTo>
                <a:cubicBezTo>
                  <a:pt x="118" y="498"/>
                  <a:pt x="118" y="498"/>
                  <a:pt x="118" y="498"/>
                </a:cubicBezTo>
                <a:cubicBezTo>
                  <a:pt x="118" y="498"/>
                  <a:pt x="118" y="498"/>
                  <a:pt x="118" y="498"/>
                </a:cubicBezTo>
                <a:cubicBezTo>
                  <a:pt x="117" y="498"/>
                  <a:pt x="117" y="498"/>
                  <a:pt x="117" y="498"/>
                </a:cubicBezTo>
                <a:cubicBezTo>
                  <a:pt x="114" y="495"/>
                  <a:pt x="114" y="495"/>
                  <a:pt x="114" y="495"/>
                </a:cubicBezTo>
                <a:cubicBezTo>
                  <a:pt x="113" y="495"/>
                  <a:pt x="113" y="495"/>
                  <a:pt x="113" y="495"/>
                </a:cubicBezTo>
                <a:cubicBezTo>
                  <a:pt x="112" y="496"/>
                  <a:pt x="112" y="496"/>
                  <a:pt x="112" y="496"/>
                </a:cubicBezTo>
                <a:cubicBezTo>
                  <a:pt x="111" y="496"/>
                  <a:pt x="111" y="496"/>
                  <a:pt x="111" y="496"/>
                </a:cubicBezTo>
                <a:cubicBezTo>
                  <a:pt x="110" y="495"/>
                  <a:pt x="110" y="495"/>
                  <a:pt x="110" y="495"/>
                </a:cubicBezTo>
                <a:cubicBezTo>
                  <a:pt x="109" y="496"/>
                  <a:pt x="109" y="496"/>
                  <a:pt x="109" y="496"/>
                </a:cubicBezTo>
                <a:cubicBezTo>
                  <a:pt x="108" y="496"/>
                  <a:pt x="108" y="496"/>
                  <a:pt x="108" y="496"/>
                </a:cubicBezTo>
                <a:cubicBezTo>
                  <a:pt x="108" y="495"/>
                  <a:pt x="108" y="495"/>
                  <a:pt x="108" y="495"/>
                </a:cubicBezTo>
                <a:cubicBezTo>
                  <a:pt x="107" y="495"/>
                  <a:pt x="107" y="495"/>
                  <a:pt x="107" y="495"/>
                </a:cubicBezTo>
                <a:cubicBezTo>
                  <a:pt x="107" y="495"/>
                  <a:pt x="107" y="495"/>
                  <a:pt x="107" y="495"/>
                </a:cubicBezTo>
                <a:cubicBezTo>
                  <a:pt x="107" y="494"/>
                  <a:pt x="107" y="494"/>
                  <a:pt x="107" y="494"/>
                </a:cubicBezTo>
                <a:cubicBezTo>
                  <a:pt x="107" y="493"/>
                  <a:pt x="107" y="493"/>
                  <a:pt x="107" y="493"/>
                </a:cubicBezTo>
                <a:cubicBezTo>
                  <a:pt x="108" y="493"/>
                  <a:pt x="108" y="493"/>
                  <a:pt x="108" y="493"/>
                </a:cubicBezTo>
                <a:cubicBezTo>
                  <a:pt x="106" y="491"/>
                  <a:pt x="106" y="491"/>
                  <a:pt x="106" y="491"/>
                </a:cubicBezTo>
                <a:cubicBezTo>
                  <a:pt x="106" y="488"/>
                  <a:pt x="106" y="488"/>
                  <a:pt x="106" y="488"/>
                </a:cubicBezTo>
                <a:cubicBezTo>
                  <a:pt x="105" y="487"/>
                  <a:pt x="105" y="487"/>
                  <a:pt x="105" y="487"/>
                </a:cubicBezTo>
                <a:cubicBezTo>
                  <a:pt x="104" y="485"/>
                  <a:pt x="104" y="485"/>
                  <a:pt x="104" y="485"/>
                </a:cubicBezTo>
                <a:cubicBezTo>
                  <a:pt x="103" y="485"/>
                  <a:pt x="103" y="485"/>
                  <a:pt x="103" y="485"/>
                </a:cubicBezTo>
                <a:cubicBezTo>
                  <a:pt x="102" y="484"/>
                  <a:pt x="102" y="484"/>
                  <a:pt x="102" y="484"/>
                </a:cubicBezTo>
                <a:cubicBezTo>
                  <a:pt x="101" y="483"/>
                  <a:pt x="101" y="483"/>
                  <a:pt x="101" y="483"/>
                </a:cubicBezTo>
                <a:cubicBezTo>
                  <a:pt x="100" y="483"/>
                  <a:pt x="100" y="483"/>
                  <a:pt x="100" y="483"/>
                </a:cubicBezTo>
                <a:cubicBezTo>
                  <a:pt x="100" y="483"/>
                  <a:pt x="100" y="483"/>
                  <a:pt x="100" y="483"/>
                </a:cubicBezTo>
                <a:cubicBezTo>
                  <a:pt x="98" y="482"/>
                  <a:pt x="98" y="482"/>
                  <a:pt x="98" y="482"/>
                </a:cubicBezTo>
                <a:cubicBezTo>
                  <a:pt x="97" y="481"/>
                  <a:pt x="97" y="481"/>
                  <a:pt x="97" y="481"/>
                </a:cubicBezTo>
                <a:cubicBezTo>
                  <a:pt x="97" y="481"/>
                  <a:pt x="97" y="481"/>
                  <a:pt x="97" y="481"/>
                </a:cubicBezTo>
                <a:cubicBezTo>
                  <a:pt x="95" y="481"/>
                  <a:pt x="95" y="481"/>
                  <a:pt x="95" y="481"/>
                </a:cubicBezTo>
                <a:cubicBezTo>
                  <a:pt x="95" y="480"/>
                  <a:pt x="95" y="480"/>
                  <a:pt x="95" y="480"/>
                </a:cubicBezTo>
                <a:cubicBezTo>
                  <a:pt x="94" y="480"/>
                  <a:pt x="94" y="480"/>
                  <a:pt x="94" y="480"/>
                </a:cubicBezTo>
                <a:cubicBezTo>
                  <a:pt x="93" y="479"/>
                  <a:pt x="93" y="479"/>
                  <a:pt x="93" y="479"/>
                </a:cubicBezTo>
                <a:cubicBezTo>
                  <a:pt x="93" y="478"/>
                  <a:pt x="93" y="478"/>
                  <a:pt x="93" y="478"/>
                </a:cubicBezTo>
                <a:cubicBezTo>
                  <a:pt x="92" y="478"/>
                  <a:pt x="92" y="478"/>
                  <a:pt x="92" y="478"/>
                </a:cubicBezTo>
                <a:cubicBezTo>
                  <a:pt x="91" y="476"/>
                  <a:pt x="91" y="476"/>
                  <a:pt x="91" y="476"/>
                </a:cubicBezTo>
                <a:cubicBezTo>
                  <a:pt x="87" y="473"/>
                  <a:pt x="87" y="473"/>
                  <a:pt x="87" y="473"/>
                </a:cubicBezTo>
                <a:cubicBezTo>
                  <a:pt x="85" y="473"/>
                  <a:pt x="85" y="473"/>
                  <a:pt x="85" y="473"/>
                </a:cubicBezTo>
                <a:cubicBezTo>
                  <a:pt x="83" y="471"/>
                  <a:pt x="83" y="471"/>
                  <a:pt x="83" y="471"/>
                </a:cubicBezTo>
                <a:cubicBezTo>
                  <a:pt x="80" y="471"/>
                  <a:pt x="80" y="471"/>
                  <a:pt x="80" y="471"/>
                </a:cubicBezTo>
                <a:cubicBezTo>
                  <a:pt x="79" y="470"/>
                  <a:pt x="79" y="470"/>
                  <a:pt x="79" y="470"/>
                </a:cubicBezTo>
                <a:cubicBezTo>
                  <a:pt x="79" y="469"/>
                  <a:pt x="79" y="469"/>
                  <a:pt x="79" y="469"/>
                </a:cubicBezTo>
                <a:cubicBezTo>
                  <a:pt x="77" y="468"/>
                  <a:pt x="77" y="468"/>
                  <a:pt x="77" y="468"/>
                </a:cubicBezTo>
                <a:cubicBezTo>
                  <a:pt x="76" y="468"/>
                  <a:pt x="76" y="468"/>
                  <a:pt x="76" y="468"/>
                </a:cubicBezTo>
                <a:cubicBezTo>
                  <a:pt x="75" y="468"/>
                  <a:pt x="75" y="468"/>
                  <a:pt x="75" y="468"/>
                </a:cubicBezTo>
                <a:cubicBezTo>
                  <a:pt x="76" y="467"/>
                  <a:pt x="76" y="467"/>
                  <a:pt x="76" y="467"/>
                </a:cubicBezTo>
                <a:cubicBezTo>
                  <a:pt x="77" y="466"/>
                  <a:pt x="77" y="466"/>
                  <a:pt x="77" y="466"/>
                </a:cubicBezTo>
                <a:cubicBezTo>
                  <a:pt x="76" y="465"/>
                  <a:pt x="76" y="465"/>
                  <a:pt x="76" y="465"/>
                </a:cubicBezTo>
                <a:cubicBezTo>
                  <a:pt x="76" y="465"/>
                  <a:pt x="76" y="465"/>
                  <a:pt x="76" y="465"/>
                </a:cubicBezTo>
                <a:cubicBezTo>
                  <a:pt x="78" y="465"/>
                  <a:pt x="78" y="465"/>
                  <a:pt x="78" y="465"/>
                </a:cubicBezTo>
                <a:cubicBezTo>
                  <a:pt x="79" y="466"/>
                  <a:pt x="79" y="466"/>
                  <a:pt x="79" y="466"/>
                </a:cubicBezTo>
                <a:cubicBezTo>
                  <a:pt x="79" y="466"/>
                  <a:pt x="79" y="466"/>
                  <a:pt x="79" y="466"/>
                </a:cubicBezTo>
                <a:cubicBezTo>
                  <a:pt x="80" y="466"/>
                  <a:pt x="80" y="466"/>
                  <a:pt x="80" y="466"/>
                </a:cubicBezTo>
                <a:cubicBezTo>
                  <a:pt x="80" y="464"/>
                  <a:pt x="80" y="464"/>
                  <a:pt x="80" y="464"/>
                </a:cubicBezTo>
                <a:cubicBezTo>
                  <a:pt x="80" y="464"/>
                  <a:pt x="80" y="464"/>
                  <a:pt x="80" y="464"/>
                </a:cubicBezTo>
                <a:cubicBezTo>
                  <a:pt x="80" y="462"/>
                  <a:pt x="80" y="462"/>
                  <a:pt x="80" y="462"/>
                </a:cubicBezTo>
                <a:cubicBezTo>
                  <a:pt x="81" y="461"/>
                  <a:pt x="81" y="461"/>
                  <a:pt x="81" y="461"/>
                </a:cubicBezTo>
                <a:cubicBezTo>
                  <a:pt x="81" y="461"/>
                  <a:pt x="81" y="461"/>
                  <a:pt x="81" y="461"/>
                </a:cubicBezTo>
                <a:cubicBezTo>
                  <a:pt x="82" y="460"/>
                  <a:pt x="82" y="460"/>
                  <a:pt x="82" y="460"/>
                </a:cubicBezTo>
                <a:cubicBezTo>
                  <a:pt x="83" y="460"/>
                  <a:pt x="83" y="460"/>
                  <a:pt x="83" y="460"/>
                </a:cubicBezTo>
                <a:cubicBezTo>
                  <a:pt x="83" y="460"/>
                  <a:pt x="83" y="460"/>
                  <a:pt x="83" y="460"/>
                </a:cubicBezTo>
                <a:cubicBezTo>
                  <a:pt x="84" y="459"/>
                  <a:pt x="84" y="459"/>
                  <a:pt x="84" y="459"/>
                </a:cubicBezTo>
                <a:cubicBezTo>
                  <a:pt x="84" y="459"/>
                  <a:pt x="84" y="459"/>
                  <a:pt x="84" y="459"/>
                </a:cubicBezTo>
                <a:cubicBezTo>
                  <a:pt x="83" y="458"/>
                  <a:pt x="83" y="458"/>
                  <a:pt x="83" y="458"/>
                </a:cubicBezTo>
                <a:cubicBezTo>
                  <a:pt x="82" y="458"/>
                  <a:pt x="82" y="458"/>
                  <a:pt x="82" y="458"/>
                </a:cubicBezTo>
                <a:cubicBezTo>
                  <a:pt x="82" y="458"/>
                  <a:pt x="82" y="458"/>
                  <a:pt x="82" y="458"/>
                </a:cubicBezTo>
                <a:cubicBezTo>
                  <a:pt x="81" y="457"/>
                  <a:pt x="81" y="457"/>
                  <a:pt x="81" y="457"/>
                </a:cubicBezTo>
                <a:cubicBezTo>
                  <a:pt x="80" y="456"/>
                  <a:pt x="80" y="456"/>
                  <a:pt x="80" y="456"/>
                </a:cubicBezTo>
                <a:cubicBezTo>
                  <a:pt x="82" y="455"/>
                  <a:pt x="82" y="455"/>
                  <a:pt x="82" y="455"/>
                </a:cubicBezTo>
                <a:cubicBezTo>
                  <a:pt x="84" y="456"/>
                  <a:pt x="84" y="456"/>
                  <a:pt x="84" y="456"/>
                </a:cubicBezTo>
                <a:cubicBezTo>
                  <a:pt x="84" y="455"/>
                  <a:pt x="84" y="455"/>
                  <a:pt x="84" y="455"/>
                </a:cubicBezTo>
                <a:cubicBezTo>
                  <a:pt x="84" y="455"/>
                  <a:pt x="84" y="455"/>
                  <a:pt x="84" y="455"/>
                </a:cubicBezTo>
                <a:cubicBezTo>
                  <a:pt x="83" y="454"/>
                  <a:pt x="83" y="454"/>
                  <a:pt x="83" y="454"/>
                </a:cubicBezTo>
                <a:cubicBezTo>
                  <a:pt x="84" y="453"/>
                  <a:pt x="84" y="453"/>
                  <a:pt x="84" y="453"/>
                </a:cubicBezTo>
                <a:cubicBezTo>
                  <a:pt x="88" y="451"/>
                  <a:pt x="88" y="451"/>
                  <a:pt x="88" y="451"/>
                </a:cubicBezTo>
                <a:cubicBezTo>
                  <a:pt x="88" y="450"/>
                  <a:pt x="88" y="450"/>
                  <a:pt x="88" y="450"/>
                </a:cubicBezTo>
                <a:cubicBezTo>
                  <a:pt x="88" y="450"/>
                  <a:pt x="88" y="450"/>
                  <a:pt x="88" y="450"/>
                </a:cubicBezTo>
                <a:cubicBezTo>
                  <a:pt x="86" y="450"/>
                  <a:pt x="86" y="450"/>
                  <a:pt x="86" y="450"/>
                </a:cubicBezTo>
                <a:cubicBezTo>
                  <a:pt x="84" y="451"/>
                  <a:pt x="84" y="451"/>
                  <a:pt x="84" y="451"/>
                </a:cubicBezTo>
                <a:cubicBezTo>
                  <a:pt x="83" y="451"/>
                  <a:pt x="83" y="451"/>
                  <a:pt x="83" y="451"/>
                </a:cubicBezTo>
                <a:cubicBezTo>
                  <a:pt x="83" y="451"/>
                  <a:pt x="83" y="451"/>
                  <a:pt x="83" y="451"/>
                </a:cubicBezTo>
                <a:cubicBezTo>
                  <a:pt x="83" y="451"/>
                  <a:pt x="83" y="451"/>
                  <a:pt x="83" y="451"/>
                </a:cubicBezTo>
                <a:cubicBezTo>
                  <a:pt x="83" y="448"/>
                  <a:pt x="83" y="448"/>
                  <a:pt x="83" y="448"/>
                </a:cubicBezTo>
                <a:cubicBezTo>
                  <a:pt x="84" y="448"/>
                  <a:pt x="84" y="448"/>
                  <a:pt x="84" y="448"/>
                </a:cubicBezTo>
                <a:cubicBezTo>
                  <a:pt x="85" y="445"/>
                  <a:pt x="85" y="445"/>
                  <a:pt x="85" y="445"/>
                </a:cubicBezTo>
                <a:cubicBezTo>
                  <a:pt x="88" y="445"/>
                  <a:pt x="88" y="445"/>
                  <a:pt x="88" y="445"/>
                </a:cubicBezTo>
                <a:cubicBezTo>
                  <a:pt x="90" y="444"/>
                  <a:pt x="90" y="444"/>
                  <a:pt x="90" y="444"/>
                </a:cubicBezTo>
                <a:cubicBezTo>
                  <a:pt x="89" y="443"/>
                  <a:pt x="89" y="443"/>
                  <a:pt x="89" y="443"/>
                </a:cubicBezTo>
                <a:cubicBezTo>
                  <a:pt x="90" y="440"/>
                  <a:pt x="90" y="440"/>
                  <a:pt x="90" y="440"/>
                </a:cubicBezTo>
                <a:cubicBezTo>
                  <a:pt x="90" y="439"/>
                  <a:pt x="90" y="439"/>
                  <a:pt x="90" y="439"/>
                </a:cubicBezTo>
                <a:cubicBezTo>
                  <a:pt x="88" y="437"/>
                  <a:pt x="88" y="437"/>
                  <a:pt x="88" y="437"/>
                </a:cubicBezTo>
                <a:cubicBezTo>
                  <a:pt x="88" y="435"/>
                  <a:pt x="88" y="435"/>
                  <a:pt x="88" y="435"/>
                </a:cubicBezTo>
                <a:cubicBezTo>
                  <a:pt x="90" y="434"/>
                  <a:pt x="90" y="434"/>
                  <a:pt x="90" y="434"/>
                </a:cubicBezTo>
                <a:cubicBezTo>
                  <a:pt x="91" y="433"/>
                  <a:pt x="91" y="433"/>
                  <a:pt x="91" y="433"/>
                </a:cubicBezTo>
                <a:cubicBezTo>
                  <a:pt x="91" y="431"/>
                  <a:pt x="91" y="431"/>
                  <a:pt x="91" y="431"/>
                </a:cubicBezTo>
                <a:cubicBezTo>
                  <a:pt x="90" y="431"/>
                  <a:pt x="90" y="431"/>
                  <a:pt x="90" y="431"/>
                </a:cubicBezTo>
                <a:cubicBezTo>
                  <a:pt x="89" y="429"/>
                  <a:pt x="89" y="429"/>
                  <a:pt x="89" y="429"/>
                </a:cubicBezTo>
                <a:cubicBezTo>
                  <a:pt x="88" y="430"/>
                  <a:pt x="88" y="430"/>
                  <a:pt x="88" y="430"/>
                </a:cubicBezTo>
                <a:cubicBezTo>
                  <a:pt x="87" y="430"/>
                  <a:pt x="87" y="430"/>
                  <a:pt x="87" y="430"/>
                </a:cubicBezTo>
                <a:cubicBezTo>
                  <a:pt x="85" y="429"/>
                  <a:pt x="85" y="429"/>
                  <a:pt x="85" y="429"/>
                </a:cubicBezTo>
                <a:cubicBezTo>
                  <a:pt x="84" y="429"/>
                  <a:pt x="84" y="429"/>
                  <a:pt x="84" y="429"/>
                </a:cubicBezTo>
                <a:cubicBezTo>
                  <a:pt x="82" y="428"/>
                  <a:pt x="82" y="428"/>
                  <a:pt x="82" y="428"/>
                </a:cubicBezTo>
                <a:cubicBezTo>
                  <a:pt x="81" y="428"/>
                  <a:pt x="81" y="428"/>
                  <a:pt x="81" y="428"/>
                </a:cubicBezTo>
                <a:cubicBezTo>
                  <a:pt x="78" y="428"/>
                  <a:pt x="78" y="428"/>
                  <a:pt x="78" y="428"/>
                </a:cubicBezTo>
                <a:cubicBezTo>
                  <a:pt x="78" y="429"/>
                  <a:pt x="78" y="429"/>
                  <a:pt x="78" y="429"/>
                </a:cubicBezTo>
                <a:cubicBezTo>
                  <a:pt x="77" y="428"/>
                  <a:pt x="77" y="428"/>
                  <a:pt x="77" y="428"/>
                </a:cubicBezTo>
                <a:cubicBezTo>
                  <a:pt x="75" y="426"/>
                  <a:pt x="75" y="426"/>
                  <a:pt x="75" y="426"/>
                </a:cubicBezTo>
                <a:cubicBezTo>
                  <a:pt x="74" y="423"/>
                  <a:pt x="74" y="423"/>
                  <a:pt x="74" y="423"/>
                </a:cubicBezTo>
                <a:cubicBezTo>
                  <a:pt x="73" y="423"/>
                  <a:pt x="73" y="423"/>
                  <a:pt x="73" y="423"/>
                </a:cubicBezTo>
                <a:cubicBezTo>
                  <a:pt x="71" y="425"/>
                  <a:pt x="71" y="425"/>
                  <a:pt x="71" y="425"/>
                </a:cubicBezTo>
                <a:cubicBezTo>
                  <a:pt x="69" y="425"/>
                  <a:pt x="69" y="425"/>
                  <a:pt x="69" y="425"/>
                </a:cubicBezTo>
                <a:cubicBezTo>
                  <a:pt x="68" y="425"/>
                  <a:pt x="68" y="425"/>
                  <a:pt x="68" y="425"/>
                </a:cubicBezTo>
                <a:cubicBezTo>
                  <a:pt x="66" y="424"/>
                  <a:pt x="66" y="424"/>
                  <a:pt x="66" y="424"/>
                </a:cubicBezTo>
                <a:cubicBezTo>
                  <a:pt x="65" y="425"/>
                  <a:pt x="65" y="425"/>
                  <a:pt x="65" y="425"/>
                </a:cubicBezTo>
                <a:cubicBezTo>
                  <a:pt x="62" y="423"/>
                  <a:pt x="62" y="423"/>
                  <a:pt x="62" y="423"/>
                </a:cubicBezTo>
                <a:cubicBezTo>
                  <a:pt x="61" y="421"/>
                  <a:pt x="61" y="421"/>
                  <a:pt x="61" y="421"/>
                </a:cubicBezTo>
                <a:cubicBezTo>
                  <a:pt x="61" y="419"/>
                  <a:pt x="61" y="419"/>
                  <a:pt x="61" y="419"/>
                </a:cubicBezTo>
                <a:cubicBezTo>
                  <a:pt x="60" y="419"/>
                  <a:pt x="60" y="419"/>
                  <a:pt x="60" y="419"/>
                </a:cubicBezTo>
                <a:cubicBezTo>
                  <a:pt x="60" y="417"/>
                  <a:pt x="60" y="417"/>
                  <a:pt x="60" y="417"/>
                </a:cubicBezTo>
                <a:cubicBezTo>
                  <a:pt x="59" y="416"/>
                  <a:pt x="59" y="416"/>
                  <a:pt x="59" y="416"/>
                </a:cubicBezTo>
                <a:cubicBezTo>
                  <a:pt x="55" y="417"/>
                  <a:pt x="55" y="417"/>
                  <a:pt x="55" y="417"/>
                </a:cubicBezTo>
                <a:cubicBezTo>
                  <a:pt x="53" y="415"/>
                  <a:pt x="53" y="415"/>
                  <a:pt x="53" y="415"/>
                </a:cubicBezTo>
                <a:cubicBezTo>
                  <a:pt x="54" y="413"/>
                  <a:pt x="54" y="413"/>
                  <a:pt x="54" y="413"/>
                </a:cubicBezTo>
                <a:cubicBezTo>
                  <a:pt x="53" y="412"/>
                  <a:pt x="53" y="412"/>
                  <a:pt x="53" y="412"/>
                </a:cubicBezTo>
                <a:cubicBezTo>
                  <a:pt x="52" y="409"/>
                  <a:pt x="52" y="409"/>
                  <a:pt x="52" y="409"/>
                </a:cubicBezTo>
                <a:cubicBezTo>
                  <a:pt x="50" y="409"/>
                  <a:pt x="50" y="409"/>
                  <a:pt x="50" y="409"/>
                </a:cubicBezTo>
                <a:cubicBezTo>
                  <a:pt x="49" y="410"/>
                  <a:pt x="49" y="410"/>
                  <a:pt x="49" y="410"/>
                </a:cubicBezTo>
                <a:cubicBezTo>
                  <a:pt x="46" y="410"/>
                  <a:pt x="46" y="410"/>
                  <a:pt x="46" y="410"/>
                </a:cubicBezTo>
                <a:cubicBezTo>
                  <a:pt x="43" y="409"/>
                  <a:pt x="43" y="409"/>
                  <a:pt x="43" y="409"/>
                </a:cubicBezTo>
                <a:cubicBezTo>
                  <a:pt x="42" y="410"/>
                  <a:pt x="42" y="410"/>
                  <a:pt x="42" y="410"/>
                </a:cubicBezTo>
                <a:cubicBezTo>
                  <a:pt x="42" y="411"/>
                  <a:pt x="42" y="411"/>
                  <a:pt x="42" y="411"/>
                </a:cubicBezTo>
                <a:cubicBezTo>
                  <a:pt x="40" y="411"/>
                  <a:pt x="40" y="411"/>
                  <a:pt x="40" y="411"/>
                </a:cubicBezTo>
                <a:cubicBezTo>
                  <a:pt x="39" y="411"/>
                  <a:pt x="39" y="411"/>
                  <a:pt x="39" y="411"/>
                </a:cubicBezTo>
                <a:cubicBezTo>
                  <a:pt x="39" y="410"/>
                  <a:pt x="39" y="410"/>
                  <a:pt x="39" y="410"/>
                </a:cubicBezTo>
                <a:cubicBezTo>
                  <a:pt x="38" y="408"/>
                  <a:pt x="38" y="408"/>
                  <a:pt x="38" y="408"/>
                </a:cubicBezTo>
                <a:cubicBezTo>
                  <a:pt x="38" y="406"/>
                  <a:pt x="38" y="406"/>
                  <a:pt x="38" y="406"/>
                </a:cubicBezTo>
                <a:cubicBezTo>
                  <a:pt x="37" y="404"/>
                  <a:pt x="37" y="404"/>
                  <a:pt x="37" y="404"/>
                </a:cubicBezTo>
                <a:cubicBezTo>
                  <a:pt x="37" y="403"/>
                  <a:pt x="37" y="403"/>
                  <a:pt x="37" y="403"/>
                </a:cubicBezTo>
                <a:cubicBezTo>
                  <a:pt x="37" y="402"/>
                  <a:pt x="37" y="402"/>
                  <a:pt x="37" y="402"/>
                </a:cubicBezTo>
                <a:cubicBezTo>
                  <a:pt x="39" y="403"/>
                  <a:pt x="39" y="403"/>
                  <a:pt x="39" y="403"/>
                </a:cubicBezTo>
                <a:cubicBezTo>
                  <a:pt x="42" y="403"/>
                  <a:pt x="42" y="403"/>
                  <a:pt x="42" y="403"/>
                </a:cubicBezTo>
                <a:cubicBezTo>
                  <a:pt x="43" y="400"/>
                  <a:pt x="43" y="400"/>
                  <a:pt x="43" y="400"/>
                </a:cubicBezTo>
                <a:cubicBezTo>
                  <a:pt x="44" y="400"/>
                  <a:pt x="44" y="400"/>
                  <a:pt x="44" y="400"/>
                </a:cubicBezTo>
                <a:cubicBezTo>
                  <a:pt x="42" y="399"/>
                  <a:pt x="42" y="399"/>
                  <a:pt x="42" y="399"/>
                </a:cubicBezTo>
                <a:cubicBezTo>
                  <a:pt x="42" y="398"/>
                  <a:pt x="42" y="398"/>
                  <a:pt x="42" y="398"/>
                </a:cubicBezTo>
                <a:cubicBezTo>
                  <a:pt x="40" y="396"/>
                  <a:pt x="40" y="396"/>
                  <a:pt x="40" y="396"/>
                </a:cubicBezTo>
                <a:cubicBezTo>
                  <a:pt x="38" y="395"/>
                  <a:pt x="38" y="395"/>
                  <a:pt x="38" y="395"/>
                </a:cubicBezTo>
                <a:cubicBezTo>
                  <a:pt x="37" y="393"/>
                  <a:pt x="37" y="393"/>
                  <a:pt x="37" y="393"/>
                </a:cubicBezTo>
                <a:cubicBezTo>
                  <a:pt x="36" y="392"/>
                  <a:pt x="36" y="392"/>
                  <a:pt x="36" y="392"/>
                </a:cubicBezTo>
                <a:cubicBezTo>
                  <a:pt x="34" y="390"/>
                  <a:pt x="34" y="390"/>
                  <a:pt x="34" y="390"/>
                </a:cubicBezTo>
                <a:cubicBezTo>
                  <a:pt x="33" y="388"/>
                  <a:pt x="33" y="388"/>
                  <a:pt x="33" y="388"/>
                </a:cubicBezTo>
                <a:cubicBezTo>
                  <a:pt x="32" y="386"/>
                  <a:pt x="32" y="386"/>
                  <a:pt x="32" y="386"/>
                </a:cubicBezTo>
                <a:cubicBezTo>
                  <a:pt x="32" y="385"/>
                  <a:pt x="32" y="385"/>
                  <a:pt x="32" y="385"/>
                </a:cubicBezTo>
                <a:cubicBezTo>
                  <a:pt x="31" y="383"/>
                  <a:pt x="31" y="383"/>
                  <a:pt x="31" y="383"/>
                </a:cubicBezTo>
                <a:cubicBezTo>
                  <a:pt x="31" y="382"/>
                  <a:pt x="31" y="382"/>
                  <a:pt x="31" y="382"/>
                </a:cubicBezTo>
                <a:cubicBezTo>
                  <a:pt x="31" y="380"/>
                  <a:pt x="31" y="380"/>
                  <a:pt x="31" y="380"/>
                </a:cubicBezTo>
                <a:cubicBezTo>
                  <a:pt x="28" y="379"/>
                  <a:pt x="28" y="379"/>
                  <a:pt x="28" y="379"/>
                </a:cubicBezTo>
                <a:cubicBezTo>
                  <a:pt x="27" y="379"/>
                  <a:pt x="27" y="379"/>
                  <a:pt x="27" y="379"/>
                </a:cubicBezTo>
                <a:cubicBezTo>
                  <a:pt x="27" y="378"/>
                  <a:pt x="27" y="378"/>
                  <a:pt x="27" y="378"/>
                </a:cubicBezTo>
                <a:cubicBezTo>
                  <a:pt x="25" y="379"/>
                  <a:pt x="25" y="379"/>
                  <a:pt x="25" y="379"/>
                </a:cubicBezTo>
                <a:cubicBezTo>
                  <a:pt x="23" y="380"/>
                  <a:pt x="23" y="380"/>
                  <a:pt x="23" y="380"/>
                </a:cubicBezTo>
                <a:cubicBezTo>
                  <a:pt x="22" y="378"/>
                  <a:pt x="22" y="378"/>
                  <a:pt x="22" y="378"/>
                </a:cubicBezTo>
                <a:cubicBezTo>
                  <a:pt x="21" y="378"/>
                  <a:pt x="21" y="378"/>
                  <a:pt x="21" y="378"/>
                </a:cubicBezTo>
                <a:cubicBezTo>
                  <a:pt x="19" y="379"/>
                  <a:pt x="19" y="379"/>
                  <a:pt x="19" y="379"/>
                </a:cubicBezTo>
                <a:cubicBezTo>
                  <a:pt x="18" y="377"/>
                  <a:pt x="18" y="377"/>
                  <a:pt x="18" y="377"/>
                </a:cubicBezTo>
                <a:cubicBezTo>
                  <a:pt x="16" y="377"/>
                  <a:pt x="16" y="377"/>
                  <a:pt x="16" y="377"/>
                </a:cubicBezTo>
                <a:cubicBezTo>
                  <a:pt x="15" y="377"/>
                  <a:pt x="15" y="377"/>
                  <a:pt x="15" y="377"/>
                </a:cubicBezTo>
                <a:cubicBezTo>
                  <a:pt x="15" y="377"/>
                  <a:pt x="15" y="377"/>
                  <a:pt x="15" y="377"/>
                </a:cubicBezTo>
                <a:cubicBezTo>
                  <a:pt x="15" y="375"/>
                  <a:pt x="15" y="375"/>
                  <a:pt x="15" y="375"/>
                </a:cubicBezTo>
                <a:cubicBezTo>
                  <a:pt x="14" y="374"/>
                  <a:pt x="14" y="374"/>
                  <a:pt x="14" y="374"/>
                </a:cubicBezTo>
                <a:cubicBezTo>
                  <a:pt x="13" y="372"/>
                  <a:pt x="13" y="372"/>
                  <a:pt x="13" y="372"/>
                </a:cubicBezTo>
                <a:cubicBezTo>
                  <a:pt x="13" y="371"/>
                  <a:pt x="13" y="371"/>
                  <a:pt x="13" y="371"/>
                </a:cubicBezTo>
                <a:cubicBezTo>
                  <a:pt x="12" y="370"/>
                  <a:pt x="12" y="370"/>
                  <a:pt x="12" y="370"/>
                </a:cubicBezTo>
                <a:cubicBezTo>
                  <a:pt x="12" y="369"/>
                  <a:pt x="12" y="369"/>
                  <a:pt x="12" y="369"/>
                </a:cubicBezTo>
                <a:cubicBezTo>
                  <a:pt x="12" y="368"/>
                  <a:pt x="12" y="368"/>
                  <a:pt x="12" y="368"/>
                </a:cubicBezTo>
                <a:cubicBezTo>
                  <a:pt x="11" y="368"/>
                  <a:pt x="11" y="368"/>
                  <a:pt x="11" y="368"/>
                </a:cubicBezTo>
                <a:cubicBezTo>
                  <a:pt x="11" y="367"/>
                  <a:pt x="11" y="367"/>
                  <a:pt x="11" y="367"/>
                </a:cubicBezTo>
                <a:cubicBezTo>
                  <a:pt x="11" y="366"/>
                  <a:pt x="11" y="366"/>
                  <a:pt x="11" y="366"/>
                </a:cubicBezTo>
                <a:cubicBezTo>
                  <a:pt x="10" y="366"/>
                  <a:pt x="10" y="366"/>
                  <a:pt x="10" y="366"/>
                </a:cubicBezTo>
                <a:cubicBezTo>
                  <a:pt x="11" y="364"/>
                  <a:pt x="11" y="364"/>
                  <a:pt x="11" y="364"/>
                </a:cubicBezTo>
                <a:cubicBezTo>
                  <a:pt x="11" y="363"/>
                  <a:pt x="11" y="363"/>
                  <a:pt x="11" y="363"/>
                </a:cubicBezTo>
                <a:cubicBezTo>
                  <a:pt x="12" y="362"/>
                  <a:pt x="12" y="362"/>
                  <a:pt x="12" y="362"/>
                </a:cubicBezTo>
                <a:cubicBezTo>
                  <a:pt x="12" y="361"/>
                  <a:pt x="12" y="361"/>
                  <a:pt x="12" y="361"/>
                </a:cubicBezTo>
                <a:cubicBezTo>
                  <a:pt x="9" y="356"/>
                  <a:pt x="9" y="356"/>
                  <a:pt x="9" y="356"/>
                </a:cubicBezTo>
                <a:cubicBezTo>
                  <a:pt x="9" y="351"/>
                  <a:pt x="9" y="351"/>
                  <a:pt x="9" y="351"/>
                </a:cubicBezTo>
                <a:cubicBezTo>
                  <a:pt x="10" y="351"/>
                  <a:pt x="10" y="351"/>
                  <a:pt x="10" y="351"/>
                </a:cubicBezTo>
                <a:cubicBezTo>
                  <a:pt x="10" y="349"/>
                  <a:pt x="10" y="349"/>
                  <a:pt x="10" y="349"/>
                </a:cubicBezTo>
                <a:cubicBezTo>
                  <a:pt x="11" y="347"/>
                  <a:pt x="11" y="347"/>
                  <a:pt x="11" y="347"/>
                </a:cubicBezTo>
                <a:cubicBezTo>
                  <a:pt x="12" y="347"/>
                  <a:pt x="12" y="347"/>
                  <a:pt x="12" y="347"/>
                </a:cubicBezTo>
                <a:cubicBezTo>
                  <a:pt x="12" y="347"/>
                  <a:pt x="12" y="347"/>
                  <a:pt x="12" y="347"/>
                </a:cubicBezTo>
                <a:cubicBezTo>
                  <a:pt x="11" y="346"/>
                  <a:pt x="11" y="346"/>
                  <a:pt x="11" y="346"/>
                </a:cubicBezTo>
                <a:cubicBezTo>
                  <a:pt x="11" y="346"/>
                  <a:pt x="11" y="346"/>
                  <a:pt x="11" y="346"/>
                </a:cubicBezTo>
                <a:cubicBezTo>
                  <a:pt x="11" y="344"/>
                  <a:pt x="11" y="344"/>
                  <a:pt x="11" y="344"/>
                </a:cubicBezTo>
                <a:cubicBezTo>
                  <a:pt x="11" y="343"/>
                  <a:pt x="11" y="343"/>
                  <a:pt x="11" y="343"/>
                </a:cubicBezTo>
                <a:cubicBezTo>
                  <a:pt x="11" y="343"/>
                  <a:pt x="11" y="343"/>
                  <a:pt x="11" y="343"/>
                </a:cubicBezTo>
                <a:cubicBezTo>
                  <a:pt x="11" y="343"/>
                  <a:pt x="11" y="343"/>
                  <a:pt x="11" y="343"/>
                </a:cubicBezTo>
                <a:cubicBezTo>
                  <a:pt x="12" y="344"/>
                  <a:pt x="12" y="344"/>
                  <a:pt x="12" y="344"/>
                </a:cubicBezTo>
                <a:cubicBezTo>
                  <a:pt x="13" y="343"/>
                  <a:pt x="13" y="343"/>
                  <a:pt x="13" y="343"/>
                </a:cubicBezTo>
                <a:cubicBezTo>
                  <a:pt x="13" y="342"/>
                  <a:pt x="13" y="342"/>
                  <a:pt x="13" y="342"/>
                </a:cubicBezTo>
                <a:cubicBezTo>
                  <a:pt x="14" y="341"/>
                  <a:pt x="14" y="341"/>
                  <a:pt x="14" y="341"/>
                </a:cubicBezTo>
                <a:cubicBezTo>
                  <a:pt x="15" y="342"/>
                  <a:pt x="15" y="342"/>
                  <a:pt x="15" y="342"/>
                </a:cubicBezTo>
                <a:cubicBezTo>
                  <a:pt x="16" y="341"/>
                  <a:pt x="16" y="341"/>
                  <a:pt x="16" y="341"/>
                </a:cubicBezTo>
                <a:cubicBezTo>
                  <a:pt x="17" y="340"/>
                  <a:pt x="17" y="340"/>
                  <a:pt x="17" y="340"/>
                </a:cubicBezTo>
                <a:cubicBezTo>
                  <a:pt x="17" y="340"/>
                  <a:pt x="17" y="340"/>
                  <a:pt x="17" y="340"/>
                </a:cubicBezTo>
                <a:cubicBezTo>
                  <a:pt x="19" y="340"/>
                  <a:pt x="19" y="340"/>
                  <a:pt x="19" y="340"/>
                </a:cubicBezTo>
                <a:cubicBezTo>
                  <a:pt x="20" y="339"/>
                  <a:pt x="20" y="339"/>
                  <a:pt x="20" y="339"/>
                </a:cubicBezTo>
                <a:cubicBezTo>
                  <a:pt x="19" y="338"/>
                  <a:pt x="19" y="338"/>
                  <a:pt x="19" y="338"/>
                </a:cubicBezTo>
                <a:cubicBezTo>
                  <a:pt x="18" y="338"/>
                  <a:pt x="18" y="338"/>
                  <a:pt x="18" y="338"/>
                </a:cubicBezTo>
                <a:cubicBezTo>
                  <a:pt x="17" y="338"/>
                  <a:pt x="17" y="338"/>
                  <a:pt x="17" y="338"/>
                </a:cubicBezTo>
                <a:cubicBezTo>
                  <a:pt x="16" y="338"/>
                  <a:pt x="16" y="338"/>
                  <a:pt x="16" y="338"/>
                </a:cubicBezTo>
                <a:cubicBezTo>
                  <a:pt x="15" y="337"/>
                  <a:pt x="15" y="337"/>
                  <a:pt x="15" y="337"/>
                </a:cubicBezTo>
                <a:cubicBezTo>
                  <a:pt x="14" y="337"/>
                  <a:pt x="14" y="337"/>
                  <a:pt x="14" y="337"/>
                </a:cubicBezTo>
                <a:cubicBezTo>
                  <a:pt x="12" y="335"/>
                  <a:pt x="12" y="335"/>
                  <a:pt x="12" y="335"/>
                </a:cubicBezTo>
                <a:cubicBezTo>
                  <a:pt x="12" y="334"/>
                  <a:pt x="12" y="334"/>
                  <a:pt x="12" y="334"/>
                </a:cubicBezTo>
                <a:cubicBezTo>
                  <a:pt x="14" y="335"/>
                  <a:pt x="14" y="335"/>
                  <a:pt x="14" y="335"/>
                </a:cubicBezTo>
                <a:cubicBezTo>
                  <a:pt x="14" y="334"/>
                  <a:pt x="14" y="334"/>
                  <a:pt x="14" y="334"/>
                </a:cubicBezTo>
                <a:cubicBezTo>
                  <a:pt x="13" y="334"/>
                  <a:pt x="13" y="334"/>
                  <a:pt x="13" y="334"/>
                </a:cubicBezTo>
                <a:cubicBezTo>
                  <a:pt x="14" y="333"/>
                  <a:pt x="14" y="333"/>
                  <a:pt x="14" y="333"/>
                </a:cubicBezTo>
                <a:cubicBezTo>
                  <a:pt x="13" y="333"/>
                  <a:pt x="13" y="333"/>
                  <a:pt x="13" y="333"/>
                </a:cubicBezTo>
                <a:cubicBezTo>
                  <a:pt x="13" y="333"/>
                  <a:pt x="11" y="334"/>
                  <a:pt x="11" y="334"/>
                </a:cubicBezTo>
                <a:cubicBezTo>
                  <a:pt x="11" y="334"/>
                  <a:pt x="11" y="334"/>
                  <a:pt x="11" y="334"/>
                </a:cubicBezTo>
                <a:cubicBezTo>
                  <a:pt x="11" y="334"/>
                  <a:pt x="11" y="334"/>
                  <a:pt x="11" y="334"/>
                </a:cubicBezTo>
                <a:cubicBezTo>
                  <a:pt x="11" y="333"/>
                  <a:pt x="11" y="333"/>
                  <a:pt x="11" y="333"/>
                </a:cubicBezTo>
                <a:cubicBezTo>
                  <a:pt x="14" y="330"/>
                  <a:pt x="14" y="330"/>
                  <a:pt x="14" y="330"/>
                </a:cubicBezTo>
                <a:cubicBezTo>
                  <a:pt x="15" y="329"/>
                  <a:pt x="15" y="329"/>
                  <a:pt x="15" y="329"/>
                </a:cubicBezTo>
                <a:cubicBezTo>
                  <a:pt x="17" y="326"/>
                  <a:pt x="17" y="326"/>
                  <a:pt x="17" y="326"/>
                </a:cubicBezTo>
                <a:cubicBezTo>
                  <a:pt x="18" y="323"/>
                  <a:pt x="18" y="323"/>
                  <a:pt x="18" y="323"/>
                </a:cubicBezTo>
                <a:cubicBezTo>
                  <a:pt x="20" y="320"/>
                  <a:pt x="20" y="320"/>
                  <a:pt x="20" y="320"/>
                </a:cubicBezTo>
                <a:cubicBezTo>
                  <a:pt x="22" y="316"/>
                  <a:pt x="22" y="316"/>
                  <a:pt x="22" y="316"/>
                </a:cubicBezTo>
                <a:cubicBezTo>
                  <a:pt x="24" y="312"/>
                  <a:pt x="24" y="312"/>
                  <a:pt x="24" y="312"/>
                </a:cubicBezTo>
                <a:cubicBezTo>
                  <a:pt x="24" y="310"/>
                  <a:pt x="24" y="310"/>
                  <a:pt x="24" y="310"/>
                </a:cubicBezTo>
                <a:cubicBezTo>
                  <a:pt x="21" y="307"/>
                  <a:pt x="21" y="307"/>
                  <a:pt x="21" y="307"/>
                </a:cubicBezTo>
                <a:cubicBezTo>
                  <a:pt x="19" y="306"/>
                  <a:pt x="19" y="306"/>
                  <a:pt x="19" y="306"/>
                </a:cubicBezTo>
                <a:cubicBezTo>
                  <a:pt x="16" y="302"/>
                  <a:pt x="16" y="302"/>
                  <a:pt x="16" y="302"/>
                </a:cubicBezTo>
                <a:cubicBezTo>
                  <a:pt x="17" y="300"/>
                  <a:pt x="17" y="300"/>
                  <a:pt x="17" y="300"/>
                </a:cubicBezTo>
                <a:cubicBezTo>
                  <a:pt x="18" y="298"/>
                  <a:pt x="18" y="298"/>
                  <a:pt x="18" y="298"/>
                </a:cubicBezTo>
                <a:cubicBezTo>
                  <a:pt x="18" y="297"/>
                  <a:pt x="18" y="297"/>
                  <a:pt x="18" y="297"/>
                </a:cubicBezTo>
                <a:cubicBezTo>
                  <a:pt x="16" y="295"/>
                  <a:pt x="16" y="295"/>
                  <a:pt x="16" y="295"/>
                </a:cubicBezTo>
                <a:cubicBezTo>
                  <a:pt x="15" y="294"/>
                  <a:pt x="15" y="294"/>
                  <a:pt x="15" y="294"/>
                </a:cubicBezTo>
                <a:cubicBezTo>
                  <a:pt x="15" y="292"/>
                  <a:pt x="15" y="292"/>
                  <a:pt x="15" y="292"/>
                </a:cubicBezTo>
                <a:cubicBezTo>
                  <a:pt x="16" y="291"/>
                  <a:pt x="16" y="291"/>
                  <a:pt x="16" y="291"/>
                </a:cubicBezTo>
                <a:cubicBezTo>
                  <a:pt x="15" y="290"/>
                  <a:pt x="15" y="290"/>
                  <a:pt x="15" y="290"/>
                </a:cubicBezTo>
                <a:cubicBezTo>
                  <a:pt x="14" y="289"/>
                  <a:pt x="14" y="289"/>
                  <a:pt x="14" y="289"/>
                </a:cubicBezTo>
                <a:cubicBezTo>
                  <a:pt x="13" y="288"/>
                  <a:pt x="13" y="288"/>
                  <a:pt x="13" y="288"/>
                </a:cubicBezTo>
                <a:cubicBezTo>
                  <a:pt x="13" y="286"/>
                  <a:pt x="13" y="286"/>
                  <a:pt x="13" y="286"/>
                </a:cubicBezTo>
                <a:cubicBezTo>
                  <a:pt x="14" y="285"/>
                  <a:pt x="14" y="285"/>
                  <a:pt x="14" y="285"/>
                </a:cubicBezTo>
                <a:cubicBezTo>
                  <a:pt x="13" y="285"/>
                  <a:pt x="13" y="285"/>
                  <a:pt x="13" y="285"/>
                </a:cubicBezTo>
                <a:cubicBezTo>
                  <a:pt x="13" y="284"/>
                  <a:pt x="13" y="284"/>
                  <a:pt x="13" y="284"/>
                </a:cubicBezTo>
                <a:cubicBezTo>
                  <a:pt x="13" y="280"/>
                  <a:pt x="13" y="280"/>
                  <a:pt x="13" y="280"/>
                </a:cubicBezTo>
                <a:cubicBezTo>
                  <a:pt x="14" y="279"/>
                  <a:pt x="14" y="279"/>
                  <a:pt x="14" y="279"/>
                </a:cubicBezTo>
                <a:cubicBezTo>
                  <a:pt x="11" y="273"/>
                  <a:pt x="11" y="273"/>
                  <a:pt x="11" y="273"/>
                </a:cubicBezTo>
                <a:cubicBezTo>
                  <a:pt x="9" y="268"/>
                  <a:pt x="9" y="268"/>
                  <a:pt x="9" y="268"/>
                </a:cubicBezTo>
                <a:cubicBezTo>
                  <a:pt x="8" y="266"/>
                  <a:pt x="8" y="266"/>
                  <a:pt x="8" y="266"/>
                </a:cubicBezTo>
                <a:cubicBezTo>
                  <a:pt x="7" y="265"/>
                  <a:pt x="7" y="265"/>
                  <a:pt x="7" y="265"/>
                </a:cubicBezTo>
                <a:cubicBezTo>
                  <a:pt x="8" y="262"/>
                  <a:pt x="8" y="262"/>
                  <a:pt x="8" y="262"/>
                </a:cubicBezTo>
                <a:cubicBezTo>
                  <a:pt x="9" y="260"/>
                  <a:pt x="9" y="260"/>
                  <a:pt x="9" y="260"/>
                </a:cubicBezTo>
                <a:cubicBezTo>
                  <a:pt x="9" y="258"/>
                  <a:pt x="9" y="258"/>
                  <a:pt x="9" y="258"/>
                </a:cubicBezTo>
                <a:cubicBezTo>
                  <a:pt x="9" y="257"/>
                  <a:pt x="9" y="257"/>
                  <a:pt x="9" y="257"/>
                </a:cubicBezTo>
                <a:cubicBezTo>
                  <a:pt x="6" y="255"/>
                  <a:pt x="6" y="255"/>
                  <a:pt x="6" y="255"/>
                </a:cubicBezTo>
                <a:cubicBezTo>
                  <a:pt x="5" y="254"/>
                  <a:pt x="5" y="254"/>
                  <a:pt x="5" y="254"/>
                </a:cubicBezTo>
                <a:cubicBezTo>
                  <a:pt x="4" y="253"/>
                  <a:pt x="4" y="253"/>
                  <a:pt x="4" y="253"/>
                </a:cubicBezTo>
                <a:cubicBezTo>
                  <a:pt x="3" y="252"/>
                  <a:pt x="3" y="252"/>
                  <a:pt x="3" y="252"/>
                </a:cubicBezTo>
                <a:cubicBezTo>
                  <a:pt x="2" y="252"/>
                  <a:pt x="2" y="252"/>
                  <a:pt x="2" y="252"/>
                </a:cubicBezTo>
                <a:cubicBezTo>
                  <a:pt x="1" y="249"/>
                  <a:pt x="1" y="249"/>
                  <a:pt x="1" y="249"/>
                </a:cubicBezTo>
                <a:cubicBezTo>
                  <a:pt x="0" y="248"/>
                  <a:pt x="0" y="248"/>
                  <a:pt x="0" y="248"/>
                </a:cubicBezTo>
                <a:cubicBezTo>
                  <a:pt x="0" y="246"/>
                  <a:pt x="0" y="246"/>
                  <a:pt x="0" y="246"/>
                </a:cubicBezTo>
                <a:cubicBezTo>
                  <a:pt x="1" y="244"/>
                  <a:pt x="1" y="244"/>
                  <a:pt x="1" y="244"/>
                </a:cubicBezTo>
                <a:cubicBezTo>
                  <a:pt x="0" y="244"/>
                  <a:pt x="0" y="244"/>
                  <a:pt x="0" y="244"/>
                </a:cubicBezTo>
                <a:cubicBezTo>
                  <a:pt x="1" y="243"/>
                  <a:pt x="1" y="243"/>
                  <a:pt x="1" y="243"/>
                </a:cubicBezTo>
                <a:cubicBezTo>
                  <a:pt x="2" y="242"/>
                  <a:pt x="2" y="242"/>
                  <a:pt x="2" y="242"/>
                </a:cubicBezTo>
                <a:cubicBezTo>
                  <a:pt x="2" y="242"/>
                  <a:pt x="2" y="242"/>
                  <a:pt x="2" y="242"/>
                </a:cubicBezTo>
                <a:cubicBezTo>
                  <a:pt x="3" y="242"/>
                  <a:pt x="3" y="242"/>
                  <a:pt x="3" y="242"/>
                </a:cubicBezTo>
                <a:cubicBezTo>
                  <a:pt x="3" y="240"/>
                  <a:pt x="3" y="240"/>
                  <a:pt x="3" y="240"/>
                </a:cubicBezTo>
                <a:cubicBezTo>
                  <a:pt x="5" y="238"/>
                  <a:pt x="5" y="238"/>
                  <a:pt x="5" y="238"/>
                </a:cubicBezTo>
                <a:cubicBezTo>
                  <a:pt x="6" y="238"/>
                  <a:pt x="6" y="238"/>
                  <a:pt x="6" y="238"/>
                </a:cubicBezTo>
                <a:cubicBezTo>
                  <a:pt x="7" y="237"/>
                  <a:pt x="7" y="237"/>
                  <a:pt x="7" y="237"/>
                </a:cubicBezTo>
                <a:cubicBezTo>
                  <a:pt x="7" y="235"/>
                  <a:pt x="7" y="235"/>
                  <a:pt x="7" y="235"/>
                </a:cubicBezTo>
                <a:cubicBezTo>
                  <a:pt x="8" y="235"/>
                  <a:pt x="8" y="235"/>
                  <a:pt x="8" y="235"/>
                </a:cubicBezTo>
                <a:cubicBezTo>
                  <a:pt x="9" y="235"/>
                  <a:pt x="9" y="235"/>
                  <a:pt x="9" y="235"/>
                </a:cubicBezTo>
                <a:cubicBezTo>
                  <a:pt x="10" y="234"/>
                  <a:pt x="10" y="234"/>
                  <a:pt x="10" y="234"/>
                </a:cubicBezTo>
                <a:cubicBezTo>
                  <a:pt x="10" y="233"/>
                  <a:pt x="10" y="233"/>
                  <a:pt x="10" y="233"/>
                </a:cubicBezTo>
                <a:cubicBezTo>
                  <a:pt x="10" y="233"/>
                  <a:pt x="10" y="233"/>
                  <a:pt x="10" y="233"/>
                </a:cubicBezTo>
                <a:cubicBezTo>
                  <a:pt x="11" y="233"/>
                  <a:pt x="11" y="233"/>
                  <a:pt x="11" y="233"/>
                </a:cubicBezTo>
                <a:cubicBezTo>
                  <a:pt x="12" y="234"/>
                  <a:pt x="12" y="234"/>
                  <a:pt x="12" y="234"/>
                </a:cubicBezTo>
                <a:cubicBezTo>
                  <a:pt x="12" y="235"/>
                  <a:pt x="12" y="235"/>
                  <a:pt x="12" y="235"/>
                </a:cubicBezTo>
                <a:cubicBezTo>
                  <a:pt x="13" y="236"/>
                  <a:pt x="13" y="236"/>
                  <a:pt x="13" y="236"/>
                </a:cubicBezTo>
                <a:cubicBezTo>
                  <a:pt x="13" y="234"/>
                  <a:pt x="13" y="234"/>
                  <a:pt x="13" y="234"/>
                </a:cubicBezTo>
                <a:cubicBezTo>
                  <a:pt x="13" y="233"/>
                  <a:pt x="13" y="233"/>
                  <a:pt x="13" y="233"/>
                </a:cubicBezTo>
                <a:cubicBezTo>
                  <a:pt x="14" y="233"/>
                  <a:pt x="14" y="233"/>
                  <a:pt x="14" y="233"/>
                </a:cubicBezTo>
                <a:cubicBezTo>
                  <a:pt x="15" y="233"/>
                  <a:pt x="15" y="233"/>
                  <a:pt x="15" y="233"/>
                </a:cubicBezTo>
                <a:cubicBezTo>
                  <a:pt x="13" y="232"/>
                  <a:pt x="13" y="232"/>
                  <a:pt x="13" y="232"/>
                </a:cubicBezTo>
                <a:cubicBezTo>
                  <a:pt x="14" y="232"/>
                  <a:pt x="14" y="232"/>
                  <a:pt x="14" y="232"/>
                </a:cubicBezTo>
                <a:cubicBezTo>
                  <a:pt x="14" y="232"/>
                  <a:pt x="14" y="232"/>
                  <a:pt x="14" y="232"/>
                </a:cubicBezTo>
                <a:cubicBezTo>
                  <a:pt x="15" y="232"/>
                  <a:pt x="15" y="232"/>
                  <a:pt x="15" y="232"/>
                </a:cubicBezTo>
                <a:cubicBezTo>
                  <a:pt x="15" y="232"/>
                  <a:pt x="15" y="232"/>
                  <a:pt x="15" y="232"/>
                </a:cubicBezTo>
                <a:cubicBezTo>
                  <a:pt x="15" y="231"/>
                  <a:pt x="15" y="231"/>
                  <a:pt x="15" y="231"/>
                </a:cubicBezTo>
                <a:cubicBezTo>
                  <a:pt x="14" y="231"/>
                  <a:pt x="14" y="231"/>
                  <a:pt x="14" y="231"/>
                </a:cubicBezTo>
                <a:cubicBezTo>
                  <a:pt x="14" y="230"/>
                  <a:pt x="14" y="230"/>
                  <a:pt x="14" y="230"/>
                </a:cubicBezTo>
                <a:cubicBezTo>
                  <a:pt x="16" y="230"/>
                  <a:pt x="16" y="230"/>
                  <a:pt x="16" y="230"/>
                </a:cubicBezTo>
                <a:cubicBezTo>
                  <a:pt x="17" y="231"/>
                  <a:pt x="17" y="231"/>
                  <a:pt x="17" y="231"/>
                </a:cubicBezTo>
                <a:cubicBezTo>
                  <a:pt x="18" y="232"/>
                  <a:pt x="18" y="232"/>
                  <a:pt x="18" y="232"/>
                </a:cubicBezTo>
                <a:cubicBezTo>
                  <a:pt x="18" y="232"/>
                  <a:pt x="18" y="232"/>
                  <a:pt x="18" y="232"/>
                </a:cubicBezTo>
                <a:cubicBezTo>
                  <a:pt x="19" y="232"/>
                  <a:pt x="19" y="232"/>
                  <a:pt x="19" y="232"/>
                </a:cubicBezTo>
                <a:cubicBezTo>
                  <a:pt x="20" y="232"/>
                  <a:pt x="20" y="232"/>
                  <a:pt x="20" y="232"/>
                </a:cubicBezTo>
                <a:cubicBezTo>
                  <a:pt x="20" y="233"/>
                  <a:pt x="20" y="233"/>
                  <a:pt x="20" y="233"/>
                </a:cubicBezTo>
                <a:cubicBezTo>
                  <a:pt x="21" y="233"/>
                  <a:pt x="21" y="233"/>
                  <a:pt x="21" y="233"/>
                </a:cubicBezTo>
                <a:cubicBezTo>
                  <a:pt x="21" y="234"/>
                  <a:pt x="21" y="234"/>
                  <a:pt x="21" y="234"/>
                </a:cubicBezTo>
                <a:cubicBezTo>
                  <a:pt x="20" y="235"/>
                  <a:pt x="20" y="235"/>
                  <a:pt x="20" y="235"/>
                </a:cubicBezTo>
                <a:cubicBezTo>
                  <a:pt x="19" y="234"/>
                  <a:pt x="19" y="234"/>
                  <a:pt x="19" y="234"/>
                </a:cubicBezTo>
                <a:cubicBezTo>
                  <a:pt x="17" y="235"/>
                  <a:pt x="17" y="235"/>
                  <a:pt x="17" y="235"/>
                </a:cubicBezTo>
                <a:cubicBezTo>
                  <a:pt x="16" y="234"/>
                  <a:pt x="16" y="234"/>
                  <a:pt x="16" y="234"/>
                </a:cubicBezTo>
                <a:cubicBezTo>
                  <a:pt x="16" y="233"/>
                  <a:pt x="16" y="233"/>
                  <a:pt x="16" y="233"/>
                </a:cubicBezTo>
                <a:cubicBezTo>
                  <a:pt x="16" y="234"/>
                  <a:pt x="16" y="234"/>
                  <a:pt x="16" y="234"/>
                </a:cubicBezTo>
                <a:cubicBezTo>
                  <a:pt x="16" y="235"/>
                  <a:pt x="16" y="235"/>
                  <a:pt x="16" y="235"/>
                </a:cubicBezTo>
                <a:cubicBezTo>
                  <a:pt x="16" y="236"/>
                  <a:pt x="16" y="236"/>
                  <a:pt x="16" y="236"/>
                </a:cubicBezTo>
                <a:cubicBezTo>
                  <a:pt x="17" y="235"/>
                  <a:pt x="17" y="235"/>
                  <a:pt x="17" y="235"/>
                </a:cubicBezTo>
                <a:cubicBezTo>
                  <a:pt x="17" y="236"/>
                  <a:pt x="17" y="236"/>
                  <a:pt x="17" y="236"/>
                </a:cubicBezTo>
                <a:cubicBezTo>
                  <a:pt x="18" y="237"/>
                  <a:pt x="18" y="237"/>
                  <a:pt x="18" y="237"/>
                </a:cubicBezTo>
                <a:cubicBezTo>
                  <a:pt x="19" y="236"/>
                  <a:pt x="19" y="236"/>
                  <a:pt x="19" y="236"/>
                </a:cubicBezTo>
                <a:cubicBezTo>
                  <a:pt x="20" y="236"/>
                  <a:pt x="20" y="236"/>
                  <a:pt x="20" y="236"/>
                </a:cubicBezTo>
                <a:cubicBezTo>
                  <a:pt x="20" y="237"/>
                  <a:pt x="20" y="237"/>
                  <a:pt x="20" y="237"/>
                </a:cubicBezTo>
                <a:cubicBezTo>
                  <a:pt x="20" y="237"/>
                  <a:pt x="20" y="237"/>
                  <a:pt x="20" y="237"/>
                </a:cubicBezTo>
                <a:cubicBezTo>
                  <a:pt x="21" y="236"/>
                  <a:pt x="21" y="236"/>
                  <a:pt x="21" y="236"/>
                </a:cubicBezTo>
                <a:cubicBezTo>
                  <a:pt x="21" y="237"/>
                  <a:pt x="21" y="237"/>
                  <a:pt x="21" y="237"/>
                </a:cubicBezTo>
                <a:cubicBezTo>
                  <a:pt x="21" y="237"/>
                  <a:pt x="21" y="237"/>
                  <a:pt x="21" y="237"/>
                </a:cubicBezTo>
                <a:cubicBezTo>
                  <a:pt x="21" y="238"/>
                  <a:pt x="21" y="238"/>
                  <a:pt x="21" y="238"/>
                </a:cubicBezTo>
                <a:cubicBezTo>
                  <a:pt x="22" y="237"/>
                  <a:pt x="22" y="237"/>
                  <a:pt x="22" y="237"/>
                </a:cubicBezTo>
                <a:cubicBezTo>
                  <a:pt x="22" y="236"/>
                  <a:pt x="22" y="236"/>
                  <a:pt x="22" y="236"/>
                </a:cubicBezTo>
                <a:cubicBezTo>
                  <a:pt x="23" y="236"/>
                  <a:pt x="23" y="236"/>
                  <a:pt x="23" y="236"/>
                </a:cubicBezTo>
                <a:cubicBezTo>
                  <a:pt x="23" y="237"/>
                  <a:pt x="23" y="237"/>
                  <a:pt x="23" y="237"/>
                </a:cubicBezTo>
                <a:cubicBezTo>
                  <a:pt x="22" y="238"/>
                  <a:pt x="22" y="238"/>
                  <a:pt x="22" y="238"/>
                </a:cubicBezTo>
                <a:cubicBezTo>
                  <a:pt x="23" y="238"/>
                  <a:pt x="23" y="238"/>
                  <a:pt x="23" y="238"/>
                </a:cubicBezTo>
                <a:cubicBezTo>
                  <a:pt x="24" y="238"/>
                  <a:pt x="24" y="238"/>
                  <a:pt x="24" y="238"/>
                </a:cubicBezTo>
                <a:cubicBezTo>
                  <a:pt x="23" y="239"/>
                  <a:pt x="23" y="239"/>
                  <a:pt x="23" y="239"/>
                </a:cubicBezTo>
                <a:cubicBezTo>
                  <a:pt x="22" y="240"/>
                  <a:pt x="22" y="240"/>
                  <a:pt x="22" y="240"/>
                </a:cubicBezTo>
                <a:cubicBezTo>
                  <a:pt x="24" y="240"/>
                  <a:pt x="24" y="240"/>
                  <a:pt x="24" y="240"/>
                </a:cubicBezTo>
                <a:cubicBezTo>
                  <a:pt x="24" y="238"/>
                  <a:pt x="24" y="238"/>
                  <a:pt x="24" y="238"/>
                </a:cubicBezTo>
                <a:cubicBezTo>
                  <a:pt x="24" y="237"/>
                  <a:pt x="24" y="237"/>
                  <a:pt x="24" y="237"/>
                </a:cubicBezTo>
                <a:cubicBezTo>
                  <a:pt x="25" y="237"/>
                  <a:pt x="25" y="237"/>
                  <a:pt x="25" y="237"/>
                </a:cubicBezTo>
                <a:cubicBezTo>
                  <a:pt x="26" y="237"/>
                  <a:pt x="26" y="237"/>
                  <a:pt x="26" y="237"/>
                </a:cubicBezTo>
                <a:cubicBezTo>
                  <a:pt x="27" y="237"/>
                  <a:pt x="27" y="237"/>
                  <a:pt x="27" y="237"/>
                </a:cubicBezTo>
                <a:cubicBezTo>
                  <a:pt x="27" y="237"/>
                  <a:pt x="27" y="237"/>
                  <a:pt x="27" y="237"/>
                </a:cubicBezTo>
                <a:cubicBezTo>
                  <a:pt x="26" y="236"/>
                  <a:pt x="26" y="236"/>
                  <a:pt x="26" y="236"/>
                </a:cubicBezTo>
                <a:cubicBezTo>
                  <a:pt x="26" y="236"/>
                  <a:pt x="26" y="236"/>
                  <a:pt x="26" y="236"/>
                </a:cubicBezTo>
                <a:cubicBezTo>
                  <a:pt x="28" y="236"/>
                  <a:pt x="28" y="236"/>
                  <a:pt x="28" y="236"/>
                </a:cubicBezTo>
                <a:cubicBezTo>
                  <a:pt x="28" y="237"/>
                  <a:pt x="28" y="237"/>
                  <a:pt x="28" y="237"/>
                </a:cubicBezTo>
                <a:cubicBezTo>
                  <a:pt x="30" y="237"/>
                  <a:pt x="30" y="237"/>
                  <a:pt x="30" y="237"/>
                </a:cubicBezTo>
                <a:cubicBezTo>
                  <a:pt x="31" y="238"/>
                  <a:pt x="31" y="238"/>
                  <a:pt x="31" y="238"/>
                </a:cubicBezTo>
                <a:cubicBezTo>
                  <a:pt x="32" y="237"/>
                  <a:pt x="32" y="237"/>
                  <a:pt x="32" y="237"/>
                </a:cubicBezTo>
                <a:cubicBezTo>
                  <a:pt x="32" y="237"/>
                  <a:pt x="32" y="237"/>
                  <a:pt x="32" y="237"/>
                </a:cubicBezTo>
                <a:cubicBezTo>
                  <a:pt x="34" y="237"/>
                  <a:pt x="34" y="237"/>
                  <a:pt x="34" y="237"/>
                </a:cubicBezTo>
                <a:cubicBezTo>
                  <a:pt x="35" y="238"/>
                  <a:pt x="35" y="238"/>
                  <a:pt x="35" y="238"/>
                </a:cubicBezTo>
                <a:cubicBezTo>
                  <a:pt x="35" y="237"/>
                  <a:pt x="35" y="237"/>
                  <a:pt x="35" y="237"/>
                </a:cubicBezTo>
                <a:cubicBezTo>
                  <a:pt x="37" y="238"/>
                  <a:pt x="37" y="238"/>
                  <a:pt x="37" y="238"/>
                </a:cubicBezTo>
                <a:cubicBezTo>
                  <a:pt x="43" y="241"/>
                  <a:pt x="43" y="241"/>
                  <a:pt x="43" y="241"/>
                </a:cubicBezTo>
                <a:cubicBezTo>
                  <a:pt x="47" y="244"/>
                  <a:pt x="47" y="244"/>
                  <a:pt x="47" y="244"/>
                </a:cubicBezTo>
                <a:cubicBezTo>
                  <a:pt x="48" y="245"/>
                  <a:pt x="48" y="245"/>
                  <a:pt x="48" y="245"/>
                </a:cubicBezTo>
                <a:cubicBezTo>
                  <a:pt x="50" y="246"/>
                  <a:pt x="50" y="246"/>
                  <a:pt x="50" y="246"/>
                </a:cubicBezTo>
                <a:cubicBezTo>
                  <a:pt x="51" y="248"/>
                  <a:pt x="51" y="248"/>
                  <a:pt x="51" y="248"/>
                </a:cubicBezTo>
                <a:cubicBezTo>
                  <a:pt x="52" y="248"/>
                  <a:pt x="52" y="248"/>
                  <a:pt x="52" y="248"/>
                </a:cubicBezTo>
                <a:cubicBezTo>
                  <a:pt x="52" y="247"/>
                  <a:pt x="52" y="247"/>
                  <a:pt x="52" y="247"/>
                </a:cubicBezTo>
                <a:cubicBezTo>
                  <a:pt x="52" y="247"/>
                  <a:pt x="52" y="247"/>
                  <a:pt x="52" y="247"/>
                </a:cubicBezTo>
                <a:cubicBezTo>
                  <a:pt x="52" y="247"/>
                  <a:pt x="52" y="247"/>
                  <a:pt x="52" y="247"/>
                </a:cubicBezTo>
                <a:cubicBezTo>
                  <a:pt x="54" y="248"/>
                  <a:pt x="54" y="248"/>
                  <a:pt x="54" y="248"/>
                </a:cubicBezTo>
                <a:cubicBezTo>
                  <a:pt x="55" y="248"/>
                  <a:pt x="55" y="248"/>
                  <a:pt x="55" y="248"/>
                </a:cubicBezTo>
                <a:cubicBezTo>
                  <a:pt x="57" y="250"/>
                  <a:pt x="57" y="250"/>
                  <a:pt x="57" y="250"/>
                </a:cubicBezTo>
                <a:cubicBezTo>
                  <a:pt x="58" y="250"/>
                  <a:pt x="58" y="250"/>
                  <a:pt x="58" y="250"/>
                </a:cubicBezTo>
                <a:cubicBezTo>
                  <a:pt x="57" y="248"/>
                  <a:pt x="57" y="248"/>
                  <a:pt x="57" y="248"/>
                </a:cubicBezTo>
                <a:cubicBezTo>
                  <a:pt x="56" y="247"/>
                  <a:pt x="56" y="247"/>
                  <a:pt x="56" y="247"/>
                </a:cubicBezTo>
                <a:cubicBezTo>
                  <a:pt x="57" y="247"/>
                  <a:pt x="57" y="247"/>
                  <a:pt x="57" y="247"/>
                </a:cubicBezTo>
                <a:cubicBezTo>
                  <a:pt x="58" y="249"/>
                  <a:pt x="58" y="249"/>
                  <a:pt x="58" y="249"/>
                </a:cubicBezTo>
                <a:cubicBezTo>
                  <a:pt x="58" y="250"/>
                  <a:pt x="58" y="250"/>
                  <a:pt x="58" y="250"/>
                </a:cubicBezTo>
                <a:cubicBezTo>
                  <a:pt x="61" y="252"/>
                  <a:pt x="61" y="252"/>
                  <a:pt x="61" y="252"/>
                </a:cubicBezTo>
                <a:cubicBezTo>
                  <a:pt x="61" y="253"/>
                  <a:pt x="61" y="253"/>
                  <a:pt x="61" y="253"/>
                </a:cubicBezTo>
                <a:cubicBezTo>
                  <a:pt x="62" y="253"/>
                  <a:pt x="62" y="253"/>
                  <a:pt x="62" y="253"/>
                </a:cubicBezTo>
                <a:cubicBezTo>
                  <a:pt x="62" y="253"/>
                  <a:pt x="62" y="253"/>
                  <a:pt x="62" y="253"/>
                </a:cubicBezTo>
                <a:cubicBezTo>
                  <a:pt x="63" y="253"/>
                  <a:pt x="63" y="253"/>
                  <a:pt x="63" y="253"/>
                </a:cubicBezTo>
                <a:cubicBezTo>
                  <a:pt x="65" y="254"/>
                  <a:pt x="65" y="254"/>
                  <a:pt x="65" y="254"/>
                </a:cubicBezTo>
                <a:cubicBezTo>
                  <a:pt x="65" y="256"/>
                  <a:pt x="65" y="256"/>
                  <a:pt x="65" y="256"/>
                </a:cubicBezTo>
                <a:cubicBezTo>
                  <a:pt x="66" y="256"/>
                  <a:pt x="66" y="256"/>
                  <a:pt x="66" y="256"/>
                </a:cubicBezTo>
                <a:cubicBezTo>
                  <a:pt x="67" y="258"/>
                  <a:pt x="67" y="258"/>
                  <a:pt x="67" y="258"/>
                </a:cubicBezTo>
                <a:cubicBezTo>
                  <a:pt x="67" y="258"/>
                  <a:pt x="67" y="258"/>
                  <a:pt x="67" y="258"/>
                </a:cubicBezTo>
                <a:cubicBezTo>
                  <a:pt x="68" y="258"/>
                  <a:pt x="68" y="258"/>
                  <a:pt x="68" y="258"/>
                </a:cubicBezTo>
                <a:cubicBezTo>
                  <a:pt x="68" y="260"/>
                  <a:pt x="68" y="260"/>
                  <a:pt x="68" y="260"/>
                </a:cubicBezTo>
                <a:cubicBezTo>
                  <a:pt x="68" y="261"/>
                  <a:pt x="68" y="261"/>
                  <a:pt x="68" y="261"/>
                </a:cubicBezTo>
                <a:cubicBezTo>
                  <a:pt x="68" y="263"/>
                  <a:pt x="68" y="263"/>
                  <a:pt x="68" y="263"/>
                </a:cubicBezTo>
                <a:cubicBezTo>
                  <a:pt x="67" y="264"/>
                  <a:pt x="67" y="264"/>
                  <a:pt x="67" y="264"/>
                </a:cubicBezTo>
                <a:cubicBezTo>
                  <a:pt x="67" y="265"/>
                  <a:pt x="67" y="265"/>
                  <a:pt x="67" y="265"/>
                </a:cubicBezTo>
                <a:cubicBezTo>
                  <a:pt x="66" y="267"/>
                  <a:pt x="66" y="267"/>
                  <a:pt x="66" y="267"/>
                </a:cubicBezTo>
                <a:cubicBezTo>
                  <a:pt x="66" y="267"/>
                  <a:pt x="66" y="267"/>
                  <a:pt x="66" y="267"/>
                </a:cubicBezTo>
                <a:cubicBezTo>
                  <a:pt x="63" y="271"/>
                  <a:pt x="63" y="271"/>
                  <a:pt x="63" y="271"/>
                </a:cubicBezTo>
                <a:cubicBezTo>
                  <a:pt x="62" y="272"/>
                  <a:pt x="62" y="272"/>
                  <a:pt x="62" y="272"/>
                </a:cubicBezTo>
                <a:cubicBezTo>
                  <a:pt x="59" y="272"/>
                  <a:pt x="59" y="272"/>
                  <a:pt x="59" y="272"/>
                </a:cubicBezTo>
                <a:cubicBezTo>
                  <a:pt x="59" y="273"/>
                  <a:pt x="59" y="273"/>
                  <a:pt x="59" y="273"/>
                </a:cubicBezTo>
                <a:cubicBezTo>
                  <a:pt x="57" y="273"/>
                  <a:pt x="57" y="273"/>
                  <a:pt x="57" y="273"/>
                </a:cubicBezTo>
                <a:cubicBezTo>
                  <a:pt x="56" y="273"/>
                  <a:pt x="56" y="273"/>
                  <a:pt x="56" y="273"/>
                </a:cubicBezTo>
                <a:cubicBezTo>
                  <a:pt x="54" y="274"/>
                  <a:pt x="54" y="274"/>
                  <a:pt x="54" y="274"/>
                </a:cubicBezTo>
                <a:cubicBezTo>
                  <a:pt x="50" y="273"/>
                  <a:pt x="50" y="273"/>
                  <a:pt x="50" y="273"/>
                </a:cubicBezTo>
                <a:cubicBezTo>
                  <a:pt x="48" y="273"/>
                  <a:pt x="48" y="273"/>
                  <a:pt x="48" y="273"/>
                </a:cubicBezTo>
                <a:cubicBezTo>
                  <a:pt x="46" y="272"/>
                  <a:pt x="46" y="272"/>
                  <a:pt x="46" y="272"/>
                </a:cubicBezTo>
                <a:cubicBezTo>
                  <a:pt x="45" y="272"/>
                  <a:pt x="45" y="272"/>
                  <a:pt x="45" y="272"/>
                </a:cubicBezTo>
                <a:cubicBezTo>
                  <a:pt x="44" y="272"/>
                  <a:pt x="44" y="272"/>
                  <a:pt x="44" y="272"/>
                </a:cubicBezTo>
                <a:cubicBezTo>
                  <a:pt x="43" y="272"/>
                  <a:pt x="43" y="272"/>
                  <a:pt x="43" y="272"/>
                </a:cubicBezTo>
                <a:cubicBezTo>
                  <a:pt x="42" y="271"/>
                  <a:pt x="42" y="271"/>
                  <a:pt x="42" y="271"/>
                </a:cubicBezTo>
                <a:cubicBezTo>
                  <a:pt x="41" y="271"/>
                  <a:pt x="41" y="271"/>
                  <a:pt x="41" y="271"/>
                </a:cubicBezTo>
                <a:cubicBezTo>
                  <a:pt x="40" y="272"/>
                  <a:pt x="40" y="272"/>
                  <a:pt x="40" y="272"/>
                </a:cubicBezTo>
                <a:cubicBezTo>
                  <a:pt x="39" y="270"/>
                  <a:pt x="39" y="270"/>
                  <a:pt x="39" y="270"/>
                </a:cubicBezTo>
                <a:cubicBezTo>
                  <a:pt x="39" y="269"/>
                  <a:pt x="39" y="269"/>
                  <a:pt x="39" y="269"/>
                </a:cubicBezTo>
                <a:cubicBezTo>
                  <a:pt x="38" y="270"/>
                  <a:pt x="38" y="270"/>
                  <a:pt x="38" y="270"/>
                </a:cubicBezTo>
                <a:cubicBezTo>
                  <a:pt x="37" y="270"/>
                  <a:pt x="37" y="270"/>
                  <a:pt x="37" y="270"/>
                </a:cubicBezTo>
                <a:cubicBezTo>
                  <a:pt x="37" y="269"/>
                  <a:pt x="37" y="269"/>
                  <a:pt x="37" y="269"/>
                </a:cubicBezTo>
                <a:cubicBezTo>
                  <a:pt x="35" y="269"/>
                  <a:pt x="35" y="269"/>
                  <a:pt x="35" y="269"/>
                </a:cubicBezTo>
                <a:cubicBezTo>
                  <a:pt x="35" y="270"/>
                  <a:pt x="35" y="270"/>
                  <a:pt x="35" y="270"/>
                </a:cubicBezTo>
                <a:cubicBezTo>
                  <a:pt x="33" y="270"/>
                  <a:pt x="33" y="270"/>
                  <a:pt x="33" y="270"/>
                </a:cubicBezTo>
                <a:cubicBezTo>
                  <a:pt x="33" y="269"/>
                  <a:pt x="33" y="269"/>
                  <a:pt x="33" y="269"/>
                </a:cubicBezTo>
                <a:cubicBezTo>
                  <a:pt x="33" y="269"/>
                  <a:pt x="33" y="269"/>
                  <a:pt x="33" y="269"/>
                </a:cubicBezTo>
                <a:cubicBezTo>
                  <a:pt x="34" y="268"/>
                  <a:pt x="34" y="268"/>
                  <a:pt x="34" y="268"/>
                </a:cubicBezTo>
                <a:cubicBezTo>
                  <a:pt x="33" y="267"/>
                  <a:pt x="33" y="267"/>
                  <a:pt x="33" y="267"/>
                </a:cubicBezTo>
                <a:cubicBezTo>
                  <a:pt x="33" y="268"/>
                  <a:pt x="33" y="268"/>
                  <a:pt x="33" y="268"/>
                </a:cubicBezTo>
                <a:cubicBezTo>
                  <a:pt x="30" y="268"/>
                  <a:pt x="30" y="268"/>
                  <a:pt x="30" y="268"/>
                </a:cubicBezTo>
                <a:cubicBezTo>
                  <a:pt x="29" y="267"/>
                  <a:pt x="29" y="267"/>
                  <a:pt x="29" y="267"/>
                </a:cubicBezTo>
                <a:cubicBezTo>
                  <a:pt x="29" y="267"/>
                  <a:pt x="29" y="267"/>
                  <a:pt x="29" y="267"/>
                </a:cubicBezTo>
                <a:cubicBezTo>
                  <a:pt x="28" y="267"/>
                  <a:pt x="28" y="267"/>
                  <a:pt x="28" y="267"/>
                </a:cubicBezTo>
                <a:cubicBezTo>
                  <a:pt x="25" y="265"/>
                  <a:pt x="25" y="265"/>
                  <a:pt x="25" y="265"/>
                </a:cubicBezTo>
                <a:cubicBezTo>
                  <a:pt x="25" y="264"/>
                  <a:pt x="25" y="264"/>
                  <a:pt x="25" y="264"/>
                </a:cubicBezTo>
                <a:cubicBezTo>
                  <a:pt x="24" y="264"/>
                  <a:pt x="24" y="264"/>
                  <a:pt x="24" y="264"/>
                </a:cubicBezTo>
                <a:cubicBezTo>
                  <a:pt x="23" y="263"/>
                  <a:pt x="23" y="263"/>
                  <a:pt x="23" y="263"/>
                </a:cubicBezTo>
                <a:cubicBezTo>
                  <a:pt x="22" y="263"/>
                  <a:pt x="22" y="263"/>
                  <a:pt x="22" y="263"/>
                </a:cubicBezTo>
                <a:cubicBezTo>
                  <a:pt x="22" y="264"/>
                  <a:pt x="22" y="264"/>
                  <a:pt x="22" y="264"/>
                </a:cubicBezTo>
                <a:cubicBezTo>
                  <a:pt x="23" y="265"/>
                  <a:pt x="23" y="265"/>
                  <a:pt x="23" y="265"/>
                </a:cubicBezTo>
                <a:cubicBezTo>
                  <a:pt x="23" y="266"/>
                  <a:pt x="23" y="266"/>
                  <a:pt x="23" y="266"/>
                </a:cubicBezTo>
                <a:cubicBezTo>
                  <a:pt x="25" y="267"/>
                  <a:pt x="25" y="267"/>
                  <a:pt x="25" y="267"/>
                </a:cubicBezTo>
                <a:cubicBezTo>
                  <a:pt x="25" y="268"/>
                  <a:pt x="25" y="268"/>
                  <a:pt x="25" y="268"/>
                </a:cubicBezTo>
                <a:cubicBezTo>
                  <a:pt x="27" y="269"/>
                  <a:pt x="27" y="269"/>
                  <a:pt x="27" y="269"/>
                </a:cubicBezTo>
                <a:cubicBezTo>
                  <a:pt x="27" y="269"/>
                  <a:pt x="27" y="269"/>
                  <a:pt x="27" y="269"/>
                </a:cubicBezTo>
                <a:cubicBezTo>
                  <a:pt x="26" y="270"/>
                  <a:pt x="26" y="270"/>
                  <a:pt x="26" y="270"/>
                </a:cubicBezTo>
                <a:cubicBezTo>
                  <a:pt x="26" y="271"/>
                  <a:pt x="26" y="271"/>
                  <a:pt x="26" y="271"/>
                </a:cubicBezTo>
                <a:cubicBezTo>
                  <a:pt x="26" y="271"/>
                  <a:pt x="26" y="271"/>
                  <a:pt x="26" y="271"/>
                </a:cubicBezTo>
                <a:cubicBezTo>
                  <a:pt x="28" y="270"/>
                  <a:pt x="28" y="270"/>
                  <a:pt x="28" y="270"/>
                </a:cubicBezTo>
                <a:cubicBezTo>
                  <a:pt x="29" y="270"/>
                  <a:pt x="29" y="270"/>
                  <a:pt x="29" y="270"/>
                </a:cubicBezTo>
                <a:cubicBezTo>
                  <a:pt x="30" y="270"/>
                  <a:pt x="30" y="270"/>
                  <a:pt x="30" y="270"/>
                </a:cubicBezTo>
                <a:cubicBezTo>
                  <a:pt x="29" y="271"/>
                  <a:pt x="29" y="271"/>
                  <a:pt x="29" y="271"/>
                </a:cubicBezTo>
                <a:cubicBezTo>
                  <a:pt x="29" y="271"/>
                  <a:pt x="29" y="271"/>
                  <a:pt x="29" y="271"/>
                </a:cubicBezTo>
                <a:cubicBezTo>
                  <a:pt x="30" y="271"/>
                  <a:pt x="30" y="271"/>
                  <a:pt x="30" y="271"/>
                </a:cubicBezTo>
                <a:cubicBezTo>
                  <a:pt x="30" y="272"/>
                  <a:pt x="30" y="272"/>
                  <a:pt x="30" y="272"/>
                </a:cubicBezTo>
                <a:cubicBezTo>
                  <a:pt x="29" y="272"/>
                  <a:pt x="29" y="272"/>
                  <a:pt x="29" y="272"/>
                </a:cubicBezTo>
                <a:cubicBezTo>
                  <a:pt x="28" y="273"/>
                  <a:pt x="28" y="273"/>
                  <a:pt x="28" y="273"/>
                </a:cubicBezTo>
                <a:cubicBezTo>
                  <a:pt x="30" y="273"/>
                  <a:pt x="30" y="273"/>
                  <a:pt x="30" y="273"/>
                </a:cubicBezTo>
                <a:cubicBezTo>
                  <a:pt x="30" y="273"/>
                  <a:pt x="30" y="273"/>
                  <a:pt x="30" y="273"/>
                </a:cubicBezTo>
                <a:cubicBezTo>
                  <a:pt x="31" y="273"/>
                  <a:pt x="31" y="273"/>
                  <a:pt x="31" y="273"/>
                </a:cubicBezTo>
                <a:cubicBezTo>
                  <a:pt x="32" y="274"/>
                  <a:pt x="32" y="274"/>
                  <a:pt x="32" y="274"/>
                </a:cubicBezTo>
                <a:cubicBezTo>
                  <a:pt x="32" y="273"/>
                  <a:pt x="32" y="273"/>
                  <a:pt x="32" y="273"/>
                </a:cubicBezTo>
                <a:cubicBezTo>
                  <a:pt x="35" y="274"/>
                  <a:pt x="35" y="274"/>
                  <a:pt x="35" y="274"/>
                </a:cubicBezTo>
                <a:cubicBezTo>
                  <a:pt x="37" y="276"/>
                  <a:pt x="37" y="276"/>
                  <a:pt x="37" y="276"/>
                </a:cubicBezTo>
                <a:cubicBezTo>
                  <a:pt x="37" y="276"/>
                  <a:pt x="37" y="276"/>
                  <a:pt x="37" y="276"/>
                </a:cubicBezTo>
                <a:cubicBezTo>
                  <a:pt x="37" y="277"/>
                  <a:pt x="37" y="277"/>
                  <a:pt x="37" y="277"/>
                </a:cubicBezTo>
                <a:cubicBezTo>
                  <a:pt x="37" y="278"/>
                  <a:pt x="37" y="278"/>
                  <a:pt x="37" y="278"/>
                </a:cubicBezTo>
                <a:cubicBezTo>
                  <a:pt x="37" y="278"/>
                  <a:pt x="37" y="278"/>
                  <a:pt x="37" y="278"/>
                </a:cubicBezTo>
                <a:cubicBezTo>
                  <a:pt x="37" y="279"/>
                  <a:pt x="37" y="279"/>
                  <a:pt x="37" y="279"/>
                </a:cubicBezTo>
                <a:cubicBezTo>
                  <a:pt x="37" y="281"/>
                  <a:pt x="37" y="281"/>
                  <a:pt x="37" y="281"/>
                </a:cubicBezTo>
                <a:cubicBezTo>
                  <a:pt x="36" y="282"/>
                  <a:pt x="36" y="282"/>
                  <a:pt x="36" y="282"/>
                </a:cubicBezTo>
                <a:cubicBezTo>
                  <a:pt x="36" y="283"/>
                  <a:pt x="36" y="283"/>
                  <a:pt x="36" y="283"/>
                </a:cubicBezTo>
                <a:cubicBezTo>
                  <a:pt x="37" y="283"/>
                  <a:pt x="37" y="283"/>
                  <a:pt x="37" y="283"/>
                </a:cubicBezTo>
                <a:cubicBezTo>
                  <a:pt x="37" y="284"/>
                  <a:pt x="37" y="284"/>
                  <a:pt x="37" y="284"/>
                </a:cubicBezTo>
                <a:cubicBezTo>
                  <a:pt x="39" y="286"/>
                  <a:pt x="39" y="286"/>
                  <a:pt x="39" y="286"/>
                </a:cubicBezTo>
                <a:cubicBezTo>
                  <a:pt x="39" y="287"/>
                  <a:pt x="39" y="287"/>
                  <a:pt x="39" y="287"/>
                </a:cubicBezTo>
                <a:cubicBezTo>
                  <a:pt x="40" y="288"/>
                  <a:pt x="40" y="288"/>
                  <a:pt x="40" y="288"/>
                </a:cubicBezTo>
                <a:cubicBezTo>
                  <a:pt x="40" y="289"/>
                  <a:pt x="40" y="289"/>
                  <a:pt x="40" y="289"/>
                </a:cubicBezTo>
                <a:cubicBezTo>
                  <a:pt x="40" y="291"/>
                  <a:pt x="40" y="291"/>
                  <a:pt x="40" y="291"/>
                </a:cubicBezTo>
                <a:cubicBezTo>
                  <a:pt x="40" y="292"/>
                  <a:pt x="40" y="292"/>
                  <a:pt x="40" y="292"/>
                </a:cubicBezTo>
                <a:cubicBezTo>
                  <a:pt x="40" y="292"/>
                  <a:pt x="40" y="292"/>
                  <a:pt x="40" y="292"/>
                </a:cubicBezTo>
                <a:cubicBezTo>
                  <a:pt x="41" y="293"/>
                  <a:pt x="41" y="293"/>
                  <a:pt x="41" y="293"/>
                </a:cubicBezTo>
                <a:cubicBezTo>
                  <a:pt x="43" y="294"/>
                  <a:pt x="43" y="294"/>
                  <a:pt x="43" y="294"/>
                </a:cubicBezTo>
                <a:cubicBezTo>
                  <a:pt x="44" y="293"/>
                  <a:pt x="44" y="293"/>
                  <a:pt x="44" y="293"/>
                </a:cubicBezTo>
                <a:cubicBezTo>
                  <a:pt x="45" y="293"/>
                  <a:pt x="45" y="293"/>
                  <a:pt x="45" y="293"/>
                </a:cubicBezTo>
                <a:cubicBezTo>
                  <a:pt x="46" y="295"/>
                  <a:pt x="46" y="295"/>
                  <a:pt x="46" y="295"/>
                </a:cubicBezTo>
                <a:cubicBezTo>
                  <a:pt x="47" y="295"/>
                  <a:pt x="47" y="295"/>
                  <a:pt x="47" y="295"/>
                </a:cubicBezTo>
                <a:cubicBezTo>
                  <a:pt x="47" y="297"/>
                  <a:pt x="47" y="297"/>
                  <a:pt x="47" y="297"/>
                </a:cubicBezTo>
                <a:cubicBezTo>
                  <a:pt x="48" y="297"/>
                  <a:pt x="48" y="297"/>
                  <a:pt x="48" y="297"/>
                </a:cubicBezTo>
                <a:cubicBezTo>
                  <a:pt x="50" y="297"/>
                  <a:pt x="50" y="297"/>
                  <a:pt x="50" y="297"/>
                </a:cubicBezTo>
                <a:cubicBezTo>
                  <a:pt x="50" y="298"/>
                  <a:pt x="50" y="298"/>
                  <a:pt x="50" y="298"/>
                </a:cubicBezTo>
                <a:cubicBezTo>
                  <a:pt x="52" y="298"/>
                  <a:pt x="52" y="298"/>
                  <a:pt x="52" y="298"/>
                </a:cubicBezTo>
                <a:cubicBezTo>
                  <a:pt x="53" y="299"/>
                  <a:pt x="53" y="299"/>
                  <a:pt x="53" y="299"/>
                </a:cubicBezTo>
                <a:cubicBezTo>
                  <a:pt x="54" y="299"/>
                  <a:pt x="54" y="299"/>
                  <a:pt x="54" y="299"/>
                </a:cubicBezTo>
                <a:cubicBezTo>
                  <a:pt x="55" y="298"/>
                  <a:pt x="55" y="298"/>
                  <a:pt x="55" y="298"/>
                </a:cubicBezTo>
                <a:cubicBezTo>
                  <a:pt x="56" y="297"/>
                  <a:pt x="56" y="297"/>
                  <a:pt x="56" y="297"/>
                </a:cubicBezTo>
                <a:cubicBezTo>
                  <a:pt x="57" y="297"/>
                  <a:pt x="57" y="297"/>
                  <a:pt x="57" y="297"/>
                </a:cubicBezTo>
                <a:cubicBezTo>
                  <a:pt x="57" y="295"/>
                  <a:pt x="57" y="295"/>
                  <a:pt x="57" y="295"/>
                </a:cubicBezTo>
                <a:cubicBezTo>
                  <a:pt x="56" y="294"/>
                  <a:pt x="56" y="294"/>
                  <a:pt x="56" y="294"/>
                </a:cubicBezTo>
                <a:cubicBezTo>
                  <a:pt x="57" y="294"/>
                  <a:pt x="57" y="294"/>
                  <a:pt x="57" y="294"/>
                </a:cubicBezTo>
                <a:cubicBezTo>
                  <a:pt x="57" y="293"/>
                  <a:pt x="57" y="293"/>
                  <a:pt x="57" y="293"/>
                </a:cubicBezTo>
                <a:cubicBezTo>
                  <a:pt x="55" y="293"/>
                  <a:pt x="55" y="293"/>
                  <a:pt x="55" y="293"/>
                </a:cubicBezTo>
                <a:cubicBezTo>
                  <a:pt x="55" y="292"/>
                  <a:pt x="55" y="292"/>
                  <a:pt x="55" y="292"/>
                </a:cubicBezTo>
                <a:cubicBezTo>
                  <a:pt x="54" y="292"/>
                  <a:pt x="54" y="292"/>
                  <a:pt x="54" y="292"/>
                </a:cubicBezTo>
                <a:cubicBezTo>
                  <a:pt x="53" y="292"/>
                  <a:pt x="53" y="292"/>
                  <a:pt x="53" y="292"/>
                </a:cubicBezTo>
                <a:cubicBezTo>
                  <a:pt x="52" y="293"/>
                  <a:pt x="52" y="293"/>
                  <a:pt x="52" y="293"/>
                </a:cubicBezTo>
                <a:cubicBezTo>
                  <a:pt x="51" y="292"/>
                  <a:pt x="51" y="292"/>
                  <a:pt x="51" y="292"/>
                </a:cubicBezTo>
                <a:cubicBezTo>
                  <a:pt x="50" y="291"/>
                  <a:pt x="50" y="291"/>
                  <a:pt x="50" y="291"/>
                </a:cubicBezTo>
                <a:cubicBezTo>
                  <a:pt x="48" y="290"/>
                  <a:pt x="48" y="290"/>
                  <a:pt x="48" y="290"/>
                </a:cubicBezTo>
                <a:cubicBezTo>
                  <a:pt x="48" y="289"/>
                  <a:pt x="48" y="289"/>
                  <a:pt x="48" y="289"/>
                </a:cubicBezTo>
                <a:cubicBezTo>
                  <a:pt x="47" y="287"/>
                  <a:pt x="47" y="287"/>
                  <a:pt x="47" y="287"/>
                </a:cubicBezTo>
                <a:cubicBezTo>
                  <a:pt x="48" y="287"/>
                  <a:pt x="48" y="287"/>
                  <a:pt x="48" y="287"/>
                </a:cubicBezTo>
                <a:cubicBezTo>
                  <a:pt x="49" y="286"/>
                  <a:pt x="49" y="286"/>
                  <a:pt x="49" y="286"/>
                </a:cubicBezTo>
                <a:cubicBezTo>
                  <a:pt x="48" y="285"/>
                  <a:pt x="48" y="285"/>
                  <a:pt x="48" y="285"/>
                </a:cubicBezTo>
                <a:cubicBezTo>
                  <a:pt x="49" y="285"/>
                  <a:pt x="49" y="285"/>
                  <a:pt x="49" y="285"/>
                </a:cubicBezTo>
                <a:cubicBezTo>
                  <a:pt x="48" y="284"/>
                  <a:pt x="48" y="284"/>
                  <a:pt x="48" y="284"/>
                </a:cubicBezTo>
                <a:cubicBezTo>
                  <a:pt x="48" y="283"/>
                  <a:pt x="48" y="283"/>
                  <a:pt x="48" y="283"/>
                </a:cubicBezTo>
                <a:cubicBezTo>
                  <a:pt x="50" y="283"/>
                  <a:pt x="50" y="283"/>
                  <a:pt x="50" y="283"/>
                </a:cubicBezTo>
                <a:cubicBezTo>
                  <a:pt x="51" y="284"/>
                  <a:pt x="51" y="284"/>
                  <a:pt x="51" y="284"/>
                </a:cubicBezTo>
                <a:cubicBezTo>
                  <a:pt x="53" y="284"/>
                  <a:pt x="53" y="284"/>
                  <a:pt x="53" y="284"/>
                </a:cubicBezTo>
                <a:cubicBezTo>
                  <a:pt x="54" y="286"/>
                  <a:pt x="54" y="286"/>
                  <a:pt x="54" y="286"/>
                </a:cubicBezTo>
                <a:cubicBezTo>
                  <a:pt x="55" y="287"/>
                  <a:pt x="55" y="287"/>
                  <a:pt x="55" y="287"/>
                </a:cubicBezTo>
                <a:cubicBezTo>
                  <a:pt x="57" y="287"/>
                  <a:pt x="57" y="287"/>
                  <a:pt x="57" y="287"/>
                </a:cubicBezTo>
                <a:cubicBezTo>
                  <a:pt x="58" y="288"/>
                  <a:pt x="58" y="288"/>
                  <a:pt x="58" y="288"/>
                </a:cubicBezTo>
                <a:cubicBezTo>
                  <a:pt x="59" y="288"/>
                  <a:pt x="59" y="288"/>
                  <a:pt x="59" y="288"/>
                </a:cubicBezTo>
                <a:cubicBezTo>
                  <a:pt x="63" y="290"/>
                  <a:pt x="63" y="290"/>
                  <a:pt x="63" y="290"/>
                </a:cubicBezTo>
                <a:cubicBezTo>
                  <a:pt x="65" y="291"/>
                  <a:pt x="65" y="291"/>
                  <a:pt x="65" y="291"/>
                </a:cubicBezTo>
                <a:cubicBezTo>
                  <a:pt x="65" y="290"/>
                  <a:pt x="65" y="290"/>
                  <a:pt x="65" y="290"/>
                </a:cubicBezTo>
                <a:cubicBezTo>
                  <a:pt x="66" y="289"/>
                  <a:pt x="66" y="289"/>
                  <a:pt x="66" y="289"/>
                </a:cubicBezTo>
                <a:cubicBezTo>
                  <a:pt x="66" y="288"/>
                  <a:pt x="66" y="288"/>
                  <a:pt x="66" y="288"/>
                </a:cubicBezTo>
                <a:cubicBezTo>
                  <a:pt x="67" y="288"/>
                  <a:pt x="67" y="288"/>
                  <a:pt x="67" y="288"/>
                </a:cubicBezTo>
                <a:cubicBezTo>
                  <a:pt x="68" y="287"/>
                  <a:pt x="68" y="287"/>
                  <a:pt x="68" y="287"/>
                </a:cubicBezTo>
                <a:cubicBezTo>
                  <a:pt x="67" y="284"/>
                  <a:pt x="67" y="284"/>
                  <a:pt x="67" y="284"/>
                </a:cubicBezTo>
                <a:cubicBezTo>
                  <a:pt x="64" y="281"/>
                  <a:pt x="64" y="281"/>
                  <a:pt x="64" y="281"/>
                </a:cubicBezTo>
                <a:cubicBezTo>
                  <a:pt x="63" y="280"/>
                  <a:pt x="63" y="280"/>
                  <a:pt x="63" y="280"/>
                </a:cubicBezTo>
                <a:cubicBezTo>
                  <a:pt x="63" y="278"/>
                  <a:pt x="63" y="278"/>
                  <a:pt x="63" y="278"/>
                </a:cubicBezTo>
                <a:cubicBezTo>
                  <a:pt x="65" y="277"/>
                  <a:pt x="65" y="277"/>
                  <a:pt x="65" y="277"/>
                </a:cubicBezTo>
                <a:cubicBezTo>
                  <a:pt x="66" y="275"/>
                  <a:pt x="66" y="275"/>
                  <a:pt x="66" y="275"/>
                </a:cubicBezTo>
                <a:cubicBezTo>
                  <a:pt x="67" y="274"/>
                  <a:pt x="67" y="274"/>
                  <a:pt x="67" y="274"/>
                </a:cubicBezTo>
                <a:cubicBezTo>
                  <a:pt x="68" y="273"/>
                  <a:pt x="68" y="273"/>
                  <a:pt x="68" y="273"/>
                </a:cubicBezTo>
                <a:cubicBezTo>
                  <a:pt x="69" y="272"/>
                  <a:pt x="69" y="272"/>
                  <a:pt x="69" y="272"/>
                </a:cubicBezTo>
                <a:cubicBezTo>
                  <a:pt x="71" y="271"/>
                  <a:pt x="71" y="271"/>
                  <a:pt x="71" y="271"/>
                </a:cubicBezTo>
                <a:cubicBezTo>
                  <a:pt x="73" y="268"/>
                  <a:pt x="73" y="268"/>
                  <a:pt x="73" y="268"/>
                </a:cubicBezTo>
                <a:cubicBezTo>
                  <a:pt x="74" y="267"/>
                  <a:pt x="74" y="267"/>
                  <a:pt x="74" y="267"/>
                </a:cubicBezTo>
                <a:cubicBezTo>
                  <a:pt x="75" y="267"/>
                  <a:pt x="75" y="267"/>
                  <a:pt x="75" y="267"/>
                </a:cubicBezTo>
                <a:cubicBezTo>
                  <a:pt x="76" y="268"/>
                  <a:pt x="76" y="268"/>
                  <a:pt x="76" y="268"/>
                </a:cubicBezTo>
                <a:cubicBezTo>
                  <a:pt x="78" y="268"/>
                  <a:pt x="78" y="268"/>
                  <a:pt x="78" y="268"/>
                </a:cubicBezTo>
                <a:cubicBezTo>
                  <a:pt x="80" y="268"/>
                  <a:pt x="80" y="268"/>
                  <a:pt x="80" y="268"/>
                </a:cubicBezTo>
                <a:cubicBezTo>
                  <a:pt x="81" y="269"/>
                  <a:pt x="81" y="269"/>
                  <a:pt x="81" y="269"/>
                </a:cubicBezTo>
                <a:cubicBezTo>
                  <a:pt x="81" y="270"/>
                  <a:pt x="81" y="270"/>
                  <a:pt x="81" y="270"/>
                </a:cubicBezTo>
                <a:cubicBezTo>
                  <a:pt x="82" y="269"/>
                  <a:pt x="82" y="269"/>
                  <a:pt x="82" y="269"/>
                </a:cubicBezTo>
                <a:cubicBezTo>
                  <a:pt x="84" y="270"/>
                  <a:pt x="84" y="270"/>
                  <a:pt x="84" y="270"/>
                </a:cubicBezTo>
                <a:cubicBezTo>
                  <a:pt x="84" y="272"/>
                  <a:pt x="84" y="272"/>
                  <a:pt x="84" y="272"/>
                </a:cubicBezTo>
                <a:cubicBezTo>
                  <a:pt x="85" y="272"/>
                  <a:pt x="85" y="272"/>
                  <a:pt x="85" y="272"/>
                </a:cubicBezTo>
                <a:cubicBezTo>
                  <a:pt x="85" y="270"/>
                  <a:pt x="85" y="270"/>
                  <a:pt x="85" y="270"/>
                </a:cubicBezTo>
                <a:cubicBezTo>
                  <a:pt x="84" y="269"/>
                  <a:pt x="84" y="269"/>
                  <a:pt x="84" y="269"/>
                </a:cubicBezTo>
                <a:cubicBezTo>
                  <a:pt x="85" y="268"/>
                  <a:pt x="85" y="268"/>
                  <a:pt x="85" y="268"/>
                </a:cubicBezTo>
                <a:cubicBezTo>
                  <a:pt x="85" y="265"/>
                  <a:pt x="85" y="265"/>
                  <a:pt x="85" y="265"/>
                </a:cubicBezTo>
                <a:cubicBezTo>
                  <a:pt x="85" y="264"/>
                  <a:pt x="85" y="264"/>
                  <a:pt x="85" y="264"/>
                </a:cubicBezTo>
                <a:cubicBezTo>
                  <a:pt x="84" y="264"/>
                  <a:pt x="84" y="264"/>
                  <a:pt x="84" y="264"/>
                </a:cubicBezTo>
                <a:cubicBezTo>
                  <a:pt x="84" y="263"/>
                  <a:pt x="84" y="263"/>
                  <a:pt x="84" y="263"/>
                </a:cubicBezTo>
                <a:cubicBezTo>
                  <a:pt x="85" y="262"/>
                  <a:pt x="85" y="262"/>
                  <a:pt x="85" y="262"/>
                </a:cubicBezTo>
                <a:cubicBezTo>
                  <a:pt x="84" y="261"/>
                  <a:pt x="84" y="261"/>
                  <a:pt x="84" y="261"/>
                </a:cubicBezTo>
                <a:cubicBezTo>
                  <a:pt x="85" y="261"/>
                  <a:pt x="85" y="261"/>
                  <a:pt x="85" y="261"/>
                </a:cubicBezTo>
                <a:cubicBezTo>
                  <a:pt x="84" y="260"/>
                  <a:pt x="84" y="260"/>
                  <a:pt x="84" y="260"/>
                </a:cubicBezTo>
                <a:cubicBezTo>
                  <a:pt x="82" y="259"/>
                  <a:pt x="82" y="259"/>
                  <a:pt x="82" y="259"/>
                </a:cubicBezTo>
                <a:cubicBezTo>
                  <a:pt x="80" y="259"/>
                  <a:pt x="80" y="259"/>
                  <a:pt x="80" y="259"/>
                </a:cubicBezTo>
                <a:cubicBezTo>
                  <a:pt x="80" y="257"/>
                  <a:pt x="80" y="257"/>
                  <a:pt x="80" y="257"/>
                </a:cubicBezTo>
                <a:cubicBezTo>
                  <a:pt x="80" y="256"/>
                  <a:pt x="80" y="256"/>
                  <a:pt x="80" y="256"/>
                </a:cubicBezTo>
                <a:cubicBezTo>
                  <a:pt x="80" y="253"/>
                  <a:pt x="80" y="253"/>
                  <a:pt x="80" y="253"/>
                </a:cubicBezTo>
                <a:cubicBezTo>
                  <a:pt x="81" y="253"/>
                  <a:pt x="81" y="253"/>
                  <a:pt x="81" y="253"/>
                </a:cubicBezTo>
                <a:cubicBezTo>
                  <a:pt x="81" y="252"/>
                  <a:pt x="81" y="252"/>
                  <a:pt x="81" y="252"/>
                </a:cubicBezTo>
                <a:cubicBezTo>
                  <a:pt x="81" y="251"/>
                  <a:pt x="81" y="251"/>
                  <a:pt x="81" y="251"/>
                </a:cubicBezTo>
                <a:cubicBezTo>
                  <a:pt x="81" y="250"/>
                  <a:pt x="81" y="250"/>
                  <a:pt x="81" y="250"/>
                </a:cubicBezTo>
                <a:cubicBezTo>
                  <a:pt x="80" y="249"/>
                  <a:pt x="80" y="249"/>
                  <a:pt x="80" y="249"/>
                </a:cubicBezTo>
                <a:cubicBezTo>
                  <a:pt x="80" y="248"/>
                  <a:pt x="80" y="248"/>
                  <a:pt x="80" y="248"/>
                </a:cubicBezTo>
                <a:cubicBezTo>
                  <a:pt x="80" y="245"/>
                  <a:pt x="80" y="245"/>
                  <a:pt x="80" y="245"/>
                </a:cubicBezTo>
                <a:cubicBezTo>
                  <a:pt x="78" y="244"/>
                  <a:pt x="78" y="244"/>
                  <a:pt x="78" y="244"/>
                </a:cubicBezTo>
                <a:cubicBezTo>
                  <a:pt x="75" y="241"/>
                  <a:pt x="75" y="241"/>
                  <a:pt x="75" y="241"/>
                </a:cubicBezTo>
                <a:cubicBezTo>
                  <a:pt x="75" y="241"/>
                  <a:pt x="75" y="241"/>
                  <a:pt x="75" y="241"/>
                </a:cubicBezTo>
                <a:cubicBezTo>
                  <a:pt x="76" y="241"/>
                  <a:pt x="76" y="241"/>
                  <a:pt x="76" y="241"/>
                </a:cubicBezTo>
                <a:cubicBezTo>
                  <a:pt x="79" y="242"/>
                  <a:pt x="79" y="242"/>
                  <a:pt x="79" y="242"/>
                </a:cubicBezTo>
                <a:cubicBezTo>
                  <a:pt x="80" y="242"/>
                  <a:pt x="80" y="242"/>
                  <a:pt x="80" y="242"/>
                </a:cubicBezTo>
                <a:cubicBezTo>
                  <a:pt x="81" y="242"/>
                  <a:pt x="81" y="242"/>
                  <a:pt x="81" y="242"/>
                </a:cubicBezTo>
                <a:cubicBezTo>
                  <a:pt x="83" y="242"/>
                  <a:pt x="83" y="242"/>
                  <a:pt x="83" y="242"/>
                </a:cubicBezTo>
                <a:cubicBezTo>
                  <a:pt x="87" y="242"/>
                  <a:pt x="87" y="242"/>
                  <a:pt x="87" y="242"/>
                </a:cubicBezTo>
                <a:cubicBezTo>
                  <a:pt x="88" y="243"/>
                  <a:pt x="88" y="243"/>
                  <a:pt x="88" y="243"/>
                </a:cubicBezTo>
                <a:cubicBezTo>
                  <a:pt x="88" y="244"/>
                  <a:pt x="88" y="244"/>
                  <a:pt x="88" y="244"/>
                </a:cubicBezTo>
                <a:cubicBezTo>
                  <a:pt x="90" y="246"/>
                  <a:pt x="90" y="246"/>
                  <a:pt x="90" y="246"/>
                </a:cubicBezTo>
                <a:cubicBezTo>
                  <a:pt x="91" y="246"/>
                  <a:pt x="91" y="246"/>
                  <a:pt x="91" y="246"/>
                </a:cubicBezTo>
                <a:cubicBezTo>
                  <a:pt x="91" y="247"/>
                  <a:pt x="91" y="247"/>
                  <a:pt x="91" y="247"/>
                </a:cubicBezTo>
                <a:cubicBezTo>
                  <a:pt x="93" y="249"/>
                  <a:pt x="93" y="249"/>
                  <a:pt x="93" y="249"/>
                </a:cubicBezTo>
                <a:cubicBezTo>
                  <a:pt x="93" y="250"/>
                  <a:pt x="93" y="250"/>
                  <a:pt x="93" y="250"/>
                </a:cubicBezTo>
                <a:cubicBezTo>
                  <a:pt x="91" y="250"/>
                  <a:pt x="91" y="250"/>
                  <a:pt x="91" y="250"/>
                </a:cubicBezTo>
                <a:cubicBezTo>
                  <a:pt x="90" y="251"/>
                  <a:pt x="90" y="251"/>
                  <a:pt x="90" y="251"/>
                </a:cubicBezTo>
                <a:cubicBezTo>
                  <a:pt x="88" y="251"/>
                  <a:pt x="88" y="251"/>
                  <a:pt x="88" y="251"/>
                </a:cubicBezTo>
                <a:cubicBezTo>
                  <a:pt x="87" y="252"/>
                  <a:pt x="87" y="252"/>
                  <a:pt x="87" y="252"/>
                </a:cubicBezTo>
                <a:cubicBezTo>
                  <a:pt x="88" y="252"/>
                  <a:pt x="88" y="252"/>
                  <a:pt x="88" y="252"/>
                </a:cubicBezTo>
                <a:cubicBezTo>
                  <a:pt x="87" y="253"/>
                  <a:pt x="87" y="253"/>
                  <a:pt x="87" y="253"/>
                </a:cubicBezTo>
                <a:cubicBezTo>
                  <a:pt x="86" y="253"/>
                  <a:pt x="86" y="253"/>
                  <a:pt x="86" y="253"/>
                </a:cubicBezTo>
                <a:cubicBezTo>
                  <a:pt x="86" y="254"/>
                  <a:pt x="86" y="254"/>
                  <a:pt x="86" y="254"/>
                </a:cubicBezTo>
                <a:cubicBezTo>
                  <a:pt x="86" y="255"/>
                  <a:pt x="86" y="255"/>
                  <a:pt x="86" y="255"/>
                </a:cubicBezTo>
                <a:cubicBezTo>
                  <a:pt x="87" y="256"/>
                  <a:pt x="87" y="256"/>
                  <a:pt x="87" y="256"/>
                </a:cubicBezTo>
                <a:cubicBezTo>
                  <a:pt x="90" y="258"/>
                  <a:pt x="90" y="258"/>
                  <a:pt x="90" y="258"/>
                </a:cubicBezTo>
                <a:cubicBezTo>
                  <a:pt x="92" y="261"/>
                  <a:pt x="92" y="261"/>
                  <a:pt x="92" y="261"/>
                </a:cubicBezTo>
                <a:cubicBezTo>
                  <a:pt x="93" y="261"/>
                  <a:pt x="93" y="261"/>
                  <a:pt x="93" y="261"/>
                </a:cubicBezTo>
                <a:cubicBezTo>
                  <a:pt x="95" y="260"/>
                  <a:pt x="95" y="260"/>
                  <a:pt x="95" y="260"/>
                </a:cubicBezTo>
                <a:cubicBezTo>
                  <a:pt x="96" y="262"/>
                  <a:pt x="96" y="262"/>
                  <a:pt x="96" y="262"/>
                </a:cubicBezTo>
                <a:cubicBezTo>
                  <a:pt x="96" y="261"/>
                  <a:pt x="96" y="261"/>
                  <a:pt x="96" y="261"/>
                </a:cubicBezTo>
                <a:cubicBezTo>
                  <a:pt x="98" y="261"/>
                  <a:pt x="98" y="261"/>
                  <a:pt x="98" y="261"/>
                </a:cubicBezTo>
                <a:cubicBezTo>
                  <a:pt x="98" y="260"/>
                  <a:pt x="98" y="260"/>
                  <a:pt x="98" y="260"/>
                </a:cubicBezTo>
                <a:cubicBezTo>
                  <a:pt x="100" y="259"/>
                  <a:pt x="100" y="259"/>
                  <a:pt x="100" y="259"/>
                </a:cubicBezTo>
                <a:cubicBezTo>
                  <a:pt x="101" y="258"/>
                  <a:pt x="101" y="258"/>
                  <a:pt x="101" y="258"/>
                </a:cubicBezTo>
                <a:cubicBezTo>
                  <a:pt x="100" y="256"/>
                  <a:pt x="100" y="256"/>
                  <a:pt x="100" y="256"/>
                </a:cubicBezTo>
                <a:cubicBezTo>
                  <a:pt x="101" y="254"/>
                  <a:pt x="101" y="254"/>
                  <a:pt x="101" y="254"/>
                </a:cubicBezTo>
                <a:cubicBezTo>
                  <a:pt x="101" y="253"/>
                  <a:pt x="101" y="253"/>
                  <a:pt x="101" y="253"/>
                </a:cubicBezTo>
                <a:cubicBezTo>
                  <a:pt x="100" y="252"/>
                  <a:pt x="100" y="252"/>
                  <a:pt x="100" y="252"/>
                </a:cubicBezTo>
                <a:cubicBezTo>
                  <a:pt x="100" y="252"/>
                  <a:pt x="100" y="252"/>
                  <a:pt x="100" y="252"/>
                </a:cubicBezTo>
                <a:cubicBezTo>
                  <a:pt x="104" y="251"/>
                  <a:pt x="104" y="251"/>
                  <a:pt x="104" y="251"/>
                </a:cubicBezTo>
                <a:cubicBezTo>
                  <a:pt x="104" y="251"/>
                  <a:pt x="104" y="251"/>
                  <a:pt x="104" y="251"/>
                </a:cubicBezTo>
                <a:cubicBezTo>
                  <a:pt x="106" y="251"/>
                  <a:pt x="106" y="251"/>
                  <a:pt x="106" y="251"/>
                </a:cubicBezTo>
                <a:cubicBezTo>
                  <a:pt x="106" y="250"/>
                  <a:pt x="106" y="250"/>
                  <a:pt x="106" y="250"/>
                </a:cubicBezTo>
                <a:cubicBezTo>
                  <a:pt x="104" y="249"/>
                  <a:pt x="104" y="249"/>
                  <a:pt x="104" y="249"/>
                </a:cubicBezTo>
                <a:cubicBezTo>
                  <a:pt x="104" y="248"/>
                  <a:pt x="104" y="248"/>
                  <a:pt x="104" y="248"/>
                </a:cubicBezTo>
                <a:cubicBezTo>
                  <a:pt x="105" y="248"/>
                  <a:pt x="105" y="248"/>
                  <a:pt x="105" y="248"/>
                </a:cubicBezTo>
                <a:cubicBezTo>
                  <a:pt x="105" y="249"/>
                  <a:pt x="105" y="249"/>
                  <a:pt x="105" y="249"/>
                </a:cubicBezTo>
                <a:cubicBezTo>
                  <a:pt x="107" y="248"/>
                  <a:pt x="107" y="248"/>
                  <a:pt x="107" y="248"/>
                </a:cubicBezTo>
                <a:cubicBezTo>
                  <a:pt x="109" y="245"/>
                  <a:pt x="109" y="245"/>
                  <a:pt x="109" y="245"/>
                </a:cubicBezTo>
                <a:cubicBezTo>
                  <a:pt x="110" y="245"/>
                  <a:pt x="110" y="245"/>
                  <a:pt x="110" y="245"/>
                </a:cubicBezTo>
                <a:cubicBezTo>
                  <a:pt x="112" y="242"/>
                  <a:pt x="112" y="242"/>
                  <a:pt x="112" y="242"/>
                </a:cubicBezTo>
                <a:cubicBezTo>
                  <a:pt x="112" y="241"/>
                  <a:pt x="112" y="241"/>
                  <a:pt x="112" y="241"/>
                </a:cubicBezTo>
                <a:cubicBezTo>
                  <a:pt x="113" y="241"/>
                  <a:pt x="113" y="241"/>
                  <a:pt x="113" y="241"/>
                </a:cubicBezTo>
                <a:cubicBezTo>
                  <a:pt x="114" y="241"/>
                  <a:pt x="114" y="241"/>
                  <a:pt x="114" y="241"/>
                </a:cubicBezTo>
                <a:cubicBezTo>
                  <a:pt x="116" y="240"/>
                  <a:pt x="116" y="240"/>
                  <a:pt x="116" y="240"/>
                </a:cubicBezTo>
                <a:cubicBezTo>
                  <a:pt x="116" y="240"/>
                  <a:pt x="116" y="240"/>
                  <a:pt x="116" y="240"/>
                </a:cubicBezTo>
                <a:cubicBezTo>
                  <a:pt x="119" y="239"/>
                  <a:pt x="119" y="239"/>
                  <a:pt x="119" y="239"/>
                </a:cubicBezTo>
                <a:cubicBezTo>
                  <a:pt x="119" y="240"/>
                  <a:pt x="119" y="240"/>
                  <a:pt x="119" y="240"/>
                </a:cubicBezTo>
                <a:cubicBezTo>
                  <a:pt x="119" y="240"/>
                  <a:pt x="119" y="240"/>
                  <a:pt x="119" y="240"/>
                </a:cubicBezTo>
                <a:cubicBezTo>
                  <a:pt x="120" y="241"/>
                  <a:pt x="120" y="241"/>
                  <a:pt x="120" y="241"/>
                </a:cubicBezTo>
                <a:cubicBezTo>
                  <a:pt x="119" y="241"/>
                  <a:pt x="119" y="241"/>
                  <a:pt x="119" y="241"/>
                </a:cubicBezTo>
                <a:cubicBezTo>
                  <a:pt x="120" y="242"/>
                  <a:pt x="120" y="242"/>
                  <a:pt x="120" y="242"/>
                </a:cubicBezTo>
                <a:cubicBezTo>
                  <a:pt x="121" y="241"/>
                  <a:pt x="121" y="241"/>
                  <a:pt x="121" y="241"/>
                </a:cubicBezTo>
                <a:cubicBezTo>
                  <a:pt x="121" y="240"/>
                  <a:pt x="121" y="240"/>
                  <a:pt x="121" y="240"/>
                </a:cubicBezTo>
                <a:cubicBezTo>
                  <a:pt x="121" y="239"/>
                  <a:pt x="121" y="239"/>
                  <a:pt x="121" y="239"/>
                </a:cubicBezTo>
                <a:cubicBezTo>
                  <a:pt x="120" y="238"/>
                  <a:pt x="120" y="238"/>
                  <a:pt x="120" y="238"/>
                </a:cubicBezTo>
                <a:cubicBezTo>
                  <a:pt x="120" y="238"/>
                  <a:pt x="120" y="238"/>
                  <a:pt x="120" y="238"/>
                </a:cubicBezTo>
                <a:cubicBezTo>
                  <a:pt x="122" y="236"/>
                  <a:pt x="122" y="236"/>
                  <a:pt x="122" y="236"/>
                </a:cubicBezTo>
                <a:cubicBezTo>
                  <a:pt x="122" y="235"/>
                  <a:pt x="122" y="235"/>
                  <a:pt x="122" y="235"/>
                </a:cubicBezTo>
                <a:cubicBezTo>
                  <a:pt x="123" y="236"/>
                  <a:pt x="123" y="236"/>
                  <a:pt x="123" y="236"/>
                </a:cubicBezTo>
                <a:cubicBezTo>
                  <a:pt x="122" y="237"/>
                  <a:pt x="122" y="237"/>
                  <a:pt x="122" y="237"/>
                </a:cubicBezTo>
                <a:cubicBezTo>
                  <a:pt x="122" y="237"/>
                  <a:pt x="122" y="237"/>
                  <a:pt x="122" y="237"/>
                </a:cubicBezTo>
                <a:cubicBezTo>
                  <a:pt x="123" y="238"/>
                  <a:pt x="123" y="238"/>
                  <a:pt x="123" y="238"/>
                </a:cubicBezTo>
                <a:cubicBezTo>
                  <a:pt x="124" y="238"/>
                  <a:pt x="124" y="238"/>
                  <a:pt x="124" y="238"/>
                </a:cubicBezTo>
                <a:cubicBezTo>
                  <a:pt x="124" y="237"/>
                  <a:pt x="124" y="237"/>
                  <a:pt x="124" y="237"/>
                </a:cubicBezTo>
                <a:cubicBezTo>
                  <a:pt x="124" y="237"/>
                  <a:pt x="124" y="237"/>
                  <a:pt x="124" y="237"/>
                </a:cubicBezTo>
                <a:cubicBezTo>
                  <a:pt x="123" y="235"/>
                  <a:pt x="123" y="235"/>
                  <a:pt x="123" y="235"/>
                </a:cubicBezTo>
                <a:cubicBezTo>
                  <a:pt x="123" y="235"/>
                  <a:pt x="123" y="235"/>
                  <a:pt x="123" y="235"/>
                </a:cubicBezTo>
                <a:cubicBezTo>
                  <a:pt x="124" y="234"/>
                  <a:pt x="124" y="234"/>
                  <a:pt x="124" y="234"/>
                </a:cubicBezTo>
                <a:cubicBezTo>
                  <a:pt x="127" y="233"/>
                  <a:pt x="127" y="233"/>
                  <a:pt x="127" y="233"/>
                </a:cubicBezTo>
                <a:cubicBezTo>
                  <a:pt x="130" y="232"/>
                  <a:pt x="130" y="232"/>
                  <a:pt x="130" y="232"/>
                </a:cubicBezTo>
                <a:cubicBezTo>
                  <a:pt x="130" y="233"/>
                  <a:pt x="130" y="233"/>
                  <a:pt x="130" y="233"/>
                </a:cubicBezTo>
                <a:cubicBezTo>
                  <a:pt x="129" y="233"/>
                  <a:pt x="129" y="233"/>
                  <a:pt x="129" y="233"/>
                </a:cubicBezTo>
                <a:cubicBezTo>
                  <a:pt x="128" y="233"/>
                  <a:pt x="128" y="233"/>
                  <a:pt x="128" y="233"/>
                </a:cubicBezTo>
                <a:cubicBezTo>
                  <a:pt x="125" y="235"/>
                  <a:pt x="125" y="235"/>
                  <a:pt x="125" y="235"/>
                </a:cubicBezTo>
                <a:cubicBezTo>
                  <a:pt x="126" y="235"/>
                  <a:pt x="126" y="235"/>
                  <a:pt x="126" y="235"/>
                </a:cubicBezTo>
                <a:cubicBezTo>
                  <a:pt x="127" y="235"/>
                  <a:pt x="127" y="235"/>
                  <a:pt x="127" y="235"/>
                </a:cubicBezTo>
                <a:cubicBezTo>
                  <a:pt x="127" y="235"/>
                  <a:pt x="127" y="235"/>
                  <a:pt x="127" y="235"/>
                </a:cubicBezTo>
                <a:cubicBezTo>
                  <a:pt x="129" y="236"/>
                  <a:pt x="129" y="236"/>
                  <a:pt x="129" y="236"/>
                </a:cubicBezTo>
                <a:cubicBezTo>
                  <a:pt x="128" y="237"/>
                  <a:pt x="128" y="237"/>
                  <a:pt x="128" y="237"/>
                </a:cubicBezTo>
                <a:cubicBezTo>
                  <a:pt x="128" y="237"/>
                  <a:pt x="128" y="237"/>
                  <a:pt x="128" y="237"/>
                </a:cubicBezTo>
                <a:cubicBezTo>
                  <a:pt x="128" y="239"/>
                  <a:pt x="128" y="239"/>
                  <a:pt x="128" y="239"/>
                </a:cubicBezTo>
                <a:cubicBezTo>
                  <a:pt x="128" y="239"/>
                  <a:pt x="128" y="239"/>
                  <a:pt x="128" y="239"/>
                </a:cubicBezTo>
                <a:cubicBezTo>
                  <a:pt x="127" y="239"/>
                  <a:pt x="127" y="239"/>
                  <a:pt x="127" y="239"/>
                </a:cubicBezTo>
                <a:cubicBezTo>
                  <a:pt x="125" y="241"/>
                  <a:pt x="125" y="241"/>
                  <a:pt x="125" y="241"/>
                </a:cubicBezTo>
                <a:cubicBezTo>
                  <a:pt x="126" y="242"/>
                  <a:pt x="126" y="242"/>
                  <a:pt x="126" y="242"/>
                </a:cubicBezTo>
                <a:cubicBezTo>
                  <a:pt x="127" y="242"/>
                  <a:pt x="127" y="242"/>
                  <a:pt x="127" y="242"/>
                </a:cubicBezTo>
                <a:cubicBezTo>
                  <a:pt x="128" y="242"/>
                  <a:pt x="128" y="242"/>
                  <a:pt x="128" y="242"/>
                </a:cubicBezTo>
                <a:cubicBezTo>
                  <a:pt x="128" y="242"/>
                  <a:pt x="128" y="242"/>
                  <a:pt x="128" y="242"/>
                </a:cubicBezTo>
                <a:cubicBezTo>
                  <a:pt x="129" y="241"/>
                  <a:pt x="129" y="241"/>
                  <a:pt x="129" y="241"/>
                </a:cubicBezTo>
                <a:cubicBezTo>
                  <a:pt x="131" y="242"/>
                  <a:pt x="131" y="242"/>
                  <a:pt x="131" y="242"/>
                </a:cubicBezTo>
                <a:cubicBezTo>
                  <a:pt x="131" y="243"/>
                  <a:pt x="131" y="243"/>
                  <a:pt x="131" y="243"/>
                </a:cubicBezTo>
                <a:cubicBezTo>
                  <a:pt x="131" y="242"/>
                  <a:pt x="131" y="242"/>
                  <a:pt x="131" y="242"/>
                </a:cubicBezTo>
                <a:cubicBezTo>
                  <a:pt x="132" y="240"/>
                  <a:pt x="132" y="240"/>
                  <a:pt x="132" y="240"/>
                </a:cubicBezTo>
                <a:cubicBezTo>
                  <a:pt x="133" y="240"/>
                  <a:pt x="133" y="240"/>
                  <a:pt x="133" y="240"/>
                </a:cubicBezTo>
                <a:cubicBezTo>
                  <a:pt x="134" y="241"/>
                  <a:pt x="134" y="241"/>
                  <a:pt x="134" y="241"/>
                </a:cubicBezTo>
                <a:cubicBezTo>
                  <a:pt x="135" y="242"/>
                  <a:pt x="135" y="242"/>
                  <a:pt x="135" y="242"/>
                </a:cubicBezTo>
                <a:cubicBezTo>
                  <a:pt x="135" y="241"/>
                  <a:pt x="135" y="241"/>
                  <a:pt x="135" y="241"/>
                </a:cubicBezTo>
                <a:cubicBezTo>
                  <a:pt x="135" y="240"/>
                  <a:pt x="135" y="240"/>
                  <a:pt x="135" y="240"/>
                </a:cubicBezTo>
                <a:cubicBezTo>
                  <a:pt x="135" y="240"/>
                  <a:pt x="135" y="240"/>
                  <a:pt x="135" y="240"/>
                </a:cubicBezTo>
                <a:cubicBezTo>
                  <a:pt x="134" y="239"/>
                  <a:pt x="134" y="239"/>
                  <a:pt x="134" y="239"/>
                </a:cubicBezTo>
                <a:cubicBezTo>
                  <a:pt x="134" y="238"/>
                  <a:pt x="134" y="238"/>
                  <a:pt x="134" y="238"/>
                </a:cubicBezTo>
                <a:cubicBezTo>
                  <a:pt x="135" y="237"/>
                  <a:pt x="135" y="237"/>
                  <a:pt x="135" y="237"/>
                </a:cubicBezTo>
                <a:cubicBezTo>
                  <a:pt x="136" y="237"/>
                  <a:pt x="136" y="237"/>
                  <a:pt x="136" y="237"/>
                </a:cubicBezTo>
                <a:cubicBezTo>
                  <a:pt x="137" y="236"/>
                  <a:pt x="137" y="236"/>
                  <a:pt x="137" y="236"/>
                </a:cubicBezTo>
                <a:cubicBezTo>
                  <a:pt x="138" y="235"/>
                  <a:pt x="138" y="235"/>
                  <a:pt x="138" y="235"/>
                </a:cubicBezTo>
                <a:cubicBezTo>
                  <a:pt x="139" y="236"/>
                  <a:pt x="139" y="236"/>
                  <a:pt x="139" y="236"/>
                </a:cubicBezTo>
                <a:cubicBezTo>
                  <a:pt x="140" y="236"/>
                  <a:pt x="140" y="236"/>
                  <a:pt x="140" y="236"/>
                </a:cubicBezTo>
                <a:cubicBezTo>
                  <a:pt x="141" y="236"/>
                  <a:pt x="141" y="236"/>
                  <a:pt x="141" y="236"/>
                </a:cubicBezTo>
                <a:cubicBezTo>
                  <a:pt x="142" y="236"/>
                  <a:pt x="142" y="236"/>
                  <a:pt x="142" y="236"/>
                </a:cubicBezTo>
                <a:cubicBezTo>
                  <a:pt x="144" y="236"/>
                  <a:pt x="144" y="236"/>
                  <a:pt x="144" y="236"/>
                </a:cubicBezTo>
                <a:cubicBezTo>
                  <a:pt x="145" y="235"/>
                  <a:pt x="145" y="235"/>
                  <a:pt x="145" y="235"/>
                </a:cubicBezTo>
                <a:cubicBezTo>
                  <a:pt x="145" y="234"/>
                  <a:pt x="145" y="234"/>
                  <a:pt x="145" y="234"/>
                </a:cubicBezTo>
                <a:cubicBezTo>
                  <a:pt x="146" y="234"/>
                  <a:pt x="146" y="234"/>
                  <a:pt x="146" y="234"/>
                </a:cubicBezTo>
                <a:cubicBezTo>
                  <a:pt x="147" y="234"/>
                  <a:pt x="147" y="234"/>
                  <a:pt x="147" y="234"/>
                </a:cubicBezTo>
                <a:cubicBezTo>
                  <a:pt x="148" y="233"/>
                  <a:pt x="148" y="233"/>
                  <a:pt x="148" y="233"/>
                </a:cubicBezTo>
                <a:cubicBezTo>
                  <a:pt x="149" y="232"/>
                  <a:pt x="149" y="232"/>
                  <a:pt x="149" y="232"/>
                </a:cubicBezTo>
                <a:cubicBezTo>
                  <a:pt x="150" y="232"/>
                  <a:pt x="150" y="232"/>
                  <a:pt x="150" y="232"/>
                </a:cubicBezTo>
                <a:cubicBezTo>
                  <a:pt x="151" y="230"/>
                  <a:pt x="151" y="230"/>
                  <a:pt x="151" y="230"/>
                </a:cubicBezTo>
                <a:cubicBezTo>
                  <a:pt x="152" y="230"/>
                  <a:pt x="152" y="230"/>
                  <a:pt x="152" y="230"/>
                </a:cubicBezTo>
                <a:cubicBezTo>
                  <a:pt x="153" y="229"/>
                  <a:pt x="153" y="229"/>
                  <a:pt x="153" y="229"/>
                </a:cubicBezTo>
                <a:cubicBezTo>
                  <a:pt x="153" y="230"/>
                  <a:pt x="153" y="230"/>
                  <a:pt x="153" y="230"/>
                </a:cubicBezTo>
                <a:cubicBezTo>
                  <a:pt x="152" y="231"/>
                  <a:pt x="152" y="231"/>
                  <a:pt x="152" y="231"/>
                </a:cubicBezTo>
                <a:cubicBezTo>
                  <a:pt x="153" y="231"/>
                  <a:pt x="153" y="231"/>
                  <a:pt x="153" y="231"/>
                </a:cubicBezTo>
                <a:cubicBezTo>
                  <a:pt x="154" y="233"/>
                  <a:pt x="154" y="233"/>
                  <a:pt x="154" y="233"/>
                </a:cubicBezTo>
                <a:cubicBezTo>
                  <a:pt x="155" y="233"/>
                  <a:pt x="155" y="233"/>
                  <a:pt x="155" y="233"/>
                </a:cubicBezTo>
                <a:cubicBezTo>
                  <a:pt x="154" y="234"/>
                  <a:pt x="154" y="234"/>
                  <a:pt x="154" y="234"/>
                </a:cubicBezTo>
                <a:cubicBezTo>
                  <a:pt x="154" y="235"/>
                  <a:pt x="154" y="235"/>
                  <a:pt x="154" y="235"/>
                </a:cubicBezTo>
                <a:cubicBezTo>
                  <a:pt x="154" y="236"/>
                  <a:pt x="154" y="236"/>
                  <a:pt x="154" y="236"/>
                </a:cubicBezTo>
                <a:cubicBezTo>
                  <a:pt x="155" y="237"/>
                  <a:pt x="155" y="237"/>
                  <a:pt x="155" y="237"/>
                </a:cubicBezTo>
                <a:cubicBezTo>
                  <a:pt x="158" y="237"/>
                  <a:pt x="158" y="237"/>
                  <a:pt x="158" y="237"/>
                </a:cubicBezTo>
                <a:cubicBezTo>
                  <a:pt x="158" y="237"/>
                  <a:pt x="158" y="237"/>
                  <a:pt x="158" y="237"/>
                </a:cubicBezTo>
                <a:cubicBezTo>
                  <a:pt x="158" y="236"/>
                  <a:pt x="158" y="236"/>
                  <a:pt x="158" y="236"/>
                </a:cubicBezTo>
                <a:cubicBezTo>
                  <a:pt x="158" y="236"/>
                  <a:pt x="158" y="236"/>
                  <a:pt x="158" y="236"/>
                </a:cubicBezTo>
                <a:cubicBezTo>
                  <a:pt x="157" y="234"/>
                  <a:pt x="157" y="234"/>
                  <a:pt x="157" y="234"/>
                </a:cubicBezTo>
                <a:cubicBezTo>
                  <a:pt x="157" y="233"/>
                  <a:pt x="157" y="233"/>
                  <a:pt x="157" y="233"/>
                </a:cubicBezTo>
                <a:cubicBezTo>
                  <a:pt x="158" y="233"/>
                  <a:pt x="158" y="233"/>
                  <a:pt x="158" y="233"/>
                </a:cubicBezTo>
                <a:cubicBezTo>
                  <a:pt x="159" y="233"/>
                  <a:pt x="159" y="233"/>
                  <a:pt x="159" y="233"/>
                </a:cubicBezTo>
                <a:cubicBezTo>
                  <a:pt x="161" y="233"/>
                  <a:pt x="161" y="233"/>
                  <a:pt x="161" y="233"/>
                </a:cubicBezTo>
                <a:cubicBezTo>
                  <a:pt x="161" y="230"/>
                  <a:pt x="161" y="230"/>
                  <a:pt x="161" y="230"/>
                </a:cubicBezTo>
                <a:cubicBezTo>
                  <a:pt x="162" y="230"/>
                  <a:pt x="162" y="230"/>
                  <a:pt x="162" y="230"/>
                </a:cubicBezTo>
                <a:cubicBezTo>
                  <a:pt x="163" y="231"/>
                  <a:pt x="163" y="231"/>
                  <a:pt x="163" y="231"/>
                </a:cubicBezTo>
                <a:cubicBezTo>
                  <a:pt x="164" y="231"/>
                  <a:pt x="164" y="231"/>
                  <a:pt x="164" y="231"/>
                </a:cubicBezTo>
                <a:cubicBezTo>
                  <a:pt x="163" y="229"/>
                  <a:pt x="163" y="229"/>
                  <a:pt x="163" y="229"/>
                </a:cubicBezTo>
                <a:cubicBezTo>
                  <a:pt x="161" y="229"/>
                  <a:pt x="161" y="229"/>
                  <a:pt x="161" y="229"/>
                </a:cubicBezTo>
                <a:cubicBezTo>
                  <a:pt x="161" y="228"/>
                  <a:pt x="161" y="228"/>
                  <a:pt x="161" y="228"/>
                </a:cubicBezTo>
                <a:cubicBezTo>
                  <a:pt x="160" y="226"/>
                  <a:pt x="160" y="226"/>
                  <a:pt x="160" y="226"/>
                </a:cubicBezTo>
                <a:cubicBezTo>
                  <a:pt x="159" y="226"/>
                  <a:pt x="159" y="226"/>
                  <a:pt x="159" y="226"/>
                </a:cubicBezTo>
                <a:cubicBezTo>
                  <a:pt x="159" y="227"/>
                  <a:pt x="159" y="227"/>
                  <a:pt x="159" y="227"/>
                </a:cubicBezTo>
                <a:cubicBezTo>
                  <a:pt x="158" y="226"/>
                  <a:pt x="158" y="226"/>
                  <a:pt x="158" y="226"/>
                </a:cubicBezTo>
                <a:cubicBezTo>
                  <a:pt x="158" y="223"/>
                  <a:pt x="158" y="223"/>
                  <a:pt x="158" y="223"/>
                </a:cubicBezTo>
                <a:cubicBezTo>
                  <a:pt x="157" y="223"/>
                  <a:pt x="157" y="223"/>
                  <a:pt x="157" y="223"/>
                </a:cubicBezTo>
                <a:cubicBezTo>
                  <a:pt x="156" y="221"/>
                  <a:pt x="156" y="221"/>
                  <a:pt x="156" y="221"/>
                </a:cubicBezTo>
                <a:cubicBezTo>
                  <a:pt x="156" y="221"/>
                  <a:pt x="156" y="221"/>
                  <a:pt x="156" y="221"/>
                </a:cubicBezTo>
                <a:cubicBezTo>
                  <a:pt x="157" y="221"/>
                  <a:pt x="157" y="221"/>
                  <a:pt x="157" y="221"/>
                </a:cubicBezTo>
                <a:cubicBezTo>
                  <a:pt x="157" y="219"/>
                  <a:pt x="157" y="219"/>
                  <a:pt x="157" y="219"/>
                </a:cubicBezTo>
                <a:cubicBezTo>
                  <a:pt x="157" y="218"/>
                  <a:pt x="157" y="218"/>
                  <a:pt x="157" y="218"/>
                </a:cubicBezTo>
                <a:cubicBezTo>
                  <a:pt x="157" y="217"/>
                  <a:pt x="157" y="217"/>
                  <a:pt x="157" y="217"/>
                </a:cubicBezTo>
                <a:cubicBezTo>
                  <a:pt x="158" y="218"/>
                  <a:pt x="158" y="218"/>
                  <a:pt x="158" y="218"/>
                </a:cubicBezTo>
                <a:cubicBezTo>
                  <a:pt x="159" y="217"/>
                  <a:pt x="159" y="217"/>
                  <a:pt x="159" y="217"/>
                </a:cubicBezTo>
                <a:cubicBezTo>
                  <a:pt x="160" y="218"/>
                  <a:pt x="160" y="218"/>
                  <a:pt x="160" y="218"/>
                </a:cubicBezTo>
                <a:cubicBezTo>
                  <a:pt x="161" y="218"/>
                  <a:pt x="161" y="218"/>
                  <a:pt x="161" y="218"/>
                </a:cubicBezTo>
                <a:cubicBezTo>
                  <a:pt x="162" y="218"/>
                  <a:pt x="162" y="218"/>
                  <a:pt x="162" y="218"/>
                </a:cubicBezTo>
                <a:cubicBezTo>
                  <a:pt x="167" y="218"/>
                  <a:pt x="167" y="218"/>
                  <a:pt x="167" y="218"/>
                </a:cubicBezTo>
                <a:cubicBezTo>
                  <a:pt x="173" y="218"/>
                  <a:pt x="173" y="218"/>
                  <a:pt x="173" y="218"/>
                </a:cubicBezTo>
                <a:cubicBezTo>
                  <a:pt x="175" y="219"/>
                  <a:pt x="175" y="219"/>
                  <a:pt x="175" y="219"/>
                </a:cubicBezTo>
                <a:cubicBezTo>
                  <a:pt x="179" y="221"/>
                  <a:pt x="179" y="221"/>
                  <a:pt x="179" y="221"/>
                </a:cubicBezTo>
                <a:cubicBezTo>
                  <a:pt x="179" y="221"/>
                  <a:pt x="179" y="221"/>
                  <a:pt x="179" y="221"/>
                </a:cubicBezTo>
                <a:cubicBezTo>
                  <a:pt x="179" y="222"/>
                  <a:pt x="179" y="222"/>
                  <a:pt x="179" y="222"/>
                </a:cubicBezTo>
                <a:cubicBezTo>
                  <a:pt x="179" y="224"/>
                  <a:pt x="179" y="224"/>
                  <a:pt x="179" y="224"/>
                </a:cubicBezTo>
                <a:cubicBezTo>
                  <a:pt x="181" y="222"/>
                  <a:pt x="181" y="222"/>
                  <a:pt x="181" y="222"/>
                </a:cubicBezTo>
                <a:cubicBezTo>
                  <a:pt x="182" y="222"/>
                  <a:pt x="182" y="222"/>
                  <a:pt x="182" y="222"/>
                </a:cubicBezTo>
                <a:cubicBezTo>
                  <a:pt x="183" y="223"/>
                  <a:pt x="183" y="223"/>
                  <a:pt x="183" y="223"/>
                </a:cubicBezTo>
                <a:cubicBezTo>
                  <a:pt x="184" y="223"/>
                  <a:pt x="184" y="223"/>
                  <a:pt x="184" y="223"/>
                </a:cubicBezTo>
                <a:cubicBezTo>
                  <a:pt x="185" y="224"/>
                  <a:pt x="185" y="224"/>
                  <a:pt x="185" y="224"/>
                </a:cubicBezTo>
                <a:cubicBezTo>
                  <a:pt x="187" y="224"/>
                  <a:pt x="187" y="224"/>
                  <a:pt x="187" y="224"/>
                </a:cubicBezTo>
                <a:cubicBezTo>
                  <a:pt x="190" y="226"/>
                  <a:pt x="190" y="226"/>
                  <a:pt x="190" y="226"/>
                </a:cubicBezTo>
                <a:cubicBezTo>
                  <a:pt x="194" y="227"/>
                  <a:pt x="194" y="227"/>
                  <a:pt x="194" y="227"/>
                </a:cubicBezTo>
                <a:cubicBezTo>
                  <a:pt x="195" y="228"/>
                  <a:pt x="195" y="228"/>
                  <a:pt x="195" y="228"/>
                </a:cubicBezTo>
                <a:cubicBezTo>
                  <a:pt x="196" y="229"/>
                  <a:pt x="196" y="229"/>
                  <a:pt x="196" y="229"/>
                </a:cubicBezTo>
                <a:cubicBezTo>
                  <a:pt x="198" y="230"/>
                  <a:pt x="198" y="230"/>
                  <a:pt x="198" y="230"/>
                </a:cubicBezTo>
                <a:cubicBezTo>
                  <a:pt x="199" y="231"/>
                  <a:pt x="199" y="231"/>
                  <a:pt x="199" y="231"/>
                </a:cubicBezTo>
                <a:cubicBezTo>
                  <a:pt x="201" y="234"/>
                  <a:pt x="201" y="234"/>
                  <a:pt x="201" y="234"/>
                </a:cubicBezTo>
                <a:cubicBezTo>
                  <a:pt x="202" y="234"/>
                  <a:pt x="202" y="234"/>
                  <a:pt x="202" y="234"/>
                </a:cubicBezTo>
                <a:cubicBezTo>
                  <a:pt x="202" y="233"/>
                  <a:pt x="202" y="233"/>
                  <a:pt x="202" y="233"/>
                </a:cubicBezTo>
                <a:cubicBezTo>
                  <a:pt x="202" y="232"/>
                  <a:pt x="202" y="232"/>
                  <a:pt x="202" y="232"/>
                </a:cubicBezTo>
                <a:cubicBezTo>
                  <a:pt x="203" y="232"/>
                  <a:pt x="203" y="232"/>
                  <a:pt x="203" y="232"/>
                </a:cubicBezTo>
                <a:cubicBezTo>
                  <a:pt x="203" y="231"/>
                  <a:pt x="203" y="231"/>
                  <a:pt x="203" y="231"/>
                </a:cubicBezTo>
                <a:cubicBezTo>
                  <a:pt x="202" y="230"/>
                  <a:pt x="202" y="230"/>
                  <a:pt x="202" y="230"/>
                </a:cubicBezTo>
                <a:cubicBezTo>
                  <a:pt x="202" y="229"/>
                  <a:pt x="202" y="229"/>
                  <a:pt x="202" y="229"/>
                </a:cubicBezTo>
                <a:cubicBezTo>
                  <a:pt x="202" y="225"/>
                  <a:pt x="202" y="225"/>
                  <a:pt x="202" y="225"/>
                </a:cubicBezTo>
                <a:cubicBezTo>
                  <a:pt x="204" y="224"/>
                  <a:pt x="204" y="224"/>
                  <a:pt x="204" y="224"/>
                </a:cubicBezTo>
                <a:cubicBezTo>
                  <a:pt x="202" y="225"/>
                  <a:pt x="202" y="225"/>
                  <a:pt x="202" y="225"/>
                </a:cubicBezTo>
                <a:cubicBezTo>
                  <a:pt x="202" y="224"/>
                  <a:pt x="202" y="224"/>
                  <a:pt x="202" y="224"/>
                </a:cubicBezTo>
                <a:cubicBezTo>
                  <a:pt x="201" y="224"/>
                  <a:pt x="201" y="224"/>
                  <a:pt x="201" y="224"/>
                </a:cubicBezTo>
                <a:cubicBezTo>
                  <a:pt x="200" y="225"/>
                  <a:pt x="200" y="225"/>
                  <a:pt x="200" y="225"/>
                </a:cubicBezTo>
                <a:cubicBezTo>
                  <a:pt x="199" y="224"/>
                  <a:pt x="199" y="224"/>
                  <a:pt x="199" y="224"/>
                </a:cubicBezTo>
                <a:cubicBezTo>
                  <a:pt x="196" y="221"/>
                  <a:pt x="196" y="221"/>
                  <a:pt x="196" y="221"/>
                </a:cubicBezTo>
                <a:cubicBezTo>
                  <a:pt x="196" y="221"/>
                  <a:pt x="196" y="221"/>
                  <a:pt x="196" y="221"/>
                </a:cubicBezTo>
                <a:cubicBezTo>
                  <a:pt x="195" y="220"/>
                  <a:pt x="195" y="220"/>
                  <a:pt x="195" y="220"/>
                </a:cubicBezTo>
                <a:cubicBezTo>
                  <a:pt x="195" y="218"/>
                  <a:pt x="195" y="218"/>
                  <a:pt x="195" y="218"/>
                </a:cubicBezTo>
                <a:cubicBezTo>
                  <a:pt x="194" y="217"/>
                  <a:pt x="194" y="217"/>
                  <a:pt x="194" y="217"/>
                </a:cubicBezTo>
                <a:cubicBezTo>
                  <a:pt x="193" y="219"/>
                  <a:pt x="193" y="219"/>
                  <a:pt x="193" y="219"/>
                </a:cubicBezTo>
                <a:cubicBezTo>
                  <a:pt x="191" y="218"/>
                  <a:pt x="191" y="218"/>
                  <a:pt x="191" y="218"/>
                </a:cubicBezTo>
                <a:cubicBezTo>
                  <a:pt x="190" y="218"/>
                  <a:pt x="190" y="218"/>
                  <a:pt x="190" y="218"/>
                </a:cubicBezTo>
                <a:cubicBezTo>
                  <a:pt x="189" y="217"/>
                  <a:pt x="189" y="217"/>
                  <a:pt x="189" y="217"/>
                </a:cubicBezTo>
                <a:cubicBezTo>
                  <a:pt x="188" y="218"/>
                  <a:pt x="188" y="218"/>
                  <a:pt x="188" y="218"/>
                </a:cubicBezTo>
                <a:cubicBezTo>
                  <a:pt x="188" y="216"/>
                  <a:pt x="188" y="216"/>
                  <a:pt x="188" y="216"/>
                </a:cubicBezTo>
                <a:cubicBezTo>
                  <a:pt x="187" y="215"/>
                  <a:pt x="187" y="215"/>
                  <a:pt x="187" y="215"/>
                </a:cubicBezTo>
                <a:cubicBezTo>
                  <a:pt x="186" y="212"/>
                  <a:pt x="186" y="212"/>
                  <a:pt x="186" y="212"/>
                </a:cubicBezTo>
                <a:cubicBezTo>
                  <a:pt x="186" y="211"/>
                  <a:pt x="186" y="211"/>
                  <a:pt x="186" y="211"/>
                </a:cubicBezTo>
                <a:cubicBezTo>
                  <a:pt x="187" y="212"/>
                  <a:pt x="187" y="212"/>
                  <a:pt x="187" y="212"/>
                </a:cubicBezTo>
                <a:cubicBezTo>
                  <a:pt x="188" y="211"/>
                  <a:pt x="188" y="211"/>
                  <a:pt x="188" y="211"/>
                </a:cubicBezTo>
                <a:cubicBezTo>
                  <a:pt x="188" y="210"/>
                  <a:pt x="188" y="210"/>
                  <a:pt x="188" y="210"/>
                </a:cubicBezTo>
                <a:cubicBezTo>
                  <a:pt x="186" y="208"/>
                  <a:pt x="186" y="208"/>
                  <a:pt x="186" y="208"/>
                </a:cubicBezTo>
                <a:cubicBezTo>
                  <a:pt x="186" y="207"/>
                  <a:pt x="186" y="207"/>
                  <a:pt x="186" y="207"/>
                </a:cubicBezTo>
                <a:cubicBezTo>
                  <a:pt x="186" y="206"/>
                  <a:pt x="186" y="206"/>
                  <a:pt x="186" y="206"/>
                </a:cubicBezTo>
                <a:cubicBezTo>
                  <a:pt x="187" y="206"/>
                  <a:pt x="187" y="206"/>
                  <a:pt x="187" y="206"/>
                </a:cubicBezTo>
                <a:cubicBezTo>
                  <a:pt x="186" y="205"/>
                  <a:pt x="186" y="205"/>
                  <a:pt x="186" y="205"/>
                </a:cubicBezTo>
                <a:cubicBezTo>
                  <a:pt x="185" y="205"/>
                  <a:pt x="185" y="205"/>
                  <a:pt x="185" y="205"/>
                </a:cubicBezTo>
                <a:cubicBezTo>
                  <a:pt x="184" y="202"/>
                  <a:pt x="184" y="202"/>
                  <a:pt x="184" y="202"/>
                </a:cubicBezTo>
                <a:cubicBezTo>
                  <a:pt x="183" y="202"/>
                  <a:pt x="183" y="202"/>
                  <a:pt x="183" y="202"/>
                </a:cubicBezTo>
                <a:cubicBezTo>
                  <a:pt x="182" y="202"/>
                  <a:pt x="182" y="202"/>
                  <a:pt x="182" y="202"/>
                </a:cubicBezTo>
                <a:cubicBezTo>
                  <a:pt x="181" y="201"/>
                  <a:pt x="181" y="201"/>
                  <a:pt x="181" y="201"/>
                </a:cubicBezTo>
                <a:cubicBezTo>
                  <a:pt x="181" y="199"/>
                  <a:pt x="181" y="199"/>
                  <a:pt x="181" y="199"/>
                </a:cubicBezTo>
                <a:cubicBezTo>
                  <a:pt x="182" y="198"/>
                  <a:pt x="182" y="198"/>
                  <a:pt x="182" y="198"/>
                </a:cubicBezTo>
                <a:cubicBezTo>
                  <a:pt x="181" y="196"/>
                  <a:pt x="181" y="196"/>
                  <a:pt x="181" y="196"/>
                </a:cubicBezTo>
                <a:cubicBezTo>
                  <a:pt x="181" y="195"/>
                  <a:pt x="181" y="195"/>
                  <a:pt x="181" y="195"/>
                </a:cubicBezTo>
                <a:cubicBezTo>
                  <a:pt x="181" y="195"/>
                  <a:pt x="181" y="195"/>
                  <a:pt x="181" y="195"/>
                </a:cubicBezTo>
                <a:cubicBezTo>
                  <a:pt x="184" y="191"/>
                  <a:pt x="184" y="191"/>
                  <a:pt x="184" y="191"/>
                </a:cubicBezTo>
                <a:cubicBezTo>
                  <a:pt x="185" y="190"/>
                  <a:pt x="185" y="190"/>
                  <a:pt x="185" y="190"/>
                </a:cubicBezTo>
                <a:cubicBezTo>
                  <a:pt x="185" y="190"/>
                  <a:pt x="185" y="190"/>
                  <a:pt x="185" y="190"/>
                </a:cubicBezTo>
                <a:cubicBezTo>
                  <a:pt x="185" y="188"/>
                  <a:pt x="185" y="188"/>
                  <a:pt x="185" y="188"/>
                </a:cubicBezTo>
                <a:cubicBezTo>
                  <a:pt x="185" y="187"/>
                  <a:pt x="185" y="187"/>
                  <a:pt x="185" y="187"/>
                </a:cubicBezTo>
                <a:cubicBezTo>
                  <a:pt x="186" y="185"/>
                  <a:pt x="186" y="185"/>
                  <a:pt x="186" y="185"/>
                </a:cubicBezTo>
                <a:cubicBezTo>
                  <a:pt x="185" y="184"/>
                  <a:pt x="185" y="184"/>
                  <a:pt x="185" y="184"/>
                </a:cubicBezTo>
                <a:cubicBezTo>
                  <a:pt x="184" y="182"/>
                  <a:pt x="184" y="182"/>
                  <a:pt x="184" y="182"/>
                </a:cubicBezTo>
                <a:cubicBezTo>
                  <a:pt x="185" y="181"/>
                  <a:pt x="185" y="181"/>
                  <a:pt x="185" y="181"/>
                </a:cubicBezTo>
                <a:cubicBezTo>
                  <a:pt x="184" y="180"/>
                  <a:pt x="184" y="180"/>
                  <a:pt x="184" y="180"/>
                </a:cubicBezTo>
                <a:cubicBezTo>
                  <a:pt x="185" y="178"/>
                  <a:pt x="185" y="178"/>
                  <a:pt x="185" y="178"/>
                </a:cubicBezTo>
                <a:cubicBezTo>
                  <a:pt x="184" y="178"/>
                  <a:pt x="184" y="178"/>
                  <a:pt x="184" y="178"/>
                </a:cubicBezTo>
                <a:cubicBezTo>
                  <a:pt x="184" y="175"/>
                  <a:pt x="184" y="175"/>
                  <a:pt x="184" y="175"/>
                </a:cubicBezTo>
                <a:cubicBezTo>
                  <a:pt x="185" y="175"/>
                  <a:pt x="185" y="175"/>
                  <a:pt x="185" y="175"/>
                </a:cubicBezTo>
                <a:cubicBezTo>
                  <a:pt x="184" y="173"/>
                  <a:pt x="184" y="173"/>
                  <a:pt x="184" y="173"/>
                </a:cubicBezTo>
                <a:cubicBezTo>
                  <a:pt x="184" y="171"/>
                  <a:pt x="184" y="171"/>
                  <a:pt x="184" y="171"/>
                </a:cubicBezTo>
                <a:cubicBezTo>
                  <a:pt x="184" y="169"/>
                  <a:pt x="184" y="169"/>
                  <a:pt x="184" y="169"/>
                </a:cubicBezTo>
                <a:cubicBezTo>
                  <a:pt x="185" y="168"/>
                  <a:pt x="185" y="168"/>
                  <a:pt x="185" y="168"/>
                </a:cubicBezTo>
                <a:cubicBezTo>
                  <a:pt x="186" y="169"/>
                  <a:pt x="186" y="169"/>
                  <a:pt x="186" y="169"/>
                </a:cubicBezTo>
                <a:cubicBezTo>
                  <a:pt x="186" y="169"/>
                  <a:pt x="186" y="169"/>
                  <a:pt x="186" y="169"/>
                </a:cubicBezTo>
                <a:cubicBezTo>
                  <a:pt x="186" y="170"/>
                  <a:pt x="186" y="170"/>
                  <a:pt x="186" y="170"/>
                </a:cubicBezTo>
                <a:cubicBezTo>
                  <a:pt x="187" y="169"/>
                  <a:pt x="187" y="169"/>
                  <a:pt x="187" y="169"/>
                </a:cubicBezTo>
                <a:cubicBezTo>
                  <a:pt x="189" y="169"/>
                  <a:pt x="189" y="169"/>
                  <a:pt x="189" y="169"/>
                </a:cubicBezTo>
                <a:cubicBezTo>
                  <a:pt x="191" y="169"/>
                  <a:pt x="191" y="169"/>
                  <a:pt x="191" y="169"/>
                </a:cubicBezTo>
                <a:cubicBezTo>
                  <a:pt x="192" y="169"/>
                  <a:pt x="192" y="169"/>
                  <a:pt x="192" y="169"/>
                </a:cubicBezTo>
                <a:cubicBezTo>
                  <a:pt x="193" y="169"/>
                  <a:pt x="193" y="169"/>
                  <a:pt x="193" y="169"/>
                </a:cubicBezTo>
                <a:cubicBezTo>
                  <a:pt x="194" y="168"/>
                  <a:pt x="194" y="168"/>
                  <a:pt x="194" y="168"/>
                </a:cubicBezTo>
                <a:cubicBezTo>
                  <a:pt x="195" y="169"/>
                  <a:pt x="195" y="169"/>
                  <a:pt x="195" y="169"/>
                </a:cubicBezTo>
                <a:cubicBezTo>
                  <a:pt x="199" y="170"/>
                  <a:pt x="199" y="170"/>
                  <a:pt x="199" y="170"/>
                </a:cubicBezTo>
                <a:cubicBezTo>
                  <a:pt x="201" y="170"/>
                  <a:pt x="201" y="170"/>
                  <a:pt x="201" y="170"/>
                </a:cubicBezTo>
                <a:cubicBezTo>
                  <a:pt x="202" y="170"/>
                  <a:pt x="202" y="170"/>
                  <a:pt x="202" y="170"/>
                </a:cubicBezTo>
                <a:cubicBezTo>
                  <a:pt x="202" y="172"/>
                  <a:pt x="202" y="172"/>
                  <a:pt x="202" y="172"/>
                </a:cubicBezTo>
                <a:cubicBezTo>
                  <a:pt x="201" y="172"/>
                  <a:pt x="201" y="172"/>
                  <a:pt x="201" y="172"/>
                </a:cubicBezTo>
                <a:cubicBezTo>
                  <a:pt x="202" y="173"/>
                  <a:pt x="202" y="173"/>
                  <a:pt x="202" y="173"/>
                </a:cubicBezTo>
                <a:cubicBezTo>
                  <a:pt x="202" y="175"/>
                  <a:pt x="202" y="175"/>
                  <a:pt x="202" y="175"/>
                </a:cubicBezTo>
                <a:cubicBezTo>
                  <a:pt x="203" y="176"/>
                  <a:pt x="203" y="176"/>
                  <a:pt x="203" y="176"/>
                </a:cubicBezTo>
                <a:cubicBezTo>
                  <a:pt x="203" y="178"/>
                  <a:pt x="203" y="178"/>
                  <a:pt x="203" y="178"/>
                </a:cubicBezTo>
                <a:cubicBezTo>
                  <a:pt x="204" y="180"/>
                  <a:pt x="204" y="180"/>
                  <a:pt x="204" y="180"/>
                </a:cubicBezTo>
                <a:cubicBezTo>
                  <a:pt x="203" y="183"/>
                  <a:pt x="203" y="183"/>
                  <a:pt x="203" y="183"/>
                </a:cubicBezTo>
                <a:cubicBezTo>
                  <a:pt x="204" y="184"/>
                  <a:pt x="204" y="184"/>
                  <a:pt x="204" y="184"/>
                </a:cubicBezTo>
                <a:cubicBezTo>
                  <a:pt x="203" y="185"/>
                  <a:pt x="203" y="185"/>
                  <a:pt x="203" y="185"/>
                </a:cubicBezTo>
                <a:cubicBezTo>
                  <a:pt x="204" y="186"/>
                  <a:pt x="204" y="186"/>
                  <a:pt x="204" y="186"/>
                </a:cubicBezTo>
                <a:cubicBezTo>
                  <a:pt x="204" y="187"/>
                  <a:pt x="204" y="187"/>
                  <a:pt x="204" y="187"/>
                </a:cubicBezTo>
                <a:cubicBezTo>
                  <a:pt x="203" y="188"/>
                  <a:pt x="203" y="188"/>
                  <a:pt x="203" y="188"/>
                </a:cubicBezTo>
                <a:cubicBezTo>
                  <a:pt x="203" y="189"/>
                  <a:pt x="203" y="189"/>
                  <a:pt x="203" y="189"/>
                </a:cubicBezTo>
                <a:cubicBezTo>
                  <a:pt x="205" y="190"/>
                  <a:pt x="205" y="190"/>
                  <a:pt x="205" y="190"/>
                </a:cubicBezTo>
                <a:cubicBezTo>
                  <a:pt x="206" y="192"/>
                  <a:pt x="206" y="192"/>
                  <a:pt x="206" y="192"/>
                </a:cubicBezTo>
                <a:cubicBezTo>
                  <a:pt x="207" y="192"/>
                  <a:pt x="207" y="192"/>
                  <a:pt x="207" y="192"/>
                </a:cubicBezTo>
                <a:cubicBezTo>
                  <a:pt x="207" y="193"/>
                  <a:pt x="207" y="193"/>
                  <a:pt x="207" y="193"/>
                </a:cubicBezTo>
                <a:cubicBezTo>
                  <a:pt x="208" y="192"/>
                  <a:pt x="208" y="192"/>
                  <a:pt x="208" y="192"/>
                </a:cubicBezTo>
                <a:cubicBezTo>
                  <a:pt x="209" y="193"/>
                  <a:pt x="209" y="193"/>
                  <a:pt x="209" y="193"/>
                </a:cubicBezTo>
                <a:cubicBezTo>
                  <a:pt x="209" y="195"/>
                  <a:pt x="209" y="195"/>
                  <a:pt x="209" y="195"/>
                </a:cubicBezTo>
                <a:cubicBezTo>
                  <a:pt x="211" y="196"/>
                  <a:pt x="211" y="196"/>
                  <a:pt x="211" y="196"/>
                </a:cubicBezTo>
                <a:cubicBezTo>
                  <a:pt x="212" y="198"/>
                  <a:pt x="212" y="198"/>
                  <a:pt x="212" y="198"/>
                </a:cubicBezTo>
                <a:cubicBezTo>
                  <a:pt x="212" y="202"/>
                  <a:pt x="212" y="202"/>
                  <a:pt x="212" y="202"/>
                </a:cubicBezTo>
                <a:cubicBezTo>
                  <a:pt x="213" y="203"/>
                  <a:pt x="213" y="203"/>
                  <a:pt x="213" y="203"/>
                </a:cubicBezTo>
                <a:cubicBezTo>
                  <a:pt x="213" y="203"/>
                  <a:pt x="213" y="203"/>
                  <a:pt x="213" y="203"/>
                </a:cubicBezTo>
                <a:cubicBezTo>
                  <a:pt x="213" y="204"/>
                  <a:pt x="213" y="204"/>
                  <a:pt x="213" y="204"/>
                </a:cubicBezTo>
                <a:cubicBezTo>
                  <a:pt x="214" y="206"/>
                  <a:pt x="214" y="206"/>
                  <a:pt x="214" y="206"/>
                </a:cubicBezTo>
                <a:cubicBezTo>
                  <a:pt x="214" y="208"/>
                  <a:pt x="214" y="208"/>
                  <a:pt x="214" y="208"/>
                </a:cubicBezTo>
                <a:cubicBezTo>
                  <a:pt x="216" y="211"/>
                  <a:pt x="216" y="211"/>
                  <a:pt x="216" y="211"/>
                </a:cubicBezTo>
                <a:cubicBezTo>
                  <a:pt x="215" y="212"/>
                  <a:pt x="215" y="212"/>
                  <a:pt x="215" y="212"/>
                </a:cubicBezTo>
                <a:cubicBezTo>
                  <a:pt x="216" y="214"/>
                  <a:pt x="216" y="214"/>
                  <a:pt x="216" y="214"/>
                </a:cubicBezTo>
                <a:cubicBezTo>
                  <a:pt x="218" y="214"/>
                  <a:pt x="218" y="214"/>
                  <a:pt x="218" y="214"/>
                </a:cubicBezTo>
                <a:cubicBezTo>
                  <a:pt x="217" y="216"/>
                  <a:pt x="217" y="216"/>
                  <a:pt x="217" y="216"/>
                </a:cubicBezTo>
                <a:cubicBezTo>
                  <a:pt x="218" y="216"/>
                  <a:pt x="218" y="216"/>
                  <a:pt x="218" y="216"/>
                </a:cubicBezTo>
                <a:cubicBezTo>
                  <a:pt x="218" y="219"/>
                  <a:pt x="218" y="219"/>
                  <a:pt x="218" y="219"/>
                </a:cubicBezTo>
                <a:cubicBezTo>
                  <a:pt x="221" y="222"/>
                  <a:pt x="221" y="222"/>
                  <a:pt x="221" y="222"/>
                </a:cubicBezTo>
                <a:cubicBezTo>
                  <a:pt x="223" y="223"/>
                  <a:pt x="223" y="223"/>
                  <a:pt x="223" y="223"/>
                </a:cubicBezTo>
                <a:cubicBezTo>
                  <a:pt x="223" y="224"/>
                  <a:pt x="223" y="224"/>
                  <a:pt x="223" y="224"/>
                </a:cubicBezTo>
                <a:cubicBezTo>
                  <a:pt x="224" y="224"/>
                  <a:pt x="224" y="224"/>
                  <a:pt x="224" y="224"/>
                </a:cubicBezTo>
                <a:cubicBezTo>
                  <a:pt x="226" y="226"/>
                  <a:pt x="226" y="226"/>
                  <a:pt x="226" y="226"/>
                </a:cubicBezTo>
                <a:cubicBezTo>
                  <a:pt x="226" y="227"/>
                  <a:pt x="226" y="227"/>
                  <a:pt x="226" y="227"/>
                </a:cubicBezTo>
                <a:cubicBezTo>
                  <a:pt x="226" y="227"/>
                  <a:pt x="226" y="227"/>
                  <a:pt x="226" y="227"/>
                </a:cubicBezTo>
                <a:cubicBezTo>
                  <a:pt x="226" y="228"/>
                  <a:pt x="226" y="228"/>
                  <a:pt x="226" y="228"/>
                </a:cubicBezTo>
                <a:cubicBezTo>
                  <a:pt x="225" y="230"/>
                  <a:pt x="225" y="230"/>
                  <a:pt x="225" y="230"/>
                </a:cubicBezTo>
                <a:cubicBezTo>
                  <a:pt x="226" y="232"/>
                  <a:pt x="226" y="232"/>
                  <a:pt x="226" y="232"/>
                </a:cubicBezTo>
                <a:cubicBezTo>
                  <a:pt x="228" y="233"/>
                  <a:pt x="228" y="233"/>
                  <a:pt x="228" y="233"/>
                </a:cubicBezTo>
                <a:cubicBezTo>
                  <a:pt x="228" y="235"/>
                  <a:pt x="228" y="235"/>
                  <a:pt x="228" y="235"/>
                </a:cubicBezTo>
                <a:cubicBezTo>
                  <a:pt x="227" y="236"/>
                  <a:pt x="227" y="236"/>
                  <a:pt x="227" y="236"/>
                </a:cubicBezTo>
                <a:cubicBezTo>
                  <a:pt x="227" y="237"/>
                  <a:pt x="227" y="237"/>
                  <a:pt x="227" y="237"/>
                </a:cubicBezTo>
                <a:cubicBezTo>
                  <a:pt x="226" y="238"/>
                  <a:pt x="226" y="238"/>
                  <a:pt x="226" y="238"/>
                </a:cubicBezTo>
                <a:cubicBezTo>
                  <a:pt x="226" y="239"/>
                  <a:pt x="226" y="239"/>
                  <a:pt x="226" y="239"/>
                </a:cubicBezTo>
                <a:cubicBezTo>
                  <a:pt x="226" y="241"/>
                  <a:pt x="226" y="241"/>
                  <a:pt x="226" y="241"/>
                </a:cubicBezTo>
                <a:cubicBezTo>
                  <a:pt x="225" y="242"/>
                  <a:pt x="225" y="242"/>
                  <a:pt x="225" y="242"/>
                </a:cubicBezTo>
                <a:cubicBezTo>
                  <a:pt x="225" y="243"/>
                  <a:pt x="225" y="243"/>
                  <a:pt x="225" y="243"/>
                </a:cubicBezTo>
                <a:cubicBezTo>
                  <a:pt x="226" y="242"/>
                  <a:pt x="226" y="242"/>
                  <a:pt x="226" y="242"/>
                </a:cubicBezTo>
                <a:cubicBezTo>
                  <a:pt x="226" y="243"/>
                  <a:pt x="226" y="243"/>
                  <a:pt x="226" y="243"/>
                </a:cubicBezTo>
                <a:cubicBezTo>
                  <a:pt x="225" y="244"/>
                  <a:pt x="225" y="244"/>
                  <a:pt x="225" y="244"/>
                </a:cubicBezTo>
                <a:cubicBezTo>
                  <a:pt x="225" y="247"/>
                  <a:pt x="225" y="247"/>
                  <a:pt x="225" y="247"/>
                </a:cubicBezTo>
                <a:cubicBezTo>
                  <a:pt x="224" y="247"/>
                  <a:pt x="224" y="247"/>
                  <a:pt x="224" y="247"/>
                </a:cubicBezTo>
                <a:cubicBezTo>
                  <a:pt x="223" y="247"/>
                  <a:pt x="223" y="247"/>
                  <a:pt x="223" y="247"/>
                </a:cubicBezTo>
                <a:cubicBezTo>
                  <a:pt x="223" y="248"/>
                  <a:pt x="223" y="248"/>
                  <a:pt x="223" y="248"/>
                </a:cubicBezTo>
                <a:cubicBezTo>
                  <a:pt x="224" y="249"/>
                  <a:pt x="224" y="249"/>
                  <a:pt x="224" y="249"/>
                </a:cubicBezTo>
                <a:cubicBezTo>
                  <a:pt x="224" y="250"/>
                  <a:pt x="224" y="250"/>
                  <a:pt x="224" y="250"/>
                </a:cubicBezTo>
                <a:cubicBezTo>
                  <a:pt x="223" y="251"/>
                  <a:pt x="223" y="251"/>
                  <a:pt x="223" y="251"/>
                </a:cubicBezTo>
                <a:cubicBezTo>
                  <a:pt x="222" y="252"/>
                  <a:pt x="222" y="252"/>
                  <a:pt x="222" y="252"/>
                </a:cubicBezTo>
                <a:cubicBezTo>
                  <a:pt x="219" y="252"/>
                  <a:pt x="219" y="252"/>
                  <a:pt x="219" y="252"/>
                </a:cubicBezTo>
                <a:cubicBezTo>
                  <a:pt x="218" y="251"/>
                  <a:pt x="218" y="251"/>
                  <a:pt x="218" y="251"/>
                </a:cubicBezTo>
                <a:cubicBezTo>
                  <a:pt x="220" y="250"/>
                  <a:pt x="220" y="250"/>
                  <a:pt x="220" y="250"/>
                </a:cubicBezTo>
                <a:cubicBezTo>
                  <a:pt x="220" y="249"/>
                  <a:pt x="220" y="249"/>
                  <a:pt x="220" y="249"/>
                </a:cubicBezTo>
                <a:cubicBezTo>
                  <a:pt x="219" y="249"/>
                  <a:pt x="219" y="249"/>
                  <a:pt x="219" y="249"/>
                </a:cubicBezTo>
                <a:cubicBezTo>
                  <a:pt x="219" y="250"/>
                  <a:pt x="219" y="250"/>
                  <a:pt x="219" y="250"/>
                </a:cubicBezTo>
                <a:cubicBezTo>
                  <a:pt x="218" y="250"/>
                  <a:pt x="218" y="250"/>
                  <a:pt x="218" y="250"/>
                </a:cubicBezTo>
                <a:cubicBezTo>
                  <a:pt x="215" y="248"/>
                  <a:pt x="215" y="248"/>
                  <a:pt x="215" y="248"/>
                </a:cubicBezTo>
                <a:cubicBezTo>
                  <a:pt x="214" y="249"/>
                  <a:pt x="214" y="249"/>
                  <a:pt x="214" y="249"/>
                </a:cubicBezTo>
                <a:cubicBezTo>
                  <a:pt x="211" y="250"/>
                  <a:pt x="211" y="250"/>
                  <a:pt x="211" y="250"/>
                </a:cubicBezTo>
                <a:cubicBezTo>
                  <a:pt x="209" y="250"/>
                  <a:pt x="209" y="250"/>
                  <a:pt x="209" y="250"/>
                </a:cubicBezTo>
                <a:cubicBezTo>
                  <a:pt x="208" y="251"/>
                  <a:pt x="208" y="251"/>
                  <a:pt x="208" y="251"/>
                </a:cubicBezTo>
                <a:cubicBezTo>
                  <a:pt x="209" y="251"/>
                  <a:pt x="209" y="251"/>
                  <a:pt x="209" y="251"/>
                </a:cubicBezTo>
                <a:cubicBezTo>
                  <a:pt x="209" y="252"/>
                  <a:pt x="209" y="252"/>
                  <a:pt x="209" y="252"/>
                </a:cubicBezTo>
                <a:cubicBezTo>
                  <a:pt x="210" y="251"/>
                  <a:pt x="210" y="251"/>
                  <a:pt x="210" y="251"/>
                </a:cubicBezTo>
                <a:cubicBezTo>
                  <a:pt x="212" y="250"/>
                  <a:pt x="212" y="250"/>
                  <a:pt x="212" y="250"/>
                </a:cubicBezTo>
                <a:cubicBezTo>
                  <a:pt x="212" y="252"/>
                  <a:pt x="212" y="252"/>
                  <a:pt x="212" y="252"/>
                </a:cubicBezTo>
                <a:cubicBezTo>
                  <a:pt x="214" y="253"/>
                  <a:pt x="214" y="253"/>
                  <a:pt x="214" y="253"/>
                </a:cubicBezTo>
                <a:cubicBezTo>
                  <a:pt x="219" y="254"/>
                  <a:pt x="219" y="254"/>
                  <a:pt x="219" y="254"/>
                </a:cubicBezTo>
                <a:cubicBezTo>
                  <a:pt x="221" y="255"/>
                  <a:pt x="221" y="255"/>
                  <a:pt x="221" y="255"/>
                </a:cubicBezTo>
                <a:cubicBezTo>
                  <a:pt x="223" y="254"/>
                  <a:pt x="223" y="254"/>
                  <a:pt x="223" y="254"/>
                </a:cubicBezTo>
                <a:cubicBezTo>
                  <a:pt x="225" y="254"/>
                  <a:pt x="225" y="254"/>
                  <a:pt x="225" y="254"/>
                </a:cubicBezTo>
                <a:cubicBezTo>
                  <a:pt x="226" y="255"/>
                  <a:pt x="226" y="255"/>
                  <a:pt x="226" y="255"/>
                </a:cubicBezTo>
                <a:cubicBezTo>
                  <a:pt x="228" y="255"/>
                  <a:pt x="228" y="255"/>
                  <a:pt x="228" y="255"/>
                </a:cubicBezTo>
                <a:cubicBezTo>
                  <a:pt x="230" y="254"/>
                  <a:pt x="230" y="254"/>
                  <a:pt x="230" y="254"/>
                </a:cubicBezTo>
                <a:cubicBezTo>
                  <a:pt x="230" y="253"/>
                  <a:pt x="230" y="253"/>
                  <a:pt x="230" y="253"/>
                </a:cubicBezTo>
                <a:cubicBezTo>
                  <a:pt x="229" y="252"/>
                  <a:pt x="229" y="252"/>
                  <a:pt x="229" y="252"/>
                </a:cubicBezTo>
                <a:cubicBezTo>
                  <a:pt x="229" y="250"/>
                  <a:pt x="229" y="250"/>
                  <a:pt x="229" y="250"/>
                </a:cubicBezTo>
                <a:cubicBezTo>
                  <a:pt x="230" y="249"/>
                  <a:pt x="230" y="249"/>
                  <a:pt x="230" y="249"/>
                </a:cubicBezTo>
                <a:cubicBezTo>
                  <a:pt x="231" y="249"/>
                  <a:pt x="231" y="249"/>
                  <a:pt x="231" y="249"/>
                </a:cubicBezTo>
                <a:cubicBezTo>
                  <a:pt x="231" y="248"/>
                  <a:pt x="231" y="248"/>
                  <a:pt x="231" y="248"/>
                </a:cubicBezTo>
                <a:cubicBezTo>
                  <a:pt x="233" y="246"/>
                  <a:pt x="233" y="246"/>
                  <a:pt x="233" y="246"/>
                </a:cubicBezTo>
                <a:cubicBezTo>
                  <a:pt x="233" y="245"/>
                  <a:pt x="233" y="245"/>
                  <a:pt x="233" y="245"/>
                </a:cubicBezTo>
                <a:cubicBezTo>
                  <a:pt x="234" y="242"/>
                  <a:pt x="234" y="242"/>
                  <a:pt x="234" y="242"/>
                </a:cubicBezTo>
                <a:cubicBezTo>
                  <a:pt x="233" y="240"/>
                  <a:pt x="233" y="240"/>
                  <a:pt x="233" y="240"/>
                </a:cubicBezTo>
                <a:cubicBezTo>
                  <a:pt x="233" y="238"/>
                  <a:pt x="233" y="238"/>
                  <a:pt x="233" y="238"/>
                </a:cubicBezTo>
                <a:cubicBezTo>
                  <a:pt x="235" y="235"/>
                  <a:pt x="235" y="235"/>
                  <a:pt x="235" y="235"/>
                </a:cubicBezTo>
                <a:cubicBezTo>
                  <a:pt x="236" y="234"/>
                  <a:pt x="236" y="234"/>
                  <a:pt x="236" y="234"/>
                </a:cubicBezTo>
                <a:cubicBezTo>
                  <a:pt x="234" y="229"/>
                  <a:pt x="234" y="229"/>
                  <a:pt x="234" y="229"/>
                </a:cubicBezTo>
                <a:cubicBezTo>
                  <a:pt x="231" y="227"/>
                  <a:pt x="231" y="227"/>
                  <a:pt x="231" y="227"/>
                </a:cubicBezTo>
                <a:cubicBezTo>
                  <a:pt x="230" y="226"/>
                  <a:pt x="230" y="226"/>
                  <a:pt x="230" y="226"/>
                </a:cubicBezTo>
                <a:cubicBezTo>
                  <a:pt x="230" y="223"/>
                  <a:pt x="230" y="223"/>
                  <a:pt x="230" y="223"/>
                </a:cubicBezTo>
                <a:cubicBezTo>
                  <a:pt x="232" y="221"/>
                  <a:pt x="232" y="221"/>
                  <a:pt x="232" y="221"/>
                </a:cubicBezTo>
                <a:cubicBezTo>
                  <a:pt x="233" y="220"/>
                  <a:pt x="233" y="220"/>
                  <a:pt x="233" y="220"/>
                </a:cubicBezTo>
                <a:cubicBezTo>
                  <a:pt x="235" y="220"/>
                  <a:pt x="235" y="220"/>
                  <a:pt x="235" y="220"/>
                </a:cubicBezTo>
                <a:cubicBezTo>
                  <a:pt x="237" y="217"/>
                  <a:pt x="237" y="217"/>
                  <a:pt x="237" y="217"/>
                </a:cubicBezTo>
                <a:cubicBezTo>
                  <a:pt x="239" y="217"/>
                  <a:pt x="239" y="217"/>
                  <a:pt x="239" y="217"/>
                </a:cubicBezTo>
                <a:cubicBezTo>
                  <a:pt x="241" y="219"/>
                  <a:pt x="241" y="219"/>
                  <a:pt x="241" y="219"/>
                </a:cubicBezTo>
                <a:cubicBezTo>
                  <a:pt x="241" y="221"/>
                  <a:pt x="241" y="221"/>
                  <a:pt x="241" y="221"/>
                </a:cubicBezTo>
                <a:cubicBezTo>
                  <a:pt x="243" y="222"/>
                  <a:pt x="243" y="222"/>
                  <a:pt x="243" y="222"/>
                </a:cubicBezTo>
                <a:cubicBezTo>
                  <a:pt x="244" y="223"/>
                  <a:pt x="244" y="223"/>
                  <a:pt x="244" y="223"/>
                </a:cubicBezTo>
                <a:cubicBezTo>
                  <a:pt x="244" y="223"/>
                  <a:pt x="244" y="223"/>
                  <a:pt x="244" y="223"/>
                </a:cubicBezTo>
                <a:cubicBezTo>
                  <a:pt x="246" y="224"/>
                  <a:pt x="246" y="224"/>
                  <a:pt x="246" y="224"/>
                </a:cubicBezTo>
                <a:cubicBezTo>
                  <a:pt x="245" y="226"/>
                  <a:pt x="245" y="226"/>
                  <a:pt x="245" y="226"/>
                </a:cubicBezTo>
                <a:cubicBezTo>
                  <a:pt x="247" y="227"/>
                  <a:pt x="247" y="227"/>
                  <a:pt x="247" y="227"/>
                </a:cubicBezTo>
                <a:cubicBezTo>
                  <a:pt x="247" y="228"/>
                  <a:pt x="247" y="228"/>
                  <a:pt x="247" y="228"/>
                </a:cubicBezTo>
                <a:cubicBezTo>
                  <a:pt x="248" y="230"/>
                  <a:pt x="248" y="230"/>
                  <a:pt x="248" y="230"/>
                </a:cubicBezTo>
                <a:cubicBezTo>
                  <a:pt x="248" y="231"/>
                  <a:pt x="248" y="231"/>
                  <a:pt x="248" y="231"/>
                </a:cubicBezTo>
                <a:cubicBezTo>
                  <a:pt x="248" y="232"/>
                  <a:pt x="248" y="232"/>
                  <a:pt x="248" y="232"/>
                </a:cubicBezTo>
                <a:cubicBezTo>
                  <a:pt x="249" y="233"/>
                  <a:pt x="249" y="233"/>
                  <a:pt x="249" y="233"/>
                </a:cubicBezTo>
                <a:cubicBezTo>
                  <a:pt x="250" y="233"/>
                  <a:pt x="250" y="233"/>
                  <a:pt x="250" y="233"/>
                </a:cubicBezTo>
                <a:cubicBezTo>
                  <a:pt x="252" y="234"/>
                  <a:pt x="252" y="234"/>
                  <a:pt x="252" y="234"/>
                </a:cubicBezTo>
                <a:cubicBezTo>
                  <a:pt x="254" y="234"/>
                  <a:pt x="254" y="234"/>
                  <a:pt x="254" y="234"/>
                </a:cubicBezTo>
                <a:cubicBezTo>
                  <a:pt x="255" y="234"/>
                  <a:pt x="255" y="234"/>
                  <a:pt x="255" y="234"/>
                </a:cubicBezTo>
                <a:cubicBezTo>
                  <a:pt x="256" y="234"/>
                  <a:pt x="256" y="234"/>
                  <a:pt x="256" y="234"/>
                </a:cubicBezTo>
                <a:cubicBezTo>
                  <a:pt x="257" y="233"/>
                  <a:pt x="257" y="233"/>
                  <a:pt x="257" y="233"/>
                </a:cubicBezTo>
                <a:cubicBezTo>
                  <a:pt x="258" y="232"/>
                  <a:pt x="258" y="232"/>
                  <a:pt x="258" y="232"/>
                </a:cubicBezTo>
                <a:cubicBezTo>
                  <a:pt x="257" y="232"/>
                  <a:pt x="257" y="232"/>
                  <a:pt x="257" y="232"/>
                </a:cubicBezTo>
                <a:cubicBezTo>
                  <a:pt x="256" y="232"/>
                  <a:pt x="256" y="232"/>
                  <a:pt x="256" y="232"/>
                </a:cubicBezTo>
                <a:cubicBezTo>
                  <a:pt x="255" y="231"/>
                  <a:pt x="255" y="231"/>
                  <a:pt x="255" y="231"/>
                </a:cubicBezTo>
                <a:cubicBezTo>
                  <a:pt x="254" y="233"/>
                  <a:pt x="254" y="233"/>
                  <a:pt x="254" y="233"/>
                </a:cubicBezTo>
                <a:cubicBezTo>
                  <a:pt x="252" y="233"/>
                  <a:pt x="252" y="233"/>
                  <a:pt x="252" y="233"/>
                </a:cubicBezTo>
                <a:cubicBezTo>
                  <a:pt x="252" y="232"/>
                  <a:pt x="252" y="232"/>
                  <a:pt x="252" y="232"/>
                </a:cubicBezTo>
                <a:cubicBezTo>
                  <a:pt x="250" y="232"/>
                  <a:pt x="250" y="232"/>
                  <a:pt x="250" y="232"/>
                </a:cubicBezTo>
                <a:cubicBezTo>
                  <a:pt x="249" y="231"/>
                  <a:pt x="249" y="231"/>
                  <a:pt x="249" y="231"/>
                </a:cubicBezTo>
                <a:cubicBezTo>
                  <a:pt x="250" y="230"/>
                  <a:pt x="250" y="230"/>
                  <a:pt x="250" y="230"/>
                </a:cubicBezTo>
                <a:cubicBezTo>
                  <a:pt x="249" y="229"/>
                  <a:pt x="249" y="229"/>
                  <a:pt x="249" y="229"/>
                </a:cubicBezTo>
                <a:cubicBezTo>
                  <a:pt x="248" y="228"/>
                  <a:pt x="248" y="228"/>
                  <a:pt x="248" y="228"/>
                </a:cubicBezTo>
                <a:cubicBezTo>
                  <a:pt x="248" y="225"/>
                  <a:pt x="248" y="225"/>
                  <a:pt x="248" y="225"/>
                </a:cubicBezTo>
                <a:cubicBezTo>
                  <a:pt x="250" y="225"/>
                  <a:pt x="250" y="225"/>
                  <a:pt x="250" y="225"/>
                </a:cubicBezTo>
                <a:cubicBezTo>
                  <a:pt x="251" y="224"/>
                  <a:pt x="251" y="224"/>
                  <a:pt x="251" y="224"/>
                </a:cubicBezTo>
                <a:cubicBezTo>
                  <a:pt x="250" y="224"/>
                  <a:pt x="250" y="224"/>
                  <a:pt x="250" y="224"/>
                </a:cubicBezTo>
                <a:cubicBezTo>
                  <a:pt x="249" y="223"/>
                  <a:pt x="249" y="223"/>
                  <a:pt x="249" y="223"/>
                </a:cubicBezTo>
                <a:cubicBezTo>
                  <a:pt x="249" y="222"/>
                  <a:pt x="249" y="222"/>
                  <a:pt x="249" y="222"/>
                </a:cubicBezTo>
                <a:cubicBezTo>
                  <a:pt x="249" y="221"/>
                  <a:pt x="249" y="221"/>
                  <a:pt x="249" y="221"/>
                </a:cubicBezTo>
                <a:cubicBezTo>
                  <a:pt x="247" y="220"/>
                  <a:pt x="247" y="220"/>
                  <a:pt x="247" y="220"/>
                </a:cubicBezTo>
                <a:cubicBezTo>
                  <a:pt x="247" y="219"/>
                  <a:pt x="247" y="219"/>
                  <a:pt x="247" y="219"/>
                </a:cubicBezTo>
                <a:cubicBezTo>
                  <a:pt x="245" y="217"/>
                  <a:pt x="245" y="217"/>
                  <a:pt x="245" y="217"/>
                </a:cubicBezTo>
                <a:cubicBezTo>
                  <a:pt x="243" y="217"/>
                  <a:pt x="243" y="217"/>
                  <a:pt x="243" y="217"/>
                </a:cubicBezTo>
                <a:cubicBezTo>
                  <a:pt x="240" y="216"/>
                  <a:pt x="240" y="216"/>
                  <a:pt x="240" y="216"/>
                </a:cubicBezTo>
                <a:cubicBezTo>
                  <a:pt x="239" y="215"/>
                  <a:pt x="239" y="215"/>
                  <a:pt x="239" y="215"/>
                </a:cubicBezTo>
                <a:cubicBezTo>
                  <a:pt x="238" y="215"/>
                  <a:pt x="238" y="215"/>
                  <a:pt x="238" y="215"/>
                </a:cubicBezTo>
                <a:cubicBezTo>
                  <a:pt x="236" y="214"/>
                  <a:pt x="236" y="214"/>
                  <a:pt x="236" y="214"/>
                </a:cubicBezTo>
                <a:cubicBezTo>
                  <a:pt x="234" y="214"/>
                  <a:pt x="234" y="214"/>
                  <a:pt x="234" y="214"/>
                </a:cubicBezTo>
                <a:cubicBezTo>
                  <a:pt x="233" y="214"/>
                  <a:pt x="233" y="214"/>
                  <a:pt x="233" y="214"/>
                </a:cubicBezTo>
                <a:cubicBezTo>
                  <a:pt x="231" y="215"/>
                  <a:pt x="231" y="215"/>
                  <a:pt x="231" y="215"/>
                </a:cubicBezTo>
                <a:cubicBezTo>
                  <a:pt x="231" y="217"/>
                  <a:pt x="231" y="217"/>
                  <a:pt x="231" y="217"/>
                </a:cubicBezTo>
                <a:cubicBezTo>
                  <a:pt x="230" y="218"/>
                  <a:pt x="230" y="218"/>
                  <a:pt x="230" y="218"/>
                </a:cubicBezTo>
                <a:cubicBezTo>
                  <a:pt x="228" y="217"/>
                  <a:pt x="228" y="217"/>
                  <a:pt x="228" y="217"/>
                </a:cubicBezTo>
                <a:cubicBezTo>
                  <a:pt x="226" y="218"/>
                  <a:pt x="226" y="218"/>
                  <a:pt x="226" y="218"/>
                </a:cubicBezTo>
                <a:cubicBezTo>
                  <a:pt x="224" y="218"/>
                  <a:pt x="224" y="218"/>
                  <a:pt x="224" y="218"/>
                </a:cubicBezTo>
                <a:cubicBezTo>
                  <a:pt x="224" y="217"/>
                  <a:pt x="224" y="217"/>
                  <a:pt x="224" y="217"/>
                </a:cubicBezTo>
                <a:cubicBezTo>
                  <a:pt x="224" y="215"/>
                  <a:pt x="224" y="215"/>
                  <a:pt x="224" y="215"/>
                </a:cubicBezTo>
                <a:cubicBezTo>
                  <a:pt x="224" y="214"/>
                  <a:pt x="224" y="214"/>
                  <a:pt x="224" y="214"/>
                </a:cubicBezTo>
                <a:cubicBezTo>
                  <a:pt x="221" y="211"/>
                  <a:pt x="221" y="211"/>
                  <a:pt x="221" y="211"/>
                </a:cubicBezTo>
                <a:cubicBezTo>
                  <a:pt x="220" y="210"/>
                  <a:pt x="220" y="210"/>
                  <a:pt x="220" y="210"/>
                </a:cubicBezTo>
                <a:cubicBezTo>
                  <a:pt x="221" y="207"/>
                  <a:pt x="221" y="207"/>
                  <a:pt x="221" y="207"/>
                </a:cubicBezTo>
                <a:cubicBezTo>
                  <a:pt x="219" y="205"/>
                  <a:pt x="219" y="205"/>
                  <a:pt x="219" y="205"/>
                </a:cubicBezTo>
                <a:cubicBezTo>
                  <a:pt x="220" y="203"/>
                  <a:pt x="220" y="203"/>
                  <a:pt x="220" y="203"/>
                </a:cubicBezTo>
                <a:cubicBezTo>
                  <a:pt x="220" y="199"/>
                  <a:pt x="220" y="199"/>
                  <a:pt x="220" y="199"/>
                </a:cubicBezTo>
                <a:cubicBezTo>
                  <a:pt x="219" y="197"/>
                  <a:pt x="219" y="197"/>
                  <a:pt x="219" y="197"/>
                </a:cubicBezTo>
                <a:cubicBezTo>
                  <a:pt x="217" y="195"/>
                  <a:pt x="217" y="195"/>
                  <a:pt x="217" y="195"/>
                </a:cubicBezTo>
                <a:cubicBezTo>
                  <a:pt x="216" y="195"/>
                  <a:pt x="216" y="195"/>
                  <a:pt x="216" y="195"/>
                </a:cubicBezTo>
                <a:cubicBezTo>
                  <a:pt x="215" y="193"/>
                  <a:pt x="215" y="193"/>
                  <a:pt x="215" y="193"/>
                </a:cubicBezTo>
                <a:cubicBezTo>
                  <a:pt x="212" y="191"/>
                  <a:pt x="212" y="191"/>
                  <a:pt x="212" y="191"/>
                </a:cubicBezTo>
                <a:cubicBezTo>
                  <a:pt x="210" y="190"/>
                  <a:pt x="210" y="190"/>
                  <a:pt x="210" y="190"/>
                </a:cubicBezTo>
                <a:cubicBezTo>
                  <a:pt x="210" y="188"/>
                  <a:pt x="210" y="188"/>
                  <a:pt x="210" y="188"/>
                </a:cubicBezTo>
                <a:cubicBezTo>
                  <a:pt x="211" y="186"/>
                  <a:pt x="211" y="186"/>
                  <a:pt x="211" y="186"/>
                </a:cubicBezTo>
                <a:cubicBezTo>
                  <a:pt x="210" y="184"/>
                  <a:pt x="210" y="184"/>
                  <a:pt x="210" y="184"/>
                </a:cubicBezTo>
                <a:cubicBezTo>
                  <a:pt x="209" y="183"/>
                  <a:pt x="209" y="183"/>
                  <a:pt x="209" y="183"/>
                </a:cubicBezTo>
                <a:cubicBezTo>
                  <a:pt x="209" y="182"/>
                  <a:pt x="209" y="182"/>
                  <a:pt x="209" y="182"/>
                </a:cubicBezTo>
                <a:cubicBezTo>
                  <a:pt x="211" y="181"/>
                  <a:pt x="211" y="181"/>
                  <a:pt x="211" y="181"/>
                </a:cubicBezTo>
                <a:cubicBezTo>
                  <a:pt x="213" y="178"/>
                  <a:pt x="213" y="178"/>
                  <a:pt x="213" y="178"/>
                </a:cubicBezTo>
                <a:cubicBezTo>
                  <a:pt x="214" y="176"/>
                  <a:pt x="214" y="176"/>
                  <a:pt x="214" y="176"/>
                </a:cubicBezTo>
                <a:cubicBezTo>
                  <a:pt x="213" y="172"/>
                  <a:pt x="213" y="172"/>
                  <a:pt x="213" y="172"/>
                </a:cubicBezTo>
                <a:cubicBezTo>
                  <a:pt x="210" y="167"/>
                  <a:pt x="210" y="167"/>
                  <a:pt x="210" y="167"/>
                </a:cubicBezTo>
                <a:cubicBezTo>
                  <a:pt x="211" y="167"/>
                  <a:pt x="211" y="167"/>
                  <a:pt x="211" y="167"/>
                </a:cubicBezTo>
                <a:cubicBezTo>
                  <a:pt x="213" y="168"/>
                  <a:pt x="213" y="168"/>
                  <a:pt x="213" y="168"/>
                </a:cubicBezTo>
                <a:cubicBezTo>
                  <a:pt x="213" y="170"/>
                  <a:pt x="213" y="170"/>
                  <a:pt x="213" y="170"/>
                </a:cubicBezTo>
                <a:cubicBezTo>
                  <a:pt x="214" y="170"/>
                  <a:pt x="214" y="170"/>
                  <a:pt x="214" y="170"/>
                </a:cubicBezTo>
                <a:cubicBezTo>
                  <a:pt x="214" y="170"/>
                  <a:pt x="214" y="170"/>
                  <a:pt x="214" y="170"/>
                </a:cubicBezTo>
                <a:cubicBezTo>
                  <a:pt x="215" y="172"/>
                  <a:pt x="215" y="172"/>
                  <a:pt x="215" y="172"/>
                </a:cubicBezTo>
                <a:cubicBezTo>
                  <a:pt x="216" y="174"/>
                  <a:pt x="216" y="174"/>
                  <a:pt x="216" y="174"/>
                </a:cubicBezTo>
                <a:cubicBezTo>
                  <a:pt x="216" y="177"/>
                  <a:pt x="216" y="177"/>
                  <a:pt x="216" y="177"/>
                </a:cubicBezTo>
                <a:cubicBezTo>
                  <a:pt x="217" y="178"/>
                  <a:pt x="217" y="178"/>
                  <a:pt x="217" y="178"/>
                </a:cubicBezTo>
                <a:cubicBezTo>
                  <a:pt x="216" y="180"/>
                  <a:pt x="216" y="180"/>
                  <a:pt x="216" y="180"/>
                </a:cubicBezTo>
                <a:cubicBezTo>
                  <a:pt x="217" y="181"/>
                  <a:pt x="217" y="181"/>
                  <a:pt x="217" y="181"/>
                </a:cubicBezTo>
                <a:cubicBezTo>
                  <a:pt x="219" y="183"/>
                  <a:pt x="219" y="183"/>
                  <a:pt x="219" y="183"/>
                </a:cubicBezTo>
                <a:cubicBezTo>
                  <a:pt x="219" y="184"/>
                  <a:pt x="219" y="184"/>
                  <a:pt x="219" y="184"/>
                </a:cubicBezTo>
                <a:cubicBezTo>
                  <a:pt x="220" y="185"/>
                  <a:pt x="220" y="185"/>
                  <a:pt x="220" y="185"/>
                </a:cubicBezTo>
                <a:cubicBezTo>
                  <a:pt x="220" y="186"/>
                  <a:pt x="220" y="186"/>
                  <a:pt x="220" y="186"/>
                </a:cubicBezTo>
                <a:cubicBezTo>
                  <a:pt x="219" y="186"/>
                  <a:pt x="219" y="186"/>
                  <a:pt x="219" y="186"/>
                </a:cubicBezTo>
                <a:cubicBezTo>
                  <a:pt x="219" y="187"/>
                  <a:pt x="219" y="187"/>
                  <a:pt x="219" y="187"/>
                </a:cubicBezTo>
                <a:cubicBezTo>
                  <a:pt x="221" y="187"/>
                  <a:pt x="221" y="187"/>
                  <a:pt x="221" y="187"/>
                </a:cubicBezTo>
                <a:cubicBezTo>
                  <a:pt x="223" y="188"/>
                  <a:pt x="223" y="188"/>
                  <a:pt x="223" y="188"/>
                </a:cubicBezTo>
                <a:cubicBezTo>
                  <a:pt x="225" y="188"/>
                  <a:pt x="225" y="188"/>
                  <a:pt x="225" y="188"/>
                </a:cubicBezTo>
                <a:cubicBezTo>
                  <a:pt x="226" y="188"/>
                  <a:pt x="226" y="188"/>
                  <a:pt x="226" y="188"/>
                </a:cubicBezTo>
                <a:cubicBezTo>
                  <a:pt x="227" y="189"/>
                  <a:pt x="227" y="189"/>
                  <a:pt x="227" y="189"/>
                </a:cubicBezTo>
                <a:cubicBezTo>
                  <a:pt x="228" y="190"/>
                  <a:pt x="228" y="190"/>
                  <a:pt x="228" y="190"/>
                </a:cubicBezTo>
                <a:cubicBezTo>
                  <a:pt x="229" y="188"/>
                  <a:pt x="229" y="188"/>
                  <a:pt x="229" y="188"/>
                </a:cubicBezTo>
                <a:cubicBezTo>
                  <a:pt x="230" y="188"/>
                  <a:pt x="230" y="188"/>
                  <a:pt x="230" y="188"/>
                </a:cubicBezTo>
                <a:cubicBezTo>
                  <a:pt x="231" y="187"/>
                  <a:pt x="231" y="187"/>
                  <a:pt x="231" y="187"/>
                </a:cubicBezTo>
                <a:cubicBezTo>
                  <a:pt x="233" y="188"/>
                  <a:pt x="233" y="188"/>
                  <a:pt x="233" y="188"/>
                </a:cubicBezTo>
                <a:cubicBezTo>
                  <a:pt x="234" y="190"/>
                  <a:pt x="234" y="190"/>
                  <a:pt x="234" y="190"/>
                </a:cubicBezTo>
                <a:cubicBezTo>
                  <a:pt x="235" y="190"/>
                  <a:pt x="235" y="190"/>
                  <a:pt x="235" y="190"/>
                </a:cubicBezTo>
                <a:cubicBezTo>
                  <a:pt x="237" y="191"/>
                  <a:pt x="237" y="191"/>
                  <a:pt x="237" y="191"/>
                </a:cubicBezTo>
                <a:cubicBezTo>
                  <a:pt x="240" y="190"/>
                  <a:pt x="240" y="190"/>
                  <a:pt x="240" y="190"/>
                </a:cubicBezTo>
                <a:cubicBezTo>
                  <a:pt x="241" y="189"/>
                  <a:pt x="241" y="189"/>
                  <a:pt x="241" y="189"/>
                </a:cubicBezTo>
                <a:cubicBezTo>
                  <a:pt x="239" y="190"/>
                  <a:pt x="239" y="190"/>
                  <a:pt x="239" y="190"/>
                </a:cubicBezTo>
                <a:cubicBezTo>
                  <a:pt x="237" y="190"/>
                  <a:pt x="237" y="190"/>
                  <a:pt x="237" y="190"/>
                </a:cubicBezTo>
                <a:cubicBezTo>
                  <a:pt x="237" y="188"/>
                  <a:pt x="237" y="188"/>
                  <a:pt x="237" y="188"/>
                </a:cubicBezTo>
                <a:cubicBezTo>
                  <a:pt x="236" y="188"/>
                  <a:pt x="236" y="188"/>
                  <a:pt x="236" y="188"/>
                </a:cubicBezTo>
                <a:cubicBezTo>
                  <a:pt x="235" y="186"/>
                  <a:pt x="235" y="186"/>
                  <a:pt x="235" y="186"/>
                </a:cubicBezTo>
                <a:cubicBezTo>
                  <a:pt x="233" y="186"/>
                  <a:pt x="233" y="186"/>
                  <a:pt x="233" y="186"/>
                </a:cubicBezTo>
                <a:cubicBezTo>
                  <a:pt x="233" y="185"/>
                  <a:pt x="233" y="185"/>
                  <a:pt x="233" y="185"/>
                </a:cubicBezTo>
                <a:cubicBezTo>
                  <a:pt x="232" y="185"/>
                  <a:pt x="232" y="185"/>
                  <a:pt x="232" y="185"/>
                </a:cubicBezTo>
                <a:cubicBezTo>
                  <a:pt x="231" y="186"/>
                  <a:pt x="231" y="186"/>
                  <a:pt x="231" y="186"/>
                </a:cubicBezTo>
                <a:cubicBezTo>
                  <a:pt x="228" y="186"/>
                  <a:pt x="228" y="186"/>
                  <a:pt x="228" y="186"/>
                </a:cubicBezTo>
                <a:cubicBezTo>
                  <a:pt x="227" y="185"/>
                  <a:pt x="227" y="185"/>
                  <a:pt x="227" y="185"/>
                </a:cubicBezTo>
                <a:cubicBezTo>
                  <a:pt x="225" y="185"/>
                  <a:pt x="225" y="185"/>
                  <a:pt x="225" y="185"/>
                </a:cubicBezTo>
                <a:cubicBezTo>
                  <a:pt x="223" y="183"/>
                  <a:pt x="223" y="183"/>
                  <a:pt x="223" y="183"/>
                </a:cubicBezTo>
                <a:cubicBezTo>
                  <a:pt x="222" y="181"/>
                  <a:pt x="222" y="181"/>
                  <a:pt x="222" y="181"/>
                </a:cubicBezTo>
                <a:cubicBezTo>
                  <a:pt x="222" y="181"/>
                  <a:pt x="222" y="181"/>
                  <a:pt x="222" y="181"/>
                </a:cubicBezTo>
                <a:cubicBezTo>
                  <a:pt x="220" y="178"/>
                  <a:pt x="220" y="178"/>
                  <a:pt x="220" y="178"/>
                </a:cubicBezTo>
                <a:cubicBezTo>
                  <a:pt x="221" y="178"/>
                  <a:pt x="221" y="178"/>
                  <a:pt x="221" y="178"/>
                </a:cubicBezTo>
                <a:cubicBezTo>
                  <a:pt x="221" y="177"/>
                  <a:pt x="221" y="177"/>
                  <a:pt x="221" y="177"/>
                </a:cubicBezTo>
                <a:cubicBezTo>
                  <a:pt x="223" y="176"/>
                  <a:pt x="223" y="176"/>
                  <a:pt x="223" y="176"/>
                </a:cubicBezTo>
                <a:cubicBezTo>
                  <a:pt x="224" y="176"/>
                  <a:pt x="224" y="176"/>
                  <a:pt x="224" y="176"/>
                </a:cubicBezTo>
                <a:cubicBezTo>
                  <a:pt x="226" y="178"/>
                  <a:pt x="226" y="178"/>
                  <a:pt x="226" y="178"/>
                </a:cubicBezTo>
                <a:cubicBezTo>
                  <a:pt x="228" y="179"/>
                  <a:pt x="228" y="179"/>
                  <a:pt x="228" y="179"/>
                </a:cubicBezTo>
                <a:cubicBezTo>
                  <a:pt x="230" y="179"/>
                  <a:pt x="230" y="179"/>
                  <a:pt x="230" y="179"/>
                </a:cubicBezTo>
                <a:cubicBezTo>
                  <a:pt x="232" y="176"/>
                  <a:pt x="232" y="176"/>
                  <a:pt x="232" y="176"/>
                </a:cubicBezTo>
                <a:cubicBezTo>
                  <a:pt x="230" y="174"/>
                  <a:pt x="230" y="174"/>
                  <a:pt x="230" y="174"/>
                </a:cubicBezTo>
                <a:cubicBezTo>
                  <a:pt x="228" y="173"/>
                  <a:pt x="228" y="173"/>
                  <a:pt x="228" y="173"/>
                </a:cubicBezTo>
                <a:cubicBezTo>
                  <a:pt x="226" y="175"/>
                  <a:pt x="226" y="175"/>
                  <a:pt x="226" y="175"/>
                </a:cubicBezTo>
                <a:cubicBezTo>
                  <a:pt x="225" y="174"/>
                  <a:pt x="225" y="174"/>
                  <a:pt x="225" y="174"/>
                </a:cubicBezTo>
                <a:cubicBezTo>
                  <a:pt x="226" y="173"/>
                  <a:pt x="226" y="173"/>
                  <a:pt x="226" y="173"/>
                </a:cubicBezTo>
                <a:cubicBezTo>
                  <a:pt x="226" y="173"/>
                  <a:pt x="226" y="173"/>
                  <a:pt x="226" y="173"/>
                </a:cubicBezTo>
                <a:cubicBezTo>
                  <a:pt x="227" y="173"/>
                  <a:pt x="227" y="173"/>
                  <a:pt x="227" y="173"/>
                </a:cubicBezTo>
                <a:cubicBezTo>
                  <a:pt x="227" y="172"/>
                  <a:pt x="227" y="172"/>
                  <a:pt x="227" y="172"/>
                </a:cubicBezTo>
                <a:cubicBezTo>
                  <a:pt x="229" y="169"/>
                  <a:pt x="229" y="169"/>
                  <a:pt x="229" y="169"/>
                </a:cubicBezTo>
                <a:cubicBezTo>
                  <a:pt x="230" y="168"/>
                  <a:pt x="230" y="168"/>
                  <a:pt x="230" y="168"/>
                </a:cubicBezTo>
                <a:cubicBezTo>
                  <a:pt x="231" y="169"/>
                  <a:pt x="231" y="169"/>
                  <a:pt x="231" y="169"/>
                </a:cubicBezTo>
                <a:cubicBezTo>
                  <a:pt x="236" y="169"/>
                  <a:pt x="236" y="169"/>
                  <a:pt x="236" y="169"/>
                </a:cubicBezTo>
                <a:cubicBezTo>
                  <a:pt x="237" y="170"/>
                  <a:pt x="237" y="170"/>
                  <a:pt x="237" y="170"/>
                </a:cubicBezTo>
                <a:cubicBezTo>
                  <a:pt x="239" y="171"/>
                  <a:pt x="239" y="171"/>
                  <a:pt x="239" y="171"/>
                </a:cubicBezTo>
                <a:cubicBezTo>
                  <a:pt x="242" y="172"/>
                  <a:pt x="242" y="172"/>
                  <a:pt x="242" y="172"/>
                </a:cubicBezTo>
                <a:cubicBezTo>
                  <a:pt x="243" y="173"/>
                  <a:pt x="243" y="173"/>
                  <a:pt x="243" y="173"/>
                </a:cubicBezTo>
                <a:cubicBezTo>
                  <a:pt x="244" y="174"/>
                  <a:pt x="244" y="174"/>
                  <a:pt x="244" y="174"/>
                </a:cubicBezTo>
                <a:cubicBezTo>
                  <a:pt x="247" y="177"/>
                  <a:pt x="247" y="177"/>
                  <a:pt x="247" y="177"/>
                </a:cubicBezTo>
                <a:cubicBezTo>
                  <a:pt x="248" y="177"/>
                  <a:pt x="248" y="177"/>
                  <a:pt x="248" y="177"/>
                </a:cubicBezTo>
                <a:cubicBezTo>
                  <a:pt x="252" y="176"/>
                  <a:pt x="252" y="176"/>
                  <a:pt x="252" y="176"/>
                </a:cubicBezTo>
                <a:cubicBezTo>
                  <a:pt x="254" y="175"/>
                  <a:pt x="254" y="175"/>
                  <a:pt x="254" y="175"/>
                </a:cubicBezTo>
                <a:cubicBezTo>
                  <a:pt x="255" y="176"/>
                  <a:pt x="255" y="176"/>
                  <a:pt x="255" y="176"/>
                </a:cubicBezTo>
                <a:cubicBezTo>
                  <a:pt x="256" y="175"/>
                  <a:pt x="256" y="175"/>
                  <a:pt x="256" y="175"/>
                </a:cubicBezTo>
                <a:cubicBezTo>
                  <a:pt x="257" y="176"/>
                  <a:pt x="257" y="176"/>
                  <a:pt x="257" y="176"/>
                </a:cubicBezTo>
                <a:cubicBezTo>
                  <a:pt x="257" y="178"/>
                  <a:pt x="257" y="178"/>
                  <a:pt x="257" y="178"/>
                </a:cubicBezTo>
                <a:cubicBezTo>
                  <a:pt x="257" y="179"/>
                  <a:pt x="257" y="179"/>
                  <a:pt x="257" y="179"/>
                </a:cubicBezTo>
                <a:cubicBezTo>
                  <a:pt x="257" y="180"/>
                  <a:pt x="257" y="180"/>
                  <a:pt x="257" y="180"/>
                </a:cubicBezTo>
                <a:cubicBezTo>
                  <a:pt x="255" y="181"/>
                  <a:pt x="255" y="181"/>
                  <a:pt x="255" y="181"/>
                </a:cubicBezTo>
                <a:cubicBezTo>
                  <a:pt x="255" y="183"/>
                  <a:pt x="255" y="183"/>
                  <a:pt x="255" y="183"/>
                </a:cubicBezTo>
                <a:cubicBezTo>
                  <a:pt x="256" y="184"/>
                  <a:pt x="256" y="184"/>
                  <a:pt x="256" y="184"/>
                </a:cubicBezTo>
                <a:cubicBezTo>
                  <a:pt x="256" y="186"/>
                  <a:pt x="256" y="186"/>
                  <a:pt x="256" y="186"/>
                </a:cubicBezTo>
                <a:cubicBezTo>
                  <a:pt x="258" y="188"/>
                  <a:pt x="258" y="188"/>
                  <a:pt x="258" y="188"/>
                </a:cubicBezTo>
                <a:cubicBezTo>
                  <a:pt x="258" y="189"/>
                  <a:pt x="258" y="189"/>
                  <a:pt x="258" y="189"/>
                </a:cubicBezTo>
                <a:cubicBezTo>
                  <a:pt x="257" y="190"/>
                  <a:pt x="257" y="190"/>
                  <a:pt x="257" y="190"/>
                </a:cubicBezTo>
                <a:cubicBezTo>
                  <a:pt x="258" y="194"/>
                  <a:pt x="258" y="194"/>
                  <a:pt x="258" y="194"/>
                </a:cubicBezTo>
                <a:cubicBezTo>
                  <a:pt x="259" y="194"/>
                  <a:pt x="259" y="194"/>
                  <a:pt x="259" y="194"/>
                </a:cubicBezTo>
                <a:cubicBezTo>
                  <a:pt x="259" y="193"/>
                  <a:pt x="259" y="193"/>
                  <a:pt x="259" y="193"/>
                </a:cubicBezTo>
                <a:cubicBezTo>
                  <a:pt x="259" y="192"/>
                  <a:pt x="259" y="192"/>
                  <a:pt x="259" y="192"/>
                </a:cubicBezTo>
                <a:cubicBezTo>
                  <a:pt x="260" y="191"/>
                  <a:pt x="260" y="191"/>
                  <a:pt x="260" y="191"/>
                </a:cubicBezTo>
                <a:cubicBezTo>
                  <a:pt x="259" y="190"/>
                  <a:pt x="259" y="190"/>
                  <a:pt x="259" y="190"/>
                </a:cubicBezTo>
                <a:cubicBezTo>
                  <a:pt x="260" y="189"/>
                  <a:pt x="260" y="189"/>
                  <a:pt x="260" y="189"/>
                </a:cubicBezTo>
                <a:cubicBezTo>
                  <a:pt x="261" y="187"/>
                  <a:pt x="261" y="187"/>
                  <a:pt x="261" y="187"/>
                </a:cubicBezTo>
                <a:cubicBezTo>
                  <a:pt x="262" y="188"/>
                  <a:pt x="262" y="188"/>
                  <a:pt x="262" y="188"/>
                </a:cubicBezTo>
                <a:cubicBezTo>
                  <a:pt x="263" y="190"/>
                  <a:pt x="263" y="190"/>
                  <a:pt x="263" y="190"/>
                </a:cubicBezTo>
                <a:cubicBezTo>
                  <a:pt x="263" y="193"/>
                  <a:pt x="263" y="193"/>
                  <a:pt x="263" y="193"/>
                </a:cubicBezTo>
                <a:cubicBezTo>
                  <a:pt x="263" y="194"/>
                  <a:pt x="263" y="194"/>
                  <a:pt x="263" y="194"/>
                </a:cubicBezTo>
                <a:cubicBezTo>
                  <a:pt x="263" y="195"/>
                  <a:pt x="263" y="195"/>
                  <a:pt x="263" y="195"/>
                </a:cubicBezTo>
                <a:cubicBezTo>
                  <a:pt x="263" y="196"/>
                  <a:pt x="263" y="196"/>
                  <a:pt x="263" y="196"/>
                </a:cubicBezTo>
                <a:cubicBezTo>
                  <a:pt x="262" y="197"/>
                  <a:pt x="262" y="197"/>
                  <a:pt x="262" y="197"/>
                </a:cubicBezTo>
                <a:cubicBezTo>
                  <a:pt x="264" y="198"/>
                  <a:pt x="264" y="198"/>
                  <a:pt x="264" y="198"/>
                </a:cubicBezTo>
                <a:cubicBezTo>
                  <a:pt x="266" y="198"/>
                  <a:pt x="266" y="198"/>
                  <a:pt x="266" y="198"/>
                </a:cubicBezTo>
                <a:cubicBezTo>
                  <a:pt x="268" y="198"/>
                  <a:pt x="268" y="198"/>
                  <a:pt x="268" y="198"/>
                </a:cubicBezTo>
                <a:cubicBezTo>
                  <a:pt x="269" y="200"/>
                  <a:pt x="269" y="200"/>
                  <a:pt x="269" y="200"/>
                </a:cubicBezTo>
                <a:cubicBezTo>
                  <a:pt x="269" y="201"/>
                  <a:pt x="269" y="201"/>
                  <a:pt x="269" y="201"/>
                </a:cubicBezTo>
                <a:cubicBezTo>
                  <a:pt x="271" y="202"/>
                  <a:pt x="271" y="202"/>
                  <a:pt x="271" y="202"/>
                </a:cubicBezTo>
                <a:cubicBezTo>
                  <a:pt x="273" y="202"/>
                  <a:pt x="273" y="202"/>
                  <a:pt x="273" y="202"/>
                </a:cubicBezTo>
                <a:cubicBezTo>
                  <a:pt x="276" y="205"/>
                  <a:pt x="276" y="205"/>
                  <a:pt x="276" y="205"/>
                </a:cubicBezTo>
                <a:cubicBezTo>
                  <a:pt x="275" y="204"/>
                  <a:pt x="275" y="204"/>
                  <a:pt x="275" y="204"/>
                </a:cubicBezTo>
                <a:cubicBezTo>
                  <a:pt x="276" y="202"/>
                  <a:pt x="276" y="202"/>
                  <a:pt x="276" y="202"/>
                </a:cubicBezTo>
                <a:cubicBezTo>
                  <a:pt x="277" y="200"/>
                  <a:pt x="277" y="200"/>
                  <a:pt x="277" y="200"/>
                </a:cubicBezTo>
                <a:cubicBezTo>
                  <a:pt x="279" y="200"/>
                  <a:pt x="279" y="200"/>
                  <a:pt x="279" y="200"/>
                </a:cubicBezTo>
                <a:cubicBezTo>
                  <a:pt x="282" y="202"/>
                  <a:pt x="282" y="202"/>
                  <a:pt x="282" y="202"/>
                </a:cubicBezTo>
                <a:cubicBezTo>
                  <a:pt x="283" y="202"/>
                  <a:pt x="283" y="202"/>
                  <a:pt x="283" y="202"/>
                </a:cubicBezTo>
                <a:cubicBezTo>
                  <a:pt x="284" y="204"/>
                  <a:pt x="284" y="204"/>
                  <a:pt x="284" y="204"/>
                </a:cubicBezTo>
                <a:cubicBezTo>
                  <a:pt x="285" y="206"/>
                  <a:pt x="285" y="206"/>
                  <a:pt x="285" y="206"/>
                </a:cubicBezTo>
                <a:cubicBezTo>
                  <a:pt x="285" y="203"/>
                  <a:pt x="285" y="203"/>
                  <a:pt x="285" y="203"/>
                </a:cubicBezTo>
                <a:cubicBezTo>
                  <a:pt x="284" y="202"/>
                  <a:pt x="284" y="202"/>
                  <a:pt x="284" y="202"/>
                </a:cubicBezTo>
                <a:cubicBezTo>
                  <a:pt x="283" y="202"/>
                  <a:pt x="283" y="202"/>
                  <a:pt x="283" y="202"/>
                </a:cubicBezTo>
                <a:cubicBezTo>
                  <a:pt x="281" y="201"/>
                  <a:pt x="281" y="201"/>
                  <a:pt x="281" y="201"/>
                </a:cubicBezTo>
                <a:cubicBezTo>
                  <a:pt x="279" y="200"/>
                  <a:pt x="279" y="200"/>
                  <a:pt x="279" y="200"/>
                </a:cubicBezTo>
                <a:cubicBezTo>
                  <a:pt x="277" y="200"/>
                  <a:pt x="277" y="200"/>
                  <a:pt x="277" y="200"/>
                </a:cubicBezTo>
                <a:cubicBezTo>
                  <a:pt x="275" y="202"/>
                  <a:pt x="275" y="202"/>
                  <a:pt x="275" y="202"/>
                </a:cubicBezTo>
                <a:cubicBezTo>
                  <a:pt x="274" y="201"/>
                  <a:pt x="274" y="201"/>
                  <a:pt x="274" y="201"/>
                </a:cubicBezTo>
                <a:cubicBezTo>
                  <a:pt x="273" y="202"/>
                  <a:pt x="273" y="202"/>
                  <a:pt x="273" y="202"/>
                </a:cubicBezTo>
                <a:cubicBezTo>
                  <a:pt x="271" y="201"/>
                  <a:pt x="271" y="201"/>
                  <a:pt x="271" y="201"/>
                </a:cubicBezTo>
                <a:cubicBezTo>
                  <a:pt x="269" y="198"/>
                  <a:pt x="269" y="198"/>
                  <a:pt x="269" y="198"/>
                </a:cubicBezTo>
                <a:cubicBezTo>
                  <a:pt x="268" y="197"/>
                  <a:pt x="268" y="197"/>
                  <a:pt x="268" y="197"/>
                </a:cubicBezTo>
                <a:cubicBezTo>
                  <a:pt x="266" y="197"/>
                  <a:pt x="266" y="197"/>
                  <a:pt x="266" y="197"/>
                </a:cubicBezTo>
                <a:cubicBezTo>
                  <a:pt x="264" y="195"/>
                  <a:pt x="264" y="195"/>
                  <a:pt x="264" y="195"/>
                </a:cubicBezTo>
                <a:cubicBezTo>
                  <a:pt x="265" y="196"/>
                  <a:pt x="265" y="196"/>
                  <a:pt x="265" y="196"/>
                </a:cubicBezTo>
                <a:cubicBezTo>
                  <a:pt x="266" y="195"/>
                  <a:pt x="266" y="195"/>
                  <a:pt x="266" y="195"/>
                </a:cubicBezTo>
                <a:cubicBezTo>
                  <a:pt x="268" y="193"/>
                  <a:pt x="268" y="193"/>
                  <a:pt x="268" y="193"/>
                </a:cubicBezTo>
                <a:cubicBezTo>
                  <a:pt x="267" y="191"/>
                  <a:pt x="267" y="191"/>
                  <a:pt x="267" y="191"/>
                </a:cubicBezTo>
                <a:cubicBezTo>
                  <a:pt x="265" y="190"/>
                  <a:pt x="265" y="190"/>
                  <a:pt x="265" y="190"/>
                </a:cubicBezTo>
                <a:cubicBezTo>
                  <a:pt x="265" y="187"/>
                  <a:pt x="265" y="187"/>
                  <a:pt x="265" y="187"/>
                </a:cubicBezTo>
                <a:cubicBezTo>
                  <a:pt x="263" y="184"/>
                  <a:pt x="263" y="184"/>
                  <a:pt x="263" y="184"/>
                </a:cubicBezTo>
                <a:cubicBezTo>
                  <a:pt x="261" y="183"/>
                  <a:pt x="261" y="183"/>
                  <a:pt x="261" y="183"/>
                </a:cubicBezTo>
                <a:cubicBezTo>
                  <a:pt x="260" y="182"/>
                  <a:pt x="260" y="182"/>
                  <a:pt x="260" y="182"/>
                </a:cubicBezTo>
                <a:cubicBezTo>
                  <a:pt x="260" y="180"/>
                  <a:pt x="260" y="180"/>
                  <a:pt x="260" y="180"/>
                </a:cubicBezTo>
                <a:cubicBezTo>
                  <a:pt x="260" y="179"/>
                  <a:pt x="260" y="179"/>
                  <a:pt x="260" y="179"/>
                </a:cubicBezTo>
                <a:cubicBezTo>
                  <a:pt x="260" y="176"/>
                  <a:pt x="260" y="176"/>
                  <a:pt x="260" y="176"/>
                </a:cubicBezTo>
                <a:cubicBezTo>
                  <a:pt x="258" y="174"/>
                  <a:pt x="258" y="174"/>
                  <a:pt x="258" y="174"/>
                </a:cubicBezTo>
                <a:cubicBezTo>
                  <a:pt x="257" y="174"/>
                  <a:pt x="257" y="174"/>
                  <a:pt x="257" y="174"/>
                </a:cubicBezTo>
                <a:cubicBezTo>
                  <a:pt x="255" y="173"/>
                  <a:pt x="255" y="173"/>
                  <a:pt x="255" y="173"/>
                </a:cubicBezTo>
                <a:cubicBezTo>
                  <a:pt x="252" y="173"/>
                  <a:pt x="252" y="173"/>
                  <a:pt x="252" y="173"/>
                </a:cubicBezTo>
                <a:cubicBezTo>
                  <a:pt x="251" y="171"/>
                  <a:pt x="251" y="171"/>
                  <a:pt x="251" y="171"/>
                </a:cubicBezTo>
                <a:cubicBezTo>
                  <a:pt x="249" y="170"/>
                  <a:pt x="249" y="170"/>
                  <a:pt x="249" y="170"/>
                </a:cubicBezTo>
                <a:cubicBezTo>
                  <a:pt x="249" y="168"/>
                  <a:pt x="249" y="168"/>
                  <a:pt x="249" y="168"/>
                </a:cubicBezTo>
                <a:cubicBezTo>
                  <a:pt x="249" y="167"/>
                  <a:pt x="249" y="167"/>
                  <a:pt x="249" y="167"/>
                </a:cubicBezTo>
                <a:cubicBezTo>
                  <a:pt x="249" y="166"/>
                  <a:pt x="249" y="166"/>
                  <a:pt x="249" y="166"/>
                </a:cubicBezTo>
                <a:cubicBezTo>
                  <a:pt x="247" y="167"/>
                  <a:pt x="247" y="167"/>
                  <a:pt x="247" y="167"/>
                </a:cubicBezTo>
                <a:cubicBezTo>
                  <a:pt x="243" y="167"/>
                  <a:pt x="243" y="167"/>
                  <a:pt x="243" y="167"/>
                </a:cubicBezTo>
                <a:cubicBezTo>
                  <a:pt x="241" y="167"/>
                  <a:pt x="241" y="167"/>
                  <a:pt x="241" y="167"/>
                </a:cubicBezTo>
                <a:cubicBezTo>
                  <a:pt x="239" y="166"/>
                  <a:pt x="239" y="166"/>
                  <a:pt x="239" y="166"/>
                </a:cubicBezTo>
                <a:cubicBezTo>
                  <a:pt x="239" y="164"/>
                  <a:pt x="239" y="164"/>
                  <a:pt x="239" y="164"/>
                </a:cubicBezTo>
                <a:cubicBezTo>
                  <a:pt x="239" y="164"/>
                  <a:pt x="239" y="164"/>
                  <a:pt x="239" y="164"/>
                </a:cubicBezTo>
                <a:cubicBezTo>
                  <a:pt x="238" y="163"/>
                  <a:pt x="238" y="163"/>
                  <a:pt x="238" y="163"/>
                </a:cubicBezTo>
                <a:cubicBezTo>
                  <a:pt x="238" y="161"/>
                  <a:pt x="238" y="161"/>
                  <a:pt x="238" y="161"/>
                </a:cubicBezTo>
                <a:cubicBezTo>
                  <a:pt x="237" y="158"/>
                  <a:pt x="237" y="158"/>
                  <a:pt x="237" y="158"/>
                </a:cubicBezTo>
                <a:cubicBezTo>
                  <a:pt x="234" y="157"/>
                  <a:pt x="234" y="157"/>
                  <a:pt x="234" y="157"/>
                </a:cubicBezTo>
                <a:cubicBezTo>
                  <a:pt x="235" y="156"/>
                  <a:pt x="235" y="156"/>
                  <a:pt x="235" y="156"/>
                </a:cubicBezTo>
                <a:cubicBezTo>
                  <a:pt x="235" y="155"/>
                  <a:pt x="235" y="155"/>
                  <a:pt x="235" y="155"/>
                </a:cubicBezTo>
                <a:cubicBezTo>
                  <a:pt x="234" y="155"/>
                  <a:pt x="234" y="155"/>
                  <a:pt x="234" y="155"/>
                </a:cubicBezTo>
                <a:cubicBezTo>
                  <a:pt x="233" y="154"/>
                  <a:pt x="233" y="154"/>
                  <a:pt x="233" y="154"/>
                </a:cubicBezTo>
                <a:cubicBezTo>
                  <a:pt x="233" y="153"/>
                  <a:pt x="233" y="153"/>
                  <a:pt x="233" y="153"/>
                </a:cubicBezTo>
                <a:cubicBezTo>
                  <a:pt x="233" y="151"/>
                  <a:pt x="233" y="151"/>
                  <a:pt x="233" y="151"/>
                </a:cubicBezTo>
                <a:cubicBezTo>
                  <a:pt x="232" y="150"/>
                  <a:pt x="232" y="150"/>
                  <a:pt x="232" y="150"/>
                </a:cubicBezTo>
                <a:cubicBezTo>
                  <a:pt x="233" y="150"/>
                  <a:pt x="233" y="150"/>
                  <a:pt x="233" y="150"/>
                </a:cubicBezTo>
                <a:cubicBezTo>
                  <a:pt x="235" y="150"/>
                  <a:pt x="235" y="150"/>
                  <a:pt x="235" y="150"/>
                </a:cubicBezTo>
                <a:cubicBezTo>
                  <a:pt x="236" y="148"/>
                  <a:pt x="236" y="148"/>
                  <a:pt x="236" y="148"/>
                </a:cubicBezTo>
                <a:cubicBezTo>
                  <a:pt x="238" y="148"/>
                  <a:pt x="238" y="148"/>
                  <a:pt x="238" y="148"/>
                </a:cubicBezTo>
                <a:cubicBezTo>
                  <a:pt x="241" y="147"/>
                  <a:pt x="241" y="147"/>
                  <a:pt x="241" y="147"/>
                </a:cubicBezTo>
                <a:cubicBezTo>
                  <a:pt x="246" y="145"/>
                  <a:pt x="246" y="145"/>
                  <a:pt x="246" y="145"/>
                </a:cubicBezTo>
                <a:cubicBezTo>
                  <a:pt x="248" y="144"/>
                  <a:pt x="248" y="144"/>
                  <a:pt x="248" y="144"/>
                </a:cubicBezTo>
                <a:cubicBezTo>
                  <a:pt x="249" y="144"/>
                  <a:pt x="249" y="144"/>
                  <a:pt x="249" y="144"/>
                </a:cubicBezTo>
                <a:cubicBezTo>
                  <a:pt x="250" y="144"/>
                  <a:pt x="250" y="144"/>
                  <a:pt x="250" y="144"/>
                </a:cubicBezTo>
                <a:cubicBezTo>
                  <a:pt x="252" y="143"/>
                  <a:pt x="252" y="143"/>
                  <a:pt x="252" y="143"/>
                </a:cubicBezTo>
                <a:cubicBezTo>
                  <a:pt x="253" y="142"/>
                  <a:pt x="253" y="142"/>
                  <a:pt x="253" y="142"/>
                </a:cubicBezTo>
                <a:cubicBezTo>
                  <a:pt x="255" y="141"/>
                  <a:pt x="255" y="141"/>
                  <a:pt x="255" y="141"/>
                </a:cubicBezTo>
                <a:cubicBezTo>
                  <a:pt x="259" y="139"/>
                  <a:pt x="259" y="139"/>
                  <a:pt x="259" y="139"/>
                </a:cubicBezTo>
                <a:cubicBezTo>
                  <a:pt x="260" y="140"/>
                  <a:pt x="260" y="140"/>
                  <a:pt x="260" y="140"/>
                </a:cubicBezTo>
                <a:cubicBezTo>
                  <a:pt x="259" y="141"/>
                  <a:pt x="259" y="141"/>
                  <a:pt x="259" y="141"/>
                </a:cubicBezTo>
                <a:cubicBezTo>
                  <a:pt x="259" y="142"/>
                  <a:pt x="259" y="142"/>
                  <a:pt x="259" y="142"/>
                </a:cubicBezTo>
                <a:cubicBezTo>
                  <a:pt x="258" y="143"/>
                  <a:pt x="258" y="143"/>
                  <a:pt x="258" y="143"/>
                </a:cubicBezTo>
                <a:cubicBezTo>
                  <a:pt x="257" y="145"/>
                  <a:pt x="257" y="145"/>
                  <a:pt x="257" y="145"/>
                </a:cubicBezTo>
                <a:cubicBezTo>
                  <a:pt x="257" y="147"/>
                  <a:pt x="257" y="147"/>
                  <a:pt x="257" y="147"/>
                </a:cubicBezTo>
                <a:cubicBezTo>
                  <a:pt x="260" y="149"/>
                  <a:pt x="260" y="149"/>
                  <a:pt x="260" y="149"/>
                </a:cubicBezTo>
                <a:cubicBezTo>
                  <a:pt x="262" y="149"/>
                  <a:pt x="262" y="149"/>
                  <a:pt x="262" y="149"/>
                </a:cubicBezTo>
                <a:cubicBezTo>
                  <a:pt x="261" y="148"/>
                  <a:pt x="261" y="148"/>
                  <a:pt x="261" y="148"/>
                </a:cubicBezTo>
                <a:cubicBezTo>
                  <a:pt x="258" y="146"/>
                  <a:pt x="258" y="146"/>
                  <a:pt x="258" y="146"/>
                </a:cubicBezTo>
                <a:cubicBezTo>
                  <a:pt x="258" y="145"/>
                  <a:pt x="258" y="145"/>
                  <a:pt x="258" y="145"/>
                </a:cubicBezTo>
                <a:cubicBezTo>
                  <a:pt x="259" y="144"/>
                  <a:pt x="259" y="144"/>
                  <a:pt x="259" y="144"/>
                </a:cubicBezTo>
                <a:cubicBezTo>
                  <a:pt x="262" y="142"/>
                  <a:pt x="262" y="142"/>
                  <a:pt x="262" y="142"/>
                </a:cubicBezTo>
                <a:cubicBezTo>
                  <a:pt x="263" y="140"/>
                  <a:pt x="263" y="140"/>
                  <a:pt x="263" y="140"/>
                </a:cubicBezTo>
                <a:cubicBezTo>
                  <a:pt x="262" y="138"/>
                  <a:pt x="262" y="138"/>
                  <a:pt x="262" y="138"/>
                </a:cubicBezTo>
                <a:cubicBezTo>
                  <a:pt x="260" y="138"/>
                  <a:pt x="260" y="138"/>
                  <a:pt x="260" y="138"/>
                </a:cubicBezTo>
                <a:cubicBezTo>
                  <a:pt x="259" y="137"/>
                  <a:pt x="259" y="137"/>
                  <a:pt x="259" y="137"/>
                </a:cubicBezTo>
                <a:cubicBezTo>
                  <a:pt x="259" y="136"/>
                  <a:pt x="259" y="136"/>
                  <a:pt x="259" y="136"/>
                </a:cubicBezTo>
                <a:cubicBezTo>
                  <a:pt x="257" y="136"/>
                  <a:pt x="257" y="136"/>
                  <a:pt x="257" y="136"/>
                </a:cubicBezTo>
                <a:cubicBezTo>
                  <a:pt x="256" y="136"/>
                  <a:pt x="256" y="136"/>
                  <a:pt x="256" y="136"/>
                </a:cubicBezTo>
                <a:cubicBezTo>
                  <a:pt x="256" y="136"/>
                  <a:pt x="256" y="136"/>
                  <a:pt x="256" y="136"/>
                </a:cubicBezTo>
                <a:cubicBezTo>
                  <a:pt x="255" y="134"/>
                  <a:pt x="255" y="134"/>
                  <a:pt x="255" y="134"/>
                </a:cubicBezTo>
                <a:cubicBezTo>
                  <a:pt x="253" y="134"/>
                  <a:pt x="253" y="134"/>
                  <a:pt x="253" y="134"/>
                </a:cubicBezTo>
                <a:cubicBezTo>
                  <a:pt x="252" y="135"/>
                  <a:pt x="252" y="135"/>
                  <a:pt x="252" y="135"/>
                </a:cubicBezTo>
                <a:cubicBezTo>
                  <a:pt x="250" y="133"/>
                  <a:pt x="250" y="133"/>
                  <a:pt x="250" y="133"/>
                </a:cubicBezTo>
                <a:cubicBezTo>
                  <a:pt x="251" y="132"/>
                  <a:pt x="251" y="132"/>
                  <a:pt x="251" y="132"/>
                </a:cubicBezTo>
                <a:cubicBezTo>
                  <a:pt x="251" y="131"/>
                  <a:pt x="251" y="131"/>
                  <a:pt x="251" y="131"/>
                </a:cubicBezTo>
                <a:cubicBezTo>
                  <a:pt x="252" y="131"/>
                  <a:pt x="252" y="131"/>
                  <a:pt x="252" y="131"/>
                </a:cubicBezTo>
                <a:cubicBezTo>
                  <a:pt x="253" y="132"/>
                  <a:pt x="253" y="132"/>
                  <a:pt x="253" y="132"/>
                </a:cubicBezTo>
                <a:cubicBezTo>
                  <a:pt x="255" y="132"/>
                  <a:pt x="255" y="132"/>
                  <a:pt x="255" y="132"/>
                </a:cubicBezTo>
                <a:cubicBezTo>
                  <a:pt x="256" y="131"/>
                  <a:pt x="256" y="131"/>
                  <a:pt x="256" y="131"/>
                </a:cubicBezTo>
                <a:cubicBezTo>
                  <a:pt x="255" y="131"/>
                  <a:pt x="255" y="131"/>
                  <a:pt x="255" y="131"/>
                </a:cubicBezTo>
                <a:cubicBezTo>
                  <a:pt x="255" y="131"/>
                  <a:pt x="255" y="131"/>
                  <a:pt x="255" y="131"/>
                </a:cubicBezTo>
                <a:cubicBezTo>
                  <a:pt x="254" y="131"/>
                  <a:pt x="254" y="131"/>
                  <a:pt x="254" y="131"/>
                </a:cubicBezTo>
                <a:cubicBezTo>
                  <a:pt x="252" y="130"/>
                  <a:pt x="252" y="130"/>
                  <a:pt x="252" y="130"/>
                </a:cubicBezTo>
                <a:cubicBezTo>
                  <a:pt x="252" y="129"/>
                  <a:pt x="252" y="129"/>
                  <a:pt x="252" y="129"/>
                </a:cubicBezTo>
                <a:cubicBezTo>
                  <a:pt x="251" y="129"/>
                  <a:pt x="251" y="129"/>
                  <a:pt x="251" y="129"/>
                </a:cubicBezTo>
                <a:cubicBezTo>
                  <a:pt x="249" y="128"/>
                  <a:pt x="249" y="128"/>
                  <a:pt x="249" y="128"/>
                </a:cubicBezTo>
                <a:cubicBezTo>
                  <a:pt x="247" y="129"/>
                  <a:pt x="247" y="129"/>
                  <a:pt x="247" y="129"/>
                </a:cubicBezTo>
                <a:cubicBezTo>
                  <a:pt x="247" y="128"/>
                  <a:pt x="247" y="128"/>
                  <a:pt x="247" y="128"/>
                </a:cubicBezTo>
                <a:cubicBezTo>
                  <a:pt x="247" y="127"/>
                  <a:pt x="247" y="127"/>
                  <a:pt x="247" y="127"/>
                </a:cubicBezTo>
                <a:cubicBezTo>
                  <a:pt x="247" y="126"/>
                  <a:pt x="247" y="126"/>
                  <a:pt x="247" y="126"/>
                </a:cubicBezTo>
                <a:cubicBezTo>
                  <a:pt x="246" y="125"/>
                  <a:pt x="246" y="125"/>
                  <a:pt x="246" y="125"/>
                </a:cubicBezTo>
                <a:cubicBezTo>
                  <a:pt x="247" y="124"/>
                  <a:pt x="247" y="124"/>
                  <a:pt x="247" y="124"/>
                </a:cubicBezTo>
                <a:cubicBezTo>
                  <a:pt x="248" y="125"/>
                  <a:pt x="248" y="125"/>
                  <a:pt x="248" y="125"/>
                </a:cubicBezTo>
                <a:cubicBezTo>
                  <a:pt x="249" y="126"/>
                  <a:pt x="249" y="126"/>
                  <a:pt x="249" y="126"/>
                </a:cubicBezTo>
                <a:cubicBezTo>
                  <a:pt x="250" y="126"/>
                  <a:pt x="250" y="126"/>
                  <a:pt x="250" y="126"/>
                </a:cubicBezTo>
                <a:cubicBezTo>
                  <a:pt x="252" y="128"/>
                  <a:pt x="252" y="128"/>
                  <a:pt x="252" y="128"/>
                </a:cubicBezTo>
                <a:cubicBezTo>
                  <a:pt x="252" y="127"/>
                  <a:pt x="252" y="127"/>
                  <a:pt x="252" y="127"/>
                </a:cubicBezTo>
                <a:cubicBezTo>
                  <a:pt x="251" y="126"/>
                  <a:pt x="251" y="126"/>
                  <a:pt x="251" y="126"/>
                </a:cubicBezTo>
                <a:cubicBezTo>
                  <a:pt x="253" y="125"/>
                  <a:pt x="253" y="125"/>
                  <a:pt x="253" y="125"/>
                </a:cubicBezTo>
                <a:cubicBezTo>
                  <a:pt x="253" y="123"/>
                  <a:pt x="253" y="123"/>
                  <a:pt x="253" y="123"/>
                </a:cubicBezTo>
                <a:cubicBezTo>
                  <a:pt x="252" y="122"/>
                  <a:pt x="252" y="122"/>
                  <a:pt x="252" y="122"/>
                </a:cubicBezTo>
                <a:cubicBezTo>
                  <a:pt x="252" y="121"/>
                  <a:pt x="252" y="121"/>
                  <a:pt x="252" y="121"/>
                </a:cubicBezTo>
                <a:cubicBezTo>
                  <a:pt x="253" y="122"/>
                  <a:pt x="253" y="122"/>
                  <a:pt x="253" y="122"/>
                </a:cubicBezTo>
                <a:cubicBezTo>
                  <a:pt x="254" y="121"/>
                  <a:pt x="254" y="121"/>
                  <a:pt x="254" y="121"/>
                </a:cubicBezTo>
                <a:cubicBezTo>
                  <a:pt x="251" y="120"/>
                  <a:pt x="251" y="120"/>
                  <a:pt x="251" y="120"/>
                </a:cubicBezTo>
                <a:cubicBezTo>
                  <a:pt x="251" y="121"/>
                  <a:pt x="251" y="121"/>
                  <a:pt x="251" y="121"/>
                </a:cubicBezTo>
                <a:cubicBezTo>
                  <a:pt x="250" y="121"/>
                  <a:pt x="250" y="121"/>
                  <a:pt x="250" y="121"/>
                </a:cubicBezTo>
                <a:cubicBezTo>
                  <a:pt x="250" y="120"/>
                  <a:pt x="250" y="120"/>
                  <a:pt x="250" y="120"/>
                </a:cubicBezTo>
                <a:cubicBezTo>
                  <a:pt x="251" y="119"/>
                  <a:pt x="251" y="119"/>
                  <a:pt x="251" y="119"/>
                </a:cubicBezTo>
                <a:cubicBezTo>
                  <a:pt x="253" y="118"/>
                  <a:pt x="253" y="118"/>
                  <a:pt x="253" y="118"/>
                </a:cubicBezTo>
                <a:cubicBezTo>
                  <a:pt x="255" y="118"/>
                  <a:pt x="255" y="118"/>
                  <a:pt x="255" y="118"/>
                </a:cubicBezTo>
                <a:cubicBezTo>
                  <a:pt x="254" y="117"/>
                  <a:pt x="254" y="117"/>
                  <a:pt x="254" y="117"/>
                </a:cubicBezTo>
                <a:cubicBezTo>
                  <a:pt x="256" y="115"/>
                  <a:pt x="256" y="115"/>
                  <a:pt x="256" y="115"/>
                </a:cubicBezTo>
                <a:cubicBezTo>
                  <a:pt x="256" y="114"/>
                  <a:pt x="256" y="114"/>
                  <a:pt x="256" y="114"/>
                </a:cubicBezTo>
                <a:cubicBezTo>
                  <a:pt x="256" y="114"/>
                  <a:pt x="256" y="114"/>
                  <a:pt x="256" y="114"/>
                </a:cubicBezTo>
                <a:cubicBezTo>
                  <a:pt x="256" y="113"/>
                  <a:pt x="256" y="113"/>
                  <a:pt x="256" y="113"/>
                </a:cubicBezTo>
                <a:cubicBezTo>
                  <a:pt x="257" y="111"/>
                  <a:pt x="257" y="111"/>
                  <a:pt x="257" y="111"/>
                </a:cubicBezTo>
                <a:cubicBezTo>
                  <a:pt x="257" y="111"/>
                  <a:pt x="257" y="111"/>
                  <a:pt x="257" y="111"/>
                </a:cubicBezTo>
                <a:cubicBezTo>
                  <a:pt x="258" y="112"/>
                  <a:pt x="258" y="112"/>
                  <a:pt x="258" y="112"/>
                </a:cubicBezTo>
                <a:cubicBezTo>
                  <a:pt x="259" y="112"/>
                  <a:pt x="259" y="112"/>
                  <a:pt x="259" y="112"/>
                </a:cubicBezTo>
                <a:cubicBezTo>
                  <a:pt x="259" y="111"/>
                  <a:pt x="259" y="111"/>
                  <a:pt x="259" y="111"/>
                </a:cubicBezTo>
                <a:cubicBezTo>
                  <a:pt x="260" y="111"/>
                  <a:pt x="260" y="111"/>
                  <a:pt x="260" y="111"/>
                </a:cubicBezTo>
                <a:cubicBezTo>
                  <a:pt x="259" y="110"/>
                  <a:pt x="259" y="110"/>
                  <a:pt x="259" y="110"/>
                </a:cubicBezTo>
                <a:cubicBezTo>
                  <a:pt x="259" y="109"/>
                  <a:pt x="259" y="109"/>
                  <a:pt x="259" y="109"/>
                </a:cubicBezTo>
                <a:cubicBezTo>
                  <a:pt x="261" y="108"/>
                  <a:pt x="261" y="108"/>
                  <a:pt x="261" y="108"/>
                </a:cubicBezTo>
                <a:cubicBezTo>
                  <a:pt x="262" y="108"/>
                  <a:pt x="262" y="108"/>
                  <a:pt x="262" y="108"/>
                </a:cubicBezTo>
                <a:cubicBezTo>
                  <a:pt x="262" y="107"/>
                  <a:pt x="262" y="107"/>
                  <a:pt x="262" y="107"/>
                </a:cubicBezTo>
                <a:cubicBezTo>
                  <a:pt x="263" y="107"/>
                  <a:pt x="263" y="107"/>
                  <a:pt x="263" y="107"/>
                </a:cubicBezTo>
                <a:cubicBezTo>
                  <a:pt x="264" y="107"/>
                  <a:pt x="264" y="107"/>
                  <a:pt x="264" y="107"/>
                </a:cubicBezTo>
                <a:cubicBezTo>
                  <a:pt x="266" y="107"/>
                  <a:pt x="266" y="107"/>
                  <a:pt x="266" y="107"/>
                </a:cubicBezTo>
                <a:cubicBezTo>
                  <a:pt x="265" y="106"/>
                  <a:pt x="265" y="106"/>
                  <a:pt x="265" y="106"/>
                </a:cubicBezTo>
                <a:cubicBezTo>
                  <a:pt x="266" y="105"/>
                  <a:pt x="266" y="105"/>
                  <a:pt x="266" y="105"/>
                </a:cubicBezTo>
                <a:cubicBezTo>
                  <a:pt x="268" y="105"/>
                  <a:pt x="268" y="105"/>
                  <a:pt x="268" y="105"/>
                </a:cubicBezTo>
                <a:cubicBezTo>
                  <a:pt x="270" y="104"/>
                  <a:pt x="270" y="104"/>
                  <a:pt x="270" y="104"/>
                </a:cubicBezTo>
                <a:cubicBezTo>
                  <a:pt x="271" y="102"/>
                  <a:pt x="271" y="102"/>
                  <a:pt x="271" y="102"/>
                </a:cubicBezTo>
                <a:cubicBezTo>
                  <a:pt x="274" y="101"/>
                  <a:pt x="274" y="101"/>
                  <a:pt x="274" y="101"/>
                </a:cubicBezTo>
                <a:cubicBezTo>
                  <a:pt x="274" y="100"/>
                  <a:pt x="274" y="100"/>
                  <a:pt x="274" y="100"/>
                </a:cubicBezTo>
                <a:cubicBezTo>
                  <a:pt x="274" y="100"/>
                  <a:pt x="274" y="100"/>
                  <a:pt x="274" y="100"/>
                </a:cubicBezTo>
                <a:cubicBezTo>
                  <a:pt x="271" y="101"/>
                  <a:pt x="271" y="101"/>
                  <a:pt x="271" y="101"/>
                </a:cubicBezTo>
                <a:cubicBezTo>
                  <a:pt x="271" y="100"/>
                  <a:pt x="271" y="100"/>
                  <a:pt x="271" y="100"/>
                </a:cubicBezTo>
                <a:cubicBezTo>
                  <a:pt x="269" y="102"/>
                  <a:pt x="269" y="102"/>
                  <a:pt x="269" y="102"/>
                </a:cubicBezTo>
                <a:cubicBezTo>
                  <a:pt x="269" y="101"/>
                  <a:pt x="269" y="101"/>
                  <a:pt x="269" y="101"/>
                </a:cubicBezTo>
                <a:cubicBezTo>
                  <a:pt x="269" y="98"/>
                  <a:pt x="269" y="98"/>
                  <a:pt x="269" y="98"/>
                </a:cubicBezTo>
                <a:cubicBezTo>
                  <a:pt x="269" y="98"/>
                  <a:pt x="269" y="98"/>
                  <a:pt x="269" y="98"/>
                </a:cubicBezTo>
                <a:cubicBezTo>
                  <a:pt x="270" y="96"/>
                  <a:pt x="270" y="96"/>
                  <a:pt x="270" y="96"/>
                </a:cubicBezTo>
                <a:cubicBezTo>
                  <a:pt x="270" y="97"/>
                  <a:pt x="270" y="97"/>
                  <a:pt x="270" y="97"/>
                </a:cubicBezTo>
                <a:cubicBezTo>
                  <a:pt x="270" y="97"/>
                  <a:pt x="270" y="97"/>
                  <a:pt x="270" y="97"/>
                </a:cubicBezTo>
                <a:cubicBezTo>
                  <a:pt x="271" y="97"/>
                  <a:pt x="271" y="97"/>
                  <a:pt x="271" y="97"/>
                </a:cubicBezTo>
                <a:cubicBezTo>
                  <a:pt x="272" y="97"/>
                  <a:pt x="272" y="97"/>
                  <a:pt x="272" y="97"/>
                </a:cubicBezTo>
                <a:cubicBezTo>
                  <a:pt x="270" y="95"/>
                  <a:pt x="270" y="95"/>
                  <a:pt x="270" y="95"/>
                </a:cubicBezTo>
                <a:cubicBezTo>
                  <a:pt x="272" y="95"/>
                  <a:pt x="272" y="95"/>
                  <a:pt x="272" y="95"/>
                </a:cubicBezTo>
                <a:cubicBezTo>
                  <a:pt x="273" y="96"/>
                  <a:pt x="273" y="96"/>
                  <a:pt x="273" y="96"/>
                </a:cubicBezTo>
                <a:cubicBezTo>
                  <a:pt x="274" y="96"/>
                  <a:pt x="274" y="96"/>
                  <a:pt x="274" y="96"/>
                </a:cubicBezTo>
                <a:cubicBezTo>
                  <a:pt x="276" y="95"/>
                  <a:pt x="276" y="95"/>
                  <a:pt x="276" y="95"/>
                </a:cubicBezTo>
                <a:cubicBezTo>
                  <a:pt x="277" y="95"/>
                  <a:pt x="277" y="95"/>
                  <a:pt x="277" y="95"/>
                </a:cubicBezTo>
                <a:cubicBezTo>
                  <a:pt x="281" y="94"/>
                  <a:pt x="281" y="94"/>
                  <a:pt x="281" y="94"/>
                </a:cubicBezTo>
                <a:cubicBezTo>
                  <a:pt x="282" y="94"/>
                  <a:pt x="282" y="94"/>
                  <a:pt x="282" y="94"/>
                </a:cubicBezTo>
                <a:cubicBezTo>
                  <a:pt x="283" y="95"/>
                  <a:pt x="283" y="95"/>
                  <a:pt x="283" y="95"/>
                </a:cubicBezTo>
                <a:cubicBezTo>
                  <a:pt x="281" y="98"/>
                  <a:pt x="281" y="98"/>
                  <a:pt x="281" y="98"/>
                </a:cubicBezTo>
                <a:cubicBezTo>
                  <a:pt x="281" y="99"/>
                  <a:pt x="281" y="99"/>
                  <a:pt x="281" y="99"/>
                </a:cubicBezTo>
                <a:cubicBezTo>
                  <a:pt x="283" y="100"/>
                  <a:pt x="283" y="100"/>
                  <a:pt x="283" y="100"/>
                </a:cubicBezTo>
                <a:cubicBezTo>
                  <a:pt x="283" y="98"/>
                  <a:pt x="283" y="98"/>
                  <a:pt x="283" y="98"/>
                </a:cubicBezTo>
                <a:cubicBezTo>
                  <a:pt x="284" y="96"/>
                  <a:pt x="284" y="96"/>
                  <a:pt x="284" y="96"/>
                </a:cubicBezTo>
                <a:cubicBezTo>
                  <a:pt x="284" y="95"/>
                  <a:pt x="284" y="95"/>
                  <a:pt x="284" y="95"/>
                </a:cubicBezTo>
                <a:cubicBezTo>
                  <a:pt x="284" y="94"/>
                  <a:pt x="284" y="94"/>
                  <a:pt x="284" y="94"/>
                </a:cubicBezTo>
                <a:cubicBezTo>
                  <a:pt x="285" y="96"/>
                  <a:pt x="285" y="96"/>
                  <a:pt x="285" y="96"/>
                </a:cubicBezTo>
                <a:cubicBezTo>
                  <a:pt x="285" y="97"/>
                  <a:pt x="285" y="97"/>
                  <a:pt x="285" y="97"/>
                </a:cubicBezTo>
                <a:cubicBezTo>
                  <a:pt x="286" y="97"/>
                  <a:pt x="286" y="97"/>
                  <a:pt x="286" y="97"/>
                </a:cubicBezTo>
                <a:cubicBezTo>
                  <a:pt x="287" y="96"/>
                  <a:pt x="287" y="96"/>
                  <a:pt x="287" y="96"/>
                </a:cubicBezTo>
                <a:cubicBezTo>
                  <a:pt x="286" y="95"/>
                  <a:pt x="286" y="95"/>
                  <a:pt x="286" y="95"/>
                </a:cubicBezTo>
                <a:cubicBezTo>
                  <a:pt x="287" y="94"/>
                  <a:pt x="287" y="94"/>
                  <a:pt x="287" y="94"/>
                </a:cubicBezTo>
                <a:cubicBezTo>
                  <a:pt x="288" y="94"/>
                  <a:pt x="288" y="94"/>
                  <a:pt x="288" y="94"/>
                </a:cubicBezTo>
                <a:cubicBezTo>
                  <a:pt x="288" y="96"/>
                  <a:pt x="288" y="96"/>
                  <a:pt x="288" y="96"/>
                </a:cubicBezTo>
                <a:cubicBezTo>
                  <a:pt x="290" y="94"/>
                  <a:pt x="290" y="94"/>
                  <a:pt x="290" y="94"/>
                </a:cubicBezTo>
                <a:cubicBezTo>
                  <a:pt x="290" y="93"/>
                  <a:pt x="290" y="93"/>
                  <a:pt x="290" y="93"/>
                </a:cubicBezTo>
                <a:cubicBezTo>
                  <a:pt x="289" y="92"/>
                  <a:pt x="289" y="92"/>
                  <a:pt x="289" y="92"/>
                </a:cubicBezTo>
                <a:cubicBezTo>
                  <a:pt x="291" y="92"/>
                  <a:pt x="291" y="92"/>
                  <a:pt x="291" y="92"/>
                </a:cubicBezTo>
                <a:cubicBezTo>
                  <a:pt x="291" y="92"/>
                  <a:pt x="291" y="92"/>
                  <a:pt x="291" y="92"/>
                </a:cubicBezTo>
                <a:cubicBezTo>
                  <a:pt x="290" y="91"/>
                  <a:pt x="290" y="91"/>
                  <a:pt x="290" y="91"/>
                </a:cubicBezTo>
                <a:cubicBezTo>
                  <a:pt x="292" y="90"/>
                  <a:pt x="292" y="90"/>
                  <a:pt x="292" y="90"/>
                </a:cubicBezTo>
                <a:cubicBezTo>
                  <a:pt x="293" y="90"/>
                  <a:pt x="293" y="90"/>
                  <a:pt x="293" y="90"/>
                </a:cubicBezTo>
                <a:cubicBezTo>
                  <a:pt x="294" y="89"/>
                  <a:pt x="294" y="89"/>
                  <a:pt x="294" y="89"/>
                </a:cubicBezTo>
                <a:cubicBezTo>
                  <a:pt x="295" y="89"/>
                  <a:pt x="295" y="89"/>
                  <a:pt x="295" y="89"/>
                </a:cubicBezTo>
                <a:cubicBezTo>
                  <a:pt x="295" y="90"/>
                  <a:pt x="295" y="90"/>
                  <a:pt x="295" y="90"/>
                </a:cubicBezTo>
                <a:cubicBezTo>
                  <a:pt x="296" y="90"/>
                  <a:pt x="296" y="90"/>
                  <a:pt x="296" y="90"/>
                </a:cubicBezTo>
                <a:cubicBezTo>
                  <a:pt x="298" y="91"/>
                  <a:pt x="298" y="91"/>
                  <a:pt x="298" y="91"/>
                </a:cubicBezTo>
                <a:cubicBezTo>
                  <a:pt x="298" y="92"/>
                  <a:pt x="298" y="92"/>
                  <a:pt x="298" y="92"/>
                </a:cubicBezTo>
                <a:cubicBezTo>
                  <a:pt x="298" y="93"/>
                  <a:pt x="298" y="93"/>
                  <a:pt x="298" y="93"/>
                </a:cubicBezTo>
                <a:cubicBezTo>
                  <a:pt x="297" y="96"/>
                  <a:pt x="297" y="96"/>
                  <a:pt x="297" y="96"/>
                </a:cubicBezTo>
                <a:cubicBezTo>
                  <a:pt x="299" y="95"/>
                  <a:pt x="299" y="95"/>
                  <a:pt x="299" y="95"/>
                </a:cubicBezTo>
                <a:cubicBezTo>
                  <a:pt x="300" y="93"/>
                  <a:pt x="300" y="93"/>
                  <a:pt x="300" y="93"/>
                </a:cubicBezTo>
                <a:cubicBezTo>
                  <a:pt x="299" y="90"/>
                  <a:pt x="299" y="90"/>
                  <a:pt x="299" y="90"/>
                </a:cubicBezTo>
                <a:cubicBezTo>
                  <a:pt x="297" y="89"/>
                  <a:pt x="297" y="89"/>
                  <a:pt x="297" y="89"/>
                </a:cubicBezTo>
                <a:cubicBezTo>
                  <a:pt x="296" y="87"/>
                  <a:pt x="296" y="87"/>
                  <a:pt x="296" y="87"/>
                </a:cubicBezTo>
                <a:cubicBezTo>
                  <a:pt x="295" y="88"/>
                  <a:pt x="295" y="88"/>
                  <a:pt x="295" y="88"/>
                </a:cubicBezTo>
                <a:cubicBezTo>
                  <a:pt x="294" y="88"/>
                  <a:pt x="294" y="88"/>
                  <a:pt x="294" y="88"/>
                </a:cubicBezTo>
                <a:cubicBezTo>
                  <a:pt x="292" y="88"/>
                  <a:pt x="292" y="88"/>
                  <a:pt x="292" y="88"/>
                </a:cubicBezTo>
                <a:cubicBezTo>
                  <a:pt x="292" y="87"/>
                  <a:pt x="292" y="87"/>
                  <a:pt x="292" y="87"/>
                </a:cubicBezTo>
                <a:cubicBezTo>
                  <a:pt x="291" y="86"/>
                  <a:pt x="291" y="86"/>
                  <a:pt x="291" y="86"/>
                </a:cubicBezTo>
                <a:cubicBezTo>
                  <a:pt x="291" y="86"/>
                  <a:pt x="291" y="86"/>
                  <a:pt x="291" y="86"/>
                </a:cubicBezTo>
                <a:cubicBezTo>
                  <a:pt x="291" y="85"/>
                  <a:pt x="291" y="85"/>
                  <a:pt x="291" y="85"/>
                </a:cubicBezTo>
                <a:cubicBezTo>
                  <a:pt x="294" y="85"/>
                  <a:pt x="294" y="85"/>
                  <a:pt x="294" y="85"/>
                </a:cubicBezTo>
                <a:cubicBezTo>
                  <a:pt x="295" y="84"/>
                  <a:pt x="295" y="84"/>
                  <a:pt x="295" y="84"/>
                </a:cubicBezTo>
                <a:cubicBezTo>
                  <a:pt x="296" y="84"/>
                  <a:pt x="296" y="84"/>
                  <a:pt x="296" y="84"/>
                </a:cubicBezTo>
                <a:cubicBezTo>
                  <a:pt x="297" y="84"/>
                  <a:pt x="297" y="84"/>
                  <a:pt x="297" y="84"/>
                </a:cubicBezTo>
                <a:cubicBezTo>
                  <a:pt x="299" y="84"/>
                  <a:pt x="299" y="84"/>
                  <a:pt x="299" y="84"/>
                </a:cubicBezTo>
                <a:cubicBezTo>
                  <a:pt x="299" y="84"/>
                  <a:pt x="299" y="84"/>
                  <a:pt x="299" y="84"/>
                </a:cubicBezTo>
                <a:cubicBezTo>
                  <a:pt x="302" y="83"/>
                  <a:pt x="302" y="83"/>
                  <a:pt x="302" y="83"/>
                </a:cubicBezTo>
                <a:cubicBezTo>
                  <a:pt x="304" y="84"/>
                  <a:pt x="304" y="84"/>
                  <a:pt x="304" y="84"/>
                </a:cubicBezTo>
                <a:cubicBezTo>
                  <a:pt x="305" y="84"/>
                  <a:pt x="305" y="84"/>
                  <a:pt x="305" y="84"/>
                </a:cubicBezTo>
                <a:cubicBezTo>
                  <a:pt x="306" y="84"/>
                  <a:pt x="306" y="84"/>
                  <a:pt x="306" y="84"/>
                </a:cubicBezTo>
                <a:cubicBezTo>
                  <a:pt x="307" y="83"/>
                  <a:pt x="307" y="83"/>
                  <a:pt x="307" y="83"/>
                </a:cubicBezTo>
                <a:cubicBezTo>
                  <a:pt x="306" y="82"/>
                  <a:pt x="306" y="82"/>
                  <a:pt x="306" y="82"/>
                </a:cubicBezTo>
                <a:cubicBezTo>
                  <a:pt x="304" y="82"/>
                  <a:pt x="304" y="82"/>
                  <a:pt x="304" y="82"/>
                </a:cubicBezTo>
                <a:cubicBezTo>
                  <a:pt x="302" y="82"/>
                  <a:pt x="302" y="82"/>
                  <a:pt x="302" y="82"/>
                </a:cubicBezTo>
                <a:cubicBezTo>
                  <a:pt x="301" y="82"/>
                  <a:pt x="301" y="82"/>
                  <a:pt x="301" y="82"/>
                </a:cubicBezTo>
                <a:cubicBezTo>
                  <a:pt x="299" y="82"/>
                  <a:pt x="299" y="82"/>
                  <a:pt x="299" y="82"/>
                </a:cubicBezTo>
                <a:cubicBezTo>
                  <a:pt x="299" y="81"/>
                  <a:pt x="299" y="81"/>
                  <a:pt x="299" y="81"/>
                </a:cubicBezTo>
                <a:cubicBezTo>
                  <a:pt x="298" y="80"/>
                  <a:pt x="298" y="80"/>
                  <a:pt x="298" y="80"/>
                </a:cubicBezTo>
                <a:cubicBezTo>
                  <a:pt x="300" y="78"/>
                  <a:pt x="300" y="78"/>
                  <a:pt x="300" y="78"/>
                </a:cubicBezTo>
                <a:cubicBezTo>
                  <a:pt x="298" y="78"/>
                  <a:pt x="298" y="78"/>
                  <a:pt x="298" y="78"/>
                </a:cubicBezTo>
                <a:cubicBezTo>
                  <a:pt x="297" y="76"/>
                  <a:pt x="297" y="76"/>
                  <a:pt x="297" y="76"/>
                </a:cubicBezTo>
                <a:cubicBezTo>
                  <a:pt x="295" y="76"/>
                  <a:pt x="295" y="76"/>
                  <a:pt x="295" y="76"/>
                </a:cubicBezTo>
                <a:cubicBezTo>
                  <a:pt x="294" y="75"/>
                  <a:pt x="294" y="75"/>
                  <a:pt x="294" y="75"/>
                </a:cubicBezTo>
                <a:cubicBezTo>
                  <a:pt x="294" y="73"/>
                  <a:pt x="294" y="73"/>
                  <a:pt x="294" y="73"/>
                </a:cubicBezTo>
                <a:cubicBezTo>
                  <a:pt x="295" y="73"/>
                  <a:pt x="295" y="73"/>
                  <a:pt x="295" y="73"/>
                </a:cubicBezTo>
                <a:cubicBezTo>
                  <a:pt x="295" y="72"/>
                  <a:pt x="295" y="72"/>
                  <a:pt x="295" y="72"/>
                </a:cubicBezTo>
                <a:cubicBezTo>
                  <a:pt x="294" y="70"/>
                  <a:pt x="294" y="70"/>
                  <a:pt x="294" y="70"/>
                </a:cubicBezTo>
                <a:cubicBezTo>
                  <a:pt x="294" y="64"/>
                  <a:pt x="294" y="64"/>
                  <a:pt x="294" y="64"/>
                </a:cubicBezTo>
                <a:cubicBezTo>
                  <a:pt x="295" y="63"/>
                  <a:pt x="295" y="63"/>
                  <a:pt x="295" y="63"/>
                </a:cubicBezTo>
                <a:cubicBezTo>
                  <a:pt x="295" y="61"/>
                  <a:pt x="295" y="61"/>
                  <a:pt x="295" y="61"/>
                </a:cubicBezTo>
                <a:cubicBezTo>
                  <a:pt x="295" y="59"/>
                  <a:pt x="295" y="59"/>
                  <a:pt x="295" y="59"/>
                </a:cubicBezTo>
                <a:cubicBezTo>
                  <a:pt x="296" y="58"/>
                  <a:pt x="296" y="58"/>
                  <a:pt x="296" y="58"/>
                </a:cubicBezTo>
                <a:cubicBezTo>
                  <a:pt x="295" y="57"/>
                  <a:pt x="295" y="57"/>
                  <a:pt x="295" y="57"/>
                </a:cubicBezTo>
                <a:cubicBezTo>
                  <a:pt x="297" y="57"/>
                  <a:pt x="297" y="57"/>
                  <a:pt x="297" y="57"/>
                </a:cubicBezTo>
                <a:cubicBezTo>
                  <a:pt x="297" y="55"/>
                  <a:pt x="297" y="55"/>
                  <a:pt x="297" y="55"/>
                </a:cubicBezTo>
                <a:cubicBezTo>
                  <a:pt x="299" y="54"/>
                  <a:pt x="299" y="54"/>
                  <a:pt x="299" y="54"/>
                </a:cubicBezTo>
                <a:cubicBezTo>
                  <a:pt x="299" y="54"/>
                  <a:pt x="299" y="54"/>
                  <a:pt x="299" y="54"/>
                </a:cubicBezTo>
                <a:cubicBezTo>
                  <a:pt x="301" y="56"/>
                  <a:pt x="301" y="56"/>
                  <a:pt x="301" y="56"/>
                </a:cubicBezTo>
                <a:cubicBezTo>
                  <a:pt x="302" y="55"/>
                  <a:pt x="302" y="55"/>
                  <a:pt x="302" y="55"/>
                </a:cubicBezTo>
                <a:cubicBezTo>
                  <a:pt x="303" y="55"/>
                  <a:pt x="303" y="55"/>
                  <a:pt x="303" y="55"/>
                </a:cubicBezTo>
                <a:cubicBezTo>
                  <a:pt x="304" y="56"/>
                  <a:pt x="304" y="56"/>
                  <a:pt x="304" y="56"/>
                </a:cubicBezTo>
                <a:cubicBezTo>
                  <a:pt x="306" y="57"/>
                  <a:pt x="306" y="57"/>
                  <a:pt x="306" y="57"/>
                </a:cubicBezTo>
                <a:cubicBezTo>
                  <a:pt x="307" y="55"/>
                  <a:pt x="307" y="55"/>
                  <a:pt x="307" y="55"/>
                </a:cubicBezTo>
                <a:cubicBezTo>
                  <a:pt x="308" y="55"/>
                  <a:pt x="308" y="55"/>
                  <a:pt x="308" y="55"/>
                </a:cubicBezTo>
                <a:cubicBezTo>
                  <a:pt x="308" y="57"/>
                  <a:pt x="308" y="57"/>
                  <a:pt x="308" y="57"/>
                </a:cubicBezTo>
                <a:cubicBezTo>
                  <a:pt x="308" y="58"/>
                  <a:pt x="308" y="58"/>
                  <a:pt x="308" y="58"/>
                </a:cubicBezTo>
                <a:cubicBezTo>
                  <a:pt x="310" y="58"/>
                  <a:pt x="310" y="58"/>
                  <a:pt x="310" y="58"/>
                </a:cubicBezTo>
                <a:cubicBezTo>
                  <a:pt x="310" y="59"/>
                  <a:pt x="310" y="59"/>
                  <a:pt x="310" y="59"/>
                </a:cubicBezTo>
                <a:cubicBezTo>
                  <a:pt x="309" y="60"/>
                  <a:pt x="309" y="60"/>
                  <a:pt x="309" y="60"/>
                </a:cubicBezTo>
                <a:cubicBezTo>
                  <a:pt x="309" y="60"/>
                  <a:pt x="309" y="60"/>
                  <a:pt x="309" y="60"/>
                </a:cubicBezTo>
                <a:cubicBezTo>
                  <a:pt x="309" y="61"/>
                  <a:pt x="309" y="61"/>
                  <a:pt x="309" y="61"/>
                </a:cubicBezTo>
                <a:cubicBezTo>
                  <a:pt x="309" y="62"/>
                  <a:pt x="309" y="62"/>
                  <a:pt x="309" y="62"/>
                </a:cubicBezTo>
                <a:cubicBezTo>
                  <a:pt x="308" y="65"/>
                  <a:pt x="308" y="65"/>
                  <a:pt x="308" y="65"/>
                </a:cubicBezTo>
                <a:cubicBezTo>
                  <a:pt x="306" y="65"/>
                  <a:pt x="306" y="65"/>
                  <a:pt x="306" y="65"/>
                </a:cubicBezTo>
                <a:cubicBezTo>
                  <a:pt x="305" y="66"/>
                  <a:pt x="305" y="66"/>
                  <a:pt x="305" y="66"/>
                </a:cubicBezTo>
                <a:cubicBezTo>
                  <a:pt x="306" y="67"/>
                  <a:pt x="306" y="67"/>
                  <a:pt x="306" y="67"/>
                </a:cubicBezTo>
                <a:cubicBezTo>
                  <a:pt x="309" y="66"/>
                  <a:pt x="309" y="66"/>
                  <a:pt x="309" y="66"/>
                </a:cubicBezTo>
                <a:cubicBezTo>
                  <a:pt x="311" y="63"/>
                  <a:pt x="311" y="63"/>
                  <a:pt x="311" y="63"/>
                </a:cubicBezTo>
                <a:cubicBezTo>
                  <a:pt x="312" y="63"/>
                  <a:pt x="312" y="63"/>
                  <a:pt x="312" y="63"/>
                </a:cubicBezTo>
                <a:cubicBezTo>
                  <a:pt x="312" y="64"/>
                  <a:pt x="312" y="64"/>
                  <a:pt x="312" y="64"/>
                </a:cubicBezTo>
                <a:cubicBezTo>
                  <a:pt x="311" y="65"/>
                  <a:pt x="311" y="65"/>
                  <a:pt x="311" y="65"/>
                </a:cubicBezTo>
                <a:cubicBezTo>
                  <a:pt x="311" y="66"/>
                  <a:pt x="311" y="66"/>
                  <a:pt x="311" y="66"/>
                </a:cubicBezTo>
                <a:cubicBezTo>
                  <a:pt x="313" y="66"/>
                  <a:pt x="313" y="66"/>
                  <a:pt x="313" y="66"/>
                </a:cubicBezTo>
                <a:cubicBezTo>
                  <a:pt x="314" y="64"/>
                  <a:pt x="314" y="64"/>
                  <a:pt x="314" y="64"/>
                </a:cubicBezTo>
                <a:cubicBezTo>
                  <a:pt x="315" y="64"/>
                  <a:pt x="315" y="64"/>
                  <a:pt x="315" y="64"/>
                </a:cubicBezTo>
                <a:cubicBezTo>
                  <a:pt x="315" y="64"/>
                  <a:pt x="315" y="64"/>
                  <a:pt x="315" y="64"/>
                </a:cubicBezTo>
                <a:cubicBezTo>
                  <a:pt x="317" y="64"/>
                  <a:pt x="317" y="64"/>
                  <a:pt x="317" y="64"/>
                </a:cubicBezTo>
                <a:cubicBezTo>
                  <a:pt x="317" y="63"/>
                  <a:pt x="317" y="63"/>
                  <a:pt x="317" y="63"/>
                </a:cubicBezTo>
                <a:cubicBezTo>
                  <a:pt x="318" y="62"/>
                  <a:pt x="318" y="62"/>
                  <a:pt x="318" y="62"/>
                </a:cubicBezTo>
                <a:cubicBezTo>
                  <a:pt x="319" y="63"/>
                  <a:pt x="319" y="63"/>
                  <a:pt x="319" y="63"/>
                </a:cubicBezTo>
                <a:cubicBezTo>
                  <a:pt x="320" y="62"/>
                  <a:pt x="320" y="62"/>
                  <a:pt x="320" y="62"/>
                </a:cubicBezTo>
                <a:cubicBezTo>
                  <a:pt x="322" y="64"/>
                  <a:pt x="322" y="64"/>
                  <a:pt x="322" y="64"/>
                </a:cubicBezTo>
                <a:cubicBezTo>
                  <a:pt x="322" y="65"/>
                  <a:pt x="322" y="65"/>
                  <a:pt x="322" y="65"/>
                </a:cubicBezTo>
                <a:cubicBezTo>
                  <a:pt x="322" y="67"/>
                  <a:pt x="322" y="67"/>
                  <a:pt x="322" y="67"/>
                </a:cubicBezTo>
                <a:cubicBezTo>
                  <a:pt x="322" y="68"/>
                  <a:pt x="322" y="68"/>
                  <a:pt x="322" y="68"/>
                </a:cubicBezTo>
                <a:cubicBezTo>
                  <a:pt x="322" y="69"/>
                  <a:pt x="322" y="69"/>
                  <a:pt x="322" y="69"/>
                </a:cubicBezTo>
                <a:cubicBezTo>
                  <a:pt x="321" y="71"/>
                  <a:pt x="321" y="71"/>
                  <a:pt x="321" y="71"/>
                </a:cubicBezTo>
                <a:cubicBezTo>
                  <a:pt x="322" y="74"/>
                  <a:pt x="322" y="74"/>
                  <a:pt x="322" y="74"/>
                </a:cubicBezTo>
                <a:cubicBezTo>
                  <a:pt x="322" y="75"/>
                  <a:pt x="322" y="75"/>
                  <a:pt x="322" y="75"/>
                </a:cubicBezTo>
                <a:cubicBezTo>
                  <a:pt x="321" y="75"/>
                  <a:pt x="321" y="75"/>
                  <a:pt x="321" y="75"/>
                </a:cubicBezTo>
                <a:cubicBezTo>
                  <a:pt x="320" y="76"/>
                  <a:pt x="320" y="76"/>
                  <a:pt x="320" y="76"/>
                </a:cubicBezTo>
                <a:cubicBezTo>
                  <a:pt x="321" y="76"/>
                  <a:pt x="321" y="76"/>
                  <a:pt x="321" y="76"/>
                </a:cubicBezTo>
                <a:cubicBezTo>
                  <a:pt x="324" y="76"/>
                  <a:pt x="324" y="76"/>
                  <a:pt x="324" y="76"/>
                </a:cubicBezTo>
                <a:cubicBezTo>
                  <a:pt x="325" y="74"/>
                  <a:pt x="325" y="74"/>
                  <a:pt x="325" y="74"/>
                </a:cubicBezTo>
                <a:cubicBezTo>
                  <a:pt x="327" y="74"/>
                  <a:pt x="327" y="74"/>
                  <a:pt x="327" y="74"/>
                </a:cubicBezTo>
                <a:cubicBezTo>
                  <a:pt x="328" y="72"/>
                  <a:pt x="328" y="72"/>
                  <a:pt x="328" y="72"/>
                </a:cubicBezTo>
                <a:cubicBezTo>
                  <a:pt x="328" y="70"/>
                  <a:pt x="328" y="70"/>
                  <a:pt x="328" y="70"/>
                </a:cubicBezTo>
                <a:cubicBezTo>
                  <a:pt x="327" y="69"/>
                  <a:pt x="327" y="69"/>
                  <a:pt x="327" y="69"/>
                </a:cubicBezTo>
                <a:cubicBezTo>
                  <a:pt x="326" y="69"/>
                  <a:pt x="326" y="69"/>
                  <a:pt x="326" y="69"/>
                </a:cubicBezTo>
                <a:cubicBezTo>
                  <a:pt x="325" y="68"/>
                  <a:pt x="325" y="68"/>
                  <a:pt x="325" y="68"/>
                </a:cubicBezTo>
                <a:cubicBezTo>
                  <a:pt x="325" y="67"/>
                  <a:pt x="325" y="67"/>
                  <a:pt x="325" y="67"/>
                </a:cubicBezTo>
                <a:cubicBezTo>
                  <a:pt x="326" y="67"/>
                  <a:pt x="326" y="67"/>
                  <a:pt x="326" y="67"/>
                </a:cubicBezTo>
                <a:cubicBezTo>
                  <a:pt x="327" y="67"/>
                  <a:pt x="327" y="67"/>
                  <a:pt x="327" y="67"/>
                </a:cubicBezTo>
                <a:cubicBezTo>
                  <a:pt x="327" y="67"/>
                  <a:pt x="327" y="67"/>
                  <a:pt x="327" y="67"/>
                </a:cubicBezTo>
                <a:cubicBezTo>
                  <a:pt x="328" y="67"/>
                  <a:pt x="328" y="67"/>
                  <a:pt x="328" y="67"/>
                </a:cubicBezTo>
                <a:cubicBezTo>
                  <a:pt x="330" y="66"/>
                  <a:pt x="330" y="66"/>
                  <a:pt x="330" y="66"/>
                </a:cubicBezTo>
                <a:cubicBezTo>
                  <a:pt x="332" y="64"/>
                  <a:pt x="332" y="64"/>
                  <a:pt x="332" y="64"/>
                </a:cubicBezTo>
                <a:cubicBezTo>
                  <a:pt x="333" y="65"/>
                  <a:pt x="333" y="65"/>
                  <a:pt x="333" y="65"/>
                </a:cubicBezTo>
                <a:cubicBezTo>
                  <a:pt x="334" y="65"/>
                  <a:pt x="334" y="65"/>
                  <a:pt x="334" y="65"/>
                </a:cubicBezTo>
                <a:cubicBezTo>
                  <a:pt x="335" y="63"/>
                  <a:pt x="335" y="63"/>
                  <a:pt x="335" y="63"/>
                </a:cubicBezTo>
                <a:cubicBezTo>
                  <a:pt x="336" y="62"/>
                  <a:pt x="336" y="62"/>
                  <a:pt x="336" y="62"/>
                </a:cubicBezTo>
                <a:cubicBezTo>
                  <a:pt x="336" y="63"/>
                  <a:pt x="336" y="63"/>
                  <a:pt x="336" y="63"/>
                </a:cubicBezTo>
                <a:cubicBezTo>
                  <a:pt x="337" y="62"/>
                  <a:pt x="337" y="62"/>
                  <a:pt x="337" y="62"/>
                </a:cubicBezTo>
                <a:cubicBezTo>
                  <a:pt x="339" y="61"/>
                  <a:pt x="339" y="61"/>
                  <a:pt x="339" y="61"/>
                </a:cubicBezTo>
                <a:cubicBezTo>
                  <a:pt x="339" y="62"/>
                  <a:pt x="339" y="62"/>
                  <a:pt x="339" y="62"/>
                </a:cubicBezTo>
                <a:cubicBezTo>
                  <a:pt x="341" y="62"/>
                  <a:pt x="341" y="62"/>
                  <a:pt x="341" y="62"/>
                </a:cubicBezTo>
                <a:cubicBezTo>
                  <a:pt x="341" y="62"/>
                  <a:pt x="341" y="62"/>
                  <a:pt x="341" y="62"/>
                </a:cubicBezTo>
                <a:cubicBezTo>
                  <a:pt x="340" y="63"/>
                  <a:pt x="340" y="63"/>
                  <a:pt x="340" y="63"/>
                </a:cubicBezTo>
                <a:cubicBezTo>
                  <a:pt x="341" y="64"/>
                  <a:pt x="341" y="64"/>
                  <a:pt x="341" y="64"/>
                </a:cubicBezTo>
                <a:cubicBezTo>
                  <a:pt x="343" y="64"/>
                  <a:pt x="343" y="64"/>
                  <a:pt x="343" y="64"/>
                </a:cubicBezTo>
                <a:cubicBezTo>
                  <a:pt x="344" y="64"/>
                  <a:pt x="344" y="64"/>
                  <a:pt x="344" y="64"/>
                </a:cubicBezTo>
                <a:cubicBezTo>
                  <a:pt x="345" y="65"/>
                  <a:pt x="345" y="65"/>
                  <a:pt x="345" y="65"/>
                </a:cubicBezTo>
                <a:cubicBezTo>
                  <a:pt x="350" y="67"/>
                  <a:pt x="350" y="67"/>
                  <a:pt x="350" y="67"/>
                </a:cubicBezTo>
                <a:cubicBezTo>
                  <a:pt x="351" y="68"/>
                  <a:pt x="351" y="68"/>
                  <a:pt x="351" y="68"/>
                </a:cubicBezTo>
                <a:cubicBezTo>
                  <a:pt x="351" y="69"/>
                  <a:pt x="351" y="69"/>
                  <a:pt x="351" y="69"/>
                </a:cubicBezTo>
                <a:cubicBezTo>
                  <a:pt x="351" y="70"/>
                  <a:pt x="351" y="70"/>
                  <a:pt x="351" y="70"/>
                </a:cubicBezTo>
                <a:cubicBezTo>
                  <a:pt x="354" y="72"/>
                  <a:pt x="354" y="72"/>
                  <a:pt x="354" y="72"/>
                </a:cubicBezTo>
                <a:cubicBezTo>
                  <a:pt x="354" y="72"/>
                  <a:pt x="354" y="72"/>
                  <a:pt x="354" y="72"/>
                </a:cubicBezTo>
                <a:cubicBezTo>
                  <a:pt x="354" y="71"/>
                  <a:pt x="354" y="71"/>
                  <a:pt x="354" y="71"/>
                </a:cubicBezTo>
                <a:cubicBezTo>
                  <a:pt x="355" y="71"/>
                  <a:pt x="355" y="71"/>
                  <a:pt x="355" y="71"/>
                </a:cubicBezTo>
                <a:cubicBezTo>
                  <a:pt x="355" y="70"/>
                  <a:pt x="355" y="70"/>
                  <a:pt x="355" y="70"/>
                </a:cubicBezTo>
                <a:cubicBezTo>
                  <a:pt x="354" y="70"/>
                  <a:pt x="354" y="70"/>
                  <a:pt x="354" y="70"/>
                </a:cubicBezTo>
                <a:cubicBezTo>
                  <a:pt x="353" y="69"/>
                  <a:pt x="353" y="69"/>
                  <a:pt x="353" y="69"/>
                </a:cubicBezTo>
                <a:cubicBezTo>
                  <a:pt x="353" y="68"/>
                  <a:pt x="353" y="68"/>
                  <a:pt x="353" y="68"/>
                </a:cubicBezTo>
                <a:cubicBezTo>
                  <a:pt x="354" y="68"/>
                  <a:pt x="354" y="68"/>
                  <a:pt x="354" y="68"/>
                </a:cubicBezTo>
                <a:cubicBezTo>
                  <a:pt x="355" y="68"/>
                  <a:pt x="355" y="68"/>
                  <a:pt x="355" y="68"/>
                </a:cubicBezTo>
                <a:cubicBezTo>
                  <a:pt x="356" y="69"/>
                  <a:pt x="356" y="69"/>
                  <a:pt x="356" y="69"/>
                </a:cubicBezTo>
                <a:cubicBezTo>
                  <a:pt x="357" y="69"/>
                  <a:pt x="357" y="69"/>
                  <a:pt x="357" y="69"/>
                </a:cubicBezTo>
                <a:cubicBezTo>
                  <a:pt x="357" y="70"/>
                  <a:pt x="357" y="70"/>
                  <a:pt x="357" y="70"/>
                </a:cubicBezTo>
                <a:cubicBezTo>
                  <a:pt x="358" y="72"/>
                  <a:pt x="358" y="72"/>
                  <a:pt x="358" y="72"/>
                </a:cubicBezTo>
                <a:cubicBezTo>
                  <a:pt x="359" y="74"/>
                  <a:pt x="359" y="74"/>
                  <a:pt x="359" y="74"/>
                </a:cubicBezTo>
                <a:cubicBezTo>
                  <a:pt x="359" y="74"/>
                  <a:pt x="359" y="74"/>
                  <a:pt x="359" y="74"/>
                </a:cubicBezTo>
                <a:cubicBezTo>
                  <a:pt x="360" y="73"/>
                  <a:pt x="360" y="73"/>
                  <a:pt x="360" y="73"/>
                </a:cubicBezTo>
                <a:cubicBezTo>
                  <a:pt x="361" y="73"/>
                  <a:pt x="361" y="73"/>
                  <a:pt x="361" y="73"/>
                </a:cubicBezTo>
                <a:cubicBezTo>
                  <a:pt x="361" y="74"/>
                  <a:pt x="361" y="74"/>
                  <a:pt x="361" y="74"/>
                </a:cubicBezTo>
                <a:cubicBezTo>
                  <a:pt x="362" y="75"/>
                  <a:pt x="362" y="75"/>
                  <a:pt x="362" y="75"/>
                </a:cubicBezTo>
                <a:cubicBezTo>
                  <a:pt x="362" y="76"/>
                  <a:pt x="362" y="76"/>
                  <a:pt x="362" y="76"/>
                </a:cubicBezTo>
                <a:cubicBezTo>
                  <a:pt x="363" y="78"/>
                  <a:pt x="363" y="78"/>
                  <a:pt x="363" y="78"/>
                </a:cubicBezTo>
                <a:cubicBezTo>
                  <a:pt x="363" y="79"/>
                  <a:pt x="363" y="79"/>
                  <a:pt x="363" y="79"/>
                </a:cubicBezTo>
                <a:cubicBezTo>
                  <a:pt x="363" y="78"/>
                  <a:pt x="363" y="78"/>
                  <a:pt x="363" y="78"/>
                </a:cubicBezTo>
                <a:cubicBezTo>
                  <a:pt x="363" y="78"/>
                  <a:pt x="363" y="78"/>
                  <a:pt x="363" y="78"/>
                </a:cubicBezTo>
                <a:cubicBezTo>
                  <a:pt x="362" y="77"/>
                  <a:pt x="362" y="77"/>
                  <a:pt x="362" y="77"/>
                </a:cubicBezTo>
                <a:cubicBezTo>
                  <a:pt x="362" y="77"/>
                  <a:pt x="362" y="77"/>
                  <a:pt x="362" y="77"/>
                </a:cubicBezTo>
                <a:cubicBezTo>
                  <a:pt x="361" y="78"/>
                  <a:pt x="361" y="78"/>
                  <a:pt x="361" y="78"/>
                </a:cubicBezTo>
                <a:cubicBezTo>
                  <a:pt x="360" y="77"/>
                  <a:pt x="360" y="77"/>
                  <a:pt x="360" y="77"/>
                </a:cubicBezTo>
                <a:cubicBezTo>
                  <a:pt x="358" y="76"/>
                  <a:pt x="358" y="76"/>
                  <a:pt x="358" y="76"/>
                </a:cubicBezTo>
                <a:cubicBezTo>
                  <a:pt x="356" y="76"/>
                  <a:pt x="356" y="76"/>
                  <a:pt x="356" y="76"/>
                </a:cubicBezTo>
                <a:cubicBezTo>
                  <a:pt x="356" y="76"/>
                  <a:pt x="356" y="76"/>
                  <a:pt x="356" y="76"/>
                </a:cubicBezTo>
                <a:cubicBezTo>
                  <a:pt x="357" y="78"/>
                  <a:pt x="357" y="78"/>
                  <a:pt x="357" y="78"/>
                </a:cubicBezTo>
                <a:cubicBezTo>
                  <a:pt x="358" y="78"/>
                  <a:pt x="358" y="78"/>
                  <a:pt x="358" y="78"/>
                </a:cubicBezTo>
                <a:cubicBezTo>
                  <a:pt x="359" y="78"/>
                  <a:pt x="359" y="78"/>
                  <a:pt x="359" y="78"/>
                </a:cubicBezTo>
                <a:cubicBezTo>
                  <a:pt x="359" y="79"/>
                  <a:pt x="359" y="79"/>
                  <a:pt x="359" y="79"/>
                </a:cubicBezTo>
                <a:cubicBezTo>
                  <a:pt x="360" y="80"/>
                  <a:pt x="360" y="80"/>
                  <a:pt x="360" y="80"/>
                </a:cubicBezTo>
                <a:cubicBezTo>
                  <a:pt x="360" y="81"/>
                  <a:pt x="360" y="81"/>
                  <a:pt x="360" y="81"/>
                </a:cubicBezTo>
                <a:cubicBezTo>
                  <a:pt x="361" y="80"/>
                  <a:pt x="361" y="80"/>
                  <a:pt x="361" y="80"/>
                </a:cubicBezTo>
                <a:cubicBezTo>
                  <a:pt x="361" y="79"/>
                  <a:pt x="361" y="79"/>
                  <a:pt x="361" y="79"/>
                </a:cubicBezTo>
                <a:cubicBezTo>
                  <a:pt x="362" y="79"/>
                  <a:pt x="362" y="79"/>
                  <a:pt x="362" y="79"/>
                </a:cubicBezTo>
                <a:cubicBezTo>
                  <a:pt x="362" y="80"/>
                  <a:pt x="362" y="80"/>
                  <a:pt x="362" y="80"/>
                </a:cubicBezTo>
                <a:cubicBezTo>
                  <a:pt x="363" y="80"/>
                  <a:pt x="363" y="80"/>
                  <a:pt x="363" y="80"/>
                </a:cubicBezTo>
                <a:cubicBezTo>
                  <a:pt x="364" y="80"/>
                  <a:pt x="364" y="80"/>
                  <a:pt x="364" y="80"/>
                </a:cubicBezTo>
                <a:cubicBezTo>
                  <a:pt x="365" y="80"/>
                  <a:pt x="365" y="80"/>
                  <a:pt x="365" y="80"/>
                </a:cubicBezTo>
                <a:cubicBezTo>
                  <a:pt x="365" y="81"/>
                  <a:pt x="365" y="81"/>
                  <a:pt x="365" y="81"/>
                </a:cubicBezTo>
                <a:cubicBezTo>
                  <a:pt x="365" y="82"/>
                  <a:pt x="365" y="82"/>
                  <a:pt x="365" y="82"/>
                </a:cubicBezTo>
                <a:cubicBezTo>
                  <a:pt x="366" y="84"/>
                  <a:pt x="366" y="84"/>
                  <a:pt x="366" y="84"/>
                </a:cubicBezTo>
                <a:cubicBezTo>
                  <a:pt x="366" y="86"/>
                  <a:pt x="366" y="86"/>
                  <a:pt x="366" y="86"/>
                </a:cubicBezTo>
                <a:cubicBezTo>
                  <a:pt x="366" y="88"/>
                  <a:pt x="366" y="88"/>
                  <a:pt x="366" y="88"/>
                </a:cubicBezTo>
                <a:cubicBezTo>
                  <a:pt x="365" y="90"/>
                  <a:pt x="365" y="90"/>
                  <a:pt x="365" y="90"/>
                </a:cubicBezTo>
                <a:cubicBezTo>
                  <a:pt x="365" y="90"/>
                  <a:pt x="365" y="90"/>
                  <a:pt x="365" y="90"/>
                </a:cubicBezTo>
                <a:cubicBezTo>
                  <a:pt x="364" y="91"/>
                  <a:pt x="364" y="91"/>
                  <a:pt x="364" y="91"/>
                </a:cubicBezTo>
                <a:cubicBezTo>
                  <a:pt x="364" y="92"/>
                  <a:pt x="364" y="92"/>
                  <a:pt x="364" y="92"/>
                </a:cubicBezTo>
                <a:cubicBezTo>
                  <a:pt x="364" y="94"/>
                  <a:pt x="364" y="94"/>
                  <a:pt x="364" y="94"/>
                </a:cubicBezTo>
                <a:cubicBezTo>
                  <a:pt x="364" y="95"/>
                  <a:pt x="364" y="95"/>
                  <a:pt x="364" y="95"/>
                </a:cubicBezTo>
                <a:cubicBezTo>
                  <a:pt x="364" y="95"/>
                  <a:pt x="364" y="95"/>
                  <a:pt x="364" y="95"/>
                </a:cubicBezTo>
                <a:cubicBezTo>
                  <a:pt x="364" y="97"/>
                  <a:pt x="364" y="97"/>
                  <a:pt x="364" y="97"/>
                </a:cubicBezTo>
                <a:cubicBezTo>
                  <a:pt x="363" y="97"/>
                  <a:pt x="363" y="97"/>
                  <a:pt x="363" y="97"/>
                </a:cubicBezTo>
                <a:cubicBezTo>
                  <a:pt x="362" y="99"/>
                  <a:pt x="362" y="99"/>
                  <a:pt x="362" y="99"/>
                </a:cubicBezTo>
                <a:cubicBezTo>
                  <a:pt x="363" y="99"/>
                  <a:pt x="363" y="99"/>
                  <a:pt x="363" y="99"/>
                </a:cubicBezTo>
                <a:cubicBezTo>
                  <a:pt x="362" y="101"/>
                  <a:pt x="362" y="101"/>
                  <a:pt x="362" y="101"/>
                </a:cubicBezTo>
                <a:cubicBezTo>
                  <a:pt x="361" y="102"/>
                  <a:pt x="361" y="102"/>
                  <a:pt x="361" y="102"/>
                </a:cubicBezTo>
                <a:cubicBezTo>
                  <a:pt x="361" y="103"/>
                  <a:pt x="361" y="103"/>
                  <a:pt x="361" y="103"/>
                </a:cubicBezTo>
                <a:cubicBezTo>
                  <a:pt x="361" y="104"/>
                  <a:pt x="361" y="104"/>
                  <a:pt x="361" y="104"/>
                </a:cubicBezTo>
                <a:cubicBezTo>
                  <a:pt x="360" y="104"/>
                  <a:pt x="360" y="104"/>
                  <a:pt x="360" y="104"/>
                </a:cubicBezTo>
                <a:cubicBezTo>
                  <a:pt x="358" y="106"/>
                  <a:pt x="358" y="106"/>
                  <a:pt x="358" y="106"/>
                </a:cubicBezTo>
                <a:cubicBezTo>
                  <a:pt x="357" y="106"/>
                  <a:pt x="357" y="106"/>
                  <a:pt x="357" y="106"/>
                </a:cubicBezTo>
                <a:cubicBezTo>
                  <a:pt x="358" y="106"/>
                  <a:pt x="358" y="106"/>
                  <a:pt x="358" y="106"/>
                </a:cubicBezTo>
                <a:cubicBezTo>
                  <a:pt x="359" y="106"/>
                  <a:pt x="359" y="106"/>
                  <a:pt x="359" y="106"/>
                </a:cubicBezTo>
                <a:cubicBezTo>
                  <a:pt x="360" y="105"/>
                  <a:pt x="360" y="105"/>
                  <a:pt x="360" y="105"/>
                </a:cubicBezTo>
                <a:cubicBezTo>
                  <a:pt x="360" y="105"/>
                  <a:pt x="360" y="105"/>
                  <a:pt x="360" y="105"/>
                </a:cubicBezTo>
                <a:cubicBezTo>
                  <a:pt x="361" y="107"/>
                  <a:pt x="361" y="107"/>
                  <a:pt x="361" y="107"/>
                </a:cubicBezTo>
                <a:cubicBezTo>
                  <a:pt x="360" y="109"/>
                  <a:pt x="360" y="109"/>
                  <a:pt x="360" y="109"/>
                </a:cubicBezTo>
                <a:cubicBezTo>
                  <a:pt x="359" y="111"/>
                  <a:pt x="359" y="111"/>
                  <a:pt x="359" y="111"/>
                </a:cubicBezTo>
                <a:cubicBezTo>
                  <a:pt x="358" y="114"/>
                  <a:pt x="358" y="114"/>
                  <a:pt x="358" y="114"/>
                </a:cubicBezTo>
                <a:cubicBezTo>
                  <a:pt x="359" y="115"/>
                  <a:pt x="359" y="115"/>
                  <a:pt x="359" y="115"/>
                </a:cubicBezTo>
                <a:cubicBezTo>
                  <a:pt x="359" y="116"/>
                  <a:pt x="359" y="116"/>
                  <a:pt x="359" y="116"/>
                </a:cubicBezTo>
                <a:cubicBezTo>
                  <a:pt x="358" y="119"/>
                  <a:pt x="358" y="119"/>
                  <a:pt x="358" y="119"/>
                </a:cubicBezTo>
                <a:cubicBezTo>
                  <a:pt x="356" y="119"/>
                  <a:pt x="356" y="119"/>
                  <a:pt x="356" y="119"/>
                </a:cubicBezTo>
                <a:cubicBezTo>
                  <a:pt x="356" y="119"/>
                  <a:pt x="356" y="119"/>
                  <a:pt x="356" y="119"/>
                </a:cubicBezTo>
                <a:cubicBezTo>
                  <a:pt x="355" y="119"/>
                  <a:pt x="355" y="119"/>
                  <a:pt x="355" y="119"/>
                </a:cubicBezTo>
                <a:cubicBezTo>
                  <a:pt x="355" y="120"/>
                  <a:pt x="355" y="120"/>
                  <a:pt x="355" y="120"/>
                </a:cubicBezTo>
                <a:cubicBezTo>
                  <a:pt x="355" y="121"/>
                  <a:pt x="355" y="121"/>
                  <a:pt x="355" y="121"/>
                </a:cubicBezTo>
                <a:cubicBezTo>
                  <a:pt x="356" y="123"/>
                  <a:pt x="356" y="123"/>
                  <a:pt x="356" y="123"/>
                </a:cubicBezTo>
                <a:cubicBezTo>
                  <a:pt x="355" y="124"/>
                  <a:pt x="355" y="124"/>
                  <a:pt x="355" y="124"/>
                </a:cubicBezTo>
                <a:cubicBezTo>
                  <a:pt x="354" y="125"/>
                  <a:pt x="354" y="125"/>
                  <a:pt x="354" y="125"/>
                </a:cubicBezTo>
                <a:cubicBezTo>
                  <a:pt x="353" y="127"/>
                  <a:pt x="353" y="127"/>
                  <a:pt x="353" y="127"/>
                </a:cubicBezTo>
                <a:cubicBezTo>
                  <a:pt x="354" y="129"/>
                  <a:pt x="354" y="129"/>
                  <a:pt x="354" y="129"/>
                </a:cubicBezTo>
                <a:cubicBezTo>
                  <a:pt x="354" y="130"/>
                  <a:pt x="354" y="130"/>
                  <a:pt x="354" y="130"/>
                </a:cubicBezTo>
                <a:cubicBezTo>
                  <a:pt x="354" y="131"/>
                  <a:pt x="354" y="131"/>
                  <a:pt x="354" y="131"/>
                </a:cubicBezTo>
                <a:cubicBezTo>
                  <a:pt x="354" y="132"/>
                  <a:pt x="354" y="132"/>
                  <a:pt x="354" y="132"/>
                </a:cubicBezTo>
                <a:cubicBezTo>
                  <a:pt x="355" y="132"/>
                  <a:pt x="355" y="132"/>
                  <a:pt x="355" y="132"/>
                </a:cubicBezTo>
                <a:cubicBezTo>
                  <a:pt x="354" y="136"/>
                  <a:pt x="354" y="136"/>
                  <a:pt x="354" y="136"/>
                </a:cubicBezTo>
                <a:cubicBezTo>
                  <a:pt x="353" y="136"/>
                  <a:pt x="353" y="136"/>
                  <a:pt x="353" y="136"/>
                </a:cubicBezTo>
                <a:cubicBezTo>
                  <a:pt x="352" y="138"/>
                  <a:pt x="352" y="138"/>
                  <a:pt x="352" y="138"/>
                </a:cubicBezTo>
                <a:cubicBezTo>
                  <a:pt x="353" y="137"/>
                  <a:pt x="353" y="137"/>
                  <a:pt x="353" y="137"/>
                </a:cubicBezTo>
                <a:cubicBezTo>
                  <a:pt x="354" y="137"/>
                  <a:pt x="354" y="137"/>
                  <a:pt x="354" y="137"/>
                </a:cubicBezTo>
                <a:cubicBezTo>
                  <a:pt x="355" y="136"/>
                  <a:pt x="355" y="136"/>
                  <a:pt x="355" y="136"/>
                </a:cubicBezTo>
                <a:cubicBezTo>
                  <a:pt x="356" y="134"/>
                  <a:pt x="356" y="134"/>
                  <a:pt x="356" y="134"/>
                </a:cubicBezTo>
                <a:cubicBezTo>
                  <a:pt x="355" y="134"/>
                  <a:pt x="355" y="134"/>
                  <a:pt x="355" y="134"/>
                </a:cubicBezTo>
                <a:cubicBezTo>
                  <a:pt x="356" y="133"/>
                  <a:pt x="356" y="133"/>
                  <a:pt x="356" y="133"/>
                </a:cubicBezTo>
                <a:cubicBezTo>
                  <a:pt x="358" y="133"/>
                  <a:pt x="358" y="133"/>
                  <a:pt x="358" y="133"/>
                </a:cubicBezTo>
                <a:cubicBezTo>
                  <a:pt x="358" y="133"/>
                  <a:pt x="358" y="133"/>
                  <a:pt x="358" y="133"/>
                </a:cubicBezTo>
                <a:cubicBezTo>
                  <a:pt x="358" y="132"/>
                  <a:pt x="358" y="132"/>
                  <a:pt x="358" y="132"/>
                </a:cubicBezTo>
                <a:cubicBezTo>
                  <a:pt x="355" y="130"/>
                  <a:pt x="355" y="130"/>
                  <a:pt x="355" y="130"/>
                </a:cubicBezTo>
                <a:cubicBezTo>
                  <a:pt x="355" y="129"/>
                  <a:pt x="355" y="129"/>
                  <a:pt x="355" y="129"/>
                </a:cubicBezTo>
                <a:cubicBezTo>
                  <a:pt x="356" y="127"/>
                  <a:pt x="356" y="127"/>
                  <a:pt x="356" y="127"/>
                </a:cubicBezTo>
                <a:cubicBezTo>
                  <a:pt x="358" y="127"/>
                  <a:pt x="358" y="127"/>
                  <a:pt x="358" y="127"/>
                </a:cubicBezTo>
                <a:cubicBezTo>
                  <a:pt x="360" y="127"/>
                  <a:pt x="360" y="127"/>
                  <a:pt x="360" y="127"/>
                </a:cubicBezTo>
                <a:cubicBezTo>
                  <a:pt x="362" y="125"/>
                  <a:pt x="362" y="125"/>
                  <a:pt x="362" y="125"/>
                </a:cubicBezTo>
                <a:cubicBezTo>
                  <a:pt x="363" y="125"/>
                  <a:pt x="363" y="125"/>
                  <a:pt x="363" y="125"/>
                </a:cubicBezTo>
                <a:cubicBezTo>
                  <a:pt x="363" y="124"/>
                  <a:pt x="363" y="124"/>
                  <a:pt x="363" y="124"/>
                </a:cubicBezTo>
                <a:cubicBezTo>
                  <a:pt x="363" y="123"/>
                  <a:pt x="363" y="123"/>
                  <a:pt x="363" y="123"/>
                </a:cubicBezTo>
                <a:cubicBezTo>
                  <a:pt x="365" y="122"/>
                  <a:pt x="365" y="122"/>
                  <a:pt x="365" y="122"/>
                </a:cubicBezTo>
                <a:cubicBezTo>
                  <a:pt x="365" y="120"/>
                  <a:pt x="365" y="120"/>
                  <a:pt x="365" y="120"/>
                </a:cubicBezTo>
                <a:cubicBezTo>
                  <a:pt x="365" y="119"/>
                  <a:pt x="365" y="119"/>
                  <a:pt x="365" y="119"/>
                </a:cubicBezTo>
                <a:cubicBezTo>
                  <a:pt x="365" y="119"/>
                  <a:pt x="365" y="119"/>
                  <a:pt x="365" y="119"/>
                </a:cubicBezTo>
                <a:cubicBezTo>
                  <a:pt x="366" y="119"/>
                  <a:pt x="366" y="119"/>
                  <a:pt x="366" y="119"/>
                </a:cubicBezTo>
                <a:cubicBezTo>
                  <a:pt x="368" y="119"/>
                  <a:pt x="368" y="119"/>
                  <a:pt x="368" y="119"/>
                </a:cubicBezTo>
                <a:cubicBezTo>
                  <a:pt x="368" y="117"/>
                  <a:pt x="368" y="117"/>
                  <a:pt x="368" y="117"/>
                </a:cubicBezTo>
                <a:cubicBezTo>
                  <a:pt x="368" y="117"/>
                  <a:pt x="368" y="117"/>
                  <a:pt x="368" y="117"/>
                </a:cubicBezTo>
                <a:cubicBezTo>
                  <a:pt x="370" y="115"/>
                  <a:pt x="370" y="115"/>
                  <a:pt x="370" y="115"/>
                </a:cubicBezTo>
                <a:cubicBezTo>
                  <a:pt x="370" y="113"/>
                  <a:pt x="370" y="113"/>
                  <a:pt x="370" y="113"/>
                </a:cubicBezTo>
                <a:cubicBezTo>
                  <a:pt x="370" y="112"/>
                  <a:pt x="370" y="112"/>
                  <a:pt x="370" y="112"/>
                </a:cubicBezTo>
                <a:cubicBezTo>
                  <a:pt x="367" y="114"/>
                  <a:pt x="367" y="114"/>
                  <a:pt x="367" y="114"/>
                </a:cubicBezTo>
                <a:cubicBezTo>
                  <a:pt x="367" y="115"/>
                  <a:pt x="367" y="115"/>
                  <a:pt x="367" y="115"/>
                </a:cubicBezTo>
                <a:cubicBezTo>
                  <a:pt x="365" y="116"/>
                  <a:pt x="365" y="116"/>
                  <a:pt x="365" y="116"/>
                </a:cubicBezTo>
                <a:cubicBezTo>
                  <a:pt x="364" y="115"/>
                  <a:pt x="364" y="115"/>
                  <a:pt x="364" y="115"/>
                </a:cubicBezTo>
                <a:cubicBezTo>
                  <a:pt x="363" y="114"/>
                  <a:pt x="363" y="114"/>
                  <a:pt x="363" y="114"/>
                </a:cubicBezTo>
                <a:cubicBezTo>
                  <a:pt x="364" y="112"/>
                  <a:pt x="364" y="112"/>
                  <a:pt x="364" y="112"/>
                </a:cubicBezTo>
                <a:cubicBezTo>
                  <a:pt x="364" y="110"/>
                  <a:pt x="364" y="110"/>
                  <a:pt x="364" y="110"/>
                </a:cubicBezTo>
                <a:cubicBezTo>
                  <a:pt x="365" y="109"/>
                  <a:pt x="365" y="109"/>
                  <a:pt x="365" y="109"/>
                </a:cubicBezTo>
                <a:cubicBezTo>
                  <a:pt x="367" y="109"/>
                  <a:pt x="367" y="109"/>
                  <a:pt x="367" y="109"/>
                </a:cubicBezTo>
                <a:cubicBezTo>
                  <a:pt x="369" y="111"/>
                  <a:pt x="369" y="111"/>
                  <a:pt x="369" y="111"/>
                </a:cubicBezTo>
                <a:cubicBezTo>
                  <a:pt x="370" y="110"/>
                  <a:pt x="370" y="110"/>
                  <a:pt x="370" y="110"/>
                </a:cubicBezTo>
                <a:cubicBezTo>
                  <a:pt x="370" y="108"/>
                  <a:pt x="370" y="108"/>
                  <a:pt x="370" y="108"/>
                </a:cubicBezTo>
                <a:cubicBezTo>
                  <a:pt x="371" y="107"/>
                  <a:pt x="371" y="107"/>
                  <a:pt x="371" y="107"/>
                </a:cubicBezTo>
                <a:cubicBezTo>
                  <a:pt x="372" y="108"/>
                  <a:pt x="372" y="108"/>
                  <a:pt x="372" y="108"/>
                </a:cubicBezTo>
                <a:cubicBezTo>
                  <a:pt x="371" y="109"/>
                  <a:pt x="371" y="109"/>
                  <a:pt x="371" y="109"/>
                </a:cubicBezTo>
                <a:cubicBezTo>
                  <a:pt x="371" y="110"/>
                  <a:pt x="371" y="110"/>
                  <a:pt x="371" y="110"/>
                </a:cubicBezTo>
                <a:cubicBezTo>
                  <a:pt x="374" y="113"/>
                  <a:pt x="374" y="113"/>
                  <a:pt x="374" y="113"/>
                </a:cubicBezTo>
                <a:cubicBezTo>
                  <a:pt x="376" y="113"/>
                  <a:pt x="376" y="113"/>
                  <a:pt x="376" y="113"/>
                </a:cubicBezTo>
                <a:cubicBezTo>
                  <a:pt x="377" y="113"/>
                  <a:pt x="377" y="113"/>
                  <a:pt x="377" y="113"/>
                </a:cubicBezTo>
                <a:cubicBezTo>
                  <a:pt x="379" y="112"/>
                  <a:pt x="379" y="112"/>
                  <a:pt x="379" y="112"/>
                </a:cubicBezTo>
                <a:cubicBezTo>
                  <a:pt x="380" y="111"/>
                  <a:pt x="380" y="111"/>
                  <a:pt x="380" y="111"/>
                </a:cubicBezTo>
                <a:cubicBezTo>
                  <a:pt x="380" y="110"/>
                  <a:pt x="380" y="110"/>
                  <a:pt x="380" y="110"/>
                </a:cubicBezTo>
                <a:cubicBezTo>
                  <a:pt x="378" y="108"/>
                  <a:pt x="378" y="108"/>
                  <a:pt x="378" y="108"/>
                </a:cubicBezTo>
                <a:cubicBezTo>
                  <a:pt x="378" y="107"/>
                  <a:pt x="378" y="107"/>
                  <a:pt x="378" y="107"/>
                </a:cubicBezTo>
                <a:cubicBezTo>
                  <a:pt x="379" y="107"/>
                  <a:pt x="379" y="107"/>
                  <a:pt x="379" y="107"/>
                </a:cubicBezTo>
                <a:cubicBezTo>
                  <a:pt x="381" y="109"/>
                  <a:pt x="381" y="109"/>
                  <a:pt x="381" y="109"/>
                </a:cubicBezTo>
                <a:cubicBezTo>
                  <a:pt x="382" y="110"/>
                  <a:pt x="382" y="110"/>
                  <a:pt x="382" y="110"/>
                </a:cubicBezTo>
                <a:cubicBezTo>
                  <a:pt x="383" y="111"/>
                  <a:pt x="383" y="111"/>
                  <a:pt x="383" y="111"/>
                </a:cubicBezTo>
                <a:cubicBezTo>
                  <a:pt x="383" y="112"/>
                  <a:pt x="383" y="112"/>
                  <a:pt x="383" y="112"/>
                </a:cubicBezTo>
                <a:cubicBezTo>
                  <a:pt x="383" y="113"/>
                  <a:pt x="383" y="113"/>
                  <a:pt x="383" y="113"/>
                </a:cubicBezTo>
                <a:cubicBezTo>
                  <a:pt x="385" y="114"/>
                  <a:pt x="385" y="114"/>
                  <a:pt x="385" y="114"/>
                </a:cubicBezTo>
                <a:cubicBezTo>
                  <a:pt x="385" y="116"/>
                  <a:pt x="385" y="116"/>
                  <a:pt x="385" y="116"/>
                </a:cubicBezTo>
                <a:cubicBezTo>
                  <a:pt x="386" y="117"/>
                  <a:pt x="386" y="117"/>
                  <a:pt x="386" y="117"/>
                </a:cubicBezTo>
                <a:cubicBezTo>
                  <a:pt x="386" y="116"/>
                  <a:pt x="386" y="116"/>
                  <a:pt x="386" y="116"/>
                </a:cubicBezTo>
                <a:cubicBezTo>
                  <a:pt x="387" y="115"/>
                  <a:pt x="387" y="115"/>
                  <a:pt x="387" y="115"/>
                </a:cubicBezTo>
                <a:cubicBezTo>
                  <a:pt x="388" y="115"/>
                  <a:pt x="388" y="115"/>
                  <a:pt x="388" y="115"/>
                </a:cubicBezTo>
                <a:cubicBezTo>
                  <a:pt x="388" y="114"/>
                  <a:pt x="388" y="114"/>
                  <a:pt x="388" y="114"/>
                </a:cubicBezTo>
                <a:cubicBezTo>
                  <a:pt x="388" y="113"/>
                  <a:pt x="388" y="113"/>
                  <a:pt x="388" y="113"/>
                </a:cubicBezTo>
                <a:cubicBezTo>
                  <a:pt x="387" y="114"/>
                  <a:pt x="387" y="114"/>
                  <a:pt x="387" y="114"/>
                </a:cubicBezTo>
                <a:cubicBezTo>
                  <a:pt x="386" y="114"/>
                  <a:pt x="386" y="114"/>
                  <a:pt x="386" y="114"/>
                </a:cubicBezTo>
                <a:cubicBezTo>
                  <a:pt x="385" y="112"/>
                  <a:pt x="385" y="112"/>
                  <a:pt x="385" y="112"/>
                </a:cubicBezTo>
                <a:cubicBezTo>
                  <a:pt x="387" y="110"/>
                  <a:pt x="387" y="110"/>
                  <a:pt x="387" y="110"/>
                </a:cubicBezTo>
                <a:cubicBezTo>
                  <a:pt x="388" y="110"/>
                  <a:pt x="388" y="110"/>
                  <a:pt x="388" y="110"/>
                </a:cubicBezTo>
                <a:cubicBezTo>
                  <a:pt x="388" y="109"/>
                  <a:pt x="388" y="109"/>
                  <a:pt x="388" y="109"/>
                </a:cubicBezTo>
                <a:cubicBezTo>
                  <a:pt x="389" y="109"/>
                  <a:pt x="389" y="109"/>
                  <a:pt x="389" y="109"/>
                </a:cubicBezTo>
                <a:cubicBezTo>
                  <a:pt x="390" y="108"/>
                  <a:pt x="390" y="108"/>
                  <a:pt x="390" y="108"/>
                </a:cubicBezTo>
                <a:cubicBezTo>
                  <a:pt x="392" y="107"/>
                  <a:pt x="392" y="107"/>
                  <a:pt x="392" y="107"/>
                </a:cubicBezTo>
                <a:cubicBezTo>
                  <a:pt x="397" y="106"/>
                  <a:pt x="397" y="106"/>
                  <a:pt x="397" y="106"/>
                </a:cubicBezTo>
                <a:cubicBezTo>
                  <a:pt x="402" y="106"/>
                  <a:pt x="402" y="106"/>
                  <a:pt x="402" y="106"/>
                </a:cubicBezTo>
                <a:cubicBezTo>
                  <a:pt x="405" y="104"/>
                  <a:pt x="405" y="104"/>
                  <a:pt x="405" y="104"/>
                </a:cubicBezTo>
                <a:cubicBezTo>
                  <a:pt x="407" y="104"/>
                  <a:pt x="407" y="104"/>
                  <a:pt x="407" y="104"/>
                </a:cubicBezTo>
                <a:cubicBezTo>
                  <a:pt x="409" y="105"/>
                  <a:pt x="409" y="105"/>
                  <a:pt x="409" y="105"/>
                </a:cubicBezTo>
                <a:cubicBezTo>
                  <a:pt x="409" y="106"/>
                  <a:pt x="409" y="106"/>
                  <a:pt x="409" y="106"/>
                </a:cubicBezTo>
                <a:cubicBezTo>
                  <a:pt x="408" y="106"/>
                  <a:pt x="408" y="106"/>
                  <a:pt x="408" y="106"/>
                </a:cubicBezTo>
                <a:cubicBezTo>
                  <a:pt x="408" y="108"/>
                  <a:pt x="408" y="108"/>
                  <a:pt x="408" y="108"/>
                </a:cubicBezTo>
                <a:cubicBezTo>
                  <a:pt x="408" y="110"/>
                  <a:pt x="408" y="110"/>
                  <a:pt x="408" y="110"/>
                </a:cubicBezTo>
                <a:cubicBezTo>
                  <a:pt x="410" y="112"/>
                  <a:pt x="410" y="112"/>
                  <a:pt x="410" y="112"/>
                </a:cubicBezTo>
                <a:cubicBezTo>
                  <a:pt x="416" y="112"/>
                  <a:pt x="416" y="112"/>
                  <a:pt x="416" y="112"/>
                </a:cubicBezTo>
                <a:cubicBezTo>
                  <a:pt x="417" y="112"/>
                  <a:pt x="417" y="112"/>
                  <a:pt x="417" y="112"/>
                </a:cubicBezTo>
                <a:cubicBezTo>
                  <a:pt x="417" y="112"/>
                  <a:pt x="417" y="112"/>
                  <a:pt x="417" y="112"/>
                </a:cubicBezTo>
                <a:cubicBezTo>
                  <a:pt x="419" y="112"/>
                  <a:pt x="419" y="112"/>
                  <a:pt x="419" y="112"/>
                </a:cubicBezTo>
                <a:cubicBezTo>
                  <a:pt x="421" y="112"/>
                  <a:pt x="421" y="112"/>
                  <a:pt x="421" y="112"/>
                </a:cubicBezTo>
                <a:cubicBezTo>
                  <a:pt x="425" y="112"/>
                  <a:pt x="425" y="112"/>
                  <a:pt x="425" y="112"/>
                </a:cubicBezTo>
                <a:cubicBezTo>
                  <a:pt x="427" y="110"/>
                  <a:pt x="427" y="110"/>
                  <a:pt x="427" y="110"/>
                </a:cubicBezTo>
                <a:cubicBezTo>
                  <a:pt x="428" y="111"/>
                  <a:pt x="428" y="111"/>
                  <a:pt x="428" y="111"/>
                </a:cubicBezTo>
                <a:cubicBezTo>
                  <a:pt x="430" y="110"/>
                  <a:pt x="430" y="110"/>
                  <a:pt x="430" y="110"/>
                </a:cubicBezTo>
                <a:cubicBezTo>
                  <a:pt x="430" y="109"/>
                  <a:pt x="430" y="109"/>
                  <a:pt x="430" y="109"/>
                </a:cubicBezTo>
                <a:cubicBezTo>
                  <a:pt x="430" y="108"/>
                  <a:pt x="430" y="108"/>
                  <a:pt x="430" y="108"/>
                </a:cubicBezTo>
                <a:cubicBezTo>
                  <a:pt x="431" y="108"/>
                  <a:pt x="431" y="108"/>
                  <a:pt x="431" y="108"/>
                </a:cubicBezTo>
                <a:cubicBezTo>
                  <a:pt x="432" y="108"/>
                  <a:pt x="432" y="108"/>
                  <a:pt x="432" y="108"/>
                </a:cubicBezTo>
                <a:cubicBezTo>
                  <a:pt x="434" y="108"/>
                  <a:pt x="434" y="108"/>
                  <a:pt x="434" y="108"/>
                </a:cubicBezTo>
                <a:cubicBezTo>
                  <a:pt x="434" y="109"/>
                  <a:pt x="434" y="109"/>
                  <a:pt x="434" y="109"/>
                </a:cubicBezTo>
                <a:cubicBezTo>
                  <a:pt x="435" y="109"/>
                  <a:pt x="435" y="109"/>
                  <a:pt x="435" y="109"/>
                </a:cubicBezTo>
                <a:cubicBezTo>
                  <a:pt x="436" y="108"/>
                  <a:pt x="436" y="108"/>
                  <a:pt x="436" y="108"/>
                </a:cubicBezTo>
                <a:cubicBezTo>
                  <a:pt x="435" y="107"/>
                  <a:pt x="435" y="107"/>
                  <a:pt x="435" y="107"/>
                </a:cubicBezTo>
                <a:cubicBezTo>
                  <a:pt x="434" y="106"/>
                  <a:pt x="434" y="106"/>
                  <a:pt x="434" y="106"/>
                </a:cubicBezTo>
                <a:cubicBezTo>
                  <a:pt x="434" y="105"/>
                  <a:pt x="434" y="105"/>
                  <a:pt x="434" y="105"/>
                </a:cubicBezTo>
                <a:cubicBezTo>
                  <a:pt x="434" y="104"/>
                  <a:pt x="434" y="104"/>
                  <a:pt x="434" y="104"/>
                </a:cubicBezTo>
                <a:cubicBezTo>
                  <a:pt x="432" y="103"/>
                  <a:pt x="432" y="103"/>
                  <a:pt x="432" y="103"/>
                </a:cubicBezTo>
                <a:cubicBezTo>
                  <a:pt x="432" y="102"/>
                  <a:pt x="432" y="102"/>
                  <a:pt x="432" y="102"/>
                </a:cubicBezTo>
                <a:cubicBezTo>
                  <a:pt x="431" y="102"/>
                  <a:pt x="431" y="102"/>
                  <a:pt x="431" y="102"/>
                </a:cubicBezTo>
                <a:cubicBezTo>
                  <a:pt x="431" y="100"/>
                  <a:pt x="431" y="100"/>
                  <a:pt x="431" y="100"/>
                </a:cubicBezTo>
                <a:cubicBezTo>
                  <a:pt x="430" y="99"/>
                  <a:pt x="430" y="99"/>
                  <a:pt x="430" y="99"/>
                </a:cubicBezTo>
                <a:cubicBezTo>
                  <a:pt x="430" y="98"/>
                  <a:pt x="430" y="98"/>
                  <a:pt x="430" y="98"/>
                </a:cubicBezTo>
                <a:cubicBezTo>
                  <a:pt x="431" y="97"/>
                  <a:pt x="431" y="97"/>
                  <a:pt x="431" y="97"/>
                </a:cubicBezTo>
                <a:cubicBezTo>
                  <a:pt x="431" y="97"/>
                  <a:pt x="431" y="97"/>
                  <a:pt x="431" y="97"/>
                </a:cubicBezTo>
                <a:cubicBezTo>
                  <a:pt x="432" y="98"/>
                  <a:pt x="432" y="98"/>
                  <a:pt x="432" y="98"/>
                </a:cubicBezTo>
                <a:cubicBezTo>
                  <a:pt x="433" y="97"/>
                  <a:pt x="433" y="97"/>
                  <a:pt x="433" y="97"/>
                </a:cubicBezTo>
                <a:cubicBezTo>
                  <a:pt x="433" y="96"/>
                  <a:pt x="433" y="96"/>
                  <a:pt x="433" y="96"/>
                </a:cubicBezTo>
                <a:cubicBezTo>
                  <a:pt x="432" y="95"/>
                  <a:pt x="432" y="95"/>
                  <a:pt x="432" y="95"/>
                </a:cubicBezTo>
                <a:cubicBezTo>
                  <a:pt x="433" y="95"/>
                  <a:pt x="433" y="95"/>
                  <a:pt x="433" y="95"/>
                </a:cubicBezTo>
                <a:cubicBezTo>
                  <a:pt x="435" y="96"/>
                  <a:pt x="435" y="96"/>
                  <a:pt x="435" y="96"/>
                </a:cubicBezTo>
                <a:cubicBezTo>
                  <a:pt x="436" y="95"/>
                  <a:pt x="436" y="95"/>
                  <a:pt x="436" y="95"/>
                </a:cubicBezTo>
                <a:cubicBezTo>
                  <a:pt x="436" y="94"/>
                  <a:pt x="436" y="94"/>
                  <a:pt x="436" y="94"/>
                </a:cubicBezTo>
                <a:cubicBezTo>
                  <a:pt x="436" y="95"/>
                  <a:pt x="436" y="95"/>
                  <a:pt x="436" y="95"/>
                </a:cubicBezTo>
                <a:cubicBezTo>
                  <a:pt x="438" y="95"/>
                  <a:pt x="438" y="95"/>
                  <a:pt x="438" y="95"/>
                </a:cubicBezTo>
                <a:cubicBezTo>
                  <a:pt x="439" y="95"/>
                  <a:pt x="439" y="95"/>
                  <a:pt x="439" y="95"/>
                </a:cubicBezTo>
                <a:cubicBezTo>
                  <a:pt x="439" y="94"/>
                  <a:pt x="439" y="94"/>
                  <a:pt x="439" y="94"/>
                </a:cubicBezTo>
                <a:cubicBezTo>
                  <a:pt x="440" y="95"/>
                  <a:pt x="440" y="95"/>
                  <a:pt x="440" y="95"/>
                </a:cubicBezTo>
                <a:cubicBezTo>
                  <a:pt x="441" y="96"/>
                  <a:pt x="441" y="96"/>
                  <a:pt x="441" y="96"/>
                </a:cubicBezTo>
                <a:cubicBezTo>
                  <a:pt x="442" y="97"/>
                  <a:pt x="442" y="97"/>
                  <a:pt x="442" y="97"/>
                </a:cubicBezTo>
                <a:cubicBezTo>
                  <a:pt x="443" y="96"/>
                  <a:pt x="443" y="96"/>
                  <a:pt x="443" y="96"/>
                </a:cubicBezTo>
                <a:cubicBezTo>
                  <a:pt x="443" y="95"/>
                  <a:pt x="443" y="95"/>
                  <a:pt x="443" y="95"/>
                </a:cubicBezTo>
                <a:cubicBezTo>
                  <a:pt x="444" y="95"/>
                  <a:pt x="444" y="95"/>
                  <a:pt x="444" y="95"/>
                </a:cubicBezTo>
                <a:cubicBezTo>
                  <a:pt x="445" y="96"/>
                  <a:pt x="445" y="96"/>
                  <a:pt x="445" y="96"/>
                </a:cubicBezTo>
                <a:cubicBezTo>
                  <a:pt x="444" y="97"/>
                  <a:pt x="444" y="97"/>
                  <a:pt x="444" y="97"/>
                </a:cubicBezTo>
                <a:cubicBezTo>
                  <a:pt x="443" y="98"/>
                  <a:pt x="443" y="98"/>
                  <a:pt x="443" y="98"/>
                </a:cubicBezTo>
                <a:cubicBezTo>
                  <a:pt x="444" y="98"/>
                  <a:pt x="444" y="98"/>
                  <a:pt x="444" y="98"/>
                </a:cubicBezTo>
                <a:cubicBezTo>
                  <a:pt x="445" y="98"/>
                  <a:pt x="445" y="98"/>
                  <a:pt x="445" y="98"/>
                </a:cubicBezTo>
                <a:cubicBezTo>
                  <a:pt x="446" y="98"/>
                  <a:pt x="446" y="98"/>
                  <a:pt x="446" y="98"/>
                </a:cubicBezTo>
                <a:cubicBezTo>
                  <a:pt x="446" y="97"/>
                  <a:pt x="446" y="97"/>
                  <a:pt x="446" y="97"/>
                </a:cubicBezTo>
                <a:cubicBezTo>
                  <a:pt x="446" y="97"/>
                  <a:pt x="446" y="97"/>
                  <a:pt x="446" y="97"/>
                </a:cubicBezTo>
                <a:cubicBezTo>
                  <a:pt x="447" y="97"/>
                  <a:pt x="447" y="97"/>
                  <a:pt x="447" y="97"/>
                </a:cubicBezTo>
                <a:cubicBezTo>
                  <a:pt x="447" y="96"/>
                  <a:pt x="447" y="96"/>
                  <a:pt x="447" y="96"/>
                </a:cubicBezTo>
                <a:cubicBezTo>
                  <a:pt x="446" y="95"/>
                  <a:pt x="446" y="95"/>
                  <a:pt x="446" y="95"/>
                </a:cubicBezTo>
                <a:cubicBezTo>
                  <a:pt x="446" y="95"/>
                  <a:pt x="446" y="95"/>
                  <a:pt x="446" y="95"/>
                </a:cubicBezTo>
                <a:cubicBezTo>
                  <a:pt x="447" y="95"/>
                  <a:pt x="447" y="95"/>
                  <a:pt x="447" y="95"/>
                </a:cubicBezTo>
                <a:cubicBezTo>
                  <a:pt x="449" y="94"/>
                  <a:pt x="449" y="94"/>
                  <a:pt x="449" y="94"/>
                </a:cubicBezTo>
                <a:cubicBezTo>
                  <a:pt x="450" y="95"/>
                  <a:pt x="450" y="95"/>
                  <a:pt x="450" y="95"/>
                </a:cubicBezTo>
                <a:cubicBezTo>
                  <a:pt x="451" y="95"/>
                  <a:pt x="451" y="95"/>
                  <a:pt x="451" y="95"/>
                </a:cubicBezTo>
                <a:cubicBezTo>
                  <a:pt x="452" y="95"/>
                  <a:pt x="452" y="95"/>
                  <a:pt x="452" y="95"/>
                </a:cubicBezTo>
                <a:cubicBezTo>
                  <a:pt x="452" y="95"/>
                  <a:pt x="452" y="95"/>
                  <a:pt x="452" y="95"/>
                </a:cubicBezTo>
                <a:cubicBezTo>
                  <a:pt x="453" y="97"/>
                  <a:pt x="453" y="97"/>
                  <a:pt x="453" y="97"/>
                </a:cubicBezTo>
                <a:cubicBezTo>
                  <a:pt x="453" y="96"/>
                  <a:pt x="453" y="96"/>
                  <a:pt x="453" y="96"/>
                </a:cubicBezTo>
                <a:cubicBezTo>
                  <a:pt x="454" y="96"/>
                  <a:pt x="454" y="96"/>
                  <a:pt x="454" y="96"/>
                </a:cubicBezTo>
                <a:cubicBezTo>
                  <a:pt x="455" y="95"/>
                  <a:pt x="455" y="95"/>
                  <a:pt x="455" y="95"/>
                </a:cubicBezTo>
                <a:cubicBezTo>
                  <a:pt x="455" y="97"/>
                  <a:pt x="455" y="97"/>
                  <a:pt x="455" y="97"/>
                </a:cubicBezTo>
                <a:cubicBezTo>
                  <a:pt x="456" y="97"/>
                  <a:pt x="456" y="97"/>
                  <a:pt x="456" y="97"/>
                </a:cubicBezTo>
                <a:cubicBezTo>
                  <a:pt x="457" y="96"/>
                  <a:pt x="457" y="96"/>
                  <a:pt x="457" y="96"/>
                </a:cubicBezTo>
                <a:cubicBezTo>
                  <a:pt x="458" y="97"/>
                  <a:pt x="458" y="97"/>
                  <a:pt x="458" y="97"/>
                </a:cubicBezTo>
                <a:cubicBezTo>
                  <a:pt x="459" y="99"/>
                  <a:pt x="459" y="99"/>
                  <a:pt x="459" y="99"/>
                </a:cubicBezTo>
                <a:cubicBezTo>
                  <a:pt x="459" y="98"/>
                  <a:pt x="459" y="98"/>
                  <a:pt x="459" y="98"/>
                </a:cubicBezTo>
                <a:cubicBezTo>
                  <a:pt x="460" y="97"/>
                  <a:pt x="460" y="97"/>
                  <a:pt x="460" y="97"/>
                </a:cubicBezTo>
                <a:cubicBezTo>
                  <a:pt x="461" y="98"/>
                  <a:pt x="461" y="98"/>
                  <a:pt x="461" y="98"/>
                </a:cubicBezTo>
                <a:cubicBezTo>
                  <a:pt x="460" y="100"/>
                  <a:pt x="460" y="100"/>
                  <a:pt x="460" y="100"/>
                </a:cubicBezTo>
                <a:cubicBezTo>
                  <a:pt x="461" y="100"/>
                  <a:pt x="461" y="100"/>
                  <a:pt x="461" y="100"/>
                </a:cubicBezTo>
                <a:cubicBezTo>
                  <a:pt x="461" y="101"/>
                  <a:pt x="461" y="101"/>
                  <a:pt x="461" y="101"/>
                </a:cubicBezTo>
                <a:cubicBezTo>
                  <a:pt x="463" y="101"/>
                  <a:pt x="463" y="101"/>
                  <a:pt x="463" y="101"/>
                </a:cubicBezTo>
                <a:cubicBezTo>
                  <a:pt x="463" y="102"/>
                  <a:pt x="463" y="102"/>
                  <a:pt x="463" y="102"/>
                </a:cubicBezTo>
                <a:cubicBezTo>
                  <a:pt x="464" y="102"/>
                  <a:pt x="464" y="102"/>
                  <a:pt x="464" y="102"/>
                </a:cubicBezTo>
                <a:cubicBezTo>
                  <a:pt x="464" y="101"/>
                  <a:pt x="464" y="101"/>
                  <a:pt x="464" y="101"/>
                </a:cubicBezTo>
                <a:cubicBezTo>
                  <a:pt x="464" y="103"/>
                  <a:pt x="464" y="103"/>
                  <a:pt x="464" y="103"/>
                </a:cubicBezTo>
                <a:cubicBezTo>
                  <a:pt x="463" y="104"/>
                  <a:pt x="463" y="104"/>
                  <a:pt x="463" y="104"/>
                </a:cubicBezTo>
                <a:cubicBezTo>
                  <a:pt x="464" y="105"/>
                  <a:pt x="464" y="105"/>
                  <a:pt x="464" y="105"/>
                </a:cubicBezTo>
                <a:cubicBezTo>
                  <a:pt x="465" y="104"/>
                  <a:pt x="465" y="104"/>
                  <a:pt x="465" y="104"/>
                </a:cubicBezTo>
                <a:cubicBezTo>
                  <a:pt x="466" y="104"/>
                  <a:pt x="466" y="104"/>
                  <a:pt x="466" y="104"/>
                </a:cubicBezTo>
                <a:cubicBezTo>
                  <a:pt x="467" y="105"/>
                  <a:pt x="467" y="105"/>
                  <a:pt x="467" y="105"/>
                </a:cubicBezTo>
                <a:cubicBezTo>
                  <a:pt x="464" y="107"/>
                  <a:pt x="464" y="107"/>
                  <a:pt x="464" y="107"/>
                </a:cubicBezTo>
                <a:cubicBezTo>
                  <a:pt x="464" y="108"/>
                  <a:pt x="464" y="108"/>
                  <a:pt x="464" y="108"/>
                </a:cubicBezTo>
                <a:cubicBezTo>
                  <a:pt x="466" y="109"/>
                  <a:pt x="466" y="109"/>
                  <a:pt x="466" y="109"/>
                </a:cubicBezTo>
                <a:cubicBezTo>
                  <a:pt x="467" y="108"/>
                  <a:pt x="467" y="108"/>
                  <a:pt x="467" y="108"/>
                </a:cubicBezTo>
                <a:cubicBezTo>
                  <a:pt x="468" y="107"/>
                  <a:pt x="468" y="107"/>
                  <a:pt x="468" y="107"/>
                </a:cubicBezTo>
                <a:cubicBezTo>
                  <a:pt x="469" y="108"/>
                  <a:pt x="469" y="108"/>
                  <a:pt x="469" y="108"/>
                </a:cubicBezTo>
                <a:cubicBezTo>
                  <a:pt x="469" y="109"/>
                  <a:pt x="469" y="109"/>
                  <a:pt x="469" y="109"/>
                </a:cubicBezTo>
                <a:cubicBezTo>
                  <a:pt x="470" y="108"/>
                  <a:pt x="470" y="108"/>
                  <a:pt x="470" y="108"/>
                </a:cubicBezTo>
                <a:cubicBezTo>
                  <a:pt x="471" y="110"/>
                  <a:pt x="471" y="110"/>
                  <a:pt x="471" y="110"/>
                </a:cubicBezTo>
                <a:cubicBezTo>
                  <a:pt x="471" y="112"/>
                  <a:pt x="471" y="112"/>
                  <a:pt x="471" y="112"/>
                </a:cubicBezTo>
                <a:cubicBezTo>
                  <a:pt x="472" y="112"/>
                  <a:pt x="472" y="112"/>
                  <a:pt x="472" y="112"/>
                </a:cubicBezTo>
                <a:cubicBezTo>
                  <a:pt x="472" y="113"/>
                  <a:pt x="472" y="113"/>
                  <a:pt x="472" y="113"/>
                </a:cubicBezTo>
                <a:cubicBezTo>
                  <a:pt x="473" y="112"/>
                  <a:pt x="473" y="112"/>
                  <a:pt x="473" y="112"/>
                </a:cubicBezTo>
                <a:cubicBezTo>
                  <a:pt x="473" y="113"/>
                  <a:pt x="473" y="113"/>
                  <a:pt x="473" y="113"/>
                </a:cubicBezTo>
                <a:cubicBezTo>
                  <a:pt x="472" y="115"/>
                  <a:pt x="472" y="115"/>
                  <a:pt x="472" y="115"/>
                </a:cubicBezTo>
                <a:cubicBezTo>
                  <a:pt x="471" y="116"/>
                  <a:pt x="471" y="116"/>
                  <a:pt x="471" y="116"/>
                </a:cubicBezTo>
                <a:cubicBezTo>
                  <a:pt x="470" y="115"/>
                  <a:pt x="470" y="115"/>
                  <a:pt x="470" y="115"/>
                </a:cubicBezTo>
                <a:cubicBezTo>
                  <a:pt x="467" y="114"/>
                  <a:pt x="467" y="114"/>
                  <a:pt x="467" y="114"/>
                </a:cubicBezTo>
                <a:cubicBezTo>
                  <a:pt x="464" y="114"/>
                  <a:pt x="464" y="114"/>
                  <a:pt x="464" y="114"/>
                </a:cubicBezTo>
                <a:cubicBezTo>
                  <a:pt x="466" y="115"/>
                  <a:pt x="466" y="115"/>
                  <a:pt x="466" y="115"/>
                </a:cubicBezTo>
                <a:cubicBezTo>
                  <a:pt x="466" y="116"/>
                  <a:pt x="466" y="116"/>
                  <a:pt x="466" y="116"/>
                </a:cubicBezTo>
                <a:cubicBezTo>
                  <a:pt x="468" y="116"/>
                  <a:pt x="468" y="116"/>
                  <a:pt x="468" y="116"/>
                </a:cubicBezTo>
                <a:cubicBezTo>
                  <a:pt x="469" y="117"/>
                  <a:pt x="469" y="117"/>
                  <a:pt x="469" y="117"/>
                </a:cubicBezTo>
                <a:cubicBezTo>
                  <a:pt x="471" y="119"/>
                  <a:pt x="471" y="119"/>
                  <a:pt x="471" y="119"/>
                </a:cubicBezTo>
                <a:cubicBezTo>
                  <a:pt x="474" y="120"/>
                  <a:pt x="474" y="120"/>
                  <a:pt x="474" y="120"/>
                </a:cubicBezTo>
                <a:cubicBezTo>
                  <a:pt x="475" y="119"/>
                  <a:pt x="475" y="119"/>
                  <a:pt x="475" y="119"/>
                </a:cubicBezTo>
                <a:cubicBezTo>
                  <a:pt x="475" y="117"/>
                  <a:pt x="475" y="117"/>
                  <a:pt x="475" y="117"/>
                </a:cubicBezTo>
                <a:cubicBezTo>
                  <a:pt x="474" y="116"/>
                  <a:pt x="474" y="116"/>
                  <a:pt x="474" y="116"/>
                </a:cubicBezTo>
                <a:cubicBezTo>
                  <a:pt x="474" y="116"/>
                  <a:pt x="474" y="116"/>
                  <a:pt x="474" y="116"/>
                </a:cubicBezTo>
                <a:cubicBezTo>
                  <a:pt x="474" y="116"/>
                  <a:pt x="474" y="116"/>
                  <a:pt x="474" y="116"/>
                </a:cubicBezTo>
                <a:cubicBezTo>
                  <a:pt x="475" y="117"/>
                  <a:pt x="475" y="117"/>
                  <a:pt x="475" y="117"/>
                </a:cubicBezTo>
                <a:cubicBezTo>
                  <a:pt x="477" y="118"/>
                  <a:pt x="477" y="118"/>
                  <a:pt x="477" y="118"/>
                </a:cubicBezTo>
                <a:cubicBezTo>
                  <a:pt x="478" y="118"/>
                  <a:pt x="478" y="118"/>
                  <a:pt x="478" y="118"/>
                </a:cubicBezTo>
                <a:cubicBezTo>
                  <a:pt x="477" y="118"/>
                  <a:pt x="477" y="118"/>
                  <a:pt x="477" y="118"/>
                </a:cubicBezTo>
                <a:cubicBezTo>
                  <a:pt x="474" y="120"/>
                  <a:pt x="474" y="120"/>
                  <a:pt x="474" y="120"/>
                </a:cubicBezTo>
                <a:cubicBezTo>
                  <a:pt x="475" y="121"/>
                  <a:pt x="475" y="121"/>
                  <a:pt x="475" y="121"/>
                </a:cubicBezTo>
                <a:cubicBezTo>
                  <a:pt x="476" y="121"/>
                  <a:pt x="476" y="121"/>
                  <a:pt x="476" y="121"/>
                </a:cubicBezTo>
                <a:cubicBezTo>
                  <a:pt x="477" y="121"/>
                  <a:pt x="477" y="121"/>
                  <a:pt x="477" y="121"/>
                </a:cubicBezTo>
                <a:cubicBezTo>
                  <a:pt x="477" y="121"/>
                  <a:pt x="477" y="121"/>
                  <a:pt x="477" y="121"/>
                </a:cubicBezTo>
                <a:cubicBezTo>
                  <a:pt x="482" y="125"/>
                  <a:pt x="482" y="125"/>
                  <a:pt x="482" y="125"/>
                </a:cubicBezTo>
                <a:cubicBezTo>
                  <a:pt x="483" y="125"/>
                  <a:pt x="483" y="125"/>
                  <a:pt x="483" y="125"/>
                </a:cubicBezTo>
                <a:cubicBezTo>
                  <a:pt x="484" y="127"/>
                  <a:pt x="484" y="127"/>
                  <a:pt x="484" y="127"/>
                </a:cubicBezTo>
                <a:cubicBezTo>
                  <a:pt x="487" y="127"/>
                  <a:pt x="487" y="127"/>
                  <a:pt x="487" y="127"/>
                </a:cubicBezTo>
                <a:cubicBezTo>
                  <a:pt x="489" y="129"/>
                  <a:pt x="489" y="129"/>
                  <a:pt x="489" y="129"/>
                </a:cubicBezTo>
                <a:cubicBezTo>
                  <a:pt x="490" y="129"/>
                  <a:pt x="490" y="129"/>
                  <a:pt x="490" y="129"/>
                </a:cubicBezTo>
                <a:cubicBezTo>
                  <a:pt x="491" y="129"/>
                  <a:pt x="491" y="129"/>
                  <a:pt x="491" y="129"/>
                </a:cubicBezTo>
                <a:cubicBezTo>
                  <a:pt x="490" y="128"/>
                  <a:pt x="490" y="128"/>
                  <a:pt x="490" y="128"/>
                </a:cubicBezTo>
                <a:cubicBezTo>
                  <a:pt x="491" y="127"/>
                  <a:pt x="491" y="127"/>
                  <a:pt x="491" y="127"/>
                </a:cubicBezTo>
                <a:cubicBezTo>
                  <a:pt x="492" y="128"/>
                  <a:pt x="492" y="128"/>
                  <a:pt x="492" y="128"/>
                </a:cubicBezTo>
                <a:cubicBezTo>
                  <a:pt x="492" y="129"/>
                  <a:pt x="492" y="129"/>
                  <a:pt x="492" y="129"/>
                </a:cubicBezTo>
                <a:cubicBezTo>
                  <a:pt x="493" y="131"/>
                  <a:pt x="493" y="131"/>
                  <a:pt x="493" y="131"/>
                </a:cubicBezTo>
                <a:cubicBezTo>
                  <a:pt x="494" y="131"/>
                  <a:pt x="494" y="131"/>
                  <a:pt x="494" y="131"/>
                </a:cubicBezTo>
                <a:cubicBezTo>
                  <a:pt x="494" y="129"/>
                  <a:pt x="494" y="129"/>
                  <a:pt x="494" y="129"/>
                </a:cubicBezTo>
                <a:cubicBezTo>
                  <a:pt x="493" y="122"/>
                  <a:pt x="493" y="122"/>
                  <a:pt x="493" y="122"/>
                </a:cubicBezTo>
                <a:cubicBezTo>
                  <a:pt x="492" y="119"/>
                  <a:pt x="492" y="119"/>
                  <a:pt x="492" y="119"/>
                </a:cubicBezTo>
                <a:cubicBezTo>
                  <a:pt x="490" y="116"/>
                  <a:pt x="490" y="116"/>
                  <a:pt x="490" y="116"/>
                </a:cubicBezTo>
                <a:cubicBezTo>
                  <a:pt x="490" y="112"/>
                  <a:pt x="490" y="112"/>
                  <a:pt x="490" y="112"/>
                </a:cubicBezTo>
                <a:cubicBezTo>
                  <a:pt x="489" y="110"/>
                  <a:pt x="489" y="110"/>
                  <a:pt x="489" y="110"/>
                </a:cubicBezTo>
                <a:cubicBezTo>
                  <a:pt x="488" y="109"/>
                  <a:pt x="488" y="109"/>
                  <a:pt x="488" y="109"/>
                </a:cubicBezTo>
                <a:cubicBezTo>
                  <a:pt x="490" y="110"/>
                  <a:pt x="490" y="110"/>
                  <a:pt x="490" y="110"/>
                </a:cubicBezTo>
                <a:cubicBezTo>
                  <a:pt x="490" y="111"/>
                  <a:pt x="490" y="111"/>
                  <a:pt x="490" y="111"/>
                </a:cubicBezTo>
                <a:cubicBezTo>
                  <a:pt x="492" y="113"/>
                  <a:pt x="492" y="113"/>
                  <a:pt x="492" y="113"/>
                </a:cubicBezTo>
                <a:cubicBezTo>
                  <a:pt x="493" y="113"/>
                  <a:pt x="493" y="113"/>
                  <a:pt x="493" y="113"/>
                </a:cubicBezTo>
                <a:cubicBezTo>
                  <a:pt x="495" y="115"/>
                  <a:pt x="495" y="115"/>
                  <a:pt x="495" y="115"/>
                </a:cubicBezTo>
                <a:cubicBezTo>
                  <a:pt x="497" y="115"/>
                  <a:pt x="497" y="115"/>
                  <a:pt x="497" y="115"/>
                </a:cubicBezTo>
                <a:cubicBezTo>
                  <a:pt x="502" y="115"/>
                  <a:pt x="502" y="115"/>
                  <a:pt x="502" y="115"/>
                </a:cubicBezTo>
                <a:cubicBezTo>
                  <a:pt x="503" y="115"/>
                  <a:pt x="503" y="115"/>
                  <a:pt x="503" y="115"/>
                </a:cubicBezTo>
                <a:cubicBezTo>
                  <a:pt x="504" y="114"/>
                  <a:pt x="504" y="114"/>
                  <a:pt x="504" y="114"/>
                </a:cubicBezTo>
                <a:cubicBezTo>
                  <a:pt x="505" y="115"/>
                  <a:pt x="505" y="115"/>
                  <a:pt x="505" y="115"/>
                </a:cubicBezTo>
                <a:cubicBezTo>
                  <a:pt x="505" y="115"/>
                  <a:pt x="505" y="115"/>
                  <a:pt x="505" y="115"/>
                </a:cubicBezTo>
                <a:cubicBezTo>
                  <a:pt x="504" y="114"/>
                  <a:pt x="504" y="114"/>
                  <a:pt x="504" y="114"/>
                </a:cubicBezTo>
                <a:cubicBezTo>
                  <a:pt x="505" y="113"/>
                  <a:pt x="505" y="113"/>
                  <a:pt x="505" y="113"/>
                </a:cubicBezTo>
                <a:cubicBezTo>
                  <a:pt x="504" y="112"/>
                  <a:pt x="504" y="112"/>
                  <a:pt x="504" y="112"/>
                </a:cubicBezTo>
                <a:cubicBezTo>
                  <a:pt x="504" y="111"/>
                  <a:pt x="504" y="111"/>
                  <a:pt x="504" y="111"/>
                </a:cubicBezTo>
                <a:cubicBezTo>
                  <a:pt x="504" y="110"/>
                  <a:pt x="504" y="110"/>
                  <a:pt x="504" y="110"/>
                </a:cubicBezTo>
                <a:cubicBezTo>
                  <a:pt x="509" y="108"/>
                  <a:pt x="509" y="108"/>
                  <a:pt x="509" y="108"/>
                </a:cubicBezTo>
                <a:cubicBezTo>
                  <a:pt x="509" y="109"/>
                  <a:pt x="509" y="109"/>
                  <a:pt x="509" y="109"/>
                </a:cubicBezTo>
                <a:cubicBezTo>
                  <a:pt x="510" y="109"/>
                  <a:pt x="510" y="109"/>
                  <a:pt x="510" y="109"/>
                </a:cubicBezTo>
                <a:cubicBezTo>
                  <a:pt x="512" y="109"/>
                  <a:pt x="512" y="109"/>
                  <a:pt x="512" y="109"/>
                </a:cubicBezTo>
                <a:cubicBezTo>
                  <a:pt x="514" y="109"/>
                  <a:pt x="514" y="109"/>
                  <a:pt x="514" y="109"/>
                </a:cubicBezTo>
                <a:cubicBezTo>
                  <a:pt x="515" y="111"/>
                  <a:pt x="515" y="111"/>
                  <a:pt x="515" y="111"/>
                </a:cubicBezTo>
                <a:cubicBezTo>
                  <a:pt x="517" y="111"/>
                  <a:pt x="517" y="111"/>
                  <a:pt x="517" y="111"/>
                </a:cubicBezTo>
                <a:cubicBezTo>
                  <a:pt x="517" y="113"/>
                  <a:pt x="517" y="113"/>
                  <a:pt x="517" y="113"/>
                </a:cubicBezTo>
                <a:cubicBezTo>
                  <a:pt x="520" y="113"/>
                  <a:pt x="520" y="113"/>
                  <a:pt x="520" y="113"/>
                </a:cubicBezTo>
                <a:cubicBezTo>
                  <a:pt x="520" y="114"/>
                  <a:pt x="520" y="114"/>
                  <a:pt x="520" y="114"/>
                </a:cubicBezTo>
                <a:cubicBezTo>
                  <a:pt x="523" y="114"/>
                  <a:pt x="523" y="114"/>
                  <a:pt x="523" y="114"/>
                </a:cubicBezTo>
                <a:cubicBezTo>
                  <a:pt x="521" y="113"/>
                  <a:pt x="521" y="113"/>
                  <a:pt x="521" y="113"/>
                </a:cubicBezTo>
                <a:cubicBezTo>
                  <a:pt x="521" y="112"/>
                  <a:pt x="521" y="112"/>
                  <a:pt x="521" y="112"/>
                </a:cubicBezTo>
                <a:cubicBezTo>
                  <a:pt x="523" y="113"/>
                  <a:pt x="523" y="113"/>
                  <a:pt x="523" y="113"/>
                </a:cubicBezTo>
                <a:cubicBezTo>
                  <a:pt x="524" y="112"/>
                  <a:pt x="524" y="112"/>
                  <a:pt x="524" y="112"/>
                </a:cubicBezTo>
                <a:cubicBezTo>
                  <a:pt x="523" y="111"/>
                  <a:pt x="523" y="111"/>
                  <a:pt x="523" y="111"/>
                </a:cubicBezTo>
                <a:cubicBezTo>
                  <a:pt x="524" y="110"/>
                  <a:pt x="524" y="110"/>
                  <a:pt x="524" y="110"/>
                </a:cubicBezTo>
                <a:cubicBezTo>
                  <a:pt x="523" y="109"/>
                  <a:pt x="523" y="109"/>
                  <a:pt x="523" y="109"/>
                </a:cubicBezTo>
                <a:cubicBezTo>
                  <a:pt x="521" y="110"/>
                  <a:pt x="521" y="110"/>
                  <a:pt x="521" y="110"/>
                </a:cubicBezTo>
                <a:cubicBezTo>
                  <a:pt x="519" y="110"/>
                  <a:pt x="519" y="110"/>
                  <a:pt x="519" y="110"/>
                </a:cubicBezTo>
                <a:cubicBezTo>
                  <a:pt x="519" y="108"/>
                  <a:pt x="519" y="108"/>
                  <a:pt x="519" y="108"/>
                </a:cubicBezTo>
                <a:cubicBezTo>
                  <a:pt x="519" y="106"/>
                  <a:pt x="519" y="106"/>
                  <a:pt x="519" y="106"/>
                </a:cubicBezTo>
                <a:cubicBezTo>
                  <a:pt x="519" y="106"/>
                  <a:pt x="519" y="106"/>
                  <a:pt x="519" y="106"/>
                </a:cubicBezTo>
                <a:cubicBezTo>
                  <a:pt x="520" y="106"/>
                  <a:pt x="520" y="106"/>
                  <a:pt x="520" y="106"/>
                </a:cubicBezTo>
                <a:cubicBezTo>
                  <a:pt x="521" y="106"/>
                  <a:pt x="521" y="106"/>
                  <a:pt x="521" y="106"/>
                </a:cubicBezTo>
                <a:cubicBezTo>
                  <a:pt x="521" y="105"/>
                  <a:pt x="521" y="105"/>
                  <a:pt x="521" y="105"/>
                </a:cubicBezTo>
                <a:cubicBezTo>
                  <a:pt x="522" y="104"/>
                  <a:pt x="522" y="104"/>
                  <a:pt x="522" y="104"/>
                </a:cubicBezTo>
                <a:cubicBezTo>
                  <a:pt x="524" y="106"/>
                  <a:pt x="524" y="106"/>
                  <a:pt x="524" y="106"/>
                </a:cubicBezTo>
                <a:cubicBezTo>
                  <a:pt x="524" y="107"/>
                  <a:pt x="524" y="107"/>
                  <a:pt x="524" y="107"/>
                </a:cubicBezTo>
                <a:cubicBezTo>
                  <a:pt x="525" y="107"/>
                  <a:pt x="525" y="107"/>
                  <a:pt x="525" y="107"/>
                </a:cubicBezTo>
                <a:cubicBezTo>
                  <a:pt x="526" y="107"/>
                  <a:pt x="526" y="107"/>
                  <a:pt x="526" y="107"/>
                </a:cubicBezTo>
                <a:cubicBezTo>
                  <a:pt x="526" y="107"/>
                  <a:pt x="526" y="107"/>
                  <a:pt x="526" y="107"/>
                </a:cubicBezTo>
                <a:cubicBezTo>
                  <a:pt x="526" y="105"/>
                  <a:pt x="526" y="105"/>
                  <a:pt x="526" y="105"/>
                </a:cubicBezTo>
                <a:cubicBezTo>
                  <a:pt x="527" y="105"/>
                  <a:pt x="527" y="105"/>
                  <a:pt x="527" y="105"/>
                </a:cubicBezTo>
                <a:cubicBezTo>
                  <a:pt x="528" y="106"/>
                  <a:pt x="528" y="106"/>
                  <a:pt x="528" y="106"/>
                </a:cubicBezTo>
                <a:cubicBezTo>
                  <a:pt x="529" y="104"/>
                  <a:pt x="529" y="104"/>
                  <a:pt x="529" y="104"/>
                </a:cubicBezTo>
                <a:cubicBezTo>
                  <a:pt x="527" y="102"/>
                  <a:pt x="527" y="102"/>
                  <a:pt x="527" y="102"/>
                </a:cubicBezTo>
                <a:cubicBezTo>
                  <a:pt x="525" y="102"/>
                  <a:pt x="525" y="102"/>
                  <a:pt x="525" y="102"/>
                </a:cubicBezTo>
                <a:cubicBezTo>
                  <a:pt x="524" y="100"/>
                  <a:pt x="524" y="100"/>
                  <a:pt x="524" y="100"/>
                </a:cubicBezTo>
                <a:cubicBezTo>
                  <a:pt x="524" y="99"/>
                  <a:pt x="524" y="99"/>
                  <a:pt x="524" y="99"/>
                </a:cubicBezTo>
                <a:cubicBezTo>
                  <a:pt x="523" y="98"/>
                  <a:pt x="523" y="98"/>
                  <a:pt x="523" y="98"/>
                </a:cubicBezTo>
                <a:cubicBezTo>
                  <a:pt x="522" y="99"/>
                  <a:pt x="522" y="99"/>
                  <a:pt x="522" y="99"/>
                </a:cubicBezTo>
                <a:cubicBezTo>
                  <a:pt x="521" y="98"/>
                  <a:pt x="521" y="98"/>
                  <a:pt x="521" y="98"/>
                </a:cubicBezTo>
                <a:cubicBezTo>
                  <a:pt x="522" y="97"/>
                  <a:pt x="522" y="97"/>
                  <a:pt x="522" y="97"/>
                </a:cubicBezTo>
                <a:cubicBezTo>
                  <a:pt x="522" y="96"/>
                  <a:pt x="522" y="96"/>
                  <a:pt x="522" y="96"/>
                </a:cubicBezTo>
                <a:cubicBezTo>
                  <a:pt x="522" y="96"/>
                  <a:pt x="522" y="96"/>
                  <a:pt x="522" y="96"/>
                </a:cubicBezTo>
                <a:cubicBezTo>
                  <a:pt x="521" y="94"/>
                  <a:pt x="521" y="94"/>
                  <a:pt x="521" y="94"/>
                </a:cubicBezTo>
                <a:cubicBezTo>
                  <a:pt x="523" y="94"/>
                  <a:pt x="523" y="94"/>
                  <a:pt x="523" y="94"/>
                </a:cubicBezTo>
                <a:cubicBezTo>
                  <a:pt x="523" y="92"/>
                  <a:pt x="523" y="92"/>
                  <a:pt x="523" y="92"/>
                </a:cubicBezTo>
                <a:cubicBezTo>
                  <a:pt x="521" y="93"/>
                  <a:pt x="521" y="93"/>
                  <a:pt x="521" y="93"/>
                </a:cubicBezTo>
                <a:cubicBezTo>
                  <a:pt x="520" y="94"/>
                  <a:pt x="520" y="94"/>
                  <a:pt x="520" y="94"/>
                </a:cubicBezTo>
                <a:cubicBezTo>
                  <a:pt x="520" y="96"/>
                  <a:pt x="520" y="96"/>
                  <a:pt x="520" y="96"/>
                </a:cubicBezTo>
                <a:cubicBezTo>
                  <a:pt x="517" y="95"/>
                  <a:pt x="517" y="95"/>
                  <a:pt x="517" y="95"/>
                </a:cubicBezTo>
                <a:cubicBezTo>
                  <a:pt x="516" y="93"/>
                  <a:pt x="516" y="93"/>
                  <a:pt x="516" y="93"/>
                </a:cubicBezTo>
                <a:cubicBezTo>
                  <a:pt x="517" y="91"/>
                  <a:pt x="517" y="91"/>
                  <a:pt x="517" y="91"/>
                </a:cubicBezTo>
                <a:cubicBezTo>
                  <a:pt x="517" y="90"/>
                  <a:pt x="517" y="90"/>
                  <a:pt x="517" y="90"/>
                </a:cubicBezTo>
                <a:cubicBezTo>
                  <a:pt x="519" y="89"/>
                  <a:pt x="519" y="89"/>
                  <a:pt x="519" y="89"/>
                </a:cubicBezTo>
                <a:cubicBezTo>
                  <a:pt x="520" y="89"/>
                  <a:pt x="520" y="89"/>
                  <a:pt x="520" y="89"/>
                </a:cubicBezTo>
                <a:cubicBezTo>
                  <a:pt x="523" y="87"/>
                  <a:pt x="523" y="87"/>
                  <a:pt x="523" y="87"/>
                </a:cubicBezTo>
                <a:cubicBezTo>
                  <a:pt x="523" y="86"/>
                  <a:pt x="523" y="86"/>
                  <a:pt x="523" y="86"/>
                </a:cubicBezTo>
                <a:cubicBezTo>
                  <a:pt x="521" y="84"/>
                  <a:pt x="521" y="84"/>
                  <a:pt x="521" y="84"/>
                </a:cubicBezTo>
                <a:cubicBezTo>
                  <a:pt x="520" y="85"/>
                  <a:pt x="520" y="85"/>
                  <a:pt x="520" y="85"/>
                </a:cubicBezTo>
                <a:cubicBezTo>
                  <a:pt x="519" y="84"/>
                  <a:pt x="519" y="84"/>
                  <a:pt x="519" y="84"/>
                </a:cubicBezTo>
                <a:cubicBezTo>
                  <a:pt x="517" y="84"/>
                  <a:pt x="517" y="84"/>
                  <a:pt x="517" y="84"/>
                </a:cubicBezTo>
                <a:cubicBezTo>
                  <a:pt x="516" y="83"/>
                  <a:pt x="516" y="83"/>
                  <a:pt x="516" y="83"/>
                </a:cubicBezTo>
                <a:cubicBezTo>
                  <a:pt x="517" y="82"/>
                  <a:pt x="517" y="82"/>
                  <a:pt x="517" y="82"/>
                </a:cubicBezTo>
                <a:cubicBezTo>
                  <a:pt x="520" y="81"/>
                  <a:pt x="520" y="81"/>
                  <a:pt x="520" y="81"/>
                </a:cubicBezTo>
                <a:cubicBezTo>
                  <a:pt x="523" y="83"/>
                  <a:pt x="523" y="83"/>
                  <a:pt x="523" y="83"/>
                </a:cubicBezTo>
                <a:cubicBezTo>
                  <a:pt x="525" y="82"/>
                  <a:pt x="525" y="82"/>
                  <a:pt x="525" y="82"/>
                </a:cubicBezTo>
                <a:cubicBezTo>
                  <a:pt x="529" y="82"/>
                  <a:pt x="529" y="82"/>
                  <a:pt x="529" y="82"/>
                </a:cubicBezTo>
                <a:cubicBezTo>
                  <a:pt x="537" y="82"/>
                  <a:pt x="537" y="82"/>
                  <a:pt x="537" y="82"/>
                </a:cubicBezTo>
                <a:cubicBezTo>
                  <a:pt x="538" y="81"/>
                  <a:pt x="538" y="81"/>
                  <a:pt x="538" y="81"/>
                </a:cubicBezTo>
                <a:cubicBezTo>
                  <a:pt x="543" y="81"/>
                  <a:pt x="543" y="81"/>
                  <a:pt x="543" y="81"/>
                </a:cubicBezTo>
                <a:cubicBezTo>
                  <a:pt x="546" y="81"/>
                  <a:pt x="546" y="81"/>
                  <a:pt x="546" y="81"/>
                </a:cubicBezTo>
                <a:cubicBezTo>
                  <a:pt x="548" y="81"/>
                  <a:pt x="548" y="81"/>
                  <a:pt x="548" y="81"/>
                </a:cubicBezTo>
                <a:cubicBezTo>
                  <a:pt x="551" y="81"/>
                  <a:pt x="551" y="81"/>
                  <a:pt x="551" y="81"/>
                </a:cubicBezTo>
                <a:cubicBezTo>
                  <a:pt x="549" y="81"/>
                  <a:pt x="549" y="81"/>
                  <a:pt x="549" y="81"/>
                </a:cubicBezTo>
                <a:cubicBezTo>
                  <a:pt x="545" y="83"/>
                  <a:pt x="545" y="83"/>
                  <a:pt x="545" y="83"/>
                </a:cubicBezTo>
                <a:cubicBezTo>
                  <a:pt x="543" y="82"/>
                  <a:pt x="543" y="82"/>
                  <a:pt x="543" y="82"/>
                </a:cubicBezTo>
                <a:cubicBezTo>
                  <a:pt x="543" y="83"/>
                  <a:pt x="543" y="83"/>
                  <a:pt x="543" y="83"/>
                </a:cubicBezTo>
                <a:cubicBezTo>
                  <a:pt x="541" y="82"/>
                  <a:pt x="541" y="82"/>
                  <a:pt x="541" y="82"/>
                </a:cubicBezTo>
                <a:cubicBezTo>
                  <a:pt x="541" y="85"/>
                  <a:pt x="541" y="85"/>
                  <a:pt x="541" y="85"/>
                </a:cubicBezTo>
                <a:cubicBezTo>
                  <a:pt x="542" y="86"/>
                  <a:pt x="542" y="86"/>
                  <a:pt x="542" y="86"/>
                </a:cubicBezTo>
                <a:cubicBezTo>
                  <a:pt x="541" y="87"/>
                  <a:pt x="541" y="87"/>
                  <a:pt x="541" y="87"/>
                </a:cubicBezTo>
                <a:cubicBezTo>
                  <a:pt x="541" y="88"/>
                  <a:pt x="541" y="88"/>
                  <a:pt x="541" y="88"/>
                </a:cubicBezTo>
                <a:cubicBezTo>
                  <a:pt x="542" y="88"/>
                  <a:pt x="542" y="88"/>
                  <a:pt x="542" y="88"/>
                </a:cubicBezTo>
                <a:cubicBezTo>
                  <a:pt x="544" y="87"/>
                  <a:pt x="544" y="87"/>
                  <a:pt x="544" y="87"/>
                </a:cubicBezTo>
                <a:cubicBezTo>
                  <a:pt x="544" y="86"/>
                  <a:pt x="544" y="86"/>
                  <a:pt x="544" y="86"/>
                </a:cubicBezTo>
                <a:cubicBezTo>
                  <a:pt x="547" y="83"/>
                  <a:pt x="547" y="83"/>
                  <a:pt x="547" y="83"/>
                </a:cubicBezTo>
                <a:cubicBezTo>
                  <a:pt x="551" y="82"/>
                  <a:pt x="551" y="82"/>
                  <a:pt x="551" y="82"/>
                </a:cubicBezTo>
                <a:cubicBezTo>
                  <a:pt x="552" y="84"/>
                  <a:pt x="552" y="84"/>
                  <a:pt x="552" y="84"/>
                </a:cubicBezTo>
                <a:cubicBezTo>
                  <a:pt x="552" y="87"/>
                  <a:pt x="552" y="87"/>
                  <a:pt x="552" y="87"/>
                </a:cubicBezTo>
                <a:cubicBezTo>
                  <a:pt x="552" y="88"/>
                  <a:pt x="552" y="88"/>
                  <a:pt x="552" y="88"/>
                </a:cubicBezTo>
                <a:cubicBezTo>
                  <a:pt x="551" y="86"/>
                  <a:pt x="551" y="86"/>
                  <a:pt x="551" y="86"/>
                </a:cubicBezTo>
                <a:cubicBezTo>
                  <a:pt x="550" y="85"/>
                  <a:pt x="550" y="85"/>
                  <a:pt x="550" y="85"/>
                </a:cubicBezTo>
                <a:cubicBezTo>
                  <a:pt x="550" y="83"/>
                  <a:pt x="550" y="83"/>
                  <a:pt x="550" y="83"/>
                </a:cubicBezTo>
                <a:cubicBezTo>
                  <a:pt x="548" y="85"/>
                  <a:pt x="548" y="85"/>
                  <a:pt x="548" y="85"/>
                </a:cubicBezTo>
                <a:cubicBezTo>
                  <a:pt x="547" y="84"/>
                  <a:pt x="547" y="84"/>
                  <a:pt x="547" y="84"/>
                </a:cubicBezTo>
                <a:cubicBezTo>
                  <a:pt x="548" y="87"/>
                  <a:pt x="548" y="87"/>
                  <a:pt x="548" y="87"/>
                </a:cubicBezTo>
                <a:cubicBezTo>
                  <a:pt x="550" y="87"/>
                  <a:pt x="550" y="87"/>
                  <a:pt x="550" y="87"/>
                </a:cubicBezTo>
                <a:cubicBezTo>
                  <a:pt x="550" y="90"/>
                  <a:pt x="550" y="90"/>
                  <a:pt x="550" y="90"/>
                </a:cubicBezTo>
                <a:cubicBezTo>
                  <a:pt x="549" y="92"/>
                  <a:pt x="549" y="92"/>
                  <a:pt x="549" y="92"/>
                </a:cubicBezTo>
                <a:cubicBezTo>
                  <a:pt x="548" y="91"/>
                  <a:pt x="548" y="91"/>
                  <a:pt x="548" y="91"/>
                </a:cubicBezTo>
                <a:cubicBezTo>
                  <a:pt x="547" y="92"/>
                  <a:pt x="547" y="92"/>
                  <a:pt x="547" y="92"/>
                </a:cubicBezTo>
                <a:cubicBezTo>
                  <a:pt x="549" y="93"/>
                  <a:pt x="549" y="93"/>
                  <a:pt x="549" y="93"/>
                </a:cubicBezTo>
                <a:cubicBezTo>
                  <a:pt x="549" y="94"/>
                  <a:pt x="549" y="94"/>
                  <a:pt x="549" y="94"/>
                </a:cubicBezTo>
                <a:cubicBezTo>
                  <a:pt x="549" y="94"/>
                  <a:pt x="549" y="94"/>
                  <a:pt x="549" y="94"/>
                </a:cubicBezTo>
                <a:cubicBezTo>
                  <a:pt x="550" y="94"/>
                  <a:pt x="550" y="94"/>
                  <a:pt x="550" y="94"/>
                </a:cubicBezTo>
                <a:cubicBezTo>
                  <a:pt x="552" y="93"/>
                  <a:pt x="552" y="93"/>
                  <a:pt x="552" y="93"/>
                </a:cubicBezTo>
                <a:cubicBezTo>
                  <a:pt x="552" y="91"/>
                  <a:pt x="552" y="91"/>
                  <a:pt x="552" y="91"/>
                </a:cubicBezTo>
                <a:cubicBezTo>
                  <a:pt x="553" y="90"/>
                  <a:pt x="553" y="90"/>
                  <a:pt x="553" y="90"/>
                </a:cubicBezTo>
                <a:cubicBezTo>
                  <a:pt x="553" y="88"/>
                  <a:pt x="553" y="88"/>
                  <a:pt x="553" y="88"/>
                </a:cubicBezTo>
                <a:cubicBezTo>
                  <a:pt x="553" y="87"/>
                  <a:pt x="553" y="87"/>
                  <a:pt x="553" y="87"/>
                </a:cubicBezTo>
                <a:cubicBezTo>
                  <a:pt x="552" y="80"/>
                  <a:pt x="552" y="80"/>
                  <a:pt x="552" y="80"/>
                </a:cubicBezTo>
                <a:cubicBezTo>
                  <a:pt x="555" y="79"/>
                  <a:pt x="555" y="79"/>
                  <a:pt x="555" y="79"/>
                </a:cubicBezTo>
                <a:cubicBezTo>
                  <a:pt x="558" y="78"/>
                  <a:pt x="558" y="78"/>
                  <a:pt x="558" y="78"/>
                </a:cubicBezTo>
                <a:cubicBezTo>
                  <a:pt x="562" y="77"/>
                  <a:pt x="562" y="77"/>
                  <a:pt x="562" y="77"/>
                </a:cubicBezTo>
                <a:cubicBezTo>
                  <a:pt x="565" y="77"/>
                  <a:pt x="565" y="77"/>
                  <a:pt x="565" y="77"/>
                </a:cubicBezTo>
                <a:cubicBezTo>
                  <a:pt x="569" y="79"/>
                  <a:pt x="569" y="79"/>
                  <a:pt x="569" y="79"/>
                </a:cubicBezTo>
                <a:cubicBezTo>
                  <a:pt x="571" y="82"/>
                  <a:pt x="571" y="82"/>
                  <a:pt x="571" y="82"/>
                </a:cubicBezTo>
                <a:cubicBezTo>
                  <a:pt x="571" y="83"/>
                  <a:pt x="571" y="83"/>
                  <a:pt x="571" y="83"/>
                </a:cubicBezTo>
                <a:cubicBezTo>
                  <a:pt x="570" y="84"/>
                  <a:pt x="570" y="84"/>
                  <a:pt x="570" y="84"/>
                </a:cubicBezTo>
                <a:cubicBezTo>
                  <a:pt x="568" y="82"/>
                  <a:pt x="568" y="82"/>
                  <a:pt x="568" y="82"/>
                </a:cubicBezTo>
                <a:cubicBezTo>
                  <a:pt x="567" y="82"/>
                  <a:pt x="567" y="82"/>
                  <a:pt x="567" y="82"/>
                </a:cubicBezTo>
                <a:cubicBezTo>
                  <a:pt x="568" y="84"/>
                  <a:pt x="568" y="84"/>
                  <a:pt x="568" y="84"/>
                </a:cubicBezTo>
                <a:cubicBezTo>
                  <a:pt x="568" y="85"/>
                  <a:pt x="568" y="85"/>
                  <a:pt x="568" y="85"/>
                </a:cubicBezTo>
                <a:cubicBezTo>
                  <a:pt x="568" y="86"/>
                  <a:pt x="568" y="86"/>
                  <a:pt x="568" y="86"/>
                </a:cubicBezTo>
                <a:cubicBezTo>
                  <a:pt x="567" y="87"/>
                  <a:pt x="567" y="87"/>
                  <a:pt x="567" y="87"/>
                </a:cubicBezTo>
                <a:cubicBezTo>
                  <a:pt x="568" y="87"/>
                  <a:pt x="568" y="87"/>
                  <a:pt x="568" y="87"/>
                </a:cubicBezTo>
                <a:cubicBezTo>
                  <a:pt x="569" y="87"/>
                  <a:pt x="569" y="87"/>
                  <a:pt x="569" y="87"/>
                </a:cubicBezTo>
                <a:cubicBezTo>
                  <a:pt x="571" y="86"/>
                  <a:pt x="571" y="86"/>
                  <a:pt x="571" y="86"/>
                </a:cubicBezTo>
                <a:cubicBezTo>
                  <a:pt x="573" y="85"/>
                  <a:pt x="573" y="85"/>
                  <a:pt x="573" y="85"/>
                </a:cubicBezTo>
                <a:cubicBezTo>
                  <a:pt x="573" y="87"/>
                  <a:pt x="573" y="87"/>
                  <a:pt x="573" y="87"/>
                </a:cubicBezTo>
                <a:cubicBezTo>
                  <a:pt x="574" y="88"/>
                  <a:pt x="574" y="88"/>
                  <a:pt x="574" y="88"/>
                </a:cubicBezTo>
                <a:cubicBezTo>
                  <a:pt x="574" y="90"/>
                  <a:pt x="574" y="90"/>
                  <a:pt x="574" y="90"/>
                </a:cubicBezTo>
                <a:cubicBezTo>
                  <a:pt x="575" y="91"/>
                  <a:pt x="575" y="91"/>
                  <a:pt x="575" y="91"/>
                </a:cubicBezTo>
                <a:cubicBezTo>
                  <a:pt x="576" y="89"/>
                  <a:pt x="576" y="89"/>
                  <a:pt x="576" y="89"/>
                </a:cubicBezTo>
                <a:cubicBezTo>
                  <a:pt x="575" y="88"/>
                  <a:pt x="575" y="88"/>
                  <a:pt x="575" y="88"/>
                </a:cubicBezTo>
                <a:cubicBezTo>
                  <a:pt x="577" y="87"/>
                  <a:pt x="577" y="87"/>
                  <a:pt x="577" y="87"/>
                </a:cubicBezTo>
                <a:cubicBezTo>
                  <a:pt x="579" y="88"/>
                  <a:pt x="579" y="88"/>
                  <a:pt x="579" y="88"/>
                </a:cubicBezTo>
                <a:cubicBezTo>
                  <a:pt x="579" y="89"/>
                  <a:pt x="579" y="89"/>
                  <a:pt x="579" y="89"/>
                </a:cubicBezTo>
                <a:cubicBezTo>
                  <a:pt x="579" y="90"/>
                  <a:pt x="579" y="90"/>
                  <a:pt x="579" y="90"/>
                </a:cubicBezTo>
                <a:cubicBezTo>
                  <a:pt x="578" y="92"/>
                  <a:pt x="578" y="92"/>
                  <a:pt x="578" y="92"/>
                </a:cubicBezTo>
                <a:cubicBezTo>
                  <a:pt x="578" y="93"/>
                  <a:pt x="578" y="93"/>
                  <a:pt x="578" y="93"/>
                </a:cubicBezTo>
                <a:cubicBezTo>
                  <a:pt x="579" y="92"/>
                  <a:pt x="579" y="92"/>
                  <a:pt x="579" y="92"/>
                </a:cubicBezTo>
                <a:cubicBezTo>
                  <a:pt x="580" y="91"/>
                  <a:pt x="580" y="91"/>
                  <a:pt x="580" y="91"/>
                </a:cubicBezTo>
                <a:cubicBezTo>
                  <a:pt x="581" y="90"/>
                  <a:pt x="581" y="90"/>
                  <a:pt x="581" y="90"/>
                </a:cubicBezTo>
                <a:cubicBezTo>
                  <a:pt x="581" y="91"/>
                  <a:pt x="581" y="91"/>
                  <a:pt x="581" y="91"/>
                </a:cubicBezTo>
                <a:cubicBezTo>
                  <a:pt x="581" y="90"/>
                  <a:pt x="581" y="90"/>
                  <a:pt x="581" y="90"/>
                </a:cubicBezTo>
                <a:cubicBezTo>
                  <a:pt x="582" y="87"/>
                  <a:pt x="582" y="87"/>
                  <a:pt x="582" y="87"/>
                </a:cubicBezTo>
                <a:cubicBezTo>
                  <a:pt x="583" y="87"/>
                  <a:pt x="583" y="87"/>
                  <a:pt x="583" y="87"/>
                </a:cubicBezTo>
                <a:cubicBezTo>
                  <a:pt x="584" y="87"/>
                  <a:pt x="584" y="87"/>
                  <a:pt x="584" y="87"/>
                </a:cubicBezTo>
                <a:cubicBezTo>
                  <a:pt x="587" y="89"/>
                  <a:pt x="587" y="89"/>
                  <a:pt x="587" y="89"/>
                </a:cubicBezTo>
                <a:cubicBezTo>
                  <a:pt x="590" y="90"/>
                  <a:pt x="590" y="90"/>
                  <a:pt x="590" y="90"/>
                </a:cubicBezTo>
                <a:cubicBezTo>
                  <a:pt x="592" y="92"/>
                  <a:pt x="592" y="92"/>
                  <a:pt x="592" y="92"/>
                </a:cubicBezTo>
                <a:cubicBezTo>
                  <a:pt x="591" y="93"/>
                  <a:pt x="591" y="93"/>
                  <a:pt x="591" y="93"/>
                </a:cubicBezTo>
                <a:cubicBezTo>
                  <a:pt x="589" y="94"/>
                  <a:pt x="589" y="94"/>
                  <a:pt x="589" y="94"/>
                </a:cubicBezTo>
                <a:cubicBezTo>
                  <a:pt x="588" y="96"/>
                  <a:pt x="588" y="96"/>
                  <a:pt x="588" y="96"/>
                </a:cubicBezTo>
                <a:cubicBezTo>
                  <a:pt x="590" y="95"/>
                  <a:pt x="590" y="95"/>
                  <a:pt x="590" y="95"/>
                </a:cubicBezTo>
                <a:cubicBezTo>
                  <a:pt x="592" y="94"/>
                  <a:pt x="592" y="94"/>
                  <a:pt x="592" y="94"/>
                </a:cubicBezTo>
                <a:cubicBezTo>
                  <a:pt x="594" y="95"/>
                  <a:pt x="594" y="95"/>
                  <a:pt x="594" y="95"/>
                </a:cubicBezTo>
                <a:cubicBezTo>
                  <a:pt x="596" y="94"/>
                  <a:pt x="596" y="94"/>
                  <a:pt x="596" y="94"/>
                </a:cubicBezTo>
                <a:cubicBezTo>
                  <a:pt x="598" y="93"/>
                  <a:pt x="598" y="93"/>
                  <a:pt x="598" y="93"/>
                </a:cubicBezTo>
                <a:cubicBezTo>
                  <a:pt x="599" y="92"/>
                  <a:pt x="599" y="92"/>
                  <a:pt x="599" y="92"/>
                </a:cubicBezTo>
                <a:cubicBezTo>
                  <a:pt x="602" y="90"/>
                  <a:pt x="602" y="90"/>
                  <a:pt x="602" y="90"/>
                </a:cubicBezTo>
                <a:cubicBezTo>
                  <a:pt x="603" y="90"/>
                  <a:pt x="603" y="90"/>
                  <a:pt x="603" y="90"/>
                </a:cubicBezTo>
                <a:cubicBezTo>
                  <a:pt x="605" y="88"/>
                  <a:pt x="605" y="88"/>
                  <a:pt x="605" y="88"/>
                </a:cubicBezTo>
                <a:cubicBezTo>
                  <a:pt x="607" y="87"/>
                  <a:pt x="607" y="87"/>
                  <a:pt x="607" y="87"/>
                </a:cubicBezTo>
                <a:cubicBezTo>
                  <a:pt x="612" y="85"/>
                  <a:pt x="612" y="85"/>
                  <a:pt x="612" y="85"/>
                </a:cubicBezTo>
                <a:cubicBezTo>
                  <a:pt x="614" y="84"/>
                  <a:pt x="614" y="84"/>
                  <a:pt x="614" y="84"/>
                </a:cubicBezTo>
                <a:cubicBezTo>
                  <a:pt x="615" y="84"/>
                  <a:pt x="615" y="84"/>
                  <a:pt x="615" y="84"/>
                </a:cubicBezTo>
                <a:cubicBezTo>
                  <a:pt x="615" y="84"/>
                  <a:pt x="615" y="84"/>
                  <a:pt x="615" y="84"/>
                </a:cubicBezTo>
                <a:cubicBezTo>
                  <a:pt x="618" y="82"/>
                  <a:pt x="618" y="82"/>
                  <a:pt x="618" y="82"/>
                </a:cubicBezTo>
                <a:cubicBezTo>
                  <a:pt x="620" y="82"/>
                  <a:pt x="620" y="82"/>
                  <a:pt x="620" y="82"/>
                </a:cubicBezTo>
                <a:cubicBezTo>
                  <a:pt x="623" y="82"/>
                  <a:pt x="623" y="82"/>
                  <a:pt x="623" y="82"/>
                </a:cubicBezTo>
                <a:cubicBezTo>
                  <a:pt x="629" y="84"/>
                  <a:pt x="629" y="84"/>
                  <a:pt x="629" y="84"/>
                </a:cubicBezTo>
                <a:cubicBezTo>
                  <a:pt x="631" y="87"/>
                  <a:pt x="631" y="87"/>
                  <a:pt x="631" y="87"/>
                </a:cubicBezTo>
                <a:cubicBezTo>
                  <a:pt x="634" y="88"/>
                  <a:pt x="634" y="88"/>
                  <a:pt x="634" y="88"/>
                </a:cubicBezTo>
                <a:cubicBezTo>
                  <a:pt x="636" y="91"/>
                  <a:pt x="636" y="91"/>
                  <a:pt x="636" y="91"/>
                </a:cubicBezTo>
                <a:cubicBezTo>
                  <a:pt x="638" y="93"/>
                  <a:pt x="638" y="93"/>
                  <a:pt x="638" y="93"/>
                </a:cubicBezTo>
                <a:cubicBezTo>
                  <a:pt x="638" y="94"/>
                  <a:pt x="638" y="94"/>
                  <a:pt x="638" y="94"/>
                </a:cubicBezTo>
                <a:cubicBezTo>
                  <a:pt x="638" y="95"/>
                  <a:pt x="638" y="95"/>
                  <a:pt x="638" y="95"/>
                </a:cubicBezTo>
                <a:cubicBezTo>
                  <a:pt x="638" y="97"/>
                  <a:pt x="638" y="97"/>
                  <a:pt x="638" y="97"/>
                </a:cubicBezTo>
                <a:cubicBezTo>
                  <a:pt x="639" y="99"/>
                  <a:pt x="639" y="99"/>
                  <a:pt x="639" y="99"/>
                </a:cubicBezTo>
                <a:cubicBezTo>
                  <a:pt x="640" y="100"/>
                  <a:pt x="640" y="100"/>
                  <a:pt x="640" y="100"/>
                </a:cubicBezTo>
                <a:cubicBezTo>
                  <a:pt x="639" y="102"/>
                  <a:pt x="639" y="102"/>
                  <a:pt x="639" y="102"/>
                </a:cubicBezTo>
                <a:cubicBezTo>
                  <a:pt x="640" y="101"/>
                  <a:pt x="640" y="101"/>
                  <a:pt x="640" y="101"/>
                </a:cubicBezTo>
                <a:cubicBezTo>
                  <a:pt x="642" y="100"/>
                  <a:pt x="642" y="100"/>
                  <a:pt x="642" y="100"/>
                </a:cubicBezTo>
                <a:cubicBezTo>
                  <a:pt x="643" y="100"/>
                  <a:pt x="643" y="100"/>
                  <a:pt x="643" y="100"/>
                </a:cubicBezTo>
                <a:cubicBezTo>
                  <a:pt x="644" y="100"/>
                  <a:pt x="644" y="100"/>
                  <a:pt x="644" y="100"/>
                </a:cubicBezTo>
                <a:cubicBezTo>
                  <a:pt x="644" y="99"/>
                  <a:pt x="644" y="99"/>
                  <a:pt x="644" y="99"/>
                </a:cubicBezTo>
                <a:cubicBezTo>
                  <a:pt x="646" y="99"/>
                  <a:pt x="646" y="99"/>
                  <a:pt x="646" y="99"/>
                </a:cubicBezTo>
                <a:cubicBezTo>
                  <a:pt x="647" y="100"/>
                  <a:pt x="647" y="100"/>
                  <a:pt x="647" y="100"/>
                </a:cubicBezTo>
                <a:cubicBezTo>
                  <a:pt x="648" y="102"/>
                  <a:pt x="648" y="102"/>
                  <a:pt x="648" y="102"/>
                </a:cubicBezTo>
                <a:cubicBezTo>
                  <a:pt x="648" y="100"/>
                  <a:pt x="648" y="100"/>
                  <a:pt x="648" y="100"/>
                </a:cubicBezTo>
                <a:cubicBezTo>
                  <a:pt x="648" y="98"/>
                  <a:pt x="648" y="98"/>
                  <a:pt x="648" y="98"/>
                </a:cubicBezTo>
                <a:cubicBezTo>
                  <a:pt x="649" y="98"/>
                  <a:pt x="649" y="98"/>
                  <a:pt x="649" y="98"/>
                </a:cubicBezTo>
                <a:cubicBezTo>
                  <a:pt x="650" y="100"/>
                  <a:pt x="650" y="100"/>
                  <a:pt x="650" y="100"/>
                </a:cubicBezTo>
                <a:cubicBezTo>
                  <a:pt x="652" y="102"/>
                  <a:pt x="652" y="102"/>
                  <a:pt x="652" y="102"/>
                </a:cubicBezTo>
                <a:cubicBezTo>
                  <a:pt x="652" y="104"/>
                  <a:pt x="652" y="104"/>
                  <a:pt x="652" y="104"/>
                </a:cubicBezTo>
                <a:cubicBezTo>
                  <a:pt x="653" y="104"/>
                  <a:pt x="653" y="104"/>
                  <a:pt x="653" y="104"/>
                </a:cubicBezTo>
                <a:cubicBezTo>
                  <a:pt x="655" y="107"/>
                  <a:pt x="655" y="107"/>
                  <a:pt x="655" y="107"/>
                </a:cubicBezTo>
                <a:cubicBezTo>
                  <a:pt x="655" y="106"/>
                  <a:pt x="655" y="106"/>
                  <a:pt x="655" y="106"/>
                </a:cubicBezTo>
                <a:cubicBezTo>
                  <a:pt x="654" y="104"/>
                  <a:pt x="654" y="104"/>
                  <a:pt x="654" y="104"/>
                </a:cubicBezTo>
                <a:cubicBezTo>
                  <a:pt x="653" y="103"/>
                  <a:pt x="653" y="103"/>
                  <a:pt x="653" y="103"/>
                </a:cubicBezTo>
                <a:cubicBezTo>
                  <a:pt x="653" y="102"/>
                  <a:pt x="653" y="102"/>
                  <a:pt x="653" y="102"/>
                </a:cubicBezTo>
                <a:cubicBezTo>
                  <a:pt x="654" y="103"/>
                  <a:pt x="654" y="103"/>
                  <a:pt x="654" y="103"/>
                </a:cubicBezTo>
                <a:cubicBezTo>
                  <a:pt x="655" y="103"/>
                  <a:pt x="655" y="103"/>
                  <a:pt x="655" y="103"/>
                </a:cubicBezTo>
                <a:cubicBezTo>
                  <a:pt x="657" y="104"/>
                  <a:pt x="657" y="104"/>
                  <a:pt x="657" y="104"/>
                </a:cubicBezTo>
                <a:cubicBezTo>
                  <a:pt x="658" y="106"/>
                  <a:pt x="658" y="106"/>
                  <a:pt x="658" y="106"/>
                </a:cubicBezTo>
                <a:cubicBezTo>
                  <a:pt x="658" y="104"/>
                  <a:pt x="658" y="104"/>
                  <a:pt x="658" y="104"/>
                </a:cubicBezTo>
                <a:cubicBezTo>
                  <a:pt x="656" y="101"/>
                  <a:pt x="656" y="101"/>
                  <a:pt x="656" y="101"/>
                </a:cubicBezTo>
                <a:cubicBezTo>
                  <a:pt x="656" y="98"/>
                  <a:pt x="656" y="98"/>
                  <a:pt x="656" y="98"/>
                </a:cubicBezTo>
                <a:cubicBezTo>
                  <a:pt x="656" y="96"/>
                  <a:pt x="656" y="96"/>
                  <a:pt x="656" y="96"/>
                </a:cubicBezTo>
                <a:cubicBezTo>
                  <a:pt x="657" y="94"/>
                  <a:pt x="657" y="94"/>
                  <a:pt x="657" y="94"/>
                </a:cubicBezTo>
                <a:cubicBezTo>
                  <a:pt x="660" y="94"/>
                  <a:pt x="660" y="94"/>
                  <a:pt x="660" y="94"/>
                </a:cubicBezTo>
                <a:cubicBezTo>
                  <a:pt x="661" y="93"/>
                  <a:pt x="661" y="93"/>
                  <a:pt x="661" y="93"/>
                </a:cubicBezTo>
                <a:cubicBezTo>
                  <a:pt x="663" y="92"/>
                  <a:pt x="663" y="92"/>
                  <a:pt x="663" y="92"/>
                </a:cubicBezTo>
                <a:cubicBezTo>
                  <a:pt x="663" y="91"/>
                  <a:pt x="663" y="91"/>
                  <a:pt x="663" y="91"/>
                </a:cubicBezTo>
                <a:cubicBezTo>
                  <a:pt x="663" y="91"/>
                  <a:pt x="663" y="91"/>
                  <a:pt x="663" y="91"/>
                </a:cubicBezTo>
                <a:cubicBezTo>
                  <a:pt x="664" y="91"/>
                  <a:pt x="664" y="91"/>
                  <a:pt x="664" y="91"/>
                </a:cubicBezTo>
                <a:cubicBezTo>
                  <a:pt x="665" y="92"/>
                  <a:pt x="665" y="92"/>
                  <a:pt x="665" y="92"/>
                </a:cubicBezTo>
                <a:cubicBezTo>
                  <a:pt x="667" y="92"/>
                  <a:pt x="667" y="92"/>
                  <a:pt x="667" y="92"/>
                </a:cubicBezTo>
                <a:cubicBezTo>
                  <a:pt x="668" y="92"/>
                  <a:pt x="668" y="92"/>
                  <a:pt x="668" y="92"/>
                </a:cubicBezTo>
                <a:cubicBezTo>
                  <a:pt x="670" y="90"/>
                  <a:pt x="670" y="90"/>
                  <a:pt x="670" y="90"/>
                </a:cubicBezTo>
                <a:cubicBezTo>
                  <a:pt x="671" y="91"/>
                  <a:pt x="671" y="91"/>
                  <a:pt x="671" y="91"/>
                </a:cubicBezTo>
                <a:cubicBezTo>
                  <a:pt x="673" y="90"/>
                  <a:pt x="673" y="90"/>
                  <a:pt x="673" y="90"/>
                </a:cubicBezTo>
                <a:cubicBezTo>
                  <a:pt x="676" y="90"/>
                  <a:pt x="676" y="90"/>
                  <a:pt x="676" y="90"/>
                </a:cubicBezTo>
                <a:cubicBezTo>
                  <a:pt x="677" y="89"/>
                  <a:pt x="677" y="89"/>
                  <a:pt x="677" y="89"/>
                </a:cubicBezTo>
                <a:cubicBezTo>
                  <a:pt x="678" y="89"/>
                  <a:pt x="678" y="89"/>
                  <a:pt x="678" y="89"/>
                </a:cubicBezTo>
                <a:cubicBezTo>
                  <a:pt x="678" y="90"/>
                  <a:pt x="678" y="90"/>
                  <a:pt x="678" y="90"/>
                </a:cubicBezTo>
                <a:cubicBezTo>
                  <a:pt x="679" y="91"/>
                  <a:pt x="679" y="91"/>
                  <a:pt x="679" y="91"/>
                </a:cubicBezTo>
                <a:cubicBezTo>
                  <a:pt x="679" y="90"/>
                  <a:pt x="679" y="90"/>
                  <a:pt x="679" y="90"/>
                </a:cubicBezTo>
                <a:cubicBezTo>
                  <a:pt x="681" y="88"/>
                  <a:pt x="681" y="88"/>
                  <a:pt x="681" y="88"/>
                </a:cubicBezTo>
                <a:cubicBezTo>
                  <a:pt x="680" y="87"/>
                  <a:pt x="680" y="87"/>
                  <a:pt x="680" y="87"/>
                </a:cubicBezTo>
                <a:cubicBezTo>
                  <a:pt x="680" y="85"/>
                  <a:pt x="680" y="85"/>
                  <a:pt x="680" y="85"/>
                </a:cubicBezTo>
                <a:cubicBezTo>
                  <a:pt x="681" y="84"/>
                  <a:pt x="681" y="84"/>
                  <a:pt x="681" y="84"/>
                </a:cubicBezTo>
                <a:cubicBezTo>
                  <a:pt x="681" y="83"/>
                  <a:pt x="681" y="83"/>
                  <a:pt x="681" y="83"/>
                </a:cubicBezTo>
                <a:cubicBezTo>
                  <a:pt x="683" y="83"/>
                  <a:pt x="683" y="83"/>
                  <a:pt x="683" y="83"/>
                </a:cubicBezTo>
                <a:cubicBezTo>
                  <a:pt x="684" y="85"/>
                  <a:pt x="684" y="85"/>
                  <a:pt x="684" y="85"/>
                </a:cubicBezTo>
                <a:cubicBezTo>
                  <a:pt x="684" y="86"/>
                  <a:pt x="684" y="86"/>
                  <a:pt x="684" y="86"/>
                </a:cubicBezTo>
                <a:cubicBezTo>
                  <a:pt x="686" y="86"/>
                  <a:pt x="686" y="86"/>
                  <a:pt x="686" y="86"/>
                </a:cubicBezTo>
                <a:cubicBezTo>
                  <a:pt x="687" y="87"/>
                  <a:pt x="687" y="87"/>
                  <a:pt x="687" y="87"/>
                </a:cubicBezTo>
                <a:cubicBezTo>
                  <a:pt x="687" y="88"/>
                  <a:pt x="687" y="88"/>
                  <a:pt x="687" y="88"/>
                </a:cubicBezTo>
                <a:cubicBezTo>
                  <a:pt x="689" y="90"/>
                  <a:pt x="689" y="90"/>
                  <a:pt x="689" y="90"/>
                </a:cubicBezTo>
                <a:cubicBezTo>
                  <a:pt x="690" y="91"/>
                  <a:pt x="690" y="91"/>
                  <a:pt x="690" y="91"/>
                </a:cubicBezTo>
                <a:cubicBezTo>
                  <a:pt x="691" y="91"/>
                  <a:pt x="691" y="91"/>
                  <a:pt x="691" y="91"/>
                </a:cubicBezTo>
                <a:cubicBezTo>
                  <a:pt x="694" y="91"/>
                  <a:pt x="694" y="91"/>
                  <a:pt x="694" y="91"/>
                </a:cubicBezTo>
                <a:cubicBezTo>
                  <a:pt x="695" y="91"/>
                  <a:pt x="695" y="91"/>
                  <a:pt x="695" y="91"/>
                </a:cubicBezTo>
                <a:cubicBezTo>
                  <a:pt x="696" y="91"/>
                  <a:pt x="696" y="91"/>
                  <a:pt x="696" y="91"/>
                </a:cubicBezTo>
                <a:cubicBezTo>
                  <a:pt x="698" y="94"/>
                  <a:pt x="698" y="94"/>
                  <a:pt x="698" y="94"/>
                </a:cubicBezTo>
                <a:cubicBezTo>
                  <a:pt x="698" y="95"/>
                  <a:pt x="698" y="95"/>
                  <a:pt x="698" y="95"/>
                </a:cubicBezTo>
                <a:cubicBezTo>
                  <a:pt x="699" y="96"/>
                  <a:pt x="699" y="96"/>
                  <a:pt x="699" y="96"/>
                </a:cubicBezTo>
                <a:cubicBezTo>
                  <a:pt x="701" y="96"/>
                  <a:pt x="701" y="96"/>
                  <a:pt x="701" y="96"/>
                </a:cubicBezTo>
                <a:cubicBezTo>
                  <a:pt x="702" y="96"/>
                  <a:pt x="702" y="96"/>
                  <a:pt x="702" y="96"/>
                </a:cubicBezTo>
                <a:cubicBezTo>
                  <a:pt x="703" y="95"/>
                  <a:pt x="703" y="95"/>
                  <a:pt x="703" y="95"/>
                </a:cubicBezTo>
                <a:cubicBezTo>
                  <a:pt x="703" y="94"/>
                  <a:pt x="703" y="94"/>
                  <a:pt x="703" y="94"/>
                </a:cubicBezTo>
                <a:cubicBezTo>
                  <a:pt x="705" y="93"/>
                  <a:pt x="705" y="93"/>
                  <a:pt x="705" y="93"/>
                </a:cubicBezTo>
                <a:cubicBezTo>
                  <a:pt x="705" y="94"/>
                  <a:pt x="705" y="94"/>
                  <a:pt x="705" y="94"/>
                </a:cubicBezTo>
                <a:cubicBezTo>
                  <a:pt x="706" y="93"/>
                  <a:pt x="706" y="93"/>
                  <a:pt x="706" y="93"/>
                </a:cubicBezTo>
                <a:cubicBezTo>
                  <a:pt x="705" y="92"/>
                  <a:pt x="705" y="92"/>
                  <a:pt x="705" y="92"/>
                </a:cubicBezTo>
                <a:cubicBezTo>
                  <a:pt x="706" y="92"/>
                  <a:pt x="706" y="92"/>
                  <a:pt x="706" y="92"/>
                </a:cubicBezTo>
                <a:cubicBezTo>
                  <a:pt x="705" y="91"/>
                  <a:pt x="705" y="91"/>
                  <a:pt x="705" y="91"/>
                </a:cubicBezTo>
                <a:cubicBezTo>
                  <a:pt x="705" y="90"/>
                  <a:pt x="705" y="90"/>
                  <a:pt x="705" y="90"/>
                </a:cubicBezTo>
                <a:cubicBezTo>
                  <a:pt x="704" y="88"/>
                  <a:pt x="704" y="88"/>
                  <a:pt x="704" y="88"/>
                </a:cubicBezTo>
                <a:cubicBezTo>
                  <a:pt x="702" y="88"/>
                  <a:pt x="702" y="88"/>
                  <a:pt x="702" y="88"/>
                </a:cubicBezTo>
                <a:cubicBezTo>
                  <a:pt x="702" y="86"/>
                  <a:pt x="702" y="86"/>
                  <a:pt x="702" y="86"/>
                </a:cubicBezTo>
                <a:cubicBezTo>
                  <a:pt x="700" y="83"/>
                  <a:pt x="700" y="83"/>
                  <a:pt x="700" y="83"/>
                </a:cubicBezTo>
                <a:cubicBezTo>
                  <a:pt x="699" y="83"/>
                  <a:pt x="699" y="83"/>
                  <a:pt x="699" y="83"/>
                </a:cubicBezTo>
                <a:cubicBezTo>
                  <a:pt x="698" y="82"/>
                  <a:pt x="698" y="82"/>
                  <a:pt x="698" y="82"/>
                </a:cubicBezTo>
                <a:cubicBezTo>
                  <a:pt x="696" y="81"/>
                  <a:pt x="696" y="81"/>
                  <a:pt x="696" y="81"/>
                </a:cubicBezTo>
                <a:cubicBezTo>
                  <a:pt x="695" y="82"/>
                  <a:pt x="695" y="82"/>
                  <a:pt x="695" y="82"/>
                </a:cubicBezTo>
                <a:cubicBezTo>
                  <a:pt x="694" y="82"/>
                  <a:pt x="694" y="82"/>
                  <a:pt x="694" y="82"/>
                </a:cubicBezTo>
                <a:cubicBezTo>
                  <a:pt x="694" y="81"/>
                  <a:pt x="694" y="81"/>
                  <a:pt x="694" y="81"/>
                </a:cubicBezTo>
                <a:cubicBezTo>
                  <a:pt x="695" y="80"/>
                  <a:pt x="695" y="80"/>
                  <a:pt x="695" y="80"/>
                </a:cubicBezTo>
                <a:cubicBezTo>
                  <a:pt x="694" y="78"/>
                  <a:pt x="694" y="78"/>
                  <a:pt x="694" y="78"/>
                </a:cubicBezTo>
                <a:cubicBezTo>
                  <a:pt x="693" y="77"/>
                  <a:pt x="693" y="77"/>
                  <a:pt x="693" y="77"/>
                </a:cubicBezTo>
                <a:cubicBezTo>
                  <a:pt x="693" y="76"/>
                  <a:pt x="693" y="76"/>
                  <a:pt x="693" y="76"/>
                </a:cubicBezTo>
                <a:cubicBezTo>
                  <a:pt x="692" y="74"/>
                  <a:pt x="692" y="74"/>
                  <a:pt x="692" y="74"/>
                </a:cubicBezTo>
                <a:cubicBezTo>
                  <a:pt x="690" y="73"/>
                  <a:pt x="690" y="73"/>
                  <a:pt x="690" y="73"/>
                </a:cubicBezTo>
                <a:cubicBezTo>
                  <a:pt x="690" y="72"/>
                  <a:pt x="690" y="72"/>
                  <a:pt x="690" y="72"/>
                </a:cubicBezTo>
                <a:cubicBezTo>
                  <a:pt x="693" y="72"/>
                  <a:pt x="693" y="72"/>
                  <a:pt x="693" y="72"/>
                </a:cubicBezTo>
                <a:cubicBezTo>
                  <a:pt x="694" y="72"/>
                  <a:pt x="694" y="72"/>
                  <a:pt x="694" y="72"/>
                </a:cubicBezTo>
                <a:cubicBezTo>
                  <a:pt x="697" y="72"/>
                  <a:pt x="697" y="72"/>
                  <a:pt x="697" y="72"/>
                </a:cubicBezTo>
                <a:cubicBezTo>
                  <a:pt x="700" y="72"/>
                  <a:pt x="700" y="72"/>
                  <a:pt x="700" y="72"/>
                </a:cubicBezTo>
                <a:cubicBezTo>
                  <a:pt x="700" y="71"/>
                  <a:pt x="700" y="71"/>
                  <a:pt x="700" y="71"/>
                </a:cubicBezTo>
                <a:cubicBezTo>
                  <a:pt x="702" y="71"/>
                  <a:pt x="702" y="71"/>
                  <a:pt x="702" y="71"/>
                </a:cubicBezTo>
                <a:cubicBezTo>
                  <a:pt x="703" y="72"/>
                  <a:pt x="703" y="72"/>
                  <a:pt x="703" y="72"/>
                </a:cubicBezTo>
                <a:cubicBezTo>
                  <a:pt x="704" y="71"/>
                  <a:pt x="704" y="71"/>
                  <a:pt x="704" y="71"/>
                </a:cubicBezTo>
                <a:cubicBezTo>
                  <a:pt x="705" y="71"/>
                  <a:pt x="705" y="71"/>
                  <a:pt x="705" y="71"/>
                </a:cubicBezTo>
                <a:cubicBezTo>
                  <a:pt x="705" y="70"/>
                  <a:pt x="705" y="70"/>
                  <a:pt x="705" y="70"/>
                </a:cubicBezTo>
                <a:cubicBezTo>
                  <a:pt x="707" y="70"/>
                  <a:pt x="707" y="70"/>
                  <a:pt x="707" y="70"/>
                </a:cubicBezTo>
                <a:cubicBezTo>
                  <a:pt x="708" y="71"/>
                  <a:pt x="708" y="71"/>
                  <a:pt x="708" y="71"/>
                </a:cubicBezTo>
                <a:cubicBezTo>
                  <a:pt x="708" y="71"/>
                  <a:pt x="708" y="71"/>
                  <a:pt x="708" y="71"/>
                </a:cubicBezTo>
                <a:cubicBezTo>
                  <a:pt x="709" y="69"/>
                  <a:pt x="709" y="69"/>
                  <a:pt x="709" y="69"/>
                </a:cubicBezTo>
                <a:cubicBezTo>
                  <a:pt x="710" y="70"/>
                  <a:pt x="710" y="70"/>
                  <a:pt x="710" y="70"/>
                </a:cubicBezTo>
                <a:cubicBezTo>
                  <a:pt x="710" y="69"/>
                  <a:pt x="710" y="69"/>
                  <a:pt x="710" y="69"/>
                </a:cubicBezTo>
                <a:cubicBezTo>
                  <a:pt x="715" y="67"/>
                  <a:pt x="715" y="67"/>
                  <a:pt x="715" y="67"/>
                </a:cubicBezTo>
                <a:cubicBezTo>
                  <a:pt x="716" y="69"/>
                  <a:pt x="716" y="69"/>
                  <a:pt x="716" y="69"/>
                </a:cubicBezTo>
                <a:cubicBezTo>
                  <a:pt x="716" y="68"/>
                  <a:pt x="716" y="68"/>
                  <a:pt x="716" y="68"/>
                </a:cubicBezTo>
                <a:cubicBezTo>
                  <a:pt x="717" y="66"/>
                  <a:pt x="717" y="66"/>
                  <a:pt x="717" y="66"/>
                </a:cubicBezTo>
                <a:cubicBezTo>
                  <a:pt x="717" y="67"/>
                  <a:pt x="717" y="67"/>
                  <a:pt x="717" y="67"/>
                </a:cubicBezTo>
                <a:cubicBezTo>
                  <a:pt x="719" y="67"/>
                  <a:pt x="719" y="67"/>
                  <a:pt x="719" y="67"/>
                </a:cubicBezTo>
                <a:cubicBezTo>
                  <a:pt x="720" y="66"/>
                  <a:pt x="720" y="66"/>
                  <a:pt x="720" y="66"/>
                </a:cubicBezTo>
                <a:cubicBezTo>
                  <a:pt x="721" y="67"/>
                  <a:pt x="721" y="67"/>
                  <a:pt x="721" y="67"/>
                </a:cubicBezTo>
                <a:cubicBezTo>
                  <a:pt x="723" y="67"/>
                  <a:pt x="723" y="67"/>
                  <a:pt x="723" y="67"/>
                </a:cubicBezTo>
                <a:cubicBezTo>
                  <a:pt x="724" y="67"/>
                  <a:pt x="724" y="67"/>
                  <a:pt x="724" y="67"/>
                </a:cubicBezTo>
                <a:cubicBezTo>
                  <a:pt x="725" y="68"/>
                  <a:pt x="725" y="68"/>
                  <a:pt x="725" y="68"/>
                </a:cubicBezTo>
                <a:cubicBezTo>
                  <a:pt x="726" y="68"/>
                  <a:pt x="726" y="68"/>
                  <a:pt x="726" y="68"/>
                </a:cubicBezTo>
                <a:cubicBezTo>
                  <a:pt x="727" y="67"/>
                  <a:pt x="727" y="67"/>
                  <a:pt x="727" y="67"/>
                </a:cubicBezTo>
                <a:cubicBezTo>
                  <a:pt x="729" y="67"/>
                  <a:pt x="729" y="67"/>
                  <a:pt x="729" y="67"/>
                </a:cubicBezTo>
                <a:cubicBezTo>
                  <a:pt x="733" y="68"/>
                  <a:pt x="733" y="68"/>
                  <a:pt x="733" y="68"/>
                </a:cubicBezTo>
                <a:cubicBezTo>
                  <a:pt x="734" y="69"/>
                  <a:pt x="734" y="69"/>
                  <a:pt x="734" y="69"/>
                </a:cubicBezTo>
                <a:cubicBezTo>
                  <a:pt x="735" y="69"/>
                  <a:pt x="735" y="69"/>
                  <a:pt x="735" y="69"/>
                </a:cubicBezTo>
                <a:cubicBezTo>
                  <a:pt x="734" y="68"/>
                  <a:pt x="734" y="68"/>
                  <a:pt x="734" y="68"/>
                </a:cubicBezTo>
                <a:cubicBezTo>
                  <a:pt x="736" y="68"/>
                  <a:pt x="736" y="68"/>
                  <a:pt x="736" y="68"/>
                </a:cubicBezTo>
                <a:cubicBezTo>
                  <a:pt x="737" y="69"/>
                  <a:pt x="737" y="69"/>
                  <a:pt x="737" y="69"/>
                </a:cubicBezTo>
                <a:cubicBezTo>
                  <a:pt x="736" y="69"/>
                  <a:pt x="736" y="69"/>
                  <a:pt x="736" y="69"/>
                </a:cubicBezTo>
                <a:cubicBezTo>
                  <a:pt x="737" y="70"/>
                  <a:pt x="737" y="70"/>
                  <a:pt x="737" y="70"/>
                </a:cubicBezTo>
                <a:cubicBezTo>
                  <a:pt x="739" y="69"/>
                  <a:pt x="739" y="69"/>
                  <a:pt x="739" y="69"/>
                </a:cubicBezTo>
                <a:cubicBezTo>
                  <a:pt x="743" y="70"/>
                  <a:pt x="743" y="70"/>
                  <a:pt x="743" y="70"/>
                </a:cubicBezTo>
                <a:cubicBezTo>
                  <a:pt x="746" y="72"/>
                  <a:pt x="746" y="72"/>
                  <a:pt x="746" y="72"/>
                </a:cubicBezTo>
                <a:cubicBezTo>
                  <a:pt x="746" y="73"/>
                  <a:pt x="746" y="73"/>
                  <a:pt x="746" y="73"/>
                </a:cubicBezTo>
                <a:cubicBezTo>
                  <a:pt x="745" y="72"/>
                  <a:pt x="745" y="72"/>
                  <a:pt x="745" y="72"/>
                </a:cubicBezTo>
                <a:cubicBezTo>
                  <a:pt x="743" y="71"/>
                  <a:pt x="743" y="71"/>
                  <a:pt x="743" y="71"/>
                </a:cubicBezTo>
                <a:cubicBezTo>
                  <a:pt x="743" y="72"/>
                  <a:pt x="743" y="72"/>
                  <a:pt x="743" y="72"/>
                </a:cubicBezTo>
                <a:cubicBezTo>
                  <a:pt x="747" y="73"/>
                  <a:pt x="747" y="73"/>
                  <a:pt x="747" y="73"/>
                </a:cubicBezTo>
                <a:cubicBezTo>
                  <a:pt x="748" y="73"/>
                  <a:pt x="748" y="73"/>
                  <a:pt x="748" y="73"/>
                </a:cubicBezTo>
                <a:cubicBezTo>
                  <a:pt x="749" y="72"/>
                  <a:pt x="749" y="72"/>
                  <a:pt x="749" y="72"/>
                </a:cubicBezTo>
                <a:cubicBezTo>
                  <a:pt x="751" y="72"/>
                  <a:pt x="751" y="72"/>
                  <a:pt x="751" y="72"/>
                </a:cubicBezTo>
                <a:cubicBezTo>
                  <a:pt x="752" y="72"/>
                  <a:pt x="752" y="72"/>
                  <a:pt x="752" y="72"/>
                </a:cubicBezTo>
                <a:cubicBezTo>
                  <a:pt x="752" y="71"/>
                  <a:pt x="752" y="71"/>
                  <a:pt x="752" y="71"/>
                </a:cubicBezTo>
                <a:cubicBezTo>
                  <a:pt x="753" y="71"/>
                  <a:pt x="753" y="71"/>
                  <a:pt x="753" y="71"/>
                </a:cubicBezTo>
                <a:cubicBezTo>
                  <a:pt x="754" y="72"/>
                  <a:pt x="754" y="72"/>
                  <a:pt x="754" y="72"/>
                </a:cubicBezTo>
                <a:cubicBezTo>
                  <a:pt x="755" y="72"/>
                  <a:pt x="755" y="72"/>
                  <a:pt x="755" y="72"/>
                </a:cubicBezTo>
                <a:cubicBezTo>
                  <a:pt x="756" y="72"/>
                  <a:pt x="756" y="72"/>
                  <a:pt x="756" y="72"/>
                </a:cubicBezTo>
                <a:cubicBezTo>
                  <a:pt x="756" y="72"/>
                  <a:pt x="756" y="72"/>
                  <a:pt x="756" y="72"/>
                </a:cubicBezTo>
                <a:cubicBezTo>
                  <a:pt x="756" y="71"/>
                  <a:pt x="756" y="71"/>
                  <a:pt x="756" y="71"/>
                </a:cubicBezTo>
                <a:cubicBezTo>
                  <a:pt x="758" y="72"/>
                  <a:pt x="758" y="72"/>
                  <a:pt x="758" y="72"/>
                </a:cubicBezTo>
                <a:cubicBezTo>
                  <a:pt x="758" y="73"/>
                  <a:pt x="758" y="73"/>
                  <a:pt x="758" y="73"/>
                </a:cubicBezTo>
                <a:cubicBezTo>
                  <a:pt x="760" y="73"/>
                  <a:pt x="760" y="73"/>
                  <a:pt x="760" y="73"/>
                </a:cubicBezTo>
                <a:cubicBezTo>
                  <a:pt x="761" y="73"/>
                  <a:pt x="761" y="73"/>
                  <a:pt x="761" y="73"/>
                </a:cubicBezTo>
                <a:cubicBezTo>
                  <a:pt x="767" y="74"/>
                  <a:pt x="767" y="74"/>
                  <a:pt x="767" y="74"/>
                </a:cubicBezTo>
                <a:cubicBezTo>
                  <a:pt x="766" y="73"/>
                  <a:pt x="766" y="73"/>
                  <a:pt x="766" y="73"/>
                </a:cubicBezTo>
                <a:cubicBezTo>
                  <a:pt x="768" y="73"/>
                  <a:pt x="768" y="73"/>
                  <a:pt x="768" y="73"/>
                </a:cubicBezTo>
                <a:cubicBezTo>
                  <a:pt x="769" y="74"/>
                  <a:pt x="769" y="74"/>
                  <a:pt x="769" y="74"/>
                </a:cubicBezTo>
                <a:cubicBezTo>
                  <a:pt x="770" y="74"/>
                  <a:pt x="770" y="74"/>
                  <a:pt x="770" y="74"/>
                </a:cubicBezTo>
                <a:cubicBezTo>
                  <a:pt x="769" y="73"/>
                  <a:pt x="769" y="73"/>
                  <a:pt x="769" y="73"/>
                </a:cubicBezTo>
                <a:cubicBezTo>
                  <a:pt x="770" y="73"/>
                  <a:pt x="770" y="73"/>
                  <a:pt x="770" y="73"/>
                </a:cubicBezTo>
                <a:cubicBezTo>
                  <a:pt x="772" y="73"/>
                  <a:pt x="772" y="73"/>
                  <a:pt x="772" y="73"/>
                </a:cubicBezTo>
                <a:cubicBezTo>
                  <a:pt x="771" y="74"/>
                  <a:pt x="771" y="74"/>
                  <a:pt x="771" y="74"/>
                </a:cubicBezTo>
                <a:cubicBezTo>
                  <a:pt x="772" y="75"/>
                  <a:pt x="772" y="75"/>
                  <a:pt x="772" y="75"/>
                </a:cubicBezTo>
                <a:cubicBezTo>
                  <a:pt x="774" y="75"/>
                  <a:pt x="774" y="75"/>
                  <a:pt x="774" y="75"/>
                </a:cubicBezTo>
                <a:cubicBezTo>
                  <a:pt x="774" y="74"/>
                  <a:pt x="774" y="74"/>
                  <a:pt x="774" y="74"/>
                </a:cubicBezTo>
                <a:cubicBezTo>
                  <a:pt x="774" y="74"/>
                  <a:pt x="774" y="74"/>
                  <a:pt x="774" y="74"/>
                </a:cubicBezTo>
                <a:cubicBezTo>
                  <a:pt x="776" y="74"/>
                  <a:pt x="776" y="74"/>
                  <a:pt x="776" y="74"/>
                </a:cubicBezTo>
                <a:cubicBezTo>
                  <a:pt x="776" y="74"/>
                  <a:pt x="776" y="74"/>
                  <a:pt x="776" y="74"/>
                </a:cubicBezTo>
                <a:cubicBezTo>
                  <a:pt x="776" y="75"/>
                  <a:pt x="776" y="75"/>
                  <a:pt x="776" y="75"/>
                </a:cubicBezTo>
                <a:cubicBezTo>
                  <a:pt x="777" y="76"/>
                  <a:pt x="777" y="76"/>
                  <a:pt x="777" y="76"/>
                </a:cubicBezTo>
                <a:cubicBezTo>
                  <a:pt x="779" y="77"/>
                  <a:pt x="779" y="77"/>
                  <a:pt x="779" y="77"/>
                </a:cubicBezTo>
                <a:cubicBezTo>
                  <a:pt x="781" y="76"/>
                  <a:pt x="781" y="76"/>
                  <a:pt x="781" y="76"/>
                </a:cubicBezTo>
                <a:cubicBezTo>
                  <a:pt x="779" y="76"/>
                  <a:pt x="779" y="76"/>
                  <a:pt x="779" y="76"/>
                </a:cubicBezTo>
                <a:cubicBezTo>
                  <a:pt x="777" y="75"/>
                  <a:pt x="777" y="75"/>
                  <a:pt x="777" y="75"/>
                </a:cubicBezTo>
                <a:cubicBezTo>
                  <a:pt x="777" y="74"/>
                  <a:pt x="777" y="74"/>
                  <a:pt x="777" y="74"/>
                </a:cubicBezTo>
                <a:cubicBezTo>
                  <a:pt x="778" y="74"/>
                  <a:pt x="778" y="74"/>
                  <a:pt x="778" y="74"/>
                </a:cubicBezTo>
                <a:cubicBezTo>
                  <a:pt x="780" y="74"/>
                  <a:pt x="780" y="74"/>
                  <a:pt x="780" y="74"/>
                </a:cubicBezTo>
                <a:cubicBezTo>
                  <a:pt x="782" y="75"/>
                  <a:pt x="782" y="75"/>
                  <a:pt x="782" y="75"/>
                </a:cubicBezTo>
                <a:cubicBezTo>
                  <a:pt x="783" y="77"/>
                  <a:pt x="783" y="77"/>
                  <a:pt x="783" y="77"/>
                </a:cubicBezTo>
                <a:cubicBezTo>
                  <a:pt x="784" y="77"/>
                  <a:pt x="784" y="77"/>
                  <a:pt x="784" y="77"/>
                </a:cubicBezTo>
                <a:cubicBezTo>
                  <a:pt x="784" y="76"/>
                  <a:pt x="784" y="76"/>
                  <a:pt x="784" y="76"/>
                </a:cubicBezTo>
                <a:cubicBezTo>
                  <a:pt x="784" y="76"/>
                  <a:pt x="784" y="76"/>
                  <a:pt x="784" y="76"/>
                </a:cubicBezTo>
                <a:cubicBezTo>
                  <a:pt x="785" y="76"/>
                  <a:pt x="785" y="76"/>
                  <a:pt x="785" y="76"/>
                </a:cubicBezTo>
                <a:cubicBezTo>
                  <a:pt x="785" y="77"/>
                  <a:pt x="785" y="77"/>
                  <a:pt x="785" y="77"/>
                </a:cubicBezTo>
                <a:cubicBezTo>
                  <a:pt x="785" y="77"/>
                  <a:pt x="785" y="77"/>
                  <a:pt x="785" y="77"/>
                </a:cubicBezTo>
                <a:cubicBezTo>
                  <a:pt x="786" y="79"/>
                  <a:pt x="786" y="79"/>
                  <a:pt x="786" y="79"/>
                </a:cubicBezTo>
                <a:cubicBezTo>
                  <a:pt x="788" y="82"/>
                  <a:pt x="788" y="82"/>
                  <a:pt x="788" y="82"/>
                </a:cubicBezTo>
                <a:cubicBezTo>
                  <a:pt x="791" y="83"/>
                  <a:pt x="791" y="83"/>
                  <a:pt x="791" y="83"/>
                </a:cubicBezTo>
                <a:cubicBezTo>
                  <a:pt x="791" y="84"/>
                  <a:pt x="791" y="84"/>
                  <a:pt x="791" y="84"/>
                </a:cubicBezTo>
                <a:cubicBezTo>
                  <a:pt x="792" y="85"/>
                  <a:pt x="792" y="85"/>
                  <a:pt x="792" y="85"/>
                </a:cubicBezTo>
                <a:cubicBezTo>
                  <a:pt x="793" y="87"/>
                  <a:pt x="793" y="87"/>
                  <a:pt x="793" y="87"/>
                </a:cubicBezTo>
                <a:cubicBezTo>
                  <a:pt x="792" y="87"/>
                  <a:pt x="792" y="87"/>
                  <a:pt x="792" y="87"/>
                </a:cubicBezTo>
                <a:cubicBezTo>
                  <a:pt x="793" y="89"/>
                  <a:pt x="793" y="89"/>
                  <a:pt x="793" y="89"/>
                </a:cubicBezTo>
                <a:cubicBezTo>
                  <a:pt x="794" y="89"/>
                  <a:pt x="794" y="89"/>
                  <a:pt x="794" y="89"/>
                </a:cubicBezTo>
                <a:cubicBezTo>
                  <a:pt x="795" y="88"/>
                  <a:pt x="795" y="88"/>
                  <a:pt x="795" y="88"/>
                </a:cubicBezTo>
                <a:cubicBezTo>
                  <a:pt x="797" y="88"/>
                  <a:pt x="797" y="88"/>
                  <a:pt x="797" y="88"/>
                </a:cubicBezTo>
                <a:cubicBezTo>
                  <a:pt x="798" y="90"/>
                  <a:pt x="798" y="90"/>
                  <a:pt x="798" y="90"/>
                </a:cubicBezTo>
                <a:cubicBezTo>
                  <a:pt x="799" y="90"/>
                  <a:pt x="799" y="90"/>
                  <a:pt x="799" y="90"/>
                </a:cubicBezTo>
                <a:cubicBezTo>
                  <a:pt x="799" y="90"/>
                  <a:pt x="799" y="90"/>
                  <a:pt x="799" y="90"/>
                </a:cubicBezTo>
                <a:cubicBezTo>
                  <a:pt x="798" y="89"/>
                  <a:pt x="798" y="89"/>
                  <a:pt x="798" y="89"/>
                </a:cubicBezTo>
                <a:cubicBezTo>
                  <a:pt x="798" y="88"/>
                  <a:pt x="798" y="88"/>
                  <a:pt x="798" y="88"/>
                </a:cubicBezTo>
                <a:cubicBezTo>
                  <a:pt x="799" y="87"/>
                  <a:pt x="799" y="87"/>
                  <a:pt x="799" y="87"/>
                </a:cubicBezTo>
                <a:cubicBezTo>
                  <a:pt x="799" y="87"/>
                  <a:pt x="799" y="87"/>
                  <a:pt x="799" y="87"/>
                </a:cubicBezTo>
                <a:cubicBezTo>
                  <a:pt x="800" y="89"/>
                  <a:pt x="800" y="89"/>
                  <a:pt x="800" y="89"/>
                </a:cubicBezTo>
                <a:cubicBezTo>
                  <a:pt x="801" y="90"/>
                  <a:pt x="801" y="90"/>
                  <a:pt x="801" y="90"/>
                </a:cubicBezTo>
                <a:cubicBezTo>
                  <a:pt x="801" y="90"/>
                  <a:pt x="801" y="90"/>
                  <a:pt x="801" y="90"/>
                </a:cubicBezTo>
                <a:cubicBezTo>
                  <a:pt x="800" y="88"/>
                  <a:pt x="800" y="88"/>
                  <a:pt x="800" y="88"/>
                </a:cubicBezTo>
                <a:cubicBezTo>
                  <a:pt x="800" y="86"/>
                  <a:pt x="800" y="86"/>
                  <a:pt x="800" y="86"/>
                </a:cubicBezTo>
                <a:cubicBezTo>
                  <a:pt x="799" y="85"/>
                  <a:pt x="799" y="85"/>
                  <a:pt x="799" y="85"/>
                </a:cubicBezTo>
                <a:cubicBezTo>
                  <a:pt x="798" y="86"/>
                  <a:pt x="798" y="86"/>
                  <a:pt x="798" y="86"/>
                </a:cubicBezTo>
                <a:cubicBezTo>
                  <a:pt x="796" y="87"/>
                  <a:pt x="796" y="87"/>
                  <a:pt x="796" y="87"/>
                </a:cubicBezTo>
                <a:cubicBezTo>
                  <a:pt x="796" y="86"/>
                  <a:pt x="796" y="86"/>
                  <a:pt x="796" y="86"/>
                </a:cubicBezTo>
                <a:cubicBezTo>
                  <a:pt x="797" y="85"/>
                  <a:pt x="797" y="85"/>
                  <a:pt x="797" y="85"/>
                </a:cubicBezTo>
                <a:cubicBezTo>
                  <a:pt x="796" y="83"/>
                  <a:pt x="796" y="83"/>
                  <a:pt x="796" y="83"/>
                </a:cubicBezTo>
                <a:cubicBezTo>
                  <a:pt x="794" y="82"/>
                  <a:pt x="794" y="82"/>
                  <a:pt x="794" y="82"/>
                </a:cubicBezTo>
                <a:cubicBezTo>
                  <a:pt x="793" y="80"/>
                  <a:pt x="793" y="80"/>
                  <a:pt x="793" y="80"/>
                </a:cubicBezTo>
                <a:cubicBezTo>
                  <a:pt x="792" y="79"/>
                  <a:pt x="792" y="79"/>
                  <a:pt x="792" y="79"/>
                </a:cubicBezTo>
                <a:cubicBezTo>
                  <a:pt x="792" y="79"/>
                  <a:pt x="792" y="79"/>
                  <a:pt x="792" y="79"/>
                </a:cubicBezTo>
                <a:cubicBezTo>
                  <a:pt x="790" y="80"/>
                  <a:pt x="790" y="80"/>
                  <a:pt x="790" y="80"/>
                </a:cubicBezTo>
                <a:cubicBezTo>
                  <a:pt x="790" y="80"/>
                  <a:pt x="790" y="80"/>
                  <a:pt x="790" y="80"/>
                </a:cubicBezTo>
                <a:cubicBezTo>
                  <a:pt x="791" y="79"/>
                  <a:pt x="791" y="79"/>
                  <a:pt x="791" y="79"/>
                </a:cubicBezTo>
                <a:cubicBezTo>
                  <a:pt x="792" y="77"/>
                  <a:pt x="792" y="77"/>
                  <a:pt x="792" y="77"/>
                </a:cubicBezTo>
                <a:cubicBezTo>
                  <a:pt x="794" y="75"/>
                  <a:pt x="794" y="75"/>
                  <a:pt x="794" y="75"/>
                </a:cubicBezTo>
                <a:cubicBezTo>
                  <a:pt x="794" y="74"/>
                  <a:pt x="794" y="74"/>
                  <a:pt x="794" y="74"/>
                </a:cubicBezTo>
                <a:cubicBezTo>
                  <a:pt x="794" y="75"/>
                  <a:pt x="794" y="75"/>
                  <a:pt x="794" y="75"/>
                </a:cubicBezTo>
                <a:cubicBezTo>
                  <a:pt x="795" y="77"/>
                  <a:pt x="795" y="77"/>
                  <a:pt x="795" y="77"/>
                </a:cubicBezTo>
                <a:cubicBezTo>
                  <a:pt x="796" y="78"/>
                  <a:pt x="796" y="78"/>
                  <a:pt x="796" y="78"/>
                </a:cubicBezTo>
                <a:cubicBezTo>
                  <a:pt x="797" y="77"/>
                  <a:pt x="797" y="77"/>
                  <a:pt x="797" y="77"/>
                </a:cubicBezTo>
                <a:cubicBezTo>
                  <a:pt x="796" y="76"/>
                  <a:pt x="796" y="76"/>
                  <a:pt x="796" y="76"/>
                </a:cubicBezTo>
                <a:cubicBezTo>
                  <a:pt x="795" y="75"/>
                  <a:pt x="795" y="75"/>
                  <a:pt x="795" y="75"/>
                </a:cubicBezTo>
                <a:cubicBezTo>
                  <a:pt x="796" y="75"/>
                  <a:pt x="796" y="75"/>
                  <a:pt x="796" y="75"/>
                </a:cubicBezTo>
                <a:cubicBezTo>
                  <a:pt x="797" y="74"/>
                  <a:pt x="797" y="74"/>
                  <a:pt x="797" y="74"/>
                </a:cubicBezTo>
                <a:cubicBezTo>
                  <a:pt x="798" y="73"/>
                  <a:pt x="798" y="73"/>
                  <a:pt x="798" y="73"/>
                </a:cubicBezTo>
                <a:cubicBezTo>
                  <a:pt x="796" y="73"/>
                  <a:pt x="796" y="73"/>
                  <a:pt x="796" y="73"/>
                </a:cubicBezTo>
                <a:cubicBezTo>
                  <a:pt x="797" y="73"/>
                  <a:pt x="797" y="73"/>
                  <a:pt x="797" y="73"/>
                </a:cubicBezTo>
                <a:cubicBezTo>
                  <a:pt x="797" y="72"/>
                  <a:pt x="797" y="72"/>
                  <a:pt x="797" y="72"/>
                </a:cubicBezTo>
                <a:cubicBezTo>
                  <a:pt x="799" y="72"/>
                  <a:pt x="799" y="72"/>
                  <a:pt x="799" y="72"/>
                </a:cubicBezTo>
                <a:cubicBezTo>
                  <a:pt x="800" y="70"/>
                  <a:pt x="800" y="70"/>
                  <a:pt x="800" y="70"/>
                </a:cubicBezTo>
                <a:cubicBezTo>
                  <a:pt x="801" y="70"/>
                  <a:pt x="801" y="70"/>
                  <a:pt x="801" y="70"/>
                </a:cubicBezTo>
                <a:cubicBezTo>
                  <a:pt x="801" y="71"/>
                  <a:pt x="801" y="71"/>
                  <a:pt x="801" y="71"/>
                </a:cubicBezTo>
                <a:cubicBezTo>
                  <a:pt x="802" y="71"/>
                  <a:pt x="802" y="71"/>
                  <a:pt x="802" y="71"/>
                </a:cubicBezTo>
                <a:cubicBezTo>
                  <a:pt x="803" y="71"/>
                  <a:pt x="803" y="71"/>
                  <a:pt x="803" y="71"/>
                </a:cubicBezTo>
                <a:cubicBezTo>
                  <a:pt x="803" y="72"/>
                  <a:pt x="803" y="72"/>
                  <a:pt x="803" y="72"/>
                </a:cubicBezTo>
                <a:cubicBezTo>
                  <a:pt x="804" y="73"/>
                  <a:pt x="804" y="73"/>
                  <a:pt x="804" y="73"/>
                </a:cubicBezTo>
                <a:cubicBezTo>
                  <a:pt x="806" y="73"/>
                  <a:pt x="806" y="73"/>
                  <a:pt x="806" y="73"/>
                </a:cubicBezTo>
                <a:cubicBezTo>
                  <a:pt x="807" y="73"/>
                  <a:pt x="807" y="73"/>
                  <a:pt x="807" y="73"/>
                </a:cubicBezTo>
                <a:cubicBezTo>
                  <a:pt x="811" y="73"/>
                  <a:pt x="811" y="73"/>
                  <a:pt x="811" y="73"/>
                </a:cubicBezTo>
                <a:cubicBezTo>
                  <a:pt x="811" y="75"/>
                  <a:pt x="811" y="75"/>
                  <a:pt x="811" y="75"/>
                </a:cubicBezTo>
                <a:cubicBezTo>
                  <a:pt x="811" y="75"/>
                  <a:pt x="811" y="75"/>
                  <a:pt x="811" y="75"/>
                </a:cubicBezTo>
                <a:cubicBezTo>
                  <a:pt x="812" y="75"/>
                  <a:pt x="812" y="75"/>
                  <a:pt x="812" y="75"/>
                </a:cubicBezTo>
                <a:cubicBezTo>
                  <a:pt x="812" y="74"/>
                  <a:pt x="812" y="74"/>
                  <a:pt x="812" y="74"/>
                </a:cubicBezTo>
                <a:cubicBezTo>
                  <a:pt x="813" y="74"/>
                  <a:pt x="813" y="74"/>
                  <a:pt x="813" y="74"/>
                </a:cubicBezTo>
                <a:cubicBezTo>
                  <a:pt x="813" y="76"/>
                  <a:pt x="813" y="76"/>
                  <a:pt x="813" y="76"/>
                </a:cubicBezTo>
                <a:cubicBezTo>
                  <a:pt x="814" y="75"/>
                  <a:pt x="814" y="75"/>
                  <a:pt x="814" y="75"/>
                </a:cubicBezTo>
                <a:cubicBezTo>
                  <a:pt x="815" y="74"/>
                  <a:pt x="815" y="74"/>
                  <a:pt x="815" y="74"/>
                </a:cubicBezTo>
                <a:cubicBezTo>
                  <a:pt x="816" y="74"/>
                  <a:pt x="816" y="74"/>
                  <a:pt x="816" y="74"/>
                </a:cubicBezTo>
                <a:cubicBezTo>
                  <a:pt x="816" y="75"/>
                  <a:pt x="816" y="75"/>
                  <a:pt x="816" y="75"/>
                </a:cubicBezTo>
                <a:cubicBezTo>
                  <a:pt x="816" y="76"/>
                  <a:pt x="816" y="76"/>
                  <a:pt x="816" y="76"/>
                </a:cubicBezTo>
                <a:cubicBezTo>
                  <a:pt x="815" y="77"/>
                  <a:pt x="815" y="77"/>
                  <a:pt x="815" y="77"/>
                </a:cubicBezTo>
                <a:cubicBezTo>
                  <a:pt x="816" y="80"/>
                  <a:pt x="816" y="80"/>
                  <a:pt x="816" y="80"/>
                </a:cubicBezTo>
                <a:cubicBezTo>
                  <a:pt x="816" y="82"/>
                  <a:pt x="816" y="82"/>
                  <a:pt x="816" y="82"/>
                </a:cubicBezTo>
                <a:cubicBezTo>
                  <a:pt x="816" y="83"/>
                  <a:pt x="816" y="83"/>
                  <a:pt x="816" y="83"/>
                </a:cubicBezTo>
                <a:cubicBezTo>
                  <a:pt x="817" y="82"/>
                  <a:pt x="817" y="82"/>
                  <a:pt x="817" y="82"/>
                </a:cubicBezTo>
                <a:cubicBezTo>
                  <a:pt x="818" y="84"/>
                  <a:pt x="818" y="84"/>
                  <a:pt x="818" y="84"/>
                </a:cubicBezTo>
                <a:cubicBezTo>
                  <a:pt x="820" y="84"/>
                  <a:pt x="820" y="84"/>
                  <a:pt x="820" y="84"/>
                </a:cubicBezTo>
                <a:cubicBezTo>
                  <a:pt x="820" y="85"/>
                  <a:pt x="820" y="85"/>
                  <a:pt x="820" y="85"/>
                </a:cubicBezTo>
                <a:cubicBezTo>
                  <a:pt x="819" y="86"/>
                  <a:pt x="819" y="86"/>
                  <a:pt x="819" y="86"/>
                </a:cubicBezTo>
                <a:cubicBezTo>
                  <a:pt x="817" y="86"/>
                  <a:pt x="817" y="86"/>
                  <a:pt x="817" y="86"/>
                </a:cubicBezTo>
                <a:cubicBezTo>
                  <a:pt x="815" y="87"/>
                  <a:pt x="815" y="87"/>
                  <a:pt x="815" y="87"/>
                </a:cubicBezTo>
                <a:cubicBezTo>
                  <a:pt x="818" y="87"/>
                  <a:pt x="818" y="87"/>
                  <a:pt x="818" y="87"/>
                </a:cubicBezTo>
                <a:cubicBezTo>
                  <a:pt x="819" y="88"/>
                  <a:pt x="819" y="88"/>
                  <a:pt x="819" y="88"/>
                </a:cubicBezTo>
                <a:cubicBezTo>
                  <a:pt x="819" y="89"/>
                  <a:pt x="819" y="89"/>
                  <a:pt x="819" y="89"/>
                </a:cubicBezTo>
                <a:cubicBezTo>
                  <a:pt x="817" y="90"/>
                  <a:pt x="817" y="90"/>
                  <a:pt x="817" y="90"/>
                </a:cubicBezTo>
                <a:cubicBezTo>
                  <a:pt x="816" y="92"/>
                  <a:pt x="816" y="92"/>
                  <a:pt x="816" y="92"/>
                </a:cubicBezTo>
                <a:cubicBezTo>
                  <a:pt x="815" y="91"/>
                  <a:pt x="815" y="91"/>
                  <a:pt x="815" y="91"/>
                </a:cubicBezTo>
                <a:cubicBezTo>
                  <a:pt x="814" y="92"/>
                  <a:pt x="814" y="92"/>
                  <a:pt x="814" y="92"/>
                </a:cubicBezTo>
                <a:cubicBezTo>
                  <a:pt x="812" y="92"/>
                  <a:pt x="812" y="92"/>
                  <a:pt x="812" y="92"/>
                </a:cubicBezTo>
                <a:cubicBezTo>
                  <a:pt x="811" y="94"/>
                  <a:pt x="811" y="94"/>
                  <a:pt x="811" y="94"/>
                </a:cubicBezTo>
                <a:cubicBezTo>
                  <a:pt x="813" y="93"/>
                  <a:pt x="813" y="93"/>
                  <a:pt x="813" y="93"/>
                </a:cubicBezTo>
                <a:cubicBezTo>
                  <a:pt x="814" y="94"/>
                  <a:pt x="814" y="94"/>
                  <a:pt x="814" y="94"/>
                </a:cubicBezTo>
                <a:cubicBezTo>
                  <a:pt x="814" y="95"/>
                  <a:pt x="814" y="95"/>
                  <a:pt x="814" y="95"/>
                </a:cubicBezTo>
                <a:cubicBezTo>
                  <a:pt x="815" y="94"/>
                  <a:pt x="815" y="94"/>
                  <a:pt x="815" y="94"/>
                </a:cubicBezTo>
                <a:cubicBezTo>
                  <a:pt x="816" y="94"/>
                  <a:pt x="816" y="94"/>
                  <a:pt x="816" y="94"/>
                </a:cubicBezTo>
                <a:cubicBezTo>
                  <a:pt x="816" y="95"/>
                  <a:pt x="816" y="95"/>
                  <a:pt x="816" y="95"/>
                </a:cubicBezTo>
                <a:cubicBezTo>
                  <a:pt x="817" y="96"/>
                  <a:pt x="817" y="96"/>
                  <a:pt x="817" y="96"/>
                </a:cubicBezTo>
                <a:cubicBezTo>
                  <a:pt x="816" y="97"/>
                  <a:pt x="816" y="97"/>
                  <a:pt x="816" y="97"/>
                </a:cubicBezTo>
                <a:cubicBezTo>
                  <a:pt x="816" y="99"/>
                  <a:pt x="816" y="99"/>
                  <a:pt x="816" y="99"/>
                </a:cubicBezTo>
                <a:cubicBezTo>
                  <a:pt x="817" y="97"/>
                  <a:pt x="817" y="97"/>
                  <a:pt x="817" y="97"/>
                </a:cubicBezTo>
                <a:cubicBezTo>
                  <a:pt x="819" y="97"/>
                  <a:pt x="819" y="97"/>
                  <a:pt x="819" y="97"/>
                </a:cubicBezTo>
                <a:cubicBezTo>
                  <a:pt x="821" y="99"/>
                  <a:pt x="821" y="99"/>
                  <a:pt x="821" y="99"/>
                </a:cubicBezTo>
                <a:cubicBezTo>
                  <a:pt x="820" y="100"/>
                  <a:pt x="820" y="100"/>
                  <a:pt x="820" y="100"/>
                </a:cubicBezTo>
                <a:cubicBezTo>
                  <a:pt x="821" y="101"/>
                  <a:pt x="821" y="101"/>
                  <a:pt x="821" y="101"/>
                </a:cubicBezTo>
                <a:cubicBezTo>
                  <a:pt x="820" y="102"/>
                  <a:pt x="820" y="102"/>
                  <a:pt x="820" y="102"/>
                </a:cubicBezTo>
                <a:cubicBezTo>
                  <a:pt x="821" y="103"/>
                  <a:pt x="821" y="103"/>
                  <a:pt x="821" y="103"/>
                </a:cubicBezTo>
                <a:cubicBezTo>
                  <a:pt x="821" y="105"/>
                  <a:pt x="821" y="105"/>
                  <a:pt x="821" y="105"/>
                </a:cubicBezTo>
                <a:cubicBezTo>
                  <a:pt x="820" y="105"/>
                  <a:pt x="820" y="105"/>
                  <a:pt x="820" y="105"/>
                </a:cubicBezTo>
                <a:cubicBezTo>
                  <a:pt x="819" y="106"/>
                  <a:pt x="819" y="106"/>
                  <a:pt x="819" y="106"/>
                </a:cubicBezTo>
                <a:cubicBezTo>
                  <a:pt x="820" y="107"/>
                  <a:pt x="820" y="107"/>
                  <a:pt x="820" y="107"/>
                </a:cubicBezTo>
                <a:cubicBezTo>
                  <a:pt x="820" y="106"/>
                  <a:pt x="820" y="106"/>
                  <a:pt x="820" y="106"/>
                </a:cubicBezTo>
                <a:cubicBezTo>
                  <a:pt x="821" y="106"/>
                  <a:pt x="821" y="106"/>
                  <a:pt x="821" y="106"/>
                </a:cubicBezTo>
                <a:cubicBezTo>
                  <a:pt x="822" y="106"/>
                  <a:pt x="822" y="106"/>
                  <a:pt x="822" y="106"/>
                </a:cubicBezTo>
                <a:cubicBezTo>
                  <a:pt x="822" y="108"/>
                  <a:pt x="822" y="108"/>
                  <a:pt x="822" y="108"/>
                </a:cubicBezTo>
                <a:cubicBezTo>
                  <a:pt x="823" y="108"/>
                  <a:pt x="823" y="108"/>
                  <a:pt x="823" y="108"/>
                </a:cubicBezTo>
                <a:cubicBezTo>
                  <a:pt x="824" y="109"/>
                  <a:pt x="824" y="109"/>
                  <a:pt x="824" y="109"/>
                </a:cubicBezTo>
                <a:cubicBezTo>
                  <a:pt x="824" y="108"/>
                  <a:pt x="824" y="108"/>
                  <a:pt x="824" y="108"/>
                </a:cubicBezTo>
                <a:cubicBezTo>
                  <a:pt x="824" y="107"/>
                  <a:pt x="824" y="107"/>
                  <a:pt x="824" y="107"/>
                </a:cubicBezTo>
                <a:cubicBezTo>
                  <a:pt x="825" y="107"/>
                  <a:pt x="825" y="107"/>
                  <a:pt x="825" y="107"/>
                </a:cubicBezTo>
                <a:cubicBezTo>
                  <a:pt x="827" y="108"/>
                  <a:pt x="827" y="108"/>
                  <a:pt x="827" y="108"/>
                </a:cubicBezTo>
                <a:cubicBezTo>
                  <a:pt x="827" y="109"/>
                  <a:pt x="827" y="109"/>
                  <a:pt x="827" y="109"/>
                </a:cubicBezTo>
                <a:cubicBezTo>
                  <a:pt x="826" y="110"/>
                  <a:pt x="826" y="110"/>
                  <a:pt x="826" y="110"/>
                </a:cubicBezTo>
                <a:cubicBezTo>
                  <a:pt x="825" y="109"/>
                  <a:pt x="825" y="109"/>
                  <a:pt x="825" y="109"/>
                </a:cubicBezTo>
                <a:cubicBezTo>
                  <a:pt x="824" y="110"/>
                  <a:pt x="824" y="110"/>
                  <a:pt x="824" y="110"/>
                </a:cubicBezTo>
                <a:cubicBezTo>
                  <a:pt x="825" y="111"/>
                  <a:pt x="825" y="111"/>
                  <a:pt x="825" y="111"/>
                </a:cubicBezTo>
                <a:cubicBezTo>
                  <a:pt x="826" y="111"/>
                  <a:pt x="826" y="111"/>
                  <a:pt x="826" y="111"/>
                </a:cubicBezTo>
                <a:cubicBezTo>
                  <a:pt x="827" y="112"/>
                  <a:pt x="827" y="112"/>
                  <a:pt x="827" y="112"/>
                </a:cubicBezTo>
                <a:cubicBezTo>
                  <a:pt x="827" y="113"/>
                  <a:pt x="827" y="113"/>
                  <a:pt x="827" y="113"/>
                </a:cubicBezTo>
                <a:cubicBezTo>
                  <a:pt x="825" y="114"/>
                  <a:pt x="825" y="114"/>
                  <a:pt x="825" y="114"/>
                </a:cubicBezTo>
                <a:cubicBezTo>
                  <a:pt x="824" y="112"/>
                  <a:pt x="824" y="112"/>
                  <a:pt x="824" y="112"/>
                </a:cubicBezTo>
                <a:cubicBezTo>
                  <a:pt x="823" y="112"/>
                  <a:pt x="823" y="112"/>
                  <a:pt x="823" y="112"/>
                </a:cubicBezTo>
                <a:cubicBezTo>
                  <a:pt x="824" y="114"/>
                  <a:pt x="824" y="114"/>
                  <a:pt x="824" y="114"/>
                </a:cubicBezTo>
                <a:cubicBezTo>
                  <a:pt x="823" y="115"/>
                  <a:pt x="823" y="115"/>
                  <a:pt x="823" y="115"/>
                </a:cubicBezTo>
                <a:cubicBezTo>
                  <a:pt x="823" y="115"/>
                  <a:pt x="823" y="115"/>
                  <a:pt x="823" y="115"/>
                </a:cubicBezTo>
                <a:cubicBezTo>
                  <a:pt x="822" y="114"/>
                  <a:pt x="822" y="114"/>
                  <a:pt x="822" y="114"/>
                </a:cubicBezTo>
                <a:cubicBezTo>
                  <a:pt x="821" y="114"/>
                  <a:pt x="821" y="114"/>
                  <a:pt x="821" y="114"/>
                </a:cubicBezTo>
                <a:cubicBezTo>
                  <a:pt x="820" y="114"/>
                  <a:pt x="820" y="114"/>
                  <a:pt x="820" y="114"/>
                </a:cubicBezTo>
                <a:cubicBezTo>
                  <a:pt x="818" y="114"/>
                  <a:pt x="818" y="114"/>
                  <a:pt x="818" y="114"/>
                </a:cubicBezTo>
                <a:cubicBezTo>
                  <a:pt x="816" y="114"/>
                  <a:pt x="816" y="114"/>
                  <a:pt x="816" y="114"/>
                </a:cubicBezTo>
                <a:cubicBezTo>
                  <a:pt x="815" y="114"/>
                  <a:pt x="815" y="114"/>
                  <a:pt x="815" y="114"/>
                </a:cubicBezTo>
                <a:cubicBezTo>
                  <a:pt x="816" y="113"/>
                  <a:pt x="816" y="113"/>
                  <a:pt x="816" y="113"/>
                </a:cubicBezTo>
                <a:cubicBezTo>
                  <a:pt x="815" y="113"/>
                  <a:pt x="815" y="113"/>
                  <a:pt x="815" y="113"/>
                </a:cubicBezTo>
                <a:cubicBezTo>
                  <a:pt x="814" y="112"/>
                  <a:pt x="814" y="112"/>
                  <a:pt x="814" y="112"/>
                </a:cubicBezTo>
                <a:cubicBezTo>
                  <a:pt x="814" y="114"/>
                  <a:pt x="814" y="114"/>
                  <a:pt x="814" y="114"/>
                </a:cubicBezTo>
                <a:cubicBezTo>
                  <a:pt x="814" y="114"/>
                  <a:pt x="814" y="114"/>
                  <a:pt x="814" y="114"/>
                </a:cubicBezTo>
                <a:cubicBezTo>
                  <a:pt x="813" y="114"/>
                  <a:pt x="813" y="114"/>
                  <a:pt x="813" y="114"/>
                </a:cubicBezTo>
                <a:cubicBezTo>
                  <a:pt x="814" y="115"/>
                  <a:pt x="814" y="115"/>
                  <a:pt x="814" y="115"/>
                </a:cubicBezTo>
                <a:cubicBezTo>
                  <a:pt x="813" y="117"/>
                  <a:pt x="813" y="117"/>
                  <a:pt x="813" y="117"/>
                </a:cubicBezTo>
                <a:cubicBezTo>
                  <a:pt x="813" y="117"/>
                  <a:pt x="813" y="117"/>
                  <a:pt x="813" y="117"/>
                </a:cubicBezTo>
                <a:cubicBezTo>
                  <a:pt x="813" y="116"/>
                  <a:pt x="813" y="116"/>
                  <a:pt x="813" y="116"/>
                </a:cubicBezTo>
                <a:cubicBezTo>
                  <a:pt x="812" y="116"/>
                  <a:pt x="812" y="116"/>
                  <a:pt x="812" y="116"/>
                </a:cubicBezTo>
                <a:cubicBezTo>
                  <a:pt x="810" y="116"/>
                  <a:pt x="810" y="116"/>
                  <a:pt x="810" y="116"/>
                </a:cubicBezTo>
                <a:cubicBezTo>
                  <a:pt x="809" y="116"/>
                  <a:pt x="809" y="116"/>
                  <a:pt x="809" y="116"/>
                </a:cubicBezTo>
                <a:cubicBezTo>
                  <a:pt x="809" y="115"/>
                  <a:pt x="809" y="115"/>
                  <a:pt x="809" y="115"/>
                </a:cubicBezTo>
                <a:cubicBezTo>
                  <a:pt x="808" y="114"/>
                  <a:pt x="808" y="114"/>
                  <a:pt x="808" y="114"/>
                </a:cubicBezTo>
                <a:cubicBezTo>
                  <a:pt x="808" y="113"/>
                  <a:pt x="808" y="113"/>
                  <a:pt x="808" y="113"/>
                </a:cubicBezTo>
                <a:cubicBezTo>
                  <a:pt x="805" y="111"/>
                  <a:pt x="805" y="111"/>
                  <a:pt x="805" y="111"/>
                </a:cubicBezTo>
                <a:cubicBezTo>
                  <a:pt x="805" y="111"/>
                  <a:pt x="805" y="111"/>
                  <a:pt x="805" y="111"/>
                </a:cubicBezTo>
                <a:cubicBezTo>
                  <a:pt x="805" y="110"/>
                  <a:pt x="805" y="110"/>
                  <a:pt x="805" y="110"/>
                </a:cubicBezTo>
                <a:cubicBezTo>
                  <a:pt x="803" y="109"/>
                  <a:pt x="803" y="109"/>
                  <a:pt x="803" y="109"/>
                </a:cubicBezTo>
                <a:cubicBezTo>
                  <a:pt x="802" y="111"/>
                  <a:pt x="802" y="111"/>
                  <a:pt x="802" y="111"/>
                </a:cubicBezTo>
                <a:cubicBezTo>
                  <a:pt x="800" y="111"/>
                  <a:pt x="800" y="111"/>
                  <a:pt x="800" y="111"/>
                </a:cubicBezTo>
                <a:cubicBezTo>
                  <a:pt x="799" y="112"/>
                  <a:pt x="799" y="112"/>
                  <a:pt x="799" y="112"/>
                </a:cubicBezTo>
                <a:cubicBezTo>
                  <a:pt x="799" y="113"/>
                  <a:pt x="799" y="113"/>
                  <a:pt x="799" y="113"/>
                </a:cubicBezTo>
                <a:cubicBezTo>
                  <a:pt x="798" y="111"/>
                  <a:pt x="798" y="111"/>
                  <a:pt x="798" y="111"/>
                </a:cubicBezTo>
                <a:cubicBezTo>
                  <a:pt x="798" y="110"/>
                  <a:pt x="798" y="110"/>
                  <a:pt x="798" y="110"/>
                </a:cubicBezTo>
                <a:cubicBezTo>
                  <a:pt x="798" y="111"/>
                  <a:pt x="798" y="111"/>
                  <a:pt x="798" y="111"/>
                </a:cubicBezTo>
                <a:cubicBezTo>
                  <a:pt x="798" y="113"/>
                  <a:pt x="798" y="113"/>
                  <a:pt x="798" y="113"/>
                </a:cubicBezTo>
                <a:cubicBezTo>
                  <a:pt x="798" y="115"/>
                  <a:pt x="798" y="115"/>
                  <a:pt x="798" y="115"/>
                </a:cubicBezTo>
                <a:cubicBezTo>
                  <a:pt x="798" y="116"/>
                  <a:pt x="798" y="116"/>
                  <a:pt x="798" y="116"/>
                </a:cubicBezTo>
                <a:cubicBezTo>
                  <a:pt x="796" y="120"/>
                  <a:pt x="796" y="120"/>
                  <a:pt x="796" y="120"/>
                </a:cubicBezTo>
                <a:cubicBezTo>
                  <a:pt x="794" y="119"/>
                  <a:pt x="794" y="119"/>
                  <a:pt x="794" y="119"/>
                </a:cubicBezTo>
                <a:cubicBezTo>
                  <a:pt x="794" y="117"/>
                  <a:pt x="794" y="117"/>
                  <a:pt x="794" y="117"/>
                </a:cubicBezTo>
                <a:cubicBezTo>
                  <a:pt x="793" y="117"/>
                  <a:pt x="793" y="117"/>
                  <a:pt x="793" y="117"/>
                </a:cubicBezTo>
                <a:cubicBezTo>
                  <a:pt x="792" y="117"/>
                  <a:pt x="792" y="117"/>
                  <a:pt x="792" y="117"/>
                </a:cubicBezTo>
                <a:cubicBezTo>
                  <a:pt x="789" y="115"/>
                  <a:pt x="789" y="115"/>
                  <a:pt x="789" y="115"/>
                </a:cubicBezTo>
                <a:cubicBezTo>
                  <a:pt x="789" y="114"/>
                  <a:pt x="789" y="114"/>
                  <a:pt x="789" y="114"/>
                </a:cubicBezTo>
                <a:cubicBezTo>
                  <a:pt x="789" y="111"/>
                  <a:pt x="789" y="111"/>
                  <a:pt x="789" y="111"/>
                </a:cubicBezTo>
                <a:cubicBezTo>
                  <a:pt x="787" y="111"/>
                  <a:pt x="787" y="111"/>
                  <a:pt x="787" y="111"/>
                </a:cubicBezTo>
                <a:cubicBezTo>
                  <a:pt x="787" y="110"/>
                  <a:pt x="787" y="110"/>
                  <a:pt x="787" y="110"/>
                </a:cubicBezTo>
                <a:cubicBezTo>
                  <a:pt x="786" y="109"/>
                  <a:pt x="786" y="109"/>
                  <a:pt x="786" y="109"/>
                </a:cubicBezTo>
                <a:cubicBezTo>
                  <a:pt x="786" y="110"/>
                  <a:pt x="786" y="110"/>
                  <a:pt x="786" y="110"/>
                </a:cubicBezTo>
                <a:cubicBezTo>
                  <a:pt x="786" y="111"/>
                  <a:pt x="786" y="111"/>
                  <a:pt x="786" y="111"/>
                </a:cubicBezTo>
                <a:cubicBezTo>
                  <a:pt x="786" y="112"/>
                  <a:pt x="786" y="112"/>
                  <a:pt x="786" y="112"/>
                </a:cubicBezTo>
                <a:cubicBezTo>
                  <a:pt x="787" y="112"/>
                  <a:pt x="787" y="112"/>
                  <a:pt x="787" y="112"/>
                </a:cubicBezTo>
                <a:cubicBezTo>
                  <a:pt x="786" y="113"/>
                  <a:pt x="786" y="113"/>
                  <a:pt x="786" y="113"/>
                </a:cubicBezTo>
                <a:cubicBezTo>
                  <a:pt x="784" y="112"/>
                  <a:pt x="784" y="112"/>
                  <a:pt x="784" y="112"/>
                </a:cubicBezTo>
                <a:cubicBezTo>
                  <a:pt x="783" y="111"/>
                  <a:pt x="783" y="111"/>
                  <a:pt x="783" y="111"/>
                </a:cubicBezTo>
                <a:cubicBezTo>
                  <a:pt x="783" y="111"/>
                  <a:pt x="783" y="111"/>
                  <a:pt x="783" y="111"/>
                </a:cubicBezTo>
                <a:cubicBezTo>
                  <a:pt x="783" y="112"/>
                  <a:pt x="783" y="112"/>
                  <a:pt x="783" y="112"/>
                </a:cubicBezTo>
                <a:cubicBezTo>
                  <a:pt x="783" y="113"/>
                  <a:pt x="783" y="113"/>
                  <a:pt x="783" y="113"/>
                </a:cubicBezTo>
                <a:cubicBezTo>
                  <a:pt x="783" y="113"/>
                  <a:pt x="783" y="113"/>
                  <a:pt x="783" y="113"/>
                </a:cubicBezTo>
                <a:cubicBezTo>
                  <a:pt x="785" y="113"/>
                  <a:pt x="785" y="113"/>
                  <a:pt x="785" y="113"/>
                </a:cubicBezTo>
                <a:cubicBezTo>
                  <a:pt x="786" y="114"/>
                  <a:pt x="786" y="114"/>
                  <a:pt x="786" y="114"/>
                </a:cubicBezTo>
                <a:cubicBezTo>
                  <a:pt x="785" y="116"/>
                  <a:pt x="785" y="116"/>
                  <a:pt x="785" y="116"/>
                </a:cubicBezTo>
                <a:cubicBezTo>
                  <a:pt x="783" y="116"/>
                  <a:pt x="783" y="116"/>
                  <a:pt x="783" y="116"/>
                </a:cubicBezTo>
                <a:cubicBezTo>
                  <a:pt x="783" y="117"/>
                  <a:pt x="783" y="117"/>
                  <a:pt x="783" y="117"/>
                </a:cubicBezTo>
                <a:cubicBezTo>
                  <a:pt x="784" y="117"/>
                  <a:pt x="784" y="117"/>
                  <a:pt x="784" y="117"/>
                </a:cubicBezTo>
                <a:cubicBezTo>
                  <a:pt x="787" y="121"/>
                  <a:pt x="787" y="121"/>
                  <a:pt x="787" y="121"/>
                </a:cubicBezTo>
                <a:cubicBezTo>
                  <a:pt x="790" y="122"/>
                  <a:pt x="790" y="122"/>
                  <a:pt x="790" y="122"/>
                </a:cubicBezTo>
                <a:cubicBezTo>
                  <a:pt x="791" y="121"/>
                  <a:pt x="791" y="121"/>
                  <a:pt x="791" y="121"/>
                </a:cubicBezTo>
                <a:cubicBezTo>
                  <a:pt x="793" y="122"/>
                  <a:pt x="793" y="122"/>
                  <a:pt x="793" y="122"/>
                </a:cubicBezTo>
                <a:cubicBezTo>
                  <a:pt x="793" y="124"/>
                  <a:pt x="793" y="124"/>
                  <a:pt x="793" y="124"/>
                </a:cubicBezTo>
                <a:cubicBezTo>
                  <a:pt x="793" y="124"/>
                  <a:pt x="793" y="124"/>
                  <a:pt x="793" y="124"/>
                </a:cubicBezTo>
                <a:cubicBezTo>
                  <a:pt x="792" y="122"/>
                  <a:pt x="792" y="122"/>
                  <a:pt x="792" y="122"/>
                </a:cubicBezTo>
                <a:cubicBezTo>
                  <a:pt x="791" y="122"/>
                  <a:pt x="791" y="122"/>
                  <a:pt x="791" y="122"/>
                </a:cubicBezTo>
                <a:cubicBezTo>
                  <a:pt x="792" y="124"/>
                  <a:pt x="792" y="124"/>
                  <a:pt x="792" y="124"/>
                </a:cubicBezTo>
                <a:cubicBezTo>
                  <a:pt x="794" y="126"/>
                  <a:pt x="794" y="126"/>
                  <a:pt x="794" y="126"/>
                </a:cubicBezTo>
                <a:cubicBezTo>
                  <a:pt x="794" y="127"/>
                  <a:pt x="794" y="127"/>
                  <a:pt x="794" y="127"/>
                </a:cubicBezTo>
                <a:cubicBezTo>
                  <a:pt x="796" y="129"/>
                  <a:pt x="796" y="129"/>
                  <a:pt x="796" y="129"/>
                </a:cubicBezTo>
                <a:cubicBezTo>
                  <a:pt x="796" y="131"/>
                  <a:pt x="796" y="131"/>
                  <a:pt x="796" y="131"/>
                </a:cubicBezTo>
                <a:cubicBezTo>
                  <a:pt x="795" y="135"/>
                  <a:pt x="795" y="135"/>
                  <a:pt x="795" y="135"/>
                </a:cubicBezTo>
                <a:cubicBezTo>
                  <a:pt x="795" y="138"/>
                  <a:pt x="795" y="138"/>
                  <a:pt x="795" y="138"/>
                </a:cubicBezTo>
                <a:cubicBezTo>
                  <a:pt x="795" y="140"/>
                  <a:pt x="795" y="140"/>
                  <a:pt x="795" y="140"/>
                </a:cubicBezTo>
                <a:cubicBezTo>
                  <a:pt x="796" y="140"/>
                  <a:pt x="796" y="140"/>
                  <a:pt x="796" y="140"/>
                </a:cubicBezTo>
                <a:cubicBezTo>
                  <a:pt x="794" y="143"/>
                  <a:pt x="794" y="143"/>
                  <a:pt x="794" y="143"/>
                </a:cubicBezTo>
                <a:cubicBezTo>
                  <a:pt x="794" y="144"/>
                  <a:pt x="794" y="144"/>
                  <a:pt x="794" y="144"/>
                </a:cubicBezTo>
                <a:cubicBezTo>
                  <a:pt x="793" y="145"/>
                  <a:pt x="793" y="145"/>
                  <a:pt x="793" y="145"/>
                </a:cubicBezTo>
                <a:cubicBezTo>
                  <a:pt x="793" y="144"/>
                  <a:pt x="793" y="144"/>
                  <a:pt x="793" y="144"/>
                </a:cubicBezTo>
                <a:cubicBezTo>
                  <a:pt x="793" y="143"/>
                  <a:pt x="793" y="143"/>
                  <a:pt x="793" y="143"/>
                </a:cubicBezTo>
                <a:cubicBezTo>
                  <a:pt x="790" y="146"/>
                  <a:pt x="790" y="146"/>
                  <a:pt x="790" y="146"/>
                </a:cubicBezTo>
                <a:cubicBezTo>
                  <a:pt x="789" y="145"/>
                  <a:pt x="789" y="145"/>
                  <a:pt x="789" y="145"/>
                </a:cubicBezTo>
                <a:cubicBezTo>
                  <a:pt x="788" y="146"/>
                  <a:pt x="788" y="146"/>
                  <a:pt x="788" y="146"/>
                </a:cubicBezTo>
                <a:cubicBezTo>
                  <a:pt x="787" y="145"/>
                  <a:pt x="787" y="145"/>
                  <a:pt x="787" y="145"/>
                </a:cubicBezTo>
                <a:cubicBezTo>
                  <a:pt x="786" y="144"/>
                  <a:pt x="786" y="144"/>
                  <a:pt x="786" y="144"/>
                </a:cubicBezTo>
                <a:cubicBezTo>
                  <a:pt x="785" y="144"/>
                  <a:pt x="785" y="144"/>
                  <a:pt x="785" y="144"/>
                </a:cubicBezTo>
                <a:cubicBezTo>
                  <a:pt x="783" y="142"/>
                  <a:pt x="783" y="142"/>
                  <a:pt x="783" y="142"/>
                </a:cubicBezTo>
                <a:cubicBezTo>
                  <a:pt x="782" y="141"/>
                  <a:pt x="782" y="141"/>
                  <a:pt x="782" y="141"/>
                </a:cubicBezTo>
                <a:cubicBezTo>
                  <a:pt x="780" y="141"/>
                  <a:pt x="780" y="141"/>
                  <a:pt x="780" y="141"/>
                </a:cubicBezTo>
                <a:cubicBezTo>
                  <a:pt x="779" y="140"/>
                  <a:pt x="779" y="140"/>
                  <a:pt x="779" y="140"/>
                </a:cubicBezTo>
                <a:cubicBezTo>
                  <a:pt x="778" y="141"/>
                  <a:pt x="778" y="141"/>
                  <a:pt x="778" y="141"/>
                </a:cubicBezTo>
                <a:cubicBezTo>
                  <a:pt x="777" y="142"/>
                  <a:pt x="777" y="142"/>
                  <a:pt x="777" y="142"/>
                </a:cubicBezTo>
                <a:cubicBezTo>
                  <a:pt x="776" y="142"/>
                  <a:pt x="776" y="142"/>
                  <a:pt x="776" y="142"/>
                </a:cubicBezTo>
                <a:cubicBezTo>
                  <a:pt x="777" y="143"/>
                  <a:pt x="777" y="143"/>
                  <a:pt x="777" y="143"/>
                </a:cubicBezTo>
                <a:cubicBezTo>
                  <a:pt x="779" y="143"/>
                  <a:pt x="779" y="143"/>
                  <a:pt x="779" y="143"/>
                </a:cubicBezTo>
                <a:cubicBezTo>
                  <a:pt x="779" y="141"/>
                  <a:pt x="779" y="141"/>
                  <a:pt x="779" y="141"/>
                </a:cubicBezTo>
                <a:cubicBezTo>
                  <a:pt x="783" y="143"/>
                  <a:pt x="783" y="143"/>
                  <a:pt x="783" y="143"/>
                </a:cubicBezTo>
                <a:cubicBezTo>
                  <a:pt x="783" y="144"/>
                  <a:pt x="783" y="144"/>
                  <a:pt x="783" y="144"/>
                </a:cubicBezTo>
                <a:cubicBezTo>
                  <a:pt x="782" y="145"/>
                  <a:pt x="782" y="145"/>
                  <a:pt x="782" y="145"/>
                </a:cubicBezTo>
                <a:cubicBezTo>
                  <a:pt x="781" y="144"/>
                  <a:pt x="781" y="144"/>
                  <a:pt x="781" y="144"/>
                </a:cubicBezTo>
                <a:cubicBezTo>
                  <a:pt x="779" y="144"/>
                  <a:pt x="779" y="144"/>
                  <a:pt x="779" y="144"/>
                </a:cubicBezTo>
                <a:cubicBezTo>
                  <a:pt x="779" y="146"/>
                  <a:pt x="779" y="146"/>
                  <a:pt x="779" y="146"/>
                </a:cubicBezTo>
                <a:cubicBezTo>
                  <a:pt x="778" y="144"/>
                  <a:pt x="778" y="144"/>
                  <a:pt x="778" y="144"/>
                </a:cubicBezTo>
                <a:cubicBezTo>
                  <a:pt x="777" y="145"/>
                  <a:pt x="777" y="145"/>
                  <a:pt x="777" y="145"/>
                </a:cubicBezTo>
                <a:cubicBezTo>
                  <a:pt x="777" y="145"/>
                  <a:pt x="777" y="145"/>
                  <a:pt x="777" y="145"/>
                </a:cubicBezTo>
                <a:cubicBezTo>
                  <a:pt x="778" y="146"/>
                  <a:pt x="778" y="146"/>
                  <a:pt x="778" y="146"/>
                </a:cubicBezTo>
                <a:cubicBezTo>
                  <a:pt x="780" y="147"/>
                  <a:pt x="780" y="147"/>
                  <a:pt x="780" y="147"/>
                </a:cubicBezTo>
                <a:cubicBezTo>
                  <a:pt x="779" y="149"/>
                  <a:pt x="779" y="149"/>
                  <a:pt x="779" y="149"/>
                </a:cubicBezTo>
                <a:cubicBezTo>
                  <a:pt x="780" y="151"/>
                  <a:pt x="780" y="151"/>
                  <a:pt x="780" y="151"/>
                </a:cubicBezTo>
                <a:cubicBezTo>
                  <a:pt x="781" y="152"/>
                  <a:pt x="781" y="152"/>
                  <a:pt x="781" y="152"/>
                </a:cubicBezTo>
                <a:cubicBezTo>
                  <a:pt x="781" y="151"/>
                  <a:pt x="781" y="151"/>
                  <a:pt x="781" y="151"/>
                </a:cubicBezTo>
                <a:cubicBezTo>
                  <a:pt x="781" y="149"/>
                  <a:pt x="781" y="149"/>
                  <a:pt x="781" y="149"/>
                </a:cubicBezTo>
                <a:cubicBezTo>
                  <a:pt x="782" y="148"/>
                  <a:pt x="782" y="148"/>
                  <a:pt x="782" y="148"/>
                </a:cubicBezTo>
                <a:cubicBezTo>
                  <a:pt x="783" y="148"/>
                  <a:pt x="783" y="148"/>
                  <a:pt x="783" y="148"/>
                </a:cubicBezTo>
                <a:cubicBezTo>
                  <a:pt x="783" y="148"/>
                  <a:pt x="783" y="148"/>
                  <a:pt x="783" y="148"/>
                </a:cubicBezTo>
                <a:cubicBezTo>
                  <a:pt x="785" y="146"/>
                  <a:pt x="785" y="146"/>
                  <a:pt x="785" y="146"/>
                </a:cubicBezTo>
                <a:cubicBezTo>
                  <a:pt x="786" y="146"/>
                  <a:pt x="786" y="146"/>
                  <a:pt x="786" y="146"/>
                </a:cubicBezTo>
                <a:cubicBezTo>
                  <a:pt x="787" y="146"/>
                  <a:pt x="787" y="146"/>
                  <a:pt x="787" y="146"/>
                </a:cubicBezTo>
                <a:cubicBezTo>
                  <a:pt x="787" y="147"/>
                  <a:pt x="787" y="147"/>
                  <a:pt x="787" y="147"/>
                </a:cubicBezTo>
                <a:cubicBezTo>
                  <a:pt x="788" y="149"/>
                  <a:pt x="788" y="149"/>
                  <a:pt x="788" y="149"/>
                </a:cubicBezTo>
                <a:cubicBezTo>
                  <a:pt x="790" y="150"/>
                  <a:pt x="790" y="150"/>
                  <a:pt x="790" y="150"/>
                </a:cubicBezTo>
                <a:cubicBezTo>
                  <a:pt x="791" y="151"/>
                  <a:pt x="791" y="151"/>
                  <a:pt x="791" y="151"/>
                </a:cubicBezTo>
                <a:cubicBezTo>
                  <a:pt x="793" y="151"/>
                  <a:pt x="793" y="151"/>
                  <a:pt x="793" y="151"/>
                </a:cubicBezTo>
                <a:cubicBezTo>
                  <a:pt x="794" y="150"/>
                  <a:pt x="794" y="150"/>
                  <a:pt x="794" y="150"/>
                </a:cubicBezTo>
                <a:cubicBezTo>
                  <a:pt x="793" y="149"/>
                  <a:pt x="793" y="149"/>
                  <a:pt x="793" y="149"/>
                </a:cubicBezTo>
                <a:cubicBezTo>
                  <a:pt x="794" y="149"/>
                  <a:pt x="794" y="149"/>
                  <a:pt x="794" y="149"/>
                </a:cubicBezTo>
                <a:cubicBezTo>
                  <a:pt x="797" y="152"/>
                  <a:pt x="797" y="152"/>
                  <a:pt x="797" y="152"/>
                </a:cubicBezTo>
                <a:cubicBezTo>
                  <a:pt x="798" y="153"/>
                  <a:pt x="798" y="153"/>
                  <a:pt x="798" y="153"/>
                </a:cubicBezTo>
                <a:cubicBezTo>
                  <a:pt x="796" y="153"/>
                  <a:pt x="796" y="153"/>
                  <a:pt x="796" y="153"/>
                </a:cubicBezTo>
                <a:cubicBezTo>
                  <a:pt x="796" y="154"/>
                  <a:pt x="796" y="154"/>
                  <a:pt x="796" y="154"/>
                </a:cubicBezTo>
                <a:cubicBezTo>
                  <a:pt x="799" y="156"/>
                  <a:pt x="799" y="156"/>
                  <a:pt x="799" y="156"/>
                </a:cubicBezTo>
                <a:cubicBezTo>
                  <a:pt x="799" y="156"/>
                  <a:pt x="799" y="156"/>
                  <a:pt x="799" y="156"/>
                </a:cubicBezTo>
                <a:cubicBezTo>
                  <a:pt x="799" y="156"/>
                  <a:pt x="799" y="156"/>
                  <a:pt x="799" y="156"/>
                </a:cubicBezTo>
                <a:cubicBezTo>
                  <a:pt x="799" y="154"/>
                  <a:pt x="799" y="154"/>
                  <a:pt x="799" y="154"/>
                </a:cubicBezTo>
                <a:cubicBezTo>
                  <a:pt x="801" y="155"/>
                  <a:pt x="801" y="155"/>
                  <a:pt x="801" y="155"/>
                </a:cubicBezTo>
                <a:cubicBezTo>
                  <a:pt x="804" y="159"/>
                  <a:pt x="804" y="159"/>
                  <a:pt x="804" y="159"/>
                </a:cubicBezTo>
                <a:cubicBezTo>
                  <a:pt x="803" y="158"/>
                  <a:pt x="803" y="158"/>
                  <a:pt x="803" y="158"/>
                </a:cubicBezTo>
                <a:cubicBezTo>
                  <a:pt x="802" y="158"/>
                  <a:pt x="802" y="158"/>
                  <a:pt x="802" y="158"/>
                </a:cubicBezTo>
                <a:cubicBezTo>
                  <a:pt x="802" y="159"/>
                  <a:pt x="802" y="159"/>
                  <a:pt x="802" y="159"/>
                </a:cubicBezTo>
                <a:cubicBezTo>
                  <a:pt x="803" y="160"/>
                  <a:pt x="803" y="160"/>
                  <a:pt x="803" y="160"/>
                </a:cubicBezTo>
                <a:cubicBezTo>
                  <a:pt x="801" y="161"/>
                  <a:pt x="801" y="161"/>
                  <a:pt x="801" y="161"/>
                </a:cubicBezTo>
                <a:cubicBezTo>
                  <a:pt x="801" y="162"/>
                  <a:pt x="801" y="162"/>
                  <a:pt x="801" y="162"/>
                </a:cubicBezTo>
                <a:cubicBezTo>
                  <a:pt x="802" y="163"/>
                  <a:pt x="802" y="163"/>
                  <a:pt x="802" y="163"/>
                </a:cubicBezTo>
                <a:cubicBezTo>
                  <a:pt x="803" y="163"/>
                  <a:pt x="803" y="163"/>
                  <a:pt x="803" y="163"/>
                </a:cubicBezTo>
                <a:cubicBezTo>
                  <a:pt x="803" y="161"/>
                  <a:pt x="803" y="161"/>
                  <a:pt x="803" y="161"/>
                </a:cubicBezTo>
                <a:cubicBezTo>
                  <a:pt x="804" y="161"/>
                  <a:pt x="804" y="161"/>
                  <a:pt x="804" y="161"/>
                </a:cubicBezTo>
                <a:cubicBezTo>
                  <a:pt x="805" y="161"/>
                  <a:pt x="805" y="161"/>
                  <a:pt x="805" y="161"/>
                </a:cubicBezTo>
                <a:cubicBezTo>
                  <a:pt x="805" y="160"/>
                  <a:pt x="805" y="160"/>
                  <a:pt x="805" y="160"/>
                </a:cubicBezTo>
                <a:cubicBezTo>
                  <a:pt x="806" y="162"/>
                  <a:pt x="806" y="162"/>
                  <a:pt x="806" y="162"/>
                </a:cubicBezTo>
                <a:cubicBezTo>
                  <a:pt x="809" y="164"/>
                  <a:pt x="809" y="164"/>
                  <a:pt x="809" y="164"/>
                </a:cubicBezTo>
                <a:cubicBezTo>
                  <a:pt x="812" y="164"/>
                  <a:pt x="812" y="164"/>
                  <a:pt x="812" y="164"/>
                </a:cubicBezTo>
                <a:cubicBezTo>
                  <a:pt x="813" y="166"/>
                  <a:pt x="813" y="166"/>
                  <a:pt x="813" y="166"/>
                </a:cubicBezTo>
                <a:cubicBezTo>
                  <a:pt x="812" y="167"/>
                  <a:pt x="812" y="167"/>
                  <a:pt x="812" y="167"/>
                </a:cubicBezTo>
                <a:cubicBezTo>
                  <a:pt x="814" y="169"/>
                  <a:pt x="814" y="169"/>
                  <a:pt x="814" y="169"/>
                </a:cubicBezTo>
                <a:cubicBezTo>
                  <a:pt x="815" y="169"/>
                  <a:pt x="815" y="169"/>
                  <a:pt x="815" y="169"/>
                </a:cubicBezTo>
                <a:cubicBezTo>
                  <a:pt x="817" y="172"/>
                  <a:pt x="817" y="172"/>
                  <a:pt x="817" y="172"/>
                </a:cubicBezTo>
                <a:cubicBezTo>
                  <a:pt x="817" y="176"/>
                  <a:pt x="817" y="176"/>
                  <a:pt x="817" y="176"/>
                </a:cubicBezTo>
                <a:cubicBezTo>
                  <a:pt x="816" y="176"/>
                  <a:pt x="816" y="176"/>
                  <a:pt x="816" y="176"/>
                </a:cubicBezTo>
                <a:cubicBezTo>
                  <a:pt x="816" y="177"/>
                  <a:pt x="816" y="177"/>
                  <a:pt x="816" y="177"/>
                </a:cubicBezTo>
                <a:cubicBezTo>
                  <a:pt x="818" y="177"/>
                  <a:pt x="818" y="177"/>
                  <a:pt x="818" y="177"/>
                </a:cubicBezTo>
                <a:cubicBezTo>
                  <a:pt x="818" y="179"/>
                  <a:pt x="818" y="179"/>
                  <a:pt x="818" y="179"/>
                </a:cubicBezTo>
                <a:cubicBezTo>
                  <a:pt x="818" y="179"/>
                  <a:pt x="818" y="179"/>
                  <a:pt x="818" y="179"/>
                </a:cubicBezTo>
                <a:cubicBezTo>
                  <a:pt x="817" y="179"/>
                  <a:pt x="817" y="179"/>
                  <a:pt x="817" y="179"/>
                </a:cubicBezTo>
                <a:cubicBezTo>
                  <a:pt x="812" y="179"/>
                  <a:pt x="812" y="179"/>
                  <a:pt x="812" y="179"/>
                </a:cubicBezTo>
                <a:cubicBezTo>
                  <a:pt x="811" y="178"/>
                  <a:pt x="811" y="178"/>
                  <a:pt x="811" y="178"/>
                </a:cubicBezTo>
                <a:cubicBezTo>
                  <a:pt x="810" y="178"/>
                  <a:pt x="810" y="178"/>
                  <a:pt x="810" y="178"/>
                </a:cubicBezTo>
                <a:cubicBezTo>
                  <a:pt x="809" y="178"/>
                  <a:pt x="809" y="178"/>
                  <a:pt x="809" y="178"/>
                </a:cubicBezTo>
                <a:cubicBezTo>
                  <a:pt x="809" y="177"/>
                  <a:pt x="809" y="177"/>
                  <a:pt x="809" y="177"/>
                </a:cubicBezTo>
                <a:cubicBezTo>
                  <a:pt x="808" y="176"/>
                  <a:pt x="808" y="176"/>
                  <a:pt x="808" y="176"/>
                </a:cubicBezTo>
                <a:cubicBezTo>
                  <a:pt x="808" y="177"/>
                  <a:pt x="808" y="177"/>
                  <a:pt x="808" y="177"/>
                </a:cubicBezTo>
                <a:cubicBezTo>
                  <a:pt x="808" y="178"/>
                  <a:pt x="808" y="178"/>
                  <a:pt x="808" y="178"/>
                </a:cubicBezTo>
                <a:cubicBezTo>
                  <a:pt x="806" y="179"/>
                  <a:pt x="806" y="179"/>
                  <a:pt x="806" y="179"/>
                </a:cubicBezTo>
                <a:cubicBezTo>
                  <a:pt x="805" y="179"/>
                  <a:pt x="805" y="179"/>
                  <a:pt x="805" y="179"/>
                </a:cubicBezTo>
                <a:cubicBezTo>
                  <a:pt x="804" y="180"/>
                  <a:pt x="804" y="180"/>
                  <a:pt x="804" y="180"/>
                </a:cubicBezTo>
                <a:cubicBezTo>
                  <a:pt x="805" y="180"/>
                  <a:pt x="805" y="180"/>
                  <a:pt x="805" y="180"/>
                </a:cubicBezTo>
                <a:cubicBezTo>
                  <a:pt x="803" y="182"/>
                  <a:pt x="803" y="182"/>
                  <a:pt x="803" y="182"/>
                </a:cubicBezTo>
                <a:cubicBezTo>
                  <a:pt x="802" y="182"/>
                  <a:pt x="802" y="182"/>
                  <a:pt x="802" y="182"/>
                </a:cubicBezTo>
                <a:cubicBezTo>
                  <a:pt x="802" y="183"/>
                  <a:pt x="802" y="183"/>
                  <a:pt x="802" y="183"/>
                </a:cubicBezTo>
                <a:cubicBezTo>
                  <a:pt x="802" y="184"/>
                  <a:pt x="802" y="184"/>
                  <a:pt x="802" y="184"/>
                </a:cubicBezTo>
                <a:cubicBezTo>
                  <a:pt x="801" y="186"/>
                  <a:pt x="801" y="186"/>
                  <a:pt x="801" y="186"/>
                </a:cubicBezTo>
                <a:cubicBezTo>
                  <a:pt x="800" y="187"/>
                  <a:pt x="800" y="187"/>
                  <a:pt x="800" y="187"/>
                </a:cubicBezTo>
                <a:cubicBezTo>
                  <a:pt x="800" y="186"/>
                  <a:pt x="800" y="186"/>
                  <a:pt x="800" y="186"/>
                </a:cubicBezTo>
                <a:cubicBezTo>
                  <a:pt x="799" y="186"/>
                  <a:pt x="799" y="186"/>
                  <a:pt x="799" y="186"/>
                </a:cubicBezTo>
                <a:cubicBezTo>
                  <a:pt x="799" y="188"/>
                  <a:pt x="799" y="188"/>
                  <a:pt x="799" y="188"/>
                </a:cubicBezTo>
                <a:cubicBezTo>
                  <a:pt x="799" y="190"/>
                  <a:pt x="799" y="190"/>
                  <a:pt x="799" y="190"/>
                </a:cubicBezTo>
                <a:cubicBezTo>
                  <a:pt x="798" y="191"/>
                  <a:pt x="798" y="191"/>
                  <a:pt x="798" y="191"/>
                </a:cubicBezTo>
                <a:cubicBezTo>
                  <a:pt x="797" y="190"/>
                  <a:pt x="797" y="190"/>
                  <a:pt x="797" y="190"/>
                </a:cubicBezTo>
                <a:cubicBezTo>
                  <a:pt x="797" y="192"/>
                  <a:pt x="797" y="192"/>
                  <a:pt x="797" y="192"/>
                </a:cubicBezTo>
                <a:cubicBezTo>
                  <a:pt x="798" y="193"/>
                  <a:pt x="798" y="193"/>
                  <a:pt x="798" y="193"/>
                </a:cubicBezTo>
                <a:cubicBezTo>
                  <a:pt x="796" y="194"/>
                  <a:pt x="796" y="194"/>
                  <a:pt x="796" y="194"/>
                </a:cubicBezTo>
                <a:cubicBezTo>
                  <a:pt x="795" y="194"/>
                  <a:pt x="795" y="194"/>
                  <a:pt x="795" y="194"/>
                </a:cubicBezTo>
                <a:cubicBezTo>
                  <a:pt x="796" y="195"/>
                  <a:pt x="796" y="195"/>
                  <a:pt x="796" y="195"/>
                </a:cubicBezTo>
                <a:cubicBezTo>
                  <a:pt x="796" y="196"/>
                  <a:pt x="796" y="196"/>
                  <a:pt x="796" y="196"/>
                </a:cubicBezTo>
                <a:cubicBezTo>
                  <a:pt x="795" y="197"/>
                  <a:pt x="795" y="197"/>
                  <a:pt x="795" y="197"/>
                </a:cubicBezTo>
                <a:cubicBezTo>
                  <a:pt x="794" y="196"/>
                  <a:pt x="794" y="196"/>
                  <a:pt x="794" y="196"/>
                </a:cubicBezTo>
                <a:cubicBezTo>
                  <a:pt x="793" y="197"/>
                  <a:pt x="793" y="197"/>
                  <a:pt x="793" y="197"/>
                </a:cubicBezTo>
                <a:cubicBezTo>
                  <a:pt x="794" y="198"/>
                  <a:pt x="794" y="198"/>
                  <a:pt x="794" y="198"/>
                </a:cubicBezTo>
                <a:cubicBezTo>
                  <a:pt x="794" y="199"/>
                  <a:pt x="794" y="199"/>
                  <a:pt x="794" y="199"/>
                </a:cubicBezTo>
                <a:cubicBezTo>
                  <a:pt x="793" y="200"/>
                  <a:pt x="793" y="200"/>
                  <a:pt x="793" y="200"/>
                </a:cubicBezTo>
                <a:cubicBezTo>
                  <a:pt x="794" y="201"/>
                  <a:pt x="794" y="201"/>
                  <a:pt x="794" y="201"/>
                </a:cubicBezTo>
                <a:cubicBezTo>
                  <a:pt x="793" y="202"/>
                  <a:pt x="793" y="202"/>
                  <a:pt x="793" y="202"/>
                </a:cubicBezTo>
                <a:cubicBezTo>
                  <a:pt x="792" y="202"/>
                  <a:pt x="792" y="202"/>
                  <a:pt x="792" y="202"/>
                </a:cubicBezTo>
                <a:cubicBezTo>
                  <a:pt x="792" y="201"/>
                  <a:pt x="792" y="201"/>
                  <a:pt x="792" y="201"/>
                </a:cubicBezTo>
                <a:cubicBezTo>
                  <a:pt x="791" y="201"/>
                  <a:pt x="791" y="201"/>
                  <a:pt x="791" y="201"/>
                </a:cubicBezTo>
                <a:cubicBezTo>
                  <a:pt x="792" y="202"/>
                  <a:pt x="792" y="202"/>
                  <a:pt x="792" y="202"/>
                </a:cubicBezTo>
                <a:cubicBezTo>
                  <a:pt x="794" y="203"/>
                  <a:pt x="794" y="203"/>
                  <a:pt x="794" y="203"/>
                </a:cubicBezTo>
                <a:cubicBezTo>
                  <a:pt x="793" y="205"/>
                  <a:pt x="793" y="205"/>
                  <a:pt x="793" y="205"/>
                </a:cubicBezTo>
                <a:cubicBezTo>
                  <a:pt x="791" y="205"/>
                  <a:pt x="791" y="205"/>
                  <a:pt x="791" y="205"/>
                </a:cubicBezTo>
                <a:cubicBezTo>
                  <a:pt x="791" y="205"/>
                  <a:pt x="791" y="205"/>
                  <a:pt x="791" y="205"/>
                </a:cubicBezTo>
                <a:cubicBezTo>
                  <a:pt x="792" y="206"/>
                  <a:pt x="792" y="206"/>
                  <a:pt x="792" y="206"/>
                </a:cubicBezTo>
                <a:cubicBezTo>
                  <a:pt x="793" y="208"/>
                  <a:pt x="793" y="208"/>
                  <a:pt x="793" y="208"/>
                </a:cubicBezTo>
                <a:cubicBezTo>
                  <a:pt x="792" y="209"/>
                  <a:pt x="792" y="209"/>
                  <a:pt x="792" y="209"/>
                </a:cubicBezTo>
                <a:cubicBezTo>
                  <a:pt x="793" y="209"/>
                  <a:pt x="793" y="209"/>
                  <a:pt x="793" y="209"/>
                </a:cubicBezTo>
                <a:cubicBezTo>
                  <a:pt x="791" y="211"/>
                  <a:pt x="791" y="211"/>
                  <a:pt x="791" y="211"/>
                </a:cubicBezTo>
                <a:cubicBezTo>
                  <a:pt x="792" y="212"/>
                  <a:pt x="792" y="212"/>
                  <a:pt x="792" y="212"/>
                </a:cubicBezTo>
                <a:cubicBezTo>
                  <a:pt x="791" y="215"/>
                  <a:pt x="791" y="215"/>
                  <a:pt x="791" y="215"/>
                </a:cubicBezTo>
                <a:cubicBezTo>
                  <a:pt x="790" y="217"/>
                  <a:pt x="790" y="217"/>
                  <a:pt x="790" y="217"/>
                </a:cubicBezTo>
                <a:cubicBezTo>
                  <a:pt x="790" y="219"/>
                  <a:pt x="790" y="219"/>
                  <a:pt x="790" y="219"/>
                </a:cubicBezTo>
                <a:cubicBezTo>
                  <a:pt x="789" y="220"/>
                  <a:pt x="789" y="220"/>
                  <a:pt x="789" y="220"/>
                </a:cubicBezTo>
                <a:cubicBezTo>
                  <a:pt x="790" y="220"/>
                  <a:pt x="790" y="220"/>
                  <a:pt x="790" y="220"/>
                </a:cubicBezTo>
                <a:cubicBezTo>
                  <a:pt x="791" y="221"/>
                  <a:pt x="791" y="221"/>
                  <a:pt x="791" y="221"/>
                </a:cubicBezTo>
                <a:cubicBezTo>
                  <a:pt x="790" y="221"/>
                  <a:pt x="790" y="221"/>
                  <a:pt x="790" y="221"/>
                </a:cubicBezTo>
                <a:cubicBezTo>
                  <a:pt x="792" y="224"/>
                  <a:pt x="792" y="224"/>
                  <a:pt x="792" y="224"/>
                </a:cubicBezTo>
                <a:cubicBezTo>
                  <a:pt x="792" y="225"/>
                  <a:pt x="792" y="225"/>
                  <a:pt x="792" y="225"/>
                </a:cubicBezTo>
                <a:cubicBezTo>
                  <a:pt x="791" y="225"/>
                  <a:pt x="791" y="225"/>
                  <a:pt x="791" y="225"/>
                </a:cubicBezTo>
                <a:cubicBezTo>
                  <a:pt x="790" y="225"/>
                  <a:pt x="790" y="225"/>
                  <a:pt x="790" y="225"/>
                </a:cubicBezTo>
                <a:cubicBezTo>
                  <a:pt x="788" y="224"/>
                  <a:pt x="788" y="224"/>
                  <a:pt x="788" y="224"/>
                </a:cubicBezTo>
                <a:cubicBezTo>
                  <a:pt x="788" y="224"/>
                  <a:pt x="788" y="224"/>
                  <a:pt x="788" y="224"/>
                </a:cubicBezTo>
                <a:cubicBezTo>
                  <a:pt x="786" y="222"/>
                  <a:pt x="786" y="222"/>
                  <a:pt x="786" y="222"/>
                </a:cubicBezTo>
                <a:cubicBezTo>
                  <a:pt x="787" y="222"/>
                  <a:pt x="787" y="222"/>
                  <a:pt x="787" y="222"/>
                </a:cubicBezTo>
                <a:cubicBezTo>
                  <a:pt x="786" y="222"/>
                  <a:pt x="786" y="222"/>
                  <a:pt x="786" y="222"/>
                </a:cubicBezTo>
                <a:cubicBezTo>
                  <a:pt x="785" y="222"/>
                  <a:pt x="785" y="222"/>
                  <a:pt x="785" y="222"/>
                </a:cubicBezTo>
                <a:cubicBezTo>
                  <a:pt x="784" y="222"/>
                  <a:pt x="784" y="222"/>
                  <a:pt x="784" y="222"/>
                </a:cubicBezTo>
                <a:cubicBezTo>
                  <a:pt x="784" y="221"/>
                  <a:pt x="784" y="221"/>
                  <a:pt x="784" y="221"/>
                </a:cubicBezTo>
                <a:cubicBezTo>
                  <a:pt x="780" y="219"/>
                  <a:pt x="780" y="219"/>
                  <a:pt x="780" y="219"/>
                </a:cubicBezTo>
                <a:cubicBezTo>
                  <a:pt x="779" y="218"/>
                  <a:pt x="779" y="218"/>
                  <a:pt x="779" y="218"/>
                </a:cubicBezTo>
                <a:cubicBezTo>
                  <a:pt x="777" y="220"/>
                  <a:pt x="777" y="220"/>
                  <a:pt x="777" y="220"/>
                </a:cubicBezTo>
                <a:cubicBezTo>
                  <a:pt x="776" y="219"/>
                  <a:pt x="776" y="219"/>
                  <a:pt x="776" y="219"/>
                </a:cubicBezTo>
                <a:cubicBezTo>
                  <a:pt x="775" y="219"/>
                  <a:pt x="775" y="219"/>
                  <a:pt x="775" y="219"/>
                </a:cubicBezTo>
                <a:cubicBezTo>
                  <a:pt x="773" y="221"/>
                  <a:pt x="773" y="221"/>
                  <a:pt x="773" y="221"/>
                </a:cubicBezTo>
                <a:cubicBezTo>
                  <a:pt x="772" y="221"/>
                  <a:pt x="772" y="221"/>
                  <a:pt x="772" y="221"/>
                </a:cubicBezTo>
                <a:cubicBezTo>
                  <a:pt x="771" y="224"/>
                  <a:pt x="771" y="224"/>
                  <a:pt x="771" y="224"/>
                </a:cubicBezTo>
                <a:cubicBezTo>
                  <a:pt x="770" y="224"/>
                  <a:pt x="770" y="224"/>
                  <a:pt x="770" y="224"/>
                </a:cubicBezTo>
                <a:cubicBezTo>
                  <a:pt x="769" y="224"/>
                  <a:pt x="769" y="224"/>
                  <a:pt x="769" y="224"/>
                </a:cubicBezTo>
                <a:cubicBezTo>
                  <a:pt x="770" y="225"/>
                  <a:pt x="770" y="225"/>
                  <a:pt x="770" y="225"/>
                </a:cubicBezTo>
                <a:cubicBezTo>
                  <a:pt x="769" y="226"/>
                  <a:pt x="769" y="226"/>
                  <a:pt x="769" y="226"/>
                </a:cubicBezTo>
                <a:cubicBezTo>
                  <a:pt x="770" y="228"/>
                  <a:pt x="770" y="228"/>
                  <a:pt x="770" y="228"/>
                </a:cubicBezTo>
                <a:cubicBezTo>
                  <a:pt x="769" y="229"/>
                  <a:pt x="769" y="229"/>
                  <a:pt x="769" y="229"/>
                </a:cubicBezTo>
                <a:cubicBezTo>
                  <a:pt x="769" y="232"/>
                  <a:pt x="769" y="232"/>
                  <a:pt x="769" y="232"/>
                </a:cubicBezTo>
                <a:cubicBezTo>
                  <a:pt x="768" y="233"/>
                  <a:pt x="768" y="233"/>
                  <a:pt x="768" y="233"/>
                </a:cubicBezTo>
                <a:cubicBezTo>
                  <a:pt x="767" y="232"/>
                  <a:pt x="767" y="232"/>
                  <a:pt x="767" y="232"/>
                </a:cubicBezTo>
                <a:cubicBezTo>
                  <a:pt x="766" y="228"/>
                  <a:pt x="766" y="228"/>
                  <a:pt x="766" y="228"/>
                </a:cubicBezTo>
                <a:cubicBezTo>
                  <a:pt x="766" y="226"/>
                  <a:pt x="766" y="226"/>
                  <a:pt x="766" y="226"/>
                </a:cubicBezTo>
                <a:cubicBezTo>
                  <a:pt x="765" y="226"/>
                  <a:pt x="765" y="226"/>
                  <a:pt x="765" y="226"/>
                </a:cubicBezTo>
                <a:cubicBezTo>
                  <a:pt x="764" y="225"/>
                  <a:pt x="764" y="225"/>
                  <a:pt x="764" y="225"/>
                </a:cubicBezTo>
                <a:cubicBezTo>
                  <a:pt x="764" y="226"/>
                  <a:pt x="764" y="226"/>
                  <a:pt x="764" y="226"/>
                </a:cubicBezTo>
                <a:cubicBezTo>
                  <a:pt x="762" y="229"/>
                  <a:pt x="762" y="229"/>
                  <a:pt x="762" y="229"/>
                </a:cubicBezTo>
                <a:cubicBezTo>
                  <a:pt x="761" y="229"/>
                  <a:pt x="761" y="229"/>
                  <a:pt x="761" y="229"/>
                </a:cubicBezTo>
                <a:cubicBezTo>
                  <a:pt x="761" y="231"/>
                  <a:pt x="761" y="231"/>
                  <a:pt x="761" y="231"/>
                </a:cubicBezTo>
                <a:cubicBezTo>
                  <a:pt x="762" y="231"/>
                  <a:pt x="762" y="231"/>
                  <a:pt x="762" y="231"/>
                </a:cubicBezTo>
                <a:cubicBezTo>
                  <a:pt x="761" y="234"/>
                  <a:pt x="761" y="234"/>
                  <a:pt x="761" y="234"/>
                </a:cubicBezTo>
                <a:cubicBezTo>
                  <a:pt x="760" y="232"/>
                  <a:pt x="760" y="232"/>
                  <a:pt x="760" y="232"/>
                </a:cubicBezTo>
                <a:cubicBezTo>
                  <a:pt x="759" y="232"/>
                  <a:pt x="759" y="232"/>
                  <a:pt x="759" y="232"/>
                </a:cubicBezTo>
                <a:cubicBezTo>
                  <a:pt x="759" y="232"/>
                  <a:pt x="759" y="232"/>
                  <a:pt x="759" y="232"/>
                </a:cubicBezTo>
                <a:cubicBezTo>
                  <a:pt x="758" y="232"/>
                  <a:pt x="758" y="232"/>
                  <a:pt x="758" y="232"/>
                </a:cubicBezTo>
                <a:cubicBezTo>
                  <a:pt x="757" y="233"/>
                  <a:pt x="757" y="233"/>
                  <a:pt x="757" y="233"/>
                </a:cubicBezTo>
                <a:cubicBezTo>
                  <a:pt x="757" y="234"/>
                  <a:pt x="757" y="234"/>
                  <a:pt x="757" y="234"/>
                </a:cubicBezTo>
                <a:cubicBezTo>
                  <a:pt x="755" y="233"/>
                  <a:pt x="755" y="233"/>
                  <a:pt x="755" y="233"/>
                </a:cubicBezTo>
                <a:cubicBezTo>
                  <a:pt x="754" y="233"/>
                  <a:pt x="754" y="233"/>
                  <a:pt x="754" y="233"/>
                </a:cubicBezTo>
                <a:cubicBezTo>
                  <a:pt x="754" y="234"/>
                  <a:pt x="754" y="234"/>
                  <a:pt x="754" y="234"/>
                </a:cubicBezTo>
                <a:cubicBezTo>
                  <a:pt x="755" y="235"/>
                  <a:pt x="755" y="235"/>
                  <a:pt x="755" y="235"/>
                </a:cubicBezTo>
                <a:cubicBezTo>
                  <a:pt x="754" y="235"/>
                  <a:pt x="754" y="235"/>
                  <a:pt x="754" y="235"/>
                </a:cubicBezTo>
                <a:cubicBezTo>
                  <a:pt x="754" y="237"/>
                  <a:pt x="754" y="237"/>
                  <a:pt x="754" y="237"/>
                </a:cubicBezTo>
                <a:cubicBezTo>
                  <a:pt x="754" y="238"/>
                  <a:pt x="754" y="238"/>
                  <a:pt x="754" y="238"/>
                </a:cubicBezTo>
                <a:cubicBezTo>
                  <a:pt x="755" y="239"/>
                  <a:pt x="755" y="239"/>
                  <a:pt x="755" y="239"/>
                </a:cubicBezTo>
                <a:cubicBezTo>
                  <a:pt x="755" y="240"/>
                  <a:pt x="755" y="240"/>
                  <a:pt x="755" y="240"/>
                </a:cubicBezTo>
                <a:cubicBezTo>
                  <a:pt x="755" y="241"/>
                  <a:pt x="755" y="241"/>
                  <a:pt x="755" y="241"/>
                </a:cubicBezTo>
                <a:cubicBezTo>
                  <a:pt x="755" y="242"/>
                  <a:pt x="755" y="242"/>
                  <a:pt x="755" y="242"/>
                </a:cubicBezTo>
                <a:cubicBezTo>
                  <a:pt x="756" y="242"/>
                  <a:pt x="756" y="242"/>
                  <a:pt x="756" y="242"/>
                </a:cubicBezTo>
                <a:cubicBezTo>
                  <a:pt x="757" y="243"/>
                  <a:pt x="757" y="243"/>
                  <a:pt x="757" y="243"/>
                </a:cubicBezTo>
                <a:cubicBezTo>
                  <a:pt x="757" y="244"/>
                  <a:pt x="757" y="244"/>
                  <a:pt x="757" y="244"/>
                </a:cubicBezTo>
                <a:cubicBezTo>
                  <a:pt x="757" y="244"/>
                  <a:pt x="757" y="244"/>
                  <a:pt x="757" y="244"/>
                </a:cubicBezTo>
                <a:cubicBezTo>
                  <a:pt x="757" y="245"/>
                  <a:pt x="757" y="245"/>
                  <a:pt x="757" y="245"/>
                </a:cubicBezTo>
                <a:cubicBezTo>
                  <a:pt x="758" y="245"/>
                  <a:pt x="758" y="245"/>
                  <a:pt x="758" y="245"/>
                </a:cubicBezTo>
                <a:cubicBezTo>
                  <a:pt x="758" y="246"/>
                  <a:pt x="758" y="246"/>
                  <a:pt x="758" y="246"/>
                </a:cubicBezTo>
                <a:cubicBezTo>
                  <a:pt x="758" y="247"/>
                  <a:pt x="758" y="247"/>
                  <a:pt x="758" y="247"/>
                </a:cubicBezTo>
                <a:cubicBezTo>
                  <a:pt x="757" y="246"/>
                  <a:pt x="757" y="246"/>
                  <a:pt x="757" y="246"/>
                </a:cubicBezTo>
                <a:cubicBezTo>
                  <a:pt x="756" y="246"/>
                  <a:pt x="756" y="246"/>
                  <a:pt x="756" y="246"/>
                </a:cubicBezTo>
                <a:cubicBezTo>
                  <a:pt x="756" y="247"/>
                  <a:pt x="756" y="247"/>
                  <a:pt x="756" y="247"/>
                </a:cubicBezTo>
                <a:cubicBezTo>
                  <a:pt x="757" y="248"/>
                  <a:pt x="757" y="248"/>
                  <a:pt x="757" y="248"/>
                </a:cubicBezTo>
                <a:cubicBezTo>
                  <a:pt x="758" y="248"/>
                  <a:pt x="758" y="248"/>
                  <a:pt x="758" y="248"/>
                </a:cubicBezTo>
                <a:cubicBezTo>
                  <a:pt x="758" y="249"/>
                  <a:pt x="758" y="249"/>
                  <a:pt x="758" y="249"/>
                </a:cubicBezTo>
                <a:cubicBezTo>
                  <a:pt x="758" y="250"/>
                  <a:pt x="758" y="250"/>
                  <a:pt x="758" y="250"/>
                </a:cubicBezTo>
                <a:cubicBezTo>
                  <a:pt x="758" y="252"/>
                  <a:pt x="758" y="252"/>
                  <a:pt x="758" y="252"/>
                </a:cubicBezTo>
                <a:cubicBezTo>
                  <a:pt x="757" y="253"/>
                  <a:pt x="757" y="253"/>
                  <a:pt x="757" y="253"/>
                </a:cubicBezTo>
                <a:cubicBezTo>
                  <a:pt x="758" y="255"/>
                  <a:pt x="758" y="255"/>
                  <a:pt x="758" y="255"/>
                </a:cubicBezTo>
                <a:cubicBezTo>
                  <a:pt x="757" y="255"/>
                  <a:pt x="757" y="255"/>
                  <a:pt x="757" y="255"/>
                </a:cubicBezTo>
                <a:cubicBezTo>
                  <a:pt x="758" y="257"/>
                  <a:pt x="758" y="257"/>
                  <a:pt x="758" y="257"/>
                </a:cubicBezTo>
                <a:cubicBezTo>
                  <a:pt x="758" y="257"/>
                  <a:pt x="758" y="257"/>
                  <a:pt x="758" y="257"/>
                </a:cubicBezTo>
                <a:cubicBezTo>
                  <a:pt x="758" y="259"/>
                  <a:pt x="758" y="259"/>
                  <a:pt x="758" y="259"/>
                </a:cubicBezTo>
                <a:cubicBezTo>
                  <a:pt x="759" y="261"/>
                  <a:pt x="759" y="261"/>
                  <a:pt x="759" y="261"/>
                </a:cubicBezTo>
                <a:cubicBezTo>
                  <a:pt x="758" y="262"/>
                  <a:pt x="758" y="262"/>
                  <a:pt x="758" y="262"/>
                </a:cubicBezTo>
                <a:cubicBezTo>
                  <a:pt x="759" y="262"/>
                  <a:pt x="759" y="262"/>
                  <a:pt x="759" y="262"/>
                </a:cubicBezTo>
                <a:cubicBezTo>
                  <a:pt x="761" y="263"/>
                  <a:pt x="761" y="263"/>
                  <a:pt x="761" y="263"/>
                </a:cubicBezTo>
                <a:cubicBezTo>
                  <a:pt x="762" y="266"/>
                  <a:pt x="762" y="266"/>
                  <a:pt x="762" y="266"/>
                </a:cubicBezTo>
                <a:cubicBezTo>
                  <a:pt x="764" y="266"/>
                  <a:pt x="764" y="266"/>
                  <a:pt x="764" y="266"/>
                </a:cubicBezTo>
                <a:cubicBezTo>
                  <a:pt x="764" y="266"/>
                  <a:pt x="764" y="266"/>
                  <a:pt x="764" y="266"/>
                </a:cubicBezTo>
                <a:cubicBezTo>
                  <a:pt x="764" y="265"/>
                  <a:pt x="764" y="265"/>
                  <a:pt x="764" y="265"/>
                </a:cubicBezTo>
                <a:cubicBezTo>
                  <a:pt x="763" y="263"/>
                  <a:pt x="763" y="263"/>
                  <a:pt x="763" y="263"/>
                </a:cubicBezTo>
                <a:cubicBezTo>
                  <a:pt x="763" y="262"/>
                  <a:pt x="763" y="262"/>
                  <a:pt x="763" y="262"/>
                </a:cubicBezTo>
                <a:cubicBezTo>
                  <a:pt x="764" y="261"/>
                  <a:pt x="764" y="261"/>
                  <a:pt x="764" y="261"/>
                </a:cubicBezTo>
                <a:cubicBezTo>
                  <a:pt x="765" y="262"/>
                  <a:pt x="765" y="262"/>
                  <a:pt x="765" y="262"/>
                </a:cubicBezTo>
                <a:cubicBezTo>
                  <a:pt x="767" y="263"/>
                  <a:pt x="767" y="263"/>
                  <a:pt x="767" y="263"/>
                </a:cubicBezTo>
                <a:cubicBezTo>
                  <a:pt x="768" y="263"/>
                  <a:pt x="768" y="263"/>
                  <a:pt x="768" y="263"/>
                </a:cubicBezTo>
                <a:cubicBezTo>
                  <a:pt x="769" y="263"/>
                  <a:pt x="769" y="263"/>
                  <a:pt x="769" y="263"/>
                </a:cubicBezTo>
                <a:cubicBezTo>
                  <a:pt x="769" y="264"/>
                  <a:pt x="769" y="264"/>
                  <a:pt x="769" y="264"/>
                </a:cubicBezTo>
                <a:cubicBezTo>
                  <a:pt x="769" y="265"/>
                  <a:pt x="769" y="265"/>
                  <a:pt x="769" y="265"/>
                </a:cubicBezTo>
                <a:cubicBezTo>
                  <a:pt x="770" y="266"/>
                  <a:pt x="770" y="266"/>
                  <a:pt x="770" y="266"/>
                </a:cubicBezTo>
                <a:cubicBezTo>
                  <a:pt x="769" y="267"/>
                  <a:pt x="769" y="267"/>
                  <a:pt x="769" y="267"/>
                </a:cubicBezTo>
                <a:cubicBezTo>
                  <a:pt x="769" y="268"/>
                  <a:pt x="769" y="268"/>
                  <a:pt x="769" y="268"/>
                </a:cubicBezTo>
                <a:cubicBezTo>
                  <a:pt x="769" y="269"/>
                  <a:pt x="769" y="269"/>
                  <a:pt x="769" y="269"/>
                </a:cubicBezTo>
                <a:cubicBezTo>
                  <a:pt x="768" y="270"/>
                  <a:pt x="768" y="270"/>
                  <a:pt x="768" y="270"/>
                </a:cubicBezTo>
                <a:cubicBezTo>
                  <a:pt x="769" y="272"/>
                  <a:pt x="769" y="272"/>
                  <a:pt x="769" y="272"/>
                </a:cubicBezTo>
                <a:cubicBezTo>
                  <a:pt x="770" y="274"/>
                  <a:pt x="770" y="274"/>
                  <a:pt x="770" y="274"/>
                </a:cubicBezTo>
                <a:cubicBezTo>
                  <a:pt x="770" y="276"/>
                  <a:pt x="770" y="276"/>
                  <a:pt x="770" y="276"/>
                </a:cubicBezTo>
                <a:cubicBezTo>
                  <a:pt x="771" y="277"/>
                  <a:pt x="771" y="277"/>
                  <a:pt x="771" y="277"/>
                </a:cubicBezTo>
                <a:cubicBezTo>
                  <a:pt x="772" y="276"/>
                  <a:pt x="772" y="276"/>
                  <a:pt x="772" y="276"/>
                </a:cubicBezTo>
                <a:cubicBezTo>
                  <a:pt x="772" y="276"/>
                  <a:pt x="772" y="276"/>
                  <a:pt x="772" y="276"/>
                </a:cubicBezTo>
                <a:cubicBezTo>
                  <a:pt x="773" y="275"/>
                  <a:pt x="773" y="275"/>
                  <a:pt x="773" y="275"/>
                </a:cubicBezTo>
                <a:cubicBezTo>
                  <a:pt x="773" y="274"/>
                  <a:pt x="773" y="274"/>
                  <a:pt x="773" y="274"/>
                </a:cubicBezTo>
                <a:cubicBezTo>
                  <a:pt x="773" y="275"/>
                  <a:pt x="773" y="275"/>
                  <a:pt x="773" y="275"/>
                </a:cubicBezTo>
                <a:cubicBezTo>
                  <a:pt x="775" y="275"/>
                  <a:pt x="775" y="275"/>
                  <a:pt x="775" y="275"/>
                </a:cubicBezTo>
                <a:cubicBezTo>
                  <a:pt x="775" y="278"/>
                  <a:pt x="775" y="278"/>
                  <a:pt x="775" y="278"/>
                </a:cubicBezTo>
                <a:cubicBezTo>
                  <a:pt x="778" y="281"/>
                  <a:pt x="778" y="281"/>
                  <a:pt x="778" y="281"/>
                </a:cubicBezTo>
                <a:cubicBezTo>
                  <a:pt x="779" y="283"/>
                  <a:pt x="779" y="283"/>
                  <a:pt x="779" y="283"/>
                </a:cubicBezTo>
                <a:cubicBezTo>
                  <a:pt x="778" y="283"/>
                  <a:pt x="778" y="283"/>
                  <a:pt x="778" y="283"/>
                </a:cubicBezTo>
                <a:cubicBezTo>
                  <a:pt x="778" y="285"/>
                  <a:pt x="778" y="285"/>
                  <a:pt x="778" y="285"/>
                </a:cubicBezTo>
                <a:cubicBezTo>
                  <a:pt x="777" y="286"/>
                  <a:pt x="777" y="286"/>
                  <a:pt x="777" y="286"/>
                </a:cubicBezTo>
                <a:cubicBezTo>
                  <a:pt x="775" y="284"/>
                  <a:pt x="775" y="284"/>
                  <a:pt x="775" y="284"/>
                </a:cubicBezTo>
                <a:cubicBezTo>
                  <a:pt x="774" y="284"/>
                  <a:pt x="774" y="284"/>
                  <a:pt x="774" y="284"/>
                </a:cubicBezTo>
                <a:cubicBezTo>
                  <a:pt x="773" y="282"/>
                  <a:pt x="773" y="282"/>
                  <a:pt x="773" y="282"/>
                </a:cubicBezTo>
                <a:cubicBezTo>
                  <a:pt x="774" y="281"/>
                  <a:pt x="774" y="281"/>
                  <a:pt x="774" y="281"/>
                </a:cubicBezTo>
                <a:cubicBezTo>
                  <a:pt x="774" y="279"/>
                  <a:pt x="774" y="279"/>
                  <a:pt x="774" y="279"/>
                </a:cubicBezTo>
                <a:cubicBezTo>
                  <a:pt x="774" y="278"/>
                  <a:pt x="774" y="278"/>
                  <a:pt x="774" y="278"/>
                </a:cubicBezTo>
                <a:cubicBezTo>
                  <a:pt x="773" y="279"/>
                  <a:pt x="773" y="279"/>
                  <a:pt x="773" y="279"/>
                </a:cubicBezTo>
                <a:cubicBezTo>
                  <a:pt x="773" y="279"/>
                  <a:pt x="773" y="279"/>
                  <a:pt x="773" y="279"/>
                </a:cubicBezTo>
                <a:cubicBezTo>
                  <a:pt x="773" y="280"/>
                  <a:pt x="773" y="280"/>
                  <a:pt x="773" y="280"/>
                </a:cubicBezTo>
                <a:cubicBezTo>
                  <a:pt x="772" y="280"/>
                  <a:pt x="772" y="280"/>
                  <a:pt x="772" y="280"/>
                </a:cubicBezTo>
                <a:cubicBezTo>
                  <a:pt x="771" y="282"/>
                  <a:pt x="771" y="282"/>
                  <a:pt x="771" y="282"/>
                </a:cubicBezTo>
                <a:cubicBezTo>
                  <a:pt x="771" y="283"/>
                  <a:pt x="771" y="283"/>
                  <a:pt x="771" y="283"/>
                </a:cubicBezTo>
                <a:cubicBezTo>
                  <a:pt x="773" y="282"/>
                  <a:pt x="773" y="282"/>
                  <a:pt x="773" y="282"/>
                </a:cubicBezTo>
                <a:cubicBezTo>
                  <a:pt x="773" y="284"/>
                  <a:pt x="773" y="284"/>
                  <a:pt x="773" y="284"/>
                </a:cubicBezTo>
                <a:cubicBezTo>
                  <a:pt x="772" y="285"/>
                  <a:pt x="772" y="285"/>
                  <a:pt x="772" y="285"/>
                </a:cubicBezTo>
                <a:cubicBezTo>
                  <a:pt x="772" y="287"/>
                  <a:pt x="772" y="287"/>
                  <a:pt x="772" y="287"/>
                </a:cubicBezTo>
                <a:cubicBezTo>
                  <a:pt x="772" y="288"/>
                  <a:pt x="772" y="288"/>
                  <a:pt x="772" y="288"/>
                </a:cubicBezTo>
                <a:cubicBezTo>
                  <a:pt x="772" y="292"/>
                  <a:pt x="772" y="292"/>
                  <a:pt x="772" y="292"/>
                </a:cubicBezTo>
                <a:cubicBezTo>
                  <a:pt x="773" y="293"/>
                  <a:pt x="773" y="293"/>
                  <a:pt x="773" y="293"/>
                </a:cubicBezTo>
                <a:cubicBezTo>
                  <a:pt x="773" y="294"/>
                  <a:pt x="773" y="294"/>
                  <a:pt x="773" y="294"/>
                </a:cubicBezTo>
                <a:cubicBezTo>
                  <a:pt x="776" y="299"/>
                  <a:pt x="776" y="299"/>
                  <a:pt x="776" y="299"/>
                </a:cubicBezTo>
                <a:cubicBezTo>
                  <a:pt x="777" y="299"/>
                  <a:pt x="777" y="299"/>
                  <a:pt x="777" y="299"/>
                </a:cubicBezTo>
                <a:cubicBezTo>
                  <a:pt x="779" y="302"/>
                  <a:pt x="779" y="302"/>
                  <a:pt x="779" y="302"/>
                </a:cubicBezTo>
                <a:cubicBezTo>
                  <a:pt x="781" y="303"/>
                  <a:pt x="781" y="303"/>
                  <a:pt x="781" y="303"/>
                </a:cubicBezTo>
                <a:cubicBezTo>
                  <a:pt x="780" y="304"/>
                  <a:pt x="780" y="304"/>
                  <a:pt x="780" y="304"/>
                </a:cubicBezTo>
                <a:cubicBezTo>
                  <a:pt x="780" y="305"/>
                  <a:pt x="780" y="305"/>
                  <a:pt x="780" y="305"/>
                </a:cubicBezTo>
                <a:cubicBezTo>
                  <a:pt x="776" y="307"/>
                  <a:pt x="776" y="307"/>
                  <a:pt x="776" y="307"/>
                </a:cubicBezTo>
                <a:cubicBezTo>
                  <a:pt x="776" y="306"/>
                  <a:pt x="776" y="306"/>
                  <a:pt x="776" y="306"/>
                </a:cubicBezTo>
                <a:cubicBezTo>
                  <a:pt x="774" y="307"/>
                  <a:pt x="774" y="307"/>
                  <a:pt x="774" y="307"/>
                </a:cubicBezTo>
                <a:cubicBezTo>
                  <a:pt x="773" y="307"/>
                  <a:pt x="773" y="307"/>
                  <a:pt x="773" y="307"/>
                </a:cubicBezTo>
                <a:cubicBezTo>
                  <a:pt x="774" y="308"/>
                  <a:pt x="774" y="308"/>
                  <a:pt x="774" y="308"/>
                </a:cubicBezTo>
                <a:cubicBezTo>
                  <a:pt x="772" y="310"/>
                  <a:pt x="772" y="310"/>
                  <a:pt x="772" y="310"/>
                </a:cubicBezTo>
                <a:cubicBezTo>
                  <a:pt x="772" y="312"/>
                  <a:pt x="772" y="312"/>
                  <a:pt x="772" y="312"/>
                </a:cubicBezTo>
                <a:cubicBezTo>
                  <a:pt x="771" y="312"/>
                  <a:pt x="771" y="312"/>
                  <a:pt x="771" y="312"/>
                </a:cubicBezTo>
                <a:cubicBezTo>
                  <a:pt x="772" y="314"/>
                  <a:pt x="772" y="314"/>
                  <a:pt x="772" y="314"/>
                </a:cubicBezTo>
                <a:cubicBezTo>
                  <a:pt x="772" y="317"/>
                  <a:pt x="772" y="317"/>
                  <a:pt x="772" y="317"/>
                </a:cubicBezTo>
                <a:cubicBezTo>
                  <a:pt x="773" y="320"/>
                  <a:pt x="773" y="320"/>
                  <a:pt x="773" y="320"/>
                </a:cubicBezTo>
                <a:cubicBezTo>
                  <a:pt x="775" y="321"/>
                  <a:pt x="775" y="321"/>
                  <a:pt x="775" y="321"/>
                </a:cubicBezTo>
                <a:cubicBezTo>
                  <a:pt x="775" y="323"/>
                  <a:pt x="775" y="323"/>
                  <a:pt x="775" y="323"/>
                </a:cubicBezTo>
                <a:cubicBezTo>
                  <a:pt x="776" y="324"/>
                  <a:pt x="776" y="324"/>
                  <a:pt x="776" y="324"/>
                </a:cubicBezTo>
                <a:cubicBezTo>
                  <a:pt x="777" y="325"/>
                  <a:pt x="777" y="325"/>
                  <a:pt x="777" y="325"/>
                </a:cubicBezTo>
                <a:cubicBezTo>
                  <a:pt x="776" y="325"/>
                  <a:pt x="776" y="325"/>
                  <a:pt x="776" y="325"/>
                </a:cubicBezTo>
                <a:cubicBezTo>
                  <a:pt x="775" y="324"/>
                  <a:pt x="775" y="324"/>
                  <a:pt x="775" y="324"/>
                </a:cubicBezTo>
                <a:cubicBezTo>
                  <a:pt x="774" y="325"/>
                  <a:pt x="774" y="325"/>
                  <a:pt x="774" y="325"/>
                </a:cubicBezTo>
                <a:cubicBezTo>
                  <a:pt x="773" y="326"/>
                  <a:pt x="773" y="326"/>
                  <a:pt x="773" y="326"/>
                </a:cubicBezTo>
                <a:cubicBezTo>
                  <a:pt x="772" y="326"/>
                  <a:pt x="772" y="326"/>
                  <a:pt x="772" y="326"/>
                </a:cubicBezTo>
                <a:cubicBezTo>
                  <a:pt x="770" y="328"/>
                  <a:pt x="770" y="328"/>
                  <a:pt x="770" y="328"/>
                </a:cubicBezTo>
                <a:cubicBezTo>
                  <a:pt x="769" y="327"/>
                  <a:pt x="769" y="327"/>
                  <a:pt x="769" y="327"/>
                </a:cubicBezTo>
                <a:cubicBezTo>
                  <a:pt x="768" y="328"/>
                  <a:pt x="768" y="328"/>
                  <a:pt x="768" y="328"/>
                </a:cubicBezTo>
                <a:cubicBezTo>
                  <a:pt x="769" y="329"/>
                  <a:pt x="769" y="329"/>
                  <a:pt x="769" y="329"/>
                </a:cubicBezTo>
                <a:cubicBezTo>
                  <a:pt x="771" y="329"/>
                  <a:pt x="771" y="329"/>
                  <a:pt x="771" y="329"/>
                </a:cubicBezTo>
                <a:cubicBezTo>
                  <a:pt x="770" y="330"/>
                  <a:pt x="770" y="330"/>
                  <a:pt x="770" y="330"/>
                </a:cubicBezTo>
                <a:cubicBezTo>
                  <a:pt x="770" y="331"/>
                  <a:pt x="770" y="331"/>
                  <a:pt x="770" y="331"/>
                </a:cubicBezTo>
                <a:cubicBezTo>
                  <a:pt x="771" y="332"/>
                  <a:pt x="771" y="332"/>
                  <a:pt x="771" y="332"/>
                </a:cubicBezTo>
                <a:cubicBezTo>
                  <a:pt x="771" y="333"/>
                  <a:pt x="771" y="333"/>
                  <a:pt x="771" y="333"/>
                </a:cubicBezTo>
                <a:cubicBezTo>
                  <a:pt x="770" y="332"/>
                  <a:pt x="770" y="332"/>
                  <a:pt x="770" y="332"/>
                </a:cubicBezTo>
                <a:cubicBezTo>
                  <a:pt x="771" y="334"/>
                  <a:pt x="771" y="334"/>
                  <a:pt x="771" y="334"/>
                </a:cubicBezTo>
                <a:cubicBezTo>
                  <a:pt x="770" y="335"/>
                  <a:pt x="770" y="335"/>
                  <a:pt x="770" y="335"/>
                </a:cubicBezTo>
                <a:cubicBezTo>
                  <a:pt x="771" y="335"/>
                  <a:pt x="771" y="335"/>
                  <a:pt x="771" y="335"/>
                </a:cubicBezTo>
                <a:cubicBezTo>
                  <a:pt x="772" y="335"/>
                  <a:pt x="772" y="335"/>
                  <a:pt x="772" y="335"/>
                </a:cubicBezTo>
                <a:cubicBezTo>
                  <a:pt x="773" y="336"/>
                  <a:pt x="773" y="336"/>
                  <a:pt x="773" y="336"/>
                </a:cubicBezTo>
                <a:cubicBezTo>
                  <a:pt x="772" y="337"/>
                  <a:pt x="772" y="337"/>
                  <a:pt x="772" y="337"/>
                </a:cubicBezTo>
                <a:cubicBezTo>
                  <a:pt x="772" y="339"/>
                  <a:pt x="772" y="339"/>
                  <a:pt x="772" y="339"/>
                </a:cubicBezTo>
                <a:cubicBezTo>
                  <a:pt x="773" y="340"/>
                  <a:pt x="773" y="340"/>
                  <a:pt x="773" y="340"/>
                </a:cubicBezTo>
                <a:cubicBezTo>
                  <a:pt x="772" y="343"/>
                  <a:pt x="772" y="343"/>
                  <a:pt x="772" y="343"/>
                </a:cubicBezTo>
                <a:cubicBezTo>
                  <a:pt x="772" y="344"/>
                  <a:pt x="772" y="344"/>
                  <a:pt x="772" y="344"/>
                </a:cubicBezTo>
                <a:cubicBezTo>
                  <a:pt x="772" y="344"/>
                  <a:pt x="772" y="344"/>
                  <a:pt x="772" y="344"/>
                </a:cubicBezTo>
                <a:cubicBezTo>
                  <a:pt x="772" y="345"/>
                  <a:pt x="772" y="345"/>
                  <a:pt x="772" y="345"/>
                </a:cubicBezTo>
                <a:cubicBezTo>
                  <a:pt x="770" y="347"/>
                  <a:pt x="770" y="347"/>
                  <a:pt x="770" y="347"/>
                </a:cubicBezTo>
                <a:cubicBezTo>
                  <a:pt x="770" y="348"/>
                  <a:pt x="770" y="348"/>
                  <a:pt x="770" y="348"/>
                </a:cubicBezTo>
                <a:cubicBezTo>
                  <a:pt x="770" y="348"/>
                  <a:pt x="770" y="348"/>
                  <a:pt x="770" y="348"/>
                </a:cubicBezTo>
                <a:cubicBezTo>
                  <a:pt x="769" y="351"/>
                  <a:pt x="769" y="351"/>
                  <a:pt x="769" y="351"/>
                </a:cubicBezTo>
                <a:cubicBezTo>
                  <a:pt x="768" y="354"/>
                  <a:pt x="768" y="354"/>
                  <a:pt x="768" y="354"/>
                </a:cubicBezTo>
                <a:cubicBezTo>
                  <a:pt x="768" y="353"/>
                  <a:pt x="768" y="353"/>
                  <a:pt x="768" y="353"/>
                </a:cubicBezTo>
                <a:cubicBezTo>
                  <a:pt x="767" y="352"/>
                  <a:pt x="767" y="352"/>
                  <a:pt x="767" y="352"/>
                </a:cubicBezTo>
                <a:cubicBezTo>
                  <a:pt x="768" y="350"/>
                  <a:pt x="768" y="350"/>
                  <a:pt x="768" y="350"/>
                </a:cubicBezTo>
                <a:cubicBezTo>
                  <a:pt x="767" y="350"/>
                  <a:pt x="767" y="350"/>
                  <a:pt x="767" y="350"/>
                </a:cubicBezTo>
                <a:cubicBezTo>
                  <a:pt x="765" y="349"/>
                  <a:pt x="765" y="349"/>
                  <a:pt x="765" y="349"/>
                </a:cubicBezTo>
                <a:cubicBezTo>
                  <a:pt x="763" y="347"/>
                  <a:pt x="763" y="347"/>
                  <a:pt x="763" y="347"/>
                </a:cubicBezTo>
                <a:cubicBezTo>
                  <a:pt x="763" y="345"/>
                  <a:pt x="763" y="345"/>
                  <a:pt x="763" y="345"/>
                </a:cubicBezTo>
                <a:cubicBezTo>
                  <a:pt x="761" y="340"/>
                  <a:pt x="761" y="340"/>
                  <a:pt x="761" y="340"/>
                </a:cubicBezTo>
                <a:cubicBezTo>
                  <a:pt x="759" y="337"/>
                  <a:pt x="759" y="337"/>
                  <a:pt x="759" y="337"/>
                </a:cubicBezTo>
                <a:cubicBezTo>
                  <a:pt x="760" y="337"/>
                  <a:pt x="760" y="337"/>
                  <a:pt x="760" y="337"/>
                </a:cubicBezTo>
                <a:cubicBezTo>
                  <a:pt x="761" y="337"/>
                  <a:pt x="761" y="337"/>
                  <a:pt x="761" y="337"/>
                </a:cubicBezTo>
                <a:cubicBezTo>
                  <a:pt x="761" y="336"/>
                  <a:pt x="761" y="336"/>
                  <a:pt x="761" y="336"/>
                </a:cubicBezTo>
                <a:cubicBezTo>
                  <a:pt x="760" y="336"/>
                  <a:pt x="760" y="336"/>
                  <a:pt x="760" y="336"/>
                </a:cubicBezTo>
                <a:cubicBezTo>
                  <a:pt x="759" y="336"/>
                  <a:pt x="759" y="336"/>
                  <a:pt x="759" y="336"/>
                </a:cubicBezTo>
                <a:cubicBezTo>
                  <a:pt x="757" y="335"/>
                  <a:pt x="757" y="335"/>
                  <a:pt x="757" y="335"/>
                </a:cubicBezTo>
                <a:cubicBezTo>
                  <a:pt x="752" y="326"/>
                  <a:pt x="752" y="326"/>
                  <a:pt x="752" y="326"/>
                </a:cubicBezTo>
                <a:cubicBezTo>
                  <a:pt x="747" y="321"/>
                  <a:pt x="747" y="321"/>
                  <a:pt x="747" y="321"/>
                </a:cubicBezTo>
                <a:cubicBezTo>
                  <a:pt x="747" y="319"/>
                  <a:pt x="747" y="319"/>
                  <a:pt x="747" y="319"/>
                </a:cubicBezTo>
                <a:cubicBezTo>
                  <a:pt x="746" y="317"/>
                  <a:pt x="746" y="317"/>
                  <a:pt x="746" y="317"/>
                </a:cubicBezTo>
                <a:cubicBezTo>
                  <a:pt x="742" y="312"/>
                  <a:pt x="742" y="312"/>
                  <a:pt x="742" y="312"/>
                </a:cubicBezTo>
                <a:cubicBezTo>
                  <a:pt x="739" y="305"/>
                  <a:pt x="739" y="305"/>
                  <a:pt x="739" y="305"/>
                </a:cubicBezTo>
                <a:cubicBezTo>
                  <a:pt x="736" y="299"/>
                  <a:pt x="736" y="299"/>
                  <a:pt x="736" y="299"/>
                </a:cubicBezTo>
                <a:cubicBezTo>
                  <a:pt x="736" y="297"/>
                  <a:pt x="736" y="297"/>
                  <a:pt x="736" y="297"/>
                </a:cubicBezTo>
                <a:cubicBezTo>
                  <a:pt x="734" y="294"/>
                  <a:pt x="734" y="294"/>
                  <a:pt x="734" y="294"/>
                </a:cubicBezTo>
                <a:cubicBezTo>
                  <a:pt x="734" y="290"/>
                  <a:pt x="734" y="290"/>
                  <a:pt x="734" y="290"/>
                </a:cubicBezTo>
                <a:cubicBezTo>
                  <a:pt x="733" y="287"/>
                  <a:pt x="733" y="287"/>
                  <a:pt x="733" y="287"/>
                </a:cubicBezTo>
                <a:cubicBezTo>
                  <a:pt x="733" y="285"/>
                  <a:pt x="733" y="285"/>
                  <a:pt x="733" y="285"/>
                </a:cubicBezTo>
                <a:cubicBezTo>
                  <a:pt x="734" y="283"/>
                  <a:pt x="734" y="283"/>
                  <a:pt x="734" y="283"/>
                </a:cubicBezTo>
                <a:cubicBezTo>
                  <a:pt x="735" y="281"/>
                  <a:pt x="735" y="281"/>
                  <a:pt x="735" y="281"/>
                </a:cubicBezTo>
                <a:cubicBezTo>
                  <a:pt x="736" y="281"/>
                  <a:pt x="736" y="281"/>
                  <a:pt x="736" y="281"/>
                </a:cubicBezTo>
                <a:cubicBezTo>
                  <a:pt x="735" y="280"/>
                  <a:pt x="735" y="280"/>
                  <a:pt x="735" y="280"/>
                </a:cubicBezTo>
                <a:cubicBezTo>
                  <a:pt x="736" y="279"/>
                  <a:pt x="736" y="279"/>
                  <a:pt x="736" y="279"/>
                </a:cubicBezTo>
                <a:cubicBezTo>
                  <a:pt x="736" y="276"/>
                  <a:pt x="736" y="276"/>
                  <a:pt x="736" y="276"/>
                </a:cubicBezTo>
                <a:cubicBezTo>
                  <a:pt x="733" y="273"/>
                  <a:pt x="733" y="273"/>
                  <a:pt x="733" y="273"/>
                </a:cubicBezTo>
                <a:cubicBezTo>
                  <a:pt x="732" y="273"/>
                  <a:pt x="732" y="273"/>
                  <a:pt x="732" y="273"/>
                </a:cubicBezTo>
                <a:cubicBezTo>
                  <a:pt x="732" y="272"/>
                  <a:pt x="732" y="272"/>
                  <a:pt x="732" y="272"/>
                </a:cubicBezTo>
                <a:cubicBezTo>
                  <a:pt x="733" y="271"/>
                  <a:pt x="733" y="271"/>
                  <a:pt x="733" y="271"/>
                </a:cubicBezTo>
                <a:cubicBezTo>
                  <a:pt x="735" y="272"/>
                  <a:pt x="735" y="272"/>
                  <a:pt x="735" y="272"/>
                </a:cubicBezTo>
                <a:cubicBezTo>
                  <a:pt x="737" y="270"/>
                  <a:pt x="737" y="270"/>
                  <a:pt x="737" y="270"/>
                </a:cubicBezTo>
                <a:cubicBezTo>
                  <a:pt x="736" y="269"/>
                  <a:pt x="736" y="269"/>
                  <a:pt x="736" y="269"/>
                </a:cubicBezTo>
                <a:cubicBezTo>
                  <a:pt x="736" y="267"/>
                  <a:pt x="736" y="267"/>
                  <a:pt x="736" y="267"/>
                </a:cubicBezTo>
                <a:cubicBezTo>
                  <a:pt x="738" y="267"/>
                  <a:pt x="738" y="267"/>
                  <a:pt x="738" y="267"/>
                </a:cubicBezTo>
                <a:cubicBezTo>
                  <a:pt x="740" y="267"/>
                  <a:pt x="740" y="267"/>
                  <a:pt x="740" y="267"/>
                </a:cubicBezTo>
                <a:cubicBezTo>
                  <a:pt x="739" y="265"/>
                  <a:pt x="739" y="265"/>
                  <a:pt x="739" y="265"/>
                </a:cubicBezTo>
                <a:cubicBezTo>
                  <a:pt x="741" y="262"/>
                  <a:pt x="741" y="262"/>
                  <a:pt x="741" y="262"/>
                </a:cubicBezTo>
                <a:cubicBezTo>
                  <a:pt x="740" y="259"/>
                  <a:pt x="740" y="259"/>
                  <a:pt x="740" y="259"/>
                </a:cubicBezTo>
                <a:cubicBezTo>
                  <a:pt x="740" y="257"/>
                  <a:pt x="740" y="257"/>
                  <a:pt x="740" y="257"/>
                </a:cubicBezTo>
                <a:cubicBezTo>
                  <a:pt x="739" y="255"/>
                  <a:pt x="739" y="255"/>
                  <a:pt x="739" y="255"/>
                </a:cubicBezTo>
                <a:cubicBezTo>
                  <a:pt x="740" y="254"/>
                  <a:pt x="740" y="254"/>
                  <a:pt x="740" y="254"/>
                </a:cubicBezTo>
                <a:cubicBezTo>
                  <a:pt x="740" y="253"/>
                  <a:pt x="740" y="253"/>
                  <a:pt x="740" y="253"/>
                </a:cubicBezTo>
                <a:cubicBezTo>
                  <a:pt x="740" y="252"/>
                  <a:pt x="740" y="252"/>
                  <a:pt x="740" y="252"/>
                </a:cubicBezTo>
                <a:cubicBezTo>
                  <a:pt x="740" y="250"/>
                  <a:pt x="740" y="250"/>
                  <a:pt x="740" y="250"/>
                </a:cubicBezTo>
                <a:cubicBezTo>
                  <a:pt x="741" y="250"/>
                  <a:pt x="741" y="250"/>
                  <a:pt x="741" y="250"/>
                </a:cubicBezTo>
                <a:cubicBezTo>
                  <a:pt x="740" y="249"/>
                  <a:pt x="740" y="249"/>
                  <a:pt x="740" y="249"/>
                </a:cubicBezTo>
                <a:cubicBezTo>
                  <a:pt x="740" y="248"/>
                  <a:pt x="740" y="248"/>
                  <a:pt x="740" y="248"/>
                </a:cubicBezTo>
                <a:cubicBezTo>
                  <a:pt x="740" y="247"/>
                  <a:pt x="740" y="247"/>
                  <a:pt x="740" y="247"/>
                </a:cubicBezTo>
                <a:cubicBezTo>
                  <a:pt x="740" y="245"/>
                  <a:pt x="740" y="245"/>
                  <a:pt x="740" y="245"/>
                </a:cubicBezTo>
                <a:cubicBezTo>
                  <a:pt x="740" y="244"/>
                  <a:pt x="740" y="244"/>
                  <a:pt x="740" y="244"/>
                </a:cubicBezTo>
                <a:cubicBezTo>
                  <a:pt x="740" y="243"/>
                  <a:pt x="740" y="243"/>
                  <a:pt x="740" y="243"/>
                </a:cubicBezTo>
                <a:cubicBezTo>
                  <a:pt x="741" y="243"/>
                  <a:pt x="741" y="243"/>
                  <a:pt x="741" y="243"/>
                </a:cubicBezTo>
                <a:cubicBezTo>
                  <a:pt x="742" y="242"/>
                  <a:pt x="742" y="242"/>
                  <a:pt x="742" y="242"/>
                </a:cubicBezTo>
                <a:cubicBezTo>
                  <a:pt x="742" y="240"/>
                  <a:pt x="742" y="240"/>
                  <a:pt x="742" y="240"/>
                </a:cubicBezTo>
                <a:cubicBezTo>
                  <a:pt x="742" y="237"/>
                  <a:pt x="742" y="237"/>
                  <a:pt x="742" y="237"/>
                </a:cubicBezTo>
                <a:cubicBezTo>
                  <a:pt x="741" y="237"/>
                  <a:pt x="741" y="237"/>
                  <a:pt x="741" y="237"/>
                </a:cubicBezTo>
                <a:cubicBezTo>
                  <a:pt x="741" y="236"/>
                  <a:pt x="741" y="236"/>
                  <a:pt x="741" y="236"/>
                </a:cubicBezTo>
                <a:cubicBezTo>
                  <a:pt x="742" y="234"/>
                  <a:pt x="742" y="234"/>
                  <a:pt x="742" y="234"/>
                </a:cubicBezTo>
                <a:cubicBezTo>
                  <a:pt x="742" y="232"/>
                  <a:pt x="742" y="232"/>
                  <a:pt x="742" y="232"/>
                </a:cubicBezTo>
                <a:cubicBezTo>
                  <a:pt x="741" y="232"/>
                  <a:pt x="741" y="232"/>
                  <a:pt x="741" y="232"/>
                </a:cubicBezTo>
                <a:cubicBezTo>
                  <a:pt x="741" y="231"/>
                  <a:pt x="741" y="231"/>
                  <a:pt x="741" y="231"/>
                </a:cubicBezTo>
                <a:cubicBezTo>
                  <a:pt x="742" y="230"/>
                  <a:pt x="742" y="230"/>
                  <a:pt x="742" y="230"/>
                </a:cubicBezTo>
                <a:cubicBezTo>
                  <a:pt x="742" y="229"/>
                  <a:pt x="742" y="229"/>
                  <a:pt x="742" y="229"/>
                </a:cubicBezTo>
                <a:cubicBezTo>
                  <a:pt x="743" y="228"/>
                  <a:pt x="743" y="228"/>
                  <a:pt x="743" y="228"/>
                </a:cubicBezTo>
                <a:cubicBezTo>
                  <a:pt x="743" y="228"/>
                  <a:pt x="743" y="228"/>
                  <a:pt x="743" y="228"/>
                </a:cubicBezTo>
                <a:cubicBezTo>
                  <a:pt x="744" y="227"/>
                  <a:pt x="744" y="227"/>
                  <a:pt x="744" y="227"/>
                </a:cubicBezTo>
                <a:cubicBezTo>
                  <a:pt x="745" y="226"/>
                  <a:pt x="745" y="226"/>
                  <a:pt x="745" y="226"/>
                </a:cubicBezTo>
                <a:cubicBezTo>
                  <a:pt x="746" y="224"/>
                  <a:pt x="746" y="224"/>
                  <a:pt x="746" y="224"/>
                </a:cubicBezTo>
                <a:cubicBezTo>
                  <a:pt x="746" y="224"/>
                  <a:pt x="746" y="224"/>
                  <a:pt x="746" y="224"/>
                </a:cubicBezTo>
                <a:cubicBezTo>
                  <a:pt x="748" y="223"/>
                  <a:pt x="748" y="223"/>
                  <a:pt x="748" y="223"/>
                </a:cubicBezTo>
                <a:cubicBezTo>
                  <a:pt x="748" y="223"/>
                  <a:pt x="748" y="223"/>
                  <a:pt x="748" y="223"/>
                </a:cubicBezTo>
                <a:cubicBezTo>
                  <a:pt x="749" y="222"/>
                  <a:pt x="749" y="222"/>
                  <a:pt x="749" y="222"/>
                </a:cubicBezTo>
                <a:cubicBezTo>
                  <a:pt x="748" y="222"/>
                  <a:pt x="748" y="222"/>
                  <a:pt x="748" y="222"/>
                </a:cubicBezTo>
                <a:cubicBezTo>
                  <a:pt x="747" y="222"/>
                  <a:pt x="747" y="222"/>
                  <a:pt x="747" y="222"/>
                </a:cubicBezTo>
                <a:cubicBezTo>
                  <a:pt x="746" y="222"/>
                  <a:pt x="746" y="222"/>
                  <a:pt x="746" y="222"/>
                </a:cubicBezTo>
                <a:cubicBezTo>
                  <a:pt x="745" y="222"/>
                  <a:pt x="745" y="222"/>
                  <a:pt x="745" y="222"/>
                </a:cubicBezTo>
                <a:cubicBezTo>
                  <a:pt x="745" y="219"/>
                  <a:pt x="745" y="219"/>
                  <a:pt x="745" y="219"/>
                </a:cubicBezTo>
                <a:cubicBezTo>
                  <a:pt x="746" y="217"/>
                  <a:pt x="746" y="217"/>
                  <a:pt x="746" y="217"/>
                </a:cubicBezTo>
                <a:cubicBezTo>
                  <a:pt x="746" y="216"/>
                  <a:pt x="746" y="216"/>
                  <a:pt x="746" y="216"/>
                </a:cubicBezTo>
                <a:cubicBezTo>
                  <a:pt x="745" y="215"/>
                  <a:pt x="745" y="215"/>
                  <a:pt x="745" y="215"/>
                </a:cubicBezTo>
                <a:cubicBezTo>
                  <a:pt x="745" y="215"/>
                  <a:pt x="745" y="215"/>
                  <a:pt x="745" y="215"/>
                </a:cubicBezTo>
                <a:cubicBezTo>
                  <a:pt x="744" y="216"/>
                  <a:pt x="744" y="216"/>
                  <a:pt x="744" y="216"/>
                </a:cubicBezTo>
                <a:cubicBezTo>
                  <a:pt x="744" y="216"/>
                  <a:pt x="744" y="216"/>
                  <a:pt x="744" y="216"/>
                </a:cubicBezTo>
                <a:cubicBezTo>
                  <a:pt x="743" y="213"/>
                  <a:pt x="743" y="213"/>
                  <a:pt x="743" y="213"/>
                </a:cubicBezTo>
                <a:cubicBezTo>
                  <a:pt x="744" y="212"/>
                  <a:pt x="744" y="212"/>
                  <a:pt x="744" y="212"/>
                </a:cubicBezTo>
                <a:cubicBezTo>
                  <a:pt x="744" y="211"/>
                  <a:pt x="744" y="211"/>
                  <a:pt x="744" y="211"/>
                </a:cubicBezTo>
                <a:cubicBezTo>
                  <a:pt x="744" y="210"/>
                  <a:pt x="744" y="210"/>
                  <a:pt x="744" y="210"/>
                </a:cubicBezTo>
                <a:cubicBezTo>
                  <a:pt x="742" y="209"/>
                  <a:pt x="742" y="209"/>
                  <a:pt x="742" y="209"/>
                </a:cubicBezTo>
                <a:cubicBezTo>
                  <a:pt x="743" y="209"/>
                  <a:pt x="743" y="209"/>
                  <a:pt x="743" y="209"/>
                </a:cubicBezTo>
                <a:cubicBezTo>
                  <a:pt x="742" y="209"/>
                  <a:pt x="742" y="209"/>
                  <a:pt x="742" y="209"/>
                </a:cubicBezTo>
                <a:cubicBezTo>
                  <a:pt x="742" y="208"/>
                  <a:pt x="742" y="208"/>
                  <a:pt x="742" y="208"/>
                </a:cubicBezTo>
                <a:cubicBezTo>
                  <a:pt x="741" y="206"/>
                  <a:pt x="741" y="206"/>
                  <a:pt x="741" y="206"/>
                </a:cubicBezTo>
                <a:cubicBezTo>
                  <a:pt x="741" y="206"/>
                  <a:pt x="741" y="206"/>
                  <a:pt x="741" y="206"/>
                </a:cubicBezTo>
                <a:cubicBezTo>
                  <a:pt x="740" y="205"/>
                  <a:pt x="740" y="205"/>
                  <a:pt x="740" y="205"/>
                </a:cubicBezTo>
                <a:cubicBezTo>
                  <a:pt x="740" y="204"/>
                  <a:pt x="740" y="204"/>
                  <a:pt x="740" y="204"/>
                </a:cubicBezTo>
                <a:cubicBezTo>
                  <a:pt x="739" y="202"/>
                  <a:pt x="739" y="202"/>
                  <a:pt x="739" y="202"/>
                </a:cubicBezTo>
                <a:cubicBezTo>
                  <a:pt x="739" y="201"/>
                  <a:pt x="739" y="201"/>
                  <a:pt x="739" y="201"/>
                </a:cubicBezTo>
                <a:cubicBezTo>
                  <a:pt x="741" y="199"/>
                  <a:pt x="741" y="199"/>
                  <a:pt x="741" y="199"/>
                </a:cubicBezTo>
                <a:cubicBezTo>
                  <a:pt x="742" y="200"/>
                  <a:pt x="742" y="200"/>
                  <a:pt x="742" y="200"/>
                </a:cubicBezTo>
                <a:cubicBezTo>
                  <a:pt x="744" y="199"/>
                  <a:pt x="744" y="199"/>
                  <a:pt x="744" y="199"/>
                </a:cubicBezTo>
                <a:cubicBezTo>
                  <a:pt x="743" y="199"/>
                  <a:pt x="743" y="199"/>
                  <a:pt x="743" y="199"/>
                </a:cubicBezTo>
                <a:cubicBezTo>
                  <a:pt x="745" y="198"/>
                  <a:pt x="745" y="198"/>
                  <a:pt x="745" y="198"/>
                </a:cubicBezTo>
                <a:cubicBezTo>
                  <a:pt x="744" y="198"/>
                  <a:pt x="744" y="198"/>
                  <a:pt x="744" y="198"/>
                </a:cubicBezTo>
                <a:cubicBezTo>
                  <a:pt x="743" y="198"/>
                  <a:pt x="743" y="198"/>
                  <a:pt x="743" y="198"/>
                </a:cubicBezTo>
                <a:cubicBezTo>
                  <a:pt x="742" y="197"/>
                  <a:pt x="742" y="197"/>
                  <a:pt x="742" y="197"/>
                </a:cubicBezTo>
                <a:cubicBezTo>
                  <a:pt x="740" y="197"/>
                  <a:pt x="740" y="197"/>
                  <a:pt x="740" y="197"/>
                </a:cubicBezTo>
                <a:cubicBezTo>
                  <a:pt x="738" y="196"/>
                  <a:pt x="738" y="196"/>
                  <a:pt x="738" y="196"/>
                </a:cubicBezTo>
                <a:cubicBezTo>
                  <a:pt x="738" y="196"/>
                  <a:pt x="738" y="196"/>
                  <a:pt x="738" y="196"/>
                </a:cubicBezTo>
                <a:cubicBezTo>
                  <a:pt x="736" y="196"/>
                  <a:pt x="736" y="196"/>
                  <a:pt x="736" y="196"/>
                </a:cubicBezTo>
                <a:cubicBezTo>
                  <a:pt x="735" y="198"/>
                  <a:pt x="735" y="198"/>
                  <a:pt x="735" y="198"/>
                </a:cubicBezTo>
                <a:cubicBezTo>
                  <a:pt x="734" y="198"/>
                  <a:pt x="734" y="198"/>
                  <a:pt x="734" y="198"/>
                </a:cubicBezTo>
                <a:cubicBezTo>
                  <a:pt x="732" y="199"/>
                  <a:pt x="732" y="199"/>
                  <a:pt x="732" y="199"/>
                </a:cubicBezTo>
                <a:cubicBezTo>
                  <a:pt x="733" y="200"/>
                  <a:pt x="733" y="200"/>
                  <a:pt x="733" y="200"/>
                </a:cubicBezTo>
                <a:cubicBezTo>
                  <a:pt x="732" y="201"/>
                  <a:pt x="732" y="201"/>
                  <a:pt x="732" y="201"/>
                </a:cubicBezTo>
                <a:cubicBezTo>
                  <a:pt x="734" y="202"/>
                  <a:pt x="734" y="202"/>
                  <a:pt x="734" y="202"/>
                </a:cubicBezTo>
                <a:cubicBezTo>
                  <a:pt x="734" y="203"/>
                  <a:pt x="734" y="203"/>
                  <a:pt x="734" y="203"/>
                </a:cubicBezTo>
                <a:cubicBezTo>
                  <a:pt x="734" y="204"/>
                  <a:pt x="734" y="204"/>
                  <a:pt x="734" y="204"/>
                </a:cubicBezTo>
                <a:cubicBezTo>
                  <a:pt x="734" y="206"/>
                  <a:pt x="734" y="206"/>
                  <a:pt x="734" y="206"/>
                </a:cubicBezTo>
                <a:cubicBezTo>
                  <a:pt x="735" y="207"/>
                  <a:pt x="735" y="207"/>
                  <a:pt x="735" y="207"/>
                </a:cubicBezTo>
                <a:cubicBezTo>
                  <a:pt x="735" y="207"/>
                  <a:pt x="735" y="207"/>
                  <a:pt x="735" y="207"/>
                </a:cubicBezTo>
                <a:cubicBezTo>
                  <a:pt x="736" y="208"/>
                  <a:pt x="736" y="208"/>
                  <a:pt x="736" y="208"/>
                </a:cubicBezTo>
                <a:cubicBezTo>
                  <a:pt x="737" y="210"/>
                  <a:pt x="737" y="210"/>
                  <a:pt x="737" y="210"/>
                </a:cubicBezTo>
                <a:cubicBezTo>
                  <a:pt x="739" y="211"/>
                  <a:pt x="739" y="211"/>
                  <a:pt x="739" y="211"/>
                </a:cubicBezTo>
                <a:cubicBezTo>
                  <a:pt x="738" y="213"/>
                  <a:pt x="738" y="213"/>
                  <a:pt x="738" y="213"/>
                </a:cubicBezTo>
                <a:cubicBezTo>
                  <a:pt x="739" y="213"/>
                  <a:pt x="739" y="213"/>
                  <a:pt x="739" y="213"/>
                </a:cubicBezTo>
                <a:cubicBezTo>
                  <a:pt x="739" y="214"/>
                  <a:pt x="739" y="214"/>
                  <a:pt x="739" y="214"/>
                </a:cubicBezTo>
                <a:cubicBezTo>
                  <a:pt x="738" y="213"/>
                  <a:pt x="738" y="213"/>
                  <a:pt x="738" y="213"/>
                </a:cubicBezTo>
                <a:cubicBezTo>
                  <a:pt x="737" y="212"/>
                  <a:pt x="737" y="212"/>
                  <a:pt x="737" y="212"/>
                </a:cubicBezTo>
                <a:cubicBezTo>
                  <a:pt x="736" y="213"/>
                  <a:pt x="736" y="213"/>
                  <a:pt x="736" y="213"/>
                </a:cubicBezTo>
                <a:cubicBezTo>
                  <a:pt x="735" y="214"/>
                  <a:pt x="735" y="214"/>
                  <a:pt x="735" y="214"/>
                </a:cubicBezTo>
                <a:cubicBezTo>
                  <a:pt x="734" y="215"/>
                  <a:pt x="734" y="215"/>
                  <a:pt x="734" y="215"/>
                </a:cubicBezTo>
                <a:cubicBezTo>
                  <a:pt x="735" y="216"/>
                  <a:pt x="735" y="216"/>
                  <a:pt x="735" y="216"/>
                </a:cubicBezTo>
                <a:cubicBezTo>
                  <a:pt x="734" y="218"/>
                  <a:pt x="734" y="218"/>
                  <a:pt x="734" y="218"/>
                </a:cubicBezTo>
                <a:cubicBezTo>
                  <a:pt x="734" y="218"/>
                  <a:pt x="734" y="218"/>
                  <a:pt x="734" y="218"/>
                </a:cubicBezTo>
                <a:cubicBezTo>
                  <a:pt x="734" y="219"/>
                  <a:pt x="734" y="219"/>
                  <a:pt x="734" y="219"/>
                </a:cubicBezTo>
                <a:cubicBezTo>
                  <a:pt x="734" y="219"/>
                  <a:pt x="734" y="219"/>
                  <a:pt x="734" y="219"/>
                </a:cubicBezTo>
                <a:cubicBezTo>
                  <a:pt x="734" y="220"/>
                  <a:pt x="734" y="220"/>
                  <a:pt x="734" y="220"/>
                </a:cubicBezTo>
                <a:cubicBezTo>
                  <a:pt x="733" y="221"/>
                  <a:pt x="733" y="221"/>
                  <a:pt x="733" y="221"/>
                </a:cubicBezTo>
                <a:cubicBezTo>
                  <a:pt x="734" y="222"/>
                  <a:pt x="734" y="222"/>
                  <a:pt x="734" y="222"/>
                </a:cubicBezTo>
                <a:cubicBezTo>
                  <a:pt x="733" y="223"/>
                  <a:pt x="733" y="223"/>
                  <a:pt x="733" y="223"/>
                </a:cubicBezTo>
                <a:cubicBezTo>
                  <a:pt x="733" y="226"/>
                  <a:pt x="733" y="226"/>
                  <a:pt x="733" y="226"/>
                </a:cubicBezTo>
                <a:cubicBezTo>
                  <a:pt x="733" y="227"/>
                  <a:pt x="733" y="227"/>
                  <a:pt x="733" y="227"/>
                </a:cubicBezTo>
                <a:cubicBezTo>
                  <a:pt x="733" y="228"/>
                  <a:pt x="733" y="228"/>
                  <a:pt x="733" y="228"/>
                </a:cubicBezTo>
                <a:cubicBezTo>
                  <a:pt x="732" y="228"/>
                  <a:pt x="732" y="228"/>
                  <a:pt x="732" y="228"/>
                </a:cubicBezTo>
                <a:cubicBezTo>
                  <a:pt x="731" y="230"/>
                  <a:pt x="731" y="230"/>
                  <a:pt x="731" y="230"/>
                </a:cubicBezTo>
                <a:cubicBezTo>
                  <a:pt x="731" y="229"/>
                  <a:pt x="731" y="229"/>
                  <a:pt x="731" y="229"/>
                </a:cubicBezTo>
                <a:cubicBezTo>
                  <a:pt x="730" y="228"/>
                  <a:pt x="730" y="228"/>
                  <a:pt x="730" y="228"/>
                </a:cubicBezTo>
                <a:cubicBezTo>
                  <a:pt x="731" y="226"/>
                  <a:pt x="731" y="226"/>
                  <a:pt x="731" y="226"/>
                </a:cubicBezTo>
                <a:cubicBezTo>
                  <a:pt x="730" y="225"/>
                  <a:pt x="730" y="225"/>
                  <a:pt x="730" y="225"/>
                </a:cubicBezTo>
                <a:cubicBezTo>
                  <a:pt x="729" y="225"/>
                  <a:pt x="729" y="225"/>
                  <a:pt x="729" y="225"/>
                </a:cubicBezTo>
                <a:cubicBezTo>
                  <a:pt x="728" y="226"/>
                  <a:pt x="728" y="226"/>
                  <a:pt x="728" y="226"/>
                </a:cubicBezTo>
                <a:cubicBezTo>
                  <a:pt x="728" y="227"/>
                  <a:pt x="728" y="227"/>
                  <a:pt x="728" y="227"/>
                </a:cubicBezTo>
                <a:cubicBezTo>
                  <a:pt x="727" y="227"/>
                  <a:pt x="727" y="227"/>
                  <a:pt x="727" y="227"/>
                </a:cubicBezTo>
                <a:cubicBezTo>
                  <a:pt x="727" y="225"/>
                  <a:pt x="727" y="225"/>
                  <a:pt x="727" y="225"/>
                </a:cubicBezTo>
                <a:cubicBezTo>
                  <a:pt x="726" y="225"/>
                  <a:pt x="726" y="225"/>
                  <a:pt x="726" y="225"/>
                </a:cubicBezTo>
                <a:cubicBezTo>
                  <a:pt x="726" y="224"/>
                  <a:pt x="726" y="224"/>
                  <a:pt x="726" y="224"/>
                </a:cubicBezTo>
                <a:cubicBezTo>
                  <a:pt x="724" y="225"/>
                  <a:pt x="724" y="225"/>
                  <a:pt x="724" y="225"/>
                </a:cubicBezTo>
                <a:cubicBezTo>
                  <a:pt x="724" y="224"/>
                  <a:pt x="724" y="224"/>
                  <a:pt x="724" y="224"/>
                </a:cubicBezTo>
                <a:cubicBezTo>
                  <a:pt x="724" y="224"/>
                  <a:pt x="724" y="224"/>
                  <a:pt x="724" y="224"/>
                </a:cubicBezTo>
                <a:cubicBezTo>
                  <a:pt x="725" y="223"/>
                  <a:pt x="725" y="223"/>
                  <a:pt x="725" y="223"/>
                </a:cubicBezTo>
                <a:cubicBezTo>
                  <a:pt x="725" y="223"/>
                  <a:pt x="725" y="223"/>
                  <a:pt x="725" y="223"/>
                </a:cubicBezTo>
                <a:cubicBezTo>
                  <a:pt x="725" y="222"/>
                  <a:pt x="725" y="222"/>
                  <a:pt x="725" y="222"/>
                </a:cubicBezTo>
                <a:cubicBezTo>
                  <a:pt x="725" y="222"/>
                  <a:pt x="725" y="222"/>
                  <a:pt x="725" y="222"/>
                </a:cubicBezTo>
                <a:cubicBezTo>
                  <a:pt x="725" y="220"/>
                  <a:pt x="725" y="220"/>
                  <a:pt x="725" y="220"/>
                </a:cubicBezTo>
                <a:cubicBezTo>
                  <a:pt x="724" y="220"/>
                  <a:pt x="724" y="220"/>
                  <a:pt x="724" y="220"/>
                </a:cubicBezTo>
                <a:cubicBezTo>
                  <a:pt x="725" y="219"/>
                  <a:pt x="725" y="219"/>
                  <a:pt x="725" y="219"/>
                </a:cubicBezTo>
                <a:cubicBezTo>
                  <a:pt x="724" y="218"/>
                  <a:pt x="724" y="218"/>
                  <a:pt x="724" y="218"/>
                </a:cubicBezTo>
                <a:cubicBezTo>
                  <a:pt x="724" y="217"/>
                  <a:pt x="724" y="217"/>
                  <a:pt x="724" y="217"/>
                </a:cubicBezTo>
                <a:cubicBezTo>
                  <a:pt x="724" y="217"/>
                  <a:pt x="724" y="217"/>
                  <a:pt x="724" y="217"/>
                </a:cubicBezTo>
                <a:cubicBezTo>
                  <a:pt x="724" y="215"/>
                  <a:pt x="724" y="215"/>
                  <a:pt x="724" y="215"/>
                </a:cubicBezTo>
                <a:cubicBezTo>
                  <a:pt x="723" y="214"/>
                  <a:pt x="723" y="214"/>
                  <a:pt x="723" y="214"/>
                </a:cubicBezTo>
                <a:cubicBezTo>
                  <a:pt x="722" y="213"/>
                  <a:pt x="722" y="213"/>
                  <a:pt x="722" y="213"/>
                </a:cubicBezTo>
                <a:cubicBezTo>
                  <a:pt x="722" y="213"/>
                  <a:pt x="722" y="213"/>
                  <a:pt x="722" y="213"/>
                </a:cubicBezTo>
                <a:cubicBezTo>
                  <a:pt x="722" y="215"/>
                  <a:pt x="722" y="215"/>
                  <a:pt x="722" y="215"/>
                </a:cubicBezTo>
                <a:cubicBezTo>
                  <a:pt x="721" y="215"/>
                  <a:pt x="721" y="215"/>
                  <a:pt x="721" y="215"/>
                </a:cubicBezTo>
                <a:cubicBezTo>
                  <a:pt x="721" y="217"/>
                  <a:pt x="721" y="217"/>
                  <a:pt x="721" y="217"/>
                </a:cubicBezTo>
                <a:cubicBezTo>
                  <a:pt x="720" y="218"/>
                  <a:pt x="720" y="218"/>
                  <a:pt x="720" y="218"/>
                </a:cubicBezTo>
                <a:cubicBezTo>
                  <a:pt x="719" y="218"/>
                  <a:pt x="719" y="218"/>
                  <a:pt x="719" y="218"/>
                </a:cubicBezTo>
                <a:cubicBezTo>
                  <a:pt x="719" y="216"/>
                  <a:pt x="719" y="216"/>
                  <a:pt x="719" y="216"/>
                </a:cubicBezTo>
                <a:cubicBezTo>
                  <a:pt x="718" y="216"/>
                  <a:pt x="718" y="216"/>
                  <a:pt x="718" y="216"/>
                </a:cubicBezTo>
                <a:cubicBezTo>
                  <a:pt x="718" y="217"/>
                  <a:pt x="718" y="217"/>
                  <a:pt x="718" y="217"/>
                </a:cubicBezTo>
                <a:cubicBezTo>
                  <a:pt x="717" y="215"/>
                  <a:pt x="717" y="215"/>
                  <a:pt x="717" y="215"/>
                </a:cubicBezTo>
                <a:cubicBezTo>
                  <a:pt x="716" y="215"/>
                  <a:pt x="716" y="215"/>
                  <a:pt x="716" y="215"/>
                </a:cubicBezTo>
                <a:cubicBezTo>
                  <a:pt x="716" y="216"/>
                  <a:pt x="716" y="216"/>
                  <a:pt x="716" y="216"/>
                </a:cubicBezTo>
                <a:cubicBezTo>
                  <a:pt x="715" y="216"/>
                  <a:pt x="715" y="216"/>
                  <a:pt x="715" y="216"/>
                </a:cubicBezTo>
                <a:cubicBezTo>
                  <a:pt x="715" y="217"/>
                  <a:pt x="715" y="217"/>
                  <a:pt x="715" y="217"/>
                </a:cubicBezTo>
                <a:cubicBezTo>
                  <a:pt x="714" y="217"/>
                  <a:pt x="714" y="217"/>
                  <a:pt x="714" y="217"/>
                </a:cubicBezTo>
                <a:cubicBezTo>
                  <a:pt x="714" y="218"/>
                  <a:pt x="714" y="218"/>
                  <a:pt x="714" y="218"/>
                </a:cubicBezTo>
                <a:cubicBezTo>
                  <a:pt x="711" y="218"/>
                  <a:pt x="711" y="218"/>
                  <a:pt x="711" y="218"/>
                </a:cubicBezTo>
                <a:cubicBezTo>
                  <a:pt x="711" y="219"/>
                  <a:pt x="711" y="219"/>
                  <a:pt x="711" y="219"/>
                </a:cubicBezTo>
                <a:cubicBezTo>
                  <a:pt x="710" y="219"/>
                  <a:pt x="710" y="219"/>
                  <a:pt x="710" y="219"/>
                </a:cubicBezTo>
                <a:cubicBezTo>
                  <a:pt x="709" y="219"/>
                  <a:pt x="709" y="219"/>
                  <a:pt x="709" y="219"/>
                </a:cubicBezTo>
                <a:cubicBezTo>
                  <a:pt x="708" y="219"/>
                  <a:pt x="708" y="219"/>
                  <a:pt x="708" y="219"/>
                </a:cubicBezTo>
                <a:cubicBezTo>
                  <a:pt x="706" y="221"/>
                  <a:pt x="706" y="221"/>
                  <a:pt x="706" y="221"/>
                </a:cubicBezTo>
                <a:cubicBezTo>
                  <a:pt x="705" y="222"/>
                  <a:pt x="705" y="222"/>
                  <a:pt x="705" y="222"/>
                </a:cubicBezTo>
                <a:cubicBezTo>
                  <a:pt x="706" y="223"/>
                  <a:pt x="706" y="223"/>
                  <a:pt x="706" y="223"/>
                </a:cubicBezTo>
                <a:cubicBezTo>
                  <a:pt x="704" y="224"/>
                  <a:pt x="704" y="224"/>
                  <a:pt x="704" y="224"/>
                </a:cubicBezTo>
                <a:cubicBezTo>
                  <a:pt x="704" y="225"/>
                  <a:pt x="704" y="225"/>
                  <a:pt x="704" y="225"/>
                </a:cubicBezTo>
                <a:cubicBezTo>
                  <a:pt x="705" y="225"/>
                  <a:pt x="705" y="225"/>
                  <a:pt x="705" y="225"/>
                </a:cubicBezTo>
                <a:cubicBezTo>
                  <a:pt x="705" y="227"/>
                  <a:pt x="705" y="227"/>
                  <a:pt x="705" y="227"/>
                </a:cubicBezTo>
                <a:cubicBezTo>
                  <a:pt x="707" y="229"/>
                  <a:pt x="707" y="229"/>
                  <a:pt x="707" y="229"/>
                </a:cubicBezTo>
                <a:cubicBezTo>
                  <a:pt x="706" y="230"/>
                  <a:pt x="706" y="230"/>
                  <a:pt x="706" y="230"/>
                </a:cubicBezTo>
                <a:cubicBezTo>
                  <a:pt x="705" y="234"/>
                  <a:pt x="705" y="234"/>
                  <a:pt x="705" y="234"/>
                </a:cubicBezTo>
                <a:cubicBezTo>
                  <a:pt x="707" y="236"/>
                  <a:pt x="707" y="236"/>
                  <a:pt x="707" y="236"/>
                </a:cubicBezTo>
                <a:cubicBezTo>
                  <a:pt x="705" y="236"/>
                  <a:pt x="705" y="236"/>
                  <a:pt x="705" y="236"/>
                </a:cubicBezTo>
                <a:cubicBezTo>
                  <a:pt x="706" y="237"/>
                  <a:pt x="706" y="237"/>
                  <a:pt x="706" y="237"/>
                </a:cubicBezTo>
                <a:cubicBezTo>
                  <a:pt x="706" y="238"/>
                  <a:pt x="706" y="238"/>
                  <a:pt x="706" y="238"/>
                </a:cubicBezTo>
                <a:cubicBezTo>
                  <a:pt x="705" y="239"/>
                  <a:pt x="705" y="239"/>
                  <a:pt x="705" y="239"/>
                </a:cubicBezTo>
                <a:cubicBezTo>
                  <a:pt x="704" y="241"/>
                  <a:pt x="704" y="241"/>
                  <a:pt x="704" y="241"/>
                </a:cubicBezTo>
                <a:cubicBezTo>
                  <a:pt x="703" y="242"/>
                  <a:pt x="703" y="242"/>
                  <a:pt x="703" y="242"/>
                </a:cubicBezTo>
                <a:cubicBezTo>
                  <a:pt x="703" y="244"/>
                  <a:pt x="703" y="244"/>
                  <a:pt x="703" y="244"/>
                </a:cubicBezTo>
                <a:cubicBezTo>
                  <a:pt x="703" y="246"/>
                  <a:pt x="703" y="246"/>
                  <a:pt x="703" y="246"/>
                </a:cubicBezTo>
                <a:cubicBezTo>
                  <a:pt x="704" y="248"/>
                  <a:pt x="704" y="248"/>
                  <a:pt x="704" y="248"/>
                </a:cubicBezTo>
                <a:cubicBezTo>
                  <a:pt x="703" y="248"/>
                  <a:pt x="703" y="248"/>
                  <a:pt x="703" y="248"/>
                </a:cubicBezTo>
                <a:cubicBezTo>
                  <a:pt x="705" y="251"/>
                  <a:pt x="705" y="251"/>
                  <a:pt x="705" y="251"/>
                </a:cubicBezTo>
                <a:cubicBezTo>
                  <a:pt x="704" y="251"/>
                  <a:pt x="704" y="251"/>
                  <a:pt x="704" y="251"/>
                </a:cubicBezTo>
                <a:cubicBezTo>
                  <a:pt x="704" y="252"/>
                  <a:pt x="704" y="252"/>
                  <a:pt x="704" y="252"/>
                </a:cubicBezTo>
                <a:cubicBezTo>
                  <a:pt x="705" y="253"/>
                  <a:pt x="705" y="253"/>
                  <a:pt x="705" y="253"/>
                </a:cubicBezTo>
                <a:cubicBezTo>
                  <a:pt x="705" y="252"/>
                  <a:pt x="705" y="252"/>
                  <a:pt x="705" y="252"/>
                </a:cubicBezTo>
                <a:cubicBezTo>
                  <a:pt x="706" y="252"/>
                  <a:pt x="706" y="252"/>
                  <a:pt x="706" y="252"/>
                </a:cubicBezTo>
                <a:cubicBezTo>
                  <a:pt x="706" y="252"/>
                  <a:pt x="706" y="252"/>
                  <a:pt x="706" y="252"/>
                </a:cubicBezTo>
                <a:cubicBezTo>
                  <a:pt x="707" y="251"/>
                  <a:pt x="707" y="251"/>
                  <a:pt x="707" y="251"/>
                </a:cubicBezTo>
                <a:cubicBezTo>
                  <a:pt x="708" y="252"/>
                  <a:pt x="708" y="252"/>
                  <a:pt x="708" y="252"/>
                </a:cubicBezTo>
                <a:cubicBezTo>
                  <a:pt x="708" y="252"/>
                  <a:pt x="708" y="252"/>
                  <a:pt x="708" y="252"/>
                </a:cubicBezTo>
                <a:cubicBezTo>
                  <a:pt x="708" y="251"/>
                  <a:pt x="708" y="251"/>
                  <a:pt x="708" y="251"/>
                </a:cubicBezTo>
                <a:cubicBezTo>
                  <a:pt x="709" y="251"/>
                  <a:pt x="709" y="251"/>
                  <a:pt x="709" y="251"/>
                </a:cubicBezTo>
                <a:cubicBezTo>
                  <a:pt x="709" y="252"/>
                  <a:pt x="709" y="252"/>
                  <a:pt x="709" y="252"/>
                </a:cubicBezTo>
                <a:cubicBezTo>
                  <a:pt x="710" y="252"/>
                  <a:pt x="710" y="252"/>
                  <a:pt x="710" y="252"/>
                </a:cubicBezTo>
                <a:cubicBezTo>
                  <a:pt x="711" y="253"/>
                  <a:pt x="711" y="253"/>
                  <a:pt x="711" y="253"/>
                </a:cubicBezTo>
                <a:cubicBezTo>
                  <a:pt x="710" y="253"/>
                  <a:pt x="710" y="253"/>
                  <a:pt x="710" y="253"/>
                </a:cubicBezTo>
                <a:cubicBezTo>
                  <a:pt x="711" y="254"/>
                  <a:pt x="711" y="254"/>
                  <a:pt x="711" y="254"/>
                </a:cubicBezTo>
                <a:cubicBezTo>
                  <a:pt x="711" y="255"/>
                  <a:pt x="711" y="255"/>
                  <a:pt x="711" y="255"/>
                </a:cubicBezTo>
                <a:cubicBezTo>
                  <a:pt x="710" y="255"/>
                  <a:pt x="710" y="255"/>
                  <a:pt x="710" y="255"/>
                </a:cubicBezTo>
                <a:cubicBezTo>
                  <a:pt x="710" y="255"/>
                  <a:pt x="710" y="255"/>
                  <a:pt x="710" y="255"/>
                </a:cubicBezTo>
                <a:cubicBezTo>
                  <a:pt x="709" y="255"/>
                  <a:pt x="709" y="255"/>
                  <a:pt x="709" y="255"/>
                </a:cubicBezTo>
                <a:cubicBezTo>
                  <a:pt x="708" y="256"/>
                  <a:pt x="708" y="256"/>
                  <a:pt x="708" y="256"/>
                </a:cubicBezTo>
                <a:cubicBezTo>
                  <a:pt x="708" y="256"/>
                  <a:pt x="708" y="256"/>
                  <a:pt x="708" y="256"/>
                </a:cubicBezTo>
                <a:cubicBezTo>
                  <a:pt x="708" y="257"/>
                  <a:pt x="708" y="257"/>
                  <a:pt x="708" y="257"/>
                </a:cubicBezTo>
                <a:cubicBezTo>
                  <a:pt x="707" y="258"/>
                  <a:pt x="707" y="258"/>
                  <a:pt x="707" y="258"/>
                </a:cubicBezTo>
                <a:cubicBezTo>
                  <a:pt x="706" y="258"/>
                  <a:pt x="706" y="258"/>
                  <a:pt x="706" y="258"/>
                </a:cubicBezTo>
                <a:cubicBezTo>
                  <a:pt x="706" y="257"/>
                  <a:pt x="706" y="257"/>
                  <a:pt x="706" y="257"/>
                </a:cubicBezTo>
                <a:cubicBezTo>
                  <a:pt x="705" y="256"/>
                  <a:pt x="705" y="256"/>
                  <a:pt x="705" y="256"/>
                </a:cubicBezTo>
                <a:cubicBezTo>
                  <a:pt x="704" y="257"/>
                  <a:pt x="704" y="257"/>
                  <a:pt x="704" y="257"/>
                </a:cubicBezTo>
                <a:cubicBezTo>
                  <a:pt x="703" y="256"/>
                  <a:pt x="703" y="256"/>
                  <a:pt x="703" y="256"/>
                </a:cubicBezTo>
                <a:cubicBezTo>
                  <a:pt x="703" y="257"/>
                  <a:pt x="703" y="257"/>
                  <a:pt x="703" y="257"/>
                </a:cubicBezTo>
                <a:cubicBezTo>
                  <a:pt x="703" y="258"/>
                  <a:pt x="703" y="258"/>
                  <a:pt x="703" y="258"/>
                </a:cubicBezTo>
                <a:cubicBezTo>
                  <a:pt x="703" y="259"/>
                  <a:pt x="703" y="259"/>
                  <a:pt x="703" y="259"/>
                </a:cubicBezTo>
                <a:cubicBezTo>
                  <a:pt x="702" y="259"/>
                  <a:pt x="702" y="259"/>
                  <a:pt x="702" y="259"/>
                </a:cubicBezTo>
                <a:cubicBezTo>
                  <a:pt x="702" y="259"/>
                  <a:pt x="702" y="259"/>
                  <a:pt x="702" y="259"/>
                </a:cubicBezTo>
                <a:cubicBezTo>
                  <a:pt x="701" y="260"/>
                  <a:pt x="701" y="260"/>
                  <a:pt x="701" y="260"/>
                </a:cubicBezTo>
                <a:cubicBezTo>
                  <a:pt x="701" y="261"/>
                  <a:pt x="701" y="261"/>
                  <a:pt x="701" y="261"/>
                </a:cubicBezTo>
                <a:cubicBezTo>
                  <a:pt x="701" y="261"/>
                  <a:pt x="701" y="261"/>
                  <a:pt x="701" y="261"/>
                </a:cubicBezTo>
                <a:cubicBezTo>
                  <a:pt x="700" y="261"/>
                  <a:pt x="700" y="261"/>
                  <a:pt x="700" y="261"/>
                </a:cubicBezTo>
                <a:cubicBezTo>
                  <a:pt x="698" y="260"/>
                  <a:pt x="698" y="260"/>
                  <a:pt x="698" y="260"/>
                </a:cubicBezTo>
                <a:cubicBezTo>
                  <a:pt x="698" y="260"/>
                  <a:pt x="698" y="260"/>
                  <a:pt x="698" y="260"/>
                </a:cubicBezTo>
                <a:cubicBezTo>
                  <a:pt x="699" y="261"/>
                  <a:pt x="699" y="261"/>
                  <a:pt x="699" y="261"/>
                </a:cubicBezTo>
                <a:cubicBezTo>
                  <a:pt x="697" y="262"/>
                  <a:pt x="697" y="262"/>
                  <a:pt x="697" y="262"/>
                </a:cubicBezTo>
                <a:cubicBezTo>
                  <a:pt x="698" y="262"/>
                  <a:pt x="698" y="262"/>
                  <a:pt x="698" y="262"/>
                </a:cubicBezTo>
                <a:cubicBezTo>
                  <a:pt x="697" y="263"/>
                  <a:pt x="697" y="263"/>
                  <a:pt x="697" y="263"/>
                </a:cubicBezTo>
                <a:cubicBezTo>
                  <a:pt x="695" y="264"/>
                  <a:pt x="695" y="264"/>
                  <a:pt x="695" y="264"/>
                </a:cubicBezTo>
                <a:cubicBezTo>
                  <a:pt x="694" y="264"/>
                  <a:pt x="694" y="264"/>
                  <a:pt x="694" y="264"/>
                </a:cubicBezTo>
                <a:cubicBezTo>
                  <a:pt x="693" y="262"/>
                  <a:pt x="693" y="262"/>
                  <a:pt x="693" y="262"/>
                </a:cubicBezTo>
                <a:cubicBezTo>
                  <a:pt x="692" y="262"/>
                  <a:pt x="692" y="262"/>
                  <a:pt x="692" y="262"/>
                </a:cubicBezTo>
                <a:cubicBezTo>
                  <a:pt x="691" y="262"/>
                  <a:pt x="691" y="262"/>
                  <a:pt x="691" y="262"/>
                </a:cubicBezTo>
                <a:cubicBezTo>
                  <a:pt x="692" y="261"/>
                  <a:pt x="692" y="261"/>
                  <a:pt x="692" y="261"/>
                </a:cubicBezTo>
                <a:cubicBezTo>
                  <a:pt x="693" y="261"/>
                  <a:pt x="693" y="261"/>
                  <a:pt x="693" y="261"/>
                </a:cubicBezTo>
                <a:cubicBezTo>
                  <a:pt x="692" y="260"/>
                  <a:pt x="692" y="260"/>
                  <a:pt x="692" y="260"/>
                </a:cubicBezTo>
                <a:cubicBezTo>
                  <a:pt x="693" y="259"/>
                  <a:pt x="693" y="259"/>
                  <a:pt x="693" y="259"/>
                </a:cubicBezTo>
                <a:cubicBezTo>
                  <a:pt x="695" y="259"/>
                  <a:pt x="695" y="259"/>
                  <a:pt x="695" y="259"/>
                </a:cubicBezTo>
                <a:cubicBezTo>
                  <a:pt x="697" y="258"/>
                  <a:pt x="697" y="258"/>
                  <a:pt x="697" y="258"/>
                </a:cubicBezTo>
                <a:cubicBezTo>
                  <a:pt x="697" y="257"/>
                  <a:pt x="697" y="257"/>
                  <a:pt x="697" y="257"/>
                </a:cubicBezTo>
                <a:cubicBezTo>
                  <a:pt x="696" y="257"/>
                  <a:pt x="696" y="257"/>
                  <a:pt x="696" y="257"/>
                </a:cubicBezTo>
                <a:cubicBezTo>
                  <a:pt x="695" y="258"/>
                  <a:pt x="695" y="258"/>
                  <a:pt x="695" y="258"/>
                </a:cubicBezTo>
                <a:cubicBezTo>
                  <a:pt x="693" y="257"/>
                  <a:pt x="693" y="257"/>
                  <a:pt x="693" y="257"/>
                </a:cubicBezTo>
                <a:cubicBezTo>
                  <a:pt x="693" y="257"/>
                  <a:pt x="693" y="257"/>
                  <a:pt x="693" y="257"/>
                </a:cubicBezTo>
                <a:cubicBezTo>
                  <a:pt x="692" y="256"/>
                  <a:pt x="692" y="256"/>
                  <a:pt x="692" y="256"/>
                </a:cubicBezTo>
                <a:cubicBezTo>
                  <a:pt x="691" y="256"/>
                  <a:pt x="691" y="256"/>
                  <a:pt x="691" y="256"/>
                </a:cubicBezTo>
                <a:cubicBezTo>
                  <a:pt x="689" y="255"/>
                  <a:pt x="689" y="255"/>
                  <a:pt x="689" y="255"/>
                </a:cubicBezTo>
                <a:cubicBezTo>
                  <a:pt x="687" y="255"/>
                  <a:pt x="687" y="255"/>
                  <a:pt x="687" y="255"/>
                </a:cubicBezTo>
                <a:cubicBezTo>
                  <a:pt x="688" y="256"/>
                  <a:pt x="688" y="256"/>
                  <a:pt x="688" y="256"/>
                </a:cubicBezTo>
                <a:cubicBezTo>
                  <a:pt x="687" y="257"/>
                  <a:pt x="687" y="257"/>
                  <a:pt x="687" y="257"/>
                </a:cubicBezTo>
                <a:cubicBezTo>
                  <a:pt x="686" y="256"/>
                  <a:pt x="686" y="256"/>
                  <a:pt x="686" y="256"/>
                </a:cubicBezTo>
                <a:cubicBezTo>
                  <a:pt x="686" y="255"/>
                  <a:pt x="686" y="255"/>
                  <a:pt x="686" y="255"/>
                </a:cubicBezTo>
                <a:cubicBezTo>
                  <a:pt x="684" y="256"/>
                  <a:pt x="684" y="256"/>
                  <a:pt x="684" y="256"/>
                </a:cubicBezTo>
                <a:cubicBezTo>
                  <a:pt x="682" y="255"/>
                  <a:pt x="682" y="255"/>
                  <a:pt x="682" y="255"/>
                </a:cubicBezTo>
                <a:cubicBezTo>
                  <a:pt x="681" y="256"/>
                  <a:pt x="681" y="256"/>
                  <a:pt x="681" y="256"/>
                </a:cubicBezTo>
                <a:cubicBezTo>
                  <a:pt x="680" y="255"/>
                  <a:pt x="680" y="255"/>
                  <a:pt x="680" y="255"/>
                </a:cubicBezTo>
                <a:cubicBezTo>
                  <a:pt x="678" y="255"/>
                  <a:pt x="678" y="255"/>
                  <a:pt x="678" y="255"/>
                </a:cubicBezTo>
                <a:cubicBezTo>
                  <a:pt x="677" y="257"/>
                  <a:pt x="677" y="257"/>
                  <a:pt x="677" y="257"/>
                </a:cubicBezTo>
                <a:cubicBezTo>
                  <a:pt x="676" y="257"/>
                  <a:pt x="676" y="257"/>
                  <a:pt x="676" y="257"/>
                </a:cubicBezTo>
                <a:cubicBezTo>
                  <a:pt x="676" y="258"/>
                  <a:pt x="676" y="258"/>
                  <a:pt x="676" y="258"/>
                </a:cubicBezTo>
                <a:cubicBezTo>
                  <a:pt x="678" y="259"/>
                  <a:pt x="678" y="259"/>
                  <a:pt x="678" y="259"/>
                </a:cubicBezTo>
                <a:cubicBezTo>
                  <a:pt x="676" y="259"/>
                  <a:pt x="676" y="259"/>
                  <a:pt x="676" y="259"/>
                </a:cubicBezTo>
                <a:cubicBezTo>
                  <a:pt x="675" y="258"/>
                  <a:pt x="675" y="258"/>
                  <a:pt x="675" y="258"/>
                </a:cubicBezTo>
                <a:cubicBezTo>
                  <a:pt x="674" y="260"/>
                  <a:pt x="674" y="260"/>
                  <a:pt x="674" y="260"/>
                </a:cubicBezTo>
                <a:cubicBezTo>
                  <a:pt x="676" y="261"/>
                  <a:pt x="676" y="261"/>
                  <a:pt x="676" y="261"/>
                </a:cubicBezTo>
                <a:cubicBezTo>
                  <a:pt x="677" y="260"/>
                  <a:pt x="677" y="260"/>
                  <a:pt x="677" y="260"/>
                </a:cubicBezTo>
                <a:cubicBezTo>
                  <a:pt x="677" y="261"/>
                  <a:pt x="677" y="261"/>
                  <a:pt x="677" y="261"/>
                </a:cubicBezTo>
                <a:cubicBezTo>
                  <a:pt x="677" y="262"/>
                  <a:pt x="677" y="262"/>
                  <a:pt x="677" y="262"/>
                </a:cubicBezTo>
                <a:cubicBezTo>
                  <a:pt x="675" y="263"/>
                  <a:pt x="675" y="263"/>
                  <a:pt x="675" y="263"/>
                </a:cubicBezTo>
                <a:cubicBezTo>
                  <a:pt x="674" y="262"/>
                  <a:pt x="674" y="262"/>
                  <a:pt x="674" y="262"/>
                </a:cubicBezTo>
                <a:cubicBezTo>
                  <a:pt x="672" y="261"/>
                  <a:pt x="672" y="261"/>
                  <a:pt x="672" y="261"/>
                </a:cubicBezTo>
                <a:cubicBezTo>
                  <a:pt x="671" y="262"/>
                  <a:pt x="671" y="262"/>
                  <a:pt x="671" y="262"/>
                </a:cubicBezTo>
                <a:cubicBezTo>
                  <a:pt x="672" y="263"/>
                  <a:pt x="672" y="263"/>
                  <a:pt x="672" y="263"/>
                </a:cubicBezTo>
                <a:cubicBezTo>
                  <a:pt x="671" y="263"/>
                  <a:pt x="671" y="263"/>
                  <a:pt x="671" y="263"/>
                </a:cubicBezTo>
                <a:cubicBezTo>
                  <a:pt x="670" y="264"/>
                  <a:pt x="670" y="264"/>
                  <a:pt x="670" y="264"/>
                </a:cubicBezTo>
                <a:cubicBezTo>
                  <a:pt x="669" y="264"/>
                  <a:pt x="669" y="264"/>
                  <a:pt x="669" y="264"/>
                </a:cubicBezTo>
                <a:cubicBezTo>
                  <a:pt x="669" y="263"/>
                  <a:pt x="669" y="263"/>
                  <a:pt x="669" y="263"/>
                </a:cubicBezTo>
                <a:cubicBezTo>
                  <a:pt x="666" y="263"/>
                  <a:pt x="666" y="263"/>
                  <a:pt x="666" y="263"/>
                </a:cubicBezTo>
                <a:cubicBezTo>
                  <a:pt x="665" y="263"/>
                  <a:pt x="665" y="263"/>
                  <a:pt x="665" y="263"/>
                </a:cubicBezTo>
                <a:cubicBezTo>
                  <a:pt x="663" y="263"/>
                  <a:pt x="663" y="263"/>
                  <a:pt x="663" y="263"/>
                </a:cubicBezTo>
                <a:cubicBezTo>
                  <a:pt x="661" y="264"/>
                  <a:pt x="661" y="264"/>
                  <a:pt x="661" y="264"/>
                </a:cubicBezTo>
                <a:cubicBezTo>
                  <a:pt x="661" y="264"/>
                  <a:pt x="661" y="264"/>
                  <a:pt x="661" y="264"/>
                </a:cubicBezTo>
                <a:cubicBezTo>
                  <a:pt x="663" y="266"/>
                  <a:pt x="663" y="266"/>
                  <a:pt x="663" y="266"/>
                </a:cubicBezTo>
                <a:cubicBezTo>
                  <a:pt x="662" y="267"/>
                  <a:pt x="662" y="267"/>
                  <a:pt x="662" y="267"/>
                </a:cubicBezTo>
                <a:cubicBezTo>
                  <a:pt x="662" y="268"/>
                  <a:pt x="662" y="268"/>
                  <a:pt x="662" y="268"/>
                </a:cubicBezTo>
                <a:cubicBezTo>
                  <a:pt x="660" y="267"/>
                  <a:pt x="660" y="267"/>
                  <a:pt x="660" y="267"/>
                </a:cubicBezTo>
                <a:cubicBezTo>
                  <a:pt x="660" y="266"/>
                  <a:pt x="660" y="266"/>
                  <a:pt x="660" y="266"/>
                </a:cubicBezTo>
                <a:cubicBezTo>
                  <a:pt x="660" y="265"/>
                  <a:pt x="660" y="265"/>
                  <a:pt x="660" y="265"/>
                </a:cubicBezTo>
                <a:cubicBezTo>
                  <a:pt x="659" y="264"/>
                  <a:pt x="659" y="264"/>
                  <a:pt x="659" y="264"/>
                </a:cubicBezTo>
                <a:cubicBezTo>
                  <a:pt x="658" y="265"/>
                  <a:pt x="658" y="265"/>
                  <a:pt x="658" y="265"/>
                </a:cubicBezTo>
                <a:cubicBezTo>
                  <a:pt x="657" y="265"/>
                  <a:pt x="657" y="265"/>
                  <a:pt x="657" y="265"/>
                </a:cubicBezTo>
                <a:cubicBezTo>
                  <a:pt x="656" y="265"/>
                  <a:pt x="656" y="265"/>
                  <a:pt x="656" y="265"/>
                </a:cubicBezTo>
                <a:cubicBezTo>
                  <a:pt x="655" y="266"/>
                  <a:pt x="655" y="266"/>
                  <a:pt x="655" y="266"/>
                </a:cubicBezTo>
                <a:cubicBezTo>
                  <a:pt x="654" y="266"/>
                  <a:pt x="654" y="266"/>
                  <a:pt x="654" y="266"/>
                </a:cubicBezTo>
                <a:cubicBezTo>
                  <a:pt x="652" y="267"/>
                  <a:pt x="652" y="267"/>
                  <a:pt x="652" y="267"/>
                </a:cubicBezTo>
                <a:cubicBezTo>
                  <a:pt x="650" y="267"/>
                  <a:pt x="650" y="267"/>
                  <a:pt x="650" y="267"/>
                </a:cubicBezTo>
                <a:cubicBezTo>
                  <a:pt x="648" y="269"/>
                  <a:pt x="648" y="269"/>
                  <a:pt x="648" y="269"/>
                </a:cubicBezTo>
                <a:cubicBezTo>
                  <a:pt x="646" y="269"/>
                  <a:pt x="646" y="269"/>
                  <a:pt x="646" y="269"/>
                </a:cubicBezTo>
                <a:cubicBezTo>
                  <a:pt x="646" y="268"/>
                  <a:pt x="646" y="268"/>
                  <a:pt x="646" y="268"/>
                </a:cubicBezTo>
                <a:cubicBezTo>
                  <a:pt x="645" y="269"/>
                  <a:pt x="645" y="269"/>
                  <a:pt x="645" y="269"/>
                </a:cubicBezTo>
                <a:cubicBezTo>
                  <a:pt x="644" y="270"/>
                  <a:pt x="644" y="270"/>
                  <a:pt x="644" y="270"/>
                </a:cubicBezTo>
                <a:cubicBezTo>
                  <a:pt x="642" y="271"/>
                  <a:pt x="642" y="271"/>
                  <a:pt x="642" y="271"/>
                </a:cubicBezTo>
                <a:cubicBezTo>
                  <a:pt x="642" y="273"/>
                  <a:pt x="642" y="273"/>
                  <a:pt x="642" y="273"/>
                </a:cubicBezTo>
                <a:cubicBezTo>
                  <a:pt x="641" y="274"/>
                  <a:pt x="641" y="274"/>
                  <a:pt x="641" y="274"/>
                </a:cubicBezTo>
                <a:cubicBezTo>
                  <a:pt x="640" y="275"/>
                  <a:pt x="640" y="275"/>
                  <a:pt x="640" y="275"/>
                </a:cubicBezTo>
                <a:cubicBezTo>
                  <a:pt x="642" y="278"/>
                  <a:pt x="642" y="278"/>
                  <a:pt x="642" y="278"/>
                </a:cubicBezTo>
                <a:cubicBezTo>
                  <a:pt x="642" y="280"/>
                  <a:pt x="642" y="280"/>
                  <a:pt x="642" y="280"/>
                </a:cubicBezTo>
                <a:cubicBezTo>
                  <a:pt x="640" y="282"/>
                  <a:pt x="640" y="282"/>
                  <a:pt x="640" y="282"/>
                </a:cubicBezTo>
                <a:cubicBezTo>
                  <a:pt x="639" y="284"/>
                  <a:pt x="639" y="284"/>
                  <a:pt x="639" y="284"/>
                </a:cubicBezTo>
                <a:cubicBezTo>
                  <a:pt x="639" y="286"/>
                  <a:pt x="639" y="286"/>
                  <a:pt x="639" y="286"/>
                </a:cubicBezTo>
                <a:cubicBezTo>
                  <a:pt x="639" y="288"/>
                  <a:pt x="639" y="288"/>
                  <a:pt x="639" y="288"/>
                </a:cubicBezTo>
                <a:cubicBezTo>
                  <a:pt x="640" y="289"/>
                  <a:pt x="640" y="289"/>
                  <a:pt x="640" y="289"/>
                </a:cubicBezTo>
                <a:cubicBezTo>
                  <a:pt x="640" y="291"/>
                  <a:pt x="640" y="291"/>
                  <a:pt x="640" y="291"/>
                </a:cubicBezTo>
                <a:cubicBezTo>
                  <a:pt x="639" y="291"/>
                  <a:pt x="639" y="291"/>
                  <a:pt x="639" y="291"/>
                </a:cubicBezTo>
                <a:cubicBezTo>
                  <a:pt x="638" y="291"/>
                  <a:pt x="638" y="291"/>
                  <a:pt x="638" y="291"/>
                </a:cubicBezTo>
                <a:cubicBezTo>
                  <a:pt x="638" y="293"/>
                  <a:pt x="638" y="293"/>
                  <a:pt x="638" y="293"/>
                </a:cubicBezTo>
                <a:cubicBezTo>
                  <a:pt x="638" y="293"/>
                  <a:pt x="638" y="293"/>
                  <a:pt x="638" y="293"/>
                </a:cubicBezTo>
                <a:cubicBezTo>
                  <a:pt x="638" y="295"/>
                  <a:pt x="638" y="295"/>
                  <a:pt x="638" y="295"/>
                </a:cubicBezTo>
                <a:cubicBezTo>
                  <a:pt x="637" y="296"/>
                  <a:pt x="637" y="296"/>
                  <a:pt x="637" y="296"/>
                </a:cubicBezTo>
                <a:cubicBezTo>
                  <a:pt x="637" y="298"/>
                  <a:pt x="637" y="298"/>
                  <a:pt x="637" y="298"/>
                </a:cubicBezTo>
                <a:cubicBezTo>
                  <a:pt x="635" y="300"/>
                  <a:pt x="635" y="300"/>
                  <a:pt x="635" y="300"/>
                </a:cubicBezTo>
                <a:cubicBezTo>
                  <a:pt x="636" y="301"/>
                  <a:pt x="636" y="301"/>
                  <a:pt x="636" y="301"/>
                </a:cubicBezTo>
                <a:cubicBezTo>
                  <a:pt x="635" y="302"/>
                  <a:pt x="635" y="302"/>
                  <a:pt x="635" y="302"/>
                </a:cubicBezTo>
                <a:cubicBezTo>
                  <a:pt x="634" y="304"/>
                  <a:pt x="634" y="304"/>
                  <a:pt x="634" y="304"/>
                </a:cubicBezTo>
                <a:cubicBezTo>
                  <a:pt x="634" y="304"/>
                  <a:pt x="634" y="304"/>
                  <a:pt x="634" y="304"/>
                </a:cubicBezTo>
                <a:cubicBezTo>
                  <a:pt x="633" y="307"/>
                  <a:pt x="633" y="307"/>
                  <a:pt x="633" y="307"/>
                </a:cubicBezTo>
                <a:cubicBezTo>
                  <a:pt x="633" y="309"/>
                  <a:pt x="633" y="309"/>
                  <a:pt x="633" y="309"/>
                </a:cubicBezTo>
                <a:cubicBezTo>
                  <a:pt x="633" y="310"/>
                  <a:pt x="633" y="310"/>
                  <a:pt x="633" y="310"/>
                </a:cubicBezTo>
                <a:cubicBezTo>
                  <a:pt x="633" y="312"/>
                  <a:pt x="633" y="312"/>
                  <a:pt x="633" y="312"/>
                </a:cubicBezTo>
                <a:cubicBezTo>
                  <a:pt x="632" y="313"/>
                  <a:pt x="632" y="313"/>
                  <a:pt x="632" y="313"/>
                </a:cubicBezTo>
                <a:cubicBezTo>
                  <a:pt x="632" y="314"/>
                  <a:pt x="632" y="314"/>
                  <a:pt x="632" y="314"/>
                </a:cubicBezTo>
                <a:cubicBezTo>
                  <a:pt x="631" y="316"/>
                  <a:pt x="631" y="316"/>
                  <a:pt x="631" y="316"/>
                </a:cubicBezTo>
                <a:cubicBezTo>
                  <a:pt x="631" y="317"/>
                  <a:pt x="631" y="317"/>
                  <a:pt x="631" y="317"/>
                </a:cubicBezTo>
                <a:cubicBezTo>
                  <a:pt x="630" y="317"/>
                  <a:pt x="630" y="317"/>
                  <a:pt x="630" y="317"/>
                </a:cubicBezTo>
                <a:cubicBezTo>
                  <a:pt x="630" y="319"/>
                  <a:pt x="630" y="319"/>
                  <a:pt x="630" y="319"/>
                </a:cubicBezTo>
                <a:cubicBezTo>
                  <a:pt x="628" y="320"/>
                  <a:pt x="628" y="320"/>
                  <a:pt x="628" y="320"/>
                </a:cubicBezTo>
                <a:cubicBezTo>
                  <a:pt x="628" y="322"/>
                  <a:pt x="628" y="322"/>
                  <a:pt x="628" y="322"/>
                </a:cubicBezTo>
                <a:cubicBezTo>
                  <a:pt x="627" y="324"/>
                  <a:pt x="627" y="324"/>
                  <a:pt x="627" y="324"/>
                </a:cubicBezTo>
                <a:cubicBezTo>
                  <a:pt x="627" y="325"/>
                  <a:pt x="627" y="325"/>
                  <a:pt x="627" y="325"/>
                </a:cubicBezTo>
                <a:cubicBezTo>
                  <a:pt x="625" y="327"/>
                  <a:pt x="625" y="327"/>
                  <a:pt x="625" y="327"/>
                </a:cubicBezTo>
                <a:cubicBezTo>
                  <a:pt x="625" y="328"/>
                  <a:pt x="625" y="328"/>
                  <a:pt x="625" y="328"/>
                </a:cubicBezTo>
                <a:cubicBezTo>
                  <a:pt x="624" y="329"/>
                  <a:pt x="624" y="329"/>
                  <a:pt x="624" y="329"/>
                </a:cubicBezTo>
                <a:cubicBezTo>
                  <a:pt x="625" y="330"/>
                  <a:pt x="625" y="330"/>
                  <a:pt x="625" y="330"/>
                </a:cubicBezTo>
                <a:cubicBezTo>
                  <a:pt x="626" y="331"/>
                  <a:pt x="626" y="331"/>
                  <a:pt x="626" y="331"/>
                </a:cubicBezTo>
                <a:cubicBezTo>
                  <a:pt x="627" y="331"/>
                  <a:pt x="627" y="331"/>
                  <a:pt x="627" y="331"/>
                </a:cubicBezTo>
                <a:cubicBezTo>
                  <a:pt x="628" y="332"/>
                  <a:pt x="628" y="332"/>
                  <a:pt x="628" y="332"/>
                </a:cubicBezTo>
                <a:cubicBezTo>
                  <a:pt x="630" y="332"/>
                  <a:pt x="630" y="332"/>
                  <a:pt x="630" y="332"/>
                </a:cubicBezTo>
                <a:cubicBezTo>
                  <a:pt x="631" y="331"/>
                  <a:pt x="631" y="331"/>
                  <a:pt x="631" y="331"/>
                </a:cubicBezTo>
                <a:cubicBezTo>
                  <a:pt x="632" y="330"/>
                  <a:pt x="632" y="330"/>
                  <a:pt x="632" y="330"/>
                </a:cubicBezTo>
                <a:cubicBezTo>
                  <a:pt x="633" y="330"/>
                  <a:pt x="633" y="330"/>
                  <a:pt x="633" y="330"/>
                </a:cubicBezTo>
                <a:cubicBezTo>
                  <a:pt x="634" y="330"/>
                  <a:pt x="634" y="330"/>
                  <a:pt x="634" y="330"/>
                </a:cubicBezTo>
                <a:cubicBezTo>
                  <a:pt x="635" y="329"/>
                  <a:pt x="635" y="329"/>
                  <a:pt x="635" y="329"/>
                </a:cubicBezTo>
                <a:cubicBezTo>
                  <a:pt x="635" y="333"/>
                  <a:pt x="635" y="333"/>
                  <a:pt x="635" y="333"/>
                </a:cubicBezTo>
                <a:cubicBezTo>
                  <a:pt x="637" y="335"/>
                  <a:pt x="637" y="335"/>
                  <a:pt x="637" y="335"/>
                </a:cubicBezTo>
                <a:cubicBezTo>
                  <a:pt x="637" y="337"/>
                  <a:pt x="637" y="337"/>
                  <a:pt x="637" y="337"/>
                </a:cubicBezTo>
                <a:cubicBezTo>
                  <a:pt x="637" y="338"/>
                  <a:pt x="637" y="338"/>
                  <a:pt x="637" y="338"/>
                </a:cubicBezTo>
                <a:cubicBezTo>
                  <a:pt x="639" y="339"/>
                  <a:pt x="639" y="339"/>
                  <a:pt x="639" y="339"/>
                </a:cubicBezTo>
                <a:cubicBezTo>
                  <a:pt x="639" y="338"/>
                  <a:pt x="639" y="338"/>
                  <a:pt x="639" y="338"/>
                </a:cubicBezTo>
                <a:cubicBezTo>
                  <a:pt x="640" y="339"/>
                  <a:pt x="640" y="339"/>
                  <a:pt x="640" y="339"/>
                </a:cubicBezTo>
                <a:cubicBezTo>
                  <a:pt x="640" y="338"/>
                  <a:pt x="640" y="338"/>
                  <a:pt x="640" y="338"/>
                </a:cubicBezTo>
                <a:cubicBezTo>
                  <a:pt x="641" y="337"/>
                  <a:pt x="641" y="337"/>
                  <a:pt x="641" y="337"/>
                </a:cubicBezTo>
                <a:cubicBezTo>
                  <a:pt x="642" y="336"/>
                  <a:pt x="642" y="336"/>
                  <a:pt x="642" y="336"/>
                </a:cubicBezTo>
                <a:cubicBezTo>
                  <a:pt x="642" y="337"/>
                  <a:pt x="642" y="337"/>
                  <a:pt x="642" y="337"/>
                </a:cubicBezTo>
                <a:cubicBezTo>
                  <a:pt x="643" y="337"/>
                  <a:pt x="643" y="337"/>
                  <a:pt x="643" y="337"/>
                </a:cubicBezTo>
                <a:cubicBezTo>
                  <a:pt x="644" y="337"/>
                  <a:pt x="644" y="337"/>
                  <a:pt x="644" y="337"/>
                </a:cubicBezTo>
                <a:cubicBezTo>
                  <a:pt x="644" y="337"/>
                  <a:pt x="644" y="337"/>
                  <a:pt x="644" y="337"/>
                </a:cubicBezTo>
                <a:cubicBezTo>
                  <a:pt x="643" y="338"/>
                  <a:pt x="643" y="338"/>
                  <a:pt x="643" y="338"/>
                </a:cubicBezTo>
                <a:cubicBezTo>
                  <a:pt x="644" y="340"/>
                  <a:pt x="644" y="340"/>
                  <a:pt x="644" y="340"/>
                </a:cubicBezTo>
                <a:cubicBezTo>
                  <a:pt x="643" y="340"/>
                  <a:pt x="643" y="340"/>
                  <a:pt x="643" y="340"/>
                </a:cubicBezTo>
                <a:cubicBezTo>
                  <a:pt x="642" y="341"/>
                  <a:pt x="642" y="341"/>
                  <a:pt x="642" y="341"/>
                </a:cubicBezTo>
                <a:cubicBezTo>
                  <a:pt x="642" y="341"/>
                  <a:pt x="642" y="341"/>
                  <a:pt x="642" y="341"/>
                </a:cubicBezTo>
                <a:cubicBezTo>
                  <a:pt x="645" y="341"/>
                  <a:pt x="645" y="341"/>
                  <a:pt x="645" y="341"/>
                </a:cubicBezTo>
                <a:cubicBezTo>
                  <a:pt x="646" y="340"/>
                  <a:pt x="646" y="340"/>
                  <a:pt x="646" y="340"/>
                </a:cubicBezTo>
                <a:cubicBezTo>
                  <a:pt x="647" y="338"/>
                  <a:pt x="647" y="338"/>
                  <a:pt x="647" y="338"/>
                </a:cubicBezTo>
                <a:cubicBezTo>
                  <a:pt x="647" y="337"/>
                  <a:pt x="647" y="337"/>
                  <a:pt x="647" y="337"/>
                </a:cubicBezTo>
                <a:cubicBezTo>
                  <a:pt x="647" y="336"/>
                  <a:pt x="647" y="336"/>
                  <a:pt x="647" y="336"/>
                </a:cubicBezTo>
                <a:cubicBezTo>
                  <a:pt x="648" y="338"/>
                  <a:pt x="648" y="338"/>
                  <a:pt x="648" y="338"/>
                </a:cubicBezTo>
                <a:cubicBezTo>
                  <a:pt x="648" y="339"/>
                  <a:pt x="648" y="339"/>
                  <a:pt x="648" y="339"/>
                </a:cubicBezTo>
                <a:cubicBezTo>
                  <a:pt x="648" y="341"/>
                  <a:pt x="648" y="341"/>
                  <a:pt x="648" y="341"/>
                </a:cubicBezTo>
                <a:cubicBezTo>
                  <a:pt x="649" y="340"/>
                  <a:pt x="649" y="340"/>
                  <a:pt x="649" y="340"/>
                </a:cubicBezTo>
                <a:cubicBezTo>
                  <a:pt x="649" y="339"/>
                  <a:pt x="649" y="339"/>
                  <a:pt x="649" y="339"/>
                </a:cubicBezTo>
                <a:cubicBezTo>
                  <a:pt x="648" y="337"/>
                  <a:pt x="648" y="337"/>
                  <a:pt x="648" y="337"/>
                </a:cubicBezTo>
                <a:cubicBezTo>
                  <a:pt x="649" y="335"/>
                  <a:pt x="649" y="335"/>
                  <a:pt x="649" y="335"/>
                </a:cubicBezTo>
                <a:cubicBezTo>
                  <a:pt x="648" y="334"/>
                  <a:pt x="648" y="334"/>
                  <a:pt x="648" y="334"/>
                </a:cubicBezTo>
                <a:cubicBezTo>
                  <a:pt x="647" y="332"/>
                  <a:pt x="647" y="332"/>
                  <a:pt x="647" y="332"/>
                </a:cubicBezTo>
                <a:cubicBezTo>
                  <a:pt x="649" y="332"/>
                  <a:pt x="649" y="332"/>
                  <a:pt x="649" y="332"/>
                </a:cubicBezTo>
                <a:cubicBezTo>
                  <a:pt x="650" y="333"/>
                  <a:pt x="650" y="333"/>
                  <a:pt x="650" y="333"/>
                </a:cubicBezTo>
                <a:cubicBezTo>
                  <a:pt x="650" y="333"/>
                  <a:pt x="650" y="333"/>
                  <a:pt x="650" y="333"/>
                </a:cubicBezTo>
                <a:cubicBezTo>
                  <a:pt x="650" y="334"/>
                  <a:pt x="650" y="334"/>
                  <a:pt x="650" y="334"/>
                </a:cubicBezTo>
                <a:cubicBezTo>
                  <a:pt x="651" y="334"/>
                  <a:pt x="651" y="334"/>
                  <a:pt x="651" y="334"/>
                </a:cubicBezTo>
                <a:cubicBezTo>
                  <a:pt x="651" y="333"/>
                  <a:pt x="651" y="333"/>
                  <a:pt x="651" y="333"/>
                </a:cubicBezTo>
                <a:cubicBezTo>
                  <a:pt x="653" y="333"/>
                  <a:pt x="653" y="333"/>
                  <a:pt x="653" y="333"/>
                </a:cubicBezTo>
                <a:cubicBezTo>
                  <a:pt x="654" y="332"/>
                  <a:pt x="654" y="332"/>
                  <a:pt x="654" y="332"/>
                </a:cubicBezTo>
                <a:cubicBezTo>
                  <a:pt x="655" y="333"/>
                  <a:pt x="655" y="333"/>
                  <a:pt x="655" y="333"/>
                </a:cubicBezTo>
                <a:cubicBezTo>
                  <a:pt x="657" y="333"/>
                  <a:pt x="657" y="333"/>
                  <a:pt x="657" y="333"/>
                </a:cubicBezTo>
                <a:cubicBezTo>
                  <a:pt x="658" y="334"/>
                  <a:pt x="658" y="334"/>
                  <a:pt x="658" y="334"/>
                </a:cubicBezTo>
                <a:cubicBezTo>
                  <a:pt x="658" y="336"/>
                  <a:pt x="658" y="336"/>
                  <a:pt x="658" y="336"/>
                </a:cubicBezTo>
                <a:cubicBezTo>
                  <a:pt x="659" y="336"/>
                  <a:pt x="659" y="336"/>
                  <a:pt x="659" y="336"/>
                </a:cubicBezTo>
                <a:cubicBezTo>
                  <a:pt x="661" y="336"/>
                  <a:pt x="661" y="336"/>
                  <a:pt x="661" y="336"/>
                </a:cubicBezTo>
                <a:cubicBezTo>
                  <a:pt x="662" y="337"/>
                  <a:pt x="662" y="337"/>
                  <a:pt x="662" y="337"/>
                </a:cubicBezTo>
                <a:cubicBezTo>
                  <a:pt x="664" y="338"/>
                  <a:pt x="664" y="338"/>
                  <a:pt x="664" y="338"/>
                </a:cubicBezTo>
                <a:cubicBezTo>
                  <a:pt x="665" y="339"/>
                  <a:pt x="665" y="339"/>
                  <a:pt x="665" y="339"/>
                </a:cubicBezTo>
                <a:cubicBezTo>
                  <a:pt x="666" y="339"/>
                  <a:pt x="666" y="339"/>
                  <a:pt x="666" y="339"/>
                </a:cubicBezTo>
                <a:cubicBezTo>
                  <a:pt x="666" y="340"/>
                  <a:pt x="666" y="340"/>
                  <a:pt x="666" y="340"/>
                </a:cubicBezTo>
                <a:cubicBezTo>
                  <a:pt x="667" y="340"/>
                  <a:pt x="667" y="340"/>
                  <a:pt x="667" y="340"/>
                </a:cubicBezTo>
                <a:cubicBezTo>
                  <a:pt x="668" y="342"/>
                  <a:pt x="668" y="342"/>
                  <a:pt x="668" y="342"/>
                </a:cubicBezTo>
                <a:cubicBezTo>
                  <a:pt x="668" y="343"/>
                  <a:pt x="668" y="343"/>
                  <a:pt x="668" y="343"/>
                </a:cubicBezTo>
                <a:cubicBezTo>
                  <a:pt x="668" y="344"/>
                  <a:pt x="668" y="344"/>
                  <a:pt x="668" y="344"/>
                </a:cubicBezTo>
                <a:cubicBezTo>
                  <a:pt x="667" y="345"/>
                  <a:pt x="667" y="345"/>
                  <a:pt x="667" y="345"/>
                </a:cubicBezTo>
                <a:cubicBezTo>
                  <a:pt x="668" y="346"/>
                  <a:pt x="668" y="346"/>
                  <a:pt x="668" y="346"/>
                </a:cubicBezTo>
                <a:cubicBezTo>
                  <a:pt x="669" y="346"/>
                  <a:pt x="669" y="346"/>
                  <a:pt x="669" y="346"/>
                </a:cubicBezTo>
                <a:cubicBezTo>
                  <a:pt x="670" y="348"/>
                  <a:pt x="670" y="348"/>
                  <a:pt x="670" y="348"/>
                </a:cubicBezTo>
                <a:cubicBezTo>
                  <a:pt x="671" y="349"/>
                  <a:pt x="671" y="349"/>
                  <a:pt x="671" y="349"/>
                </a:cubicBezTo>
                <a:cubicBezTo>
                  <a:pt x="670" y="350"/>
                  <a:pt x="670" y="350"/>
                  <a:pt x="670" y="350"/>
                </a:cubicBezTo>
                <a:cubicBezTo>
                  <a:pt x="670" y="352"/>
                  <a:pt x="670" y="352"/>
                  <a:pt x="670" y="352"/>
                </a:cubicBezTo>
                <a:cubicBezTo>
                  <a:pt x="671" y="353"/>
                  <a:pt x="671" y="353"/>
                  <a:pt x="671" y="353"/>
                </a:cubicBezTo>
                <a:cubicBezTo>
                  <a:pt x="672" y="353"/>
                  <a:pt x="672" y="353"/>
                  <a:pt x="672" y="353"/>
                </a:cubicBezTo>
                <a:cubicBezTo>
                  <a:pt x="673" y="352"/>
                  <a:pt x="673" y="352"/>
                  <a:pt x="673" y="352"/>
                </a:cubicBezTo>
                <a:cubicBezTo>
                  <a:pt x="673" y="353"/>
                  <a:pt x="673" y="353"/>
                  <a:pt x="673" y="353"/>
                </a:cubicBezTo>
                <a:cubicBezTo>
                  <a:pt x="673" y="354"/>
                  <a:pt x="673" y="354"/>
                  <a:pt x="673" y="354"/>
                </a:cubicBezTo>
                <a:cubicBezTo>
                  <a:pt x="673" y="356"/>
                  <a:pt x="673" y="356"/>
                  <a:pt x="673" y="356"/>
                </a:cubicBezTo>
                <a:cubicBezTo>
                  <a:pt x="674" y="356"/>
                  <a:pt x="674" y="356"/>
                  <a:pt x="674" y="356"/>
                </a:cubicBezTo>
                <a:cubicBezTo>
                  <a:pt x="673" y="357"/>
                  <a:pt x="673" y="357"/>
                  <a:pt x="673" y="357"/>
                </a:cubicBezTo>
                <a:cubicBezTo>
                  <a:pt x="673" y="358"/>
                  <a:pt x="673" y="358"/>
                  <a:pt x="673" y="358"/>
                </a:cubicBezTo>
                <a:cubicBezTo>
                  <a:pt x="673" y="359"/>
                  <a:pt x="673" y="359"/>
                  <a:pt x="673" y="359"/>
                </a:cubicBezTo>
                <a:cubicBezTo>
                  <a:pt x="673" y="360"/>
                  <a:pt x="673" y="360"/>
                  <a:pt x="673" y="360"/>
                </a:cubicBezTo>
                <a:cubicBezTo>
                  <a:pt x="673" y="361"/>
                  <a:pt x="673" y="361"/>
                  <a:pt x="673" y="361"/>
                </a:cubicBezTo>
                <a:cubicBezTo>
                  <a:pt x="673" y="362"/>
                  <a:pt x="673" y="362"/>
                  <a:pt x="673" y="362"/>
                </a:cubicBezTo>
                <a:cubicBezTo>
                  <a:pt x="673" y="362"/>
                  <a:pt x="673" y="362"/>
                  <a:pt x="673" y="362"/>
                </a:cubicBezTo>
                <a:cubicBezTo>
                  <a:pt x="674" y="363"/>
                  <a:pt x="674" y="363"/>
                  <a:pt x="674" y="363"/>
                </a:cubicBezTo>
                <a:cubicBezTo>
                  <a:pt x="673" y="364"/>
                  <a:pt x="673" y="364"/>
                  <a:pt x="673" y="364"/>
                </a:cubicBezTo>
                <a:cubicBezTo>
                  <a:pt x="674" y="367"/>
                  <a:pt x="674" y="367"/>
                  <a:pt x="674" y="367"/>
                </a:cubicBezTo>
                <a:cubicBezTo>
                  <a:pt x="673" y="367"/>
                  <a:pt x="673" y="367"/>
                  <a:pt x="673" y="367"/>
                </a:cubicBezTo>
                <a:cubicBezTo>
                  <a:pt x="674" y="370"/>
                  <a:pt x="674" y="370"/>
                  <a:pt x="674" y="370"/>
                </a:cubicBezTo>
                <a:cubicBezTo>
                  <a:pt x="674" y="371"/>
                  <a:pt x="674" y="371"/>
                  <a:pt x="674" y="371"/>
                </a:cubicBezTo>
                <a:cubicBezTo>
                  <a:pt x="674" y="372"/>
                  <a:pt x="674" y="372"/>
                  <a:pt x="674" y="372"/>
                </a:cubicBezTo>
                <a:cubicBezTo>
                  <a:pt x="675" y="376"/>
                  <a:pt x="675" y="376"/>
                  <a:pt x="675" y="376"/>
                </a:cubicBezTo>
                <a:cubicBezTo>
                  <a:pt x="676" y="376"/>
                  <a:pt x="676" y="376"/>
                  <a:pt x="676" y="376"/>
                </a:cubicBezTo>
                <a:cubicBezTo>
                  <a:pt x="677" y="375"/>
                  <a:pt x="677" y="375"/>
                  <a:pt x="677" y="375"/>
                </a:cubicBezTo>
                <a:cubicBezTo>
                  <a:pt x="677" y="376"/>
                  <a:pt x="677" y="376"/>
                  <a:pt x="677" y="376"/>
                </a:cubicBezTo>
                <a:cubicBezTo>
                  <a:pt x="676" y="377"/>
                  <a:pt x="676" y="377"/>
                  <a:pt x="676" y="377"/>
                </a:cubicBezTo>
                <a:cubicBezTo>
                  <a:pt x="676" y="378"/>
                  <a:pt x="676" y="378"/>
                  <a:pt x="676" y="378"/>
                </a:cubicBezTo>
                <a:cubicBezTo>
                  <a:pt x="676" y="379"/>
                  <a:pt x="676" y="379"/>
                  <a:pt x="676" y="379"/>
                </a:cubicBezTo>
                <a:cubicBezTo>
                  <a:pt x="677" y="379"/>
                  <a:pt x="677" y="379"/>
                  <a:pt x="677" y="379"/>
                </a:cubicBezTo>
                <a:cubicBezTo>
                  <a:pt x="679" y="381"/>
                  <a:pt x="679" y="381"/>
                  <a:pt x="679" y="381"/>
                </a:cubicBezTo>
                <a:cubicBezTo>
                  <a:pt x="679" y="383"/>
                  <a:pt x="679" y="383"/>
                  <a:pt x="679" y="383"/>
                </a:cubicBezTo>
                <a:cubicBezTo>
                  <a:pt x="679" y="384"/>
                  <a:pt x="679" y="384"/>
                  <a:pt x="679" y="384"/>
                </a:cubicBezTo>
                <a:cubicBezTo>
                  <a:pt x="679" y="385"/>
                  <a:pt x="679" y="385"/>
                  <a:pt x="679" y="385"/>
                </a:cubicBezTo>
                <a:cubicBezTo>
                  <a:pt x="679" y="388"/>
                  <a:pt x="679" y="388"/>
                  <a:pt x="679" y="388"/>
                </a:cubicBezTo>
                <a:cubicBezTo>
                  <a:pt x="680" y="388"/>
                  <a:pt x="680" y="388"/>
                  <a:pt x="680" y="388"/>
                </a:cubicBezTo>
                <a:cubicBezTo>
                  <a:pt x="680" y="390"/>
                  <a:pt x="680" y="390"/>
                  <a:pt x="680" y="390"/>
                </a:cubicBezTo>
                <a:cubicBezTo>
                  <a:pt x="680" y="390"/>
                  <a:pt x="680" y="390"/>
                  <a:pt x="680" y="390"/>
                </a:cubicBezTo>
                <a:cubicBezTo>
                  <a:pt x="680" y="392"/>
                  <a:pt x="680" y="392"/>
                  <a:pt x="680" y="392"/>
                </a:cubicBezTo>
                <a:cubicBezTo>
                  <a:pt x="681" y="393"/>
                  <a:pt x="681" y="393"/>
                  <a:pt x="681" y="393"/>
                </a:cubicBezTo>
                <a:cubicBezTo>
                  <a:pt x="681" y="395"/>
                  <a:pt x="681" y="395"/>
                  <a:pt x="681" y="395"/>
                </a:cubicBezTo>
                <a:cubicBezTo>
                  <a:pt x="679" y="397"/>
                  <a:pt x="679" y="397"/>
                  <a:pt x="679" y="397"/>
                </a:cubicBezTo>
                <a:cubicBezTo>
                  <a:pt x="679" y="398"/>
                  <a:pt x="679" y="398"/>
                  <a:pt x="679" y="398"/>
                </a:cubicBezTo>
                <a:cubicBezTo>
                  <a:pt x="678" y="400"/>
                  <a:pt x="678" y="400"/>
                  <a:pt x="678" y="400"/>
                </a:cubicBezTo>
                <a:cubicBezTo>
                  <a:pt x="678" y="403"/>
                  <a:pt x="678" y="403"/>
                  <a:pt x="678" y="403"/>
                </a:cubicBezTo>
                <a:cubicBezTo>
                  <a:pt x="678" y="403"/>
                  <a:pt x="678" y="403"/>
                  <a:pt x="678" y="403"/>
                </a:cubicBezTo>
                <a:cubicBezTo>
                  <a:pt x="678" y="405"/>
                  <a:pt x="678" y="405"/>
                  <a:pt x="678" y="405"/>
                </a:cubicBezTo>
                <a:cubicBezTo>
                  <a:pt x="677" y="406"/>
                  <a:pt x="677" y="406"/>
                  <a:pt x="677" y="406"/>
                </a:cubicBezTo>
                <a:cubicBezTo>
                  <a:pt x="677" y="407"/>
                  <a:pt x="677" y="407"/>
                  <a:pt x="677" y="407"/>
                </a:cubicBezTo>
                <a:cubicBezTo>
                  <a:pt x="676" y="409"/>
                  <a:pt x="676" y="409"/>
                  <a:pt x="676" y="409"/>
                </a:cubicBezTo>
                <a:cubicBezTo>
                  <a:pt x="677" y="409"/>
                  <a:pt x="677" y="409"/>
                  <a:pt x="677" y="409"/>
                </a:cubicBezTo>
                <a:cubicBezTo>
                  <a:pt x="677" y="410"/>
                  <a:pt x="677" y="410"/>
                  <a:pt x="677" y="410"/>
                </a:cubicBezTo>
                <a:cubicBezTo>
                  <a:pt x="676" y="412"/>
                  <a:pt x="676" y="412"/>
                  <a:pt x="676" y="412"/>
                </a:cubicBezTo>
                <a:cubicBezTo>
                  <a:pt x="676" y="415"/>
                  <a:pt x="676" y="415"/>
                  <a:pt x="676" y="415"/>
                </a:cubicBezTo>
                <a:cubicBezTo>
                  <a:pt x="675" y="416"/>
                  <a:pt x="675" y="416"/>
                  <a:pt x="675" y="416"/>
                </a:cubicBezTo>
                <a:cubicBezTo>
                  <a:pt x="676" y="418"/>
                  <a:pt x="676" y="418"/>
                  <a:pt x="676" y="418"/>
                </a:cubicBezTo>
                <a:cubicBezTo>
                  <a:pt x="676" y="418"/>
                  <a:pt x="676" y="418"/>
                  <a:pt x="676" y="418"/>
                </a:cubicBezTo>
                <a:cubicBezTo>
                  <a:pt x="676" y="419"/>
                  <a:pt x="676" y="419"/>
                  <a:pt x="676" y="419"/>
                </a:cubicBezTo>
                <a:cubicBezTo>
                  <a:pt x="675" y="421"/>
                  <a:pt x="675" y="421"/>
                  <a:pt x="675" y="421"/>
                </a:cubicBezTo>
                <a:cubicBezTo>
                  <a:pt x="674" y="422"/>
                  <a:pt x="674" y="422"/>
                  <a:pt x="674" y="422"/>
                </a:cubicBezTo>
                <a:cubicBezTo>
                  <a:pt x="673" y="423"/>
                  <a:pt x="673" y="423"/>
                  <a:pt x="673" y="423"/>
                </a:cubicBezTo>
                <a:cubicBezTo>
                  <a:pt x="673" y="425"/>
                  <a:pt x="673" y="425"/>
                  <a:pt x="673" y="425"/>
                </a:cubicBezTo>
                <a:cubicBezTo>
                  <a:pt x="672" y="426"/>
                  <a:pt x="672" y="426"/>
                  <a:pt x="672" y="426"/>
                </a:cubicBezTo>
                <a:cubicBezTo>
                  <a:pt x="670" y="432"/>
                  <a:pt x="670" y="432"/>
                  <a:pt x="670" y="432"/>
                </a:cubicBezTo>
                <a:cubicBezTo>
                  <a:pt x="670" y="432"/>
                  <a:pt x="670" y="432"/>
                  <a:pt x="670" y="432"/>
                </a:cubicBezTo>
                <a:cubicBezTo>
                  <a:pt x="670" y="434"/>
                  <a:pt x="670" y="434"/>
                  <a:pt x="670" y="434"/>
                </a:cubicBezTo>
                <a:cubicBezTo>
                  <a:pt x="670" y="434"/>
                  <a:pt x="670" y="434"/>
                  <a:pt x="670" y="434"/>
                </a:cubicBezTo>
                <a:cubicBezTo>
                  <a:pt x="670" y="435"/>
                  <a:pt x="670" y="435"/>
                  <a:pt x="670" y="435"/>
                </a:cubicBezTo>
                <a:cubicBezTo>
                  <a:pt x="668" y="436"/>
                  <a:pt x="668" y="436"/>
                  <a:pt x="668" y="436"/>
                </a:cubicBezTo>
                <a:cubicBezTo>
                  <a:pt x="668" y="437"/>
                  <a:pt x="668" y="437"/>
                  <a:pt x="668" y="437"/>
                </a:cubicBezTo>
                <a:cubicBezTo>
                  <a:pt x="667" y="438"/>
                  <a:pt x="667" y="438"/>
                  <a:pt x="667" y="438"/>
                </a:cubicBezTo>
                <a:cubicBezTo>
                  <a:pt x="667" y="440"/>
                  <a:pt x="667" y="440"/>
                  <a:pt x="667" y="440"/>
                </a:cubicBezTo>
                <a:cubicBezTo>
                  <a:pt x="666" y="440"/>
                  <a:pt x="666" y="440"/>
                  <a:pt x="666" y="440"/>
                </a:cubicBezTo>
                <a:cubicBezTo>
                  <a:pt x="667" y="441"/>
                  <a:pt x="667" y="441"/>
                  <a:pt x="667" y="441"/>
                </a:cubicBezTo>
                <a:cubicBezTo>
                  <a:pt x="666" y="443"/>
                  <a:pt x="666" y="443"/>
                  <a:pt x="666" y="443"/>
                </a:cubicBezTo>
                <a:cubicBezTo>
                  <a:pt x="665" y="443"/>
                  <a:pt x="665" y="443"/>
                  <a:pt x="665" y="443"/>
                </a:cubicBezTo>
                <a:cubicBezTo>
                  <a:pt x="664" y="442"/>
                  <a:pt x="664" y="442"/>
                  <a:pt x="664" y="442"/>
                </a:cubicBezTo>
                <a:cubicBezTo>
                  <a:pt x="665" y="444"/>
                  <a:pt x="665" y="444"/>
                  <a:pt x="665" y="444"/>
                </a:cubicBezTo>
                <a:cubicBezTo>
                  <a:pt x="665" y="445"/>
                  <a:pt x="665" y="445"/>
                  <a:pt x="665" y="445"/>
                </a:cubicBezTo>
                <a:cubicBezTo>
                  <a:pt x="663" y="446"/>
                  <a:pt x="663" y="446"/>
                  <a:pt x="663" y="446"/>
                </a:cubicBezTo>
                <a:cubicBezTo>
                  <a:pt x="664" y="447"/>
                  <a:pt x="664" y="447"/>
                  <a:pt x="664" y="447"/>
                </a:cubicBezTo>
                <a:cubicBezTo>
                  <a:pt x="662" y="449"/>
                  <a:pt x="662" y="449"/>
                  <a:pt x="662" y="449"/>
                </a:cubicBezTo>
                <a:cubicBezTo>
                  <a:pt x="661" y="451"/>
                  <a:pt x="661" y="451"/>
                  <a:pt x="661" y="451"/>
                </a:cubicBezTo>
                <a:cubicBezTo>
                  <a:pt x="660" y="451"/>
                  <a:pt x="660" y="451"/>
                  <a:pt x="660" y="451"/>
                </a:cubicBezTo>
                <a:cubicBezTo>
                  <a:pt x="660" y="452"/>
                  <a:pt x="660" y="452"/>
                  <a:pt x="660" y="452"/>
                </a:cubicBezTo>
                <a:cubicBezTo>
                  <a:pt x="658" y="452"/>
                  <a:pt x="658" y="452"/>
                  <a:pt x="658" y="452"/>
                </a:cubicBezTo>
                <a:cubicBezTo>
                  <a:pt x="656" y="453"/>
                  <a:pt x="656" y="453"/>
                  <a:pt x="656" y="453"/>
                </a:cubicBezTo>
                <a:cubicBezTo>
                  <a:pt x="656" y="453"/>
                  <a:pt x="656" y="453"/>
                  <a:pt x="656" y="453"/>
                </a:cubicBezTo>
                <a:cubicBezTo>
                  <a:pt x="655" y="453"/>
                  <a:pt x="655" y="453"/>
                  <a:pt x="655" y="453"/>
                </a:cubicBezTo>
                <a:cubicBezTo>
                  <a:pt x="653" y="452"/>
                  <a:pt x="653" y="452"/>
                  <a:pt x="653" y="452"/>
                </a:cubicBezTo>
                <a:cubicBezTo>
                  <a:pt x="651" y="452"/>
                  <a:pt x="651" y="452"/>
                  <a:pt x="651" y="452"/>
                </a:cubicBezTo>
                <a:cubicBezTo>
                  <a:pt x="651" y="449"/>
                  <a:pt x="651" y="449"/>
                  <a:pt x="651" y="449"/>
                </a:cubicBezTo>
                <a:cubicBezTo>
                  <a:pt x="650" y="449"/>
                  <a:pt x="650" y="449"/>
                  <a:pt x="650" y="449"/>
                </a:cubicBezTo>
                <a:cubicBezTo>
                  <a:pt x="649" y="449"/>
                  <a:pt x="649" y="449"/>
                  <a:pt x="649" y="449"/>
                </a:cubicBezTo>
                <a:cubicBezTo>
                  <a:pt x="647" y="449"/>
                  <a:pt x="647" y="449"/>
                  <a:pt x="647" y="449"/>
                </a:cubicBezTo>
                <a:cubicBezTo>
                  <a:pt x="647" y="449"/>
                  <a:pt x="647" y="449"/>
                  <a:pt x="647" y="449"/>
                </a:cubicBezTo>
                <a:cubicBezTo>
                  <a:pt x="647" y="450"/>
                  <a:pt x="647" y="450"/>
                  <a:pt x="647" y="450"/>
                </a:cubicBezTo>
                <a:cubicBezTo>
                  <a:pt x="646" y="451"/>
                  <a:pt x="646" y="451"/>
                  <a:pt x="646" y="451"/>
                </a:cubicBezTo>
                <a:cubicBezTo>
                  <a:pt x="646" y="454"/>
                  <a:pt x="646" y="454"/>
                  <a:pt x="646" y="454"/>
                </a:cubicBezTo>
                <a:cubicBezTo>
                  <a:pt x="645" y="454"/>
                  <a:pt x="645" y="454"/>
                  <a:pt x="645" y="454"/>
                </a:cubicBezTo>
                <a:cubicBezTo>
                  <a:pt x="644" y="456"/>
                  <a:pt x="644" y="456"/>
                  <a:pt x="644" y="456"/>
                </a:cubicBezTo>
                <a:cubicBezTo>
                  <a:pt x="644" y="456"/>
                  <a:pt x="644" y="456"/>
                  <a:pt x="644" y="456"/>
                </a:cubicBezTo>
                <a:cubicBezTo>
                  <a:pt x="642" y="456"/>
                  <a:pt x="642" y="456"/>
                  <a:pt x="642" y="456"/>
                </a:cubicBezTo>
                <a:cubicBezTo>
                  <a:pt x="642" y="458"/>
                  <a:pt x="642" y="458"/>
                  <a:pt x="642" y="458"/>
                </a:cubicBezTo>
                <a:cubicBezTo>
                  <a:pt x="642" y="458"/>
                  <a:pt x="642" y="458"/>
                  <a:pt x="642" y="458"/>
                </a:cubicBezTo>
                <a:close/>
                <a:moveTo>
                  <a:pt x="208" y="462"/>
                </a:moveTo>
                <a:cubicBezTo>
                  <a:pt x="206" y="461"/>
                  <a:pt x="206" y="461"/>
                  <a:pt x="206" y="461"/>
                </a:cubicBezTo>
                <a:cubicBezTo>
                  <a:pt x="199" y="462"/>
                  <a:pt x="199" y="462"/>
                  <a:pt x="199" y="462"/>
                </a:cubicBezTo>
                <a:cubicBezTo>
                  <a:pt x="208" y="462"/>
                  <a:pt x="208" y="462"/>
                  <a:pt x="208" y="462"/>
                </a:cubicBezTo>
                <a:close/>
                <a:moveTo>
                  <a:pt x="734" y="436"/>
                </a:moveTo>
                <a:cubicBezTo>
                  <a:pt x="735" y="436"/>
                  <a:pt x="735" y="436"/>
                  <a:pt x="735" y="436"/>
                </a:cubicBezTo>
                <a:cubicBezTo>
                  <a:pt x="736" y="435"/>
                  <a:pt x="736" y="435"/>
                  <a:pt x="736" y="435"/>
                </a:cubicBezTo>
                <a:cubicBezTo>
                  <a:pt x="736" y="434"/>
                  <a:pt x="736" y="434"/>
                  <a:pt x="736" y="434"/>
                </a:cubicBezTo>
                <a:cubicBezTo>
                  <a:pt x="735" y="434"/>
                  <a:pt x="735" y="434"/>
                  <a:pt x="735" y="434"/>
                </a:cubicBezTo>
                <a:cubicBezTo>
                  <a:pt x="734" y="436"/>
                  <a:pt x="734" y="436"/>
                  <a:pt x="734" y="436"/>
                </a:cubicBezTo>
                <a:close/>
                <a:moveTo>
                  <a:pt x="41" y="64"/>
                </a:moveTo>
                <a:cubicBezTo>
                  <a:pt x="40" y="62"/>
                  <a:pt x="40" y="62"/>
                  <a:pt x="40" y="62"/>
                </a:cubicBezTo>
                <a:cubicBezTo>
                  <a:pt x="40" y="60"/>
                  <a:pt x="40" y="60"/>
                  <a:pt x="40" y="60"/>
                </a:cubicBezTo>
                <a:cubicBezTo>
                  <a:pt x="39" y="60"/>
                  <a:pt x="39" y="60"/>
                  <a:pt x="39" y="60"/>
                </a:cubicBezTo>
                <a:cubicBezTo>
                  <a:pt x="39" y="59"/>
                  <a:pt x="39" y="59"/>
                  <a:pt x="39" y="59"/>
                </a:cubicBezTo>
                <a:cubicBezTo>
                  <a:pt x="38" y="58"/>
                  <a:pt x="38" y="58"/>
                  <a:pt x="38" y="58"/>
                </a:cubicBezTo>
                <a:cubicBezTo>
                  <a:pt x="39" y="57"/>
                  <a:pt x="39" y="57"/>
                  <a:pt x="39" y="57"/>
                </a:cubicBezTo>
                <a:cubicBezTo>
                  <a:pt x="40" y="56"/>
                  <a:pt x="40" y="56"/>
                  <a:pt x="40" y="56"/>
                </a:cubicBezTo>
                <a:cubicBezTo>
                  <a:pt x="42" y="55"/>
                  <a:pt x="42" y="55"/>
                  <a:pt x="42" y="55"/>
                </a:cubicBezTo>
                <a:cubicBezTo>
                  <a:pt x="43" y="55"/>
                  <a:pt x="43" y="55"/>
                  <a:pt x="43" y="55"/>
                </a:cubicBezTo>
                <a:cubicBezTo>
                  <a:pt x="44" y="55"/>
                  <a:pt x="44" y="55"/>
                  <a:pt x="44" y="55"/>
                </a:cubicBezTo>
                <a:cubicBezTo>
                  <a:pt x="44" y="56"/>
                  <a:pt x="44" y="56"/>
                  <a:pt x="44" y="56"/>
                </a:cubicBezTo>
                <a:cubicBezTo>
                  <a:pt x="46" y="57"/>
                  <a:pt x="46" y="57"/>
                  <a:pt x="46" y="57"/>
                </a:cubicBezTo>
                <a:cubicBezTo>
                  <a:pt x="47" y="57"/>
                  <a:pt x="47" y="57"/>
                  <a:pt x="47" y="57"/>
                </a:cubicBezTo>
                <a:cubicBezTo>
                  <a:pt x="47" y="56"/>
                  <a:pt x="47" y="56"/>
                  <a:pt x="47" y="56"/>
                </a:cubicBezTo>
                <a:cubicBezTo>
                  <a:pt x="48" y="56"/>
                  <a:pt x="48" y="56"/>
                  <a:pt x="48" y="56"/>
                </a:cubicBezTo>
                <a:cubicBezTo>
                  <a:pt x="47" y="55"/>
                  <a:pt x="47" y="55"/>
                  <a:pt x="47" y="55"/>
                </a:cubicBezTo>
                <a:cubicBezTo>
                  <a:pt x="46" y="55"/>
                  <a:pt x="46" y="55"/>
                  <a:pt x="46" y="55"/>
                </a:cubicBezTo>
                <a:cubicBezTo>
                  <a:pt x="43" y="53"/>
                  <a:pt x="43" y="53"/>
                  <a:pt x="43" y="53"/>
                </a:cubicBezTo>
                <a:cubicBezTo>
                  <a:pt x="40" y="52"/>
                  <a:pt x="40" y="52"/>
                  <a:pt x="40" y="52"/>
                </a:cubicBezTo>
                <a:cubicBezTo>
                  <a:pt x="38" y="53"/>
                  <a:pt x="38" y="53"/>
                  <a:pt x="38" y="53"/>
                </a:cubicBezTo>
                <a:cubicBezTo>
                  <a:pt x="36" y="55"/>
                  <a:pt x="36" y="55"/>
                  <a:pt x="36" y="55"/>
                </a:cubicBezTo>
                <a:cubicBezTo>
                  <a:pt x="35" y="56"/>
                  <a:pt x="35" y="56"/>
                  <a:pt x="35" y="56"/>
                </a:cubicBezTo>
                <a:cubicBezTo>
                  <a:pt x="33" y="57"/>
                  <a:pt x="33" y="57"/>
                  <a:pt x="33" y="57"/>
                </a:cubicBezTo>
                <a:cubicBezTo>
                  <a:pt x="32" y="58"/>
                  <a:pt x="32" y="58"/>
                  <a:pt x="32" y="58"/>
                </a:cubicBezTo>
                <a:cubicBezTo>
                  <a:pt x="32" y="61"/>
                  <a:pt x="32" y="61"/>
                  <a:pt x="32" y="61"/>
                </a:cubicBezTo>
                <a:cubicBezTo>
                  <a:pt x="33" y="62"/>
                  <a:pt x="33" y="62"/>
                  <a:pt x="33" y="62"/>
                </a:cubicBezTo>
                <a:cubicBezTo>
                  <a:pt x="34" y="61"/>
                  <a:pt x="34" y="61"/>
                  <a:pt x="34" y="61"/>
                </a:cubicBezTo>
                <a:cubicBezTo>
                  <a:pt x="36" y="62"/>
                  <a:pt x="36" y="62"/>
                  <a:pt x="36" y="62"/>
                </a:cubicBezTo>
                <a:cubicBezTo>
                  <a:pt x="36" y="63"/>
                  <a:pt x="36" y="63"/>
                  <a:pt x="36" y="63"/>
                </a:cubicBezTo>
                <a:cubicBezTo>
                  <a:pt x="37" y="63"/>
                  <a:pt x="37" y="63"/>
                  <a:pt x="37" y="63"/>
                </a:cubicBezTo>
                <a:cubicBezTo>
                  <a:pt x="37" y="62"/>
                  <a:pt x="37" y="62"/>
                  <a:pt x="37" y="62"/>
                </a:cubicBezTo>
                <a:cubicBezTo>
                  <a:pt x="37" y="62"/>
                  <a:pt x="37" y="62"/>
                  <a:pt x="37" y="62"/>
                </a:cubicBezTo>
                <a:cubicBezTo>
                  <a:pt x="38" y="61"/>
                  <a:pt x="38" y="61"/>
                  <a:pt x="38" y="61"/>
                </a:cubicBezTo>
                <a:cubicBezTo>
                  <a:pt x="39" y="62"/>
                  <a:pt x="39" y="62"/>
                  <a:pt x="39" y="62"/>
                </a:cubicBezTo>
                <a:cubicBezTo>
                  <a:pt x="40" y="64"/>
                  <a:pt x="40" y="64"/>
                  <a:pt x="40" y="64"/>
                </a:cubicBezTo>
                <a:cubicBezTo>
                  <a:pt x="41" y="64"/>
                  <a:pt x="41" y="64"/>
                  <a:pt x="41" y="64"/>
                </a:cubicBezTo>
                <a:cubicBezTo>
                  <a:pt x="41" y="64"/>
                  <a:pt x="41" y="64"/>
                  <a:pt x="41" y="64"/>
                </a:cubicBezTo>
                <a:close/>
                <a:moveTo>
                  <a:pt x="51" y="45"/>
                </a:moveTo>
                <a:cubicBezTo>
                  <a:pt x="51" y="44"/>
                  <a:pt x="51" y="44"/>
                  <a:pt x="51" y="44"/>
                </a:cubicBezTo>
                <a:cubicBezTo>
                  <a:pt x="52" y="43"/>
                  <a:pt x="52" y="43"/>
                  <a:pt x="52" y="43"/>
                </a:cubicBezTo>
                <a:cubicBezTo>
                  <a:pt x="52" y="43"/>
                  <a:pt x="52" y="43"/>
                  <a:pt x="52" y="43"/>
                </a:cubicBezTo>
                <a:cubicBezTo>
                  <a:pt x="53" y="44"/>
                  <a:pt x="53" y="44"/>
                  <a:pt x="53" y="44"/>
                </a:cubicBezTo>
                <a:cubicBezTo>
                  <a:pt x="53" y="45"/>
                  <a:pt x="53" y="45"/>
                  <a:pt x="53" y="45"/>
                </a:cubicBezTo>
                <a:cubicBezTo>
                  <a:pt x="53" y="45"/>
                  <a:pt x="53" y="45"/>
                  <a:pt x="53" y="45"/>
                </a:cubicBezTo>
                <a:cubicBezTo>
                  <a:pt x="51" y="45"/>
                  <a:pt x="51" y="45"/>
                  <a:pt x="51" y="45"/>
                </a:cubicBezTo>
                <a:cubicBezTo>
                  <a:pt x="51" y="45"/>
                  <a:pt x="51" y="45"/>
                  <a:pt x="51" y="45"/>
                </a:cubicBezTo>
                <a:close/>
                <a:moveTo>
                  <a:pt x="48" y="70"/>
                </a:moveTo>
                <a:cubicBezTo>
                  <a:pt x="49" y="70"/>
                  <a:pt x="49" y="70"/>
                  <a:pt x="49" y="70"/>
                </a:cubicBezTo>
                <a:cubicBezTo>
                  <a:pt x="49" y="70"/>
                  <a:pt x="49" y="70"/>
                  <a:pt x="49" y="70"/>
                </a:cubicBezTo>
                <a:cubicBezTo>
                  <a:pt x="50" y="69"/>
                  <a:pt x="50" y="69"/>
                  <a:pt x="50" y="69"/>
                </a:cubicBezTo>
                <a:cubicBezTo>
                  <a:pt x="50" y="68"/>
                  <a:pt x="50" y="68"/>
                  <a:pt x="50" y="68"/>
                </a:cubicBezTo>
                <a:cubicBezTo>
                  <a:pt x="50" y="67"/>
                  <a:pt x="50" y="67"/>
                  <a:pt x="50" y="67"/>
                </a:cubicBezTo>
                <a:cubicBezTo>
                  <a:pt x="51" y="68"/>
                  <a:pt x="51" y="68"/>
                  <a:pt x="51" y="68"/>
                </a:cubicBezTo>
                <a:cubicBezTo>
                  <a:pt x="52" y="67"/>
                  <a:pt x="52" y="67"/>
                  <a:pt x="52" y="67"/>
                </a:cubicBezTo>
                <a:cubicBezTo>
                  <a:pt x="52" y="65"/>
                  <a:pt x="52" y="65"/>
                  <a:pt x="52" y="65"/>
                </a:cubicBezTo>
                <a:cubicBezTo>
                  <a:pt x="52" y="64"/>
                  <a:pt x="52" y="64"/>
                  <a:pt x="52" y="64"/>
                </a:cubicBezTo>
                <a:cubicBezTo>
                  <a:pt x="51" y="63"/>
                  <a:pt x="51" y="63"/>
                  <a:pt x="51" y="63"/>
                </a:cubicBezTo>
                <a:cubicBezTo>
                  <a:pt x="50" y="62"/>
                  <a:pt x="50" y="62"/>
                  <a:pt x="50" y="62"/>
                </a:cubicBezTo>
                <a:cubicBezTo>
                  <a:pt x="52" y="62"/>
                  <a:pt x="52" y="62"/>
                  <a:pt x="52" y="62"/>
                </a:cubicBezTo>
                <a:cubicBezTo>
                  <a:pt x="53" y="62"/>
                  <a:pt x="53" y="62"/>
                  <a:pt x="53" y="62"/>
                </a:cubicBezTo>
                <a:cubicBezTo>
                  <a:pt x="55" y="61"/>
                  <a:pt x="55" y="61"/>
                  <a:pt x="55" y="61"/>
                </a:cubicBezTo>
                <a:cubicBezTo>
                  <a:pt x="55" y="61"/>
                  <a:pt x="55" y="61"/>
                  <a:pt x="55" y="61"/>
                </a:cubicBezTo>
                <a:cubicBezTo>
                  <a:pt x="55" y="61"/>
                  <a:pt x="55" y="61"/>
                  <a:pt x="55" y="61"/>
                </a:cubicBezTo>
                <a:cubicBezTo>
                  <a:pt x="55" y="60"/>
                  <a:pt x="55" y="60"/>
                  <a:pt x="55" y="60"/>
                </a:cubicBezTo>
                <a:cubicBezTo>
                  <a:pt x="54" y="59"/>
                  <a:pt x="54" y="59"/>
                  <a:pt x="54" y="59"/>
                </a:cubicBezTo>
                <a:cubicBezTo>
                  <a:pt x="54" y="59"/>
                  <a:pt x="54" y="59"/>
                  <a:pt x="54" y="59"/>
                </a:cubicBezTo>
                <a:cubicBezTo>
                  <a:pt x="53" y="59"/>
                  <a:pt x="53" y="59"/>
                  <a:pt x="53" y="59"/>
                </a:cubicBezTo>
                <a:cubicBezTo>
                  <a:pt x="53" y="58"/>
                  <a:pt x="53" y="58"/>
                  <a:pt x="53" y="58"/>
                </a:cubicBezTo>
                <a:cubicBezTo>
                  <a:pt x="54" y="57"/>
                  <a:pt x="54" y="57"/>
                  <a:pt x="54" y="57"/>
                </a:cubicBezTo>
                <a:cubicBezTo>
                  <a:pt x="55" y="57"/>
                  <a:pt x="55" y="57"/>
                  <a:pt x="55" y="57"/>
                </a:cubicBezTo>
                <a:cubicBezTo>
                  <a:pt x="55" y="58"/>
                  <a:pt x="55" y="58"/>
                  <a:pt x="55" y="58"/>
                </a:cubicBezTo>
                <a:cubicBezTo>
                  <a:pt x="56" y="58"/>
                  <a:pt x="56" y="58"/>
                  <a:pt x="56" y="58"/>
                </a:cubicBezTo>
                <a:cubicBezTo>
                  <a:pt x="56" y="58"/>
                  <a:pt x="56" y="58"/>
                  <a:pt x="56" y="58"/>
                </a:cubicBezTo>
                <a:cubicBezTo>
                  <a:pt x="57" y="56"/>
                  <a:pt x="57" y="56"/>
                  <a:pt x="57" y="56"/>
                </a:cubicBezTo>
                <a:cubicBezTo>
                  <a:pt x="58" y="56"/>
                  <a:pt x="58" y="56"/>
                  <a:pt x="58" y="56"/>
                </a:cubicBezTo>
                <a:cubicBezTo>
                  <a:pt x="58" y="55"/>
                  <a:pt x="58" y="55"/>
                  <a:pt x="58" y="55"/>
                </a:cubicBezTo>
                <a:cubicBezTo>
                  <a:pt x="58" y="54"/>
                  <a:pt x="58" y="54"/>
                  <a:pt x="58" y="54"/>
                </a:cubicBezTo>
                <a:cubicBezTo>
                  <a:pt x="58" y="54"/>
                  <a:pt x="58" y="54"/>
                  <a:pt x="58" y="54"/>
                </a:cubicBezTo>
                <a:cubicBezTo>
                  <a:pt x="56" y="53"/>
                  <a:pt x="56" y="53"/>
                  <a:pt x="56" y="53"/>
                </a:cubicBezTo>
                <a:cubicBezTo>
                  <a:pt x="56" y="52"/>
                  <a:pt x="56" y="52"/>
                  <a:pt x="56" y="52"/>
                </a:cubicBezTo>
                <a:cubicBezTo>
                  <a:pt x="56" y="51"/>
                  <a:pt x="56" y="51"/>
                  <a:pt x="56" y="51"/>
                </a:cubicBezTo>
                <a:cubicBezTo>
                  <a:pt x="54" y="52"/>
                  <a:pt x="54" y="52"/>
                  <a:pt x="54" y="52"/>
                </a:cubicBezTo>
                <a:cubicBezTo>
                  <a:pt x="53" y="53"/>
                  <a:pt x="53" y="53"/>
                  <a:pt x="53" y="53"/>
                </a:cubicBezTo>
                <a:cubicBezTo>
                  <a:pt x="53" y="54"/>
                  <a:pt x="53" y="54"/>
                  <a:pt x="53" y="54"/>
                </a:cubicBezTo>
                <a:cubicBezTo>
                  <a:pt x="53" y="53"/>
                  <a:pt x="53" y="53"/>
                  <a:pt x="53" y="53"/>
                </a:cubicBezTo>
                <a:cubicBezTo>
                  <a:pt x="53" y="52"/>
                  <a:pt x="53" y="52"/>
                  <a:pt x="53" y="52"/>
                </a:cubicBezTo>
                <a:cubicBezTo>
                  <a:pt x="54" y="51"/>
                  <a:pt x="54" y="51"/>
                  <a:pt x="54" y="51"/>
                </a:cubicBezTo>
                <a:cubicBezTo>
                  <a:pt x="54" y="50"/>
                  <a:pt x="54" y="50"/>
                  <a:pt x="54" y="50"/>
                </a:cubicBezTo>
                <a:cubicBezTo>
                  <a:pt x="55" y="48"/>
                  <a:pt x="55" y="48"/>
                  <a:pt x="55" y="48"/>
                </a:cubicBezTo>
                <a:cubicBezTo>
                  <a:pt x="54" y="48"/>
                  <a:pt x="54" y="48"/>
                  <a:pt x="54" y="48"/>
                </a:cubicBezTo>
                <a:cubicBezTo>
                  <a:pt x="53" y="49"/>
                  <a:pt x="53" y="49"/>
                  <a:pt x="53" y="49"/>
                </a:cubicBezTo>
                <a:cubicBezTo>
                  <a:pt x="52" y="51"/>
                  <a:pt x="52" y="51"/>
                  <a:pt x="52" y="51"/>
                </a:cubicBezTo>
                <a:cubicBezTo>
                  <a:pt x="52" y="51"/>
                  <a:pt x="52" y="51"/>
                  <a:pt x="52" y="51"/>
                </a:cubicBezTo>
                <a:cubicBezTo>
                  <a:pt x="52" y="51"/>
                  <a:pt x="52" y="51"/>
                  <a:pt x="52" y="51"/>
                </a:cubicBezTo>
                <a:cubicBezTo>
                  <a:pt x="52" y="49"/>
                  <a:pt x="52" y="49"/>
                  <a:pt x="52" y="49"/>
                </a:cubicBezTo>
                <a:cubicBezTo>
                  <a:pt x="52" y="49"/>
                  <a:pt x="52" y="49"/>
                  <a:pt x="52" y="49"/>
                </a:cubicBezTo>
                <a:cubicBezTo>
                  <a:pt x="51" y="49"/>
                  <a:pt x="51" y="49"/>
                  <a:pt x="51" y="49"/>
                </a:cubicBezTo>
                <a:cubicBezTo>
                  <a:pt x="51" y="51"/>
                  <a:pt x="51" y="51"/>
                  <a:pt x="51" y="51"/>
                </a:cubicBezTo>
                <a:cubicBezTo>
                  <a:pt x="50" y="51"/>
                  <a:pt x="50" y="51"/>
                  <a:pt x="50" y="51"/>
                </a:cubicBezTo>
                <a:cubicBezTo>
                  <a:pt x="50" y="52"/>
                  <a:pt x="50" y="52"/>
                  <a:pt x="50" y="52"/>
                </a:cubicBezTo>
                <a:cubicBezTo>
                  <a:pt x="50" y="53"/>
                  <a:pt x="50" y="53"/>
                  <a:pt x="50" y="53"/>
                </a:cubicBezTo>
                <a:cubicBezTo>
                  <a:pt x="51" y="52"/>
                  <a:pt x="51" y="52"/>
                  <a:pt x="51" y="52"/>
                </a:cubicBezTo>
                <a:cubicBezTo>
                  <a:pt x="52" y="53"/>
                  <a:pt x="52" y="53"/>
                  <a:pt x="52" y="53"/>
                </a:cubicBezTo>
                <a:cubicBezTo>
                  <a:pt x="52" y="53"/>
                  <a:pt x="52" y="53"/>
                  <a:pt x="52" y="53"/>
                </a:cubicBezTo>
                <a:cubicBezTo>
                  <a:pt x="51" y="54"/>
                  <a:pt x="51" y="54"/>
                  <a:pt x="51" y="54"/>
                </a:cubicBezTo>
                <a:cubicBezTo>
                  <a:pt x="50" y="55"/>
                  <a:pt x="50" y="55"/>
                  <a:pt x="50" y="55"/>
                </a:cubicBezTo>
                <a:cubicBezTo>
                  <a:pt x="50" y="56"/>
                  <a:pt x="50" y="56"/>
                  <a:pt x="50" y="56"/>
                </a:cubicBezTo>
                <a:cubicBezTo>
                  <a:pt x="49" y="57"/>
                  <a:pt x="49" y="57"/>
                  <a:pt x="49" y="57"/>
                </a:cubicBezTo>
                <a:cubicBezTo>
                  <a:pt x="49" y="57"/>
                  <a:pt x="49" y="57"/>
                  <a:pt x="49" y="57"/>
                </a:cubicBezTo>
                <a:cubicBezTo>
                  <a:pt x="48" y="58"/>
                  <a:pt x="48" y="58"/>
                  <a:pt x="48" y="58"/>
                </a:cubicBezTo>
                <a:cubicBezTo>
                  <a:pt x="47" y="59"/>
                  <a:pt x="47" y="59"/>
                  <a:pt x="47" y="59"/>
                </a:cubicBezTo>
                <a:cubicBezTo>
                  <a:pt x="45" y="58"/>
                  <a:pt x="45" y="58"/>
                  <a:pt x="45" y="58"/>
                </a:cubicBezTo>
                <a:cubicBezTo>
                  <a:pt x="44" y="59"/>
                  <a:pt x="44" y="59"/>
                  <a:pt x="44" y="59"/>
                </a:cubicBezTo>
                <a:cubicBezTo>
                  <a:pt x="43" y="58"/>
                  <a:pt x="43" y="58"/>
                  <a:pt x="43" y="58"/>
                </a:cubicBezTo>
                <a:cubicBezTo>
                  <a:pt x="42" y="57"/>
                  <a:pt x="42" y="57"/>
                  <a:pt x="42" y="57"/>
                </a:cubicBezTo>
                <a:cubicBezTo>
                  <a:pt x="42" y="58"/>
                  <a:pt x="42" y="58"/>
                  <a:pt x="42" y="58"/>
                </a:cubicBezTo>
                <a:cubicBezTo>
                  <a:pt x="42" y="59"/>
                  <a:pt x="42" y="59"/>
                  <a:pt x="42" y="59"/>
                </a:cubicBezTo>
                <a:cubicBezTo>
                  <a:pt x="42" y="59"/>
                  <a:pt x="42" y="59"/>
                  <a:pt x="42" y="59"/>
                </a:cubicBezTo>
                <a:cubicBezTo>
                  <a:pt x="41" y="60"/>
                  <a:pt x="41" y="60"/>
                  <a:pt x="41" y="60"/>
                </a:cubicBezTo>
                <a:cubicBezTo>
                  <a:pt x="42" y="61"/>
                  <a:pt x="42" y="61"/>
                  <a:pt x="42" y="61"/>
                </a:cubicBezTo>
                <a:cubicBezTo>
                  <a:pt x="43" y="60"/>
                  <a:pt x="43" y="60"/>
                  <a:pt x="43" y="60"/>
                </a:cubicBezTo>
                <a:cubicBezTo>
                  <a:pt x="44" y="60"/>
                  <a:pt x="44" y="60"/>
                  <a:pt x="44" y="60"/>
                </a:cubicBezTo>
                <a:cubicBezTo>
                  <a:pt x="45" y="62"/>
                  <a:pt x="45" y="62"/>
                  <a:pt x="45" y="62"/>
                </a:cubicBezTo>
                <a:cubicBezTo>
                  <a:pt x="46" y="62"/>
                  <a:pt x="46" y="62"/>
                  <a:pt x="46" y="62"/>
                </a:cubicBezTo>
                <a:cubicBezTo>
                  <a:pt x="46" y="63"/>
                  <a:pt x="46" y="63"/>
                  <a:pt x="46" y="63"/>
                </a:cubicBezTo>
                <a:cubicBezTo>
                  <a:pt x="45" y="63"/>
                  <a:pt x="45" y="63"/>
                  <a:pt x="45" y="63"/>
                </a:cubicBezTo>
                <a:cubicBezTo>
                  <a:pt x="44" y="63"/>
                  <a:pt x="44" y="63"/>
                  <a:pt x="44" y="63"/>
                </a:cubicBezTo>
                <a:cubicBezTo>
                  <a:pt x="43" y="64"/>
                  <a:pt x="43" y="64"/>
                  <a:pt x="43" y="64"/>
                </a:cubicBezTo>
                <a:cubicBezTo>
                  <a:pt x="43" y="67"/>
                  <a:pt x="43" y="67"/>
                  <a:pt x="43" y="67"/>
                </a:cubicBezTo>
                <a:cubicBezTo>
                  <a:pt x="44" y="68"/>
                  <a:pt x="44" y="68"/>
                  <a:pt x="44" y="68"/>
                </a:cubicBezTo>
                <a:cubicBezTo>
                  <a:pt x="44" y="69"/>
                  <a:pt x="44" y="69"/>
                  <a:pt x="44" y="69"/>
                </a:cubicBezTo>
                <a:cubicBezTo>
                  <a:pt x="44" y="69"/>
                  <a:pt x="44" y="69"/>
                  <a:pt x="44" y="69"/>
                </a:cubicBezTo>
                <a:cubicBezTo>
                  <a:pt x="45" y="69"/>
                  <a:pt x="45" y="69"/>
                  <a:pt x="45" y="69"/>
                </a:cubicBezTo>
                <a:cubicBezTo>
                  <a:pt x="46" y="69"/>
                  <a:pt x="46" y="69"/>
                  <a:pt x="46" y="69"/>
                </a:cubicBezTo>
                <a:cubicBezTo>
                  <a:pt x="46" y="68"/>
                  <a:pt x="46" y="68"/>
                  <a:pt x="46" y="68"/>
                </a:cubicBezTo>
                <a:cubicBezTo>
                  <a:pt x="46" y="67"/>
                  <a:pt x="46" y="67"/>
                  <a:pt x="46" y="67"/>
                </a:cubicBezTo>
                <a:cubicBezTo>
                  <a:pt x="47" y="67"/>
                  <a:pt x="47" y="67"/>
                  <a:pt x="47" y="67"/>
                </a:cubicBezTo>
                <a:cubicBezTo>
                  <a:pt x="48" y="68"/>
                  <a:pt x="48" y="68"/>
                  <a:pt x="48" y="68"/>
                </a:cubicBezTo>
                <a:cubicBezTo>
                  <a:pt x="48" y="70"/>
                  <a:pt x="48" y="70"/>
                  <a:pt x="48" y="70"/>
                </a:cubicBezTo>
                <a:close/>
                <a:moveTo>
                  <a:pt x="56" y="68"/>
                </a:moveTo>
                <a:cubicBezTo>
                  <a:pt x="57" y="67"/>
                  <a:pt x="57" y="67"/>
                  <a:pt x="57" y="67"/>
                </a:cubicBezTo>
                <a:cubicBezTo>
                  <a:pt x="57" y="66"/>
                  <a:pt x="57" y="66"/>
                  <a:pt x="57" y="66"/>
                </a:cubicBezTo>
                <a:cubicBezTo>
                  <a:pt x="57" y="65"/>
                  <a:pt x="57" y="65"/>
                  <a:pt x="57" y="65"/>
                </a:cubicBezTo>
                <a:cubicBezTo>
                  <a:pt x="56" y="64"/>
                  <a:pt x="56" y="64"/>
                  <a:pt x="56" y="64"/>
                </a:cubicBezTo>
                <a:cubicBezTo>
                  <a:pt x="55" y="64"/>
                  <a:pt x="55" y="64"/>
                  <a:pt x="55" y="64"/>
                </a:cubicBezTo>
                <a:cubicBezTo>
                  <a:pt x="54" y="65"/>
                  <a:pt x="54" y="65"/>
                  <a:pt x="54" y="65"/>
                </a:cubicBezTo>
                <a:cubicBezTo>
                  <a:pt x="54" y="66"/>
                  <a:pt x="54" y="66"/>
                  <a:pt x="54" y="66"/>
                </a:cubicBezTo>
                <a:cubicBezTo>
                  <a:pt x="55" y="67"/>
                  <a:pt x="55" y="67"/>
                  <a:pt x="55" y="67"/>
                </a:cubicBezTo>
                <a:cubicBezTo>
                  <a:pt x="56" y="68"/>
                  <a:pt x="56" y="68"/>
                  <a:pt x="56" y="68"/>
                </a:cubicBezTo>
                <a:close/>
                <a:moveTo>
                  <a:pt x="58" y="71"/>
                </a:moveTo>
                <a:cubicBezTo>
                  <a:pt x="58" y="71"/>
                  <a:pt x="59" y="71"/>
                  <a:pt x="59" y="71"/>
                </a:cubicBezTo>
                <a:cubicBezTo>
                  <a:pt x="60" y="70"/>
                  <a:pt x="60" y="70"/>
                  <a:pt x="60" y="70"/>
                </a:cubicBezTo>
                <a:cubicBezTo>
                  <a:pt x="62" y="71"/>
                  <a:pt x="62" y="71"/>
                  <a:pt x="62" y="71"/>
                </a:cubicBezTo>
                <a:cubicBezTo>
                  <a:pt x="63" y="70"/>
                  <a:pt x="63" y="70"/>
                  <a:pt x="63" y="70"/>
                </a:cubicBezTo>
                <a:cubicBezTo>
                  <a:pt x="62" y="69"/>
                  <a:pt x="62" y="69"/>
                  <a:pt x="62" y="69"/>
                </a:cubicBezTo>
                <a:cubicBezTo>
                  <a:pt x="61" y="69"/>
                  <a:pt x="61" y="69"/>
                  <a:pt x="61" y="69"/>
                </a:cubicBezTo>
                <a:cubicBezTo>
                  <a:pt x="61" y="67"/>
                  <a:pt x="61" y="67"/>
                  <a:pt x="61" y="67"/>
                </a:cubicBezTo>
                <a:cubicBezTo>
                  <a:pt x="59" y="65"/>
                  <a:pt x="59" y="65"/>
                  <a:pt x="59" y="65"/>
                </a:cubicBezTo>
                <a:cubicBezTo>
                  <a:pt x="59" y="66"/>
                  <a:pt x="59" y="66"/>
                  <a:pt x="59" y="66"/>
                </a:cubicBezTo>
                <a:cubicBezTo>
                  <a:pt x="59" y="68"/>
                  <a:pt x="59" y="68"/>
                  <a:pt x="59" y="68"/>
                </a:cubicBezTo>
                <a:cubicBezTo>
                  <a:pt x="59" y="69"/>
                  <a:pt x="59" y="69"/>
                  <a:pt x="59" y="69"/>
                </a:cubicBezTo>
                <a:cubicBezTo>
                  <a:pt x="57" y="69"/>
                  <a:pt x="57" y="69"/>
                  <a:pt x="57" y="69"/>
                </a:cubicBezTo>
                <a:cubicBezTo>
                  <a:pt x="57" y="69"/>
                  <a:pt x="57" y="69"/>
                  <a:pt x="57" y="69"/>
                </a:cubicBezTo>
                <a:cubicBezTo>
                  <a:pt x="58" y="70"/>
                  <a:pt x="58" y="70"/>
                  <a:pt x="58" y="70"/>
                </a:cubicBezTo>
                <a:cubicBezTo>
                  <a:pt x="58" y="71"/>
                  <a:pt x="58" y="71"/>
                  <a:pt x="58" y="71"/>
                </a:cubicBezTo>
                <a:close/>
                <a:moveTo>
                  <a:pt x="74" y="27"/>
                </a:moveTo>
                <a:cubicBezTo>
                  <a:pt x="76" y="26"/>
                  <a:pt x="76" y="26"/>
                  <a:pt x="76" y="26"/>
                </a:cubicBezTo>
                <a:cubicBezTo>
                  <a:pt x="77" y="26"/>
                  <a:pt x="77" y="26"/>
                  <a:pt x="77" y="26"/>
                </a:cubicBezTo>
                <a:cubicBezTo>
                  <a:pt x="77" y="25"/>
                  <a:pt x="77" y="25"/>
                  <a:pt x="77" y="25"/>
                </a:cubicBezTo>
                <a:cubicBezTo>
                  <a:pt x="78" y="25"/>
                  <a:pt x="78" y="25"/>
                  <a:pt x="78" y="25"/>
                </a:cubicBezTo>
                <a:cubicBezTo>
                  <a:pt x="77" y="24"/>
                  <a:pt x="77" y="24"/>
                  <a:pt x="77" y="24"/>
                </a:cubicBezTo>
                <a:cubicBezTo>
                  <a:pt x="77" y="23"/>
                  <a:pt x="77" y="23"/>
                  <a:pt x="77" y="23"/>
                </a:cubicBezTo>
                <a:cubicBezTo>
                  <a:pt x="76" y="22"/>
                  <a:pt x="76" y="22"/>
                  <a:pt x="76" y="22"/>
                </a:cubicBezTo>
                <a:cubicBezTo>
                  <a:pt x="75" y="23"/>
                  <a:pt x="75" y="23"/>
                  <a:pt x="75" y="23"/>
                </a:cubicBezTo>
                <a:cubicBezTo>
                  <a:pt x="74" y="23"/>
                  <a:pt x="74" y="23"/>
                  <a:pt x="74" y="23"/>
                </a:cubicBezTo>
                <a:cubicBezTo>
                  <a:pt x="73" y="24"/>
                  <a:pt x="73" y="24"/>
                  <a:pt x="73" y="24"/>
                </a:cubicBezTo>
                <a:cubicBezTo>
                  <a:pt x="73" y="24"/>
                  <a:pt x="73" y="24"/>
                  <a:pt x="73" y="24"/>
                </a:cubicBezTo>
                <a:cubicBezTo>
                  <a:pt x="73" y="25"/>
                  <a:pt x="73" y="25"/>
                  <a:pt x="73" y="25"/>
                </a:cubicBezTo>
                <a:cubicBezTo>
                  <a:pt x="74" y="26"/>
                  <a:pt x="74" y="26"/>
                  <a:pt x="74" y="26"/>
                </a:cubicBezTo>
                <a:cubicBezTo>
                  <a:pt x="74" y="26"/>
                  <a:pt x="74" y="27"/>
                  <a:pt x="74" y="27"/>
                </a:cubicBezTo>
                <a:close/>
                <a:moveTo>
                  <a:pt x="76" y="29"/>
                </a:moveTo>
                <a:cubicBezTo>
                  <a:pt x="76" y="28"/>
                  <a:pt x="76" y="28"/>
                  <a:pt x="76" y="28"/>
                </a:cubicBezTo>
                <a:cubicBezTo>
                  <a:pt x="76" y="28"/>
                  <a:pt x="76" y="28"/>
                  <a:pt x="76" y="28"/>
                </a:cubicBezTo>
                <a:cubicBezTo>
                  <a:pt x="76" y="28"/>
                  <a:pt x="76" y="28"/>
                  <a:pt x="76" y="28"/>
                </a:cubicBezTo>
                <a:cubicBezTo>
                  <a:pt x="76" y="29"/>
                  <a:pt x="76" y="29"/>
                  <a:pt x="76" y="29"/>
                </a:cubicBezTo>
                <a:close/>
                <a:moveTo>
                  <a:pt x="76" y="33"/>
                </a:moveTo>
                <a:cubicBezTo>
                  <a:pt x="77" y="32"/>
                  <a:pt x="77" y="32"/>
                  <a:pt x="77" y="32"/>
                </a:cubicBezTo>
                <a:cubicBezTo>
                  <a:pt x="77" y="31"/>
                  <a:pt x="77" y="31"/>
                  <a:pt x="77" y="31"/>
                </a:cubicBezTo>
                <a:cubicBezTo>
                  <a:pt x="78" y="31"/>
                  <a:pt x="78" y="31"/>
                  <a:pt x="78" y="31"/>
                </a:cubicBezTo>
                <a:cubicBezTo>
                  <a:pt x="77" y="30"/>
                  <a:pt x="77" y="30"/>
                  <a:pt x="77" y="30"/>
                </a:cubicBezTo>
                <a:cubicBezTo>
                  <a:pt x="77" y="31"/>
                  <a:pt x="77" y="31"/>
                  <a:pt x="77" y="31"/>
                </a:cubicBezTo>
                <a:cubicBezTo>
                  <a:pt x="75" y="31"/>
                  <a:pt x="75" y="31"/>
                  <a:pt x="75" y="31"/>
                </a:cubicBezTo>
                <a:cubicBezTo>
                  <a:pt x="75" y="30"/>
                  <a:pt x="75" y="30"/>
                  <a:pt x="75" y="30"/>
                </a:cubicBezTo>
                <a:cubicBezTo>
                  <a:pt x="74" y="30"/>
                  <a:pt x="74" y="30"/>
                  <a:pt x="74" y="30"/>
                </a:cubicBezTo>
                <a:cubicBezTo>
                  <a:pt x="73" y="30"/>
                  <a:pt x="73" y="30"/>
                  <a:pt x="73" y="30"/>
                </a:cubicBezTo>
                <a:cubicBezTo>
                  <a:pt x="71" y="31"/>
                  <a:pt x="71" y="31"/>
                  <a:pt x="71" y="31"/>
                </a:cubicBezTo>
                <a:cubicBezTo>
                  <a:pt x="71" y="32"/>
                  <a:pt x="71" y="32"/>
                  <a:pt x="71" y="32"/>
                </a:cubicBezTo>
                <a:cubicBezTo>
                  <a:pt x="72" y="33"/>
                  <a:pt x="72" y="33"/>
                  <a:pt x="72" y="33"/>
                </a:cubicBezTo>
                <a:cubicBezTo>
                  <a:pt x="73" y="33"/>
                  <a:pt x="73" y="33"/>
                  <a:pt x="73" y="33"/>
                </a:cubicBezTo>
                <a:cubicBezTo>
                  <a:pt x="74" y="33"/>
                  <a:pt x="74" y="33"/>
                  <a:pt x="74" y="33"/>
                </a:cubicBezTo>
                <a:cubicBezTo>
                  <a:pt x="75" y="33"/>
                  <a:pt x="75" y="33"/>
                  <a:pt x="75" y="33"/>
                </a:cubicBezTo>
                <a:cubicBezTo>
                  <a:pt x="75" y="34"/>
                  <a:pt x="75" y="34"/>
                  <a:pt x="75" y="34"/>
                </a:cubicBezTo>
                <a:cubicBezTo>
                  <a:pt x="76" y="33"/>
                  <a:pt x="76" y="33"/>
                  <a:pt x="76" y="33"/>
                </a:cubicBezTo>
                <a:close/>
                <a:moveTo>
                  <a:pt x="79" y="33"/>
                </a:moveTo>
                <a:cubicBezTo>
                  <a:pt x="79" y="32"/>
                  <a:pt x="79" y="32"/>
                  <a:pt x="79" y="32"/>
                </a:cubicBezTo>
                <a:cubicBezTo>
                  <a:pt x="79" y="31"/>
                  <a:pt x="79" y="31"/>
                  <a:pt x="79" y="31"/>
                </a:cubicBezTo>
                <a:cubicBezTo>
                  <a:pt x="80" y="31"/>
                  <a:pt x="80" y="31"/>
                  <a:pt x="80" y="31"/>
                </a:cubicBezTo>
                <a:cubicBezTo>
                  <a:pt x="81" y="31"/>
                  <a:pt x="81" y="31"/>
                  <a:pt x="81" y="31"/>
                </a:cubicBezTo>
                <a:cubicBezTo>
                  <a:pt x="81" y="32"/>
                  <a:pt x="81" y="32"/>
                  <a:pt x="81" y="32"/>
                </a:cubicBezTo>
                <a:cubicBezTo>
                  <a:pt x="81" y="33"/>
                  <a:pt x="81" y="33"/>
                  <a:pt x="81" y="33"/>
                </a:cubicBezTo>
                <a:cubicBezTo>
                  <a:pt x="80" y="33"/>
                  <a:pt x="80" y="33"/>
                  <a:pt x="80" y="33"/>
                </a:cubicBezTo>
                <a:cubicBezTo>
                  <a:pt x="79" y="33"/>
                  <a:pt x="79" y="33"/>
                  <a:pt x="79" y="33"/>
                </a:cubicBezTo>
                <a:close/>
                <a:moveTo>
                  <a:pt x="74" y="40"/>
                </a:moveTo>
                <a:cubicBezTo>
                  <a:pt x="75" y="38"/>
                  <a:pt x="75" y="38"/>
                  <a:pt x="75" y="38"/>
                </a:cubicBezTo>
                <a:cubicBezTo>
                  <a:pt x="76" y="36"/>
                  <a:pt x="76" y="36"/>
                  <a:pt x="76" y="36"/>
                </a:cubicBezTo>
                <a:cubicBezTo>
                  <a:pt x="77" y="35"/>
                  <a:pt x="77" y="35"/>
                  <a:pt x="77" y="35"/>
                </a:cubicBezTo>
                <a:cubicBezTo>
                  <a:pt x="77" y="35"/>
                  <a:pt x="77" y="35"/>
                  <a:pt x="77" y="35"/>
                </a:cubicBezTo>
                <a:cubicBezTo>
                  <a:pt x="76" y="34"/>
                  <a:pt x="76" y="34"/>
                  <a:pt x="76" y="34"/>
                </a:cubicBezTo>
                <a:cubicBezTo>
                  <a:pt x="75" y="35"/>
                  <a:pt x="75" y="35"/>
                  <a:pt x="75" y="35"/>
                </a:cubicBezTo>
                <a:cubicBezTo>
                  <a:pt x="73" y="35"/>
                  <a:pt x="73" y="35"/>
                  <a:pt x="73" y="35"/>
                </a:cubicBezTo>
                <a:cubicBezTo>
                  <a:pt x="72" y="34"/>
                  <a:pt x="72" y="34"/>
                  <a:pt x="72" y="34"/>
                </a:cubicBezTo>
                <a:cubicBezTo>
                  <a:pt x="71" y="35"/>
                  <a:pt x="71" y="35"/>
                  <a:pt x="71" y="35"/>
                </a:cubicBezTo>
                <a:cubicBezTo>
                  <a:pt x="71" y="36"/>
                  <a:pt x="71" y="36"/>
                  <a:pt x="71" y="36"/>
                </a:cubicBezTo>
                <a:cubicBezTo>
                  <a:pt x="71" y="37"/>
                  <a:pt x="71" y="37"/>
                  <a:pt x="71" y="37"/>
                </a:cubicBezTo>
                <a:cubicBezTo>
                  <a:pt x="72" y="37"/>
                  <a:pt x="72" y="37"/>
                  <a:pt x="72" y="37"/>
                </a:cubicBezTo>
                <a:cubicBezTo>
                  <a:pt x="73" y="38"/>
                  <a:pt x="73" y="38"/>
                  <a:pt x="73" y="38"/>
                </a:cubicBezTo>
                <a:cubicBezTo>
                  <a:pt x="73" y="39"/>
                  <a:pt x="73" y="39"/>
                  <a:pt x="73" y="39"/>
                </a:cubicBezTo>
                <a:cubicBezTo>
                  <a:pt x="72" y="39"/>
                  <a:pt x="72" y="39"/>
                  <a:pt x="72" y="39"/>
                </a:cubicBezTo>
                <a:cubicBezTo>
                  <a:pt x="69" y="40"/>
                  <a:pt x="69" y="40"/>
                  <a:pt x="69" y="40"/>
                </a:cubicBezTo>
                <a:cubicBezTo>
                  <a:pt x="69" y="40"/>
                  <a:pt x="69" y="40"/>
                  <a:pt x="69" y="40"/>
                </a:cubicBezTo>
                <a:cubicBezTo>
                  <a:pt x="70" y="41"/>
                  <a:pt x="70" y="41"/>
                  <a:pt x="70" y="41"/>
                </a:cubicBezTo>
                <a:cubicBezTo>
                  <a:pt x="71" y="41"/>
                  <a:pt x="71" y="41"/>
                  <a:pt x="71" y="41"/>
                </a:cubicBezTo>
                <a:cubicBezTo>
                  <a:pt x="72" y="40"/>
                  <a:pt x="72" y="40"/>
                  <a:pt x="72" y="40"/>
                </a:cubicBezTo>
                <a:cubicBezTo>
                  <a:pt x="72" y="40"/>
                  <a:pt x="74" y="40"/>
                  <a:pt x="74" y="40"/>
                </a:cubicBezTo>
                <a:close/>
                <a:moveTo>
                  <a:pt x="77" y="40"/>
                </a:moveTo>
                <a:cubicBezTo>
                  <a:pt x="76" y="40"/>
                  <a:pt x="76" y="40"/>
                  <a:pt x="76" y="40"/>
                </a:cubicBezTo>
                <a:cubicBezTo>
                  <a:pt x="76" y="40"/>
                  <a:pt x="76" y="40"/>
                  <a:pt x="76" y="40"/>
                </a:cubicBezTo>
                <a:cubicBezTo>
                  <a:pt x="75" y="40"/>
                  <a:pt x="75" y="40"/>
                  <a:pt x="75" y="40"/>
                </a:cubicBezTo>
                <a:cubicBezTo>
                  <a:pt x="75" y="39"/>
                  <a:pt x="75" y="39"/>
                  <a:pt x="75" y="39"/>
                </a:cubicBezTo>
                <a:cubicBezTo>
                  <a:pt x="77" y="38"/>
                  <a:pt x="77" y="38"/>
                  <a:pt x="77" y="38"/>
                </a:cubicBezTo>
                <a:cubicBezTo>
                  <a:pt x="77" y="37"/>
                  <a:pt x="77" y="37"/>
                  <a:pt x="77" y="37"/>
                </a:cubicBezTo>
                <a:cubicBezTo>
                  <a:pt x="78" y="38"/>
                  <a:pt x="78" y="38"/>
                  <a:pt x="78" y="38"/>
                </a:cubicBezTo>
                <a:cubicBezTo>
                  <a:pt x="78" y="39"/>
                  <a:pt x="78" y="39"/>
                  <a:pt x="78" y="39"/>
                </a:cubicBezTo>
                <a:cubicBezTo>
                  <a:pt x="77" y="40"/>
                  <a:pt x="77" y="40"/>
                  <a:pt x="77" y="40"/>
                </a:cubicBezTo>
                <a:close/>
                <a:moveTo>
                  <a:pt x="81" y="42"/>
                </a:moveTo>
                <a:cubicBezTo>
                  <a:pt x="79" y="41"/>
                  <a:pt x="79" y="41"/>
                  <a:pt x="79" y="41"/>
                </a:cubicBezTo>
                <a:cubicBezTo>
                  <a:pt x="79" y="40"/>
                  <a:pt x="79" y="40"/>
                  <a:pt x="79" y="40"/>
                </a:cubicBezTo>
                <a:cubicBezTo>
                  <a:pt x="79" y="39"/>
                  <a:pt x="79" y="39"/>
                  <a:pt x="79" y="39"/>
                </a:cubicBezTo>
                <a:cubicBezTo>
                  <a:pt x="80" y="39"/>
                  <a:pt x="80" y="39"/>
                  <a:pt x="80" y="39"/>
                </a:cubicBezTo>
                <a:cubicBezTo>
                  <a:pt x="80" y="40"/>
                  <a:pt x="80" y="40"/>
                  <a:pt x="80" y="40"/>
                </a:cubicBezTo>
                <a:cubicBezTo>
                  <a:pt x="82" y="40"/>
                  <a:pt x="82" y="40"/>
                  <a:pt x="82" y="40"/>
                </a:cubicBezTo>
                <a:cubicBezTo>
                  <a:pt x="82" y="41"/>
                  <a:pt x="82" y="41"/>
                  <a:pt x="82" y="41"/>
                </a:cubicBezTo>
                <a:cubicBezTo>
                  <a:pt x="82" y="42"/>
                  <a:pt x="82" y="42"/>
                  <a:pt x="82" y="42"/>
                </a:cubicBezTo>
                <a:cubicBezTo>
                  <a:pt x="81" y="42"/>
                  <a:pt x="81" y="42"/>
                  <a:pt x="81" y="42"/>
                </a:cubicBezTo>
                <a:close/>
                <a:moveTo>
                  <a:pt x="79" y="46"/>
                </a:moveTo>
                <a:cubicBezTo>
                  <a:pt x="78" y="45"/>
                  <a:pt x="78" y="45"/>
                  <a:pt x="78" y="45"/>
                </a:cubicBezTo>
                <a:cubicBezTo>
                  <a:pt x="76" y="43"/>
                  <a:pt x="76" y="43"/>
                  <a:pt x="76" y="43"/>
                </a:cubicBezTo>
                <a:cubicBezTo>
                  <a:pt x="74" y="42"/>
                  <a:pt x="74" y="42"/>
                  <a:pt x="74" y="42"/>
                </a:cubicBezTo>
                <a:cubicBezTo>
                  <a:pt x="73" y="42"/>
                  <a:pt x="73" y="42"/>
                  <a:pt x="73" y="42"/>
                </a:cubicBezTo>
                <a:cubicBezTo>
                  <a:pt x="72" y="42"/>
                  <a:pt x="72" y="42"/>
                  <a:pt x="72" y="42"/>
                </a:cubicBezTo>
                <a:cubicBezTo>
                  <a:pt x="72" y="41"/>
                  <a:pt x="72" y="41"/>
                  <a:pt x="72" y="41"/>
                </a:cubicBezTo>
                <a:cubicBezTo>
                  <a:pt x="74" y="41"/>
                  <a:pt x="74" y="41"/>
                  <a:pt x="74" y="41"/>
                </a:cubicBezTo>
                <a:cubicBezTo>
                  <a:pt x="75" y="41"/>
                  <a:pt x="75" y="41"/>
                  <a:pt x="75" y="41"/>
                </a:cubicBezTo>
                <a:cubicBezTo>
                  <a:pt x="77" y="42"/>
                  <a:pt x="77" y="42"/>
                  <a:pt x="77" y="42"/>
                </a:cubicBezTo>
                <a:cubicBezTo>
                  <a:pt x="79" y="43"/>
                  <a:pt x="79" y="43"/>
                  <a:pt x="79" y="43"/>
                </a:cubicBezTo>
                <a:cubicBezTo>
                  <a:pt x="80" y="43"/>
                  <a:pt x="80" y="43"/>
                  <a:pt x="80" y="43"/>
                </a:cubicBezTo>
                <a:cubicBezTo>
                  <a:pt x="81" y="43"/>
                  <a:pt x="81" y="43"/>
                  <a:pt x="81" y="43"/>
                </a:cubicBezTo>
                <a:cubicBezTo>
                  <a:pt x="81" y="43"/>
                  <a:pt x="81" y="43"/>
                  <a:pt x="81" y="43"/>
                </a:cubicBezTo>
                <a:cubicBezTo>
                  <a:pt x="81" y="44"/>
                  <a:pt x="81" y="44"/>
                  <a:pt x="81" y="44"/>
                </a:cubicBezTo>
                <a:cubicBezTo>
                  <a:pt x="80" y="46"/>
                  <a:pt x="80" y="46"/>
                  <a:pt x="80" y="46"/>
                </a:cubicBezTo>
                <a:cubicBezTo>
                  <a:pt x="79" y="46"/>
                  <a:pt x="79" y="46"/>
                  <a:pt x="79" y="46"/>
                </a:cubicBezTo>
                <a:close/>
                <a:moveTo>
                  <a:pt x="80" y="49"/>
                </a:moveTo>
                <a:cubicBezTo>
                  <a:pt x="81" y="48"/>
                  <a:pt x="81" y="48"/>
                  <a:pt x="81" y="48"/>
                </a:cubicBezTo>
                <a:cubicBezTo>
                  <a:pt x="80" y="46"/>
                  <a:pt x="80" y="46"/>
                  <a:pt x="80" y="46"/>
                </a:cubicBezTo>
                <a:cubicBezTo>
                  <a:pt x="79" y="46"/>
                  <a:pt x="79" y="46"/>
                  <a:pt x="79" y="46"/>
                </a:cubicBezTo>
                <a:cubicBezTo>
                  <a:pt x="77" y="46"/>
                  <a:pt x="77" y="46"/>
                  <a:pt x="77" y="46"/>
                </a:cubicBezTo>
                <a:cubicBezTo>
                  <a:pt x="75" y="44"/>
                  <a:pt x="75" y="44"/>
                  <a:pt x="75" y="44"/>
                </a:cubicBezTo>
                <a:cubicBezTo>
                  <a:pt x="74" y="44"/>
                  <a:pt x="74" y="44"/>
                  <a:pt x="74" y="44"/>
                </a:cubicBezTo>
                <a:cubicBezTo>
                  <a:pt x="73" y="44"/>
                  <a:pt x="73" y="44"/>
                  <a:pt x="73" y="44"/>
                </a:cubicBezTo>
                <a:cubicBezTo>
                  <a:pt x="72" y="44"/>
                  <a:pt x="72" y="44"/>
                  <a:pt x="72" y="44"/>
                </a:cubicBezTo>
                <a:cubicBezTo>
                  <a:pt x="71" y="43"/>
                  <a:pt x="71" y="43"/>
                  <a:pt x="71" y="43"/>
                </a:cubicBezTo>
                <a:cubicBezTo>
                  <a:pt x="68" y="43"/>
                  <a:pt x="68" y="43"/>
                  <a:pt x="68" y="43"/>
                </a:cubicBezTo>
                <a:cubicBezTo>
                  <a:pt x="66" y="43"/>
                  <a:pt x="66" y="43"/>
                  <a:pt x="66" y="43"/>
                </a:cubicBezTo>
                <a:cubicBezTo>
                  <a:pt x="67" y="45"/>
                  <a:pt x="67" y="45"/>
                  <a:pt x="67" y="45"/>
                </a:cubicBezTo>
                <a:cubicBezTo>
                  <a:pt x="67" y="45"/>
                  <a:pt x="67" y="45"/>
                  <a:pt x="67" y="45"/>
                </a:cubicBezTo>
                <a:cubicBezTo>
                  <a:pt x="67" y="46"/>
                  <a:pt x="67" y="46"/>
                  <a:pt x="67" y="46"/>
                </a:cubicBezTo>
                <a:cubicBezTo>
                  <a:pt x="69" y="46"/>
                  <a:pt x="69" y="46"/>
                  <a:pt x="69" y="46"/>
                </a:cubicBezTo>
                <a:cubicBezTo>
                  <a:pt x="70" y="45"/>
                  <a:pt x="70" y="45"/>
                  <a:pt x="70" y="45"/>
                </a:cubicBezTo>
                <a:cubicBezTo>
                  <a:pt x="70" y="45"/>
                  <a:pt x="70" y="45"/>
                  <a:pt x="70" y="45"/>
                </a:cubicBezTo>
                <a:cubicBezTo>
                  <a:pt x="71" y="46"/>
                  <a:pt x="71" y="46"/>
                  <a:pt x="71" y="46"/>
                </a:cubicBezTo>
                <a:cubicBezTo>
                  <a:pt x="72" y="47"/>
                  <a:pt x="72" y="47"/>
                  <a:pt x="72" y="47"/>
                </a:cubicBezTo>
                <a:cubicBezTo>
                  <a:pt x="73" y="47"/>
                  <a:pt x="73" y="47"/>
                  <a:pt x="73" y="47"/>
                </a:cubicBezTo>
                <a:cubicBezTo>
                  <a:pt x="73" y="47"/>
                  <a:pt x="73" y="47"/>
                  <a:pt x="73" y="47"/>
                </a:cubicBezTo>
                <a:cubicBezTo>
                  <a:pt x="74" y="48"/>
                  <a:pt x="74" y="48"/>
                  <a:pt x="74" y="48"/>
                </a:cubicBezTo>
                <a:cubicBezTo>
                  <a:pt x="75" y="49"/>
                  <a:pt x="75" y="49"/>
                  <a:pt x="75" y="49"/>
                </a:cubicBezTo>
                <a:cubicBezTo>
                  <a:pt x="77" y="48"/>
                  <a:pt x="77" y="48"/>
                  <a:pt x="77" y="48"/>
                </a:cubicBezTo>
                <a:cubicBezTo>
                  <a:pt x="78" y="49"/>
                  <a:pt x="78" y="49"/>
                  <a:pt x="78" y="49"/>
                </a:cubicBezTo>
                <a:cubicBezTo>
                  <a:pt x="80" y="50"/>
                  <a:pt x="80" y="50"/>
                  <a:pt x="80" y="50"/>
                </a:cubicBezTo>
                <a:cubicBezTo>
                  <a:pt x="80" y="49"/>
                  <a:pt x="80" y="49"/>
                  <a:pt x="80" y="49"/>
                </a:cubicBezTo>
                <a:close/>
                <a:moveTo>
                  <a:pt x="71" y="51"/>
                </a:moveTo>
                <a:cubicBezTo>
                  <a:pt x="71" y="51"/>
                  <a:pt x="70" y="51"/>
                  <a:pt x="70" y="51"/>
                </a:cubicBezTo>
                <a:cubicBezTo>
                  <a:pt x="70" y="51"/>
                  <a:pt x="70" y="51"/>
                  <a:pt x="70" y="51"/>
                </a:cubicBezTo>
                <a:cubicBezTo>
                  <a:pt x="68" y="51"/>
                  <a:pt x="68" y="51"/>
                  <a:pt x="68" y="51"/>
                </a:cubicBezTo>
                <a:cubicBezTo>
                  <a:pt x="67" y="50"/>
                  <a:pt x="67" y="50"/>
                  <a:pt x="67" y="50"/>
                </a:cubicBezTo>
                <a:cubicBezTo>
                  <a:pt x="67" y="49"/>
                  <a:pt x="67" y="49"/>
                  <a:pt x="67" y="49"/>
                </a:cubicBezTo>
                <a:cubicBezTo>
                  <a:pt x="68" y="49"/>
                  <a:pt x="68" y="49"/>
                  <a:pt x="68" y="49"/>
                </a:cubicBezTo>
                <a:cubicBezTo>
                  <a:pt x="69" y="48"/>
                  <a:pt x="69" y="48"/>
                  <a:pt x="69" y="48"/>
                </a:cubicBezTo>
                <a:cubicBezTo>
                  <a:pt x="71" y="48"/>
                  <a:pt x="71" y="48"/>
                  <a:pt x="71" y="48"/>
                </a:cubicBezTo>
                <a:cubicBezTo>
                  <a:pt x="71" y="48"/>
                  <a:pt x="71" y="48"/>
                  <a:pt x="71" y="48"/>
                </a:cubicBezTo>
                <a:cubicBezTo>
                  <a:pt x="72" y="49"/>
                  <a:pt x="72" y="49"/>
                  <a:pt x="72" y="49"/>
                </a:cubicBezTo>
                <a:cubicBezTo>
                  <a:pt x="73" y="49"/>
                  <a:pt x="73" y="49"/>
                  <a:pt x="73" y="49"/>
                </a:cubicBezTo>
                <a:cubicBezTo>
                  <a:pt x="73" y="49"/>
                  <a:pt x="73" y="49"/>
                  <a:pt x="73" y="49"/>
                </a:cubicBezTo>
                <a:cubicBezTo>
                  <a:pt x="74" y="49"/>
                  <a:pt x="74" y="49"/>
                  <a:pt x="74" y="49"/>
                </a:cubicBezTo>
                <a:cubicBezTo>
                  <a:pt x="74" y="50"/>
                  <a:pt x="74" y="50"/>
                  <a:pt x="74" y="50"/>
                </a:cubicBezTo>
                <a:cubicBezTo>
                  <a:pt x="74" y="50"/>
                  <a:pt x="74" y="50"/>
                  <a:pt x="74" y="50"/>
                </a:cubicBezTo>
                <a:cubicBezTo>
                  <a:pt x="71" y="51"/>
                  <a:pt x="71" y="51"/>
                  <a:pt x="71" y="51"/>
                </a:cubicBezTo>
                <a:close/>
                <a:moveTo>
                  <a:pt x="68" y="58"/>
                </a:moveTo>
                <a:cubicBezTo>
                  <a:pt x="68" y="57"/>
                  <a:pt x="68" y="57"/>
                  <a:pt x="68" y="57"/>
                </a:cubicBezTo>
                <a:cubicBezTo>
                  <a:pt x="68" y="55"/>
                  <a:pt x="68" y="55"/>
                  <a:pt x="68" y="55"/>
                </a:cubicBezTo>
                <a:cubicBezTo>
                  <a:pt x="67" y="55"/>
                  <a:pt x="67" y="55"/>
                  <a:pt x="67" y="55"/>
                </a:cubicBezTo>
                <a:cubicBezTo>
                  <a:pt x="67" y="57"/>
                  <a:pt x="67" y="57"/>
                  <a:pt x="67" y="57"/>
                </a:cubicBezTo>
                <a:cubicBezTo>
                  <a:pt x="66" y="57"/>
                  <a:pt x="66" y="57"/>
                  <a:pt x="66" y="57"/>
                </a:cubicBezTo>
                <a:cubicBezTo>
                  <a:pt x="67" y="58"/>
                  <a:pt x="67" y="58"/>
                  <a:pt x="67" y="58"/>
                </a:cubicBezTo>
                <a:cubicBezTo>
                  <a:pt x="68" y="59"/>
                  <a:pt x="68" y="59"/>
                  <a:pt x="68" y="59"/>
                </a:cubicBezTo>
                <a:cubicBezTo>
                  <a:pt x="68" y="58"/>
                  <a:pt x="68" y="58"/>
                  <a:pt x="68" y="58"/>
                </a:cubicBezTo>
                <a:close/>
                <a:moveTo>
                  <a:pt x="70" y="58"/>
                </a:moveTo>
                <a:cubicBezTo>
                  <a:pt x="70" y="58"/>
                  <a:pt x="70" y="58"/>
                  <a:pt x="70" y="58"/>
                </a:cubicBezTo>
                <a:cubicBezTo>
                  <a:pt x="71" y="57"/>
                  <a:pt x="71" y="57"/>
                  <a:pt x="71" y="57"/>
                </a:cubicBezTo>
                <a:cubicBezTo>
                  <a:pt x="70" y="56"/>
                  <a:pt x="70" y="56"/>
                  <a:pt x="70" y="56"/>
                </a:cubicBezTo>
                <a:cubicBezTo>
                  <a:pt x="69" y="55"/>
                  <a:pt x="69" y="55"/>
                  <a:pt x="69" y="55"/>
                </a:cubicBezTo>
                <a:cubicBezTo>
                  <a:pt x="68" y="55"/>
                  <a:pt x="68" y="55"/>
                  <a:pt x="68" y="55"/>
                </a:cubicBezTo>
                <a:cubicBezTo>
                  <a:pt x="68" y="56"/>
                  <a:pt x="68" y="56"/>
                  <a:pt x="68" y="56"/>
                </a:cubicBezTo>
                <a:cubicBezTo>
                  <a:pt x="70" y="58"/>
                  <a:pt x="70" y="58"/>
                  <a:pt x="70" y="58"/>
                </a:cubicBezTo>
                <a:close/>
                <a:moveTo>
                  <a:pt x="72" y="56"/>
                </a:moveTo>
                <a:cubicBezTo>
                  <a:pt x="72" y="56"/>
                  <a:pt x="73" y="57"/>
                  <a:pt x="73" y="57"/>
                </a:cubicBezTo>
                <a:cubicBezTo>
                  <a:pt x="73" y="56"/>
                  <a:pt x="73" y="56"/>
                  <a:pt x="73" y="56"/>
                </a:cubicBezTo>
                <a:cubicBezTo>
                  <a:pt x="73" y="55"/>
                  <a:pt x="73" y="55"/>
                  <a:pt x="73" y="55"/>
                </a:cubicBezTo>
                <a:cubicBezTo>
                  <a:pt x="72" y="55"/>
                  <a:pt x="72" y="55"/>
                  <a:pt x="72" y="55"/>
                </a:cubicBezTo>
                <a:cubicBezTo>
                  <a:pt x="71" y="55"/>
                  <a:pt x="71" y="55"/>
                  <a:pt x="71" y="55"/>
                </a:cubicBezTo>
                <a:cubicBezTo>
                  <a:pt x="72" y="56"/>
                  <a:pt x="72" y="56"/>
                  <a:pt x="72" y="56"/>
                </a:cubicBezTo>
                <a:close/>
                <a:moveTo>
                  <a:pt x="72" y="60"/>
                </a:moveTo>
                <a:cubicBezTo>
                  <a:pt x="72" y="59"/>
                  <a:pt x="72" y="59"/>
                  <a:pt x="72" y="59"/>
                </a:cubicBezTo>
                <a:cubicBezTo>
                  <a:pt x="73" y="58"/>
                  <a:pt x="73" y="58"/>
                  <a:pt x="73" y="58"/>
                </a:cubicBezTo>
                <a:cubicBezTo>
                  <a:pt x="72" y="57"/>
                  <a:pt x="72" y="57"/>
                  <a:pt x="72" y="57"/>
                </a:cubicBezTo>
                <a:cubicBezTo>
                  <a:pt x="71" y="57"/>
                  <a:pt x="71" y="57"/>
                  <a:pt x="71" y="57"/>
                </a:cubicBezTo>
                <a:cubicBezTo>
                  <a:pt x="71" y="57"/>
                  <a:pt x="71" y="57"/>
                  <a:pt x="71" y="57"/>
                </a:cubicBezTo>
                <a:cubicBezTo>
                  <a:pt x="71" y="58"/>
                  <a:pt x="71" y="58"/>
                  <a:pt x="71" y="58"/>
                </a:cubicBezTo>
                <a:cubicBezTo>
                  <a:pt x="71" y="59"/>
                  <a:pt x="71" y="59"/>
                  <a:pt x="71" y="59"/>
                </a:cubicBezTo>
                <a:cubicBezTo>
                  <a:pt x="72" y="60"/>
                  <a:pt x="72" y="60"/>
                  <a:pt x="72" y="60"/>
                </a:cubicBezTo>
                <a:close/>
                <a:moveTo>
                  <a:pt x="70" y="63"/>
                </a:moveTo>
                <a:cubicBezTo>
                  <a:pt x="70" y="62"/>
                  <a:pt x="70" y="62"/>
                  <a:pt x="70" y="62"/>
                </a:cubicBezTo>
                <a:cubicBezTo>
                  <a:pt x="69" y="62"/>
                  <a:pt x="69" y="62"/>
                  <a:pt x="69" y="62"/>
                </a:cubicBezTo>
                <a:cubicBezTo>
                  <a:pt x="68" y="61"/>
                  <a:pt x="68" y="61"/>
                  <a:pt x="68" y="61"/>
                </a:cubicBezTo>
                <a:cubicBezTo>
                  <a:pt x="67" y="61"/>
                  <a:pt x="67" y="61"/>
                  <a:pt x="67" y="61"/>
                </a:cubicBezTo>
                <a:cubicBezTo>
                  <a:pt x="66" y="61"/>
                  <a:pt x="66" y="61"/>
                  <a:pt x="66" y="61"/>
                </a:cubicBezTo>
                <a:cubicBezTo>
                  <a:pt x="67" y="62"/>
                  <a:pt x="67" y="62"/>
                  <a:pt x="67" y="62"/>
                </a:cubicBezTo>
                <a:cubicBezTo>
                  <a:pt x="67" y="63"/>
                  <a:pt x="67" y="63"/>
                  <a:pt x="67" y="63"/>
                </a:cubicBezTo>
                <a:cubicBezTo>
                  <a:pt x="66" y="64"/>
                  <a:pt x="66" y="64"/>
                  <a:pt x="66" y="64"/>
                </a:cubicBezTo>
                <a:cubicBezTo>
                  <a:pt x="66" y="65"/>
                  <a:pt x="66" y="65"/>
                  <a:pt x="66" y="65"/>
                </a:cubicBezTo>
                <a:cubicBezTo>
                  <a:pt x="68" y="65"/>
                  <a:pt x="68" y="65"/>
                  <a:pt x="68" y="65"/>
                </a:cubicBezTo>
                <a:cubicBezTo>
                  <a:pt x="70" y="64"/>
                  <a:pt x="70" y="64"/>
                  <a:pt x="70" y="64"/>
                </a:cubicBezTo>
                <a:cubicBezTo>
                  <a:pt x="70" y="63"/>
                  <a:pt x="70" y="63"/>
                  <a:pt x="70" y="63"/>
                </a:cubicBezTo>
                <a:close/>
                <a:moveTo>
                  <a:pt x="71" y="61"/>
                </a:moveTo>
                <a:cubicBezTo>
                  <a:pt x="71" y="62"/>
                  <a:pt x="71" y="62"/>
                  <a:pt x="71" y="62"/>
                </a:cubicBezTo>
                <a:cubicBezTo>
                  <a:pt x="72" y="63"/>
                  <a:pt x="72" y="63"/>
                  <a:pt x="72" y="63"/>
                </a:cubicBezTo>
                <a:cubicBezTo>
                  <a:pt x="72" y="63"/>
                  <a:pt x="72" y="63"/>
                  <a:pt x="72" y="63"/>
                </a:cubicBezTo>
                <a:cubicBezTo>
                  <a:pt x="72" y="62"/>
                  <a:pt x="72" y="62"/>
                  <a:pt x="72" y="62"/>
                </a:cubicBezTo>
                <a:cubicBezTo>
                  <a:pt x="72" y="61"/>
                  <a:pt x="72" y="61"/>
                  <a:pt x="72" y="61"/>
                </a:cubicBezTo>
                <a:cubicBezTo>
                  <a:pt x="71" y="61"/>
                  <a:pt x="71" y="61"/>
                  <a:pt x="71" y="61"/>
                </a:cubicBezTo>
                <a:close/>
                <a:moveTo>
                  <a:pt x="81" y="47"/>
                </a:moveTo>
                <a:cubicBezTo>
                  <a:pt x="81" y="46"/>
                  <a:pt x="81" y="46"/>
                  <a:pt x="81" y="46"/>
                </a:cubicBezTo>
                <a:cubicBezTo>
                  <a:pt x="82" y="45"/>
                  <a:pt x="82" y="45"/>
                  <a:pt x="82" y="45"/>
                </a:cubicBezTo>
                <a:cubicBezTo>
                  <a:pt x="82" y="44"/>
                  <a:pt x="82" y="44"/>
                  <a:pt x="82" y="44"/>
                </a:cubicBezTo>
                <a:cubicBezTo>
                  <a:pt x="83" y="43"/>
                  <a:pt x="83" y="43"/>
                  <a:pt x="83" y="43"/>
                </a:cubicBezTo>
                <a:cubicBezTo>
                  <a:pt x="83" y="43"/>
                  <a:pt x="83" y="43"/>
                  <a:pt x="83" y="43"/>
                </a:cubicBezTo>
                <a:cubicBezTo>
                  <a:pt x="84" y="45"/>
                  <a:pt x="84" y="45"/>
                  <a:pt x="84" y="45"/>
                </a:cubicBezTo>
                <a:cubicBezTo>
                  <a:pt x="84" y="45"/>
                  <a:pt x="84" y="45"/>
                  <a:pt x="84" y="45"/>
                </a:cubicBezTo>
                <a:cubicBezTo>
                  <a:pt x="84" y="46"/>
                  <a:pt x="84" y="46"/>
                  <a:pt x="84" y="46"/>
                </a:cubicBezTo>
                <a:cubicBezTo>
                  <a:pt x="83" y="47"/>
                  <a:pt x="83" y="47"/>
                  <a:pt x="83" y="47"/>
                </a:cubicBezTo>
                <a:cubicBezTo>
                  <a:pt x="83" y="47"/>
                  <a:pt x="83" y="47"/>
                  <a:pt x="83" y="47"/>
                </a:cubicBezTo>
                <a:cubicBezTo>
                  <a:pt x="82" y="47"/>
                  <a:pt x="82" y="47"/>
                  <a:pt x="82" y="47"/>
                </a:cubicBezTo>
                <a:cubicBezTo>
                  <a:pt x="81" y="47"/>
                  <a:pt x="81" y="47"/>
                  <a:pt x="81" y="47"/>
                </a:cubicBezTo>
                <a:close/>
                <a:moveTo>
                  <a:pt x="74" y="60"/>
                </a:moveTo>
                <a:cubicBezTo>
                  <a:pt x="74" y="61"/>
                  <a:pt x="74" y="61"/>
                  <a:pt x="74" y="61"/>
                </a:cubicBezTo>
                <a:cubicBezTo>
                  <a:pt x="75" y="61"/>
                  <a:pt x="75" y="61"/>
                  <a:pt x="75" y="61"/>
                </a:cubicBezTo>
                <a:cubicBezTo>
                  <a:pt x="76" y="61"/>
                  <a:pt x="76" y="61"/>
                  <a:pt x="76" y="61"/>
                </a:cubicBezTo>
                <a:cubicBezTo>
                  <a:pt x="77" y="61"/>
                  <a:pt x="77" y="61"/>
                  <a:pt x="77" y="61"/>
                </a:cubicBezTo>
                <a:cubicBezTo>
                  <a:pt x="76" y="60"/>
                  <a:pt x="76" y="60"/>
                  <a:pt x="76" y="60"/>
                </a:cubicBezTo>
                <a:cubicBezTo>
                  <a:pt x="76" y="59"/>
                  <a:pt x="76" y="59"/>
                  <a:pt x="76" y="59"/>
                </a:cubicBezTo>
                <a:cubicBezTo>
                  <a:pt x="75" y="59"/>
                  <a:pt x="75" y="59"/>
                  <a:pt x="75" y="59"/>
                </a:cubicBezTo>
                <a:cubicBezTo>
                  <a:pt x="74" y="60"/>
                  <a:pt x="74" y="60"/>
                  <a:pt x="74" y="60"/>
                </a:cubicBezTo>
                <a:cubicBezTo>
                  <a:pt x="74" y="60"/>
                  <a:pt x="74" y="60"/>
                  <a:pt x="74" y="60"/>
                </a:cubicBezTo>
                <a:close/>
                <a:moveTo>
                  <a:pt x="74" y="58"/>
                </a:moveTo>
                <a:cubicBezTo>
                  <a:pt x="75" y="58"/>
                  <a:pt x="75" y="58"/>
                  <a:pt x="75" y="58"/>
                </a:cubicBezTo>
                <a:cubicBezTo>
                  <a:pt x="75" y="57"/>
                  <a:pt x="75" y="57"/>
                  <a:pt x="75" y="57"/>
                </a:cubicBezTo>
                <a:cubicBezTo>
                  <a:pt x="75" y="56"/>
                  <a:pt x="75" y="56"/>
                  <a:pt x="75" y="56"/>
                </a:cubicBezTo>
                <a:cubicBezTo>
                  <a:pt x="75" y="57"/>
                  <a:pt x="75" y="57"/>
                  <a:pt x="75" y="57"/>
                </a:cubicBezTo>
                <a:cubicBezTo>
                  <a:pt x="74" y="58"/>
                  <a:pt x="74" y="58"/>
                  <a:pt x="74" y="58"/>
                </a:cubicBezTo>
                <a:close/>
                <a:moveTo>
                  <a:pt x="76" y="57"/>
                </a:moveTo>
                <a:cubicBezTo>
                  <a:pt x="76" y="57"/>
                  <a:pt x="76" y="57"/>
                  <a:pt x="76" y="57"/>
                </a:cubicBezTo>
                <a:cubicBezTo>
                  <a:pt x="77" y="58"/>
                  <a:pt x="77" y="58"/>
                  <a:pt x="77" y="58"/>
                </a:cubicBezTo>
                <a:cubicBezTo>
                  <a:pt x="78" y="57"/>
                  <a:pt x="78" y="57"/>
                  <a:pt x="78" y="57"/>
                </a:cubicBezTo>
                <a:cubicBezTo>
                  <a:pt x="78" y="57"/>
                  <a:pt x="78" y="57"/>
                  <a:pt x="78" y="57"/>
                </a:cubicBezTo>
                <a:cubicBezTo>
                  <a:pt x="78" y="56"/>
                  <a:pt x="78" y="56"/>
                  <a:pt x="78" y="56"/>
                </a:cubicBezTo>
                <a:cubicBezTo>
                  <a:pt x="77" y="56"/>
                  <a:pt x="77" y="56"/>
                  <a:pt x="77" y="56"/>
                </a:cubicBezTo>
                <a:cubicBezTo>
                  <a:pt x="77" y="57"/>
                  <a:pt x="77" y="57"/>
                  <a:pt x="77" y="57"/>
                </a:cubicBezTo>
                <a:cubicBezTo>
                  <a:pt x="76" y="57"/>
                  <a:pt x="76" y="57"/>
                  <a:pt x="76" y="57"/>
                </a:cubicBezTo>
                <a:close/>
                <a:moveTo>
                  <a:pt x="76" y="52"/>
                </a:moveTo>
                <a:cubicBezTo>
                  <a:pt x="76" y="53"/>
                  <a:pt x="76" y="53"/>
                  <a:pt x="76" y="53"/>
                </a:cubicBezTo>
                <a:cubicBezTo>
                  <a:pt x="75" y="53"/>
                  <a:pt x="75" y="53"/>
                  <a:pt x="75" y="53"/>
                </a:cubicBezTo>
                <a:cubicBezTo>
                  <a:pt x="74" y="52"/>
                  <a:pt x="74" y="52"/>
                  <a:pt x="74" y="52"/>
                </a:cubicBezTo>
                <a:cubicBezTo>
                  <a:pt x="74" y="51"/>
                  <a:pt x="74" y="51"/>
                  <a:pt x="74" y="51"/>
                </a:cubicBezTo>
                <a:cubicBezTo>
                  <a:pt x="75" y="50"/>
                  <a:pt x="75" y="50"/>
                  <a:pt x="75" y="50"/>
                </a:cubicBezTo>
                <a:cubicBezTo>
                  <a:pt x="76" y="49"/>
                  <a:pt x="76" y="49"/>
                  <a:pt x="76" y="49"/>
                </a:cubicBezTo>
                <a:cubicBezTo>
                  <a:pt x="77" y="50"/>
                  <a:pt x="77" y="50"/>
                  <a:pt x="77" y="50"/>
                </a:cubicBezTo>
                <a:cubicBezTo>
                  <a:pt x="78" y="50"/>
                  <a:pt x="78" y="50"/>
                  <a:pt x="78" y="50"/>
                </a:cubicBezTo>
                <a:cubicBezTo>
                  <a:pt x="79" y="51"/>
                  <a:pt x="79" y="51"/>
                  <a:pt x="79" y="51"/>
                </a:cubicBezTo>
                <a:cubicBezTo>
                  <a:pt x="79" y="52"/>
                  <a:pt x="79" y="52"/>
                  <a:pt x="79" y="52"/>
                </a:cubicBezTo>
                <a:cubicBezTo>
                  <a:pt x="78" y="52"/>
                  <a:pt x="78" y="52"/>
                  <a:pt x="78" y="52"/>
                </a:cubicBezTo>
                <a:cubicBezTo>
                  <a:pt x="77" y="52"/>
                  <a:pt x="77" y="52"/>
                  <a:pt x="77" y="52"/>
                </a:cubicBezTo>
                <a:cubicBezTo>
                  <a:pt x="76" y="52"/>
                  <a:pt x="76" y="52"/>
                  <a:pt x="76" y="52"/>
                </a:cubicBezTo>
                <a:close/>
                <a:moveTo>
                  <a:pt x="81" y="51"/>
                </a:moveTo>
                <a:cubicBezTo>
                  <a:pt x="82" y="52"/>
                  <a:pt x="82" y="52"/>
                  <a:pt x="82" y="52"/>
                </a:cubicBezTo>
                <a:cubicBezTo>
                  <a:pt x="83" y="52"/>
                  <a:pt x="83" y="52"/>
                  <a:pt x="83" y="52"/>
                </a:cubicBezTo>
                <a:cubicBezTo>
                  <a:pt x="84" y="52"/>
                  <a:pt x="84" y="52"/>
                  <a:pt x="84" y="52"/>
                </a:cubicBezTo>
                <a:cubicBezTo>
                  <a:pt x="84" y="51"/>
                  <a:pt x="84" y="51"/>
                  <a:pt x="84" y="51"/>
                </a:cubicBezTo>
                <a:cubicBezTo>
                  <a:pt x="83" y="50"/>
                  <a:pt x="83" y="50"/>
                  <a:pt x="83" y="50"/>
                </a:cubicBezTo>
                <a:cubicBezTo>
                  <a:pt x="83" y="51"/>
                  <a:pt x="83" y="51"/>
                  <a:pt x="83" y="51"/>
                </a:cubicBezTo>
                <a:cubicBezTo>
                  <a:pt x="82" y="51"/>
                  <a:pt x="82" y="51"/>
                  <a:pt x="82" y="51"/>
                </a:cubicBezTo>
                <a:cubicBezTo>
                  <a:pt x="81" y="51"/>
                  <a:pt x="81" y="51"/>
                  <a:pt x="81" y="51"/>
                </a:cubicBezTo>
                <a:close/>
                <a:moveTo>
                  <a:pt x="84" y="63"/>
                </a:moveTo>
                <a:cubicBezTo>
                  <a:pt x="84" y="62"/>
                  <a:pt x="84" y="62"/>
                  <a:pt x="84" y="62"/>
                </a:cubicBezTo>
                <a:cubicBezTo>
                  <a:pt x="83" y="61"/>
                  <a:pt x="83" y="61"/>
                  <a:pt x="83" y="61"/>
                </a:cubicBezTo>
                <a:cubicBezTo>
                  <a:pt x="83" y="60"/>
                  <a:pt x="83" y="60"/>
                  <a:pt x="83" y="60"/>
                </a:cubicBezTo>
                <a:cubicBezTo>
                  <a:pt x="83" y="59"/>
                  <a:pt x="83" y="59"/>
                  <a:pt x="83" y="59"/>
                </a:cubicBezTo>
                <a:cubicBezTo>
                  <a:pt x="82" y="57"/>
                  <a:pt x="82" y="57"/>
                  <a:pt x="82" y="57"/>
                </a:cubicBezTo>
                <a:cubicBezTo>
                  <a:pt x="81" y="57"/>
                  <a:pt x="81" y="57"/>
                  <a:pt x="81" y="57"/>
                </a:cubicBezTo>
                <a:cubicBezTo>
                  <a:pt x="81" y="57"/>
                  <a:pt x="81" y="57"/>
                  <a:pt x="81" y="57"/>
                </a:cubicBezTo>
                <a:cubicBezTo>
                  <a:pt x="79" y="57"/>
                  <a:pt x="79" y="57"/>
                  <a:pt x="79" y="57"/>
                </a:cubicBezTo>
                <a:cubicBezTo>
                  <a:pt x="78" y="58"/>
                  <a:pt x="78" y="58"/>
                  <a:pt x="78" y="58"/>
                </a:cubicBezTo>
                <a:cubicBezTo>
                  <a:pt x="78" y="59"/>
                  <a:pt x="78" y="59"/>
                  <a:pt x="78" y="59"/>
                </a:cubicBezTo>
                <a:cubicBezTo>
                  <a:pt x="79" y="61"/>
                  <a:pt x="79" y="61"/>
                  <a:pt x="79" y="61"/>
                </a:cubicBezTo>
                <a:cubicBezTo>
                  <a:pt x="79" y="63"/>
                  <a:pt x="79" y="63"/>
                  <a:pt x="79" y="63"/>
                </a:cubicBezTo>
                <a:cubicBezTo>
                  <a:pt x="80" y="64"/>
                  <a:pt x="80" y="64"/>
                  <a:pt x="80" y="64"/>
                </a:cubicBezTo>
                <a:cubicBezTo>
                  <a:pt x="81" y="64"/>
                  <a:pt x="81" y="64"/>
                  <a:pt x="81" y="64"/>
                </a:cubicBezTo>
                <a:cubicBezTo>
                  <a:pt x="82" y="63"/>
                  <a:pt x="82" y="63"/>
                  <a:pt x="82" y="63"/>
                </a:cubicBezTo>
                <a:cubicBezTo>
                  <a:pt x="84" y="63"/>
                  <a:pt x="84" y="63"/>
                  <a:pt x="84" y="63"/>
                </a:cubicBezTo>
                <a:close/>
                <a:moveTo>
                  <a:pt x="87" y="62"/>
                </a:moveTo>
                <a:cubicBezTo>
                  <a:pt x="87" y="62"/>
                  <a:pt x="87" y="62"/>
                  <a:pt x="87" y="62"/>
                </a:cubicBezTo>
                <a:cubicBezTo>
                  <a:pt x="86" y="61"/>
                  <a:pt x="86" y="61"/>
                  <a:pt x="86" y="61"/>
                </a:cubicBezTo>
                <a:cubicBezTo>
                  <a:pt x="86" y="60"/>
                  <a:pt x="86" y="60"/>
                  <a:pt x="86" y="60"/>
                </a:cubicBezTo>
                <a:cubicBezTo>
                  <a:pt x="87" y="60"/>
                  <a:pt x="87" y="60"/>
                  <a:pt x="87" y="60"/>
                </a:cubicBezTo>
                <a:cubicBezTo>
                  <a:pt x="88" y="58"/>
                  <a:pt x="88" y="58"/>
                  <a:pt x="88" y="58"/>
                </a:cubicBezTo>
                <a:cubicBezTo>
                  <a:pt x="88" y="58"/>
                  <a:pt x="88" y="58"/>
                  <a:pt x="88" y="58"/>
                </a:cubicBezTo>
                <a:cubicBezTo>
                  <a:pt x="90" y="57"/>
                  <a:pt x="90" y="57"/>
                  <a:pt x="90" y="57"/>
                </a:cubicBezTo>
                <a:cubicBezTo>
                  <a:pt x="90" y="57"/>
                  <a:pt x="90" y="57"/>
                  <a:pt x="90" y="57"/>
                </a:cubicBezTo>
                <a:cubicBezTo>
                  <a:pt x="91" y="56"/>
                  <a:pt x="91" y="56"/>
                  <a:pt x="91" y="56"/>
                </a:cubicBezTo>
                <a:cubicBezTo>
                  <a:pt x="90" y="56"/>
                  <a:pt x="90" y="56"/>
                  <a:pt x="90" y="56"/>
                </a:cubicBezTo>
                <a:cubicBezTo>
                  <a:pt x="89" y="56"/>
                  <a:pt x="89" y="56"/>
                  <a:pt x="89" y="56"/>
                </a:cubicBezTo>
                <a:cubicBezTo>
                  <a:pt x="86" y="55"/>
                  <a:pt x="86" y="55"/>
                  <a:pt x="86" y="55"/>
                </a:cubicBezTo>
                <a:cubicBezTo>
                  <a:pt x="85" y="53"/>
                  <a:pt x="85" y="53"/>
                  <a:pt x="85" y="53"/>
                </a:cubicBezTo>
                <a:cubicBezTo>
                  <a:pt x="84" y="54"/>
                  <a:pt x="84" y="54"/>
                  <a:pt x="84" y="54"/>
                </a:cubicBezTo>
                <a:cubicBezTo>
                  <a:pt x="83" y="54"/>
                  <a:pt x="83" y="54"/>
                  <a:pt x="83" y="54"/>
                </a:cubicBezTo>
                <a:cubicBezTo>
                  <a:pt x="83" y="54"/>
                  <a:pt x="83" y="54"/>
                  <a:pt x="83" y="54"/>
                </a:cubicBezTo>
                <a:cubicBezTo>
                  <a:pt x="83" y="55"/>
                  <a:pt x="83" y="55"/>
                  <a:pt x="83" y="55"/>
                </a:cubicBezTo>
                <a:cubicBezTo>
                  <a:pt x="84" y="58"/>
                  <a:pt x="84" y="58"/>
                  <a:pt x="84" y="58"/>
                </a:cubicBezTo>
                <a:cubicBezTo>
                  <a:pt x="84" y="60"/>
                  <a:pt x="84" y="60"/>
                  <a:pt x="84" y="60"/>
                </a:cubicBezTo>
                <a:cubicBezTo>
                  <a:pt x="85" y="62"/>
                  <a:pt x="85" y="62"/>
                  <a:pt x="85" y="62"/>
                </a:cubicBezTo>
                <a:cubicBezTo>
                  <a:pt x="86" y="62"/>
                  <a:pt x="86" y="62"/>
                  <a:pt x="86" y="62"/>
                </a:cubicBezTo>
                <a:cubicBezTo>
                  <a:pt x="87" y="62"/>
                  <a:pt x="87" y="62"/>
                  <a:pt x="87" y="62"/>
                </a:cubicBezTo>
                <a:close/>
                <a:moveTo>
                  <a:pt x="91" y="62"/>
                </a:moveTo>
                <a:cubicBezTo>
                  <a:pt x="91" y="63"/>
                  <a:pt x="91" y="63"/>
                  <a:pt x="91" y="63"/>
                </a:cubicBezTo>
                <a:cubicBezTo>
                  <a:pt x="92" y="64"/>
                  <a:pt x="92" y="64"/>
                  <a:pt x="92" y="64"/>
                </a:cubicBezTo>
                <a:cubicBezTo>
                  <a:pt x="93" y="65"/>
                  <a:pt x="93" y="65"/>
                  <a:pt x="93" y="65"/>
                </a:cubicBezTo>
                <a:cubicBezTo>
                  <a:pt x="95" y="65"/>
                  <a:pt x="95" y="65"/>
                  <a:pt x="95" y="65"/>
                </a:cubicBezTo>
                <a:cubicBezTo>
                  <a:pt x="96" y="63"/>
                  <a:pt x="96" y="63"/>
                  <a:pt x="96" y="63"/>
                </a:cubicBezTo>
                <a:cubicBezTo>
                  <a:pt x="96" y="61"/>
                  <a:pt x="96" y="61"/>
                  <a:pt x="96" y="61"/>
                </a:cubicBezTo>
                <a:cubicBezTo>
                  <a:pt x="94" y="61"/>
                  <a:pt x="94" y="61"/>
                  <a:pt x="94" y="61"/>
                </a:cubicBezTo>
                <a:cubicBezTo>
                  <a:pt x="93" y="61"/>
                  <a:pt x="93" y="61"/>
                  <a:pt x="93" y="61"/>
                </a:cubicBezTo>
                <a:cubicBezTo>
                  <a:pt x="91" y="62"/>
                  <a:pt x="91" y="62"/>
                  <a:pt x="91" y="62"/>
                </a:cubicBezTo>
                <a:close/>
                <a:moveTo>
                  <a:pt x="91" y="65"/>
                </a:moveTo>
                <a:cubicBezTo>
                  <a:pt x="91" y="66"/>
                  <a:pt x="91" y="66"/>
                  <a:pt x="91" y="66"/>
                </a:cubicBezTo>
                <a:cubicBezTo>
                  <a:pt x="92" y="66"/>
                  <a:pt x="92" y="66"/>
                  <a:pt x="92" y="66"/>
                </a:cubicBezTo>
                <a:cubicBezTo>
                  <a:pt x="92" y="67"/>
                  <a:pt x="92" y="67"/>
                  <a:pt x="92" y="67"/>
                </a:cubicBezTo>
                <a:cubicBezTo>
                  <a:pt x="93" y="66"/>
                  <a:pt x="93" y="66"/>
                  <a:pt x="93" y="66"/>
                </a:cubicBezTo>
                <a:cubicBezTo>
                  <a:pt x="92" y="65"/>
                  <a:pt x="92" y="65"/>
                  <a:pt x="92" y="65"/>
                </a:cubicBezTo>
                <a:cubicBezTo>
                  <a:pt x="91" y="65"/>
                  <a:pt x="91" y="65"/>
                  <a:pt x="91" y="65"/>
                </a:cubicBezTo>
                <a:close/>
                <a:moveTo>
                  <a:pt x="91" y="25"/>
                </a:moveTo>
                <a:cubicBezTo>
                  <a:pt x="92" y="24"/>
                  <a:pt x="92" y="24"/>
                  <a:pt x="92" y="24"/>
                </a:cubicBezTo>
                <a:cubicBezTo>
                  <a:pt x="92" y="24"/>
                  <a:pt x="92" y="24"/>
                  <a:pt x="92" y="24"/>
                </a:cubicBezTo>
                <a:cubicBezTo>
                  <a:pt x="93" y="23"/>
                  <a:pt x="93" y="23"/>
                  <a:pt x="93" y="23"/>
                </a:cubicBezTo>
                <a:cubicBezTo>
                  <a:pt x="94" y="23"/>
                  <a:pt x="94" y="23"/>
                  <a:pt x="94" y="23"/>
                </a:cubicBezTo>
                <a:cubicBezTo>
                  <a:pt x="95" y="24"/>
                  <a:pt x="95" y="24"/>
                  <a:pt x="95" y="24"/>
                </a:cubicBezTo>
                <a:cubicBezTo>
                  <a:pt x="96" y="24"/>
                  <a:pt x="96" y="24"/>
                  <a:pt x="96" y="24"/>
                </a:cubicBezTo>
                <a:cubicBezTo>
                  <a:pt x="96" y="25"/>
                  <a:pt x="96" y="25"/>
                  <a:pt x="96" y="25"/>
                </a:cubicBezTo>
                <a:cubicBezTo>
                  <a:pt x="95" y="26"/>
                  <a:pt x="95" y="26"/>
                  <a:pt x="95" y="26"/>
                </a:cubicBezTo>
                <a:cubicBezTo>
                  <a:pt x="94" y="26"/>
                  <a:pt x="94" y="26"/>
                  <a:pt x="94" y="26"/>
                </a:cubicBezTo>
                <a:cubicBezTo>
                  <a:pt x="93" y="25"/>
                  <a:pt x="93" y="25"/>
                  <a:pt x="93" y="25"/>
                </a:cubicBezTo>
                <a:cubicBezTo>
                  <a:pt x="91" y="25"/>
                  <a:pt x="91" y="25"/>
                  <a:pt x="91" y="25"/>
                </a:cubicBezTo>
                <a:cubicBezTo>
                  <a:pt x="91" y="25"/>
                  <a:pt x="91" y="25"/>
                  <a:pt x="91" y="25"/>
                </a:cubicBezTo>
                <a:close/>
                <a:moveTo>
                  <a:pt x="93" y="42"/>
                </a:moveTo>
                <a:cubicBezTo>
                  <a:pt x="94" y="41"/>
                  <a:pt x="94" y="41"/>
                  <a:pt x="94" y="41"/>
                </a:cubicBezTo>
                <a:cubicBezTo>
                  <a:pt x="95" y="40"/>
                  <a:pt x="95" y="40"/>
                  <a:pt x="95" y="40"/>
                </a:cubicBezTo>
                <a:cubicBezTo>
                  <a:pt x="95" y="40"/>
                  <a:pt x="95" y="40"/>
                  <a:pt x="95" y="40"/>
                </a:cubicBezTo>
                <a:cubicBezTo>
                  <a:pt x="94" y="39"/>
                  <a:pt x="94" y="39"/>
                  <a:pt x="94" y="39"/>
                </a:cubicBezTo>
                <a:cubicBezTo>
                  <a:pt x="93" y="38"/>
                  <a:pt x="93" y="38"/>
                  <a:pt x="93" y="38"/>
                </a:cubicBezTo>
                <a:cubicBezTo>
                  <a:pt x="92" y="38"/>
                  <a:pt x="92" y="38"/>
                  <a:pt x="92" y="38"/>
                </a:cubicBezTo>
                <a:cubicBezTo>
                  <a:pt x="90" y="38"/>
                  <a:pt x="90" y="38"/>
                  <a:pt x="90" y="38"/>
                </a:cubicBezTo>
                <a:cubicBezTo>
                  <a:pt x="89" y="39"/>
                  <a:pt x="89" y="39"/>
                  <a:pt x="89" y="39"/>
                </a:cubicBezTo>
                <a:cubicBezTo>
                  <a:pt x="88" y="40"/>
                  <a:pt x="88" y="40"/>
                  <a:pt x="88" y="40"/>
                </a:cubicBezTo>
                <a:cubicBezTo>
                  <a:pt x="89" y="41"/>
                  <a:pt x="89" y="41"/>
                  <a:pt x="89" y="41"/>
                </a:cubicBezTo>
                <a:cubicBezTo>
                  <a:pt x="91" y="42"/>
                  <a:pt x="91" y="42"/>
                  <a:pt x="91" y="42"/>
                </a:cubicBezTo>
                <a:cubicBezTo>
                  <a:pt x="92" y="43"/>
                  <a:pt x="92" y="43"/>
                  <a:pt x="92" y="43"/>
                </a:cubicBezTo>
                <a:cubicBezTo>
                  <a:pt x="93" y="42"/>
                  <a:pt x="93" y="42"/>
                  <a:pt x="93" y="42"/>
                </a:cubicBezTo>
                <a:close/>
                <a:moveTo>
                  <a:pt x="96" y="40"/>
                </a:moveTo>
                <a:cubicBezTo>
                  <a:pt x="96" y="41"/>
                  <a:pt x="96" y="41"/>
                  <a:pt x="96" y="41"/>
                </a:cubicBezTo>
                <a:cubicBezTo>
                  <a:pt x="96" y="42"/>
                  <a:pt x="96" y="42"/>
                  <a:pt x="96" y="42"/>
                </a:cubicBezTo>
                <a:cubicBezTo>
                  <a:pt x="95" y="43"/>
                  <a:pt x="95" y="43"/>
                  <a:pt x="95" y="43"/>
                </a:cubicBezTo>
                <a:cubicBezTo>
                  <a:pt x="95" y="43"/>
                  <a:pt x="95" y="43"/>
                  <a:pt x="95" y="43"/>
                </a:cubicBezTo>
                <a:cubicBezTo>
                  <a:pt x="94" y="43"/>
                  <a:pt x="94" y="43"/>
                  <a:pt x="94" y="43"/>
                </a:cubicBezTo>
                <a:cubicBezTo>
                  <a:pt x="92" y="44"/>
                  <a:pt x="92" y="44"/>
                  <a:pt x="92" y="44"/>
                </a:cubicBezTo>
                <a:cubicBezTo>
                  <a:pt x="91" y="45"/>
                  <a:pt x="91" y="45"/>
                  <a:pt x="91" y="45"/>
                </a:cubicBezTo>
                <a:cubicBezTo>
                  <a:pt x="90" y="44"/>
                  <a:pt x="90" y="44"/>
                  <a:pt x="90" y="44"/>
                </a:cubicBezTo>
                <a:cubicBezTo>
                  <a:pt x="89" y="44"/>
                  <a:pt x="89" y="44"/>
                  <a:pt x="89" y="44"/>
                </a:cubicBezTo>
                <a:cubicBezTo>
                  <a:pt x="89" y="45"/>
                  <a:pt x="89" y="45"/>
                  <a:pt x="89" y="45"/>
                </a:cubicBezTo>
                <a:cubicBezTo>
                  <a:pt x="90" y="47"/>
                  <a:pt x="90" y="47"/>
                  <a:pt x="90" y="47"/>
                </a:cubicBezTo>
                <a:cubicBezTo>
                  <a:pt x="90" y="50"/>
                  <a:pt x="90" y="50"/>
                  <a:pt x="90" y="50"/>
                </a:cubicBezTo>
                <a:cubicBezTo>
                  <a:pt x="90" y="52"/>
                  <a:pt x="90" y="52"/>
                  <a:pt x="90" y="52"/>
                </a:cubicBezTo>
                <a:cubicBezTo>
                  <a:pt x="92" y="54"/>
                  <a:pt x="92" y="54"/>
                  <a:pt x="92" y="54"/>
                </a:cubicBezTo>
                <a:cubicBezTo>
                  <a:pt x="93" y="54"/>
                  <a:pt x="93" y="54"/>
                  <a:pt x="93" y="54"/>
                </a:cubicBezTo>
                <a:cubicBezTo>
                  <a:pt x="95" y="53"/>
                  <a:pt x="95" y="53"/>
                  <a:pt x="95" y="53"/>
                </a:cubicBezTo>
                <a:cubicBezTo>
                  <a:pt x="97" y="53"/>
                  <a:pt x="97" y="53"/>
                  <a:pt x="97" y="53"/>
                </a:cubicBezTo>
                <a:cubicBezTo>
                  <a:pt x="98" y="52"/>
                  <a:pt x="98" y="52"/>
                  <a:pt x="98" y="52"/>
                </a:cubicBezTo>
                <a:cubicBezTo>
                  <a:pt x="100" y="52"/>
                  <a:pt x="100" y="52"/>
                  <a:pt x="100" y="52"/>
                </a:cubicBezTo>
                <a:cubicBezTo>
                  <a:pt x="100" y="51"/>
                  <a:pt x="100" y="51"/>
                  <a:pt x="100" y="51"/>
                </a:cubicBezTo>
                <a:cubicBezTo>
                  <a:pt x="99" y="50"/>
                  <a:pt x="99" y="50"/>
                  <a:pt x="99" y="50"/>
                </a:cubicBezTo>
                <a:cubicBezTo>
                  <a:pt x="98" y="49"/>
                  <a:pt x="98" y="49"/>
                  <a:pt x="98" y="49"/>
                </a:cubicBezTo>
                <a:cubicBezTo>
                  <a:pt x="96" y="48"/>
                  <a:pt x="96" y="48"/>
                  <a:pt x="96" y="48"/>
                </a:cubicBezTo>
                <a:cubicBezTo>
                  <a:pt x="96" y="47"/>
                  <a:pt x="96" y="47"/>
                  <a:pt x="96" y="47"/>
                </a:cubicBezTo>
                <a:cubicBezTo>
                  <a:pt x="96" y="46"/>
                  <a:pt x="96" y="46"/>
                  <a:pt x="96" y="46"/>
                </a:cubicBezTo>
                <a:cubicBezTo>
                  <a:pt x="97" y="45"/>
                  <a:pt x="97" y="45"/>
                  <a:pt x="97" y="45"/>
                </a:cubicBezTo>
                <a:cubicBezTo>
                  <a:pt x="98" y="45"/>
                  <a:pt x="98" y="45"/>
                  <a:pt x="98" y="45"/>
                </a:cubicBezTo>
                <a:cubicBezTo>
                  <a:pt x="99" y="45"/>
                  <a:pt x="99" y="45"/>
                  <a:pt x="99" y="45"/>
                </a:cubicBezTo>
                <a:cubicBezTo>
                  <a:pt x="99" y="44"/>
                  <a:pt x="99" y="44"/>
                  <a:pt x="99" y="44"/>
                </a:cubicBezTo>
                <a:cubicBezTo>
                  <a:pt x="98" y="42"/>
                  <a:pt x="98" y="42"/>
                  <a:pt x="98" y="42"/>
                </a:cubicBezTo>
                <a:cubicBezTo>
                  <a:pt x="97" y="42"/>
                  <a:pt x="97" y="42"/>
                  <a:pt x="97" y="42"/>
                </a:cubicBezTo>
                <a:cubicBezTo>
                  <a:pt x="96" y="40"/>
                  <a:pt x="96" y="40"/>
                  <a:pt x="96" y="40"/>
                </a:cubicBezTo>
                <a:close/>
                <a:moveTo>
                  <a:pt x="102" y="43"/>
                </a:moveTo>
                <a:cubicBezTo>
                  <a:pt x="101" y="42"/>
                  <a:pt x="101" y="42"/>
                  <a:pt x="101" y="42"/>
                </a:cubicBezTo>
                <a:cubicBezTo>
                  <a:pt x="101" y="41"/>
                  <a:pt x="101" y="41"/>
                  <a:pt x="101" y="41"/>
                </a:cubicBezTo>
                <a:cubicBezTo>
                  <a:pt x="100" y="40"/>
                  <a:pt x="100" y="40"/>
                  <a:pt x="100" y="40"/>
                </a:cubicBezTo>
                <a:cubicBezTo>
                  <a:pt x="99" y="40"/>
                  <a:pt x="99" y="40"/>
                  <a:pt x="99" y="40"/>
                </a:cubicBezTo>
                <a:cubicBezTo>
                  <a:pt x="98" y="39"/>
                  <a:pt x="98" y="39"/>
                  <a:pt x="98" y="39"/>
                </a:cubicBezTo>
                <a:cubicBezTo>
                  <a:pt x="98" y="38"/>
                  <a:pt x="98" y="38"/>
                  <a:pt x="98" y="38"/>
                </a:cubicBezTo>
                <a:cubicBezTo>
                  <a:pt x="98" y="37"/>
                  <a:pt x="98" y="37"/>
                  <a:pt x="98" y="37"/>
                </a:cubicBezTo>
                <a:cubicBezTo>
                  <a:pt x="98" y="36"/>
                  <a:pt x="98" y="36"/>
                  <a:pt x="98" y="36"/>
                </a:cubicBezTo>
                <a:cubicBezTo>
                  <a:pt x="97" y="34"/>
                  <a:pt x="97" y="34"/>
                  <a:pt x="97" y="34"/>
                </a:cubicBezTo>
                <a:cubicBezTo>
                  <a:pt x="98" y="33"/>
                  <a:pt x="98" y="33"/>
                  <a:pt x="98" y="33"/>
                </a:cubicBezTo>
                <a:cubicBezTo>
                  <a:pt x="99" y="32"/>
                  <a:pt x="99" y="32"/>
                  <a:pt x="99" y="32"/>
                </a:cubicBezTo>
                <a:cubicBezTo>
                  <a:pt x="100" y="30"/>
                  <a:pt x="100" y="30"/>
                  <a:pt x="100" y="30"/>
                </a:cubicBezTo>
                <a:cubicBezTo>
                  <a:pt x="100" y="30"/>
                  <a:pt x="100" y="30"/>
                  <a:pt x="100" y="30"/>
                </a:cubicBezTo>
                <a:cubicBezTo>
                  <a:pt x="100" y="29"/>
                  <a:pt x="100" y="29"/>
                  <a:pt x="100" y="29"/>
                </a:cubicBezTo>
                <a:cubicBezTo>
                  <a:pt x="101" y="29"/>
                  <a:pt x="101" y="29"/>
                  <a:pt x="101" y="29"/>
                </a:cubicBezTo>
                <a:cubicBezTo>
                  <a:pt x="102" y="29"/>
                  <a:pt x="102" y="29"/>
                  <a:pt x="102" y="29"/>
                </a:cubicBezTo>
                <a:cubicBezTo>
                  <a:pt x="103" y="29"/>
                  <a:pt x="103" y="29"/>
                  <a:pt x="103" y="29"/>
                </a:cubicBezTo>
                <a:cubicBezTo>
                  <a:pt x="104" y="31"/>
                  <a:pt x="104" y="31"/>
                  <a:pt x="104" y="31"/>
                </a:cubicBezTo>
                <a:cubicBezTo>
                  <a:pt x="104" y="33"/>
                  <a:pt x="104" y="33"/>
                  <a:pt x="104" y="33"/>
                </a:cubicBezTo>
                <a:cubicBezTo>
                  <a:pt x="104" y="33"/>
                  <a:pt x="104" y="33"/>
                  <a:pt x="104" y="33"/>
                </a:cubicBezTo>
                <a:cubicBezTo>
                  <a:pt x="105" y="34"/>
                  <a:pt x="105" y="34"/>
                  <a:pt x="105" y="34"/>
                </a:cubicBezTo>
                <a:cubicBezTo>
                  <a:pt x="107" y="35"/>
                  <a:pt x="107" y="35"/>
                  <a:pt x="107" y="35"/>
                </a:cubicBezTo>
                <a:cubicBezTo>
                  <a:pt x="107" y="35"/>
                  <a:pt x="107" y="35"/>
                  <a:pt x="107" y="35"/>
                </a:cubicBezTo>
                <a:cubicBezTo>
                  <a:pt x="107" y="36"/>
                  <a:pt x="107" y="36"/>
                  <a:pt x="107" y="36"/>
                </a:cubicBezTo>
                <a:cubicBezTo>
                  <a:pt x="105" y="37"/>
                  <a:pt x="105" y="37"/>
                  <a:pt x="105" y="37"/>
                </a:cubicBezTo>
                <a:cubicBezTo>
                  <a:pt x="103" y="38"/>
                  <a:pt x="103" y="38"/>
                  <a:pt x="103" y="38"/>
                </a:cubicBezTo>
                <a:cubicBezTo>
                  <a:pt x="103" y="39"/>
                  <a:pt x="103" y="39"/>
                  <a:pt x="103" y="39"/>
                </a:cubicBezTo>
                <a:cubicBezTo>
                  <a:pt x="103" y="40"/>
                  <a:pt x="103" y="40"/>
                  <a:pt x="103" y="40"/>
                </a:cubicBezTo>
                <a:cubicBezTo>
                  <a:pt x="103" y="41"/>
                  <a:pt x="103" y="41"/>
                  <a:pt x="103" y="41"/>
                </a:cubicBezTo>
                <a:cubicBezTo>
                  <a:pt x="102" y="43"/>
                  <a:pt x="102" y="43"/>
                  <a:pt x="102" y="43"/>
                </a:cubicBezTo>
                <a:close/>
                <a:moveTo>
                  <a:pt x="641" y="78"/>
                </a:moveTo>
                <a:cubicBezTo>
                  <a:pt x="642" y="78"/>
                  <a:pt x="642" y="78"/>
                  <a:pt x="642" y="78"/>
                </a:cubicBezTo>
                <a:cubicBezTo>
                  <a:pt x="642" y="77"/>
                  <a:pt x="642" y="77"/>
                  <a:pt x="642" y="77"/>
                </a:cubicBezTo>
                <a:cubicBezTo>
                  <a:pt x="641" y="77"/>
                  <a:pt x="641" y="77"/>
                  <a:pt x="641" y="77"/>
                </a:cubicBezTo>
                <a:cubicBezTo>
                  <a:pt x="641" y="77"/>
                  <a:pt x="641" y="77"/>
                  <a:pt x="641" y="77"/>
                </a:cubicBezTo>
                <a:cubicBezTo>
                  <a:pt x="641" y="78"/>
                  <a:pt x="641" y="78"/>
                  <a:pt x="641" y="78"/>
                </a:cubicBezTo>
                <a:close/>
                <a:moveTo>
                  <a:pt x="636" y="77"/>
                </a:moveTo>
                <a:cubicBezTo>
                  <a:pt x="637" y="77"/>
                  <a:pt x="637" y="77"/>
                  <a:pt x="637" y="77"/>
                </a:cubicBezTo>
                <a:cubicBezTo>
                  <a:pt x="637" y="76"/>
                  <a:pt x="637" y="76"/>
                  <a:pt x="637" y="76"/>
                </a:cubicBezTo>
                <a:cubicBezTo>
                  <a:pt x="636" y="76"/>
                  <a:pt x="636" y="76"/>
                  <a:pt x="636" y="76"/>
                </a:cubicBezTo>
                <a:cubicBezTo>
                  <a:pt x="636" y="76"/>
                  <a:pt x="636" y="76"/>
                  <a:pt x="636" y="76"/>
                </a:cubicBezTo>
                <a:cubicBezTo>
                  <a:pt x="636" y="77"/>
                  <a:pt x="636" y="77"/>
                  <a:pt x="636" y="77"/>
                </a:cubicBezTo>
                <a:close/>
                <a:moveTo>
                  <a:pt x="632" y="79"/>
                </a:moveTo>
                <a:cubicBezTo>
                  <a:pt x="632" y="79"/>
                  <a:pt x="632" y="79"/>
                  <a:pt x="632" y="79"/>
                </a:cubicBezTo>
                <a:cubicBezTo>
                  <a:pt x="633" y="78"/>
                  <a:pt x="633" y="78"/>
                  <a:pt x="633" y="78"/>
                </a:cubicBezTo>
                <a:cubicBezTo>
                  <a:pt x="632" y="77"/>
                  <a:pt x="632" y="77"/>
                  <a:pt x="632" y="77"/>
                </a:cubicBezTo>
                <a:cubicBezTo>
                  <a:pt x="631" y="77"/>
                  <a:pt x="631" y="77"/>
                  <a:pt x="631" y="77"/>
                </a:cubicBezTo>
                <a:cubicBezTo>
                  <a:pt x="631" y="78"/>
                  <a:pt x="631" y="78"/>
                  <a:pt x="631" y="78"/>
                </a:cubicBezTo>
                <a:cubicBezTo>
                  <a:pt x="632" y="79"/>
                  <a:pt x="632" y="79"/>
                  <a:pt x="632" y="79"/>
                </a:cubicBezTo>
                <a:close/>
                <a:moveTo>
                  <a:pt x="741" y="212"/>
                </a:moveTo>
                <a:cubicBezTo>
                  <a:pt x="740" y="212"/>
                  <a:pt x="740" y="212"/>
                  <a:pt x="740" y="212"/>
                </a:cubicBezTo>
                <a:cubicBezTo>
                  <a:pt x="741" y="214"/>
                  <a:pt x="741" y="214"/>
                  <a:pt x="741" y="214"/>
                </a:cubicBezTo>
                <a:cubicBezTo>
                  <a:pt x="741" y="213"/>
                  <a:pt x="741" y="213"/>
                  <a:pt x="741" y="213"/>
                </a:cubicBezTo>
                <a:cubicBezTo>
                  <a:pt x="741" y="212"/>
                  <a:pt x="741" y="212"/>
                  <a:pt x="741" y="212"/>
                </a:cubicBezTo>
                <a:cubicBezTo>
                  <a:pt x="741" y="212"/>
                  <a:pt x="741" y="212"/>
                  <a:pt x="741" y="212"/>
                </a:cubicBezTo>
                <a:cubicBezTo>
                  <a:pt x="741" y="212"/>
                  <a:pt x="741" y="212"/>
                  <a:pt x="741" y="212"/>
                </a:cubicBezTo>
                <a:close/>
                <a:moveTo>
                  <a:pt x="739" y="210"/>
                </a:moveTo>
                <a:cubicBezTo>
                  <a:pt x="740" y="211"/>
                  <a:pt x="740" y="211"/>
                  <a:pt x="740" y="211"/>
                </a:cubicBezTo>
                <a:cubicBezTo>
                  <a:pt x="741" y="211"/>
                  <a:pt x="741" y="211"/>
                  <a:pt x="741" y="211"/>
                </a:cubicBezTo>
                <a:cubicBezTo>
                  <a:pt x="741" y="210"/>
                  <a:pt x="741" y="210"/>
                  <a:pt x="741" y="210"/>
                </a:cubicBezTo>
                <a:cubicBezTo>
                  <a:pt x="740" y="209"/>
                  <a:pt x="740" y="209"/>
                  <a:pt x="740" y="209"/>
                </a:cubicBezTo>
                <a:cubicBezTo>
                  <a:pt x="739" y="209"/>
                  <a:pt x="739" y="209"/>
                  <a:pt x="739" y="209"/>
                </a:cubicBezTo>
                <a:cubicBezTo>
                  <a:pt x="739" y="210"/>
                  <a:pt x="739" y="210"/>
                  <a:pt x="739" y="210"/>
                </a:cubicBezTo>
                <a:close/>
                <a:moveTo>
                  <a:pt x="117" y="133"/>
                </a:moveTo>
                <a:cubicBezTo>
                  <a:pt x="118" y="133"/>
                  <a:pt x="118" y="133"/>
                  <a:pt x="118" y="133"/>
                </a:cubicBezTo>
                <a:cubicBezTo>
                  <a:pt x="118" y="133"/>
                  <a:pt x="118" y="133"/>
                  <a:pt x="118" y="133"/>
                </a:cubicBezTo>
                <a:cubicBezTo>
                  <a:pt x="120" y="131"/>
                  <a:pt x="120" y="131"/>
                  <a:pt x="120" y="131"/>
                </a:cubicBezTo>
                <a:cubicBezTo>
                  <a:pt x="120" y="131"/>
                  <a:pt x="120" y="131"/>
                  <a:pt x="120" y="131"/>
                </a:cubicBezTo>
                <a:cubicBezTo>
                  <a:pt x="120" y="131"/>
                  <a:pt x="120" y="131"/>
                  <a:pt x="120" y="131"/>
                </a:cubicBezTo>
                <a:cubicBezTo>
                  <a:pt x="118" y="132"/>
                  <a:pt x="118" y="132"/>
                  <a:pt x="118" y="132"/>
                </a:cubicBezTo>
                <a:cubicBezTo>
                  <a:pt x="118" y="132"/>
                  <a:pt x="118" y="132"/>
                  <a:pt x="118" y="132"/>
                </a:cubicBezTo>
                <a:cubicBezTo>
                  <a:pt x="117" y="133"/>
                  <a:pt x="117" y="133"/>
                  <a:pt x="117" y="133"/>
                </a:cubicBezTo>
                <a:cubicBezTo>
                  <a:pt x="117" y="133"/>
                  <a:pt x="117" y="133"/>
                  <a:pt x="117" y="133"/>
                </a:cubicBezTo>
                <a:close/>
                <a:moveTo>
                  <a:pt x="110" y="174"/>
                </a:moveTo>
                <a:cubicBezTo>
                  <a:pt x="112" y="174"/>
                  <a:pt x="112" y="174"/>
                  <a:pt x="112" y="174"/>
                </a:cubicBezTo>
                <a:cubicBezTo>
                  <a:pt x="113" y="173"/>
                  <a:pt x="113" y="173"/>
                  <a:pt x="113" y="173"/>
                </a:cubicBezTo>
                <a:cubicBezTo>
                  <a:pt x="115" y="172"/>
                  <a:pt x="115" y="172"/>
                  <a:pt x="115" y="172"/>
                </a:cubicBezTo>
                <a:cubicBezTo>
                  <a:pt x="116" y="172"/>
                  <a:pt x="116" y="172"/>
                  <a:pt x="116" y="172"/>
                </a:cubicBezTo>
                <a:cubicBezTo>
                  <a:pt x="117" y="173"/>
                  <a:pt x="117" y="173"/>
                  <a:pt x="117" y="173"/>
                </a:cubicBezTo>
                <a:cubicBezTo>
                  <a:pt x="118" y="173"/>
                  <a:pt x="118" y="173"/>
                  <a:pt x="118" y="173"/>
                </a:cubicBezTo>
                <a:cubicBezTo>
                  <a:pt x="119" y="173"/>
                  <a:pt x="119" y="173"/>
                  <a:pt x="119" y="173"/>
                </a:cubicBezTo>
                <a:cubicBezTo>
                  <a:pt x="118" y="172"/>
                  <a:pt x="118" y="172"/>
                  <a:pt x="118" y="172"/>
                </a:cubicBezTo>
                <a:cubicBezTo>
                  <a:pt x="119" y="171"/>
                  <a:pt x="119" y="171"/>
                  <a:pt x="119" y="171"/>
                </a:cubicBezTo>
                <a:cubicBezTo>
                  <a:pt x="119" y="172"/>
                  <a:pt x="119" y="172"/>
                  <a:pt x="119" y="172"/>
                </a:cubicBezTo>
                <a:cubicBezTo>
                  <a:pt x="120" y="173"/>
                  <a:pt x="120" y="173"/>
                  <a:pt x="120" y="173"/>
                </a:cubicBezTo>
                <a:cubicBezTo>
                  <a:pt x="121" y="173"/>
                  <a:pt x="121" y="173"/>
                  <a:pt x="121" y="173"/>
                </a:cubicBezTo>
                <a:cubicBezTo>
                  <a:pt x="123" y="173"/>
                  <a:pt x="123" y="173"/>
                  <a:pt x="123" y="173"/>
                </a:cubicBezTo>
                <a:cubicBezTo>
                  <a:pt x="123" y="173"/>
                  <a:pt x="123" y="173"/>
                  <a:pt x="123" y="173"/>
                </a:cubicBezTo>
                <a:cubicBezTo>
                  <a:pt x="124" y="172"/>
                  <a:pt x="124" y="172"/>
                  <a:pt x="124" y="172"/>
                </a:cubicBezTo>
                <a:cubicBezTo>
                  <a:pt x="124" y="171"/>
                  <a:pt x="124" y="171"/>
                  <a:pt x="124" y="171"/>
                </a:cubicBezTo>
                <a:cubicBezTo>
                  <a:pt x="124" y="169"/>
                  <a:pt x="124" y="169"/>
                  <a:pt x="124" y="169"/>
                </a:cubicBezTo>
                <a:cubicBezTo>
                  <a:pt x="125" y="168"/>
                  <a:pt x="125" y="168"/>
                  <a:pt x="125" y="168"/>
                </a:cubicBezTo>
                <a:cubicBezTo>
                  <a:pt x="125" y="167"/>
                  <a:pt x="125" y="167"/>
                  <a:pt x="125" y="167"/>
                </a:cubicBezTo>
                <a:cubicBezTo>
                  <a:pt x="124" y="166"/>
                  <a:pt x="124" y="166"/>
                  <a:pt x="124" y="166"/>
                </a:cubicBezTo>
                <a:cubicBezTo>
                  <a:pt x="124" y="165"/>
                  <a:pt x="124" y="165"/>
                  <a:pt x="124" y="165"/>
                </a:cubicBezTo>
                <a:cubicBezTo>
                  <a:pt x="123" y="164"/>
                  <a:pt x="123" y="164"/>
                  <a:pt x="123" y="164"/>
                </a:cubicBezTo>
                <a:cubicBezTo>
                  <a:pt x="122" y="164"/>
                  <a:pt x="122" y="164"/>
                  <a:pt x="122" y="164"/>
                </a:cubicBezTo>
                <a:cubicBezTo>
                  <a:pt x="121" y="164"/>
                  <a:pt x="121" y="164"/>
                  <a:pt x="121" y="164"/>
                </a:cubicBezTo>
                <a:cubicBezTo>
                  <a:pt x="122" y="163"/>
                  <a:pt x="122" y="163"/>
                  <a:pt x="122" y="163"/>
                </a:cubicBezTo>
                <a:cubicBezTo>
                  <a:pt x="123" y="164"/>
                  <a:pt x="123" y="164"/>
                  <a:pt x="123" y="164"/>
                </a:cubicBezTo>
                <a:cubicBezTo>
                  <a:pt x="124" y="163"/>
                  <a:pt x="124" y="163"/>
                  <a:pt x="124" y="163"/>
                </a:cubicBezTo>
                <a:cubicBezTo>
                  <a:pt x="125" y="164"/>
                  <a:pt x="125" y="164"/>
                  <a:pt x="125" y="164"/>
                </a:cubicBezTo>
                <a:cubicBezTo>
                  <a:pt x="125" y="165"/>
                  <a:pt x="125" y="165"/>
                  <a:pt x="125" y="165"/>
                </a:cubicBezTo>
                <a:cubicBezTo>
                  <a:pt x="125" y="166"/>
                  <a:pt x="125" y="166"/>
                  <a:pt x="125" y="166"/>
                </a:cubicBezTo>
                <a:cubicBezTo>
                  <a:pt x="126" y="165"/>
                  <a:pt x="126" y="165"/>
                  <a:pt x="126" y="165"/>
                </a:cubicBezTo>
                <a:cubicBezTo>
                  <a:pt x="125" y="163"/>
                  <a:pt x="125" y="163"/>
                  <a:pt x="125" y="163"/>
                </a:cubicBezTo>
                <a:cubicBezTo>
                  <a:pt x="124" y="161"/>
                  <a:pt x="124" y="161"/>
                  <a:pt x="124" y="161"/>
                </a:cubicBezTo>
                <a:cubicBezTo>
                  <a:pt x="123" y="159"/>
                  <a:pt x="123" y="159"/>
                  <a:pt x="123" y="159"/>
                </a:cubicBezTo>
                <a:cubicBezTo>
                  <a:pt x="123" y="159"/>
                  <a:pt x="123" y="159"/>
                  <a:pt x="123" y="159"/>
                </a:cubicBezTo>
                <a:cubicBezTo>
                  <a:pt x="124" y="160"/>
                  <a:pt x="124" y="160"/>
                  <a:pt x="124" y="160"/>
                </a:cubicBezTo>
                <a:cubicBezTo>
                  <a:pt x="124" y="161"/>
                  <a:pt x="124" y="161"/>
                  <a:pt x="124" y="161"/>
                </a:cubicBezTo>
                <a:cubicBezTo>
                  <a:pt x="125" y="161"/>
                  <a:pt x="125" y="161"/>
                  <a:pt x="125" y="161"/>
                </a:cubicBezTo>
                <a:cubicBezTo>
                  <a:pt x="126" y="162"/>
                  <a:pt x="126" y="162"/>
                  <a:pt x="126" y="162"/>
                </a:cubicBezTo>
                <a:cubicBezTo>
                  <a:pt x="127" y="161"/>
                  <a:pt x="127" y="161"/>
                  <a:pt x="127" y="161"/>
                </a:cubicBezTo>
                <a:cubicBezTo>
                  <a:pt x="127" y="160"/>
                  <a:pt x="127" y="160"/>
                  <a:pt x="127" y="160"/>
                </a:cubicBezTo>
                <a:cubicBezTo>
                  <a:pt x="126" y="159"/>
                  <a:pt x="126" y="159"/>
                  <a:pt x="126" y="159"/>
                </a:cubicBezTo>
                <a:cubicBezTo>
                  <a:pt x="126" y="159"/>
                  <a:pt x="126" y="159"/>
                  <a:pt x="126" y="159"/>
                </a:cubicBezTo>
                <a:cubicBezTo>
                  <a:pt x="127" y="157"/>
                  <a:pt x="127" y="157"/>
                  <a:pt x="127" y="157"/>
                </a:cubicBezTo>
                <a:cubicBezTo>
                  <a:pt x="127" y="156"/>
                  <a:pt x="127" y="156"/>
                  <a:pt x="127" y="156"/>
                </a:cubicBezTo>
                <a:cubicBezTo>
                  <a:pt x="126" y="155"/>
                  <a:pt x="126" y="155"/>
                  <a:pt x="126" y="155"/>
                </a:cubicBezTo>
                <a:cubicBezTo>
                  <a:pt x="124" y="153"/>
                  <a:pt x="124" y="153"/>
                  <a:pt x="124" y="153"/>
                </a:cubicBezTo>
                <a:cubicBezTo>
                  <a:pt x="125" y="153"/>
                  <a:pt x="125" y="153"/>
                  <a:pt x="125" y="153"/>
                </a:cubicBezTo>
                <a:cubicBezTo>
                  <a:pt x="126" y="154"/>
                  <a:pt x="126" y="154"/>
                  <a:pt x="126" y="154"/>
                </a:cubicBezTo>
                <a:cubicBezTo>
                  <a:pt x="127" y="154"/>
                  <a:pt x="127" y="154"/>
                  <a:pt x="127" y="154"/>
                </a:cubicBezTo>
                <a:cubicBezTo>
                  <a:pt x="128" y="153"/>
                  <a:pt x="128" y="153"/>
                  <a:pt x="128" y="153"/>
                </a:cubicBezTo>
                <a:cubicBezTo>
                  <a:pt x="127" y="152"/>
                  <a:pt x="127" y="152"/>
                  <a:pt x="127" y="152"/>
                </a:cubicBezTo>
                <a:cubicBezTo>
                  <a:pt x="127" y="152"/>
                  <a:pt x="127" y="152"/>
                  <a:pt x="127" y="152"/>
                </a:cubicBezTo>
                <a:cubicBezTo>
                  <a:pt x="127" y="151"/>
                  <a:pt x="127" y="151"/>
                  <a:pt x="127" y="151"/>
                </a:cubicBezTo>
                <a:cubicBezTo>
                  <a:pt x="127" y="150"/>
                  <a:pt x="127" y="150"/>
                  <a:pt x="127" y="150"/>
                </a:cubicBezTo>
                <a:cubicBezTo>
                  <a:pt x="129" y="151"/>
                  <a:pt x="129" y="151"/>
                  <a:pt x="129" y="151"/>
                </a:cubicBezTo>
                <a:cubicBezTo>
                  <a:pt x="130" y="152"/>
                  <a:pt x="130" y="152"/>
                  <a:pt x="130" y="152"/>
                </a:cubicBezTo>
                <a:cubicBezTo>
                  <a:pt x="131" y="151"/>
                  <a:pt x="131" y="151"/>
                  <a:pt x="131" y="151"/>
                </a:cubicBezTo>
                <a:cubicBezTo>
                  <a:pt x="130" y="151"/>
                  <a:pt x="130" y="151"/>
                  <a:pt x="130" y="151"/>
                </a:cubicBezTo>
                <a:cubicBezTo>
                  <a:pt x="130" y="150"/>
                  <a:pt x="130" y="150"/>
                  <a:pt x="130" y="150"/>
                </a:cubicBezTo>
                <a:cubicBezTo>
                  <a:pt x="131" y="150"/>
                  <a:pt x="131" y="150"/>
                  <a:pt x="131" y="150"/>
                </a:cubicBezTo>
                <a:cubicBezTo>
                  <a:pt x="131" y="150"/>
                  <a:pt x="131" y="150"/>
                  <a:pt x="131" y="150"/>
                </a:cubicBezTo>
                <a:cubicBezTo>
                  <a:pt x="132" y="149"/>
                  <a:pt x="132" y="149"/>
                  <a:pt x="132" y="149"/>
                </a:cubicBezTo>
                <a:cubicBezTo>
                  <a:pt x="132" y="148"/>
                  <a:pt x="132" y="148"/>
                  <a:pt x="132" y="148"/>
                </a:cubicBezTo>
                <a:cubicBezTo>
                  <a:pt x="132" y="148"/>
                  <a:pt x="132" y="148"/>
                  <a:pt x="132" y="148"/>
                </a:cubicBezTo>
                <a:cubicBezTo>
                  <a:pt x="132" y="147"/>
                  <a:pt x="132" y="147"/>
                  <a:pt x="132" y="147"/>
                </a:cubicBezTo>
                <a:cubicBezTo>
                  <a:pt x="134" y="146"/>
                  <a:pt x="134" y="146"/>
                  <a:pt x="134" y="146"/>
                </a:cubicBezTo>
                <a:cubicBezTo>
                  <a:pt x="134" y="146"/>
                  <a:pt x="134" y="146"/>
                  <a:pt x="134" y="146"/>
                </a:cubicBezTo>
                <a:cubicBezTo>
                  <a:pt x="133" y="145"/>
                  <a:pt x="133" y="145"/>
                  <a:pt x="133" y="145"/>
                </a:cubicBezTo>
                <a:cubicBezTo>
                  <a:pt x="133" y="144"/>
                  <a:pt x="133" y="144"/>
                  <a:pt x="133" y="144"/>
                </a:cubicBezTo>
                <a:cubicBezTo>
                  <a:pt x="133" y="143"/>
                  <a:pt x="133" y="143"/>
                  <a:pt x="133" y="143"/>
                </a:cubicBezTo>
                <a:cubicBezTo>
                  <a:pt x="134" y="144"/>
                  <a:pt x="134" y="144"/>
                  <a:pt x="134" y="144"/>
                </a:cubicBezTo>
                <a:cubicBezTo>
                  <a:pt x="135" y="143"/>
                  <a:pt x="135" y="143"/>
                  <a:pt x="135" y="143"/>
                </a:cubicBezTo>
                <a:cubicBezTo>
                  <a:pt x="136" y="141"/>
                  <a:pt x="136" y="141"/>
                  <a:pt x="136" y="141"/>
                </a:cubicBezTo>
                <a:cubicBezTo>
                  <a:pt x="137" y="140"/>
                  <a:pt x="137" y="140"/>
                  <a:pt x="137" y="140"/>
                </a:cubicBezTo>
                <a:cubicBezTo>
                  <a:pt x="138" y="139"/>
                  <a:pt x="138" y="139"/>
                  <a:pt x="138" y="139"/>
                </a:cubicBezTo>
                <a:cubicBezTo>
                  <a:pt x="138" y="137"/>
                  <a:pt x="138" y="137"/>
                  <a:pt x="138" y="137"/>
                </a:cubicBezTo>
                <a:cubicBezTo>
                  <a:pt x="139" y="136"/>
                  <a:pt x="139" y="136"/>
                  <a:pt x="139" y="136"/>
                </a:cubicBezTo>
                <a:cubicBezTo>
                  <a:pt x="140" y="135"/>
                  <a:pt x="140" y="135"/>
                  <a:pt x="140" y="135"/>
                </a:cubicBezTo>
                <a:cubicBezTo>
                  <a:pt x="141" y="132"/>
                  <a:pt x="141" y="132"/>
                  <a:pt x="141" y="132"/>
                </a:cubicBezTo>
                <a:cubicBezTo>
                  <a:pt x="142" y="132"/>
                  <a:pt x="142" y="132"/>
                  <a:pt x="142" y="132"/>
                </a:cubicBezTo>
                <a:cubicBezTo>
                  <a:pt x="145" y="130"/>
                  <a:pt x="145" y="130"/>
                  <a:pt x="145" y="130"/>
                </a:cubicBezTo>
                <a:cubicBezTo>
                  <a:pt x="147" y="128"/>
                  <a:pt x="147" y="128"/>
                  <a:pt x="147" y="128"/>
                </a:cubicBezTo>
                <a:cubicBezTo>
                  <a:pt x="149" y="126"/>
                  <a:pt x="149" y="126"/>
                  <a:pt x="149" y="126"/>
                </a:cubicBezTo>
                <a:cubicBezTo>
                  <a:pt x="150" y="126"/>
                  <a:pt x="150" y="126"/>
                  <a:pt x="150" y="126"/>
                </a:cubicBezTo>
                <a:cubicBezTo>
                  <a:pt x="151" y="124"/>
                  <a:pt x="151" y="124"/>
                  <a:pt x="151" y="124"/>
                </a:cubicBezTo>
                <a:cubicBezTo>
                  <a:pt x="153" y="124"/>
                  <a:pt x="153" y="124"/>
                  <a:pt x="153" y="124"/>
                </a:cubicBezTo>
                <a:cubicBezTo>
                  <a:pt x="155" y="123"/>
                  <a:pt x="155" y="123"/>
                  <a:pt x="155" y="123"/>
                </a:cubicBezTo>
                <a:cubicBezTo>
                  <a:pt x="156" y="121"/>
                  <a:pt x="156" y="121"/>
                  <a:pt x="156" y="121"/>
                </a:cubicBezTo>
                <a:cubicBezTo>
                  <a:pt x="157" y="120"/>
                  <a:pt x="157" y="120"/>
                  <a:pt x="157" y="120"/>
                </a:cubicBezTo>
                <a:cubicBezTo>
                  <a:pt x="158" y="120"/>
                  <a:pt x="158" y="120"/>
                  <a:pt x="158" y="120"/>
                </a:cubicBezTo>
                <a:cubicBezTo>
                  <a:pt x="159" y="120"/>
                  <a:pt x="159" y="120"/>
                  <a:pt x="159" y="120"/>
                </a:cubicBezTo>
                <a:cubicBezTo>
                  <a:pt x="159" y="119"/>
                  <a:pt x="159" y="119"/>
                  <a:pt x="159" y="119"/>
                </a:cubicBezTo>
                <a:cubicBezTo>
                  <a:pt x="159" y="118"/>
                  <a:pt x="159" y="118"/>
                  <a:pt x="159" y="118"/>
                </a:cubicBezTo>
                <a:cubicBezTo>
                  <a:pt x="159" y="117"/>
                  <a:pt x="159" y="117"/>
                  <a:pt x="159" y="117"/>
                </a:cubicBezTo>
                <a:cubicBezTo>
                  <a:pt x="159" y="116"/>
                  <a:pt x="159" y="116"/>
                  <a:pt x="159" y="116"/>
                </a:cubicBezTo>
                <a:cubicBezTo>
                  <a:pt x="159" y="114"/>
                  <a:pt x="159" y="114"/>
                  <a:pt x="159" y="114"/>
                </a:cubicBezTo>
                <a:cubicBezTo>
                  <a:pt x="159" y="114"/>
                  <a:pt x="159" y="114"/>
                  <a:pt x="159" y="114"/>
                </a:cubicBezTo>
                <a:cubicBezTo>
                  <a:pt x="158" y="114"/>
                  <a:pt x="158" y="114"/>
                  <a:pt x="158" y="114"/>
                </a:cubicBezTo>
                <a:cubicBezTo>
                  <a:pt x="158" y="112"/>
                  <a:pt x="158" y="112"/>
                  <a:pt x="158" y="112"/>
                </a:cubicBezTo>
                <a:cubicBezTo>
                  <a:pt x="158" y="111"/>
                  <a:pt x="158" y="111"/>
                  <a:pt x="158" y="111"/>
                </a:cubicBezTo>
                <a:cubicBezTo>
                  <a:pt x="158" y="110"/>
                  <a:pt x="158" y="110"/>
                  <a:pt x="158" y="110"/>
                </a:cubicBezTo>
                <a:cubicBezTo>
                  <a:pt x="157" y="110"/>
                  <a:pt x="157" y="110"/>
                  <a:pt x="157" y="110"/>
                </a:cubicBezTo>
                <a:cubicBezTo>
                  <a:pt x="156" y="109"/>
                  <a:pt x="156" y="109"/>
                  <a:pt x="156" y="109"/>
                </a:cubicBezTo>
                <a:cubicBezTo>
                  <a:pt x="155" y="109"/>
                  <a:pt x="155" y="109"/>
                  <a:pt x="155" y="109"/>
                </a:cubicBezTo>
                <a:cubicBezTo>
                  <a:pt x="154" y="108"/>
                  <a:pt x="154" y="108"/>
                  <a:pt x="154" y="108"/>
                </a:cubicBezTo>
                <a:cubicBezTo>
                  <a:pt x="154" y="107"/>
                  <a:pt x="154" y="107"/>
                  <a:pt x="154" y="107"/>
                </a:cubicBezTo>
                <a:cubicBezTo>
                  <a:pt x="154" y="107"/>
                  <a:pt x="154" y="107"/>
                  <a:pt x="154" y="107"/>
                </a:cubicBezTo>
                <a:cubicBezTo>
                  <a:pt x="152" y="108"/>
                  <a:pt x="152" y="108"/>
                  <a:pt x="152" y="108"/>
                </a:cubicBezTo>
                <a:cubicBezTo>
                  <a:pt x="152" y="108"/>
                  <a:pt x="152" y="108"/>
                  <a:pt x="152" y="108"/>
                </a:cubicBezTo>
                <a:cubicBezTo>
                  <a:pt x="151" y="108"/>
                  <a:pt x="151" y="108"/>
                  <a:pt x="151" y="108"/>
                </a:cubicBezTo>
                <a:cubicBezTo>
                  <a:pt x="150" y="107"/>
                  <a:pt x="150" y="107"/>
                  <a:pt x="150" y="107"/>
                </a:cubicBezTo>
                <a:cubicBezTo>
                  <a:pt x="149" y="108"/>
                  <a:pt x="149" y="108"/>
                  <a:pt x="149" y="108"/>
                </a:cubicBezTo>
                <a:cubicBezTo>
                  <a:pt x="148" y="109"/>
                  <a:pt x="148" y="109"/>
                  <a:pt x="148" y="109"/>
                </a:cubicBezTo>
                <a:cubicBezTo>
                  <a:pt x="147" y="110"/>
                  <a:pt x="147" y="110"/>
                  <a:pt x="147" y="110"/>
                </a:cubicBezTo>
                <a:cubicBezTo>
                  <a:pt x="147" y="110"/>
                  <a:pt x="147" y="110"/>
                  <a:pt x="147" y="110"/>
                </a:cubicBezTo>
                <a:cubicBezTo>
                  <a:pt x="146" y="111"/>
                  <a:pt x="146" y="111"/>
                  <a:pt x="146" y="111"/>
                </a:cubicBezTo>
                <a:cubicBezTo>
                  <a:pt x="145" y="111"/>
                  <a:pt x="145" y="111"/>
                  <a:pt x="145" y="111"/>
                </a:cubicBezTo>
                <a:cubicBezTo>
                  <a:pt x="145" y="112"/>
                  <a:pt x="145" y="112"/>
                  <a:pt x="145" y="112"/>
                </a:cubicBezTo>
                <a:cubicBezTo>
                  <a:pt x="144" y="113"/>
                  <a:pt x="144" y="113"/>
                  <a:pt x="144" y="113"/>
                </a:cubicBezTo>
                <a:cubicBezTo>
                  <a:pt x="144" y="114"/>
                  <a:pt x="144" y="114"/>
                  <a:pt x="144" y="114"/>
                </a:cubicBezTo>
                <a:cubicBezTo>
                  <a:pt x="145" y="115"/>
                  <a:pt x="145" y="115"/>
                  <a:pt x="145" y="115"/>
                </a:cubicBezTo>
                <a:cubicBezTo>
                  <a:pt x="145" y="116"/>
                  <a:pt x="145" y="116"/>
                  <a:pt x="145" y="116"/>
                </a:cubicBezTo>
                <a:cubicBezTo>
                  <a:pt x="144" y="116"/>
                  <a:pt x="144" y="116"/>
                  <a:pt x="144" y="116"/>
                </a:cubicBezTo>
                <a:cubicBezTo>
                  <a:pt x="143" y="117"/>
                  <a:pt x="143" y="117"/>
                  <a:pt x="143" y="117"/>
                </a:cubicBezTo>
                <a:cubicBezTo>
                  <a:pt x="143" y="118"/>
                  <a:pt x="143" y="118"/>
                  <a:pt x="143" y="118"/>
                </a:cubicBezTo>
                <a:cubicBezTo>
                  <a:pt x="142" y="118"/>
                  <a:pt x="142" y="118"/>
                  <a:pt x="142" y="118"/>
                </a:cubicBezTo>
                <a:cubicBezTo>
                  <a:pt x="142" y="119"/>
                  <a:pt x="142" y="119"/>
                  <a:pt x="142" y="119"/>
                </a:cubicBezTo>
                <a:cubicBezTo>
                  <a:pt x="140" y="120"/>
                  <a:pt x="140" y="120"/>
                  <a:pt x="140" y="120"/>
                </a:cubicBezTo>
                <a:cubicBezTo>
                  <a:pt x="139" y="121"/>
                  <a:pt x="139" y="121"/>
                  <a:pt x="139" y="121"/>
                </a:cubicBezTo>
                <a:cubicBezTo>
                  <a:pt x="138" y="121"/>
                  <a:pt x="138" y="121"/>
                  <a:pt x="138" y="121"/>
                </a:cubicBezTo>
                <a:cubicBezTo>
                  <a:pt x="137" y="121"/>
                  <a:pt x="137" y="121"/>
                  <a:pt x="137" y="121"/>
                </a:cubicBezTo>
                <a:cubicBezTo>
                  <a:pt x="136" y="121"/>
                  <a:pt x="136" y="121"/>
                  <a:pt x="136" y="121"/>
                </a:cubicBezTo>
                <a:cubicBezTo>
                  <a:pt x="135" y="123"/>
                  <a:pt x="135" y="123"/>
                  <a:pt x="135" y="123"/>
                </a:cubicBezTo>
                <a:cubicBezTo>
                  <a:pt x="134" y="124"/>
                  <a:pt x="134" y="124"/>
                  <a:pt x="134" y="124"/>
                </a:cubicBezTo>
                <a:cubicBezTo>
                  <a:pt x="134" y="123"/>
                  <a:pt x="134" y="123"/>
                  <a:pt x="134" y="123"/>
                </a:cubicBezTo>
                <a:cubicBezTo>
                  <a:pt x="133" y="122"/>
                  <a:pt x="133" y="122"/>
                  <a:pt x="133" y="122"/>
                </a:cubicBezTo>
                <a:cubicBezTo>
                  <a:pt x="133" y="122"/>
                  <a:pt x="133" y="122"/>
                  <a:pt x="133" y="122"/>
                </a:cubicBezTo>
                <a:cubicBezTo>
                  <a:pt x="133" y="123"/>
                  <a:pt x="133" y="123"/>
                  <a:pt x="133" y="123"/>
                </a:cubicBezTo>
                <a:cubicBezTo>
                  <a:pt x="133" y="125"/>
                  <a:pt x="133" y="125"/>
                  <a:pt x="133" y="125"/>
                </a:cubicBezTo>
                <a:cubicBezTo>
                  <a:pt x="133" y="125"/>
                  <a:pt x="133" y="125"/>
                  <a:pt x="133" y="125"/>
                </a:cubicBezTo>
                <a:cubicBezTo>
                  <a:pt x="132" y="124"/>
                  <a:pt x="132" y="124"/>
                  <a:pt x="132" y="124"/>
                </a:cubicBezTo>
                <a:cubicBezTo>
                  <a:pt x="132" y="123"/>
                  <a:pt x="132" y="123"/>
                  <a:pt x="132" y="123"/>
                </a:cubicBezTo>
                <a:cubicBezTo>
                  <a:pt x="130" y="123"/>
                  <a:pt x="130" y="123"/>
                  <a:pt x="130" y="123"/>
                </a:cubicBezTo>
                <a:cubicBezTo>
                  <a:pt x="127" y="124"/>
                  <a:pt x="127" y="124"/>
                  <a:pt x="127" y="124"/>
                </a:cubicBezTo>
                <a:cubicBezTo>
                  <a:pt x="127" y="124"/>
                  <a:pt x="127" y="124"/>
                  <a:pt x="127" y="124"/>
                </a:cubicBezTo>
                <a:cubicBezTo>
                  <a:pt x="126" y="124"/>
                  <a:pt x="126" y="124"/>
                  <a:pt x="126" y="124"/>
                </a:cubicBezTo>
                <a:cubicBezTo>
                  <a:pt x="126" y="125"/>
                  <a:pt x="126" y="125"/>
                  <a:pt x="126" y="125"/>
                </a:cubicBezTo>
                <a:cubicBezTo>
                  <a:pt x="126" y="127"/>
                  <a:pt x="126" y="127"/>
                  <a:pt x="126" y="127"/>
                </a:cubicBezTo>
                <a:cubicBezTo>
                  <a:pt x="127" y="127"/>
                  <a:pt x="127" y="127"/>
                  <a:pt x="127" y="127"/>
                </a:cubicBezTo>
                <a:cubicBezTo>
                  <a:pt x="127" y="128"/>
                  <a:pt x="127" y="128"/>
                  <a:pt x="127" y="128"/>
                </a:cubicBezTo>
                <a:cubicBezTo>
                  <a:pt x="126" y="128"/>
                  <a:pt x="126" y="128"/>
                  <a:pt x="126" y="128"/>
                </a:cubicBezTo>
                <a:cubicBezTo>
                  <a:pt x="125" y="129"/>
                  <a:pt x="125" y="129"/>
                  <a:pt x="125" y="129"/>
                </a:cubicBezTo>
                <a:cubicBezTo>
                  <a:pt x="125" y="129"/>
                  <a:pt x="125" y="129"/>
                  <a:pt x="125" y="129"/>
                </a:cubicBezTo>
                <a:cubicBezTo>
                  <a:pt x="125" y="128"/>
                  <a:pt x="125" y="128"/>
                  <a:pt x="125" y="128"/>
                </a:cubicBezTo>
                <a:cubicBezTo>
                  <a:pt x="125" y="128"/>
                  <a:pt x="125" y="128"/>
                  <a:pt x="125" y="128"/>
                </a:cubicBezTo>
                <a:cubicBezTo>
                  <a:pt x="125" y="127"/>
                  <a:pt x="125" y="127"/>
                  <a:pt x="125" y="127"/>
                </a:cubicBezTo>
                <a:cubicBezTo>
                  <a:pt x="125" y="127"/>
                  <a:pt x="125" y="127"/>
                  <a:pt x="125" y="127"/>
                </a:cubicBezTo>
                <a:cubicBezTo>
                  <a:pt x="124" y="128"/>
                  <a:pt x="124" y="128"/>
                  <a:pt x="124" y="128"/>
                </a:cubicBezTo>
                <a:cubicBezTo>
                  <a:pt x="123" y="129"/>
                  <a:pt x="123" y="129"/>
                  <a:pt x="123" y="129"/>
                </a:cubicBezTo>
                <a:cubicBezTo>
                  <a:pt x="123" y="130"/>
                  <a:pt x="123" y="130"/>
                  <a:pt x="123" y="130"/>
                </a:cubicBezTo>
                <a:cubicBezTo>
                  <a:pt x="123" y="130"/>
                  <a:pt x="123" y="130"/>
                  <a:pt x="123" y="130"/>
                </a:cubicBezTo>
                <a:cubicBezTo>
                  <a:pt x="123" y="131"/>
                  <a:pt x="123" y="131"/>
                  <a:pt x="123" y="131"/>
                </a:cubicBezTo>
                <a:cubicBezTo>
                  <a:pt x="122" y="132"/>
                  <a:pt x="122" y="132"/>
                  <a:pt x="122" y="132"/>
                </a:cubicBezTo>
                <a:cubicBezTo>
                  <a:pt x="121" y="132"/>
                  <a:pt x="121" y="132"/>
                  <a:pt x="121" y="132"/>
                </a:cubicBezTo>
                <a:cubicBezTo>
                  <a:pt x="120" y="132"/>
                  <a:pt x="120" y="132"/>
                  <a:pt x="120" y="132"/>
                </a:cubicBezTo>
                <a:cubicBezTo>
                  <a:pt x="120" y="133"/>
                  <a:pt x="120" y="133"/>
                  <a:pt x="120" y="133"/>
                </a:cubicBezTo>
                <a:cubicBezTo>
                  <a:pt x="119" y="133"/>
                  <a:pt x="119" y="133"/>
                  <a:pt x="119" y="133"/>
                </a:cubicBezTo>
                <a:cubicBezTo>
                  <a:pt x="118" y="134"/>
                  <a:pt x="118" y="134"/>
                  <a:pt x="118" y="134"/>
                </a:cubicBezTo>
                <a:cubicBezTo>
                  <a:pt x="118" y="136"/>
                  <a:pt x="118" y="136"/>
                  <a:pt x="118" y="136"/>
                </a:cubicBezTo>
                <a:cubicBezTo>
                  <a:pt x="118" y="136"/>
                  <a:pt x="118" y="136"/>
                  <a:pt x="118" y="136"/>
                </a:cubicBezTo>
                <a:cubicBezTo>
                  <a:pt x="119" y="136"/>
                  <a:pt x="119" y="136"/>
                  <a:pt x="119" y="136"/>
                </a:cubicBezTo>
                <a:cubicBezTo>
                  <a:pt x="118" y="137"/>
                  <a:pt x="118" y="137"/>
                  <a:pt x="118" y="137"/>
                </a:cubicBezTo>
                <a:cubicBezTo>
                  <a:pt x="116" y="137"/>
                  <a:pt x="116" y="137"/>
                  <a:pt x="116" y="137"/>
                </a:cubicBezTo>
                <a:cubicBezTo>
                  <a:pt x="116" y="138"/>
                  <a:pt x="116" y="138"/>
                  <a:pt x="116" y="138"/>
                </a:cubicBezTo>
                <a:cubicBezTo>
                  <a:pt x="115" y="139"/>
                  <a:pt x="115" y="139"/>
                  <a:pt x="115" y="139"/>
                </a:cubicBezTo>
                <a:cubicBezTo>
                  <a:pt x="115" y="140"/>
                  <a:pt x="115" y="140"/>
                  <a:pt x="115" y="140"/>
                </a:cubicBezTo>
                <a:cubicBezTo>
                  <a:pt x="116" y="140"/>
                  <a:pt x="116" y="140"/>
                  <a:pt x="116" y="140"/>
                </a:cubicBezTo>
                <a:cubicBezTo>
                  <a:pt x="117" y="140"/>
                  <a:pt x="117" y="140"/>
                  <a:pt x="117" y="140"/>
                </a:cubicBezTo>
                <a:cubicBezTo>
                  <a:pt x="117" y="141"/>
                  <a:pt x="117" y="141"/>
                  <a:pt x="117" y="141"/>
                </a:cubicBezTo>
                <a:cubicBezTo>
                  <a:pt x="117" y="141"/>
                  <a:pt x="117" y="141"/>
                  <a:pt x="117" y="141"/>
                </a:cubicBezTo>
                <a:cubicBezTo>
                  <a:pt x="117" y="142"/>
                  <a:pt x="117" y="142"/>
                  <a:pt x="117" y="142"/>
                </a:cubicBezTo>
                <a:cubicBezTo>
                  <a:pt x="116" y="143"/>
                  <a:pt x="116" y="143"/>
                  <a:pt x="116" y="143"/>
                </a:cubicBezTo>
                <a:cubicBezTo>
                  <a:pt x="116" y="143"/>
                  <a:pt x="116" y="143"/>
                  <a:pt x="116" y="143"/>
                </a:cubicBezTo>
                <a:cubicBezTo>
                  <a:pt x="114" y="143"/>
                  <a:pt x="114" y="143"/>
                  <a:pt x="114" y="143"/>
                </a:cubicBezTo>
                <a:cubicBezTo>
                  <a:pt x="113" y="143"/>
                  <a:pt x="113" y="143"/>
                  <a:pt x="113" y="143"/>
                </a:cubicBezTo>
                <a:cubicBezTo>
                  <a:pt x="112" y="144"/>
                  <a:pt x="112" y="144"/>
                  <a:pt x="112" y="144"/>
                </a:cubicBezTo>
                <a:cubicBezTo>
                  <a:pt x="113" y="145"/>
                  <a:pt x="113" y="145"/>
                  <a:pt x="113" y="145"/>
                </a:cubicBezTo>
                <a:cubicBezTo>
                  <a:pt x="112" y="146"/>
                  <a:pt x="112" y="146"/>
                  <a:pt x="112" y="146"/>
                </a:cubicBezTo>
                <a:cubicBezTo>
                  <a:pt x="111" y="147"/>
                  <a:pt x="111" y="147"/>
                  <a:pt x="111" y="147"/>
                </a:cubicBezTo>
                <a:cubicBezTo>
                  <a:pt x="110" y="147"/>
                  <a:pt x="110" y="147"/>
                  <a:pt x="110" y="147"/>
                </a:cubicBezTo>
                <a:cubicBezTo>
                  <a:pt x="109" y="146"/>
                  <a:pt x="109" y="146"/>
                  <a:pt x="109" y="146"/>
                </a:cubicBezTo>
                <a:cubicBezTo>
                  <a:pt x="109" y="145"/>
                  <a:pt x="109" y="145"/>
                  <a:pt x="109" y="145"/>
                </a:cubicBezTo>
                <a:cubicBezTo>
                  <a:pt x="109" y="145"/>
                  <a:pt x="109" y="145"/>
                  <a:pt x="109" y="145"/>
                </a:cubicBezTo>
                <a:cubicBezTo>
                  <a:pt x="108" y="147"/>
                  <a:pt x="108" y="147"/>
                  <a:pt x="108" y="147"/>
                </a:cubicBezTo>
                <a:cubicBezTo>
                  <a:pt x="108" y="148"/>
                  <a:pt x="108" y="148"/>
                  <a:pt x="108" y="148"/>
                </a:cubicBezTo>
                <a:cubicBezTo>
                  <a:pt x="110" y="149"/>
                  <a:pt x="110" y="149"/>
                  <a:pt x="110" y="149"/>
                </a:cubicBezTo>
                <a:cubicBezTo>
                  <a:pt x="110" y="149"/>
                  <a:pt x="110" y="149"/>
                  <a:pt x="110" y="149"/>
                </a:cubicBezTo>
                <a:cubicBezTo>
                  <a:pt x="111" y="149"/>
                  <a:pt x="111" y="149"/>
                  <a:pt x="111" y="149"/>
                </a:cubicBezTo>
                <a:cubicBezTo>
                  <a:pt x="111" y="150"/>
                  <a:pt x="111" y="150"/>
                  <a:pt x="111" y="150"/>
                </a:cubicBezTo>
                <a:cubicBezTo>
                  <a:pt x="110" y="151"/>
                  <a:pt x="110" y="151"/>
                  <a:pt x="110" y="151"/>
                </a:cubicBezTo>
                <a:cubicBezTo>
                  <a:pt x="110" y="152"/>
                  <a:pt x="110" y="152"/>
                  <a:pt x="110" y="152"/>
                </a:cubicBezTo>
                <a:cubicBezTo>
                  <a:pt x="111" y="152"/>
                  <a:pt x="111" y="152"/>
                  <a:pt x="111" y="152"/>
                </a:cubicBezTo>
                <a:cubicBezTo>
                  <a:pt x="112" y="151"/>
                  <a:pt x="112" y="151"/>
                  <a:pt x="112" y="151"/>
                </a:cubicBezTo>
                <a:cubicBezTo>
                  <a:pt x="112" y="151"/>
                  <a:pt x="112" y="151"/>
                  <a:pt x="112" y="151"/>
                </a:cubicBezTo>
                <a:cubicBezTo>
                  <a:pt x="113" y="152"/>
                  <a:pt x="113" y="152"/>
                  <a:pt x="113" y="152"/>
                </a:cubicBezTo>
                <a:cubicBezTo>
                  <a:pt x="114" y="152"/>
                  <a:pt x="114" y="152"/>
                  <a:pt x="114" y="152"/>
                </a:cubicBezTo>
                <a:cubicBezTo>
                  <a:pt x="115" y="151"/>
                  <a:pt x="115" y="151"/>
                  <a:pt x="115" y="151"/>
                </a:cubicBezTo>
                <a:cubicBezTo>
                  <a:pt x="115" y="151"/>
                  <a:pt x="115" y="151"/>
                  <a:pt x="115" y="151"/>
                </a:cubicBezTo>
                <a:cubicBezTo>
                  <a:pt x="115" y="152"/>
                  <a:pt x="115" y="152"/>
                  <a:pt x="115" y="152"/>
                </a:cubicBezTo>
                <a:cubicBezTo>
                  <a:pt x="114" y="153"/>
                  <a:pt x="114" y="153"/>
                  <a:pt x="114" y="153"/>
                </a:cubicBezTo>
                <a:cubicBezTo>
                  <a:pt x="112" y="152"/>
                  <a:pt x="112" y="152"/>
                  <a:pt x="112" y="152"/>
                </a:cubicBezTo>
                <a:cubicBezTo>
                  <a:pt x="112" y="153"/>
                  <a:pt x="112" y="153"/>
                  <a:pt x="112" y="153"/>
                </a:cubicBezTo>
                <a:cubicBezTo>
                  <a:pt x="111" y="153"/>
                  <a:pt x="111" y="153"/>
                  <a:pt x="111" y="153"/>
                </a:cubicBezTo>
                <a:cubicBezTo>
                  <a:pt x="111" y="154"/>
                  <a:pt x="111" y="154"/>
                  <a:pt x="111" y="154"/>
                </a:cubicBezTo>
                <a:cubicBezTo>
                  <a:pt x="111" y="155"/>
                  <a:pt x="111" y="155"/>
                  <a:pt x="111" y="155"/>
                </a:cubicBezTo>
                <a:cubicBezTo>
                  <a:pt x="112" y="156"/>
                  <a:pt x="112" y="156"/>
                  <a:pt x="112" y="156"/>
                </a:cubicBezTo>
                <a:cubicBezTo>
                  <a:pt x="113" y="156"/>
                  <a:pt x="113" y="156"/>
                  <a:pt x="113" y="156"/>
                </a:cubicBezTo>
                <a:cubicBezTo>
                  <a:pt x="114" y="155"/>
                  <a:pt x="114" y="155"/>
                  <a:pt x="114" y="155"/>
                </a:cubicBezTo>
                <a:cubicBezTo>
                  <a:pt x="114" y="156"/>
                  <a:pt x="114" y="156"/>
                  <a:pt x="114" y="156"/>
                </a:cubicBezTo>
                <a:cubicBezTo>
                  <a:pt x="114" y="156"/>
                  <a:pt x="114" y="156"/>
                  <a:pt x="114" y="156"/>
                </a:cubicBezTo>
                <a:cubicBezTo>
                  <a:pt x="112" y="157"/>
                  <a:pt x="112" y="157"/>
                  <a:pt x="112" y="157"/>
                </a:cubicBezTo>
                <a:cubicBezTo>
                  <a:pt x="111" y="157"/>
                  <a:pt x="111" y="157"/>
                  <a:pt x="111" y="157"/>
                </a:cubicBezTo>
                <a:cubicBezTo>
                  <a:pt x="110" y="157"/>
                  <a:pt x="110" y="157"/>
                  <a:pt x="110" y="157"/>
                </a:cubicBezTo>
                <a:cubicBezTo>
                  <a:pt x="110" y="158"/>
                  <a:pt x="110" y="158"/>
                  <a:pt x="110" y="158"/>
                </a:cubicBezTo>
                <a:cubicBezTo>
                  <a:pt x="111" y="158"/>
                  <a:pt x="111" y="158"/>
                  <a:pt x="111" y="158"/>
                </a:cubicBezTo>
                <a:cubicBezTo>
                  <a:pt x="112" y="158"/>
                  <a:pt x="112" y="158"/>
                  <a:pt x="112" y="158"/>
                </a:cubicBezTo>
                <a:cubicBezTo>
                  <a:pt x="113" y="158"/>
                  <a:pt x="113" y="158"/>
                  <a:pt x="113" y="158"/>
                </a:cubicBezTo>
                <a:cubicBezTo>
                  <a:pt x="113" y="159"/>
                  <a:pt x="113" y="159"/>
                  <a:pt x="113" y="159"/>
                </a:cubicBezTo>
                <a:cubicBezTo>
                  <a:pt x="112" y="159"/>
                  <a:pt x="112" y="159"/>
                  <a:pt x="112" y="159"/>
                </a:cubicBezTo>
                <a:cubicBezTo>
                  <a:pt x="111" y="159"/>
                  <a:pt x="111" y="159"/>
                  <a:pt x="111" y="159"/>
                </a:cubicBezTo>
                <a:cubicBezTo>
                  <a:pt x="111" y="160"/>
                  <a:pt x="111" y="160"/>
                  <a:pt x="111" y="160"/>
                </a:cubicBezTo>
                <a:cubicBezTo>
                  <a:pt x="111" y="160"/>
                  <a:pt x="111" y="160"/>
                  <a:pt x="111" y="160"/>
                </a:cubicBezTo>
                <a:cubicBezTo>
                  <a:pt x="113" y="160"/>
                  <a:pt x="113" y="160"/>
                  <a:pt x="113" y="160"/>
                </a:cubicBezTo>
                <a:cubicBezTo>
                  <a:pt x="115" y="162"/>
                  <a:pt x="115" y="162"/>
                  <a:pt x="115" y="162"/>
                </a:cubicBezTo>
                <a:cubicBezTo>
                  <a:pt x="116" y="162"/>
                  <a:pt x="116" y="162"/>
                  <a:pt x="116" y="162"/>
                </a:cubicBezTo>
                <a:cubicBezTo>
                  <a:pt x="116" y="162"/>
                  <a:pt x="116" y="162"/>
                  <a:pt x="116" y="162"/>
                </a:cubicBezTo>
                <a:cubicBezTo>
                  <a:pt x="116" y="163"/>
                  <a:pt x="116" y="163"/>
                  <a:pt x="116" y="163"/>
                </a:cubicBezTo>
                <a:cubicBezTo>
                  <a:pt x="115" y="162"/>
                  <a:pt x="115" y="162"/>
                  <a:pt x="115" y="162"/>
                </a:cubicBezTo>
                <a:cubicBezTo>
                  <a:pt x="114" y="162"/>
                  <a:pt x="114" y="162"/>
                  <a:pt x="114" y="162"/>
                </a:cubicBezTo>
                <a:cubicBezTo>
                  <a:pt x="113" y="162"/>
                  <a:pt x="113" y="162"/>
                  <a:pt x="113" y="162"/>
                </a:cubicBezTo>
                <a:cubicBezTo>
                  <a:pt x="112" y="161"/>
                  <a:pt x="112" y="161"/>
                  <a:pt x="112" y="161"/>
                </a:cubicBezTo>
                <a:cubicBezTo>
                  <a:pt x="111" y="161"/>
                  <a:pt x="111" y="161"/>
                  <a:pt x="111" y="161"/>
                </a:cubicBezTo>
                <a:cubicBezTo>
                  <a:pt x="110" y="162"/>
                  <a:pt x="110" y="162"/>
                  <a:pt x="110" y="162"/>
                </a:cubicBezTo>
                <a:cubicBezTo>
                  <a:pt x="110" y="162"/>
                  <a:pt x="110" y="162"/>
                  <a:pt x="110" y="162"/>
                </a:cubicBezTo>
                <a:cubicBezTo>
                  <a:pt x="109" y="163"/>
                  <a:pt x="109" y="163"/>
                  <a:pt x="109" y="163"/>
                </a:cubicBezTo>
                <a:cubicBezTo>
                  <a:pt x="109" y="164"/>
                  <a:pt x="109" y="164"/>
                  <a:pt x="109" y="164"/>
                </a:cubicBezTo>
                <a:cubicBezTo>
                  <a:pt x="110" y="164"/>
                  <a:pt x="110" y="164"/>
                  <a:pt x="110" y="164"/>
                </a:cubicBezTo>
                <a:cubicBezTo>
                  <a:pt x="109" y="165"/>
                  <a:pt x="109" y="165"/>
                  <a:pt x="109" y="165"/>
                </a:cubicBezTo>
                <a:cubicBezTo>
                  <a:pt x="109" y="165"/>
                  <a:pt x="109" y="165"/>
                  <a:pt x="109" y="165"/>
                </a:cubicBezTo>
                <a:cubicBezTo>
                  <a:pt x="108" y="165"/>
                  <a:pt x="108" y="165"/>
                  <a:pt x="108" y="165"/>
                </a:cubicBezTo>
                <a:cubicBezTo>
                  <a:pt x="108" y="166"/>
                  <a:pt x="108" y="166"/>
                  <a:pt x="108" y="166"/>
                </a:cubicBezTo>
                <a:cubicBezTo>
                  <a:pt x="107" y="167"/>
                  <a:pt x="107" y="167"/>
                  <a:pt x="107" y="167"/>
                </a:cubicBezTo>
                <a:cubicBezTo>
                  <a:pt x="107" y="167"/>
                  <a:pt x="107" y="167"/>
                  <a:pt x="107" y="167"/>
                </a:cubicBezTo>
                <a:cubicBezTo>
                  <a:pt x="107" y="168"/>
                  <a:pt x="107" y="168"/>
                  <a:pt x="107" y="168"/>
                </a:cubicBezTo>
                <a:cubicBezTo>
                  <a:pt x="106" y="168"/>
                  <a:pt x="106" y="168"/>
                  <a:pt x="106" y="168"/>
                </a:cubicBezTo>
                <a:cubicBezTo>
                  <a:pt x="106" y="168"/>
                  <a:pt x="106" y="168"/>
                  <a:pt x="106" y="168"/>
                </a:cubicBezTo>
                <a:cubicBezTo>
                  <a:pt x="107" y="170"/>
                  <a:pt x="107" y="170"/>
                  <a:pt x="107" y="170"/>
                </a:cubicBezTo>
                <a:cubicBezTo>
                  <a:pt x="108" y="170"/>
                  <a:pt x="108" y="170"/>
                  <a:pt x="108" y="170"/>
                </a:cubicBezTo>
                <a:cubicBezTo>
                  <a:pt x="109" y="170"/>
                  <a:pt x="109" y="170"/>
                  <a:pt x="109" y="170"/>
                </a:cubicBezTo>
                <a:cubicBezTo>
                  <a:pt x="109" y="169"/>
                  <a:pt x="109" y="169"/>
                  <a:pt x="109" y="169"/>
                </a:cubicBezTo>
                <a:cubicBezTo>
                  <a:pt x="110" y="169"/>
                  <a:pt x="110" y="169"/>
                  <a:pt x="110" y="169"/>
                </a:cubicBezTo>
                <a:cubicBezTo>
                  <a:pt x="112" y="167"/>
                  <a:pt x="112" y="167"/>
                  <a:pt x="112" y="167"/>
                </a:cubicBezTo>
                <a:cubicBezTo>
                  <a:pt x="113" y="167"/>
                  <a:pt x="113" y="167"/>
                  <a:pt x="113" y="167"/>
                </a:cubicBezTo>
                <a:cubicBezTo>
                  <a:pt x="114" y="167"/>
                  <a:pt x="114" y="167"/>
                  <a:pt x="114" y="167"/>
                </a:cubicBezTo>
                <a:cubicBezTo>
                  <a:pt x="115" y="168"/>
                  <a:pt x="115" y="168"/>
                  <a:pt x="115" y="168"/>
                </a:cubicBezTo>
                <a:cubicBezTo>
                  <a:pt x="115" y="168"/>
                  <a:pt x="115" y="168"/>
                  <a:pt x="115" y="168"/>
                </a:cubicBezTo>
                <a:cubicBezTo>
                  <a:pt x="114" y="168"/>
                  <a:pt x="114" y="168"/>
                  <a:pt x="114" y="168"/>
                </a:cubicBezTo>
                <a:cubicBezTo>
                  <a:pt x="113" y="168"/>
                  <a:pt x="113" y="168"/>
                  <a:pt x="113" y="168"/>
                </a:cubicBezTo>
                <a:cubicBezTo>
                  <a:pt x="113" y="168"/>
                  <a:pt x="113" y="168"/>
                  <a:pt x="113" y="168"/>
                </a:cubicBezTo>
                <a:cubicBezTo>
                  <a:pt x="112" y="168"/>
                  <a:pt x="112" y="168"/>
                  <a:pt x="112" y="168"/>
                </a:cubicBezTo>
                <a:cubicBezTo>
                  <a:pt x="111" y="169"/>
                  <a:pt x="111" y="169"/>
                  <a:pt x="111" y="169"/>
                </a:cubicBezTo>
                <a:cubicBezTo>
                  <a:pt x="110" y="170"/>
                  <a:pt x="110" y="170"/>
                  <a:pt x="110" y="170"/>
                </a:cubicBezTo>
                <a:cubicBezTo>
                  <a:pt x="110" y="172"/>
                  <a:pt x="110" y="172"/>
                  <a:pt x="110" y="172"/>
                </a:cubicBezTo>
                <a:cubicBezTo>
                  <a:pt x="110" y="173"/>
                  <a:pt x="110" y="173"/>
                  <a:pt x="110" y="173"/>
                </a:cubicBezTo>
                <a:cubicBezTo>
                  <a:pt x="110" y="173"/>
                  <a:pt x="110" y="173"/>
                  <a:pt x="110" y="173"/>
                </a:cubicBezTo>
                <a:cubicBezTo>
                  <a:pt x="110" y="173"/>
                  <a:pt x="110" y="174"/>
                  <a:pt x="110" y="174"/>
                </a:cubicBezTo>
                <a:close/>
                <a:moveTo>
                  <a:pt x="115" y="208"/>
                </a:moveTo>
                <a:cubicBezTo>
                  <a:pt x="116" y="208"/>
                  <a:pt x="116" y="208"/>
                  <a:pt x="116" y="208"/>
                </a:cubicBezTo>
                <a:cubicBezTo>
                  <a:pt x="116" y="207"/>
                  <a:pt x="116" y="207"/>
                  <a:pt x="116" y="207"/>
                </a:cubicBezTo>
                <a:cubicBezTo>
                  <a:pt x="115" y="206"/>
                  <a:pt x="115" y="206"/>
                  <a:pt x="115" y="206"/>
                </a:cubicBezTo>
                <a:cubicBezTo>
                  <a:pt x="116" y="205"/>
                  <a:pt x="116" y="205"/>
                  <a:pt x="116" y="205"/>
                </a:cubicBezTo>
                <a:cubicBezTo>
                  <a:pt x="116" y="204"/>
                  <a:pt x="116" y="204"/>
                  <a:pt x="116" y="204"/>
                </a:cubicBezTo>
                <a:cubicBezTo>
                  <a:pt x="114" y="204"/>
                  <a:pt x="114" y="204"/>
                  <a:pt x="114" y="204"/>
                </a:cubicBezTo>
                <a:cubicBezTo>
                  <a:pt x="114" y="203"/>
                  <a:pt x="114" y="203"/>
                  <a:pt x="114" y="203"/>
                </a:cubicBezTo>
                <a:cubicBezTo>
                  <a:pt x="113" y="203"/>
                  <a:pt x="113" y="203"/>
                  <a:pt x="113" y="203"/>
                </a:cubicBezTo>
                <a:cubicBezTo>
                  <a:pt x="112" y="203"/>
                  <a:pt x="112" y="203"/>
                  <a:pt x="112" y="203"/>
                </a:cubicBezTo>
                <a:cubicBezTo>
                  <a:pt x="111" y="204"/>
                  <a:pt x="111" y="204"/>
                  <a:pt x="111" y="204"/>
                </a:cubicBezTo>
                <a:cubicBezTo>
                  <a:pt x="111" y="204"/>
                  <a:pt x="111" y="204"/>
                  <a:pt x="111" y="204"/>
                </a:cubicBezTo>
                <a:cubicBezTo>
                  <a:pt x="112" y="205"/>
                  <a:pt x="112" y="205"/>
                  <a:pt x="112" y="205"/>
                </a:cubicBezTo>
                <a:cubicBezTo>
                  <a:pt x="112" y="205"/>
                  <a:pt x="112" y="205"/>
                  <a:pt x="112" y="205"/>
                </a:cubicBezTo>
                <a:cubicBezTo>
                  <a:pt x="113" y="205"/>
                  <a:pt x="113" y="205"/>
                  <a:pt x="113" y="205"/>
                </a:cubicBezTo>
                <a:cubicBezTo>
                  <a:pt x="113" y="206"/>
                  <a:pt x="113" y="206"/>
                  <a:pt x="113" y="206"/>
                </a:cubicBezTo>
                <a:cubicBezTo>
                  <a:pt x="114" y="206"/>
                  <a:pt x="114" y="206"/>
                  <a:pt x="114" y="206"/>
                </a:cubicBezTo>
                <a:cubicBezTo>
                  <a:pt x="115" y="208"/>
                  <a:pt x="115" y="208"/>
                  <a:pt x="115" y="208"/>
                </a:cubicBezTo>
                <a:close/>
                <a:moveTo>
                  <a:pt x="138" y="208"/>
                </a:moveTo>
                <a:cubicBezTo>
                  <a:pt x="137" y="207"/>
                  <a:pt x="137" y="207"/>
                  <a:pt x="137" y="207"/>
                </a:cubicBezTo>
                <a:cubicBezTo>
                  <a:pt x="136" y="207"/>
                  <a:pt x="136" y="207"/>
                  <a:pt x="136" y="207"/>
                </a:cubicBezTo>
                <a:cubicBezTo>
                  <a:pt x="135" y="207"/>
                  <a:pt x="135" y="207"/>
                  <a:pt x="135" y="207"/>
                </a:cubicBezTo>
                <a:cubicBezTo>
                  <a:pt x="134" y="205"/>
                  <a:pt x="134" y="205"/>
                  <a:pt x="134" y="205"/>
                </a:cubicBezTo>
                <a:cubicBezTo>
                  <a:pt x="133" y="205"/>
                  <a:pt x="133" y="205"/>
                  <a:pt x="133" y="205"/>
                </a:cubicBezTo>
                <a:cubicBezTo>
                  <a:pt x="131" y="203"/>
                  <a:pt x="131" y="203"/>
                  <a:pt x="131" y="203"/>
                </a:cubicBezTo>
                <a:cubicBezTo>
                  <a:pt x="130" y="202"/>
                  <a:pt x="130" y="202"/>
                  <a:pt x="130" y="202"/>
                </a:cubicBezTo>
                <a:cubicBezTo>
                  <a:pt x="128" y="202"/>
                  <a:pt x="128" y="202"/>
                  <a:pt x="128" y="202"/>
                </a:cubicBezTo>
                <a:cubicBezTo>
                  <a:pt x="127" y="199"/>
                  <a:pt x="127" y="199"/>
                  <a:pt x="127" y="199"/>
                </a:cubicBezTo>
                <a:cubicBezTo>
                  <a:pt x="125" y="197"/>
                  <a:pt x="125" y="197"/>
                  <a:pt x="125" y="197"/>
                </a:cubicBezTo>
                <a:cubicBezTo>
                  <a:pt x="124" y="194"/>
                  <a:pt x="124" y="194"/>
                  <a:pt x="124" y="194"/>
                </a:cubicBezTo>
                <a:cubicBezTo>
                  <a:pt x="123" y="192"/>
                  <a:pt x="123" y="192"/>
                  <a:pt x="123" y="192"/>
                </a:cubicBezTo>
                <a:cubicBezTo>
                  <a:pt x="123" y="189"/>
                  <a:pt x="123" y="189"/>
                  <a:pt x="123" y="189"/>
                </a:cubicBezTo>
                <a:cubicBezTo>
                  <a:pt x="122" y="187"/>
                  <a:pt x="122" y="187"/>
                  <a:pt x="122" y="187"/>
                </a:cubicBezTo>
                <a:cubicBezTo>
                  <a:pt x="121" y="184"/>
                  <a:pt x="121" y="184"/>
                  <a:pt x="121" y="184"/>
                </a:cubicBezTo>
                <a:cubicBezTo>
                  <a:pt x="121" y="183"/>
                  <a:pt x="121" y="183"/>
                  <a:pt x="121" y="183"/>
                </a:cubicBezTo>
                <a:cubicBezTo>
                  <a:pt x="122" y="182"/>
                  <a:pt x="122" y="182"/>
                  <a:pt x="122" y="182"/>
                </a:cubicBezTo>
                <a:cubicBezTo>
                  <a:pt x="121" y="181"/>
                  <a:pt x="121" y="181"/>
                  <a:pt x="121" y="181"/>
                </a:cubicBezTo>
                <a:cubicBezTo>
                  <a:pt x="120" y="181"/>
                  <a:pt x="120" y="181"/>
                  <a:pt x="120" y="181"/>
                </a:cubicBezTo>
                <a:cubicBezTo>
                  <a:pt x="119" y="181"/>
                  <a:pt x="119" y="181"/>
                  <a:pt x="119" y="181"/>
                </a:cubicBezTo>
                <a:cubicBezTo>
                  <a:pt x="119" y="181"/>
                  <a:pt x="119" y="181"/>
                  <a:pt x="119" y="181"/>
                </a:cubicBezTo>
                <a:cubicBezTo>
                  <a:pt x="119" y="180"/>
                  <a:pt x="119" y="180"/>
                  <a:pt x="119" y="180"/>
                </a:cubicBezTo>
                <a:cubicBezTo>
                  <a:pt x="121" y="180"/>
                  <a:pt x="121" y="180"/>
                  <a:pt x="121" y="180"/>
                </a:cubicBezTo>
                <a:cubicBezTo>
                  <a:pt x="122" y="180"/>
                  <a:pt x="122" y="180"/>
                  <a:pt x="122" y="180"/>
                </a:cubicBezTo>
                <a:cubicBezTo>
                  <a:pt x="122" y="177"/>
                  <a:pt x="122" y="177"/>
                  <a:pt x="122" y="177"/>
                </a:cubicBezTo>
                <a:cubicBezTo>
                  <a:pt x="122" y="176"/>
                  <a:pt x="122" y="176"/>
                  <a:pt x="122" y="176"/>
                </a:cubicBezTo>
                <a:cubicBezTo>
                  <a:pt x="121" y="176"/>
                  <a:pt x="121" y="176"/>
                  <a:pt x="121" y="176"/>
                </a:cubicBezTo>
                <a:cubicBezTo>
                  <a:pt x="120" y="177"/>
                  <a:pt x="120" y="177"/>
                  <a:pt x="120" y="177"/>
                </a:cubicBezTo>
                <a:cubicBezTo>
                  <a:pt x="120" y="176"/>
                  <a:pt x="120" y="176"/>
                  <a:pt x="120" y="176"/>
                </a:cubicBezTo>
                <a:cubicBezTo>
                  <a:pt x="122" y="175"/>
                  <a:pt x="122" y="175"/>
                  <a:pt x="122" y="175"/>
                </a:cubicBezTo>
                <a:cubicBezTo>
                  <a:pt x="122" y="175"/>
                  <a:pt x="122" y="175"/>
                  <a:pt x="122" y="175"/>
                </a:cubicBezTo>
                <a:cubicBezTo>
                  <a:pt x="122" y="174"/>
                  <a:pt x="122" y="174"/>
                  <a:pt x="122" y="174"/>
                </a:cubicBezTo>
                <a:cubicBezTo>
                  <a:pt x="119" y="174"/>
                  <a:pt x="119" y="174"/>
                  <a:pt x="119" y="174"/>
                </a:cubicBezTo>
                <a:cubicBezTo>
                  <a:pt x="116" y="174"/>
                  <a:pt x="116" y="174"/>
                  <a:pt x="116" y="174"/>
                </a:cubicBezTo>
                <a:cubicBezTo>
                  <a:pt x="115" y="173"/>
                  <a:pt x="115" y="173"/>
                  <a:pt x="115" y="173"/>
                </a:cubicBezTo>
                <a:cubicBezTo>
                  <a:pt x="114" y="173"/>
                  <a:pt x="114" y="173"/>
                  <a:pt x="114" y="173"/>
                </a:cubicBezTo>
                <a:cubicBezTo>
                  <a:pt x="112" y="174"/>
                  <a:pt x="112" y="174"/>
                  <a:pt x="112" y="174"/>
                </a:cubicBezTo>
                <a:cubicBezTo>
                  <a:pt x="110" y="174"/>
                  <a:pt x="110" y="174"/>
                  <a:pt x="110" y="174"/>
                </a:cubicBezTo>
                <a:cubicBezTo>
                  <a:pt x="109" y="175"/>
                  <a:pt x="109" y="175"/>
                  <a:pt x="109" y="175"/>
                </a:cubicBezTo>
                <a:cubicBezTo>
                  <a:pt x="107" y="176"/>
                  <a:pt x="107" y="176"/>
                  <a:pt x="107" y="176"/>
                </a:cubicBezTo>
                <a:cubicBezTo>
                  <a:pt x="107" y="178"/>
                  <a:pt x="107" y="178"/>
                  <a:pt x="107" y="178"/>
                </a:cubicBezTo>
                <a:cubicBezTo>
                  <a:pt x="107" y="178"/>
                  <a:pt x="107" y="178"/>
                  <a:pt x="107" y="178"/>
                </a:cubicBezTo>
                <a:cubicBezTo>
                  <a:pt x="107" y="180"/>
                  <a:pt x="107" y="180"/>
                  <a:pt x="107" y="180"/>
                </a:cubicBezTo>
                <a:cubicBezTo>
                  <a:pt x="108" y="180"/>
                  <a:pt x="108" y="180"/>
                  <a:pt x="108" y="180"/>
                </a:cubicBezTo>
                <a:cubicBezTo>
                  <a:pt x="109" y="180"/>
                  <a:pt x="109" y="180"/>
                  <a:pt x="109" y="180"/>
                </a:cubicBezTo>
                <a:cubicBezTo>
                  <a:pt x="108" y="181"/>
                  <a:pt x="108" y="181"/>
                  <a:pt x="108" y="181"/>
                </a:cubicBezTo>
                <a:cubicBezTo>
                  <a:pt x="107" y="181"/>
                  <a:pt x="107" y="181"/>
                  <a:pt x="107" y="181"/>
                </a:cubicBezTo>
                <a:cubicBezTo>
                  <a:pt x="106" y="181"/>
                  <a:pt x="106" y="181"/>
                  <a:pt x="106" y="181"/>
                </a:cubicBezTo>
                <a:cubicBezTo>
                  <a:pt x="105" y="183"/>
                  <a:pt x="105" y="183"/>
                  <a:pt x="105" y="183"/>
                </a:cubicBezTo>
                <a:cubicBezTo>
                  <a:pt x="105" y="184"/>
                  <a:pt x="105" y="184"/>
                  <a:pt x="105" y="184"/>
                </a:cubicBezTo>
                <a:cubicBezTo>
                  <a:pt x="105" y="185"/>
                  <a:pt x="105" y="185"/>
                  <a:pt x="105" y="185"/>
                </a:cubicBezTo>
                <a:cubicBezTo>
                  <a:pt x="106" y="185"/>
                  <a:pt x="106" y="185"/>
                  <a:pt x="106" y="185"/>
                </a:cubicBezTo>
                <a:cubicBezTo>
                  <a:pt x="108" y="184"/>
                  <a:pt x="108" y="184"/>
                  <a:pt x="108" y="184"/>
                </a:cubicBezTo>
                <a:cubicBezTo>
                  <a:pt x="108" y="184"/>
                  <a:pt x="108" y="184"/>
                  <a:pt x="108" y="184"/>
                </a:cubicBezTo>
                <a:cubicBezTo>
                  <a:pt x="107" y="185"/>
                  <a:pt x="107" y="185"/>
                  <a:pt x="107" y="185"/>
                </a:cubicBezTo>
                <a:cubicBezTo>
                  <a:pt x="107" y="187"/>
                  <a:pt x="107" y="187"/>
                  <a:pt x="107" y="187"/>
                </a:cubicBezTo>
                <a:cubicBezTo>
                  <a:pt x="108" y="187"/>
                  <a:pt x="108" y="187"/>
                  <a:pt x="108" y="187"/>
                </a:cubicBezTo>
                <a:cubicBezTo>
                  <a:pt x="108" y="186"/>
                  <a:pt x="108" y="186"/>
                  <a:pt x="108" y="186"/>
                </a:cubicBezTo>
                <a:cubicBezTo>
                  <a:pt x="109" y="185"/>
                  <a:pt x="109" y="185"/>
                  <a:pt x="109" y="185"/>
                </a:cubicBezTo>
                <a:cubicBezTo>
                  <a:pt x="110" y="186"/>
                  <a:pt x="110" y="186"/>
                  <a:pt x="110" y="186"/>
                </a:cubicBezTo>
                <a:cubicBezTo>
                  <a:pt x="109" y="187"/>
                  <a:pt x="109" y="187"/>
                  <a:pt x="109" y="187"/>
                </a:cubicBezTo>
                <a:cubicBezTo>
                  <a:pt x="108" y="188"/>
                  <a:pt x="108" y="188"/>
                  <a:pt x="108" y="188"/>
                </a:cubicBezTo>
                <a:cubicBezTo>
                  <a:pt x="109" y="189"/>
                  <a:pt x="109" y="189"/>
                  <a:pt x="109" y="189"/>
                </a:cubicBezTo>
                <a:cubicBezTo>
                  <a:pt x="110" y="189"/>
                  <a:pt x="110" y="189"/>
                  <a:pt x="110" y="189"/>
                </a:cubicBezTo>
                <a:cubicBezTo>
                  <a:pt x="110" y="189"/>
                  <a:pt x="110" y="189"/>
                  <a:pt x="110" y="189"/>
                </a:cubicBezTo>
                <a:cubicBezTo>
                  <a:pt x="109" y="189"/>
                  <a:pt x="109" y="189"/>
                  <a:pt x="109" y="189"/>
                </a:cubicBezTo>
                <a:cubicBezTo>
                  <a:pt x="108" y="190"/>
                  <a:pt x="108" y="190"/>
                  <a:pt x="108" y="190"/>
                </a:cubicBezTo>
                <a:cubicBezTo>
                  <a:pt x="108" y="191"/>
                  <a:pt x="108" y="191"/>
                  <a:pt x="108" y="191"/>
                </a:cubicBezTo>
                <a:cubicBezTo>
                  <a:pt x="109" y="192"/>
                  <a:pt x="109" y="192"/>
                  <a:pt x="109" y="192"/>
                </a:cubicBezTo>
                <a:cubicBezTo>
                  <a:pt x="108" y="192"/>
                  <a:pt x="108" y="192"/>
                  <a:pt x="108" y="192"/>
                </a:cubicBezTo>
                <a:cubicBezTo>
                  <a:pt x="108" y="192"/>
                  <a:pt x="108" y="192"/>
                  <a:pt x="108" y="192"/>
                </a:cubicBezTo>
                <a:cubicBezTo>
                  <a:pt x="107" y="192"/>
                  <a:pt x="107" y="192"/>
                  <a:pt x="107" y="192"/>
                </a:cubicBezTo>
                <a:cubicBezTo>
                  <a:pt x="106" y="192"/>
                  <a:pt x="106" y="192"/>
                  <a:pt x="106" y="192"/>
                </a:cubicBezTo>
                <a:cubicBezTo>
                  <a:pt x="105" y="192"/>
                  <a:pt x="105" y="192"/>
                  <a:pt x="105" y="192"/>
                </a:cubicBezTo>
                <a:cubicBezTo>
                  <a:pt x="104" y="193"/>
                  <a:pt x="104" y="193"/>
                  <a:pt x="104" y="193"/>
                </a:cubicBezTo>
                <a:cubicBezTo>
                  <a:pt x="104" y="195"/>
                  <a:pt x="104" y="195"/>
                  <a:pt x="104" y="195"/>
                </a:cubicBezTo>
                <a:cubicBezTo>
                  <a:pt x="104" y="196"/>
                  <a:pt x="104" y="196"/>
                  <a:pt x="104" y="196"/>
                </a:cubicBezTo>
                <a:cubicBezTo>
                  <a:pt x="104" y="198"/>
                  <a:pt x="104" y="198"/>
                  <a:pt x="104" y="198"/>
                </a:cubicBezTo>
                <a:cubicBezTo>
                  <a:pt x="104" y="199"/>
                  <a:pt x="104" y="199"/>
                  <a:pt x="104" y="199"/>
                </a:cubicBezTo>
                <a:cubicBezTo>
                  <a:pt x="106" y="200"/>
                  <a:pt x="106" y="200"/>
                  <a:pt x="106" y="200"/>
                </a:cubicBezTo>
                <a:cubicBezTo>
                  <a:pt x="106" y="201"/>
                  <a:pt x="106" y="201"/>
                  <a:pt x="106" y="201"/>
                </a:cubicBezTo>
                <a:cubicBezTo>
                  <a:pt x="108" y="202"/>
                  <a:pt x="108" y="202"/>
                  <a:pt x="108" y="202"/>
                </a:cubicBezTo>
                <a:cubicBezTo>
                  <a:pt x="109" y="203"/>
                  <a:pt x="109" y="203"/>
                  <a:pt x="109" y="203"/>
                </a:cubicBezTo>
                <a:cubicBezTo>
                  <a:pt x="109" y="202"/>
                  <a:pt x="109" y="202"/>
                  <a:pt x="109" y="202"/>
                </a:cubicBezTo>
                <a:cubicBezTo>
                  <a:pt x="110" y="202"/>
                  <a:pt x="110" y="202"/>
                  <a:pt x="110" y="202"/>
                </a:cubicBezTo>
                <a:cubicBezTo>
                  <a:pt x="111" y="201"/>
                  <a:pt x="111" y="201"/>
                  <a:pt x="111" y="201"/>
                </a:cubicBezTo>
                <a:cubicBezTo>
                  <a:pt x="111" y="199"/>
                  <a:pt x="111" y="199"/>
                  <a:pt x="111" y="199"/>
                </a:cubicBezTo>
                <a:cubicBezTo>
                  <a:pt x="111" y="198"/>
                  <a:pt x="111" y="198"/>
                  <a:pt x="111" y="198"/>
                </a:cubicBezTo>
                <a:cubicBezTo>
                  <a:pt x="112" y="196"/>
                  <a:pt x="112" y="196"/>
                  <a:pt x="112" y="196"/>
                </a:cubicBezTo>
                <a:cubicBezTo>
                  <a:pt x="111" y="198"/>
                  <a:pt x="111" y="198"/>
                  <a:pt x="111" y="198"/>
                </a:cubicBezTo>
                <a:cubicBezTo>
                  <a:pt x="111" y="199"/>
                  <a:pt x="111" y="199"/>
                  <a:pt x="111" y="199"/>
                </a:cubicBezTo>
                <a:cubicBezTo>
                  <a:pt x="112" y="200"/>
                  <a:pt x="112" y="200"/>
                  <a:pt x="112" y="200"/>
                </a:cubicBezTo>
                <a:cubicBezTo>
                  <a:pt x="112" y="201"/>
                  <a:pt x="112" y="201"/>
                  <a:pt x="112" y="201"/>
                </a:cubicBezTo>
                <a:cubicBezTo>
                  <a:pt x="113" y="202"/>
                  <a:pt x="113" y="202"/>
                  <a:pt x="113" y="202"/>
                </a:cubicBezTo>
                <a:cubicBezTo>
                  <a:pt x="114" y="201"/>
                  <a:pt x="114" y="201"/>
                  <a:pt x="114" y="201"/>
                </a:cubicBezTo>
                <a:cubicBezTo>
                  <a:pt x="114" y="200"/>
                  <a:pt x="114" y="200"/>
                  <a:pt x="114" y="200"/>
                </a:cubicBezTo>
                <a:cubicBezTo>
                  <a:pt x="115" y="199"/>
                  <a:pt x="115" y="199"/>
                  <a:pt x="115" y="199"/>
                </a:cubicBezTo>
                <a:cubicBezTo>
                  <a:pt x="115" y="199"/>
                  <a:pt x="115" y="199"/>
                  <a:pt x="115" y="199"/>
                </a:cubicBezTo>
                <a:cubicBezTo>
                  <a:pt x="115" y="200"/>
                  <a:pt x="115" y="200"/>
                  <a:pt x="115" y="200"/>
                </a:cubicBezTo>
                <a:cubicBezTo>
                  <a:pt x="115" y="201"/>
                  <a:pt x="115" y="201"/>
                  <a:pt x="115" y="201"/>
                </a:cubicBezTo>
                <a:cubicBezTo>
                  <a:pt x="116" y="203"/>
                  <a:pt x="116" y="203"/>
                  <a:pt x="116" y="203"/>
                </a:cubicBezTo>
                <a:cubicBezTo>
                  <a:pt x="117" y="204"/>
                  <a:pt x="117" y="204"/>
                  <a:pt x="117" y="204"/>
                </a:cubicBezTo>
                <a:cubicBezTo>
                  <a:pt x="118" y="204"/>
                  <a:pt x="118" y="204"/>
                  <a:pt x="118" y="204"/>
                </a:cubicBezTo>
                <a:cubicBezTo>
                  <a:pt x="119" y="203"/>
                  <a:pt x="119" y="203"/>
                  <a:pt x="119" y="203"/>
                </a:cubicBezTo>
                <a:cubicBezTo>
                  <a:pt x="120" y="204"/>
                  <a:pt x="120" y="204"/>
                  <a:pt x="120" y="204"/>
                </a:cubicBezTo>
                <a:cubicBezTo>
                  <a:pt x="120" y="204"/>
                  <a:pt x="120" y="204"/>
                  <a:pt x="120" y="204"/>
                </a:cubicBezTo>
                <a:cubicBezTo>
                  <a:pt x="119" y="204"/>
                  <a:pt x="119" y="204"/>
                  <a:pt x="119" y="204"/>
                </a:cubicBezTo>
                <a:cubicBezTo>
                  <a:pt x="119" y="205"/>
                  <a:pt x="119" y="205"/>
                  <a:pt x="119" y="205"/>
                </a:cubicBezTo>
                <a:cubicBezTo>
                  <a:pt x="118" y="205"/>
                  <a:pt x="118" y="205"/>
                  <a:pt x="118" y="205"/>
                </a:cubicBezTo>
                <a:cubicBezTo>
                  <a:pt x="117" y="206"/>
                  <a:pt x="117" y="206"/>
                  <a:pt x="117" y="206"/>
                </a:cubicBezTo>
                <a:cubicBezTo>
                  <a:pt x="119" y="207"/>
                  <a:pt x="119" y="207"/>
                  <a:pt x="119" y="207"/>
                </a:cubicBezTo>
                <a:cubicBezTo>
                  <a:pt x="119" y="208"/>
                  <a:pt x="119" y="208"/>
                  <a:pt x="119" y="208"/>
                </a:cubicBezTo>
                <a:cubicBezTo>
                  <a:pt x="118" y="208"/>
                  <a:pt x="118" y="208"/>
                  <a:pt x="118" y="208"/>
                </a:cubicBezTo>
                <a:cubicBezTo>
                  <a:pt x="117" y="208"/>
                  <a:pt x="117" y="208"/>
                  <a:pt x="117" y="208"/>
                </a:cubicBezTo>
                <a:cubicBezTo>
                  <a:pt x="117" y="209"/>
                  <a:pt x="117" y="209"/>
                  <a:pt x="117" y="209"/>
                </a:cubicBezTo>
                <a:cubicBezTo>
                  <a:pt x="118" y="209"/>
                  <a:pt x="118" y="209"/>
                  <a:pt x="118" y="209"/>
                </a:cubicBezTo>
                <a:cubicBezTo>
                  <a:pt x="120" y="209"/>
                  <a:pt x="120" y="209"/>
                  <a:pt x="120" y="209"/>
                </a:cubicBezTo>
                <a:cubicBezTo>
                  <a:pt x="121" y="210"/>
                  <a:pt x="121" y="210"/>
                  <a:pt x="121" y="210"/>
                </a:cubicBezTo>
                <a:cubicBezTo>
                  <a:pt x="122" y="210"/>
                  <a:pt x="122" y="210"/>
                  <a:pt x="122" y="210"/>
                </a:cubicBezTo>
                <a:cubicBezTo>
                  <a:pt x="124" y="210"/>
                  <a:pt x="124" y="210"/>
                  <a:pt x="124" y="210"/>
                </a:cubicBezTo>
                <a:cubicBezTo>
                  <a:pt x="124" y="209"/>
                  <a:pt x="124" y="209"/>
                  <a:pt x="124" y="209"/>
                </a:cubicBezTo>
                <a:cubicBezTo>
                  <a:pt x="125" y="209"/>
                  <a:pt x="125" y="209"/>
                  <a:pt x="125" y="209"/>
                </a:cubicBezTo>
                <a:cubicBezTo>
                  <a:pt x="125" y="210"/>
                  <a:pt x="125" y="210"/>
                  <a:pt x="125" y="210"/>
                </a:cubicBezTo>
                <a:cubicBezTo>
                  <a:pt x="125" y="212"/>
                  <a:pt x="125" y="212"/>
                  <a:pt x="125" y="212"/>
                </a:cubicBezTo>
                <a:cubicBezTo>
                  <a:pt x="126" y="213"/>
                  <a:pt x="126" y="213"/>
                  <a:pt x="126" y="213"/>
                </a:cubicBezTo>
                <a:cubicBezTo>
                  <a:pt x="127" y="213"/>
                  <a:pt x="127" y="213"/>
                  <a:pt x="127" y="213"/>
                </a:cubicBezTo>
                <a:cubicBezTo>
                  <a:pt x="128" y="212"/>
                  <a:pt x="128" y="212"/>
                  <a:pt x="128" y="212"/>
                </a:cubicBezTo>
                <a:cubicBezTo>
                  <a:pt x="128" y="210"/>
                  <a:pt x="128" y="210"/>
                  <a:pt x="128" y="210"/>
                </a:cubicBezTo>
                <a:cubicBezTo>
                  <a:pt x="126" y="210"/>
                  <a:pt x="126" y="210"/>
                  <a:pt x="126" y="210"/>
                </a:cubicBezTo>
                <a:cubicBezTo>
                  <a:pt x="126" y="209"/>
                  <a:pt x="126" y="209"/>
                  <a:pt x="126" y="209"/>
                </a:cubicBezTo>
                <a:cubicBezTo>
                  <a:pt x="126" y="209"/>
                  <a:pt x="126" y="209"/>
                  <a:pt x="126" y="209"/>
                </a:cubicBezTo>
                <a:cubicBezTo>
                  <a:pt x="127" y="209"/>
                  <a:pt x="127" y="209"/>
                  <a:pt x="127" y="209"/>
                </a:cubicBezTo>
                <a:cubicBezTo>
                  <a:pt x="128" y="210"/>
                  <a:pt x="128" y="210"/>
                  <a:pt x="128" y="210"/>
                </a:cubicBezTo>
                <a:cubicBezTo>
                  <a:pt x="129" y="211"/>
                  <a:pt x="129" y="211"/>
                  <a:pt x="129" y="211"/>
                </a:cubicBezTo>
                <a:cubicBezTo>
                  <a:pt x="129" y="212"/>
                  <a:pt x="129" y="212"/>
                  <a:pt x="129" y="212"/>
                </a:cubicBezTo>
                <a:cubicBezTo>
                  <a:pt x="130" y="212"/>
                  <a:pt x="130" y="212"/>
                  <a:pt x="130" y="212"/>
                </a:cubicBezTo>
                <a:cubicBezTo>
                  <a:pt x="130" y="211"/>
                  <a:pt x="130" y="211"/>
                  <a:pt x="130" y="211"/>
                </a:cubicBezTo>
                <a:cubicBezTo>
                  <a:pt x="131" y="211"/>
                  <a:pt x="131" y="211"/>
                  <a:pt x="131" y="211"/>
                </a:cubicBezTo>
                <a:cubicBezTo>
                  <a:pt x="131" y="212"/>
                  <a:pt x="131" y="212"/>
                  <a:pt x="131" y="212"/>
                </a:cubicBezTo>
                <a:cubicBezTo>
                  <a:pt x="133" y="212"/>
                  <a:pt x="133" y="212"/>
                  <a:pt x="133" y="212"/>
                </a:cubicBezTo>
                <a:cubicBezTo>
                  <a:pt x="134" y="212"/>
                  <a:pt x="134" y="212"/>
                  <a:pt x="134" y="212"/>
                </a:cubicBezTo>
                <a:cubicBezTo>
                  <a:pt x="134" y="212"/>
                  <a:pt x="134" y="212"/>
                  <a:pt x="134" y="212"/>
                </a:cubicBezTo>
                <a:cubicBezTo>
                  <a:pt x="133" y="211"/>
                  <a:pt x="133" y="211"/>
                  <a:pt x="133" y="211"/>
                </a:cubicBezTo>
                <a:cubicBezTo>
                  <a:pt x="133" y="210"/>
                  <a:pt x="133" y="210"/>
                  <a:pt x="133" y="210"/>
                </a:cubicBezTo>
                <a:cubicBezTo>
                  <a:pt x="133" y="210"/>
                  <a:pt x="133" y="210"/>
                  <a:pt x="133" y="210"/>
                </a:cubicBezTo>
                <a:cubicBezTo>
                  <a:pt x="134" y="211"/>
                  <a:pt x="134" y="211"/>
                  <a:pt x="134" y="211"/>
                </a:cubicBezTo>
                <a:cubicBezTo>
                  <a:pt x="135" y="211"/>
                  <a:pt x="135" y="211"/>
                  <a:pt x="135" y="211"/>
                </a:cubicBezTo>
                <a:cubicBezTo>
                  <a:pt x="135" y="211"/>
                  <a:pt x="135" y="211"/>
                  <a:pt x="135" y="211"/>
                </a:cubicBezTo>
                <a:cubicBezTo>
                  <a:pt x="136" y="212"/>
                  <a:pt x="136" y="212"/>
                  <a:pt x="136" y="212"/>
                </a:cubicBezTo>
                <a:cubicBezTo>
                  <a:pt x="136" y="213"/>
                  <a:pt x="136" y="213"/>
                  <a:pt x="136" y="213"/>
                </a:cubicBezTo>
                <a:cubicBezTo>
                  <a:pt x="137" y="213"/>
                  <a:pt x="137" y="213"/>
                  <a:pt x="137" y="213"/>
                </a:cubicBezTo>
                <a:cubicBezTo>
                  <a:pt x="137" y="212"/>
                  <a:pt x="137" y="212"/>
                  <a:pt x="137" y="212"/>
                </a:cubicBezTo>
                <a:cubicBezTo>
                  <a:pt x="137" y="211"/>
                  <a:pt x="137" y="211"/>
                  <a:pt x="137" y="211"/>
                </a:cubicBezTo>
                <a:cubicBezTo>
                  <a:pt x="136" y="211"/>
                  <a:pt x="136" y="211"/>
                  <a:pt x="136" y="211"/>
                </a:cubicBezTo>
                <a:cubicBezTo>
                  <a:pt x="135" y="210"/>
                  <a:pt x="135" y="210"/>
                  <a:pt x="135" y="210"/>
                </a:cubicBezTo>
                <a:cubicBezTo>
                  <a:pt x="136" y="210"/>
                  <a:pt x="136" y="210"/>
                  <a:pt x="136" y="210"/>
                </a:cubicBezTo>
                <a:cubicBezTo>
                  <a:pt x="136" y="210"/>
                  <a:pt x="136" y="210"/>
                  <a:pt x="136" y="210"/>
                </a:cubicBezTo>
                <a:cubicBezTo>
                  <a:pt x="137" y="210"/>
                  <a:pt x="137" y="210"/>
                  <a:pt x="137" y="210"/>
                </a:cubicBezTo>
                <a:cubicBezTo>
                  <a:pt x="138" y="209"/>
                  <a:pt x="138" y="209"/>
                  <a:pt x="138" y="209"/>
                </a:cubicBezTo>
                <a:cubicBezTo>
                  <a:pt x="138" y="208"/>
                  <a:pt x="138" y="208"/>
                  <a:pt x="138" y="208"/>
                </a:cubicBezTo>
                <a:cubicBezTo>
                  <a:pt x="138" y="208"/>
                  <a:pt x="138" y="208"/>
                  <a:pt x="138" y="208"/>
                </a:cubicBezTo>
                <a:close/>
                <a:moveTo>
                  <a:pt x="44" y="286"/>
                </a:moveTo>
                <a:cubicBezTo>
                  <a:pt x="43" y="285"/>
                  <a:pt x="43" y="285"/>
                  <a:pt x="43" y="285"/>
                </a:cubicBezTo>
                <a:cubicBezTo>
                  <a:pt x="43" y="284"/>
                  <a:pt x="43" y="284"/>
                  <a:pt x="43" y="284"/>
                </a:cubicBezTo>
                <a:cubicBezTo>
                  <a:pt x="43" y="284"/>
                  <a:pt x="43" y="284"/>
                  <a:pt x="43" y="284"/>
                </a:cubicBezTo>
                <a:cubicBezTo>
                  <a:pt x="42" y="284"/>
                  <a:pt x="42" y="284"/>
                  <a:pt x="42" y="284"/>
                </a:cubicBezTo>
                <a:cubicBezTo>
                  <a:pt x="42" y="284"/>
                  <a:pt x="42" y="284"/>
                  <a:pt x="42" y="284"/>
                </a:cubicBezTo>
                <a:cubicBezTo>
                  <a:pt x="42" y="285"/>
                  <a:pt x="42" y="285"/>
                  <a:pt x="42" y="285"/>
                </a:cubicBezTo>
                <a:cubicBezTo>
                  <a:pt x="43" y="286"/>
                  <a:pt x="43" y="286"/>
                  <a:pt x="43" y="286"/>
                </a:cubicBezTo>
                <a:cubicBezTo>
                  <a:pt x="43" y="287"/>
                  <a:pt x="43" y="287"/>
                  <a:pt x="43" y="287"/>
                </a:cubicBezTo>
                <a:cubicBezTo>
                  <a:pt x="43" y="287"/>
                  <a:pt x="43" y="287"/>
                  <a:pt x="43" y="287"/>
                </a:cubicBezTo>
                <a:cubicBezTo>
                  <a:pt x="44" y="286"/>
                  <a:pt x="44" y="286"/>
                  <a:pt x="44" y="286"/>
                </a:cubicBezTo>
                <a:close/>
                <a:moveTo>
                  <a:pt x="76" y="265"/>
                </a:moveTo>
                <a:cubicBezTo>
                  <a:pt x="77" y="265"/>
                  <a:pt x="77" y="265"/>
                  <a:pt x="77" y="265"/>
                </a:cubicBezTo>
                <a:cubicBezTo>
                  <a:pt x="77" y="265"/>
                  <a:pt x="77" y="265"/>
                  <a:pt x="77" y="265"/>
                </a:cubicBezTo>
                <a:cubicBezTo>
                  <a:pt x="76" y="264"/>
                  <a:pt x="76" y="264"/>
                  <a:pt x="76" y="264"/>
                </a:cubicBezTo>
                <a:cubicBezTo>
                  <a:pt x="75" y="264"/>
                  <a:pt x="75" y="264"/>
                  <a:pt x="75" y="264"/>
                </a:cubicBezTo>
                <a:cubicBezTo>
                  <a:pt x="75" y="265"/>
                  <a:pt x="75" y="265"/>
                  <a:pt x="75" y="265"/>
                </a:cubicBezTo>
                <a:cubicBezTo>
                  <a:pt x="76" y="265"/>
                  <a:pt x="76" y="265"/>
                  <a:pt x="76" y="265"/>
                </a:cubicBezTo>
                <a:close/>
                <a:moveTo>
                  <a:pt x="101" y="238"/>
                </a:moveTo>
                <a:cubicBezTo>
                  <a:pt x="103" y="238"/>
                  <a:pt x="103" y="238"/>
                  <a:pt x="103" y="238"/>
                </a:cubicBezTo>
                <a:cubicBezTo>
                  <a:pt x="104" y="237"/>
                  <a:pt x="104" y="237"/>
                  <a:pt x="104" y="237"/>
                </a:cubicBezTo>
                <a:cubicBezTo>
                  <a:pt x="105" y="235"/>
                  <a:pt x="105" y="235"/>
                  <a:pt x="105" y="235"/>
                </a:cubicBezTo>
                <a:cubicBezTo>
                  <a:pt x="105" y="233"/>
                  <a:pt x="105" y="233"/>
                  <a:pt x="105" y="233"/>
                </a:cubicBezTo>
                <a:cubicBezTo>
                  <a:pt x="106" y="232"/>
                  <a:pt x="106" y="232"/>
                  <a:pt x="106" y="232"/>
                </a:cubicBezTo>
                <a:cubicBezTo>
                  <a:pt x="107" y="233"/>
                  <a:pt x="107" y="233"/>
                  <a:pt x="107" y="233"/>
                </a:cubicBezTo>
                <a:cubicBezTo>
                  <a:pt x="106" y="235"/>
                  <a:pt x="106" y="235"/>
                  <a:pt x="106" y="235"/>
                </a:cubicBezTo>
                <a:cubicBezTo>
                  <a:pt x="107" y="233"/>
                  <a:pt x="107" y="233"/>
                  <a:pt x="107" y="233"/>
                </a:cubicBezTo>
                <a:cubicBezTo>
                  <a:pt x="107" y="232"/>
                  <a:pt x="107" y="232"/>
                  <a:pt x="107" y="232"/>
                </a:cubicBezTo>
                <a:cubicBezTo>
                  <a:pt x="106" y="231"/>
                  <a:pt x="106" y="231"/>
                  <a:pt x="106" y="231"/>
                </a:cubicBezTo>
                <a:cubicBezTo>
                  <a:pt x="101" y="229"/>
                  <a:pt x="101" y="229"/>
                  <a:pt x="101" y="229"/>
                </a:cubicBezTo>
                <a:cubicBezTo>
                  <a:pt x="99" y="228"/>
                  <a:pt x="99" y="228"/>
                  <a:pt x="99" y="228"/>
                </a:cubicBezTo>
                <a:cubicBezTo>
                  <a:pt x="98" y="229"/>
                  <a:pt x="98" y="229"/>
                  <a:pt x="98" y="229"/>
                </a:cubicBezTo>
                <a:cubicBezTo>
                  <a:pt x="97" y="232"/>
                  <a:pt x="97" y="232"/>
                  <a:pt x="97" y="232"/>
                </a:cubicBezTo>
                <a:cubicBezTo>
                  <a:pt x="97" y="235"/>
                  <a:pt x="97" y="235"/>
                  <a:pt x="97" y="235"/>
                </a:cubicBezTo>
                <a:cubicBezTo>
                  <a:pt x="98" y="236"/>
                  <a:pt x="98" y="236"/>
                  <a:pt x="98" y="236"/>
                </a:cubicBezTo>
                <a:cubicBezTo>
                  <a:pt x="98" y="238"/>
                  <a:pt x="98" y="238"/>
                  <a:pt x="98" y="238"/>
                </a:cubicBezTo>
                <a:cubicBezTo>
                  <a:pt x="99" y="238"/>
                  <a:pt x="99" y="238"/>
                  <a:pt x="99" y="238"/>
                </a:cubicBezTo>
                <a:cubicBezTo>
                  <a:pt x="100" y="238"/>
                  <a:pt x="100" y="238"/>
                  <a:pt x="100" y="238"/>
                </a:cubicBezTo>
                <a:cubicBezTo>
                  <a:pt x="99" y="239"/>
                  <a:pt x="99" y="239"/>
                  <a:pt x="99" y="239"/>
                </a:cubicBezTo>
                <a:cubicBezTo>
                  <a:pt x="100" y="239"/>
                  <a:pt x="100" y="239"/>
                  <a:pt x="100" y="239"/>
                </a:cubicBezTo>
                <a:cubicBezTo>
                  <a:pt x="101" y="238"/>
                  <a:pt x="101" y="238"/>
                  <a:pt x="101" y="238"/>
                </a:cubicBezTo>
                <a:close/>
                <a:moveTo>
                  <a:pt x="113" y="240"/>
                </a:moveTo>
                <a:cubicBezTo>
                  <a:pt x="113" y="240"/>
                  <a:pt x="113" y="240"/>
                  <a:pt x="113" y="240"/>
                </a:cubicBezTo>
                <a:cubicBezTo>
                  <a:pt x="113" y="240"/>
                  <a:pt x="113" y="240"/>
                  <a:pt x="113" y="240"/>
                </a:cubicBezTo>
                <a:cubicBezTo>
                  <a:pt x="115" y="240"/>
                  <a:pt x="115" y="240"/>
                  <a:pt x="115" y="240"/>
                </a:cubicBezTo>
                <a:cubicBezTo>
                  <a:pt x="115" y="239"/>
                  <a:pt x="115" y="239"/>
                  <a:pt x="115" y="239"/>
                </a:cubicBezTo>
                <a:cubicBezTo>
                  <a:pt x="114" y="239"/>
                  <a:pt x="114" y="239"/>
                  <a:pt x="114" y="239"/>
                </a:cubicBezTo>
                <a:cubicBezTo>
                  <a:pt x="113" y="240"/>
                  <a:pt x="113" y="240"/>
                  <a:pt x="113" y="240"/>
                </a:cubicBezTo>
                <a:cubicBezTo>
                  <a:pt x="113" y="240"/>
                  <a:pt x="113" y="240"/>
                  <a:pt x="113" y="240"/>
                </a:cubicBezTo>
                <a:close/>
                <a:moveTo>
                  <a:pt x="131" y="240"/>
                </a:moveTo>
                <a:cubicBezTo>
                  <a:pt x="131" y="241"/>
                  <a:pt x="131" y="241"/>
                  <a:pt x="131" y="241"/>
                </a:cubicBezTo>
                <a:cubicBezTo>
                  <a:pt x="132" y="239"/>
                  <a:pt x="132" y="239"/>
                  <a:pt x="132" y="239"/>
                </a:cubicBezTo>
                <a:cubicBezTo>
                  <a:pt x="132" y="239"/>
                  <a:pt x="132" y="239"/>
                  <a:pt x="132" y="239"/>
                </a:cubicBezTo>
                <a:cubicBezTo>
                  <a:pt x="131" y="239"/>
                  <a:pt x="131" y="239"/>
                  <a:pt x="131" y="239"/>
                </a:cubicBezTo>
                <a:cubicBezTo>
                  <a:pt x="131" y="240"/>
                  <a:pt x="131" y="240"/>
                  <a:pt x="131" y="240"/>
                </a:cubicBezTo>
                <a:cubicBezTo>
                  <a:pt x="131" y="240"/>
                  <a:pt x="131" y="240"/>
                  <a:pt x="131" y="240"/>
                </a:cubicBezTo>
                <a:close/>
                <a:moveTo>
                  <a:pt x="128" y="240"/>
                </a:moveTo>
                <a:cubicBezTo>
                  <a:pt x="129" y="240"/>
                  <a:pt x="129" y="240"/>
                  <a:pt x="129" y="240"/>
                </a:cubicBezTo>
                <a:cubicBezTo>
                  <a:pt x="130" y="240"/>
                  <a:pt x="130" y="240"/>
                  <a:pt x="130" y="240"/>
                </a:cubicBezTo>
                <a:cubicBezTo>
                  <a:pt x="129" y="239"/>
                  <a:pt x="129" y="239"/>
                  <a:pt x="129" y="239"/>
                </a:cubicBezTo>
                <a:cubicBezTo>
                  <a:pt x="129" y="239"/>
                  <a:pt x="129" y="239"/>
                  <a:pt x="129" y="239"/>
                </a:cubicBezTo>
                <a:cubicBezTo>
                  <a:pt x="128" y="240"/>
                  <a:pt x="128" y="240"/>
                  <a:pt x="128" y="240"/>
                </a:cubicBezTo>
                <a:close/>
                <a:moveTo>
                  <a:pt x="143" y="234"/>
                </a:moveTo>
                <a:cubicBezTo>
                  <a:pt x="144" y="234"/>
                  <a:pt x="144" y="234"/>
                  <a:pt x="144" y="234"/>
                </a:cubicBezTo>
                <a:cubicBezTo>
                  <a:pt x="144" y="234"/>
                  <a:pt x="144" y="234"/>
                  <a:pt x="144" y="234"/>
                </a:cubicBezTo>
                <a:cubicBezTo>
                  <a:pt x="146" y="233"/>
                  <a:pt x="146" y="233"/>
                  <a:pt x="146" y="233"/>
                </a:cubicBezTo>
                <a:cubicBezTo>
                  <a:pt x="147" y="233"/>
                  <a:pt x="147" y="233"/>
                  <a:pt x="147" y="233"/>
                </a:cubicBezTo>
                <a:cubicBezTo>
                  <a:pt x="146" y="232"/>
                  <a:pt x="146" y="232"/>
                  <a:pt x="146" y="232"/>
                </a:cubicBezTo>
                <a:cubicBezTo>
                  <a:pt x="144" y="233"/>
                  <a:pt x="144" y="233"/>
                  <a:pt x="144" y="233"/>
                </a:cubicBezTo>
                <a:cubicBezTo>
                  <a:pt x="143" y="234"/>
                  <a:pt x="143" y="234"/>
                  <a:pt x="143" y="234"/>
                </a:cubicBezTo>
                <a:close/>
                <a:moveTo>
                  <a:pt x="137" y="233"/>
                </a:moveTo>
                <a:cubicBezTo>
                  <a:pt x="138" y="233"/>
                  <a:pt x="138" y="233"/>
                  <a:pt x="138" y="233"/>
                </a:cubicBezTo>
                <a:cubicBezTo>
                  <a:pt x="139" y="233"/>
                  <a:pt x="139" y="233"/>
                  <a:pt x="139" y="233"/>
                </a:cubicBezTo>
                <a:cubicBezTo>
                  <a:pt x="139" y="233"/>
                  <a:pt x="139" y="233"/>
                  <a:pt x="139" y="233"/>
                </a:cubicBezTo>
                <a:cubicBezTo>
                  <a:pt x="138" y="232"/>
                  <a:pt x="138" y="232"/>
                  <a:pt x="138" y="232"/>
                </a:cubicBezTo>
                <a:cubicBezTo>
                  <a:pt x="137" y="233"/>
                  <a:pt x="137" y="233"/>
                  <a:pt x="137" y="233"/>
                </a:cubicBezTo>
                <a:close/>
                <a:moveTo>
                  <a:pt x="133" y="232"/>
                </a:moveTo>
                <a:cubicBezTo>
                  <a:pt x="134" y="233"/>
                  <a:pt x="134" y="233"/>
                  <a:pt x="134" y="233"/>
                </a:cubicBezTo>
                <a:cubicBezTo>
                  <a:pt x="135" y="233"/>
                  <a:pt x="135" y="233"/>
                  <a:pt x="135" y="233"/>
                </a:cubicBezTo>
                <a:cubicBezTo>
                  <a:pt x="136" y="234"/>
                  <a:pt x="136" y="234"/>
                  <a:pt x="136" y="234"/>
                </a:cubicBezTo>
                <a:cubicBezTo>
                  <a:pt x="135" y="232"/>
                  <a:pt x="135" y="232"/>
                  <a:pt x="135" y="232"/>
                </a:cubicBezTo>
                <a:cubicBezTo>
                  <a:pt x="134" y="232"/>
                  <a:pt x="134" y="232"/>
                  <a:pt x="134" y="232"/>
                </a:cubicBezTo>
                <a:cubicBezTo>
                  <a:pt x="133" y="232"/>
                  <a:pt x="133" y="232"/>
                  <a:pt x="133" y="232"/>
                </a:cubicBezTo>
                <a:close/>
                <a:moveTo>
                  <a:pt x="131" y="233"/>
                </a:moveTo>
                <a:cubicBezTo>
                  <a:pt x="132" y="233"/>
                  <a:pt x="132" y="233"/>
                  <a:pt x="132" y="233"/>
                </a:cubicBezTo>
                <a:cubicBezTo>
                  <a:pt x="132" y="233"/>
                  <a:pt x="132" y="233"/>
                  <a:pt x="132" y="233"/>
                </a:cubicBezTo>
                <a:cubicBezTo>
                  <a:pt x="133" y="232"/>
                  <a:pt x="133" y="232"/>
                  <a:pt x="133" y="232"/>
                </a:cubicBezTo>
                <a:cubicBezTo>
                  <a:pt x="132" y="232"/>
                  <a:pt x="132" y="232"/>
                  <a:pt x="132" y="232"/>
                </a:cubicBezTo>
                <a:cubicBezTo>
                  <a:pt x="131" y="233"/>
                  <a:pt x="131" y="233"/>
                  <a:pt x="131" y="233"/>
                </a:cubicBezTo>
                <a:close/>
                <a:moveTo>
                  <a:pt x="266" y="192"/>
                </a:moveTo>
                <a:cubicBezTo>
                  <a:pt x="266" y="193"/>
                  <a:pt x="266" y="193"/>
                  <a:pt x="266" y="193"/>
                </a:cubicBezTo>
                <a:cubicBezTo>
                  <a:pt x="266" y="194"/>
                  <a:pt x="266" y="194"/>
                  <a:pt x="266" y="194"/>
                </a:cubicBezTo>
                <a:cubicBezTo>
                  <a:pt x="267" y="193"/>
                  <a:pt x="267" y="193"/>
                  <a:pt x="267" y="193"/>
                </a:cubicBezTo>
                <a:cubicBezTo>
                  <a:pt x="266" y="192"/>
                  <a:pt x="266" y="192"/>
                  <a:pt x="266" y="192"/>
                </a:cubicBezTo>
                <a:cubicBezTo>
                  <a:pt x="266" y="192"/>
                  <a:pt x="266" y="192"/>
                  <a:pt x="266" y="192"/>
                </a:cubicBezTo>
                <a:close/>
                <a:moveTo>
                  <a:pt x="263" y="188"/>
                </a:moveTo>
                <a:cubicBezTo>
                  <a:pt x="263" y="190"/>
                  <a:pt x="263" y="190"/>
                  <a:pt x="263" y="190"/>
                </a:cubicBezTo>
                <a:cubicBezTo>
                  <a:pt x="264" y="192"/>
                  <a:pt x="264" y="192"/>
                  <a:pt x="264" y="192"/>
                </a:cubicBezTo>
                <a:cubicBezTo>
                  <a:pt x="264" y="194"/>
                  <a:pt x="264" y="194"/>
                  <a:pt x="264" y="194"/>
                </a:cubicBezTo>
                <a:cubicBezTo>
                  <a:pt x="264" y="194"/>
                  <a:pt x="264" y="194"/>
                  <a:pt x="264" y="194"/>
                </a:cubicBezTo>
                <a:cubicBezTo>
                  <a:pt x="265" y="193"/>
                  <a:pt x="265" y="193"/>
                  <a:pt x="265" y="193"/>
                </a:cubicBezTo>
                <a:cubicBezTo>
                  <a:pt x="265" y="189"/>
                  <a:pt x="265" y="189"/>
                  <a:pt x="265" y="189"/>
                </a:cubicBezTo>
                <a:cubicBezTo>
                  <a:pt x="264" y="188"/>
                  <a:pt x="264" y="188"/>
                  <a:pt x="264" y="188"/>
                </a:cubicBezTo>
                <a:cubicBezTo>
                  <a:pt x="263" y="188"/>
                  <a:pt x="263" y="188"/>
                  <a:pt x="263" y="188"/>
                </a:cubicBezTo>
                <a:close/>
                <a:moveTo>
                  <a:pt x="262" y="186"/>
                </a:moveTo>
                <a:cubicBezTo>
                  <a:pt x="262" y="187"/>
                  <a:pt x="262" y="187"/>
                  <a:pt x="262" y="187"/>
                </a:cubicBezTo>
                <a:cubicBezTo>
                  <a:pt x="263" y="187"/>
                  <a:pt x="263" y="187"/>
                  <a:pt x="263" y="187"/>
                </a:cubicBezTo>
                <a:cubicBezTo>
                  <a:pt x="263" y="186"/>
                  <a:pt x="263" y="186"/>
                  <a:pt x="263" y="186"/>
                </a:cubicBezTo>
                <a:cubicBezTo>
                  <a:pt x="262" y="185"/>
                  <a:pt x="262" y="185"/>
                  <a:pt x="262" y="185"/>
                </a:cubicBezTo>
                <a:cubicBezTo>
                  <a:pt x="262" y="186"/>
                  <a:pt x="262" y="186"/>
                  <a:pt x="262" y="186"/>
                </a:cubicBezTo>
                <a:close/>
                <a:moveTo>
                  <a:pt x="147" y="223"/>
                </a:moveTo>
                <a:cubicBezTo>
                  <a:pt x="148" y="223"/>
                  <a:pt x="148" y="223"/>
                  <a:pt x="148" y="223"/>
                </a:cubicBezTo>
                <a:cubicBezTo>
                  <a:pt x="148" y="222"/>
                  <a:pt x="148" y="222"/>
                  <a:pt x="148" y="222"/>
                </a:cubicBezTo>
                <a:cubicBezTo>
                  <a:pt x="147" y="222"/>
                  <a:pt x="147" y="222"/>
                  <a:pt x="147" y="222"/>
                </a:cubicBezTo>
                <a:cubicBezTo>
                  <a:pt x="147" y="223"/>
                  <a:pt x="147" y="223"/>
                  <a:pt x="147" y="223"/>
                </a:cubicBezTo>
                <a:close/>
                <a:moveTo>
                  <a:pt x="153" y="228"/>
                </a:moveTo>
                <a:cubicBezTo>
                  <a:pt x="153" y="228"/>
                  <a:pt x="154" y="228"/>
                  <a:pt x="154" y="228"/>
                </a:cubicBezTo>
                <a:cubicBezTo>
                  <a:pt x="153" y="228"/>
                  <a:pt x="153" y="228"/>
                  <a:pt x="153" y="228"/>
                </a:cubicBezTo>
                <a:cubicBezTo>
                  <a:pt x="153" y="228"/>
                  <a:pt x="153" y="228"/>
                  <a:pt x="153" y="228"/>
                </a:cubicBezTo>
                <a:close/>
                <a:moveTo>
                  <a:pt x="152" y="227"/>
                </a:moveTo>
                <a:cubicBezTo>
                  <a:pt x="152" y="225"/>
                  <a:pt x="152" y="225"/>
                  <a:pt x="152" y="225"/>
                </a:cubicBezTo>
                <a:cubicBezTo>
                  <a:pt x="150" y="224"/>
                  <a:pt x="150" y="224"/>
                  <a:pt x="150" y="224"/>
                </a:cubicBezTo>
                <a:cubicBezTo>
                  <a:pt x="149" y="223"/>
                  <a:pt x="149" y="223"/>
                  <a:pt x="149" y="223"/>
                </a:cubicBezTo>
                <a:cubicBezTo>
                  <a:pt x="149" y="224"/>
                  <a:pt x="149" y="224"/>
                  <a:pt x="149" y="224"/>
                </a:cubicBezTo>
                <a:cubicBezTo>
                  <a:pt x="150" y="225"/>
                  <a:pt x="150" y="225"/>
                  <a:pt x="150" y="225"/>
                </a:cubicBezTo>
                <a:cubicBezTo>
                  <a:pt x="152" y="227"/>
                  <a:pt x="152" y="227"/>
                  <a:pt x="152" y="227"/>
                </a:cubicBezTo>
                <a:close/>
                <a:moveTo>
                  <a:pt x="156" y="221"/>
                </a:moveTo>
                <a:cubicBezTo>
                  <a:pt x="156" y="219"/>
                  <a:pt x="156" y="219"/>
                  <a:pt x="156" y="219"/>
                </a:cubicBezTo>
                <a:cubicBezTo>
                  <a:pt x="156" y="217"/>
                  <a:pt x="156" y="217"/>
                  <a:pt x="156" y="217"/>
                </a:cubicBezTo>
                <a:cubicBezTo>
                  <a:pt x="154" y="216"/>
                  <a:pt x="154" y="216"/>
                  <a:pt x="154" y="216"/>
                </a:cubicBezTo>
                <a:cubicBezTo>
                  <a:pt x="152" y="214"/>
                  <a:pt x="152" y="214"/>
                  <a:pt x="152" y="214"/>
                </a:cubicBezTo>
                <a:cubicBezTo>
                  <a:pt x="151" y="214"/>
                  <a:pt x="151" y="214"/>
                  <a:pt x="151" y="214"/>
                </a:cubicBezTo>
                <a:cubicBezTo>
                  <a:pt x="149" y="213"/>
                  <a:pt x="149" y="213"/>
                  <a:pt x="149" y="213"/>
                </a:cubicBezTo>
                <a:cubicBezTo>
                  <a:pt x="148" y="212"/>
                  <a:pt x="148" y="212"/>
                  <a:pt x="148" y="212"/>
                </a:cubicBezTo>
                <a:cubicBezTo>
                  <a:pt x="148" y="211"/>
                  <a:pt x="148" y="211"/>
                  <a:pt x="148" y="211"/>
                </a:cubicBezTo>
                <a:cubicBezTo>
                  <a:pt x="146" y="210"/>
                  <a:pt x="146" y="210"/>
                  <a:pt x="146" y="210"/>
                </a:cubicBezTo>
                <a:cubicBezTo>
                  <a:pt x="145" y="210"/>
                  <a:pt x="145" y="210"/>
                  <a:pt x="145" y="210"/>
                </a:cubicBezTo>
                <a:cubicBezTo>
                  <a:pt x="145" y="210"/>
                  <a:pt x="145" y="210"/>
                  <a:pt x="145" y="210"/>
                </a:cubicBezTo>
                <a:cubicBezTo>
                  <a:pt x="145" y="211"/>
                  <a:pt x="145" y="211"/>
                  <a:pt x="145" y="211"/>
                </a:cubicBezTo>
                <a:cubicBezTo>
                  <a:pt x="144" y="212"/>
                  <a:pt x="144" y="212"/>
                  <a:pt x="144" y="212"/>
                </a:cubicBezTo>
                <a:cubicBezTo>
                  <a:pt x="145" y="213"/>
                  <a:pt x="145" y="213"/>
                  <a:pt x="145" y="213"/>
                </a:cubicBezTo>
                <a:cubicBezTo>
                  <a:pt x="146" y="213"/>
                  <a:pt x="146" y="213"/>
                  <a:pt x="146" y="213"/>
                </a:cubicBezTo>
                <a:cubicBezTo>
                  <a:pt x="145" y="214"/>
                  <a:pt x="145" y="214"/>
                  <a:pt x="145" y="214"/>
                </a:cubicBezTo>
                <a:cubicBezTo>
                  <a:pt x="145" y="214"/>
                  <a:pt x="145" y="214"/>
                  <a:pt x="145" y="214"/>
                </a:cubicBezTo>
                <a:cubicBezTo>
                  <a:pt x="144" y="213"/>
                  <a:pt x="144" y="213"/>
                  <a:pt x="144" y="213"/>
                </a:cubicBezTo>
                <a:cubicBezTo>
                  <a:pt x="143" y="213"/>
                  <a:pt x="143" y="213"/>
                  <a:pt x="143" y="213"/>
                </a:cubicBezTo>
                <a:cubicBezTo>
                  <a:pt x="144" y="214"/>
                  <a:pt x="144" y="214"/>
                  <a:pt x="144" y="214"/>
                </a:cubicBezTo>
                <a:cubicBezTo>
                  <a:pt x="146" y="217"/>
                  <a:pt x="146" y="217"/>
                  <a:pt x="146" y="217"/>
                </a:cubicBezTo>
                <a:cubicBezTo>
                  <a:pt x="147" y="217"/>
                  <a:pt x="147" y="217"/>
                  <a:pt x="147" y="217"/>
                </a:cubicBezTo>
                <a:cubicBezTo>
                  <a:pt x="148" y="219"/>
                  <a:pt x="148" y="219"/>
                  <a:pt x="148" y="219"/>
                </a:cubicBezTo>
                <a:cubicBezTo>
                  <a:pt x="149" y="219"/>
                  <a:pt x="149" y="219"/>
                  <a:pt x="149" y="219"/>
                </a:cubicBezTo>
                <a:cubicBezTo>
                  <a:pt x="149" y="217"/>
                  <a:pt x="149" y="217"/>
                  <a:pt x="149" y="217"/>
                </a:cubicBezTo>
                <a:cubicBezTo>
                  <a:pt x="150" y="218"/>
                  <a:pt x="150" y="218"/>
                  <a:pt x="150" y="218"/>
                </a:cubicBezTo>
                <a:cubicBezTo>
                  <a:pt x="151" y="217"/>
                  <a:pt x="151" y="217"/>
                  <a:pt x="151" y="217"/>
                </a:cubicBezTo>
                <a:cubicBezTo>
                  <a:pt x="151" y="218"/>
                  <a:pt x="151" y="218"/>
                  <a:pt x="151" y="218"/>
                </a:cubicBezTo>
                <a:cubicBezTo>
                  <a:pt x="151" y="220"/>
                  <a:pt x="151" y="220"/>
                  <a:pt x="151" y="220"/>
                </a:cubicBezTo>
                <a:cubicBezTo>
                  <a:pt x="151" y="220"/>
                  <a:pt x="151" y="220"/>
                  <a:pt x="151" y="220"/>
                </a:cubicBezTo>
                <a:cubicBezTo>
                  <a:pt x="152" y="221"/>
                  <a:pt x="152" y="221"/>
                  <a:pt x="152" y="221"/>
                </a:cubicBezTo>
                <a:cubicBezTo>
                  <a:pt x="154" y="221"/>
                  <a:pt x="154" y="221"/>
                  <a:pt x="154" y="221"/>
                </a:cubicBezTo>
                <a:cubicBezTo>
                  <a:pt x="154" y="220"/>
                  <a:pt x="154" y="220"/>
                  <a:pt x="154" y="220"/>
                </a:cubicBezTo>
                <a:cubicBezTo>
                  <a:pt x="156" y="221"/>
                  <a:pt x="156" y="221"/>
                  <a:pt x="156" y="221"/>
                </a:cubicBezTo>
                <a:close/>
                <a:moveTo>
                  <a:pt x="185" y="167"/>
                </a:moveTo>
                <a:cubicBezTo>
                  <a:pt x="186" y="167"/>
                  <a:pt x="186" y="167"/>
                  <a:pt x="186" y="167"/>
                </a:cubicBezTo>
                <a:cubicBezTo>
                  <a:pt x="186" y="167"/>
                  <a:pt x="186" y="167"/>
                  <a:pt x="186" y="167"/>
                </a:cubicBezTo>
                <a:cubicBezTo>
                  <a:pt x="186" y="166"/>
                  <a:pt x="186" y="166"/>
                  <a:pt x="186" y="166"/>
                </a:cubicBezTo>
                <a:cubicBezTo>
                  <a:pt x="186" y="166"/>
                  <a:pt x="186" y="166"/>
                  <a:pt x="186" y="166"/>
                </a:cubicBezTo>
                <a:cubicBezTo>
                  <a:pt x="187" y="167"/>
                  <a:pt x="187" y="167"/>
                  <a:pt x="187" y="167"/>
                </a:cubicBezTo>
                <a:cubicBezTo>
                  <a:pt x="188" y="167"/>
                  <a:pt x="188" y="167"/>
                  <a:pt x="188" y="167"/>
                </a:cubicBezTo>
                <a:cubicBezTo>
                  <a:pt x="188" y="167"/>
                  <a:pt x="188" y="167"/>
                  <a:pt x="188" y="167"/>
                </a:cubicBezTo>
                <a:cubicBezTo>
                  <a:pt x="189" y="167"/>
                  <a:pt x="189" y="167"/>
                  <a:pt x="189" y="167"/>
                </a:cubicBezTo>
                <a:cubicBezTo>
                  <a:pt x="189" y="166"/>
                  <a:pt x="189" y="166"/>
                  <a:pt x="189" y="166"/>
                </a:cubicBezTo>
                <a:cubicBezTo>
                  <a:pt x="191" y="165"/>
                  <a:pt x="191" y="165"/>
                  <a:pt x="191" y="165"/>
                </a:cubicBezTo>
                <a:cubicBezTo>
                  <a:pt x="192" y="164"/>
                  <a:pt x="192" y="164"/>
                  <a:pt x="192" y="164"/>
                </a:cubicBezTo>
                <a:cubicBezTo>
                  <a:pt x="192" y="164"/>
                  <a:pt x="192" y="164"/>
                  <a:pt x="192" y="164"/>
                </a:cubicBezTo>
                <a:cubicBezTo>
                  <a:pt x="191" y="162"/>
                  <a:pt x="191" y="162"/>
                  <a:pt x="191" y="162"/>
                </a:cubicBezTo>
                <a:cubicBezTo>
                  <a:pt x="190" y="161"/>
                  <a:pt x="190" y="161"/>
                  <a:pt x="190" y="161"/>
                </a:cubicBezTo>
                <a:cubicBezTo>
                  <a:pt x="190" y="160"/>
                  <a:pt x="190" y="160"/>
                  <a:pt x="190" y="160"/>
                </a:cubicBezTo>
                <a:cubicBezTo>
                  <a:pt x="188" y="159"/>
                  <a:pt x="188" y="159"/>
                  <a:pt x="188" y="159"/>
                </a:cubicBezTo>
                <a:cubicBezTo>
                  <a:pt x="188" y="159"/>
                  <a:pt x="188" y="159"/>
                  <a:pt x="188" y="159"/>
                </a:cubicBezTo>
                <a:cubicBezTo>
                  <a:pt x="187" y="159"/>
                  <a:pt x="187" y="159"/>
                  <a:pt x="187" y="159"/>
                </a:cubicBezTo>
                <a:cubicBezTo>
                  <a:pt x="186" y="160"/>
                  <a:pt x="186" y="160"/>
                  <a:pt x="186" y="160"/>
                </a:cubicBezTo>
                <a:cubicBezTo>
                  <a:pt x="185" y="160"/>
                  <a:pt x="185" y="160"/>
                  <a:pt x="185" y="160"/>
                </a:cubicBezTo>
                <a:cubicBezTo>
                  <a:pt x="183" y="161"/>
                  <a:pt x="183" y="161"/>
                  <a:pt x="183" y="161"/>
                </a:cubicBezTo>
                <a:cubicBezTo>
                  <a:pt x="183" y="162"/>
                  <a:pt x="183" y="162"/>
                  <a:pt x="183" y="162"/>
                </a:cubicBezTo>
                <a:cubicBezTo>
                  <a:pt x="184" y="163"/>
                  <a:pt x="184" y="163"/>
                  <a:pt x="184" y="163"/>
                </a:cubicBezTo>
                <a:cubicBezTo>
                  <a:pt x="184" y="165"/>
                  <a:pt x="184" y="165"/>
                  <a:pt x="184" y="165"/>
                </a:cubicBezTo>
                <a:cubicBezTo>
                  <a:pt x="184" y="166"/>
                  <a:pt x="184" y="166"/>
                  <a:pt x="184" y="166"/>
                </a:cubicBezTo>
                <a:cubicBezTo>
                  <a:pt x="185" y="167"/>
                  <a:pt x="185" y="167"/>
                  <a:pt x="185" y="167"/>
                </a:cubicBezTo>
                <a:close/>
                <a:moveTo>
                  <a:pt x="189" y="220"/>
                </a:moveTo>
                <a:cubicBezTo>
                  <a:pt x="189" y="220"/>
                  <a:pt x="189" y="221"/>
                  <a:pt x="189" y="221"/>
                </a:cubicBezTo>
                <a:cubicBezTo>
                  <a:pt x="190" y="221"/>
                  <a:pt x="190" y="221"/>
                  <a:pt x="190" y="221"/>
                </a:cubicBezTo>
                <a:cubicBezTo>
                  <a:pt x="191" y="220"/>
                  <a:pt x="191" y="220"/>
                  <a:pt x="191" y="220"/>
                </a:cubicBezTo>
                <a:cubicBezTo>
                  <a:pt x="191" y="219"/>
                  <a:pt x="191" y="219"/>
                  <a:pt x="191" y="219"/>
                </a:cubicBezTo>
                <a:cubicBezTo>
                  <a:pt x="190" y="218"/>
                  <a:pt x="190" y="218"/>
                  <a:pt x="190" y="218"/>
                </a:cubicBezTo>
                <a:cubicBezTo>
                  <a:pt x="189" y="219"/>
                  <a:pt x="189" y="219"/>
                  <a:pt x="189" y="219"/>
                </a:cubicBezTo>
                <a:cubicBezTo>
                  <a:pt x="189" y="219"/>
                  <a:pt x="189" y="219"/>
                  <a:pt x="189" y="219"/>
                </a:cubicBezTo>
                <a:cubicBezTo>
                  <a:pt x="189" y="220"/>
                  <a:pt x="189" y="220"/>
                  <a:pt x="189" y="220"/>
                </a:cubicBezTo>
                <a:close/>
                <a:moveTo>
                  <a:pt x="213" y="250"/>
                </a:moveTo>
                <a:cubicBezTo>
                  <a:pt x="213" y="250"/>
                  <a:pt x="213" y="250"/>
                  <a:pt x="213" y="250"/>
                </a:cubicBezTo>
                <a:cubicBezTo>
                  <a:pt x="214" y="251"/>
                  <a:pt x="214" y="251"/>
                  <a:pt x="214" y="251"/>
                </a:cubicBezTo>
                <a:cubicBezTo>
                  <a:pt x="214" y="251"/>
                  <a:pt x="214" y="251"/>
                  <a:pt x="214" y="251"/>
                </a:cubicBezTo>
                <a:cubicBezTo>
                  <a:pt x="215" y="252"/>
                  <a:pt x="215" y="252"/>
                  <a:pt x="215" y="252"/>
                </a:cubicBezTo>
                <a:cubicBezTo>
                  <a:pt x="216" y="252"/>
                  <a:pt x="216" y="252"/>
                  <a:pt x="216" y="252"/>
                </a:cubicBezTo>
                <a:cubicBezTo>
                  <a:pt x="217" y="251"/>
                  <a:pt x="217" y="251"/>
                  <a:pt x="217" y="251"/>
                </a:cubicBezTo>
                <a:cubicBezTo>
                  <a:pt x="216" y="250"/>
                  <a:pt x="216" y="250"/>
                  <a:pt x="216" y="250"/>
                </a:cubicBezTo>
                <a:cubicBezTo>
                  <a:pt x="215" y="250"/>
                  <a:pt x="215" y="250"/>
                  <a:pt x="215" y="250"/>
                </a:cubicBezTo>
                <a:cubicBezTo>
                  <a:pt x="214" y="250"/>
                  <a:pt x="214" y="250"/>
                  <a:pt x="214" y="250"/>
                </a:cubicBezTo>
                <a:cubicBezTo>
                  <a:pt x="214" y="250"/>
                  <a:pt x="214" y="250"/>
                  <a:pt x="214" y="250"/>
                </a:cubicBezTo>
                <a:cubicBezTo>
                  <a:pt x="213" y="250"/>
                  <a:pt x="213" y="250"/>
                  <a:pt x="213" y="250"/>
                </a:cubicBezTo>
                <a:close/>
                <a:moveTo>
                  <a:pt x="208" y="166"/>
                </a:moveTo>
                <a:cubicBezTo>
                  <a:pt x="208" y="165"/>
                  <a:pt x="208" y="165"/>
                  <a:pt x="208" y="165"/>
                </a:cubicBezTo>
                <a:cubicBezTo>
                  <a:pt x="208" y="165"/>
                  <a:pt x="208" y="165"/>
                  <a:pt x="208" y="165"/>
                </a:cubicBezTo>
                <a:cubicBezTo>
                  <a:pt x="208" y="164"/>
                  <a:pt x="208" y="164"/>
                  <a:pt x="208" y="164"/>
                </a:cubicBezTo>
                <a:cubicBezTo>
                  <a:pt x="208" y="163"/>
                  <a:pt x="208" y="163"/>
                  <a:pt x="208" y="163"/>
                </a:cubicBezTo>
                <a:cubicBezTo>
                  <a:pt x="208" y="162"/>
                  <a:pt x="208" y="162"/>
                  <a:pt x="208" y="162"/>
                </a:cubicBezTo>
                <a:cubicBezTo>
                  <a:pt x="207" y="162"/>
                  <a:pt x="207" y="162"/>
                  <a:pt x="207" y="162"/>
                </a:cubicBezTo>
                <a:cubicBezTo>
                  <a:pt x="206" y="162"/>
                  <a:pt x="206" y="162"/>
                  <a:pt x="206" y="162"/>
                </a:cubicBezTo>
                <a:cubicBezTo>
                  <a:pt x="205" y="165"/>
                  <a:pt x="205" y="165"/>
                  <a:pt x="205" y="165"/>
                </a:cubicBezTo>
                <a:cubicBezTo>
                  <a:pt x="206" y="166"/>
                  <a:pt x="206" y="166"/>
                  <a:pt x="206" y="166"/>
                </a:cubicBezTo>
                <a:cubicBezTo>
                  <a:pt x="207" y="166"/>
                  <a:pt x="207" y="166"/>
                  <a:pt x="207" y="166"/>
                </a:cubicBezTo>
                <a:cubicBezTo>
                  <a:pt x="208" y="166"/>
                  <a:pt x="208" y="166"/>
                  <a:pt x="208" y="166"/>
                </a:cubicBezTo>
                <a:cubicBezTo>
                  <a:pt x="208" y="166"/>
                  <a:pt x="208" y="166"/>
                  <a:pt x="208" y="166"/>
                </a:cubicBezTo>
                <a:close/>
                <a:moveTo>
                  <a:pt x="206" y="157"/>
                </a:moveTo>
                <a:cubicBezTo>
                  <a:pt x="207" y="156"/>
                  <a:pt x="207" y="156"/>
                  <a:pt x="207" y="156"/>
                </a:cubicBezTo>
                <a:cubicBezTo>
                  <a:pt x="208" y="157"/>
                  <a:pt x="208" y="157"/>
                  <a:pt x="208" y="157"/>
                </a:cubicBezTo>
                <a:cubicBezTo>
                  <a:pt x="209" y="156"/>
                  <a:pt x="209" y="156"/>
                  <a:pt x="209" y="156"/>
                </a:cubicBezTo>
                <a:cubicBezTo>
                  <a:pt x="209" y="155"/>
                  <a:pt x="209" y="155"/>
                  <a:pt x="209" y="155"/>
                </a:cubicBezTo>
                <a:cubicBezTo>
                  <a:pt x="209" y="154"/>
                  <a:pt x="209" y="154"/>
                  <a:pt x="209" y="154"/>
                </a:cubicBezTo>
                <a:cubicBezTo>
                  <a:pt x="210" y="154"/>
                  <a:pt x="210" y="154"/>
                  <a:pt x="210" y="154"/>
                </a:cubicBezTo>
                <a:cubicBezTo>
                  <a:pt x="210" y="154"/>
                  <a:pt x="210" y="154"/>
                  <a:pt x="210" y="154"/>
                </a:cubicBezTo>
                <a:cubicBezTo>
                  <a:pt x="209" y="154"/>
                  <a:pt x="209" y="154"/>
                  <a:pt x="209" y="154"/>
                </a:cubicBezTo>
                <a:cubicBezTo>
                  <a:pt x="207" y="155"/>
                  <a:pt x="207" y="155"/>
                  <a:pt x="207" y="155"/>
                </a:cubicBezTo>
                <a:cubicBezTo>
                  <a:pt x="206" y="156"/>
                  <a:pt x="206" y="156"/>
                  <a:pt x="206" y="156"/>
                </a:cubicBezTo>
                <a:cubicBezTo>
                  <a:pt x="206" y="157"/>
                  <a:pt x="206" y="157"/>
                  <a:pt x="206" y="157"/>
                </a:cubicBezTo>
                <a:close/>
                <a:moveTo>
                  <a:pt x="212" y="159"/>
                </a:moveTo>
                <a:cubicBezTo>
                  <a:pt x="213" y="160"/>
                  <a:pt x="213" y="160"/>
                  <a:pt x="213" y="160"/>
                </a:cubicBezTo>
                <a:cubicBezTo>
                  <a:pt x="215" y="160"/>
                  <a:pt x="215" y="160"/>
                  <a:pt x="215" y="160"/>
                </a:cubicBezTo>
                <a:cubicBezTo>
                  <a:pt x="216" y="160"/>
                  <a:pt x="216" y="160"/>
                  <a:pt x="216" y="160"/>
                </a:cubicBezTo>
                <a:cubicBezTo>
                  <a:pt x="215" y="159"/>
                  <a:pt x="215" y="159"/>
                  <a:pt x="215" y="159"/>
                </a:cubicBezTo>
                <a:cubicBezTo>
                  <a:pt x="214" y="159"/>
                  <a:pt x="214" y="159"/>
                  <a:pt x="214" y="159"/>
                </a:cubicBezTo>
                <a:cubicBezTo>
                  <a:pt x="212" y="159"/>
                  <a:pt x="212" y="159"/>
                  <a:pt x="212" y="159"/>
                </a:cubicBezTo>
                <a:cubicBezTo>
                  <a:pt x="212" y="159"/>
                  <a:pt x="212" y="159"/>
                  <a:pt x="212" y="159"/>
                </a:cubicBezTo>
                <a:close/>
                <a:moveTo>
                  <a:pt x="224" y="168"/>
                </a:moveTo>
                <a:cubicBezTo>
                  <a:pt x="224" y="169"/>
                  <a:pt x="224" y="169"/>
                  <a:pt x="224" y="169"/>
                </a:cubicBezTo>
                <a:cubicBezTo>
                  <a:pt x="223" y="170"/>
                  <a:pt x="223" y="170"/>
                  <a:pt x="223" y="170"/>
                </a:cubicBezTo>
                <a:cubicBezTo>
                  <a:pt x="222" y="171"/>
                  <a:pt x="222" y="171"/>
                  <a:pt x="222" y="171"/>
                </a:cubicBezTo>
                <a:cubicBezTo>
                  <a:pt x="222" y="172"/>
                  <a:pt x="222" y="172"/>
                  <a:pt x="222" y="172"/>
                </a:cubicBezTo>
                <a:cubicBezTo>
                  <a:pt x="223" y="173"/>
                  <a:pt x="223" y="173"/>
                  <a:pt x="223" y="173"/>
                </a:cubicBezTo>
                <a:cubicBezTo>
                  <a:pt x="224" y="173"/>
                  <a:pt x="224" y="173"/>
                  <a:pt x="224" y="173"/>
                </a:cubicBezTo>
                <a:cubicBezTo>
                  <a:pt x="225" y="171"/>
                  <a:pt x="225" y="171"/>
                  <a:pt x="225" y="171"/>
                </a:cubicBezTo>
                <a:cubicBezTo>
                  <a:pt x="226" y="171"/>
                  <a:pt x="226" y="171"/>
                  <a:pt x="226" y="171"/>
                </a:cubicBezTo>
                <a:cubicBezTo>
                  <a:pt x="226" y="170"/>
                  <a:pt x="226" y="170"/>
                  <a:pt x="226" y="170"/>
                </a:cubicBezTo>
                <a:cubicBezTo>
                  <a:pt x="227" y="169"/>
                  <a:pt x="227" y="169"/>
                  <a:pt x="227" y="169"/>
                </a:cubicBezTo>
                <a:cubicBezTo>
                  <a:pt x="229" y="168"/>
                  <a:pt x="229" y="168"/>
                  <a:pt x="229" y="168"/>
                </a:cubicBezTo>
                <a:cubicBezTo>
                  <a:pt x="228" y="167"/>
                  <a:pt x="228" y="167"/>
                  <a:pt x="228" y="167"/>
                </a:cubicBezTo>
                <a:cubicBezTo>
                  <a:pt x="228" y="166"/>
                  <a:pt x="228" y="166"/>
                  <a:pt x="228" y="166"/>
                </a:cubicBezTo>
                <a:cubicBezTo>
                  <a:pt x="227" y="166"/>
                  <a:pt x="227" y="166"/>
                  <a:pt x="227" y="166"/>
                </a:cubicBezTo>
                <a:cubicBezTo>
                  <a:pt x="225" y="167"/>
                  <a:pt x="225" y="167"/>
                  <a:pt x="225" y="167"/>
                </a:cubicBezTo>
                <a:cubicBezTo>
                  <a:pt x="224" y="168"/>
                  <a:pt x="224" y="168"/>
                  <a:pt x="224" y="168"/>
                </a:cubicBezTo>
                <a:close/>
                <a:moveTo>
                  <a:pt x="228" y="156"/>
                </a:moveTo>
                <a:cubicBezTo>
                  <a:pt x="227" y="158"/>
                  <a:pt x="227" y="158"/>
                  <a:pt x="227" y="158"/>
                </a:cubicBezTo>
                <a:cubicBezTo>
                  <a:pt x="227" y="160"/>
                  <a:pt x="227" y="160"/>
                  <a:pt x="227" y="160"/>
                </a:cubicBezTo>
                <a:cubicBezTo>
                  <a:pt x="226" y="161"/>
                  <a:pt x="226" y="161"/>
                  <a:pt x="226" y="161"/>
                </a:cubicBezTo>
                <a:cubicBezTo>
                  <a:pt x="226" y="162"/>
                  <a:pt x="226" y="162"/>
                  <a:pt x="226" y="162"/>
                </a:cubicBezTo>
                <a:cubicBezTo>
                  <a:pt x="228" y="162"/>
                  <a:pt x="228" y="162"/>
                  <a:pt x="228" y="162"/>
                </a:cubicBezTo>
                <a:cubicBezTo>
                  <a:pt x="228" y="163"/>
                  <a:pt x="228" y="163"/>
                  <a:pt x="228" y="163"/>
                </a:cubicBezTo>
                <a:cubicBezTo>
                  <a:pt x="230" y="163"/>
                  <a:pt x="230" y="163"/>
                  <a:pt x="230" y="163"/>
                </a:cubicBezTo>
                <a:cubicBezTo>
                  <a:pt x="231" y="164"/>
                  <a:pt x="231" y="164"/>
                  <a:pt x="231" y="164"/>
                </a:cubicBezTo>
                <a:cubicBezTo>
                  <a:pt x="232" y="163"/>
                  <a:pt x="232" y="163"/>
                  <a:pt x="232" y="163"/>
                </a:cubicBezTo>
                <a:cubicBezTo>
                  <a:pt x="232" y="163"/>
                  <a:pt x="232" y="163"/>
                  <a:pt x="232" y="163"/>
                </a:cubicBezTo>
                <a:cubicBezTo>
                  <a:pt x="231" y="161"/>
                  <a:pt x="231" y="161"/>
                  <a:pt x="231" y="161"/>
                </a:cubicBezTo>
                <a:cubicBezTo>
                  <a:pt x="230" y="159"/>
                  <a:pt x="230" y="159"/>
                  <a:pt x="230" y="159"/>
                </a:cubicBezTo>
                <a:cubicBezTo>
                  <a:pt x="229" y="158"/>
                  <a:pt x="229" y="158"/>
                  <a:pt x="229" y="158"/>
                </a:cubicBezTo>
                <a:cubicBezTo>
                  <a:pt x="228" y="156"/>
                  <a:pt x="228" y="156"/>
                  <a:pt x="228" y="156"/>
                </a:cubicBezTo>
                <a:close/>
                <a:moveTo>
                  <a:pt x="220" y="135"/>
                </a:moveTo>
                <a:cubicBezTo>
                  <a:pt x="219" y="134"/>
                  <a:pt x="219" y="134"/>
                  <a:pt x="219" y="134"/>
                </a:cubicBezTo>
                <a:cubicBezTo>
                  <a:pt x="220" y="134"/>
                  <a:pt x="220" y="134"/>
                  <a:pt x="220" y="134"/>
                </a:cubicBezTo>
                <a:cubicBezTo>
                  <a:pt x="219" y="133"/>
                  <a:pt x="219" y="133"/>
                  <a:pt x="219" y="133"/>
                </a:cubicBezTo>
                <a:cubicBezTo>
                  <a:pt x="217" y="133"/>
                  <a:pt x="217" y="133"/>
                  <a:pt x="217" y="133"/>
                </a:cubicBezTo>
                <a:cubicBezTo>
                  <a:pt x="217" y="134"/>
                  <a:pt x="217" y="134"/>
                  <a:pt x="217" y="134"/>
                </a:cubicBezTo>
                <a:cubicBezTo>
                  <a:pt x="218" y="134"/>
                  <a:pt x="218" y="134"/>
                  <a:pt x="218" y="134"/>
                </a:cubicBezTo>
                <a:cubicBezTo>
                  <a:pt x="218" y="135"/>
                  <a:pt x="218" y="135"/>
                  <a:pt x="218" y="135"/>
                </a:cubicBezTo>
                <a:cubicBezTo>
                  <a:pt x="219" y="136"/>
                  <a:pt x="219" y="136"/>
                  <a:pt x="219" y="136"/>
                </a:cubicBezTo>
                <a:cubicBezTo>
                  <a:pt x="220" y="135"/>
                  <a:pt x="220" y="135"/>
                  <a:pt x="220" y="135"/>
                </a:cubicBezTo>
                <a:close/>
                <a:moveTo>
                  <a:pt x="224" y="120"/>
                </a:moveTo>
                <a:cubicBezTo>
                  <a:pt x="223" y="119"/>
                  <a:pt x="223" y="119"/>
                  <a:pt x="223" y="119"/>
                </a:cubicBezTo>
                <a:cubicBezTo>
                  <a:pt x="222" y="119"/>
                  <a:pt x="222" y="119"/>
                  <a:pt x="222" y="119"/>
                </a:cubicBezTo>
                <a:cubicBezTo>
                  <a:pt x="223" y="121"/>
                  <a:pt x="223" y="121"/>
                  <a:pt x="223" y="121"/>
                </a:cubicBezTo>
                <a:cubicBezTo>
                  <a:pt x="223" y="121"/>
                  <a:pt x="223" y="121"/>
                  <a:pt x="223" y="121"/>
                </a:cubicBezTo>
                <a:cubicBezTo>
                  <a:pt x="224" y="121"/>
                  <a:pt x="224" y="121"/>
                  <a:pt x="224" y="121"/>
                </a:cubicBezTo>
                <a:cubicBezTo>
                  <a:pt x="225" y="121"/>
                  <a:pt x="225" y="121"/>
                  <a:pt x="225" y="121"/>
                </a:cubicBezTo>
                <a:cubicBezTo>
                  <a:pt x="225" y="123"/>
                  <a:pt x="225" y="123"/>
                  <a:pt x="225" y="123"/>
                </a:cubicBezTo>
                <a:cubicBezTo>
                  <a:pt x="225" y="123"/>
                  <a:pt x="225" y="123"/>
                  <a:pt x="225" y="123"/>
                </a:cubicBezTo>
                <a:cubicBezTo>
                  <a:pt x="225" y="122"/>
                  <a:pt x="225" y="122"/>
                  <a:pt x="225" y="122"/>
                </a:cubicBezTo>
                <a:cubicBezTo>
                  <a:pt x="225" y="121"/>
                  <a:pt x="225" y="121"/>
                  <a:pt x="225" y="121"/>
                </a:cubicBezTo>
                <a:cubicBezTo>
                  <a:pt x="226" y="120"/>
                  <a:pt x="226" y="120"/>
                  <a:pt x="226" y="120"/>
                </a:cubicBezTo>
                <a:cubicBezTo>
                  <a:pt x="226" y="119"/>
                  <a:pt x="226" y="119"/>
                  <a:pt x="226" y="119"/>
                </a:cubicBezTo>
                <a:cubicBezTo>
                  <a:pt x="225" y="119"/>
                  <a:pt x="225" y="119"/>
                  <a:pt x="225" y="119"/>
                </a:cubicBezTo>
                <a:cubicBezTo>
                  <a:pt x="225" y="118"/>
                  <a:pt x="225" y="118"/>
                  <a:pt x="225" y="118"/>
                </a:cubicBezTo>
                <a:cubicBezTo>
                  <a:pt x="225" y="117"/>
                  <a:pt x="225" y="117"/>
                  <a:pt x="225" y="117"/>
                </a:cubicBezTo>
                <a:cubicBezTo>
                  <a:pt x="224" y="117"/>
                  <a:pt x="224" y="117"/>
                  <a:pt x="224" y="117"/>
                </a:cubicBezTo>
                <a:cubicBezTo>
                  <a:pt x="223" y="117"/>
                  <a:pt x="223" y="117"/>
                  <a:pt x="223" y="117"/>
                </a:cubicBezTo>
                <a:cubicBezTo>
                  <a:pt x="223" y="118"/>
                  <a:pt x="223" y="118"/>
                  <a:pt x="223" y="118"/>
                </a:cubicBezTo>
                <a:cubicBezTo>
                  <a:pt x="224" y="119"/>
                  <a:pt x="224" y="119"/>
                  <a:pt x="224" y="119"/>
                </a:cubicBezTo>
                <a:cubicBezTo>
                  <a:pt x="224" y="120"/>
                  <a:pt x="224" y="120"/>
                  <a:pt x="224" y="120"/>
                </a:cubicBezTo>
                <a:close/>
                <a:moveTo>
                  <a:pt x="222" y="112"/>
                </a:moveTo>
                <a:cubicBezTo>
                  <a:pt x="220" y="112"/>
                  <a:pt x="220" y="112"/>
                  <a:pt x="220" y="112"/>
                </a:cubicBezTo>
                <a:cubicBezTo>
                  <a:pt x="220" y="111"/>
                  <a:pt x="220" y="111"/>
                  <a:pt x="220" y="111"/>
                </a:cubicBezTo>
                <a:cubicBezTo>
                  <a:pt x="219" y="111"/>
                  <a:pt x="219" y="111"/>
                  <a:pt x="219" y="111"/>
                </a:cubicBezTo>
                <a:cubicBezTo>
                  <a:pt x="218" y="111"/>
                  <a:pt x="218" y="111"/>
                  <a:pt x="218" y="111"/>
                </a:cubicBezTo>
                <a:cubicBezTo>
                  <a:pt x="218" y="112"/>
                  <a:pt x="218" y="112"/>
                  <a:pt x="218" y="112"/>
                </a:cubicBezTo>
                <a:cubicBezTo>
                  <a:pt x="220" y="113"/>
                  <a:pt x="220" y="113"/>
                  <a:pt x="220" y="113"/>
                </a:cubicBezTo>
                <a:cubicBezTo>
                  <a:pt x="221" y="113"/>
                  <a:pt x="221" y="113"/>
                  <a:pt x="221" y="113"/>
                </a:cubicBezTo>
                <a:cubicBezTo>
                  <a:pt x="222" y="112"/>
                  <a:pt x="222" y="112"/>
                  <a:pt x="222" y="112"/>
                </a:cubicBezTo>
                <a:close/>
                <a:moveTo>
                  <a:pt x="222" y="111"/>
                </a:moveTo>
                <a:cubicBezTo>
                  <a:pt x="222" y="111"/>
                  <a:pt x="222" y="111"/>
                  <a:pt x="222" y="111"/>
                </a:cubicBezTo>
                <a:cubicBezTo>
                  <a:pt x="224" y="111"/>
                  <a:pt x="224" y="111"/>
                  <a:pt x="224" y="111"/>
                </a:cubicBezTo>
                <a:cubicBezTo>
                  <a:pt x="225" y="111"/>
                  <a:pt x="225" y="111"/>
                  <a:pt x="225" y="111"/>
                </a:cubicBezTo>
                <a:cubicBezTo>
                  <a:pt x="226" y="111"/>
                  <a:pt x="226" y="111"/>
                  <a:pt x="226" y="111"/>
                </a:cubicBezTo>
                <a:cubicBezTo>
                  <a:pt x="226" y="110"/>
                  <a:pt x="226" y="110"/>
                  <a:pt x="226" y="110"/>
                </a:cubicBezTo>
                <a:cubicBezTo>
                  <a:pt x="224" y="110"/>
                  <a:pt x="224" y="110"/>
                  <a:pt x="224" y="110"/>
                </a:cubicBezTo>
                <a:cubicBezTo>
                  <a:pt x="223" y="109"/>
                  <a:pt x="223" y="109"/>
                  <a:pt x="223" y="109"/>
                </a:cubicBezTo>
                <a:cubicBezTo>
                  <a:pt x="222" y="110"/>
                  <a:pt x="222" y="110"/>
                  <a:pt x="222" y="110"/>
                </a:cubicBezTo>
                <a:cubicBezTo>
                  <a:pt x="222" y="111"/>
                  <a:pt x="222" y="111"/>
                  <a:pt x="222" y="111"/>
                </a:cubicBezTo>
                <a:close/>
                <a:moveTo>
                  <a:pt x="236" y="141"/>
                </a:moveTo>
                <a:cubicBezTo>
                  <a:pt x="237" y="140"/>
                  <a:pt x="237" y="140"/>
                  <a:pt x="237" y="140"/>
                </a:cubicBezTo>
                <a:cubicBezTo>
                  <a:pt x="236" y="139"/>
                  <a:pt x="236" y="139"/>
                  <a:pt x="236" y="139"/>
                </a:cubicBezTo>
                <a:cubicBezTo>
                  <a:pt x="235" y="139"/>
                  <a:pt x="235" y="139"/>
                  <a:pt x="235" y="139"/>
                </a:cubicBezTo>
                <a:cubicBezTo>
                  <a:pt x="235" y="140"/>
                  <a:pt x="235" y="140"/>
                  <a:pt x="235" y="140"/>
                </a:cubicBezTo>
                <a:cubicBezTo>
                  <a:pt x="235" y="141"/>
                  <a:pt x="235" y="141"/>
                  <a:pt x="235" y="141"/>
                </a:cubicBezTo>
                <a:cubicBezTo>
                  <a:pt x="236" y="141"/>
                  <a:pt x="236" y="141"/>
                  <a:pt x="236" y="141"/>
                </a:cubicBezTo>
                <a:close/>
                <a:moveTo>
                  <a:pt x="240" y="140"/>
                </a:moveTo>
                <a:cubicBezTo>
                  <a:pt x="241" y="139"/>
                  <a:pt x="241" y="139"/>
                  <a:pt x="241" y="139"/>
                </a:cubicBezTo>
                <a:cubicBezTo>
                  <a:pt x="241" y="139"/>
                  <a:pt x="241" y="139"/>
                  <a:pt x="241" y="139"/>
                </a:cubicBezTo>
                <a:cubicBezTo>
                  <a:pt x="239" y="138"/>
                  <a:pt x="239" y="138"/>
                  <a:pt x="239" y="138"/>
                </a:cubicBezTo>
                <a:cubicBezTo>
                  <a:pt x="239" y="139"/>
                  <a:pt x="239" y="139"/>
                  <a:pt x="239" y="139"/>
                </a:cubicBezTo>
                <a:cubicBezTo>
                  <a:pt x="238" y="139"/>
                  <a:pt x="238" y="139"/>
                  <a:pt x="238" y="139"/>
                </a:cubicBezTo>
                <a:cubicBezTo>
                  <a:pt x="238" y="140"/>
                  <a:pt x="238" y="140"/>
                  <a:pt x="238" y="140"/>
                </a:cubicBezTo>
                <a:cubicBezTo>
                  <a:pt x="240" y="140"/>
                  <a:pt x="240" y="140"/>
                  <a:pt x="240" y="140"/>
                </a:cubicBezTo>
                <a:close/>
                <a:moveTo>
                  <a:pt x="245" y="141"/>
                </a:moveTo>
                <a:cubicBezTo>
                  <a:pt x="246" y="141"/>
                  <a:pt x="246" y="141"/>
                  <a:pt x="246" y="141"/>
                </a:cubicBezTo>
                <a:cubicBezTo>
                  <a:pt x="245" y="140"/>
                  <a:pt x="245" y="140"/>
                  <a:pt x="245" y="140"/>
                </a:cubicBezTo>
                <a:cubicBezTo>
                  <a:pt x="243" y="141"/>
                  <a:pt x="243" y="141"/>
                  <a:pt x="243" y="141"/>
                </a:cubicBezTo>
                <a:cubicBezTo>
                  <a:pt x="244" y="141"/>
                  <a:pt x="244" y="141"/>
                  <a:pt x="244" y="141"/>
                </a:cubicBezTo>
                <a:cubicBezTo>
                  <a:pt x="245" y="141"/>
                  <a:pt x="245" y="141"/>
                  <a:pt x="245" y="141"/>
                </a:cubicBezTo>
                <a:close/>
                <a:moveTo>
                  <a:pt x="254" y="138"/>
                </a:moveTo>
                <a:cubicBezTo>
                  <a:pt x="255" y="140"/>
                  <a:pt x="255" y="140"/>
                  <a:pt x="255" y="140"/>
                </a:cubicBezTo>
                <a:cubicBezTo>
                  <a:pt x="255" y="140"/>
                  <a:pt x="255" y="140"/>
                  <a:pt x="255" y="140"/>
                </a:cubicBezTo>
                <a:cubicBezTo>
                  <a:pt x="256" y="139"/>
                  <a:pt x="256" y="139"/>
                  <a:pt x="256" y="139"/>
                </a:cubicBezTo>
                <a:cubicBezTo>
                  <a:pt x="255" y="139"/>
                  <a:pt x="255" y="139"/>
                  <a:pt x="255" y="139"/>
                </a:cubicBezTo>
                <a:cubicBezTo>
                  <a:pt x="254" y="138"/>
                  <a:pt x="254" y="138"/>
                  <a:pt x="254" y="138"/>
                </a:cubicBezTo>
                <a:close/>
                <a:moveTo>
                  <a:pt x="249" y="137"/>
                </a:moveTo>
                <a:cubicBezTo>
                  <a:pt x="250" y="137"/>
                  <a:pt x="250" y="137"/>
                  <a:pt x="250" y="137"/>
                </a:cubicBezTo>
                <a:cubicBezTo>
                  <a:pt x="251" y="136"/>
                  <a:pt x="251" y="136"/>
                  <a:pt x="251" y="136"/>
                </a:cubicBezTo>
                <a:cubicBezTo>
                  <a:pt x="250" y="136"/>
                  <a:pt x="250" y="136"/>
                  <a:pt x="250" y="136"/>
                </a:cubicBezTo>
                <a:cubicBezTo>
                  <a:pt x="249" y="136"/>
                  <a:pt x="249" y="136"/>
                  <a:pt x="249" y="136"/>
                </a:cubicBezTo>
                <a:cubicBezTo>
                  <a:pt x="249" y="137"/>
                  <a:pt x="249" y="137"/>
                  <a:pt x="249" y="137"/>
                </a:cubicBezTo>
                <a:cubicBezTo>
                  <a:pt x="249" y="137"/>
                  <a:pt x="249" y="137"/>
                  <a:pt x="249" y="137"/>
                </a:cubicBezTo>
                <a:close/>
                <a:moveTo>
                  <a:pt x="245" y="132"/>
                </a:moveTo>
                <a:cubicBezTo>
                  <a:pt x="245" y="131"/>
                  <a:pt x="245" y="131"/>
                  <a:pt x="245" y="131"/>
                </a:cubicBezTo>
                <a:cubicBezTo>
                  <a:pt x="244" y="131"/>
                  <a:pt x="244" y="131"/>
                  <a:pt x="244" y="131"/>
                </a:cubicBezTo>
                <a:cubicBezTo>
                  <a:pt x="243" y="132"/>
                  <a:pt x="243" y="132"/>
                  <a:pt x="243" y="132"/>
                </a:cubicBezTo>
                <a:cubicBezTo>
                  <a:pt x="243" y="133"/>
                  <a:pt x="243" y="133"/>
                  <a:pt x="243" y="133"/>
                </a:cubicBezTo>
                <a:cubicBezTo>
                  <a:pt x="244" y="134"/>
                  <a:pt x="244" y="134"/>
                  <a:pt x="244" y="134"/>
                </a:cubicBezTo>
                <a:cubicBezTo>
                  <a:pt x="244" y="133"/>
                  <a:pt x="244" y="133"/>
                  <a:pt x="244" y="133"/>
                </a:cubicBezTo>
                <a:cubicBezTo>
                  <a:pt x="244" y="133"/>
                  <a:pt x="244" y="133"/>
                  <a:pt x="244" y="133"/>
                </a:cubicBezTo>
                <a:cubicBezTo>
                  <a:pt x="244" y="132"/>
                  <a:pt x="244" y="132"/>
                  <a:pt x="244" y="132"/>
                </a:cubicBezTo>
                <a:cubicBezTo>
                  <a:pt x="245" y="132"/>
                  <a:pt x="245" y="132"/>
                  <a:pt x="245" y="132"/>
                </a:cubicBezTo>
                <a:close/>
                <a:moveTo>
                  <a:pt x="248" y="131"/>
                </a:moveTo>
                <a:cubicBezTo>
                  <a:pt x="248" y="130"/>
                  <a:pt x="248" y="130"/>
                  <a:pt x="248" y="130"/>
                </a:cubicBezTo>
                <a:cubicBezTo>
                  <a:pt x="247" y="130"/>
                  <a:pt x="247" y="130"/>
                  <a:pt x="247" y="130"/>
                </a:cubicBezTo>
                <a:cubicBezTo>
                  <a:pt x="246" y="131"/>
                  <a:pt x="246" y="131"/>
                  <a:pt x="246" y="131"/>
                </a:cubicBezTo>
                <a:cubicBezTo>
                  <a:pt x="247" y="132"/>
                  <a:pt x="247" y="132"/>
                  <a:pt x="247" y="132"/>
                </a:cubicBezTo>
                <a:cubicBezTo>
                  <a:pt x="248" y="132"/>
                  <a:pt x="248" y="132"/>
                  <a:pt x="248" y="132"/>
                </a:cubicBezTo>
                <a:cubicBezTo>
                  <a:pt x="248" y="131"/>
                  <a:pt x="248" y="131"/>
                  <a:pt x="248" y="131"/>
                </a:cubicBezTo>
                <a:cubicBezTo>
                  <a:pt x="248" y="131"/>
                  <a:pt x="248" y="131"/>
                  <a:pt x="248" y="131"/>
                </a:cubicBezTo>
                <a:close/>
                <a:moveTo>
                  <a:pt x="249" y="132"/>
                </a:moveTo>
                <a:cubicBezTo>
                  <a:pt x="249" y="132"/>
                  <a:pt x="249" y="132"/>
                  <a:pt x="249" y="132"/>
                </a:cubicBezTo>
                <a:cubicBezTo>
                  <a:pt x="250" y="132"/>
                  <a:pt x="250" y="132"/>
                  <a:pt x="250" y="132"/>
                </a:cubicBezTo>
                <a:cubicBezTo>
                  <a:pt x="251" y="131"/>
                  <a:pt x="251" y="131"/>
                  <a:pt x="251" y="131"/>
                </a:cubicBezTo>
                <a:cubicBezTo>
                  <a:pt x="251" y="130"/>
                  <a:pt x="251" y="130"/>
                  <a:pt x="251" y="130"/>
                </a:cubicBezTo>
                <a:cubicBezTo>
                  <a:pt x="250" y="129"/>
                  <a:pt x="250" y="129"/>
                  <a:pt x="250" y="129"/>
                </a:cubicBezTo>
                <a:cubicBezTo>
                  <a:pt x="249" y="129"/>
                  <a:pt x="249" y="129"/>
                  <a:pt x="249" y="129"/>
                </a:cubicBezTo>
                <a:cubicBezTo>
                  <a:pt x="249" y="130"/>
                  <a:pt x="249" y="130"/>
                  <a:pt x="249" y="130"/>
                </a:cubicBezTo>
                <a:cubicBezTo>
                  <a:pt x="249" y="131"/>
                  <a:pt x="249" y="131"/>
                  <a:pt x="249" y="131"/>
                </a:cubicBezTo>
                <a:cubicBezTo>
                  <a:pt x="249" y="132"/>
                  <a:pt x="249" y="132"/>
                  <a:pt x="249" y="132"/>
                </a:cubicBezTo>
                <a:close/>
                <a:moveTo>
                  <a:pt x="245" y="128"/>
                </a:moveTo>
                <a:cubicBezTo>
                  <a:pt x="246" y="127"/>
                  <a:pt x="246" y="127"/>
                  <a:pt x="246" y="127"/>
                </a:cubicBezTo>
                <a:cubicBezTo>
                  <a:pt x="246" y="126"/>
                  <a:pt x="246" y="126"/>
                  <a:pt x="246" y="126"/>
                </a:cubicBezTo>
                <a:cubicBezTo>
                  <a:pt x="245" y="126"/>
                  <a:pt x="245" y="126"/>
                  <a:pt x="245" y="126"/>
                </a:cubicBezTo>
                <a:cubicBezTo>
                  <a:pt x="244" y="126"/>
                  <a:pt x="244" y="126"/>
                  <a:pt x="244" y="126"/>
                </a:cubicBezTo>
                <a:cubicBezTo>
                  <a:pt x="243" y="127"/>
                  <a:pt x="243" y="127"/>
                  <a:pt x="243" y="127"/>
                </a:cubicBezTo>
                <a:cubicBezTo>
                  <a:pt x="243" y="127"/>
                  <a:pt x="243" y="127"/>
                  <a:pt x="243" y="127"/>
                </a:cubicBezTo>
                <a:cubicBezTo>
                  <a:pt x="245" y="127"/>
                  <a:pt x="245" y="127"/>
                  <a:pt x="245" y="127"/>
                </a:cubicBezTo>
                <a:cubicBezTo>
                  <a:pt x="245" y="128"/>
                  <a:pt x="245" y="128"/>
                  <a:pt x="245" y="128"/>
                </a:cubicBezTo>
                <a:close/>
                <a:moveTo>
                  <a:pt x="251" y="125"/>
                </a:moveTo>
                <a:cubicBezTo>
                  <a:pt x="252" y="125"/>
                  <a:pt x="252" y="125"/>
                  <a:pt x="252" y="125"/>
                </a:cubicBezTo>
                <a:cubicBezTo>
                  <a:pt x="251" y="124"/>
                  <a:pt x="251" y="124"/>
                  <a:pt x="251" y="124"/>
                </a:cubicBezTo>
                <a:cubicBezTo>
                  <a:pt x="251" y="124"/>
                  <a:pt x="251" y="124"/>
                  <a:pt x="251" y="124"/>
                </a:cubicBezTo>
                <a:cubicBezTo>
                  <a:pt x="252" y="123"/>
                  <a:pt x="252" y="123"/>
                  <a:pt x="252" y="123"/>
                </a:cubicBezTo>
                <a:cubicBezTo>
                  <a:pt x="252" y="123"/>
                  <a:pt x="252" y="123"/>
                  <a:pt x="252" y="123"/>
                </a:cubicBezTo>
                <a:cubicBezTo>
                  <a:pt x="251" y="122"/>
                  <a:pt x="251" y="122"/>
                  <a:pt x="251" y="122"/>
                </a:cubicBezTo>
                <a:cubicBezTo>
                  <a:pt x="250" y="122"/>
                  <a:pt x="250" y="122"/>
                  <a:pt x="250" y="122"/>
                </a:cubicBezTo>
                <a:cubicBezTo>
                  <a:pt x="249" y="122"/>
                  <a:pt x="249" y="122"/>
                  <a:pt x="249" y="122"/>
                </a:cubicBezTo>
                <a:cubicBezTo>
                  <a:pt x="249" y="123"/>
                  <a:pt x="249" y="123"/>
                  <a:pt x="249" y="123"/>
                </a:cubicBezTo>
                <a:cubicBezTo>
                  <a:pt x="249" y="123"/>
                  <a:pt x="249" y="123"/>
                  <a:pt x="249" y="123"/>
                </a:cubicBezTo>
                <a:cubicBezTo>
                  <a:pt x="248" y="122"/>
                  <a:pt x="248" y="122"/>
                  <a:pt x="248" y="122"/>
                </a:cubicBezTo>
                <a:cubicBezTo>
                  <a:pt x="248" y="123"/>
                  <a:pt x="248" y="123"/>
                  <a:pt x="248" y="123"/>
                </a:cubicBezTo>
                <a:cubicBezTo>
                  <a:pt x="248" y="124"/>
                  <a:pt x="248" y="124"/>
                  <a:pt x="248" y="124"/>
                </a:cubicBezTo>
                <a:cubicBezTo>
                  <a:pt x="249" y="124"/>
                  <a:pt x="249" y="124"/>
                  <a:pt x="249" y="124"/>
                </a:cubicBezTo>
                <a:cubicBezTo>
                  <a:pt x="250" y="124"/>
                  <a:pt x="250" y="124"/>
                  <a:pt x="250" y="124"/>
                </a:cubicBezTo>
                <a:cubicBezTo>
                  <a:pt x="251" y="125"/>
                  <a:pt x="251" y="125"/>
                  <a:pt x="251" y="125"/>
                </a:cubicBezTo>
                <a:close/>
                <a:moveTo>
                  <a:pt x="246" y="71"/>
                </a:moveTo>
                <a:cubicBezTo>
                  <a:pt x="247" y="71"/>
                  <a:pt x="247" y="71"/>
                  <a:pt x="247" y="71"/>
                </a:cubicBezTo>
                <a:cubicBezTo>
                  <a:pt x="247" y="70"/>
                  <a:pt x="247" y="70"/>
                  <a:pt x="247" y="70"/>
                </a:cubicBezTo>
                <a:cubicBezTo>
                  <a:pt x="246" y="70"/>
                  <a:pt x="246" y="70"/>
                  <a:pt x="246" y="70"/>
                </a:cubicBezTo>
                <a:cubicBezTo>
                  <a:pt x="246" y="70"/>
                  <a:pt x="246" y="70"/>
                  <a:pt x="246" y="70"/>
                </a:cubicBezTo>
                <a:cubicBezTo>
                  <a:pt x="246" y="71"/>
                  <a:pt x="246" y="71"/>
                  <a:pt x="246" y="71"/>
                </a:cubicBezTo>
                <a:close/>
                <a:moveTo>
                  <a:pt x="239" y="82"/>
                </a:moveTo>
                <a:cubicBezTo>
                  <a:pt x="240" y="83"/>
                  <a:pt x="240" y="83"/>
                  <a:pt x="240" y="83"/>
                </a:cubicBezTo>
                <a:cubicBezTo>
                  <a:pt x="240" y="83"/>
                  <a:pt x="240" y="83"/>
                  <a:pt x="240" y="83"/>
                </a:cubicBezTo>
                <a:cubicBezTo>
                  <a:pt x="241" y="82"/>
                  <a:pt x="241" y="82"/>
                  <a:pt x="241" y="82"/>
                </a:cubicBezTo>
                <a:cubicBezTo>
                  <a:pt x="242" y="81"/>
                  <a:pt x="242" y="81"/>
                  <a:pt x="242" y="81"/>
                </a:cubicBezTo>
                <a:cubicBezTo>
                  <a:pt x="242" y="80"/>
                  <a:pt x="242" y="80"/>
                  <a:pt x="242" y="80"/>
                </a:cubicBezTo>
                <a:cubicBezTo>
                  <a:pt x="241" y="79"/>
                  <a:pt x="241" y="79"/>
                  <a:pt x="241" y="79"/>
                </a:cubicBezTo>
                <a:cubicBezTo>
                  <a:pt x="240" y="79"/>
                  <a:pt x="240" y="79"/>
                  <a:pt x="240" y="79"/>
                </a:cubicBezTo>
                <a:cubicBezTo>
                  <a:pt x="239" y="80"/>
                  <a:pt x="239" y="80"/>
                  <a:pt x="239" y="80"/>
                </a:cubicBezTo>
                <a:cubicBezTo>
                  <a:pt x="240" y="81"/>
                  <a:pt x="240" y="81"/>
                  <a:pt x="240" y="81"/>
                </a:cubicBezTo>
                <a:cubicBezTo>
                  <a:pt x="239" y="82"/>
                  <a:pt x="239" y="82"/>
                  <a:pt x="239" y="82"/>
                </a:cubicBezTo>
                <a:close/>
                <a:moveTo>
                  <a:pt x="267" y="80"/>
                </a:moveTo>
                <a:cubicBezTo>
                  <a:pt x="268" y="80"/>
                  <a:pt x="268" y="80"/>
                  <a:pt x="268" y="80"/>
                </a:cubicBezTo>
                <a:cubicBezTo>
                  <a:pt x="269" y="79"/>
                  <a:pt x="269" y="79"/>
                  <a:pt x="269" y="79"/>
                </a:cubicBezTo>
                <a:cubicBezTo>
                  <a:pt x="270" y="78"/>
                  <a:pt x="270" y="78"/>
                  <a:pt x="270" y="78"/>
                </a:cubicBezTo>
                <a:cubicBezTo>
                  <a:pt x="270" y="78"/>
                  <a:pt x="270" y="78"/>
                  <a:pt x="270" y="78"/>
                </a:cubicBezTo>
                <a:cubicBezTo>
                  <a:pt x="271" y="79"/>
                  <a:pt x="271" y="79"/>
                  <a:pt x="271" y="79"/>
                </a:cubicBezTo>
                <a:cubicBezTo>
                  <a:pt x="270" y="79"/>
                  <a:pt x="270" y="79"/>
                  <a:pt x="270" y="79"/>
                </a:cubicBezTo>
                <a:cubicBezTo>
                  <a:pt x="271" y="79"/>
                  <a:pt x="271" y="79"/>
                  <a:pt x="271" y="79"/>
                </a:cubicBezTo>
                <a:cubicBezTo>
                  <a:pt x="273" y="77"/>
                  <a:pt x="273" y="77"/>
                  <a:pt x="273" y="77"/>
                </a:cubicBezTo>
                <a:cubicBezTo>
                  <a:pt x="273" y="76"/>
                  <a:pt x="273" y="76"/>
                  <a:pt x="273" y="76"/>
                </a:cubicBezTo>
                <a:cubicBezTo>
                  <a:pt x="273" y="76"/>
                  <a:pt x="273" y="76"/>
                  <a:pt x="273" y="76"/>
                </a:cubicBezTo>
                <a:cubicBezTo>
                  <a:pt x="273" y="74"/>
                  <a:pt x="273" y="74"/>
                  <a:pt x="273" y="74"/>
                </a:cubicBezTo>
                <a:cubicBezTo>
                  <a:pt x="273" y="74"/>
                  <a:pt x="273" y="74"/>
                  <a:pt x="273" y="74"/>
                </a:cubicBezTo>
                <a:cubicBezTo>
                  <a:pt x="272" y="74"/>
                  <a:pt x="272" y="74"/>
                  <a:pt x="272" y="74"/>
                </a:cubicBezTo>
                <a:cubicBezTo>
                  <a:pt x="272" y="75"/>
                  <a:pt x="272" y="75"/>
                  <a:pt x="272" y="75"/>
                </a:cubicBezTo>
                <a:cubicBezTo>
                  <a:pt x="271" y="76"/>
                  <a:pt x="271" y="76"/>
                  <a:pt x="271" y="76"/>
                </a:cubicBezTo>
                <a:cubicBezTo>
                  <a:pt x="269" y="77"/>
                  <a:pt x="269" y="77"/>
                  <a:pt x="269" y="77"/>
                </a:cubicBezTo>
                <a:cubicBezTo>
                  <a:pt x="268" y="78"/>
                  <a:pt x="268" y="78"/>
                  <a:pt x="268" y="78"/>
                </a:cubicBezTo>
                <a:cubicBezTo>
                  <a:pt x="267" y="80"/>
                  <a:pt x="267" y="80"/>
                  <a:pt x="267" y="80"/>
                </a:cubicBezTo>
                <a:close/>
                <a:moveTo>
                  <a:pt x="280" y="81"/>
                </a:moveTo>
                <a:cubicBezTo>
                  <a:pt x="281" y="80"/>
                  <a:pt x="281" y="80"/>
                  <a:pt x="281" y="80"/>
                </a:cubicBezTo>
                <a:cubicBezTo>
                  <a:pt x="282" y="79"/>
                  <a:pt x="282" y="79"/>
                  <a:pt x="282" y="79"/>
                </a:cubicBezTo>
                <a:cubicBezTo>
                  <a:pt x="281" y="79"/>
                  <a:pt x="281" y="79"/>
                  <a:pt x="281" y="79"/>
                </a:cubicBezTo>
                <a:cubicBezTo>
                  <a:pt x="280" y="80"/>
                  <a:pt x="280" y="80"/>
                  <a:pt x="280" y="80"/>
                </a:cubicBezTo>
                <a:cubicBezTo>
                  <a:pt x="279" y="80"/>
                  <a:pt x="279" y="80"/>
                  <a:pt x="279" y="80"/>
                </a:cubicBezTo>
                <a:cubicBezTo>
                  <a:pt x="280" y="81"/>
                  <a:pt x="280" y="81"/>
                  <a:pt x="280" y="81"/>
                </a:cubicBezTo>
                <a:close/>
                <a:moveTo>
                  <a:pt x="282" y="83"/>
                </a:moveTo>
                <a:cubicBezTo>
                  <a:pt x="282" y="83"/>
                  <a:pt x="282" y="83"/>
                  <a:pt x="282" y="83"/>
                </a:cubicBezTo>
                <a:cubicBezTo>
                  <a:pt x="283" y="83"/>
                  <a:pt x="283" y="83"/>
                  <a:pt x="283" y="83"/>
                </a:cubicBezTo>
                <a:cubicBezTo>
                  <a:pt x="283" y="82"/>
                  <a:pt x="283" y="82"/>
                  <a:pt x="283" y="82"/>
                </a:cubicBezTo>
                <a:cubicBezTo>
                  <a:pt x="282" y="82"/>
                  <a:pt x="282" y="82"/>
                  <a:pt x="282" y="82"/>
                </a:cubicBezTo>
                <a:cubicBezTo>
                  <a:pt x="281" y="81"/>
                  <a:pt x="281" y="81"/>
                  <a:pt x="281" y="81"/>
                </a:cubicBezTo>
                <a:cubicBezTo>
                  <a:pt x="281" y="81"/>
                  <a:pt x="281" y="81"/>
                  <a:pt x="281" y="81"/>
                </a:cubicBezTo>
                <a:cubicBezTo>
                  <a:pt x="281" y="82"/>
                  <a:pt x="281" y="82"/>
                  <a:pt x="281" y="82"/>
                </a:cubicBezTo>
                <a:cubicBezTo>
                  <a:pt x="281" y="82"/>
                  <a:pt x="281" y="82"/>
                  <a:pt x="281" y="82"/>
                </a:cubicBezTo>
                <a:cubicBezTo>
                  <a:pt x="282" y="83"/>
                  <a:pt x="282" y="83"/>
                  <a:pt x="282" y="83"/>
                </a:cubicBezTo>
                <a:close/>
                <a:moveTo>
                  <a:pt x="271" y="86"/>
                </a:moveTo>
                <a:cubicBezTo>
                  <a:pt x="272" y="86"/>
                  <a:pt x="272" y="86"/>
                  <a:pt x="272" y="86"/>
                </a:cubicBezTo>
                <a:cubicBezTo>
                  <a:pt x="272" y="85"/>
                  <a:pt x="272" y="85"/>
                  <a:pt x="272" y="85"/>
                </a:cubicBezTo>
                <a:cubicBezTo>
                  <a:pt x="271" y="85"/>
                  <a:pt x="271" y="85"/>
                  <a:pt x="271" y="85"/>
                </a:cubicBezTo>
                <a:cubicBezTo>
                  <a:pt x="271" y="85"/>
                  <a:pt x="271" y="85"/>
                  <a:pt x="271" y="85"/>
                </a:cubicBezTo>
                <a:cubicBezTo>
                  <a:pt x="269" y="86"/>
                  <a:pt x="269" y="86"/>
                  <a:pt x="269" y="86"/>
                </a:cubicBezTo>
                <a:cubicBezTo>
                  <a:pt x="270" y="86"/>
                  <a:pt x="270" y="86"/>
                  <a:pt x="270" y="86"/>
                </a:cubicBezTo>
                <a:cubicBezTo>
                  <a:pt x="271" y="86"/>
                  <a:pt x="271" y="86"/>
                  <a:pt x="271" y="86"/>
                </a:cubicBezTo>
                <a:close/>
                <a:moveTo>
                  <a:pt x="277" y="87"/>
                </a:moveTo>
                <a:cubicBezTo>
                  <a:pt x="277" y="86"/>
                  <a:pt x="277" y="86"/>
                  <a:pt x="277" y="86"/>
                </a:cubicBezTo>
                <a:cubicBezTo>
                  <a:pt x="278" y="85"/>
                  <a:pt x="278" y="85"/>
                  <a:pt x="278" y="85"/>
                </a:cubicBezTo>
                <a:cubicBezTo>
                  <a:pt x="277" y="85"/>
                  <a:pt x="277" y="85"/>
                  <a:pt x="277" y="85"/>
                </a:cubicBezTo>
                <a:cubicBezTo>
                  <a:pt x="277" y="83"/>
                  <a:pt x="277" y="83"/>
                  <a:pt x="277" y="83"/>
                </a:cubicBezTo>
                <a:cubicBezTo>
                  <a:pt x="276" y="83"/>
                  <a:pt x="276" y="83"/>
                  <a:pt x="276" y="83"/>
                </a:cubicBezTo>
                <a:cubicBezTo>
                  <a:pt x="276" y="84"/>
                  <a:pt x="276" y="84"/>
                  <a:pt x="276" y="84"/>
                </a:cubicBezTo>
                <a:cubicBezTo>
                  <a:pt x="276" y="85"/>
                  <a:pt x="276" y="85"/>
                  <a:pt x="276" y="85"/>
                </a:cubicBezTo>
                <a:cubicBezTo>
                  <a:pt x="274" y="85"/>
                  <a:pt x="274" y="85"/>
                  <a:pt x="274" y="85"/>
                </a:cubicBezTo>
                <a:cubicBezTo>
                  <a:pt x="275" y="86"/>
                  <a:pt x="275" y="86"/>
                  <a:pt x="275" y="86"/>
                </a:cubicBezTo>
                <a:cubicBezTo>
                  <a:pt x="275" y="86"/>
                  <a:pt x="275" y="86"/>
                  <a:pt x="275" y="86"/>
                </a:cubicBezTo>
                <a:cubicBezTo>
                  <a:pt x="276" y="85"/>
                  <a:pt x="276" y="85"/>
                  <a:pt x="276" y="85"/>
                </a:cubicBezTo>
                <a:cubicBezTo>
                  <a:pt x="277" y="85"/>
                  <a:pt x="277" y="85"/>
                  <a:pt x="277" y="85"/>
                </a:cubicBezTo>
                <a:cubicBezTo>
                  <a:pt x="277" y="87"/>
                  <a:pt x="277" y="87"/>
                  <a:pt x="277" y="87"/>
                </a:cubicBezTo>
                <a:close/>
                <a:moveTo>
                  <a:pt x="277" y="93"/>
                </a:moveTo>
                <a:cubicBezTo>
                  <a:pt x="278" y="93"/>
                  <a:pt x="278" y="93"/>
                  <a:pt x="278" y="93"/>
                </a:cubicBezTo>
                <a:cubicBezTo>
                  <a:pt x="279" y="93"/>
                  <a:pt x="279" y="93"/>
                  <a:pt x="279" y="93"/>
                </a:cubicBezTo>
                <a:cubicBezTo>
                  <a:pt x="280" y="93"/>
                  <a:pt x="280" y="93"/>
                  <a:pt x="280" y="93"/>
                </a:cubicBezTo>
                <a:cubicBezTo>
                  <a:pt x="281" y="93"/>
                  <a:pt x="281" y="93"/>
                  <a:pt x="281" y="93"/>
                </a:cubicBezTo>
                <a:cubicBezTo>
                  <a:pt x="282" y="93"/>
                  <a:pt x="282" y="93"/>
                  <a:pt x="282" y="93"/>
                </a:cubicBezTo>
                <a:cubicBezTo>
                  <a:pt x="283" y="93"/>
                  <a:pt x="283" y="93"/>
                  <a:pt x="283" y="93"/>
                </a:cubicBezTo>
                <a:cubicBezTo>
                  <a:pt x="284" y="92"/>
                  <a:pt x="284" y="92"/>
                  <a:pt x="284" y="92"/>
                </a:cubicBezTo>
                <a:cubicBezTo>
                  <a:pt x="284" y="92"/>
                  <a:pt x="284" y="92"/>
                  <a:pt x="284" y="92"/>
                </a:cubicBezTo>
                <a:cubicBezTo>
                  <a:pt x="283" y="91"/>
                  <a:pt x="283" y="91"/>
                  <a:pt x="283" y="91"/>
                </a:cubicBezTo>
                <a:cubicBezTo>
                  <a:pt x="284" y="91"/>
                  <a:pt x="284" y="91"/>
                  <a:pt x="284" y="91"/>
                </a:cubicBezTo>
                <a:cubicBezTo>
                  <a:pt x="283" y="90"/>
                  <a:pt x="283" y="90"/>
                  <a:pt x="283" y="90"/>
                </a:cubicBezTo>
                <a:cubicBezTo>
                  <a:pt x="282" y="90"/>
                  <a:pt x="282" y="90"/>
                  <a:pt x="282" y="90"/>
                </a:cubicBezTo>
                <a:cubicBezTo>
                  <a:pt x="282" y="90"/>
                  <a:pt x="282" y="90"/>
                  <a:pt x="282" y="90"/>
                </a:cubicBezTo>
                <a:cubicBezTo>
                  <a:pt x="282" y="91"/>
                  <a:pt x="282" y="91"/>
                  <a:pt x="282" y="91"/>
                </a:cubicBezTo>
                <a:cubicBezTo>
                  <a:pt x="281" y="91"/>
                  <a:pt x="281" y="91"/>
                  <a:pt x="281" y="91"/>
                </a:cubicBezTo>
                <a:cubicBezTo>
                  <a:pt x="281" y="91"/>
                  <a:pt x="281" y="91"/>
                  <a:pt x="281" y="91"/>
                </a:cubicBezTo>
                <a:cubicBezTo>
                  <a:pt x="280" y="91"/>
                  <a:pt x="280" y="91"/>
                  <a:pt x="280" y="91"/>
                </a:cubicBezTo>
                <a:cubicBezTo>
                  <a:pt x="280" y="91"/>
                  <a:pt x="280" y="91"/>
                  <a:pt x="280" y="91"/>
                </a:cubicBezTo>
                <a:cubicBezTo>
                  <a:pt x="279" y="91"/>
                  <a:pt x="279" y="91"/>
                  <a:pt x="279" y="91"/>
                </a:cubicBezTo>
                <a:cubicBezTo>
                  <a:pt x="279" y="92"/>
                  <a:pt x="279" y="92"/>
                  <a:pt x="279" y="92"/>
                </a:cubicBezTo>
                <a:cubicBezTo>
                  <a:pt x="278" y="91"/>
                  <a:pt x="278" y="91"/>
                  <a:pt x="278" y="91"/>
                </a:cubicBezTo>
                <a:cubicBezTo>
                  <a:pt x="277" y="92"/>
                  <a:pt x="277" y="92"/>
                  <a:pt x="277" y="92"/>
                </a:cubicBezTo>
                <a:cubicBezTo>
                  <a:pt x="277" y="93"/>
                  <a:pt x="277" y="93"/>
                  <a:pt x="277" y="93"/>
                </a:cubicBezTo>
                <a:close/>
                <a:moveTo>
                  <a:pt x="165" y="56"/>
                </a:moveTo>
                <a:cubicBezTo>
                  <a:pt x="166" y="56"/>
                  <a:pt x="166" y="56"/>
                  <a:pt x="166" y="56"/>
                </a:cubicBezTo>
                <a:cubicBezTo>
                  <a:pt x="167" y="57"/>
                  <a:pt x="167" y="57"/>
                  <a:pt x="167" y="57"/>
                </a:cubicBezTo>
                <a:cubicBezTo>
                  <a:pt x="168" y="57"/>
                  <a:pt x="168" y="57"/>
                  <a:pt x="168" y="57"/>
                </a:cubicBezTo>
                <a:cubicBezTo>
                  <a:pt x="169" y="56"/>
                  <a:pt x="169" y="56"/>
                  <a:pt x="169" y="56"/>
                </a:cubicBezTo>
                <a:cubicBezTo>
                  <a:pt x="169" y="55"/>
                  <a:pt x="169" y="55"/>
                  <a:pt x="169" y="55"/>
                </a:cubicBezTo>
                <a:cubicBezTo>
                  <a:pt x="169" y="55"/>
                  <a:pt x="169" y="55"/>
                  <a:pt x="169" y="55"/>
                </a:cubicBezTo>
                <a:cubicBezTo>
                  <a:pt x="167" y="55"/>
                  <a:pt x="167" y="55"/>
                  <a:pt x="167" y="55"/>
                </a:cubicBezTo>
                <a:cubicBezTo>
                  <a:pt x="166" y="55"/>
                  <a:pt x="166" y="55"/>
                  <a:pt x="166" y="55"/>
                </a:cubicBezTo>
                <a:cubicBezTo>
                  <a:pt x="165" y="54"/>
                  <a:pt x="165" y="54"/>
                  <a:pt x="165" y="54"/>
                </a:cubicBezTo>
                <a:cubicBezTo>
                  <a:pt x="165" y="55"/>
                  <a:pt x="165" y="55"/>
                  <a:pt x="165" y="55"/>
                </a:cubicBezTo>
                <a:cubicBezTo>
                  <a:pt x="164" y="55"/>
                  <a:pt x="164" y="55"/>
                  <a:pt x="164" y="55"/>
                </a:cubicBezTo>
                <a:cubicBezTo>
                  <a:pt x="165" y="56"/>
                  <a:pt x="165" y="56"/>
                  <a:pt x="165" y="56"/>
                </a:cubicBezTo>
                <a:close/>
                <a:moveTo>
                  <a:pt x="162" y="29"/>
                </a:moveTo>
                <a:cubicBezTo>
                  <a:pt x="161" y="28"/>
                  <a:pt x="161" y="28"/>
                  <a:pt x="161" y="28"/>
                </a:cubicBezTo>
                <a:cubicBezTo>
                  <a:pt x="161" y="27"/>
                  <a:pt x="161" y="27"/>
                  <a:pt x="161" y="27"/>
                </a:cubicBezTo>
                <a:cubicBezTo>
                  <a:pt x="163" y="26"/>
                  <a:pt x="163" y="26"/>
                  <a:pt x="163" y="26"/>
                </a:cubicBezTo>
                <a:cubicBezTo>
                  <a:pt x="165" y="26"/>
                  <a:pt x="165" y="26"/>
                  <a:pt x="165" y="26"/>
                </a:cubicBezTo>
                <a:cubicBezTo>
                  <a:pt x="167" y="26"/>
                  <a:pt x="167" y="26"/>
                  <a:pt x="167" y="26"/>
                </a:cubicBezTo>
                <a:cubicBezTo>
                  <a:pt x="167" y="28"/>
                  <a:pt x="167" y="28"/>
                  <a:pt x="167" y="28"/>
                </a:cubicBezTo>
                <a:cubicBezTo>
                  <a:pt x="167" y="29"/>
                  <a:pt x="167" y="29"/>
                  <a:pt x="167" y="29"/>
                </a:cubicBezTo>
                <a:cubicBezTo>
                  <a:pt x="165" y="29"/>
                  <a:pt x="165" y="29"/>
                  <a:pt x="165" y="29"/>
                </a:cubicBezTo>
                <a:cubicBezTo>
                  <a:pt x="163" y="29"/>
                  <a:pt x="163" y="29"/>
                  <a:pt x="163" y="29"/>
                </a:cubicBezTo>
                <a:cubicBezTo>
                  <a:pt x="163" y="29"/>
                  <a:pt x="162" y="29"/>
                  <a:pt x="162" y="29"/>
                </a:cubicBezTo>
                <a:close/>
                <a:moveTo>
                  <a:pt x="201" y="9"/>
                </a:moveTo>
                <a:cubicBezTo>
                  <a:pt x="202" y="8"/>
                  <a:pt x="202" y="8"/>
                  <a:pt x="202" y="8"/>
                </a:cubicBezTo>
                <a:cubicBezTo>
                  <a:pt x="203" y="6"/>
                  <a:pt x="203" y="6"/>
                  <a:pt x="203" y="6"/>
                </a:cubicBezTo>
                <a:cubicBezTo>
                  <a:pt x="204" y="6"/>
                  <a:pt x="204" y="6"/>
                  <a:pt x="204" y="6"/>
                </a:cubicBezTo>
                <a:cubicBezTo>
                  <a:pt x="206" y="7"/>
                  <a:pt x="206" y="7"/>
                  <a:pt x="206" y="7"/>
                </a:cubicBezTo>
                <a:cubicBezTo>
                  <a:pt x="205" y="8"/>
                  <a:pt x="205" y="8"/>
                  <a:pt x="205" y="8"/>
                </a:cubicBezTo>
                <a:cubicBezTo>
                  <a:pt x="205" y="8"/>
                  <a:pt x="205" y="8"/>
                  <a:pt x="205" y="8"/>
                </a:cubicBezTo>
                <a:cubicBezTo>
                  <a:pt x="204" y="9"/>
                  <a:pt x="204" y="9"/>
                  <a:pt x="204" y="9"/>
                </a:cubicBezTo>
                <a:cubicBezTo>
                  <a:pt x="203" y="10"/>
                  <a:pt x="203" y="10"/>
                  <a:pt x="203" y="10"/>
                </a:cubicBezTo>
                <a:cubicBezTo>
                  <a:pt x="201" y="9"/>
                  <a:pt x="201" y="9"/>
                  <a:pt x="201" y="9"/>
                </a:cubicBezTo>
                <a:cubicBezTo>
                  <a:pt x="201" y="9"/>
                  <a:pt x="201" y="9"/>
                  <a:pt x="201" y="9"/>
                </a:cubicBezTo>
                <a:close/>
                <a:moveTo>
                  <a:pt x="229" y="27"/>
                </a:moveTo>
                <a:cubicBezTo>
                  <a:pt x="231" y="25"/>
                  <a:pt x="231" y="25"/>
                  <a:pt x="231" y="25"/>
                </a:cubicBezTo>
                <a:cubicBezTo>
                  <a:pt x="232" y="24"/>
                  <a:pt x="232" y="24"/>
                  <a:pt x="232" y="24"/>
                </a:cubicBezTo>
                <a:cubicBezTo>
                  <a:pt x="232" y="23"/>
                  <a:pt x="232" y="23"/>
                  <a:pt x="232" y="23"/>
                </a:cubicBezTo>
                <a:cubicBezTo>
                  <a:pt x="234" y="21"/>
                  <a:pt x="234" y="21"/>
                  <a:pt x="234" y="21"/>
                </a:cubicBezTo>
                <a:cubicBezTo>
                  <a:pt x="236" y="20"/>
                  <a:pt x="236" y="20"/>
                  <a:pt x="236" y="20"/>
                </a:cubicBezTo>
                <a:cubicBezTo>
                  <a:pt x="238" y="19"/>
                  <a:pt x="238" y="19"/>
                  <a:pt x="238" y="19"/>
                </a:cubicBezTo>
                <a:cubicBezTo>
                  <a:pt x="238" y="18"/>
                  <a:pt x="238" y="18"/>
                  <a:pt x="238" y="18"/>
                </a:cubicBezTo>
                <a:cubicBezTo>
                  <a:pt x="238" y="16"/>
                  <a:pt x="238" y="16"/>
                  <a:pt x="238" y="16"/>
                </a:cubicBezTo>
                <a:cubicBezTo>
                  <a:pt x="236" y="15"/>
                  <a:pt x="236" y="15"/>
                  <a:pt x="236" y="15"/>
                </a:cubicBezTo>
                <a:cubicBezTo>
                  <a:pt x="234" y="13"/>
                  <a:pt x="234" y="13"/>
                  <a:pt x="234" y="13"/>
                </a:cubicBezTo>
                <a:cubicBezTo>
                  <a:pt x="233" y="11"/>
                  <a:pt x="233" y="11"/>
                  <a:pt x="233" y="11"/>
                </a:cubicBezTo>
                <a:cubicBezTo>
                  <a:pt x="233" y="10"/>
                  <a:pt x="233" y="10"/>
                  <a:pt x="233" y="10"/>
                </a:cubicBezTo>
                <a:cubicBezTo>
                  <a:pt x="234" y="9"/>
                  <a:pt x="234" y="9"/>
                  <a:pt x="234" y="9"/>
                </a:cubicBezTo>
                <a:cubicBezTo>
                  <a:pt x="234" y="7"/>
                  <a:pt x="234" y="7"/>
                  <a:pt x="234" y="7"/>
                </a:cubicBezTo>
                <a:cubicBezTo>
                  <a:pt x="233" y="7"/>
                  <a:pt x="233" y="7"/>
                  <a:pt x="233" y="7"/>
                </a:cubicBezTo>
                <a:cubicBezTo>
                  <a:pt x="230" y="7"/>
                  <a:pt x="230" y="7"/>
                  <a:pt x="230" y="7"/>
                </a:cubicBezTo>
                <a:cubicBezTo>
                  <a:pt x="228" y="6"/>
                  <a:pt x="228" y="6"/>
                  <a:pt x="228" y="6"/>
                </a:cubicBezTo>
                <a:cubicBezTo>
                  <a:pt x="226" y="5"/>
                  <a:pt x="226" y="5"/>
                  <a:pt x="226" y="5"/>
                </a:cubicBezTo>
                <a:cubicBezTo>
                  <a:pt x="224" y="2"/>
                  <a:pt x="224" y="2"/>
                  <a:pt x="224" y="2"/>
                </a:cubicBezTo>
                <a:cubicBezTo>
                  <a:pt x="222" y="1"/>
                  <a:pt x="222" y="1"/>
                  <a:pt x="222" y="1"/>
                </a:cubicBezTo>
                <a:cubicBezTo>
                  <a:pt x="220" y="0"/>
                  <a:pt x="220" y="0"/>
                  <a:pt x="220" y="0"/>
                </a:cubicBezTo>
                <a:cubicBezTo>
                  <a:pt x="219" y="0"/>
                  <a:pt x="219" y="0"/>
                  <a:pt x="219" y="0"/>
                </a:cubicBezTo>
                <a:cubicBezTo>
                  <a:pt x="218" y="0"/>
                  <a:pt x="218" y="0"/>
                  <a:pt x="218" y="0"/>
                </a:cubicBezTo>
                <a:cubicBezTo>
                  <a:pt x="218" y="1"/>
                  <a:pt x="218" y="1"/>
                  <a:pt x="218" y="1"/>
                </a:cubicBezTo>
                <a:cubicBezTo>
                  <a:pt x="218" y="2"/>
                  <a:pt x="218" y="2"/>
                  <a:pt x="218" y="2"/>
                </a:cubicBezTo>
                <a:cubicBezTo>
                  <a:pt x="218" y="4"/>
                  <a:pt x="218" y="4"/>
                  <a:pt x="218" y="4"/>
                </a:cubicBezTo>
                <a:cubicBezTo>
                  <a:pt x="217" y="5"/>
                  <a:pt x="217" y="5"/>
                  <a:pt x="217" y="5"/>
                </a:cubicBezTo>
                <a:cubicBezTo>
                  <a:pt x="216" y="7"/>
                  <a:pt x="216" y="7"/>
                  <a:pt x="216" y="7"/>
                </a:cubicBezTo>
                <a:cubicBezTo>
                  <a:pt x="215" y="9"/>
                  <a:pt x="215" y="9"/>
                  <a:pt x="215" y="9"/>
                </a:cubicBezTo>
                <a:cubicBezTo>
                  <a:pt x="215" y="10"/>
                  <a:pt x="215" y="10"/>
                  <a:pt x="215" y="10"/>
                </a:cubicBezTo>
                <a:cubicBezTo>
                  <a:pt x="215" y="15"/>
                  <a:pt x="215" y="15"/>
                  <a:pt x="215" y="15"/>
                </a:cubicBezTo>
                <a:cubicBezTo>
                  <a:pt x="216" y="16"/>
                  <a:pt x="216" y="16"/>
                  <a:pt x="216" y="16"/>
                </a:cubicBezTo>
                <a:cubicBezTo>
                  <a:pt x="217" y="17"/>
                  <a:pt x="217" y="17"/>
                  <a:pt x="217" y="17"/>
                </a:cubicBezTo>
                <a:cubicBezTo>
                  <a:pt x="217" y="18"/>
                  <a:pt x="217" y="18"/>
                  <a:pt x="217" y="18"/>
                </a:cubicBezTo>
                <a:cubicBezTo>
                  <a:pt x="216" y="22"/>
                  <a:pt x="216" y="22"/>
                  <a:pt x="216" y="22"/>
                </a:cubicBezTo>
                <a:cubicBezTo>
                  <a:pt x="216" y="23"/>
                  <a:pt x="216" y="23"/>
                  <a:pt x="216" y="23"/>
                </a:cubicBezTo>
                <a:cubicBezTo>
                  <a:pt x="215" y="24"/>
                  <a:pt x="215" y="24"/>
                  <a:pt x="215" y="24"/>
                </a:cubicBezTo>
                <a:cubicBezTo>
                  <a:pt x="216" y="25"/>
                  <a:pt x="216" y="25"/>
                  <a:pt x="216" y="25"/>
                </a:cubicBezTo>
                <a:cubicBezTo>
                  <a:pt x="216" y="25"/>
                  <a:pt x="216" y="25"/>
                  <a:pt x="216" y="25"/>
                </a:cubicBezTo>
                <a:cubicBezTo>
                  <a:pt x="217" y="24"/>
                  <a:pt x="217" y="24"/>
                  <a:pt x="217" y="24"/>
                </a:cubicBezTo>
                <a:cubicBezTo>
                  <a:pt x="219" y="23"/>
                  <a:pt x="219" y="23"/>
                  <a:pt x="219" y="23"/>
                </a:cubicBezTo>
                <a:cubicBezTo>
                  <a:pt x="219" y="23"/>
                  <a:pt x="219" y="23"/>
                  <a:pt x="219" y="23"/>
                </a:cubicBezTo>
                <a:cubicBezTo>
                  <a:pt x="220" y="25"/>
                  <a:pt x="220" y="25"/>
                  <a:pt x="220" y="25"/>
                </a:cubicBezTo>
                <a:cubicBezTo>
                  <a:pt x="222" y="26"/>
                  <a:pt x="222" y="26"/>
                  <a:pt x="222" y="26"/>
                </a:cubicBezTo>
                <a:cubicBezTo>
                  <a:pt x="223" y="26"/>
                  <a:pt x="223" y="26"/>
                  <a:pt x="223" y="26"/>
                </a:cubicBezTo>
                <a:cubicBezTo>
                  <a:pt x="223" y="25"/>
                  <a:pt x="223" y="25"/>
                  <a:pt x="223" y="25"/>
                </a:cubicBezTo>
                <a:cubicBezTo>
                  <a:pt x="224" y="25"/>
                  <a:pt x="224" y="25"/>
                  <a:pt x="224" y="25"/>
                </a:cubicBezTo>
                <a:cubicBezTo>
                  <a:pt x="226" y="26"/>
                  <a:pt x="226" y="26"/>
                  <a:pt x="226" y="26"/>
                </a:cubicBezTo>
                <a:cubicBezTo>
                  <a:pt x="227" y="27"/>
                  <a:pt x="227" y="27"/>
                  <a:pt x="227" y="27"/>
                </a:cubicBezTo>
                <a:cubicBezTo>
                  <a:pt x="229" y="27"/>
                  <a:pt x="229" y="27"/>
                  <a:pt x="229" y="27"/>
                </a:cubicBezTo>
                <a:close/>
                <a:moveTo>
                  <a:pt x="223" y="35"/>
                </a:moveTo>
                <a:cubicBezTo>
                  <a:pt x="223" y="36"/>
                  <a:pt x="223" y="36"/>
                  <a:pt x="223" y="36"/>
                </a:cubicBezTo>
                <a:cubicBezTo>
                  <a:pt x="224" y="36"/>
                  <a:pt x="224" y="36"/>
                  <a:pt x="224" y="36"/>
                </a:cubicBezTo>
                <a:cubicBezTo>
                  <a:pt x="226" y="37"/>
                  <a:pt x="226" y="37"/>
                  <a:pt x="226" y="37"/>
                </a:cubicBezTo>
                <a:cubicBezTo>
                  <a:pt x="227" y="36"/>
                  <a:pt x="227" y="36"/>
                  <a:pt x="227" y="36"/>
                </a:cubicBezTo>
                <a:cubicBezTo>
                  <a:pt x="228" y="34"/>
                  <a:pt x="228" y="34"/>
                  <a:pt x="228" y="34"/>
                </a:cubicBezTo>
                <a:cubicBezTo>
                  <a:pt x="229" y="34"/>
                  <a:pt x="229" y="34"/>
                  <a:pt x="229" y="34"/>
                </a:cubicBezTo>
                <a:cubicBezTo>
                  <a:pt x="230" y="32"/>
                  <a:pt x="230" y="32"/>
                  <a:pt x="230" y="32"/>
                </a:cubicBezTo>
                <a:cubicBezTo>
                  <a:pt x="230" y="30"/>
                  <a:pt x="230" y="30"/>
                  <a:pt x="230" y="30"/>
                </a:cubicBezTo>
                <a:cubicBezTo>
                  <a:pt x="230" y="29"/>
                  <a:pt x="230" y="29"/>
                  <a:pt x="230" y="29"/>
                </a:cubicBezTo>
                <a:cubicBezTo>
                  <a:pt x="227" y="28"/>
                  <a:pt x="227" y="28"/>
                  <a:pt x="227" y="28"/>
                </a:cubicBezTo>
                <a:cubicBezTo>
                  <a:pt x="225" y="28"/>
                  <a:pt x="225" y="28"/>
                  <a:pt x="225" y="28"/>
                </a:cubicBezTo>
                <a:cubicBezTo>
                  <a:pt x="223" y="28"/>
                  <a:pt x="223" y="28"/>
                  <a:pt x="223" y="28"/>
                </a:cubicBezTo>
                <a:cubicBezTo>
                  <a:pt x="222" y="29"/>
                  <a:pt x="222" y="29"/>
                  <a:pt x="222" y="29"/>
                </a:cubicBezTo>
                <a:cubicBezTo>
                  <a:pt x="221" y="28"/>
                  <a:pt x="221" y="28"/>
                  <a:pt x="221" y="28"/>
                </a:cubicBezTo>
                <a:cubicBezTo>
                  <a:pt x="220" y="28"/>
                  <a:pt x="220" y="28"/>
                  <a:pt x="220" y="28"/>
                </a:cubicBezTo>
                <a:cubicBezTo>
                  <a:pt x="219" y="29"/>
                  <a:pt x="219" y="29"/>
                  <a:pt x="219" y="29"/>
                </a:cubicBezTo>
                <a:cubicBezTo>
                  <a:pt x="218" y="29"/>
                  <a:pt x="218" y="29"/>
                  <a:pt x="218" y="29"/>
                </a:cubicBezTo>
                <a:cubicBezTo>
                  <a:pt x="217" y="29"/>
                  <a:pt x="217" y="29"/>
                  <a:pt x="217" y="29"/>
                </a:cubicBezTo>
                <a:cubicBezTo>
                  <a:pt x="218" y="30"/>
                  <a:pt x="218" y="30"/>
                  <a:pt x="218" y="30"/>
                </a:cubicBezTo>
                <a:cubicBezTo>
                  <a:pt x="219" y="31"/>
                  <a:pt x="219" y="31"/>
                  <a:pt x="219" y="31"/>
                </a:cubicBezTo>
                <a:cubicBezTo>
                  <a:pt x="220" y="32"/>
                  <a:pt x="220" y="32"/>
                  <a:pt x="220" y="32"/>
                </a:cubicBezTo>
                <a:cubicBezTo>
                  <a:pt x="221" y="32"/>
                  <a:pt x="221" y="32"/>
                  <a:pt x="221" y="32"/>
                </a:cubicBezTo>
                <a:cubicBezTo>
                  <a:pt x="222" y="34"/>
                  <a:pt x="222" y="34"/>
                  <a:pt x="222" y="34"/>
                </a:cubicBezTo>
                <a:cubicBezTo>
                  <a:pt x="224" y="34"/>
                  <a:pt x="224" y="34"/>
                  <a:pt x="224" y="34"/>
                </a:cubicBezTo>
                <a:cubicBezTo>
                  <a:pt x="226" y="34"/>
                  <a:pt x="226" y="34"/>
                  <a:pt x="226" y="34"/>
                </a:cubicBezTo>
                <a:cubicBezTo>
                  <a:pt x="227" y="34"/>
                  <a:pt x="227" y="34"/>
                  <a:pt x="227" y="34"/>
                </a:cubicBezTo>
                <a:cubicBezTo>
                  <a:pt x="226" y="35"/>
                  <a:pt x="226" y="35"/>
                  <a:pt x="226" y="35"/>
                </a:cubicBezTo>
                <a:cubicBezTo>
                  <a:pt x="225" y="35"/>
                  <a:pt x="225" y="35"/>
                  <a:pt x="225" y="35"/>
                </a:cubicBezTo>
                <a:cubicBezTo>
                  <a:pt x="223" y="35"/>
                  <a:pt x="223" y="35"/>
                  <a:pt x="223" y="35"/>
                </a:cubicBezTo>
                <a:close/>
                <a:moveTo>
                  <a:pt x="266" y="39"/>
                </a:moveTo>
                <a:cubicBezTo>
                  <a:pt x="266" y="40"/>
                  <a:pt x="266" y="40"/>
                  <a:pt x="266" y="40"/>
                </a:cubicBezTo>
                <a:cubicBezTo>
                  <a:pt x="264" y="42"/>
                  <a:pt x="264" y="42"/>
                  <a:pt x="264" y="42"/>
                </a:cubicBezTo>
                <a:cubicBezTo>
                  <a:pt x="262" y="43"/>
                  <a:pt x="262" y="43"/>
                  <a:pt x="262" y="43"/>
                </a:cubicBezTo>
                <a:cubicBezTo>
                  <a:pt x="261" y="44"/>
                  <a:pt x="261" y="44"/>
                  <a:pt x="261" y="44"/>
                </a:cubicBezTo>
                <a:cubicBezTo>
                  <a:pt x="260" y="45"/>
                  <a:pt x="260" y="45"/>
                  <a:pt x="260" y="45"/>
                </a:cubicBezTo>
                <a:cubicBezTo>
                  <a:pt x="258" y="45"/>
                  <a:pt x="258" y="45"/>
                  <a:pt x="258" y="45"/>
                </a:cubicBezTo>
                <a:cubicBezTo>
                  <a:pt x="257" y="44"/>
                  <a:pt x="257" y="44"/>
                  <a:pt x="257" y="44"/>
                </a:cubicBezTo>
                <a:cubicBezTo>
                  <a:pt x="256" y="43"/>
                  <a:pt x="256" y="43"/>
                  <a:pt x="256" y="43"/>
                </a:cubicBezTo>
                <a:cubicBezTo>
                  <a:pt x="255" y="43"/>
                  <a:pt x="255" y="43"/>
                  <a:pt x="255" y="43"/>
                </a:cubicBezTo>
                <a:cubicBezTo>
                  <a:pt x="254" y="43"/>
                  <a:pt x="254" y="43"/>
                  <a:pt x="254" y="43"/>
                </a:cubicBezTo>
                <a:cubicBezTo>
                  <a:pt x="253" y="43"/>
                  <a:pt x="253" y="43"/>
                  <a:pt x="253" y="43"/>
                </a:cubicBezTo>
                <a:cubicBezTo>
                  <a:pt x="250" y="43"/>
                  <a:pt x="250" y="43"/>
                  <a:pt x="250" y="43"/>
                </a:cubicBezTo>
                <a:cubicBezTo>
                  <a:pt x="248" y="42"/>
                  <a:pt x="248" y="42"/>
                  <a:pt x="248" y="42"/>
                </a:cubicBezTo>
                <a:cubicBezTo>
                  <a:pt x="248" y="42"/>
                  <a:pt x="248" y="42"/>
                  <a:pt x="248" y="42"/>
                </a:cubicBezTo>
                <a:cubicBezTo>
                  <a:pt x="246" y="42"/>
                  <a:pt x="246" y="42"/>
                  <a:pt x="246" y="42"/>
                </a:cubicBezTo>
                <a:cubicBezTo>
                  <a:pt x="244" y="43"/>
                  <a:pt x="244" y="43"/>
                  <a:pt x="244" y="43"/>
                </a:cubicBezTo>
                <a:cubicBezTo>
                  <a:pt x="243" y="43"/>
                  <a:pt x="243" y="43"/>
                  <a:pt x="243" y="43"/>
                </a:cubicBezTo>
                <a:cubicBezTo>
                  <a:pt x="242" y="42"/>
                  <a:pt x="242" y="42"/>
                  <a:pt x="242" y="42"/>
                </a:cubicBezTo>
                <a:cubicBezTo>
                  <a:pt x="240" y="42"/>
                  <a:pt x="240" y="42"/>
                  <a:pt x="240" y="42"/>
                </a:cubicBezTo>
                <a:cubicBezTo>
                  <a:pt x="240" y="41"/>
                  <a:pt x="240" y="41"/>
                  <a:pt x="240" y="41"/>
                </a:cubicBezTo>
                <a:cubicBezTo>
                  <a:pt x="239" y="38"/>
                  <a:pt x="239" y="38"/>
                  <a:pt x="239" y="38"/>
                </a:cubicBezTo>
                <a:cubicBezTo>
                  <a:pt x="238" y="37"/>
                  <a:pt x="238" y="37"/>
                  <a:pt x="238" y="37"/>
                </a:cubicBezTo>
                <a:cubicBezTo>
                  <a:pt x="237" y="37"/>
                  <a:pt x="237" y="37"/>
                  <a:pt x="237" y="37"/>
                </a:cubicBezTo>
                <a:cubicBezTo>
                  <a:pt x="236" y="38"/>
                  <a:pt x="236" y="38"/>
                  <a:pt x="236" y="38"/>
                </a:cubicBezTo>
                <a:cubicBezTo>
                  <a:pt x="235" y="37"/>
                  <a:pt x="235" y="37"/>
                  <a:pt x="235" y="37"/>
                </a:cubicBezTo>
                <a:cubicBezTo>
                  <a:pt x="234" y="36"/>
                  <a:pt x="234" y="36"/>
                  <a:pt x="234" y="36"/>
                </a:cubicBezTo>
                <a:cubicBezTo>
                  <a:pt x="233" y="37"/>
                  <a:pt x="233" y="37"/>
                  <a:pt x="233" y="37"/>
                </a:cubicBezTo>
                <a:cubicBezTo>
                  <a:pt x="234" y="38"/>
                  <a:pt x="234" y="38"/>
                  <a:pt x="234" y="38"/>
                </a:cubicBezTo>
                <a:cubicBezTo>
                  <a:pt x="233" y="38"/>
                  <a:pt x="233" y="38"/>
                  <a:pt x="233" y="38"/>
                </a:cubicBezTo>
                <a:cubicBezTo>
                  <a:pt x="233" y="38"/>
                  <a:pt x="233" y="38"/>
                  <a:pt x="233" y="38"/>
                </a:cubicBezTo>
                <a:cubicBezTo>
                  <a:pt x="231" y="37"/>
                  <a:pt x="231" y="37"/>
                  <a:pt x="231" y="37"/>
                </a:cubicBezTo>
                <a:cubicBezTo>
                  <a:pt x="232" y="36"/>
                  <a:pt x="232" y="36"/>
                  <a:pt x="232" y="36"/>
                </a:cubicBezTo>
                <a:cubicBezTo>
                  <a:pt x="233" y="35"/>
                  <a:pt x="233" y="35"/>
                  <a:pt x="233" y="35"/>
                </a:cubicBezTo>
                <a:cubicBezTo>
                  <a:pt x="233" y="34"/>
                  <a:pt x="233" y="34"/>
                  <a:pt x="233" y="34"/>
                </a:cubicBezTo>
                <a:cubicBezTo>
                  <a:pt x="233" y="32"/>
                  <a:pt x="233" y="32"/>
                  <a:pt x="233" y="32"/>
                </a:cubicBezTo>
                <a:cubicBezTo>
                  <a:pt x="233" y="31"/>
                  <a:pt x="233" y="31"/>
                  <a:pt x="233" y="31"/>
                </a:cubicBezTo>
                <a:cubicBezTo>
                  <a:pt x="235" y="30"/>
                  <a:pt x="235" y="30"/>
                  <a:pt x="235" y="30"/>
                </a:cubicBezTo>
                <a:cubicBezTo>
                  <a:pt x="234" y="29"/>
                  <a:pt x="234" y="29"/>
                  <a:pt x="234" y="29"/>
                </a:cubicBezTo>
                <a:cubicBezTo>
                  <a:pt x="233" y="29"/>
                  <a:pt x="233" y="29"/>
                  <a:pt x="233" y="29"/>
                </a:cubicBezTo>
                <a:cubicBezTo>
                  <a:pt x="232" y="28"/>
                  <a:pt x="232" y="28"/>
                  <a:pt x="232" y="28"/>
                </a:cubicBezTo>
                <a:cubicBezTo>
                  <a:pt x="232" y="27"/>
                  <a:pt x="232" y="27"/>
                  <a:pt x="232" y="27"/>
                </a:cubicBezTo>
                <a:cubicBezTo>
                  <a:pt x="232" y="25"/>
                  <a:pt x="232" y="25"/>
                  <a:pt x="232" y="25"/>
                </a:cubicBezTo>
                <a:cubicBezTo>
                  <a:pt x="234" y="24"/>
                  <a:pt x="234" y="24"/>
                  <a:pt x="234" y="24"/>
                </a:cubicBezTo>
                <a:cubicBezTo>
                  <a:pt x="235" y="24"/>
                  <a:pt x="235" y="24"/>
                  <a:pt x="235" y="24"/>
                </a:cubicBezTo>
                <a:cubicBezTo>
                  <a:pt x="235" y="23"/>
                  <a:pt x="235" y="23"/>
                  <a:pt x="235" y="23"/>
                </a:cubicBezTo>
                <a:cubicBezTo>
                  <a:pt x="236" y="22"/>
                  <a:pt x="236" y="22"/>
                  <a:pt x="236" y="22"/>
                </a:cubicBezTo>
                <a:cubicBezTo>
                  <a:pt x="237" y="22"/>
                  <a:pt x="237" y="22"/>
                  <a:pt x="237" y="22"/>
                </a:cubicBezTo>
                <a:cubicBezTo>
                  <a:pt x="240" y="20"/>
                  <a:pt x="240" y="20"/>
                  <a:pt x="240" y="20"/>
                </a:cubicBezTo>
                <a:cubicBezTo>
                  <a:pt x="240" y="19"/>
                  <a:pt x="240" y="19"/>
                  <a:pt x="240" y="19"/>
                </a:cubicBezTo>
                <a:cubicBezTo>
                  <a:pt x="241" y="18"/>
                  <a:pt x="241" y="18"/>
                  <a:pt x="241" y="18"/>
                </a:cubicBezTo>
                <a:cubicBezTo>
                  <a:pt x="243" y="19"/>
                  <a:pt x="243" y="19"/>
                  <a:pt x="243" y="19"/>
                </a:cubicBezTo>
                <a:cubicBezTo>
                  <a:pt x="245" y="20"/>
                  <a:pt x="245" y="20"/>
                  <a:pt x="245" y="20"/>
                </a:cubicBezTo>
                <a:cubicBezTo>
                  <a:pt x="247" y="23"/>
                  <a:pt x="247" y="23"/>
                  <a:pt x="247" y="23"/>
                </a:cubicBezTo>
                <a:cubicBezTo>
                  <a:pt x="247" y="24"/>
                  <a:pt x="247" y="24"/>
                  <a:pt x="247" y="24"/>
                </a:cubicBezTo>
                <a:cubicBezTo>
                  <a:pt x="247" y="26"/>
                  <a:pt x="247" y="26"/>
                  <a:pt x="247" y="26"/>
                </a:cubicBezTo>
                <a:cubicBezTo>
                  <a:pt x="247" y="26"/>
                  <a:pt x="247" y="26"/>
                  <a:pt x="247" y="26"/>
                </a:cubicBezTo>
                <a:cubicBezTo>
                  <a:pt x="247" y="28"/>
                  <a:pt x="247" y="28"/>
                  <a:pt x="247" y="28"/>
                </a:cubicBezTo>
                <a:cubicBezTo>
                  <a:pt x="246" y="29"/>
                  <a:pt x="246" y="29"/>
                  <a:pt x="246" y="29"/>
                </a:cubicBezTo>
                <a:cubicBezTo>
                  <a:pt x="246" y="29"/>
                  <a:pt x="246" y="29"/>
                  <a:pt x="246" y="29"/>
                </a:cubicBezTo>
                <a:cubicBezTo>
                  <a:pt x="247" y="29"/>
                  <a:pt x="247" y="29"/>
                  <a:pt x="247" y="29"/>
                </a:cubicBezTo>
                <a:cubicBezTo>
                  <a:pt x="248" y="27"/>
                  <a:pt x="248" y="27"/>
                  <a:pt x="248" y="27"/>
                </a:cubicBezTo>
                <a:cubicBezTo>
                  <a:pt x="248" y="26"/>
                  <a:pt x="248" y="26"/>
                  <a:pt x="248" y="26"/>
                </a:cubicBezTo>
                <a:cubicBezTo>
                  <a:pt x="248" y="25"/>
                  <a:pt x="248" y="25"/>
                  <a:pt x="248" y="25"/>
                </a:cubicBezTo>
                <a:cubicBezTo>
                  <a:pt x="249" y="24"/>
                  <a:pt x="249" y="24"/>
                  <a:pt x="249" y="24"/>
                </a:cubicBezTo>
                <a:cubicBezTo>
                  <a:pt x="248" y="23"/>
                  <a:pt x="248" y="23"/>
                  <a:pt x="248" y="23"/>
                </a:cubicBezTo>
                <a:cubicBezTo>
                  <a:pt x="247" y="21"/>
                  <a:pt x="247" y="21"/>
                  <a:pt x="247" y="21"/>
                </a:cubicBezTo>
                <a:cubicBezTo>
                  <a:pt x="247" y="20"/>
                  <a:pt x="247" y="20"/>
                  <a:pt x="247" y="20"/>
                </a:cubicBezTo>
                <a:cubicBezTo>
                  <a:pt x="247" y="19"/>
                  <a:pt x="247" y="19"/>
                  <a:pt x="247" y="19"/>
                </a:cubicBezTo>
                <a:cubicBezTo>
                  <a:pt x="249" y="19"/>
                  <a:pt x="249" y="19"/>
                  <a:pt x="249" y="19"/>
                </a:cubicBezTo>
                <a:cubicBezTo>
                  <a:pt x="251" y="19"/>
                  <a:pt x="251" y="19"/>
                  <a:pt x="251" y="19"/>
                </a:cubicBezTo>
                <a:cubicBezTo>
                  <a:pt x="255" y="23"/>
                  <a:pt x="255" y="23"/>
                  <a:pt x="255" y="23"/>
                </a:cubicBezTo>
                <a:cubicBezTo>
                  <a:pt x="256" y="23"/>
                  <a:pt x="256" y="23"/>
                  <a:pt x="256" y="23"/>
                </a:cubicBezTo>
                <a:cubicBezTo>
                  <a:pt x="257" y="23"/>
                  <a:pt x="257" y="23"/>
                  <a:pt x="257" y="23"/>
                </a:cubicBezTo>
                <a:cubicBezTo>
                  <a:pt x="257" y="25"/>
                  <a:pt x="257" y="25"/>
                  <a:pt x="257" y="25"/>
                </a:cubicBezTo>
                <a:cubicBezTo>
                  <a:pt x="258" y="25"/>
                  <a:pt x="258" y="25"/>
                  <a:pt x="258" y="25"/>
                </a:cubicBezTo>
                <a:cubicBezTo>
                  <a:pt x="258" y="27"/>
                  <a:pt x="258" y="27"/>
                  <a:pt x="258" y="27"/>
                </a:cubicBezTo>
                <a:cubicBezTo>
                  <a:pt x="258" y="29"/>
                  <a:pt x="258" y="29"/>
                  <a:pt x="258" y="29"/>
                </a:cubicBezTo>
                <a:cubicBezTo>
                  <a:pt x="260" y="31"/>
                  <a:pt x="260" y="31"/>
                  <a:pt x="260" y="31"/>
                </a:cubicBezTo>
                <a:cubicBezTo>
                  <a:pt x="261" y="32"/>
                  <a:pt x="261" y="32"/>
                  <a:pt x="261" y="32"/>
                </a:cubicBezTo>
                <a:cubicBezTo>
                  <a:pt x="261" y="33"/>
                  <a:pt x="261" y="33"/>
                  <a:pt x="261" y="33"/>
                </a:cubicBezTo>
                <a:cubicBezTo>
                  <a:pt x="260" y="33"/>
                  <a:pt x="260" y="33"/>
                  <a:pt x="260" y="33"/>
                </a:cubicBezTo>
                <a:cubicBezTo>
                  <a:pt x="259" y="33"/>
                  <a:pt x="259" y="33"/>
                  <a:pt x="259" y="33"/>
                </a:cubicBezTo>
                <a:cubicBezTo>
                  <a:pt x="258" y="33"/>
                  <a:pt x="258" y="33"/>
                  <a:pt x="258" y="33"/>
                </a:cubicBezTo>
                <a:cubicBezTo>
                  <a:pt x="259" y="34"/>
                  <a:pt x="259" y="34"/>
                  <a:pt x="259" y="34"/>
                </a:cubicBezTo>
                <a:cubicBezTo>
                  <a:pt x="260" y="35"/>
                  <a:pt x="260" y="35"/>
                  <a:pt x="260" y="35"/>
                </a:cubicBezTo>
                <a:cubicBezTo>
                  <a:pt x="262" y="35"/>
                  <a:pt x="262" y="35"/>
                  <a:pt x="262" y="35"/>
                </a:cubicBezTo>
                <a:cubicBezTo>
                  <a:pt x="263" y="37"/>
                  <a:pt x="263" y="37"/>
                  <a:pt x="263" y="37"/>
                </a:cubicBezTo>
                <a:cubicBezTo>
                  <a:pt x="264" y="37"/>
                  <a:pt x="264" y="37"/>
                  <a:pt x="264" y="37"/>
                </a:cubicBezTo>
                <a:cubicBezTo>
                  <a:pt x="266" y="39"/>
                  <a:pt x="266" y="39"/>
                  <a:pt x="266" y="39"/>
                </a:cubicBezTo>
                <a:close/>
                <a:moveTo>
                  <a:pt x="495" y="4"/>
                </a:moveTo>
                <a:cubicBezTo>
                  <a:pt x="496" y="2"/>
                  <a:pt x="496" y="2"/>
                  <a:pt x="496" y="2"/>
                </a:cubicBezTo>
                <a:cubicBezTo>
                  <a:pt x="498" y="0"/>
                  <a:pt x="498" y="0"/>
                  <a:pt x="498" y="0"/>
                </a:cubicBezTo>
                <a:cubicBezTo>
                  <a:pt x="498" y="0"/>
                  <a:pt x="498" y="0"/>
                  <a:pt x="498" y="0"/>
                </a:cubicBezTo>
                <a:cubicBezTo>
                  <a:pt x="498" y="1"/>
                  <a:pt x="498" y="1"/>
                  <a:pt x="498" y="1"/>
                </a:cubicBezTo>
                <a:cubicBezTo>
                  <a:pt x="498" y="2"/>
                  <a:pt x="498" y="2"/>
                  <a:pt x="498" y="2"/>
                </a:cubicBezTo>
                <a:cubicBezTo>
                  <a:pt x="497" y="2"/>
                  <a:pt x="497" y="2"/>
                  <a:pt x="497" y="2"/>
                </a:cubicBezTo>
                <a:cubicBezTo>
                  <a:pt x="497" y="3"/>
                  <a:pt x="497" y="3"/>
                  <a:pt x="497" y="3"/>
                </a:cubicBezTo>
                <a:cubicBezTo>
                  <a:pt x="495" y="4"/>
                  <a:pt x="495" y="4"/>
                  <a:pt x="495" y="4"/>
                </a:cubicBezTo>
                <a:close/>
                <a:moveTo>
                  <a:pt x="509" y="25"/>
                </a:moveTo>
                <a:cubicBezTo>
                  <a:pt x="509" y="28"/>
                  <a:pt x="509" y="28"/>
                  <a:pt x="509" y="28"/>
                </a:cubicBezTo>
                <a:cubicBezTo>
                  <a:pt x="511" y="31"/>
                  <a:pt x="511" y="31"/>
                  <a:pt x="511" y="31"/>
                </a:cubicBezTo>
                <a:cubicBezTo>
                  <a:pt x="512" y="32"/>
                  <a:pt x="512" y="32"/>
                  <a:pt x="512" y="32"/>
                </a:cubicBezTo>
                <a:cubicBezTo>
                  <a:pt x="516" y="33"/>
                  <a:pt x="516" y="33"/>
                  <a:pt x="516" y="33"/>
                </a:cubicBezTo>
                <a:cubicBezTo>
                  <a:pt x="520" y="34"/>
                  <a:pt x="520" y="34"/>
                  <a:pt x="520" y="34"/>
                </a:cubicBezTo>
                <a:cubicBezTo>
                  <a:pt x="522" y="35"/>
                  <a:pt x="522" y="35"/>
                  <a:pt x="522" y="35"/>
                </a:cubicBezTo>
                <a:cubicBezTo>
                  <a:pt x="524" y="35"/>
                  <a:pt x="524" y="35"/>
                  <a:pt x="524" y="35"/>
                </a:cubicBezTo>
                <a:cubicBezTo>
                  <a:pt x="526" y="34"/>
                  <a:pt x="526" y="34"/>
                  <a:pt x="526" y="34"/>
                </a:cubicBezTo>
                <a:cubicBezTo>
                  <a:pt x="527" y="35"/>
                  <a:pt x="527" y="35"/>
                  <a:pt x="527" y="35"/>
                </a:cubicBezTo>
                <a:cubicBezTo>
                  <a:pt x="529" y="34"/>
                  <a:pt x="529" y="34"/>
                  <a:pt x="529" y="34"/>
                </a:cubicBezTo>
                <a:cubicBezTo>
                  <a:pt x="531" y="33"/>
                  <a:pt x="531" y="33"/>
                  <a:pt x="531" y="33"/>
                </a:cubicBezTo>
                <a:cubicBezTo>
                  <a:pt x="532" y="31"/>
                  <a:pt x="532" y="31"/>
                  <a:pt x="532" y="31"/>
                </a:cubicBezTo>
                <a:cubicBezTo>
                  <a:pt x="532" y="30"/>
                  <a:pt x="532" y="30"/>
                  <a:pt x="532" y="30"/>
                </a:cubicBezTo>
                <a:cubicBezTo>
                  <a:pt x="532" y="28"/>
                  <a:pt x="532" y="28"/>
                  <a:pt x="532" y="28"/>
                </a:cubicBezTo>
                <a:cubicBezTo>
                  <a:pt x="531" y="28"/>
                  <a:pt x="531" y="28"/>
                  <a:pt x="531" y="28"/>
                </a:cubicBezTo>
                <a:cubicBezTo>
                  <a:pt x="530" y="28"/>
                  <a:pt x="530" y="28"/>
                  <a:pt x="530" y="28"/>
                </a:cubicBezTo>
                <a:cubicBezTo>
                  <a:pt x="530" y="27"/>
                  <a:pt x="530" y="27"/>
                  <a:pt x="530" y="27"/>
                </a:cubicBezTo>
                <a:cubicBezTo>
                  <a:pt x="530" y="26"/>
                  <a:pt x="530" y="26"/>
                  <a:pt x="530" y="26"/>
                </a:cubicBezTo>
                <a:cubicBezTo>
                  <a:pt x="529" y="25"/>
                  <a:pt x="529" y="25"/>
                  <a:pt x="529" y="25"/>
                </a:cubicBezTo>
                <a:cubicBezTo>
                  <a:pt x="528" y="26"/>
                  <a:pt x="528" y="26"/>
                  <a:pt x="528" y="26"/>
                </a:cubicBezTo>
                <a:cubicBezTo>
                  <a:pt x="526" y="25"/>
                  <a:pt x="526" y="25"/>
                  <a:pt x="526" y="25"/>
                </a:cubicBezTo>
                <a:cubicBezTo>
                  <a:pt x="523" y="26"/>
                  <a:pt x="523" y="26"/>
                  <a:pt x="523" y="26"/>
                </a:cubicBezTo>
                <a:cubicBezTo>
                  <a:pt x="521" y="27"/>
                  <a:pt x="521" y="27"/>
                  <a:pt x="521" y="27"/>
                </a:cubicBezTo>
                <a:cubicBezTo>
                  <a:pt x="520" y="28"/>
                  <a:pt x="520" y="28"/>
                  <a:pt x="520" y="28"/>
                </a:cubicBezTo>
                <a:cubicBezTo>
                  <a:pt x="520" y="27"/>
                  <a:pt x="520" y="27"/>
                  <a:pt x="520" y="27"/>
                </a:cubicBezTo>
                <a:cubicBezTo>
                  <a:pt x="519" y="26"/>
                  <a:pt x="519" y="26"/>
                  <a:pt x="519" y="26"/>
                </a:cubicBezTo>
                <a:cubicBezTo>
                  <a:pt x="518" y="26"/>
                  <a:pt x="518" y="26"/>
                  <a:pt x="518" y="26"/>
                </a:cubicBezTo>
                <a:cubicBezTo>
                  <a:pt x="517" y="26"/>
                  <a:pt x="517" y="26"/>
                  <a:pt x="517" y="26"/>
                </a:cubicBezTo>
                <a:cubicBezTo>
                  <a:pt x="515" y="26"/>
                  <a:pt x="515" y="26"/>
                  <a:pt x="515" y="26"/>
                </a:cubicBezTo>
                <a:cubicBezTo>
                  <a:pt x="514" y="26"/>
                  <a:pt x="514" y="26"/>
                  <a:pt x="514" y="26"/>
                </a:cubicBezTo>
                <a:cubicBezTo>
                  <a:pt x="514" y="27"/>
                  <a:pt x="514" y="27"/>
                  <a:pt x="514" y="27"/>
                </a:cubicBezTo>
                <a:cubicBezTo>
                  <a:pt x="513" y="28"/>
                  <a:pt x="513" y="28"/>
                  <a:pt x="513" y="28"/>
                </a:cubicBezTo>
                <a:cubicBezTo>
                  <a:pt x="511" y="27"/>
                  <a:pt x="511" y="27"/>
                  <a:pt x="511" y="27"/>
                </a:cubicBezTo>
                <a:cubicBezTo>
                  <a:pt x="510" y="27"/>
                  <a:pt x="510" y="27"/>
                  <a:pt x="510" y="27"/>
                </a:cubicBezTo>
                <a:cubicBezTo>
                  <a:pt x="510" y="26"/>
                  <a:pt x="510" y="26"/>
                  <a:pt x="510" y="26"/>
                </a:cubicBezTo>
                <a:cubicBezTo>
                  <a:pt x="509" y="25"/>
                  <a:pt x="509" y="25"/>
                  <a:pt x="509" y="25"/>
                </a:cubicBezTo>
                <a:close/>
                <a:moveTo>
                  <a:pt x="460" y="47"/>
                </a:moveTo>
                <a:cubicBezTo>
                  <a:pt x="459" y="44"/>
                  <a:pt x="459" y="44"/>
                  <a:pt x="459" y="44"/>
                </a:cubicBezTo>
                <a:cubicBezTo>
                  <a:pt x="459" y="42"/>
                  <a:pt x="459" y="42"/>
                  <a:pt x="459" y="42"/>
                </a:cubicBezTo>
                <a:cubicBezTo>
                  <a:pt x="458" y="42"/>
                  <a:pt x="458" y="42"/>
                  <a:pt x="458" y="42"/>
                </a:cubicBezTo>
                <a:cubicBezTo>
                  <a:pt x="455" y="41"/>
                  <a:pt x="455" y="41"/>
                  <a:pt x="455" y="41"/>
                </a:cubicBezTo>
                <a:cubicBezTo>
                  <a:pt x="454" y="40"/>
                  <a:pt x="454" y="40"/>
                  <a:pt x="454" y="40"/>
                </a:cubicBezTo>
                <a:cubicBezTo>
                  <a:pt x="453" y="39"/>
                  <a:pt x="453" y="39"/>
                  <a:pt x="453" y="39"/>
                </a:cubicBezTo>
                <a:cubicBezTo>
                  <a:pt x="453" y="39"/>
                  <a:pt x="453" y="39"/>
                  <a:pt x="453" y="39"/>
                </a:cubicBezTo>
                <a:cubicBezTo>
                  <a:pt x="453" y="40"/>
                  <a:pt x="453" y="40"/>
                  <a:pt x="453" y="40"/>
                </a:cubicBezTo>
                <a:cubicBezTo>
                  <a:pt x="454" y="42"/>
                  <a:pt x="454" y="42"/>
                  <a:pt x="454" y="42"/>
                </a:cubicBezTo>
                <a:cubicBezTo>
                  <a:pt x="456" y="43"/>
                  <a:pt x="456" y="43"/>
                  <a:pt x="456" y="43"/>
                </a:cubicBezTo>
                <a:cubicBezTo>
                  <a:pt x="458" y="46"/>
                  <a:pt x="458" y="46"/>
                  <a:pt x="458" y="46"/>
                </a:cubicBezTo>
                <a:cubicBezTo>
                  <a:pt x="458" y="48"/>
                  <a:pt x="458" y="48"/>
                  <a:pt x="458" y="48"/>
                </a:cubicBezTo>
                <a:cubicBezTo>
                  <a:pt x="460" y="49"/>
                  <a:pt x="460" y="49"/>
                  <a:pt x="460" y="49"/>
                </a:cubicBezTo>
                <a:cubicBezTo>
                  <a:pt x="460" y="48"/>
                  <a:pt x="460" y="48"/>
                  <a:pt x="460" y="48"/>
                </a:cubicBezTo>
                <a:cubicBezTo>
                  <a:pt x="460" y="47"/>
                  <a:pt x="460" y="47"/>
                  <a:pt x="460" y="47"/>
                </a:cubicBezTo>
                <a:close/>
                <a:moveTo>
                  <a:pt x="485" y="50"/>
                </a:moveTo>
                <a:cubicBezTo>
                  <a:pt x="484" y="50"/>
                  <a:pt x="484" y="50"/>
                  <a:pt x="484" y="50"/>
                </a:cubicBezTo>
                <a:cubicBezTo>
                  <a:pt x="483" y="49"/>
                  <a:pt x="483" y="49"/>
                  <a:pt x="483" y="49"/>
                </a:cubicBezTo>
                <a:cubicBezTo>
                  <a:pt x="483" y="48"/>
                  <a:pt x="483" y="48"/>
                  <a:pt x="483" y="48"/>
                </a:cubicBezTo>
                <a:cubicBezTo>
                  <a:pt x="483" y="48"/>
                  <a:pt x="483" y="48"/>
                  <a:pt x="483" y="48"/>
                </a:cubicBezTo>
                <a:cubicBezTo>
                  <a:pt x="484" y="48"/>
                  <a:pt x="484" y="48"/>
                  <a:pt x="484" y="48"/>
                </a:cubicBezTo>
                <a:cubicBezTo>
                  <a:pt x="485" y="49"/>
                  <a:pt x="485" y="49"/>
                  <a:pt x="485" y="49"/>
                </a:cubicBezTo>
                <a:cubicBezTo>
                  <a:pt x="486" y="49"/>
                  <a:pt x="486" y="49"/>
                  <a:pt x="486" y="49"/>
                </a:cubicBezTo>
                <a:cubicBezTo>
                  <a:pt x="486" y="50"/>
                  <a:pt x="486" y="50"/>
                  <a:pt x="486" y="50"/>
                </a:cubicBezTo>
                <a:cubicBezTo>
                  <a:pt x="486" y="51"/>
                  <a:pt x="486" y="51"/>
                  <a:pt x="486" y="51"/>
                </a:cubicBezTo>
                <a:cubicBezTo>
                  <a:pt x="487" y="51"/>
                  <a:pt x="487" y="51"/>
                  <a:pt x="487" y="51"/>
                </a:cubicBezTo>
                <a:cubicBezTo>
                  <a:pt x="488" y="49"/>
                  <a:pt x="488" y="49"/>
                  <a:pt x="488" y="49"/>
                </a:cubicBezTo>
                <a:cubicBezTo>
                  <a:pt x="490" y="47"/>
                  <a:pt x="490" y="47"/>
                  <a:pt x="490" y="47"/>
                </a:cubicBezTo>
                <a:cubicBezTo>
                  <a:pt x="492" y="45"/>
                  <a:pt x="492" y="45"/>
                  <a:pt x="492" y="45"/>
                </a:cubicBezTo>
                <a:cubicBezTo>
                  <a:pt x="493" y="44"/>
                  <a:pt x="493" y="44"/>
                  <a:pt x="493" y="44"/>
                </a:cubicBezTo>
                <a:cubicBezTo>
                  <a:pt x="494" y="43"/>
                  <a:pt x="494" y="43"/>
                  <a:pt x="494" y="43"/>
                </a:cubicBezTo>
                <a:cubicBezTo>
                  <a:pt x="495" y="44"/>
                  <a:pt x="495" y="44"/>
                  <a:pt x="495" y="44"/>
                </a:cubicBezTo>
                <a:cubicBezTo>
                  <a:pt x="494" y="45"/>
                  <a:pt x="494" y="45"/>
                  <a:pt x="494" y="45"/>
                </a:cubicBezTo>
                <a:cubicBezTo>
                  <a:pt x="496" y="45"/>
                  <a:pt x="496" y="45"/>
                  <a:pt x="496" y="45"/>
                </a:cubicBezTo>
                <a:cubicBezTo>
                  <a:pt x="497" y="45"/>
                  <a:pt x="497" y="45"/>
                  <a:pt x="497" y="45"/>
                </a:cubicBezTo>
                <a:cubicBezTo>
                  <a:pt x="498" y="45"/>
                  <a:pt x="498" y="45"/>
                  <a:pt x="498" y="45"/>
                </a:cubicBezTo>
                <a:cubicBezTo>
                  <a:pt x="498" y="44"/>
                  <a:pt x="498" y="44"/>
                  <a:pt x="498" y="44"/>
                </a:cubicBezTo>
                <a:cubicBezTo>
                  <a:pt x="499" y="43"/>
                  <a:pt x="499" y="43"/>
                  <a:pt x="499" y="43"/>
                </a:cubicBezTo>
                <a:cubicBezTo>
                  <a:pt x="500" y="42"/>
                  <a:pt x="500" y="42"/>
                  <a:pt x="500" y="42"/>
                </a:cubicBezTo>
                <a:cubicBezTo>
                  <a:pt x="500" y="41"/>
                  <a:pt x="500" y="41"/>
                  <a:pt x="500" y="41"/>
                </a:cubicBezTo>
                <a:cubicBezTo>
                  <a:pt x="498" y="41"/>
                  <a:pt x="498" y="41"/>
                  <a:pt x="498" y="41"/>
                </a:cubicBezTo>
                <a:cubicBezTo>
                  <a:pt x="496" y="42"/>
                  <a:pt x="496" y="42"/>
                  <a:pt x="496" y="42"/>
                </a:cubicBezTo>
                <a:cubicBezTo>
                  <a:pt x="495" y="41"/>
                  <a:pt x="495" y="41"/>
                  <a:pt x="495" y="41"/>
                </a:cubicBezTo>
                <a:cubicBezTo>
                  <a:pt x="493" y="41"/>
                  <a:pt x="493" y="41"/>
                  <a:pt x="493" y="41"/>
                </a:cubicBezTo>
                <a:cubicBezTo>
                  <a:pt x="492" y="40"/>
                  <a:pt x="492" y="40"/>
                  <a:pt x="492" y="40"/>
                </a:cubicBezTo>
                <a:cubicBezTo>
                  <a:pt x="490" y="40"/>
                  <a:pt x="490" y="40"/>
                  <a:pt x="490" y="40"/>
                </a:cubicBezTo>
                <a:cubicBezTo>
                  <a:pt x="490" y="39"/>
                  <a:pt x="490" y="39"/>
                  <a:pt x="490" y="39"/>
                </a:cubicBezTo>
                <a:cubicBezTo>
                  <a:pt x="488" y="37"/>
                  <a:pt x="488" y="37"/>
                  <a:pt x="488" y="37"/>
                </a:cubicBezTo>
                <a:cubicBezTo>
                  <a:pt x="487" y="36"/>
                  <a:pt x="487" y="36"/>
                  <a:pt x="487" y="36"/>
                </a:cubicBezTo>
                <a:cubicBezTo>
                  <a:pt x="487" y="34"/>
                  <a:pt x="487" y="34"/>
                  <a:pt x="487" y="34"/>
                </a:cubicBezTo>
                <a:cubicBezTo>
                  <a:pt x="486" y="33"/>
                  <a:pt x="486" y="33"/>
                  <a:pt x="486" y="33"/>
                </a:cubicBezTo>
                <a:cubicBezTo>
                  <a:pt x="485" y="32"/>
                  <a:pt x="485" y="32"/>
                  <a:pt x="485" y="32"/>
                </a:cubicBezTo>
                <a:cubicBezTo>
                  <a:pt x="485" y="31"/>
                  <a:pt x="485" y="31"/>
                  <a:pt x="485" y="31"/>
                </a:cubicBezTo>
                <a:cubicBezTo>
                  <a:pt x="484" y="30"/>
                  <a:pt x="484" y="30"/>
                  <a:pt x="484" y="30"/>
                </a:cubicBezTo>
                <a:cubicBezTo>
                  <a:pt x="484" y="30"/>
                  <a:pt x="484" y="30"/>
                  <a:pt x="484" y="30"/>
                </a:cubicBezTo>
                <a:cubicBezTo>
                  <a:pt x="485" y="29"/>
                  <a:pt x="485" y="29"/>
                  <a:pt x="485" y="29"/>
                </a:cubicBezTo>
                <a:cubicBezTo>
                  <a:pt x="484" y="28"/>
                  <a:pt x="484" y="28"/>
                  <a:pt x="484" y="28"/>
                </a:cubicBezTo>
                <a:cubicBezTo>
                  <a:pt x="485" y="28"/>
                  <a:pt x="485" y="28"/>
                  <a:pt x="485" y="28"/>
                </a:cubicBezTo>
                <a:cubicBezTo>
                  <a:pt x="485" y="28"/>
                  <a:pt x="485" y="28"/>
                  <a:pt x="485" y="28"/>
                </a:cubicBezTo>
                <a:cubicBezTo>
                  <a:pt x="485" y="27"/>
                  <a:pt x="485" y="27"/>
                  <a:pt x="485" y="27"/>
                </a:cubicBezTo>
                <a:cubicBezTo>
                  <a:pt x="484" y="26"/>
                  <a:pt x="484" y="26"/>
                  <a:pt x="484" y="26"/>
                </a:cubicBezTo>
                <a:cubicBezTo>
                  <a:pt x="483" y="26"/>
                  <a:pt x="483" y="26"/>
                  <a:pt x="483" y="26"/>
                </a:cubicBezTo>
                <a:cubicBezTo>
                  <a:pt x="481" y="26"/>
                  <a:pt x="481" y="26"/>
                  <a:pt x="481" y="26"/>
                </a:cubicBezTo>
                <a:cubicBezTo>
                  <a:pt x="479" y="25"/>
                  <a:pt x="479" y="25"/>
                  <a:pt x="479" y="25"/>
                </a:cubicBezTo>
                <a:cubicBezTo>
                  <a:pt x="478" y="24"/>
                  <a:pt x="478" y="24"/>
                  <a:pt x="478" y="24"/>
                </a:cubicBezTo>
                <a:cubicBezTo>
                  <a:pt x="477" y="24"/>
                  <a:pt x="477" y="24"/>
                  <a:pt x="477" y="24"/>
                </a:cubicBezTo>
                <a:cubicBezTo>
                  <a:pt x="476" y="24"/>
                  <a:pt x="476" y="24"/>
                  <a:pt x="476" y="24"/>
                </a:cubicBezTo>
                <a:cubicBezTo>
                  <a:pt x="475" y="24"/>
                  <a:pt x="475" y="24"/>
                  <a:pt x="475" y="24"/>
                </a:cubicBezTo>
                <a:cubicBezTo>
                  <a:pt x="477" y="26"/>
                  <a:pt x="477" y="26"/>
                  <a:pt x="477" y="26"/>
                </a:cubicBezTo>
                <a:cubicBezTo>
                  <a:pt x="478" y="26"/>
                  <a:pt x="478" y="26"/>
                  <a:pt x="478" y="26"/>
                </a:cubicBezTo>
                <a:cubicBezTo>
                  <a:pt x="479" y="27"/>
                  <a:pt x="479" y="27"/>
                  <a:pt x="479" y="27"/>
                </a:cubicBezTo>
                <a:cubicBezTo>
                  <a:pt x="477" y="27"/>
                  <a:pt x="477" y="27"/>
                  <a:pt x="477" y="27"/>
                </a:cubicBezTo>
                <a:cubicBezTo>
                  <a:pt x="477" y="27"/>
                  <a:pt x="477" y="27"/>
                  <a:pt x="477" y="27"/>
                </a:cubicBezTo>
                <a:cubicBezTo>
                  <a:pt x="476" y="27"/>
                  <a:pt x="476" y="27"/>
                  <a:pt x="476" y="27"/>
                </a:cubicBezTo>
                <a:cubicBezTo>
                  <a:pt x="475" y="27"/>
                  <a:pt x="475" y="27"/>
                  <a:pt x="475" y="27"/>
                </a:cubicBezTo>
                <a:cubicBezTo>
                  <a:pt x="475" y="29"/>
                  <a:pt x="475" y="29"/>
                  <a:pt x="475" y="29"/>
                </a:cubicBezTo>
                <a:cubicBezTo>
                  <a:pt x="476" y="30"/>
                  <a:pt x="476" y="30"/>
                  <a:pt x="476" y="30"/>
                </a:cubicBezTo>
                <a:cubicBezTo>
                  <a:pt x="477" y="32"/>
                  <a:pt x="477" y="32"/>
                  <a:pt x="477" y="32"/>
                </a:cubicBezTo>
                <a:cubicBezTo>
                  <a:pt x="478" y="34"/>
                  <a:pt x="478" y="34"/>
                  <a:pt x="478" y="34"/>
                </a:cubicBezTo>
                <a:cubicBezTo>
                  <a:pt x="479" y="35"/>
                  <a:pt x="479" y="35"/>
                  <a:pt x="479" y="35"/>
                </a:cubicBezTo>
                <a:cubicBezTo>
                  <a:pt x="478" y="35"/>
                  <a:pt x="478" y="35"/>
                  <a:pt x="478" y="35"/>
                </a:cubicBezTo>
                <a:cubicBezTo>
                  <a:pt x="477" y="35"/>
                  <a:pt x="477" y="35"/>
                  <a:pt x="477" y="35"/>
                </a:cubicBezTo>
                <a:cubicBezTo>
                  <a:pt x="475" y="34"/>
                  <a:pt x="475" y="34"/>
                  <a:pt x="475" y="34"/>
                </a:cubicBezTo>
                <a:cubicBezTo>
                  <a:pt x="475" y="32"/>
                  <a:pt x="475" y="32"/>
                  <a:pt x="475" y="32"/>
                </a:cubicBezTo>
                <a:cubicBezTo>
                  <a:pt x="474" y="32"/>
                  <a:pt x="474" y="32"/>
                  <a:pt x="474" y="32"/>
                </a:cubicBezTo>
                <a:cubicBezTo>
                  <a:pt x="473" y="32"/>
                  <a:pt x="473" y="32"/>
                  <a:pt x="473" y="32"/>
                </a:cubicBezTo>
                <a:cubicBezTo>
                  <a:pt x="472" y="32"/>
                  <a:pt x="472" y="32"/>
                  <a:pt x="472" y="32"/>
                </a:cubicBezTo>
                <a:cubicBezTo>
                  <a:pt x="471" y="32"/>
                  <a:pt x="471" y="32"/>
                  <a:pt x="471" y="32"/>
                </a:cubicBezTo>
                <a:cubicBezTo>
                  <a:pt x="470" y="32"/>
                  <a:pt x="470" y="32"/>
                  <a:pt x="470" y="32"/>
                </a:cubicBezTo>
                <a:cubicBezTo>
                  <a:pt x="470" y="30"/>
                  <a:pt x="470" y="30"/>
                  <a:pt x="470" y="30"/>
                </a:cubicBezTo>
                <a:cubicBezTo>
                  <a:pt x="470" y="29"/>
                  <a:pt x="470" y="29"/>
                  <a:pt x="470" y="29"/>
                </a:cubicBezTo>
                <a:cubicBezTo>
                  <a:pt x="469" y="29"/>
                  <a:pt x="469" y="29"/>
                  <a:pt x="469" y="29"/>
                </a:cubicBezTo>
                <a:cubicBezTo>
                  <a:pt x="467" y="28"/>
                  <a:pt x="467" y="28"/>
                  <a:pt x="467" y="28"/>
                </a:cubicBezTo>
                <a:cubicBezTo>
                  <a:pt x="465" y="28"/>
                  <a:pt x="465" y="28"/>
                  <a:pt x="465" y="28"/>
                </a:cubicBezTo>
                <a:cubicBezTo>
                  <a:pt x="465" y="27"/>
                  <a:pt x="465" y="27"/>
                  <a:pt x="465" y="27"/>
                </a:cubicBezTo>
                <a:cubicBezTo>
                  <a:pt x="464" y="26"/>
                  <a:pt x="464" y="26"/>
                  <a:pt x="464" y="26"/>
                </a:cubicBezTo>
                <a:cubicBezTo>
                  <a:pt x="463" y="27"/>
                  <a:pt x="463" y="27"/>
                  <a:pt x="463" y="27"/>
                </a:cubicBezTo>
                <a:cubicBezTo>
                  <a:pt x="462" y="28"/>
                  <a:pt x="462" y="28"/>
                  <a:pt x="462" y="28"/>
                </a:cubicBezTo>
                <a:cubicBezTo>
                  <a:pt x="462" y="29"/>
                  <a:pt x="462" y="29"/>
                  <a:pt x="462" y="29"/>
                </a:cubicBezTo>
                <a:cubicBezTo>
                  <a:pt x="461" y="30"/>
                  <a:pt x="461" y="30"/>
                  <a:pt x="461" y="30"/>
                </a:cubicBezTo>
                <a:cubicBezTo>
                  <a:pt x="462" y="31"/>
                  <a:pt x="462" y="31"/>
                  <a:pt x="462" y="31"/>
                </a:cubicBezTo>
                <a:cubicBezTo>
                  <a:pt x="461" y="33"/>
                  <a:pt x="461" y="33"/>
                  <a:pt x="461" y="33"/>
                </a:cubicBezTo>
                <a:cubicBezTo>
                  <a:pt x="460" y="34"/>
                  <a:pt x="460" y="34"/>
                  <a:pt x="460" y="34"/>
                </a:cubicBezTo>
                <a:cubicBezTo>
                  <a:pt x="460" y="35"/>
                  <a:pt x="460" y="35"/>
                  <a:pt x="460" y="35"/>
                </a:cubicBezTo>
                <a:cubicBezTo>
                  <a:pt x="461" y="37"/>
                  <a:pt x="461" y="37"/>
                  <a:pt x="461" y="37"/>
                </a:cubicBezTo>
                <a:cubicBezTo>
                  <a:pt x="462" y="37"/>
                  <a:pt x="462" y="37"/>
                  <a:pt x="462" y="37"/>
                </a:cubicBezTo>
                <a:cubicBezTo>
                  <a:pt x="463" y="38"/>
                  <a:pt x="463" y="38"/>
                  <a:pt x="463" y="38"/>
                </a:cubicBezTo>
                <a:cubicBezTo>
                  <a:pt x="462" y="38"/>
                  <a:pt x="462" y="38"/>
                  <a:pt x="462" y="38"/>
                </a:cubicBezTo>
                <a:cubicBezTo>
                  <a:pt x="461" y="38"/>
                  <a:pt x="461" y="38"/>
                  <a:pt x="461" y="38"/>
                </a:cubicBezTo>
                <a:cubicBezTo>
                  <a:pt x="462" y="40"/>
                  <a:pt x="462" y="40"/>
                  <a:pt x="462" y="40"/>
                </a:cubicBezTo>
                <a:cubicBezTo>
                  <a:pt x="463" y="40"/>
                  <a:pt x="463" y="40"/>
                  <a:pt x="463" y="40"/>
                </a:cubicBezTo>
                <a:cubicBezTo>
                  <a:pt x="463" y="41"/>
                  <a:pt x="463" y="41"/>
                  <a:pt x="463" y="41"/>
                </a:cubicBezTo>
                <a:cubicBezTo>
                  <a:pt x="463" y="42"/>
                  <a:pt x="463" y="42"/>
                  <a:pt x="463" y="42"/>
                </a:cubicBezTo>
                <a:cubicBezTo>
                  <a:pt x="464" y="43"/>
                  <a:pt x="464" y="43"/>
                  <a:pt x="464" y="43"/>
                </a:cubicBezTo>
                <a:cubicBezTo>
                  <a:pt x="465" y="43"/>
                  <a:pt x="465" y="43"/>
                  <a:pt x="465" y="43"/>
                </a:cubicBezTo>
                <a:cubicBezTo>
                  <a:pt x="466" y="44"/>
                  <a:pt x="466" y="44"/>
                  <a:pt x="466" y="44"/>
                </a:cubicBezTo>
                <a:cubicBezTo>
                  <a:pt x="466" y="44"/>
                  <a:pt x="466" y="44"/>
                  <a:pt x="466" y="44"/>
                </a:cubicBezTo>
                <a:cubicBezTo>
                  <a:pt x="466" y="45"/>
                  <a:pt x="466" y="45"/>
                  <a:pt x="466" y="45"/>
                </a:cubicBezTo>
                <a:cubicBezTo>
                  <a:pt x="467" y="45"/>
                  <a:pt x="467" y="45"/>
                  <a:pt x="467" y="45"/>
                </a:cubicBezTo>
                <a:cubicBezTo>
                  <a:pt x="468" y="45"/>
                  <a:pt x="468" y="45"/>
                  <a:pt x="468" y="45"/>
                </a:cubicBezTo>
                <a:cubicBezTo>
                  <a:pt x="468" y="45"/>
                  <a:pt x="468" y="45"/>
                  <a:pt x="468" y="45"/>
                </a:cubicBezTo>
                <a:cubicBezTo>
                  <a:pt x="467" y="46"/>
                  <a:pt x="467" y="46"/>
                  <a:pt x="467" y="46"/>
                </a:cubicBezTo>
                <a:cubicBezTo>
                  <a:pt x="467" y="46"/>
                  <a:pt x="467" y="46"/>
                  <a:pt x="467" y="46"/>
                </a:cubicBezTo>
                <a:cubicBezTo>
                  <a:pt x="466" y="46"/>
                  <a:pt x="466" y="46"/>
                  <a:pt x="466" y="46"/>
                </a:cubicBezTo>
                <a:cubicBezTo>
                  <a:pt x="466" y="46"/>
                  <a:pt x="466" y="46"/>
                  <a:pt x="466" y="46"/>
                </a:cubicBezTo>
                <a:cubicBezTo>
                  <a:pt x="466" y="48"/>
                  <a:pt x="466" y="48"/>
                  <a:pt x="466" y="48"/>
                </a:cubicBezTo>
                <a:cubicBezTo>
                  <a:pt x="470" y="50"/>
                  <a:pt x="470" y="50"/>
                  <a:pt x="470" y="50"/>
                </a:cubicBezTo>
                <a:cubicBezTo>
                  <a:pt x="472" y="51"/>
                  <a:pt x="472" y="51"/>
                  <a:pt x="472" y="51"/>
                </a:cubicBezTo>
                <a:cubicBezTo>
                  <a:pt x="474" y="51"/>
                  <a:pt x="474" y="51"/>
                  <a:pt x="474" y="51"/>
                </a:cubicBezTo>
                <a:cubicBezTo>
                  <a:pt x="475" y="52"/>
                  <a:pt x="475" y="52"/>
                  <a:pt x="475" y="52"/>
                </a:cubicBezTo>
                <a:cubicBezTo>
                  <a:pt x="476" y="52"/>
                  <a:pt x="476" y="52"/>
                  <a:pt x="476" y="52"/>
                </a:cubicBezTo>
                <a:cubicBezTo>
                  <a:pt x="476" y="54"/>
                  <a:pt x="476" y="54"/>
                  <a:pt x="476" y="54"/>
                </a:cubicBezTo>
                <a:cubicBezTo>
                  <a:pt x="477" y="55"/>
                  <a:pt x="477" y="55"/>
                  <a:pt x="477" y="55"/>
                </a:cubicBezTo>
                <a:cubicBezTo>
                  <a:pt x="479" y="55"/>
                  <a:pt x="479" y="55"/>
                  <a:pt x="479" y="55"/>
                </a:cubicBezTo>
                <a:cubicBezTo>
                  <a:pt x="481" y="54"/>
                  <a:pt x="481" y="54"/>
                  <a:pt x="481" y="54"/>
                </a:cubicBezTo>
                <a:cubicBezTo>
                  <a:pt x="483" y="54"/>
                  <a:pt x="483" y="54"/>
                  <a:pt x="483" y="54"/>
                </a:cubicBezTo>
                <a:cubicBezTo>
                  <a:pt x="484" y="55"/>
                  <a:pt x="484" y="55"/>
                  <a:pt x="484" y="55"/>
                </a:cubicBezTo>
                <a:cubicBezTo>
                  <a:pt x="485" y="55"/>
                  <a:pt x="485" y="55"/>
                  <a:pt x="485" y="55"/>
                </a:cubicBezTo>
                <a:cubicBezTo>
                  <a:pt x="486" y="53"/>
                  <a:pt x="486" y="53"/>
                  <a:pt x="486" y="53"/>
                </a:cubicBezTo>
                <a:cubicBezTo>
                  <a:pt x="486" y="52"/>
                  <a:pt x="486" y="52"/>
                  <a:pt x="486" y="52"/>
                </a:cubicBezTo>
                <a:cubicBezTo>
                  <a:pt x="485" y="51"/>
                  <a:pt x="485" y="51"/>
                  <a:pt x="485" y="51"/>
                </a:cubicBezTo>
                <a:cubicBezTo>
                  <a:pt x="485" y="50"/>
                  <a:pt x="485" y="50"/>
                  <a:pt x="485" y="50"/>
                </a:cubicBezTo>
                <a:close/>
                <a:moveTo>
                  <a:pt x="485" y="25"/>
                </a:moveTo>
                <a:cubicBezTo>
                  <a:pt x="487" y="25"/>
                  <a:pt x="487" y="25"/>
                  <a:pt x="487" y="25"/>
                </a:cubicBezTo>
                <a:cubicBezTo>
                  <a:pt x="489" y="25"/>
                  <a:pt x="489" y="25"/>
                  <a:pt x="489" y="25"/>
                </a:cubicBezTo>
                <a:cubicBezTo>
                  <a:pt x="491" y="25"/>
                  <a:pt x="491" y="25"/>
                  <a:pt x="491" y="25"/>
                </a:cubicBezTo>
                <a:cubicBezTo>
                  <a:pt x="494" y="27"/>
                  <a:pt x="494" y="27"/>
                  <a:pt x="494" y="27"/>
                </a:cubicBezTo>
                <a:cubicBezTo>
                  <a:pt x="495" y="27"/>
                  <a:pt x="495" y="27"/>
                  <a:pt x="495" y="27"/>
                </a:cubicBezTo>
                <a:cubicBezTo>
                  <a:pt x="496" y="27"/>
                  <a:pt x="496" y="27"/>
                  <a:pt x="496" y="27"/>
                </a:cubicBezTo>
                <a:cubicBezTo>
                  <a:pt x="499" y="27"/>
                  <a:pt x="499" y="27"/>
                  <a:pt x="499" y="27"/>
                </a:cubicBezTo>
                <a:cubicBezTo>
                  <a:pt x="502" y="28"/>
                  <a:pt x="502" y="28"/>
                  <a:pt x="502" y="28"/>
                </a:cubicBezTo>
                <a:cubicBezTo>
                  <a:pt x="502" y="29"/>
                  <a:pt x="502" y="29"/>
                  <a:pt x="502" y="29"/>
                </a:cubicBezTo>
                <a:cubicBezTo>
                  <a:pt x="501" y="29"/>
                  <a:pt x="501" y="29"/>
                  <a:pt x="501" y="29"/>
                </a:cubicBezTo>
                <a:cubicBezTo>
                  <a:pt x="500" y="30"/>
                  <a:pt x="500" y="30"/>
                  <a:pt x="500" y="30"/>
                </a:cubicBezTo>
                <a:cubicBezTo>
                  <a:pt x="500" y="31"/>
                  <a:pt x="500" y="31"/>
                  <a:pt x="500" y="31"/>
                </a:cubicBezTo>
                <a:cubicBezTo>
                  <a:pt x="501" y="33"/>
                  <a:pt x="501" y="33"/>
                  <a:pt x="501" y="33"/>
                </a:cubicBezTo>
                <a:cubicBezTo>
                  <a:pt x="503" y="33"/>
                  <a:pt x="503" y="33"/>
                  <a:pt x="503" y="33"/>
                </a:cubicBezTo>
                <a:cubicBezTo>
                  <a:pt x="503" y="35"/>
                  <a:pt x="503" y="35"/>
                  <a:pt x="503" y="35"/>
                </a:cubicBezTo>
                <a:cubicBezTo>
                  <a:pt x="503" y="36"/>
                  <a:pt x="503" y="36"/>
                  <a:pt x="503" y="36"/>
                </a:cubicBezTo>
                <a:cubicBezTo>
                  <a:pt x="503" y="37"/>
                  <a:pt x="503" y="37"/>
                  <a:pt x="503" y="37"/>
                </a:cubicBezTo>
                <a:cubicBezTo>
                  <a:pt x="502" y="39"/>
                  <a:pt x="502" y="39"/>
                  <a:pt x="502" y="39"/>
                </a:cubicBezTo>
                <a:cubicBezTo>
                  <a:pt x="501" y="40"/>
                  <a:pt x="501" y="40"/>
                  <a:pt x="501" y="40"/>
                </a:cubicBezTo>
                <a:cubicBezTo>
                  <a:pt x="501" y="40"/>
                  <a:pt x="501" y="40"/>
                  <a:pt x="501" y="40"/>
                </a:cubicBezTo>
                <a:cubicBezTo>
                  <a:pt x="500" y="39"/>
                  <a:pt x="500" y="39"/>
                  <a:pt x="500" y="39"/>
                </a:cubicBezTo>
                <a:cubicBezTo>
                  <a:pt x="499" y="40"/>
                  <a:pt x="499" y="40"/>
                  <a:pt x="499" y="40"/>
                </a:cubicBezTo>
                <a:cubicBezTo>
                  <a:pt x="498" y="41"/>
                  <a:pt x="498" y="41"/>
                  <a:pt x="498" y="41"/>
                </a:cubicBezTo>
                <a:cubicBezTo>
                  <a:pt x="496" y="41"/>
                  <a:pt x="496" y="41"/>
                  <a:pt x="496" y="41"/>
                </a:cubicBezTo>
                <a:cubicBezTo>
                  <a:pt x="493" y="39"/>
                  <a:pt x="493" y="39"/>
                  <a:pt x="493" y="39"/>
                </a:cubicBezTo>
                <a:cubicBezTo>
                  <a:pt x="492" y="38"/>
                  <a:pt x="492" y="38"/>
                  <a:pt x="492" y="38"/>
                </a:cubicBezTo>
                <a:cubicBezTo>
                  <a:pt x="489" y="36"/>
                  <a:pt x="489" y="36"/>
                  <a:pt x="489" y="36"/>
                </a:cubicBezTo>
                <a:cubicBezTo>
                  <a:pt x="489" y="34"/>
                  <a:pt x="489" y="34"/>
                  <a:pt x="489" y="34"/>
                </a:cubicBezTo>
                <a:cubicBezTo>
                  <a:pt x="489" y="33"/>
                  <a:pt x="489" y="33"/>
                  <a:pt x="489" y="33"/>
                </a:cubicBezTo>
                <a:cubicBezTo>
                  <a:pt x="489" y="32"/>
                  <a:pt x="489" y="32"/>
                  <a:pt x="489" y="32"/>
                </a:cubicBezTo>
                <a:cubicBezTo>
                  <a:pt x="490" y="31"/>
                  <a:pt x="490" y="31"/>
                  <a:pt x="490" y="31"/>
                </a:cubicBezTo>
                <a:cubicBezTo>
                  <a:pt x="489" y="30"/>
                  <a:pt x="489" y="30"/>
                  <a:pt x="489" y="30"/>
                </a:cubicBezTo>
                <a:cubicBezTo>
                  <a:pt x="488" y="29"/>
                  <a:pt x="488" y="29"/>
                  <a:pt x="488" y="29"/>
                </a:cubicBezTo>
                <a:cubicBezTo>
                  <a:pt x="488" y="28"/>
                  <a:pt x="488" y="28"/>
                  <a:pt x="488" y="28"/>
                </a:cubicBezTo>
                <a:cubicBezTo>
                  <a:pt x="487" y="28"/>
                  <a:pt x="487" y="28"/>
                  <a:pt x="487" y="28"/>
                </a:cubicBezTo>
                <a:cubicBezTo>
                  <a:pt x="486" y="27"/>
                  <a:pt x="486" y="27"/>
                  <a:pt x="486" y="27"/>
                </a:cubicBezTo>
                <a:cubicBezTo>
                  <a:pt x="485" y="25"/>
                  <a:pt x="485" y="25"/>
                  <a:pt x="485" y="25"/>
                </a:cubicBezTo>
                <a:close/>
                <a:moveTo>
                  <a:pt x="277" y="58"/>
                </a:moveTo>
                <a:cubicBezTo>
                  <a:pt x="276" y="58"/>
                  <a:pt x="278" y="57"/>
                  <a:pt x="278" y="57"/>
                </a:cubicBezTo>
                <a:cubicBezTo>
                  <a:pt x="279" y="56"/>
                  <a:pt x="279" y="56"/>
                  <a:pt x="279" y="56"/>
                </a:cubicBezTo>
                <a:cubicBezTo>
                  <a:pt x="280" y="54"/>
                  <a:pt x="280" y="54"/>
                  <a:pt x="280" y="54"/>
                </a:cubicBezTo>
                <a:cubicBezTo>
                  <a:pt x="281" y="53"/>
                  <a:pt x="281" y="53"/>
                  <a:pt x="281" y="53"/>
                </a:cubicBezTo>
                <a:cubicBezTo>
                  <a:pt x="281" y="52"/>
                  <a:pt x="281" y="52"/>
                  <a:pt x="281" y="52"/>
                </a:cubicBezTo>
                <a:cubicBezTo>
                  <a:pt x="281" y="51"/>
                  <a:pt x="281" y="51"/>
                  <a:pt x="281" y="51"/>
                </a:cubicBezTo>
                <a:cubicBezTo>
                  <a:pt x="284" y="50"/>
                  <a:pt x="284" y="50"/>
                  <a:pt x="284" y="50"/>
                </a:cubicBezTo>
                <a:cubicBezTo>
                  <a:pt x="285" y="49"/>
                  <a:pt x="285" y="49"/>
                  <a:pt x="285" y="49"/>
                </a:cubicBezTo>
                <a:cubicBezTo>
                  <a:pt x="286" y="50"/>
                  <a:pt x="286" y="50"/>
                  <a:pt x="286" y="50"/>
                </a:cubicBezTo>
                <a:cubicBezTo>
                  <a:pt x="287" y="50"/>
                  <a:pt x="287" y="50"/>
                  <a:pt x="287" y="50"/>
                </a:cubicBezTo>
                <a:cubicBezTo>
                  <a:pt x="287" y="49"/>
                  <a:pt x="287" y="49"/>
                  <a:pt x="287" y="49"/>
                </a:cubicBezTo>
                <a:cubicBezTo>
                  <a:pt x="288" y="48"/>
                  <a:pt x="288" y="48"/>
                  <a:pt x="288" y="48"/>
                </a:cubicBezTo>
                <a:cubicBezTo>
                  <a:pt x="289" y="47"/>
                  <a:pt x="289" y="47"/>
                  <a:pt x="289" y="47"/>
                </a:cubicBezTo>
                <a:cubicBezTo>
                  <a:pt x="291" y="46"/>
                  <a:pt x="291" y="46"/>
                  <a:pt x="291" y="46"/>
                </a:cubicBezTo>
                <a:cubicBezTo>
                  <a:pt x="292" y="45"/>
                  <a:pt x="292" y="45"/>
                  <a:pt x="292" y="45"/>
                </a:cubicBezTo>
                <a:cubicBezTo>
                  <a:pt x="293" y="44"/>
                  <a:pt x="293" y="44"/>
                  <a:pt x="293" y="44"/>
                </a:cubicBezTo>
                <a:cubicBezTo>
                  <a:pt x="294" y="42"/>
                  <a:pt x="294" y="42"/>
                  <a:pt x="294" y="42"/>
                </a:cubicBezTo>
                <a:cubicBezTo>
                  <a:pt x="293" y="40"/>
                  <a:pt x="293" y="40"/>
                  <a:pt x="293" y="40"/>
                </a:cubicBezTo>
                <a:cubicBezTo>
                  <a:pt x="292" y="38"/>
                  <a:pt x="292" y="38"/>
                  <a:pt x="292" y="38"/>
                </a:cubicBezTo>
                <a:cubicBezTo>
                  <a:pt x="291" y="37"/>
                  <a:pt x="291" y="37"/>
                  <a:pt x="291" y="37"/>
                </a:cubicBezTo>
                <a:cubicBezTo>
                  <a:pt x="291" y="36"/>
                  <a:pt x="291" y="36"/>
                  <a:pt x="291" y="36"/>
                </a:cubicBezTo>
                <a:cubicBezTo>
                  <a:pt x="289" y="34"/>
                  <a:pt x="289" y="34"/>
                  <a:pt x="289" y="34"/>
                </a:cubicBezTo>
                <a:cubicBezTo>
                  <a:pt x="288" y="34"/>
                  <a:pt x="288" y="34"/>
                  <a:pt x="288" y="34"/>
                </a:cubicBezTo>
                <a:cubicBezTo>
                  <a:pt x="287" y="35"/>
                  <a:pt x="287" y="35"/>
                  <a:pt x="287" y="35"/>
                </a:cubicBezTo>
                <a:cubicBezTo>
                  <a:pt x="286" y="34"/>
                  <a:pt x="286" y="34"/>
                  <a:pt x="286" y="34"/>
                </a:cubicBezTo>
                <a:cubicBezTo>
                  <a:pt x="285" y="33"/>
                  <a:pt x="285" y="33"/>
                  <a:pt x="285" y="33"/>
                </a:cubicBezTo>
                <a:cubicBezTo>
                  <a:pt x="283" y="32"/>
                  <a:pt x="283" y="32"/>
                  <a:pt x="283" y="32"/>
                </a:cubicBezTo>
                <a:cubicBezTo>
                  <a:pt x="282" y="32"/>
                  <a:pt x="282" y="32"/>
                  <a:pt x="282" y="32"/>
                </a:cubicBezTo>
                <a:cubicBezTo>
                  <a:pt x="282" y="32"/>
                  <a:pt x="282" y="32"/>
                  <a:pt x="282" y="32"/>
                </a:cubicBezTo>
                <a:cubicBezTo>
                  <a:pt x="281" y="32"/>
                  <a:pt x="281" y="32"/>
                  <a:pt x="281" y="32"/>
                </a:cubicBezTo>
                <a:cubicBezTo>
                  <a:pt x="281" y="31"/>
                  <a:pt x="281" y="31"/>
                  <a:pt x="281" y="31"/>
                </a:cubicBezTo>
                <a:cubicBezTo>
                  <a:pt x="280" y="30"/>
                  <a:pt x="280" y="30"/>
                  <a:pt x="280" y="30"/>
                </a:cubicBezTo>
                <a:cubicBezTo>
                  <a:pt x="279" y="30"/>
                  <a:pt x="279" y="30"/>
                  <a:pt x="279" y="30"/>
                </a:cubicBezTo>
                <a:cubicBezTo>
                  <a:pt x="279" y="31"/>
                  <a:pt x="279" y="31"/>
                  <a:pt x="279" y="31"/>
                </a:cubicBezTo>
                <a:cubicBezTo>
                  <a:pt x="278" y="31"/>
                  <a:pt x="278" y="31"/>
                  <a:pt x="278" y="31"/>
                </a:cubicBezTo>
                <a:cubicBezTo>
                  <a:pt x="277" y="29"/>
                  <a:pt x="277" y="29"/>
                  <a:pt x="277" y="29"/>
                </a:cubicBezTo>
                <a:cubicBezTo>
                  <a:pt x="276" y="29"/>
                  <a:pt x="276" y="29"/>
                  <a:pt x="276" y="29"/>
                </a:cubicBezTo>
                <a:cubicBezTo>
                  <a:pt x="276" y="30"/>
                  <a:pt x="276" y="30"/>
                  <a:pt x="276" y="30"/>
                </a:cubicBezTo>
                <a:cubicBezTo>
                  <a:pt x="277" y="31"/>
                  <a:pt x="277" y="31"/>
                  <a:pt x="277" y="31"/>
                </a:cubicBezTo>
                <a:cubicBezTo>
                  <a:pt x="277" y="31"/>
                  <a:pt x="277" y="31"/>
                  <a:pt x="277" y="31"/>
                </a:cubicBezTo>
                <a:cubicBezTo>
                  <a:pt x="276" y="32"/>
                  <a:pt x="276" y="32"/>
                  <a:pt x="276" y="32"/>
                </a:cubicBezTo>
                <a:cubicBezTo>
                  <a:pt x="276" y="33"/>
                  <a:pt x="276" y="33"/>
                  <a:pt x="276" y="33"/>
                </a:cubicBezTo>
                <a:cubicBezTo>
                  <a:pt x="276" y="33"/>
                  <a:pt x="276" y="33"/>
                  <a:pt x="276" y="33"/>
                </a:cubicBezTo>
                <a:cubicBezTo>
                  <a:pt x="275" y="32"/>
                  <a:pt x="275" y="32"/>
                  <a:pt x="275" y="32"/>
                </a:cubicBezTo>
                <a:cubicBezTo>
                  <a:pt x="275" y="28"/>
                  <a:pt x="275" y="28"/>
                  <a:pt x="275" y="28"/>
                </a:cubicBezTo>
                <a:cubicBezTo>
                  <a:pt x="274" y="28"/>
                  <a:pt x="274" y="28"/>
                  <a:pt x="274" y="28"/>
                </a:cubicBezTo>
                <a:cubicBezTo>
                  <a:pt x="273" y="27"/>
                  <a:pt x="273" y="27"/>
                  <a:pt x="273" y="27"/>
                </a:cubicBezTo>
                <a:cubicBezTo>
                  <a:pt x="271" y="27"/>
                  <a:pt x="271" y="27"/>
                  <a:pt x="271" y="27"/>
                </a:cubicBezTo>
                <a:cubicBezTo>
                  <a:pt x="270" y="27"/>
                  <a:pt x="270" y="27"/>
                  <a:pt x="270" y="27"/>
                </a:cubicBezTo>
                <a:cubicBezTo>
                  <a:pt x="269" y="28"/>
                  <a:pt x="269" y="28"/>
                  <a:pt x="269" y="28"/>
                </a:cubicBezTo>
                <a:cubicBezTo>
                  <a:pt x="270" y="29"/>
                  <a:pt x="270" y="29"/>
                  <a:pt x="270" y="29"/>
                </a:cubicBezTo>
                <a:cubicBezTo>
                  <a:pt x="271" y="30"/>
                  <a:pt x="271" y="30"/>
                  <a:pt x="271" y="30"/>
                </a:cubicBezTo>
                <a:cubicBezTo>
                  <a:pt x="272" y="31"/>
                  <a:pt x="272" y="31"/>
                  <a:pt x="272" y="31"/>
                </a:cubicBezTo>
                <a:cubicBezTo>
                  <a:pt x="271" y="31"/>
                  <a:pt x="271" y="31"/>
                  <a:pt x="271" y="31"/>
                </a:cubicBezTo>
                <a:cubicBezTo>
                  <a:pt x="270" y="31"/>
                  <a:pt x="270" y="31"/>
                  <a:pt x="270" y="31"/>
                </a:cubicBezTo>
                <a:cubicBezTo>
                  <a:pt x="270" y="30"/>
                  <a:pt x="270" y="30"/>
                  <a:pt x="270" y="30"/>
                </a:cubicBezTo>
                <a:cubicBezTo>
                  <a:pt x="269" y="30"/>
                  <a:pt x="269" y="30"/>
                  <a:pt x="269" y="30"/>
                </a:cubicBezTo>
                <a:cubicBezTo>
                  <a:pt x="268" y="30"/>
                  <a:pt x="268" y="30"/>
                  <a:pt x="268" y="30"/>
                </a:cubicBezTo>
                <a:cubicBezTo>
                  <a:pt x="269" y="31"/>
                  <a:pt x="269" y="31"/>
                  <a:pt x="269" y="31"/>
                </a:cubicBezTo>
                <a:cubicBezTo>
                  <a:pt x="269" y="32"/>
                  <a:pt x="269" y="32"/>
                  <a:pt x="269" y="32"/>
                </a:cubicBezTo>
                <a:cubicBezTo>
                  <a:pt x="269" y="32"/>
                  <a:pt x="269" y="32"/>
                  <a:pt x="269" y="32"/>
                </a:cubicBezTo>
                <a:cubicBezTo>
                  <a:pt x="269" y="34"/>
                  <a:pt x="269" y="34"/>
                  <a:pt x="269" y="34"/>
                </a:cubicBezTo>
                <a:cubicBezTo>
                  <a:pt x="269" y="34"/>
                  <a:pt x="269" y="34"/>
                  <a:pt x="269" y="34"/>
                </a:cubicBezTo>
                <a:cubicBezTo>
                  <a:pt x="270" y="34"/>
                  <a:pt x="270" y="34"/>
                  <a:pt x="270" y="34"/>
                </a:cubicBezTo>
                <a:cubicBezTo>
                  <a:pt x="271" y="35"/>
                  <a:pt x="271" y="35"/>
                  <a:pt x="271" y="35"/>
                </a:cubicBezTo>
                <a:cubicBezTo>
                  <a:pt x="271" y="36"/>
                  <a:pt x="271" y="36"/>
                  <a:pt x="271" y="36"/>
                </a:cubicBezTo>
                <a:cubicBezTo>
                  <a:pt x="272" y="39"/>
                  <a:pt x="272" y="39"/>
                  <a:pt x="272" y="39"/>
                </a:cubicBezTo>
                <a:cubicBezTo>
                  <a:pt x="273" y="40"/>
                  <a:pt x="273" y="40"/>
                  <a:pt x="273" y="40"/>
                </a:cubicBezTo>
                <a:cubicBezTo>
                  <a:pt x="274" y="40"/>
                  <a:pt x="274" y="40"/>
                  <a:pt x="274" y="40"/>
                </a:cubicBezTo>
                <a:cubicBezTo>
                  <a:pt x="273" y="41"/>
                  <a:pt x="273" y="41"/>
                  <a:pt x="273" y="41"/>
                </a:cubicBezTo>
                <a:cubicBezTo>
                  <a:pt x="272" y="41"/>
                  <a:pt x="272" y="41"/>
                  <a:pt x="272" y="41"/>
                </a:cubicBezTo>
                <a:cubicBezTo>
                  <a:pt x="271" y="43"/>
                  <a:pt x="271" y="43"/>
                  <a:pt x="271" y="43"/>
                </a:cubicBezTo>
                <a:cubicBezTo>
                  <a:pt x="273" y="46"/>
                  <a:pt x="273" y="46"/>
                  <a:pt x="273" y="46"/>
                </a:cubicBezTo>
                <a:cubicBezTo>
                  <a:pt x="273" y="47"/>
                  <a:pt x="273" y="47"/>
                  <a:pt x="273" y="47"/>
                </a:cubicBezTo>
                <a:cubicBezTo>
                  <a:pt x="273" y="49"/>
                  <a:pt x="273" y="49"/>
                  <a:pt x="273" y="49"/>
                </a:cubicBezTo>
                <a:cubicBezTo>
                  <a:pt x="274" y="49"/>
                  <a:pt x="274" y="49"/>
                  <a:pt x="274" y="49"/>
                </a:cubicBezTo>
                <a:cubicBezTo>
                  <a:pt x="274" y="50"/>
                  <a:pt x="274" y="50"/>
                  <a:pt x="274" y="50"/>
                </a:cubicBezTo>
                <a:cubicBezTo>
                  <a:pt x="273" y="51"/>
                  <a:pt x="273" y="51"/>
                  <a:pt x="273" y="51"/>
                </a:cubicBezTo>
                <a:cubicBezTo>
                  <a:pt x="274" y="53"/>
                  <a:pt x="274" y="53"/>
                  <a:pt x="274" y="53"/>
                </a:cubicBezTo>
                <a:cubicBezTo>
                  <a:pt x="275" y="55"/>
                  <a:pt x="275" y="55"/>
                  <a:pt x="275" y="55"/>
                </a:cubicBezTo>
                <a:cubicBezTo>
                  <a:pt x="276" y="56"/>
                  <a:pt x="276" y="56"/>
                  <a:pt x="276" y="56"/>
                </a:cubicBezTo>
                <a:cubicBezTo>
                  <a:pt x="276" y="57"/>
                  <a:pt x="276" y="57"/>
                  <a:pt x="276" y="57"/>
                </a:cubicBezTo>
                <a:cubicBezTo>
                  <a:pt x="277" y="58"/>
                  <a:pt x="277" y="58"/>
                  <a:pt x="277" y="58"/>
                </a:cubicBezTo>
                <a:close/>
                <a:moveTo>
                  <a:pt x="301" y="44"/>
                </a:moveTo>
                <a:cubicBezTo>
                  <a:pt x="302" y="43"/>
                  <a:pt x="302" y="43"/>
                  <a:pt x="302" y="43"/>
                </a:cubicBezTo>
                <a:cubicBezTo>
                  <a:pt x="302" y="42"/>
                  <a:pt x="302" y="42"/>
                  <a:pt x="302" y="42"/>
                </a:cubicBezTo>
                <a:cubicBezTo>
                  <a:pt x="301" y="42"/>
                  <a:pt x="301" y="42"/>
                  <a:pt x="301" y="42"/>
                </a:cubicBezTo>
                <a:cubicBezTo>
                  <a:pt x="302" y="41"/>
                  <a:pt x="302" y="41"/>
                  <a:pt x="302" y="41"/>
                </a:cubicBezTo>
                <a:cubicBezTo>
                  <a:pt x="303" y="41"/>
                  <a:pt x="303" y="41"/>
                  <a:pt x="303" y="41"/>
                </a:cubicBezTo>
                <a:cubicBezTo>
                  <a:pt x="302" y="41"/>
                  <a:pt x="302" y="41"/>
                  <a:pt x="302" y="41"/>
                </a:cubicBezTo>
                <a:cubicBezTo>
                  <a:pt x="301" y="41"/>
                  <a:pt x="301" y="41"/>
                  <a:pt x="301" y="41"/>
                </a:cubicBezTo>
                <a:cubicBezTo>
                  <a:pt x="300" y="42"/>
                  <a:pt x="300" y="42"/>
                  <a:pt x="300" y="42"/>
                </a:cubicBezTo>
                <a:cubicBezTo>
                  <a:pt x="301" y="43"/>
                  <a:pt x="301" y="43"/>
                  <a:pt x="301" y="43"/>
                </a:cubicBezTo>
                <a:cubicBezTo>
                  <a:pt x="300" y="43"/>
                  <a:pt x="300" y="43"/>
                  <a:pt x="300" y="43"/>
                </a:cubicBezTo>
                <a:cubicBezTo>
                  <a:pt x="300" y="44"/>
                  <a:pt x="300" y="44"/>
                  <a:pt x="300" y="44"/>
                </a:cubicBezTo>
                <a:cubicBezTo>
                  <a:pt x="300" y="44"/>
                  <a:pt x="300" y="44"/>
                  <a:pt x="300" y="44"/>
                </a:cubicBezTo>
                <a:cubicBezTo>
                  <a:pt x="301" y="44"/>
                  <a:pt x="301" y="44"/>
                  <a:pt x="301" y="44"/>
                </a:cubicBezTo>
                <a:close/>
                <a:moveTo>
                  <a:pt x="302" y="44"/>
                </a:moveTo>
                <a:cubicBezTo>
                  <a:pt x="303" y="43"/>
                  <a:pt x="303" y="43"/>
                  <a:pt x="303" y="43"/>
                </a:cubicBezTo>
                <a:cubicBezTo>
                  <a:pt x="305" y="43"/>
                  <a:pt x="305" y="43"/>
                  <a:pt x="305" y="43"/>
                </a:cubicBezTo>
                <a:cubicBezTo>
                  <a:pt x="305" y="42"/>
                  <a:pt x="305" y="42"/>
                  <a:pt x="305" y="42"/>
                </a:cubicBezTo>
                <a:cubicBezTo>
                  <a:pt x="306" y="42"/>
                  <a:pt x="306" y="42"/>
                  <a:pt x="306" y="42"/>
                </a:cubicBezTo>
                <a:cubicBezTo>
                  <a:pt x="307" y="42"/>
                  <a:pt x="307" y="42"/>
                  <a:pt x="307" y="42"/>
                </a:cubicBezTo>
                <a:cubicBezTo>
                  <a:pt x="308" y="42"/>
                  <a:pt x="308" y="42"/>
                  <a:pt x="308" y="42"/>
                </a:cubicBezTo>
                <a:cubicBezTo>
                  <a:pt x="308" y="44"/>
                  <a:pt x="308" y="44"/>
                  <a:pt x="308" y="44"/>
                </a:cubicBezTo>
                <a:cubicBezTo>
                  <a:pt x="308" y="45"/>
                  <a:pt x="308" y="45"/>
                  <a:pt x="308" y="45"/>
                </a:cubicBezTo>
                <a:cubicBezTo>
                  <a:pt x="307" y="44"/>
                  <a:pt x="307" y="44"/>
                  <a:pt x="307" y="44"/>
                </a:cubicBezTo>
                <a:cubicBezTo>
                  <a:pt x="306" y="45"/>
                  <a:pt x="306" y="45"/>
                  <a:pt x="306" y="45"/>
                </a:cubicBezTo>
                <a:cubicBezTo>
                  <a:pt x="304" y="45"/>
                  <a:pt x="304" y="45"/>
                  <a:pt x="304" y="45"/>
                </a:cubicBezTo>
                <a:cubicBezTo>
                  <a:pt x="303" y="45"/>
                  <a:pt x="303" y="45"/>
                  <a:pt x="303" y="45"/>
                </a:cubicBezTo>
                <a:cubicBezTo>
                  <a:pt x="302" y="44"/>
                  <a:pt x="302" y="44"/>
                  <a:pt x="302" y="44"/>
                </a:cubicBezTo>
                <a:close/>
                <a:moveTo>
                  <a:pt x="315" y="56"/>
                </a:moveTo>
                <a:cubicBezTo>
                  <a:pt x="315" y="57"/>
                  <a:pt x="315" y="57"/>
                  <a:pt x="315" y="57"/>
                </a:cubicBezTo>
                <a:cubicBezTo>
                  <a:pt x="316" y="58"/>
                  <a:pt x="316" y="58"/>
                  <a:pt x="316" y="58"/>
                </a:cubicBezTo>
                <a:cubicBezTo>
                  <a:pt x="316" y="59"/>
                  <a:pt x="316" y="59"/>
                  <a:pt x="316" y="59"/>
                </a:cubicBezTo>
                <a:cubicBezTo>
                  <a:pt x="316" y="60"/>
                  <a:pt x="316" y="60"/>
                  <a:pt x="316" y="60"/>
                </a:cubicBezTo>
                <a:cubicBezTo>
                  <a:pt x="317" y="59"/>
                  <a:pt x="317" y="59"/>
                  <a:pt x="317" y="59"/>
                </a:cubicBezTo>
                <a:cubicBezTo>
                  <a:pt x="318" y="58"/>
                  <a:pt x="318" y="58"/>
                  <a:pt x="318" y="58"/>
                </a:cubicBezTo>
                <a:cubicBezTo>
                  <a:pt x="317" y="56"/>
                  <a:pt x="317" y="56"/>
                  <a:pt x="317" y="56"/>
                </a:cubicBezTo>
                <a:cubicBezTo>
                  <a:pt x="316" y="56"/>
                  <a:pt x="316" y="56"/>
                  <a:pt x="316" y="56"/>
                </a:cubicBezTo>
                <a:cubicBezTo>
                  <a:pt x="315" y="56"/>
                  <a:pt x="315" y="56"/>
                  <a:pt x="315" y="56"/>
                </a:cubicBezTo>
                <a:close/>
                <a:moveTo>
                  <a:pt x="432" y="94"/>
                </a:moveTo>
                <a:cubicBezTo>
                  <a:pt x="433" y="94"/>
                  <a:pt x="433" y="94"/>
                  <a:pt x="433" y="94"/>
                </a:cubicBezTo>
                <a:cubicBezTo>
                  <a:pt x="433" y="92"/>
                  <a:pt x="433" y="92"/>
                  <a:pt x="433" y="92"/>
                </a:cubicBezTo>
                <a:cubicBezTo>
                  <a:pt x="433" y="91"/>
                  <a:pt x="433" y="91"/>
                  <a:pt x="433" y="91"/>
                </a:cubicBezTo>
                <a:cubicBezTo>
                  <a:pt x="431" y="92"/>
                  <a:pt x="431" y="92"/>
                  <a:pt x="431" y="92"/>
                </a:cubicBezTo>
                <a:cubicBezTo>
                  <a:pt x="431" y="92"/>
                  <a:pt x="431" y="92"/>
                  <a:pt x="431" y="92"/>
                </a:cubicBezTo>
                <a:cubicBezTo>
                  <a:pt x="431" y="93"/>
                  <a:pt x="431" y="93"/>
                  <a:pt x="431" y="93"/>
                </a:cubicBezTo>
                <a:cubicBezTo>
                  <a:pt x="432" y="93"/>
                  <a:pt x="432" y="93"/>
                  <a:pt x="432" y="93"/>
                </a:cubicBezTo>
                <a:cubicBezTo>
                  <a:pt x="432" y="94"/>
                  <a:pt x="432" y="94"/>
                  <a:pt x="432" y="94"/>
                </a:cubicBezTo>
                <a:close/>
                <a:moveTo>
                  <a:pt x="417" y="111"/>
                </a:moveTo>
                <a:cubicBezTo>
                  <a:pt x="418" y="111"/>
                  <a:pt x="418" y="111"/>
                  <a:pt x="418" y="111"/>
                </a:cubicBezTo>
                <a:cubicBezTo>
                  <a:pt x="419" y="111"/>
                  <a:pt x="419" y="111"/>
                  <a:pt x="419" y="111"/>
                </a:cubicBezTo>
                <a:cubicBezTo>
                  <a:pt x="419" y="111"/>
                  <a:pt x="419" y="111"/>
                  <a:pt x="419" y="111"/>
                </a:cubicBezTo>
                <a:cubicBezTo>
                  <a:pt x="419" y="111"/>
                  <a:pt x="419" y="111"/>
                  <a:pt x="419" y="111"/>
                </a:cubicBezTo>
                <a:cubicBezTo>
                  <a:pt x="418" y="110"/>
                  <a:pt x="418" y="110"/>
                  <a:pt x="418" y="110"/>
                </a:cubicBezTo>
                <a:cubicBezTo>
                  <a:pt x="417" y="109"/>
                  <a:pt x="417" y="109"/>
                  <a:pt x="417" y="109"/>
                </a:cubicBezTo>
                <a:cubicBezTo>
                  <a:pt x="416" y="109"/>
                  <a:pt x="416" y="109"/>
                  <a:pt x="416" y="109"/>
                </a:cubicBezTo>
                <a:cubicBezTo>
                  <a:pt x="416" y="109"/>
                  <a:pt x="416" y="109"/>
                  <a:pt x="416" y="109"/>
                </a:cubicBezTo>
                <a:cubicBezTo>
                  <a:pt x="416" y="110"/>
                  <a:pt x="416" y="110"/>
                  <a:pt x="416" y="110"/>
                </a:cubicBezTo>
                <a:cubicBezTo>
                  <a:pt x="417" y="110"/>
                  <a:pt x="417" y="110"/>
                  <a:pt x="417" y="110"/>
                </a:cubicBezTo>
                <a:cubicBezTo>
                  <a:pt x="417" y="110"/>
                  <a:pt x="417" y="111"/>
                  <a:pt x="417" y="111"/>
                </a:cubicBezTo>
                <a:close/>
                <a:moveTo>
                  <a:pt x="373" y="104"/>
                </a:moveTo>
                <a:cubicBezTo>
                  <a:pt x="374" y="104"/>
                  <a:pt x="374" y="104"/>
                  <a:pt x="374" y="104"/>
                </a:cubicBezTo>
                <a:cubicBezTo>
                  <a:pt x="375" y="104"/>
                  <a:pt x="375" y="104"/>
                  <a:pt x="375" y="104"/>
                </a:cubicBezTo>
                <a:cubicBezTo>
                  <a:pt x="376" y="104"/>
                  <a:pt x="376" y="104"/>
                  <a:pt x="376" y="104"/>
                </a:cubicBezTo>
                <a:cubicBezTo>
                  <a:pt x="376" y="103"/>
                  <a:pt x="376" y="103"/>
                  <a:pt x="376" y="103"/>
                </a:cubicBezTo>
                <a:cubicBezTo>
                  <a:pt x="377" y="102"/>
                  <a:pt x="377" y="102"/>
                  <a:pt x="377" y="102"/>
                </a:cubicBezTo>
                <a:cubicBezTo>
                  <a:pt x="377" y="102"/>
                  <a:pt x="377" y="102"/>
                  <a:pt x="377" y="102"/>
                </a:cubicBezTo>
                <a:cubicBezTo>
                  <a:pt x="376" y="101"/>
                  <a:pt x="376" y="101"/>
                  <a:pt x="376" y="101"/>
                </a:cubicBezTo>
                <a:cubicBezTo>
                  <a:pt x="376" y="99"/>
                  <a:pt x="376" y="99"/>
                  <a:pt x="376" y="99"/>
                </a:cubicBezTo>
                <a:cubicBezTo>
                  <a:pt x="375" y="98"/>
                  <a:pt x="375" y="98"/>
                  <a:pt x="375" y="98"/>
                </a:cubicBezTo>
                <a:cubicBezTo>
                  <a:pt x="375" y="97"/>
                  <a:pt x="375" y="97"/>
                  <a:pt x="375" y="97"/>
                </a:cubicBezTo>
                <a:cubicBezTo>
                  <a:pt x="375" y="96"/>
                  <a:pt x="375" y="96"/>
                  <a:pt x="375" y="96"/>
                </a:cubicBezTo>
                <a:cubicBezTo>
                  <a:pt x="374" y="96"/>
                  <a:pt x="374" y="96"/>
                  <a:pt x="374" y="96"/>
                </a:cubicBezTo>
                <a:cubicBezTo>
                  <a:pt x="371" y="96"/>
                  <a:pt x="371" y="96"/>
                  <a:pt x="371" y="96"/>
                </a:cubicBezTo>
                <a:cubicBezTo>
                  <a:pt x="369" y="98"/>
                  <a:pt x="369" y="98"/>
                  <a:pt x="369" y="98"/>
                </a:cubicBezTo>
                <a:cubicBezTo>
                  <a:pt x="368" y="98"/>
                  <a:pt x="368" y="98"/>
                  <a:pt x="368" y="98"/>
                </a:cubicBezTo>
                <a:cubicBezTo>
                  <a:pt x="368" y="98"/>
                  <a:pt x="368" y="98"/>
                  <a:pt x="368" y="98"/>
                </a:cubicBezTo>
                <a:cubicBezTo>
                  <a:pt x="368" y="100"/>
                  <a:pt x="368" y="100"/>
                  <a:pt x="368" y="100"/>
                </a:cubicBezTo>
                <a:cubicBezTo>
                  <a:pt x="369" y="100"/>
                  <a:pt x="369" y="100"/>
                  <a:pt x="369" y="100"/>
                </a:cubicBezTo>
                <a:cubicBezTo>
                  <a:pt x="369" y="101"/>
                  <a:pt x="369" y="101"/>
                  <a:pt x="369" y="101"/>
                </a:cubicBezTo>
                <a:cubicBezTo>
                  <a:pt x="369" y="102"/>
                  <a:pt x="369" y="102"/>
                  <a:pt x="369" y="102"/>
                </a:cubicBezTo>
                <a:cubicBezTo>
                  <a:pt x="368" y="102"/>
                  <a:pt x="368" y="102"/>
                  <a:pt x="368" y="102"/>
                </a:cubicBezTo>
                <a:cubicBezTo>
                  <a:pt x="367" y="102"/>
                  <a:pt x="367" y="102"/>
                  <a:pt x="367" y="102"/>
                </a:cubicBezTo>
                <a:cubicBezTo>
                  <a:pt x="368" y="103"/>
                  <a:pt x="368" y="103"/>
                  <a:pt x="368" y="103"/>
                </a:cubicBezTo>
                <a:cubicBezTo>
                  <a:pt x="370" y="103"/>
                  <a:pt x="370" y="103"/>
                  <a:pt x="370" y="103"/>
                </a:cubicBezTo>
                <a:cubicBezTo>
                  <a:pt x="373" y="104"/>
                  <a:pt x="373" y="104"/>
                  <a:pt x="373" y="104"/>
                </a:cubicBezTo>
                <a:close/>
                <a:moveTo>
                  <a:pt x="501" y="66"/>
                </a:moveTo>
                <a:cubicBezTo>
                  <a:pt x="501" y="65"/>
                  <a:pt x="501" y="65"/>
                  <a:pt x="501" y="65"/>
                </a:cubicBezTo>
                <a:cubicBezTo>
                  <a:pt x="501" y="65"/>
                  <a:pt x="501" y="65"/>
                  <a:pt x="501" y="65"/>
                </a:cubicBezTo>
                <a:cubicBezTo>
                  <a:pt x="502" y="63"/>
                  <a:pt x="502" y="63"/>
                  <a:pt x="502" y="63"/>
                </a:cubicBezTo>
                <a:cubicBezTo>
                  <a:pt x="502" y="62"/>
                  <a:pt x="502" y="62"/>
                  <a:pt x="502" y="62"/>
                </a:cubicBezTo>
                <a:cubicBezTo>
                  <a:pt x="502" y="61"/>
                  <a:pt x="502" y="61"/>
                  <a:pt x="502" y="61"/>
                </a:cubicBezTo>
                <a:cubicBezTo>
                  <a:pt x="500" y="59"/>
                  <a:pt x="500" y="59"/>
                  <a:pt x="500" y="59"/>
                </a:cubicBezTo>
                <a:cubicBezTo>
                  <a:pt x="500" y="58"/>
                  <a:pt x="500" y="58"/>
                  <a:pt x="500" y="58"/>
                </a:cubicBezTo>
                <a:cubicBezTo>
                  <a:pt x="499" y="58"/>
                  <a:pt x="499" y="58"/>
                  <a:pt x="499" y="58"/>
                </a:cubicBezTo>
                <a:cubicBezTo>
                  <a:pt x="497" y="58"/>
                  <a:pt x="497" y="58"/>
                  <a:pt x="497" y="58"/>
                </a:cubicBezTo>
                <a:cubicBezTo>
                  <a:pt x="496" y="59"/>
                  <a:pt x="496" y="59"/>
                  <a:pt x="496" y="59"/>
                </a:cubicBezTo>
                <a:cubicBezTo>
                  <a:pt x="496" y="60"/>
                  <a:pt x="496" y="60"/>
                  <a:pt x="496" y="60"/>
                </a:cubicBezTo>
                <a:cubicBezTo>
                  <a:pt x="497" y="62"/>
                  <a:pt x="497" y="62"/>
                  <a:pt x="497" y="62"/>
                </a:cubicBezTo>
                <a:cubicBezTo>
                  <a:pt x="497" y="62"/>
                  <a:pt x="497" y="62"/>
                  <a:pt x="497" y="62"/>
                </a:cubicBezTo>
                <a:cubicBezTo>
                  <a:pt x="497" y="63"/>
                  <a:pt x="497" y="63"/>
                  <a:pt x="497" y="63"/>
                </a:cubicBezTo>
                <a:cubicBezTo>
                  <a:pt x="498" y="63"/>
                  <a:pt x="498" y="63"/>
                  <a:pt x="498" y="63"/>
                </a:cubicBezTo>
                <a:cubicBezTo>
                  <a:pt x="500" y="65"/>
                  <a:pt x="500" y="65"/>
                  <a:pt x="500" y="65"/>
                </a:cubicBezTo>
                <a:cubicBezTo>
                  <a:pt x="501" y="66"/>
                  <a:pt x="501" y="66"/>
                  <a:pt x="501" y="66"/>
                </a:cubicBezTo>
                <a:close/>
                <a:moveTo>
                  <a:pt x="504" y="75"/>
                </a:moveTo>
                <a:cubicBezTo>
                  <a:pt x="505" y="74"/>
                  <a:pt x="505" y="74"/>
                  <a:pt x="505" y="74"/>
                </a:cubicBezTo>
                <a:cubicBezTo>
                  <a:pt x="506" y="73"/>
                  <a:pt x="506" y="73"/>
                  <a:pt x="506" y="73"/>
                </a:cubicBezTo>
                <a:cubicBezTo>
                  <a:pt x="508" y="72"/>
                  <a:pt x="508" y="72"/>
                  <a:pt x="508" y="72"/>
                </a:cubicBezTo>
                <a:cubicBezTo>
                  <a:pt x="510" y="72"/>
                  <a:pt x="510" y="72"/>
                  <a:pt x="510" y="72"/>
                </a:cubicBezTo>
                <a:cubicBezTo>
                  <a:pt x="513" y="72"/>
                  <a:pt x="513" y="72"/>
                  <a:pt x="513" y="72"/>
                </a:cubicBezTo>
                <a:cubicBezTo>
                  <a:pt x="514" y="72"/>
                  <a:pt x="514" y="72"/>
                  <a:pt x="514" y="72"/>
                </a:cubicBezTo>
                <a:cubicBezTo>
                  <a:pt x="517" y="72"/>
                  <a:pt x="517" y="72"/>
                  <a:pt x="517" y="72"/>
                </a:cubicBezTo>
                <a:cubicBezTo>
                  <a:pt x="518" y="71"/>
                  <a:pt x="518" y="71"/>
                  <a:pt x="518" y="71"/>
                </a:cubicBezTo>
                <a:cubicBezTo>
                  <a:pt x="520" y="71"/>
                  <a:pt x="520" y="71"/>
                  <a:pt x="520" y="71"/>
                </a:cubicBezTo>
                <a:cubicBezTo>
                  <a:pt x="522" y="71"/>
                  <a:pt x="522" y="71"/>
                  <a:pt x="522" y="71"/>
                </a:cubicBezTo>
                <a:cubicBezTo>
                  <a:pt x="523" y="70"/>
                  <a:pt x="523" y="70"/>
                  <a:pt x="523" y="70"/>
                </a:cubicBezTo>
                <a:cubicBezTo>
                  <a:pt x="522" y="69"/>
                  <a:pt x="522" y="69"/>
                  <a:pt x="522" y="69"/>
                </a:cubicBezTo>
                <a:cubicBezTo>
                  <a:pt x="521" y="68"/>
                  <a:pt x="521" y="68"/>
                  <a:pt x="521" y="68"/>
                </a:cubicBezTo>
                <a:cubicBezTo>
                  <a:pt x="520" y="66"/>
                  <a:pt x="520" y="66"/>
                  <a:pt x="520" y="66"/>
                </a:cubicBezTo>
                <a:cubicBezTo>
                  <a:pt x="517" y="64"/>
                  <a:pt x="517" y="64"/>
                  <a:pt x="517" y="64"/>
                </a:cubicBezTo>
                <a:cubicBezTo>
                  <a:pt x="515" y="64"/>
                  <a:pt x="515" y="64"/>
                  <a:pt x="515" y="64"/>
                </a:cubicBezTo>
                <a:cubicBezTo>
                  <a:pt x="514" y="64"/>
                  <a:pt x="514" y="64"/>
                  <a:pt x="514" y="64"/>
                </a:cubicBezTo>
                <a:cubicBezTo>
                  <a:pt x="512" y="62"/>
                  <a:pt x="512" y="62"/>
                  <a:pt x="512" y="62"/>
                </a:cubicBezTo>
                <a:cubicBezTo>
                  <a:pt x="511" y="62"/>
                  <a:pt x="511" y="62"/>
                  <a:pt x="511" y="62"/>
                </a:cubicBezTo>
                <a:cubicBezTo>
                  <a:pt x="510" y="63"/>
                  <a:pt x="510" y="63"/>
                  <a:pt x="510" y="63"/>
                </a:cubicBezTo>
                <a:cubicBezTo>
                  <a:pt x="509" y="62"/>
                  <a:pt x="509" y="62"/>
                  <a:pt x="509" y="62"/>
                </a:cubicBezTo>
                <a:cubicBezTo>
                  <a:pt x="508" y="62"/>
                  <a:pt x="508" y="62"/>
                  <a:pt x="508" y="62"/>
                </a:cubicBezTo>
                <a:cubicBezTo>
                  <a:pt x="507" y="64"/>
                  <a:pt x="507" y="64"/>
                  <a:pt x="507" y="64"/>
                </a:cubicBezTo>
                <a:cubicBezTo>
                  <a:pt x="505" y="66"/>
                  <a:pt x="505" y="66"/>
                  <a:pt x="505" y="66"/>
                </a:cubicBezTo>
                <a:cubicBezTo>
                  <a:pt x="506" y="67"/>
                  <a:pt x="506" y="67"/>
                  <a:pt x="506" y="67"/>
                </a:cubicBezTo>
                <a:cubicBezTo>
                  <a:pt x="506" y="70"/>
                  <a:pt x="506" y="70"/>
                  <a:pt x="506" y="70"/>
                </a:cubicBezTo>
                <a:cubicBezTo>
                  <a:pt x="505" y="73"/>
                  <a:pt x="505" y="73"/>
                  <a:pt x="505" y="73"/>
                </a:cubicBezTo>
                <a:cubicBezTo>
                  <a:pt x="504" y="74"/>
                  <a:pt x="504" y="74"/>
                  <a:pt x="504" y="74"/>
                </a:cubicBezTo>
                <a:cubicBezTo>
                  <a:pt x="504" y="75"/>
                  <a:pt x="504" y="75"/>
                  <a:pt x="504" y="75"/>
                </a:cubicBezTo>
                <a:cubicBezTo>
                  <a:pt x="504" y="75"/>
                  <a:pt x="504" y="75"/>
                  <a:pt x="504" y="75"/>
                </a:cubicBezTo>
                <a:close/>
                <a:moveTo>
                  <a:pt x="474" y="69"/>
                </a:moveTo>
                <a:cubicBezTo>
                  <a:pt x="475" y="70"/>
                  <a:pt x="475" y="70"/>
                  <a:pt x="475" y="70"/>
                </a:cubicBezTo>
                <a:cubicBezTo>
                  <a:pt x="476" y="71"/>
                  <a:pt x="476" y="71"/>
                  <a:pt x="476" y="71"/>
                </a:cubicBezTo>
                <a:cubicBezTo>
                  <a:pt x="477" y="71"/>
                  <a:pt x="477" y="71"/>
                  <a:pt x="477" y="71"/>
                </a:cubicBezTo>
                <a:cubicBezTo>
                  <a:pt x="478" y="72"/>
                  <a:pt x="478" y="72"/>
                  <a:pt x="478" y="72"/>
                </a:cubicBezTo>
                <a:cubicBezTo>
                  <a:pt x="480" y="72"/>
                  <a:pt x="480" y="72"/>
                  <a:pt x="480" y="72"/>
                </a:cubicBezTo>
                <a:cubicBezTo>
                  <a:pt x="481" y="73"/>
                  <a:pt x="481" y="73"/>
                  <a:pt x="481" y="73"/>
                </a:cubicBezTo>
                <a:cubicBezTo>
                  <a:pt x="482" y="73"/>
                  <a:pt x="482" y="73"/>
                  <a:pt x="482" y="73"/>
                </a:cubicBezTo>
                <a:cubicBezTo>
                  <a:pt x="482" y="72"/>
                  <a:pt x="482" y="72"/>
                  <a:pt x="482" y="72"/>
                </a:cubicBezTo>
                <a:cubicBezTo>
                  <a:pt x="480" y="70"/>
                  <a:pt x="480" y="70"/>
                  <a:pt x="480" y="70"/>
                </a:cubicBezTo>
                <a:cubicBezTo>
                  <a:pt x="479" y="70"/>
                  <a:pt x="479" y="70"/>
                  <a:pt x="479" y="70"/>
                </a:cubicBezTo>
                <a:cubicBezTo>
                  <a:pt x="477" y="70"/>
                  <a:pt x="477" y="70"/>
                  <a:pt x="477" y="70"/>
                </a:cubicBezTo>
                <a:cubicBezTo>
                  <a:pt x="476" y="69"/>
                  <a:pt x="476" y="69"/>
                  <a:pt x="476" y="69"/>
                </a:cubicBezTo>
                <a:cubicBezTo>
                  <a:pt x="475" y="68"/>
                  <a:pt x="475" y="68"/>
                  <a:pt x="475" y="68"/>
                </a:cubicBezTo>
                <a:cubicBezTo>
                  <a:pt x="474" y="69"/>
                  <a:pt x="474" y="69"/>
                  <a:pt x="474" y="69"/>
                </a:cubicBezTo>
                <a:close/>
                <a:moveTo>
                  <a:pt x="514" y="108"/>
                </a:moveTo>
                <a:cubicBezTo>
                  <a:pt x="516" y="110"/>
                  <a:pt x="516" y="110"/>
                  <a:pt x="516" y="110"/>
                </a:cubicBezTo>
                <a:cubicBezTo>
                  <a:pt x="517" y="110"/>
                  <a:pt x="517" y="110"/>
                  <a:pt x="517" y="110"/>
                </a:cubicBezTo>
                <a:cubicBezTo>
                  <a:pt x="517" y="110"/>
                  <a:pt x="517" y="110"/>
                  <a:pt x="517" y="110"/>
                </a:cubicBezTo>
                <a:cubicBezTo>
                  <a:pt x="518" y="109"/>
                  <a:pt x="518" y="109"/>
                  <a:pt x="518" y="109"/>
                </a:cubicBezTo>
                <a:cubicBezTo>
                  <a:pt x="519" y="109"/>
                  <a:pt x="519" y="109"/>
                  <a:pt x="519" y="109"/>
                </a:cubicBezTo>
                <a:cubicBezTo>
                  <a:pt x="518" y="108"/>
                  <a:pt x="518" y="108"/>
                  <a:pt x="518" y="108"/>
                </a:cubicBezTo>
                <a:cubicBezTo>
                  <a:pt x="518" y="106"/>
                  <a:pt x="518" y="106"/>
                  <a:pt x="518" y="106"/>
                </a:cubicBezTo>
                <a:cubicBezTo>
                  <a:pt x="517" y="107"/>
                  <a:pt x="517" y="107"/>
                  <a:pt x="517" y="107"/>
                </a:cubicBezTo>
                <a:cubicBezTo>
                  <a:pt x="517" y="108"/>
                  <a:pt x="517" y="108"/>
                  <a:pt x="517" y="108"/>
                </a:cubicBezTo>
                <a:cubicBezTo>
                  <a:pt x="516" y="108"/>
                  <a:pt x="516" y="108"/>
                  <a:pt x="516" y="108"/>
                </a:cubicBezTo>
                <a:cubicBezTo>
                  <a:pt x="516" y="108"/>
                  <a:pt x="515" y="109"/>
                  <a:pt x="514" y="108"/>
                </a:cubicBezTo>
                <a:close/>
                <a:moveTo>
                  <a:pt x="655" y="98"/>
                </a:moveTo>
                <a:cubicBezTo>
                  <a:pt x="655" y="98"/>
                  <a:pt x="655" y="98"/>
                  <a:pt x="655" y="98"/>
                </a:cubicBezTo>
                <a:cubicBezTo>
                  <a:pt x="655" y="97"/>
                  <a:pt x="655" y="97"/>
                  <a:pt x="655" y="97"/>
                </a:cubicBezTo>
                <a:cubicBezTo>
                  <a:pt x="655" y="96"/>
                  <a:pt x="655" y="96"/>
                  <a:pt x="655" y="96"/>
                </a:cubicBezTo>
                <a:cubicBezTo>
                  <a:pt x="654" y="95"/>
                  <a:pt x="654" y="95"/>
                  <a:pt x="654" y="95"/>
                </a:cubicBezTo>
                <a:cubicBezTo>
                  <a:pt x="654" y="96"/>
                  <a:pt x="654" y="96"/>
                  <a:pt x="654" y="96"/>
                </a:cubicBezTo>
                <a:cubicBezTo>
                  <a:pt x="655" y="98"/>
                  <a:pt x="655" y="98"/>
                  <a:pt x="655" y="98"/>
                </a:cubicBezTo>
                <a:close/>
                <a:moveTo>
                  <a:pt x="654" y="99"/>
                </a:moveTo>
                <a:cubicBezTo>
                  <a:pt x="654" y="99"/>
                  <a:pt x="654" y="99"/>
                  <a:pt x="654" y="99"/>
                </a:cubicBezTo>
                <a:cubicBezTo>
                  <a:pt x="654" y="98"/>
                  <a:pt x="654" y="98"/>
                  <a:pt x="654" y="98"/>
                </a:cubicBezTo>
                <a:cubicBezTo>
                  <a:pt x="654" y="97"/>
                  <a:pt x="654" y="97"/>
                  <a:pt x="654" y="97"/>
                </a:cubicBezTo>
                <a:cubicBezTo>
                  <a:pt x="653" y="97"/>
                  <a:pt x="653" y="97"/>
                  <a:pt x="653" y="97"/>
                </a:cubicBezTo>
                <a:cubicBezTo>
                  <a:pt x="653" y="97"/>
                  <a:pt x="653" y="97"/>
                  <a:pt x="653" y="97"/>
                </a:cubicBezTo>
                <a:cubicBezTo>
                  <a:pt x="654" y="99"/>
                  <a:pt x="654" y="99"/>
                  <a:pt x="654" y="99"/>
                </a:cubicBezTo>
                <a:close/>
                <a:moveTo>
                  <a:pt x="653" y="99"/>
                </a:moveTo>
                <a:cubicBezTo>
                  <a:pt x="654" y="101"/>
                  <a:pt x="654" y="101"/>
                  <a:pt x="654" y="101"/>
                </a:cubicBezTo>
                <a:cubicBezTo>
                  <a:pt x="654" y="102"/>
                  <a:pt x="654" y="102"/>
                  <a:pt x="654" y="102"/>
                </a:cubicBezTo>
                <a:cubicBezTo>
                  <a:pt x="655" y="101"/>
                  <a:pt x="655" y="101"/>
                  <a:pt x="655" y="101"/>
                </a:cubicBezTo>
                <a:cubicBezTo>
                  <a:pt x="654" y="100"/>
                  <a:pt x="654" y="100"/>
                  <a:pt x="654" y="100"/>
                </a:cubicBezTo>
                <a:cubicBezTo>
                  <a:pt x="653" y="99"/>
                  <a:pt x="653" y="99"/>
                  <a:pt x="653" y="99"/>
                </a:cubicBezTo>
                <a:cubicBezTo>
                  <a:pt x="653" y="99"/>
                  <a:pt x="653" y="99"/>
                  <a:pt x="653" y="99"/>
                </a:cubicBezTo>
                <a:cubicBezTo>
                  <a:pt x="653" y="99"/>
                  <a:pt x="653" y="99"/>
                  <a:pt x="653" y="99"/>
                </a:cubicBezTo>
                <a:close/>
                <a:moveTo>
                  <a:pt x="650" y="98"/>
                </a:moveTo>
                <a:cubicBezTo>
                  <a:pt x="650" y="100"/>
                  <a:pt x="650" y="100"/>
                  <a:pt x="650" y="100"/>
                </a:cubicBezTo>
                <a:cubicBezTo>
                  <a:pt x="651" y="100"/>
                  <a:pt x="651" y="100"/>
                  <a:pt x="651" y="100"/>
                </a:cubicBezTo>
                <a:cubicBezTo>
                  <a:pt x="651" y="100"/>
                  <a:pt x="651" y="100"/>
                  <a:pt x="651" y="100"/>
                </a:cubicBezTo>
                <a:cubicBezTo>
                  <a:pt x="652" y="99"/>
                  <a:pt x="652" y="99"/>
                  <a:pt x="652" y="99"/>
                </a:cubicBezTo>
                <a:cubicBezTo>
                  <a:pt x="651" y="98"/>
                  <a:pt x="651" y="98"/>
                  <a:pt x="651" y="98"/>
                </a:cubicBezTo>
                <a:cubicBezTo>
                  <a:pt x="651" y="98"/>
                  <a:pt x="651" y="98"/>
                  <a:pt x="651" y="98"/>
                </a:cubicBezTo>
                <a:cubicBezTo>
                  <a:pt x="650" y="98"/>
                  <a:pt x="650" y="98"/>
                  <a:pt x="650" y="98"/>
                </a:cubicBezTo>
                <a:cubicBezTo>
                  <a:pt x="650" y="98"/>
                  <a:pt x="650" y="98"/>
                  <a:pt x="650" y="98"/>
                </a:cubicBezTo>
                <a:close/>
                <a:moveTo>
                  <a:pt x="684" y="84"/>
                </a:moveTo>
                <a:cubicBezTo>
                  <a:pt x="686" y="85"/>
                  <a:pt x="686" y="85"/>
                  <a:pt x="686" y="85"/>
                </a:cubicBezTo>
                <a:cubicBezTo>
                  <a:pt x="687" y="84"/>
                  <a:pt x="687" y="84"/>
                  <a:pt x="687" y="84"/>
                </a:cubicBezTo>
                <a:cubicBezTo>
                  <a:pt x="688" y="83"/>
                  <a:pt x="688" y="83"/>
                  <a:pt x="688" y="83"/>
                </a:cubicBezTo>
                <a:cubicBezTo>
                  <a:pt x="688" y="82"/>
                  <a:pt x="688" y="82"/>
                  <a:pt x="688" y="82"/>
                </a:cubicBezTo>
                <a:cubicBezTo>
                  <a:pt x="687" y="81"/>
                  <a:pt x="687" y="81"/>
                  <a:pt x="687" y="81"/>
                </a:cubicBezTo>
                <a:cubicBezTo>
                  <a:pt x="687" y="80"/>
                  <a:pt x="687" y="80"/>
                  <a:pt x="687" y="80"/>
                </a:cubicBezTo>
                <a:cubicBezTo>
                  <a:pt x="687" y="79"/>
                  <a:pt x="687" y="79"/>
                  <a:pt x="687" y="79"/>
                </a:cubicBezTo>
                <a:cubicBezTo>
                  <a:pt x="685" y="78"/>
                  <a:pt x="685" y="78"/>
                  <a:pt x="685" y="78"/>
                </a:cubicBezTo>
                <a:cubicBezTo>
                  <a:pt x="685" y="79"/>
                  <a:pt x="685" y="79"/>
                  <a:pt x="685" y="79"/>
                </a:cubicBezTo>
                <a:cubicBezTo>
                  <a:pt x="684" y="79"/>
                  <a:pt x="684" y="79"/>
                  <a:pt x="684" y="79"/>
                </a:cubicBezTo>
                <a:cubicBezTo>
                  <a:pt x="683" y="78"/>
                  <a:pt x="683" y="78"/>
                  <a:pt x="683" y="78"/>
                </a:cubicBezTo>
                <a:cubicBezTo>
                  <a:pt x="682" y="78"/>
                  <a:pt x="682" y="78"/>
                  <a:pt x="682" y="78"/>
                </a:cubicBezTo>
                <a:cubicBezTo>
                  <a:pt x="681" y="78"/>
                  <a:pt x="681" y="78"/>
                  <a:pt x="681" y="78"/>
                </a:cubicBezTo>
                <a:cubicBezTo>
                  <a:pt x="681" y="79"/>
                  <a:pt x="681" y="79"/>
                  <a:pt x="681" y="79"/>
                </a:cubicBezTo>
                <a:cubicBezTo>
                  <a:pt x="681" y="79"/>
                  <a:pt x="681" y="79"/>
                  <a:pt x="681" y="79"/>
                </a:cubicBezTo>
                <a:cubicBezTo>
                  <a:pt x="680" y="79"/>
                  <a:pt x="680" y="79"/>
                  <a:pt x="680" y="79"/>
                </a:cubicBezTo>
                <a:cubicBezTo>
                  <a:pt x="680" y="80"/>
                  <a:pt x="680" y="80"/>
                  <a:pt x="680" y="80"/>
                </a:cubicBezTo>
                <a:cubicBezTo>
                  <a:pt x="680" y="82"/>
                  <a:pt x="680" y="82"/>
                  <a:pt x="680" y="82"/>
                </a:cubicBezTo>
                <a:cubicBezTo>
                  <a:pt x="680" y="83"/>
                  <a:pt x="680" y="83"/>
                  <a:pt x="680" y="83"/>
                </a:cubicBezTo>
                <a:cubicBezTo>
                  <a:pt x="681" y="83"/>
                  <a:pt x="681" y="83"/>
                  <a:pt x="681" y="83"/>
                </a:cubicBezTo>
                <a:cubicBezTo>
                  <a:pt x="683" y="83"/>
                  <a:pt x="683" y="83"/>
                  <a:pt x="683" y="83"/>
                </a:cubicBezTo>
                <a:cubicBezTo>
                  <a:pt x="684" y="84"/>
                  <a:pt x="684" y="84"/>
                  <a:pt x="684" y="84"/>
                </a:cubicBezTo>
                <a:close/>
                <a:moveTo>
                  <a:pt x="692" y="81"/>
                </a:moveTo>
                <a:cubicBezTo>
                  <a:pt x="693" y="80"/>
                  <a:pt x="693" y="80"/>
                  <a:pt x="693" y="80"/>
                </a:cubicBezTo>
                <a:cubicBezTo>
                  <a:pt x="693" y="80"/>
                  <a:pt x="693" y="80"/>
                  <a:pt x="693" y="80"/>
                </a:cubicBezTo>
                <a:cubicBezTo>
                  <a:pt x="692" y="80"/>
                  <a:pt x="692" y="80"/>
                  <a:pt x="692" y="80"/>
                </a:cubicBezTo>
                <a:cubicBezTo>
                  <a:pt x="692" y="80"/>
                  <a:pt x="692" y="80"/>
                  <a:pt x="692" y="80"/>
                </a:cubicBezTo>
                <a:cubicBezTo>
                  <a:pt x="692" y="81"/>
                  <a:pt x="692" y="81"/>
                  <a:pt x="692" y="81"/>
                </a:cubicBezTo>
                <a:close/>
                <a:moveTo>
                  <a:pt x="701" y="418"/>
                </a:moveTo>
                <a:cubicBezTo>
                  <a:pt x="701" y="417"/>
                  <a:pt x="701" y="417"/>
                  <a:pt x="701" y="417"/>
                </a:cubicBezTo>
                <a:cubicBezTo>
                  <a:pt x="701" y="415"/>
                  <a:pt x="701" y="415"/>
                  <a:pt x="701" y="415"/>
                </a:cubicBezTo>
                <a:cubicBezTo>
                  <a:pt x="700" y="414"/>
                  <a:pt x="700" y="414"/>
                  <a:pt x="700" y="414"/>
                </a:cubicBezTo>
                <a:cubicBezTo>
                  <a:pt x="700" y="413"/>
                  <a:pt x="700" y="413"/>
                  <a:pt x="700" y="413"/>
                </a:cubicBezTo>
                <a:cubicBezTo>
                  <a:pt x="700" y="411"/>
                  <a:pt x="700" y="411"/>
                  <a:pt x="700" y="411"/>
                </a:cubicBezTo>
                <a:cubicBezTo>
                  <a:pt x="701" y="410"/>
                  <a:pt x="701" y="410"/>
                  <a:pt x="701" y="410"/>
                </a:cubicBezTo>
                <a:cubicBezTo>
                  <a:pt x="702" y="410"/>
                  <a:pt x="702" y="410"/>
                  <a:pt x="702" y="410"/>
                </a:cubicBezTo>
                <a:cubicBezTo>
                  <a:pt x="702" y="411"/>
                  <a:pt x="702" y="411"/>
                  <a:pt x="702" y="411"/>
                </a:cubicBezTo>
                <a:cubicBezTo>
                  <a:pt x="703" y="411"/>
                  <a:pt x="703" y="411"/>
                  <a:pt x="703" y="411"/>
                </a:cubicBezTo>
                <a:cubicBezTo>
                  <a:pt x="705" y="411"/>
                  <a:pt x="705" y="411"/>
                  <a:pt x="705" y="411"/>
                </a:cubicBezTo>
                <a:cubicBezTo>
                  <a:pt x="705" y="410"/>
                  <a:pt x="705" y="410"/>
                  <a:pt x="705" y="410"/>
                </a:cubicBezTo>
                <a:cubicBezTo>
                  <a:pt x="706" y="410"/>
                  <a:pt x="706" y="410"/>
                  <a:pt x="706" y="410"/>
                </a:cubicBezTo>
                <a:cubicBezTo>
                  <a:pt x="706" y="411"/>
                  <a:pt x="706" y="411"/>
                  <a:pt x="706" y="411"/>
                </a:cubicBezTo>
                <a:cubicBezTo>
                  <a:pt x="706" y="411"/>
                  <a:pt x="706" y="411"/>
                  <a:pt x="706" y="411"/>
                </a:cubicBezTo>
                <a:cubicBezTo>
                  <a:pt x="706" y="412"/>
                  <a:pt x="706" y="412"/>
                  <a:pt x="706" y="412"/>
                </a:cubicBezTo>
                <a:cubicBezTo>
                  <a:pt x="707" y="414"/>
                  <a:pt x="707" y="414"/>
                  <a:pt x="707" y="414"/>
                </a:cubicBezTo>
                <a:cubicBezTo>
                  <a:pt x="708" y="415"/>
                  <a:pt x="708" y="415"/>
                  <a:pt x="708" y="415"/>
                </a:cubicBezTo>
                <a:cubicBezTo>
                  <a:pt x="708" y="416"/>
                  <a:pt x="708" y="416"/>
                  <a:pt x="708" y="416"/>
                </a:cubicBezTo>
                <a:cubicBezTo>
                  <a:pt x="708" y="415"/>
                  <a:pt x="708" y="415"/>
                  <a:pt x="708" y="415"/>
                </a:cubicBezTo>
                <a:cubicBezTo>
                  <a:pt x="708" y="414"/>
                  <a:pt x="708" y="414"/>
                  <a:pt x="708" y="414"/>
                </a:cubicBezTo>
                <a:cubicBezTo>
                  <a:pt x="708" y="413"/>
                  <a:pt x="708" y="413"/>
                  <a:pt x="708" y="413"/>
                </a:cubicBezTo>
                <a:cubicBezTo>
                  <a:pt x="708" y="411"/>
                  <a:pt x="708" y="411"/>
                  <a:pt x="708" y="411"/>
                </a:cubicBezTo>
                <a:cubicBezTo>
                  <a:pt x="707" y="410"/>
                  <a:pt x="707" y="410"/>
                  <a:pt x="707" y="410"/>
                </a:cubicBezTo>
                <a:cubicBezTo>
                  <a:pt x="707" y="409"/>
                  <a:pt x="707" y="409"/>
                  <a:pt x="707" y="409"/>
                </a:cubicBezTo>
                <a:cubicBezTo>
                  <a:pt x="706" y="408"/>
                  <a:pt x="706" y="408"/>
                  <a:pt x="706" y="408"/>
                </a:cubicBezTo>
                <a:cubicBezTo>
                  <a:pt x="705" y="408"/>
                  <a:pt x="705" y="408"/>
                  <a:pt x="705" y="408"/>
                </a:cubicBezTo>
                <a:cubicBezTo>
                  <a:pt x="705" y="408"/>
                  <a:pt x="705" y="408"/>
                  <a:pt x="705" y="408"/>
                </a:cubicBezTo>
                <a:cubicBezTo>
                  <a:pt x="703" y="407"/>
                  <a:pt x="703" y="407"/>
                  <a:pt x="703" y="407"/>
                </a:cubicBezTo>
                <a:cubicBezTo>
                  <a:pt x="703" y="405"/>
                  <a:pt x="703" y="405"/>
                  <a:pt x="703" y="405"/>
                </a:cubicBezTo>
                <a:cubicBezTo>
                  <a:pt x="702" y="404"/>
                  <a:pt x="702" y="404"/>
                  <a:pt x="702" y="404"/>
                </a:cubicBezTo>
                <a:cubicBezTo>
                  <a:pt x="700" y="402"/>
                  <a:pt x="700" y="402"/>
                  <a:pt x="700" y="402"/>
                </a:cubicBezTo>
                <a:cubicBezTo>
                  <a:pt x="699" y="402"/>
                  <a:pt x="699" y="402"/>
                  <a:pt x="699" y="402"/>
                </a:cubicBezTo>
                <a:cubicBezTo>
                  <a:pt x="698" y="401"/>
                  <a:pt x="698" y="401"/>
                  <a:pt x="698" y="401"/>
                </a:cubicBezTo>
                <a:cubicBezTo>
                  <a:pt x="698" y="399"/>
                  <a:pt x="698" y="399"/>
                  <a:pt x="698" y="399"/>
                </a:cubicBezTo>
                <a:cubicBezTo>
                  <a:pt x="697" y="397"/>
                  <a:pt x="697" y="397"/>
                  <a:pt x="697" y="397"/>
                </a:cubicBezTo>
                <a:cubicBezTo>
                  <a:pt x="696" y="396"/>
                  <a:pt x="696" y="396"/>
                  <a:pt x="696" y="396"/>
                </a:cubicBezTo>
                <a:cubicBezTo>
                  <a:pt x="696" y="393"/>
                  <a:pt x="696" y="393"/>
                  <a:pt x="696" y="393"/>
                </a:cubicBezTo>
                <a:cubicBezTo>
                  <a:pt x="696" y="391"/>
                  <a:pt x="696" y="391"/>
                  <a:pt x="696" y="391"/>
                </a:cubicBezTo>
                <a:cubicBezTo>
                  <a:pt x="695" y="390"/>
                  <a:pt x="695" y="390"/>
                  <a:pt x="695" y="390"/>
                </a:cubicBezTo>
                <a:cubicBezTo>
                  <a:pt x="696" y="388"/>
                  <a:pt x="696" y="388"/>
                  <a:pt x="696" y="388"/>
                </a:cubicBezTo>
                <a:cubicBezTo>
                  <a:pt x="696" y="386"/>
                  <a:pt x="696" y="386"/>
                  <a:pt x="696" y="386"/>
                </a:cubicBezTo>
                <a:cubicBezTo>
                  <a:pt x="695" y="385"/>
                  <a:pt x="695" y="385"/>
                  <a:pt x="695" y="385"/>
                </a:cubicBezTo>
                <a:cubicBezTo>
                  <a:pt x="695" y="384"/>
                  <a:pt x="695" y="384"/>
                  <a:pt x="695" y="384"/>
                </a:cubicBezTo>
                <a:cubicBezTo>
                  <a:pt x="695" y="383"/>
                  <a:pt x="695" y="383"/>
                  <a:pt x="695" y="383"/>
                </a:cubicBezTo>
                <a:cubicBezTo>
                  <a:pt x="695" y="382"/>
                  <a:pt x="695" y="382"/>
                  <a:pt x="695" y="382"/>
                </a:cubicBezTo>
                <a:cubicBezTo>
                  <a:pt x="696" y="382"/>
                  <a:pt x="696" y="382"/>
                  <a:pt x="696" y="382"/>
                </a:cubicBezTo>
                <a:cubicBezTo>
                  <a:pt x="697" y="382"/>
                  <a:pt x="697" y="382"/>
                  <a:pt x="697" y="382"/>
                </a:cubicBezTo>
                <a:cubicBezTo>
                  <a:pt x="698" y="382"/>
                  <a:pt x="698" y="382"/>
                  <a:pt x="698" y="382"/>
                </a:cubicBezTo>
                <a:cubicBezTo>
                  <a:pt x="700" y="382"/>
                  <a:pt x="700" y="382"/>
                  <a:pt x="700" y="382"/>
                </a:cubicBezTo>
                <a:cubicBezTo>
                  <a:pt x="701" y="383"/>
                  <a:pt x="701" y="383"/>
                  <a:pt x="701" y="383"/>
                </a:cubicBezTo>
                <a:cubicBezTo>
                  <a:pt x="702" y="385"/>
                  <a:pt x="702" y="385"/>
                  <a:pt x="702" y="385"/>
                </a:cubicBezTo>
                <a:cubicBezTo>
                  <a:pt x="703" y="385"/>
                  <a:pt x="703" y="385"/>
                  <a:pt x="703" y="385"/>
                </a:cubicBezTo>
                <a:cubicBezTo>
                  <a:pt x="704" y="386"/>
                  <a:pt x="704" y="386"/>
                  <a:pt x="704" y="386"/>
                </a:cubicBezTo>
                <a:cubicBezTo>
                  <a:pt x="706" y="388"/>
                  <a:pt x="706" y="388"/>
                  <a:pt x="706" y="388"/>
                </a:cubicBezTo>
                <a:cubicBezTo>
                  <a:pt x="706" y="388"/>
                  <a:pt x="706" y="388"/>
                  <a:pt x="706" y="388"/>
                </a:cubicBezTo>
                <a:cubicBezTo>
                  <a:pt x="706" y="387"/>
                  <a:pt x="706" y="387"/>
                  <a:pt x="706" y="387"/>
                </a:cubicBezTo>
                <a:cubicBezTo>
                  <a:pt x="704" y="385"/>
                  <a:pt x="704" y="385"/>
                  <a:pt x="704" y="385"/>
                </a:cubicBezTo>
                <a:cubicBezTo>
                  <a:pt x="703" y="384"/>
                  <a:pt x="703" y="384"/>
                  <a:pt x="703" y="384"/>
                </a:cubicBezTo>
                <a:cubicBezTo>
                  <a:pt x="702" y="382"/>
                  <a:pt x="702" y="382"/>
                  <a:pt x="702" y="382"/>
                </a:cubicBezTo>
                <a:cubicBezTo>
                  <a:pt x="700" y="380"/>
                  <a:pt x="700" y="380"/>
                  <a:pt x="700" y="380"/>
                </a:cubicBezTo>
                <a:cubicBezTo>
                  <a:pt x="700" y="380"/>
                  <a:pt x="700" y="380"/>
                  <a:pt x="700" y="380"/>
                </a:cubicBezTo>
                <a:cubicBezTo>
                  <a:pt x="700" y="379"/>
                  <a:pt x="700" y="379"/>
                  <a:pt x="700" y="379"/>
                </a:cubicBezTo>
                <a:cubicBezTo>
                  <a:pt x="699" y="377"/>
                  <a:pt x="699" y="377"/>
                  <a:pt x="699" y="377"/>
                </a:cubicBezTo>
                <a:cubicBezTo>
                  <a:pt x="698" y="375"/>
                  <a:pt x="698" y="375"/>
                  <a:pt x="698" y="375"/>
                </a:cubicBezTo>
                <a:cubicBezTo>
                  <a:pt x="697" y="375"/>
                  <a:pt x="697" y="375"/>
                  <a:pt x="697" y="375"/>
                </a:cubicBezTo>
                <a:cubicBezTo>
                  <a:pt x="697" y="374"/>
                  <a:pt x="697" y="374"/>
                  <a:pt x="697" y="374"/>
                </a:cubicBezTo>
                <a:cubicBezTo>
                  <a:pt x="695" y="371"/>
                  <a:pt x="695" y="371"/>
                  <a:pt x="695" y="371"/>
                </a:cubicBezTo>
                <a:cubicBezTo>
                  <a:pt x="693" y="368"/>
                  <a:pt x="693" y="368"/>
                  <a:pt x="693" y="368"/>
                </a:cubicBezTo>
                <a:cubicBezTo>
                  <a:pt x="693" y="367"/>
                  <a:pt x="693" y="367"/>
                  <a:pt x="693" y="367"/>
                </a:cubicBezTo>
                <a:cubicBezTo>
                  <a:pt x="691" y="364"/>
                  <a:pt x="691" y="364"/>
                  <a:pt x="691" y="364"/>
                </a:cubicBezTo>
                <a:cubicBezTo>
                  <a:pt x="690" y="362"/>
                  <a:pt x="690" y="362"/>
                  <a:pt x="690" y="362"/>
                </a:cubicBezTo>
                <a:cubicBezTo>
                  <a:pt x="689" y="361"/>
                  <a:pt x="689" y="361"/>
                  <a:pt x="689" y="361"/>
                </a:cubicBezTo>
                <a:cubicBezTo>
                  <a:pt x="689" y="360"/>
                  <a:pt x="689" y="360"/>
                  <a:pt x="689" y="360"/>
                </a:cubicBezTo>
                <a:cubicBezTo>
                  <a:pt x="688" y="359"/>
                  <a:pt x="688" y="359"/>
                  <a:pt x="688" y="359"/>
                </a:cubicBezTo>
                <a:cubicBezTo>
                  <a:pt x="687" y="358"/>
                  <a:pt x="687" y="358"/>
                  <a:pt x="687" y="358"/>
                </a:cubicBezTo>
                <a:cubicBezTo>
                  <a:pt x="687" y="359"/>
                  <a:pt x="687" y="359"/>
                  <a:pt x="687" y="359"/>
                </a:cubicBezTo>
                <a:cubicBezTo>
                  <a:pt x="686" y="359"/>
                  <a:pt x="686" y="359"/>
                  <a:pt x="686" y="359"/>
                </a:cubicBezTo>
                <a:cubicBezTo>
                  <a:pt x="686" y="358"/>
                  <a:pt x="686" y="358"/>
                  <a:pt x="686" y="358"/>
                </a:cubicBezTo>
                <a:cubicBezTo>
                  <a:pt x="686" y="357"/>
                  <a:pt x="686" y="357"/>
                  <a:pt x="686" y="357"/>
                </a:cubicBezTo>
                <a:cubicBezTo>
                  <a:pt x="686" y="356"/>
                  <a:pt x="686" y="356"/>
                  <a:pt x="686" y="356"/>
                </a:cubicBezTo>
                <a:cubicBezTo>
                  <a:pt x="685" y="356"/>
                  <a:pt x="685" y="356"/>
                  <a:pt x="685" y="356"/>
                </a:cubicBezTo>
                <a:cubicBezTo>
                  <a:pt x="684" y="354"/>
                  <a:pt x="684" y="354"/>
                  <a:pt x="684" y="354"/>
                </a:cubicBezTo>
                <a:cubicBezTo>
                  <a:pt x="683" y="353"/>
                  <a:pt x="683" y="353"/>
                  <a:pt x="683" y="353"/>
                </a:cubicBezTo>
                <a:cubicBezTo>
                  <a:pt x="682" y="352"/>
                  <a:pt x="682" y="352"/>
                  <a:pt x="682" y="352"/>
                </a:cubicBezTo>
                <a:cubicBezTo>
                  <a:pt x="682" y="350"/>
                  <a:pt x="682" y="350"/>
                  <a:pt x="682" y="350"/>
                </a:cubicBezTo>
                <a:cubicBezTo>
                  <a:pt x="683" y="349"/>
                  <a:pt x="683" y="349"/>
                  <a:pt x="683" y="349"/>
                </a:cubicBezTo>
                <a:cubicBezTo>
                  <a:pt x="683" y="349"/>
                  <a:pt x="683" y="349"/>
                  <a:pt x="683" y="349"/>
                </a:cubicBezTo>
                <a:cubicBezTo>
                  <a:pt x="683" y="348"/>
                  <a:pt x="683" y="348"/>
                  <a:pt x="683" y="348"/>
                </a:cubicBezTo>
                <a:cubicBezTo>
                  <a:pt x="682" y="346"/>
                  <a:pt x="682" y="346"/>
                  <a:pt x="682" y="346"/>
                </a:cubicBezTo>
                <a:cubicBezTo>
                  <a:pt x="682" y="344"/>
                  <a:pt x="682" y="344"/>
                  <a:pt x="682" y="344"/>
                </a:cubicBezTo>
                <a:cubicBezTo>
                  <a:pt x="681" y="344"/>
                  <a:pt x="681" y="344"/>
                  <a:pt x="681" y="344"/>
                </a:cubicBezTo>
                <a:cubicBezTo>
                  <a:pt x="679" y="342"/>
                  <a:pt x="679" y="342"/>
                  <a:pt x="679" y="342"/>
                </a:cubicBezTo>
                <a:cubicBezTo>
                  <a:pt x="679" y="341"/>
                  <a:pt x="679" y="341"/>
                  <a:pt x="679" y="341"/>
                </a:cubicBezTo>
                <a:cubicBezTo>
                  <a:pt x="679" y="341"/>
                  <a:pt x="679" y="341"/>
                  <a:pt x="679" y="341"/>
                </a:cubicBezTo>
                <a:cubicBezTo>
                  <a:pt x="679" y="340"/>
                  <a:pt x="679" y="340"/>
                  <a:pt x="679" y="340"/>
                </a:cubicBezTo>
                <a:cubicBezTo>
                  <a:pt x="679" y="340"/>
                  <a:pt x="679" y="340"/>
                  <a:pt x="679" y="340"/>
                </a:cubicBezTo>
                <a:cubicBezTo>
                  <a:pt x="680" y="341"/>
                  <a:pt x="680" y="341"/>
                  <a:pt x="680" y="341"/>
                </a:cubicBezTo>
                <a:cubicBezTo>
                  <a:pt x="681" y="343"/>
                  <a:pt x="681" y="343"/>
                  <a:pt x="681" y="343"/>
                </a:cubicBezTo>
                <a:cubicBezTo>
                  <a:pt x="681" y="341"/>
                  <a:pt x="681" y="341"/>
                  <a:pt x="681" y="341"/>
                </a:cubicBezTo>
                <a:cubicBezTo>
                  <a:pt x="679" y="339"/>
                  <a:pt x="679" y="339"/>
                  <a:pt x="679" y="339"/>
                </a:cubicBezTo>
                <a:cubicBezTo>
                  <a:pt x="678" y="338"/>
                  <a:pt x="678" y="338"/>
                  <a:pt x="678" y="338"/>
                </a:cubicBezTo>
                <a:cubicBezTo>
                  <a:pt x="677" y="338"/>
                  <a:pt x="677" y="338"/>
                  <a:pt x="677" y="338"/>
                </a:cubicBezTo>
                <a:cubicBezTo>
                  <a:pt x="677" y="336"/>
                  <a:pt x="677" y="336"/>
                  <a:pt x="677" y="336"/>
                </a:cubicBezTo>
                <a:cubicBezTo>
                  <a:pt x="675" y="334"/>
                  <a:pt x="675" y="334"/>
                  <a:pt x="675" y="334"/>
                </a:cubicBezTo>
                <a:cubicBezTo>
                  <a:pt x="674" y="333"/>
                  <a:pt x="674" y="333"/>
                  <a:pt x="674" y="333"/>
                </a:cubicBezTo>
                <a:cubicBezTo>
                  <a:pt x="674" y="331"/>
                  <a:pt x="674" y="331"/>
                  <a:pt x="674" y="331"/>
                </a:cubicBezTo>
                <a:cubicBezTo>
                  <a:pt x="673" y="330"/>
                  <a:pt x="673" y="330"/>
                  <a:pt x="673" y="330"/>
                </a:cubicBezTo>
                <a:cubicBezTo>
                  <a:pt x="671" y="329"/>
                  <a:pt x="671" y="329"/>
                  <a:pt x="671" y="329"/>
                </a:cubicBezTo>
                <a:cubicBezTo>
                  <a:pt x="670" y="328"/>
                  <a:pt x="670" y="328"/>
                  <a:pt x="670" y="328"/>
                </a:cubicBezTo>
                <a:cubicBezTo>
                  <a:pt x="670" y="327"/>
                  <a:pt x="670" y="327"/>
                  <a:pt x="670" y="327"/>
                </a:cubicBezTo>
                <a:cubicBezTo>
                  <a:pt x="669" y="328"/>
                  <a:pt x="669" y="328"/>
                  <a:pt x="669" y="328"/>
                </a:cubicBezTo>
                <a:cubicBezTo>
                  <a:pt x="670" y="328"/>
                  <a:pt x="670" y="328"/>
                  <a:pt x="670" y="328"/>
                </a:cubicBezTo>
                <a:cubicBezTo>
                  <a:pt x="670" y="329"/>
                  <a:pt x="670" y="329"/>
                  <a:pt x="670" y="329"/>
                </a:cubicBezTo>
                <a:cubicBezTo>
                  <a:pt x="669" y="329"/>
                  <a:pt x="669" y="329"/>
                  <a:pt x="669" y="329"/>
                </a:cubicBezTo>
                <a:cubicBezTo>
                  <a:pt x="668" y="329"/>
                  <a:pt x="668" y="329"/>
                  <a:pt x="668" y="329"/>
                </a:cubicBezTo>
                <a:cubicBezTo>
                  <a:pt x="667" y="329"/>
                  <a:pt x="667" y="329"/>
                  <a:pt x="667" y="329"/>
                </a:cubicBezTo>
                <a:cubicBezTo>
                  <a:pt x="669" y="331"/>
                  <a:pt x="669" y="331"/>
                  <a:pt x="669" y="331"/>
                </a:cubicBezTo>
                <a:cubicBezTo>
                  <a:pt x="671" y="332"/>
                  <a:pt x="671" y="332"/>
                  <a:pt x="671" y="332"/>
                </a:cubicBezTo>
                <a:cubicBezTo>
                  <a:pt x="672" y="333"/>
                  <a:pt x="672" y="333"/>
                  <a:pt x="672" y="333"/>
                </a:cubicBezTo>
                <a:cubicBezTo>
                  <a:pt x="671" y="334"/>
                  <a:pt x="671" y="334"/>
                  <a:pt x="671" y="334"/>
                </a:cubicBezTo>
                <a:cubicBezTo>
                  <a:pt x="672" y="334"/>
                  <a:pt x="672" y="334"/>
                  <a:pt x="672" y="334"/>
                </a:cubicBezTo>
                <a:cubicBezTo>
                  <a:pt x="673" y="334"/>
                  <a:pt x="673" y="334"/>
                  <a:pt x="673" y="334"/>
                </a:cubicBezTo>
                <a:cubicBezTo>
                  <a:pt x="673" y="335"/>
                  <a:pt x="673" y="335"/>
                  <a:pt x="673" y="335"/>
                </a:cubicBezTo>
                <a:cubicBezTo>
                  <a:pt x="673" y="335"/>
                  <a:pt x="673" y="335"/>
                  <a:pt x="673" y="335"/>
                </a:cubicBezTo>
                <a:cubicBezTo>
                  <a:pt x="672" y="335"/>
                  <a:pt x="672" y="335"/>
                  <a:pt x="672" y="335"/>
                </a:cubicBezTo>
                <a:cubicBezTo>
                  <a:pt x="672" y="336"/>
                  <a:pt x="672" y="336"/>
                  <a:pt x="672" y="336"/>
                </a:cubicBezTo>
                <a:cubicBezTo>
                  <a:pt x="673" y="336"/>
                  <a:pt x="673" y="336"/>
                  <a:pt x="673" y="336"/>
                </a:cubicBezTo>
                <a:cubicBezTo>
                  <a:pt x="673" y="338"/>
                  <a:pt x="673" y="338"/>
                  <a:pt x="673" y="338"/>
                </a:cubicBezTo>
                <a:cubicBezTo>
                  <a:pt x="672" y="338"/>
                  <a:pt x="672" y="338"/>
                  <a:pt x="672" y="338"/>
                </a:cubicBezTo>
                <a:cubicBezTo>
                  <a:pt x="671" y="338"/>
                  <a:pt x="671" y="338"/>
                  <a:pt x="671" y="338"/>
                </a:cubicBezTo>
                <a:cubicBezTo>
                  <a:pt x="671" y="337"/>
                  <a:pt x="671" y="337"/>
                  <a:pt x="671" y="337"/>
                </a:cubicBezTo>
                <a:cubicBezTo>
                  <a:pt x="670" y="338"/>
                  <a:pt x="670" y="338"/>
                  <a:pt x="670" y="338"/>
                </a:cubicBezTo>
                <a:cubicBezTo>
                  <a:pt x="669" y="339"/>
                  <a:pt x="669" y="339"/>
                  <a:pt x="669" y="339"/>
                </a:cubicBezTo>
                <a:cubicBezTo>
                  <a:pt x="670" y="341"/>
                  <a:pt x="670" y="341"/>
                  <a:pt x="670" y="341"/>
                </a:cubicBezTo>
                <a:cubicBezTo>
                  <a:pt x="671" y="342"/>
                  <a:pt x="671" y="342"/>
                  <a:pt x="671" y="342"/>
                </a:cubicBezTo>
                <a:cubicBezTo>
                  <a:pt x="672" y="344"/>
                  <a:pt x="672" y="344"/>
                  <a:pt x="672" y="344"/>
                </a:cubicBezTo>
                <a:cubicBezTo>
                  <a:pt x="673" y="346"/>
                  <a:pt x="673" y="346"/>
                  <a:pt x="673" y="346"/>
                </a:cubicBezTo>
                <a:cubicBezTo>
                  <a:pt x="673" y="348"/>
                  <a:pt x="673" y="348"/>
                  <a:pt x="673" y="348"/>
                </a:cubicBezTo>
                <a:cubicBezTo>
                  <a:pt x="673" y="349"/>
                  <a:pt x="673" y="349"/>
                  <a:pt x="673" y="349"/>
                </a:cubicBezTo>
                <a:cubicBezTo>
                  <a:pt x="674" y="351"/>
                  <a:pt x="674" y="351"/>
                  <a:pt x="674" y="351"/>
                </a:cubicBezTo>
                <a:cubicBezTo>
                  <a:pt x="675" y="354"/>
                  <a:pt x="675" y="354"/>
                  <a:pt x="675" y="354"/>
                </a:cubicBezTo>
                <a:cubicBezTo>
                  <a:pt x="676" y="356"/>
                  <a:pt x="676" y="356"/>
                  <a:pt x="676" y="356"/>
                </a:cubicBezTo>
                <a:cubicBezTo>
                  <a:pt x="677" y="357"/>
                  <a:pt x="677" y="357"/>
                  <a:pt x="677" y="357"/>
                </a:cubicBezTo>
                <a:cubicBezTo>
                  <a:pt x="677" y="357"/>
                  <a:pt x="677" y="357"/>
                  <a:pt x="677" y="357"/>
                </a:cubicBezTo>
                <a:cubicBezTo>
                  <a:pt x="676" y="358"/>
                  <a:pt x="676" y="358"/>
                  <a:pt x="676" y="358"/>
                </a:cubicBezTo>
                <a:cubicBezTo>
                  <a:pt x="680" y="361"/>
                  <a:pt x="680" y="361"/>
                  <a:pt x="680" y="361"/>
                </a:cubicBezTo>
                <a:cubicBezTo>
                  <a:pt x="681" y="361"/>
                  <a:pt x="681" y="361"/>
                  <a:pt x="681" y="361"/>
                </a:cubicBezTo>
                <a:cubicBezTo>
                  <a:pt x="682" y="363"/>
                  <a:pt x="682" y="363"/>
                  <a:pt x="682" y="363"/>
                </a:cubicBezTo>
                <a:cubicBezTo>
                  <a:pt x="682" y="365"/>
                  <a:pt x="682" y="365"/>
                  <a:pt x="682" y="365"/>
                </a:cubicBezTo>
                <a:cubicBezTo>
                  <a:pt x="682" y="367"/>
                  <a:pt x="682" y="367"/>
                  <a:pt x="682" y="367"/>
                </a:cubicBezTo>
                <a:cubicBezTo>
                  <a:pt x="683" y="369"/>
                  <a:pt x="683" y="369"/>
                  <a:pt x="683" y="369"/>
                </a:cubicBezTo>
                <a:cubicBezTo>
                  <a:pt x="683" y="370"/>
                  <a:pt x="683" y="370"/>
                  <a:pt x="683" y="370"/>
                </a:cubicBezTo>
                <a:cubicBezTo>
                  <a:pt x="684" y="371"/>
                  <a:pt x="684" y="371"/>
                  <a:pt x="684" y="371"/>
                </a:cubicBezTo>
                <a:cubicBezTo>
                  <a:pt x="686" y="372"/>
                  <a:pt x="686" y="372"/>
                  <a:pt x="686" y="372"/>
                </a:cubicBezTo>
                <a:cubicBezTo>
                  <a:pt x="685" y="372"/>
                  <a:pt x="685" y="372"/>
                  <a:pt x="685" y="372"/>
                </a:cubicBezTo>
                <a:cubicBezTo>
                  <a:pt x="685" y="373"/>
                  <a:pt x="685" y="373"/>
                  <a:pt x="685" y="373"/>
                </a:cubicBezTo>
                <a:cubicBezTo>
                  <a:pt x="687" y="375"/>
                  <a:pt x="687" y="375"/>
                  <a:pt x="687" y="375"/>
                </a:cubicBezTo>
                <a:cubicBezTo>
                  <a:pt x="687" y="377"/>
                  <a:pt x="687" y="377"/>
                  <a:pt x="687" y="377"/>
                </a:cubicBezTo>
                <a:cubicBezTo>
                  <a:pt x="688" y="378"/>
                  <a:pt x="688" y="378"/>
                  <a:pt x="688" y="378"/>
                </a:cubicBezTo>
                <a:cubicBezTo>
                  <a:pt x="688" y="381"/>
                  <a:pt x="688" y="381"/>
                  <a:pt x="688" y="381"/>
                </a:cubicBezTo>
                <a:cubicBezTo>
                  <a:pt x="688" y="382"/>
                  <a:pt x="688" y="382"/>
                  <a:pt x="688" y="382"/>
                </a:cubicBezTo>
                <a:cubicBezTo>
                  <a:pt x="688" y="383"/>
                  <a:pt x="688" y="383"/>
                  <a:pt x="688" y="383"/>
                </a:cubicBezTo>
                <a:cubicBezTo>
                  <a:pt x="688" y="385"/>
                  <a:pt x="688" y="385"/>
                  <a:pt x="688" y="385"/>
                </a:cubicBezTo>
                <a:cubicBezTo>
                  <a:pt x="689" y="387"/>
                  <a:pt x="689" y="387"/>
                  <a:pt x="689" y="387"/>
                </a:cubicBezTo>
                <a:cubicBezTo>
                  <a:pt x="689" y="388"/>
                  <a:pt x="689" y="388"/>
                  <a:pt x="689" y="388"/>
                </a:cubicBezTo>
                <a:cubicBezTo>
                  <a:pt x="689" y="390"/>
                  <a:pt x="689" y="390"/>
                  <a:pt x="689" y="390"/>
                </a:cubicBezTo>
                <a:cubicBezTo>
                  <a:pt x="690" y="391"/>
                  <a:pt x="690" y="391"/>
                  <a:pt x="690" y="391"/>
                </a:cubicBezTo>
                <a:cubicBezTo>
                  <a:pt x="693" y="394"/>
                  <a:pt x="693" y="394"/>
                  <a:pt x="693" y="394"/>
                </a:cubicBezTo>
                <a:cubicBezTo>
                  <a:pt x="693" y="395"/>
                  <a:pt x="693" y="395"/>
                  <a:pt x="693" y="395"/>
                </a:cubicBezTo>
                <a:cubicBezTo>
                  <a:pt x="694" y="397"/>
                  <a:pt x="694" y="397"/>
                  <a:pt x="694" y="397"/>
                </a:cubicBezTo>
                <a:cubicBezTo>
                  <a:pt x="694" y="399"/>
                  <a:pt x="694" y="399"/>
                  <a:pt x="694" y="399"/>
                </a:cubicBezTo>
                <a:cubicBezTo>
                  <a:pt x="694" y="402"/>
                  <a:pt x="694" y="402"/>
                  <a:pt x="694" y="402"/>
                </a:cubicBezTo>
                <a:cubicBezTo>
                  <a:pt x="695" y="404"/>
                  <a:pt x="695" y="404"/>
                  <a:pt x="695" y="404"/>
                </a:cubicBezTo>
                <a:cubicBezTo>
                  <a:pt x="695" y="405"/>
                  <a:pt x="695" y="405"/>
                  <a:pt x="695" y="405"/>
                </a:cubicBezTo>
                <a:cubicBezTo>
                  <a:pt x="697" y="407"/>
                  <a:pt x="697" y="407"/>
                  <a:pt x="697" y="407"/>
                </a:cubicBezTo>
                <a:cubicBezTo>
                  <a:pt x="697" y="408"/>
                  <a:pt x="697" y="408"/>
                  <a:pt x="697" y="408"/>
                </a:cubicBezTo>
                <a:cubicBezTo>
                  <a:pt x="697" y="410"/>
                  <a:pt x="697" y="410"/>
                  <a:pt x="697" y="410"/>
                </a:cubicBezTo>
                <a:cubicBezTo>
                  <a:pt x="697" y="413"/>
                  <a:pt x="697" y="413"/>
                  <a:pt x="697" y="413"/>
                </a:cubicBezTo>
                <a:cubicBezTo>
                  <a:pt x="697" y="414"/>
                  <a:pt x="697" y="414"/>
                  <a:pt x="697" y="414"/>
                </a:cubicBezTo>
                <a:cubicBezTo>
                  <a:pt x="698" y="415"/>
                  <a:pt x="698" y="415"/>
                  <a:pt x="698" y="415"/>
                </a:cubicBezTo>
                <a:cubicBezTo>
                  <a:pt x="699" y="417"/>
                  <a:pt x="699" y="417"/>
                  <a:pt x="699" y="417"/>
                </a:cubicBezTo>
                <a:cubicBezTo>
                  <a:pt x="701" y="418"/>
                  <a:pt x="701" y="418"/>
                  <a:pt x="701" y="418"/>
                </a:cubicBezTo>
                <a:close/>
                <a:moveTo>
                  <a:pt x="637" y="329"/>
                </a:moveTo>
                <a:cubicBezTo>
                  <a:pt x="637" y="329"/>
                  <a:pt x="637" y="329"/>
                  <a:pt x="637" y="329"/>
                </a:cubicBezTo>
                <a:cubicBezTo>
                  <a:pt x="637" y="328"/>
                  <a:pt x="637" y="328"/>
                  <a:pt x="637" y="328"/>
                </a:cubicBezTo>
                <a:cubicBezTo>
                  <a:pt x="638" y="328"/>
                  <a:pt x="638" y="328"/>
                  <a:pt x="638" y="328"/>
                </a:cubicBezTo>
                <a:cubicBezTo>
                  <a:pt x="638" y="328"/>
                  <a:pt x="638" y="328"/>
                  <a:pt x="638" y="328"/>
                </a:cubicBezTo>
                <a:cubicBezTo>
                  <a:pt x="639" y="329"/>
                  <a:pt x="639" y="329"/>
                  <a:pt x="639" y="329"/>
                </a:cubicBezTo>
                <a:cubicBezTo>
                  <a:pt x="640" y="329"/>
                  <a:pt x="640" y="329"/>
                  <a:pt x="640" y="329"/>
                </a:cubicBezTo>
                <a:cubicBezTo>
                  <a:pt x="641" y="329"/>
                  <a:pt x="641" y="329"/>
                  <a:pt x="641" y="329"/>
                </a:cubicBezTo>
                <a:cubicBezTo>
                  <a:pt x="641" y="328"/>
                  <a:pt x="641" y="328"/>
                  <a:pt x="641" y="328"/>
                </a:cubicBezTo>
                <a:cubicBezTo>
                  <a:pt x="641" y="327"/>
                  <a:pt x="641" y="327"/>
                  <a:pt x="641" y="327"/>
                </a:cubicBezTo>
                <a:cubicBezTo>
                  <a:pt x="641" y="326"/>
                  <a:pt x="641" y="326"/>
                  <a:pt x="641" y="326"/>
                </a:cubicBezTo>
                <a:cubicBezTo>
                  <a:pt x="642" y="326"/>
                  <a:pt x="642" y="326"/>
                  <a:pt x="642" y="326"/>
                </a:cubicBezTo>
                <a:cubicBezTo>
                  <a:pt x="642" y="325"/>
                  <a:pt x="642" y="325"/>
                  <a:pt x="642" y="325"/>
                </a:cubicBezTo>
                <a:cubicBezTo>
                  <a:pt x="641" y="325"/>
                  <a:pt x="641" y="325"/>
                  <a:pt x="641" y="325"/>
                </a:cubicBezTo>
                <a:cubicBezTo>
                  <a:pt x="640" y="326"/>
                  <a:pt x="640" y="326"/>
                  <a:pt x="640" y="326"/>
                </a:cubicBezTo>
                <a:cubicBezTo>
                  <a:pt x="640" y="326"/>
                  <a:pt x="640" y="326"/>
                  <a:pt x="640" y="326"/>
                </a:cubicBezTo>
                <a:cubicBezTo>
                  <a:pt x="640" y="326"/>
                  <a:pt x="640" y="326"/>
                  <a:pt x="640" y="326"/>
                </a:cubicBezTo>
                <a:cubicBezTo>
                  <a:pt x="640" y="325"/>
                  <a:pt x="640" y="325"/>
                  <a:pt x="640" y="325"/>
                </a:cubicBezTo>
                <a:cubicBezTo>
                  <a:pt x="640" y="324"/>
                  <a:pt x="640" y="324"/>
                  <a:pt x="640" y="324"/>
                </a:cubicBezTo>
                <a:cubicBezTo>
                  <a:pt x="640" y="324"/>
                  <a:pt x="640" y="324"/>
                  <a:pt x="640" y="324"/>
                </a:cubicBezTo>
                <a:cubicBezTo>
                  <a:pt x="638" y="324"/>
                  <a:pt x="638" y="324"/>
                  <a:pt x="638" y="324"/>
                </a:cubicBezTo>
                <a:cubicBezTo>
                  <a:pt x="638" y="324"/>
                  <a:pt x="638" y="324"/>
                  <a:pt x="638" y="324"/>
                </a:cubicBezTo>
                <a:cubicBezTo>
                  <a:pt x="637" y="325"/>
                  <a:pt x="637" y="325"/>
                  <a:pt x="637" y="325"/>
                </a:cubicBezTo>
                <a:cubicBezTo>
                  <a:pt x="637" y="326"/>
                  <a:pt x="637" y="326"/>
                  <a:pt x="637" y="326"/>
                </a:cubicBezTo>
                <a:cubicBezTo>
                  <a:pt x="636" y="326"/>
                  <a:pt x="636" y="326"/>
                  <a:pt x="636" y="326"/>
                </a:cubicBezTo>
                <a:cubicBezTo>
                  <a:pt x="636" y="327"/>
                  <a:pt x="636" y="327"/>
                  <a:pt x="636" y="327"/>
                </a:cubicBezTo>
                <a:cubicBezTo>
                  <a:pt x="637" y="329"/>
                  <a:pt x="637" y="329"/>
                  <a:pt x="637" y="329"/>
                </a:cubicBezTo>
                <a:close/>
                <a:moveTo>
                  <a:pt x="633" y="328"/>
                </a:moveTo>
                <a:cubicBezTo>
                  <a:pt x="633" y="328"/>
                  <a:pt x="633" y="328"/>
                  <a:pt x="633" y="328"/>
                </a:cubicBezTo>
                <a:cubicBezTo>
                  <a:pt x="633" y="328"/>
                  <a:pt x="633" y="328"/>
                  <a:pt x="633" y="328"/>
                </a:cubicBezTo>
                <a:cubicBezTo>
                  <a:pt x="634" y="327"/>
                  <a:pt x="634" y="327"/>
                  <a:pt x="634" y="327"/>
                </a:cubicBezTo>
                <a:cubicBezTo>
                  <a:pt x="634" y="328"/>
                  <a:pt x="634" y="328"/>
                  <a:pt x="634" y="328"/>
                </a:cubicBezTo>
                <a:cubicBezTo>
                  <a:pt x="635" y="327"/>
                  <a:pt x="635" y="327"/>
                  <a:pt x="635" y="327"/>
                </a:cubicBezTo>
                <a:cubicBezTo>
                  <a:pt x="634" y="326"/>
                  <a:pt x="634" y="326"/>
                  <a:pt x="634" y="326"/>
                </a:cubicBezTo>
                <a:cubicBezTo>
                  <a:pt x="635" y="326"/>
                  <a:pt x="635" y="326"/>
                  <a:pt x="635" y="326"/>
                </a:cubicBezTo>
                <a:cubicBezTo>
                  <a:pt x="635" y="325"/>
                  <a:pt x="635" y="325"/>
                  <a:pt x="635" y="325"/>
                </a:cubicBezTo>
                <a:cubicBezTo>
                  <a:pt x="634" y="325"/>
                  <a:pt x="634" y="325"/>
                  <a:pt x="634" y="325"/>
                </a:cubicBezTo>
                <a:cubicBezTo>
                  <a:pt x="633" y="326"/>
                  <a:pt x="633" y="326"/>
                  <a:pt x="633" y="326"/>
                </a:cubicBezTo>
                <a:cubicBezTo>
                  <a:pt x="632" y="326"/>
                  <a:pt x="632" y="326"/>
                  <a:pt x="632" y="326"/>
                </a:cubicBezTo>
                <a:cubicBezTo>
                  <a:pt x="632" y="327"/>
                  <a:pt x="632" y="327"/>
                  <a:pt x="632" y="327"/>
                </a:cubicBezTo>
                <a:cubicBezTo>
                  <a:pt x="633" y="328"/>
                  <a:pt x="633" y="328"/>
                  <a:pt x="633" y="328"/>
                </a:cubicBezTo>
                <a:close/>
                <a:moveTo>
                  <a:pt x="641" y="332"/>
                </a:moveTo>
                <a:cubicBezTo>
                  <a:pt x="641" y="333"/>
                  <a:pt x="641" y="333"/>
                  <a:pt x="641" y="333"/>
                </a:cubicBezTo>
                <a:cubicBezTo>
                  <a:pt x="642" y="332"/>
                  <a:pt x="642" y="332"/>
                  <a:pt x="642" y="332"/>
                </a:cubicBezTo>
                <a:cubicBezTo>
                  <a:pt x="642" y="331"/>
                  <a:pt x="642" y="331"/>
                  <a:pt x="642" y="331"/>
                </a:cubicBezTo>
                <a:cubicBezTo>
                  <a:pt x="642" y="331"/>
                  <a:pt x="642" y="331"/>
                  <a:pt x="642" y="331"/>
                </a:cubicBezTo>
                <a:cubicBezTo>
                  <a:pt x="642" y="331"/>
                  <a:pt x="642" y="331"/>
                  <a:pt x="642" y="331"/>
                </a:cubicBezTo>
                <a:cubicBezTo>
                  <a:pt x="642" y="331"/>
                  <a:pt x="642" y="331"/>
                  <a:pt x="642" y="331"/>
                </a:cubicBezTo>
                <a:cubicBezTo>
                  <a:pt x="641" y="332"/>
                  <a:pt x="641" y="332"/>
                  <a:pt x="641" y="332"/>
                </a:cubicBezTo>
                <a:close/>
                <a:moveTo>
                  <a:pt x="640" y="331"/>
                </a:moveTo>
                <a:cubicBezTo>
                  <a:pt x="640" y="332"/>
                  <a:pt x="640" y="332"/>
                  <a:pt x="640" y="332"/>
                </a:cubicBezTo>
                <a:cubicBezTo>
                  <a:pt x="640" y="332"/>
                  <a:pt x="640" y="332"/>
                  <a:pt x="640" y="332"/>
                </a:cubicBezTo>
                <a:cubicBezTo>
                  <a:pt x="641" y="332"/>
                  <a:pt x="641" y="332"/>
                  <a:pt x="641" y="332"/>
                </a:cubicBezTo>
                <a:cubicBezTo>
                  <a:pt x="641" y="331"/>
                  <a:pt x="641" y="331"/>
                  <a:pt x="641" y="331"/>
                </a:cubicBezTo>
                <a:cubicBezTo>
                  <a:pt x="640" y="330"/>
                  <a:pt x="640" y="330"/>
                  <a:pt x="640" y="330"/>
                </a:cubicBezTo>
                <a:cubicBezTo>
                  <a:pt x="640" y="331"/>
                  <a:pt x="640" y="331"/>
                  <a:pt x="640" y="331"/>
                </a:cubicBezTo>
                <a:close/>
                <a:moveTo>
                  <a:pt x="640" y="337"/>
                </a:moveTo>
                <a:cubicBezTo>
                  <a:pt x="641" y="335"/>
                  <a:pt x="641" y="335"/>
                  <a:pt x="641" y="335"/>
                </a:cubicBezTo>
                <a:cubicBezTo>
                  <a:pt x="642" y="335"/>
                  <a:pt x="642" y="335"/>
                  <a:pt x="642" y="335"/>
                </a:cubicBezTo>
                <a:cubicBezTo>
                  <a:pt x="642" y="334"/>
                  <a:pt x="642" y="334"/>
                  <a:pt x="642" y="334"/>
                </a:cubicBezTo>
                <a:cubicBezTo>
                  <a:pt x="642" y="334"/>
                  <a:pt x="642" y="334"/>
                  <a:pt x="642" y="334"/>
                </a:cubicBezTo>
                <a:cubicBezTo>
                  <a:pt x="642" y="333"/>
                  <a:pt x="642" y="333"/>
                  <a:pt x="642" y="333"/>
                </a:cubicBezTo>
                <a:cubicBezTo>
                  <a:pt x="640" y="334"/>
                  <a:pt x="640" y="334"/>
                  <a:pt x="640" y="334"/>
                </a:cubicBezTo>
                <a:cubicBezTo>
                  <a:pt x="639" y="335"/>
                  <a:pt x="639" y="335"/>
                  <a:pt x="639" y="335"/>
                </a:cubicBezTo>
                <a:cubicBezTo>
                  <a:pt x="639" y="336"/>
                  <a:pt x="639" y="336"/>
                  <a:pt x="639" y="336"/>
                </a:cubicBezTo>
                <a:cubicBezTo>
                  <a:pt x="640" y="337"/>
                  <a:pt x="640" y="337"/>
                  <a:pt x="640" y="337"/>
                </a:cubicBezTo>
                <a:close/>
                <a:moveTo>
                  <a:pt x="688" y="263"/>
                </a:moveTo>
                <a:cubicBezTo>
                  <a:pt x="689" y="263"/>
                  <a:pt x="689" y="263"/>
                  <a:pt x="689" y="263"/>
                </a:cubicBezTo>
                <a:cubicBezTo>
                  <a:pt x="690" y="262"/>
                  <a:pt x="690" y="262"/>
                  <a:pt x="690" y="262"/>
                </a:cubicBezTo>
                <a:cubicBezTo>
                  <a:pt x="690" y="261"/>
                  <a:pt x="690" y="261"/>
                  <a:pt x="690" y="261"/>
                </a:cubicBezTo>
                <a:cubicBezTo>
                  <a:pt x="689" y="261"/>
                  <a:pt x="689" y="261"/>
                  <a:pt x="689" y="261"/>
                </a:cubicBezTo>
                <a:cubicBezTo>
                  <a:pt x="688" y="262"/>
                  <a:pt x="688" y="262"/>
                  <a:pt x="688" y="262"/>
                </a:cubicBezTo>
                <a:cubicBezTo>
                  <a:pt x="688" y="263"/>
                  <a:pt x="688" y="263"/>
                  <a:pt x="688" y="263"/>
                </a:cubicBezTo>
                <a:close/>
                <a:moveTo>
                  <a:pt x="765" y="255"/>
                </a:moveTo>
                <a:cubicBezTo>
                  <a:pt x="766" y="255"/>
                  <a:pt x="766" y="255"/>
                  <a:pt x="766" y="255"/>
                </a:cubicBezTo>
                <a:cubicBezTo>
                  <a:pt x="765" y="254"/>
                  <a:pt x="765" y="254"/>
                  <a:pt x="765" y="254"/>
                </a:cubicBezTo>
                <a:cubicBezTo>
                  <a:pt x="765" y="253"/>
                  <a:pt x="765" y="253"/>
                  <a:pt x="765" y="253"/>
                </a:cubicBezTo>
                <a:cubicBezTo>
                  <a:pt x="765" y="252"/>
                  <a:pt x="765" y="252"/>
                  <a:pt x="765" y="252"/>
                </a:cubicBezTo>
                <a:cubicBezTo>
                  <a:pt x="765" y="251"/>
                  <a:pt x="765" y="251"/>
                  <a:pt x="765" y="251"/>
                </a:cubicBezTo>
                <a:cubicBezTo>
                  <a:pt x="766" y="250"/>
                  <a:pt x="766" y="250"/>
                  <a:pt x="766" y="250"/>
                </a:cubicBezTo>
                <a:cubicBezTo>
                  <a:pt x="767" y="249"/>
                  <a:pt x="767" y="249"/>
                  <a:pt x="767" y="249"/>
                </a:cubicBezTo>
                <a:cubicBezTo>
                  <a:pt x="768" y="248"/>
                  <a:pt x="768" y="248"/>
                  <a:pt x="768" y="248"/>
                </a:cubicBezTo>
                <a:cubicBezTo>
                  <a:pt x="769" y="247"/>
                  <a:pt x="769" y="247"/>
                  <a:pt x="769" y="247"/>
                </a:cubicBezTo>
                <a:cubicBezTo>
                  <a:pt x="769" y="246"/>
                  <a:pt x="769" y="246"/>
                  <a:pt x="769" y="246"/>
                </a:cubicBezTo>
                <a:cubicBezTo>
                  <a:pt x="768" y="244"/>
                  <a:pt x="768" y="244"/>
                  <a:pt x="768" y="244"/>
                </a:cubicBezTo>
                <a:cubicBezTo>
                  <a:pt x="766" y="243"/>
                  <a:pt x="766" y="243"/>
                  <a:pt x="766" y="243"/>
                </a:cubicBezTo>
                <a:cubicBezTo>
                  <a:pt x="766" y="242"/>
                  <a:pt x="766" y="242"/>
                  <a:pt x="766" y="242"/>
                </a:cubicBezTo>
                <a:cubicBezTo>
                  <a:pt x="765" y="243"/>
                  <a:pt x="765" y="243"/>
                  <a:pt x="765" y="243"/>
                </a:cubicBezTo>
                <a:cubicBezTo>
                  <a:pt x="765" y="244"/>
                  <a:pt x="765" y="244"/>
                  <a:pt x="765" y="244"/>
                </a:cubicBezTo>
                <a:cubicBezTo>
                  <a:pt x="764" y="244"/>
                  <a:pt x="764" y="244"/>
                  <a:pt x="764" y="244"/>
                </a:cubicBezTo>
                <a:cubicBezTo>
                  <a:pt x="763" y="246"/>
                  <a:pt x="763" y="246"/>
                  <a:pt x="763" y="246"/>
                </a:cubicBezTo>
                <a:cubicBezTo>
                  <a:pt x="762" y="246"/>
                  <a:pt x="762" y="246"/>
                  <a:pt x="762" y="246"/>
                </a:cubicBezTo>
                <a:cubicBezTo>
                  <a:pt x="762" y="247"/>
                  <a:pt x="762" y="247"/>
                  <a:pt x="762" y="247"/>
                </a:cubicBezTo>
                <a:cubicBezTo>
                  <a:pt x="762" y="247"/>
                  <a:pt x="762" y="247"/>
                  <a:pt x="762" y="247"/>
                </a:cubicBezTo>
                <a:cubicBezTo>
                  <a:pt x="763" y="247"/>
                  <a:pt x="763" y="247"/>
                  <a:pt x="763" y="247"/>
                </a:cubicBezTo>
                <a:cubicBezTo>
                  <a:pt x="764" y="247"/>
                  <a:pt x="764" y="247"/>
                  <a:pt x="764" y="247"/>
                </a:cubicBezTo>
                <a:cubicBezTo>
                  <a:pt x="763" y="248"/>
                  <a:pt x="763" y="248"/>
                  <a:pt x="763" y="248"/>
                </a:cubicBezTo>
                <a:cubicBezTo>
                  <a:pt x="764" y="250"/>
                  <a:pt x="764" y="250"/>
                  <a:pt x="764" y="250"/>
                </a:cubicBezTo>
                <a:cubicBezTo>
                  <a:pt x="764" y="251"/>
                  <a:pt x="764" y="251"/>
                  <a:pt x="764" y="251"/>
                </a:cubicBezTo>
                <a:cubicBezTo>
                  <a:pt x="764" y="252"/>
                  <a:pt x="764" y="252"/>
                  <a:pt x="764" y="252"/>
                </a:cubicBezTo>
                <a:cubicBezTo>
                  <a:pt x="764" y="253"/>
                  <a:pt x="764" y="253"/>
                  <a:pt x="764" y="253"/>
                </a:cubicBezTo>
                <a:cubicBezTo>
                  <a:pt x="764" y="254"/>
                  <a:pt x="764" y="254"/>
                  <a:pt x="764" y="254"/>
                </a:cubicBezTo>
                <a:cubicBezTo>
                  <a:pt x="765" y="255"/>
                  <a:pt x="765" y="255"/>
                  <a:pt x="765" y="255"/>
                </a:cubicBezTo>
                <a:close/>
                <a:moveTo>
                  <a:pt x="810" y="295"/>
                </a:moveTo>
                <a:cubicBezTo>
                  <a:pt x="811" y="296"/>
                  <a:pt x="811" y="296"/>
                  <a:pt x="811" y="296"/>
                </a:cubicBezTo>
                <a:cubicBezTo>
                  <a:pt x="812" y="296"/>
                  <a:pt x="812" y="296"/>
                  <a:pt x="812" y="296"/>
                </a:cubicBezTo>
                <a:cubicBezTo>
                  <a:pt x="814" y="297"/>
                  <a:pt x="814" y="297"/>
                  <a:pt x="814" y="297"/>
                </a:cubicBezTo>
                <a:cubicBezTo>
                  <a:pt x="815" y="298"/>
                  <a:pt x="815" y="298"/>
                  <a:pt x="815" y="298"/>
                </a:cubicBezTo>
                <a:cubicBezTo>
                  <a:pt x="816" y="298"/>
                  <a:pt x="816" y="298"/>
                  <a:pt x="816" y="298"/>
                </a:cubicBezTo>
                <a:cubicBezTo>
                  <a:pt x="818" y="298"/>
                  <a:pt x="818" y="298"/>
                  <a:pt x="818" y="298"/>
                </a:cubicBezTo>
                <a:cubicBezTo>
                  <a:pt x="817" y="297"/>
                  <a:pt x="817" y="297"/>
                  <a:pt x="817" y="297"/>
                </a:cubicBezTo>
                <a:cubicBezTo>
                  <a:pt x="815" y="297"/>
                  <a:pt x="815" y="297"/>
                  <a:pt x="815" y="297"/>
                </a:cubicBezTo>
                <a:cubicBezTo>
                  <a:pt x="815" y="296"/>
                  <a:pt x="815" y="296"/>
                  <a:pt x="815" y="296"/>
                </a:cubicBezTo>
                <a:cubicBezTo>
                  <a:pt x="813" y="296"/>
                  <a:pt x="813" y="296"/>
                  <a:pt x="813" y="296"/>
                </a:cubicBezTo>
                <a:cubicBezTo>
                  <a:pt x="812" y="295"/>
                  <a:pt x="812" y="295"/>
                  <a:pt x="812" y="295"/>
                </a:cubicBezTo>
                <a:cubicBezTo>
                  <a:pt x="811" y="294"/>
                  <a:pt x="811" y="294"/>
                  <a:pt x="811" y="294"/>
                </a:cubicBezTo>
                <a:cubicBezTo>
                  <a:pt x="810" y="295"/>
                  <a:pt x="810" y="295"/>
                  <a:pt x="810" y="295"/>
                </a:cubicBezTo>
                <a:close/>
                <a:moveTo>
                  <a:pt x="797" y="292"/>
                </a:moveTo>
                <a:cubicBezTo>
                  <a:pt x="798" y="292"/>
                  <a:pt x="798" y="292"/>
                  <a:pt x="798" y="292"/>
                </a:cubicBezTo>
                <a:cubicBezTo>
                  <a:pt x="799" y="292"/>
                  <a:pt x="799" y="292"/>
                  <a:pt x="799" y="292"/>
                </a:cubicBezTo>
                <a:cubicBezTo>
                  <a:pt x="800" y="293"/>
                  <a:pt x="800" y="293"/>
                  <a:pt x="800" y="293"/>
                </a:cubicBezTo>
                <a:cubicBezTo>
                  <a:pt x="800" y="293"/>
                  <a:pt x="800" y="293"/>
                  <a:pt x="800" y="293"/>
                </a:cubicBezTo>
                <a:cubicBezTo>
                  <a:pt x="801" y="295"/>
                  <a:pt x="801" y="295"/>
                  <a:pt x="801" y="295"/>
                </a:cubicBezTo>
                <a:cubicBezTo>
                  <a:pt x="802" y="295"/>
                  <a:pt x="802" y="295"/>
                  <a:pt x="802" y="295"/>
                </a:cubicBezTo>
                <a:cubicBezTo>
                  <a:pt x="803" y="296"/>
                  <a:pt x="803" y="296"/>
                  <a:pt x="803" y="296"/>
                </a:cubicBezTo>
                <a:cubicBezTo>
                  <a:pt x="804" y="296"/>
                  <a:pt x="804" y="296"/>
                  <a:pt x="804" y="296"/>
                </a:cubicBezTo>
                <a:cubicBezTo>
                  <a:pt x="804" y="296"/>
                  <a:pt x="804" y="296"/>
                  <a:pt x="804" y="296"/>
                </a:cubicBezTo>
                <a:cubicBezTo>
                  <a:pt x="805" y="297"/>
                  <a:pt x="805" y="297"/>
                  <a:pt x="805" y="297"/>
                </a:cubicBezTo>
                <a:cubicBezTo>
                  <a:pt x="807" y="297"/>
                  <a:pt x="807" y="297"/>
                  <a:pt x="807" y="297"/>
                </a:cubicBezTo>
                <a:cubicBezTo>
                  <a:pt x="807" y="297"/>
                  <a:pt x="807" y="297"/>
                  <a:pt x="807" y="297"/>
                </a:cubicBezTo>
                <a:cubicBezTo>
                  <a:pt x="806" y="295"/>
                  <a:pt x="806" y="295"/>
                  <a:pt x="806" y="295"/>
                </a:cubicBezTo>
                <a:cubicBezTo>
                  <a:pt x="805" y="295"/>
                  <a:pt x="805" y="295"/>
                  <a:pt x="805" y="295"/>
                </a:cubicBezTo>
                <a:cubicBezTo>
                  <a:pt x="803" y="294"/>
                  <a:pt x="803" y="294"/>
                  <a:pt x="803" y="294"/>
                </a:cubicBezTo>
                <a:cubicBezTo>
                  <a:pt x="803" y="293"/>
                  <a:pt x="803" y="293"/>
                  <a:pt x="803" y="293"/>
                </a:cubicBezTo>
                <a:cubicBezTo>
                  <a:pt x="802" y="292"/>
                  <a:pt x="802" y="292"/>
                  <a:pt x="802" y="292"/>
                </a:cubicBezTo>
                <a:cubicBezTo>
                  <a:pt x="801" y="291"/>
                  <a:pt x="801" y="291"/>
                  <a:pt x="801" y="291"/>
                </a:cubicBezTo>
                <a:cubicBezTo>
                  <a:pt x="801" y="290"/>
                  <a:pt x="801" y="290"/>
                  <a:pt x="801" y="290"/>
                </a:cubicBezTo>
                <a:cubicBezTo>
                  <a:pt x="801" y="290"/>
                  <a:pt x="801" y="290"/>
                  <a:pt x="801" y="290"/>
                </a:cubicBezTo>
                <a:cubicBezTo>
                  <a:pt x="800" y="290"/>
                  <a:pt x="800" y="290"/>
                  <a:pt x="800" y="290"/>
                </a:cubicBezTo>
                <a:cubicBezTo>
                  <a:pt x="799" y="290"/>
                  <a:pt x="799" y="290"/>
                  <a:pt x="799" y="290"/>
                </a:cubicBezTo>
                <a:cubicBezTo>
                  <a:pt x="798" y="290"/>
                  <a:pt x="798" y="290"/>
                  <a:pt x="798" y="290"/>
                </a:cubicBezTo>
                <a:cubicBezTo>
                  <a:pt x="797" y="291"/>
                  <a:pt x="797" y="291"/>
                  <a:pt x="797" y="291"/>
                </a:cubicBezTo>
                <a:cubicBezTo>
                  <a:pt x="797" y="292"/>
                  <a:pt x="797" y="292"/>
                  <a:pt x="797" y="292"/>
                </a:cubicBezTo>
                <a:close/>
                <a:moveTo>
                  <a:pt x="766" y="357"/>
                </a:moveTo>
                <a:cubicBezTo>
                  <a:pt x="767" y="357"/>
                  <a:pt x="767" y="357"/>
                  <a:pt x="767" y="357"/>
                </a:cubicBezTo>
                <a:cubicBezTo>
                  <a:pt x="767" y="356"/>
                  <a:pt x="767" y="356"/>
                  <a:pt x="767" y="356"/>
                </a:cubicBezTo>
                <a:cubicBezTo>
                  <a:pt x="767" y="355"/>
                  <a:pt x="767" y="355"/>
                  <a:pt x="767" y="355"/>
                </a:cubicBezTo>
                <a:cubicBezTo>
                  <a:pt x="766" y="354"/>
                  <a:pt x="766" y="354"/>
                  <a:pt x="766" y="354"/>
                </a:cubicBezTo>
                <a:cubicBezTo>
                  <a:pt x="766" y="355"/>
                  <a:pt x="766" y="355"/>
                  <a:pt x="766" y="355"/>
                </a:cubicBezTo>
                <a:cubicBezTo>
                  <a:pt x="766" y="356"/>
                  <a:pt x="766" y="356"/>
                  <a:pt x="766" y="356"/>
                </a:cubicBezTo>
                <a:cubicBezTo>
                  <a:pt x="766" y="357"/>
                  <a:pt x="766" y="357"/>
                  <a:pt x="766" y="357"/>
                </a:cubicBezTo>
                <a:close/>
                <a:moveTo>
                  <a:pt x="760" y="355"/>
                </a:moveTo>
                <a:cubicBezTo>
                  <a:pt x="760" y="356"/>
                  <a:pt x="760" y="356"/>
                  <a:pt x="760" y="356"/>
                </a:cubicBezTo>
                <a:cubicBezTo>
                  <a:pt x="760" y="356"/>
                  <a:pt x="760" y="356"/>
                  <a:pt x="760" y="356"/>
                </a:cubicBezTo>
                <a:cubicBezTo>
                  <a:pt x="762" y="356"/>
                  <a:pt x="762" y="356"/>
                  <a:pt x="762" y="356"/>
                </a:cubicBezTo>
                <a:cubicBezTo>
                  <a:pt x="762" y="355"/>
                  <a:pt x="762" y="355"/>
                  <a:pt x="762" y="355"/>
                </a:cubicBezTo>
                <a:cubicBezTo>
                  <a:pt x="761" y="354"/>
                  <a:pt x="761" y="354"/>
                  <a:pt x="761" y="354"/>
                </a:cubicBezTo>
                <a:cubicBezTo>
                  <a:pt x="760" y="355"/>
                  <a:pt x="760" y="355"/>
                  <a:pt x="760" y="355"/>
                </a:cubicBezTo>
                <a:close/>
                <a:moveTo>
                  <a:pt x="763" y="365"/>
                </a:moveTo>
                <a:cubicBezTo>
                  <a:pt x="764" y="365"/>
                  <a:pt x="764" y="365"/>
                  <a:pt x="764" y="365"/>
                </a:cubicBezTo>
                <a:cubicBezTo>
                  <a:pt x="764" y="364"/>
                  <a:pt x="764" y="364"/>
                  <a:pt x="764" y="364"/>
                </a:cubicBezTo>
                <a:cubicBezTo>
                  <a:pt x="764" y="363"/>
                  <a:pt x="764" y="363"/>
                  <a:pt x="764" y="363"/>
                </a:cubicBezTo>
                <a:cubicBezTo>
                  <a:pt x="765" y="363"/>
                  <a:pt x="765" y="363"/>
                  <a:pt x="765" y="363"/>
                </a:cubicBezTo>
                <a:cubicBezTo>
                  <a:pt x="766" y="361"/>
                  <a:pt x="766" y="361"/>
                  <a:pt x="766" y="361"/>
                </a:cubicBezTo>
                <a:cubicBezTo>
                  <a:pt x="766" y="360"/>
                  <a:pt x="766" y="360"/>
                  <a:pt x="766" y="360"/>
                </a:cubicBezTo>
                <a:cubicBezTo>
                  <a:pt x="766" y="359"/>
                  <a:pt x="766" y="359"/>
                  <a:pt x="766" y="359"/>
                </a:cubicBezTo>
                <a:cubicBezTo>
                  <a:pt x="767" y="358"/>
                  <a:pt x="767" y="358"/>
                  <a:pt x="767" y="358"/>
                </a:cubicBezTo>
                <a:cubicBezTo>
                  <a:pt x="766" y="357"/>
                  <a:pt x="766" y="357"/>
                  <a:pt x="766" y="357"/>
                </a:cubicBezTo>
                <a:cubicBezTo>
                  <a:pt x="764" y="356"/>
                  <a:pt x="764" y="356"/>
                  <a:pt x="764" y="356"/>
                </a:cubicBezTo>
                <a:cubicBezTo>
                  <a:pt x="764" y="357"/>
                  <a:pt x="764" y="357"/>
                  <a:pt x="764" y="357"/>
                </a:cubicBezTo>
                <a:cubicBezTo>
                  <a:pt x="764" y="359"/>
                  <a:pt x="764" y="359"/>
                  <a:pt x="764" y="359"/>
                </a:cubicBezTo>
                <a:cubicBezTo>
                  <a:pt x="764" y="360"/>
                  <a:pt x="764" y="360"/>
                  <a:pt x="764" y="360"/>
                </a:cubicBezTo>
                <a:cubicBezTo>
                  <a:pt x="763" y="360"/>
                  <a:pt x="763" y="360"/>
                  <a:pt x="763" y="360"/>
                </a:cubicBezTo>
                <a:cubicBezTo>
                  <a:pt x="762" y="362"/>
                  <a:pt x="762" y="362"/>
                  <a:pt x="762" y="362"/>
                </a:cubicBezTo>
                <a:cubicBezTo>
                  <a:pt x="761" y="362"/>
                  <a:pt x="761" y="362"/>
                  <a:pt x="761" y="362"/>
                </a:cubicBezTo>
                <a:cubicBezTo>
                  <a:pt x="761" y="362"/>
                  <a:pt x="761" y="362"/>
                  <a:pt x="761" y="362"/>
                </a:cubicBezTo>
                <a:cubicBezTo>
                  <a:pt x="762" y="363"/>
                  <a:pt x="762" y="363"/>
                  <a:pt x="762" y="363"/>
                </a:cubicBezTo>
                <a:cubicBezTo>
                  <a:pt x="762" y="364"/>
                  <a:pt x="762" y="364"/>
                  <a:pt x="762" y="364"/>
                </a:cubicBezTo>
                <a:cubicBezTo>
                  <a:pt x="761" y="364"/>
                  <a:pt x="761" y="364"/>
                  <a:pt x="761" y="364"/>
                </a:cubicBezTo>
                <a:cubicBezTo>
                  <a:pt x="762" y="365"/>
                  <a:pt x="762" y="365"/>
                  <a:pt x="762" y="365"/>
                </a:cubicBezTo>
                <a:cubicBezTo>
                  <a:pt x="763" y="365"/>
                  <a:pt x="763" y="365"/>
                  <a:pt x="763" y="365"/>
                </a:cubicBezTo>
                <a:cubicBezTo>
                  <a:pt x="763" y="365"/>
                  <a:pt x="763" y="365"/>
                  <a:pt x="763" y="365"/>
                </a:cubicBezTo>
                <a:close/>
                <a:moveTo>
                  <a:pt x="762" y="373"/>
                </a:moveTo>
                <a:cubicBezTo>
                  <a:pt x="762" y="373"/>
                  <a:pt x="763" y="372"/>
                  <a:pt x="763" y="372"/>
                </a:cubicBezTo>
                <a:cubicBezTo>
                  <a:pt x="762" y="371"/>
                  <a:pt x="762" y="371"/>
                  <a:pt x="762" y="371"/>
                </a:cubicBezTo>
                <a:cubicBezTo>
                  <a:pt x="762" y="370"/>
                  <a:pt x="762" y="370"/>
                  <a:pt x="762" y="370"/>
                </a:cubicBezTo>
                <a:cubicBezTo>
                  <a:pt x="762" y="370"/>
                  <a:pt x="762" y="370"/>
                  <a:pt x="762" y="370"/>
                </a:cubicBezTo>
                <a:cubicBezTo>
                  <a:pt x="762" y="371"/>
                  <a:pt x="762" y="371"/>
                  <a:pt x="762" y="371"/>
                </a:cubicBezTo>
                <a:cubicBezTo>
                  <a:pt x="761" y="372"/>
                  <a:pt x="761" y="372"/>
                  <a:pt x="761" y="372"/>
                </a:cubicBezTo>
                <a:cubicBezTo>
                  <a:pt x="762" y="373"/>
                  <a:pt x="762" y="373"/>
                  <a:pt x="762" y="373"/>
                </a:cubicBezTo>
                <a:close/>
                <a:moveTo>
                  <a:pt x="762" y="376"/>
                </a:moveTo>
                <a:cubicBezTo>
                  <a:pt x="763" y="375"/>
                  <a:pt x="763" y="375"/>
                  <a:pt x="763" y="375"/>
                </a:cubicBezTo>
                <a:cubicBezTo>
                  <a:pt x="763" y="375"/>
                  <a:pt x="763" y="375"/>
                  <a:pt x="763" y="375"/>
                </a:cubicBezTo>
                <a:cubicBezTo>
                  <a:pt x="762" y="374"/>
                  <a:pt x="762" y="374"/>
                  <a:pt x="762" y="374"/>
                </a:cubicBezTo>
                <a:cubicBezTo>
                  <a:pt x="762" y="374"/>
                  <a:pt x="762" y="374"/>
                  <a:pt x="762" y="374"/>
                </a:cubicBezTo>
                <a:cubicBezTo>
                  <a:pt x="762" y="375"/>
                  <a:pt x="762" y="375"/>
                  <a:pt x="762" y="375"/>
                </a:cubicBezTo>
                <a:cubicBezTo>
                  <a:pt x="762" y="376"/>
                  <a:pt x="762" y="376"/>
                  <a:pt x="762" y="376"/>
                </a:cubicBezTo>
                <a:close/>
                <a:moveTo>
                  <a:pt x="760" y="377"/>
                </a:moveTo>
                <a:cubicBezTo>
                  <a:pt x="761" y="377"/>
                  <a:pt x="761" y="377"/>
                  <a:pt x="761" y="377"/>
                </a:cubicBezTo>
                <a:cubicBezTo>
                  <a:pt x="760" y="377"/>
                  <a:pt x="760" y="377"/>
                  <a:pt x="760" y="377"/>
                </a:cubicBezTo>
                <a:cubicBezTo>
                  <a:pt x="760" y="377"/>
                  <a:pt x="760" y="377"/>
                  <a:pt x="760" y="377"/>
                </a:cubicBezTo>
                <a:cubicBezTo>
                  <a:pt x="760" y="377"/>
                  <a:pt x="760" y="377"/>
                  <a:pt x="760" y="377"/>
                </a:cubicBezTo>
                <a:cubicBezTo>
                  <a:pt x="760" y="377"/>
                  <a:pt x="760" y="377"/>
                  <a:pt x="760" y="377"/>
                </a:cubicBezTo>
                <a:close/>
                <a:moveTo>
                  <a:pt x="761" y="380"/>
                </a:moveTo>
                <a:cubicBezTo>
                  <a:pt x="761" y="380"/>
                  <a:pt x="761" y="380"/>
                  <a:pt x="761" y="380"/>
                </a:cubicBezTo>
                <a:cubicBezTo>
                  <a:pt x="762" y="379"/>
                  <a:pt x="762" y="379"/>
                  <a:pt x="762" y="379"/>
                </a:cubicBezTo>
                <a:cubicBezTo>
                  <a:pt x="762" y="378"/>
                  <a:pt x="762" y="378"/>
                  <a:pt x="762" y="378"/>
                </a:cubicBezTo>
                <a:cubicBezTo>
                  <a:pt x="762" y="378"/>
                  <a:pt x="762" y="378"/>
                  <a:pt x="762" y="378"/>
                </a:cubicBezTo>
                <a:cubicBezTo>
                  <a:pt x="761" y="379"/>
                  <a:pt x="761" y="379"/>
                  <a:pt x="761" y="379"/>
                </a:cubicBezTo>
                <a:cubicBezTo>
                  <a:pt x="761" y="380"/>
                  <a:pt x="761" y="380"/>
                  <a:pt x="761" y="380"/>
                </a:cubicBezTo>
                <a:close/>
                <a:moveTo>
                  <a:pt x="759" y="388"/>
                </a:moveTo>
                <a:cubicBezTo>
                  <a:pt x="760" y="388"/>
                  <a:pt x="760" y="388"/>
                  <a:pt x="760" y="388"/>
                </a:cubicBezTo>
                <a:cubicBezTo>
                  <a:pt x="759" y="387"/>
                  <a:pt x="759" y="387"/>
                  <a:pt x="759" y="387"/>
                </a:cubicBezTo>
                <a:cubicBezTo>
                  <a:pt x="759" y="387"/>
                  <a:pt x="759" y="387"/>
                  <a:pt x="759" y="387"/>
                </a:cubicBezTo>
                <a:cubicBezTo>
                  <a:pt x="759" y="388"/>
                  <a:pt x="759" y="388"/>
                  <a:pt x="759" y="388"/>
                </a:cubicBezTo>
                <a:close/>
                <a:moveTo>
                  <a:pt x="759" y="392"/>
                </a:moveTo>
                <a:cubicBezTo>
                  <a:pt x="759" y="391"/>
                  <a:pt x="759" y="391"/>
                  <a:pt x="759" y="391"/>
                </a:cubicBezTo>
                <a:cubicBezTo>
                  <a:pt x="759" y="391"/>
                  <a:pt x="759" y="391"/>
                  <a:pt x="759" y="391"/>
                </a:cubicBezTo>
                <a:cubicBezTo>
                  <a:pt x="759" y="391"/>
                  <a:pt x="759" y="391"/>
                  <a:pt x="759" y="391"/>
                </a:cubicBezTo>
                <a:cubicBezTo>
                  <a:pt x="759" y="392"/>
                  <a:pt x="759" y="392"/>
                  <a:pt x="759" y="392"/>
                </a:cubicBezTo>
                <a:close/>
                <a:moveTo>
                  <a:pt x="759" y="393"/>
                </a:moveTo>
                <a:cubicBezTo>
                  <a:pt x="759" y="394"/>
                  <a:pt x="759" y="394"/>
                  <a:pt x="759" y="394"/>
                </a:cubicBezTo>
                <a:cubicBezTo>
                  <a:pt x="759" y="393"/>
                  <a:pt x="759" y="393"/>
                  <a:pt x="759" y="393"/>
                </a:cubicBezTo>
                <a:cubicBezTo>
                  <a:pt x="759" y="393"/>
                  <a:pt x="759" y="393"/>
                  <a:pt x="759" y="393"/>
                </a:cubicBezTo>
                <a:close/>
                <a:moveTo>
                  <a:pt x="758" y="396"/>
                </a:moveTo>
                <a:cubicBezTo>
                  <a:pt x="758" y="396"/>
                  <a:pt x="758" y="396"/>
                  <a:pt x="758" y="396"/>
                </a:cubicBezTo>
                <a:cubicBezTo>
                  <a:pt x="758" y="396"/>
                  <a:pt x="758" y="396"/>
                  <a:pt x="758" y="396"/>
                </a:cubicBezTo>
                <a:cubicBezTo>
                  <a:pt x="758" y="395"/>
                  <a:pt x="758" y="395"/>
                  <a:pt x="758" y="395"/>
                </a:cubicBezTo>
                <a:cubicBezTo>
                  <a:pt x="758" y="395"/>
                  <a:pt x="758" y="395"/>
                  <a:pt x="758" y="395"/>
                </a:cubicBezTo>
                <a:cubicBezTo>
                  <a:pt x="758" y="396"/>
                  <a:pt x="758" y="396"/>
                  <a:pt x="758" y="396"/>
                </a:cubicBezTo>
                <a:close/>
                <a:moveTo>
                  <a:pt x="757" y="401"/>
                </a:moveTo>
                <a:cubicBezTo>
                  <a:pt x="757" y="400"/>
                  <a:pt x="757" y="400"/>
                  <a:pt x="757" y="400"/>
                </a:cubicBezTo>
                <a:cubicBezTo>
                  <a:pt x="757" y="398"/>
                  <a:pt x="757" y="398"/>
                  <a:pt x="757" y="398"/>
                </a:cubicBezTo>
                <a:cubicBezTo>
                  <a:pt x="757" y="398"/>
                  <a:pt x="757" y="398"/>
                  <a:pt x="757" y="398"/>
                </a:cubicBezTo>
                <a:cubicBezTo>
                  <a:pt x="757" y="399"/>
                  <a:pt x="757" y="399"/>
                  <a:pt x="757" y="399"/>
                </a:cubicBezTo>
                <a:cubicBezTo>
                  <a:pt x="756" y="401"/>
                  <a:pt x="756" y="401"/>
                  <a:pt x="756" y="401"/>
                </a:cubicBezTo>
                <a:cubicBezTo>
                  <a:pt x="757" y="401"/>
                  <a:pt x="757" y="401"/>
                  <a:pt x="757" y="401"/>
                </a:cubicBezTo>
                <a:close/>
                <a:moveTo>
                  <a:pt x="746" y="415"/>
                </a:moveTo>
                <a:cubicBezTo>
                  <a:pt x="746" y="415"/>
                  <a:pt x="746" y="415"/>
                  <a:pt x="746" y="415"/>
                </a:cubicBezTo>
                <a:cubicBezTo>
                  <a:pt x="748" y="414"/>
                  <a:pt x="748" y="414"/>
                  <a:pt x="748" y="414"/>
                </a:cubicBezTo>
                <a:cubicBezTo>
                  <a:pt x="749" y="412"/>
                  <a:pt x="749" y="412"/>
                  <a:pt x="749" y="412"/>
                </a:cubicBezTo>
                <a:cubicBezTo>
                  <a:pt x="749" y="412"/>
                  <a:pt x="749" y="412"/>
                  <a:pt x="749" y="412"/>
                </a:cubicBezTo>
                <a:cubicBezTo>
                  <a:pt x="749" y="411"/>
                  <a:pt x="749" y="411"/>
                  <a:pt x="749" y="411"/>
                </a:cubicBezTo>
                <a:cubicBezTo>
                  <a:pt x="750" y="409"/>
                  <a:pt x="750" y="409"/>
                  <a:pt x="750" y="409"/>
                </a:cubicBezTo>
                <a:cubicBezTo>
                  <a:pt x="751" y="408"/>
                  <a:pt x="751" y="408"/>
                  <a:pt x="751" y="408"/>
                </a:cubicBezTo>
                <a:cubicBezTo>
                  <a:pt x="750" y="408"/>
                  <a:pt x="750" y="408"/>
                  <a:pt x="750" y="408"/>
                </a:cubicBezTo>
                <a:cubicBezTo>
                  <a:pt x="749" y="408"/>
                  <a:pt x="749" y="408"/>
                  <a:pt x="749" y="408"/>
                </a:cubicBezTo>
                <a:cubicBezTo>
                  <a:pt x="749" y="409"/>
                  <a:pt x="749" y="409"/>
                  <a:pt x="749" y="409"/>
                </a:cubicBezTo>
                <a:cubicBezTo>
                  <a:pt x="748" y="410"/>
                  <a:pt x="748" y="410"/>
                  <a:pt x="748" y="410"/>
                </a:cubicBezTo>
                <a:cubicBezTo>
                  <a:pt x="748" y="411"/>
                  <a:pt x="748" y="411"/>
                  <a:pt x="748" y="411"/>
                </a:cubicBezTo>
                <a:cubicBezTo>
                  <a:pt x="747" y="411"/>
                  <a:pt x="747" y="411"/>
                  <a:pt x="747" y="411"/>
                </a:cubicBezTo>
                <a:cubicBezTo>
                  <a:pt x="747" y="412"/>
                  <a:pt x="747" y="412"/>
                  <a:pt x="747" y="412"/>
                </a:cubicBezTo>
                <a:cubicBezTo>
                  <a:pt x="746" y="413"/>
                  <a:pt x="746" y="413"/>
                  <a:pt x="746" y="413"/>
                </a:cubicBezTo>
                <a:cubicBezTo>
                  <a:pt x="746" y="415"/>
                  <a:pt x="746" y="415"/>
                  <a:pt x="746" y="415"/>
                </a:cubicBezTo>
                <a:close/>
                <a:moveTo>
                  <a:pt x="734" y="429"/>
                </a:moveTo>
                <a:cubicBezTo>
                  <a:pt x="735" y="429"/>
                  <a:pt x="735" y="429"/>
                  <a:pt x="735" y="429"/>
                </a:cubicBezTo>
                <a:cubicBezTo>
                  <a:pt x="735" y="427"/>
                  <a:pt x="735" y="427"/>
                  <a:pt x="735" y="427"/>
                </a:cubicBezTo>
                <a:cubicBezTo>
                  <a:pt x="736" y="427"/>
                  <a:pt x="736" y="427"/>
                  <a:pt x="736" y="427"/>
                </a:cubicBezTo>
                <a:cubicBezTo>
                  <a:pt x="736" y="425"/>
                  <a:pt x="736" y="425"/>
                  <a:pt x="736" y="425"/>
                </a:cubicBezTo>
                <a:cubicBezTo>
                  <a:pt x="736" y="424"/>
                  <a:pt x="736" y="424"/>
                  <a:pt x="736" y="424"/>
                </a:cubicBezTo>
                <a:cubicBezTo>
                  <a:pt x="736" y="424"/>
                  <a:pt x="736" y="424"/>
                  <a:pt x="736" y="424"/>
                </a:cubicBezTo>
                <a:cubicBezTo>
                  <a:pt x="737" y="423"/>
                  <a:pt x="737" y="423"/>
                  <a:pt x="737" y="423"/>
                </a:cubicBezTo>
                <a:cubicBezTo>
                  <a:pt x="737" y="424"/>
                  <a:pt x="737" y="424"/>
                  <a:pt x="737" y="424"/>
                </a:cubicBezTo>
                <a:cubicBezTo>
                  <a:pt x="738" y="423"/>
                  <a:pt x="738" y="423"/>
                  <a:pt x="738" y="423"/>
                </a:cubicBezTo>
                <a:cubicBezTo>
                  <a:pt x="739" y="421"/>
                  <a:pt x="739" y="421"/>
                  <a:pt x="739" y="421"/>
                </a:cubicBezTo>
                <a:cubicBezTo>
                  <a:pt x="740" y="419"/>
                  <a:pt x="740" y="419"/>
                  <a:pt x="740" y="419"/>
                </a:cubicBezTo>
                <a:cubicBezTo>
                  <a:pt x="742" y="419"/>
                  <a:pt x="742" y="419"/>
                  <a:pt x="742" y="419"/>
                </a:cubicBezTo>
                <a:cubicBezTo>
                  <a:pt x="743" y="419"/>
                  <a:pt x="743" y="419"/>
                  <a:pt x="743" y="419"/>
                </a:cubicBezTo>
                <a:cubicBezTo>
                  <a:pt x="743" y="417"/>
                  <a:pt x="743" y="417"/>
                  <a:pt x="743" y="417"/>
                </a:cubicBezTo>
                <a:cubicBezTo>
                  <a:pt x="742" y="416"/>
                  <a:pt x="742" y="416"/>
                  <a:pt x="742" y="416"/>
                </a:cubicBezTo>
                <a:cubicBezTo>
                  <a:pt x="742" y="416"/>
                  <a:pt x="742" y="416"/>
                  <a:pt x="742" y="416"/>
                </a:cubicBezTo>
                <a:cubicBezTo>
                  <a:pt x="740" y="418"/>
                  <a:pt x="740" y="418"/>
                  <a:pt x="740" y="418"/>
                </a:cubicBezTo>
                <a:cubicBezTo>
                  <a:pt x="740" y="419"/>
                  <a:pt x="740" y="419"/>
                  <a:pt x="740" y="419"/>
                </a:cubicBezTo>
                <a:cubicBezTo>
                  <a:pt x="739" y="419"/>
                  <a:pt x="739" y="419"/>
                  <a:pt x="739" y="419"/>
                </a:cubicBezTo>
                <a:cubicBezTo>
                  <a:pt x="738" y="419"/>
                  <a:pt x="738" y="419"/>
                  <a:pt x="738" y="419"/>
                </a:cubicBezTo>
                <a:cubicBezTo>
                  <a:pt x="738" y="419"/>
                  <a:pt x="738" y="419"/>
                  <a:pt x="738" y="419"/>
                </a:cubicBezTo>
                <a:cubicBezTo>
                  <a:pt x="737" y="418"/>
                  <a:pt x="737" y="418"/>
                  <a:pt x="737" y="418"/>
                </a:cubicBezTo>
                <a:cubicBezTo>
                  <a:pt x="737" y="418"/>
                  <a:pt x="737" y="418"/>
                  <a:pt x="737" y="418"/>
                </a:cubicBezTo>
                <a:cubicBezTo>
                  <a:pt x="736" y="419"/>
                  <a:pt x="736" y="419"/>
                  <a:pt x="736" y="419"/>
                </a:cubicBezTo>
                <a:cubicBezTo>
                  <a:pt x="737" y="420"/>
                  <a:pt x="737" y="420"/>
                  <a:pt x="737" y="420"/>
                </a:cubicBezTo>
                <a:cubicBezTo>
                  <a:pt x="736" y="421"/>
                  <a:pt x="736" y="421"/>
                  <a:pt x="736" y="421"/>
                </a:cubicBezTo>
                <a:cubicBezTo>
                  <a:pt x="736" y="422"/>
                  <a:pt x="736" y="422"/>
                  <a:pt x="736" y="422"/>
                </a:cubicBezTo>
                <a:cubicBezTo>
                  <a:pt x="735" y="422"/>
                  <a:pt x="735" y="422"/>
                  <a:pt x="735" y="422"/>
                </a:cubicBezTo>
                <a:cubicBezTo>
                  <a:pt x="735" y="423"/>
                  <a:pt x="735" y="423"/>
                  <a:pt x="735" y="423"/>
                </a:cubicBezTo>
                <a:cubicBezTo>
                  <a:pt x="735" y="424"/>
                  <a:pt x="735" y="424"/>
                  <a:pt x="735" y="424"/>
                </a:cubicBezTo>
                <a:cubicBezTo>
                  <a:pt x="734" y="425"/>
                  <a:pt x="734" y="425"/>
                  <a:pt x="734" y="425"/>
                </a:cubicBezTo>
                <a:cubicBezTo>
                  <a:pt x="734" y="425"/>
                  <a:pt x="734" y="425"/>
                  <a:pt x="734" y="425"/>
                </a:cubicBezTo>
                <a:cubicBezTo>
                  <a:pt x="734" y="426"/>
                  <a:pt x="734" y="426"/>
                  <a:pt x="734" y="426"/>
                </a:cubicBezTo>
                <a:cubicBezTo>
                  <a:pt x="734" y="427"/>
                  <a:pt x="734" y="427"/>
                  <a:pt x="734" y="427"/>
                </a:cubicBezTo>
                <a:cubicBezTo>
                  <a:pt x="734" y="428"/>
                  <a:pt x="734" y="428"/>
                  <a:pt x="734" y="428"/>
                </a:cubicBezTo>
                <a:cubicBezTo>
                  <a:pt x="734" y="429"/>
                  <a:pt x="734" y="429"/>
                  <a:pt x="734" y="429"/>
                </a:cubicBezTo>
                <a:close/>
                <a:moveTo>
                  <a:pt x="729" y="437"/>
                </a:moveTo>
                <a:cubicBezTo>
                  <a:pt x="729" y="437"/>
                  <a:pt x="729" y="435"/>
                  <a:pt x="729" y="435"/>
                </a:cubicBezTo>
                <a:cubicBezTo>
                  <a:pt x="729" y="432"/>
                  <a:pt x="729" y="432"/>
                  <a:pt x="729" y="432"/>
                </a:cubicBezTo>
                <a:cubicBezTo>
                  <a:pt x="730" y="432"/>
                  <a:pt x="730" y="432"/>
                  <a:pt x="730" y="432"/>
                </a:cubicBezTo>
                <a:cubicBezTo>
                  <a:pt x="731" y="431"/>
                  <a:pt x="731" y="431"/>
                  <a:pt x="731" y="431"/>
                </a:cubicBezTo>
                <a:cubicBezTo>
                  <a:pt x="732" y="429"/>
                  <a:pt x="732" y="429"/>
                  <a:pt x="732" y="429"/>
                </a:cubicBezTo>
                <a:cubicBezTo>
                  <a:pt x="731" y="429"/>
                  <a:pt x="731" y="429"/>
                  <a:pt x="731" y="429"/>
                </a:cubicBezTo>
                <a:cubicBezTo>
                  <a:pt x="730" y="430"/>
                  <a:pt x="730" y="430"/>
                  <a:pt x="730" y="430"/>
                </a:cubicBezTo>
                <a:cubicBezTo>
                  <a:pt x="730" y="429"/>
                  <a:pt x="730" y="429"/>
                  <a:pt x="730" y="429"/>
                </a:cubicBezTo>
                <a:cubicBezTo>
                  <a:pt x="729" y="429"/>
                  <a:pt x="729" y="429"/>
                  <a:pt x="729" y="429"/>
                </a:cubicBezTo>
                <a:cubicBezTo>
                  <a:pt x="729" y="429"/>
                  <a:pt x="729" y="429"/>
                  <a:pt x="729" y="429"/>
                </a:cubicBezTo>
                <a:cubicBezTo>
                  <a:pt x="729" y="431"/>
                  <a:pt x="729" y="431"/>
                  <a:pt x="729" y="431"/>
                </a:cubicBezTo>
                <a:cubicBezTo>
                  <a:pt x="728" y="432"/>
                  <a:pt x="728" y="432"/>
                  <a:pt x="728" y="432"/>
                </a:cubicBezTo>
                <a:cubicBezTo>
                  <a:pt x="728" y="434"/>
                  <a:pt x="728" y="434"/>
                  <a:pt x="728" y="434"/>
                </a:cubicBezTo>
                <a:cubicBezTo>
                  <a:pt x="727" y="435"/>
                  <a:pt x="727" y="435"/>
                  <a:pt x="727" y="435"/>
                </a:cubicBezTo>
                <a:cubicBezTo>
                  <a:pt x="728" y="436"/>
                  <a:pt x="728" y="436"/>
                  <a:pt x="728" y="436"/>
                </a:cubicBezTo>
                <a:cubicBezTo>
                  <a:pt x="729" y="437"/>
                  <a:pt x="729" y="437"/>
                  <a:pt x="729" y="437"/>
                </a:cubicBezTo>
                <a:close/>
                <a:moveTo>
                  <a:pt x="12" y="336"/>
                </a:moveTo>
                <a:cubicBezTo>
                  <a:pt x="12" y="336"/>
                  <a:pt x="12" y="338"/>
                  <a:pt x="12" y="338"/>
                </a:cubicBezTo>
                <a:cubicBezTo>
                  <a:pt x="13" y="338"/>
                  <a:pt x="13" y="338"/>
                  <a:pt x="13" y="338"/>
                </a:cubicBezTo>
                <a:cubicBezTo>
                  <a:pt x="14" y="338"/>
                  <a:pt x="14" y="338"/>
                  <a:pt x="14" y="338"/>
                </a:cubicBezTo>
                <a:lnTo>
                  <a:pt x="12" y="336"/>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3" name="Freeform 11">
            <a:extLst>
              <a:ext uri="{FF2B5EF4-FFF2-40B4-BE49-F238E27FC236}">
                <a16:creationId xmlns:a16="http://schemas.microsoft.com/office/drawing/2014/main" id="{A68A33BC-805A-43A2-D736-D3A89A662200}"/>
              </a:ext>
            </a:extLst>
          </p:cNvPr>
          <p:cNvSpPr>
            <a:spLocks noEditPoints="1"/>
          </p:cNvSpPr>
          <p:nvPr userDrawn="1"/>
        </p:nvSpPr>
        <p:spPr bwMode="auto">
          <a:xfrm>
            <a:off x="16940696" y="5184056"/>
            <a:ext cx="4066911" cy="3000376"/>
          </a:xfrm>
          <a:custGeom>
            <a:avLst/>
            <a:gdLst>
              <a:gd name="T0" fmla="*/ 306 w 410"/>
              <a:gd name="T1" fmla="*/ 40 h 302"/>
              <a:gd name="T2" fmla="*/ 309 w 410"/>
              <a:gd name="T3" fmla="*/ 29 h 302"/>
              <a:gd name="T4" fmla="*/ 310 w 410"/>
              <a:gd name="T5" fmla="*/ 14 h 302"/>
              <a:gd name="T6" fmla="*/ 307 w 410"/>
              <a:gd name="T7" fmla="*/ 5 h 302"/>
              <a:gd name="T8" fmla="*/ 320 w 410"/>
              <a:gd name="T9" fmla="*/ 0 h 302"/>
              <a:gd name="T10" fmla="*/ 332 w 410"/>
              <a:gd name="T11" fmla="*/ 2 h 302"/>
              <a:gd name="T12" fmla="*/ 339 w 410"/>
              <a:gd name="T13" fmla="*/ 6 h 302"/>
              <a:gd name="T14" fmla="*/ 345 w 410"/>
              <a:gd name="T15" fmla="*/ 14 h 302"/>
              <a:gd name="T16" fmla="*/ 355 w 410"/>
              <a:gd name="T17" fmla="*/ 25 h 302"/>
              <a:gd name="T18" fmla="*/ 363 w 410"/>
              <a:gd name="T19" fmla="*/ 36 h 302"/>
              <a:gd name="T20" fmla="*/ 371 w 410"/>
              <a:gd name="T21" fmla="*/ 37 h 302"/>
              <a:gd name="T22" fmla="*/ 380 w 410"/>
              <a:gd name="T23" fmla="*/ 43 h 302"/>
              <a:gd name="T24" fmla="*/ 383 w 410"/>
              <a:gd name="T25" fmla="*/ 50 h 302"/>
              <a:gd name="T26" fmla="*/ 395 w 410"/>
              <a:gd name="T27" fmla="*/ 52 h 302"/>
              <a:gd name="T28" fmla="*/ 403 w 410"/>
              <a:gd name="T29" fmla="*/ 44 h 302"/>
              <a:gd name="T30" fmla="*/ 408 w 410"/>
              <a:gd name="T31" fmla="*/ 54 h 302"/>
              <a:gd name="T32" fmla="*/ 409 w 410"/>
              <a:gd name="T33" fmla="*/ 65 h 302"/>
              <a:gd name="T34" fmla="*/ 408 w 410"/>
              <a:gd name="T35" fmla="*/ 74 h 302"/>
              <a:gd name="T36" fmla="*/ 397 w 410"/>
              <a:gd name="T37" fmla="*/ 80 h 302"/>
              <a:gd name="T38" fmla="*/ 401 w 410"/>
              <a:gd name="T39" fmla="*/ 96 h 302"/>
              <a:gd name="T40" fmla="*/ 370 w 410"/>
              <a:gd name="T41" fmla="*/ 131 h 302"/>
              <a:gd name="T42" fmla="*/ 355 w 410"/>
              <a:gd name="T43" fmla="*/ 140 h 302"/>
              <a:gd name="T44" fmla="*/ 355 w 410"/>
              <a:gd name="T45" fmla="*/ 136 h 302"/>
              <a:gd name="T46" fmla="*/ 355 w 410"/>
              <a:gd name="T47" fmla="*/ 126 h 302"/>
              <a:gd name="T48" fmla="*/ 341 w 410"/>
              <a:gd name="T49" fmla="*/ 131 h 302"/>
              <a:gd name="T50" fmla="*/ 330 w 410"/>
              <a:gd name="T51" fmla="*/ 142 h 302"/>
              <a:gd name="T52" fmla="*/ 339 w 410"/>
              <a:gd name="T53" fmla="*/ 150 h 302"/>
              <a:gd name="T54" fmla="*/ 349 w 410"/>
              <a:gd name="T55" fmla="*/ 151 h 302"/>
              <a:gd name="T56" fmla="*/ 363 w 410"/>
              <a:gd name="T57" fmla="*/ 153 h 302"/>
              <a:gd name="T58" fmla="*/ 355 w 410"/>
              <a:gd name="T59" fmla="*/ 159 h 302"/>
              <a:gd name="T60" fmla="*/ 348 w 410"/>
              <a:gd name="T61" fmla="*/ 169 h 302"/>
              <a:gd name="T62" fmla="*/ 358 w 410"/>
              <a:gd name="T63" fmla="*/ 188 h 302"/>
              <a:gd name="T64" fmla="*/ 361 w 410"/>
              <a:gd name="T65" fmla="*/ 199 h 302"/>
              <a:gd name="T66" fmla="*/ 350 w 410"/>
              <a:gd name="T67" fmla="*/ 197 h 302"/>
              <a:gd name="T68" fmla="*/ 366 w 410"/>
              <a:gd name="T69" fmla="*/ 209 h 302"/>
              <a:gd name="T70" fmla="*/ 366 w 410"/>
              <a:gd name="T71" fmla="*/ 212 h 302"/>
              <a:gd name="T72" fmla="*/ 371 w 410"/>
              <a:gd name="T73" fmla="*/ 217 h 302"/>
              <a:gd name="T74" fmla="*/ 370 w 410"/>
              <a:gd name="T75" fmla="*/ 223 h 302"/>
              <a:gd name="T76" fmla="*/ 367 w 410"/>
              <a:gd name="T77" fmla="*/ 230 h 302"/>
              <a:gd name="T78" fmla="*/ 365 w 410"/>
              <a:gd name="T79" fmla="*/ 238 h 302"/>
              <a:gd name="T80" fmla="*/ 361 w 410"/>
              <a:gd name="T81" fmla="*/ 243 h 302"/>
              <a:gd name="T82" fmla="*/ 361 w 410"/>
              <a:gd name="T83" fmla="*/ 250 h 302"/>
              <a:gd name="T84" fmla="*/ 357 w 410"/>
              <a:gd name="T85" fmla="*/ 252 h 302"/>
              <a:gd name="T86" fmla="*/ 353 w 410"/>
              <a:gd name="T87" fmla="*/ 259 h 302"/>
              <a:gd name="T88" fmla="*/ 348 w 410"/>
              <a:gd name="T89" fmla="*/ 263 h 302"/>
              <a:gd name="T90" fmla="*/ 341 w 410"/>
              <a:gd name="T91" fmla="*/ 270 h 302"/>
              <a:gd name="T92" fmla="*/ 331 w 410"/>
              <a:gd name="T93" fmla="*/ 273 h 302"/>
              <a:gd name="T94" fmla="*/ 325 w 410"/>
              <a:gd name="T95" fmla="*/ 275 h 302"/>
              <a:gd name="T96" fmla="*/ 313 w 410"/>
              <a:gd name="T97" fmla="*/ 280 h 302"/>
              <a:gd name="T98" fmla="*/ 309 w 410"/>
              <a:gd name="T99" fmla="*/ 282 h 302"/>
              <a:gd name="T100" fmla="*/ 306 w 410"/>
              <a:gd name="T101" fmla="*/ 287 h 302"/>
              <a:gd name="T102" fmla="*/ 299 w 410"/>
              <a:gd name="T103" fmla="*/ 279 h 302"/>
              <a:gd name="T104" fmla="*/ 252 w 410"/>
              <a:gd name="T105" fmla="*/ 285 h 302"/>
              <a:gd name="T106" fmla="*/ 348 w 410"/>
              <a:gd name="T107" fmla="*/ 265 h 302"/>
              <a:gd name="T108" fmla="*/ 365 w 410"/>
              <a:gd name="T109" fmla="*/ 200 h 302"/>
              <a:gd name="T110" fmla="*/ 375 w 410"/>
              <a:gd name="T111" fmla="*/ 270 h 302"/>
              <a:gd name="T112" fmla="*/ 376 w 410"/>
              <a:gd name="T113" fmla="*/ 250 h 302"/>
              <a:gd name="T114" fmla="*/ 368 w 410"/>
              <a:gd name="T115" fmla="*/ 267 h 302"/>
              <a:gd name="T116" fmla="*/ 312 w 410"/>
              <a:gd name="T117" fmla="*/ 284 h 302"/>
              <a:gd name="T118" fmla="*/ 300 w 410"/>
              <a:gd name="T119" fmla="*/ 298 h 302"/>
              <a:gd name="T120" fmla="*/ 312 w 410"/>
              <a:gd name="T121" fmla="*/ 29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0" h="302">
                <a:moveTo>
                  <a:pt x="124" y="64"/>
                </a:moveTo>
                <a:cubicBezTo>
                  <a:pt x="126" y="64"/>
                  <a:pt x="126" y="64"/>
                  <a:pt x="126" y="64"/>
                </a:cubicBezTo>
                <a:cubicBezTo>
                  <a:pt x="127" y="65"/>
                  <a:pt x="127" y="65"/>
                  <a:pt x="127" y="65"/>
                </a:cubicBezTo>
                <a:cubicBezTo>
                  <a:pt x="128" y="65"/>
                  <a:pt x="128" y="65"/>
                  <a:pt x="128" y="65"/>
                </a:cubicBezTo>
                <a:cubicBezTo>
                  <a:pt x="184" y="66"/>
                  <a:pt x="184" y="66"/>
                  <a:pt x="184" y="66"/>
                </a:cubicBezTo>
                <a:cubicBezTo>
                  <a:pt x="282" y="56"/>
                  <a:pt x="282" y="56"/>
                  <a:pt x="282" y="56"/>
                </a:cubicBezTo>
                <a:cubicBezTo>
                  <a:pt x="294" y="43"/>
                  <a:pt x="294" y="43"/>
                  <a:pt x="294" y="43"/>
                </a:cubicBezTo>
                <a:cubicBezTo>
                  <a:pt x="297" y="42"/>
                  <a:pt x="297" y="42"/>
                  <a:pt x="297" y="42"/>
                </a:cubicBezTo>
                <a:cubicBezTo>
                  <a:pt x="298" y="42"/>
                  <a:pt x="298" y="42"/>
                  <a:pt x="298" y="42"/>
                </a:cubicBezTo>
                <a:cubicBezTo>
                  <a:pt x="298" y="43"/>
                  <a:pt x="298" y="43"/>
                  <a:pt x="298" y="43"/>
                </a:cubicBezTo>
                <a:cubicBezTo>
                  <a:pt x="299" y="42"/>
                  <a:pt x="299" y="42"/>
                  <a:pt x="299" y="42"/>
                </a:cubicBezTo>
                <a:cubicBezTo>
                  <a:pt x="301" y="43"/>
                  <a:pt x="301" y="43"/>
                  <a:pt x="301" y="43"/>
                </a:cubicBezTo>
                <a:cubicBezTo>
                  <a:pt x="302" y="43"/>
                  <a:pt x="302" y="43"/>
                  <a:pt x="302" y="43"/>
                </a:cubicBezTo>
                <a:cubicBezTo>
                  <a:pt x="303" y="43"/>
                  <a:pt x="303" y="43"/>
                  <a:pt x="303" y="43"/>
                </a:cubicBezTo>
                <a:cubicBezTo>
                  <a:pt x="306" y="40"/>
                  <a:pt x="306" y="40"/>
                  <a:pt x="306" y="40"/>
                </a:cubicBezTo>
                <a:cubicBezTo>
                  <a:pt x="307" y="39"/>
                  <a:pt x="307" y="39"/>
                  <a:pt x="307" y="39"/>
                </a:cubicBezTo>
                <a:cubicBezTo>
                  <a:pt x="309" y="39"/>
                  <a:pt x="309" y="39"/>
                  <a:pt x="309" y="39"/>
                </a:cubicBezTo>
                <a:cubicBezTo>
                  <a:pt x="310" y="38"/>
                  <a:pt x="310" y="38"/>
                  <a:pt x="310" y="38"/>
                </a:cubicBezTo>
                <a:cubicBezTo>
                  <a:pt x="311" y="37"/>
                  <a:pt x="311" y="37"/>
                  <a:pt x="311" y="37"/>
                </a:cubicBezTo>
                <a:cubicBezTo>
                  <a:pt x="310" y="36"/>
                  <a:pt x="310" y="36"/>
                  <a:pt x="310" y="36"/>
                </a:cubicBezTo>
                <a:cubicBezTo>
                  <a:pt x="310" y="35"/>
                  <a:pt x="310" y="35"/>
                  <a:pt x="310" y="35"/>
                </a:cubicBezTo>
                <a:cubicBezTo>
                  <a:pt x="309" y="36"/>
                  <a:pt x="309" y="36"/>
                  <a:pt x="309" y="36"/>
                </a:cubicBezTo>
                <a:cubicBezTo>
                  <a:pt x="309" y="35"/>
                  <a:pt x="309" y="35"/>
                  <a:pt x="309" y="35"/>
                </a:cubicBezTo>
                <a:cubicBezTo>
                  <a:pt x="308" y="35"/>
                  <a:pt x="308" y="35"/>
                  <a:pt x="308" y="35"/>
                </a:cubicBezTo>
                <a:cubicBezTo>
                  <a:pt x="308" y="33"/>
                  <a:pt x="308" y="33"/>
                  <a:pt x="308" y="33"/>
                </a:cubicBezTo>
                <a:cubicBezTo>
                  <a:pt x="308" y="33"/>
                  <a:pt x="308" y="33"/>
                  <a:pt x="308" y="33"/>
                </a:cubicBezTo>
                <a:cubicBezTo>
                  <a:pt x="308" y="31"/>
                  <a:pt x="308" y="31"/>
                  <a:pt x="308" y="31"/>
                </a:cubicBezTo>
                <a:cubicBezTo>
                  <a:pt x="308" y="30"/>
                  <a:pt x="308" y="30"/>
                  <a:pt x="308" y="30"/>
                </a:cubicBezTo>
                <a:cubicBezTo>
                  <a:pt x="308" y="29"/>
                  <a:pt x="308" y="29"/>
                  <a:pt x="308" y="29"/>
                </a:cubicBezTo>
                <a:cubicBezTo>
                  <a:pt x="309" y="29"/>
                  <a:pt x="309" y="29"/>
                  <a:pt x="309" y="29"/>
                </a:cubicBezTo>
                <a:cubicBezTo>
                  <a:pt x="309" y="28"/>
                  <a:pt x="309" y="28"/>
                  <a:pt x="309" y="28"/>
                </a:cubicBezTo>
                <a:cubicBezTo>
                  <a:pt x="308" y="27"/>
                  <a:pt x="308" y="27"/>
                  <a:pt x="308" y="27"/>
                </a:cubicBezTo>
                <a:cubicBezTo>
                  <a:pt x="308" y="26"/>
                  <a:pt x="308" y="26"/>
                  <a:pt x="308" y="26"/>
                </a:cubicBezTo>
                <a:cubicBezTo>
                  <a:pt x="308" y="25"/>
                  <a:pt x="308" y="25"/>
                  <a:pt x="308" y="25"/>
                </a:cubicBezTo>
                <a:cubicBezTo>
                  <a:pt x="308" y="24"/>
                  <a:pt x="308" y="24"/>
                  <a:pt x="308" y="24"/>
                </a:cubicBezTo>
                <a:cubicBezTo>
                  <a:pt x="308" y="23"/>
                  <a:pt x="308" y="23"/>
                  <a:pt x="308" y="23"/>
                </a:cubicBezTo>
                <a:cubicBezTo>
                  <a:pt x="309" y="22"/>
                  <a:pt x="309" y="22"/>
                  <a:pt x="309" y="22"/>
                </a:cubicBezTo>
                <a:cubicBezTo>
                  <a:pt x="309" y="21"/>
                  <a:pt x="309" y="21"/>
                  <a:pt x="309" y="21"/>
                </a:cubicBezTo>
                <a:cubicBezTo>
                  <a:pt x="310" y="19"/>
                  <a:pt x="310" y="19"/>
                  <a:pt x="310" y="19"/>
                </a:cubicBezTo>
                <a:cubicBezTo>
                  <a:pt x="310" y="18"/>
                  <a:pt x="310" y="18"/>
                  <a:pt x="310" y="18"/>
                </a:cubicBezTo>
                <a:cubicBezTo>
                  <a:pt x="311" y="18"/>
                  <a:pt x="311" y="18"/>
                  <a:pt x="311" y="18"/>
                </a:cubicBezTo>
                <a:cubicBezTo>
                  <a:pt x="311" y="16"/>
                  <a:pt x="311" y="16"/>
                  <a:pt x="311" y="16"/>
                </a:cubicBezTo>
                <a:cubicBezTo>
                  <a:pt x="311" y="15"/>
                  <a:pt x="311" y="15"/>
                  <a:pt x="311" y="15"/>
                </a:cubicBezTo>
                <a:cubicBezTo>
                  <a:pt x="311" y="14"/>
                  <a:pt x="311" y="14"/>
                  <a:pt x="311" y="14"/>
                </a:cubicBezTo>
                <a:cubicBezTo>
                  <a:pt x="310" y="14"/>
                  <a:pt x="310" y="14"/>
                  <a:pt x="310" y="14"/>
                </a:cubicBezTo>
                <a:cubicBezTo>
                  <a:pt x="310" y="13"/>
                  <a:pt x="310" y="13"/>
                  <a:pt x="310" y="13"/>
                </a:cubicBezTo>
                <a:cubicBezTo>
                  <a:pt x="309" y="11"/>
                  <a:pt x="309" y="11"/>
                  <a:pt x="309" y="11"/>
                </a:cubicBezTo>
                <a:cubicBezTo>
                  <a:pt x="308" y="11"/>
                  <a:pt x="308" y="11"/>
                  <a:pt x="308" y="11"/>
                </a:cubicBezTo>
                <a:cubicBezTo>
                  <a:pt x="307" y="11"/>
                  <a:pt x="307" y="11"/>
                  <a:pt x="307" y="11"/>
                </a:cubicBezTo>
                <a:cubicBezTo>
                  <a:pt x="306" y="12"/>
                  <a:pt x="306" y="12"/>
                  <a:pt x="306" y="12"/>
                </a:cubicBezTo>
                <a:cubicBezTo>
                  <a:pt x="305" y="12"/>
                  <a:pt x="305" y="12"/>
                  <a:pt x="305" y="12"/>
                </a:cubicBezTo>
                <a:cubicBezTo>
                  <a:pt x="305" y="12"/>
                  <a:pt x="305" y="12"/>
                  <a:pt x="305" y="12"/>
                </a:cubicBezTo>
                <a:cubicBezTo>
                  <a:pt x="305" y="10"/>
                  <a:pt x="305" y="10"/>
                  <a:pt x="305" y="10"/>
                </a:cubicBezTo>
                <a:cubicBezTo>
                  <a:pt x="305" y="9"/>
                  <a:pt x="305" y="9"/>
                  <a:pt x="305" y="9"/>
                </a:cubicBezTo>
                <a:cubicBezTo>
                  <a:pt x="305" y="9"/>
                  <a:pt x="305" y="9"/>
                  <a:pt x="305" y="9"/>
                </a:cubicBezTo>
                <a:cubicBezTo>
                  <a:pt x="306" y="8"/>
                  <a:pt x="306" y="8"/>
                  <a:pt x="306" y="8"/>
                </a:cubicBezTo>
                <a:cubicBezTo>
                  <a:pt x="306" y="7"/>
                  <a:pt x="306" y="7"/>
                  <a:pt x="306" y="7"/>
                </a:cubicBezTo>
                <a:cubicBezTo>
                  <a:pt x="307" y="6"/>
                  <a:pt x="307" y="6"/>
                  <a:pt x="307" y="6"/>
                </a:cubicBezTo>
                <a:cubicBezTo>
                  <a:pt x="307" y="5"/>
                  <a:pt x="307" y="5"/>
                  <a:pt x="307" y="5"/>
                </a:cubicBezTo>
                <a:cubicBezTo>
                  <a:pt x="307" y="5"/>
                  <a:pt x="307" y="5"/>
                  <a:pt x="307" y="5"/>
                </a:cubicBezTo>
                <a:cubicBezTo>
                  <a:pt x="309" y="4"/>
                  <a:pt x="309" y="4"/>
                  <a:pt x="309" y="4"/>
                </a:cubicBezTo>
                <a:cubicBezTo>
                  <a:pt x="310" y="4"/>
                  <a:pt x="310" y="4"/>
                  <a:pt x="310" y="4"/>
                </a:cubicBezTo>
                <a:cubicBezTo>
                  <a:pt x="311" y="4"/>
                  <a:pt x="311" y="4"/>
                  <a:pt x="311" y="4"/>
                </a:cubicBezTo>
                <a:cubicBezTo>
                  <a:pt x="311" y="4"/>
                  <a:pt x="311" y="4"/>
                  <a:pt x="311" y="4"/>
                </a:cubicBezTo>
                <a:cubicBezTo>
                  <a:pt x="312" y="4"/>
                  <a:pt x="312" y="4"/>
                  <a:pt x="312" y="4"/>
                </a:cubicBezTo>
                <a:cubicBezTo>
                  <a:pt x="313" y="4"/>
                  <a:pt x="313" y="4"/>
                  <a:pt x="313" y="4"/>
                </a:cubicBezTo>
                <a:cubicBezTo>
                  <a:pt x="313" y="3"/>
                  <a:pt x="313" y="3"/>
                  <a:pt x="313" y="3"/>
                </a:cubicBezTo>
                <a:cubicBezTo>
                  <a:pt x="314" y="3"/>
                  <a:pt x="314" y="3"/>
                  <a:pt x="314" y="3"/>
                </a:cubicBezTo>
                <a:cubicBezTo>
                  <a:pt x="315" y="2"/>
                  <a:pt x="315" y="2"/>
                  <a:pt x="315" y="2"/>
                </a:cubicBezTo>
                <a:cubicBezTo>
                  <a:pt x="316" y="2"/>
                  <a:pt x="316" y="2"/>
                  <a:pt x="316" y="2"/>
                </a:cubicBezTo>
                <a:cubicBezTo>
                  <a:pt x="317" y="2"/>
                  <a:pt x="317" y="2"/>
                  <a:pt x="317" y="2"/>
                </a:cubicBezTo>
                <a:cubicBezTo>
                  <a:pt x="318" y="2"/>
                  <a:pt x="318" y="2"/>
                  <a:pt x="318" y="2"/>
                </a:cubicBezTo>
                <a:cubicBezTo>
                  <a:pt x="319" y="1"/>
                  <a:pt x="319" y="1"/>
                  <a:pt x="319" y="1"/>
                </a:cubicBezTo>
                <a:cubicBezTo>
                  <a:pt x="320" y="1"/>
                  <a:pt x="320" y="1"/>
                  <a:pt x="320" y="1"/>
                </a:cubicBezTo>
                <a:cubicBezTo>
                  <a:pt x="320" y="0"/>
                  <a:pt x="320" y="0"/>
                  <a:pt x="320" y="0"/>
                </a:cubicBezTo>
                <a:cubicBezTo>
                  <a:pt x="322" y="0"/>
                  <a:pt x="322" y="0"/>
                  <a:pt x="322" y="0"/>
                </a:cubicBezTo>
                <a:cubicBezTo>
                  <a:pt x="322" y="0"/>
                  <a:pt x="322" y="0"/>
                  <a:pt x="322" y="0"/>
                </a:cubicBezTo>
                <a:cubicBezTo>
                  <a:pt x="323" y="0"/>
                  <a:pt x="323" y="0"/>
                  <a:pt x="323" y="0"/>
                </a:cubicBezTo>
                <a:cubicBezTo>
                  <a:pt x="324" y="0"/>
                  <a:pt x="324" y="0"/>
                  <a:pt x="324" y="0"/>
                </a:cubicBezTo>
                <a:cubicBezTo>
                  <a:pt x="325" y="1"/>
                  <a:pt x="325" y="1"/>
                  <a:pt x="325" y="1"/>
                </a:cubicBezTo>
                <a:cubicBezTo>
                  <a:pt x="327" y="1"/>
                  <a:pt x="327" y="1"/>
                  <a:pt x="327" y="1"/>
                </a:cubicBezTo>
                <a:cubicBezTo>
                  <a:pt x="327" y="2"/>
                  <a:pt x="327" y="2"/>
                  <a:pt x="327" y="2"/>
                </a:cubicBezTo>
                <a:cubicBezTo>
                  <a:pt x="328" y="2"/>
                  <a:pt x="328" y="2"/>
                  <a:pt x="328" y="2"/>
                </a:cubicBezTo>
                <a:cubicBezTo>
                  <a:pt x="329" y="2"/>
                  <a:pt x="329" y="2"/>
                  <a:pt x="329" y="2"/>
                </a:cubicBezTo>
                <a:cubicBezTo>
                  <a:pt x="330" y="2"/>
                  <a:pt x="330" y="2"/>
                  <a:pt x="330" y="2"/>
                </a:cubicBezTo>
                <a:cubicBezTo>
                  <a:pt x="330" y="2"/>
                  <a:pt x="330" y="2"/>
                  <a:pt x="330" y="2"/>
                </a:cubicBezTo>
                <a:cubicBezTo>
                  <a:pt x="331" y="3"/>
                  <a:pt x="331" y="3"/>
                  <a:pt x="331" y="3"/>
                </a:cubicBezTo>
                <a:cubicBezTo>
                  <a:pt x="332" y="3"/>
                  <a:pt x="332" y="3"/>
                  <a:pt x="332" y="3"/>
                </a:cubicBezTo>
                <a:cubicBezTo>
                  <a:pt x="332" y="2"/>
                  <a:pt x="332" y="2"/>
                  <a:pt x="332" y="2"/>
                </a:cubicBezTo>
                <a:cubicBezTo>
                  <a:pt x="332" y="2"/>
                  <a:pt x="332" y="2"/>
                  <a:pt x="332" y="2"/>
                </a:cubicBezTo>
                <a:cubicBezTo>
                  <a:pt x="333" y="2"/>
                  <a:pt x="333" y="2"/>
                  <a:pt x="333" y="2"/>
                </a:cubicBezTo>
                <a:cubicBezTo>
                  <a:pt x="334" y="2"/>
                  <a:pt x="334" y="2"/>
                  <a:pt x="334" y="2"/>
                </a:cubicBezTo>
                <a:cubicBezTo>
                  <a:pt x="334" y="2"/>
                  <a:pt x="334" y="2"/>
                  <a:pt x="334" y="2"/>
                </a:cubicBezTo>
                <a:cubicBezTo>
                  <a:pt x="335" y="2"/>
                  <a:pt x="335" y="2"/>
                  <a:pt x="335" y="2"/>
                </a:cubicBezTo>
                <a:cubicBezTo>
                  <a:pt x="336" y="2"/>
                  <a:pt x="336" y="2"/>
                  <a:pt x="336" y="2"/>
                </a:cubicBezTo>
                <a:cubicBezTo>
                  <a:pt x="336" y="3"/>
                  <a:pt x="336" y="3"/>
                  <a:pt x="336" y="3"/>
                </a:cubicBezTo>
                <a:cubicBezTo>
                  <a:pt x="337" y="3"/>
                  <a:pt x="337" y="3"/>
                  <a:pt x="337" y="3"/>
                </a:cubicBezTo>
                <a:cubicBezTo>
                  <a:pt x="337" y="4"/>
                  <a:pt x="337" y="4"/>
                  <a:pt x="337" y="4"/>
                </a:cubicBezTo>
                <a:cubicBezTo>
                  <a:pt x="337" y="5"/>
                  <a:pt x="337" y="5"/>
                  <a:pt x="337" y="5"/>
                </a:cubicBezTo>
                <a:cubicBezTo>
                  <a:pt x="338" y="5"/>
                  <a:pt x="338" y="5"/>
                  <a:pt x="338" y="5"/>
                </a:cubicBezTo>
                <a:cubicBezTo>
                  <a:pt x="338" y="5"/>
                  <a:pt x="338" y="5"/>
                  <a:pt x="338" y="5"/>
                </a:cubicBezTo>
                <a:cubicBezTo>
                  <a:pt x="338" y="5"/>
                  <a:pt x="338" y="5"/>
                  <a:pt x="338" y="5"/>
                </a:cubicBezTo>
                <a:cubicBezTo>
                  <a:pt x="339" y="5"/>
                  <a:pt x="339" y="5"/>
                  <a:pt x="339" y="5"/>
                </a:cubicBezTo>
                <a:cubicBezTo>
                  <a:pt x="340" y="5"/>
                  <a:pt x="340" y="5"/>
                  <a:pt x="340" y="5"/>
                </a:cubicBezTo>
                <a:cubicBezTo>
                  <a:pt x="339" y="6"/>
                  <a:pt x="339" y="6"/>
                  <a:pt x="339" y="6"/>
                </a:cubicBezTo>
                <a:cubicBezTo>
                  <a:pt x="339" y="6"/>
                  <a:pt x="339" y="6"/>
                  <a:pt x="339" y="6"/>
                </a:cubicBezTo>
                <a:cubicBezTo>
                  <a:pt x="341" y="7"/>
                  <a:pt x="341" y="7"/>
                  <a:pt x="341" y="7"/>
                </a:cubicBezTo>
                <a:cubicBezTo>
                  <a:pt x="341" y="7"/>
                  <a:pt x="341" y="7"/>
                  <a:pt x="341" y="7"/>
                </a:cubicBezTo>
                <a:cubicBezTo>
                  <a:pt x="342" y="7"/>
                  <a:pt x="342" y="7"/>
                  <a:pt x="342" y="7"/>
                </a:cubicBezTo>
                <a:cubicBezTo>
                  <a:pt x="342" y="8"/>
                  <a:pt x="342" y="8"/>
                  <a:pt x="342" y="8"/>
                </a:cubicBezTo>
                <a:cubicBezTo>
                  <a:pt x="342" y="8"/>
                  <a:pt x="342" y="8"/>
                  <a:pt x="342" y="8"/>
                </a:cubicBezTo>
                <a:cubicBezTo>
                  <a:pt x="343" y="9"/>
                  <a:pt x="343" y="9"/>
                  <a:pt x="343" y="9"/>
                </a:cubicBezTo>
                <a:cubicBezTo>
                  <a:pt x="343" y="10"/>
                  <a:pt x="343" y="10"/>
                  <a:pt x="343" y="10"/>
                </a:cubicBezTo>
                <a:cubicBezTo>
                  <a:pt x="343" y="10"/>
                  <a:pt x="343" y="10"/>
                  <a:pt x="343" y="10"/>
                </a:cubicBezTo>
                <a:cubicBezTo>
                  <a:pt x="343" y="11"/>
                  <a:pt x="343" y="11"/>
                  <a:pt x="343" y="11"/>
                </a:cubicBezTo>
                <a:cubicBezTo>
                  <a:pt x="343" y="11"/>
                  <a:pt x="343" y="11"/>
                  <a:pt x="343" y="11"/>
                </a:cubicBezTo>
                <a:cubicBezTo>
                  <a:pt x="345" y="11"/>
                  <a:pt x="345" y="11"/>
                  <a:pt x="345" y="11"/>
                </a:cubicBezTo>
                <a:cubicBezTo>
                  <a:pt x="345" y="12"/>
                  <a:pt x="345" y="12"/>
                  <a:pt x="345" y="12"/>
                </a:cubicBezTo>
                <a:cubicBezTo>
                  <a:pt x="345" y="13"/>
                  <a:pt x="345" y="13"/>
                  <a:pt x="345" y="13"/>
                </a:cubicBezTo>
                <a:cubicBezTo>
                  <a:pt x="345" y="14"/>
                  <a:pt x="345" y="14"/>
                  <a:pt x="345" y="14"/>
                </a:cubicBezTo>
                <a:cubicBezTo>
                  <a:pt x="346" y="14"/>
                  <a:pt x="346" y="14"/>
                  <a:pt x="346" y="14"/>
                </a:cubicBezTo>
                <a:cubicBezTo>
                  <a:pt x="347" y="16"/>
                  <a:pt x="347" y="16"/>
                  <a:pt x="347" y="16"/>
                </a:cubicBezTo>
                <a:cubicBezTo>
                  <a:pt x="348" y="17"/>
                  <a:pt x="348" y="17"/>
                  <a:pt x="348" y="17"/>
                </a:cubicBezTo>
                <a:cubicBezTo>
                  <a:pt x="348" y="17"/>
                  <a:pt x="348" y="17"/>
                  <a:pt x="348" y="17"/>
                </a:cubicBezTo>
                <a:cubicBezTo>
                  <a:pt x="348" y="18"/>
                  <a:pt x="348" y="18"/>
                  <a:pt x="348" y="18"/>
                </a:cubicBezTo>
                <a:cubicBezTo>
                  <a:pt x="349" y="19"/>
                  <a:pt x="349" y="19"/>
                  <a:pt x="349" y="19"/>
                </a:cubicBezTo>
                <a:cubicBezTo>
                  <a:pt x="350" y="19"/>
                  <a:pt x="350" y="19"/>
                  <a:pt x="350" y="19"/>
                </a:cubicBezTo>
                <a:cubicBezTo>
                  <a:pt x="350" y="20"/>
                  <a:pt x="350" y="20"/>
                  <a:pt x="350" y="20"/>
                </a:cubicBezTo>
                <a:cubicBezTo>
                  <a:pt x="349" y="21"/>
                  <a:pt x="349" y="21"/>
                  <a:pt x="349" y="21"/>
                </a:cubicBezTo>
                <a:cubicBezTo>
                  <a:pt x="350" y="21"/>
                  <a:pt x="350" y="21"/>
                  <a:pt x="350" y="21"/>
                </a:cubicBezTo>
                <a:cubicBezTo>
                  <a:pt x="350" y="21"/>
                  <a:pt x="350" y="21"/>
                  <a:pt x="350" y="21"/>
                </a:cubicBezTo>
                <a:cubicBezTo>
                  <a:pt x="351" y="22"/>
                  <a:pt x="351" y="22"/>
                  <a:pt x="351" y="22"/>
                </a:cubicBezTo>
                <a:cubicBezTo>
                  <a:pt x="351" y="22"/>
                  <a:pt x="351" y="22"/>
                  <a:pt x="351" y="22"/>
                </a:cubicBezTo>
                <a:cubicBezTo>
                  <a:pt x="352" y="24"/>
                  <a:pt x="352" y="24"/>
                  <a:pt x="352" y="24"/>
                </a:cubicBezTo>
                <a:cubicBezTo>
                  <a:pt x="355" y="25"/>
                  <a:pt x="355" y="25"/>
                  <a:pt x="355" y="25"/>
                </a:cubicBezTo>
                <a:cubicBezTo>
                  <a:pt x="355" y="27"/>
                  <a:pt x="355" y="27"/>
                  <a:pt x="355" y="27"/>
                </a:cubicBezTo>
                <a:cubicBezTo>
                  <a:pt x="355" y="28"/>
                  <a:pt x="355" y="28"/>
                  <a:pt x="355" y="28"/>
                </a:cubicBezTo>
                <a:cubicBezTo>
                  <a:pt x="356" y="28"/>
                  <a:pt x="356" y="28"/>
                  <a:pt x="356" y="28"/>
                </a:cubicBezTo>
                <a:cubicBezTo>
                  <a:pt x="356" y="29"/>
                  <a:pt x="356" y="29"/>
                  <a:pt x="356" y="29"/>
                </a:cubicBezTo>
                <a:cubicBezTo>
                  <a:pt x="356" y="30"/>
                  <a:pt x="356" y="30"/>
                  <a:pt x="356" y="30"/>
                </a:cubicBezTo>
                <a:cubicBezTo>
                  <a:pt x="357" y="30"/>
                  <a:pt x="357" y="30"/>
                  <a:pt x="357" y="30"/>
                </a:cubicBezTo>
                <a:cubicBezTo>
                  <a:pt x="357" y="31"/>
                  <a:pt x="357" y="31"/>
                  <a:pt x="357" y="31"/>
                </a:cubicBezTo>
                <a:cubicBezTo>
                  <a:pt x="357" y="32"/>
                  <a:pt x="357" y="32"/>
                  <a:pt x="357" y="32"/>
                </a:cubicBezTo>
                <a:cubicBezTo>
                  <a:pt x="358" y="33"/>
                  <a:pt x="358" y="33"/>
                  <a:pt x="358" y="33"/>
                </a:cubicBezTo>
                <a:cubicBezTo>
                  <a:pt x="359" y="35"/>
                  <a:pt x="359" y="35"/>
                  <a:pt x="359" y="35"/>
                </a:cubicBezTo>
                <a:cubicBezTo>
                  <a:pt x="360" y="35"/>
                  <a:pt x="360" y="35"/>
                  <a:pt x="360" y="35"/>
                </a:cubicBezTo>
                <a:cubicBezTo>
                  <a:pt x="361" y="36"/>
                  <a:pt x="361" y="36"/>
                  <a:pt x="361" y="36"/>
                </a:cubicBezTo>
                <a:cubicBezTo>
                  <a:pt x="362" y="36"/>
                  <a:pt x="362" y="36"/>
                  <a:pt x="362" y="36"/>
                </a:cubicBezTo>
                <a:cubicBezTo>
                  <a:pt x="362" y="36"/>
                  <a:pt x="362" y="36"/>
                  <a:pt x="362" y="36"/>
                </a:cubicBezTo>
                <a:cubicBezTo>
                  <a:pt x="363" y="36"/>
                  <a:pt x="363" y="36"/>
                  <a:pt x="363" y="36"/>
                </a:cubicBezTo>
                <a:cubicBezTo>
                  <a:pt x="363" y="36"/>
                  <a:pt x="363" y="36"/>
                  <a:pt x="363" y="36"/>
                </a:cubicBezTo>
                <a:cubicBezTo>
                  <a:pt x="365" y="36"/>
                  <a:pt x="365" y="36"/>
                  <a:pt x="365" y="36"/>
                </a:cubicBezTo>
                <a:cubicBezTo>
                  <a:pt x="365" y="35"/>
                  <a:pt x="365" y="35"/>
                  <a:pt x="365" y="35"/>
                </a:cubicBezTo>
                <a:cubicBezTo>
                  <a:pt x="366" y="35"/>
                  <a:pt x="366" y="35"/>
                  <a:pt x="366" y="35"/>
                </a:cubicBezTo>
                <a:cubicBezTo>
                  <a:pt x="366" y="36"/>
                  <a:pt x="366" y="36"/>
                  <a:pt x="366" y="36"/>
                </a:cubicBezTo>
                <a:cubicBezTo>
                  <a:pt x="366" y="36"/>
                  <a:pt x="366" y="36"/>
                  <a:pt x="366" y="36"/>
                </a:cubicBezTo>
                <a:cubicBezTo>
                  <a:pt x="366" y="37"/>
                  <a:pt x="366" y="37"/>
                  <a:pt x="366" y="37"/>
                </a:cubicBezTo>
                <a:cubicBezTo>
                  <a:pt x="368" y="37"/>
                  <a:pt x="368" y="37"/>
                  <a:pt x="368" y="37"/>
                </a:cubicBezTo>
                <a:cubicBezTo>
                  <a:pt x="368" y="37"/>
                  <a:pt x="368" y="37"/>
                  <a:pt x="368" y="37"/>
                </a:cubicBezTo>
                <a:cubicBezTo>
                  <a:pt x="369" y="38"/>
                  <a:pt x="369" y="38"/>
                  <a:pt x="369" y="38"/>
                </a:cubicBezTo>
                <a:cubicBezTo>
                  <a:pt x="369" y="38"/>
                  <a:pt x="369" y="38"/>
                  <a:pt x="369" y="38"/>
                </a:cubicBezTo>
                <a:cubicBezTo>
                  <a:pt x="370" y="38"/>
                  <a:pt x="370" y="38"/>
                  <a:pt x="370" y="38"/>
                </a:cubicBezTo>
                <a:cubicBezTo>
                  <a:pt x="370" y="37"/>
                  <a:pt x="370" y="37"/>
                  <a:pt x="370" y="37"/>
                </a:cubicBezTo>
                <a:cubicBezTo>
                  <a:pt x="371" y="38"/>
                  <a:pt x="371" y="38"/>
                  <a:pt x="371" y="38"/>
                </a:cubicBezTo>
                <a:cubicBezTo>
                  <a:pt x="371" y="37"/>
                  <a:pt x="371" y="37"/>
                  <a:pt x="371" y="37"/>
                </a:cubicBezTo>
                <a:cubicBezTo>
                  <a:pt x="372" y="37"/>
                  <a:pt x="372" y="37"/>
                  <a:pt x="372" y="37"/>
                </a:cubicBezTo>
                <a:cubicBezTo>
                  <a:pt x="372" y="37"/>
                  <a:pt x="372" y="37"/>
                  <a:pt x="372" y="37"/>
                </a:cubicBezTo>
                <a:cubicBezTo>
                  <a:pt x="373" y="38"/>
                  <a:pt x="373" y="38"/>
                  <a:pt x="373" y="38"/>
                </a:cubicBezTo>
                <a:cubicBezTo>
                  <a:pt x="373" y="39"/>
                  <a:pt x="373" y="39"/>
                  <a:pt x="373" y="39"/>
                </a:cubicBezTo>
                <a:cubicBezTo>
                  <a:pt x="374" y="39"/>
                  <a:pt x="374" y="39"/>
                  <a:pt x="374" y="39"/>
                </a:cubicBezTo>
                <a:cubicBezTo>
                  <a:pt x="374" y="39"/>
                  <a:pt x="374" y="39"/>
                  <a:pt x="374" y="39"/>
                </a:cubicBezTo>
                <a:cubicBezTo>
                  <a:pt x="375" y="40"/>
                  <a:pt x="375" y="40"/>
                  <a:pt x="375" y="40"/>
                </a:cubicBezTo>
                <a:cubicBezTo>
                  <a:pt x="375" y="40"/>
                  <a:pt x="375" y="40"/>
                  <a:pt x="375" y="40"/>
                </a:cubicBezTo>
                <a:cubicBezTo>
                  <a:pt x="376" y="40"/>
                  <a:pt x="376" y="40"/>
                  <a:pt x="376" y="40"/>
                </a:cubicBezTo>
                <a:cubicBezTo>
                  <a:pt x="376" y="41"/>
                  <a:pt x="376" y="41"/>
                  <a:pt x="376" y="41"/>
                </a:cubicBezTo>
                <a:cubicBezTo>
                  <a:pt x="377" y="42"/>
                  <a:pt x="377" y="42"/>
                  <a:pt x="377" y="42"/>
                </a:cubicBezTo>
                <a:cubicBezTo>
                  <a:pt x="377" y="42"/>
                  <a:pt x="377" y="42"/>
                  <a:pt x="377" y="42"/>
                </a:cubicBezTo>
                <a:cubicBezTo>
                  <a:pt x="378" y="42"/>
                  <a:pt x="378" y="42"/>
                  <a:pt x="378" y="42"/>
                </a:cubicBezTo>
                <a:cubicBezTo>
                  <a:pt x="379" y="43"/>
                  <a:pt x="379" y="43"/>
                  <a:pt x="379" y="43"/>
                </a:cubicBezTo>
                <a:cubicBezTo>
                  <a:pt x="380" y="43"/>
                  <a:pt x="380" y="43"/>
                  <a:pt x="380" y="43"/>
                </a:cubicBezTo>
                <a:cubicBezTo>
                  <a:pt x="380" y="42"/>
                  <a:pt x="380" y="42"/>
                  <a:pt x="380" y="42"/>
                </a:cubicBezTo>
                <a:cubicBezTo>
                  <a:pt x="381" y="42"/>
                  <a:pt x="381" y="42"/>
                  <a:pt x="381" y="42"/>
                </a:cubicBezTo>
                <a:cubicBezTo>
                  <a:pt x="382" y="42"/>
                  <a:pt x="382" y="42"/>
                  <a:pt x="382" y="42"/>
                </a:cubicBezTo>
                <a:cubicBezTo>
                  <a:pt x="382" y="42"/>
                  <a:pt x="382" y="42"/>
                  <a:pt x="382" y="42"/>
                </a:cubicBezTo>
                <a:cubicBezTo>
                  <a:pt x="383" y="42"/>
                  <a:pt x="383" y="42"/>
                  <a:pt x="383" y="42"/>
                </a:cubicBezTo>
                <a:cubicBezTo>
                  <a:pt x="382" y="43"/>
                  <a:pt x="382" y="43"/>
                  <a:pt x="382" y="43"/>
                </a:cubicBezTo>
                <a:cubicBezTo>
                  <a:pt x="382" y="44"/>
                  <a:pt x="382" y="44"/>
                  <a:pt x="382" y="44"/>
                </a:cubicBezTo>
                <a:cubicBezTo>
                  <a:pt x="382" y="44"/>
                  <a:pt x="382" y="44"/>
                  <a:pt x="382" y="44"/>
                </a:cubicBezTo>
                <a:cubicBezTo>
                  <a:pt x="382" y="45"/>
                  <a:pt x="382" y="45"/>
                  <a:pt x="382" y="45"/>
                </a:cubicBezTo>
                <a:cubicBezTo>
                  <a:pt x="383" y="45"/>
                  <a:pt x="383" y="45"/>
                  <a:pt x="383" y="45"/>
                </a:cubicBezTo>
                <a:cubicBezTo>
                  <a:pt x="383" y="46"/>
                  <a:pt x="383" y="46"/>
                  <a:pt x="383" y="46"/>
                </a:cubicBezTo>
                <a:cubicBezTo>
                  <a:pt x="384" y="47"/>
                  <a:pt x="384" y="47"/>
                  <a:pt x="384" y="47"/>
                </a:cubicBezTo>
                <a:cubicBezTo>
                  <a:pt x="384" y="48"/>
                  <a:pt x="384" y="48"/>
                  <a:pt x="384" y="48"/>
                </a:cubicBezTo>
                <a:cubicBezTo>
                  <a:pt x="383" y="49"/>
                  <a:pt x="383" y="49"/>
                  <a:pt x="383" y="49"/>
                </a:cubicBezTo>
                <a:cubicBezTo>
                  <a:pt x="383" y="50"/>
                  <a:pt x="383" y="50"/>
                  <a:pt x="383" y="50"/>
                </a:cubicBezTo>
                <a:cubicBezTo>
                  <a:pt x="384" y="51"/>
                  <a:pt x="384" y="51"/>
                  <a:pt x="384" y="51"/>
                </a:cubicBezTo>
                <a:cubicBezTo>
                  <a:pt x="385" y="52"/>
                  <a:pt x="385" y="52"/>
                  <a:pt x="385" y="52"/>
                </a:cubicBezTo>
                <a:cubicBezTo>
                  <a:pt x="386" y="53"/>
                  <a:pt x="386" y="53"/>
                  <a:pt x="386" y="53"/>
                </a:cubicBezTo>
                <a:cubicBezTo>
                  <a:pt x="386" y="53"/>
                  <a:pt x="386" y="53"/>
                  <a:pt x="386" y="53"/>
                </a:cubicBezTo>
                <a:cubicBezTo>
                  <a:pt x="387" y="53"/>
                  <a:pt x="387" y="53"/>
                  <a:pt x="387" y="53"/>
                </a:cubicBezTo>
                <a:cubicBezTo>
                  <a:pt x="388" y="53"/>
                  <a:pt x="388" y="53"/>
                  <a:pt x="388" y="53"/>
                </a:cubicBezTo>
                <a:cubicBezTo>
                  <a:pt x="389" y="53"/>
                  <a:pt x="389" y="53"/>
                  <a:pt x="389" y="53"/>
                </a:cubicBezTo>
                <a:cubicBezTo>
                  <a:pt x="390" y="53"/>
                  <a:pt x="390" y="53"/>
                  <a:pt x="390" y="53"/>
                </a:cubicBezTo>
                <a:cubicBezTo>
                  <a:pt x="390" y="54"/>
                  <a:pt x="390" y="54"/>
                  <a:pt x="390" y="54"/>
                </a:cubicBezTo>
                <a:cubicBezTo>
                  <a:pt x="391" y="54"/>
                  <a:pt x="391" y="54"/>
                  <a:pt x="391" y="54"/>
                </a:cubicBezTo>
                <a:cubicBezTo>
                  <a:pt x="391" y="53"/>
                  <a:pt x="391" y="53"/>
                  <a:pt x="391" y="53"/>
                </a:cubicBezTo>
                <a:cubicBezTo>
                  <a:pt x="392" y="54"/>
                  <a:pt x="392" y="54"/>
                  <a:pt x="392" y="54"/>
                </a:cubicBezTo>
                <a:cubicBezTo>
                  <a:pt x="393" y="53"/>
                  <a:pt x="393" y="53"/>
                  <a:pt x="393" y="53"/>
                </a:cubicBezTo>
                <a:cubicBezTo>
                  <a:pt x="394" y="53"/>
                  <a:pt x="394" y="53"/>
                  <a:pt x="394" y="53"/>
                </a:cubicBezTo>
                <a:cubicBezTo>
                  <a:pt x="395" y="52"/>
                  <a:pt x="395" y="52"/>
                  <a:pt x="395" y="52"/>
                </a:cubicBezTo>
                <a:cubicBezTo>
                  <a:pt x="396" y="52"/>
                  <a:pt x="396" y="52"/>
                  <a:pt x="396" y="52"/>
                </a:cubicBezTo>
                <a:cubicBezTo>
                  <a:pt x="396" y="51"/>
                  <a:pt x="396" y="51"/>
                  <a:pt x="396" y="51"/>
                </a:cubicBezTo>
                <a:cubicBezTo>
                  <a:pt x="396" y="50"/>
                  <a:pt x="396" y="50"/>
                  <a:pt x="396" y="50"/>
                </a:cubicBezTo>
                <a:cubicBezTo>
                  <a:pt x="397" y="50"/>
                  <a:pt x="397" y="50"/>
                  <a:pt x="397" y="50"/>
                </a:cubicBezTo>
                <a:cubicBezTo>
                  <a:pt x="397" y="49"/>
                  <a:pt x="397" y="49"/>
                  <a:pt x="397" y="49"/>
                </a:cubicBezTo>
                <a:cubicBezTo>
                  <a:pt x="397" y="48"/>
                  <a:pt x="397" y="48"/>
                  <a:pt x="397" y="48"/>
                </a:cubicBezTo>
                <a:cubicBezTo>
                  <a:pt x="398" y="48"/>
                  <a:pt x="398" y="48"/>
                  <a:pt x="398" y="48"/>
                </a:cubicBezTo>
                <a:cubicBezTo>
                  <a:pt x="399" y="48"/>
                  <a:pt x="399" y="48"/>
                  <a:pt x="399" y="48"/>
                </a:cubicBezTo>
                <a:cubicBezTo>
                  <a:pt x="400" y="47"/>
                  <a:pt x="400" y="47"/>
                  <a:pt x="400" y="47"/>
                </a:cubicBezTo>
                <a:cubicBezTo>
                  <a:pt x="400" y="46"/>
                  <a:pt x="400" y="46"/>
                  <a:pt x="400" y="46"/>
                </a:cubicBezTo>
                <a:cubicBezTo>
                  <a:pt x="401" y="46"/>
                  <a:pt x="401" y="46"/>
                  <a:pt x="401" y="46"/>
                </a:cubicBezTo>
                <a:cubicBezTo>
                  <a:pt x="401" y="45"/>
                  <a:pt x="401" y="45"/>
                  <a:pt x="401" y="45"/>
                </a:cubicBezTo>
                <a:cubicBezTo>
                  <a:pt x="402" y="45"/>
                  <a:pt x="402" y="45"/>
                  <a:pt x="402" y="45"/>
                </a:cubicBezTo>
                <a:cubicBezTo>
                  <a:pt x="403" y="44"/>
                  <a:pt x="403" y="44"/>
                  <a:pt x="403" y="44"/>
                </a:cubicBezTo>
                <a:cubicBezTo>
                  <a:pt x="403" y="44"/>
                  <a:pt x="403" y="44"/>
                  <a:pt x="403" y="44"/>
                </a:cubicBezTo>
                <a:cubicBezTo>
                  <a:pt x="405" y="44"/>
                  <a:pt x="405" y="44"/>
                  <a:pt x="405" y="44"/>
                </a:cubicBezTo>
                <a:cubicBezTo>
                  <a:pt x="405" y="45"/>
                  <a:pt x="405" y="45"/>
                  <a:pt x="405" y="45"/>
                </a:cubicBezTo>
                <a:cubicBezTo>
                  <a:pt x="406" y="45"/>
                  <a:pt x="406" y="45"/>
                  <a:pt x="406" y="45"/>
                </a:cubicBezTo>
                <a:cubicBezTo>
                  <a:pt x="407" y="46"/>
                  <a:pt x="407" y="46"/>
                  <a:pt x="407" y="46"/>
                </a:cubicBezTo>
                <a:cubicBezTo>
                  <a:pt x="407" y="47"/>
                  <a:pt x="407" y="47"/>
                  <a:pt x="407" y="47"/>
                </a:cubicBezTo>
                <a:cubicBezTo>
                  <a:pt x="407" y="47"/>
                  <a:pt x="407" y="47"/>
                  <a:pt x="407" y="47"/>
                </a:cubicBezTo>
                <a:cubicBezTo>
                  <a:pt x="407" y="48"/>
                  <a:pt x="407" y="48"/>
                  <a:pt x="407" y="48"/>
                </a:cubicBezTo>
                <a:cubicBezTo>
                  <a:pt x="408" y="49"/>
                  <a:pt x="408" y="49"/>
                  <a:pt x="408" y="49"/>
                </a:cubicBezTo>
                <a:cubicBezTo>
                  <a:pt x="408" y="50"/>
                  <a:pt x="408" y="50"/>
                  <a:pt x="408" y="50"/>
                </a:cubicBezTo>
                <a:cubicBezTo>
                  <a:pt x="409" y="51"/>
                  <a:pt x="409" y="51"/>
                  <a:pt x="409" y="51"/>
                </a:cubicBezTo>
                <a:cubicBezTo>
                  <a:pt x="410" y="51"/>
                  <a:pt x="410" y="51"/>
                  <a:pt x="410" y="51"/>
                </a:cubicBezTo>
                <a:cubicBezTo>
                  <a:pt x="409" y="52"/>
                  <a:pt x="409" y="52"/>
                  <a:pt x="409" y="52"/>
                </a:cubicBezTo>
                <a:cubicBezTo>
                  <a:pt x="409" y="53"/>
                  <a:pt x="409" y="53"/>
                  <a:pt x="409" y="53"/>
                </a:cubicBezTo>
                <a:cubicBezTo>
                  <a:pt x="409" y="54"/>
                  <a:pt x="409" y="54"/>
                  <a:pt x="409" y="54"/>
                </a:cubicBezTo>
                <a:cubicBezTo>
                  <a:pt x="408" y="54"/>
                  <a:pt x="408" y="54"/>
                  <a:pt x="408" y="54"/>
                </a:cubicBezTo>
                <a:cubicBezTo>
                  <a:pt x="407" y="55"/>
                  <a:pt x="407" y="55"/>
                  <a:pt x="407" y="55"/>
                </a:cubicBezTo>
                <a:cubicBezTo>
                  <a:pt x="407" y="56"/>
                  <a:pt x="407" y="56"/>
                  <a:pt x="407" y="56"/>
                </a:cubicBezTo>
                <a:cubicBezTo>
                  <a:pt x="408" y="56"/>
                  <a:pt x="408" y="56"/>
                  <a:pt x="408" y="56"/>
                </a:cubicBezTo>
                <a:cubicBezTo>
                  <a:pt x="408" y="57"/>
                  <a:pt x="408" y="57"/>
                  <a:pt x="408" y="57"/>
                </a:cubicBezTo>
                <a:cubicBezTo>
                  <a:pt x="408" y="58"/>
                  <a:pt x="408" y="58"/>
                  <a:pt x="408" y="58"/>
                </a:cubicBezTo>
                <a:cubicBezTo>
                  <a:pt x="408" y="59"/>
                  <a:pt x="408" y="59"/>
                  <a:pt x="408" y="59"/>
                </a:cubicBezTo>
                <a:cubicBezTo>
                  <a:pt x="408" y="59"/>
                  <a:pt x="408" y="59"/>
                  <a:pt x="408" y="59"/>
                </a:cubicBezTo>
                <a:cubicBezTo>
                  <a:pt x="408" y="60"/>
                  <a:pt x="408" y="60"/>
                  <a:pt x="408" y="60"/>
                </a:cubicBezTo>
                <a:cubicBezTo>
                  <a:pt x="408" y="60"/>
                  <a:pt x="408" y="60"/>
                  <a:pt x="408" y="60"/>
                </a:cubicBezTo>
                <a:cubicBezTo>
                  <a:pt x="409" y="61"/>
                  <a:pt x="409" y="61"/>
                  <a:pt x="409" y="61"/>
                </a:cubicBezTo>
                <a:cubicBezTo>
                  <a:pt x="409" y="61"/>
                  <a:pt x="409" y="61"/>
                  <a:pt x="409" y="61"/>
                </a:cubicBezTo>
                <a:cubicBezTo>
                  <a:pt x="408" y="62"/>
                  <a:pt x="408" y="62"/>
                  <a:pt x="408" y="62"/>
                </a:cubicBezTo>
                <a:cubicBezTo>
                  <a:pt x="408" y="62"/>
                  <a:pt x="408" y="62"/>
                  <a:pt x="408" y="62"/>
                </a:cubicBezTo>
                <a:cubicBezTo>
                  <a:pt x="408" y="63"/>
                  <a:pt x="408" y="63"/>
                  <a:pt x="408" y="63"/>
                </a:cubicBezTo>
                <a:cubicBezTo>
                  <a:pt x="409" y="65"/>
                  <a:pt x="409" y="65"/>
                  <a:pt x="409" y="65"/>
                </a:cubicBezTo>
                <a:cubicBezTo>
                  <a:pt x="409" y="65"/>
                  <a:pt x="409" y="65"/>
                  <a:pt x="409" y="65"/>
                </a:cubicBezTo>
                <a:cubicBezTo>
                  <a:pt x="409" y="66"/>
                  <a:pt x="409" y="66"/>
                  <a:pt x="409" y="66"/>
                </a:cubicBezTo>
                <a:cubicBezTo>
                  <a:pt x="408" y="66"/>
                  <a:pt x="408" y="66"/>
                  <a:pt x="408" y="66"/>
                </a:cubicBezTo>
                <a:cubicBezTo>
                  <a:pt x="408" y="67"/>
                  <a:pt x="408" y="67"/>
                  <a:pt x="408" y="67"/>
                </a:cubicBezTo>
                <a:cubicBezTo>
                  <a:pt x="408" y="68"/>
                  <a:pt x="408" y="68"/>
                  <a:pt x="408" y="68"/>
                </a:cubicBezTo>
                <a:cubicBezTo>
                  <a:pt x="408" y="68"/>
                  <a:pt x="408" y="68"/>
                  <a:pt x="408" y="68"/>
                </a:cubicBezTo>
                <a:cubicBezTo>
                  <a:pt x="409" y="69"/>
                  <a:pt x="409" y="69"/>
                  <a:pt x="409" y="69"/>
                </a:cubicBezTo>
                <a:cubicBezTo>
                  <a:pt x="408" y="69"/>
                  <a:pt x="408" y="69"/>
                  <a:pt x="408" y="69"/>
                </a:cubicBezTo>
                <a:cubicBezTo>
                  <a:pt x="408" y="70"/>
                  <a:pt x="408" y="70"/>
                  <a:pt x="408" y="70"/>
                </a:cubicBezTo>
                <a:cubicBezTo>
                  <a:pt x="408" y="70"/>
                  <a:pt x="408" y="70"/>
                  <a:pt x="408" y="70"/>
                </a:cubicBezTo>
                <a:cubicBezTo>
                  <a:pt x="408" y="71"/>
                  <a:pt x="408" y="71"/>
                  <a:pt x="408" y="71"/>
                </a:cubicBezTo>
                <a:cubicBezTo>
                  <a:pt x="408" y="72"/>
                  <a:pt x="408" y="72"/>
                  <a:pt x="408" y="72"/>
                </a:cubicBezTo>
                <a:cubicBezTo>
                  <a:pt x="407" y="73"/>
                  <a:pt x="407" y="73"/>
                  <a:pt x="407" y="73"/>
                </a:cubicBezTo>
                <a:cubicBezTo>
                  <a:pt x="408" y="74"/>
                  <a:pt x="408" y="74"/>
                  <a:pt x="408" y="74"/>
                </a:cubicBezTo>
                <a:cubicBezTo>
                  <a:pt x="408" y="74"/>
                  <a:pt x="408" y="74"/>
                  <a:pt x="408" y="74"/>
                </a:cubicBezTo>
                <a:cubicBezTo>
                  <a:pt x="408" y="75"/>
                  <a:pt x="408" y="75"/>
                  <a:pt x="408" y="75"/>
                </a:cubicBezTo>
                <a:cubicBezTo>
                  <a:pt x="408" y="76"/>
                  <a:pt x="408" y="76"/>
                  <a:pt x="408" y="76"/>
                </a:cubicBezTo>
                <a:cubicBezTo>
                  <a:pt x="408" y="76"/>
                  <a:pt x="408" y="76"/>
                  <a:pt x="408" y="76"/>
                </a:cubicBezTo>
                <a:cubicBezTo>
                  <a:pt x="408" y="77"/>
                  <a:pt x="408" y="77"/>
                  <a:pt x="408" y="77"/>
                </a:cubicBezTo>
                <a:cubicBezTo>
                  <a:pt x="408" y="78"/>
                  <a:pt x="408" y="78"/>
                  <a:pt x="408" y="78"/>
                </a:cubicBezTo>
                <a:cubicBezTo>
                  <a:pt x="407" y="78"/>
                  <a:pt x="407" y="78"/>
                  <a:pt x="407" y="78"/>
                </a:cubicBezTo>
                <a:cubicBezTo>
                  <a:pt x="406" y="78"/>
                  <a:pt x="406" y="78"/>
                  <a:pt x="406" y="78"/>
                </a:cubicBezTo>
                <a:cubicBezTo>
                  <a:pt x="402" y="77"/>
                  <a:pt x="402" y="77"/>
                  <a:pt x="402" y="77"/>
                </a:cubicBezTo>
                <a:cubicBezTo>
                  <a:pt x="402" y="77"/>
                  <a:pt x="402" y="77"/>
                  <a:pt x="402" y="77"/>
                </a:cubicBezTo>
                <a:cubicBezTo>
                  <a:pt x="401" y="76"/>
                  <a:pt x="401" y="76"/>
                  <a:pt x="401" y="76"/>
                </a:cubicBezTo>
                <a:cubicBezTo>
                  <a:pt x="400" y="76"/>
                  <a:pt x="400" y="76"/>
                  <a:pt x="400" y="76"/>
                </a:cubicBezTo>
                <a:cubicBezTo>
                  <a:pt x="399" y="78"/>
                  <a:pt x="399" y="78"/>
                  <a:pt x="399" y="78"/>
                </a:cubicBezTo>
                <a:cubicBezTo>
                  <a:pt x="399" y="79"/>
                  <a:pt x="399" y="79"/>
                  <a:pt x="399" y="79"/>
                </a:cubicBezTo>
                <a:cubicBezTo>
                  <a:pt x="398" y="80"/>
                  <a:pt x="398" y="80"/>
                  <a:pt x="398" y="80"/>
                </a:cubicBezTo>
                <a:cubicBezTo>
                  <a:pt x="397" y="80"/>
                  <a:pt x="397" y="80"/>
                  <a:pt x="397" y="80"/>
                </a:cubicBezTo>
                <a:cubicBezTo>
                  <a:pt x="397" y="80"/>
                  <a:pt x="397" y="80"/>
                  <a:pt x="397" y="80"/>
                </a:cubicBezTo>
                <a:cubicBezTo>
                  <a:pt x="396" y="81"/>
                  <a:pt x="396" y="81"/>
                  <a:pt x="396" y="81"/>
                </a:cubicBezTo>
                <a:cubicBezTo>
                  <a:pt x="397" y="82"/>
                  <a:pt x="397" y="82"/>
                  <a:pt x="397" y="82"/>
                </a:cubicBezTo>
                <a:cubicBezTo>
                  <a:pt x="398" y="84"/>
                  <a:pt x="398" y="84"/>
                  <a:pt x="398" y="84"/>
                </a:cubicBezTo>
                <a:cubicBezTo>
                  <a:pt x="399" y="85"/>
                  <a:pt x="399" y="85"/>
                  <a:pt x="399" y="85"/>
                </a:cubicBezTo>
                <a:cubicBezTo>
                  <a:pt x="399" y="86"/>
                  <a:pt x="399" y="86"/>
                  <a:pt x="399" y="86"/>
                </a:cubicBezTo>
                <a:cubicBezTo>
                  <a:pt x="400" y="87"/>
                  <a:pt x="400" y="87"/>
                  <a:pt x="400" y="87"/>
                </a:cubicBezTo>
                <a:cubicBezTo>
                  <a:pt x="400" y="88"/>
                  <a:pt x="400" y="88"/>
                  <a:pt x="400" y="88"/>
                </a:cubicBezTo>
                <a:cubicBezTo>
                  <a:pt x="400" y="90"/>
                  <a:pt x="400" y="90"/>
                  <a:pt x="400" y="90"/>
                </a:cubicBezTo>
                <a:cubicBezTo>
                  <a:pt x="400" y="91"/>
                  <a:pt x="400" y="91"/>
                  <a:pt x="400" y="91"/>
                </a:cubicBezTo>
                <a:cubicBezTo>
                  <a:pt x="400" y="93"/>
                  <a:pt x="400" y="93"/>
                  <a:pt x="400" y="93"/>
                </a:cubicBezTo>
                <a:cubicBezTo>
                  <a:pt x="401" y="93"/>
                  <a:pt x="401" y="93"/>
                  <a:pt x="401" y="93"/>
                </a:cubicBezTo>
                <a:cubicBezTo>
                  <a:pt x="401" y="95"/>
                  <a:pt x="401" y="95"/>
                  <a:pt x="401" y="95"/>
                </a:cubicBezTo>
                <a:cubicBezTo>
                  <a:pt x="401" y="96"/>
                  <a:pt x="401" y="96"/>
                  <a:pt x="401" y="96"/>
                </a:cubicBezTo>
                <a:cubicBezTo>
                  <a:pt x="401" y="96"/>
                  <a:pt x="401" y="96"/>
                  <a:pt x="401" y="96"/>
                </a:cubicBezTo>
                <a:cubicBezTo>
                  <a:pt x="400" y="97"/>
                  <a:pt x="400" y="97"/>
                  <a:pt x="400" y="97"/>
                </a:cubicBezTo>
                <a:cubicBezTo>
                  <a:pt x="401" y="98"/>
                  <a:pt x="401" y="98"/>
                  <a:pt x="401" y="98"/>
                </a:cubicBezTo>
                <a:cubicBezTo>
                  <a:pt x="401" y="99"/>
                  <a:pt x="401" y="99"/>
                  <a:pt x="401" y="99"/>
                </a:cubicBezTo>
                <a:cubicBezTo>
                  <a:pt x="400" y="99"/>
                  <a:pt x="400" y="99"/>
                  <a:pt x="400" y="99"/>
                </a:cubicBezTo>
                <a:cubicBezTo>
                  <a:pt x="399" y="99"/>
                  <a:pt x="399" y="99"/>
                  <a:pt x="399" y="99"/>
                </a:cubicBezTo>
                <a:cubicBezTo>
                  <a:pt x="398" y="99"/>
                  <a:pt x="398" y="99"/>
                  <a:pt x="398" y="99"/>
                </a:cubicBezTo>
                <a:cubicBezTo>
                  <a:pt x="398" y="100"/>
                  <a:pt x="398" y="100"/>
                  <a:pt x="398" y="100"/>
                </a:cubicBezTo>
                <a:cubicBezTo>
                  <a:pt x="398" y="101"/>
                  <a:pt x="398" y="101"/>
                  <a:pt x="398" y="101"/>
                </a:cubicBezTo>
                <a:cubicBezTo>
                  <a:pt x="399" y="101"/>
                  <a:pt x="399" y="101"/>
                  <a:pt x="399" y="101"/>
                </a:cubicBezTo>
                <a:cubicBezTo>
                  <a:pt x="399" y="102"/>
                  <a:pt x="399" y="102"/>
                  <a:pt x="399" y="102"/>
                </a:cubicBezTo>
                <a:cubicBezTo>
                  <a:pt x="398" y="103"/>
                  <a:pt x="398" y="103"/>
                  <a:pt x="398" y="103"/>
                </a:cubicBezTo>
                <a:cubicBezTo>
                  <a:pt x="393" y="107"/>
                  <a:pt x="393" y="107"/>
                  <a:pt x="393" y="107"/>
                </a:cubicBezTo>
                <a:cubicBezTo>
                  <a:pt x="391" y="116"/>
                  <a:pt x="391" y="116"/>
                  <a:pt x="391" y="116"/>
                </a:cubicBezTo>
                <a:cubicBezTo>
                  <a:pt x="373" y="129"/>
                  <a:pt x="373" y="129"/>
                  <a:pt x="373" y="129"/>
                </a:cubicBezTo>
                <a:cubicBezTo>
                  <a:pt x="370" y="131"/>
                  <a:pt x="370" y="131"/>
                  <a:pt x="370" y="131"/>
                </a:cubicBezTo>
                <a:cubicBezTo>
                  <a:pt x="370" y="131"/>
                  <a:pt x="370" y="131"/>
                  <a:pt x="370" y="131"/>
                </a:cubicBezTo>
                <a:cubicBezTo>
                  <a:pt x="369" y="130"/>
                  <a:pt x="369" y="130"/>
                  <a:pt x="369" y="130"/>
                </a:cubicBezTo>
                <a:cubicBezTo>
                  <a:pt x="367" y="132"/>
                  <a:pt x="367" y="132"/>
                  <a:pt x="367" y="132"/>
                </a:cubicBezTo>
                <a:cubicBezTo>
                  <a:pt x="366" y="132"/>
                  <a:pt x="366" y="132"/>
                  <a:pt x="366" y="132"/>
                </a:cubicBezTo>
                <a:cubicBezTo>
                  <a:pt x="365" y="132"/>
                  <a:pt x="365" y="132"/>
                  <a:pt x="365" y="132"/>
                </a:cubicBezTo>
                <a:cubicBezTo>
                  <a:pt x="365" y="131"/>
                  <a:pt x="365" y="131"/>
                  <a:pt x="365" y="131"/>
                </a:cubicBezTo>
                <a:cubicBezTo>
                  <a:pt x="363" y="133"/>
                  <a:pt x="363" y="133"/>
                  <a:pt x="363" y="133"/>
                </a:cubicBezTo>
                <a:cubicBezTo>
                  <a:pt x="362" y="133"/>
                  <a:pt x="362" y="133"/>
                  <a:pt x="362" y="133"/>
                </a:cubicBezTo>
                <a:cubicBezTo>
                  <a:pt x="361" y="134"/>
                  <a:pt x="361" y="134"/>
                  <a:pt x="361" y="134"/>
                </a:cubicBezTo>
                <a:cubicBezTo>
                  <a:pt x="361" y="134"/>
                  <a:pt x="361" y="134"/>
                  <a:pt x="361" y="134"/>
                </a:cubicBezTo>
                <a:cubicBezTo>
                  <a:pt x="358" y="136"/>
                  <a:pt x="358" y="136"/>
                  <a:pt x="358" y="136"/>
                </a:cubicBezTo>
                <a:cubicBezTo>
                  <a:pt x="356" y="137"/>
                  <a:pt x="356" y="137"/>
                  <a:pt x="356" y="137"/>
                </a:cubicBezTo>
                <a:cubicBezTo>
                  <a:pt x="357" y="138"/>
                  <a:pt x="357" y="138"/>
                  <a:pt x="357" y="138"/>
                </a:cubicBezTo>
                <a:cubicBezTo>
                  <a:pt x="357" y="139"/>
                  <a:pt x="357" y="139"/>
                  <a:pt x="357" y="139"/>
                </a:cubicBezTo>
                <a:cubicBezTo>
                  <a:pt x="355" y="140"/>
                  <a:pt x="355" y="140"/>
                  <a:pt x="355" y="140"/>
                </a:cubicBezTo>
                <a:cubicBezTo>
                  <a:pt x="354" y="141"/>
                  <a:pt x="354" y="141"/>
                  <a:pt x="354" y="141"/>
                </a:cubicBezTo>
                <a:cubicBezTo>
                  <a:pt x="353" y="141"/>
                  <a:pt x="353" y="141"/>
                  <a:pt x="353" y="141"/>
                </a:cubicBezTo>
                <a:cubicBezTo>
                  <a:pt x="352" y="142"/>
                  <a:pt x="352" y="142"/>
                  <a:pt x="352" y="142"/>
                </a:cubicBezTo>
                <a:cubicBezTo>
                  <a:pt x="352" y="142"/>
                  <a:pt x="352" y="142"/>
                  <a:pt x="352" y="142"/>
                </a:cubicBezTo>
                <a:cubicBezTo>
                  <a:pt x="351" y="141"/>
                  <a:pt x="351" y="141"/>
                  <a:pt x="351" y="141"/>
                </a:cubicBezTo>
                <a:cubicBezTo>
                  <a:pt x="350" y="141"/>
                  <a:pt x="350" y="141"/>
                  <a:pt x="350" y="141"/>
                </a:cubicBezTo>
                <a:cubicBezTo>
                  <a:pt x="351" y="140"/>
                  <a:pt x="351" y="140"/>
                  <a:pt x="351" y="140"/>
                </a:cubicBezTo>
                <a:cubicBezTo>
                  <a:pt x="352" y="140"/>
                  <a:pt x="352" y="140"/>
                  <a:pt x="352" y="140"/>
                </a:cubicBezTo>
                <a:cubicBezTo>
                  <a:pt x="353" y="139"/>
                  <a:pt x="353" y="139"/>
                  <a:pt x="353" y="139"/>
                </a:cubicBezTo>
                <a:cubicBezTo>
                  <a:pt x="354" y="139"/>
                  <a:pt x="354" y="139"/>
                  <a:pt x="354" y="139"/>
                </a:cubicBezTo>
                <a:cubicBezTo>
                  <a:pt x="355" y="138"/>
                  <a:pt x="355" y="138"/>
                  <a:pt x="355" y="138"/>
                </a:cubicBezTo>
                <a:cubicBezTo>
                  <a:pt x="355" y="138"/>
                  <a:pt x="355" y="138"/>
                  <a:pt x="355" y="138"/>
                </a:cubicBezTo>
                <a:cubicBezTo>
                  <a:pt x="354" y="138"/>
                  <a:pt x="354" y="138"/>
                  <a:pt x="354" y="138"/>
                </a:cubicBezTo>
                <a:cubicBezTo>
                  <a:pt x="354" y="137"/>
                  <a:pt x="354" y="137"/>
                  <a:pt x="354" y="137"/>
                </a:cubicBezTo>
                <a:cubicBezTo>
                  <a:pt x="355" y="136"/>
                  <a:pt x="355" y="136"/>
                  <a:pt x="355" y="136"/>
                </a:cubicBezTo>
                <a:cubicBezTo>
                  <a:pt x="356" y="135"/>
                  <a:pt x="356" y="135"/>
                  <a:pt x="356" y="135"/>
                </a:cubicBezTo>
                <a:cubicBezTo>
                  <a:pt x="354" y="136"/>
                  <a:pt x="354" y="136"/>
                  <a:pt x="354" y="136"/>
                </a:cubicBezTo>
                <a:cubicBezTo>
                  <a:pt x="353" y="137"/>
                  <a:pt x="353" y="137"/>
                  <a:pt x="353" y="137"/>
                </a:cubicBezTo>
                <a:cubicBezTo>
                  <a:pt x="352" y="136"/>
                  <a:pt x="352" y="136"/>
                  <a:pt x="352" y="136"/>
                </a:cubicBezTo>
                <a:cubicBezTo>
                  <a:pt x="352" y="135"/>
                  <a:pt x="352" y="135"/>
                  <a:pt x="352" y="135"/>
                </a:cubicBezTo>
                <a:cubicBezTo>
                  <a:pt x="353" y="135"/>
                  <a:pt x="353" y="135"/>
                  <a:pt x="353" y="135"/>
                </a:cubicBezTo>
                <a:cubicBezTo>
                  <a:pt x="353" y="134"/>
                  <a:pt x="353" y="134"/>
                  <a:pt x="353" y="134"/>
                </a:cubicBezTo>
                <a:cubicBezTo>
                  <a:pt x="351" y="133"/>
                  <a:pt x="351" y="133"/>
                  <a:pt x="351" y="133"/>
                </a:cubicBezTo>
                <a:cubicBezTo>
                  <a:pt x="352" y="131"/>
                  <a:pt x="352" y="131"/>
                  <a:pt x="352" y="131"/>
                </a:cubicBezTo>
                <a:cubicBezTo>
                  <a:pt x="352" y="131"/>
                  <a:pt x="352" y="131"/>
                  <a:pt x="352" y="131"/>
                </a:cubicBezTo>
                <a:cubicBezTo>
                  <a:pt x="353" y="131"/>
                  <a:pt x="353" y="131"/>
                  <a:pt x="353" y="131"/>
                </a:cubicBezTo>
                <a:cubicBezTo>
                  <a:pt x="353" y="129"/>
                  <a:pt x="353" y="129"/>
                  <a:pt x="353" y="129"/>
                </a:cubicBezTo>
                <a:cubicBezTo>
                  <a:pt x="354" y="127"/>
                  <a:pt x="354" y="127"/>
                  <a:pt x="354" y="127"/>
                </a:cubicBezTo>
                <a:cubicBezTo>
                  <a:pt x="354" y="126"/>
                  <a:pt x="354" y="126"/>
                  <a:pt x="354" y="126"/>
                </a:cubicBezTo>
                <a:cubicBezTo>
                  <a:pt x="355" y="126"/>
                  <a:pt x="355" y="126"/>
                  <a:pt x="355" y="126"/>
                </a:cubicBezTo>
                <a:cubicBezTo>
                  <a:pt x="355" y="125"/>
                  <a:pt x="355" y="125"/>
                  <a:pt x="355" y="125"/>
                </a:cubicBezTo>
                <a:cubicBezTo>
                  <a:pt x="352" y="123"/>
                  <a:pt x="352" y="123"/>
                  <a:pt x="352" y="123"/>
                </a:cubicBezTo>
                <a:cubicBezTo>
                  <a:pt x="350" y="121"/>
                  <a:pt x="350" y="121"/>
                  <a:pt x="350" y="121"/>
                </a:cubicBezTo>
                <a:cubicBezTo>
                  <a:pt x="350" y="122"/>
                  <a:pt x="350" y="122"/>
                  <a:pt x="350" y="122"/>
                </a:cubicBezTo>
                <a:cubicBezTo>
                  <a:pt x="349" y="122"/>
                  <a:pt x="349" y="122"/>
                  <a:pt x="349" y="122"/>
                </a:cubicBezTo>
                <a:cubicBezTo>
                  <a:pt x="348" y="122"/>
                  <a:pt x="348" y="122"/>
                  <a:pt x="348" y="122"/>
                </a:cubicBezTo>
                <a:cubicBezTo>
                  <a:pt x="347" y="122"/>
                  <a:pt x="347" y="122"/>
                  <a:pt x="347" y="122"/>
                </a:cubicBezTo>
                <a:cubicBezTo>
                  <a:pt x="346" y="123"/>
                  <a:pt x="346" y="123"/>
                  <a:pt x="346" y="123"/>
                </a:cubicBezTo>
                <a:cubicBezTo>
                  <a:pt x="345" y="124"/>
                  <a:pt x="345" y="124"/>
                  <a:pt x="345" y="124"/>
                </a:cubicBezTo>
                <a:cubicBezTo>
                  <a:pt x="345" y="125"/>
                  <a:pt x="345" y="125"/>
                  <a:pt x="345" y="125"/>
                </a:cubicBezTo>
                <a:cubicBezTo>
                  <a:pt x="344" y="126"/>
                  <a:pt x="344" y="126"/>
                  <a:pt x="344" y="126"/>
                </a:cubicBezTo>
                <a:cubicBezTo>
                  <a:pt x="344" y="129"/>
                  <a:pt x="344" y="129"/>
                  <a:pt x="344" y="129"/>
                </a:cubicBezTo>
                <a:cubicBezTo>
                  <a:pt x="343" y="129"/>
                  <a:pt x="343" y="129"/>
                  <a:pt x="343" y="129"/>
                </a:cubicBezTo>
                <a:cubicBezTo>
                  <a:pt x="342" y="131"/>
                  <a:pt x="342" y="131"/>
                  <a:pt x="342" y="131"/>
                </a:cubicBezTo>
                <a:cubicBezTo>
                  <a:pt x="341" y="131"/>
                  <a:pt x="341" y="131"/>
                  <a:pt x="341" y="131"/>
                </a:cubicBezTo>
                <a:cubicBezTo>
                  <a:pt x="339" y="132"/>
                  <a:pt x="339" y="132"/>
                  <a:pt x="339" y="132"/>
                </a:cubicBezTo>
                <a:cubicBezTo>
                  <a:pt x="338" y="135"/>
                  <a:pt x="338" y="135"/>
                  <a:pt x="338" y="135"/>
                </a:cubicBezTo>
                <a:cubicBezTo>
                  <a:pt x="337" y="136"/>
                  <a:pt x="337" y="136"/>
                  <a:pt x="337" y="136"/>
                </a:cubicBezTo>
                <a:cubicBezTo>
                  <a:pt x="338" y="136"/>
                  <a:pt x="338" y="136"/>
                  <a:pt x="338" y="136"/>
                </a:cubicBezTo>
                <a:cubicBezTo>
                  <a:pt x="338" y="138"/>
                  <a:pt x="338" y="138"/>
                  <a:pt x="338" y="138"/>
                </a:cubicBezTo>
                <a:cubicBezTo>
                  <a:pt x="337" y="138"/>
                  <a:pt x="337" y="138"/>
                  <a:pt x="337" y="138"/>
                </a:cubicBezTo>
                <a:cubicBezTo>
                  <a:pt x="338" y="138"/>
                  <a:pt x="338" y="138"/>
                  <a:pt x="338" y="138"/>
                </a:cubicBezTo>
                <a:cubicBezTo>
                  <a:pt x="337" y="140"/>
                  <a:pt x="337" y="140"/>
                  <a:pt x="337" y="140"/>
                </a:cubicBezTo>
                <a:cubicBezTo>
                  <a:pt x="335" y="140"/>
                  <a:pt x="335" y="140"/>
                  <a:pt x="335" y="140"/>
                </a:cubicBezTo>
                <a:cubicBezTo>
                  <a:pt x="333" y="140"/>
                  <a:pt x="333" y="140"/>
                  <a:pt x="333" y="140"/>
                </a:cubicBezTo>
                <a:cubicBezTo>
                  <a:pt x="331" y="139"/>
                  <a:pt x="331" y="139"/>
                  <a:pt x="331" y="139"/>
                </a:cubicBezTo>
                <a:cubicBezTo>
                  <a:pt x="331" y="140"/>
                  <a:pt x="331" y="140"/>
                  <a:pt x="331" y="140"/>
                </a:cubicBezTo>
                <a:cubicBezTo>
                  <a:pt x="330" y="140"/>
                  <a:pt x="330" y="140"/>
                  <a:pt x="330" y="140"/>
                </a:cubicBezTo>
                <a:cubicBezTo>
                  <a:pt x="330" y="142"/>
                  <a:pt x="330" y="142"/>
                  <a:pt x="330" y="142"/>
                </a:cubicBezTo>
                <a:cubicBezTo>
                  <a:pt x="330" y="142"/>
                  <a:pt x="330" y="142"/>
                  <a:pt x="330" y="142"/>
                </a:cubicBezTo>
                <a:cubicBezTo>
                  <a:pt x="330" y="143"/>
                  <a:pt x="330" y="143"/>
                  <a:pt x="330" y="143"/>
                </a:cubicBezTo>
                <a:cubicBezTo>
                  <a:pt x="329" y="143"/>
                  <a:pt x="329" y="143"/>
                  <a:pt x="329" y="143"/>
                </a:cubicBezTo>
                <a:cubicBezTo>
                  <a:pt x="330" y="145"/>
                  <a:pt x="330" y="145"/>
                  <a:pt x="330" y="145"/>
                </a:cubicBezTo>
                <a:cubicBezTo>
                  <a:pt x="330" y="146"/>
                  <a:pt x="330" y="146"/>
                  <a:pt x="330" y="146"/>
                </a:cubicBezTo>
                <a:cubicBezTo>
                  <a:pt x="331" y="147"/>
                  <a:pt x="331" y="147"/>
                  <a:pt x="331" y="147"/>
                </a:cubicBezTo>
                <a:cubicBezTo>
                  <a:pt x="333" y="148"/>
                  <a:pt x="333" y="148"/>
                  <a:pt x="333" y="148"/>
                </a:cubicBezTo>
                <a:cubicBezTo>
                  <a:pt x="334" y="149"/>
                  <a:pt x="334" y="149"/>
                  <a:pt x="334" y="149"/>
                </a:cubicBezTo>
                <a:cubicBezTo>
                  <a:pt x="335" y="151"/>
                  <a:pt x="335" y="151"/>
                  <a:pt x="335" y="151"/>
                </a:cubicBezTo>
                <a:cubicBezTo>
                  <a:pt x="335" y="150"/>
                  <a:pt x="335" y="150"/>
                  <a:pt x="335" y="150"/>
                </a:cubicBezTo>
                <a:cubicBezTo>
                  <a:pt x="335" y="151"/>
                  <a:pt x="335" y="151"/>
                  <a:pt x="335" y="151"/>
                </a:cubicBezTo>
                <a:cubicBezTo>
                  <a:pt x="336" y="150"/>
                  <a:pt x="336" y="150"/>
                  <a:pt x="336" y="150"/>
                </a:cubicBezTo>
                <a:cubicBezTo>
                  <a:pt x="336" y="150"/>
                  <a:pt x="336" y="150"/>
                  <a:pt x="336" y="150"/>
                </a:cubicBezTo>
                <a:cubicBezTo>
                  <a:pt x="336" y="151"/>
                  <a:pt x="336" y="151"/>
                  <a:pt x="336" y="151"/>
                </a:cubicBezTo>
                <a:cubicBezTo>
                  <a:pt x="337" y="150"/>
                  <a:pt x="337" y="150"/>
                  <a:pt x="337" y="150"/>
                </a:cubicBezTo>
                <a:cubicBezTo>
                  <a:pt x="339" y="150"/>
                  <a:pt x="339" y="150"/>
                  <a:pt x="339" y="150"/>
                </a:cubicBezTo>
                <a:cubicBezTo>
                  <a:pt x="339" y="151"/>
                  <a:pt x="339" y="151"/>
                  <a:pt x="339" y="151"/>
                </a:cubicBezTo>
                <a:cubicBezTo>
                  <a:pt x="339" y="153"/>
                  <a:pt x="339" y="153"/>
                  <a:pt x="339" y="153"/>
                </a:cubicBezTo>
                <a:cubicBezTo>
                  <a:pt x="341" y="157"/>
                  <a:pt x="341" y="157"/>
                  <a:pt x="341" y="157"/>
                </a:cubicBezTo>
                <a:cubicBezTo>
                  <a:pt x="342" y="157"/>
                  <a:pt x="342" y="157"/>
                  <a:pt x="342" y="157"/>
                </a:cubicBezTo>
                <a:cubicBezTo>
                  <a:pt x="344" y="156"/>
                  <a:pt x="344" y="156"/>
                  <a:pt x="344" y="156"/>
                </a:cubicBezTo>
                <a:cubicBezTo>
                  <a:pt x="345" y="156"/>
                  <a:pt x="345" y="156"/>
                  <a:pt x="345" y="156"/>
                </a:cubicBezTo>
                <a:cubicBezTo>
                  <a:pt x="345" y="156"/>
                  <a:pt x="345" y="156"/>
                  <a:pt x="345" y="156"/>
                </a:cubicBezTo>
                <a:cubicBezTo>
                  <a:pt x="346" y="155"/>
                  <a:pt x="346" y="155"/>
                  <a:pt x="346" y="155"/>
                </a:cubicBezTo>
                <a:cubicBezTo>
                  <a:pt x="345" y="154"/>
                  <a:pt x="345" y="154"/>
                  <a:pt x="345" y="154"/>
                </a:cubicBezTo>
                <a:cubicBezTo>
                  <a:pt x="345" y="154"/>
                  <a:pt x="345" y="154"/>
                  <a:pt x="345" y="154"/>
                </a:cubicBezTo>
                <a:cubicBezTo>
                  <a:pt x="347" y="153"/>
                  <a:pt x="347" y="153"/>
                  <a:pt x="347" y="153"/>
                </a:cubicBezTo>
                <a:cubicBezTo>
                  <a:pt x="348" y="152"/>
                  <a:pt x="348" y="152"/>
                  <a:pt x="348" y="152"/>
                </a:cubicBezTo>
                <a:cubicBezTo>
                  <a:pt x="348" y="151"/>
                  <a:pt x="348" y="151"/>
                  <a:pt x="348" y="151"/>
                </a:cubicBezTo>
                <a:cubicBezTo>
                  <a:pt x="347" y="151"/>
                  <a:pt x="347" y="151"/>
                  <a:pt x="347" y="151"/>
                </a:cubicBezTo>
                <a:cubicBezTo>
                  <a:pt x="349" y="151"/>
                  <a:pt x="349" y="151"/>
                  <a:pt x="349" y="151"/>
                </a:cubicBezTo>
                <a:cubicBezTo>
                  <a:pt x="352" y="149"/>
                  <a:pt x="352" y="149"/>
                  <a:pt x="352" y="149"/>
                </a:cubicBezTo>
                <a:cubicBezTo>
                  <a:pt x="352" y="150"/>
                  <a:pt x="352" y="150"/>
                  <a:pt x="352" y="150"/>
                </a:cubicBezTo>
                <a:cubicBezTo>
                  <a:pt x="353" y="150"/>
                  <a:pt x="353" y="150"/>
                  <a:pt x="353" y="150"/>
                </a:cubicBezTo>
                <a:cubicBezTo>
                  <a:pt x="353" y="151"/>
                  <a:pt x="353" y="151"/>
                  <a:pt x="353" y="151"/>
                </a:cubicBezTo>
                <a:cubicBezTo>
                  <a:pt x="354" y="152"/>
                  <a:pt x="354" y="152"/>
                  <a:pt x="354" y="152"/>
                </a:cubicBezTo>
                <a:cubicBezTo>
                  <a:pt x="355" y="152"/>
                  <a:pt x="355" y="152"/>
                  <a:pt x="355" y="152"/>
                </a:cubicBezTo>
                <a:cubicBezTo>
                  <a:pt x="359" y="152"/>
                  <a:pt x="359" y="152"/>
                  <a:pt x="359" y="152"/>
                </a:cubicBezTo>
                <a:cubicBezTo>
                  <a:pt x="359" y="152"/>
                  <a:pt x="359" y="152"/>
                  <a:pt x="359" y="152"/>
                </a:cubicBezTo>
                <a:cubicBezTo>
                  <a:pt x="361" y="152"/>
                  <a:pt x="361" y="152"/>
                  <a:pt x="361" y="152"/>
                </a:cubicBezTo>
                <a:cubicBezTo>
                  <a:pt x="361" y="152"/>
                  <a:pt x="361" y="152"/>
                  <a:pt x="361" y="152"/>
                </a:cubicBezTo>
                <a:cubicBezTo>
                  <a:pt x="362" y="152"/>
                  <a:pt x="362" y="152"/>
                  <a:pt x="362" y="152"/>
                </a:cubicBezTo>
                <a:cubicBezTo>
                  <a:pt x="364" y="152"/>
                  <a:pt x="364" y="152"/>
                  <a:pt x="364" y="152"/>
                </a:cubicBezTo>
                <a:cubicBezTo>
                  <a:pt x="365" y="152"/>
                  <a:pt x="365" y="152"/>
                  <a:pt x="365" y="152"/>
                </a:cubicBezTo>
                <a:cubicBezTo>
                  <a:pt x="363" y="153"/>
                  <a:pt x="363" y="153"/>
                  <a:pt x="363" y="153"/>
                </a:cubicBezTo>
                <a:cubicBezTo>
                  <a:pt x="363" y="153"/>
                  <a:pt x="363" y="153"/>
                  <a:pt x="363" y="153"/>
                </a:cubicBezTo>
                <a:cubicBezTo>
                  <a:pt x="364" y="155"/>
                  <a:pt x="364" y="155"/>
                  <a:pt x="364" y="155"/>
                </a:cubicBezTo>
                <a:cubicBezTo>
                  <a:pt x="364" y="155"/>
                  <a:pt x="364" y="155"/>
                  <a:pt x="364" y="155"/>
                </a:cubicBezTo>
                <a:cubicBezTo>
                  <a:pt x="363" y="155"/>
                  <a:pt x="363" y="155"/>
                  <a:pt x="363" y="155"/>
                </a:cubicBezTo>
                <a:cubicBezTo>
                  <a:pt x="363" y="156"/>
                  <a:pt x="363" y="156"/>
                  <a:pt x="363" y="156"/>
                </a:cubicBezTo>
                <a:cubicBezTo>
                  <a:pt x="364" y="157"/>
                  <a:pt x="364" y="157"/>
                  <a:pt x="364" y="157"/>
                </a:cubicBezTo>
                <a:cubicBezTo>
                  <a:pt x="364" y="157"/>
                  <a:pt x="364" y="157"/>
                  <a:pt x="364" y="157"/>
                </a:cubicBezTo>
                <a:cubicBezTo>
                  <a:pt x="362" y="159"/>
                  <a:pt x="362" y="159"/>
                  <a:pt x="362" y="159"/>
                </a:cubicBezTo>
                <a:cubicBezTo>
                  <a:pt x="361" y="158"/>
                  <a:pt x="361" y="158"/>
                  <a:pt x="361" y="158"/>
                </a:cubicBezTo>
                <a:cubicBezTo>
                  <a:pt x="361" y="157"/>
                  <a:pt x="361" y="157"/>
                  <a:pt x="361" y="157"/>
                </a:cubicBezTo>
                <a:cubicBezTo>
                  <a:pt x="360" y="158"/>
                  <a:pt x="360" y="158"/>
                  <a:pt x="360" y="158"/>
                </a:cubicBezTo>
                <a:cubicBezTo>
                  <a:pt x="360" y="157"/>
                  <a:pt x="360" y="157"/>
                  <a:pt x="360" y="157"/>
                </a:cubicBezTo>
                <a:cubicBezTo>
                  <a:pt x="358" y="159"/>
                  <a:pt x="358" y="159"/>
                  <a:pt x="358" y="159"/>
                </a:cubicBezTo>
                <a:cubicBezTo>
                  <a:pt x="358" y="159"/>
                  <a:pt x="358" y="159"/>
                  <a:pt x="358" y="159"/>
                </a:cubicBezTo>
                <a:cubicBezTo>
                  <a:pt x="356" y="160"/>
                  <a:pt x="356" y="160"/>
                  <a:pt x="356" y="160"/>
                </a:cubicBezTo>
                <a:cubicBezTo>
                  <a:pt x="355" y="159"/>
                  <a:pt x="355" y="159"/>
                  <a:pt x="355" y="159"/>
                </a:cubicBezTo>
                <a:cubicBezTo>
                  <a:pt x="355" y="160"/>
                  <a:pt x="355" y="160"/>
                  <a:pt x="355" y="160"/>
                </a:cubicBezTo>
                <a:cubicBezTo>
                  <a:pt x="354" y="159"/>
                  <a:pt x="354" y="159"/>
                  <a:pt x="354" y="159"/>
                </a:cubicBezTo>
                <a:cubicBezTo>
                  <a:pt x="353" y="160"/>
                  <a:pt x="353" y="160"/>
                  <a:pt x="353" y="160"/>
                </a:cubicBezTo>
                <a:cubicBezTo>
                  <a:pt x="354" y="161"/>
                  <a:pt x="354" y="161"/>
                  <a:pt x="354" y="161"/>
                </a:cubicBezTo>
                <a:cubicBezTo>
                  <a:pt x="354" y="161"/>
                  <a:pt x="354" y="161"/>
                  <a:pt x="354" y="161"/>
                </a:cubicBezTo>
                <a:cubicBezTo>
                  <a:pt x="353" y="162"/>
                  <a:pt x="353" y="162"/>
                  <a:pt x="353" y="162"/>
                </a:cubicBezTo>
                <a:cubicBezTo>
                  <a:pt x="353" y="163"/>
                  <a:pt x="353" y="163"/>
                  <a:pt x="353" y="163"/>
                </a:cubicBezTo>
                <a:cubicBezTo>
                  <a:pt x="351" y="163"/>
                  <a:pt x="351" y="163"/>
                  <a:pt x="351" y="163"/>
                </a:cubicBezTo>
                <a:cubicBezTo>
                  <a:pt x="350" y="164"/>
                  <a:pt x="350" y="164"/>
                  <a:pt x="350" y="164"/>
                </a:cubicBezTo>
                <a:cubicBezTo>
                  <a:pt x="350" y="165"/>
                  <a:pt x="350" y="165"/>
                  <a:pt x="350" y="165"/>
                </a:cubicBezTo>
                <a:cubicBezTo>
                  <a:pt x="351" y="166"/>
                  <a:pt x="351" y="166"/>
                  <a:pt x="351" y="166"/>
                </a:cubicBezTo>
                <a:cubicBezTo>
                  <a:pt x="350" y="167"/>
                  <a:pt x="350" y="167"/>
                  <a:pt x="350" y="167"/>
                </a:cubicBezTo>
                <a:cubicBezTo>
                  <a:pt x="350" y="167"/>
                  <a:pt x="350" y="167"/>
                  <a:pt x="350" y="167"/>
                </a:cubicBezTo>
                <a:cubicBezTo>
                  <a:pt x="348" y="168"/>
                  <a:pt x="348" y="168"/>
                  <a:pt x="348" y="168"/>
                </a:cubicBezTo>
                <a:cubicBezTo>
                  <a:pt x="348" y="169"/>
                  <a:pt x="348" y="169"/>
                  <a:pt x="348" y="169"/>
                </a:cubicBezTo>
                <a:cubicBezTo>
                  <a:pt x="347" y="168"/>
                  <a:pt x="347" y="168"/>
                  <a:pt x="347" y="168"/>
                </a:cubicBezTo>
                <a:cubicBezTo>
                  <a:pt x="347" y="170"/>
                  <a:pt x="347" y="170"/>
                  <a:pt x="347" y="170"/>
                </a:cubicBezTo>
                <a:cubicBezTo>
                  <a:pt x="347" y="172"/>
                  <a:pt x="347" y="172"/>
                  <a:pt x="347" y="172"/>
                </a:cubicBezTo>
                <a:cubicBezTo>
                  <a:pt x="347" y="174"/>
                  <a:pt x="347" y="174"/>
                  <a:pt x="347" y="174"/>
                </a:cubicBezTo>
                <a:cubicBezTo>
                  <a:pt x="347" y="177"/>
                  <a:pt x="347" y="177"/>
                  <a:pt x="347" y="177"/>
                </a:cubicBezTo>
                <a:cubicBezTo>
                  <a:pt x="347" y="177"/>
                  <a:pt x="347" y="177"/>
                  <a:pt x="347" y="177"/>
                </a:cubicBezTo>
                <a:cubicBezTo>
                  <a:pt x="351" y="178"/>
                  <a:pt x="351" y="178"/>
                  <a:pt x="351" y="178"/>
                </a:cubicBezTo>
                <a:cubicBezTo>
                  <a:pt x="351" y="179"/>
                  <a:pt x="351" y="179"/>
                  <a:pt x="351" y="179"/>
                </a:cubicBezTo>
                <a:cubicBezTo>
                  <a:pt x="351" y="179"/>
                  <a:pt x="351" y="179"/>
                  <a:pt x="351" y="179"/>
                </a:cubicBezTo>
                <a:cubicBezTo>
                  <a:pt x="355" y="180"/>
                  <a:pt x="355" y="180"/>
                  <a:pt x="355" y="180"/>
                </a:cubicBezTo>
                <a:cubicBezTo>
                  <a:pt x="357" y="184"/>
                  <a:pt x="357" y="184"/>
                  <a:pt x="357" y="184"/>
                </a:cubicBezTo>
                <a:cubicBezTo>
                  <a:pt x="357" y="185"/>
                  <a:pt x="357" y="185"/>
                  <a:pt x="357" y="185"/>
                </a:cubicBezTo>
                <a:cubicBezTo>
                  <a:pt x="357" y="186"/>
                  <a:pt x="357" y="186"/>
                  <a:pt x="357" y="186"/>
                </a:cubicBezTo>
                <a:cubicBezTo>
                  <a:pt x="358" y="186"/>
                  <a:pt x="358" y="186"/>
                  <a:pt x="358" y="186"/>
                </a:cubicBezTo>
                <a:cubicBezTo>
                  <a:pt x="358" y="188"/>
                  <a:pt x="358" y="188"/>
                  <a:pt x="358" y="188"/>
                </a:cubicBezTo>
                <a:cubicBezTo>
                  <a:pt x="360" y="190"/>
                  <a:pt x="360" y="190"/>
                  <a:pt x="360" y="190"/>
                </a:cubicBezTo>
                <a:cubicBezTo>
                  <a:pt x="360" y="192"/>
                  <a:pt x="360" y="192"/>
                  <a:pt x="360" y="192"/>
                </a:cubicBezTo>
                <a:cubicBezTo>
                  <a:pt x="362" y="194"/>
                  <a:pt x="362" y="194"/>
                  <a:pt x="362" y="194"/>
                </a:cubicBezTo>
                <a:cubicBezTo>
                  <a:pt x="363" y="195"/>
                  <a:pt x="363" y="195"/>
                  <a:pt x="363" y="195"/>
                </a:cubicBezTo>
                <a:cubicBezTo>
                  <a:pt x="365" y="195"/>
                  <a:pt x="365" y="195"/>
                  <a:pt x="365" y="195"/>
                </a:cubicBezTo>
                <a:cubicBezTo>
                  <a:pt x="365" y="195"/>
                  <a:pt x="365" y="195"/>
                  <a:pt x="365" y="195"/>
                </a:cubicBezTo>
                <a:cubicBezTo>
                  <a:pt x="365" y="196"/>
                  <a:pt x="365" y="196"/>
                  <a:pt x="365" y="196"/>
                </a:cubicBezTo>
                <a:cubicBezTo>
                  <a:pt x="367" y="197"/>
                  <a:pt x="367" y="197"/>
                  <a:pt x="367" y="197"/>
                </a:cubicBezTo>
                <a:cubicBezTo>
                  <a:pt x="368" y="198"/>
                  <a:pt x="368" y="198"/>
                  <a:pt x="368" y="198"/>
                </a:cubicBezTo>
                <a:cubicBezTo>
                  <a:pt x="368" y="200"/>
                  <a:pt x="368" y="200"/>
                  <a:pt x="368" y="200"/>
                </a:cubicBezTo>
                <a:cubicBezTo>
                  <a:pt x="368" y="200"/>
                  <a:pt x="368" y="200"/>
                  <a:pt x="368" y="200"/>
                </a:cubicBezTo>
                <a:cubicBezTo>
                  <a:pt x="365" y="199"/>
                  <a:pt x="365" y="199"/>
                  <a:pt x="365" y="199"/>
                </a:cubicBezTo>
                <a:cubicBezTo>
                  <a:pt x="363" y="200"/>
                  <a:pt x="363" y="200"/>
                  <a:pt x="363" y="200"/>
                </a:cubicBezTo>
                <a:cubicBezTo>
                  <a:pt x="362" y="199"/>
                  <a:pt x="362" y="199"/>
                  <a:pt x="362" y="199"/>
                </a:cubicBezTo>
                <a:cubicBezTo>
                  <a:pt x="361" y="199"/>
                  <a:pt x="361" y="199"/>
                  <a:pt x="361" y="199"/>
                </a:cubicBezTo>
                <a:cubicBezTo>
                  <a:pt x="360" y="198"/>
                  <a:pt x="360" y="198"/>
                  <a:pt x="360" y="198"/>
                </a:cubicBezTo>
                <a:cubicBezTo>
                  <a:pt x="358" y="198"/>
                  <a:pt x="358" y="198"/>
                  <a:pt x="358" y="198"/>
                </a:cubicBezTo>
                <a:cubicBezTo>
                  <a:pt x="357" y="199"/>
                  <a:pt x="357" y="199"/>
                  <a:pt x="357" y="199"/>
                </a:cubicBezTo>
                <a:cubicBezTo>
                  <a:pt x="356" y="199"/>
                  <a:pt x="356" y="199"/>
                  <a:pt x="356" y="199"/>
                </a:cubicBezTo>
                <a:cubicBezTo>
                  <a:pt x="355" y="198"/>
                  <a:pt x="355" y="198"/>
                  <a:pt x="355" y="198"/>
                </a:cubicBezTo>
                <a:cubicBezTo>
                  <a:pt x="354" y="196"/>
                  <a:pt x="354" y="196"/>
                  <a:pt x="354" y="196"/>
                </a:cubicBezTo>
                <a:cubicBezTo>
                  <a:pt x="353" y="197"/>
                  <a:pt x="353" y="197"/>
                  <a:pt x="353" y="197"/>
                </a:cubicBezTo>
                <a:cubicBezTo>
                  <a:pt x="352" y="196"/>
                  <a:pt x="352" y="196"/>
                  <a:pt x="352" y="196"/>
                </a:cubicBezTo>
                <a:cubicBezTo>
                  <a:pt x="351" y="197"/>
                  <a:pt x="351" y="197"/>
                  <a:pt x="351" y="197"/>
                </a:cubicBezTo>
                <a:cubicBezTo>
                  <a:pt x="350" y="197"/>
                  <a:pt x="350" y="197"/>
                  <a:pt x="350" y="197"/>
                </a:cubicBezTo>
                <a:cubicBezTo>
                  <a:pt x="350" y="196"/>
                  <a:pt x="350" y="196"/>
                  <a:pt x="350" y="196"/>
                </a:cubicBezTo>
                <a:cubicBezTo>
                  <a:pt x="349" y="197"/>
                  <a:pt x="349" y="197"/>
                  <a:pt x="349" y="197"/>
                </a:cubicBezTo>
                <a:cubicBezTo>
                  <a:pt x="347" y="200"/>
                  <a:pt x="347" y="200"/>
                  <a:pt x="347" y="200"/>
                </a:cubicBezTo>
                <a:cubicBezTo>
                  <a:pt x="349" y="198"/>
                  <a:pt x="349" y="198"/>
                  <a:pt x="349" y="198"/>
                </a:cubicBezTo>
                <a:cubicBezTo>
                  <a:pt x="350" y="197"/>
                  <a:pt x="350" y="197"/>
                  <a:pt x="350" y="197"/>
                </a:cubicBezTo>
                <a:cubicBezTo>
                  <a:pt x="352" y="197"/>
                  <a:pt x="352" y="197"/>
                  <a:pt x="352" y="197"/>
                </a:cubicBezTo>
                <a:cubicBezTo>
                  <a:pt x="353" y="197"/>
                  <a:pt x="353" y="197"/>
                  <a:pt x="353" y="197"/>
                </a:cubicBezTo>
                <a:cubicBezTo>
                  <a:pt x="354" y="197"/>
                  <a:pt x="354" y="197"/>
                  <a:pt x="354" y="197"/>
                </a:cubicBezTo>
                <a:cubicBezTo>
                  <a:pt x="354" y="198"/>
                  <a:pt x="354" y="198"/>
                  <a:pt x="354" y="198"/>
                </a:cubicBezTo>
                <a:cubicBezTo>
                  <a:pt x="356" y="199"/>
                  <a:pt x="356" y="199"/>
                  <a:pt x="356" y="199"/>
                </a:cubicBezTo>
                <a:cubicBezTo>
                  <a:pt x="357" y="200"/>
                  <a:pt x="357" y="200"/>
                  <a:pt x="357" y="200"/>
                </a:cubicBezTo>
                <a:cubicBezTo>
                  <a:pt x="359" y="198"/>
                  <a:pt x="359" y="198"/>
                  <a:pt x="359" y="198"/>
                </a:cubicBezTo>
                <a:cubicBezTo>
                  <a:pt x="360" y="198"/>
                  <a:pt x="360" y="198"/>
                  <a:pt x="360" y="198"/>
                </a:cubicBezTo>
                <a:cubicBezTo>
                  <a:pt x="362" y="201"/>
                  <a:pt x="362" y="201"/>
                  <a:pt x="362" y="201"/>
                </a:cubicBezTo>
                <a:cubicBezTo>
                  <a:pt x="364" y="202"/>
                  <a:pt x="364" y="202"/>
                  <a:pt x="364" y="202"/>
                </a:cubicBezTo>
                <a:cubicBezTo>
                  <a:pt x="368" y="204"/>
                  <a:pt x="368" y="204"/>
                  <a:pt x="368" y="204"/>
                </a:cubicBezTo>
                <a:cubicBezTo>
                  <a:pt x="369" y="206"/>
                  <a:pt x="369" y="206"/>
                  <a:pt x="369" y="206"/>
                </a:cubicBezTo>
                <a:cubicBezTo>
                  <a:pt x="369" y="207"/>
                  <a:pt x="369" y="207"/>
                  <a:pt x="369" y="207"/>
                </a:cubicBezTo>
                <a:cubicBezTo>
                  <a:pt x="367" y="207"/>
                  <a:pt x="367" y="207"/>
                  <a:pt x="367" y="207"/>
                </a:cubicBezTo>
                <a:cubicBezTo>
                  <a:pt x="366" y="209"/>
                  <a:pt x="366" y="209"/>
                  <a:pt x="366" y="209"/>
                </a:cubicBezTo>
                <a:cubicBezTo>
                  <a:pt x="365" y="209"/>
                  <a:pt x="365" y="209"/>
                  <a:pt x="365" y="209"/>
                </a:cubicBezTo>
                <a:cubicBezTo>
                  <a:pt x="365" y="210"/>
                  <a:pt x="365" y="210"/>
                  <a:pt x="365" y="210"/>
                </a:cubicBezTo>
                <a:cubicBezTo>
                  <a:pt x="364" y="211"/>
                  <a:pt x="364" y="211"/>
                  <a:pt x="364" y="211"/>
                </a:cubicBezTo>
                <a:cubicBezTo>
                  <a:pt x="363" y="211"/>
                  <a:pt x="363" y="211"/>
                  <a:pt x="363" y="211"/>
                </a:cubicBezTo>
                <a:cubicBezTo>
                  <a:pt x="362" y="210"/>
                  <a:pt x="362" y="210"/>
                  <a:pt x="362" y="210"/>
                </a:cubicBezTo>
                <a:cubicBezTo>
                  <a:pt x="361" y="211"/>
                  <a:pt x="361" y="211"/>
                  <a:pt x="361" y="211"/>
                </a:cubicBezTo>
                <a:cubicBezTo>
                  <a:pt x="360" y="211"/>
                  <a:pt x="360" y="211"/>
                  <a:pt x="360" y="211"/>
                </a:cubicBezTo>
                <a:cubicBezTo>
                  <a:pt x="359" y="212"/>
                  <a:pt x="359" y="212"/>
                  <a:pt x="359" y="212"/>
                </a:cubicBezTo>
                <a:cubicBezTo>
                  <a:pt x="359" y="214"/>
                  <a:pt x="359" y="214"/>
                  <a:pt x="359" y="214"/>
                </a:cubicBezTo>
                <a:cubicBezTo>
                  <a:pt x="359" y="213"/>
                  <a:pt x="359" y="213"/>
                  <a:pt x="359" y="213"/>
                </a:cubicBezTo>
                <a:cubicBezTo>
                  <a:pt x="360" y="212"/>
                  <a:pt x="360" y="212"/>
                  <a:pt x="360" y="212"/>
                </a:cubicBezTo>
                <a:cubicBezTo>
                  <a:pt x="362" y="211"/>
                  <a:pt x="362" y="211"/>
                  <a:pt x="362" y="211"/>
                </a:cubicBezTo>
                <a:cubicBezTo>
                  <a:pt x="363" y="213"/>
                  <a:pt x="363" y="213"/>
                  <a:pt x="363" y="213"/>
                </a:cubicBezTo>
                <a:cubicBezTo>
                  <a:pt x="364" y="213"/>
                  <a:pt x="364" y="213"/>
                  <a:pt x="364" y="213"/>
                </a:cubicBezTo>
                <a:cubicBezTo>
                  <a:pt x="366" y="212"/>
                  <a:pt x="366" y="212"/>
                  <a:pt x="366" y="212"/>
                </a:cubicBezTo>
                <a:cubicBezTo>
                  <a:pt x="367" y="212"/>
                  <a:pt x="367" y="212"/>
                  <a:pt x="367" y="212"/>
                </a:cubicBezTo>
                <a:cubicBezTo>
                  <a:pt x="369" y="215"/>
                  <a:pt x="369" y="215"/>
                  <a:pt x="369" y="215"/>
                </a:cubicBezTo>
                <a:cubicBezTo>
                  <a:pt x="370" y="214"/>
                  <a:pt x="370" y="214"/>
                  <a:pt x="370" y="214"/>
                </a:cubicBezTo>
                <a:cubicBezTo>
                  <a:pt x="370" y="215"/>
                  <a:pt x="370" y="215"/>
                  <a:pt x="370" y="215"/>
                </a:cubicBezTo>
                <a:cubicBezTo>
                  <a:pt x="371" y="215"/>
                  <a:pt x="371" y="215"/>
                  <a:pt x="371" y="215"/>
                </a:cubicBezTo>
                <a:cubicBezTo>
                  <a:pt x="372" y="215"/>
                  <a:pt x="372" y="215"/>
                  <a:pt x="372" y="215"/>
                </a:cubicBezTo>
                <a:cubicBezTo>
                  <a:pt x="369" y="218"/>
                  <a:pt x="369" y="218"/>
                  <a:pt x="369" y="218"/>
                </a:cubicBezTo>
                <a:cubicBezTo>
                  <a:pt x="367" y="218"/>
                  <a:pt x="367" y="218"/>
                  <a:pt x="367" y="218"/>
                </a:cubicBezTo>
                <a:cubicBezTo>
                  <a:pt x="367" y="219"/>
                  <a:pt x="367" y="219"/>
                  <a:pt x="367" y="219"/>
                </a:cubicBezTo>
                <a:cubicBezTo>
                  <a:pt x="368" y="219"/>
                  <a:pt x="368" y="219"/>
                  <a:pt x="368" y="219"/>
                </a:cubicBezTo>
                <a:cubicBezTo>
                  <a:pt x="370" y="218"/>
                  <a:pt x="370" y="218"/>
                  <a:pt x="370" y="218"/>
                </a:cubicBezTo>
                <a:cubicBezTo>
                  <a:pt x="371" y="218"/>
                  <a:pt x="371" y="218"/>
                  <a:pt x="371" y="218"/>
                </a:cubicBezTo>
                <a:cubicBezTo>
                  <a:pt x="371" y="218"/>
                  <a:pt x="371" y="218"/>
                  <a:pt x="371" y="218"/>
                </a:cubicBezTo>
                <a:cubicBezTo>
                  <a:pt x="371" y="217"/>
                  <a:pt x="371" y="217"/>
                  <a:pt x="371" y="217"/>
                </a:cubicBezTo>
                <a:cubicBezTo>
                  <a:pt x="371" y="217"/>
                  <a:pt x="371" y="217"/>
                  <a:pt x="371" y="217"/>
                </a:cubicBezTo>
                <a:cubicBezTo>
                  <a:pt x="372" y="217"/>
                  <a:pt x="372" y="217"/>
                  <a:pt x="372" y="217"/>
                </a:cubicBezTo>
                <a:cubicBezTo>
                  <a:pt x="372" y="219"/>
                  <a:pt x="372" y="219"/>
                  <a:pt x="372" y="219"/>
                </a:cubicBezTo>
                <a:cubicBezTo>
                  <a:pt x="373" y="220"/>
                  <a:pt x="373" y="220"/>
                  <a:pt x="373" y="220"/>
                </a:cubicBezTo>
                <a:cubicBezTo>
                  <a:pt x="372" y="220"/>
                  <a:pt x="372" y="220"/>
                  <a:pt x="372" y="220"/>
                </a:cubicBezTo>
                <a:cubicBezTo>
                  <a:pt x="372" y="220"/>
                  <a:pt x="372" y="220"/>
                  <a:pt x="372" y="220"/>
                </a:cubicBezTo>
                <a:cubicBezTo>
                  <a:pt x="371" y="219"/>
                  <a:pt x="371" y="219"/>
                  <a:pt x="371" y="219"/>
                </a:cubicBezTo>
                <a:cubicBezTo>
                  <a:pt x="371" y="220"/>
                  <a:pt x="371" y="220"/>
                  <a:pt x="371" y="220"/>
                </a:cubicBezTo>
                <a:cubicBezTo>
                  <a:pt x="370" y="220"/>
                  <a:pt x="370" y="220"/>
                  <a:pt x="370" y="220"/>
                </a:cubicBezTo>
                <a:cubicBezTo>
                  <a:pt x="369" y="220"/>
                  <a:pt x="369" y="220"/>
                  <a:pt x="369" y="220"/>
                </a:cubicBezTo>
                <a:cubicBezTo>
                  <a:pt x="368" y="221"/>
                  <a:pt x="368" y="221"/>
                  <a:pt x="368" y="221"/>
                </a:cubicBezTo>
                <a:cubicBezTo>
                  <a:pt x="368" y="222"/>
                  <a:pt x="368" y="222"/>
                  <a:pt x="368" y="222"/>
                </a:cubicBezTo>
                <a:cubicBezTo>
                  <a:pt x="370" y="222"/>
                  <a:pt x="370" y="222"/>
                  <a:pt x="370" y="222"/>
                </a:cubicBezTo>
                <a:cubicBezTo>
                  <a:pt x="371" y="222"/>
                  <a:pt x="371" y="222"/>
                  <a:pt x="371" y="222"/>
                </a:cubicBezTo>
                <a:cubicBezTo>
                  <a:pt x="370" y="223"/>
                  <a:pt x="370" y="223"/>
                  <a:pt x="370" y="223"/>
                </a:cubicBezTo>
                <a:cubicBezTo>
                  <a:pt x="370" y="223"/>
                  <a:pt x="370" y="223"/>
                  <a:pt x="370" y="223"/>
                </a:cubicBezTo>
                <a:cubicBezTo>
                  <a:pt x="369" y="223"/>
                  <a:pt x="369" y="223"/>
                  <a:pt x="369" y="223"/>
                </a:cubicBezTo>
                <a:cubicBezTo>
                  <a:pt x="370" y="224"/>
                  <a:pt x="370" y="224"/>
                  <a:pt x="370" y="224"/>
                </a:cubicBezTo>
                <a:cubicBezTo>
                  <a:pt x="370" y="225"/>
                  <a:pt x="370" y="225"/>
                  <a:pt x="370" y="225"/>
                </a:cubicBezTo>
                <a:cubicBezTo>
                  <a:pt x="370" y="225"/>
                  <a:pt x="370" y="225"/>
                  <a:pt x="370" y="225"/>
                </a:cubicBezTo>
                <a:cubicBezTo>
                  <a:pt x="369" y="225"/>
                  <a:pt x="369" y="225"/>
                  <a:pt x="369" y="225"/>
                </a:cubicBezTo>
                <a:cubicBezTo>
                  <a:pt x="368" y="225"/>
                  <a:pt x="368" y="225"/>
                  <a:pt x="368" y="225"/>
                </a:cubicBezTo>
                <a:cubicBezTo>
                  <a:pt x="369" y="226"/>
                  <a:pt x="369" y="226"/>
                  <a:pt x="369" y="226"/>
                </a:cubicBezTo>
                <a:cubicBezTo>
                  <a:pt x="370" y="226"/>
                  <a:pt x="370" y="226"/>
                  <a:pt x="370" y="226"/>
                </a:cubicBezTo>
                <a:cubicBezTo>
                  <a:pt x="371" y="227"/>
                  <a:pt x="371" y="227"/>
                  <a:pt x="371" y="227"/>
                </a:cubicBezTo>
                <a:cubicBezTo>
                  <a:pt x="370" y="228"/>
                  <a:pt x="370" y="228"/>
                  <a:pt x="370" y="228"/>
                </a:cubicBezTo>
                <a:cubicBezTo>
                  <a:pt x="370" y="229"/>
                  <a:pt x="370" y="229"/>
                  <a:pt x="370" y="229"/>
                </a:cubicBezTo>
                <a:cubicBezTo>
                  <a:pt x="369" y="229"/>
                  <a:pt x="369" y="229"/>
                  <a:pt x="369" y="229"/>
                </a:cubicBezTo>
                <a:cubicBezTo>
                  <a:pt x="369" y="228"/>
                  <a:pt x="369" y="228"/>
                  <a:pt x="369" y="228"/>
                </a:cubicBezTo>
                <a:cubicBezTo>
                  <a:pt x="368" y="228"/>
                  <a:pt x="368" y="228"/>
                  <a:pt x="368" y="228"/>
                </a:cubicBezTo>
                <a:cubicBezTo>
                  <a:pt x="367" y="230"/>
                  <a:pt x="367" y="230"/>
                  <a:pt x="367" y="230"/>
                </a:cubicBezTo>
                <a:cubicBezTo>
                  <a:pt x="366" y="231"/>
                  <a:pt x="366" y="231"/>
                  <a:pt x="366" y="231"/>
                </a:cubicBezTo>
                <a:cubicBezTo>
                  <a:pt x="365" y="230"/>
                  <a:pt x="365" y="230"/>
                  <a:pt x="365" y="230"/>
                </a:cubicBezTo>
                <a:cubicBezTo>
                  <a:pt x="366" y="231"/>
                  <a:pt x="366" y="231"/>
                  <a:pt x="366" y="231"/>
                </a:cubicBezTo>
                <a:cubicBezTo>
                  <a:pt x="366" y="231"/>
                  <a:pt x="366" y="231"/>
                  <a:pt x="366" y="231"/>
                </a:cubicBezTo>
                <a:cubicBezTo>
                  <a:pt x="366" y="232"/>
                  <a:pt x="366" y="232"/>
                  <a:pt x="366" y="232"/>
                </a:cubicBezTo>
                <a:cubicBezTo>
                  <a:pt x="366" y="233"/>
                  <a:pt x="366" y="233"/>
                  <a:pt x="366" y="233"/>
                </a:cubicBezTo>
                <a:cubicBezTo>
                  <a:pt x="366" y="233"/>
                  <a:pt x="366" y="233"/>
                  <a:pt x="366" y="233"/>
                </a:cubicBezTo>
                <a:cubicBezTo>
                  <a:pt x="366" y="234"/>
                  <a:pt x="366" y="234"/>
                  <a:pt x="366" y="234"/>
                </a:cubicBezTo>
                <a:cubicBezTo>
                  <a:pt x="366" y="235"/>
                  <a:pt x="366" y="235"/>
                  <a:pt x="366" y="235"/>
                </a:cubicBezTo>
                <a:cubicBezTo>
                  <a:pt x="366" y="236"/>
                  <a:pt x="366" y="236"/>
                  <a:pt x="366" y="236"/>
                </a:cubicBezTo>
                <a:cubicBezTo>
                  <a:pt x="365" y="236"/>
                  <a:pt x="365" y="236"/>
                  <a:pt x="365" y="236"/>
                </a:cubicBezTo>
                <a:cubicBezTo>
                  <a:pt x="364" y="235"/>
                  <a:pt x="364" y="235"/>
                  <a:pt x="364" y="235"/>
                </a:cubicBezTo>
                <a:cubicBezTo>
                  <a:pt x="364" y="236"/>
                  <a:pt x="364" y="236"/>
                  <a:pt x="364" y="236"/>
                </a:cubicBezTo>
                <a:cubicBezTo>
                  <a:pt x="365" y="236"/>
                  <a:pt x="365" y="236"/>
                  <a:pt x="365" y="236"/>
                </a:cubicBezTo>
                <a:cubicBezTo>
                  <a:pt x="365" y="238"/>
                  <a:pt x="365" y="238"/>
                  <a:pt x="365" y="238"/>
                </a:cubicBezTo>
                <a:cubicBezTo>
                  <a:pt x="364" y="237"/>
                  <a:pt x="364" y="237"/>
                  <a:pt x="364" y="237"/>
                </a:cubicBezTo>
                <a:cubicBezTo>
                  <a:pt x="364" y="238"/>
                  <a:pt x="364" y="238"/>
                  <a:pt x="364" y="238"/>
                </a:cubicBezTo>
                <a:cubicBezTo>
                  <a:pt x="362" y="240"/>
                  <a:pt x="362" y="240"/>
                  <a:pt x="362" y="240"/>
                </a:cubicBezTo>
                <a:cubicBezTo>
                  <a:pt x="361" y="240"/>
                  <a:pt x="361" y="240"/>
                  <a:pt x="361" y="240"/>
                </a:cubicBezTo>
                <a:cubicBezTo>
                  <a:pt x="362" y="239"/>
                  <a:pt x="362" y="239"/>
                  <a:pt x="362" y="239"/>
                </a:cubicBezTo>
                <a:cubicBezTo>
                  <a:pt x="361" y="239"/>
                  <a:pt x="361" y="239"/>
                  <a:pt x="361" y="239"/>
                </a:cubicBezTo>
                <a:cubicBezTo>
                  <a:pt x="361" y="239"/>
                  <a:pt x="361" y="239"/>
                  <a:pt x="361" y="239"/>
                </a:cubicBezTo>
                <a:cubicBezTo>
                  <a:pt x="360" y="240"/>
                  <a:pt x="360" y="240"/>
                  <a:pt x="360" y="240"/>
                </a:cubicBezTo>
                <a:cubicBezTo>
                  <a:pt x="360" y="239"/>
                  <a:pt x="360" y="239"/>
                  <a:pt x="360" y="239"/>
                </a:cubicBezTo>
                <a:cubicBezTo>
                  <a:pt x="360" y="240"/>
                  <a:pt x="360" y="240"/>
                  <a:pt x="360" y="240"/>
                </a:cubicBezTo>
                <a:cubicBezTo>
                  <a:pt x="359" y="241"/>
                  <a:pt x="359" y="241"/>
                  <a:pt x="359" y="241"/>
                </a:cubicBezTo>
                <a:cubicBezTo>
                  <a:pt x="360" y="241"/>
                  <a:pt x="360" y="241"/>
                  <a:pt x="360" y="241"/>
                </a:cubicBezTo>
                <a:cubicBezTo>
                  <a:pt x="361" y="242"/>
                  <a:pt x="361" y="242"/>
                  <a:pt x="361" y="242"/>
                </a:cubicBezTo>
                <a:cubicBezTo>
                  <a:pt x="360" y="242"/>
                  <a:pt x="360" y="242"/>
                  <a:pt x="360" y="242"/>
                </a:cubicBezTo>
                <a:cubicBezTo>
                  <a:pt x="361" y="243"/>
                  <a:pt x="361" y="243"/>
                  <a:pt x="361" y="243"/>
                </a:cubicBezTo>
                <a:cubicBezTo>
                  <a:pt x="362" y="243"/>
                  <a:pt x="362" y="243"/>
                  <a:pt x="362" y="243"/>
                </a:cubicBezTo>
                <a:cubicBezTo>
                  <a:pt x="363" y="243"/>
                  <a:pt x="363" y="243"/>
                  <a:pt x="363" y="243"/>
                </a:cubicBezTo>
                <a:cubicBezTo>
                  <a:pt x="361" y="244"/>
                  <a:pt x="361" y="244"/>
                  <a:pt x="361" y="244"/>
                </a:cubicBezTo>
                <a:cubicBezTo>
                  <a:pt x="359" y="245"/>
                  <a:pt x="359" y="245"/>
                  <a:pt x="359" y="245"/>
                </a:cubicBezTo>
                <a:cubicBezTo>
                  <a:pt x="359" y="246"/>
                  <a:pt x="359" y="246"/>
                  <a:pt x="359" y="246"/>
                </a:cubicBezTo>
                <a:cubicBezTo>
                  <a:pt x="360" y="246"/>
                  <a:pt x="360" y="246"/>
                  <a:pt x="360" y="246"/>
                </a:cubicBezTo>
                <a:cubicBezTo>
                  <a:pt x="361" y="246"/>
                  <a:pt x="361" y="246"/>
                  <a:pt x="361" y="246"/>
                </a:cubicBezTo>
                <a:cubicBezTo>
                  <a:pt x="361" y="246"/>
                  <a:pt x="361" y="246"/>
                  <a:pt x="361" y="246"/>
                </a:cubicBezTo>
                <a:cubicBezTo>
                  <a:pt x="360" y="247"/>
                  <a:pt x="360" y="247"/>
                  <a:pt x="360" y="247"/>
                </a:cubicBezTo>
                <a:cubicBezTo>
                  <a:pt x="361" y="248"/>
                  <a:pt x="361" y="248"/>
                  <a:pt x="361" y="248"/>
                </a:cubicBezTo>
                <a:cubicBezTo>
                  <a:pt x="361" y="249"/>
                  <a:pt x="361" y="249"/>
                  <a:pt x="361" y="249"/>
                </a:cubicBezTo>
                <a:cubicBezTo>
                  <a:pt x="360" y="249"/>
                  <a:pt x="360" y="249"/>
                  <a:pt x="360" y="249"/>
                </a:cubicBezTo>
                <a:cubicBezTo>
                  <a:pt x="360" y="250"/>
                  <a:pt x="360" y="250"/>
                  <a:pt x="360" y="250"/>
                </a:cubicBezTo>
                <a:cubicBezTo>
                  <a:pt x="361" y="250"/>
                  <a:pt x="361" y="250"/>
                  <a:pt x="361" y="250"/>
                </a:cubicBezTo>
                <a:cubicBezTo>
                  <a:pt x="361" y="250"/>
                  <a:pt x="361" y="250"/>
                  <a:pt x="361" y="250"/>
                </a:cubicBezTo>
                <a:cubicBezTo>
                  <a:pt x="361" y="252"/>
                  <a:pt x="361" y="252"/>
                  <a:pt x="361" y="252"/>
                </a:cubicBezTo>
                <a:cubicBezTo>
                  <a:pt x="361" y="251"/>
                  <a:pt x="361" y="251"/>
                  <a:pt x="361" y="251"/>
                </a:cubicBezTo>
                <a:cubicBezTo>
                  <a:pt x="360" y="251"/>
                  <a:pt x="360" y="251"/>
                  <a:pt x="360" y="251"/>
                </a:cubicBezTo>
                <a:cubicBezTo>
                  <a:pt x="360" y="250"/>
                  <a:pt x="360" y="250"/>
                  <a:pt x="360" y="250"/>
                </a:cubicBezTo>
                <a:cubicBezTo>
                  <a:pt x="359" y="249"/>
                  <a:pt x="359" y="249"/>
                  <a:pt x="359" y="249"/>
                </a:cubicBezTo>
                <a:cubicBezTo>
                  <a:pt x="359" y="250"/>
                  <a:pt x="359" y="250"/>
                  <a:pt x="359" y="250"/>
                </a:cubicBezTo>
                <a:cubicBezTo>
                  <a:pt x="358" y="250"/>
                  <a:pt x="358" y="250"/>
                  <a:pt x="358" y="250"/>
                </a:cubicBezTo>
                <a:cubicBezTo>
                  <a:pt x="358" y="251"/>
                  <a:pt x="358" y="251"/>
                  <a:pt x="358" y="251"/>
                </a:cubicBezTo>
                <a:cubicBezTo>
                  <a:pt x="359" y="252"/>
                  <a:pt x="359" y="252"/>
                  <a:pt x="359" y="252"/>
                </a:cubicBezTo>
                <a:cubicBezTo>
                  <a:pt x="359" y="253"/>
                  <a:pt x="359" y="253"/>
                  <a:pt x="359" y="253"/>
                </a:cubicBezTo>
                <a:cubicBezTo>
                  <a:pt x="358" y="252"/>
                  <a:pt x="358" y="252"/>
                  <a:pt x="358" y="252"/>
                </a:cubicBezTo>
                <a:cubicBezTo>
                  <a:pt x="358" y="252"/>
                  <a:pt x="358" y="252"/>
                  <a:pt x="358" y="252"/>
                </a:cubicBezTo>
                <a:cubicBezTo>
                  <a:pt x="357" y="252"/>
                  <a:pt x="357" y="252"/>
                  <a:pt x="357" y="252"/>
                </a:cubicBezTo>
                <a:cubicBezTo>
                  <a:pt x="356" y="252"/>
                  <a:pt x="356" y="252"/>
                  <a:pt x="356" y="252"/>
                </a:cubicBezTo>
                <a:cubicBezTo>
                  <a:pt x="357" y="252"/>
                  <a:pt x="357" y="252"/>
                  <a:pt x="357" y="252"/>
                </a:cubicBezTo>
                <a:cubicBezTo>
                  <a:pt x="357" y="253"/>
                  <a:pt x="357" y="253"/>
                  <a:pt x="357" y="253"/>
                </a:cubicBezTo>
                <a:cubicBezTo>
                  <a:pt x="358" y="253"/>
                  <a:pt x="358" y="253"/>
                  <a:pt x="358" y="253"/>
                </a:cubicBezTo>
                <a:cubicBezTo>
                  <a:pt x="358" y="254"/>
                  <a:pt x="358" y="254"/>
                  <a:pt x="358" y="254"/>
                </a:cubicBezTo>
                <a:cubicBezTo>
                  <a:pt x="358" y="255"/>
                  <a:pt x="358" y="255"/>
                  <a:pt x="358" y="255"/>
                </a:cubicBezTo>
                <a:cubicBezTo>
                  <a:pt x="356" y="254"/>
                  <a:pt x="356" y="254"/>
                  <a:pt x="356" y="254"/>
                </a:cubicBezTo>
                <a:cubicBezTo>
                  <a:pt x="356" y="255"/>
                  <a:pt x="356" y="255"/>
                  <a:pt x="356" y="255"/>
                </a:cubicBezTo>
                <a:cubicBezTo>
                  <a:pt x="356" y="255"/>
                  <a:pt x="356" y="255"/>
                  <a:pt x="356" y="255"/>
                </a:cubicBezTo>
                <a:cubicBezTo>
                  <a:pt x="358" y="256"/>
                  <a:pt x="358" y="256"/>
                  <a:pt x="358" y="256"/>
                </a:cubicBezTo>
                <a:cubicBezTo>
                  <a:pt x="357" y="257"/>
                  <a:pt x="357" y="257"/>
                  <a:pt x="357" y="257"/>
                </a:cubicBezTo>
                <a:cubicBezTo>
                  <a:pt x="355" y="256"/>
                  <a:pt x="355" y="256"/>
                  <a:pt x="355" y="256"/>
                </a:cubicBezTo>
                <a:cubicBezTo>
                  <a:pt x="355" y="256"/>
                  <a:pt x="355" y="256"/>
                  <a:pt x="355" y="256"/>
                </a:cubicBezTo>
                <a:cubicBezTo>
                  <a:pt x="354" y="256"/>
                  <a:pt x="354" y="256"/>
                  <a:pt x="354" y="256"/>
                </a:cubicBezTo>
                <a:cubicBezTo>
                  <a:pt x="353" y="257"/>
                  <a:pt x="353" y="257"/>
                  <a:pt x="353" y="257"/>
                </a:cubicBezTo>
                <a:cubicBezTo>
                  <a:pt x="351" y="257"/>
                  <a:pt x="351" y="257"/>
                  <a:pt x="351" y="257"/>
                </a:cubicBezTo>
                <a:cubicBezTo>
                  <a:pt x="353" y="259"/>
                  <a:pt x="353" y="259"/>
                  <a:pt x="353" y="259"/>
                </a:cubicBezTo>
                <a:cubicBezTo>
                  <a:pt x="354" y="258"/>
                  <a:pt x="354" y="258"/>
                  <a:pt x="354" y="258"/>
                </a:cubicBezTo>
                <a:cubicBezTo>
                  <a:pt x="355" y="258"/>
                  <a:pt x="355" y="258"/>
                  <a:pt x="355" y="258"/>
                </a:cubicBezTo>
                <a:cubicBezTo>
                  <a:pt x="354" y="259"/>
                  <a:pt x="354" y="259"/>
                  <a:pt x="354" y="259"/>
                </a:cubicBezTo>
                <a:cubicBezTo>
                  <a:pt x="354" y="260"/>
                  <a:pt x="354" y="260"/>
                  <a:pt x="354" y="260"/>
                </a:cubicBezTo>
                <a:cubicBezTo>
                  <a:pt x="353" y="261"/>
                  <a:pt x="353" y="261"/>
                  <a:pt x="353" y="261"/>
                </a:cubicBezTo>
                <a:cubicBezTo>
                  <a:pt x="353" y="260"/>
                  <a:pt x="353" y="260"/>
                  <a:pt x="353" y="260"/>
                </a:cubicBezTo>
                <a:cubicBezTo>
                  <a:pt x="352" y="261"/>
                  <a:pt x="352" y="261"/>
                  <a:pt x="352" y="261"/>
                </a:cubicBezTo>
                <a:cubicBezTo>
                  <a:pt x="351" y="261"/>
                  <a:pt x="351" y="261"/>
                  <a:pt x="351" y="261"/>
                </a:cubicBezTo>
                <a:cubicBezTo>
                  <a:pt x="351" y="261"/>
                  <a:pt x="351" y="261"/>
                  <a:pt x="351" y="261"/>
                </a:cubicBezTo>
                <a:cubicBezTo>
                  <a:pt x="351" y="261"/>
                  <a:pt x="351" y="261"/>
                  <a:pt x="351" y="261"/>
                </a:cubicBezTo>
                <a:cubicBezTo>
                  <a:pt x="351" y="262"/>
                  <a:pt x="351" y="262"/>
                  <a:pt x="351" y="262"/>
                </a:cubicBezTo>
                <a:cubicBezTo>
                  <a:pt x="350" y="262"/>
                  <a:pt x="350" y="262"/>
                  <a:pt x="350" y="262"/>
                </a:cubicBezTo>
                <a:cubicBezTo>
                  <a:pt x="350" y="263"/>
                  <a:pt x="350" y="263"/>
                  <a:pt x="350" y="263"/>
                </a:cubicBezTo>
                <a:cubicBezTo>
                  <a:pt x="349" y="263"/>
                  <a:pt x="349" y="263"/>
                  <a:pt x="349" y="263"/>
                </a:cubicBezTo>
                <a:cubicBezTo>
                  <a:pt x="348" y="263"/>
                  <a:pt x="348" y="263"/>
                  <a:pt x="348" y="263"/>
                </a:cubicBezTo>
                <a:cubicBezTo>
                  <a:pt x="347" y="263"/>
                  <a:pt x="347" y="263"/>
                  <a:pt x="347" y="263"/>
                </a:cubicBezTo>
                <a:cubicBezTo>
                  <a:pt x="346" y="264"/>
                  <a:pt x="346" y="264"/>
                  <a:pt x="346" y="264"/>
                </a:cubicBezTo>
                <a:cubicBezTo>
                  <a:pt x="346" y="264"/>
                  <a:pt x="346" y="264"/>
                  <a:pt x="346" y="264"/>
                </a:cubicBezTo>
                <a:cubicBezTo>
                  <a:pt x="346" y="265"/>
                  <a:pt x="346" y="265"/>
                  <a:pt x="346" y="265"/>
                </a:cubicBezTo>
                <a:cubicBezTo>
                  <a:pt x="346" y="266"/>
                  <a:pt x="346" y="266"/>
                  <a:pt x="346" y="266"/>
                </a:cubicBezTo>
                <a:cubicBezTo>
                  <a:pt x="345" y="267"/>
                  <a:pt x="345" y="267"/>
                  <a:pt x="345" y="267"/>
                </a:cubicBezTo>
                <a:cubicBezTo>
                  <a:pt x="346" y="268"/>
                  <a:pt x="346" y="268"/>
                  <a:pt x="346" y="268"/>
                </a:cubicBezTo>
                <a:cubicBezTo>
                  <a:pt x="345" y="268"/>
                  <a:pt x="345" y="268"/>
                  <a:pt x="345" y="268"/>
                </a:cubicBezTo>
                <a:cubicBezTo>
                  <a:pt x="344" y="268"/>
                  <a:pt x="344" y="268"/>
                  <a:pt x="344" y="268"/>
                </a:cubicBezTo>
                <a:cubicBezTo>
                  <a:pt x="344" y="269"/>
                  <a:pt x="344" y="269"/>
                  <a:pt x="344" y="269"/>
                </a:cubicBezTo>
                <a:cubicBezTo>
                  <a:pt x="344" y="268"/>
                  <a:pt x="344" y="268"/>
                  <a:pt x="344" y="268"/>
                </a:cubicBezTo>
                <a:cubicBezTo>
                  <a:pt x="343" y="268"/>
                  <a:pt x="343" y="268"/>
                  <a:pt x="343" y="268"/>
                </a:cubicBezTo>
                <a:cubicBezTo>
                  <a:pt x="342" y="269"/>
                  <a:pt x="342" y="269"/>
                  <a:pt x="342" y="269"/>
                </a:cubicBezTo>
                <a:cubicBezTo>
                  <a:pt x="341" y="269"/>
                  <a:pt x="341" y="269"/>
                  <a:pt x="341" y="269"/>
                </a:cubicBezTo>
                <a:cubicBezTo>
                  <a:pt x="341" y="270"/>
                  <a:pt x="341" y="270"/>
                  <a:pt x="341" y="270"/>
                </a:cubicBezTo>
                <a:cubicBezTo>
                  <a:pt x="340" y="270"/>
                  <a:pt x="340" y="270"/>
                  <a:pt x="340" y="270"/>
                </a:cubicBezTo>
                <a:cubicBezTo>
                  <a:pt x="340" y="270"/>
                  <a:pt x="340" y="270"/>
                  <a:pt x="340" y="270"/>
                </a:cubicBezTo>
                <a:cubicBezTo>
                  <a:pt x="339" y="270"/>
                  <a:pt x="339" y="270"/>
                  <a:pt x="339" y="270"/>
                </a:cubicBezTo>
                <a:cubicBezTo>
                  <a:pt x="339" y="271"/>
                  <a:pt x="339" y="271"/>
                  <a:pt x="339" y="271"/>
                </a:cubicBezTo>
                <a:cubicBezTo>
                  <a:pt x="338" y="271"/>
                  <a:pt x="338" y="271"/>
                  <a:pt x="338" y="271"/>
                </a:cubicBezTo>
                <a:cubicBezTo>
                  <a:pt x="337" y="270"/>
                  <a:pt x="337" y="270"/>
                  <a:pt x="337" y="270"/>
                </a:cubicBezTo>
                <a:cubicBezTo>
                  <a:pt x="337" y="269"/>
                  <a:pt x="337" y="269"/>
                  <a:pt x="337" y="269"/>
                </a:cubicBezTo>
                <a:cubicBezTo>
                  <a:pt x="336" y="270"/>
                  <a:pt x="336" y="270"/>
                  <a:pt x="336" y="270"/>
                </a:cubicBezTo>
                <a:cubicBezTo>
                  <a:pt x="335" y="270"/>
                  <a:pt x="335" y="270"/>
                  <a:pt x="335" y="270"/>
                </a:cubicBezTo>
                <a:cubicBezTo>
                  <a:pt x="335" y="271"/>
                  <a:pt x="335" y="271"/>
                  <a:pt x="335" y="271"/>
                </a:cubicBezTo>
                <a:cubicBezTo>
                  <a:pt x="334" y="271"/>
                  <a:pt x="334" y="271"/>
                  <a:pt x="334" y="271"/>
                </a:cubicBezTo>
                <a:cubicBezTo>
                  <a:pt x="333" y="271"/>
                  <a:pt x="333" y="271"/>
                  <a:pt x="333" y="271"/>
                </a:cubicBezTo>
                <a:cubicBezTo>
                  <a:pt x="333" y="271"/>
                  <a:pt x="333" y="271"/>
                  <a:pt x="333" y="271"/>
                </a:cubicBezTo>
                <a:cubicBezTo>
                  <a:pt x="332" y="272"/>
                  <a:pt x="332" y="272"/>
                  <a:pt x="332" y="272"/>
                </a:cubicBezTo>
                <a:cubicBezTo>
                  <a:pt x="331" y="273"/>
                  <a:pt x="331" y="273"/>
                  <a:pt x="331" y="273"/>
                </a:cubicBezTo>
                <a:cubicBezTo>
                  <a:pt x="329" y="274"/>
                  <a:pt x="329" y="274"/>
                  <a:pt x="329" y="274"/>
                </a:cubicBezTo>
                <a:cubicBezTo>
                  <a:pt x="329" y="273"/>
                  <a:pt x="329" y="273"/>
                  <a:pt x="329" y="273"/>
                </a:cubicBezTo>
                <a:cubicBezTo>
                  <a:pt x="330" y="273"/>
                  <a:pt x="330" y="273"/>
                  <a:pt x="330" y="273"/>
                </a:cubicBezTo>
                <a:cubicBezTo>
                  <a:pt x="330" y="272"/>
                  <a:pt x="330" y="272"/>
                  <a:pt x="330" y="272"/>
                </a:cubicBezTo>
                <a:cubicBezTo>
                  <a:pt x="330" y="272"/>
                  <a:pt x="330" y="272"/>
                  <a:pt x="330" y="272"/>
                </a:cubicBezTo>
                <a:cubicBezTo>
                  <a:pt x="328" y="271"/>
                  <a:pt x="328" y="271"/>
                  <a:pt x="328" y="271"/>
                </a:cubicBezTo>
                <a:cubicBezTo>
                  <a:pt x="328" y="270"/>
                  <a:pt x="328" y="270"/>
                  <a:pt x="328" y="270"/>
                </a:cubicBezTo>
                <a:cubicBezTo>
                  <a:pt x="327" y="270"/>
                  <a:pt x="327" y="270"/>
                  <a:pt x="327" y="270"/>
                </a:cubicBezTo>
                <a:cubicBezTo>
                  <a:pt x="326" y="269"/>
                  <a:pt x="326" y="269"/>
                  <a:pt x="326" y="269"/>
                </a:cubicBezTo>
                <a:cubicBezTo>
                  <a:pt x="326" y="270"/>
                  <a:pt x="326" y="270"/>
                  <a:pt x="326" y="270"/>
                </a:cubicBezTo>
                <a:cubicBezTo>
                  <a:pt x="326" y="271"/>
                  <a:pt x="326" y="271"/>
                  <a:pt x="326" y="271"/>
                </a:cubicBezTo>
                <a:cubicBezTo>
                  <a:pt x="326" y="272"/>
                  <a:pt x="326" y="272"/>
                  <a:pt x="326" y="272"/>
                </a:cubicBezTo>
                <a:cubicBezTo>
                  <a:pt x="327" y="273"/>
                  <a:pt x="327" y="273"/>
                  <a:pt x="327" y="273"/>
                </a:cubicBezTo>
                <a:cubicBezTo>
                  <a:pt x="326" y="274"/>
                  <a:pt x="326" y="274"/>
                  <a:pt x="326" y="274"/>
                </a:cubicBezTo>
                <a:cubicBezTo>
                  <a:pt x="325" y="275"/>
                  <a:pt x="325" y="275"/>
                  <a:pt x="325" y="275"/>
                </a:cubicBezTo>
                <a:cubicBezTo>
                  <a:pt x="325" y="275"/>
                  <a:pt x="325" y="275"/>
                  <a:pt x="325" y="275"/>
                </a:cubicBezTo>
                <a:cubicBezTo>
                  <a:pt x="324" y="275"/>
                  <a:pt x="324" y="275"/>
                  <a:pt x="324" y="275"/>
                </a:cubicBezTo>
                <a:cubicBezTo>
                  <a:pt x="324" y="274"/>
                  <a:pt x="324" y="274"/>
                  <a:pt x="324" y="274"/>
                </a:cubicBezTo>
                <a:cubicBezTo>
                  <a:pt x="324" y="275"/>
                  <a:pt x="324" y="275"/>
                  <a:pt x="324" y="275"/>
                </a:cubicBezTo>
                <a:cubicBezTo>
                  <a:pt x="323" y="276"/>
                  <a:pt x="323" y="276"/>
                  <a:pt x="323" y="276"/>
                </a:cubicBezTo>
                <a:cubicBezTo>
                  <a:pt x="322" y="277"/>
                  <a:pt x="322" y="277"/>
                  <a:pt x="322" y="277"/>
                </a:cubicBezTo>
                <a:cubicBezTo>
                  <a:pt x="320" y="278"/>
                  <a:pt x="320" y="278"/>
                  <a:pt x="320" y="278"/>
                </a:cubicBezTo>
                <a:cubicBezTo>
                  <a:pt x="319" y="278"/>
                  <a:pt x="319" y="278"/>
                  <a:pt x="319" y="278"/>
                </a:cubicBezTo>
                <a:cubicBezTo>
                  <a:pt x="318" y="278"/>
                  <a:pt x="318" y="278"/>
                  <a:pt x="318" y="278"/>
                </a:cubicBezTo>
                <a:cubicBezTo>
                  <a:pt x="317" y="278"/>
                  <a:pt x="317" y="278"/>
                  <a:pt x="317" y="278"/>
                </a:cubicBezTo>
                <a:cubicBezTo>
                  <a:pt x="316" y="278"/>
                  <a:pt x="316" y="278"/>
                  <a:pt x="316" y="278"/>
                </a:cubicBezTo>
                <a:cubicBezTo>
                  <a:pt x="316" y="279"/>
                  <a:pt x="316" y="279"/>
                  <a:pt x="316" y="279"/>
                </a:cubicBezTo>
                <a:cubicBezTo>
                  <a:pt x="315" y="280"/>
                  <a:pt x="315" y="280"/>
                  <a:pt x="315" y="280"/>
                </a:cubicBezTo>
                <a:cubicBezTo>
                  <a:pt x="314" y="280"/>
                  <a:pt x="314" y="280"/>
                  <a:pt x="314" y="280"/>
                </a:cubicBezTo>
                <a:cubicBezTo>
                  <a:pt x="313" y="280"/>
                  <a:pt x="313" y="280"/>
                  <a:pt x="313" y="280"/>
                </a:cubicBezTo>
                <a:cubicBezTo>
                  <a:pt x="312" y="280"/>
                  <a:pt x="312" y="280"/>
                  <a:pt x="312" y="280"/>
                </a:cubicBezTo>
                <a:cubicBezTo>
                  <a:pt x="311" y="281"/>
                  <a:pt x="311" y="281"/>
                  <a:pt x="311" y="281"/>
                </a:cubicBezTo>
                <a:cubicBezTo>
                  <a:pt x="311" y="281"/>
                  <a:pt x="311" y="281"/>
                  <a:pt x="311" y="281"/>
                </a:cubicBezTo>
                <a:cubicBezTo>
                  <a:pt x="310" y="281"/>
                  <a:pt x="310" y="281"/>
                  <a:pt x="310" y="281"/>
                </a:cubicBezTo>
                <a:cubicBezTo>
                  <a:pt x="311" y="281"/>
                  <a:pt x="311" y="281"/>
                  <a:pt x="311" y="281"/>
                </a:cubicBezTo>
                <a:cubicBezTo>
                  <a:pt x="310" y="281"/>
                  <a:pt x="310" y="281"/>
                  <a:pt x="310" y="281"/>
                </a:cubicBezTo>
                <a:cubicBezTo>
                  <a:pt x="310" y="281"/>
                  <a:pt x="310" y="281"/>
                  <a:pt x="310" y="281"/>
                </a:cubicBezTo>
                <a:cubicBezTo>
                  <a:pt x="310" y="280"/>
                  <a:pt x="310" y="280"/>
                  <a:pt x="310" y="280"/>
                </a:cubicBezTo>
                <a:cubicBezTo>
                  <a:pt x="310" y="280"/>
                  <a:pt x="310" y="280"/>
                  <a:pt x="310" y="280"/>
                </a:cubicBezTo>
                <a:cubicBezTo>
                  <a:pt x="309" y="280"/>
                  <a:pt x="309" y="280"/>
                  <a:pt x="309" y="280"/>
                </a:cubicBezTo>
                <a:cubicBezTo>
                  <a:pt x="309" y="280"/>
                  <a:pt x="309" y="280"/>
                  <a:pt x="309" y="280"/>
                </a:cubicBezTo>
                <a:cubicBezTo>
                  <a:pt x="309" y="280"/>
                  <a:pt x="309" y="280"/>
                  <a:pt x="309" y="280"/>
                </a:cubicBezTo>
                <a:cubicBezTo>
                  <a:pt x="309" y="280"/>
                  <a:pt x="309" y="280"/>
                  <a:pt x="309" y="280"/>
                </a:cubicBezTo>
                <a:cubicBezTo>
                  <a:pt x="309" y="281"/>
                  <a:pt x="309" y="281"/>
                  <a:pt x="309" y="281"/>
                </a:cubicBezTo>
                <a:cubicBezTo>
                  <a:pt x="309" y="282"/>
                  <a:pt x="309" y="282"/>
                  <a:pt x="309" y="282"/>
                </a:cubicBezTo>
                <a:cubicBezTo>
                  <a:pt x="308" y="282"/>
                  <a:pt x="308" y="282"/>
                  <a:pt x="308" y="282"/>
                </a:cubicBezTo>
                <a:cubicBezTo>
                  <a:pt x="307" y="283"/>
                  <a:pt x="307" y="283"/>
                  <a:pt x="307" y="283"/>
                </a:cubicBezTo>
                <a:cubicBezTo>
                  <a:pt x="308" y="284"/>
                  <a:pt x="308" y="284"/>
                  <a:pt x="308" y="284"/>
                </a:cubicBezTo>
                <a:cubicBezTo>
                  <a:pt x="309" y="284"/>
                  <a:pt x="309" y="284"/>
                  <a:pt x="309" y="284"/>
                </a:cubicBezTo>
                <a:cubicBezTo>
                  <a:pt x="309" y="285"/>
                  <a:pt x="309" y="285"/>
                  <a:pt x="309" y="285"/>
                </a:cubicBezTo>
                <a:cubicBezTo>
                  <a:pt x="309" y="286"/>
                  <a:pt x="309" y="286"/>
                  <a:pt x="309" y="286"/>
                </a:cubicBezTo>
                <a:cubicBezTo>
                  <a:pt x="310" y="286"/>
                  <a:pt x="310" y="286"/>
                  <a:pt x="310" y="286"/>
                </a:cubicBezTo>
                <a:cubicBezTo>
                  <a:pt x="310" y="286"/>
                  <a:pt x="310" y="286"/>
                  <a:pt x="310" y="286"/>
                </a:cubicBezTo>
                <a:cubicBezTo>
                  <a:pt x="309" y="288"/>
                  <a:pt x="309" y="288"/>
                  <a:pt x="309" y="288"/>
                </a:cubicBezTo>
                <a:cubicBezTo>
                  <a:pt x="308" y="288"/>
                  <a:pt x="308" y="288"/>
                  <a:pt x="308" y="288"/>
                </a:cubicBezTo>
                <a:cubicBezTo>
                  <a:pt x="308" y="287"/>
                  <a:pt x="308" y="287"/>
                  <a:pt x="308" y="287"/>
                </a:cubicBezTo>
                <a:cubicBezTo>
                  <a:pt x="307" y="287"/>
                  <a:pt x="307" y="287"/>
                  <a:pt x="307" y="287"/>
                </a:cubicBezTo>
                <a:cubicBezTo>
                  <a:pt x="306" y="288"/>
                  <a:pt x="306" y="288"/>
                  <a:pt x="306" y="288"/>
                </a:cubicBezTo>
                <a:cubicBezTo>
                  <a:pt x="306" y="288"/>
                  <a:pt x="306" y="288"/>
                  <a:pt x="306" y="288"/>
                </a:cubicBezTo>
                <a:cubicBezTo>
                  <a:pt x="306" y="287"/>
                  <a:pt x="306" y="287"/>
                  <a:pt x="306" y="287"/>
                </a:cubicBezTo>
                <a:cubicBezTo>
                  <a:pt x="306" y="286"/>
                  <a:pt x="306" y="286"/>
                  <a:pt x="306" y="286"/>
                </a:cubicBezTo>
                <a:cubicBezTo>
                  <a:pt x="305" y="286"/>
                  <a:pt x="305" y="286"/>
                  <a:pt x="305" y="286"/>
                </a:cubicBezTo>
                <a:cubicBezTo>
                  <a:pt x="304" y="284"/>
                  <a:pt x="304" y="284"/>
                  <a:pt x="304" y="284"/>
                </a:cubicBezTo>
                <a:cubicBezTo>
                  <a:pt x="304" y="283"/>
                  <a:pt x="304" y="283"/>
                  <a:pt x="304" y="283"/>
                </a:cubicBezTo>
                <a:cubicBezTo>
                  <a:pt x="304" y="282"/>
                  <a:pt x="304" y="282"/>
                  <a:pt x="304" y="282"/>
                </a:cubicBezTo>
                <a:cubicBezTo>
                  <a:pt x="305" y="281"/>
                  <a:pt x="305" y="281"/>
                  <a:pt x="305" y="281"/>
                </a:cubicBezTo>
                <a:cubicBezTo>
                  <a:pt x="306" y="280"/>
                  <a:pt x="306" y="280"/>
                  <a:pt x="306" y="280"/>
                </a:cubicBezTo>
                <a:cubicBezTo>
                  <a:pt x="306" y="280"/>
                  <a:pt x="306" y="280"/>
                  <a:pt x="306" y="280"/>
                </a:cubicBezTo>
                <a:cubicBezTo>
                  <a:pt x="305" y="280"/>
                  <a:pt x="305" y="280"/>
                  <a:pt x="305" y="280"/>
                </a:cubicBezTo>
                <a:cubicBezTo>
                  <a:pt x="304" y="280"/>
                  <a:pt x="304" y="280"/>
                  <a:pt x="304" y="280"/>
                </a:cubicBezTo>
                <a:cubicBezTo>
                  <a:pt x="303" y="279"/>
                  <a:pt x="303" y="279"/>
                  <a:pt x="303" y="279"/>
                </a:cubicBezTo>
                <a:cubicBezTo>
                  <a:pt x="302" y="280"/>
                  <a:pt x="302" y="280"/>
                  <a:pt x="302" y="280"/>
                </a:cubicBezTo>
                <a:cubicBezTo>
                  <a:pt x="302" y="280"/>
                  <a:pt x="302" y="280"/>
                  <a:pt x="302" y="280"/>
                </a:cubicBezTo>
                <a:cubicBezTo>
                  <a:pt x="301" y="280"/>
                  <a:pt x="301" y="280"/>
                  <a:pt x="301" y="280"/>
                </a:cubicBezTo>
                <a:cubicBezTo>
                  <a:pt x="299" y="279"/>
                  <a:pt x="299" y="279"/>
                  <a:pt x="299" y="279"/>
                </a:cubicBezTo>
                <a:cubicBezTo>
                  <a:pt x="299" y="279"/>
                  <a:pt x="299" y="279"/>
                  <a:pt x="299" y="279"/>
                </a:cubicBezTo>
                <a:cubicBezTo>
                  <a:pt x="298" y="278"/>
                  <a:pt x="298" y="278"/>
                  <a:pt x="298" y="278"/>
                </a:cubicBezTo>
                <a:cubicBezTo>
                  <a:pt x="297" y="277"/>
                  <a:pt x="297" y="277"/>
                  <a:pt x="297" y="277"/>
                </a:cubicBezTo>
                <a:cubicBezTo>
                  <a:pt x="297" y="278"/>
                  <a:pt x="297" y="278"/>
                  <a:pt x="297" y="278"/>
                </a:cubicBezTo>
                <a:cubicBezTo>
                  <a:pt x="297" y="279"/>
                  <a:pt x="297" y="279"/>
                  <a:pt x="297" y="279"/>
                </a:cubicBezTo>
                <a:cubicBezTo>
                  <a:pt x="296" y="279"/>
                  <a:pt x="296" y="279"/>
                  <a:pt x="296" y="279"/>
                </a:cubicBezTo>
                <a:cubicBezTo>
                  <a:pt x="295" y="279"/>
                  <a:pt x="295" y="279"/>
                  <a:pt x="295" y="279"/>
                </a:cubicBezTo>
                <a:cubicBezTo>
                  <a:pt x="295" y="279"/>
                  <a:pt x="295" y="279"/>
                  <a:pt x="295" y="279"/>
                </a:cubicBezTo>
                <a:cubicBezTo>
                  <a:pt x="294" y="279"/>
                  <a:pt x="294" y="279"/>
                  <a:pt x="294" y="279"/>
                </a:cubicBezTo>
                <a:cubicBezTo>
                  <a:pt x="294" y="279"/>
                  <a:pt x="294" y="279"/>
                  <a:pt x="294" y="279"/>
                </a:cubicBezTo>
                <a:cubicBezTo>
                  <a:pt x="294" y="279"/>
                  <a:pt x="294" y="279"/>
                  <a:pt x="294" y="279"/>
                </a:cubicBezTo>
                <a:cubicBezTo>
                  <a:pt x="293" y="279"/>
                  <a:pt x="293" y="279"/>
                  <a:pt x="293" y="279"/>
                </a:cubicBezTo>
                <a:cubicBezTo>
                  <a:pt x="287" y="280"/>
                  <a:pt x="287" y="280"/>
                  <a:pt x="287" y="280"/>
                </a:cubicBezTo>
                <a:cubicBezTo>
                  <a:pt x="274" y="274"/>
                  <a:pt x="274" y="274"/>
                  <a:pt x="274" y="274"/>
                </a:cubicBezTo>
                <a:cubicBezTo>
                  <a:pt x="252" y="285"/>
                  <a:pt x="252" y="285"/>
                  <a:pt x="252" y="285"/>
                </a:cubicBezTo>
                <a:cubicBezTo>
                  <a:pt x="236" y="280"/>
                  <a:pt x="236" y="280"/>
                  <a:pt x="236" y="280"/>
                </a:cubicBezTo>
                <a:cubicBezTo>
                  <a:pt x="199" y="253"/>
                  <a:pt x="199" y="253"/>
                  <a:pt x="199" y="253"/>
                </a:cubicBezTo>
                <a:cubicBezTo>
                  <a:pt x="121" y="246"/>
                  <a:pt x="121" y="246"/>
                  <a:pt x="121" y="246"/>
                </a:cubicBezTo>
                <a:cubicBezTo>
                  <a:pt x="80" y="207"/>
                  <a:pt x="80" y="207"/>
                  <a:pt x="80" y="207"/>
                </a:cubicBezTo>
                <a:cubicBezTo>
                  <a:pt x="0" y="173"/>
                  <a:pt x="0" y="173"/>
                  <a:pt x="0" y="173"/>
                </a:cubicBezTo>
                <a:cubicBezTo>
                  <a:pt x="7" y="106"/>
                  <a:pt x="7" y="106"/>
                  <a:pt x="7" y="106"/>
                </a:cubicBezTo>
                <a:cubicBezTo>
                  <a:pt x="59" y="78"/>
                  <a:pt x="59" y="78"/>
                  <a:pt x="59" y="78"/>
                </a:cubicBezTo>
                <a:cubicBezTo>
                  <a:pt x="119" y="65"/>
                  <a:pt x="119" y="65"/>
                  <a:pt x="119" y="65"/>
                </a:cubicBezTo>
                <a:cubicBezTo>
                  <a:pt x="124" y="64"/>
                  <a:pt x="124" y="64"/>
                  <a:pt x="124" y="64"/>
                </a:cubicBezTo>
                <a:close/>
                <a:moveTo>
                  <a:pt x="348" y="265"/>
                </a:moveTo>
                <a:cubicBezTo>
                  <a:pt x="349" y="265"/>
                  <a:pt x="349" y="265"/>
                  <a:pt x="349" y="265"/>
                </a:cubicBezTo>
                <a:cubicBezTo>
                  <a:pt x="350" y="265"/>
                  <a:pt x="350" y="265"/>
                  <a:pt x="350" y="265"/>
                </a:cubicBezTo>
                <a:cubicBezTo>
                  <a:pt x="350" y="265"/>
                  <a:pt x="350" y="265"/>
                  <a:pt x="350" y="265"/>
                </a:cubicBezTo>
                <a:cubicBezTo>
                  <a:pt x="349" y="264"/>
                  <a:pt x="349" y="264"/>
                  <a:pt x="349" y="264"/>
                </a:cubicBezTo>
                <a:cubicBezTo>
                  <a:pt x="348" y="265"/>
                  <a:pt x="348" y="265"/>
                  <a:pt x="348" y="265"/>
                </a:cubicBezTo>
                <a:close/>
                <a:moveTo>
                  <a:pt x="362" y="249"/>
                </a:moveTo>
                <a:cubicBezTo>
                  <a:pt x="362" y="250"/>
                  <a:pt x="362" y="250"/>
                  <a:pt x="362" y="250"/>
                </a:cubicBezTo>
                <a:cubicBezTo>
                  <a:pt x="363" y="250"/>
                  <a:pt x="363" y="250"/>
                  <a:pt x="363" y="250"/>
                </a:cubicBezTo>
                <a:cubicBezTo>
                  <a:pt x="363" y="249"/>
                  <a:pt x="363" y="249"/>
                  <a:pt x="363" y="249"/>
                </a:cubicBezTo>
                <a:cubicBezTo>
                  <a:pt x="362" y="248"/>
                  <a:pt x="362" y="248"/>
                  <a:pt x="362" y="248"/>
                </a:cubicBezTo>
                <a:cubicBezTo>
                  <a:pt x="362" y="249"/>
                  <a:pt x="362" y="249"/>
                  <a:pt x="362" y="249"/>
                </a:cubicBezTo>
                <a:close/>
                <a:moveTo>
                  <a:pt x="371" y="212"/>
                </a:moveTo>
                <a:cubicBezTo>
                  <a:pt x="372" y="213"/>
                  <a:pt x="372" y="213"/>
                  <a:pt x="372" y="213"/>
                </a:cubicBezTo>
                <a:cubicBezTo>
                  <a:pt x="373" y="214"/>
                  <a:pt x="373" y="214"/>
                  <a:pt x="373" y="214"/>
                </a:cubicBezTo>
                <a:cubicBezTo>
                  <a:pt x="374" y="214"/>
                  <a:pt x="374" y="214"/>
                  <a:pt x="374" y="214"/>
                </a:cubicBezTo>
                <a:cubicBezTo>
                  <a:pt x="374" y="213"/>
                  <a:pt x="374" y="213"/>
                  <a:pt x="374" y="213"/>
                </a:cubicBezTo>
                <a:cubicBezTo>
                  <a:pt x="373" y="212"/>
                  <a:pt x="373" y="212"/>
                  <a:pt x="373" y="212"/>
                </a:cubicBezTo>
                <a:cubicBezTo>
                  <a:pt x="372" y="213"/>
                  <a:pt x="372" y="213"/>
                  <a:pt x="372" y="213"/>
                </a:cubicBezTo>
                <a:cubicBezTo>
                  <a:pt x="371" y="212"/>
                  <a:pt x="371" y="212"/>
                  <a:pt x="371" y="212"/>
                </a:cubicBezTo>
                <a:close/>
                <a:moveTo>
                  <a:pt x="365" y="200"/>
                </a:moveTo>
                <a:cubicBezTo>
                  <a:pt x="365" y="201"/>
                  <a:pt x="365" y="201"/>
                  <a:pt x="365" y="201"/>
                </a:cubicBezTo>
                <a:cubicBezTo>
                  <a:pt x="365" y="201"/>
                  <a:pt x="365" y="201"/>
                  <a:pt x="365" y="201"/>
                </a:cubicBezTo>
                <a:cubicBezTo>
                  <a:pt x="367" y="201"/>
                  <a:pt x="367" y="201"/>
                  <a:pt x="367" y="201"/>
                </a:cubicBezTo>
                <a:cubicBezTo>
                  <a:pt x="368" y="202"/>
                  <a:pt x="368" y="202"/>
                  <a:pt x="368" y="202"/>
                </a:cubicBezTo>
                <a:cubicBezTo>
                  <a:pt x="368" y="201"/>
                  <a:pt x="368" y="201"/>
                  <a:pt x="368" y="201"/>
                </a:cubicBezTo>
                <a:cubicBezTo>
                  <a:pt x="367" y="201"/>
                  <a:pt x="367" y="201"/>
                  <a:pt x="367" y="201"/>
                </a:cubicBezTo>
                <a:cubicBezTo>
                  <a:pt x="366" y="200"/>
                  <a:pt x="366" y="200"/>
                  <a:pt x="366" y="200"/>
                </a:cubicBezTo>
                <a:cubicBezTo>
                  <a:pt x="365" y="200"/>
                  <a:pt x="365" y="200"/>
                  <a:pt x="365" y="200"/>
                </a:cubicBezTo>
                <a:close/>
                <a:moveTo>
                  <a:pt x="372" y="276"/>
                </a:moveTo>
                <a:cubicBezTo>
                  <a:pt x="373" y="276"/>
                  <a:pt x="373" y="276"/>
                  <a:pt x="373" y="276"/>
                </a:cubicBezTo>
                <a:cubicBezTo>
                  <a:pt x="374" y="276"/>
                  <a:pt x="374" y="276"/>
                  <a:pt x="374" y="276"/>
                </a:cubicBezTo>
                <a:cubicBezTo>
                  <a:pt x="374" y="275"/>
                  <a:pt x="374" y="275"/>
                  <a:pt x="374" y="275"/>
                </a:cubicBezTo>
                <a:cubicBezTo>
                  <a:pt x="374" y="273"/>
                  <a:pt x="374" y="273"/>
                  <a:pt x="374" y="273"/>
                </a:cubicBezTo>
                <a:cubicBezTo>
                  <a:pt x="374" y="271"/>
                  <a:pt x="374" y="271"/>
                  <a:pt x="374" y="271"/>
                </a:cubicBezTo>
                <a:cubicBezTo>
                  <a:pt x="375" y="270"/>
                  <a:pt x="375" y="270"/>
                  <a:pt x="375" y="270"/>
                </a:cubicBezTo>
                <a:cubicBezTo>
                  <a:pt x="376" y="268"/>
                  <a:pt x="376" y="268"/>
                  <a:pt x="376" y="268"/>
                </a:cubicBezTo>
                <a:cubicBezTo>
                  <a:pt x="376" y="266"/>
                  <a:pt x="376" y="266"/>
                  <a:pt x="376" y="266"/>
                </a:cubicBezTo>
                <a:cubicBezTo>
                  <a:pt x="377" y="266"/>
                  <a:pt x="377" y="266"/>
                  <a:pt x="377" y="266"/>
                </a:cubicBezTo>
                <a:cubicBezTo>
                  <a:pt x="376" y="265"/>
                  <a:pt x="376" y="265"/>
                  <a:pt x="376" y="265"/>
                </a:cubicBezTo>
                <a:cubicBezTo>
                  <a:pt x="376" y="263"/>
                  <a:pt x="376" y="263"/>
                  <a:pt x="376" y="263"/>
                </a:cubicBezTo>
                <a:cubicBezTo>
                  <a:pt x="377" y="261"/>
                  <a:pt x="377" y="261"/>
                  <a:pt x="377" y="261"/>
                </a:cubicBezTo>
                <a:cubicBezTo>
                  <a:pt x="376" y="259"/>
                  <a:pt x="376" y="259"/>
                  <a:pt x="376" y="259"/>
                </a:cubicBezTo>
                <a:cubicBezTo>
                  <a:pt x="377" y="258"/>
                  <a:pt x="377" y="258"/>
                  <a:pt x="377" y="258"/>
                </a:cubicBezTo>
                <a:cubicBezTo>
                  <a:pt x="377" y="255"/>
                  <a:pt x="377" y="255"/>
                  <a:pt x="377" y="255"/>
                </a:cubicBezTo>
                <a:cubicBezTo>
                  <a:pt x="378" y="253"/>
                  <a:pt x="378" y="253"/>
                  <a:pt x="378" y="253"/>
                </a:cubicBezTo>
                <a:cubicBezTo>
                  <a:pt x="378" y="253"/>
                  <a:pt x="378" y="253"/>
                  <a:pt x="378" y="253"/>
                </a:cubicBezTo>
                <a:cubicBezTo>
                  <a:pt x="378" y="252"/>
                  <a:pt x="378" y="252"/>
                  <a:pt x="378" y="252"/>
                </a:cubicBezTo>
                <a:cubicBezTo>
                  <a:pt x="377" y="251"/>
                  <a:pt x="377" y="251"/>
                  <a:pt x="377" y="251"/>
                </a:cubicBezTo>
                <a:cubicBezTo>
                  <a:pt x="376" y="251"/>
                  <a:pt x="376" y="251"/>
                  <a:pt x="376" y="251"/>
                </a:cubicBezTo>
                <a:cubicBezTo>
                  <a:pt x="376" y="250"/>
                  <a:pt x="376" y="250"/>
                  <a:pt x="376" y="250"/>
                </a:cubicBezTo>
                <a:cubicBezTo>
                  <a:pt x="374" y="249"/>
                  <a:pt x="374" y="249"/>
                  <a:pt x="374" y="249"/>
                </a:cubicBezTo>
                <a:cubicBezTo>
                  <a:pt x="374" y="250"/>
                  <a:pt x="374" y="250"/>
                  <a:pt x="374" y="250"/>
                </a:cubicBezTo>
                <a:cubicBezTo>
                  <a:pt x="374" y="251"/>
                  <a:pt x="374" y="251"/>
                  <a:pt x="374" y="251"/>
                </a:cubicBezTo>
                <a:cubicBezTo>
                  <a:pt x="373" y="251"/>
                  <a:pt x="373" y="251"/>
                  <a:pt x="373" y="251"/>
                </a:cubicBezTo>
                <a:cubicBezTo>
                  <a:pt x="371" y="253"/>
                  <a:pt x="371" y="253"/>
                  <a:pt x="371" y="253"/>
                </a:cubicBezTo>
                <a:cubicBezTo>
                  <a:pt x="370" y="255"/>
                  <a:pt x="370" y="255"/>
                  <a:pt x="370" y="255"/>
                </a:cubicBezTo>
                <a:cubicBezTo>
                  <a:pt x="370" y="255"/>
                  <a:pt x="370" y="255"/>
                  <a:pt x="370" y="255"/>
                </a:cubicBezTo>
                <a:cubicBezTo>
                  <a:pt x="370" y="256"/>
                  <a:pt x="370" y="256"/>
                  <a:pt x="370" y="256"/>
                </a:cubicBezTo>
                <a:cubicBezTo>
                  <a:pt x="369" y="257"/>
                  <a:pt x="369" y="257"/>
                  <a:pt x="369" y="257"/>
                </a:cubicBezTo>
                <a:cubicBezTo>
                  <a:pt x="368" y="259"/>
                  <a:pt x="368" y="259"/>
                  <a:pt x="368" y="259"/>
                </a:cubicBezTo>
                <a:cubicBezTo>
                  <a:pt x="367" y="262"/>
                  <a:pt x="367" y="262"/>
                  <a:pt x="367" y="262"/>
                </a:cubicBezTo>
                <a:cubicBezTo>
                  <a:pt x="367" y="262"/>
                  <a:pt x="367" y="262"/>
                  <a:pt x="367" y="262"/>
                </a:cubicBezTo>
                <a:cubicBezTo>
                  <a:pt x="367" y="263"/>
                  <a:pt x="367" y="263"/>
                  <a:pt x="367" y="263"/>
                </a:cubicBezTo>
                <a:cubicBezTo>
                  <a:pt x="367" y="265"/>
                  <a:pt x="367" y="265"/>
                  <a:pt x="367" y="265"/>
                </a:cubicBezTo>
                <a:cubicBezTo>
                  <a:pt x="368" y="267"/>
                  <a:pt x="368" y="267"/>
                  <a:pt x="368" y="267"/>
                </a:cubicBezTo>
                <a:cubicBezTo>
                  <a:pt x="368" y="268"/>
                  <a:pt x="368" y="268"/>
                  <a:pt x="368" y="268"/>
                </a:cubicBezTo>
                <a:cubicBezTo>
                  <a:pt x="368" y="269"/>
                  <a:pt x="368" y="269"/>
                  <a:pt x="368" y="269"/>
                </a:cubicBezTo>
                <a:cubicBezTo>
                  <a:pt x="368" y="269"/>
                  <a:pt x="368" y="269"/>
                  <a:pt x="368" y="269"/>
                </a:cubicBezTo>
                <a:cubicBezTo>
                  <a:pt x="368" y="269"/>
                  <a:pt x="368" y="269"/>
                  <a:pt x="368" y="269"/>
                </a:cubicBezTo>
                <a:cubicBezTo>
                  <a:pt x="369" y="271"/>
                  <a:pt x="369" y="271"/>
                  <a:pt x="369" y="271"/>
                </a:cubicBezTo>
                <a:cubicBezTo>
                  <a:pt x="369" y="271"/>
                  <a:pt x="369" y="271"/>
                  <a:pt x="369" y="271"/>
                </a:cubicBezTo>
                <a:cubicBezTo>
                  <a:pt x="370" y="272"/>
                  <a:pt x="370" y="272"/>
                  <a:pt x="370" y="272"/>
                </a:cubicBezTo>
                <a:cubicBezTo>
                  <a:pt x="371" y="272"/>
                  <a:pt x="371" y="272"/>
                  <a:pt x="371" y="272"/>
                </a:cubicBezTo>
                <a:cubicBezTo>
                  <a:pt x="372" y="273"/>
                  <a:pt x="372" y="273"/>
                  <a:pt x="372" y="273"/>
                </a:cubicBezTo>
                <a:cubicBezTo>
                  <a:pt x="372" y="275"/>
                  <a:pt x="372" y="275"/>
                  <a:pt x="372" y="275"/>
                </a:cubicBezTo>
                <a:cubicBezTo>
                  <a:pt x="372" y="276"/>
                  <a:pt x="372" y="276"/>
                  <a:pt x="372" y="276"/>
                </a:cubicBezTo>
                <a:close/>
                <a:moveTo>
                  <a:pt x="309" y="283"/>
                </a:moveTo>
                <a:cubicBezTo>
                  <a:pt x="310" y="283"/>
                  <a:pt x="310" y="283"/>
                  <a:pt x="310" y="283"/>
                </a:cubicBezTo>
                <a:cubicBezTo>
                  <a:pt x="310" y="283"/>
                  <a:pt x="310" y="283"/>
                  <a:pt x="310" y="283"/>
                </a:cubicBezTo>
                <a:cubicBezTo>
                  <a:pt x="312" y="284"/>
                  <a:pt x="312" y="284"/>
                  <a:pt x="312" y="284"/>
                </a:cubicBezTo>
                <a:cubicBezTo>
                  <a:pt x="312" y="283"/>
                  <a:pt x="312" y="283"/>
                  <a:pt x="312" y="283"/>
                </a:cubicBezTo>
                <a:cubicBezTo>
                  <a:pt x="311" y="283"/>
                  <a:pt x="311" y="283"/>
                  <a:pt x="311" y="283"/>
                </a:cubicBezTo>
                <a:cubicBezTo>
                  <a:pt x="309" y="283"/>
                  <a:pt x="309" y="283"/>
                  <a:pt x="309" y="283"/>
                </a:cubicBezTo>
                <a:close/>
                <a:moveTo>
                  <a:pt x="309" y="289"/>
                </a:moveTo>
                <a:cubicBezTo>
                  <a:pt x="308" y="289"/>
                  <a:pt x="308" y="289"/>
                  <a:pt x="308" y="289"/>
                </a:cubicBezTo>
                <a:cubicBezTo>
                  <a:pt x="307" y="289"/>
                  <a:pt x="307" y="289"/>
                  <a:pt x="307" y="289"/>
                </a:cubicBezTo>
                <a:cubicBezTo>
                  <a:pt x="306" y="290"/>
                  <a:pt x="306" y="290"/>
                  <a:pt x="306" y="290"/>
                </a:cubicBezTo>
                <a:cubicBezTo>
                  <a:pt x="305" y="290"/>
                  <a:pt x="305" y="290"/>
                  <a:pt x="305" y="290"/>
                </a:cubicBezTo>
                <a:cubicBezTo>
                  <a:pt x="304" y="290"/>
                  <a:pt x="304" y="290"/>
                  <a:pt x="304" y="290"/>
                </a:cubicBezTo>
                <a:cubicBezTo>
                  <a:pt x="303" y="291"/>
                  <a:pt x="303" y="291"/>
                  <a:pt x="303" y="291"/>
                </a:cubicBezTo>
                <a:cubicBezTo>
                  <a:pt x="303" y="292"/>
                  <a:pt x="303" y="292"/>
                  <a:pt x="303" y="292"/>
                </a:cubicBezTo>
                <a:cubicBezTo>
                  <a:pt x="301" y="293"/>
                  <a:pt x="301" y="293"/>
                  <a:pt x="301" y="293"/>
                </a:cubicBezTo>
                <a:cubicBezTo>
                  <a:pt x="299" y="295"/>
                  <a:pt x="299" y="295"/>
                  <a:pt x="299" y="295"/>
                </a:cubicBezTo>
                <a:cubicBezTo>
                  <a:pt x="300" y="296"/>
                  <a:pt x="300" y="296"/>
                  <a:pt x="300" y="296"/>
                </a:cubicBezTo>
                <a:cubicBezTo>
                  <a:pt x="300" y="298"/>
                  <a:pt x="300" y="298"/>
                  <a:pt x="300" y="298"/>
                </a:cubicBezTo>
                <a:cubicBezTo>
                  <a:pt x="300" y="299"/>
                  <a:pt x="300" y="299"/>
                  <a:pt x="300" y="299"/>
                </a:cubicBezTo>
                <a:cubicBezTo>
                  <a:pt x="300" y="300"/>
                  <a:pt x="300" y="300"/>
                  <a:pt x="300" y="300"/>
                </a:cubicBezTo>
                <a:cubicBezTo>
                  <a:pt x="301" y="301"/>
                  <a:pt x="301" y="301"/>
                  <a:pt x="301" y="301"/>
                </a:cubicBezTo>
                <a:cubicBezTo>
                  <a:pt x="303" y="301"/>
                  <a:pt x="303" y="301"/>
                  <a:pt x="303" y="301"/>
                </a:cubicBezTo>
                <a:cubicBezTo>
                  <a:pt x="304" y="302"/>
                  <a:pt x="304" y="302"/>
                  <a:pt x="304" y="302"/>
                </a:cubicBezTo>
                <a:cubicBezTo>
                  <a:pt x="305" y="302"/>
                  <a:pt x="305" y="302"/>
                  <a:pt x="305" y="302"/>
                </a:cubicBezTo>
                <a:cubicBezTo>
                  <a:pt x="306" y="302"/>
                  <a:pt x="306" y="302"/>
                  <a:pt x="306" y="302"/>
                </a:cubicBezTo>
                <a:cubicBezTo>
                  <a:pt x="306" y="302"/>
                  <a:pt x="306" y="302"/>
                  <a:pt x="306" y="302"/>
                </a:cubicBezTo>
                <a:cubicBezTo>
                  <a:pt x="307" y="301"/>
                  <a:pt x="307" y="301"/>
                  <a:pt x="307" y="301"/>
                </a:cubicBezTo>
                <a:cubicBezTo>
                  <a:pt x="308" y="301"/>
                  <a:pt x="308" y="301"/>
                  <a:pt x="308" y="301"/>
                </a:cubicBezTo>
                <a:cubicBezTo>
                  <a:pt x="309" y="301"/>
                  <a:pt x="309" y="301"/>
                  <a:pt x="309" y="301"/>
                </a:cubicBezTo>
                <a:cubicBezTo>
                  <a:pt x="310" y="300"/>
                  <a:pt x="310" y="300"/>
                  <a:pt x="310" y="300"/>
                </a:cubicBezTo>
                <a:cubicBezTo>
                  <a:pt x="310" y="299"/>
                  <a:pt x="310" y="299"/>
                  <a:pt x="310" y="299"/>
                </a:cubicBezTo>
                <a:cubicBezTo>
                  <a:pt x="311" y="299"/>
                  <a:pt x="311" y="299"/>
                  <a:pt x="311" y="299"/>
                </a:cubicBezTo>
                <a:cubicBezTo>
                  <a:pt x="312" y="298"/>
                  <a:pt x="312" y="298"/>
                  <a:pt x="312" y="298"/>
                </a:cubicBezTo>
                <a:cubicBezTo>
                  <a:pt x="312" y="297"/>
                  <a:pt x="312" y="297"/>
                  <a:pt x="312" y="297"/>
                </a:cubicBezTo>
                <a:cubicBezTo>
                  <a:pt x="312" y="295"/>
                  <a:pt x="312" y="295"/>
                  <a:pt x="312" y="295"/>
                </a:cubicBezTo>
                <a:cubicBezTo>
                  <a:pt x="313" y="295"/>
                  <a:pt x="313" y="295"/>
                  <a:pt x="313" y="295"/>
                </a:cubicBezTo>
                <a:cubicBezTo>
                  <a:pt x="313" y="294"/>
                  <a:pt x="313" y="294"/>
                  <a:pt x="313" y="294"/>
                </a:cubicBezTo>
                <a:cubicBezTo>
                  <a:pt x="314" y="292"/>
                  <a:pt x="314" y="292"/>
                  <a:pt x="314" y="292"/>
                </a:cubicBezTo>
                <a:cubicBezTo>
                  <a:pt x="313" y="290"/>
                  <a:pt x="313" y="290"/>
                  <a:pt x="313" y="290"/>
                </a:cubicBezTo>
                <a:cubicBezTo>
                  <a:pt x="312" y="290"/>
                  <a:pt x="312" y="290"/>
                  <a:pt x="312" y="290"/>
                </a:cubicBezTo>
                <a:cubicBezTo>
                  <a:pt x="311" y="289"/>
                  <a:pt x="311" y="289"/>
                  <a:pt x="311" y="289"/>
                </a:cubicBezTo>
                <a:cubicBezTo>
                  <a:pt x="310" y="290"/>
                  <a:pt x="310" y="290"/>
                  <a:pt x="310" y="290"/>
                </a:cubicBezTo>
                <a:cubicBezTo>
                  <a:pt x="310" y="290"/>
                  <a:pt x="309" y="289"/>
                  <a:pt x="309" y="289"/>
                </a:cubicBez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4" name="Freeform 12">
            <a:extLst>
              <a:ext uri="{FF2B5EF4-FFF2-40B4-BE49-F238E27FC236}">
                <a16:creationId xmlns:a16="http://schemas.microsoft.com/office/drawing/2014/main" id="{F4CA8390-4870-1B9C-5632-A9A799D47CDA}"/>
              </a:ext>
            </a:extLst>
          </p:cNvPr>
          <p:cNvSpPr>
            <a:spLocks noEditPoints="1"/>
          </p:cNvSpPr>
          <p:nvPr userDrawn="1"/>
        </p:nvSpPr>
        <p:spPr bwMode="auto">
          <a:xfrm>
            <a:off x="13565892" y="2323385"/>
            <a:ext cx="873069" cy="1082678"/>
          </a:xfrm>
          <a:custGeom>
            <a:avLst/>
            <a:gdLst>
              <a:gd name="T0" fmla="*/ 84 w 88"/>
              <a:gd name="T1" fmla="*/ 10 h 109"/>
              <a:gd name="T2" fmla="*/ 36 w 88"/>
              <a:gd name="T3" fmla="*/ 1 h 109"/>
              <a:gd name="T4" fmla="*/ 29 w 88"/>
              <a:gd name="T5" fmla="*/ 11 h 109"/>
              <a:gd name="T6" fmla="*/ 38 w 88"/>
              <a:gd name="T7" fmla="*/ 20 h 109"/>
              <a:gd name="T8" fmla="*/ 39 w 88"/>
              <a:gd name="T9" fmla="*/ 21 h 109"/>
              <a:gd name="T10" fmla="*/ 35 w 88"/>
              <a:gd name="T11" fmla="*/ 23 h 109"/>
              <a:gd name="T12" fmla="*/ 46 w 88"/>
              <a:gd name="T13" fmla="*/ 27 h 109"/>
              <a:gd name="T14" fmla="*/ 55 w 88"/>
              <a:gd name="T15" fmla="*/ 28 h 109"/>
              <a:gd name="T16" fmla="*/ 63 w 88"/>
              <a:gd name="T17" fmla="*/ 20 h 109"/>
              <a:gd name="T18" fmla="*/ 62 w 88"/>
              <a:gd name="T19" fmla="*/ 11 h 109"/>
              <a:gd name="T20" fmla="*/ 53 w 88"/>
              <a:gd name="T21" fmla="*/ 8 h 109"/>
              <a:gd name="T22" fmla="*/ 49 w 88"/>
              <a:gd name="T23" fmla="*/ 11 h 109"/>
              <a:gd name="T24" fmla="*/ 45 w 88"/>
              <a:gd name="T25" fmla="*/ 6 h 109"/>
              <a:gd name="T26" fmla="*/ 46 w 88"/>
              <a:gd name="T27" fmla="*/ 16 h 109"/>
              <a:gd name="T28" fmla="*/ 39 w 88"/>
              <a:gd name="T29" fmla="*/ 12 h 109"/>
              <a:gd name="T30" fmla="*/ 34 w 88"/>
              <a:gd name="T31" fmla="*/ 5 h 109"/>
              <a:gd name="T32" fmla="*/ 33 w 88"/>
              <a:gd name="T33" fmla="*/ 13 h 109"/>
              <a:gd name="T34" fmla="*/ 29 w 88"/>
              <a:gd name="T35" fmla="*/ 15 h 109"/>
              <a:gd name="T36" fmla="*/ 71 w 88"/>
              <a:gd name="T37" fmla="*/ 35 h 109"/>
              <a:gd name="T38" fmla="*/ 73 w 88"/>
              <a:gd name="T39" fmla="*/ 34 h 109"/>
              <a:gd name="T40" fmla="*/ 68 w 88"/>
              <a:gd name="T41" fmla="*/ 38 h 109"/>
              <a:gd name="T42" fmla="*/ 54 w 88"/>
              <a:gd name="T43" fmla="*/ 48 h 109"/>
              <a:gd name="T44" fmla="*/ 61 w 88"/>
              <a:gd name="T45" fmla="*/ 54 h 109"/>
              <a:gd name="T46" fmla="*/ 53 w 88"/>
              <a:gd name="T47" fmla="*/ 61 h 109"/>
              <a:gd name="T48" fmla="*/ 45 w 88"/>
              <a:gd name="T49" fmla="*/ 61 h 109"/>
              <a:gd name="T50" fmla="*/ 45 w 88"/>
              <a:gd name="T51" fmla="*/ 51 h 109"/>
              <a:gd name="T52" fmla="*/ 41 w 88"/>
              <a:gd name="T53" fmla="*/ 43 h 109"/>
              <a:gd name="T54" fmla="*/ 48 w 88"/>
              <a:gd name="T55" fmla="*/ 46 h 109"/>
              <a:gd name="T56" fmla="*/ 45 w 88"/>
              <a:gd name="T57" fmla="*/ 40 h 109"/>
              <a:gd name="T58" fmla="*/ 3 w 88"/>
              <a:gd name="T59" fmla="*/ 45 h 109"/>
              <a:gd name="T60" fmla="*/ 3 w 88"/>
              <a:gd name="T61" fmla="*/ 43 h 109"/>
              <a:gd name="T62" fmla="*/ 29 w 88"/>
              <a:gd name="T63" fmla="*/ 76 h 109"/>
              <a:gd name="T64" fmla="*/ 26 w 88"/>
              <a:gd name="T65" fmla="*/ 70 h 109"/>
              <a:gd name="T66" fmla="*/ 19 w 88"/>
              <a:gd name="T67" fmla="*/ 66 h 109"/>
              <a:gd name="T68" fmla="*/ 16 w 88"/>
              <a:gd name="T69" fmla="*/ 61 h 109"/>
              <a:gd name="T70" fmla="*/ 22 w 88"/>
              <a:gd name="T71" fmla="*/ 60 h 109"/>
              <a:gd name="T72" fmla="*/ 26 w 88"/>
              <a:gd name="T73" fmla="*/ 55 h 109"/>
              <a:gd name="T74" fmla="*/ 23 w 88"/>
              <a:gd name="T75" fmla="*/ 54 h 109"/>
              <a:gd name="T76" fmla="*/ 14 w 88"/>
              <a:gd name="T77" fmla="*/ 54 h 109"/>
              <a:gd name="T78" fmla="*/ 19 w 88"/>
              <a:gd name="T79" fmla="*/ 49 h 109"/>
              <a:gd name="T80" fmla="*/ 26 w 88"/>
              <a:gd name="T81" fmla="*/ 44 h 109"/>
              <a:gd name="T82" fmla="*/ 21 w 88"/>
              <a:gd name="T83" fmla="*/ 45 h 109"/>
              <a:gd name="T84" fmla="*/ 19 w 88"/>
              <a:gd name="T85" fmla="*/ 41 h 109"/>
              <a:gd name="T86" fmla="*/ 18 w 88"/>
              <a:gd name="T87" fmla="*/ 46 h 109"/>
              <a:gd name="T88" fmla="*/ 9 w 88"/>
              <a:gd name="T89" fmla="*/ 45 h 109"/>
              <a:gd name="T90" fmla="*/ 5 w 88"/>
              <a:gd name="T91" fmla="*/ 40 h 109"/>
              <a:gd name="T92" fmla="*/ 6 w 88"/>
              <a:gd name="T93" fmla="*/ 37 h 109"/>
              <a:gd name="T94" fmla="*/ 5 w 88"/>
              <a:gd name="T95" fmla="*/ 30 h 109"/>
              <a:gd name="T96" fmla="*/ 0 w 88"/>
              <a:gd name="T97" fmla="*/ 26 h 109"/>
              <a:gd name="T98" fmla="*/ 6 w 88"/>
              <a:gd name="T99" fmla="*/ 23 h 109"/>
              <a:gd name="T100" fmla="*/ 12 w 88"/>
              <a:gd name="T101" fmla="*/ 22 h 109"/>
              <a:gd name="T102" fmla="*/ 11 w 88"/>
              <a:gd name="T103" fmla="*/ 25 h 109"/>
              <a:gd name="T104" fmla="*/ 14 w 88"/>
              <a:gd name="T105" fmla="*/ 31 h 109"/>
              <a:gd name="T106" fmla="*/ 18 w 88"/>
              <a:gd name="T107" fmla="*/ 27 h 109"/>
              <a:gd name="T108" fmla="*/ 23 w 88"/>
              <a:gd name="T109" fmla="*/ 36 h 109"/>
              <a:gd name="T110" fmla="*/ 20 w 88"/>
              <a:gd name="T111" fmla="*/ 19 h 109"/>
              <a:gd name="T112" fmla="*/ 28 w 88"/>
              <a:gd name="T113" fmla="*/ 21 h 109"/>
              <a:gd name="T114" fmla="*/ 31 w 88"/>
              <a:gd name="T115" fmla="*/ 24 h 109"/>
              <a:gd name="T116" fmla="*/ 44 w 88"/>
              <a:gd name="T117" fmla="*/ 37 h 109"/>
              <a:gd name="T118" fmla="*/ 38 w 88"/>
              <a:gd name="T119" fmla="*/ 42 h 109"/>
              <a:gd name="T120" fmla="*/ 35 w 88"/>
              <a:gd name="T121" fmla="*/ 54 h 109"/>
              <a:gd name="T122" fmla="*/ 32 w 88"/>
              <a:gd name="T123" fmla="*/ 65 h 109"/>
              <a:gd name="T124" fmla="*/ 44 w 88"/>
              <a:gd name="T12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 h="109">
                <a:moveTo>
                  <a:pt x="82" y="10"/>
                </a:moveTo>
                <a:cubicBezTo>
                  <a:pt x="82" y="9"/>
                  <a:pt x="83" y="9"/>
                  <a:pt x="83" y="9"/>
                </a:cubicBezTo>
                <a:cubicBezTo>
                  <a:pt x="84" y="8"/>
                  <a:pt x="84" y="8"/>
                  <a:pt x="84" y="8"/>
                </a:cubicBezTo>
                <a:cubicBezTo>
                  <a:pt x="85" y="8"/>
                  <a:pt x="85" y="8"/>
                  <a:pt x="85" y="8"/>
                </a:cubicBezTo>
                <a:cubicBezTo>
                  <a:pt x="86" y="6"/>
                  <a:pt x="86" y="6"/>
                  <a:pt x="86" y="6"/>
                </a:cubicBezTo>
                <a:cubicBezTo>
                  <a:pt x="87" y="6"/>
                  <a:pt x="87" y="6"/>
                  <a:pt x="87" y="6"/>
                </a:cubicBezTo>
                <a:cubicBezTo>
                  <a:pt x="88" y="6"/>
                  <a:pt x="88" y="6"/>
                  <a:pt x="88" y="6"/>
                </a:cubicBezTo>
                <a:cubicBezTo>
                  <a:pt x="88" y="6"/>
                  <a:pt x="88" y="6"/>
                  <a:pt x="88" y="6"/>
                </a:cubicBezTo>
                <a:cubicBezTo>
                  <a:pt x="88" y="7"/>
                  <a:pt x="88" y="7"/>
                  <a:pt x="88" y="7"/>
                </a:cubicBezTo>
                <a:cubicBezTo>
                  <a:pt x="87" y="8"/>
                  <a:pt x="87" y="8"/>
                  <a:pt x="87" y="8"/>
                </a:cubicBezTo>
                <a:cubicBezTo>
                  <a:pt x="86" y="8"/>
                  <a:pt x="86" y="8"/>
                  <a:pt x="86" y="8"/>
                </a:cubicBezTo>
                <a:cubicBezTo>
                  <a:pt x="84" y="10"/>
                  <a:pt x="84" y="10"/>
                  <a:pt x="84" y="10"/>
                </a:cubicBezTo>
                <a:cubicBezTo>
                  <a:pt x="83" y="10"/>
                  <a:pt x="83" y="10"/>
                  <a:pt x="83" y="10"/>
                </a:cubicBezTo>
                <a:cubicBezTo>
                  <a:pt x="82" y="10"/>
                  <a:pt x="82" y="10"/>
                  <a:pt x="82" y="10"/>
                </a:cubicBezTo>
                <a:cubicBezTo>
                  <a:pt x="82" y="10"/>
                  <a:pt x="82" y="10"/>
                  <a:pt x="82" y="10"/>
                </a:cubicBezTo>
                <a:close/>
                <a:moveTo>
                  <a:pt x="66" y="11"/>
                </a:moveTo>
                <a:cubicBezTo>
                  <a:pt x="67" y="12"/>
                  <a:pt x="67" y="12"/>
                  <a:pt x="67" y="12"/>
                </a:cubicBezTo>
                <a:cubicBezTo>
                  <a:pt x="67" y="12"/>
                  <a:pt x="67" y="12"/>
                  <a:pt x="67" y="12"/>
                </a:cubicBezTo>
                <a:cubicBezTo>
                  <a:pt x="68" y="11"/>
                  <a:pt x="68" y="11"/>
                  <a:pt x="68" y="11"/>
                </a:cubicBezTo>
                <a:cubicBezTo>
                  <a:pt x="67" y="10"/>
                  <a:pt x="67" y="10"/>
                  <a:pt x="67" y="10"/>
                </a:cubicBezTo>
                <a:cubicBezTo>
                  <a:pt x="67" y="10"/>
                  <a:pt x="67" y="10"/>
                  <a:pt x="67" y="10"/>
                </a:cubicBezTo>
                <a:cubicBezTo>
                  <a:pt x="66" y="10"/>
                  <a:pt x="66" y="10"/>
                  <a:pt x="66" y="10"/>
                </a:cubicBezTo>
                <a:cubicBezTo>
                  <a:pt x="66" y="11"/>
                  <a:pt x="66" y="11"/>
                  <a:pt x="66" y="11"/>
                </a:cubicBezTo>
                <a:close/>
                <a:moveTo>
                  <a:pt x="36" y="1"/>
                </a:moveTo>
                <a:cubicBezTo>
                  <a:pt x="38" y="3"/>
                  <a:pt x="38" y="3"/>
                  <a:pt x="38" y="3"/>
                </a:cubicBezTo>
                <a:cubicBezTo>
                  <a:pt x="39" y="3"/>
                  <a:pt x="39" y="3"/>
                  <a:pt x="39" y="3"/>
                </a:cubicBezTo>
                <a:cubicBezTo>
                  <a:pt x="39" y="2"/>
                  <a:pt x="39" y="2"/>
                  <a:pt x="39" y="2"/>
                </a:cubicBezTo>
                <a:cubicBezTo>
                  <a:pt x="40" y="2"/>
                  <a:pt x="40" y="2"/>
                  <a:pt x="40" y="2"/>
                </a:cubicBezTo>
                <a:cubicBezTo>
                  <a:pt x="39" y="1"/>
                  <a:pt x="39" y="1"/>
                  <a:pt x="39" y="1"/>
                </a:cubicBezTo>
                <a:cubicBezTo>
                  <a:pt x="38" y="1"/>
                  <a:pt x="38" y="1"/>
                  <a:pt x="38" y="1"/>
                </a:cubicBezTo>
                <a:cubicBezTo>
                  <a:pt x="37" y="1"/>
                  <a:pt x="37" y="1"/>
                  <a:pt x="37" y="1"/>
                </a:cubicBezTo>
                <a:cubicBezTo>
                  <a:pt x="36" y="0"/>
                  <a:pt x="36" y="0"/>
                  <a:pt x="36" y="0"/>
                </a:cubicBezTo>
                <a:cubicBezTo>
                  <a:pt x="35" y="1"/>
                  <a:pt x="35" y="1"/>
                  <a:pt x="35" y="1"/>
                </a:cubicBezTo>
                <a:cubicBezTo>
                  <a:pt x="36" y="1"/>
                  <a:pt x="36" y="1"/>
                  <a:pt x="36" y="1"/>
                </a:cubicBezTo>
                <a:close/>
                <a:moveTo>
                  <a:pt x="30" y="12"/>
                </a:moveTo>
                <a:cubicBezTo>
                  <a:pt x="29" y="11"/>
                  <a:pt x="29" y="11"/>
                  <a:pt x="29" y="11"/>
                </a:cubicBezTo>
                <a:cubicBezTo>
                  <a:pt x="29" y="11"/>
                  <a:pt x="29" y="11"/>
                  <a:pt x="29" y="11"/>
                </a:cubicBezTo>
                <a:cubicBezTo>
                  <a:pt x="29" y="10"/>
                  <a:pt x="29" y="10"/>
                  <a:pt x="29" y="10"/>
                </a:cubicBezTo>
                <a:cubicBezTo>
                  <a:pt x="30" y="9"/>
                  <a:pt x="30" y="9"/>
                  <a:pt x="30" y="9"/>
                </a:cubicBezTo>
                <a:cubicBezTo>
                  <a:pt x="30" y="9"/>
                  <a:pt x="30" y="9"/>
                  <a:pt x="30" y="9"/>
                </a:cubicBezTo>
                <a:cubicBezTo>
                  <a:pt x="31" y="10"/>
                  <a:pt x="31" y="10"/>
                  <a:pt x="31" y="10"/>
                </a:cubicBezTo>
                <a:cubicBezTo>
                  <a:pt x="31" y="11"/>
                  <a:pt x="31" y="11"/>
                  <a:pt x="31" y="11"/>
                </a:cubicBezTo>
                <a:cubicBezTo>
                  <a:pt x="30" y="12"/>
                  <a:pt x="30" y="12"/>
                  <a:pt x="30" y="12"/>
                </a:cubicBezTo>
                <a:cubicBezTo>
                  <a:pt x="30" y="12"/>
                  <a:pt x="30" y="12"/>
                  <a:pt x="30" y="12"/>
                </a:cubicBezTo>
                <a:close/>
                <a:moveTo>
                  <a:pt x="36" y="21"/>
                </a:moveTo>
                <a:cubicBezTo>
                  <a:pt x="36" y="21"/>
                  <a:pt x="36" y="21"/>
                  <a:pt x="36" y="21"/>
                </a:cubicBezTo>
                <a:cubicBezTo>
                  <a:pt x="38" y="20"/>
                  <a:pt x="38" y="20"/>
                  <a:pt x="38" y="20"/>
                </a:cubicBezTo>
                <a:cubicBezTo>
                  <a:pt x="38" y="20"/>
                  <a:pt x="38" y="20"/>
                  <a:pt x="38" y="20"/>
                </a:cubicBezTo>
                <a:cubicBezTo>
                  <a:pt x="41" y="20"/>
                  <a:pt x="41" y="20"/>
                  <a:pt x="41" y="20"/>
                </a:cubicBezTo>
                <a:cubicBezTo>
                  <a:pt x="42" y="20"/>
                  <a:pt x="42" y="20"/>
                  <a:pt x="42" y="20"/>
                </a:cubicBezTo>
                <a:cubicBezTo>
                  <a:pt x="43" y="19"/>
                  <a:pt x="43" y="19"/>
                  <a:pt x="43" y="19"/>
                </a:cubicBezTo>
                <a:cubicBezTo>
                  <a:pt x="44" y="19"/>
                  <a:pt x="44" y="19"/>
                  <a:pt x="44" y="19"/>
                </a:cubicBezTo>
                <a:cubicBezTo>
                  <a:pt x="44" y="20"/>
                  <a:pt x="44" y="20"/>
                  <a:pt x="44" y="20"/>
                </a:cubicBezTo>
                <a:cubicBezTo>
                  <a:pt x="44" y="20"/>
                  <a:pt x="44" y="20"/>
                  <a:pt x="44" y="20"/>
                </a:cubicBezTo>
                <a:cubicBezTo>
                  <a:pt x="44" y="21"/>
                  <a:pt x="44" y="21"/>
                  <a:pt x="44" y="21"/>
                </a:cubicBezTo>
                <a:cubicBezTo>
                  <a:pt x="44" y="21"/>
                  <a:pt x="44" y="21"/>
                  <a:pt x="44" y="21"/>
                </a:cubicBezTo>
                <a:cubicBezTo>
                  <a:pt x="43" y="22"/>
                  <a:pt x="43" y="22"/>
                  <a:pt x="43" y="22"/>
                </a:cubicBezTo>
                <a:cubicBezTo>
                  <a:pt x="42" y="21"/>
                  <a:pt x="42" y="21"/>
                  <a:pt x="42" y="21"/>
                </a:cubicBezTo>
                <a:cubicBezTo>
                  <a:pt x="40" y="21"/>
                  <a:pt x="40" y="21"/>
                  <a:pt x="40" y="21"/>
                </a:cubicBezTo>
                <a:cubicBezTo>
                  <a:pt x="39" y="21"/>
                  <a:pt x="39" y="21"/>
                  <a:pt x="39" y="21"/>
                </a:cubicBezTo>
                <a:cubicBezTo>
                  <a:pt x="39" y="22"/>
                  <a:pt x="39" y="22"/>
                  <a:pt x="39" y="22"/>
                </a:cubicBezTo>
                <a:cubicBezTo>
                  <a:pt x="39" y="22"/>
                  <a:pt x="39" y="22"/>
                  <a:pt x="39" y="22"/>
                </a:cubicBezTo>
                <a:cubicBezTo>
                  <a:pt x="41" y="22"/>
                  <a:pt x="41" y="22"/>
                  <a:pt x="41" y="22"/>
                </a:cubicBezTo>
                <a:cubicBezTo>
                  <a:pt x="42" y="23"/>
                  <a:pt x="42" y="23"/>
                  <a:pt x="42" y="23"/>
                </a:cubicBezTo>
                <a:cubicBezTo>
                  <a:pt x="42" y="23"/>
                  <a:pt x="42" y="23"/>
                  <a:pt x="42" y="23"/>
                </a:cubicBezTo>
                <a:cubicBezTo>
                  <a:pt x="41" y="24"/>
                  <a:pt x="41" y="24"/>
                  <a:pt x="41" y="24"/>
                </a:cubicBezTo>
                <a:cubicBezTo>
                  <a:pt x="40" y="23"/>
                  <a:pt x="40" y="23"/>
                  <a:pt x="40" y="23"/>
                </a:cubicBezTo>
                <a:cubicBezTo>
                  <a:pt x="40" y="23"/>
                  <a:pt x="40" y="23"/>
                  <a:pt x="40" y="23"/>
                </a:cubicBezTo>
                <a:cubicBezTo>
                  <a:pt x="39" y="24"/>
                  <a:pt x="39" y="24"/>
                  <a:pt x="39" y="24"/>
                </a:cubicBezTo>
                <a:cubicBezTo>
                  <a:pt x="38" y="23"/>
                  <a:pt x="38" y="23"/>
                  <a:pt x="38" y="23"/>
                </a:cubicBezTo>
                <a:cubicBezTo>
                  <a:pt x="36" y="22"/>
                  <a:pt x="36" y="22"/>
                  <a:pt x="36" y="22"/>
                </a:cubicBezTo>
                <a:cubicBezTo>
                  <a:pt x="35" y="23"/>
                  <a:pt x="35" y="23"/>
                  <a:pt x="35" y="23"/>
                </a:cubicBezTo>
                <a:cubicBezTo>
                  <a:pt x="35" y="23"/>
                  <a:pt x="35" y="23"/>
                  <a:pt x="35" y="23"/>
                </a:cubicBezTo>
                <a:cubicBezTo>
                  <a:pt x="36" y="24"/>
                  <a:pt x="36" y="24"/>
                  <a:pt x="36" y="24"/>
                </a:cubicBezTo>
                <a:cubicBezTo>
                  <a:pt x="38" y="26"/>
                  <a:pt x="38" y="26"/>
                  <a:pt x="38" y="26"/>
                </a:cubicBezTo>
                <a:cubicBezTo>
                  <a:pt x="39" y="26"/>
                  <a:pt x="39" y="26"/>
                  <a:pt x="39" y="26"/>
                </a:cubicBezTo>
                <a:cubicBezTo>
                  <a:pt x="40" y="26"/>
                  <a:pt x="40" y="26"/>
                  <a:pt x="40" y="26"/>
                </a:cubicBezTo>
                <a:cubicBezTo>
                  <a:pt x="40" y="26"/>
                  <a:pt x="40" y="26"/>
                  <a:pt x="40" y="26"/>
                </a:cubicBezTo>
                <a:cubicBezTo>
                  <a:pt x="41" y="27"/>
                  <a:pt x="41" y="27"/>
                  <a:pt x="41" y="27"/>
                </a:cubicBezTo>
                <a:cubicBezTo>
                  <a:pt x="41" y="28"/>
                  <a:pt x="41" y="28"/>
                  <a:pt x="41" y="28"/>
                </a:cubicBezTo>
                <a:cubicBezTo>
                  <a:pt x="42" y="28"/>
                  <a:pt x="42" y="28"/>
                  <a:pt x="42" y="28"/>
                </a:cubicBezTo>
                <a:cubicBezTo>
                  <a:pt x="43" y="28"/>
                  <a:pt x="43" y="28"/>
                  <a:pt x="43" y="28"/>
                </a:cubicBezTo>
                <a:cubicBezTo>
                  <a:pt x="45" y="28"/>
                  <a:pt x="45" y="28"/>
                  <a:pt x="45" y="28"/>
                </a:cubicBezTo>
                <a:cubicBezTo>
                  <a:pt x="46" y="27"/>
                  <a:pt x="46" y="27"/>
                  <a:pt x="46" y="27"/>
                </a:cubicBezTo>
                <a:cubicBezTo>
                  <a:pt x="48" y="27"/>
                  <a:pt x="48" y="27"/>
                  <a:pt x="48" y="27"/>
                </a:cubicBezTo>
                <a:cubicBezTo>
                  <a:pt x="49" y="27"/>
                  <a:pt x="49" y="27"/>
                  <a:pt x="49" y="27"/>
                </a:cubicBezTo>
                <a:cubicBezTo>
                  <a:pt x="49" y="27"/>
                  <a:pt x="49" y="27"/>
                  <a:pt x="49" y="27"/>
                </a:cubicBezTo>
                <a:cubicBezTo>
                  <a:pt x="49" y="28"/>
                  <a:pt x="49" y="28"/>
                  <a:pt x="49" y="28"/>
                </a:cubicBezTo>
                <a:cubicBezTo>
                  <a:pt x="49" y="30"/>
                  <a:pt x="49" y="30"/>
                  <a:pt x="49" y="30"/>
                </a:cubicBezTo>
                <a:cubicBezTo>
                  <a:pt x="51" y="31"/>
                  <a:pt x="51" y="31"/>
                  <a:pt x="51" y="31"/>
                </a:cubicBezTo>
                <a:cubicBezTo>
                  <a:pt x="52" y="31"/>
                  <a:pt x="52" y="31"/>
                  <a:pt x="52" y="31"/>
                </a:cubicBezTo>
                <a:cubicBezTo>
                  <a:pt x="54" y="30"/>
                  <a:pt x="54" y="30"/>
                  <a:pt x="54" y="30"/>
                </a:cubicBezTo>
                <a:cubicBezTo>
                  <a:pt x="54" y="30"/>
                  <a:pt x="54" y="30"/>
                  <a:pt x="54" y="30"/>
                </a:cubicBezTo>
                <a:cubicBezTo>
                  <a:pt x="54" y="29"/>
                  <a:pt x="54" y="29"/>
                  <a:pt x="54" y="29"/>
                </a:cubicBezTo>
                <a:cubicBezTo>
                  <a:pt x="54" y="28"/>
                  <a:pt x="54" y="28"/>
                  <a:pt x="54" y="28"/>
                </a:cubicBezTo>
                <a:cubicBezTo>
                  <a:pt x="55" y="28"/>
                  <a:pt x="55" y="28"/>
                  <a:pt x="55" y="28"/>
                </a:cubicBezTo>
                <a:cubicBezTo>
                  <a:pt x="56" y="26"/>
                  <a:pt x="56" y="26"/>
                  <a:pt x="56" y="26"/>
                </a:cubicBezTo>
                <a:cubicBezTo>
                  <a:pt x="57" y="26"/>
                  <a:pt x="57" y="26"/>
                  <a:pt x="57" y="26"/>
                </a:cubicBezTo>
                <a:cubicBezTo>
                  <a:pt x="57" y="27"/>
                  <a:pt x="57" y="27"/>
                  <a:pt x="57" y="27"/>
                </a:cubicBezTo>
                <a:cubicBezTo>
                  <a:pt x="58" y="28"/>
                  <a:pt x="58" y="28"/>
                  <a:pt x="58" y="28"/>
                </a:cubicBezTo>
                <a:cubicBezTo>
                  <a:pt x="59" y="28"/>
                  <a:pt x="59" y="28"/>
                  <a:pt x="59" y="28"/>
                </a:cubicBezTo>
                <a:cubicBezTo>
                  <a:pt x="61" y="27"/>
                  <a:pt x="61" y="27"/>
                  <a:pt x="61" y="27"/>
                </a:cubicBezTo>
                <a:cubicBezTo>
                  <a:pt x="61" y="26"/>
                  <a:pt x="61" y="26"/>
                  <a:pt x="61" y="26"/>
                </a:cubicBezTo>
                <a:cubicBezTo>
                  <a:pt x="61" y="24"/>
                  <a:pt x="61" y="24"/>
                  <a:pt x="61" y="24"/>
                </a:cubicBezTo>
                <a:cubicBezTo>
                  <a:pt x="61" y="23"/>
                  <a:pt x="61" y="23"/>
                  <a:pt x="61" y="23"/>
                </a:cubicBezTo>
                <a:cubicBezTo>
                  <a:pt x="61" y="23"/>
                  <a:pt x="61" y="23"/>
                  <a:pt x="61" y="23"/>
                </a:cubicBezTo>
                <a:cubicBezTo>
                  <a:pt x="62" y="22"/>
                  <a:pt x="62" y="22"/>
                  <a:pt x="62" y="22"/>
                </a:cubicBezTo>
                <a:cubicBezTo>
                  <a:pt x="63" y="20"/>
                  <a:pt x="63" y="20"/>
                  <a:pt x="63" y="20"/>
                </a:cubicBezTo>
                <a:cubicBezTo>
                  <a:pt x="64" y="19"/>
                  <a:pt x="64" y="19"/>
                  <a:pt x="64" y="19"/>
                </a:cubicBezTo>
                <a:cubicBezTo>
                  <a:pt x="65" y="17"/>
                  <a:pt x="65" y="17"/>
                  <a:pt x="65" y="17"/>
                </a:cubicBezTo>
                <a:cubicBezTo>
                  <a:pt x="66" y="16"/>
                  <a:pt x="66" y="16"/>
                  <a:pt x="66" y="16"/>
                </a:cubicBezTo>
                <a:cubicBezTo>
                  <a:pt x="66" y="15"/>
                  <a:pt x="66" y="15"/>
                  <a:pt x="66" y="15"/>
                </a:cubicBezTo>
                <a:cubicBezTo>
                  <a:pt x="65" y="14"/>
                  <a:pt x="65" y="14"/>
                  <a:pt x="65" y="14"/>
                </a:cubicBezTo>
                <a:cubicBezTo>
                  <a:pt x="65" y="13"/>
                  <a:pt x="65" y="13"/>
                  <a:pt x="65" y="13"/>
                </a:cubicBezTo>
                <a:cubicBezTo>
                  <a:pt x="65" y="13"/>
                  <a:pt x="65" y="13"/>
                  <a:pt x="65" y="13"/>
                </a:cubicBezTo>
                <a:cubicBezTo>
                  <a:pt x="65" y="12"/>
                  <a:pt x="65" y="12"/>
                  <a:pt x="65" y="12"/>
                </a:cubicBezTo>
                <a:cubicBezTo>
                  <a:pt x="65" y="12"/>
                  <a:pt x="65" y="12"/>
                  <a:pt x="65" y="12"/>
                </a:cubicBezTo>
                <a:cubicBezTo>
                  <a:pt x="63" y="12"/>
                  <a:pt x="63" y="12"/>
                  <a:pt x="63" y="12"/>
                </a:cubicBezTo>
                <a:cubicBezTo>
                  <a:pt x="62" y="11"/>
                  <a:pt x="62" y="11"/>
                  <a:pt x="62" y="11"/>
                </a:cubicBezTo>
                <a:cubicBezTo>
                  <a:pt x="62" y="11"/>
                  <a:pt x="62" y="11"/>
                  <a:pt x="62" y="11"/>
                </a:cubicBezTo>
                <a:cubicBezTo>
                  <a:pt x="59" y="11"/>
                  <a:pt x="59" y="11"/>
                  <a:pt x="59" y="11"/>
                </a:cubicBezTo>
                <a:cubicBezTo>
                  <a:pt x="58" y="11"/>
                  <a:pt x="58" y="11"/>
                  <a:pt x="58" y="11"/>
                </a:cubicBezTo>
                <a:cubicBezTo>
                  <a:pt x="57" y="10"/>
                  <a:pt x="57" y="10"/>
                  <a:pt x="57" y="10"/>
                </a:cubicBezTo>
                <a:cubicBezTo>
                  <a:pt x="56" y="10"/>
                  <a:pt x="56" y="10"/>
                  <a:pt x="56" y="10"/>
                </a:cubicBezTo>
                <a:cubicBezTo>
                  <a:pt x="55" y="10"/>
                  <a:pt x="55" y="10"/>
                  <a:pt x="55" y="10"/>
                </a:cubicBezTo>
                <a:cubicBezTo>
                  <a:pt x="55" y="9"/>
                  <a:pt x="55" y="9"/>
                  <a:pt x="55" y="9"/>
                </a:cubicBezTo>
                <a:cubicBezTo>
                  <a:pt x="55" y="9"/>
                  <a:pt x="55" y="9"/>
                  <a:pt x="55" y="9"/>
                </a:cubicBezTo>
                <a:cubicBezTo>
                  <a:pt x="54" y="9"/>
                  <a:pt x="54" y="9"/>
                  <a:pt x="54" y="9"/>
                </a:cubicBezTo>
                <a:cubicBezTo>
                  <a:pt x="54" y="9"/>
                  <a:pt x="54" y="9"/>
                  <a:pt x="54" y="9"/>
                </a:cubicBezTo>
                <a:cubicBezTo>
                  <a:pt x="54" y="8"/>
                  <a:pt x="54" y="8"/>
                  <a:pt x="54" y="8"/>
                </a:cubicBezTo>
                <a:cubicBezTo>
                  <a:pt x="54" y="7"/>
                  <a:pt x="54" y="7"/>
                  <a:pt x="54" y="7"/>
                </a:cubicBezTo>
                <a:cubicBezTo>
                  <a:pt x="53" y="8"/>
                  <a:pt x="53" y="8"/>
                  <a:pt x="53" y="8"/>
                </a:cubicBezTo>
                <a:cubicBezTo>
                  <a:pt x="53" y="9"/>
                  <a:pt x="53" y="9"/>
                  <a:pt x="53" y="9"/>
                </a:cubicBezTo>
                <a:cubicBezTo>
                  <a:pt x="52" y="9"/>
                  <a:pt x="52" y="9"/>
                  <a:pt x="52" y="9"/>
                </a:cubicBezTo>
                <a:cubicBezTo>
                  <a:pt x="52" y="8"/>
                  <a:pt x="52" y="8"/>
                  <a:pt x="52" y="8"/>
                </a:cubicBezTo>
                <a:cubicBezTo>
                  <a:pt x="52" y="8"/>
                  <a:pt x="52" y="8"/>
                  <a:pt x="52" y="8"/>
                </a:cubicBezTo>
                <a:cubicBezTo>
                  <a:pt x="51" y="8"/>
                  <a:pt x="51" y="8"/>
                  <a:pt x="51" y="8"/>
                </a:cubicBezTo>
                <a:cubicBezTo>
                  <a:pt x="51" y="9"/>
                  <a:pt x="51" y="9"/>
                  <a:pt x="51" y="9"/>
                </a:cubicBezTo>
                <a:cubicBezTo>
                  <a:pt x="51" y="9"/>
                  <a:pt x="51" y="9"/>
                  <a:pt x="51" y="9"/>
                </a:cubicBezTo>
                <a:cubicBezTo>
                  <a:pt x="50" y="10"/>
                  <a:pt x="50" y="10"/>
                  <a:pt x="50" y="10"/>
                </a:cubicBezTo>
                <a:cubicBezTo>
                  <a:pt x="50" y="11"/>
                  <a:pt x="50" y="11"/>
                  <a:pt x="50" y="11"/>
                </a:cubicBezTo>
                <a:cubicBezTo>
                  <a:pt x="50" y="12"/>
                  <a:pt x="50" y="12"/>
                  <a:pt x="50" y="12"/>
                </a:cubicBezTo>
                <a:cubicBezTo>
                  <a:pt x="49" y="12"/>
                  <a:pt x="49" y="12"/>
                  <a:pt x="49" y="12"/>
                </a:cubicBezTo>
                <a:cubicBezTo>
                  <a:pt x="49" y="11"/>
                  <a:pt x="49" y="11"/>
                  <a:pt x="49" y="11"/>
                </a:cubicBezTo>
                <a:cubicBezTo>
                  <a:pt x="49" y="11"/>
                  <a:pt x="49" y="11"/>
                  <a:pt x="49" y="11"/>
                </a:cubicBezTo>
                <a:cubicBezTo>
                  <a:pt x="49" y="11"/>
                  <a:pt x="49" y="11"/>
                  <a:pt x="49" y="11"/>
                </a:cubicBezTo>
                <a:cubicBezTo>
                  <a:pt x="48" y="12"/>
                  <a:pt x="48" y="12"/>
                  <a:pt x="48" y="12"/>
                </a:cubicBezTo>
                <a:cubicBezTo>
                  <a:pt x="48" y="12"/>
                  <a:pt x="48" y="12"/>
                  <a:pt x="48" y="12"/>
                </a:cubicBezTo>
                <a:cubicBezTo>
                  <a:pt x="48" y="11"/>
                  <a:pt x="48" y="11"/>
                  <a:pt x="48" y="11"/>
                </a:cubicBezTo>
                <a:cubicBezTo>
                  <a:pt x="48" y="9"/>
                  <a:pt x="48" y="9"/>
                  <a:pt x="48" y="9"/>
                </a:cubicBezTo>
                <a:cubicBezTo>
                  <a:pt x="48" y="7"/>
                  <a:pt x="48" y="7"/>
                  <a:pt x="48" y="7"/>
                </a:cubicBezTo>
                <a:cubicBezTo>
                  <a:pt x="48" y="6"/>
                  <a:pt x="48" y="6"/>
                  <a:pt x="48" y="6"/>
                </a:cubicBezTo>
                <a:cubicBezTo>
                  <a:pt x="47" y="6"/>
                  <a:pt x="47" y="6"/>
                  <a:pt x="47" y="6"/>
                </a:cubicBezTo>
                <a:cubicBezTo>
                  <a:pt x="46" y="5"/>
                  <a:pt x="46" y="5"/>
                  <a:pt x="46" y="5"/>
                </a:cubicBezTo>
                <a:cubicBezTo>
                  <a:pt x="46" y="5"/>
                  <a:pt x="46" y="5"/>
                  <a:pt x="46" y="5"/>
                </a:cubicBezTo>
                <a:cubicBezTo>
                  <a:pt x="45" y="6"/>
                  <a:pt x="45" y="6"/>
                  <a:pt x="45" y="6"/>
                </a:cubicBezTo>
                <a:cubicBezTo>
                  <a:pt x="46" y="7"/>
                  <a:pt x="46" y="7"/>
                  <a:pt x="46" y="7"/>
                </a:cubicBezTo>
                <a:cubicBezTo>
                  <a:pt x="46" y="7"/>
                  <a:pt x="46" y="7"/>
                  <a:pt x="46" y="7"/>
                </a:cubicBezTo>
                <a:cubicBezTo>
                  <a:pt x="46" y="7"/>
                  <a:pt x="46" y="7"/>
                  <a:pt x="46" y="7"/>
                </a:cubicBezTo>
                <a:cubicBezTo>
                  <a:pt x="45" y="6"/>
                  <a:pt x="45" y="6"/>
                  <a:pt x="45" y="6"/>
                </a:cubicBezTo>
                <a:cubicBezTo>
                  <a:pt x="45" y="7"/>
                  <a:pt x="45" y="7"/>
                  <a:pt x="45" y="7"/>
                </a:cubicBezTo>
                <a:cubicBezTo>
                  <a:pt x="45" y="8"/>
                  <a:pt x="45" y="8"/>
                  <a:pt x="45" y="8"/>
                </a:cubicBezTo>
                <a:cubicBezTo>
                  <a:pt x="46" y="9"/>
                  <a:pt x="46" y="9"/>
                  <a:pt x="46" y="9"/>
                </a:cubicBezTo>
                <a:cubicBezTo>
                  <a:pt x="46" y="10"/>
                  <a:pt x="46" y="10"/>
                  <a:pt x="46" y="10"/>
                </a:cubicBezTo>
                <a:cubicBezTo>
                  <a:pt x="45" y="11"/>
                  <a:pt x="45" y="11"/>
                  <a:pt x="45" y="11"/>
                </a:cubicBezTo>
                <a:cubicBezTo>
                  <a:pt x="45" y="13"/>
                  <a:pt x="45" y="13"/>
                  <a:pt x="45" y="13"/>
                </a:cubicBezTo>
                <a:cubicBezTo>
                  <a:pt x="46" y="14"/>
                  <a:pt x="46" y="14"/>
                  <a:pt x="46" y="14"/>
                </a:cubicBezTo>
                <a:cubicBezTo>
                  <a:pt x="46" y="16"/>
                  <a:pt x="46" y="16"/>
                  <a:pt x="46" y="16"/>
                </a:cubicBezTo>
                <a:cubicBezTo>
                  <a:pt x="45" y="16"/>
                  <a:pt x="45" y="16"/>
                  <a:pt x="45" y="16"/>
                </a:cubicBezTo>
                <a:cubicBezTo>
                  <a:pt x="45" y="14"/>
                  <a:pt x="45" y="14"/>
                  <a:pt x="45" y="14"/>
                </a:cubicBezTo>
                <a:cubicBezTo>
                  <a:pt x="44" y="13"/>
                  <a:pt x="44" y="13"/>
                  <a:pt x="44" y="13"/>
                </a:cubicBezTo>
                <a:cubicBezTo>
                  <a:pt x="43" y="13"/>
                  <a:pt x="43" y="13"/>
                  <a:pt x="43" y="13"/>
                </a:cubicBezTo>
                <a:cubicBezTo>
                  <a:pt x="42" y="12"/>
                  <a:pt x="42" y="12"/>
                  <a:pt x="42" y="12"/>
                </a:cubicBezTo>
                <a:cubicBezTo>
                  <a:pt x="43" y="11"/>
                  <a:pt x="43" y="11"/>
                  <a:pt x="43" y="11"/>
                </a:cubicBezTo>
                <a:cubicBezTo>
                  <a:pt x="43" y="10"/>
                  <a:pt x="43" y="10"/>
                  <a:pt x="43" y="10"/>
                </a:cubicBezTo>
                <a:cubicBezTo>
                  <a:pt x="42" y="10"/>
                  <a:pt x="42" y="10"/>
                  <a:pt x="42" y="10"/>
                </a:cubicBezTo>
                <a:cubicBezTo>
                  <a:pt x="41" y="11"/>
                  <a:pt x="41" y="11"/>
                  <a:pt x="41" y="11"/>
                </a:cubicBezTo>
                <a:cubicBezTo>
                  <a:pt x="41" y="11"/>
                  <a:pt x="41" y="11"/>
                  <a:pt x="41" y="11"/>
                </a:cubicBezTo>
                <a:cubicBezTo>
                  <a:pt x="40" y="11"/>
                  <a:pt x="40" y="11"/>
                  <a:pt x="40" y="11"/>
                </a:cubicBezTo>
                <a:cubicBezTo>
                  <a:pt x="39" y="12"/>
                  <a:pt x="39" y="12"/>
                  <a:pt x="39" y="12"/>
                </a:cubicBezTo>
                <a:cubicBezTo>
                  <a:pt x="38" y="11"/>
                  <a:pt x="38" y="11"/>
                  <a:pt x="38" y="11"/>
                </a:cubicBezTo>
                <a:cubicBezTo>
                  <a:pt x="38" y="11"/>
                  <a:pt x="38" y="11"/>
                  <a:pt x="38" y="11"/>
                </a:cubicBezTo>
                <a:cubicBezTo>
                  <a:pt x="38" y="10"/>
                  <a:pt x="38" y="10"/>
                  <a:pt x="38" y="10"/>
                </a:cubicBezTo>
                <a:cubicBezTo>
                  <a:pt x="38" y="10"/>
                  <a:pt x="38" y="10"/>
                  <a:pt x="38" y="10"/>
                </a:cubicBezTo>
                <a:cubicBezTo>
                  <a:pt x="37" y="9"/>
                  <a:pt x="37" y="9"/>
                  <a:pt x="37" y="9"/>
                </a:cubicBezTo>
                <a:cubicBezTo>
                  <a:pt x="37" y="8"/>
                  <a:pt x="37" y="8"/>
                  <a:pt x="37" y="8"/>
                </a:cubicBezTo>
                <a:cubicBezTo>
                  <a:pt x="36" y="8"/>
                  <a:pt x="36" y="8"/>
                  <a:pt x="36" y="8"/>
                </a:cubicBezTo>
                <a:cubicBezTo>
                  <a:pt x="35" y="8"/>
                  <a:pt x="35" y="8"/>
                  <a:pt x="35" y="8"/>
                </a:cubicBezTo>
                <a:cubicBezTo>
                  <a:pt x="34" y="7"/>
                  <a:pt x="34" y="7"/>
                  <a:pt x="34" y="7"/>
                </a:cubicBezTo>
                <a:cubicBezTo>
                  <a:pt x="35" y="6"/>
                  <a:pt x="35" y="6"/>
                  <a:pt x="35" y="6"/>
                </a:cubicBezTo>
                <a:cubicBezTo>
                  <a:pt x="34" y="5"/>
                  <a:pt x="34" y="5"/>
                  <a:pt x="34" y="5"/>
                </a:cubicBezTo>
                <a:cubicBezTo>
                  <a:pt x="34" y="5"/>
                  <a:pt x="34" y="5"/>
                  <a:pt x="34" y="5"/>
                </a:cubicBezTo>
                <a:cubicBezTo>
                  <a:pt x="33" y="6"/>
                  <a:pt x="33" y="6"/>
                  <a:pt x="33" y="6"/>
                </a:cubicBezTo>
                <a:cubicBezTo>
                  <a:pt x="33" y="8"/>
                  <a:pt x="33" y="8"/>
                  <a:pt x="33" y="8"/>
                </a:cubicBezTo>
                <a:cubicBezTo>
                  <a:pt x="33" y="9"/>
                  <a:pt x="33" y="9"/>
                  <a:pt x="33" y="9"/>
                </a:cubicBezTo>
                <a:cubicBezTo>
                  <a:pt x="34" y="10"/>
                  <a:pt x="34" y="10"/>
                  <a:pt x="34" y="10"/>
                </a:cubicBezTo>
                <a:cubicBezTo>
                  <a:pt x="34" y="12"/>
                  <a:pt x="34" y="12"/>
                  <a:pt x="34" y="12"/>
                </a:cubicBezTo>
                <a:cubicBezTo>
                  <a:pt x="34" y="12"/>
                  <a:pt x="34" y="12"/>
                  <a:pt x="34" y="12"/>
                </a:cubicBezTo>
                <a:cubicBezTo>
                  <a:pt x="33" y="11"/>
                  <a:pt x="33" y="11"/>
                  <a:pt x="33" y="11"/>
                </a:cubicBezTo>
                <a:cubicBezTo>
                  <a:pt x="33" y="10"/>
                  <a:pt x="33" y="10"/>
                  <a:pt x="33" y="10"/>
                </a:cubicBezTo>
                <a:cubicBezTo>
                  <a:pt x="32" y="10"/>
                  <a:pt x="32" y="10"/>
                  <a:pt x="32" y="10"/>
                </a:cubicBezTo>
                <a:cubicBezTo>
                  <a:pt x="32" y="11"/>
                  <a:pt x="32" y="11"/>
                  <a:pt x="32" y="11"/>
                </a:cubicBezTo>
                <a:cubicBezTo>
                  <a:pt x="32" y="12"/>
                  <a:pt x="32" y="12"/>
                  <a:pt x="32" y="12"/>
                </a:cubicBezTo>
                <a:cubicBezTo>
                  <a:pt x="33" y="13"/>
                  <a:pt x="33" y="13"/>
                  <a:pt x="33" y="13"/>
                </a:cubicBezTo>
                <a:cubicBezTo>
                  <a:pt x="33" y="14"/>
                  <a:pt x="33" y="14"/>
                  <a:pt x="33" y="14"/>
                </a:cubicBezTo>
                <a:cubicBezTo>
                  <a:pt x="33" y="15"/>
                  <a:pt x="33" y="15"/>
                  <a:pt x="33" y="15"/>
                </a:cubicBezTo>
                <a:cubicBezTo>
                  <a:pt x="32" y="15"/>
                  <a:pt x="32" y="15"/>
                  <a:pt x="32" y="15"/>
                </a:cubicBezTo>
                <a:cubicBezTo>
                  <a:pt x="32" y="13"/>
                  <a:pt x="32" y="13"/>
                  <a:pt x="32" y="13"/>
                </a:cubicBezTo>
                <a:cubicBezTo>
                  <a:pt x="31" y="13"/>
                  <a:pt x="31" y="13"/>
                  <a:pt x="31" y="13"/>
                </a:cubicBezTo>
                <a:cubicBezTo>
                  <a:pt x="29" y="13"/>
                  <a:pt x="29" y="13"/>
                  <a:pt x="29" y="13"/>
                </a:cubicBezTo>
                <a:cubicBezTo>
                  <a:pt x="28" y="12"/>
                  <a:pt x="28" y="12"/>
                  <a:pt x="28" y="12"/>
                </a:cubicBezTo>
                <a:cubicBezTo>
                  <a:pt x="28" y="13"/>
                  <a:pt x="28" y="13"/>
                  <a:pt x="28" y="13"/>
                </a:cubicBezTo>
                <a:cubicBezTo>
                  <a:pt x="28" y="14"/>
                  <a:pt x="28" y="14"/>
                  <a:pt x="28" y="14"/>
                </a:cubicBezTo>
                <a:cubicBezTo>
                  <a:pt x="29" y="14"/>
                  <a:pt x="29" y="14"/>
                  <a:pt x="29" y="14"/>
                </a:cubicBezTo>
                <a:cubicBezTo>
                  <a:pt x="30" y="15"/>
                  <a:pt x="30" y="15"/>
                  <a:pt x="30" y="15"/>
                </a:cubicBezTo>
                <a:cubicBezTo>
                  <a:pt x="29" y="15"/>
                  <a:pt x="29" y="15"/>
                  <a:pt x="29" y="15"/>
                </a:cubicBezTo>
                <a:cubicBezTo>
                  <a:pt x="29" y="16"/>
                  <a:pt x="29" y="16"/>
                  <a:pt x="29" y="16"/>
                </a:cubicBezTo>
                <a:cubicBezTo>
                  <a:pt x="31" y="16"/>
                  <a:pt x="31" y="16"/>
                  <a:pt x="31" y="16"/>
                </a:cubicBezTo>
                <a:cubicBezTo>
                  <a:pt x="31" y="16"/>
                  <a:pt x="31" y="16"/>
                  <a:pt x="31" y="16"/>
                </a:cubicBezTo>
                <a:cubicBezTo>
                  <a:pt x="29" y="17"/>
                  <a:pt x="29" y="17"/>
                  <a:pt x="29" y="17"/>
                </a:cubicBezTo>
                <a:cubicBezTo>
                  <a:pt x="29" y="18"/>
                  <a:pt x="29" y="18"/>
                  <a:pt x="29" y="18"/>
                </a:cubicBezTo>
                <a:cubicBezTo>
                  <a:pt x="30" y="20"/>
                  <a:pt x="30" y="20"/>
                  <a:pt x="30" y="20"/>
                </a:cubicBezTo>
                <a:cubicBezTo>
                  <a:pt x="31" y="21"/>
                  <a:pt x="31" y="21"/>
                  <a:pt x="31" y="21"/>
                </a:cubicBezTo>
                <a:cubicBezTo>
                  <a:pt x="32" y="21"/>
                  <a:pt x="32" y="21"/>
                  <a:pt x="32" y="21"/>
                </a:cubicBezTo>
                <a:cubicBezTo>
                  <a:pt x="34" y="21"/>
                  <a:pt x="34" y="21"/>
                  <a:pt x="34" y="21"/>
                </a:cubicBezTo>
                <a:cubicBezTo>
                  <a:pt x="35" y="21"/>
                  <a:pt x="35" y="21"/>
                  <a:pt x="35" y="21"/>
                </a:cubicBezTo>
                <a:cubicBezTo>
                  <a:pt x="36" y="21"/>
                  <a:pt x="36" y="21"/>
                  <a:pt x="36" y="21"/>
                </a:cubicBezTo>
                <a:close/>
                <a:moveTo>
                  <a:pt x="71" y="35"/>
                </a:moveTo>
                <a:cubicBezTo>
                  <a:pt x="72" y="34"/>
                  <a:pt x="72" y="34"/>
                  <a:pt x="72" y="34"/>
                </a:cubicBezTo>
                <a:cubicBezTo>
                  <a:pt x="73" y="33"/>
                  <a:pt x="73" y="33"/>
                  <a:pt x="73" y="33"/>
                </a:cubicBezTo>
                <a:cubicBezTo>
                  <a:pt x="74" y="33"/>
                  <a:pt x="74" y="33"/>
                  <a:pt x="74" y="33"/>
                </a:cubicBezTo>
                <a:cubicBezTo>
                  <a:pt x="75" y="32"/>
                  <a:pt x="75" y="32"/>
                  <a:pt x="75" y="32"/>
                </a:cubicBezTo>
                <a:cubicBezTo>
                  <a:pt x="75" y="33"/>
                  <a:pt x="75" y="33"/>
                  <a:pt x="75" y="33"/>
                </a:cubicBezTo>
                <a:cubicBezTo>
                  <a:pt x="77" y="33"/>
                  <a:pt x="77" y="33"/>
                  <a:pt x="77" y="33"/>
                </a:cubicBezTo>
                <a:cubicBezTo>
                  <a:pt x="78" y="33"/>
                  <a:pt x="78" y="33"/>
                  <a:pt x="78" y="33"/>
                </a:cubicBezTo>
                <a:cubicBezTo>
                  <a:pt x="77" y="34"/>
                  <a:pt x="77" y="34"/>
                  <a:pt x="77" y="34"/>
                </a:cubicBezTo>
                <a:cubicBezTo>
                  <a:pt x="76" y="35"/>
                  <a:pt x="76" y="35"/>
                  <a:pt x="76" y="35"/>
                </a:cubicBezTo>
                <a:cubicBezTo>
                  <a:pt x="75" y="34"/>
                  <a:pt x="75" y="34"/>
                  <a:pt x="75" y="34"/>
                </a:cubicBezTo>
                <a:cubicBezTo>
                  <a:pt x="74" y="34"/>
                  <a:pt x="74" y="34"/>
                  <a:pt x="74" y="34"/>
                </a:cubicBezTo>
                <a:cubicBezTo>
                  <a:pt x="73" y="34"/>
                  <a:pt x="73" y="34"/>
                  <a:pt x="73" y="34"/>
                </a:cubicBezTo>
                <a:cubicBezTo>
                  <a:pt x="73" y="34"/>
                  <a:pt x="73" y="34"/>
                  <a:pt x="73" y="34"/>
                </a:cubicBezTo>
                <a:cubicBezTo>
                  <a:pt x="72" y="36"/>
                  <a:pt x="72" y="36"/>
                  <a:pt x="72" y="36"/>
                </a:cubicBezTo>
                <a:cubicBezTo>
                  <a:pt x="71" y="35"/>
                  <a:pt x="71" y="35"/>
                  <a:pt x="71" y="35"/>
                </a:cubicBezTo>
                <a:close/>
                <a:moveTo>
                  <a:pt x="66" y="40"/>
                </a:moveTo>
                <a:cubicBezTo>
                  <a:pt x="66" y="39"/>
                  <a:pt x="66" y="39"/>
                  <a:pt x="66" y="39"/>
                </a:cubicBezTo>
                <a:cubicBezTo>
                  <a:pt x="66" y="38"/>
                  <a:pt x="66" y="38"/>
                  <a:pt x="66" y="38"/>
                </a:cubicBezTo>
                <a:cubicBezTo>
                  <a:pt x="66" y="36"/>
                  <a:pt x="66" y="36"/>
                  <a:pt x="66" y="36"/>
                </a:cubicBezTo>
                <a:cubicBezTo>
                  <a:pt x="66" y="36"/>
                  <a:pt x="66" y="36"/>
                  <a:pt x="66" y="36"/>
                </a:cubicBezTo>
                <a:cubicBezTo>
                  <a:pt x="66" y="36"/>
                  <a:pt x="66" y="36"/>
                  <a:pt x="66" y="36"/>
                </a:cubicBezTo>
                <a:cubicBezTo>
                  <a:pt x="67" y="36"/>
                  <a:pt x="67" y="36"/>
                  <a:pt x="67" y="36"/>
                </a:cubicBezTo>
                <a:cubicBezTo>
                  <a:pt x="67" y="37"/>
                  <a:pt x="67" y="37"/>
                  <a:pt x="67" y="37"/>
                </a:cubicBezTo>
                <a:cubicBezTo>
                  <a:pt x="68" y="38"/>
                  <a:pt x="68" y="38"/>
                  <a:pt x="68" y="38"/>
                </a:cubicBezTo>
                <a:cubicBezTo>
                  <a:pt x="68" y="39"/>
                  <a:pt x="68" y="39"/>
                  <a:pt x="68" y="39"/>
                </a:cubicBezTo>
                <a:cubicBezTo>
                  <a:pt x="67" y="40"/>
                  <a:pt x="67" y="40"/>
                  <a:pt x="67" y="40"/>
                </a:cubicBezTo>
                <a:cubicBezTo>
                  <a:pt x="66" y="40"/>
                  <a:pt x="66" y="40"/>
                  <a:pt x="66" y="40"/>
                </a:cubicBezTo>
                <a:close/>
                <a:moveTo>
                  <a:pt x="44" y="50"/>
                </a:moveTo>
                <a:cubicBezTo>
                  <a:pt x="45" y="49"/>
                  <a:pt x="45" y="49"/>
                  <a:pt x="45" y="49"/>
                </a:cubicBezTo>
                <a:cubicBezTo>
                  <a:pt x="46" y="48"/>
                  <a:pt x="46" y="48"/>
                  <a:pt x="46" y="48"/>
                </a:cubicBezTo>
                <a:cubicBezTo>
                  <a:pt x="48" y="47"/>
                  <a:pt x="48" y="47"/>
                  <a:pt x="48" y="47"/>
                </a:cubicBezTo>
                <a:cubicBezTo>
                  <a:pt x="50" y="47"/>
                  <a:pt x="50" y="47"/>
                  <a:pt x="50" y="47"/>
                </a:cubicBezTo>
                <a:cubicBezTo>
                  <a:pt x="51" y="46"/>
                  <a:pt x="51" y="46"/>
                  <a:pt x="51" y="46"/>
                </a:cubicBezTo>
                <a:cubicBezTo>
                  <a:pt x="53" y="45"/>
                  <a:pt x="53" y="45"/>
                  <a:pt x="53" y="45"/>
                </a:cubicBezTo>
                <a:cubicBezTo>
                  <a:pt x="53" y="46"/>
                  <a:pt x="53" y="46"/>
                  <a:pt x="53" y="46"/>
                </a:cubicBezTo>
                <a:cubicBezTo>
                  <a:pt x="54" y="48"/>
                  <a:pt x="54" y="48"/>
                  <a:pt x="54" y="48"/>
                </a:cubicBezTo>
                <a:cubicBezTo>
                  <a:pt x="54" y="48"/>
                  <a:pt x="54" y="48"/>
                  <a:pt x="54" y="48"/>
                </a:cubicBezTo>
                <a:cubicBezTo>
                  <a:pt x="53" y="48"/>
                  <a:pt x="53" y="48"/>
                  <a:pt x="53" y="48"/>
                </a:cubicBezTo>
                <a:cubicBezTo>
                  <a:pt x="53" y="49"/>
                  <a:pt x="53" y="49"/>
                  <a:pt x="53" y="49"/>
                </a:cubicBezTo>
                <a:cubicBezTo>
                  <a:pt x="53" y="51"/>
                  <a:pt x="53" y="51"/>
                  <a:pt x="53" y="51"/>
                </a:cubicBezTo>
                <a:cubicBezTo>
                  <a:pt x="55" y="52"/>
                  <a:pt x="55" y="52"/>
                  <a:pt x="55" y="52"/>
                </a:cubicBezTo>
                <a:cubicBezTo>
                  <a:pt x="56" y="53"/>
                  <a:pt x="56" y="53"/>
                  <a:pt x="56" y="53"/>
                </a:cubicBezTo>
                <a:cubicBezTo>
                  <a:pt x="57" y="52"/>
                  <a:pt x="57" y="52"/>
                  <a:pt x="57" y="52"/>
                </a:cubicBezTo>
                <a:cubicBezTo>
                  <a:pt x="58" y="51"/>
                  <a:pt x="58" y="51"/>
                  <a:pt x="58" y="51"/>
                </a:cubicBezTo>
                <a:cubicBezTo>
                  <a:pt x="59" y="52"/>
                  <a:pt x="59" y="52"/>
                  <a:pt x="59" y="52"/>
                </a:cubicBezTo>
                <a:cubicBezTo>
                  <a:pt x="60" y="53"/>
                  <a:pt x="60" y="53"/>
                  <a:pt x="60" y="53"/>
                </a:cubicBezTo>
                <a:cubicBezTo>
                  <a:pt x="61" y="53"/>
                  <a:pt x="61" y="53"/>
                  <a:pt x="61" y="53"/>
                </a:cubicBezTo>
                <a:cubicBezTo>
                  <a:pt x="61" y="54"/>
                  <a:pt x="61" y="54"/>
                  <a:pt x="61" y="54"/>
                </a:cubicBezTo>
                <a:cubicBezTo>
                  <a:pt x="59" y="54"/>
                  <a:pt x="59" y="54"/>
                  <a:pt x="59" y="54"/>
                </a:cubicBezTo>
                <a:cubicBezTo>
                  <a:pt x="58" y="56"/>
                  <a:pt x="58" y="56"/>
                  <a:pt x="58" y="56"/>
                </a:cubicBezTo>
                <a:cubicBezTo>
                  <a:pt x="58" y="57"/>
                  <a:pt x="58" y="57"/>
                  <a:pt x="58" y="57"/>
                </a:cubicBezTo>
                <a:cubicBezTo>
                  <a:pt x="57" y="60"/>
                  <a:pt x="57" y="60"/>
                  <a:pt x="57" y="60"/>
                </a:cubicBezTo>
                <a:cubicBezTo>
                  <a:pt x="56" y="60"/>
                  <a:pt x="56" y="60"/>
                  <a:pt x="56" y="60"/>
                </a:cubicBezTo>
                <a:cubicBezTo>
                  <a:pt x="55" y="61"/>
                  <a:pt x="55" y="61"/>
                  <a:pt x="55" y="61"/>
                </a:cubicBezTo>
                <a:cubicBezTo>
                  <a:pt x="54" y="62"/>
                  <a:pt x="54" y="62"/>
                  <a:pt x="54" y="62"/>
                </a:cubicBezTo>
                <a:cubicBezTo>
                  <a:pt x="54" y="63"/>
                  <a:pt x="54" y="63"/>
                  <a:pt x="54" y="63"/>
                </a:cubicBezTo>
                <a:cubicBezTo>
                  <a:pt x="53" y="63"/>
                  <a:pt x="53" y="63"/>
                  <a:pt x="53" y="63"/>
                </a:cubicBezTo>
                <a:cubicBezTo>
                  <a:pt x="53" y="63"/>
                  <a:pt x="53" y="63"/>
                  <a:pt x="53" y="63"/>
                </a:cubicBezTo>
                <a:cubicBezTo>
                  <a:pt x="52" y="62"/>
                  <a:pt x="52" y="62"/>
                  <a:pt x="52" y="62"/>
                </a:cubicBezTo>
                <a:cubicBezTo>
                  <a:pt x="53" y="61"/>
                  <a:pt x="53" y="61"/>
                  <a:pt x="53" y="61"/>
                </a:cubicBezTo>
                <a:cubicBezTo>
                  <a:pt x="53" y="60"/>
                  <a:pt x="53" y="60"/>
                  <a:pt x="53" y="60"/>
                </a:cubicBezTo>
                <a:cubicBezTo>
                  <a:pt x="53" y="58"/>
                  <a:pt x="53" y="58"/>
                  <a:pt x="53" y="58"/>
                </a:cubicBezTo>
                <a:cubicBezTo>
                  <a:pt x="53" y="57"/>
                  <a:pt x="53" y="57"/>
                  <a:pt x="53" y="57"/>
                </a:cubicBezTo>
                <a:cubicBezTo>
                  <a:pt x="53" y="57"/>
                  <a:pt x="53" y="57"/>
                  <a:pt x="53" y="57"/>
                </a:cubicBezTo>
                <a:cubicBezTo>
                  <a:pt x="52" y="57"/>
                  <a:pt x="52" y="57"/>
                  <a:pt x="52" y="57"/>
                </a:cubicBezTo>
                <a:cubicBezTo>
                  <a:pt x="51" y="58"/>
                  <a:pt x="51" y="58"/>
                  <a:pt x="51" y="58"/>
                </a:cubicBezTo>
                <a:cubicBezTo>
                  <a:pt x="51" y="59"/>
                  <a:pt x="51" y="59"/>
                  <a:pt x="51" y="59"/>
                </a:cubicBezTo>
                <a:cubicBezTo>
                  <a:pt x="50" y="60"/>
                  <a:pt x="50" y="60"/>
                  <a:pt x="50" y="60"/>
                </a:cubicBezTo>
                <a:cubicBezTo>
                  <a:pt x="49" y="60"/>
                  <a:pt x="49" y="60"/>
                  <a:pt x="49" y="60"/>
                </a:cubicBezTo>
                <a:cubicBezTo>
                  <a:pt x="48" y="61"/>
                  <a:pt x="48" y="61"/>
                  <a:pt x="48" y="61"/>
                </a:cubicBezTo>
                <a:cubicBezTo>
                  <a:pt x="46" y="61"/>
                  <a:pt x="46" y="61"/>
                  <a:pt x="46" y="61"/>
                </a:cubicBezTo>
                <a:cubicBezTo>
                  <a:pt x="45" y="61"/>
                  <a:pt x="45" y="61"/>
                  <a:pt x="45" y="61"/>
                </a:cubicBezTo>
                <a:cubicBezTo>
                  <a:pt x="45" y="61"/>
                  <a:pt x="45" y="61"/>
                  <a:pt x="45" y="61"/>
                </a:cubicBezTo>
                <a:cubicBezTo>
                  <a:pt x="45" y="60"/>
                  <a:pt x="45" y="60"/>
                  <a:pt x="45" y="60"/>
                </a:cubicBezTo>
                <a:cubicBezTo>
                  <a:pt x="45" y="60"/>
                  <a:pt x="45" y="60"/>
                  <a:pt x="45" y="60"/>
                </a:cubicBezTo>
                <a:cubicBezTo>
                  <a:pt x="45" y="59"/>
                  <a:pt x="45" y="59"/>
                  <a:pt x="45" y="59"/>
                </a:cubicBezTo>
                <a:cubicBezTo>
                  <a:pt x="46" y="58"/>
                  <a:pt x="46" y="58"/>
                  <a:pt x="46" y="58"/>
                </a:cubicBezTo>
                <a:cubicBezTo>
                  <a:pt x="46" y="56"/>
                  <a:pt x="46" y="56"/>
                  <a:pt x="46" y="56"/>
                </a:cubicBezTo>
                <a:cubicBezTo>
                  <a:pt x="47" y="54"/>
                  <a:pt x="47" y="54"/>
                  <a:pt x="47" y="54"/>
                </a:cubicBezTo>
                <a:cubicBezTo>
                  <a:pt x="47" y="53"/>
                  <a:pt x="47" y="53"/>
                  <a:pt x="47" y="53"/>
                </a:cubicBezTo>
                <a:cubicBezTo>
                  <a:pt x="47" y="52"/>
                  <a:pt x="47" y="52"/>
                  <a:pt x="47" y="52"/>
                </a:cubicBezTo>
                <a:cubicBezTo>
                  <a:pt x="47" y="52"/>
                  <a:pt x="47" y="52"/>
                  <a:pt x="47" y="52"/>
                </a:cubicBezTo>
                <a:cubicBezTo>
                  <a:pt x="46" y="52"/>
                  <a:pt x="46" y="52"/>
                  <a:pt x="46" y="52"/>
                </a:cubicBezTo>
                <a:cubicBezTo>
                  <a:pt x="45" y="51"/>
                  <a:pt x="45" y="51"/>
                  <a:pt x="45" y="51"/>
                </a:cubicBezTo>
                <a:cubicBezTo>
                  <a:pt x="44" y="50"/>
                  <a:pt x="44" y="50"/>
                  <a:pt x="44" y="50"/>
                </a:cubicBezTo>
                <a:close/>
                <a:moveTo>
                  <a:pt x="38" y="32"/>
                </a:moveTo>
                <a:cubicBezTo>
                  <a:pt x="39" y="33"/>
                  <a:pt x="39" y="33"/>
                  <a:pt x="39" y="33"/>
                </a:cubicBezTo>
                <a:cubicBezTo>
                  <a:pt x="39" y="34"/>
                  <a:pt x="39" y="34"/>
                  <a:pt x="39" y="34"/>
                </a:cubicBezTo>
                <a:cubicBezTo>
                  <a:pt x="40" y="34"/>
                  <a:pt x="40" y="34"/>
                  <a:pt x="40" y="34"/>
                </a:cubicBezTo>
                <a:cubicBezTo>
                  <a:pt x="42" y="34"/>
                  <a:pt x="42" y="34"/>
                  <a:pt x="42" y="34"/>
                </a:cubicBezTo>
                <a:cubicBezTo>
                  <a:pt x="42" y="33"/>
                  <a:pt x="42" y="33"/>
                  <a:pt x="42" y="33"/>
                </a:cubicBezTo>
                <a:cubicBezTo>
                  <a:pt x="41" y="32"/>
                  <a:pt x="41" y="32"/>
                  <a:pt x="41" y="32"/>
                </a:cubicBezTo>
                <a:cubicBezTo>
                  <a:pt x="39" y="31"/>
                  <a:pt x="39" y="31"/>
                  <a:pt x="39" y="31"/>
                </a:cubicBezTo>
                <a:cubicBezTo>
                  <a:pt x="38" y="31"/>
                  <a:pt x="38" y="31"/>
                  <a:pt x="38" y="31"/>
                </a:cubicBezTo>
                <a:cubicBezTo>
                  <a:pt x="38" y="32"/>
                  <a:pt x="38" y="32"/>
                  <a:pt x="38" y="32"/>
                </a:cubicBezTo>
                <a:close/>
                <a:moveTo>
                  <a:pt x="41" y="43"/>
                </a:moveTo>
                <a:cubicBezTo>
                  <a:pt x="42" y="43"/>
                  <a:pt x="42" y="43"/>
                  <a:pt x="42" y="43"/>
                </a:cubicBezTo>
                <a:cubicBezTo>
                  <a:pt x="43" y="44"/>
                  <a:pt x="43" y="44"/>
                  <a:pt x="43" y="44"/>
                </a:cubicBezTo>
                <a:cubicBezTo>
                  <a:pt x="43" y="45"/>
                  <a:pt x="43" y="45"/>
                  <a:pt x="43" y="45"/>
                </a:cubicBezTo>
                <a:cubicBezTo>
                  <a:pt x="44" y="45"/>
                  <a:pt x="44" y="45"/>
                  <a:pt x="44" y="45"/>
                </a:cubicBezTo>
                <a:cubicBezTo>
                  <a:pt x="44" y="46"/>
                  <a:pt x="44" y="46"/>
                  <a:pt x="44" y="46"/>
                </a:cubicBezTo>
                <a:cubicBezTo>
                  <a:pt x="44" y="46"/>
                  <a:pt x="44" y="46"/>
                  <a:pt x="44" y="46"/>
                </a:cubicBezTo>
                <a:cubicBezTo>
                  <a:pt x="44" y="47"/>
                  <a:pt x="44" y="47"/>
                  <a:pt x="44" y="47"/>
                </a:cubicBezTo>
                <a:cubicBezTo>
                  <a:pt x="45" y="47"/>
                  <a:pt x="45" y="47"/>
                  <a:pt x="45" y="47"/>
                </a:cubicBezTo>
                <a:cubicBezTo>
                  <a:pt x="45" y="47"/>
                  <a:pt x="45" y="47"/>
                  <a:pt x="45" y="47"/>
                </a:cubicBezTo>
                <a:cubicBezTo>
                  <a:pt x="46" y="47"/>
                  <a:pt x="46" y="47"/>
                  <a:pt x="46" y="47"/>
                </a:cubicBezTo>
                <a:cubicBezTo>
                  <a:pt x="47" y="46"/>
                  <a:pt x="47" y="46"/>
                  <a:pt x="47" y="46"/>
                </a:cubicBezTo>
                <a:cubicBezTo>
                  <a:pt x="48" y="46"/>
                  <a:pt x="48" y="46"/>
                  <a:pt x="48" y="46"/>
                </a:cubicBezTo>
                <a:cubicBezTo>
                  <a:pt x="49" y="45"/>
                  <a:pt x="49" y="45"/>
                  <a:pt x="49" y="45"/>
                </a:cubicBezTo>
                <a:cubicBezTo>
                  <a:pt x="49" y="45"/>
                  <a:pt x="49" y="45"/>
                  <a:pt x="49" y="45"/>
                </a:cubicBezTo>
                <a:cubicBezTo>
                  <a:pt x="49" y="43"/>
                  <a:pt x="49" y="43"/>
                  <a:pt x="49" y="43"/>
                </a:cubicBezTo>
                <a:cubicBezTo>
                  <a:pt x="50" y="42"/>
                  <a:pt x="50" y="42"/>
                  <a:pt x="50" y="42"/>
                </a:cubicBezTo>
                <a:cubicBezTo>
                  <a:pt x="50" y="41"/>
                  <a:pt x="50" y="41"/>
                  <a:pt x="50" y="41"/>
                </a:cubicBezTo>
                <a:cubicBezTo>
                  <a:pt x="50" y="40"/>
                  <a:pt x="50" y="40"/>
                  <a:pt x="50" y="40"/>
                </a:cubicBezTo>
                <a:cubicBezTo>
                  <a:pt x="49" y="40"/>
                  <a:pt x="49" y="40"/>
                  <a:pt x="49" y="40"/>
                </a:cubicBezTo>
                <a:cubicBezTo>
                  <a:pt x="48" y="40"/>
                  <a:pt x="48" y="40"/>
                  <a:pt x="48" y="40"/>
                </a:cubicBezTo>
                <a:cubicBezTo>
                  <a:pt x="48" y="39"/>
                  <a:pt x="48" y="39"/>
                  <a:pt x="48" y="39"/>
                </a:cubicBezTo>
                <a:cubicBezTo>
                  <a:pt x="47" y="40"/>
                  <a:pt x="47" y="40"/>
                  <a:pt x="47" y="40"/>
                </a:cubicBezTo>
                <a:cubicBezTo>
                  <a:pt x="45" y="41"/>
                  <a:pt x="45" y="41"/>
                  <a:pt x="45" y="41"/>
                </a:cubicBezTo>
                <a:cubicBezTo>
                  <a:pt x="45" y="40"/>
                  <a:pt x="45" y="40"/>
                  <a:pt x="45" y="40"/>
                </a:cubicBezTo>
                <a:cubicBezTo>
                  <a:pt x="45" y="40"/>
                  <a:pt x="45" y="40"/>
                  <a:pt x="45" y="40"/>
                </a:cubicBezTo>
                <a:cubicBezTo>
                  <a:pt x="44" y="41"/>
                  <a:pt x="44" y="41"/>
                  <a:pt x="44" y="41"/>
                </a:cubicBezTo>
                <a:cubicBezTo>
                  <a:pt x="44" y="41"/>
                  <a:pt x="44" y="41"/>
                  <a:pt x="44" y="41"/>
                </a:cubicBezTo>
                <a:cubicBezTo>
                  <a:pt x="43" y="42"/>
                  <a:pt x="43" y="42"/>
                  <a:pt x="43" y="42"/>
                </a:cubicBezTo>
                <a:cubicBezTo>
                  <a:pt x="42" y="41"/>
                  <a:pt x="42" y="41"/>
                  <a:pt x="42" y="41"/>
                </a:cubicBezTo>
                <a:cubicBezTo>
                  <a:pt x="41" y="42"/>
                  <a:pt x="41" y="42"/>
                  <a:pt x="41" y="42"/>
                </a:cubicBezTo>
                <a:cubicBezTo>
                  <a:pt x="41" y="43"/>
                  <a:pt x="41" y="43"/>
                  <a:pt x="41" y="43"/>
                </a:cubicBezTo>
                <a:close/>
                <a:moveTo>
                  <a:pt x="6" y="49"/>
                </a:moveTo>
                <a:cubicBezTo>
                  <a:pt x="5" y="47"/>
                  <a:pt x="5" y="47"/>
                  <a:pt x="5" y="47"/>
                </a:cubicBezTo>
                <a:cubicBezTo>
                  <a:pt x="5" y="47"/>
                  <a:pt x="5" y="47"/>
                  <a:pt x="5" y="47"/>
                </a:cubicBezTo>
                <a:cubicBezTo>
                  <a:pt x="4" y="46"/>
                  <a:pt x="4" y="46"/>
                  <a:pt x="4" y="46"/>
                </a:cubicBezTo>
                <a:cubicBezTo>
                  <a:pt x="3" y="45"/>
                  <a:pt x="3" y="45"/>
                  <a:pt x="3" y="45"/>
                </a:cubicBezTo>
                <a:cubicBezTo>
                  <a:pt x="2" y="45"/>
                  <a:pt x="2" y="45"/>
                  <a:pt x="2" y="45"/>
                </a:cubicBezTo>
                <a:cubicBezTo>
                  <a:pt x="2" y="44"/>
                  <a:pt x="2" y="44"/>
                  <a:pt x="2" y="44"/>
                </a:cubicBezTo>
                <a:cubicBezTo>
                  <a:pt x="2" y="42"/>
                  <a:pt x="2" y="42"/>
                  <a:pt x="2" y="42"/>
                </a:cubicBezTo>
                <a:cubicBezTo>
                  <a:pt x="1" y="40"/>
                  <a:pt x="1" y="40"/>
                  <a:pt x="1" y="40"/>
                </a:cubicBezTo>
                <a:cubicBezTo>
                  <a:pt x="0" y="40"/>
                  <a:pt x="0" y="40"/>
                  <a:pt x="0" y="40"/>
                </a:cubicBezTo>
                <a:cubicBezTo>
                  <a:pt x="0" y="38"/>
                  <a:pt x="0" y="38"/>
                  <a:pt x="0" y="38"/>
                </a:cubicBezTo>
                <a:cubicBezTo>
                  <a:pt x="1" y="37"/>
                  <a:pt x="1" y="37"/>
                  <a:pt x="1" y="37"/>
                </a:cubicBezTo>
                <a:cubicBezTo>
                  <a:pt x="1" y="38"/>
                  <a:pt x="1" y="38"/>
                  <a:pt x="1" y="38"/>
                </a:cubicBezTo>
                <a:cubicBezTo>
                  <a:pt x="2" y="39"/>
                  <a:pt x="2" y="39"/>
                  <a:pt x="2" y="39"/>
                </a:cubicBezTo>
                <a:cubicBezTo>
                  <a:pt x="3" y="40"/>
                  <a:pt x="3" y="40"/>
                  <a:pt x="3" y="40"/>
                </a:cubicBezTo>
                <a:cubicBezTo>
                  <a:pt x="2" y="41"/>
                  <a:pt x="2" y="41"/>
                  <a:pt x="2" y="41"/>
                </a:cubicBezTo>
                <a:cubicBezTo>
                  <a:pt x="3" y="43"/>
                  <a:pt x="3" y="43"/>
                  <a:pt x="3" y="43"/>
                </a:cubicBezTo>
                <a:cubicBezTo>
                  <a:pt x="4" y="44"/>
                  <a:pt x="4" y="44"/>
                  <a:pt x="4" y="44"/>
                </a:cubicBezTo>
                <a:cubicBezTo>
                  <a:pt x="4" y="44"/>
                  <a:pt x="4" y="44"/>
                  <a:pt x="4" y="44"/>
                </a:cubicBezTo>
                <a:cubicBezTo>
                  <a:pt x="5" y="44"/>
                  <a:pt x="5" y="44"/>
                  <a:pt x="5" y="44"/>
                </a:cubicBezTo>
                <a:cubicBezTo>
                  <a:pt x="5" y="44"/>
                  <a:pt x="5" y="44"/>
                  <a:pt x="5" y="44"/>
                </a:cubicBezTo>
                <a:cubicBezTo>
                  <a:pt x="6" y="45"/>
                  <a:pt x="6" y="45"/>
                  <a:pt x="6" y="45"/>
                </a:cubicBezTo>
                <a:cubicBezTo>
                  <a:pt x="7" y="47"/>
                  <a:pt x="7" y="47"/>
                  <a:pt x="7" y="47"/>
                </a:cubicBezTo>
                <a:cubicBezTo>
                  <a:pt x="7" y="48"/>
                  <a:pt x="7" y="48"/>
                  <a:pt x="7" y="48"/>
                </a:cubicBezTo>
                <a:cubicBezTo>
                  <a:pt x="7" y="49"/>
                  <a:pt x="7" y="49"/>
                  <a:pt x="7" y="49"/>
                </a:cubicBezTo>
                <a:cubicBezTo>
                  <a:pt x="6" y="49"/>
                  <a:pt x="6" y="49"/>
                  <a:pt x="6" y="49"/>
                </a:cubicBezTo>
                <a:cubicBezTo>
                  <a:pt x="6" y="49"/>
                  <a:pt x="6" y="49"/>
                  <a:pt x="6" y="49"/>
                </a:cubicBezTo>
                <a:close/>
                <a:moveTo>
                  <a:pt x="29" y="77"/>
                </a:moveTo>
                <a:cubicBezTo>
                  <a:pt x="29" y="76"/>
                  <a:pt x="29" y="76"/>
                  <a:pt x="29" y="76"/>
                </a:cubicBezTo>
                <a:cubicBezTo>
                  <a:pt x="28" y="76"/>
                  <a:pt x="28" y="76"/>
                  <a:pt x="28" y="76"/>
                </a:cubicBezTo>
                <a:cubicBezTo>
                  <a:pt x="28" y="77"/>
                  <a:pt x="28" y="77"/>
                  <a:pt x="28" y="77"/>
                </a:cubicBezTo>
                <a:cubicBezTo>
                  <a:pt x="27" y="77"/>
                  <a:pt x="27" y="77"/>
                  <a:pt x="27" y="77"/>
                </a:cubicBezTo>
                <a:cubicBezTo>
                  <a:pt x="27" y="76"/>
                  <a:pt x="27" y="76"/>
                  <a:pt x="27" y="76"/>
                </a:cubicBezTo>
                <a:cubicBezTo>
                  <a:pt x="27" y="75"/>
                  <a:pt x="27" y="75"/>
                  <a:pt x="27" y="75"/>
                </a:cubicBezTo>
                <a:cubicBezTo>
                  <a:pt x="27" y="74"/>
                  <a:pt x="27" y="74"/>
                  <a:pt x="27" y="74"/>
                </a:cubicBezTo>
                <a:cubicBezTo>
                  <a:pt x="26" y="74"/>
                  <a:pt x="26" y="74"/>
                  <a:pt x="26" y="74"/>
                </a:cubicBezTo>
                <a:cubicBezTo>
                  <a:pt x="24" y="72"/>
                  <a:pt x="24" y="72"/>
                  <a:pt x="24" y="72"/>
                </a:cubicBezTo>
                <a:cubicBezTo>
                  <a:pt x="24" y="71"/>
                  <a:pt x="24" y="71"/>
                  <a:pt x="24" y="71"/>
                </a:cubicBezTo>
                <a:cubicBezTo>
                  <a:pt x="25" y="70"/>
                  <a:pt x="25" y="70"/>
                  <a:pt x="25" y="70"/>
                </a:cubicBezTo>
                <a:cubicBezTo>
                  <a:pt x="26" y="70"/>
                  <a:pt x="26" y="70"/>
                  <a:pt x="26" y="70"/>
                </a:cubicBezTo>
                <a:cubicBezTo>
                  <a:pt x="26" y="70"/>
                  <a:pt x="26" y="70"/>
                  <a:pt x="26" y="70"/>
                </a:cubicBezTo>
                <a:cubicBezTo>
                  <a:pt x="26" y="69"/>
                  <a:pt x="26" y="69"/>
                  <a:pt x="26" y="69"/>
                </a:cubicBezTo>
                <a:cubicBezTo>
                  <a:pt x="26" y="69"/>
                  <a:pt x="26" y="69"/>
                  <a:pt x="26" y="69"/>
                </a:cubicBezTo>
                <a:cubicBezTo>
                  <a:pt x="25" y="69"/>
                  <a:pt x="25" y="69"/>
                  <a:pt x="25" y="69"/>
                </a:cubicBezTo>
                <a:cubicBezTo>
                  <a:pt x="25" y="68"/>
                  <a:pt x="25" y="68"/>
                  <a:pt x="25" y="68"/>
                </a:cubicBezTo>
                <a:cubicBezTo>
                  <a:pt x="24" y="68"/>
                  <a:pt x="24" y="68"/>
                  <a:pt x="24" y="68"/>
                </a:cubicBezTo>
                <a:cubicBezTo>
                  <a:pt x="24" y="69"/>
                  <a:pt x="24" y="69"/>
                  <a:pt x="24" y="69"/>
                </a:cubicBezTo>
                <a:cubicBezTo>
                  <a:pt x="23" y="70"/>
                  <a:pt x="23" y="70"/>
                  <a:pt x="23" y="70"/>
                </a:cubicBezTo>
                <a:cubicBezTo>
                  <a:pt x="21" y="69"/>
                  <a:pt x="21" y="69"/>
                  <a:pt x="21" y="69"/>
                </a:cubicBezTo>
                <a:cubicBezTo>
                  <a:pt x="21" y="68"/>
                  <a:pt x="21" y="68"/>
                  <a:pt x="21" y="68"/>
                </a:cubicBezTo>
                <a:cubicBezTo>
                  <a:pt x="21" y="67"/>
                  <a:pt x="21" y="67"/>
                  <a:pt x="21" y="67"/>
                </a:cubicBezTo>
                <a:cubicBezTo>
                  <a:pt x="20" y="67"/>
                  <a:pt x="20" y="67"/>
                  <a:pt x="20" y="67"/>
                </a:cubicBezTo>
                <a:cubicBezTo>
                  <a:pt x="19" y="66"/>
                  <a:pt x="19" y="66"/>
                  <a:pt x="19" y="66"/>
                </a:cubicBezTo>
                <a:cubicBezTo>
                  <a:pt x="19" y="66"/>
                  <a:pt x="19" y="66"/>
                  <a:pt x="19" y="66"/>
                </a:cubicBezTo>
                <a:cubicBezTo>
                  <a:pt x="18" y="66"/>
                  <a:pt x="18" y="66"/>
                  <a:pt x="18" y="66"/>
                </a:cubicBezTo>
                <a:cubicBezTo>
                  <a:pt x="18" y="65"/>
                  <a:pt x="18" y="65"/>
                  <a:pt x="18" y="65"/>
                </a:cubicBezTo>
                <a:cubicBezTo>
                  <a:pt x="18" y="64"/>
                  <a:pt x="18" y="64"/>
                  <a:pt x="18" y="64"/>
                </a:cubicBezTo>
                <a:cubicBezTo>
                  <a:pt x="17" y="64"/>
                  <a:pt x="17" y="64"/>
                  <a:pt x="17" y="64"/>
                </a:cubicBezTo>
                <a:cubicBezTo>
                  <a:pt x="17" y="64"/>
                  <a:pt x="17" y="64"/>
                  <a:pt x="17" y="64"/>
                </a:cubicBezTo>
                <a:cubicBezTo>
                  <a:pt x="17" y="63"/>
                  <a:pt x="17" y="63"/>
                  <a:pt x="17" y="63"/>
                </a:cubicBezTo>
                <a:cubicBezTo>
                  <a:pt x="16" y="63"/>
                  <a:pt x="16" y="63"/>
                  <a:pt x="16" y="63"/>
                </a:cubicBezTo>
                <a:cubicBezTo>
                  <a:pt x="16" y="62"/>
                  <a:pt x="16" y="62"/>
                  <a:pt x="16" y="62"/>
                </a:cubicBezTo>
                <a:cubicBezTo>
                  <a:pt x="16" y="62"/>
                  <a:pt x="16" y="62"/>
                  <a:pt x="16" y="62"/>
                </a:cubicBezTo>
                <a:cubicBezTo>
                  <a:pt x="16" y="62"/>
                  <a:pt x="16" y="62"/>
                  <a:pt x="16" y="62"/>
                </a:cubicBezTo>
                <a:cubicBezTo>
                  <a:pt x="16" y="61"/>
                  <a:pt x="16" y="61"/>
                  <a:pt x="16" y="61"/>
                </a:cubicBezTo>
                <a:cubicBezTo>
                  <a:pt x="16" y="60"/>
                  <a:pt x="16" y="60"/>
                  <a:pt x="16" y="60"/>
                </a:cubicBezTo>
                <a:cubicBezTo>
                  <a:pt x="15" y="60"/>
                  <a:pt x="15" y="60"/>
                  <a:pt x="15" y="60"/>
                </a:cubicBezTo>
                <a:cubicBezTo>
                  <a:pt x="15" y="59"/>
                  <a:pt x="15" y="59"/>
                  <a:pt x="15" y="59"/>
                </a:cubicBezTo>
                <a:cubicBezTo>
                  <a:pt x="17" y="58"/>
                  <a:pt x="17" y="58"/>
                  <a:pt x="17" y="58"/>
                </a:cubicBezTo>
                <a:cubicBezTo>
                  <a:pt x="17" y="58"/>
                  <a:pt x="17" y="58"/>
                  <a:pt x="17" y="58"/>
                </a:cubicBezTo>
                <a:cubicBezTo>
                  <a:pt x="18" y="59"/>
                  <a:pt x="18" y="59"/>
                  <a:pt x="18" y="59"/>
                </a:cubicBezTo>
                <a:cubicBezTo>
                  <a:pt x="19" y="60"/>
                  <a:pt x="19" y="60"/>
                  <a:pt x="19" y="60"/>
                </a:cubicBezTo>
                <a:cubicBezTo>
                  <a:pt x="19" y="60"/>
                  <a:pt x="19" y="60"/>
                  <a:pt x="19" y="60"/>
                </a:cubicBezTo>
                <a:cubicBezTo>
                  <a:pt x="19" y="59"/>
                  <a:pt x="19" y="59"/>
                  <a:pt x="19" y="59"/>
                </a:cubicBezTo>
                <a:cubicBezTo>
                  <a:pt x="20" y="59"/>
                  <a:pt x="20" y="59"/>
                  <a:pt x="20" y="59"/>
                </a:cubicBezTo>
                <a:cubicBezTo>
                  <a:pt x="21" y="60"/>
                  <a:pt x="21" y="60"/>
                  <a:pt x="21" y="60"/>
                </a:cubicBezTo>
                <a:cubicBezTo>
                  <a:pt x="22" y="60"/>
                  <a:pt x="22" y="60"/>
                  <a:pt x="22" y="60"/>
                </a:cubicBezTo>
                <a:cubicBezTo>
                  <a:pt x="24" y="59"/>
                  <a:pt x="24" y="59"/>
                  <a:pt x="24" y="59"/>
                </a:cubicBezTo>
                <a:cubicBezTo>
                  <a:pt x="24" y="59"/>
                  <a:pt x="24" y="59"/>
                  <a:pt x="24" y="59"/>
                </a:cubicBezTo>
                <a:cubicBezTo>
                  <a:pt x="23" y="58"/>
                  <a:pt x="23" y="58"/>
                  <a:pt x="23" y="58"/>
                </a:cubicBezTo>
                <a:cubicBezTo>
                  <a:pt x="22" y="58"/>
                  <a:pt x="22" y="58"/>
                  <a:pt x="22" y="58"/>
                </a:cubicBezTo>
                <a:cubicBezTo>
                  <a:pt x="20" y="58"/>
                  <a:pt x="20" y="58"/>
                  <a:pt x="20" y="58"/>
                </a:cubicBezTo>
                <a:cubicBezTo>
                  <a:pt x="19" y="57"/>
                  <a:pt x="19" y="57"/>
                  <a:pt x="19" y="57"/>
                </a:cubicBezTo>
                <a:cubicBezTo>
                  <a:pt x="19" y="57"/>
                  <a:pt x="19" y="57"/>
                  <a:pt x="19" y="57"/>
                </a:cubicBezTo>
                <a:cubicBezTo>
                  <a:pt x="20" y="57"/>
                  <a:pt x="20" y="57"/>
                  <a:pt x="20" y="57"/>
                </a:cubicBezTo>
                <a:cubicBezTo>
                  <a:pt x="21" y="57"/>
                  <a:pt x="21" y="57"/>
                  <a:pt x="21" y="57"/>
                </a:cubicBezTo>
                <a:cubicBezTo>
                  <a:pt x="23" y="56"/>
                  <a:pt x="23" y="56"/>
                  <a:pt x="23" y="56"/>
                </a:cubicBezTo>
                <a:cubicBezTo>
                  <a:pt x="24" y="55"/>
                  <a:pt x="24" y="55"/>
                  <a:pt x="24" y="55"/>
                </a:cubicBezTo>
                <a:cubicBezTo>
                  <a:pt x="26" y="55"/>
                  <a:pt x="26" y="55"/>
                  <a:pt x="26" y="55"/>
                </a:cubicBezTo>
                <a:cubicBezTo>
                  <a:pt x="27" y="55"/>
                  <a:pt x="27" y="55"/>
                  <a:pt x="27" y="55"/>
                </a:cubicBezTo>
                <a:cubicBezTo>
                  <a:pt x="27" y="55"/>
                  <a:pt x="27" y="55"/>
                  <a:pt x="27" y="55"/>
                </a:cubicBezTo>
                <a:cubicBezTo>
                  <a:pt x="27" y="55"/>
                  <a:pt x="27" y="55"/>
                  <a:pt x="27" y="55"/>
                </a:cubicBezTo>
                <a:cubicBezTo>
                  <a:pt x="27" y="54"/>
                  <a:pt x="27" y="54"/>
                  <a:pt x="27" y="54"/>
                </a:cubicBezTo>
                <a:cubicBezTo>
                  <a:pt x="28" y="54"/>
                  <a:pt x="28" y="54"/>
                  <a:pt x="28" y="54"/>
                </a:cubicBezTo>
                <a:cubicBezTo>
                  <a:pt x="28" y="53"/>
                  <a:pt x="28" y="53"/>
                  <a:pt x="28" y="53"/>
                </a:cubicBezTo>
                <a:cubicBezTo>
                  <a:pt x="28" y="53"/>
                  <a:pt x="28" y="53"/>
                  <a:pt x="28" y="53"/>
                </a:cubicBezTo>
                <a:cubicBezTo>
                  <a:pt x="27" y="53"/>
                  <a:pt x="27" y="53"/>
                  <a:pt x="27" y="53"/>
                </a:cubicBezTo>
                <a:cubicBezTo>
                  <a:pt x="26" y="54"/>
                  <a:pt x="26" y="54"/>
                  <a:pt x="26" y="54"/>
                </a:cubicBezTo>
                <a:cubicBezTo>
                  <a:pt x="24" y="54"/>
                  <a:pt x="24" y="54"/>
                  <a:pt x="24" y="54"/>
                </a:cubicBezTo>
                <a:cubicBezTo>
                  <a:pt x="23" y="54"/>
                  <a:pt x="23" y="54"/>
                  <a:pt x="23" y="54"/>
                </a:cubicBezTo>
                <a:cubicBezTo>
                  <a:pt x="23" y="54"/>
                  <a:pt x="23" y="54"/>
                  <a:pt x="23" y="54"/>
                </a:cubicBezTo>
                <a:cubicBezTo>
                  <a:pt x="22" y="54"/>
                  <a:pt x="22" y="54"/>
                  <a:pt x="22" y="54"/>
                </a:cubicBezTo>
                <a:cubicBezTo>
                  <a:pt x="21" y="54"/>
                  <a:pt x="21" y="54"/>
                  <a:pt x="21" y="54"/>
                </a:cubicBezTo>
                <a:cubicBezTo>
                  <a:pt x="21" y="54"/>
                  <a:pt x="21" y="54"/>
                  <a:pt x="21" y="54"/>
                </a:cubicBezTo>
                <a:cubicBezTo>
                  <a:pt x="20" y="55"/>
                  <a:pt x="20" y="55"/>
                  <a:pt x="20" y="55"/>
                </a:cubicBezTo>
                <a:cubicBezTo>
                  <a:pt x="19" y="55"/>
                  <a:pt x="19" y="55"/>
                  <a:pt x="19" y="55"/>
                </a:cubicBezTo>
                <a:cubicBezTo>
                  <a:pt x="18" y="55"/>
                  <a:pt x="18" y="55"/>
                  <a:pt x="18" y="55"/>
                </a:cubicBezTo>
                <a:cubicBezTo>
                  <a:pt x="18" y="56"/>
                  <a:pt x="18" y="56"/>
                  <a:pt x="18" y="56"/>
                </a:cubicBezTo>
                <a:cubicBezTo>
                  <a:pt x="16" y="56"/>
                  <a:pt x="16" y="56"/>
                  <a:pt x="16" y="56"/>
                </a:cubicBezTo>
                <a:cubicBezTo>
                  <a:pt x="15" y="56"/>
                  <a:pt x="15" y="56"/>
                  <a:pt x="15" y="56"/>
                </a:cubicBezTo>
                <a:cubicBezTo>
                  <a:pt x="15" y="56"/>
                  <a:pt x="15" y="56"/>
                  <a:pt x="15" y="56"/>
                </a:cubicBezTo>
                <a:cubicBezTo>
                  <a:pt x="14" y="56"/>
                  <a:pt x="14" y="56"/>
                  <a:pt x="14" y="56"/>
                </a:cubicBezTo>
                <a:cubicBezTo>
                  <a:pt x="14" y="54"/>
                  <a:pt x="14" y="54"/>
                  <a:pt x="14" y="54"/>
                </a:cubicBezTo>
                <a:cubicBezTo>
                  <a:pt x="14" y="53"/>
                  <a:pt x="14" y="53"/>
                  <a:pt x="14" y="53"/>
                </a:cubicBezTo>
                <a:cubicBezTo>
                  <a:pt x="14" y="52"/>
                  <a:pt x="14" y="52"/>
                  <a:pt x="14" y="52"/>
                </a:cubicBezTo>
                <a:cubicBezTo>
                  <a:pt x="14" y="52"/>
                  <a:pt x="14" y="52"/>
                  <a:pt x="14" y="52"/>
                </a:cubicBezTo>
                <a:cubicBezTo>
                  <a:pt x="15" y="51"/>
                  <a:pt x="15" y="51"/>
                  <a:pt x="15" y="51"/>
                </a:cubicBezTo>
                <a:cubicBezTo>
                  <a:pt x="16" y="51"/>
                  <a:pt x="16" y="51"/>
                  <a:pt x="16" y="51"/>
                </a:cubicBezTo>
                <a:cubicBezTo>
                  <a:pt x="16" y="51"/>
                  <a:pt x="16" y="51"/>
                  <a:pt x="16" y="51"/>
                </a:cubicBezTo>
                <a:cubicBezTo>
                  <a:pt x="16" y="52"/>
                  <a:pt x="16" y="52"/>
                  <a:pt x="16" y="52"/>
                </a:cubicBezTo>
                <a:cubicBezTo>
                  <a:pt x="17" y="52"/>
                  <a:pt x="17" y="52"/>
                  <a:pt x="17" y="52"/>
                </a:cubicBezTo>
                <a:cubicBezTo>
                  <a:pt x="17" y="51"/>
                  <a:pt x="17" y="51"/>
                  <a:pt x="17" y="51"/>
                </a:cubicBezTo>
                <a:cubicBezTo>
                  <a:pt x="18" y="50"/>
                  <a:pt x="18" y="50"/>
                  <a:pt x="18" y="50"/>
                </a:cubicBezTo>
                <a:cubicBezTo>
                  <a:pt x="18" y="50"/>
                  <a:pt x="18" y="50"/>
                  <a:pt x="18" y="50"/>
                </a:cubicBezTo>
                <a:cubicBezTo>
                  <a:pt x="19" y="49"/>
                  <a:pt x="19" y="49"/>
                  <a:pt x="19" y="49"/>
                </a:cubicBezTo>
                <a:cubicBezTo>
                  <a:pt x="20" y="48"/>
                  <a:pt x="20" y="48"/>
                  <a:pt x="20" y="48"/>
                </a:cubicBezTo>
                <a:cubicBezTo>
                  <a:pt x="21" y="48"/>
                  <a:pt x="21" y="48"/>
                  <a:pt x="21" y="48"/>
                </a:cubicBezTo>
                <a:cubicBezTo>
                  <a:pt x="21" y="47"/>
                  <a:pt x="21" y="47"/>
                  <a:pt x="21" y="47"/>
                </a:cubicBezTo>
                <a:cubicBezTo>
                  <a:pt x="22" y="46"/>
                  <a:pt x="22" y="46"/>
                  <a:pt x="22" y="46"/>
                </a:cubicBezTo>
                <a:cubicBezTo>
                  <a:pt x="23" y="46"/>
                  <a:pt x="23" y="46"/>
                  <a:pt x="23" y="46"/>
                </a:cubicBezTo>
                <a:cubicBezTo>
                  <a:pt x="25" y="46"/>
                  <a:pt x="25" y="46"/>
                  <a:pt x="25" y="46"/>
                </a:cubicBezTo>
                <a:cubicBezTo>
                  <a:pt x="26" y="45"/>
                  <a:pt x="26" y="45"/>
                  <a:pt x="26" y="45"/>
                </a:cubicBezTo>
                <a:cubicBezTo>
                  <a:pt x="27" y="44"/>
                  <a:pt x="27" y="44"/>
                  <a:pt x="27" y="44"/>
                </a:cubicBezTo>
                <a:cubicBezTo>
                  <a:pt x="28" y="44"/>
                  <a:pt x="28" y="44"/>
                  <a:pt x="28" y="44"/>
                </a:cubicBezTo>
                <a:cubicBezTo>
                  <a:pt x="28" y="43"/>
                  <a:pt x="28" y="43"/>
                  <a:pt x="28" y="43"/>
                </a:cubicBezTo>
                <a:cubicBezTo>
                  <a:pt x="27" y="43"/>
                  <a:pt x="27" y="43"/>
                  <a:pt x="27" y="43"/>
                </a:cubicBezTo>
                <a:cubicBezTo>
                  <a:pt x="26" y="44"/>
                  <a:pt x="26" y="44"/>
                  <a:pt x="26" y="44"/>
                </a:cubicBezTo>
                <a:cubicBezTo>
                  <a:pt x="25" y="44"/>
                  <a:pt x="25" y="44"/>
                  <a:pt x="25" y="44"/>
                </a:cubicBezTo>
                <a:cubicBezTo>
                  <a:pt x="25" y="44"/>
                  <a:pt x="25" y="44"/>
                  <a:pt x="25" y="44"/>
                </a:cubicBezTo>
                <a:cubicBezTo>
                  <a:pt x="25" y="43"/>
                  <a:pt x="25" y="43"/>
                  <a:pt x="25" y="43"/>
                </a:cubicBezTo>
                <a:cubicBezTo>
                  <a:pt x="25" y="42"/>
                  <a:pt x="25" y="42"/>
                  <a:pt x="25" y="42"/>
                </a:cubicBezTo>
                <a:cubicBezTo>
                  <a:pt x="25" y="40"/>
                  <a:pt x="25" y="40"/>
                  <a:pt x="25" y="40"/>
                </a:cubicBezTo>
                <a:cubicBezTo>
                  <a:pt x="25" y="39"/>
                  <a:pt x="25" y="39"/>
                  <a:pt x="25" y="39"/>
                </a:cubicBezTo>
                <a:cubicBezTo>
                  <a:pt x="24" y="39"/>
                  <a:pt x="24" y="39"/>
                  <a:pt x="24" y="39"/>
                </a:cubicBezTo>
                <a:cubicBezTo>
                  <a:pt x="24" y="40"/>
                  <a:pt x="24" y="40"/>
                  <a:pt x="24" y="40"/>
                </a:cubicBezTo>
                <a:cubicBezTo>
                  <a:pt x="24" y="41"/>
                  <a:pt x="24" y="41"/>
                  <a:pt x="24" y="41"/>
                </a:cubicBezTo>
                <a:cubicBezTo>
                  <a:pt x="23" y="43"/>
                  <a:pt x="23" y="43"/>
                  <a:pt x="23" y="43"/>
                </a:cubicBezTo>
                <a:cubicBezTo>
                  <a:pt x="22" y="44"/>
                  <a:pt x="22" y="44"/>
                  <a:pt x="22" y="44"/>
                </a:cubicBezTo>
                <a:cubicBezTo>
                  <a:pt x="21" y="45"/>
                  <a:pt x="21" y="45"/>
                  <a:pt x="21" y="45"/>
                </a:cubicBezTo>
                <a:cubicBezTo>
                  <a:pt x="20" y="44"/>
                  <a:pt x="20" y="44"/>
                  <a:pt x="20" y="44"/>
                </a:cubicBezTo>
                <a:cubicBezTo>
                  <a:pt x="20" y="43"/>
                  <a:pt x="20" y="43"/>
                  <a:pt x="20" y="43"/>
                </a:cubicBezTo>
                <a:cubicBezTo>
                  <a:pt x="20" y="42"/>
                  <a:pt x="20" y="42"/>
                  <a:pt x="20" y="42"/>
                </a:cubicBezTo>
                <a:cubicBezTo>
                  <a:pt x="21" y="41"/>
                  <a:pt x="21" y="41"/>
                  <a:pt x="21" y="41"/>
                </a:cubicBezTo>
                <a:cubicBezTo>
                  <a:pt x="21" y="40"/>
                  <a:pt x="21" y="40"/>
                  <a:pt x="21" y="40"/>
                </a:cubicBezTo>
                <a:cubicBezTo>
                  <a:pt x="20" y="40"/>
                  <a:pt x="20" y="40"/>
                  <a:pt x="20" y="40"/>
                </a:cubicBezTo>
                <a:cubicBezTo>
                  <a:pt x="20" y="38"/>
                  <a:pt x="20" y="38"/>
                  <a:pt x="20" y="38"/>
                </a:cubicBezTo>
                <a:cubicBezTo>
                  <a:pt x="20" y="38"/>
                  <a:pt x="20" y="38"/>
                  <a:pt x="20" y="38"/>
                </a:cubicBezTo>
                <a:cubicBezTo>
                  <a:pt x="19" y="38"/>
                  <a:pt x="19" y="38"/>
                  <a:pt x="19" y="38"/>
                </a:cubicBezTo>
                <a:cubicBezTo>
                  <a:pt x="19" y="38"/>
                  <a:pt x="19" y="38"/>
                  <a:pt x="19" y="38"/>
                </a:cubicBezTo>
                <a:cubicBezTo>
                  <a:pt x="19" y="40"/>
                  <a:pt x="19" y="40"/>
                  <a:pt x="19" y="40"/>
                </a:cubicBezTo>
                <a:cubicBezTo>
                  <a:pt x="19" y="41"/>
                  <a:pt x="19" y="41"/>
                  <a:pt x="19" y="41"/>
                </a:cubicBezTo>
                <a:cubicBezTo>
                  <a:pt x="18" y="42"/>
                  <a:pt x="18" y="42"/>
                  <a:pt x="18" y="42"/>
                </a:cubicBezTo>
                <a:cubicBezTo>
                  <a:pt x="18" y="41"/>
                  <a:pt x="18" y="41"/>
                  <a:pt x="18" y="41"/>
                </a:cubicBezTo>
                <a:cubicBezTo>
                  <a:pt x="18" y="41"/>
                  <a:pt x="18" y="41"/>
                  <a:pt x="18" y="41"/>
                </a:cubicBezTo>
                <a:cubicBezTo>
                  <a:pt x="18" y="40"/>
                  <a:pt x="18" y="40"/>
                  <a:pt x="18" y="40"/>
                </a:cubicBezTo>
                <a:cubicBezTo>
                  <a:pt x="17" y="40"/>
                  <a:pt x="17" y="40"/>
                  <a:pt x="17" y="40"/>
                </a:cubicBezTo>
                <a:cubicBezTo>
                  <a:pt x="16" y="40"/>
                  <a:pt x="16" y="40"/>
                  <a:pt x="16" y="40"/>
                </a:cubicBezTo>
                <a:cubicBezTo>
                  <a:pt x="16" y="41"/>
                  <a:pt x="16" y="41"/>
                  <a:pt x="16" y="41"/>
                </a:cubicBezTo>
                <a:cubicBezTo>
                  <a:pt x="17" y="42"/>
                  <a:pt x="17" y="42"/>
                  <a:pt x="17" y="42"/>
                </a:cubicBezTo>
                <a:cubicBezTo>
                  <a:pt x="17" y="43"/>
                  <a:pt x="17" y="43"/>
                  <a:pt x="17" y="43"/>
                </a:cubicBezTo>
                <a:cubicBezTo>
                  <a:pt x="17" y="44"/>
                  <a:pt x="17" y="44"/>
                  <a:pt x="17" y="44"/>
                </a:cubicBezTo>
                <a:cubicBezTo>
                  <a:pt x="18" y="45"/>
                  <a:pt x="18" y="45"/>
                  <a:pt x="18" y="45"/>
                </a:cubicBezTo>
                <a:cubicBezTo>
                  <a:pt x="18" y="46"/>
                  <a:pt x="18" y="46"/>
                  <a:pt x="18" y="46"/>
                </a:cubicBezTo>
                <a:cubicBezTo>
                  <a:pt x="17" y="46"/>
                  <a:pt x="17" y="46"/>
                  <a:pt x="17" y="46"/>
                </a:cubicBezTo>
                <a:cubicBezTo>
                  <a:pt x="16" y="46"/>
                  <a:pt x="16" y="46"/>
                  <a:pt x="16" y="46"/>
                </a:cubicBezTo>
                <a:cubicBezTo>
                  <a:pt x="16" y="48"/>
                  <a:pt x="16" y="48"/>
                  <a:pt x="16" y="48"/>
                </a:cubicBezTo>
                <a:cubicBezTo>
                  <a:pt x="16" y="48"/>
                  <a:pt x="16" y="48"/>
                  <a:pt x="16" y="48"/>
                </a:cubicBezTo>
                <a:cubicBezTo>
                  <a:pt x="15" y="49"/>
                  <a:pt x="15" y="49"/>
                  <a:pt x="15" y="49"/>
                </a:cubicBezTo>
                <a:cubicBezTo>
                  <a:pt x="13" y="49"/>
                  <a:pt x="13" y="49"/>
                  <a:pt x="13" y="49"/>
                </a:cubicBezTo>
                <a:cubicBezTo>
                  <a:pt x="11" y="49"/>
                  <a:pt x="11" y="49"/>
                  <a:pt x="11" y="49"/>
                </a:cubicBezTo>
                <a:cubicBezTo>
                  <a:pt x="11" y="49"/>
                  <a:pt x="11" y="49"/>
                  <a:pt x="11" y="49"/>
                </a:cubicBezTo>
                <a:cubicBezTo>
                  <a:pt x="12" y="48"/>
                  <a:pt x="12" y="48"/>
                  <a:pt x="12" y="48"/>
                </a:cubicBezTo>
                <a:cubicBezTo>
                  <a:pt x="11" y="47"/>
                  <a:pt x="11" y="47"/>
                  <a:pt x="11" y="47"/>
                </a:cubicBezTo>
                <a:cubicBezTo>
                  <a:pt x="10" y="46"/>
                  <a:pt x="10" y="46"/>
                  <a:pt x="10" y="46"/>
                </a:cubicBezTo>
                <a:cubicBezTo>
                  <a:pt x="9" y="45"/>
                  <a:pt x="9" y="45"/>
                  <a:pt x="9" y="45"/>
                </a:cubicBezTo>
                <a:cubicBezTo>
                  <a:pt x="9" y="45"/>
                  <a:pt x="9" y="45"/>
                  <a:pt x="9" y="45"/>
                </a:cubicBezTo>
                <a:cubicBezTo>
                  <a:pt x="8" y="44"/>
                  <a:pt x="8" y="44"/>
                  <a:pt x="8" y="44"/>
                </a:cubicBezTo>
                <a:cubicBezTo>
                  <a:pt x="8" y="43"/>
                  <a:pt x="8" y="43"/>
                  <a:pt x="8" y="43"/>
                </a:cubicBezTo>
                <a:cubicBezTo>
                  <a:pt x="9" y="43"/>
                  <a:pt x="9" y="43"/>
                  <a:pt x="9" y="43"/>
                </a:cubicBezTo>
                <a:cubicBezTo>
                  <a:pt x="10" y="43"/>
                  <a:pt x="10" y="43"/>
                  <a:pt x="10" y="43"/>
                </a:cubicBezTo>
                <a:cubicBezTo>
                  <a:pt x="10" y="42"/>
                  <a:pt x="10" y="42"/>
                  <a:pt x="10" y="42"/>
                </a:cubicBezTo>
                <a:cubicBezTo>
                  <a:pt x="9" y="42"/>
                  <a:pt x="9" y="42"/>
                  <a:pt x="9" y="42"/>
                </a:cubicBezTo>
                <a:cubicBezTo>
                  <a:pt x="8" y="42"/>
                  <a:pt x="8" y="42"/>
                  <a:pt x="8" y="42"/>
                </a:cubicBezTo>
                <a:cubicBezTo>
                  <a:pt x="7" y="42"/>
                  <a:pt x="7" y="42"/>
                  <a:pt x="7" y="42"/>
                </a:cubicBezTo>
                <a:cubicBezTo>
                  <a:pt x="7" y="41"/>
                  <a:pt x="7" y="41"/>
                  <a:pt x="7" y="41"/>
                </a:cubicBezTo>
                <a:cubicBezTo>
                  <a:pt x="6" y="41"/>
                  <a:pt x="6" y="41"/>
                  <a:pt x="6" y="41"/>
                </a:cubicBezTo>
                <a:cubicBezTo>
                  <a:pt x="5" y="40"/>
                  <a:pt x="5" y="40"/>
                  <a:pt x="5" y="40"/>
                </a:cubicBezTo>
                <a:cubicBezTo>
                  <a:pt x="4" y="39"/>
                  <a:pt x="4" y="39"/>
                  <a:pt x="4" y="39"/>
                </a:cubicBezTo>
                <a:cubicBezTo>
                  <a:pt x="5" y="39"/>
                  <a:pt x="5" y="39"/>
                  <a:pt x="5" y="39"/>
                </a:cubicBezTo>
                <a:cubicBezTo>
                  <a:pt x="5" y="38"/>
                  <a:pt x="5" y="38"/>
                  <a:pt x="5" y="38"/>
                </a:cubicBezTo>
                <a:cubicBezTo>
                  <a:pt x="4" y="38"/>
                  <a:pt x="4" y="38"/>
                  <a:pt x="4" y="38"/>
                </a:cubicBezTo>
                <a:cubicBezTo>
                  <a:pt x="3" y="37"/>
                  <a:pt x="3" y="37"/>
                  <a:pt x="3" y="37"/>
                </a:cubicBezTo>
                <a:cubicBezTo>
                  <a:pt x="3" y="36"/>
                  <a:pt x="3" y="36"/>
                  <a:pt x="3" y="36"/>
                </a:cubicBezTo>
                <a:cubicBezTo>
                  <a:pt x="3" y="35"/>
                  <a:pt x="3" y="35"/>
                  <a:pt x="3" y="35"/>
                </a:cubicBezTo>
                <a:cubicBezTo>
                  <a:pt x="3" y="35"/>
                  <a:pt x="3" y="35"/>
                  <a:pt x="3" y="35"/>
                </a:cubicBezTo>
                <a:cubicBezTo>
                  <a:pt x="5" y="36"/>
                  <a:pt x="5" y="36"/>
                  <a:pt x="5" y="36"/>
                </a:cubicBezTo>
                <a:cubicBezTo>
                  <a:pt x="5" y="37"/>
                  <a:pt x="5" y="37"/>
                  <a:pt x="5" y="37"/>
                </a:cubicBezTo>
                <a:cubicBezTo>
                  <a:pt x="5" y="37"/>
                  <a:pt x="5" y="37"/>
                  <a:pt x="5" y="37"/>
                </a:cubicBezTo>
                <a:cubicBezTo>
                  <a:pt x="6" y="37"/>
                  <a:pt x="6" y="37"/>
                  <a:pt x="6" y="37"/>
                </a:cubicBezTo>
                <a:cubicBezTo>
                  <a:pt x="7" y="37"/>
                  <a:pt x="7" y="37"/>
                  <a:pt x="7" y="37"/>
                </a:cubicBezTo>
                <a:cubicBezTo>
                  <a:pt x="7" y="36"/>
                  <a:pt x="7" y="36"/>
                  <a:pt x="7" y="36"/>
                </a:cubicBezTo>
                <a:cubicBezTo>
                  <a:pt x="6" y="35"/>
                  <a:pt x="6" y="35"/>
                  <a:pt x="6" y="35"/>
                </a:cubicBezTo>
                <a:cubicBezTo>
                  <a:pt x="6" y="36"/>
                  <a:pt x="6" y="36"/>
                  <a:pt x="6" y="36"/>
                </a:cubicBezTo>
                <a:cubicBezTo>
                  <a:pt x="5" y="35"/>
                  <a:pt x="5" y="35"/>
                  <a:pt x="5" y="35"/>
                </a:cubicBezTo>
                <a:cubicBezTo>
                  <a:pt x="5" y="35"/>
                  <a:pt x="5" y="35"/>
                  <a:pt x="5" y="35"/>
                </a:cubicBezTo>
                <a:cubicBezTo>
                  <a:pt x="4" y="34"/>
                  <a:pt x="4" y="34"/>
                  <a:pt x="4" y="34"/>
                </a:cubicBezTo>
                <a:cubicBezTo>
                  <a:pt x="4" y="33"/>
                  <a:pt x="4" y="33"/>
                  <a:pt x="4" y="33"/>
                </a:cubicBezTo>
                <a:cubicBezTo>
                  <a:pt x="4" y="33"/>
                  <a:pt x="4" y="33"/>
                  <a:pt x="4" y="33"/>
                </a:cubicBezTo>
                <a:cubicBezTo>
                  <a:pt x="5" y="31"/>
                  <a:pt x="5" y="31"/>
                  <a:pt x="5" y="31"/>
                </a:cubicBezTo>
                <a:cubicBezTo>
                  <a:pt x="5" y="30"/>
                  <a:pt x="5" y="30"/>
                  <a:pt x="5" y="30"/>
                </a:cubicBezTo>
                <a:cubicBezTo>
                  <a:pt x="5" y="30"/>
                  <a:pt x="5" y="30"/>
                  <a:pt x="5" y="30"/>
                </a:cubicBezTo>
                <a:cubicBezTo>
                  <a:pt x="4" y="30"/>
                  <a:pt x="4" y="30"/>
                  <a:pt x="4" y="30"/>
                </a:cubicBezTo>
                <a:cubicBezTo>
                  <a:pt x="3" y="30"/>
                  <a:pt x="3" y="30"/>
                  <a:pt x="3" y="30"/>
                </a:cubicBezTo>
                <a:cubicBezTo>
                  <a:pt x="3" y="30"/>
                  <a:pt x="3" y="30"/>
                  <a:pt x="3" y="30"/>
                </a:cubicBezTo>
                <a:cubicBezTo>
                  <a:pt x="3" y="31"/>
                  <a:pt x="3" y="31"/>
                  <a:pt x="3" y="31"/>
                </a:cubicBezTo>
                <a:cubicBezTo>
                  <a:pt x="3" y="32"/>
                  <a:pt x="3" y="32"/>
                  <a:pt x="3" y="32"/>
                </a:cubicBezTo>
                <a:cubicBezTo>
                  <a:pt x="2" y="33"/>
                  <a:pt x="2" y="33"/>
                  <a:pt x="2" y="33"/>
                </a:cubicBezTo>
                <a:cubicBezTo>
                  <a:pt x="1" y="33"/>
                  <a:pt x="1" y="33"/>
                  <a:pt x="1" y="33"/>
                </a:cubicBezTo>
                <a:cubicBezTo>
                  <a:pt x="1" y="32"/>
                  <a:pt x="1" y="32"/>
                  <a:pt x="1" y="32"/>
                </a:cubicBezTo>
                <a:cubicBezTo>
                  <a:pt x="0" y="30"/>
                  <a:pt x="0" y="30"/>
                  <a:pt x="0" y="30"/>
                </a:cubicBezTo>
                <a:cubicBezTo>
                  <a:pt x="0" y="29"/>
                  <a:pt x="0" y="29"/>
                  <a:pt x="0" y="29"/>
                </a:cubicBezTo>
                <a:cubicBezTo>
                  <a:pt x="0" y="27"/>
                  <a:pt x="0" y="27"/>
                  <a:pt x="0" y="27"/>
                </a:cubicBezTo>
                <a:cubicBezTo>
                  <a:pt x="0" y="26"/>
                  <a:pt x="0" y="26"/>
                  <a:pt x="0" y="26"/>
                </a:cubicBezTo>
                <a:cubicBezTo>
                  <a:pt x="0" y="26"/>
                  <a:pt x="0" y="26"/>
                  <a:pt x="0" y="26"/>
                </a:cubicBezTo>
                <a:cubicBezTo>
                  <a:pt x="1" y="25"/>
                  <a:pt x="1" y="25"/>
                  <a:pt x="1" y="25"/>
                </a:cubicBezTo>
                <a:cubicBezTo>
                  <a:pt x="2" y="25"/>
                  <a:pt x="2" y="25"/>
                  <a:pt x="2" y="25"/>
                </a:cubicBezTo>
                <a:cubicBezTo>
                  <a:pt x="2" y="24"/>
                  <a:pt x="2" y="24"/>
                  <a:pt x="2" y="24"/>
                </a:cubicBezTo>
                <a:cubicBezTo>
                  <a:pt x="1" y="23"/>
                  <a:pt x="1" y="23"/>
                  <a:pt x="1" y="23"/>
                </a:cubicBezTo>
                <a:cubicBezTo>
                  <a:pt x="1" y="22"/>
                  <a:pt x="1" y="22"/>
                  <a:pt x="1" y="22"/>
                </a:cubicBezTo>
                <a:cubicBezTo>
                  <a:pt x="2" y="21"/>
                  <a:pt x="2" y="21"/>
                  <a:pt x="2" y="21"/>
                </a:cubicBezTo>
                <a:cubicBezTo>
                  <a:pt x="3" y="21"/>
                  <a:pt x="3" y="21"/>
                  <a:pt x="3" y="21"/>
                </a:cubicBezTo>
                <a:cubicBezTo>
                  <a:pt x="4" y="23"/>
                  <a:pt x="4" y="23"/>
                  <a:pt x="4" y="23"/>
                </a:cubicBezTo>
                <a:cubicBezTo>
                  <a:pt x="4" y="24"/>
                  <a:pt x="4" y="24"/>
                  <a:pt x="4" y="24"/>
                </a:cubicBezTo>
                <a:cubicBezTo>
                  <a:pt x="5" y="24"/>
                  <a:pt x="5" y="24"/>
                  <a:pt x="5" y="24"/>
                </a:cubicBezTo>
                <a:cubicBezTo>
                  <a:pt x="6" y="23"/>
                  <a:pt x="6" y="23"/>
                  <a:pt x="6" y="23"/>
                </a:cubicBezTo>
                <a:cubicBezTo>
                  <a:pt x="4" y="22"/>
                  <a:pt x="4" y="22"/>
                  <a:pt x="4" y="22"/>
                </a:cubicBezTo>
                <a:cubicBezTo>
                  <a:pt x="4" y="21"/>
                  <a:pt x="4" y="21"/>
                  <a:pt x="4" y="21"/>
                </a:cubicBezTo>
                <a:cubicBezTo>
                  <a:pt x="5" y="20"/>
                  <a:pt x="5" y="20"/>
                  <a:pt x="5" y="20"/>
                </a:cubicBezTo>
                <a:cubicBezTo>
                  <a:pt x="6" y="21"/>
                  <a:pt x="6" y="21"/>
                  <a:pt x="6" y="21"/>
                </a:cubicBezTo>
                <a:cubicBezTo>
                  <a:pt x="6" y="21"/>
                  <a:pt x="6" y="21"/>
                  <a:pt x="6" y="21"/>
                </a:cubicBezTo>
                <a:cubicBezTo>
                  <a:pt x="6" y="22"/>
                  <a:pt x="6" y="22"/>
                  <a:pt x="6" y="22"/>
                </a:cubicBezTo>
                <a:cubicBezTo>
                  <a:pt x="7" y="21"/>
                  <a:pt x="7" y="21"/>
                  <a:pt x="7" y="21"/>
                </a:cubicBezTo>
                <a:cubicBezTo>
                  <a:pt x="10" y="19"/>
                  <a:pt x="10" y="19"/>
                  <a:pt x="10" y="19"/>
                </a:cubicBezTo>
                <a:cubicBezTo>
                  <a:pt x="11" y="19"/>
                  <a:pt x="11" y="19"/>
                  <a:pt x="11" y="19"/>
                </a:cubicBezTo>
                <a:cubicBezTo>
                  <a:pt x="12" y="20"/>
                  <a:pt x="12" y="20"/>
                  <a:pt x="12" y="20"/>
                </a:cubicBezTo>
                <a:cubicBezTo>
                  <a:pt x="12" y="21"/>
                  <a:pt x="12" y="21"/>
                  <a:pt x="12" y="21"/>
                </a:cubicBezTo>
                <a:cubicBezTo>
                  <a:pt x="12" y="22"/>
                  <a:pt x="12" y="22"/>
                  <a:pt x="12" y="22"/>
                </a:cubicBezTo>
                <a:cubicBezTo>
                  <a:pt x="11" y="23"/>
                  <a:pt x="11" y="23"/>
                  <a:pt x="11" y="23"/>
                </a:cubicBezTo>
                <a:cubicBezTo>
                  <a:pt x="11" y="23"/>
                  <a:pt x="11" y="23"/>
                  <a:pt x="11" y="23"/>
                </a:cubicBezTo>
                <a:cubicBezTo>
                  <a:pt x="10" y="22"/>
                  <a:pt x="10" y="22"/>
                  <a:pt x="10" y="22"/>
                </a:cubicBezTo>
                <a:cubicBezTo>
                  <a:pt x="10" y="23"/>
                  <a:pt x="10" y="23"/>
                  <a:pt x="10" y="23"/>
                </a:cubicBezTo>
                <a:cubicBezTo>
                  <a:pt x="8" y="24"/>
                  <a:pt x="8" y="24"/>
                  <a:pt x="8" y="24"/>
                </a:cubicBezTo>
                <a:cubicBezTo>
                  <a:pt x="8" y="24"/>
                  <a:pt x="8" y="24"/>
                  <a:pt x="8" y="24"/>
                </a:cubicBezTo>
                <a:cubicBezTo>
                  <a:pt x="8" y="24"/>
                  <a:pt x="8" y="24"/>
                  <a:pt x="8" y="24"/>
                </a:cubicBezTo>
                <a:cubicBezTo>
                  <a:pt x="7" y="25"/>
                  <a:pt x="7" y="25"/>
                  <a:pt x="7" y="25"/>
                </a:cubicBezTo>
                <a:cubicBezTo>
                  <a:pt x="8" y="26"/>
                  <a:pt x="8" y="26"/>
                  <a:pt x="8" y="26"/>
                </a:cubicBezTo>
                <a:cubicBezTo>
                  <a:pt x="9" y="25"/>
                  <a:pt x="9" y="25"/>
                  <a:pt x="9" y="25"/>
                </a:cubicBezTo>
                <a:cubicBezTo>
                  <a:pt x="11" y="24"/>
                  <a:pt x="11" y="24"/>
                  <a:pt x="11" y="24"/>
                </a:cubicBezTo>
                <a:cubicBezTo>
                  <a:pt x="11" y="25"/>
                  <a:pt x="11" y="25"/>
                  <a:pt x="11" y="25"/>
                </a:cubicBezTo>
                <a:cubicBezTo>
                  <a:pt x="11" y="25"/>
                  <a:pt x="11" y="25"/>
                  <a:pt x="11" y="25"/>
                </a:cubicBezTo>
                <a:cubicBezTo>
                  <a:pt x="10" y="26"/>
                  <a:pt x="10" y="26"/>
                  <a:pt x="10" y="26"/>
                </a:cubicBezTo>
                <a:cubicBezTo>
                  <a:pt x="10" y="27"/>
                  <a:pt x="10" y="27"/>
                  <a:pt x="10" y="27"/>
                </a:cubicBezTo>
                <a:cubicBezTo>
                  <a:pt x="11" y="27"/>
                  <a:pt x="11" y="27"/>
                  <a:pt x="11" y="27"/>
                </a:cubicBezTo>
                <a:cubicBezTo>
                  <a:pt x="11" y="26"/>
                  <a:pt x="11" y="26"/>
                  <a:pt x="11" y="26"/>
                </a:cubicBezTo>
                <a:cubicBezTo>
                  <a:pt x="11" y="26"/>
                  <a:pt x="11" y="26"/>
                  <a:pt x="11" y="26"/>
                </a:cubicBezTo>
                <a:cubicBezTo>
                  <a:pt x="12" y="27"/>
                  <a:pt x="12" y="27"/>
                  <a:pt x="12" y="27"/>
                </a:cubicBezTo>
                <a:cubicBezTo>
                  <a:pt x="12" y="28"/>
                  <a:pt x="12" y="28"/>
                  <a:pt x="12" y="28"/>
                </a:cubicBezTo>
                <a:cubicBezTo>
                  <a:pt x="12" y="28"/>
                  <a:pt x="12" y="28"/>
                  <a:pt x="12" y="28"/>
                </a:cubicBezTo>
                <a:cubicBezTo>
                  <a:pt x="13" y="30"/>
                  <a:pt x="13" y="30"/>
                  <a:pt x="13" y="30"/>
                </a:cubicBezTo>
                <a:cubicBezTo>
                  <a:pt x="13" y="31"/>
                  <a:pt x="13" y="31"/>
                  <a:pt x="13" y="31"/>
                </a:cubicBezTo>
                <a:cubicBezTo>
                  <a:pt x="14" y="31"/>
                  <a:pt x="14" y="31"/>
                  <a:pt x="14" y="31"/>
                </a:cubicBezTo>
                <a:cubicBezTo>
                  <a:pt x="13" y="29"/>
                  <a:pt x="13" y="29"/>
                  <a:pt x="13" y="29"/>
                </a:cubicBezTo>
                <a:cubicBezTo>
                  <a:pt x="13" y="28"/>
                  <a:pt x="13" y="28"/>
                  <a:pt x="13" y="28"/>
                </a:cubicBezTo>
                <a:cubicBezTo>
                  <a:pt x="12" y="26"/>
                  <a:pt x="12" y="26"/>
                  <a:pt x="12" y="26"/>
                </a:cubicBezTo>
                <a:cubicBezTo>
                  <a:pt x="13" y="25"/>
                  <a:pt x="13" y="25"/>
                  <a:pt x="13" y="25"/>
                </a:cubicBezTo>
                <a:cubicBezTo>
                  <a:pt x="14" y="23"/>
                  <a:pt x="14" y="23"/>
                  <a:pt x="14" y="23"/>
                </a:cubicBezTo>
                <a:cubicBezTo>
                  <a:pt x="14" y="22"/>
                  <a:pt x="14" y="22"/>
                  <a:pt x="14" y="22"/>
                </a:cubicBezTo>
                <a:cubicBezTo>
                  <a:pt x="15" y="21"/>
                  <a:pt x="15" y="21"/>
                  <a:pt x="15" y="21"/>
                </a:cubicBezTo>
                <a:cubicBezTo>
                  <a:pt x="15" y="21"/>
                  <a:pt x="15" y="21"/>
                  <a:pt x="15" y="21"/>
                </a:cubicBezTo>
                <a:cubicBezTo>
                  <a:pt x="17" y="23"/>
                  <a:pt x="17" y="23"/>
                  <a:pt x="17" y="23"/>
                </a:cubicBezTo>
                <a:cubicBezTo>
                  <a:pt x="18" y="24"/>
                  <a:pt x="18" y="24"/>
                  <a:pt x="18" y="24"/>
                </a:cubicBezTo>
                <a:cubicBezTo>
                  <a:pt x="18" y="24"/>
                  <a:pt x="18" y="24"/>
                  <a:pt x="18" y="24"/>
                </a:cubicBezTo>
                <a:cubicBezTo>
                  <a:pt x="18" y="27"/>
                  <a:pt x="18" y="27"/>
                  <a:pt x="18" y="27"/>
                </a:cubicBezTo>
                <a:cubicBezTo>
                  <a:pt x="19" y="29"/>
                  <a:pt x="19" y="29"/>
                  <a:pt x="19" y="29"/>
                </a:cubicBezTo>
                <a:cubicBezTo>
                  <a:pt x="19" y="30"/>
                  <a:pt x="19" y="30"/>
                  <a:pt x="19" y="30"/>
                </a:cubicBezTo>
                <a:cubicBezTo>
                  <a:pt x="19" y="31"/>
                  <a:pt x="19" y="31"/>
                  <a:pt x="19" y="31"/>
                </a:cubicBezTo>
                <a:cubicBezTo>
                  <a:pt x="18" y="32"/>
                  <a:pt x="18" y="32"/>
                  <a:pt x="18" y="32"/>
                </a:cubicBezTo>
                <a:cubicBezTo>
                  <a:pt x="18" y="32"/>
                  <a:pt x="18" y="32"/>
                  <a:pt x="18" y="32"/>
                </a:cubicBezTo>
                <a:cubicBezTo>
                  <a:pt x="18" y="33"/>
                  <a:pt x="18" y="33"/>
                  <a:pt x="18" y="33"/>
                </a:cubicBezTo>
                <a:cubicBezTo>
                  <a:pt x="19" y="32"/>
                  <a:pt x="19" y="32"/>
                  <a:pt x="19" y="32"/>
                </a:cubicBezTo>
                <a:cubicBezTo>
                  <a:pt x="20" y="32"/>
                  <a:pt x="20" y="32"/>
                  <a:pt x="20" y="32"/>
                </a:cubicBezTo>
                <a:cubicBezTo>
                  <a:pt x="21" y="33"/>
                  <a:pt x="21" y="33"/>
                  <a:pt x="21" y="33"/>
                </a:cubicBezTo>
                <a:cubicBezTo>
                  <a:pt x="22" y="35"/>
                  <a:pt x="22" y="35"/>
                  <a:pt x="22" y="35"/>
                </a:cubicBezTo>
                <a:cubicBezTo>
                  <a:pt x="22" y="36"/>
                  <a:pt x="22" y="36"/>
                  <a:pt x="22" y="36"/>
                </a:cubicBezTo>
                <a:cubicBezTo>
                  <a:pt x="23" y="36"/>
                  <a:pt x="23" y="36"/>
                  <a:pt x="23" y="36"/>
                </a:cubicBezTo>
                <a:cubicBezTo>
                  <a:pt x="23" y="35"/>
                  <a:pt x="23" y="35"/>
                  <a:pt x="23" y="35"/>
                </a:cubicBezTo>
                <a:cubicBezTo>
                  <a:pt x="22" y="33"/>
                  <a:pt x="22" y="33"/>
                  <a:pt x="22" y="33"/>
                </a:cubicBezTo>
                <a:cubicBezTo>
                  <a:pt x="22" y="32"/>
                  <a:pt x="22" y="32"/>
                  <a:pt x="22" y="32"/>
                </a:cubicBezTo>
                <a:cubicBezTo>
                  <a:pt x="21" y="30"/>
                  <a:pt x="21" y="30"/>
                  <a:pt x="21" y="30"/>
                </a:cubicBezTo>
                <a:cubicBezTo>
                  <a:pt x="20" y="29"/>
                  <a:pt x="20" y="29"/>
                  <a:pt x="20" y="29"/>
                </a:cubicBezTo>
                <a:cubicBezTo>
                  <a:pt x="20" y="27"/>
                  <a:pt x="20" y="27"/>
                  <a:pt x="20" y="27"/>
                </a:cubicBezTo>
                <a:cubicBezTo>
                  <a:pt x="20" y="24"/>
                  <a:pt x="20" y="24"/>
                  <a:pt x="20" y="24"/>
                </a:cubicBezTo>
                <a:cubicBezTo>
                  <a:pt x="20" y="23"/>
                  <a:pt x="20" y="23"/>
                  <a:pt x="20" y="23"/>
                </a:cubicBezTo>
                <a:cubicBezTo>
                  <a:pt x="19" y="22"/>
                  <a:pt x="19" y="22"/>
                  <a:pt x="19" y="22"/>
                </a:cubicBezTo>
                <a:cubicBezTo>
                  <a:pt x="20" y="21"/>
                  <a:pt x="20" y="21"/>
                  <a:pt x="20" y="21"/>
                </a:cubicBezTo>
                <a:cubicBezTo>
                  <a:pt x="20" y="20"/>
                  <a:pt x="20" y="20"/>
                  <a:pt x="20" y="20"/>
                </a:cubicBezTo>
                <a:cubicBezTo>
                  <a:pt x="20" y="19"/>
                  <a:pt x="20" y="19"/>
                  <a:pt x="20" y="19"/>
                </a:cubicBezTo>
                <a:cubicBezTo>
                  <a:pt x="20" y="17"/>
                  <a:pt x="20" y="17"/>
                  <a:pt x="20" y="17"/>
                </a:cubicBezTo>
                <a:cubicBezTo>
                  <a:pt x="21" y="16"/>
                  <a:pt x="21" y="16"/>
                  <a:pt x="21" y="16"/>
                </a:cubicBezTo>
                <a:cubicBezTo>
                  <a:pt x="21" y="15"/>
                  <a:pt x="21" y="15"/>
                  <a:pt x="21" y="15"/>
                </a:cubicBezTo>
                <a:cubicBezTo>
                  <a:pt x="22" y="16"/>
                  <a:pt x="22" y="16"/>
                  <a:pt x="22" y="16"/>
                </a:cubicBezTo>
                <a:cubicBezTo>
                  <a:pt x="23" y="17"/>
                  <a:pt x="23" y="17"/>
                  <a:pt x="23" y="17"/>
                </a:cubicBezTo>
                <a:cubicBezTo>
                  <a:pt x="23" y="19"/>
                  <a:pt x="23" y="19"/>
                  <a:pt x="23" y="19"/>
                </a:cubicBezTo>
                <a:cubicBezTo>
                  <a:pt x="24" y="19"/>
                  <a:pt x="24" y="19"/>
                  <a:pt x="24" y="19"/>
                </a:cubicBezTo>
                <a:cubicBezTo>
                  <a:pt x="24" y="18"/>
                  <a:pt x="24" y="18"/>
                  <a:pt x="24" y="18"/>
                </a:cubicBezTo>
                <a:cubicBezTo>
                  <a:pt x="25" y="18"/>
                  <a:pt x="25" y="18"/>
                  <a:pt x="25" y="18"/>
                </a:cubicBezTo>
                <a:cubicBezTo>
                  <a:pt x="26" y="18"/>
                  <a:pt x="26" y="18"/>
                  <a:pt x="26" y="18"/>
                </a:cubicBezTo>
                <a:cubicBezTo>
                  <a:pt x="28" y="20"/>
                  <a:pt x="28" y="20"/>
                  <a:pt x="28" y="20"/>
                </a:cubicBezTo>
                <a:cubicBezTo>
                  <a:pt x="28" y="21"/>
                  <a:pt x="28" y="21"/>
                  <a:pt x="28" y="21"/>
                </a:cubicBezTo>
                <a:cubicBezTo>
                  <a:pt x="28" y="23"/>
                  <a:pt x="28" y="23"/>
                  <a:pt x="28" y="23"/>
                </a:cubicBezTo>
                <a:cubicBezTo>
                  <a:pt x="28" y="23"/>
                  <a:pt x="28" y="23"/>
                  <a:pt x="28" y="23"/>
                </a:cubicBezTo>
                <a:cubicBezTo>
                  <a:pt x="28" y="26"/>
                  <a:pt x="28" y="26"/>
                  <a:pt x="28" y="26"/>
                </a:cubicBezTo>
                <a:cubicBezTo>
                  <a:pt x="28" y="28"/>
                  <a:pt x="28" y="28"/>
                  <a:pt x="28" y="28"/>
                </a:cubicBezTo>
                <a:cubicBezTo>
                  <a:pt x="27" y="28"/>
                  <a:pt x="27" y="28"/>
                  <a:pt x="27" y="28"/>
                </a:cubicBezTo>
                <a:cubicBezTo>
                  <a:pt x="28" y="29"/>
                  <a:pt x="28" y="29"/>
                  <a:pt x="28" y="29"/>
                </a:cubicBezTo>
                <a:cubicBezTo>
                  <a:pt x="29" y="28"/>
                  <a:pt x="29" y="28"/>
                  <a:pt x="29" y="28"/>
                </a:cubicBezTo>
                <a:cubicBezTo>
                  <a:pt x="29" y="26"/>
                  <a:pt x="29" y="26"/>
                  <a:pt x="29" y="26"/>
                </a:cubicBezTo>
                <a:cubicBezTo>
                  <a:pt x="28" y="24"/>
                  <a:pt x="28" y="24"/>
                  <a:pt x="28" y="24"/>
                </a:cubicBezTo>
                <a:cubicBezTo>
                  <a:pt x="29" y="23"/>
                  <a:pt x="29" y="23"/>
                  <a:pt x="29" y="23"/>
                </a:cubicBezTo>
                <a:cubicBezTo>
                  <a:pt x="30" y="22"/>
                  <a:pt x="30" y="22"/>
                  <a:pt x="30" y="22"/>
                </a:cubicBezTo>
                <a:cubicBezTo>
                  <a:pt x="31" y="24"/>
                  <a:pt x="31" y="24"/>
                  <a:pt x="31" y="24"/>
                </a:cubicBezTo>
                <a:cubicBezTo>
                  <a:pt x="32" y="26"/>
                  <a:pt x="32" y="26"/>
                  <a:pt x="32" y="26"/>
                </a:cubicBezTo>
                <a:cubicBezTo>
                  <a:pt x="33" y="29"/>
                  <a:pt x="33" y="29"/>
                  <a:pt x="33" y="29"/>
                </a:cubicBezTo>
                <a:cubicBezTo>
                  <a:pt x="33" y="30"/>
                  <a:pt x="33" y="30"/>
                  <a:pt x="33" y="30"/>
                </a:cubicBezTo>
                <a:cubicBezTo>
                  <a:pt x="34" y="30"/>
                  <a:pt x="34" y="30"/>
                  <a:pt x="34" y="30"/>
                </a:cubicBezTo>
                <a:cubicBezTo>
                  <a:pt x="35" y="31"/>
                  <a:pt x="35" y="31"/>
                  <a:pt x="35" y="31"/>
                </a:cubicBezTo>
                <a:cubicBezTo>
                  <a:pt x="36" y="31"/>
                  <a:pt x="36" y="31"/>
                  <a:pt x="36" y="31"/>
                </a:cubicBezTo>
                <a:cubicBezTo>
                  <a:pt x="37" y="33"/>
                  <a:pt x="37" y="33"/>
                  <a:pt x="37" y="33"/>
                </a:cubicBezTo>
                <a:cubicBezTo>
                  <a:pt x="38" y="33"/>
                  <a:pt x="38" y="33"/>
                  <a:pt x="38" y="33"/>
                </a:cubicBezTo>
                <a:cubicBezTo>
                  <a:pt x="39" y="35"/>
                  <a:pt x="39" y="35"/>
                  <a:pt x="39" y="35"/>
                </a:cubicBezTo>
                <a:cubicBezTo>
                  <a:pt x="41" y="36"/>
                  <a:pt x="41" y="36"/>
                  <a:pt x="41" y="36"/>
                </a:cubicBezTo>
                <a:cubicBezTo>
                  <a:pt x="43" y="36"/>
                  <a:pt x="43" y="36"/>
                  <a:pt x="43" y="36"/>
                </a:cubicBezTo>
                <a:cubicBezTo>
                  <a:pt x="44" y="37"/>
                  <a:pt x="44" y="37"/>
                  <a:pt x="44" y="37"/>
                </a:cubicBezTo>
                <a:cubicBezTo>
                  <a:pt x="44" y="38"/>
                  <a:pt x="44" y="38"/>
                  <a:pt x="44" y="38"/>
                </a:cubicBezTo>
                <a:cubicBezTo>
                  <a:pt x="44" y="39"/>
                  <a:pt x="44" y="39"/>
                  <a:pt x="44" y="39"/>
                </a:cubicBezTo>
                <a:cubicBezTo>
                  <a:pt x="44" y="40"/>
                  <a:pt x="44" y="40"/>
                  <a:pt x="44" y="40"/>
                </a:cubicBezTo>
                <a:cubicBezTo>
                  <a:pt x="43" y="40"/>
                  <a:pt x="43" y="40"/>
                  <a:pt x="43" y="40"/>
                </a:cubicBezTo>
                <a:cubicBezTo>
                  <a:pt x="43" y="39"/>
                  <a:pt x="43" y="39"/>
                  <a:pt x="43" y="39"/>
                </a:cubicBezTo>
                <a:cubicBezTo>
                  <a:pt x="41" y="39"/>
                  <a:pt x="41" y="39"/>
                  <a:pt x="41" y="39"/>
                </a:cubicBezTo>
                <a:cubicBezTo>
                  <a:pt x="41" y="39"/>
                  <a:pt x="41" y="39"/>
                  <a:pt x="41" y="39"/>
                </a:cubicBezTo>
                <a:cubicBezTo>
                  <a:pt x="39" y="40"/>
                  <a:pt x="39" y="40"/>
                  <a:pt x="39" y="40"/>
                </a:cubicBezTo>
                <a:cubicBezTo>
                  <a:pt x="38" y="40"/>
                  <a:pt x="38" y="40"/>
                  <a:pt x="38" y="40"/>
                </a:cubicBezTo>
                <a:cubicBezTo>
                  <a:pt x="37" y="41"/>
                  <a:pt x="37" y="41"/>
                  <a:pt x="37" y="41"/>
                </a:cubicBezTo>
                <a:cubicBezTo>
                  <a:pt x="38" y="42"/>
                  <a:pt x="38" y="42"/>
                  <a:pt x="38" y="42"/>
                </a:cubicBezTo>
                <a:cubicBezTo>
                  <a:pt x="38" y="42"/>
                  <a:pt x="38" y="42"/>
                  <a:pt x="38" y="42"/>
                </a:cubicBezTo>
                <a:cubicBezTo>
                  <a:pt x="36" y="43"/>
                  <a:pt x="36" y="43"/>
                  <a:pt x="36" y="43"/>
                </a:cubicBezTo>
                <a:cubicBezTo>
                  <a:pt x="36" y="44"/>
                  <a:pt x="36" y="44"/>
                  <a:pt x="36" y="44"/>
                </a:cubicBezTo>
                <a:cubicBezTo>
                  <a:pt x="36" y="46"/>
                  <a:pt x="36" y="46"/>
                  <a:pt x="36" y="46"/>
                </a:cubicBezTo>
                <a:cubicBezTo>
                  <a:pt x="37" y="48"/>
                  <a:pt x="37" y="48"/>
                  <a:pt x="37" y="48"/>
                </a:cubicBezTo>
                <a:cubicBezTo>
                  <a:pt x="36" y="49"/>
                  <a:pt x="36" y="49"/>
                  <a:pt x="36" y="49"/>
                </a:cubicBezTo>
                <a:cubicBezTo>
                  <a:pt x="36" y="50"/>
                  <a:pt x="36" y="50"/>
                  <a:pt x="36" y="50"/>
                </a:cubicBezTo>
                <a:cubicBezTo>
                  <a:pt x="37" y="51"/>
                  <a:pt x="37" y="51"/>
                  <a:pt x="37" y="51"/>
                </a:cubicBezTo>
                <a:cubicBezTo>
                  <a:pt x="36" y="52"/>
                  <a:pt x="36" y="52"/>
                  <a:pt x="36" y="52"/>
                </a:cubicBezTo>
                <a:cubicBezTo>
                  <a:pt x="35" y="51"/>
                  <a:pt x="35" y="51"/>
                  <a:pt x="35" y="51"/>
                </a:cubicBezTo>
                <a:cubicBezTo>
                  <a:pt x="34" y="52"/>
                  <a:pt x="34" y="52"/>
                  <a:pt x="34" y="52"/>
                </a:cubicBezTo>
                <a:cubicBezTo>
                  <a:pt x="34" y="53"/>
                  <a:pt x="34" y="53"/>
                  <a:pt x="34" y="53"/>
                </a:cubicBezTo>
                <a:cubicBezTo>
                  <a:pt x="35" y="54"/>
                  <a:pt x="35" y="54"/>
                  <a:pt x="35" y="54"/>
                </a:cubicBezTo>
                <a:cubicBezTo>
                  <a:pt x="35" y="56"/>
                  <a:pt x="35" y="56"/>
                  <a:pt x="35" y="56"/>
                </a:cubicBezTo>
                <a:cubicBezTo>
                  <a:pt x="35" y="57"/>
                  <a:pt x="35" y="57"/>
                  <a:pt x="35" y="57"/>
                </a:cubicBezTo>
                <a:cubicBezTo>
                  <a:pt x="35" y="59"/>
                  <a:pt x="35" y="59"/>
                  <a:pt x="35" y="59"/>
                </a:cubicBezTo>
                <a:cubicBezTo>
                  <a:pt x="35" y="60"/>
                  <a:pt x="35" y="60"/>
                  <a:pt x="35" y="60"/>
                </a:cubicBezTo>
                <a:cubicBezTo>
                  <a:pt x="34" y="60"/>
                  <a:pt x="34" y="60"/>
                  <a:pt x="34" y="60"/>
                </a:cubicBezTo>
                <a:cubicBezTo>
                  <a:pt x="33" y="60"/>
                  <a:pt x="33" y="60"/>
                  <a:pt x="33" y="60"/>
                </a:cubicBezTo>
                <a:cubicBezTo>
                  <a:pt x="32" y="61"/>
                  <a:pt x="32" y="61"/>
                  <a:pt x="32" y="61"/>
                </a:cubicBezTo>
                <a:cubicBezTo>
                  <a:pt x="33" y="61"/>
                  <a:pt x="33" y="61"/>
                  <a:pt x="33" y="61"/>
                </a:cubicBezTo>
                <a:cubicBezTo>
                  <a:pt x="33" y="62"/>
                  <a:pt x="33" y="62"/>
                  <a:pt x="33" y="62"/>
                </a:cubicBezTo>
                <a:cubicBezTo>
                  <a:pt x="32" y="63"/>
                  <a:pt x="32" y="63"/>
                  <a:pt x="32" y="63"/>
                </a:cubicBezTo>
                <a:cubicBezTo>
                  <a:pt x="32" y="64"/>
                  <a:pt x="32" y="64"/>
                  <a:pt x="32" y="64"/>
                </a:cubicBezTo>
                <a:cubicBezTo>
                  <a:pt x="32" y="65"/>
                  <a:pt x="32" y="65"/>
                  <a:pt x="32" y="65"/>
                </a:cubicBezTo>
                <a:cubicBezTo>
                  <a:pt x="32" y="68"/>
                  <a:pt x="32" y="68"/>
                  <a:pt x="32" y="68"/>
                </a:cubicBezTo>
                <a:cubicBezTo>
                  <a:pt x="31" y="70"/>
                  <a:pt x="31" y="70"/>
                  <a:pt x="31" y="70"/>
                </a:cubicBezTo>
                <a:cubicBezTo>
                  <a:pt x="31" y="70"/>
                  <a:pt x="31" y="70"/>
                  <a:pt x="31" y="70"/>
                </a:cubicBezTo>
                <a:cubicBezTo>
                  <a:pt x="31" y="72"/>
                  <a:pt x="31" y="72"/>
                  <a:pt x="31" y="72"/>
                </a:cubicBezTo>
                <a:cubicBezTo>
                  <a:pt x="32" y="73"/>
                  <a:pt x="32" y="73"/>
                  <a:pt x="32" y="73"/>
                </a:cubicBezTo>
                <a:cubicBezTo>
                  <a:pt x="31" y="74"/>
                  <a:pt x="31" y="74"/>
                  <a:pt x="31" y="74"/>
                </a:cubicBezTo>
                <a:cubicBezTo>
                  <a:pt x="31" y="74"/>
                  <a:pt x="31" y="74"/>
                  <a:pt x="31" y="74"/>
                </a:cubicBezTo>
                <a:cubicBezTo>
                  <a:pt x="31" y="76"/>
                  <a:pt x="31" y="76"/>
                  <a:pt x="31" y="76"/>
                </a:cubicBezTo>
                <a:cubicBezTo>
                  <a:pt x="30" y="77"/>
                  <a:pt x="30" y="77"/>
                  <a:pt x="30" y="77"/>
                </a:cubicBezTo>
                <a:cubicBezTo>
                  <a:pt x="29" y="77"/>
                  <a:pt x="29" y="77"/>
                  <a:pt x="29" y="77"/>
                </a:cubicBezTo>
                <a:close/>
                <a:moveTo>
                  <a:pt x="43" y="109"/>
                </a:moveTo>
                <a:cubicBezTo>
                  <a:pt x="44" y="108"/>
                  <a:pt x="44" y="108"/>
                  <a:pt x="44" y="108"/>
                </a:cubicBezTo>
                <a:cubicBezTo>
                  <a:pt x="44" y="107"/>
                  <a:pt x="44" y="107"/>
                  <a:pt x="44" y="107"/>
                </a:cubicBezTo>
                <a:cubicBezTo>
                  <a:pt x="43" y="106"/>
                  <a:pt x="43" y="106"/>
                  <a:pt x="43" y="106"/>
                </a:cubicBezTo>
                <a:cubicBezTo>
                  <a:pt x="42" y="106"/>
                  <a:pt x="42" y="106"/>
                  <a:pt x="42" y="106"/>
                </a:cubicBezTo>
                <a:cubicBezTo>
                  <a:pt x="42" y="106"/>
                  <a:pt x="42" y="106"/>
                  <a:pt x="42" y="106"/>
                </a:cubicBezTo>
                <a:cubicBezTo>
                  <a:pt x="42" y="107"/>
                  <a:pt x="42" y="107"/>
                  <a:pt x="42" y="107"/>
                </a:cubicBezTo>
                <a:cubicBezTo>
                  <a:pt x="43" y="108"/>
                  <a:pt x="43" y="108"/>
                  <a:pt x="43" y="108"/>
                </a:cubicBezTo>
                <a:cubicBezTo>
                  <a:pt x="43" y="109"/>
                  <a:pt x="43" y="109"/>
                  <a:pt x="43" y="109"/>
                </a:cubicBez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5" name="Freeform 13">
            <a:extLst>
              <a:ext uri="{FF2B5EF4-FFF2-40B4-BE49-F238E27FC236}">
                <a16:creationId xmlns:a16="http://schemas.microsoft.com/office/drawing/2014/main" id="{0D2C7C60-2ABD-92F1-C615-52E82675E27C}"/>
              </a:ext>
            </a:extLst>
          </p:cNvPr>
          <p:cNvSpPr>
            <a:spLocks noEditPoints="1"/>
          </p:cNvSpPr>
          <p:nvPr userDrawn="1"/>
        </p:nvSpPr>
        <p:spPr bwMode="auto">
          <a:xfrm>
            <a:off x="20810771" y="5860335"/>
            <a:ext cx="981014" cy="1898650"/>
          </a:xfrm>
          <a:custGeom>
            <a:avLst/>
            <a:gdLst>
              <a:gd name="T0" fmla="*/ 128 w 309"/>
              <a:gd name="T1" fmla="*/ 288 h 598"/>
              <a:gd name="T2" fmla="*/ 12 w 309"/>
              <a:gd name="T3" fmla="*/ 591 h 598"/>
              <a:gd name="T4" fmla="*/ 68 w 309"/>
              <a:gd name="T5" fmla="*/ 544 h 598"/>
              <a:gd name="T6" fmla="*/ 68 w 309"/>
              <a:gd name="T7" fmla="*/ 544 h 598"/>
              <a:gd name="T8" fmla="*/ 90 w 309"/>
              <a:gd name="T9" fmla="*/ 497 h 598"/>
              <a:gd name="T10" fmla="*/ 93 w 309"/>
              <a:gd name="T11" fmla="*/ 497 h 598"/>
              <a:gd name="T12" fmla="*/ 215 w 309"/>
              <a:gd name="T13" fmla="*/ 125 h 598"/>
              <a:gd name="T14" fmla="*/ 206 w 309"/>
              <a:gd name="T15" fmla="*/ 84 h 598"/>
              <a:gd name="T16" fmla="*/ 222 w 309"/>
              <a:gd name="T17" fmla="*/ 72 h 598"/>
              <a:gd name="T18" fmla="*/ 222 w 309"/>
              <a:gd name="T19" fmla="*/ 44 h 598"/>
              <a:gd name="T20" fmla="*/ 219 w 309"/>
              <a:gd name="T21" fmla="*/ 0 h 598"/>
              <a:gd name="T22" fmla="*/ 272 w 309"/>
              <a:gd name="T23" fmla="*/ 41 h 598"/>
              <a:gd name="T24" fmla="*/ 294 w 309"/>
              <a:gd name="T25" fmla="*/ 47 h 598"/>
              <a:gd name="T26" fmla="*/ 306 w 309"/>
              <a:gd name="T27" fmla="*/ 63 h 598"/>
              <a:gd name="T28" fmla="*/ 275 w 309"/>
              <a:gd name="T29" fmla="*/ 88 h 598"/>
              <a:gd name="T30" fmla="*/ 240 w 309"/>
              <a:gd name="T31" fmla="*/ 88 h 598"/>
              <a:gd name="T32" fmla="*/ 225 w 309"/>
              <a:gd name="T33" fmla="*/ 100 h 598"/>
              <a:gd name="T34" fmla="*/ 219 w 309"/>
              <a:gd name="T35" fmla="*/ 128 h 598"/>
              <a:gd name="T36" fmla="*/ 215 w 309"/>
              <a:gd name="T37" fmla="*/ 225 h 598"/>
              <a:gd name="T38" fmla="*/ 68 w 309"/>
              <a:gd name="T39" fmla="*/ 369 h 598"/>
              <a:gd name="T40" fmla="*/ 62 w 309"/>
              <a:gd name="T41" fmla="*/ 379 h 598"/>
              <a:gd name="T42" fmla="*/ 59 w 309"/>
              <a:gd name="T43" fmla="*/ 385 h 598"/>
              <a:gd name="T44" fmla="*/ 87 w 309"/>
              <a:gd name="T45" fmla="*/ 394 h 598"/>
              <a:gd name="T46" fmla="*/ 84 w 309"/>
              <a:gd name="T47" fmla="*/ 385 h 598"/>
              <a:gd name="T48" fmla="*/ 156 w 309"/>
              <a:gd name="T49" fmla="*/ 332 h 598"/>
              <a:gd name="T50" fmla="*/ 144 w 309"/>
              <a:gd name="T51" fmla="*/ 372 h 598"/>
              <a:gd name="T52" fmla="*/ 172 w 309"/>
              <a:gd name="T53" fmla="*/ 344 h 598"/>
              <a:gd name="T54" fmla="*/ 137 w 309"/>
              <a:gd name="T55" fmla="*/ 347 h 598"/>
              <a:gd name="T56" fmla="*/ 137 w 309"/>
              <a:gd name="T57" fmla="*/ 372 h 598"/>
              <a:gd name="T58" fmla="*/ 115 w 309"/>
              <a:gd name="T59" fmla="*/ 435 h 598"/>
              <a:gd name="T60" fmla="*/ 112 w 309"/>
              <a:gd name="T61" fmla="*/ 413 h 598"/>
              <a:gd name="T62" fmla="*/ 122 w 309"/>
              <a:gd name="T63" fmla="*/ 372 h 598"/>
              <a:gd name="T64" fmla="*/ 106 w 309"/>
              <a:gd name="T65" fmla="*/ 357 h 598"/>
              <a:gd name="T66" fmla="*/ 122 w 309"/>
              <a:gd name="T67" fmla="*/ 335 h 598"/>
              <a:gd name="T68" fmla="*/ 156 w 309"/>
              <a:gd name="T69" fmla="*/ 325 h 598"/>
              <a:gd name="T70" fmla="*/ 175 w 309"/>
              <a:gd name="T71" fmla="*/ 344 h 598"/>
              <a:gd name="T72" fmla="*/ 203 w 309"/>
              <a:gd name="T73" fmla="*/ 332 h 598"/>
              <a:gd name="T74" fmla="*/ 206 w 309"/>
              <a:gd name="T75" fmla="*/ 319 h 598"/>
              <a:gd name="T76" fmla="*/ 219 w 309"/>
              <a:gd name="T77" fmla="*/ 319 h 598"/>
              <a:gd name="T78" fmla="*/ 247 w 309"/>
              <a:gd name="T79" fmla="*/ 316 h 598"/>
              <a:gd name="T80" fmla="*/ 259 w 309"/>
              <a:gd name="T81" fmla="*/ 300 h 598"/>
              <a:gd name="T82" fmla="*/ 272 w 309"/>
              <a:gd name="T83" fmla="*/ 278 h 598"/>
              <a:gd name="T84" fmla="*/ 275 w 309"/>
              <a:gd name="T85" fmla="*/ 213 h 598"/>
              <a:gd name="T86" fmla="*/ 272 w 309"/>
              <a:gd name="T87" fmla="*/ 181 h 598"/>
              <a:gd name="T88" fmla="*/ 244 w 309"/>
              <a:gd name="T89" fmla="*/ 125 h 598"/>
              <a:gd name="T90" fmla="*/ 244 w 309"/>
              <a:gd name="T91" fmla="*/ 135 h 598"/>
              <a:gd name="T92" fmla="*/ 225 w 309"/>
              <a:gd name="T93" fmla="*/ 131 h 598"/>
              <a:gd name="T94" fmla="*/ 219 w 309"/>
              <a:gd name="T95" fmla="*/ 169 h 598"/>
              <a:gd name="T96" fmla="*/ 222 w 309"/>
              <a:gd name="T97" fmla="*/ 235 h 598"/>
              <a:gd name="T98" fmla="*/ 194 w 309"/>
              <a:gd name="T99" fmla="*/ 247 h 598"/>
              <a:gd name="T100" fmla="*/ 181 w 309"/>
              <a:gd name="T101" fmla="*/ 278 h 598"/>
              <a:gd name="T102" fmla="*/ 172 w 309"/>
              <a:gd name="T103" fmla="*/ 300 h 598"/>
              <a:gd name="T104" fmla="*/ 134 w 309"/>
              <a:gd name="T105" fmla="*/ 303 h 598"/>
              <a:gd name="T106" fmla="*/ 93 w 309"/>
              <a:gd name="T107" fmla="*/ 338 h 598"/>
              <a:gd name="T108" fmla="*/ 75 w 309"/>
              <a:gd name="T109" fmla="*/ 366 h 598"/>
              <a:gd name="T110" fmla="*/ 78 w 309"/>
              <a:gd name="T111" fmla="*/ 382 h 598"/>
              <a:gd name="T112" fmla="*/ 84 w 309"/>
              <a:gd name="T113" fmla="*/ 372 h 598"/>
              <a:gd name="T114" fmla="*/ 93 w 309"/>
              <a:gd name="T115" fmla="*/ 410 h 598"/>
              <a:gd name="T116" fmla="*/ 106 w 309"/>
              <a:gd name="T117" fmla="*/ 407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9" h="598">
                <a:moveTo>
                  <a:pt x="125" y="288"/>
                </a:moveTo>
                <a:lnTo>
                  <a:pt x="125" y="288"/>
                </a:lnTo>
                <a:lnTo>
                  <a:pt x="125" y="291"/>
                </a:lnTo>
                <a:lnTo>
                  <a:pt x="125" y="288"/>
                </a:lnTo>
                <a:lnTo>
                  <a:pt x="125" y="288"/>
                </a:lnTo>
                <a:lnTo>
                  <a:pt x="125" y="288"/>
                </a:lnTo>
                <a:close/>
                <a:moveTo>
                  <a:pt x="128" y="288"/>
                </a:moveTo>
                <a:lnTo>
                  <a:pt x="128" y="285"/>
                </a:lnTo>
                <a:lnTo>
                  <a:pt x="128" y="282"/>
                </a:lnTo>
                <a:lnTo>
                  <a:pt x="131" y="282"/>
                </a:lnTo>
                <a:lnTo>
                  <a:pt x="131" y="285"/>
                </a:lnTo>
                <a:lnTo>
                  <a:pt x="128" y="288"/>
                </a:lnTo>
                <a:lnTo>
                  <a:pt x="128" y="288"/>
                </a:lnTo>
                <a:lnTo>
                  <a:pt x="128" y="288"/>
                </a:lnTo>
                <a:close/>
                <a:moveTo>
                  <a:pt x="6" y="598"/>
                </a:moveTo>
                <a:lnTo>
                  <a:pt x="3" y="594"/>
                </a:lnTo>
                <a:lnTo>
                  <a:pt x="0" y="594"/>
                </a:lnTo>
                <a:lnTo>
                  <a:pt x="0" y="598"/>
                </a:lnTo>
                <a:lnTo>
                  <a:pt x="3" y="598"/>
                </a:lnTo>
                <a:lnTo>
                  <a:pt x="6" y="598"/>
                </a:lnTo>
                <a:lnTo>
                  <a:pt x="6" y="598"/>
                </a:lnTo>
                <a:close/>
                <a:moveTo>
                  <a:pt x="6" y="591"/>
                </a:moveTo>
                <a:lnTo>
                  <a:pt x="9" y="591"/>
                </a:lnTo>
                <a:lnTo>
                  <a:pt x="12" y="591"/>
                </a:lnTo>
                <a:lnTo>
                  <a:pt x="9" y="594"/>
                </a:lnTo>
                <a:lnTo>
                  <a:pt x="9" y="594"/>
                </a:lnTo>
                <a:lnTo>
                  <a:pt x="6" y="591"/>
                </a:lnTo>
                <a:lnTo>
                  <a:pt x="6" y="591"/>
                </a:lnTo>
                <a:close/>
                <a:moveTo>
                  <a:pt x="25" y="579"/>
                </a:moveTo>
                <a:lnTo>
                  <a:pt x="25" y="582"/>
                </a:lnTo>
                <a:lnTo>
                  <a:pt x="28" y="585"/>
                </a:lnTo>
                <a:lnTo>
                  <a:pt x="28" y="585"/>
                </a:lnTo>
                <a:lnTo>
                  <a:pt x="31" y="582"/>
                </a:lnTo>
                <a:lnTo>
                  <a:pt x="25" y="579"/>
                </a:lnTo>
                <a:lnTo>
                  <a:pt x="25" y="579"/>
                </a:lnTo>
                <a:close/>
                <a:moveTo>
                  <a:pt x="68" y="544"/>
                </a:moveTo>
                <a:lnTo>
                  <a:pt x="65" y="538"/>
                </a:lnTo>
                <a:lnTo>
                  <a:pt x="72" y="538"/>
                </a:lnTo>
                <a:lnTo>
                  <a:pt x="72" y="535"/>
                </a:lnTo>
                <a:lnTo>
                  <a:pt x="68" y="535"/>
                </a:lnTo>
                <a:lnTo>
                  <a:pt x="75" y="532"/>
                </a:lnTo>
                <a:lnTo>
                  <a:pt x="75" y="529"/>
                </a:lnTo>
                <a:lnTo>
                  <a:pt x="78" y="532"/>
                </a:lnTo>
                <a:lnTo>
                  <a:pt x="75" y="535"/>
                </a:lnTo>
                <a:lnTo>
                  <a:pt x="75" y="538"/>
                </a:lnTo>
                <a:lnTo>
                  <a:pt x="72" y="541"/>
                </a:lnTo>
                <a:lnTo>
                  <a:pt x="72" y="544"/>
                </a:lnTo>
                <a:lnTo>
                  <a:pt x="68" y="544"/>
                </a:lnTo>
                <a:lnTo>
                  <a:pt x="68" y="544"/>
                </a:lnTo>
                <a:close/>
                <a:moveTo>
                  <a:pt x="87" y="504"/>
                </a:moveTo>
                <a:lnTo>
                  <a:pt x="87" y="507"/>
                </a:lnTo>
                <a:lnTo>
                  <a:pt x="90" y="510"/>
                </a:lnTo>
                <a:lnTo>
                  <a:pt x="87" y="510"/>
                </a:lnTo>
                <a:lnTo>
                  <a:pt x="84" y="510"/>
                </a:lnTo>
                <a:lnTo>
                  <a:pt x="84" y="507"/>
                </a:lnTo>
                <a:lnTo>
                  <a:pt x="87" y="504"/>
                </a:lnTo>
                <a:lnTo>
                  <a:pt x="87" y="504"/>
                </a:lnTo>
                <a:close/>
                <a:moveTo>
                  <a:pt x="93" y="497"/>
                </a:moveTo>
                <a:lnTo>
                  <a:pt x="93" y="497"/>
                </a:lnTo>
                <a:lnTo>
                  <a:pt x="90" y="497"/>
                </a:lnTo>
                <a:lnTo>
                  <a:pt x="87" y="494"/>
                </a:lnTo>
                <a:lnTo>
                  <a:pt x="90" y="494"/>
                </a:lnTo>
                <a:lnTo>
                  <a:pt x="93" y="491"/>
                </a:lnTo>
                <a:lnTo>
                  <a:pt x="93" y="491"/>
                </a:lnTo>
                <a:lnTo>
                  <a:pt x="93" y="491"/>
                </a:lnTo>
                <a:lnTo>
                  <a:pt x="97" y="488"/>
                </a:lnTo>
                <a:lnTo>
                  <a:pt x="97" y="488"/>
                </a:lnTo>
                <a:lnTo>
                  <a:pt x="100" y="488"/>
                </a:lnTo>
                <a:lnTo>
                  <a:pt x="100" y="491"/>
                </a:lnTo>
                <a:lnTo>
                  <a:pt x="97" y="494"/>
                </a:lnTo>
                <a:lnTo>
                  <a:pt x="93" y="497"/>
                </a:lnTo>
                <a:lnTo>
                  <a:pt x="93" y="497"/>
                </a:lnTo>
                <a:lnTo>
                  <a:pt x="93" y="497"/>
                </a:lnTo>
                <a:close/>
                <a:moveTo>
                  <a:pt x="197" y="106"/>
                </a:moveTo>
                <a:lnTo>
                  <a:pt x="194" y="106"/>
                </a:lnTo>
                <a:lnTo>
                  <a:pt x="194" y="103"/>
                </a:lnTo>
                <a:lnTo>
                  <a:pt x="197" y="100"/>
                </a:lnTo>
                <a:lnTo>
                  <a:pt x="200" y="100"/>
                </a:lnTo>
                <a:lnTo>
                  <a:pt x="197" y="103"/>
                </a:lnTo>
                <a:lnTo>
                  <a:pt x="197" y="106"/>
                </a:lnTo>
                <a:lnTo>
                  <a:pt x="197" y="106"/>
                </a:lnTo>
                <a:lnTo>
                  <a:pt x="197" y="106"/>
                </a:lnTo>
                <a:close/>
                <a:moveTo>
                  <a:pt x="219" y="128"/>
                </a:moveTo>
                <a:lnTo>
                  <a:pt x="215" y="125"/>
                </a:lnTo>
                <a:lnTo>
                  <a:pt x="215" y="122"/>
                </a:lnTo>
                <a:lnTo>
                  <a:pt x="215" y="122"/>
                </a:lnTo>
                <a:lnTo>
                  <a:pt x="215" y="113"/>
                </a:lnTo>
                <a:lnTo>
                  <a:pt x="212" y="106"/>
                </a:lnTo>
                <a:lnTo>
                  <a:pt x="209" y="103"/>
                </a:lnTo>
                <a:lnTo>
                  <a:pt x="206" y="103"/>
                </a:lnTo>
                <a:lnTo>
                  <a:pt x="203" y="103"/>
                </a:lnTo>
                <a:lnTo>
                  <a:pt x="203" y="100"/>
                </a:lnTo>
                <a:lnTo>
                  <a:pt x="203" y="94"/>
                </a:lnTo>
                <a:lnTo>
                  <a:pt x="203" y="91"/>
                </a:lnTo>
                <a:lnTo>
                  <a:pt x="203" y="88"/>
                </a:lnTo>
                <a:lnTo>
                  <a:pt x="206" y="84"/>
                </a:lnTo>
                <a:lnTo>
                  <a:pt x="206" y="84"/>
                </a:lnTo>
                <a:lnTo>
                  <a:pt x="209" y="84"/>
                </a:lnTo>
                <a:lnTo>
                  <a:pt x="212" y="78"/>
                </a:lnTo>
                <a:lnTo>
                  <a:pt x="212" y="78"/>
                </a:lnTo>
                <a:lnTo>
                  <a:pt x="212" y="75"/>
                </a:lnTo>
                <a:lnTo>
                  <a:pt x="209" y="72"/>
                </a:lnTo>
                <a:lnTo>
                  <a:pt x="206" y="72"/>
                </a:lnTo>
                <a:lnTo>
                  <a:pt x="206" y="72"/>
                </a:lnTo>
                <a:lnTo>
                  <a:pt x="206" y="69"/>
                </a:lnTo>
                <a:lnTo>
                  <a:pt x="209" y="69"/>
                </a:lnTo>
                <a:lnTo>
                  <a:pt x="215" y="72"/>
                </a:lnTo>
                <a:lnTo>
                  <a:pt x="222" y="72"/>
                </a:lnTo>
                <a:lnTo>
                  <a:pt x="225" y="69"/>
                </a:lnTo>
                <a:lnTo>
                  <a:pt x="225" y="66"/>
                </a:lnTo>
                <a:lnTo>
                  <a:pt x="225" y="66"/>
                </a:lnTo>
                <a:lnTo>
                  <a:pt x="225" y="63"/>
                </a:lnTo>
                <a:lnTo>
                  <a:pt x="225" y="63"/>
                </a:lnTo>
                <a:lnTo>
                  <a:pt x="222" y="59"/>
                </a:lnTo>
                <a:lnTo>
                  <a:pt x="222" y="56"/>
                </a:lnTo>
                <a:lnTo>
                  <a:pt x="219" y="53"/>
                </a:lnTo>
                <a:lnTo>
                  <a:pt x="222" y="50"/>
                </a:lnTo>
                <a:lnTo>
                  <a:pt x="225" y="50"/>
                </a:lnTo>
                <a:lnTo>
                  <a:pt x="225" y="47"/>
                </a:lnTo>
                <a:lnTo>
                  <a:pt x="222" y="44"/>
                </a:lnTo>
                <a:lnTo>
                  <a:pt x="222" y="38"/>
                </a:lnTo>
                <a:lnTo>
                  <a:pt x="222" y="34"/>
                </a:lnTo>
                <a:lnTo>
                  <a:pt x="222" y="28"/>
                </a:lnTo>
                <a:lnTo>
                  <a:pt x="219" y="25"/>
                </a:lnTo>
                <a:lnTo>
                  <a:pt x="212" y="13"/>
                </a:lnTo>
                <a:lnTo>
                  <a:pt x="212" y="9"/>
                </a:lnTo>
                <a:lnTo>
                  <a:pt x="209" y="6"/>
                </a:lnTo>
                <a:lnTo>
                  <a:pt x="212" y="3"/>
                </a:lnTo>
                <a:lnTo>
                  <a:pt x="212" y="3"/>
                </a:lnTo>
                <a:lnTo>
                  <a:pt x="215" y="3"/>
                </a:lnTo>
                <a:lnTo>
                  <a:pt x="215" y="0"/>
                </a:lnTo>
                <a:lnTo>
                  <a:pt x="219" y="0"/>
                </a:lnTo>
                <a:lnTo>
                  <a:pt x="219" y="3"/>
                </a:lnTo>
                <a:lnTo>
                  <a:pt x="228" y="9"/>
                </a:lnTo>
                <a:lnTo>
                  <a:pt x="231" y="9"/>
                </a:lnTo>
                <a:lnTo>
                  <a:pt x="234" y="16"/>
                </a:lnTo>
                <a:lnTo>
                  <a:pt x="244" y="25"/>
                </a:lnTo>
                <a:lnTo>
                  <a:pt x="250" y="28"/>
                </a:lnTo>
                <a:lnTo>
                  <a:pt x="250" y="31"/>
                </a:lnTo>
                <a:lnTo>
                  <a:pt x="253" y="31"/>
                </a:lnTo>
                <a:lnTo>
                  <a:pt x="256" y="34"/>
                </a:lnTo>
                <a:lnTo>
                  <a:pt x="262" y="38"/>
                </a:lnTo>
                <a:lnTo>
                  <a:pt x="269" y="38"/>
                </a:lnTo>
                <a:lnTo>
                  <a:pt x="272" y="41"/>
                </a:lnTo>
                <a:lnTo>
                  <a:pt x="275" y="41"/>
                </a:lnTo>
                <a:lnTo>
                  <a:pt x="275" y="41"/>
                </a:lnTo>
                <a:lnTo>
                  <a:pt x="281" y="41"/>
                </a:lnTo>
                <a:lnTo>
                  <a:pt x="287" y="38"/>
                </a:lnTo>
                <a:lnTo>
                  <a:pt x="290" y="34"/>
                </a:lnTo>
                <a:lnTo>
                  <a:pt x="290" y="28"/>
                </a:lnTo>
                <a:lnTo>
                  <a:pt x="294" y="28"/>
                </a:lnTo>
                <a:lnTo>
                  <a:pt x="294" y="31"/>
                </a:lnTo>
                <a:lnTo>
                  <a:pt x="294" y="34"/>
                </a:lnTo>
                <a:lnTo>
                  <a:pt x="290" y="41"/>
                </a:lnTo>
                <a:lnTo>
                  <a:pt x="290" y="44"/>
                </a:lnTo>
                <a:lnTo>
                  <a:pt x="294" y="47"/>
                </a:lnTo>
                <a:lnTo>
                  <a:pt x="297" y="50"/>
                </a:lnTo>
                <a:lnTo>
                  <a:pt x="300" y="53"/>
                </a:lnTo>
                <a:lnTo>
                  <a:pt x="300" y="56"/>
                </a:lnTo>
                <a:lnTo>
                  <a:pt x="300" y="59"/>
                </a:lnTo>
                <a:lnTo>
                  <a:pt x="303" y="59"/>
                </a:lnTo>
                <a:lnTo>
                  <a:pt x="306" y="56"/>
                </a:lnTo>
                <a:lnTo>
                  <a:pt x="309" y="53"/>
                </a:lnTo>
                <a:lnTo>
                  <a:pt x="309" y="53"/>
                </a:lnTo>
                <a:lnTo>
                  <a:pt x="309" y="56"/>
                </a:lnTo>
                <a:lnTo>
                  <a:pt x="306" y="56"/>
                </a:lnTo>
                <a:lnTo>
                  <a:pt x="306" y="59"/>
                </a:lnTo>
                <a:lnTo>
                  <a:pt x="306" y="63"/>
                </a:lnTo>
                <a:lnTo>
                  <a:pt x="300" y="63"/>
                </a:lnTo>
                <a:lnTo>
                  <a:pt x="300" y="66"/>
                </a:lnTo>
                <a:lnTo>
                  <a:pt x="300" y="69"/>
                </a:lnTo>
                <a:lnTo>
                  <a:pt x="297" y="69"/>
                </a:lnTo>
                <a:lnTo>
                  <a:pt x="294" y="69"/>
                </a:lnTo>
                <a:lnTo>
                  <a:pt x="294" y="69"/>
                </a:lnTo>
                <a:lnTo>
                  <a:pt x="294" y="72"/>
                </a:lnTo>
                <a:lnTo>
                  <a:pt x="287" y="72"/>
                </a:lnTo>
                <a:lnTo>
                  <a:pt x="284" y="72"/>
                </a:lnTo>
                <a:lnTo>
                  <a:pt x="281" y="72"/>
                </a:lnTo>
                <a:lnTo>
                  <a:pt x="275" y="78"/>
                </a:lnTo>
                <a:lnTo>
                  <a:pt x="275" y="88"/>
                </a:lnTo>
                <a:lnTo>
                  <a:pt x="272" y="94"/>
                </a:lnTo>
                <a:lnTo>
                  <a:pt x="275" y="97"/>
                </a:lnTo>
                <a:lnTo>
                  <a:pt x="272" y="100"/>
                </a:lnTo>
                <a:lnTo>
                  <a:pt x="272" y="103"/>
                </a:lnTo>
                <a:lnTo>
                  <a:pt x="269" y="103"/>
                </a:lnTo>
                <a:lnTo>
                  <a:pt x="269" y="100"/>
                </a:lnTo>
                <a:lnTo>
                  <a:pt x="262" y="97"/>
                </a:lnTo>
                <a:lnTo>
                  <a:pt x="256" y="94"/>
                </a:lnTo>
                <a:lnTo>
                  <a:pt x="250" y="91"/>
                </a:lnTo>
                <a:lnTo>
                  <a:pt x="247" y="88"/>
                </a:lnTo>
                <a:lnTo>
                  <a:pt x="244" y="88"/>
                </a:lnTo>
                <a:lnTo>
                  <a:pt x="240" y="88"/>
                </a:lnTo>
                <a:lnTo>
                  <a:pt x="240" y="84"/>
                </a:lnTo>
                <a:lnTo>
                  <a:pt x="234" y="84"/>
                </a:lnTo>
                <a:lnTo>
                  <a:pt x="231" y="88"/>
                </a:lnTo>
                <a:lnTo>
                  <a:pt x="225" y="94"/>
                </a:lnTo>
                <a:lnTo>
                  <a:pt x="225" y="94"/>
                </a:lnTo>
                <a:lnTo>
                  <a:pt x="219" y="91"/>
                </a:lnTo>
                <a:lnTo>
                  <a:pt x="215" y="91"/>
                </a:lnTo>
                <a:lnTo>
                  <a:pt x="215" y="94"/>
                </a:lnTo>
                <a:lnTo>
                  <a:pt x="215" y="97"/>
                </a:lnTo>
                <a:lnTo>
                  <a:pt x="215" y="100"/>
                </a:lnTo>
                <a:lnTo>
                  <a:pt x="219" y="103"/>
                </a:lnTo>
                <a:lnTo>
                  <a:pt x="225" y="100"/>
                </a:lnTo>
                <a:lnTo>
                  <a:pt x="228" y="106"/>
                </a:lnTo>
                <a:lnTo>
                  <a:pt x="234" y="106"/>
                </a:lnTo>
                <a:lnTo>
                  <a:pt x="237" y="106"/>
                </a:lnTo>
                <a:lnTo>
                  <a:pt x="240" y="110"/>
                </a:lnTo>
                <a:lnTo>
                  <a:pt x="237" y="113"/>
                </a:lnTo>
                <a:lnTo>
                  <a:pt x="234" y="116"/>
                </a:lnTo>
                <a:lnTo>
                  <a:pt x="231" y="116"/>
                </a:lnTo>
                <a:lnTo>
                  <a:pt x="228" y="113"/>
                </a:lnTo>
                <a:lnTo>
                  <a:pt x="225" y="116"/>
                </a:lnTo>
                <a:lnTo>
                  <a:pt x="225" y="119"/>
                </a:lnTo>
                <a:lnTo>
                  <a:pt x="225" y="122"/>
                </a:lnTo>
                <a:lnTo>
                  <a:pt x="219" y="128"/>
                </a:lnTo>
                <a:lnTo>
                  <a:pt x="219" y="128"/>
                </a:lnTo>
                <a:close/>
                <a:moveTo>
                  <a:pt x="212" y="235"/>
                </a:moveTo>
                <a:lnTo>
                  <a:pt x="212" y="232"/>
                </a:lnTo>
                <a:lnTo>
                  <a:pt x="215" y="228"/>
                </a:lnTo>
                <a:lnTo>
                  <a:pt x="212" y="228"/>
                </a:lnTo>
                <a:lnTo>
                  <a:pt x="212" y="232"/>
                </a:lnTo>
                <a:lnTo>
                  <a:pt x="212" y="228"/>
                </a:lnTo>
                <a:lnTo>
                  <a:pt x="212" y="222"/>
                </a:lnTo>
                <a:lnTo>
                  <a:pt x="215" y="219"/>
                </a:lnTo>
                <a:lnTo>
                  <a:pt x="215" y="222"/>
                </a:lnTo>
                <a:lnTo>
                  <a:pt x="215" y="225"/>
                </a:lnTo>
                <a:lnTo>
                  <a:pt x="215" y="225"/>
                </a:lnTo>
                <a:lnTo>
                  <a:pt x="219" y="228"/>
                </a:lnTo>
                <a:lnTo>
                  <a:pt x="215" y="232"/>
                </a:lnTo>
                <a:lnTo>
                  <a:pt x="215" y="235"/>
                </a:lnTo>
                <a:lnTo>
                  <a:pt x="212" y="235"/>
                </a:lnTo>
                <a:lnTo>
                  <a:pt x="212" y="235"/>
                </a:lnTo>
                <a:close/>
                <a:moveTo>
                  <a:pt x="68" y="369"/>
                </a:moveTo>
                <a:lnTo>
                  <a:pt x="72" y="369"/>
                </a:lnTo>
                <a:lnTo>
                  <a:pt x="72" y="369"/>
                </a:lnTo>
                <a:lnTo>
                  <a:pt x="68" y="369"/>
                </a:lnTo>
                <a:lnTo>
                  <a:pt x="68" y="369"/>
                </a:lnTo>
                <a:lnTo>
                  <a:pt x="68" y="369"/>
                </a:lnTo>
                <a:lnTo>
                  <a:pt x="68" y="369"/>
                </a:lnTo>
                <a:close/>
                <a:moveTo>
                  <a:pt x="68" y="372"/>
                </a:moveTo>
                <a:lnTo>
                  <a:pt x="68" y="372"/>
                </a:lnTo>
                <a:lnTo>
                  <a:pt x="68" y="372"/>
                </a:lnTo>
                <a:lnTo>
                  <a:pt x="68" y="372"/>
                </a:lnTo>
                <a:lnTo>
                  <a:pt x="68" y="372"/>
                </a:lnTo>
                <a:close/>
                <a:moveTo>
                  <a:pt x="65" y="372"/>
                </a:moveTo>
                <a:lnTo>
                  <a:pt x="65" y="375"/>
                </a:lnTo>
                <a:lnTo>
                  <a:pt x="68" y="372"/>
                </a:lnTo>
                <a:lnTo>
                  <a:pt x="65" y="372"/>
                </a:lnTo>
                <a:lnTo>
                  <a:pt x="65" y="372"/>
                </a:lnTo>
                <a:close/>
                <a:moveTo>
                  <a:pt x="62" y="375"/>
                </a:moveTo>
                <a:lnTo>
                  <a:pt x="62" y="379"/>
                </a:lnTo>
                <a:lnTo>
                  <a:pt x="65" y="375"/>
                </a:lnTo>
                <a:lnTo>
                  <a:pt x="62" y="375"/>
                </a:lnTo>
                <a:lnTo>
                  <a:pt x="62" y="375"/>
                </a:lnTo>
                <a:close/>
                <a:moveTo>
                  <a:pt x="59" y="385"/>
                </a:moveTo>
                <a:lnTo>
                  <a:pt x="59" y="382"/>
                </a:lnTo>
                <a:lnTo>
                  <a:pt x="59" y="379"/>
                </a:lnTo>
                <a:lnTo>
                  <a:pt x="59" y="379"/>
                </a:lnTo>
                <a:lnTo>
                  <a:pt x="62" y="379"/>
                </a:lnTo>
                <a:lnTo>
                  <a:pt x="62" y="382"/>
                </a:lnTo>
                <a:lnTo>
                  <a:pt x="65" y="385"/>
                </a:lnTo>
                <a:lnTo>
                  <a:pt x="62" y="385"/>
                </a:lnTo>
                <a:lnTo>
                  <a:pt x="59" y="385"/>
                </a:lnTo>
                <a:lnTo>
                  <a:pt x="59" y="385"/>
                </a:lnTo>
                <a:close/>
                <a:moveTo>
                  <a:pt x="90" y="388"/>
                </a:moveTo>
                <a:lnTo>
                  <a:pt x="90" y="385"/>
                </a:lnTo>
                <a:lnTo>
                  <a:pt x="90" y="385"/>
                </a:lnTo>
                <a:lnTo>
                  <a:pt x="93" y="385"/>
                </a:lnTo>
                <a:lnTo>
                  <a:pt x="90" y="388"/>
                </a:lnTo>
                <a:lnTo>
                  <a:pt x="90" y="388"/>
                </a:lnTo>
                <a:lnTo>
                  <a:pt x="90" y="388"/>
                </a:lnTo>
                <a:close/>
                <a:moveTo>
                  <a:pt x="87" y="394"/>
                </a:moveTo>
                <a:lnTo>
                  <a:pt x="87" y="391"/>
                </a:lnTo>
                <a:lnTo>
                  <a:pt x="90" y="394"/>
                </a:lnTo>
                <a:lnTo>
                  <a:pt x="87" y="394"/>
                </a:lnTo>
                <a:lnTo>
                  <a:pt x="87" y="394"/>
                </a:lnTo>
                <a:lnTo>
                  <a:pt x="87" y="394"/>
                </a:lnTo>
                <a:close/>
                <a:moveTo>
                  <a:pt x="84" y="385"/>
                </a:moveTo>
                <a:lnTo>
                  <a:pt x="84" y="385"/>
                </a:lnTo>
                <a:lnTo>
                  <a:pt x="84" y="388"/>
                </a:lnTo>
                <a:lnTo>
                  <a:pt x="84" y="391"/>
                </a:lnTo>
                <a:lnTo>
                  <a:pt x="87" y="391"/>
                </a:lnTo>
                <a:lnTo>
                  <a:pt x="87" y="388"/>
                </a:lnTo>
                <a:lnTo>
                  <a:pt x="87" y="385"/>
                </a:lnTo>
                <a:lnTo>
                  <a:pt x="84" y="385"/>
                </a:lnTo>
                <a:lnTo>
                  <a:pt x="84" y="385"/>
                </a:lnTo>
                <a:lnTo>
                  <a:pt x="84" y="385"/>
                </a:lnTo>
                <a:close/>
                <a:moveTo>
                  <a:pt x="169" y="335"/>
                </a:moveTo>
                <a:lnTo>
                  <a:pt x="169" y="332"/>
                </a:lnTo>
                <a:lnTo>
                  <a:pt x="169" y="329"/>
                </a:lnTo>
                <a:lnTo>
                  <a:pt x="169" y="329"/>
                </a:lnTo>
                <a:lnTo>
                  <a:pt x="172" y="325"/>
                </a:lnTo>
                <a:lnTo>
                  <a:pt x="172" y="329"/>
                </a:lnTo>
                <a:lnTo>
                  <a:pt x="172" y="332"/>
                </a:lnTo>
                <a:lnTo>
                  <a:pt x="172" y="335"/>
                </a:lnTo>
                <a:lnTo>
                  <a:pt x="172" y="335"/>
                </a:lnTo>
                <a:lnTo>
                  <a:pt x="169" y="335"/>
                </a:lnTo>
                <a:lnTo>
                  <a:pt x="169" y="335"/>
                </a:lnTo>
                <a:close/>
                <a:moveTo>
                  <a:pt x="156" y="332"/>
                </a:moveTo>
                <a:lnTo>
                  <a:pt x="159" y="329"/>
                </a:lnTo>
                <a:lnTo>
                  <a:pt x="162" y="332"/>
                </a:lnTo>
                <a:lnTo>
                  <a:pt x="162" y="332"/>
                </a:lnTo>
                <a:lnTo>
                  <a:pt x="159" y="335"/>
                </a:lnTo>
                <a:lnTo>
                  <a:pt x="156" y="332"/>
                </a:lnTo>
                <a:lnTo>
                  <a:pt x="156" y="332"/>
                </a:lnTo>
                <a:close/>
                <a:moveTo>
                  <a:pt x="137" y="375"/>
                </a:moveTo>
                <a:lnTo>
                  <a:pt x="140" y="375"/>
                </a:lnTo>
                <a:lnTo>
                  <a:pt x="140" y="372"/>
                </a:lnTo>
                <a:lnTo>
                  <a:pt x="144" y="375"/>
                </a:lnTo>
                <a:lnTo>
                  <a:pt x="144" y="372"/>
                </a:lnTo>
                <a:lnTo>
                  <a:pt x="144" y="372"/>
                </a:lnTo>
                <a:lnTo>
                  <a:pt x="140" y="366"/>
                </a:lnTo>
                <a:lnTo>
                  <a:pt x="144" y="363"/>
                </a:lnTo>
                <a:lnTo>
                  <a:pt x="144" y="360"/>
                </a:lnTo>
                <a:lnTo>
                  <a:pt x="150" y="357"/>
                </a:lnTo>
                <a:lnTo>
                  <a:pt x="150" y="354"/>
                </a:lnTo>
                <a:lnTo>
                  <a:pt x="156" y="354"/>
                </a:lnTo>
                <a:lnTo>
                  <a:pt x="159" y="357"/>
                </a:lnTo>
                <a:lnTo>
                  <a:pt x="162" y="360"/>
                </a:lnTo>
                <a:lnTo>
                  <a:pt x="165" y="360"/>
                </a:lnTo>
                <a:lnTo>
                  <a:pt x="165" y="354"/>
                </a:lnTo>
                <a:lnTo>
                  <a:pt x="172" y="347"/>
                </a:lnTo>
                <a:lnTo>
                  <a:pt x="172" y="344"/>
                </a:lnTo>
                <a:lnTo>
                  <a:pt x="169" y="344"/>
                </a:lnTo>
                <a:lnTo>
                  <a:pt x="169" y="341"/>
                </a:lnTo>
                <a:lnTo>
                  <a:pt x="165" y="338"/>
                </a:lnTo>
                <a:lnTo>
                  <a:pt x="162" y="338"/>
                </a:lnTo>
                <a:lnTo>
                  <a:pt x="159" y="335"/>
                </a:lnTo>
                <a:lnTo>
                  <a:pt x="153" y="335"/>
                </a:lnTo>
                <a:lnTo>
                  <a:pt x="150" y="338"/>
                </a:lnTo>
                <a:lnTo>
                  <a:pt x="150" y="341"/>
                </a:lnTo>
                <a:lnTo>
                  <a:pt x="147" y="344"/>
                </a:lnTo>
                <a:lnTo>
                  <a:pt x="144" y="347"/>
                </a:lnTo>
                <a:lnTo>
                  <a:pt x="140" y="347"/>
                </a:lnTo>
                <a:lnTo>
                  <a:pt x="137" y="347"/>
                </a:lnTo>
                <a:lnTo>
                  <a:pt x="137" y="341"/>
                </a:lnTo>
                <a:lnTo>
                  <a:pt x="134" y="341"/>
                </a:lnTo>
                <a:lnTo>
                  <a:pt x="128" y="347"/>
                </a:lnTo>
                <a:lnTo>
                  <a:pt x="128" y="350"/>
                </a:lnTo>
                <a:lnTo>
                  <a:pt x="125" y="354"/>
                </a:lnTo>
                <a:lnTo>
                  <a:pt x="125" y="357"/>
                </a:lnTo>
                <a:lnTo>
                  <a:pt x="131" y="360"/>
                </a:lnTo>
                <a:lnTo>
                  <a:pt x="131" y="363"/>
                </a:lnTo>
                <a:lnTo>
                  <a:pt x="131" y="363"/>
                </a:lnTo>
                <a:lnTo>
                  <a:pt x="131" y="366"/>
                </a:lnTo>
                <a:lnTo>
                  <a:pt x="134" y="372"/>
                </a:lnTo>
                <a:lnTo>
                  <a:pt x="137" y="372"/>
                </a:lnTo>
                <a:lnTo>
                  <a:pt x="137" y="375"/>
                </a:lnTo>
                <a:lnTo>
                  <a:pt x="137" y="375"/>
                </a:lnTo>
                <a:close/>
                <a:moveTo>
                  <a:pt x="112" y="441"/>
                </a:moveTo>
                <a:lnTo>
                  <a:pt x="109" y="438"/>
                </a:lnTo>
                <a:lnTo>
                  <a:pt x="106" y="438"/>
                </a:lnTo>
                <a:lnTo>
                  <a:pt x="106" y="441"/>
                </a:lnTo>
                <a:lnTo>
                  <a:pt x="109" y="444"/>
                </a:lnTo>
                <a:lnTo>
                  <a:pt x="112" y="444"/>
                </a:lnTo>
                <a:lnTo>
                  <a:pt x="112" y="444"/>
                </a:lnTo>
                <a:lnTo>
                  <a:pt x="112" y="441"/>
                </a:lnTo>
                <a:lnTo>
                  <a:pt x="112" y="441"/>
                </a:lnTo>
                <a:close/>
                <a:moveTo>
                  <a:pt x="115" y="435"/>
                </a:moveTo>
                <a:lnTo>
                  <a:pt x="115" y="429"/>
                </a:lnTo>
                <a:lnTo>
                  <a:pt x="115" y="429"/>
                </a:lnTo>
                <a:lnTo>
                  <a:pt x="115" y="429"/>
                </a:lnTo>
                <a:lnTo>
                  <a:pt x="119" y="432"/>
                </a:lnTo>
                <a:lnTo>
                  <a:pt x="115" y="435"/>
                </a:lnTo>
                <a:lnTo>
                  <a:pt x="115" y="435"/>
                </a:lnTo>
                <a:lnTo>
                  <a:pt x="115" y="435"/>
                </a:lnTo>
                <a:close/>
                <a:moveTo>
                  <a:pt x="109" y="425"/>
                </a:moveTo>
                <a:lnTo>
                  <a:pt x="112" y="422"/>
                </a:lnTo>
                <a:lnTo>
                  <a:pt x="115" y="419"/>
                </a:lnTo>
                <a:lnTo>
                  <a:pt x="112" y="413"/>
                </a:lnTo>
                <a:lnTo>
                  <a:pt x="112" y="413"/>
                </a:lnTo>
                <a:lnTo>
                  <a:pt x="115" y="410"/>
                </a:lnTo>
                <a:lnTo>
                  <a:pt x="115" y="413"/>
                </a:lnTo>
                <a:lnTo>
                  <a:pt x="119" y="413"/>
                </a:lnTo>
                <a:lnTo>
                  <a:pt x="119" y="410"/>
                </a:lnTo>
                <a:lnTo>
                  <a:pt x="119" y="404"/>
                </a:lnTo>
                <a:lnTo>
                  <a:pt x="119" y="400"/>
                </a:lnTo>
                <a:lnTo>
                  <a:pt x="119" y="388"/>
                </a:lnTo>
                <a:lnTo>
                  <a:pt x="119" y="382"/>
                </a:lnTo>
                <a:lnTo>
                  <a:pt x="122" y="379"/>
                </a:lnTo>
                <a:lnTo>
                  <a:pt x="125" y="375"/>
                </a:lnTo>
                <a:lnTo>
                  <a:pt x="122" y="372"/>
                </a:lnTo>
                <a:lnTo>
                  <a:pt x="122" y="372"/>
                </a:lnTo>
                <a:lnTo>
                  <a:pt x="122" y="369"/>
                </a:lnTo>
                <a:lnTo>
                  <a:pt x="119" y="369"/>
                </a:lnTo>
                <a:lnTo>
                  <a:pt x="119" y="366"/>
                </a:lnTo>
                <a:lnTo>
                  <a:pt x="112" y="366"/>
                </a:lnTo>
                <a:lnTo>
                  <a:pt x="112" y="363"/>
                </a:lnTo>
                <a:lnTo>
                  <a:pt x="115" y="363"/>
                </a:lnTo>
                <a:lnTo>
                  <a:pt x="115" y="360"/>
                </a:lnTo>
                <a:lnTo>
                  <a:pt x="115" y="354"/>
                </a:lnTo>
                <a:lnTo>
                  <a:pt x="112" y="354"/>
                </a:lnTo>
                <a:lnTo>
                  <a:pt x="109" y="354"/>
                </a:lnTo>
                <a:lnTo>
                  <a:pt x="109" y="354"/>
                </a:lnTo>
                <a:lnTo>
                  <a:pt x="106" y="357"/>
                </a:lnTo>
                <a:lnTo>
                  <a:pt x="103" y="357"/>
                </a:lnTo>
                <a:lnTo>
                  <a:pt x="100" y="350"/>
                </a:lnTo>
                <a:lnTo>
                  <a:pt x="100" y="350"/>
                </a:lnTo>
                <a:lnTo>
                  <a:pt x="106" y="347"/>
                </a:lnTo>
                <a:lnTo>
                  <a:pt x="112" y="344"/>
                </a:lnTo>
                <a:lnTo>
                  <a:pt x="119" y="347"/>
                </a:lnTo>
                <a:lnTo>
                  <a:pt x="122" y="347"/>
                </a:lnTo>
                <a:lnTo>
                  <a:pt x="122" y="347"/>
                </a:lnTo>
                <a:lnTo>
                  <a:pt x="122" y="344"/>
                </a:lnTo>
                <a:lnTo>
                  <a:pt x="122" y="341"/>
                </a:lnTo>
                <a:lnTo>
                  <a:pt x="122" y="338"/>
                </a:lnTo>
                <a:lnTo>
                  <a:pt x="122" y="335"/>
                </a:lnTo>
                <a:lnTo>
                  <a:pt x="125" y="335"/>
                </a:lnTo>
                <a:lnTo>
                  <a:pt x="125" y="338"/>
                </a:lnTo>
                <a:lnTo>
                  <a:pt x="128" y="338"/>
                </a:lnTo>
                <a:lnTo>
                  <a:pt x="131" y="335"/>
                </a:lnTo>
                <a:lnTo>
                  <a:pt x="137" y="335"/>
                </a:lnTo>
                <a:lnTo>
                  <a:pt x="144" y="332"/>
                </a:lnTo>
                <a:lnTo>
                  <a:pt x="150" y="332"/>
                </a:lnTo>
                <a:lnTo>
                  <a:pt x="150" y="332"/>
                </a:lnTo>
                <a:lnTo>
                  <a:pt x="153" y="332"/>
                </a:lnTo>
                <a:lnTo>
                  <a:pt x="153" y="332"/>
                </a:lnTo>
                <a:lnTo>
                  <a:pt x="156" y="329"/>
                </a:lnTo>
                <a:lnTo>
                  <a:pt x="156" y="325"/>
                </a:lnTo>
                <a:lnTo>
                  <a:pt x="162" y="322"/>
                </a:lnTo>
                <a:lnTo>
                  <a:pt x="165" y="322"/>
                </a:lnTo>
                <a:lnTo>
                  <a:pt x="172" y="322"/>
                </a:lnTo>
                <a:lnTo>
                  <a:pt x="175" y="322"/>
                </a:lnTo>
                <a:lnTo>
                  <a:pt x="178" y="322"/>
                </a:lnTo>
                <a:lnTo>
                  <a:pt x="178" y="325"/>
                </a:lnTo>
                <a:lnTo>
                  <a:pt x="175" y="329"/>
                </a:lnTo>
                <a:lnTo>
                  <a:pt x="175" y="335"/>
                </a:lnTo>
                <a:lnTo>
                  <a:pt x="175" y="335"/>
                </a:lnTo>
                <a:lnTo>
                  <a:pt x="175" y="338"/>
                </a:lnTo>
                <a:lnTo>
                  <a:pt x="175" y="341"/>
                </a:lnTo>
                <a:lnTo>
                  <a:pt x="175" y="344"/>
                </a:lnTo>
                <a:lnTo>
                  <a:pt x="178" y="347"/>
                </a:lnTo>
                <a:lnTo>
                  <a:pt x="181" y="347"/>
                </a:lnTo>
                <a:lnTo>
                  <a:pt x="187" y="354"/>
                </a:lnTo>
                <a:lnTo>
                  <a:pt x="190" y="354"/>
                </a:lnTo>
                <a:lnTo>
                  <a:pt x="194" y="354"/>
                </a:lnTo>
                <a:lnTo>
                  <a:pt x="197" y="347"/>
                </a:lnTo>
                <a:lnTo>
                  <a:pt x="197" y="344"/>
                </a:lnTo>
                <a:lnTo>
                  <a:pt x="200" y="344"/>
                </a:lnTo>
                <a:lnTo>
                  <a:pt x="200" y="341"/>
                </a:lnTo>
                <a:lnTo>
                  <a:pt x="200" y="338"/>
                </a:lnTo>
                <a:lnTo>
                  <a:pt x="200" y="335"/>
                </a:lnTo>
                <a:lnTo>
                  <a:pt x="203" y="332"/>
                </a:lnTo>
                <a:lnTo>
                  <a:pt x="206" y="332"/>
                </a:lnTo>
                <a:lnTo>
                  <a:pt x="209" y="332"/>
                </a:lnTo>
                <a:lnTo>
                  <a:pt x="206" y="329"/>
                </a:lnTo>
                <a:lnTo>
                  <a:pt x="206" y="325"/>
                </a:lnTo>
                <a:lnTo>
                  <a:pt x="200" y="322"/>
                </a:lnTo>
                <a:lnTo>
                  <a:pt x="200" y="319"/>
                </a:lnTo>
                <a:lnTo>
                  <a:pt x="200" y="316"/>
                </a:lnTo>
                <a:lnTo>
                  <a:pt x="203" y="313"/>
                </a:lnTo>
                <a:lnTo>
                  <a:pt x="203" y="313"/>
                </a:lnTo>
                <a:lnTo>
                  <a:pt x="203" y="313"/>
                </a:lnTo>
                <a:lnTo>
                  <a:pt x="203" y="319"/>
                </a:lnTo>
                <a:lnTo>
                  <a:pt x="206" y="319"/>
                </a:lnTo>
                <a:lnTo>
                  <a:pt x="206" y="319"/>
                </a:lnTo>
                <a:lnTo>
                  <a:pt x="206" y="316"/>
                </a:lnTo>
                <a:lnTo>
                  <a:pt x="209" y="319"/>
                </a:lnTo>
                <a:lnTo>
                  <a:pt x="212" y="319"/>
                </a:lnTo>
                <a:lnTo>
                  <a:pt x="215" y="319"/>
                </a:lnTo>
                <a:lnTo>
                  <a:pt x="215" y="319"/>
                </a:lnTo>
                <a:lnTo>
                  <a:pt x="215" y="322"/>
                </a:lnTo>
                <a:lnTo>
                  <a:pt x="212" y="322"/>
                </a:lnTo>
                <a:lnTo>
                  <a:pt x="212" y="322"/>
                </a:lnTo>
                <a:lnTo>
                  <a:pt x="212" y="322"/>
                </a:lnTo>
                <a:lnTo>
                  <a:pt x="215" y="322"/>
                </a:lnTo>
                <a:lnTo>
                  <a:pt x="219" y="319"/>
                </a:lnTo>
                <a:lnTo>
                  <a:pt x="231" y="322"/>
                </a:lnTo>
                <a:lnTo>
                  <a:pt x="234" y="319"/>
                </a:lnTo>
                <a:lnTo>
                  <a:pt x="234" y="319"/>
                </a:lnTo>
                <a:lnTo>
                  <a:pt x="231" y="316"/>
                </a:lnTo>
                <a:lnTo>
                  <a:pt x="234" y="310"/>
                </a:lnTo>
                <a:lnTo>
                  <a:pt x="237" y="310"/>
                </a:lnTo>
                <a:lnTo>
                  <a:pt x="240" y="310"/>
                </a:lnTo>
                <a:lnTo>
                  <a:pt x="240" y="313"/>
                </a:lnTo>
                <a:lnTo>
                  <a:pt x="240" y="316"/>
                </a:lnTo>
                <a:lnTo>
                  <a:pt x="244" y="319"/>
                </a:lnTo>
                <a:lnTo>
                  <a:pt x="247" y="319"/>
                </a:lnTo>
                <a:lnTo>
                  <a:pt x="247" y="316"/>
                </a:lnTo>
                <a:lnTo>
                  <a:pt x="247" y="307"/>
                </a:lnTo>
                <a:lnTo>
                  <a:pt x="247" y="303"/>
                </a:lnTo>
                <a:lnTo>
                  <a:pt x="253" y="300"/>
                </a:lnTo>
                <a:lnTo>
                  <a:pt x="253" y="300"/>
                </a:lnTo>
                <a:lnTo>
                  <a:pt x="256" y="297"/>
                </a:lnTo>
                <a:lnTo>
                  <a:pt x="253" y="297"/>
                </a:lnTo>
                <a:lnTo>
                  <a:pt x="253" y="291"/>
                </a:lnTo>
                <a:lnTo>
                  <a:pt x="256" y="291"/>
                </a:lnTo>
                <a:lnTo>
                  <a:pt x="259" y="291"/>
                </a:lnTo>
                <a:lnTo>
                  <a:pt x="262" y="294"/>
                </a:lnTo>
                <a:lnTo>
                  <a:pt x="259" y="294"/>
                </a:lnTo>
                <a:lnTo>
                  <a:pt x="259" y="300"/>
                </a:lnTo>
                <a:lnTo>
                  <a:pt x="259" y="313"/>
                </a:lnTo>
                <a:lnTo>
                  <a:pt x="262" y="313"/>
                </a:lnTo>
                <a:lnTo>
                  <a:pt x="265" y="310"/>
                </a:lnTo>
                <a:lnTo>
                  <a:pt x="265" y="307"/>
                </a:lnTo>
                <a:lnTo>
                  <a:pt x="269" y="307"/>
                </a:lnTo>
                <a:lnTo>
                  <a:pt x="272" y="303"/>
                </a:lnTo>
                <a:lnTo>
                  <a:pt x="275" y="297"/>
                </a:lnTo>
                <a:lnTo>
                  <a:pt x="275" y="294"/>
                </a:lnTo>
                <a:lnTo>
                  <a:pt x="278" y="291"/>
                </a:lnTo>
                <a:lnTo>
                  <a:pt x="278" y="288"/>
                </a:lnTo>
                <a:lnTo>
                  <a:pt x="275" y="285"/>
                </a:lnTo>
                <a:lnTo>
                  <a:pt x="272" y="278"/>
                </a:lnTo>
                <a:lnTo>
                  <a:pt x="269" y="275"/>
                </a:lnTo>
                <a:lnTo>
                  <a:pt x="269" y="266"/>
                </a:lnTo>
                <a:lnTo>
                  <a:pt x="269" y="253"/>
                </a:lnTo>
                <a:lnTo>
                  <a:pt x="269" y="247"/>
                </a:lnTo>
                <a:lnTo>
                  <a:pt x="265" y="235"/>
                </a:lnTo>
                <a:lnTo>
                  <a:pt x="262" y="228"/>
                </a:lnTo>
                <a:lnTo>
                  <a:pt x="259" y="222"/>
                </a:lnTo>
                <a:lnTo>
                  <a:pt x="262" y="216"/>
                </a:lnTo>
                <a:lnTo>
                  <a:pt x="269" y="213"/>
                </a:lnTo>
                <a:lnTo>
                  <a:pt x="272" y="213"/>
                </a:lnTo>
                <a:lnTo>
                  <a:pt x="272" y="216"/>
                </a:lnTo>
                <a:lnTo>
                  <a:pt x="275" y="213"/>
                </a:lnTo>
                <a:lnTo>
                  <a:pt x="272" y="210"/>
                </a:lnTo>
                <a:lnTo>
                  <a:pt x="272" y="207"/>
                </a:lnTo>
                <a:lnTo>
                  <a:pt x="272" y="207"/>
                </a:lnTo>
                <a:lnTo>
                  <a:pt x="269" y="200"/>
                </a:lnTo>
                <a:lnTo>
                  <a:pt x="269" y="200"/>
                </a:lnTo>
                <a:lnTo>
                  <a:pt x="269" y="197"/>
                </a:lnTo>
                <a:lnTo>
                  <a:pt x="272" y="194"/>
                </a:lnTo>
                <a:lnTo>
                  <a:pt x="272" y="194"/>
                </a:lnTo>
                <a:lnTo>
                  <a:pt x="272" y="191"/>
                </a:lnTo>
                <a:lnTo>
                  <a:pt x="272" y="188"/>
                </a:lnTo>
                <a:lnTo>
                  <a:pt x="269" y="181"/>
                </a:lnTo>
                <a:lnTo>
                  <a:pt x="272" y="181"/>
                </a:lnTo>
                <a:lnTo>
                  <a:pt x="269" y="178"/>
                </a:lnTo>
                <a:lnTo>
                  <a:pt x="269" y="169"/>
                </a:lnTo>
                <a:lnTo>
                  <a:pt x="265" y="163"/>
                </a:lnTo>
                <a:lnTo>
                  <a:pt x="262" y="163"/>
                </a:lnTo>
                <a:lnTo>
                  <a:pt x="259" y="163"/>
                </a:lnTo>
                <a:lnTo>
                  <a:pt x="259" y="153"/>
                </a:lnTo>
                <a:lnTo>
                  <a:pt x="256" y="150"/>
                </a:lnTo>
                <a:lnTo>
                  <a:pt x="250" y="141"/>
                </a:lnTo>
                <a:lnTo>
                  <a:pt x="247" y="138"/>
                </a:lnTo>
                <a:lnTo>
                  <a:pt x="244" y="131"/>
                </a:lnTo>
                <a:lnTo>
                  <a:pt x="244" y="125"/>
                </a:lnTo>
                <a:lnTo>
                  <a:pt x="244" y="125"/>
                </a:lnTo>
                <a:lnTo>
                  <a:pt x="244" y="125"/>
                </a:lnTo>
                <a:lnTo>
                  <a:pt x="240" y="125"/>
                </a:lnTo>
                <a:lnTo>
                  <a:pt x="240" y="125"/>
                </a:lnTo>
                <a:lnTo>
                  <a:pt x="237" y="122"/>
                </a:lnTo>
                <a:lnTo>
                  <a:pt x="234" y="122"/>
                </a:lnTo>
                <a:lnTo>
                  <a:pt x="234" y="125"/>
                </a:lnTo>
                <a:lnTo>
                  <a:pt x="234" y="128"/>
                </a:lnTo>
                <a:lnTo>
                  <a:pt x="234" y="131"/>
                </a:lnTo>
                <a:lnTo>
                  <a:pt x="234" y="135"/>
                </a:lnTo>
                <a:lnTo>
                  <a:pt x="237" y="131"/>
                </a:lnTo>
                <a:lnTo>
                  <a:pt x="240" y="128"/>
                </a:lnTo>
                <a:lnTo>
                  <a:pt x="244" y="135"/>
                </a:lnTo>
                <a:lnTo>
                  <a:pt x="240" y="138"/>
                </a:lnTo>
                <a:lnTo>
                  <a:pt x="237" y="138"/>
                </a:lnTo>
                <a:lnTo>
                  <a:pt x="237" y="138"/>
                </a:lnTo>
                <a:lnTo>
                  <a:pt x="234" y="138"/>
                </a:lnTo>
                <a:lnTo>
                  <a:pt x="237" y="141"/>
                </a:lnTo>
                <a:lnTo>
                  <a:pt x="234" y="144"/>
                </a:lnTo>
                <a:lnTo>
                  <a:pt x="231" y="141"/>
                </a:lnTo>
                <a:lnTo>
                  <a:pt x="231" y="138"/>
                </a:lnTo>
                <a:lnTo>
                  <a:pt x="231" y="135"/>
                </a:lnTo>
                <a:lnTo>
                  <a:pt x="231" y="131"/>
                </a:lnTo>
                <a:lnTo>
                  <a:pt x="228" y="135"/>
                </a:lnTo>
                <a:lnTo>
                  <a:pt x="225" y="131"/>
                </a:lnTo>
                <a:lnTo>
                  <a:pt x="225" y="135"/>
                </a:lnTo>
                <a:lnTo>
                  <a:pt x="225" y="141"/>
                </a:lnTo>
                <a:lnTo>
                  <a:pt x="225" y="144"/>
                </a:lnTo>
                <a:lnTo>
                  <a:pt x="225" y="147"/>
                </a:lnTo>
                <a:lnTo>
                  <a:pt x="222" y="150"/>
                </a:lnTo>
                <a:lnTo>
                  <a:pt x="222" y="153"/>
                </a:lnTo>
                <a:lnTo>
                  <a:pt x="225" y="156"/>
                </a:lnTo>
                <a:lnTo>
                  <a:pt x="228" y="160"/>
                </a:lnTo>
                <a:lnTo>
                  <a:pt x="225" y="166"/>
                </a:lnTo>
                <a:lnTo>
                  <a:pt x="225" y="166"/>
                </a:lnTo>
                <a:lnTo>
                  <a:pt x="222" y="166"/>
                </a:lnTo>
                <a:lnTo>
                  <a:pt x="219" y="169"/>
                </a:lnTo>
                <a:lnTo>
                  <a:pt x="222" y="172"/>
                </a:lnTo>
                <a:lnTo>
                  <a:pt x="225" y="172"/>
                </a:lnTo>
                <a:lnTo>
                  <a:pt x="228" y="169"/>
                </a:lnTo>
                <a:lnTo>
                  <a:pt x="231" y="178"/>
                </a:lnTo>
                <a:lnTo>
                  <a:pt x="234" y="188"/>
                </a:lnTo>
                <a:lnTo>
                  <a:pt x="231" y="191"/>
                </a:lnTo>
                <a:lnTo>
                  <a:pt x="234" y="200"/>
                </a:lnTo>
                <a:lnTo>
                  <a:pt x="228" y="216"/>
                </a:lnTo>
                <a:lnTo>
                  <a:pt x="231" y="219"/>
                </a:lnTo>
                <a:lnTo>
                  <a:pt x="228" y="225"/>
                </a:lnTo>
                <a:lnTo>
                  <a:pt x="225" y="228"/>
                </a:lnTo>
                <a:lnTo>
                  <a:pt x="222" y="235"/>
                </a:lnTo>
                <a:lnTo>
                  <a:pt x="222" y="241"/>
                </a:lnTo>
                <a:lnTo>
                  <a:pt x="219" y="244"/>
                </a:lnTo>
                <a:lnTo>
                  <a:pt x="219" y="247"/>
                </a:lnTo>
                <a:lnTo>
                  <a:pt x="215" y="253"/>
                </a:lnTo>
                <a:lnTo>
                  <a:pt x="206" y="260"/>
                </a:lnTo>
                <a:lnTo>
                  <a:pt x="203" y="260"/>
                </a:lnTo>
                <a:lnTo>
                  <a:pt x="200" y="263"/>
                </a:lnTo>
                <a:lnTo>
                  <a:pt x="194" y="260"/>
                </a:lnTo>
                <a:lnTo>
                  <a:pt x="190" y="257"/>
                </a:lnTo>
                <a:lnTo>
                  <a:pt x="190" y="253"/>
                </a:lnTo>
                <a:lnTo>
                  <a:pt x="194" y="250"/>
                </a:lnTo>
                <a:lnTo>
                  <a:pt x="194" y="247"/>
                </a:lnTo>
                <a:lnTo>
                  <a:pt x="194" y="247"/>
                </a:lnTo>
                <a:lnTo>
                  <a:pt x="197" y="244"/>
                </a:lnTo>
                <a:lnTo>
                  <a:pt x="197" y="244"/>
                </a:lnTo>
                <a:lnTo>
                  <a:pt x="190" y="244"/>
                </a:lnTo>
                <a:lnTo>
                  <a:pt x="187" y="247"/>
                </a:lnTo>
                <a:lnTo>
                  <a:pt x="184" y="247"/>
                </a:lnTo>
                <a:lnTo>
                  <a:pt x="184" y="253"/>
                </a:lnTo>
                <a:lnTo>
                  <a:pt x="187" y="257"/>
                </a:lnTo>
                <a:lnTo>
                  <a:pt x="187" y="266"/>
                </a:lnTo>
                <a:lnTo>
                  <a:pt x="187" y="272"/>
                </a:lnTo>
                <a:lnTo>
                  <a:pt x="181" y="275"/>
                </a:lnTo>
                <a:lnTo>
                  <a:pt x="181" y="278"/>
                </a:lnTo>
                <a:lnTo>
                  <a:pt x="181" y="278"/>
                </a:lnTo>
                <a:lnTo>
                  <a:pt x="178" y="288"/>
                </a:lnTo>
                <a:lnTo>
                  <a:pt x="181" y="288"/>
                </a:lnTo>
                <a:lnTo>
                  <a:pt x="181" y="291"/>
                </a:lnTo>
                <a:lnTo>
                  <a:pt x="181" y="294"/>
                </a:lnTo>
                <a:lnTo>
                  <a:pt x="181" y="294"/>
                </a:lnTo>
                <a:lnTo>
                  <a:pt x="181" y="297"/>
                </a:lnTo>
                <a:lnTo>
                  <a:pt x="178" y="297"/>
                </a:lnTo>
                <a:lnTo>
                  <a:pt x="178" y="297"/>
                </a:lnTo>
                <a:lnTo>
                  <a:pt x="178" y="300"/>
                </a:lnTo>
                <a:lnTo>
                  <a:pt x="175" y="297"/>
                </a:lnTo>
                <a:lnTo>
                  <a:pt x="172" y="300"/>
                </a:lnTo>
                <a:lnTo>
                  <a:pt x="169" y="300"/>
                </a:lnTo>
                <a:lnTo>
                  <a:pt x="169" y="294"/>
                </a:lnTo>
                <a:lnTo>
                  <a:pt x="169" y="294"/>
                </a:lnTo>
                <a:lnTo>
                  <a:pt x="165" y="297"/>
                </a:lnTo>
                <a:lnTo>
                  <a:pt x="162" y="297"/>
                </a:lnTo>
                <a:lnTo>
                  <a:pt x="162" y="297"/>
                </a:lnTo>
                <a:lnTo>
                  <a:pt x="153" y="297"/>
                </a:lnTo>
                <a:lnTo>
                  <a:pt x="150" y="300"/>
                </a:lnTo>
                <a:lnTo>
                  <a:pt x="144" y="303"/>
                </a:lnTo>
                <a:lnTo>
                  <a:pt x="140" y="303"/>
                </a:lnTo>
                <a:lnTo>
                  <a:pt x="134" y="303"/>
                </a:lnTo>
                <a:lnTo>
                  <a:pt x="134" y="303"/>
                </a:lnTo>
                <a:lnTo>
                  <a:pt x="128" y="303"/>
                </a:lnTo>
                <a:lnTo>
                  <a:pt x="122" y="310"/>
                </a:lnTo>
                <a:lnTo>
                  <a:pt x="119" y="313"/>
                </a:lnTo>
                <a:lnTo>
                  <a:pt x="119" y="316"/>
                </a:lnTo>
                <a:lnTo>
                  <a:pt x="115" y="319"/>
                </a:lnTo>
                <a:lnTo>
                  <a:pt x="112" y="322"/>
                </a:lnTo>
                <a:lnTo>
                  <a:pt x="109" y="325"/>
                </a:lnTo>
                <a:lnTo>
                  <a:pt x="106" y="329"/>
                </a:lnTo>
                <a:lnTo>
                  <a:pt x="103" y="332"/>
                </a:lnTo>
                <a:lnTo>
                  <a:pt x="103" y="335"/>
                </a:lnTo>
                <a:lnTo>
                  <a:pt x="97" y="335"/>
                </a:lnTo>
                <a:lnTo>
                  <a:pt x="93" y="338"/>
                </a:lnTo>
                <a:lnTo>
                  <a:pt x="97" y="344"/>
                </a:lnTo>
                <a:lnTo>
                  <a:pt x="97" y="344"/>
                </a:lnTo>
                <a:lnTo>
                  <a:pt x="97" y="347"/>
                </a:lnTo>
                <a:lnTo>
                  <a:pt x="97" y="350"/>
                </a:lnTo>
                <a:lnTo>
                  <a:pt x="93" y="350"/>
                </a:lnTo>
                <a:lnTo>
                  <a:pt x="90" y="354"/>
                </a:lnTo>
                <a:lnTo>
                  <a:pt x="87" y="357"/>
                </a:lnTo>
                <a:lnTo>
                  <a:pt x="87" y="357"/>
                </a:lnTo>
                <a:lnTo>
                  <a:pt x="81" y="363"/>
                </a:lnTo>
                <a:lnTo>
                  <a:pt x="81" y="363"/>
                </a:lnTo>
                <a:lnTo>
                  <a:pt x="78" y="366"/>
                </a:lnTo>
                <a:lnTo>
                  <a:pt x="75" y="366"/>
                </a:lnTo>
                <a:lnTo>
                  <a:pt x="75" y="366"/>
                </a:lnTo>
                <a:lnTo>
                  <a:pt x="78" y="366"/>
                </a:lnTo>
                <a:lnTo>
                  <a:pt x="78" y="369"/>
                </a:lnTo>
                <a:lnTo>
                  <a:pt x="81" y="375"/>
                </a:lnTo>
                <a:lnTo>
                  <a:pt x="81" y="375"/>
                </a:lnTo>
                <a:lnTo>
                  <a:pt x="78" y="372"/>
                </a:lnTo>
                <a:lnTo>
                  <a:pt x="78" y="369"/>
                </a:lnTo>
                <a:lnTo>
                  <a:pt x="75" y="372"/>
                </a:lnTo>
                <a:lnTo>
                  <a:pt x="78" y="379"/>
                </a:lnTo>
                <a:lnTo>
                  <a:pt x="81" y="379"/>
                </a:lnTo>
                <a:lnTo>
                  <a:pt x="81" y="382"/>
                </a:lnTo>
                <a:lnTo>
                  <a:pt x="78" y="382"/>
                </a:lnTo>
                <a:lnTo>
                  <a:pt x="81" y="382"/>
                </a:lnTo>
                <a:lnTo>
                  <a:pt x="81" y="379"/>
                </a:lnTo>
                <a:lnTo>
                  <a:pt x="84" y="379"/>
                </a:lnTo>
                <a:lnTo>
                  <a:pt x="87" y="379"/>
                </a:lnTo>
                <a:lnTo>
                  <a:pt x="84" y="382"/>
                </a:lnTo>
                <a:lnTo>
                  <a:pt x="87" y="382"/>
                </a:lnTo>
                <a:lnTo>
                  <a:pt x="90" y="382"/>
                </a:lnTo>
                <a:lnTo>
                  <a:pt x="90" y="379"/>
                </a:lnTo>
                <a:lnTo>
                  <a:pt x="87" y="375"/>
                </a:lnTo>
                <a:lnTo>
                  <a:pt x="84" y="375"/>
                </a:lnTo>
                <a:lnTo>
                  <a:pt x="84" y="375"/>
                </a:lnTo>
                <a:lnTo>
                  <a:pt x="84" y="372"/>
                </a:lnTo>
                <a:lnTo>
                  <a:pt x="84" y="369"/>
                </a:lnTo>
                <a:lnTo>
                  <a:pt x="87" y="369"/>
                </a:lnTo>
                <a:lnTo>
                  <a:pt x="90" y="369"/>
                </a:lnTo>
                <a:lnTo>
                  <a:pt x="93" y="375"/>
                </a:lnTo>
                <a:lnTo>
                  <a:pt x="93" y="379"/>
                </a:lnTo>
                <a:lnTo>
                  <a:pt x="93" y="382"/>
                </a:lnTo>
                <a:lnTo>
                  <a:pt x="93" y="388"/>
                </a:lnTo>
                <a:lnTo>
                  <a:pt x="93" y="394"/>
                </a:lnTo>
                <a:lnTo>
                  <a:pt x="87" y="394"/>
                </a:lnTo>
                <a:lnTo>
                  <a:pt x="90" y="397"/>
                </a:lnTo>
                <a:lnTo>
                  <a:pt x="93" y="400"/>
                </a:lnTo>
                <a:lnTo>
                  <a:pt x="93" y="410"/>
                </a:lnTo>
                <a:lnTo>
                  <a:pt x="97" y="413"/>
                </a:lnTo>
                <a:lnTo>
                  <a:pt x="97" y="416"/>
                </a:lnTo>
                <a:lnTo>
                  <a:pt x="97" y="419"/>
                </a:lnTo>
                <a:lnTo>
                  <a:pt x="97" y="422"/>
                </a:lnTo>
                <a:lnTo>
                  <a:pt x="100" y="419"/>
                </a:lnTo>
                <a:lnTo>
                  <a:pt x="103" y="422"/>
                </a:lnTo>
                <a:lnTo>
                  <a:pt x="106" y="419"/>
                </a:lnTo>
                <a:lnTo>
                  <a:pt x="106" y="419"/>
                </a:lnTo>
                <a:lnTo>
                  <a:pt x="103" y="413"/>
                </a:lnTo>
                <a:lnTo>
                  <a:pt x="103" y="407"/>
                </a:lnTo>
                <a:lnTo>
                  <a:pt x="103" y="407"/>
                </a:lnTo>
                <a:lnTo>
                  <a:pt x="106" y="407"/>
                </a:lnTo>
                <a:lnTo>
                  <a:pt x="106" y="410"/>
                </a:lnTo>
                <a:lnTo>
                  <a:pt x="106" y="410"/>
                </a:lnTo>
                <a:lnTo>
                  <a:pt x="109" y="413"/>
                </a:lnTo>
                <a:lnTo>
                  <a:pt x="109" y="419"/>
                </a:lnTo>
                <a:lnTo>
                  <a:pt x="109" y="422"/>
                </a:lnTo>
                <a:lnTo>
                  <a:pt x="109" y="425"/>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6" name="Freeform 14">
            <a:extLst>
              <a:ext uri="{FF2B5EF4-FFF2-40B4-BE49-F238E27FC236}">
                <a16:creationId xmlns:a16="http://schemas.microsoft.com/office/drawing/2014/main" id="{1A8A1D07-9C66-0A52-D040-150281481D98}"/>
              </a:ext>
            </a:extLst>
          </p:cNvPr>
          <p:cNvSpPr>
            <a:spLocks noEditPoints="1"/>
          </p:cNvSpPr>
          <p:nvPr userDrawn="1"/>
        </p:nvSpPr>
        <p:spPr bwMode="auto">
          <a:xfrm>
            <a:off x="20731402" y="6574706"/>
            <a:ext cx="285731" cy="457200"/>
          </a:xfrm>
          <a:custGeom>
            <a:avLst/>
            <a:gdLst>
              <a:gd name="T0" fmla="*/ 56 w 90"/>
              <a:gd name="T1" fmla="*/ 104 h 144"/>
              <a:gd name="T2" fmla="*/ 56 w 90"/>
              <a:gd name="T3" fmla="*/ 107 h 144"/>
              <a:gd name="T4" fmla="*/ 56 w 90"/>
              <a:gd name="T5" fmla="*/ 104 h 144"/>
              <a:gd name="T6" fmla="*/ 25 w 90"/>
              <a:gd name="T7" fmla="*/ 116 h 144"/>
              <a:gd name="T8" fmla="*/ 28 w 90"/>
              <a:gd name="T9" fmla="*/ 113 h 144"/>
              <a:gd name="T10" fmla="*/ 31 w 90"/>
              <a:gd name="T11" fmla="*/ 113 h 144"/>
              <a:gd name="T12" fmla="*/ 28 w 90"/>
              <a:gd name="T13" fmla="*/ 116 h 144"/>
              <a:gd name="T14" fmla="*/ 28 w 90"/>
              <a:gd name="T15" fmla="*/ 119 h 144"/>
              <a:gd name="T16" fmla="*/ 68 w 90"/>
              <a:gd name="T17" fmla="*/ 100 h 144"/>
              <a:gd name="T18" fmla="*/ 72 w 90"/>
              <a:gd name="T19" fmla="*/ 104 h 144"/>
              <a:gd name="T20" fmla="*/ 75 w 90"/>
              <a:gd name="T21" fmla="*/ 100 h 144"/>
              <a:gd name="T22" fmla="*/ 72 w 90"/>
              <a:gd name="T23" fmla="*/ 97 h 144"/>
              <a:gd name="T24" fmla="*/ 84 w 90"/>
              <a:gd name="T25" fmla="*/ 122 h 144"/>
              <a:gd name="T26" fmla="*/ 87 w 90"/>
              <a:gd name="T27" fmla="*/ 119 h 144"/>
              <a:gd name="T28" fmla="*/ 87 w 90"/>
              <a:gd name="T29" fmla="*/ 119 h 144"/>
              <a:gd name="T30" fmla="*/ 84 w 90"/>
              <a:gd name="T31" fmla="*/ 122 h 144"/>
              <a:gd name="T32" fmla="*/ 87 w 90"/>
              <a:gd name="T33" fmla="*/ 113 h 144"/>
              <a:gd name="T34" fmla="*/ 87 w 90"/>
              <a:gd name="T35" fmla="*/ 113 h 144"/>
              <a:gd name="T36" fmla="*/ 87 w 90"/>
              <a:gd name="T37" fmla="*/ 107 h 144"/>
              <a:gd name="T38" fmla="*/ 90 w 90"/>
              <a:gd name="T39" fmla="*/ 107 h 144"/>
              <a:gd name="T40" fmla="*/ 87 w 90"/>
              <a:gd name="T41" fmla="*/ 113 h 144"/>
              <a:gd name="T42" fmla="*/ 34 w 90"/>
              <a:gd name="T43" fmla="*/ 144 h 144"/>
              <a:gd name="T44" fmla="*/ 34 w 90"/>
              <a:gd name="T45" fmla="*/ 138 h 144"/>
              <a:gd name="T46" fmla="*/ 47 w 90"/>
              <a:gd name="T47" fmla="*/ 135 h 144"/>
              <a:gd name="T48" fmla="*/ 43 w 90"/>
              <a:gd name="T49" fmla="*/ 144 h 144"/>
              <a:gd name="T50" fmla="*/ 34 w 90"/>
              <a:gd name="T51" fmla="*/ 144 h 144"/>
              <a:gd name="T52" fmla="*/ 0 w 90"/>
              <a:gd name="T53" fmla="*/ 25 h 144"/>
              <a:gd name="T54" fmla="*/ 6 w 90"/>
              <a:gd name="T55" fmla="*/ 25 h 144"/>
              <a:gd name="T56" fmla="*/ 9 w 90"/>
              <a:gd name="T57" fmla="*/ 25 h 144"/>
              <a:gd name="T58" fmla="*/ 22 w 90"/>
              <a:gd name="T59" fmla="*/ 41 h 144"/>
              <a:gd name="T60" fmla="*/ 22 w 90"/>
              <a:gd name="T61" fmla="*/ 41 h 144"/>
              <a:gd name="T62" fmla="*/ 28 w 90"/>
              <a:gd name="T63" fmla="*/ 50 h 144"/>
              <a:gd name="T64" fmla="*/ 18 w 90"/>
              <a:gd name="T65" fmla="*/ 44 h 144"/>
              <a:gd name="T66" fmla="*/ 15 w 90"/>
              <a:gd name="T67" fmla="*/ 47 h 144"/>
              <a:gd name="T68" fmla="*/ 18 w 90"/>
              <a:gd name="T69" fmla="*/ 57 h 144"/>
              <a:gd name="T70" fmla="*/ 25 w 90"/>
              <a:gd name="T71" fmla="*/ 63 h 144"/>
              <a:gd name="T72" fmla="*/ 25 w 90"/>
              <a:gd name="T73" fmla="*/ 72 h 144"/>
              <a:gd name="T74" fmla="*/ 31 w 90"/>
              <a:gd name="T75" fmla="*/ 75 h 144"/>
              <a:gd name="T76" fmla="*/ 25 w 90"/>
              <a:gd name="T77" fmla="*/ 82 h 144"/>
              <a:gd name="T78" fmla="*/ 28 w 90"/>
              <a:gd name="T79" fmla="*/ 88 h 144"/>
              <a:gd name="T80" fmla="*/ 25 w 90"/>
              <a:gd name="T81" fmla="*/ 94 h 144"/>
              <a:gd name="T82" fmla="*/ 25 w 90"/>
              <a:gd name="T83" fmla="*/ 97 h 144"/>
              <a:gd name="T84" fmla="*/ 31 w 90"/>
              <a:gd name="T85" fmla="*/ 107 h 144"/>
              <a:gd name="T86" fmla="*/ 34 w 90"/>
              <a:gd name="T87" fmla="*/ 113 h 144"/>
              <a:gd name="T88" fmla="*/ 37 w 90"/>
              <a:gd name="T89" fmla="*/ 113 h 144"/>
              <a:gd name="T90" fmla="*/ 40 w 90"/>
              <a:gd name="T91" fmla="*/ 110 h 144"/>
              <a:gd name="T92" fmla="*/ 50 w 90"/>
              <a:gd name="T93" fmla="*/ 100 h 144"/>
              <a:gd name="T94" fmla="*/ 56 w 90"/>
              <a:gd name="T95" fmla="*/ 100 h 144"/>
              <a:gd name="T96" fmla="*/ 59 w 90"/>
              <a:gd name="T97" fmla="*/ 97 h 144"/>
              <a:gd name="T98" fmla="*/ 65 w 90"/>
              <a:gd name="T99" fmla="*/ 100 h 144"/>
              <a:gd name="T100" fmla="*/ 68 w 90"/>
              <a:gd name="T101" fmla="*/ 100 h 144"/>
              <a:gd name="T102" fmla="*/ 72 w 90"/>
              <a:gd name="T103" fmla="*/ 94 h 144"/>
              <a:gd name="T104" fmla="*/ 81 w 90"/>
              <a:gd name="T105" fmla="*/ 88 h 144"/>
              <a:gd name="T106" fmla="*/ 84 w 90"/>
              <a:gd name="T107" fmla="*/ 85 h 144"/>
              <a:gd name="T108" fmla="*/ 81 w 90"/>
              <a:gd name="T109" fmla="*/ 69 h 144"/>
              <a:gd name="T110" fmla="*/ 78 w 90"/>
              <a:gd name="T111" fmla="*/ 66 h 144"/>
              <a:gd name="T112" fmla="*/ 75 w 90"/>
              <a:gd name="T113" fmla="*/ 50 h 144"/>
              <a:gd name="T114" fmla="*/ 62 w 90"/>
              <a:gd name="T115" fmla="*/ 25 h 144"/>
              <a:gd name="T116" fmla="*/ 43 w 90"/>
              <a:gd name="T117" fmla="*/ 0 h 144"/>
              <a:gd name="T118" fmla="*/ 22 w 90"/>
              <a:gd name="T119" fmla="*/ 7 h 144"/>
              <a:gd name="T120" fmla="*/ 9 w 90"/>
              <a:gd name="T121" fmla="*/ 16 h 144"/>
              <a:gd name="T122" fmla="*/ 0 w 90"/>
              <a:gd name="T123" fmla="*/ 2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 h="144">
                <a:moveTo>
                  <a:pt x="56" y="104"/>
                </a:moveTo>
                <a:lnTo>
                  <a:pt x="56" y="104"/>
                </a:lnTo>
                <a:lnTo>
                  <a:pt x="59" y="104"/>
                </a:lnTo>
                <a:lnTo>
                  <a:pt x="56" y="107"/>
                </a:lnTo>
                <a:lnTo>
                  <a:pt x="56" y="104"/>
                </a:lnTo>
                <a:lnTo>
                  <a:pt x="56" y="104"/>
                </a:lnTo>
                <a:close/>
                <a:moveTo>
                  <a:pt x="28" y="119"/>
                </a:moveTo>
                <a:lnTo>
                  <a:pt x="25" y="116"/>
                </a:lnTo>
                <a:lnTo>
                  <a:pt x="28" y="113"/>
                </a:lnTo>
                <a:lnTo>
                  <a:pt x="28" y="113"/>
                </a:lnTo>
                <a:lnTo>
                  <a:pt x="28" y="110"/>
                </a:lnTo>
                <a:lnTo>
                  <a:pt x="31" y="113"/>
                </a:lnTo>
                <a:lnTo>
                  <a:pt x="31" y="116"/>
                </a:lnTo>
                <a:lnTo>
                  <a:pt x="28" y="116"/>
                </a:lnTo>
                <a:lnTo>
                  <a:pt x="28" y="119"/>
                </a:lnTo>
                <a:lnTo>
                  <a:pt x="28" y="119"/>
                </a:lnTo>
                <a:close/>
                <a:moveTo>
                  <a:pt x="72" y="97"/>
                </a:moveTo>
                <a:lnTo>
                  <a:pt x="68" y="100"/>
                </a:lnTo>
                <a:lnTo>
                  <a:pt x="68" y="100"/>
                </a:lnTo>
                <a:lnTo>
                  <a:pt x="72" y="104"/>
                </a:lnTo>
                <a:lnTo>
                  <a:pt x="72" y="104"/>
                </a:lnTo>
                <a:lnTo>
                  <a:pt x="75" y="100"/>
                </a:lnTo>
                <a:lnTo>
                  <a:pt x="75" y="97"/>
                </a:lnTo>
                <a:lnTo>
                  <a:pt x="72" y="97"/>
                </a:lnTo>
                <a:lnTo>
                  <a:pt x="72" y="97"/>
                </a:lnTo>
                <a:close/>
                <a:moveTo>
                  <a:pt x="84" y="122"/>
                </a:moveTo>
                <a:lnTo>
                  <a:pt x="84" y="119"/>
                </a:lnTo>
                <a:lnTo>
                  <a:pt x="87" y="119"/>
                </a:lnTo>
                <a:lnTo>
                  <a:pt x="90" y="119"/>
                </a:lnTo>
                <a:lnTo>
                  <a:pt x="87" y="119"/>
                </a:lnTo>
                <a:lnTo>
                  <a:pt x="87" y="122"/>
                </a:lnTo>
                <a:lnTo>
                  <a:pt x="84" y="122"/>
                </a:lnTo>
                <a:lnTo>
                  <a:pt x="84" y="122"/>
                </a:lnTo>
                <a:close/>
                <a:moveTo>
                  <a:pt x="87" y="113"/>
                </a:moveTo>
                <a:lnTo>
                  <a:pt x="87" y="116"/>
                </a:lnTo>
                <a:lnTo>
                  <a:pt x="87" y="113"/>
                </a:lnTo>
                <a:lnTo>
                  <a:pt x="87" y="110"/>
                </a:lnTo>
                <a:lnTo>
                  <a:pt x="87" y="107"/>
                </a:lnTo>
                <a:lnTo>
                  <a:pt x="90" y="107"/>
                </a:lnTo>
                <a:lnTo>
                  <a:pt x="90" y="107"/>
                </a:lnTo>
                <a:lnTo>
                  <a:pt x="90" y="110"/>
                </a:lnTo>
                <a:lnTo>
                  <a:pt x="87" y="113"/>
                </a:lnTo>
                <a:lnTo>
                  <a:pt x="87" y="113"/>
                </a:lnTo>
                <a:close/>
                <a:moveTo>
                  <a:pt x="34" y="144"/>
                </a:moveTo>
                <a:lnTo>
                  <a:pt x="31" y="141"/>
                </a:lnTo>
                <a:lnTo>
                  <a:pt x="34" y="138"/>
                </a:lnTo>
                <a:lnTo>
                  <a:pt x="43" y="135"/>
                </a:lnTo>
                <a:lnTo>
                  <a:pt x="47" y="135"/>
                </a:lnTo>
                <a:lnTo>
                  <a:pt x="47" y="138"/>
                </a:lnTo>
                <a:lnTo>
                  <a:pt x="43" y="144"/>
                </a:lnTo>
                <a:lnTo>
                  <a:pt x="37" y="144"/>
                </a:lnTo>
                <a:lnTo>
                  <a:pt x="34" y="144"/>
                </a:lnTo>
                <a:lnTo>
                  <a:pt x="34" y="144"/>
                </a:lnTo>
                <a:close/>
                <a:moveTo>
                  <a:pt x="0" y="25"/>
                </a:moveTo>
                <a:lnTo>
                  <a:pt x="3" y="25"/>
                </a:lnTo>
                <a:lnTo>
                  <a:pt x="6" y="25"/>
                </a:lnTo>
                <a:lnTo>
                  <a:pt x="12" y="25"/>
                </a:lnTo>
                <a:lnTo>
                  <a:pt x="9" y="25"/>
                </a:lnTo>
                <a:lnTo>
                  <a:pt x="15" y="32"/>
                </a:lnTo>
                <a:lnTo>
                  <a:pt x="22" y="41"/>
                </a:lnTo>
                <a:lnTo>
                  <a:pt x="25" y="41"/>
                </a:lnTo>
                <a:lnTo>
                  <a:pt x="22" y="41"/>
                </a:lnTo>
                <a:lnTo>
                  <a:pt x="25" y="47"/>
                </a:lnTo>
                <a:lnTo>
                  <a:pt x="28" y="50"/>
                </a:lnTo>
                <a:lnTo>
                  <a:pt x="22" y="47"/>
                </a:lnTo>
                <a:lnTo>
                  <a:pt x="18" y="44"/>
                </a:lnTo>
                <a:lnTo>
                  <a:pt x="18" y="50"/>
                </a:lnTo>
                <a:lnTo>
                  <a:pt x="15" y="47"/>
                </a:lnTo>
                <a:lnTo>
                  <a:pt x="12" y="53"/>
                </a:lnTo>
                <a:lnTo>
                  <a:pt x="18" y="57"/>
                </a:lnTo>
                <a:lnTo>
                  <a:pt x="22" y="57"/>
                </a:lnTo>
                <a:lnTo>
                  <a:pt x="25" y="63"/>
                </a:lnTo>
                <a:lnTo>
                  <a:pt x="25" y="69"/>
                </a:lnTo>
                <a:lnTo>
                  <a:pt x="25" y="72"/>
                </a:lnTo>
                <a:lnTo>
                  <a:pt x="28" y="69"/>
                </a:lnTo>
                <a:lnTo>
                  <a:pt x="31" y="75"/>
                </a:lnTo>
                <a:lnTo>
                  <a:pt x="25" y="82"/>
                </a:lnTo>
                <a:lnTo>
                  <a:pt x="25" y="82"/>
                </a:lnTo>
                <a:lnTo>
                  <a:pt x="28" y="85"/>
                </a:lnTo>
                <a:lnTo>
                  <a:pt x="28" y="88"/>
                </a:lnTo>
                <a:lnTo>
                  <a:pt x="25" y="91"/>
                </a:lnTo>
                <a:lnTo>
                  <a:pt x="25" y="94"/>
                </a:lnTo>
                <a:lnTo>
                  <a:pt x="28" y="97"/>
                </a:lnTo>
                <a:lnTo>
                  <a:pt x="25" y="97"/>
                </a:lnTo>
                <a:lnTo>
                  <a:pt x="28" y="107"/>
                </a:lnTo>
                <a:lnTo>
                  <a:pt x="31" y="107"/>
                </a:lnTo>
                <a:lnTo>
                  <a:pt x="34" y="113"/>
                </a:lnTo>
                <a:lnTo>
                  <a:pt x="34" y="113"/>
                </a:lnTo>
                <a:lnTo>
                  <a:pt x="34" y="116"/>
                </a:lnTo>
                <a:lnTo>
                  <a:pt x="37" y="113"/>
                </a:lnTo>
                <a:lnTo>
                  <a:pt x="37" y="110"/>
                </a:lnTo>
                <a:lnTo>
                  <a:pt x="40" y="110"/>
                </a:lnTo>
                <a:lnTo>
                  <a:pt x="40" y="107"/>
                </a:lnTo>
                <a:lnTo>
                  <a:pt x="50" y="100"/>
                </a:lnTo>
                <a:lnTo>
                  <a:pt x="53" y="100"/>
                </a:lnTo>
                <a:lnTo>
                  <a:pt x="56" y="100"/>
                </a:lnTo>
                <a:lnTo>
                  <a:pt x="56" y="97"/>
                </a:lnTo>
                <a:lnTo>
                  <a:pt x="59" y="97"/>
                </a:lnTo>
                <a:lnTo>
                  <a:pt x="62" y="100"/>
                </a:lnTo>
                <a:lnTo>
                  <a:pt x="65" y="100"/>
                </a:lnTo>
                <a:lnTo>
                  <a:pt x="65" y="104"/>
                </a:lnTo>
                <a:lnTo>
                  <a:pt x="68" y="100"/>
                </a:lnTo>
                <a:lnTo>
                  <a:pt x="65" y="97"/>
                </a:lnTo>
                <a:lnTo>
                  <a:pt x="72" y="94"/>
                </a:lnTo>
                <a:lnTo>
                  <a:pt x="75" y="94"/>
                </a:lnTo>
                <a:lnTo>
                  <a:pt x="81" y="88"/>
                </a:lnTo>
                <a:lnTo>
                  <a:pt x="81" y="85"/>
                </a:lnTo>
                <a:lnTo>
                  <a:pt x="84" y="85"/>
                </a:lnTo>
                <a:lnTo>
                  <a:pt x="81" y="69"/>
                </a:lnTo>
                <a:lnTo>
                  <a:pt x="81" y="69"/>
                </a:lnTo>
                <a:lnTo>
                  <a:pt x="78" y="69"/>
                </a:lnTo>
                <a:lnTo>
                  <a:pt x="78" y="66"/>
                </a:lnTo>
                <a:lnTo>
                  <a:pt x="78" y="53"/>
                </a:lnTo>
                <a:lnTo>
                  <a:pt x="75" y="50"/>
                </a:lnTo>
                <a:lnTo>
                  <a:pt x="72" y="41"/>
                </a:lnTo>
                <a:lnTo>
                  <a:pt x="62" y="25"/>
                </a:lnTo>
                <a:lnTo>
                  <a:pt x="50" y="16"/>
                </a:lnTo>
                <a:lnTo>
                  <a:pt x="43" y="0"/>
                </a:lnTo>
                <a:lnTo>
                  <a:pt x="37" y="7"/>
                </a:lnTo>
                <a:lnTo>
                  <a:pt x="22" y="7"/>
                </a:lnTo>
                <a:lnTo>
                  <a:pt x="15" y="13"/>
                </a:lnTo>
                <a:lnTo>
                  <a:pt x="9" y="16"/>
                </a:lnTo>
                <a:lnTo>
                  <a:pt x="3" y="22"/>
                </a:lnTo>
                <a:lnTo>
                  <a:pt x="0" y="25"/>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7" name="Freeform 15">
            <a:extLst>
              <a:ext uri="{FF2B5EF4-FFF2-40B4-BE49-F238E27FC236}">
                <a16:creationId xmlns:a16="http://schemas.microsoft.com/office/drawing/2014/main" id="{C51C7726-1763-F382-FEC0-1058CB1DDA60}"/>
              </a:ext>
            </a:extLst>
          </p:cNvPr>
          <p:cNvSpPr>
            <a:spLocks/>
          </p:cNvSpPr>
          <p:nvPr userDrawn="1"/>
        </p:nvSpPr>
        <p:spPr bwMode="auto">
          <a:xfrm>
            <a:off x="20610761" y="6168306"/>
            <a:ext cx="298431" cy="508000"/>
          </a:xfrm>
          <a:custGeom>
            <a:avLst/>
            <a:gdLst>
              <a:gd name="T0" fmla="*/ 0 w 94"/>
              <a:gd name="T1" fmla="*/ 88 h 160"/>
              <a:gd name="T2" fmla="*/ 6 w 94"/>
              <a:gd name="T3" fmla="*/ 78 h 160"/>
              <a:gd name="T4" fmla="*/ 13 w 94"/>
              <a:gd name="T5" fmla="*/ 72 h 160"/>
              <a:gd name="T6" fmla="*/ 19 w 94"/>
              <a:gd name="T7" fmla="*/ 63 h 160"/>
              <a:gd name="T8" fmla="*/ 22 w 94"/>
              <a:gd name="T9" fmla="*/ 50 h 160"/>
              <a:gd name="T10" fmla="*/ 22 w 94"/>
              <a:gd name="T11" fmla="*/ 41 h 160"/>
              <a:gd name="T12" fmla="*/ 31 w 94"/>
              <a:gd name="T13" fmla="*/ 44 h 160"/>
              <a:gd name="T14" fmla="*/ 38 w 94"/>
              <a:gd name="T15" fmla="*/ 47 h 160"/>
              <a:gd name="T16" fmla="*/ 44 w 94"/>
              <a:gd name="T17" fmla="*/ 47 h 160"/>
              <a:gd name="T18" fmla="*/ 56 w 94"/>
              <a:gd name="T19" fmla="*/ 47 h 160"/>
              <a:gd name="T20" fmla="*/ 60 w 94"/>
              <a:gd name="T21" fmla="*/ 41 h 160"/>
              <a:gd name="T22" fmla="*/ 50 w 94"/>
              <a:gd name="T23" fmla="*/ 31 h 160"/>
              <a:gd name="T24" fmla="*/ 60 w 94"/>
              <a:gd name="T25" fmla="*/ 28 h 160"/>
              <a:gd name="T26" fmla="*/ 66 w 94"/>
              <a:gd name="T27" fmla="*/ 19 h 160"/>
              <a:gd name="T28" fmla="*/ 75 w 94"/>
              <a:gd name="T29" fmla="*/ 16 h 160"/>
              <a:gd name="T30" fmla="*/ 75 w 94"/>
              <a:gd name="T31" fmla="*/ 6 h 160"/>
              <a:gd name="T32" fmla="*/ 75 w 94"/>
              <a:gd name="T33" fmla="*/ 0 h 160"/>
              <a:gd name="T34" fmla="*/ 81 w 94"/>
              <a:gd name="T35" fmla="*/ 0 h 160"/>
              <a:gd name="T36" fmla="*/ 81 w 94"/>
              <a:gd name="T37" fmla="*/ 6 h 160"/>
              <a:gd name="T38" fmla="*/ 94 w 94"/>
              <a:gd name="T39" fmla="*/ 16 h 160"/>
              <a:gd name="T40" fmla="*/ 85 w 94"/>
              <a:gd name="T41" fmla="*/ 22 h 160"/>
              <a:gd name="T42" fmla="*/ 81 w 94"/>
              <a:gd name="T43" fmla="*/ 25 h 160"/>
              <a:gd name="T44" fmla="*/ 81 w 94"/>
              <a:gd name="T45" fmla="*/ 41 h 160"/>
              <a:gd name="T46" fmla="*/ 85 w 94"/>
              <a:gd name="T47" fmla="*/ 56 h 160"/>
              <a:gd name="T48" fmla="*/ 88 w 94"/>
              <a:gd name="T49" fmla="*/ 63 h 160"/>
              <a:gd name="T50" fmla="*/ 81 w 94"/>
              <a:gd name="T51" fmla="*/ 69 h 160"/>
              <a:gd name="T52" fmla="*/ 72 w 94"/>
              <a:gd name="T53" fmla="*/ 81 h 160"/>
              <a:gd name="T54" fmla="*/ 69 w 94"/>
              <a:gd name="T55" fmla="*/ 84 h 160"/>
              <a:gd name="T56" fmla="*/ 63 w 94"/>
              <a:gd name="T57" fmla="*/ 88 h 160"/>
              <a:gd name="T58" fmla="*/ 56 w 94"/>
              <a:gd name="T59" fmla="*/ 97 h 160"/>
              <a:gd name="T60" fmla="*/ 56 w 94"/>
              <a:gd name="T61" fmla="*/ 106 h 160"/>
              <a:gd name="T62" fmla="*/ 56 w 94"/>
              <a:gd name="T63" fmla="*/ 113 h 160"/>
              <a:gd name="T64" fmla="*/ 66 w 94"/>
              <a:gd name="T65" fmla="*/ 116 h 160"/>
              <a:gd name="T66" fmla="*/ 81 w 94"/>
              <a:gd name="T67" fmla="*/ 128 h 160"/>
              <a:gd name="T68" fmla="*/ 60 w 94"/>
              <a:gd name="T69" fmla="*/ 135 h 160"/>
              <a:gd name="T70" fmla="*/ 47 w 94"/>
              <a:gd name="T71" fmla="*/ 144 h 160"/>
              <a:gd name="T72" fmla="*/ 38 w 94"/>
              <a:gd name="T73" fmla="*/ 153 h 160"/>
              <a:gd name="T74" fmla="*/ 31 w 94"/>
              <a:gd name="T75" fmla="*/ 150 h 160"/>
              <a:gd name="T76" fmla="*/ 31 w 94"/>
              <a:gd name="T77" fmla="*/ 156 h 160"/>
              <a:gd name="T78" fmla="*/ 25 w 94"/>
              <a:gd name="T79" fmla="*/ 160 h 160"/>
              <a:gd name="T80" fmla="*/ 25 w 94"/>
              <a:gd name="T81" fmla="*/ 150 h 160"/>
              <a:gd name="T82" fmla="*/ 19 w 94"/>
              <a:gd name="T83" fmla="*/ 150 h 160"/>
              <a:gd name="T84" fmla="*/ 16 w 94"/>
              <a:gd name="T85" fmla="*/ 147 h 160"/>
              <a:gd name="T86" fmla="*/ 19 w 94"/>
              <a:gd name="T87" fmla="*/ 135 h 160"/>
              <a:gd name="T88" fmla="*/ 28 w 94"/>
              <a:gd name="T89" fmla="*/ 128 h 160"/>
              <a:gd name="T90" fmla="*/ 19 w 94"/>
              <a:gd name="T91" fmla="*/ 131 h 160"/>
              <a:gd name="T92" fmla="*/ 16 w 94"/>
              <a:gd name="T93" fmla="*/ 119 h 160"/>
              <a:gd name="T94" fmla="*/ 19 w 94"/>
              <a:gd name="T95" fmla="*/ 110 h 160"/>
              <a:gd name="T96" fmla="*/ 22 w 94"/>
              <a:gd name="T97" fmla="*/ 103 h 160"/>
              <a:gd name="T98" fmla="*/ 19 w 94"/>
              <a:gd name="T99" fmla="*/ 106 h 160"/>
              <a:gd name="T100" fmla="*/ 10 w 94"/>
              <a:gd name="T101" fmla="*/ 103 h 160"/>
              <a:gd name="T102" fmla="*/ 6 w 94"/>
              <a:gd name="T103" fmla="*/ 106 h 160"/>
              <a:gd name="T104" fmla="*/ 0 w 94"/>
              <a:gd name="T105" fmla="*/ 100 h 160"/>
              <a:gd name="T106" fmla="*/ 0 w 94"/>
              <a:gd name="T107" fmla="*/ 10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4" h="160">
                <a:moveTo>
                  <a:pt x="0" y="100"/>
                </a:moveTo>
                <a:lnTo>
                  <a:pt x="0" y="88"/>
                </a:lnTo>
                <a:lnTo>
                  <a:pt x="3" y="84"/>
                </a:lnTo>
                <a:lnTo>
                  <a:pt x="6" y="78"/>
                </a:lnTo>
                <a:lnTo>
                  <a:pt x="6" y="75"/>
                </a:lnTo>
                <a:lnTo>
                  <a:pt x="13" y="72"/>
                </a:lnTo>
                <a:lnTo>
                  <a:pt x="16" y="66"/>
                </a:lnTo>
                <a:lnTo>
                  <a:pt x="19" y="63"/>
                </a:lnTo>
                <a:lnTo>
                  <a:pt x="22" y="53"/>
                </a:lnTo>
                <a:lnTo>
                  <a:pt x="22" y="50"/>
                </a:lnTo>
                <a:lnTo>
                  <a:pt x="22" y="50"/>
                </a:lnTo>
                <a:lnTo>
                  <a:pt x="22" y="41"/>
                </a:lnTo>
                <a:lnTo>
                  <a:pt x="28" y="38"/>
                </a:lnTo>
                <a:lnTo>
                  <a:pt x="31" y="44"/>
                </a:lnTo>
                <a:lnTo>
                  <a:pt x="35" y="44"/>
                </a:lnTo>
                <a:lnTo>
                  <a:pt x="38" y="47"/>
                </a:lnTo>
                <a:lnTo>
                  <a:pt x="41" y="47"/>
                </a:lnTo>
                <a:lnTo>
                  <a:pt x="44" y="47"/>
                </a:lnTo>
                <a:lnTo>
                  <a:pt x="53" y="47"/>
                </a:lnTo>
                <a:lnTo>
                  <a:pt x="56" y="47"/>
                </a:lnTo>
                <a:lnTo>
                  <a:pt x="60" y="44"/>
                </a:lnTo>
                <a:lnTo>
                  <a:pt x="60" y="41"/>
                </a:lnTo>
                <a:lnTo>
                  <a:pt x="56" y="34"/>
                </a:lnTo>
                <a:lnTo>
                  <a:pt x="50" y="31"/>
                </a:lnTo>
                <a:lnTo>
                  <a:pt x="53" y="31"/>
                </a:lnTo>
                <a:lnTo>
                  <a:pt x="60" y="28"/>
                </a:lnTo>
                <a:lnTo>
                  <a:pt x="66" y="22"/>
                </a:lnTo>
                <a:lnTo>
                  <a:pt x="66" y="19"/>
                </a:lnTo>
                <a:lnTo>
                  <a:pt x="69" y="16"/>
                </a:lnTo>
                <a:lnTo>
                  <a:pt x="75" y="16"/>
                </a:lnTo>
                <a:lnTo>
                  <a:pt x="75" y="9"/>
                </a:lnTo>
                <a:lnTo>
                  <a:pt x="75" y="6"/>
                </a:lnTo>
                <a:lnTo>
                  <a:pt x="75" y="3"/>
                </a:lnTo>
                <a:lnTo>
                  <a:pt x="75" y="0"/>
                </a:lnTo>
                <a:lnTo>
                  <a:pt x="78" y="0"/>
                </a:lnTo>
                <a:lnTo>
                  <a:pt x="81" y="0"/>
                </a:lnTo>
                <a:lnTo>
                  <a:pt x="81" y="6"/>
                </a:lnTo>
                <a:lnTo>
                  <a:pt x="81" y="6"/>
                </a:lnTo>
                <a:lnTo>
                  <a:pt x="88" y="9"/>
                </a:lnTo>
                <a:lnTo>
                  <a:pt x="94" y="16"/>
                </a:lnTo>
                <a:lnTo>
                  <a:pt x="91" y="16"/>
                </a:lnTo>
                <a:lnTo>
                  <a:pt x="85" y="22"/>
                </a:lnTo>
                <a:lnTo>
                  <a:pt x="85" y="22"/>
                </a:lnTo>
                <a:lnTo>
                  <a:pt x="81" y="25"/>
                </a:lnTo>
                <a:lnTo>
                  <a:pt x="81" y="38"/>
                </a:lnTo>
                <a:lnTo>
                  <a:pt x="81" y="41"/>
                </a:lnTo>
                <a:lnTo>
                  <a:pt x="85" y="44"/>
                </a:lnTo>
                <a:lnTo>
                  <a:pt x="85" y="56"/>
                </a:lnTo>
                <a:lnTo>
                  <a:pt x="88" y="56"/>
                </a:lnTo>
                <a:lnTo>
                  <a:pt x="88" y="63"/>
                </a:lnTo>
                <a:lnTo>
                  <a:pt x="81" y="66"/>
                </a:lnTo>
                <a:lnTo>
                  <a:pt x="81" y="69"/>
                </a:lnTo>
                <a:lnTo>
                  <a:pt x="72" y="78"/>
                </a:lnTo>
                <a:lnTo>
                  <a:pt x="72" y="81"/>
                </a:lnTo>
                <a:lnTo>
                  <a:pt x="72" y="84"/>
                </a:lnTo>
                <a:lnTo>
                  <a:pt x="69" y="84"/>
                </a:lnTo>
                <a:lnTo>
                  <a:pt x="66" y="84"/>
                </a:lnTo>
                <a:lnTo>
                  <a:pt x="63" y="88"/>
                </a:lnTo>
                <a:lnTo>
                  <a:pt x="60" y="94"/>
                </a:lnTo>
                <a:lnTo>
                  <a:pt x="56" y="97"/>
                </a:lnTo>
                <a:lnTo>
                  <a:pt x="56" y="100"/>
                </a:lnTo>
                <a:lnTo>
                  <a:pt x="56" y="106"/>
                </a:lnTo>
                <a:lnTo>
                  <a:pt x="53" y="106"/>
                </a:lnTo>
                <a:lnTo>
                  <a:pt x="56" y="113"/>
                </a:lnTo>
                <a:lnTo>
                  <a:pt x="63" y="113"/>
                </a:lnTo>
                <a:lnTo>
                  <a:pt x="66" y="116"/>
                </a:lnTo>
                <a:lnTo>
                  <a:pt x="78" y="125"/>
                </a:lnTo>
                <a:lnTo>
                  <a:pt x="81" y="128"/>
                </a:lnTo>
                <a:lnTo>
                  <a:pt x="75" y="135"/>
                </a:lnTo>
                <a:lnTo>
                  <a:pt x="60" y="135"/>
                </a:lnTo>
                <a:lnTo>
                  <a:pt x="53" y="141"/>
                </a:lnTo>
                <a:lnTo>
                  <a:pt x="47" y="144"/>
                </a:lnTo>
                <a:lnTo>
                  <a:pt x="41" y="150"/>
                </a:lnTo>
                <a:lnTo>
                  <a:pt x="38" y="153"/>
                </a:lnTo>
                <a:lnTo>
                  <a:pt x="35" y="150"/>
                </a:lnTo>
                <a:lnTo>
                  <a:pt x="31" y="150"/>
                </a:lnTo>
                <a:lnTo>
                  <a:pt x="35" y="153"/>
                </a:lnTo>
                <a:lnTo>
                  <a:pt x="31" y="156"/>
                </a:lnTo>
                <a:lnTo>
                  <a:pt x="28" y="156"/>
                </a:lnTo>
                <a:lnTo>
                  <a:pt x="25" y="160"/>
                </a:lnTo>
                <a:lnTo>
                  <a:pt x="22" y="156"/>
                </a:lnTo>
                <a:lnTo>
                  <a:pt x="25" y="150"/>
                </a:lnTo>
                <a:lnTo>
                  <a:pt x="22" y="150"/>
                </a:lnTo>
                <a:lnTo>
                  <a:pt x="19" y="150"/>
                </a:lnTo>
                <a:lnTo>
                  <a:pt x="16" y="150"/>
                </a:lnTo>
                <a:lnTo>
                  <a:pt x="16" y="147"/>
                </a:lnTo>
                <a:lnTo>
                  <a:pt x="19" y="138"/>
                </a:lnTo>
                <a:lnTo>
                  <a:pt x="19" y="135"/>
                </a:lnTo>
                <a:lnTo>
                  <a:pt x="25" y="135"/>
                </a:lnTo>
                <a:lnTo>
                  <a:pt x="28" y="128"/>
                </a:lnTo>
                <a:lnTo>
                  <a:pt x="25" y="131"/>
                </a:lnTo>
                <a:lnTo>
                  <a:pt x="19" y="131"/>
                </a:lnTo>
                <a:lnTo>
                  <a:pt x="16" y="128"/>
                </a:lnTo>
                <a:lnTo>
                  <a:pt x="16" y="119"/>
                </a:lnTo>
                <a:lnTo>
                  <a:pt x="22" y="113"/>
                </a:lnTo>
                <a:lnTo>
                  <a:pt x="19" y="110"/>
                </a:lnTo>
                <a:lnTo>
                  <a:pt x="22" y="106"/>
                </a:lnTo>
                <a:lnTo>
                  <a:pt x="22" y="103"/>
                </a:lnTo>
                <a:lnTo>
                  <a:pt x="19" y="103"/>
                </a:lnTo>
                <a:lnTo>
                  <a:pt x="19" y="106"/>
                </a:lnTo>
                <a:lnTo>
                  <a:pt x="13" y="106"/>
                </a:lnTo>
                <a:lnTo>
                  <a:pt x="10" y="103"/>
                </a:lnTo>
                <a:lnTo>
                  <a:pt x="6" y="103"/>
                </a:lnTo>
                <a:lnTo>
                  <a:pt x="6" y="106"/>
                </a:lnTo>
                <a:lnTo>
                  <a:pt x="3" y="106"/>
                </a:lnTo>
                <a:lnTo>
                  <a:pt x="0" y="100"/>
                </a:lnTo>
                <a:lnTo>
                  <a:pt x="0" y="100"/>
                </a:lnTo>
                <a:lnTo>
                  <a:pt x="0" y="100"/>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8" name="Freeform 16">
            <a:extLst>
              <a:ext uri="{FF2B5EF4-FFF2-40B4-BE49-F238E27FC236}">
                <a16:creationId xmlns:a16="http://schemas.microsoft.com/office/drawing/2014/main" id="{55F446EE-7401-7594-6011-35899B8B1C0B}"/>
              </a:ext>
            </a:extLst>
          </p:cNvPr>
          <p:cNvSpPr>
            <a:spLocks/>
          </p:cNvSpPr>
          <p:nvPr userDrawn="1"/>
        </p:nvSpPr>
        <p:spPr bwMode="auto">
          <a:xfrm>
            <a:off x="18210620" y="5501563"/>
            <a:ext cx="1923925" cy="904878"/>
          </a:xfrm>
          <a:custGeom>
            <a:avLst/>
            <a:gdLst>
              <a:gd name="T0" fmla="*/ 19 w 606"/>
              <a:gd name="T1" fmla="*/ 88 h 285"/>
              <a:gd name="T2" fmla="*/ 37 w 606"/>
              <a:gd name="T3" fmla="*/ 69 h 285"/>
              <a:gd name="T4" fmla="*/ 44 w 606"/>
              <a:gd name="T5" fmla="*/ 57 h 285"/>
              <a:gd name="T6" fmla="*/ 69 w 606"/>
              <a:gd name="T7" fmla="*/ 50 h 285"/>
              <a:gd name="T8" fmla="*/ 81 w 606"/>
              <a:gd name="T9" fmla="*/ 54 h 285"/>
              <a:gd name="T10" fmla="*/ 103 w 606"/>
              <a:gd name="T11" fmla="*/ 54 h 285"/>
              <a:gd name="T12" fmla="*/ 128 w 606"/>
              <a:gd name="T13" fmla="*/ 72 h 285"/>
              <a:gd name="T14" fmla="*/ 147 w 606"/>
              <a:gd name="T15" fmla="*/ 69 h 285"/>
              <a:gd name="T16" fmla="*/ 172 w 606"/>
              <a:gd name="T17" fmla="*/ 69 h 285"/>
              <a:gd name="T18" fmla="*/ 178 w 606"/>
              <a:gd name="T19" fmla="*/ 44 h 285"/>
              <a:gd name="T20" fmla="*/ 162 w 606"/>
              <a:gd name="T21" fmla="*/ 22 h 285"/>
              <a:gd name="T22" fmla="*/ 175 w 606"/>
              <a:gd name="T23" fmla="*/ 10 h 285"/>
              <a:gd name="T24" fmla="*/ 190 w 606"/>
              <a:gd name="T25" fmla="*/ 4 h 285"/>
              <a:gd name="T26" fmla="*/ 215 w 606"/>
              <a:gd name="T27" fmla="*/ 10 h 285"/>
              <a:gd name="T28" fmla="*/ 237 w 606"/>
              <a:gd name="T29" fmla="*/ 16 h 285"/>
              <a:gd name="T30" fmla="*/ 247 w 606"/>
              <a:gd name="T31" fmla="*/ 35 h 285"/>
              <a:gd name="T32" fmla="*/ 262 w 606"/>
              <a:gd name="T33" fmla="*/ 47 h 285"/>
              <a:gd name="T34" fmla="*/ 284 w 606"/>
              <a:gd name="T35" fmla="*/ 47 h 285"/>
              <a:gd name="T36" fmla="*/ 309 w 606"/>
              <a:gd name="T37" fmla="*/ 38 h 285"/>
              <a:gd name="T38" fmla="*/ 341 w 606"/>
              <a:gd name="T39" fmla="*/ 47 h 285"/>
              <a:gd name="T40" fmla="*/ 366 w 606"/>
              <a:gd name="T41" fmla="*/ 57 h 285"/>
              <a:gd name="T42" fmla="*/ 394 w 606"/>
              <a:gd name="T43" fmla="*/ 66 h 285"/>
              <a:gd name="T44" fmla="*/ 422 w 606"/>
              <a:gd name="T45" fmla="*/ 66 h 285"/>
              <a:gd name="T46" fmla="*/ 453 w 606"/>
              <a:gd name="T47" fmla="*/ 50 h 285"/>
              <a:gd name="T48" fmla="*/ 469 w 606"/>
              <a:gd name="T49" fmla="*/ 35 h 285"/>
              <a:gd name="T50" fmla="*/ 487 w 606"/>
              <a:gd name="T51" fmla="*/ 25 h 285"/>
              <a:gd name="T52" fmla="*/ 506 w 606"/>
              <a:gd name="T53" fmla="*/ 35 h 285"/>
              <a:gd name="T54" fmla="*/ 522 w 606"/>
              <a:gd name="T55" fmla="*/ 63 h 285"/>
              <a:gd name="T56" fmla="*/ 531 w 606"/>
              <a:gd name="T57" fmla="*/ 97 h 285"/>
              <a:gd name="T58" fmla="*/ 562 w 606"/>
              <a:gd name="T59" fmla="*/ 88 h 285"/>
              <a:gd name="T60" fmla="*/ 591 w 606"/>
              <a:gd name="T61" fmla="*/ 94 h 285"/>
              <a:gd name="T62" fmla="*/ 603 w 606"/>
              <a:gd name="T63" fmla="*/ 119 h 285"/>
              <a:gd name="T64" fmla="*/ 591 w 606"/>
              <a:gd name="T65" fmla="*/ 126 h 285"/>
              <a:gd name="T66" fmla="*/ 566 w 606"/>
              <a:gd name="T67" fmla="*/ 132 h 285"/>
              <a:gd name="T68" fmla="*/ 556 w 606"/>
              <a:gd name="T69" fmla="*/ 141 h 285"/>
              <a:gd name="T70" fmla="*/ 537 w 606"/>
              <a:gd name="T71" fmla="*/ 166 h 285"/>
              <a:gd name="T72" fmla="*/ 516 w 606"/>
              <a:gd name="T73" fmla="*/ 179 h 285"/>
              <a:gd name="T74" fmla="*/ 494 w 606"/>
              <a:gd name="T75" fmla="*/ 182 h 285"/>
              <a:gd name="T76" fmla="*/ 469 w 606"/>
              <a:gd name="T77" fmla="*/ 194 h 285"/>
              <a:gd name="T78" fmla="*/ 484 w 606"/>
              <a:gd name="T79" fmla="*/ 219 h 285"/>
              <a:gd name="T80" fmla="*/ 456 w 606"/>
              <a:gd name="T81" fmla="*/ 248 h 285"/>
              <a:gd name="T82" fmla="*/ 422 w 606"/>
              <a:gd name="T83" fmla="*/ 260 h 285"/>
              <a:gd name="T84" fmla="*/ 372 w 606"/>
              <a:gd name="T85" fmla="*/ 285 h 285"/>
              <a:gd name="T86" fmla="*/ 347 w 606"/>
              <a:gd name="T87" fmla="*/ 282 h 285"/>
              <a:gd name="T88" fmla="*/ 297 w 606"/>
              <a:gd name="T89" fmla="*/ 260 h 285"/>
              <a:gd name="T90" fmla="*/ 256 w 606"/>
              <a:gd name="T91" fmla="*/ 266 h 285"/>
              <a:gd name="T92" fmla="*/ 200 w 606"/>
              <a:gd name="T93" fmla="*/ 266 h 285"/>
              <a:gd name="T94" fmla="*/ 181 w 606"/>
              <a:gd name="T95" fmla="*/ 238 h 285"/>
              <a:gd name="T96" fmla="*/ 172 w 606"/>
              <a:gd name="T97" fmla="*/ 226 h 285"/>
              <a:gd name="T98" fmla="*/ 147 w 606"/>
              <a:gd name="T99" fmla="*/ 216 h 285"/>
              <a:gd name="T100" fmla="*/ 119 w 606"/>
              <a:gd name="T101" fmla="*/ 207 h 285"/>
              <a:gd name="T102" fmla="*/ 78 w 606"/>
              <a:gd name="T103" fmla="*/ 194 h 285"/>
              <a:gd name="T104" fmla="*/ 78 w 606"/>
              <a:gd name="T105" fmla="*/ 179 h 285"/>
              <a:gd name="T106" fmla="*/ 72 w 606"/>
              <a:gd name="T107" fmla="*/ 160 h 285"/>
              <a:gd name="T108" fmla="*/ 62 w 606"/>
              <a:gd name="T109" fmla="*/ 141 h 285"/>
              <a:gd name="T110" fmla="*/ 47 w 606"/>
              <a:gd name="T111" fmla="*/ 135 h 285"/>
              <a:gd name="T112" fmla="*/ 31 w 606"/>
              <a:gd name="T113" fmla="*/ 132 h 285"/>
              <a:gd name="T114" fmla="*/ 22 w 606"/>
              <a:gd name="T115" fmla="*/ 129 h 285"/>
              <a:gd name="T116" fmla="*/ 6 w 606"/>
              <a:gd name="T117" fmla="*/ 116 h 285"/>
              <a:gd name="T118" fmla="*/ 0 w 606"/>
              <a:gd name="T119" fmla="*/ 11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6" h="285">
                <a:moveTo>
                  <a:pt x="0" y="101"/>
                </a:moveTo>
                <a:lnTo>
                  <a:pt x="3" y="94"/>
                </a:lnTo>
                <a:lnTo>
                  <a:pt x="6" y="94"/>
                </a:lnTo>
                <a:lnTo>
                  <a:pt x="15" y="94"/>
                </a:lnTo>
                <a:lnTo>
                  <a:pt x="15" y="91"/>
                </a:lnTo>
                <a:lnTo>
                  <a:pt x="19" y="88"/>
                </a:lnTo>
                <a:lnTo>
                  <a:pt x="25" y="85"/>
                </a:lnTo>
                <a:lnTo>
                  <a:pt x="25" y="82"/>
                </a:lnTo>
                <a:lnTo>
                  <a:pt x="28" y="79"/>
                </a:lnTo>
                <a:lnTo>
                  <a:pt x="34" y="75"/>
                </a:lnTo>
                <a:lnTo>
                  <a:pt x="34" y="72"/>
                </a:lnTo>
                <a:lnTo>
                  <a:pt x="37" y="69"/>
                </a:lnTo>
                <a:lnTo>
                  <a:pt x="40" y="69"/>
                </a:lnTo>
                <a:lnTo>
                  <a:pt x="44" y="63"/>
                </a:lnTo>
                <a:lnTo>
                  <a:pt x="44" y="63"/>
                </a:lnTo>
                <a:lnTo>
                  <a:pt x="40" y="60"/>
                </a:lnTo>
                <a:lnTo>
                  <a:pt x="40" y="60"/>
                </a:lnTo>
                <a:lnTo>
                  <a:pt x="44" y="57"/>
                </a:lnTo>
                <a:lnTo>
                  <a:pt x="50" y="60"/>
                </a:lnTo>
                <a:lnTo>
                  <a:pt x="53" y="57"/>
                </a:lnTo>
                <a:lnTo>
                  <a:pt x="53" y="54"/>
                </a:lnTo>
                <a:lnTo>
                  <a:pt x="56" y="50"/>
                </a:lnTo>
                <a:lnTo>
                  <a:pt x="65" y="50"/>
                </a:lnTo>
                <a:lnTo>
                  <a:pt x="69" y="50"/>
                </a:lnTo>
                <a:lnTo>
                  <a:pt x="72" y="50"/>
                </a:lnTo>
                <a:lnTo>
                  <a:pt x="75" y="50"/>
                </a:lnTo>
                <a:lnTo>
                  <a:pt x="78" y="47"/>
                </a:lnTo>
                <a:lnTo>
                  <a:pt x="81" y="47"/>
                </a:lnTo>
                <a:lnTo>
                  <a:pt x="81" y="50"/>
                </a:lnTo>
                <a:lnTo>
                  <a:pt x="81" y="54"/>
                </a:lnTo>
                <a:lnTo>
                  <a:pt x="84" y="57"/>
                </a:lnTo>
                <a:lnTo>
                  <a:pt x="87" y="57"/>
                </a:lnTo>
                <a:lnTo>
                  <a:pt x="90" y="54"/>
                </a:lnTo>
                <a:lnTo>
                  <a:pt x="94" y="54"/>
                </a:lnTo>
                <a:lnTo>
                  <a:pt x="97" y="54"/>
                </a:lnTo>
                <a:lnTo>
                  <a:pt x="103" y="54"/>
                </a:lnTo>
                <a:lnTo>
                  <a:pt x="106" y="57"/>
                </a:lnTo>
                <a:lnTo>
                  <a:pt x="106" y="60"/>
                </a:lnTo>
                <a:lnTo>
                  <a:pt x="106" y="60"/>
                </a:lnTo>
                <a:lnTo>
                  <a:pt x="115" y="66"/>
                </a:lnTo>
                <a:lnTo>
                  <a:pt x="119" y="69"/>
                </a:lnTo>
                <a:lnTo>
                  <a:pt x="128" y="72"/>
                </a:lnTo>
                <a:lnTo>
                  <a:pt x="131" y="72"/>
                </a:lnTo>
                <a:lnTo>
                  <a:pt x="134" y="69"/>
                </a:lnTo>
                <a:lnTo>
                  <a:pt x="137" y="66"/>
                </a:lnTo>
                <a:lnTo>
                  <a:pt x="140" y="66"/>
                </a:lnTo>
                <a:lnTo>
                  <a:pt x="144" y="66"/>
                </a:lnTo>
                <a:lnTo>
                  <a:pt x="147" y="69"/>
                </a:lnTo>
                <a:lnTo>
                  <a:pt x="150" y="69"/>
                </a:lnTo>
                <a:lnTo>
                  <a:pt x="159" y="69"/>
                </a:lnTo>
                <a:lnTo>
                  <a:pt x="162" y="69"/>
                </a:lnTo>
                <a:lnTo>
                  <a:pt x="165" y="69"/>
                </a:lnTo>
                <a:lnTo>
                  <a:pt x="169" y="69"/>
                </a:lnTo>
                <a:lnTo>
                  <a:pt x="172" y="69"/>
                </a:lnTo>
                <a:lnTo>
                  <a:pt x="178" y="69"/>
                </a:lnTo>
                <a:lnTo>
                  <a:pt x="181" y="63"/>
                </a:lnTo>
                <a:lnTo>
                  <a:pt x="178" y="60"/>
                </a:lnTo>
                <a:lnTo>
                  <a:pt x="175" y="57"/>
                </a:lnTo>
                <a:lnTo>
                  <a:pt x="175" y="50"/>
                </a:lnTo>
                <a:lnTo>
                  <a:pt x="178" y="44"/>
                </a:lnTo>
                <a:lnTo>
                  <a:pt x="175" y="44"/>
                </a:lnTo>
                <a:lnTo>
                  <a:pt x="172" y="41"/>
                </a:lnTo>
                <a:lnTo>
                  <a:pt x="169" y="38"/>
                </a:lnTo>
                <a:lnTo>
                  <a:pt x="165" y="38"/>
                </a:lnTo>
                <a:lnTo>
                  <a:pt x="162" y="32"/>
                </a:lnTo>
                <a:lnTo>
                  <a:pt x="162" y="22"/>
                </a:lnTo>
                <a:lnTo>
                  <a:pt x="165" y="19"/>
                </a:lnTo>
                <a:lnTo>
                  <a:pt x="165" y="16"/>
                </a:lnTo>
                <a:lnTo>
                  <a:pt x="169" y="13"/>
                </a:lnTo>
                <a:lnTo>
                  <a:pt x="172" y="10"/>
                </a:lnTo>
                <a:lnTo>
                  <a:pt x="175" y="13"/>
                </a:lnTo>
                <a:lnTo>
                  <a:pt x="175" y="10"/>
                </a:lnTo>
                <a:lnTo>
                  <a:pt x="175" y="7"/>
                </a:lnTo>
                <a:lnTo>
                  <a:pt x="175" y="4"/>
                </a:lnTo>
                <a:lnTo>
                  <a:pt x="178" y="0"/>
                </a:lnTo>
                <a:lnTo>
                  <a:pt x="181" y="0"/>
                </a:lnTo>
                <a:lnTo>
                  <a:pt x="184" y="4"/>
                </a:lnTo>
                <a:lnTo>
                  <a:pt x="190" y="4"/>
                </a:lnTo>
                <a:lnTo>
                  <a:pt x="194" y="7"/>
                </a:lnTo>
                <a:lnTo>
                  <a:pt x="194" y="7"/>
                </a:lnTo>
                <a:lnTo>
                  <a:pt x="200" y="10"/>
                </a:lnTo>
                <a:lnTo>
                  <a:pt x="203" y="10"/>
                </a:lnTo>
                <a:lnTo>
                  <a:pt x="212" y="10"/>
                </a:lnTo>
                <a:lnTo>
                  <a:pt x="215" y="10"/>
                </a:lnTo>
                <a:lnTo>
                  <a:pt x="215" y="13"/>
                </a:lnTo>
                <a:lnTo>
                  <a:pt x="222" y="13"/>
                </a:lnTo>
                <a:lnTo>
                  <a:pt x="225" y="16"/>
                </a:lnTo>
                <a:lnTo>
                  <a:pt x="228" y="16"/>
                </a:lnTo>
                <a:lnTo>
                  <a:pt x="234" y="16"/>
                </a:lnTo>
                <a:lnTo>
                  <a:pt x="237" y="16"/>
                </a:lnTo>
                <a:lnTo>
                  <a:pt x="240" y="19"/>
                </a:lnTo>
                <a:lnTo>
                  <a:pt x="240" y="22"/>
                </a:lnTo>
                <a:lnTo>
                  <a:pt x="244" y="25"/>
                </a:lnTo>
                <a:lnTo>
                  <a:pt x="244" y="29"/>
                </a:lnTo>
                <a:lnTo>
                  <a:pt x="244" y="29"/>
                </a:lnTo>
                <a:lnTo>
                  <a:pt x="247" y="35"/>
                </a:lnTo>
                <a:lnTo>
                  <a:pt x="247" y="38"/>
                </a:lnTo>
                <a:lnTo>
                  <a:pt x="247" y="38"/>
                </a:lnTo>
                <a:lnTo>
                  <a:pt x="250" y="38"/>
                </a:lnTo>
                <a:lnTo>
                  <a:pt x="253" y="44"/>
                </a:lnTo>
                <a:lnTo>
                  <a:pt x="256" y="44"/>
                </a:lnTo>
                <a:lnTo>
                  <a:pt x="262" y="47"/>
                </a:lnTo>
                <a:lnTo>
                  <a:pt x="269" y="50"/>
                </a:lnTo>
                <a:lnTo>
                  <a:pt x="272" y="50"/>
                </a:lnTo>
                <a:lnTo>
                  <a:pt x="272" y="47"/>
                </a:lnTo>
                <a:lnTo>
                  <a:pt x="278" y="50"/>
                </a:lnTo>
                <a:lnTo>
                  <a:pt x="281" y="47"/>
                </a:lnTo>
                <a:lnTo>
                  <a:pt x="284" y="47"/>
                </a:lnTo>
                <a:lnTo>
                  <a:pt x="284" y="47"/>
                </a:lnTo>
                <a:lnTo>
                  <a:pt x="287" y="47"/>
                </a:lnTo>
                <a:lnTo>
                  <a:pt x="290" y="44"/>
                </a:lnTo>
                <a:lnTo>
                  <a:pt x="297" y="41"/>
                </a:lnTo>
                <a:lnTo>
                  <a:pt x="306" y="41"/>
                </a:lnTo>
                <a:lnTo>
                  <a:pt x="309" y="38"/>
                </a:lnTo>
                <a:lnTo>
                  <a:pt x="315" y="38"/>
                </a:lnTo>
                <a:lnTo>
                  <a:pt x="319" y="38"/>
                </a:lnTo>
                <a:lnTo>
                  <a:pt x="325" y="41"/>
                </a:lnTo>
                <a:lnTo>
                  <a:pt x="328" y="41"/>
                </a:lnTo>
                <a:lnTo>
                  <a:pt x="337" y="41"/>
                </a:lnTo>
                <a:lnTo>
                  <a:pt x="341" y="47"/>
                </a:lnTo>
                <a:lnTo>
                  <a:pt x="347" y="47"/>
                </a:lnTo>
                <a:lnTo>
                  <a:pt x="353" y="47"/>
                </a:lnTo>
                <a:lnTo>
                  <a:pt x="356" y="47"/>
                </a:lnTo>
                <a:lnTo>
                  <a:pt x="359" y="50"/>
                </a:lnTo>
                <a:lnTo>
                  <a:pt x="362" y="57"/>
                </a:lnTo>
                <a:lnTo>
                  <a:pt x="366" y="57"/>
                </a:lnTo>
                <a:lnTo>
                  <a:pt x="369" y="60"/>
                </a:lnTo>
                <a:lnTo>
                  <a:pt x="372" y="60"/>
                </a:lnTo>
                <a:lnTo>
                  <a:pt x="375" y="63"/>
                </a:lnTo>
                <a:lnTo>
                  <a:pt x="378" y="63"/>
                </a:lnTo>
                <a:lnTo>
                  <a:pt x="384" y="63"/>
                </a:lnTo>
                <a:lnTo>
                  <a:pt x="394" y="66"/>
                </a:lnTo>
                <a:lnTo>
                  <a:pt x="406" y="66"/>
                </a:lnTo>
                <a:lnTo>
                  <a:pt x="409" y="63"/>
                </a:lnTo>
                <a:lnTo>
                  <a:pt x="412" y="63"/>
                </a:lnTo>
                <a:lnTo>
                  <a:pt x="416" y="63"/>
                </a:lnTo>
                <a:lnTo>
                  <a:pt x="422" y="66"/>
                </a:lnTo>
                <a:lnTo>
                  <a:pt x="422" y="66"/>
                </a:lnTo>
                <a:lnTo>
                  <a:pt x="425" y="60"/>
                </a:lnTo>
                <a:lnTo>
                  <a:pt x="434" y="57"/>
                </a:lnTo>
                <a:lnTo>
                  <a:pt x="437" y="57"/>
                </a:lnTo>
                <a:lnTo>
                  <a:pt x="441" y="54"/>
                </a:lnTo>
                <a:lnTo>
                  <a:pt x="444" y="50"/>
                </a:lnTo>
                <a:lnTo>
                  <a:pt x="453" y="50"/>
                </a:lnTo>
                <a:lnTo>
                  <a:pt x="456" y="47"/>
                </a:lnTo>
                <a:lnTo>
                  <a:pt x="459" y="44"/>
                </a:lnTo>
                <a:lnTo>
                  <a:pt x="459" y="44"/>
                </a:lnTo>
                <a:lnTo>
                  <a:pt x="459" y="38"/>
                </a:lnTo>
                <a:lnTo>
                  <a:pt x="466" y="38"/>
                </a:lnTo>
                <a:lnTo>
                  <a:pt x="469" y="35"/>
                </a:lnTo>
                <a:lnTo>
                  <a:pt x="469" y="29"/>
                </a:lnTo>
                <a:lnTo>
                  <a:pt x="472" y="25"/>
                </a:lnTo>
                <a:lnTo>
                  <a:pt x="475" y="25"/>
                </a:lnTo>
                <a:lnTo>
                  <a:pt x="478" y="29"/>
                </a:lnTo>
                <a:lnTo>
                  <a:pt x="481" y="25"/>
                </a:lnTo>
                <a:lnTo>
                  <a:pt x="487" y="25"/>
                </a:lnTo>
                <a:lnTo>
                  <a:pt x="491" y="29"/>
                </a:lnTo>
                <a:lnTo>
                  <a:pt x="494" y="35"/>
                </a:lnTo>
                <a:lnTo>
                  <a:pt x="497" y="35"/>
                </a:lnTo>
                <a:lnTo>
                  <a:pt x="500" y="32"/>
                </a:lnTo>
                <a:lnTo>
                  <a:pt x="503" y="35"/>
                </a:lnTo>
                <a:lnTo>
                  <a:pt x="506" y="35"/>
                </a:lnTo>
                <a:lnTo>
                  <a:pt x="509" y="32"/>
                </a:lnTo>
                <a:lnTo>
                  <a:pt x="509" y="29"/>
                </a:lnTo>
                <a:lnTo>
                  <a:pt x="516" y="29"/>
                </a:lnTo>
                <a:lnTo>
                  <a:pt x="525" y="32"/>
                </a:lnTo>
                <a:lnTo>
                  <a:pt x="525" y="32"/>
                </a:lnTo>
                <a:lnTo>
                  <a:pt x="522" y="63"/>
                </a:lnTo>
                <a:lnTo>
                  <a:pt x="522" y="69"/>
                </a:lnTo>
                <a:lnTo>
                  <a:pt x="522" y="75"/>
                </a:lnTo>
                <a:lnTo>
                  <a:pt x="522" y="79"/>
                </a:lnTo>
                <a:lnTo>
                  <a:pt x="519" y="88"/>
                </a:lnTo>
                <a:lnTo>
                  <a:pt x="522" y="94"/>
                </a:lnTo>
                <a:lnTo>
                  <a:pt x="531" y="97"/>
                </a:lnTo>
                <a:lnTo>
                  <a:pt x="537" y="94"/>
                </a:lnTo>
                <a:lnTo>
                  <a:pt x="544" y="94"/>
                </a:lnTo>
                <a:lnTo>
                  <a:pt x="553" y="94"/>
                </a:lnTo>
                <a:lnTo>
                  <a:pt x="556" y="101"/>
                </a:lnTo>
                <a:lnTo>
                  <a:pt x="562" y="91"/>
                </a:lnTo>
                <a:lnTo>
                  <a:pt x="562" y="88"/>
                </a:lnTo>
                <a:lnTo>
                  <a:pt x="562" y="85"/>
                </a:lnTo>
                <a:lnTo>
                  <a:pt x="569" y="82"/>
                </a:lnTo>
                <a:lnTo>
                  <a:pt x="569" y="82"/>
                </a:lnTo>
                <a:lnTo>
                  <a:pt x="578" y="82"/>
                </a:lnTo>
                <a:lnTo>
                  <a:pt x="584" y="88"/>
                </a:lnTo>
                <a:lnTo>
                  <a:pt x="591" y="94"/>
                </a:lnTo>
                <a:lnTo>
                  <a:pt x="597" y="104"/>
                </a:lnTo>
                <a:lnTo>
                  <a:pt x="603" y="107"/>
                </a:lnTo>
                <a:lnTo>
                  <a:pt x="603" y="110"/>
                </a:lnTo>
                <a:lnTo>
                  <a:pt x="606" y="113"/>
                </a:lnTo>
                <a:lnTo>
                  <a:pt x="606" y="116"/>
                </a:lnTo>
                <a:lnTo>
                  <a:pt x="603" y="119"/>
                </a:lnTo>
                <a:lnTo>
                  <a:pt x="603" y="122"/>
                </a:lnTo>
                <a:lnTo>
                  <a:pt x="603" y="126"/>
                </a:lnTo>
                <a:lnTo>
                  <a:pt x="600" y="126"/>
                </a:lnTo>
                <a:lnTo>
                  <a:pt x="597" y="122"/>
                </a:lnTo>
                <a:lnTo>
                  <a:pt x="594" y="122"/>
                </a:lnTo>
                <a:lnTo>
                  <a:pt x="591" y="126"/>
                </a:lnTo>
                <a:lnTo>
                  <a:pt x="584" y="122"/>
                </a:lnTo>
                <a:lnTo>
                  <a:pt x="581" y="122"/>
                </a:lnTo>
                <a:lnTo>
                  <a:pt x="578" y="129"/>
                </a:lnTo>
                <a:lnTo>
                  <a:pt x="572" y="132"/>
                </a:lnTo>
                <a:lnTo>
                  <a:pt x="569" y="135"/>
                </a:lnTo>
                <a:lnTo>
                  <a:pt x="566" y="132"/>
                </a:lnTo>
                <a:lnTo>
                  <a:pt x="566" y="132"/>
                </a:lnTo>
                <a:lnTo>
                  <a:pt x="566" y="135"/>
                </a:lnTo>
                <a:lnTo>
                  <a:pt x="562" y="138"/>
                </a:lnTo>
                <a:lnTo>
                  <a:pt x="559" y="138"/>
                </a:lnTo>
                <a:lnTo>
                  <a:pt x="559" y="138"/>
                </a:lnTo>
                <a:lnTo>
                  <a:pt x="556" y="141"/>
                </a:lnTo>
                <a:lnTo>
                  <a:pt x="553" y="144"/>
                </a:lnTo>
                <a:lnTo>
                  <a:pt x="553" y="151"/>
                </a:lnTo>
                <a:lnTo>
                  <a:pt x="553" y="154"/>
                </a:lnTo>
                <a:lnTo>
                  <a:pt x="550" y="157"/>
                </a:lnTo>
                <a:lnTo>
                  <a:pt x="547" y="160"/>
                </a:lnTo>
                <a:lnTo>
                  <a:pt x="537" y="166"/>
                </a:lnTo>
                <a:lnTo>
                  <a:pt x="534" y="166"/>
                </a:lnTo>
                <a:lnTo>
                  <a:pt x="528" y="163"/>
                </a:lnTo>
                <a:lnTo>
                  <a:pt x="525" y="166"/>
                </a:lnTo>
                <a:lnTo>
                  <a:pt x="522" y="172"/>
                </a:lnTo>
                <a:lnTo>
                  <a:pt x="519" y="176"/>
                </a:lnTo>
                <a:lnTo>
                  <a:pt x="516" y="179"/>
                </a:lnTo>
                <a:lnTo>
                  <a:pt x="512" y="182"/>
                </a:lnTo>
                <a:lnTo>
                  <a:pt x="509" y="185"/>
                </a:lnTo>
                <a:lnTo>
                  <a:pt x="509" y="185"/>
                </a:lnTo>
                <a:lnTo>
                  <a:pt x="503" y="185"/>
                </a:lnTo>
                <a:lnTo>
                  <a:pt x="500" y="182"/>
                </a:lnTo>
                <a:lnTo>
                  <a:pt x="494" y="182"/>
                </a:lnTo>
                <a:lnTo>
                  <a:pt x="487" y="176"/>
                </a:lnTo>
                <a:lnTo>
                  <a:pt x="484" y="176"/>
                </a:lnTo>
                <a:lnTo>
                  <a:pt x="475" y="179"/>
                </a:lnTo>
                <a:lnTo>
                  <a:pt x="472" y="182"/>
                </a:lnTo>
                <a:lnTo>
                  <a:pt x="469" y="185"/>
                </a:lnTo>
                <a:lnTo>
                  <a:pt x="469" y="194"/>
                </a:lnTo>
                <a:lnTo>
                  <a:pt x="469" y="197"/>
                </a:lnTo>
                <a:lnTo>
                  <a:pt x="469" y="201"/>
                </a:lnTo>
                <a:lnTo>
                  <a:pt x="478" y="207"/>
                </a:lnTo>
                <a:lnTo>
                  <a:pt x="484" y="213"/>
                </a:lnTo>
                <a:lnTo>
                  <a:pt x="484" y="213"/>
                </a:lnTo>
                <a:lnTo>
                  <a:pt x="484" y="219"/>
                </a:lnTo>
                <a:lnTo>
                  <a:pt x="481" y="223"/>
                </a:lnTo>
                <a:lnTo>
                  <a:pt x="472" y="232"/>
                </a:lnTo>
                <a:lnTo>
                  <a:pt x="469" y="241"/>
                </a:lnTo>
                <a:lnTo>
                  <a:pt x="466" y="248"/>
                </a:lnTo>
                <a:lnTo>
                  <a:pt x="462" y="248"/>
                </a:lnTo>
                <a:lnTo>
                  <a:pt x="456" y="248"/>
                </a:lnTo>
                <a:lnTo>
                  <a:pt x="450" y="248"/>
                </a:lnTo>
                <a:lnTo>
                  <a:pt x="444" y="254"/>
                </a:lnTo>
                <a:lnTo>
                  <a:pt x="441" y="257"/>
                </a:lnTo>
                <a:lnTo>
                  <a:pt x="434" y="257"/>
                </a:lnTo>
                <a:lnTo>
                  <a:pt x="425" y="257"/>
                </a:lnTo>
                <a:lnTo>
                  <a:pt x="422" y="260"/>
                </a:lnTo>
                <a:lnTo>
                  <a:pt x="416" y="260"/>
                </a:lnTo>
                <a:lnTo>
                  <a:pt x="400" y="266"/>
                </a:lnTo>
                <a:lnTo>
                  <a:pt x="391" y="269"/>
                </a:lnTo>
                <a:lnTo>
                  <a:pt x="384" y="276"/>
                </a:lnTo>
                <a:lnTo>
                  <a:pt x="375" y="282"/>
                </a:lnTo>
                <a:lnTo>
                  <a:pt x="372" y="285"/>
                </a:lnTo>
                <a:lnTo>
                  <a:pt x="369" y="285"/>
                </a:lnTo>
                <a:lnTo>
                  <a:pt x="362" y="285"/>
                </a:lnTo>
                <a:lnTo>
                  <a:pt x="362" y="282"/>
                </a:lnTo>
                <a:lnTo>
                  <a:pt x="359" y="279"/>
                </a:lnTo>
                <a:lnTo>
                  <a:pt x="353" y="282"/>
                </a:lnTo>
                <a:lnTo>
                  <a:pt x="347" y="282"/>
                </a:lnTo>
                <a:lnTo>
                  <a:pt x="337" y="279"/>
                </a:lnTo>
                <a:lnTo>
                  <a:pt x="334" y="279"/>
                </a:lnTo>
                <a:lnTo>
                  <a:pt x="322" y="273"/>
                </a:lnTo>
                <a:lnTo>
                  <a:pt x="309" y="269"/>
                </a:lnTo>
                <a:lnTo>
                  <a:pt x="303" y="263"/>
                </a:lnTo>
                <a:lnTo>
                  <a:pt x="297" y="260"/>
                </a:lnTo>
                <a:lnTo>
                  <a:pt x="281" y="260"/>
                </a:lnTo>
                <a:lnTo>
                  <a:pt x="272" y="260"/>
                </a:lnTo>
                <a:lnTo>
                  <a:pt x="269" y="260"/>
                </a:lnTo>
                <a:lnTo>
                  <a:pt x="265" y="260"/>
                </a:lnTo>
                <a:lnTo>
                  <a:pt x="262" y="263"/>
                </a:lnTo>
                <a:lnTo>
                  <a:pt x="256" y="266"/>
                </a:lnTo>
                <a:lnTo>
                  <a:pt x="247" y="266"/>
                </a:lnTo>
                <a:lnTo>
                  <a:pt x="231" y="266"/>
                </a:lnTo>
                <a:lnTo>
                  <a:pt x="219" y="266"/>
                </a:lnTo>
                <a:lnTo>
                  <a:pt x="212" y="266"/>
                </a:lnTo>
                <a:lnTo>
                  <a:pt x="203" y="266"/>
                </a:lnTo>
                <a:lnTo>
                  <a:pt x="200" y="266"/>
                </a:lnTo>
                <a:lnTo>
                  <a:pt x="197" y="266"/>
                </a:lnTo>
                <a:lnTo>
                  <a:pt x="190" y="257"/>
                </a:lnTo>
                <a:lnTo>
                  <a:pt x="190" y="254"/>
                </a:lnTo>
                <a:lnTo>
                  <a:pt x="184" y="248"/>
                </a:lnTo>
                <a:lnTo>
                  <a:pt x="181" y="241"/>
                </a:lnTo>
                <a:lnTo>
                  <a:pt x="181" y="238"/>
                </a:lnTo>
                <a:lnTo>
                  <a:pt x="181" y="235"/>
                </a:lnTo>
                <a:lnTo>
                  <a:pt x="178" y="232"/>
                </a:lnTo>
                <a:lnTo>
                  <a:pt x="175" y="229"/>
                </a:lnTo>
                <a:lnTo>
                  <a:pt x="172" y="229"/>
                </a:lnTo>
                <a:lnTo>
                  <a:pt x="172" y="229"/>
                </a:lnTo>
                <a:lnTo>
                  <a:pt x="172" y="226"/>
                </a:lnTo>
                <a:lnTo>
                  <a:pt x="169" y="223"/>
                </a:lnTo>
                <a:lnTo>
                  <a:pt x="169" y="226"/>
                </a:lnTo>
                <a:lnTo>
                  <a:pt x="162" y="223"/>
                </a:lnTo>
                <a:lnTo>
                  <a:pt x="156" y="223"/>
                </a:lnTo>
                <a:lnTo>
                  <a:pt x="150" y="216"/>
                </a:lnTo>
                <a:lnTo>
                  <a:pt x="147" y="216"/>
                </a:lnTo>
                <a:lnTo>
                  <a:pt x="147" y="216"/>
                </a:lnTo>
                <a:lnTo>
                  <a:pt x="144" y="216"/>
                </a:lnTo>
                <a:lnTo>
                  <a:pt x="140" y="213"/>
                </a:lnTo>
                <a:lnTo>
                  <a:pt x="134" y="210"/>
                </a:lnTo>
                <a:lnTo>
                  <a:pt x="122" y="207"/>
                </a:lnTo>
                <a:lnTo>
                  <a:pt x="119" y="207"/>
                </a:lnTo>
                <a:lnTo>
                  <a:pt x="119" y="207"/>
                </a:lnTo>
                <a:lnTo>
                  <a:pt x="112" y="207"/>
                </a:lnTo>
                <a:lnTo>
                  <a:pt x="103" y="207"/>
                </a:lnTo>
                <a:lnTo>
                  <a:pt x="84" y="204"/>
                </a:lnTo>
                <a:lnTo>
                  <a:pt x="81" y="201"/>
                </a:lnTo>
                <a:lnTo>
                  <a:pt x="78" y="194"/>
                </a:lnTo>
                <a:lnTo>
                  <a:pt x="75" y="191"/>
                </a:lnTo>
                <a:lnTo>
                  <a:pt x="75" y="188"/>
                </a:lnTo>
                <a:lnTo>
                  <a:pt x="78" y="188"/>
                </a:lnTo>
                <a:lnTo>
                  <a:pt x="81" y="185"/>
                </a:lnTo>
                <a:lnTo>
                  <a:pt x="81" y="182"/>
                </a:lnTo>
                <a:lnTo>
                  <a:pt x="78" y="179"/>
                </a:lnTo>
                <a:lnTo>
                  <a:pt x="78" y="172"/>
                </a:lnTo>
                <a:lnTo>
                  <a:pt x="78" y="172"/>
                </a:lnTo>
                <a:lnTo>
                  <a:pt x="78" y="166"/>
                </a:lnTo>
                <a:lnTo>
                  <a:pt x="78" y="163"/>
                </a:lnTo>
                <a:lnTo>
                  <a:pt x="75" y="160"/>
                </a:lnTo>
                <a:lnTo>
                  <a:pt x="72" y="160"/>
                </a:lnTo>
                <a:lnTo>
                  <a:pt x="69" y="157"/>
                </a:lnTo>
                <a:lnTo>
                  <a:pt x="69" y="154"/>
                </a:lnTo>
                <a:lnTo>
                  <a:pt x="65" y="151"/>
                </a:lnTo>
                <a:lnTo>
                  <a:pt x="62" y="147"/>
                </a:lnTo>
                <a:lnTo>
                  <a:pt x="62" y="144"/>
                </a:lnTo>
                <a:lnTo>
                  <a:pt x="62" y="141"/>
                </a:lnTo>
                <a:lnTo>
                  <a:pt x="59" y="138"/>
                </a:lnTo>
                <a:lnTo>
                  <a:pt x="56" y="138"/>
                </a:lnTo>
                <a:lnTo>
                  <a:pt x="53" y="135"/>
                </a:lnTo>
                <a:lnTo>
                  <a:pt x="50" y="135"/>
                </a:lnTo>
                <a:lnTo>
                  <a:pt x="47" y="135"/>
                </a:lnTo>
                <a:lnTo>
                  <a:pt x="47" y="135"/>
                </a:lnTo>
                <a:lnTo>
                  <a:pt x="44" y="135"/>
                </a:lnTo>
                <a:lnTo>
                  <a:pt x="40" y="135"/>
                </a:lnTo>
                <a:lnTo>
                  <a:pt x="37" y="132"/>
                </a:lnTo>
                <a:lnTo>
                  <a:pt x="37" y="132"/>
                </a:lnTo>
                <a:lnTo>
                  <a:pt x="34" y="132"/>
                </a:lnTo>
                <a:lnTo>
                  <a:pt x="31" y="132"/>
                </a:lnTo>
                <a:lnTo>
                  <a:pt x="28" y="135"/>
                </a:lnTo>
                <a:lnTo>
                  <a:pt x="28" y="135"/>
                </a:lnTo>
                <a:lnTo>
                  <a:pt x="25" y="135"/>
                </a:lnTo>
                <a:lnTo>
                  <a:pt x="22" y="135"/>
                </a:lnTo>
                <a:lnTo>
                  <a:pt x="22" y="132"/>
                </a:lnTo>
                <a:lnTo>
                  <a:pt x="22" y="129"/>
                </a:lnTo>
                <a:lnTo>
                  <a:pt x="19" y="126"/>
                </a:lnTo>
                <a:lnTo>
                  <a:pt x="15" y="122"/>
                </a:lnTo>
                <a:lnTo>
                  <a:pt x="12" y="119"/>
                </a:lnTo>
                <a:lnTo>
                  <a:pt x="9" y="119"/>
                </a:lnTo>
                <a:lnTo>
                  <a:pt x="6" y="116"/>
                </a:lnTo>
                <a:lnTo>
                  <a:pt x="6" y="116"/>
                </a:lnTo>
                <a:lnTo>
                  <a:pt x="6" y="113"/>
                </a:lnTo>
                <a:lnTo>
                  <a:pt x="6" y="110"/>
                </a:lnTo>
                <a:lnTo>
                  <a:pt x="3" y="110"/>
                </a:lnTo>
                <a:lnTo>
                  <a:pt x="3" y="113"/>
                </a:lnTo>
                <a:lnTo>
                  <a:pt x="3" y="113"/>
                </a:lnTo>
                <a:lnTo>
                  <a:pt x="0" y="110"/>
                </a:lnTo>
                <a:lnTo>
                  <a:pt x="0" y="110"/>
                </a:lnTo>
                <a:lnTo>
                  <a:pt x="0" y="104"/>
                </a:lnTo>
                <a:lnTo>
                  <a:pt x="0" y="101"/>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9" name="Freeform 17">
            <a:extLst>
              <a:ext uri="{FF2B5EF4-FFF2-40B4-BE49-F238E27FC236}">
                <a16:creationId xmlns:a16="http://schemas.microsoft.com/office/drawing/2014/main" id="{901CD47E-EA6B-CF8B-C0BA-89229097B9FE}"/>
              </a:ext>
            </a:extLst>
          </p:cNvPr>
          <p:cNvSpPr>
            <a:spLocks/>
          </p:cNvSpPr>
          <p:nvPr userDrawn="1"/>
        </p:nvSpPr>
        <p:spPr bwMode="auto">
          <a:xfrm>
            <a:off x="15820000" y="5333287"/>
            <a:ext cx="2358872" cy="1250950"/>
          </a:xfrm>
          <a:custGeom>
            <a:avLst/>
            <a:gdLst>
              <a:gd name="T0" fmla="*/ 18 w 743"/>
              <a:gd name="T1" fmla="*/ 229 h 394"/>
              <a:gd name="T2" fmla="*/ 0 w 743"/>
              <a:gd name="T3" fmla="*/ 185 h 394"/>
              <a:gd name="T4" fmla="*/ 34 w 743"/>
              <a:gd name="T5" fmla="*/ 175 h 394"/>
              <a:gd name="T6" fmla="*/ 53 w 743"/>
              <a:gd name="T7" fmla="*/ 141 h 394"/>
              <a:gd name="T8" fmla="*/ 71 w 743"/>
              <a:gd name="T9" fmla="*/ 135 h 394"/>
              <a:gd name="T10" fmla="*/ 84 w 743"/>
              <a:gd name="T11" fmla="*/ 132 h 394"/>
              <a:gd name="T12" fmla="*/ 118 w 743"/>
              <a:gd name="T13" fmla="*/ 141 h 394"/>
              <a:gd name="T14" fmla="*/ 140 w 743"/>
              <a:gd name="T15" fmla="*/ 150 h 394"/>
              <a:gd name="T16" fmla="*/ 168 w 743"/>
              <a:gd name="T17" fmla="*/ 141 h 394"/>
              <a:gd name="T18" fmla="*/ 196 w 743"/>
              <a:gd name="T19" fmla="*/ 141 h 394"/>
              <a:gd name="T20" fmla="*/ 215 w 743"/>
              <a:gd name="T21" fmla="*/ 150 h 394"/>
              <a:gd name="T22" fmla="*/ 250 w 743"/>
              <a:gd name="T23" fmla="*/ 150 h 394"/>
              <a:gd name="T24" fmla="*/ 237 w 743"/>
              <a:gd name="T25" fmla="*/ 119 h 394"/>
              <a:gd name="T26" fmla="*/ 237 w 743"/>
              <a:gd name="T27" fmla="*/ 100 h 394"/>
              <a:gd name="T28" fmla="*/ 250 w 743"/>
              <a:gd name="T29" fmla="*/ 75 h 394"/>
              <a:gd name="T30" fmla="*/ 237 w 743"/>
              <a:gd name="T31" fmla="*/ 66 h 394"/>
              <a:gd name="T32" fmla="*/ 250 w 743"/>
              <a:gd name="T33" fmla="*/ 57 h 394"/>
              <a:gd name="T34" fmla="*/ 271 w 743"/>
              <a:gd name="T35" fmla="*/ 50 h 394"/>
              <a:gd name="T36" fmla="*/ 306 w 743"/>
              <a:gd name="T37" fmla="*/ 41 h 394"/>
              <a:gd name="T38" fmla="*/ 328 w 743"/>
              <a:gd name="T39" fmla="*/ 28 h 394"/>
              <a:gd name="T40" fmla="*/ 359 w 743"/>
              <a:gd name="T41" fmla="*/ 13 h 394"/>
              <a:gd name="T42" fmla="*/ 384 w 743"/>
              <a:gd name="T43" fmla="*/ 3 h 394"/>
              <a:gd name="T44" fmla="*/ 412 w 743"/>
              <a:gd name="T45" fmla="*/ 19 h 394"/>
              <a:gd name="T46" fmla="*/ 418 w 743"/>
              <a:gd name="T47" fmla="*/ 35 h 394"/>
              <a:gd name="T48" fmla="*/ 437 w 743"/>
              <a:gd name="T49" fmla="*/ 32 h 394"/>
              <a:gd name="T50" fmla="*/ 456 w 743"/>
              <a:gd name="T51" fmla="*/ 38 h 394"/>
              <a:gd name="T52" fmla="*/ 468 w 743"/>
              <a:gd name="T53" fmla="*/ 47 h 394"/>
              <a:gd name="T54" fmla="*/ 497 w 743"/>
              <a:gd name="T55" fmla="*/ 35 h 394"/>
              <a:gd name="T56" fmla="*/ 515 w 743"/>
              <a:gd name="T57" fmla="*/ 28 h 394"/>
              <a:gd name="T58" fmla="*/ 606 w 743"/>
              <a:gd name="T59" fmla="*/ 110 h 394"/>
              <a:gd name="T60" fmla="*/ 631 w 743"/>
              <a:gd name="T61" fmla="*/ 116 h 394"/>
              <a:gd name="T62" fmla="*/ 662 w 743"/>
              <a:gd name="T63" fmla="*/ 110 h 394"/>
              <a:gd name="T64" fmla="*/ 693 w 743"/>
              <a:gd name="T65" fmla="*/ 132 h 394"/>
              <a:gd name="T66" fmla="*/ 706 w 743"/>
              <a:gd name="T67" fmla="*/ 147 h 394"/>
              <a:gd name="T68" fmla="*/ 731 w 743"/>
              <a:gd name="T69" fmla="*/ 147 h 394"/>
              <a:gd name="T70" fmla="*/ 734 w 743"/>
              <a:gd name="T71" fmla="*/ 169 h 394"/>
              <a:gd name="T72" fmla="*/ 725 w 743"/>
              <a:gd name="T73" fmla="*/ 213 h 394"/>
              <a:gd name="T74" fmla="*/ 687 w 743"/>
              <a:gd name="T75" fmla="*/ 216 h 394"/>
              <a:gd name="T76" fmla="*/ 675 w 743"/>
              <a:gd name="T77" fmla="*/ 260 h 394"/>
              <a:gd name="T78" fmla="*/ 659 w 743"/>
              <a:gd name="T79" fmla="*/ 269 h 394"/>
              <a:gd name="T80" fmla="*/ 643 w 743"/>
              <a:gd name="T81" fmla="*/ 282 h 394"/>
              <a:gd name="T82" fmla="*/ 653 w 743"/>
              <a:gd name="T83" fmla="*/ 313 h 394"/>
              <a:gd name="T84" fmla="*/ 653 w 743"/>
              <a:gd name="T85" fmla="*/ 344 h 394"/>
              <a:gd name="T86" fmla="*/ 584 w 743"/>
              <a:gd name="T87" fmla="*/ 332 h 394"/>
              <a:gd name="T88" fmla="*/ 534 w 743"/>
              <a:gd name="T89" fmla="*/ 332 h 394"/>
              <a:gd name="T90" fmla="*/ 493 w 743"/>
              <a:gd name="T91" fmla="*/ 344 h 394"/>
              <a:gd name="T92" fmla="*/ 468 w 743"/>
              <a:gd name="T93" fmla="*/ 360 h 394"/>
              <a:gd name="T94" fmla="*/ 421 w 743"/>
              <a:gd name="T95" fmla="*/ 385 h 394"/>
              <a:gd name="T96" fmla="*/ 331 w 743"/>
              <a:gd name="T97" fmla="*/ 322 h 394"/>
              <a:gd name="T98" fmla="*/ 181 w 743"/>
              <a:gd name="T99" fmla="*/ 379 h 394"/>
              <a:gd name="T100" fmla="*/ 134 w 743"/>
              <a:gd name="T101" fmla="*/ 360 h 394"/>
              <a:gd name="T102" fmla="*/ 115 w 743"/>
              <a:gd name="T103" fmla="*/ 351 h 394"/>
              <a:gd name="T104" fmla="*/ 100 w 743"/>
              <a:gd name="T105" fmla="*/ 332 h 394"/>
              <a:gd name="T106" fmla="*/ 84 w 743"/>
              <a:gd name="T107" fmla="*/ 313 h 394"/>
              <a:gd name="T108" fmla="*/ 106 w 743"/>
              <a:gd name="T109" fmla="*/ 313 h 394"/>
              <a:gd name="T110" fmla="*/ 100 w 743"/>
              <a:gd name="T111" fmla="*/ 297 h 394"/>
              <a:gd name="T112" fmla="*/ 125 w 743"/>
              <a:gd name="T113" fmla="*/ 291 h 394"/>
              <a:gd name="T114" fmla="*/ 131 w 743"/>
              <a:gd name="T115" fmla="*/ 279 h 394"/>
              <a:gd name="T116" fmla="*/ 128 w 743"/>
              <a:gd name="T117" fmla="*/ 257 h 394"/>
              <a:gd name="T118" fmla="*/ 109 w 743"/>
              <a:gd name="T119" fmla="*/ 254 h 394"/>
              <a:gd name="T120" fmla="*/ 96 w 743"/>
              <a:gd name="T121" fmla="*/ 250 h 394"/>
              <a:gd name="T122" fmla="*/ 78 w 743"/>
              <a:gd name="T123" fmla="*/ 254 h 394"/>
              <a:gd name="T124" fmla="*/ 62 w 743"/>
              <a:gd name="T125" fmla="*/ 263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3" h="394">
                <a:moveTo>
                  <a:pt x="56" y="263"/>
                </a:moveTo>
                <a:lnTo>
                  <a:pt x="50" y="260"/>
                </a:lnTo>
                <a:lnTo>
                  <a:pt x="46" y="263"/>
                </a:lnTo>
                <a:lnTo>
                  <a:pt x="40" y="257"/>
                </a:lnTo>
                <a:lnTo>
                  <a:pt x="40" y="254"/>
                </a:lnTo>
                <a:lnTo>
                  <a:pt x="46" y="254"/>
                </a:lnTo>
                <a:lnTo>
                  <a:pt x="40" y="241"/>
                </a:lnTo>
                <a:lnTo>
                  <a:pt x="31" y="232"/>
                </a:lnTo>
                <a:lnTo>
                  <a:pt x="18" y="229"/>
                </a:lnTo>
                <a:lnTo>
                  <a:pt x="15" y="232"/>
                </a:lnTo>
                <a:lnTo>
                  <a:pt x="9" y="225"/>
                </a:lnTo>
                <a:lnTo>
                  <a:pt x="9" y="225"/>
                </a:lnTo>
                <a:lnTo>
                  <a:pt x="6" y="219"/>
                </a:lnTo>
                <a:lnTo>
                  <a:pt x="0" y="216"/>
                </a:lnTo>
                <a:lnTo>
                  <a:pt x="3" y="210"/>
                </a:lnTo>
                <a:lnTo>
                  <a:pt x="3" y="197"/>
                </a:lnTo>
                <a:lnTo>
                  <a:pt x="0" y="194"/>
                </a:lnTo>
                <a:lnTo>
                  <a:pt x="0" y="185"/>
                </a:lnTo>
                <a:lnTo>
                  <a:pt x="3" y="182"/>
                </a:lnTo>
                <a:lnTo>
                  <a:pt x="9" y="175"/>
                </a:lnTo>
                <a:lnTo>
                  <a:pt x="9" y="169"/>
                </a:lnTo>
                <a:lnTo>
                  <a:pt x="12" y="166"/>
                </a:lnTo>
                <a:lnTo>
                  <a:pt x="21" y="175"/>
                </a:lnTo>
                <a:lnTo>
                  <a:pt x="25" y="179"/>
                </a:lnTo>
                <a:lnTo>
                  <a:pt x="28" y="185"/>
                </a:lnTo>
                <a:lnTo>
                  <a:pt x="34" y="182"/>
                </a:lnTo>
                <a:lnTo>
                  <a:pt x="34" y="175"/>
                </a:lnTo>
                <a:lnTo>
                  <a:pt x="37" y="175"/>
                </a:lnTo>
                <a:lnTo>
                  <a:pt x="34" y="160"/>
                </a:lnTo>
                <a:lnTo>
                  <a:pt x="37" y="160"/>
                </a:lnTo>
                <a:lnTo>
                  <a:pt x="43" y="160"/>
                </a:lnTo>
                <a:lnTo>
                  <a:pt x="43" y="154"/>
                </a:lnTo>
                <a:lnTo>
                  <a:pt x="43" y="150"/>
                </a:lnTo>
                <a:lnTo>
                  <a:pt x="43" y="147"/>
                </a:lnTo>
                <a:lnTo>
                  <a:pt x="50" y="141"/>
                </a:lnTo>
                <a:lnTo>
                  <a:pt x="53" y="141"/>
                </a:lnTo>
                <a:lnTo>
                  <a:pt x="53" y="138"/>
                </a:lnTo>
                <a:lnTo>
                  <a:pt x="56" y="135"/>
                </a:lnTo>
                <a:lnTo>
                  <a:pt x="62" y="135"/>
                </a:lnTo>
                <a:lnTo>
                  <a:pt x="62" y="132"/>
                </a:lnTo>
                <a:lnTo>
                  <a:pt x="59" y="128"/>
                </a:lnTo>
                <a:lnTo>
                  <a:pt x="62" y="125"/>
                </a:lnTo>
                <a:lnTo>
                  <a:pt x="68" y="128"/>
                </a:lnTo>
                <a:lnTo>
                  <a:pt x="71" y="132"/>
                </a:lnTo>
                <a:lnTo>
                  <a:pt x="71" y="135"/>
                </a:lnTo>
                <a:lnTo>
                  <a:pt x="68" y="138"/>
                </a:lnTo>
                <a:lnTo>
                  <a:pt x="71" y="138"/>
                </a:lnTo>
                <a:lnTo>
                  <a:pt x="75" y="138"/>
                </a:lnTo>
                <a:lnTo>
                  <a:pt x="75" y="135"/>
                </a:lnTo>
                <a:lnTo>
                  <a:pt x="78" y="132"/>
                </a:lnTo>
                <a:lnTo>
                  <a:pt x="78" y="135"/>
                </a:lnTo>
                <a:lnTo>
                  <a:pt x="81" y="132"/>
                </a:lnTo>
                <a:lnTo>
                  <a:pt x="81" y="132"/>
                </a:lnTo>
                <a:lnTo>
                  <a:pt x="84" y="132"/>
                </a:lnTo>
                <a:lnTo>
                  <a:pt x="90" y="128"/>
                </a:lnTo>
                <a:lnTo>
                  <a:pt x="93" y="128"/>
                </a:lnTo>
                <a:lnTo>
                  <a:pt x="93" y="132"/>
                </a:lnTo>
                <a:lnTo>
                  <a:pt x="100" y="135"/>
                </a:lnTo>
                <a:lnTo>
                  <a:pt x="106" y="135"/>
                </a:lnTo>
                <a:lnTo>
                  <a:pt x="109" y="135"/>
                </a:lnTo>
                <a:lnTo>
                  <a:pt x="112" y="138"/>
                </a:lnTo>
                <a:lnTo>
                  <a:pt x="112" y="138"/>
                </a:lnTo>
                <a:lnTo>
                  <a:pt x="118" y="141"/>
                </a:lnTo>
                <a:lnTo>
                  <a:pt x="121" y="141"/>
                </a:lnTo>
                <a:lnTo>
                  <a:pt x="125" y="144"/>
                </a:lnTo>
                <a:lnTo>
                  <a:pt x="131" y="150"/>
                </a:lnTo>
                <a:lnTo>
                  <a:pt x="134" y="150"/>
                </a:lnTo>
                <a:lnTo>
                  <a:pt x="134" y="154"/>
                </a:lnTo>
                <a:lnTo>
                  <a:pt x="134" y="157"/>
                </a:lnTo>
                <a:lnTo>
                  <a:pt x="137" y="157"/>
                </a:lnTo>
                <a:lnTo>
                  <a:pt x="140" y="154"/>
                </a:lnTo>
                <a:lnTo>
                  <a:pt x="140" y="150"/>
                </a:lnTo>
                <a:lnTo>
                  <a:pt x="143" y="147"/>
                </a:lnTo>
                <a:lnTo>
                  <a:pt x="146" y="150"/>
                </a:lnTo>
                <a:lnTo>
                  <a:pt x="153" y="150"/>
                </a:lnTo>
                <a:lnTo>
                  <a:pt x="156" y="157"/>
                </a:lnTo>
                <a:lnTo>
                  <a:pt x="159" y="157"/>
                </a:lnTo>
                <a:lnTo>
                  <a:pt x="165" y="154"/>
                </a:lnTo>
                <a:lnTo>
                  <a:pt x="165" y="147"/>
                </a:lnTo>
                <a:lnTo>
                  <a:pt x="168" y="144"/>
                </a:lnTo>
                <a:lnTo>
                  <a:pt x="168" y="141"/>
                </a:lnTo>
                <a:lnTo>
                  <a:pt x="171" y="141"/>
                </a:lnTo>
                <a:lnTo>
                  <a:pt x="175" y="144"/>
                </a:lnTo>
                <a:lnTo>
                  <a:pt x="175" y="141"/>
                </a:lnTo>
                <a:lnTo>
                  <a:pt x="181" y="141"/>
                </a:lnTo>
                <a:lnTo>
                  <a:pt x="187" y="144"/>
                </a:lnTo>
                <a:lnTo>
                  <a:pt x="187" y="147"/>
                </a:lnTo>
                <a:lnTo>
                  <a:pt x="193" y="147"/>
                </a:lnTo>
                <a:lnTo>
                  <a:pt x="193" y="141"/>
                </a:lnTo>
                <a:lnTo>
                  <a:pt x="196" y="141"/>
                </a:lnTo>
                <a:lnTo>
                  <a:pt x="200" y="141"/>
                </a:lnTo>
                <a:lnTo>
                  <a:pt x="203" y="138"/>
                </a:lnTo>
                <a:lnTo>
                  <a:pt x="206" y="141"/>
                </a:lnTo>
                <a:lnTo>
                  <a:pt x="209" y="141"/>
                </a:lnTo>
                <a:lnTo>
                  <a:pt x="209" y="144"/>
                </a:lnTo>
                <a:lnTo>
                  <a:pt x="206" y="147"/>
                </a:lnTo>
                <a:lnTo>
                  <a:pt x="209" y="150"/>
                </a:lnTo>
                <a:lnTo>
                  <a:pt x="212" y="154"/>
                </a:lnTo>
                <a:lnTo>
                  <a:pt x="215" y="150"/>
                </a:lnTo>
                <a:lnTo>
                  <a:pt x="215" y="154"/>
                </a:lnTo>
                <a:lnTo>
                  <a:pt x="221" y="154"/>
                </a:lnTo>
                <a:lnTo>
                  <a:pt x="231" y="157"/>
                </a:lnTo>
                <a:lnTo>
                  <a:pt x="234" y="157"/>
                </a:lnTo>
                <a:lnTo>
                  <a:pt x="237" y="150"/>
                </a:lnTo>
                <a:lnTo>
                  <a:pt x="237" y="147"/>
                </a:lnTo>
                <a:lnTo>
                  <a:pt x="237" y="144"/>
                </a:lnTo>
                <a:lnTo>
                  <a:pt x="243" y="150"/>
                </a:lnTo>
                <a:lnTo>
                  <a:pt x="250" y="150"/>
                </a:lnTo>
                <a:lnTo>
                  <a:pt x="256" y="147"/>
                </a:lnTo>
                <a:lnTo>
                  <a:pt x="259" y="144"/>
                </a:lnTo>
                <a:lnTo>
                  <a:pt x="256" y="128"/>
                </a:lnTo>
                <a:lnTo>
                  <a:pt x="256" y="128"/>
                </a:lnTo>
                <a:lnTo>
                  <a:pt x="250" y="128"/>
                </a:lnTo>
                <a:lnTo>
                  <a:pt x="246" y="125"/>
                </a:lnTo>
                <a:lnTo>
                  <a:pt x="246" y="122"/>
                </a:lnTo>
                <a:lnTo>
                  <a:pt x="240" y="122"/>
                </a:lnTo>
                <a:lnTo>
                  <a:pt x="237" y="119"/>
                </a:lnTo>
                <a:lnTo>
                  <a:pt x="234" y="119"/>
                </a:lnTo>
                <a:lnTo>
                  <a:pt x="234" y="116"/>
                </a:lnTo>
                <a:lnTo>
                  <a:pt x="231" y="113"/>
                </a:lnTo>
                <a:lnTo>
                  <a:pt x="231" y="113"/>
                </a:lnTo>
                <a:lnTo>
                  <a:pt x="237" y="113"/>
                </a:lnTo>
                <a:lnTo>
                  <a:pt x="237" y="107"/>
                </a:lnTo>
                <a:lnTo>
                  <a:pt x="240" y="103"/>
                </a:lnTo>
                <a:lnTo>
                  <a:pt x="237" y="100"/>
                </a:lnTo>
                <a:lnTo>
                  <a:pt x="237" y="100"/>
                </a:lnTo>
                <a:lnTo>
                  <a:pt x="234" y="94"/>
                </a:lnTo>
                <a:lnTo>
                  <a:pt x="240" y="88"/>
                </a:lnTo>
                <a:lnTo>
                  <a:pt x="243" y="85"/>
                </a:lnTo>
                <a:lnTo>
                  <a:pt x="253" y="85"/>
                </a:lnTo>
                <a:lnTo>
                  <a:pt x="256" y="85"/>
                </a:lnTo>
                <a:lnTo>
                  <a:pt x="259" y="82"/>
                </a:lnTo>
                <a:lnTo>
                  <a:pt x="259" y="78"/>
                </a:lnTo>
                <a:lnTo>
                  <a:pt x="253" y="78"/>
                </a:lnTo>
                <a:lnTo>
                  <a:pt x="250" y="75"/>
                </a:lnTo>
                <a:lnTo>
                  <a:pt x="250" y="75"/>
                </a:lnTo>
                <a:lnTo>
                  <a:pt x="246" y="75"/>
                </a:lnTo>
                <a:lnTo>
                  <a:pt x="240" y="75"/>
                </a:lnTo>
                <a:lnTo>
                  <a:pt x="237" y="75"/>
                </a:lnTo>
                <a:lnTo>
                  <a:pt x="237" y="72"/>
                </a:lnTo>
                <a:lnTo>
                  <a:pt x="237" y="72"/>
                </a:lnTo>
                <a:lnTo>
                  <a:pt x="243" y="69"/>
                </a:lnTo>
                <a:lnTo>
                  <a:pt x="240" y="66"/>
                </a:lnTo>
                <a:lnTo>
                  <a:pt x="237" y="66"/>
                </a:lnTo>
                <a:lnTo>
                  <a:pt x="234" y="66"/>
                </a:lnTo>
                <a:lnTo>
                  <a:pt x="234" y="63"/>
                </a:lnTo>
                <a:lnTo>
                  <a:pt x="234" y="60"/>
                </a:lnTo>
                <a:lnTo>
                  <a:pt x="234" y="57"/>
                </a:lnTo>
                <a:lnTo>
                  <a:pt x="237" y="57"/>
                </a:lnTo>
                <a:lnTo>
                  <a:pt x="240" y="57"/>
                </a:lnTo>
                <a:lnTo>
                  <a:pt x="243" y="57"/>
                </a:lnTo>
                <a:lnTo>
                  <a:pt x="243" y="57"/>
                </a:lnTo>
                <a:lnTo>
                  <a:pt x="250" y="57"/>
                </a:lnTo>
                <a:lnTo>
                  <a:pt x="253" y="60"/>
                </a:lnTo>
                <a:lnTo>
                  <a:pt x="253" y="57"/>
                </a:lnTo>
                <a:lnTo>
                  <a:pt x="253" y="57"/>
                </a:lnTo>
                <a:lnTo>
                  <a:pt x="259" y="53"/>
                </a:lnTo>
                <a:lnTo>
                  <a:pt x="262" y="53"/>
                </a:lnTo>
                <a:lnTo>
                  <a:pt x="262" y="57"/>
                </a:lnTo>
                <a:lnTo>
                  <a:pt x="265" y="53"/>
                </a:lnTo>
                <a:lnTo>
                  <a:pt x="265" y="50"/>
                </a:lnTo>
                <a:lnTo>
                  <a:pt x="271" y="50"/>
                </a:lnTo>
                <a:lnTo>
                  <a:pt x="278" y="50"/>
                </a:lnTo>
                <a:lnTo>
                  <a:pt x="281" y="47"/>
                </a:lnTo>
                <a:lnTo>
                  <a:pt x="287" y="47"/>
                </a:lnTo>
                <a:lnTo>
                  <a:pt x="287" y="44"/>
                </a:lnTo>
                <a:lnTo>
                  <a:pt x="293" y="41"/>
                </a:lnTo>
                <a:lnTo>
                  <a:pt x="300" y="41"/>
                </a:lnTo>
                <a:lnTo>
                  <a:pt x="303" y="38"/>
                </a:lnTo>
                <a:lnTo>
                  <a:pt x="303" y="38"/>
                </a:lnTo>
                <a:lnTo>
                  <a:pt x="306" y="41"/>
                </a:lnTo>
                <a:lnTo>
                  <a:pt x="309" y="38"/>
                </a:lnTo>
                <a:lnTo>
                  <a:pt x="309" y="35"/>
                </a:lnTo>
                <a:lnTo>
                  <a:pt x="309" y="32"/>
                </a:lnTo>
                <a:lnTo>
                  <a:pt x="315" y="32"/>
                </a:lnTo>
                <a:lnTo>
                  <a:pt x="315" y="28"/>
                </a:lnTo>
                <a:lnTo>
                  <a:pt x="318" y="28"/>
                </a:lnTo>
                <a:lnTo>
                  <a:pt x="321" y="28"/>
                </a:lnTo>
                <a:lnTo>
                  <a:pt x="321" y="32"/>
                </a:lnTo>
                <a:lnTo>
                  <a:pt x="328" y="28"/>
                </a:lnTo>
                <a:lnTo>
                  <a:pt x="331" y="25"/>
                </a:lnTo>
                <a:lnTo>
                  <a:pt x="340" y="22"/>
                </a:lnTo>
                <a:lnTo>
                  <a:pt x="340" y="22"/>
                </a:lnTo>
                <a:lnTo>
                  <a:pt x="343" y="19"/>
                </a:lnTo>
                <a:lnTo>
                  <a:pt x="346" y="19"/>
                </a:lnTo>
                <a:lnTo>
                  <a:pt x="350" y="16"/>
                </a:lnTo>
                <a:lnTo>
                  <a:pt x="353" y="16"/>
                </a:lnTo>
                <a:lnTo>
                  <a:pt x="359" y="16"/>
                </a:lnTo>
                <a:lnTo>
                  <a:pt x="359" y="13"/>
                </a:lnTo>
                <a:lnTo>
                  <a:pt x="356" y="10"/>
                </a:lnTo>
                <a:lnTo>
                  <a:pt x="359" y="6"/>
                </a:lnTo>
                <a:lnTo>
                  <a:pt x="362" y="6"/>
                </a:lnTo>
                <a:lnTo>
                  <a:pt x="365" y="3"/>
                </a:lnTo>
                <a:lnTo>
                  <a:pt x="368" y="0"/>
                </a:lnTo>
                <a:lnTo>
                  <a:pt x="371" y="3"/>
                </a:lnTo>
                <a:lnTo>
                  <a:pt x="375" y="0"/>
                </a:lnTo>
                <a:lnTo>
                  <a:pt x="378" y="3"/>
                </a:lnTo>
                <a:lnTo>
                  <a:pt x="384" y="3"/>
                </a:lnTo>
                <a:lnTo>
                  <a:pt x="387" y="6"/>
                </a:lnTo>
                <a:lnTo>
                  <a:pt x="393" y="6"/>
                </a:lnTo>
                <a:lnTo>
                  <a:pt x="396" y="3"/>
                </a:lnTo>
                <a:lnTo>
                  <a:pt x="403" y="3"/>
                </a:lnTo>
                <a:lnTo>
                  <a:pt x="403" y="10"/>
                </a:lnTo>
                <a:lnTo>
                  <a:pt x="406" y="10"/>
                </a:lnTo>
                <a:lnTo>
                  <a:pt x="406" y="13"/>
                </a:lnTo>
                <a:lnTo>
                  <a:pt x="409" y="19"/>
                </a:lnTo>
                <a:lnTo>
                  <a:pt x="412" y="19"/>
                </a:lnTo>
                <a:lnTo>
                  <a:pt x="412" y="22"/>
                </a:lnTo>
                <a:lnTo>
                  <a:pt x="412" y="25"/>
                </a:lnTo>
                <a:lnTo>
                  <a:pt x="412" y="28"/>
                </a:lnTo>
                <a:lnTo>
                  <a:pt x="412" y="28"/>
                </a:lnTo>
                <a:lnTo>
                  <a:pt x="409" y="32"/>
                </a:lnTo>
                <a:lnTo>
                  <a:pt x="409" y="35"/>
                </a:lnTo>
                <a:lnTo>
                  <a:pt x="412" y="35"/>
                </a:lnTo>
                <a:lnTo>
                  <a:pt x="415" y="35"/>
                </a:lnTo>
                <a:lnTo>
                  <a:pt x="418" y="35"/>
                </a:lnTo>
                <a:lnTo>
                  <a:pt x="421" y="35"/>
                </a:lnTo>
                <a:lnTo>
                  <a:pt x="421" y="32"/>
                </a:lnTo>
                <a:lnTo>
                  <a:pt x="425" y="32"/>
                </a:lnTo>
                <a:lnTo>
                  <a:pt x="428" y="35"/>
                </a:lnTo>
                <a:lnTo>
                  <a:pt x="428" y="35"/>
                </a:lnTo>
                <a:lnTo>
                  <a:pt x="428" y="32"/>
                </a:lnTo>
                <a:lnTo>
                  <a:pt x="428" y="28"/>
                </a:lnTo>
                <a:lnTo>
                  <a:pt x="428" y="25"/>
                </a:lnTo>
                <a:lnTo>
                  <a:pt x="437" y="32"/>
                </a:lnTo>
                <a:lnTo>
                  <a:pt x="437" y="38"/>
                </a:lnTo>
                <a:lnTo>
                  <a:pt x="440" y="44"/>
                </a:lnTo>
                <a:lnTo>
                  <a:pt x="440" y="41"/>
                </a:lnTo>
                <a:lnTo>
                  <a:pt x="443" y="41"/>
                </a:lnTo>
                <a:lnTo>
                  <a:pt x="443" y="38"/>
                </a:lnTo>
                <a:lnTo>
                  <a:pt x="440" y="35"/>
                </a:lnTo>
                <a:lnTo>
                  <a:pt x="446" y="35"/>
                </a:lnTo>
                <a:lnTo>
                  <a:pt x="453" y="38"/>
                </a:lnTo>
                <a:lnTo>
                  <a:pt x="456" y="38"/>
                </a:lnTo>
                <a:lnTo>
                  <a:pt x="459" y="38"/>
                </a:lnTo>
                <a:lnTo>
                  <a:pt x="459" y="38"/>
                </a:lnTo>
                <a:lnTo>
                  <a:pt x="459" y="41"/>
                </a:lnTo>
                <a:lnTo>
                  <a:pt x="456" y="44"/>
                </a:lnTo>
                <a:lnTo>
                  <a:pt x="456" y="47"/>
                </a:lnTo>
                <a:lnTo>
                  <a:pt x="459" y="53"/>
                </a:lnTo>
                <a:lnTo>
                  <a:pt x="462" y="53"/>
                </a:lnTo>
                <a:lnTo>
                  <a:pt x="465" y="50"/>
                </a:lnTo>
                <a:lnTo>
                  <a:pt x="468" y="47"/>
                </a:lnTo>
                <a:lnTo>
                  <a:pt x="478" y="50"/>
                </a:lnTo>
                <a:lnTo>
                  <a:pt x="478" y="50"/>
                </a:lnTo>
                <a:lnTo>
                  <a:pt x="481" y="50"/>
                </a:lnTo>
                <a:lnTo>
                  <a:pt x="481" y="44"/>
                </a:lnTo>
                <a:lnTo>
                  <a:pt x="484" y="44"/>
                </a:lnTo>
                <a:lnTo>
                  <a:pt x="490" y="44"/>
                </a:lnTo>
                <a:lnTo>
                  <a:pt x="493" y="41"/>
                </a:lnTo>
                <a:lnTo>
                  <a:pt x="493" y="38"/>
                </a:lnTo>
                <a:lnTo>
                  <a:pt x="497" y="35"/>
                </a:lnTo>
                <a:lnTo>
                  <a:pt x="497" y="32"/>
                </a:lnTo>
                <a:lnTo>
                  <a:pt x="503" y="28"/>
                </a:lnTo>
                <a:lnTo>
                  <a:pt x="506" y="25"/>
                </a:lnTo>
                <a:lnTo>
                  <a:pt x="509" y="22"/>
                </a:lnTo>
                <a:lnTo>
                  <a:pt x="512" y="22"/>
                </a:lnTo>
                <a:lnTo>
                  <a:pt x="518" y="19"/>
                </a:lnTo>
                <a:lnTo>
                  <a:pt x="518" y="22"/>
                </a:lnTo>
                <a:lnTo>
                  <a:pt x="518" y="25"/>
                </a:lnTo>
                <a:lnTo>
                  <a:pt x="515" y="28"/>
                </a:lnTo>
                <a:lnTo>
                  <a:pt x="512" y="28"/>
                </a:lnTo>
                <a:lnTo>
                  <a:pt x="515" y="32"/>
                </a:lnTo>
                <a:lnTo>
                  <a:pt x="550" y="60"/>
                </a:lnTo>
                <a:lnTo>
                  <a:pt x="600" y="119"/>
                </a:lnTo>
                <a:lnTo>
                  <a:pt x="603" y="119"/>
                </a:lnTo>
                <a:lnTo>
                  <a:pt x="606" y="116"/>
                </a:lnTo>
                <a:lnTo>
                  <a:pt x="606" y="113"/>
                </a:lnTo>
                <a:lnTo>
                  <a:pt x="606" y="113"/>
                </a:lnTo>
                <a:lnTo>
                  <a:pt x="606" y="110"/>
                </a:lnTo>
                <a:lnTo>
                  <a:pt x="609" y="107"/>
                </a:lnTo>
                <a:lnTo>
                  <a:pt x="615" y="110"/>
                </a:lnTo>
                <a:lnTo>
                  <a:pt x="615" y="113"/>
                </a:lnTo>
                <a:lnTo>
                  <a:pt x="615" y="116"/>
                </a:lnTo>
                <a:lnTo>
                  <a:pt x="618" y="116"/>
                </a:lnTo>
                <a:lnTo>
                  <a:pt x="622" y="119"/>
                </a:lnTo>
                <a:lnTo>
                  <a:pt x="625" y="119"/>
                </a:lnTo>
                <a:lnTo>
                  <a:pt x="628" y="119"/>
                </a:lnTo>
                <a:lnTo>
                  <a:pt x="631" y="116"/>
                </a:lnTo>
                <a:lnTo>
                  <a:pt x="637" y="119"/>
                </a:lnTo>
                <a:lnTo>
                  <a:pt x="640" y="119"/>
                </a:lnTo>
                <a:lnTo>
                  <a:pt x="643" y="119"/>
                </a:lnTo>
                <a:lnTo>
                  <a:pt x="647" y="116"/>
                </a:lnTo>
                <a:lnTo>
                  <a:pt x="650" y="116"/>
                </a:lnTo>
                <a:lnTo>
                  <a:pt x="647" y="113"/>
                </a:lnTo>
                <a:lnTo>
                  <a:pt x="647" y="113"/>
                </a:lnTo>
                <a:lnTo>
                  <a:pt x="656" y="110"/>
                </a:lnTo>
                <a:lnTo>
                  <a:pt x="662" y="110"/>
                </a:lnTo>
                <a:lnTo>
                  <a:pt x="668" y="113"/>
                </a:lnTo>
                <a:lnTo>
                  <a:pt x="675" y="116"/>
                </a:lnTo>
                <a:lnTo>
                  <a:pt x="678" y="122"/>
                </a:lnTo>
                <a:lnTo>
                  <a:pt x="678" y="125"/>
                </a:lnTo>
                <a:lnTo>
                  <a:pt x="681" y="125"/>
                </a:lnTo>
                <a:lnTo>
                  <a:pt x="684" y="128"/>
                </a:lnTo>
                <a:lnTo>
                  <a:pt x="690" y="132"/>
                </a:lnTo>
                <a:lnTo>
                  <a:pt x="690" y="132"/>
                </a:lnTo>
                <a:lnTo>
                  <a:pt x="693" y="132"/>
                </a:lnTo>
                <a:lnTo>
                  <a:pt x="693" y="135"/>
                </a:lnTo>
                <a:lnTo>
                  <a:pt x="693" y="138"/>
                </a:lnTo>
                <a:lnTo>
                  <a:pt x="693" y="141"/>
                </a:lnTo>
                <a:lnTo>
                  <a:pt x="693" y="141"/>
                </a:lnTo>
                <a:lnTo>
                  <a:pt x="697" y="144"/>
                </a:lnTo>
                <a:lnTo>
                  <a:pt x="697" y="144"/>
                </a:lnTo>
                <a:lnTo>
                  <a:pt x="700" y="144"/>
                </a:lnTo>
                <a:lnTo>
                  <a:pt x="703" y="147"/>
                </a:lnTo>
                <a:lnTo>
                  <a:pt x="706" y="147"/>
                </a:lnTo>
                <a:lnTo>
                  <a:pt x="706" y="147"/>
                </a:lnTo>
                <a:lnTo>
                  <a:pt x="709" y="144"/>
                </a:lnTo>
                <a:lnTo>
                  <a:pt x="718" y="144"/>
                </a:lnTo>
                <a:lnTo>
                  <a:pt x="725" y="144"/>
                </a:lnTo>
                <a:lnTo>
                  <a:pt x="725" y="138"/>
                </a:lnTo>
                <a:lnTo>
                  <a:pt x="728" y="138"/>
                </a:lnTo>
                <a:lnTo>
                  <a:pt x="731" y="138"/>
                </a:lnTo>
                <a:lnTo>
                  <a:pt x="731" y="144"/>
                </a:lnTo>
                <a:lnTo>
                  <a:pt x="731" y="147"/>
                </a:lnTo>
                <a:lnTo>
                  <a:pt x="734" y="147"/>
                </a:lnTo>
                <a:lnTo>
                  <a:pt x="737" y="150"/>
                </a:lnTo>
                <a:lnTo>
                  <a:pt x="743" y="154"/>
                </a:lnTo>
                <a:lnTo>
                  <a:pt x="743" y="154"/>
                </a:lnTo>
                <a:lnTo>
                  <a:pt x="740" y="160"/>
                </a:lnTo>
                <a:lnTo>
                  <a:pt x="737" y="160"/>
                </a:lnTo>
                <a:lnTo>
                  <a:pt x="734" y="166"/>
                </a:lnTo>
                <a:lnTo>
                  <a:pt x="734" y="169"/>
                </a:lnTo>
                <a:lnTo>
                  <a:pt x="734" y="169"/>
                </a:lnTo>
                <a:lnTo>
                  <a:pt x="731" y="175"/>
                </a:lnTo>
                <a:lnTo>
                  <a:pt x="725" y="179"/>
                </a:lnTo>
                <a:lnTo>
                  <a:pt x="722" y="179"/>
                </a:lnTo>
                <a:lnTo>
                  <a:pt x="722" y="185"/>
                </a:lnTo>
                <a:lnTo>
                  <a:pt x="722" y="191"/>
                </a:lnTo>
                <a:lnTo>
                  <a:pt x="725" y="200"/>
                </a:lnTo>
                <a:lnTo>
                  <a:pt x="731" y="207"/>
                </a:lnTo>
                <a:lnTo>
                  <a:pt x="728" y="207"/>
                </a:lnTo>
                <a:lnTo>
                  <a:pt x="725" y="213"/>
                </a:lnTo>
                <a:lnTo>
                  <a:pt x="718" y="216"/>
                </a:lnTo>
                <a:lnTo>
                  <a:pt x="715" y="219"/>
                </a:lnTo>
                <a:lnTo>
                  <a:pt x="712" y="219"/>
                </a:lnTo>
                <a:lnTo>
                  <a:pt x="712" y="219"/>
                </a:lnTo>
                <a:lnTo>
                  <a:pt x="709" y="216"/>
                </a:lnTo>
                <a:lnTo>
                  <a:pt x="706" y="216"/>
                </a:lnTo>
                <a:lnTo>
                  <a:pt x="700" y="219"/>
                </a:lnTo>
                <a:lnTo>
                  <a:pt x="693" y="219"/>
                </a:lnTo>
                <a:lnTo>
                  <a:pt x="687" y="216"/>
                </a:lnTo>
                <a:lnTo>
                  <a:pt x="681" y="216"/>
                </a:lnTo>
                <a:lnTo>
                  <a:pt x="681" y="216"/>
                </a:lnTo>
                <a:lnTo>
                  <a:pt x="678" y="225"/>
                </a:lnTo>
                <a:lnTo>
                  <a:pt x="678" y="229"/>
                </a:lnTo>
                <a:lnTo>
                  <a:pt x="675" y="235"/>
                </a:lnTo>
                <a:lnTo>
                  <a:pt x="675" y="244"/>
                </a:lnTo>
                <a:lnTo>
                  <a:pt x="675" y="254"/>
                </a:lnTo>
                <a:lnTo>
                  <a:pt x="675" y="257"/>
                </a:lnTo>
                <a:lnTo>
                  <a:pt x="675" y="260"/>
                </a:lnTo>
                <a:lnTo>
                  <a:pt x="681" y="260"/>
                </a:lnTo>
                <a:lnTo>
                  <a:pt x="678" y="266"/>
                </a:lnTo>
                <a:lnTo>
                  <a:pt x="678" y="269"/>
                </a:lnTo>
                <a:lnTo>
                  <a:pt x="675" y="269"/>
                </a:lnTo>
                <a:lnTo>
                  <a:pt x="675" y="269"/>
                </a:lnTo>
                <a:lnTo>
                  <a:pt x="672" y="269"/>
                </a:lnTo>
                <a:lnTo>
                  <a:pt x="668" y="266"/>
                </a:lnTo>
                <a:lnTo>
                  <a:pt x="665" y="269"/>
                </a:lnTo>
                <a:lnTo>
                  <a:pt x="659" y="269"/>
                </a:lnTo>
                <a:lnTo>
                  <a:pt x="653" y="272"/>
                </a:lnTo>
                <a:lnTo>
                  <a:pt x="647" y="272"/>
                </a:lnTo>
                <a:lnTo>
                  <a:pt x="643" y="272"/>
                </a:lnTo>
                <a:lnTo>
                  <a:pt x="640" y="272"/>
                </a:lnTo>
                <a:lnTo>
                  <a:pt x="637" y="276"/>
                </a:lnTo>
                <a:lnTo>
                  <a:pt x="634" y="279"/>
                </a:lnTo>
                <a:lnTo>
                  <a:pt x="634" y="279"/>
                </a:lnTo>
                <a:lnTo>
                  <a:pt x="637" y="282"/>
                </a:lnTo>
                <a:lnTo>
                  <a:pt x="643" y="282"/>
                </a:lnTo>
                <a:lnTo>
                  <a:pt x="647" y="282"/>
                </a:lnTo>
                <a:lnTo>
                  <a:pt x="647" y="285"/>
                </a:lnTo>
                <a:lnTo>
                  <a:pt x="643" y="288"/>
                </a:lnTo>
                <a:lnTo>
                  <a:pt x="647" y="294"/>
                </a:lnTo>
                <a:lnTo>
                  <a:pt x="647" y="297"/>
                </a:lnTo>
                <a:lnTo>
                  <a:pt x="650" y="297"/>
                </a:lnTo>
                <a:lnTo>
                  <a:pt x="650" y="304"/>
                </a:lnTo>
                <a:lnTo>
                  <a:pt x="653" y="310"/>
                </a:lnTo>
                <a:lnTo>
                  <a:pt x="653" y="313"/>
                </a:lnTo>
                <a:lnTo>
                  <a:pt x="659" y="316"/>
                </a:lnTo>
                <a:lnTo>
                  <a:pt x="659" y="322"/>
                </a:lnTo>
                <a:lnTo>
                  <a:pt x="656" y="326"/>
                </a:lnTo>
                <a:lnTo>
                  <a:pt x="656" y="329"/>
                </a:lnTo>
                <a:lnTo>
                  <a:pt x="659" y="332"/>
                </a:lnTo>
                <a:lnTo>
                  <a:pt x="656" y="335"/>
                </a:lnTo>
                <a:lnTo>
                  <a:pt x="656" y="335"/>
                </a:lnTo>
                <a:lnTo>
                  <a:pt x="653" y="338"/>
                </a:lnTo>
                <a:lnTo>
                  <a:pt x="653" y="344"/>
                </a:lnTo>
                <a:lnTo>
                  <a:pt x="650" y="344"/>
                </a:lnTo>
                <a:lnTo>
                  <a:pt x="640" y="344"/>
                </a:lnTo>
                <a:lnTo>
                  <a:pt x="631" y="335"/>
                </a:lnTo>
                <a:lnTo>
                  <a:pt x="628" y="335"/>
                </a:lnTo>
                <a:lnTo>
                  <a:pt x="622" y="332"/>
                </a:lnTo>
                <a:lnTo>
                  <a:pt x="609" y="332"/>
                </a:lnTo>
                <a:lnTo>
                  <a:pt x="603" y="332"/>
                </a:lnTo>
                <a:lnTo>
                  <a:pt x="593" y="329"/>
                </a:lnTo>
                <a:lnTo>
                  <a:pt x="584" y="332"/>
                </a:lnTo>
                <a:lnTo>
                  <a:pt x="578" y="332"/>
                </a:lnTo>
                <a:lnTo>
                  <a:pt x="575" y="332"/>
                </a:lnTo>
                <a:lnTo>
                  <a:pt x="572" y="335"/>
                </a:lnTo>
                <a:lnTo>
                  <a:pt x="565" y="335"/>
                </a:lnTo>
                <a:lnTo>
                  <a:pt x="556" y="335"/>
                </a:lnTo>
                <a:lnTo>
                  <a:pt x="547" y="332"/>
                </a:lnTo>
                <a:lnTo>
                  <a:pt x="543" y="332"/>
                </a:lnTo>
                <a:lnTo>
                  <a:pt x="537" y="332"/>
                </a:lnTo>
                <a:lnTo>
                  <a:pt x="534" y="332"/>
                </a:lnTo>
                <a:lnTo>
                  <a:pt x="531" y="332"/>
                </a:lnTo>
                <a:lnTo>
                  <a:pt x="528" y="332"/>
                </a:lnTo>
                <a:lnTo>
                  <a:pt x="525" y="332"/>
                </a:lnTo>
                <a:lnTo>
                  <a:pt x="525" y="335"/>
                </a:lnTo>
                <a:lnTo>
                  <a:pt x="528" y="341"/>
                </a:lnTo>
                <a:lnTo>
                  <a:pt x="528" y="344"/>
                </a:lnTo>
                <a:lnTo>
                  <a:pt x="522" y="347"/>
                </a:lnTo>
                <a:lnTo>
                  <a:pt x="509" y="347"/>
                </a:lnTo>
                <a:lnTo>
                  <a:pt x="493" y="344"/>
                </a:lnTo>
                <a:lnTo>
                  <a:pt x="490" y="344"/>
                </a:lnTo>
                <a:lnTo>
                  <a:pt x="484" y="344"/>
                </a:lnTo>
                <a:lnTo>
                  <a:pt x="481" y="347"/>
                </a:lnTo>
                <a:lnTo>
                  <a:pt x="481" y="351"/>
                </a:lnTo>
                <a:lnTo>
                  <a:pt x="478" y="351"/>
                </a:lnTo>
                <a:lnTo>
                  <a:pt x="478" y="354"/>
                </a:lnTo>
                <a:lnTo>
                  <a:pt x="475" y="354"/>
                </a:lnTo>
                <a:lnTo>
                  <a:pt x="471" y="360"/>
                </a:lnTo>
                <a:lnTo>
                  <a:pt x="468" y="360"/>
                </a:lnTo>
                <a:lnTo>
                  <a:pt x="459" y="369"/>
                </a:lnTo>
                <a:lnTo>
                  <a:pt x="459" y="376"/>
                </a:lnTo>
                <a:lnTo>
                  <a:pt x="456" y="379"/>
                </a:lnTo>
                <a:lnTo>
                  <a:pt x="453" y="385"/>
                </a:lnTo>
                <a:lnTo>
                  <a:pt x="443" y="391"/>
                </a:lnTo>
                <a:lnTo>
                  <a:pt x="440" y="391"/>
                </a:lnTo>
                <a:lnTo>
                  <a:pt x="434" y="385"/>
                </a:lnTo>
                <a:lnTo>
                  <a:pt x="425" y="385"/>
                </a:lnTo>
                <a:lnTo>
                  <a:pt x="421" y="385"/>
                </a:lnTo>
                <a:lnTo>
                  <a:pt x="412" y="391"/>
                </a:lnTo>
                <a:lnTo>
                  <a:pt x="406" y="391"/>
                </a:lnTo>
                <a:lnTo>
                  <a:pt x="400" y="369"/>
                </a:lnTo>
                <a:lnTo>
                  <a:pt x="384" y="366"/>
                </a:lnTo>
                <a:lnTo>
                  <a:pt x="384" y="338"/>
                </a:lnTo>
                <a:lnTo>
                  <a:pt x="378" y="341"/>
                </a:lnTo>
                <a:lnTo>
                  <a:pt x="371" y="329"/>
                </a:lnTo>
                <a:lnTo>
                  <a:pt x="362" y="322"/>
                </a:lnTo>
                <a:lnTo>
                  <a:pt x="331" y="322"/>
                </a:lnTo>
                <a:lnTo>
                  <a:pt x="303" y="326"/>
                </a:lnTo>
                <a:lnTo>
                  <a:pt x="284" y="313"/>
                </a:lnTo>
                <a:lnTo>
                  <a:pt x="271" y="310"/>
                </a:lnTo>
                <a:lnTo>
                  <a:pt x="240" y="288"/>
                </a:lnTo>
                <a:lnTo>
                  <a:pt x="190" y="297"/>
                </a:lnTo>
                <a:lnTo>
                  <a:pt x="206" y="391"/>
                </a:lnTo>
                <a:lnTo>
                  <a:pt x="203" y="391"/>
                </a:lnTo>
                <a:lnTo>
                  <a:pt x="196" y="394"/>
                </a:lnTo>
                <a:lnTo>
                  <a:pt x="181" y="379"/>
                </a:lnTo>
                <a:lnTo>
                  <a:pt x="168" y="369"/>
                </a:lnTo>
                <a:lnTo>
                  <a:pt x="156" y="369"/>
                </a:lnTo>
                <a:lnTo>
                  <a:pt x="146" y="373"/>
                </a:lnTo>
                <a:lnTo>
                  <a:pt x="134" y="382"/>
                </a:lnTo>
                <a:lnTo>
                  <a:pt x="134" y="379"/>
                </a:lnTo>
                <a:lnTo>
                  <a:pt x="131" y="373"/>
                </a:lnTo>
                <a:lnTo>
                  <a:pt x="134" y="366"/>
                </a:lnTo>
                <a:lnTo>
                  <a:pt x="134" y="363"/>
                </a:lnTo>
                <a:lnTo>
                  <a:pt x="134" y="360"/>
                </a:lnTo>
                <a:lnTo>
                  <a:pt x="137" y="360"/>
                </a:lnTo>
                <a:lnTo>
                  <a:pt x="134" y="357"/>
                </a:lnTo>
                <a:lnTo>
                  <a:pt x="131" y="357"/>
                </a:lnTo>
                <a:lnTo>
                  <a:pt x="128" y="357"/>
                </a:lnTo>
                <a:lnTo>
                  <a:pt x="125" y="357"/>
                </a:lnTo>
                <a:lnTo>
                  <a:pt x="121" y="357"/>
                </a:lnTo>
                <a:lnTo>
                  <a:pt x="118" y="357"/>
                </a:lnTo>
                <a:lnTo>
                  <a:pt x="118" y="354"/>
                </a:lnTo>
                <a:lnTo>
                  <a:pt x="115" y="351"/>
                </a:lnTo>
                <a:lnTo>
                  <a:pt x="115" y="347"/>
                </a:lnTo>
                <a:lnTo>
                  <a:pt x="112" y="347"/>
                </a:lnTo>
                <a:lnTo>
                  <a:pt x="112" y="347"/>
                </a:lnTo>
                <a:lnTo>
                  <a:pt x="106" y="351"/>
                </a:lnTo>
                <a:lnTo>
                  <a:pt x="106" y="351"/>
                </a:lnTo>
                <a:lnTo>
                  <a:pt x="106" y="344"/>
                </a:lnTo>
                <a:lnTo>
                  <a:pt x="106" y="341"/>
                </a:lnTo>
                <a:lnTo>
                  <a:pt x="100" y="335"/>
                </a:lnTo>
                <a:lnTo>
                  <a:pt x="100" y="332"/>
                </a:lnTo>
                <a:lnTo>
                  <a:pt x="96" y="332"/>
                </a:lnTo>
                <a:lnTo>
                  <a:pt x="96" y="326"/>
                </a:lnTo>
                <a:lnTo>
                  <a:pt x="93" y="326"/>
                </a:lnTo>
                <a:lnTo>
                  <a:pt x="93" y="322"/>
                </a:lnTo>
                <a:lnTo>
                  <a:pt x="90" y="322"/>
                </a:lnTo>
                <a:lnTo>
                  <a:pt x="87" y="322"/>
                </a:lnTo>
                <a:lnTo>
                  <a:pt x="84" y="319"/>
                </a:lnTo>
                <a:lnTo>
                  <a:pt x="84" y="316"/>
                </a:lnTo>
                <a:lnTo>
                  <a:pt x="84" y="313"/>
                </a:lnTo>
                <a:lnTo>
                  <a:pt x="87" y="316"/>
                </a:lnTo>
                <a:lnTo>
                  <a:pt x="93" y="313"/>
                </a:lnTo>
                <a:lnTo>
                  <a:pt x="93" y="316"/>
                </a:lnTo>
                <a:lnTo>
                  <a:pt x="96" y="316"/>
                </a:lnTo>
                <a:lnTo>
                  <a:pt x="100" y="316"/>
                </a:lnTo>
                <a:lnTo>
                  <a:pt x="100" y="313"/>
                </a:lnTo>
                <a:lnTo>
                  <a:pt x="103" y="313"/>
                </a:lnTo>
                <a:lnTo>
                  <a:pt x="106" y="316"/>
                </a:lnTo>
                <a:lnTo>
                  <a:pt x="106" y="313"/>
                </a:lnTo>
                <a:lnTo>
                  <a:pt x="106" y="313"/>
                </a:lnTo>
                <a:lnTo>
                  <a:pt x="103" y="313"/>
                </a:lnTo>
                <a:lnTo>
                  <a:pt x="100" y="310"/>
                </a:lnTo>
                <a:lnTo>
                  <a:pt x="100" y="310"/>
                </a:lnTo>
                <a:lnTo>
                  <a:pt x="96" y="304"/>
                </a:lnTo>
                <a:lnTo>
                  <a:pt x="96" y="301"/>
                </a:lnTo>
                <a:lnTo>
                  <a:pt x="100" y="301"/>
                </a:lnTo>
                <a:lnTo>
                  <a:pt x="100" y="297"/>
                </a:lnTo>
                <a:lnTo>
                  <a:pt x="100" y="297"/>
                </a:lnTo>
                <a:lnTo>
                  <a:pt x="100" y="294"/>
                </a:lnTo>
                <a:lnTo>
                  <a:pt x="106" y="291"/>
                </a:lnTo>
                <a:lnTo>
                  <a:pt x="109" y="291"/>
                </a:lnTo>
                <a:lnTo>
                  <a:pt x="112" y="291"/>
                </a:lnTo>
                <a:lnTo>
                  <a:pt x="115" y="291"/>
                </a:lnTo>
                <a:lnTo>
                  <a:pt x="118" y="291"/>
                </a:lnTo>
                <a:lnTo>
                  <a:pt x="121" y="291"/>
                </a:lnTo>
                <a:lnTo>
                  <a:pt x="121" y="291"/>
                </a:lnTo>
                <a:lnTo>
                  <a:pt x="125" y="291"/>
                </a:lnTo>
                <a:lnTo>
                  <a:pt x="128" y="294"/>
                </a:lnTo>
                <a:lnTo>
                  <a:pt x="131" y="294"/>
                </a:lnTo>
                <a:lnTo>
                  <a:pt x="134" y="294"/>
                </a:lnTo>
                <a:lnTo>
                  <a:pt x="134" y="291"/>
                </a:lnTo>
                <a:lnTo>
                  <a:pt x="134" y="291"/>
                </a:lnTo>
                <a:lnTo>
                  <a:pt x="128" y="288"/>
                </a:lnTo>
                <a:lnTo>
                  <a:pt x="128" y="285"/>
                </a:lnTo>
                <a:lnTo>
                  <a:pt x="128" y="279"/>
                </a:lnTo>
                <a:lnTo>
                  <a:pt x="131" y="279"/>
                </a:lnTo>
                <a:lnTo>
                  <a:pt x="131" y="276"/>
                </a:lnTo>
                <a:lnTo>
                  <a:pt x="131" y="276"/>
                </a:lnTo>
                <a:lnTo>
                  <a:pt x="128" y="272"/>
                </a:lnTo>
                <a:lnTo>
                  <a:pt x="128" y="272"/>
                </a:lnTo>
                <a:lnTo>
                  <a:pt x="131" y="269"/>
                </a:lnTo>
                <a:lnTo>
                  <a:pt x="131" y="266"/>
                </a:lnTo>
                <a:lnTo>
                  <a:pt x="128" y="263"/>
                </a:lnTo>
                <a:lnTo>
                  <a:pt x="128" y="260"/>
                </a:lnTo>
                <a:lnTo>
                  <a:pt x="128" y="257"/>
                </a:lnTo>
                <a:lnTo>
                  <a:pt x="128" y="257"/>
                </a:lnTo>
                <a:lnTo>
                  <a:pt x="125" y="257"/>
                </a:lnTo>
                <a:lnTo>
                  <a:pt x="125" y="254"/>
                </a:lnTo>
                <a:lnTo>
                  <a:pt x="125" y="250"/>
                </a:lnTo>
                <a:lnTo>
                  <a:pt x="115" y="250"/>
                </a:lnTo>
                <a:lnTo>
                  <a:pt x="115" y="250"/>
                </a:lnTo>
                <a:lnTo>
                  <a:pt x="112" y="250"/>
                </a:lnTo>
                <a:lnTo>
                  <a:pt x="112" y="254"/>
                </a:lnTo>
                <a:lnTo>
                  <a:pt x="109" y="254"/>
                </a:lnTo>
                <a:lnTo>
                  <a:pt x="109" y="257"/>
                </a:lnTo>
                <a:lnTo>
                  <a:pt x="106" y="257"/>
                </a:lnTo>
                <a:lnTo>
                  <a:pt x="103" y="257"/>
                </a:lnTo>
                <a:lnTo>
                  <a:pt x="103" y="254"/>
                </a:lnTo>
                <a:lnTo>
                  <a:pt x="103" y="254"/>
                </a:lnTo>
                <a:lnTo>
                  <a:pt x="100" y="257"/>
                </a:lnTo>
                <a:lnTo>
                  <a:pt x="100" y="254"/>
                </a:lnTo>
                <a:lnTo>
                  <a:pt x="100" y="250"/>
                </a:lnTo>
                <a:lnTo>
                  <a:pt x="96" y="250"/>
                </a:lnTo>
                <a:lnTo>
                  <a:pt x="96" y="250"/>
                </a:lnTo>
                <a:lnTo>
                  <a:pt x="93" y="250"/>
                </a:lnTo>
                <a:lnTo>
                  <a:pt x="90" y="250"/>
                </a:lnTo>
                <a:lnTo>
                  <a:pt x="87" y="250"/>
                </a:lnTo>
                <a:lnTo>
                  <a:pt x="84" y="250"/>
                </a:lnTo>
                <a:lnTo>
                  <a:pt x="84" y="254"/>
                </a:lnTo>
                <a:lnTo>
                  <a:pt x="81" y="257"/>
                </a:lnTo>
                <a:lnTo>
                  <a:pt x="81" y="254"/>
                </a:lnTo>
                <a:lnTo>
                  <a:pt x="78" y="254"/>
                </a:lnTo>
                <a:lnTo>
                  <a:pt x="78" y="257"/>
                </a:lnTo>
                <a:lnTo>
                  <a:pt x="75" y="257"/>
                </a:lnTo>
                <a:lnTo>
                  <a:pt x="71" y="260"/>
                </a:lnTo>
                <a:lnTo>
                  <a:pt x="68" y="263"/>
                </a:lnTo>
                <a:lnTo>
                  <a:pt x="68" y="263"/>
                </a:lnTo>
                <a:lnTo>
                  <a:pt x="68" y="263"/>
                </a:lnTo>
                <a:lnTo>
                  <a:pt x="65" y="266"/>
                </a:lnTo>
                <a:lnTo>
                  <a:pt x="65" y="263"/>
                </a:lnTo>
                <a:lnTo>
                  <a:pt x="62" y="263"/>
                </a:lnTo>
                <a:lnTo>
                  <a:pt x="62" y="266"/>
                </a:lnTo>
                <a:lnTo>
                  <a:pt x="59" y="266"/>
                </a:lnTo>
                <a:lnTo>
                  <a:pt x="56" y="263"/>
                </a:lnTo>
                <a:lnTo>
                  <a:pt x="56" y="263"/>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0" name="Freeform 18">
            <a:extLst>
              <a:ext uri="{FF2B5EF4-FFF2-40B4-BE49-F238E27FC236}">
                <a16:creationId xmlns:a16="http://schemas.microsoft.com/office/drawing/2014/main" id="{2E61E2E6-E10E-EED5-54B1-A571CC7AE1E1}"/>
              </a:ext>
            </a:extLst>
          </p:cNvPr>
          <p:cNvSpPr>
            <a:spLocks/>
          </p:cNvSpPr>
          <p:nvPr userDrawn="1"/>
        </p:nvSpPr>
        <p:spPr bwMode="auto">
          <a:xfrm>
            <a:off x="16423206" y="6247685"/>
            <a:ext cx="1003237" cy="625478"/>
          </a:xfrm>
          <a:custGeom>
            <a:avLst/>
            <a:gdLst>
              <a:gd name="T0" fmla="*/ 250 w 316"/>
              <a:gd name="T1" fmla="*/ 185 h 197"/>
              <a:gd name="T2" fmla="*/ 256 w 316"/>
              <a:gd name="T3" fmla="*/ 172 h 197"/>
              <a:gd name="T4" fmla="*/ 253 w 316"/>
              <a:gd name="T5" fmla="*/ 166 h 197"/>
              <a:gd name="T6" fmla="*/ 253 w 316"/>
              <a:gd name="T7" fmla="*/ 156 h 197"/>
              <a:gd name="T8" fmla="*/ 247 w 316"/>
              <a:gd name="T9" fmla="*/ 150 h 197"/>
              <a:gd name="T10" fmla="*/ 238 w 316"/>
              <a:gd name="T11" fmla="*/ 147 h 197"/>
              <a:gd name="T12" fmla="*/ 241 w 316"/>
              <a:gd name="T13" fmla="*/ 138 h 197"/>
              <a:gd name="T14" fmla="*/ 253 w 316"/>
              <a:gd name="T15" fmla="*/ 138 h 197"/>
              <a:gd name="T16" fmla="*/ 263 w 316"/>
              <a:gd name="T17" fmla="*/ 128 h 197"/>
              <a:gd name="T18" fmla="*/ 260 w 316"/>
              <a:gd name="T19" fmla="*/ 125 h 197"/>
              <a:gd name="T20" fmla="*/ 275 w 316"/>
              <a:gd name="T21" fmla="*/ 119 h 197"/>
              <a:gd name="T22" fmla="*/ 269 w 316"/>
              <a:gd name="T23" fmla="*/ 113 h 197"/>
              <a:gd name="T24" fmla="*/ 272 w 316"/>
              <a:gd name="T25" fmla="*/ 106 h 197"/>
              <a:gd name="T26" fmla="*/ 281 w 316"/>
              <a:gd name="T27" fmla="*/ 103 h 197"/>
              <a:gd name="T28" fmla="*/ 294 w 316"/>
              <a:gd name="T29" fmla="*/ 100 h 197"/>
              <a:gd name="T30" fmla="*/ 303 w 316"/>
              <a:gd name="T31" fmla="*/ 103 h 197"/>
              <a:gd name="T32" fmla="*/ 316 w 316"/>
              <a:gd name="T33" fmla="*/ 97 h 197"/>
              <a:gd name="T34" fmla="*/ 307 w 316"/>
              <a:gd name="T35" fmla="*/ 85 h 197"/>
              <a:gd name="T36" fmla="*/ 303 w 316"/>
              <a:gd name="T37" fmla="*/ 91 h 197"/>
              <a:gd name="T38" fmla="*/ 297 w 316"/>
              <a:gd name="T39" fmla="*/ 94 h 197"/>
              <a:gd name="T40" fmla="*/ 285 w 316"/>
              <a:gd name="T41" fmla="*/ 88 h 197"/>
              <a:gd name="T42" fmla="*/ 281 w 316"/>
              <a:gd name="T43" fmla="*/ 78 h 197"/>
              <a:gd name="T44" fmla="*/ 288 w 316"/>
              <a:gd name="T45" fmla="*/ 66 h 197"/>
              <a:gd name="T46" fmla="*/ 281 w 316"/>
              <a:gd name="T47" fmla="*/ 72 h 197"/>
              <a:gd name="T48" fmla="*/ 269 w 316"/>
              <a:gd name="T49" fmla="*/ 81 h 197"/>
              <a:gd name="T50" fmla="*/ 266 w 316"/>
              <a:gd name="T51" fmla="*/ 91 h 197"/>
              <a:gd name="T52" fmla="*/ 253 w 316"/>
              <a:gd name="T53" fmla="*/ 103 h 197"/>
              <a:gd name="T54" fmla="*/ 244 w 316"/>
              <a:gd name="T55" fmla="*/ 97 h 197"/>
              <a:gd name="T56" fmla="*/ 231 w 316"/>
              <a:gd name="T57" fmla="*/ 97 h 197"/>
              <a:gd name="T58" fmla="*/ 216 w 316"/>
              <a:gd name="T59" fmla="*/ 103 h 197"/>
              <a:gd name="T60" fmla="*/ 194 w 316"/>
              <a:gd name="T61" fmla="*/ 78 h 197"/>
              <a:gd name="T62" fmla="*/ 188 w 316"/>
              <a:gd name="T63" fmla="*/ 53 h 197"/>
              <a:gd name="T64" fmla="*/ 172 w 316"/>
              <a:gd name="T65" fmla="*/ 34 h 197"/>
              <a:gd name="T66" fmla="*/ 113 w 316"/>
              <a:gd name="T67" fmla="*/ 38 h 197"/>
              <a:gd name="T68" fmla="*/ 81 w 316"/>
              <a:gd name="T69" fmla="*/ 22 h 197"/>
              <a:gd name="T70" fmla="*/ 0 w 316"/>
              <a:gd name="T71" fmla="*/ 9 h 197"/>
              <a:gd name="T72" fmla="*/ 25 w 316"/>
              <a:gd name="T73" fmla="*/ 103 h 197"/>
              <a:gd name="T74" fmla="*/ 35 w 316"/>
              <a:gd name="T75" fmla="*/ 100 h 197"/>
              <a:gd name="T76" fmla="*/ 31 w 316"/>
              <a:gd name="T77" fmla="*/ 88 h 197"/>
              <a:gd name="T78" fmla="*/ 41 w 316"/>
              <a:gd name="T79" fmla="*/ 78 h 197"/>
              <a:gd name="T80" fmla="*/ 47 w 316"/>
              <a:gd name="T81" fmla="*/ 72 h 197"/>
              <a:gd name="T82" fmla="*/ 56 w 316"/>
              <a:gd name="T83" fmla="*/ 72 h 197"/>
              <a:gd name="T84" fmla="*/ 60 w 316"/>
              <a:gd name="T85" fmla="*/ 69 h 197"/>
              <a:gd name="T86" fmla="*/ 85 w 316"/>
              <a:gd name="T87" fmla="*/ 81 h 197"/>
              <a:gd name="T88" fmla="*/ 100 w 316"/>
              <a:gd name="T89" fmla="*/ 94 h 197"/>
              <a:gd name="T90" fmla="*/ 116 w 316"/>
              <a:gd name="T91" fmla="*/ 100 h 197"/>
              <a:gd name="T92" fmla="*/ 128 w 316"/>
              <a:gd name="T93" fmla="*/ 106 h 197"/>
              <a:gd name="T94" fmla="*/ 135 w 316"/>
              <a:gd name="T95" fmla="*/ 119 h 197"/>
              <a:gd name="T96" fmla="*/ 141 w 316"/>
              <a:gd name="T97" fmla="*/ 135 h 197"/>
              <a:gd name="T98" fmla="*/ 163 w 316"/>
              <a:gd name="T99" fmla="*/ 144 h 197"/>
              <a:gd name="T100" fmla="*/ 191 w 316"/>
              <a:gd name="T101" fmla="*/ 160 h 197"/>
              <a:gd name="T102" fmla="*/ 213 w 316"/>
              <a:gd name="T103" fmla="*/ 172 h 197"/>
              <a:gd name="T104" fmla="*/ 219 w 316"/>
              <a:gd name="T105" fmla="*/ 175 h 197"/>
              <a:gd name="T106" fmla="*/ 225 w 316"/>
              <a:gd name="T107" fmla="*/ 185 h 197"/>
              <a:gd name="T108" fmla="*/ 231 w 316"/>
              <a:gd name="T109" fmla="*/ 191 h 197"/>
              <a:gd name="T110" fmla="*/ 238 w 316"/>
              <a:gd name="T111" fmla="*/ 197 h 197"/>
              <a:gd name="T112" fmla="*/ 244 w 316"/>
              <a:gd name="T113" fmla="*/ 194 h 197"/>
              <a:gd name="T114" fmla="*/ 250 w 316"/>
              <a:gd name="T115"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6" h="197">
                <a:moveTo>
                  <a:pt x="250" y="197"/>
                </a:moveTo>
                <a:lnTo>
                  <a:pt x="250" y="185"/>
                </a:lnTo>
                <a:lnTo>
                  <a:pt x="256" y="175"/>
                </a:lnTo>
                <a:lnTo>
                  <a:pt x="256" y="172"/>
                </a:lnTo>
                <a:lnTo>
                  <a:pt x="256" y="166"/>
                </a:lnTo>
                <a:lnTo>
                  <a:pt x="253" y="166"/>
                </a:lnTo>
                <a:lnTo>
                  <a:pt x="250" y="160"/>
                </a:lnTo>
                <a:lnTo>
                  <a:pt x="253" y="156"/>
                </a:lnTo>
                <a:lnTo>
                  <a:pt x="250" y="150"/>
                </a:lnTo>
                <a:lnTo>
                  <a:pt x="247" y="150"/>
                </a:lnTo>
                <a:lnTo>
                  <a:pt x="244" y="153"/>
                </a:lnTo>
                <a:lnTo>
                  <a:pt x="238" y="147"/>
                </a:lnTo>
                <a:lnTo>
                  <a:pt x="238" y="141"/>
                </a:lnTo>
                <a:lnTo>
                  <a:pt x="241" y="138"/>
                </a:lnTo>
                <a:lnTo>
                  <a:pt x="250" y="138"/>
                </a:lnTo>
                <a:lnTo>
                  <a:pt x="253" y="138"/>
                </a:lnTo>
                <a:lnTo>
                  <a:pt x="253" y="131"/>
                </a:lnTo>
                <a:lnTo>
                  <a:pt x="263" y="128"/>
                </a:lnTo>
                <a:lnTo>
                  <a:pt x="260" y="125"/>
                </a:lnTo>
                <a:lnTo>
                  <a:pt x="260" y="125"/>
                </a:lnTo>
                <a:lnTo>
                  <a:pt x="266" y="122"/>
                </a:lnTo>
                <a:lnTo>
                  <a:pt x="275" y="119"/>
                </a:lnTo>
                <a:lnTo>
                  <a:pt x="275" y="116"/>
                </a:lnTo>
                <a:lnTo>
                  <a:pt x="269" y="113"/>
                </a:lnTo>
                <a:lnTo>
                  <a:pt x="269" y="110"/>
                </a:lnTo>
                <a:lnTo>
                  <a:pt x="272" y="106"/>
                </a:lnTo>
                <a:lnTo>
                  <a:pt x="278" y="103"/>
                </a:lnTo>
                <a:lnTo>
                  <a:pt x="281" y="103"/>
                </a:lnTo>
                <a:lnTo>
                  <a:pt x="288" y="97"/>
                </a:lnTo>
                <a:lnTo>
                  <a:pt x="294" y="100"/>
                </a:lnTo>
                <a:lnTo>
                  <a:pt x="294" y="103"/>
                </a:lnTo>
                <a:lnTo>
                  <a:pt x="303" y="103"/>
                </a:lnTo>
                <a:lnTo>
                  <a:pt x="310" y="103"/>
                </a:lnTo>
                <a:lnTo>
                  <a:pt x="316" y="97"/>
                </a:lnTo>
                <a:lnTo>
                  <a:pt x="316" y="94"/>
                </a:lnTo>
                <a:lnTo>
                  <a:pt x="307" y="85"/>
                </a:lnTo>
                <a:lnTo>
                  <a:pt x="303" y="85"/>
                </a:lnTo>
                <a:lnTo>
                  <a:pt x="303" y="91"/>
                </a:lnTo>
                <a:lnTo>
                  <a:pt x="300" y="94"/>
                </a:lnTo>
                <a:lnTo>
                  <a:pt x="297" y="94"/>
                </a:lnTo>
                <a:lnTo>
                  <a:pt x="291" y="91"/>
                </a:lnTo>
                <a:lnTo>
                  <a:pt x="285" y="88"/>
                </a:lnTo>
                <a:lnTo>
                  <a:pt x="278" y="85"/>
                </a:lnTo>
                <a:lnTo>
                  <a:pt x="281" y="78"/>
                </a:lnTo>
                <a:lnTo>
                  <a:pt x="288" y="69"/>
                </a:lnTo>
                <a:lnTo>
                  <a:pt x="288" y="66"/>
                </a:lnTo>
                <a:lnTo>
                  <a:pt x="285" y="66"/>
                </a:lnTo>
                <a:lnTo>
                  <a:pt x="281" y="72"/>
                </a:lnTo>
                <a:lnTo>
                  <a:pt x="278" y="72"/>
                </a:lnTo>
                <a:lnTo>
                  <a:pt x="269" y="81"/>
                </a:lnTo>
                <a:lnTo>
                  <a:pt x="269" y="88"/>
                </a:lnTo>
                <a:lnTo>
                  <a:pt x="266" y="91"/>
                </a:lnTo>
                <a:lnTo>
                  <a:pt x="263" y="97"/>
                </a:lnTo>
                <a:lnTo>
                  <a:pt x="253" y="103"/>
                </a:lnTo>
                <a:lnTo>
                  <a:pt x="250" y="103"/>
                </a:lnTo>
                <a:lnTo>
                  <a:pt x="244" y="97"/>
                </a:lnTo>
                <a:lnTo>
                  <a:pt x="235" y="97"/>
                </a:lnTo>
                <a:lnTo>
                  <a:pt x="231" y="97"/>
                </a:lnTo>
                <a:lnTo>
                  <a:pt x="222" y="103"/>
                </a:lnTo>
                <a:lnTo>
                  <a:pt x="216" y="103"/>
                </a:lnTo>
                <a:lnTo>
                  <a:pt x="210" y="81"/>
                </a:lnTo>
                <a:lnTo>
                  <a:pt x="194" y="78"/>
                </a:lnTo>
                <a:lnTo>
                  <a:pt x="194" y="50"/>
                </a:lnTo>
                <a:lnTo>
                  <a:pt x="188" y="53"/>
                </a:lnTo>
                <a:lnTo>
                  <a:pt x="181" y="41"/>
                </a:lnTo>
                <a:lnTo>
                  <a:pt x="172" y="34"/>
                </a:lnTo>
                <a:lnTo>
                  <a:pt x="141" y="34"/>
                </a:lnTo>
                <a:lnTo>
                  <a:pt x="113" y="38"/>
                </a:lnTo>
                <a:lnTo>
                  <a:pt x="94" y="25"/>
                </a:lnTo>
                <a:lnTo>
                  <a:pt x="81" y="22"/>
                </a:lnTo>
                <a:lnTo>
                  <a:pt x="50" y="0"/>
                </a:lnTo>
                <a:lnTo>
                  <a:pt x="0" y="9"/>
                </a:lnTo>
                <a:lnTo>
                  <a:pt x="16" y="103"/>
                </a:lnTo>
                <a:lnTo>
                  <a:pt x="25" y="103"/>
                </a:lnTo>
                <a:lnTo>
                  <a:pt x="31" y="103"/>
                </a:lnTo>
                <a:lnTo>
                  <a:pt x="35" y="100"/>
                </a:lnTo>
                <a:lnTo>
                  <a:pt x="31" y="97"/>
                </a:lnTo>
                <a:lnTo>
                  <a:pt x="31" y="88"/>
                </a:lnTo>
                <a:lnTo>
                  <a:pt x="35" y="81"/>
                </a:lnTo>
                <a:lnTo>
                  <a:pt x="41" y="78"/>
                </a:lnTo>
                <a:lnTo>
                  <a:pt x="44" y="75"/>
                </a:lnTo>
                <a:lnTo>
                  <a:pt x="47" y="72"/>
                </a:lnTo>
                <a:lnTo>
                  <a:pt x="53" y="75"/>
                </a:lnTo>
                <a:lnTo>
                  <a:pt x="56" y="72"/>
                </a:lnTo>
                <a:lnTo>
                  <a:pt x="50" y="69"/>
                </a:lnTo>
                <a:lnTo>
                  <a:pt x="60" y="69"/>
                </a:lnTo>
                <a:lnTo>
                  <a:pt x="75" y="75"/>
                </a:lnTo>
                <a:lnTo>
                  <a:pt x="85" y="81"/>
                </a:lnTo>
                <a:lnTo>
                  <a:pt x="88" y="88"/>
                </a:lnTo>
                <a:lnTo>
                  <a:pt x="100" y="94"/>
                </a:lnTo>
                <a:lnTo>
                  <a:pt x="113" y="100"/>
                </a:lnTo>
                <a:lnTo>
                  <a:pt x="116" y="100"/>
                </a:lnTo>
                <a:lnTo>
                  <a:pt x="119" y="100"/>
                </a:lnTo>
                <a:lnTo>
                  <a:pt x="128" y="106"/>
                </a:lnTo>
                <a:lnTo>
                  <a:pt x="131" y="119"/>
                </a:lnTo>
                <a:lnTo>
                  <a:pt x="135" y="119"/>
                </a:lnTo>
                <a:lnTo>
                  <a:pt x="138" y="125"/>
                </a:lnTo>
                <a:lnTo>
                  <a:pt x="141" y="135"/>
                </a:lnTo>
                <a:lnTo>
                  <a:pt x="147" y="138"/>
                </a:lnTo>
                <a:lnTo>
                  <a:pt x="163" y="144"/>
                </a:lnTo>
                <a:lnTo>
                  <a:pt x="175" y="153"/>
                </a:lnTo>
                <a:lnTo>
                  <a:pt x="191" y="160"/>
                </a:lnTo>
                <a:lnTo>
                  <a:pt x="203" y="169"/>
                </a:lnTo>
                <a:lnTo>
                  <a:pt x="213" y="172"/>
                </a:lnTo>
                <a:lnTo>
                  <a:pt x="216" y="175"/>
                </a:lnTo>
                <a:lnTo>
                  <a:pt x="219" y="175"/>
                </a:lnTo>
                <a:lnTo>
                  <a:pt x="225" y="178"/>
                </a:lnTo>
                <a:lnTo>
                  <a:pt x="225" y="185"/>
                </a:lnTo>
                <a:lnTo>
                  <a:pt x="225" y="194"/>
                </a:lnTo>
                <a:lnTo>
                  <a:pt x="231" y="191"/>
                </a:lnTo>
                <a:lnTo>
                  <a:pt x="238" y="194"/>
                </a:lnTo>
                <a:lnTo>
                  <a:pt x="238" y="197"/>
                </a:lnTo>
                <a:lnTo>
                  <a:pt x="241" y="197"/>
                </a:lnTo>
                <a:lnTo>
                  <a:pt x="244" y="194"/>
                </a:lnTo>
                <a:lnTo>
                  <a:pt x="247" y="194"/>
                </a:lnTo>
                <a:lnTo>
                  <a:pt x="250" y="197"/>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1" name="Freeform 19">
            <a:extLst>
              <a:ext uri="{FF2B5EF4-FFF2-40B4-BE49-F238E27FC236}">
                <a16:creationId xmlns:a16="http://schemas.microsoft.com/office/drawing/2014/main" id="{897898AD-1896-9810-75E2-5320AE246138}"/>
              </a:ext>
            </a:extLst>
          </p:cNvPr>
          <p:cNvSpPr>
            <a:spLocks/>
          </p:cNvSpPr>
          <p:nvPr userDrawn="1"/>
        </p:nvSpPr>
        <p:spPr bwMode="auto">
          <a:xfrm>
            <a:off x="16245413" y="6466763"/>
            <a:ext cx="892118" cy="565150"/>
          </a:xfrm>
          <a:custGeom>
            <a:avLst/>
            <a:gdLst>
              <a:gd name="T0" fmla="*/ 281 w 281"/>
              <a:gd name="T1" fmla="*/ 109 h 178"/>
              <a:gd name="T2" fmla="*/ 269 w 281"/>
              <a:gd name="T3" fmla="*/ 103 h 178"/>
              <a:gd name="T4" fmla="*/ 231 w 281"/>
              <a:gd name="T5" fmla="*/ 84 h 178"/>
              <a:gd name="T6" fmla="*/ 197 w 281"/>
              <a:gd name="T7" fmla="*/ 66 h 178"/>
              <a:gd name="T8" fmla="*/ 187 w 281"/>
              <a:gd name="T9" fmla="*/ 50 h 178"/>
              <a:gd name="T10" fmla="*/ 172 w 281"/>
              <a:gd name="T11" fmla="*/ 31 h 178"/>
              <a:gd name="T12" fmla="*/ 144 w 281"/>
              <a:gd name="T13" fmla="*/ 19 h 178"/>
              <a:gd name="T14" fmla="*/ 116 w 281"/>
              <a:gd name="T15" fmla="*/ 0 h 178"/>
              <a:gd name="T16" fmla="*/ 109 w 281"/>
              <a:gd name="T17" fmla="*/ 6 h 178"/>
              <a:gd name="T18" fmla="*/ 97 w 281"/>
              <a:gd name="T19" fmla="*/ 9 h 178"/>
              <a:gd name="T20" fmla="*/ 87 w 281"/>
              <a:gd name="T21" fmla="*/ 28 h 178"/>
              <a:gd name="T22" fmla="*/ 81 w 281"/>
              <a:gd name="T23" fmla="*/ 34 h 178"/>
              <a:gd name="T24" fmla="*/ 47 w 281"/>
              <a:gd name="T25" fmla="*/ 22 h 178"/>
              <a:gd name="T26" fmla="*/ 12 w 281"/>
              <a:gd name="T27" fmla="*/ 16 h 178"/>
              <a:gd name="T28" fmla="*/ 3 w 281"/>
              <a:gd name="T29" fmla="*/ 31 h 178"/>
              <a:gd name="T30" fmla="*/ 9 w 281"/>
              <a:gd name="T31" fmla="*/ 41 h 178"/>
              <a:gd name="T32" fmla="*/ 9 w 281"/>
              <a:gd name="T33" fmla="*/ 56 h 178"/>
              <a:gd name="T34" fmla="*/ 12 w 281"/>
              <a:gd name="T35" fmla="*/ 72 h 178"/>
              <a:gd name="T36" fmla="*/ 19 w 281"/>
              <a:gd name="T37" fmla="*/ 72 h 178"/>
              <a:gd name="T38" fmla="*/ 28 w 281"/>
              <a:gd name="T39" fmla="*/ 72 h 178"/>
              <a:gd name="T40" fmla="*/ 28 w 281"/>
              <a:gd name="T41" fmla="*/ 81 h 178"/>
              <a:gd name="T42" fmla="*/ 34 w 281"/>
              <a:gd name="T43" fmla="*/ 84 h 178"/>
              <a:gd name="T44" fmla="*/ 25 w 281"/>
              <a:gd name="T45" fmla="*/ 81 h 178"/>
              <a:gd name="T46" fmla="*/ 25 w 281"/>
              <a:gd name="T47" fmla="*/ 94 h 178"/>
              <a:gd name="T48" fmla="*/ 28 w 281"/>
              <a:gd name="T49" fmla="*/ 87 h 178"/>
              <a:gd name="T50" fmla="*/ 37 w 281"/>
              <a:gd name="T51" fmla="*/ 94 h 178"/>
              <a:gd name="T52" fmla="*/ 41 w 281"/>
              <a:gd name="T53" fmla="*/ 109 h 178"/>
              <a:gd name="T54" fmla="*/ 47 w 281"/>
              <a:gd name="T55" fmla="*/ 134 h 178"/>
              <a:gd name="T56" fmla="*/ 59 w 281"/>
              <a:gd name="T57" fmla="*/ 125 h 178"/>
              <a:gd name="T58" fmla="*/ 75 w 281"/>
              <a:gd name="T59" fmla="*/ 116 h 178"/>
              <a:gd name="T60" fmla="*/ 91 w 281"/>
              <a:gd name="T61" fmla="*/ 112 h 178"/>
              <a:gd name="T62" fmla="*/ 103 w 281"/>
              <a:gd name="T63" fmla="*/ 112 h 178"/>
              <a:gd name="T64" fmla="*/ 128 w 281"/>
              <a:gd name="T65" fmla="*/ 125 h 178"/>
              <a:gd name="T66" fmla="*/ 144 w 281"/>
              <a:gd name="T67" fmla="*/ 128 h 178"/>
              <a:gd name="T68" fmla="*/ 150 w 281"/>
              <a:gd name="T69" fmla="*/ 134 h 178"/>
              <a:gd name="T70" fmla="*/ 169 w 281"/>
              <a:gd name="T71" fmla="*/ 147 h 178"/>
              <a:gd name="T72" fmla="*/ 184 w 281"/>
              <a:gd name="T73" fmla="*/ 156 h 178"/>
              <a:gd name="T74" fmla="*/ 187 w 281"/>
              <a:gd name="T75" fmla="*/ 166 h 178"/>
              <a:gd name="T76" fmla="*/ 194 w 281"/>
              <a:gd name="T77" fmla="*/ 169 h 178"/>
              <a:gd name="T78" fmla="*/ 203 w 281"/>
              <a:gd name="T79" fmla="*/ 169 h 178"/>
              <a:gd name="T80" fmla="*/ 212 w 281"/>
              <a:gd name="T81" fmla="*/ 175 h 178"/>
              <a:gd name="T82" fmla="*/ 222 w 281"/>
              <a:gd name="T83" fmla="*/ 175 h 178"/>
              <a:gd name="T84" fmla="*/ 228 w 281"/>
              <a:gd name="T85" fmla="*/ 166 h 178"/>
              <a:gd name="T86" fmla="*/ 241 w 281"/>
              <a:gd name="T87" fmla="*/ 159 h 178"/>
              <a:gd name="T88" fmla="*/ 247 w 281"/>
              <a:gd name="T89" fmla="*/ 153 h 178"/>
              <a:gd name="T90" fmla="*/ 253 w 281"/>
              <a:gd name="T91" fmla="*/ 138 h 178"/>
              <a:gd name="T92" fmla="*/ 250 w 281"/>
              <a:gd name="T93" fmla="*/ 131 h 178"/>
              <a:gd name="T94" fmla="*/ 259 w 281"/>
              <a:gd name="T95" fmla="*/ 128 h 178"/>
              <a:gd name="T96" fmla="*/ 272 w 281"/>
              <a:gd name="T97" fmla="*/ 122 h 178"/>
              <a:gd name="T98" fmla="*/ 281 w 281"/>
              <a:gd name="T99" fmla="*/ 12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178">
                <a:moveTo>
                  <a:pt x="281" y="125"/>
                </a:moveTo>
                <a:lnTo>
                  <a:pt x="281" y="116"/>
                </a:lnTo>
                <a:lnTo>
                  <a:pt x="281" y="109"/>
                </a:lnTo>
                <a:lnTo>
                  <a:pt x="275" y="106"/>
                </a:lnTo>
                <a:lnTo>
                  <a:pt x="272" y="106"/>
                </a:lnTo>
                <a:lnTo>
                  <a:pt x="269" y="103"/>
                </a:lnTo>
                <a:lnTo>
                  <a:pt x="259" y="100"/>
                </a:lnTo>
                <a:lnTo>
                  <a:pt x="247" y="91"/>
                </a:lnTo>
                <a:lnTo>
                  <a:pt x="231" y="84"/>
                </a:lnTo>
                <a:lnTo>
                  <a:pt x="219" y="75"/>
                </a:lnTo>
                <a:lnTo>
                  <a:pt x="203" y="69"/>
                </a:lnTo>
                <a:lnTo>
                  <a:pt x="197" y="66"/>
                </a:lnTo>
                <a:lnTo>
                  <a:pt x="194" y="56"/>
                </a:lnTo>
                <a:lnTo>
                  <a:pt x="191" y="50"/>
                </a:lnTo>
                <a:lnTo>
                  <a:pt x="187" y="50"/>
                </a:lnTo>
                <a:lnTo>
                  <a:pt x="184" y="37"/>
                </a:lnTo>
                <a:lnTo>
                  <a:pt x="175" y="31"/>
                </a:lnTo>
                <a:lnTo>
                  <a:pt x="172" y="31"/>
                </a:lnTo>
                <a:lnTo>
                  <a:pt x="169" y="31"/>
                </a:lnTo>
                <a:lnTo>
                  <a:pt x="156" y="25"/>
                </a:lnTo>
                <a:lnTo>
                  <a:pt x="144" y="19"/>
                </a:lnTo>
                <a:lnTo>
                  <a:pt x="141" y="12"/>
                </a:lnTo>
                <a:lnTo>
                  <a:pt x="131" y="6"/>
                </a:lnTo>
                <a:lnTo>
                  <a:pt x="116" y="0"/>
                </a:lnTo>
                <a:lnTo>
                  <a:pt x="106" y="0"/>
                </a:lnTo>
                <a:lnTo>
                  <a:pt x="112" y="3"/>
                </a:lnTo>
                <a:lnTo>
                  <a:pt x="109" y="6"/>
                </a:lnTo>
                <a:lnTo>
                  <a:pt x="103" y="3"/>
                </a:lnTo>
                <a:lnTo>
                  <a:pt x="100" y="6"/>
                </a:lnTo>
                <a:lnTo>
                  <a:pt x="97" y="9"/>
                </a:lnTo>
                <a:lnTo>
                  <a:pt x="91" y="12"/>
                </a:lnTo>
                <a:lnTo>
                  <a:pt x="87" y="19"/>
                </a:lnTo>
                <a:lnTo>
                  <a:pt x="87" y="28"/>
                </a:lnTo>
                <a:lnTo>
                  <a:pt x="91" y="31"/>
                </a:lnTo>
                <a:lnTo>
                  <a:pt x="87" y="34"/>
                </a:lnTo>
                <a:lnTo>
                  <a:pt x="81" y="34"/>
                </a:lnTo>
                <a:lnTo>
                  <a:pt x="69" y="34"/>
                </a:lnTo>
                <a:lnTo>
                  <a:pt x="62" y="37"/>
                </a:lnTo>
                <a:lnTo>
                  <a:pt x="47" y="22"/>
                </a:lnTo>
                <a:lnTo>
                  <a:pt x="34" y="12"/>
                </a:lnTo>
                <a:lnTo>
                  <a:pt x="22" y="12"/>
                </a:lnTo>
                <a:lnTo>
                  <a:pt x="12" y="16"/>
                </a:lnTo>
                <a:lnTo>
                  <a:pt x="0" y="25"/>
                </a:lnTo>
                <a:lnTo>
                  <a:pt x="0" y="28"/>
                </a:lnTo>
                <a:lnTo>
                  <a:pt x="3" y="31"/>
                </a:lnTo>
                <a:lnTo>
                  <a:pt x="3" y="34"/>
                </a:lnTo>
                <a:lnTo>
                  <a:pt x="6" y="37"/>
                </a:lnTo>
                <a:lnTo>
                  <a:pt x="9" y="41"/>
                </a:lnTo>
                <a:lnTo>
                  <a:pt x="12" y="47"/>
                </a:lnTo>
                <a:lnTo>
                  <a:pt x="12" y="53"/>
                </a:lnTo>
                <a:lnTo>
                  <a:pt x="9" y="56"/>
                </a:lnTo>
                <a:lnTo>
                  <a:pt x="9" y="66"/>
                </a:lnTo>
                <a:lnTo>
                  <a:pt x="12" y="69"/>
                </a:lnTo>
                <a:lnTo>
                  <a:pt x="12" y="72"/>
                </a:lnTo>
                <a:lnTo>
                  <a:pt x="22" y="78"/>
                </a:lnTo>
                <a:lnTo>
                  <a:pt x="19" y="75"/>
                </a:lnTo>
                <a:lnTo>
                  <a:pt x="19" y="72"/>
                </a:lnTo>
                <a:lnTo>
                  <a:pt x="19" y="72"/>
                </a:lnTo>
                <a:lnTo>
                  <a:pt x="25" y="72"/>
                </a:lnTo>
                <a:lnTo>
                  <a:pt x="28" y="72"/>
                </a:lnTo>
                <a:lnTo>
                  <a:pt x="28" y="72"/>
                </a:lnTo>
                <a:lnTo>
                  <a:pt x="28" y="75"/>
                </a:lnTo>
                <a:lnTo>
                  <a:pt x="28" y="81"/>
                </a:lnTo>
                <a:lnTo>
                  <a:pt x="31" y="78"/>
                </a:lnTo>
                <a:lnTo>
                  <a:pt x="34" y="84"/>
                </a:lnTo>
                <a:lnTo>
                  <a:pt x="34" y="84"/>
                </a:lnTo>
                <a:lnTo>
                  <a:pt x="31" y="84"/>
                </a:lnTo>
                <a:lnTo>
                  <a:pt x="28" y="84"/>
                </a:lnTo>
                <a:lnTo>
                  <a:pt x="25" y="81"/>
                </a:lnTo>
                <a:lnTo>
                  <a:pt x="22" y="84"/>
                </a:lnTo>
                <a:lnTo>
                  <a:pt x="22" y="87"/>
                </a:lnTo>
                <a:lnTo>
                  <a:pt x="25" y="94"/>
                </a:lnTo>
                <a:lnTo>
                  <a:pt x="25" y="87"/>
                </a:lnTo>
                <a:lnTo>
                  <a:pt x="25" y="87"/>
                </a:lnTo>
                <a:lnTo>
                  <a:pt x="28" y="87"/>
                </a:lnTo>
                <a:lnTo>
                  <a:pt x="31" y="87"/>
                </a:lnTo>
                <a:lnTo>
                  <a:pt x="34" y="94"/>
                </a:lnTo>
                <a:lnTo>
                  <a:pt x="37" y="94"/>
                </a:lnTo>
                <a:lnTo>
                  <a:pt x="41" y="100"/>
                </a:lnTo>
                <a:lnTo>
                  <a:pt x="41" y="106"/>
                </a:lnTo>
                <a:lnTo>
                  <a:pt x="41" y="109"/>
                </a:lnTo>
                <a:lnTo>
                  <a:pt x="41" y="119"/>
                </a:lnTo>
                <a:lnTo>
                  <a:pt x="41" y="125"/>
                </a:lnTo>
                <a:lnTo>
                  <a:pt x="47" y="134"/>
                </a:lnTo>
                <a:lnTo>
                  <a:pt x="50" y="131"/>
                </a:lnTo>
                <a:lnTo>
                  <a:pt x="59" y="131"/>
                </a:lnTo>
                <a:lnTo>
                  <a:pt x="59" y="125"/>
                </a:lnTo>
                <a:lnTo>
                  <a:pt x="62" y="122"/>
                </a:lnTo>
                <a:lnTo>
                  <a:pt x="66" y="122"/>
                </a:lnTo>
                <a:lnTo>
                  <a:pt x="75" y="116"/>
                </a:lnTo>
                <a:lnTo>
                  <a:pt x="84" y="116"/>
                </a:lnTo>
                <a:lnTo>
                  <a:pt x="91" y="116"/>
                </a:lnTo>
                <a:lnTo>
                  <a:pt x="91" y="112"/>
                </a:lnTo>
                <a:lnTo>
                  <a:pt x="97" y="109"/>
                </a:lnTo>
                <a:lnTo>
                  <a:pt x="100" y="112"/>
                </a:lnTo>
                <a:lnTo>
                  <a:pt x="103" y="112"/>
                </a:lnTo>
                <a:lnTo>
                  <a:pt x="112" y="119"/>
                </a:lnTo>
                <a:lnTo>
                  <a:pt x="116" y="119"/>
                </a:lnTo>
                <a:lnTo>
                  <a:pt x="128" y="125"/>
                </a:lnTo>
                <a:lnTo>
                  <a:pt x="131" y="125"/>
                </a:lnTo>
                <a:lnTo>
                  <a:pt x="134" y="125"/>
                </a:lnTo>
                <a:lnTo>
                  <a:pt x="144" y="128"/>
                </a:lnTo>
                <a:lnTo>
                  <a:pt x="147" y="128"/>
                </a:lnTo>
                <a:lnTo>
                  <a:pt x="147" y="134"/>
                </a:lnTo>
                <a:lnTo>
                  <a:pt x="150" y="134"/>
                </a:lnTo>
                <a:lnTo>
                  <a:pt x="153" y="134"/>
                </a:lnTo>
                <a:lnTo>
                  <a:pt x="162" y="138"/>
                </a:lnTo>
                <a:lnTo>
                  <a:pt x="169" y="147"/>
                </a:lnTo>
                <a:lnTo>
                  <a:pt x="178" y="147"/>
                </a:lnTo>
                <a:lnTo>
                  <a:pt x="181" y="150"/>
                </a:lnTo>
                <a:lnTo>
                  <a:pt x="184" y="156"/>
                </a:lnTo>
                <a:lnTo>
                  <a:pt x="184" y="159"/>
                </a:lnTo>
                <a:lnTo>
                  <a:pt x="187" y="163"/>
                </a:lnTo>
                <a:lnTo>
                  <a:pt x="187" y="166"/>
                </a:lnTo>
                <a:lnTo>
                  <a:pt x="187" y="169"/>
                </a:lnTo>
                <a:lnTo>
                  <a:pt x="191" y="169"/>
                </a:lnTo>
                <a:lnTo>
                  <a:pt x="194" y="169"/>
                </a:lnTo>
                <a:lnTo>
                  <a:pt x="197" y="172"/>
                </a:lnTo>
                <a:lnTo>
                  <a:pt x="200" y="172"/>
                </a:lnTo>
                <a:lnTo>
                  <a:pt x="203" y="169"/>
                </a:lnTo>
                <a:lnTo>
                  <a:pt x="206" y="169"/>
                </a:lnTo>
                <a:lnTo>
                  <a:pt x="209" y="172"/>
                </a:lnTo>
                <a:lnTo>
                  <a:pt x="212" y="175"/>
                </a:lnTo>
                <a:lnTo>
                  <a:pt x="212" y="178"/>
                </a:lnTo>
                <a:lnTo>
                  <a:pt x="216" y="175"/>
                </a:lnTo>
                <a:lnTo>
                  <a:pt x="222" y="175"/>
                </a:lnTo>
                <a:lnTo>
                  <a:pt x="225" y="172"/>
                </a:lnTo>
                <a:lnTo>
                  <a:pt x="225" y="169"/>
                </a:lnTo>
                <a:lnTo>
                  <a:pt x="228" y="166"/>
                </a:lnTo>
                <a:lnTo>
                  <a:pt x="225" y="163"/>
                </a:lnTo>
                <a:lnTo>
                  <a:pt x="231" y="159"/>
                </a:lnTo>
                <a:lnTo>
                  <a:pt x="241" y="159"/>
                </a:lnTo>
                <a:lnTo>
                  <a:pt x="241" y="156"/>
                </a:lnTo>
                <a:lnTo>
                  <a:pt x="244" y="153"/>
                </a:lnTo>
                <a:lnTo>
                  <a:pt x="247" y="153"/>
                </a:lnTo>
                <a:lnTo>
                  <a:pt x="247" y="147"/>
                </a:lnTo>
                <a:lnTo>
                  <a:pt x="247" y="144"/>
                </a:lnTo>
                <a:lnTo>
                  <a:pt x="253" y="138"/>
                </a:lnTo>
                <a:lnTo>
                  <a:pt x="253" y="134"/>
                </a:lnTo>
                <a:lnTo>
                  <a:pt x="250" y="134"/>
                </a:lnTo>
                <a:lnTo>
                  <a:pt x="250" y="131"/>
                </a:lnTo>
                <a:lnTo>
                  <a:pt x="253" y="131"/>
                </a:lnTo>
                <a:lnTo>
                  <a:pt x="256" y="128"/>
                </a:lnTo>
                <a:lnTo>
                  <a:pt x="259" y="128"/>
                </a:lnTo>
                <a:lnTo>
                  <a:pt x="262" y="128"/>
                </a:lnTo>
                <a:lnTo>
                  <a:pt x="269" y="122"/>
                </a:lnTo>
                <a:lnTo>
                  <a:pt x="272" y="122"/>
                </a:lnTo>
                <a:lnTo>
                  <a:pt x="275" y="125"/>
                </a:lnTo>
                <a:lnTo>
                  <a:pt x="281" y="122"/>
                </a:lnTo>
                <a:lnTo>
                  <a:pt x="281" y="125"/>
                </a:lnTo>
                <a:lnTo>
                  <a:pt x="281" y="125"/>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2" name="Freeform 20">
            <a:extLst>
              <a:ext uri="{FF2B5EF4-FFF2-40B4-BE49-F238E27FC236}">
                <a16:creationId xmlns:a16="http://schemas.microsoft.com/office/drawing/2014/main" id="{5B555ADE-C660-659F-5182-A6C37775A0EB}"/>
              </a:ext>
            </a:extLst>
          </p:cNvPr>
          <p:cNvSpPr>
            <a:spLocks noEditPoints="1"/>
          </p:cNvSpPr>
          <p:nvPr userDrawn="1"/>
        </p:nvSpPr>
        <p:spPr bwMode="auto">
          <a:xfrm>
            <a:off x="24195100" y="10489489"/>
            <a:ext cx="187314" cy="158750"/>
          </a:xfrm>
          <a:custGeom>
            <a:avLst/>
            <a:gdLst>
              <a:gd name="T0" fmla="*/ 28 w 59"/>
              <a:gd name="T1" fmla="*/ 19 h 50"/>
              <a:gd name="T2" fmla="*/ 31 w 59"/>
              <a:gd name="T3" fmla="*/ 12 h 50"/>
              <a:gd name="T4" fmla="*/ 34 w 59"/>
              <a:gd name="T5" fmla="*/ 12 h 50"/>
              <a:gd name="T6" fmla="*/ 40 w 59"/>
              <a:gd name="T7" fmla="*/ 9 h 50"/>
              <a:gd name="T8" fmla="*/ 43 w 59"/>
              <a:gd name="T9" fmla="*/ 9 h 50"/>
              <a:gd name="T10" fmla="*/ 50 w 59"/>
              <a:gd name="T11" fmla="*/ 6 h 50"/>
              <a:gd name="T12" fmla="*/ 53 w 59"/>
              <a:gd name="T13" fmla="*/ 6 h 50"/>
              <a:gd name="T14" fmla="*/ 59 w 59"/>
              <a:gd name="T15" fmla="*/ 0 h 50"/>
              <a:gd name="T16" fmla="*/ 59 w 59"/>
              <a:gd name="T17" fmla="*/ 3 h 50"/>
              <a:gd name="T18" fmla="*/ 56 w 59"/>
              <a:gd name="T19" fmla="*/ 6 h 50"/>
              <a:gd name="T20" fmla="*/ 56 w 59"/>
              <a:gd name="T21" fmla="*/ 9 h 50"/>
              <a:gd name="T22" fmla="*/ 50 w 59"/>
              <a:gd name="T23" fmla="*/ 15 h 50"/>
              <a:gd name="T24" fmla="*/ 53 w 59"/>
              <a:gd name="T25" fmla="*/ 15 h 50"/>
              <a:gd name="T26" fmla="*/ 56 w 59"/>
              <a:gd name="T27" fmla="*/ 12 h 50"/>
              <a:gd name="T28" fmla="*/ 59 w 59"/>
              <a:gd name="T29" fmla="*/ 15 h 50"/>
              <a:gd name="T30" fmla="*/ 56 w 59"/>
              <a:gd name="T31" fmla="*/ 19 h 50"/>
              <a:gd name="T32" fmla="*/ 46 w 59"/>
              <a:gd name="T33" fmla="*/ 19 h 50"/>
              <a:gd name="T34" fmla="*/ 43 w 59"/>
              <a:gd name="T35" fmla="*/ 15 h 50"/>
              <a:gd name="T36" fmla="*/ 40 w 59"/>
              <a:gd name="T37" fmla="*/ 15 h 50"/>
              <a:gd name="T38" fmla="*/ 40 w 59"/>
              <a:gd name="T39" fmla="*/ 19 h 50"/>
              <a:gd name="T40" fmla="*/ 34 w 59"/>
              <a:gd name="T41" fmla="*/ 19 h 50"/>
              <a:gd name="T42" fmla="*/ 31 w 59"/>
              <a:gd name="T43" fmla="*/ 22 h 50"/>
              <a:gd name="T44" fmla="*/ 28 w 59"/>
              <a:gd name="T45" fmla="*/ 19 h 50"/>
              <a:gd name="T46" fmla="*/ 28 w 59"/>
              <a:gd name="T47" fmla="*/ 19 h 50"/>
              <a:gd name="T48" fmla="*/ 6 w 59"/>
              <a:gd name="T49" fmla="*/ 34 h 50"/>
              <a:gd name="T50" fmla="*/ 12 w 59"/>
              <a:gd name="T51" fmla="*/ 31 h 50"/>
              <a:gd name="T52" fmla="*/ 21 w 59"/>
              <a:gd name="T53" fmla="*/ 28 h 50"/>
              <a:gd name="T54" fmla="*/ 28 w 59"/>
              <a:gd name="T55" fmla="*/ 34 h 50"/>
              <a:gd name="T56" fmla="*/ 31 w 59"/>
              <a:gd name="T57" fmla="*/ 47 h 50"/>
              <a:gd name="T58" fmla="*/ 25 w 59"/>
              <a:gd name="T59" fmla="*/ 50 h 50"/>
              <a:gd name="T60" fmla="*/ 18 w 59"/>
              <a:gd name="T61" fmla="*/ 47 h 50"/>
              <a:gd name="T62" fmla="*/ 15 w 59"/>
              <a:gd name="T63" fmla="*/ 50 h 50"/>
              <a:gd name="T64" fmla="*/ 6 w 59"/>
              <a:gd name="T65" fmla="*/ 50 h 50"/>
              <a:gd name="T66" fmla="*/ 0 w 59"/>
              <a:gd name="T67" fmla="*/ 47 h 50"/>
              <a:gd name="T68" fmla="*/ 0 w 59"/>
              <a:gd name="T69" fmla="*/ 40 h 50"/>
              <a:gd name="T70" fmla="*/ 6 w 59"/>
              <a:gd name="T71" fmla="*/ 40 h 50"/>
              <a:gd name="T72" fmla="*/ 6 w 59"/>
              <a:gd name="T73" fmla="*/ 3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 h="50">
                <a:moveTo>
                  <a:pt x="28" y="19"/>
                </a:moveTo>
                <a:lnTo>
                  <a:pt x="31" y="12"/>
                </a:lnTo>
                <a:lnTo>
                  <a:pt x="34" y="12"/>
                </a:lnTo>
                <a:lnTo>
                  <a:pt x="40" y="9"/>
                </a:lnTo>
                <a:lnTo>
                  <a:pt x="43" y="9"/>
                </a:lnTo>
                <a:lnTo>
                  <a:pt x="50" y="6"/>
                </a:lnTo>
                <a:lnTo>
                  <a:pt x="53" y="6"/>
                </a:lnTo>
                <a:lnTo>
                  <a:pt x="59" y="0"/>
                </a:lnTo>
                <a:lnTo>
                  <a:pt x="59" y="3"/>
                </a:lnTo>
                <a:lnTo>
                  <a:pt x="56" y="6"/>
                </a:lnTo>
                <a:lnTo>
                  <a:pt x="56" y="9"/>
                </a:lnTo>
                <a:lnTo>
                  <a:pt x="50" y="15"/>
                </a:lnTo>
                <a:lnTo>
                  <a:pt x="53" y="15"/>
                </a:lnTo>
                <a:lnTo>
                  <a:pt x="56" y="12"/>
                </a:lnTo>
                <a:lnTo>
                  <a:pt x="59" y="15"/>
                </a:lnTo>
                <a:lnTo>
                  <a:pt x="56" y="19"/>
                </a:lnTo>
                <a:lnTo>
                  <a:pt x="46" y="19"/>
                </a:lnTo>
                <a:lnTo>
                  <a:pt x="43" y="15"/>
                </a:lnTo>
                <a:lnTo>
                  <a:pt x="40" y="15"/>
                </a:lnTo>
                <a:lnTo>
                  <a:pt x="40" y="19"/>
                </a:lnTo>
                <a:lnTo>
                  <a:pt x="34" y="19"/>
                </a:lnTo>
                <a:lnTo>
                  <a:pt x="31" y="22"/>
                </a:lnTo>
                <a:lnTo>
                  <a:pt x="28" y="19"/>
                </a:lnTo>
                <a:lnTo>
                  <a:pt x="28" y="19"/>
                </a:lnTo>
                <a:close/>
                <a:moveTo>
                  <a:pt x="6" y="34"/>
                </a:moveTo>
                <a:lnTo>
                  <a:pt x="12" y="31"/>
                </a:lnTo>
                <a:lnTo>
                  <a:pt x="21" y="28"/>
                </a:lnTo>
                <a:lnTo>
                  <a:pt x="28" y="34"/>
                </a:lnTo>
                <a:lnTo>
                  <a:pt x="31" y="47"/>
                </a:lnTo>
                <a:lnTo>
                  <a:pt x="25" y="50"/>
                </a:lnTo>
                <a:lnTo>
                  <a:pt x="18" y="47"/>
                </a:lnTo>
                <a:lnTo>
                  <a:pt x="15" y="50"/>
                </a:lnTo>
                <a:lnTo>
                  <a:pt x="6" y="50"/>
                </a:lnTo>
                <a:lnTo>
                  <a:pt x="0" y="47"/>
                </a:lnTo>
                <a:lnTo>
                  <a:pt x="0" y="40"/>
                </a:lnTo>
                <a:lnTo>
                  <a:pt x="6" y="40"/>
                </a:lnTo>
                <a:lnTo>
                  <a:pt x="6" y="34"/>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3" name="Freeform 21">
            <a:extLst>
              <a:ext uri="{FF2B5EF4-FFF2-40B4-BE49-F238E27FC236}">
                <a16:creationId xmlns:a16="http://schemas.microsoft.com/office/drawing/2014/main" id="{A050925C-1F77-34D5-5383-F9B71DE8EE28}"/>
              </a:ext>
            </a:extLst>
          </p:cNvPr>
          <p:cNvSpPr>
            <a:spLocks noEditPoints="1"/>
          </p:cNvSpPr>
          <p:nvPr userDrawn="1"/>
        </p:nvSpPr>
        <p:spPr bwMode="auto">
          <a:xfrm>
            <a:off x="23547442" y="10368839"/>
            <a:ext cx="139693" cy="377826"/>
          </a:xfrm>
          <a:custGeom>
            <a:avLst/>
            <a:gdLst>
              <a:gd name="T0" fmla="*/ 14 w 14"/>
              <a:gd name="T1" fmla="*/ 37 h 38"/>
              <a:gd name="T2" fmla="*/ 14 w 14"/>
              <a:gd name="T3" fmla="*/ 37 h 38"/>
              <a:gd name="T4" fmla="*/ 13 w 14"/>
              <a:gd name="T5" fmla="*/ 30 h 38"/>
              <a:gd name="T6" fmla="*/ 14 w 14"/>
              <a:gd name="T7" fmla="*/ 33 h 38"/>
              <a:gd name="T8" fmla="*/ 13 w 14"/>
              <a:gd name="T9" fmla="*/ 30 h 38"/>
              <a:gd name="T10" fmla="*/ 9 w 14"/>
              <a:gd name="T11" fmla="*/ 22 h 38"/>
              <a:gd name="T12" fmla="*/ 11 w 14"/>
              <a:gd name="T13" fmla="*/ 22 h 38"/>
              <a:gd name="T14" fmla="*/ 10 w 14"/>
              <a:gd name="T15" fmla="*/ 24 h 38"/>
              <a:gd name="T16" fmla="*/ 9 w 14"/>
              <a:gd name="T17" fmla="*/ 22 h 38"/>
              <a:gd name="T18" fmla="*/ 11 w 14"/>
              <a:gd name="T19" fmla="*/ 4 h 38"/>
              <a:gd name="T20" fmla="*/ 11 w 14"/>
              <a:gd name="T21" fmla="*/ 4 h 38"/>
              <a:gd name="T22" fmla="*/ 7 w 14"/>
              <a:gd name="T23" fmla="*/ 6 h 38"/>
              <a:gd name="T24" fmla="*/ 9 w 14"/>
              <a:gd name="T25" fmla="*/ 5 h 38"/>
              <a:gd name="T26" fmla="*/ 8 w 14"/>
              <a:gd name="T27" fmla="*/ 5 h 38"/>
              <a:gd name="T28" fmla="*/ 10 w 14"/>
              <a:gd name="T29" fmla="*/ 7 h 38"/>
              <a:gd name="T30" fmla="*/ 11 w 14"/>
              <a:gd name="T31" fmla="*/ 9 h 38"/>
              <a:gd name="T32" fmla="*/ 10 w 14"/>
              <a:gd name="T33" fmla="*/ 10 h 38"/>
              <a:gd name="T34" fmla="*/ 10 w 14"/>
              <a:gd name="T35" fmla="*/ 7 h 38"/>
              <a:gd name="T36" fmla="*/ 10 w 14"/>
              <a:gd name="T37" fmla="*/ 15 h 38"/>
              <a:gd name="T38" fmla="*/ 11 w 14"/>
              <a:gd name="T39" fmla="*/ 17 h 38"/>
              <a:gd name="T40" fmla="*/ 9 w 14"/>
              <a:gd name="T41" fmla="*/ 16 h 38"/>
              <a:gd name="T42" fmla="*/ 10 w 14"/>
              <a:gd name="T43" fmla="*/ 12 h 38"/>
              <a:gd name="T44" fmla="*/ 11 w 14"/>
              <a:gd name="T45" fmla="*/ 13 h 38"/>
              <a:gd name="T46" fmla="*/ 10 w 14"/>
              <a:gd name="T47" fmla="*/ 14 h 38"/>
              <a:gd name="T48" fmla="*/ 9 w 14"/>
              <a:gd name="T49" fmla="*/ 14 h 38"/>
              <a:gd name="T50" fmla="*/ 8 w 14"/>
              <a:gd name="T51" fmla="*/ 13 h 38"/>
              <a:gd name="T52" fmla="*/ 5 w 14"/>
              <a:gd name="T53" fmla="*/ 10 h 38"/>
              <a:gd name="T54" fmla="*/ 6 w 14"/>
              <a:gd name="T55" fmla="*/ 12 h 38"/>
              <a:gd name="T56" fmla="*/ 7 w 14"/>
              <a:gd name="T57" fmla="*/ 14 h 38"/>
              <a:gd name="T58" fmla="*/ 5 w 14"/>
              <a:gd name="T59" fmla="*/ 15 h 38"/>
              <a:gd name="T60" fmla="*/ 5 w 14"/>
              <a:gd name="T61" fmla="*/ 13 h 38"/>
              <a:gd name="T62" fmla="*/ 4 w 14"/>
              <a:gd name="T63" fmla="*/ 11 h 38"/>
              <a:gd name="T64" fmla="*/ 3 w 14"/>
              <a:gd name="T65" fmla="*/ 10 h 38"/>
              <a:gd name="T66" fmla="*/ 1 w 14"/>
              <a:gd name="T67" fmla="*/ 0 h 38"/>
              <a:gd name="T68" fmla="*/ 0 w 14"/>
              <a:gd name="T69" fmla="*/ 5 h 38"/>
              <a:gd name="T70" fmla="*/ 1 w 14"/>
              <a:gd name="T71" fmla="*/ 8 h 38"/>
              <a:gd name="T72" fmla="*/ 3 w 14"/>
              <a:gd name="T73" fmla="*/ 7 h 38"/>
              <a:gd name="T74" fmla="*/ 4 w 14"/>
              <a:gd name="T75" fmla="*/ 7 h 38"/>
              <a:gd name="T76" fmla="*/ 4 w 14"/>
              <a:gd name="T77" fmla="*/ 4 h 38"/>
              <a:gd name="T78" fmla="*/ 3 w 14"/>
              <a:gd name="T79" fmla="*/ 2 h 38"/>
              <a:gd name="T80" fmla="*/ 3 w 14"/>
              <a:gd name="T81" fmla="*/ 4 h 38"/>
              <a:gd name="T82" fmla="*/ 2 w 14"/>
              <a:gd name="T83" fmla="*/ 4 h 38"/>
              <a:gd name="T84" fmla="*/ 1 w 14"/>
              <a:gd name="T8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 h="38">
                <a:moveTo>
                  <a:pt x="14" y="36"/>
                </a:moveTo>
                <a:cubicBezTo>
                  <a:pt x="14" y="37"/>
                  <a:pt x="14" y="37"/>
                  <a:pt x="14" y="37"/>
                </a:cubicBezTo>
                <a:cubicBezTo>
                  <a:pt x="14" y="38"/>
                  <a:pt x="14" y="38"/>
                  <a:pt x="14" y="38"/>
                </a:cubicBezTo>
                <a:cubicBezTo>
                  <a:pt x="14" y="37"/>
                  <a:pt x="14" y="37"/>
                  <a:pt x="14" y="37"/>
                </a:cubicBezTo>
                <a:cubicBezTo>
                  <a:pt x="14" y="36"/>
                  <a:pt x="14" y="36"/>
                  <a:pt x="14" y="36"/>
                </a:cubicBezTo>
                <a:close/>
                <a:moveTo>
                  <a:pt x="13" y="30"/>
                </a:moveTo>
                <a:cubicBezTo>
                  <a:pt x="14" y="31"/>
                  <a:pt x="14" y="31"/>
                  <a:pt x="14" y="31"/>
                </a:cubicBezTo>
                <a:cubicBezTo>
                  <a:pt x="14" y="33"/>
                  <a:pt x="14" y="33"/>
                  <a:pt x="14" y="33"/>
                </a:cubicBezTo>
                <a:cubicBezTo>
                  <a:pt x="13" y="32"/>
                  <a:pt x="13" y="32"/>
                  <a:pt x="13" y="32"/>
                </a:cubicBezTo>
                <a:cubicBezTo>
                  <a:pt x="13" y="30"/>
                  <a:pt x="13" y="30"/>
                  <a:pt x="13" y="30"/>
                </a:cubicBezTo>
                <a:cubicBezTo>
                  <a:pt x="13" y="30"/>
                  <a:pt x="13" y="30"/>
                  <a:pt x="13" y="30"/>
                </a:cubicBezTo>
                <a:close/>
                <a:moveTo>
                  <a:pt x="9" y="22"/>
                </a:moveTo>
                <a:cubicBezTo>
                  <a:pt x="10" y="21"/>
                  <a:pt x="10" y="21"/>
                  <a:pt x="10" y="21"/>
                </a:cubicBezTo>
                <a:cubicBezTo>
                  <a:pt x="11" y="22"/>
                  <a:pt x="11" y="22"/>
                  <a:pt x="11" y="22"/>
                </a:cubicBezTo>
                <a:cubicBezTo>
                  <a:pt x="11" y="24"/>
                  <a:pt x="11" y="24"/>
                  <a:pt x="11" y="24"/>
                </a:cubicBezTo>
                <a:cubicBezTo>
                  <a:pt x="10" y="24"/>
                  <a:pt x="10" y="24"/>
                  <a:pt x="10" y="24"/>
                </a:cubicBezTo>
                <a:cubicBezTo>
                  <a:pt x="9" y="23"/>
                  <a:pt x="9" y="23"/>
                  <a:pt x="9" y="23"/>
                </a:cubicBezTo>
                <a:cubicBezTo>
                  <a:pt x="9" y="22"/>
                  <a:pt x="9" y="22"/>
                  <a:pt x="9" y="22"/>
                </a:cubicBezTo>
                <a:close/>
                <a:moveTo>
                  <a:pt x="10" y="2"/>
                </a:moveTo>
                <a:cubicBezTo>
                  <a:pt x="11" y="4"/>
                  <a:pt x="11" y="4"/>
                  <a:pt x="11" y="4"/>
                </a:cubicBezTo>
                <a:cubicBezTo>
                  <a:pt x="10" y="5"/>
                  <a:pt x="10" y="5"/>
                  <a:pt x="10" y="5"/>
                </a:cubicBezTo>
                <a:cubicBezTo>
                  <a:pt x="11" y="4"/>
                  <a:pt x="11" y="4"/>
                  <a:pt x="11" y="4"/>
                </a:cubicBezTo>
                <a:cubicBezTo>
                  <a:pt x="10" y="2"/>
                  <a:pt x="10" y="2"/>
                  <a:pt x="10" y="2"/>
                </a:cubicBezTo>
                <a:close/>
                <a:moveTo>
                  <a:pt x="7" y="6"/>
                </a:moveTo>
                <a:cubicBezTo>
                  <a:pt x="8" y="6"/>
                  <a:pt x="8" y="6"/>
                  <a:pt x="8" y="6"/>
                </a:cubicBezTo>
                <a:cubicBezTo>
                  <a:pt x="9" y="5"/>
                  <a:pt x="9" y="5"/>
                  <a:pt x="9" y="5"/>
                </a:cubicBezTo>
                <a:cubicBezTo>
                  <a:pt x="9" y="5"/>
                  <a:pt x="9" y="5"/>
                  <a:pt x="9" y="5"/>
                </a:cubicBezTo>
                <a:cubicBezTo>
                  <a:pt x="8" y="5"/>
                  <a:pt x="8" y="5"/>
                  <a:pt x="8" y="5"/>
                </a:cubicBezTo>
                <a:cubicBezTo>
                  <a:pt x="8" y="5"/>
                  <a:pt x="7" y="6"/>
                  <a:pt x="7" y="6"/>
                </a:cubicBezTo>
                <a:close/>
                <a:moveTo>
                  <a:pt x="10" y="7"/>
                </a:moveTo>
                <a:cubicBezTo>
                  <a:pt x="11" y="8"/>
                  <a:pt x="11" y="8"/>
                  <a:pt x="11" y="8"/>
                </a:cubicBezTo>
                <a:cubicBezTo>
                  <a:pt x="11" y="9"/>
                  <a:pt x="11" y="9"/>
                  <a:pt x="11" y="9"/>
                </a:cubicBezTo>
                <a:cubicBezTo>
                  <a:pt x="11" y="10"/>
                  <a:pt x="11" y="10"/>
                  <a:pt x="11" y="10"/>
                </a:cubicBezTo>
                <a:cubicBezTo>
                  <a:pt x="10" y="10"/>
                  <a:pt x="10" y="10"/>
                  <a:pt x="10" y="10"/>
                </a:cubicBezTo>
                <a:cubicBezTo>
                  <a:pt x="10" y="9"/>
                  <a:pt x="10" y="9"/>
                  <a:pt x="10" y="9"/>
                </a:cubicBezTo>
                <a:cubicBezTo>
                  <a:pt x="10" y="9"/>
                  <a:pt x="10" y="7"/>
                  <a:pt x="10" y="7"/>
                </a:cubicBezTo>
                <a:close/>
                <a:moveTo>
                  <a:pt x="9" y="16"/>
                </a:moveTo>
                <a:cubicBezTo>
                  <a:pt x="10" y="15"/>
                  <a:pt x="10" y="15"/>
                  <a:pt x="10" y="15"/>
                </a:cubicBezTo>
                <a:cubicBezTo>
                  <a:pt x="11" y="16"/>
                  <a:pt x="11" y="16"/>
                  <a:pt x="11" y="16"/>
                </a:cubicBezTo>
                <a:cubicBezTo>
                  <a:pt x="11" y="17"/>
                  <a:pt x="11" y="17"/>
                  <a:pt x="11" y="17"/>
                </a:cubicBezTo>
                <a:cubicBezTo>
                  <a:pt x="9" y="17"/>
                  <a:pt x="9" y="17"/>
                  <a:pt x="9" y="17"/>
                </a:cubicBezTo>
                <a:cubicBezTo>
                  <a:pt x="9" y="16"/>
                  <a:pt x="9" y="16"/>
                  <a:pt x="9" y="16"/>
                </a:cubicBezTo>
                <a:close/>
                <a:moveTo>
                  <a:pt x="8" y="13"/>
                </a:moveTo>
                <a:cubicBezTo>
                  <a:pt x="10" y="12"/>
                  <a:pt x="10" y="12"/>
                  <a:pt x="10" y="12"/>
                </a:cubicBezTo>
                <a:cubicBezTo>
                  <a:pt x="10" y="13"/>
                  <a:pt x="10" y="13"/>
                  <a:pt x="10" y="13"/>
                </a:cubicBezTo>
                <a:cubicBezTo>
                  <a:pt x="11" y="13"/>
                  <a:pt x="11" y="13"/>
                  <a:pt x="11" y="13"/>
                </a:cubicBezTo>
                <a:cubicBezTo>
                  <a:pt x="10" y="14"/>
                  <a:pt x="10" y="14"/>
                  <a:pt x="10" y="14"/>
                </a:cubicBezTo>
                <a:cubicBezTo>
                  <a:pt x="10" y="14"/>
                  <a:pt x="10" y="14"/>
                  <a:pt x="10" y="14"/>
                </a:cubicBezTo>
                <a:cubicBezTo>
                  <a:pt x="9" y="14"/>
                  <a:pt x="9" y="14"/>
                  <a:pt x="9" y="14"/>
                </a:cubicBezTo>
                <a:cubicBezTo>
                  <a:pt x="9" y="14"/>
                  <a:pt x="9" y="14"/>
                  <a:pt x="9" y="14"/>
                </a:cubicBezTo>
                <a:cubicBezTo>
                  <a:pt x="8" y="14"/>
                  <a:pt x="8" y="14"/>
                  <a:pt x="8" y="14"/>
                </a:cubicBezTo>
                <a:cubicBezTo>
                  <a:pt x="8" y="13"/>
                  <a:pt x="8" y="13"/>
                  <a:pt x="8" y="13"/>
                </a:cubicBezTo>
                <a:close/>
                <a:moveTo>
                  <a:pt x="4" y="10"/>
                </a:moveTo>
                <a:cubicBezTo>
                  <a:pt x="5" y="10"/>
                  <a:pt x="5" y="10"/>
                  <a:pt x="5" y="10"/>
                </a:cubicBezTo>
                <a:cubicBezTo>
                  <a:pt x="6" y="11"/>
                  <a:pt x="6" y="11"/>
                  <a:pt x="6" y="11"/>
                </a:cubicBezTo>
                <a:cubicBezTo>
                  <a:pt x="6" y="12"/>
                  <a:pt x="6" y="12"/>
                  <a:pt x="6" y="12"/>
                </a:cubicBezTo>
                <a:cubicBezTo>
                  <a:pt x="7" y="13"/>
                  <a:pt x="7" y="13"/>
                  <a:pt x="7" y="13"/>
                </a:cubicBezTo>
                <a:cubicBezTo>
                  <a:pt x="7" y="14"/>
                  <a:pt x="7" y="14"/>
                  <a:pt x="7" y="14"/>
                </a:cubicBezTo>
                <a:cubicBezTo>
                  <a:pt x="6" y="15"/>
                  <a:pt x="6" y="15"/>
                  <a:pt x="6" y="15"/>
                </a:cubicBezTo>
                <a:cubicBezTo>
                  <a:pt x="5" y="15"/>
                  <a:pt x="5" y="15"/>
                  <a:pt x="5" y="15"/>
                </a:cubicBezTo>
                <a:cubicBezTo>
                  <a:pt x="4" y="14"/>
                  <a:pt x="4" y="14"/>
                  <a:pt x="4" y="14"/>
                </a:cubicBezTo>
                <a:cubicBezTo>
                  <a:pt x="5" y="13"/>
                  <a:pt x="5" y="13"/>
                  <a:pt x="5" y="13"/>
                </a:cubicBezTo>
                <a:cubicBezTo>
                  <a:pt x="5" y="12"/>
                  <a:pt x="5" y="12"/>
                  <a:pt x="5" y="12"/>
                </a:cubicBezTo>
                <a:cubicBezTo>
                  <a:pt x="4" y="11"/>
                  <a:pt x="4" y="11"/>
                  <a:pt x="4" y="11"/>
                </a:cubicBezTo>
                <a:cubicBezTo>
                  <a:pt x="4" y="11"/>
                  <a:pt x="4" y="11"/>
                  <a:pt x="4" y="11"/>
                </a:cubicBezTo>
                <a:cubicBezTo>
                  <a:pt x="3" y="10"/>
                  <a:pt x="3" y="10"/>
                  <a:pt x="3" y="10"/>
                </a:cubicBezTo>
                <a:cubicBezTo>
                  <a:pt x="4" y="10"/>
                  <a:pt x="4" y="10"/>
                  <a:pt x="4" y="10"/>
                </a:cubicBezTo>
                <a:close/>
                <a:moveTo>
                  <a:pt x="1" y="0"/>
                </a:moveTo>
                <a:cubicBezTo>
                  <a:pt x="0" y="3"/>
                  <a:pt x="0" y="3"/>
                  <a:pt x="0" y="3"/>
                </a:cubicBezTo>
                <a:cubicBezTo>
                  <a:pt x="0" y="5"/>
                  <a:pt x="0" y="5"/>
                  <a:pt x="0" y="5"/>
                </a:cubicBezTo>
                <a:cubicBezTo>
                  <a:pt x="0" y="6"/>
                  <a:pt x="0" y="6"/>
                  <a:pt x="0" y="6"/>
                </a:cubicBezTo>
                <a:cubicBezTo>
                  <a:pt x="1" y="8"/>
                  <a:pt x="1" y="8"/>
                  <a:pt x="1" y="8"/>
                </a:cubicBezTo>
                <a:cubicBezTo>
                  <a:pt x="2" y="8"/>
                  <a:pt x="2" y="8"/>
                  <a:pt x="2" y="8"/>
                </a:cubicBezTo>
                <a:cubicBezTo>
                  <a:pt x="3" y="7"/>
                  <a:pt x="3" y="7"/>
                  <a:pt x="3" y="7"/>
                </a:cubicBezTo>
                <a:cubicBezTo>
                  <a:pt x="3" y="7"/>
                  <a:pt x="3" y="7"/>
                  <a:pt x="3" y="7"/>
                </a:cubicBezTo>
                <a:cubicBezTo>
                  <a:pt x="4" y="7"/>
                  <a:pt x="4" y="7"/>
                  <a:pt x="4" y="7"/>
                </a:cubicBezTo>
                <a:cubicBezTo>
                  <a:pt x="4" y="5"/>
                  <a:pt x="4" y="5"/>
                  <a:pt x="4" y="5"/>
                </a:cubicBezTo>
                <a:cubicBezTo>
                  <a:pt x="4" y="4"/>
                  <a:pt x="4" y="4"/>
                  <a:pt x="4" y="4"/>
                </a:cubicBezTo>
                <a:cubicBezTo>
                  <a:pt x="4" y="3"/>
                  <a:pt x="4" y="3"/>
                  <a:pt x="4" y="3"/>
                </a:cubicBezTo>
                <a:cubicBezTo>
                  <a:pt x="3" y="2"/>
                  <a:pt x="3" y="2"/>
                  <a:pt x="3" y="2"/>
                </a:cubicBezTo>
                <a:cubicBezTo>
                  <a:pt x="3" y="3"/>
                  <a:pt x="3" y="3"/>
                  <a:pt x="3" y="3"/>
                </a:cubicBezTo>
                <a:cubicBezTo>
                  <a:pt x="3" y="4"/>
                  <a:pt x="3" y="4"/>
                  <a:pt x="3" y="4"/>
                </a:cubicBezTo>
                <a:cubicBezTo>
                  <a:pt x="2" y="4"/>
                  <a:pt x="2" y="4"/>
                  <a:pt x="2" y="4"/>
                </a:cubicBezTo>
                <a:cubicBezTo>
                  <a:pt x="2" y="4"/>
                  <a:pt x="2" y="4"/>
                  <a:pt x="2" y="4"/>
                </a:cubicBezTo>
                <a:cubicBezTo>
                  <a:pt x="1" y="1"/>
                  <a:pt x="1" y="1"/>
                  <a:pt x="1" y="1"/>
                </a:cubicBezTo>
                <a:cubicBezTo>
                  <a:pt x="1" y="1"/>
                  <a:pt x="1" y="0"/>
                  <a:pt x="1" y="0"/>
                </a:cubicBez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4" name="Freeform 22">
            <a:extLst>
              <a:ext uri="{FF2B5EF4-FFF2-40B4-BE49-F238E27FC236}">
                <a16:creationId xmlns:a16="http://schemas.microsoft.com/office/drawing/2014/main" id="{9A3DB824-8FD4-9DC9-8887-63FC23D99567}"/>
              </a:ext>
            </a:extLst>
          </p:cNvPr>
          <p:cNvSpPr>
            <a:spLocks noEditPoints="1"/>
          </p:cNvSpPr>
          <p:nvPr userDrawn="1"/>
        </p:nvSpPr>
        <p:spPr bwMode="auto">
          <a:xfrm>
            <a:off x="22944233" y="9794163"/>
            <a:ext cx="603211" cy="368302"/>
          </a:xfrm>
          <a:custGeom>
            <a:avLst/>
            <a:gdLst>
              <a:gd name="T0" fmla="*/ 60 w 61"/>
              <a:gd name="T1" fmla="*/ 30 h 37"/>
              <a:gd name="T2" fmla="*/ 58 w 61"/>
              <a:gd name="T3" fmla="*/ 32 h 37"/>
              <a:gd name="T4" fmla="*/ 24 w 61"/>
              <a:gd name="T5" fmla="*/ 36 h 37"/>
              <a:gd name="T6" fmla="*/ 25 w 61"/>
              <a:gd name="T7" fmla="*/ 37 h 37"/>
              <a:gd name="T8" fmla="*/ 23 w 61"/>
              <a:gd name="T9" fmla="*/ 36 h 37"/>
              <a:gd name="T10" fmla="*/ 33 w 61"/>
              <a:gd name="T11" fmla="*/ 27 h 37"/>
              <a:gd name="T12" fmla="*/ 37 w 61"/>
              <a:gd name="T13" fmla="*/ 30 h 37"/>
              <a:gd name="T14" fmla="*/ 36 w 61"/>
              <a:gd name="T15" fmla="*/ 32 h 37"/>
              <a:gd name="T16" fmla="*/ 32 w 61"/>
              <a:gd name="T17" fmla="*/ 28 h 37"/>
              <a:gd name="T18" fmla="*/ 23 w 61"/>
              <a:gd name="T19" fmla="*/ 21 h 37"/>
              <a:gd name="T20" fmla="*/ 28 w 61"/>
              <a:gd name="T21" fmla="*/ 23 h 37"/>
              <a:gd name="T22" fmla="*/ 28 w 61"/>
              <a:gd name="T23" fmla="*/ 25 h 37"/>
              <a:gd name="T24" fmla="*/ 24 w 61"/>
              <a:gd name="T25" fmla="*/ 24 h 37"/>
              <a:gd name="T26" fmla="*/ 22 w 61"/>
              <a:gd name="T27" fmla="*/ 20 h 37"/>
              <a:gd name="T28" fmla="*/ 25 w 61"/>
              <a:gd name="T29" fmla="*/ 18 h 37"/>
              <a:gd name="T30" fmla="*/ 26 w 61"/>
              <a:gd name="T31" fmla="*/ 19 h 37"/>
              <a:gd name="T32" fmla="*/ 28 w 61"/>
              <a:gd name="T33" fmla="*/ 15 h 37"/>
              <a:gd name="T34" fmla="*/ 29 w 61"/>
              <a:gd name="T35" fmla="*/ 19 h 37"/>
              <a:gd name="T36" fmla="*/ 33 w 61"/>
              <a:gd name="T37" fmla="*/ 23 h 37"/>
              <a:gd name="T38" fmla="*/ 33 w 61"/>
              <a:gd name="T39" fmla="*/ 20 h 37"/>
              <a:gd name="T40" fmla="*/ 30 w 61"/>
              <a:gd name="T41" fmla="*/ 17 h 37"/>
              <a:gd name="T42" fmla="*/ 27 w 61"/>
              <a:gd name="T43" fmla="*/ 14 h 37"/>
              <a:gd name="T44" fmla="*/ 18 w 61"/>
              <a:gd name="T45" fmla="*/ 10 h 37"/>
              <a:gd name="T46" fmla="*/ 22 w 61"/>
              <a:gd name="T47" fmla="*/ 14 h 37"/>
              <a:gd name="T48" fmla="*/ 21 w 61"/>
              <a:gd name="T49" fmla="*/ 15 h 37"/>
              <a:gd name="T50" fmla="*/ 19 w 61"/>
              <a:gd name="T51" fmla="*/ 13 h 37"/>
              <a:gd name="T52" fmla="*/ 11 w 61"/>
              <a:gd name="T53" fmla="*/ 16 h 37"/>
              <a:gd name="T54" fmla="*/ 11 w 61"/>
              <a:gd name="T55" fmla="*/ 17 h 37"/>
              <a:gd name="T56" fmla="*/ 7 w 61"/>
              <a:gd name="T57" fmla="*/ 15 h 37"/>
              <a:gd name="T58" fmla="*/ 8 w 61"/>
              <a:gd name="T59" fmla="*/ 16 h 37"/>
              <a:gd name="T60" fmla="*/ 8 w 61"/>
              <a:gd name="T61" fmla="*/ 14 h 37"/>
              <a:gd name="T62" fmla="*/ 10 w 61"/>
              <a:gd name="T63" fmla="*/ 15 h 37"/>
              <a:gd name="T64" fmla="*/ 10 w 61"/>
              <a:gd name="T65" fmla="*/ 13 h 37"/>
              <a:gd name="T66" fmla="*/ 8 w 61"/>
              <a:gd name="T67" fmla="*/ 11 h 37"/>
              <a:gd name="T68" fmla="*/ 5 w 61"/>
              <a:gd name="T69" fmla="*/ 11 h 37"/>
              <a:gd name="T70" fmla="*/ 7 w 61"/>
              <a:gd name="T71" fmla="*/ 12 h 37"/>
              <a:gd name="T72" fmla="*/ 5 w 61"/>
              <a:gd name="T73" fmla="*/ 11 h 37"/>
              <a:gd name="T74" fmla="*/ 4 w 61"/>
              <a:gd name="T75" fmla="*/ 11 h 37"/>
              <a:gd name="T76" fmla="*/ 3 w 61"/>
              <a:gd name="T77" fmla="*/ 10 h 37"/>
              <a:gd name="T78" fmla="*/ 1 w 61"/>
              <a:gd name="T79" fmla="*/ 2 h 37"/>
              <a:gd name="T80" fmla="*/ 3 w 61"/>
              <a:gd name="T81" fmla="*/ 2 h 37"/>
              <a:gd name="T82" fmla="*/ 5 w 61"/>
              <a:gd name="T83" fmla="*/ 6 h 37"/>
              <a:gd name="T84" fmla="*/ 9 w 61"/>
              <a:gd name="T85" fmla="*/ 8 h 37"/>
              <a:gd name="T86" fmla="*/ 7 w 61"/>
              <a:gd name="T87" fmla="*/ 5 h 37"/>
              <a:gd name="T88" fmla="*/ 4 w 61"/>
              <a:gd name="T89" fmla="*/ 4 h 37"/>
              <a:gd name="T90" fmla="*/ 0 w 61"/>
              <a:gd name="T91" fmla="*/ 4 h 37"/>
              <a:gd name="T92" fmla="*/ 0 w 61"/>
              <a:gd name="T93" fmla="*/ 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 h="37">
                <a:moveTo>
                  <a:pt x="58" y="31"/>
                </a:moveTo>
                <a:cubicBezTo>
                  <a:pt x="59" y="30"/>
                  <a:pt x="59" y="30"/>
                  <a:pt x="59" y="30"/>
                </a:cubicBezTo>
                <a:cubicBezTo>
                  <a:pt x="60" y="30"/>
                  <a:pt x="60" y="30"/>
                  <a:pt x="60" y="30"/>
                </a:cubicBezTo>
                <a:cubicBezTo>
                  <a:pt x="61" y="31"/>
                  <a:pt x="61" y="31"/>
                  <a:pt x="61" y="31"/>
                </a:cubicBezTo>
                <a:cubicBezTo>
                  <a:pt x="60" y="32"/>
                  <a:pt x="60" y="32"/>
                  <a:pt x="60" y="32"/>
                </a:cubicBezTo>
                <a:cubicBezTo>
                  <a:pt x="58" y="32"/>
                  <a:pt x="58" y="32"/>
                  <a:pt x="58" y="32"/>
                </a:cubicBezTo>
                <a:cubicBezTo>
                  <a:pt x="58" y="31"/>
                  <a:pt x="58" y="31"/>
                  <a:pt x="58" y="31"/>
                </a:cubicBezTo>
                <a:close/>
                <a:moveTo>
                  <a:pt x="23" y="36"/>
                </a:moveTo>
                <a:cubicBezTo>
                  <a:pt x="24" y="36"/>
                  <a:pt x="24" y="36"/>
                  <a:pt x="24" y="36"/>
                </a:cubicBezTo>
                <a:cubicBezTo>
                  <a:pt x="25" y="36"/>
                  <a:pt x="25" y="36"/>
                  <a:pt x="25" y="36"/>
                </a:cubicBezTo>
                <a:cubicBezTo>
                  <a:pt x="26" y="37"/>
                  <a:pt x="26" y="37"/>
                  <a:pt x="26" y="37"/>
                </a:cubicBezTo>
                <a:cubicBezTo>
                  <a:pt x="25" y="37"/>
                  <a:pt x="25" y="37"/>
                  <a:pt x="25" y="37"/>
                </a:cubicBezTo>
                <a:cubicBezTo>
                  <a:pt x="24" y="37"/>
                  <a:pt x="24" y="37"/>
                  <a:pt x="24" y="37"/>
                </a:cubicBezTo>
                <a:cubicBezTo>
                  <a:pt x="23" y="37"/>
                  <a:pt x="23" y="37"/>
                  <a:pt x="23" y="37"/>
                </a:cubicBezTo>
                <a:cubicBezTo>
                  <a:pt x="23" y="36"/>
                  <a:pt x="23" y="36"/>
                  <a:pt x="23" y="36"/>
                </a:cubicBezTo>
                <a:cubicBezTo>
                  <a:pt x="23" y="36"/>
                  <a:pt x="23" y="36"/>
                  <a:pt x="23" y="36"/>
                </a:cubicBezTo>
                <a:close/>
                <a:moveTo>
                  <a:pt x="31" y="27"/>
                </a:moveTo>
                <a:cubicBezTo>
                  <a:pt x="33" y="27"/>
                  <a:pt x="33" y="27"/>
                  <a:pt x="33" y="27"/>
                </a:cubicBezTo>
                <a:cubicBezTo>
                  <a:pt x="34" y="29"/>
                  <a:pt x="34" y="29"/>
                  <a:pt x="34" y="29"/>
                </a:cubicBezTo>
                <a:cubicBezTo>
                  <a:pt x="36" y="29"/>
                  <a:pt x="36" y="29"/>
                  <a:pt x="36" y="29"/>
                </a:cubicBezTo>
                <a:cubicBezTo>
                  <a:pt x="37" y="30"/>
                  <a:pt x="37" y="30"/>
                  <a:pt x="37" y="30"/>
                </a:cubicBezTo>
                <a:cubicBezTo>
                  <a:pt x="37" y="31"/>
                  <a:pt x="37" y="31"/>
                  <a:pt x="37" y="31"/>
                </a:cubicBezTo>
                <a:cubicBezTo>
                  <a:pt x="37" y="32"/>
                  <a:pt x="37" y="32"/>
                  <a:pt x="37" y="32"/>
                </a:cubicBezTo>
                <a:cubicBezTo>
                  <a:pt x="36" y="32"/>
                  <a:pt x="36" y="32"/>
                  <a:pt x="36" y="32"/>
                </a:cubicBezTo>
                <a:cubicBezTo>
                  <a:pt x="34" y="31"/>
                  <a:pt x="34" y="31"/>
                  <a:pt x="34" y="31"/>
                </a:cubicBezTo>
                <a:cubicBezTo>
                  <a:pt x="32" y="29"/>
                  <a:pt x="32" y="29"/>
                  <a:pt x="32" y="29"/>
                </a:cubicBezTo>
                <a:cubicBezTo>
                  <a:pt x="32" y="28"/>
                  <a:pt x="32" y="28"/>
                  <a:pt x="32" y="28"/>
                </a:cubicBezTo>
                <a:cubicBezTo>
                  <a:pt x="31" y="27"/>
                  <a:pt x="31" y="27"/>
                  <a:pt x="31" y="27"/>
                </a:cubicBezTo>
                <a:close/>
                <a:moveTo>
                  <a:pt x="22" y="20"/>
                </a:moveTo>
                <a:cubicBezTo>
                  <a:pt x="23" y="21"/>
                  <a:pt x="23" y="21"/>
                  <a:pt x="23" y="21"/>
                </a:cubicBezTo>
                <a:cubicBezTo>
                  <a:pt x="25" y="21"/>
                  <a:pt x="25" y="21"/>
                  <a:pt x="25" y="21"/>
                </a:cubicBezTo>
                <a:cubicBezTo>
                  <a:pt x="27" y="22"/>
                  <a:pt x="27" y="22"/>
                  <a:pt x="27" y="22"/>
                </a:cubicBezTo>
                <a:cubicBezTo>
                  <a:pt x="28" y="23"/>
                  <a:pt x="28" y="23"/>
                  <a:pt x="28" y="23"/>
                </a:cubicBezTo>
                <a:cubicBezTo>
                  <a:pt x="28" y="23"/>
                  <a:pt x="28" y="23"/>
                  <a:pt x="28" y="23"/>
                </a:cubicBezTo>
                <a:cubicBezTo>
                  <a:pt x="29" y="24"/>
                  <a:pt x="29" y="24"/>
                  <a:pt x="29" y="24"/>
                </a:cubicBezTo>
                <a:cubicBezTo>
                  <a:pt x="28" y="25"/>
                  <a:pt x="28" y="25"/>
                  <a:pt x="28" y="25"/>
                </a:cubicBezTo>
                <a:cubicBezTo>
                  <a:pt x="27" y="25"/>
                  <a:pt x="27" y="25"/>
                  <a:pt x="27" y="25"/>
                </a:cubicBezTo>
                <a:cubicBezTo>
                  <a:pt x="26" y="24"/>
                  <a:pt x="26" y="24"/>
                  <a:pt x="26" y="24"/>
                </a:cubicBezTo>
                <a:cubicBezTo>
                  <a:pt x="24" y="24"/>
                  <a:pt x="24" y="24"/>
                  <a:pt x="24" y="24"/>
                </a:cubicBezTo>
                <a:cubicBezTo>
                  <a:pt x="23" y="24"/>
                  <a:pt x="23" y="24"/>
                  <a:pt x="23" y="24"/>
                </a:cubicBezTo>
                <a:cubicBezTo>
                  <a:pt x="21" y="22"/>
                  <a:pt x="21" y="22"/>
                  <a:pt x="21" y="22"/>
                </a:cubicBezTo>
                <a:cubicBezTo>
                  <a:pt x="22" y="20"/>
                  <a:pt x="22" y="20"/>
                  <a:pt x="22" y="20"/>
                </a:cubicBezTo>
                <a:cubicBezTo>
                  <a:pt x="22" y="20"/>
                  <a:pt x="22" y="20"/>
                  <a:pt x="22" y="20"/>
                </a:cubicBezTo>
                <a:close/>
                <a:moveTo>
                  <a:pt x="26" y="19"/>
                </a:moveTo>
                <a:cubicBezTo>
                  <a:pt x="25" y="18"/>
                  <a:pt x="25" y="18"/>
                  <a:pt x="25" y="18"/>
                </a:cubicBezTo>
                <a:cubicBezTo>
                  <a:pt x="25" y="19"/>
                  <a:pt x="25" y="19"/>
                  <a:pt x="25" y="19"/>
                </a:cubicBezTo>
                <a:cubicBezTo>
                  <a:pt x="27" y="20"/>
                  <a:pt x="27" y="20"/>
                  <a:pt x="27" y="20"/>
                </a:cubicBezTo>
                <a:cubicBezTo>
                  <a:pt x="26" y="19"/>
                  <a:pt x="26" y="19"/>
                  <a:pt x="26" y="19"/>
                </a:cubicBezTo>
                <a:close/>
                <a:moveTo>
                  <a:pt x="27" y="14"/>
                </a:moveTo>
                <a:cubicBezTo>
                  <a:pt x="27" y="15"/>
                  <a:pt x="27" y="15"/>
                  <a:pt x="27" y="15"/>
                </a:cubicBezTo>
                <a:cubicBezTo>
                  <a:pt x="28" y="15"/>
                  <a:pt x="28" y="15"/>
                  <a:pt x="28" y="15"/>
                </a:cubicBezTo>
                <a:cubicBezTo>
                  <a:pt x="28" y="16"/>
                  <a:pt x="28" y="16"/>
                  <a:pt x="28" y="16"/>
                </a:cubicBezTo>
                <a:cubicBezTo>
                  <a:pt x="29" y="17"/>
                  <a:pt x="29" y="17"/>
                  <a:pt x="29" y="17"/>
                </a:cubicBezTo>
                <a:cubicBezTo>
                  <a:pt x="29" y="19"/>
                  <a:pt x="29" y="19"/>
                  <a:pt x="29" y="19"/>
                </a:cubicBezTo>
                <a:cubicBezTo>
                  <a:pt x="31" y="21"/>
                  <a:pt x="31" y="21"/>
                  <a:pt x="31" y="21"/>
                </a:cubicBezTo>
                <a:cubicBezTo>
                  <a:pt x="32" y="22"/>
                  <a:pt x="32" y="22"/>
                  <a:pt x="32" y="22"/>
                </a:cubicBezTo>
                <a:cubicBezTo>
                  <a:pt x="33" y="23"/>
                  <a:pt x="33" y="23"/>
                  <a:pt x="33" y="23"/>
                </a:cubicBezTo>
                <a:cubicBezTo>
                  <a:pt x="34" y="23"/>
                  <a:pt x="34" y="23"/>
                  <a:pt x="34" y="23"/>
                </a:cubicBezTo>
                <a:cubicBezTo>
                  <a:pt x="34" y="22"/>
                  <a:pt x="34" y="22"/>
                  <a:pt x="34" y="22"/>
                </a:cubicBezTo>
                <a:cubicBezTo>
                  <a:pt x="33" y="20"/>
                  <a:pt x="33" y="20"/>
                  <a:pt x="33" y="20"/>
                </a:cubicBezTo>
                <a:cubicBezTo>
                  <a:pt x="32" y="20"/>
                  <a:pt x="32" y="20"/>
                  <a:pt x="32" y="20"/>
                </a:cubicBezTo>
                <a:cubicBezTo>
                  <a:pt x="31" y="19"/>
                  <a:pt x="31" y="19"/>
                  <a:pt x="31" y="19"/>
                </a:cubicBezTo>
                <a:cubicBezTo>
                  <a:pt x="30" y="17"/>
                  <a:pt x="30" y="17"/>
                  <a:pt x="30" y="17"/>
                </a:cubicBezTo>
                <a:cubicBezTo>
                  <a:pt x="30" y="16"/>
                  <a:pt x="30" y="16"/>
                  <a:pt x="30" y="16"/>
                </a:cubicBezTo>
                <a:cubicBezTo>
                  <a:pt x="29" y="14"/>
                  <a:pt x="29" y="14"/>
                  <a:pt x="29" y="14"/>
                </a:cubicBezTo>
                <a:cubicBezTo>
                  <a:pt x="27" y="14"/>
                  <a:pt x="27" y="14"/>
                  <a:pt x="27" y="14"/>
                </a:cubicBezTo>
                <a:close/>
                <a:moveTo>
                  <a:pt x="14" y="9"/>
                </a:moveTo>
                <a:cubicBezTo>
                  <a:pt x="17" y="9"/>
                  <a:pt x="17" y="9"/>
                  <a:pt x="17" y="9"/>
                </a:cubicBezTo>
                <a:cubicBezTo>
                  <a:pt x="18" y="10"/>
                  <a:pt x="18" y="10"/>
                  <a:pt x="18" y="10"/>
                </a:cubicBezTo>
                <a:cubicBezTo>
                  <a:pt x="20" y="11"/>
                  <a:pt x="20" y="11"/>
                  <a:pt x="20" y="11"/>
                </a:cubicBezTo>
                <a:cubicBezTo>
                  <a:pt x="23" y="14"/>
                  <a:pt x="23" y="14"/>
                  <a:pt x="23" y="14"/>
                </a:cubicBezTo>
                <a:cubicBezTo>
                  <a:pt x="22" y="14"/>
                  <a:pt x="22" y="14"/>
                  <a:pt x="22" y="14"/>
                </a:cubicBezTo>
                <a:cubicBezTo>
                  <a:pt x="22" y="15"/>
                  <a:pt x="22" y="15"/>
                  <a:pt x="22" y="15"/>
                </a:cubicBezTo>
                <a:cubicBezTo>
                  <a:pt x="22" y="15"/>
                  <a:pt x="22" y="15"/>
                  <a:pt x="22" y="15"/>
                </a:cubicBezTo>
                <a:cubicBezTo>
                  <a:pt x="21" y="15"/>
                  <a:pt x="21" y="15"/>
                  <a:pt x="21" y="15"/>
                </a:cubicBezTo>
                <a:cubicBezTo>
                  <a:pt x="21" y="14"/>
                  <a:pt x="21" y="14"/>
                  <a:pt x="21" y="14"/>
                </a:cubicBezTo>
                <a:cubicBezTo>
                  <a:pt x="20" y="14"/>
                  <a:pt x="20" y="14"/>
                  <a:pt x="20" y="14"/>
                </a:cubicBezTo>
                <a:cubicBezTo>
                  <a:pt x="19" y="13"/>
                  <a:pt x="19" y="13"/>
                  <a:pt x="19" y="13"/>
                </a:cubicBezTo>
                <a:cubicBezTo>
                  <a:pt x="16" y="10"/>
                  <a:pt x="16" y="10"/>
                  <a:pt x="16" y="10"/>
                </a:cubicBezTo>
                <a:cubicBezTo>
                  <a:pt x="16" y="10"/>
                  <a:pt x="14" y="9"/>
                  <a:pt x="14" y="9"/>
                </a:cubicBezTo>
                <a:close/>
                <a:moveTo>
                  <a:pt x="11" y="16"/>
                </a:moveTo>
                <a:cubicBezTo>
                  <a:pt x="12" y="16"/>
                  <a:pt x="12" y="16"/>
                  <a:pt x="12" y="16"/>
                </a:cubicBezTo>
                <a:cubicBezTo>
                  <a:pt x="12" y="17"/>
                  <a:pt x="12" y="17"/>
                  <a:pt x="12" y="17"/>
                </a:cubicBezTo>
                <a:cubicBezTo>
                  <a:pt x="11" y="17"/>
                  <a:pt x="11" y="17"/>
                  <a:pt x="11" y="17"/>
                </a:cubicBezTo>
                <a:cubicBezTo>
                  <a:pt x="11" y="16"/>
                  <a:pt x="11" y="16"/>
                  <a:pt x="11" y="16"/>
                </a:cubicBezTo>
                <a:cubicBezTo>
                  <a:pt x="11" y="16"/>
                  <a:pt x="11" y="16"/>
                  <a:pt x="11" y="16"/>
                </a:cubicBezTo>
                <a:close/>
                <a:moveTo>
                  <a:pt x="7" y="15"/>
                </a:moveTo>
                <a:cubicBezTo>
                  <a:pt x="7" y="15"/>
                  <a:pt x="7" y="15"/>
                  <a:pt x="7" y="15"/>
                </a:cubicBezTo>
                <a:cubicBezTo>
                  <a:pt x="8" y="15"/>
                  <a:pt x="8" y="15"/>
                  <a:pt x="8" y="15"/>
                </a:cubicBezTo>
                <a:cubicBezTo>
                  <a:pt x="8" y="16"/>
                  <a:pt x="8" y="16"/>
                  <a:pt x="8" y="16"/>
                </a:cubicBezTo>
                <a:cubicBezTo>
                  <a:pt x="7" y="15"/>
                  <a:pt x="7" y="15"/>
                  <a:pt x="7" y="15"/>
                </a:cubicBezTo>
                <a:close/>
                <a:moveTo>
                  <a:pt x="7" y="14"/>
                </a:moveTo>
                <a:cubicBezTo>
                  <a:pt x="8" y="14"/>
                  <a:pt x="8" y="14"/>
                  <a:pt x="8" y="14"/>
                </a:cubicBezTo>
                <a:cubicBezTo>
                  <a:pt x="9" y="14"/>
                  <a:pt x="9" y="14"/>
                  <a:pt x="9" y="14"/>
                </a:cubicBezTo>
                <a:cubicBezTo>
                  <a:pt x="9" y="15"/>
                  <a:pt x="9" y="15"/>
                  <a:pt x="9" y="15"/>
                </a:cubicBezTo>
                <a:cubicBezTo>
                  <a:pt x="10" y="15"/>
                  <a:pt x="10" y="15"/>
                  <a:pt x="10" y="15"/>
                </a:cubicBezTo>
                <a:cubicBezTo>
                  <a:pt x="10" y="15"/>
                  <a:pt x="10" y="15"/>
                  <a:pt x="10" y="15"/>
                </a:cubicBezTo>
                <a:cubicBezTo>
                  <a:pt x="11" y="14"/>
                  <a:pt x="11" y="14"/>
                  <a:pt x="11" y="14"/>
                </a:cubicBezTo>
                <a:cubicBezTo>
                  <a:pt x="10" y="13"/>
                  <a:pt x="10" y="13"/>
                  <a:pt x="10" y="13"/>
                </a:cubicBezTo>
                <a:cubicBezTo>
                  <a:pt x="9" y="13"/>
                  <a:pt x="9" y="13"/>
                  <a:pt x="9" y="13"/>
                </a:cubicBezTo>
                <a:cubicBezTo>
                  <a:pt x="9" y="12"/>
                  <a:pt x="9" y="12"/>
                  <a:pt x="9" y="12"/>
                </a:cubicBezTo>
                <a:cubicBezTo>
                  <a:pt x="8" y="11"/>
                  <a:pt x="8" y="11"/>
                  <a:pt x="8" y="11"/>
                </a:cubicBezTo>
                <a:cubicBezTo>
                  <a:pt x="7" y="12"/>
                  <a:pt x="7" y="12"/>
                  <a:pt x="7" y="12"/>
                </a:cubicBezTo>
                <a:cubicBezTo>
                  <a:pt x="7" y="14"/>
                  <a:pt x="7" y="14"/>
                  <a:pt x="7" y="14"/>
                </a:cubicBezTo>
                <a:close/>
                <a:moveTo>
                  <a:pt x="5" y="11"/>
                </a:moveTo>
                <a:cubicBezTo>
                  <a:pt x="6" y="11"/>
                  <a:pt x="6" y="11"/>
                  <a:pt x="6" y="11"/>
                </a:cubicBezTo>
                <a:cubicBezTo>
                  <a:pt x="7" y="11"/>
                  <a:pt x="7" y="11"/>
                  <a:pt x="7" y="11"/>
                </a:cubicBezTo>
                <a:cubicBezTo>
                  <a:pt x="7" y="12"/>
                  <a:pt x="7" y="12"/>
                  <a:pt x="7" y="12"/>
                </a:cubicBezTo>
                <a:cubicBezTo>
                  <a:pt x="6" y="12"/>
                  <a:pt x="6" y="12"/>
                  <a:pt x="6" y="12"/>
                </a:cubicBezTo>
                <a:cubicBezTo>
                  <a:pt x="5" y="12"/>
                  <a:pt x="5" y="12"/>
                  <a:pt x="5" y="12"/>
                </a:cubicBezTo>
                <a:cubicBezTo>
                  <a:pt x="5" y="12"/>
                  <a:pt x="5" y="11"/>
                  <a:pt x="5" y="11"/>
                </a:cubicBezTo>
                <a:close/>
                <a:moveTo>
                  <a:pt x="3" y="9"/>
                </a:moveTo>
                <a:cubicBezTo>
                  <a:pt x="4" y="10"/>
                  <a:pt x="4" y="10"/>
                  <a:pt x="4" y="10"/>
                </a:cubicBezTo>
                <a:cubicBezTo>
                  <a:pt x="4" y="11"/>
                  <a:pt x="4" y="11"/>
                  <a:pt x="4" y="11"/>
                </a:cubicBezTo>
                <a:cubicBezTo>
                  <a:pt x="3" y="11"/>
                  <a:pt x="3" y="11"/>
                  <a:pt x="3" y="11"/>
                </a:cubicBezTo>
                <a:cubicBezTo>
                  <a:pt x="3" y="11"/>
                  <a:pt x="3" y="11"/>
                  <a:pt x="3" y="11"/>
                </a:cubicBezTo>
                <a:cubicBezTo>
                  <a:pt x="3" y="10"/>
                  <a:pt x="3" y="10"/>
                  <a:pt x="3" y="10"/>
                </a:cubicBezTo>
                <a:cubicBezTo>
                  <a:pt x="3" y="9"/>
                  <a:pt x="3" y="9"/>
                  <a:pt x="3" y="9"/>
                </a:cubicBezTo>
                <a:close/>
                <a:moveTo>
                  <a:pt x="3" y="0"/>
                </a:moveTo>
                <a:cubicBezTo>
                  <a:pt x="1" y="2"/>
                  <a:pt x="1" y="2"/>
                  <a:pt x="1" y="2"/>
                </a:cubicBezTo>
                <a:cubicBezTo>
                  <a:pt x="3" y="1"/>
                  <a:pt x="3" y="1"/>
                  <a:pt x="3" y="1"/>
                </a:cubicBezTo>
                <a:cubicBezTo>
                  <a:pt x="3" y="0"/>
                  <a:pt x="3" y="0"/>
                  <a:pt x="3" y="0"/>
                </a:cubicBezTo>
                <a:close/>
                <a:moveTo>
                  <a:pt x="3" y="2"/>
                </a:moveTo>
                <a:cubicBezTo>
                  <a:pt x="2" y="3"/>
                  <a:pt x="2" y="3"/>
                  <a:pt x="2" y="3"/>
                </a:cubicBezTo>
                <a:cubicBezTo>
                  <a:pt x="3" y="5"/>
                  <a:pt x="3" y="5"/>
                  <a:pt x="3" y="5"/>
                </a:cubicBezTo>
                <a:cubicBezTo>
                  <a:pt x="5" y="6"/>
                  <a:pt x="5" y="6"/>
                  <a:pt x="5" y="6"/>
                </a:cubicBezTo>
                <a:cubicBezTo>
                  <a:pt x="6" y="7"/>
                  <a:pt x="6" y="7"/>
                  <a:pt x="6" y="7"/>
                </a:cubicBezTo>
                <a:cubicBezTo>
                  <a:pt x="8" y="8"/>
                  <a:pt x="8" y="8"/>
                  <a:pt x="8" y="8"/>
                </a:cubicBezTo>
                <a:cubicBezTo>
                  <a:pt x="9" y="8"/>
                  <a:pt x="9" y="8"/>
                  <a:pt x="9" y="8"/>
                </a:cubicBezTo>
                <a:cubicBezTo>
                  <a:pt x="9" y="7"/>
                  <a:pt x="9" y="7"/>
                  <a:pt x="9" y="7"/>
                </a:cubicBezTo>
                <a:cubicBezTo>
                  <a:pt x="8" y="6"/>
                  <a:pt x="8" y="6"/>
                  <a:pt x="8" y="6"/>
                </a:cubicBezTo>
                <a:cubicBezTo>
                  <a:pt x="7" y="5"/>
                  <a:pt x="7" y="5"/>
                  <a:pt x="7" y="5"/>
                </a:cubicBezTo>
                <a:cubicBezTo>
                  <a:pt x="7" y="4"/>
                  <a:pt x="7" y="4"/>
                  <a:pt x="7" y="4"/>
                </a:cubicBezTo>
                <a:cubicBezTo>
                  <a:pt x="6" y="4"/>
                  <a:pt x="6" y="4"/>
                  <a:pt x="6" y="4"/>
                </a:cubicBezTo>
                <a:cubicBezTo>
                  <a:pt x="4" y="4"/>
                  <a:pt x="4" y="4"/>
                  <a:pt x="4" y="4"/>
                </a:cubicBezTo>
                <a:cubicBezTo>
                  <a:pt x="3" y="2"/>
                  <a:pt x="3" y="2"/>
                  <a:pt x="3" y="2"/>
                </a:cubicBezTo>
                <a:cubicBezTo>
                  <a:pt x="3" y="2"/>
                  <a:pt x="3" y="2"/>
                  <a:pt x="3" y="2"/>
                </a:cubicBezTo>
                <a:close/>
                <a:moveTo>
                  <a:pt x="0" y="4"/>
                </a:moveTo>
                <a:cubicBezTo>
                  <a:pt x="0" y="4"/>
                  <a:pt x="0" y="4"/>
                  <a:pt x="0" y="4"/>
                </a:cubicBezTo>
                <a:cubicBezTo>
                  <a:pt x="0" y="5"/>
                  <a:pt x="0" y="5"/>
                  <a:pt x="0" y="5"/>
                </a:cubicBezTo>
                <a:lnTo>
                  <a:pt x="0" y="4"/>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5" name="Freeform 23">
            <a:extLst>
              <a:ext uri="{FF2B5EF4-FFF2-40B4-BE49-F238E27FC236}">
                <a16:creationId xmlns:a16="http://schemas.microsoft.com/office/drawing/2014/main" id="{1E796FBD-548D-43BF-1AC7-9B8F89690705}"/>
              </a:ext>
            </a:extLst>
          </p:cNvPr>
          <p:cNvSpPr>
            <a:spLocks noEditPoints="1"/>
          </p:cNvSpPr>
          <p:nvPr userDrawn="1"/>
        </p:nvSpPr>
        <p:spPr bwMode="auto">
          <a:xfrm>
            <a:off x="21991790" y="9467139"/>
            <a:ext cx="942915" cy="695326"/>
          </a:xfrm>
          <a:custGeom>
            <a:avLst/>
            <a:gdLst>
              <a:gd name="T0" fmla="*/ 76 w 95"/>
              <a:gd name="T1" fmla="*/ 68 h 70"/>
              <a:gd name="T2" fmla="*/ 76 w 95"/>
              <a:gd name="T3" fmla="*/ 68 h 70"/>
              <a:gd name="T4" fmla="*/ 40 w 95"/>
              <a:gd name="T5" fmla="*/ 7 h 70"/>
              <a:gd name="T6" fmla="*/ 90 w 95"/>
              <a:gd name="T7" fmla="*/ 31 h 70"/>
              <a:gd name="T8" fmla="*/ 91 w 95"/>
              <a:gd name="T9" fmla="*/ 37 h 70"/>
              <a:gd name="T10" fmla="*/ 88 w 95"/>
              <a:gd name="T11" fmla="*/ 28 h 70"/>
              <a:gd name="T12" fmla="*/ 84 w 95"/>
              <a:gd name="T13" fmla="*/ 22 h 70"/>
              <a:gd name="T14" fmla="*/ 66 w 95"/>
              <a:gd name="T15" fmla="*/ 11 h 70"/>
              <a:gd name="T16" fmla="*/ 77 w 95"/>
              <a:gd name="T17" fmla="*/ 20 h 70"/>
              <a:gd name="T18" fmla="*/ 74 w 95"/>
              <a:gd name="T19" fmla="*/ 17 h 70"/>
              <a:gd name="T20" fmla="*/ 56 w 95"/>
              <a:gd name="T21" fmla="*/ 0 h 70"/>
              <a:gd name="T22" fmla="*/ 61 w 95"/>
              <a:gd name="T23" fmla="*/ 11 h 70"/>
              <a:gd name="T24" fmla="*/ 58 w 95"/>
              <a:gd name="T25" fmla="*/ 24 h 70"/>
              <a:gd name="T26" fmla="*/ 52 w 95"/>
              <a:gd name="T27" fmla="*/ 33 h 70"/>
              <a:gd name="T28" fmla="*/ 63 w 95"/>
              <a:gd name="T29" fmla="*/ 34 h 70"/>
              <a:gd name="T30" fmla="*/ 71 w 95"/>
              <a:gd name="T31" fmla="*/ 29 h 70"/>
              <a:gd name="T32" fmla="*/ 72 w 95"/>
              <a:gd name="T33" fmla="*/ 20 h 70"/>
              <a:gd name="T34" fmla="*/ 68 w 95"/>
              <a:gd name="T35" fmla="*/ 25 h 70"/>
              <a:gd name="T36" fmla="*/ 60 w 95"/>
              <a:gd name="T37" fmla="*/ 28 h 70"/>
              <a:gd name="T38" fmla="*/ 56 w 95"/>
              <a:gd name="T39" fmla="*/ 28 h 70"/>
              <a:gd name="T40" fmla="*/ 43 w 95"/>
              <a:gd name="T41" fmla="*/ 29 h 70"/>
              <a:gd name="T42" fmla="*/ 39 w 95"/>
              <a:gd name="T43" fmla="*/ 28 h 70"/>
              <a:gd name="T44" fmla="*/ 33 w 95"/>
              <a:gd name="T45" fmla="*/ 23 h 70"/>
              <a:gd name="T46" fmla="*/ 73 w 95"/>
              <a:gd name="T47" fmla="*/ 51 h 70"/>
              <a:gd name="T48" fmla="*/ 65 w 95"/>
              <a:gd name="T49" fmla="*/ 49 h 70"/>
              <a:gd name="T50" fmla="*/ 63 w 95"/>
              <a:gd name="T51" fmla="*/ 58 h 70"/>
              <a:gd name="T52" fmla="*/ 62 w 95"/>
              <a:gd name="T53" fmla="*/ 58 h 70"/>
              <a:gd name="T54" fmla="*/ 62 w 95"/>
              <a:gd name="T55" fmla="*/ 56 h 70"/>
              <a:gd name="T56" fmla="*/ 60 w 95"/>
              <a:gd name="T57" fmla="*/ 54 h 70"/>
              <a:gd name="T58" fmla="*/ 59 w 95"/>
              <a:gd name="T59" fmla="*/ 53 h 70"/>
              <a:gd name="T60" fmla="*/ 23 w 95"/>
              <a:gd name="T61" fmla="*/ 43 h 70"/>
              <a:gd name="T62" fmla="*/ 23 w 95"/>
              <a:gd name="T63" fmla="*/ 43 h 70"/>
              <a:gd name="T64" fmla="*/ 19 w 95"/>
              <a:gd name="T65" fmla="*/ 44 h 70"/>
              <a:gd name="T66" fmla="*/ 16 w 95"/>
              <a:gd name="T67" fmla="*/ 49 h 70"/>
              <a:gd name="T68" fmla="*/ 14 w 95"/>
              <a:gd name="T69" fmla="*/ 49 h 70"/>
              <a:gd name="T70" fmla="*/ 16 w 95"/>
              <a:gd name="T71" fmla="*/ 46 h 70"/>
              <a:gd name="T72" fmla="*/ 1 w 95"/>
              <a:gd name="T73" fmla="*/ 10 h 70"/>
              <a:gd name="T74" fmla="*/ 4 w 95"/>
              <a:gd name="T75" fmla="*/ 52 h 70"/>
              <a:gd name="T76" fmla="*/ 14 w 95"/>
              <a:gd name="T77" fmla="*/ 52 h 70"/>
              <a:gd name="T78" fmla="*/ 8 w 95"/>
              <a:gd name="T79" fmla="*/ 47 h 70"/>
              <a:gd name="T80" fmla="*/ 4 w 95"/>
              <a:gd name="T81" fmla="*/ 42 h 70"/>
              <a:gd name="T82" fmla="*/ 10 w 95"/>
              <a:gd name="T83" fmla="*/ 48 h 70"/>
              <a:gd name="T84" fmla="*/ 15 w 95"/>
              <a:gd name="T85" fmla="*/ 45 h 70"/>
              <a:gd name="T86" fmla="*/ 17 w 95"/>
              <a:gd name="T87" fmla="*/ 44 h 70"/>
              <a:gd name="T88" fmla="*/ 19 w 95"/>
              <a:gd name="T89" fmla="*/ 43 h 70"/>
              <a:gd name="T90" fmla="*/ 21 w 95"/>
              <a:gd name="T91" fmla="*/ 42 h 70"/>
              <a:gd name="T92" fmla="*/ 26 w 95"/>
              <a:gd name="T93" fmla="*/ 42 h 70"/>
              <a:gd name="T94" fmla="*/ 34 w 95"/>
              <a:gd name="T95" fmla="*/ 49 h 70"/>
              <a:gd name="T96" fmla="*/ 42 w 95"/>
              <a:gd name="T97" fmla="*/ 59 h 70"/>
              <a:gd name="T98" fmla="*/ 52 w 95"/>
              <a:gd name="T99" fmla="*/ 60 h 70"/>
              <a:gd name="T100" fmla="*/ 58 w 95"/>
              <a:gd name="T101" fmla="*/ 63 h 70"/>
              <a:gd name="T102" fmla="*/ 61 w 95"/>
              <a:gd name="T103" fmla="*/ 60 h 70"/>
              <a:gd name="T104" fmla="*/ 56 w 95"/>
              <a:gd name="T105" fmla="*/ 56 h 70"/>
              <a:gd name="T106" fmla="*/ 51 w 95"/>
              <a:gd name="T107" fmla="*/ 52 h 70"/>
              <a:gd name="T108" fmla="*/ 45 w 95"/>
              <a:gd name="T109" fmla="*/ 45 h 70"/>
              <a:gd name="T110" fmla="*/ 38 w 95"/>
              <a:gd name="T111" fmla="*/ 38 h 70"/>
              <a:gd name="T112" fmla="*/ 40 w 95"/>
              <a:gd name="T113" fmla="*/ 32 h 70"/>
              <a:gd name="T114" fmla="*/ 31 w 95"/>
              <a:gd name="T115" fmla="*/ 25 h 70"/>
              <a:gd name="T116" fmla="*/ 24 w 95"/>
              <a:gd name="T117" fmla="*/ 19 h 70"/>
              <a:gd name="T118" fmla="*/ 12 w 95"/>
              <a:gd name="T119" fmla="*/ 14 h 70"/>
              <a:gd name="T120" fmla="*/ 2 w 95"/>
              <a:gd name="T121" fmla="*/ 1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 h="70">
                <a:moveTo>
                  <a:pt x="81" y="68"/>
                </a:moveTo>
                <a:cubicBezTo>
                  <a:pt x="82" y="67"/>
                  <a:pt x="82" y="67"/>
                  <a:pt x="82" y="67"/>
                </a:cubicBezTo>
                <a:cubicBezTo>
                  <a:pt x="83" y="67"/>
                  <a:pt x="83" y="67"/>
                  <a:pt x="83" y="67"/>
                </a:cubicBezTo>
                <a:cubicBezTo>
                  <a:pt x="83" y="68"/>
                  <a:pt x="83" y="68"/>
                  <a:pt x="83" y="68"/>
                </a:cubicBezTo>
                <a:cubicBezTo>
                  <a:pt x="82" y="68"/>
                  <a:pt x="82" y="68"/>
                  <a:pt x="82" y="68"/>
                </a:cubicBezTo>
                <a:cubicBezTo>
                  <a:pt x="81" y="68"/>
                  <a:pt x="81" y="68"/>
                  <a:pt x="81" y="68"/>
                </a:cubicBezTo>
                <a:cubicBezTo>
                  <a:pt x="81" y="68"/>
                  <a:pt x="81" y="68"/>
                  <a:pt x="81" y="68"/>
                </a:cubicBezTo>
                <a:close/>
                <a:moveTo>
                  <a:pt x="76" y="68"/>
                </a:moveTo>
                <a:cubicBezTo>
                  <a:pt x="78" y="69"/>
                  <a:pt x="78" y="69"/>
                  <a:pt x="78" y="69"/>
                </a:cubicBezTo>
                <a:cubicBezTo>
                  <a:pt x="78" y="69"/>
                  <a:pt x="78" y="69"/>
                  <a:pt x="78" y="69"/>
                </a:cubicBezTo>
                <a:cubicBezTo>
                  <a:pt x="79" y="70"/>
                  <a:pt x="79" y="70"/>
                  <a:pt x="79" y="70"/>
                </a:cubicBezTo>
                <a:cubicBezTo>
                  <a:pt x="80" y="69"/>
                  <a:pt x="80" y="69"/>
                  <a:pt x="80" y="69"/>
                </a:cubicBezTo>
                <a:cubicBezTo>
                  <a:pt x="79" y="69"/>
                  <a:pt x="79" y="69"/>
                  <a:pt x="79" y="69"/>
                </a:cubicBezTo>
                <a:cubicBezTo>
                  <a:pt x="78" y="69"/>
                  <a:pt x="78" y="69"/>
                  <a:pt x="78" y="69"/>
                </a:cubicBezTo>
                <a:cubicBezTo>
                  <a:pt x="77" y="68"/>
                  <a:pt x="77" y="68"/>
                  <a:pt x="77" y="68"/>
                </a:cubicBezTo>
                <a:cubicBezTo>
                  <a:pt x="76" y="68"/>
                  <a:pt x="76" y="68"/>
                  <a:pt x="76" y="68"/>
                </a:cubicBezTo>
                <a:close/>
                <a:moveTo>
                  <a:pt x="37" y="6"/>
                </a:moveTo>
                <a:cubicBezTo>
                  <a:pt x="37" y="5"/>
                  <a:pt x="37" y="5"/>
                  <a:pt x="37" y="5"/>
                </a:cubicBezTo>
                <a:cubicBezTo>
                  <a:pt x="38" y="5"/>
                  <a:pt x="38" y="5"/>
                  <a:pt x="38" y="5"/>
                </a:cubicBezTo>
                <a:cubicBezTo>
                  <a:pt x="39" y="5"/>
                  <a:pt x="39" y="5"/>
                  <a:pt x="39" y="5"/>
                </a:cubicBezTo>
                <a:cubicBezTo>
                  <a:pt x="40" y="6"/>
                  <a:pt x="40" y="6"/>
                  <a:pt x="40" y="6"/>
                </a:cubicBezTo>
                <a:cubicBezTo>
                  <a:pt x="41" y="5"/>
                  <a:pt x="41" y="5"/>
                  <a:pt x="41" y="5"/>
                </a:cubicBezTo>
                <a:cubicBezTo>
                  <a:pt x="41" y="6"/>
                  <a:pt x="41" y="6"/>
                  <a:pt x="41" y="6"/>
                </a:cubicBezTo>
                <a:cubicBezTo>
                  <a:pt x="40" y="7"/>
                  <a:pt x="40" y="7"/>
                  <a:pt x="40" y="7"/>
                </a:cubicBezTo>
                <a:cubicBezTo>
                  <a:pt x="39" y="7"/>
                  <a:pt x="39" y="7"/>
                  <a:pt x="39" y="7"/>
                </a:cubicBezTo>
                <a:cubicBezTo>
                  <a:pt x="38" y="7"/>
                  <a:pt x="38" y="7"/>
                  <a:pt x="38" y="7"/>
                </a:cubicBezTo>
                <a:cubicBezTo>
                  <a:pt x="37" y="7"/>
                  <a:pt x="37" y="7"/>
                  <a:pt x="37" y="7"/>
                </a:cubicBezTo>
                <a:cubicBezTo>
                  <a:pt x="37" y="7"/>
                  <a:pt x="37" y="6"/>
                  <a:pt x="37" y="6"/>
                </a:cubicBezTo>
                <a:close/>
                <a:moveTo>
                  <a:pt x="88" y="28"/>
                </a:moveTo>
                <a:cubicBezTo>
                  <a:pt x="89" y="28"/>
                  <a:pt x="89" y="28"/>
                  <a:pt x="89" y="28"/>
                </a:cubicBezTo>
                <a:cubicBezTo>
                  <a:pt x="90" y="29"/>
                  <a:pt x="90" y="29"/>
                  <a:pt x="90" y="29"/>
                </a:cubicBezTo>
                <a:cubicBezTo>
                  <a:pt x="90" y="31"/>
                  <a:pt x="90" y="31"/>
                  <a:pt x="90" y="31"/>
                </a:cubicBezTo>
                <a:cubicBezTo>
                  <a:pt x="92" y="31"/>
                  <a:pt x="92" y="31"/>
                  <a:pt x="92" y="31"/>
                </a:cubicBezTo>
                <a:cubicBezTo>
                  <a:pt x="94" y="33"/>
                  <a:pt x="94" y="33"/>
                  <a:pt x="94" y="33"/>
                </a:cubicBezTo>
                <a:cubicBezTo>
                  <a:pt x="95" y="34"/>
                  <a:pt x="95" y="34"/>
                  <a:pt x="95" y="34"/>
                </a:cubicBezTo>
                <a:cubicBezTo>
                  <a:pt x="95" y="36"/>
                  <a:pt x="95" y="36"/>
                  <a:pt x="95" y="36"/>
                </a:cubicBezTo>
                <a:cubicBezTo>
                  <a:pt x="94" y="36"/>
                  <a:pt x="94" y="36"/>
                  <a:pt x="94" y="36"/>
                </a:cubicBezTo>
                <a:cubicBezTo>
                  <a:pt x="94" y="37"/>
                  <a:pt x="94" y="37"/>
                  <a:pt x="94" y="37"/>
                </a:cubicBezTo>
                <a:cubicBezTo>
                  <a:pt x="92" y="37"/>
                  <a:pt x="92" y="37"/>
                  <a:pt x="92" y="37"/>
                </a:cubicBezTo>
                <a:cubicBezTo>
                  <a:pt x="91" y="37"/>
                  <a:pt x="91" y="37"/>
                  <a:pt x="91" y="37"/>
                </a:cubicBezTo>
                <a:cubicBezTo>
                  <a:pt x="90" y="37"/>
                  <a:pt x="90" y="37"/>
                  <a:pt x="90" y="37"/>
                </a:cubicBezTo>
                <a:cubicBezTo>
                  <a:pt x="90" y="36"/>
                  <a:pt x="90" y="36"/>
                  <a:pt x="90" y="36"/>
                </a:cubicBezTo>
                <a:cubicBezTo>
                  <a:pt x="90" y="35"/>
                  <a:pt x="90" y="35"/>
                  <a:pt x="90" y="35"/>
                </a:cubicBezTo>
                <a:cubicBezTo>
                  <a:pt x="89" y="33"/>
                  <a:pt x="89" y="33"/>
                  <a:pt x="89" y="33"/>
                </a:cubicBezTo>
                <a:cubicBezTo>
                  <a:pt x="88" y="32"/>
                  <a:pt x="88" y="32"/>
                  <a:pt x="88" y="32"/>
                </a:cubicBezTo>
                <a:cubicBezTo>
                  <a:pt x="88" y="30"/>
                  <a:pt x="88" y="30"/>
                  <a:pt x="88" y="30"/>
                </a:cubicBezTo>
                <a:cubicBezTo>
                  <a:pt x="87" y="29"/>
                  <a:pt x="87" y="29"/>
                  <a:pt x="87" y="29"/>
                </a:cubicBezTo>
                <a:cubicBezTo>
                  <a:pt x="88" y="28"/>
                  <a:pt x="88" y="28"/>
                  <a:pt x="88" y="28"/>
                </a:cubicBezTo>
                <a:close/>
                <a:moveTo>
                  <a:pt x="86" y="25"/>
                </a:moveTo>
                <a:cubicBezTo>
                  <a:pt x="86" y="26"/>
                  <a:pt x="86" y="26"/>
                  <a:pt x="86" y="26"/>
                </a:cubicBezTo>
                <a:cubicBezTo>
                  <a:pt x="87" y="27"/>
                  <a:pt x="87" y="27"/>
                  <a:pt x="87" y="27"/>
                </a:cubicBezTo>
                <a:cubicBezTo>
                  <a:pt x="87" y="28"/>
                  <a:pt x="87" y="28"/>
                  <a:pt x="87" y="28"/>
                </a:cubicBezTo>
                <a:cubicBezTo>
                  <a:pt x="87" y="27"/>
                  <a:pt x="87" y="27"/>
                  <a:pt x="87" y="27"/>
                </a:cubicBezTo>
                <a:cubicBezTo>
                  <a:pt x="87" y="25"/>
                  <a:pt x="87" y="25"/>
                  <a:pt x="87" y="25"/>
                </a:cubicBezTo>
                <a:cubicBezTo>
                  <a:pt x="86" y="25"/>
                  <a:pt x="86" y="25"/>
                  <a:pt x="86" y="25"/>
                </a:cubicBezTo>
                <a:close/>
                <a:moveTo>
                  <a:pt x="84" y="22"/>
                </a:moveTo>
                <a:cubicBezTo>
                  <a:pt x="85" y="22"/>
                  <a:pt x="85" y="22"/>
                  <a:pt x="85" y="22"/>
                </a:cubicBezTo>
                <a:cubicBezTo>
                  <a:pt x="85" y="21"/>
                  <a:pt x="85" y="21"/>
                  <a:pt x="85" y="21"/>
                </a:cubicBezTo>
                <a:cubicBezTo>
                  <a:pt x="86" y="22"/>
                  <a:pt x="86" y="22"/>
                  <a:pt x="86" y="22"/>
                </a:cubicBezTo>
                <a:cubicBezTo>
                  <a:pt x="85" y="23"/>
                  <a:pt x="85" y="23"/>
                  <a:pt x="85" y="23"/>
                </a:cubicBezTo>
                <a:cubicBezTo>
                  <a:pt x="84" y="23"/>
                  <a:pt x="84" y="23"/>
                  <a:pt x="84" y="23"/>
                </a:cubicBezTo>
                <a:cubicBezTo>
                  <a:pt x="84" y="22"/>
                  <a:pt x="84" y="22"/>
                  <a:pt x="84" y="22"/>
                </a:cubicBezTo>
                <a:close/>
                <a:moveTo>
                  <a:pt x="63" y="10"/>
                </a:moveTo>
                <a:cubicBezTo>
                  <a:pt x="66" y="11"/>
                  <a:pt x="66" y="11"/>
                  <a:pt x="66" y="11"/>
                </a:cubicBezTo>
                <a:cubicBezTo>
                  <a:pt x="68" y="12"/>
                  <a:pt x="68" y="12"/>
                  <a:pt x="68" y="12"/>
                </a:cubicBezTo>
                <a:cubicBezTo>
                  <a:pt x="70" y="14"/>
                  <a:pt x="70" y="14"/>
                  <a:pt x="70" y="14"/>
                </a:cubicBezTo>
                <a:cubicBezTo>
                  <a:pt x="72" y="14"/>
                  <a:pt x="72" y="14"/>
                  <a:pt x="72" y="14"/>
                </a:cubicBezTo>
                <a:cubicBezTo>
                  <a:pt x="73" y="15"/>
                  <a:pt x="73" y="15"/>
                  <a:pt x="73" y="15"/>
                </a:cubicBezTo>
                <a:cubicBezTo>
                  <a:pt x="74" y="16"/>
                  <a:pt x="74" y="16"/>
                  <a:pt x="74" y="16"/>
                </a:cubicBezTo>
                <a:cubicBezTo>
                  <a:pt x="75" y="18"/>
                  <a:pt x="75" y="18"/>
                  <a:pt x="75" y="18"/>
                </a:cubicBezTo>
                <a:cubicBezTo>
                  <a:pt x="76" y="18"/>
                  <a:pt x="76" y="18"/>
                  <a:pt x="76" y="18"/>
                </a:cubicBezTo>
                <a:cubicBezTo>
                  <a:pt x="77" y="20"/>
                  <a:pt x="77" y="20"/>
                  <a:pt x="77" y="20"/>
                </a:cubicBezTo>
                <a:cubicBezTo>
                  <a:pt x="78" y="21"/>
                  <a:pt x="78" y="21"/>
                  <a:pt x="78" y="21"/>
                </a:cubicBezTo>
                <a:cubicBezTo>
                  <a:pt x="78" y="22"/>
                  <a:pt x="78" y="22"/>
                  <a:pt x="78" y="22"/>
                </a:cubicBezTo>
                <a:cubicBezTo>
                  <a:pt x="77" y="23"/>
                  <a:pt x="77" y="23"/>
                  <a:pt x="77" y="23"/>
                </a:cubicBezTo>
                <a:cubicBezTo>
                  <a:pt x="77" y="24"/>
                  <a:pt x="77" y="24"/>
                  <a:pt x="77" y="24"/>
                </a:cubicBezTo>
                <a:cubicBezTo>
                  <a:pt x="75" y="23"/>
                  <a:pt x="75" y="23"/>
                  <a:pt x="75" y="23"/>
                </a:cubicBezTo>
                <a:cubicBezTo>
                  <a:pt x="75" y="22"/>
                  <a:pt x="75" y="22"/>
                  <a:pt x="75" y="22"/>
                </a:cubicBezTo>
                <a:cubicBezTo>
                  <a:pt x="75" y="21"/>
                  <a:pt x="75" y="21"/>
                  <a:pt x="75" y="21"/>
                </a:cubicBezTo>
                <a:cubicBezTo>
                  <a:pt x="74" y="17"/>
                  <a:pt x="74" y="17"/>
                  <a:pt x="74" y="17"/>
                </a:cubicBezTo>
                <a:cubicBezTo>
                  <a:pt x="72" y="15"/>
                  <a:pt x="72" y="15"/>
                  <a:pt x="72" y="15"/>
                </a:cubicBezTo>
                <a:cubicBezTo>
                  <a:pt x="71" y="15"/>
                  <a:pt x="71" y="15"/>
                  <a:pt x="71" y="15"/>
                </a:cubicBezTo>
                <a:cubicBezTo>
                  <a:pt x="68" y="14"/>
                  <a:pt x="68" y="14"/>
                  <a:pt x="68" y="14"/>
                </a:cubicBezTo>
                <a:cubicBezTo>
                  <a:pt x="64" y="11"/>
                  <a:pt x="64" y="11"/>
                  <a:pt x="64" y="11"/>
                </a:cubicBezTo>
                <a:cubicBezTo>
                  <a:pt x="63" y="10"/>
                  <a:pt x="63" y="10"/>
                  <a:pt x="63" y="10"/>
                </a:cubicBezTo>
                <a:cubicBezTo>
                  <a:pt x="63" y="10"/>
                  <a:pt x="63" y="10"/>
                  <a:pt x="63" y="10"/>
                </a:cubicBezTo>
                <a:close/>
                <a:moveTo>
                  <a:pt x="55" y="0"/>
                </a:moveTo>
                <a:cubicBezTo>
                  <a:pt x="56" y="0"/>
                  <a:pt x="56" y="0"/>
                  <a:pt x="56" y="0"/>
                </a:cubicBezTo>
                <a:cubicBezTo>
                  <a:pt x="56" y="1"/>
                  <a:pt x="56" y="1"/>
                  <a:pt x="56" y="1"/>
                </a:cubicBezTo>
                <a:cubicBezTo>
                  <a:pt x="56" y="2"/>
                  <a:pt x="56" y="2"/>
                  <a:pt x="56" y="2"/>
                </a:cubicBezTo>
                <a:cubicBezTo>
                  <a:pt x="55" y="1"/>
                  <a:pt x="55" y="1"/>
                  <a:pt x="55" y="1"/>
                </a:cubicBezTo>
                <a:cubicBezTo>
                  <a:pt x="55" y="0"/>
                  <a:pt x="55" y="0"/>
                  <a:pt x="55" y="0"/>
                </a:cubicBezTo>
                <a:close/>
                <a:moveTo>
                  <a:pt x="58" y="9"/>
                </a:moveTo>
                <a:cubicBezTo>
                  <a:pt x="60" y="9"/>
                  <a:pt x="60" y="9"/>
                  <a:pt x="60" y="9"/>
                </a:cubicBezTo>
                <a:cubicBezTo>
                  <a:pt x="61" y="9"/>
                  <a:pt x="61" y="9"/>
                  <a:pt x="61" y="9"/>
                </a:cubicBezTo>
                <a:cubicBezTo>
                  <a:pt x="61" y="11"/>
                  <a:pt x="61" y="11"/>
                  <a:pt x="61" y="11"/>
                </a:cubicBezTo>
                <a:cubicBezTo>
                  <a:pt x="59" y="11"/>
                  <a:pt x="59" y="11"/>
                  <a:pt x="59" y="11"/>
                </a:cubicBezTo>
                <a:cubicBezTo>
                  <a:pt x="58" y="10"/>
                  <a:pt x="58" y="10"/>
                  <a:pt x="58" y="10"/>
                </a:cubicBezTo>
                <a:cubicBezTo>
                  <a:pt x="58" y="9"/>
                  <a:pt x="58" y="9"/>
                  <a:pt x="58" y="9"/>
                </a:cubicBezTo>
                <a:close/>
                <a:moveTo>
                  <a:pt x="58" y="25"/>
                </a:moveTo>
                <a:cubicBezTo>
                  <a:pt x="59" y="26"/>
                  <a:pt x="59" y="26"/>
                  <a:pt x="59" y="26"/>
                </a:cubicBezTo>
                <a:cubicBezTo>
                  <a:pt x="60" y="25"/>
                  <a:pt x="60" y="25"/>
                  <a:pt x="60" y="25"/>
                </a:cubicBezTo>
                <a:cubicBezTo>
                  <a:pt x="59" y="24"/>
                  <a:pt x="59" y="24"/>
                  <a:pt x="59" y="24"/>
                </a:cubicBezTo>
                <a:cubicBezTo>
                  <a:pt x="58" y="24"/>
                  <a:pt x="58" y="24"/>
                  <a:pt x="58" y="24"/>
                </a:cubicBezTo>
                <a:cubicBezTo>
                  <a:pt x="58" y="25"/>
                  <a:pt x="58" y="25"/>
                  <a:pt x="58" y="25"/>
                </a:cubicBezTo>
                <a:close/>
                <a:moveTo>
                  <a:pt x="47" y="28"/>
                </a:moveTo>
                <a:cubicBezTo>
                  <a:pt x="47" y="29"/>
                  <a:pt x="47" y="29"/>
                  <a:pt x="47" y="29"/>
                </a:cubicBezTo>
                <a:cubicBezTo>
                  <a:pt x="48" y="31"/>
                  <a:pt x="48" y="31"/>
                  <a:pt x="48" y="31"/>
                </a:cubicBezTo>
                <a:cubicBezTo>
                  <a:pt x="49" y="31"/>
                  <a:pt x="49" y="31"/>
                  <a:pt x="49" y="31"/>
                </a:cubicBezTo>
                <a:cubicBezTo>
                  <a:pt x="51" y="32"/>
                  <a:pt x="51" y="32"/>
                  <a:pt x="51" y="32"/>
                </a:cubicBezTo>
                <a:cubicBezTo>
                  <a:pt x="51" y="33"/>
                  <a:pt x="51" y="33"/>
                  <a:pt x="51" y="33"/>
                </a:cubicBezTo>
                <a:cubicBezTo>
                  <a:pt x="52" y="33"/>
                  <a:pt x="52" y="33"/>
                  <a:pt x="52" y="33"/>
                </a:cubicBezTo>
                <a:cubicBezTo>
                  <a:pt x="54" y="33"/>
                  <a:pt x="54" y="33"/>
                  <a:pt x="54" y="33"/>
                </a:cubicBezTo>
                <a:cubicBezTo>
                  <a:pt x="55" y="34"/>
                  <a:pt x="55" y="34"/>
                  <a:pt x="55" y="34"/>
                </a:cubicBezTo>
                <a:cubicBezTo>
                  <a:pt x="56" y="34"/>
                  <a:pt x="56" y="34"/>
                  <a:pt x="56" y="34"/>
                </a:cubicBezTo>
                <a:cubicBezTo>
                  <a:pt x="57" y="34"/>
                  <a:pt x="57" y="34"/>
                  <a:pt x="57" y="34"/>
                </a:cubicBezTo>
                <a:cubicBezTo>
                  <a:pt x="60" y="33"/>
                  <a:pt x="60" y="33"/>
                  <a:pt x="60" y="33"/>
                </a:cubicBezTo>
                <a:cubicBezTo>
                  <a:pt x="61" y="34"/>
                  <a:pt x="61" y="34"/>
                  <a:pt x="61" y="34"/>
                </a:cubicBezTo>
                <a:cubicBezTo>
                  <a:pt x="62" y="33"/>
                  <a:pt x="62" y="33"/>
                  <a:pt x="62" y="33"/>
                </a:cubicBezTo>
                <a:cubicBezTo>
                  <a:pt x="63" y="34"/>
                  <a:pt x="63" y="34"/>
                  <a:pt x="63" y="34"/>
                </a:cubicBezTo>
                <a:cubicBezTo>
                  <a:pt x="64" y="33"/>
                  <a:pt x="64" y="33"/>
                  <a:pt x="64" y="33"/>
                </a:cubicBezTo>
                <a:cubicBezTo>
                  <a:pt x="64" y="32"/>
                  <a:pt x="64" y="32"/>
                  <a:pt x="64" y="32"/>
                </a:cubicBezTo>
                <a:cubicBezTo>
                  <a:pt x="66" y="32"/>
                  <a:pt x="66" y="32"/>
                  <a:pt x="66" y="32"/>
                </a:cubicBezTo>
                <a:cubicBezTo>
                  <a:pt x="68" y="30"/>
                  <a:pt x="68" y="30"/>
                  <a:pt x="68" y="30"/>
                </a:cubicBezTo>
                <a:cubicBezTo>
                  <a:pt x="68" y="29"/>
                  <a:pt x="68" y="29"/>
                  <a:pt x="68" y="29"/>
                </a:cubicBezTo>
                <a:cubicBezTo>
                  <a:pt x="69" y="28"/>
                  <a:pt x="69" y="28"/>
                  <a:pt x="69" y="28"/>
                </a:cubicBezTo>
                <a:cubicBezTo>
                  <a:pt x="69" y="29"/>
                  <a:pt x="69" y="29"/>
                  <a:pt x="69" y="29"/>
                </a:cubicBezTo>
                <a:cubicBezTo>
                  <a:pt x="71" y="29"/>
                  <a:pt x="71" y="29"/>
                  <a:pt x="71" y="29"/>
                </a:cubicBezTo>
                <a:cubicBezTo>
                  <a:pt x="72" y="27"/>
                  <a:pt x="72" y="27"/>
                  <a:pt x="72" y="27"/>
                </a:cubicBezTo>
                <a:cubicBezTo>
                  <a:pt x="70" y="26"/>
                  <a:pt x="70" y="26"/>
                  <a:pt x="70" y="26"/>
                </a:cubicBezTo>
                <a:cubicBezTo>
                  <a:pt x="70" y="25"/>
                  <a:pt x="70" y="25"/>
                  <a:pt x="70" y="25"/>
                </a:cubicBezTo>
                <a:cubicBezTo>
                  <a:pt x="71" y="25"/>
                  <a:pt x="71" y="25"/>
                  <a:pt x="71" y="25"/>
                </a:cubicBezTo>
                <a:cubicBezTo>
                  <a:pt x="72" y="25"/>
                  <a:pt x="72" y="25"/>
                  <a:pt x="72" y="25"/>
                </a:cubicBezTo>
                <a:cubicBezTo>
                  <a:pt x="73" y="24"/>
                  <a:pt x="73" y="24"/>
                  <a:pt x="73" y="24"/>
                </a:cubicBezTo>
                <a:cubicBezTo>
                  <a:pt x="73" y="21"/>
                  <a:pt x="73" y="21"/>
                  <a:pt x="73" y="21"/>
                </a:cubicBezTo>
                <a:cubicBezTo>
                  <a:pt x="72" y="20"/>
                  <a:pt x="72" y="20"/>
                  <a:pt x="72" y="20"/>
                </a:cubicBezTo>
                <a:cubicBezTo>
                  <a:pt x="71" y="20"/>
                  <a:pt x="71" y="20"/>
                  <a:pt x="71" y="20"/>
                </a:cubicBezTo>
                <a:cubicBezTo>
                  <a:pt x="71" y="21"/>
                  <a:pt x="71" y="21"/>
                  <a:pt x="71" y="21"/>
                </a:cubicBezTo>
                <a:cubicBezTo>
                  <a:pt x="70" y="20"/>
                  <a:pt x="70" y="20"/>
                  <a:pt x="70" y="20"/>
                </a:cubicBezTo>
                <a:cubicBezTo>
                  <a:pt x="68" y="20"/>
                  <a:pt x="68" y="20"/>
                  <a:pt x="68" y="20"/>
                </a:cubicBezTo>
                <a:cubicBezTo>
                  <a:pt x="68" y="21"/>
                  <a:pt x="68" y="21"/>
                  <a:pt x="68" y="21"/>
                </a:cubicBezTo>
                <a:cubicBezTo>
                  <a:pt x="68" y="24"/>
                  <a:pt x="68" y="24"/>
                  <a:pt x="68" y="24"/>
                </a:cubicBezTo>
                <a:cubicBezTo>
                  <a:pt x="69" y="24"/>
                  <a:pt x="69" y="24"/>
                  <a:pt x="69" y="24"/>
                </a:cubicBezTo>
                <a:cubicBezTo>
                  <a:pt x="68" y="25"/>
                  <a:pt x="68" y="25"/>
                  <a:pt x="68" y="25"/>
                </a:cubicBezTo>
                <a:cubicBezTo>
                  <a:pt x="67" y="25"/>
                  <a:pt x="67" y="25"/>
                  <a:pt x="67" y="25"/>
                </a:cubicBezTo>
                <a:cubicBezTo>
                  <a:pt x="65" y="27"/>
                  <a:pt x="65" y="27"/>
                  <a:pt x="65" y="27"/>
                </a:cubicBezTo>
                <a:cubicBezTo>
                  <a:pt x="64" y="28"/>
                  <a:pt x="64" y="28"/>
                  <a:pt x="64" y="28"/>
                </a:cubicBezTo>
                <a:cubicBezTo>
                  <a:pt x="63" y="29"/>
                  <a:pt x="63" y="29"/>
                  <a:pt x="63" y="29"/>
                </a:cubicBezTo>
                <a:cubicBezTo>
                  <a:pt x="63" y="28"/>
                  <a:pt x="63" y="28"/>
                  <a:pt x="63" y="28"/>
                </a:cubicBezTo>
                <a:cubicBezTo>
                  <a:pt x="62" y="29"/>
                  <a:pt x="62" y="29"/>
                  <a:pt x="62" y="29"/>
                </a:cubicBezTo>
                <a:cubicBezTo>
                  <a:pt x="61" y="28"/>
                  <a:pt x="61" y="28"/>
                  <a:pt x="61" y="28"/>
                </a:cubicBezTo>
                <a:cubicBezTo>
                  <a:pt x="60" y="28"/>
                  <a:pt x="60" y="28"/>
                  <a:pt x="60" y="28"/>
                </a:cubicBezTo>
                <a:cubicBezTo>
                  <a:pt x="59" y="29"/>
                  <a:pt x="59" y="29"/>
                  <a:pt x="59" y="29"/>
                </a:cubicBezTo>
                <a:cubicBezTo>
                  <a:pt x="58" y="29"/>
                  <a:pt x="58" y="29"/>
                  <a:pt x="58" y="29"/>
                </a:cubicBezTo>
                <a:cubicBezTo>
                  <a:pt x="58" y="28"/>
                  <a:pt x="58" y="28"/>
                  <a:pt x="58" y="28"/>
                </a:cubicBezTo>
                <a:cubicBezTo>
                  <a:pt x="58" y="27"/>
                  <a:pt x="58" y="27"/>
                  <a:pt x="58" y="27"/>
                </a:cubicBezTo>
                <a:cubicBezTo>
                  <a:pt x="57" y="26"/>
                  <a:pt x="57" y="26"/>
                  <a:pt x="57" y="26"/>
                </a:cubicBezTo>
                <a:cubicBezTo>
                  <a:pt x="57" y="27"/>
                  <a:pt x="57" y="27"/>
                  <a:pt x="57" y="27"/>
                </a:cubicBezTo>
                <a:cubicBezTo>
                  <a:pt x="57" y="28"/>
                  <a:pt x="57" y="28"/>
                  <a:pt x="57" y="28"/>
                </a:cubicBezTo>
                <a:cubicBezTo>
                  <a:pt x="56" y="28"/>
                  <a:pt x="56" y="28"/>
                  <a:pt x="56" y="28"/>
                </a:cubicBezTo>
                <a:cubicBezTo>
                  <a:pt x="55" y="28"/>
                  <a:pt x="55" y="28"/>
                  <a:pt x="55" y="28"/>
                </a:cubicBezTo>
                <a:cubicBezTo>
                  <a:pt x="53" y="29"/>
                  <a:pt x="53" y="29"/>
                  <a:pt x="53" y="29"/>
                </a:cubicBezTo>
                <a:cubicBezTo>
                  <a:pt x="52" y="29"/>
                  <a:pt x="52" y="29"/>
                  <a:pt x="52" y="29"/>
                </a:cubicBezTo>
                <a:cubicBezTo>
                  <a:pt x="51" y="28"/>
                  <a:pt x="51" y="28"/>
                  <a:pt x="51" y="28"/>
                </a:cubicBezTo>
                <a:cubicBezTo>
                  <a:pt x="50" y="28"/>
                  <a:pt x="50" y="28"/>
                  <a:pt x="50" y="28"/>
                </a:cubicBezTo>
                <a:cubicBezTo>
                  <a:pt x="49" y="28"/>
                  <a:pt x="49" y="28"/>
                  <a:pt x="49" y="28"/>
                </a:cubicBezTo>
                <a:cubicBezTo>
                  <a:pt x="47" y="28"/>
                  <a:pt x="47" y="28"/>
                  <a:pt x="47" y="28"/>
                </a:cubicBezTo>
                <a:close/>
                <a:moveTo>
                  <a:pt x="43" y="29"/>
                </a:moveTo>
                <a:cubicBezTo>
                  <a:pt x="44" y="28"/>
                  <a:pt x="44" y="28"/>
                  <a:pt x="44" y="28"/>
                </a:cubicBezTo>
                <a:cubicBezTo>
                  <a:pt x="45" y="29"/>
                  <a:pt x="45" y="29"/>
                  <a:pt x="45" y="29"/>
                </a:cubicBezTo>
                <a:cubicBezTo>
                  <a:pt x="45" y="30"/>
                  <a:pt x="45" y="30"/>
                  <a:pt x="45" y="30"/>
                </a:cubicBezTo>
                <a:cubicBezTo>
                  <a:pt x="45" y="31"/>
                  <a:pt x="45" y="31"/>
                  <a:pt x="45" y="31"/>
                </a:cubicBezTo>
                <a:cubicBezTo>
                  <a:pt x="44" y="30"/>
                  <a:pt x="44" y="30"/>
                  <a:pt x="44" y="30"/>
                </a:cubicBezTo>
                <a:cubicBezTo>
                  <a:pt x="43" y="29"/>
                  <a:pt x="43" y="29"/>
                  <a:pt x="43" y="29"/>
                </a:cubicBezTo>
                <a:close/>
                <a:moveTo>
                  <a:pt x="39" y="27"/>
                </a:moveTo>
                <a:cubicBezTo>
                  <a:pt x="39" y="28"/>
                  <a:pt x="39" y="28"/>
                  <a:pt x="39" y="28"/>
                </a:cubicBezTo>
                <a:cubicBezTo>
                  <a:pt x="39" y="28"/>
                  <a:pt x="39" y="28"/>
                  <a:pt x="39" y="28"/>
                </a:cubicBezTo>
                <a:cubicBezTo>
                  <a:pt x="40" y="28"/>
                  <a:pt x="40" y="28"/>
                  <a:pt x="40" y="28"/>
                </a:cubicBezTo>
                <a:cubicBezTo>
                  <a:pt x="40" y="27"/>
                  <a:pt x="40" y="27"/>
                  <a:pt x="40" y="27"/>
                </a:cubicBezTo>
                <a:cubicBezTo>
                  <a:pt x="39" y="27"/>
                  <a:pt x="39" y="27"/>
                  <a:pt x="39" y="27"/>
                </a:cubicBezTo>
                <a:close/>
                <a:moveTo>
                  <a:pt x="33" y="22"/>
                </a:moveTo>
                <a:cubicBezTo>
                  <a:pt x="32" y="23"/>
                  <a:pt x="32" y="23"/>
                  <a:pt x="32" y="23"/>
                </a:cubicBezTo>
                <a:cubicBezTo>
                  <a:pt x="32" y="24"/>
                  <a:pt x="32" y="24"/>
                  <a:pt x="32" y="24"/>
                </a:cubicBezTo>
                <a:cubicBezTo>
                  <a:pt x="33" y="23"/>
                  <a:pt x="33" y="23"/>
                  <a:pt x="33" y="23"/>
                </a:cubicBezTo>
                <a:cubicBezTo>
                  <a:pt x="33" y="22"/>
                  <a:pt x="33" y="22"/>
                  <a:pt x="33" y="22"/>
                </a:cubicBezTo>
                <a:close/>
                <a:moveTo>
                  <a:pt x="73" y="51"/>
                </a:moveTo>
                <a:cubicBezTo>
                  <a:pt x="73" y="52"/>
                  <a:pt x="73" y="52"/>
                  <a:pt x="73" y="52"/>
                </a:cubicBezTo>
                <a:cubicBezTo>
                  <a:pt x="73" y="53"/>
                  <a:pt x="73" y="53"/>
                  <a:pt x="73" y="53"/>
                </a:cubicBezTo>
                <a:cubicBezTo>
                  <a:pt x="74" y="53"/>
                  <a:pt x="74" y="53"/>
                  <a:pt x="74" y="53"/>
                </a:cubicBezTo>
                <a:cubicBezTo>
                  <a:pt x="75" y="54"/>
                  <a:pt x="75" y="54"/>
                  <a:pt x="75" y="54"/>
                </a:cubicBezTo>
                <a:cubicBezTo>
                  <a:pt x="75" y="53"/>
                  <a:pt x="75" y="53"/>
                  <a:pt x="75" y="53"/>
                </a:cubicBezTo>
                <a:cubicBezTo>
                  <a:pt x="73" y="51"/>
                  <a:pt x="73" y="51"/>
                  <a:pt x="73" y="51"/>
                </a:cubicBezTo>
                <a:close/>
                <a:moveTo>
                  <a:pt x="64" y="47"/>
                </a:moveTo>
                <a:cubicBezTo>
                  <a:pt x="63" y="48"/>
                  <a:pt x="63" y="48"/>
                  <a:pt x="63" y="48"/>
                </a:cubicBezTo>
                <a:cubicBezTo>
                  <a:pt x="64" y="49"/>
                  <a:pt x="64" y="49"/>
                  <a:pt x="64" y="49"/>
                </a:cubicBezTo>
                <a:cubicBezTo>
                  <a:pt x="64" y="49"/>
                  <a:pt x="64" y="49"/>
                  <a:pt x="64" y="49"/>
                </a:cubicBezTo>
                <a:cubicBezTo>
                  <a:pt x="64" y="50"/>
                  <a:pt x="64" y="50"/>
                  <a:pt x="64" y="50"/>
                </a:cubicBezTo>
                <a:cubicBezTo>
                  <a:pt x="64" y="50"/>
                  <a:pt x="64" y="50"/>
                  <a:pt x="64" y="50"/>
                </a:cubicBezTo>
                <a:cubicBezTo>
                  <a:pt x="64" y="50"/>
                  <a:pt x="64" y="50"/>
                  <a:pt x="64" y="50"/>
                </a:cubicBezTo>
                <a:cubicBezTo>
                  <a:pt x="65" y="49"/>
                  <a:pt x="65" y="49"/>
                  <a:pt x="65" y="49"/>
                </a:cubicBezTo>
                <a:cubicBezTo>
                  <a:pt x="64" y="47"/>
                  <a:pt x="64" y="47"/>
                  <a:pt x="64" y="47"/>
                </a:cubicBezTo>
                <a:cubicBezTo>
                  <a:pt x="64" y="47"/>
                  <a:pt x="64" y="47"/>
                  <a:pt x="64" y="47"/>
                </a:cubicBezTo>
                <a:close/>
                <a:moveTo>
                  <a:pt x="61" y="57"/>
                </a:moveTo>
                <a:cubicBezTo>
                  <a:pt x="62" y="57"/>
                  <a:pt x="62" y="57"/>
                  <a:pt x="62" y="57"/>
                </a:cubicBezTo>
                <a:cubicBezTo>
                  <a:pt x="62" y="57"/>
                  <a:pt x="62" y="57"/>
                  <a:pt x="62" y="57"/>
                </a:cubicBezTo>
                <a:cubicBezTo>
                  <a:pt x="63" y="58"/>
                  <a:pt x="63" y="58"/>
                  <a:pt x="63" y="58"/>
                </a:cubicBezTo>
                <a:cubicBezTo>
                  <a:pt x="63" y="58"/>
                  <a:pt x="63" y="58"/>
                  <a:pt x="63" y="58"/>
                </a:cubicBezTo>
                <a:cubicBezTo>
                  <a:pt x="63" y="58"/>
                  <a:pt x="63" y="58"/>
                  <a:pt x="63" y="58"/>
                </a:cubicBezTo>
                <a:cubicBezTo>
                  <a:pt x="64" y="58"/>
                  <a:pt x="64" y="58"/>
                  <a:pt x="64" y="58"/>
                </a:cubicBezTo>
                <a:cubicBezTo>
                  <a:pt x="65" y="58"/>
                  <a:pt x="65" y="58"/>
                  <a:pt x="65" y="58"/>
                </a:cubicBezTo>
                <a:cubicBezTo>
                  <a:pt x="65" y="58"/>
                  <a:pt x="65" y="58"/>
                  <a:pt x="65" y="58"/>
                </a:cubicBezTo>
                <a:cubicBezTo>
                  <a:pt x="64" y="59"/>
                  <a:pt x="64" y="59"/>
                  <a:pt x="64" y="59"/>
                </a:cubicBezTo>
                <a:cubicBezTo>
                  <a:pt x="64" y="59"/>
                  <a:pt x="64" y="59"/>
                  <a:pt x="64" y="59"/>
                </a:cubicBezTo>
                <a:cubicBezTo>
                  <a:pt x="63" y="59"/>
                  <a:pt x="63" y="59"/>
                  <a:pt x="63" y="59"/>
                </a:cubicBezTo>
                <a:cubicBezTo>
                  <a:pt x="62" y="59"/>
                  <a:pt x="62" y="59"/>
                  <a:pt x="62" y="59"/>
                </a:cubicBezTo>
                <a:cubicBezTo>
                  <a:pt x="62" y="58"/>
                  <a:pt x="62" y="58"/>
                  <a:pt x="62" y="58"/>
                </a:cubicBezTo>
                <a:cubicBezTo>
                  <a:pt x="62" y="58"/>
                  <a:pt x="62" y="58"/>
                  <a:pt x="62" y="58"/>
                </a:cubicBezTo>
                <a:cubicBezTo>
                  <a:pt x="62" y="57"/>
                  <a:pt x="62" y="57"/>
                  <a:pt x="62" y="57"/>
                </a:cubicBezTo>
                <a:cubicBezTo>
                  <a:pt x="61" y="57"/>
                  <a:pt x="61" y="57"/>
                  <a:pt x="61" y="57"/>
                </a:cubicBezTo>
                <a:cubicBezTo>
                  <a:pt x="61" y="57"/>
                  <a:pt x="61" y="57"/>
                  <a:pt x="61" y="57"/>
                </a:cubicBezTo>
                <a:close/>
                <a:moveTo>
                  <a:pt x="60" y="55"/>
                </a:moveTo>
                <a:cubicBezTo>
                  <a:pt x="60" y="56"/>
                  <a:pt x="60" y="56"/>
                  <a:pt x="60" y="56"/>
                </a:cubicBezTo>
                <a:cubicBezTo>
                  <a:pt x="61" y="56"/>
                  <a:pt x="61" y="56"/>
                  <a:pt x="61" y="56"/>
                </a:cubicBezTo>
                <a:cubicBezTo>
                  <a:pt x="62" y="56"/>
                  <a:pt x="62" y="56"/>
                  <a:pt x="62" y="56"/>
                </a:cubicBezTo>
                <a:cubicBezTo>
                  <a:pt x="62" y="56"/>
                  <a:pt x="62" y="56"/>
                  <a:pt x="62" y="56"/>
                </a:cubicBezTo>
                <a:cubicBezTo>
                  <a:pt x="62" y="56"/>
                  <a:pt x="62" y="56"/>
                  <a:pt x="62" y="56"/>
                </a:cubicBezTo>
                <a:cubicBezTo>
                  <a:pt x="62" y="55"/>
                  <a:pt x="62" y="55"/>
                  <a:pt x="62" y="55"/>
                </a:cubicBezTo>
                <a:cubicBezTo>
                  <a:pt x="62" y="55"/>
                  <a:pt x="62" y="55"/>
                  <a:pt x="62" y="55"/>
                </a:cubicBezTo>
                <a:cubicBezTo>
                  <a:pt x="62" y="55"/>
                  <a:pt x="62" y="55"/>
                  <a:pt x="62" y="55"/>
                </a:cubicBezTo>
                <a:cubicBezTo>
                  <a:pt x="61" y="55"/>
                  <a:pt x="61" y="55"/>
                  <a:pt x="61" y="55"/>
                </a:cubicBezTo>
                <a:cubicBezTo>
                  <a:pt x="61" y="55"/>
                  <a:pt x="61" y="55"/>
                  <a:pt x="61" y="55"/>
                </a:cubicBezTo>
                <a:cubicBezTo>
                  <a:pt x="60" y="54"/>
                  <a:pt x="60" y="54"/>
                  <a:pt x="60" y="54"/>
                </a:cubicBezTo>
                <a:cubicBezTo>
                  <a:pt x="60" y="55"/>
                  <a:pt x="60" y="55"/>
                  <a:pt x="60" y="55"/>
                </a:cubicBezTo>
                <a:close/>
                <a:moveTo>
                  <a:pt x="57" y="54"/>
                </a:moveTo>
                <a:cubicBezTo>
                  <a:pt x="58" y="55"/>
                  <a:pt x="58" y="55"/>
                  <a:pt x="58" y="55"/>
                </a:cubicBezTo>
                <a:cubicBezTo>
                  <a:pt x="58" y="55"/>
                  <a:pt x="58" y="55"/>
                  <a:pt x="58" y="55"/>
                </a:cubicBezTo>
                <a:cubicBezTo>
                  <a:pt x="59" y="55"/>
                  <a:pt x="59" y="55"/>
                  <a:pt x="59" y="55"/>
                </a:cubicBezTo>
                <a:cubicBezTo>
                  <a:pt x="59" y="55"/>
                  <a:pt x="59" y="55"/>
                  <a:pt x="59" y="55"/>
                </a:cubicBezTo>
                <a:cubicBezTo>
                  <a:pt x="59" y="55"/>
                  <a:pt x="59" y="55"/>
                  <a:pt x="59" y="55"/>
                </a:cubicBezTo>
                <a:cubicBezTo>
                  <a:pt x="59" y="53"/>
                  <a:pt x="59" y="53"/>
                  <a:pt x="59" y="53"/>
                </a:cubicBezTo>
                <a:cubicBezTo>
                  <a:pt x="58" y="53"/>
                  <a:pt x="58" y="53"/>
                  <a:pt x="58" y="53"/>
                </a:cubicBezTo>
                <a:cubicBezTo>
                  <a:pt x="57" y="54"/>
                  <a:pt x="57" y="54"/>
                  <a:pt x="57" y="54"/>
                </a:cubicBezTo>
                <a:close/>
                <a:moveTo>
                  <a:pt x="26" y="43"/>
                </a:moveTo>
                <a:cubicBezTo>
                  <a:pt x="25" y="43"/>
                  <a:pt x="25" y="43"/>
                  <a:pt x="25" y="43"/>
                </a:cubicBezTo>
                <a:cubicBezTo>
                  <a:pt x="26" y="44"/>
                  <a:pt x="26" y="44"/>
                  <a:pt x="26" y="44"/>
                </a:cubicBezTo>
                <a:cubicBezTo>
                  <a:pt x="26" y="44"/>
                  <a:pt x="26" y="43"/>
                  <a:pt x="26" y="43"/>
                </a:cubicBezTo>
                <a:close/>
                <a:moveTo>
                  <a:pt x="23" y="43"/>
                </a:moveTo>
                <a:cubicBezTo>
                  <a:pt x="23" y="43"/>
                  <a:pt x="23" y="43"/>
                  <a:pt x="23" y="43"/>
                </a:cubicBezTo>
                <a:cubicBezTo>
                  <a:pt x="24" y="43"/>
                  <a:pt x="24" y="43"/>
                  <a:pt x="24" y="43"/>
                </a:cubicBezTo>
                <a:cubicBezTo>
                  <a:pt x="23" y="43"/>
                  <a:pt x="23" y="43"/>
                  <a:pt x="23" y="43"/>
                </a:cubicBezTo>
                <a:close/>
                <a:moveTo>
                  <a:pt x="21" y="43"/>
                </a:moveTo>
                <a:cubicBezTo>
                  <a:pt x="21" y="44"/>
                  <a:pt x="21" y="44"/>
                  <a:pt x="21" y="44"/>
                </a:cubicBezTo>
                <a:cubicBezTo>
                  <a:pt x="22" y="44"/>
                  <a:pt x="22" y="44"/>
                  <a:pt x="22" y="44"/>
                </a:cubicBezTo>
                <a:cubicBezTo>
                  <a:pt x="22" y="43"/>
                  <a:pt x="22" y="43"/>
                  <a:pt x="22" y="43"/>
                </a:cubicBezTo>
                <a:cubicBezTo>
                  <a:pt x="21" y="43"/>
                  <a:pt x="21" y="43"/>
                  <a:pt x="21" y="43"/>
                </a:cubicBezTo>
                <a:close/>
                <a:moveTo>
                  <a:pt x="23" y="43"/>
                </a:moveTo>
                <a:cubicBezTo>
                  <a:pt x="22" y="43"/>
                  <a:pt x="22" y="43"/>
                  <a:pt x="22" y="43"/>
                </a:cubicBezTo>
                <a:cubicBezTo>
                  <a:pt x="22" y="42"/>
                  <a:pt x="22" y="42"/>
                  <a:pt x="22" y="42"/>
                </a:cubicBezTo>
                <a:cubicBezTo>
                  <a:pt x="23" y="42"/>
                  <a:pt x="23" y="42"/>
                  <a:pt x="23" y="42"/>
                </a:cubicBezTo>
                <a:cubicBezTo>
                  <a:pt x="23" y="43"/>
                  <a:pt x="23" y="43"/>
                  <a:pt x="23" y="43"/>
                </a:cubicBezTo>
                <a:cubicBezTo>
                  <a:pt x="23" y="43"/>
                  <a:pt x="23" y="43"/>
                  <a:pt x="23" y="43"/>
                </a:cubicBezTo>
                <a:close/>
                <a:moveTo>
                  <a:pt x="18" y="43"/>
                </a:moveTo>
                <a:cubicBezTo>
                  <a:pt x="19" y="44"/>
                  <a:pt x="19" y="44"/>
                  <a:pt x="19" y="44"/>
                </a:cubicBezTo>
                <a:cubicBezTo>
                  <a:pt x="19" y="44"/>
                  <a:pt x="19" y="44"/>
                  <a:pt x="19" y="44"/>
                </a:cubicBezTo>
                <a:cubicBezTo>
                  <a:pt x="19" y="44"/>
                  <a:pt x="19" y="44"/>
                  <a:pt x="19" y="44"/>
                </a:cubicBezTo>
                <a:cubicBezTo>
                  <a:pt x="18" y="43"/>
                  <a:pt x="18" y="43"/>
                  <a:pt x="18" y="43"/>
                </a:cubicBezTo>
                <a:close/>
                <a:moveTo>
                  <a:pt x="16" y="48"/>
                </a:moveTo>
                <a:cubicBezTo>
                  <a:pt x="17" y="48"/>
                  <a:pt x="17" y="48"/>
                  <a:pt x="17" y="48"/>
                </a:cubicBezTo>
                <a:cubicBezTo>
                  <a:pt x="18" y="48"/>
                  <a:pt x="18" y="48"/>
                  <a:pt x="18" y="48"/>
                </a:cubicBezTo>
                <a:cubicBezTo>
                  <a:pt x="18" y="48"/>
                  <a:pt x="18" y="48"/>
                  <a:pt x="18" y="48"/>
                </a:cubicBezTo>
                <a:cubicBezTo>
                  <a:pt x="18" y="48"/>
                  <a:pt x="16" y="48"/>
                  <a:pt x="16" y="48"/>
                </a:cubicBezTo>
                <a:close/>
                <a:moveTo>
                  <a:pt x="16" y="49"/>
                </a:moveTo>
                <a:cubicBezTo>
                  <a:pt x="17" y="49"/>
                  <a:pt x="17" y="49"/>
                  <a:pt x="17" y="49"/>
                </a:cubicBezTo>
                <a:cubicBezTo>
                  <a:pt x="17" y="49"/>
                  <a:pt x="17" y="49"/>
                  <a:pt x="17" y="49"/>
                </a:cubicBezTo>
                <a:cubicBezTo>
                  <a:pt x="16" y="49"/>
                  <a:pt x="16" y="49"/>
                  <a:pt x="16" y="49"/>
                </a:cubicBezTo>
                <a:close/>
                <a:moveTo>
                  <a:pt x="15" y="48"/>
                </a:moveTo>
                <a:cubicBezTo>
                  <a:pt x="15" y="49"/>
                  <a:pt x="15" y="49"/>
                  <a:pt x="15" y="49"/>
                </a:cubicBezTo>
                <a:cubicBezTo>
                  <a:pt x="16" y="48"/>
                  <a:pt x="16" y="48"/>
                  <a:pt x="16" y="48"/>
                </a:cubicBezTo>
                <a:cubicBezTo>
                  <a:pt x="15" y="48"/>
                  <a:pt x="15" y="48"/>
                  <a:pt x="15" y="48"/>
                </a:cubicBezTo>
                <a:close/>
                <a:moveTo>
                  <a:pt x="14" y="49"/>
                </a:moveTo>
                <a:cubicBezTo>
                  <a:pt x="14" y="49"/>
                  <a:pt x="16" y="50"/>
                  <a:pt x="16" y="50"/>
                </a:cubicBezTo>
                <a:cubicBezTo>
                  <a:pt x="17" y="51"/>
                  <a:pt x="17" y="51"/>
                  <a:pt x="17" y="51"/>
                </a:cubicBezTo>
                <a:cubicBezTo>
                  <a:pt x="14" y="49"/>
                  <a:pt x="14" y="49"/>
                  <a:pt x="14" y="49"/>
                </a:cubicBezTo>
                <a:close/>
                <a:moveTo>
                  <a:pt x="16" y="46"/>
                </a:moveTo>
                <a:cubicBezTo>
                  <a:pt x="17" y="46"/>
                  <a:pt x="17" y="46"/>
                  <a:pt x="17" y="46"/>
                </a:cubicBezTo>
                <a:cubicBezTo>
                  <a:pt x="17" y="46"/>
                  <a:pt x="17" y="46"/>
                  <a:pt x="17" y="46"/>
                </a:cubicBezTo>
                <a:cubicBezTo>
                  <a:pt x="16" y="46"/>
                  <a:pt x="16" y="46"/>
                  <a:pt x="16" y="46"/>
                </a:cubicBezTo>
                <a:cubicBezTo>
                  <a:pt x="16" y="46"/>
                  <a:pt x="16" y="46"/>
                  <a:pt x="16" y="46"/>
                </a:cubicBezTo>
                <a:close/>
                <a:moveTo>
                  <a:pt x="18" y="46"/>
                </a:moveTo>
                <a:cubicBezTo>
                  <a:pt x="17" y="45"/>
                  <a:pt x="17" y="45"/>
                  <a:pt x="17" y="45"/>
                </a:cubicBezTo>
                <a:cubicBezTo>
                  <a:pt x="17" y="44"/>
                  <a:pt x="17" y="44"/>
                  <a:pt x="17" y="44"/>
                </a:cubicBezTo>
                <a:cubicBezTo>
                  <a:pt x="18" y="44"/>
                  <a:pt x="18" y="44"/>
                  <a:pt x="18" y="44"/>
                </a:cubicBezTo>
                <a:cubicBezTo>
                  <a:pt x="18" y="45"/>
                  <a:pt x="18" y="45"/>
                  <a:pt x="18" y="45"/>
                </a:cubicBezTo>
                <a:cubicBezTo>
                  <a:pt x="18" y="46"/>
                  <a:pt x="18" y="46"/>
                  <a:pt x="18" y="46"/>
                </a:cubicBezTo>
                <a:cubicBezTo>
                  <a:pt x="18" y="46"/>
                  <a:pt x="18" y="46"/>
                  <a:pt x="18" y="46"/>
                </a:cubicBezTo>
                <a:close/>
                <a:moveTo>
                  <a:pt x="1" y="10"/>
                </a:moveTo>
                <a:cubicBezTo>
                  <a:pt x="0" y="34"/>
                  <a:pt x="0" y="34"/>
                  <a:pt x="0" y="34"/>
                </a:cubicBezTo>
                <a:cubicBezTo>
                  <a:pt x="0" y="36"/>
                  <a:pt x="0" y="36"/>
                  <a:pt x="0" y="36"/>
                </a:cubicBezTo>
                <a:cubicBezTo>
                  <a:pt x="0" y="37"/>
                  <a:pt x="0" y="37"/>
                  <a:pt x="0" y="37"/>
                </a:cubicBezTo>
                <a:cubicBezTo>
                  <a:pt x="0" y="37"/>
                  <a:pt x="0" y="37"/>
                  <a:pt x="0" y="37"/>
                </a:cubicBezTo>
                <a:cubicBezTo>
                  <a:pt x="0" y="52"/>
                  <a:pt x="0" y="52"/>
                  <a:pt x="0" y="52"/>
                </a:cubicBezTo>
                <a:cubicBezTo>
                  <a:pt x="2" y="52"/>
                  <a:pt x="2" y="52"/>
                  <a:pt x="2" y="52"/>
                </a:cubicBezTo>
                <a:cubicBezTo>
                  <a:pt x="3" y="53"/>
                  <a:pt x="3" y="53"/>
                  <a:pt x="3" y="53"/>
                </a:cubicBezTo>
                <a:cubicBezTo>
                  <a:pt x="4" y="52"/>
                  <a:pt x="4" y="52"/>
                  <a:pt x="4" y="52"/>
                </a:cubicBezTo>
                <a:cubicBezTo>
                  <a:pt x="7" y="53"/>
                  <a:pt x="7" y="53"/>
                  <a:pt x="7" y="53"/>
                </a:cubicBezTo>
                <a:cubicBezTo>
                  <a:pt x="8" y="52"/>
                  <a:pt x="8" y="52"/>
                  <a:pt x="8" y="52"/>
                </a:cubicBezTo>
                <a:cubicBezTo>
                  <a:pt x="8" y="53"/>
                  <a:pt x="8" y="53"/>
                  <a:pt x="8" y="53"/>
                </a:cubicBezTo>
                <a:cubicBezTo>
                  <a:pt x="9" y="54"/>
                  <a:pt x="9" y="54"/>
                  <a:pt x="9" y="54"/>
                </a:cubicBezTo>
                <a:cubicBezTo>
                  <a:pt x="10" y="54"/>
                  <a:pt x="10" y="54"/>
                  <a:pt x="10" y="54"/>
                </a:cubicBezTo>
                <a:cubicBezTo>
                  <a:pt x="11" y="53"/>
                  <a:pt x="11" y="53"/>
                  <a:pt x="11" y="53"/>
                </a:cubicBezTo>
                <a:cubicBezTo>
                  <a:pt x="13" y="53"/>
                  <a:pt x="13" y="53"/>
                  <a:pt x="13" y="53"/>
                </a:cubicBezTo>
                <a:cubicBezTo>
                  <a:pt x="14" y="52"/>
                  <a:pt x="14" y="52"/>
                  <a:pt x="14" y="52"/>
                </a:cubicBezTo>
                <a:cubicBezTo>
                  <a:pt x="14" y="53"/>
                  <a:pt x="14" y="53"/>
                  <a:pt x="14" y="53"/>
                </a:cubicBezTo>
                <a:cubicBezTo>
                  <a:pt x="15" y="52"/>
                  <a:pt x="15" y="52"/>
                  <a:pt x="15" y="52"/>
                </a:cubicBezTo>
                <a:cubicBezTo>
                  <a:pt x="15" y="50"/>
                  <a:pt x="15" y="50"/>
                  <a:pt x="15" y="50"/>
                </a:cubicBezTo>
                <a:cubicBezTo>
                  <a:pt x="13" y="49"/>
                  <a:pt x="13" y="49"/>
                  <a:pt x="13" y="49"/>
                </a:cubicBezTo>
                <a:cubicBezTo>
                  <a:pt x="11" y="48"/>
                  <a:pt x="11" y="48"/>
                  <a:pt x="11" y="48"/>
                </a:cubicBezTo>
                <a:cubicBezTo>
                  <a:pt x="10" y="48"/>
                  <a:pt x="10" y="48"/>
                  <a:pt x="10" y="48"/>
                </a:cubicBezTo>
                <a:cubicBezTo>
                  <a:pt x="9" y="47"/>
                  <a:pt x="9" y="47"/>
                  <a:pt x="9" y="47"/>
                </a:cubicBezTo>
                <a:cubicBezTo>
                  <a:pt x="8" y="47"/>
                  <a:pt x="8" y="47"/>
                  <a:pt x="8" y="47"/>
                </a:cubicBezTo>
                <a:cubicBezTo>
                  <a:pt x="8" y="47"/>
                  <a:pt x="8" y="47"/>
                  <a:pt x="8" y="47"/>
                </a:cubicBezTo>
                <a:cubicBezTo>
                  <a:pt x="7" y="47"/>
                  <a:pt x="7" y="47"/>
                  <a:pt x="7" y="47"/>
                </a:cubicBezTo>
                <a:cubicBezTo>
                  <a:pt x="7" y="45"/>
                  <a:pt x="7" y="45"/>
                  <a:pt x="7" y="45"/>
                </a:cubicBezTo>
                <a:cubicBezTo>
                  <a:pt x="6" y="44"/>
                  <a:pt x="6" y="44"/>
                  <a:pt x="6" y="44"/>
                </a:cubicBezTo>
                <a:cubicBezTo>
                  <a:pt x="5" y="43"/>
                  <a:pt x="5" y="43"/>
                  <a:pt x="5" y="43"/>
                </a:cubicBezTo>
                <a:cubicBezTo>
                  <a:pt x="4" y="42"/>
                  <a:pt x="4" y="42"/>
                  <a:pt x="4" y="42"/>
                </a:cubicBezTo>
                <a:cubicBezTo>
                  <a:pt x="4" y="42"/>
                  <a:pt x="4" y="42"/>
                  <a:pt x="4" y="42"/>
                </a:cubicBezTo>
                <a:cubicBezTo>
                  <a:pt x="4" y="42"/>
                  <a:pt x="4" y="42"/>
                  <a:pt x="4" y="42"/>
                </a:cubicBezTo>
                <a:cubicBezTo>
                  <a:pt x="5" y="43"/>
                  <a:pt x="5" y="43"/>
                  <a:pt x="5" y="43"/>
                </a:cubicBezTo>
                <a:cubicBezTo>
                  <a:pt x="5" y="43"/>
                  <a:pt x="5" y="43"/>
                  <a:pt x="5" y="43"/>
                </a:cubicBezTo>
                <a:cubicBezTo>
                  <a:pt x="7" y="44"/>
                  <a:pt x="7" y="44"/>
                  <a:pt x="7" y="44"/>
                </a:cubicBezTo>
                <a:cubicBezTo>
                  <a:pt x="7" y="45"/>
                  <a:pt x="7" y="45"/>
                  <a:pt x="7" y="45"/>
                </a:cubicBezTo>
                <a:cubicBezTo>
                  <a:pt x="7" y="46"/>
                  <a:pt x="7" y="46"/>
                  <a:pt x="7" y="46"/>
                </a:cubicBezTo>
                <a:cubicBezTo>
                  <a:pt x="8" y="46"/>
                  <a:pt x="8" y="46"/>
                  <a:pt x="8" y="46"/>
                </a:cubicBezTo>
                <a:cubicBezTo>
                  <a:pt x="9" y="47"/>
                  <a:pt x="9" y="47"/>
                  <a:pt x="9" y="47"/>
                </a:cubicBezTo>
                <a:cubicBezTo>
                  <a:pt x="10" y="48"/>
                  <a:pt x="10" y="48"/>
                  <a:pt x="10" y="48"/>
                </a:cubicBezTo>
                <a:cubicBezTo>
                  <a:pt x="11" y="48"/>
                  <a:pt x="11" y="48"/>
                  <a:pt x="11" y="48"/>
                </a:cubicBezTo>
                <a:cubicBezTo>
                  <a:pt x="12" y="48"/>
                  <a:pt x="12" y="48"/>
                  <a:pt x="12" y="48"/>
                </a:cubicBezTo>
                <a:cubicBezTo>
                  <a:pt x="14" y="47"/>
                  <a:pt x="14" y="47"/>
                  <a:pt x="14" y="47"/>
                </a:cubicBezTo>
                <a:cubicBezTo>
                  <a:pt x="15" y="47"/>
                  <a:pt x="15" y="47"/>
                  <a:pt x="15" y="47"/>
                </a:cubicBezTo>
                <a:cubicBezTo>
                  <a:pt x="16" y="47"/>
                  <a:pt x="16" y="47"/>
                  <a:pt x="16" y="47"/>
                </a:cubicBezTo>
                <a:cubicBezTo>
                  <a:pt x="16" y="46"/>
                  <a:pt x="16" y="46"/>
                  <a:pt x="16" y="46"/>
                </a:cubicBezTo>
                <a:cubicBezTo>
                  <a:pt x="15" y="46"/>
                  <a:pt x="15" y="46"/>
                  <a:pt x="15" y="46"/>
                </a:cubicBezTo>
                <a:cubicBezTo>
                  <a:pt x="15" y="45"/>
                  <a:pt x="15" y="45"/>
                  <a:pt x="15" y="45"/>
                </a:cubicBezTo>
                <a:cubicBezTo>
                  <a:pt x="14" y="45"/>
                  <a:pt x="14" y="45"/>
                  <a:pt x="14" y="45"/>
                </a:cubicBezTo>
                <a:cubicBezTo>
                  <a:pt x="13" y="44"/>
                  <a:pt x="13" y="44"/>
                  <a:pt x="13" y="44"/>
                </a:cubicBezTo>
                <a:cubicBezTo>
                  <a:pt x="14" y="45"/>
                  <a:pt x="14" y="45"/>
                  <a:pt x="14" y="45"/>
                </a:cubicBezTo>
                <a:cubicBezTo>
                  <a:pt x="15" y="44"/>
                  <a:pt x="15" y="44"/>
                  <a:pt x="15" y="44"/>
                </a:cubicBezTo>
                <a:cubicBezTo>
                  <a:pt x="16" y="46"/>
                  <a:pt x="16" y="46"/>
                  <a:pt x="16" y="46"/>
                </a:cubicBezTo>
                <a:cubicBezTo>
                  <a:pt x="17" y="46"/>
                  <a:pt x="17" y="46"/>
                  <a:pt x="17" y="46"/>
                </a:cubicBezTo>
                <a:cubicBezTo>
                  <a:pt x="17" y="45"/>
                  <a:pt x="17" y="45"/>
                  <a:pt x="17" y="45"/>
                </a:cubicBezTo>
                <a:cubicBezTo>
                  <a:pt x="17" y="44"/>
                  <a:pt x="17" y="44"/>
                  <a:pt x="17" y="44"/>
                </a:cubicBezTo>
                <a:cubicBezTo>
                  <a:pt x="17" y="44"/>
                  <a:pt x="17" y="44"/>
                  <a:pt x="17" y="44"/>
                </a:cubicBezTo>
                <a:cubicBezTo>
                  <a:pt x="18" y="43"/>
                  <a:pt x="18" y="43"/>
                  <a:pt x="18" y="43"/>
                </a:cubicBezTo>
                <a:cubicBezTo>
                  <a:pt x="17" y="42"/>
                  <a:pt x="17" y="42"/>
                  <a:pt x="17" y="42"/>
                </a:cubicBezTo>
                <a:cubicBezTo>
                  <a:pt x="17" y="41"/>
                  <a:pt x="17" y="41"/>
                  <a:pt x="17" y="41"/>
                </a:cubicBezTo>
                <a:cubicBezTo>
                  <a:pt x="17" y="41"/>
                  <a:pt x="17" y="41"/>
                  <a:pt x="17" y="41"/>
                </a:cubicBezTo>
                <a:cubicBezTo>
                  <a:pt x="18" y="41"/>
                  <a:pt x="18" y="41"/>
                  <a:pt x="18" y="41"/>
                </a:cubicBezTo>
                <a:cubicBezTo>
                  <a:pt x="18" y="42"/>
                  <a:pt x="18" y="42"/>
                  <a:pt x="18" y="42"/>
                </a:cubicBezTo>
                <a:cubicBezTo>
                  <a:pt x="19" y="43"/>
                  <a:pt x="19" y="43"/>
                  <a:pt x="19" y="43"/>
                </a:cubicBezTo>
                <a:cubicBezTo>
                  <a:pt x="20" y="43"/>
                  <a:pt x="20" y="43"/>
                  <a:pt x="20" y="43"/>
                </a:cubicBezTo>
                <a:cubicBezTo>
                  <a:pt x="20" y="43"/>
                  <a:pt x="20" y="43"/>
                  <a:pt x="20" y="43"/>
                </a:cubicBezTo>
                <a:cubicBezTo>
                  <a:pt x="20" y="42"/>
                  <a:pt x="20" y="42"/>
                  <a:pt x="20" y="42"/>
                </a:cubicBezTo>
                <a:cubicBezTo>
                  <a:pt x="20" y="42"/>
                  <a:pt x="20" y="42"/>
                  <a:pt x="20" y="42"/>
                </a:cubicBezTo>
                <a:cubicBezTo>
                  <a:pt x="21" y="43"/>
                  <a:pt x="21" y="43"/>
                  <a:pt x="21" y="43"/>
                </a:cubicBezTo>
                <a:cubicBezTo>
                  <a:pt x="21" y="43"/>
                  <a:pt x="21" y="43"/>
                  <a:pt x="21" y="43"/>
                </a:cubicBezTo>
                <a:cubicBezTo>
                  <a:pt x="21" y="42"/>
                  <a:pt x="21" y="42"/>
                  <a:pt x="21" y="42"/>
                </a:cubicBezTo>
                <a:cubicBezTo>
                  <a:pt x="21" y="42"/>
                  <a:pt x="21" y="42"/>
                  <a:pt x="21" y="42"/>
                </a:cubicBezTo>
                <a:cubicBezTo>
                  <a:pt x="21" y="40"/>
                  <a:pt x="21" y="40"/>
                  <a:pt x="21" y="40"/>
                </a:cubicBezTo>
                <a:cubicBezTo>
                  <a:pt x="22" y="41"/>
                  <a:pt x="22" y="41"/>
                  <a:pt x="22" y="41"/>
                </a:cubicBezTo>
                <a:cubicBezTo>
                  <a:pt x="23" y="42"/>
                  <a:pt x="23" y="42"/>
                  <a:pt x="23" y="42"/>
                </a:cubicBezTo>
                <a:cubicBezTo>
                  <a:pt x="24" y="42"/>
                  <a:pt x="24" y="42"/>
                  <a:pt x="24" y="42"/>
                </a:cubicBezTo>
                <a:cubicBezTo>
                  <a:pt x="24" y="43"/>
                  <a:pt x="24" y="43"/>
                  <a:pt x="24" y="43"/>
                </a:cubicBezTo>
                <a:cubicBezTo>
                  <a:pt x="25" y="43"/>
                  <a:pt x="25" y="43"/>
                  <a:pt x="25" y="43"/>
                </a:cubicBezTo>
                <a:cubicBezTo>
                  <a:pt x="26" y="43"/>
                  <a:pt x="26" y="43"/>
                  <a:pt x="26" y="43"/>
                </a:cubicBezTo>
                <a:cubicBezTo>
                  <a:pt x="26" y="42"/>
                  <a:pt x="26" y="42"/>
                  <a:pt x="26" y="42"/>
                </a:cubicBezTo>
                <a:cubicBezTo>
                  <a:pt x="26" y="43"/>
                  <a:pt x="26" y="43"/>
                  <a:pt x="26" y="43"/>
                </a:cubicBezTo>
                <a:cubicBezTo>
                  <a:pt x="26" y="44"/>
                  <a:pt x="26" y="44"/>
                  <a:pt x="26" y="44"/>
                </a:cubicBezTo>
                <a:cubicBezTo>
                  <a:pt x="27" y="44"/>
                  <a:pt x="27" y="44"/>
                  <a:pt x="27" y="44"/>
                </a:cubicBezTo>
                <a:cubicBezTo>
                  <a:pt x="28" y="45"/>
                  <a:pt x="28" y="45"/>
                  <a:pt x="28" y="45"/>
                </a:cubicBezTo>
                <a:cubicBezTo>
                  <a:pt x="31" y="46"/>
                  <a:pt x="31" y="46"/>
                  <a:pt x="31" y="46"/>
                </a:cubicBezTo>
                <a:cubicBezTo>
                  <a:pt x="32" y="46"/>
                  <a:pt x="32" y="46"/>
                  <a:pt x="32" y="46"/>
                </a:cubicBezTo>
                <a:cubicBezTo>
                  <a:pt x="33" y="47"/>
                  <a:pt x="33" y="47"/>
                  <a:pt x="33" y="47"/>
                </a:cubicBezTo>
                <a:cubicBezTo>
                  <a:pt x="34" y="49"/>
                  <a:pt x="34" y="49"/>
                  <a:pt x="34" y="49"/>
                </a:cubicBezTo>
                <a:cubicBezTo>
                  <a:pt x="35" y="51"/>
                  <a:pt x="35" y="51"/>
                  <a:pt x="35" y="51"/>
                </a:cubicBezTo>
                <a:cubicBezTo>
                  <a:pt x="35" y="52"/>
                  <a:pt x="35" y="52"/>
                  <a:pt x="35" y="52"/>
                </a:cubicBezTo>
                <a:cubicBezTo>
                  <a:pt x="37" y="52"/>
                  <a:pt x="37" y="52"/>
                  <a:pt x="37" y="52"/>
                </a:cubicBezTo>
                <a:cubicBezTo>
                  <a:pt x="37" y="53"/>
                  <a:pt x="37" y="53"/>
                  <a:pt x="37" y="53"/>
                </a:cubicBezTo>
                <a:cubicBezTo>
                  <a:pt x="38" y="54"/>
                  <a:pt x="38" y="54"/>
                  <a:pt x="38" y="54"/>
                </a:cubicBezTo>
                <a:cubicBezTo>
                  <a:pt x="40" y="57"/>
                  <a:pt x="40" y="57"/>
                  <a:pt x="40" y="57"/>
                </a:cubicBezTo>
                <a:cubicBezTo>
                  <a:pt x="41" y="58"/>
                  <a:pt x="41" y="58"/>
                  <a:pt x="41" y="58"/>
                </a:cubicBezTo>
                <a:cubicBezTo>
                  <a:pt x="42" y="59"/>
                  <a:pt x="42" y="59"/>
                  <a:pt x="42" y="59"/>
                </a:cubicBezTo>
                <a:cubicBezTo>
                  <a:pt x="43" y="59"/>
                  <a:pt x="43" y="59"/>
                  <a:pt x="43" y="59"/>
                </a:cubicBezTo>
                <a:cubicBezTo>
                  <a:pt x="44" y="59"/>
                  <a:pt x="44" y="59"/>
                  <a:pt x="44" y="59"/>
                </a:cubicBezTo>
                <a:cubicBezTo>
                  <a:pt x="45" y="59"/>
                  <a:pt x="45" y="59"/>
                  <a:pt x="45" y="59"/>
                </a:cubicBezTo>
                <a:cubicBezTo>
                  <a:pt x="46" y="60"/>
                  <a:pt x="46" y="60"/>
                  <a:pt x="46" y="60"/>
                </a:cubicBezTo>
                <a:cubicBezTo>
                  <a:pt x="48" y="59"/>
                  <a:pt x="48" y="59"/>
                  <a:pt x="48" y="59"/>
                </a:cubicBezTo>
                <a:cubicBezTo>
                  <a:pt x="49" y="60"/>
                  <a:pt x="49" y="60"/>
                  <a:pt x="49" y="60"/>
                </a:cubicBezTo>
                <a:cubicBezTo>
                  <a:pt x="50" y="60"/>
                  <a:pt x="50" y="60"/>
                  <a:pt x="50" y="60"/>
                </a:cubicBezTo>
                <a:cubicBezTo>
                  <a:pt x="52" y="60"/>
                  <a:pt x="52" y="60"/>
                  <a:pt x="52" y="60"/>
                </a:cubicBezTo>
                <a:cubicBezTo>
                  <a:pt x="53" y="61"/>
                  <a:pt x="53" y="61"/>
                  <a:pt x="53" y="61"/>
                </a:cubicBezTo>
                <a:cubicBezTo>
                  <a:pt x="54" y="60"/>
                  <a:pt x="54" y="60"/>
                  <a:pt x="54" y="60"/>
                </a:cubicBezTo>
                <a:cubicBezTo>
                  <a:pt x="55" y="61"/>
                  <a:pt x="55" y="61"/>
                  <a:pt x="55" y="61"/>
                </a:cubicBezTo>
                <a:cubicBezTo>
                  <a:pt x="56" y="61"/>
                  <a:pt x="56" y="61"/>
                  <a:pt x="56" y="61"/>
                </a:cubicBezTo>
                <a:cubicBezTo>
                  <a:pt x="56" y="61"/>
                  <a:pt x="56" y="61"/>
                  <a:pt x="56" y="61"/>
                </a:cubicBezTo>
                <a:cubicBezTo>
                  <a:pt x="56" y="62"/>
                  <a:pt x="56" y="62"/>
                  <a:pt x="56" y="62"/>
                </a:cubicBezTo>
                <a:cubicBezTo>
                  <a:pt x="57" y="62"/>
                  <a:pt x="57" y="62"/>
                  <a:pt x="57" y="62"/>
                </a:cubicBezTo>
                <a:cubicBezTo>
                  <a:pt x="58" y="63"/>
                  <a:pt x="58" y="63"/>
                  <a:pt x="58" y="63"/>
                </a:cubicBezTo>
                <a:cubicBezTo>
                  <a:pt x="60" y="63"/>
                  <a:pt x="60" y="63"/>
                  <a:pt x="60" y="63"/>
                </a:cubicBezTo>
                <a:cubicBezTo>
                  <a:pt x="60" y="62"/>
                  <a:pt x="60" y="62"/>
                  <a:pt x="60" y="62"/>
                </a:cubicBezTo>
                <a:cubicBezTo>
                  <a:pt x="59" y="61"/>
                  <a:pt x="59" y="61"/>
                  <a:pt x="59" y="61"/>
                </a:cubicBezTo>
                <a:cubicBezTo>
                  <a:pt x="58" y="61"/>
                  <a:pt x="58" y="61"/>
                  <a:pt x="58" y="61"/>
                </a:cubicBezTo>
                <a:cubicBezTo>
                  <a:pt x="58" y="60"/>
                  <a:pt x="58" y="60"/>
                  <a:pt x="58" y="60"/>
                </a:cubicBezTo>
                <a:cubicBezTo>
                  <a:pt x="59" y="60"/>
                  <a:pt x="59" y="60"/>
                  <a:pt x="59" y="60"/>
                </a:cubicBezTo>
                <a:cubicBezTo>
                  <a:pt x="60" y="61"/>
                  <a:pt x="60" y="61"/>
                  <a:pt x="60" y="61"/>
                </a:cubicBezTo>
                <a:cubicBezTo>
                  <a:pt x="61" y="60"/>
                  <a:pt x="61" y="60"/>
                  <a:pt x="61" y="60"/>
                </a:cubicBezTo>
                <a:cubicBezTo>
                  <a:pt x="59" y="59"/>
                  <a:pt x="59" y="59"/>
                  <a:pt x="59" y="59"/>
                </a:cubicBezTo>
                <a:cubicBezTo>
                  <a:pt x="56" y="59"/>
                  <a:pt x="56" y="59"/>
                  <a:pt x="56" y="59"/>
                </a:cubicBezTo>
                <a:cubicBezTo>
                  <a:pt x="55" y="58"/>
                  <a:pt x="55" y="58"/>
                  <a:pt x="55" y="58"/>
                </a:cubicBezTo>
                <a:cubicBezTo>
                  <a:pt x="54" y="57"/>
                  <a:pt x="54" y="57"/>
                  <a:pt x="54" y="57"/>
                </a:cubicBezTo>
                <a:cubicBezTo>
                  <a:pt x="56" y="57"/>
                  <a:pt x="56" y="57"/>
                  <a:pt x="56" y="57"/>
                </a:cubicBezTo>
                <a:cubicBezTo>
                  <a:pt x="56" y="57"/>
                  <a:pt x="56" y="57"/>
                  <a:pt x="56" y="57"/>
                </a:cubicBezTo>
                <a:cubicBezTo>
                  <a:pt x="57" y="56"/>
                  <a:pt x="57" y="56"/>
                  <a:pt x="57" y="56"/>
                </a:cubicBezTo>
                <a:cubicBezTo>
                  <a:pt x="56" y="56"/>
                  <a:pt x="56" y="56"/>
                  <a:pt x="56" y="56"/>
                </a:cubicBezTo>
                <a:cubicBezTo>
                  <a:pt x="54" y="56"/>
                  <a:pt x="54" y="56"/>
                  <a:pt x="54" y="56"/>
                </a:cubicBezTo>
                <a:cubicBezTo>
                  <a:pt x="52" y="56"/>
                  <a:pt x="52" y="56"/>
                  <a:pt x="52" y="56"/>
                </a:cubicBezTo>
                <a:cubicBezTo>
                  <a:pt x="51" y="55"/>
                  <a:pt x="51" y="55"/>
                  <a:pt x="51" y="55"/>
                </a:cubicBezTo>
                <a:cubicBezTo>
                  <a:pt x="51" y="54"/>
                  <a:pt x="51" y="54"/>
                  <a:pt x="51" y="54"/>
                </a:cubicBezTo>
                <a:cubicBezTo>
                  <a:pt x="52" y="53"/>
                  <a:pt x="52" y="53"/>
                  <a:pt x="52" y="53"/>
                </a:cubicBezTo>
                <a:cubicBezTo>
                  <a:pt x="52" y="52"/>
                  <a:pt x="52" y="52"/>
                  <a:pt x="52" y="52"/>
                </a:cubicBezTo>
                <a:cubicBezTo>
                  <a:pt x="52" y="52"/>
                  <a:pt x="52" y="52"/>
                  <a:pt x="52" y="52"/>
                </a:cubicBezTo>
                <a:cubicBezTo>
                  <a:pt x="51" y="52"/>
                  <a:pt x="51" y="52"/>
                  <a:pt x="51" y="52"/>
                </a:cubicBezTo>
                <a:cubicBezTo>
                  <a:pt x="50" y="52"/>
                  <a:pt x="50" y="52"/>
                  <a:pt x="50" y="52"/>
                </a:cubicBezTo>
                <a:cubicBezTo>
                  <a:pt x="49" y="52"/>
                  <a:pt x="49" y="52"/>
                  <a:pt x="49" y="52"/>
                </a:cubicBezTo>
                <a:cubicBezTo>
                  <a:pt x="49" y="52"/>
                  <a:pt x="49" y="52"/>
                  <a:pt x="49" y="52"/>
                </a:cubicBezTo>
                <a:cubicBezTo>
                  <a:pt x="47" y="51"/>
                  <a:pt x="47" y="51"/>
                  <a:pt x="47" y="51"/>
                </a:cubicBezTo>
                <a:cubicBezTo>
                  <a:pt x="47" y="49"/>
                  <a:pt x="47" y="49"/>
                  <a:pt x="47" y="49"/>
                </a:cubicBezTo>
                <a:cubicBezTo>
                  <a:pt x="46" y="48"/>
                  <a:pt x="46" y="48"/>
                  <a:pt x="46" y="48"/>
                </a:cubicBezTo>
                <a:cubicBezTo>
                  <a:pt x="45" y="46"/>
                  <a:pt x="45" y="46"/>
                  <a:pt x="45" y="46"/>
                </a:cubicBezTo>
                <a:cubicBezTo>
                  <a:pt x="45" y="45"/>
                  <a:pt x="45" y="45"/>
                  <a:pt x="45" y="45"/>
                </a:cubicBezTo>
                <a:cubicBezTo>
                  <a:pt x="44" y="44"/>
                  <a:pt x="44" y="44"/>
                  <a:pt x="44" y="44"/>
                </a:cubicBezTo>
                <a:cubicBezTo>
                  <a:pt x="43" y="44"/>
                  <a:pt x="43" y="44"/>
                  <a:pt x="43" y="44"/>
                </a:cubicBezTo>
                <a:cubicBezTo>
                  <a:pt x="42" y="44"/>
                  <a:pt x="42" y="44"/>
                  <a:pt x="42" y="44"/>
                </a:cubicBezTo>
                <a:cubicBezTo>
                  <a:pt x="41" y="43"/>
                  <a:pt x="41" y="43"/>
                  <a:pt x="41" y="43"/>
                </a:cubicBezTo>
                <a:cubicBezTo>
                  <a:pt x="40" y="41"/>
                  <a:pt x="40" y="41"/>
                  <a:pt x="40" y="41"/>
                </a:cubicBezTo>
                <a:cubicBezTo>
                  <a:pt x="40" y="40"/>
                  <a:pt x="40" y="40"/>
                  <a:pt x="40" y="40"/>
                </a:cubicBezTo>
                <a:cubicBezTo>
                  <a:pt x="39" y="39"/>
                  <a:pt x="39" y="39"/>
                  <a:pt x="39" y="39"/>
                </a:cubicBezTo>
                <a:cubicBezTo>
                  <a:pt x="38" y="38"/>
                  <a:pt x="38" y="38"/>
                  <a:pt x="38" y="38"/>
                </a:cubicBezTo>
                <a:cubicBezTo>
                  <a:pt x="38" y="37"/>
                  <a:pt x="38" y="37"/>
                  <a:pt x="38" y="37"/>
                </a:cubicBezTo>
                <a:cubicBezTo>
                  <a:pt x="41" y="37"/>
                  <a:pt x="41" y="37"/>
                  <a:pt x="41" y="37"/>
                </a:cubicBezTo>
                <a:cubicBezTo>
                  <a:pt x="43" y="36"/>
                  <a:pt x="43" y="36"/>
                  <a:pt x="43" y="36"/>
                </a:cubicBezTo>
                <a:cubicBezTo>
                  <a:pt x="44" y="35"/>
                  <a:pt x="44" y="35"/>
                  <a:pt x="44" y="35"/>
                </a:cubicBezTo>
                <a:cubicBezTo>
                  <a:pt x="43" y="34"/>
                  <a:pt x="43" y="34"/>
                  <a:pt x="43" y="34"/>
                </a:cubicBezTo>
                <a:cubicBezTo>
                  <a:pt x="42" y="32"/>
                  <a:pt x="42" y="32"/>
                  <a:pt x="42" y="32"/>
                </a:cubicBezTo>
                <a:cubicBezTo>
                  <a:pt x="40" y="32"/>
                  <a:pt x="40" y="32"/>
                  <a:pt x="40" y="32"/>
                </a:cubicBezTo>
                <a:cubicBezTo>
                  <a:pt x="40" y="32"/>
                  <a:pt x="40" y="32"/>
                  <a:pt x="40" y="32"/>
                </a:cubicBezTo>
                <a:cubicBezTo>
                  <a:pt x="38" y="31"/>
                  <a:pt x="38" y="31"/>
                  <a:pt x="38" y="31"/>
                </a:cubicBezTo>
                <a:cubicBezTo>
                  <a:pt x="36" y="30"/>
                  <a:pt x="36" y="30"/>
                  <a:pt x="36" y="30"/>
                </a:cubicBezTo>
                <a:cubicBezTo>
                  <a:pt x="35" y="29"/>
                  <a:pt x="35" y="29"/>
                  <a:pt x="35" y="29"/>
                </a:cubicBezTo>
                <a:cubicBezTo>
                  <a:pt x="34" y="29"/>
                  <a:pt x="34" y="29"/>
                  <a:pt x="34" y="29"/>
                </a:cubicBezTo>
                <a:cubicBezTo>
                  <a:pt x="31" y="28"/>
                  <a:pt x="31" y="28"/>
                  <a:pt x="31" y="28"/>
                </a:cubicBezTo>
                <a:cubicBezTo>
                  <a:pt x="30" y="27"/>
                  <a:pt x="30" y="27"/>
                  <a:pt x="30" y="27"/>
                </a:cubicBezTo>
                <a:cubicBezTo>
                  <a:pt x="31" y="26"/>
                  <a:pt x="31" y="26"/>
                  <a:pt x="31" y="26"/>
                </a:cubicBezTo>
                <a:cubicBezTo>
                  <a:pt x="31" y="25"/>
                  <a:pt x="31" y="25"/>
                  <a:pt x="31" y="25"/>
                </a:cubicBezTo>
                <a:cubicBezTo>
                  <a:pt x="31" y="24"/>
                  <a:pt x="31" y="24"/>
                  <a:pt x="31" y="24"/>
                </a:cubicBezTo>
                <a:cubicBezTo>
                  <a:pt x="28" y="21"/>
                  <a:pt x="28" y="21"/>
                  <a:pt x="28" y="21"/>
                </a:cubicBezTo>
                <a:cubicBezTo>
                  <a:pt x="28" y="22"/>
                  <a:pt x="28" y="22"/>
                  <a:pt x="28" y="22"/>
                </a:cubicBezTo>
                <a:cubicBezTo>
                  <a:pt x="27" y="22"/>
                  <a:pt x="27" y="22"/>
                  <a:pt x="27" y="22"/>
                </a:cubicBezTo>
                <a:cubicBezTo>
                  <a:pt x="27" y="21"/>
                  <a:pt x="27" y="21"/>
                  <a:pt x="27" y="21"/>
                </a:cubicBezTo>
                <a:cubicBezTo>
                  <a:pt x="25" y="20"/>
                  <a:pt x="25" y="20"/>
                  <a:pt x="25" y="20"/>
                </a:cubicBezTo>
                <a:cubicBezTo>
                  <a:pt x="25" y="19"/>
                  <a:pt x="25" y="19"/>
                  <a:pt x="25" y="19"/>
                </a:cubicBezTo>
                <a:cubicBezTo>
                  <a:pt x="24" y="19"/>
                  <a:pt x="24" y="19"/>
                  <a:pt x="24" y="19"/>
                </a:cubicBezTo>
                <a:cubicBezTo>
                  <a:pt x="23" y="18"/>
                  <a:pt x="23" y="18"/>
                  <a:pt x="23" y="18"/>
                </a:cubicBezTo>
                <a:cubicBezTo>
                  <a:pt x="22" y="18"/>
                  <a:pt x="22" y="18"/>
                  <a:pt x="22" y="18"/>
                </a:cubicBezTo>
                <a:cubicBezTo>
                  <a:pt x="21" y="18"/>
                  <a:pt x="21" y="18"/>
                  <a:pt x="21" y="18"/>
                </a:cubicBezTo>
                <a:cubicBezTo>
                  <a:pt x="20" y="17"/>
                  <a:pt x="20" y="17"/>
                  <a:pt x="20" y="17"/>
                </a:cubicBezTo>
                <a:cubicBezTo>
                  <a:pt x="19" y="16"/>
                  <a:pt x="19" y="16"/>
                  <a:pt x="19" y="16"/>
                </a:cubicBezTo>
                <a:cubicBezTo>
                  <a:pt x="17" y="16"/>
                  <a:pt x="17" y="16"/>
                  <a:pt x="17" y="16"/>
                </a:cubicBezTo>
                <a:cubicBezTo>
                  <a:pt x="15" y="15"/>
                  <a:pt x="15" y="15"/>
                  <a:pt x="15" y="15"/>
                </a:cubicBezTo>
                <a:cubicBezTo>
                  <a:pt x="12" y="14"/>
                  <a:pt x="12" y="14"/>
                  <a:pt x="12" y="14"/>
                </a:cubicBezTo>
                <a:cubicBezTo>
                  <a:pt x="10" y="14"/>
                  <a:pt x="10" y="14"/>
                  <a:pt x="10" y="14"/>
                </a:cubicBezTo>
                <a:cubicBezTo>
                  <a:pt x="10" y="13"/>
                  <a:pt x="10" y="13"/>
                  <a:pt x="10" y="13"/>
                </a:cubicBezTo>
                <a:cubicBezTo>
                  <a:pt x="9" y="13"/>
                  <a:pt x="9" y="13"/>
                  <a:pt x="9" y="13"/>
                </a:cubicBezTo>
                <a:cubicBezTo>
                  <a:pt x="8" y="13"/>
                  <a:pt x="8" y="13"/>
                  <a:pt x="8" y="13"/>
                </a:cubicBezTo>
                <a:cubicBezTo>
                  <a:pt x="6" y="12"/>
                  <a:pt x="6" y="12"/>
                  <a:pt x="6" y="12"/>
                </a:cubicBezTo>
                <a:cubicBezTo>
                  <a:pt x="5" y="12"/>
                  <a:pt x="5" y="12"/>
                  <a:pt x="5" y="12"/>
                </a:cubicBezTo>
                <a:cubicBezTo>
                  <a:pt x="4" y="11"/>
                  <a:pt x="4" y="11"/>
                  <a:pt x="4" y="11"/>
                </a:cubicBezTo>
                <a:cubicBezTo>
                  <a:pt x="2" y="10"/>
                  <a:pt x="2" y="10"/>
                  <a:pt x="2" y="10"/>
                </a:cubicBezTo>
                <a:lnTo>
                  <a:pt x="1" y="10"/>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6" name="Freeform 24">
            <a:extLst>
              <a:ext uri="{FF2B5EF4-FFF2-40B4-BE49-F238E27FC236}">
                <a16:creationId xmlns:a16="http://schemas.microsoft.com/office/drawing/2014/main" id="{8EC4C9CB-57F1-766C-15C0-FBD3D101837B}"/>
              </a:ext>
            </a:extLst>
          </p:cNvPr>
          <p:cNvSpPr>
            <a:spLocks noEditPoints="1"/>
          </p:cNvSpPr>
          <p:nvPr userDrawn="1"/>
        </p:nvSpPr>
        <p:spPr bwMode="auto">
          <a:xfrm>
            <a:off x="20471067" y="8095535"/>
            <a:ext cx="625437" cy="933450"/>
          </a:xfrm>
          <a:custGeom>
            <a:avLst/>
            <a:gdLst>
              <a:gd name="T0" fmla="*/ 24 w 63"/>
              <a:gd name="T1" fmla="*/ 1 h 94"/>
              <a:gd name="T2" fmla="*/ 32 w 63"/>
              <a:gd name="T3" fmla="*/ 37 h 94"/>
              <a:gd name="T4" fmla="*/ 40 w 63"/>
              <a:gd name="T5" fmla="*/ 38 h 94"/>
              <a:gd name="T6" fmla="*/ 44 w 63"/>
              <a:gd name="T7" fmla="*/ 44 h 94"/>
              <a:gd name="T8" fmla="*/ 43 w 63"/>
              <a:gd name="T9" fmla="*/ 46 h 94"/>
              <a:gd name="T10" fmla="*/ 34 w 63"/>
              <a:gd name="T11" fmla="*/ 39 h 94"/>
              <a:gd name="T12" fmla="*/ 26 w 63"/>
              <a:gd name="T13" fmla="*/ 41 h 94"/>
              <a:gd name="T14" fmla="*/ 22 w 63"/>
              <a:gd name="T15" fmla="*/ 35 h 94"/>
              <a:gd name="T16" fmla="*/ 18 w 63"/>
              <a:gd name="T17" fmla="*/ 32 h 94"/>
              <a:gd name="T18" fmla="*/ 17 w 63"/>
              <a:gd name="T19" fmla="*/ 23 h 94"/>
              <a:gd name="T20" fmla="*/ 24 w 63"/>
              <a:gd name="T21" fmla="*/ 7 h 94"/>
              <a:gd name="T22" fmla="*/ 29 w 63"/>
              <a:gd name="T23" fmla="*/ 12 h 94"/>
              <a:gd name="T24" fmla="*/ 29 w 63"/>
              <a:gd name="T25" fmla="*/ 23 h 94"/>
              <a:gd name="T26" fmla="*/ 30 w 63"/>
              <a:gd name="T27" fmla="*/ 35 h 94"/>
              <a:gd name="T28" fmla="*/ 31 w 63"/>
              <a:gd name="T29" fmla="*/ 30 h 94"/>
              <a:gd name="T30" fmla="*/ 21 w 63"/>
              <a:gd name="T31" fmla="*/ 42 h 94"/>
              <a:gd name="T32" fmla="*/ 28 w 63"/>
              <a:gd name="T33" fmla="*/ 48 h 94"/>
              <a:gd name="T34" fmla="*/ 44 w 63"/>
              <a:gd name="T35" fmla="*/ 37 h 94"/>
              <a:gd name="T36" fmla="*/ 31 w 63"/>
              <a:gd name="T37" fmla="*/ 42 h 94"/>
              <a:gd name="T38" fmla="*/ 33 w 63"/>
              <a:gd name="T39" fmla="*/ 49 h 94"/>
              <a:gd name="T40" fmla="*/ 38 w 63"/>
              <a:gd name="T41" fmla="*/ 43 h 94"/>
              <a:gd name="T42" fmla="*/ 41 w 63"/>
              <a:gd name="T43" fmla="*/ 47 h 94"/>
              <a:gd name="T44" fmla="*/ 41 w 63"/>
              <a:gd name="T45" fmla="*/ 48 h 94"/>
              <a:gd name="T46" fmla="*/ 32 w 63"/>
              <a:gd name="T47" fmla="*/ 62 h 94"/>
              <a:gd name="T48" fmla="*/ 34 w 63"/>
              <a:gd name="T49" fmla="*/ 53 h 94"/>
              <a:gd name="T50" fmla="*/ 38 w 63"/>
              <a:gd name="T51" fmla="*/ 57 h 94"/>
              <a:gd name="T52" fmla="*/ 37 w 63"/>
              <a:gd name="T53" fmla="*/ 61 h 94"/>
              <a:gd name="T54" fmla="*/ 45 w 63"/>
              <a:gd name="T55" fmla="*/ 61 h 94"/>
              <a:gd name="T56" fmla="*/ 41 w 63"/>
              <a:gd name="T57" fmla="*/ 68 h 94"/>
              <a:gd name="T58" fmla="*/ 38 w 63"/>
              <a:gd name="T59" fmla="*/ 61 h 94"/>
              <a:gd name="T60" fmla="*/ 41 w 63"/>
              <a:gd name="T61" fmla="*/ 70 h 94"/>
              <a:gd name="T62" fmla="*/ 48 w 63"/>
              <a:gd name="T63" fmla="*/ 64 h 94"/>
              <a:gd name="T64" fmla="*/ 53 w 63"/>
              <a:gd name="T65" fmla="*/ 65 h 94"/>
              <a:gd name="T66" fmla="*/ 48 w 63"/>
              <a:gd name="T67" fmla="*/ 55 h 94"/>
              <a:gd name="T68" fmla="*/ 56 w 63"/>
              <a:gd name="T69" fmla="*/ 57 h 94"/>
              <a:gd name="T70" fmla="*/ 51 w 63"/>
              <a:gd name="T71" fmla="*/ 47 h 94"/>
              <a:gd name="T72" fmla="*/ 51 w 63"/>
              <a:gd name="T73" fmla="*/ 54 h 94"/>
              <a:gd name="T74" fmla="*/ 47 w 63"/>
              <a:gd name="T75" fmla="*/ 57 h 94"/>
              <a:gd name="T76" fmla="*/ 53 w 63"/>
              <a:gd name="T77" fmla="*/ 63 h 94"/>
              <a:gd name="T78" fmla="*/ 56 w 63"/>
              <a:gd name="T79" fmla="*/ 59 h 94"/>
              <a:gd name="T80" fmla="*/ 56 w 63"/>
              <a:gd name="T81" fmla="*/ 62 h 94"/>
              <a:gd name="T82" fmla="*/ 58 w 63"/>
              <a:gd name="T83" fmla="*/ 67 h 94"/>
              <a:gd name="T84" fmla="*/ 34 w 63"/>
              <a:gd name="T85" fmla="*/ 81 h 94"/>
              <a:gd name="T86" fmla="*/ 43 w 63"/>
              <a:gd name="T87" fmla="*/ 73 h 94"/>
              <a:gd name="T88" fmla="*/ 51 w 63"/>
              <a:gd name="T89" fmla="*/ 74 h 94"/>
              <a:gd name="T90" fmla="*/ 54 w 63"/>
              <a:gd name="T91" fmla="*/ 66 h 94"/>
              <a:gd name="T92" fmla="*/ 59 w 63"/>
              <a:gd name="T93" fmla="*/ 74 h 94"/>
              <a:gd name="T94" fmla="*/ 62 w 63"/>
              <a:gd name="T95" fmla="*/ 85 h 94"/>
              <a:gd name="T96" fmla="*/ 60 w 63"/>
              <a:gd name="T97" fmla="*/ 86 h 94"/>
              <a:gd name="T98" fmla="*/ 56 w 63"/>
              <a:gd name="T99" fmla="*/ 94 h 94"/>
              <a:gd name="T100" fmla="*/ 49 w 63"/>
              <a:gd name="T101" fmla="*/ 91 h 94"/>
              <a:gd name="T102" fmla="*/ 47 w 63"/>
              <a:gd name="T103" fmla="*/ 83 h 94"/>
              <a:gd name="T104" fmla="*/ 41 w 63"/>
              <a:gd name="T105" fmla="*/ 82 h 94"/>
              <a:gd name="T106" fmla="*/ 37 w 63"/>
              <a:gd name="T107" fmla="*/ 80 h 94"/>
              <a:gd name="T108" fmla="*/ 35 w 63"/>
              <a:gd name="T109" fmla="*/ 87 h 94"/>
              <a:gd name="T110" fmla="*/ 20 w 63"/>
              <a:gd name="T111" fmla="*/ 51 h 94"/>
              <a:gd name="T112" fmla="*/ 17 w 63"/>
              <a:gd name="T113" fmla="*/ 52 h 94"/>
              <a:gd name="T114" fmla="*/ 4 w 63"/>
              <a:gd name="T115" fmla="*/ 74 h 94"/>
              <a:gd name="T116" fmla="*/ 14 w 63"/>
              <a:gd name="T117" fmla="*/ 65 h 94"/>
              <a:gd name="T118" fmla="*/ 15 w 63"/>
              <a:gd name="T119" fmla="*/ 60 h 94"/>
              <a:gd name="T120" fmla="*/ 6 w 63"/>
              <a:gd name="T121" fmla="*/ 70 h 94"/>
              <a:gd name="T122" fmla="*/ 3 w 63"/>
              <a:gd name="T123" fmla="*/ 7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 h="94">
                <a:moveTo>
                  <a:pt x="23" y="4"/>
                </a:moveTo>
                <a:cubicBezTo>
                  <a:pt x="24" y="4"/>
                  <a:pt x="24" y="4"/>
                  <a:pt x="24" y="4"/>
                </a:cubicBezTo>
                <a:cubicBezTo>
                  <a:pt x="23" y="5"/>
                  <a:pt x="23" y="5"/>
                  <a:pt x="23" y="5"/>
                </a:cubicBezTo>
                <a:cubicBezTo>
                  <a:pt x="23" y="4"/>
                  <a:pt x="23" y="4"/>
                  <a:pt x="23" y="4"/>
                </a:cubicBezTo>
                <a:close/>
                <a:moveTo>
                  <a:pt x="22" y="2"/>
                </a:moveTo>
                <a:cubicBezTo>
                  <a:pt x="23" y="2"/>
                  <a:pt x="23" y="2"/>
                  <a:pt x="23" y="2"/>
                </a:cubicBezTo>
                <a:cubicBezTo>
                  <a:pt x="22" y="3"/>
                  <a:pt x="22" y="3"/>
                  <a:pt x="22" y="3"/>
                </a:cubicBezTo>
                <a:cubicBezTo>
                  <a:pt x="22" y="2"/>
                  <a:pt x="22" y="2"/>
                  <a:pt x="22" y="2"/>
                </a:cubicBezTo>
                <a:close/>
                <a:moveTo>
                  <a:pt x="24" y="0"/>
                </a:moveTo>
                <a:cubicBezTo>
                  <a:pt x="24" y="1"/>
                  <a:pt x="24" y="1"/>
                  <a:pt x="24" y="1"/>
                </a:cubicBezTo>
                <a:cubicBezTo>
                  <a:pt x="24" y="1"/>
                  <a:pt x="24" y="1"/>
                  <a:pt x="24" y="1"/>
                </a:cubicBezTo>
                <a:cubicBezTo>
                  <a:pt x="24" y="0"/>
                  <a:pt x="24" y="0"/>
                  <a:pt x="24" y="0"/>
                </a:cubicBezTo>
                <a:close/>
                <a:moveTo>
                  <a:pt x="27" y="3"/>
                </a:moveTo>
                <a:cubicBezTo>
                  <a:pt x="26" y="4"/>
                  <a:pt x="26" y="4"/>
                  <a:pt x="26" y="4"/>
                </a:cubicBezTo>
                <a:cubicBezTo>
                  <a:pt x="27" y="5"/>
                  <a:pt x="27" y="5"/>
                  <a:pt x="27" y="5"/>
                </a:cubicBezTo>
                <a:cubicBezTo>
                  <a:pt x="28" y="4"/>
                  <a:pt x="28" y="4"/>
                  <a:pt x="28" y="4"/>
                </a:cubicBezTo>
                <a:cubicBezTo>
                  <a:pt x="28" y="4"/>
                  <a:pt x="27" y="3"/>
                  <a:pt x="27" y="3"/>
                </a:cubicBezTo>
                <a:close/>
                <a:moveTo>
                  <a:pt x="28" y="35"/>
                </a:moveTo>
                <a:cubicBezTo>
                  <a:pt x="29" y="36"/>
                  <a:pt x="29" y="36"/>
                  <a:pt x="29" y="36"/>
                </a:cubicBezTo>
                <a:cubicBezTo>
                  <a:pt x="29" y="37"/>
                  <a:pt x="29" y="37"/>
                  <a:pt x="29" y="37"/>
                </a:cubicBezTo>
                <a:cubicBezTo>
                  <a:pt x="31" y="37"/>
                  <a:pt x="31" y="37"/>
                  <a:pt x="31" y="37"/>
                </a:cubicBezTo>
                <a:cubicBezTo>
                  <a:pt x="32" y="37"/>
                  <a:pt x="32" y="37"/>
                  <a:pt x="32" y="37"/>
                </a:cubicBezTo>
                <a:cubicBezTo>
                  <a:pt x="32" y="36"/>
                  <a:pt x="32" y="36"/>
                  <a:pt x="32" y="36"/>
                </a:cubicBezTo>
                <a:cubicBezTo>
                  <a:pt x="34" y="35"/>
                  <a:pt x="34" y="35"/>
                  <a:pt x="34" y="35"/>
                </a:cubicBezTo>
                <a:cubicBezTo>
                  <a:pt x="35" y="35"/>
                  <a:pt x="35" y="35"/>
                  <a:pt x="35" y="35"/>
                </a:cubicBezTo>
                <a:cubicBezTo>
                  <a:pt x="37" y="36"/>
                  <a:pt x="37" y="36"/>
                  <a:pt x="37" y="36"/>
                </a:cubicBezTo>
                <a:cubicBezTo>
                  <a:pt x="38" y="37"/>
                  <a:pt x="38" y="37"/>
                  <a:pt x="38" y="37"/>
                </a:cubicBezTo>
                <a:cubicBezTo>
                  <a:pt x="37" y="39"/>
                  <a:pt x="37" y="39"/>
                  <a:pt x="37" y="39"/>
                </a:cubicBezTo>
                <a:cubicBezTo>
                  <a:pt x="38" y="39"/>
                  <a:pt x="38" y="39"/>
                  <a:pt x="38" y="39"/>
                </a:cubicBezTo>
                <a:cubicBezTo>
                  <a:pt x="39" y="39"/>
                  <a:pt x="39" y="39"/>
                  <a:pt x="39" y="39"/>
                </a:cubicBezTo>
                <a:cubicBezTo>
                  <a:pt x="39" y="38"/>
                  <a:pt x="39" y="38"/>
                  <a:pt x="39" y="38"/>
                </a:cubicBezTo>
                <a:cubicBezTo>
                  <a:pt x="39" y="37"/>
                  <a:pt x="39" y="37"/>
                  <a:pt x="39" y="37"/>
                </a:cubicBezTo>
                <a:cubicBezTo>
                  <a:pt x="40" y="38"/>
                  <a:pt x="40" y="38"/>
                  <a:pt x="40" y="38"/>
                </a:cubicBezTo>
                <a:cubicBezTo>
                  <a:pt x="41" y="38"/>
                  <a:pt x="41" y="38"/>
                  <a:pt x="41" y="38"/>
                </a:cubicBezTo>
                <a:cubicBezTo>
                  <a:pt x="43" y="39"/>
                  <a:pt x="43" y="39"/>
                  <a:pt x="43" y="39"/>
                </a:cubicBezTo>
                <a:cubicBezTo>
                  <a:pt x="43" y="40"/>
                  <a:pt x="43" y="40"/>
                  <a:pt x="43" y="40"/>
                </a:cubicBezTo>
                <a:cubicBezTo>
                  <a:pt x="42" y="40"/>
                  <a:pt x="42" y="40"/>
                  <a:pt x="42" y="40"/>
                </a:cubicBezTo>
                <a:cubicBezTo>
                  <a:pt x="41" y="39"/>
                  <a:pt x="41" y="39"/>
                  <a:pt x="41" y="39"/>
                </a:cubicBezTo>
                <a:cubicBezTo>
                  <a:pt x="41" y="40"/>
                  <a:pt x="41" y="40"/>
                  <a:pt x="41" y="40"/>
                </a:cubicBezTo>
                <a:cubicBezTo>
                  <a:pt x="41" y="41"/>
                  <a:pt x="41" y="41"/>
                  <a:pt x="41" y="41"/>
                </a:cubicBezTo>
                <a:cubicBezTo>
                  <a:pt x="42" y="43"/>
                  <a:pt x="42" y="43"/>
                  <a:pt x="42" y="43"/>
                </a:cubicBezTo>
                <a:cubicBezTo>
                  <a:pt x="42" y="44"/>
                  <a:pt x="42" y="44"/>
                  <a:pt x="42" y="44"/>
                </a:cubicBezTo>
                <a:cubicBezTo>
                  <a:pt x="43" y="44"/>
                  <a:pt x="43" y="44"/>
                  <a:pt x="43" y="44"/>
                </a:cubicBezTo>
                <a:cubicBezTo>
                  <a:pt x="44" y="44"/>
                  <a:pt x="44" y="44"/>
                  <a:pt x="44" y="44"/>
                </a:cubicBezTo>
                <a:cubicBezTo>
                  <a:pt x="45" y="44"/>
                  <a:pt x="45" y="44"/>
                  <a:pt x="45" y="44"/>
                </a:cubicBezTo>
                <a:cubicBezTo>
                  <a:pt x="46" y="45"/>
                  <a:pt x="46" y="45"/>
                  <a:pt x="46" y="45"/>
                </a:cubicBezTo>
                <a:cubicBezTo>
                  <a:pt x="45" y="46"/>
                  <a:pt x="45" y="46"/>
                  <a:pt x="45" y="46"/>
                </a:cubicBezTo>
                <a:cubicBezTo>
                  <a:pt x="45" y="46"/>
                  <a:pt x="45" y="46"/>
                  <a:pt x="45" y="46"/>
                </a:cubicBezTo>
                <a:cubicBezTo>
                  <a:pt x="45" y="48"/>
                  <a:pt x="45" y="48"/>
                  <a:pt x="45" y="48"/>
                </a:cubicBezTo>
                <a:cubicBezTo>
                  <a:pt x="44" y="48"/>
                  <a:pt x="44" y="48"/>
                  <a:pt x="44" y="48"/>
                </a:cubicBezTo>
                <a:cubicBezTo>
                  <a:pt x="43" y="47"/>
                  <a:pt x="43" y="47"/>
                  <a:pt x="43" y="47"/>
                </a:cubicBezTo>
                <a:cubicBezTo>
                  <a:pt x="44" y="46"/>
                  <a:pt x="44" y="46"/>
                  <a:pt x="44" y="46"/>
                </a:cubicBezTo>
                <a:cubicBezTo>
                  <a:pt x="44" y="45"/>
                  <a:pt x="44" y="45"/>
                  <a:pt x="44" y="45"/>
                </a:cubicBezTo>
                <a:cubicBezTo>
                  <a:pt x="43" y="45"/>
                  <a:pt x="43" y="45"/>
                  <a:pt x="43" y="45"/>
                </a:cubicBezTo>
                <a:cubicBezTo>
                  <a:pt x="43" y="46"/>
                  <a:pt x="43" y="46"/>
                  <a:pt x="43" y="46"/>
                </a:cubicBezTo>
                <a:cubicBezTo>
                  <a:pt x="42" y="46"/>
                  <a:pt x="42" y="46"/>
                  <a:pt x="42" y="46"/>
                </a:cubicBezTo>
                <a:cubicBezTo>
                  <a:pt x="40" y="44"/>
                  <a:pt x="40" y="44"/>
                  <a:pt x="40" y="44"/>
                </a:cubicBezTo>
                <a:cubicBezTo>
                  <a:pt x="39" y="44"/>
                  <a:pt x="39" y="44"/>
                  <a:pt x="39" y="44"/>
                </a:cubicBezTo>
                <a:cubicBezTo>
                  <a:pt x="39" y="43"/>
                  <a:pt x="39" y="43"/>
                  <a:pt x="39" y="43"/>
                </a:cubicBezTo>
                <a:cubicBezTo>
                  <a:pt x="39" y="41"/>
                  <a:pt x="39" y="41"/>
                  <a:pt x="39" y="41"/>
                </a:cubicBezTo>
                <a:cubicBezTo>
                  <a:pt x="37" y="41"/>
                  <a:pt x="37" y="41"/>
                  <a:pt x="37" y="41"/>
                </a:cubicBezTo>
                <a:cubicBezTo>
                  <a:pt x="36" y="39"/>
                  <a:pt x="36" y="39"/>
                  <a:pt x="36" y="39"/>
                </a:cubicBezTo>
                <a:cubicBezTo>
                  <a:pt x="35" y="39"/>
                  <a:pt x="35" y="39"/>
                  <a:pt x="35" y="39"/>
                </a:cubicBezTo>
                <a:cubicBezTo>
                  <a:pt x="35" y="38"/>
                  <a:pt x="35" y="38"/>
                  <a:pt x="35" y="38"/>
                </a:cubicBezTo>
                <a:cubicBezTo>
                  <a:pt x="34" y="38"/>
                  <a:pt x="34" y="38"/>
                  <a:pt x="34" y="38"/>
                </a:cubicBezTo>
                <a:cubicBezTo>
                  <a:pt x="34" y="39"/>
                  <a:pt x="34" y="39"/>
                  <a:pt x="34" y="39"/>
                </a:cubicBezTo>
                <a:cubicBezTo>
                  <a:pt x="35" y="41"/>
                  <a:pt x="35" y="41"/>
                  <a:pt x="35" y="41"/>
                </a:cubicBezTo>
                <a:cubicBezTo>
                  <a:pt x="35" y="43"/>
                  <a:pt x="35" y="43"/>
                  <a:pt x="35" y="43"/>
                </a:cubicBezTo>
                <a:cubicBezTo>
                  <a:pt x="35" y="43"/>
                  <a:pt x="35" y="43"/>
                  <a:pt x="35" y="43"/>
                </a:cubicBezTo>
                <a:cubicBezTo>
                  <a:pt x="34" y="41"/>
                  <a:pt x="34" y="41"/>
                  <a:pt x="34" y="41"/>
                </a:cubicBezTo>
                <a:cubicBezTo>
                  <a:pt x="32" y="40"/>
                  <a:pt x="32" y="40"/>
                  <a:pt x="32" y="40"/>
                </a:cubicBezTo>
                <a:cubicBezTo>
                  <a:pt x="32" y="39"/>
                  <a:pt x="32" y="39"/>
                  <a:pt x="32" y="39"/>
                </a:cubicBezTo>
                <a:cubicBezTo>
                  <a:pt x="29" y="38"/>
                  <a:pt x="29" y="38"/>
                  <a:pt x="29" y="38"/>
                </a:cubicBezTo>
                <a:cubicBezTo>
                  <a:pt x="28" y="38"/>
                  <a:pt x="28" y="38"/>
                  <a:pt x="28" y="38"/>
                </a:cubicBezTo>
                <a:cubicBezTo>
                  <a:pt x="27" y="39"/>
                  <a:pt x="27" y="39"/>
                  <a:pt x="27" y="39"/>
                </a:cubicBezTo>
                <a:cubicBezTo>
                  <a:pt x="28" y="40"/>
                  <a:pt x="28" y="40"/>
                  <a:pt x="28" y="40"/>
                </a:cubicBezTo>
                <a:cubicBezTo>
                  <a:pt x="26" y="41"/>
                  <a:pt x="26" y="41"/>
                  <a:pt x="26" y="41"/>
                </a:cubicBezTo>
                <a:cubicBezTo>
                  <a:pt x="25" y="39"/>
                  <a:pt x="25" y="39"/>
                  <a:pt x="25" y="39"/>
                </a:cubicBezTo>
                <a:cubicBezTo>
                  <a:pt x="24" y="40"/>
                  <a:pt x="24" y="40"/>
                  <a:pt x="24" y="40"/>
                </a:cubicBezTo>
                <a:cubicBezTo>
                  <a:pt x="23" y="40"/>
                  <a:pt x="23" y="40"/>
                  <a:pt x="23" y="40"/>
                </a:cubicBezTo>
                <a:cubicBezTo>
                  <a:pt x="24" y="39"/>
                  <a:pt x="24" y="39"/>
                  <a:pt x="24" y="39"/>
                </a:cubicBezTo>
                <a:cubicBezTo>
                  <a:pt x="23" y="38"/>
                  <a:pt x="23" y="38"/>
                  <a:pt x="23" y="38"/>
                </a:cubicBezTo>
                <a:cubicBezTo>
                  <a:pt x="22" y="38"/>
                  <a:pt x="22" y="38"/>
                  <a:pt x="22" y="38"/>
                </a:cubicBezTo>
                <a:cubicBezTo>
                  <a:pt x="22" y="40"/>
                  <a:pt x="22" y="40"/>
                  <a:pt x="22" y="40"/>
                </a:cubicBezTo>
                <a:cubicBezTo>
                  <a:pt x="21" y="38"/>
                  <a:pt x="21" y="38"/>
                  <a:pt x="21" y="38"/>
                </a:cubicBezTo>
                <a:cubicBezTo>
                  <a:pt x="21" y="37"/>
                  <a:pt x="21" y="37"/>
                  <a:pt x="21" y="37"/>
                </a:cubicBezTo>
                <a:cubicBezTo>
                  <a:pt x="21" y="36"/>
                  <a:pt x="21" y="36"/>
                  <a:pt x="21" y="36"/>
                </a:cubicBezTo>
                <a:cubicBezTo>
                  <a:pt x="22" y="35"/>
                  <a:pt x="22" y="35"/>
                  <a:pt x="22" y="35"/>
                </a:cubicBezTo>
                <a:cubicBezTo>
                  <a:pt x="23" y="33"/>
                  <a:pt x="23" y="33"/>
                  <a:pt x="23" y="33"/>
                </a:cubicBezTo>
                <a:cubicBezTo>
                  <a:pt x="22" y="33"/>
                  <a:pt x="22" y="33"/>
                  <a:pt x="22" y="33"/>
                </a:cubicBezTo>
                <a:cubicBezTo>
                  <a:pt x="21" y="32"/>
                  <a:pt x="21" y="32"/>
                  <a:pt x="21" y="32"/>
                </a:cubicBezTo>
                <a:cubicBezTo>
                  <a:pt x="21" y="33"/>
                  <a:pt x="21" y="33"/>
                  <a:pt x="21" y="33"/>
                </a:cubicBezTo>
                <a:cubicBezTo>
                  <a:pt x="21" y="34"/>
                  <a:pt x="21" y="34"/>
                  <a:pt x="21" y="34"/>
                </a:cubicBezTo>
                <a:cubicBezTo>
                  <a:pt x="21" y="35"/>
                  <a:pt x="21" y="35"/>
                  <a:pt x="21" y="35"/>
                </a:cubicBezTo>
                <a:cubicBezTo>
                  <a:pt x="20" y="35"/>
                  <a:pt x="20" y="35"/>
                  <a:pt x="20" y="35"/>
                </a:cubicBezTo>
                <a:cubicBezTo>
                  <a:pt x="19" y="33"/>
                  <a:pt x="19" y="33"/>
                  <a:pt x="19" y="33"/>
                </a:cubicBezTo>
                <a:cubicBezTo>
                  <a:pt x="19" y="32"/>
                  <a:pt x="19" y="32"/>
                  <a:pt x="19" y="32"/>
                </a:cubicBezTo>
                <a:cubicBezTo>
                  <a:pt x="18" y="32"/>
                  <a:pt x="18" y="32"/>
                  <a:pt x="18" y="32"/>
                </a:cubicBezTo>
                <a:cubicBezTo>
                  <a:pt x="18" y="32"/>
                  <a:pt x="18" y="32"/>
                  <a:pt x="18" y="32"/>
                </a:cubicBezTo>
                <a:cubicBezTo>
                  <a:pt x="17" y="32"/>
                  <a:pt x="17" y="32"/>
                  <a:pt x="17" y="32"/>
                </a:cubicBezTo>
                <a:cubicBezTo>
                  <a:pt x="17" y="29"/>
                  <a:pt x="17" y="29"/>
                  <a:pt x="17" y="29"/>
                </a:cubicBezTo>
                <a:cubicBezTo>
                  <a:pt x="16" y="28"/>
                  <a:pt x="16" y="28"/>
                  <a:pt x="16" y="28"/>
                </a:cubicBezTo>
                <a:cubicBezTo>
                  <a:pt x="16" y="26"/>
                  <a:pt x="16" y="26"/>
                  <a:pt x="16" y="26"/>
                </a:cubicBezTo>
                <a:cubicBezTo>
                  <a:pt x="16" y="25"/>
                  <a:pt x="16" y="25"/>
                  <a:pt x="16" y="25"/>
                </a:cubicBezTo>
                <a:cubicBezTo>
                  <a:pt x="16" y="25"/>
                  <a:pt x="16" y="25"/>
                  <a:pt x="16" y="25"/>
                </a:cubicBezTo>
                <a:cubicBezTo>
                  <a:pt x="15" y="25"/>
                  <a:pt x="15" y="25"/>
                  <a:pt x="15" y="25"/>
                </a:cubicBezTo>
                <a:cubicBezTo>
                  <a:pt x="15" y="23"/>
                  <a:pt x="15" y="23"/>
                  <a:pt x="15" y="23"/>
                </a:cubicBezTo>
                <a:cubicBezTo>
                  <a:pt x="15" y="22"/>
                  <a:pt x="15" y="22"/>
                  <a:pt x="15" y="22"/>
                </a:cubicBezTo>
                <a:cubicBezTo>
                  <a:pt x="16" y="23"/>
                  <a:pt x="16" y="23"/>
                  <a:pt x="16" y="23"/>
                </a:cubicBezTo>
                <a:cubicBezTo>
                  <a:pt x="17" y="23"/>
                  <a:pt x="17" y="23"/>
                  <a:pt x="17" y="23"/>
                </a:cubicBezTo>
                <a:cubicBezTo>
                  <a:pt x="18" y="22"/>
                  <a:pt x="18" y="22"/>
                  <a:pt x="18" y="22"/>
                </a:cubicBezTo>
                <a:cubicBezTo>
                  <a:pt x="18" y="22"/>
                  <a:pt x="18" y="22"/>
                  <a:pt x="18" y="22"/>
                </a:cubicBezTo>
                <a:cubicBezTo>
                  <a:pt x="17" y="19"/>
                  <a:pt x="17" y="19"/>
                  <a:pt x="17" y="19"/>
                </a:cubicBezTo>
                <a:cubicBezTo>
                  <a:pt x="18" y="18"/>
                  <a:pt x="18" y="18"/>
                  <a:pt x="18" y="18"/>
                </a:cubicBezTo>
                <a:cubicBezTo>
                  <a:pt x="18" y="15"/>
                  <a:pt x="18" y="15"/>
                  <a:pt x="18" y="15"/>
                </a:cubicBezTo>
                <a:cubicBezTo>
                  <a:pt x="18" y="12"/>
                  <a:pt x="18" y="12"/>
                  <a:pt x="18" y="12"/>
                </a:cubicBezTo>
                <a:cubicBezTo>
                  <a:pt x="18" y="11"/>
                  <a:pt x="18" y="11"/>
                  <a:pt x="18" y="11"/>
                </a:cubicBezTo>
                <a:cubicBezTo>
                  <a:pt x="19" y="8"/>
                  <a:pt x="19" y="8"/>
                  <a:pt x="19" y="8"/>
                </a:cubicBezTo>
                <a:cubicBezTo>
                  <a:pt x="19" y="7"/>
                  <a:pt x="19" y="7"/>
                  <a:pt x="19" y="7"/>
                </a:cubicBezTo>
                <a:cubicBezTo>
                  <a:pt x="21" y="6"/>
                  <a:pt x="21" y="6"/>
                  <a:pt x="21" y="6"/>
                </a:cubicBezTo>
                <a:cubicBezTo>
                  <a:pt x="24" y="7"/>
                  <a:pt x="24" y="7"/>
                  <a:pt x="24" y="7"/>
                </a:cubicBezTo>
                <a:cubicBezTo>
                  <a:pt x="25" y="8"/>
                  <a:pt x="25" y="8"/>
                  <a:pt x="25" y="8"/>
                </a:cubicBezTo>
                <a:cubicBezTo>
                  <a:pt x="25" y="8"/>
                  <a:pt x="25" y="8"/>
                  <a:pt x="25" y="8"/>
                </a:cubicBezTo>
                <a:cubicBezTo>
                  <a:pt x="26" y="8"/>
                  <a:pt x="26" y="8"/>
                  <a:pt x="26" y="8"/>
                </a:cubicBezTo>
                <a:cubicBezTo>
                  <a:pt x="28" y="8"/>
                  <a:pt x="28" y="8"/>
                  <a:pt x="28" y="8"/>
                </a:cubicBezTo>
                <a:cubicBezTo>
                  <a:pt x="28" y="7"/>
                  <a:pt x="28" y="7"/>
                  <a:pt x="28" y="7"/>
                </a:cubicBezTo>
                <a:cubicBezTo>
                  <a:pt x="29" y="6"/>
                  <a:pt x="29" y="6"/>
                  <a:pt x="29" y="6"/>
                </a:cubicBezTo>
                <a:cubicBezTo>
                  <a:pt x="29" y="6"/>
                  <a:pt x="29" y="6"/>
                  <a:pt x="29" y="6"/>
                </a:cubicBezTo>
                <a:cubicBezTo>
                  <a:pt x="30" y="7"/>
                  <a:pt x="30" y="7"/>
                  <a:pt x="30" y="7"/>
                </a:cubicBezTo>
                <a:cubicBezTo>
                  <a:pt x="30" y="8"/>
                  <a:pt x="30" y="8"/>
                  <a:pt x="30" y="8"/>
                </a:cubicBezTo>
                <a:cubicBezTo>
                  <a:pt x="29" y="9"/>
                  <a:pt x="29" y="9"/>
                  <a:pt x="29" y="9"/>
                </a:cubicBezTo>
                <a:cubicBezTo>
                  <a:pt x="29" y="12"/>
                  <a:pt x="29" y="12"/>
                  <a:pt x="29" y="12"/>
                </a:cubicBezTo>
                <a:cubicBezTo>
                  <a:pt x="30" y="13"/>
                  <a:pt x="30" y="13"/>
                  <a:pt x="30" y="13"/>
                </a:cubicBezTo>
                <a:cubicBezTo>
                  <a:pt x="31" y="14"/>
                  <a:pt x="31" y="14"/>
                  <a:pt x="31" y="14"/>
                </a:cubicBezTo>
                <a:cubicBezTo>
                  <a:pt x="31" y="15"/>
                  <a:pt x="31" y="15"/>
                  <a:pt x="31" y="15"/>
                </a:cubicBezTo>
                <a:cubicBezTo>
                  <a:pt x="32" y="16"/>
                  <a:pt x="32" y="16"/>
                  <a:pt x="32" y="16"/>
                </a:cubicBezTo>
                <a:cubicBezTo>
                  <a:pt x="31" y="19"/>
                  <a:pt x="31" y="19"/>
                  <a:pt x="31" y="19"/>
                </a:cubicBezTo>
                <a:cubicBezTo>
                  <a:pt x="30" y="21"/>
                  <a:pt x="30" y="21"/>
                  <a:pt x="30" y="21"/>
                </a:cubicBezTo>
                <a:cubicBezTo>
                  <a:pt x="31" y="22"/>
                  <a:pt x="31" y="22"/>
                  <a:pt x="31" y="22"/>
                </a:cubicBezTo>
                <a:cubicBezTo>
                  <a:pt x="30" y="24"/>
                  <a:pt x="30" y="24"/>
                  <a:pt x="30" y="24"/>
                </a:cubicBezTo>
                <a:cubicBezTo>
                  <a:pt x="30" y="23"/>
                  <a:pt x="30" y="23"/>
                  <a:pt x="30" y="23"/>
                </a:cubicBezTo>
                <a:cubicBezTo>
                  <a:pt x="30" y="22"/>
                  <a:pt x="30" y="22"/>
                  <a:pt x="30" y="22"/>
                </a:cubicBezTo>
                <a:cubicBezTo>
                  <a:pt x="29" y="23"/>
                  <a:pt x="29" y="23"/>
                  <a:pt x="29" y="23"/>
                </a:cubicBezTo>
                <a:cubicBezTo>
                  <a:pt x="27" y="25"/>
                  <a:pt x="27" y="25"/>
                  <a:pt x="27" y="25"/>
                </a:cubicBezTo>
                <a:cubicBezTo>
                  <a:pt x="27" y="26"/>
                  <a:pt x="27" y="26"/>
                  <a:pt x="27" y="26"/>
                </a:cubicBezTo>
                <a:cubicBezTo>
                  <a:pt x="27" y="27"/>
                  <a:pt x="27" y="27"/>
                  <a:pt x="27" y="27"/>
                </a:cubicBezTo>
                <a:cubicBezTo>
                  <a:pt x="26" y="28"/>
                  <a:pt x="26" y="28"/>
                  <a:pt x="26" y="28"/>
                </a:cubicBezTo>
                <a:cubicBezTo>
                  <a:pt x="26" y="30"/>
                  <a:pt x="26" y="30"/>
                  <a:pt x="26" y="30"/>
                </a:cubicBezTo>
                <a:cubicBezTo>
                  <a:pt x="27" y="30"/>
                  <a:pt x="27" y="30"/>
                  <a:pt x="27" y="30"/>
                </a:cubicBezTo>
                <a:cubicBezTo>
                  <a:pt x="27" y="32"/>
                  <a:pt x="27" y="32"/>
                  <a:pt x="27" y="32"/>
                </a:cubicBezTo>
                <a:cubicBezTo>
                  <a:pt x="28" y="33"/>
                  <a:pt x="28" y="33"/>
                  <a:pt x="28" y="33"/>
                </a:cubicBezTo>
                <a:cubicBezTo>
                  <a:pt x="28" y="34"/>
                  <a:pt x="28" y="34"/>
                  <a:pt x="28" y="34"/>
                </a:cubicBezTo>
                <a:cubicBezTo>
                  <a:pt x="28" y="35"/>
                  <a:pt x="28" y="35"/>
                  <a:pt x="28" y="35"/>
                </a:cubicBezTo>
                <a:close/>
                <a:moveTo>
                  <a:pt x="30" y="35"/>
                </a:moveTo>
                <a:cubicBezTo>
                  <a:pt x="30" y="36"/>
                  <a:pt x="30" y="36"/>
                  <a:pt x="30" y="36"/>
                </a:cubicBezTo>
                <a:cubicBezTo>
                  <a:pt x="31" y="37"/>
                  <a:pt x="31" y="37"/>
                  <a:pt x="31" y="37"/>
                </a:cubicBezTo>
                <a:cubicBezTo>
                  <a:pt x="31" y="36"/>
                  <a:pt x="31" y="36"/>
                  <a:pt x="31" y="36"/>
                </a:cubicBezTo>
                <a:cubicBezTo>
                  <a:pt x="30" y="35"/>
                  <a:pt x="30" y="35"/>
                  <a:pt x="30" y="35"/>
                </a:cubicBezTo>
                <a:close/>
                <a:moveTo>
                  <a:pt x="29" y="31"/>
                </a:moveTo>
                <a:cubicBezTo>
                  <a:pt x="30" y="32"/>
                  <a:pt x="30" y="32"/>
                  <a:pt x="30" y="32"/>
                </a:cubicBezTo>
                <a:cubicBezTo>
                  <a:pt x="29" y="33"/>
                  <a:pt x="29" y="33"/>
                  <a:pt x="29" y="33"/>
                </a:cubicBezTo>
                <a:cubicBezTo>
                  <a:pt x="30" y="34"/>
                  <a:pt x="30" y="34"/>
                  <a:pt x="30" y="34"/>
                </a:cubicBezTo>
                <a:cubicBezTo>
                  <a:pt x="31" y="33"/>
                  <a:pt x="31" y="33"/>
                  <a:pt x="31" y="33"/>
                </a:cubicBezTo>
                <a:cubicBezTo>
                  <a:pt x="31" y="31"/>
                  <a:pt x="31" y="31"/>
                  <a:pt x="31" y="31"/>
                </a:cubicBezTo>
                <a:cubicBezTo>
                  <a:pt x="31" y="30"/>
                  <a:pt x="31" y="30"/>
                  <a:pt x="31" y="30"/>
                </a:cubicBezTo>
                <a:cubicBezTo>
                  <a:pt x="30" y="30"/>
                  <a:pt x="30" y="30"/>
                  <a:pt x="30" y="30"/>
                </a:cubicBezTo>
                <a:cubicBezTo>
                  <a:pt x="29" y="31"/>
                  <a:pt x="29" y="31"/>
                  <a:pt x="29" y="31"/>
                </a:cubicBezTo>
                <a:close/>
                <a:moveTo>
                  <a:pt x="18" y="39"/>
                </a:moveTo>
                <a:cubicBezTo>
                  <a:pt x="18" y="39"/>
                  <a:pt x="18" y="39"/>
                  <a:pt x="18" y="39"/>
                </a:cubicBezTo>
                <a:cubicBezTo>
                  <a:pt x="20" y="40"/>
                  <a:pt x="20" y="40"/>
                  <a:pt x="20" y="40"/>
                </a:cubicBezTo>
                <a:cubicBezTo>
                  <a:pt x="20" y="40"/>
                  <a:pt x="20" y="40"/>
                  <a:pt x="20" y="40"/>
                </a:cubicBezTo>
                <a:cubicBezTo>
                  <a:pt x="19" y="39"/>
                  <a:pt x="19" y="39"/>
                  <a:pt x="19" y="39"/>
                </a:cubicBezTo>
                <a:cubicBezTo>
                  <a:pt x="18" y="39"/>
                  <a:pt x="18" y="39"/>
                  <a:pt x="18" y="39"/>
                </a:cubicBezTo>
                <a:close/>
                <a:moveTo>
                  <a:pt x="20" y="41"/>
                </a:moveTo>
                <a:cubicBezTo>
                  <a:pt x="20" y="42"/>
                  <a:pt x="20" y="42"/>
                  <a:pt x="20" y="42"/>
                </a:cubicBezTo>
                <a:cubicBezTo>
                  <a:pt x="21" y="42"/>
                  <a:pt x="21" y="42"/>
                  <a:pt x="21" y="42"/>
                </a:cubicBezTo>
                <a:cubicBezTo>
                  <a:pt x="21" y="43"/>
                  <a:pt x="21" y="43"/>
                  <a:pt x="21" y="43"/>
                </a:cubicBezTo>
                <a:cubicBezTo>
                  <a:pt x="22" y="44"/>
                  <a:pt x="22" y="44"/>
                  <a:pt x="22" y="44"/>
                </a:cubicBezTo>
                <a:cubicBezTo>
                  <a:pt x="23" y="45"/>
                  <a:pt x="23" y="45"/>
                  <a:pt x="23" y="45"/>
                </a:cubicBezTo>
                <a:cubicBezTo>
                  <a:pt x="23" y="47"/>
                  <a:pt x="23" y="47"/>
                  <a:pt x="23" y="47"/>
                </a:cubicBezTo>
                <a:cubicBezTo>
                  <a:pt x="24" y="47"/>
                  <a:pt x="24" y="47"/>
                  <a:pt x="24" y="47"/>
                </a:cubicBezTo>
                <a:cubicBezTo>
                  <a:pt x="24" y="48"/>
                  <a:pt x="24" y="48"/>
                  <a:pt x="24" y="48"/>
                </a:cubicBezTo>
                <a:cubicBezTo>
                  <a:pt x="25" y="50"/>
                  <a:pt x="25" y="50"/>
                  <a:pt x="25" y="50"/>
                </a:cubicBezTo>
                <a:cubicBezTo>
                  <a:pt x="26" y="50"/>
                  <a:pt x="26" y="50"/>
                  <a:pt x="26" y="50"/>
                </a:cubicBezTo>
                <a:cubicBezTo>
                  <a:pt x="28" y="49"/>
                  <a:pt x="28" y="49"/>
                  <a:pt x="28" y="49"/>
                </a:cubicBezTo>
                <a:cubicBezTo>
                  <a:pt x="28" y="48"/>
                  <a:pt x="28" y="48"/>
                  <a:pt x="28" y="48"/>
                </a:cubicBezTo>
                <a:cubicBezTo>
                  <a:pt x="28" y="48"/>
                  <a:pt x="28" y="48"/>
                  <a:pt x="28" y="48"/>
                </a:cubicBezTo>
                <a:cubicBezTo>
                  <a:pt x="28" y="47"/>
                  <a:pt x="28" y="47"/>
                  <a:pt x="28" y="47"/>
                </a:cubicBezTo>
                <a:cubicBezTo>
                  <a:pt x="28" y="46"/>
                  <a:pt x="28" y="46"/>
                  <a:pt x="28" y="46"/>
                </a:cubicBezTo>
                <a:cubicBezTo>
                  <a:pt x="28" y="45"/>
                  <a:pt x="28" y="45"/>
                  <a:pt x="28" y="45"/>
                </a:cubicBezTo>
                <a:cubicBezTo>
                  <a:pt x="28" y="44"/>
                  <a:pt x="28" y="44"/>
                  <a:pt x="28" y="44"/>
                </a:cubicBezTo>
                <a:cubicBezTo>
                  <a:pt x="27" y="43"/>
                  <a:pt x="27" y="43"/>
                  <a:pt x="27" y="43"/>
                </a:cubicBezTo>
                <a:cubicBezTo>
                  <a:pt x="24" y="41"/>
                  <a:pt x="24" y="41"/>
                  <a:pt x="24" y="41"/>
                </a:cubicBezTo>
                <a:cubicBezTo>
                  <a:pt x="23" y="41"/>
                  <a:pt x="23" y="41"/>
                  <a:pt x="23" y="41"/>
                </a:cubicBezTo>
                <a:cubicBezTo>
                  <a:pt x="21" y="41"/>
                  <a:pt x="21" y="41"/>
                  <a:pt x="21" y="41"/>
                </a:cubicBezTo>
                <a:cubicBezTo>
                  <a:pt x="20" y="41"/>
                  <a:pt x="20" y="41"/>
                  <a:pt x="20" y="41"/>
                </a:cubicBezTo>
                <a:close/>
                <a:moveTo>
                  <a:pt x="45" y="37"/>
                </a:moveTo>
                <a:cubicBezTo>
                  <a:pt x="44" y="37"/>
                  <a:pt x="44" y="37"/>
                  <a:pt x="44" y="37"/>
                </a:cubicBezTo>
                <a:cubicBezTo>
                  <a:pt x="45" y="39"/>
                  <a:pt x="45" y="39"/>
                  <a:pt x="45" y="39"/>
                </a:cubicBezTo>
                <a:cubicBezTo>
                  <a:pt x="44" y="40"/>
                  <a:pt x="44" y="40"/>
                  <a:pt x="44" y="40"/>
                </a:cubicBezTo>
                <a:cubicBezTo>
                  <a:pt x="44" y="40"/>
                  <a:pt x="44" y="40"/>
                  <a:pt x="44" y="40"/>
                </a:cubicBezTo>
                <a:cubicBezTo>
                  <a:pt x="44" y="41"/>
                  <a:pt x="44" y="41"/>
                  <a:pt x="44" y="41"/>
                </a:cubicBezTo>
                <a:cubicBezTo>
                  <a:pt x="46" y="40"/>
                  <a:pt x="46" y="40"/>
                  <a:pt x="46" y="40"/>
                </a:cubicBezTo>
                <a:cubicBezTo>
                  <a:pt x="46" y="39"/>
                  <a:pt x="46" y="39"/>
                  <a:pt x="46" y="39"/>
                </a:cubicBezTo>
                <a:cubicBezTo>
                  <a:pt x="46" y="38"/>
                  <a:pt x="46" y="38"/>
                  <a:pt x="46" y="38"/>
                </a:cubicBezTo>
                <a:cubicBezTo>
                  <a:pt x="45" y="37"/>
                  <a:pt x="45" y="37"/>
                  <a:pt x="45" y="37"/>
                </a:cubicBezTo>
                <a:close/>
                <a:moveTo>
                  <a:pt x="30" y="42"/>
                </a:moveTo>
                <a:cubicBezTo>
                  <a:pt x="31" y="43"/>
                  <a:pt x="31" y="43"/>
                  <a:pt x="31" y="43"/>
                </a:cubicBezTo>
                <a:cubicBezTo>
                  <a:pt x="31" y="42"/>
                  <a:pt x="31" y="42"/>
                  <a:pt x="31" y="42"/>
                </a:cubicBezTo>
                <a:cubicBezTo>
                  <a:pt x="32" y="42"/>
                  <a:pt x="32" y="42"/>
                  <a:pt x="32" y="42"/>
                </a:cubicBezTo>
                <a:cubicBezTo>
                  <a:pt x="31" y="41"/>
                  <a:pt x="31" y="41"/>
                  <a:pt x="31" y="41"/>
                </a:cubicBezTo>
                <a:cubicBezTo>
                  <a:pt x="30" y="40"/>
                  <a:pt x="30" y="40"/>
                  <a:pt x="30" y="40"/>
                </a:cubicBezTo>
                <a:cubicBezTo>
                  <a:pt x="30" y="41"/>
                  <a:pt x="30" y="41"/>
                  <a:pt x="30" y="41"/>
                </a:cubicBezTo>
                <a:cubicBezTo>
                  <a:pt x="30" y="42"/>
                  <a:pt x="30" y="42"/>
                  <a:pt x="30" y="42"/>
                </a:cubicBezTo>
                <a:close/>
                <a:moveTo>
                  <a:pt x="32" y="47"/>
                </a:moveTo>
                <a:cubicBezTo>
                  <a:pt x="32" y="48"/>
                  <a:pt x="32" y="48"/>
                  <a:pt x="32" y="48"/>
                </a:cubicBezTo>
                <a:cubicBezTo>
                  <a:pt x="31" y="49"/>
                  <a:pt x="31" y="49"/>
                  <a:pt x="31" y="49"/>
                </a:cubicBezTo>
                <a:cubicBezTo>
                  <a:pt x="32" y="51"/>
                  <a:pt x="32" y="51"/>
                  <a:pt x="32" y="51"/>
                </a:cubicBezTo>
                <a:cubicBezTo>
                  <a:pt x="32" y="50"/>
                  <a:pt x="32" y="50"/>
                  <a:pt x="32" y="50"/>
                </a:cubicBezTo>
                <a:cubicBezTo>
                  <a:pt x="33" y="49"/>
                  <a:pt x="33" y="49"/>
                  <a:pt x="33" y="49"/>
                </a:cubicBezTo>
                <a:cubicBezTo>
                  <a:pt x="32" y="48"/>
                  <a:pt x="32" y="48"/>
                  <a:pt x="32" y="48"/>
                </a:cubicBezTo>
                <a:cubicBezTo>
                  <a:pt x="33" y="46"/>
                  <a:pt x="33" y="46"/>
                  <a:pt x="33" y="46"/>
                </a:cubicBezTo>
                <a:cubicBezTo>
                  <a:pt x="32" y="47"/>
                  <a:pt x="32" y="47"/>
                  <a:pt x="32" y="47"/>
                </a:cubicBezTo>
                <a:close/>
                <a:moveTo>
                  <a:pt x="35" y="48"/>
                </a:moveTo>
                <a:cubicBezTo>
                  <a:pt x="35" y="48"/>
                  <a:pt x="35" y="48"/>
                  <a:pt x="35" y="48"/>
                </a:cubicBezTo>
                <a:cubicBezTo>
                  <a:pt x="35" y="49"/>
                  <a:pt x="35" y="49"/>
                  <a:pt x="35" y="49"/>
                </a:cubicBezTo>
                <a:cubicBezTo>
                  <a:pt x="36" y="49"/>
                  <a:pt x="36" y="49"/>
                  <a:pt x="36" y="49"/>
                </a:cubicBezTo>
                <a:cubicBezTo>
                  <a:pt x="36" y="48"/>
                  <a:pt x="36" y="48"/>
                  <a:pt x="36" y="48"/>
                </a:cubicBezTo>
                <a:cubicBezTo>
                  <a:pt x="35" y="48"/>
                  <a:pt x="35" y="48"/>
                  <a:pt x="35" y="48"/>
                </a:cubicBezTo>
                <a:close/>
                <a:moveTo>
                  <a:pt x="39" y="45"/>
                </a:moveTo>
                <a:cubicBezTo>
                  <a:pt x="38" y="43"/>
                  <a:pt x="38" y="43"/>
                  <a:pt x="38" y="43"/>
                </a:cubicBezTo>
                <a:cubicBezTo>
                  <a:pt x="37" y="44"/>
                  <a:pt x="37" y="44"/>
                  <a:pt x="37" y="44"/>
                </a:cubicBezTo>
                <a:cubicBezTo>
                  <a:pt x="37" y="44"/>
                  <a:pt x="37" y="44"/>
                  <a:pt x="37" y="44"/>
                </a:cubicBezTo>
                <a:cubicBezTo>
                  <a:pt x="39" y="46"/>
                  <a:pt x="39" y="46"/>
                  <a:pt x="39" y="46"/>
                </a:cubicBezTo>
                <a:cubicBezTo>
                  <a:pt x="39" y="45"/>
                  <a:pt x="39" y="45"/>
                  <a:pt x="39" y="45"/>
                </a:cubicBezTo>
                <a:cubicBezTo>
                  <a:pt x="39" y="45"/>
                  <a:pt x="39" y="45"/>
                  <a:pt x="39" y="45"/>
                </a:cubicBezTo>
                <a:close/>
                <a:moveTo>
                  <a:pt x="41" y="47"/>
                </a:moveTo>
                <a:cubicBezTo>
                  <a:pt x="42" y="48"/>
                  <a:pt x="42" y="48"/>
                  <a:pt x="42" y="48"/>
                </a:cubicBezTo>
                <a:cubicBezTo>
                  <a:pt x="43" y="49"/>
                  <a:pt x="43" y="49"/>
                  <a:pt x="43" y="49"/>
                </a:cubicBezTo>
                <a:cubicBezTo>
                  <a:pt x="43" y="49"/>
                  <a:pt x="43" y="49"/>
                  <a:pt x="43" y="49"/>
                </a:cubicBezTo>
                <a:cubicBezTo>
                  <a:pt x="42" y="47"/>
                  <a:pt x="42" y="47"/>
                  <a:pt x="42" y="47"/>
                </a:cubicBezTo>
                <a:cubicBezTo>
                  <a:pt x="41" y="47"/>
                  <a:pt x="41" y="47"/>
                  <a:pt x="41" y="47"/>
                </a:cubicBezTo>
                <a:close/>
                <a:moveTo>
                  <a:pt x="39" y="52"/>
                </a:moveTo>
                <a:cubicBezTo>
                  <a:pt x="40" y="50"/>
                  <a:pt x="40" y="50"/>
                  <a:pt x="40" y="50"/>
                </a:cubicBezTo>
                <a:cubicBezTo>
                  <a:pt x="41" y="50"/>
                  <a:pt x="41" y="50"/>
                  <a:pt x="41" y="50"/>
                </a:cubicBezTo>
                <a:cubicBezTo>
                  <a:pt x="43" y="52"/>
                  <a:pt x="43" y="52"/>
                  <a:pt x="43" y="52"/>
                </a:cubicBezTo>
                <a:cubicBezTo>
                  <a:pt x="44" y="52"/>
                  <a:pt x="44" y="52"/>
                  <a:pt x="44" y="52"/>
                </a:cubicBezTo>
                <a:cubicBezTo>
                  <a:pt x="45" y="52"/>
                  <a:pt x="45" y="52"/>
                  <a:pt x="45" y="52"/>
                </a:cubicBezTo>
                <a:cubicBezTo>
                  <a:pt x="45" y="51"/>
                  <a:pt x="45" y="51"/>
                  <a:pt x="45" y="51"/>
                </a:cubicBezTo>
                <a:cubicBezTo>
                  <a:pt x="44" y="50"/>
                  <a:pt x="44" y="50"/>
                  <a:pt x="44" y="50"/>
                </a:cubicBezTo>
                <a:cubicBezTo>
                  <a:pt x="42" y="49"/>
                  <a:pt x="42" y="49"/>
                  <a:pt x="42" y="49"/>
                </a:cubicBezTo>
                <a:cubicBezTo>
                  <a:pt x="42" y="49"/>
                  <a:pt x="42" y="49"/>
                  <a:pt x="42" y="49"/>
                </a:cubicBezTo>
                <a:cubicBezTo>
                  <a:pt x="41" y="48"/>
                  <a:pt x="41" y="48"/>
                  <a:pt x="41" y="48"/>
                </a:cubicBezTo>
                <a:cubicBezTo>
                  <a:pt x="40" y="48"/>
                  <a:pt x="40" y="48"/>
                  <a:pt x="40" y="48"/>
                </a:cubicBezTo>
                <a:cubicBezTo>
                  <a:pt x="40" y="48"/>
                  <a:pt x="40" y="48"/>
                  <a:pt x="40" y="48"/>
                </a:cubicBezTo>
                <a:cubicBezTo>
                  <a:pt x="39" y="47"/>
                  <a:pt x="39" y="47"/>
                  <a:pt x="39" y="47"/>
                </a:cubicBezTo>
                <a:cubicBezTo>
                  <a:pt x="39" y="49"/>
                  <a:pt x="39" y="49"/>
                  <a:pt x="39" y="49"/>
                </a:cubicBezTo>
                <a:cubicBezTo>
                  <a:pt x="40" y="50"/>
                  <a:pt x="40" y="50"/>
                  <a:pt x="40" y="50"/>
                </a:cubicBezTo>
                <a:cubicBezTo>
                  <a:pt x="39" y="50"/>
                  <a:pt x="39" y="50"/>
                  <a:pt x="39" y="50"/>
                </a:cubicBezTo>
                <a:cubicBezTo>
                  <a:pt x="39" y="51"/>
                  <a:pt x="39" y="51"/>
                  <a:pt x="39" y="51"/>
                </a:cubicBezTo>
                <a:cubicBezTo>
                  <a:pt x="39" y="52"/>
                  <a:pt x="39" y="52"/>
                  <a:pt x="39" y="52"/>
                </a:cubicBezTo>
                <a:close/>
                <a:moveTo>
                  <a:pt x="33" y="61"/>
                </a:moveTo>
                <a:cubicBezTo>
                  <a:pt x="33" y="61"/>
                  <a:pt x="33" y="61"/>
                  <a:pt x="33" y="61"/>
                </a:cubicBezTo>
                <a:cubicBezTo>
                  <a:pt x="32" y="62"/>
                  <a:pt x="32" y="62"/>
                  <a:pt x="32" y="62"/>
                </a:cubicBezTo>
                <a:cubicBezTo>
                  <a:pt x="32" y="59"/>
                  <a:pt x="32" y="59"/>
                  <a:pt x="32" y="59"/>
                </a:cubicBezTo>
                <a:cubicBezTo>
                  <a:pt x="32" y="58"/>
                  <a:pt x="32" y="58"/>
                  <a:pt x="32" y="58"/>
                </a:cubicBezTo>
                <a:cubicBezTo>
                  <a:pt x="32" y="56"/>
                  <a:pt x="32" y="56"/>
                  <a:pt x="32" y="56"/>
                </a:cubicBezTo>
                <a:cubicBezTo>
                  <a:pt x="32" y="55"/>
                  <a:pt x="32" y="55"/>
                  <a:pt x="32" y="55"/>
                </a:cubicBezTo>
                <a:cubicBezTo>
                  <a:pt x="32" y="53"/>
                  <a:pt x="32" y="53"/>
                  <a:pt x="32" y="53"/>
                </a:cubicBezTo>
                <a:cubicBezTo>
                  <a:pt x="32" y="53"/>
                  <a:pt x="32" y="53"/>
                  <a:pt x="32" y="53"/>
                </a:cubicBezTo>
                <a:cubicBezTo>
                  <a:pt x="30" y="53"/>
                  <a:pt x="30" y="53"/>
                  <a:pt x="30" y="53"/>
                </a:cubicBezTo>
                <a:cubicBezTo>
                  <a:pt x="31" y="52"/>
                  <a:pt x="31" y="52"/>
                  <a:pt x="31" y="52"/>
                </a:cubicBezTo>
                <a:cubicBezTo>
                  <a:pt x="32" y="52"/>
                  <a:pt x="32" y="52"/>
                  <a:pt x="32" y="52"/>
                </a:cubicBezTo>
                <a:cubicBezTo>
                  <a:pt x="33" y="53"/>
                  <a:pt x="33" y="53"/>
                  <a:pt x="33" y="53"/>
                </a:cubicBezTo>
                <a:cubicBezTo>
                  <a:pt x="34" y="53"/>
                  <a:pt x="34" y="53"/>
                  <a:pt x="34" y="53"/>
                </a:cubicBezTo>
                <a:cubicBezTo>
                  <a:pt x="34" y="54"/>
                  <a:pt x="34" y="54"/>
                  <a:pt x="34" y="54"/>
                </a:cubicBezTo>
                <a:cubicBezTo>
                  <a:pt x="35" y="54"/>
                  <a:pt x="35" y="54"/>
                  <a:pt x="35" y="54"/>
                </a:cubicBezTo>
                <a:cubicBezTo>
                  <a:pt x="36" y="54"/>
                  <a:pt x="36" y="54"/>
                  <a:pt x="36" y="54"/>
                </a:cubicBezTo>
                <a:cubicBezTo>
                  <a:pt x="37" y="54"/>
                  <a:pt x="37" y="54"/>
                  <a:pt x="37" y="54"/>
                </a:cubicBezTo>
                <a:cubicBezTo>
                  <a:pt x="38" y="55"/>
                  <a:pt x="38" y="55"/>
                  <a:pt x="38" y="55"/>
                </a:cubicBezTo>
                <a:cubicBezTo>
                  <a:pt x="38" y="54"/>
                  <a:pt x="38" y="54"/>
                  <a:pt x="38" y="54"/>
                </a:cubicBezTo>
                <a:cubicBezTo>
                  <a:pt x="39" y="54"/>
                  <a:pt x="39" y="54"/>
                  <a:pt x="39" y="54"/>
                </a:cubicBezTo>
                <a:cubicBezTo>
                  <a:pt x="40" y="55"/>
                  <a:pt x="40" y="55"/>
                  <a:pt x="40" y="55"/>
                </a:cubicBezTo>
                <a:cubicBezTo>
                  <a:pt x="39" y="56"/>
                  <a:pt x="39" y="56"/>
                  <a:pt x="39" y="56"/>
                </a:cubicBezTo>
                <a:cubicBezTo>
                  <a:pt x="39" y="56"/>
                  <a:pt x="39" y="56"/>
                  <a:pt x="39" y="56"/>
                </a:cubicBezTo>
                <a:cubicBezTo>
                  <a:pt x="38" y="57"/>
                  <a:pt x="38" y="57"/>
                  <a:pt x="38" y="57"/>
                </a:cubicBezTo>
                <a:cubicBezTo>
                  <a:pt x="37" y="59"/>
                  <a:pt x="37" y="59"/>
                  <a:pt x="37" y="59"/>
                </a:cubicBezTo>
                <a:cubicBezTo>
                  <a:pt x="36" y="60"/>
                  <a:pt x="36" y="60"/>
                  <a:pt x="36" y="60"/>
                </a:cubicBezTo>
                <a:cubicBezTo>
                  <a:pt x="36" y="60"/>
                  <a:pt x="36" y="60"/>
                  <a:pt x="36" y="60"/>
                </a:cubicBezTo>
                <a:cubicBezTo>
                  <a:pt x="35" y="60"/>
                  <a:pt x="35" y="60"/>
                  <a:pt x="35" y="60"/>
                </a:cubicBezTo>
                <a:cubicBezTo>
                  <a:pt x="35" y="60"/>
                  <a:pt x="35" y="60"/>
                  <a:pt x="35" y="60"/>
                </a:cubicBezTo>
                <a:cubicBezTo>
                  <a:pt x="33" y="61"/>
                  <a:pt x="33" y="61"/>
                  <a:pt x="33" y="61"/>
                </a:cubicBezTo>
                <a:close/>
                <a:moveTo>
                  <a:pt x="36" y="60"/>
                </a:moveTo>
                <a:cubicBezTo>
                  <a:pt x="35" y="60"/>
                  <a:pt x="35" y="60"/>
                  <a:pt x="35" y="60"/>
                </a:cubicBezTo>
                <a:cubicBezTo>
                  <a:pt x="35" y="62"/>
                  <a:pt x="35" y="62"/>
                  <a:pt x="35" y="62"/>
                </a:cubicBezTo>
                <a:cubicBezTo>
                  <a:pt x="36" y="62"/>
                  <a:pt x="36" y="62"/>
                  <a:pt x="36" y="62"/>
                </a:cubicBezTo>
                <a:cubicBezTo>
                  <a:pt x="37" y="61"/>
                  <a:pt x="37" y="61"/>
                  <a:pt x="37" y="61"/>
                </a:cubicBezTo>
                <a:cubicBezTo>
                  <a:pt x="37" y="60"/>
                  <a:pt x="37" y="60"/>
                  <a:pt x="37" y="60"/>
                </a:cubicBezTo>
                <a:cubicBezTo>
                  <a:pt x="36" y="60"/>
                  <a:pt x="36" y="60"/>
                  <a:pt x="36" y="60"/>
                </a:cubicBezTo>
                <a:close/>
                <a:moveTo>
                  <a:pt x="47" y="60"/>
                </a:moveTo>
                <a:cubicBezTo>
                  <a:pt x="47" y="61"/>
                  <a:pt x="47" y="61"/>
                  <a:pt x="47" y="61"/>
                </a:cubicBezTo>
                <a:cubicBezTo>
                  <a:pt x="46" y="60"/>
                  <a:pt x="46" y="60"/>
                  <a:pt x="46" y="60"/>
                </a:cubicBezTo>
                <a:cubicBezTo>
                  <a:pt x="47" y="60"/>
                  <a:pt x="47" y="60"/>
                  <a:pt x="47" y="60"/>
                </a:cubicBezTo>
                <a:close/>
                <a:moveTo>
                  <a:pt x="41" y="68"/>
                </a:moveTo>
                <a:cubicBezTo>
                  <a:pt x="42" y="67"/>
                  <a:pt x="42" y="67"/>
                  <a:pt x="42" y="67"/>
                </a:cubicBezTo>
                <a:cubicBezTo>
                  <a:pt x="43" y="64"/>
                  <a:pt x="43" y="64"/>
                  <a:pt x="43" y="64"/>
                </a:cubicBezTo>
                <a:cubicBezTo>
                  <a:pt x="45" y="62"/>
                  <a:pt x="45" y="62"/>
                  <a:pt x="45" y="62"/>
                </a:cubicBezTo>
                <a:cubicBezTo>
                  <a:pt x="45" y="61"/>
                  <a:pt x="45" y="61"/>
                  <a:pt x="45" y="61"/>
                </a:cubicBezTo>
                <a:cubicBezTo>
                  <a:pt x="45" y="60"/>
                  <a:pt x="45" y="60"/>
                  <a:pt x="45" y="60"/>
                </a:cubicBezTo>
                <a:cubicBezTo>
                  <a:pt x="45" y="59"/>
                  <a:pt x="45" y="59"/>
                  <a:pt x="45" y="59"/>
                </a:cubicBezTo>
                <a:cubicBezTo>
                  <a:pt x="45" y="57"/>
                  <a:pt x="45" y="57"/>
                  <a:pt x="45" y="57"/>
                </a:cubicBezTo>
                <a:cubicBezTo>
                  <a:pt x="44" y="57"/>
                  <a:pt x="44" y="57"/>
                  <a:pt x="44" y="57"/>
                </a:cubicBezTo>
                <a:cubicBezTo>
                  <a:pt x="44" y="59"/>
                  <a:pt x="44" y="59"/>
                  <a:pt x="44" y="59"/>
                </a:cubicBezTo>
                <a:cubicBezTo>
                  <a:pt x="43" y="61"/>
                  <a:pt x="43" y="61"/>
                  <a:pt x="43" y="61"/>
                </a:cubicBezTo>
                <a:cubicBezTo>
                  <a:pt x="43" y="63"/>
                  <a:pt x="43" y="63"/>
                  <a:pt x="43" y="63"/>
                </a:cubicBezTo>
                <a:cubicBezTo>
                  <a:pt x="42" y="64"/>
                  <a:pt x="42" y="64"/>
                  <a:pt x="42" y="64"/>
                </a:cubicBezTo>
                <a:cubicBezTo>
                  <a:pt x="41" y="66"/>
                  <a:pt x="41" y="66"/>
                  <a:pt x="41" y="66"/>
                </a:cubicBezTo>
                <a:cubicBezTo>
                  <a:pt x="41" y="67"/>
                  <a:pt x="41" y="67"/>
                  <a:pt x="41" y="67"/>
                </a:cubicBezTo>
                <a:cubicBezTo>
                  <a:pt x="41" y="68"/>
                  <a:pt x="41" y="68"/>
                  <a:pt x="41" y="68"/>
                </a:cubicBezTo>
                <a:close/>
                <a:moveTo>
                  <a:pt x="40" y="67"/>
                </a:moveTo>
                <a:cubicBezTo>
                  <a:pt x="40" y="65"/>
                  <a:pt x="40" y="65"/>
                  <a:pt x="40" y="65"/>
                </a:cubicBezTo>
                <a:cubicBezTo>
                  <a:pt x="41" y="61"/>
                  <a:pt x="41" y="61"/>
                  <a:pt x="41" y="61"/>
                </a:cubicBezTo>
                <a:cubicBezTo>
                  <a:pt x="42" y="60"/>
                  <a:pt x="42" y="60"/>
                  <a:pt x="42" y="60"/>
                </a:cubicBezTo>
                <a:cubicBezTo>
                  <a:pt x="42" y="59"/>
                  <a:pt x="42" y="59"/>
                  <a:pt x="42" y="59"/>
                </a:cubicBezTo>
                <a:cubicBezTo>
                  <a:pt x="41" y="58"/>
                  <a:pt x="41" y="58"/>
                  <a:pt x="41" y="58"/>
                </a:cubicBezTo>
                <a:cubicBezTo>
                  <a:pt x="40" y="59"/>
                  <a:pt x="40" y="59"/>
                  <a:pt x="40" y="59"/>
                </a:cubicBezTo>
                <a:cubicBezTo>
                  <a:pt x="40" y="58"/>
                  <a:pt x="40" y="58"/>
                  <a:pt x="40" y="58"/>
                </a:cubicBezTo>
                <a:cubicBezTo>
                  <a:pt x="39" y="59"/>
                  <a:pt x="39" y="59"/>
                  <a:pt x="39" y="59"/>
                </a:cubicBezTo>
                <a:cubicBezTo>
                  <a:pt x="39" y="60"/>
                  <a:pt x="39" y="60"/>
                  <a:pt x="39" y="60"/>
                </a:cubicBezTo>
                <a:cubicBezTo>
                  <a:pt x="38" y="61"/>
                  <a:pt x="38" y="61"/>
                  <a:pt x="38" y="61"/>
                </a:cubicBezTo>
                <a:cubicBezTo>
                  <a:pt x="38" y="63"/>
                  <a:pt x="38" y="63"/>
                  <a:pt x="38" y="63"/>
                </a:cubicBezTo>
                <a:cubicBezTo>
                  <a:pt x="37" y="65"/>
                  <a:pt x="37" y="65"/>
                  <a:pt x="37" y="65"/>
                </a:cubicBezTo>
                <a:cubicBezTo>
                  <a:pt x="35" y="65"/>
                  <a:pt x="35" y="65"/>
                  <a:pt x="35" y="65"/>
                </a:cubicBezTo>
                <a:cubicBezTo>
                  <a:pt x="35" y="66"/>
                  <a:pt x="35" y="66"/>
                  <a:pt x="35" y="66"/>
                </a:cubicBezTo>
                <a:cubicBezTo>
                  <a:pt x="35" y="68"/>
                  <a:pt x="35" y="68"/>
                  <a:pt x="35" y="68"/>
                </a:cubicBezTo>
                <a:cubicBezTo>
                  <a:pt x="36" y="68"/>
                  <a:pt x="36" y="68"/>
                  <a:pt x="36" y="68"/>
                </a:cubicBezTo>
                <a:cubicBezTo>
                  <a:pt x="37" y="69"/>
                  <a:pt x="37" y="69"/>
                  <a:pt x="37" y="69"/>
                </a:cubicBezTo>
                <a:cubicBezTo>
                  <a:pt x="39" y="69"/>
                  <a:pt x="39" y="69"/>
                  <a:pt x="39" y="69"/>
                </a:cubicBezTo>
                <a:cubicBezTo>
                  <a:pt x="39" y="70"/>
                  <a:pt x="39" y="70"/>
                  <a:pt x="39" y="70"/>
                </a:cubicBezTo>
                <a:cubicBezTo>
                  <a:pt x="40" y="71"/>
                  <a:pt x="40" y="71"/>
                  <a:pt x="40" y="71"/>
                </a:cubicBezTo>
                <a:cubicBezTo>
                  <a:pt x="41" y="70"/>
                  <a:pt x="41" y="70"/>
                  <a:pt x="41" y="70"/>
                </a:cubicBezTo>
                <a:cubicBezTo>
                  <a:pt x="41" y="69"/>
                  <a:pt x="41" y="69"/>
                  <a:pt x="41" y="69"/>
                </a:cubicBezTo>
                <a:cubicBezTo>
                  <a:pt x="40" y="67"/>
                  <a:pt x="40" y="67"/>
                  <a:pt x="40" y="67"/>
                </a:cubicBezTo>
                <a:close/>
                <a:moveTo>
                  <a:pt x="43" y="69"/>
                </a:moveTo>
                <a:cubicBezTo>
                  <a:pt x="44" y="70"/>
                  <a:pt x="44" y="70"/>
                  <a:pt x="44" y="70"/>
                </a:cubicBezTo>
                <a:cubicBezTo>
                  <a:pt x="44" y="71"/>
                  <a:pt x="44" y="71"/>
                  <a:pt x="44" y="71"/>
                </a:cubicBezTo>
                <a:cubicBezTo>
                  <a:pt x="43" y="71"/>
                  <a:pt x="43" y="71"/>
                  <a:pt x="43" y="71"/>
                </a:cubicBezTo>
                <a:cubicBezTo>
                  <a:pt x="42" y="70"/>
                  <a:pt x="42" y="70"/>
                  <a:pt x="42" y="70"/>
                </a:cubicBezTo>
                <a:cubicBezTo>
                  <a:pt x="42" y="70"/>
                  <a:pt x="42" y="70"/>
                  <a:pt x="42" y="70"/>
                </a:cubicBezTo>
                <a:cubicBezTo>
                  <a:pt x="43" y="69"/>
                  <a:pt x="43" y="69"/>
                  <a:pt x="43" y="69"/>
                </a:cubicBezTo>
                <a:close/>
                <a:moveTo>
                  <a:pt x="47" y="64"/>
                </a:moveTo>
                <a:cubicBezTo>
                  <a:pt x="48" y="64"/>
                  <a:pt x="48" y="64"/>
                  <a:pt x="48" y="64"/>
                </a:cubicBezTo>
                <a:cubicBezTo>
                  <a:pt x="49" y="64"/>
                  <a:pt x="49" y="64"/>
                  <a:pt x="49" y="64"/>
                </a:cubicBezTo>
                <a:cubicBezTo>
                  <a:pt x="49" y="66"/>
                  <a:pt x="49" y="66"/>
                  <a:pt x="49" y="66"/>
                </a:cubicBezTo>
                <a:cubicBezTo>
                  <a:pt x="48" y="66"/>
                  <a:pt x="48" y="66"/>
                  <a:pt x="48" y="66"/>
                </a:cubicBezTo>
                <a:cubicBezTo>
                  <a:pt x="46" y="67"/>
                  <a:pt x="46" y="67"/>
                  <a:pt x="46" y="67"/>
                </a:cubicBezTo>
                <a:cubicBezTo>
                  <a:pt x="45" y="67"/>
                  <a:pt x="45" y="67"/>
                  <a:pt x="45" y="67"/>
                </a:cubicBezTo>
                <a:cubicBezTo>
                  <a:pt x="45" y="67"/>
                  <a:pt x="45" y="67"/>
                  <a:pt x="45" y="67"/>
                </a:cubicBezTo>
                <a:cubicBezTo>
                  <a:pt x="44" y="66"/>
                  <a:pt x="44" y="66"/>
                  <a:pt x="44" y="66"/>
                </a:cubicBezTo>
                <a:cubicBezTo>
                  <a:pt x="45" y="65"/>
                  <a:pt x="45" y="65"/>
                  <a:pt x="45" y="65"/>
                </a:cubicBezTo>
                <a:cubicBezTo>
                  <a:pt x="47" y="64"/>
                  <a:pt x="47" y="64"/>
                  <a:pt x="47" y="64"/>
                </a:cubicBezTo>
                <a:close/>
                <a:moveTo>
                  <a:pt x="53" y="64"/>
                </a:moveTo>
                <a:cubicBezTo>
                  <a:pt x="53" y="65"/>
                  <a:pt x="53" y="65"/>
                  <a:pt x="53" y="65"/>
                </a:cubicBezTo>
                <a:cubicBezTo>
                  <a:pt x="53" y="66"/>
                  <a:pt x="53" y="66"/>
                  <a:pt x="53" y="66"/>
                </a:cubicBezTo>
                <a:cubicBezTo>
                  <a:pt x="53" y="65"/>
                  <a:pt x="53" y="65"/>
                  <a:pt x="53" y="65"/>
                </a:cubicBezTo>
                <a:cubicBezTo>
                  <a:pt x="53" y="64"/>
                  <a:pt x="53" y="64"/>
                  <a:pt x="53" y="64"/>
                </a:cubicBezTo>
                <a:close/>
                <a:moveTo>
                  <a:pt x="49" y="69"/>
                </a:moveTo>
                <a:cubicBezTo>
                  <a:pt x="50" y="70"/>
                  <a:pt x="50" y="70"/>
                  <a:pt x="50" y="70"/>
                </a:cubicBezTo>
                <a:cubicBezTo>
                  <a:pt x="50" y="71"/>
                  <a:pt x="50" y="71"/>
                  <a:pt x="50" y="71"/>
                </a:cubicBezTo>
                <a:cubicBezTo>
                  <a:pt x="49" y="70"/>
                  <a:pt x="49" y="70"/>
                  <a:pt x="49" y="70"/>
                </a:cubicBezTo>
                <a:cubicBezTo>
                  <a:pt x="49" y="69"/>
                  <a:pt x="49" y="69"/>
                  <a:pt x="49" y="69"/>
                </a:cubicBezTo>
                <a:cubicBezTo>
                  <a:pt x="49" y="69"/>
                  <a:pt x="49" y="69"/>
                  <a:pt x="49" y="69"/>
                </a:cubicBezTo>
                <a:close/>
                <a:moveTo>
                  <a:pt x="48" y="54"/>
                </a:moveTo>
                <a:cubicBezTo>
                  <a:pt x="48" y="55"/>
                  <a:pt x="48" y="55"/>
                  <a:pt x="48" y="55"/>
                </a:cubicBezTo>
                <a:cubicBezTo>
                  <a:pt x="47" y="55"/>
                  <a:pt x="47" y="55"/>
                  <a:pt x="47" y="55"/>
                </a:cubicBezTo>
                <a:cubicBezTo>
                  <a:pt x="46" y="55"/>
                  <a:pt x="46" y="55"/>
                  <a:pt x="46" y="55"/>
                </a:cubicBezTo>
                <a:cubicBezTo>
                  <a:pt x="47" y="54"/>
                  <a:pt x="47" y="54"/>
                  <a:pt x="47" y="54"/>
                </a:cubicBezTo>
                <a:cubicBezTo>
                  <a:pt x="48" y="54"/>
                  <a:pt x="48" y="54"/>
                  <a:pt x="48" y="54"/>
                </a:cubicBezTo>
                <a:close/>
                <a:moveTo>
                  <a:pt x="51" y="56"/>
                </a:moveTo>
                <a:cubicBezTo>
                  <a:pt x="52" y="56"/>
                  <a:pt x="52" y="56"/>
                  <a:pt x="52" y="56"/>
                </a:cubicBezTo>
                <a:cubicBezTo>
                  <a:pt x="52" y="57"/>
                  <a:pt x="52" y="57"/>
                  <a:pt x="52" y="57"/>
                </a:cubicBezTo>
                <a:cubicBezTo>
                  <a:pt x="54" y="57"/>
                  <a:pt x="54" y="57"/>
                  <a:pt x="54" y="57"/>
                </a:cubicBezTo>
                <a:cubicBezTo>
                  <a:pt x="55" y="57"/>
                  <a:pt x="55" y="57"/>
                  <a:pt x="55" y="57"/>
                </a:cubicBezTo>
                <a:cubicBezTo>
                  <a:pt x="55" y="57"/>
                  <a:pt x="55" y="57"/>
                  <a:pt x="55" y="57"/>
                </a:cubicBezTo>
                <a:cubicBezTo>
                  <a:pt x="56" y="57"/>
                  <a:pt x="56" y="57"/>
                  <a:pt x="56" y="57"/>
                </a:cubicBezTo>
                <a:cubicBezTo>
                  <a:pt x="55" y="57"/>
                  <a:pt x="55" y="57"/>
                  <a:pt x="55" y="57"/>
                </a:cubicBezTo>
                <a:cubicBezTo>
                  <a:pt x="55" y="55"/>
                  <a:pt x="55" y="55"/>
                  <a:pt x="55" y="55"/>
                </a:cubicBezTo>
                <a:cubicBezTo>
                  <a:pt x="54" y="55"/>
                  <a:pt x="54" y="55"/>
                  <a:pt x="54" y="55"/>
                </a:cubicBezTo>
                <a:cubicBezTo>
                  <a:pt x="54" y="53"/>
                  <a:pt x="54" y="53"/>
                  <a:pt x="54" y="53"/>
                </a:cubicBezTo>
                <a:cubicBezTo>
                  <a:pt x="54" y="51"/>
                  <a:pt x="54" y="51"/>
                  <a:pt x="54" y="51"/>
                </a:cubicBezTo>
                <a:cubicBezTo>
                  <a:pt x="54" y="50"/>
                  <a:pt x="54" y="50"/>
                  <a:pt x="54" y="50"/>
                </a:cubicBezTo>
                <a:cubicBezTo>
                  <a:pt x="53" y="50"/>
                  <a:pt x="53" y="50"/>
                  <a:pt x="53" y="50"/>
                </a:cubicBezTo>
                <a:cubicBezTo>
                  <a:pt x="52" y="48"/>
                  <a:pt x="52" y="48"/>
                  <a:pt x="52" y="48"/>
                </a:cubicBezTo>
                <a:cubicBezTo>
                  <a:pt x="52" y="47"/>
                  <a:pt x="52" y="47"/>
                  <a:pt x="52" y="47"/>
                </a:cubicBezTo>
                <a:cubicBezTo>
                  <a:pt x="51" y="47"/>
                  <a:pt x="51" y="47"/>
                  <a:pt x="51" y="47"/>
                </a:cubicBezTo>
                <a:cubicBezTo>
                  <a:pt x="51" y="47"/>
                  <a:pt x="51" y="47"/>
                  <a:pt x="51" y="47"/>
                </a:cubicBezTo>
                <a:cubicBezTo>
                  <a:pt x="50" y="47"/>
                  <a:pt x="50" y="47"/>
                  <a:pt x="50" y="47"/>
                </a:cubicBezTo>
                <a:cubicBezTo>
                  <a:pt x="49" y="47"/>
                  <a:pt x="49" y="47"/>
                  <a:pt x="49" y="47"/>
                </a:cubicBezTo>
                <a:cubicBezTo>
                  <a:pt x="49" y="48"/>
                  <a:pt x="49" y="48"/>
                  <a:pt x="49" y="48"/>
                </a:cubicBezTo>
                <a:cubicBezTo>
                  <a:pt x="48" y="48"/>
                  <a:pt x="48" y="48"/>
                  <a:pt x="48" y="48"/>
                </a:cubicBezTo>
                <a:cubicBezTo>
                  <a:pt x="47" y="48"/>
                  <a:pt x="47" y="48"/>
                  <a:pt x="47" y="48"/>
                </a:cubicBezTo>
                <a:cubicBezTo>
                  <a:pt x="46" y="47"/>
                  <a:pt x="46" y="47"/>
                  <a:pt x="46" y="47"/>
                </a:cubicBezTo>
                <a:cubicBezTo>
                  <a:pt x="46" y="48"/>
                  <a:pt x="46" y="48"/>
                  <a:pt x="46" y="48"/>
                </a:cubicBezTo>
                <a:cubicBezTo>
                  <a:pt x="47" y="50"/>
                  <a:pt x="47" y="50"/>
                  <a:pt x="47" y="50"/>
                </a:cubicBezTo>
                <a:cubicBezTo>
                  <a:pt x="49" y="51"/>
                  <a:pt x="49" y="51"/>
                  <a:pt x="49" y="51"/>
                </a:cubicBezTo>
                <a:cubicBezTo>
                  <a:pt x="50" y="53"/>
                  <a:pt x="50" y="53"/>
                  <a:pt x="50" y="53"/>
                </a:cubicBezTo>
                <a:cubicBezTo>
                  <a:pt x="51" y="54"/>
                  <a:pt x="51" y="54"/>
                  <a:pt x="51" y="54"/>
                </a:cubicBezTo>
                <a:cubicBezTo>
                  <a:pt x="51" y="54"/>
                  <a:pt x="51" y="54"/>
                  <a:pt x="51" y="54"/>
                </a:cubicBezTo>
                <a:cubicBezTo>
                  <a:pt x="50" y="55"/>
                  <a:pt x="50" y="55"/>
                  <a:pt x="50" y="55"/>
                </a:cubicBezTo>
                <a:cubicBezTo>
                  <a:pt x="50" y="55"/>
                  <a:pt x="50" y="55"/>
                  <a:pt x="50" y="55"/>
                </a:cubicBezTo>
                <a:cubicBezTo>
                  <a:pt x="50" y="55"/>
                  <a:pt x="50" y="55"/>
                  <a:pt x="50" y="55"/>
                </a:cubicBezTo>
                <a:cubicBezTo>
                  <a:pt x="51" y="55"/>
                  <a:pt x="51" y="55"/>
                  <a:pt x="51" y="55"/>
                </a:cubicBezTo>
                <a:cubicBezTo>
                  <a:pt x="51" y="56"/>
                  <a:pt x="51" y="56"/>
                  <a:pt x="51" y="56"/>
                </a:cubicBezTo>
                <a:close/>
                <a:moveTo>
                  <a:pt x="50" y="56"/>
                </a:moveTo>
                <a:cubicBezTo>
                  <a:pt x="49" y="56"/>
                  <a:pt x="49" y="56"/>
                  <a:pt x="49" y="56"/>
                </a:cubicBezTo>
                <a:cubicBezTo>
                  <a:pt x="48" y="56"/>
                  <a:pt x="48" y="56"/>
                  <a:pt x="48" y="56"/>
                </a:cubicBezTo>
                <a:cubicBezTo>
                  <a:pt x="47" y="56"/>
                  <a:pt x="47" y="56"/>
                  <a:pt x="47" y="56"/>
                </a:cubicBezTo>
                <a:cubicBezTo>
                  <a:pt x="47" y="57"/>
                  <a:pt x="47" y="57"/>
                  <a:pt x="47" y="57"/>
                </a:cubicBezTo>
                <a:cubicBezTo>
                  <a:pt x="47" y="58"/>
                  <a:pt x="47" y="58"/>
                  <a:pt x="47" y="58"/>
                </a:cubicBezTo>
                <a:cubicBezTo>
                  <a:pt x="48" y="59"/>
                  <a:pt x="48" y="59"/>
                  <a:pt x="48" y="59"/>
                </a:cubicBezTo>
                <a:cubicBezTo>
                  <a:pt x="49" y="58"/>
                  <a:pt x="49" y="58"/>
                  <a:pt x="49" y="58"/>
                </a:cubicBezTo>
                <a:cubicBezTo>
                  <a:pt x="49" y="59"/>
                  <a:pt x="49" y="59"/>
                  <a:pt x="49" y="59"/>
                </a:cubicBezTo>
                <a:cubicBezTo>
                  <a:pt x="49" y="61"/>
                  <a:pt x="49" y="61"/>
                  <a:pt x="49" y="61"/>
                </a:cubicBezTo>
                <a:cubicBezTo>
                  <a:pt x="50" y="62"/>
                  <a:pt x="50" y="62"/>
                  <a:pt x="50" y="62"/>
                </a:cubicBezTo>
                <a:cubicBezTo>
                  <a:pt x="50" y="64"/>
                  <a:pt x="50" y="64"/>
                  <a:pt x="50" y="64"/>
                </a:cubicBezTo>
                <a:cubicBezTo>
                  <a:pt x="51" y="64"/>
                  <a:pt x="51" y="64"/>
                  <a:pt x="51" y="64"/>
                </a:cubicBezTo>
                <a:cubicBezTo>
                  <a:pt x="51" y="63"/>
                  <a:pt x="51" y="63"/>
                  <a:pt x="51" y="63"/>
                </a:cubicBezTo>
                <a:cubicBezTo>
                  <a:pt x="52" y="64"/>
                  <a:pt x="52" y="64"/>
                  <a:pt x="52" y="64"/>
                </a:cubicBezTo>
                <a:cubicBezTo>
                  <a:pt x="53" y="63"/>
                  <a:pt x="53" y="63"/>
                  <a:pt x="53" y="63"/>
                </a:cubicBezTo>
                <a:cubicBezTo>
                  <a:pt x="53" y="62"/>
                  <a:pt x="53" y="62"/>
                  <a:pt x="53" y="62"/>
                </a:cubicBezTo>
                <a:cubicBezTo>
                  <a:pt x="52" y="60"/>
                  <a:pt x="52" y="60"/>
                  <a:pt x="52" y="60"/>
                </a:cubicBezTo>
                <a:cubicBezTo>
                  <a:pt x="51" y="60"/>
                  <a:pt x="51" y="60"/>
                  <a:pt x="51" y="60"/>
                </a:cubicBezTo>
                <a:cubicBezTo>
                  <a:pt x="51" y="58"/>
                  <a:pt x="51" y="58"/>
                  <a:pt x="51" y="58"/>
                </a:cubicBezTo>
                <a:cubicBezTo>
                  <a:pt x="50" y="56"/>
                  <a:pt x="50" y="56"/>
                  <a:pt x="50" y="56"/>
                </a:cubicBezTo>
                <a:cubicBezTo>
                  <a:pt x="50" y="56"/>
                  <a:pt x="50" y="56"/>
                  <a:pt x="50" y="56"/>
                </a:cubicBezTo>
                <a:close/>
                <a:moveTo>
                  <a:pt x="56" y="59"/>
                </a:moveTo>
                <a:cubicBezTo>
                  <a:pt x="57" y="59"/>
                  <a:pt x="57" y="59"/>
                  <a:pt x="57" y="59"/>
                </a:cubicBezTo>
                <a:cubicBezTo>
                  <a:pt x="56" y="58"/>
                  <a:pt x="56" y="58"/>
                  <a:pt x="56" y="58"/>
                </a:cubicBezTo>
                <a:cubicBezTo>
                  <a:pt x="56" y="58"/>
                  <a:pt x="56" y="58"/>
                  <a:pt x="56" y="58"/>
                </a:cubicBezTo>
                <a:cubicBezTo>
                  <a:pt x="56" y="59"/>
                  <a:pt x="56" y="59"/>
                  <a:pt x="56" y="59"/>
                </a:cubicBezTo>
                <a:close/>
                <a:moveTo>
                  <a:pt x="56" y="60"/>
                </a:moveTo>
                <a:cubicBezTo>
                  <a:pt x="56" y="60"/>
                  <a:pt x="56" y="60"/>
                  <a:pt x="56" y="60"/>
                </a:cubicBezTo>
                <a:cubicBezTo>
                  <a:pt x="56" y="60"/>
                  <a:pt x="56" y="60"/>
                  <a:pt x="56" y="60"/>
                </a:cubicBezTo>
                <a:cubicBezTo>
                  <a:pt x="56" y="61"/>
                  <a:pt x="56" y="61"/>
                  <a:pt x="56" y="61"/>
                </a:cubicBezTo>
                <a:cubicBezTo>
                  <a:pt x="56" y="60"/>
                  <a:pt x="56" y="60"/>
                  <a:pt x="56" y="60"/>
                </a:cubicBezTo>
                <a:close/>
                <a:moveTo>
                  <a:pt x="56" y="66"/>
                </a:moveTo>
                <a:cubicBezTo>
                  <a:pt x="56" y="65"/>
                  <a:pt x="56" y="65"/>
                  <a:pt x="56" y="65"/>
                </a:cubicBezTo>
                <a:cubicBezTo>
                  <a:pt x="56" y="64"/>
                  <a:pt x="56" y="64"/>
                  <a:pt x="56" y="64"/>
                </a:cubicBezTo>
                <a:cubicBezTo>
                  <a:pt x="56" y="63"/>
                  <a:pt x="56" y="63"/>
                  <a:pt x="56" y="63"/>
                </a:cubicBezTo>
                <a:cubicBezTo>
                  <a:pt x="56" y="62"/>
                  <a:pt x="56" y="62"/>
                  <a:pt x="56" y="62"/>
                </a:cubicBezTo>
                <a:cubicBezTo>
                  <a:pt x="56" y="62"/>
                  <a:pt x="56" y="62"/>
                  <a:pt x="56" y="62"/>
                </a:cubicBezTo>
                <a:cubicBezTo>
                  <a:pt x="55" y="62"/>
                  <a:pt x="55" y="62"/>
                  <a:pt x="55" y="62"/>
                </a:cubicBezTo>
                <a:cubicBezTo>
                  <a:pt x="55" y="63"/>
                  <a:pt x="55" y="63"/>
                  <a:pt x="55" y="63"/>
                </a:cubicBezTo>
                <a:cubicBezTo>
                  <a:pt x="56" y="65"/>
                  <a:pt x="56" y="65"/>
                  <a:pt x="56" y="65"/>
                </a:cubicBezTo>
                <a:cubicBezTo>
                  <a:pt x="55" y="65"/>
                  <a:pt x="55" y="65"/>
                  <a:pt x="55" y="65"/>
                </a:cubicBezTo>
                <a:cubicBezTo>
                  <a:pt x="56" y="66"/>
                  <a:pt x="56" y="66"/>
                  <a:pt x="56" y="66"/>
                </a:cubicBezTo>
                <a:cubicBezTo>
                  <a:pt x="56" y="66"/>
                  <a:pt x="56" y="66"/>
                  <a:pt x="56" y="66"/>
                </a:cubicBezTo>
                <a:close/>
                <a:moveTo>
                  <a:pt x="58" y="67"/>
                </a:moveTo>
                <a:cubicBezTo>
                  <a:pt x="57" y="67"/>
                  <a:pt x="57" y="67"/>
                  <a:pt x="57" y="67"/>
                </a:cubicBezTo>
                <a:cubicBezTo>
                  <a:pt x="58" y="68"/>
                  <a:pt x="58" y="68"/>
                  <a:pt x="58" y="68"/>
                </a:cubicBezTo>
                <a:cubicBezTo>
                  <a:pt x="58" y="67"/>
                  <a:pt x="58" y="67"/>
                  <a:pt x="58" y="67"/>
                </a:cubicBezTo>
                <a:cubicBezTo>
                  <a:pt x="58" y="67"/>
                  <a:pt x="58" y="67"/>
                  <a:pt x="58" y="67"/>
                </a:cubicBezTo>
                <a:close/>
                <a:moveTo>
                  <a:pt x="58" y="64"/>
                </a:moveTo>
                <a:cubicBezTo>
                  <a:pt x="58" y="65"/>
                  <a:pt x="58" y="65"/>
                  <a:pt x="58" y="65"/>
                </a:cubicBezTo>
                <a:cubicBezTo>
                  <a:pt x="58" y="66"/>
                  <a:pt x="58" y="66"/>
                  <a:pt x="58" y="66"/>
                </a:cubicBezTo>
                <a:cubicBezTo>
                  <a:pt x="59" y="66"/>
                  <a:pt x="59" y="66"/>
                  <a:pt x="59" y="66"/>
                </a:cubicBezTo>
                <a:cubicBezTo>
                  <a:pt x="59" y="66"/>
                  <a:pt x="59" y="66"/>
                  <a:pt x="59" y="66"/>
                </a:cubicBezTo>
                <a:cubicBezTo>
                  <a:pt x="59" y="65"/>
                  <a:pt x="59" y="65"/>
                  <a:pt x="59" y="65"/>
                </a:cubicBezTo>
                <a:cubicBezTo>
                  <a:pt x="58" y="64"/>
                  <a:pt x="58" y="64"/>
                  <a:pt x="58" y="64"/>
                </a:cubicBezTo>
                <a:close/>
                <a:moveTo>
                  <a:pt x="34" y="86"/>
                </a:moveTo>
                <a:cubicBezTo>
                  <a:pt x="33" y="84"/>
                  <a:pt x="33" y="84"/>
                  <a:pt x="33" y="84"/>
                </a:cubicBezTo>
                <a:cubicBezTo>
                  <a:pt x="33" y="83"/>
                  <a:pt x="33" y="83"/>
                  <a:pt x="33" y="83"/>
                </a:cubicBezTo>
                <a:cubicBezTo>
                  <a:pt x="34" y="81"/>
                  <a:pt x="34" y="81"/>
                  <a:pt x="34" y="81"/>
                </a:cubicBezTo>
                <a:cubicBezTo>
                  <a:pt x="33" y="80"/>
                  <a:pt x="33" y="80"/>
                  <a:pt x="33" y="80"/>
                </a:cubicBezTo>
                <a:cubicBezTo>
                  <a:pt x="35" y="79"/>
                  <a:pt x="35" y="79"/>
                  <a:pt x="35" y="79"/>
                </a:cubicBezTo>
                <a:cubicBezTo>
                  <a:pt x="36" y="78"/>
                  <a:pt x="36" y="78"/>
                  <a:pt x="36" y="78"/>
                </a:cubicBezTo>
                <a:cubicBezTo>
                  <a:pt x="37" y="77"/>
                  <a:pt x="37" y="77"/>
                  <a:pt x="37" y="77"/>
                </a:cubicBezTo>
                <a:cubicBezTo>
                  <a:pt x="38" y="78"/>
                  <a:pt x="38" y="78"/>
                  <a:pt x="38" y="78"/>
                </a:cubicBezTo>
                <a:cubicBezTo>
                  <a:pt x="40" y="77"/>
                  <a:pt x="40" y="77"/>
                  <a:pt x="40" y="77"/>
                </a:cubicBezTo>
                <a:cubicBezTo>
                  <a:pt x="39" y="76"/>
                  <a:pt x="39" y="76"/>
                  <a:pt x="39" y="76"/>
                </a:cubicBezTo>
                <a:cubicBezTo>
                  <a:pt x="40" y="75"/>
                  <a:pt x="40" y="75"/>
                  <a:pt x="40" y="75"/>
                </a:cubicBezTo>
                <a:cubicBezTo>
                  <a:pt x="41" y="74"/>
                  <a:pt x="41" y="74"/>
                  <a:pt x="41" y="74"/>
                </a:cubicBezTo>
                <a:cubicBezTo>
                  <a:pt x="42" y="73"/>
                  <a:pt x="42" y="73"/>
                  <a:pt x="42" y="73"/>
                </a:cubicBezTo>
                <a:cubicBezTo>
                  <a:pt x="43" y="73"/>
                  <a:pt x="43" y="73"/>
                  <a:pt x="43" y="73"/>
                </a:cubicBezTo>
                <a:cubicBezTo>
                  <a:pt x="45" y="75"/>
                  <a:pt x="45" y="75"/>
                  <a:pt x="45" y="75"/>
                </a:cubicBezTo>
                <a:cubicBezTo>
                  <a:pt x="45" y="77"/>
                  <a:pt x="45" y="77"/>
                  <a:pt x="45" y="77"/>
                </a:cubicBezTo>
                <a:cubicBezTo>
                  <a:pt x="43" y="79"/>
                  <a:pt x="43" y="79"/>
                  <a:pt x="43" y="79"/>
                </a:cubicBezTo>
                <a:cubicBezTo>
                  <a:pt x="44" y="78"/>
                  <a:pt x="44" y="78"/>
                  <a:pt x="44" y="78"/>
                </a:cubicBezTo>
                <a:cubicBezTo>
                  <a:pt x="46" y="77"/>
                  <a:pt x="46" y="77"/>
                  <a:pt x="46" y="77"/>
                </a:cubicBezTo>
                <a:cubicBezTo>
                  <a:pt x="47" y="77"/>
                  <a:pt x="47" y="77"/>
                  <a:pt x="47" y="77"/>
                </a:cubicBezTo>
                <a:cubicBezTo>
                  <a:pt x="48" y="74"/>
                  <a:pt x="48" y="74"/>
                  <a:pt x="48" y="74"/>
                </a:cubicBezTo>
                <a:cubicBezTo>
                  <a:pt x="49" y="74"/>
                  <a:pt x="49" y="74"/>
                  <a:pt x="49" y="74"/>
                </a:cubicBezTo>
                <a:cubicBezTo>
                  <a:pt x="50" y="75"/>
                  <a:pt x="50" y="75"/>
                  <a:pt x="50" y="75"/>
                </a:cubicBezTo>
                <a:cubicBezTo>
                  <a:pt x="50" y="75"/>
                  <a:pt x="50" y="75"/>
                  <a:pt x="50" y="75"/>
                </a:cubicBezTo>
                <a:cubicBezTo>
                  <a:pt x="51" y="74"/>
                  <a:pt x="51" y="74"/>
                  <a:pt x="51" y="74"/>
                </a:cubicBezTo>
                <a:cubicBezTo>
                  <a:pt x="50" y="74"/>
                  <a:pt x="50" y="74"/>
                  <a:pt x="50" y="74"/>
                </a:cubicBezTo>
                <a:cubicBezTo>
                  <a:pt x="51" y="71"/>
                  <a:pt x="51" y="71"/>
                  <a:pt x="51" y="71"/>
                </a:cubicBezTo>
                <a:cubicBezTo>
                  <a:pt x="52" y="72"/>
                  <a:pt x="52" y="72"/>
                  <a:pt x="52" y="72"/>
                </a:cubicBezTo>
                <a:cubicBezTo>
                  <a:pt x="53" y="72"/>
                  <a:pt x="53" y="72"/>
                  <a:pt x="53" y="72"/>
                </a:cubicBezTo>
                <a:cubicBezTo>
                  <a:pt x="53" y="72"/>
                  <a:pt x="53" y="72"/>
                  <a:pt x="53" y="72"/>
                </a:cubicBezTo>
                <a:cubicBezTo>
                  <a:pt x="53" y="70"/>
                  <a:pt x="53" y="70"/>
                  <a:pt x="53" y="70"/>
                </a:cubicBezTo>
                <a:cubicBezTo>
                  <a:pt x="54" y="70"/>
                  <a:pt x="54" y="70"/>
                  <a:pt x="54" y="70"/>
                </a:cubicBezTo>
                <a:cubicBezTo>
                  <a:pt x="55" y="71"/>
                  <a:pt x="55" y="71"/>
                  <a:pt x="55" y="71"/>
                </a:cubicBezTo>
                <a:cubicBezTo>
                  <a:pt x="55" y="70"/>
                  <a:pt x="55" y="70"/>
                  <a:pt x="55" y="70"/>
                </a:cubicBezTo>
                <a:cubicBezTo>
                  <a:pt x="54" y="68"/>
                  <a:pt x="54" y="68"/>
                  <a:pt x="54" y="68"/>
                </a:cubicBezTo>
                <a:cubicBezTo>
                  <a:pt x="54" y="66"/>
                  <a:pt x="54" y="66"/>
                  <a:pt x="54" y="66"/>
                </a:cubicBezTo>
                <a:cubicBezTo>
                  <a:pt x="55" y="66"/>
                  <a:pt x="55" y="66"/>
                  <a:pt x="55" y="66"/>
                </a:cubicBezTo>
                <a:cubicBezTo>
                  <a:pt x="56" y="66"/>
                  <a:pt x="56" y="66"/>
                  <a:pt x="56" y="66"/>
                </a:cubicBezTo>
                <a:cubicBezTo>
                  <a:pt x="56" y="67"/>
                  <a:pt x="56" y="67"/>
                  <a:pt x="56" y="67"/>
                </a:cubicBezTo>
                <a:cubicBezTo>
                  <a:pt x="58" y="69"/>
                  <a:pt x="58" y="69"/>
                  <a:pt x="58" y="69"/>
                </a:cubicBezTo>
                <a:cubicBezTo>
                  <a:pt x="59" y="70"/>
                  <a:pt x="59" y="70"/>
                  <a:pt x="59" y="70"/>
                </a:cubicBezTo>
                <a:cubicBezTo>
                  <a:pt x="60" y="69"/>
                  <a:pt x="60" y="69"/>
                  <a:pt x="60" y="69"/>
                </a:cubicBezTo>
                <a:cubicBezTo>
                  <a:pt x="60" y="70"/>
                  <a:pt x="60" y="70"/>
                  <a:pt x="60" y="70"/>
                </a:cubicBezTo>
                <a:cubicBezTo>
                  <a:pt x="60" y="72"/>
                  <a:pt x="60" y="72"/>
                  <a:pt x="60" y="72"/>
                </a:cubicBezTo>
                <a:cubicBezTo>
                  <a:pt x="60" y="73"/>
                  <a:pt x="60" y="73"/>
                  <a:pt x="60" y="73"/>
                </a:cubicBezTo>
                <a:cubicBezTo>
                  <a:pt x="60" y="73"/>
                  <a:pt x="60" y="73"/>
                  <a:pt x="60" y="73"/>
                </a:cubicBezTo>
                <a:cubicBezTo>
                  <a:pt x="59" y="74"/>
                  <a:pt x="59" y="74"/>
                  <a:pt x="59" y="74"/>
                </a:cubicBezTo>
                <a:cubicBezTo>
                  <a:pt x="60" y="75"/>
                  <a:pt x="60" y="75"/>
                  <a:pt x="60" y="75"/>
                </a:cubicBezTo>
                <a:cubicBezTo>
                  <a:pt x="61" y="75"/>
                  <a:pt x="61" y="75"/>
                  <a:pt x="61" y="75"/>
                </a:cubicBezTo>
                <a:cubicBezTo>
                  <a:pt x="60" y="75"/>
                  <a:pt x="60" y="75"/>
                  <a:pt x="60" y="75"/>
                </a:cubicBezTo>
                <a:cubicBezTo>
                  <a:pt x="61" y="77"/>
                  <a:pt x="61" y="77"/>
                  <a:pt x="61" y="77"/>
                </a:cubicBezTo>
                <a:cubicBezTo>
                  <a:pt x="61" y="76"/>
                  <a:pt x="61" y="76"/>
                  <a:pt x="61" y="76"/>
                </a:cubicBezTo>
                <a:cubicBezTo>
                  <a:pt x="61" y="78"/>
                  <a:pt x="61" y="78"/>
                  <a:pt x="61" y="78"/>
                </a:cubicBezTo>
                <a:cubicBezTo>
                  <a:pt x="61" y="79"/>
                  <a:pt x="61" y="79"/>
                  <a:pt x="61" y="79"/>
                </a:cubicBezTo>
                <a:cubicBezTo>
                  <a:pt x="62" y="80"/>
                  <a:pt x="62" y="80"/>
                  <a:pt x="62" y="80"/>
                </a:cubicBezTo>
                <a:cubicBezTo>
                  <a:pt x="63" y="81"/>
                  <a:pt x="63" y="81"/>
                  <a:pt x="63" y="81"/>
                </a:cubicBezTo>
                <a:cubicBezTo>
                  <a:pt x="63" y="83"/>
                  <a:pt x="63" y="83"/>
                  <a:pt x="63" y="83"/>
                </a:cubicBezTo>
                <a:cubicBezTo>
                  <a:pt x="62" y="85"/>
                  <a:pt x="62" y="85"/>
                  <a:pt x="62" y="85"/>
                </a:cubicBezTo>
                <a:cubicBezTo>
                  <a:pt x="62" y="85"/>
                  <a:pt x="62" y="85"/>
                  <a:pt x="62" y="85"/>
                </a:cubicBezTo>
                <a:cubicBezTo>
                  <a:pt x="62" y="86"/>
                  <a:pt x="62" y="86"/>
                  <a:pt x="62" y="86"/>
                </a:cubicBezTo>
                <a:cubicBezTo>
                  <a:pt x="61" y="85"/>
                  <a:pt x="61" y="85"/>
                  <a:pt x="61" y="85"/>
                </a:cubicBezTo>
                <a:cubicBezTo>
                  <a:pt x="61" y="85"/>
                  <a:pt x="61" y="85"/>
                  <a:pt x="61" y="85"/>
                </a:cubicBezTo>
                <a:cubicBezTo>
                  <a:pt x="60" y="86"/>
                  <a:pt x="60" y="86"/>
                  <a:pt x="60" y="86"/>
                </a:cubicBezTo>
                <a:cubicBezTo>
                  <a:pt x="61" y="88"/>
                  <a:pt x="61" y="88"/>
                  <a:pt x="61" y="88"/>
                </a:cubicBezTo>
                <a:cubicBezTo>
                  <a:pt x="61" y="89"/>
                  <a:pt x="61" y="89"/>
                  <a:pt x="61" y="89"/>
                </a:cubicBezTo>
                <a:cubicBezTo>
                  <a:pt x="61" y="90"/>
                  <a:pt x="61" y="90"/>
                  <a:pt x="61" y="90"/>
                </a:cubicBezTo>
                <a:cubicBezTo>
                  <a:pt x="60" y="89"/>
                  <a:pt x="60" y="89"/>
                  <a:pt x="60" y="89"/>
                </a:cubicBezTo>
                <a:cubicBezTo>
                  <a:pt x="60" y="87"/>
                  <a:pt x="60" y="87"/>
                  <a:pt x="60" y="87"/>
                </a:cubicBezTo>
                <a:cubicBezTo>
                  <a:pt x="60" y="86"/>
                  <a:pt x="60" y="86"/>
                  <a:pt x="60" y="86"/>
                </a:cubicBezTo>
                <a:cubicBezTo>
                  <a:pt x="59" y="85"/>
                  <a:pt x="59" y="85"/>
                  <a:pt x="59" y="85"/>
                </a:cubicBezTo>
                <a:cubicBezTo>
                  <a:pt x="59" y="84"/>
                  <a:pt x="59" y="84"/>
                  <a:pt x="59" y="84"/>
                </a:cubicBezTo>
                <a:cubicBezTo>
                  <a:pt x="58" y="83"/>
                  <a:pt x="58" y="83"/>
                  <a:pt x="58" y="83"/>
                </a:cubicBezTo>
                <a:cubicBezTo>
                  <a:pt x="57" y="83"/>
                  <a:pt x="57" y="83"/>
                  <a:pt x="57" y="83"/>
                </a:cubicBezTo>
                <a:cubicBezTo>
                  <a:pt x="55" y="86"/>
                  <a:pt x="55" y="86"/>
                  <a:pt x="55" y="86"/>
                </a:cubicBezTo>
                <a:cubicBezTo>
                  <a:pt x="55" y="87"/>
                  <a:pt x="55" y="87"/>
                  <a:pt x="55" y="87"/>
                </a:cubicBezTo>
                <a:cubicBezTo>
                  <a:pt x="56" y="88"/>
                  <a:pt x="56" y="88"/>
                  <a:pt x="56" y="88"/>
                </a:cubicBezTo>
                <a:cubicBezTo>
                  <a:pt x="57" y="89"/>
                  <a:pt x="57" y="89"/>
                  <a:pt x="57" y="89"/>
                </a:cubicBezTo>
                <a:cubicBezTo>
                  <a:pt x="58" y="90"/>
                  <a:pt x="58" y="90"/>
                  <a:pt x="58" y="90"/>
                </a:cubicBezTo>
                <a:cubicBezTo>
                  <a:pt x="58" y="91"/>
                  <a:pt x="58" y="91"/>
                  <a:pt x="58" y="91"/>
                </a:cubicBezTo>
                <a:cubicBezTo>
                  <a:pt x="56" y="94"/>
                  <a:pt x="56" y="94"/>
                  <a:pt x="56" y="94"/>
                </a:cubicBezTo>
                <a:cubicBezTo>
                  <a:pt x="55" y="94"/>
                  <a:pt x="55" y="94"/>
                  <a:pt x="55" y="94"/>
                </a:cubicBezTo>
                <a:cubicBezTo>
                  <a:pt x="55" y="94"/>
                  <a:pt x="55" y="94"/>
                  <a:pt x="55" y="94"/>
                </a:cubicBezTo>
                <a:cubicBezTo>
                  <a:pt x="54" y="93"/>
                  <a:pt x="54" y="93"/>
                  <a:pt x="54" y="93"/>
                </a:cubicBezTo>
                <a:cubicBezTo>
                  <a:pt x="55" y="92"/>
                  <a:pt x="55" y="92"/>
                  <a:pt x="55" y="92"/>
                </a:cubicBezTo>
                <a:cubicBezTo>
                  <a:pt x="54" y="91"/>
                  <a:pt x="54" y="91"/>
                  <a:pt x="54" y="91"/>
                </a:cubicBezTo>
                <a:cubicBezTo>
                  <a:pt x="54" y="92"/>
                  <a:pt x="54" y="92"/>
                  <a:pt x="54" y="92"/>
                </a:cubicBezTo>
                <a:cubicBezTo>
                  <a:pt x="53" y="92"/>
                  <a:pt x="53" y="92"/>
                  <a:pt x="53" y="92"/>
                </a:cubicBezTo>
                <a:cubicBezTo>
                  <a:pt x="52" y="93"/>
                  <a:pt x="52" y="93"/>
                  <a:pt x="52" y="93"/>
                </a:cubicBezTo>
                <a:cubicBezTo>
                  <a:pt x="51" y="92"/>
                  <a:pt x="51" y="92"/>
                  <a:pt x="51" y="92"/>
                </a:cubicBezTo>
                <a:cubicBezTo>
                  <a:pt x="50" y="91"/>
                  <a:pt x="50" y="91"/>
                  <a:pt x="50" y="91"/>
                </a:cubicBezTo>
                <a:cubicBezTo>
                  <a:pt x="49" y="91"/>
                  <a:pt x="49" y="91"/>
                  <a:pt x="49" y="91"/>
                </a:cubicBezTo>
                <a:cubicBezTo>
                  <a:pt x="47" y="90"/>
                  <a:pt x="47" y="90"/>
                  <a:pt x="47" y="90"/>
                </a:cubicBezTo>
                <a:cubicBezTo>
                  <a:pt x="47" y="89"/>
                  <a:pt x="47" y="89"/>
                  <a:pt x="47" y="89"/>
                </a:cubicBezTo>
                <a:cubicBezTo>
                  <a:pt x="46" y="88"/>
                  <a:pt x="46" y="88"/>
                  <a:pt x="46" y="88"/>
                </a:cubicBezTo>
                <a:cubicBezTo>
                  <a:pt x="47" y="87"/>
                  <a:pt x="47" y="87"/>
                  <a:pt x="47" y="87"/>
                </a:cubicBezTo>
                <a:cubicBezTo>
                  <a:pt x="46" y="86"/>
                  <a:pt x="46" y="86"/>
                  <a:pt x="46" y="86"/>
                </a:cubicBezTo>
                <a:cubicBezTo>
                  <a:pt x="46" y="85"/>
                  <a:pt x="46" y="85"/>
                  <a:pt x="46" y="85"/>
                </a:cubicBezTo>
                <a:cubicBezTo>
                  <a:pt x="46" y="85"/>
                  <a:pt x="46" y="85"/>
                  <a:pt x="46" y="85"/>
                </a:cubicBezTo>
                <a:cubicBezTo>
                  <a:pt x="46" y="84"/>
                  <a:pt x="46" y="84"/>
                  <a:pt x="46" y="84"/>
                </a:cubicBezTo>
                <a:cubicBezTo>
                  <a:pt x="47" y="84"/>
                  <a:pt x="47" y="84"/>
                  <a:pt x="47" y="84"/>
                </a:cubicBezTo>
                <a:cubicBezTo>
                  <a:pt x="48" y="84"/>
                  <a:pt x="48" y="84"/>
                  <a:pt x="48" y="84"/>
                </a:cubicBezTo>
                <a:cubicBezTo>
                  <a:pt x="47" y="83"/>
                  <a:pt x="47" y="83"/>
                  <a:pt x="47" y="83"/>
                </a:cubicBezTo>
                <a:cubicBezTo>
                  <a:pt x="47" y="82"/>
                  <a:pt x="47" y="82"/>
                  <a:pt x="47" y="82"/>
                </a:cubicBezTo>
                <a:cubicBezTo>
                  <a:pt x="45" y="81"/>
                  <a:pt x="45" y="81"/>
                  <a:pt x="45" y="81"/>
                </a:cubicBezTo>
                <a:cubicBezTo>
                  <a:pt x="44" y="81"/>
                  <a:pt x="44" y="81"/>
                  <a:pt x="44" y="81"/>
                </a:cubicBezTo>
                <a:cubicBezTo>
                  <a:pt x="43" y="80"/>
                  <a:pt x="43" y="80"/>
                  <a:pt x="43" y="80"/>
                </a:cubicBezTo>
                <a:cubicBezTo>
                  <a:pt x="43" y="80"/>
                  <a:pt x="43" y="80"/>
                  <a:pt x="43" y="80"/>
                </a:cubicBezTo>
                <a:cubicBezTo>
                  <a:pt x="42" y="80"/>
                  <a:pt x="42" y="80"/>
                  <a:pt x="42" y="80"/>
                </a:cubicBezTo>
                <a:cubicBezTo>
                  <a:pt x="42" y="81"/>
                  <a:pt x="42" y="81"/>
                  <a:pt x="42" y="81"/>
                </a:cubicBezTo>
                <a:cubicBezTo>
                  <a:pt x="42" y="82"/>
                  <a:pt x="42" y="82"/>
                  <a:pt x="42" y="82"/>
                </a:cubicBezTo>
                <a:cubicBezTo>
                  <a:pt x="43" y="83"/>
                  <a:pt x="43" y="83"/>
                  <a:pt x="43" y="83"/>
                </a:cubicBezTo>
                <a:cubicBezTo>
                  <a:pt x="42" y="82"/>
                  <a:pt x="42" y="82"/>
                  <a:pt x="42" y="82"/>
                </a:cubicBezTo>
                <a:cubicBezTo>
                  <a:pt x="41" y="82"/>
                  <a:pt x="41" y="82"/>
                  <a:pt x="41" y="82"/>
                </a:cubicBezTo>
                <a:cubicBezTo>
                  <a:pt x="41" y="82"/>
                  <a:pt x="41" y="82"/>
                  <a:pt x="41" y="82"/>
                </a:cubicBezTo>
                <a:cubicBezTo>
                  <a:pt x="41" y="81"/>
                  <a:pt x="41" y="81"/>
                  <a:pt x="41" y="81"/>
                </a:cubicBezTo>
                <a:cubicBezTo>
                  <a:pt x="40" y="81"/>
                  <a:pt x="40" y="81"/>
                  <a:pt x="40" y="81"/>
                </a:cubicBezTo>
                <a:cubicBezTo>
                  <a:pt x="40" y="81"/>
                  <a:pt x="40" y="81"/>
                  <a:pt x="40" y="81"/>
                </a:cubicBezTo>
                <a:cubicBezTo>
                  <a:pt x="40" y="82"/>
                  <a:pt x="40" y="82"/>
                  <a:pt x="40" y="82"/>
                </a:cubicBezTo>
                <a:cubicBezTo>
                  <a:pt x="39" y="82"/>
                  <a:pt x="39" y="82"/>
                  <a:pt x="39" y="82"/>
                </a:cubicBezTo>
                <a:cubicBezTo>
                  <a:pt x="38" y="82"/>
                  <a:pt x="38" y="82"/>
                  <a:pt x="38" y="82"/>
                </a:cubicBezTo>
                <a:cubicBezTo>
                  <a:pt x="38" y="82"/>
                  <a:pt x="38" y="82"/>
                  <a:pt x="38" y="82"/>
                </a:cubicBezTo>
                <a:cubicBezTo>
                  <a:pt x="38" y="81"/>
                  <a:pt x="38" y="81"/>
                  <a:pt x="38" y="81"/>
                </a:cubicBezTo>
                <a:cubicBezTo>
                  <a:pt x="37" y="80"/>
                  <a:pt x="37" y="80"/>
                  <a:pt x="37" y="80"/>
                </a:cubicBezTo>
                <a:cubicBezTo>
                  <a:pt x="37" y="80"/>
                  <a:pt x="37" y="80"/>
                  <a:pt x="37" y="80"/>
                </a:cubicBezTo>
                <a:cubicBezTo>
                  <a:pt x="36" y="82"/>
                  <a:pt x="36" y="82"/>
                  <a:pt x="36" y="82"/>
                </a:cubicBezTo>
                <a:cubicBezTo>
                  <a:pt x="35" y="82"/>
                  <a:pt x="35" y="82"/>
                  <a:pt x="35" y="82"/>
                </a:cubicBezTo>
                <a:cubicBezTo>
                  <a:pt x="34" y="85"/>
                  <a:pt x="34" y="85"/>
                  <a:pt x="34" y="85"/>
                </a:cubicBezTo>
                <a:cubicBezTo>
                  <a:pt x="34" y="86"/>
                  <a:pt x="34" y="86"/>
                  <a:pt x="34" y="86"/>
                </a:cubicBezTo>
                <a:close/>
                <a:moveTo>
                  <a:pt x="32" y="87"/>
                </a:moveTo>
                <a:cubicBezTo>
                  <a:pt x="32" y="88"/>
                  <a:pt x="32" y="88"/>
                  <a:pt x="32" y="88"/>
                </a:cubicBezTo>
                <a:cubicBezTo>
                  <a:pt x="33" y="89"/>
                  <a:pt x="33" y="89"/>
                  <a:pt x="33" y="89"/>
                </a:cubicBezTo>
                <a:cubicBezTo>
                  <a:pt x="34" y="89"/>
                  <a:pt x="34" y="89"/>
                  <a:pt x="34" y="89"/>
                </a:cubicBezTo>
                <a:cubicBezTo>
                  <a:pt x="35" y="88"/>
                  <a:pt x="35" y="88"/>
                  <a:pt x="35" y="88"/>
                </a:cubicBezTo>
                <a:cubicBezTo>
                  <a:pt x="35" y="87"/>
                  <a:pt x="35" y="87"/>
                  <a:pt x="35" y="87"/>
                </a:cubicBezTo>
                <a:cubicBezTo>
                  <a:pt x="35" y="87"/>
                  <a:pt x="35" y="87"/>
                  <a:pt x="35" y="87"/>
                </a:cubicBezTo>
                <a:cubicBezTo>
                  <a:pt x="34" y="87"/>
                  <a:pt x="34" y="87"/>
                  <a:pt x="34" y="87"/>
                </a:cubicBezTo>
                <a:cubicBezTo>
                  <a:pt x="33" y="87"/>
                  <a:pt x="33" y="87"/>
                  <a:pt x="33" y="87"/>
                </a:cubicBezTo>
                <a:cubicBezTo>
                  <a:pt x="32" y="87"/>
                  <a:pt x="32" y="87"/>
                  <a:pt x="32" y="87"/>
                </a:cubicBezTo>
                <a:close/>
                <a:moveTo>
                  <a:pt x="18" y="51"/>
                </a:moveTo>
                <a:cubicBezTo>
                  <a:pt x="17" y="50"/>
                  <a:pt x="17" y="50"/>
                  <a:pt x="17" y="50"/>
                </a:cubicBezTo>
                <a:cubicBezTo>
                  <a:pt x="17" y="50"/>
                  <a:pt x="17" y="50"/>
                  <a:pt x="17" y="50"/>
                </a:cubicBezTo>
                <a:cubicBezTo>
                  <a:pt x="17" y="49"/>
                  <a:pt x="17" y="49"/>
                  <a:pt x="17" y="49"/>
                </a:cubicBezTo>
                <a:cubicBezTo>
                  <a:pt x="18" y="49"/>
                  <a:pt x="18" y="49"/>
                  <a:pt x="18" y="49"/>
                </a:cubicBezTo>
                <a:cubicBezTo>
                  <a:pt x="19" y="50"/>
                  <a:pt x="19" y="50"/>
                  <a:pt x="19" y="50"/>
                </a:cubicBezTo>
                <a:cubicBezTo>
                  <a:pt x="20" y="50"/>
                  <a:pt x="20" y="50"/>
                  <a:pt x="20" y="50"/>
                </a:cubicBezTo>
                <a:cubicBezTo>
                  <a:pt x="20" y="51"/>
                  <a:pt x="20" y="51"/>
                  <a:pt x="20" y="51"/>
                </a:cubicBezTo>
                <a:cubicBezTo>
                  <a:pt x="20" y="52"/>
                  <a:pt x="20" y="52"/>
                  <a:pt x="20" y="52"/>
                </a:cubicBezTo>
                <a:cubicBezTo>
                  <a:pt x="19" y="51"/>
                  <a:pt x="19" y="51"/>
                  <a:pt x="19" y="51"/>
                </a:cubicBezTo>
                <a:cubicBezTo>
                  <a:pt x="18" y="51"/>
                  <a:pt x="18" y="51"/>
                  <a:pt x="18" y="51"/>
                </a:cubicBezTo>
                <a:close/>
                <a:moveTo>
                  <a:pt x="17" y="52"/>
                </a:moveTo>
                <a:cubicBezTo>
                  <a:pt x="18" y="52"/>
                  <a:pt x="18" y="52"/>
                  <a:pt x="18" y="52"/>
                </a:cubicBezTo>
                <a:cubicBezTo>
                  <a:pt x="19" y="53"/>
                  <a:pt x="19" y="53"/>
                  <a:pt x="19" y="53"/>
                </a:cubicBezTo>
                <a:cubicBezTo>
                  <a:pt x="18" y="53"/>
                  <a:pt x="18" y="53"/>
                  <a:pt x="18" y="53"/>
                </a:cubicBezTo>
                <a:cubicBezTo>
                  <a:pt x="18" y="54"/>
                  <a:pt x="18" y="54"/>
                  <a:pt x="18" y="54"/>
                </a:cubicBezTo>
                <a:cubicBezTo>
                  <a:pt x="17" y="54"/>
                  <a:pt x="17" y="54"/>
                  <a:pt x="17" y="54"/>
                </a:cubicBezTo>
                <a:cubicBezTo>
                  <a:pt x="17" y="52"/>
                  <a:pt x="17" y="52"/>
                  <a:pt x="17" y="52"/>
                </a:cubicBezTo>
                <a:cubicBezTo>
                  <a:pt x="17" y="52"/>
                  <a:pt x="17" y="52"/>
                  <a:pt x="17" y="52"/>
                </a:cubicBezTo>
                <a:close/>
                <a:moveTo>
                  <a:pt x="18" y="61"/>
                </a:moveTo>
                <a:cubicBezTo>
                  <a:pt x="18" y="61"/>
                  <a:pt x="18" y="61"/>
                  <a:pt x="18" y="61"/>
                </a:cubicBezTo>
                <a:cubicBezTo>
                  <a:pt x="18" y="60"/>
                  <a:pt x="18" y="60"/>
                  <a:pt x="18" y="60"/>
                </a:cubicBezTo>
                <a:cubicBezTo>
                  <a:pt x="19" y="61"/>
                  <a:pt x="19" y="61"/>
                  <a:pt x="19" y="61"/>
                </a:cubicBezTo>
                <a:cubicBezTo>
                  <a:pt x="19" y="61"/>
                  <a:pt x="19" y="61"/>
                  <a:pt x="19" y="61"/>
                </a:cubicBezTo>
                <a:cubicBezTo>
                  <a:pt x="19" y="62"/>
                  <a:pt x="19" y="62"/>
                  <a:pt x="19" y="62"/>
                </a:cubicBezTo>
                <a:cubicBezTo>
                  <a:pt x="18" y="62"/>
                  <a:pt x="18" y="62"/>
                  <a:pt x="18" y="62"/>
                </a:cubicBezTo>
                <a:cubicBezTo>
                  <a:pt x="17" y="62"/>
                  <a:pt x="17" y="62"/>
                  <a:pt x="17" y="62"/>
                </a:cubicBezTo>
                <a:cubicBezTo>
                  <a:pt x="18" y="61"/>
                  <a:pt x="18" y="61"/>
                  <a:pt x="18" y="61"/>
                </a:cubicBezTo>
                <a:close/>
                <a:moveTo>
                  <a:pt x="2" y="75"/>
                </a:moveTo>
                <a:cubicBezTo>
                  <a:pt x="4" y="74"/>
                  <a:pt x="4" y="74"/>
                  <a:pt x="4" y="74"/>
                </a:cubicBezTo>
                <a:cubicBezTo>
                  <a:pt x="4" y="74"/>
                  <a:pt x="4" y="74"/>
                  <a:pt x="4" y="74"/>
                </a:cubicBezTo>
                <a:cubicBezTo>
                  <a:pt x="5" y="73"/>
                  <a:pt x="5" y="73"/>
                  <a:pt x="5" y="73"/>
                </a:cubicBezTo>
                <a:cubicBezTo>
                  <a:pt x="7" y="73"/>
                  <a:pt x="7" y="73"/>
                  <a:pt x="7" y="73"/>
                </a:cubicBezTo>
                <a:cubicBezTo>
                  <a:pt x="8" y="71"/>
                  <a:pt x="8" y="71"/>
                  <a:pt x="8" y="71"/>
                </a:cubicBezTo>
                <a:cubicBezTo>
                  <a:pt x="9" y="70"/>
                  <a:pt x="9" y="70"/>
                  <a:pt x="9" y="70"/>
                </a:cubicBezTo>
                <a:cubicBezTo>
                  <a:pt x="10" y="69"/>
                  <a:pt x="10" y="69"/>
                  <a:pt x="10" y="69"/>
                </a:cubicBezTo>
                <a:cubicBezTo>
                  <a:pt x="11" y="69"/>
                  <a:pt x="11" y="69"/>
                  <a:pt x="11" y="69"/>
                </a:cubicBezTo>
                <a:cubicBezTo>
                  <a:pt x="11" y="68"/>
                  <a:pt x="11" y="68"/>
                  <a:pt x="11" y="68"/>
                </a:cubicBezTo>
                <a:cubicBezTo>
                  <a:pt x="11" y="66"/>
                  <a:pt x="11" y="66"/>
                  <a:pt x="11" y="66"/>
                </a:cubicBezTo>
                <a:cubicBezTo>
                  <a:pt x="12" y="65"/>
                  <a:pt x="12" y="65"/>
                  <a:pt x="12" y="65"/>
                </a:cubicBezTo>
                <a:cubicBezTo>
                  <a:pt x="14" y="65"/>
                  <a:pt x="14" y="65"/>
                  <a:pt x="14" y="65"/>
                </a:cubicBezTo>
                <a:cubicBezTo>
                  <a:pt x="14" y="63"/>
                  <a:pt x="14" y="63"/>
                  <a:pt x="14" y="63"/>
                </a:cubicBezTo>
                <a:cubicBezTo>
                  <a:pt x="15" y="62"/>
                  <a:pt x="15" y="62"/>
                  <a:pt x="15" y="62"/>
                </a:cubicBezTo>
                <a:cubicBezTo>
                  <a:pt x="16" y="62"/>
                  <a:pt x="16" y="62"/>
                  <a:pt x="16" y="62"/>
                </a:cubicBezTo>
                <a:cubicBezTo>
                  <a:pt x="17" y="61"/>
                  <a:pt x="17" y="61"/>
                  <a:pt x="17" y="61"/>
                </a:cubicBezTo>
                <a:cubicBezTo>
                  <a:pt x="16" y="60"/>
                  <a:pt x="16" y="60"/>
                  <a:pt x="16" y="60"/>
                </a:cubicBezTo>
                <a:cubicBezTo>
                  <a:pt x="15" y="59"/>
                  <a:pt x="15" y="59"/>
                  <a:pt x="15" y="59"/>
                </a:cubicBezTo>
                <a:cubicBezTo>
                  <a:pt x="15" y="57"/>
                  <a:pt x="15" y="57"/>
                  <a:pt x="15" y="57"/>
                </a:cubicBezTo>
                <a:cubicBezTo>
                  <a:pt x="15" y="56"/>
                  <a:pt x="15" y="56"/>
                  <a:pt x="15" y="56"/>
                </a:cubicBezTo>
                <a:cubicBezTo>
                  <a:pt x="15" y="56"/>
                  <a:pt x="15" y="56"/>
                  <a:pt x="15" y="56"/>
                </a:cubicBezTo>
                <a:cubicBezTo>
                  <a:pt x="14" y="58"/>
                  <a:pt x="14" y="58"/>
                  <a:pt x="14" y="58"/>
                </a:cubicBezTo>
                <a:cubicBezTo>
                  <a:pt x="15" y="60"/>
                  <a:pt x="15" y="60"/>
                  <a:pt x="15" y="60"/>
                </a:cubicBezTo>
                <a:cubicBezTo>
                  <a:pt x="14" y="59"/>
                  <a:pt x="14" y="59"/>
                  <a:pt x="14" y="59"/>
                </a:cubicBezTo>
                <a:cubicBezTo>
                  <a:pt x="14" y="60"/>
                  <a:pt x="14" y="60"/>
                  <a:pt x="14" y="60"/>
                </a:cubicBezTo>
                <a:cubicBezTo>
                  <a:pt x="14" y="61"/>
                  <a:pt x="14" y="61"/>
                  <a:pt x="14" y="61"/>
                </a:cubicBezTo>
                <a:cubicBezTo>
                  <a:pt x="13" y="62"/>
                  <a:pt x="13" y="62"/>
                  <a:pt x="13" y="62"/>
                </a:cubicBezTo>
                <a:cubicBezTo>
                  <a:pt x="13" y="62"/>
                  <a:pt x="13" y="62"/>
                  <a:pt x="13" y="62"/>
                </a:cubicBezTo>
                <a:cubicBezTo>
                  <a:pt x="11" y="64"/>
                  <a:pt x="11" y="64"/>
                  <a:pt x="11" y="64"/>
                </a:cubicBezTo>
                <a:cubicBezTo>
                  <a:pt x="11" y="64"/>
                  <a:pt x="11" y="64"/>
                  <a:pt x="11" y="64"/>
                </a:cubicBezTo>
                <a:cubicBezTo>
                  <a:pt x="10" y="65"/>
                  <a:pt x="10" y="65"/>
                  <a:pt x="10" y="65"/>
                </a:cubicBezTo>
                <a:cubicBezTo>
                  <a:pt x="9" y="68"/>
                  <a:pt x="9" y="68"/>
                  <a:pt x="9" y="68"/>
                </a:cubicBezTo>
                <a:cubicBezTo>
                  <a:pt x="7" y="70"/>
                  <a:pt x="7" y="70"/>
                  <a:pt x="7" y="70"/>
                </a:cubicBezTo>
                <a:cubicBezTo>
                  <a:pt x="6" y="70"/>
                  <a:pt x="6" y="70"/>
                  <a:pt x="6" y="70"/>
                </a:cubicBezTo>
                <a:cubicBezTo>
                  <a:pt x="5" y="72"/>
                  <a:pt x="5" y="72"/>
                  <a:pt x="5" y="72"/>
                </a:cubicBezTo>
                <a:cubicBezTo>
                  <a:pt x="4" y="72"/>
                  <a:pt x="4" y="72"/>
                  <a:pt x="4" y="72"/>
                </a:cubicBezTo>
                <a:cubicBezTo>
                  <a:pt x="3" y="74"/>
                  <a:pt x="3" y="74"/>
                  <a:pt x="3" y="74"/>
                </a:cubicBezTo>
                <a:cubicBezTo>
                  <a:pt x="2" y="75"/>
                  <a:pt x="2" y="75"/>
                  <a:pt x="2" y="75"/>
                </a:cubicBezTo>
                <a:cubicBezTo>
                  <a:pt x="2" y="75"/>
                  <a:pt x="2" y="75"/>
                  <a:pt x="2" y="75"/>
                </a:cubicBezTo>
                <a:close/>
                <a:moveTo>
                  <a:pt x="3" y="76"/>
                </a:moveTo>
                <a:cubicBezTo>
                  <a:pt x="2" y="76"/>
                  <a:pt x="2" y="76"/>
                  <a:pt x="2" y="76"/>
                </a:cubicBezTo>
                <a:cubicBezTo>
                  <a:pt x="3" y="76"/>
                  <a:pt x="3" y="76"/>
                  <a:pt x="3" y="76"/>
                </a:cubicBezTo>
                <a:cubicBezTo>
                  <a:pt x="3" y="76"/>
                  <a:pt x="3" y="76"/>
                  <a:pt x="3" y="76"/>
                </a:cubicBezTo>
                <a:close/>
                <a:moveTo>
                  <a:pt x="3" y="76"/>
                </a:moveTo>
                <a:cubicBezTo>
                  <a:pt x="3" y="76"/>
                  <a:pt x="3" y="76"/>
                  <a:pt x="3" y="76"/>
                </a:cubicBezTo>
                <a:cubicBezTo>
                  <a:pt x="3" y="77"/>
                  <a:pt x="3" y="77"/>
                  <a:pt x="3" y="77"/>
                </a:cubicBezTo>
                <a:cubicBezTo>
                  <a:pt x="3" y="76"/>
                  <a:pt x="3" y="76"/>
                  <a:pt x="3" y="76"/>
                </a:cubicBezTo>
                <a:close/>
                <a:moveTo>
                  <a:pt x="1" y="77"/>
                </a:moveTo>
                <a:cubicBezTo>
                  <a:pt x="0" y="78"/>
                  <a:pt x="0" y="78"/>
                  <a:pt x="0" y="78"/>
                </a:cubicBezTo>
                <a:cubicBezTo>
                  <a:pt x="0" y="79"/>
                  <a:pt x="0" y="79"/>
                  <a:pt x="0" y="79"/>
                </a:cubicBezTo>
                <a:cubicBezTo>
                  <a:pt x="1" y="80"/>
                  <a:pt x="1" y="80"/>
                  <a:pt x="1" y="80"/>
                </a:cubicBezTo>
                <a:cubicBezTo>
                  <a:pt x="2" y="80"/>
                  <a:pt x="2" y="80"/>
                  <a:pt x="2" y="80"/>
                </a:cubicBezTo>
                <a:cubicBezTo>
                  <a:pt x="2" y="78"/>
                  <a:pt x="2" y="78"/>
                  <a:pt x="2" y="78"/>
                </a:cubicBezTo>
                <a:cubicBezTo>
                  <a:pt x="2" y="78"/>
                  <a:pt x="2" y="78"/>
                  <a:pt x="2" y="78"/>
                </a:cubicBezTo>
                <a:lnTo>
                  <a:pt x="1" y="77"/>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7" name="Freeform 25">
            <a:extLst>
              <a:ext uri="{FF2B5EF4-FFF2-40B4-BE49-F238E27FC236}">
                <a16:creationId xmlns:a16="http://schemas.microsoft.com/office/drawing/2014/main" id="{8981A820-1401-4BFF-CBAF-D3AD2D0B5D85}"/>
              </a:ext>
            </a:extLst>
          </p:cNvPr>
          <p:cNvSpPr>
            <a:spLocks noEditPoints="1"/>
          </p:cNvSpPr>
          <p:nvPr userDrawn="1"/>
        </p:nvSpPr>
        <p:spPr bwMode="auto">
          <a:xfrm>
            <a:off x="19131303" y="8968656"/>
            <a:ext cx="2870013" cy="1143000"/>
          </a:xfrm>
          <a:custGeom>
            <a:avLst/>
            <a:gdLst>
              <a:gd name="T0" fmla="*/ 276 w 289"/>
              <a:gd name="T1" fmla="*/ 90 h 115"/>
              <a:gd name="T2" fmla="*/ 261 w 289"/>
              <a:gd name="T3" fmla="*/ 74 h 115"/>
              <a:gd name="T4" fmla="*/ 240 w 289"/>
              <a:gd name="T5" fmla="*/ 70 h 115"/>
              <a:gd name="T6" fmla="*/ 238 w 289"/>
              <a:gd name="T7" fmla="*/ 58 h 115"/>
              <a:gd name="T8" fmla="*/ 247 w 289"/>
              <a:gd name="T9" fmla="*/ 51 h 115"/>
              <a:gd name="T10" fmla="*/ 265 w 289"/>
              <a:gd name="T11" fmla="*/ 56 h 115"/>
              <a:gd name="T12" fmla="*/ 224 w 289"/>
              <a:gd name="T13" fmla="*/ 44 h 115"/>
              <a:gd name="T14" fmla="*/ 190 w 289"/>
              <a:gd name="T15" fmla="*/ 21 h 115"/>
              <a:gd name="T16" fmla="*/ 207 w 289"/>
              <a:gd name="T17" fmla="*/ 47 h 115"/>
              <a:gd name="T18" fmla="*/ 212 w 289"/>
              <a:gd name="T19" fmla="*/ 33 h 115"/>
              <a:gd name="T20" fmla="*/ 204 w 289"/>
              <a:gd name="T21" fmla="*/ 49 h 115"/>
              <a:gd name="T22" fmla="*/ 210 w 289"/>
              <a:gd name="T23" fmla="*/ 67 h 115"/>
              <a:gd name="T24" fmla="*/ 221 w 289"/>
              <a:gd name="T25" fmla="*/ 67 h 115"/>
              <a:gd name="T26" fmla="*/ 194 w 289"/>
              <a:gd name="T27" fmla="*/ 67 h 115"/>
              <a:gd name="T28" fmla="*/ 192 w 289"/>
              <a:gd name="T29" fmla="*/ 56 h 115"/>
              <a:gd name="T30" fmla="*/ 175 w 289"/>
              <a:gd name="T31" fmla="*/ 77 h 115"/>
              <a:gd name="T32" fmla="*/ 175 w 289"/>
              <a:gd name="T33" fmla="*/ 56 h 115"/>
              <a:gd name="T34" fmla="*/ 168 w 289"/>
              <a:gd name="T35" fmla="*/ 47 h 115"/>
              <a:gd name="T36" fmla="*/ 185 w 289"/>
              <a:gd name="T37" fmla="*/ 35 h 115"/>
              <a:gd name="T38" fmla="*/ 155 w 289"/>
              <a:gd name="T39" fmla="*/ 48 h 115"/>
              <a:gd name="T40" fmla="*/ 153 w 289"/>
              <a:gd name="T41" fmla="*/ 80 h 115"/>
              <a:gd name="T42" fmla="*/ 165 w 289"/>
              <a:gd name="T43" fmla="*/ 71 h 115"/>
              <a:gd name="T44" fmla="*/ 171 w 289"/>
              <a:gd name="T45" fmla="*/ 65 h 115"/>
              <a:gd name="T46" fmla="*/ 171 w 289"/>
              <a:gd name="T47" fmla="*/ 48 h 115"/>
              <a:gd name="T48" fmla="*/ 151 w 289"/>
              <a:gd name="T49" fmla="*/ 12 h 115"/>
              <a:gd name="T50" fmla="*/ 132 w 289"/>
              <a:gd name="T51" fmla="*/ 68 h 115"/>
              <a:gd name="T52" fmla="*/ 90 w 289"/>
              <a:gd name="T53" fmla="*/ 52 h 115"/>
              <a:gd name="T54" fmla="*/ 130 w 289"/>
              <a:gd name="T55" fmla="*/ 16 h 115"/>
              <a:gd name="T56" fmla="*/ 146 w 289"/>
              <a:gd name="T57" fmla="*/ 35 h 115"/>
              <a:gd name="T58" fmla="*/ 132 w 289"/>
              <a:gd name="T59" fmla="*/ 56 h 115"/>
              <a:gd name="T60" fmla="*/ 117 w 289"/>
              <a:gd name="T61" fmla="*/ 66 h 115"/>
              <a:gd name="T62" fmla="*/ 95 w 289"/>
              <a:gd name="T63" fmla="*/ 61 h 115"/>
              <a:gd name="T64" fmla="*/ 250 w 289"/>
              <a:gd name="T65" fmla="*/ 49 h 115"/>
              <a:gd name="T66" fmla="*/ 256 w 289"/>
              <a:gd name="T67" fmla="*/ 47 h 115"/>
              <a:gd name="T68" fmla="*/ 247 w 289"/>
              <a:gd name="T69" fmla="*/ 87 h 115"/>
              <a:gd name="T70" fmla="*/ 245 w 289"/>
              <a:gd name="T71" fmla="*/ 80 h 115"/>
              <a:gd name="T72" fmla="*/ 224 w 289"/>
              <a:gd name="T73" fmla="*/ 92 h 115"/>
              <a:gd name="T74" fmla="*/ 219 w 289"/>
              <a:gd name="T75" fmla="*/ 84 h 115"/>
              <a:gd name="T76" fmla="*/ 201 w 289"/>
              <a:gd name="T77" fmla="*/ 93 h 115"/>
              <a:gd name="T78" fmla="*/ 183 w 289"/>
              <a:gd name="T79" fmla="*/ 104 h 115"/>
              <a:gd name="T80" fmla="*/ 166 w 289"/>
              <a:gd name="T81" fmla="*/ 111 h 115"/>
              <a:gd name="T82" fmla="*/ 127 w 289"/>
              <a:gd name="T83" fmla="*/ 88 h 115"/>
              <a:gd name="T84" fmla="*/ 186 w 289"/>
              <a:gd name="T85" fmla="*/ 97 h 115"/>
              <a:gd name="T86" fmla="*/ 153 w 289"/>
              <a:gd name="T87" fmla="*/ 98 h 115"/>
              <a:gd name="T88" fmla="*/ 157 w 289"/>
              <a:gd name="T89" fmla="*/ 101 h 115"/>
              <a:gd name="T90" fmla="*/ 148 w 289"/>
              <a:gd name="T91" fmla="*/ 101 h 115"/>
              <a:gd name="T92" fmla="*/ 133 w 289"/>
              <a:gd name="T93" fmla="*/ 101 h 115"/>
              <a:gd name="T94" fmla="*/ 274 w 289"/>
              <a:gd name="T95" fmla="*/ 96 h 115"/>
              <a:gd name="T96" fmla="*/ 115 w 289"/>
              <a:gd name="T97" fmla="*/ 89 h 115"/>
              <a:gd name="T98" fmla="*/ 96 w 289"/>
              <a:gd name="T99" fmla="*/ 88 h 115"/>
              <a:gd name="T100" fmla="*/ 115 w 289"/>
              <a:gd name="T101" fmla="*/ 98 h 115"/>
              <a:gd name="T102" fmla="*/ 70 w 289"/>
              <a:gd name="T103" fmla="*/ 89 h 115"/>
              <a:gd name="T104" fmla="*/ 67 w 289"/>
              <a:gd name="T105" fmla="*/ 23 h 115"/>
              <a:gd name="T106" fmla="*/ 79 w 289"/>
              <a:gd name="T107" fmla="*/ 65 h 115"/>
              <a:gd name="T108" fmla="*/ 69 w 289"/>
              <a:gd name="T109" fmla="*/ 55 h 115"/>
              <a:gd name="T110" fmla="*/ 44 w 289"/>
              <a:gd name="T111" fmla="*/ 34 h 115"/>
              <a:gd name="T112" fmla="*/ 21 w 289"/>
              <a:gd name="T113" fmla="*/ 51 h 115"/>
              <a:gd name="T114" fmla="*/ 12 w 289"/>
              <a:gd name="T115" fmla="*/ 34 h 115"/>
              <a:gd name="T116" fmla="*/ 23 w 289"/>
              <a:gd name="T117" fmla="*/ 32 h 115"/>
              <a:gd name="T118" fmla="*/ 59 w 289"/>
              <a:gd name="T119" fmla="*/ 81 h 115"/>
              <a:gd name="T120" fmla="*/ 60 w 289"/>
              <a:gd name="T121" fmla="*/ 55 h 115"/>
              <a:gd name="T122" fmla="*/ 42 w 289"/>
              <a:gd name="T123" fmla="*/ 33 h 115"/>
              <a:gd name="T124" fmla="*/ 6 w 289"/>
              <a:gd name="T125" fmla="*/ 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9" h="115">
                <a:moveTo>
                  <a:pt x="289" y="60"/>
                </a:moveTo>
                <a:cubicBezTo>
                  <a:pt x="288" y="84"/>
                  <a:pt x="288" y="84"/>
                  <a:pt x="288" y="84"/>
                </a:cubicBezTo>
                <a:cubicBezTo>
                  <a:pt x="288" y="86"/>
                  <a:pt x="288" y="86"/>
                  <a:pt x="288" y="86"/>
                </a:cubicBezTo>
                <a:cubicBezTo>
                  <a:pt x="288" y="87"/>
                  <a:pt x="288" y="87"/>
                  <a:pt x="288" y="87"/>
                </a:cubicBezTo>
                <a:cubicBezTo>
                  <a:pt x="288" y="87"/>
                  <a:pt x="288" y="87"/>
                  <a:pt x="288" y="87"/>
                </a:cubicBezTo>
                <a:cubicBezTo>
                  <a:pt x="288" y="102"/>
                  <a:pt x="288" y="102"/>
                  <a:pt x="288" y="102"/>
                </a:cubicBezTo>
                <a:cubicBezTo>
                  <a:pt x="287" y="102"/>
                  <a:pt x="287" y="102"/>
                  <a:pt x="287" y="102"/>
                </a:cubicBezTo>
                <a:cubicBezTo>
                  <a:pt x="286" y="102"/>
                  <a:pt x="286" y="102"/>
                  <a:pt x="286" y="102"/>
                </a:cubicBezTo>
                <a:cubicBezTo>
                  <a:pt x="284" y="100"/>
                  <a:pt x="284" y="100"/>
                  <a:pt x="284" y="100"/>
                </a:cubicBezTo>
                <a:cubicBezTo>
                  <a:pt x="284" y="99"/>
                  <a:pt x="284" y="99"/>
                  <a:pt x="284" y="99"/>
                </a:cubicBezTo>
                <a:cubicBezTo>
                  <a:pt x="284" y="99"/>
                  <a:pt x="284" y="99"/>
                  <a:pt x="284" y="99"/>
                </a:cubicBezTo>
                <a:cubicBezTo>
                  <a:pt x="282" y="97"/>
                  <a:pt x="282" y="97"/>
                  <a:pt x="282" y="97"/>
                </a:cubicBezTo>
                <a:cubicBezTo>
                  <a:pt x="282" y="97"/>
                  <a:pt x="282" y="97"/>
                  <a:pt x="282" y="97"/>
                </a:cubicBezTo>
                <a:cubicBezTo>
                  <a:pt x="282" y="96"/>
                  <a:pt x="282" y="96"/>
                  <a:pt x="282" y="96"/>
                </a:cubicBezTo>
                <a:cubicBezTo>
                  <a:pt x="282" y="95"/>
                  <a:pt x="282" y="95"/>
                  <a:pt x="282" y="95"/>
                </a:cubicBezTo>
                <a:cubicBezTo>
                  <a:pt x="282" y="94"/>
                  <a:pt x="282" y="94"/>
                  <a:pt x="282" y="94"/>
                </a:cubicBezTo>
                <a:cubicBezTo>
                  <a:pt x="282" y="95"/>
                  <a:pt x="282" y="95"/>
                  <a:pt x="282" y="95"/>
                </a:cubicBezTo>
                <a:cubicBezTo>
                  <a:pt x="281" y="96"/>
                  <a:pt x="281" y="96"/>
                  <a:pt x="281" y="96"/>
                </a:cubicBezTo>
                <a:cubicBezTo>
                  <a:pt x="279" y="96"/>
                  <a:pt x="279" y="96"/>
                  <a:pt x="279" y="96"/>
                </a:cubicBezTo>
                <a:cubicBezTo>
                  <a:pt x="278" y="96"/>
                  <a:pt x="278" y="96"/>
                  <a:pt x="278" y="96"/>
                </a:cubicBezTo>
                <a:cubicBezTo>
                  <a:pt x="277" y="96"/>
                  <a:pt x="277" y="96"/>
                  <a:pt x="277" y="96"/>
                </a:cubicBezTo>
                <a:cubicBezTo>
                  <a:pt x="277" y="96"/>
                  <a:pt x="277" y="96"/>
                  <a:pt x="277" y="96"/>
                </a:cubicBezTo>
                <a:cubicBezTo>
                  <a:pt x="275" y="96"/>
                  <a:pt x="275" y="96"/>
                  <a:pt x="275" y="96"/>
                </a:cubicBezTo>
                <a:cubicBezTo>
                  <a:pt x="274" y="95"/>
                  <a:pt x="274" y="95"/>
                  <a:pt x="274" y="95"/>
                </a:cubicBezTo>
                <a:cubicBezTo>
                  <a:pt x="275" y="95"/>
                  <a:pt x="275" y="95"/>
                  <a:pt x="275" y="95"/>
                </a:cubicBezTo>
                <a:cubicBezTo>
                  <a:pt x="275" y="94"/>
                  <a:pt x="275" y="94"/>
                  <a:pt x="275" y="94"/>
                </a:cubicBezTo>
                <a:cubicBezTo>
                  <a:pt x="275" y="93"/>
                  <a:pt x="275" y="93"/>
                  <a:pt x="275" y="93"/>
                </a:cubicBezTo>
                <a:cubicBezTo>
                  <a:pt x="276" y="93"/>
                  <a:pt x="276" y="93"/>
                  <a:pt x="276" y="93"/>
                </a:cubicBezTo>
                <a:cubicBezTo>
                  <a:pt x="276" y="91"/>
                  <a:pt x="276" y="91"/>
                  <a:pt x="276" y="91"/>
                </a:cubicBezTo>
                <a:cubicBezTo>
                  <a:pt x="275" y="91"/>
                  <a:pt x="275" y="91"/>
                  <a:pt x="275" y="91"/>
                </a:cubicBezTo>
                <a:cubicBezTo>
                  <a:pt x="274" y="90"/>
                  <a:pt x="274" y="90"/>
                  <a:pt x="274" y="90"/>
                </a:cubicBezTo>
                <a:cubicBezTo>
                  <a:pt x="275" y="90"/>
                  <a:pt x="275" y="90"/>
                  <a:pt x="275" y="90"/>
                </a:cubicBezTo>
                <a:cubicBezTo>
                  <a:pt x="276" y="90"/>
                  <a:pt x="276" y="90"/>
                  <a:pt x="276" y="90"/>
                </a:cubicBezTo>
                <a:cubicBezTo>
                  <a:pt x="277" y="90"/>
                  <a:pt x="277" y="90"/>
                  <a:pt x="277" y="90"/>
                </a:cubicBezTo>
                <a:cubicBezTo>
                  <a:pt x="278" y="90"/>
                  <a:pt x="278" y="90"/>
                  <a:pt x="278" y="90"/>
                </a:cubicBezTo>
                <a:cubicBezTo>
                  <a:pt x="277" y="89"/>
                  <a:pt x="277" y="89"/>
                  <a:pt x="277" y="89"/>
                </a:cubicBezTo>
                <a:cubicBezTo>
                  <a:pt x="275" y="90"/>
                  <a:pt x="275" y="90"/>
                  <a:pt x="275" y="90"/>
                </a:cubicBezTo>
                <a:cubicBezTo>
                  <a:pt x="274" y="89"/>
                  <a:pt x="274" y="89"/>
                  <a:pt x="274" y="89"/>
                </a:cubicBezTo>
                <a:cubicBezTo>
                  <a:pt x="273" y="88"/>
                  <a:pt x="273" y="88"/>
                  <a:pt x="273" y="88"/>
                </a:cubicBezTo>
                <a:cubicBezTo>
                  <a:pt x="273" y="87"/>
                  <a:pt x="273" y="87"/>
                  <a:pt x="273" y="87"/>
                </a:cubicBezTo>
                <a:cubicBezTo>
                  <a:pt x="274" y="87"/>
                  <a:pt x="274" y="87"/>
                  <a:pt x="274" y="87"/>
                </a:cubicBezTo>
                <a:cubicBezTo>
                  <a:pt x="275" y="87"/>
                  <a:pt x="275" y="87"/>
                  <a:pt x="275" y="87"/>
                </a:cubicBezTo>
                <a:cubicBezTo>
                  <a:pt x="275" y="87"/>
                  <a:pt x="275" y="87"/>
                  <a:pt x="275" y="87"/>
                </a:cubicBezTo>
                <a:cubicBezTo>
                  <a:pt x="273" y="86"/>
                  <a:pt x="273" y="86"/>
                  <a:pt x="273" y="86"/>
                </a:cubicBezTo>
                <a:cubicBezTo>
                  <a:pt x="272" y="85"/>
                  <a:pt x="272" y="85"/>
                  <a:pt x="272" y="85"/>
                </a:cubicBezTo>
                <a:cubicBezTo>
                  <a:pt x="271" y="84"/>
                  <a:pt x="271" y="84"/>
                  <a:pt x="271" y="84"/>
                </a:cubicBezTo>
                <a:cubicBezTo>
                  <a:pt x="272" y="83"/>
                  <a:pt x="272" y="83"/>
                  <a:pt x="272" y="83"/>
                </a:cubicBezTo>
                <a:cubicBezTo>
                  <a:pt x="270" y="81"/>
                  <a:pt x="270" y="81"/>
                  <a:pt x="270" y="81"/>
                </a:cubicBezTo>
                <a:cubicBezTo>
                  <a:pt x="270" y="81"/>
                  <a:pt x="270" y="81"/>
                  <a:pt x="270" y="81"/>
                </a:cubicBezTo>
                <a:cubicBezTo>
                  <a:pt x="272" y="80"/>
                  <a:pt x="272" y="80"/>
                  <a:pt x="272" y="80"/>
                </a:cubicBezTo>
                <a:cubicBezTo>
                  <a:pt x="270" y="80"/>
                  <a:pt x="270" y="80"/>
                  <a:pt x="270" y="80"/>
                </a:cubicBezTo>
                <a:cubicBezTo>
                  <a:pt x="270" y="79"/>
                  <a:pt x="270" y="79"/>
                  <a:pt x="270" y="79"/>
                </a:cubicBezTo>
                <a:cubicBezTo>
                  <a:pt x="270" y="79"/>
                  <a:pt x="270" y="79"/>
                  <a:pt x="270" y="79"/>
                </a:cubicBezTo>
                <a:cubicBezTo>
                  <a:pt x="270" y="78"/>
                  <a:pt x="270" y="78"/>
                  <a:pt x="270" y="78"/>
                </a:cubicBezTo>
                <a:cubicBezTo>
                  <a:pt x="270" y="78"/>
                  <a:pt x="270" y="78"/>
                  <a:pt x="270" y="78"/>
                </a:cubicBezTo>
                <a:cubicBezTo>
                  <a:pt x="269" y="78"/>
                  <a:pt x="269" y="78"/>
                  <a:pt x="269" y="78"/>
                </a:cubicBezTo>
                <a:cubicBezTo>
                  <a:pt x="269" y="77"/>
                  <a:pt x="269" y="77"/>
                  <a:pt x="269" y="77"/>
                </a:cubicBezTo>
                <a:cubicBezTo>
                  <a:pt x="268" y="78"/>
                  <a:pt x="268" y="78"/>
                  <a:pt x="268" y="78"/>
                </a:cubicBezTo>
                <a:cubicBezTo>
                  <a:pt x="267" y="77"/>
                  <a:pt x="267" y="77"/>
                  <a:pt x="267" y="77"/>
                </a:cubicBezTo>
                <a:cubicBezTo>
                  <a:pt x="268" y="76"/>
                  <a:pt x="268" y="76"/>
                  <a:pt x="268" y="76"/>
                </a:cubicBezTo>
                <a:cubicBezTo>
                  <a:pt x="268" y="77"/>
                  <a:pt x="268" y="77"/>
                  <a:pt x="268" y="77"/>
                </a:cubicBezTo>
                <a:cubicBezTo>
                  <a:pt x="266" y="77"/>
                  <a:pt x="266" y="77"/>
                  <a:pt x="266" y="77"/>
                </a:cubicBezTo>
                <a:cubicBezTo>
                  <a:pt x="265" y="76"/>
                  <a:pt x="265" y="76"/>
                  <a:pt x="265" y="76"/>
                </a:cubicBezTo>
                <a:cubicBezTo>
                  <a:pt x="264" y="75"/>
                  <a:pt x="264" y="75"/>
                  <a:pt x="264" y="75"/>
                </a:cubicBezTo>
                <a:cubicBezTo>
                  <a:pt x="263" y="74"/>
                  <a:pt x="263" y="74"/>
                  <a:pt x="263" y="74"/>
                </a:cubicBezTo>
                <a:cubicBezTo>
                  <a:pt x="261" y="74"/>
                  <a:pt x="261" y="74"/>
                  <a:pt x="261" y="74"/>
                </a:cubicBezTo>
                <a:cubicBezTo>
                  <a:pt x="258" y="73"/>
                  <a:pt x="258" y="73"/>
                  <a:pt x="258" y="73"/>
                </a:cubicBezTo>
                <a:cubicBezTo>
                  <a:pt x="254" y="72"/>
                  <a:pt x="254" y="72"/>
                  <a:pt x="254" y="72"/>
                </a:cubicBezTo>
                <a:cubicBezTo>
                  <a:pt x="252" y="72"/>
                  <a:pt x="252" y="72"/>
                  <a:pt x="252" y="72"/>
                </a:cubicBezTo>
                <a:cubicBezTo>
                  <a:pt x="251" y="71"/>
                  <a:pt x="251" y="71"/>
                  <a:pt x="251" y="71"/>
                </a:cubicBezTo>
                <a:cubicBezTo>
                  <a:pt x="250" y="71"/>
                  <a:pt x="250" y="71"/>
                  <a:pt x="250" y="71"/>
                </a:cubicBezTo>
                <a:cubicBezTo>
                  <a:pt x="250" y="70"/>
                  <a:pt x="250" y="70"/>
                  <a:pt x="250" y="70"/>
                </a:cubicBezTo>
                <a:cubicBezTo>
                  <a:pt x="249" y="70"/>
                  <a:pt x="249" y="70"/>
                  <a:pt x="249" y="70"/>
                </a:cubicBezTo>
                <a:cubicBezTo>
                  <a:pt x="249" y="69"/>
                  <a:pt x="249" y="69"/>
                  <a:pt x="249" y="69"/>
                </a:cubicBezTo>
                <a:cubicBezTo>
                  <a:pt x="250" y="69"/>
                  <a:pt x="250" y="69"/>
                  <a:pt x="250" y="69"/>
                </a:cubicBezTo>
                <a:cubicBezTo>
                  <a:pt x="250" y="69"/>
                  <a:pt x="250" y="69"/>
                  <a:pt x="250" y="69"/>
                </a:cubicBezTo>
                <a:cubicBezTo>
                  <a:pt x="250" y="69"/>
                  <a:pt x="250" y="69"/>
                  <a:pt x="250" y="69"/>
                </a:cubicBezTo>
                <a:cubicBezTo>
                  <a:pt x="249" y="69"/>
                  <a:pt x="249" y="69"/>
                  <a:pt x="249" y="69"/>
                </a:cubicBezTo>
                <a:cubicBezTo>
                  <a:pt x="248" y="69"/>
                  <a:pt x="248" y="69"/>
                  <a:pt x="248" y="69"/>
                </a:cubicBezTo>
                <a:cubicBezTo>
                  <a:pt x="247" y="69"/>
                  <a:pt x="247" y="69"/>
                  <a:pt x="247" y="69"/>
                </a:cubicBezTo>
                <a:cubicBezTo>
                  <a:pt x="247" y="68"/>
                  <a:pt x="247" y="68"/>
                  <a:pt x="247" y="68"/>
                </a:cubicBezTo>
                <a:cubicBezTo>
                  <a:pt x="247" y="68"/>
                  <a:pt x="247" y="68"/>
                  <a:pt x="247" y="68"/>
                </a:cubicBezTo>
                <a:cubicBezTo>
                  <a:pt x="246" y="69"/>
                  <a:pt x="246" y="69"/>
                  <a:pt x="246" y="69"/>
                </a:cubicBezTo>
                <a:cubicBezTo>
                  <a:pt x="246" y="67"/>
                  <a:pt x="246" y="67"/>
                  <a:pt x="246" y="67"/>
                </a:cubicBezTo>
                <a:cubicBezTo>
                  <a:pt x="245" y="67"/>
                  <a:pt x="245" y="67"/>
                  <a:pt x="245" y="67"/>
                </a:cubicBezTo>
                <a:cubicBezTo>
                  <a:pt x="245" y="67"/>
                  <a:pt x="245" y="67"/>
                  <a:pt x="245" y="67"/>
                </a:cubicBezTo>
                <a:cubicBezTo>
                  <a:pt x="244" y="68"/>
                  <a:pt x="244" y="68"/>
                  <a:pt x="244" y="68"/>
                </a:cubicBezTo>
                <a:cubicBezTo>
                  <a:pt x="244" y="67"/>
                  <a:pt x="244" y="67"/>
                  <a:pt x="244" y="67"/>
                </a:cubicBezTo>
                <a:cubicBezTo>
                  <a:pt x="243" y="65"/>
                  <a:pt x="243" y="65"/>
                  <a:pt x="243" y="65"/>
                </a:cubicBezTo>
                <a:cubicBezTo>
                  <a:pt x="243" y="64"/>
                  <a:pt x="243" y="64"/>
                  <a:pt x="243" y="64"/>
                </a:cubicBezTo>
                <a:cubicBezTo>
                  <a:pt x="244" y="63"/>
                  <a:pt x="244" y="63"/>
                  <a:pt x="244" y="63"/>
                </a:cubicBezTo>
                <a:cubicBezTo>
                  <a:pt x="244" y="62"/>
                  <a:pt x="244" y="62"/>
                  <a:pt x="244" y="62"/>
                </a:cubicBezTo>
                <a:cubicBezTo>
                  <a:pt x="243" y="63"/>
                  <a:pt x="243" y="63"/>
                  <a:pt x="243" y="63"/>
                </a:cubicBezTo>
                <a:cubicBezTo>
                  <a:pt x="242" y="64"/>
                  <a:pt x="242" y="64"/>
                  <a:pt x="242" y="64"/>
                </a:cubicBezTo>
                <a:cubicBezTo>
                  <a:pt x="242" y="65"/>
                  <a:pt x="242" y="65"/>
                  <a:pt x="242" y="65"/>
                </a:cubicBezTo>
                <a:cubicBezTo>
                  <a:pt x="242" y="65"/>
                  <a:pt x="242" y="65"/>
                  <a:pt x="242" y="65"/>
                </a:cubicBezTo>
                <a:cubicBezTo>
                  <a:pt x="241" y="67"/>
                  <a:pt x="241" y="67"/>
                  <a:pt x="241" y="67"/>
                </a:cubicBezTo>
                <a:cubicBezTo>
                  <a:pt x="241" y="68"/>
                  <a:pt x="241" y="68"/>
                  <a:pt x="241" y="68"/>
                </a:cubicBezTo>
                <a:cubicBezTo>
                  <a:pt x="240" y="70"/>
                  <a:pt x="240" y="70"/>
                  <a:pt x="240" y="70"/>
                </a:cubicBezTo>
                <a:cubicBezTo>
                  <a:pt x="238" y="70"/>
                  <a:pt x="238" y="70"/>
                  <a:pt x="238" y="70"/>
                </a:cubicBezTo>
                <a:cubicBezTo>
                  <a:pt x="237" y="70"/>
                  <a:pt x="237" y="70"/>
                  <a:pt x="237" y="70"/>
                </a:cubicBezTo>
                <a:cubicBezTo>
                  <a:pt x="236" y="68"/>
                  <a:pt x="236" y="68"/>
                  <a:pt x="236" y="68"/>
                </a:cubicBezTo>
                <a:cubicBezTo>
                  <a:pt x="236" y="67"/>
                  <a:pt x="236" y="67"/>
                  <a:pt x="236" y="67"/>
                </a:cubicBezTo>
                <a:cubicBezTo>
                  <a:pt x="237" y="67"/>
                  <a:pt x="237" y="67"/>
                  <a:pt x="237" y="67"/>
                </a:cubicBezTo>
                <a:cubicBezTo>
                  <a:pt x="237" y="66"/>
                  <a:pt x="237" y="66"/>
                  <a:pt x="237" y="66"/>
                </a:cubicBezTo>
                <a:cubicBezTo>
                  <a:pt x="237" y="65"/>
                  <a:pt x="237" y="65"/>
                  <a:pt x="237" y="65"/>
                </a:cubicBezTo>
                <a:cubicBezTo>
                  <a:pt x="236" y="65"/>
                  <a:pt x="236" y="65"/>
                  <a:pt x="236" y="65"/>
                </a:cubicBezTo>
                <a:cubicBezTo>
                  <a:pt x="236" y="65"/>
                  <a:pt x="236" y="65"/>
                  <a:pt x="236" y="65"/>
                </a:cubicBezTo>
                <a:cubicBezTo>
                  <a:pt x="235" y="63"/>
                  <a:pt x="235" y="63"/>
                  <a:pt x="235" y="63"/>
                </a:cubicBezTo>
                <a:cubicBezTo>
                  <a:pt x="234" y="63"/>
                  <a:pt x="234" y="63"/>
                  <a:pt x="234" y="63"/>
                </a:cubicBezTo>
                <a:cubicBezTo>
                  <a:pt x="232" y="62"/>
                  <a:pt x="232" y="62"/>
                  <a:pt x="232" y="62"/>
                </a:cubicBezTo>
                <a:cubicBezTo>
                  <a:pt x="232" y="62"/>
                  <a:pt x="232" y="62"/>
                  <a:pt x="232" y="62"/>
                </a:cubicBezTo>
                <a:cubicBezTo>
                  <a:pt x="233" y="61"/>
                  <a:pt x="233" y="61"/>
                  <a:pt x="233" y="61"/>
                </a:cubicBezTo>
                <a:cubicBezTo>
                  <a:pt x="234" y="61"/>
                  <a:pt x="234" y="61"/>
                  <a:pt x="234" y="61"/>
                </a:cubicBezTo>
                <a:cubicBezTo>
                  <a:pt x="235" y="61"/>
                  <a:pt x="235" y="61"/>
                  <a:pt x="235" y="61"/>
                </a:cubicBezTo>
                <a:cubicBezTo>
                  <a:pt x="236" y="61"/>
                  <a:pt x="236" y="61"/>
                  <a:pt x="236" y="61"/>
                </a:cubicBezTo>
                <a:cubicBezTo>
                  <a:pt x="237" y="62"/>
                  <a:pt x="237" y="62"/>
                  <a:pt x="237" y="62"/>
                </a:cubicBezTo>
                <a:cubicBezTo>
                  <a:pt x="238" y="61"/>
                  <a:pt x="238" y="61"/>
                  <a:pt x="238" y="61"/>
                </a:cubicBezTo>
                <a:cubicBezTo>
                  <a:pt x="239" y="60"/>
                  <a:pt x="239" y="60"/>
                  <a:pt x="239" y="60"/>
                </a:cubicBezTo>
                <a:cubicBezTo>
                  <a:pt x="240" y="59"/>
                  <a:pt x="240" y="59"/>
                  <a:pt x="240" y="59"/>
                </a:cubicBezTo>
                <a:cubicBezTo>
                  <a:pt x="242" y="60"/>
                  <a:pt x="242" y="60"/>
                  <a:pt x="242" y="60"/>
                </a:cubicBezTo>
                <a:cubicBezTo>
                  <a:pt x="242" y="61"/>
                  <a:pt x="242" y="61"/>
                  <a:pt x="242" y="61"/>
                </a:cubicBezTo>
                <a:cubicBezTo>
                  <a:pt x="243" y="60"/>
                  <a:pt x="243" y="60"/>
                  <a:pt x="243" y="60"/>
                </a:cubicBezTo>
                <a:cubicBezTo>
                  <a:pt x="243" y="59"/>
                  <a:pt x="243" y="59"/>
                  <a:pt x="243" y="59"/>
                </a:cubicBezTo>
                <a:cubicBezTo>
                  <a:pt x="244" y="59"/>
                  <a:pt x="244" y="59"/>
                  <a:pt x="244" y="59"/>
                </a:cubicBezTo>
                <a:cubicBezTo>
                  <a:pt x="244" y="58"/>
                  <a:pt x="244" y="58"/>
                  <a:pt x="244" y="58"/>
                </a:cubicBezTo>
                <a:cubicBezTo>
                  <a:pt x="244" y="57"/>
                  <a:pt x="244" y="57"/>
                  <a:pt x="244" y="57"/>
                </a:cubicBezTo>
                <a:cubicBezTo>
                  <a:pt x="241" y="57"/>
                  <a:pt x="241" y="57"/>
                  <a:pt x="241" y="57"/>
                </a:cubicBezTo>
                <a:cubicBezTo>
                  <a:pt x="241" y="57"/>
                  <a:pt x="241" y="57"/>
                  <a:pt x="241" y="57"/>
                </a:cubicBezTo>
                <a:cubicBezTo>
                  <a:pt x="240" y="58"/>
                  <a:pt x="240" y="58"/>
                  <a:pt x="240" y="58"/>
                </a:cubicBezTo>
                <a:cubicBezTo>
                  <a:pt x="240" y="57"/>
                  <a:pt x="240" y="57"/>
                  <a:pt x="240" y="57"/>
                </a:cubicBezTo>
                <a:cubicBezTo>
                  <a:pt x="238" y="58"/>
                  <a:pt x="238" y="58"/>
                  <a:pt x="238" y="58"/>
                </a:cubicBezTo>
                <a:cubicBezTo>
                  <a:pt x="237" y="58"/>
                  <a:pt x="237" y="58"/>
                  <a:pt x="237" y="58"/>
                </a:cubicBezTo>
                <a:cubicBezTo>
                  <a:pt x="236" y="58"/>
                  <a:pt x="236" y="58"/>
                  <a:pt x="236" y="58"/>
                </a:cubicBezTo>
                <a:cubicBezTo>
                  <a:pt x="236" y="58"/>
                  <a:pt x="236" y="58"/>
                  <a:pt x="236" y="58"/>
                </a:cubicBezTo>
                <a:cubicBezTo>
                  <a:pt x="234" y="58"/>
                  <a:pt x="234" y="58"/>
                  <a:pt x="234" y="58"/>
                </a:cubicBezTo>
                <a:cubicBezTo>
                  <a:pt x="233" y="58"/>
                  <a:pt x="233" y="58"/>
                  <a:pt x="233" y="58"/>
                </a:cubicBezTo>
                <a:cubicBezTo>
                  <a:pt x="232" y="57"/>
                  <a:pt x="232" y="57"/>
                  <a:pt x="232" y="57"/>
                </a:cubicBezTo>
                <a:cubicBezTo>
                  <a:pt x="232" y="55"/>
                  <a:pt x="232" y="55"/>
                  <a:pt x="232" y="55"/>
                </a:cubicBezTo>
                <a:cubicBezTo>
                  <a:pt x="232" y="55"/>
                  <a:pt x="232" y="55"/>
                  <a:pt x="232" y="55"/>
                </a:cubicBezTo>
                <a:cubicBezTo>
                  <a:pt x="231" y="54"/>
                  <a:pt x="231" y="54"/>
                  <a:pt x="231" y="54"/>
                </a:cubicBezTo>
                <a:cubicBezTo>
                  <a:pt x="229" y="53"/>
                  <a:pt x="229" y="53"/>
                  <a:pt x="229" y="53"/>
                </a:cubicBezTo>
                <a:cubicBezTo>
                  <a:pt x="229" y="52"/>
                  <a:pt x="229" y="52"/>
                  <a:pt x="229" y="52"/>
                </a:cubicBezTo>
                <a:cubicBezTo>
                  <a:pt x="228" y="52"/>
                  <a:pt x="228" y="52"/>
                  <a:pt x="228" y="52"/>
                </a:cubicBezTo>
                <a:cubicBezTo>
                  <a:pt x="227" y="53"/>
                  <a:pt x="227" y="53"/>
                  <a:pt x="227" y="53"/>
                </a:cubicBezTo>
                <a:cubicBezTo>
                  <a:pt x="226" y="53"/>
                  <a:pt x="226" y="53"/>
                  <a:pt x="226" y="53"/>
                </a:cubicBezTo>
                <a:cubicBezTo>
                  <a:pt x="226" y="52"/>
                  <a:pt x="226" y="52"/>
                  <a:pt x="226" y="52"/>
                </a:cubicBezTo>
                <a:cubicBezTo>
                  <a:pt x="228" y="51"/>
                  <a:pt x="228" y="51"/>
                  <a:pt x="228" y="51"/>
                </a:cubicBezTo>
                <a:cubicBezTo>
                  <a:pt x="228" y="50"/>
                  <a:pt x="228" y="50"/>
                  <a:pt x="228" y="50"/>
                </a:cubicBezTo>
                <a:cubicBezTo>
                  <a:pt x="227" y="49"/>
                  <a:pt x="227" y="49"/>
                  <a:pt x="227" y="49"/>
                </a:cubicBezTo>
                <a:cubicBezTo>
                  <a:pt x="228" y="48"/>
                  <a:pt x="228" y="48"/>
                  <a:pt x="228" y="48"/>
                </a:cubicBezTo>
                <a:cubicBezTo>
                  <a:pt x="230" y="48"/>
                  <a:pt x="230" y="48"/>
                  <a:pt x="230" y="48"/>
                </a:cubicBezTo>
                <a:cubicBezTo>
                  <a:pt x="231" y="48"/>
                  <a:pt x="231" y="48"/>
                  <a:pt x="231" y="48"/>
                </a:cubicBezTo>
                <a:cubicBezTo>
                  <a:pt x="232" y="47"/>
                  <a:pt x="232" y="47"/>
                  <a:pt x="232" y="47"/>
                </a:cubicBezTo>
                <a:cubicBezTo>
                  <a:pt x="234" y="46"/>
                  <a:pt x="234" y="46"/>
                  <a:pt x="234" y="46"/>
                </a:cubicBezTo>
                <a:cubicBezTo>
                  <a:pt x="234" y="46"/>
                  <a:pt x="234" y="46"/>
                  <a:pt x="234" y="46"/>
                </a:cubicBezTo>
                <a:cubicBezTo>
                  <a:pt x="236" y="45"/>
                  <a:pt x="236" y="45"/>
                  <a:pt x="236" y="45"/>
                </a:cubicBezTo>
                <a:cubicBezTo>
                  <a:pt x="239" y="46"/>
                  <a:pt x="239" y="46"/>
                  <a:pt x="239" y="46"/>
                </a:cubicBezTo>
                <a:cubicBezTo>
                  <a:pt x="241" y="48"/>
                  <a:pt x="241" y="48"/>
                  <a:pt x="241" y="48"/>
                </a:cubicBezTo>
                <a:cubicBezTo>
                  <a:pt x="243" y="48"/>
                  <a:pt x="243" y="48"/>
                  <a:pt x="243" y="48"/>
                </a:cubicBezTo>
                <a:cubicBezTo>
                  <a:pt x="245" y="48"/>
                  <a:pt x="245" y="48"/>
                  <a:pt x="245" y="48"/>
                </a:cubicBezTo>
                <a:cubicBezTo>
                  <a:pt x="246" y="48"/>
                  <a:pt x="246" y="48"/>
                  <a:pt x="246" y="48"/>
                </a:cubicBezTo>
                <a:cubicBezTo>
                  <a:pt x="245" y="49"/>
                  <a:pt x="245" y="49"/>
                  <a:pt x="245" y="49"/>
                </a:cubicBezTo>
                <a:cubicBezTo>
                  <a:pt x="245" y="51"/>
                  <a:pt x="245" y="51"/>
                  <a:pt x="245" y="51"/>
                </a:cubicBezTo>
                <a:cubicBezTo>
                  <a:pt x="247" y="51"/>
                  <a:pt x="247" y="51"/>
                  <a:pt x="247" y="51"/>
                </a:cubicBezTo>
                <a:cubicBezTo>
                  <a:pt x="247" y="53"/>
                  <a:pt x="247" y="53"/>
                  <a:pt x="247" y="53"/>
                </a:cubicBezTo>
                <a:cubicBezTo>
                  <a:pt x="246" y="54"/>
                  <a:pt x="246" y="54"/>
                  <a:pt x="246" y="54"/>
                </a:cubicBezTo>
                <a:cubicBezTo>
                  <a:pt x="245" y="55"/>
                  <a:pt x="245" y="55"/>
                  <a:pt x="245" y="55"/>
                </a:cubicBezTo>
                <a:cubicBezTo>
                  <a:pt x="246" y="57"/>
                  <a:pt x="246" y="57"/>
                  <a:pt x="246" y="57"/>
                </a:cubicBezTo>
                <a:cubicBezTo>
                  <a:pt x="246" y="59"/>
                  <a:pt x="246" y="59"/>
                  <a:pt x="246" y="59"/>
                </a:cubicBezTo>
                <a:cubicBezTo>
                  <a:pt x="247" y="61"/>
                  <a:pt x="247" y="61"/>
                  <a:pt x="247" y="61"/>
                </a:cubicBezTo>
                <a:cubicBezTo>
                  <a:pt x="248" y="62"/>
                  <a:pt x="248" y="62"/>
                  <a:pt x="248" y="62"/>
                </a:cubicBezTo>
                <a:cubicBezTo>
                  <a:pt x="248" y="62"/>
                  <a:pt x="248" y="62"/>
                  <a:pt x="248" y="62"/>
                </a:cubicBezTo>
                <a:cubicBezTo>
                  <a:pt x="248" y="60"/>
                  <a:pt x="248" y="60"/>
                  <a:pt x="248" y="60"/>
                </a:cubicBezTo>
                <a:cubicBezTo>
                  <a:pt x="249" y="60"/>
                  <a:pt x="249" y="60"/>
                  <a:pt x="249" y="60"/>
                </a:cubicBezTo>
                <a:cubicBezTo>
                  <a:pt x="249" y="60"/>
                  <a:pt x="249" y="60"/>
                  <a:pt x="249" y="60"/>
                </a:cubicBezTo>
                <a:cubicBezTo>
                  <a:pt x="249" y="61"/>
                  <a:pt x="249" y="61"/>
                  <a:pt x="249" y="61"/>
                </a:cubicBezTo>
                <a:cubicBezTo>
                  <a:pt x="250" y="63"/>
                  <a:pt x="250" y="63"/>
                  <a:pt x="250" y="63"/>
                </a:cubicBezTo>
                <a:cubicBezTo>
                  <a:pt x="250" y="62"/>
                  <a:pt x="250" y="62"/>
                  <a:pt x="250" y="62"/>
                </a:cubicBezTo>
                <a:cubicBezTo>
                  <a:pt x="250" y="63"/>
                  <a:pt x="250" y="63"/>
                  <a:pt x="250" y="63"/>
                </a:cubicBezTo>
                <a:cubicBezTo>
                  <a:pt x="252" y="65"/>
                  <a:pt x="252" y="65"/>
                  <a:pt x="252" y="65"/>
                </a:cubicBezTo>
                <a:cubicBezTo>
                  <a:pt x="253" y="65"/>
                  <a:pt x="253" y="65"/>
                  <a:pt x="253" y="65"/>
                </a:cubicBezTo>
                <a:cubicBezTo>
                  <a:pt x="254" y="65"/>
                  <a:pt x="254" y="65"/>
                  <a:pt x="254" y="65"/>
                </a:cubicBezTo>
                <a:cubicBezTo>
                  <a:pt x="255" y="65"/>
                  <a:pt x="255" y="65"/>
                  <a:pt x="255" y="65"/>
                </a:cubicBezTo>
                <a:cubicBezTo>
                  <a:pt x="255" y="64"/>
                  <a:pt x="255" y="64"/>
                  <a:pt x="255" y="64"/>
                </a:cubicBezTo>
                <a:cubicBezTo>
                  <a:pt x="256" y="63"/>
                  <a:pt x="256" y="63"/>
                  <a:pt x="256" y="63"/>
                </a:cubicBezTo>
                <a:cubicBezTo>
                  <a:pt x="257" y="63"/>
                  <a:pt x="257" y="63"/>
                  <a:pt x="257" y="63"/>
                </a:cubicBezTo>
                <a:cubicBezTo>
                  <a:pt x="257" y="61"/>
                  <a:pt x="257" y="61"/>
                  <a:pt x="257" y="61"/>
                </a:cubicBezTo>
                <a:cubicBezTo>
                  <a:pt x="257" y="60"/>
                  <a:pt x="257" y="60"/>
                  <a:pt x="257" y="60"/>
                </a:cubicBezTo>
                <a:cubicBezTo>
                  <a:pt x="259" y="60"/>
                  <a:pt x="259" y="60"/>
                  <a:pt x="259" y="60"/>
                </a:cubicBezTo>
                <a:cubicBezTo>
                  <a:pt x="260" y="59"/>
                  <a:pt x="260" y="59"/>
                  <a:pt x="260" y="59"/>
                </a:cubicBezTo>
                <a:cubicBezTo>
                  <a:pt x="260" y="58"/>
                  <a:pt x="260" y="58"/>
                  <a:pt x="260" y="58"/>
                </a:cubicBezTo>
                <a:cubicBezTo>
                  <a:pt x="260" y="57"/>
                  <a:pt x="260" y="57"/>
                  <a:pt x="260" y="57"/>
                </a:cubicBezTo>
                <a:cubicBezTo>
                  <a:pt x="261" y="58"/>
                  <a:pt x="261" y="58"/>
                  <a:pt x="261" y="58"/>
                </a:cubicBezTo>
                <a:cubicBezTo>
                  <a:pt x="262" y="58"/>
                  <a:pt x="262" y="58"/>
                  <a:pt x="262" y="58"/>
                </a:cubicBezTo>
                <a:cubicBezTo>
                  <a:pt x="263" y="57"/>
                  <a:pt x="263" y="57"/>
                  <a:pt x="263" y="57"/>
                </a:cubicBezTo>
                <a:cubicBezTo>
                  <a:pt x="265" y="57"/>
                  <a:pt x="265" y="57"/>
                  <a:pt x="265" y="57"/>
                </a:cubicBezTo>
                <a:cubicBezTo>
                  <a:pt x="265" y="56"/>
                  <a:pt x="265" y="56"/>
                  <a:pt x="265" y="56"/>
                </a:cubicBezTo>
                <a:cubicBezTo>
                  <a:pt x="264" y="55"/>
                  <a:pt x="264" y="55"/>
                  <a:pt x="264" y="55"/>
                </a:cubicBezTo>
                <a:cubicBezTo>
                  <a:pt x="265" y="54"/>
                  <a:pt x="265" y="54"/>
                  <a:pt x="265" y="54"/>
                </a:cubicBezTo>
                <a:cubicBezTo>
                  <a:pt x="268" y="52"/>
                  <a:pt x="268" y="52"/>
                  <a:pt x="268" y="52"/>
                </a:cubicBezTo>
                <a:cubicBezTo>
                  <a:pt x="269" y="53"/>
                  <a:pt x="269" y="53"/>
                  <a:pt x="269" y="53"/>
                </a:cubicBezTo>
                <a:cubicBezTo>
                  <a:pt x="270" y="53"/>
                  <a:pt x="270" y="53"/>
                  <a:pt x="270" y="53"/>
                </a:cubicBezTo>
                <a:cubicBezTo>
                  <a:pt x="272" y="54"/>
                  <a:pt x="272" y="54"/>
                  <a:pt x="272" y="54"/>
                </a:cubicBezTo>
                <a:cubicBezTo>
                  <a:pt x="274" y="55"/>
                  <a:pt x="274" y="55"/>
                  <a:pt x="274" y="55"/>
                </a:cubicBezTo>
                <a:cubicBezTo>
                  <a:pt x="275" y="56"/>
                  <a:pt x="275" y="56"/>
                  <a:pt x="275" y="56"/>
                </a:cubicBezTo>
                <a:cubicBezTo>
                  <a:pt x="277" y="56"/>
                  <a:pt x="277" y="56"/>
                  <a:pt x="277" y="56"/>
                </a:cubicBezTo>
                <a:cubicBezTo>
                  <a:pt x="278" y="56"/>
                  <a:pt x="278" y="56"/>
                  <a:pt x="278" y="56"/>
                </a:cubicBezTo>
                <a:cubicBezTo>
                  <a:pt x="282" y="58"/>
                  <a:pt x="282" y="58"/>
                  <a:pt x="282" y="58"/>
                </a:cubicBezTo>
                <a:cubicBezTo>
                  <a:pt x="283" y="58"/>
                  <a:pt x="283" y="58"/>
                  <a:pt x="283" y="58"/>
                </a:cubicBezTo>
                <a:cubicBezTo>
                  <a:pt x="284" y="58"/>
                  <a:pt x="284" y="58"/>
                  <a:pt x="284" y="58"/>
                </a:cubicBezTo>
                <a:cubicBezTo>
                  <a:pt x="285" y="58"/>
                  <a:pt x="285" y="58"/>
                  <a:pt x="285" y="58"/>
                </a:cubicBezTo>
                <a:cubicBezTo>
                  <a:pt x="286" y="58"/>
                  <a:pt x="286" y="58"/>
                  <a:pt x="286" y="58"/>
                </a:cubicBezTo>
                <a:cubicBezTo>
                  <a:pt x="287" y="59"/>
                  <a:pt x="287" y="59"/>
                  <a:pt x="287" y="59"/>
                </a:cubicBezTo>
                <a:cubicBezTo>
                  <a:pt x="287" y="60"/>
                  <a:pt x="287" y="60"/>
                  <a:pt x="287" y="60"/>
                </a:cubicBezTo>
                <a:cubicBezTo>
                  <a:pt x="287" y="60"/>
                  <a:pt x="287" y="60"/>
                  <a:pt x="287" y="60"/>
                </a:cubicBezTo>
                <a:cubicBezTo>
                  <a:pt x="288" y="61"/>
                  <a:pt x="288" y="61"/>
                  <a:pt x="288" y="61"/>
                </a:cubicBezTo>
                <a:cubicBezTo>
                  <a:pt x="289" y="60"/>
                  <a:pt x="289" y="60"/>
                  <a:pt x="289" y="60"/>
                </a:cubicBezTo>
                <a:cubicBezTo>
                  <a:pt x="289" y="60"/>
                  <a:pt x="289" y="60"/>
                  <a:pt x="289" y="60"/>
                </a:cubicBezTo>
                <a:close/>
                <a:moveTo>
                  <a:pt x="214" y="43"/>
                </a:moveTo>
                <a:cubicBezTo>
                  <a:pt x="217" y="44"/>
                  <a:pt x="217" y="44"/>
                  <a:pt x="217" y="44"/>
                </a:cubicBezTo>
                <a:cubicBezTo>
                  <a:pt x="217" y="45"/>
                  <a:pt x="217" y="45"/>
                  <a:pt x="217" y="45"/>
                </a:cubicBezTo>
                <a:cubicBezTo>
                  <a:pt x="215" y="44"/>
                  <a:pt x="215" y="44"/>
                  <a:pt x="215" y="44"/>
                </a:cubicBezTo>
                <a:cubicBezTo>
                  <a:pt x="214" y="43"/>
                  <a:pt x="214" y="43"/>
                  <a:pt x="214" y="43"/>
                </a:cubicBezTo>
                <a:close/>
                <a:moveTo>
                  <a:pt x="227" y="45"/>
                </a:moveTo>
                <a:cubicBezTo>
                  <a:pt x="228" y="46"/>
                  <a:pt x="228" y="46"/>
                  <a:pt x="228" y="46"/>
                </a:cubicBezTo>
                <a:cubicBezTo>
                  <a:pt x="229" y="45"/>
                  <a:pt x="229" y="45"/>
                  <a:pt x="229" y="45"/>
                </a:cubicBezTo>
                <a:cubicBezTo>
                  <a:pt x="228" y="44"/>
                  <a:pt x="228" y="44"/>
                  <a:pt x="228" y="44"/>
                </a:cubicBezTo>
                <a:cubicBezTo>
                  <a:pt x="227" y="43"/>
                  <a:pt x="227" y="43"/>
                  <a:pt x="227" y="43"/>
                </a:cubicBezTo>
                <a:cubicBezTo>
                  <a:pt x="225" y="43"/>
                  <a:pt x="225" y="43"/>
                  <a:pt x="225" y="43"/>
                </a:cubicBezTo>
                <a:cubicBezTo>
                  <a:pt x="224" y="44"/>
                  <a:pt x="224" y="44"/>
                  <a:pt x="224" y="44"/>
                </a:cubicBezTo>
                <a:cubicBezTo>
                  <a:pt x="223" y="44"/>
                  <a:pt x="223" y="44"/>
                  <a:pt x="223" y="44"/>
                </a:cubicBezTo>
                <a:cubicBezTo>
                  <a:pt x="222" y="44"/>
                  <a:pt x="222" y="44"/>
                  <a:pt x="222" y="44"/>
                </a:cubicBezTo>
                <a:cubicBezTo>
                  <a:pt x="223" y="45"/>
                  <a:pt x="223" y="45"/>
                  <a:pt x="223" y="45"/>
                </a:cubicBezTo>
                <a:cubicBezTo>
                  <a:pt x="222" y="45"/>
                  <a:pt x="222" y="45"/>
                  <a:pt x="222" y="45"/>
                </a:cubicBezTo>
                <a:cubicBezTo>
                  <a:pt x="224" y="45"/>
                  <a:pt x="224" y="45"/>
                  <a:pt x="224" y="45"/>
                </a:cubicBezTo>
                <a:cubicBezTo>
                  <a:pt x="225" y="46"/>
                  <a:pt x="225" y="46"/>
                  <a:pt x="225" y="46"/>
                </a:cubicBezTo>
                <a:cubicBezTo>
                  <a:pt x="226" y="46"/>
                  <a:pt x="226" y="46"/>
                  <a:pt x="226" y="46"/>
                </a:cubicBezTo>
                <a:cubicBezTo>
                  <a:pt x="226" y="45"/>
                  <a:pt x="226" y="45"/>
                  <a:pt x="226" y="45"/>
                </a:cubicBezTo>
                <a:cubicBezTo>
                  <a:pt x="225" y="45"/>
                  <a:pt x="225" y="45"/>
                  <a:pt x="225" y="45"/>
                </a:cubicBezTo>
                <a:cubicBezTo>
                  <a:pt x="225" y="45"/>
                  <a:pt x="225" y="45"/>
                  <a:pt x="225" y="45"/>
                </a:cubicBezTo>
                <a:cubicBezTo>
                  <a:pt x="225" y="44"/>
                  <a:pt x="225" y="44"/>
                  <a:pt x="225" y="44"/>
                </a:cubicBezTo>
                <a:cubicBezTo>
                  <a:pt x="227" y="45"/>
                  <a:pt x="227" y="45"/>
                  <a:pt x="227" y="45"/>
                </a:cubicBezTo>
                <a:close/>
                <a:moveTo>
                  <a:pt x="225" y="49"/>
                </a:moveTo>
                <a:cubicBezTo>
                  <a:pt x="224" y="49"/>
                  <a:pt x="224" y="49"/>
                  <a:pt x="224" y="49"/>
                </a:cubicBezTo>
                <a:cubicBezTo>
                  <a:pt x="222" y="49"/>
                  <a:pt x="222" y="49"/>
                  <a:pt x="222" y="49"/>
                </a:cubicBezTo>
                <a:cubicBezTo>
                  <a:pt x="223" y="49"/>
                  <a:pt x="223" y="49"/>
                  <a:pt x="223" y="49"/>
                </a:cubicBezTo>
                <a:cubicBezTo>
                  <a:pt x="225" y="49"/>
                  <a:pt x="225" y="49"/>
                  <a:pt x="225" y="49"/>
                </a:cubicBezTo>
                <a:close/>
                <a:moveTo>
                  <a:pt x="226" y="48"/>
                </a:moveTo>
                <a:cubicBezTo>
                  <a:pt x="225" y="49"/>
                  <a:pt x="225" y="49"/>
                  <a:pt x="225" y="49"/>
                </a:cubicBezTo>
                <a:cubicBezTo>
                  <a:pt x="225" y="48"/>
                  <a:pt x="225" y="48"/>
                  <a:pt x="225" y="48"/>
                </a:cubicBezTo>
                <a:cubicBezTo>
                  <a:pt x="226" y="48"/>
                  <a:pt x="226" y="48"/>
                  <a:pt x="226" y="48"/>
                </a:cubicBezTo>
                <a:close/>
                <a:moveTo>
                  <a:pt x="226" y="49"/>
                </a:moveTo>
                <a:cubicBezTo>
                  <a:pt x="224" y="50"/>
                  <a:pt x="224" y="50"/>
                  <a:pt x="224" y="50"/>
                </a:cubicBezTo>
                <a:cubicBezTo>
                  <a:pt x="224" y="52"/>
                  <a:pt x="224" y="52"/>
                  <a:pt x="224" y="52"/>
                </a:cubicBezTo>
                <a:cubicBezTo>
                  <a:pt x="226" y="52"/>
                  <a:pt x="226" y="52"/>
                  <a:pt x="226" y="52"/>
                </a:cubicBezTo>
                <a:cubicBezTo>
                  <a:pt x="226" y="52"/>
                  <a:pt x="226" y="52"/>
                  <a:pt x="226" y="52"/>
                </a:cubicBezTo>
                <a:cubicBezTo>
                  <a:pt x="226" y="49"/>
                  <a:pt x="226" y="49"/>
                  <a:pt x="226" y="49"/>
                </a:cubicBezTo>
                <a:cubicBezTo>
                  <a:pt x="226" y="49"/>
                  <a:pt x="226" y="49"/>
                  <a:pt x="226" y="49"/>
                </a:cubicBezTo>
                <a:close/>
                <a:moveTo>
                  <a:pt x="190" y="18"/>
                </a:moveTo>
                <a:cubicBezTo>
                  <a:pt x="192" y="20"/>
                  <a:pt x="192" y="20"/>
                  <a:pt x="192" y="20"/>
                </a:cubicBezTo>
                <a:cubicBezTo>
                  <a:pt x="192" y="21"/>
                  <a:pt x="192" y="21"/>
                  <a:pt x="192" y="21"/>
                </a:cubicBezTo>
                <a:cubicBezTo>
                  <a:pt x="192" y="22"/>
                  <a:pt x="192" y="22"/>
                  <a:pt x="192" y="22"/>
                </a:cubicBezTo>
                <a:cubicBezTo>
                  <a:pt x="190" y="21"/>
                  <a:pt x="190" y="21"/>
                  <a:pt x="190" y="21"/>
                </a:cubicBezTo>
                <a:cubicBezTo>
                  <a:pt x="190" y="19"/>
                  <a:pt x="190" y="19"/>
                  <a:pt x="190" y="19"/>
                </a:cubicBezTo>
                <a:cubicBezTo>
                  <a:pt x="190" y="18"/>
                  <a:pt x="190" y="18"/>
                  <a:pt x="190" y="18"/>
                </a:cubicBezTo>
                <a:close/>
                <a:moveTo>
                  <a:pt x="198" y="14"/>
                </a:moveTo>
                <a:cubicBezTo>
                  <a:pt x="199" y="15"/>
                  <a:pt x="199" y="15"/>
                  <a:pt x="199" y="15"/>
                </a:cubicBezTo>
                <a:cubicBezTo>
                  <a:pt x="199" y="17"/>
                  <a:pt x="199" y="17"/>
                  <a:pt x="199" y="17"/>
                </a:cubicBezTo>
                <a:cubicBezTo>
                  <a:pt x="199" y="16"/>
                  <a:pt x="199" y="16"/>
                  <a:pt x="199" y="16"/>
                </a:cubicBezTo>
                <a:cubicBezTo>
                  <a:pt x="200" y="15"/>
                  <a:pt x="200" y="15"/>
                  <a:pt x="200" y="15"/>
                </a:cubicBezTo>
                <a:cubicBezTo>
                  <a:pt x="200" y="14"/>
                  <a:pt x="200" y="14"/>
                  <a:pt x="200" y="14"/>
                </a:cubicBezTo>
                <a:cubicBezTo>
                  <a:pt x="199" y="13"/>
                  <a:pt x="199" y="13"/>
                  <a:pt x="199" y="13"/>
                </a:cubicBezTo>
                <a:cubicBezTo>
                  <a:pt x="198" y="14"/>
                  <a:pt x="198" y="14"/>
                  <a:pt x="198" y="14"/>
                </a:cubicBezTo>
                <a:close/>
                <a:moveTo>
                  <a:pt x="198" y="17"/>
                </a:moveTo>
                <a:cubicBezTo>
                  <a:pt x="199" y="17"/>
                  <a:pt x="199" y="17"/>
                  <a:pt x="199" y="17"/>
                </a:cubicBezTo>
                <a:cubicBezTo>
                  <a:pt x="199" y="18"/>
                  <a:pt x="199" y="18"/>
                  <a:pt x="199" y="18"/>
                </a:cubicBezTo>
                <a:cubicBezTo>
                  <a:pt x="199" y="18"/>
                  <a:pt x="199" y="18"/>
                  <a:pt x="199" y="18"/>
                </a:cubicBezTo>
                <a:cubicBezTo>
                  <a:pt x="199" y="18"/>
                  <a:pt x="198" y="17"/>
                  <a:pt x="198" y="17"/>
                </a:cubicBezTo>
                <a:close/>
                <a:moveTo>
                  <a:pt x="208" y="29"/>
                </a:moveTo>
                <a:cubicBezTo>
                  <a:pt x="209" y="31"/>
                  <a:pt x="209" y="31"/>
                  <a:pt x="209" y="31"/>
                </a:cubicBezTo>
                <a:cubicBezTo>
                  <a:pt x="209" y="30"/>
                  <a:pt x="209" y="30"/>
                  <a:pt x="209" y="30"/>
                </a:cubicBezTo>
                <a:cubicBezTo>
                  <a:pt x="210" y="30"/>
                  <a:pt x="210" y="30"/>
                  <a:pt x="210" y="30"/>
                </a:cubicBezTo>
                <a:cubicBezTo>
                  <a:pt x="211" y="29"/>
                  <a:pt x="211" y="29"/>
                  <a:pt x="211" y="29"/>
                </a:cubicBezTo>
                <a:cubicBezTo>
                  <a:pt x="211" y="28"/>
                  <a:pt x="211" y="28"/>
                  <a:pt x="211" y="28"/>
                </a:cubicBezTo>
                <a:cubicBezTo>
                  <a:pt x="210" y="28"/>
                  <a:pt x="210" y="28"/>
                  <a:pt x="210" y="28"/>
                </a:cubicBezTo>
                <a:cubicBezTo>
                  <a:pt x="209" y="28"/>
                  <a:pt x="209" y="28"/>
                  <a:pt x="209" y="28"/>
                </a:cubicBezTo>
                <a:cubicBezTo>
                  <a:pt x="208" y="29"/>
                  <a:pt x="208" y="29"/>
                  <a:pt x="208" y="29"/>
                </a:cubicBezTo>
                <a:close/>
                <a:moveTo>
                  <a:pt x="207" y="45"/>
                </a:moveTo>
                <a:cubicBezTo>
                  <a:pt x="208" y="47"/>
                  <a:pt x="208" y="47"/>
                  <a:pt x="208" y="47"/>
                </a:cubicBezTo>
                <a:cubicBezTo>
                  <a:pt x="209" y="49"/>
                  <a:pt x="209" y="49"/>
                  <a:pt x="209" y="49"/>
                </a:cubicBezTo>
                <a:cubicBezTo>
                  <a:pt x="210" y="49"/>
                  <a:pt x="210" y="49"/>
                  <a:pt x="210" y="49"/>
                </a:cubicBezTo>
                <a:cubicBezTo>
                  <a:pt x="209" y="49"/>
                  <a:pt x="209" y="49"/>
                  <a:pt x="209" y="49"/>
                </a:cubicBezTo>
                <a:cubicBezTo>
                  <a:pt x="209" y="50"/>
                  <a:pt x="209" y="50"/>
                  <a:pt x="209" y="50"/>
                </a:cubicBezTo>
                <a:cubicBezTo>
                  <a:pt x="209" y="49"/>
                  <a:pt x="209" y="49"/>
                  <a:pt x="209" y="49"/>
                </a:cubicBezTo>
                <a:cubicBezTo>
                  <a:pt x="208" y="49"/>
                  <a:pt x="208" y="49"/>
                  <a:pt x="208" y="49"/>
                </a:cubicBezTo>
                <a:cubicBezTo>
                  <a:pt x="207" y="47"/>
                  <a:pt x="207" y="47"/>
                  <a:pt x="207" y="47"/>
                </a:cubicBezTo>
                <a:cubicBezTo>
                  <a:pt x="205" y="46"/>
                  <a:pt x="205" y="46"/>
                  <a:pt x="205" y="46"/>
                </a:cubicBezTo>
                <a:cubicBezTo>
                  <a:pt x="204" y="44"/>
                  <a:pt x="204" y="44"/>
                  <a:pt x="204" y="44"/>
                </a:cubicBezTo>
                <a:cubicBezTo>
                  <a:pt x="205" y="43"/>
                  <a:pt x="205" y="43"/>
                  <a:pt x="205" y="43"/>
                </a:cubicBezTo>
                <a:cubicBezTo>
                  <a:pt x="205" y="42"/>
                  <a:pt x="205" y="42"/>
                  <a:pt x="205" y="42"/>
                </a:cubicBezTo>
                <a:cubicBezTo>
                  <a:pt x="205" y="42"/>
                  <a:pt x="205" y="42"/>
                  <a:pt x="205" y="42"/>
                </a:cubicBezTo>
                <a:cubicBezTo>
                  <a:pt x="204" y="41"/>
                  <a:pt x="204" y="41"/>
                  <a:pt x="204" y="41"/>
                </a:cubicBezTo>
                <a:cubicBezTo>
                  <a:pt x="204" y="39"/>
                  <a:pt x="204" y="39"/>
                  <a:pt x="204" y="39"/>
                </a:cubicBezTo>
                <a:cubicBezTo>
                  <a:pt x="204" y="39"/>
                  <a:pt x="204" y="39"/>
                  <a:pt x="204" y="39"/>
                </a:cubicBezTo>
                <a:cubicBezTo>
                  <a:pt x="204" y="37"/>
                  <a:pt x="204" y="37"/>
                  <a:pt x="204" y="37"/>
                </a:cubicBezTo>
                <a:cubicBezTo>
                  <a:pt x="203" y="36"/>
                  <a:pt x="203" y="36"/>
                  <a:pt x="203" y="36"/>
                </a:cubicBezTo>
                <a:cubicBezTo>
                  <a:pt x="203" y="35"/>
                  <a:pt x="203" y="35"/>
                  <a:pt x="203" y="35"/>
                </a:cubicBezTo>
                <a:cubicBezTo>
                  <a:pt x="204" y="34"/>
                  <a:pt x="204" y="34"/>
                  <a:pt x="204" y="34"/>
                </a:cubicBezTo>
                <a:cubicBezTo>
                  <a:pt x="204" y="33"/>
                  <a:pt x="204" y="33"/>
                  <a:pt x="204" y="33"/>
                </a:cubicBezTo>
                <a:cubicBezTo>
                  <a:pt x="205" y="31"/>
                  <a:pt x="205" y="31"/>
                  <a:pt x="205" y="31"/>
                </a:cubicBezTo>
                <a:cubicBezTo>
                  <a:pt x="206" y="29"/>
                  <a:pt x="206" y="29"/>
                  <a:pt x="206" y="29"/>
                </a:cubicBezTo>
                <a:cubicBezTo>
                  <a:pt x="207" y="29"/>
                  <a:pt x="207" y="29"/>
                  <a:pt x="207" y="29"/>
                </a:cubicBezTo>
                <a:cubicBezTo>
                  <a:pt x="207" y="30"/>
                  <a:pt x="207" y="30"/>
                  <a:pt x="207" y="30"/>
                </a:cubicBezTo>
                <a:cubicBezTo>
                  <a:pt x="206" y="31"/>
                  <a:pt x="206" y="31"/>
                  <a:pt x="206" y="31"/>
                </a:cubicBezTo>
                <a:cubicBezTo>
                  <a:pt x="206" y="32"/>
                  <a:pt x="206" y="32"/>
                  <a:pt x="206" y="32"/>
                </a:cubicBezTo>
                <a:cubicBezTo>
                  <a:pt x="207" y="32"/>
                  <a:pt x="207" y="32"/>
                  <a:pt x="207" y="32"/>
                </a:cubicBezTo>
                <a:cubicBezTo>
                  <a:pt x="207" y="34"/>
                  <a:pt x="207" y="34"/>
                  <a:pt x="207" y="34"/>
                </a:cubicBezTo>
                <a:cubicBezTo>
                  <a:pt x="207" y="36"/>
                  <a:pt x="207" y="36"/>
                  <a:pt x="207" y="36"/>
                </a:cubicBezTo>
                <a:cubicBezTo>
                  <a:pt x="206" y="36"/>
                  <a:pt x="206" y="36"/>
                  <a:pt x="206" y="36"/>
                </a:cubicBezTo>
                <a:cubicBezTo>
                  <a:pt x="205" y="36"/>
                  <a:pt x="205" y="36"/>
                  <a:pt x="205" y="36"/>
                </a:cubicBezTo>
                <a:cubicBezTo>
                  <a:pt x="205" y="38"/>
                  <a:pt x="205" y="38"/>
                  <a:pt x="205" y="38"/>
                </a:cubicBezTo>
                <a:cubicBezTo>
                  <a:pt x="206" y="37"/>
                  <a:pt x="206" y="37"/>
                  <a:pt x="206" y="37"/>
                </a:cubicBezTo>
                <a:cubicBezTo>
                  <a:pt x="207" y="36"/>
                  <a:pt x="207" y="36"/>
                  <a:pt x="207" y="36"/>
                </a:cubicBezTo>
                <a:cubicBezTo>
                  <a:pt x="208" y="36"/>
                  <a:pt x="208" y="36"/>
                  <a:pt x="208" y="36"/>
                </a:cubicBezTo>
                <a:cubicBezTo>
                  <a:pt x="208" y="35"/>
                  <a:pt x="208" y="35"/>
                  <a:pt x="208" y="35"/>
                </a:cubicBezTo>
                <a:cubicBezTo>
                  <a:pt x="208" y="35"/>
                  <a:pt x="208" y="35"/>
                  <a:pt x="208" y="35"/>
                </a:cubicBezTo>
                <a:cubicBezTo>
                  <a:pt x="208" y="34"/>
                  <a:pt x="208" y="34"/>
                  <a:pt x="208" y="34"/>
                </a:cubicBezTo>
                <a:cubicBezTo>
                  <a:pt x="210" y="33"/>
                  <a:pt x="210" y="33"/>
                  <a:pt x="210" y="33"/>
                </a:cubicBezTo>
                <a:cubicBezTo>
                  <a:pt x="212" y="33"/>
                  <a:pt x="212" y="33"/>
                  <a:pt x="212" y="33"/>
                </a:cubicBezTo>
                <a:cubicBezTo>
                  <a:pt x="212" y="33"/>
                  <a:pt x="212" y="33"/>
                  <a:pt x="212" y="33"/>
                </a:cubicBezTo>
                <a:cubicBezTo>
                  <a:pt x="212" y="34"/>
                  <a:pt x="212" y="34"/>
                  <a:pt x="212" y="34"/>
                </a:cubicBezTo>
                <a:cubicBezTo>
                  <a:pt x="211" y="37"/>
                  <a:pt x="211" y="37"/>
                  <a:pt x="211" y="37"/>
                </a:cubicBezTo>
                <a:cubicBezTo>
                  <a:pt x="209" y="37"/>
                  <a:pt x="209" y="37"/>
                  <a:pt x="209" y="37"/>
                </a:cubicBezTo>
                <a:cubicBezTo>
                  <a:pt x="208" y="38"/>
                  <a:pt x="208" y="38"/>
                  <a:pt x="208" y="38"/>
                </a:cubicBezTo>
                <a:cubicBezTo>
                  <a:pt x="209" y="39"/>
                  <a:pt x="209" y="39"/>
                  <a:pt x="209" y="39"/>
                </a:cubicBezTo>
                <a:cubicBezTo>
                  <a:pt x="210" y="39"/>
                  <a:pt x="210" y="39"/>
                  <a:pt x="210" y="39"/>
                </a:cubicBezTo>
                <a:cubicBezTo>
                  <a:pt x="211" y="40"/>
                  <a:pt x="211" y="40"/>
                  <a:pt x="211" y="40"/>
                </a:cubicBezTo>
                <a:cubicBezTo>
                  <a:pt x="211" y="41"/>
                  <a:pt x="211" y="41"/>
                  <a:pt x="211" y="41"/>
                </a:cubicBezTo>
                <a:cubicBezTo>
                  <a:pt x="212" y="42"/>
                  <a:pt x="212" y="42"/>
                  <a:pt x="212" y="42"/>
                </a:cubicBezTo>
                <a:cubicBezTo>
                  <a:pt x="211" y="42"/>
                  <a:pt x="211" y="42"/>
                  <a:pt x="211" y="42"/>
                </a:cubicBezTo>
                <a:cubicBezTo>
                  <a:pt x="210" y="41"/>
                  <a:pt x="210" y="41"/>
                  <a:pt x="210" y="41"/>
                </a:cubicBezTo>
                <a:cubicBezTo>
                  <a:pt x="208" y="41"/>
                  <a:pt x="208" y="41"/>
                  <a:pt x="208" y="41"/>
                </a:cubicBezTo>
                <a:cubicBezTo>
                  <a:pt x="207" y="41"/>
                  <a:pt x="207" y="41"/>
                  <a:pt x="207" y="41"/>
                </a:cubicBezTo>
                <a:cubicBezTo>
                  <a:pt x="206" y="41"/>
                  <a:pt x="206" y="41"/>
                  <a:pt x="206" y="41"/>
                </a:cubicBezTo>
                <a:cubicBezTo>
                  <a:pt x="206" y="43"/>
                  <a:pt x="206" y="43"/>
                  <a:pt x="206" y="43"/>
                </a:cubicBezTo>
                <a:cubicBezTo>
                  <a:pt x="207" y="45"/>
                  <a:pt x="207" y="45"/>
                  <a:pt x="207" y="45"/>
                </a:cubicBezTo>
                <a:close/>
                <a:moveTo>
                  <a:pt x="202" y="48"/>
                </a:moveTo>
                <a:cubicBezTo>
                  <a:pt x="202" y="49"/>
                  <a:pt x="202" y="49"/>
                  <a:pt x="202" y="49"/>
                </a:cubicBezTo>
                <a:cubicBezTo>
                  <a:pt x="201" y="49"/>
                  <a:pt x="201" y="49"/>
                  <a:pt x="201" y="49"/>
                </a:cubicBezTo>
                <a:cubicBezTo>
                  <a:pt x="202" y="48"/>
                  <a:pt x="202" y="48"/>
                  <a:pt x="202" y="48"/>
                </a:cubicBezTo>
                <a:cubicBezTo>
                  <a:pt x="202" y="48"/>
                  <a:pt x="202" y="48"/>
                  <a:pt x="202" y="48"/>
                </a:cubicBezTo>
                <a:close/>
                <a:moveTo>
                  <a:pt x="202" y="46"/>
                </a:moveTo>
                <a:cubicBezTo>
                  <a:pt x="201" y="46"/>
                  <a:pt x="201" y="46"/>
                  <a:pt x="201" y="46"/>
                </a:cubicBezTo>
                <a:cubicBezTo>
                  <a:pt x="201" y="47"/>
                  <a:pt x="201" y="47"/>
                  <a:pt x="201" y="47"/>
                </a:cubicBezTo>
                <a:cubicBezTo>
                  <a:pt x="202" y="47"/>
                  <a:pt x="202" y="47"/>
                  <a:pt x="202" y="47"/>
                </a:cubicBezTo>
                <a:cubicBezTo>
                  <a:pt x="202" y="46"/>
                  <a:pt x="202" y="46"/>
                  <a:pt x="202" y="46"/>
                </a:cubicBezTo>
                <a:cubicBezTo>
                  <a:pt x="202" y="46"/>
                  <a:pt x="202" y="46"/>
                  <a:pt x="202" y="46"/>
                </a:cubicBezTo>
                <a:close/>
                <a:moveTo>
                  <a:pt x="203" y="46"/>
                </a:moveTo>
                <a:cubicBezTo>
                  <a:pt x="203" y="47"/>
                  <a:pt x="203" y="47"/>
                  <a:pt x="203" y="47"/>
                </a:cubicBezTo>
                <a:cubicBezTo>
                  <a:pt x="203" y="48"/>
                  <a:pt x="203" y="48"/>
                  <a:pt x="203" y="48"/>
                </a:cubicBezTo>
                <a:cubicBezTo>
                  <a:pt x="203" y="49"/>
                  <a:pt x="203" y="49"/>
                  <a:pt x="203" y="49"/>
                </a:cubicBezTo>
                <a:cubicBezTo>
                  <a:pt x="204" y="49"/>
                  <a:pt x="204" y="49"/>
                  <a:pt x="204" y="49"/>
                </a:cubicBezTo>
                <a:cubicBezTo>
                  <a:pt x="205" y="49"/>
                  <a:pt x="205" y="49"/>
                  <a:pt x="205" y="49"/>
                </a:cubicBezTo>
                <a:cubicBezTo>
                  <a:pt x="206" y="49"/>
                  <a:pt x="206" y="49"/>
                  <a:pt x="206" y="49"/>
                </a:cubicBezTo>
                <a:cubicBezTo>
                  <a:pt x="205" y="48"/>
                  <a:pt x="205" y="48"/>
                  <a:pt x="205" y="48"/>
                </a:cubicBezTo>
                <a:cubicBezTo>
                  <a:pt x="204" y="48"/>
                  <a:pt x="204" y="48"/>
                  <a:pt x="204" y="48"/>
                </a:cubicBezTo>
                <a:cubicBezTo>
                  <a:pt x="205" y="47"/>
                  <a:pt x="205" y="47"/>
                  <a:pt x="205" y="47"/>
                </a:cubicBezTo>
                <a:cubicBezTo>
                  <a:pt x="204" y="46"/>
                  <a:pt x="204" y="46"/>
                  <a:pt x="204" y="46"/>
                </a:cubicBezTo>
                <a:cubicBezTo>
                  <a:pt x="203" y="46"/>
                  <a:pt x="203" y="46"/>
                  <a:pt x="203" y="46"/>
                </a:cubicBezTo>
                <a:close/>
                <a:moveTo>
                  <a:pt x="203" y="54"/>
                </a:moveTo>
                <a:cubicBezTo>
                  <a:pt x="205" y="52"/>
                  <a:pt x="205" y="52"/>
                  <a:pt x="205" y="52"/>
                </a:cubicBezTo>
                <a:cubicBezTo>
                  <a:pt x="206" y="52"/>
                  <a:pt x="206" y="52"/>
                  <a:pt x="206" y="52"/>
                </a:cubicBezTo>
                <a:cubicBezTo>
                  <a:pt x="208" y="54"/>
                  <a:pt x="208" y="54"/>
                  <a:pt x="208" y="54"/>
                </a:cubicBezTo>
                <a:cubicBezTo>
                  <a:pt x="207" y="55"/>
                  <a:pt x="207" y="55"/>
                  <a:pt x="207" y="55"/>
                </a:cubicBezTo>
                <a:cubicBezTo>
                  <a:pt x="206" y="55"/>
                  <a:pt x="206" y="55"/>
                  <a:pt x="206" y="55"/>
                </a:cubicBezTo>
                <a:cubicBezTo>
                  <a:pt x="205" y="55"/>
                  <a:pt x="205" y="55"/>
                  <a:pt x="205" y="55"/>
                </a:cubicBezTo>
                <a:cubicBezTo>
                  <a:pt x="205" y="55"/>
                  <a:pt x="205" y="55"/>
                  <a:pt x="205" y="55"/>
                </a:cubicBezTo>
                <a:cubicBezTo>
                  <a:pt x="203" y="54"/>
                  <a:pt x="203" y="54"/>
                  <a:pt x="203" y="54"/>
                </a:cubicBezTo>
                <a:cubicBezTo>
                  <a:pt x="203" y="54"/>
                  <a:pt x="203" y="54"/>
                  <a:pt x="203" y="54"/>
                </a:cubicBezTo>
                <a:close/>
                <a:moveTo>
                  <a:pt x="221" y="54"/>
                </a:moveTo>
                <a:cubicBezTo>
                  <a:pt x="219" y="55"/>
                  <a:pt x="219" y="55"/>
                  <a:pt x="219" y="55"/>
                </a:cubicBezTo>
                <a:cubicBezTo>
                  <a:pt x="218" y="55"/>
                  <a:pt x="218" y="55"/>
                  <a:pt x="218" y="55"/>
                </a:cubicBezTo>
                <a:cubicBezTo>
                  <a:pt x="218" y="56"/>
                  <a:pt x="218" y="56"/>
                  <a:pt x="218" y="56"/>
                </a:cubicBezTo>
                <a:cubicBezTo>
                  <a:pt x="220" y="57"/>
                  <a:pt x="220" y="57"/>
                  <a:pt x="220" y="57"/>
                </a:cubicBezTo>
                <a:cubicBezTo>
                  <a:pt x="222" y="56"/>
                  <a:pt x="222" y="56"/>
                  <a:pt x="222" y="56"/>
                </a:cubicBezTo>
                <a:cubicBezTo>
                  <a:pt x="222" y="56"/>
                  <a:pt x="222" y="56"/>
                  <a:pt x="222" y="56"/>
                </a:cubicBezTo>
                <a:cubicBezTo>
                  <a:pt x="221" y="55"/>
                  <a:pt x="221" y="55"/>
                  <a:pt x="221" y="55"/>
                </a:cubicBezTo>
                <a:cubicBezTo>
                  <a:pt x="221" y="54"/>
                  <a:pt x="221" y="54"/>
                  <a:pt x="221" y="54"/>
                </a:cubicBezTo>
                <a:close/>
                <a:moveTo>
                  <a:pt x="210" y="67"/>
                </a:moveTo>
                <a:cubicBezTo>
                  <a:pt x="211" y="66"/>
                  <a:pt x="211" y="66"/>
                  <a:pt x="211" y="66"/>
                </a:cubicBezTo>
                <a:cubicBezTo>
                  <a:pt x="211" y="67"/>
                  <a:pt x="211" y="67"/>
                  <a:pt x="211" y="67"/>
                </a:cubicBezTo>
                <a:cubicBezTo>
                  <a:pt x="210" y="67"/>
                  <a:pt x="210" y="67"/>
                  <a:pt x="210" y="67"/>
                </a:cubicBezTo>
                <a:cubicBezTo>
                  <a:pt x="210" y="67"/>
                  <a:pt x="210" y="67"/>
                  <a:pt x="210" y="67"/>
                </a:cubicBezTo>
                <a:close/>
                <a:moveTo>
                  <a:pt x="209" y="67"/>
                </a:moveTo>
                <a:cubicBezTo>
                  <a:pt x="210" y="67"/>
                  <a:pt x="210" y="67"/>
                  <a:pt x="210" y="67"/>
                </a:cubicBezTo>
                <a:cubicBezTo>
                  <a:pt x="210" y="67"/>
                  <a:pt x="210" y="67"/>
                  <a:pt x="210" y="67"/>
                </a:cubicBezTo>
                <a:cubicBezTo>
                  <a:pt x="209" y="67"/>
                  <a:pt x="209" y="67"/>
                  <a:pt x="209" y="67"/>
                </a:cubicBezTo>
                <a:cubicBezTo>
                  <a:pt x="209" y="67"/>
                  <a:pt x="209" y="67"/>
                  <a:pt x="209" y="67"/>
                </a:cubicBezTo>
                <a:close/>
                <a:moveTo>
                  <a:pt x="206" y="67"/>
                </a:moveTo>
                <a:cubicBezTo>
                  <a:pt x="207" y="67"/>
                  <a:pt x="207" y="67"/>
                  <a:pt x="207" y="67"/>
                </a:cubicBezTo>
                <a:cubicBezTo>
                  <a:pt x="208" y="66"/>
                  <a:pt x="208" y="66"/>
                  <a:pt x="208" y="66"/>
                </a:cubicBezTo>
                <a:cubicBezTo>
                  <a:pt x="208" y="67"/>
                  <a:pt x="208" y="67"/>
                  <a:pt x="208" y="67"/>
                </a:cubicBezTo>
                <a:cubicBezTo>
                  <a:pt x="208" y="68"/>
                  <a:pt x="208" y="68"/>
                  <a:pt x="208" y="68"/>
                </a:cubicBezTo>
                <a:cubicBezTo>
                  <a:pt x="207" y="67"/>
                  <a:pt x="207" y="67"/>
                  <a:pt x="207" y="67"/>
                </a:cubicBezTo>
                <a:cubicBezTo>
                  <a:pt x="207" y="68"/>
                  <a:pt x="207" y="68"/>
                  <a:pt x="207" y="68"/>
                </a:cubicBezTo>
                <a:cubicBezTo>
                  <a:pt x="206" y="67"/>
                  <a:pt x="206" y="67"/>
                  <a:pt x="206" y="67"/>
                </a:cubicBezTo>
                <a:close/>
                <a:moveTo>
                  <a:pt x="205" y="63"/>
                </a:moveTo>
                <a:cubicBezTo>
                  <a:pt x="205" y="64"/>
                  <a:pt x="205" y="64"/>
                  <a:pt x="205" y="64"/>
                </a:cubicBezTo>
                <a:cubicBezTo>
                  <a:pt x="205" y="64"/>
                  <a:pt x="205" y="64"/>
                  <a:pt x="205" y="64"/>
                </a:cubicBezTo>
                <a:cubicBezTo>
                  <a:pt x="205" y="63"/>
                  <a:pt x="205" y="63"/>
                  <a:pt x="205" y="63"/>
                </a:cubicBezTo>
                <a:close/>
                <a:moveTo>
                  <a:pt x="207" y="62"/>
                </a:moveTo>
                <a:cubicBezTo>
                  <a:pt x="205" y="62"/>
                  <a:pt x="205" y="62"/>
                  <a:pt x="205" y="62"/>
                </a:cubicBezTo>
                <a:cubicBezTo>
                  <a:pt x="206" y="63"/>
                  <a:pt x="206" y="63"/>
                  <a:pt x="206" y="63"/>
                </a:cubicBezTo>
                <a:cubicBezTo>
                  <a:pt x="206" y="63"/>
                  <a:pt x="206" y="63"/>
                  <a:pt x="206" y="63"/>
                </a:cubicBezTo>
                <a:cubicBezTo>
                  <a:pt x="207" y="62"/>
                  <a:pt x="207" y="62"/>
                  <a:pt x="207" y="62"/>
                </a:cubicBezTo>
                <a:close/>
                <a:moveTo>
                  <a:pt x="207" y="66"/>
                </a:moveTo>
                <a:cubicBezTo>
                  <a:pt x="208" y="64"/>
                  <a:pt x="208" y="64"/>
                  <a:pt x="208" y="64"/>
                </a:cubicBezTo>
                <a:cubicBezTo>
                  <a:pt x="209" y="65"/>
                  <a:pt x="209" y="65"/>
                  <a:pt x="209" y="65"/>
                </a:cubicBezTo>
                <a:cubicBezTo>
                  <a:pt x="210" y="66"/>
                  <a:pt x="210" y="66"/>
                  <a:pt x="210" y="66"/>
                </a:cubicBezTo>
                <a:cubicBezTo>
                  <a:pt x="211" y="66"/>
                  <a:pt x="211" y="66"/>
                  <a:pt x="211" y="66"/>
                </a:cubicBezTo>
                <a:cubicBezTo>
                  <a:pt x="212" y="64"/>
                  <a:pt x="212" y="64"/>
                  <a:pt x="212" y="64"/>
                </a:cubicBezTo>
                <a:cubicBezTo>
                  <a:pt x="213" y="64"/>
                  <a:pt x="213" y="64"/>
                  <a:pt x="213" y="64"/>
                </a:cubicBezTo>
                <a:cubicBezTo>
                  <a:pt x="213" y="66"/>
                  <a:pt x="213" y="66"/>
                  <a:pt x="213" y="66"/>
                </a:cubicBezTo>
                <a:cubicBezTo>
                  <a:pt x="216" y="66"/>
                  <a:pt x="216" y="66"/>
                  <a:pt x="216" y="66"/>
                </a:cubicBezTo>
                <a:cubicBezTo>
                  <a:pt x="217" y="65"/>
                  <a:pt x="217" y="65"/>
                  <a:pt x="217" y="65"/>
                </a:cubicBezTo>
                <a:cubicBezTo>
                  <a:pt x="218" y="65"/>
                  <a:pt x="218" y="65"/>
                  <a:pt x="218" y="65"/>
                </a:cubicBezTo>
                <a:cubicBezTo>
                  <a:pt x="220" y="67"/>
                  <a:pt x="220" y="67"/>
                  <a:pt x="220" y="67"/>
                </a:cubicBezTo>
                <a:cubicBezTo>
                  <a:pt x="221" y="67"/>
                  <a:pt x="221" y="67"/>
                  <a:pt x="221" y="67"/>
                </a:cubicBezTo>
                <a:cubicBezTo>
                  <a:pt x="223" y="68"/>
                  <a:pt x="223" y="68"/>
                  <a:pt x="223" y="68"/>
                </a:cubicBezTo>
                <a:cubicBezTo>
                  <a:pt x="224" y="68"/>
                  <a:pt x="224" y="68"/>
                  <a:pt x="224" y="68"/>
                </a:cubicBezTo>
                <a:cubicBezTo>
                  <a:pt x="225" y="67"/>
                  <a:pt x="225" y="67"/>
                  <a:pt x="225" y="67"/>
                </a:cubicBezTo>
                <a:cubicBezTo>
                  <a:pt x="224" y="65"/>
                  <a:pt x="224" y="65"/>
                  <a:pt x="224" y="65"/>
                </a:cubicBezTo>
                <a:cubicBezTo>
                  <a:pt x="221" y="63"/>
                  <a:pt x="221" y="63"/>
                  <a:pt x="221" y="63"/>
                </a:cubicBezTo>
                <a:cubicBezTo>
                  <a:pt x="218" y="63"/>
                  <a:pt x="218" y="63"/>
                  <a:pt x="218" y="63"/>
                </a:cubicBezTo>
                <a:cubicBezTo>
                  <a:pt x="217" y="61"/>
                  <a:pt x="217" y="61"/>
                  <a:pt x="217" y="61"/>
                </a:cubicBezTo>
                <a:cubicBezTo>
                  <a:pt x="216" y="61"/>
                  <a:pt x="216" y="61"/>
                  <a:pt x="216" y="61"/>
                </a:cubicBezTo>
                <a:cubicBezTo>
                  <a:pt x="215" y="62"/>
                  <a:pt x="215" y="62"/>
                  <a:pt x="215" y="62"/>
                </a:cubicBezTo>
                <a:cubicBezTo>
                  <a:pt x="213" y="62"/>
                  <a:pt x="213" y="62"/>
                  <a:pt x="213" y="62"/>
                </a:cubicBezTo>
                <a:cubicBezTo>
                  <a:pt x="212" y="62"/>
                  <a:pt x="212" y="62"/>
                  <a:pt x="212" y="62"/>
                </a:cubicBezTo>
                <a:cubicBezTo>
                  <a:pt x="211" y="62"/>
                  <a:pt x="211" y="62"/>
                  <a:pt x="211" y="62"/>
                </a:cubicBezTo>
                <a:cubicBezTo>
                  <a:pt x="208" y="62"/>
                  <a:pt x="208" y="62"/>
                  <a:pt x="208" y="62"/>
                </a:cubicBezTo>
                <a:cubicBezTo>
                  <a:pt x="207" y="63"/>
                  <a:pt x="207" y="63"/>
                  <a:pt x="207" y="63"/>
                </a:cubicBezTo>
                <a:cubicBezTo>
                  <a:pt x="207" y="63"/>
                  <a:pt x="207" y="63"/>
                  <a:pt x="207" y="63"/>
                </a:cubicBezTo>
                <a:cubicBezTo>
                  <a:pt x="206" y="64"/>
                  <a:pt x="206" y="64"/>
                  <a:pt x="206" y="64"/>
                </a:cubicBezTo>
                <a:cubicBezTo>
                  <a:pt x="206" y="65"/>
                  <a:pt x="206" y="65"/>
                  <a:pt x="206" y="65"/>
                </a:cubicBezTo>
                <a:cubicBezTo>
                  <a:pt x="206" y="66"/>
                  <a:pt x="206" y="66"/>
                  <a:pt x="206" y="66"/>
                </a:cubicBezTo>
                <a:cubicBezTo>
                  <a:pt x="207" y="66"/>
                  <a:pt x="207" y="66"/>
                  <a:pt x="207" y="66"/>
                </a:cubicBezTo>
                <a:close/>
                <a:moveTo>
                  <a:pt x="195" y="64"/>
                </a:moveTo>
                <a:cubicBezTo>
                  <a:pt x="196" y="64"/>
                  <a:pt x="196" y="64"/>
                  <a:pt x="196" y="64"/>
                </a:cubicBezTo>
                <a:cubicBezTo>
                  <a:pt x="197" y="63"/>
                  <a:pt x="197" y="63"/>
                  <a:pt x="197" y="63"/>
                </a:cubicBezTo>
                <a:cubicBezTo>
                  <a:pt x="199" y="63"/>
                  <a:pt x="199" y="63"/>
                  <a:pt x="199" y="63"/>
                </a:cubicBezTo>
                <a:cubicBezTo>
                  <a:pt x="201" y="64"/>
                  <a:pt x="201" y="64"/>
                  <a:pt x="201" y="64"/>
                </a:cubicBezTo>
                <a:cubicBezTo>
                  <a:pt x="201" y="65"/>
                  <a:pt x="201" y="65"/>
                  <a:pt x="201" y="65"/>
                </a:cubicBezTo>
                <a:cubicBezTo>
                  <a:pt x="202" y="66"/>
                  <a:pt x="202" y="66"/>
                  <a:pt x="202" y="66"/>
                </a:cubicBezTo>
                <a:cubicBezTo>
                  <a:pt x="202" y="67"/>
                  <a:pt x="202" y="67"/>
                  <a:pt x="202" y="67"/>
                </a:cubicBezTo>
                <a:cubicBezTo>
                  <a:pt x="201" y="67"/>
                  <a:pt x="201" y="67"/>
                  <a:pt x="201" y="67"/>
                </a:cubicBezTo>
                <a:cubicBezTo>
                  <a:pt x="200" y="68"/>
                  <a:pt x="200" y="68"/>
                  <a:pt x="200" y="68"/>
                </a:cubicBezTo>
                <a:cubicBezTo>
                  <a:pt x="198" y="68"/>
                  <a:pt x="198" y="68"/>
                  <a:pt x="198" y="68"/>
                </a:cubicBezTo>
                <a:cubicBezTo>
                  <a:pt x="197" y="68"/>
                  <a:pt x="197" y="68"/>
                  <a:pt x="197" y="68"/>
                </a:cubicBezTo>
                <a:cubicBezTo>
                  <a:pt x="196" y="68"/>
                  <a:pt x="196" y="68"/>
                  <a:pt x="196" y="68"/>
                </a:cubicBezTo>
                <a:cubicBezTo>
                  <a:pt x="194" y="67"/>
                  <a:pt x="194" y="67"/>
                  <a:pt x="194" y="67"/>
                </a:cubicBezTo>
                <a:cubicBezTo>
                  <a:pt x="193" y="66"/>
                  <a:pt x="193" y="66"/>
                  <a:pt x="193" y="66"/>
                </a:cubicBezTo>
                <a:cubicBezTo>
                  <a:pt x="193" y="64"/>
                  <a:pt x="193" y="64"/>
                  <a:pt x="193" y="64"/>
                </a:cubicBezTo>
                <a:cubicBezTo>
                  <a:pt x="195" y="64"/>
                  <a:pt x="195" y="64"/>
                  <a:pt x="195" y="64"/>
                </a:cubicBezTo>
                <a:close/>
                <a:moveTo>
                  <a:pt x="160" y="90"/>
                </a:moveTo>
                <a:cubicBezTo>
                  <a:pt x="159" y="89"/>
                  <a:pt x="159" y="89"/>
                  <a:pt x="159" y="89"/>
                </a:cubicBezTo>
                <a:cubicBezTo>
                  <a:pt x="158" y="90"/>
                  <a:pt x="158" y="90"/>
                  <a:pt x="158" y="90"/>
                </a:cubicBezTo>
                <a:cubicBezTo>
                  <a:pt x="159" y="90"/>
                  <a:pt x="159" y="90"/>
                  <a:pt x="159" y="90"/>
                </a:cubicBezTo>
                <a:cubicBezTo>
                  <a:pt x="160" y="90"/>
                  <a:pt x="160" y="90"/>
                  <a:pt x="160" y="90"/>
                </a:cubicBezTo>
                <a:close/>
                <a:moveTo>
                  <a:pt x="158" y="81"/>
                </a:moveTo>
                <a:cubicBezTo>
                  <a:pt x="159" y="83"/>
                  <a:pt x="159" y="83"/>
                  <a:pt x="159" y="83"/>
                </a:cubicBezTo>
                <a:cubicBezTo>
                  <a:pt x="159" y="84"/>
                  <a:pt x="159" y="84"/>
                  <a:pt x="159" y="84"/>
                </a:cubicBezTo>
                <a:cubicBezTo>
                  <a:pt x="159" y="85"/>
                  <a:pt x="159" y="85"/>
                  <a:pt x="159" y="85"/>
                </a:cubicBezTo>
                <a:cubicBezTo>
                  <a:pt x="158" y="84"/>
                  <a:pt x="158" y="84"/>
                  <a:pt x="158" y="84"/>
                </a:cubicBezTo>
                <a:cubicBezTo>
                  <a:pt x="158" y="83"/>
                  <a:pt x="158" y="83"/>
                  <a:pt x="158" y="83"/>
                </a:cubicBezTo>
                <a:cubicBezTo>
                  <a:pt x="158" y="82"/>
                  <a:pt x="158" y="82"/>
                  <a:pt x="158" y="82"/>
                </a:cubicBezTo>
                <a:cubicBezTo>
                  <a:pt x="158" y="81"/>
                  <a:pt x="158" y="81"/>
                  <a:pt x="158" y="81"/>
                </a:cubicBezTo>
                <a:cubicBezTo>
                  <a:pt x="158" y="81"/>
                  <a:pt x="158" y="81"/>
                  <a:pt x="158" y="81"/>
                </a:cubicBezTo>
                <a:close/>
                <a:moveTo>
                  <a:pt x="193" y="57"/>
                </a:moveTo>
                <a:cubicBezTo>
                  <a:pt x="193" y="58"/>
                  <a:pt x="193" y="58"/>
                  <a:pt x="193" y="58"/>
                </a:cubicBezTo>
                <a:cubicBezTo>
                  <a:pt x="194" y="59"/>
                  <a:pt x="194" y="59"/>
                  <a:pt x="194" y="59"/>
                </a:cubicBezTo>
                <a:cubicBezTo>
                  <a:pt x="194" y="60"/>
                  <a:pt x="194" y="60"/>
                  <a:pt x="194" y="60"/>
                </a:cubicBezTo>
                <a:cubicBezTo>
                  <a:pt x="194" y="59"/>
                  <a:pt x="194" y="59"/>
                  <a:pt x="194" y="59"/>
                </a:cubicBezTo>
                <a:cubicBezTo>
                  <a:pt x="193" y="58"/>
                  <a:pt x="193" y="58"/>
                  <a:pt x="193" y="58"/>
                </a:cubicBezTo>
                <a:cubicBezTo>
                  <a:pt x="193" y="57"/>
                  <a:pt x="193" y="57"/>
                  <a:pt x="193" y="57"/>
                </a:cubicBezTo>
                <a:cubicBezTo>
                  <a:pt x="193" y="57"/>
                  <a:pt x="193" y="57"/>
                  <a:pt x="193" y="57"/>
                </a:cubicBezTo>
                <a:close/>
                <a:moveTo>
                  <a:pt x="190" y="55"/>
                </a:moveTo>
                <a:cubicBezTo>
                  <a:pt x="191" y="55"/>
                  <a:pt x="191" y="55"/>
                  <a:pt x="191" y="55"/>
                </a:cubicBezTo>
                <a:cubicBezTo>
                  <a:pt x="192" y="55"/>
                  <a:pt x="192" y="55"/>
                  <a:pt x="192" y="55"/>
                </a:cubicBezTo>
                <a:cubicBezTo>
                  <a:pt x="192" y="55"/>
                  <a:pt x="192" y="55"/>
                  <a:pt x="192" y="55"/>
                </a:cubicBezTo>
                <a:cubicBezTo>
                  <a:pt x="195" y="55"/>
                  <a:pt x="195" y="55"/>
                  <a:pt x="195" y="55"/>
                </a:cubicBezTo>
                <a:cubicBezTo>
                  <a:pt x="196" y="55"/>
                  <a:pt x="196" y="55"/>
                  <a:pt x="196" y="55"/>
                </a:cubicBezTo>
                <a:cubicBezTo>
                  <a:pt x="195" y="56"/>
                  <a:pt x="195" y="56"/>
                  <a:pt x="195" y="56"/>
                </a:cubicBezTo>
                <a:cubicBezTo>
                  <a:pt x="192" y="56"/>
                  <a:pt x="192" y="56"/>
                  <a:pt x="192" y="56"/>
                </a:cubicBezTo>
                <a:cubicBezTo>
                  <a:pt x="190" y="56"/>
                  <a:pt x="190" y="56"/>
                  <a:pt x="190" y="56"/>
                </a:cubicBezTo>
                <a:cubicBezTo>
                  <a:pt x="190" y="55"/>
                  <a:pt x="190" y="55"/>
                  <a:pt x="190" y="55"/>
                </a:cubicBezTo>
                <a:cubicBezTo>
                  <a:pt x="190" y="55"/>
                  <a:pt x="190" y="55"/>
                  <a:pt x="190" y="55"/>
                </a:cubicBezTo>
                <a:close/>
                <a:moveTo>
                  <a:pt x="184" y="55"/>
                </a:moveTo>
                <a:cubicBezTo>
                  <a:pt x="184" y="54"/>
                  <a:pt x="184" y="54"/>
                  <a:pt x="184" y="54"/>
                </a:cubicBezTo>
                <a:cubicBezTo>
                  <a:pt x="185" y="55"/>
                  <a:pt x="185" y="55"/>
                  <a:pt x="185" y="55"/>
                </a:cubicBezTo>
                <a:cubicBezTo>
                  <a:pt x="186" y="54"/>
                  <a:pt x="186" y="54"/>
                  <a:pt x="186" y="54"/>
                </a:cubicBezTo>
                <a:cubicBezTo>
                  <a:pt x="187" y="55"/>
                  <a:pt x="187" y="55"/>
                  <a:pt x="187" y="55"/>
                </a:cubicBezTo>
                <a:cubicBezTo>
                  <a:pt x="188" y="55"/>
                  <a:pt x="188" y="55"/>
                  <a:pt x="188" y="55"/>
                </a:cubicBezTo>
                <a:cubicBezTo>
                  <a:pt x="189" y="54"/>
                  <a:pt x="189" y="54"/>
                  <a:pt x="189" y="54"/>
                </a:cubicBezTo>
                <a:cubicBezTo>
                  <a:pt x="190" y="55"/>
                  <a:pt x="190" y="55"/>
                  <a:pt x="190" y="55"/>
                </a:cubicBezTo>
                <a:cubicBezTo>
                  <a:pt x="190" y="56"/>
                  <a:pt x="190" y="56"/>
                  <a:pt x="190" y="56"/>
                </a:cubicBezTo>
                <a:cubicBezTo>
                  <a:pt x="189" y="56"/>
                  <a:pt x="189" y="56"/>
                  <a:pt x="189" y="56"/>
                </a:cubicBezTo>
                <a:cubicBezTo>
                  <a:pt x="187" y="56"/>
                  <a:pt x="187" y="56"/>
                  <a:pt x="187" y="56"/>
                </a:cubicBezTo>
                <a:cubicBezTo>
                  <a:pt x="187" y="56"/>
                  <a:pt x="187" y="56"/>
                  <a:pt x="187" y="56"/>
                </a:cubicBezTo>
                <a:cubicBezTo>
                  <a:pt x="185" y="57"/>
                  <a:pt x="185" y="57"/>
                  <a:pt x="185" y="57"/>
                </a:cubicBezTo>
                <a:cubicBezTo>
                  <a:pt x="184" y="56"/>
                  <a:pt x="184" y="56"/>
                  <a:pt x="184" y="56"/>
                </a:cubicBezTo>
                <a:cubicBezTo>
                  <a:pt x="184" y="56"/>
                  <a:pt x="184" y="56"/>
                  <a:pt x="184" y="56"/>
                </a:cubicBezTo>
                <a:cubicBezTo>
                  <a:pt x="184" y="55"/>
                  <a:pt x="184" y="55"/>
                  <a:pt x="184" y="55"/>
                </a:cubicBezTo>
                <a:close/>
                <a:moveTo>
                  <a:pt x="173" y="78"/>
                </a:moveTo>
                <a:cubicBezTo>
                  <a:pt x="174" y="77"/>
                  <a:pt x="174" y="77"/>
                  <a:pt x="174" y="77"/>
                </a:cubicBezTo>
                <a:cubicBezTo>
                  <a:pt x="174" y="75"/>
                  <a:pt x="174" y="75"/>
                  <a:pt x="174" y="75"/>
                </a:cubicBezTo>
                <a:cubicBezTo>
                  <a:pt x="174" y="73"/>
                  <a:pt x="174" y="73"/>
                  <a:pt x="174" y="73"/>
                </a:cubicBezTo>
                <a:cubicBezTo>
                  <a:pt x="175" y="72"/>
                  <a:pt x="175" y="72"/>
                  <a:pt x="175" y="72"/>
                </a:cubicBezTo>
                <a:cubicBezTo>
                  <a:pt x="176" y="72"/>
                  <a:pt x="176" y="72"/>
                  <a:pt x="176" y="72"/>
                </a:cubicBezTo>
                <a:cubicBezTo>
                  <a:pt x="176" y="73"/>
                  <a:pt x="176" y="73"/>
                  <a:pt x="176" y="73"/>
                </a:cubicBezTo>
                <a:cubicBezTo>
                  <a:pt x="176" y="74"/>
                  <a:pt x="176" y="74"/>
                  <a:pt x="176" y="74"/>
                </a:cubicBezTo>
                <a:cubicBezTo>
                  <a:pt x="176" y="75"/>
                  <a:pt x="176" y="75"/>
                  <a:pt x="176" y="75"/>
                </a:cubicBezTo>
                <a:cubicBezTo>
                  <a:pt x="176" y="74"/>
                  <a:pt x="176" y="74"/>
                  <a:pt x="176" y="74"/>
                </a:cubicBezTo>
                <a:cubicBezTo>
                  <a:pt x="176" y="75"/>
                  <a:pt x="176" y="75"/>
                  <a:pt x="176" y="75"/>
                </a:cubicBezTo>
                <a:cubicBezTo>
                  <a:pt x="175" y="75"/>
                  <a:pt x="175" y="75"/>
                  <a:pt x="175" y="75"/>
                </a:cubicBezTo>
                <a:cubicBezTo>
                  <a:pt x="174" y="76"/>
                  <a:pt x="174" y="76"/>
                  <a:pt x="174" y="76"/>
                </a:cubicBezTo>
                <a:cubicBezTo>
                  <a:pt x="175" y="77"/>
                  <a:pt x="175" y="77"/>
                  <a:pt x="175" y="77"/>
                </a:cubicBezTo>
                <a:cubicBezTo>
                  <a:pt x="176" y="77"/>
                  <a:pt x="176" y="77"/>
                  <a:pt x="176" y="77"/>
                </a:cubicBezTo>
                <a:cubicBezTo>
                  <a:pt x="176" y="77"/>
                  <a:pt x="176" y="77"/>
                  <a:pt x="176" y="77"/>
                </a:cubicBezTo>
                <a:cubicBezTo>
                  <a:pt x="176" y="78"/>
                  <a:pt x="176" y="78"/>
                  <a:pt x="176" y="78"/>
                </a:cubicBezTo>
                <a:cubicBezTo>
                  <a:pt x="175" y="78"/>
                  <a:pt x="175" y="78"/>
                  <a:pt x="175" y="78"/>
                </a:cubicBezTo>
                <a:cubicBezTo>
                  <a:pt x="174" y="79"/>
                  <a:pt x="174" y="79"/>
                  <a:pt x="174" y="79"/>
                </a:cubicBezTo>
                <a:cubicBezTo>
                  <a:pt x="173" y="80"/>
                  <a:pt x="173" y="80"/>
                  <a:pt x="173" y="80"/>
                </a:cubicBezTo>
                <a:cubicBezTo>
                  <a:pt x="172" y="79"/>
                  <a:pt x="172" y="79"/>
                  <a:pt x="172" y="79"/>
                </a:cubicBezTo>
                <a:cubicBezTo>
                  <a:pt x="173" y="78"/>
                  <a:pt x="173" y="78"/>
                  <a:pt x="173" y="78"/>
                </a:cubicBezTo>
                <a:close/>
                <a:moveTo>
                  <a:pt x="170" y="77"/>
                </a:moveTo>
                <a:cubicBezTo>
                  <a:pt x="170" y="77"/>
                  <a:pt x="170" y="78"/>
                  <a:pt x="170" y="78"/>
                </a:cubicBezTo>
                <a:cubicBezTo>
                  <a:pt x="170" y="78"/>
                  <a:pt x="170" y="78"/>
                  <a:pt x="170" y="78"/>
                </a:cubicBezTo>
                <a:cubicBezTo>
                  <a:pt x="171" y="78"/>
                  <a:pt x="171" y="78"/>
                  <a:pt x="171" y="78"/>
                </a:cubicBezTo>
                <a:cubicBezTo>
                  <a:pt x="172" y="77"/>
                  <a:pt x="172" y="77"/>
                  <a:pt x="172" y="77"/>
                </a:cubicBezTo>
                <a:cubicBezTo>
                  <a:pt x="172" y="77"/>
                  <a:pt x="172" y="77"/>
                  <a:pt x="172" y="77"/>
                </a:cubicBezTo>
                <a:cubicBezTo>
                  <a:pt x="172" y="76"/>
                  <a:pt x="172" y="76"/>
                  <a:pt x="172" y="76"/>
                </a:cubicBezTo>
                <a:cubicBezTo>
                  <a:pt x="173" y="75"/>
                  <a:pt x="173" y="75"/>
                  <a:pt x="173" y="75"/>
                </a:cubicBezTo>
                <a:cubicBezTo>
                  <a:pt x="173" y="75"/>
                  <a:pt x="173" y="75"/>
                  <a:pt x="173" y="75"/>
                </a:cubicBezTo>
                <a:cubicBezTo>
                  <a:pt x="172" y="74"/>
                  <a:pt x="172" y="74"/>
                  <a:pt x="172" y="74"/>
                </a:cubicBezTo>
                <a:cubicBezTo>
                  <a:pt x="171" y="74"/>
                  <a:pt x="171" y="74"/>
                  <a:pt x="171" y="74"/>
                </a:cubicBezTo>
                <a:cubicBezTo>
                  <a:pt x="170" y="75"/>
                  <a:pt x="170" y="75"/>
                  <a:pt x="170" y="75"/>
                </a:cubicBezTo>
                <a:cubicBezTo>
                  <a:pt x="171" y="76"/>
                  <a:pt x="171" y="76"/>
                  <a:pt x="171" y="76"/>
                </a:cubicBezTo>
                <a:cubicBezTo>
                  <a:pt x="170" y="77"/>
                  <a:pt x="170" y="77"/>
                  <a:pt x="170" y="77"/>
                </a:cubicBezTo>
                <a:close/>
                <a:moveTo>
                  <a:pt x="167" y="76"/>
                </a:moveTo>
                <a:cubicBezTo>
                  <a:pt x="167" y="77"/>
                  <a:pt x="167" y="77"/>
                  <a:pt x="167" y="77"/>
                </a:cubicBezTo>
                <a:cubicBezTo>
                  <a:pt x="167" y="77"/>
                  <a:pt x="167" y="77"/>
                  <a:pt x="167" y="77"/>
                </a:cubicBezTo>
                <a:cubicBezTo>
                  <a:pt x="167" y="79"/>
                  <a:pt x="167" y="79"/>
                  <a:pt x="167" y="79"/>
                </a:cubicBezTo>
                <a:cubicBezTo>
                  <a:pt x="168" y="79"/>
                  <a:pt x="168" y="79"/>
                  <a:pt x="168" y="79"/>
                </a:cubicBezTo>
                <a:cubicBezTo>
                  <a:pt x="168" y="78"/>
                  <a:pt x="168" y="78"/>
                  <a:pt x="168" y="78"/>
                </a:cubicBezTo>
                <a:cubicBezTo>
                  <a:pt x="168" y="77"/>
                  <a:pt x="168" y="77"/>
                  <a:pt x="168" y="77"/>
                </a:cubicBezTo>
                <a:cubicBezTo>
                  <a:pt x="167" y="76"/>
                  <a:pt x="167" y="76"/>
                  <a:pt x="167" y="76"/>
                </a:cubicBezTo>
                <a:cubicBezTo>
                  <a:pt x="167" y="76"/>
                  <a:pt x="167" y="76"/>
                  <a:pt x="167" y="76"/>
                </a:cubicBezTo>
                <a:close/>
                <a:moveTo>
                  <a:pt x="176" y="56"/>
                </a:moveTo>
                <a:cubicBezTo>
                  <a:pt x="175" y="56"/>
                  <a:pt x="175" y="56"/>
                  <a:pt x="175" y="56"/>
                </a:cubicBezTo>
                <a:cubicBezTo>
                  <a:pt x="176" y="56"/>
                  <a:pt x="176" y="56"/>
                  <a:pt x="176" y="56"/>
                </a:cubicBezTo>
                <a:cubicBezTo>
                  <a:pt x="176" y="56"/>
                  <a:pt x="176" y="56"/>
                  <a:pt x="176" y="56"/>
                </a:cubicBezTo>
                <a:close/>
                <a:moveTo>
                  <a:pt x="177" y="55"/>
                </a:moveTo>
                <a:cubicBezTo>
                  <a:pt x="177" y="55"/>
                  <a:pt x="177" y="55"/>
                  <a:pt x="177" y="55"/>
                </a:cubicBezTo>
                <a:cubicBezTo>
                  <a:pt x="178" y="55"/>
                  <a:pt x="178" y="55"/>
                  <a:pt x="178" y="55"/>
                </a:cubicBezTo>
                <a:cubicBezTo>
                  <a:pt x="177" y="55"/>
                  <a:pt x="177" y="55"/>
                  <a:pt x="177" y="55"/>
                </a:cubicBezTo>
                <a:close/>
                <a:moveTo>
                  <a:pt x="179" y="54"/>
                </a:moveTo>
                <a:cubicBezTo>
                  <a:pt x="178" y="54"/>
                  <a:pt x="178" y="54"/>
                  <a:pt x="178" y="54"/>
                </a:cubicBezTo>
                <a:cubicBezTo>
                  <a:pt x="179" y="54"/>
                  <a:pt x="179" y="54"/>
                  <a:pt x="179" y="54"/>
                </a:cubicBezTo>
                <a:cubicBezTo>
                  <a:pt x="179" y="54"/>
                  <a:pt x="179" y="54"/>
                  <a:pt x="179" y="54"/>
                </a:cubicBezTo>
                <a:close/>
                <a:moveTo>
                  <a:pt x="174" y="52"/>
                </a:moveTo>
                <a:cubicBezTo>
                  <a:pt x="175" y="51"/>
                  <a:pt x="175" y="51"/>
                  <a:pt x="175" y="51"/>
                </a:cubicBezTo>
                <a:cubicBezTo>
                  <a:pt x="177" y="51"/>
                  <a:pt x="177" y="51"/>
                  <a:pt x="177" y="51"/>
                </a:cubicBezTo>
                <a:cubicBezTo>
                  <a:pt x="177" y="52"/>
                  <a:pt x="177" y="52"/>
                  <a:pt x="177" y="52"/>
                </a:cubicBezTo>
                <a:cubicBezTo>
                  <a:pt x="177" y="53"/>
                  <a:pt x="177" y="53"/>
                  <a:pt x="177" y="53"/>
                </a:cubicBezTo>
                <a:cubicBezTo>
                  <a:pt x="178" y="52"/>
                  <a:pt x="178" y="52"/>
                  <a:pt x="178" y="52"/>
                </a:cubicBezTo>
                <a:cubicBezTo>
                  <a:pt x="178" y="52"/>
                  <a:pt x="178" y="52"/>
                  <a:pt x="178" y="52"/>
                </a:cubicBezTo>
                <a:cubicBezTo>
                  <a:pt x="179" y="52"/>
                  <a:pt x="179" y="52"/>
                  <a:pt x="179" y="52"/>
                </a:cubicBezTo>
                <a:cubicBezTo>
                  <a:pt x="179" y="53"/>
                  <a:pt x="179" y="53"/>
                  <a:pt x="179" y="53"/>
                </a:cubicBezTo>
                <a:cubicBezTo>
                  <a:pt x="178" y="54"/>
                  <a:pt x="178" y="54"/>
                  <a:pt x="178" y="54"/>
                </a:cubicBezTo>
                <a:cubicBezTo>
                  <a:pt x="177" y="53"/>
                  <a:pt x="177" y="53"/>
                  <a:pt x="177" y="53"/>
                </a:cubicBezTo>
                <a:cubicBezTo>
                  <a:pt x="177" y="54"/>
                  <a:pt x="177" y="54"/>
                  <a:pt x="177" y="54"/>
                </a:cubicBezTo>
                <a:cubicBezTo>
                  <a:pt x="176" y="53"/>
                  <a:pt x="176" y="53"/>
                  <a:pt x="176" y="53"/>
                </a:cubicBezTo>
                <a:cubicBezTo>
                  <a:pt x="175" y="54"/>
                  <a:pt x="175" y="54"/>
                  <a:pt x="175" y="54"/>
                </a:cubicBezTo>
                <a:cubicBezTo>
                  <a:pt x="174" y="53"/>
                  <a:pt x="174" y="53"/>
                  <a:pt x="174" y="53"/>
                </a:cubicBezTo>
                <a:cubicBezTo>
                  <a:pt x="174" y="52"/>
                  <a:pt x="174" y="52"/>
                  <a:pt x="174" y="52"/>
                </a:cubicBezTo>
                <a:close/>
                <a:moveTo>
                  <a:pt x="167" y="46"/>
                </a:moveTo>
                <a:cubicBezTo>
                  <a:pt x="168" y="46"/>
                  <a:pt x="168" y="46"/>
                  <a:pt x="168" y="46"/>
                </a:cubicBezTo>
                <a:cubicBezTo>
                  <a:pt x="168" y="46"/>
                  <a:pt x="168" y="46"/>
                  <a:pt x="168" y="46"/>
                </a:cubicBezTo>
                <a:cubicBezTo>
                  <a:pt x="168" y="46"/>
                  <a:pt x="167" y="46"/>
                  <a:pt x="167" y="46"/>
                </a:cubicBezTo>
                <a:close/>
                <a:moveTo>
                  <a:pt x="166" y="46"/>
                </a:moveTo>
                <a:cubicBezTo>
                  <a:pt x="167" y="46"/>
                  <a:pt x="167" y="46"/>
                  <a:pt x="167" y="46"/>
                </a:cubicBezTo>
                <a:cubicBezTo>
                  <a:pt x="168" y="47"/>
                  <a:pt x="168" y="47"/>
                  <a:pt x="168" y="47"/>
                </a:cubicBezTo>
                <a:cubicBezTo>
                  <a:pt x="167" y="47"/>
                  <a:pt x="167" y="47"/>
                  <a:pt x="167" y="47"/>
                </a:cubicBezTo>
                <a:cubicBezTo>
                  <a:pt x="166" y="46"/>
                  <a:pt x="166" y="46"/>
                  <a:pt x="166" y="46"/>
                </a:cubicBezTo>
                <a:close/>
                <a:moveTo>
                  <a:pt x="158" y="41"/>
                </a:moveTo>
                <a:cubicBezTo>
                  <a:pt x="160" y="40"/>
                  <a:pt x="160" y="40"/>
                  <a:pt x="160" y="40"/>
                </a:cubicBezTo>
                <a:cubicBezTo>
                  <a:pt x="162" y="41"/>
                  <a:pt x="162" y="41"/>
                  <a:pt x="162" y="41"/>
                </a:cubicBezTo>
                <a:cubicBezTo>
                  <a:pt x="164" y="41"/>
                  <a:pt x="164" y="41"/>
                  <a:pt x="164" y="41"/>
                </a:cubicBezTo>
                <a:cubicBezTo>
                  <a:pt x="166" y="40"/>
                  <a:pt x="166" y="40"/>
                  <a:pt x="166" y="40"/>
                </a:cubicBezTo>
                <a:cubicBezTo>
                  <a:pt x="167" y="40"/>
                  <a:pt x="167" y="40"/>
                  <a:pt x="167" y="40"/>
                </a:cubicBezTo>
                <a:cubicBezTo>
                  <a:pt x="168" y="41"/>
                  <a:pt x="168" y="41"/>
                  <a:pt x="168" y="41"/>
                </a:cubicBezTo>
                <a:cubicBezTo>
                  <a:pt x="169" y="41"/>
                  <a:pt x="169" y="41"/>
                  <a:pt x="169" y="41"/>
                </a:cubicBezTo>
                <a:cubicBezTo>
                  <a:pt x="170" y="41"/>
                  <a:pt x="170" y="41"/>
                  <a:pt x="170" y="41"/>
                </a:cubicBezTo>
                <a:cubicBezTo>
                  <a:pt x="173" y="41"/>
                  <a:pt x="173" y="41"/>
                  <a:pt x="173" y="41"/>
                </a:cubicBezTo>
                <a:cubicBezTo>
                  <a:pt x="174" y="41"/>
                  <a:pt x="174" y="41"/>
                  <a:pt x="174" y="41"/>
                </a:cubicBezTo>
                <a:cubicBezTo>
                  <a:pt x="174" y="40"/>
                  <a:pt x="174" y="40"/>
                  <a:pt x="174" y="40"/>
                </a:cubicBezTo>
                <a:cubicBezTo>
                  <a:pt x="176" y="40"/>
                  <a:pt x="176" y="40"/>
                  <a:pt x="176" y="40"/>
                </a:cubicBezTo>
                <a:cubicBezTo>
                  <a:pt x="177" y="41"/>
                  <a:pt x="177" y="41"/>
                  <a:pt x="177" y="41"/>
                </a:cubicBezTo>
                <a:cubicBezTo>
                  <a:pt x="177" y="42"/>
                  <a:pt x="177" y="42"/>
                  <a:pt x="177" y="42"/>
                </a:cubicBezTo>
                <a:cubicBezTo>
                  <a:pt x="178" y="42"/>
                  <a:pt x="178" y="42"/>
                  <a:pt x="178" y="42"/>
                </a:cubicBezTo>
                <a:cubicBezTo>
                  <a:pt x="183" y="41"/>
                  <a:pt x="183" y="41"/>
                  <a:pt x="183" y="41"/>
                </a:cubicBezTo>
                <a:cubicBezTo>
                  <a:pt x="185" y="40"/>
                  <a:pt x="185" y="40"/>
                  <a:pt x="185" y="40"/>
                </a:cubicBezTo>
                <a:cubicBezTo>
                  <a:pt x="186" y="38"/>
                  <a:pt x="186" y="38"/>
                  <a:pt x="186" y="38"/>
                </a:cubicBezTo>
                <a:cubicBezTo>
                  <a:pt x="187" y="38"/>
                  <a:pt x="187" y="38"/>
                  <a:pt x="187" y="38"/>
                </a:cubicBezTo>
                <a:cubicBezTo>
                  <a:pt x="187" y="38"/>
                  <a:pt x="187" y="38"/>
                  <a:pt x="187" y="38"/>
                </a:cubicBezTo>
                <a:cubicBezTo>
                  <a:pt x="188" y="37"/>
                  <a:pt x="188" y="37"/>
                  <a:pt x="188" y="37"/>
                </a:cubicBezTo>
                <a:cubicBezTo>
                  <a:pt x="188" y="36"/>
                  <a:pt x="188" y="36"/>
                  <a:pt x="188" y="36"/>
                </a:cubicBezTo>
                <a:cubicBezTo>
                  <a:pt x="189" y="35"/>
                  <a:pt x="189" y="35"/>
                  <a:pt x="189" y="35"/>
                </a:cubicBezTo>
                <a:cubicBezTo>
                  <a:pt x="190" y="35"/>
                  <a:pt x="190" y="35"/>
                  <a:pt x="190" y="35"/>
                </a:cubicBezTo>
                <a:cubicBezTo>
                  <a:pt x="189" y="34"/>
                  <a:pt x="189" y="34"/>
                  <a:pt x="189" y="34"/>
                </a:cubicBezTo>
                <a:cubicBezTo>
                  <a:pt x="189" y="33"/>
                  <a:pt x="189" y="33"/>
                  <a:pt x="189" y="33"/>
                </a:cubicBezTo>
                <a:cubicBezTo>
                  <a:pt x="187" y="33"/>
                  <a:pt x="187" y="33"/>
                  <a:pt x="187" y="33"/>
                </a:cubicBezTo>
                <a:cubicBezTo>
                  <a:pt x="186" y="33"/>
                  <a:pt x="186" y="33"/>
                  <a:pt x="186" y="33"/>
                </a:cubicBezTo>
                <a:cubicBezTo>
                  <a:pt x="186" y="34"/>
                  <a:pt x="186" y="34"/>
                  <a:pt x="186" y="34"/>
                </a:cubicBezTo>
                <a:cubicBezTo>
                  <a:pt x="185" y="35"/>
                  <a:pt x="185" y="35"/>
                  <a:pt x="185" y="35"/>
                </a:cubicBezTo>
                <a:cubicBezTo>
                  <a:pt x="185" y="36"/>
                  <a:pt x="185" y="36"/>
                  <a:pt x="185" y="36"/>
                </a:cubicBezTo>
                <a:cubicBezTo>
                  <a:pt x="183" y="37"/>
                  <a:pt x="183" y="37"/>
                  <a:pt x="183" y="37"/>
                </a:cubicBezTo>
                <a:cubicBezTo>
                  <a:pt x="182" y="37"/>
                  <a:pt x="182" y="37"/>
                  <a:pt x="182" y="37"/>
                </a:cubicBezTo>
                <a:cubicBezTo>
                  <a:pt x="182" y="38"/>
                  <a:pt x="182" y="38"/>
                  <a:pt x="182" y="38"/>
                </a:cubicBezTo>
                <a:cubicBezTo>
                  <a:pt x="180" y="38"/>
                  <a:pt x="180" y="38"/>
                  <a:pt x="180" y="38"/>
                </a:cubicBezTo>
                <a:cubicBezTo>
                  <a:pt x="177" y="38"/>
                  <a:pt x="177" y="38"/>
                  <a:pt x="177" y="38"/>
                </a:cubicBezTo>
                <a:cubicBezTo>
                  <a:pt x="175" y="37"/>
                  <a:pt x="175" y="37"/>
                  <a:pt x="175" y="37"/>
                </a:cubicBezTo>
                <a:cubicBezTo>
                  <a:pt x="174" y="38"/>
                  <a:pt x="174" y="38"/>
                  <a:pt x="174" y="38"/>
                </a:cubicBezTo>
                <a:cubicBezTo>
                  <a:pt x="174" y="38"/>
                  <a:pt x="174" y="38"/>
                  <a:pt x="174" y="38"/>
                </a:cubicBezTo>
                <a:cubicBezTo>
                  <a:pt x="172" y="37"/>
                  <a:pt x="172" y="37"/>
                  <a:pt x="172" y="37"/>
                </a:cubicBezTo>
                <a:cubicBezTo>
                  <a:pt x="171" y="37"/>
                  <a:pt x="171" y="37"/>
                  <a:pt x="171" y="37"/>
                </a:cubicBezTo>
                <a:cubicBezTo>
                  <a:pt x="170" y="37"/>
                  <a:pt x="170" y="37"/>
                  <a:pt x="170" y="37"/>
                </a:cubicBezTo>
                <a:cubicBezTo>
                  <a:pt x="169" y="37"/>
                  <a:pt x="169" y="37"/>
                  <a:pt x="169" y="37"/>
                </a:cubicBezTo>
                <a:cubicBezTo>
                  <a:pt x="168" y="36"/>
                  <a:pt x="168" y="36"/>
                  <a:pt x="168" y="36"/>
                </a:cubicBezTo>
                <a:cubicBezTo>
                  <a:pt x="167" y="37"/>
                  <a:pt x="167" y="37"/>
                  <a:pt x="167" y="37"/>
                </a:cubicBezTo>
                <a:cubicBezTo>
                  <a:pt x="166" y="36"/>
                  <a:pt x="166" y="36"/>
                  <a:pt x="166" y="36"/>
                </a:cubicBezTo>
                <a:cubicBezTo>
                  <a:pt x="165" y="35"/>
                  <a:pt x="165" y="35"/>
                  <a:pt x="165" y="35"/>
                </a:cubicBezTo>
                <a:cubicBezTo>
                  <a:pt x="163" y="35"/>
                  <a:pt x="163" y="35"/>
                  <a:pt x="163" y="35"/>
                </a:cubicBezTo>
                <a:cubicBezTo>
                  <a:pt x="162" y="35"/>
                  <a:pt x="162" y="35"/>
                  <a:pt x="162" y="35"/>
                </a:cubicBezTo>
                <a:cubicBezTo>
                  <a:pt x="162" y="36"/>
                  <a:pt x="162" y="36"/>
                  <a:pt x="162" y="36"/>
                </a:cubicBezTo>
                <a:cubicBezTo>
                  <a:pt x="161" y="37"/>
                  <a:pt x="161" y="37"/>
                  <a:pt x="161" y="37"/>
                </a:cubicBezTo>
                <a:cubicBezTo>
                  <a:pt x="160" y="38"/>
                  <a:pt x="160" y="38"/>
                  <a:pt x="160" y="38"/>
                </a:cubicBezTo>
                <a:cubicBezTo>
                  <a:pt x="159" y="39"/>
                  <a:pt x="159" y="39"/>
                  <a:pt x="159" y="39"/>
                </a:cubicBezTo>
                <a:cubicBezTo>
                  <a:pt x="158" y="38"/>
                  <a:pt x="158" y="38"/>
                  <a:pt x="158" y="38"/>
                </a:cubicBezTo>
                <a:cubicBezTo>
                  <a:pt x="156" y="39"/>
                  <a:pt x="156" y="39"/>
                  <a:pt x="156" y="39"/>
                </a:cubicBezTo>
                <a:cubicBezTo>
                  <a:pt x="156" y="39"/>
                  <a:pt x="156" y="39"/>
                  <a:pt x="156" y="39"/>
                </a:cubicBezTo>
                <a:cubicBezTo>
                  <a:pt x="156" y="40"/>
                  <a:pt x="156" y="40"/>
                  <a:pt x="156" y="40"/>
                </a:cubicBezTo>
                <a:cubicBezTo>
                  <a:pt x="154" y="41"/>
                  <a:pt x="154" y="41"/>
                  <a:pt x="154" y="41"/>
                </a:cubicBezTo>
                <a:cubicBezTo>
                  <a:pt x="154" y="43"/>
                  <a:pt x="154" y="43"/>
                  <a:pt x="154" y="43"/>
                </a:cubicBezTo>
                <a:cubicBezTo>
                  <a:pt x="154" y="44"/>
                  <a:pt x="154" y="44"/>
                  <a:pt x="154" y="44"/>
                </a:cubicBezTo>
                <a:cubicBezTo>
                  <a:pt x="154" y="46"/>
                  <a:pt x="154" y="46"/>
                  <a:pt x="154" y="46"/>
                </a:cubicBezTo>
                <a:cubicBezTo>
                  <a:pt x="154" y="47"/>
                  <a:pt x="154" y="47"/>
                  <a:pt x="154" y="47"/>
                </a:cubicBezTo>
                <a:cubicBezTo>
                  <a:pt x="155" y="48"/>
                  <a:pt x="155" y="48"/>
                  <a:pt x="155" y="48"/>
                </a:cubicBezTo>
                <a:cubicBezTo>
                  <a:pt x="155" y="50"/>
                  <a:pt x="155" y="50"/>
                  <a:pt x="155" y="50"/>
                </a:cubicBezTo>
                <a:cubicBezTo>
                  <a:pt x="154" y="49"/>
                  <a:pt x="154" y="49"/>
                  <a:pt x="154" y="49"/>
                </a:cubicBezTo>
                <a:cubicBezTo>
                  <a:pt x="154" y="48"/>
                  <a:pt x="154" y="48"/>
                  <a:pt x="154" y="48"/>
                </a:cubicBezTo>
                <a:cubicBezTo>
                  <a:pt x="153" y="48"/>
                  <a:pt x="153" y="48"/>
                  <a:pt x="153" y="48"/>
                </a:cubicBezTo>
                <a:cubicBezTo>
                  <a:pt x="152" y="49"/>
                  <a:pt x="152" y="49"/>
                  <a:pt x="152" y="49"/>
                </a:cubicBezTo>
                <a:cubicBezTo>
                  <a:pt x="151" y="50"/>
                  <a:pt x="151" y="50"/>
                  <a:pt x="151" y="50"/>
                </a:cubicBezTo>
                <a:cubicBezTo>
                  <a:pt x="151" y="51"/>
                  <a:pt x="151" y="51"/>
                  <a:pt x="151" y="51"/>
                </a:cubicBezTo>
                <a:cubicBezTo>
                  <a:pt x="151" y="52"/>
                  <a:pt x="151" y="52"/>
                  <a:pt x="151" y="52"/>
                </a:cubicBezTo>
                <a:cubicBezTo>
                  <a:pt x="151" y="53"/>
                  <a:pt x="151" y="53"/>
                  <a:pt x="151" y="53"/>
                </a:cubicBezTo>
                <a:cubicBezTo>
                  <a:pt x="151" y="56"/>
                  <a:pt x="151" y="56"/>
                  <a:pt x="151" y="56"/>
                </a:cubicBezTo>
                <a:cubicBezTo>
                  <a:pt x="151" y="57"/>
                  <a:pt x="151" y="57"/>
                  <a:pt x="151" y="57"/>
                </a:cubicBezTo>
                <a:cubicBezTo>
                  <a:pt x="151" y="58"/>
                  <a:pt x="151" y="58"/>
                  <a:pt x="151" y="58"/>
                </a:cubicBezTo>
                <a:cubicBezTo>
                  <a:pt x="150" y="58"/>
                  <a:pt x="150" y="58"/>
                  <a:pt x="150" y="58"/>
                </a:cubicBezTo>
                <a:cubicBezTo>
                  <a:pt x="150" y="60"/>
                  <a:pt x="150" y="60"/>
                  <a:pt x="150" y="60"/>
                </a:cubicBezTo>
                <a:cubicBezTo>
                  <a:pt x="148" y="61"/>
                  <a:pt x="148" y="61"/>
                  <a:pt x="148" y="61"/>
                </a:cubicBezTo>
                <a:cubicBezTo>
                  <a:pt x="148" y="62"/>
                  <a:pt x="148" y="62"/>
                  <a:pt x="148" y="62"/>
                </a:cubicBezTo>
                <a:cubicBezTo>
                  <a:pt x="148" y="63"/>
                  <a:pt x="148" y="63"/>
                  <a:pt x="148" y="63"/>
                </a:cubicBezTo>
                <a:cubicBezTo>
                  <a:pt x="148" y="64"/>
                  <a:pt x="148" y="64"/>
                  <a:pt x="148" y="64"/>
                </a:cubicBezTo>
                <a:cubicBezTo>
                  <a:pt x="148" y="66"/>
                  <a:pt x="148" y="66"/>
                  <a:pt x="148" y="66"/>
                </a:cubicBezTo>
                <a:cubicBezTo>
                  <a:pt x="149" y="67"/>
                  <a:pt x="149" y="67"/>
                  <a:pt x="149" y="67"/>
                </a:cubicBezTo>
                <a:cubicBezTo>
                  <a:pt x="150" y="66"/>
                  <a:pt x="150" y="66"/>
                  <a:pt x="150" y="66"/>
                </a:cubicBezTo>
                <a:cubicBezTo>
                  <a:pt x="150" y="66"/>
                  <a:pt x="150" y="66"/>
                  <a:pt x="150" y="66"/>
                </a:cubicBezTo>
                <a:cubicBezTo>
                  <a:pt x="151" y="66"/>
                  <a:pt x="151" y="66"/>
                  <a:pt x="151" y="66"/>
                </a:cubicBezTo>
                <a:cubicBezTo>
                  <a:pt x="152" y="66"/>
                  <a:pt x="152" y="66"/>
                  <a:pt x="152" y="66"/>
                </a:cubicBezTo>
                <a:cubicBezTo>
                  <a:pt x="152" y="68"/>
                  <a:pt x="152" y="68"/>
                  <a:pt x="152" y="68"/>
                </a:cubicBezTo>
                <a:cubicBezTo>
                  <a:pt x="153" y="71"/>
                  <a:pt x="153" y="71"/>
                  <a:pt x="153" y="71"/>
                </a:cubicBezTo>
                <a:cubicBezTo>
                  <a:pt x="153" y="71"/>
                  <a:pt x="153" y="71"/>
                  <a:pt x="153" y="71"/>
                </a:cubicBezTo>
                <a:cubicBezTo>
                  <a:pt x="152" y="73"/>
                  <a:pt x="152" y="73"/>
                  <a:pt x="152" y="73"/>
                </a:cubicBezTo>
                <a:cubicBezTo>
                  <a:pt x="152" y="74"/>
                  <a:pt x="152" y="74"/>
                  <a:pt x="152" y="74"/>
                </a:cubicBezTo>
                <a:cubicBezTo>
                  <a:pt x="151" y="77"/>
                  <a:pt x="151" y="77"/>
                  <a:pt x="151" y="77"/>
                </a:cubicBezTo>
                <a:cubicBezTo>
                  <a:pt x="152" y="79"/>
                  <a:pt x="152" y="79"/>
                  <a:pt x="152" y="79"/>
                </a:cubicBezTo>
                <a:cubicBezTo>
                  <a:pt x="152" y="79"/>
                  <a:pt x="152" y="79"/>
                  <a:pt x="152" y="79"/>
                </a:cubicBezTo>
                <a:cubicBezTo>
                  <a:pt x="153" y="80"/>
                  <a:pt x="153" y="80"/>
                  <a:pt x="153" y="80"/>
                </a:cubicBezTo>
                <a:cubicBezTo>
                  <a:pt x="154" y="80"/>
                  <a:pt x="154" y="80"/>
                  <a:pt x="154" y="80"/>
                </a:cubicBezTo>
                <a:cubicBezTo>
                  <a:pt x="155" y="79"/>
                  <a:pt x="155" y="79"/>
                  <a:pt x="155" y="79"/>
                </a:cubicBezTo>
                <a:cubicBezTo>
                  <a:pt x="156" y="79"/>
                  <a:pt x="156" y="79"/>
                  <a:pt x="156" y="79"/>
                </a:cubicBezTo>
                <a:cubicBezTo>
                  <a:pt x="157" y="79"/>
                  <a:pt x="157" y="79"/>
                  <a:pt x="157" y="79"/>
                </a:cubicBezTo>
                <a:cubicBezTo>
                  <a:pt x="158" y="80"/>
                  <a:pt x="158" y="80"/>
                  <a:pt x="158" y="80"/>
                </a:cubicBezTo>
                <a:cubicBezTo>
                  <a:pt x="158" y="79"/>
                  <a:pt x="158" y="79"/>
                  <a:pt x="158" y="79"/>
                </a:cubicBezTo>
                <a:cubicBezTo>
                  <a:pt x="158" y="78"/>
                  <a:pt x="158" y="78"/>
                  <a:pt x="158" y="78"/>
                </a:cubicBezTo>
                <a:cubicBezTo>
                  <a:pt x="157" y="77"/>
                  <a:pt x="157" y="77"/>
                  <a:pt x="157" y="77"/>
                </a:cubicBezTo>
                <a:cubicBezTo>
                  <a:pt x="157" y="75"/>
                  <a:pt x="157" y="75"/>
                  <a:pt x="157" y="75"/>
                </a:cubicBezTo>
                <a:cubicBezTo>
                  <a:pt x="158" y="74"/>
                  <a:pt x="158" y="74"/>
                  <a:pt x="158" y="74"/>
                </a:cubicBezTo>
                <a:cubicBezTo>
                  <a:pt x="158" y="72"/>
                  <a:pt x="158" y="72"/>
                  <a:pt x="158" y="72"/>
                </a:cubicBezTo>
                <a:cubicBezTo>
                  <a:pt x="158" y="70"/>
                  <a:pt x="158" y="70"/>
                  <a:pt x="158" y="70"/>
                </a:cubicBezTo>
                <a:cubicBezTo>
                  <a:pt x="157" y="70"/>
                  <a:pt x="157" y="70"/>
                  <a:pt x="157" y="70"/>
                </a:cubicBezTo>
                <a:cubicBezTo>
                  <a:pt x="159" y="68"/>
                  <a:pt x="159" y="68"/>
                  <a:pt x="159" y="68"/>
                </a:cubicBezTo>
                <a:cubicBezTo>
                  <a:pt x="159" y="66"/>
                  <a:pt x="159" y="66"/>
                  <a:pt x="159" y="66"/>
                </a:cubicBezTo>
                <a:cubicBezTo>
                  <a:pt x="159" y="64"/>
                  <a:pt x="159" y="64"/>
                  <a:pt x="159" y="64"/>
                </a:cubicBezTo>
                <a:cubicBezTo>
                  <a:pt x="158" y="63"/>
                  <a:pt x="158" y="63"/>
                  <a:pt x="158" y="63"/>
                </a:cubicBezTo>
                <a:cubicBezTo>
                  <a:pt x="158" y="63"/>
                  <a:pt x="158" y="63"/>
                  <a:pt x="158" y="63"/>
                </a:cubicBezTo>
                <a:cubicBezTo>
                  <a:pt x="159" y="62"/>
                  <a:pt x="159" y="62"/>
                  <a:pt x="159" y="62"/>
                </a:cubicBezTo>
                <a:cubicBezTo>
                  <a:pt x="160" y="61"/>
                  <a:pt x="160" y="61"/>
                  <a:pt x="160" y="61"/>
                </a:cubicBezTo>
                <a:cubicBezTo>
                  <a:pt x="161" y="61"/>
                  <a:pt x="161" y="61"/>
                  <a:pt x="161" y="61"/>
                </a:cubicBezTo>
                <a:cubicBezTo>
                  <a:pt x="162" y="61"/>
                  <a:pt x="162" y="61"/>
                  <a:pt x="162" y="61"/>
                </a:cubicBezTo>
                <a:cubicBezTo>
                  <a:pt x="162" y="62"/>
                  <a:pt x="162" y="62"/>
                  <a:pt x="162" y="62"/>
                </a:cubicBezTo>
                <a:cubicBezTo>
                  <a:pt x="163" y="63"/>
                  <a:pt x="163" y="63"/>
                  <a:pt x="163" y="63"/>
                </a:cubicBezTo>
                <a:cubicBezTo>
                  <a:pt x="163" y="64"/>
                  <a:pt x="163" y="64"/>
                  <a:pt x="163" y="64"/>
                </a:cubicBezTo>
                <a:cubicBezTo>
                  <a:pt x="162" y="65"/>
                  <a:pt x="162" y="65"/>
                  <a:pt x="162" y="65"/>
                </a:cubicBezTo>
                <a:cubicBezTo>
                  <a:pt x="161" y="67"/>
                  <a:pt x="161" y="67"/>
                  <a:pt x="161" y="67"/>
                </a:cubicBezTo>
                <a:cubicBezTo>
                  <a:pt x="162" y="68"/>
                  <a:pt x="162" y="68"/>
                  <a:pt x="162" y="68"/>
                </a:cubicBezTo>
                <a:cubicBezTo>
                  <a:pt x="163" y="68"/>
                  <a:pt x="163" y="68"/>
                  <a:pt x="163" y="68"/>
                </a:cubicBezTo>
                <a:cubicBezTo>
                  <a:pt x="164" y="69"/>
                  <a:pt x="164" y="69"/>
                  <a:pt x="164" y="69"/>
                </a:cubicBezTo>
                <a:cubicBezTo>
                  <a:pt x="165" y="70"/>
                  <a:pt x="165" y="70"/>
                  <a:pt x="165" y="70"/>
                </a:cubicBezTo>
                <a:cubicBezTo>
                  <a:pt x="165" y="71"/>
                  <a:pt x="165" y="71"/>
                  <a:pt x="165" y="71"/>
                </a:cubicBezTo>
                <a:cubicBezTo>
                  <a:pt x="165" y="71"/>
                  <a:pt x="165" y="71"/>
                  <a:pt x="165" y="71"/>
                </a:cubicBezTo>
                <a:cubicBezTo>
                  <a:pt x="165" y="73"/>
                  <a:pt x="165" y="73"/>
                  <a:pt x="165" y="73"/>
                </a:cubicBezTo>
                <a:cubicBezTo>
                  <a:pt x="165" y="74"/>
                  <a:pt x="165" y="74"/>
                  <a:pt x="165" y="74"/>
                </a:cubicBezTo>
                <a:cubicBezTo>
                  <a:pt x="166" y="75"/>
                  <a:pt x="166" y="75"/>
                  <a:pt x="166" y="75"/>
                </a:cubicBezTo>
                <a:cubicBezTo>
                  <a:pt x="167" y="75"/>
                  <a:pt x="167" y="75"/>
                  <a:pt x="167" y="75"/>
                </a:cubicBezTo>
                <a:cubicBezTo>
                  <a:pt x="168" y="75"/>
                  <a:pt x="168" y="75"/>
                  <a:pt x="168" y="75"/>
                </a:cubicBezTo>
                <a:cubicBezTo>
                  <a:pt x="169" y="75"/>
                  <a:pt x="169" y="75"/>
                  <a:pt x="169" y="75"/>
                </a:cubicBezTo>
                <a:cubicBezTo>
                  <a:pt x="169" y="74"/>
                  <a:pt x="169" y="74"/>
                  <a:pt x="169" y="74"/>
                </a:cubicBezTo>
                <a:cubicBezTo>
                  <a:pt x="169" y="74"/>
                  <a:pt x="169" y="74"/>
                  <a:pt x="169" y="74"/>
                </a:cubicBezTo>
                <a:cubicBezTo>
                  <a:pt x="170" y="73"/>
                  <a:pt x="170" y="73"/>
                  <a:pt x="170" y="73"/>
                </a:cubicBezTo>
                <a:cubicBezTo>
                  <a:pt x="171" y="72"/>
                  <a:pt x="171" y="72"/>
                  <a:pt x="171" y="72"/>
                </a:cubicBezTo>
                <a:cubicBezTo>
                  <a:pt x="172" y="71"/>
                  <a:pt x="172" y="71"/>
                  <a:pt x="172" y="71"/>
                </a:cubicBezTo>
                <a:cubicBezTo>
                  <a:pt x="174" y="72"/>
                  <a:pt x="174" y="72"/>
                  <a:pt x="174" y="72"/>
                </a:cubicBezTo>
                <a:cubicBezTo>
                  <a:pt x="175" y="71"/>
                  <a:pt x="175" y="71"/>
                  <a:pt x="175" y="71"/>
                </a:cubicBezTo>
                <a:cubicBezTo>
                  <a:pt x="175" y="71"/>
                  <a:pt x="175" y="71"/>
                  <a:pt x="175" y="71"/>
                </a:cubicBezTo>
                <a:cubicBezTo>
                  <a:pt x="176" y="71"/>
                  <a:pt x="176" y="71"/>
                  <a:pt x="176" y="71"/>
                </a:cubicBezTo>
                <a:cubicBezTo>
                  <a:pt x="177" y="70"/>
                  <a:pt x="177" y="70"/>
                  <a:pt x="177" y="70"/>
                </a:cubicBezTo>
                <a:cubicBezTo>
                  <a:pt x="177" y="70"/>
                  <a:pt x="177" y="70"/>
                  <a:pt x="177" y="70"/>
                </a:cubicBezTo>
                <a:cubicBezTo>
                  <a:pt x="175" y="70"/>
                  <a:pt x="175" y="70"/>
                  <a:pt x="175" y="70"/>
                </a:cubicBezTo>
                <a:cubicBezTo>
                  <a:pt x="174" y="70"/>
                  <a:pt x="174" y="70"/>
                  <a:pt x="174" y="70"/>
                </a:cubicBezTo>
                <a:cubicBezTo>
                  <a:pt x="174" y="70"/>
                  <a:pt x="174" y="70"/>
                  <a:pt x="174" y="70"/>
                </a:cubicBezTo>
                <a:cubicBezTo>
                  <a:pt x="173" y="70"/>
                  <a:pt x="173" y="70"/>
                  <a:pt x="173" y="70"/>
                </a:cubicBezTo>
                <a:cubicBezTo>
                  <a:pt x="173" y="69"/>
                  <a:pt x="173" y="69"/>
                  <a:pt x="173" y="69"/>
                </a:cubicBezTo>
                <a:cubicBezTo>
                  <a:pt x="172" y="69"/>
                  <a:pt x="172" y="69"/>
                  <a:pt x="172" y="69"/>
                </a:cubicBezTo>
                <a:cubicBezTo>
                  <a:pt x="172" y="68"/>
                  <a:pt x="172" y="68"/>
                  <a:pt x="172" y="68"/>
                </a:cubicBezTo>
                <a:cubicBezTo>
                  <a:pt x="172" y="68"/>
                  <a:pt x="172" y="68"/>
                  <a:pt x="172" y="68"/>
                </a:cubicBezTo>
                <a:cubicBezTo>
                  <a:pt x="171" y="68"/>
                  <a:pt x="171" y="68"/>
                  <a:pt x="171" y="68"/>
                </a:cubicBezTo>
                <a:cubicBezTo>
                  <a:pt x="171" y="68"/>
                  <a:pt x="171" y="68"/>
                  <a:pt x="171" y="68"/>
                </a:cubicBezTo>
                <a:cubicBezTo>
                  <a:pt x="170" y="67"/>
                  <a:pt x="170" y="67"/>
                  <a:pt x="170" y="67"/>
                </a:cubicBezTo>
                <a:cubicBezTo>
                  <a:pt x="169" y="67"/>
                  <a:pt x="169" y="67"/>
                  <a:pt x="169" y="67"/>
                </a:cubicBezTo>
                <a:cubicBezTo>
                  <a:pt x="170" y="66"/>
                  <a:pt x="170" y="66"/>
                  <a:pt x="170" y="66"/>
                </a:cubicBezTo>
                <a:cubicBezTo>
                  <a:pt x="170" y="65"/>
                  <a:pt x="170" y="65"/>
                  <a:pt x="170" y="65"/>
                </a:cubicBezTo>
                <a:cubicBezTo>
                  <a:pt x="171" y="65"/>
                  <a:pt x="171" y="65"/>
                  <a:pt x="171" y="65"/>
                </a:cubicBezTo>
                <a:cubicBezTo>
                  <a:pt x="171" y="65"/>
                  <a:pt x="171" y="65"/>
                  <a:pt x="171" y="65"/>
                </a:cubicBezTo>
                <a:cubicBezTo>
                  <a:pt x="171" y="65"/>
                  <a:pt x="171" y="65"/>
                  <a:pt x="171" y="65"/>
                </a:cubicBezTo>
                <a:cubicBezTo>
                  <a:pt x="171" y="64"/>
                  <a:pt x="171" y="64"/>
                  <a:pt x="171" y="64"/>
                </a:cubicBezTo>
                <a:cubicBezTo>
                  <a:pt x="171" y="63"/>
                  <a:pt x="171" y="63"/>
                  <a:pt x="171" y="63"/>
                </a:cubicBezTo>
                <a:cubicBezTo>
                  <a:pt x="170" y="63"/>
                  <a:pt x="170" y="63"/>
                  <a:pt x="170" y="63"/>
                </a:cubicBezTo>
                <a:cubicBezTo>
                  <a:pt x="170" y="62"/>
                  <a:pt x="170" y="62"/>
                  <a:pt x="170" y="62"/>
                </a:cubicBezTo>
                <a:cubicBezTo>
                  <a:pt x="170" y="62"/>
                  <a:pt x="170" y="62"/>
                  <a:pt x="170" y="62"/>
                </a:cubicBezTo>
                <a:cubicBezTo>
                  <a:pt x="169" y="61"/>
                  <a:pt x="169" y="61"/>
                  <a:pt x="169" y="61"/>
                </a:cubicBezTo>
                <a:cubicBezTo>
                  <a:pt x="168" y="61"/>
                  <a:pt x="168" y="61"/>
                  <a:pt x="168" y="61"/>
                </a:cubicBezTo>
                <a:cubicBezTo>
                  <a:pt x="168" y="60"/>
                  <a:pt x="168" y="60"/>
                  <a:pt x="168" y="60"/>
                </a:cubicBezTo>
                <a:cubicBezTo>
                  <a:pt x="166" y="58"/>
                  <a:pt x="166" y="58"/>
                  <a:pt x="166" y="58"/>
                </a:cubicBezTo>
                <a:cubicBezTo>
                  <a:pt x="165" y="57"/>
                  <a:pt x="165" y="57"/>
                  <a:pt x="165" y="57"/>
                </a:cubicBezTo>
                <a:cubicBezTo>
                  <a:pt x="165" y="56"/>
                  <a:pt x="165" y="56"/>
                  <a:pt x="165" y="56"/>
                </a:cubicBezTo>
                <a:cubicBezTo>
                  <a:pt x="165" y="56"/>
                  <a:pt x="165" y="56"/>
                  <a:pt x="165" y="56"/>
                </a:cubicBezTo>
                <a:cubicBezTo>
                  <a:pt x="165" y="56"/>
                  <a:pt x="165" y="56"/>
                  <a:pt x="165" y="56"/>
                </a:cubicBezTo>
                <a:cubicBezTo>
                  <a:pt x="166" y="56"/>
                  <a:pt x="166" y="56"/>
                  <a:pt x="166" y="56"/>
                </a:cubicBezTo>
                <a:cubicBezTo>
                  <a:pt x="167" y="56"/>
                  <a:pt x="167" y="56"/>
                  <a:pt x="167" y="56"/>
                </a:cubicBezTo>
                <a:cubicBezTo>
                  <a:pt x="168" y="56"/>
                  <a:pt x="168" y="56"/>
                  <a:pt x="168" y="56"/>
                </a:cubicBezTo>
                <a:cubicBezTo>
                  <a:pt x="168" y="55"/>
                  <a:pt x="168" y="55"/>
                  <a:pt x="168" y="55"/>
                </a:cubicBezTo>
                <a:cubicBezTo>
                  <a:pt x="170" y="54"/>
                  <a:pt x="170" y="54"/>
                  <a:pt x="170" y="54"/>
                </a:cubicBezTo>
                <a:cubicBezTo>
                  <a:pt x="172" y="52"/>
                  <a:pt x="172" y="52"/>
                  <a:pt x="172" y="52"/>
                </a:cubicBezTo>
                <a:cubicBezTo>
                  <a:pt x="173" y="51"/>
                  <a:pt x="173" y="51"/>
                  <a:pt x="173" y="51"/>
                </a:cubicBezTo>
                <a:cubicBezTo>
                  <a:pt x="174" y="50"/>
                  <a:pt x="174" y="50"/>
                  <a:pt x="174" y="50"/>
                </a:cubicBezTo>
                <a:cubicBezTo>
                  <a:pt x="174" y="50"/>
                  <a:pt x="174" y="50"/>
                  <a:pt x="174" y="50"/>
                </a:cubicBezTo>
                <a:cubicBezTo>
                  <a:pt x="176" y="49"/>
                  <a:pt x="176" y="49"/>
                  <a:pt x="176" y="49"/>
                </a:cubicBezTo>
                <a:cubicBezTo>
                  <a:pt x="177" y="50"/>
                  <a:pt x="177" y="50"/>
                  <a:pt x="177" y="50"/>
                </a:cubicBezTo>
                <a:cubicBezTo>
                  <a:pt x="178" y="50"/>
                  <a:pt x="178" y="50"/>
                  <a:pt x="178" y="50"/>
                </a:cubicBezTo>
                <a:cubicBezTo>
                  <a:pt x="179" y="48"/>
                  <a:pt x="179" y="48"/>
                  <a:pt x="179" y="48"/>
                </a:cubicBezTo>
                <a:cubicBezTo>
                  <a:pt x="179" y="47"/>
                  <a:pt x="179" y="47"/>
                  <a:pt x="179" y="47"/>
                </a:cubicBezTo>
                <a:cubicBezTo>
                  <a:pt x="177" y="47"/>
                  <a:pt x="177" y="47"/>
                  <a:pt x="177" y="47"/>
                </a:cubicBezTo>
                <a:cubicBezTo>
                  <a:pt x="175" y="47"/>
                  <a:pt x="175" y="47"/>
                  <a:pt x="175" y="47"/>
                </a:cubicBezTo>
                <a:cubicBezTo>
                  <a:pt x="173" y="48"/>
                  <a:pt x="173" y="48"/>
                  <a:pt x="173" y="48"/>
                </a:cubicBezTo>
                <a:cubicBezTo>
                  <a:pt x="172" y="48"/>
                  <a:pt x="172" y="48"/>
                  <a:pt x="172" y="48"/>
                </a:cubicBezTo>
                <a:cubicBezTo>
                  <a:pt x="171" y="48"/>
                  <a:pt x="171" y="48"/>
                  <a:pt x="171" y="48"/>
                </a:cubicBezTo>
                <a:cubicBezTo>
                  <a:pt x="170" y="49"/>
                  <a:pt x="170" y="49"/>
                  <a:pt x="170" y="49"/>
                </a:cubicBezTo>
                <a:cubicBezTo>
                  <a:pt x="168" y="49"/>
                  <a:pt x="168" y="49"/>
                  <a:pt x="168" y="49"/>
                </a:cubicBezTo>
                <a:cubicBezTo>
                  <a:pt x="167" y="50"/>
                  <a:pt x="167" y="50"/>
                  <a:pt x="167" y="50"/>
                </a:cubicBezTo>
                <a:cubicBezTo>
                  <a:pt x="166" y="49"/>
                  <a:pt x="166" y="49"/>
                  <a:pt x="166" y="49"/>
                </a:cubicBezTo>
                <a:cubicBezTo>
                  <a:pt x="165" y="49"/>
                  <a:pt x="165" y="49"/>
                  <a:pt x="165" y="49"/>
                </a:cubicBezTo>
                <a:cubicBezTo>
                  <a:pt x="164" y="50"/>
                  <a:pt x="164" y="50"/>
                  <a:pt x="164" y="50"/>
                </a:cubicBezTo>
                <a:cubicBezTo>
                  <a:pt x="163" y="52"/>
                  <a:pt x="163" y="52"/>
                  <a:pt x="163" y="52"/>
                </a:cubicBezTo>
                <a:cubicBezTo>
                  <a:pt x="162" y="53"/>
                  <a:pt x="162" y="53"/>
                  <a:pt x="162" y="53"/>
                </a:cubicBezTo>
                <a:cubicBezTo>
                  <a:pt x="161" y="53"/>
                  <a:pt x="161" y="53"/>
                  <a:pt x="161" y="53"/>
                </a:cubicBezTo>
                <a:cubicBezTo>
                  <a:pt x="160" y="52"/>
                  <a:pt x="160" y="52"/>
                  <a:pt x="160" y="52"/>
                </a:cubicBezTo>
                <a:cubicBezTo>
                  <a:pt x="159" y="50"/>
                  <a:pt x="159" y="50"/>
                  <a:pt x="159" y="50"/>
                </a:cubicBezTo>
                <a:cubicBezTo>
                  <a:pt x="157" y="49"/>
                  <a:pt x="157" y="49"/>
                  <a:pt x="157" y="49"/>
                </a:cubicBezTo>
                <a:cubicBezTo>
                  <a:pt x="156" y="47"/>
                  <a:pt x="156" y="47"/>
                  <a:pt x="156" y="47"/>
                </a:cubicBezTo>
                <a:cubicBezTo>
                  <a:pt x="156" y="44"/>
                  <a:pt x="156" y="44"/>
                  <a:pt x="156" y="44"/>
                </a:cubicBezTo>
                <a:cubicBezTo>
                  <a:pt x="157" y="42"/>
                  <a:pt x="157" y="42"/>
                  <a:pt x="157" y="42"/>
                </a:cubicBezTo>
                <a:cubicBezTo>
                  <a:pt x="158" y="41"/>
                  <a:pt x="158" y="41"/>
                  <a:pt x="158" y="41"/>
                </a:cubicBezTo>
                <a:close/>
                <a:moveTo>
                  <a:pt x="160" y="0"/>
                </a:moveTo>
                <a:cubicBezTo>
                  <a:pt x="159" y="1"/>
                  <a:pt x="159" y="1"/>
                  <a:pt x="159" y="1"/>
                </a:cubicBezTo>
                <a:cubicBezTo>
                  <a:pt x="160" y="1"/>
                  <a:pt x="160" y="1"/>
                  <a:pt x="160" y="1"/>
                </a:cubicBezTo>
                <a:cubicBezTo>
                  <a:pt x="160" y="1"/>
                  <a:pt x="160" y="1"/>
                  <a:pt x="160" y="1"/>
                </a:cubicBezTo>
                <a:cubicBezTo>
                  <a:pt x="160" y="0"/>
                  <a:pt x="160" y="0"/>
                  <a:pt x="160" y="0"/>
                </a:cubicBezTo>
                <a:close/>
                <a:moveTo>
                  <a:pt x="161" y="4"/>
                </a:moveTo>
                <a:cubicBezTo>
                  <a:pt x="162" y="4"/>
                  <a:pt x="162" y="4"/>
                  <a:pt x="162" y="4"/>
                </a:cubicBezTo>
                <a:cubicBezTo>
                  <a:pt x="163" y="4"/>
                  <a:pt x="163" y="4"/>
                  <a:pt x="163" y="4"/>
                </a:cubicBezTo>
                <a:cubicBezTo>
                  <a:pt x="163" y="4"/>
                  <a:pt x="163" y="4"/>
                  <a:pt x="163" y="4"/>
                </a:cubicBezTo>
                <a:cubicBezTo>
                  <a:pt x="164" y="4"/>
                  <a:pt x="164" y="4"/>
                  <a:pt x="164" y="4"/>
                </a:cubicBezTo>
                <a:cubicBezTo>
                  <a:pt x="164" y="3"/>
                  <a:pt x="164" y="3"/>
                  <a:pt x="164" y="3"/>
                </a:cubicBezTo>
                <a:cubicBezTo>
                  <a:pt x="163" y="3"/>
                  <a:pt x="163" y="3"/>
                  <a:pt x="163" y="3"/>
                </a:cubicBezTo>
                <a:cubicBezTo>
                  <a:pt x="161" y="3"/>
                  <a:pt x="161" y="3"/>
                  <a:pt x="161" y="3"/>
                </a:cubicBezTo>
                <a:cubicBezTo>
                  <a:pt x="161" y="4"/>
                  <a:pt x="161" y="4"/>
                  <a:pt x="161" y="4"/>
                </a:cubicBezTo>
                <a:cubicBezTo>
                  <a:pt x="161" y="4"/>
                  <a:pt x="161" y="4"/>
                  <a:pt x="161" y="4"/>
                </a:cubicBezTo>
                <a:close/>
                <a:moveTo>
                  <a:pt x="152" y="11"/>
                </a:moveTo>
                <a:cubicBezTo>
                  <a:pt x="151" y="12"/>
                  <a:pt x="151" y="12"/>
                  <a:pt x="151" y="12"/>
                </a:cubicBezTo>
                <a:cubicBezTo>
                  <a:pt x="152" y="13"/>
                  <a:pt x="152" y="13"/>
                  <a:pt x="152" y="13"/>
                </a:cubicBezTo>
                <a:cubicBezTo>
                  <a:pt x="152" y="12"/>
                  <a:pt x="152" y="12"/>
                  <a:pt x="152" y="12"/>
                </a:cubicBezTo>
                <a:cubicBezTo>
                  <a:pt x="152" y="11"/>
                  <a:pt x="152" y="11"/>
                  <a:pt x="152" y="11"/>
                </a:cubicBezTo>
                <a:close/>
                <a:moveTo>
                  <a:pt x="154" y="9"/>
                </a:moveTo>
                <a:cubicBezTo>
                  <a:pt x="156" y="8"/>
                  <a:pt x="156" y="8"/>
                  <a:pt x="156" y="8"/>
                </a:cubicBezTo>
                <a:cubicBezTo>
                  <a:pt x="157" y="8"/>
                  <a:pt x="157" y="8"/>
                  <a:pt x="157" y="8"/>
                </a:cubicBezTo>
                <a:cubicBezTo>
                  <a:pt x="157" y="9"/>
                  <a:pt x="157" y="9"/>
                  <a:pt x="157" y="9"/>
                </a:cubicBezTo>
                <a:cubicBezTo>
                  <a:pt x="156" y="10"/>
                  <a:pt x="156" y="10"/>
                  <a:pt x="156" y="10"/>
                </a:cubicBezTo>
                <a:cubicBezTo>
                  <a:pt x="154" y="10"/>
                  <a:pt x="154" y="10"/>
                  <a:pt x="154" y="10"/>
                </a:cubicBezTo>
                <a:cubicBezTo>
                  <a:pt x="154" y="9"/>
                  <a:pt x="154" y="9"/>
                  <a:pt x="154" y="9"/>
                </a:cubicBezTo>
                <a:close/>
                <a:moveTo>
                  <a:pt x="141" y="16"/>
                </a:moveTo>
                <a:cubicBezTo>
                  <a:pt x="141" y="17"/>
                  <a:pt x="141" y="17"/>
                  <a:pt x="141" y="17"/>
                </a:cubicBezTo>
                <a:cubicBezTo>
                  <a:pt x="141" y="17"/>
                  <a:pt x="141" y="17"/>
                  <a:pt x="141" y="17"/>
                </a:cubicBezTo>
                <a:cubicBezTo>
                  <a:pt x="141" y="16"/>
                  <a:pt x="141" y="16"/>
                  <a:pt x="141" y="16"/>
                </a:cubicBezTo>
                <a:close/>
                <a:moveTo>
                  <a:pt x="141" y="16"/>
                </a:moveTo>
                <a:cubicBezTo>
                  <a:pt x="141" y="16"/>
                  <a:pt x="141" y="16"/>
                  <a:pt x="141" y="16"/>
                </a:cubicBezTo>
                <a:cubicBezTo>
                  <a:pt x="141" y="16"/>
                  <a:pt x="141" y="16"/>
                  <a:pt x="141" y="16"/>
                </a:cubicBezTo>
                <a:cubicBezTo>
                  <a:pt x="142" y="17"/>
                  <a:pt x="142" y="17"/>
                  <a:pt x="142" y="17"/>
                </a:cubicBezTo>
                <a:cubicBezTo>
                  <a:pt x="142" y="16"/>
                  <a:pt x="142" y="16"/>
                  <a:pt x="142" y="16"/>
                </a:cubicBezTo>
                <a:cubicBezTo>
                  <a:pt x="141" y="16"/>
                  <a:pt x="141" y="16"/>
                  <a:pt x="141" y="16"/>
                </a:cubicBezTo>
                <a:close/>
                <a:moveTo>
                  <a:pt x="142" y="19"/>
                </a:moveTo>
                <a:cubicBezTo>
                  <a:pt x="140" y="19"/>
                  <a:pt x="140" y="19"/>
                  <a:pt x="140" y="19"/>
                </a:cubicBezTo>
                <a:cubicBezTo>
                  <a:pt x="141" y="20"/>
                  <a:pt x="141" y="20"/>
                  <a:pt x="141" y="20"/>
                </a:cubicBezTo>
                <a:cubicBezTo>
                  <a:pt x="142" y="19"/>
                  <a:pt x="142" y="19"/>
                  <a:pt x="142" y="19"/>
                </a:cubicBezTo>
                <a:close/>
                <a:moveTo>
                  <a:pt x="140" y="20"/>
                </a:moveTo>
                <a:cubicBezTo>
                  <a:pt x="141" y="21"/>
                  <a:pt x="141" y="21"/>
                  <a:pt x="141" y="21"/>
                </a:cubicBezTo>
                <a:cubicBezTo>
                  <a:pt x="141" y="22"/>
                  <a:pt x="141" y="22"/>
                  <a:pt x="141" y="22"/>
                </a:cubicBezTo>
                <a:cubicBezTo>
                  <a:pt x="141" y="22"/>
                  <a:pt x="141" y="22"/>
                  <a:pt x="141" y="22"/>
                </a:cubicBezTo>
                <a:cubicBezTo>
                  <a:pt x="140" y="20"/>
                  <a:pt x="140" y="20"/>
                  <a:pt x="140" y="20"/>
                </a:cubicBezTo>
                <a:close/>
                <a:moveTo>
                  <a:pt x="133" y="66"/>
                </a:moveTo>
                <a:cubicBezTo>
                  <a:pt x="133" y="66"/>
                  <a:pt x="133" y="66"/>
                  <a:pt x="133" y="66"/>
                </a:cubicBezTo>
                <a:cubicBezTo>
                  <a:pt x="133" y="68"/>
                  <a:pt x="133" y="68"/>
                  <a:pt x="133" y="68"/>
                </a:cubicBezTo>
                <a:cubicBezTo>
                  <a:pt x="132" y="68"/>
                  <a:pt x="132" y="68"/>
                  <a:pt x="132" y="68"/>
                </a:cubicBezTo>
                <a:cubicBezTo>
                  <a:pt x="132" y="66"/>
                  <a:pt x="132" y="66"/>
                  <a:pt x="132" y="66"/>
                </a:cubicBezTo>
                <a:cubicBezTo>
                  <a:pt x="133" y="66"/>
                  <a:pt x="133" y="66"/>
                  <a:pt x="133" y="66"/>
                </a:cubicBezTo>
                <a:close/>
                <a:moveTo>
                  <a:pt x="132" y="66"/>
                </a:moveTo>
                <a:cubicBezTo>
                  <a:pt x="132" y="68"/>
                  <a:pt x="132" y="68"/>
                  <a:pt x="132" y="68"/>
                </a:cubicBezTo>
                <a:cubicBezTo>
                  <a:pt x="132" y="69"/>
                  <a:pt x="132" y="69"/>
                  <a:pt x="132" y="69"/>
                </a:cubicBezTo>
                <a:cubicBezTo>
                  <a:pt x="131" y="70"/>
                  <a:pt x="131" y="70"/>
                  <a:pt x="131" y="70"/>
                </a:cubicBezTo>
                <a:cubicBezTo>
                  <a:pt x="130" y="69"/>
                  <a:pt x="130" y="69"/>
                  <a:pt x="130" y="69"/>
                </a:cubicBezTo>
                <a:cubicBezTo>
                  <a:pt x="130" y="67"/>
                  <a:pt x="130" y="67"/>
                  <a:pt x="130" y="67"/>
                </a:cubicBezTo>
                <a:cubicBezTo>
                  <a:pt x="131" y="66"/>
                  <a:pt x="131" y="66"/>
                  <a:pt x="131" y="66"/>
                </a:cubicBezTo>
                <a:cubicBezTo>
                  <a:pt x="132" y="65"/>
                  <a:pt x="132" y="65"/>
                  <a:pt x="132" y="65"/>
                </a:cubicBezTo>
                <a:cubicBezTo>
                  <a:pt x="132" y="66"/>
                  <a:pt x="132" y="66"/>
                  <a:pt x="132" y="66"/>
                </a:cubicBezTo>
                <a:close/>
                <a:moveTo>
                  <a:pt x="89" y="46"/>
                </a:moveTo>
                <a:cubicBezTo>
                  <a:pt x="90" y="46"/>
                  <a:pt x="90" y="46"/>
                  <a:pt x="90" y="46"/>
                </a:cubicBezTo>
                <a:cubicBezTo>
                  <a:pt x="90" y="47"/>
                  <a:pt x="90" y="47"/>
                  <a:pt x="90" y="47"/>
                </a:cubicBezTo>
                <a:cubicBezTo>
                  <a:pt x="90" y="47"/>
                  <a:pt x="90" y="47"/>
                  <a:pt x="90" y="47"/>
                </a:cubicBezTo>
                <a:cubicBezTo>
                  <a:pt x="89" y="47"/>
                  <a:pt x="89" y="47"/>
                  <a:pt x="89" y="47"/>
                </a:cubicBezTo>
                <a:cubicBezTo>
                  <a:pt x="88" y="46"/>
                  <a:pt x="88" y="46"/>
                  <a:pt x="88" y="46"/>
                </a:cubicBezTo>
                <a:cubicBezTo>
                  <a:pt x="89" y="46"/>
                  <a:pt x="89" y="46"/>
                  <a:pt x="89" y="46"/>
                </a:cubicBezTo>
                <a:close/>
                <a:moveTo>
                  <a:pt x="89" y="49"/>
                </a:moveTo>
                <a:cubicBezTo>
                  <a:pt x="91" y="49"/>
                  <a:pt x="91" y="49"/>
                  <a:pt x="91" y="49"/>
                </a:cubicBezTo>
                <a:cubicBezTo>
                  <a:pt x="91" y="50"/>
                  <a:pt x="91" y="50"/>
                  <a:pt x="91" y="50"/>
                </a:cubicBezTo>
                <a:cubicBezTo>
                  <a:pt x="92" y="50"/>
                  <a:pt x="92" y="50"/>
                  <a:pt x="92" y="50"/>
                </a:cubicBezTo>
                <a:cubicBezTo>
                  <a:pt x="92" y="50"/>
                  <a:pt x="92" y="50"/>
                  <a:pt x="92" y="50"/>
                </a:cubicBezTo>
                <a:cubicBezTo>
                  <a:pt x="90" y="50"/>
                  <a:pt x="90" y="50"/>
                  <a:pt x="90" y="50"/>
                </a:cubicBezTo>
                <a:cubicBezTo>
                  <a:pt x="90" y="50"/>
                  <a:pt x="90" y="50"/>
                  <a:pt x="90" y="50"/>
                </a:cubicBezTo>
                <a:cubicBezTo>
                  <a:pt x="89" y="49"/>
                  <a:pt x="89" y="49"/>
                  <a:pt x="89" y="49"/>
                </a:cubicBezTo>
                <a:cubicBezTo>
                  <a:pt x="89" y="49"/>
                  <a:pt x="89" y="49"/>
                  <a:pt x="89" y="49"/>
                </a:cubicBezTo>
                <a:close/>
                <a:moveTo>
                  <a:pt x="90" y="51"/>
                </a:moveTo>
                <a:cubicBezTo>
                  <a:pt x="92" y="51"/>
                  <a:pt x="92" y="51"/>
                  <a:pt x="92" y="51"/>
                </a:cubicBezTo>
                <a:cubicBezTo>
                  <a:pt x="93" y="51"/>
                  <a:pt x="93" y="51"/>
                  <a:pt x="93" y="51"/>
                </a:cubicBezTo>
                <a:cubicBezTo>
                  <a:pt x="92" y="53"/>
                  <a:pt x="92" y="53"/>
                  <a:pt x="92" y="53"/>
                </a:cubicBezTo>
                <a:cubicBezTo>
                  <a:pt x="91" y="53"/>
                  <a:pt x="91" y="53"/>
                  <a:pt x="91" y="53"/>
                </a:cubicBezTo>
                <a:cubicBezTo>
                  <a:pt x="90" y="52"/>
                  <a:pt x="90" y="52"/>
                  <a:pt x="90" y="52"/>
                </a:cubicBezTo>
                <a:cubicBezTo>
                  <a:pt x="91" y="51"/>
                  <a:pt x="91" y="51"/>
                  <a:pt x="91" y="51"/>
                </a:cubicBezTo>
                <a:cubicBezTo>
                  <a:pt x="91" y="51"/>
                  <a:pt x="90" y="51"/>
                  <a:pt x="90" y="51"/>
                </a:cubicBezTo>
                <a:close/>
                <a:moveTo>
                  <a:pt x="87" y="36"/>
                </a:moveTo>
                <a:cubicBezTo>
                  <a:pt x="88" y="34"/>
                  <a:pt x="88" y="34"/>
                  <a:pt x="88" y="34"/>
                </a:cubicBezTo>
                <a:cubicBezTo>
                  <a:pt x="90" y="32"/>
                  <a:pt x="90" y="32"/>
                  <a:pt x="90" y="32"/>
                </a:cubicBezTo>
                <a:cubicBezTo>
                  <a:pt x="91" y="31"/>
                  <a:pt x="91" y="31"/>
                  <a:pt x="91" y="31"/>
                </a:cubicBezTo>
                <a:cubicBezTo>
                  <a:pt x="92" y="31"/>
                  <a:pt x="92" y="31"/>
                  <a:pt x="92" y="31"/>
                </a:cubicBezTo>
                <a:cubicBezTo>
                  <a:pt x="93" y="33"/>
                  <a:pt x="93" y="33"/>
                  <a:pt x="93" y="33"/>
                </a:cubicBezTo>
                <a:cubicBezTo>
                  <a:pt x="95" y="34"/>
                  <a:pt x="95" y="34"/>
                  <a:pt x="95" y="34"/>
                </a:cubicBezTo>
                <a:cubicBezTo>
                  <a:pt x="95" y="35"/>
                  <a:pt x="95" y="35"/>
                  <a:pt x="95" y="35"/>
                </a:cubicBezTo>
                <a:cubicBezTo>
                  <a:pt x="96" y="36"/>
                  <a:pt x="96" y="36"/>
                  <a:pt x="96" y="36"/>
                </a:cubicBezTo>
                <a:cubicBezTo>
                  <a:pt x="97" y="37"/>
                  <a:pt x="97" y="37"/>
                  <a:pt x="97" y="37"/>
                </a:cubicBezTo>
                <a:cubicBezTo>
                  <a:pt x="98" y="37"/>
                  <a:pt x="98" y="37"/>
                  <a:pt x="98" y="37"/>
                </a:cubicBezTo>
                <a:cubicBezTo>
                  <a:pt x="100" y="37"/>
                  <a:pt x="100" y="37"/>
                  <a:pt x="100" y="37"/>
                </a:cubicBezTo>
                <a:cubicBezTo>
                  <a:pt x="100" y="36"/>
                  <a:pt x="100" y="36"/>
                  <a:pt x="100" y="36"/>
                </a:cubicBezTo>
                <a:cubicBezTo>
                  <a:pt x="101" y="36"/>
                  <a:pt x="101" y="36"/>
                  <a:pt x="101" y="36"/>
                </a:cubicBezTo>
                <a:cubicBezTo>
                  <a:pt x="102" y="36"/>
                  <a:pt x="102" y="36"/>
                  <a:pt x="102" y="36"/>
                </a:cubicBezTo>
                <a:cubicBezTo>
                  <a:pt x="106" y="36"/>
                  <a:pt x="106" y="36"/>
                  <a:pt x="106" y="36"/>
                </a:cubicBezTo>
                <a:cubicBezTo>
                  <a:pt x="109" y="35"/>
                  <a:pt x="109" y="35"/>
                  <a:pt x="109" y="35"/>
                </a:cubicBezTo>
                <a:cubicBezTo>
                  <a:pt x="110" y="34"/>
                  <a:pt x="110" y="34"/>
                  <a:pt x="110" y="34"/>
                </a:cubicBezTo>
                <a:cubicBezTo>
                  <a:pt x="113" y="34"/>
                  <a:pt x="113" y="34"/>
                  <a:pt x="113" y="34"/>
                </a:cubicBezTo>
                <a:cubicBezTo>
                  <a:pt x="115" y="34"/>
                  <a:pt x="115" y="34"/>
                  <a:pt x="115" y="34"/>
                </a:cubicBezTo>
                <a:cubicBezTo>
                  <a:pt x="115" y="35"/>
                  <a:pt x="115" y="35"/>
                  <a:pt x="115" y="35"/>
                </a:cubicBezTo>
                <a:cubicBezTo>
                  <a:pt x="117" y="35"/>
                  <a:pt x="117" y="35"/>
                  <a:pt x="117" y="35"/>
                </a:cubicBezTo>
                <a:cubicBezTo>
                  <a:pt x="119" y="34"/>
                  <a:pt x="119" y="34"/>
                  <a:pt x="119" y="34"/>
                </a:cubicBezTo>
                <a:cubicBezTo>
                  <a:pt x="122" y="33"/>
                  <a:pt x="122" y="33"/>
                  <a:pt x="122" y="33"/>
                </a:cubicBezTo>
                <a:cubicBezTo>
                  <a:pt x="122" y="32"/>
                  <a:pt x="122" y="32"/>
                  <a:pt x="122" y="32"/>
                </a:cubicBezTo>
                <a:cubicBezTo>
                  <a:pt x="125" y="29"/>
                  <a:pt x="125" y="29"/>
                  <a:pt x="125" y="29"/>
                </a:cubicBezTo>
                <a:cubicBezTo>
                  <a:pt x="126" y="26"/>
                  <a:pt x="126" y="26"/>
                  <a:pt x="126" y="26"/>
                </a:cubicBezTo>
                <a:cubicBezTo>
                  <a:pt x="128" y="23"/>
                  <a:pt x="128" y="23"/>
                  <a:pt x="128" y="23"/>
                </a:cubicBezTo>
                <a:cubicBezTo>
                  <a:pt x="129" y="18"/>
                  <a:pt x="129" y="18"/>
                  <a:pt x="129" y="18"/>
                </a:cubicBezTo>
                <a:cubicBezTo>
                  <a:pt x="129" y="17"/>
                  <a:pt x="129" y="17"/>
                  <a:pt x="129" y="17"/>
                </a:cubicBezTo>
                <a:cubicBezTo>
                  <a:pt x="130" y="16"/>
                  <a:pt x="130" y="16"/>
                  <a:pt x="130" y="16"/>
                </a:cubicBezTo>
                <a:cubicBezTo>
                  <a:pt x="130" y="15"/>
                  <a:pt x="130" y="15"/>
                  <a:pt x="130" y="15"/>
                </a:cubicBezTo>
                <a:cubicBezTo>
                  <a:pt x="131" y="14"/>
                  <a:pt x="131" y="14"/>
                  <a:pt x="131" y="14"/>
                </a:cubicBezTo>
                <a:cubicBezTo>
                  <a:pt x="132" y="14"/>
                  <a:pt x="132" y="14"/>
                  <a:pt x="132" y="14"/>
                </a:cubicBezTo>
                <a:cubicBezTo>
                  <a:pt x="134" y="14"/>
                  <a:pt x="134" y="14"/>
                  <a:pt x="134" y="14"/>
                </a:cubicBezTo>
                <a:cubicBezTo>
                  <a:pt x="137" y="14"/>
                  <a:pt x="137" y="14"/>
                  <a:pt x="137" y="14"/>
                </a:cubicBezTo>
                <a:cubicBezTo>
                  <a:pt x="137" y="15"/>
                  <a:pt x="137" y="15"/>
                  <a:pt x="137" y="15"/>
                </a:cubicBezTo>
                <a:cubicBezTo>
                  <a:pt x="139" y="15"/>
                  <a:pt x="139" y="15"/>
                  <a:pt x="139" y="15"/>
                </a:cubicBezTo>
                <a:cubicBezTo>
                  <a:pt x="140" y="15"/>
                  <a:pt x="140" y="15"/>
                  <a:pt x="140" y="15"/>
                </a:cubicBezTo>
                <a:cubicBezTo>
                  <a:pt x="140" y="15"/>
                  <a:pt x="140" y="15"/>
                  <a:pt x="140" y="15"/>
                </a:cubicBezTo>
                <a:cubicBezTo>
                  <a:pt x="140" y="15"/>
                  <a:pt x="140" y="15"/>
                  <a:pt x="140" y="15"/>
                </a:cubicBezTo>
                <a:cubicBezTo>
                  <a:pt x="140" y="16"/>
                  <a:pt x="140" y="16"/>
                  <a:pt x="140" y="16"/>
                </a:cubicBezTo>
                <a:cubicBezTo>
                  <a:pt x="139" y="17"/>
                  <a:pt x="139" y="17"/>
                  <a:pt x="139" y="17"/>
                </a:cubicBezTo>
                <a:cubicBezTo>
                  <a:pt x="141" y="17"/>
                  <a:pt x="141" y="17"/>
                  <a:pt x="141" y="17"/>
                </a:cubicBezTo>
                <a:cubicBezTo>
                  <a:pt x="142" y="19"/>
                  <a:pt x="142" y="19"/>
                  <a:pt x="142" y="19"/>
                </a:cubicBezTo>
                <a:cubicBezTo>
                  <a:pt x="141" y="19"/>
                  <a:pt x="141" y="19"/>
                  <a:pt x="141" y="19"/>
                </a:cubicBezTo>
                <a:cubicBezTo>
                  <a:pt x="139" y="19"/>
                  <a:pt x="139" y="19"/>
                  <a:pt x="139" y="19"/>
                </a:cubicBezTo>
                <a:cubicBezTo>
                  <a:pt x="139" y="19"/>
                  <a:pt x="139" y="19"/>
                  <a:pt x="139" y="19"/>
                </a:cubicBezTo>
                <a:cubicBezTo>
                  <a:pt x="140" y="20"/>
                  <a:pt x="140" y="20"/>
                  <a:pt x="140" y="20"/>
                </a:cubicBezTo>
                <a:cubicBezTo>
                  <a:pt x="140" y="21"/>
                  <a:pt x="140" y="21"/>
                  <a:pt x="140" y="21"/>
                </a:cubicBezTo>
                <a:cubicBezTo>
                  <a:pt x="140" y="21"/>
                  <a:pt x="140" y="21"/>
                  <a:pt x="140" y="21"/>
                </a:cubicBezTo>
                <a:cubicBezTo>
                  <a:pt x="140" y="21"/>
                  <a:pt x="140" y="21"/>
                  <a:pt x="140" y="21"/>
                </a:cubicBezTo>
                <a:cubicBezTo>
                  <a:pt x="139" y="22"/>
                  <a:pt x="139" y="22"/>
                  <a:pt x="139" y="22"/>
                </a:cubicBezTo>
                <a:cubicBezTo>
                  <a:pt x="140" y="23"/>
                  <a:pt x="140" y="23"/>
                  <a:pt x="140" y="23"/>
                </a:cubicBezTo>
                <a:cubicBezTo>
                  <a:pt x="141" y="25"/>
                  <a:pt x="141" y="25"/>
                  <a:pt x="141" y="25"/>
                </a:cubicBezTo>
                <a:cubicBezTo>
                  <a:pt x="143" y="27"/>
                  <a:pt x="143" y="27"/>
                  <a:pt x="143" y="27"/>
                </a:cubicBezTo>
                <a:cubicBezTo>
                  <a:pt x="144" y="28"/>
                  <a:pt x="144" y="28"/>
                  <a:pt x="144" y="28"/>
                </a:cubicBezTo>
                <a:cubicBezTo>
                  <a:pt x="143" y="29"/>
                  <a:pt x="143" y="29"/>
                  <a:pt x="143" y="29"/>
                </a:cubicBezTo>
                <a:cubicBezTo>
                  <a:pt x="141" y="29"/>
                  <a:pt x="141" y="29"/>
                  <a:pt x="141" y="29"/>
                </a:cubicBezTo>
                <a:cubicBezTo>
                  <a:pt x="141" y="30"/>
                  <a:pt x="141" y="30"/>
                  <a:pt x="141" y="30"/>
                </a:cubicBezTo>
                <a:cubicBezTo>
                  <a:pt x="142" y="30"/>
                  <a:pt x="142" y="30"/>
                  <a:pt x="142" y="30"/>
                </a:cubicBezTo>
                <a:cubicBezTo>
                  <a:pt x="142" y="32"/>
                  <a:pt x="142" y="32"/>
                  <a:pt x="142" y="32"/>
                </a:cubicBezTo>
                <a:cubicBezTo>
                  <a:pt x="143" y="32"/>
                  <a:pt x="143" y="32"/>
                  <a:pt x="143" y="32"/>
                </a:cubicBezTo>
                <a:cubicBezTo>
                  <a:pt x="146" y="35"/>
                  <a:pt x="146" y="35"/>
                  <a:pt x="146" y="35"/>
                </a:cubicBezTo>
                <a:cubicBezTo>
                  <a:pt x="147" y="35"/>
                  <a:pt x="147" y="35"/>
                  <a:pt x="147" y="35"/>
                </a:cubicBezTo>
                <a:cubicBezTo>
                  <a:pt x="148" y="36"/>
                  <a:pt x="148" y="36"/>
                  <a:pt x="148" y="36"/>
                </a:cubicBezTo>
                <a:cubicBezTo>
                  <a:pt x="148" y="36"/>
                  <a:pt x="148" y="36"/>
                  <a:pt x="148" y="36"/>
                </a:cubicBezTo>
                <a:cubicBezTo>
                  <a:pt x="149" y="37"/>
                  <a:pt x="149" y="37"/>
                  <a:pt x="149" y="37"/>
                </a:cubicBezTo>
                <a:cubicBezTo>
                  <a:pt x="149" y="38"/>
                  <a:pt x="149" y="38"/>
                  <a:pt x="149" y="38"/>
                </a:cubicBezTo>
                <a:cubicBezTo>
                  <a:pt x="148" y="38"/>
                  <a:pt x="148" y="38"/>
                  <a:pt x="148" y="38"/>
                </a:cubicBezTo>
                <a:cubicBezTo>
                  <a:pt x="147" y="38"/>
                  <a:pt x="147" y="38"/>
                  <a:pt x="147" y="38"/>
                </a:cubicBezTo>
                <a:cubicBezTo>
                  <a:pt x="146" y="39"/>
                  <a:pt x="146" y="39"/>
                  <a:pt x="146" y="39"/>
                </a:cubicBezTo>
                <a:cubicBezTo>
                  <a:pt x="145" y="38"/>
                  <a:pt x="145" y="38"/>
                  <a:pt x="145" y="38"/>
                </a:cubicBezTo>
                <a:cubicBezTo>
                  <a:pt x="143" y="36"/>
                  <a:pt x="143" y="36"/>
                  <a:pt x="143" y="36"/>
                </a:cubicBezTo>
                <a:cubicBezTo>
                  <a:pt x="143" y="38"/>
                  <a:pt x="143" y="38"/>
                  <a:pt x="143" y="38"/>
                </a:cubicBezTo>
                <a:cubicBezTo>
                  <a:pt x="143" y="39"/>
                  <a:pt x="143" y="39"/>
                  <a:pt x="143" y="39"/>
                </a:cubicBezTo>
                <a:cubicBezTo>
                  <a:pt x="142" y="38"/>
                  <a:pt x="142" y="38"/>
                  <a:pt x="142" y="38"/>
                </a:cubicBezTo>
                <a:cubicBezTo>
                  <a:pt x="141" y="39"/>
                  <a:pt x="141" y="39"/>
                  <a:pt x="141" y="39"/>
                </a:cubicBezTo>
                <a:cubicBezTo>
                  <a:pt x="141" y="40"/>
                  <a:pt x="141" y="40"/>
                  <a:pt x="141" y="40"/>
                </a:cubicBezTo>
                <a:cubicBezTo>
                  <a:pt x="140" y="41"/>
                  <a:pt x="140" y="41"/>
                  <a:pt x="140" y="41"/>
                </a:cubicBezTo>
                <a:cubicBezTo>
                  <a:pt x="140" y="43"/>
                  <a:pt x="140" y="43"/>
                  <a:pt x="140" y="43"/>
                </a:cubicBezTo>
                <a:cubicBezTo>
                  <a:pt x="139" y="44"/>
                  <a:pt x="139" y="44"/>
                  <a:pt x="139" y="44"/>
                </a:cubicBezTo>
                <a:cubicBezTo>
                  <a:pt x="139" y="46"/>
                  <a:pt x="139" y="46"/>
                  <a:pt x="139" y="46"/>
                </a:cubicBezTo>
                <a:cubicBezTo>
                  <a:pt x="137" y="48"/>
                  <a:pt x="137" y="48"/>
                  <a:pt x="137" y="48"/>
                </a:cubicBezTo>
                <a:cubicBezTo>
                  <a:pt x="138" y="49"/>
                  <a:pt x="138" y="49"/>
                  <a:pt x="138" y="49"/>
                </a:cubicBezTo>
                <a:cubicBezTo>
                  <a:pt x="137" y="50"/>
                  <a:pt x="137" y="50"/>
                  <a:pt x="137" y="50"/>
                </a:cubicBezTo>
                <a:cubicBezTo>
                  <a:pt x="136" y="51"/>
                  <a:pt x="136" y="51"/>
                  <a:pt x="136" y="51"/>
                </a:cubicBezTo>
                <a:cubicBezTo>
                  <a:pt x="136" y="50"/>
                  <a:pt x="136" y="50"/>
                  <a:pt x="136" y="50"/>
                </a:cubicBezTo>
                <a:cubicBezTo>
                  <a:pt x="135" y="50"/>
                  <a:pt x="135" y="50"/>
                  <a:pt x="135" y="50"/>
                </a:cubicBezTo>
                <a:cubicBezTo>
                  <a:pt x="135" y="51"/>
                  <a:pt x="135" y="51"/>
                  <a:pt x="135" y="51"/>
                </a:cubicBezTo>
                <a:cubicBezTo>
                  <a:pt x="135" y="52"/>
                  <a:pt x="135" y="52"/>
                  <a:pt x="135" y="52"/>
                </a:cubicBezTo>
                <a:cubicBezTo>
                  <a:pt x="134" y="53"/>
                  <a:pt x="134" y="53"/>
                  <a:pt x="134" y="53"/>
                </a:cubicBezTo>
                <a:cubicBezTo>
                  <a:pt x="134" y="54"/>
                  <a:pt x="134" y="54"/>
                  <a:pt x="134" y="54"/>
                </a:cubicBezTo>
                <a:cubicBezTo>
                  <a:pt x="133" y="55"/>
                  <a:pt x="133" y="55"/>
                  <a:pt x="133" y="55"/>
                </a:cubicBezTo>
                <a:cubicBezTo>
                  <a:pt x="132" y="55"/>
                  <a:pt x="132" y="55"/>
                  <a:pt x="132" y="55"/>
                </a:cubicBezTo>
                <a:cubicBezTo>
                  <a:pt x="132" y="55"/>
                  <a:pt x="132" y="55"/>
                  <a:pt x="132" y="55"/>
                </a:cubicBezTo>
                <a:cubicBezTo>
                  <a:pt x="132" y="56"/>
                  <a:pt x="132" y="56"/>
                  <a:pt x="132" y="56"/>
                </a:cubicBezTo>
                <a:cubicBezTo>
                  <a:pt x="133" y="56"/>
                  <a:pt x="133" y="56"/>
                  <a:pt x="133" y="56"/>
                </a:cubicBezTo>
                <a:cubicBezTo>
                  <a:pt x="133" y="56"/>
                  <a:pt x="133" y="56"/>
                  <a:pt x="133" y="56"/>
                </a:cubicBezTo>
                <a:cubicBezTo>
                  <a:pt x="133" y="57"/>
                  <a:pt x="133" y="57"/>
                  <a:pt x="133" y="57"/>
                </a:cubicBezTo>
                <a:cubicBezTo>
                  <a:pt x="132" y="58"/>
                  <a:pt x="132" y="58"/>
                  <a:pt x="132" y="58"/>
                </a:cubicBezTo>
                <a:cubicBezTo>
                  <a:pt x="133" y="58"/>
                  <a:pt x="133" y="58"/>
                  <a:pt x="133" y="58"/>
                </a:cubicBezTo>
                <a:cubicBezTo>
                  <a:pt x="134" y="58"/>
                  <a:pt x="134" y="58"/>
                  <a:pt x="134" y="58"/>
                </a:cubicBezTo>
                <a:cubicBezTo>
                  <a:pt x="134" y="59"/>
                  <a:pt x="134" y="59"/>
                  <a:pt x="134" y="59"/>
                </a:cubicBezTo>
                <a:cubicBezTo>
                  <a:pt x="133" y="60"/>
                  <a:pt x="133" y="60"/>
                  <a:pt x="133" y="60"/>
                </a:cubicBezTo>
                <a:cubicBezTo>
                  <a:pt x="132" y="60"/>
                  <a:pt x="132" y="60"/>
                  <a:pt x="132" y="60"/>
                </a:cubicBezTo>
                <a:cubicBezTo>
                  <a:pt x="132" y="59"/>
                  <a:pt x="132" y="59"/>
                  <a:pt x="132" y="59"/>
                </a:cubicBezTo>
                <a:cubicBezTo>
                  <a:pt x="132" y="60"/>
                  <a:pt x="132" y="60"/>
                  <a:pt x="132" y="60"/>
                </a:cubicBezTo>
                <a:cubicBezTo>
                  <a:pt x="133" y="60"/>
                  <a:pt x="133" y="60"/>
                  <a:pt x="133" y="60"/>
                </a:cubicBezTo>
                <a:cubicBezTo>
                  <a:pt x="133" y="61"/>
                  <a:pt x="133" y="61"/>
                  <a:pt x="133" y="61"/>
                </a:cubicBezTo>
                <a:cubicBezTo>
                  <a:pt x="132" y="63"/>
                  <a:pt x="132" y="63"/>
                  <a:pt x="132" y="63"/>
                </a:cubicBezTo>
                <a:cubicBezTo>
                  <a:pt x="131" y="63"/>
                  <a:pt x="131" y="63"/>
                  <a:pt x="131" y="63"/>
                </a:cubicBezTo>
                <a:cubicBezTo>
                  <a:pt x="131" y="62"/>
                  <a:pt x="131" y="62"/>
                  <a:pt x="131" y="62"/>
                </a:cubicBezTo>
                <a:cubicBezTo>
                  <a:pt x="131" y="64"/>
                  <a:pt x="131" y="64"/>
                  <a:pt x="131" y="64"/>
                </a:cubicBezTo>
                <a:cubicBezTo>
                  <a:pt x="131" y="65"/>
                  <a:pt x="131" y="65"/>
                  <a:pt x="131" y="65"/>
                </a:cubicBezTo>
                <a:cubicBezTo>
                  <a:pt x="130" y="67"/>
                  <a:pt x="130" y="67"/>
                  <a:pt x="130" y="67"/>
                </a:cubicBezTo>
                <a:cubicBezTo>
                  <a:pt x="127" y="69"/>
                  <a:pt x="127" y="69"/>
                  <a:pt x="127" y="69"/>
                </a:cubicBezTo>
                <a:cubicBezTo>
                  <a:pt x="126" y="69"/>
                  <a:pt x="126" y="69"/>
                  <a:pt x="126" y="69"/>
                </a:cubicBezTo>
                <a:cubicBezTo>
                  <a:pt x="123" y="70"/>
                  <a:pt x="123" y="70"/>
                  <a:pt x="123" y="70"/>
                </a:cubicBezTo>
                <a:cubicBezTo>
                  <a:pt x="122" y="70"/>
                  <a:pt x="122" y="70"/>
                  <a:pt x="122" y="70"/>
                </a:cubicBezTo>
                <a:cubicBezTo>
                  <a:pt x="121" y="69"/>
                  <a:pt x="121" y="69"/>
                  <a:pt x="121" y="69"/>
                </a:cubicBezTo>
                <a:cubicBezTo>
                  <a:pt x="122" y="68"/>
                  <a:pt x="122" y="68"/>
                  <a:pt x="122" y="68"/>
                </a:cubicBezTo>
                <a:cubicBezTo>
                  <a:pt x="121" y="67"/>
                  <a:pt x="121" y="67"/>
                  <a:pt x="121" y="67"/>
                </a:cubicBezTo>
                <a:cubicBezTo>
                  <a:pt x="121" y="66"/>
                  <a:pt x="121" y="66"/>
                  <a:pt x="121" y="66"/>
                </a:cubicBezTo>
                <a:cubicBezTo>
                  <a:pt x="120" y="66"/>
                  <a:pt x="120" y="66"/>
                  <a:pt x="120" y="66"/>
                </a:cubicBezTo>
                <a:cubicBezTo>
                  <a:pt x="120" y="66"/>
                  <a:pt x="120" y="66"/>
                  <a:pt x="120" y="66"/>
                </a:cubicBezTo>
                <a:cubicBezTo>
                  <a:pt x="119" y="66"/>
                  <a:pt x="119" y="66"/>
                  <a:pt x="119" y="66"/>
                </a:cubicBezTo>
                <a:cubicBezTo>
                  <a:pt x="118" y="66"/>
                  <a:pt x="118" y="66"/>
                  <a:pt x="118" y="66"/>
                </a:cubicBezTo>
                <a:cubicBezTo>
                  <a:pt x="117" y="65"/>
                  <a:pt x="117" y="65"/>
                  <a:pt x="117" y="65"/>
                </a:cubicBezTo>
                <a:cubicBezTo>
                  <a:pt x="117" y="66"/>
                  <a:pt x="117" y="66"/>
                  <a:pt x="117" y="66"/>
                </a:cubicBezTo>
                <a:cubicBezTo>
                  <a:pt x="117" y="66"/>
                  <a:pt x="117" y="66"/>
                  <a:pt x="117" y="66"/>
                </a:cubicBezTo>
                <a:cubicBezTo>
                  <a:pt x="116" y="66"/>
                  <a:pt x="116" y="66"/>
                  <a:pt x="116" y="66"/>
                </a:cubicBezTo>
                <a:cubicBezTo>
                  <a:pt x="116" y="65"/>
                  <a:pt x="116" y="65"/>
                  <a:pt x="116" y="65"/>
                </a:cubicBezTo>
                <a:cubicBezTo>
                  <a:pt x="116" y="64"/>
                  <a:pt x="116" y="64"/>
                  <a:pt x="116" y="64"/>
                </a:cubicBezTo>
                <a:cubicBezTo>
                  <a:pt x="115" y="64"/>
                  <a:pt x="115" y="64"/>
                  <a:pt x="115" y="64"/>
                </a:cubicBezTo>
                <a:cubicBezTo>
                  <a:pt x="114" y="64"/>
                  <a:pt x="114" y="64"/>
                  <a:pt x="114" y="64"/>
                </a:cubicBezTo>
                <a:cubicBezTo>
                  <a:pt x="113" y="64"/>
                  <a:pt x="113" y="64"/>
                  <a:pt x="113" y="64"/>
                </a:cubicBezTo>
                <a:cubicBezTo>
                  <a:pt x="113" y="64"/>
                  <a:pt x="113" y="64"/>
                  <a:pt x="113" y="64"/>
                </a:cubicBezTo>
                <a:cubicBezTo>
                  <a:pt x="112" y="65"/>
                  <a:pt x="112" y="65"/>
                  <a:pt x="112" y="65"/>
                </a:cubicBezTo>
                <a:cubicBezTo>
                  <a:pt x="110" y="65"/>
                  <a:pt x="110" y="65"/>
                  <a:pt x="110" y="65"/>
                </a:cubicBezTo>
                <a:cubicBezTo>
                  <a:pt x="110" y="66"/>
                  <a:pt x="110" y="66"/>
                  <a:pt x="110" y="66"/>
                </a:cubicBezTo>
                <a:cubicBezTo>
                  <a:pt x="109" y="66"/>
                  <a:pt x="109" y="66"/>
                  <a:pt x="109" y="66"/>
                </a:cubicBezTo>
                <a:cubicBezTo>
                  <a:pt x="108" y="65"/>
                  <a:pt x="108" y="65"/>
                  <a:pt x="108" y="65"/>
                </a:cubicBezTo>
                <a:cubicBezTo>
                  <a:pt x="107" y="65"/>
                  <a:pt x="107" y="65"/>
                  <a:pt x="107" y="65"/>
                </a:cubicBezTo>
                <a:cubicBezTo>
                  <a:pt x="106" y="67"/>
                  <a:pt x="106" y="67"/>
                  <a:pt x="106" y="67"/>
                </a:cubicBezTo>
                <a:cubicBezTo>
                  <a:pt x="105" y="67"/>
                  <a:pt x="105" y="67"/>
                  <a:pt x="105" y="67"/>
                </a:cubicBezTo>
                <a:cubicBezTo>
                  <a:pt x="105" y="66"/>
                  <a:pt x="105" y="66"/>
                  <a:pt x="105" y="66"/>
                </a:cubicBezTo>
                <a:cubicBezTo>
                  <a:pt x="105" y="64"/>
                  <a:pt x="105" y="64"/>
                  <a:pt x="105" y="64"/>
                </a:cubicBezTo>
                <a:cubicBezTo>
                  <a:pt x="105" y="62"/>
                  <a:pt x="105" y="62"/>
                  <a:pt x="105" y="62"/>
                </a:cubicBezTo>
                <a:cubicBezTo>
                  <a:pt x="105" y="61"/>
                  <a:pt x="105" y="61"/>
                  <a:pt x="105" y="61"/>
                </a:cubicBezTo>
                <a:cubicBezTo>
                  <a:pt x="104" y="61"/>
                  <a:pt x="104" y="61"/>
                  <a:pt x="104" y="61"/>
                </a:cubicBezTo>
                <a:cubicBezTo>
                  <a:pt x="105" y="61"/>
                  <a:pt x="105" y="61"/>
                  <a:pt x="105" y="61"/>
                </a:cubicBezTo>
                <a:cubicBezTo>
                  <a:pt x="104" y="62"/>
                  <a:pt x="104" y="62"/>
                  <a:pt x="104" y="62"/>
                </a:cubicBezTo>
                <a:cubicBezTo>
                  <a:pt x="103" y="63"/>
                  <a:pt x="103" y="63"/>
                  <a:pt x="103" y="63"/>
                </a:cubicBezTo>
                <a:cubicBezTo>
                  <a:pt x="102" y="62"/>
                  <a:pt x="102" y="62"/>
                  <a:pt x="102" y="62"/>
                </a:cubicBezTo>
                <a:cubicBezTo>
                  <a:pt x="101" y="63"/>
                  <a:pt x="101" y="63"/>
                  <a:pt x="101" y="63"/>
                </a:cubicBezTo>
                <a:cubicBezTo>
                  <a:pt x="100" y="63"/>
                  <a:pt x="100" y="63"/>
                  <a:pt x="100" y="63"/>
                </a:cubicBezTo>
                <a:cubicBezTo>
                  <a:pt x="99" y="63"/>
                  <a:pt x="99" y="63"/>
                  <a:pt x="99" y="63"/>
                </a:cubicBezTo>
                <a:cubicBezTo>
                  <a:pt x="97" y="63"/>
                  <a:pt x="97" y="63"/>
                  <a:pt x="97" y="63"/>
                </a:cubicBezTo>
                <a:cubicBezTo>
                  <a:pt x="97" y="62"/>
                  <a:pt x="97" y="62"/>
                  <a:pt x="97" y="62"/>
                </a:cubicBezTo>
                <a:cubicBezTo>
                  <a:pt x="96" y="63"/>
                  <a:pt x="96" y="63"/>
                  <a:pt x="96" y="63"/>
                </a:cubicBezTo>
                <a:cubicBezTo>
                  <a:pt x="95" y="63"/>
                  <a:pt x="95" y="63"/>
                  <a:pt x="95" y="63"/>
                </a:cubicBezTo>
                <a:cubicBezTo>
                  <a:pt x="95" y="61"/>
                  <a:pt x="95" y="61"/>
                  <a:pt x="95" y="61"/>
                </a:cubicBezTo>
                <a:cubicBezTo>
                  <a:pt x="95" y="60"/>
                  <a:pt x="95" y="60"/>
                  <a:pt x="95" y="60"/>
                </a:cubicBezTo>
                <a:cubicBezTo>
                  <a:pt x="94" y="57"/>
                  <a:pt x="94" y="57"/>
                  <a:pt x="94" y="57"/>
                </a:cubicBezTo>
                <a:cubicBezTo>
                  <a:pt x="93" y="56"/>
                  <a:pt x="93" y="56"/>
                  <a:pt x="93" y="56"/>
                </a:cubicBezTo>
                <a:cubicBezTo>
                  <a:pt x="93" y="55"/>
                  <a:pt x="93" y="55"/>
                  <a:pt x="93" y="55"/>
                </a:cubicBezTo>
                <a:cubicBezTo>
                  <a:pt x="94" y="55"/>
                  <a:pt x="94" y="55"/>
                  <a:pt x="94" y="55"/>
                </a:cubicBezTo>
                <a:cubicBezTo>
                  <a:pt x="94" y="53"/>
                  <a:pt x="94" y="53"/>
                  <a:pt x="94" y="53"/>
                </a:cubicBezTo>
                <a:cubicBezTo>
                  <a:pt x="94" y="52"/>
                  <a:pt x="94" y="52"/>
                  <a:pt x="94" y="52"/>
                </a:cubicBezTo>
                <a:cubicBezTo>
                  <a:pt x="94" y="51"/>
                  <a:pt x="94" y="51"/>
                  <a:pt x="94" y="51"/>
                </a:cubicBezTo>
                <a:cubicBezTo>
                  <a:pt x="92" y="49"/>
                  <a:pt x="92" y="49"/>
                  <a:pt x="92" y="49"/>
                </a:cubicBezTo>
                <a:cubicBezTo>
                  <a:pt x="90" y="48"/>
                  <a:pt x="90" y="48"/>
                  <a:pt x="90" y="48"/>
                </a:cubicBezTo>
                <a:cubicBezTo>
                  <a:pt x="89" y="48"/>
                  <a:pt x="89" y="48"/>
                  <a:pt x="89" y="48"/>
                </a:cubicBezTo>
                <a:cubicBezTo>
                  <a:pt x="89" y="48"/>
                  <a:pt x="89" y="48"/>
                  <a:pt x="89" y="48"/>
                </a:cubicBezTo>
                <a:cubicBezTo>
                  <a:pt x="90" y="47"/>
                  <a:pt x="90" y="47"/>
                  <a:pt x="90" y="47"/>
                </a:cubicBezTo>
                <a:cubicBezTo>
                  <a:pt x="91" y="47"/>
                  <a:pt x="91" y="47"/>
                  <a:pt x="91" y="47"/>
                </a:cubicBezTo>
                <a:cubicBezTo>
                  <a:pt x="93" y="46"/>
                  <a:pt x="93" y="46"/>
                  <a:pt x="93" y="46"/>
                </a:cubicBezTo>
                <a:cubicBezTo>
                  <a:pt x="95" y="45"/>
                  <a:pt x="95" y="45"/>
                  <a:pt x="95" y="45"/>
                </a:cubicBezTo>
                <a:cubicBezTo>
                  <a:pt x="96" y="45"/>
                  <a:pt x="96" y="45"/>
                  <a:pt x="96" y="45"/>
                </a:cubicBezTo>
                <a:cubicBezTo>
                  <a:pt x="95" y="45"/>
                  <a:pt x="95" y="45"/>
                  <a:pt x="95" y="45"/>
                </a:cubicBezTo>
                <a:cubicBezTo>
                  <a:pt x="93" y="46"/>
                  <a:pt x="93" y="46"/>
                  <a:pt x="93" y="46"/>
                </a:cubicBezTo>
                <a:cubicBezTo>
                  <a:pt x="91" y="46"/>
                  <a:pt x="91" y="46"/>
                  <a:pt x="91" y="46"/>
                </a:cubicBezTo>
                <a:cubicBezTo>
                  <a:pt x="90" y="46"/>
                  <a:pt x="90" y="46"/>
                  <a:pt x="90" y="46"/>
                </a:cubicBezTo>
                <a:cubicBezTo>
                  <a:pt x="89" y="46"/>
                  <a:pt x="89" y="46"/>
                  <a:pt x="89" y="46"/>
                </a:cubicBezTo>
                <a:cubicBezTo>
                  <a:pt x="88" y="44"/>
                  <a:pt x="88" y="44"/>
                  <a:pt x="88" y="44"/>
                </a:cubicBezTo>
                <a:cubicBezTo>
                  <a:pt x="89" y="44"/>
                  <a:pt x="89" y="44"/>
                  <a:pt x="89" y="44"/>
                </a:cubicBezTo>
                <a:cubicBezTo>
                  <a:pt x="89" y="44"/>
                  <a:pt x="89" y="44"/>
                  <a:pt x="89" y="44"/>
                </a:cubicBezTo>
                <a:cubicBezTo>
                  <a:pt x="89" y="43"/>
                  <a:pt x="89" y="43"/>
                  <a:pt x="89" y="43"/>
                </a:cubicBezTo>
                <a:cubicBezTo>
                  <a:pt x="87" y="41"/>
                  <a:pt x="87" y="41"/>
                  <a:pt x="87" y="41"/>
                </a:cubicBezTo>
                <a:cubicBezTo>
                  <a:pt x="87" y="39"/>
                  <a:pt x="87" y="39"/>
                  <a:pt x="87" y="39"/>
                </a:cubicBezTo>
                <a:cubicBezTo>
                  <a:pt x="88" y="38"/>
                  <a:pt x="88" y="38"/>
                  <a:pt x="88" y="38"/>
                </a:cubicBezTo>
                <a:cubicBezTo>
                  <a:pt x="88" y="37"/>
                  <a:pt x="88" y="37"/>
                  <a:pt x="88" y="37"/>
                </a:cubicBezTo>
                <a:cubicBezTo>
                  <a:pt x="87" y="36"/>
                  <a:pt x="87" y="36"/>
                  <a:pt x="87" y="36"/>
                </a:cubicBezTo>
                <a:cubicBezTo>
                  <a:pt x="87" y="36"/>
                  <a:pt x="87" y="36"/>
                  <a:pt x="87" y="36"/>
                </a:cubicBezTo>
                <a:close/>
                <a:moveTo>
                  <a:pt x="250" y="49"/>
                </a:moveTo>
                <a:cubicBezTo>
                  <a:pt x="249" y="49"/>
                  <a:pt x="249" y="49"/>
                  <a:pt x="249" y="49"/>
                </a:cubicBezTo>
                <a:cubicBezTo>
                  <a:pt x="250" y="50"/>
                  <a:pt x="250" y="50"/>
                  <a:pt x="250" y="50"/>
                </a:cubicBezTo>
                <a:cubicBezTo>
                  <a:pt x="251" y="50"/>
                  <a:pt x="251" y="50"/>
                  <a:pt x="251" y="50"/>
                </a:cubicBezTo>
                <a:cubicBezTo>
                  <a:pt x="250" y="49"/>
                  <a:pt x="250" y="49"/>
                  <a:pt x="250" y="49"/>
                </a:cubicBezTo>
                <a:close/>
                <a:moveTo>
                  <a:pt x="253" y="53"/>
                </a:moveTo>
                <a:cubicBezTo>
                  <a:pt x="251" y="53"/>
                  <a:pt x="251" y="53"/>
                  <a:pt x="251" y="53"/>
                </a:cubicBezTo>
                <a:cubicBezTo>
                  <a:pt x="252" y="53"/>
                  <a:pt x="252" y="53"/>
                  <a:pt x="252" y="53"/>
                </a:cubicBezTo>
                <a:cubicBezTo>
                  <a:pt x="253" y="53"/>
                  <a:pt x="253" y="53"/>
                  <a:pt x="253" y="53"/>
                </a:cubicBezTo>
                <a:close/>
                <a:moveTo>
                  <a:pt x="254" y="54"/>
                </a:moveTo>
                <a:cubicBezTo>
                  <a:pt x="254" y="53"/>
                  <a:pt x="254" y="54"/>
                  <a:pt x="254" y="54"/>
                </a:cubicBezTo>
                <a:cubicBezTo>
                  <a:pt x="256" y="55"/>
                  <a:pt x="256" y="55"/>
                  <a:pt x="256" y="55"/>
                </a:cubicBezTo>
                <a:cubicBezTo>
                  <a:pt x="259" y="55"/>
                  <a:pt x="259" y="55"/>
                  <a:pt x="259" y="55"/>
                </a:cubicBezTo>
                <a:cubicBezTo>
                  <a:pt x="262" y="55"/>
                  <a:pt x="262" y="55"/>
                  <a:pt x="262" y="55"/>
                </a:cubicBezTo>
                <a:cubicBezTo>
                  <a:pt x="262" y="54"/>
                  <a:pt x="262" y="54"/>
                  <a:pt x="262" y="54"/>
                </a:cubicBezTo>
                <a:cubicBezTo>
                  <a:pt x="260" y="54"/>
                  <a:pt x="260" y="54"/>
                  <a:pt x="260" y="54"/>
                </a:cubicBezTo>
                <a:cubicBezTo>
                  <a:pt x="259" y="54"/>
                  <a:pt x="259" y="54"/>
                  <a:pt x="259" y="54"/>
                </a:cubicBezTo>
                <a:cubicBezTo>
                  <a:pt x="257" y="54"/>
                  <a:pt x="257" y="54"/>
                  <a:pt x="257" y="54"/>
                </a:cubicBezTo>
                <a:cubicBezTo>
                  <a:pt x="256" y="54"/>
                  <a:pt x="256" y="54"/>
                  <a:pt x="256" y="54"/>
                </a:cubicBezTo>
                <a:cubicBezTo>
                  <a:pt x="254" y="54"/>
                  <a:pt x="254" y="54"/>
                  <a:pt x="254" y="54"/>
                </a:cubicBezTo>
                <a:close/>
                <a:moveTo>
                  <a:pt x="254" y="48"/>
                </a:moveTo>
                <a:cubicBezTo>
                  <a:pt x="255" y="49"/>
                  <a:pt x="255" y="49"/>
                  <a:pt x="255" y="49"/>
                </a:cubicBezTo>
                <a:cubicBezTo>
                  <a:pt x="255" y="48"/>
                  <a:pt x="255" y="48"/>
                  <a:pt x="255" y="48"/>
                </a:cubicBezTo>
                <a:cubicBezTo>
                  <a:pt x="255" y="48"/>
                  <a:pt x="255" y="48"/>
                  <a:pt x="255" y="48"/>
                </a:cubicBezTo>
                <a:cubicBezTo>
                  <a:pt x="256" y="49"/>
                  <a:pt x="256" y="49"/>
                  <a:pt x="256" y="49"/>
                </a:cubicBezTo>
                <a:cubicBezTo>
                  <a:pt x="256" y="50"/>
                  <a:pt x="256" y="50"/>
                  <a:pt x="256" y="50"/>
                </a:cubicBezTo>
                <a:cubicBezTo>
                  <a:pt x="257" y="50"/>
                  <a:pt x="257" y="50"/>
                  <a:pt x="257" y="50"/>
                </a:cubicBezTo>
                <a:cubicBezTo>
                  <a:pt x="258" y="50"/>
                  <a:pt x="258" y="50"/>
                  <a:pt x="258" y="50"/>
                </a:cubicBezTo>
                <a:cubicBezTo>
                  <a:pt x="258" y="51"/>
                  <a:pt x="258" y="51"/>
                  <a:pt x="258" y="51"/>
                </a:cubicBezTo>
                <a:cubicBezTo>
                  <a:pt x="260" y="50"/>
                  <a:pt x="260" y="50"/>
                  <a:pt x="260" y="50"/>
                </a:cubicBezTo>
                <a:cubicBezTo>
                  <a:pt x="259" y="50"/>
                  <a:pt x="259" y="50"/>
                  <a:pt x="259" y="50"/>
                </a:cubicBezTo>
                <a:cubicBezTo>
                  <a:pt x="258" y="49"/>
                  <a:pt x="258" y="49"/>
                  <a:pt x="258" y="49"/>
                </a:cubicBezTo>
                <a:cubicBezTo>
                  <a:pt x="257" y="48"/>
                  <a:pt x="257" y="48"/>
                  <a:pt x="257" y="48"/>
                </a:cubicBezTo>
                <a:cubicBezTo>
                  <a:pt x="256" y="47"/>
                  <a:pt x="256" y="47"/>
                  <a:pt x="256" y="47"/>
                </a:cubicBezTo>
                <a:cubicBezTo>
                  <a:pt x="255" y="47"/>
                  <a:pt x="255" y="47"/>
                  <a:pt x="255" y="47"/>
                </a:cubicBezTo>
                <a:cubicBezTo>
                  <a:pt x="254" y="47"/>
                  <a:pt x="254" y="47"/>
                  <a:pt x="254" y="47"/>
                </a:cubicBezTo>
                <a:cubicBezTo>
                  <a:pt x="254" y="48"/>
                  <a:pt x="254" y="48"/>
                  <a:pt x="254" y="48"/>
                </a:cubicBezTo>
                <a:close/>
                <a:moveTo>
                  <a:pt x="236" y="79"/>
                </a:moveTo>
                <a:cubicBezTo>
                  <a:pt x="236" y="80"/>
                  <a:pt x="236" y="80"/>
                  <a:pt x="236" y="80"/>
                </a:cubicBezTo>
                <a:cubicBezTo>
                  <a:pt x="236" y="81"/>
                  <a:pt x="236" y="81"/>
                  <a:pt x="236" y="81"/>
                </a:cubicBezTo>
                <a:cubicBezTo>
                  <a:pt x="236" y="82"/>
                  <a:pt x="236" y="82"/>
                  <a:pt x="236" y="82"/>
                </a:cubicBezTo>
                <a:cubicBezTo>
                  <a:pt x="236" y="80"/>
                  <a:pt x="236" y="80"/>
                  <a:pt x="236" y="80"/>
                </a:cubicBezTo>
                <a:cubicBezTo>
                  <a:pt x="236" y="79"/>
                  <a:pt x="236" y="79"/>
                  <a:pt x="236" y="79"/>
                </a:cubicBezTo>
                <a:close/>
                <a:moveTo>
                  <a:pt x="239" y="78"/>
                </a:moveTo>
                <a:cubicBezTo>
                  <a:pt x="238" y="78"/>
                  <a:pt x="238" y="78"/>
                  <a:pt x="238" y="78"/>
                </a:cubicBezTo>
                <a:cubicBezTo>
                  <a:pt x="237" y="81"/>
                  <a:pt x="237" y="81"/>
                  <a:pt x="237" y="81"/>
                </a:cubicBezTo>
                <a:cubicBezTo>
                  <a:pt x="237" y="82"/>
                  <a:pt x="237" y="82"/>
                  <a:pt x="237" y="82"/>
                </a:cubicBezTo>
                <a:cubicBezTo>
                  <a:pt x="238" y="81"/>
                  <a:pt x="238" y="81"/>
                  <a:pt x="238" y="81"/>
                </a:cubicBezTo>
                <a:cubicBezTo>
                  <a:pt x="238" y="79"/>
                  <a:pt x="238" y="79"/>
                  <a:pt x="238" y="79"/>
                </a:cubicBezTo>
                <a:cubicBezTo>
                  <a:pt x="239" y="78"/>
                  <a:pt x="239" y="78"/>
                  <a:pt x="239" y="78"/>
                </a:cubicBezTo>
                <a:close/>
                <a:moveTo>
                  <a:pt x="249" y="86"/>
                </a:moveTo>
                <a:cubicBezTo>
                  <a:pt x="248" y="87"/>
                  <a:pt x="248" y="87"/>
                  <a:pt x="248" y="87"/>
                </a:cubicBezTo>
                <a:cubicBezTo>
                  <a:pt x="249" y="87"/>
                  <a:pt x="249" y="87"/>
                  <a:pt x="249" y="87"/>
                </a:cubicBezTo>
                <a:cubicBezTo>
                  <a:pt x="249" y="87"/>
                  <a:pt x="249" y="87"/>
                  <a:pt x="249" y="87"/>
                </a:cubicBezTo>
                <a:cubicBezTo>
                  <a:pt x="249" y="86"/>
                  <a:pt x="249" y="86"/>
                  <a:pt x="249" y="86"/>
                </a:cubicBezTo>
                <a:close/>
                <a:moveTo>
                  <a:pt x="245" y="84"/>
                </a:moveTo>
                <a:cubicBezTo>
                  <a:pt x="245" y="84"/>
                  <a:pt x="245" y="84"/>
                  <a:pt x="245" y="84"/>
                </a:cubicBezTo>
                <a:cubicBezTo>
                  <a:pt x="245" y="84"/>
                  <a:pt x="245" y="84"/>
                  <a:pt x="245" y="84"/>
                </a:cubicBezTo>
                <a:cubicBezTo>
                  <a:pt x="245" y="85"/>
                  <a:pt x="245" y="85"/>
                  <a:pt x="245" y="85"/>
                </a:cubicBezTo>
                <a:cubicBezTo>
                  <a:pt x="245" y="86"/>
                  <a:pt x="245" y="86"/>
                  <a:pt x="245" y="86"/>
                </a:cubicBezTo>
                <a:cubicBezTo>
                  <a:pt x="246" y="86"/>
                  <a:pt x="246" y="86"/>
                  <a:pt x="246" y="86"/>
                </a:cubicBezTo>
                <a:cubicBezTo>
                  <a:pt x="245" y="86"/>
                  <a:pt x="245" y="86"/>
                  <a:pt x="245" y="86"/>
                </a:cubicBezTo>
                <a:cubicBezTo>
                  <a:pt x="245" y="86"/>
                  <a:pt x="245" y="86"/>
                  <a:pt x="245" y="86"/>
                </a:cubicBezTo>
                <a:cubicBezTo>
                  <a:pt x="245" y="87"/>
                  <a:pt x="245" y="87"/>
                  <a:pt x="245" y="87"/>
                </a:cubicBezTo>
                <a:cubicBezTo>
                  <a:pt x="245" y="88"/>
                  <a:pt x="245" y="88"/>
                  <a:pt x="245" y="88"/>
                </a:cubicBezTo>
                <a:cubicBezTo>
                  <a:pt x="246" y="88"/>
                  <a:pt x="246" y="88"/>
                  <a:pt x="246" y="88"/>
                </a:cubicBezTo>
                <a:cubicBezTo>
                  <a:pt x="247" y="87"/>
                  <a:pt x="247" y="87"/>
                  <a:pt x="247" y="87"/>
                </a:cubicBezTo>
                <a:cubicBezTo>
                  <a:pt x="247" y="86"/>
                  <a:pt x="247" y="86"/>
                  <a:pt x="247" y="86"/>
                </a:cubicBezTo>
                <a:cubicBezTo>
                  <a:pt x="247" y="86"/>
                  <a:pt x="247" y="86"/>
                  <a:pt x="247" y="86"/>
                </a:cubicBezTo>
                <a:cubicBezTo>
                  <a:pt x="246" y="85"/>
                  <a:pt x="246" y="85"/>
                  <a:pt x="246" y="85"/>
                </a:cubicBezTo>
                <a:cubicBezTo>
                  <a:pt x="245" y="84"/>
                  <a:pt x="245" y="84"/>
                  <a:pt x="245" y="84"/>
                </a:cubicBezTo>
                <a:close/>
                <a:moveTo>
                  <a:pt x="247" y="84"/>
                </a:moveTo>
                <a:cubicBezTo>
                  <a:pt x="247" y="84"/>
                  <a:pt x="247" y="85"/>
                  <a:pt x="247" y="85"/>
                </a:cubicBezTo>
                <a:cubicBezTo>
                  <a:pt x="247" y="85"/>
                  <a:pt x="247" y="85"/>
                  <a:pt x="247" y="85"/>
                </a:cubicBezTo>
                <a:cubicBezTo>
                  <a:pt x="248" y="86"/>
                  <a:pt x="248" y="86"/>
                  <a:pt x="248" y="86"/>
                </a:cubicBezTo>
                <a:cubicBezTo>
                  <a:pt x="248" y="85"/>
                  <a:pt x="248" y="85"/>
                  <a:pt x="248" y="85"/>
                </a:cubicBezTo>
                <a:cubicBezTo>
                  <a:pt x="248" y="85"/>
                  <a:pt x="248" y="85"/>
                  <a:pt x="248" y="85"/>
                </a:cubicBezTo>
                <a:cubicBezTo>
                  <a:pt x="247" y="84"/>
                  <a:pt x="247" y="84"/>
                  <a:pt x="247" y="84"/>
                </a:cubicBezTo>
                <a:close/>
                <a:moveTo>
                  <a:pt x="246" y="82"/>
                </a:moveTo>
                <a:cubicBezTo>
                  <a:pt x="245" y="82"/>
                  <a:pt x="245" y="82"/>
                  <a:pt x="245" y="82"/>
                </a:cubicBezTo>
                <a:cubicBezTo>
                  <a:pt x="245" y="83"/>
                  <a:pt x="245" y="83"/>
                  <a:pt x="245" y="83"/>
                </a:cubicBezTo>
                <a:cubicBezTo>
                  <a:pt x="246" y="84"/>
                  <a:pt x="246" y="84"/>
                  <a:pt x="246" y="84"/>
                </a:cubicBezTo>
                <a:cubicBezTo>
                  <a:pt x="247" y="84"/>
                  <a:pt x="247" y="84"/>
                  <a:pt x="247" y="84"/>
                </a:cubicBezTo>
                <a:cubicBezTo>
                  <a:pt x="247" y="84"/>
                  <a:pt x="247" y="84"/>
                  <a:pt x="247" y="84"/>
                </a:cubicBezTo>
                <a:cubicBezTo>
                  <a:pt x="246" y="83"/>
                  <a:pt x="246" y="83"/>
                  <a:pt x="246" y="83"/>
                </a:cubicBezTo>
                <a:cubicBezTo>
                  <a:pt x="246" y="82"/>
                  <a:pt x="246" y="82"/>
                  <a:pt x="246" y="82"/>
                </a:cubicBezTo>
                <a:close/>
                <a:moveTo>
                  <a:pt x="248" y="82"/>
                </a:moveTo>
                <a:cubicBezTo>
                  <a:pt x="247" y="82"/>
                  <a:pt x="247" y="82"/>
                  <a:pt x="247" y="82"/>
                </a:cubicBezTo>
                <a:cubicBezTo>
                  <a:pt x="246" y="83"/>
                  <a:pt x="246" y="83"/>
                  <a:pt x="246" y="83"/>
                </a:cubicBezTo>
                <a:cubicBezTo>
                  <a:pt x="246" y="83"/>
                  <a:pt x="246" y="83"/>
                  <a:pt x="246" y="83"/>
                </a:cubicBezTo>
                <a:cubicBezTo>
                  <a:pt x="248" y="84"/>
                  <a:pt x="248" y="84"/>
                  <a:pt x="248" y="84"/>
                </a:cubicBezTo>
                <a:cubicBezTo>
                  <a:pt x="248" y="84"/>
                  <a:pt x="248" y="84"/>
                  <a:pt x="248" y="84"/>
                </a:cubicBezTo>
                <a:cubicBezTo>
                  <a:pt x="249" y="83"/>
                  <a:pt x="249" y="83"/>
                  <a:pt x="249" y="83"/>
                </a:cubicBezTo>
                <a:cubicBezTo>
                  <a:pt x="249" y="83"/>
                  <a:pt x="249" y="83"/>
                  <a:pt x="249" y="83"/>
                </a:cubicBezTo>
                <a:cubicBezTo>
                  <a:pt x="249" y="82"/>
                  <a:pt x="249" y="82"/>
                  <a:pt x="249" y="82"/>
                </a:cubicBezTo>
                <a:cubicBezTo>
                  <a:pt x="249" y="82"/>
                  <a:pt x="249" y="82"/>
                  <a:pt x="249" y="82"/>
                </a:cubicBezTo>
                <a:cubicBezTo>
                  <a:pt x="248" y="82"/>
                  <a:pt x="248" y="82"/>
                  <a:pt x="248" y="82"/>
                </a:cubicBezTo>
                <a:cubicBezTo>
                  <a:pt x="248" y="82"/>
                  <a:pt x="248" y="82"/>
                  <a:pt x="248" y="82"/>
                </a:cubicBezTo>
                <a:close/>
                <a:moveTo>
                  <a:pt x="246" y="80"/>
                </a:moveTo>
                <a:cubicBezTo>
                  <a:pt x="245" y="80"/>
                  <a:pt x="245" y="80"/>
                  <a:pt x="245" y="80"/>
                </a:cubicBezTo>
                <a:cubicBezTo>
                  <a:pt x="245" y="81"/>
                  <a:pt x="245" y="81"/>
                  <a:pt x="245" y="81"/>
                </a:cubicBezTo>
                <a:cubicBezTo>
                  <a:pt x="246" y="81"/>
                  <a:pt x="246" y="81"/>
                  <a:pt x="246" y="81"/>
                </a:cubicBezTo>
                <a:cubicBezTo>
                  <a:pt x="246" y="80"/>
                  <a:pt x="246" y="80"/>
                  <a:pt x="246" y="80"/>
                </a:cubicBezTo>
                <a:close/>
                <a:moveTo>
                  <a:pt x="248" y="78"/>
                </a:moveTo>
                <a:cubicBezTo>
                  <a:pt x="248" y="79"/>
                  <a:pt x="248" y="79"/>
                  <a:pt x="248" y="79"/>
                </a:cubicBezTo>
                <a:cubicBezTo>
                  <a:pt x="249" y="79"/>
                  <a:pt x="249" y="79"/>
                  <a:pt x="249" y="79"/>
                </a:cubicBezTo>
                <a:cubicBezTo>
                  <a:pt x="248" y="78"/>
                  <a:pt x="248" y="78"/>
                  <a:pt x="248" y="78"/>
                </a:cubicBezTo>
                <a:cubicBezTo>
                  <a:pt x="248" y="78"/>
                  <a:pt x="248" y="78"/>
                  <a:pt x="248" y="78"/>
                </a:cubicBezTo>
                <a:close/>
                <a:moveTo>
                  <a:pt x="247" y="79"/>
                </a:moveTo>
                <a:cubicBezTo>
                  <a:pt x="247" y="79"/>
                  <a:pt x="247" y="79"/>
                  <a:pt x="247" y="79"/>
                </a:cubicBezTo>
                <a:cubicBezTo>
                  <a:pt x="246" y="80"/>
                  <a:pt x="246" y="80"/>
                  <a:pt x="246" y="80"/>
                </a:cubicBezTo>
                <a:cubicBezTo>
                  <a:pt x="246" y="80"/>
                  <a:pt x="246" y="80"/>
                  <a:pt x="246" y="80"/>
                </a:cubicBezTo>
                <a:cubicBezTo>
                  <a:pt x="246" y="80"/>
                  <a:pt x="246" y="80"/>
                  <a:pt x="246" y="80"/>
                </a:cubicBezTo>
                <a:cubicBezTo>
                  <a:pt x="246" y="80"/>
                  <a:pt x="246" y="80"/>
                  <a:pt x="246" y="80"/>
                </a:cubicBezTo>
                <a:cubicBezTo>
                  <a:pt x="247" y="80"/>
                  <a:pt x="247" y="80"/>
                  <a:pt x="247" y="80"/>
                </a:cubicBezTo>
                <a:cubicBezTo>
                  <a:pt x="246" y="81"/>
                  <a:pt x="246" y="81"/>
                  <a:pt x="246" y="81"/>
                </a:cubicBezTo>
                <a:cubicBezTo>
                  <a:pt x="246" y="82"/>
                  <a:pt x="246" y="82"/>
                  <a:pt x="246" y="82"/>
                </a:cubicBezTo>
                <a:cubicBezTo>
                  <a:pt x="247" y="82"/>
                  <a:pt x="247" y="82"/>
                  <a:pt x="247" y="82"/>
                </a:cubicBezTo>
                <a:cubicBezTo>
                  <a:pt x="248" y="81"/>
                  <a:pt x="248" y="81"/>
                  <a:pt x="248" y="81"/>
                </a:cubicBezTo>
                <a:cubicBezTo>
                  <a:pt x="248" y="81"/>
                  <a:pt x="248" y="81"/>
                  <a:pt x="248" y="81"/>
                </a:cubicBezTo>
                <a:cubicBezTo>
                  <a:pt x="249" y="80"/>
                  <a:pt x="249" y="80"/>
                  <a:pt x="249" y="80"/>
                </a:cubicBezTo>
                <a:cubicBezTo>
                  <a:pt x="249" y="79"/>
                  <a:pt x="249" y="79"/>
                  <a:pt x="249" y="79"/>
                </a:cubicBezTo>
                <a:cubicBezTo>
                  <a:pt x="248" y="79"/>
                  <a:pt x="248" y="79"/>
                  <a:pt x="248" y="79"/>
                </a:cubicBezTo>
                <a:cubicBezTo>
                  <a:pt x="247" y="79"/>
                  <a:pt x="247" y="79"/>
                  <a:pt x="247" y="79"/>
                </a:cubicBezTo>
                <a:close/>
                <a:moveTo>
                  <a:pt x="231" y="89"/>
                </a:moveTo>
                <a:cubicBezTo>
                  <a:pt x="232" y="88"/>
                  <a:pt x="232" y="88"/>
                  <a:pt x="232" y="88"/>
                </a:cubicBezTo>
                <a:cubicBezTo>
                  <a:pt x="231" y="88"/>
                  <a:pt x="231" y="88"/>
                  <a:pt x="231" y="88"/>
                </a:cubicBezTo>
                <a:cubicBezTo>
                  <a:pt x="231" y="89"/>
                  <a:pt x="231" y="89"/>
                  <a:pt x="231" y="89"/>
                </a:cubicBezTo>
                <a:close/>
                <a:moveTo>
                  <a:pt x="230" y="89"/>
                </a:moveTo>
                <a:cubicBezTo>
                  <a:pt x="231" y="90"/>
                  <a:pt x="231" y="90"/>
                  <a:pt x="231" y="90"/>
                </a:cubicBezTo>
                <a:cubicBezTo>
                  <a:pt x="231" y="89"/>
                  <a:pt x="231" y="89"/>
                  <a:pt x="231" y="89"/>
                </a:cubicBezTo>
                <a:cubicBezTo>
                  <a:pt x="230" y="89"/>
                  <a:pt x="230" y="89"/>
                  <a:pt x="230" y="89"/>
                </a:cubicBezTo>
                <a:close/>
                <a:moveTo>
                  <a:pt x="224" y="92"/>
                </a:moveTo>
                <a:cubicBezTo>
                  <a:pt x="224" y="92"/>
                  <a:pt x="224" y="92"/>
                  <a:pt x="224" y="92"/>
                </a:cubicBezTo>
                <a:cubicBezTo>
                  <a:pt x="224" y="92"/>
                  <a:pt x="224" y="92"/>
                  <a:pt x="224" y="92"/>
                </a:cubicBezTo>
                <a:cubicBezTo>
                  <a:pt x="224" y="92"/>
                  <a:pt x="224" y="92"/>
                  <a:pt x="224" y="92"/>
                </a:cubicBezTo>
                <a:close/>
                <a:moveTo>
                  <a:pt x="226" y="91"/>
                </a:moveTo>
                <a:cubicBezTo>
                  <a:pt x="224" y="91"/>
                  <a:pt x="224" y="91"/>
                  <a:pt x="224" y="91"/>
                </a:cubicBezTo>
                <a:cubicBezTo>
                  <a:pt x="225" y="92"/>
                  <a:pt x="225" y="92"/>
                  <a:pt x="225" y="92"/>
                </a:cubicBezTo>
                <a:cubicBezTo>
                  <a:pt x="226" y="91"/>
                  <a:pt x="226" y="91"/>
                  <a:pt x="226" y="91"/>
                </a:cubicBezTo>
                <a:cubicBezTo>
                  <a:pt x="226" y="91"/>
                  <a:pt x="226" y="91"/>
                  <a:pt x="226" y="91"/>
                </a:cubicBezTo>
                <a:close/>
                <a:moveTo>
                  <a:pt x="226" y="96"/>
                </a:moveTo>
                <a:cubicBezTo>
                  <a:pt x="225" y="96"/>
                  <a:pt x="225" y="96"/>
                  <a:pt x="225" y="96"/>
                </a:cubicBezTo>
                <a:cubicBezTo>
                  <a:pt x="224" y="96"/>
                  <a:pt x="224" y="96"/>
                  <a:pt x="224" y="96"/>
                </a:cubicBezTo>
                <a:cubicBezTo>
                  <a:pt x="224" y="97"/>
                  <a:pt x="224" y="97"/>
                  <a:pt x="224" y="97"/>
                </a:cubicBezTo>
                <a:cubicBezTo>
                  <a:pt x="225" y="97"/>
                  <a:pt x="225" y="97"/>
                  <a:pt x="225" y="97"/>
                </a:cubicBezTo>
                <a:cubicBezTo>
                  <a:pt x="226" y="96"/>
                  <a:pt x="226" y="96"/>
                  <a:pt x="226" y="96"/>
                </a:cubicBezTo>
                <a:cubicBezTo>
                  <a:pt x="226" y="96"/>
                  <a:pt x="226" y="96"/>
                  <a:pt x="226" y="96"/>
                </a:cubicBezTo>
                <a:close/>
                <a:moveTo>
                  <a:pt x="228" y="90"/>
                </a:moveTo>
                <a:cubicBezTo>
                  <a:pt x="226" y="92"/>
                  <a:pt x="226" y="92"/>
                  <a:pt x="226" y="92"/>
                </a:cubicBezTo>
                <a:cubicBezTo>
                  <a:pt x="226" y="93"/>
                  <a:pt x="226" y="93"/>
                  <a:pt x="226" y="93"/>
                </a:cubicBezTo>
                <a:cubicBezTo>
                  <a:pt x="226" y="93"/>
                  <a:pt x="226" y="93"/>
                  <a:pt x="226" y="93"/>
                </a:cubicBezTo>
                <a:cubicBezTo>
                  <a:pt x="226" y="94"/>
                  <a:pt x="226" y="94"/>
                  <a:pt x="226" y="94"/>
                </a:cubicBezTo>
                <a:cubicBezTo>
                  <a:pt x="226" y="95"/>
                  <a:pt x="226" y="95"/>
                  <a:pt x="226" y="95"/>
                </a:cubicBezTo>
                <a:cubicBezTo>
                  <a:pt x="227" y="95"/>
                  <a:pt x="227" y="95"/>
                  <a:pt x="227" y="95"/>
                </a:cubicBezTo>
                <a:cubicBezTo>
                  <a:pt x="227" y="95"/>
                  <a:pt x="227" y="95"/>
                  <a:pt x="227" y="95"/>
                </a:cubicBezTo>
                <a:cubicBezTo>
                  <a:pt x="229" y="93"/>
                  <a:pt x="229" y="93"/>
                  <a:pt x="229" y="93"/>
                </a:cubicBezTo>
                <a:cubicBezTo>
                  <a:pt x="229" y="92"/>
                  <a:pt x="229" y="92"/>
                  <a:pt x="229" y="92"/>
                </a:cubicBezTo>
                <a:cubicBezTo>
                  <a:pt x="229" y="91"/>
                  <a:pt x="229" y="91"/>
                  <a:pt x="229" y="91"/>
                </a:cubicBezTo>
                <a:cubicBezTo>
                  <a:pt x="229" y="90"/>
                  <a:pt x="229" y="90"/>
                  <a:pt x="229" y="90"/>
                </a:cubicBezTo>
                <a:cubicBezTo>
                  <a:pt x="229" y="90"/>
                  <a:pt x="229" y="90"/>
                  <a:pt x="229" y="90"/>
                </a:cubicBezTo>
                <a:cubicBezTo>
                  <a:pt x="229" y="90"/>
                  <a:pt x="229" y="90"/>
                  <a:pt x="229" y="90"/>
                </a:cubicBezTo>
                <a:cubicBezTo>
                  <a:pt x="228" y="90"/>
                  <a:pt x="228" y="90"/>
                  <a:pt x="228" y="90"/>
                </a:cubicBezTo>
                <a:cubicBezTo>
                  <a:pt x="228" y="90"/>
                  <a:pt x="228" y="90"/>
                  <a:pt x="228" y="90"/>
                </a:cubicBezTo>
                <a:close/>
                <a:moveTo>
                  <a:pt x="219" y="84"/>
                </a:moveTo>
                <a:cubicBezTo>
                  <a:pt x="219" y="84"/>
                  <a:pt x="219" y="84"/>
                  <a:pt x="219" y="84"/>
                </a:cubicBezTo>
                <a:cubicBezTo>
                  <a:pt x="219" y="83"/>
                  <a:pt x="219" y="83"/>
                  <a:pt x="219" y="83"/>
                </a:cubicBezTo>
                <a:cubicBezTo>
                  <a:pt x="219" y="84"/>
                  <a:pt x="219" y="84"/>
                  <a:pt x="219" y="84"/>
                </a:cubicBezTo>
                <a:close/>
                <a:moveTo>
                  <a:pt x="216" y="86"/>
                </a:moveTo>
                <a:cubicBezTo>
                  <a:pt x="215" y="87"/>
                  <a:pt x="215" y="87"/>
                  <a:pt x="215" y="87"/>
                </a:cubicBezTo>
                <a:cubicBezTo>
                  <a:pt x="216" y="87"/>
                  <a:pt x="216" y="87"/>
                  <a:pt x="216" y="87"/>
                </a:cubicBezTo>
                <a:cubicBezTo>
                  <a:pt x="216" y="86"/>
                  <a:pt x="216" y="86"/>
                  <a:pt x="216" y="86"/>
                </a:cubicBezTo>
                <a:close/>
                <a:moveTo>
                  <a:pt x="218" y="96"/>
                </a:moveTo>
                <a:cubicBezTo>
                  <a:pt x="217" y="96"/>
                  <a:pt x="217" y="96"/>
                  <a:pt x="217" y="96"/>
                </a:cubicBezTo>
                <a:cubicBezTo>
                  <a:pt x="217" y="96"/>
                  <a:pt x="217" y="96"/>
                  <a:pt x="217" y="96"/>
                </a:cubicBezTo>
                <a:cubicBezTo>
                  <a:pt x="218" y="96"/>
                  <a:pt x="218" y="96"/>
                  <a:pt x="218" y="96"/>
                </a:cubicBezTo>
                <a:close/>
                <a:moveTo>
                  <a:pt x="216" y="94"/>
                </a:moveTo>
                <a:cubicBezTo>
                  <a:pt x="217" y="93"/>
                  <a:pt x="217" y="93"/>
                  <a:pt x="217" y="93"/>
                </a:cubicBezTo>
                <a:cubicBezTo>
                  <a:pt x="217" y="94"/>
                  <a:pt x="217" y="94"/>
                  <a:pt x="217" y="94"/>
                </a:cubicBezTo>
                <a:cubicBezTo>
                  <a:pt x="218" y="95"/>
                  <a:pt x="218" y="95"/>
                  <a:pt x="218" y="95"/>
                </a:cubicBezTo>
                <a:cubicBezTo>
                  <a:pt x="217" y="95"/>
                  <a:pt x="217" y="95"/>
                  <a:pt x="217" y="95"/>
                </a:cubicBezTo>
                <a:cubicBezTo>
                  <a:pt x="216" y="95"/>
                  <a:pt x="216" y="95"/>
                  <a:pt x="216" y="95"/>
                </a:cubicBezTo>
                <a:cubicBezTo>
                  <a:pt x="216" y="94"/>
                  <a:pt x="216" y="94"/>
                  <a:pt x="216" y="94"/>
                </a:cubicBezTo>
                <a:close/>
                <a:moveTo>
                  <a:pt x="209" y="90"/>
                </a:moveTo>
                <a:cubicBezTo>
                  <a:pt x="210" y="89"/>
                  <a:pt x="210" y="89"/>
                  <a:pt x="210" y="89"/>
                </a:cubicBezTo>
                <a:cubicBezTo>
                  <a:pt x="210" y="90"/>
                  <a:pt x="210" y="90"/>
                  <a:pt x="210" y="90"/>
                </a:cubicBezTo>
                <a:cubicBezTo>
                  <a:pt x="210" y="90"/>
                  <a:pt x="210" y="90"/>
                  <a:pt x="210" y="90"/>
                </a:cubicBezTo>
                <a:cubicBezTo>
                  <a:pt x="209" y="90"/>
                  <a:pt x="209" y="90"/>
                  <a:pt x="209" y="90"/>
                </a:cubicBezTo>
                <a:cubicBezTo>
                  <a:pt x="209" y="90"/>
                  <a:pt x="209" y="90"/>
                  <a:pt x="209" y="90"/>
                </a:cubicBezTo>
                <a:close/>
                <a:moveTo>
                  <a:pt x="211" y="97"/>
                </a:moveTo>
                <a:cubicBezTo>
                  <a:pt x="212" y="97"/>
                  <a:pt x="212" y="97"/>
                  <a:pt x="212" y="97"/>
                </a:cubicBezTo>
                <a:cubicBezTo>
                  <a:pt x="212" y="97"/>
                  <a:pt x="212" y="97"/>
                  <a:pt x="212" y="97"/>
                </a:cubicBezTo>
                <a:cubicBezTo>
                  <a:pt x="211" y="97"/>
                  <a:pt x="211" y="97"/>
                  <a:pt x="211" y="97"/>
                </a:cubicBezTo>
                <a:cubicBezTo>
                  <a:pt x="211" y="97"/>
                  <a:pt x="211" y="97"/>
                  <a:pt x="211" y="97"/>
                </a:cubicBezTo>
                <a:close/>
                <a:moveTo>
                  <a:pt x="201" y="93"/>
                </a:moveTo>
                <a:cubicBezTo>
                  <a:pt x="202" y="92"/>
                  <a:pt x="202" y="92"/>
                  <a:pt x="202" y="92"/>
                </a:cubicBezTo>
                <a:cubicBezTo>
                  <a:pt x="201" y="91"/>
                  <a:pt x="201" y="91"/>
                  <a:pt x="201" y="91"/>
                </a:cubicBezTo>
                <a:cubicBezTo>
                  <a:pt x="201" y="92"/>
                  <a:pt x="201" y="92"/>
                  <a:pt x="201" y="92"/>
                </a:cubicBezTo>
                <a:cubicBezTo>
                  <a:pt x="201" y="93"/>
                  <a:pt x="201" y="93"/>
                  <a:pt x="201" y="93"/>
                </a:cubicBezTo>
                <a:close/>
                <a:moveTo>
                  <a:pt x="204" y="96"/>
                </a:moveTo>
                <a:cubicBezTo>
                  <a:pt x="206" y="96"/>
                  <a:pt x="206" y="96"/>
                  <a:pt x="206" y="96"/>
                </a:cubicBezTo>
                <a:cubicBezTo>
                  <a:pt x="207" y="96"/>
                  <a:pt x="207" y="96"/>
                  <a:pt x="207" y="96"/>
                </a:cubicBezTo>
                <a:cubicBezTo>
                  <a:pt x="207" y="97"/>
                  <a:pt x="207" y="97"/>
                  <a:pt x="207" y="97"/>
                </a:cubicBezTo>
                <a:cubicBezTo>
                  <a:pt x="206" y="97"/>
                  <a:pt x="206" y="97"/>
                  <a:pt x="206" y="97"/>
                </a:cubicBezTo>
                <a:cubicBezTo>
                  <a:pt x="204" y="97"/>
                  <a:pt x="204" y="97"/>
                  <a:pt x="204" y="97"/>
                </a:cubicBezTo>
                <a:cubicBezTo>
                  <a:pt x="204" y="96"/>
                  <a:pt x="204" y="96"/>
                  <a:pt x="204" y="96"/>
                </a:cubicBezTo>
                <a:close/>
                <a:moveTo>
                  <a:pt x="202" y="97"/>
                </a:moveTo>
                <a:cubicBezTo>
                  <a:pt x="203" y="96"/>
                  <a:pt x="203" y="96"/>
                  <a:pt x="203" y="96"/>
                </a:cubicBezTo>
                <a:cubicBezTo>
                  <a:pt x="203" y="97"/>
                  <a:pt x="203" y="97"/>
                  <a:pt x="203" y="97"/>
                </a:cubicBezTo>
                <a:cubicBezTo>
                  <a:pt x="202" y="97"/>
                  <a:pt x="202" y="97"/>
                  <a:pt x="202" y="97"/>
                </a:cubicBezTo>
                <a:close/>
                <a:moveTo>
                  <a:pt x="200" y="96"/>
                </a:moveTo>
                <a:cubicBezTo>
                  <a:pt x="200" y="96"/>
                  <a:pt x="200" y="96"/>
                  <a:pt x="200" y="96"/>
                </a:cubicBezTo>
                <a:cubicBezTo>
                  <a:pt x="201" y="96"/>
                  <a:pt x="201" y="96"/>
                  <a:pt x="201" y="96"/>
                </a:cubicBezTo>
                <a:cubicBezTo>
                  <a:pt x="200" y="97"/>
                  <a:pt x="200" y="97"/>
                  <a:pt x="200" y="97"/>
                </a:cubicBezTo>
                <a:cubicBezTo>
                  <a:pt x="200" y="96"/>
                  <a:pt x="200" y="96"/>
                  <a:pt x="200" y="96"/>
                </a:cubicBezTo>
                <a:close/>
                <a:moveTo>
                  <a:pt x="176" y="109"/>
                </a:moveTo>
                <a:cubicBezTo>
                  <a:pt x="176" y="111"/>
                  <a:pt x="176" y="111"/>
                  <a:pt x="176" y="111"/>
                </a:cubicBezTo>
                <a:cubicBezTo>
                  <a:pt x="176" y="111"/>
                  <a:pt x="176" y="111"/>
                  <a:pt x="176" y="111"/>
                </a:cubicBezTo>
                <a:cubicBezTo>
                  <a:pt x="178" y="111"/>
                  <a:pt x="178" y="111"/>
                  <a:pt x="178" y="111"/>
                </a:cubicBezTo>
                <a:cubicBezTo>
                  <a:pt x="180" y="110"/>
                  <a:pt x="180" y="110"/>
                  <a:pt x="180" y="110"/>
                </a:cubicBezTo>
                <a:cubicBezTo>
                  <a:pt x="181" y="110"/>
                  <a:pt x="181" y="110"/>
                  <a:pt x="181" y="110"/>
                </a:cubicBezTo>
                <a:cubicBezTo>
                  <a:pt x="182" y="110"/>
                  <a:pt x="182" y="110"/>
                  <a:pt x="182" y="110"/>
                </a:cubicBezTo>
                <a:cubicBezTo>
                  <a:pt x="184" y="109"/>
                  <a:pt x="184" y="109"/>
                  <a:pt x="184" y="109"/>
                </a:cubicBezTo>
                <a:cubicBezTo>
                  <a:pt x="184" y="108"/>
                  <a:pt x="184" y="108"/>
                  <a:pt x="184" y="108"/>
                </a:cubicBezTo>
                <a:cubicBezTo>
                  <a:pt x="187" y="106"/>
                  <a:pt x="187" y="106"/>
                  <a:pt x="187" y="106"/>
                </a:cubicBezTo>
                <a:cubicBezTo>
                  <a:pt x="187" y="105"/>
                  <a:pt x="187" y="105"/>
                  <a:pt x="187" y="105"/>
                </a:cubicBezTo>
                <a:cubicBezTo>
                  <a:pt x="188" y="105"/>
                  <a:pt x="188" y="105"/>
                  <a:pt x="188" y="105"/>
                </a:cubicBezTo>
                <a:cubicBezTo>
                  <a:pt x="186" y="104"/>
                  <a:pt x="186" y="104"/>
                  <a:pt x="186" y="104"/>
                </a:cubicBezTo>
                <a:cubicBezTo>
                  <a:pt x="185" y="102"/>
                  <a:pt x="185" y="102"/>
                  <a:pt x="185" y="102"/>
                </a:cubicBezTo>
                <a:cubicBezTo>
                  <a:pt x="185" y="102"/>
                  <a:pt x="185" y="102"/>
                  <a:pt x="185" y="102"/>
                </a:cubicBezTo>
                <a:cubicBezTo>
                  <a:pt x="183" y="103"/>
                  <a:pt x="183" y="103"/>
                  <a:pt x="183" y="103"/>
                </a:cubicBezTo>
                <a:cubicBezTo>
                  <a:pt x="183" y="104"/>
                  <a:pt x="183" y="104"/>
                  <a:pt x="183" y="104"/>
                </a:cubicBezTo>
                <a:cubicBezTo>
                  <a:pt x="182" y="104"/>
                  <a:pt x="182" y="104"/>
                  <a:pt x="182" y="104"/>
                </a:cubicBezTo>
                <a:cubicBezTo>
                  <a:pt x="181" y="105"/>
                  <a:pt x="181" y="105"/>
                  <a:pt x="181" y="105"/>
                </a:cubicBezTo>
                <a:cubicBezTo>
                  <a:pt x="180" y="104"/>
                  <a:pt x="180" y="104"/>
                  <a:pt x="180" y="104"/>
                </a:cubicBezTo>
                <a:cubicBezTo>
                  <a:pt x="180" y="104"/>
                  <a:pt x="180" y="104"/>
                  <a:pt x="180" y="104"/>
                </a:cubicBezTo>
                <a:cubicBezTo>
                  <a:pt x="178" y="105"/>
                  <a:pt x="178" y="105"/>
                  <a:pt x="178" y="105"/>
                </a:cubicBezTo>
                <a:cubicBezTo>
                  <a:pt x="178" y="106"/>
                  <a:pt x="178" y="106"/>
                  <a:pt x="178" y="106"/>
                </a:cubicBezTo>
                <a:cubicBezTo>
                  <a:pt x="177" y="108"/>
                  <a:pt x="177" y="108"/>
                  <a:pt x="177" y="108"/>
                </a:cubicBezTo>
                <a:cubicBezTo>
                  <a:pt x="177" y="109"/>
                  <a:pt x="177" y="109"/>
                  <a:pt x="177" y="109"/>
                </a:cubicBezTo>
                <a:cubicBezTo>
                  <a:pt x="177" y="109"/>
                  <a:pt x="177" y="109"/>
                  <a:pt x="177" y="109"/>
                </a:cubicBezTo>
                <a:cubicBezTo>
                  <a:pt x="177" y="110"/>
                  <a:pt x="177" y="110"/>
                  <a:pt x="177" y="110"/>
                </a:cubicBezTo>
                <a:cubicBezTo>
                  <a:pt x="177" y="110"/>
                  <a:pt x="177" y="110"/>
                  <a:pt x="177" y="110"/>
                </a:cubicBezTo>
                <a:cubicBezTo>
                  <a:pt x="176" y="109"/>
                  <a:pt x="176" y="109"/>
                  <a:pt x="176" y="109"/>
                </a:cubicBezTo>
                <a:close/>
                <a:moveTo>
                  <a:pt x="175" y="111"/>
                </a:moveTo>
                <a:cubicBezTo>
                  <a:pt x="175" y="110"/>
                  <a:pt x="175" y="110"/>
                  <a:pt x="175" y="110"/>
                </a:cubicBezTo>
                <a:cubicBezTo>
                  <a:pt x="175" y="110"/>
                  <a:pt x="175" y="110"/>
                  <a:pt x="175" y="110"/>
                </a:cubicBezTo>
                <a:cubicBezTo>
                  <a:pt x="174" y="111"/>
                  <a:pt x="174" y="111"/>
                  <a:pt x="174" y="111"/>
                </a:cubicBezTo>
                <a:cubicBezTo>
                  <a:pt x="175" y="111"/>
                  <a:pt x="175" y="111"/>
                  <a:pt x="175" y="111"/>
                </a:cubicBezTo>
                <a:close/>
                <a:moveTo>
                  <a:pt x="175" y="112"/>
                </a:moveTo>
                <a:cubicBezTo>
                  <a:pt x="174" y="112"/>
                  <a:pt x="174" y="112"/>
                  <a:pt x="174" y="112"/>
                </a:cubicBezTo>
                <a:cubicBezTo>
                  <a:pt x="174" y="113"/>
                  <a:pt x="174" y="113"/>
                  <a:pt x="174" y="113"/>
                </a:cubicBezTo>
                <a:cubicBezTo>
                  <a:pt x="172" y="113"/>
                  <a:pt x="172" y="113"/>
                  <a:pt x="172" y="113"/>
                </a:cubicBezTo>
                <a:cubicBezTo>
                  <a:pt x="171" y="114"/>
                  <a:pt x="171" y="114"/>
                  <a:pt x="171" y="114"/>
                </a:cubicBezTo>
                <a:cubicBezTo>
                  <a:pt x="172" y="115"/>
                  <a:pt x="172" y="115"/>
                  <a:pt x="172" y="115"/>
                </a:cubicBezTo>
                <a:cubicBezTo>
                  <a:pt x="175" y="113"/>
                  <a:pt x="175" y="113"/>
                  <a:pt x="175" y="113"/>
                </a:cubicBezTo>
                <a:cubicBezTo>
                  <a:pt x="175" y="112"/>
                  <a:pt x="175" y="112"/>
                  <a:pt x="175" y="112"/>
                </a:cubicBezTo>
                <a:cubicBezTo>
                  <a:pt x="175" y="112"/>
                  <a:pt x="175" y="112"/>
                  <a:pt x="175" y="112"/>
                </a:cubicBezTo>
                <a:close/>
                <a:moveTo>
                  <a:pt x="166" y="111"/>
                </a:moveTo>
                <a:cubicBezTo>
                  <a:pt x="166" y="112"/>
                  <a:pt x="166" y="112"/>
                  <a:pt x="166" y="112"/>
                </a:cubicBezTo>
                <a:cubicBezTo>
                  <a:pt x="167" y="113"/>
                  <a:pt x="167" y="113"/>
                  <a:pt x="167" y="113"/>
                </a:cubicBezTo>
                <a:cubicBezTo>
                  <a:pt x="166" y="113"/>
                  <a:pt x="166" y="113"/>
                  <a:pt x="166" y="113"/>
                </a:cubicBezTo>
                <a:cubicBezTo>
                  <a:pt x="165" y="113"/>
                  <a:pt x="165" y="113"/>
                  <a:pt x="165" y="113"/>
                </a:cubicBezTo>
                <a:cubicBezTo>
                  <a:pt x="165" y="112"/>
                  <a:pt x="165" y="112"/>
                  <a:pt x="165" y="112"/>
                </a:cubicBezTo>
                <a:cubicBezTo>
                  <a:pt x="166" y="111"/>
                  <a:pt x="166" y="111"/>
                  <a:pt x="166" y="111"/>
                </a:cubicBezTo>
                <a:close/>
                <a:moveTo>
                  <a:pt x="148" y="105"/>
                </a:moveTo>
                <a:cubicBezTo>
                  <a:pt x="150" y="103"/>
                  <a:pt x="150" y="103"/>
                  <a:pt x="150" y="103"/>
                </a:cubicBezTo>
                <a:cubicBezTo>
                  <a:pt x="152" y="105"/>
                  <a:pt x="152" y="105"/>
                  <a:pt x="152" y="105"/>
                </a:cubicBezTo>
                <a:cubicBezTo>
                  <a:pt x="153" y="105"/>
                  <a:pt x="153" y="105"/>
                  <a:pt x="153" y="105"/>
                </a:cubicBezTo>
                <a:cubicBezTo>
                  <a:pt x="154" y="104"/>
                  <a:pt x="154" y="104"/>
                  <a:pt x="154" y="104"/>
                </a:cubicBezTo>
                <a:cubicBezTo>
                  <a:pt x="156" y="105"/>
                  <a:pt x="156" y="105"/>
                  <a:pt x="156" y="105"/>
                </a:cubicBezTo>
                <a:cubicBezTo>
                  <a:pt x="156" y="106"/>
                  <a:pt x="156" y="106"/>
                  <a:pt x="156" y="106"/>
                </a:cubicBezTo>
                <a:cubicBezTo>
                  <a:pt x="157" y="106"/>
                  <a:pt x="157" y="106"/>
                  <a:pt x="157" y="106"/>
                </a:cubicBezTo>
                <a:cubicBezTo>
                  <a:pt x="158" y="108"/>
                  <a:pt x="158" y="108"/>
                  <a:pt x="158" y="108"/>
                </a:cubicBezTo>
                <a:cubicBezTo>
                  <a:pt x="159" y="108"/>
                  <a:pt x="159" y="108"/>
                  <a:pt x="159" y="108"/>
                </a:cubicBezTo>
                <a:cubicBezTo>
                  <a:pt x="159" y="109"/>
                  <a:pt x="159" y="109"/>
                  <a:pt x="159" y="109"/>
                </a:cubicBezTo>
                <a:cubicBezTo>
                  <a:pt x="158" y="110"/>
                  <a:pt x="158" y="110"/>
                  <a:pt x="158" y="110"/>
                </a:cubicBezTo>
                <a:cubicBezTo>
                  <a:pt x="156" y="110"/>
                  <a:pt x="156" y="110"/>
                  <a:pt x="156" y="110"/>
                </a:cubicBezTo>
                <a:cubicBezTo>
                  <a:pt x="155" y="110"/>
                  <a:pt x="155" y="110"/>
                  <a:pt x="155" y="110"/>
                </a:cubicBezTo>
                <a:cubicBezTo>
                  <a:pt x="154" y="108"/>
                  <a:pt x="154" y="108"/>
                  <a:pt x="154" y="108"/>
                </a:cubicBezTo>
                <a:cubicBezTo>
                  <a:pt x="153" y="108"/>
                  <a:pt x="153" y="108"/>
                  <a:pt x="153" y="108"/>
                </a:cubicBezTo>
                <a:cubicBezTo>
                  <a:pt x="152" y="107"/>
                  <a:pt x="152" y="107"/>
                  <a:pt x="152" y="107"/>
                </a:cubicBezTo>
                <a:cubicBezTo>
                  <a:pt x="150" y="107"/>
                  <a:pt x="150" y="107"/>
                  <a:pt x="150" y="107"/>
                </a:cubicBezTo>
                <a:cubicBezTo>
                  <a:pt x="148" y="107"/>
                  <a:pt x="148" y="107"/>
                  <a:pt x="148" y="107"/>
                </a:cubicBezTo>
                <a:cubicBezTo>
                  <a:pt x="147" y="106"/>
                  <a:pt x="147" y="106"/>
                  <a:pt x="147" y="106"/>
                </a:cubicBezTo>
                <a:cubicBezTo>
                  <a:pt x="148" y="105"/>
                  <a:pt x="148" y="105"/>
                  <a:pt x="148" y="105"/>
                </a:cubicBezTo>
                <a:close/>
                <a:moveTo>
                  <a:pt x="128" y="90"/>
                </a:moveTo>
                <a:cubicBezTo>
                  <a:pt x="129" y="90"/>
                  <a:pt x="129" y="90"/>
                  <a:pt x="129" y="90"/>
                </a:cubicBezTo>
                <a:cubicBezTo>
                  <a:pt x="129" y="90"/>
                  <a:pt x="129" y="90"/>
                  <a:pt x="129" y="90"/>
                </a:cubicBezTo>
                <a:cubicBezTo>
                  <a:pt x="129" y="91"/>
                  <a:pt x="129" y="91"/>
                  <a:pt x="129" y="91"/>
                </a:cubicBezTo>
                <a:cubicBezTo>
                  <a:pt x="128" y="91"/>
                  <a:pt x="128" y="91"/>
                  <a:pt x="128" y="91"/>
                </a:cubicBezTo>
                <a:cubicBezTo>
                  <a:pt x="128" y="90"/>
                  <a:pt x="128" y="90"/>
                  <a:pt x="128" y="90"/>
                </a:cubicBezTo>
                <a:close/>
                <a:moveTo>
                  <a:pt x="124" y="88"/>
                </a:moveTo>
                <a:cubicBezTo>
                  <a:pt x="125" y="89"/>
                  <a:pt x="125" y="89"/>
                  <a:pt x="125" y="89"/>
                </a:cubicBezTo>
                <a:cubicBezTo>
                  <a:pt x="126" y="88"/>
                  <a:pt x="126" y="88"/>
                  <a:pt x="126" y="88"/>
                </a:cubicBezTo>
                <a:cubicBezTo>
                  <a:pt x="127" y="89"/>
                  <a:pt x="127" y="89"/>
                  <a:pt x="127" y="89"/>
                </a:cubicBezTo>
                <a:cubicBezTo>
                  <a:pt x="127" y="89"/>
                  <a:pt x="127" y="89"/>
                  <a:pt x="127" y="89"/>
                </a:cubicBezTo>
                <a:cubicBezTo>
                  <a:pt x="127" y="88"/>
                  <a:pt x="127" y="88"/>
                  <a:pt x="127" y="88"/>
                </a:cubicBezTo>
                <a:cubicBezTo>
                  <a:pt x="126" y="88"/>
                  <a:pt x="126" y="88"/>
                  <a:pt x="126" y="88"/>
                </a:cubicBezTo>
                <a:cubicBezTo>
                  <a:pt x="125" y="88"/>
                  <a:pt x="125" y="88"/>
                  <a:pt x="125" y="88"/>
                </a:cubicBezTo>
                <a:cubicBezTo>
                  <a:pt x="124" y="88"/>
                  <a:pt x="124" y="88"/>
                  <a:pt x="124" y="88"/>
                </a:cubicBezTo>
                <a:cubicBezTo>
                  <a:pt x="124" y="88"/>
                  <a:pt x="124" y="88"/>
                  <a:pt x="124" y="88"/>
                </a:cubicBezTo>
                <a:close/>
                <a:moveTo>
                  <a:pt x="192" y="95"/>
                </a:moveTo>
                <a:cubicBezTo>
                  <a:pt x="193" y="94"/>
                  <a:pt x="193" y="94"/>
                  <a:pt x="193" y="94"/>
                </a:cubicBezTo>
                <a:cubicBezTo>
                  <a:pt x="195" y="94"/>
                  <a:pt x="195" y="94"/>
                  <a:pt x="195" y="94"/>
                </a:cubicBezTo>
                <a:cubicBezTo>
                  <a:pt x="196" y="95"/>
                  <a:pt x="196" y="95"/>
                  <a:pt x="196" y="95"/>
                </a:cubicBezTo>
                <a:cubicBezTo>
                  <a:pt x="196" y="94"/>
                  <a:pt x="196" y="94"/>
                  <a:pt x="196" y="94"/>
                </a:cubicBezTo>
                <a:cubicBezTo>
                  <a:pt x="197" y="94"/>
                  <a:pt x="197" y="94"/>
                  <a:pt x="197" y="94"/>
                </a:cubicBezTo>
                <a:cubicBezTo>
                  <a:pt x="198" y="93"/>
                  <a:pt x="198" y="93"/>
                  <a:pt x="198" y="93"/>
                </a:cubicBezTo>
                <a:cubicBezTo>
                  <a:pt x="198" y="93"/>
                  <a:pt x="198" y="93"/>
                  <a:pt x="198" y="93"/>
                </a:cubicBezTo>
                <a:cubicBezTo>
                  <a:pt x="197" y="92"/>
                  <a:pt x="197" y="92"/>
                  <a:pt x="197" y="92"/>
                </a:cubicBezTo>
                <a:cubicBezTo>
                  <a:pt x="196" y="93"/>
                  <a:pt x="196" y="93"/>
                  <a:pt x="196" y="93"/>
                </a:cubicBezTo>
                <a:cubicBezTo>
                  <a:pt x="194" y="93"/>
                  <a:pt x="194" y="93"/>
                  <a:pt x="194" y="93"/>
                </a:cubicBezTo>
                <a:cubicBezTo>
                  <a:pt x="193" y="92"/>
                  <a:pt x="193" y="92"/>
                  <a:pt x="193" y="92"/>
                </a:cubicBezTo>
                <a:cubicBezTo>
                  <a:pt x="192" y="93"/>
                  <a:pt x="192" y="93"/>
                  <a:pt x="192" y="93"/>
                </a:cubicBezTo>
                <a:cubicBezTo>
                  <a:pt x="192" y="94"/>
                  <a:pt x="192" y="94"/>
                  <a:pt x="192" y="94"/>
                </a:cubicBezTo>
                <a:cubicBezTo>
                  <a:pt x="192" y="95"/>
                  <a:pt x="192" y="95"/>
                  <a:pt x="192" y="95"/>
                </a:cubicBezTo>
                <a:close/>
                <a:moveTo>
                  <a:pt x="190" y="97"/>
                </a:moveTo>
                <a:cubicBezTo>
                  <a:pt x="190" y="97"/>
                  <a:pt x="190" y="97"/>
                  <a:pt x="190" y="97"/>
                </a:cubicBezTo>
                <a:cubicBezTo>
                  <a:pt x="190" y="97"/>
                  <a:pt x="190" y="97"/>
                  <a:pt x="190" y="97"/>
                </a:cubicBezTo>
                <a:cubicBezTo>
                  <a:pt x="190" y="97"/>
                  <a:pt x="190" y="97"/>
                  <a:pt x="190" y="97"/>
                </a:cubicBezTo>
                <a:cubicBezTo>
                  <a:pt x="190" y="97"/>
                  <a:pt x="190" y="97"/>
                  <a:pt x="190" y="97"/>
                </a:cubicBezTo>
                <a:close/>
                <a:moveTo>
                  <a:pt x="184" y="96"/>
                </a:moveTo>
                <a:cubicBezTo>
                  <a:pt x="183" y="97"/>
                  <a:pt x="183" y="97"/>
                  <a:pt x="183" y="97"/>
                </a:cubicBezTo>
                <a:cubicBezTo>
                  <a:pt x="183" y="97"/>
                  <a:pt x="183" y="97"/>
                  <a:pt x="183" y="97"/>
                </a:cubicBezTo>
                <a:cubicBezTo>
                  <a:pt x="183" y="98"/>
                  <a:pt x="183" y="98"/>
                  <a:pt x="183" y="98"/>
                </a:cubicBezTo>
                <a:cubicBezTo>
                  <a:pt x="183" y="98"/>
                  <a:pt x="183" y="98"/>
                  <a:pt x="183" y="98"/>
                </a:cubicBezTo>
                <a:cubicBezTo>
                  <a:pt x="184" y="99"/>
                  <a:pt x="184" y="99"/>
                  <a:pt x="184" y="99"/>
                </a:cubicBezTo>
                <a:cubicBezTo>
                  <a:pt x="186" y="98"/>
                  <a:pt x="186" y="98"/>
                  <a:pt x="186" y="98"/>
                </a:cubicBezTo>
                <a:cubicBezTo>
                  <a:pt x="187" y="97"/>
                  <a:pt x="187" y="97"/>
                  <a:pt x="187" y="97"/>
                </a:cubicBezTo>
                <a:cubicBezTo>
                  <a:pt x="186" y="97"/>
                  <a:pt x="186" y="97"/>
                  <a:pt x="186" y="97"/>
                </a:cubicBezTo>
                <a:cubicBezTo>
                  <a:pt x="185" y="97"/>
                  <a:pt x="185" y="97"/>
                  <a:pt x="185" y="97"/>
                </a:cubicBezTo>
                <a:cubicBezTo>
                  <a:pt x="184" y="96"/>
                  <a:pt x="184" y="96"/>
                  <a:pt x="184" y="96"/>
                </a:cubicBezTo>
                <a:close/>
                <a:moveTo>
                  <a:pt x="180" y="99"/>
                </a:moveTo>
                <a:cubicBezTo>
                  <a:pt x="180" y="99"/>
                  <a:pt x="180" y="99"/>
                  <a:pt x="180" y="99"/>
                </a:cubicBezTo>
                <a:cubicBezTo>
                  <a:pt x="181" y="99"/>
                  <a:pt x="181" y="99"/>
                  <a:pt x="181" y="99"/>
                </a:cubicBezTo>
                <a:cubicBezTo>
                  <a:pt x="182" y="98"/>
                  <a:pt x="182" y="98"/>
                  <a:pt x="182" y="98"/>
                </a:cubicBezTo>
                <a:cubicBezTo>
                  <a:pt x="182" y="98"/>
                  <a:pt x="182" y="98"/>
                  <a:pt x="182" y="98"/>
                </a:cubicBezTo>
                <a:cubicBezTo>
                  <a:pt x="181" y="98"/>
                  <a:pt x="181" y="98"/>
                  <a:pt x="181" y="98"/>
                </a:cubicBezTo>
                <a:cubicBezTo>
                  <a:pt x="180" y="98"/>
                  <a:pt x="180" y="98"/>
                  <a:pt x="180" y="98"/>
                </a:cubicBezTo>
                <a:cubicBezTo>
                  <a:pt x="180" y="99"/>
                  <a:pt x="180" y="99"/>
                  <a:pt x="180" y="99"/>
                </a:cubicBezTo>
                <a:close/>
                <a:moveTo>
                  <a:pt x="176" y="99"/>
                </a:moveTo>
                <a:cubicBezTo>
                  <a:pt x="177" y="98"/>
                  <a:pt x="177" y="98"/>
                  <a:pt x="177" y="98"/>
                </a:cubicBezTo>
                <a:cubicBezTo>
                  <a:pt x="177" y="98"/>
                  <a:pt x="177" y="98"/>
                  <a:pt x="177" y="98"/>
                </a:cubicBezTo>
                <a:cubicBezTo>
                  <a:pt x="177" y="97"/>
                  <a:pt x="177" y="97"/>
                  <a:pt x="177" y="97"/>
                </a:cubicBezTo>
                <a:cubicBezTo>
                  <a:pt x="178" y="98"/>
                  <a:pt x="178" y="98"/>
                  <a:pt x="178" y="98"/>
                </a:cubicBezTo>
                <a:cubicBezTo>
                  <a:pt x="179" y="97"/>
                  <a:pt x="179" y="97"/>
                  <a:pt x="179" y="97"/>
                </a:cubicBezTo>
                <a:cubicBezTo>
                  <a:pt x="179" y="97"/>
                  <a:pt x="179" y="97"/>
                  <a:pt x="179" y="97"/>
                </a:cubicBezTo>
                <a:cubicBezTo>
                  <a:pt x="178" y="99"/>
                  <a:pt x="178" y="99"/>
                  <a:pt x="178" y="99"/>
                </a:cubicBezTo>
                <a:cubicBezTo>
                  <a:pt x="178" y="99"/>
                  <a:pt x="178" y="99"/>
                  <a:pt x="178" y="99"/>
                </a:cubicBezTo>
                <a:cubicBezTo>
                  <a:pt x="176" y="100"/>
                  <a:pt x="176" y="100"/>
                  <a:pt x="176" y="100"/>
                </a:cubicBezTo>
                <a:cubicBezTo>
                  <a:pt x="176" y="99"/>
                  <a:pt x="176" y="99"/>
                  <a:pt x="176" y="99"/>
                </a:cubicBezTo>
                <a:close/>
                <a:moveTo>
                  <a:pt x="175" y="99"/>
                </a:moveTo>
                <a:cubicBezTo>
                  <a:pt x="173" y="99"/>
                  <a:pt x="173" y="99"/>
                  <a:pt x="173" y="99"/>
                </a:cubicBezTo>
                <a:cubicBezTo>
                  <a:pt x="173" y="100"/>
                  <a:pt x="173" y="100"/>
                  <a:pt x="173" y="100"/>
                </a:cubicBezTo>
                <a:cubicBezTo>
                  <a:pt x="174" y="99"/>
                  <a:pt x="174" y="99"/>
                  <a:pt x="174" y="99"/>
                </a:cubicBezTo>
                <a:cubicBezTo>
                  <a:pt x="175" y="99"/>
                  <a:pt x="175" y="99"/>
                  <a:pt x="175" y="99"/>
                </a:cubicBezTo>
                <a:close/>
                <a:moveTo>
                  <a:pt x="175" y="97"/>
                </a:moveTo>
                <a:cubicBezTo>
                  <a:pt x="175" y="98"/>
                  <a:pt x="175" y="98"/>
                  <a:pt x="175" y="98"/>
                </a:cubicBezTo>
                <a:cubicBezTo>
                  <a:pt x="175" y="98"/>
                  <a:pt x="175" y="98"/>
                  <a:pt x="175" y="98"/>
                </a:cubicBezTo>
                <a:cubicBezTo>
                  <a:pt x="176" y="97"/>
                  <a:pt x="176" y="97"/>
                  <a:pt x="176" y="97"/>
                </a:cubicBezTo>
                <a:cubicBezTo>
                  <a:pt x="175" y="97"/>
                  <a:pt x="175" y="97"/>
                  <a:pt x="175" y="97"/>
                </a:cubicBezTo>
                <a:close/>
                <a:moveTo>
                  <a:pt x="153" y="99"/>
                </a:moveTo>
                <a:cubicBezTo>
                  <a:pt x="153" y="99"/>
                  <a:pt x="153" y="98"/>
                  <a:pt x="153" y="98"/>
                </a:cubicBezTo>
                <a:cubicBezTo>
                  <a:pt x="155" y="97"/>
                  <a:pt x="155" y="97"/>
                  <a:pt x="155" y="97"/>
                </a:cubicBezTo>
                <a:cubicBezTo>
                  <a:pt x="158" y="97"/>
                  <a:pt x="158" y="97"/>
                  <a:pt x="158" y="97"/>
                </a:cubicBezTo>
                <a:cubicBezTo>
                  <a:pt x="160" y="97"/>
                  <a:pt x="160" y="97"/>
                  <a:pt x="160" y="97"/>
                </a:cubicBezTo>
                <a:cubicBezTo>
                  <a:pt x="161" y="97"/>
                  <a:pt x="161" y="97"/>
                  <a:pt x="161" y="97"/>
                </a:cubicBezTo>
                <a:cubicBezTo>
                  <a:pt x="162" y="98"/>
                  <a:pt x="162" y="98"/>
                  <a:pt x="162" y="98"/>
                </a:cubicBezTo>
                <a:cubicBezTo>
                  <a:pt x="164" y="99"/>
                  <a:pt x="164" y="99"/>
                  <a:pt x="164" y="99"/>
                </a:cubicBezTo>
                <a:cubicBezTo>
                  <a:pt x="165" y="98"/>
                  <a:pt x="165" y="98"/>
                  <a:pt x="165" y="98"/>
                </a:cubicBezTo>
                <a:cubicBezTo>
                  <a:pt x="167" y="98"/>
                  <a:pt x="167" y="98"/>
                  <a:pt x="167" y="98"/>
                </a:cubicBezTo>
                <a:cubicBezTo>
                  <a:pt x="168" y="99"/>
                  <a:pt x="168" y="99"/>
                  <a:pt x="168" y="99"/>
                </a:cubicBezTo>
                <a:cubicBezTo>
                  <a:pt x="169" y="99"/>
                  <a:pt x="169" y="99"/>
                  <a:pt x="169" y="99"/>
                </a:cubicBezTo>
                <a:cubicBezTo>
                  <a:pt x="170" y="98"/>
                  <a:pt x="170" y="98"/>
                  <a:pt x="170" y="98"/>
                </a:cubicBezTo>
                <a:cubicBezTo>
                  <a:pt x="171" y="98"/>
                  <a:pt x="171" y="98"/>
                  <a:pt x="171" y="98"/>
                </a:cubicBezTo>
                <a:cubicBezTo>
                  <a:pt x="172" y="96"/>
                  <a:pt x="172" y="96"/>
                  <a:pt x="172" y="96"/>
                </a:cubicBezTo>
                <a:cubicBezTo>
                  <a:pt x="172" y="96"/>
                  <a:pt x="172" y="96"/>
                  <a:pt x="172" y="96"/>
                </a:cubicBezTo>
                <a:cubicBezTo>
                  <a:pt x="173" y="95"/>
                  <a:pt x="173" y="95"/>
                  <a:pt x="173" y="95"/>
                </a:cubicBezTo>
                <a:cubicBezTo>
                  <a:pt x="174" y="96"/>
                  <a:pt x="174" y="96"/>
                  <a:pt x="174" y="96"/>
                </a:cubicBezTo>
                <a:cubicBezTo>
                  <a:pt x="174" y="97"/>
                  <a:pt x="174" y="97"/>
                  <a:pt x="174" y="97"/>
                </a:cubicBezTo>
                <a:cubicBezTo>
                  <a:pt x="173" y="98"/>
                  <a:pt x="173" y="98"/>
                  <a:pt x="173" y="98"/>
                </a:cubicBezTo>
                <a:cubicBezTo>
                  <a:pt x="173" y="99"/>
                  <a:pt x="173" y="99"/>
                  <a:pt x="173" y="99"/>
                </a:cubicBezTo>
                <a:cubicBezTo>
                  <a:pt x="172" y="100"/>
                  <a:pt x="172" y="100"/>
                  <a:pt x="172" y="100"/>
                </a:cubicBezTo>
                <a:cubicBezTo>
                  <a:pt x="170" y="100"/>
                  <a:pt x="170" y="100"/>
                  <a:pt x="170" y="100"/>
                </a:cubicBezTo>
                <a:cubicBezTo>
                  <a:pt x="170" y="100"/>
                  <a:pt x="170" y="100"/>
                  <a:pt x="170" y="100"/>
                </a:cubicBezTo>
                <a:cubicBezTo>
                  <a:pt x="169" y="100"/>
                  <a:pt x="169" y="100"/>
                  <a:pt x="169" y="100"/>
                </a:cubicBezTo>
                <a:cubicBezTo>
                  <a:pt x="167" y="100"/>
                  <a:pt x="167" y="100"/>
                  <a:pt x="167" y="100"/>
                </a:cubicBezTo>
                <a:cubicBezTo>
                  <a:pt x="165" y="101"/>
                  <a:pt x="165" y="101"/>
                  <a:pt x="165" y="101"/>
                </a:cubicBezTo>
                <a:cubicBezTo>
                  <a:pt x="163" y="101"/>
                  <a:pt x="163" y="101"/>
                  <a:pt x="163" y="101"/>
                </a:cubicBezTo>
                <a:cubicBezTo>
                  <a:pt x="162" y="101"/>
                  <a:pt x="162" y="101"/>
                  <a:pt x="162" y="101"/>
                </a:cubicBezTo>
                <a:cubicBezTo>
                  <a:pt x="162" y="101"/>
                  <a:pt x="162" y="101"/>
                  <a:pt x="162" y="101"/>
                </a:cubicBezTo>
                <a:cubicBezTo>
                  <a:pt x="161" y="101"/>
                  <a:pt x="161" y="101"/>
                  <a:pt x="161" y="101"/>
                </a:cubicBezTo>
                <a:cubicBezTo>
                  <a:pt x="160" y="101"/>
                  <a:pt x="160" y="101"/>
                  <a:pt x="160" y="101"/>
                </a:cubicBezTo>
                <a:cubicBezTo>
                  <a:pt x="159" y="102"/>
                  <a:pt x="159" y="102"/>
                  <a:pt x="159" y="102"/>
                </a:cubicBezTo>
                <a:cubicBezTo>
                  <a:pt x="158" y="101"/>
                  <a:pt x="158" y="101"/>
                  <a:pt x="158" y="101"/>
                </a:cubicBezTo>
                <a:cubicBezTo>
                  <a:pt x="157" y="101"/>
                  <a:pt x="157" y="101"/>
                  <a:pt x="157" y="101"/>
                </a:cubicBezTo>
                <a:cubicBezTo>
                  <a:pt x="156" y="101"/>
                  <a:pt x="156" y="101"/>
                  <a:pt x="156" y="101"/>
                </a:cubicBezTo>
                <a:cubicBezTo>
                  <a:pt x="155" y="101"/>
                  <a:pt x="155" y="101"/>
                  <a:pt x="155" y="101"/>
                </a:cubicBezTo>
                <a:cubicBezTo>
                  <a:pt x="154" y="101"/>
                  <a:pt x="154" y="101"/>
                  <a:pt x="154" y="101"/>
                </a:cubicBezTo>
                <a:cubicBezTo>
                  <a:pt x="153" y="101"/>
                  <a:pt x="153" y="101"/>
                  <a:pt x="153" y="101"/>
                </a:cubicBezTo>
                <a:cubicBezTo>
                  <a:pt x="153" y="99"/>
                  <a:pt x="153" y="99"/>
                  <a:pt x="153" y="99"/>
                </a:cubicBezTo>
                <a:close/>
                <a:moveTo>
                  <a:pt x="152" y="99"/>
                </a:moveTo>
                <a:cubicBezTo>
                  <a:pt x="152" y="101"/>
                  <a:pt x="152" y="101"/>
                  <a:pt x="152" y="101"/>
                </a:cubicBezTo>
                <a:cubicBezTo>
                  <a:pt x="153" y="100"/>
                  <a:pt x="153" y="100"/>
                  <a:pt x="153" y="100"/>
                </a:cubicBezTo>
                <a:cubicBezTo>
                  <a:pt x="153" y="100"/>
                  <a:pt x="153" y="100"/>
                  <a:pt x="153" y="100"/>
                </a:cubicBezTo>
                <a:cubicBezTo>
                  <a:pt x="152" y="99"/>
                  <a:pt x="152" y="99"/>
                  <a:pt x="152" y="99"/>
                </a:cubicBezTo>
                <a:close/>
                <a:moveTo>
                  <a:pt x="152" y="99"/>
                </a:moveTo>
                <a:cubicBezTo>
                  <a:pt x="151" y="98"/>
                  <a:pt x="151" y="98"/>
                  <a:pt x="151" y="98"/>
                </a:cubicBezTo>
                <a:cubicBezTo>
                  <a:pt x="150" y="100"/>
                  <a:pt x="150" y="100"/>
                  <a:pt x="150" y="100"/>
                </a:cubicBezTo>
                <a:cubicBezTo>
                  <a:pt x="151" y="101"/>
                  <a:pt x="151" y="101"/>
                  <a:pt x="151" y="101"/>
                </a:cubicBezTo>
                <a:cubicBezTo>
                  <a:pt x="151" y="99"/>
                  <a:pt x="151" y="99"/>
                  <a:pt x="151" y="99"/>
                </a:cubicBezTo>
                <a:cubicBezTo>
                  <a:pt x="152" y="99"/>
                  <a:pt x="152" y="99"/>
                  <a:pt x="152" y="99"/>
                </a:cubicBezTo>
                <a:close/>
                <a:moveTo>
                  <a:pt x="134" y="100"/>
                </a:moveTo>
                <a:cubicBezTo>
                  <a:pt x="134" y="100"/>
                  <a:pt x="134" y="100"/>
                  <a:pt x="134" y="100"/>
                </a:cubicBezTo>
                <a:cubicBezTo>
                  <a:pt x="134" y="101"/>
                  <a:pt x="134" y="101"/>
                  <a:pt x="134" y="101"/>
                </a:cubicBezTo>
                <a:cubicBezTo>
                  <a:pt x="134" y="101"/>
                  <a:pt x="134" y="101"/>
                  <a:pt x="134" y="101"/>
                </a:cubicBezTo>
                <a:cubicBezTo>
                  <a:pt x="134" y="102"/>
                  <a:pt x="134" y="102"/>
                  <a:pt x="134" y="102"/>
                </a:cubicBezTo>
                <a:cubicBezTo>
                  <a:pt x="135" y="103"/>
                  <a:pt x="135" y="103"/>
                  <a:pt x="135" y="103"/>
                </a:cubicBezTo>
                <a:cubicBezTo>
                  <a:pt x="137" y="102"/>
                  <a:pt x="137" y="102"/>
                  <a:pt x="137" y="102"/>
                </a:cubicBezTo>
                <a:cubicBezTo>
                  <a:pt x="138" y="103"/>
                  <a:pt x="138" y="103"/>
                  <a:pt x="138" y="103"/>
                </a:cubicBezTo>
                <a:cubicBezTo>
                  <a:pt x="139" y="102"/>
                  <a:pt x="139" y="102"/>
                  <a:pt x="139" y="102"/>
                </a:cubicBezTo>
                <a:cubicBezTo>
                  <a:pt x="140" y="101"/>
                  <a:pt x="140" y="101"/>
                  <a:pt x="140" y="101"/>
                </a:cubicBezTo>
                <a:cubicBezTo>
                  <a:pt x="141" y="102"/>
                  <a:pt x="141" y="102"/>
                  <a:pt x="141" y="102"/>
                </a:cubicBezTo>
                <a:cubicBezTo>
                  <a:pt x="142" y="101"/>
                  <a:pt x="142" y="101"/>
                  <a:pt x="142" y="101"/>
                </a:cubicBezTo>
                <a:cubicBezTo>
                  <a:pt x="143" y="101"/>
                  <a:pt x="143" y="101"/>
                  <a:pt x="143" y="101"/>
                </a:cubicBezTo>
                <a:cubicBezTo>
                  <a:pt x="145" y="100"/>
                  <a:pt x="145" y="100"/>
                  <a:pt x="145" y="100"/>
                </a:cubicBezTo>
                <a:cubicBezTo>
                  <a:pt x="145" y="101"/>
                  <a:pt x="145" y="101"/>
                  <a:pt x="145" y="101"/>
                </a:cubicBezTo>
                <a:cubicBezTo>
                  <a:pt x="146" y="101"/>
                  <a:pt x="146" y="101"/>
                  <a:pt x="146" y="101"/>
                </a:cubicBezTo>
                <a:cubicBezTo>
                  <a:pt x="148" y="101"/>
                  <a:pt x="148" y="101"/>
                  <a:pt x="148" y="101"/>
                </a:cubicBezTo>
                <a:cubicBezTo>
                  <a:pt x="147" y="100"/>
                  <a:pt x="147" y="100"/>
                  <a:pt x="147" y="100"/>
                </a:cubicBezTo>
                <a:cubicBezTo>
                  <a:pt x="149" y="100"/>
                  <a:pt x="149" y="100"/>
                  <a:pt x="149" y="100"/>
                </a:cubicBezTo>
                <a:cubicBezTo>
                  <a:pt x="149" y="99"/>
                  <a:pt x="149" y="99"/>
                  <a:pt x="149" y="99"/>
                </a:cubicBezTo>
                <a:cubicBezTo>
                  <a:pt x="149" y="100"/>
                  <a:pt x="149" y="100"/>
                  <a:pt x="149" y="100"/>
                </a:cubicBezTo>
                <a:cubicBezTo>
                  <a:pt x="148" y="99"/>
                  <a:pt x="148" y="99"/>
                  <a:pt x="148" y="99"/>
                </a:cubicBezTo>
                <a:cubicBezTo>
                  <a:pt x="148" y="98"/>
                  <a:pt x="148" y="98"/>
                  <a:pt x="148" y="98"/>
                </a:cubicBezTo>
                <a:cubicBezTo>
                  <a:pt x="147" y="97"/>
                  <a:pt x="147" y="97"/>
                  <a:pt x="147" y="97"/>
                </a:cubicBezTo>
                <a:cubicBezTo>
                  <a:pt x="147" y="98"/>
                  <a:pt x="147" y="98"/>
                  <a:pt x="147" y="98"/>
                </a:cubicBezTo>
                <a:cubicBezTo>
                  <a:pt x="147" y="98"/>
                  <a:pt x="147" y="98"/>
                  <a:pt x="147" y="98"/>
                </a:cubicBezTo>
                <a:cubicBezTo>
                  <a:pt x="147" y="97"/>
                  <a:pt x="147" y="97"/>
                  <a:pt x="147" y="97"/>
                </a:cubicBezTo>
                <a:cubicBezTo>
                  <a:pt x="145" y="97"/>
                  <a:pt x="145" y="97"/>
                  <a:pt x="145" y="97"/>
                </a:cubicBezTo>
                <a:cubicBezTo>
                  <a:pt x="144" y="97"/>
                  <a:pt x="144" y="97"/>
                  <a:pt x="144" y="97"/>
                </a:cubicBezTo>
                <a:cubicBezTo>
                  <a:pt x="143" y="96"/>
                  <a:pt x="143" y="96"/>
                  <a:pt x="143" y="96"/>
                </a:cubicBezTo>
                <a:cubicBezTo>
                  <a:pt x="142" y="96"/>
                  <a:pt x="142" y="96"/>
                  <a:pt x="142" y="96"/>
                </a:cubicBezTo>
                <a:cubicBezTo>
                  <a:pt x="140" y="97"/>
                  <a:pt x="140" y="97"/>
                  <a:pt x="140" y="97"/>
                </a:cubicBezTo>
                <a:cubicBezTo>
                  <a:pt x="140" y="98"/>
                  <a:pt x="140" y="98"/>
                  <a:pt x="140" y="98"/>
                </a:cubicBezTo>
                <a:cubicBezTo>
                  <a:pt x="143" y="98"/>
                  <a:pt x="143" y="98"/>
                  <a:pt x="143" y="98"/>
                </a:cubicBezTo>
                <a:cubicBezTo>
                  <a:pt x="144" y="99"/>
                  <a:pt x="144" y="99"/>
                  <a:pt x="144" y="99"/>
                </a:cubicBezTo>
                <a:cubicBezTo>
                  <a:pt x="142" y="100"/>
                  <a:pt x="142" y="100"/>
                  <a:pt x="142" y="100"/>
                </a:cubicBezTo>
                <a:cubicBezTo>
                  <a:pt x="141" y="100"/>
                  <a:pt x="141" y="100"/>
                  <a:pt x="141" y="100"/>
                </a:cubicBezTo>
                <a:cubicBezTo>
                  <a:pt x="140" y="99"/>
                  <a:pt x="140" y="99"/>
                  <a:pt x="140" y="99"/>
                </a:cubicBezTo>
                <a:cubicBezTo>
                  <a:pt x="139" y="98"/>
                  <a:pt x="139" y="98"/>
                  <a:pt x="139" y="98"/>
                </a:cubicBezTo>
                <a:cubicBezTo>
                  <a:pt x="138" y="98"/>
                  <a:pt x="138" y="98"/>
                  <a:pt x="138" y="98"/>
                </a:cubicBezTo>
                <a:cubicBezTo>
                  <a:pt x="137" y="98"/>
                  <a:pt x="137" y="98"/>
                  <a:pt x="137" y="98"/>
                </a:cubicBezTo>
                <a:cubicBezTo>
                  <a:pt x="136" y="98"/>
                  <a:pt x="136" y="98"/>
                  <a:pt x="136" y="98"/>
                </a:cubicBezTo>
                <a:cubicBezTo>
                  <a:pt x="135" y="99"/>
                  <a:pt x="135" y="99"/>
                  <a:pt x="135" y="99"/>
                </a:cubicBezTo>
                <a:cubicBezTo>
                  <a:pt x="135" y="99"/>
                  <a:pt x="134" y="100"/>
                  <a:pt x="134" y="100"/>
                </a:cubicBezTo>
                <a:close/>
                <a:moveTo>
                  <a:pt x="130" y="98"/>
                </a:moveTo>
                <a:cubicBezTo>
                  <a:pt x="131" y="97"/>
                  <a:pt x="131" y="97"/>
                  <a:pt x="131" y="97"/>
                </a:cubicBezTo>
                <a:cubicBezTo>
                  <a:pt x="133" y="98"/>
                  <a:pt x="133" y="98"/>
                  <a:pt x="133" y="98"/>
                </a:cubicBezTo>
                <a:cubicBezTo>
                  <a:pt x="133" y="99"/>
                  <a:pt x="133" y="99"/>
                  <a:pt x="133" y="99"/>
                </a:cubicBezTo>
                <a:cubicBezTo>
                  <a:pt x="132" y="100"/>
                  <a:pt x="132" y="100"/>
                  <a:pt x="132" y="100"/>
                </a:cubicBezTo>
                <a:cubicBezTo>
                  <a:pt x="133" y="101"/>
                  <a:pt x="133" y="101"/>
                  <a:pt x="133" y="101"/>
                </a:cubicBezTo>
                <a:cubicBezTo>
                  <a:pt x="132" y="101"/>
                  <a:pt x="132" y="101"/>
                  <a:pt x="132" y="101"/>
                </a:cubicBezTo>
                <a:cubicBezTo>
                  <a:pt x="131" y="101"/>
                  <a:pt x="131" y="101"/>
                  <a:pt x="131" y="101"/>
                </a:cubicBezTo>
                <a:cubicBezTo>
                  <a:pt x="129" y="101"/>
                  <a:pt x="129" y="101"/>
                  <a:pt x="129" y="101"/>
                </a:cubicBezTo>
                <a:cubicBezTo>
                  <a:pt x="128" y="100"/>
                  <a:pt x="128" y="100"/>
                  <a:pt x="128" y="100"/>
                </a:cubicBezTo>
                <a:cubicBezTo>
                  <a:pt x="129" y="100"/>
                  <a:pt x="129" y="100"/>
                  <a:pt x="129" y="100"/>
                </a:cubicBezTo>
                <a:cubicBezTo>
                  <a:pt x="130" y="100"/>
                  <a:pt x="130" y="100"/>
                  <a:pt x="130" y="100"/>
                </a:cubicBezTo>
                <a:cubicBezTo>
                  <a:pt x="130" y="98"/>
                  <a:pt x="130" y="98"/>
                  <a:pt x="130" y="98"/>
                </a:cubicBezTo>
                <a:close/>
                <a:moveTo>
                  <a:pt x="126" y="100"/>
                </a:moveTo>
                <a:cubicBezTo>
                  <a:pt x="127" y="99"/>
                  <a:pt x="127" y="99"/>
                  <a:pt x="127" y="99"/>
                </a:cubicBezTo>
                <a:cubicBezTo>
                  <a:pt x="127" y="100"/>
                  <a:pt x="127" y="100"/>
                  <a:pt x="127" y="100"/>
                </a:cubicBezTo>
                <a:cubicBezTo>
                  <a:pt x="126" y="100"/>
                  <a:pt x="126" y="100"/>
                  <a:pt x="126" y="100"/>
                </a:cubicBezTo>
                <a:cubicBezTo>
                  <a:pt x="126" y="100"/>
                  <a:pt x="126" y="100"/>
                  <a:pt x="126" y="100"/>
                </a:cubicBezTo>
                <a:close/>
                <a:moveTo>
                  <a:pt x="120" y="96"/>
                </a:moveTo>
                <a:cubicBezTo>
                  <a:pt x="120" y="97"/>
                  <a:pt x="120" y="97"/>
                  <a:pt x="120" y="97"/>
                </a:cubicBezTo>
                <a:cubicBezTo>
                  <a:pt x="121" y="98"/>
                  <a:pt x="121" y="98"/>
                  <a:pt x="121" y="98"/>
                </a:cubicBezTo>
                <a:cubicBezTo>
                  <a:pt x="122" y="98"/>
                  <a:pt x="122" y="98"/>
                  <a:pt x="122" y="98"/>
                </a:cubicBezTo>
                <a:cubicBezTo>
                  <a:pt x="124" y="99"/>
                  <a:pt x="124" y="99"/>
                  <a:pt x="124" y="99"/>
                </a:cubicBezTo>
                <a:cubicBezTo>
                  <a:pt x="124" y="100"/>
                  <a:pt x="124" y="100"/>
                  <a:pt x="124" y="100"/>
                </a:cubicBezTo>
                <a:cubicBezTo>
                  <a:pt x="125" y="99"/>
                  <a:pt x="125" y="99"/>
                  <a:pt x="125" y="99"/>
                </a:cubicBezTo>
                <a:cubicBezTo>
                  <a:pt x="126" y="99"/>
                  <a:pt x="126" y="99"/>
                  <a:pt x="126" y="99"/>
                </a:cubicBezTo>
                <a:cubicBezTo>
                  <a:pt x="126" y="98"/>
                  <a:pt x="126" y="98"/>
                  <a:pt x="126" y="98"/>
                </a:cubicBezTo>
                <a:cubicBezTo>
                  <a:pt x="127" y="98"/>
                  <a:pt x="127" y="98"/>
                  <a:pt x="127" y="98"/>
                </a:cubicBezTo>
                <a:cubicBezTo>
                  <a:pt x="128" y="98"/>
                  <a:pt x="128" y="98"/>
                  <a:pt x="128" y="98"/>
                </a:cubicBezTo>
                <a:cubicBezTo>
                  <a:pt x="126" y="96"/>
                  <a:pt x="126" y="96"/>
                  <a:pt x="126" y="96"/>
                </a:cubicBezTo>
                <a:cubicBezTo>
                  <a:pt x="125" y="96"/>
                  <a:pt x="125" y="96"/>
                  <a:pt x="125" y="96"/>
                </a:cubicBezTo>
                <a:cubicBezTo>
                  <a:pt x="123" y="96"/>
                  <a:pt x="123" y="96"/>
                  <a:pt x="123" y="96"/>
                </a:cubicBezTo>
                <a:cubicBezTo>
                  <a:pt x="121" y="96"/>
                  <a:pt x="121" y="96"/>
                  <a:pt x="121" y="96"/>
                </a:cubicBezTo>
                <a:cubicBezTo>
                  <a:pt x="120" y="96"/>
                  <a:pt x="120" y="96"/>
                  <a:pt x="120" y="96"/>
                </a:cubicBezTo>
                <a:close/>
                <a:moveTo>
                  <a:pt x="273" y="97"/>
                </a:moveTo>
                <a:cubicBezTo>
                  <a:pt x="273" y="97"/>
                  <a:pt x="273" y="97"/>
                  <a:pt x="273" y="97"/>
                </a:cubicBezTo>
                <a:cubicBezTo>
                  <a:pt x="274" y="98"/>
                  <a:pt x="274" y="98"/>
                  <a:pt x="274" y="98"/>
                </a:cubicBezTo>
                <a:cubicBezTo>
                  <a:pt x="275" y="97"/>
                  <a:pt x="275" y="97"/>
                  <a:pt x="275" y="97"/>
                </a:cubicBezTo>
                <a:cubicBezTo>
                  <a:pt x="274" y="96"/>
                  <a:pt x="274" y="96"/>
                  <a:pt x="274" y="96"/>
                </a:cubicBezTo>
                <a:cubicBezTo>
                  <a:pt x="274" y="96"/>
                  <a:pt x="274" y="96"/>
                  <a:pt x="274" y="96"/>
                </a:cubicBezTo>
                <a:cubicBezTo>
                  <a:pt x="273" y="96"/>
                  <a:pt x="273" y="96"/>
                  <a:pt x="273" y="96"/>
                </a:cubicBezTo>
                <a:cubicBezTo>
                  <a:pt x="273" y="97"/>
                  <a:pt x="273" y="97"/>
                  <a:pt x="273" y="97"/>
                </a:cubicBezTo>
                <a:close/>
                <a:moveTo>
                  <a:pt x="266" y="97"/>
                </a:moveTo>
                <a:cubicBezTo>
                  <a:pt x="266" y="97"/>
                  <a:pt x="268" y="97"/>
                  <a:pt x="268" y="97"/>
                </a:cubicBezTo>
                <a:cubicBezTo>
                  <a:pt x="269" y="97"/>
                  <a:pt x="269" y="97"/>
                  <a:pt x="269" y="97"/>
                </a:cubicBezTo>
                <a:cubicBezTo>
                  <a:pt x="271" y="97"/>
                  <a:pt x="271" y="97"/>
                  <a:pt x="271" y="97"/>
                </a:cubicBezTo>
                <a:cubicBezTo>
                  <a:pt x="272" y="97"/>
                  <a:pt x="272" y="97"/>
                  <a:pt x="272" y="97"/>
                </a:cubicBezTo>
                <a:cubicBezTo>
                  <a:pt x="273" y="96"/>
                  <a:pt x="273" y="96"/>
                  <a:pt x="273" y="96"/>
                </a:cubicBezTo>
                <a:cubicBezTo>
                  <a:pt x="274" y="95"/>
                  <a:pt x="274" y="95"/>
                  <a:pt x="274" y="95"/>
                </a:cubicBezTo>
                <a:cubicBezTo>
                  <a:pt x="274" y="95"/>
                  <a:pt x="274" y="95"/>
                  <a:pt x="274" y="95"/>
                </a:cubicBezTo>
                <a:cubicBezTo>
                  <a:pt x="274" y="94"/>
                  <a:pt x="274" y="94"/>
                  <a:pt x="274" y="94"/>
                </a:cubicBezTo>
                <a:cubicBezTo>
                  <a:pt x="275" y="94"/>
                  <a:pt x="275" y="94"/>
                  <a:pt x="275" y="94"/>
                </a:cubicBezTo>
                <a:cubicBezTo>
                  <a:pt x="275" y="93"/>
                  <a:pt x="275" y="93"/>
                  <a:pt x="275" y="93"/>
                </a:cubicBezTo>
                <a:cubicBezTo>
                  <a:pt x="275" y="92"/>
                  <a:pt x="275" y="92"/>
                  <a:pt x="275" y="92"/>
                </a:cubicBezTo>
                <a:cubicBezTo>
                  <a:pt x="274" y="91"/>
                  <a:pt x="274" y="91"/>
                  <a:pt x="274" y="91"/>
                </a:cubicBezTo>
                <a:cubicBezTo>
                  <a:pt x="274" y="91"/>
                  <a:pt x="274" y="91"/>
                  <a:pt x="274" y="91"/>
                </a:cubicBezTo>
                <a:cubicBezTo>
                  <a:pt x="272" y="91"/>
                  <a:pt x="272" y="91"/>
                  <a:pt x="272" y="91"/>
                </a:cubicBezTo>
                <a:cubicBezTo>
                  <a:pt x="270" y="92"/>
                  <a:pt x="270" y="92"/>
                  <a:pt x="270" y="92"/>
                </a:cubicBezTo>
                <a:cubicBezTo>
                  <a:pt x="270" y="93"/>
                  <a:pt x="270" y="93"/>
                  <a:pt x="270" y="93"/>
                </a:cubicBezTo>
                <a:cubicBezTo>
                  <a:pt x="269" y="95"/>
                  <a:pt x="269" y="95"/>
                  <a:pt x="269" y="95"/>
                </a:cubicBezTo>
                <a:cubicBezTo>
                  <a:pt x="266" y="97"/>
                  <a:pt x="266" y="97"/>
                  <a:pt x="266" y="97"/>
                </a:cubicBezTo>
                <a:close/>
                <a:moveTo>
                  <a:pt x="110" y="88"/>
                </a:moveTo>
                <a:cubicBezTo>
                  <a:pt x="110" y="89"/>
                  <a:pt x="110" y="89"/>
                  <a:pt x="110" y="89"/>
                </a:cubicBezTo>
                <a:cubicBezTo>
                  <a:pt x="111" y="90"/>
                  <a:pt x="111" y="90"/>
                  <a:pt x="111" y="90"/>
                </a:cubicBezTo>
                <a:cubicBezTo>
                  <a:pt x="112" y="90"/>
                  <a:pt x="112" y="90"/>
                  <a:pt x="112" y="90"/>
                </a:cubicBezTo>
                <a:cubicBezTo>
                  <a:pt x="113" y="90"/>
                  <a:pt x="113" y="90"/>
                  <a:pt x="113" y="90"/>
                </a:cubicBezTo>
                <a:cubicBezTo>
                  <a:pt x="115" y="90"/>
                  <a:pt x="115" y="90"/>
                  <a:pt x="115" y="90"/>
                </a:cubicBezTo>
                <a:cubicBezTo>
                  <a:pt x="116" y="90"/>
                  <a:pt x="116" y="90"/>
                  <a:pt x="116" y="90"/>
                </a:cubicBezTo>
                <a:cubicBezTo>
                  <a:pt x="117" y="89"/>
                  <a:pt x="117" y="89"/>
                  <a:pt x="117" y="89"/>
                </a:cubicBezTo>
                <a:cubicBezTo>
                  <a:pt x="118" y="89"/>
                  <a:pt x="118" y="89"/>
                  <a:pt x="118" y="89"/>
                </a:cubicBezTo>
                <a:cubicBezTo>
                  <a:pt x="117" y="88"/>
                  <a:pt x="117" y="88"/>
                  <a:pt x="117" y="88"/>
                </a:cubicBezTo>
                <a:cubicBezTo>
                  <a:pt x="115" y="89"/>
                  <a:pt x="115" y="89"/>
                  <a:pt x="115" y="89"/>
                </a:cubicBezTo>
                <a:cubicBezTo>
                  <a:pt x="114" y="88"/>
                  <a:pt x="114" y="88"/>
                  <a:pt x="114" y="88"/>
                </a:cubicBezTo>
                <a:cubicBezTo>
                  <a:pt x="111" y="88"/>
                  <a:pt x="111" y="88"/>
                  <a:pt x="111" y="88"/>
                </a:cubicBezTo>
                <a:cubicBezTo>
                  <a:pt x="110" y="88"/>
                  <a:pt x="110" y="88"/>
                  <a:pt x="110" y="88"/>
                </a:cubicBezTo>
                <a:close/>
                <a:moveTo>
                  <a:pt x="63" y="86"/>
                </a:moveTo>
                <a:cubicBezTo>
                  <a:pt x="63" y="86"/>
                  <a:pt x="63" y="86"/>
                  <a:pt x="63" y="86"/>
                </a:cubicBezTo>
                <a:cubicBezTo>
                  <a:pt x="64" y="86"/>
                  <a:pt x="64" y="86"/>
                  <a:pt x="64" y="86"/>
                </a:cubicBezTo>
                <a:cubicBezTo>
                  <a:pt x="64" y="86"/>
                  <a:pt x="64" y="86"/>
                  <a:pt x="64" y="86"/>
                </a:cubicBezTo>
                <a:cubicBezTo>
                  <a:pt x="63" y="86"/>
                  <a:pt x="63" y="86"/>
                  <a:pt x="63" y="86"/>
                </a:cubicBezTo>
                <a:close/>
                <a:moveTo>
                  <a:pt x="64" y="87"/>
                </a:moveTo>
                <a:cubicBezTo>
                  <a:pt x="65" y="87"/>
                  <a:pt x="65" y="87"/>
                  <a:pt x="65" y="87"/>
                </a:cubicBezTo>
                <a:cubicBezTo>
                  <a:pt x="65" y="87"/>
                  <a:pt x="65" y="87"/>
                  <a:pt x="65" y="87"/>
                </a:cubicBezTo>
                <a:cubicBezTo>
                  <a:pt x="66" y="85"/>
                  <a:pt x="66" y="85"/>
                  <a:pt x="66" y="85"/>
                </a:cubicBezTo>
                <a:cubicBezTo>
                  <a:pt x="67" y="85"/>
                  <a:pt x="67" y="85"/>
                  <a:pt x="67" y="85"/>
                </a:cubicBezTo>
                <a:cubicBezTo>
                  <a:pt x="68" y="84"/>
                  <a:pt x="68" y="84"/>
                  <a:pt x="68" y="84"/>
                </a:cubicBezTo>
                <a:cubicBezTo>
                  <a:pt x="67" y="83"/>
                  <a:pt x="67" y="83"/>
                  <a:pt x="67" y="83"/>
                </a:cubicBezTo>
                <a:cubicBezTo>
                  <a:pt x="69" y="81"/>
                  <a:pt x="69" y="81"/>
                  <a:pt x="69" y="81"/>
                </a:cubicBezTo>
                <a:cubicBezTo>
                  <a:pt x="69" y="82"/>
                  <a:pt x="69" y="82"/>
                  <a:pt x="69" y="82"/>
                </a:cubicBezTo>
                <a:cubicBezTo>
                  <a:pt x="71" y="82"/>
                  <a:pt x="71" y="82"/>
                  <a:pt x="71" y="82"/>
                </a:cubicBezTo>
                <a:cubicBezTo>
                  <a:pt x="73" y="82"/>
                  <a:pt x="73" y="82"/>
                  <a:pt x="73" y="82"/>
                </a:cubicBezTo>
                <a:cubicBezTo>
                  <a:pt x="74" y="83"/>
                  <a:pt x="74" y="83"/>
                  <a:pt x="74" y="83"/>
                </a:cubicBezTo>
                <a:cubicBezTo>
                  <a:pt x="74" y="82"/>
                  <a:pt x="74" y="82"/>
                  <a:pt x="74" y="82"/>
                </a:cubicBezTo>
                <a:cubicBezTo>
                  <a:pt x="75" y="82"/>
                  <a:pt x="75" y="82"/>
                  <a:pt x="75" y="82"/>
                </a:cubicBezTo>
                <a:cubicBezTo>
                  <a:pt x="77" y="82"/>
                  <a:pt x="77" y="82"/>
                  <a:pt x="77" y="82"/>
                </a:cubicBezTo>
                <a:cubicBezTo>
                  <a:pt x="78" y="83"/>
                  <a:pt x="78" y="83"/>
                  <a:pt x="78" y="83"/>
                </a:cubicBezTo>
                <a:cubicBezTo>
                  <a:pt x="80" y="83"/>
                  <a:pt x="80" y="83"/>
                  <a:pt x="80" y="83"/>
                </a:cubicBezTo>
                <a:cubicBezTo>
                  <a:pt x="83" y="84"/>
                  <a:pt x="83" y="84"/>
                  <a:pt x="83" y="84"/>
                </a:cubicBezTo>
                <a:cubicBezTo>
                  <a:pt x="84" y="85"/>
                  <a:pt x="84" y="85"/>
                  <a:pt x="84" y="85"/>
                </a:cubicBezTo>
                <a:cubicBezTo>
                  <a:pt x="83" y="86"/>
                  <a:pt x="83" y="86"/>
                  <a:pt x="83" y="86"/>
                </a:cubicBezTo>
                <a:cubicBezTo>
                  <a:pt x="84" y="87"/>
                  <a:pt x="84" y="87"/>
                  <a:pt x="84" y="87"/>
                </a:cubicBezTo>
                <a:cubicBezTo>
                  <a:pt x="86" y="88"/>
                  <a:pt x="86" y="88"/>
                  <a:pt x="86" y="88"/>
                </a:cubicBezTo>
                <a:cubicBezTo>
                  <a:pt x="90" y="88"/>
                  <a:pt x="90" y="88"/>
                  <a:pt x="90" y="88"/>
                </a:cubicBezTo>
                <a:cubicBezTo>
                  <a:pt x="93" y="88"/>
                  <a:pt x="93" y="88"/>
                  <a:pt x="93" y="88"/>
                </a:cubicBezTo>
                <a:cubicBezTo>
                  <a:pt x="96" y="88"/>
                  <a:pt x="96" y="88"/>
                  <a:pt x="96" y="88"/>
                </a:cubicBezTo>
                <a:cubicBezTo>
                  <a:pt x="97" y="87"/>
                  <a:pt x="97" y="87"/>
                  <a:pt x="97" y="87"/>
                </a:cubicBezTo>
                <a:cubicBezTo>
                  <a:pt x="97" y="84"/>
                  <a:pt x="97" y="84"/>
                  <a:pt x="97" y="84"/>
                </a:cubicBezTo>
                <a:cubicBezTo>
                  <a:pt x="98" y="84"/>
                  <a:pt x="98" y="84"/>
                  <a:pt x="98" y="84"/>
                </a:cubicBezTo>
                <a:cubicBezTo>
                  <a:pt x="100" y="86"/>
                  <a:pt x="100" y="86"/>
                  <a:pt x="100" y="86"/>
                </a:cubicBezTo>
                <a:cubicBezTo>
                  <a:pt x="101" y="86"/>
                  <a:pt x="101" y="86"/>
                  <a:pt x="101" y="86"/>
                </a:cubicBezTo>
                <a:cubicBezTo>
                  <a:pt x="102" y="86"/>
                  <a:pt x="102" y="86"/>
                  <a:pt x="102" y="86"/>
                </a:cubicBezTo>
                <a:cubicBezTo>
                  <a:pt x="103" y="86"/>
                  <a:pt x="103" y="86"/>
                  <a:pt x="103" y="86"/>
                </a:cubicBezTo>
                <a:cubicBezTo>
                  <a:pt x="104" y="87"/>
                  <a:pt x="104" y="87"/>
                  <a:pt x="104" y="87"/>
                </a:cubicBezTo>
                <a:cubicBezTo>
                  <a:pt x="105" y="87"/>
                  <a:pt x="105" y="87"/>
                  <a:pt x="105" y="87"/>
                </a:cubicBezTo>
                <a:cubicBezTo>
                  <a:pt x="106" y="88"/>
                  <a:pt x="106" y="88"/>
                  <a:pt x="106" y="88"/>
                </a:cubicBezTo>
                <a:cubicBezTo>
                  <a:pt x="107" y="88"/>
                  <a:pt x="107" y="88"/>
                  <a:pt x="107" y="88"/>
                </a:cubicBezTo>
                <a:cubicBezTo>
                  <a:pt x="109" y="88"/>
                  <a:pt x="109" y="88"/>
                  <a:pt x="109" y="88"/>
                </a:cubicBezTo>
                <a:cubicBezTo>
                  <a:pt x="109" y="89"/>
                  <a:pt x="109" y="89"/>
                  <a:pt x="109" y="89"/>
                </a:cubicBezTo>
                <a:cubicBezTo>
                  <a:pt x="110" y="91"/>
                  <a:pt x="110" y="91"/>
                  <a:pt x="110" y="91"/>
                </a:cubicBezTo>
                <a:cubicBezTo>
                  <a:pt x="110" y="92"/>
                  <a:pt x="110" y="92"/>
                  <a:pt x="110" y="92"/>
                </a:cubicBezTo>
                <a:cubicBezTo>
                  <a:pt x="111" y="93"/>
                  <a:pt x="111" y="93"/>
                  <a:pt x="111" y="93"/>
                </a:cubicBezTo>
                <a:cubicBezTo>
                  <a:pt x="112" y="94"/>
                  <a:pt x="112" y="94"/>
                  <a:pt x="112" y="94"/>
                </a:cubicBezTo>
                <a:cubicBezTo>
                  <a:pt x="114" y="93"/>
                  <a:pt x="114" y="93"/>
                  <a:pt x="114" y="93"/>
                </a:cubicBezTo>
                <a:cubicBezTo>
                  <a:pt x="115" y="94"/>
                  <a:pt x="115" y="94"/>
                  <a:pt x="115" y="94"/>
                </a:cubicBezTo>
                <a:cubicBezTo>
                  <a:pt x="116" y="94"/>
                  <a:pt x="116" y="94"/>
                  <a:pt x="116" y="94"/>
                </a:cubicBezTo>
                <a:cubicBezTo>
                  <a:pt x="116" y="93"/>
                  <a:pt x="116" y="93"/>
                  <a:pt x="116" y="93"/>
                </a:cubicBezTo>
                <a:cubicBezTo>
                  <a:pt x="118" y="93"/>
                  <a:pt x="118" y="93"/>
                  <a:pt x="118" y="93"/>
                </a:cubicBezTo>
                <a:cubicBezTo>
                  <a:pt x="118" y="94"/>
                  <a:pt x="118" y="94"/>
                  <a:pt x="118" y="94"/>
                </a:cubicBezTo>
                <a:cubicBezTo>
                  <a:pt x="119" y="94"/>
                  <a:pt x="119" y="94"/>
                  <a:pt x="119" y="94"/>
                </a:cubicBezTo>
                <a:cubicBezTo>
                  <a:pt x="120" y="94"/>
                  <a:pt x="120" y="94"/>
                  <a:pt x="120" y="94"/>
                </a:cubicBezTo>
                <a:cubicBezTo>
                  <a:pt x="119" y="97"/>
                  <a:pt x="119" y="97"/>
                  <a:pt x="119" y="97"/>
                </a:cubicBezTo>
                <a:cubicBezTo>
                  <a:pt x="119" y="98"/>
                  <a:pt x="119" y="98"/>
                  <a:pt x="119" y="98"/>
                </a:cubicBezTo>
                <a:cubicBezTo>
                  <a:pt x="119" y="98"/>
                  <a:pt x="119" y="98"/>
                  <a:pt x="119" y="98"/>
                </a:cubicBezTo>
                <a:cubicBezTo>
                  <a:pt x="120" y="100"/>
                  <a:pt x="120" y="100"/>
                  <a:pt x="120" y="100"/>
                </a:cubicBezTo>
                <a:cubicBezTo>
                  <a:pt x="119" y="101"/>
                  <a:pt x="119" y="101"/>
                  <a:pt x="119" y="101"/>
                </a:cubicBezTo>
                <a:cubicBezTo>
                  <a:pt x="118" y="100"/>
                  <a:pt x="118" y="100"/>
                  <a:pt x="118" y="100"/>
                </a:cubicBezTo>
                <a:cubicBezTo>
                  <a:pt x="117" y="100"/>
                  <a:pt x="117" y="100"/>
                  <a:pt x="117" y="100"/>
                </a:cubicBezTo>
                <a:cubicBezTo>
                  <a:pt x="115" y="98"/>
                  <a:pt x="115" y="98"/>
                  <a:pt x="115" y="98"/>
                </a:cubicBezTo>
                <a:cubicBezTo>
                  <a:pt x="114" y="98"/>
                  <a:pt x="114" y="98"/>
                  <a:pt x="114" y="98"/>
                </a:cubicBezTo>
                <a:cubicBezTo>
                  <a:pt x="112" y="97"/>
                  <a:pt x="112" y="97"/>
                  <a:pt x="112" y="97"/>
                </a:cubicBezTo>
                <a:cubicBezTo>
                  <a:pt x="112" y="97"/>
                  <a:pt x="112" y="97"/>
                  <a:pt x="112" y="97"/>
                </a:cubicBezTo>
                <a:cubicBezTo>
                  <a:pt x="110" y="98"/>
                  <a:pt x="110" y="98"/>
                  <a:pt x="110" y="98"/>
                </a:cubicBezTo>
                <a:cubicBezTo>
                  <a:pt x="108" y="98"/>
                  <a:pt x="108" y="98"/>
                  <a:pt x="108" y="98"/>
                </a:cubicBezTo>
                <a:cubicBezTo>
                  <a:pt x="106" y="97"/>
                  <a:pt x="106" y="97"/>
                  <a:pt x="106" y="97"/>
                </a:cubicBezTo>
                <a:cubicBezTo>
                  <a:pt x="104" y="97"/>
                  <a:pt x="104" y="97"/>
                  <a:pt x="104" y="97"/>
                </a:cubicBezTo>
                <a:cubicBezTo>
                  <a:pt x="103" y="98"/>
                  <a:pt x="103" y="98"/>
                  <a:pt x="103" y="98"/>
                </a:cubicBezTo>
                <a:cubicBezTo>
                  <a:pt x="101" y="97"/>
                  <a:pt x="101" y="97"/>
                  <a:pt x="101" y="97"/>
                </a:cubicBezTo>
                <a:cubicBezTo>
                  <a:pt x="99" y="97"/>
                  <a:pt x="99" y="97"/>
                  <a:pt x="99" y="97"/>
                </a:cubicBezTo>
                <a:cubicBezTo>
                  <a:pt x="98" y="97"/>
                  <a:pt x="98" y="97"/>
                  <a:pt x="98" y="97"/>
                </a:cubicBezTo>
                <a:cubicBezTo>
                  <a:pt x="95" y="96"/>
                  <a:pt x="95" y="96"/>
                  <a:pt x="95" y="96"/>
                </a:cubicBezTo>
                <a:cubicBezTo>
                  <a:pt x="92" y="94"/>
                  <a:pt x="92" y="94"/>
                  <a:pt x="92" y="94"/>
                </a:cubicBezTo>
                <a:cubicBezTo>
                  <a:pt x="90" y="94"/>
                  <a:pt x="90" y="94"/>
                  <a:pt x="90" y="94"/>
                </a:cubicBezTo>
                <a:cubicBezTo>
                  <a:pt x="88" y="93"/>
                  <a:pt x="88" y="93"/>
                  <a:pt x="88" y="93"/>
                </a:cubicBezTo>
                <a:cubicBezTo>
                  <a:pt x="87" y="93"/>
                  <a:pt x="87" y="93"/>
                  <a:pt x="87" y="93"/>
                </a:cubicBezTo>
                <a:cubicBezTo>
                  <a:pt x="86" y="94"/>
                  <a:pt x="86" y="94"/>
                  <a:pt x="86" y="94"/>
                </a:cubicBezTo>
                <a:cubicBezTo>
                  <a:pt x="85" y="94"/>
                  <a:pt x="85" y="94"/>
                  <a:pt x="85" y="94"/>
                </a:cubicBezTo>
                <a:cubicBezTo>
                  <a:pt x="84" y="93"/>
                  <a:pt x="84" y="93"/>
                  <a:pt x="84" y="93"/>
                </a:cubicBezTo>
                <a:cubicBezTo>
                  <a:pt x="83" y="93"/>
                  <a:pt x="83" y="93"/>
                  <a:pt x="83" y="93"/>
                </a:cubicBezTo>
                <a:cubicBezTo>
                  <a:pt x="82" y="94"/>
                  <a:pt x="82" y="94"/>
                  <a:pt x="82" y="94"/>
                </a:cubicBezTo>
                <a:cubicBezTo>
                  <a:pt x="80" y="93"/>
                  <a:pt x="80" y="93"/>
                  <a:pt x="80" y="93"/>
                </a:cubicBezTo>
                <a:cubicBezTo>
                  <a:pt x="78" y="92"/>
                  <a:pt x="78" y="92"/>
                  <a:pt x="78" y="92"/>
                </a:cubicBezTo>
                <a:cubicBezTo>
                  <a:pt x="76" y="92"/>
                  <a:pt x="76" y="92"/>
                  <a:pt x="76" y="92"/>
                </a:cubicBezTo>
                <a:cubicBezTo>
                  <a:pt x="75" y="91"/>
                  <a:pt x="75" y="91"/>
                  <a:pt x="75" y="91"/>
                </a:cubicBezTo>
                <a:cubicBezTo>
                  <a:pt x="74" y="92"/>
                  <a:pt x="74" y="92"/>
                  <a:pt x="74" y="92"/>
                </a:cubicBezTo>
                <a:cubicBezTo>
                  <a:pt x="72" y="92"/>
                  <a:pt x="72" y="92"/>
                  <a:pt x="72" y="92"/>
                </a:cubicBezTo>
                <a:cubicBezTo>
                  <a:pt x="71" y="91"/>
                  <a:pt x="71" y="91"/>
                  <a:pt x="71" y="91"/>
                </a:cubicBezTo>
                <a:cubicBezTo>
                  <a:pt x="70" y="91"/>
                  <a:pt x="70" y="91"/>
                  <a:pt x="70" y="91"/>
                </a:cubicBezTo>
                <a:cubicBezTo>
                  <a:pt x="71" y="89"/>
                  <a:pt x="71" y="89"/>
                  <a:pt x="71" y="89"/>
                </a:cubicBezTo>
                <a:cubicBezTo>
                  <a:pt x="71" y="89"/>
                  <a:pt x="71" y="89"/>
                  <a:pt x="71" y="89"/>
                </a:cubicBezTo>
                <a:cubicBezTo>
                  <a:pt x="71" y="89"/>
                  <a:pt x="71" y="89"/>
                  <a:pt x="71" y="89"/>
                </a:cubicBezTo>
                <a:cubicBezTo>
                  <a:pt x="70" y="89"/>
                  <a:pt x="70" y="89"/>
                  <a:pt x="70" y="89"/>
                </a:cubicBezTo>
                <a:cubicBezTo>
                  <a:pt x="69" y="88"/>
                  <a:pt x="69" y="88"/>
                  <a:pt x="69" y="88"/>
                </a:cubicBezTo>
                <a:cubicBezTo>
                  <a:pt x="68" y="87"/>
                  <a:pt x="68" y="87"/>
                  <a:pt x="68" y="87"/>
                </a:cubicBezTo>
                <a:cubicBezTo>
                  <a:pt x="67" y="88"/>
                  <a:pt x="67" y="88"/>
                  <a:pt x="67" y="88"/>
                </a:cubicBezTo>
                <a:cubicBezTo>
                  <a:pt x="64" y="88"/>
                  <a:pt x="64" y="88"/>
                  <a:pt x="64" y="88"/>
                </a:cubicBezTo>
                <a:cubicBezTo>
                  <a:pt x="64" y="87"/>
                  <a:pt x="64" y="87"/>
                  <a:pt x="64" y="87"/>
                </a:cubicBezTo>
                <a:cubicBezTo>
                  <a:pt x="64" y="87"/>
                  <a:pt x="64" y="87"/>
                  <a:pt x="64" y="87"/>
                </a:cubicBezTo>
                <a:cubicBezTo>
                  <a:pt x="64" y="87"/>
                  <a:pt x="64" y="87"/>
                  <a:pt x="64" y="87"/>
                </a:cubicBezTo>
                <a:close/>
                <a:moveTo>
                  <a:pt x="80" y="16"/>
                </a:moveTo>
                <a:cubicBezTo>
                  <a:pt x="82" y="17"/>
                  <a:pt x="82" y="17"/>
                  <a:pt x="82" y="17"/>
                </a:cubicBezTo>
                <a:cubicBezTo>
                  <a:pt x="82" y="17"/>
                  <a:pt x="82" y="17"/>
                  <a:pt x="82" y="17"/>
                </a:cubicBezTo>
                <a:cubicBezTo>
                  <a:pt x="82" y="18"/>
                  <a:pt x="82" y="18"/>
                  <a:pt x="82" y="18"/>
                </a:cubicBezTo>
                <a:cubicBezTo>
                  <a:pt x="83" y="18"/>
                  <a:pt x="83" y="18"/>
                  <a:pt x="83" y="18"/>
                </a:cubicBezTo>
                <a:cubicBezTo>
                  <a:pt x="83" y="16"/>
                  <a:pt x="83" y="16"/>
                  <a:pt x="83" y="16"/>
                </a:cubicBezTo>
                <a:cubicBezTo>
                  <a:pt x="82" y="14"/>
                  <a:pt x="82" y="14"/>
                  <a:pt x="82" y="14"/>
                </a:cubicBezTo>
                <a:cubicBezTo>
                  <a:pt x="81" y="15"/>
                  <a:pt x="81" y="15"/>
                  <a:pt x="81" y="15"/>
                </a:cubicBezTo>
                <a:cubicBezTo>
                  <a:pt x="80" y="16"/>
                  <a:pt x="80" y="16"/>
                  <a:pt x="80" y="16"/>
                </a:cubicBezTo>
                <a:close/>
                <a:moveTo>
                  <a:pt x="70" y="24"/>
                </a:moveTo>
                <a:cubicBezTo>
                  <a:pt x="70" y="25"/>
                  <a:pt x="70" y="25"/>
                  <a:pt x="70" y="25"/>
                </a:cubicBezTo>
                <a:cubicBezTo>
                  <a:pt x="71" y="24"/>
                  <a:pt x="71" y="24"/>
                  <a:pt x="71" y="24"/>
                </a:cubicBezTo>
                <a:cubicBezTo>
                  <a:pt x="70" y="24"/>
                  <a:pt x="70" y="24"/>
                  <a:pt x="70" y="24"/>
                </a:cubicBezTo>
                <a:close/>
                <a:moveTo>
                  <a:pt x="70" y="21"/>
                </a:moveTo>
                <a:cubicBezTo>
                  <a:pt x="71" y="20"/>
                  <a:pt x="71" y="20"/>
                  <a:pt x="71" y="20"/>
                </a:cubicBezTo>
                <a:cubicBezTo>
                  <a:pt x="70" y="20"/>
                  <a:pt x="70" y="20"/>
                  <a:pt x="70" y="20"/>
                </a:cubicBezTo>
                <a:cubicBezTo>
                  <a:pt x="70" y="21"/>
                  <a:pt x="70" y="21"/>
                  <a:pt x="70" y="21"/>
                </a:cubicBezTo>
                <a:close/>
                <a:moveTo>
                  <a:pt x="70" y="22"/>
                </a:moveTo>
                <a:cubicBezTo>
                  <a:pt x="70" y="22"/>
                  <a:pt x="70" y="22"/>
                  <a:pt x="70" y="22"/>
                </a:cubicBezTo>
                <a:cubicBezTo>
                  <a:pt x="70" y="22"/>
                  <a:pt x="70" y="22"/>
                  <a:pt x="70" y="22"/>
                </a:cubicBezTo>
                <a:cubicBezTo>
                  <a:pt x="70" y="22"/>
                  <a:pt x="70" y="22"/>
                  <a:pt x="70" y="22"/>
                </a:cubicBezTo>
                <a:close/>
                <a:moveTo>
                  <a:pt x="66" y="23"/>
                </a:moveTo>
                <a:cubicBezTo>
                  <a:pt x="66" y="24"/>
                  <a:pt x="66" y="24"/>
                  <a:pt x="66" y="24"/>
                </a:cubicBezTo>
                <a:cubicBezTo>
                  <a:pt x="67" y="24"/>
                  <a:pt x="67" y="24"/>
                  <a:pt x="67" y="24"/>
                </a:cubicBezTo>
                <a:cubicBezTo>
                  <a:pt x="68" y="23"/>
                  <a:pt x="68" y="23"/>
                  <a:pt x="68" y="23"/>
                </a:cubicBezTo>
                <a:cubicBezTo>
                  <a:pt x="67" y="23"/>
                  <a:pt x="67" y="23"/>
                  <a:pt x="67" y="23"/>
                </a:cubicBezTo>
                <a:cubicBezTo>
                  <a:pt x="66" y="23"/>
                  <a:pt x="66" y="23"/>
                  <a:pt x="66" y="23"/>
                </a:cubicBezTo>
                <a:close/>
                <a:moveTo>
                  <a:pt x="55" y="37"/>
                </a:moveTo>
                <a:cubicBezTo>
                  <a:pt x="57" y="37"/>
                  <a:pt x="57" y="37"/>
                  <a:pt x="57" y="37"/>
                </a:cubicBezTo>
                <a:cubicBezTo>
                  <a:pt x="57" y="36"/>
                  <a:pt x="57" y="36"/>
                  <a:pt x="57" y="36"/>
                </a:cubicBezTo>
                <a:cubicBezTo>
                  <a:pt x="57" y="35"/>
                  <a:pt x="57" y="35"/>
                  <a:pt x="57" y="35"/>
                </a:cubicBezTo>
                <a:cubicBezTo>
                  <a:pt x="55" y="37"/>
                  <a:pt x="55" y="37"/>
                  <a:pt x="55" y="37"/>
                </a:cubicBezTo>
                <a:close/>
                <a:moveTo>
                  <a:pt x="58" y="35"/>
                </a:moveTo>
                <a:cubicBezTo>
                  <a:pt x="58" y="37"/>
                  <a:pt x="58" y="37"/>
                  <a:pt x="58" y="37"/>
                </a:cubicBezTo>
                <a:cubicBezTo>
                  <a:pt x="59" y="37"/>
                  <a:pt x="59" y="37"/>
                  <a:pt x="59" y="37"/>
                </a:cubicBezTo>
                <a:cubicBezTo>
                  <a:pt x="60" y="39"/>
                  <a:pt x="60" y="39"/>
                  <a:pt x="60" y="39"/>
                </a:cubicBezTo>
                <a:cubicBezTo>
                  <a:pt x="60" y="38"/>
                  <a:pt x="60" y="38"/>
                  <a:pt x="60" y="38"/>
                </a:cubicBezTo>
                <a:cubicBezTo>
                  <a:pt x="61" y="36"/>
                  <a:pt x="61" y="36"/>
                  <a:pt x="61" y="36"/>
                </a:cubicBezTo>
                <a:cubicBezTo>
                  <a:pt x="60" y="36"/>
                  <a:pt x="60" y="36"/>
                  <a:pt x="60" y="36"/>
                </a:cubicBezTo>
                <a:cubicBezTo>
                  <a:pt x="61" y="35"/>
                  <a:pt x="61" y="35"/>
                  <a:pt x="61" y="35"/>
                </a:cubicBezTo>
                <a:cubicBezTo>
                  <a:pt x="60" y="35"/>
                  <a:pt x="60" y="35"/>
                  <a:pt x="60" y="35"/>
                </a:cubicBezTo>
                <a:cubicBezTo>
                  <a:pt x="59" y="35"/>
                  <a:pt x="59" y="35"/>
                  <a:pt x="59" y="35"/>
                </a:cubicBezTo>
                <a:cubicBezTo>
                  <a:pt x="58" y="35"/>
                  <a:pt x="58" y="35"/>
                  <a:pt x="58" y="35"/>
                </a:cubicBezTo>
                <a:close/>
                <a:moveTo>
                  <a:pt x="86" y="54"/>
                </a:moveTo>
                <a:cubicBezTo>
                  <a:pt x="86" y="55"/>
                  <a:pt x="86" y="55"/>
                  <a:pt x="86" y="55"/>
                </a:cubicBezTo>
                <a:cubicBezTo>
                  <a:pt x="87" y="55"/>
                  <a:pt x="87" y="55"/>
                  <a:pt x="87" y="55"/>
                </a:cubicBezTo>
                <a:cubicBezTo>
                  <a:pt x="88" y="55"/>
                  <a:pt x="88" y="55"/>
                  <a:pt x="88" y="55"/>
                </a:cubicBezTo>
                <a:cubicBezTo>
                  <a:pt x="87" y="54"/>
                  <a:pt x="87" y="54"/>
                  <a:pt x="87" y="54"/>
                </a:cubicBezTo>
                <a:cubicBezTo>
                  <a:pt x="86" y="54"/>
                  <a:pt x="86" y="54"/>
                  <a:pt x="86" y="54"/>
                </a:cubicBezTo>
                <a:close/>
                <a:moveTo>
                  <a:pt x="78" y="60"/>
                </a:moveTo>
                <a:cubicBezTo>
                  <a:pt x="78" y="61"/>
                  <a:pt x="78" y="61"/>
                  <a:pt x="78" y="61"/>
                </a:cubicBezTo>
                <a:cubicBezTo>
                  <a:pt x="78" y="62"/>
                  <a:pt x="78" y="62"/>
                  <a:pt x="78" y="62"/>
                </a:cubicBezTo>
                <a:cubicBezTo>
                  <a:pt x="77" y="62"/>
                  <a:pt x="77" y="62"/>
                  <a:pt x="77" y="62"/>
                </a:cubicBezTo>
                <a:cubicBezTo>
                  <a:pt x="77" y="63"/>
                  <a:pt x="77" y="63"/>
                  <a:pt x="77" y="63"/>
                </a:cubicBezTo>
                <a:cubicBezTo>
                  <a:pt x="78" y="63"/>
                  <a:pt x="78" y="63"/>
                  <a:pt x="78" y="63"/>
                </a:cubicBezTo>
                <a:cubicBezTo>
                  <a:pt x="78" y="62"/>
                  <a:pt x="78" y="62"/>
                  <a:pt x="78" y="62"/>
                </a:cubicBezTo>
                <a:cubicBezTo>
                  <a:pt x="78" y="62"/>
                  <a:pt x="78" y="62"/>
                  <a:pt x="78" y="62"/>
                </a:cubicBezTo>
                <a:cubicBezTo>
                  <a:pt x="78" y="64"/>
                  <a:pt x="78" y="64"/>
                  <a:pt x="78" y="64"/>
                </a:cubicBezTo>
                <a:cubicBezTo>
                  <a:pt x="79" y="65"/>
                  <a:pt x="79" y="65"/>
                  <a:pt x="79" y="65"/>
                </a:cubicBezTo>
                <a:cubicBezTo>
                  <a:pt x="80" y="63"/>
                  <a:pt x="80" y="63"/>
                  <a:pt x="80" y="63"/>
                </a:cubicBezTo>
                <a:cubicBezTo>
                  <a:pt x="81" y="64"/>
                  <a:pt x="81" y="64"/>
                  <a:pt x="81" y="64"/>
                </a:cubicBezTo>
                <a:cubicBezTo>
                  <a:pt x="82" y="64"/>
                  <a:pt x="82" y="64"/>
                  <a:pt x="82" y="64"/>
                </a:cubicBezTo>
                <a:cubicBezTo>
                  <a:pt x="82" y="63"/>
                  <a:pt x="82" y="63"/>
                  <a:pt x="82" y="63"/>
                </a:cubicBezTo>
                <a:cubicBezTo>
                  <a:pt x="83" y="63"/>
                  <a:pt x="83" y="63"/>
                  <a:pt x="83" y="63"/>
                </a:cubicBezTo>
                <a:cubicBezTo>
                  <a:pt x="83" y="62"/>
                  <a:pt x="83" y="62"/>
                  <a:pt x="83" y="62"/>
                </a:cubicBezTo>
                <a:cubicBezTo>
                  <a:pt x="81" y="60"/>
                  <a:pt x="81" y="60"/>
                  <a:pt x="81" y="60"/>
                </a:cubicBezTo>
                <a:cubicBezTo>
                  <a:pt x="79" y="60"/>
                  <a:pt x="79" y="60"/>
                  <a:pt x="79" y="60"/>
                </a:cubicBezTo>
                <a:cubicBezTo>
                  <a:pt x="78" y="60"/>
                  <a:pt x="78" y="60"/>
                  <a:pt x="78" y="60"/>
                </a:cubicBezTo>
                <a:close/>
                <a:moveTo>
                  <a:pt x="74" y="62"/>
                </a:moveTo>
                <a:cubicBezTo>
                  <a:pt x="74" y="63"/>
                  <a:pt x="74" y="63"/>
                  <a:pt x="74" y="63"/>
                </a:cubicBezTo>
                <a:cubicBezTo>
                  <a:pt x="75" y="63"/>
                  <a:pt x="75" y="63"/>
                  <a:pt x="75" y="63"/>
                </a:cubicBezTo>
                <a:cubicBezTo>
                  <a:pt x="74" y="62"/>
                  <a:pt x="74" y="62"/>
                  <a:pt x="74" y="62"/>
                </a:cubicBezTo>
                <a:close/>
                <a:moveTo>
                  <a:pt x="65" y="54"/>
                </a:moveTo>
                <a:cubicBezTo>
                  <a:pt x="65" y="55"/>
                  <a:pt x="65" y="55"/>
                  <a:pt x="65" y="55"/>
                </a:cubicBezTo>
                <a:cubicBezTo>
                  <a:pt x="64" y="56"/>
                  <a:pt x="64" y="56"/>
                  <a:pt x="64" y="56"/>
                </a:cubicBezTo>
                <a:cubicBezTo>
                  <a:pt x="65" y="57"/>
                  <a:pt x="65" y="57"/>
                  <a:pt x="65" y="57"/>
                </a:cubicBezTo>
                <a:cubicBezTo>
                  <a:pt x="67" y="58"/>
                  <a:pt x="67" y="58"/>
                  <a:pt x="67" y="58"/>
                </a:cubicBezTo>
                <a:cubicBezTo>
                  <a:pt x="67" y="58"/>
                  <a:pt x="67" y="58"/>
                  <a:pt x="67" y="58"/>
                </a:cubicBezTo>
                <a:cubicBezTo>
                  <a:pt x="67" y="59"/>
                  <a:pt x="67" y="59"/>
                  <a:pt x="67" y="59"/>
                </a:cubicBezTo>
                <a:cubicBezTo>
                  <a:pt x="68" y="60"/>
                  <a:pt x="68" y="60"/>
                  <a:pt x="68" y="60"/>
                </a:cubicBezTo>
                <a:cubicBezTo>
                  <a:pt x="69" y="61"/>
                  <a:pt x="69" y="61"/>
                  <a:pt x="69" y="61"/>
                </a:cubicBezTo>
                <a:cubicBezTo>
                  <a:pt x="70" y="62"/>
                  <a:pt x="70" y="62"/>
                  <a:pt x="70" y="62"/>
                </a:cubicBezTo>
                <a:cubicBezTo>
                  <a:pt x="71" y="62"/>
                  <a:pt x="71" y="62"/>
                  <a:pt x="71" y="62"/>
                </a:cubicBezTo>
                <a:cubicBezTo>
                  <a:pt x="72" y="63"/>
                  <a:pt x="72" y="63"/>
                  <a:pt x="72" y="63"/>
                </a:cubicBezTo>
                <a:cubicBezTo>
                  <a:pt x="72" y="64"/>
                  <a:pt x="72" y="64"/>
                  <a:pt x="72" y="64"/>
                </a:cubicBezTo>
                <a:cubicBezTo>
                  <a:pt x="73" y="63"/>
                  <a:pt x="73" y="63"/>
                  <a:pt x="73" y="63"/>
                </a:cubicBezTo>
                <a:cubicBezTo>
                  <a:pt x="72" y="62"/>
                  <a:pt x="72" y="62"/>
                  <a:pt x="72" y="62"/>
                </a:cubicBezTo>
                <a:cubicBezTo>
                  <a:pt x="73" y="60"/>
                  <a:pt x="73" y="60"/>
                  <a:pt x="73" y="60"/>
                </a:cubicBezTo>
                <a:cubicBezTo>
                  <a:pt x="71" y="60"/>
                  <a:pt x="71" y="60"/>
                  <a:pt x="71" y="60"/>
                </a:cubicBezTo>
                <a:cubicBezTo>
                  <a:pt x="70" y="58"/>
                  <a:pt x="70" y="58"/>
                  <a:pt x="70" y="58"/>
                </a:cubicBezTo>
                <a:cubicBezTo>
                  <a:pt x="69" y="55"/>
                  <a:pt x="69" y="55"/>
                  <a:pt x="69" y="55"/>
                </a:cubicBezTo>
                <a:cubicBezTo>
                  <a:pt x="69" y="55"/>
                  <a:pt x="69" y="55"/>
                  <a:pt x="69" y="55"/>
                </a:cubicBezTo>
                <a:cubicBezTo>
                  <a:pt x="68" y="54"/>
                  <a:pt x="68" y="54"/>
                  <a:pt x="68" y="54"/>
                </a:cubicBezTo>
                <a:cubicBezTo>
                  <a:pt x="68" y="54"/>
                  <a:pt x="68" y="54"/>
                  <a:pt x="68" y="54"/>
                </a:cubicBezTo>
                <a:cubicBezTo>
                  <a:pt x="67" y="54"/>
                  <a:pt x="67" y="54"/>
                  <a:pt x="67" y="54"/>
                </a:cubicBezTo>
                <a:cubicBezTo>
                  <a:pt x="67" y="55"/>
                  <a:pt x="67" y="55"/>
                  <a:pt x="67" y="55"/>
                </a:cubicBezTo>
                <a:cubicBezTo>
                  <a:pt x="67" y="55"/>
                  <a:pt x="67" y="55"/>
                  <a:pt x="67" y="55"/>
                </a:cubicBezTo>
                <a:cubicBezTo>
                  <a:pt x="66" y="55"/>
                  <a:pt x="66" y="55"/>
                  <a:pt x="66" y="55"/>
                </a:cubicBezTo>
                <a:cubicBezTo>
                  <a:pt x="65" y="54"/>
                  <a:pt x="65" y="54"/>
                  <a:pt x="65" y="54"/>
                </a:cubicBezTo>
                <a:cubicBezTo>
                  <a:pt x="65" y="54"/>
                  <a:pt x="65" y="54"/>
                  <a:pt x="65" y="54"/>
                </a:cubicBezTo>
                <a:close/>
                <a:moveTo>
                  <a:pt x="59" y="47"/>
                </a:moveTo>
                <a:cubicBezTo>
                  <a:pt x="58" y="48"/>
                  <a:pt x="58" y="48"/>
                  <a:pt x="58" y="48"/>
                </a:cubicBezTo>
                <a:cubicBezTo>
                  <a:pt x="59" y="48"/>
                  <a:pt x="59" y="48"/>
                  <a:pt x="59" y="48"/>
                </a:cubicBezTo>
                <a:cubicBezTo>
                  <a:pt x="60" y="48"/>
                  <a:pt x="60" y="48"/>
                  <a:pt x="60" y="48"/>
                </a:cubicBezTo>
                <a:cubicBezTo>
                  <a:pt x="60" y="47"/>
                  <a:pt x="60" y="47"/>
                  <a:pt x="60" y="47"/>
                </a:cubicBezTo>
                <a:cubicBezTo>
                  <a:pt x="59" y="47"/>
                  <a:pt x="59" y="47"/>
                  <a:pt x="59" y="47"/>
                </a:cubicBezTo>
                <a:close/>
                <a:moveTo>
                  <a:pt x="60" y="44"/>
                </a:moveTo>
                <a:cubicBezTo>
                  <a:pt x="59" y="45"/>
                  <a:pt x="59" y="45"/>
                  <a:pt x="59" y="45"/>
                </a:cubicBezTo>
                <a:cubicBezTo>
                  <a:pt x="60" y="46"/>
                  <a:pt x="60" y="46"/>
                  <a:pt x="60" y="46"/>
                </a:cubicBezTo>
                <a:cubicBezTo>
                  <a:pt x="61" y="46"/>
                  <a:pt x="61" y="46"/>
                  <a:pt x="61" y="46"/>
                </a:cubicBezTo>
                <a:cubicBezTo>
                  <a:pt x="62" y="46"/>
                  <a:pt x="62" y="46"/>
                  <a:pt x="62" y="46"/>
                </a:cubicBezTo>
                <a:cubicBezTo>
                  <a:pt x="63" y="46"/>
                  <a:pt x="63" y="46"/>
                  <a:pt x="63" y="46"/>
                </a:cubicBezTo>
                <a:cubicBezTo>
                  <a:pt x="61" y="44"/>
                  <a:pt x="61" y="44"/>
                  <a:pt x="61" y="44"/>
                </a:cubicBezTo>
                <a:cubicBezTo>
                  <a:pt x="60" y="44"/>
                  <a:pt x="60" y="44"/>
                  <a:pt x="60" y="44"/>
                </a:cubicBezTo>
                <a:close/>
                <a:moveTo>
                  <a:pt x="47" y="36"/>
                </a:moveTo>
                <a:cubicBezTo>
                  <a:pt x="46" y="37"/>
                  <a:pt x="46" y="37"/>
                  <a:pt x="46" y="37"/>
                </a:cubicBezTo>
                <a:cubicBezTo>
                  <a:pt x="47" y="38"/>
                  <a:pt x="47" y="38"/>
                  <a:pt x="47" y="38"/>
                </a:cubicBezTo>
                <a:cubicBezTo>
                  <a:pt x="49" y="39"/>
                  <a:pt x="49" y="39"/>
                  <a:pt x="49" y="39"/>
                </a:cubicBezTo>
                <a:cubicBezTo>
                  <a:pt x="50" y="39"/>
                  <a:pt x="50" y="39"/>
                  <a:pt x="50" y="39"/>
                </a:cubicBezTo>
                <a:cubicBezTo>
                  <a:pt x="51" y="39"/>
                  <a:pt x="51" y="39"/>
                  <a:pt x="51" y="39"/>
                </a:cubicBezTo>
                <a:cubicBezTo>
                  <a:pt x="50" y="37"/>
                  <a:pt x="50" y="37"/>
                  <a:pt x="50" y="37"/>
                </a:cubicBezTo>
                <a:cubicBezTo>
                  <a:pt x="49" y="36"/>
                  <a:pt x="49" y="36"/>
                  <a:pt x="49" y="36"/>
                </a:cubicBezTo>
                <a:cubicBezTo>
                  <a:pt x="47" y="36"/>
                  <a:pt x="47" y="36"/>
                  <a:pt x="47" y="36"/>
                </a:cubicBezTo>
                <a:close/>
                <a:moveTo>
                  <a:pt x="44" y="34"/>
                </a:moveTo>
                <a:cubicBezTo>
                  <a:pt x="44" y="34"/>
                  <a:pt x="44" y="34"/>
                  <a:pt x="44" y="34"/>
                </a:cubicBezTo>
                <a:cubicBezTo>
                  <a:pt x="46" y="34"/>
                  <a:pt x="46" y="34"/>
                  <a:pt x="46" y="34"/>
                </a:cubicBezTo>
                <a:cubicBezTo>
                  <a:pt x="47" y="35"/>
                  <a:pt x="47" y="35"/>
                  <a:pt x="47" y="35"/>
                </a:cubicBezTo>
                <a:cubicBezTo>
                  <a:pt x="46" y="36"/>
                  <a:pt x="46" y="36"/>
                  <a:pt x="46" y="36"/>
                </a:cubicBezTo>
                <a:cubicBezTo>
                  <a:pt x="45" y="36"/>
                  <a:pt x="45" y="36"/>
                  <a:pt x="45" y="36"/>
                </a:cubicBezTo>
                <a:cubicBezTo>
                  <a:pt x="44" y="34"/>
                  <a:pt x="44" y="34"/>
                  <a:pt x="44" y="34"/>
                </a:cubicBezTo>
                <a:close/>
                <a:moveTo>
                  <a:pt x="39" y="31"/>
                </a:moveTo>
                <a:cubicBezTo>
                  <a:pt x="40" y="32"/>
                  <a:pt x="40" y="32"/>
                  <a:pt x="40" y="32"/>
                </a:cubicBezTo>
                <a:cubicBezTo>
                  <a:pt x="41" y="32"/>
                  <a:pt x="41" y="32"/>
                  <a:pt x="41" y="32"/>
                </a:cubicBezTo>
                <a:cubicBezTo>
                  <a:pt x="42" y="31"/>
                  <a:pt x="42" y="31"/>
                  <a:pt x="42" y="31"/>
                </a:cubicBezTo>
                <a:cubicBezTo>
                  <a:pt x="41" y="30"/>
                  <a:pt x="41" y="30"/>
                  <a:pt x="41" y="30"/>
                </a:cubicBezTo>
                <a:cubicBezTo>
                  <a:pt x="41" y="30"/>
                  <a:pt x="41" y="30"/>
                  <a:pt x="41" y="30"/>
                </a:cubicBezTo>
                <a:cubicBezTo>
                  <a:pt x="39" y="31"/>
                  <a:pt x="39" y="31"/>
                  <a:pt x="39" y="31"/>
                </a:cubicBezTo>
                <a:close/>
                <a:moveTo>
                  <a:pt x="44" y="78"/>
                </a:moveTo>
                <a:cubicBezTo>
                  <a:pt x="45" y="79"/>
                  <a:pt x="45" y="79"/>
                  <a:pt x="45" y="79"/>
                </a:cubicBezTo>
                <a:cubicBezTo>
                  <a:pt x="45" y="78"/>
                  <a:pt x="45" y="78"/>
                  <a:pt x="45" y="78"/>
                </a:cubicBezTo>
                <a:cubicBezTo>
                  <a:pt x="45" y="77"/>
                  <a:pt x="45" y="77"/>
                  <a:pt x="45" y="77"/>
                </a:cubicBezTo>
                <a:cubicBezTo>
                  <a:pt x="44" y="78"/>
                  <a:pt x="44" y="78"/>
                  <a:pt x="44" y="78"/>
                </a:cubicBezTo>
                <a:close/>
                <a:moveTo>
                  <a:pt x="32" y="62"/>
                </a:moveTo>
                <a:cubicBezTo>
                  <a:pt x="31" y="63"/>
                  <a:pt x="31" y="63"/>
                  <a:pt x="31" y="63"/>
                </a:cubicBezTo>
                <a:cubicBezTo>
                  <a:pt x="34" y="65"/>
                  <a:pt x="34" y="65"/>
                  <a:pt x="34" y="65"/>
                </a:cubicBezTo>
                <a:cubicBezTo>
                  <a:pt x="33" y="64"/>
                  <a:pt x="33" y="64"/>
                  <a:pt x="33" y="64"/>
                </a:cubicBezTo>
                <a:cubicBezTo>
                  <a:pt x="34" y="63"/>
                  <a:pt x="34" y="63"/>
                  <a:pt x="34" y="63"/>
                </a:cubicBezTo>
                <a:cubicBezTo>
                  <a:pt x="32" y="62"/>
                  <a:pt x="32" y="62"/>
                  <a:pt x="32" y="62"/>
                </a:cubicBezTo>
                <a:close/>
                <a:moveTo>
                  <a:pt x="30" y="61"/>
                </a:moveTo>
                <a:cubicBezTo>
                  <a:pt x="31" y="61"/>
                  <a:pt x="31" y="61"/>
                  <a:pt x="31" y="61"/>
                </a:cubicBezTo>
                <a:cubicBezTo>
                  <a:pt x="31" y="62"/>
                  <a:pt x="31" y="62"/>
                  <a:pt x="31" y="62"/>
                </a:cubicBezTo>
                <a:cubicBezTo>
                  <a:pt x="30" y="61"/>
                  <a:pt x="30" y="61"/>
                  <a:pt x="30" y="61"/>
                </a:cubicBezTo>
                <a:close/>
                <a:moveTo>
                  <a:pt x="28" y="57"/>
                </a:moveTo>
                <a:cubicBezTo>
                  <a:pt x="27" y="57"/>
                  <a:pt x="27" y="57"/>
                  <a:pt x="27" y="57"/>
                </a:cubicBezTo>
                <a:cubicBezTo>
                  <a:pt x="28" y="58"/>
                  <a:pt x="28" y="58"/>
                  <a:pt x="28" y="58"/>
                </a:cubicBezTo>
                <a:cubicBezTo>
                  <a:pt x="30" y="59"/>
                  <a:pt x="30" y="59"/>
                  <a:pt x="30" y="59"/>
                </a:cubicBezTo>
                <a:cubicBezTo>
                  <a:pt x="28" y="57"/>
                  <a:pt x="28" y="57"/>
                  <a:pt x="28" y="57"/>
                </a:cubicBezTo>
                <a:close/>
                <a:moveTo>
                  <a:pt x="21" y="51"/>
                </a:moveTo>
                <a:cubicBezTo>
                  <a:pt x="21" y="52"/>
                  <a:pt x="21" y="52"/>
                  <a:pt x="21" y="52"/>
                </a:cubicBezTo>
                <a:cubicBezTo>
                  <a:pt x="23" y="52"/>
                  <a:pt x="23" y="52"/>
                  <a:pt x="23" y="52"/>
                </a:cubicBezTo>
                <a:cubicBezTo>
                  <a:pt x="24" y="55"/>
                  <a:pt x="24" y="55"/>
                  <a:pt x="24" y="55"/>
                </a:cubicBezTo>
                <a:cubicBezTo>
                  <a:pt x="26" y="55"/>
                  <a:pt x="26" y="55"/>
                  <a:pt x="26" y="55"/>
                </a:cubicBezTo>
                <a:cubicBezTo>
                  <a:pt x="26" y="53"/>
                  <a:pt x="26" y="53"/>
                  <a:pt x="26" y="53"/>
                </a:cubicBezTo>
                <a:cubicBezTo>
                  <a:pt x="24" y="50"/>
                  <a:pt x="24" y="50"/>
                  <a:pt x="24" y="50"/>
                </a:cubicBezTo>
                <a:cubicBezTo>
                  <a:pt x="23" y="50"/>
                  <a:pt x="23" y="50"/>
                  <a:pt x="23" y="50"/>
                </a:cubicBezTo>
                <a:cubicBezTo>
                  <a:pt x="21" y="51"/>
                  <a:pt x="21" y="51"/>
                  <a:pt x="21" y="51"/>
                </a:cubicBezTo>
                <a:close/>
                <a:moveTo>
                  <a:pt x="20" y="46"/>
                </a:moveTo>
                <a:cubicBezTo>
                  <a:pt x="20" y="48"/>
                  <a:pt x="20" y="48"/>
                  <a:pt x="20" y="48"/>
                </a:cubicBezTo>
                <a:cubicBezTo>
                  <a:pt x="20" y="48"/>
                  <a:pt x="20" y="48"/>
                  <a:pt x="20" y="48"/>
                </a:cubicBezTo>
                <a:cubicBezTo>
                  <a:pt x="21" y="48"/>
                  <a:pt x="21" y="48"/>
                  <a:pt x="21" y="48"/>
                </a:cubicBezTo>
                <a:cubicBezTo>
                  <a:pt x="21" y="47"/>
                  <a:pt x="21" y="47"/>
                  <a:pt x="21" y="47"/>
                </a:cubicBezTo>
                <a:cubicBezTo>
                  <a:pt x="20" y="46"/>
                  <a:pt x="20" y="46"/>
                  <a:pt x="20" y="46"/>
                </a:cubicBezTo>
                <a:close/>
                <a:moveTo>
                  <a:pt x="21" y="43"/>
                </a:moveTo>
                <a:cubicBezTo>
                  <a:pt x="23" y="43"/>
                  <a:pt x="23" y="43"/>
                  <a:pt x="23" y="43"/>
                </a:cubicBezTo>
                <a:cubicBezTo>
                  <a:pt x="23" y="43"/>
                  <a:pt x="23" y="43"/>
                  <a:pt x="23" y="43"/>
                </a:cubicBezTo>
                <a:cubicBezTo>
                  <a:pt x="23" y="42"/>
                  <a:pt x="23" y="42"/>
                  <a:pt x="23" y="42"/>
                </a:cubicBezTo>
                <a:cubicBezTo>
                  <a:pt x="22" y="42"/>
                  <a:pt x="22" y="42"/>
                  <a:pt x="22" y="42"/>
                </a:cubicBezTo>
                <a:cubicBezTo>
                  <a:pt x="21" y="43"/>
                  <a:pt x="21" y="43"/>
                  <a:pt x="21" y="43"/>
                </a:cubicBezTo>
                <a:close/>
                <a:moveTo>
                  <a:pt x="12" y="34"/>
                </a:moveTo>
                <a:cubicBezTo>
                  <a:pt x="13" y="34"/>
                  <a:pt x="13" y="34"/>
                  <a:pt x="13" y="34"/>
                </a:cubicBezTo>
                <a:cubicBezTo>
                  <a:pt x="14" y="34"/>
                  <a:pt x="14" y="34"/>
                  <a:pt x="14" y="34"/>
                </a:cubicBezTo>
                <a:cubicBezTo>
                  <a:pt x="15" y="34"/>
                  <a:pt x="15" y="34"/>
                  <a:pt x="15" y="34"/>
                </a:cubicBezTo>
                <a:cubicBezTo>
                  <a:pt x="16" y="36"/>
                  <a:pt x="16" y="36"/>
                  <a:pt x="16" y="36"/>
                </a:cubicBezTo>
                <a:cubicBezTo>
                  <a:pt x="17" y="37"/>
                  <a:pt x="17" y="37"/>
                  <a:pt x="17" y="37"/>
                </a:cubicBezTo>
                <a:cubicBezTo>
                  <a:pt x="17" y="38"/>
                  <a:pt x="17" y="38"/>
                  <a:pt x="17" y="38"/>
                </a:cubicBezTo>
                <a:cubicBezTo>
                  <a:pt x="17" y="39"/>
                  <a:pt x="17" y="39"/>
                  <a:pt x="17" y="39"/>
                </a:cubicBezTo>
                <a:cubicBezTo>
                  <a:pt x="16" y="40"/>
                  <a:pt x="16" y="40"/>
                  <a:pt x="16" y="40"/>
                </a:cubicBezTo>
                <a:cubicBezTo>
                  <a:pt x="15" y="37"/>
                  <a:pt x="15" y="37"/>
                  <a:pt x="15" y="37"/>
                </a:cubicBezTo>
                <a:cubicBezTo>
                  <a:pt x="14" y="37"/>
                  <a:pt x="14" y="37"/>
                  <a:pt x="14" y="37"/>
                </a:cubicBezTo>
                <a:cubicBezTo>
                  <a:pt x="14" y="36"/>
                  <a:pt x="14" y="36"/>
                  <a:pt x="14" y="36"/>
                </a:cubicBezTo>
                <a:cubicBezTo>
                  <a:pt x="12" y="34"/>
                  <a:pt x="12" y="34"/>
                  <a:pt x="12" y="34"/>
                </a:cubicBezTo>
                <a:close/>
                <a:moveTo>
                  <a:pt x="12" y="30"/>
                </a:moveTo>
                <a:cubicBezTo>
                  <a:pt x="14" y="30"/>
                  <a:pt x="14" y="30"/>
                  <a:pt x="14" y="30"/>
                </a:cubicBezTo>
                <a:cubicBezTo>
                  <a:pt x="13" y="29"/>
                  <a:pt x="13" y="29"/>
                  <a:pt x="13" y="29"/>
                </a:cubicBezTo>
                <a:cubicBezTo>
                  <a:pt x="12" y="30"/>
                  <a:pt x="12" y="30"/>
                  <a:pt x="12" y="30"/>
                </a:cubicBezTo>
                <a:close/>
                <a:moveTo>
                  <a:pt x="4" y="24"/>
                </a:moveTo>
                <a:cubicBezTo>
                  <a:pt x="3" y="25"/>
                  <a:pt x="3" y="25"/>
                  <a:pt x="3" y="25"/>
                </a:cubicBezTo>
                <a:cubicBezTo>
                  <a:pt x="3" y="25"/>
                  <a:pt x="3" y="25"/>
                  <a:pt x="3" y="25"/>
                </a:cubicBezTo>
                <a:cubicBezTo>
                  <a:pt x="4" y="26"/>
                  <a:pt x="4" y="26"/>
                  <a:pt x="4" y="26"/>
                </a:cubicBezTo>
                <a:cubicBezTo>
                  <a:pt x="5" y="26"/>
                  <a:pt x="5" y="26"/>
                  <a:pt x="5" y="26"/>
                </a:cubicBezTo>
                <a:cubicBezTo>
                  <a:pt x="5" y="25"/>
                  <a:pt x="5" y="25"/>
                  <a:pt x="5" y="25"/>
                </a:cubicBezTo>
                <a:cubicBezTo>
                  <a:pt x="4" y="24"/>
                  <a:pt x="4" y="24"/>
                  <a:pt x="4" y="24"/>
                </a:cubicBezTo>
                <a:close/>
                <a:moveTo>
                  <a:pt x="0" y="6"/>
                </a:moveTo>
                <a:cubicBezTo>
                  <a:pt x="0" y="7"/>
                  <a:pt x="0" y="7"/>
                  <a:pt x="0" y="7"/>
                </a:cubicBezTo>
                <a:cubicBezTo>
                  <a:pt x="0" y="9"/>
                  <a:pt x="0" y="9"/>
                  <a:pt x="0" y="9"/>
                </a:cubicBezTo>
                <a:cubicBezTo>
                  <a:pt x="2" y="12"/>
                  <a:pt x="2" y="12"/>
                  <a:pt x="2" y="12"/>
                </a:cubicBezTo>
                <a:cubicBezTo>
                  <a:pt x="3" y="13"/>
                  <a:pt x="3" y="13"/>
                  <a:pt x="3" y="13"/>
                </a:cubicBezTo>
                <a:cubicBezTo>
                  <a:pt x="5" y="16"/>
                  <a:pt x="5" y="16"/>
                  <a:pt x="5" y="16"/>
                </a:cubicBezTo>
                <a:cubicBezTo>
                  <a:pt x="6" y="16"/>
                  <a:pt x="6" y="16"/>
                  <a:pt x="6" y="16"/>
                </a:cubicBezTo>
                <a:cubicBezTo>
                  <a:pt x="8" y="18"/>
                  <a:pt x="8" y="18"/>
                  <a:pt x="8" y="18"/>
                </a:cubicBezTo>
                <a:cubicBezTo>
                  <a:pt x="9" y="18"/>
                  <a:pt x="9" y="18"/>
                  <a:pt x="9" y="18"/>
                </a:cubicBezTo>
                <a:cubicBezTo>
                  <a:pt x="10" y="18"/>
                  <a:pt x="10" y="18"/>
                  <a:pt x="10" y="18"/>
                </a:cubicBezTo>
                <a:cubicBezTo>
                  <a:pt x="12" y="20"/>
                  <a:pt x="12" y="20"/>
                  <a:pt x="12" y="20"/>
                </a:cubicBezTo>
                <a:cubicBezTo>
                  <a:pt x="14" y="23"/>
                  <a:pt x="14" y="23"/>
                  <a:pt x="14" y="23"/>
                </a:cubicBezTo>
                <a:cubicBezTo>
                  <a:pt x="16" y="25"/>
                  <a:pt x="16" y="25"/>
                  <a:pt x="16" y="25"/>
                </a:cubicBezTo>
                <a:cubicBezTo>
                  <a:pt x="17" y="25"/>
                  <a:pt x="17" y="25"/>
                  <a:pt x="17" y="25"/>
                </a:cubicBezTo>
                <a:cubicBezTo>
                  <a:pt x="17" y="27"/>
                  <a:pt x="17" y="27"/>
                  <a:pt x="17" y="27"/>
                </a:cubicBezTo>
                <a:cubicBezTo>
                  <a:pt x="17" y="27"/>
                  <a:pt x="17" y="27"/>
                  <a:pt x="17" y="27"/>
                </a:cubicBezTo>
                <a:cubicBezTo>
                  <a:pt x="18" y="29"/>
                  <a:pt x="18" y="29"/>
                  <a:pt x="18" y="29"/>
                </a:cubicBezTo>
                <a:cubicBezTo>
                  <a:pt x="18" y="30"/>
                  <a:pt x="18" y="30"/>
                  <a:pt x="18" y="30"/>
                </a:cubicBezTo>
                <a:cubicBezTo>
                  <a:pt x="20" y="30"/>
                  <a:pt x="20" y="30"/>
                  <a:pt x="20" y="30"/>
                </a:cubicBezTo>
                <a:cubicBezTo>
                  <a:pt x="21" y="32"/>
                  <a:pt x="21" y="32"/>
                  <a:pt x="21" y="32"/>
                </a:cubicBezTo>
                <a:cubicBezTo>
                  <a:pt x="22" y="32"/>
                  <a:pt x="22" y="32"/>
                  <a:pt x="22" y="32"/>
                </a:cubicBezTo>
                <a:cubicBezTo>
                  <a:pt x="23" y="32"/>
                  <a:pt x="23" y="32"/>
                  <a:pt x="23" y="32"/>
                </a:cubicBezTo>
                <a:cubicBezTo>
                  <a:pt x="23" y="33"/>
                  <a:pt x="23" y="33"/>
                  <a:pt x="23" y="33"/>
                </a:cubicBezTo>
                <a:cubicBezTo>
                  <a:pt x="23" y="34"/>
                  <a:pt x="23" y="34"/>
                  <a:pt x="23" y="34"/>
                </a:cubicBezTo>
                <a:cubicBezTo>
                  <a:pt x="23" y="35"/>
                  <a:pt x="23" y="35"/>
                  <a:pt x="23" y="35"/>
                </a:cubicBezTo>
                <a:cubicBezTo>
                  <a:pt x="24" y="36"/>
                  <a:pt x="24" y="36"/>
                  <a:pt x="24" y="36"/>
                </a:cubicBezTo>
                <a:cubicBezTo>
                  <a:pt x="24" y="37"/>
                  <a:pt x="24" y="37"/>
                  <a:pt x="24" y="37"/>
                </a:cubicBezTo>
                <a:cubicBezTo>
                  <a:pt x="25" y="40"/>
                  <a:pt x="25" y="40"/>
                  <a:pt x="25" y="40"/>
                </a:cubicBezTo>
                <a:cubicBezTo>
                  <a:pt x="26" y="42"/>
                  <a:pt x="26" y="42"/>
                  <a:pt x="26" y="42"/>
                </a:cubicBezTo>
                <a:cubicBezTo>
                  <a:pt x="27" y="42"/>
                  <a:pt x="27" y="42"/>
                  <a:pt x="27" y="42"/>
                </a:cubicBezTo>
                <a:cubicBezTo>
                  <a:pt x="29" y="44"/>
                  <a:pt x="29" y="44"/>
                  <a:pt x="29" y="44"/>
                </a:cubicBezTo>
                <a:cubicBezTo>
                  <a:pt x="29" y="45"/>
                  <a:pt x="29" y="45"/>
                  <a:pt x="29" y="45"/>
                </a:cubicBezTo>
                <a:cubicBezTo>
                  <a:pt x="31" y="47"/>
                  <a:pt x="31" y="47"/>
                  <a:pt x="31" y="47"/>
                </a:cubicBezTo>
                <a:cubicBezTo>
                  <a:pt x="32" y="48"/>
                  <a:pt x="32" y="48"/>
                  <a:pt x="32" y="48"/>
                </a:cubicBezTo>
                <a:cubicBezTo>
                  <a:pt x="33" y="52"/>
                  <a:pt x="33" y="52"/>
                  <a:pt x="33" y="52"/>
                </a:cubicBezTo>
                <a:cubicBezTo>
                  <a:pt x="35" y="56"/>
                  <a:pt x="35" y="56"/>
                  <a:pt x="35" y="56"/>
                </a:cubicBezTo>
                <a:cubicBezTo>
                  <a:pt x="35" y="58"/>
                  <a:pt x="35" y="58"/>
                  <a:pt x="35" y="58"/>
                </a:cubicBezTo>
                <a:cubicBezTo>
                  <a:pt x="35" y="59"/>
                  <a:pt x="35" y="59"/>
                  <a:pt x="35" y="59"/>
                </a:cubicBezTo>
                <a:cubicBezTo>
                  <a:pt x="38" y="61"/>
                  <a:pt x="38" y="61"/>
                  <a:pt x="38" y="61"/>
                </a:cubicBezTo>
                <a:cubicBezTo>
                  <a:pt x="40" y="64"/>
                  <a:pt x="40" y="64"/>
                  <a:pt x="40" y="64"/>
                </a:cubicBezTo>
                <a:cubicBezTo>
                  <a:pt x="41" y="65"/>
                  <a:pt x="41" y="65"/>
                  <a:pt x="41" y="65"/>
                </a:cubicBezTo>
                <a:cubicBezTo>
                  <a:pt x="42" y="66"/>
                  <a:pt x="42" y="66"/>
                  <a:pt x="42" y="66"/>
                </a:cubicBezTo>
                <a:cubicBezTo>
                  <a:pt x="43" y="66"/>
                  <a:pt x="43" y="66"/>
                  <a:pt x="43" y="66"/>
                </a:cubicBezTo>
                <a:cubicBezTo>
                  <a:pt x="45" y="67"/>
                  <a:pt x="45" y="67"/>
                  <a:pt x="45" y="67"/>
                </a:cubicBezTo>
                <a:cubicBezTo>
                  <a:pt x="45" y="69"/>
                  <a:pt x="45" y="69"/>
                  <a:pt x="45" y="69"/>
                </a:cubicBezTo>
                <a:cubicBezTo>
                  <a:pt x="46" y="70"/>
                  <a:pt x="46" y="70"/>
                  <a:pt x="46" y="70"/>
                </a:cubicBezTo>
                <a:cubicBezTo>
                  <a:pt x="48" y="72"/>
                  <a:pt x="48" y="72"/>
                  <a:pt x="48" y="72"/>
                </a:cubicBezTo>
                <a:cubicBezTo>
                  <a:pt x="51" y="74"/>
                  <a:pt x="51" y="74"/>
                  <a:pt x="51" y="74"/>
                </a:cubicBezTo>
                <a:cubicBezTo>
                  <a:pt x="51" y="75"/>
                  <a:pt x="51" y="75"/>
                  <a:pt x="51" y="75"/>
                </a:cubicBezTo>
                <a:cubicBezTo>
                  <a:pt x="53" y="75"/>
                  <a:pt x="53" y="75"/>
                  <a:pt x="53" y="75"/>
                </a:cubicBezTo>
                <a:cubicBezTo>
                  <a:pt x="57" y="79"/>
                  <a:pt x="57" y="79"/>
                  <a:pt x="57" y="79"/>
                </a:cubicBezTo>
                <a:cubicBezTo>
                  <a:pt x="57" y="80"/>
                  <a:pt x="57" y="80"/>
                  <a:pt x="57" y="80"/>
                </a:cubicBezTo>
                <a:cubicBezTo>
                  <a:pt x="58" y="80"/>
                  <a:pt x="58" y="80"/>
                  <a:pt x="58" y="80"/>
                </a:cubicBezTo>
                <a:cubicBezTo>
                  <a:pt x="59" y="82"/>
                  <a:pt x="59" y="82"/>
                  <a:pt x="59" y="82"/>
                </a:cubicBezTo>
                <a:cubicBezTo>
                  <a:pt x="59" y="81"/>
                  <a:pt x="59" y="81"/>
                  <a:pt x="59" y="81"/>
                </a:cubicBezTo>
                <a:cubicBezTo>
                  <a:pt x="59" y="80"/>
                  <a:pt x="59" y="80"/>
                  <a:pt x="59" y="80"/>
                </a:cubicBezTo>
                <a:cubicBezTo>
                  <a:pt x="59" y="79"/>
                  <a:pt x="59" y="79"/>
                  <a:pt x="59" y="79"/>
                </a:cubicBezTo>
                <a:cubicBezTo>
                  <a:pt x="59" y="79"/>
                  <a:pt x="59" y="79"/>
                  <a:pt x="59" y="79"/>
                </a:cubicBezTo>
                <a:cubicBezTo>
                  <a:pt x="60" y="79"/>
                  <a:pt x="60" y="79"/>
                  <a:pt x="60" y="79"/>
                </a:cubicBezTo>
                <a:cubicBezTo>
                  <a:pt x="62" y="81"/>
                  <a:pt x="62" y="81"/>
                  <a:pt x="62" y="81"/>
                </a:cubicBezTo>
                <a:cubicBezTo>
                  <a:pt x="63" y="81"/>
                  <a:pt x="63" y="81"/>
                  <a:pt x="63" y="81"/>
                </a:cubicBezTo>
                <a:cubicBezTo>
                  <a:pt x="63" y="79"/>
                  <a:pt x="63" y="79"/>
                  <a:pt x="63" y="79"/>
                </a:cubicBezTo>
                <a:cubicBezTo>
                  <a:pt x="63" y="78"/>
                  <a:pt x="63" y="78"/>
                  <a:pt x="63" y="78"/>
                </a:cubicBezTo>
                <a:cubicBezTo>
                  <a:pt x="64" y="79"/>
                  <a:pt x="64" y="79"/>
                  <a:pt x="64" y="79"/>
                </a:cubicBezTo>
                <a:cubicBezTo>
                  <a:pt x="66" y="80"/>
                  <a:pt x="66" y="80"/>
                  <a:pt x="66" y="80"/>
                </a:cubicBezTo>
                <a:cubicBezTo>
                  <a:pt x="66" y="81"/>
                  <a:pt x="66" y="81"/>
                  <a:pt x="66" y="81"/>
                </a:cubicBezTo>
                <a:cubicBezTo>
                  <a:pt x="67" y="80"/>
                  <a:pt x="67" y="80"/>
                  <a:pt x="67" y="80"/>
                </a:cubicBezTo>
                <a:cubicBezTo>
                  <a:pt x="67" y="77"/>
                  <a:pt x="67" y="77"/>
                  <a:pt x="67" y="77"/>
                </a:cubicBezTo>
                <a:cubicBezTo>
                  <a:pt x="68" y="74"/>
                  <a:pt x="68" y="74"/>
                  <a:pt x="68" y="74"/>
                </a:cubicBezTo>
                <a:cubicBezTo>
                  <a:pt x="67" y="71"/>
                  <a:pt x="67" y="71"/>
                  <a:pt x="67" y="71"/>
                </a:cubicBezTo>
                <a:cubicBezTo>
                  <a:pt x="68" y="69"/>
                  <a:pt x="68" y="69"/>
                  <a:pt x="68" y="69"/>
                </a:cubicBezTo>
                <a:cubicBezTo>
                  <a:pt x="67" y="68"/>
                  <a:pt x="67" y="68"/>
                  <a:pt x="67" y="68"/>
                </a:cubicBezTo>
                <a:cubicBezTo>
                  <a:pt x="68" y="66"/>
                  <a:pt x="68" y="66"/>
                  <a:pt x="68" y="66"/>
                </a:cubicBezTo>
                <a:cubicBezTo>
                  <a:pt x="69" y="65"/>
                  <a:pt x="69" y="65"/>
                  <a:pt x="69" y="65"/>
                </a:cubicBezTo>
                <a:cubicBezTo>
                  <a:pt x="69" y="64"/>
                  <a:pt x="69" y="64"/>
                  <a:pt x="69" y="64"/>
                </a:cubicBezTo>
                <a:cubicBezTo>
                  <a:pt x="69" y="63"/>
                  <a:pt x="69" y="63"/>
                  <a:pt x="69" y="63"/>
                </a:cubicBezTo>
                <a:cubicBezTo>
                  <a:pt x="68" y="63"/>
                  <a:pt x="68" y="63"/>
                  <a:pt x="68" y="63"/>
                </a:cubicBezTo>
                <a:cubicBezTo>
                  <a:pt x="67" y="62"/>
                  <a:pt x="67" y="62"/>
                  <a:pt x="67" y="62"/>
                </a:cubicBezTo>
                <a:cubicBezTo>
                  <a:pt x="66" y="60"/>
                  <a:pt x="66" y="60"/>
                  <a:pt x="66" y="60"/>
                </a:cubicBezTo>
                <a:cubicBezTo>
                  <a:pt x="66" y="60"/>
                  <a:pt x="66" y="60"/>
                  <a:pt x="66" y="60"/>
                </a:cubicBezTo>
                <a:cubicBezTo>
                  <a:pt x="65" y="59"/>
                  <a:pt x="65" y="59"/>
                  <a:pt x="65" y="59"/>
                </a:cubicBezTo>
                <a:cubicBezTo>
                  <a:pt x="64" y="59"/>
                  <a:pt x="64" y="59"/>
                  <a:pt x="64" y="59"/>
                </a:cubicBezTo>
                <a:cubicBezTo>
                  <a:pt x="62" y="59"/>
                  <a:pt x="62" y="59"/>
                  <a:pt x="62" y="59"/>
                </a:cubicBezTo>
                <a:cubicBezTo>
                  <a:pt x="61" y="59"/>
                  <a:pt x="61" y="59"/>
                  <a:pt x="61" y="59"/>
                </a:cubicBezTo>
                <a:cubicBezTo>
                  <a:pt x="61" y="57"/>
                  <a:pt x="61" y="57"/>
                  <a:pt x="61" y="57"/>
                </a:cubicBezTo>
                <a:cubicBezTo>
                  <a:pt x="60" y="56"/>
                  <a:pt x="60" y="56"/>
                  <a:pt x="60" y="56"/>
                </a:cubicBezTo>
                <a:cubicBezTo>
                  <a:pt x="59" y="56"/>
                  <a:pt x="59" y="56"/>
                  <a:pt x="59" y="56"/>
                </a:cubicBezTo>
                <a:cubicBezTo>
                  <a:pt x="60" y="55"/>
                  <a:pt x="60" y="55"/>
                  <a:pt x="60" y="55"/>
                </a:cubicBezTo>
                <a:cubicBezTo>
                  <a:pt x="59" y="53"/>
                  <a:pt x="59" y="53"/>
                  <a:pt x="59" y="53"/>
                </a:cubicBezTo>
                <a:cubicBezTo>
                  <a:pt x="59" y="50"/>
                  <a:pt x="59" y="50"/>
                  <a:pt x="59" y="50"/>
                </a:cubicBezTo>
                <a:cubicBezTo>
                  <a:pt x="58" y="51"/>
                  <a:pt x="58" y="51"/>
                  <a:pt x="58" y="51"/>
                </a:cubicBezTo>
                <a:cubicBezTo>
                  <a:pt x="57" y="50"/>
                  <a:pt x="57" y="50"/>
                  <a:pt x="57" y="50"/>
                </a:cubicBezTo>
                <a:cubicBezTo>
                  <a:pt x="54" y="50"/>
                  <a:pt x="54" y="50"/>
                  <a:pt x="54" y="50"/>
                </a:cubicBezTo>
                <a:cubicBezTo>
                  <a:pt x="52" y="49"/>
                  <a:pt x="52" y="49"/>
                  <a:pt x="52" y="49"/>
                </a:cubicBezTo>
                <a:cubicBezTo>
                  <a:pt x="52" y="48"/>
                  <a:pt x="52" y="48"/>
                  <a:pt x="52" y="48"/>
                </a:cubicBezTo>
                <a:cubicBezTo>
                  <a:pt x="54" y="47"/>
                  <a:pt x="54" y="47"/>
                  <a:pt x="54" y="47"/>
                </a:cubicBezTo>
                <a:cubicBezTo>
                  <a:pt x="55" y="46"/>
                  <a:pt x="55" y="46"/>
                  <a:pt x="55" y="46"/>
                </a:cubicBezTo>
                <a:cubicBezTo>
                  <a:pt x="54" y="46"/>
                  <a:pt x="54" y="46"/>
                  <a:pt x="54" y="46"/>
                </a:cubicBezTo>
                <a:cubicBezTo>
                  <a:pt x="53" y="46"/>
                  <a:pt x="53" y="46"/>
                  <a:pt x="53" y="46"/>
                </a:cubicBezTo>
                <a:cubicBezTo>
                  <a:pt x="52" y="46"/>
                  <a:pt x="52" y="46"/>
                  <a:pt x="52" y="46"/>
                </a:cubicBezTo>
                <a:cubicBezTo>
                  <a:pt x="51" y="46"/>
                  <a:pt x="51" y="46"/>
                  <a:pt x="51" y="46"/>
                </a:cubicBezTo>
                <a:cubicBezTo>
                  <a:pt x="52" y="45"/>
                  <a:pt x="52" y="45"/>
                  <a:pt x="52" y="45"/>
                </a:cubicBezTo>
                <a:cubicBezTo>
                  <a:pt x="53" y="44"/>
                  <a:pt x="53" y="44"/>
                  <a:pt x="53" y="44"/>
                </a:cubicBezTo>
                <a:cubicBezTo>
                  <a:pt x="55" y="44"/>
                  <a:pt x="55" y="44"/>
                  <a:pt x="55" y="44"/>
                </a:cubicBezTo>
                <a:cubicBezTo>
                  <a:pt x="55" y="43"/>
                  <a:pt x="55" y="43"/>
                  <a:pt x="55" y="43"/>
                </a:cubicBezTo>
                <a:cubicBezTo>
                  <a:pt x="53" y="41"/>
                  <a:pt x="53" y="41"/>
                  <a:pt x="53" y="41"/>
                </a:cubicBezTo>
                <a:cubicBezTo>
                  <a:pt x="52" y="41"/>
                  <a:pt x="52" y="41"/>
                  <a:pt x="52" y="41"/>
                </a:cubicBezTo>
                <a:cubicBezTo>
                  <a:pt x="50" y="41"/>
                  <a:pt x="50" y="41"/>
                  <a:pt x="50" y="41"/>
                </a:cubicBezTo>
                <a:cubicBezTo>
                  <a:pt x="49" y="42"/>
                  <a:pt x="49" y="42"/>
                  <a:pt x="49" y="42"/>
                </a:cubicBezTo>
                <a:cubicBezTo>
                  <a:pt x="47" y="42"/>
                  <a:pt x="47" y="42"/>
                  <a:pt x="47" y="42"/>
                </a:cubicBezTo>
                <a:cubicBezTo>
                  <a:pt x="48" y="42"/>
                  <a:pt x="48" y="42"/>
                  <a:pt x="48" y="42"/>
                </a:cubicBezTo>
                <a:cubicBezTo>
                  <a:pt x="49" y="42"/>
                  <a:pt x="49" y="42"/>
                  <a:pt x="49" y="42"/>
                </a:cubicBezTo>
                <a:cubicBezTo>
                  <a:pt x="49" y="41"/>
                  <a:pt x="49" y="41"/>
                  <a:pt x="49" y="41"/>
                </a:cubicBezTo>
                <a:cubicBezTo>
                  <a:pt x="50" y="41"/>
                  <a:pt x="50" y="41"/>
                  <a:pt x="50" y="41"/>
                </a:cubicBezTo>
                <a:cubicBezTo>
                  <a:pt x="50" y="40"/>
                  <a:pt x="50" y="40"/>
                  <a:pt x="50" y="40"/>
                </a:cubicBezTo>
                <a:cubicBezTo>
                  <a:pt x="48" y="39"/>
                  <a:pt x="48" y="39"/>
                  <a:pt x="48" y="39"/>
                </a:cubicBezTo>
                <a:cubicBezTo>
                  <a:pt x="46" y="39"/>
                  <a:pt x="46" y="39"/>
                  <a:pt x="46" y="39"/>
                </a:cubicBezTo>
                <a:cubicBezTo>
                  <a:pt x="44" y="38"/>
                  <a:pt x="44" y="38"/>
                  <a:pt x="44" y="38"/>
                </a:cubicBezTo>
                <a:cubicBezTo>
                  <a:pt x="44" y="37"/>
                  <a:pt x="44" y="37"/>
                  <a:pt x="44" y="37"/>
                </a:cubicBezTo>
                <a:cubicBezTo>
                  <a:pt x="44" y="35"/>
                  <a:pt x="44" y="35"/>
                  <a:pt x="44" y="35"/>
                </a:cubicBezTo>
                <a:cubicBezTo>
                  <a:pt x="42" y="33"/>
                  <a:pt x="42" y="33"/>
                  <a:pt x="42" y="33"/>
                </a:cubicBezTo>
                <a:cubicBezTo>
                  <a:pt x="41" y="33"/>
                  <a:pt x="41" y="33"/>
                  <a:pt x="41" y="33"/>
                </a:cubicBezTo>
                <a:cubicBezTo>
                  <a:pt x="40" y="33"/>
                  <a:pt x="40" y="33"/>
                  <a:pt x="40" y="33"/>
                </a:cubicBezTo>
                <a:cubicBezTo>
                  <a:pt x="39" y="32"/>
                  <a:pt x="39" y="32"/>
                  <a:pt x="39" y="32"/>
                </a:cubicBezTo>
                <a:cubicBezTo>
                  <a:pt x="39" y="30"/>
                  <a:pt x="39" y="30"/>
                  <a:pt x="39" y="30"/>
                </a:cubicBezTo>
                <a:cubicBezTo>
                  <a:pt x="37" y="28"/>
                  <a:pt x="37" y="28"/>
                  <a:pt x="37" y="28"/>
                </a:cubicBezTo>
                <a:cubicBezTo>
                  <a:pt x="35" y="27"/>
                  <a:pt x="35" y="27"/>
                  <a:pt x="35" y="27"/>
                </a:cubicBezTo>
                <a:cubicBezTo>
                  <a:pt x="33" y="27"/>
                  <a:pt x="33" y="27"/>
                  <a:pt x="33" y="27"/>
                </a:cubicBezTo>
                <a:cubicBezTo>
                  <a:pt x="33" y="27"/>
                  <a:pt x="33" y="27"/>
                  <a:pt x="33" y="27"/>
                </a:cubicBezTo>
                <a:cubicBezTo>
                  <a:pt x="32" y="27"/>
                  <a:pt x="32" y="27"/>
                  <a:pt x="32" y="27"/>
                </a:cubicBezTo>
                <a:cubicBezTo>
                  <a:pt x="32" y="25"/>
                  <a:pt x="32" y="25"/>
                  <a:pt x="32" y="25"/>
                </a:cubicBezTo>
                <a:cubicBezTo>
                  <a:pt x="31" y="26"/>
                  <a:pt x="31" y="26"/>
                  <a:pt x="31" y="26"/>
                </a:cubicBezTo>
                <a:cubicBezTo>
                  <a:pt x="30" y="25"/>
                  <a:pt x="30" y="25"/>
                  <a:pt x="30" y="25"/>
                </a:cubicBezTo>
                <a:cubicBezTo>
                  <a:pt x="30" y="23"/>
                  <a:pt x="30" y="23"/>
                  <a:pt x="30" y="23"/>
                </a:cubicBezTo>
                <a:cubicBezTo>
                  <a:pt x="29" y="22"/>
                  <a:pt x="29" y="22"/>
                  <a:pt x="29" y="22"/>
                </a:cubicBezTo>
                <a:cubicBezTo>
                  <a:pt x="28" y="21"/>
                  <a:pt x="28" y="21"/>
                  <a:pt x="28" y="21"/>
                </a:cubicBezTo>
                <a:cubicBezTo>
                  <a:pt x="27" y="21"/>
                  <a:pt x="27" y="21"/>
                  <a:pt x="27" y="21"/>
                </a:cubicBezTo>
                <a:cubicBezTo>
                  <a:pt x="23" y="18"/>
                  <a:pt x="23" y="18"/>
                  <a:pt x="23" y="18"/>
                </a:cubicBezTo>
                <a:cubicBezTo>
                  <a:pt x="22" y="18"/>
                  <a:pt x="22" y="18"/>
                  <a:pt x="22" y="18"/>
                </a:cubicBezTo>
                <a:cubicBezTo>
                  <a:pt x="21" y="16"/>
                  <a:pt x="21" y="16"/>
                  <a:pt x="21" y="16"/>
                </a:cubicBezTo>
                <a:cubicBezTo>
                  <a:pt x="19" y="16"/>
                  <a:pt x="19" y="16"/>
                  <a:pt x="19" y="16"/>
                </a:cubicBezTo>
                <a:cubicBezTo>
                  <a:pt x="19" y="15"/>
                  <a:pt x="19" y="15"/>
                  <a:pt x="19" y="15"/>
                </a:cubicBezTo>
                <a:cubicBezTo>
                  <a:pt x="18" y="13"/>
                  <a:pt x="18" y="13"/>
                  <a:pt x="18" y="13"/>
                </a:cubicBezTo>
                <a:cubicBezTo>
                  <a:pt x="17" y="12"/>
                  <a:pt x="17" y="12"/>
                  <a:pt x="17" y="12"/>
                </a:cubicBezTo>
                <a:cubicBezTo>
                  <a:pt x="16" y="11"/>
                  <a:pt x="16" y="11"/>
                  <a:pt x="16" y="11"/>
                </a:cubicBezTo>
                <a:cubicBezTo>
                  <a:pt x="16" y="11"/>
                  <a:pt x="16" y="11"/>
                  <a:pt x="16" y="11"/>
                </a:cubicBezTo>
                <a:cubicBezTo>
                  <a:pt x="15" y="9"/>
                  <a:pt x="15" y="9"/>
                  <a:pt x="15" y="9"/>
                </a:cubicBezTo>
                <a:cubicBezTo>
                  <a:pt x="14" y="9"/>
                  <a:pt x="14" y="9"/>
                  <a:pt x="14" y="9"/>
                </a:cubicBezTo>
                <a:cubicBezTo>
                  <a:pt x="12" y="9"/>
                  <a:pt x="12" y="9"/>
                  <a:pt x="12" y="9"/>
                </a:cubicBezTo>
                <a:cubicBezTo>
                  <a:pt x="11" y="9"/>
                  <a:pt x="11" y="9"/>
                  <a:pt x="11" y="9"/>
                </a:cubicBezTo>
                <a:cubicBezTo>
                  <a:pt x="11" y="8"/>
                  <a:pt x="11" y="8"/>
                  <a:pt x="11" y="8"/>
                </a:cubicBezTo>
                <a:cubicBezTo>
                  <a:pt x="9" y="8"/>
                  <a:pt x="9" y="8"/>
                  <a:pt x="9" y="8"/>
                </a:cubicBezTo>
                <a:cubicBezTo>
                  <a:pt x="7" y="9"/>
                  <a:pt x="7" y="9"/>
                  <a:pt x="7" y="9"/>
                </a:cubicBezTo>
                <a:cubicBezTo>
                  <a:pt x="6" y="8"/>
                  <a:pt x="6" y="8"/>
                  <a:pt x="6" y="8"/>
                </a:cubicBezTo>
                <a:cubicBezTo>
                  <a:pt x="4" y="6"/>
                  <a:pt x="4" y="6"/>
                  <a:pt x="4" y="6"/>
                </a:cubicBezTo>
                <a:cubicBezTo>
                  <a:pt x="1" y="6"/>
                  <a:pt x="1" y="6"/>
                  <a:pt x="1" y="6"/>
                </a:cubicBezTo>
                <a:lnTo>
                  <a:pt x="0" y="6"/>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8" name="Freeform 26">
            <a:extLst>
              <a:ext uri="{FF2B5EF4-FFF2-40B4-BE49-F238E27FC236}">
                <a16:creationId xmlns:a16="http://schemas.microsoft.com/office/drawing/2014/main" id="{81E89C95-1C67-9E6E-807A-2A86F8BA12AF}"/>
              </a:ext>
            </a:extLst>
          </p:cNvPr>
          <p:cNvSpPr>
            <a:spLocks noEditPoints="1"/>
          </p:cNvSpPr>
          <p:nvPr userDrawn="1"/>
        </p:nvSpPr>
        <p:spPr bwMode="auto">
          <a:xfrm>
            <a:off x="20918715" y="9952913"/>
            <a:ext cx="200013" cy="60326"/>
          </a:xfrm>
          <a:custGeom>
            <a:avLst/>
            <a:gdLst>
              <a:gd name="T0" fmla="*/ 0 w 63"/>
              <a:gd name="T1" fmla="*/ 16 h 19"/>
              <a:gd name="T2" fmla="*/ 3 w 63"/>
              <a:gd name="T3" fmla="*/ 19 h 19"/>
              <a:gd name="T4" fmla="*/ 6 w 63"/>
              <a:gd name="T5" fmla="*/ 16 h 19"/>
              <a:gd name="T6" fmla="*/ 9 w 63"/>
              <a:gd name="T7" fmla="*/ 16 h 19"/>
              <a:gd name="T8" fmla="*/ 9 w 63"/>
              <a:gd name="T9" fmla="*/ 12 h 19"/>
              <a:gd name="T10" fmla="*/ 9 w 63"/>
              <a:gd name="T11" fmla="*/ 12 h 19"/>
              <a:gd name="T12" fmla="*/ 3 w 63"/>
              <a:gd name="T13" fmla="*/ 12 h 19"/>
              <a:gd name="T14" fmla="*/ 0 w 63"/>
              <a:gd name="T15" fmla="*/ 16 h 19"/>
              <a:gd name="T16" fmla="*/ 0 w 63"/>
              <a:gd name="T17" fmla="*/ 16 h 19"/>
              <a:gd name="T18" fmla="*/ 16 w 63"/>
              <a:gd name="T19" fmla="*/ 9 h 19"/>
              <a:gd name="T20" fmla="*/ 19 w 63"/>
              <a:gd name="T21" fmla="*/ 16 h 19"/>
              <a:gd name="T22" fmla="*/ 25 w 63"/>
              <a:gd name="T23" fmla="*/ 19 h 19"/>
              <a:gd name="T24" fmla="*/ 25 w 63"/>
              <a:gd name="T25" fmla="*/ 19 h 19"/>
              <a:gd name="T26" fmla="*/ 28 w 63"/>
              <a:gd name="T27" fmla="*/ 16 h 19"/>
              <a:gd name="T28" fmla="*/ 31 w 63"/>
              <a:gd name="T29" fmla="*/ 12 h 19"/>
              <a:gd name="T30" fmla="*/ 34 w 63"/>
              <a:gd name="T31" fmla="*/ 12 h 19"/>
              <a:gd name="T32" fmla="*/ 44 w 63"/>
              <a:gd name="T33" fmla="*/ 12 h 19"/>
              <a:gd name="T34" fmla="*/ 50 w 63"/>
              <a:gd name="T35" fmla="*/ 9 h 19"/>
              <a:gd name="T36" fmla="*/ 56 w 63"/>
              <a:gd name="T37" fmla="*/ 6 h 19"/>
              <a:gd name="T38" fmla="*/ 56 w 63"/>
              <a:gd name="T39" fmla="*/ 6 h 19"/>
              <a:gd name="T40" fmla="*/ 59 w 63"/>
              <a:gd name="T41" fmla="*/ 6 h 19"/>
              <a:gd name="T42" fmla="*/ 63 w 63"/>
              <a:gd name="T43" fmla="*/ 3 h 19"/>
              <a:gd name="T44" fmla="*/ 63 w 63"/>
              <a:gd name="T45" fmla="*/ 0 h 19"/>
              <a:gd name="T46" fmla="*/ 59 w 63"/>
              <a:gd name="T47" fmla="*/ 0 h 19"/>
              <a:gd name="T48" fmla="*/ 53 w 63"/>
              <a:gd name="T49" fmla="*/ 0 h 19"/>
              <a:gd name="T50" fmla="*/ 50 w 63"/>
              <a:gd name="T51" fmla="*/ 0 h 19"/>
              <a:gd name="T52" fmla="*/ 44 w 63"/>
              <a:gd name="T53" fmla="*/ 0 h 19"/>
              <a:gd name="T54" fmla="*/ 41 w 63"/>
              <a:gd name="T55" fmla="*/ 0 h 19"/>
              <a:gd name="T56" fmla="*/ 34 w 63"/>
              <a:gd name="T57" fmla="*/ 3 h 19"/>
              <a:gd name="T58" fmla="*/ 28 w 63"/>
              <a:gd name="T59" fmla="*/ 3 h 19"/>
              <a:gd name="T60" fmla="*/ 22 w 63"/>
              <a:gd name="T61" fmla="*/ 6 h 19"/>
              <a:gd name="T62" fmla="*/ 16 w 63"/>
              <a:gd name="T6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 h="19">
                <a:moveTo>
                  <a:pt x="0" y="16"/>
                </a:moveTo>
                <a:lnTo>
                  <a:pt x="3" y="19"/>
                </a:lnTo>
                <a:lnTo>
                  <a:pt x="6" y="16"/>
                </a:lnTo>
                <a:lnTo>
                  <a:pt x="9" y="16"/>
                </a:lnTo>
                <a:lnTo>
                  <a:pt x="9" y="12"/>
                </a:lnTo>
                <a:lnTo>
                  <a:pt x="9" y="12"/>
                </a:lnTo>
                <a:lnTo>
                  <a:pt x="3" y="12"/>
                </a:lnTo>
                <a:lnTo>
                  <a:pt x="0" y="16"/>
                </a:lnTo>
                <a:lnTo>
                  <a:pt x="0" y="16"/>
                </a:lnTo>
                <a:close/>
                <a:moveTo>
                  <a:pt x="16" y="9"/>
                </a:moveTo>
                <a:lnTo>
                  <a:pt x="19" y="16"/>
                </a:lnTo>
                <a:lnTo>
                  <a:pt x="25" y="19"/>
                </a:lnTo>
                <a:lnTo>
                  <a:pt x="25" y="19"/>
                </a:lnTo>
                <a:lnTo>
                  <a:pt x="28" y="16"/>
                </a:lnTo>
                <a:lnTo>
                  <a:pt x="31" y="12"/>
                </a:lnTo>
                <a:lnTo>
                  <a:pt x="34" y="12"/>
                </a:lnTo>
                <a:lnTo>
                  <a:pt x="44" y="12"/>
                </a:lnTo>
                <a:lnTo>
                  <a:pt x="50" y="9"/>
                </a:lnTo>
                <a:lnTo>
                  <a:pt x="56" y="6"/>
                </a:lnTo>
                <a:lnTo>
                  <a:pt x="56" y="6"/>
                </a:lnTo>
                <a:lnTo>
                  <a:pt x="59" y="6"/>
                </a:lnTo>
                <a:lnTo>
                  <a:pt x="63" y="3"/>
                </a:lnTo>
                <a:lnTo>
                  <a:pt x="63" y="0"/>
                </a:lnTo>
                <a:lnTo>
                  <a:pt x="59" y="0"/>
                </a:lnTo>
                <a:lnTo>
                  <a:pt x="53" y="0"/>
                </a:lnTo>
                <a:lnTo>
                  <a:pt x="50" y="0"/>
                </a:lnTo>
                <a:lnTo>
                  <a:pt x="44" y="0"/>
                </a:lnTo>
                <a:lnTo>
                  <a:pt x="41" y="0"/>
                </a:lnTo>
                <a:lnTo>
                  <a:pt x="34" y="3"/>
                </a:lnTo>
                <a:lnTo>
                  <a:pt x="28" y="3"/>
                </a:lnTo>
                <a:lnTo>
                  <a:pt x="22" y="6"/>
                </a:lnTo>
                <a:lnTo>
                  <a:pt x="16" y="9"/>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9" name="Freeform 27">
            <a:extLst>
              <a:ext uri="{FF2B5EF4-FFF2-40B4-BE49-F238E27FC236}">
                <a16:creationId xmlns:a16="http://schemas.microsoft.com/office/drawing/2014/main" id="{578AF1DD-6F84-6DC2-B445-5EB34D916CF6}"/>
              </a:ext>
            </a:extLst>
          </p:cNvPr>
          <p:cNvSpPr>
            <a:spLocks noEditPoints="1"/>
          </p:cNvSpPr>
          <p:nvPr userDrawn="1"/>
        </p:nvSpPr>
        <p:spPr bwMode="auto">
          <a:xfrm>
            <a:off x="19429734" y="8921037"/>
            <a:ext cx="1200072" cy="415926"/>
          </a:xfrm>
          <a:custGeom>
            <a:avLst/>
            <a:gdLst>
              <a:gd name="T0" fmla="*/ 228 w 378"/>
              <a:gd name="T1" fmla="*/ 97 h 131"/>
              <a:gd name="T2" fmla="*/ 3 w 378"/>
              <a:gd name="T3" fmla="*/ 40 h 131"/>
              <a:gd name="T4" fmla="*/ 0 w 378"/>
              <a:gd name="T5" fmla="*/ 34 h 131"/>
              <a:gd name="T6" fmla="*/ 207 w 378"/>
              <a:gd name="T7" fmla="*/ 128 h 131"/>
              <a:gd name="T8" fmla="*/ 222 w 378"/>
              <a:gd name="T9" fmla="*/ 128 h 131"/>
              <a:gd name="T10" fmla="*/ 260 w 378"/>
              <a:gd name="T11" fmla="*/ 122 h 131"/>
              <a:gd name="T12" fmla="*/ 288 w 378"/>
              <a:gd name="T13" fmla="*/ 118 h 131"/>
              <a:gd name="T14" fmla="*/ 310 w 378"/>
              <a:gd name="T15" fmla="*/ 71 h 131"/>
              <a:gd name="T16" fmla="*/ 319 w 378"/>
              <a:gd name="T17" fmla="*/ 59 h 131"/>
              <a:gd name="T18" fmla="*/ 344 w 378"/>
              <a:gd name="T19" fmla="*/ 62 h 131"/>
              <a:gd name="T20" fmla="*/ 363 w 378"/>
              <a:gd name="T21" fmla="*/ 62 h 131"/>
              <a:gd name="T22" fmla="*/ 369 w 378"/>
              <a:gd name="T23" fmla="*/ 50 h 131"/>
              <a:gd name="T24" fmla="*/ 369 w 378"/>
              <a:gd name="T25" fmla="*/ 40 h 131"/>
              <a:gd name="T26" fmla="*/ 353 w 378"/>
              <a:gd name="T27" fmla="*/ 34 h 131"/>
              <a:gd name="T28" fmla="*/ 347 w 378"/>
              <a:gd name="T29" fmla="*/ 31 h 131"/>
              <a:gd name="T30" fmla="*/ 347 w 378"/>
              <a:gd name="T31" fmla="*/ 18 h 131"/>
              <a:gd name="T32" fmla="*/ 335 w 378"/>
              <a:gd name="T33" fmla="*/ 6 h 131"/>
              <a:gd name="T34" fmla="*/ 328 w 378"/>
              <a:gd name="T35" fmla="*/ 12 h 131"/>
              <a:gd name="T36" fmla="*/ 316 w 378"/>
              <a:gd name="T37" fmla="*/ 28 h 131"/>
              <a:gd name="T38" fmla="*/ 297 w 378"/>
              <a:gd name="T39" fmla="*/ 43 h 131"/>
              <a:gd name="T40" fmla="*/ 303 w 378"/>
              <a:gd name="T41" fmla="*/ 46 h 131"/>
              <a:gd name="T42" fmla="*/ 300 w 378"/>
              <a:gd name="T43" fmla="*/ 62 h 131"/>
              <a:gd name="T44" fmla="*/ 297 w 378"/>
              <a:gd name="T45" fmla="*/ 53 h 131"/>
              <a:gd name="T46" fmla="*/ 288 w 378"/>
              <a:gd name="T47" fmla="*/ 62 h 131"/>
              <a:gd name="T48" fmla="*/ 275 w 378"/>
              <a:gd name="T49" fmla="*/ 62 h 131"/>
              <a:gd name="T50" fmla="*/ 257 w 378"/>
              <a:gd name="T51" fmla="*/ 84 h 131"/>
              <a:gd name="T52" fmla="*/ 238 w 378"/>
              <a:gd name="T53" fmla="*/ 103 h 131"/>
              <a:gd name="T54" fmla="*/ 225 w 378"/>
              <a:gd name="T55" fmla="*/ 109 h 131"/>
              <a:gd name="T56" fmla="*/ 207 w 378"/>
              <a:gd name="T57" fmla="*/ 118 h 131"/>
              <a:gd name="T58" fmla="*/ 194 w 378"/>
              <a:gd name="T59" fmla="*/ 112 h 131"/>
              <a:gd name="T60" fmla="*/ 332 w 378"/>
              <a:gd name="T61" fmla="*/ 0 h 131"/>
              <a:gd name="T62" fmla="*/ 338 w 378"/>
              <a:gd name="T63" fmla="*/ 3 h 131"/>
              <a:gd name="T64" fmla="*/ 225 w 378"/>
              <a:gd name="T65" fmla="*/ 103 h 131"/>
              <a:gd name="T66" fmla="*/ 228 w 378"/>
              <a:gd name="T67" fmla="*/ 103 h 131"/>
              <a:gd name="T68" fmla="*/ 235 w 378"/>
              <a:gd name="T69" fmla="*/ 93 h 131"/>
              <a:gd name="T70" fmla="*/ 232 w 378"/>
              <a:gd name="T71" fmla="*/ 97 h 131"/>
              <a:gd name="T72" fmla="*/ 3 w 378"/>
              <a:gd name="T73" fmla="*/ 12 h 131"/>
              <a:gd name="T74" fmla="*/ 19 w 378"/>
              <a:gd name="T75" fmla="*/ 18 h 131"/>
              <a:gd name="T76" fmla="*/ 25 w 378"/>
              <a:gd name="T77" fmla="*/ 31 h 131"/>
              <a:gd name="T78" fmla="*/ 38 w 378"/>
              <a:gd name="T79" fmla="*/ 25 h 131"/>
              <a:gd name="T80" fmla="*/ 44 w 378"/>
              <a:gd name="T81" fmla="*/ 21 h 131"/>
              <a:gd name="T82" fmla="*/ 66 w 378"/>
              <a:gd name="T83" fmla="*/ 59 h 131"/>
              <a:gd name="T84" fmla="*/ 69 w 378"/>
              <a:gd name="T85" fmla="*/ 84 h 131"/>
              <a:gd name="T86" fmla="*/ 78 w 378"/>
              <a:gd name="T87" fmla="*/ 97 h 131"/>
              <a:gd name="T88" fmla="*/ 82 w 378"/>
              <a:gd name="T89" fmla="*/ 109 h 131"/>
              <a:gd name="T90" fmla="*/ 85 w 378"/>
              <a:gd name="T91" fmla="*/ 118 h 131"/>
              <a:gd name="T92" fmla="*/ 82 w 378"/>
              <a:gd name="T93" fmla="*/ 118 h 131"/>
              <a:gd name="T94" fmla="*/ 72 w 378"/>
              <a:gd name="T95" fmla="*/ 122 h 131"/>
              <a:gd name="T96" fmla="*/ 53 w 378"/>
              <a:gd name="T97" fmla="*/ 109 h 131"/>
              <a:gd name="T98" fmla="*/ 38 w 378"/>
              <a:gd name="T99" fmla="*/ 97 h 131"/>
              <a:gd name="T100" fmla="*/ 28 w 378"/>
              <a:gd name="T101" fmla="*/ 81 h 131"/>
              <a:gd name="T102" fmla="*/ 13 w 378"/>
              <a:gd name="T103" fmla="*/ 65 h 131"/>
              <a:gd name="T104" fmla="*/ 10 w 378"/>
              <a:gd name="T105" fmla="*/ 4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8" h="131">
                <a:moveTo>
                  <a:pt x="228" y="97"/>
                </a:moveTo>
                <a:lnTo>
                  <a:pt x="228" y="100"/>
                </a:lnTo>
                <a:lnTo>
                  <a:pt x="228" y="100"/>
                </a:lnTo>
                <a:lnTo>
                  <a:pt x="228" y="97"/>
                </a:lnTo>
                <a:lnTo>
                  <a:pt x="228" y="97"/>
                </a:lnTo>
                <a:lnTo>
                  <a:pt x="228" y="97"/>
                </a:lnTo>
                <a:lnTo>
                  <a:pt x="228" y="97"/>
                </a:lnTo>
                <a:close/>
                <a:moveTo>
                  <a:pt x="0" y="34"/>
                </a:moveTo>
                <a:lnTo>
                  <a:pt x="3" y="40"/>
                </a:lnTo>
                <a:lnTo>
                  <a:pt x="3" y="40"/>
                </a:lnTo>
                <a:lnTo>
                  <a:pt x="7" y="40"/>
                </a:lnTo>
                <a:lnTo>
                  <a:pt x="7" y="37"/>
                </a:lnTo>
                <a:lnTo>
                  <a:pt x="3" y="34"/>
                </a:lnTo>
                <a:lnTo>
                  <a:pt x="0" y="34"/>
                </a:lnTo>
                <a:lnTo>
                  <a:pt x="0" y="34"/>
                </a:lnTo>
                <a:close/>
                <a:moveTo>
                  <a:pt x="194" y="112"/>
                </a:moveTo>
                <a:lnTo>
                  <a:pt x="197" y="118"/>
                </a:lnTo>
                <a:lnTo>
                  <a:pt x="203" y="122"/>
                </a:lnTo>
                <a:lnTo>
                  <a:pt x="203" y="125"/>
                </a:lnTo>
                <a:lnTo>
                  <a:pt x="207" y="128"/>
                </a:lnTo>
                <a:lnTo>
                  <a:pt x="210" y="131"/>
                </a:lnTo>
                <a:lnTo>
                  <a:pt x="213" y="131"/>
                </a:lnTo>
                <a:lnTo>
                  <a:pt x="219" y="131"/>
                </a:lnTo>
                <a:lnTo>
                  <a:pt x="219" y="128"/>
                </a:lnTo>
                <a:lnTo>
                  <a:pt x="222" y="128"/>
                </a:lnTo>
                <a:lnTo>
                  <a:pt x="225" y="128"/>
                </a:lnTo>
                <a:lnTo>
                  <a:pt x="238" y="128"/>
                </a:lnTo>
                <a:lnTo>
                  <a:pt x="247" y="125"/>
                </a:lnTo>
                <a:lnTo>
                  <a:pt x="250" y="122"/>
                </a:lnTo>
                <a:lnTo>
                  <a:pt x="260" y="122"/>
                </a:lnTo>
                <a:lnTo>
                  <a:pt x="266" y="122"/>
                </a:lnTo>
                <a:lnTo>
                  <a:pt x="266" y="125"/>
                </a:lnTo>
                <a:lnTo>
                  <a:pt x="272" y="125"/>
                </a:lnTo>
                <a:lnTo>
                  <a:pt x="278" y="122"/>
                </a:lnTo>
                <a:lnTo>
                  <a:pt x="288" y="118"/>
                </a:lnTo>
                <a:lnTo>
                  <a:pt x="288" y="115"/>
                </a:lnTo>
                <a:lnTo>
                  <a:pt x="297" y="106"/>
                </a:lnTo>
                <a:lnTo>
                  <a:pt x="300" y="97"/>
                </a:lnTo>
                <a:lnTo>
                  <a:pt x="307" y="87"/>
                </a:lnTo>
                <a:lnTo>
                  <a:pt x="310" y="71"/>
                </a:lnTo>
                <a:lnTo>
                  <a:pt x="310" y="68"/>
                </a:lnTo>
                <a:lnTo>
                  <a:pt x="313" y="65"/>
                </a:lnTo>
                <a:lnTo>
                  <a:pt x="313" y="62"/>
                </a:lnTo>
                <a:lnTo>
                  <a:pt x="316" y="59"/>
                </a:lnTo>
                <a:lnTo>
                  <a:pt x="319" y="59"/>
                </a:lnTo>
                <a:lnTo>
                  <a:pt x="325" y="59"/>
                </a:lnTo>
                <a:lnTo>
                  <a:pt x="335" y="59"/>
                </a:lnTo>
                <a:lnTo>
                  <a:pt x="335" y="62"/>
                </a:lnTo>
                <a:lnTo>
                  <a:pt x="341" y="62"/>
                </a:lnTo>
                <a:lnTo>
                  <a:pt x="344" y="62"/>
                </a:lnTo>
                <a:lnTo>
                  <a:pt x="347" y="59"/>
                </a:lnTo>
                <a:lnTo>
                  <a:pt x="350" y="62"/>
                </a:lnTo>
                <a:lnTo>
                  <a:pt x="353" y="65"/>
                </a:lnTo>
                <a:lnTo>
                  <a:pt x="357" y="62"/>
                </a:lnTo>
                <a:lnTo>
                  <a:pt x="363" y="62"/>
                </a:lnTo>
                <a:lnTo>
                  <a:pt x="363" y="59"/>
                </a:lnTo>
                <a:lnTo>
                  <a:pt x="357" y="56"/>
                </a:lnTo>
                <a:lnTo>
                  <a:pt x="357" y="50"/>
                </a:lnTo>
                <a:lnTo>
                  <a:pt x="360" y="46"/>
                </a:lnTo>
                <a:lnTo>
                  <a:pt x="369" y="50"/>
                </a:lnTo>
                <a:lnTo>
                  <a:pt x="375" y="46"/>
                </a:lnTo>
                <a:lnTo>
                  <a:pt x="378" y="43"/>
                </a:lnTo>
                <a:lnTo>
                  <a:pt x="378" y="40"/>
                </a:lnTo>
                <a:lnTo>
                  <a:pt x="375" y="40"/>
                </a:lnTo>
                <a:lnTo>
                  <a:pt x="369" y="40"/>
                </a:lnTo>
                <a:lnTo>
                  <a:pt x="366" y="37"/>
                </a:lnTo>
                <a:lnTo>
                  <a:pt x="363" y="37"/>
                </a:lnTo>
                <a:lnTo>
                  <a:pt x="360" y="31"/>
                </a:lnTo>
                <a:lnTo>
                  <a:pt x="357" y="31"/>
                </a:lnTo>
                <a:lnTo>
                  <a:pt x="353" y="34"/>
                </a:lnTo>
                <a:lnTo>
                  <a:pt x="350" y="34"/>
                </a:lnTo>
                <a:lnTo>
                  <a:pt x="357" y="31"/>
                </a:lnTo>
                <a:lnTo>
                  <a:pt x="353" y="28"/>
                </a:lnTo>
                <a:lnTo>
                  <a:pt x="350" y="28"/>
                </a:lnTo>
                <a:lnTo>
                  <a:pt x="347" y="31"/>
                </a:lnTo>
                <a:lnTo>
                  <a:pt x="347" y="31"/>
                </a:lnTo>
                <a:lnTo>
                  <a:pt x="344" y="28"/>
                </a:lnTo>
                <a:lnTo>
                  <a:pt x="344" y="25"/>
                </a:lnTo>
                <a:lnTo>
                  <a:pt x="350" y="21"/>
                </a:lnTo>
                <a:lnTo>
                  <a:pt x="347" y="18"/>
                </a:lnTo>
                <a:lnTo>
                  <a:pt x="344" y="15"/>
                </a:lnTo>
                <a:lnTo>
                  <a:pt x="341" y="18"/>
                </a:lnTo>
                <a:lnTo>
                  <a:pt x="338" y="15"/>
                </a:lnTo>
                <a:lnTo>
                  <a:pt x="338" y="9"/>
                </a:lnTo>
                <a:lnTo>
                  <a:pt x="335" y="6"/>
                </a:lnTo>
                <a:lnTo>
                  <a:pt x="332" y="6"/>
                </a:lnTo>
                <a:lnTo>
                  <a:pt x="335" y="12"/>
                </a:lnTo>
                <a:lnTo>
                  <a:pt x="328" y="15"/>
                </a:lnTo>
                <a:lnTo>
                  <a:pt x="328" y="15"/>
                </a:lnTo>
                <a:lnTo>
                  <a:pt x="328" y="12"/>
                </a:lnTo>
                <a:lnTo>
                  <a:pt x="328" y="9"/>
                </a:lnTo>
                <a:lnTo>
                  <a:pt x="325" y="9"/>
                </a:lnTo>
                <a:lnTo>
                  <a:pt x="322" y="15"/>
                </a:lnTo>
                <a:lnTo>
                  <a:pt x="319" y="18"/>
                </a:lnTo>
                <a:lnTo>
                  <a:pt x="316" y="28"/>
                </a:lnTo>
                <a:lnTo>
                  <a:pt x="316" y="31"/>
                </a:lnTo>
                <a:lnTo>
                  <a:pt x="310" y="40"/>
                </a:lnTo>
                <a:lnTo>
                  <a:pt x="307" y="40"/>
                </a:lnTo>
                <a:lnTo>
                  <a:pt x="300" y="40"/>
                </a:lnTo>
                <a:lnTo>
                  <a:pt x="297" y="43"/>
                </a:lnTo>
                <a:lnTo>
                  <a:pt x="300" y="43"/>
                </a:lnTo>
                <a:lnTo>
                  <a:pt x="297" y="46"/>
                </a:lnTo>
                <a:lnTo>
                  <a:pt x="300" y="46"/>
                </a:lnTo>
                <a:lnTo>
                  <a:pt x="303" y="46"/>
                </a:lnTo>
                <a:lnTo>
                  <a:pt x="303" y="46"/>
                </a:lnTo>
                <a:lnTo>
                  <a:pt x="300" y="50"/>
                </a:lnTo>
                <a:lnTo>
                  <a:pt x="300" y="50"/>
                </a:lnTo>
                <a:lnTo>
                  <a:pt x="300" y="53"/>
                </a:lnTo>
                <a:lnTo>
                  <a:pt x="303" y="59"/>
                </a:lnTo>
                <a:lnTo>
                  <a:pt x="300" y="62"/>
                </a:lnTo>
                <a:lnTo>
                  <a:pt x="297" y="59"/>
                </a:lnTo>
                <a:lnTo>
                  <a:pt x="297" y="56"/>
                </a:lnTo>
                <a:lnTo>
                  <a:pt x="297" y="53"/>
                </a:lnTo>
                <a:lnTo>
                  <a:pt x="297" y="53"/>
                </a:lnTo>
                <a:lnTo>
                  <a:pt x="297" y="53"/>
                </a:lnTo>
                <a:lnTo>
                  <a:pt x="294" y="53"/>
                </a:lnTo>
                <a:lnTo>
                  <a:pt x="291" y="56"/>
                </a:lnTo>
                <a:lnTo>
                  <a:pt x="294" y="62"/>
                </a:lnTo>
                <a:lnTo>
                  <a:pt x="291" y="65"/>
                </a:lnTo>
                <a:lnTo>
                  <a:pt x="288" y="62"/>
                </a:lnTo>
                <a:lnTo>
                  <a:pt x="285" y="56"/>
                </a:lnTo>
                <a:lnTo>
                  <a:pt x="282" y="56"/>
                </a:lnTo>
                <a:lnTo>
                  <a:pt x="278" y="53"/>
                </a:lnTo>
                <a:lnTo>
                  <a:pt x="275" y="59"/>
                </a:lnTo>
                <a:lnTo>
                  <a:pt x="275" y="62"/>
                </a:lnTo>
                <a:lnTo>
                  <a:pt x="272" y="65"/>
                </a:lnTo>
                <a:lnTo>
                  <a:pt x="269" y="71"/>
                </a:lnTo>
                <a:lnTo>
                  <a:pt x="263" y="75"/>
                </a:lnTo>
                <a:lnTo>
                  <a:pt x="263" y="81"/>
                </a:lnTo>
                <a:lnTo>
                  <a:pt x="257" y="84"/>
                </a:lnTo>
                <a:lnTo>
                  <a:pt x="253" y="90"/>
                </a:lnTo>
                <a:lnTo>
                  <a:pt x="238" y="93"/>
                </a:lnTo>
                <a:lnTo>
                  <a:pt x="235" y="93"/>
                </a:lnTo>
                <a:lnTo>
                  <a:pt x="235" y="100"/>
                </a:lnTo>
                <a:lnTo>
                  <a:pt x="238" y="103"/>
                </a:lnTo>
                <a:lnTo>
                  <a:pt x="235" y="100"/>
                </a:lnTo>
                <a:lnTo>
                  <a:pt x="232" y="103"/>
                </a:lnTo>
                <a:lnTo>
                  <a:pt x="228" y="103"/>
                </a:lnTo>
                <a:lnTo>
                  <a:pt x="225" y="106"/>
                </a:lnTo>
                <a:lnTo>
                  <a:pt x="225" y="109"/>
                </a:lnTo>
                <a:lnTo>
                  <a:pt x="225" y="115"/>
                </a:lnTo>
                <a:lnTo>
                  <a:pt x="222" y="118"/>
                </a:lnTo>
                <a:lnTo>
                  <a:pt x="222" y="122"/>
                </a:lnTo>
                <a:lnTo>
                  <a:pt x="213" y="122"/>
                </a:lnTo>
                <a:lnTo>
                  <a:pt x="207" y="118"/>
                </a:lnTo>
                <a:lnTo>
                  <a:pt x="200" y="118"/>
                </a:lnTo>
                <a:lnTo>
                  <a:pt x="197" y="115"/>
                </a:lnTo>
                <a:lnTo>
                  <a:pt x="194" y="112"/>
                </a:lnTo>
                <a:lnTo>
                  <a:pt x="194" y="112"/>
                </a:lnTo>
                <a:lnTo>
                  <a:pt x="194" y="112"/>
                </a:lnTo>
                <a:close/>
                <a:moveTo>
                  <a:pt x="332" y="0"/>
                </a:moveTo>
                <a:lnTo>
                  <a:pt x="328" y="3"/>
                </a:lnTo>
                <a:lnTo>
                  <a:pt x="328" y="3"/>
                </a:lnTo>
                <a:lnTo>
                  <a:pt x="332" y="0"/>
                </a:lnTo>
                <a:lnTo>
                  <a:pt x="332" y="0"/>
                </a:lnTo>
                <a:lnTo>
                  <a:pt x="332" y="0"/>
                </a:lnTo>
                <a:close/>
                <a:moveTo>
                  <a:pt x="338" y="0"/>
                </a:moveTo>
                <a:lnTo>
                  <a:pt x="335" y="3"/>
                </a:lnTo>
                <a:lnTo>
                  <a:pt x="335" y="3"/>
                </a:lnTo>
                <a:lnTo>
                  <a:pt x="338" y="3"/>
                </a:lnTo>
                <a:lnTo>
                  <a:pt x="338" y="0"/>
                </a:lnTo>
                <a:lnTo>
                  <a:pt x="338" y="0"/>
                </a:lnTo>
                <a:lnTo>
                  <a:pt x="338" y="0"/>
                </a:lnTo>
                <a:close/>
                <a:moveTo>
                  <a:pt x="228" y="103"/>
                </a:moveTo>
                <a:lnTo>
                  <a:pt x="225" y="103"/>
                </a:lnTo>
                <a:lnTo>
                  <a:pt x="228" y="100"/>
                </a:lnTo>
                <a:lnTo>
                  <a:pt x="228" y="103"/>
                </a:lnTo>
                <a:lnTo>
                  <a:pt x="228" y="103"/>
                </a:lnTo>
                <a:close/>
                <a:moveTo>
                  <a:pt x="232" y="100"/>
                </a:moveTo>
                <a:lnTo>
                  <a:pt x="228" y="103"/>
                </a:lnTo>
                <a:lnTo>
                  <a:pt x="228" y="100"/>
                </a:lnTo>
                <a:lnTo>
                  <a:pt x="228" y="100"/>
                </a:lnTo>
                <a:lnTo>
                  <a:pt x="232" y="100"/>
                </a:lnTo>
                <a:lnTo>
                  <a:pt x="232" y="100"/>
                </a:lnTo>
                <a:close/>
                <a:moveTo>
                  <a:pt x="235" y="93"/>
                </a:moveTo>
                <a:lnTo>
                  <a:pt x="235" y="100"/>
                </a:lnTo>
                <a:lnTo>
                  <a:pt x="232" y="100"/>
                </a:lnTo>
                <a:lnTo>
                  <a:pt x="228" y="97"/>
                </a:lnTo>
                <a:lnTo>
                  <a:pt x="228" y="97"/>
                </a:lnTo>
                <a:lnTo>
                  <a:pt x="232" y="97"/>
                </a:lnTo>
                <a:lnTo>
                  <a:pt x="232" y="97"/>
                </a:lnTo>
                <a:lnTo>
                  <a:pt x="235" y="93"/>
                </a:lnTo>
                <a:lnTo>
                  <a:pt x="235" y="93"/>
                </a:lnTo>
                <a:close/>
                <a:moveTo>
                  <a:pt x="3" y="18"/>
                </a:moveTo>
                <a:lnTo>
                  <a:pt x="3" y="12"/>
                </a:lnTo>
                <a:lnTo>
                  <a:pt x="7" y="9"/>
                </a:lnTo>
                <a:lnTo>
                  <a:pt x="10" y="12"/>
                </a:lnTo>
                <a:lnTo>
                  <a:pt x="16" y="15"/>
                </a:lnTo>
                <a:lnTo>
                  <a:pt x="16" y="18"/>
                </a:lnTo>
                <a:lnTo>
                  <a:pt x="19" y="18"/>
                </a:lnTo>
                <a:lnTo>
                  <a:pt x="22" y="18"/>
                </a:lnTo>
                <a:lnTo>
                  <a:pt x="22" y="25"/>
                </a:lnTo>
                <a:lnTo>
                  <a:pt x="19" y="28"/>
                </a:lnTo>
                <a:lnTo>
                  <a:pt x="19" y="31"/>
                </a:lnTo>
                <a:lnTo>
                  <a:pt x="25" y="31"/>
                </a:lnTo>
                <a:lnTo>
                  <a:pt x="28" y="28"/>
                </a:lnTo>
                <a:lnTo>
                  <a:pt x="32" y="28"/>
                </a:lnTo>
                <a:lnTo>
                  <a:pt x="35" y="31"/>
                </a:lnTo>
                <a:lnTo>
                  <a:pt x="38" y="28"/>
                </a:lnTo>
                <a:lnTo>
                  <a:pt x="38" y="25"/>
                </a:lnTo>
                <a:lnTo>
                  <a:pt x="38" y="25"/>
                </a:lnTo>
                <a:lnTo>
                  <a:pt x="38" y="25"/>
                </a:lnTo>
                <a:lnTo>
                  <a:pt x="41" y="25"/>
                </a:lnTo>
                <a:lnTo>
                  <a:pt x="44" y="21"/>
                </a:lnTo>
                <a:lnTo>
                  <a:pt x="44" y="21"/>
                </a:lnTo>
                <a:lnTo>
                  <a:pt x="47" y="28"/>
                </a:lnTo>
                <a:lnTo>
                  <a:pt x="63" y="40"/>
                </a:lnTo>
                <a:lnTo>
                  <a:pt x="66" y="50"/>
                </a:lnTo>
                <a:lnTo>
                  <a:pt x="69" y="56"/>
                </a:lnTo>
                <a:lnTo>
                  <a:pt x="66" y="59"/>
                </a:lnTo>
                <a:lnTo>
                  <a:pt x="69" y="68"/>
                </a:lnTo>
                <a:lnTo>
                  <a:pt x="66" y="68"/>
                </a:lnTo>
                <a:lnTo>
                  <a:pt x="66" y="71"/>
                </a:lnTo>
                <a:lnTo>
                  <a:pt x="69" y="75"/>
                </a:lnTo>
                <a:lnTo>
                  <a:pt x="69" y="84"/>
                </a:lnTo>
                <a:lnTo>
                  <a:pt x="72" y="90"/>
                </a:lnTo>
                <a:lnTo>
                  <a:pt x="75" y="93"/>
                </a:lnTo>
                <a:lnTo>
                  <a:pt x="78" y="93"/>
                </a:lnTo>
                <a:lnTo>
                  <a:pt x="78" y="97"/>
                </a:lnTo>
                <a:lnTo>
                  <a:pt x="78" y="97"/>
                </a:lnTo>
                <a:lnTo>
                  <a:pt x="78" y="103"/>
                </a:lnTo>
                <a:lnTo>
                  <a:pt x="82" y="106"/>
                </a:lnTo>
                <a:lnTo>
                  <a:pt x="82" y="106"/>
                </a:lnTo>
                <a:lnTo>
                  <a:pt x="82" y="106"/>
                </a:lnTo>
                <a:lnTo>
                  <a:pt x="82" y="109"/>
                </a:lnTo>
                <a:lnTo>
                  <a:pt x="88" y="115"/>
                </a:lnTo>
                <a:lnTo>
                  <a:pt x="88" y="122"/>
                </a:lnTo>
                <a:lnTo>
                  <a:pt x="85" y="122"/>
                </a:lnTo>
                <a:lnTo>
                  <a:pt x="85" y="118"/>
                </a:lnTo>
                <a:lnTo>
                  <a:pt x="85" y="118"/>
                </a:lnTo>
                <a:lnTo>
                  <a:pt x="82" y="115"/>
                </a:lnTo>
                <a:lnTo>
                  <a:pt x="82" y="115"/>
                </a:lnTo>
                <a:lnTo>
                  <a:pt x="82" y="118"/>
                </a:lnTo>
                <a:lnTo>
                  <a:pt x="82" y="118"/>
                </a:lnTo>
                <a:lnTo>
                  <a:pt x="82" y="118"/>
                </a:lnTo>
                <a:lnTo>
                  <a:pt x="82" y="122"/>
                </a:lnTo>
                <a:lnTo>
                  <a:pt x="78" y="122"/>
                </a:lnTo>
                <a:lnTo>
                  <a:pt x="78" y="122"/>
                </a:lnTo>
                <a:lnTo>
                  <a:pt x="75" y="122"/>
                </a:lnTo>
                <a:lnTo>
                  <a:pt x="72" y="122"/>
                </a:lnTo>
                <a:lnTo>
                  <a:pt x="69" y="118"/>
                </a:lnTo>
                <a:lnTo>
                  <a:pt x="63" y="115"/>
                </a:lnTo>
                <a:lnTo>
                  <a:pt x="57" y="112"/>
                </a:lnTo>
                <a:lnTo>
                  <a:pt x="53" y="109"/>
                </a:lnTo>
                <a:lnTo>
                  <a:pt x="53" y="109"/>
                </a:lnTo>
                <a:lnTo>
                  <a:pt x="50" y="109"/>
                </a:lnTo>
                <a:lnTo>
                  <a:pt x="47" y="109"/>
                </a:lnTo>
                <a:lnTo>
                  <a:pt x="41" y="103"/>
                </a:lnTo>
                <a:lnTo>
                  <a:pt x="41" y="100"/>
                </a:lnTo>
                <a:lnTo>
                  <a:pt x="38" y="97"/>
                </a:lnTo>
                <a:lnTo>
                  <a:pt x="28" y="93"/>
                </a:lnTo>
                <a:lnTo>
                  <a:pt x="28" y="90"/>
                </a:lnTo>
                <a:lnTo>
                  <a:pt x="28" y="87"/>
                </a:lnTo>
                <a:lnTo>
                  <a:pt x="32" y="84"/>
                </a:lnTo>
                <a:lnTo>
                  <a:pt x="28" y="81"/>
                </a:lnTo>
                <a:lnTo>
                  <a:pt x="25" y="78"/>
                </a:lnTo>
                <a:lnTo>
                  <a:pt x="22" y="75"/>
                </a:lnTo>
                <a:lnTo>
                  <a:pt x="16" y="71"/>
                </a:lnTo>
                <a:lnTo>
                  <a:pt x="13" y="68"/>
                </a:lnTo>
                <a:lnTo>
                  <a:pt x="13" y="65"/>
                </a:lnTo>
                <a:lnTo>
                  <a:pt x="13" y="62"/>
                </a:lnTo>
                <a:lnTo>
                  <a:pt x="10" y="59"/>
                </a:lnTo>
                <a:lnTo>
                  <a:pt x="13" y="56"/>
                </a:lnTo>
                <a:lnTo>
                  <a:pt x="13" y="50"/>
                </a:lnTo>
                <a:lnTo>
                  <a:pt x="10" y="46"/>
                </a:lnTo>
                <a:lnTo>
                  <a:pt x="10" y="40"/>
                </a:lnTo>
                <a:lnTo>
                  <a:pt x="7" y="25"/>
                </a:lnTo>
                <a:lnTo>
                  <a:pt x="3" y="18"/>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0" name="Freeform 28">
            <a:extLst>
              <a:ext uri="{FF2B5EF4-FFF2-40B4-BE49-F238E27FC236}">
                <a16:creationId xmlns:a16="http://schemas.microsoft.com/office/drawing/2014/main" id="{A9BA29C8-B3F5-FF8E-C2B3-D6A79D1980CF}"/>
              </a:ext>
            </a:extLst>
          </p:cNvPr>
          <p:cNvSpPr>
            <a:spLocks noEditPoints="1"/>
          </p:cNvSpPr>
          <p:nvPr userDrawn="1"/>
        </p:nvSpPr>
        <p:spPr bwMode="auto">
          <a:xfrm>
            <a:off x="20312324" y="9067087"/>
            <a:ext cx="79371" cy="60326"/>
          </a:xfrm>
          <a:custGeom>
            <a:avLst/>
            <a:gdLst>
              <a:gd name="T0" fmla="*/ 0 w 25"/>
              <a:gd name="T1" fmla="*/ 7 h 19"/>
              <a:gd name="T2" fmla="*/ 4 w 25"/>
              <a:gd name="T3" fmla="*/ 10 h 19"/>
              <a:gd name="T4" fmla="*/ 7 w 25"/>
              <a:gd name="T5" fmla="*/ 10 h 19"/>
              <a:gd name="T6" fmla="*/ 10 w 25"/>
              <a:gd name="T7" fmla="*/ 16 h 19"/>
              <a:gd name="T8" fmla="*/ 13 w 25"/>
              <a:gd name="T9" fmla="*/ 19 h 19"/>
              <a:gd name="T10" fmla="*/ 16 w 25"/>
              <a:gd name="T11" fmla="*/ 16 h 19"/>
              <a:gd name="T12" fmla="*/ 13 w 25"/>
              <a:gd name="T13" fmla="*/ 10 h 19"/>
              <a:gd name="T14" fmla="*/ 16 w 25"/>
              <a:gd name="T15" fmla="*/ 7 h 19"/>
              <a:gd name="T16" fmla="*/ 19 w 25"/>
              <a:gd name="T17" fmla="*/ 7 h 19"/>
              <a:gd name="T18" fmla="*/ 19 w 25"/>
              <a:gd name="T19" fmla="*/ 4 h 19"/>
              <a:gd name="T20" fmla="*/ 16 w 25"/>
              <a:gd name="T21" fmla="*/ 0 h 19"/>
              <a:gd name="T22" fmla="*/ 13 w 25"/>
              <a:gd name="T23" fmla="*/ 0 h 19"/>
              <a:gd name="T24" fmla="*/ 10 w 25"/>
              <a:gd name="T25" fmla="*/ 4 h 19"/>
              <a:gd name="T26" fmla="*/ 0 w 25"/>
              <a:gd name="T27" fmla="*/ 7 h 19"/>
              <a:gd name="T28" fmla="*/ 0 w 25"/>
              <a:gd name="T29" fmla="*/ 7 h 19"/>
              <a:gd name="T30" fmla="*/ 0 w 25"/>
              <a:gd name="T31" fmla="*/ 7 h 19"/>
              <a:gd name="T32" fmla="*/ 19 w 25"/>
              <a:gd name="T33" fmla="*/ 7 h 19"/>
              <a:gd name="T34" fmla="*/ 19 w 25"/>
              <a:gd name="T35" fmla="*/ 10 h 19"/>
              <a:gd name="T36" fmla="*/ 19 w 25"/>
              <a:gd name="T37" fmla="*/ 13 h 19"/>
              <a:gd name="T38" fmla="*/ 22 w 25"/>
              <a:gd name="T39" fmla="*/ 16 h 19"/>
              <a:gd name="T40" fmla="*/ 25 w 25"/>
              <a:gd name="T41" fmla="*/ 13 h 19"/>
              <a:gd name="T42" fmla="*/ 22 w 25"/>
              <a:gd name="T43" fmla="*/ 7 h 19"/>
              <a:gd name="T44" fmla="*/ 22 w 25"/>
              <a:gd name="T45" fmla="*/ 4 h 19"/>
              <a:gd name="T46" fmla="*/ 19 w 25"/>
              <a:gd name="T47" fmla="*/ 7 h 19"/>
              <a:gd name="T48" fmla="*/ 19 w 25"/>
              <a:gd name="T49"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19">
                <a:moveTo>
                  <a:pt x="0" y="7"/>
                </a:moveTo>
                <a:lnTo>
                  <a:pt x="4" y="10"/>
                </a:lnTo>
                <a:lnTo>
                  <a:pt x="7" y="10"/>
                </a:lnTo>
                <a:lnTo>
                  <a:pt x="10" y="16"/>
                </a:lnTo>
                <a:lnTo>
                  <a:pt x="13" y="19"/>
                </a:lnTo>
                <a:lnTo>
                  <a:pt x="16" y="16"/>
                </a:lnTo>
                <a:lnTo>
                  <a:pt x="13" y="10"/>
                </a:lnTo>
                <a:lnTo>
                  <a:pt x="16" y="7"/>
                </a:lnTo>
                <a:lnTo>
                  <a:pt x="19" y="7"/>
                </a:lnTo>
                <a:lnTo>
                  <a:pt x="19" y="4"/>
                </a:lnTo>
                <a:lnTo>
                  <a:pt x="16" y="0"/>
                </a:lnTo>
                <a:lnTo>
                  <a:pt x="13" y="0"/>
                </a:lnTo>
                <a:lnTo>
                  <a:pt x="10" y="4"/>
                </a:lnTo>
                <a:lnTo>
                  <a:pt x="0" y="7"/>
                </a:lnTo>
                <a:lnTo>
                  <a:pt x="0" y="7"/>
                </a:lnTo>
                <a:lnTo>
                  <a:pt x="0" y="7"/>
                </a:lnTo>
                <a:close/>
                <a:moveTo>
                  <a:pt x="19" y="7"/>
                </a:moveTo>
                <a:lnTo>
                  <a:pt x="19" y="10"/>
                </a:lnTo>
                <a:lnTo>
                  <a:pt x="19" y="13"/>
                </a:lnTo>
                <a:lnTo>
                  <a:pt x="22" y="16"/>
                </a:lnTo>
                <a:lnTo>
                  <a:pt x="25" y="13"/>
                </a:lnTo>
                <a:lnTo>
                  <a:pt x="22" y="7"/>
                </a:lnTo>
                <a:lnTo>
                  <a:pt x="22" y="4"/>
                </a:lnTo>
                <a:lnTo>
                  <a:pt x="19" y="7"/>
                </a:lnTo>
                <a:lnTo>
                  <a:pt x="19" y="7"/>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1" name="Freeform 29">
            <a:extLst>
              <a:ext uri="{FF2B5EF4-FFF2-40B4-BE49-F238E27FC236}">
                <a16:creationId xmlns:a16="http://schemas.microsoft.com/office/drawing/2014/main" id="{2FF733F3-75A2-2CF4-86FD-B99CCF367FE6}"/>
              </a:ext>
            </a:extLst>
          </p:cNvPr>
          <p:cNvSpPr>
            <a:spLocks noEditPoints="1"/>
          </p:cNvSpPr>
          <p:nvPr userDrawn="1"/>
        </p:nvSpPr>
        <p:spPr bwMode="auto">
          <a:xfrm>
            <a:off x="19490057" y="7838361"/>
            <a:ext cx="504793" cy="1003302"/>
          </a:xfrm>
          <a:custGeom>
            <a:avLst/>
            <a:gdLst>
              <a:gd name="T0" fmla="*/ 6 w 159"/>
              <a:gd name="T1" fmla="*/ 15 h 316"/>
              <a:gd name="T2" fmla="*/ 16 w 159"/>
              <a:gd name="T3" fmla="*/ 18 h 316"/>
              <a:gd name="T4" fmla="*/ 28 w 159"/>
              <a:gd name="T5" fmla="*/ 15 h 316"/>
              <a:gd name="T6" fmla="*/ 44 w 159"/>
              <a:gd name="T7" fmla="*/ 12 h 316"/>
              <a:gd name="T8" fmla="*/ 59 w 159"/>
              <a:gd name="T9" fmla="*/ 0 h 316"/>
              <a:gd name="T10" fmla="*/ 81 w 159"/>
              <a:gd name="T11" fmla="*/ 9 h 316"/>
              <a:gd name="T12" fmla="*/ 88 w 159"/>
              <a:gd name="T13" fmla="*/ 15 h 316"/>
              <a:gd name="T14" fmla="*/ 97 w 159"/>
              <a:gd name="T15" fmla="*/ 34 h 316"/>
              <a:gd name="T16" fmla="*/ 113 w 159"/>
              <a:gd name="T17" fmla="*/ 37 h 316"/>
              <a:gd name="T18" fmla="*/ 113 w 159"/>
              <a:gd name="T19" fmla="*/ 43 h 316"/>
              <a:gd name="T20" fmla="*/ 100 w 159"/>
              <a:gd name="T21" fmla="*/ 46 h 316"/>
              <a:gd name="T22" fmla="*/ 94 w 159"/>
              <a:gd name="T23" fmla="*/ 53 h 316"/>
              <a:gd name="T24" fmla="*/ 88 w 159"/>
              <a:gd name="T25" fmla="*/ 56 h 316"/>
              <a:gd name="T26" fmla="*/ 88 w 159"/>
              <a:gd name="T27" fmla="*/ 65 h 316"/>
              <a:gd name="T28" fmla="*/ 78 w 159"/>
              <a:gd name="T29" fmla="*/ 75 h 316"/>
              <a:gd name="T30" fmla="*/ 75 w 159"/>
              <a:gd name="T31" fmla="*/ 81 h 316"/>
              <a:gd name="T32" fmla="*/ 72 w 159"/>
              <a:gd name="T33" fmla="*/ 97 h 316"/>
              <a:gd name="T34" fmla="*/ 81 w 159"/>
              <a:gd name="T35" fmla="*/ 106 h 316"/>
              <a:gd name="T36" fmla="*/ 91 w 159"/>
              <a:gd name="T37" fmla="*/ 118 h 316"/>
              <a:gd name="T38" fmla="*/ 106 w 159"/>
              <a:gd name="T39" fmla="*/ 137 h 316"/>
              <a:gd name="T40" fmla="*/ 141 w 159"/>
              <a:gd name="T41" fmla="*/ 165 h 316"/>
              <a:gd name="T42" fmla="*/ 147 w 159"/>
              <a:gd name="T43" fmla="*/ 178 h 316"/>
              <a:gd name="T44" fmla="*/ 150 w 159"/>
              <a:gd name="T45" fmla="*/ 194 h 316"/>
              <a:gd name="T46" fmla="*/ 156 w 159"/>
              <a:gd name="T47" fmla="*/ 209 h 316"/>
              <a:gd name="T48" fmla="*/ 159 w 159"/>
              <a:gd name="T49" fmla="*/ 222 h 316"/>
              <a:gd name="T50" fmla="*/ 159 w 159"/>
              <a:gd name="T51" fmla="*/ 225 h 316"/>
              <a:gd name="T52" fmla="*/ 156 w 159"/>
              <a:gd name="T53" fmla="*/ 234 h 316"/>
              <a:gd name="T54" fmla="*/ 156 w 159"/>
              <a:gd name="T55" fmla="*/ 250 h 316"/>
              <a:gd name="T56" fmla="*/ 144 w 159"/>
              <a:gd name="T57" fmla="*/ 262 h 316"/>
              <a:gd name="T58" fmla="*/ 131 w 159"/>
              <a:gd name="T59" fmla="*/ 272 h 316"/>
              <a:gd name="T60" fmla="*/ 109 w 159"/>
              <a:gd name="T61" fmla="*/ 278 h 316"/>
              <a:gd name="T62" fmla="*/ 106 w 159"/>
              <a:gd name="T63" fmla="*/ 275 h 316"/>
              <a:gd name="T64" fmla="*/ 109 w 159"/>
              <a:gd name="T65" fmla="*/ 281 h 316"/>
              <a:gd name="T66" fmla="*/ 106 w 159"/>
              <a:gd name="T67" fmla="*/ 287 h 316"/>
              <a:gd name="T68" fmla="*/ 97 w 159"/>
              <a:gd name="T69" fmla="*/ 290 h 316"/>
              <a:gd name="T70" fmla="*/ 97 w 159"/>
              <a:gd name="T71" fmla="*/ 297 h 316"/>
              <a:gd name="T72" fmla="*/ 88 w 159"/>
              <a:gd name="T73" fmla="*/ 303 h 316"/>
              <a:gd name="T74" fmla="*/ 75 w 159"/>
              <a:gd name="T75" fmla="*/ 316 h 316"/>
              <a:gd name="T76" fmla="*/ 75 w 159"/>
              <a:gd name="T77" fmla="*/ 309 h 316"/>
              <a:gd name="T78" fmla="*/ 75 w 159"/>
              <a:gd name="T79" fmla="*/ 297 h 316"/>
              <a:gd name="T80" fmla="*/ 81 w 159"/>
              <a:gd name="T81" fmla="*/ 281 h 316"/>
              <a:gd name="T82" fmla="*/ 66 w 159"/>
              <a:gd name="T83" fmla="*/ 281 h 316"/>
              <a:gd name="T84" fmla="*/ 72 w 159"/>
              <a:gd name="T85" fmla="*/ 272 h 316"/>
              <a:gd name="T86" fmla="*/ 94 w 159"/>
              <a:gd name="T87" fmla="*/ 265 h 316"/>
              <a:gd name="T88" fmla="*/ 97 w 159"/>
              <a:gd name="T89" fmla="*/ 259 h 316"/>
              <a:gd name="T90" fmla="*/ 106 w 159"/>
              <a:gd name="T91" fmla="*/ 244 h 316"/>
              <a:gd name="T92" fmla="*/ 122 w 159"/>
              <a:gd name="T93" fmla="*/ 228 h 316"/>
              <a:gd name="T94" fmla="*/ 119 w 159"/>
              <a:gd name="T95" fmla="*/ 200 h 316"/>
              <a:gd name="T96" fmla="*/ 119 w 159"/>
              <a:gd name="T97" fmla="*/ 184 h 316"/>
              <a:gd name="T98" fmla="*/ 119 w 159"/>
              <a:gd name="T99" fmla="*/ 168 h 316"/>
              <a:gd name="T100" fmla="*/ 116 w 159"/>
              <a:gd name="T101" fmla="*/ 156 h 316"/>
              <a:gd name="T102" fmla="*/ 106 w 159"/>
              <a:gd name="T103" fmla="*/ 147 h 316"/>
              <a:gd name="T104" fmla="*/ 94 w 159"/>
              <a:gd name="T105" fmla="*/ 137 h 316"/>
              <a:gd name="T106" fmla="*/ 81 w 159"/>
              <a:gd name="T107" fmla="*/ 122 h 316"/>
              <a:gd name="T108" fmla="*/ 56 w 159"/>
              <a:gd name="T109" fmla="*/ 103 h 316"/>
              <a:gd name="T110" fmla="*/ 47 w 159"/>
              <a:gd name="T111" fmla="*/ 90 h 316"/>
              <a:gd name="T112" fmla="*/ 53 w 159"/>
              <a:gd name="T113" fmla="*/ 81 h 316"/>
              <a:gd name="T114" fmla="*/ 56 w 159"/>
              <a:gd name="T115" fmla="*/ 65 h 316"/>
              <a:gd name="T116" fmla="*/ 41 w 159"/>
              <a:gd name="T117" fmla="*/ 53 h 316"/>
              <a:gd name="T118" fmla="*/ 13 w 159"/>
              <a:gd name="T119" fmla="*/ 40 h 316"/>
              <a:gd name="T120" fmla="*/ 0 w 159"/>
              <a:gd name="T121" fmla="*/ 25 h 316"/>
              <a:gd name="T122" fmla="*/ 53 w 159"/>
              <a:gd name="T123" fmla="*/ 281 h 316"/>
              <a:gd name="T124" fmla="*/ 56 w 159"/>
              <a:gd name="T125" fmla="*/ 275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9" h="316">
                <a:moveTo>
                  <a:pt x="0" y="21"/>
                </a:moveTo>
                <a:lnTo>
                  <a:pt x="0" y="18"/>
                </a:lnTo>
                <a:lnTo>
                  <a:pt x="3" y="18"/>
                </a:lnTo>
                <a:lnTo>
                  <a:pt x="3" y="18"/>
                </a:lnTo>
                <a:lnTo>
                  <a:pt x="6" y="15"/>
                </a:lnTo>
                <a:lnTo>
                  <a:pt x="9" y="15"/>
                </a:lnTo>
                <a:lnTo>
                  <a:pt x="13" y="15"/>
                </a:lnTo>
                <a:lnTo>
                  <a:pt x="13" y="18"/>
                </a:lnTo>
                <a:lnTo>
                  <a:pt x="13" y="18"/>
                </a:lnTo>
                <a:lnTo>
                  <a:pt x="16" y="18"/>
                </a:lnTo>
                <a:lnTo>
                  <a:pt x="16" y="15"/>
                </a:lnTo>
                <a:lnTo>
                  <a:pt x="19" y="12"/>
                </a:lnTo>
                <a:lnTo>
                  <a:pt x="25" y="15"/>
                </a:lnTo>
                <a:lnTo>
                  <a:pt x="25" y="15"/>
                </a:lnTo>
                <a:lnTo>
                  <a:pt x="28" y="15"/>
                </a:lnTo>
                <a:lnTo>
                  <a:pt x="28" y="15"/>
                </a:lnTo>
                <a:lnTo>
                  <a:pt x="34" y="15"/>
                </a:lnTo>
                <a:lnTo>
                  <a:pt x="34" y="12"/>
                </a:lnTo>
                <a:lnTo>
                  <a:pt x="38" y="9"/>
                </a:lnTo>
                <a:lnTo>
                  <a:pt x="44" y="12"/>
                </a:lnTo>
                <a:lnTo>
                  <a:pt x="50" y="9"/>
                </a:lnTo>
                <a:lnTo>
                  <a:pt x="50" y="3"/>
                </a:lnTo>
                <a:lnTo>
                  <a:pt x="53" y="3"/>
                </a:lnTo>
                <a:lnTo>
                  <a:pt x="59" y="3"/>
                </a:lnTo>
                <a:lnTo>
                  <a:pt x="59" y="0"/>
                </a:lnTo>
                <a:lnTo>
                  <a:pt x="66" y="3"/>
                </a:lnTo>
                <a:lnTo>
                  <a:pt x="66" y="6"/>
                </a:lnTo>
                <a:lnTo>
                  <a:pt x="69" y="6"/>
                </a:lnTo>
                <a:lnTo>
                  <a:pt x="72" y="9"/>
                </a:lnTo>
                <a:lnTo>
                  <a:pt x="81" y="9"/>
                </a:lnTo>
                <a:lnTo>
                  <a:pt x="81" y="9"/>
                </a:lnTo>
                <a:lnTo>
                  <a:pt x="88" y="9"/>
                </a:lnTo>
                <a:lnTo>
                  <a:pt x="91" y="12"/>
                </a:lnTo>
                <a:lnTo>
                  <a:pt x="91" y="15"/>
                </a:lnTo>
                <a:lnTo>
                  <a:pt x="88" y="15"/>
                </a:lnTo>
                <a:lnTo>
                  <a:pt x="84" y="21"/>
                </a:lnTo>
                <a:lnTo>
                  <a:pt x="88" y="25"/>
                </a:lnTo>
                <a:lnTo>
                  <a:pt x="88" y="28"/>
                </a:lnTo>
                <a:lnTo>
                  <a:pt x="97" y="31"/>
                </a:lnTo>
                <a:lnTo>
                  <a:pt x="97" y="34"/>
                </a:lnTo>
                <a:lnTo>
                  <a:pt x="100" y="34"/>
                </a:lnTo>
                <a:lnTo>
                  <a:pt x="103" y="37"/>
                </a:lnTo>
                <a:lnTo>
                  <a:pt x="109" y="34"/>
                </a:lnTo>
                <a:lnTo>
                  <a:pt x="109" y="37"/>
                </a:lnTo>
                <a:lnTo>
                  <a:pt x="113" y="37"/>
                </a:lnTo>
                <a:lnTo>
                  <a:pt x="116" y="37"/>
                </a:lnTo>
                <a:lnTo>
                  <a:pt x="116" y="37"/>
                </a:lnTo>
                <a:lnTo>
                  <a:pt x="116" y="40"/>
                </a:lnTo>
                <a:lnTo>
                  <a:pt x="116" y="40"/>
                </a:lnTo>
                <a:lnTo>
                  <a:pt x="113" y="43"/>
                </a:lnTo>
                <a:lnTo>
                  <a:pt x="113" y="43"/>
                </a:lnTo>
                <a:lnTo>
                  <a:pt x="109" y="43"/>
                </a:lnTo>
                <a:lnTo>
                  <a:pt x="106" y="43"/>
                </a:lnTo>
                <a:lnTo>
                  <a:pt x="100" y="46"/>
                </a:lnTo>
                <a:lnTo>
                  <a:pt x="100" y="46"/>
                </a:lnTo>
                <a:lnTo>
                  <a:pt x="100" y="50"/>
                </a:lnTo>
                <a:lnTo>
                  <a:pt x="100" y="50"/>
                </a:lnTo>
                <a:lnTo>
                  <a:pt x="97" y="53"/>
                </a:lnTo>
                <a:lnTo>
                  <a:pt x="97" y="50"/>
                </a:lnTo>
                <a:lnTo>
                  <a:pt x="94" y="53"/>
                </a:lnTo>
                <a:lnTo>
                  <a:pt x="91" y="53"/>
                </a:lnTo>
                <a:lnTo>
                  <a:pt x="91" y="53"/>
                </a:lnTo>
                <a:lnTo>
                  <a:pt x="91" y="53"/>
                </a:lnTo>
                <a:lnTo>
                  <a:pt x="88" y="53"/>
                </a:lnTo>
                <a:lnTo>
                  <a:pt x="88" y="56"/>
                </a:lnTo>
                <a:lnTo>
                  <a:pt x="88" y="56"/>
                </a:lnTo>
                <a:lnTo>
                  <a:pt x="88" y="59"/>
                </a:lnTo>
                <a:lnTo>
                  <a:pt x="88" y="62"/>
                </a:lnTo>
                <a:lnTo>
                  <a:pt x="88" y="65"/>
                </a:lnTo>
                <a:lnTo>
                  <a:pt x="88" y="65"/>
                </a:lnTo>
                <a:lnTo>
                  <a:pt x="88" y="68"/>
                </a:lnTo>
                <a:lnTo>
                  <a:pt x="88" y="68"/>
                </a:lnTo>
                <a:lnTo>
                  <a:pt x="84" y="68"/>
                </a:lnTo>
                <a:lnTo>
                  <a:pt x="81" y="75"/>
                </a:lnTo>
                <a:lnTo>
                  <a:pt x="78" y="75"/>
                </a:lnTo>
                <a:lnTo>
                  <a:pt x="78" y="72"/>
                </a:lnTo>
                <a:lnTo>
                  <a:pt x="78" y="75"/>
                </a:lnTo>
                <a:lnTo>
                  <a:pt x="75" y="75"/>
                </a:lnTo>
                <a:lnTo>
                  <a:pt x="75" y="78"/>
                </a:lnTo>
                <a:lnTo>
                  <a:pt x="75" y="81"/>
                </a:lnTo>
                <a:lnTo>
                  <a:pt x="75" y="84"/>
                </a:lnTo>
                <a:lnTo>
                  <a:pt x="75" y="84"/>
                </a:lnTo>
                <a:lnTo>
                  <a:pt x="78" y="87"/>
                </a:lnTo>
                <a:lnTo>
                  <a:pt x="75" y="93"/>
                </a:lnTo>
                <a:lnTo>
                  <a:pt x="72" y="97"/>
                </a:lnTo>
                <a:lnTo>
                  <a:pt x="78" y="100"/>
                </a:lnTo>
                <a:lnTo>
                  <a:pt x="75" y="103"/>
                </a:lnTo>
                <a:lnTo>
                  <a:pt x="72" y="103"/>
                </a:lnTo>
                <a:lnTo>
                  <a:pt x="75" y="103"/>
                </a:lnTo>
                <a:lnTo>
                  <a:pt x="81" y="106"/>
                </a:lnTo>
                <a:lnTo>
                  <a:pt x="88" y="112"/>
                </a:lnTo>
                <a:lnTo>
                  <a:pt x="91" y="112"/>
                </a:lnTo>
                <a:lnTo>
                  <a:pt x="91" y="115"/>
                </a:lnTo>
                <a:lnTo>
                  <a:pt x="91" y="118"/>
                </a:lnTo>
                <a:lnTo>
                  <a:pt x="91" y="118"/>
                </a:lnTo>
                <a:lnTo>
                  <a:pt x="94" y="125"/>
                </a:lnTo>
                <a:lnTo>
                  <a:pt x="94" y="128"/>
                </a:lnTo>
                <a:lnTo>
                  <a:pt x="100" y="134"/>
                </a:lnTo>
                <a:lnTo>
                  <a:pt x="106" y="134"/>
                </a:lnTo>
                <a:lnTo>
                  <a:pt x="106" y="137"/>
                </a:lnTo>
                <a:lnTo>
                  <a:pt x="116" y="143"/>
                </a:lnTo>
                <a:lnTo>
                  <a:pt x="125" y="150"/>
                </a:lnTo>
                <a:lnTo>
                  <a:pt x="128" y="153"/>
                </a:lnTo>
                <a:lnTo>
                  <a:pt x="138" y="159"/>
                </a:lnTo>
                <a:lnTo>
                  <a:pt x="141" y="165"/>
                </a:lnTo>
                <a:lnTo>
                  <a:pt x="141" y="168"/>
                </a:lnTo>
                <a:lnTo>
                  <a:pt x="141" y="168"/>
                </a:lnTo>
                <a:lnTo>
                  <a:pt x="141" y="172"/>
                </a:lnTo>
                <a:lnTo>
                  <a:pt x="147" y="175"/>
                </a:lnTo>
                <a:lnTo>
                  <a:pt x="147" y="178"/>
                </a:lnTo>
                <a:lnTo>
                  <a:pt x="147" y="178"/>
                </a:lnTo>
                <a:lnTo>
                  <a:pt x="147" y="181"/>
                </a:lnTo>
                <a:lnTo>
                  <a:pt x="150" y="184"/>
                </a:lnTo>
                <a:lnTo>
                  <a:pt x="150" y="190"/>
                </a:lnTo>
                <a:lnTo>
                  <a:pt x="150" y="194"/>
                </a:lnTo>
                <a:lnTo>
                  <a:pt x="153" y="200"/>
                </a:lnTo>
                <a:lnTo>
                  <a:pt x="153" y="200"/>
                </a:lnTo>
                <a:lnTo>
                  <a:pt x="153" y="203"/>
                </a:lnTo>
                <a:lnTo>
                  <a:pt x="153" y="206"/>
                </a:lnTo>
                <a:lnTo>
                  <a:pt x="156" y="209"/>
                </a:lnTo>
                <a:lnTo>
                  <a:pt x="153" y="212"/>
                </a:lnTo>
                <a:lnTo>
                  <a:pt x="156" y="215"/>
                </a:lnTo>
                <a:lnTo>
                  <a:pt x="156" y="219"/>
                </a:lnTo>
                <a:lnTo>
                  <a:pt x="156" y="219"/>
                </a:lnTo>
                <a:lnTo>
                  <a:pt x="159" y="222"/>
                </a:lnTo>
                <a:lnTo>
                  <a:pt x="159" y="225"/>
                </a:lnTo>
                <a:lnTo>
                  <a:pt x="159" y="228"/>
                </a:lnTo>
                <a:lnTo>
                  <a:pt x="159" y="228"/>
                </a:lnTo>
                <a:lnTo>
                  <a:pt x="159" y="228"/>
                </a:lnTo>
                <a:lnTo>
                  <a:pt x="159" y="225"/>
                </a:lnTo>
                <a:lnTo>
                  <a:pt x="156" y="228"/>
                </a:lnTo>
                <a:lnTo>
                  <a:pt x="156" y="231"/>
                </a:lnTo>
                <a:lnTo>
                  <a:pt x="159" y="231"/>
                </a:lnTo>
                <a:lnTo>
                  <a:pt x="159" y="234"/>
                </a:lnTo>
                <a:lnTo>
                  <a:pt x="156" y="234"/>
                </a:lnTo>
                <a:lnTo>
                  <a:pt x="156" y="237"/>
                </a:lnTo>
                <a:lnTo>
                  <a:pt x="153" y="240"/>
                </a:lnTo>
                <a:lnTo>
                  <a:pt x="156" y="244"/>
                </a:lnTo>
                <a:lnTo>
                  <a:pt x="153" y="247"/>
                </a:lnTo>
                <a:lnTo>
                  <a:pt x="156" y="250"/>
                </a:lnTo>
                <a:lnTo>
                  <a:pt x="153" y="250"/>
                </a:lnTo>
                <a:lnTo>
                  <a:pt x="150" y="253"/>
                </a:lnTo>
                <a:lnTo>
                  <a:pt x="150" y="256"/>
                </a:lnTo>
                <a:lnTo>
                  <a:pt x="147" y="259"/>
                </a:lnTo>
                <a:lnTo>
                  <a:pt x="144" y="262"/>
                </a:lnTo>
                <a:lnTo>
                  <a:pt x="141" y="262"/>
                </a:lnTo>
                <a:lnTo>
                  <a:pt x="138" y="265"/>
                </a:lnTo>
                <a:lnTo>
                  <a:pt x="138" y="269"/>
                </a:lnTo>
                <a:lnTo>
                  <a:pt x="131" y="269"/>
                </a:lnTo>
                <a:lnTo>
                  <a:pt x="131" y="272"/>
                </a:lnTo>
                <a:lnTo>
                  <a:pt x="122" y="278"/>
                </a:lnTo>
                <a:lnTo>
                  <a:pt x="116" y="278"/>
                </a:lnTo>
                <a:lnTo>
                  <a:pt x="116" y="278"/>
                </a:lnTo>
                <a:lnTo>
                  <a:pt x="109" y="278"/>
                </a:lnTo>
                <a:lnTo>
                  <a:pt x="109" y="278"/>
                </a:lnTo>
                <a:lnTo>
                  <a:pt x="109" y="275"/>
                </a:lnTo>
                <a:lnTo>
                  <a:pt x="109" y="272"/>
                </a:lnTo>
                <a:lnTo>
                  <a:pt x="109" y="275"/>
                </a:lnTo>
                <a:lnTo>
                  <a:pt x="109" y="275"/>
                </a:lnTo>
                <a:lnTo>
                  <a:pt x="106" y="275"/>
                </a:lnTo>
                <a:lnTo>
                  <a:pt x="109" y="278"/>
                </a:lnTo>
                <a:lnTo>
                  <a:pt x="109" y="278"/>
                </a:lnTo>
                <a:lnTo>
                  <a:pt x="106" y="278"/>
                </a:lnTo>
                <a:lnTo>
                  <a:pt x="103" y="278"/>
                </a:lnTo>
                <a:lnTo>
                  <a:pt x="109" y="281"/>
                </a:lnTo>
                <a:lnTo>
                  <a:pt x="106" y="281"/>
                </a:lnTo>
                <a:lnTo>
                  <a:pt x="109" y="284"/>
                </a:lnTo>
                <a:lnTo>
                  <a:pt x="106" y="287"/>
                </a:lnTo>
                <a:lnTo>
                  <a:pt x="103" y="284"/>
                </a:lnTo>
                <a:lnTo>
                  <a:pt x="106" y="287"/>
                </a:lnTo>
                <a:lnTo>
                  <a:pt x="106" y="290"/>
                </a:lnTo>
                <a:lnTo>
                  <a:pt x="103" y="290"/>
                </a:lnTo>
                <a:lnTo>
                  <a:pt x="103" y="290"/>
                </a:lnTo>
                <a:lnTo>
                  <a:pt x="100" y="287"/>
                </a:lnTo>
                <a:lnTo>
                  <a:pt x="97" y="290"/>
                </a:lnTo>
                <a:lnTo>
                  <a:pt x="100" y="294"/>
                </a:lnTo>
                <a:lnTo>
                  <a:pt x="100" y="294"/>
                </a:lnTo>
                <a:lnTo>
                  <a:pt x="100" y="294"/>
                </a:lnTo>
                <a:lnTo>
                  <a:pt x="97" y="297"/>
                </a:lnTo>
                <a:lnTo>
                  <a:pt x="97" y="297"/>
                </a:lnTo>
                <a:lnTo>
                  <a:pt x="97" y="297"/>
                </a:lnTo>
                <a:lnTo>
                  <a:pt x="91" y="300"/>
                </a:lnTo>
                <a:lnTo>
                  <a:pt x="91" y="300"/>
                </a:lnTo>
                <a:lnTo>
                  <a:pt x="88" y="300"/>
                </a:lnTo>
                <a:lnTo>
                  <a:pt x="88" y="303"/>
                </a:lnTo>
                <a:lnTo>
                  <a:pt x="88" y="306"/>
                </a:lnTo>
                <a:lnTo>
                  <a:pt x="84" y="309"/>
                </a:lnTo>
                <a:lnTo>
                  <a:pt x="81" y="309"/>
                </a:lnTo>
                <a:lnTo>
                  <a:pt x="81" y="309"/>
                </a:lnTo>
                <a:lnTo>
                  <a:pt x="75" y="316"/>
                </a:lnTo>
                <a:lnTo>
                  <a:pt x="69" y="312"/>
                </a:lnTo>
                <a:lnTo>
                  <a:pt x="72" y="312"/>
                </a:lnTo>
                <a:lnTo>
                  <a:pt x="75" y="309"/>
                </a:lnTo>
                <a:lnTo>
                  <a:pt x="78" y="309"/>
                </a:lnTo>
                <a:lnTo>
                  <a:pt x="75" y="309"/>
                </a:lnTo>
                <a:lnTo>
                  <a:pt x="72" y="306"/>
                </a:lnTo>
                <a:lnTo>
                  <a:pt x="75" y="300"/>
                </a:lnTo>
                <a:lnTo>
                  <a:pt x="75" y="300"/>
                </a:lnTo>
                <a:lnTo>
                  <a:pt x="72" y="300"/>
                </a:lnTo>
                <a:lnTo>
                  <a:pt x="75" y="297"/>
                </a:lnTo>
                <a:lnTo>
                  <a:pt x="72" y="290"/>
                </a:lnTo>
                <a:lnTo>
                  <a:pt x="75" y="287"/>
                </a:lnTo>
                <a:lnTo>
                  <a:pt x="81" y="281"/>
                </a:lnTo>
                <a:lnTo>
                  <a:pt x="84" y="281"/>
                </a:lnTo>
                <a:lnTo>
                  <a:pt x="81" y="281"/>
                </a:lnTo>
                <a:lnTo>
                  <a:pt x="75" y="281"/>
                </a:lnTo>
                <a:lnTo>
                  <a:pt x="75" y="281"/>
                </a:lnTo>
                <a:lnTo>
                  <a:pt x="72" y="281"/>
                </a:lnTo>
                <a:lnTo>
                  <a:pt x="69" y="281"/>
                </a:lnTo>
                <a:lnTo>
                  <a:pt x="66" y="281"/>
                </a:lnTo>
                <a:lnTo>
                  <a:pt x="66" y="281"/>
                </a:lnTo>
                <a:lnTo>
                  <a:pt x="66" y="278"/>
                </a:lnTo>
                <a:lnTo>
                  <a:pt x="66" y="275"/>
                </a:lnTo>
                <a:lnTo>
                  <a:pt x="69" y="272"/>
                </a:lnTo>
                <a:lnTo>
                  <a:pt x="72" y="272"/>
                </a:lnTo>
                <a:lnTo>
                  <a:pt x="75" y="265"/>
                </a:lnTo>
                <a:lnTo>
                  <a:pt x="78" y="265"/>
                </a:lnTo>
                <a:lnTo>
                  <a:pt x="81" y="265"/>
                </a:lnTo>
                <a:lnTo>
                  <a:pt x="91" y="265"/>
                </a:lnTo>
                <a:lnTo>
                  <a:pt x="94" y="265"/>
                </a:lnTo>
                <a:lnTo>
                  <a:pt x="97" y="269"/>
                </a:lnTo>
                <a:lnTo>
                  <a:pt x="103" y="269"/>
                </a:lnTo>
                <a:lnTo>
                  <a:pt x="100" y="265"/>
                </a:lnTo>
                <a:lnTo>
                  <a:pt x="100" y="262"/>
                </a:lnTo>
                <a:lnTo>
                  <a:pt x="97" y="259"/>
                </a:lnTo>
                <a:lnTo>
                  <a:pt x="94" y="256"/>
                </a:lnTo>
                <a:lnTo>
                  <a:pt x="91" y="250"/>
                </a:lnTo>
                <a:lnTo>
                  <a:pt x="97" y="247"/>
                </a:lnTo>
                <a:lnTo>
                  <a:pt x="103" y="247"/>
                </a:lnTo>
                <a:lnTo>
                  <a:pt x="106" y="244"/>
                </a:lnTo>
                <a:lnTo>
                  <a:pt x="109" y="240"/>
                </a:lnTo>
                <a:lnTo>
                  <a:pt x="116" y="237"/>
                </a:lnTo>
                <a:lnTo>
                  <a:pt x="116" y="234"/>
                </a:lnTo>
                <a:lnTo>
                  <a:pt x="119" y="234"/>
                </a:lnTo>
                <a:lnTo>
                  <a:pt x="122" y="228"/>
                </a:lnTo>
                <a:lnTo>
                  <a:pt x="122" y="225"/>
                </a:lnTo>
                <a:lnTo>
                  <a:pt x="125" y="219"/>
                </a:lnTo>
                <a:lnTo>
                  <a:pt x="122" y="215"/>
                </a:lnTo>
                <a:lnTo>
                  <a:pt x="122" y="209"/>
                </a:lnTo>
                <a:lnTo>
                  <a:pt x="119" y="200"/>
                </a:lnTo>
                <a:lnTo>
                  <a:pt x="116" y="200"/>
                </a:lnTo>
                <a:lnTo>
                  <a:pt x="113" y="194"/>
                </a:lnTo>
                <a:lnTo>
                  <a:pt x="116" y="194"/>
                </a:lnTo>
                <a:lnTo>
                  <a:pt x="119" y="190"/>
                </a:lnTo>
                <a:lnTo>
                  <a:pt x="119" y="184"/>
                </a:lnTo>
                <a:lnTo>
                  <a:pt x="116" y="181"/>
                </a:lnTo>
                <a:lnTo>
                  <a:pt x="116" y="178"/>
                </a:lnTo>
                <a:lnTo>
                  <a:pt x="122" y="172"/>
                </a:lnTo>
                <a:lnTo>
                  <a:pt x="122" y="168"/>
                </a:lnTo>
                <a:lnTo>
                  <a:pt x="119" y="168"/>
                </a:lnTo>
                <a:lnTo>
                  <a:pt x="116" y="165"/>
                </a:lnTo>
                <a:lnTo>
                  <a:pt x="116" y="159"/>
                </a:lnTo>
                <a:lnTo>
                  <a:pt x="119" y="156"/>
                </a:lnTo>
                <a:lnTo>
                  <a:pt x="119" y="156"/>
                </a:lnTo>
                <a:lnTo>
                  <a:pt x="116" y="156"/>
                </a:lnTo>
                <a:lnTo>
                  <a:pt x="113" y="156"/>
                </a:lnTo>
                <a:lnTo>
                  <a:pt x="109" y="153"/>
                </a:lnTo>
                <a:lnTo>
                  <a:pt x="106" y="153"/>
                </a:lnTo>
                <a:lnTo>
                  <a:pt x="103" y="150"/>
                </a:lnTo>
                <a:lnTo>
                  <a:pt x="106" y="147"/>
                </a:lnTo>
                <a:lnTo>
                  <a:pt x="103" y="147"/>
                </a:lnTo>
                <a:lnTo>
                  <a:pt x="100" y="147"/>
                </a:lnTo>
                <a:lnTo>
                  <a:pt x="97" y="143"/>
                </a:lnTo>
                <a:lnTo>
                  <a:pt x="97" y="140"/>
                </a:lnTo>
                <a:lnTo>
                  <a:pt x="94" y="137"/>
                </a:lnTo>
                <a:lnTo>
                  <a:pt x="91" y="137"/>
                </a:lnTo>
                <a:lnTo>
                  <a:pt x="88" y="134"/>
                </a:lnTo>
                <a:lnTo>
                  <a:pt x="88" y="131"/>
                </a:lnTo>
                <a:lnTo>
                  <a:pt x="81" y="125"/>
                </a:lnTo>
                <a:lnTo>
                  <a:pt x="81" y="122"/>
                </a:lnTo>
                <a:lnTo>
                  <a:pt x="75" y="115"/>
                </a:lnTo>
                <a:lnTo>
                  <a:pt x="72" y="112"/>
                </a:lnTo>
                <a:lnTo>
                  <a:pt x="66" y="106"/>
                </a:lnTo>
                <a:lnTo>
                  <a:pt x="63" y="106"/>
                </a:lnTo>
                <a:lnTo>
                  <a:pt x="56" y="103"/>
                </a:lnTo>
                <a:lnTo>
                  <a:pt x="50" y="103"/>
                </a:lnTo>
                <a:lnTo>
                  <a:pt x="47" y="97"/>
                </a:lnTo>
                <a:lnTo>
                  <a:pt x="44" y="97"/>
                </a:lnTo>
                <a:lnTo>
                  <a:pt x="44" y="93"/>
                </a:lnTo>
                <a:lnTo>
                  <a:pt x="47" y="90"/>
                </a:lnTo>
                <a:lnTo>
                  <a:pt x="41" y="87"/>
                </a:lnTo>
                <a:lnTo>
                  <a:pt x="41" y="84"/>
                </a:lnTo>
                <a:lnTo>
                  <a:pt x="44" y="84"/>
                </a:lnTo>
                <a:lnTo>
                  <a:pt x="50" y="81"/>
                </a:lnTo>
                <a:lnTo>
                  <a:pt x="53" y="81"/>
                </a:lnTo>
                <a:lnTo>
                  <a:pt x="56" y="78"/>
                </a:lnTo>
                <a:lnTo>
                  <a:pt x="59" y="72"/>
                </a:lnTo>
                <a:lnTo>
                  <a:pt x="59" y="68"/>
                </a:lnTo>
                <a:lnTo>
                  <a:pt x="59" y="65"/>
                </a:lnTo>
                <a:lnTo>
                  <a:pt x="56" y="65"/>
                </a:lnTo>
                <a:lnTo>
                  <a:pt x="56" y="62"/>
                </a:lnTo>
                <a:lnTo>
                  <a:pt x="53" y="59"/>
                </a:lnTo>
                <a:lnTo>
                  <a:pt x="50" y="56"/>
                </a:lnTo>
                <a:lnTo>
                  <a:pt x="47" y="53"/>
                </a:lnTo>
                <a:lnTo>
                  <a:pt x="41" y="53"/>
                </a:lnTo>
                <a:lnTo>
                  <a:pt x="38" y="56"/>
                </a:lnTo>
                <a:lnTo>
                  <a:pt x="31" y="56"/>
                </a:lnTo>
                <a:lnTo>
                  <a:pt x="25" y="56"/>
                </a:lnTo>
                <a:lnTo>
                  <a:pt x="19" y="46"/>
                </a:lnTo>
                <a:lnTo>
                  <a:pt x="13" y="40"/>
                </a:lnTo>
                <a:lnTo>
                  <a:pt x="16" y="37"/>
                </a:lnTo>
                <a:lnTo>
                  <a:pt x="13" y="34"/>
                </a:lnTo>
                <a:lnTo>
                  <a:pt x="9" y="31"/>
                </a:lnTo>
                <a:lnTo>
                  <a:pt x="6" y="25"/>
                </a:lnTo>
                <a:lnTo>
                  <a:pt x="0" y="25"/>
                </a:lnTo>
                <a:lnTo>
                  <a:pt x="0" y="21"/>
                </a:lnTo>
                <a:lnTo>
                  <a:pt x="0" y="21"/>
                </a:lnTo>
                <a:close/>
                <a:moveTo>
                  <a:pt x="53" y="278"/>
                </a:moveTo>
                <a:lnTo>
                  <a:pt x="56" y="281"/>
                </a:lnTo>
                <a:lnTo>
                  <a:pt x="53" y="281"/>
                </a:lnTo>
                <a:lnTo>
                  <a:pt x="56" y="284"/>
                </a:lnTo>
                <a:lnTo>
                  <a:pt x="59" y="284"/>
                </a:lnTo>
                <a:lnTo>
                  <a:pt x="59" y="278"/>
                </a:lnTo>
                <a:lnTo>
                  <a:pt x="59" y="278"/>
                </a:lnTo>
                <a:lnTo>
                  <a:pt x="56" y="275"/>
                </a:lnTo>
                <a:lnTo>
                  <a:pt x="53" y="278"/>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2" name="Freeform 30">
            <a:extLst>
              <a:ext uri="{FF2B5EF4-FFF2-40B4-BE49-F238E27FC236}">
                <a16:creationId xmlns:a16="http://schemas.microsoft.com/office/drawing/2014/main" id="{5B5DC421-4FEA-4078-66DB-AA31031477B4}"/>
              </a:ext>
            </a:extLst>
          </p:cNvPr>
          <p:cNvSpPr>
            <a:spLocks/>
          </p:cNvSpPr>
          <p:nvPr userDrawn="1"/>
        </p:nvSpPr>
        <p:spPr bwMode="auto">
          <a:xfrm>
            <a:off x="19550381" y="8432080"/>
            <a:ext cx="336528" cy="279400"/>
          </a:xfrm>
          <a:custGeom>
            <a:avLst/>
            <a:gdLst>
              <a:gd name="T0" fmla="*/ 50 w 106"/>
              <a:gd name="T1" fmla="*/ 85 h 88"/>
              <a:gd name="T2" fmla="*/ 56 w 106"/>
              <a:gd name="T3" fmla="*/ 78 h 88"/>
              <a:gd name="T4" fmla="*/ 62 w 106"/>
              <a:gd name="T5" fmla="*/ 78 h 88"/>
              <a:gd name="T6" fmla="*/ 75 w 106"/>
              <a:gd name="T7" fmla="*/ 78 h 88"/>
              <a:gd name="T8" fmla="*/ 84 w 106"/>
              <a:gd name="T9" fmla="*/ 82 h 88"/>
              <a:gd name="T10" fmla="*/ 81 w 106"/>
              <a:gd name="T11" fmla="*/ 75 h 88"/>
              <a:gd name="T12" fmla="*/ 75 w 106"/>
              <a:gd name="T13" fmla="*/ 69 h 88"/>
              <a:gd name="T14" fmla="*/ 78 w 106"/>
              <a:gd name="T15" fmla="*/ 60 h 88"/>
              <a:gd name="T16" fmla="*/ 87 w 106"/>
              <a:gd name="T17" fmla="*/ 57 h 88"/>
              <a:gd name="T18" fmla="*/ 97 w 106"/>
              <a:gd name="T19" fmla="*/ 50 h 88"/>
              <a:gd name="T20" fmla="*/ 100 w 106"/>
              <a:gd name="T21" fmla="*/ 47 h 88"/>
              <a:gd name="T22" fmla="*/ 103 w 106"/>
              <a:gd name="T23" fmla="*/ 38 h 88"/>
              <a:gd name="T24" fmla="*/ 103 w 106"/>
              <a:gd name="T25" fmla="*/ 28 h 88"/>
              <a:gd name="T26" fmla="*/ 100 w 106"/>
              <a:gd name="T27" fmla="*/ 13 h 88"/>
              <a:gd name="T28" fmla="*/ 94 w 106"/>
              <a:gd name="T29" fmla="*/ 7 h 88"/>
              <a:gd name="T30" fmla="*/ 87 w 106"/>
              <a:gd name="T31" fmla="*/ 3 h 88"/>
              <a:gd name="T32" fmla="*/ 84 w 106"/>
              <a:gd name="T33" fmla="*/ 0 h 88"/>
              <a:gd name="T34" fmla="*/ 72 w 106"/>
              <a:gd name="T35" fmla="*/ 3 h 88"/>
              <a:gd name="T36" fmla="*/ 78 w 106"/>
              <a:gd name="T37" fmla="*/ 13 h 88"/>
              <a:gd name="T38" fmla="*/ 78 w 106"/>
              <a:gd name="T39" fmla="*/ 19 h 88"/>
              <a:gd name="T40" fmla="*/ 69 w 106"/>
              <a:gd name="T41" fmla="*/ 10 h 88"/>
              <a:gd name="T42" fmla="*/ 59 w 106"/>
              <a:gd name="T43" fmla="*/ 7 h 88"/>
              <a:gd name="T44" fmla="*/ 53 w 106"/>
              <a:gd name="T45" fmla="*/ 7 h 88"/>
              <a:gd name="T46" fmla="*/ 44 w 106"/>
              <a:gd name="T47" fmla="*/ 3 h 88"/>
              <a:gd name="T48" fmla="*/ 37 w 106"/>
              <a:gd name="T49" fmla="*/ 3 h 88"/>
              <a:gd name="T50" fmla="*/ 28 w 106"/>
              <a:gd name="T51" fmla="*/ 3 h 88"/>
              <a:gd name="T52" fmla="*/ 15 w 106"/>
              <a:gd name="T53" fmla="*/ 7 h 88"/>
              <a:gd name="T54" fmla="*/ 6 w 106"/>
              <a:gd name="T55" fmla="*/ 13 h 88"/>
              <a:gd name="T56" fmla="*/ 3 w 106"/>
              <a:gd name="T57" fmla="*/ 22 h 88"/>
              <a:gd name="T58" fmla="*/ 3 w 106"/>
              <a:gd name="T59" fmla="*/ 38 h 88"/>
              <a:gd name="T60" fmla="*/ 9 w 106"/>
              <a:gd name="T61" fmla="*/ 44 h 88"/>
              <a:gd name="T62" fmla="*/ 6 w 106"/>
              <a:gd name="T63" fmla="*/ 53 h 88"/>
              <a:gd name="T64" fmla="*/ 9 w 106"/>
              <a:gd name="T65" fmla="*/ 57 h 88"/>
              <a:gd name="T66" fmla="*/ 12 w 106"/>
              <a:gd name="T67" fmla="*/ 63 h 88"/>
              <a:gd name="T68" fmla="*/ 15 w 106"/>
              <a:gd name="T69" fmla="*/ 69 h 88"/>
              <a:gd name="T70" fmla="*/ 19 w 106"/>
              <a:gd name="T71" fmla="*/ 72 h 88"/>
              <a:gd name="T72" fmla="*/ 19 w 106"/>
              <a:gd name="T73" fmla="*/ 78 h 88"/>
              <a:gd name="T74" fmla="*/ 22 w 106"/>
              <a:gd name="T75" fmla="*/ 82 h 88"/>
              <a:gd name="T76" fmla="*/ 25 w 106"/>
              <a:gd name="T77" fmla="*/ 78 h 88"/>
              <a:gd name="T78" fmla="*/ 31 w 106"/>
              <a:gd name="T79" fmla="*/ 75 h 88"/>
              <a:gd name="T80" fmla="*/ 31 w 106"/>
              <a:gd name="T81" fmla="*/ 78 h 88"/>
              <a:gd name="T82" fmla="*/ 28 w 106"/>
              <a:gd name="T83" fmla="*/ 85 h 88"/>
              <a:gd name="T84" fmla="*/ 31 w 106"/>
              <a:gd name="T85" fmla="*/ 88 h 88"/>
              <a:gd name="T86" fmla="*/ 34 w 106"/>
              <a:gd name="T87" fmla="*/ 85 h 88"/>
              <a:gd name="T88" fmla="*/ 37 w 106"/>
              <a:gd name="T89" fmla="*/ 85 h 88"/>
              <a:gd name="T90" fmla="*/ 44 w 106"/>
              <a:gd name="T91" fmla="*/ 8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88">
                <a:moveTo>
                  <a:pt x="47" y="88"/>
                </a:moveTo>
                <a:lnTo>
                  <a:pt x="50" y="85"/>
                </a:lnTo>
                <a:lnTo>
                  <a:pt x="53" y="85"/>
                </a:lnTo>
                <a:lnTo>
                  <a:pt x="56" y="78"/>
                </a:lnTo>
                <a:lnTo>
                  <a:pt x="59" y="78"/>
                </a:lnTo>
                <a:lnTo>
                  <a:pt x="62" y="78"/>
                </a:lnTo>
                <a:lnTo>
                  <a:pt x="72" y="78"/>
                </a:lnTo>
                <a:lnTo>
                  <a:pt x="75" y="78"/>
                </a:lnTo>
                <a:lnTo>
                  <a:pt x="78" y="82"/>
                </a:lnTo>
                <a:lnTo>
                  <a:pt x="84" y="82"/>
                </a:lnTo>
                <a:lnTo>
                  <a:pt x="81" y="78"/>
                </a:lnTo>
                <a:lnTo>
                  <a:pt x="81" y="75"/>
                </a:lnTo>
                <a:lnTo>
                  <a:pt x="78" y="72"/>
                </a:lnTo>
                <a:lnTo>
                  <a:pt x="75" y="69"/>
                </a:lnTo>
                <a:lnTo>
                  <a:pt x="72" y="63"/>
                </a:lnTo>
                <a:lnTo>
                  <a:pt x="78" y="60"/>
                </a:lnTo>
                <a:lnTo>
                  <a:pt x="84" y="60"/>
                </a:lnTo>
                <a:lnTo>
                  <a:pt x="87" y="57"/>
                </a:lnTo>
                <a:lnTo>
                  <a:pt x="90" y="53"/>
                </a:lnTo>
                <a:lnTo>
                  <a:pt x="97" y="50"/>
                </a:lnTo>
                <a:lnTo>
                  <a:pt x="97" y="47"/>
                </a:lnTo>
                <a:lnTo>
                  <a:pt x="100" y="47"/>
                </a:lnTo>
                <a:lnTo>
                  <a:pt x="103" y="41"/>
                </a:lnTo>
                <a:lnTo>
                  <a:pt x="103" y="38"/>
                </a:lnTo>
                <a:lnTo>
                  <a:pt x="106" y="32"/>
                </a:lnTo>
                <a:lnTo>
                  <a:pt x="103" y="28"/>
                </a:lnTo>
                <a:lnTo>
                  <a:pt x="103" y="22"/>
                </a:lnTo>
                <a:lnTo>
                  <a:pt x="100" y="13"/>
                </a:lnTo>
                <a:lnTo>
                  <a:pt x="97" y="13"/>
                </a:lnTo>
                <a:lnTo>
                  <a:pt x="94" y="7"/>
                </a:lnTo>
                <a:lnTo>
                  <a:pt x="90" y="7"/>
                </a:lnTo>
                <a:lnTo>
                  <a:pt x="87" y="3"/>
                </a:lnTo>
                <a:lnTo>
                  <a:pt x="84" y="3"/>
                </a:lnTo>
                <a:lnTo>
                  <a:pt x="84" y="0"/>
                </a:lnTo>
                <a:lnTo>
                  <a:pt x="78" y="0"/>
                </a:lnTo>
                <a:lnTo>
                  <a:pt x="72" y="3"/>
                </a:lnTo>
                <a:lnTo>
                  <a:pt x="78" y="10"/>
                </a:lnTo>
                <a:lnTo>
                  <a:pt x="78" y="13"/>
                </a:lnTo>
                <a:lnTo>
                  <a:pt x="78" y="16"/>
                </a:lnTo>
                <a:lnTo>
                  <a:pt x="78" y="19"/>
                </a:lnTo>
                <a:lnTo>
                  <a:pt x="72" y="16"/>
                </a:lnTo>
                <a:lnTo>
                  <a:pt x="69" y="10"/>
                </a:lnTo>
                <a:lnTo>
                  <a:pt x="62" y="10"/>
                </a:lnTo>
                <a:lnTo>
                  <a:pt x="59" y="7"/>
                </a:lnTo>
                <a:lnTo>
                  <a:pt x="56" y="3"/>
                </a:lnTo>
                <a:lnTo>
                  <a:pt x="53" y="7"/>
                </a:lnTo>
                <a:lnTo>
                  <a:pt x="50" y="3"/>
                </a:lnTo>
                <a:lnTo>
                  <a:pt x="44" y="3"/>
                </a:lnTo>
                <a:lnTo>
                  <a:pt x="40" y="3"/>
                </a:lnTo>
                <a:lnTo>
                  <a:pt x="37" y="3"/>
                </a:lnTo>
                <a:lnTo>
                  <a:pt x="31" y="3"/>
                </a:lnTo>
                <a:lnTo>
                  <a:pt x="28" y="3"/>
                </a:lnTo>
                <a:lnTo>
                  <a:pt x="25" y="3"/>
                </a:lnTo>
                <a:lnTo>
                  <a:pt x="15" y="7"/>
                </a:lnTo>
                <a:lnTo>
                  <a:pt x="9" y="7"/>
                </a:lnTo>
                <a:lnTo>
                  <a:pt x="6" y="13"/>
                </a:lnTo>
                <a:lnTo>
                  <a:pt x="6" y="16"/>
                </a:lnTo>
                <a:lnTo>
                  <a:pt x="3" y="22"/>
                </a:lnTo>
                <a:lnTo>
                  <a:pt x="0" y="28"/>
                </a:lnTo>
                <a:lnTo>
                  <a:pt x="3" y="38"/>
                </a:lnTo>
                <a:lnTo>
                  <a:pt x="6" y="38"/>
                </a:lnTo>
                <a:lnTo>
                  <a:pt x="9" y="44"/>
                </a:lnTo>
                <a:lnTo>
                  <a:pt x="9" y="50"/>
                </a:lnTo>
                <a:lnTo>
                  <a:pt x="6" y="53"/>
                </a:lnTo>
                <a:lnTo>
                  <a:pt x="6" y="53"/>
                </a:lnTo>
                <a:lnTo>
                  <a:pt x="9" y="57"/>
                </a:lnTo>
                <a:lnTo>
                  <a:pt x="9" y="60"/>
                </a:lnTo>
                <a:lnTo>
                  <a:pt x="12" y="63"/>
                </a:lnTo>
                <a:lnTo>
                  <a:pt x="12" y="66"/>
                </a:lnTo>
                <a:lnTo>
                  <a:pt x="15" y="69"/>
                </a:lnTo>
                <a:lnTo>
                  <a:pt x="19" y="69"/>
                </a:lnTo>
                <a:lnTo>
                  <a:pt x="19" y="72"/>
                </a:lnTo>
                <a:lnTo>
                  <a:pt x="19" y="75"/>
                </a:lnTo>
                <a:lnTo>
                  <a:pt x="19" y="78"/>
                </a:lnTo>
                <a:lnTo>
                  <a:pt x="22" y="82"/>
                </a:lnTo>
                <a:lnTo>
                  <a:pt x="22" y="82"/>
                </a:lnTo>
                <a:lnTo>
                  <a:pt x="25" y="82"/>
                </a:lnTo>
                <a:lnTo>
                  <a:pt x="25" y="78"/>
                </a:lnTo>
                <a:lnTo>
                  <a:pt x="28" y="75"/>
                </a:lnTo>
                <a:lnTo>
                  <a:pt x="31" y="75"/>
                </a:lnTo>
                <a:lnTo>
                  <a:pt x="31" y="75"/>
                </a:lnTo>
                <a:lnTo>
                  <a:pt x="31" y="78"/>
                </a:lnTo>
                <a:lnTo>
                  <a:pt x="31" y="82"/>
                </a:lnTo>
                <a:lnTo>
                  <a:pt x="28" y="85"/>
                </a:lnTo>
                <a:lnTo>
                  <a:pt x="31" y="88"/>
                </a:lnTo>
                <a:lnTo>
                  <a:pt x="31" y="88"/>
                </a:lnTo>
                <a:lnTo>
                  <a:pt x="31" y="88"/>
                </a:lnTo>
                <a:lnTo>
                  <a:pt x="34" y="85"/>
                </a:lnTo>
                <a:lnTo>
                  <a:pt x="34" y="85"/>
                </a:lnTo>
                <a:lnTo>
                  <a:pt x="37" y="85"/>
                </a:lnTo>
                <a:lnTo>
                  <a:pt x="40" y="88"/>
                </a:lnTo>
                <a:lnTo>
                  <a:pt x="44" y="85"/>
                </a:lnTo>
                <a:lnTo>
                  <a:pt x="47" y="88"/>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3" name="Freeform 31">
            <a:extLst>
              <a:ext uri="{FF2B5EF4-FFF2-40B4-BE49-F238E27FC236}">
                <a16:creationId xmlns:a16="http://schemas.microsoft.com/office/drawing/2014/main" id="{B0DA7401-571D-4CFB-428F-412B0AD5D588}"/>
              </a:ext>
            </a:extLst>
          </p:cNvPr>
          <p:cNvSpPr>
            <a:spLocks/>
          </p:cNvSpPr>
          <p:nvPr userDrawn="1"/>
        </p:nvSpPr>
        <p:spPr bwMode="auto">
          <a:xfrm>
            <a:off x="19359887" y="7905032"/>
            <a:ext cx="517492" cy="587376"/>
          </a:xfrm>
          <a:custGeom>
            <a:avLst/>
            <a:gdLst>
              <a:gd name="T0" fmla="*/ 25 w 163"/>
              <a:gd name="T1" fmla="*/ 25 h 185"/>
              <a:gd name="T2" fmla="*/ 32 w 163"/>
              <a:gd name="T3" fmla="*/ 19 h 185"/>
              <a:gd name="T4" fmla="*/ 29 w 163"/>
              <a:gd name="T5" fmla="*/ 4 h 185"/>
              <a:gd name="T6" fmla="*/ 41 w 163"/>
              <a:gd name="T7" fmla="*/ 0 h 185"/>
              <a:gd name="T8" fmla="*/ 50 w 163"/>
              <a:gd name="T9" fmla="*/ 10 h 185"/>
              <a:gd name="T10" fmla="*/ 54 w 163"/>
              <a:gd name="T11" fmla="*/ 19 h 185"/>
              <a:gd name="T12" fmla="*/ 72 w 163"/>
              <a:gd name="T13" fmla="*/ 35 h 185"/>
              <a:gd name="T14" fmla="*/ 88 w 163"/>
              <a:gd name="T15" fmla="*/ 32 h 185"/>
              <a:gd name="T16" fmla="*/ 97 w 163"/>
              <a:gd name="T17" fmla="*/ 41 h 185"/>
              <a:gd name="T18" fmla="*/ 100 w 163"/>
              <a:gd name="T19" fmla="*/ 47 h 185"/>
              <a:gd name="T20" fmla="*/ 94 w 163"/>
              <a:gd name="T21" fmla="*/ 60 h 185"/>
              <a:gd name="T22" fmla="*/ 82 w 163"/>
              <a:gd name="T23" fmla="*/ 63 h 185"/>
              <a:gd name="T24" fmla="*/ 85 w 163"/>
              <a:gd name="T25" fmla="*/ 72 h 185"/>
              <a:gd name="T26" fmla="*/ 91 w 163"/>
              <a:gd name="T27" fmla="*/ 82 h 185"/>
              <a:gd name="T28" fmla="*/ 107 w 163"/>
              <a:gd name="T29" fmla="*/ 85 h 185"/>
              <a:gd name="T30" fmla="*/ 122 w 163"/>
              <a:gd name="T31" fmla="*/ 101 h 185"/>
              <a:gd name="T32" fmla="*/ 129 w 163"/>
              <a:gd name="T33" fmla="*/ 113 h 185"/>
              <a:gd name="T34" fmla="*/ 138 w 163"/>
              <a:gd name="T35" fmla="*/ 119 h 185"/>
              <a:gd name="T36" fmla="*/ 144 w 163"/>
              <a:gd name="T37" fmla="*/ 126 h 185"/>
              <a:gd name="T38" fmla="*/ 147 w 163"/>
              <a:gd name="T39" fmla="*/ 132 h 185"/>
              <a:gd name="T40" fmla="*/ 157 w 163"/>
              <a:gd name="T41" fmla="*/ 135 h 185"/>
              <a:gd name="T42" fmla="*/ 157 w 163"/>
              <a:gd name="T43" fmla="*/ 138 h 185"/>
              <a:gd name="T44" fmla="*/ 163 w 163"/>
              <a:gd name="T45" fmla="*/ 147 h 185"/>
              <a:gd name="T46" fmla="*/ 157 w 163"/>
              <a:gd name="T47" fmla="*/ 160 h 185"/>
              <a:gd name="T48" fmla="*/ 157 w 163"/>
              <a:gd name="T49" fmla="*/ 173 h 185"/>
              <a:gd name="T50" fmla="*/ 144 w 163"/>
              <a:gd name="T51" fmla="*/ 169 h 185"/>
              <a:gd name="T52" fmla="*/ 132 w 163"/>
              <a:gd name="T53" fmla="*/ 169 h 185"/>
              <a:gd name="T54" fmla="*/ 138 w 163"/>
              <a:gd name="T55" fmla="*/ 182 h 185"/>
              <a:gd name="T56" fmla="*/ 129 w 163"/>
              <a:gd name="T57" fmla="*/ 176 h 185"/>
              <a:gd name="T58" fmla="*/ 116 w 163"/>
              <a:gd name="T59" fmla="*/ 169 h 185"/>
              <a:gd name="T60" fmla="*/ 122 w 163"/>
              <a:gd name="T61" fmla="*/ 160 h 185"/>
              <a:gd name="T62" fmla="*/ 122 w 163"/>
              <a:gd name="T63" fmla="*/ 151 h 185"/>
              <a:gd name="T64" fmla="*/ 116 w 163"/>
              <a:gd name="T65" fmla="*/ 141 h 185"/>
              <a:gd name="T66" fmla="*/ 110 w 163"/>
              <a:gd name="T67" fmla="*/ 135 h 185"/>
              <a:gd name="T68" fmla="*/ 104 w 163"/>
              <a:gd name="T69" fmla="*/ 126 h 185"/>
              <a:gd name="T70" fmla="*/ 104 w 163"/>
              <a:gd name="T71" fmla="*/ 113 h 185"/>
              <a:gd name="T72" fmla="*/ 97 w 163"/>
              <a:gd name="T73" fmla="*/ 104 h 185"/>
              <a:gd name="T74" fmla="*/ 79 w 163"/>
              <a:gd name="T75" fmla="*/ 88 h 185"/>
              <a:gd name="T76" fmla="*/ 60 w 163"/>
              <a:gd name="T77" fmla="*/ 101 h 185"/>
              <a:gd name="T78" fmla="*/ 44 w 163"/>
              <a:gd name="T79" fmla="*/ 91 h 185"/>
              <a:gd name="T80" fmla="*/ 32 w 163"/>
              <a:gd name="T81" fmla="*/ 101 h 185"/>
              <a:gd name="T82" fmla="*/ 29 w 163"/>
              <a:gd name="T83" fmla="*/ 85 h 185"/>
              <a:gd name="T84" fmla="*/ 29 w 163"/>
              <a:gd name="T85" fmla="*/ 76 h 185"/>
              <a:gd name="T86" fmla="*/ 29 w 163"/>
              <a:gd name="T87" fmla="*/ 63 h 185"/>
              <a:gd name="T88" fmla="*/ 13 w 163"/>
              <a:gd name="T89" fmla="*/ 63 h 185"/>
              <a:gd name="T90" fmla="*/ 13 w 163"/>
              <a:gd name="T91" fmla="*/ 51 h 185"/>
              <a:gd name="T92" fmla="*/ 0 w 163"/>
              <a:gd name="T93" fmla="*/ 41 h 185"/>
              <a:gd name="T94" fmla="*/ 10 w 163"/>
              <a:gd name="T95" fmla="*/ 35 h 185"/>
              <a:gd name="T96" fmla="*/ 10 w 163"/>
              <a:gd name="T97" fmla="*/ 2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3" h="185">
                <a:moveTo>
                  <a:pt x="19" y="19"/>
                </a:moveTo>
                <a:lnTo>
                  <a:pt x="22" y="22"/>
                </a:lnTo>
                <a:lnTo>
                  <a:pt x="25" y="25"/>
                </a:lnTo>
                <a:lnTo>
                  <a:pt x="29" y="25"/>
                </a:lnTo>
                <a:lnTo>
                  <a:pt x="32" y="25"/>
                </a:lnTo>
                <a:lnTo>
                  <a:pt x="32" y="19"/>
                </a:lnTo>
                <a:lnTo>
                  <a:pt x="32" y="16"/>
                </a:lnTo>
                <a:lnTo>
                  <a:pt x="29" y="10"/>
                </a:lnTo>
                <a:lnTo>
                  <a:pt x="29" y="4"/>
                </a:lnTo>
                <a:lnTo>
                  <a:pt x="32" y="4"/>
                </a:lnTo>
                <a:lnTo>
                  <a:pt x="32" y="0"/>
                </a:lnTo>
                <a:lnTo>
                  <a:pt x="41" y="0"/>
                </a:lnTo>
                <a:lnTo>
                  <a:pt x="41" y="4"/>
                </a:lnTo>
                <a:lnTo>
                  <a:pt x="47" y="4"/>
                </a:lnTo>
                <a:lnTo>
                  <a:pt x="50" y="10"/>
                </a:lnTo>
                <a:lnTo>
                  <a:pt x="54" y="13"/>
                </a:lnTo>
                <a:lnTo>
                  <a:pt x="57" y="16"/>
                </a:lnTo>
                <a:lnTo>
                  <a:pt x="54" y="19"/>
                </a:lnTo>
                <a:lnTo>
                  <a:pt x="60" y="25"/>
                </a:lnTo>
                <a:lnTo>
                  <a:pt x="66" y="35"/>
                </a:lnTo>
                <a:lnTo>
                  <a:pt x="72" y="35"/>
                </a:lnTo>
                <a:lnTo>
                  <a:pt x="79" y="35"/>
                </a:lnTo>
                <a:lnTo>
                  <a:pt x="82" y="32"/>
                </a:lnTo>
                <a:lnTo>
                  <a:pt x="88" y="32"/>
                </a:lnTo>
                <a:lnTo>
                  <a:pt x="91" y="35"/>
                </a:lnTo>
                <a:lnTo>
                  <a:pt x="94" y="38"/>
                </a:lnTo>
                <a:lnTo>
                  <a:pt x="97" y="41"/>
                </a:lnTo>
                <a:lnTo>
                  <a:pt x="97" y="44"/>
                </a:lnTo>
                <a:lnTo>
                  <a:pt x="100" y="44"/>
                </a:lnTo>
                <a:lnTo>
                  <a:pt x="100" y="47"/>
                </a:lnTo>
                <a:lnTo>
                  <a:pt x="100" y="51"/>
                </a:lnTo>
                <a:lnTo>
                  <a:pt x="97" y="57"/>
                </a:lnTo>
                <a:lnTo>
                  <a:pt x="94" y="60"/>
                </a:lnTo>
                <a:lnTo>
                  <a:pt x="91" y="60"/>
                </a:lnTo>
                <a:lnTo>
                  <a:pt x="85" y="63"/>
                </a:lnTo>
                <a:lnTo>
                  <a:pt x="82" y="63"/>
                </a:lnTo>
                <a:lnTo>
                  <a:pt x="82" y="66"/>
                </a:lnTo>
                <a:lnTo>
                  <a:pt x="88" y="69"/>
                </a:lnTo>
                <a:lnTo>
                  <a:pt x="85" y="72"/>
                </a:lnTo>
                <a:lnTo>
                  <a:pt x="85" y="76"/>
                </a:lnTo>
                <a:lnTo>
                  <a:pt x="88" y="76"/>
                </a:lnTo>
                <a:lnTo>
                  <a:pt x="91" y="82"/>
                </a:lnTo>
                <a:lnTo>
                  <a:pt x="97" y="82"/>
                </a:lnTo>
                <a:lnTo>
                  <a:pt x="104" y="85"/>
                </a:lnTo>
                <a:lnTo>
                  <a:pt x="107" y="85"/>
                </a:lnTo>
                <a:lnTo>
                  <a:pt x="113" y="91"/>
                </a:lnTo>
                <a:lnTo>
                  <a:pt x="116" y="94"/>
                </a:lnTo>
                <a:lnTo>
                  <a:pt x="122" y="101"/>
                </a:lnTo>
                <a:lnTo>
                  <a:pt x="122" y="104"/>
                </a:lnTo>
                <a:lnTo>
                  <a:pt x="129" y="110"/>
                </a:lnTo>
                <a:lnTo>
                  <a:pt x="129" y="113"/>
                </a:lnTo>
                <a:lnTo>
                  <a:pt x="132" y="116"/>
                </a:lnTo>
                <a:lnTo>
                  <a:pt x="135" y="116"/>
                </a:lnTo>
                <a:lnTo>
                  <a:pt x="138" y="119"/>
                </a:lnTo>
                <a:lnTo>
                  <a:pt x="138" y="122"/>
                </a:lnTo>
                <a:lnTo>
                  <a:pt x="141" y="126"/>
                </a:lnTo>
                <a:lnTo>
                  <a:pt x="144" y="126"/>
                </a:lnTo>
                <a:lnTo>
                  <a:pt x="147" y="126"/>
                </a:lnTo>
                <a:lnTo>
                  <a:pt x="144" y="129"/>
                </a:lnTo>
                <a:lnTo>
                  <a:pt x="147" y="132"/>
                </a:lnTo>
                <a:lnTo>
                  <a:pt x="150" y="132"/>
                </a:lnTo>
                <a:lnTo>
                  <a:pt x="154" y="135"/>
                </a:lnTo>
                <a:lnTo>
                  <a:pt x="157" y="135"/>
                </a:lnTo>
                <a:lnTo>
                  <a:pt x="160" y="135"/>
                </a:lnTo>
                <a:lnTo>
                  <a:pt x="160" y="135"/>
                </a:lnTo>
                <a:lnTo>
                  <a:pt x="157" y="138"/>
                </a:lnTo>
                <a:lnTo>
                  <a:pt x="157" y="144"/>
                </a:lnTo>
                <a:lnTo>
                  <a:pt x="160" y="147"/>
                </a:lnTo>
                <a:lnTo>
                  <a:pt x="163" y="147"/>
                </a:lnTo>
                <a:lnTo>
                  <a:pt x="163" y="151"/>
                </a:lnTo>
                <a:lnTo>
                  <a:pt x="157" y="157"/>
                </a:lnTo>
                <a:lnTo>
                  <a:pt x="157" y="160"/>
                </a:lnTo>
                <a:lnTo>
                  <a:pt x="160" y="163"/>
                </a:lnTo>
                <a:lnTo>
                  <a:pt x="160" y="169"/>
                </a:lnTo>
                <a:lnTo>
                  <a:pt x="157" y="173"/>
                </a:lnTo>
                <a:lnTo>
                  <a:pt x="150" y="173"/>
                </a:lnTo>
                <a:lnTo>
                  <a:pt x="147" y="169"/>
                </a:lnTo>
                <a:lnTo>
                  <a:pt x="144" y="169"/>
                </a:lnTo>
                <a:lnTo>
                  <a:pt x="144" y="166"/>
                </a:lnTo>
                <a:lnTo>
                  <a:pt x="138" y="166"/>
                </a:lnTo>
                <a:lnTo>
                  <a:pt x="132" y="169"/>
                </a:lnTo>
                <a:lnTo>
                  <a:pt x="138" y="176"/>
                </a:lnTo>
                <a:lnTo>
                  <a:pt x="138" y="179"/>
                </a:lnTo>
                <a:lnTo>
                  <a:pt x="138" y="182"/>
                </a:lnTo>
                <a:lnTo>
                  <a:pt x="138" y="185"/>
                </a:lnTo>
                <a:lnTo>
                  <a:pt x="132" y="182"/>
                </a:lnTo>
                <a:lnTo>
                  <a:pt x="129" y="176"/>
                </a:lnTo>
                <a:lnTo>
                  <a:pt x="122" y="176"/>
                </a:lnTo>
                <a:lnTo>
                  <a:pt x="119" y="173"/>
                </a:lnTo>
                <a:lnTo>
                  <a:pt x="116" y="169"/>
                </a:lnTo>
                <a:lnTo>
                  <a:pt x="119" y="169"/>
                </a:lnTo>
                <a:lnTo>
                  <a:pt x="122" y="166"/>
                </a:lnTo>
                <a:lnTo>
                  <a:pt x="122" y="160"/>
                </a:lnTo>
                <a:lnTo>
                  <a:pt x="119" y="157"/>
                </a:lnTo>
                <a:lnTo>
                  <a:pt x="122" y="154"/>
                </a:lnTo>
                <a:lnTo>
                  <a:pt x="122" y="151"/>
                </a:lnTo>
                <a:lnTo>
                  <a:pt x="122" y="144"/>
                </a:lnTo>
                <a:lnTo>
                  <a:pt x="122" y="144"/>
                </a:lnTo>
                <a:lnTo>
                  <a:pt x="116" y="141"/>
                </a:lnTo>
                <a:lnTo>
                  <a:pt x="116" y="138"/>
                </a:lnTo>
                <a:lnTo>
                  <a:pt x="113" y="135"/>
                </a:lnTo>
                <a:lnTo>
                  <a:pt x="110" y="135"/>
                </a:lnTo>
                <a:lnTo>
                  <a:pt x="107" y="132"/>
                </a:lnTo>
                <a:lnTo>
                  <a:pt x="104" y="129"/>
                </a:lnTo>
                <a:lnTo>
                  <a:pt x="104" y="126"/>
                </a:lnTo>
                <a:lnTo>
                  <a:pt x="104" y="119"/>
                </a:lnTo>
                <a:lnTo>
                  <a:pt x="104" y="116"/>
                </a:lnTo>
                <a:lnTo>
                  <a:pt x="104" y="113"/>
                </a:lnTo>
                <a:lnTo>
                  <a:pt x="104" y="110"/>
                </a:lnTo>
                <a:lnTo>
                  <a:pt x="104" y="107"/>
                </a:lnTo>
                <a:lnTo>
                  <a:pt x="97" y="104"/>
                </a:lnTo>
                <a:lnTo>
                  <a:pt x="88" y="97"/>
                </a:lnTo>
                <a:lnTo>
                  <a:pt x="85" y="91"/>
                </a:lnTo>
                <a:lnTo>
                  <a:pt x="79" y="88"/>
                </a:lnTo>
                <a:lnTo>
                  <a:pt x="69" y="88"/>
                </a:lnTo>
                <a:lnTo>
                  <a:pt x="66" y="97"/>
                </a:lnTo>
                <a:lnTo>
                  <a:pt x="60" y="101"/>
                </a:lnTo>
                <a:lnTo>
                  <a:pt x="54" y="94"/>
                </a:lnTo>
                <a:lnTo>
                  <a:pt x="50" y="94"/>
                </a:lnTo>
                <a:lnTo>
                  <a:pt x="44" y="91"/>
                </a:lnTo>
                <a:lnTo>
                  <a:pt x="38" y="94"/>
                </a:lnTo>
                <a:lnTo>
                  <a:pt x="38" y="97"/>
                </a:lnTo>
                <a:lnTo>
                  <a:pt x="32" y="101"/>
                </a:lnTo>
                <a:lnTo>
                  <a:pt x="29" y="104"/>
                </a:lnTo>
                <a:lnTo>
                  <a:pt x="29" y="91"/>
                </a:lnTo>
                <a:lnTo>
                  <a:pt x="29" y="85"/>
                </a:lnTo>
                <a:lnTo>
                  <a:pt x="25" y="82"/>
                </a:lnTo>
                <a:lnTo>
                  <a:pt x="29" y="79"/>
                </a:lnTo>
                <a:lnTo>
                  <a:pt x="29" y="76"/>
                </a:lnTo>
                <a:lnTo>
                  <a:pt x="25" y="69"/>
                </a:lnTo>
                <a:lnTo>
                  <a:pt x="29" y="66"/>
                </a:lnTo>
                <a:lnTo>
                  <a:pt x="29" y="63"/>
                </a:lnTo>
                <a:lnTo>
                  <a:pt x="19" y="63"/>
                </a:lnTo>
                <a:lnTo>
                  <a:pt x="16" y="66"/>
                </a:lnTo>
                <a:lnTo>
                  <a:pt x="13" y="63"/>
                </a:lnTo>
                <a:lnTo>
                  <a:pt x="10" y="60"/>
                </a:lnTo>
                <a:lnTo>
                  <a:pt x="13" y="57"/>
                </a:lnTo>
                <a:lnTo>
                  <a:pt x="13" y="51"/>
                </a:lnTo>
                <a:lnTo>
                  <a:pt x="10" y="47"/>
                </a:lnTo>
                <a:lnTo>
                  <a:pt x="4" y="47"/>
                </a:lnTo>
                <a:lnTo>
                  <a:pt x="0" y="41"/>
                </a:lnTo>
                <a:lnTo>
                  <a:pt x="4" y="38"/>
                </a:lnTo>
                <a:lnTo>
                  <a:pt x="7" y="38"/>
                </a:lnTo>
                <a:lnTo>
                  <a:pt x="10" y="35"/>
                </a:lnTo>
                <a:lnTo>
                  <a:pt x="10" y="32"/>
                </a:lnTo>
                <a:lnTo>
                  <a:pt x="10" y="29"/>
                </a:lnTo>
                <a:lnTo>
                  <a:pt x="10" y="25"/>
                </a:lnTo>
                <a:lnTo>
                  <a:pt x="16" y="22"/>
                </a:lnTo>
                <a:lnTo>
                  <a:pt x="19" y="19"/>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4" name="Freeform 32">
            <a:extLst>
              <a:ext uri="{FF2B5EF4-FFF2-40B4-BE49-F238E27FC236}">
                <a16:creationId xmlns:a16="http://schemas.microsoft.com/office/drawing/2014/main" id="{1A74BC14-32A2-B748-1B3C-54B1484DF7FB}"/>
              </a:ext>
            </a:extLst>
          </p:cNvPr>
          <p:cNvSpPr>
            <a:spLocks noEditPoints="1"/>
          </p:cNvSpPr>
          <p:nvPr userDrawn="1"/>
        </p:nvSpPr>
        <p:spPr bwMode="auto">
          <a:xfrm>
            <a:off x="19210670" y="8035213"/>
            <a:ext cx="536541" cy="984250"/>
          </a:xfrm>
          <a:custGeom>
            <a:avLst/>
            <a:gdLst>
              <a:gd name="T0" fmla="*/ 19 w 54"/>
              <a:gd name="T1" fmla="*/ 5 h 99"/>
              <a:gd name="T2" fmla="*/ 24 w 54"/>
              <a:gd name="T3" fmla="*/ 7 h 99"/>
              <a:gd name="T4" fmla="*/ 23 w 54"/>
              <a:gd name="T5" fmla="*/ 13 h 99"/>
              <a:gd name="T6" fmla="*/ 27 w 54"/>
              <a:gd name="T7" fmla="*/ 18 h 99"/>
              <a:gd name="T8" fmla="*/ 34 w 54"/>
              <a:gd name="T9" fmla="*/ 19 h 99"/>
              <a:gd name="T10" fmla="*/ 43 w 54"/>
              <a:gd name="T11" fmla="*/ 18 h 99"/>
              <a:gd name="T12" fmla="*/ 48 w 54"/>
              <a:gd name="T13" fmla="*/ 24 h 99"/>
              <a:gd name="T14" fmla="*/ 50 w 54"/>
              <a:gd name="T15" fmla="*/ 30 h 99"/>
              <a:gd name="T16" fmla="*/ 54 w 54"/>
              <a:gd name="T17" fmla="*/ 33 h 99"/>
              <a:gd name="T18" fmla="*/ 54 w 54"/>
              <a:gd name="T19" fmla="*/ 40 h 99"/>
              <a:gd name="T20" fmla="*/ 47 w 54"/>
              <a:gd name="T21" fmla="*/ 41 h 99"/>
              <a:gd name="T22" fmla="*/ 39 w 54"/>
              <a:gd name="T23" fmla="*/ 42 h 99"/>
              <a:gd name="T24" fmla="*/ 34 w 54"/>
              <a:gd name="T25" fmla="*/ 49 h 99"/>
              <a:gd name="T26" fmla="*/ 36 w 54"/>
              <a:gd name="T27" fmla="*/ 57 h 99"/>
              <a:gd name="T28" fmla="*/ 34 w 54"/>
              <a:gd name="T29" fmla="*/ 56 h 99"/>
              <a:gd name="T30" fmla="*/ 30 w 54"/>
              <a:gd name="T31" fmla="*/ 53 h 99"/>
              <a:gd name="T32" fmla="*/ 28 w 54"/>
              <a:gd name="T33" fmla="*/ 54 h 99"/>
              <a:gd name="T34" fmla="*/ 25 w 54"/>
              <a:gd name="T35" fmla="*/ 53 h 99"/>
              <a:gd name="T36" fmla="*/ 24 w 54"/>
              <a:gd name="T37" fmla="*/ 48 h 99"/>
              <a:gd name="T38" fmla="*/ 21 w 54"/>
              <a:gd name="T39" fmla="*/ 49 h 99"/>
              <a:gd name="T40" fmla="*/ 19 w 54"/>
              <a:gd name="T41" fmla="*/ 49 h 99"/>
              <a:gd name="T42" fmla="*/ 19 w 54"/>
              <a:gd name="T43" fmla="*/ 54 h 99"/>
              <a:gd name="T44" fmla="*/ 18 w 54"/>
              <a:gd name="T45" fmla="*/ 59 h 99"/>
              <a:gd name="T46" fmla="*/ 15 w 54"/>
              <a:gd name="T47" fmla="*/ 70 h 99"/>
              <a:gd name="T48" fmla="*/ 16 w 54"/>
              <a:gd name="T49" fmla="*/ 73 h 99"/>
              <a:gd name="T50" fmla="*/ 17 w 54"/>
              <a:gd name="T51" fmla="*/ 77 h 99"/>
              <a:gd name="T52" fmla="*/ 20 w 54"/>
              <a:gd name="T53" fmla="*/ 77 h 99"/>
              <a:gd name="T54" fmla="*/ 22 w 54"/>
              <a:gd name="T55" fmla="*/ 82 h 99"/>
              <a:gd name="T56" fmla="*/ 24 w 54"/>
              <a:gd name="T57" fmla="*/ 82 h 99"/>
              <a:gd name="T58" fmla="*/ 24 w 54"/>
              <a:gd name="T59" fmla="*/ 87 h 99"/>
              <a:gd name="T60" fmla="*/ 25 w 54"/>
              <a:gd name="T61" fmla="*/ 88 h 99"/>
              <a:gd name="T62" fmla="*/ 29 w 54"/>
              <a:gd name="T63" fmla="*/ 92 h 99"/>
              <a:gd name="T64" fmla="*/ 33 w 54"/>
              <a:gd name="T65" fmla="*/ 95 h 99"/>
              <a:gd name="T66" fmla="*/ 33 w 54"/>
              <a:gd name="T67" fmla="*/ 99 h 99"/>
              <a:gd name="T68" fmla="*/ 28 w 54"/>
              <a:gd name="T69" fmla="*/ 98 h 99"/>
              <a:gd name="T70" fmla="*/ 27 w 54"/>
              <a:gd name="T71" fmla="*/ 94 h 99"/>
              <a:gd name="T72" fmla="*/ 22 w 54"/>
              <a:gd name="T73" fmla="*/ 94 h 99"/>
              <a:gd name="T74" fmla="*/ 19 w 54"/>
              <a:gd name="T75" fmla="*/ 90 h 99"/>
              <a:gd name="T76" fmla="*/ 15 w 54"/>
              <a:gd name="T77" fmla="*/ 86 h 99"/>
              <a:gd name="T78" fmla="*/ 13 w 54"/>
              <a:gd name="T79" fmla="*/ 82 h 99"/>
              <a:gd name="T80" fmla="*/ 10 w 54"/>
              <a:gd name="T81" fmla="*/ 80 h 99"/>
              <a:gd name="T82" fmla="*/ 11 w 54"/>
              <a:gd name="T83" fmla="*/ 75 h 99"/>
              <a:gd name="T84" fmla="*/ 13 w 54"/>
              <a:gd name="T85" fmla="*/ 71 h 99"/>
              <a:gd name="T86" fmla="*/ 13 w 54"/>
              <a:gd name="T87" fmla="*/ 65 h 99"/>
              <a:gd name="T88" fmla="*/ 16 w 54"/>
              <a:gd name="T89" fmla="*/ 57 h 99"/>
              <a:gd name="T90" fmla="*/ 15 w 54"/>
              <a:gd name="T91" fmla="*/ 50 h 99"/>
              <a:gd name="T92" fmla="*/ 10 w 54"/>
              <a:gd name="T93" fmla="*/ 42 h 99"/>
              <a:gd name="T94" fmla="*/ 9 w 54"/>
              <a:gd name="T95" fmla="*/ 34 h 99"/>
              <a:gd name="T96" fmla="*/ 9 w 54"/>
              <a:gd name="T97" fmla="*/ 28 h 99"/>
              <a:gd name="T98" fmla="*/ 4 w 54"/>
              <a:gd name="T99" fmla="*/ 20 h 99"/>
              <a:gd name="T100" fmla="*/ 0 w 54"/>
              <a:gd name="T101" fmla="*/ 15 h 99"/>
              <a:gd name="T102" fmla="*/ 4 w 54"/>
              <a:gd name="T103" fmla="*/ 10 h 99"/>
              <a:gd name="T104" fmla="*/ 10 w 54"/>
              <a:gd name="T105" fmla="*/ 6 h 99"/>
              <a:gd name="T106" fmla="*/ 13 w 54"/>
              <a:gd name="T107" fmla="*/ 3 h 99"/>
              <a:gd name="T108" fmla="*/ 15 w 54"/>
              <a:gd name="T109" fmla="*/ 0 h 99"/>
              <a:gd name="T110" fmla="*/ 19 w 54"/>
              <a:gd name="T111" fmla="*/ 93 h 99"/>
              <a:gd name="T112" fmla="*/ 15 w 54"/>
              <a:gd name="T113" fmla="*/ 87 h 99"/>
              <a:gd name="T114" fmla="*/ 10 w 54"/>
              <a:gd name="T115" fmla="*/ 86 h 99"/>
              <a:gd name="T116" fmla="*/ 33 w 54"/>
              <a:gd name="T117" fmla="*/ 58 h 99"/>
              <a:gd name="T118" fmla="*/ 20 w 54"/>
              <a:gd name="T119" fmla="*/ 73 h 99"/>
              <a:gd name="T120" fmla="*/ 20 w 54"/>
              <a:gd name="T121" fmla="*/ 7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 h="99">
                <a:moveTo>
                  <a:pt x="15" y="0"/>
                </a:moveTo>
                <a:cubicBezTo>
                  <a:pt x="16" y="2"/>
                  <a:pt x="16" y="2"/>
                  <a:pt x="16" y="2"/>
                </a:cubicBezTo>
                <a:cubicBezTo>
                  <a:pt x="18" y="2"/>
                  <a:pt x="18" y="2"/>
                  <a:pt x="18" y="2"/>
                </a:cubicBezTo>
                <a:cubicBezTo>
                  <a:pt x="19" y="3"/>
                  <a:pt x="19" y="3"/>
                  <a:pt x="19" y="3"/>
                </a:cubicBezTo>
                <a:cubicBezTo>
                  <a:pt x="19" y="5"/>
                  <a:pt x="19" y="5"/>
                  <a:pt x="19" y="5"/>
                </a:cubicBezTo>
                <a:cubicBezTo>
                  <a:pt x="18" y="6"/>
                  <a:pt x="18" y="6"/>
                  <a:pt x="18" y="6"/>
                </a:cubicBezTo>
                <a:cubicBezTo>
                  <a:pt x="19" y="7"/>
                  <a:pt x="19" y="7"/>
                  <a:pt x="19" y="7"/>
                </a:cubicBezTo>
                <a:cubicBezTo>
                  <a:pt x="20" y="8"/>
                  <a:pt x="20" y="8"/>
                  <a:pt x="20" y="8"/>
                </a:cubicBezTo>
                <a:cubicBezTo>
                  <a:pt x="21" y="7"/>
                  <a:pt x="21" y="7"/>
                  <a:pt x="21" y="7"/>
                </a:cubicBezTo>
                <a:cubicBezTo>
                  <a:pt x="24" y="7"/>
                  <a:pt x="24" y="7"/>
                  <a:pt x="24" y="7"/>
                </a:cubicBezTo>
                <a:cubicBezTo>
                  <a:pt x="24" y="8"/>
                  <a:pt x="24" y="8"/>
                  <a:pt x="24" y="8"/>
                </a:cubicBezTo>
                <a:cubicBezTo>
                  <a:pt x="23" y="9"/>
                  <a:pt x="23" y="9"/>
                  <a:pt x="23" y="9"/>
                </a:cubicBezTo>
                <a:cubicBezTo>
                  <a:pt x="24" y="11"/>
                  <a:pt x="24" y="11"/>
                  <a:pt x="24" y="11"/>
                </a:cubicBezTo>
                <a:cubicBezTo>
                  <a:pt x="24" y="12"/>
                  <a:pt x="24" y="12"/>
                  <a:pt x="24" y="12"/>
                </a:cubicBezTo>
                <a:cubicBezTo>
                  <a:pt x="23" y="13"/>
                  <a:pt x="23" y="13"/>
                  <a:pt x="23" y="13"/>
                </a:cubicBezTo>
                <a:cubicBezTo>
                  <a:pt x="24" y="14"/>
                  <a:pt x="24" y="14"/>
                  <a:pt x="24" y="14"/>
                </a:cubicBezTo>
                <a:cubicBezTo>
                  <a:pt x="24" y="16"/>
                  <a:pt x="24" y="16"/>
                  <a:pt x="24" y="16"/>
                </a:cubicBezTo>
                <a:cubicBezTo>
                  <a:pt x="24" y="20"/>
                  <a:pt x="24" y="20"/>
                  <a:pt x="24" y="20"/>
                </a:cubicBezTo>
                <a:cubicBezTo>
                  <a:pt x="25" y="19"/>
                  <a:pt x="25" y="19"/>
                  <a:pt x="25" y="19"/>
                </a:cubicBezTo>
                <a:cubicBezTo>
                  <a:pt x="27" y="18"/>
                  <a:pt x="27" y="18"/>
                  <a:pt x="27" y="18"/>
                </a:cubicBezTo>
                <a:cubicBezTo>
                  <a:pt x="27" y="17"/>
                  <a:pt x="27" y="17"/>
                  <a:pt x="27" y="17"/>
                </a:cubicBezTo>
                <a:cubicBezTo>
                  <a:pt x="29" y="16"/>
                  <a:pt x="29" y="16"/>
                  <a:pt x="29" y="16"/>
                </a:cubicBezTo>
                <a:cubicBezTo>
                  <a:pt x="31" y="17"/>
                  <a:pt x="31" y="17"/>
                  <a:pt x="31" y="17"/>
                </a:cubicBezTo>
                <a:cubicBezTo>
                  <a:pt x="32" y="17"/>
                  <a:pt x="32" y="17"/>
                  <a:pt x="32" y="17"/>
                </a:cubicBezTo>
                <a:cubicBezTo>
                  <a:pt x="34" y="19"/>
                  <a:pt x="34" y="19"/>
                  <a:pt x="34" y="19"/>
                </a:cubicBezTo>
                <a:cubicBezTo>
                  <a:pt x="36" y="18"/>
                  <a:pt x="36" y="18"/>
                  <a:pt x="36" y="18"/>
                </a:cubicBezTo>
                <a:cubicBezTo>
                  <a:pt x="37" y="15"/>
                  <a:pt x="37" y="15"/>
                  <a:pt x="37" y="15"/>
                </a:cubicBezTo>
                <a:cubicBezTo>
                  <a:pt x="40" y="15"/>
                  <a:pt x="40" y="15"/>
                  <a:pt x="40" y="15"/>
                </a:cubicBezTo>
                <a:cubicBezTo>
                  <a:pt x="42" y="16"/>
                  <a:pt x="42" y="16"/>
                  <a:pt x="42" y="16"/>
                </a:cubicBezTo>
                <a:cubicBezTo>
                  <a:pt x="43" y="18"/>
                  <a:pt x="43" y="18"/>
                  <a:pt x="43" y="18"/>
                </a:cubicBezTo>
                <a:cubicBezTo>
                  <a:pt x="46" y="20"/>
                  <a:pt x="46" y="20"/>
                  <a:pt x="46" y="20"/>
                </a:cubicBezTo>
                <a:cubicBezTo>
                  <a:pt x="48" y="21"/>
                  <a:pt x="48" y="21"/>
                  <a:pt x="48" y="21"/>
                </a:cubicBezTo>
                <a:cubicBezTo>
                  <a:pt x="48" y="22"/>
                  <a:pt x="48" y="22"/>
                  <a:pt x="48" y="22"/>
                </a:cubicBezTo>
                <a:cubicBezTo>
                  <a:pt x="48" y="23"/>
                  <a:pt x="48" y="23"/>
                  <a:pt x="48" y="23"/>
                </a:cubicBezTo>
                <a:cubicBezTo>
                  <a:pt x="48" y="24"/>
                  <a:pt x="48" y="24"/>
                  <a:pt x="48" y="24"/>
                </a:cubicBezTo>
                <a:cubicBezTo>
                  <a:pt x="48" y="25"/>
                  <a:pt x="48" y="25"/>
                  <a:pt x="48" y="25"/>
                </a:cubicBezTo>
                <a:cubicBezTo>
                  <a:pt x="48" y="27"/>
                  <a:pt x="48" y="27"/>
                  <a:pt x="48" y="27"/>
                </a:cubicBezTo>
                <a:cubicBezTo>
                  <a:pt x="48" y="28"/>
                  <a:pt x="48" y="28"/>
                  <a:pt x="48" y="28"/>
                </a:cubicBezTo>
                <a:cubicBezTo>
                  <a:pt x="49" y="29"/>
                  <a:pt x="49" y="29"/>
                  <a:pt x="49" y="29"/>
                </a:cubicBezTo>
                <a:cubicBezTo>
                  <a:pt x="50" y="30"/>
                  <a:pt x="50" y="30"/>
                  <a:pt x="50" y="30"/>
                </a:cubicBezTo>
                <a:cubicBezTo>
                  <a:pt x="51" y="30"/>
                  <a:pt x="51" y="30"/>
                  <a:pt x="51" y="30"/>
                </a:cubicBezTo>
                <a:cubicBezTo>
                  <a:pt x="52" y="31"/>
                  <a:pt x="52" y="31"/>
                  <a:pt x="52" y="31"/>
                </a:cubicBezTo>
                <a:cubicBezTo>
                  <a:pt x="52" y="32"/>
                  <a:pt x="52" y="32"/>
                  <a:pt x="52" y="32"/>
                </a:cubicBezTo>
                <a:cubicBezTo>
                  <a:pt x="54" y="33"/>
                  <a:pt x="54" y="33"/>
                  <a:pt x="54" y="33"/>
                </a:cubicBezTo>
                <a:cubicBezTo>
                  <a:pt x="54" y="33"/>
                  <a:pt x="54" y="33"/>
                  <a:pt x="54" y="33"/>
                </a:cubicBezTo>
                <a:cubicBezTo>
                  <a:pt x="54" y="35"/>
                  <a:pt x="54" y="35"/>
                  <a:pt x="54" y="35"/>
                </a:cubicBezTo>
                <a:cubicBezTo>
                  <a:pt x="54" y="36"/>
                  <a:pt x="54" y="36"/>
                  <a:pt x="54" y="36"/>
                </a:cubicBezTo>
                <a:cubicBezTo>
                  <a:pt x="53" y="37"/>
                  <a:pt x="53" y="37"/>
                  <a:pt x="53" y="37"/>
                </a:cubicBezTo>
                <a:cubicBezTo>
                  <a:pt x="54" y="38"/>
                  <a:pt x="54" y="38"/>
                  <a:pt x="54" y="38"/>
                </a:cubicBezTo>
                <a:cubicBezTo>
                  <a:pt x="54" y="40"/>
                  <a:pt x="54" y="40"/>
                  <a:pt x="54" y="40"/>
                </a:cubicBezTo>
                <a:cubicBezTo>
                  <a:pt x="53" y="41"/>
                  <a:pt x="53" y="41"/>
                  <a:pt x="53" y="41"/>
                </a:cubicBezTo>
                <a:cubicBezTo>
                  <a:pt x="51" y="42"/>
                  <a:pt x="51" y="42"/>
                  <a:pt x="51" y="42"/>
                </a:cubicBezTo>
                <a:cubicBezTo>
                  <a:pt x="50" y="41"/>
                  <a:pt x="50" y="41"/>
                  <a:pt x="50" y="41"/>
                </a:cubicBezTo>
                <a:cubicBezTo>
                  <a:pt x="48" y="41"/>
                  <a:pt x="48" y="41"/>
                  <a:pt x="48" y="41"/>
                </a:cubicBezTo>
                <a:cubicBezTo>
                  <a:pt x="47" y="41"/>
                  <a:pt x="47" y="41"/>
                  <a:pt x="47" y="41"/>
                </a:cubicBezTo>
                <a:cubicBezTo>
                  <a:pt x="46" y="41"/>
                  <a:pt x="46" y="41"/>
                  <a:pt x="46" y="41"/>
                </a:cubicBezTo>
                <a:cubicBezTo>
                  <a:pt x="44" y="41"/>
                  <a:pt x="44" y="41"/>
                  <a:pt x="44" y="41"/>
                </a:cubicBezTo>
                <a:cubicBezTo>
                  <a:pt x="43" y="41"/>
                  <a:pt x="43" y="41"/>
                  <a:pt x="43" y="41"/>
                </a:cubicBezTo>
                <a:cubicBezTo>
                  <a:pt x="42" y="41"/>
                  <a:pt x="42" y="41"/>
                  <a:pt x="42" y="41"/>
                </a:cubicBezTo>
                <a:cubicBezTo>
                  <a:pt x="39" y="42"/>
                  <a:pt x="39" y="42"/>
                  <a:pt x="39" y="42"/>
                </a:cubicBezTo>
                <a:cubicBezTo>
                  <a:pt x="37" y="42"/>
                  <a:pt x="37" y="42"/>
                  <a:pt x="37" y="42"/>
                </a:cubicBezTo>
                <a:cubicBezTo>
                  <a:pt x="36" y="44"/>
                  <a:pt x="36" y="44"/>
                  <a:pt x="36" y="44"/>
                </a:cubicBezTo>
                <a:cubicBezTo>
                  <a:pt x="36" y="45"/>
                  <a:pt x="36" y="45"/>
                  <a:pt x="36" y="45"/>
                </a:cubicBezTo>
                <a:cubicBezTo>
                  <a:pt x="35" y="47"/>
                  <a:pt x="35" y="47"/>
                  <a:pt x="35" y="47"/>
                </a:cubicBezTo>
                <a:cubicBezTo>
                  <a:pt x="34" y="49"/>
                  <a:pt x="34" y="49"/>
                  <a:pt x="34" y="49"/>
                </a:cubicBezTo>
                <a:cubicBezTo>
                  <a:pt x="35" y="52"/>
                  <a:pt x="35" y="52"/>
                  <a:pt x="35" y="52"/>
                </a:cubicBezTo>
                <a:cubicBezTo>
                  <a:pt x="36" y="52"/>
                  <a:pt x="36" y="52"/>
                  <a:pt x="36" y="52"/>
                </a:cubicBezTo>
                <a:cubicBezTo>
                  <a:pt x="37" y="54"/>
                  <a:pt x="37" y="54"/>
                  <a:pt x="37" y="54"/>
                </a:cubicBezTo>
                <a:cubicBezTo>
                  <a:pt x="37" y="56"/>
                  <a:pt x="37" y="56"/>
                  <a:pt x="37" y="56"/>
                </a:cubicBezTo>
                <a:cubicBezTo>
                  <a:pt x="36" y="57"/>
                  <a:pt x="36" y="57"/>
                  <a:pt x="36" y="57"/>
                </a:cubicBezTo>
                <a:cubicBezTo>
                  <a:pt x="36" y="57"/>
                  <a:pt x="36" y="57"/>
                  <a:pt x="36" y="57"/>
                </a:cubicBezTo>
                <a:cubicBezTo>
                  <a:pt x="36" y="58"/>
                  <a:pt x="36" y="58"/>
                  <a:pt x="36" y="58"/>
                </a:cubicBezTo>
                <a:cubicBezTo>
                  <a:pt x="36" y="58"/>
                  <a:pt x="36" y="58"/>
                  <a:pt x="36" y="58"/>
                </a:cubicBezTo>
                <a:cubicBezTo>
                  <a:pt x="35" y="57"/>
                  <a:pt x="35" y="57"/>
                  <a:pt x="35" y="57"/>
                </a:cubicBezTo>
                <a:cubicBezTo>
                  <a:pt x="34" y="56"/>
                  <a:pt x="34" y="56"/>
                  <a:pt x="34" y="56"/>
                </a:cubicBezTo>
                <a:cubicBezTo>
                  <a:pt x="34" y="56"/>
                  <a:pt x="34" y="56"/>
                  <a:pt x="34" y="56"/>
                </a:cubicBezTo>
                <a:cubicBezTo>
                  <a:pt x="34" y="56"/>
                  <a:pt x="34" y="56"/>
                  <a:pt x="34" y="56"/>
                </a:cubicBezTo>
                <a:cubicBezTo>
                  <a:pt x="33" y="55"/>
                  <a:pt x="33" y="55"/>
                  <a:pt x="33" y="55"/>
                </a:cubicBezTo>
                <a:cubicBezTo>
                  <a:pt x="31" y="54"/>
                  <a:pt x="31" y="54"/>
                  <a:pt x="31" y="54"/>
                </a:cubicBezTo>
                <a:cubicBezTo>
                  <a:pt x="30" y="53"/>
                  <a:pt x="30" y="53"/>
                  <a:pt x="30" y="53"/>
                </a:cubicBezTo>
                <a:cubicBezTo>
                  <a:pt x="30" y="54"/>
                  <a:pt x="30" y="54"/>
                  <a:pt x="30" y="54"/>
                </a:cubicBezTo>
                <a:cubicBezTo>
                  <a:pt x="30" y="54"/>
                  <a:pt x="30" y="54"/>
                  <a:pt x="30" y="54"/>
                </a:cubicBezTo>
                <a:cubicBezTo>
                  <a:pt x="30" y="55"/>
                  <a:pt x="30" y="55"/>
                  <a:pt x="30" y="55"/>
                </a:cubicBezTo>
                <a:cubicBezTo>
                  <a:pt x="29" y="54"/>
                  <a:pt x="29" y="54"/>
                  <a:pt x="29" y="54"/>
                </a:cubicBezTo>
                <a:cubicBezTo>
                  <a:pt x="28" y="54"/>
                  <a:pt x="28" y="54"/>
                  <a:pt x="28" y="54"/>
                </a:cubicBezTo>
                <a:cubicBezTo>
                  <a:pt x="26" y="54"/>
                  <a:pt x="26" y="54"/>
                  <a:pt x="26" y="54"/>
                </a:cubicBezTo>
                <a:cubicBezTo>
                  <a:pt x="26" y="54"/>
                  <a:pt x="26" y="54"/>
                  <a:pt x="26" y="54"/>
                </a:cubicBezTo>
                <a:cubicBezTo>
                  <a:pt x="25" y="54"/>
                  <a:pt x="25" y="54"/>
                  <a:pt x="25" y="54"/>
                </a:cubicBezTo>
                <a:cubicBezTo>
                  <a:pt x="25" y="53"/>
                  <a:pt x="25" y="53"/>
                  <a:pt x="25" y="53"/>
                </a:cubicBezTo>
                <a:cubicBezTo>
                  <a:pt x="25" y="53"/>
                  <a:pt x="25" y="53"/>
                  <a:pt x="25" y="53"/>
                </a:cubicBezTo>
                <a:cubicBezTo>
                  <a:pt x="25" y="52"/>
                  <a:pt x="25" y="52"/>
                  <a:pt x="25" y="52"/>
                </a:cubicBezTo>
                <a:cubicBezTo>
                  <a:pt x="25" y="50"/>
                  <a:pt x="25" y="50"/>
                  <a:pt x="25" y="50"/>
                </a:cubicBezTo>
                <a:cubicBezTo>
                  <a:pt x="25" y="49"/>
                  <a:pt x="25" y="49"/>
                  <a:pt x="25" y="49"/>
                </a:cubicBezTo>
                <a:cubicBezTo>
                  <a:pt x="25" y="49"/>
                  <a:pt x="25" y="49"/>
                  <a:pt x="25" y="49"/>
                </a:cubicBezTo>
                <a:cubicBezTo>
                  <a:pt x="24" y="48"/>
                  <a:pt x="24" y="48"/>
                  <a:pt x="24" y="48"/>
                </a:cubicBezTo>
                <a:cubicBezTo>
                  <a:pt x="24" y="48"/>
                  <a:pt x="24" y="48"/>
                  <a:pt x="24" y="48"/>
                </a:cubicBezTo>
                <a:cubicBezTo>
                  <a:pt x="23" y="48"/>
                  <a:pt x="23" y="48"/>
                  <a:pt x="23" y="48"/>
                </a:cubicBezTo>
                <a:cubicBezTo>
                  <a:pt x="23" y="48"/>
                  <a:pt x="23" y="48"/>
                  <a:pt x="23" y="48"/>
                </a:cubicBezTo>
                <a:cubicBezTo>
                  <a:pt x="22" y="49"/>
                  <a:pt x="22" y="49"/>
                  <a:pt x="22" y="49"/>
                </a:cubicBezTo>
                <a:cubicBezTo>
                  <a:pt x="21" y="49"/>
                  <a:pt x="21" y="49"/>
                  <a:pt x="21" y="49"/>
                </a:cubicBezTo>
                <a:cubicBezTo>
                  <a:pt x="21" y="48"/>
                  <a:pt x="21" y="48"/>
                  <a:pt x="21" y="48"/>
                </a:cubicBezTo>
                <a:cubicBezTo>
                  <a:pt x="20" y="49"/>
                  <a:pt x="20" y="49"/>
                  <a:pt x="20" y="49"/>
                </a:cubicBezTo>
                <a:cubicBezTo>
                  <a:pt x="19" y="49"/>
                  <a:pt x="19" y="49"/>
                  <a:pt x="19" y="49"/>
                </a:cubicBezTo>
                <a:cubicBezTo>
                  <a:pt x="19" y="49"/>
                  <a:pt x="19" y="49"/>
                  <a:pt x="19" y="49"/>
                </a:cubicBezTo>
                <a:cubicBezTo>
                  <a:pt x="19" y="49"/>
                  <a:pt x="19" y="49"/>
                  <a:pt x="19" y="49"/>
                </a:cubicBezTo>
                <a:cubicBezTo>
                  <a:pt x="19" y="50"/>
                  <a:pt x="19" y="50"/>
                  <a:pt x="19" y="50"/>
                </a:cubicBezTo>
                <a:cubicBezTo>
                  <a:pt x="20" y="50"/>
                  <a:pt x="20" y="50"/>
                  <a:pt x="20" y="50"/>
                </a:cubicBezTo>
                <a:cubicBezTo>
                  <a:pt x="20" y="51"/>
                  <a:pt x="20" y="51"/>
                  <a:pt x="20" y="51"/>
                </a:cubicBezTo>
                <a:cubicBezTo>
                  <a:pt x="19" y="52"/>
                  <a:pt x="19" y="52"/>
                  <a:pt x="19" y="52"/>
                </a:cubicBezTo>
                <a:cubicBezTo>
                  <a:pt x="19" y="54"/>
                  <a:pt x="19" y="54"/>
                  <a:pt x="19" y="54"/>
                </a:cubicBezTo>
                <a:cubicBezTo>
                  <a:pt x="19" y="55"/>
                  <a:pt x="19" y="55"/>
                  <a:pt x="19" y="55"/>
                </a:cubicBezTo>
                <a:cubicBezTo>
                  <a:pt x="20" y="55"/>
                  <a:pt x="20" y="55"/>
                  <a:pt x="20" y="55"/>
                </a:cubicBezTo>
                <a:cubicBezTo>
                  <a:pt x="19" y="57"/>
                  <a:pt x="19" y="57"/>
                  <a:pt x="19" y="57"/>
                </a:cubicBezTo>
                <a:cubicBezTo>
                  <a:pt x="19" y="58"/>
                  <a:pt x="19" y="58"/>
                  <a:pt x="19" y="58"/>
                </a:cubicBezTo>
                <a:cubicBezTo>
                  <a:pt x="18" y="59"/>
                  <a:pt x="18" y="59"/>
                  <a:pt x="18" y="59"/>
                </a:cubicBezTo>
                <a:cubicBezTo>
                  <a:pt x="17" y="60"/>
                  <a:pt x="17" y="60"/>
                  <a:pt x="17" y="60"/>
                </a:cubicBezTo>
                <a:cubicBezTo>
                  <a:pt x="17" y="65"/>
                  <a:pt x="17" y="65"/>
                  <a:pt x="17" y="65"/>
                </a:cubicBezTo>
                <a:cubicBezTo>
                  <a:pt x="16" y="67"/>
                  <a:pt x="16" y="67"/>
                  <a:pt x="16" y="67"/>
                </a:cubicBezTo>
                <a:cubicBezTo>
                  <a:pt x="16" y="68"/>
                  <a:pt x="16" y="68"/>
                  <a:pt x="16" y="68"/>
                </a:cubicBezTo>
                <a:cubicBezTo>
                  <a:pt x="15" y="70"/>
                  <a:pt x="15" y="70"/>
                  <a:pt x="15" y="70"/>
                </a:cubicBezTo>
                <a:cubicBezTo>
                  <a:pt x="16" y="70"/>
                  <a:pt x="16" y="70"/>
                  <a:pt x="16" y="70"/>
                </a:cubicBezTo>
                <a:cubicBezTo>
                  <a:pt x="16" y="70"/>
                  <a:pt x="16" y="70"/>
                  <a:pt x="16" y="70"/>
                </a:cubicBezTo>
                <a:cubicBezTo>
                  <a:pt x="15" y="71"/>
                  <a:pt x="15" y="71"/>
                  <a:pt x="15" y="71"/>
                </a:cubicBezTo>
                <a:cubicBezTo>
                  <a:pt x="15" y="71"/>
                  <a:pt x="15" y="71"/>
                  <a:pt x="15" y="71"/>
                </a:cubicBezTo>
                <a:cubicBezTo>
                  <a:pt x="16" y="73"/>
                  <a:pt x="16" y="73"/>
                  <a:pt x="16" y="73"/>
                </a:cubicBezTo>
                <a:cubicBezTo>
                  <a:pt x="16" y="74"/>
                  <a:pt x="16" y="74"/>
                  <a:pt x="16" y="74"/>
                </a:cubicBezTo>
                <a:cubicBezTo>
                  <a:pt x="17" y="75"/>
                  <a:pt x="17" y="75"/>
                  <a:pt x="17" y="75"/>
                </a:cubicBezTo>
                <a:cubicBezTo>
                  <a:pt x="16" y="77"/>
                  <a:pt x="16" y="77"/>
                  <a:pt x="16" y="77"/>
                </a:cubicBezTo>
                <a:cubicBezTo>
                  <a:pt x="17" y="77"/>
                  <a:pt x="17" y="77"/>
                  <a:pt x="17" y="77"/>
                </a:cubicBezTo>
                <a:cubicBezTo>
                  <a:pt x="17" y="77"/>
                  <a:pt x="17" y="77"/>
                  <a:pt x="17" y="77"/>
                </a:cubicBezTo>
                <a:cubicBezTo>
                  <a:pt x="17" y="76"/>
                  <a:pt x="17" y="76"/>
                  <a:pt x="17" y="76"/>
                </a:cubicBezTo>
                <a:cubicBezTo>
                  <a:pt x="18" y="76"/>
                  <a:pt x="18" y="76"/>
                  <a:pt x="18" y="76"/>
                </a:cubicBezTo>
                <a:cubicBezTo>
                  <a:pt x="18" y="76"/>
                  <a:pt x="18" y="76"/>
                  <a:pt x="18" y="76"/>
                </a:cubicBezTo>
                <a:cubicBezTo>
                  <a:pt x="19" y="76"/>
                  <a:pt x="19" y="76"/>
                  <a:pt x="19" y="76"/>
                </a:cubicBezTo>
                <a:cubicBezTo>
                  <a:pt x="20" y="77"/>
                  <a:pt x="20" y="77"/>
                  <a:pt x="20" y="77"/>
                </a:cubicBezTo>
                <a:cubicBezTo>
                  <a:pt x="20" y="78"/>
                  <a:pt x="20" y="78"/>
                  <a:pt x="20" y="78"/>
                </a:cubicBezTo>
                <a:cubicBezTo>
                  <a:pt x="21" y="79"/>
                  <a:pt x="21" y="79"/>
                  <a:pt x="21" y="79"/>
                </a:cubicBezTo>
                <a:cubicBezTo>
                  <a:pt x="20" y="80"/>
                  <a:pt x="20" y="80"/>
                  <a:pt x="20" y="80"/>
                </a:cubicBezTo>
                <a:cubicBezTo>
                  <a:pt x="21" y="80"/>
                  <a:pt x="21" y="80"/>
                  <a:pt x="21" y="80"/>
                </a:cubicBezTo>
                <a:cubicBezTo>
                  <a:pt x="22" y="82"/>
                  <a:pt x="22" y="82"/>
                  <a:pt x="22" y="82"/>
                </a:cubicBezTo>
                <a:cubicBezTo>
                  <a:pt x="22" y="82"/>
                  <a:pt x="22" y="82"/>
                  <a:pt x="22" y="82"/>
                </a:cubicBezTo>
                <a:cubicBezTo>
                  <a:pt x="22" y="81"/>
                  <a:pt x="22" y="81"/>
                  <a:pt x="22" y="81"/>
                </a:cubicBezTo>
                <a:cubicBezTo>
                  <a:pt x="23" y="80"/>
                  <a:pt x="23" y="80"/>
                  <a:pt x="23" y="80"/>
                </a:cubicBezTo>
                <a:cubicBezTo>
                  <a:pt x="23" y="81"/>
                  <a:pt x="23" y="81"/>
                  <a:pt x="23" y="81"/>
                </a:cubicBezTo>
                <a:cubicBezTo>
                  <a:pt x="24" y="82"/>
                  <a:pt x="24" y="82"/>
                  <a:pt x="24" y="82"/>
                </a:cubicBezTo>
                <a:cubicBezTo>
                  <a:pt x="24" y="83"/>
                  <a:pt x="24" y="83"/>
                  <a:pt x="24" y="83"/>
                </a:cubicBezTo>
                <a:cubicBezTo>
                  <a:pt x="24" y="84"/>
                  <a:pt x="24" y="84"/>
                  <a:pt x="24" y="84"/>
                </a:cubicBezTo>
                <a:cubicBezTo>
                  <a:pt x="25" y="86"/>
                  <a:pt x="25" y="86"/>
                  <a:pt x="25" y="86"/>
                </a:cubicBezTo>
                <a:cubicBezTo>
                  <a:pt x="24" y="87"/>
                  <a:pt x="24" y="87"/>
                  <a:pt x="24" y="87"/>
                </a:cubicBezTo>
                <a:cubicBezTo>
                  <a:pt x="24" y="87"/>
                  <a:pt x="24" y="87"/>
                  <a:pt x="24" y="87"/>
                </a:cubicBezTo>
                <a:cubicBezTo>
                  <a:pt x="24" y="87"/>
                  <a:pt x="24" y="87"/>
                  <a:pt x="24" y="87"/>
                </a:cubicBezTo>
                <a:cubicBezTo>
                  <a:pt x="23" y="87"/>
                  <a:pt x="23" y="87"/>
                  <a:pt x="23" y="87"/>
                </a:cubicBezTo>
                <a:cubicBezTo>
                  <a:pt x="23" y="88"/>
                  <a:pt x="23" y="88"/>
                  <a:pt x="23" y="88"/>
                </a:cubicBezTo>
                <a:cubicBezTo>
                  <a:pt x="25" y="89"/>
                  <a:pt x="25" y="89"/>
                  <a:pt x="25" y="89"/>
                </a:cubicBezTo>
                <a:cubicBezTo>
                  <a:pt x="25" y="88"/>
                  <a:pt x="25" y="88"/>
                  <a:pt x="25" y="88"/>
                </a:cubicBezTo>
                <a:cubicBezTo>
                  <a:pt x="25" y="88"/>
                  <a:pt x="25" y="88"/>
                  <a:pt x="25" y="88"/>
                </a:cubicBezTo>
                <a:cubicBezTo>
                  <a:pt x="25" y="89"/>
                  <a:pt x="25" y="89"/>
                  <a:pt x="25" y="89"/>
                </a:cubicBezTo>
                <a:cubicBezTo>
                  <a:pt x="26" y="90"/>
                  <a:pt x="26" y="90"/>
                  <a:pt x="26" y="90"/>
                </a:cubicBezTo>
                <a:cubicBezTo>
                  <a:pt x="28" y="92"/>
                  <a:pt x="28" y="92"/>
                  <a:pt x="28" y="92"/>
                </a:cubicBezTo>
                <a:cubicBezTo>
                  <a:pt x="29" y="92"/>
                  <a:pt x="29" y="92"/>
                  <a:pt x="29" y="92"/>
                </a:cubicBezTo>
                <a:cubicBezTo>
                  <a:pt x="29" y="92"/>
                  <a:pt x="29" y="92"/>
                  <a:pt x="29" y="92"/>
                </a:cubicBezTo>
                <a:cubicBezTo>
                  <a:pt x="30" y="92"/>
                  <a:pt x="30" y="92"/>
                  <a:pt x="30" y="92"/>
                </a:cubicBezTo>
                <a:cubicBezTo>
                  <a:pt x="32" y="93"/>
                  <a:pt x="32" y="93"/>
                  <a:pt x="32" y="93"/>
                </a:cubicBezTo>
                <a:cubicBezTo>
                  <a:pt x="32" y="95"/>
                  <a:pt x="32" y="95"/>
                  <a:pt x="32" y="95"/>
                </a:cubicBezTo>
                <a:cubicBezTo>
                  <a:pt x="33" y="95"/>
                  <a:pt x="33" y="95"/>
                  <a:pt x="33" y="95"/>
                </a:cubicBezTo>
                <a:cubicBezTo>
                  <a:pt x="34" y="96"/>
                  <a:pt x="34" y="96"/>
                  <a:pt x="34" y="96"/>
                </a:cubicBezTo>
                <a:cubicBezTo>
                  <a:pt x="34" y="97"/>
                  <a:pt x="34" y="97"/>
                  <a:pt x="34" y="97"/>
                </a:cubicBezTo>
                <a:cubicBezTo>
                  <a:pt x="34" y="97"/>
                  <a:pt x="34" y="97"/>
                  <a:pt x="34" y="97"/>
                </a:cubicBezTo>
                <a:cubicBezTo>
                  <a:pt x="34" y="98"/>
                  <a:pt x="34" y="98"/>
                  <a:pt x="34" y="98"/>
                </a:cubicBezTo>
                <a:cubicBezTo>
                  <a:pt x="33" y="99"/>
                  <a:pt x="33" y="99"/>
                  <a:pt x="33" y="99"/>
                </a:cubicBezTo>
                <a:cubicBezTo>
                  <a:pt x="32" y="98"/>
                  <a:pt x="32" y="98"/>
                  <a:pt x="32" y="98"/>
                </a:cubicBezTo>
                <a:cubicBezTo>
                  <a:pt x="31" y="98"/>
                  <a:pt x="31" y="98"/>
                  <a:pt x="31" y="98"/>
                </a:cubicBezTo>
                <a:cubicBezTo>
                  <a:pt x="30" y="99"/>
                  <a:pt x="30" y="99"/>
                  <a:pt x="30" y="99"/>
                </a:cubicBezTo>
                <a:cubicBezTo>
                  <a:pt x="28" y="99"/>
                  <a:pt x="28" y="99"/>
                  <a:pt x="28" y="99"/>
                </a:cubicBezTo>
                <a:cubicBezTo>
                  <a:pt x="28" y="98"/>
                  <a:pt x="28" y="98"/>
                  <a:pt x="28" y="98"/>
                </a:cubicBezTo>
                <a:cubicBezTo>
                  <a:pt x="29" y="97"/>
                  <a:pt x="29" y="97"/>
                  <a:pt x="29" y="97"/>
                </a:cubicBezTo>
                <a:cubicBezTo>
                  <a:pt x="29" y="95"/>
                  <a:pt x="29" y="95"/>
                  <a:pt x="29" y="95"/>
                </a:cubicBezTo>
                <a:cubicBezTo>
                  <a:pt x="28" y="95"/>
                  <a:pt x="28" y="95"/>
                  <a:pt x="28" y="95"/>
                </a:cubicBezTo>
                <a:cubicBezTo>
                  <a:pt x="27" y="95"/>
                  <a:pt x="27" y="95"/>
                  <a:pt x="27" y="95"/>
                </a:cubicBezTo>
                <a:cubicBezTo>
                  <a:pt x="27" y="94"/>
                  <a:pt x="27" y="94"/>
                  <a:pt x="27" y="94"/>
                </a:cubicBezTo>
                <a:cubicBezTo>
                  <a:pt x="25" y="93"/>
                  <a:pt x="25" y="93"/>
                  <a:pt x="25" y="93"/>
                </a:cubicBezTo>
                <a:cubicBezTo>
                  <a:pt x="24" y="92"/>
                  <a:pt x="24" y="92"/>
                  <a:pt x="24" y="92"/>
                </a:cubicBezTo>
                <a:cubicBezTo>
                  <a:pt x="23" y="93"/>
                  <a:pt x="23" y="93"/>
                  <a:pt x="23" y="93"/>
                </a:cubicBezTo>
                <a:cubicBezTo>
                  <a:pt x="23" y="95"/>
                  <a:pt x="23" y="95"/>
                  <a:pt x="23" y="95"/>
                </a:cubicBezTo>
                <a:cubicBezTo>
                  <a:pt x="22" y="94"/>
                  <a:pt x="22" y="94"/>
                  <a:pt x="22" y="94"/>
                </a:cubicBezTo>
                <a:cubicBezTo>
                  <a:pt x="19" y="92"/>
                  <a:pt x="19" y="92"/>
                  <a:pt x="19" y="92"/>
                </a:cubicBezTo>
                <a:cubicBezTo>
                  <a:pt x="19" y="92"/>
                  <a:pt x="19" y="92"/>
                  <a:pt x="19" y="92"/>
                </a:cubicBezTo>
                <a:cubicBezTo>
                  <a:pt x="20" y="91"/>
                  <a:pt x="20" y="91"/>
                  <a:pt x="20" y="91"/>
                </a:cubicBezTo>
                <a:cubicBezTo>
                  <a:pt x="20" y="90"/>
                  <a:pt x="20" y="90"/>
                  <a:pt x="20" y="90"/>
                </a:cubicBezTo>
                <a:cubicBezTo>
                  <a:pt x="19" y="90"/>
                  <a:pt x="19" y="90"/>
                  <a:pt x="19" y="90"/>
                </a:cubicBezTo>
                <a:cubicBezTo>
                  <a:pt x="19" y="89"/>
                  <a:pt x="19" y="89"/>
                  <a:pt x="19" y="89"/>
                </a:cubicBezTo>
                <a:cubicBezTo>
                  <a:pt x="18" y="89"/>
                  <a:pt x="18" y="89"/>
                  <a:pt x="18" y="89"/>
                </a:cubicBezTo>
                <a:cubicBezTo>
                  <a:pt x="18" y="88"/>
                  <a:pt x="18" y="88"/>
                  <a:pt x="18" y="88"/>
                </a:cubicBezTo>
                <a:cubicBezTo>
                  <a:pt x="16" y="86"/>
                  <a:pt x="16" y="86"/>
                  <a:pt x="16" y="86"/>
                </a:cubicBezTo>
                <a:cubicBezTo>
                  <a:pt x="15" y="86"/>
                  <a:pt x="15" y="86"/>
                  <a:pt x="15" y="86"/>
                </a:cubicBezTo>
                <a:cubicBezTo>
                  <a:pt x="14" y="84"/>
                  <a:pt x="14" y="84"/>
                  <a:pt x="14" y="84"/>
                </a:cubicBezTo>
                <a:cubicBezTo>
                  <a:pt x="13" y="84"/>
                  <a:pt x="13" y="84"/>
                  <a:pt x="13" y="84"/>
                </a:cubicBezTo>
                <a:cubicBezTo>
                  <a:pt x="13" y="83"/>
                  <a:pt x="13" y="83"/>
                  <a:pt x="13" y="83"/>
                </a:cubicBezTo>
                <a:cubicBezTo>
                  <a:pt x="13" y="82"/>
                  <a:pt x="13" y="82"/>
                  <a:pt x="13" y="82"/>
                </a:cubicBezTo>
                <a:cubicBezTo>
                  <a:pt x="13" y="82"/>
                  <a:pt x="13" y="82"/>
                  <a:pt x="13" y="82"/>
                </a:cubicBezTo>
                <a:cubicBezTo>
                  <a:pt x="11" y="82"/>
                  <a:pt x="11" y="82"/>
                  <a:pt x="11" y="82"/>
                </a:cubicBezTo>
                <a:cubicBezTo>
                  <a:pt x="12" y="83"/>
                  <a:pt x="12" y="83"/>
                  <a:pt x="12" y="83"/>
                </a:cubicBezTo>
                <a:cubicBezTo>
                  <a:pt x="11" y="83"/>
                  <a:pt x="11" y="83"/>
                  <a:pt x="11" y="83"/>
                </a:cubicBezTo>
                <a:cubicBezTo>
                  <a:pt x="10" y="82"/>
                  <a:pt x="10" y="82"/>
                  <a:pt x="10" y="82"/>
                </a:cubicBezTo>
                <a:cubicBezTo>
                  <a:pt x="10" y="80"/>
                  <a:pt x="10" y="80"/>
                  <a:pt x="10" y="80"/>
                </a:cubicBezTo>
                <a:cubicBezTo>
                  <a:pt x="10" y="80"/>
                  <a:pt x="10" y="80"/>
                  <a:pt x="10" y="80"/>
                </a:cubicBezTo>
                <a:cubicBezTo>
                  <a:pt x="10" y="78"/>
                  <a:pt x="10" y="78"/>
                  <a:pt x="10" y="78"/>
                </a:cubicBezTo>
                <a:cubicBezTo>
                  <a:pt x="11" y="78"/>
                  <a:pt x="11" y="78"/>
                  <a:pt x="11" y="78"/>
                </a:cubicBezTo>
                <a:cubicBezTo>
                  <a:pt x="11" y="75"/>
                  <a:pt x="11" y="75"/>
                  <a:pt x="11" y="75"/>
                </a:cubicBezTo>
                <a:cubicBezTo>
                  <a:pt x="11" y="75"/>
                  <a:pt x="11" y="75"/>
                  <a:pt x="11" y="75"/>
                </a:cubicBezTo>
                <a:cubicBezTo>
                  <a:pt x="12" y="74"/>
                  <a:pt x="12" y="74"/>
                  <a:pt x="12" y="74"/>
                </a:cubicBezTo>
                <a:cubicBezTo>
                  <a:pt x="11" y="74"/>
                  <a:pt x="11" y="74"/>
                  <a:pt x="11" y="74"/>
                </a:cubicBezTo>
                <a:cubicBezTo>
                  <a:pt x="12" y="73"/>
                  <a:pt x="12" y="73"/>
                  <a:pt x="12" y="73"/>
                </a:cubicBezTo>
                <a:cubicBezTo>
                  <a:pt x="12" y="72"/>
                  <a:pt x="12" y="72"/>
                  <a:pt x="12" y="72"/>
                </a:cubicBezTo>
                <a:cubicBezTo>
                  <a:pt x="13" y="71"/>
                  <a:pt x="13" y="71"/>
                  <a:pt x="13" y="71"/>
                </a:cubicBezTo>
                <a:cubicBezTo>
                  <a:pt x="12" y="71"/>
                  <a:pt x="12" y="71"/>
                  <a:pt x="12" y="71"/>
                </a:cubicBezTo>
                <a:cubicBezTo>
                  <a:pt x="12" y="69"/>
                  <a:pt x="12" y="69"/>
                  <a:pt x="12" y="69"/>
                </a:cubicBezTo>
                <a:cubicBezTo>
                  <a:pt x="12" y="68"/>
                  <a:pt x="12" y="68"/>
                  <a:pt x="12" y="68"/>
                </a:cubicBezTo>
                <a:cubicBezTo>
                  <a:pt x="13" y="67"/>
                  <a:pt x="13" y="67"/>
                  <a:pt x="13" y="67"/>
                </a:cubicBezTo>
                <a:cubicBezTo>
                  <a:pt x="13" y="65"/>
                  <a:pt x="13" y="65"/>
                  <a:pt x="13" y="65"/>
                </a:cubicBezTo>
                <a:cubicBezTo>
                  <a:pt x="15" y="64"/>
                  <a:pt x="15" y="64"/>
                  <a:pt x="15" y="64"/>
                </a:cubicBezTo>
                <a:cubicBezTo>
                  <a:pt x="16" y="61"/>
                  <a:pt x="16" y="61"/>
                  <a:pt x="16" y="61"/>
                </a:cubicBezTo>
                <a:cubicBezTo>
                  <a:pt x="17" y="60"/>
                  <a:pt x="17" y="60"/>
                  <a:pt x="17" y="60"/>
                </a:cubicBezTo>
                <a:cubicBezTo>
                  <a:pt x="17" y="58"/>
                  <a:pt x="17" y="58"/>
                  <a:pt x="17" y="58"/>
                </a:cubicBezTo>
                <a:cubicBezTo>
                  <a:pt x="16" y="57"/>
                  <a:pt x="16" y="57"/>
                  <a:pt x="16" y="57"/>
                </a:cubicBezTo>
                <a:cubicBezTo>
                  <a:pt x="16" y="55"/>
                  <a:pt x="16" y="55"/>
                  <a:pt x="16" y="55"/>
                </a:cubicBezTo>
                <a:cubicBezTo>
                  <a:pt x="16" y="54"/>
                  <a:pt x="16" y="54"/>
                  <a:pt x="16" y="54"/>
                </a:cubicBezTo>
                <a:cubicBezTo>
                  <a:pt x="15" y="52"/>
                  <a:pt x="15" y="52"/>
                  <a:pt x="15" y="52"/>
                </a:cubicBezTo>
                <a:cubicBezTo>
                  <a:pt x="15" y="51"/>
                  <a:pt x="15" y="51"/>
                  <a:pt x="15" y="51"/>
                </a:cubicBezTo>
                <a:cubicBezTo>
                  <a:pt x="15" y="50"/>
                  <a:pt x="15" y="50"/>
                  <a:pt x="15" y="50"/>
                </a:cubicBezTo>
                <a:cubicBezTo>
                  <a:pt x="14" y="48"/>
                  <a:pt x="14" y="48"/>
                  <a:pt x="14" y="48"/>
                </a:cubicBezTo>
                <a:cubicBezTo>
                  <a:pt x="15" y="47"/>
                  <a:pt x="15" y="47"/>
                  <a:pt x="15" y="47"/>
                </a:cubicBezTo>
                <a:cubicBezTo>
                  <a:pt x="14" y="45"/>
                  <a:pt x="14" y="45"/>
                  <a:pt x="14" y="45"/>
                </a:cubicBezTo>
                <a:cubicBezTo>
                  <a:pt x="12" y="43"/>
                  <a:pt x="12" y="43"/>
                  <a:pt x="12" y="43"/>
                </a:cubicBezTo>
                <a:cubicBezTo>
                  <a:pt x="10" y="42"/>
                  <a:pt x="10" y="42"/>
                  <a:pt x="10" y="42"/>
                </a:cubicBezTo>
                <a:cubicBezTo>
                  <a:pt x="9" y="40"/>
                  <a:pt x="9" y="40"/>
                  <a:pt x="9" y="40"/>
                </a:cubicBezTo>
                <a:cubicBezTo>
                  <a:pt x="9" y="38"/>
                  <a:pt x="9" y="38"/>
                  <a:pt x="9" y="38"/>
                </a:cubicBezTo>
                <a:cubicBezTo>
                  <a:pt x="8" y="36"/>
                  <a:pt x="8" y="36"/>
                  <a:pt x="8" y="36"/>
                </a:cubicBezTo>
                <a:cubicBezTo>
                  <a:pt x="9" y="35"/>
                  <a:pt x="9" y="35"/>
                  <a:pt x="9" y="35"/>
                </a:cubicBezTo>
                <a:cubicBezTo>
                  <a:pt x="9" y="34"/>
                  <a:pt x="9" y="34"/>
                  <a:pt x="9" y="34"/>
                </a:cubicBezTo>
                <a:cubicBezTo>
                  <a:pt x="9" y="31"/>
                  <a:pt x="9" y="31"/>
                  <a:pt x="9" y="31"/>
                </a:cubicBezTo>
                <a:cubicBezTo>
                  <a:pt x="9" y="30"/>
                  <a:pt x="9" y="30"/>
                  <a:pt x="9" y="30"/>
                </a:cubicBezTo>
                <a:cubicBezTo>
                  <a:pt x="10" y="30"/>
                  <a:pt x="10" y="30"/>
                  <a:pt x="10" y="30"/>
                </a:cubicBezTo>
                <a:cubicBezTo>
                  <a:pt x="10" y="28"/>
                  <a:pt x="10" y="28"/>
                  <a:pt x="10" y="28"/>
                </a:cubicBezTo>
                <a:cubicBezTo>
                  <a:pt x="9" y="28"/>
                  <a:pt x="9" y="28"/>
                  <a:pt x="9" y="28"/>
                </a:cubicBezTo>
                <a:cubicBezTo>
                  <a:pt x="9" y="26"/>
                  <a:pt x="9" y="26"/>
                  <a:pt x="9" y="26"/>
                </a:cubicBezTo>
                <a:cubicBezTo>
                  <a:pt x="8" y="25"/>
                  <a:pt x="8" y="25"/>
                  <a:pt x="8" y="25"/>
                </a:cubicBezTo>
                <a:cubicBezTo>
                  <a:pt x="7" y="24"/>
                  <a:pt x="7" y="24"/>
                  <a:pt x="7" y="24"/>
                </a:cubicBezTo>
                <a:cubicBezTo>
                  <a:pt x="5" y="21"/>
                  <a:pt x="5" y="21"/>
                  <a:pt x="5" y="21"/>
                </a:cubicBezTo>
                <a:cubicBezTo>
                  <a:pt x="4" y="20"/>
                  <a:pt x="4" y="20"/>
                  <a:pt x="4" y="20"/>
                </a:cubicBezTo>
                <a:cubicBezTo>
                  <a:pt x="3" y="19"/>
                  <a:pt x="3" y="19"/>
                  <a:pt x="3" y="19"/>
                </a:cubicBezTo>
                <a:cubicBezTo>
                  <a:pt x="3" y="18"/>
                  <a:pt x="3" y="18"/>
                  <a:pt x="3" y="18"/>
                </a:cubicBezTo>
                <a:cubicBezTo>
                  <a:pt x="1" y="16"/>
                  <a:pt x="1" y="16"/>
                  <a:pt x="1" y="16"/>
                </a:cubicBezTo>
                <a:cubicBezTo>
                  <a:pt x="1" y="16"/>
                  <a:pt x="1" y="16"/>
                  <a:pt x="1" y="16"/>
                </a:cubicBezTo>
                <a:cubicBezTo>
                  <a:pt x="0" y="15"/>
                  <a:pt x="0" y="15"/>
                  <a:pt x="0" y="15"/>
                </a:cubicBezTo>
                <a:cubicBezTo>
                  <a:pt x="2" y="15"/>
                  <a:pt x="2" y="15"/>
                  <a:pt x="2" y="15"/>
                </a:cubicBezTo>
                <a:cubicBezTo>
                  <a:pt x="3" y="14"/>
                  <a:pt x="3" y="14"/>
                  <a:pt x="3" y="14"/>
                </a:cubicBezTo>
                <a:cubicBezTo>
                  <a:pt x="3" y="13"/>
                  <a:pt x="3" y="13"/>
                  <a:pt x="3" y="13"/>
                </a:cubicBezTo>
                <a:cubicBezTo>
                  <a:pt x="3" y="11"/>
                  <a:pt x="3" y="11"/>
                  <a:pt x="3" y="11"/>
                </a:cubicBezTo>
                <a:cubicBezTo>
                  <a:pt x="4" y="10"/>
                  <a:pt x="4" y="10"/>
                  <a:pt x="4" y="10"/>
                </a:cubicBezTo>
                <a:cubicBezTo>
                  <a:pt x="3" y="8"/>
                  <a:pt x="3" y="8"/>
                  <a:pt x="3" y="8"/>
                </a:cubicBezTo>
                <a:cubicBezTo>
                  <a:pt x="4" y="6"/>
                  <a:pt x="4" y="6"/>
                  <a:pt x="4" y="6"/>
                </a:cubicBezTo>
                <a:cubicBezTo>
                  <a:pt x="7" y="7"/>
                  <a:pt x="7" y="7"/>
                  <a:pt x="7" y="7"/>
                </a:cubicBezTo>
                <a:cubicBezTo>
                  <a:pt x="8" y="6"/>
                  <a:pt x="8" y="6"/>
                  <a:pt x="8" y="6"/>
                </a:cubicBezTo>
                <a:cubicBezTo>
                  <a:pt x="10" y="6"/>
                  <a:pt x="10" y="6"/>
                  <a:pt x="10" y="6"/>
                </a:cubicBezTo>
                <a:cubicBezTo>
                  <a:pt x="10" y="6"/>
                  <a:pt x="10" y="6"/>
                  <a:pt x="10" y="6"/>
                </a:cubicBezTo>
                <a:cubicBezTo>
                  <a:pt x="10" y="4"/>
                  <a:pt x="10" y="4"/>
                  <a:pt x="10" y="4"/>
                </a:cubicBezTo>
                <a:cubicBezTo>
                  <a:pt x="11" y="3"/>
                  <a:pt x="11" y="3"/>
                  <a:pt x="11" y="3"/>
                </a:cubicBezTo>
                <a:cubicBezTo>
                  <a:pt x="12" y="3"/>
                  <a:pt x="12" y="3"/>
                  <a:pt x="12" y="3"/>
                </a:cubicBezTo>
                <a:cubicBezTo>
                  <a:pt x="13" y="3"/>
                  <a:pt x="13" y="3"/>
                  <a:pt x="13" y="3"/>
                </a:cubicBezTo>
                <a:cubicBezTo>
                  <a:pt x="12" y="2"/>
                  <a:pt x="12" y="2"/>
                  <a:pt x="12" y="2"/>
                </a:cubicBezTo>
                <a:cubicBezTo>
                  <a:pt x="12" y="1"/>
                  <a:pt x="12" y="1"/>
                  <a:pt x="12" y="1"/>
                </a:cubicBezTo>
                <a:cubicBezTo>
                  <a:pt x="14" y="1"/>
                  <a:pt x="14" y="1"/>
                  <a:pt x="14" y="1"/>
                </a:cubicBezTo>
                <a:cubicBezTo>
                  <a:pt x="15" y="1"/>
                  <a:pt x="15" y="1"/>
                  <a:pt x="15" y="1"/>
                </a:cubicBezTo>
                <a:cubicBezTo>
                  <a:pt x="15" y="0"/>
                  <a:pt x="15" y="0"/>
                  <a:pt x="15" y="0"/>
                </a:cubicBezTo>
                <a:close/>
                <a:moveTo>
                  <a:pt x="19" y="93"/>
                </a:moveTo>
                <a:cubicBezTo>
                  <a:pt x="19" y="94"/>
                  <a:pt x="19" y="94"/>
                  <a:pt x="19" y="94"/>
                </a:cubicBezTo>
                <a:cubicBezTo>
                  <a:pt x="20" y="94"/>
                  <a:pt x="20" y="94"/>
                  <a:pt x="20" y="94"/>
                </a:cubicBezTo>
                <a:cubicBezTo>
                  <a:pt x="20" y="93"/>
                  <a:pt x="20" y="93"/>
                  <a:pt x="20" y="93"/>
                </a:cubicBezTo>
                <a:cubicBezTo>
                  <a:pt x="19" y="93"/>
                  <a:pt x="19" y="93"/>
                  <a:pt x="19" y="93"/>
                </a:cubicBezTo>
                <a:cubicBezTo>
                  <a:pt x="19" y="93"/>
                  <a:pt x="19" y="93"/>
                  <a:pt x="19" y="93"/>
                </a:cubicBezTo>
                <a:close/>
                <a:moveTo>
                  <a:pt x="15" y="87"/>
                </a:moveTo>
                <a:cubicBezTo>
                  <a:pt x="15" y="88"/>
                  <a:pt x="15" y="88"/>
                  <a:pt x="15" y="88"/>
                </a:cubicBezTo>
                <a:cubicBezTo>
                  <a:pt x="15" y="87"/>
                  <a:pt x="15" y="87"/>
                  <a:pt x="15" y="87"/>
                </a:cubicBezTo>
                <a:cubicBezTo>
                  <a:pt x="15" y="87"/>
                  <a:pt x="15" y="87"/>
                  <a:pt x="15" y="87"/>
                </a:cubicBezTo>
                <a:cubicBezTo>
                  <a:pt x="15" y="87"/>
                  <a:pt x="15" y="87"/>
                  <a:pt x="15" y="87"/>
                </a:cubicBezTo>
                <a:close/>
                <a:moveTo>
                  <a:pt x="11" y="84"/>
                </a:moveTo>
                <a:cubicBezTo>
                  <a:pt x="10" y="85"/>
                  <a:pt x="10" y="85"/>
                  <a:pt x="10" y="85"/>
                </a:cubicBezTo>
                <a:cubicBezTo>
                  <a:pt x="11" y="85"/>
                  <a:pt x="11" y="85"/>
                  <a:pt x="11" y="85"/>
                </a:cubicBezTo>
                <a:cubicBezTo>
                  <a:pt x="10" y="86"/>
                  <a:pt x="10" y="86"/>
                  <a:pt x="10" y="86"/>
                </a:cubicBezTo>
                <a:cubicBezTo>
                  <a:pt x="11" y="85"/>
                  <a:pt x="11" y="85"/>
                  <a:pt x="11" y="85"/>
                </a:cubicBezTo>
                <a:cubicBezTo>
                  <a:pt x="11" y="84"/>
                  <a:pt x="11" y="84"/>
                  <a:pt x="11" y="84"/>
                </a:cubicBezTo>
                <a:cubicBezTo>
                  <a:pt x="11" y="84"/>
                  <a:pt x="11" y="84"/>
                  <a:pt x="11" y="84"/>
                </a:cubicBezTo>
                <a:close/>
                <a:moveTo>
                  <a:pt x="33" y="57"/>
                </a:moveTo>
                <a:cubicBezTo>
                  <a:pt x="33" y="58"/>
                  <a:pt x="33" y="58"/>
                  <a:pt x="33" y="58"/>
                </a:cubicBezTo>
                <a:cubicBezTo>
                  <a:pt x="34" y="59"/>
                  <a:pt x="34" y="59"/>
                  <a:pt x="34" y="59"/>
                </a:cubicBezTo>
                <a:cubicBezTo>
                  <a:pt x="35" y="58"/>
                  <a:pt x="35" y="58"/>
                  <a:pt x="35" y="58"/>
                </a:cubicBezTo>
                <a:cubicBezTo>
                  <a:pt x="33" y="57"/>
                  <a:pt x="33" y="57"/>
                  <a:pt x="33" y="57"/>
                </a:cubicBezTo>
                <a:close/>
                <a:moveTo>
                  <a:pt x="21" y="72"/>
                </a:moveTo>
                <a:cubicBezTo>
                  <a:pt x="20" y="73"/>
                  <a:pt x="20" y="73"/>
                  <a:pt x="20" y="73"/>
                </a:cubicBezTo>
                <a:cubicBezTo>
                  <a:pt x="21" y="73"/>
                  <a:pt x="21" y="73"/>
                  <a:pt x="21" y="73"/>
                </a:cubicBezTo>
                <a:cubicBezTo>
                  <a:pt x="21" y="72"/>
                  <a:pt x="21" y="72"/>
                  <a:pt x="21" y="72"/>
                </a:cubicBezTo>
                <a:close/>
                <a:moveTo>
                  <a:pt x="21" y="74"/>
                </a:moveTo>
                <a:cubicBezTo>
                  <a:pt x="20" y="74"/>
                  <a:pt x="20" y="74"/>
                  <a:pt x="20" y="74"/>
                </a:cubicBezTo>
                <a:cubicBezTo>
                  <a:pt x="20" y="75"/>
                  <a:pt x="20" y="75"/>
                  <a:pt x="20" y="75"/>
                </a:cubicBezTo>
                <a:cubicBezTo>
                  <a:pt x="21" y="76"/>
                  <a:pt x="21" y="76"/>
                  <a:pt x="21" y="76"/>
                </a:cubicBezTo>
                <a:cubicBezTo>
                  <a:pt x="22" y="74"/>
                  <a:pt x="22" y="74"/>
                  <a:pt x="22" y="74"/>
                </a:cubicBezTo>
                <a:lnTo>
                  <a:pt x="21" y="74"/>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5" name="Freeform 33">
            <a:extLst>
              <a:ext uri="{FF2B5EF4-FFF2-40B4-BE49-F238E27FC236}">
                <a16:creationId xmlns:a16="http://schemas.microsoft.com/office/drawing/2014/main" id="{95E54B2B-62DF-FF2A-C6C5-E98F2F592D05}"/>
              </a:ext>
            </a:extLst>
          </p:cNvPr>
          <p:cNvSpPr>
            <a:spLocks noEditPoints="1"/>
          </p:cNvSpPr>
          <p:nvPr userDrawn="1"/>
        </p:nvSpPr>
        <p:spPr bwMode="auto">
          <a:xfrm>
            <a:off x="18874144" y="7498637"/>
            <a:ext cx="555590" cy="1250950"/>
          </a:xfrm>
          <a:custGeom>
            <a:avLst/>
            <a:gdLst>
              <a:gd name="T0" fmla="*/ 97 w 175"/>
              <a:gd name="T1" fmla="*/ 6 h 394"/>
              <a:gd name="T2" fmla="*/ 113 w 175"/>
              <a:gd name="T3" fmla="*/ 31 h 394"/>
              <a:gd name="T4" fmla="*/ 106 w 175"/>
              <a:gd name="T5" fmla="*/ 60 h 394"/>
              <a:gd name="T6" fmla="*/ 97 w 175"/>
              <a:gd name="T7" fmla="*/ 69 h 394"/>
              <a:gd name="T8" fmla="*/ 100 w 175"/>
              <a:gd name="T9" fmla="*/ 85 h 394"/>
              <a:gd name="T10" fmla="*/ 119 w 175"/>
              <a:gd name="T11" fmla="*/ 94 h 394"/>
              <a:gd name="T12" fmla="*/ 128 w 175"/>
              <a:gd name="T13" fmla="*/ 110 h 394"/>
              <a:gd name="T14" fmla="*/ 144 w 175"/>
              <a:gd name="T15" fmla="*/ 113 h 394"/>
              <a:gd name="T16" fmla="*/ 135 w 175"/>
              <a:gd name="T17" fmla="*/ 135 h 394"/>
              <a:gd name="T18" fmla="*/ 150 w 175"/>
              <a:gd name="T19" fmla="*/ 141 h 394"/>
              <a:gd name="T20" fmla="*/ 175 w 175"/>
              <a:gd name="T21" fmla="*/ 144 h 394"/>
              <a:gd name="T22" fmla="*/ 163 w 175"/>
              <a:gd name="T23" fmla="*/ 163 h 394"/>
              <a:gd name="T24" fmla="*/ 144 w 175"/>
              <a:gd name="T25" fmla="*/ 175 h 394"/>
              <a:gd name="T26" fmla="*/ 138 w 175"/>
              <a:gd name="T27" fmla="*/ 188 h 394"/>
              <a:gd name="T28" fmla="*/ 116 w 175"/>
              <a:gd name="T29" fmla="*/ 204 h 394"/>
              <a:gd name="T30" fmla="*/ 110 w 175"/>
              <a:gd name="T31" fmla="*/ 219 h 394"/>
              <a:gd name="T32" fmla="*/ 132 w 175"/>
              <a:gd name="T33" fmla="*/ 247 h 394"/>
              <a:gd name="T34" fmla="*/ 135 w 175"/>
              <a:gd name="T35" fmla="*/ 266 h 394"/>
              <a:gd name="T36" fmla="*/ 138 w 175"/>
              <a:gd name="T37" fmla="*/ 301 h 394"/>
              <a:gd name="T38" fmla="*/ 153 w 175"/>
              <a:gd name="T39" fmla="*/ 329 h 394"/>
              <a:gd name="T40" fmla="*/ 160 w 175"/>
              <a:gd name="T41" fmla="*/ 357 h 394"/>
              <a:gd name="T42" fmla="*/ 144 w 175"/>
              <a:gd name="T43" fmla="*/ 385 h 394"/>
              <a:gd name="T44" fmla="*/ 138 w 175"/>
              <a:gd name="T45" fmla="*/ 379 h 394"/>
              <a:gd name="T46" fmla="*/ 144 w 175"/>
              <a:gd name="T47" fmla="*/ 369 h 394"/>
              <a:gd name="T48" fmla="*/ 144 w 175"/>
              <a:gd name="T49" fmla="*/ 351 h 394"/>
              <a:gd name="T50" fmla="*/ 138 w 175"/>
              <a:gd name="T51" fmla="*/ 322 h 394"/>
              <a:gd name="T52" fmla="*/ 132 w 175"/>
              <a:gd name="T53" fmla="*/ 316 h 394"/>
              <a:gd name="T54" fmla="*/ 122 w 175"/>
              <a:gd name="T55" fmla="*/ 291 h 394"/>
              <a:gd name="T56" fmla="*/ 116 w 175"/>
              <a:gd name="T57" fmla="*/ 266 h 394"/>
              <a:gd name="T58" fmla="*/ 113 w 175"/>
              <a:gd name="T59" fmla="*/ 257 h 394"/>
              <a:gd name="T60" fmla="*/ 100 w 175"/>
              <a:gd name="T61" fmla="*/ 241 h 394"/>
              <a:gd name="T62" fmla="*/ 100 w 175"/>
              <a:gd name="T63" fmla="*/ 244 h 394"/>
              <a:gd name="T64" fmla="*/ 88 w 175"/>
              <a:gd name="T65" fmla="*/ 254 h 394"/>
              <a:gd name="T66" fmla="*/ 85 w 175"/>
              <a:gd name="T67" fmla="*/ 260 h 394"/>
              <a:gd name="T68" fmla="*/ 66 w 175"/>
              <a:gd name="T69" fmla="*/ 269 h 394"/>
              <a:gd name="T70" fmla="*/ 56 w 175"/>
              <a:gd name="T71" fmla="*/ 272 h 394"/>
              <a:gd name="T72" fmla="*/ 53 w 175"/>
              <a:gd name="T73" fmla="*/ 266 h 394"/>
              <a:gd name="T74" fmla="*/ 56 w 175"/>
              <a:gd name="T75" fmla="*/ 241 h 394"/>
              <a:gd name="T76" fmla="*/ 47 w 175"/>
              <a:gd name="T77" fmla="*/ 219 h 394"/>
              <a:gd name="T78" fmla="*/ 35 w 175"/>
              <a:gd name="T79" fmla="*/ 197 h 394"/>
              <a:gd name="T80" fmla="*/ 22 w 175"/>
              <a:gd name="T81" fmla="*/ 197 h 394"/>
              <a:gd name="T82" fmla="*/ 31 w 175"/>
              <a:gd name="T83" fmla="*/ 197 h 394"/>
              <a:gd name="T84" fmla="*/ 31 w 175"/>
              <a:gd name="T85" fmla="*/ 185 h 394"/>
              <a:gd name="T86" fmla="*/ 16 w 175"/>
              <a:gd name="T87" fmla="*/ 182 h 394"/>
              <a:gd name="T88" fmla="*/ 13 w 175"/>
              <a:gd name="T89" fmla="*/ 179 h 394"/>
              <a:gd name="T90" fmla="*/ 0 w 175"/>
              <a:gd name="T91" fmla="*/ 157 h 394"/>
              <a:gd name="T92" fmla="*/ 13 w 175"/>
              <a:gd name="T93" fmla="*/ 138 h 394"/>
              <a:gd name="T94" fmla="*/ 19 w 175"/>
              <a:gd name="T95" fmla="*/ 119 h 394"/>
              <a:gd name="T96" fmla="*/ 28 w 175"/>
              <a:gd name="T97" fmla="*/ 97 h 394"/>
              <a:gd name="T98" fmla="*/ 41 w 175"/>
              <a:gd name="T99" fmla="*/ 57 h 394"/>
              <a:gd name="T100" fmla="*/ 56 w 175"/>
              <a:gd name="T101" fmla="*/ 25 h 394"/>
              <a:gd name="T102" fmla="*/ 75 w 175"/>
              <a:gd name="T103" fmla="*/ 16 h 394"/>
              <a:gd name="T104" fmla="*/ 25 w 175"/>
              <a:gd name="T105" fmla="*/ 2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5" h="394">
                <a:moveTo>
                  <a:pt x="78" y="3"/>
                </a:moveTo>
                <a:lnTo>
                  <a:pt x="81" y="0"/>
                </a:lnTo>
                <a:lnTo>
                  <a:pt x="88" y="3"/>
                </a:lnTo>
                <a:lnTo>
                  <a:pt x="91" y="0"/>
                </a:lnTo>
                <a:lnTo>
                  <a:pt x="94" y="0"/>
                </a:lnTo>
                <a:lnTo>
                  <a:pt x="97" y="6"/>
                </a:lnTo>
                <a:lnTo>
                  <a:pt x="100" y="10"/>
                </a:lnTo>
                <a:lnTo>
                  <a:pt x="103" y="16"/>
                </a:lnTo>
                <a:lnTo>
                  <a:pt x="106" y="16"/>
                </a:lnTo>
                <a:lnTo>
                  <a:pt x="110" y="19"/>
                </a:lnTo>
                <a:lnTo>
                  <a:pt x="110" y="25"/>
                </a:lnTo>
                <a:lnTo>
                  <a:pt x="113" y="31"/>
                </a:lnTo>
                <a:lnTo>
                  <a:pt x="113" y="38"/>
                </a:lnTo>
                <a:lnTo>
                  <a:pt x="113" y="47"/>
                </a:lnTo>
                <a:lnTo>
                  <a:pt x="113" y="50"/>
                </a:lnTo>
                <a:lnTo>
                  <a:pt x="110" y="53"/>
                </a:lnTo>
                <a:lnTo>
                  <a:pt x="106" y="53"/>
                </a:lnTo>
                <a:lnTo>
                  <a:pt x="106" y="60"/>
                </a:lnTo>
                <a:lnTo>
                  <a:pt x="103" y="60"/>
                </a:lnTo>
                <a:lnTo>
                  <a:pt x="103" y="63"/>
                </a:lnTo>
                <a:lnTo>
                  <a:pt x="106" y="66"/>
                </a:lnTo>
                <a:lnTo>
                  <a:pt x="103" y="69"/>
                </a:lnTo>
                <a:lnTo>
                  <a:pt x="100" y="66"/>
                </a:lnTo>
                <a:lnTo>
                  <a:pt x="97" y="69"/>
                </a:lnTo>
                <a:lnTo>
                  <a:pt x="97" y="72"/>
                </a:lnTo>
                <a:lnTo>
                  <a:pt x="97" y="75"/>
                </a:lnTo>
                <a:lnTo>
                  <a:pt x="97" y="78"/>
                </a:lnTo>
                <a:lnTo>
                  <a:pt x="97" y="82"/>
                </a:lnTo>
                <a:lnTo>
                  <a:pt x="100" y="82"/>
                </a:lnTo>
                <a:lnTo>
                  <a:pt x="100" y="85"/>
                </a:lnTo>
                <a:lnTo>
                  <a:pt x="103" y="88"/>
                </a:lnTo>
                <a:lnTo>
                  <a:pt x="103" y="94"/>
                </a:lnTo>
                <a:lnTo>
                  <a:pt x="106" y="97"/>
                </a:lnTo>
                <a:lnTo>
                  <a:pt x="110" y="94"/>
                </a:lnTo>
                <a:lnTo>
                  <a:pt x="119" y="91"/>
                </a:lnTo>
                <a:lnTo>
                  <a:pt x="119" y="94"/>
                </a:lnTo>
                <a:lnTo>
                  <a:pt x="119" y="97"/>
                </a:lnTo>
                <a:lnTo>
                  <a:pt x="122" y="100"/>
                </a:lnTo>
                <a:lnTo>
                  <a:pt x="125" y="97"/>
                </a:lnTo>
                <a:lnTo>
                  <a:pt x="128" y="100"/>
                </a:lnTo>
                <a:lnTo>
                  <a:pt x="125" y="107"/>
                </a:lnTo>
                <a:lnTo>
                  <a:pt x="128" y="110"/>
                </a:lnTo>
                <a:lnTo>
                  <a:pt x="135" y="110"/>
                </a:lnTo>
                <a:lnTo>
                  <a:pt x="132" y="110"/>
                </a:lnTo>
                <a:lnTo>
                  <a:pt x="135" y="113"/>
                </a:lnTo>
                <a:lnTo>
                  <a:pt x="135" y="113"/>
                </a:lnTo>
                <a:lnTo>
                  <a:pt x="141" y="113"/>
                </a:lnTo>
                <a:lnTo>
                  <a:pt x="144" y="113"/>
                </a:lnTo>
                <a:lnTo>
                  <a:pt x="144" y="116"/>
                </a:lnTo>
                <a:lnTo>
                  <a:pt x="141" y="119"/>
                </a:lnTo>
                <a:lnTo>
                  <a:pt x="141" y="122"/>
                </a:lnTo>
                <a:lnTo>
                  <a:pt x="138" y="128"/>
                </a:lnTo>
                <a:lnTo>
                  <a:pt x="135" y="135"/>
                </a:lnTo>
                <a:lnTo>
                  <a:pt x="135" y="135"/>
                </a:lnTo>
                <a:lnTo>
                  <a:pt x="138" y="135"/>
                </a:lnTo>
                <a:lnTo>
                  <a:pt x="144" y="135"/>
                </a:lnTo>
                <a:lnTo>
                  <a:pt x="144" y="138"/>
                </a:lnTo>
                <a:lnTo>
                  <a:pt x="147" y="135"/>
                </a:lnTo>
                <a:lnTo>
                  <a:pt x="150" y="138"/>
                </a:lnTo>
                <a:lnTo>
                  <a:pt x="150" y="141"/>
                </a:lnTo>
                <a:lnTo>
                  <a:pt x="150" y="147"/>
                </a:lnTo>
                <a:lnTo>
                  <a:pt x="157" y="147"/>
                </a:lnTo>
                <a:lnTo>
                  <a:pt x="160" y="147"/>
                </a:lnTo>
                <a:lnTo>
                  <a:pt x="163" y="147"/>
                </a:lnTo>
                <a:lnTo>
                  <a:pt x="172" y="141"/>
                </a:lnTo>
                <a:lnTo>
                  <a:pt x="175" y="144"/>
                </a:lnTo>
                <a:lnTo>
                  <a:pt x="175" y="147"/>
                </a:lnTo>
                <a:lnTo>
                  <a:pt x="169" y="150"/>
                </a:lnTo>
                <a:lnTo>
                  <a:pt x="163" y="153"/>
                </a:lnTo>
                <a:lnTo>
                  <a:pt x="163" y="157"/>
                </a:lnTo>
                <a:lnTo>
                  <a:pt x="163" y="160"/>
                </a:lnTo>
                <a:lnTo>
                  <a:pt x="163" y="163"/>
                </a:lnTo>
                <a:lnTo>
                  <a:pt x="160" y="166"/>
                </a:lnTo>
                <a:lnTo>
                  <a:pt x="157" y="166"/>
                </a:lnTo>
                <a:lnTo>
                  <a:pt x="153" y="172"/>
                </a:lnTo>
                <a:lnTo>
                  <a:pt x="150" y="172"/>
                </a:lnTo>
                <a:lnTo>
                  <a:pt x="144" y="172"/>
                </a:lnTo>
                <a:lnTo>
                  <a:pt x="144" y="175"/>
                </a:lnTo>
                <a:lnTo>
                  <a:pt x="147" y="179"/>
                </a:lnTo>
                <a:lnTo>
                  <a:pt x="144" y="179"/>
                </a:lnTo>
                <a:lnTo>
                  <a:pt x="141" y="179"/>
                </a:lnTo>
                <a:lnTo>
                  <a:pt x="138" y="182"/>
                </a:lnTo>
                <a:lnTo>
                  <a:pt x="138" y="188"/>
                </a:lnTo>
                <a:lnTo>
                  <a:pt x="138" y="188"/>
                </a:lnTo>
                <a:lnTo>
                  <a:pt x="132" y="188"/>
                </a:lnTo>
                <a:lnTo>
                  <a:pt x="128" y="191"/>
                </a:lnTo>
                <a:lnTo>
                  <a:pt x="119" y="188"/>
                </a:lnTo>
                <a:lnTo>
                  <a:pt x="116" y="194"/>
                </a:lnTo>
                <a:lnTo>
                  <a:pt x="119" y="200"/>
                </a:lnTo>
                <a:lnTo>
                  <a:pt x="116" y="204"/>
                </a:lnTo>
                <a:lnTo>
                  <a:pt x="116" y="210"/>
                </a:lnTo>
                <a:lnTo>
                  <a:pt x="116" y="213"/>
                </a:lnTo>
                <a:lnTo>
                  <a:pt x="113" y="216"/>
                </a:lnTo>
                <a:lnTo>
                  <a:pt x="106" y="216"/>
                </a:lnTo>
                <a:lnTo>
                  <a:pt x="110" y="219"/>
                </a:lnTo>
                <a:lnTo>
                  <a:pt x="110" y="219"/>
                </a:lnTo>
                <a:lnTo>
                  <a:pt x="116" y="225"/>
                </a:lnTo>
                <a:lnTo>
                  <a:pt x="116" y="229"/>
                </a:lnTo>
                <a:lnTo>
                  <a:pt x="119" y="232"/>
                </a:lnTo>
                <a:lnTo>
                  <a:pt x="122" y="235"/>
                </a:lnTo>
                <a:lnTo>
                  <a:pt x="128" y="244"/>
                </a:lnTo>
                <a:lnTo>
                  <a:pt x="132" y="247"/>
                </a:lnTo>
                <a:lnTo>
                  <a:pt x="135" y="250"/>
                </a:lnTo>
                <a:lnTo>
                  <a:pt x="135" y="257"/>
                </a:lnTo>
                <a:lnTo>
                  <a:pt x="138" y="257"/>
                </a:lnTo>
                <a:lnTo>
                  <a:pt x="138" y="263"/>
                </a:lnTo>
                <a:lnTo>
                  <a:pt x="135" y="263"/>
                </a:lnTo>
                <a:lnTo>
                  <a:pt x="135" y="266"/>
                </a:lnTo>
                <a:lnTo>
                  <a:pt x="135" y="275"/>
                </a:lnTo>
                <a:lnTo>
                  <a:pt x="135" y="279"/>
                </a:lnTo>
                <a:lnTo>
                  <a:pt x="132" y="282"/>
                </a:lnTo>
                <a:lnTo>
                  <a:pt x="135" y="288"/>
                </a:lnTo>
                <a:lnTo>
                  <a:pt x="135" y="294"/>
                </a:lnTo>
                <a:lnTo>
                  <a:pt x="138" y="301"/>
                </a:lnTo>
                <a:lnTo>
                  <a:pt x="144" y="304"/>
                </a:lnTo>
                <a:lnTo>
                  <a:pt x="150" y="310"/>
                </a:lnTo>
                <a:lnTo>
                  <a:pt x="153" y="316"/>
                </a:lnTo>
                <a:lnTo>
                  <a:pt x="150" y="319"/>
                </a:lnTo>
                <a:lnTo>
                  <a:pt x="153" y="326"/>
                </a:lnTo>
                <a:lnTo>
                  <a:pt x="153" y="329"/>
                </a:lnTo>
                <a:lnTo>
                  <a:pt x="153" y="332"/>
                </a:lnTo>
                <a:lnTo>
                  <a:pt x="157" y="338"/>
                </a:lnTo>
                <a:lnTo>
                  <a:pt x="157" y="341"/>
                </a:lnTo>
                <a:lnTo>
                  <a:pt x="157" y="347"/>
                </a:lnTo>
                <a:lnTo>
                  <a:pt x="160" y="351"/>
                </a:lnTo>
                <a:lnTo>
                  <a:pt x="160" y="357"/>
                </a:lnTo>
                <a:lnTo>
                  <a:pt x="157" y="360"/>
                </a:lnTo>
                <a:lnTo>
                  <a:pt x="153" y="369"/>
                </a:lnTo>
                <a:lnTo>
                  <a:pt x="147" y="372"/>
                </a:lnTo>
                <a:lnTo>
                  <a:pt x="147" y="379"/>
                </a:lnTo>
                <a:lnTo>
                  <a:pt x="144" y="382"/>
                </a:lnTo>
                <a:lnTo>
                  <a:pt x="144" y="385"/>
                </a:lnTo>
                <a:lnTo>
                  <a:pt x="144" y="385"/>
                </a:lnTo>
                <a:lnTo>
                  <a:pt x="144" y="388"/>
                </a:lnTo>
                <a:lnTo>
                  <a:pt x="141" y="394"/>
                </a:lnTo>
                <a:lnTo>
                  <a:pt x="141" y="388"/>
                </a:lnTo>
                <a:lnTo>
                  <a:pt x="141" y="382"/>
                </a:lnTo>
                <a:lnTo>
                  <a:pt x="138" y="379"/>
                </a:lnTo>
                <a:lnTo>
                  <a:pt x="138" y="379"/>
                </a:lnTo>
                <a:lnTo>
                  <a:pt x="141" y="379"/>
                </a:lnTo>
                <a:lnTo>
                  <a:pt x="141" y="379"/>
                </a:lnTo>
                <a:lnTo>
                  <a:pt x="144" y="372"/>
                </a:lnTo>
                <a:lnTo>
                  <a:pt x="144" y="369"/>
                </a:lnTo>
                <a:lnTo>
                  <a:pt x="144" y="369"/>
                </a:lnTo>
                <a:lnTo>
                  <a:pt x="144" y="363"/>
                </a:lnTo>
                <a:lnTo>
                  <a:pt x="144" y="363"/>
                </a:lnTo>
                <a:lnTo>
                  <a:pt x="144" y="360"/>
                </a:lnTo>
                <a:lnTo>
                  <a:pt x="144" y="357"/>
                </a:lnTo>
                <a:lnTo>
                  <a:pt x="147" y="354"/>
                </a:lnTo>
                <a:lnTo>
                  <a:pt x="144" y="351"/>
                </a:lnTo>
                <a:lnTo>
                  <a:pt x="141" y="347"/>
                </a:lnTo>
                <a:lnTo>
                  <a:pt x="141" y="341"/>
                </a:lnTo>
                <a:lnTo>
                  <a:pt x="144" y="341"/>
                </a:lnTo>
                <a:lnTo>
                  <a:pt x="141" y="338"/>
                </a:lnTo>
                <a:lnTo>
                  <a:pt x="141" y="335"/>
                </a:lnTo>
                <a:lnTo>
                  <a:pt x="138" y="322"/>
                </a:lnTo>
                <a:lnTo>
                  <a:pt x="135" y="322"/>
                </a:lnTo>
                <a:lnTo>
                  <a:pt x="135" y="316"/>
                </a:lnTo>
                <a:lnTo>
                  <a:pt x="132" y="313"/>
                </a:lnTo>
                <a:lnTo>
                  <a:pt x="132" y="319"/>
                </a:lnTo>
                <a:lnTo>
                  <a:pt x="132" y="319"/>
                </a:lnTo>
                <a:lnTo>
                  <a:pt x="132" y="316"/>
                </a:lnTo>
                <a:lnTo>
                  <a:pt x="128" y="313"/>
                </a:lnTo>
                <a:lnTo>
                  <a:pt x="128" y="304"/>
                </a:lnTo>
                <a:lnTo>
                  <a:pt x="125" y="301"/>
                </a:lnTo>
                <a:lnTo>
                  <a:pt x="125" y="297"/>
                </a:lnTo>
                <a:lnTo>
                  <a:pt x="128" y="294"/>
                </a:lnTo>
                <a:lnTo>
                  <a:pt x="122" y="291"/>
                </a:lnTo>
                <a:lnTo>
                  <a:pt x="122" y="285"/>
                </a:lnTo>
                <a:lnTo>
                  <a:pt x="122" y="285"/>
                </a:lnTo>
                <a:lnTo>
                  <a:pt x="119" y="269"/>
                </a:lnTo>
                <a:lnTo>
                  <a:pt x="116" y="269"/>
                </a:lnTo>
                <a:lnTo>
                  <a:pt x="116" y="266"/>
                </a:lnTo>
                <a:lnTo>
                  <a:pt x="116" y="266"/>
                </a:lnTo>
                <a:lnTo>
                  <a:pt x="116" y="263"/>
                </a:lnTo>
                <a:lnTo>
                  <a:pt x="116" y="257"/>
                </a:lnTo>
                <a:lnTo>
                  <a:pt x="116" y="257"/>
                </a:lnTo>
                <a:lnTo>
                  <a:pt x="116" y="254"/>
                </a:lnTo>
                <a:lnTo>
                  <a:pt x="116" y="257"/>
                </a:lnTo>
                <a:lnTo>
                  <a:pt x="113" y="257"/>
                </a:lnTo>
                <a:lnTo>
                  <a:pt x="110" y="257"/>
                </a:lnTo>
                <a:lnTo>
                  <a:pt x="106" y="254"/>
                </a:lnTo>
                <a:lnTo>
                  <a:pt x="106" y="250"/>
                </a:lnTo>
                <a:lnTo>
                  <a:pt x="103" y="241"/>
                </a:lnTo>
                <a:lnTo>
                  <a:pt x="100" y="241"/>
                </a:lnTo>
                <a:lnTo>
                  <a:pt x="100" y="241"/>
                </a:lnTo>
                <a:lnTo>
                  <a:pt x="100" y="238"/>
                </a:lnTo>
                <a:lnTo>
                  <a:pt x="97" y="235"/>
                </a:lnTo>
                <a:lnTo>
                  <a:pt x="97" y="238"/>
                </a:lnTo>
                <a:lnTo>
                  <a:pt x="97" y="241"/>
                </a:lnTo>
                <a:lnTo>
                  <a:pt x="97" y="241"/>
                </a:lnTo>
                <a:lnTo>
                  <a:pt x="100" y="244"/>
                </a:lnTo>
                <a:lnTo>
                  <a:pt x="100" y="247"/>
                </a:lnTo>
                <a:lnTo>
                  <a:pt x="97" y="250"/>
                </a:lnTo>
                <a:lnTo>
                  <a:pt x="97" y="254"/>
                </a:lnTo>
                <a:lnTo>
                  <a:pt x="94" y="257"/>
                </a:lnTo>
                <a:lnTo>
                  <a:pt x="91" y="257"/>
                </a:lnTo>
                <a:lnTo>
                  <a:pt x="88" y="254"/>
                </a:lnTo>
                <a:lnTo>
                  <a:pt x="85" y="254"/>
                </a:lnTo>
                <a:lnTo>
                  <a:pt x="88" y="257"/>
                </a:lnTo>
                <a:lnTo>
                  <a:pt x="88" y="257"/>
                </a:lnTo>
                <a:lnTo>
                  <a:pt x="91" y="257"/>
                </a:lnTo>
                <a:lnTo>
                  <a:pt x="85" y="260"/>
                </a:lnTo>
                <a:lnTo>
                  <a:pt x="85" y="260"/>
                </a:lnTo>
                <a:lnTo>
                  <a:pt x="81" y="260"/>
                </a:lnTo>
                <a:lnTo>
                  <a:pt x="81" y="263"/>
                </a:lnTo>
                <a:lnTo>
                  <a:pt x="72" y="269"/>
                </a:lnTo>
                <a:lnTo>
                  <a:pt x="69" y="269"/>
                </a:lnTo>
                <a:lnTo>
                  <a:pt x="69" y="269"/>
                </a:lnTo>
                <a:lnTo>
                  <a:pt x="66" y="269"/>
                </a:lnTo>
                <a:lnTo>
                  <a:pt x="66" y="266"/>
                </a:lnTo>
                <a:lnTo>
                  <a:pt x="66" y="269"/>
                </a:lnTo>
                <a:lnTo>
                  <a:pt x="63" y="269"/>
                </a:lnTo>
                <a:lnTo>
                  <a:pt x="60" y="266"/>
                </a:lnTo>
                <a:lnTo>
                  <a:pt x="56" y="269"/>
                </a:lnTo>
                <a:lnTo>
                  <a:pt x="56" y="272"/>
                </a:lnTo>
                <a:lnTo>
                  <a:pt x="53" y="272"/>
                </a:lnTo>
                <a:lnTo>
                  <a:pt x="53" y="266"/>
                </a:lnTo>
                <a:lnTo>
                  <a:pt x="60" y="263"/>
                </a:lnTo>
                <a:lnTo>
                  <a:pt x="60" y="257"/>
                </a:lnTo>
                <a:lnTo>
                  <a:pt x="56" y="263"/>
                </a:lnTo>
                <a:lnTo>
                  <a:pt x="53" y="266"/>
                </a:lnTo>
                <a:lnTo>
                  <a:pt x="50" y="269"/>
                </a:lnTo>
                <a:lnTo>
                  <a:pt x="47" y="269"/>
                </a:lnTo>
                <a:lnTo>
                  <a:pt x="50" y="266"/>
                </a:lnTo>
                <a:lnTo>
                  <a:pt x="47" y="263"/>
                </a:lnTo>
                <a:lnTo>
                  <a:pt x="50" y="244"/>
                </a:lnTo>
                <a:lnTo>
                  <a:pt x="56" y="241"/>
                </a:lnTo>
                <a:lnTo>
                  <a:pt x="53" y="238"/>
                </a:lnTo>
                <a:lnTo>
                  <a:pt x="50" y="232"/>
                </a:lnTo>
                <a:lnTo>
                  <a:pt x="50" y="222"/>
                </a:lnTo>
                <a:lnTo>
                  <a:pt x="47" y="222"/>
                </a:lnTo>
                <a:lnTo>
                  <a:pt x="47" y="219"/>
                </a:lnTo>
                <a:lnTo>
                  <a:pt x="47" y="219"/>
                </a:lnTo>
                <a:lnTo>
                  <a:pt x="44" y="216"/>
                </a:lnTo>
                <a:lnTo>
                  <a:pt x="44" y="210"/>
                </a:lnTo>
                <a:lnTo>
                  <a:pt x="41" y="207"/>
                </a:lnTo>
                <a:lnTo>
                  <a:pt x="41" y="204"/>
                </a:lnTo>
                <a:lnTo>
                  <a:pt x="41" y="200"/>
                </a:lnTo>
                <a:lnTo>
                  <a:pt x="35" y="197"/>
                </a:lnTo>
                <a:lnTo>
                  <a:pt x="38" y="200"/>
                </a:lnTo>
                <a:lnTo>
                  <a:pt x="38" y="210"/>
                </a:lnTo>
                <a:lnTo>
                  <a:pt x="31" y="207"/>
                </a:lnTo>
                <a:lnTo>
                  <a:pt x="28" y="204"/>
                </a:lnTo>
                <a:lnTo>
                  <a:pt x="25" y="200"/>
                </a:lnTo>
                <a:lnTo>
                  <a:pt x="22" y="197"/>
                </a:lnTo>
                <a:lnTo>
                  <a:pt x="22" y="194"/>
                </a:lnTo>
                <a:lnTo>
                  <a:pt x="25" y="194"/>
                </a:lnTo>
                <a:lnTo>
                  <a:pt x="28" y="197"/>
                </a:lnTo>
                <a:lnTo>
                  <a:pt x="31" y="200"/>
                </a:lnTo>
                <a:lnTo>
                  <a:pt x="31" y="197"/>
                </a:lnTo>
                <a:lnTo>
                  <a:pt x="31" y="197"/>
                </a:lnTo>
                <a:lnTo>
                  <a:pt x="28" y="194"/>
                </a:lnTo>
                <a:lnTo>
                  <a:pt x="31" y="194"/>
                </a:lnTo>
                <a:lnTo>
                  <a:pt x="31" y="194"/>
                </a:lnTo>
                <a:lnTo>
                  <a:pt x="35" y="194"/>
                </a:lnTo>
                <a:lnTo>
                  <a:pt x="35" y="191"/>
                </a:lnTo>
                <a:lnTo>
                  <a:pt x="31" y="185"/>
                </a:lnTo>
                <a:lnTo>
                  <a:pt x="25" y="185"/>
                </a:lnTo>
                <a:lnTo>
                  <a:pt x="22" y="182"/>
                </a:lnTo>
                <a:lnTo>
                  <a:pt x="19" y="182"/>
                </a:lnTo>
                <a:lnTo>
                  <a:pt x="19" y="179"/>
                </a:lnTo>
                <a:lnTo>
                  <a:pt x="19" y="182"/>
                </a:lnTo>
                <a:lnTo>
                  <a:pt x="16" y="182"/>
                </a:lnTo>
                <a:lnTo>
                  <a:pt x="16" y="179"/>
                </a:lnTo>
                <a:lnTo>
                  <a:pt x="19" y="175"/>
                </a:lnTo>
                <a:lnTo>
                  <a:pt x="13" y="175"/>
                </a:lnTo>
                <a:lnTo>
                  <a:pt x="10" y="175"/>
                </a:lnTo>
                <a:lnTo>
                  <a:pt x="10" y="175"/>
                </a:lnTo>
                <a:lnTo>
                  <a:pt x="13" y="179"/>
                </a:lnTo>
                <a:lnTo>
                  <a:pt x="3" y="172"/>
                </a:lnTo>
                <a:lnTo>
                  <a:pt x="3" y="166"/>
                </a:lnTo>
                <a:lnTo>
                  <a:pt x="0" y="163"/>
                </a:lnTo>
                <a:lnTo>
                  <a:pt x="0" y="163"/>
                </a:lnTo>
                <a:lnTo>
                  <a:pt x="0" y="160"/>
                </a:lnTo>
                <a:lnTo>
                  <a:pt x="0" y="157"/>
                </a:lnTo>
                <a:lnTo>
                  <a:pt x="3" y="153"/>
                </a:lnTo>
                <a:lnTo>
                  <a:pt x="6" y="153"/>
                </a:lnTo>
                <a:lnTo>
                  <a:pt x="10" y="150"/>
                </a:lnTo>
                <a:lnTo>
                  <a:pt x="10" y="141"/>
                </a:lnTo>
                <a:lnTo>
                  <a:pt x="10" y="138"/>
                </a:lnTo>
                <a:lnTo>
                  <a:pt x="13" y="138"/>
                </a:lnTo>
                <a:lnTo>
                  <a:pt x="13" y="138"/>
                </a:lnTo>
                <a:lnTo>
                  <a:pt x="16" y="132"/>
                </a:lnTo>
                <a:lnTo>
                  <a:pt x="16" y="128"/>
                </a:lnTo>
                <a:lnTo>
                  <a:pt x="16" y="122"/>
                </a:lnTo>
                <a:lnTo>
                  <a:pt x="16" y="119"/>
                </a:lnTo>
                <a:lnTo>
                  <a:pt x="19" y="119"/>
                </a:lnTo>
                <a:lnTo>
                  <a:pt x="19" y="110"/>
                </a:lnTo>
                <a:lnTo>
                  <a:pt x="19" y="107"/>
                </a:lnTo>
                <a:lnTo>
                  <a:pt x="16" y="97"/>
                </a:lnTo>
                <a:lnTo>
                  <a:pt x="22" y="97"/>
                </a:lnTo>
                <a:lnTo>
                  <a:pt x="25" y="97"/>
                </a:lnTo>
                <a:lnTo>
                  <a:pt x="28" y="97"/>
                </a:lnTo>
                <a:lnTo>
                  <a:pt x="31" y="91"/>
                </a:lnTo>
                <a:lnTo>
                  <a:pt x="35" y="82"/>
                </a:lnTo>
                <a:lnTo>
                  <a:pt x="38" y="72"/>
                </a:lnTo>
                <a:lnTo>
                  <a:pt x="35" y="69"/>
                </a:lnTo>
                <a:lnTo>
                  <a:pt x="35" y="66"/>
                </a:lnTo>
                <a:lnTo>
                  <a:pt x="41" y="57"/>
                </a:lnTo>
                <a:lnTo>
                  <a:pt x="41" y="50"/>
                </a:lnTo>
                <a:lnTo>
                  <a:pt x="41" y="47"/>
                </a:lnTo>
                <a:lnTo>
                  <a:pt x="41" y="44"/>
                </a:lnTo>
                <a:lnTo>
                  <a:pt x="47" y="31"/>
                </a:lnTo>
                <a:lnTo>
                  <a:pt x="53" y="31"/>
                </a:lnTo>
                <a:lnTo>
                  <a:pt x="56" y="25"/>
                </a:lnTo>
                <a:lnTo>
                  <a:pt x="60" y="19"/>
                </a:lnTo>
                <a:lnTo>
                  <a:pt x="66" y="19"/>
                </a:lnTo>
                <a:lnTo>
                  <a:pt x="69" y="16"/>
                </a:lnTo>
                <a:lnTo>
                  <a:pt x="75" y="16"/>
                </a:lnTo>
                <a:lnTo>
                  <a:pt x="78" y="19"/>
                </a:lnTo>
                <a:lnTo>
                  <a:pt x="75" y="16"/>
                </a:lnTo>
                <a:lnTo>
                  <a:pt x="75" y="10"/>
                </a:lnTo>
                <a:lnTo>
                  <a:pt x="81" y="6"/>
                </a:lnTo>
                <a:lnTo>
                  <a:pt x="78" y="3"/>
                </a:lnTo>
                <a:lnTo>
                  <a:pt x="78" y="3"/>
                </a:lnTo>
                <a:lnTo>
                  <a:pt x="78" y="3"/>
                </a:lnTo>
                <a:close/>
                <a:moveTo>
                  <a:pt x="25" y="210"/>
                </a:moveTo>
                <a:lnTo>
                  <a:pt x="28" y="213"/>
                </a:lnTo>
                <a:lnTo>
                  <a:pt x="31" y="216"/>
                </a:lnTo>
                <a:lnTo>
                  <a:pt x="31" y="213"/>
                </a:lnTo>
                <a:lnTo>
                  <a:pt x="28" y="210"/>
                </a:lnTo>
                <a:lnTo>
                  <a:pt x="25" y="210"/>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6" name="Freeform 34">
            <a:extLst>
              <a:ext uri="{FF2B5EF4-FFF2-40B4-BE49-F238E27FC236}">
                <a16:creationId xmlns:a16="http://schemas.microsoft.com/office/drawing/2014/main" id="{05631AEE-C463-EC61-914A-B345926258E6}"/>
              </a:ext>
            </a:extLst>
          </p:cNvPr>
          <p:cNvSpPr>
            <a:spLocks noEditPoints="1"/>
          </p:cNvSpPr>
          <p:nvPr userDrawn="1"/>
        </p:nvSpPr>
        <p:spPr bwMode="auto">
          <a:xfrm>
            <a:off x="18150294" y="8759111"/>
            <a:ext cx="139693" cy="250826"/>
          </a:xfrm>
          <a:custGeom>
            <a:avLst/>
            <a:gdLst>
              <a:gd name="T0" fmla="*/ 0 w 44"/>
              <a:gd name="T1" fmla="*/ 35 h 79"/>
              <a:gd name="T2" fmla="*/ 3 w 44"/>
              <a:gd name="T3" fmla="*/ 29 h 79"/>
              <a:gd name="T4" fmla="*/ 0 w 44"/>
              <a:gd name="T5" fmla="*/ 32 h 79"/>
              <a:gd name="T6" fmla="*/ 0 w 44"/>
              <a:gd name="T7" fmla="*/ 38 h 79"/>
              <a:gd name="T8" fmla="*/ 6 w 44"/>
              <a:gd name="T9" fmla="*/ 7 h 79"/>
              <a:gd name="T10" fmla="*/ 3 w 44"/>
              <a:gd name="T11" fmla="*/ 0 h 79"/>
              <a:gd name="T12" fmla="*/ 9 w 44"/>
              <a:gd name="T13" fmla="*/ 0 h 79"/>
              <a:gd name="T14" fmla="*/ 6 w 44"/>
              <a:gd name="T15" fmla="*/ 4 h 79"/>
              <a:gd name="T16" fmla="*/ 6 w 44"/>
              <a:gd name="T17" fmla="*/ 7 h 79"/>
              <a:gd name="T18" fmla="*/ 16 w 44"/>
              <a:gd name="T19" fmla="*/ 0 h 79"/>
              <a:gd name="T20" fmla="*/ 19 w 44"/>
              <a:gd name="T21" fmla="*/ 7 h 79"/>
              <a:gd name="T22" fmla="*/ 19 w 44"/>
              <a:gd name="T23" fmla="*/ 7 h 79"/>
              <a:gd name="T24" fmla="*/ 16 w 44"/>
              <a:gd name="T25" fmla="*/ 7 h 79"/>
              <a:gd name="T26" fmla="*/ 9 w 44"/>
              <a:gd name="T27" fmla="*/ 4 h 79"/>
              <a:gd name="T28" fmla="*/ 13 w 44"/>
              <a:gd name="T29" fmla="*/ 4 h 79"/>
              <a:gd name="T30" fmla="*/ 13 w 44"/>
              <a:gd name="T31" fmla="*/ 0 h 79"/>
              <a:gd name="T32" fmla="*/ 9 w 44"/>
              <a:gd name="T33" fmla="*/ 7 h 79"/>
              <a:gd name="T34" fmla="*/ 9 w 44"/>
              <a:gd name="T35" fmla="*/ 10 h 79"/>
              <a:gd name="T36" fmla="*/ 9 w 44"/>
              <a:gd name="T37" fmla="*/ 13 h 79"/>
              <a:gd name="T38" fmla="*/ 6 w 44"/>
              <a:gd name="T39" fmla="*/ 19 h 79"/>
              <a:gd name="T40" fmla="*/ 3 w 44"/>
              <a:gd name="T41" fmla="*/ 16 h 79"/>
              <a:gd name="T42" fmla="*/ 0 w 44"/>
              <a:gd name="T43" fmla="*/ 16 h 79"/>
              <a:gd name="T44" fmla="*/ 3 w 44"/>
              <a:gd name="T45" fmla="*/ 19 h 79"/>
              <a:gd name="T46" fmla="*/ 3 w 44"/>
              <a:gd name="T47" fmla="*/ 22 h 79"/>
              <a:gd name="T48" fmla="*/ 3 w 44"/>
              <a:gd name="T49" fmla="*/ 32 h 79"/>
              <a:gd name="T50" fmla="*/ 3 w 44"/>
              <a:gd name="T51" fmla="*/ 41 h 79"/>
              <a:gd name="T52" fmla="*/ 3 w 44"/>
              <a:gd name="T53" fmla="*/ 51 h 79"/>
              <a:gd name="T54" fmla="*/ 6 w 44"/>
              <a:gd name="T55" fmla="*/ 63 h 79"/>
              <a:gd name="T56" fmla="*/ 13 w 44"/>
              <a:gd name="T57" fmla="*/ 79 h 79"/>
              <a:gd name="T58" fmla="*/ 19 w 44"/>
              <a:gd name="T59" fmla="*/ 79 h 79"/>
              <a:gd name="T60" fmla="*/ 31 w 44"/>
              <a:gd name="T61" fmla="*/ 76 h 79"/>
              <a:gd name="T62" fmla="*/ 41 w 44"/>
              <a:gd name="T63" fmla="*/ 63 h 79"/>
              <a:gd name="T64" fmla="*/ 44 w 44"/>
              <a:gd name="T65" fmla="*/ 57 h 79"/>
              <a:gd name="T66" fmla="*/ 44 w 44"/>
              <a:gd name="T67" fmla="*/ 51 h 79"/>
              <a:gd name="T68" fmla="*/ 44 w 44"/>
              <a:gd name="T69" fmla="*/ 44 h 79"/>
              <a:gd name="T70" fmla="*/ 38 w 44"/>
              <a:gd name="T71" fmla="*/ 35 h 79"/>
              <a:gd name="T72" fmla="*/ 31 w 44"/>
              <a:gd name="T73" fmla="*/ 29 h 79"/>
              <a:gd name="T74" fmla="*/ 28 w 44"/>
              <a:gd name="T75" fmla="*/ 29 h 79"/>
              <a:gd name="T76" fmla="*/ 31 w 44"/>
              <a:gd name="T77" fmla="*/ 22 h 79"/>
              <a:gd name="T78" fmla="*/ 25 w 44"/>
              <a:gd name="T79" fmla="*/ 19 h 79"/>
              <a:gd name="T80" fmla="*/ 22 w 44"/>
              <a:gd name="T81" fmla="*/ 16 h 79"/>
              <a:gd name="T82" fmla="*/ 22 w 44"/>
              <a:gd name="T83" fmla="*/ 10 h 79"/>
              <a:gd name="T84" fmla="*/ 16 w 44"/>
              <a:gd name="T85" fmla="*/ 10 h 79"/>
              <a:gd name="T86" fmla="*/ 13 w 44"/>
              <a:gd name="T87" fmla="*/ 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 h="79">
                <a:moveTo>
                  <a:pt x="0" y="38"/>
                </a:moveTo>
                <a:lnTo>
                  <a:pt x="0" y="35"/>
                </a:lnTo>
                <a:lnTo>
                  <a:pt x="0" y="32"/>
                </a:lnTo>
                <a:lnTo>
                  <a:pt x="3" y="29"/>
                </a:lnTo>
                <a:lnTo>
                  <a:pt x="3" y="32"/>
                </a:lnTo>
                <a:lnTo>
                  <a:pt x="0" y="32"/>
                </a:lnTo>
                <a:lnTo>
                  <a:pt x="3" y="35"/>
                </a:lnTo>
                <a:lnTo>
                  <a:pt x="0" y="38"/>
                </a:lnTo>
                <a:lnTo>
                  <a:pt x="0" y="38"/>
                </a:lnTo>
                <a:close/>
                <a:moveTo>
                  <a:pt x="6" y="7"/>
                </a:moveTo>
                <a:lnTo>
                  <a:pt x="3" y="4"/>
                </a:lnTo>
                <a:lnTo>
                  <a:pt x="3" y="0"/>
                </a:lnTo>
                <a:lnTo>
                  <a:pt x="9" y="0"/>
                </a:lnTo>
                <a:lnTo>
                  <a:pt x="9" y="0"/>
                </a:lnTo>
                <a:lnTo>
                  <a:pt x="9" y="4"/>
                </a:lnTo>
                <a:lnTo>
                  <a:pt x="6" y="4"/>
                </a:lnTo>
                <a:lnTo>
                  <a:pt x="6" y="7"/>
                </a:lnTo>
                <a:lnTo>
                  <a:pt x="6" y="7"/>
                </a:lnTo>
                <a:close/>
                <a:moveTo>
                  <a:pt x="13" y="0"/>
                </a:moveTo>
                <a:lnTo>
                  <a:pt x="16" y="0"/>
                </a:lnTo>
                <a:lnTo>
                  <a:pt x="16" y="4"/>
                </a:lnTo>
                <a:lnTo>
                  <a:pt x="19" y="7"/>
                </a:lnTo>
                <a:lnTo>
                  <a:pt x="22" y="10"/>
                </a:lnTo>
                <a:lnTo>
                  <a:pt x="19" y="7"/>
                </a:lnTo>
                <a:lnTo>
                  <a:pt x="16" y="7"/>
                </a:lnTo>
                <a:lnTo>
                  <a:pt x="16" y="7"/>
                </a:lnTo>
                <a:lnTo>
                  <a:pt x="9" y="4"/>
                </a:lnTo>
                <a:lnTo>
                  <a:pt x="9" y="4"/>
                </a:lnTo>
                <a:lnTo>
                  <a:pt x="13" y="4"/>
                </a:lnTo>
                <a:lnTo>
                  <a:pt x="13" y="4"/>
                </a:lnTo>
                <a:lnTo>
                  <a:pt x="13" y="0"/>
                </a:lnTo>
                <a:lnTo>
                  <a:pt x="13" y="0"/>
                </a:lnTo>
                <a:close/>
                <a:moveTo>
                  <a:pt x="9" y="7"/>
                </a:moveTo>
                <a:lnTo>
                  <a:pt x="9" y="7"/>
                </a:lnTo>
                <a:lnTo>
                  <a:pt x="9" y="10"/>
                </a:lnTo>
                <a:lnTo>
                  <a:pt x="9" y="10"/>
                </a:lnTo>
                <a:lnTo>
                  <a:pt x="9" y="10"/>
                </a:lnTo>
                <a:lnTo>
                  <a:pt x="9" y="13"/>
                </a:lnTo>
                <a:lnTo>
                  <a:pt x="9" y="13"/>
                </a:lnTo>
                <a:lnTo>
                  <a:pt x="6" y="19"/>
                </a:lnTo>
                <a:lnTo>
                  <a:pt x="6" y="16"/>
                </a:lnTo>
                <a:lnTo>
                  <a:pt x="3" y="16"/>
                </a:lnTo>
                <a:lnTo>
                  <a:pt x="0" y="16"/>
                </a:lnTo>
                <a:lnTo>
                  <a:pt x="0" y="16"/>
                </a:lnTo>
                <a:lnTo>
                  <a:pt x="3" y="16"/>
                </a:lnTo>
                <a:lnTo>
                  <a:pt x="3" y="19"/>
                </a:lnTo>
                <a:lnTo>
                  <a:pt x="3" y="19"/>
                </a:lnTo>
                <a:lnTo>
                  <a:pt x="3" y="22"/>
                </a:lnTo>
                <a:lnTo>
                  <a:pt x="3" y="29"/>
                </a:lnTo>
                <a:lnTo>
                  <a:pt x="3" y="32"/>
                </a:lnTo>
                <a:lnTo>
                  <a:pt x="3" y="41"/>
                </a:lnTo>
                <a:lnTo>
                  <a:pt x="3" y="41"/>
                </a:lnTo>
                <a:lnTo>
                  <a:pt x="0" y="44"/>
                </a:lnTo>
                <a:lnTo>
                  <a:pt x="3" y="51"/>
                </a:lnTo>
                <a:lnTo>
                  <a:pt x="3" y="54"/>
                </a:lnTo>
                <a:lnTo>
                  <a:pt x="6" y="63"/>
                </a:lnTo>
                <a:lnTo>
                  <a:pt x="9" y="72"/>
                </a:lnTo>
                <a:lnTo>
                  <a:pt x="13" y="79"/>
                </a:lnTo>
                <a:lnTo>
                  <a:pt x="16" y="79"/>
                </a:lnTo>
                <a:lnTo>
                  <a:pt x="19" y="79"/>
                </a:lnTo>
                <a:lnTo>
                  <a:pt x="25" y="79"/>
                </a:lnTo>
                <a:lnTo>
                  <a:pt x="31" y="76"/>
                </a:lnTo>
                <a:lnTo>
                  <a:pt x="38" y="69"/>
                </a:lnTo>
                <a:lnTo>
                  <a:pt x="41" y="63"/>
                </a:lnTo>
                <a:lnTo>
                  <a:pt x="44" y="60"/>
                </a:lnTo>
                <a:lnTo>
                  <a:pt x="44" y="57"/>
                </a:lnTo>
                <a:lnTo>
                  <a:pt x="44" y="57"/>
                </a:lnTo>
                <a:lnTo>
                  <a:pt x="44" y="51"/>
                </a:lnTo>
                <a:lnTo>
                  <a:pt x="41" y="47"/>
                </a:lnTo>
                <a:lnTo>
                  <a:pt x="44" y="44"/>
                </a:lnTo>
                <a:lnTo>
                  <a:pt x="41" y="44"/>
                </a:lnTo>
                <a:lnTo>
                  <a:pt x="38" y="35"/>
                </a:lnTo>
                <a:lnTo>
                  <a:pt x="34" y="29"/>
                </a:lnTo>
                <a:lnTo>
                  <a:pt x="31" y="29"/>
                </a:lnTo>
                <a:lnTo>
                  <a:pt x="31" y="29"/>
                </a:lnTo>
                <a:lnTo>
                  <a:pt x="28" y="29"/>
                </a:lnTo>
                <a:lnTo>
                  <a:pt x="31" y="26"/>
                </a:lnTo>
                <a:lnTo>
                  <a:pt x="31" y="22"/>
                </a:lnTo>
                <a:lnTo>
                  <a:pt x="28" y="22"/>
                </a:lnTo>
                <a:lnTo>
                  <a:pt x="25" y="19"/>
                </a:lnTo>
                <a:lnTo>
                  <a:pt x="25" y="19"/>
                </a:lnTo>
                <a:lnTo>
                  <a:pt x="22" y="16"/>
                </a:lnTo>
                <a:lnTo>
                  <a:pt x="22" y="13"/>
                </a:lnTo>
                <a:lnTo>
                  <a:pt x="22" y="10"/>
                </a:lnTo>
                <a:lnTo>
                  <a:pt x="16" y="10"/>
                </a:lnTo>
                <a:lnTo>
                  <a:pt x="16" y="10"/>
                </a:lnTo>
                <a:lnTo>
                  <a:pt x="13" y="10"/>
                </a:lnTo>
                <a:lnTo>
                  <a:pt x="13" y="7"/>
                </a:lnTo>
                <a:lnTo>
                  <a:pt x="9" y="7"/>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7" name="Freeform 35">
            <a:extLst>
              <a:ext uri="{FF2B5EF4-FFF2-40B4-BE49-F238E27FC236}">
                <a16:creationId xmlns:a16="http://schemas.microsoft.com/office/drawing/2014/main" id="{0EBC6A7B-56C6-A77E-D094-FBBC13C53B83}"/>
              </a:ext>
            </a:extLst>
          </p:cNvPr>
          <p:cNvSpPr>
            <a:spLocks noEditPoints="1"/>
          </p:cNvSpPr>
          <p:nvPr userDrawn="1"/>
        </p:nvSpPr>
        <p:spPr bwMode="auto">
          <a:xfrm>
            <a:off x="17375639" y="7162087"/>
            <a:ext cx="1755662" cy="1708150"/>
          </a:xfrm>
          <a:custGeom>
            <a:avLst/>
            <a:gdLst>
              <a:gd name="T0" fmla="*/ 188 w 553"/>
              <a:gd name="T1" fmla="*/ 47 h 538"/>
              <a:gd name="T2" fmla="*/ 219 w 553"/>
              <a:gd name="T3" fmla="*/ 62 h 538"/>
              <a:gd name="T4" fmla="*/ 225 w 553"/>
              <a:gd name="T5" fmla="*/ 103 h 538"/>
              <a:gd name="T6" fmla="*/ 288 w 553"/>
              <a:gd name="T7" fmla="*/ 128 h 538"/>
              <a:gd name="T8" fmla="*/ 360 w 553"/>
              <a:gd name="T9" fmla="*/ 147 h 538"/>
              <a:gd name="T10" fmla="*/ 388 w 553"/>
              <a:gd name="T11" fmla="*/ 119 h 538"/>
              <a:gd name="T12" fmla="*/ 419 w 553"/>
              <a:gd name="T13" fmla="*/ 144 h 538"/>
              <a:gd name="T14" fmla="*/ 444 w 553"/>
              <a:gd name="T15" fmla="*/ 122 h 538"/>
              <a:gd name="T16" fmla="*/ 472 w 553"/>
              <a:gd name="T17" fmla="*/ 100 h 538"/>
              <a:gd name="T18" fmla="*/ 513 w 553"/>
              <a:gd name="T19" fmla="*/ 87 h 538"/>
              <a:gd name="T20" fmla="*/ 535 w 553"/>
              <a:gd name="T21" fmla="*/ 87 h 538"/>
              <a:gd name="T22" fmla="*/ 550 w 553"/>
              <a:gd name="T23" fmla="*/ 109 h 538"/>
              <a:gd name="T24" fmla="*/ 525 w 553"/>
              <a:gd name="T25" fmla="*/ 137 h 538"/>
              <a:gd name="T26" fmla="*/ 503 w 553"/>
              <a:gd name="T27" fmla="*/ 197 h 538"/>
              <a:gd name="T28" fmla="*/ 488 w 553"/>
              <a:gd name="T29" fmla="*/ 234 h 538"/>
              <a:gd name="T30" fmla="*/ 478 w 553"/>
              <a:gd name="T31" fmla="*/ 244 h 538"/>
              <a:gd name="T32" fmla="*/ 463 w 553"/>
              <a:gd name="T33" fmla="*/ 209 h 538"/>
              <a:gd name="T34" fmla="*/ 450 w 553"/>
              <a:gd name="T35" fmla="*/ 216 h 538"/>
              <a:gd name="T36" fmla="*/ 457 w 553"/>
              <a:gd name="T37" fmla="*/ 200 h 538"/>
              <a:gd name="T38" fmla="*/ 453 w 553"/>
              <a:gd name="T39" fmla="*/ 175 h 538"/>
              <a:gd name="T40" fmla="*/ 413 w 553"/>
              <a:gd name="T41" fmla="*/ 163 h 538"/>
              <a:gd name="T42" fmla="*/ 400 w 553"/>
              <a:gd name="T43" fmla="*/ 153 h 538"/>
              <a:gd name="T44" fmla="*/ 388 w 553"/>
              <a:gd name="T45" fmla="*/ 150 h 538"/>
              <a:gd name="T46" fmla="*/ 394 w 553"/>
              <a:gd name="T47" fmla="*/ 175 h 538"/>
              <a:gd name="T48" fmla="*/ 400 w 553"/>
              <a:gd name="T49" fmla="*/ 219 h 538"/>
              <a:gd name="T50" fmla="*/ 407 w 553"/>
              <a:gd name="T51" fmla="*/ 256 h 538"/>
              <a:gd name="T52" fmla="*/ 391 w 553"/>
              <a:gd name="T53" fmla="*/ 250 h 538"/>
              <a:gd name="T54" fmla="*/ 388 w 553"/>
              <a:gd name="T55" fmla="*/ 250 h 538"/>
              <a:gd name="T56" fmla="*/ 366 w 553"/>
              <a:gd name="T57" fmla="*/ 278 h 538"/>
              <a:gd name="T58" fmla="*/ 341 w 553"/>
              <a:gd name="T59" fmla="*/ 294 h 538"/>
              <a:gd name="T60" fmla="*/ 303 w 553"/>
              <a:gd name="T61" fmla="*/ 341 h 538"/>
              <a:gd name="T62" fmla="*/ 269 w 553"/>
              <a:gd name="T63" fmla="*/ 375 h 538"/>
              <a:gd name="T64" fmla="*/ 247 w 553"/>
              <a:gd name="T65" fmla="*/ 413 h 538"/>
              <a:gd name="T66" fmla="*/ 244 w 553"/>
              <a:gd name="T67" fmla="*/ 494 h 538"/>
              <a:gd name="T68" fmla="*/ 238 w 553"/>
              <a:gd name="T69" fmla="*/ 519 h 538"/>
              <a:gd name="T70" fmla="*/ 213 w 553"/>
              <a:gd name="T71" fmla="*/ 535 h 538"/>
              <a:gd name="T72" fmla="*/ 169 w 553"/>
              <a:gd name="T73" fmla="*/ 485 h 538"/>
              <a:gd name="T74" fmla="*/ 144 w 553"/>
              <a:gd name="T75" fmla="*/ 438 h 538"/>
              <a:gd name="T76" fmla="*/ 122 w 553"/>
              <a:gd name="T77" fmla="*/ 391 h 538"/>
              <a:gd name="T78" fmla="*/ 103 w 553"/>
              <a:gd name="T79" fmla="*/ 331 h 538"/>
              <a:gd name="T80" fmla="*/ 91 w 553"/>
              <a:gd name="T81" fmla="*/ 288 h 538"/>
              <a:gd name="T82" fmla="*/ 88 w 553"/>
              <a:gd name="T83" fmla="*/ 256 h 538"/>
              <a:gd name="T84" fmla="*/ 88 w 553"/>
              <a:gd name="T85" fmla="*/ 241 h 538"/>
              <a:gd name="T86" fmla="*/ 72 w 553"/>
              <a:gd name="T87" fmla="*/ 272 h 538"/>
              <a:gd name="T88" fmla="*/ 13 w 553"/>
              <a:gd name="T89" fmla="*/ 244 h 538"/>
              <a:gd name="T90" fmla="*/ 28 w 553"/>
              <a:gd name="T91" fmla="*/ 244 h 538"/>
              <a:gd name="T92" fmla="*/ 32 w 553"/>
              <a:gd name="T93" fmla="*/ 234 h 538"/>
              <a:gd name="T94" fmla="*/ 0 w 553"/>
              <a:gd name="T95" fmla="*/ 216 h 538"/>
              <a:gd name="T96" fmla="*/ 44 w 553"/>
              <a:gd name="T97" fmla="*/ 197 h 538"/>
              <a:gd name="T98" fmla="*/ 41 w 553"/>
              <a:gd name="T99" fmla="*/ 169 h 538"/>
              <a:gd name="T100" fmla="*/ 13 w 553"/>
              <a:gd name="T101" fmla="*/ 144 h 538"/>
              <a:gd name="T102" fmla="*/ 47 w 553"/>
              <a:gd name="T103" fmla="*/ 122 h 538"/>
              <a:gd name="T104" fmla="*/ 91 w 553"/>
              <a:gd name="T105" fmla="*/ 69 h 538"/>
              <a:gd name="T106" fmla="*/ 110 w 553"/>
              <a:gd name="T107" fmla="*/ 25 h 538"/>
              <a:gd name="T108" fmla="*/ 163 w 553"/>
              <a:gd name="T109" fmla="*/ 6 h 538"/>
              <a:gd name="T110" fmla="*/ 400 w 553"/>
              <a:gd name="T111" fmla="*/ 253 h 538"/>
              <a:gd name="T112" fmla="*/ 394 w 553"/>
              <a:gd name="T113" fmla="*/ 259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3" h="538">
                <a:moveTo>
                  <a:pt x="178" y="15"/>
                </a:moveTo>
                <a:lnTo>
                  <a:pt x="178" y="19"/>
                </a:lnTo>
                <a:lnTo>
                  <a:pt x="178" y="22"/>
                </a:lnTo>
                <a:lnTo>
                  <a:pt x="185" y="25"/>
                </a:lnTo>
                <a:lnTo>
                  <a:pt x="185" y="31"/>
                </a:lnTo>
                <a:lnTo>
                  <a:pt x="185" y="34"/>
                </a:lnTo>
                <a:lnTo>
                  <a:pt x="185" y="37"/>
                </a:lnTo>
                <a:lnTo>
                  <a:pt x="188" y="41"/>
                </a:lnTo>
                <a:lnTo>
                  <a:pt x="188" y="44"/>
                </a:lnTo>
                <a:lnTo>
                  <a:pt x="188" y="47"/>
                </a:lnTo>
                <a:lnTo>
                  <a:pt x="191" y="47"/>
                </a:lnTo>
                <a:lnTo>
                  <a:pt x="191" y="50"/>
                </a:lnTo>
                <a:lnTo>
                  <a:pt x="197" y="53"/>
                </a:lnTo>
                <a:lnTo>
                  <a:pt x="197" y="50"/>
                </a:lnTo>
                <a:lnTo>
                  <a:pt x="203" y="50"/>
                </a:lnTo>
                <a:lnTo>
                  <a:pt x="203" y="50"/>
                </a:lnTo>
                <a:lnTo>
                  <a:pt x="210" y="53"/>
                </a:lnTo>
                <a:lnTo>
                  <a:pt x="213" y="56"/>
                </a:lnTo>
                <a:lnTo>
                  <a:pt x="216" y="56"/>
                </a:lnTo>
                <a:lnTo>
                  <a:pt x="219" y="62"/>
                </a:lnTo>
                <a:lnTo>
                  <a:pt x="222" y="62"/>
                </a:lnTo>
                <a:lnTo>
                  <a:pt x="222" y="66"/>
                </a:lnTo>
                <a:lnTo>
                  <a:pt x="222" y="66"/>
                </a:lnTo>
                <a:lnTo>
                  <a:pt x="225" y="72"/>
                </a:lnTo>
                <a:lnTo>
                  <a:pt x="222" y="81"/>
                </a:lnTo>
                <a:lnTo>
                  <a:pt x="222" y="87"/>
                </a:lnTo>
                <a:lnTo>
                  <a:pt x="216" y="97"/>
                </a:lnTo>
                <a:lnTo>
                  <a:pt x="219" y="100"/>
                </a:lnTo>
                <a:lnTo>
                  <a:pt x="222" y="100"/>
                </a:lnTo>
                <a:lnTo>
                  <a:pt x="225" y="103"/>
                </a:lnTo>
                <a:lnTo>
                  <a:pt x="228" y="103"/>
                </a:lnTo>
                <a:lnTo>
                  <a:pt x="232" y="106"/>
                </a:lnTo>
                <a:lnTo>
                  <a:pt x="238" y="109"/>
                </a:lnTo>
                <a:lnTo>
                  <a:pt x="247" y="112"/>
                </a:lnTo>
                <a:lnTo>
                  <a:pt x="253" y="122"/>
                </a:lnTo>
                <a:lnTo>
                  <a:pt x="263" y="122"/>
                </a:lnTo>
                <a:lnTo>
                  <a:pt x="266" y="125"/>
                </a:lnTo>
                <a:lnTo>
                  <a:pt x="272" y="125"/>
                </a:lnTo>
                <a:lnTo>
                  <a:pt x="278" y="131"/>
                </a:lnTo>
                <a:lnTo>
                  <a:pt x="288" y="128"/>
                </a:lnTo>
                <a:lnTo>
                  <a:pt x="291" y="131"/>
                </a:lnTo>
                <a:lnTo>
                  <a:pt x="300" y="128"/>
                </a:lnTo>
                <a:lnTo>
                  <a:pt x="310" y="131"/>
                </a:lnTo>
                <a:lnTo>
                  <a:pt x="313" y="137"/>
                </a:lnTo>
                <a:lnTo>
                  <a:pt x="316" y="141"/>
                </a:lnTo>
                <a:lnTo>
                  <a:pt x="328" y="144"/>
                </a:lnTo>
                <a:lnTo>
                  <a:pt x="332" y="141"/>
                </a:lnTo>
                <a:lnTo>
                  <a:pt x="338" y="141"/>
                </a:lnTo>
                <a:lnTo>
                  <a:pt x="353" y="147"/>
                </a:lnTo>
                <a:lnTo>
                  <a:pt x="360" y="147"/>
                </a:lnTo>
                <a:lnTo>
                  <a:pt x="366" y="150"/>
                </a:lnTo>
                <a:lnTo>
                  <a:pt x="378" y="147"/>
                </a:lnTo>
                <a:lnTo>
                  <a:pt x="378" y="137"/>
                </a:lnTo>
                <a:lnTo>
                  <a:pt x="375" y="131"/>
                </a:lnTo>
                <a:lnTo>
                  <a:pt x="378" y="122"/>
                </a:lnTo>
                <a:lnTo>
                  <a:pt x="375" y="116"/>
                </a:lnTo>
                <a:lnTo>
                  <a:pt x="375" y="116"/>
                </a:lnTo>
                <a:lnTo>
                  <a:pt x="382" y="112"/>
                </a:lnTo>
                <a:lnTo>
                  <a:pt x="385" y="112"/>
                </a:lnTo>
                <a:lnTo>
                  <a:pt x="388" y="119"/>
                </a:lnTo>
                <a:lnTo>
                  <a:pt x="388" y="122"/>
                </a:lnTo>
                <a:lnTo>
                  <a:pt x="391" y="125"/>
                </a:lnTo>
                <a:lnTo>
                  <a:pt x="391" y="125"/>
                </a:lnTo>
                <a:lnTo>
                  <a:pt x="391" y="128"/>
                </a:lnTo>
                <a:lnTo>
                  <a:pt x="391" y="134"/>
                </a:lnTo>
                <a:lnTo>
                  <a:pt x="394" y="137"/>
                </a:lnTo>
                <a:lnTo>
                  <a:pt x="400" y="141"/>
                </a:lnTo>
                <a:lnTo>
                  <a:pt x="403" y="137"/>
                </a:lnTo>
                <a:lnTo>
                  <a:pt x="413" y="144"/>
                </a:lnTo>
                <a:lnTo>
                  <a:pt x="419" y="144"/>
                </a:lnTo>
                <a:lnTo>
                  <a:pt x="422" y="141"/>
                </a:lnTo>
                <a:lnTo>
                  <a:pt x="425" y="137"/>
                </a:lnTo>
                <a:lnTo>
                  <a:pt x="428" y="141"/>
                </a:lnTo>
                <a:lnTo>
                  <a:pt x="438" y="137"/>
                </a:lnTo>
                <a:lnTo>
                  <a:pt x="441" y="137"/>
                </a:lnTo>
                <a:lnTo>
                  <a:pt x="450" y="137"/>
                </a:lnTo>
                <a:lnTo>
                  <a:pt x="450" y="134"/>
                </a:lnTo>
                <a:lnTo>
                  <a:pt x="450" y="128"/>
                </a:lnTo>
                <a:lnTo>
                  <a:pt x="444" y="125"/>
                </a:lnTo>
                <a:lnTo>
                  <a:pt x="444" y="122"/>
                </a:lnTo>
                <a:lnTo>
                  <a:pt x="444" y="116"/>
                </a:lnTo>
                <a:lnTo>
                  <a:pt x="447" y="116"/>
                </a:lnTo>
                <a:lnTo>
                  <a:pt x="453" y="116"/>
                </a:lnTo>
                <a:lnTo>
                  <a:pt x="457" y="116"/>
                </a:lnTo>
                <a:lnTo>
                  <a:pt x="460" y="109"/>
                </a:lnTo>
                <a:lnTo>
                  <a:pt x="463" y="106"/>
                </a:lnTo>
                <a:lnTo>
                  <a:pt x="466" y="109"/>
                </a:lnTo>
                <a:lnTo>
                  <a:pt x="466" y="106"/>
                </a:lnTo>
                <a:lnTo>
                  <a:pt x="469" y="103"/>
                </a:lnTo>
                <a:lnTo>
                  <a:pt x="472" y="100"/>
                </a:lnTo>
                <a:lnTo>
                  <a:pt x="475" y="97"/>
                </a:lnTo>
                <a:lnTo>
                  <a:pt x="478" y="97"/>
                </a:lnTo>
                <a:lnTo>
                  <a:pt x="485" y="94"/>
                </a:lnTo>
                <a:lnTo>
                  <a:pt x="491" y="87"/>
                </a:lnTo>
                <a:lnTo>
                  <a:pt x="491" y="84"/>
                </a:lnTo>
                <a:lnTo>
                  <a:pt x="494" y="84"/>
                </a:lnTo>
                <a:lnTo>
                  <a:pt x="497" y="81"/>
                </a:lnTo>
                <a:lnTo>
                  <a:pt x="500" y="84"/>
                </a:lnTo>
                <a:lnTo>
                  <a:pt x="507" y="84"/>
                </a:lnTo>
                <a:lnTo>
                  <a:pt x="513" y="87"/>
                </a:lnTo>
                <a:lnTo>
                  <a:pt x="516" y="84"/>
                </a:lnTo>
                <a:lnTo>
                  <a:pt x="516" y="81"/>
                </a:lnTo>
                <a:lnTo>
                  <a:pt x="522" y="75"/>
                </a:lnTo>
                <a:lnTo>
                  <a:pt x="525" y="78"/>
                </a:lnTo>
                <a:lnTo>
                  <a:pt x="528" y="81"/>
                </a:lnTo>
                <a:lnTo>
                  <a:pt x="532" y="78"/>
                </a:lnTo>
                <a:lnTo>
                  <a:pt x="532" y="81"/>
                </a:lnTo>
                <a:lnTo>
                  <a:pt x="528" y="87"/>
                </a:lnTo>
                <a:lnTo>
                  <a:pt x="532" y="91"/>
                </a:lnTo>
                <a:lnTo>
                  <a:pt x="535" y="87"/>
                </a:lnTo>
                <a:lnTo>
                  <a:pt x="535" y="87"/>
                </a:lnTo>
                <a:lnTo>
                  <a:pt x="538" y="91"/>
                </a:lnTo>
                <a:lnTo>
                  <a:pt x="541" y="94"/>
                </a:lnTo>
                <a:lnTo>
                  <a:pt x="541" y="97"/>
                </a:lnTo>
                <a:lnTo>
                  <a:pt x="538" y="100"/>
                </a:lnTo>
                <a:lnTo>
                  <a:pt x="538" y="103"/>
                </a:lnTo>
                <a:lnTo>
                  <a:pt x="541" y="106"/>
                </a:lnTo>
                <a:lnTo>
                  <a:pt x="544" y="103"/>
                </a:lnTo>
                <a:lnTo>
                  <a:pt x="547" y="106"/>
                </a:lnTo>
                <a:lnTo>
                  <a:pt x="550" y="109"/>
                </a:lnTo>
                <a:lnTo>
                  <a:pt x="553" y="112"/>
                </a:lnTo>
                <a:lnTo>
                  <a:pt x="547" y="116"/>
                </a:lnTo>
                <a:lnTo>
                  <a:pt x="547" y="122"/>
                </a:lnTo>
                <a:lnTo>
                  <a:pt x="550" y="125"/>
                </a:lnTo>
                <a:lnTo>
                  <a:pt x="547" y="122"/>
                </a:lnTo>
                <a:lnTo>
                  <a:pt x="541" y="122"/>
                </a:lnTo>
                <a:lnTo>
                  <a:pt x="538" y="125"/>
                </a:lnTo>
                <a:lnTo>
                  <a:pt x="532" y="125"/>
                </a:lnTo>
                <a:lnTo>
                  <a:pt x="528" y="131"/>
                </a:lnTo>
                <a:lnTo>
                  <a:pt x="525" y="137"/>
                </a:lnTo>
                <a:lnTo>
                  <a:pt x="519" y="137"/>
                </a:lnTo>
                <a:lnTo>
                  <a:pt x="513" y="150"/>
                </a:lnTo>
                <a:lnTo>
                  <a:pt x="513" y="153"/>
                </a:lnTo>
                <a:lnTo>
                  <a:pt x="513" y="156"/>
                </a:lnTo>
                <a:lnTo>
                  <a:pt x="513" y="163"/>
                </a:lnTo>
                <a:lnTo>
                  <a:pt x="507" y="172"/>
                </a:lnTo>
                <a:lnTo>
                  <a:pt x="507" y="175"/>
                </a:lnTo>
                <a:lnTo>
                  <a:pt x="510" y="178"/>
                </a:lnTo>
                <a:lnTo>
                  <a:pt x="507" y="188"/>
                </a:lnTo>
                <a:lnTo>
                  <a:pt x="503" y="197"/>
                </a:lnTo>
                <a:lnTo>
                  <a:pt x="500" y="203"/>
                </a:lnTo>
                <a:lnTo>
                  <a:pt x="497" y="203"/>
                </a:lnTo>
                <a:lnTo>
                  <a:pt x="494" y="203"/>
                </a:lnTo>
                <a:lnTo>
                  <a:pt x="488" y="203"/>
                </a:lnTo>
                <a:lnTo>
                  <a:pt x="491" y="213"/>
                </a:lnTo>
                <a:lnTo>
                  <a:pt x="491" y="216"/>
                </a:lnTo>
                <a:lnTo>
                  <a:pt x="491" y="225"/>
                </a:lnTo>
                <a:lnTo>
                  <a:pt x="488" y="225"/>
                </a:lnTo>
                <a:lnTo>
                  <a:pt x="488" y="228"/>
                </a:lnTo>
                <a:lnTo>
                  <a:pt x="488" y="234"/>
                </a:lnTo>
                <a:lnTo>
                  <a:pt x="488" y="238"/>
                </a:lnTo>
                <a:lnTo>
                  <a:pt x="485" y="244"/>
                </a:lnTo>
                <a:lnTo>
                  <a:pt x="485" y="244"/>
                </a:lnTo>
                <a:lnTo>
                  <a:pt x="482" y="244"/>
                </a:lnTo>
                <a:lnTo>
                  <a:pt x="482" y="247"/>
                </a:lnTo>
                <a:lnTo>
                  <a:pt x="482" y="250"/>
                </a:lnTo>
                <a:lnTo>
                  <a:pt x="478" y="250"/>
                </a:lnTo>
                <a:lnTo>
                  <a:pt x="478" y="247"/>
                </a:lnTo>
                <a:lnTo>
                  <a:pt x="478" y="247"/>
                </a:lnTo>
                <a:lnTo>
                  <a:pt x="478" y="244"/>
                </a:lnTo>
                <a:lnTo>
                  <a:pt x="475" y="241"/>
                </a:lnTo>
                <a:lnTo>
                  <a:pt x="475" y="238"/>
                </a:lnTo>
                <a:lnTo>
                  <a:pt x="472" y="228"/>
                </a:lnTo>
                <a:lnTo>
                  <a:pt x="472" y="225"/>
                </a:lnTo>
                <a:lnTo>
                  <a:pt x="472" y="222"/>
                </a:lnTo>
                <a:lnTo>
                  <a:pt x="472" y="216"/>
                </a:lnTo>
                <a:lnTo>
                  <a:pt x="469" y="213"/>
                </a:lnTo>
                <a:lnTo>
                  <a:pt x="469" y="213"/>
                </a:lnTo>
                <a:lnTo>
                  <a:pt x="466" y="213"/>
                </a:lnTo>
                <a:lnTo>
                  <a:pt x="463" y="209"/>
                </a:lnTo>
                <a:lnTo>
                  <a:pt x="460" y="213"/>
                </a:lnTo>
                <a:lnTo>
                  <a:pt x="463" y="213"/>
                </a:lnTo>
                <a:lnTo>
                  <a:pt x="460" y="216"/>
                </a:lnTo>
                <a:lnTo>
                  <a:pt x="460" y="216"/>
                </a:lnTo>
                <a:lnTo>
                  <a:pt x="460" y="219"/>
                </a:lnTo>
                <a:lnTo>
                  <a:pt x="460" y="222"/>
                </a:lnTo>
                <a:lnTo>
                  <a:pt x="460" y="225"/>
                </a:lnTo>
                <a:lnTo>
                  <a:pt x="457" y="225"/>
                </a:lnTo>
                <a:lnTo>
                  <a:pt x="453" y="219"/>
                </a:lnTo>
                <a:lnTo>
                  <a:pt x="450" y="216"/>
                </a:lnTo>
                <a:lnTo>
                  <a:pt x="450" y="216"/>
                </a:lnTo>
                <a:lnTo>
                  <a:pt x="447" y="213"/>
                </a:lnTo>
                <a:lnTo>
                  <a:pt x="447" y="209"/>
                </a:lnTo>
                <a:lnTo>
                  <a:pt x="447" y="206"/>
                </a:lnTo>
                <a:lnTo>
                  <a:pt x="447" y="203"/>
                </a:lnTo>
                <a:lnTo>
                  <a:pt x="450" y="203"/>
                </a:lnTo>
                <a:lnTo>
                  <a:pt x="453" y="200"/>
                </a:lnTo>
                <a:lnTo>
                  <a:pt x="453" y="200"/>
                </a:lnTo>
                <a:lnTo>
                  <a:pt x="457" y="200"/>
                </a:lnTo>
                <a:lnTo>
                  <a:pt x="457" y="200"/>
                </a:lnTo>
                <a:lnTo>
                  <a:pt x="457" y="197"/>
                </a:lnTo>
                <a:lnTo>
                  <a:pt x="460" y="194"/>
                </a:lnTo>
                <a:lnTo>
                  <a:pt x="463" y="188"/>
                </a:lnTo>
                <a:lnTo>
                  <a:pt x="463" y="184"/>
                </a:lnTo>
                <a:lnTo>
                  <a:pt x="466" y="178"/>
                </a:lnTo>
                <a:lnTo>
                  <a:pt x="463" y="178"/>
                </a:lnTo>
                <a:lnTo>
                  <a:pt x="460" y="175"/>
                </a:lnTo>
                <a:lnTo>
                  <a:pt x="457" y="175"/>
                </a:lnTo>
                <a:lnTo>
                  <a:pt x="457" y="175"/>
                </a:lnTo>
                <a:lnTo>
                  <a:pt x="453" y="175"/>
                </a:lnTo>
                <a:lnTo>
                  <a:pt x="447" y="175"/>
                </a:lnTo>
                <a:lnTo>
                  <a:pt x="441" y="175"/>
                </a:lnTo>
                <a:lnTo>
                  <a:pt x="432" y="175"/>
                </a:lnTo>
                <a:lnTo>
                  <a:pt x="428" y="175"/>
                </a:lnTo>
                <a:lnTo>
                  <a:pt x="422" y="172"/>
                </a:lnTo>
                <a:lnTo>
                  <a:pt x="419" y="175"/>
                </a:lnTo>
                <a:lnTo>
                  <a:pt x="416" y="172"/>
                </a:lnTo>
                <a:lnTo>
                  <a:pt x="416" y="169"/>
                </a:lnTo>
                <a:lnTo>
                  <a:pt x="416" y="166"/>
                </a:lnTo>
                <a:lnTo>
                  <a:pt x="413" y="163"/>
                </a:lnTo>
                <a:lnTo>
                  <a:pt x="413" y="159"/>
                </a:lnTo>
                <a:lnTo>
                  <a:pt x="410" y="153"/>
                </a:lnTo>
                <a:lnTo>
                  <a:pt x="410" y="153"/>
                </a:lnTo>
                <a:lnTo>
                  <a:pt x="410" y="156"/>
                </a:lnTo>
                <a:lnTo>
                  <a:pt x="403" y="153"/>
                </a:lnTo>
                <a:lnTo>
                  <a:pt x="403" y="153"/>
                </a:lnTo>
                <a:lnTo>
                  <a:pt x="400" y="150"/>
                </a:lnTo>
                <a:lnTo>
                  <a:pt x="397" y="150"/>
                </a:lnTo>
                <a:lnTo>
                  <a:pt x="397" y="153"/>
                </a:lnTo>
                <a:lnTo>
                  <a:pt x="400" y="153"/>
                </a:lnTo>
                <a:lnTo>
                  <a:pt x="397" y="153"/>
                </a:lnTo>
                <a:lnTo>
                  <a:pt x="394" y="153"/>
                </a:lnTo>
                <a:lnTo>
                  <a:pt x="391" y="150"/>
                </a:lnTo>
                <a:lnTo>
                  <a:pt x="391" y="147"/>
                </a:lnTo>
                <a:lnTo>
                  <a:pt x="388" y="144"/>
                </a:lnTo>
                <a:lnTo>
                  <a:pt x="388" y="144"/>
                </a:lnTo>
                <a:lnTo>
                  <a:pt x="385" y="147"/>
                </a:lnTo>
                <a:lnTo>
                  <a:pt x="385" y="147"/>
                </a:lnTo>
                <a:lnTo>
                  <a:pt x="385" y="147"/>
                </a:lnTo>
                <a:lnTo>
                  <a:pt x="388" y="150"/>
                </a:lnTo>
                <a:lnTo>
                  <a:pt x="385" y="156"/>
                </a:lnTo>
                <a:lnTo>
                  <a:pt x="382" y="159"/>
                </a:lnTo>
                <a:lnTo>
                  <a:pt x="382" y="166"/>
                </a:lnTo>
                <a:lnTo>
                  <a:pt x="388" y="169"/>
                </a:lnTo>
                <a:lnTo>
                  <a:pt x="394" y="166"/>
                </a:lnTo>
                <a:lnTo>
                  <a:pt x="397" y="166"/>
                </a:lnTo>
                <a:lnTo>
                  <a:pt x="397" y="169"/>
                </a:lnTo>
                <a:lnTo>
                  <a:pt x="397" y="175"/>
                </a:lnTo>
                <a:lnTo>
                  <a:pt x="394" y="175"/>
                </a:lnTo>
                <a:lnTo>
                  <a:pt x="394" y="175"/>
                </a:lnTo>
                <a:lnTo>
                  <a:pt x="391" y="178"/>
                </a:lnTo>
                <a:lnTo>
                  <a:pt x="388" y="181"/>
                </a:lnTo>
                <a:lnTo>
                  <a:pt x="385" y="184"/>
                </a:lnTo>
                <a:lnTo>
                  <a:pt x="385" y="191"/>
                </a:lnTo>
                <a:lnTo>
                  <a:pt x="388" y="197"/>
                </a:lnTo>
                <a:lnTo>
                  <a:pt x="394" y="197"/>
                </a:lnTo>
                <a:lnTo>
                  <a:pt x="400" y="203"/>
                </a:lnTo>
                <a:lnTo>
                  <a:pt x="400" y="209"/>
                </a:lnTo>
                <a:lnTo>
                  <a:pt x="400" y="216"/>
                </a:lnTo>
                <a:lnTo>
                  <a:pt x="400" y="219"/>
                </a:lnTo>
                <a:lnTo>
                  <a:pt x="400" y="225"/>
                </a:lnTo>
                <a:lnTo>
                  <a:pt x="407" y="234"/>
                </a:lnTo>
                <a:lnTo>
                  <a:pt x="407" y="238"/>
                </a:lnTo>
                <a:lnTo>
                  <a:pt x="410" y="241"/>
                </a:lnTo>
                <a:lnTo>
                  <a:pt x="410" y="247"/>
                </a:lnTo>
                <a:lnTo>
                  <a:pt x="407" y="247"/>
                </a:lnTo>
                <a:lnTo>
                  <a:pt x="410" y="253"/>
                </a:lnTo>
                <a:lnTo>
                  <a:pt x="410" y="256"/>
                </a:lnTo>
                <a:lnTo>
                  <a:pt x="407" y="253"/>
                </a:lnTo>
                <a:lnTo>
                  <a:pt x="407" y="256"/>
                </a:lnTo>
                <a:lnTo>
                  <a:pt x="403" y="253"/>
                </a:lnTo>
                <a:lnTo>
                  <a:pt x="400" y="250"/>
                </a:lnTo>
                <a:lnTo>
                  <a:pt x="400" y="247"/>
                </a:lnTo>
                <a:lnTo>
                  <a:pt x="400" y="250"/>
                </a:lnTo>
                <a:lnTo>
                  <a:pt x="400" y="250"/>
                </a:lnTo>
                <a:lnTo>
                  <a:pt x="400" y="250"/>
                </a:lnTo>
                <a:lnTo>
                  <a:pt x="397" y="250"/>
                </a:lnTo>
                <a:lnTo>
                  <a:pt x="394" y="250"/>
                </a:lnTo>
                <a:lnTo>
                  <a:pt x="394" y="253"/>
                </a:lnTo>
                <a:lnTo>
                  <a:pt x="391" y="250"/>
                </a:lnTo>
                <a:lnTo>
                  <a:pt x="391" y="247"/>
                </a:lnTo>
                <a:lnTo>
                  <a:pt x="391" y="244"/>
                </a:lnTo>
                <a:lnTo>
                  <a:pt x="388" y="241"/>
                </a:lnTo>
                <a:lnTo>
                  <a:pt x="385" y="241"/>
                </a:lnTo>
                <a:lnTo>
                  <a:pt x="385" y="241"/>
                </a:lnTo>
                <a:lnTo>
                  <a:pt x="388" y="241"/>
                </a:lnTo>
                <a:lnTo>
                  <a:pt x="391" y="244"/>
                </a:lnTo>
                <a:lnTo>
                  <a:pt x="388" y="244"/>
                </a:lnTo>
                <a:lnTo>
                  <a:pt x="388" y="247"/>
                </a:lnTo>
                <a:lnTo>
                  <a:pt x="388" y="250"/>
                </a:lnTo>
                <a:lnTo>
                  <a:pt x="385" y="253"/>
                </a:lnTo>
                <a:lnTo>
                  <a:pt x="372" y="259"/>
                </a:lnTo>
                <a:lnTo>
                  <a:pt x="369" y="259"/>
                </a:lnTo>
                <a:lnTo>
                  <a:pt x="369" y="263"/>
                </a:lnTo>
                <a:lnTo>
                  <a:pt x="366" y="266"/>
                </a:lnTo>
                <a:lnTo>
                  <a:pt x="369" y="269"/>
                </a:lnTo>
                <a:lnTo>
                  <a:pt x="369" y="272"/>
                </a:lnTo>
                <a:lnTo>
                  <a:pt x="369" y="275"/>
                </a:lnTo>
                <a:lnTo>
                  <a:pt x="369" y="275"/>
                </a:lnTo>
                <a:lnTo>
                  <a:pt x="366" y="278"/>
                </a:lnTo>
                <a:lnTo>
                  <a:pt x="366" y="281"/>
                </a:lnTo>
                <a:lnTo>
                  <a:pt x="363" y="285"/>
                </a:lnTo>
                <a:lnTo>
                  <a:pt x="363" y="285"/>
                </a:lnTo>
                <a:lnTo>
                  <a:pt x="357" y="291"/>
                </a:lnTo>
                <a:lnTo>
                  <a:pt x="357" y="294"/>
                </a:lnTo>
                <a:lnTo>
                  <a:pt x="347" y="297"/>
                </a:lnTo>
                <a:lnTo>
                  <a:pt x="344" y="297"/>
                </a:lnTo>
                <a:lnTo>
                  <a:pt x="344" y="294"/>
                </a:lnTo>
                <a:lnTo>
                  <a:pt x="344" y="294"/>
                </a:lnTo>
                <a:lnTo>
                  <a:pt x="341" y="294"/>
                </a:lnTo>
                <a:lnTo>
                  <a:pt x="338" y="297"/>
                </a:lnTo>
                <a:lnTo>
                  <a:pt x="338" y="297"/>
                </a:lnTo>
                <a:lnTo>
                  <a:pt x="335" y="303"/>
                </a:lnTo>
                <a:lnTo>
                  <a:pt x="338" y="300"/>
                </a:lnTo>
                <a:lnTo>
                  <a:pt x="341" y="300"/>
                </a:lnTo>
                <a:lnTo>
                  <a:pt x="341" y="300"/>
                </a:lnTo>
                <a:lnTo>
                  <a:pt x="328" y="313"/>
                </a:lnTo>
                <a:lnTo>
                  <a:pt x="325" y="322"/>
                </a:lnTo>
                <a:lnTo>
                  <a:pt x="307" y="335"/>
                </a:lnTo>
                <a:lnTo>
                  <a:pt x="303" y="341"/>
                </a:lnTo>
                <a:lnTo>
                  <a:pt x="300" y="344"/>
                </a:lnTo>
                <a:lnTo>
                  <a:pt x="294" y="347"/>
                </a:lnTo>
                <a:lnTo>
                  <a:pt x="288" y="353"/>
                </a:lnTo>
                <a:lnTo>
                  <a:pt x="288" y="356"/>
                </a:lnTo>
                <a:lnTo>
                  <a:pt x="288" y="360"/>
                </a:lnTo>
                <a:lnTo>
                  <a:pt x="285" y="366"/>
                </a:lnTo>
                <a:lnTo>
                  <a:pt x="282" y="369"/>
                </a:lnTo>
                <a:lnTo>
                  <a:pt x="272" y="366"/>
                </a:lnTo>
                <a:lnTo>
                  <a:pt x="269" y="369"/>
                </a:lnTo>
                <a:lnTo>
                  <a:pt x="269" y="375"/>
                </a:lnTo>
                <a:lnTo>
                  <a:pt x="263" y="381"/>
                </a:lnTo>
                <a:lnTo>
                  <a:pt x="260" y="381"/>
                </a:lnTo>
                <a:lnTo>
                  <a:pt x="257" y="378"/>
                </a:lnTo>
                <a:lnTo>
                  <a:pt x="257" y="378"/>
                </a:lnTo>
                <a:lnTo>
                  <a:pt x="250" y="385"/>
                </a:lnTo>
                <a:lnTo>
                  <a:pt x="247" y="388"/>
                </a:lnTo>
                <a:lnTo>
                  <a:pt x="247" y="394"/>
                </a:lnTo>
                <a:lnTo>
                  <a:pt x="250" y="403"/>
                </a:lnTo>
                <a:lnTo>
                  <a:pt x="247" y="410"/>
                </a:lnTo>
                <a:lnTo>
                  <a:pt x="247" y="413"/>
                </a:lnTo>
                <a:lnTo>
                  <a:pt x="247" y="428"/>
                </a:lnTo>
                <a:lnTo>
                  <a:pt x="253" y="432"/>
                </a:lnTo>
                <a:lnTo>
                  <a:pt x="253" y="441"/>
                </a:lnTo>
                <a:lnTo>
                  <a:pt x="250" y="453"/>
                </a:lnTo>
                <a:lnTo>
                  <a:pt x="244" y="463"/>
                </a:lnTo>
                <a:lnTo>
                  <a:pt x="244" y="469"/>
                </a:lnTo>
                <a:lnTo>
                  <a:pt x="247" y="472"/>
                </a:lnTo>
                <a:lnTo>
                  <a:pt x="247" y="488"/>
                </a:lnTo>
                <a:lnTo>
                  <a:pt x="247" y="494"/>
                </a:lnTo>
                <a:lnTo>
                  <a:pt x="244" y="494"/>
                </a:lnTo>
                <a:lnTo>
                  <a:pt x="241" y="494"/>
                </a:lnTo>
                <a:lnTo>
                  <a:pt x="238" y="494"/>
                </a:lnTo>
                <a:lnTo>
                  <a:pt x="235" y="497"/>
                </a:lnTo>
                <a:lnTo>
                  <a:pt x="235" y="500"/>
                </a:lnTo>
                <a:lnTo>
                  <a:pt x="232" y="507"/>
                </a:lnTo>
                <a:lnTo>
                  <a:pt x="228" y="510"/>
                </a:lnTo>
                <a:lnTo>
                  <a:pt x="228" y="513"/>
                </a:lnTo>
                <a:lnTo>
                  <a:pt x="235" y="516"/>
                </a:lnTo>
                <a:lnTo>
                  <a:pt x="238" y="516"/>
                </a:lnTo>
                <a:lnTo>
                  <a:pt x="238" y="519"/>
                </a:lnTo>
                <a:lnTo>
                  <a:pt x="235" y="516"/>
                </a:lnTo>
                <a:lnTo>
                  <a:pt x="232" y="516"/>
                </a:lnTo>
                <a:lnTo>
                  <a:pt x="225" y="519"/>
                </a:lnTo>
                <a:lnTo>
                  <a:pt x="222" y="516"/>
                </a:lnTo>
                <a:lnTo>
                  <a:pt x="216" y="519"/>
                </a:lnTo>
                <a:lnTo>
                  <a:pt x="213" y="525"/>
                </a:lnTo>
                <a:lnTo>
                  <a:pt x="213" y="525"/>
                </a:lnTo>
                <a:lnTo>
                  <a:pt x="213" y="529"/>
                </a:lnTo>
                <a:lnTo>
                  <a:pt x="213" y="529"/>
                </a:lnTo>
                <a:lnTo>
                  <a:pt x="213" y="535"/>
                </a:lnTo>
                <a:lnTo>
                  <a:pt x="203" y="538"/>
                </a:lnTo>
                <a:lnTo>
                  <a:pt x="197" y="538"/>
                </a:lnTo>
                <a:lnTo>
                  <a:pt x="191" y="535"/>
                </a:lnTo>
                <a:lnTo>
                  <a:pt x="185" y="525"/>
                </a:lnTo>
                <a:lnTo>
                  <a:pt x="178" y="513"/>
                </a:lnTo>
                <a:lnTo>
                  <a:pt x="178" y="503"/>
                </a:lnTo>
                <a:lnTo>
                  <a:pt x="175" y="497"/>
                </a:lnTo>
                <a:lnTo>
                  <a:pt x="172" y="488"/>
                </a:lnTo>
                <a:lnTo>
                  <a:pt x="172" y="485"/>
                </a:lnTo>
                <a:lnTo>
                  <a:pt x="169" y="485"/>
                </a:lnTo>
                <a:lnTo>
                  <a:pt x="169" y="478"/>
                </a:lnTo>
                <a:lnTo>
                  <a:pt x="166" y="472"/>
                </a:lnTo>
                <a:lnTo>
                  <a:pt x="160" y="466"/>
                </a:lnTo>
                <a:lnTo>
                  <a:pt x="157" y="460"/>
                </a:lnTo>
                <a:lnTo>
                  <a:pt x="157" y="460"/>
                </a:lnTo>
                <a:lnTo>
                  <a:pt x="150" y="453"/>
                </a:lnTo>
                <a:lnTo>
                  <a:pt x="147" y="450"/>
                </a:lnTo>
                <a:lnTo>
                  <a:pt x="147" y="447"/>
                </a:lnTo>
                <a:lnTo>
                  <a:pt x="147" y="441"/>
                </a:lnTo>
                <a:lnTo>
                  <a:pt x="144" y="438"/>
                </a:lnTo>
                <a:lnTo>
                  <a:pt x="141" y="428"/>
                </a:lnTo>
                <a:lnTo>
                  <a:pt x="138" y="422"/>
                </a:lnTo>
                <a:lnTo>
                  <a:pt x="138" y="416"/>
                </a:lnTo>
                <a:lnTo>
                  <a:pt x="135" y="413"/>
                </a:lnTo>
                <a:lnTo>
                  <a:pt x="135" y="407"/>
                </a:lnTo>
                <a:lnTo>
                  <a:pt x="135" y="407"/>
                </a:lnTo>
                <a:lnTo>
                  <a:pt x="128" y="400"/>
                </a:lnTo>
                <a:lnTo>
                  <a:pt x="128" y="397"/>
                </a:lnTo>
                <a:lnTo>
                  <a:pt x="128" y="397"/>
                </a:lnTo>
                <a:lnTo>
                  <a:pt x="122" y="391"/>
                </a:lnTo>
                <a:lnTo>
                  <a:pt x="122" y="388"/>
                </a:lnTo>
                <a:lnTo>
                  <a:pt x="119" y="385"/>
                </a:lnTo>
                <a:lnTo>
                  <a:pt x="119" y="381"/>
                </a:lnTo>
                <a:lnTo>
                  <a:pt x="116" y="378"/>
                </a:lnTo>
                <a:lnTo>
                  <a:pt x="113" y="369"/>
                </a:lnTo>
                <a:lnTo>
                  <a:pt x="113" y="360"/>
                </a:lnTo>
                <a:lnTo>
                  <a:pt x="103" y="341"/>
                </a:lnTo>
                <a:lnTo>
                  <a:pt x="103" y="338"/>
                </a:lnTo>
                <a:lnTo>
                  <a:pt x="100" y="331"/>
                </a:lnTo>
                <a:lnTo>
                  <a:pt x="103" y="331"/>
                </a:lnTo>
                <a:lnTo>
                  <a:pt x="97" y="322"/>
                </a:lnTo>
                <a:lnTo>
                  <a:pt x="97" y="319"/>
                </a:lnTo>
                <a:lnTo>
                  <a:pt x="100" y="319"/>
                </a:lnTo>
                <a:lnTo>
                  <a:pt x="100" y="316"/>
                </a:lnTo>
                <a:lnTo>
                  <a:pt x="97" y="313"/>
                </a:lnTo>
                <a:lnTo>
                  <a:pt x="94" y="300"/>
                </a:lnTo>
                <a:lnTo>
                  <a:pt x="91" y="294"/>
                </a:lnTo>
                <a:lnTo>
                  <a:pt x="94" y="294"/>
                </a:lnTo>
                <a:lnTo>
                  <a:pt x="91" y="291"/>
                </a:lnTo>
                <a:lnTo>
                  <a:pt x="91" y="288"/>
                </a:lnTo>
                <a:lnTo>
                  <a:pt x="94" y="285"/>
                </a:lnTo>
                <a:lnTo>
                  <a:pt x="94" y="278"/>
                </a:lnTo>
                <a:lnTo>
                  <a:pt x="91" y="272"/>
                </a:lnTo>
                <a:lnTo>
                  <a:pt x="91" y="272"/>
                </a:lnTo>
                <a:lnTo>
                  <a:pt x="88" y="263"/>
                </a:lnTo>
                <a:lnTo>
                  <a:pt x="91" y="259"/>
                </a:lnTo>
                <a:lnTo>
                  <a:pt x="94" y="256"/>
                </a:lnTo>
                <a:lnTo>
                  <a:pt x="97" y="256"/>
                </a:lnTo>
                <a:lnTo>
                  <a:pt x="94" y="256"/>
                </a:lnTo>
                <a:lnTo>
                  <a:pt x="88" y="256"/>
                </a:lnTo>
                <a:lnTo>
                  <a:pt x="88" y="256"/>
                </a:lnTo>
                <a:lnTo>
                  <a:pt x="88" y="253"/>
                </a:lnTo>
                <a:lnTo>
                  <a:pt x="85" y="250"/>
                </a:lnTo>
                <a:lnTo>
                  <a:pt x="85" y="247"/>
                </a:lnTo>
                <a:lnTo>
                  <a:pt x="88" y="244"/>
                </a:lnTo>
                <a:lnTo>
                  <a:pt x="88" y="244"/>
                </a:lnTo>
                <a:lnTo>
                  <a:pt x="94" y="241"/>
                </a:lnTo>
                <a:lnTo>
                  <a:pt x="94" y="241"/>
                </a:lnTo>
                <a:lnTo>
                  <a:pt x="91" y="241"/>
                </a:lnTo>
                <a:lnTo>
                  <a:pt x="88" y="241"/>
                </a:lnTo>
                <a:lnTo>
                  <a:pt x="85" y="241"/>
                </a:lnTo>
                <a:lnTo>
                  <a:pt x="82" y="238"/>
                </a:lnTo>
                <a:lnTo>
                  <a:pt x="82" y="241"/>
                </a:lnTo>
                <a:lnTo>
                  <a:pt x="82" y="244"/>
                </a:lnTo>
                <a:lnTo>
                  <a:pt x="78" y="253"/>
                </a:lnTo>
                <a:lnTo>
                  <a:pt x="82" y="256"/>
                </a:lnTo>
                <a:lnTo>
                  <a:pt x="82" y="263"/>
                </a:lnTo>
                <a:lnTo>
                  <a:pt x="78" y="266"/>
                </a:lnTo>
                <a:lnTo>
                  <a:pt x="78" y="269"/>
                </a:lnTo>
                <a:lnTo>
                  <a:pt x="72" y="272"/>
                </a:lnTo>
                <a:lnTo>
                  <a:pt x="60" y="278"/>
                </a:lnTo>
                <a:lnTo>
                  <a:pt x="57" y="278"/>
                </a:lnTo>
                <a:lnTo>
                  <a:pt x="50" y="278"/>
                </a:lnTo>
                <a:lnTo>
                  <a:pt x="35" y="266"/>
                </a:lnTo>
                <a:lnTo>
                  <a:pt x="28" y="256"/>
                </a:lnTo>
                <a:lnTo>
                  <a:pt x="28" y="256"/>
                </a:lnTo>
                <a:lnTo>
                  <a:pt x="25" y="256"/>
                </a:lnTo>
                <a:lnTo>
                  <a:pt x="22" y="253"/>
                </a:lnTo>
                <a:lnTo>
                  <a:pt x="16" y="247"/>
                </a:lnTo>
                <a:lnTo>
                  <a:pt x="13" y="244"/>
                </a:lnTo>
                <a:lnTo>
                  <a:pt x="16" y="241"/>
                </a:lnTo>
                <a:lnTo>
                  <a:pt x="16" y="241"/>
                </a:lnTo>
                <a:lnTo>
                  <a:pt x="19" y="241"/>
                </a:lnTo>
                <a:lnTo>
                  <a:pt x="19" y="241"/>
                </a:lnTo>
                <a:lnTo>
                  <a:pt x="19" y="247"/>
                </a:lnTo>
                <a:lnTo>
                  <a:pt x="22" y="247"/>
                </a:lnTo>
                <a:lnTo>
                  <a:pt x="25" y="244"/>
                </a:lnTo>
                <a:lnTo>
                  <a:pt x="25" y="244"/>
                </a:lnTo>
                <a:lnTo>
                  <a:pt x="28" y="247"/>
                </a:lnTo>
                <a:lnTo>
                  <a:pt x="28" y="244"/>
                </a:lnTo>
                <a:lnTo>
                  <a:pt x="38" y="238"/>
                </a:lnTo>
                <a:lnTo>
                  <a:pt x="41" y="238"/>
                </a:lnTo>
                <a:lnTo>
                  <a:pt x="44" y="231"/>
                </a:lnTo>
                <a:lnTo>
                  <a:pt x="44" y="231"/>
                </a:lnTo>
                <a:lnTo>
                  <a:pt x="47" y="228"/>
                </a:lnTo>
                <a:lnTo>
                  <a:pt x="41" y="228"/>
                </a:lnTo>
                <a:lnTo>
                  <a:pt x="41" y="228"/>
                </a:lnTo>
                <a:lnTo>
                  <a:pt x="41" y="228"/>
                </a:lnTo>
                <a:lnTo>
                  <a:pt x="41" y="231"/>
                </a:lnTo>
                <a:lnTo>
                  <a:pt x="32" y="234"/>
                </a:lnTo>
                <a:lnTo>
                  <a:pt x="28" y="234"/>
                </a:lnTo>
                <a:lnTo>
                  <a:pt x="25" y="234"/>
                </a:lnTo>
                <a:lnTo>
                  <a:pt x="13" y="231"/>
                </a:lnTo>
                <a:lnTo>
                  <a:pt x="7" y="225"/>
                </a:lnTo>
                <a:lnTo>
                  <a:pt x="3" y="222"/>
                </a:lnTo>
                <a:lnTo>
                  <a:pt x="3" y="219"/>
                </a:lnTo>
                <a:lnTo>
                  <a:pt x="7" y="213"/>
                </a:lnTo>
                <a:lnTo>
                  <a:pt x="13" y="213"/>
                </a:lnTo>
                <a:lnTo>
                  <a:pt x="7" y="213"/>
                </a:lnTo>
                <a:lnTo>
                  <a:pt x="0" y="216"/>
                </a:lnTo>
                <a:lnTo>
                  <a:pt x="0" y="209"/>
                </a:lnTo>
                <a:lnTo>
                  <a:pt x="3" y="209"/>
                </a:lnTo>
                <a:lnTo>
                  <a:pt x="7" y="206"/>
                </a:lnTo>
                <a:lnTo>
                  <a:pt x="10" y="203"/>
                </a:lnTo>
                <a:lnTo>
                  <a:pt x="13" y="203"/>
                </a:lnTo>
                <a:lnTo>
                  <a:pt x="16" y="200"/>
                </a:lnTo>
                <a:lnTo>
                  <a:pt x="28" y="203"/>
                </a:lnTo>
                <a:lnTo>
                  <a:pt x="38" y="200"/>
                </a:lnTo>
                <a:lnTo>
                  <a:pt x="38" y="197"/>
                </a:lnTo>
                <a:lnTo>
                  <a:pt x="44" y="197"/>
                </a:lnTo>
                <a:lnTo>
                  <a:pt x="41" y="200"/>
                </a:lnTo>
                <a:lnTo>
                  <a:pt x="44" y="200"/>
                </a:lnTo>
                <a:lnTo>
                  <a:pt x="47" y="200"/>
                </a:lnTo>
                <a:lnTo>
                  <a:pt x="50" y="197"/>
                </a:lnTo>
                <a:lnTo>
                  <a:pt x="50" y="197"/>
                </a:lnTo>
                <a:lnTo>
                  <a:pt x="50" y="194"/>
                </a:lnTo>
                <a:lnTo>
                  <a:pt x="47" y="181"/>
                </a:lnTo>
                <a:lnTo>
                  <a:pt x="41" y="175"/>
                </a:lnTo>
                <a:lnTo>
                  <a:pt x="44" y="172"/>
                </a:lnTo>
                <a:lnTo>
                  <a:pt x="41" y="169"/>
                </a:lnTo>
                <a:lnTo>
                  <a:pt x="38" y="172"/>
                </a:lnTo>
                <a:lnTo>
                  <a:pt x="32" y="166"/>
                </a:lnTo>
                <a:lnTo>
                  <a:pt x="28" y="159"/>
                </a:lnTo>
                <a:lnTo>
                  <a:pt x="28" y="153"/>
                </a:lnTo>
                <a:lnTo>
                  <a:pt x="25" y="147"/>
                </a:lnTo>
                <a:lnTo>
                  <a:pt x="22" y="147"/>
                </a:lnTo>
                <a:lnTo>
                  <a:pt x="22" y="150"/>
                </a:lnTo>
                <a:lnTo>
                  <a:pt x="16" y="147"/>
                </a:lnTo>
                <a:lnTo>
                  <a:pt x="13" y="147"/>
                </a:lnTo>
                <a:lnTo>
                  <a:pt x="13" y="144"/>
                </a:lnTo>
                <a:lnTo>
                  <a:pt x="16" y="134"/>
                </a:lnTo>
                <a:lnTo>
                  <a:pt x="19" y="134"/>
                </a:lnTo>
                <a:lnTo>
                  <a:pt x="25" y="125"/>
                </a:lnTo>
                <a:lnTo>
                  <a:pt x="25" y="122"/>
                </a:lnTo>
                <a:lnTo>
                  <a:pt x="28" y="122"/>
                </a:lnTo>
                <a:lnTo>
                  <a:pt x="32" y="119"/>
                </a:lnTo>
                <a:lnTo>
                  <a:pt x="35" y="122"/>
                </a:lnTo>
                <a:lnTo>
                  <a:pt x="38" y="125"/>
                </a:lnTo>
                <a:lnTo>
                  <a:pt x="38" y="125"/>
                </a:lnTo>
                <a:lnTo>
                  <a:pt x="47" y="122"/>
                </a:lnTo>
                <a:lnTo>
                  <a:pt x="57" y="122"/>
                </a:lnTo>
                <a:lnTo>
                  <a:pt x="63" y="116"/>
                </a:lnTo>
                <a:lnTo>
                  <a:pt x="66" y="103"/>
                </a:lnTo>
                <a:lnTo>
                  <a:pt x="75" y="97"/>
                </a:lnTo>
                <a:lnTo>
                  <a:pt x="78" y="91"/>
                </a:lnTo>
                <a:lnTo>
                  <a:pt x="78" y="84"/>
                </a:lnTo>
                <a:lnTo>
                  <a:pt x="85" y="78"/>
                </a:lnTo>
                <a:lnTo>
                  <a:pt x="91" y="75"/>
                </a:lnTo>
                <a:lnTo>
                  <a:pt x="91" y="72"/>
                </a:lnTo>
                <a:lnTo>
                  <a:pt x="91" y="69"/>
                </a:lnTo>
                <a:lnTo>
                  <a:pt x="91" y="66"/>
                </a:lnTo>
                <a:lnTo>
                  <a:pt x="94" y="59"/>
                </a:lnTo>
                <a:lnTo>
                  <a:pt x="97" y="56"/>
                </a:lnTo>
                <a:lnTo>
                  <a:pt x="97" y="53"/>
                </a:lnTo>
                <a:lnTo>
                  <a:pt x="100" y="44"/>
                </a:lnTo>
                <a:lnTo>
                  <a:pt x="97" y="34"/>
                </a:lnTo>
                <a:lnTo>
                  <a:pt x="97" y="34"/>
                </a:lnTo>
                <a:lnTo>
                  <a:pt x="103" y="28"/>
                </a:lnTo>
                <a:lnTo>
                  <a:pt x="107" y="28"/>
                </a:lnTo>
                <a:lnTo>
                  <a:pt x="110" y="25"/>
                </a:lnTo>
                <a:lnTo>
                  <a:pt x="113" y="25"/>
                </a:lnTo>
                <a:lnTo>
                  <a:pt x="119" y="19"/>
                </a:lnTo>
                <a:lnTo>
                  <a:pt x="122" y="9"/>
                </a:lnTo>
                <a:lnTo>
                  <a:pt x="128" y="3"/>
                </a:lnTo>
                <a:lnTo>
                  <a:pt x="135" y="3"/>
                </a:lnTo>
                <a:lnTo>
                  <a:pt x="138" y="0"/>
                </a:lnTo>
                <a:lnTo>
                  <a:pt x="141" y="0"/>
                </a:lnTo>
                <a:lnTo>
                  <a:pt x="150" y="6"/>
                </a:lnTo>
                <a:lnTo>
                  <a:pt x="157" y="3"/>
                </a:lnTo>
                <a:lnTo>
                  <a:pt x="163" y="6"/>
                </a:lnTo>
                <a:lnTo>
                  <a:pt x="166" y="12"/>
                </a:lnTo>
                <a:lnTo>
                  <a:pt x="169" y="9"/>
                </a:lnTo>
                <a:lnTo>
                  <a:pt x="178" y="15"/>
                </a:lnTo>
                <a:lnTo>
                  <a:pt x="178" y="15"/>
                </a:lnTo>
                <a:lnTo>
                  <a:pt x="178" y="15"/>
                </a:lnTo>
                <a:close/>
                <a:moveTo>
                  <a:pt x="400" y="253"/>
                </a:moveTo>
                <a:lnTo>
                  <a:pt x="400" y="256"/>
                </a:lnTo>
                <a:lnTo>
                  <a:pt x="400" y="256"/>
                </a:lnTo>
                <a:lnTo>
                  <a:pt x="400" y="253"/>
                </a:lnTo>
                <a:lnTo>
                  <a:pt x="400" y="253"/>
                </a:lnTo>
                <a:close/>
                <a:moveTo>
                  <a:pt x="397" y="253"/>
                </a:moveTo>
                <a:lnTo>
                  <a:pt x="397" y="253"/>
                </a:lnTo>
                <a:lnTo>
                  <a:pt x="397" y="256"/>
                </a:lnTo>
                <a:lnTo>
                  <a:pt x="397" y="256"/>
                </a:lnTo>
                <a:lnTo>
                  <a:pt x="397" y="253"/>
                </a:lnTo>
                <a:lnTo>
                  <a:pt x="397" y="253"/>
                </a:lnTo>
                <a:lnTo>
                  <a:pt x="397" y="253"/>
                </a:lnTo>
                <a:close/>
                <a:moveTo>
                  <a:pt x="394" y="253"/>
                </a:moveTo>
                <a:lnTo>
                  <a:pt x="394" y="256"/>
                </a:lnTo>
                <a:lnTo>
                  <a:pt x="394" y="259"/>
                </a:lnTo>
                <a:lnTo>
                  <a:pt x="394" y="256"/>
                </a:lnTo>
                <a:lnTo>
                  <a:pt x="394" y="253"/>
                </a:lnTo>
                <a:lnTo>
                  <a:pt x="394" y="253"/>
                </a:lnTo>
                <a:close/>
                <a:moveTo>
                  <a:pt x="388" y="253"/>
                </a:moveTo>
                <a:lnTo>
                  <a:pt x="388" y="256"/>
                </a:lnTo>
                <a:lnTo>
                  <a:pt x="388" y="256"/>
                </a:lnTo>
                <a:lnTo>
                  <a:pt x="391" y="250"/>
                </a:lnTo>
                <a:lnTo>
                  <a:pt x="391" y="250"/>
                </a:lnTo>
                <a:lnTo>
                  <a:pt x="388" y="253"/>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8" name="Freeform 36">
            <a:extLst>
              <a:ext uri="{FF2B5EF4-FFF2-40B4-BE49-F238E27FC236}">
                <a16:creationId xmlns:a16="http://schemas.microsoft.com/office/drawing/2014/main" id="{81877DC8-D975-B54F-5496-4F957CEBC3AC}"/>
              </a:ext>
            </a:extLst>
          </p:cNvPr>
          <p:cNvSpPr>
            <a:spLocks noEditPoints="1"/>
          </p:cNvSpPr>
          <p:nvPr userDrawn="1"/>
        </p:nvSpPr>
        <p:spPr bwMode="auto">
          <a:xfrm>
            <a:off x="18588415" y="7619287"/>
            <a:ext cx="317481" cy="415926"/>
          </a:xfrm>
          <a:custGeom>
            <a:avLst/>
            <a:gdLst>
              <a:gd name="T0" fmla="*/ 31 w 32"/>
              <a:gd name="T1" fmla="*/ 37 h 42"/>
              <a:gd name="T2" fmla="*/ 29 w 32"/>
              <a:gd name="T3" fmla="*/ 39 h 42"/>
              <a:gd name="T4" fmla="*/ 29 w 32"/>
              <a:gd name="T5" fmla="*/ 42 h 42"/>
              <a:gd name="T6" fmla="*/ 27 w 32"/>
              <a:gd name="T7" fmla="*/ 38 h 42"/>
              <a:gd name="T8" fmla="*/ 27 w 32"/>
              <a:gd name="T9" fmla="*/ 35 h 42"/>
              <a:gd name="T10" fmla="*/ 26 w 32"/>
              <a:gd name="T11" fmla="*/ 36 h 42"/>
              <a:gd name="T12" fmla="*/ 26 w 32"/>
              <a:gd name="T13" fmla="*/ 33 h 42"/>
              <a:gd name="T14" fmla="*/ 23 w 32"/>
              <a:gd name="T15" fmla="*/ 27 h 42"/>
              <a:gd name="T16" fmla="*/ 22 w 32"/>
              <a:gd name="T17" fmla="*/ 27 h 42"/>
              <a:gd name="T18" fmla="*/ 19 w 32"/>
              <a:gd name="T19" fmla="*/ 26 h 42"/>
              <a:gd name="T20" fmla="*/ 16 w 32"/>
              <a:gd name="T21" fmla="*/ 24 h 42"/>
              <a:gd name="T22" fmla="*/ 17 w 32"/>
              <a:gd name="T23" fmla="*/ 28 h 42"/>
              <a:gd name="T24" fmla="*/ 18 w 32"/>
              <a:gd name="T25" fmla="*/ 30 h 42"/>
              <a:gd name="T26" fmla="*/ 15 w 32"/>
              <a:gd name="T27" fmla="*/ 34 h 42"/>
              <a:gd name="T28" fmla="*/ 15 w 32"/>
              <a:gd name="T29" fmla="*/ 32 h 42"/>
              <a:gd name="T30" fmla="*/ 14 w 32"/>
              <a:gd name="T31" fmla="*/ 33 h 42"/>
              <a:gd name="T32" fmla="*/ 14 w 32"/>
              <a:gd name="T33" fmla="*/ 29 h 42"/>
              <a:gd name="T34" fmla="*/ 13 w 32"/>
              <a:gd name="T35" fmla="*/ 30 h 42"/>
              <a:gd name="T36" fmla="*/ 13 w 32"/>
              <a:gd name="T37" fmla="*/ 33 h 42"/>
              <a:gd name="T38" fmla="*/ 13 w 32"/>
              <a:gd name="T39" fmla="*/ 34 h 42"/>
              <a:gd name="T40" fmla="*/ 11 w 32"/>
              <a:gd name="T41" fmla="*/ 35 h 42"/>
              <a:gd name="T42" fmla="*/ 9 w 32"/>
              <a:gd name="T43" fmla="*/ 33 h 42"/>
              <a:gd name="T44" fmla="*/ 8 w 32"/>
              <a:gd name="T45" fmla="*/ 30 h 42"/>
              <a:gd name="T46" fmla="*/ 6 w 32"/>
              <a:gd name="T47" fmla="*/ 24 h 42"/>
              <a:gd name="T48" fmla="*/ 6 w 32"/>
              <a:gd name="T49" fmla="*/ 19 h 42"/>
              <a:gd name="T50" fmla="*/ 1 w 32"/>
              <a:gd name="T51" fmla="*/ 15 h 42"/>
              <a:gd name="T52" fmla="*/ 3 w 32"/>
              <a:gd name="T53" fmla="*/ 11 h 42"/>
              <a:gd name="T54" fmla="*/ 5 w 32"/>
              <a:gd name="T55" fmla="*/ 10 h 42"/>
              <a:gd name="T56" fmla="*/ 4 w 32"/>
              <a:gd name="T57" fmla="*/ 7 h 42"/>
              <a:gd name="T58" fmla="*/ 0 w 32"/>
              <a:gd name="T59" fmla="*/ 5 h 42"/>
              <a:gd name="T60" fmla="*/ 1 w 32"/>
              <a:gd name="T61" fmla="*/ 1 h 42"/>
              <a:gd name="T62" fmla="*/ 2 w 32"/>
              <a:gd name="T63" fmla="*/ 0 h 42"/>
              <a:gd name="T64" fmla="*/ 3 w 32"/>
              <a:gd name="T65" fmla="*/ 2 h 42"/>
              <a:gd name="T66" fmla="*/ 6 w 32"/>
              <a:gd name="T67" fmla="*/ 3 h 42"/>
              <a:gd name="T68" fmla="*/ 6 w 32"/>
              <a:gd name="T69" fmla="*/ 2 h 42"/>
              <a:gd name="T70" fmla="*/ 9 w 32"/>
              <a:gd name="T71" fmla="*/ 4 h 42"/>
              <a:gd name="T72" fmla="*/ 10 w 32"/>
              <a:gd name="T73" fmla="*/ 5 h 42"/>
              <a:gd name="T74" fmla="*/ 11 w 32"/>
              <a:gd name="T75" fmla="*/ 8 h 42"/>
              <a:gd name="T76" fmla="*/ 13 w 32"/>
              <a:gd name="T77" fmla="*/ 9 h 42"/>
              <a:gd name="T78" fmla="*/ 19 w 32"/>
              <a:gd name="T79" fmla="*/ 10 h 42"/>
              <a:gd name="T80" fmla="*/ 24 w 32"/>
              <a:gd name="T81" fmla="*/ 10 h 42"/>
              <a:gd name="T82" fmla="*/ 26 w 32"/>
              <a:gd name="T83" fmla="*/ 11 h 42"/>
              <a:gd name="T84" fmla="*/ 26 w 32"/>
              <a:gd name="T85" fmla="*/ 14 h 42"/>
              <a:gd name="T86" fmla="*/ 24 w 32"/>
              <a:gd name="T87" fmla="*/ 18 h 42"/>
              <a:gd name="T88" fmla="*/ 23 w 32"/>
              <a:gd name="T89" fmla="*/ 18 h 42"/>
              <a:gd name="T90" fmla="*/ 21 w 32"/>
              <a:gd name="T91" fmla="*/ 20 h 42"/>
              <a:gd name="T92" fmla="*/ 22 w 32"/>
              <a:gd name="T93" fmla="*/ 23 h 42"/>
              <a:gd name="T94" fmla="*/ 24 w 32"/>
              <a:gd name="T95" fmla="*/ 26 h 42"/>
              <a:gd name="T96" fmla="*/ 25 w 32"/>
              <a:gd name="T97" fmla="*/ 24 h 42"/>
              <a:gd name="T98" fmla="*/ 26 w 32"/>
              <a:gd name="T99" fmla="*/ 22 h 42"/>
              <a:gd name="T100" fmla="*/ 27 w 32"/>
              <a:gd name="T101" fmla="*/ 22 h 42"/>
              <a:gd name="T102" fmla="*/ 29 w 32"/>
              <a:gd name="T103" fmla="*/ 23 h 42"/>
              <a:gd name="T104" fmla="*/ 29 w 32"/>
              <a:gd name="T105" fmla="*/ 27 h 42"/>
              <a:gd name="T106" fmla="*/ 31 w 32"/>
              <a:gd name="T107" fmla="*/ 32 h 42"/>
              <a:gd name="T108" fmla="*/ 31 w 32"/>
              <a:gd name="T109" fmla="*/ 34 h 42"/>
              <a:gd name="T110" fmla="*/ 23 w 32"/>
              <a:gd name="T111" fmla="*/ 29 h 42"/>
              <a:gd name="T112" fmla="*/ 23 w 32"/>
              <a:gd name="T113" fmla="*/ 30 h 42"/>
              <a:gd name="T114" fmla="*/ 21 w 32"/>
              <a:gd name="T115" fmla="*/ 30 h 42"/>
              <a:gd name="T116" fmla="*/ 22 w 32"/>
              <a:gd name="T117" fmla="*/ 30 h 42"/>
              <a:gd name="T118" fmla="*/ 20 w 32"/>
              <a:gd name="T119" fmla="*/ 29 h 42"/>
              <a:gd name="T120" fmla="*/ 18 w 32"/>
              <a:gd name="T121" fmla="*/ 29 h 42"/>
              <a:gd name="T122" fmla="*/ 19 w 32"/>
              <a:gd name="T123" fmla="*/ 2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 h="42">
                <a:moveTo>
                  <a:pt x="32" y="34"/>
                </a:moveTo>
                <a:cubicBezTo>
                  <a:pt x="32" y="36"/>
                  <a:pt x="32" y="36"/>
                  <a:pt x="32" y="36"/>
                </a:cubicBezTo>
                <a:cubicBezTo>
                  <a:pt x="31" y="37"/>
                  <a:pt x="31" y="37"/>
                  <a:pt x="31" y="37"/>
                </a:cubicBezTo>
                <a:cubicBezTo>
                  <a:pt x="30" y="37"/>
                  <a:pt x="30" y="37"/>
                  <a:pt x="30" y="37"/>
                </a:cubicBezTo>
                <a:cubicBezTo>
                  <a:pt x="29" y="38"/>
                  <a:pt x="29" y="38"/>
                  <a:pt x="29" y="38"/>
                </a:cubicBezTo>
                <a:cubicBezTo>
                  <a:pt x="29" y="39"/>
                  <a:pt x="29" y="39"/>
                  <a:pt x="29" y="39"/>
                </a:cubicBezTo>
                <a:cubicBezTo>
                  <a:pt x="29" y="40"/>
                  <a:pt x="29" y="40"/>
                  <a:pt x="29" y="40"/>
                </a:cubicBezTo>
                <a:cubicBezTo>
                  <a:pt x="29" y="40"/>
                  <a:pt x="29" y="40"/>
                  <a:pt x="29" y="40"/>
                </a:cubicBezTo>
                <a:cubicBezTo>
                  <a:pt x="29" y="42"/>
                  <a:pt x="29" y="42"/>
                  <a:pt x="29" y="42"/>
                </a:cubicBezTo>
                <a:cubicBezTo>
                  <a:pt x="29" y="42"/>
                  <a:pt x="29" y="42"/>
                  <a:pt x="29" y="42"/>
                </a:cubicBezTo>
                <a:cubicBezTo>
                  <a:pt x="28" y="39"/>
                  <a:pt x="28" y="39"/>
                  <a:pt x="28" y="39"/>
                </a:cubicBezTo>
                <a:cubicBezTo>
                  <a:pt x="27" y="38"/>
                  <a:pt x="27" y="38"/>
                  <a:pt x="27" y="38"/>
                </a:cubicBezTo>
                <a:cubicBezTo>
                  <a:pt x="27" y="37"/>
                  <a:pt x="27" y="37"/>
                  <a:pt x="27" y="37"/>
                </a:cubicBezTo>
                <a:cubicBezTo>
                  <a:pt x="27" y="36"/>
                  <a:pt x="27" y="36"/>
                  <a:pt x="27" y="36"/>
                </a:cubicBezTo>
                <a:cubicBezTo>
                  <a:pt x="27" y="35"/>
                  <a:pt x="27" y="35"/>
                  <a:pt x="27" y="35"/>
                </a:cubicBezTo>
                <a:cubicBezTo>
                  <a:pt x="27" y="36"/>
                  <a:pt x="27" y="36"/>
                  <a:pt x="27" y="36"/>
                </a:cubicBezTo>
                <a:cubicBezTo>
                  <a:pt x="26" y="37"/>
                  <a:pt x="26" y="37"/>
                  <a:pt x="26" y="37"/>
                </a:cubicBezTo>
                <a:cubicBezTo>
                  <a:pt x="26" y="36"/>
                  <a:pt x="26" y="36"/>
                  <a:pt x="26" y="36"/>
                </a:cubicBezTo>
                <a:cubicBezTo>
                  <a:pt x="26" y="34"/>
                  <a:pt x="26" y="34"/>
                  <a:pt x="26" y="34"/>
                </a:cubicBezTo>
                <a:cubicBezTo>
                  <a:pt x="26" y="34"/>
                  <a:pt x="26" y="34"/>
                  <a:pt x="26" y="34"/>
                </a:cubicBezTo>
                <a:cubicBezTo>
                  <a:pt x="26" y="33"/>
                  <a:pt x="26" y="33"/>
                  <a:pt x="26" y="33"/>
                </a:cubicBezTo>
                <a:cubicBezTo>
                  <a:pt x="26" y="32"/>
                  <a:pt x="26" y="32"/>
                  <a:pt x="26" y="32"/>
                </a:cubicBezTo>
                <a:cubicBezTo>
                  <a:pt x="25" y="31"/>
                  <a:pt x="25" y="31"/>
                  <a:pt x="25" y="31"/>
                </a:cubicBezTo>
                <a:cubicBezTo>
                  <a:pt x="23" y="27"/>
                  <a:pt x="23" y="27"/>
                  <a:pt x="23" y="27"/>
                </a:cubicBezTo>
                <a:cubicBezTo>
                  <a:pt x="23" y="27"/>
                  <a:pt x="23" y="27"/>
                  <a:pt x="23" y="27"/>
                </a:cubicBezTo>
                <a:cubicBezTo>
                  <a:pt x="23" y="27"/>
                  <a:pt x="23" y="27"/>
                  <a:pt x="23" y="27"/>
                </a:cubicBezTo>
                <a:cubicBezTo>
                  <a:pt x="22" y="27"/>
                  <a:pt x="22" y="27"/>
                  <a:pt x="22" y="27"/>
                </a:cubicBezTo>
                <a:cubicBezTo>
                  <a:pt x="21" y="28"/>
                  <a:pt x="21" y="28"/>
                  <a:pt x="21" y="28"/>
                </a:cubicBezTo>
                <a:cubicBezTo>
                  <a:pt x="19" y="27"/>
                  <a:pt x="19" y="27"/>
                  <a:pt x="19" y="27"/>
                </a:cubicBezTo>
                <a:cubicBezTo>
                  <a:pt x="19" y="26"/>
                  <a:pt x="19" y="26"/>
                  <a:pt x="19" y="26"/>
                </a:cubicBezTo>
                <a:cubicBezTo>
                  <a:pt x="18" y="26"/>
                  <a:pt x="18" y="26"/>
                  <a:pt x="18" y="26"/>
                </a:cubicBezTo>
                <a:cubicBezTo>
                  <a:pt x="17" y="25"/>
                  <a:pt x="17" y="25"/>
                  <a:pt x="17" y="25"/>
                </a:cubicBezTo>
                <a:cubicBezTo>
                  <a:pt x="16" y="24"/>
                  <a:pt x="16" y="24"/>
                  <a:pt x="16" y="24"/>
                </a:cubicBezTo>
                <a:cubicBezTo>
                  <a:pt x="17" y="26"/>
                  <a:pt x="17" y="26"/>
                  <a:pt x="17" y="26"/>
                </a:cubicBezTo>
                <a:cubicBezTo>
                  <a:pt x="17" y="27"/>
                  <a:pt x="17" y="27"/>
                  <a:pt x="17" y="27"/>
                </a:cubicBezTo>
                <a:cubicBezTo>
                  <a:pt x="17" y="28"/>
                  <a:pt x="17" y="28"/>
                  <a:pt x="17" y="28"/>
                </a:cubicBezTo>
                <a:cubicBezTo>
                  <a:pt x="16" y="28"/>
                  <a:pt x="16" y="28"/>
                  <a:pt x="16" y="28"/>
                </a:cubicBezTo>
                <a:cubicBezTo>
                  <a:pt x="17" y="28"/>
                  <a:pt x="17" y="28"/>
                  <a:pt x="17" y="28"/>
                </a:cubicBezTo>
                <a:cubicBezTo>
                  <a:pt x="18" y="30"/>
                  <a:pt x="18" y="30"/>
                  <a:pt x="18" y="30"/>
                </a:cubicBezTo>
                <a:cubicBezTo>
                  <a:pt x="17" y="32"/>
                  <a:pt x="17" y="32"/>
                  <a:pt x="17" y="32"/>
                </a:cubicBezTo>
                <a:cubicBezTo>
                  <a:pt x="16" y="32"/>
                  <a:pt x="16" y="32"/>
                  <a:pt x="16" y="32"/>
                </a:cubicBezTo>
                <a:cubicBezTo>
                  <a:pt x="15" y="34"/>
                  <a:pt x="15" y="34"/>
                  <a:pt x="15" y="34"/>
                </a:cubicBezTo>
                <a:cubicBezTo>
                  <a:pt x="14" y="33"/>
                  <a:pt x="14" y="33"/>
                  <a:pt x="14" y="33"/>
                </a:cubicBezTo>
                <a:cubicBezTo>
                  <a:pt x="15" y="32"/>
                  <a:pt x="15" y="32"/>
                  <a:pt x="15" y="32"/>
                </a:cubicBezTo>
                <a:cubicBezTo>
                  <a:pt x="15" y="32"/>
                  <a:pt x="15" y="32"/>
                  <a:pt x="15" y="32"/>
                </a:cubicBezTo>
                <a:cubicBezTo>
                  <a:pt x="16" y="31"/>
                  <a:pt x="16" y="31"/>
                  <a:pt x="16" y="31"/>
                </a:cubicBezTo>
                <a:cubicBezTo>
                  <a:pt x="15" y="32"/>
                  <a:pt x="15" y="32"/>
                  <a:pt x="15" y="32"/>
                </a:cubicBezTo>
                <a:cubicBezTo>
                  <a:pt x="14" y="33"/>
                  <a:pt x="14" y="33"/>
                  <a:pt x="14" y="33"/>
                </a:cubicBezTo>
                <a:cubicBezTo>
                  <a:pt x="13" y="32"/>
                  <a:pt x="13" y="32"/>
                  <a:pt x="13" y="32"/>
                </a:cubicBezTo>
                <a:cubicBezTo>
                  <a:pt x="14" y="30"/>
                  <a:pt x="14" y="30"/>
                  <a:pt x="14" y="30"/>
                </a:cubicBezTo>
                <a:cubicBezTo>
                  <a:pt x="14" y="29"/>
                  <a:pt x="14" y="29"/>
                  <a:pt x="14" y="29"/>
                </a:cubicBezTo>
                <a:cubicBezTo>
                  <a:pt x="13" y="29"/>
                  <a:pt x="13" y="29"/>
                  <a:pt x="13" y="29"/>
                </a:cubicBezTo>
                <a:cubicBezTo>
                  <a:pt x="14" y="29"/>
                  <a:pt x="14" y="29"/>
                  <a:pt x="14" y="29"/>
                </a:cubicBezTo>
                <a:cubicBezTo>
                  <a:pt x="13" y="30"/>
                  <a:pt x="13" y="30"/>
                  <a:pt x="13" y="30"/>
                </a:cubicBezTo>
                <a:cubicBezTo>
                  <a:pt x="13" y="31"/>
                  <a:pt x="13" y="31"/>
                  <a:pt x="13" y="31"/>
                </a:cubicBezTo>
                <a:cubicBezTo>
                  <a:pt x="13" y="32"/>
                  <a:pt x="13" y="32"/>
                  <a:pt x="13" y="32"/>
                </a:cubicBezTo>
                <a:cubicBezTo>
                  <a:pt x="13" y="33"/>
                  <a:pt x="13" y="33"/>
                  <a:pt x="13" y="33"/>
                </a:cubicBezTo>
                <a:cubicBezTo>
                  <a:pt x="13" y="34"/>
                  <a:pt x="13" y="34"/>
                  <a:pt x="13" y="34"/>
                </a:cubicBezTo>
                <a:cubicBezTo>
                  <a:pt x="13" y="34"/>
                  <a:pt x="13" y="34"/>
                  <a:pt x="13" y="34"/>
                </a:cubicBezTo>
                <a:cubicBezTo>
                  <a:pt x="13" y="34"/>
                  <a:pt x="13" y="34"/>
                  <a:pt x="13" y="34"/>
                </a:cubicBezTo>
                <a:cubicBezTo>
                  <a:pt x="12" y="34"/>
                  <a:pt x="12" y="34"/>
                  <a:pt x="12" y="34"/>
                </a:cubicBezTo>
                <a:cubicBezTo>
                  <a:pt x="11" y="34"/>
                  <a:pt x="11" y="34"/>
                  <a:pt x="11" y="34"/>
                </a:cubicBezTo>
                <a:cubicBezTo>
                  <a:pt x="11" y="35"/>
                  <a:pt x="11" y="35"/>
                  <a:pt x="11" y="35"/>
                </a:cubicBezTo>
                <a:cubicBezTo>
                  <a:pt x="10" y="35"/>
                  <a:pt x="10" y="35"/>
                  <a:pt x="10" y="35"/>
                </a:cubicBezTo>
                <a:cubicBezTo>
                  <a:pt x="10" y="34"/>
                  <a:pt x="10" y="34"/>
                  <a:pt x="10" y="34"/>
                </a:cubicBezTo>
                <a:cubicBezTo>
                  <a:pt x="9" y="33"/>
                  <a:pt x="9" y="33"/>
                  <a:pt x="9" y="33"/>
                </a:cubicBezTo>
                <a:cubicBezTo>
                  <a:pt x="9" y="33"/>
                  <a:pt x="9" y="33"/>
                  <a:pt x="9" y="33"/>
                </a:cubicBezTo>
                <a:cubicBezTo>
                  <a:pt x="9" y="31"/>
                  <a:pt x="9" y="31"/>
                  <a:pt x="9" y="31"/>
                </a:cubicBezTo>
                <a:cubicBezTo>
                  <a:pt x="8" y="30"/>
                  <a:pt x="8" y="30"/>
                  <a:pt x="8" y="30"/>
                </a:cubicBezTo>
                <a:cubicBezTo>
                  <a:pt x="8" y="29"/>
                  <a:pt x="8" y="29"/>
                  <a:pt x="8" y="29"/>
                </a:cubicBezTo>
                <a:cubicBezTo>
                  <a:pt x="6" y="26"/>
                  <a:pt x="6" y="26"/>
                  <a:pt x="6" y="26"/>
                </a:cubicBezTo>
                <a:cubicBezTo>
                  <a:pt x="6" y="24"/>
                  <a:pt x="6" y="24"/>
                  <a:pt x="6" y="24"/>
                </a:cubicBezTo>
                <a:cubicBezTo>
                  <a:pt x="6" y="23"/>
                  <a:pt x="6" y="23"/>
                  <a:pt x="6" y="23"/>
                </a:cubicBezTo>
                <a:cubicBezTo>
                  <a:pt x="6" y="21"/>
                  <a:pt x="6" y="21"/>
                  <a:pt x="6" y="21"/>
                </a:cubicBezTo>
                <a:cubicBezTo>
                  <a:pt x="6" y="19"/>
                  <a:pt x="6" y="19"/>
                  <a:pt x="6" y="19"/>
                </a:cubicBezTo>
                <a:cubicBezTo>
                  <a:pt x="4" y="17"/>
                  <a:pt x="4" y="17"/>
                  <a:pt x="4" y="17"/>
                </a:cubicBezTo>
                <a:cubicBezTo>
                  <a:pt x="2" y="17"/>
                  <a:pt x="2" y="17"/>
                  <a:pt x="2" y="17"/>
                </a:cubicBezTo>
                <a:cubicBezTo>
                  <a:pt x="1" y="15"/>
                  <a:pt x="1" y="15"/>
                  <a:pt x="1" y="15"/>
                </a:cubicBezTo>
                <a:cubicBezTo>
                  <a:pt x="1" y="13"/>
                  <a:pt x="1" y="13"/>
                  <a:pt x="1" y="13"/>
                </a:cubicBezTo>
                <a:cubicBezTo>
                  <a:pt x="2" y="12"/>
                  <a:pt x="2" y="12"/>
                  <a:pt x="2" y="12"/>
                </a:cubicBezTo>
                <a:cubicBezTo>
                  <a:pt x="3" y="11"/>
                  <a:pt x="3" y="11"/>
                  <a:pt x="3" y="11"/>
                </a:cubicBezTo>
                <a:cubicBezTo>
                  <a:pt x="4" y="10"/>
                  <a:pt x="4" y="10"/>
                  <a:pt x="4" y="10"/>
                </a:cubicBezTo>
                <a:cubicBezTo>
                  <a:pt x="4" y="10"/>
                  <a:pt x="4" y="10"/>
                  <a:pt x="4" y="10"/>
                </a:cubicBezTo>
                <a:cubicBezTo>
                  <a:pt x="5" y="10"/>
                  <a:pt x="5" y="10"/>
                  <a:pt x="5" y="10"/>
                </a:cubicBezTo>
                <a:cubicBezTo>
                  <a:pt x="5" y="8"/>
                  <a:pt x="5" y="8"/>
                  <a:pt x="5" y="8"/>
                </a:cubicBezTo>
                <a:cubicBezTo>
                  <a:pt x="5" y="7"/>
                  <a:pt x="5" y="7"/>
                  <a:pt x="5" y="7"/>
                </a:cubicBezTo>
                <a:cubicBezTo>
                  <a:pt x="4" y="7"/>
                  <a:pt x="4" y="7"/>
                  <a:pt x="4" y="7"/>
                </a:cubicBezTo>
                <a:cubicBezTo>
                  <a:pt x="2" y="8"/>
                  <a:pt x="2" y="8"/>
                  <a:pt x="2" y="8"/>
                </a:cubicBezTo>
                <a:cubicBezTo>
                  <a:pt x="0" y="7"/>
                  <a:pt x="0" y="7"/>
                  <a:pt x="0" y="7"/>
                </a:cubicBezTo>
                <a:cubicBezTo>
                  <a:pt x="0" y="5"/>
                  <a:pt x="0" y="5"/>
                  <a:pt x="0" y="5"/>
                </a:cubicBezTo>
                <a:cubicBezTo>
                  <a:pt x="1" y="4"/>
                  <a:pt x="1" y="4"/>
                  <a:pt x="1" y="4"/>
                </a:cubicBezTo>
                <a:cubicBezTo>
                  <a:pt x="2" y="2"/>
                  <a:pt x="2" y="2"/>
                  <a:pt x="2" y="2"/>
                </a:cubicBezTo>
                <a:cubicBezTo>
                  <a:pt x="1" y="1"/>
                  <a:pt x="1" y="1"/>
                  <a:pt x="1" y="1"/>
                </a:cubicBezTo>
                <a:cubicBezTo>
                  <a:pt x="1" y="1"/>
                  <a:pt x="1" y="1"/>
                  <a:pt x="1" y="1"/>
                </a:cubicBezTo>
                <a:cubicBezTo>
                  <a:pt x="1" y="1"/>
                  <a:pt x="1" y="1"/>
                  <a:pt x="1" y="1"/>
                </a:cubicBezTo>
                <a:cubicBezTo>
                  <a:pt x="2" y="0"/>
                  <a:pt x="2" y="0"/>
                  <a:pt x="2" y="0"/>
                </a:cubicBezTo>
                <a:cubicBezTo>
                  <a:pt x="2" y="0"/>
                  <a:pt x="2" y="0"/>
                  <a:pt x="2" y="0"/>
                </a:cubicBezTo>
                <a:cubicBezTo>
                  <a:pt x="3" y="1"/>
                  <a:pt x="3" y="1"/>
                  <a:pt x="3" y="1"/>
                </a:cubicBezTo>
                <a:cubicBezTo>
                  <a:pt x="3" y="2"/>
                  <a:pt x="3" y="2"/>
                  <a:pt x="3" y="2"/>
                </a:cubicBezTo>
                <a:cubicBezTo>
                  <a:pt x="4" y="3"/>
                  <a:pt x="4" y="3"/>
                  <a:pt x="4" y="3"/>
                </a:cubicBezTo>
                <a:cubicBezTo>
                  <a:pt x="5" y="3"/>
                  <a:pt x="5" y="3"/>
                  <a:pt x="5" y="3"/>
                </a:cubicBezTo>
                <a:cubicBezTo>
                  <a:pt x="6" y="3"/>
                  <a:pt x="6" y="3"/>
                  <a:pt x="6" y="3"/>
                </a:cubicBezTo>
                <a:cubicBezTo>
                  <a:pt x="5" y="3"/>
                  <a:pt x="5" y="3"/>
                  <a:pt x="5" y="3"/>
                </a:cubicBezTo>
                <a:cubicBezTo>
                  <a:pt x="5" y="2"/>
                  <a:pt x="5" y="2"/>
                  <a:pt x="5" y="2"/>
                </a:cubicBezTo>
                <a:cubicBezTo>
                  <a:pt x="6" y="2"/>
                  <a:pt x="6" y="2"/>
                  <a:pt x="6" y="2"/>
                </a:cubicBezTo>
                <a:cubicBezTo>
                  <a:pt x="7" y="3"/>
                  <a:pt x="7" y="3"/>
                  <a:pt x="7" y="3"/>
                </a:cubicBezTo>
                <a:cubicBezTo>
                  <a:pt x="7" y="3"/>
                  <a:pt x="7" y="3"/>
                  <a:pt x="7" y="3"/>
                </a:cubicBezTo>
                <a:cubicBezTo>
                  <a:pt x="9" y="4"/>
                  <a:pt x="9" y="4"/>
                  <a:pt x="9" y="4"/>
                </a:cubicBezTo>
                <a:cubicBezTo>
                  <a:pt x="9" y="3"/>
                  <a:pt x="9" y="3"/>
                  <a:pt x="9" y="3"/>
                </a:cubicBezTo>
                <a:cubicBezTo>
                  <a:pt x="9" y="3"/>
                  <a:pt x="9" y="3"/>
                  <a:pt x="9" y="3"/>
                </a:cubicBezTo>
                <a:cubicBezTo>
                  <a:pt x="10" y="5"/>
                  <a:pt x="10" y="5"/>
                  <a:pt x="10" y="5"/>
                </a:cubicBezTo>
                <a:cubicBezTo>
                  <a:pt x="10" y="6"/>
                  <a:pt x="10" y="6"/>
                  <a:pt x="10" y="6"/>
                </a:cubicBezTo>
                <a:cubicBezTo>
                  <a:pt x="11" y="7"/>
                  <a:pt x="11" y="7"/>
                  <a:pt x="11" y="7"/>
                </a:cubicBezTo>
                <a:cubicBezTo>
                  <a:pt x="11" y="8"/>
                  <a:pt x="11" y="8"/>
                  <a:pt x="11" y="8"/>
                </a:cubicBezTo>
                <a:cubicBezTo>
                  <a:pt x="11" y="9"/>
                  <a:pt x="11" y="9"/>
                  <a:pt x="11" y="9"/>
                </a:cubicBezTo>
                <a:cubicBezTo>
                  <a:pt x="12" y="10"/>
                  <a:pt x="12" y="10"/>
                  <a:pt x="12" y="10"/>
                </a:cubicBezTo>
                <a:cubicBezTo>
                  <a:pt x="13" y="9"/>
                  <a:pt x="13" y="9"/>
                  <a:pt x="13" y="9"/>
                </a:cubicBezTo>
                <a:cubicBezTo>
                  <a:pt x="15" y="10"/>
                  <a:pt x="15" y="10"/>
                  <a:pt x="15" y="10"/>
                </a:cubicBezTo>
                <a:cubicBezTo>
                  <a:pt x="16" y="10"/>
                  <a:pt x="16" y="10"/>
                  <a:pt x="16" y="10"/>
                </a:cubicBezTo>
                <a:cubicBezTo>
                  <a:pt x="19" y="10"/>
                  <a:pt x="19" y="10"/>
                  <a:pt x="19" y="10"/>
                </a:cubicBezTo>
                <a:cubicBezTo>
                  <a:pt x="21" y="10"/>
                  <a:pt x="21" y="10"/>
                  <a:pt x="21" y="10"/>
                </a:cubicBezTo>
                <a:cubicBezTo>
                  <a:pt x="23" y="10"/>
                  <a:pt x="23" y="10"/>
                  <a:pt x="23" y="10"/>
                </a:cubicBezTo>
                <a:cubicBezTo>
                  <a:pt x="24" y="10"/>
                  <a:pt x="24" y="10"/>
                  <a:pt x="24" y="10"/>
                </a:cubicBezTo>
                <a:cubicBezTo>
                  <a:pt x="24" y="10"/>
                  <a:pt x="24" y="10"/>
                  <a:pt x="24" y="10"/>
                </a:cubicBezTo>
                <a:cubicBezTo>
                  <a:pt x="25" y="10"/>
                  <a:pt x="25" y="10"/>
                  <a:pt x="25" y="10"/>
                </a:cubicBezTo>
                <a:cubicBezTo>
                  <a:pt x="26" y="11"/>
                  <a:pt x="26" y="11"/>
                  <a:pt x="26" y="11"/>
                </a:cubicBezTo>
                <a:cubicBezTo>
                  <a:pt x="27" y="11"/>
                  <a:pt x="27" y="11"/>
                  <a:pt x="27" y="11"/>
                </a:cubicBezTo>
                <a:cubicBezTo>
                  <a:pt x="26" y="13"/>
                  <a:pt x="26" y="13"/>
                  <a:pt x="26" y="13"/>
                </a:cubicBezTo>
                <a:cubicBezTo>
                  <a:pt x="26" y="14"/>
                  <a:pt x="26" y="14"/>
                  <a:pt x="26" y="14"/>
                </a:cubicBezTo>
                <a:cubicBezTo>
                  <a:pt x="25" y="16"/>
                  <a:pt x="25" y="16"/>
                  <a:pt x="25" y="16"/>
                </a:cubicBezTo>
                <a:cubicBezTo>
                  <a:pt x="24" y="17"/>
                  <a:pt x="24" y="17"/>
                  <a:pt x="24" y="17"/>
                </a:cubicBezTo>
                <a:cubicBezTo>
                  <a:pt x="24" y="18"/>
                  <a:pt x="24" y="18"/>
                  <a:pt x="24" y="18"/>
                </a:cubicBezTo>
                <a:cubicBezTo>
                  <a:pt x="24" y="18"/>
                  <a:pt x="24" y="18"/>
                  <a:pt x="24" y="18"/>
                </a:cubicBezTo>
                <a:cubicBezTo>
                  <a:pt x="23" y="18"/>
                  <a:pt x="23" y="18"/>
                  <a:pt x="23" y="18"/>
                </a:cubicBezTo>
                <a:cubicBezTo>
                  <a:pt x="23" y="18"/>
                  <a:pt x="23" y="18"/>
                  <a:pt x="23" y="18"/>
                </a:cubicBezTo>
                <a:cubicBezTo>
                  <a:pt x="22" y="19"/>
                  <a:pt x="22" y="19"/>
                  <a:pt x="22" y="19"/>
                </a:cubicBezTo>
                <a:cubicBezTo>
                  <a:pt x="21" y="19"/>
                  <a:pt x="21" y="19"/>
                  <a:pt x="21" y="19"/>
                </a:cubicBezTo>
                <a:cubicBezTo>
                  <a:pt x="21" y="20"/>
                  <a:pt x="21" y="20"/>
                  <a:pt x="21" y="20"/>
                </a:cubicBezTo>
                <a:cubicBezTo>
                  <a:pt x="21" y="21"/>
                  <a:pt x="21" y="21"/>
                  <a:pt x="21" y="21"/>
                </a:cubicBezTo>
                <a:cubicBezTo>
                  <a:pt x="21" y="22"/>
                  <a:pt x="21" y="22"/>
                  <a:pt x="21" y="22"/>
                </a:cubicBezTo>
                <a:cubicBezTo>
                  <a:pt x="22" y="23"/>
                  <a:pt x="22" y="23"/>
                  <a:pt x="22" y="23"/>
                </a:cubicBezTo>
                <a:cubicBezTo>
                  <a:pt x="22" y="23"/>
                  <a:pt x="22" y="23"/>
                  <a:pt x="22" y="23"/>
                </a:cubicBezTo>
                <a:cubicBezTo>
                  <a:pt x="23" y="24"/>
                  <a:pt x="23" y="24"/>
                  <a:pt x="23" y="24"/>
                </a:cubicBezTo>
                <a:cubicBezTo>
                  <a:pt x="24" y="26"/>
                  <a:pt x="24" y="26"/>
                  <a:pt x="24" y="26"/>
                </a:cubicBezTo>
                <a:cubicBezTo>
                  <a:pt x="25" y="26"/>
                  <a:pt x="25" y="26"/>
                  <a:pt x="25" y="26"/>
                </a:cubicBezTo>
                <a:cubicBezTo>
                  <a:pt x="25" y="25"/>
                  <a:pt x="25" y="25"/>
                  <a:pt x="25" y="25"/>
                </a:cubicBezTo>
                <a:cubicBezTo>
                  <a:pt x="25" y="24"/>
                  <a:pt x="25" y="24"/>
                  <a:pt x="25" y="24"/>
                </a:cubicBezTo>
                <a:cubicBezTo>
                  <a:pt x="25" y="23"/>
                  <a:pt x="25" y="23"/>
                  <a:pt x="25" y="23"/>
                </a:cubicBezTo>
                <a:cubicBezTo>
                  <a:pt x="25" y="23"/>
                  <a:pt x="25" y="23"/>
                  <a:pt x="25" y="23"/>
                </a:cubicBezTo>
                <a:cubicBezTo>
                  <a:pt x="26" y="22"/>
                  <a:pt x="26" y="22"/>
                  <a:pt x="26" y="22"/>
                </a:cubicBezTo>
                <a:cubicBezTo>
                  <a:pt x="25" y="22"/>
                  <a:pt x="25" y="22"/>
                  <a:pt x="25" y="22"/>
                </a:cubicBezTo>
                <a:cubicBezTo>
                  <a:pt x="26" y="21"/>
                  <a:pt x="26" y="21"/>
                  <a:pt x="26" y="21"/>
                </a:cubicBezTo>
                <a:cubicBezTo>
                  <a:pt x="27" y="22"/>
                  <a:pt x="27" y="22"/>
                  <a:pt x="27" y="22"/>
                </a:cubicBezTo>
                <a:cubicBezTo>
                  <a:pt x="28" y="22"/>
                  <a:pt x="28" y="22"/>
                  <a:pt x="28" y="22"/>
                </a:cubicBezTo>
                <a:cubicBezTo>
                  <a:pt x="28" y="22"/>
                  <a:pt x="28" y="22"/>
                  <a:pt x="28" y="22"/>
                </a:cubicBezTo>
                <a:cubicBezTo>
                  <a:pt x="29" y="23"/>
                  <a:pt x="29" y="23"/>
                  <a:pt x="29" y="23"/>
                </a:cubicBezTo>
                <a:cubicBezTo>
                  <a:pt x="29" y="25"/>
                  <a:pt x="29" y="25"/>
                  <a:pt x="29" y="25"/>
                </a:cubicBezTo>
                <a:cubicBezTo>
                  <a:pt x="29" y="26"/>
                  <a:pt x="29" y="26"/>
                  <a:pt x="29" y="26"/>
                </a:cubicBezTo>
                <a:cubicBezTo>
                  <a:pt x="29" y="27"/>
                  <a:pt x="29" y="27"/>
                  <a:pt x="29" y="27"/>
                </a:cubicBezTo>
                <a:cubicBezTo>
                  <a:pt x="30" y="30"/>
                  <a:pt x="30" y="30"/>
                  <a:pt x="30" y="30"/>
                </a:cubicBezTo>
                <a:cubicBezTo>
                  <a:pt x="30" y="31"/>
                  <a:pt x="30" y="31"/>
                  <a:pt x="30" y="31"/>
                </a:cubicBezTo>
                <a:cubicBezTo>
                  <a:pt x="31" y="32"/>
                  <a:pt x="31" y="32"/>
                  <a:pt x="31" y="32"/>
                </a:cubicBezTo>
                <a:cubicBezTo>
                  <a:pt x="31" y="33"/>
                  <a:pt x="31" y="33"/>
                  <a:pt x="31" y="33"/>
                </a:cubicBezTo>
                <a:cubicBezTo>
                  <a:pt x="31" y="33"/>
                  <a:pt x="31" y="33"/>
                  <a:pt x="31" y="33"/>
                </a:cubicBezTo>
                <a:cubicBezTo>
                  <a:pt x="31" y="34"/>
                  <a:pt x="31" y="34"/>
                  <a:pt x="31" y="34"/>
                </a:cubicBezTo>
                <a:cubicBezTo>
                  <a:pt x="32" y="34"/>
                  <a:pt x="32" y="34"/>
                  <a:pt x="32" y="34"/>
                </a:cubicBezTo>
                <a:close/>
                <a:moveTo>
                  <a:pt x="23" y="29"/>
                </a:moveTo>
                <a:cubicBezTo>
                  <a:pt x="23" y="29"/>
                  <a:pt x="23" y="29"/>
                  <a:pt x="23" y="29"/>
                </a:cubicBezTo>
                <a:cubicBezTo>
                  <a:pt x="22" y="29"/>
                  <a:pt x="22" y="29"/>
                  <a:pt x="22" y="29"/>
                </a:cubicBezTo>
                <a:cubicBezTo>
                  <a:pt x="22" y="30"/>
                  <a:pt x="22" y="30"/>
                  <a:pt x="22" y="30"/>
                </a:cubicBezTo>
                <a:cubicBezTo>
                  <a:pt x="23" y="30"/>
                  <a:pt x="23" y="30"/>
                  <a:pt x="23" y="30"/>
                </a:cubicBezTo>
                <a:cubicBezTo>
                  <a:pt x="23" y="29"/>
                  <a:pt x="23" y="29"/>
                  <a:pt x="23" y="29"/>
                </a:cubicBezTo>
                <a:close/>
                <a:moveTo>
                  <a:pt x="20" y="29"/>
                </a:moveTo>
                <a:cubicBezTo>
                  <a:pt x="21" y="30"/>
                  <a:pt x="21" y="30"/>
                  <a:pt x="21" y="30"/>
                </a:cubicBezTo>
                <a:cubicBezTo>
                  <a:pt x="20" y="31"/>
                  <a:pt x="20" y="31"/>
                  <a:pt x="20" y="31"/>
                </a:cubicBezTo>
                <a:cubicBezTo>
                  <a:pt x="21" y="32"/>
                  <a:pt x="21" y="32"/>
                  <a:pt x="21" y="32"/>
                </a:cubicBezTo>
                <a:cubicBezTo>
                  <a:pt x="22" y="30"/>
                  <a:pt x="22" y="30"/>
                  <a:pt x="22" y="30"/>
                </a:cubicBezTo>
                <a:cubicBezTo>
                  <a:pt x="21" y="29"/>
                  <a:pt x="21" y="29"/>
                  <a:pt x="21" y="29"/>
                </a:cubicBezTo>
                <a:cubicBezTo>
                  <a:pt x="20" y="28"/>
                  <a:pt x="20" y="28"/>
                  <a:pt x="20" y="28"/>
                </a:cubicBezTo>
                <a:cubicBezTo>
                  <a:pt x="20" y="28"/>
                  <a:pt x="20" y="29"/>
                  <a:pt x="20" y="29"/>
                </a:cubicBezTo>
                <a:close/>
                <a:moveTo>
                  <a:pt x="19" y="28"/>
                </a:moveTo>
                <a:cubicBezTo>
                  <a:pt x="17" y="28"/>
                  <a:pt x="17" y="28"/>
                  <a:pt x="17" y="28"/>
                </a:cubicBezTo>
                <a:cubicBezTo>
                  <a:pt x="18" y="29"/>
                  <a:pt x="18" y="29"/>
                  <a:pt x="18" y="29"/>
                </a:cubicBezTo>
                <a:cubicBezTo>
                  <a:pt x="18" y="31"/>
                  <a:pt x="18" y="31"/>
                  <a:pt x="18" y="31"/>
                </a:cubicBezTo>
                <a:cubicBezTo>
                  <a:pt x="20" y="31"/>
                  <a:pt x="20" y="31"/>
                  <a:pt x="20" y="31"/>
                </a:cubicBezTo>
                <a:cubicBezTo>
                  <a:pt x="19" y="29"/>
                  <a:pt x="19" y="29"/>
                  <a:pt x="19" y="29"/>
                </a:cubicBezTo>
                <a:lnTo>
                  <a:pt x="19" y="28"/>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9" name="Freeform 37">
            <a:extLst>
              <a:ext uri="{FF2B5EF4-FFF2-40B4-BE49-F238E27FC236}">
                <a16:creationId xmlns:a16="http://schemas.microsoft.com/office/drawing/2014/main" id="{11CF9471-B7F1-C599-0021-134AD647234B}"/>
              </a:ext>
            </a:extLst>
          </p:cNvPr>
          <p:cNvSpPr>
            <a:spLocks/>
          </p:cNvSpPr>
          <p:nvPr userDrawn="1"/>
        </p:nvSpPr>
        <p:spPr bwMode="auto">
          <a:xfrm>
            <a:off x="18616987" y="7508161"/>
            <a:ext cx="187314" cy="111126"/>
          </a:xfrm>
          <a:custGeom>
            <a:avLst/>
            <a:gdLst>
              <a:gd name="T0" fmla="*/ 0 w 59"/>
              <a:gd name="T1" fmla="*/ 16 h 35"/>
              <a:gd name="T2" fmla="*/ 3 w 59"/>
              <a:gd name="T3" fmla="*/ 13 h 35"/>
              <a:gd name="T4" fmla="*/ 9 w 59"/>
              <a:gd name="T5" fmla="*/ 7 h 35"/>
              <a:gd name="T6" fmla="*/ 19 w 59"/>
              <a:gd name="T7" fmla="*/ 0 h 35"/>
              <a:gd name="T8" fmla="*/ 25 w 59"/>
              <a:gd name="T9" fmla="*/ 0 h 35"/>
              <a:gd name="T10" fmla="*/ 28 w 59"/>
              <a:gd name="T11" fmla="*/ 3 h 35"/>
              <a:gd name="T12" fmla="*/ 37 w 59"/>
              <a:gd name="T13" fmla="*/ 3 h 35"/>
              <a:gd name="T14" fmla="*/ 41 w 59"/>
              <a:gd name="T15" fmla="*/ 3 h 35"/>
              <a:gd name="T16" fmla="*/ 44 w 59"/>
              <a:gd name="T17" fmla="*/ 3 h 35"/>
              <a:gd name="T18" fmla="*/ 50 w 59"/>
              <a:gd name="T19" fmla="*/ 3 h 35"/>
              <a:gd name="T20" fmla="*/ 53 w 59"/>
              <a:gd name="T21" fmla="*/ 7 h 35"/>
              <a:gd name="T22" fmla="*/ 53 w 59"/>
              <a:gd name="T23" fmla="*/ 7 h 35"/>
              <a:gd name="T24" fmla="*/ 53 w 59"/>
              <a:gd name="T25" fmla="*/ 13 h 35"/>
              <a:gd name="T26" fmla="*/ 53 w 59"/>
              <a:gd name="T27" fmla="*/ 16 h 35"/>
              <a:gd name="T28" fmla="*/ 59 w 59"/>
              <a:gd name="T29" fmla="*/ 19 h 35"/>
              <a:gd name="T30" fmla="*/ 59 w 59"/>
              <a:gd name="T31" fmla="*/ 25 h 35"/>
              <a:gd name="T32" fmla="*/ 59 w 59"/>
              <a:gd name="T33" fmla="*/ 28 h 35"/>
              <a:gd name="T34" fmla="*/ 50 w 59"/>
              <a:gd name="T35" fmla="*/ 28 h 35"/>
              <a:gd name="T36" fmla="*/ 47 w 59"/>
              <a:gd name="T37" fmla="*/ 28 h 35"/>
              <a:gd name="T38" fmla="*/ 37 w 59"/>
              <a:gd name="T39" fmla="*/ 32 h 35"/>
              <a:gd name="T40" fmla="*/ 34 w 59"/>
              <a:gd name="T41" fmla="*/ 28 h 35"/>
              <a:gd name="T42" fmla="*/ 31 w 59"/>
              <a:gd name="T43" fmla="*/ 32 h 35"/>
              <a:gd name="T44" fmla="*/ 28 w 59"/>
              <a:gd name="T45" fmla="*/ 35 h 35"/>
              <a:gd name="T46" fmla="*/ 22 w 59"/>
              <a:gd name="T47" fmla="*/ 35 h 35"/>
              <a:gd name="T48" fmla="*/ 12 w 59"/>
              <a:gd name="T49" fmla="*/ 28 h 35"/>
              <a:gd name="T50" fmla="*/ 9 w 59"/>
              <a:gd name="T51" fmla="*/ 32 h 35"/>
              <a:gd name="T52" fmla="*/ 3 w 59"/>
              <a:gd name="T53" fmla="*/ 28 h 35"/>
              <a:gd name="T54" fmla="*/ 0 w 59"/>
              <a:gd name="T55" fmla="*/ 25 h 35"/>
              <a:gd name="T56" fmla="*/ 0 w 59"/>
              <a:gd name="T57" fmla="*/ 19 h 35"/>
              <a:gd name="T58" fmla="*/ 0 w 59"/>
              <a:gd name="T59" fmla="*/ 1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9" h="35">
                <a:moveTo>
                  <a:pt x="0" y="16"/>
                </a:moveTo>
                <a:lnTo>
                  <a:pt x="3" y="13"/>
                </a:lnTo>
                <a:lnTo>
                  <a:pt x="9" y="7"/>
                </a:lnTo>
                <a:lnTo>
                  <a:pt x="19" y="0"/>
                </a:lnTo>
                <a:lnTo>
                  <a:pt x="25" y="0"/>
                </a:lnTo>
                <a:lnTo>
                  <a:pt x="28" y="3"/>
                </a:lnTo>
                <a:lnTo>
                  <a:pt x="37" y="3"/>
                </a:lnTo>
                <a:lnTo>
                  <a:pt x="41" y="3"/>
                </a:lnTo>
                <a:lnTo>
                  <a:pt x="44" y="3"/>
                </a:lnTo>
                <a:lnTo>
                  <a:pt x="50" y="3"/>
                </a:lnTo>
                <a:lnTo>
                  <a:pt x="53" y="7"/>
                </a:lnTo>
                <a:lnTo>
                  <a:pt x="53" y="7"/>
                </a:lnTo>
                <a:lnTo>
                  <a:pt x="53" y="13"/>
                </a:lnTo>
                <a:lnTo>
                  <a:pt x="53" y="16"/>
                </a:lnTo>
                <a:lnTo>
                  <a:pt x="59" y="19"/>
                </a:lnTo>
                <a:lnTo>
                  <a:pt x="59" y="25"/>
                </a:lnTo>
                <a:lnTo>
                  <a:pt x="59" y="28"/>
                </a:lnTo>
                <a:lnTo>
                  <a:pt x="50" y="28"/>
                </a:lnTo>
                <a:lnTo>
                  <a:pt x="47" y="28"/>
                </a:lnTo>
                <a:lnTo>
                  <a:pt x="37" y="32"/>
                </a:lnTo>
                <a:lnTo>
                  <a:pt x="34" y="28"/>
                </a:lnTo>
                <a:lnTo>
                  <a:pt x="31" y="32"/>
                </a:lnTo>
                <a:lnTo>
                  <a:pt x="28" y="35"/>
                </a:lnTo>
                <a:lnTo>
                  <a:pt x="22" y="35"/>
                </a:lnTo>
                <a:lnTo>
                  <a:pt x="12" y="28"/>
                </a:lnTo>
                <a:lnTo>
                  <a:pt x="9" y="32"/>
                </a:lnTo>
                <a:lnTo>
                  <a:pt x="3" y="28"/>
                </a:lnTo>
                <a:lnTo>
                  <a:pt x="0" y="25"/>
                </a:lnTo>
                <a:lnTo>
                  <a:pt x="0" y="19"/>
                </a:lnTo>
                <a:lnTo>
                  <a:pt x="0" y="16"/>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0" name="Freeform 38">
            <a:extLst>
              <a:ext uri="{FF2B5EF4-FFF2-40B4-BE49-F238E27FC236}">
                <a16:creationId xmlns:a16="http://schemas.microsoft.com/office/drawing/2014/main" id="{F14DD383-CD13-C224-A9E6-3BFF9D6B5D46}"/>
              </a:ext>
            </a:extLst>
          </p:cNvPr>
          <p:cNvSpPr>
            <a:spLocks/>
          </p:cNvSpPr>
          <p:nvPr userDrawn="1"/>
        </p:nvSpPr>
        <p:spPr bwMode="auto">
          <a:xfrm>
            <a:off x="18061401" y="7358932"/>
            <a:ext cx="514317" cy="279400"/>
          </a:xfrm>
          <a:custGeom>
            <a:avLst/>
            <a:gdLst>
              <a:gd name="T0" fmla="*/ 9 w 162"/>
              <a:gd name="T1" fmla="*/ 0 h 88"/>
              <a:gd name="T2" fmla="*/ 16 w 162"/>
              <a:gd name="T3" fmla="*/ 7 h 88"/>
              <a:gd name="T4" fmla="*/ 22 w 162"/>
              <a:gd name="T5" fmla="*/ 7 h 88"/>
              <a:gd name="T6" fmla="*/ 28 w 162"/>
              <a:gd name="T7" fmla="*/ 4 h 88"/>
              <a:gd name="T8" fmla="*/ 37 w 162"/>
              <a:gd name="T9" fmla="*/ 10 h 88"/>
              <a:gd name="T10" fmla="*/ 47 w 162"/>
              <a:gd name="T11" fmla="*/ 10 h 88"/>
              <a:gd name="T12" fmla="*/ 56 w 162"/>
              <a:gd name="T13" fmla="*/ 16 h 88"/>
              <a:gd name="T14" fmla="*/ 62 w 162"/>
              <a:gd name="T15" fmla="*/ 22 h 88"/>
              <a:gd name="T16" fmla="*/ 66 w 162"/>
              <a:gd name="T17" fmla="*/ 29 h 88"/>
              <a:gd name="T18" fmla="*/ 69 w 162"/>
              <a:gd name="T19" fmla="*/ 22 h 88"/>
              <a:gd name="T20" fmla="*/ 72 w 162"/>
              <a:gd name="T21" fmla="*/ 22 h 88"/>
              <a:gd name="T22" fmla="*/ 81 w 162"/>
              <a:gd name="T23" fmla="*/ 25 h 88"/>
              <a:gd name="T24" fmla="*/ 87 w 162"/>
              <a:gd name="T25" fmla="*/ 35 h 88"/>
              <a:gd name="T26" fmla="*/ 97 w 162"/>
              <a:gd name="T27" fmla="*/ 35 h 88"/>
              <a:gd name="T28" fmla="*/ 100 w 162"/>
              <a:gd name="T29" fmla="*/ 47 h 88"/>
              <a:gd name="T30" fmla="*/ 109 w 162"/>
              <a:gd name="T31" fmla="*/ 47 h 88"/>
              <a:gd name="T32" fmla="*/ 116 w 162"/>
              <a:gd name="T33" fmla="*/ 44 h 88"/>
              <a:gd name="T34" fmla="*/ 125 w 162"/>
              <a:gd name="T35" fmla="*/ 41 h 88"/>
              <a:gd name="T36" fmla="*/ 131 w 162"/>
              <a:gd name="T37" fmla="*/ 50 h 88"/>
              <a:gd name="T38" fmla="*/ 141 w 162"/>
              <a:gd name="T39" fmla="*/ 57 h 88"/>
              <a:gd name="T40" fmla="*/ 150 w 162"/>
              <a:gd name="T41" fmla="*/ 57 h 88"/>
              <a:gd name="T42" fmla="*/ 156 w 162"/>
              <a:gd name="T43" fmla="*/ 54 h 88"/>
              <a:gd name="T44" fmla="*/ 162 w 162"/>
              <a:gd name="T45" fmla="*/ 60 h 88"/>
              <a:gd name="T46" fmla="*/ 162 w 162"/>
              <a:gd name="T47" fmla="*/ 75 h 88"/>
              <a:gd name="T48" fmla="*/ 150 w 162"/>
              <a:gd name="T49" fmla="*/ 88 h 88"/>
              <a:gd name="T50" fmla="*/ 137 w 162"/>
              <a:gd name="T51" fmla="*/ 85 h 88"/>
              <a:gd name="T52" fmla="*/ 116 w 162"/>
              <a:gd name="T53" fmla="*/ 79 h 88"/>
              <a:gd name="T54" fmla="*/ 100 w 162"/>
              <a:gd name="T55" fmla="*/ 79 h 88"/>
              <a:gd name="T56" fmla="*/ 94 w 162"/>
              <a:gd name="T57" fmla="*/ 69 h 88"/>
              <a:gd name="T58" fmla="*/ 75 w 162"/>
              <a:gd name="T59" fmla="*/ 69 h 88"/>
              <a:gd name="T60" fmla="*/ 62 w 162"/>
              <a:gd name="T61" fmla="*/ 69 h 88"/>
              <a:gd name="T62" fmla="*/ 50 w 162"/>
              <a:gd name="T63" fmla="*/ 63 h 88"/>
              <a:gd name="T64" fmla="*/ 37 w 162"/>
              <a:gd name="T65" fmla="*/ 60 h 88"/>
              <a:gd name="T66" fmla="*/ 22 w 162"/>
              <a:gd name="T67" fmla="*/ 47 h 88"/>
              <a:gd name="T68" fmla="*/ 12 w 162"/>
              <a:gd name="T69" fmla="*/ 41 h 88"/>
              <a:gd name="T70" fmla="*/ 6 w 162"/>
              <a:gd name="T71" fmla="*/ 38 h 88"/>
              <a:gd name="T72" fmla="*/ 0 w 162"/>
              <a:gd name="T73" fmla="*/ 35 h 88"/>
              <a:gd name="T74" fmla="*/ 6 w 162"/>
              <a:gd name="T75" fmla="*/ 19 h 88"/>
              <a:gd name="T76" fmla="*/ 6 w 162"/>
              <a:gd name="T77" fmla="*/ 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88">
                <a:moveTo>
                  <a:pt x="6" y="4"/>
                </a:moveTo>
                <a:lnTo>
                  <a:pt x="9" y="0"/>
                </a:lnTo>
                <a:lnTo>
                  <a:pt x="16" y="4"/>
                </a:lnTo>
                <a:lnTo>
                  <a:pt x="16" y="7"/>
                </a:lnTo>
                <a:lnTo>
                  <a:pt x="19" y="7"/>
                </a:lnTo>
                <a:lnTo>
                  <a:pt x="22" y="7"/>
                </a:lnTo>
                <a:lnTo>
                  <a:pt x="25" y="4"/>
                </a:lnTo>
                <a:lnTo>
                  <a:pt x="28" y="4"/>
                </a:lnTo>
                <a:lnTo>
                  <a:pt x="37" y="7"/>
                </a:lnTo>
                <a:lnTo>
                  <a:pt x="37" y="10"/>
                </a:lnTo>
                <a:lnTo>
                  <a:pt x="44" y="10"/>
                </a:lnTo>
                <a:lnTo>
                  <a:pt x="47" y="10"/>
                </a:lnTo>
                <a:lnTo>
                  <a:pt x="53" y="16"/>
                </a:lnTo>
                <a:lnTo>
                  <a:pt x="56" y="16"/>
                </a:lnTo>
                <a:lnTo>
                  <a:pt x="59" y="19"/>
                </a:lnTo>
                <a:lnTo>
                  <a:pt x="62" y="22"/>
                </a:lnTo>
                <a:lnTo>
                  <a:pt x="66" y="25"/>
                </a:lnTo>
                <a:lnTo>
                  <a:pt x="66" y="29"/>
                </a:lnTo>
                <a:lnTo>
                  <a:pt x="69" y="29"/>
                </a:lnTo>
                <a:lnTo>
                  <a:pt x="69" y="22"/>
                </a:lnTo>
                <a:lnTo>
                  <a:pt x="72" y="22"/>
                </a:lnTo>
                <a:lnTo>
                  <a:pt x="72" y="22"/>
                </a:lnTo>
                <a:lnTo>
                  <a:pt x="78" y="22"/>
                </a:lnTo>
                <a:lnTo>
                  <a:pt x="81" y="25"/>
                </a:lnTo>
                <a:lnTo>
                  <a:pt x="81" y="32"/>
                </a:lnTo>
                <a:lnTo>
                  <a:pt x="87" y="35"/>
                </a:lnTo>
                <a:lnTo>
                  <a:pt x="94" y="35"/>
                </a:lnTo>
                <a:lnTo>
                  <a:pt x="97" y="35"/>
                </a:lnTo>
                <a:lnTo>
                  <a:pt x="97" y="41"/>
                </a:lnTo>
                <a:lnTo>
                  <a:pt x="100" y="47"/>
                </a:lnTo>
                <a:lnTo>
                  <a:pt x="103" y="47"/>
                </a:lnTo>
                <a:lnTo>
                  <a:pt x="109" y="47"/>
                </a:lnTo>
                <a:lnTo>
                  <a:pt x="109" y="47"/>
                </a:lnTo>
                <a:lnTo>
                  <a:pt x="116" y="44"/>
                </a:lnTo>
                <a:lnTo>
                  <a:pt x="119" y="41"/>
                </a:lnTo>
                <a:lnTo>
                  <a:pt x="125" y="41"/>
                </a:lnTo>
                <a:lnTo>
                  <a:pt x="131" y="44"/>
                </a:lnTo>
                <a:lnTo>
                  <a:pt x="131" y="50"/>
                </a:lnTo>
                <a:lnTo>
                  <a:pt x="137" y="50"/>
                </a:lnTo>
                <a:lnTo>
                  <a:pt x="141" y="57"/>
                </a:lnTo>
                <a:lnTo>
                  <a:pt x="144" y="57"/>
                </a:lnTo>
                <a:lnTo>
                  <a:pt x="150" y="57"/>
                </a:lnTo>
                <a:lnTo>
                  <a:pt x="150" y="57"/>
                </a:lnTo>
                <a:lnTo>
                  <a:pt x="156" y="54"/>
                </a:lnTo>
                <a:lnTo>
                  <a:pt x="159" y="54"/>
                </a:lnTo>
                <a:lnTo>
                  <a:pt x="162" y="60"/>
                </a:lnTo>
                <a:lnTo>
                  <a:pt x="159" y="69"/>
                </a:lnTo>
                <a:lnTo>
                  <a:pt x="162" y="75"/>
                </a:lnTo>
                <a:lnTo>
                  <a:pt x="162" y="85"/>
                </a:lnTo>
                <a:lnTo>
                  <a:pt x="150" y="88"/>
                </a:lnTo>
                <a:lnTo>
                  <a:pt x="144" y="85"/>
                </a:lnTo>
                <a:lnTo>
                  <a:pt x="137" y="85"/>
                </a:lnTo>
                <a:lnTo>
                  <a:pt x="122" y="79"/>
                </a:lnTo>
                <a:lnTo>
                  <a:pt x="116" y="79"/>
                </a:lnTo>
                <a:lnTo>
                  <a:pt x="112" y="82"/>
                </a:lnTo>
                <a:lnTo>
                  <a:pt x="100" y="79"/>
                </a:lnTo>
                <a:lnTo>
                  <a:pt x="97" y="75"/>
                </a:lnTo>
                <a:lnTo>
                  <a:pt x="94" y="69"/>
                </a:lnTo>
                <a:lnTo>
                  <a:pt x="84" y="66"/>
                </a:lnTo>
                <a:lnTo>
                  <a:pt x="75" y="69"/>
                </a:lnTo>
                <a:lnTo>
                  <a:pt x="72" y="66"/>
                </a:lnTo>
                <a:lnTo>
                  <a:pt x="62" y="69"/>
                </a:lnTo>
                <a:lnTo>
                  <a:pt x="56" y="63"/>
                </a:lnTo>
                <a:lnTo>
                  <a:pt x="50" y="63"/>
                </a:lnTo>
                <a:lnTo>
                  <a:pt x="47" y="60"/>
                </a:lnTo>
                <a:lnTo>
                  <a:pt x="37" y="60"/>
                </a:lnTo>
                <a:lnTo>
                  <a:pt x="31" y="50"/>
                </a:lnTo>
                <a:lnTo>
                  <a:pt x="22" y="47"/>
                </a:lnTo>
                <a:lnTo>
                  <a:pt x="16" y="44"/>
                </a:lnTo>
                <a:lnTo>
                  <a:pt x="12" y="41"/>
                </a:lnTo>
                <a:lnTo>
                  <a:pt x="9" y="41"/>
                </a:lnTo>
                <a:lnTo>
                  <a:pt x="6" y="38"/>
                </a:lnTo>
                <a:lnTo>
                  <a:pt x="3" y="38"/>
                </a:lnTo>
                <a:lnTo>
                  <a:pt x="0" y="35"/>
                </a:lnTo>
                <a:lnTo>
                  <a:pt x="6" y="25"/>
                </a:lnTo>
                <a:lnTo>
                  <a:pt x="6" y="19"/>
                </a:lnTo>
                <a:lnTo>
                  <a:pt x="9" y="10"/>
                </a:lnTo>
                <a:lnTo>
                  <a:pt x="6" y="4"/>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1" name="Freeform 39">
            <a:extLst>
              <a:ext uri="{FF2B5EF4-FFF2-40B4-BE49-F238E27FC236}">
                <a16:creationId xmlns:a16="http://schemas.microsoft.com/office/drawing/2014/main" id="{E1CD081F-6D7B-1DAE-9FD8-3557668C3584}"/>
              </a:ext>
            </a:extLst>
          </p:cNvPr>
          <p:cNvSpPr>
            <a:spLocks/>
          </p:cNvSpPr>
          <p:nvPr userDrawn="1"/>
        </p:nvSpPr>
        <p:spPr bwMode="auto">
          <a:xfrm>
            <a:off x="16880371" y="6904911"/>
            <a:ext cx="863544" cy="952502"/>
          </a:xfrm>
          <a:custGeom>
            <a:avLst/>
            <a:gdLst>
              <a:gd name="T0" fmla="*/ 163 w 272"/>
              <a:gd name="T1" fmla="*/ 287 h 300"/>
              <a:gd name="T2" fmla="*/ 184 w 272"/>
              <a:gd name="T3" fmla="*/ 284 h 300"/>
              <a:gd name="T4" fmla="*/ 197 w 272"/>
              <a:gd name="T5" fmla="*/ 281 h 300"/>
              <a:gd name="T6" fmla="*/ 206 w 272"/>
              <a:gd name="T7" fmla="*/ 278 h 300"/>
              <a:gd name="T8" fmla="*/ 200 w 272"/>
              <a:gd name="T9" fmla="*/ 253 h 300"/>
              <a:gd name="T10" fmla="*/ 184 w 272"/>
              <a:gd name="T11" fmla="*/ 240 h 300"/>
              <a:gd name="T12" fmla="*/ 178 w 272"/>
              <a:gd name="T13" fmla="*/ 231 h 300"/>
              <a:gd name="T14" fmla="*/ 172 w 272"/>
              <a:gd name="T15" fmla="*/ 215 h 300"/>
              <a:gd name="T16" fmla="*/ 184 w 272"/>
              <a:gd name="T17" fmla="*/ 203 h 300"/>
              <a:gd name="T18" fmla="*/ 194 w 272"/>
              <a:gd name="T19" fmla="*/ 206 h 300"/>
              <a:gd name="T20" fmla="*/ 222 w 272"/>
              <a:gd name="T21" fmla="*/ 184 h 300"/>
              <a:gd name="T22" fmla="*/ 241 w 272"/>
              <a:gd name="T23" fmla="*/ 159 h 300"/>
              <a:gd name="T24" fmla="*/ 247 w 272"/>
              <a:gd name="T25" fmla="*/ 147 h 300"/>
              <a:gd name="T26" fmla="*/ 256 w 272"/>
              <a:gd name="T27" fmla="*/ 125 h 300"/>
              <a:gd name="T28" fmla="*/ 263 w 272"/>
              <a:gd name="T29" fmla="*/ 109 h 300"/>
              <a:gd name="T30" fmla="*/ 272 w 272"/>
              <a:gd name="T31" fmla="*/ 96 h 300"/>
              <a:gd name="T32" fmla="*/ 253 w 272"/>
              <a:gd name="T33" fmla="*/ 90 h 300"/>
              <a:gd name="T34" fmla="*/ 231 w 272"/>
              <a:gd name="T35" fmla="*/ 75 h 300"/>
              <a:gd name="T36" fmla="*/ 228 w 272"/>
              <a:gd name="T37" fmla="*/ 46 h 300"/>
              <a:gd name="T38" fmla="*/ 228 w 272"/>
              <a:gd name="T39" fmla="*/ 34 h 300"/>
              <a:gd name="T40" fmla="*/ 213 w 272"/>
              <a:gd name="T41" fmla="*/ 18 h 300"/>
              <a:gd name="T42" fmla="*/ 203 w 272"/>
              <a:gd name="T43" fmla="*/ 9 h 300"/>
              <a:gd name="T44" fmla="*/ 200 w 272"/>
              <a:gd name="T45" fmla="*/ 0 h 300"/>
              <a:gd name="T46" fmla="*/ 181 w 272"/>
              <a:gd name="T47" fmla="*/ 12 h 300"/>
              <a:gd name="T48" fmla="*/ 175 w 272"/>
              <a:gd name="T49" fmla="*/ 46 h 300"/>
              <a:gd name="T50" fmla="*/ 169 w 272"/>
              <a:gd name="T51" fmla="*/ 65 h 300"/>
              <a:gd name="T52" fmla="*/ 163 w 272"/>
              <a:gd name="T53" fmla="*/ 71 h 300"/>
              <a:gd name="T54" fmla="*/ 156 w 272"/>
              <a:gd name="T55" fmla="*/ 84 h 300"/>
              <a:gd name="T56" fmla="*/ 153 w 272"/>
              <a:gd name="T57" fmla="*/ 103 h 300"/>
              <a:gd name="T58" fmla="*/ 144 w 272"/>
              <a:gd name="T59" fmla="*/ 112 h 300"/>
              <a:gd name="T60" fmla="*/ 134 w 272"/>
              <a:gd name="T61" fmla="*/ 115 h 300"/>
              <a:gd name="T62" fmla="*/ 125 w 272"/>
              <a:gd name="T63" fmla="*/ 125 h 300"/>
              <a:gd name="T64" fmla="*/ 109 w 272"/>
              <a:gd name="T65" fmla="*/ 131 h 300"/>
              <a:gd name="T66" fmla="*/ 100 w 272"/>
              <a:gd name="T67" fmla="*/ 140 h 300"/>
              <a:gd name="T68" fmla="*/ 103 w 272"/>
              <a:gd name="T69" fmla="*/ 159 h 300"/>
              <a:gd name="T70" fmla="*/ 81 w 272"/>
              <a:gd name="T71" fmla="*/ 168 h 300"/>
              <a:gd name="T72" fmla="*/ 56 w 272"/>
              <a:gd name="T73" fmla="*/ 172 h 300"/>
              <a:gd name="T74" fmla="*/ 0 w 272"/>
              <a:gd name="T75" fmla="*/ 165 h 300"/>
              <a:gd name="T76" fmla="*/ 22 w 272"/>
              <a:gd name="T77" fmla="*/ 193 h 300"/>
              <a:gd name="T78" fmla="*/ 34 w 272"/>
              <a:gd name="T79" fmla="*/ 200 h 300"/>
              <a:gd name="T80" fmla="*/ 41 w 272"/>
              <a:gd name="T81" fmla="*/ 215 h 300"/>
              <a:gd name="T82" fmla="*/ 53 w 272"/>
              <a:gd name="T83" fmla="*/ 231 h 300"/>
              <a:gd name="T84" fmla="*/ 34 w 272"/>
              <a:gd name="T85" fmla="*/ 234 h 300"/>
              <a:gd name="T86" fmla="*/ 22 w 272"/>
              <a:gd name="T87" fmla="*/ 250 h 300"/>
              <a:gd name="T88" fmla="*/ 25 w 272"/>
              <a:gd name="T89" fmla="*/ 265 h 300"/>
              <a:gd name="T90" fmla="*/ 37 w 272"/>
              <a:gd name="T91" fmla="*/ 265 h 300"/>
              <a:gd name="T92" fmla="*/ 47 w 272"/>
              <a:gd name="T93" fmla="*/ 262 h 300"/>
              <a:gd name="T94" fmla="*/ 56 w 272"/>
              <a:gd name="T95" fmla="*/ 262 h 300"/>
              <a:gd name="T96" fmla="*/ 66 w 272"/>
              <a:gd name="T97" fmla="*/ 262 h 300"/>
              <a:gd name="T98" fmla="*/ 72 w 272"/>
              <a:gd name="T99" fmla="*/ 262 h 300"/>
              <a:gd name="T100" fmla="*/ 87 w 272"/>
              <a:gd name="T101" fmla="*/ 259 h 300"/>
              <a:gd name="T102" fmla="*/ 97 w 272"/>
              <a:gd name="T103" fmla="*/ 259 h 300"/>
              <a:gd name="T104" fmla="*/ 116 w 272"/>
              <a:gd name="T105" fmla="*/ 259 h 300"/>
              <a:gd name="T106" fmla="*/ 122 w 272"/>
              <a:gd name="T107" fmla="*/ 269 h 300"/>
              <a:gd name="T108" fmla="*/ 128 w 272"/>
              <a:gd name="T109" fmla="*/ 269 h 300"/>
              <a:gd name="T110" fmla="*/ 134 w 272"/>
              <a:gd name="T111" fmla="*/ 284 h 300"/>
              <a:gd name="T112" fmla="*/ 137 w 272"/>
              <a:gd name="T113" fmla="*/ 290 h 300"/>
              <a:gd name="T114" fmla="*/ 153 w 272"/>
              <a:gd name="T115" fmla="*/ 29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2" h="300">
                <a:moveTo>
                  <a:pt x="156" y="297"/>
                </a:moveTo>
                <a:lnTo>
                  <a:pt x="156" y="290"/>
                </a:lnTo>
                <a:lnTo>
                  <a:pt x="159" y="290"/>
                </a:lnTo>
                <a:lnTo>
                  <a:pt x="163" y="287"/>
                </a:lnTo>
                <a:lnTo>
                  <a:pt x="166" y="284"/>
                </a:lnTo>
                <a:lnTo>
                  <a:pt x="169" y="284"/>
                </a:lnTo>
                <a:lnTo>
                  <a:pt x="172" y="281"/>
                </a:lnTo>
                <a:lnTo>
                  <a:pt x="184" y="284"/>
                </a:lnTo>
                <a:lnTo>
                  <a:pt x="194" y="281"/>
                </a:lnTo>
                <a:lnTo>
                  <a:pt x="194" y="278"/>
                </a:lnTo>
                <a:lnTo>
                  <a:pt x="200" y="278"/>
                </a:lnTo>
                <a:lnTo>
                  <a:pt x="197" y="281"/>
                </a:lnTo>
                <a:lnTo>
                  <a:pt x="200" y="281"/>
                </a:lnTo>
                <a:lnTo>
                  <a:pt x="203" y="281"/>
                </a:lnTo>
                <a:lnTo>
                  <a:pt x="206" y="278"/>
                </a:lnTo>
                <a:lnTo>
                  <a:pt x="206" y="278"/>
                </a:lnTo>
                <a:lnTo>
                  <a:pt x="206" y="275"/>
                </a:lnTo>
                <a:lnTo>
                  <a:pt x="203" y="262"/>
                </a:lnTo>
                <a:lnTo>
                  <a:pt x="197" y="256"/>
                </a:lnTo>
                <a:lnTo>
                  <a:pt x="200" y="253"/>
                </a:lnTo>
                <a:lnTo>
                  <a:pt x="197" y="250"/>
                </a:lnTo>
                <a:lnTo>
                  <a:pt x="194" y="253"/>
                </a:lnTo>
                <a:lnTo>
                  <a:pt x="188" y="247"/>
                </a:lnTo>
                <a:lnTo>
                  <a:pt x="184" y="240"/>
                </a:lnTo>
                <a:lnTo>
                  <a:pt x="184" y="234"/>
                </a:lnTo>
                <a:lnTo>
                  <a:pt x="181" y="228"/>
                </a:lnTo>
                <a:lnTo>
                  <a:pt x="178" y="228"/>
                </a:lnTo>
                <a:lnTo>
                  <a:pt x="178" y="231"/>
                </a:lnTo>
                <a:lnTo>
                  <a:pt x="172" y="228"/>
                </a:lnTo>
                <a:lnTo>
                  <a:pt x="169" y="228"/>
                </a:lnTo>
                <a:lnTo>
                  <a:pt x="169" y="225"/>
                </a:lnTo>
                <a:lnTo>
                  <a:pt x="172" y="215"/>
                </a:lnTo>
                <a:lnTo>
                  <a:pt x="175" y="215"/>
                </a:lnTo>
                <a:lnTo>
                  <a:pt x="181" y="206"/>
                </a:lnTo>
                <a:lnTo>
                  <a:pt x="181" y="203"/>
                </a:lnTo>
                <a:lnTo>
                  <a:pt x="184" y="203"/>
                </a:lnTo>
                <a:lnTo>
                  <a:pt x="188" y="200"/>
                </a:lnTo>
                <a:lnTo>
                  <a:pt x="191" y="203"/>
                </a:lnTo>
                <a:lnTo>
                  <a:pt x="194" y="206"/>
                </a:lnTo>
                <a:lnTo>
                  <a:pt x="194" y="206"/>
                </a:lnTo>
                <a:lnTo>
                  <a:pt x="203" y="203"/>
                </a:lnTo>
                <a:lnTo>
                  <a:pt x="213" y="203"/>
                </a:lnTo>
                <a:lnTo>
                  <a:pt x="219" y="197"/>
                </a:lnTo>
                <a:lnTo>
                  <a:pt x="222" y="184"/>
                </a:lnTo>
                <a:lnTo>
                  <a:pt x="231" y="178"/>
                </a:lnTo>
                <a:lnTo>
                  <a:pt x="234" y="172"/>
                </a:lnTo>
                <a:lnTo>
                  <a:pt x="234" y="165"/>
                </a:lnTo>
                <a:lnTo>
                  <a:pt x="241" y="159"/>
                </a:lnTo>
                <a:lnTo>
                  <a:pt x="247" y="156"/>
                </a:lnTo>
                <a:lnTo>
                  <a:pt x="247" y="153"/>
                </a:lnTo>
                <a:lnTo>
                  <a:pt x="247" y="150"/>
                </a:lnTo>
                <a:lnTo>
                  <a:pt x="247" y="147"/>
                </a:lnTo>
                <a:lnTo>
                  <a:pt x="250" y="140"/>
                </a:lnTo>
                <a:lnTo>
                  <a:pt x="253" y="137"/>
                </a:lnTo>
                <a:lnTo>
                  <a:pt x="253" y="134"/>
                </a:lnTo>
                <a:lnTo>
                  <a:pt x="256" y="125"/>
                </a:lnTo>
                <a:lnTo>
                  <a:pt x="253" y="115"/>
                </a:lnTo>
                <a:lnTo>
                  <a:pt x="253" y="115"/>
                </a:lnTo>
                <a:lnTo>
                  <a:pt x="259" y="109"/>
                </a:lnTo>
                <a:lnTo>
                  <a:pt x="263" y="109"/>
                </a:lnTo>
                <a:lnTo>
                  <a:pt x="266" y="106"/>
                </a:lnTo>
                <a:lnTo>
                  <a:pt x="269" y="106"/>
                </a:lnTo>
                <a:lnTo>
                  <a:pt x="272" y="103"/>
                </a:lnTo>
                <a:lnTo>
                  <a:pt x="272" y="96"/>
                </a:lnTo>
                <a:lnTo>
                  <a:pt x="266" y="96"/>
                </a:lnTo>
                <a:lnTo>
                  <a:pt x="263" y="96"/>
                </a:lnTo>
                <a:lnTo>
                  <a:pt x="256" y="96"/>
                </a:lnTo>
                <a:lnTo>
                  <a:pt x="253" y="90"/>
                </a:lnTo>
                <a:lnTo>
                  <a:pt x="247" y="87"/>
                </a:lnTo>
                <a:lnTo>
                  <a:pt x="241" y="87"/>
                </a:lnTo>
                <a:lnTo>
                  <a:pt x="231" y="81"/>
                </a:lnTo>
                <a:lnTo>
                  <a:pt x="231" y="75"/>
                </a:lnTo>
                <a:lnTo>
                  <a:pt x="228" y="62"/>
                </a:lnTo>
                <a:lnTo>
                  <a:pt x="225" y="56"/>
                </a:lnTo>
                <a:lnTo>
                  <a:pt x="225" y="50"/>
                </a:lnTo>
                <a:lnTo>
                  <a:pt x="228" y="46"/>
                </a:lnTo>
                <a:lnTo>
                  <a:pt x="228" y="43"/>
                </a:lnTo>
                <a:lnTo>
                  <a:pt x="234" y="40"/>
                </a:lnTo>
                <a:lnTo>
                  <a:pt x="234" y="37"/>
                </a:lnTo>
                <a:lnTo>
                  <a:pt x="228" y="34"/>
                </a:lnTo>
                <a:lnTo>
                  <a:pt x="228" y="31"/>
                </a:lnTo>
                <a:lnTo>
                  <a:pt x="222" y="28"/>
                </a:lnTo>
                <a:lnTo>
                  <a:pt x="216" y="21"/>
                </a:lnTo>
                <a:lnTo>
                  <a:pt x="213" y="18"/>
                </a:lnTo>
                <a:lnTo>
                  <a:pt x="209" y="18"/>
                </a:lnTo>
                <a:lnTo>
                  <a:pt x="206" y="21"/>
                </a:lnTo>
                <a:lnTo>
                  <a:pt x="203" y="18"/>
                </a:lnTo>
                <a:lnTo>
                  <a:pt x="203" y="9"/>
                </a:lnTo>
                <a:lnTo>
                  <a:pt x="213" y="3"/>
                </a:lnTo>
                <a:lnTo>
                  <a:pt x="209" y="0"/>
                </a:lnTo>
                <a:lnTo>
                  <a:pt x="206" y="0"/>
                </a:lnTo>
                <a:lnTo>
                  <a:pt x="200" y="0"/>
                </a:lnTo>
                <a:lnTo>
                  <a:pt x="194" y="3"/>
                </a:lnTo>
                <a:lnTo>
                  <a:pt x="188" y="6"/>
                </a:lnTo>
                <a:lnTo>
                  <a:pt x="184" y="6"/>
                </a:lnTo>
                <a:lnTo>
                  <a:pt x="181" y="12"/>
                </a:lnTo>
                <a:lnTo>
                  <a:pt x="178" y="15"/>
                </a:lnTo>
                <a:lnTo>
                  <a:pt x="184" y="28"/>
                </a:lnTo>
                <a:lnTo>
                  <a:pt x="184" y="34"/>
                </a:lnTo>
                <a:lnTo>
                  <a:pt x="175" y="46"/>
                </a:lnTo>
                <a:lnTo>
                  <a:pt x="181" y="53"/>
                </a:lnTo>
                <a:lnTo>
                  <a:pt x="181" y="59"/>
                </a:lnTo>
                <a:lnTo>
                  <a:pt x="175" y="65"/>
                </a:lnTo>
                <a:lnTo>
                  <a:pt x="169" y="65"/>
                </a:lnTo>
                <a:lnTo>
                  <a:pt x="163" y="62"/>
                </a:lnTo>
                <a:lnTo>
                  <a:pt x="156" y="65"/>
                </a:lnTo>
                <a:lnTo>
                  <a:pt x="159" y="71"/>
                </a:lnTo>
                <a:lnTo>
                  <a:pt x="163" y="71"/>
                </a:lnTo>
                <a:lnTo>
                  <a:pt x="166" y="78"/>
                </a:lnTo>
                <a:lnTo>
                  <a:pt x="166" y="81"/>
                </a:lnTo>
                <a:lnTo>
                  <a:pt x="159" y="84"/>
                </a:lnTo>
                <a:lnTo>
                  <a:pt x="156" y="84"/>
                </a:lnTo>
                <a:lnTo>
                  <a:pt x="153" y="87"/>
                </a:lnTo>
                <a:lnTo>
                  <a:pt x="153" y="93"/>
                </a:lnTo>
                <a:lnTo>
                  <a:pt x="153" y="100"/>
                </a:lnTo>
                <a:lnTo>
                  <a:pt x="153" y="103"/>
                </a:lnTo>
                <a:lnTo>
                  <a:pt x="150" y="103"/>
                </a:lnTo>
                <a:lnTo>
                  <a:pt x="153" y="112"/>
                </a:lnTo>
                <a:lnTo>
                  <a:pt x="147" y="118"/>
                </a:lnTo>
                <a:lnTo>
                  <a:pt x="144" y="112"/>
                </a:lnTo>
                <a:lnTo>
                  <a:pt x="141" y="112"/>
                </a:lnTo>
                <a:lnTo>
                  <a:pt x="141" y="115"/>
                </a:lnTo>
                <a:lnTo>
                  <a:pt x="137" y="115"/>
                </a:lnTo>
                <a:lnTo>
                  <a:pt x="134" y="115"/>
                </a:lnTo>
                <a:lnTo>
                  <a:pt x="131" y="115"/>
                </a:lnTo>
                <a:lnTo>
                  <a:pt x="128" y="118"/>
                </a:lnTo>
                <a:lnTo>
                  <a:pt x="122" y="122"/>
                </a:lnTo>
                <a:lnTo>
                  <a:pt x="125" y="125"/>
                </a:lnTo>
                <a:lnTo>
                  <a:pt x="122" y="128"/>
                </a:lnTo>
                <a:lnTo>
                  <a:pt x="116" y="131"/>
                </a:lnTo>
                <a:lnTo>
                  <a:pt x="112" y="128"/>
                </a:lnTo>
                <a:lnTo>
                  <a:pt x="109" y="131"/>
                </a:lnTo>
                <a:lnTo>
                  <a:pt x="106" y="131"/>
                </a:lnTo>
                <a:lnTo>
                  <a:pt x="106" y="134"/>
                </a:lnTo>
                <a:lnTo>
                  <a:pt x="103" y="137"/>
                </a:lnTo>
                <a:lnTo>
                  <a:pt x="100" y="140"/>
                </a:lnTo>
                <a:lnTo>
                  <a:pt x="100" y="147"/>
                </a:lnTo>
                <a:lnTo>
                  <a:pt x="100" y="153"/>
                </a:lnTo>
                <a:lnTo>
                  <a:pt x="100" y="156"/>
                </a:lnTo>
                <a:lnTo>
                  <a:pt x="103" y="159"/>
                </a:lnTo>
                <a:lnTo>
                  <a:pt x="100" y="162"/>
                </a:lnTo>
                <a:lnTo>
                  <a:pt x="94" y="165"/>
                </a:lnTo>
                <a:lnTo>
                  <a:pt x="87" y="165"/>
                </a:lnTo>
                <a:lnTo>
                  <a:pt x="81" y="168"/>
                </a:lnTo>
                <a:lnTo>
                  <a:pt x="69" y="168"/>
                </a:lnTo>
                <a:lnTo>
                  <a:pt x="62" y="168"/>
                </a:lnTo>
                <a:lnTo>
                  <a:pt x="62" y="172"/>
                </a:lnTo>
                <a:lnTo>
                  <a:pt x="56" y="172"/>
                </a:lnTo>
                <a:lnTo>
                  <a:pt x="47" y="175"/>
                </a:lnTo>
                <a:lnTo>
                  <a:pt x="25" y="175"/>
                </a:lnTo>
                <a:lnTo>
                  <a:pt x="0" y="165"/>
                </a:lnTo>
                <a:lnTo>
                  <a:pt x="0" y="165"/>
                </a:lnTo>
                <a:lnTo>
                  <a:pt x="9" y="181"/>
                </a:lnTo>
                <a:lnTo>
                  <a:pt x="12" y="184"/>
                </a:lnTo>
                <a:lnTo>
                  <a:pt x="16" y="190"/>
                </a:lnTo>
                <a:lnTo>
                  <a:pt x="22" y="193"/>
                </a:lnTo>
                <a:lnTo>
                  <a:pt x="22" y="193"/>
                </a:lnTo>
                <a:lnTo>
                  <a:pt x="28" y="193"/>
                </a:lnTo>
                <a:lnTo>
                  <a:pt x="34" y="197"/>
                </a:lnTo>
                <a:lnTo>
                  <a:pt x="34" y="200"/>
                </a:lnTo>
                <a:lnTo>
                  <a:pt x="37" y="200"/>
                </a:lnTo>
                <a:lnTo>
                  <a:pt x="37" y="206"/>
                </a:lnTo>
                <a:lnTo>
                  <a:pt x="41" y="209"/>
                </a:lnTo>
                <a:lnTo>
                  <a:pt x="41" y="215"/>
                </a:lnTo>
                <a:lnTo>
                  <a:pt x="41" y="218"/>
                </a:lnTo>
                <a:lnTo>
                  <a:pt x="47" y="218"/>
                </a:lnTo>
                <a:lnTo>
                  <a:pt x="53" y="222"/>
                </a:lnTo>
                <a:lnTo>
                  <a:pt x="53" y="231"/>
                </a:lnTo>
                <a:lnTo>
                  <a:pt x="50" y="234"/>
                </a:lnTo>
                <a:lnTo>
                  <a:pt x="44" y="231"/>
                </a:lnTo>
                <a:lnTo>
                  <a:pt x="34" y="234"/>
                </a:lnTo>
                <a:lnTo>
                  <a:pt x="34" y="234"/>
                </a:lnTo>
                <a:lnTo>
                  <a:pt x="28" y="237"/>
                </a:lnTo>
                <a:lnTo>
                  <a:pt x="25" y="240"/>
                </a:lnTo>
                <a:lnTo>
                  <a:pt x="25" y="247"/>
                </a:lnTo>
                <a:lnTo>
                  <a:pt x="22" y="250"/>
                </a:lnTo>
                <a:lnTo>
                  <a:pt x="25" y="253"/>
                </a:lnTo>
                <a:lnTo>
                  <a:pt x="25" y="262"/>
                </a:lnTo>
                <a:lnTo>
                  <a:pt x="25" y="265"/>
                </a:lnTo>
                <a:lnTo>
                  <a:pt x="25" y="265"/>
                </a:lnTo>
                <a:lnTo>
                  <a:pt x="25" y="269"/>
                </a:lnTo>
                <a:lnTo>
                  <a:pt x="28" y="269"/>
                </a:lnTo>
                <a:lnTo>
                  <a:pt x="34" y="265"/>
                </a:lnTo>
                <a:lnTo>
                  <a:pt x="37" y="265"/>
                </a:lnTo>
                <a:lnTo>
                  <a:pt x="37" y="265"/>
                </a:lnTo>
                <a:lnTo>
                  <a:pt x="41" y="265"/>
                </a:lnTo>
                <a:lnTo>
                  <a:pt x="44" y="262"/>
                </a:lnTo>
                <a:lnTo>
                  <a:pt x="47" y="262"/>
                </a:lnTo>
                <a:lnTo>
                  <a:pt x="50" y="262"/>
                </a:lnTo>
                <a:lnTo>
                  <a:pt x="53" y="262"/>
                </a:lnTo>
                <a:lnTo>
                  <a:pt x="53" y="262"/>
                </a:lnTo>
                <a:lnTo>
                  <a:pt x="56" y="262"/>
                </a:lnTo>
                <a:lnTo>
                  <a:pt x="56" y="262"/>
                </a:lnTo>
                <a:lnTo>
                  <a:pt x="59" y="259"/>
                </a:lnTo>
                <a:lnTo>
                  <a:pt x="62" y="262"/>
                </a:lnTo>
                <a:lnTo>
                  <a:pt x="66" y="262"/>
                </a:lnTo>
                <a:lnTo>
                  <a:pt x="66" y="259"/>
                </a:lnTo>
                <a:lnTo>
                  <a:pt x="69" y="259"/>
                </a:lnTo>
                <a:lnTo>
                  <a:pt x="69" y="262"/>
                </a:lnTo>
                <a:lnTo>
                  <a:pt x="72" y="262"/>
                </a:lnTo>
                <a:lnTo>
                  <a:pt x="75" y="265"/>
                </a:lnTo>
                <a:lnTo>
                  <a:pt x="78" y="265"/>
                </a:lnTo>
                <a:lnTo>
                  <a:pt x="81" y="259"/>
                </a:lnTo>
                <a:lnTo>
                  <a:pt x="87" y="259"/>
                </a:lnTo>
                <a:lnTo>
                  <a:pt x="91" y="262"/>
                </a:lnTo>
                <a:lnTo>
                  <a:pt x="94" y="259"/>
                </a:lnTo>
                <a:lnTo>
                  <a:pt x="97" y="259"/>
                </a:lnTo>
                <a:lnTo>
                  <a:pt x="97" y="259"/>
                </a:lnTo>
                <a:lnTo>
                  <a:pt x="100" y="259"/>
                </a:lnTo>
                <a:lnTo>
                  <a:pt x="103" y="259"/>
                </a:lnTo>
                <a:lnTo>
                  <a:pt x="109" y="259"/>
                </a:lnTo>
                <a:lnTo>
                  <a:pt x="116" y="259"/>
                </a:lnTo>
                <a:lnTo>
                  <a:pt x="119" y="262"/>
                </a:lnTo>
                <a:lnTo>
                  <a:pt x="122" y="265"/>
                </a:lnTo>
                <a:lnTo>
                  <a:pt x="122" y="269"/>
                </a:lnTo>
                <a:lnTo>
                  <a:pt x="122" y="269"/>
                </a:lnTo>
                <a:lnTo>
                  <a:pt x="119" y="269"/>
                </a:lnTo>
                <a:lnTo>
                  <a:pt x="119" y="272"/>
                </a:lnTo>
                <a:lnTo>
                  <a:pt x="122" y="272"/>
                </a:lnTo>
                <a:lnTo>
                  <a:pt x="128" y="269"/>
                </a:lnTo>
                <a:lnTo>
                  <a:pt x="128" y="272"/>
                </a:lnTo>
                <a:lnTo>
                  <a:pt x="134" y="278"/>
                </a:lnTo>
                <a:lnTo>
                  <a:pt x="134" y="284"/>
                </a:lnTo>
                <a:lnTo>
                  <a:pt x="134" y="284"/>
                </a:lnTo>
                <a:lnTo>
                  <a:pt x="134" y="287"/>
                </a:lnTo>
                <a:lnTo>
                  <a:pt x="134" y="290"/>
                </a:lnTo>
                <a:lnTo>
                  <a:pt x="134" y="290"/>
                </a:lnTo>
                <a:lnTo>
                  <a:pt x="137" y="290"/>
                </a:lnTo>
                <a:lnTo>
                  <a:pt x="137" y="294"/>
                </a:lnTo>
                <a:lnTo>
                  <a:pt x="141" y="294"/>
                </a:lnTo>
                <a:lnTo>
                  <a:pt x="147" y="294"/>
                </a:lnTo>
                <a:lnTo>
                  <a:pt x="153" y="297"/>
                </a:lnTo>
                <a:lnTo>
                  <a:pt x="153" y="300"/>
                </a:lnTo>
                <a:lnTo>
                  <a:pt x="156" y="297"/>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2" name="Freeform 40">
            <a:extLst>
              <a:ext uri="{FF2B5EF4-FFF2-40B4-BE49-F238E27FC236}">
                <a16:creationId xmlns:a16="http://schemas.microsoft.com/office/drawing/2014/main" id="{EF75F18B-48DB-3DA4-661D-37CB0987743A}"/>
              </a:ext>
            </a:extLst>
          </p:cNvPr>
          <p:cNvSpPr>
            <a:spLocks/>
          </p:cNvSpPr>
          <p:nvPr userDrawn="1"/>
        </p:nvSpPr>
        <p:spPr bwMode="auto">
          <a:xfrm>
            <a:off x="17524857" y="6854113"/>
            <a:ext cx="457170" cy="377826"/>
          </a:xfrm>
          <a:custGeom>
            <a:avLst/>
            <a:gdLst>
              <a:gd name="T0" fmla="*/ 72 w 144"/>
              <a:gd name="T1" fmla="*/ 116 h 119"/>
              <a:gd name="T2" fmla="*/ 81 w 144"/>
              <a:gd name="T3" fmla="*/ 100 h 119"/>
              <a:gd name="T4" fmla="*/ 91 w 144"/>
              <a:gd name="T5" fmla="*/ 97 h 119"/>
              <a:gd name="T6" fmla="*/ 103 w 144"/>
              <a:gd name="T7" fmla="*/ 103 h 119"/>
              <a:gd name="T8" fmla="*/ 116 w 144"/>
              <a:gd name="T9" fmla="*/ 103 h 119"/>
              <a:gd name="T10" fmla="*/ 122 w 144"/>
              <a:gd name="T11" fmla="*/ 106 h 119"/>
              <a:gd name="T12" fmla="*/ 138 w 144"/>
              <a:gd name="T13" fmla="*/ 106 h 119"/>
              <a:gd name="T14" fmla="*/ 141 w 144"/>
              <a:gd name="T15" fmla="*/ 109 h 119"/>
              <a:gd name="T16" fmla="*/ 141 w 144"/>
              <a:gd name="T17" fmla="*/ 100 h 119"/>
              <a:gd name="T18" fmla="*/ 135 w 144"/>
              <a:gd name="T19" fmla="*/ 91 h 119"/>
              <a:gd name="T20" fmla="*/ 131 w 144"/>
              <a:gd name="T21" fmla="*/ 72 h 119"/>
              <a:gd name="T22" fmla="*/ 122 w 144"/>
              <a:gd name="T23" fmla="*/ 62 h 119"/>
              <a:gd name="T24" fmla="*/ 113 w 144"/>
              <a:gd name="T25" fmla="*/ 47 h 119"/>
              <a:gd name="T26" fmla="*/ 100 w 144"/>
              <a:gd name="T27" fmla="*/ 41 h 119"/>
              <a:gd name="T28" fmla="*/ 94 w 144"/>
              <a:gd name="T29" fmla="*/ 34 h 119"/>
              <a:gd name="T30" fmla="*/ 78 w 144"/>
              <a:gd name="T31" fmla="*/ 34 h 119"/>
              <a:gd name="T32" fmla="*/ 72 w 144"/>
              <a:gd name="T33" fmla="*/ 31 h 119"/>
              <a:gd name="T34" fmla="*/ 69 w 144"/>
              <a:gd name="T35" fmla="*/ 22 h 119"/>
              <a:gd name="T36" fmla="*/ 56 w 144"/>
              <a:gd name="T37" fmla="*/ 3 h 119"/>
              <a:gd name="T38" fmla="*/ 50 w 144"/>
              <a:gd name="T39" fmla="*/ 0 h 119"/>
              <a:gd name="T40" fmla="*/ 47 w 144"/>
              <a:gd name="T41" fmla="*/ 3 h 119"/>
              <a:gd name="T42" fmla="*/ 41 w 144"/>
              <a:gd name="T43" fmla="*/ 3 h 119"/>
              <a:gd name="T44" fmla="*/ 35 w 144"/>
              <a:gd name="T45" fmla="*/ 0 h 119"/>
              <a:gd name="T46" fmla="*/ 35 w 144"/>
              <a:gd name="T47" fmla="*/ 3 h 119"/>
              <a:gd name="T48" fmla="*/ 22 w 144"/>
              <a:gd name="T49" fmla="*/ 12 h 119"/>
              <a:gd name="T50" fmla="*/ 10 w 144"/>
              <a:gd name="T51" fmla="*/ 19 h 119"/>
              <a:gd name="T52" fmla="*/ 0 w 144"/>
              <a:gd name="T53" fmla="*/ 34 h 119"/>
              <a:gd name="T54" fmla="*/ 6 w 144"/>
              <a:gd name="T55" fmla="*/ 34 h 119"/>
              <a:gd name="T56" fmla="*/ 13 w 144"/>
              <a:gd name="T57" fmla="*/ 37 h 119"/>
              <a:gd name="T58" fmla="*/ 25 w 144"/>
              <a:gd name="T59" fmla="*/ 47 h 119"/>
              <a:gd name="T60" fmla="*/ 31 w 144"/>
              <a:gd name="T61" fmla="*/ 53 h 119"/>
              <a:gd name="T62" fmla="*/ 25 w 144"/>
              <a:gd name="T63" fmla="*/ 59 h 119"/>
              <a:gd name="T64" fmla="*/ 22 w 144"/>
              <a:gd name="T65" fmla="*/ 66 h 119"/>
              <a:gd name="T66" fmla="*/ 25 w 144"/>
              <a:gd name="T67" fmla="*/ 78 h 119"/>
              <a:gd name="T68" fmla="*/ 28 w 144"/>
              <a:gd name="T69" fmla="*/ 97 h 119"/>
              <a:gd name="T70" fmla="*/ 44 w 144"/>
              <a:gd name="T71" fmla="*/ 103 h 119"/>
              <a:gd name="T72" fmla="*/ 53 w 144"/>
              <a:gd name="T73" fmla="*/ 112 h 119"/>
              <a:gd name="T74" fmla="*/ 63 w 144"/>
              <a:gd name="T75" fmla="*/ 112 h 119"/>
              <a:gd name="T76" fmla="*/ 69 w 144"/>
              <a:gd name="T7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4" h="119">
                <a:moveTo>
                  <a:pt x="69" y="119"/>
                </a:moveTo>
                <a:lnTo>
                  <a:pt x="72" y="116"/>
                </a:lnTo>
                <a:lnTo>
                  <a:pt x="75" y="106"/>
                </a:lnTo>
                <a:lnTo>
                  <a:pt x="81" y="100"/>
                </a:lnTo>
                <a:lnTo>
                  <a:pt x="88" y="100"/>
                </a:lnTo>
                <a:lnTo>
                  <a:pt x="91" y="97"/>
                </a:lnTo>
                <a:lnTo>
                  <a:pt x="94" y="97"/>
                </a:lnTo>
                <a:lnTo>
                  <a:pt x="103" y="103"/>
                </a:lnTo>
                <a:lnTo>
                  <a:pt x="110" y="100"/>
                </a:lnTo>
                <a:lnTo>
                  <a:pt x="116" y="103"/>
                </a:lnTo>
                <a:lnTo>
                  <a:pt x="119" y="109"/>
                </a:lnTo>
                <a:lnTo>
                  <a:pt x="122" y="106"/>
                </a:lnTo>
                <a:lnTo>
                  <a:pt x="131" y="112"/>
                </a:lnTo>
                <a:lnTo>
                  <a:pt x="138" y="106"/>
                </a:lnTo>
                <a:lnTo>
                  <a:pt x="141" y="106"/>
                </a:lnTo>
                <a:lnTo>
                  <a:pt x="141" y="109"/>
                </a:lnTo>
                <a:lnTo>
                  <a:pt x="144" y="106"/>
                </a:lnTo>
                <a:lnTo>
                  <a:pt x="141" y="100"/>
                </a:lnTo>
                <a:lnTo>
                  <a:pt x="138" y="91"/>
                </a:lnTo>
                <a:lnTo>
                  <a:pt x="135" y="91"/>
                </a:lnTo>
                <a:lnTo>
                  <a:pt x="131" y="81"/>
                </a:lnTo>
                <a:lnTo>
                  <a:pt x="131" y="72"/>
                </a:lnTo>
                <a:lnTo>
                  <a:pt x="128" y="66"/>
                </a:lnTo>
                <a:lnTo>
                  <a:pt x="122" y="62"/>
                </a:lnTo>
                <a:lnTo>
                  <a:pt x="116" y="56"/>
                </a:lnTo>
                <a:lnTo>
                  <a:pt x="113" y="47"/>
                </a:lnTo>
                <a:lnTo>
                  <a:pt x="106" y="44"/>
                </a:lnTo>
                <a:lnTo>
                  <a:pt x="100" y="41"/>
                </a:lnTo>
                <a:lnTo>
                  <a:pt x="97" y="37"/>
                </a:lnTo>
                <a:lnTo>
                  <a:pt x="94" y="34"/>
                </a:lnTo>
                <a:lnTo>
                  <a:pt x="88" y="37"/>
                </a:lnTo>
                <a:lnTo>
                  <a:pt x="78" y="34"/>
                </a:lnTo>
                <a:lnTo>
                  <a:pt x="75" y="31"/>
                </a:lnTo>
                <a:lnTo>
                  <a:pt x="72" y="31"/>
                </a:lnTo>
                <a:lnTo>
                  <a:pt x="72" y="25"/>
                </a:lnTo>
                <a:lnTo>
                  <a:pt x="69" y="22"/>
                </a:lnTo>
                <a:lnTo>
                  <a:pt x="60" y="9"/>
                </a:lnTo>
                <a:lnTo>
                  <a:pt x="56" y="3"/>
                </a:lnTo>
                <a:lnTo>
                  <a:pt x="53" y="0"/>
                </a:lnTo>
                <a:lnTo>
                  <a:pt x="50" y="0"/>
                </a:lnTo>
                <a:lnTo>
                  <a:pt x="50" y="0"/>
                </a:lnTo>
                <a:lnTo>
                  <a:pt x="47" y="3"/>
                </a:lnTo>
                <a:lnTo>
                  <a:pt x="44" y="3"/>
                </a:lnTo>
                <a:lnTo>
                  <a:pt x="41" y="3"/>
                </a:lnTo>
                <a:lnTo>
                  <a:pt x="38" y="0"/>
                </a:lnTo>
                <a:lnTo>
                  <a:pt x="35" y="0"/>
                </a:lnTo>
                <a:lnTo>
                  <a:pt x="35" y="3"/>
                </a:lnTo>
                <a:lnTo>
                  <a:pt x="35" y="3"/>
                </a:lnTo>
                <a:lnTo>
                  <a:pt x="31" y="9"/>
                </a:lnTo>
                <a:lnTo>
                  <a:pt x="22" y="12"/>
                </a:lnTo>
                <a:lnTo>
                  <a:pt x="6" y="16"/>
                </a:lnTo>
                <a:lnTo>
                  <a:pt x="10" y="19"/>
                </a:lnTo>
                <a:lnTo>
                  <a:pt x="0" y="25"/>
                </a:lnTo>
                <a:lnTo>
                  <a:pt x="0" y="34"/>
                </a:lnTo>
                <a:lnTo>
                  <a:pt x="3" y="37"/>
                </a:lnTo>
                <a:lnTo>
                  <a:pt x="6" y="34"/>
                </a:lnTo>
                <a:lnTo>
                  <a:pt x="10" y="34"/>
                </a:lnTo>
                <a:lnTo>
                  <a:pt x="13" y="37"/>
                </a:lnTo>
                <a:lnTo>
                  <a:pt x="19" y="44"/>
                </a:lnTo>
                <a:lnTo>
                  <a:pt x="25" y="47"/>
                </a:lnTo>
                <a:lnTo>
                  <a:pt x="25" y="50"/>
                </a:lnTo>
                <a:lnTo>
                  <a:pt x="31" y="53"/>
                </a:lnTo>
                <a:lnTo>
                  <a:pt x="31" y="56"/>
                </a:lnTo>
                <a:lnTo>
                  <a:pt x="25" y="59"/>
                </a:lnTo>
                <a:lnTo>
                  <a:pt x="25" y="62"/>
                </a:lnTo>
                <a:lnTo>
                  <a:pt x="22" y="66"/>
                </a:lnTo>
                <a:lnTo>
                  <a:pt x="22" y="72"/>
                </a:lnTo>
                <a:lnTo>
                  <a:pt x="25" y="78"/>
                </a:lnTo>
                <a:lnTo>
                  <a:pt x="28" y="91"/>
                </a:lnTo>
                <a:lnTo>
                  <a:pt x="28" y="97"/>
                </a:lnTo>
                <a:lnTo>
                  <a:pt x="38" y="103"/>
                </a:lnTo>
                <a:lnTo>
                  <a:pt x="44" y="103"/>
                </a:lnTo>
                <a:lnTo>
                  <a:pt x="50" y="106"/>
                </a:lnTo>
                <a:lnTo>
                  <a:pt x="53" y="112"/>
                </a:lnTo>
                <a:lnTo>
                  <a:pt x="60" y="112"/>
                </a:lnTo>
                <a:lnTo>
                  <a:pt x="63" y="112"/>
                </a:lnTo>
                <a:lnTo>
                  <a:pt x="69" y="112"/>
                </a:lnTo>
                <a:lnTo>
                  <a:pt x="69" y="119"/>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3" name="Freeform 41">
            <a:extLst>
              <a:ext uri="{FF2B5EF4-FFF2-40B4-BE49-F238E27FC236}">
                <a16:creationId xmlns:a16="http://schemas.microsoft.com/office/drawing/2014/main" id="{CEB80832-BD29-51A3-376B-BB36B7A8A1EC}"/>
              </a:ext>
            </a:extLst>
          </p:cNvPr>
          <p:cNvSpPr>
            <a:spLocks/>
          </p:cNvSpPr>
          <p:nvPr userDrawn="1"/>
        </p:nvSpPr>
        <p:spPr bwMode="auto">
          <a:xfrm>
            <a:off x="16810535" y="6765213"/>
            <a:ext cx="834972" cy="695326"/>
          </a:xfrm>
          <a:custGeom>
            <a:avLst/>
            <a:gdLst>
              <a:gd name="T0" fmla="*/ 241 w 263"/>
              <a:gd name="T1" fmla="*/ 22 h 219"/>
              <a:gd name="T2" fmla="*/ 253 w 263"/>
              <a:gd name="T3" fmla="*/ 22 h 219"/>
              <a:gd name="T4" fmla="*/ 256 w 263"/>
              <a:gd name="T5" fmla="*/ 31 h 219"/>
              <a:gd name="T6" fmla="*/ 247 w 263"/>
              <a:gd name="T7" fmla="*/ 40 h 219"/>
              <a:gd name="T8" fmla="*/ 216 w 263"/>
              <a:gd name="T9" fmla="*/ 47 h 219"/>
              <a:gd name="T10" fmla="*/ 203 w 263"/>
              <a:gd name="T11" fmla="*/ 56 h 219"/>
              <a:gd name="T12" fmla="*/ 206 w 263"/>
              <a:gd name="T13" fmla="*/ 78 h 219"/>
              <a:gd name="T14" fmla="*/ 203 w 263"/>
              <a:gd name="T15" fmla="*/ 103 h 219"/>
              <a:gd name="T16" fmla="*/ 185 w 263"/>
              <a:gd name="T17" fmla="*/ 106 h 219"/>
              <a:gd name="T18" fmla="*/ 185 w 263"/>
              <a:gd name="T19" fmla="*/ 115 h 219"/>
              <a:gd name="T20" fmla="*/ 181 w 263"/>
              <a:gd name="T21" fmla="*/ 128 h 219"/>
              <a:gd name="T22" fmla="*/ 175 w 263"/>
              <a:gd name="T23" fmla="*/ 137 h 219"/>
              <a:gd name="T24" fmla="*/ 172 w 263"/>
              <a:gd name="T25" fmla="*/ 147 h 219"/>
              <a:gd name="T26" fmla="*/ 166 w 263"/>
              <a:gd name="T27" fmla="*/ 156 h 219"/>
              <a:gd name="T28" fmla="*/ 159 w 263"/>
              <a:gd name="T29" fmla="*/ 159 h 219"/>
              <a:gd name="T30" fmla="*/ 150 w 263"/>
              <a:gd name="T31" fmla="*/ 162 h 219"/>
              <a:gd name="T32" fmla="*/ 144 w 263"/>
              <a:gd name="T33" fmla="*/ 172 h 219"/>
              <a:gd name="T34" fmla="*/ 131 w 263"/>
              <a:gd name="T35" fmla="*/ 175 h 219"/>
              <a:gd name="T36" fmla="*/ 125 w 263"/>
              <a:gd name="T37" fmla="*/ 181 h 219"/>
              <a:gd name="T38" fmla="*/ 122 w 263"/>
              <a:gd name="T39" fmla="*/ 197 h 219"/>
              <a:gd name="T40" fmla="*/ 122 w 263"/>
              <a:gd name="T41" fmla="*/ 206 h 219"/>
              <a:gd name="T42" fmla="*/ 103 w 263"/>
              <a:gd name="T43" fmla="*/ 212 h 219"/>
              <a:gd name="T44" fmla="*/ 84 w 263"/>
              <a:gd name="T45" fmla="*/ 216 h 219"/>
              <a:gd name="T46" fmla="*/ 47 w 263"/>
              <a:gd name="T47" fmla="*/ 219 h 219"/>
              <a:gd name="T48" fmla="*/ 38 w 263"/>
              <a:gd name="T49" fmla="*/ 187 h 219"/>
              <a:gd name="T50" fmla="*/ 31 w 263"/>
              <a:gd name="T51" fmla="*/ 169 h 219"/>
              <a:gd name="T52" fmla="*/ 13 w 263"/>
              <a:gd name="T53" fmla="*/ 156 h 219"/>
              <a:gd name="T54" fmla="*/ 6 w 263"/>
              <a:gd name="T55" fmla="*/ 134 h 219"/>
              <a:gd name="T56" fmla="*/ 13 w 263"/>
              <a:gd name="T57" fmla="*/ 122 h 219"/>
              <a:gd name="T58" fmla="*/ 3 w 263"/>
              <a:gd name="T59" fmla="*/ 109 h 219"/>
              <a:gd name="T60" fmla="*/ 3 w 263"/>
              <a:gd name="T61" fmla="*/ 100 h 219"/>
              <a:gd name="T62" fmla="*/ 9 w 263"/>
              <a:gd name="T63" fmla="*/ 94 h 219"/>
              <a:gd name="T64" fmla="*/ 9 w 263"/>
              <a:gd name="T65" fmla="*/ 87 h 219"/>
              <a:gd name="T66" fmla="*/ 9 w 263"/>
              <a:gd name="T67" fmla="*/ 75 h 219"/>
              <a:gd name="T68" fmla="*/ 16 w 263"/>
              <a:gd name="T69" fmla="*/ 75 h 219"/>
              <a:gd name="T70" fmla="*/ 25 w 263"/>
              <a:gd name="T71" fmla="*/ 75 h 219"/>
              <a:gd name="T72" fmla="*/ 34 w 263"/>
              <a:gd name="T73" fmla="*/ 81 h 219"/>
              <a:gd name="T74" fmla="*/ 44 w 263"/>
              <a:gd name="T75" fmla="*/ 81 h 219"/>
              <a:gd name="T76" fmla="*/ 50 w 263"/>
              <a:gd name="T77" fmla="*/ 72 h 219"/>
              <a:gd name="T78" fmla="*/ 63 w 263"/>
              <a:gd name="T79" fmla="*/ 65 h 219"/>
              <a:gd name="T80" fmla="*/ 69 w 263"/>
              <a:gd name="T81" fmla="*/ 59 h 219"/>
              <a:gd name="T82" fmla="*/ 75 w 263"/>
              <a:gd name="T83" fmla="*/ 44 h 219"/>
              <a:gd name="T84" fmla="*/ 72 w 263"/>
              <a:gd name="T85" fmla="*/ 37 h 219"/>
              <a:gd name="T86" fmla="*/ 81 w 263"/>
              <a:gd name="T87" fmla="*/ 34 h 219"/>
              <a:gd name="T88" fmla="*/ 94 w 263"/>
              <a:gd name="T89" fmla="*/ 28 h 219"/>
              <a:gd name="T90" fmla="*/ 103 w 263"/>
              <a:gd name="T91" fmla="*/ 31 h 219"/>
              <a:gd name="T92" fmla="*/ 116 w 263"/>
              <a:gd name="T93" fmla="*/ 34 h 219"/>
              <a:gd name="T94" fmla="*/ 125 w 263"/>
              <a:gd name="T95" fmla="*/ 31 h 219"/>
              <a:gd name="T96" fmla="*/ 141 w 263"/>
              <a:gd name="T97" fmla="*/ 37 h 219"/>
              <a:gd name="T98" fmla="*/ 150 w 263"/>
              <a:gd name="T99" fmla="*/ 31 h 219"/>
              <a:gd name="T100" fmla="*/ 156 w 263"/>
              <a:gd name="T101" fmla="*/ 34 h 219"/>
              <a:gd name="T102" fmla="*/ 159 w 263"/>
              <a:gd name="T103" fmla="*/ 28 h 219"/>
              <a:gd name="T104" fmla="*/ 166 w 263"/>
              <a:gd name="T105" fmla="*/ 22 h 219"/>
              <a:gd name="T106" fmla="*/ 172 w 263"/>
              <a:gd name="T107" fmla="*/ 25 h 219"/>
              <a:gd name="T108" fmla="*/ 175 w 263"/>
              <a:gd name="T109" fmla="*/ 12 h 219"/>
              <a:gd name="T110" fmla="*/ 181 w 263"/>
              <a:gd name="T111" fmla="*/ 0 h 219"/>
              <a:gd name="T112" fmla="*/ 194 w 263"/>
              <a:gd name="T113" fmla="*/ 6 h 219"/>
              <a:gd name="T114" fmla="*/ 194 w 263"/>
              <a:gd name="T115" fmla="*/ 15 h 219"/>
              <a:gd name="T116" fmla="*/ 197 w 263"/>
              <a:gd name="T117" fmla="*/ 25 h 219"/>
              <a:gd name="T118" fmla="*/ 200 w 263"/>
              <a:gd name="T119" fmla="*/ 40 h 219"/>
              <a:gd name="T120" fmla="*/ 210 w 263"/>
              <a:gd name="T121" fmla="*/ 44 h 219"/>
              <a:gd name="T122" fmla="*/ 222 w 263"/>
              <a:gd name="T123" fmla="*/ 37 h 219"/>
              <a:gd name="T124" fmla="*/ 228 w 263"/>
              <a:gd name="T125" fmla="*/ 28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3" h="219">
                <a:moveTo>
                  <a:pt x="228" y="28"/>
                </a:moveTo>
                <a:lnTo>
                  <a:pt x="238" y="22"/>
                </a:lnTo>
                <a:lnTo>
                  <a:pt x="241" y="22"/>
                </a:lnTo>
                <a:lnTo>
                  <a:pt x="244" y="25"/>
                </a:lnTo>
                <a:lnTo>
                  <a:pt x="250" y="25"/>
                </a:lnTo>
                <a:lnTo>
                  <a:pt x="253" y="22"/>
                </a:lnTo>
                <a:lnTo>
                  <a:pt x="260" y="22"/>
                </a:lnTo>
                <a:lnTo>
                  <a:pt x="263" y="25"/>
                </a:lnTo>
                <a:lnTo>
                  <a:pt x="256" y="31"/>
                </a:lnTo>
                <a:lnTo>
                  <a:pt x="260" y="31"/>
                </a:lnTo>
                <a:lnTo>
                  <a:pt x="256" y="37"/>
                </a:lnTo>
                <a:lnTo>
                  <a:pt x="247" y="40"/>
                </a:lnTo>
                <a:lnTo>
                  <a:pt x="228" y="44"/>
                </a:lnTo>
                <a:lnTo>
                  <a:pt x="222" y="44"/>
                </a:lnTo>
                <a:lnTo>
                  <a:pt x="216" y="47"/>
                </a:lnTo>
                <a:lnTo>
                  <a:pt x="210" y="50"/>
                </a:lnTo>
                <a:lnTo>
                  <a:pt x="206" y="50"/>
                </a:lnTo>
                <a:lnTo>
                  <a:pt x="203" y="56"/>
                </a:lnTo>
                <a:lnTo>
                  <a:pt x="200" y="59"/>
                </a:lnTo>
                <a:lnTo>
                  <a:pt x="206" y="72"/>
                </a:lnTo>
                <a:lnTo>
                  <a:pt x="206" y="78"/>
                </a:lnTo>
                <a:lnTo>
                  <a:pt x="197" y="90"/>
                </a:lnTo>
                <a:lnTo>
                  <a:pt x="203" y="97"/>
                </a:lnTo>
                <a:lnTo>
                  <a:pt x="203" y="103"/>
                </a:lnTo>
                <a:lnTo>
                  <a:pt x="197" y="109"/>
                </a:lnTo>
                <a:lnTo>
                  <a:pt x="191" y="109"/>
                </a:lnTo>
                <a:lnTo>
                  <a:pt x="185" y="106"/>
                </a:lnTo>
                <a:lnTo>
                  <a:pt x="178" y="109"/>
                </a:lnTo>
                <a:lnTo>
                  <a:pt x="181" y="115"/>
                </a:lnTo>
                <a:lnTo>
                  <a:pt x="185" y="115"/>
                </a:lnTo>
                <a:lnTo>
                  <a:pt x="188" y="122"/>
                </a:lnTo>
                <a:lnTo>
                  <a:pt x="188" y="125"/>
                </a:lnTo>
                <a:lnTo>
                  <a:pt x="181" y="128"/>
                </a:lnTo>
                <a:lnTo>
                  <a:pt x="178" y="128"/>
                </a:lnTo>
                <a:lnTo>
                  <a:pt x="175" y="131"/>
                </a:lnTo>
                <a:lnTo>
                  <a:pt x="175" y="137"/>
                </a:lnTo>
                <a:lnTo>
                  <a:pt x="175" y="144"/>
                </a:lnTo>
                <a:lnTo>
                  <a:pt x="175" y="147"/>
                </a:lnTo>
                <a:lnTo>
                  <a:pt x="172" y="147"/>
                </a:lnTo>
                <a:lnTo>
                  <a:pt x="175" y="156"/>
                </a:lnTo>
                <a:lnTo>
                  <a:pt x="169" y="162"/>
                </a:lnTo>
                <a:lnTo>
                  <a:pt x="166" y="156"/>
                </a:lnTo>
                <a:lnTo>
                  <a:pt x="163" y="156"/>
                </a:lnTo>
                <a:lnTo>
                  <a:pt x="163" y="159"/>
                </a:lnTo>
                <a:lnTo>
                  <a:pt x="159" y="159"/>
                </a:lnTo>
                <a:lnTo>
                  <a:pt x="156" y="159"/>
                </a:lnTo>
                <a:lnTo>
                  <a:pt x="153" y="159"/>
                </a:lnTo>
                <a:lnTo>
                  <a:pt x="150" y="162"/>
                </a:lnTo>
                <a:lnTo>
                  <a:pt x="144" y="166"/>
                </a:lnTo>
                <a:lnTo>
                  <a:pt x="147" y="169"/>
                </a:lnTo>
                <a:lnTo>
                  <a:pt x="144" y="172"/>
                </a:lnTo>
                <a:lnTo>
                  <a:pt x="138" y="175"/>
                </a:lnTo>
                <a:lnTo>
                  <a:pt x="134" y="172"/>
                </a:lnTo>
                <a:lnTo>
                  <a:pt x="131" y="175"/>
                </a:lnTo>
                <a:lnTo>
                  <a:pt x="128" y="175"/>
                </a:lnTo>
                <a:lnTo>
                  <a:pt x="128" y="178"/>
                </a:lnTo>
                <a:lnTo>
                  <a:pt x="125" y="181"/>
                </a:lnTo>
                <a:lnTo>
                  <a:pt x="122" y="184"/>
                </a:lnTo>
                <a:lnTo>
                  <a:pt x="122" y="191"/>
                </a:lnTo>
                <a:lnTo>
                  <a:pt x="122" y="197"/>
                </a:lnTo>
                <a:lnTo>
                  <a:pt x="122" y="200"/>
                </a:lnTo>
                <a:lnTo>
                  <a:pt x="125" y="203"/>
                </a:lnTo>
                <a:lnTo>
                  <a:pt x="122" y="206"/>
                </a:lnTo>
                <a:lnTo>
                  <a:pt x="116" y="209"/>
                </a:lnTo>
                <a:lnTo>
                  <a:pt x="109" y="209"/>
                </a:lnTo>
                <a:lnTo>
                  <a:pt x="103" y="212"/>
                </a:lnTo>
                <a:lnTo>
                  <a:pt x="91" y="212"/>
                </a:lnTo>
                <a:lnTo>
                  <a:pt x="84" y="212"/>
                </a:lnTo>
                <a:lnTo>
                  <a:pt x="84" y="216"/>
                </a:lnTo>
                <a:lnTo>
                  <a:pt x="78" y="216"/>
                </a:lnTo>
                <a:lnTo>
                  <a:pt x="69" y="219"/>
                </a:lnTo>
                <a:lnTo>
                  <a:pt x="47" y="219"/>
                </a:lnTo>
                <a:lnTo>
                  <a:pt x="22" y="209"/>
                </a:lnTo>
                <a:lnTo>
                  <a:pt x="34" y="191"/>
                </a:lnTo>
                <a:lnTo>
                  <a:pt x="38" y="187"/>
                </a:lnTo>
                <a:lnTo>
                  <a:pt x="34" y="181"/>
                </a:lnTo>
                <a:lnTo>
                  <a:pt x="34" y="175"/>
                </a:lnTo>
                <a:lnTo>
                  <a:pt x="31" y="169"/>
                </a:lnTo>
                <a:lnTo>
                  <a:pt x="16" y="169"/>
                </a:lnTo>
                <a:lnTo>
                  <a:pt x="16" y="159"/>
                </a:lnTo>
                <a:lnTo>
                  <a:pt x="13" y="156"/>
                </a:lnTo>
                <a:lnTo>
                  <a:pt x="13" y="153"/>
                </a:lnTo>
                <a:lnTo>
                  <a:pt x="13" y="144"/>
                </a:lnTo>
                <a:lnTo>
                  <a:pt x="6" y="134"/>
                </a:lnTo>
                <a:lnTo>
                  <a:pt x="6" y="131"/>
                </a:lnTo>
                <a:lnTo>
                  <a:pt x="13" y="122"/>
                </a:lnTo>
                <a:lnTo>
                  <a:pt x="13" y="122"/>
                </a:lnTo>
                <a:lnTo>
                  <a:pt x="3" y="122"/>
                </a:lnTo>
                <a:lnTo>
                  <a:pt x="3" y="115"/>
                </a:lnTo>
                <a:lnTo>
                  <a:pt x="3" y="109"/>
                </a:lnTo>
                <a:lnTo>
                  <a:pt x="3" y="109"/>
                </a:lnTo>
                <a:lnTo>
                  <a:pt x="6" y="103"/>
                </a:lnTo>
                <a:lnTo>
                  <a:pt x="3" y="100"/>
                </a:lnTo>
                <a:lnTo>
                  <a:pt x="0" y="100"/>
                </a:lnTo>
                <a:lnTo>
                  <a:pt x="6" y="97"/>
                </a:lnTo>
                <a:lnTo>
                  <a:pt x="9" y="94"/>
                </a:lnTo>
                <a:lnTo>
                  <a:pt x="9" y="90"/>
                </a:lnTo>
                <a:lnTo>
                  <a:pt x="13" y="90"/>
                </a:lnTo>
                <a:lnTo>
                  <a:pt x="9" y="87"/>
                </a:lnTo>
                <a:lnTo>
                  <a:pt x="9" y="84"/>
                </a:lnTo>
                <a:lnTo>
                  <a:pt x="9" y="81"/>
                </a:lnTo>
                <a:lnTo>
                  <a:pt x="9" y="75"/>
                </a:lnTo>
                <a:lnTo>
                  <a:pt x="9" y="75"/>
                </a:lnTo>
                <a:lnTo>
                  <a:pt x="13" y="75"/>
                </a:lnTo>
                <a:lnTo>
                  <a:pt x="16" y="75"/>
                </a:lnTo>
                <a:lnTo>
                  <a:pt x="19" y="78"/>
                </a:lnTo>
                <a:lnTo>
                  <a:pt x="22" y="78"/>
                </a:lnTo>
                <a:lnTo>
                  <a:pt x="25" y="75"/>
                </a:lnTo>
                <a:lnTo>
                  <a:pt x="28" y="75"/>
                </a:lnTo>
                <a:lnTo>
                  <a:pt x="31" y="78"/>
                </a:lnTo>
                <a:lnTo>
                  <a:pt x="34" y="81"/>
                </a:lnTo>
                <a:lnTo>
                  <a:pt x="34" y="84"/>
                </a:lnTo>
                <a:lnTo>
                  <a:pt x="38" y="81"/>
                </a:lnTo>
                <a:lnTo>
                  <a:pt x="44" y="81"/>
                </a:lnTo>
                <a:lnTo>
                  <a:pt x="47" y="78"/>
                </a:lnTo>
                <a:lnTo>
                  <a:pt x="47" y="75"/>
                </a:lnTo>
                <a:lnTo>
                  <a:pt x="50" y="72"/>
                </a:lnTo>
                <a:lnTo>
                  <a:pt x="47" y="69"/>
                </a:lnTo>
                <a:lnTo>
                  <a:pt x="53" y="65"/>
                </a:lnTo>
                <a:lnTo>
                  <a:pt x="63" y="65"/>
                </a:lnTo>
                <a:lnTo>
                  <a:pt x="63" y="62"/>
                </a:lnTo>
                <a:lnTo>
                  <a:pt x="66" y="59"/>
                </a:lnTo>
                <a:lnTo>
                  <a:pt x="69" y="59"/>
                </a:lnTo>
                <a:lnTo>
                  <a:pt x="69" y="53"/>
                </a:lnTo>
                <a:lnTo>
                  <a:pt x="69" y="50"/>
                </a:lnTo>
                <a:lnTo>
                  <a:pt x="75" y="44"/>
                </a:lnTo>
                <a:lnTo>
                  <a:pt x="75" y="40"/>
                </a:lnTo>
                <a:lnTo>
                  <a:pt x="72" y="40"/>
                </a:lnTo>
                <a:lnTo>
                  <a:pt x="72" y="37"/>
                </a:lnTo>
                <a:lnTo>
                  <a:pt x="75" y="37"/>
                </a:lnTo>
                <a:lnTo>
                  <a:pt x="78" y="34"/>
                </a:lnTo>
                <a:lnTo>
                  <a:pt x="81" y="34"/>
                </a:lnTo>
                <a:lnTo>
                  <a:pt x="84" y="34"/>
                </a:lnTo>
                <a:lnTo>
                  <a:pt x="91" y="28"/>
                </a:lnTo>
                <a:lnTo>
                  <a:pt x="94" y="28"/>
                </a:lnTo>
                <a:lnTo>
                  <a:pt x="97" y="31"/>
                </a:lnTo>
                <a:lnTo>
                  <a:pt x="103" y="28"/>
                </a:lnTo>
                <a:lnTo>
                  <a:pt x="103" y="31"/>
                </a:lnTo>
                <a:lnTo>
                  <a:pt x="109" y="28"/>
                </a:lnTo>
                <a:lnTo>
                  <a:pt x="116" y="31"/>
                </a:lnTo>
                <a:lnTo>
                  <a:pt x="116" y="34"/>
                </a:lnTo>
                <a:lnTo>
                  <a:pt x="119" y="34"/>
                </a:lnTo>
                <a:lnTo>
                  <a:pt x="122" y="31"/>
                </a:lnTo>
                <a:lnTo>
                  <a:pt x="125" y="31"/>
                </a:lnTo>
                <a:lnTo>
                  <a:pt x="131" y="37"/>
                </a:lnTo>
                <a:lnTo>
                  <a:pt x="134" y="37"/>
                </a:lnTo>
                <a:lnTo>
                  <a:pt x="141" y="37"/>
                </a:lnTo>
                <a:lnTo>
                  <a:pt x="144" y="34"/>
                </a:lnTo>
                <a:lnTo>
                  <a:pt x="147" y="31"/>
                </a:lnTo>
                <a:lnTo>
                  <a:pt x="150" y="31"/>
                </a:lnTo>
                <a:lnTo>
                  <a:pt x="150" y="28"/>
                </a:lnTo>
                <a:lnTo>
                  <a:pt x="153" y="31"/>
                </a:lnTo>
                <a:lnTo>
                  <a:pt x="156" y="34"/>
                </a:lnTo>
                <a:lnTo>
                  <a:pt x="163" y="34"/>
                </a:lnTo>
                <a:lnTo>
                  <a:pt x="163" y="31"/>
                </a:lnTo>
                <a:lnTo>
                  <a:pt x="159" y="28"/>
                </a:lnTo>
                <a:lnTo>
                  <a:pt x="159" y="25"/>
                </a:lnTo>
                <a:lnTo>
                  <a:pt x="166" y="25"/>
                </a:lnTo>
                <a:lnTo>
                  <a:pt x="166" y="22"/>
                </a:lnTo>
                <a:lnTo>
                  <a:pt x="169" y="22"/>
                </a:lnTo>
                <a:lnTo>
                  <a:pt x="169" y="25"/>
                </a:lnTo>
                <a:lnTo>
                  <a:pt x="172" y="25"/>
                </a:lnTo>
                <a:lnTo>
                  <a:pt x="175" y="22"/>
                </a:lnTo>
                <a:lnTo>
                  <a:pt x="175" y="15"/>
                </a:lnTo>
                <a:lnTo>
                  <a:pt x="175" y="12"/>
                </a:lnTo>
                <a:lnTo>
                  <a:pt x="178" y="9"/>
                </a:lnTo>
                <a:lnTo>
                  <a:pt x="178" y="3"/>
                </a:lnTo>
                <a:lnTo>
                  <a:pt x="181" y="0"/>
                </a:lnTo>
                <a:lnTo>
                  <a:pt x="185" y="0"/>
                </a:lnTo>
                <a:lnTo>
                  <a:pt x="188" y="3"/>
                </a:lnTo>
                <a:lnTo>
                  <a:pt x="194" y="6"/>
                </a:lnTo>
                <a:lnTo>
                  <a:pt x="194" y="9"/>
                </a:lnTo>
                <a:lnTo>
                  <a:pt x="191" y="12"/>
                </a:lnTo>
                <a:lnTo>
                  <a:pt x="194" y="15"/>
                </a:lnTo>
                <a:lnTo>
                  <a:pt x="197" y="15"/>
                </a:lnTo>
                <a:lnTo>
                  <a:pt x="197" y="18"/>
                </a:lnTo>
                <a:lnTo>
                  <a:pt x="197" y="25"/>
                </a:lnTo>
                <a:lnTo>
                  <a:pt x="197" y="28"/>
                </a:lnTo>
                <a:lnTo>
                  <a:pt x="197" y="37"/>
                </a:lnTo>
                <a:lnTo>
                  <a:pt x="200" y="40"/>
                </a:lnTo>
                <a:lnTo>
                  <a:pt x="200" y="44"/>
                </a:lnTo>
                <a:lnTo>
                  <a:pt x="203" y="44"/>
                </a:lnTo>
                <a:lnTo>
                  <a:pt x="210" y="44"/>
                </a:lnTo>
                <a:lnTo>
                  <a:pt x="213" y="40"/>
                </a:lnTo>
                <a:lnTo>
                  <a:pt x="213" y="40"/>
                </a:lnTo>
                <a:lnTo>
                  <a:pt x="222" y="37"/>
                </a:lnTo>
                <a:lnTo>
                  <a:pt x="225" y="34"/>
                </a:lnTo>
                <a:lnTo>
                  <a:pt x="225" y="31"/>
                </a:lnTo>
                <a:lnTo>
                  <a:pt x="228" y="28"/>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4" name="Freeform 42">
            <a:extLst>
              <a:ext uri="{FF2B5EF4-FFF2-40B4-BE49-F238E27FC236}">
                <a16:creationId xmlns:a16="http://schemas.microsoft.com/office/drawing/2014/main" id="{3ACBBCA8-3F6C-4F52-B72A-1D059B9D4D77}"/>
              </a:ext>
            </a:extLst>
          </p:cNvPr>
          <p:cNvSpPr>
            <a:spLocks noEditPoints="1"/>
          </p:cNvSpPr>
          <p:nvPr userDrawn="1"/>
        </p:nvSpPr>
        <p:spPr bwMode="auto">
          <a:xfrm>
            <a:off x="13584943" y="5285656"/>
            <a:ext cx="387325" cy="307976"/>
          </a:xfrm>
          <a:custGeom>
            <a:avLst/>
            <a:gdLst>
              <a:gd name="T0" fmla="*/ 30 w 39"/>
              <a:gd name="T1" fmla="*/ 30 h 31"/>
              <a:gd name="T2" fmla="*/ 31 w 39"/>
              <a:gd name="T3" fmla="*/ 28 h 31"/>
              <a:gd name="T4" fmla="*/ 28 w 39"/>
              <a:gd name="T5" fmla="*/ 28 h 31"/>
              <a:gd name="T6" fmla="*/ 28 w 39"/>
              <a:gd name="T7" fmla="*/ 29 h 31"/>
              <a:gd name="T8" fmla="*/ 37 w 39"/>
              <a:gd name="T9" fmla="*/ 24 h 31"/>
              <a:gd name="T10" fmla="*/ 37 w 39"/>
              <a:gd name="T11" fmla="*/ 22 h 31"/>
              <a:gd name="T12" fmla="*/ 25 w 39"/>
              <a:gd name="T13" fmla="*/ 19 h 31"/>
              <a:gd name="T14" fmla="*/ 21 w 39"/>
              <a:gd name="T15" fmla="*/ 24 h 31"/>
              <a:gd name="T16" fmla="*/ 18 w 39"/>
              <a:gd name="T17" fmla="*/ 22 h 31"/>
              <a:gd name="T18" fmla="*/ 18 w 39"/>
              <a:gd name="T19" fmla="*/ 19 h 31"/>
              <a:gd name="T20" fmla="*/ 19 w 39"/>
              <a:gd name="T21" fmla="*/ 19 h 31"/>
              <a:gd name="T22" fmla="*/ 22 w 39"/>
              <a:gd name="T23" fmla="*/ 19 h 31"/>
              <a:gd name="T24" fmla="*/ 22 w 39"/>
              <a:gd name="T25" fmla="*/ 16 h 31"/>
              <a:gd name="T26" fmla="*/ 24 w 39"/>
              <a:gd name="T27" fmla="*/ 20 h 31"/>
              <a:gd name="T28" fmla="*/ 24 w 39"/>
              <a:gd name="T29" fmla="*/ 22 h 31"/>
              <a:gd name="T30" fmla="*/ 22 w 39"/>
              <a:gd name="T31" fmla="*/ 25 h 31"/>
              <a:gd name="T32" fmla="*/ 24 w 39"/>
              <a:gd name="T33" fmla="*/ 25 h 31"/>
              <a:gd name="T34" fmla="*/ 18 w 39"/>
              <a:gd name="T35" fmla="*/ 25 h 31"/>
              <a:gd name="T36" fmla="*/ 21 w 39"/>
              <a:gd name="T37" fmla="*/ 26 h 31"/>
              <a:gd name="T38" fmla="*/ 22 w 39"/>
              <a:gd name="T39" fmla="*/ 27 h 31"/>
              <a:gd name="T40" fmla="*/ 20 w 39"/>
              <a:gd name="T41" fmla="*/ 28 h 31"/>
              <a:gd name="T42" fmla="*/ 17 w 39"/>
              <a:gd name="T43" fmla="*/ 27 h 31"/>
              <a:gd name="T44" fmla="*/ 13 w 39"/>
              <a:gd name="T45" fmla="*/ 19 h 31"/>
              <a:gd name="T46" fmla="*/ 14 w 39"/>
              <a:gd name="T47" fmla="*/ 19 h 31"/>
              <a:gd name="T48" fmla="*/ 14 w 39"/>
              <a:gd name="T49" fmla="*/ 26 h 31"/>
              <a:gd name="T50" fmla="*/ 15 w 39"/>
              <a:gd name="T51" fmla="*/ 26 h 31"/>
              <a:gd name="T52" fmla="*/ 15 w 39"/>
              <a:gd name="T53" fmla="*/ 24 h 31"/>
              <a:gd name="T54" fmla="*/ 14 w 39"/>
              <a:gd name="T55" fmla="*/ 21 h 31"/>
              <a:gd name="T56" fmla="*/ 13 w 39"/>
              <a:gd name="T57" fmla="*/ 25 h 31"/>
              <a:gd name="T58" fmla="*/ 9 w 39"/>
              <a:gd name="T59" fmla="*/ 22 h 31"/>
              <a:gd name="T60" fmla="*/ 17 w 39"/>
              <a:gd name="T61" fmla="*/ 4 h 31"/>
              <a:gd name="T62" fmla="*/ 3 w 39"/>
              <a:gd name="T63" fmla="*/ 9 h 31"/>
              <a:gd name="T64" fmla="*/ 4 w 39"/>
              <a:gd name="T65" fmla="*/ 10 h 31"/>
              <a:gd name="T66" fmla="*/ 3 w 39"/>
              <a:gd name="T67" fmla="*/ 9 h 31"/>
              <a:gd name="T68" fmla="*/ 8 w 39"/>
              <a:gd name="T69" fmla="*/ 8 h 31"/>
              <a:gd name="T70" fmla="*/ 12 w 39"/>
              <a:gd name="T71" fmla="*/ 8 h 31"/>
              <a:gd name="T72" fmla="*/ 13 w 39"/>
              <a:gd name="T73" fmla="*/ 2 h 31"/>
              <a:gd name="T74" fmla="*/ 10 w 39"/>
              <a:gd name="T75" fmla="*/ 3 h 31"/>
              <a:gd name="T76" fmla="*/ 6 w 39"/>
              <a:gd name="T77" fmla="*/ 6 h 31"/>
              <a:gd name="T78" fmla="*/ 2 w 39"/>
              <a:gd name="T79" fmla="*/ 7 h 31"/>
              <a:gd name="T80" fmla="*/ 2 w 39"/>
              <a:gd name="T81" fmla="*/ 10 h 31"/>
              <a:gd name="T82" fmla="*/ 9 w 39"/>
              <a:gd name="T83" fmla="*/ 25 h 31"/>
              <a:gd name="T84" fmla="*/ 8 w 39"/>
              <a:gd name="T85" fmla="*/ 23 h 31"/>
              <a:gd name="T86" fmla="*/ 10 w 39"/>
              <a:gd name="T87" fmla="*/ 20 h 31"/>
              <a:gd name="T88" fmla="*/ 12 w 39"/>
              <a:gd name="T89" fmla="*/ 18 h 31"/>
              <a:gd name="T90" fmla="*/ 14 w 39"/>
              <a:gd name="T91" fmla="*/ 14 h 31"/>
              <a:gd name="T92" fmla="*/ 16 w 39"/>
              <a:gd name="T93" fmla="*/ 14 h 31"/>
              <a:gd name="T94" fmla="*/ 13 w 39"/>
              <a:gd name="T95" fmla="*/ 13 h 31"/>
              <a:gd name="T96" fmla="*/ 11 w 39"/>
              <a:gd name="T97" fmla="*/ 10 h 31"/>
              <a:gd name="T98" fmla="*/ 7 w 39"/>
              <a:gd name="T99" fmla="*/ 8 h 31"/>
              <a:gd name="T100" fmla="*/ 7 w 39"/>
              <a:gd name="T101" fmla="*/ 11 h 31"/>
              <a:gd name="T102" fmla="*/ 6 w 39"/>
              <a:gd name="T103" fmla="*/ 12 h 31"/>
              <a:gd name="T104" fmla="*/ 5 w 39"/>
              <a:gd name="T105" fmla="*/ 10 h 31"/>
              <a:gd name="T106" fmla="*/ 3 w 39"/>
              <a:gd name="T107" fmla="*/ 12 h 31"/>
              <a:gd name="T108" fmla="*/ 2 w 39"/>
              <a:gd name="T109" fmla="*/ 13 h 31"/>
              <a:gd name="T110" fmla="*/ 0 w 39"/>
              <a:gd name="T111" fmla="*/ 16 h 31"/>
              <a:gd name="T112" fmla="*/ 0 w 39"/>
              <a:gd name="T113" fmla="*/ 19 h 31"/>
              <a:gd name="T114" fmla="*/ 3 w 39"/>
              <a:gd name="T115" fmla="*/ 22 h 31"/>
              <a:gd name="T116" fmla="*/ 4 w 39"/>
              <a:gd name="T117"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 h="31">
                <a:moveTo>
                  <a:pt x="28" y="30"/>
                </a:moveTo>
                <a:cubicBezTo>
                  <a:pt x="28" y="31"/>
                  <a:pt x="28" y="31"/>
                  <a:pt x="28" y="31"/>
                </a:cubicBezTo>
                <a:cubicBezTo>
                  <a:pt x="30" y="31"/>
                  <a:pt x="30" y="31"/>
                  <a:pt x="30" y="31"/>
                </a:cubicBezTo>
                <a:cubicBezTo>
                  <a:pt x="30" y="30"/>
                  <a:pt x="30" y="30"/>
                  <a:pt x="30" y="30"/>
                </a:cubicBezTo>
                <a:cubicBezTo>
                  <a:pt x="31" y="30"/>
                  <a:pt x="31" y="30"/>
                  <a:pt x="31" y="30"/>
                </a:cubicBezTo>
                <a:cubicBezTo>
                  <a:pt x="31" y="30"/>
                  <a:pt x="31" y="30"/>
                  <a:pt x="31" y="30"/>
                </a:cubicBezTo>
                <a:cubicBezTo>
                  <a:pt x="31" y="29"/>
                  <a:pt x="31" y="29"/>
                  <a:pt x="31" y="29"/>
                </a:cubicBezTo>
                <a:cubicBezTo>
                  <a:pt x="31" y="28"/>
                  <a:pt x="31" y="28"/>
                  <a:pt x="31" y="28"/>
                </a:cubicBezTo>
                <a:cubicBezTo>
                  <a:pt x="30" y="28"/>
                  <a:pt x="30" y="28"/>
                  <a:pt x="30" y="28"/>
                </a:cubicBezTo>
                <a:cubicBezTo>
                  <a:pt x="30" y="28"/>
                  <a:pt x="30" y="28"/>
                  <a:pt x="30" y="28"/>
                </a:cubicBezTo>
                <a:cubicBezTo>
                  <a:pt x="29" y="28"/>
                  <a:pt x="29" y="28"/>
                  <a:pt x="29" y="28"/>
                </a:cubicBezTo>
                <a:cubicBezTo>
                  <a:pt x="28" y="28"/>
                  <a:pt x="28" y="28"/>
                  <a:pt x="28" y="28"/>
                </a:cubicBezTo>
                <a:cubicBezTo>
                  <a:pt x="28" y="29"/>
                  <a:pt x="28" y="29"/>
                  <a:pt x="28" y="29"/>
                </a:cubicBezTo>
                <a:cubicBezTo>
                  <a:pt x="29" y="29"/>
                  <a:pt x="29" y="29"/>
                  <a:pt x="29" y="29"/>
                </a:cubicBezTo>
                <a:cubicBezTo>
                  <a:pt x="29" y="29"/>
                  <a:pt x="29" y="29"/>
                  <a:pt x="29" y="29"/>
                </a:cubicBezTo>
                <a:cubicBezTo>
                  <a:pt x="28" y="29"/>
                  <a:pt x="28" y="29"/>
                  <a:pt x="28" y="29"/>
                </a:cubicBezTo>
                <a:cubicBezTo>
                  <a:pt x="28" y="30"/>
                  <a:pt x="28" y="30"/>
                  <a:pt x="28" y="30"/>
                </a:cubicBezTo>
                <a:close/>
                <a:moveTo>
                  <a:pt x="37" y="22"/>
                </a:moveTo>
                <a:cubicBezTo>
                  <a:pt x="37" y="23"/>
                  <a:pt x="37" y="23"/>
                  <a:pt x="37" y="23"/>
                </a:cubicBezTo>
                <a:cubicBezTo>
                  <a:pt x="37" y="24"/>
                  <a:pt x="37" y="24"/>
                  <a:pt x="37" y="24"/>
                </a:cubicBezTo>
                <a:cubicBezTo>
                  <a:pt x="39" y="25"/>
                  <a:pt x="39" y="25"/>
                  <a:pt x="39" y="25"/>
                </a:cubicBezTo>
                <a:cubicBezTo>
                  <a:pt x="39" y="24"/>
                  <a:pt x="39" y="24"/>
                  <a:pt x="39" y="24"/>
                </a:cubicBezTo>
                <a:cubicBezTo>
                  <a:pt x="38" y="22"/>
                  <a:pt x="38" y="22"/>
                  <a:pt x="38" y="22"/>
                </a:cubicBezTo>
                <a:cubicBezTo>
                  <a:pt x="37" y="22"/>
                  <a:pt x="37" y="22"/>
                  <a:pt x="37" y="22"/>
                </a:cubicBezTo>
                <a:close/>
                <a:moveTo>
                  <a:pt x="25" y="19"/>
                </a:moveTo>
                <a:cubicBezTo>
                  <a:pt x="24" y="20"/>
                  <a:pt x="24" y="20"/>
                  <a:pt x="24" y="20"/>
                </a:cubicBezTo>
                <a:cubicBezTo>
                  <a:pt x="25" y="20"/>
                  <a:pt x="25" y="20"/>
                  <a:pt x="25" y="20"/>
                </a:cubicBezTo>
                <a:cubicBezTo>
                  <a:pt x="25" y="19"/>
                  <a:pt x="25" y="19"/>
                  <a:pt x="25" y="19"/>
                </a:cubicBezTo>
                <a:close/>
                <a:moveTo>
                  <a:pt x="22" y="25"/>
                </a:moveTo>
                <a:cubicBezTo>
                  <a:pt x="21" y="25"/>
                  <a:pt x="21" y="25"/>
                  <a:pt x="21" y="25"/>
                </a:cubicBezTo>
                <a:cubicBezTo>
                  <a:pt x="20" y="24"/>
                  <a:pt x="20" y="24"/>
                  <a:pt x="20" y="24"/>
                </a:cubicBezTo>
                <a:cubicBezTo>
                  <a:pt x="21" y="24"/>
                  <a:pt x="21" y="24"/>
                  <a:pt x="21" y="24"/>
                </a:cubicBezTo>
                <a:cubicBezTo>
                  <a:pt x="21" y="23"/>
                  <a:pt x="21" y="23"/>
                  <a:pt x="21" y="23"/>
                </a:cubicBezTo>
                <a:cubicBezTo>
                  <a:pt x="19" y="23"/>
                  <a:pt x="19" y="23"/>
                  <a:pt x="19" y="23"/>
                </a:cubicBezTo>
                <a:cubicBezTo>
                  <a:pt x="18" y="23"/>
                  <a:pt x="18" y="23"/>
                  <a:pt x="18" y="23"/>
                </a:cubicBezTo>
                <a:cubicBezTo>
                  <a:pt x="18" y="22"/>
                  <a:pt x="18" y="22"/>
                  <a:pt x="18" y="22"/>
                </a:cubicBezTo>
                <a:cubicBezTo>
                  <a:pt x="18" y="21"/>
                  <a:pt x="18" y="21"/>
                  <a:pt x="18" y="21"/>
                </a:cubicBezTo>
                <a:cubicBezTo>
                  <a:pt x="17" y="20"/>
                  <a:pt x="17" y="20"/>
                  <a:pt x="17" y="20"/>
                </a:cubicBezTo>
                <a:cubicBezTo>
                  <a:pt x="17" y="19"/>
                  <a:pt x="17" y="19"/>
                  <a:pt x="17" y="19"/>
                </a:cubicBezTo>
                <a:cubicBezTo>
                  <a:pt x="18" y="19"/>
                  <a:pt x="18" y="19"/>
                  <a:pt x="18" y="19"/>
                </a:cubicBezTo>
                <a:cubicBezTo>
                  <a:pt x="18" y="18"/>
                  <a:pt x="18" y="18"/>
                  <a:pt x="18" y="18"/>
                </a:cubicBezTo>
                <a:cubicBezTo>
                  <a:pt x="19" y="17"/>
                  <a:pt x="19" y="17"/>
                  <a:pt x="19" y="17"/>
                </a:cubicBezTo>
                <a:cubicBezTo>
                  <a:pt x="19" y="18"/>
                  <a:pt x="19" y="18"/>
                  <a:pt x="19" y="18"/>
                </a:cubicBezTo>
                <a:cubicBezTo>
                  <a:pt x="19" y="19"/>
                  <a:pt x="19" y="19"/>
                  <a:pt x="19" y="19"/>
                </a:cubicBezTo>
                <a:cubicBezTo>
                  <a:pt x="21" y="19"/>
                  <a:pt x="21" y="19"/>
                  <a:pt x="21" y="19"/>
                </a:cubicBezTo>
                <a:cubicBezTo>
                  <a:pt x="21" y="19"/>
                  <a:pt x="21" y="19"/>
                  <a:pt x="21" y="19"/>
                </a:cubicBezTo>
                <a:cubicBezTo>
                  <a:pt x="22" y="19"/>
                  <a:pt x="22" y="19"/>
                  <a:pt x="22" y="19"/>
                </a:cubicBezTo>
                <a:cubicBezTo>
                  <a:pt x="22" y="19"/>
                  <a:pt x="22" y="19"/>
                  <a:pt x="22" y="19"/>
                </a:cubicBezTo>
                <a:cubicBezTo>
                  <a:pt x="21" y="18"/>
                  <a:pt x="21" y="18"/>
                  <a:pt x="21" y="18"/>
                </a:cubicBezTo>
                <a:cubicBezTo>
                  <a:pt x="20" y="17"/>
                  <a:pt x="20" y="17"/>
                  <a:pt x="20" y="17"/>
                </a:cubicBezTo>
                <a:cubicBezTo>
                  <a:pt x="21" y="16"/>
                  <a:pt x="21" y="16"/>
                  <a:pt x="21" y="16"/>
                </a:cubicBezTo>
                <a:cubicBezTo>
                  <a:pt x="22" y="16"/>
                  <a:pt x="22" y="16"/>
                  <a:pt x="22" y="16"/>
                </a:cubicBezTo>
                <a:cubicBezTo>
                  <a:pt x="24" y="16"/>
                  <a:pt x="24" y="16"/>
                  <a:pt x="24" y="16"/>
                </a:cubicBezTo>
                <a:cubicBezTo>
                  <a:pt x="24" y="17"/>
                  <a:pt x="24" y="17"/>
                  <a:pt x="24" y="17"/>
                </a:cubicBezTo>
                <a:cubicBezTo>
                  <a:pt x="24" y="18"/>
                  <a:pt x="24" y="18"/>
                  <a:pt x="24" y="18"/>
                </a:cubicBezTo>
                <a:cubicBezTo>
                  <a:pt x="24" y="20"/>
                  <a:pt x="24" y="20"/>
                  <a:pt x="24" y="20"/>
                </a:cubicBezTo>
                <a:cubicBezTo>
                  <a:pt x="23" y="20"/>
                  <a:pt x="23" y="20"/>
                  <a:pt x="23" y="20"/>
                </a:cubicBezTo>
                <a:cubicBezTo>
                  <a:pt x="23" y="21"/>
                  <a:pt x="23" y="21"/>
                  <a:pt x="23" y="21"/>
                </a:cubicBezTo>
                <a:cubicBezTo>
                  <a:pt x="24" y="22"/>
                  <a:pt x="24" y="22"/>
                  <a:pt x="24" y="22"/>
                </a:cubicBezTo>
                <a:cubicBezTo>
                  <a:pt x="24" y="22"/>
                  <a:pt x="24" y="22"/>
                  <a:pt x="24" y="22"/>
                </a:cubicBezTo>
                <a:cubicBezTo>
                  <a:pt x="23" y="23"/>
                  <a:pt x="23" y="23"/>
                  <a:pt x="23" y="23"/>
                </a:cubicBezTo>
                <a:cubicBezTo>
                  <a:pt x="22" y="23"/>
                  <a:pt x="22" y="23"/>
                  <a:pt x="22" y="23"/>
                </a:cubicBezTo>
                <a:cubicBezTo>
                  <a:pt x="22" y="24"/>
                  <a:pt x="22" y="24"/>
                  <a:pt x="22" y="24"/>
                </a:cubicBezTo>
                <a:cubicBezTo>
                  <a:pt x="22" y="25"/>
                  <a:pt x="22" y="25"/>
                  <a:pt x="22" y="25"/>
                </a:cubicBezTo>
                <a:close/>
                <a:moveTo>
                  <a:pt x="22" y="25"/>
                </a:moveTo>
                <a:cubicBezTo>
                  <a:pt x="23" y="26"/>
                  <a:pt x="23" y="26"/>
                  <a:pt x="23" y="26"/>
                </a:cubicBezTo>
                <a:cubicBezTo>
                  <a:pt x="23" y="25"/>
                  <a:pt x="23" y="25"/>
                  <a:pt x="23" y="25"/>
                </a:cubicBezTo>
                <a:cubicBezTo>
                  <a:pt x="24" y="25"/>
                  <a:pt x="24" y="25"/>
                  <a:pt x="24" y="25"/>
                </a:cubicBezTo>
                <a:cubicBezTo>
                  <a:pt x="24" y="24"/>
                  <a:pt x="24" y="24"/>
                  <a:pt x="24" y="24"/>
                </a:cubicBezTo>
                <a:cubicBezTo>
                  <a:pt x="23" y="25"/>
                  <a:pt x="23" y="25"/>
                  <a:pt x="23" y="25"/>
                </a:cubicBezTo>
                <a:cubicBezTo>
                  <a:pt x="22" y="25"/>
                  <a:pt x="22" y="25"/>
                  <a:pt x="22" y="25"/>
                </a:cubicBezTo>
                <a:close/>
                <a:moveTo>
                  <a:pt x="18" y="25"/>
                </a:moveTo>
                <a:cubicBezTo>
                  <a:pt x="19" y="27"/>
                  <a:pt x="19" y="27"/>
                  <a:pt x="19" y="27"/>
                </a:cubicBezTo>
                <a:cubicBezTo>
                  <a:pt x="20" y="27"/>
                  <a:pt x="20" y="27"/>
                  <a:pt x="20" y="27"/>
                </a:cubicBezTo>
                <a:cubicBezTo>
                  <a:pt x="20" y="27"/>
                  <a:pt x="20" y="27"/>
                  <a:pt x="20" y="27"/>
                </a:cubicBezTo>
                <a:cubicBezTo>
                  <a:pt x="21" y="26"/>
                  <a:pt x="21" y="26"/>
                  <a:pt x="21" y="26"/>
                </a:cubicBezTo>
                <a:cubicBezTo>
                  <a:pt x="22" y="26"/>
                  <a:pt x="22" y="26"/>
                  <a:pt x="22" y="26"/>
                </a:cubicBezTo>
                <a:cubicBezTo>
                  <a:pt x="22" y="25"/>
                  <a:pt x="22" y="25"/>
                  <a:pt x="22" y="25"/>
                </a:cubicBezTo>
                <a:cubicBezTo>
                  <a:pt x="22" y="26"/>
                  <a:pt x="22" y="26"/>
                  <a:pt x="22" y="26"/>
                </a:cubicBezTo>
                <a:cubicBezTo>
                  <a:pt x="22" y="27"/>
                  <a:pt x="22" y="27"/>
                  <a:pt x="22" y="27"/>
                </a:cubicBezTo>
                <a:cubicBezTo>
                  <a:pt x="22" y="28"/>
                  <a:pt x="22" y="28"/>
                  <a:pt x="22" y="28"/>
                </a:cubicBezTo>
                <a:cubicBezTo>
                  <a:pt x="21" y="28"/>
                  <a:pt x="21" y="28"/>
                  <a:pt x="21" y="28"/>
                </a:cubicBezTo>
                <a:cubicBezTo>
                  <a:pt x="21" y="27"/>
                  <a:pt x="21" y="27"/>
                  <a:pt x="21" y="27"/>
                </a:cubicBezTo>
                <a:cubicBezTo>
                  <a:pt x="20" y="28"/>
                  <a:pt x="20" y="28"/>
                  <a:pt x="20" y="28"/>
                </a:cubicBezTo>
                <a:cubicBezTo>
                  <a:pt x="19" y="28"/>
                  <a:pt x="19" y="28"/>
                  <a:pt x="19" y="28"/>
                </a:cubicBezTo>
                <a:cubicBezTo>
                  <a:pt x="17" y="28"/>
                  <a:pt x="17" y="28"/>
                  <a:pt x="17" y="28"/>
                </a:cubicBezTo>
                <a:cubicBezTo>
                  <a:pt x="16" y="27"/>
                  <a:pt x="16" y="27"/>
                  <a:pt x="16" y="27"/>
                </a:cubicBezTo>
                <a:cubicBezTo>
                  <a:pt x="17" y="27"/>
                  <a:pt x="17" y="27"/>
                  <a:pt x="17" y="27"/>
                </a:cubicBezTo>
                <a:cubicBezTo>
                  <a:pt x="17" y="26"/>
                  <a:pt x="17" y="26"/>
                  <a:pt x="17" y="26"/>
                </a:cubicBezTo>
                <a:cubicBezTo>
                  <a:pt x="17" y="25"/>
                  <a:pt x="17" y="25"/>
                  <a:pt x="17" y="25"/>
                </a:cubicBezTo>
                <a:cubicBezTo>
                  <a:pt x="18" y="25"/>
                  <a:pt x="18" y="25"/>
                  <a:pt x="18" y="25"/>
                </a:cubicBezTo>
                <a:close/>
                <a:moveTo>
                  <a:pt x="13" y="19"/>
                </a:moveTo>
                <a:cubicBezTo>
                  <a:pt x="14" y="18"/>
                  <a:pt x="14" y="18"/>
                  <a:pt x="14" y="18"/>
                </a:cubicBezTo>
                <a:cubicBezTo>
                  <a:pt x="14" y="16"/>
                  <a:pt x="14" y="16"/>
                  <a:pt x="14" y="16"/>
                </a:cubicBezTo>
                <a:cubicBezTo>
                  <a:pt x="14" y="18"/>
                  <a:pt x="14" y="18"/>
                  <a:pt x="14" y="18"/>
                </a:cubicBezTo>
                <a:cubicBezTo>
                  <a:pt x="14" y="19"/>
                  <a:pt x="14" y="19"/>
                  <a:pt x="14" y="19"/>
                </a:cubicBezTo>
                <a:cubicBezTo>
                  <a:pt x="13" y="19"/>
                  <a:pt x="13" y="19"/>
                  <a:pt x="13" y="19"/>
                </a:cubicBezTo>
                <a:close/>
                <a:moveTo>
                  <a:pt x="13" y="26"/>
                </a:moveTo>
                <a:cubicBezTo>
                  <a:pt x="14" y="27"/>
                  <a:pt x="14" y="27"/>
                  <a:pt x="14" y="27"/>
                </a:cubicBezTo>
                <a:cubicBezTo>
                  <a:pt x="14" y="26"/>
                  <a:pt x="14" y="26"/>
                  <a:pt x="14" y="26"/>
                </a:cubicBezTo>
                <a:cubicBezTo>
                  <a:pt x="13" y="26"/>
                  <a:pt x="13" y="26"/>
                  <a:pt x="13" y="26"/>
                </a:cubicBezTo>
                <a:close/>
                <a:moveTo>
                  <a:pt x="15" y="24"/>
                </a:moveTo>
                <a:cubicBezTo>
                  <a:pt x="15" y="25"/>
                  <a:pt x="15" y="25"/>
                  <a:pt x="15" y="25"/>
                </a:cubicBezTo>
                <a:cubicBezTo>
                  <a:pt x="15" y="26"/>
                  <a:pt x="15" y="26"/>
                  <a:pt x="15" y="26"/>
                </a:cubicBezTo>
                <a:cubicBezTo>
                  <a:pt x="15" y="27"/>
                  <a:pt x="15" y="27"/>
                  <a:pt x="15" y="27"/>
                </a:cubicBezTo>
                <a:cubicBezTo>
                  <a:pt x="16" y="26"/>
                  <a:pt x="16" y="26"/>
                  <a:pt x="16" y="26"/>
                </a:cubicBezTo>
                <a:cubicBezTo>
                  <a:pt x="16" y="25"/>
                  <a:pt x="16" y="25"/>
                  <a:pt x="16" y="25"/>
                </a:cubicBezTo>
                <a:cubicBezTo>
                  <a:pt x="16" y="25"/>
                  <a:pt x="15" y="24"/>
                  <a:pt x="15" y="24"/>
                </a:cubicBezTo>
                <a:close/>
                <a:moveTo>
                  <a:pt x="10" y="20"/>
                </a:moveTo>
                <a:cubicBezTo>
                  <a:pt x="12" y="20"/>
                  <a:pt x="12" y="20"/>
                  <a:pt x="12" y="20"/>
                </a:cubicBezTo>
                <a:cubicBezTo>
                  <a:pt x="13" y="21"/>
                  <a:pt x="13" y="21"/>
                  <a:pt x="13" y="21"/>
                </a:cubicBezTo>
                <a:cubicBezTo>
                  <a:pt x="14" y="21"/>
                  <a:pt x="14" y="21"/>
                  <a:pt x="14" y="21"/>
                </a:cubicBezTo>
                <a:cubicBezTo>
                  <a:pt x="15" y="22"/>
                  <a:pt x="15" y="22"/>
                  <a:pt x="15" y="22"/>
                </a:cubicBezTo>
                <a:cubicBezTo>
                  <a:pt x="15" y="23"/>
                  <a:pt x="15" y="23"/>
                  <a:pt x="15" y="23"/>
                </a:cubicBezTo>
                <a:cubicBezTo>
                  <a:pt x="14" y="25"/>
                  <a:pt x="14" y="25"/>
                  <a:pt x="14" y="25"/>
                </a:cubicBezTo>
                <a:cubicBezTo>
                  <a:pt x="13" y="25"/>
                  <a:pt x="13" y="25"/>
                  <a:pt x="13" y="25"/>
                </a:cubicBezTo>
                <a:cubicBezTo>
                  <a:pt x="12" y="25"/>
                  <a:pt x="12" y="25"/>
                  <a:pt x="12" y="25"/>
                </a:cubicBezTo>
                <a:cubicBezTo>
                  <a:pt x="11" y="25"/>
                  <a:pt x="11" y="25"/>
                  <a:pt x="11" y="25"/>
                </a:cubicBezTo>
                <a:cubicBezTo>
                  <a:pt x="10" y="23"/>
                  <a:pt x="10" y="23"/>
                  <a:pt x="10" y="23"/>
                </a:cubicBezTo>
                <a:cubicBezTo>
                  <a:pt x="9" y="22"/>
                  <a:pt x="9" y="22"/>
                  <a:pt x="9" y="22"/>
                </a:cubicBezTo>
                <a:cubicBezTo>
                  <a:pt x="10" y="20"/>
                  <a:pt x="10" y="20"/>
                  <a:pt x="10" y="20"/>
                </a:cubicBezTo>
                <a:close/>
                <a:moveTo>
                  <a:pt x="15" y="5"/>
                </a:moveTo>
                <a:cubicBezTo>
                  <a:pt x="15" y="4"/>
                  <a:pt x="15" y="4"/>
                  <a:pt x="15" y="4"/>
                </a:cubicBezTo>
                <a:cubicBezTo>
                  <a:pt x="17" y="4"/>
                  <a:pt x="17" y="4"/>
                  <a:pt x="17" y="4"/>
                </a:cubicBezTo>
                <a:cubicBezTo>
                  <a:pt x="16" y="5"/>
                  <a:pt x="16" y="5"/>
                  <a:pt x="16" y="5"/>
                </a:cubicBezTo>
                <a:cubicBezTo>
                  <a:pt x="15" y="5"/>
                  <a:pt x="15" y="5"/>
                  <a:pt x="15" y="5"/>
                </a:cubicBezTo>
                <a:close/>
                <a:moveTo>
                  <a:pt x="4" y="11"/>
                </a:moveTo>
                <a:cubicBezTo>
                  <a:pt x="3" y="9"/>
                  <a:pt x="3" y="9"/>
                  <a:pt x="3" y="9"/>
                </a:cubicBezTo>
                <a:cubicBezTo>
                  <a:pt x="4" y="8"/>
                  <a:pt x="4" y="8"/>
                  <a:pt x="4" y="8"/>
                </a:cubicBezTo>
                <a:cubicBezTo>
                  <a:pt x="5" y="8"/>
                  <a:pt x="5" y="8"/>
                  <a:pt x="5" y="8"/>
                </a:cubicBezTo>
                <a:cubicBezTo>
                  <a:pt x="5" y="9"/>
                  <a:pt x="5" y="9"/>
                  <a:pt x="5" y="9"/>
                </a:cubicBezTo>
                <a:cubicBezTo>
                  <a:pt x="4" y="10"/>
                  <a:pt x="4" y="10"/>
                  <a:pt x="4" y="10"/>
                </a:cubicBezTo>
                <a:cubicBezTo>
                  <a:pt x="4" y="11"/>
                  <a:pt x="4" y="11"/>
                  <a:pt x="4" y="11"/>
                </a:cubicBezTo>
                <a:close/>
                <a:moveTo>
                  <a:pt x="3" y="11"/>
                </a:moveTo>
                <a:cubicBezTo>
                  <a:pt x="3" y="10"/>
                  <a:pt x="3" y="10"/>
                  <a:pt x="3" y="10"/>
                </a:cubicBezTo>
                <a:cubicBezTo>
                  <a:pt x="3" y="9"/>
                  <a:pt x="3" y="9"/>
                  <a:pt x="3" y="9"/>
                </a:cubicBezTo>
                <a:cubicBezTo>
                  <a:pt x="5" y="7"/>
                  <a:pt x="5" y="7"/>
                  <a:pt x="5" y="7"/>
                </a:cubicBezTo>
                <a:cubicBezTo>
                  <a:pt x="5" y="8"/>
                  <a:pt x="5" y="8"/>
                  <a:pt x="5" y="8"/>
                </a:cubicBezTo>
                <a:cubicBezTo>
                  <a:pt x="7" y="7"/>
                  <a:pt x="7" y="7"/>
                  <a:pt x="7" y="7"/>
                </a:cubicBezTo>
                <a:cubicBezTo>
                  <a:pt x="8" y="8"/>
                  <a:pt x="8" y="8"/>
                  <a:pt x="8" y="8"/>
                </a:cubicBezTo>
                <a:cubicBezTo>
                  <a:pt x="9" y="7"/>
                  <a:pt x="9" y="7"/>
                  <a:pt x="9" y="7"/>
                </a:cubicBezTo>
                <a:cubicBezTo>
                  <a:pt x="10" y="7"/>
                  <a:pt x="10" y="7"/>
                  <a:pt x="10" y="7"/>
                </a:cubicBezTo>
                <a:cubicBezTo>
                  <a:pt x="11" y="8"/>
                  <a:pt x="11" y="8"/>
                  <a:pt x="11" y="8"/>
                </a:cubicBezTo>
                <a:cubicBezTo>
                  <a:pt x="12" y="8"/>
                  <a:pt x="12" y="8"/>
                  <a:pt x="12" y="8"/>
                </a:cubicBezTo>
                <a:cubicBezTo>
                  <a:pt x="13" y="5"/>
                  <a:pt x="13" y="5"/>
                  <a:pt x="13" y="5"/>
                </a:cubicBezTo>
                <a:cubicBezTo>
                  <a:pt x="13" y="4"/>
                  <a:pt x="13" y="4"/>
                  <a:pt x="13" y="4"/>
                </a:cubicBezTo>
                <a:cubicBezTo>
                  <a:pt x="13" y="4"/>
                  <a:pt x="13" y="4"/>
                  <a:pt x="13" y="4"/>
                </a:cubicBezTo>
                <a:cubicBezTo>
                  <a:pt x="13" y="2"/>
                  <a:pt x="13" y="2"/>
                  <a:pt x="13" y="2"/>
                </a:cubicBezTo>
                <a:cubicBezTo>
                  <a:pt x="14" y="1"/>
                  <a:pt x="14" y="1"/>
                  <a:pt x="14" y="1"/>
                </a:cubicBezTo>
                <a:cubicBezTo>
                  <a:pt x="13" y="0"/>
                  <a:pt x="13" y="0"/>
                  <a:pt x="13" y="0"/>
                </a:cubicBezTo>
                <a:cubicBezTo>
                  <a:pt x="12" y="2"/>
                  <a:pt x="12" y="2"/>
                  <a:pt x="12" y="2"/>
                </a:cubicBezTo>
                <a:cubicBezTo>
                  <a:pt x="10" y="3"/>
                  <a:pt x="10" y="3"/>
                  <a:pt x="10" y="3"/>
                </a:cubicBezTo>
                <a:cubicBezTo>
                  <a:pt x="9" y="3"/>
                  <a:pt x="9" y="3"/>
                  <a:pt x="9" y="3"/>
                </a:cubicBezTo>
                <a:cubicBezTo>
                  <a:pt x="8" y="4"/>
                  <a:pt x="8" y="4"/>
                  <a:pt x="8" y="4"/>
                </a:cubicBezTo>
                <a:cubicBezTo>
                  <a:pt x="8" y="5"/>
                  <a:pt x="8" y="5"/>
                  <a:pt x="8" y="5"/>
                </a:cubicBezTo>
                <a:cubicBezTo>
                  <a:pt x="6" y="6"/>
                  <a:pt x="6" y="6"/>
                  <a:pt x="6" y="6"/>
                </a:cubicBezTo>
                <a:cubicBezTo>
                  <a:pt x="5" y="6"/>
                  <a:pt x="5" y="6"/>
                  <a:pt x="5" y="6"/>
                </a:cubicBezTo>
                <a:cubicBezTo>
                  <a:pt x="3" y="7"/>
                  <a:pt x="3" y="7"/>
                  <a:pt x="3" y="7"/>
                </a:cubicBezTo>
                <a:cubicBezTo>
                  <a:pt x="3" y="7"/>
                  <a:pt x="3" y="7"/>
                  <a:pt x="3" y="7"/>
                </a:cubicBezTo>
                <a:cubicBezTo>
                  <a:pt x="2" y="7"/>
                  <a:pt x="2" y="7"/>
                  <a:pt x="2" y="7"/>
                </a:cubicBezTo>
                <a:cubicBezTo>
                  <a:pt x="2" y="9"/>
                  <a:pt x="2" y="9"/>
                  <a:pt x="2" y="9"/>
                </a:cubicBezTo>
                <a:cubicBezTo>
                  <a:pt x="1" y="10"/>
                  <a:pt x="1" y="10"/>
                  <a:pt x="1" y="10"/>
                </a:cubicBezTo>
                <a:cubicBezTo>
                  <a:pt x="1" y="10"/>
                  <a:pt x="1" y="10"/>
                  <a:pt x="1" y="10"/>
                </a:cubicBezTo>
                <a:cubicBezTo>
                  <a:pt x="2" y="10"/>
                  <a:pt x="2" y="10"/>
                  <a:pt x="2" y="10"/>
                </a:cubicBezTo>
                <a:cubicBezTo>
                  <a:pt x="3" y="11"/>
                  <a:pt x="3" y="11"/>
                  <a:pt x="3" y="11"/>
                </a:cubicBezTo>
                <a:close/>
                <a:moveTo>
                  <a:pt x="9" y="26"/>
                </a:moveTo>
                <a:cubicBezTo>
                  <a:pt x="8" y="26"/>
                  <a:pt x="8" y="26"/>
                  <a:pt x="8" y="26"/>
                </a:cubicBezTo>
                <a:cubicBezTo>
                  <a:pt x="9" y="25"/>
                  <a:pt x="9" y="25"/>
                  <a:pt x="9" y="25"/>
                </a:cubicBezTo>
                <a:cubicBezTo>
                  <a:pt x="8" y="24"/>
                  <a:pt x="8" y="24"/>
                  <a:pt x="8" y="24"/>
                </a:cubicBezTo>
                <a:cubicBezTo>
                  <a:pt x="7" y="24"/>
                  <a:pt x="7" y="24"/>
                  <a:pt x="7" y="24"/>
                </a:cubicBezTo>
                <a:cubicBezTo>
                  <a:pt x="8" y="24"/>
                  <a:pt x="8" y="24"/>
                  <a:pt x="8" y="24"/>
                </a:cubicBezTo>
                <a:cubicBezTo>
                  <a:pt x="8" y="23"/>
                  <a:pt x="8" y="23"/>
                  <a:pt x="8" y="23"/>
                </a:cubicBezTo>
                <a:cubicBezTo>
                  <a:pt x="8" y="22"/>
                  <a:pt x="8" y="22"/>
                  <a:pt x="8" y="22"/>
                </a:cubicBezTo>
                <a:cubicBezTo>
                  <a:pt x="8" y="22"/>
                  <a:pt x="8" y="22"/>
                  <a:pt x="8" y="22"/>
                </a:cubicBezTo>
                <a:cubicBezTo>
                  <a:pt x="8" y="21"/>
                  <a:pt x="8" y="21"/>
                  <a:pt x="8" y="21"/>
                </a:cubicBezTo>
                <a:cubicBezTo>
                  <a:pt x="10" y="20"/>
                  <a:pt x="10" y="20"/>
                  <a:pt x="10" y="20"/>
                </a:cubicBezTo>
                <a:cubicBezTo>
                  <a:pt x="10" y="19"/>
                  <a:pt x="10" y="19"/>
                  <a:pt x="10" y="19"/>
                </a:cubicBezTo>
                <a:cubicBezTo>
                  <a:pt x="11" y="18"/>
                  <a:pt x="11" y="18"/>
                  <a:pt x="11" y="18"/>
                </a:cubicBezTo>
                <a:cubicBezTo>
                  <a:pt x="11" y="18"/>
                  <a:pt x="11" y="18"/>
                  <a:pt x="11" y="18"/>
                </a:cubicBezTo>
                <a:cubicBezTo>
                  <a:pt x="12" y="18"/>
                  <a:pt x="12" y="18"/>
                  <a:pt x="12" y="18"/>
                </a:cubicBezTo>
                <a:cubicBezTo>
                  <a:pt x="12" y="16"/>
                  <a:pt x="12" y="16"/>
                  <a:pt x="12" y="16"/>
                </a:cubicBezTo>
                <a:cubicBezTo>
                  <a:pt x="12" y="15"/>
                  <a:pt x="12" y="15"/>
                  <a:pt x="12" y="15"/>
                </a:cubicBezTo>
                <a:cubicBezTo>
                  <a:pt x="13" y="14"/>
                  <a:pt x="13" y="14"/>
                  <a:pt x="13" y="14"/>
                </a:cubicBezTo>
                <a:cubicBezTo>
                  <a:pt x="14" y="14"/>
                  <a:pt x="14" y="14"/>
                  <a:pt x="14" y="14"/>
                </a:cubicBezTo>
                <a:cubicBezTo>
                  <a:pt x="14" y="15"/>
                  <a:pt x="14" y="15"/>
                  <a:pt x="14" y="15"/>
                </a:cubicBezTo>
                <a:cubicBezTo>
                  <a:pt x="15" y="15"/>
                  <a:pt x="15" y="15"/>
                  <a:pt x="15" y="15"/>
                </a:cubicBezTo>
                <a:cubicBezTo>
                  <a:pt x="15" y="15"/>
                  <a:pt x="15" y="15"/>
                  <a:pt x="15" y="15"/>
                </a:cubicBezTo>
                <a:cubicBezTo>
                  <a:pt x="16" y="14"/>
                  <a:pt x="16" y="14"/>
                  <a:pt x="16" y="14"/>
                </a:cubicBezTo>
                <a:cubicBezTo>
                  <a:pt x="16" y="13"/>
                  <a:pt x="16" y="13"/>
                  <a:pt x="16" y="13"/>
                </a:cubicBezTo>
                <a:cubicBezTo>
                  <a:pt x="15" y="12"/>
                  <a:pt x="15" y="12"/>
                  <a:pt x="15" y="12"/>
                </a:cubicBezTo>
                <a:cubicBezTo>
                  <a:pt x="14" y="13"/>
                  <a:pt x="14" y="13"/>
                  <a:pt x="14" y="13"/>
                </a:cubicBezTo>
                <a:cubicBezTo>
                  <a:pt x="13" y="13"/>
                  <a:pt x="13" y="13"/>
                  <a:pt x="13" y="13"/>
                </a:cubicBezTo>
                <a:cubicBezTo>
                  <a:pt x="12" y="12"/>
                  <a:pt x="12" y="12"/>
                  <a:pt x="12" y="12"/>
                </a:cubicBezTo>
                <a:cubicBezTo>
                  <a:pt x="12" y="11"/>
                  <a:pt x="12" y="11"/>
                  <a:pt x="12" y="11"/>
                </a:cubicBezTo>
                <a:cubicBezTo>
                  <a:pt x="11" y="11"/>
                  <a:pt x="11" y="11"/>
                  <a:pt x="11" y="11"/>
                </a:cubicBezTo>
                <a:cubicBezTo>
                  <a:pt x="11" y="10"/>
                  <a:pt x="11" y="10"/>
                  <a:pt x="11" y="10"/>
                </a:cubicBezTo>
                <a:cubicBezTo>
                  <a:pt x="11" y="9"/>
                  <a:pt x="11" y="9"/>
                  <a:pt x="11" y="9"/>
                </a:cubicBezTo>
                <a:cubicBezTo>
                  <a:pt x="10" y="8"/>
                  <a:pt x="10" y="8"/>
                  <a:pt x="10" y="8"/>
                </a:cubicBezTo>
                <a:cubicBezTo>
                  <a:pt x="8" y="8"/>
                  <a:pt x="8" y="8"/>
                  <a:pt x="8" y="8"/>
                </a:cubicBezTo>
                <a:cubicBezTo>
                  <a:pt x="7" y="8"/>
                  <a:pt x="7" y="8"/>
                  <a:pt x="7" y="8"/>
                </a:cubicBezTo>
                <a:cubicBezTo>
                  <a:pt x="6" y="8"/>
                  <a:pt x="6" y="8"/>
                  <a:pt x="6" y="8"/>
                </a:cubicBezTo>
                <a:cubicBezTo>
                  <a:pt x="6" y="9"/>
                  <a:pt x="6" y="9"/>
                  <a:pt x="6" y="9"/>
                </a:cubicBezTo>
                <a:cubicBezTo>
                  <a:pt x="7" y="10"/>
                  <a:pt x="7" y="10"/>
                  <a:pt x="7" y="10"/>
                </a:cubicBezTo>
                <a:cubicBezTo>
                  <a:pt x="7" y="11"/>
                  <a:pt x="7" y="11"/>
                  <a:pt x="7" y="11"/>
                </a:cubicBezTo>
                <a:cubicBezTo>
                  <a:pt x="8" y="12"/>
                  <a:pt x="8" y="12"/>
                  <a:pt x="8" y="12"/>
                </a:cubicBezTo>
                <a:cubicBezTo>
                  <a:pt x="8" y="12"/>
                  <a:pt x="8" y="12"/>
                  <a:pt x="8" y="12"/>
                </a:cubicBezTo>
                <a:cubicBezTo>
                  <a:pt x="7" y="12"/>
                  <a:pt x="7" y="12"/>
                  <a:pt x="7" y="12"/>
                </a:cubicBezTo>
                <a:cubicBezTo>
                  <a:pt x="6" y="12"/>
                  <a:pt x="6" y="12"/>
                  <a:pt x="6" y="12"/>
                </a:cubicBezTo>
                <a:cubicBezTo>
                  <a:pt x="5" y="12"/>
                  <a:pt x="5" y="12"/>
                  <a:pt x="5" y="12"/>
                </a:cubicBezTo>
                <a:cubicBezTo>
                  <a:pt x="6" y="11"/>
                  <a:pt x="6" y="11"/>
                  <a:pt x="6" y="11"/>
                </a:cubicBezTo>
                <a:cubicBezTo>
                  <a:pt x="5" y="10"/>
                  <a:pt x="5" y="10"/>
                  <a:pt x="5" y="10"/>
                </a:cubicBezTo>
                <a:cubicBezTo>
                  <a:pt x="5" y="10"/>
                  <a:pt x="5" y="10"/>
                  <a:pt x="5" y="10"/>
                </a:cubicBezTo>
                <a:cubicBezTo>
                  <a:pt x="4" y="11"/>
                  <a:pt x="4" y="11"/>
                  <a:pt x="4" y="11"/>
                </a:cubicBezTo>
                <a:cubicBezTo>
                  <a:pt x="5" y="12"/>
                  <a:pt x="5" y="12"/>
                  <a:pt x="5" y="12"/>
                </a:cubicBezTo>
                <a:cubicBezTo>
                  <a:pt x="4" y="13"/>
                  <a:pt x="4" y="13"/>
                  <a:pt x="4" y="13"/>
                </a:cubicBezTo>
                <a:cubicBezTo>
                  <a:pt x="3" y="12"/>
                  <a:pt x="3" y="12"/>
                  <a:pt x="3" y="12"/>
                </a:cubicBezTo>
                <a:cubicBezTo>
                  <a:pt x="2" y="12"/>
                  <a:pt x="2" y="12"/>
                  <a:pt x="2" y="12"/>
                </a:cubicBezTo>
                <a:cubicBezTo>
                  <a:pt x="1" y="11"/>
                  <a:pt x="1" y="11"/>
                  <a:pt x="1" y="11"/>
                </a:cubicBezTo>
                <a:cubicBezTo>
                  <a:pt x="0" y="12"/>
                  <a:pt x="0" y="12"/>
                  <a:pt x="0" y="12"/>
                </a:cubicBezTo>
                <a:cubicBezTo>
                  <a:pt x="2" y="13"/>
                  <a:pt x="2" y="13"/>
                  <a:pt x="2" y="13"/>
                </a:cubicBezTo>
                <a:cubicBezTo>
                  <a:pt x="2" y="15"/>
                  <a:pt x="2" y="15"/>
                  <a:pt x="2" y="15"/>
                </a:cubicBezTo>
                <a:cubicBezTo>
                  <a:pt x="1" y="14"/>
                  <a:pt x="1" y="14"/>
                  <a:pt x="1" y="14"/>
                </a:cubicBezTo>
                <a:cubicBezTo>
                  <a:pt x="0" y="14"/>
                  <a:pt x="0" y="14"/>
                  <a:pt x="0" y="14"/>
                </a:cubicBezTo>
                <a:cubicBezTo>
                  <a:pt x="0" y="16"/>
                  <a:pt x="0" y="16"/>
                  <a:pt x="0" y="16"/>
                </a:cubicBezTo>
                <a:cubicBezTo>
                  <a:pt x="1" y="16"/>
                  <a:pt x="1" y="16"/>
                  <a:pt x="1" y="16"/>
                </a:cubicBezTo>
                <a:cubicBezTo>
                  <a:pt x="1" y="18"/>
                  <a:pt x="1" y="18"/>
                  <a:pt x="1" y="18"/>
                </a:cubicBezTo>
                <a:cubicBezTo>
                  <a:pt x="2" y="18"/>
                  <a:pt x="2" y="18"/>
                  <a:pt x="2" y="18"/>
                </a:cubicBezTo>
                <a:cubicBezTo>
                  <a:pt x="0" y="19"/>
                  <a:pt x="0" y="19"/>
                  <a:pt x="0" y="19"/>
                </a:cubicBezTo>
                <a:cubicBezTo>
                  <a:pt x="0" y="21"/>
                  <a:pt x="0" y="21"/>
                  <a:pt x="0" y="21"/>
                </a:cubicBezTo>
                <a:cubicBezTo>
                  <a:pt x="0" y="21"/>
                  <a:pt x="0" y="21"/>
                  <a:pt x="0" y="21"/>
                </a:cubicBezTo>
                <a:cubicBezTo>
                  <a:pt x="1" y="21"/>
                  <a:pt x="1" y="21"/>
                  <a:pt x="1" y="21"/>
                </a:cubicBezTo>
                <a:cubicBezTo>
                  <a:pt x="3" y="22"/>
                  <a:pt x="3" y="22"/>
                  <a:pt x="3" y="22"/>
                </a:cubicBezTo>
                <a:cubicBezTo>
                  <a:pt x="3" y="24"/>
                  <a:pt x="3" y="24"/>
                  <a:pt x="3" y="24"/>
                </a:cubicBezTo>
                <a:cubicBezTo>
                  <a:pt x="3" y="24"/>
                  <a:pt x="3" y="24"/>
                  <a:pt x="3" y="24"/>
                </a:cubicBezTo>
                <a:cubicBezTo>
                  <a:pt x="3" y="25"/>
                  <a:pt x="3" y="25"/>
                  <a:pt x="3" y="25"/>
                </a:cubicBezTo>
                <a:cubicBezTo>
                  <a:pt x="4" y="25"/>
                  <a:pt x="4" y="25"/>
                  <a:pt x="4" y="25"/>
                </a:cubicBezTo>
                <a:cubicBezTo>
                  <a:pt x="7" y="26"/>
                  <a:pt x="7" y="26"/>
                  <a:pt x="7" y="26"/>
                </a:cubicBezTo>
                <a:cubicBezTo>
                  <a:pt x="7" y="26"/>
                  <a:pt x="7" y="26"/>
                  <a:pt x="7" y="26"/>
                </a:cubicBezTo>
                <a:lnTo>
                  <a:pt x="9" y="26"/>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5" name="Freeform 43">
            <a:extLst>
              <a:ext uri="{FF2B5EF4-FFF2-40B4-BE49-F238E27FC236}">
                <a16:creationId xmlns:a16="http://schemas.microsoft.com/office/drawing/2014/main" id="{0E7476C6-83FD-51F6-1CFF-62791C16F857}"/>
              </a:ext>
            </a:extLst>
          </p:cNvPr>
          <p:cNvSpPr>
            <a:spLocks noEditPoints="1"/>
          </p:cNvSpPr>
          <p:nvPr userDrawn="1"/>
        </p:nvSpPr>
        <p:spPr bwMode="auto">
          <a:xfrm>
            <a:off x="13388106" y="3815637"/>
            <a:ext cx="1260396" cy="1457326"/>
          </a:xfrm>
          <a:custGeom>
            <a:avLst/>
            <a:gdLst>
              <a:gd name="T0" fmla="*/ 122 w 127"/>
              <a:gd name="T1" fmla="*/ 18 h 147"/>
              <a:gd name="T2" fmla="*/ 126 w 127"/>
              <a:gd name="T3" fmla="*/ 10 h 147"/>
              <a:gd name="T4" fmla="*/ 117 w 127"/>
              <a:gd name="T5" fmla="*/ 6 h 147"/>
              <a:gd name="T6" fmla="*/ 111 w 127"/>
              <a:gd name="T7" fmla="*/ 7 h 147"/>
              <a:gd name="T8" fmla="*/ 108 w 127"/>
              <a:gd name="T9" fmla="*/ 0 h 147"/>
              <a:gd name="T10" fmla="*/ 104 w 127"/>
              <a:gd name="T11" fmla="*/ 9 h 147"/>
              <a:gd name="T12" fmla="*/ 95 w 127"/>
              <a:gd name="T13" fmla="*/ 13 h 147"/>
              <a:gd name="T14" fmla="*/ 91 w 127"/>
              <a:gd name="T15" fmla="*/ 5 h 147"/>
              <a:gd name="T16" fmla="*/ 88 w 127"/>
              <a:gd name="T17" fmla="*/ 15 h 147"/>
              <a:gd name="T18" fmla="*/ 81 w 127"/>
              <a:gd name="T19" fmla="*/ 17 h 147"/>
              <a:gd name="T20" fmla="*/ 72 w 127"/>
              <a:gd name="T21" fmla="*/ 25 h 147"/>
              <a:gd name="T22" fmla="*/ 69 w 127"/>
              <a:gd name="T23" fmla="*/ 27 h 147"/>
              <a:gd name="T24" fmla="*/ 62 w 127"/>
              <a:gd name="T25" fmla="*/ 27 h 147"/>
              <a:gd name="T26" fmla="*/ 56 w 127"/>
              <a:gd name="T27" fmla="*/ 36 h 147"/>
              <a:gd name="T28" fmla="*/ 55 w 127"/>
              <a:gd name="T29" fmla="*/ 40 h 147"/>
              <a:gd name="T30" fmla="*/ 49 w 127"/>
              <a:gd name="T31" fmla="*/ 45 h 147"/>
              <a:gd name="T32" fmla="*/ 50 w 127"/>
              <a:gd name="T33" fmla="*/ 50 h 147"/>
              <a:gd name="T34" fmla="*/ 44 w 127"/>
              <a:gd name="T35" fmla="*/ 57 h 147"/>
              <a:gd name="T36" fmla="*/ 43 w 127"/>
              <a:gd name="T37" fmla="*/ 62 h 147"/>
              <a:gd name="T38" fmla="*/ 40 w 127"/>
              <a:gd name="T39" fmla="*/ 71 h 147"/>
              <a:gd name="T40" fmla="*/ 33 w 127"/>
              <a:gd name="T41" fmla="*/ 79 h 147"/>
              <a:gd name="T42" fmla="*/ 25 w 127"/>
              <a:gd name="T43" fmla="*/ 89 h 147"/>
              <a:gd name="T44" fmla="*/ 34 w 127"/>
              <a:gd name="T45" fmla="*/ 88 h 147"/>
              <a:gd name="T46" fmla="*/ 23 w 127"/>
              <a:gd name="T47" fmla="*/ 92 h 147"/>
              <a:gd name="T48" fmla="*/ 20 w 127"/>
              <a:gd name="T49" fmla="*/ 98 h 147"/>
              <a:gd name="T50" fmla="*/ 14 w 127"/>
              <a:gd name="T51" fmla="*/ 99 h 147"/>
              <a:gd name="T52" fmla="*/ 12 w 127"/>
              <a:gd name="T53" fmla="*/ 104 h 147"/>
              <a:gd name="T54" fmla="*/ 2 w 127"/>
              <a:gd name="T55" fmla="*/ 106 h 147"/>
              <a:gd name="T56" fmla="*/ 3 w 127"/>
              <a:gd name="T57" fmla="*/ 112 h 147"/>
              <a:gd name="T58" fmla="*/ 9 w 127"/>
              <a:gd name="T59" fmla="*/ 114 h 147"/>
              <a:gd name="T60" fmla="*/ 12 w 127"/>
              <a:gd name="T61" fmla="*/ 117 h 147"/>
              <a:gd name="T62" fmla="*/ 3 w 127"/>
              <a:gd name="T63" fmla="*/ 120 h 147"/>
              <a:gd name="T64" fmla="*/ 11 w 127"/>
              <a:gd name="T65" fmla="*/ 122 h 147"/>
              <a:gd name="T66" fmla="*/ 5 w 127"/>
              <a:gd name="T67" fmla="*/ 131 h 147"/>
              <a:gd name="T68" fmla="*/ 9 w 127"/>
              <a:gd name="T69" fmla="*/ 138 h 147"/>
              <a:gd name="T70" fmla="*/ 15 w 127"/>
              <a:gd name="T71" fmla="*/ 147 h 147"/>
              <a:gd name="T72" fmla="*/ 26 w 127"/>
              <a:gd name="T73" fmla="*/ 136 h 147"/>
              <a:gd name="T74" fmla="*/ 31 w 127"/>
              <a:gd name="T75" fmla="*/ 132 h 147"/>
              <a:gd name="T76" fmla="*/ 39 w 127"/>
              <a:gd name="T77" fmla="*/ 137 h 147"/>
              <a:gd name="T78" fmla="*/ 40 w 127"/>
              <a:gd name="T79" fmla="*/ 103 h 147"/>
              <a:gd name="T80" fmla="*/ 48 w 127"/>
              <a:gd name="T81" fmla="*/ 62 h 147"/>
              <a:gd name="T82" fmla="*/ 64 w 127"/>
              <a:gd name="T83" fmla="*/ 38 h 147"/>
              <a:gd name="T84" fmla="*/ 75 w 127"/>
              <a:gd name="T85" fmla="*/ 28 h 147"/>
              <a:gd name="T86" fmla="*/ 97 w 127"/>
              <a:gd name="T87" fmla="*/ 31 h 147"/>
              <a:gd name="T88" fmla="*/ 112 w 127"/>
              <a:gd name="T89" fmla="*/ 15 h 147"/>
              <a:gd name="T90" fmla="*/ 4 w 127"/>
              <a:gd name="T91" fmla="*/ 127 h 147"/>
              <a:gd name="T92" fmla="*/ 2 w 127"/>
              <a:gd name="T93" fmla="*/ 124 h 147"/>
              <a:gd name="T94" fmla="*/ 5 w 127"/>
              <a:gd name="T95" fmla="*/ 104 h 147"/>
              <a:gd name="T96" fmla="*/ 22 w 127"/>
              <a:gd name="T97" fmla="*/ 90 h 147"/>
              <a:gd name="T98" fmla="*/ 37 w 127"/>
              <a:gd name="T99" fmla="*/ 68 h 147"/>
              <a:gd name="T100" fmla="*/ 38 w 127"/>
              <a:gd name="T101" fmla="*/ 46 h 147"/>
              <a:gd name="T102" fmla="*/ 47 w 127"/>
              <a:gd name="T103" fmla="*/ 35 h 147"/>
              <a:gd name="T104" fmla="*/ 51 w 127"/>
              <a:gd name="T105" fmla="*/ 30 h 147"/>
              <a:gd name="T106" fmla="*/ 50 w 127"/>
              <a:gd name="T107" fmla="*/ 34 h 147"/>
              <a:gd name="T108" fmla="*/ 62 w 127"/>
              <a:gd name="T109" fmla="*/ 25 h 147"/>
              <a:gd name="T110" fmla="*/ 62 w 127"/>
              <a:gd name="T111" fmla="*/ 25 h 147"/>
              <a:gd name="T112" fmla="*/ 69 w 127"/>
              <a:gd name="T113" fmla="*/ 19 h 147"/>
              <a:gd name="T114" fmla="*/ 72 w 127"/>
              <a:gd name="T115" fmla="*/ 15 h 147"/>
              <a:gd name="T116" fmla="*/ 88 w 127"/>
              <a:gd name="T117" fmla="*/ 9 h 147"/>
              <a:gd name="T118" fmla="*/ 88 w 127"/>
              <a:gd name="T119" fmla="*/ 6 h 147"/>
              <a:gd name="T120" fmla="*/ 100 w 127"/>
              <a:gd name="T121" fmla="*/ 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7" h="147">
                <a:moveTo>
                  <a:pt x="118" y="26"/>
                </a:moveTo>
                <a:cubicBezTo>
                  <a:pt x="119" y="26"/>
                  <a:pt x="119" y="26"/>
                  <a:pt x="119" y="26"/>
                </a:cubicBezTo>
                <a:cubicBezTo>
                  <a:pt x="119" y="24"/>
                  <a:pt x="119" y="24"/>
                  <a:pt x="119" y="24"/>
                </a:cubicBezTo>
                <a:cubicBezTo>
                  <a:pt x="121" y="22"/>
                  <a:pt x="121" y="22"/>
                  <a:pt x="121" y="22"/>
                </a:cubicBezTo>
                <a:cubicBezTo>
                  <a:pt x="122" y="22"/>
                  <a:pt x="122" y="22"/>
                  <a:pt x="122" y="22"/>
                </a:cubicBezTo>
                <a:cubicBezTo>
                  <a:pt x="123" y="21"/>
                  <a:pt x="123" y="21"/>
                  <a:pt x="123" y="21"/>
                </a:cubicBezTo>
                <a:cubicBezTo>
                  <a:pt x="123" y="19"/>
                  <a:pt x="123" y="19"/>
                  <a:pt x="123" y="19"/>
                </a:cubicBezTo>
                <a:cubicBezTo>
                  <a:pt x="124" y="19"/>
                  <a:pt x="124" y="19"/>
                  <a:pt x="124" y="19"/>
                </a:cubicBezTo>
                <a:cubicBezTo>
                  <a:pt x="125" y="19"/>
                  <a:pt x="125" y="19"/>
                  <a:pt x="125" y="19"/>
                </a:cubicBezTo>
                <a:cubicBezTo>
                  <a:pt x="126" y="18"/>
                  <a:pt x="126" y="18"/>
                  <a:pt x="126" y="18"/>
                </a:cubicBezTo>
                <a:cubicBezTo>
                  <a:pt x="126" y="17"/>
                  <a:pt x="126" y="17"/>
                  <a:pt x="126" y="17"/>
                </a:cubicBezTo>
                <a:cubicBezTo>
                  <a:pt x="126" y="17"/>
                  <a:pt x="126" y="17"/>
                  <a:pt x="126" y="17"/>
                </a:cubicBezTo>
                <a:cubicBezTo>
                  <a:pt x="125" y="16"/>
                  <a:pt x="125" y="16"/>
                  <a:pt x="125" y="16"/>
                </a:cubicBezTo>
                <a:cubicBezTo>
                  <a:pt x="124" y="16"/>
                  <a:pt x="124" y="16"/>
                  <a:pt x="124" y="16"/>
                </a:cubicBezTo>
                <a:cubicBezTo>
                  <a:pt x="124" y="17"/>
                  <a:pt x="124" y="17"/>
                  <a:pt x="124" y="17"/>
                </a:cubicBezTo>
                <a:cubicBezTo>
                  <a:pt x="124" y="17"/>
                  <a:pt x="124" y="17"/>
                  <a:pt x="124" y="17"/>
                </a:cubicBezTo>
                <a:cubicBezTo>
                  <a:pt x="123" y="17"/>
                  <a:pt x="123" y="17"/>
                  <a:pt x="123" y="17"/>
                </a:cubicBezTo>
                <a:cubicBezTo>
                  <a:pt x="123" y="16"/>
                  <a:pt x="123" y="16"/>
                  <a:pt x="123" y="16"/>
                </a:cubicBezTo>
                <a:cubicBezTo>
                  <a:pt x="122" y="16"/>
                  <a:pt x="122" y="16"/>
                  <a:pt x="122" y="16"/>
                </a:cubicBezTo>
                <a:cubicBezTo>
                  <a:pt x="123" y="17"/>
                  <a:pt x="123" y="17"/>
                  <a:pt x="123" y="17"/>
                </a:cubicBezTo>
                <a:cubicBezTo>
                  <a:pt x="122" y="18"/>
                  <a:pt x="122" y="18"/>
                  <a:pt x="122" y="18"/>
                </a:cubicBezTo>
                <a:cubicBezTo>
                  <a:pt x="122" y="18"/>
                  <a:pt x="122" y="18"/>
                  <a:pt x="122" y="18"/>
                </a:cubicBezTo>
                <a:cubicBezTo>
                  <a:pt x="121" y="17"/>
                  <a:pt x="121" y="17"/>
                  <a:pt x="121" y="17"/>
                </a:cubicBezTo>
                <a:cubicBezTo>
                  <a:pt x="120" y="18"/>
                  <a:pt x="120" y="18"/>
                  <a:pt x="120" y="18"/>
                </a:cubicBezTo>
                <a:cubicBezTo>
                  <a:pt x="120" y="18"/>
                  <a:pt x="120" y="18"/>
                  <a:pt x="120" y="18"/>
                </a:cubicBezTo>
                <a:cubicBezTo>
                  <a:pt x="120" y="17"/>
                  <a:pt x="120" y="17"/>
                  <a:pt x="120" y="17"/>
                </a:cubicBezTo>
                <a:cubicBezTo>
                  <a:pt x="120" y="16"/>
                  <a:pt x="120" y="16"/>
                  <a:pt x="120" y="16"/>
                </a:cubicBezTo>
                <a:cubicBezTo>
                  <a:pt x="119" y="16"/>
                  <a:pt x="119" y="16"/>
                  <a:pt x="119" y="16"/>
                </a:cubicBezTo>
                <a:cubicBezTo>
                  <a:pt x="119" y="15"/>
                  <a:pt x="119" y="15"/>
                  <a:pt x="119" y="15"/>
                </a:cubicBezTo>
                <a:cubicBezTo>
                  <a:pt x="118" y="14"/>
                  <a:pt x="118" y="14"/>
                  <a:pt x="118" y="14"/>
                </a:cubicBezTo>
                <a:cubicBezTo>
                  <a:pt x="117" y="14"/>
                  <a:pt x="117" y="14"/>
                  <a:pt x="117" y="14"/>
                </a:cubicBezTo>
                <a:cubicBezTo>
                  <a:pt x="116" y="14"/>
                  <a:pt x="116" y="14"/>
                  <a:pt x="116" y="14"/>
                </a:cubicBezTo>
                <a:cubicBezTo>
                  <a:pt x="115" y="14"/>
                  <a:pt x="115" y="14"/>
                  <a:pt x="115" y="14"/>
                </a:cubicBezTo>
                <a:cubicBezTo>
                  <a:pt x="114" y="13"/>
                  <a:pt x="114" y="13"/>
                  <a:pt x="114" y="13"/>
                </a:cubicBezTo>
                <a:cubicBezTo>
                  <a:pt x="114" y="13"/>
                  <a:pt x="114" y="13"/>
                  <a:pt x="114" y="13"/>
                </a:cubicBezTo>
                <a:cubicBezTo>
                  <a:pt x="116" y="13"/>
                  <a:pt x="116" y="13"/>
                  <a:pt x="116" y="13"/>
                </a:cubicBezTo>
                <a:cubicBezTo>
                  <a:pt x="118" y="13"/>
                  <a:pt x="118" y="13"/>
                  <a:pt x="118" y="13"/>
                </a:cubicBezTo>
                <a:cubicBezTo>
                  <a:pt x="119" y="13"/>
                  <a:pt x="119" y="13"/>
                  <a:pt x="119" y="13"/>
                </a:cubicBezTo>
                <a:cubicBezTo>
                  <a:pt x="121" y="14"/>
                  <a:pt x="121" y="14"/>
                  <a:pt x="121" y="14"/>
                </a:cubicBezTo>
                <a:cubicBezTo>
                  <a:pt x="123" y="13"/>
                  <a:pt x="123" y="13"/>
                  <a:pt x="123" y="13"/>
                </a:cubicBezTo>
                <a:cubicBezTo>
                  <a:pt x="124" y="11"/>
                  <a:pt x="124" y="11"/>
                  <a:pt x="124" y="11"/>
                </a:cubicBezTo>
                <a:cubicBezTo>
                  <a:pt x="126" y="10"/>
                  <a:pt x="126" y="10"/>
                  <a:pt x="126" y="10"/>
                </a:cubicBezTo>
                <a:cubicBezTo>
                  <a:pt x="127" y="9"/>
                  <a:pt x="127" y="9"/>
                  <a:pt x="127" y="9"/>
                </a:cubicBezTo>
                <a:cubicBezTo>
                  <a:pt x="127" y="9"/>
                  <a:pt x="127" y="9"/>
                  <a:pt x="127" y="9"/>
                </a:cubicBezTo>
                <a:cubicBezTo>
                  <a:pt x="127" y="9"/>
                  <a:pt x="127" y="9"/>
                  <a:pt x="127" y="9"/>
                </a:cubicBezTo>
                <a:cubicBezTo>
                  <a:pt x="126" y="8"/>
                  <a:pt x="126" y="8"/>
                  <a:pt x="126" y="8"/>
                </a:cubicBezTo>
                <a:cubicBezTo>
                  <a:pt x="126" y="8"/>
                  <a:pt x="126" y="8"/>
                  <a:pt x="126" y="8"/>
                </a:cubicBezTo>
                <a:cubicBezTo>
                  <a:pt x="125" y="8"/>
                  <a:pt x="125" y="8"/>
                  <a:pt x="125" y="8"/>
                </a:cubicBezTo>
                <a:cubicBezTo>
                  <a:pt x="123" y="7"/>
                  <a:pt x="123" y="7"/>
                  <a:pt x="123" y="7"/>
                </a:cubicBezTo>
                <a:cubicBezTo>
                  <a:pt x="122" y="7"/>
                  <a:pt x="122" y="7"/>
                  <a:pt x="122" y="7"/>
                </a:cubicBezTo>
                <a:cubicBezTo>
                  <a:pt x="121" y="8"/>
                  <a:pt x="121" y="8"/>
                  <a:pt x="121" y="8"/>
                </a:cubicBezTo>
                <a:cubicBezTo>
                  <a:pt x="121" y="8"/>
                  <a:pt x="121" y="8"/>
                  <a:pt x="121" y="8"/>
                </a:cubicBezTo>
                <a:cubicBezTo>
                  <a:pt x="120" y="7"/>
                  <a:pt x="120" y="7"/>
                  <a:pt x="120" y="7"/>
                </a:cubicBezTo>
                <a:cubicBezTo>
                  <a:pt x="121" y="7"/>
                  <a:pt x="121" y="7"/>
                  <a:pt x="121" y="7"/>
                </a:cubicBezTo>
                <a:cubicBezTo>
                  <a:pt x="121" y="6"/>
                  <a:pt x="121" y="6"/>
                  <a:pt x="121" y="6"/>
                </a:cubicBezTo>
                <a:cubicBezTo>
                  <a:pt x="120" y="5"/>
                  <a:pt x="120" y="5"/>
                  <a:pt x="120" y="5"/>
                </a:cubicBezTo>
                <a:cubicBezTo>
                  <a:pt x="120" y="5"/>
                  <a:pt x="120" y="5"/>
                  <a:pt x="120" y="5"/>
                </a:cubicBezTo>
                <a:cubicBezTo>
                  <a:pt x="119" y="5"/>
                  <a:pt x="119" y="5"/>
                  <a:pt x="119" y="5"/>
                </a:cubicBezTo>
                <a:cubicBezTo>
                  <a:pt x="118" y="7"/>
                  <a:pt x="118" y="7"/>
                  <a:pt x="118" y="7"/>
                </a:cubicBezTo>
                <a:cubicBezTo>
                  <a:pt x="118" y="7"/>
                  <a:pt x="118" y="7"/>
                  <a:pt x="118" y="7"/>
                </a:cubicBezTo>
                <a:cubicBezTo>
                  <a:pt x="118" y="6"/>
                  <a:pt x="118" y="6"/>
                  <a:pt x="118" y="6"/>
                </a:cubicBezTo>
                <a:cubicBezTo>
                  <a:pt x="117" y="6"/>
                  <a:pt x="117" y="6"/>
                  <a:pt x="117" y="6"/>
                </a:cubicBezTo>
                <a:cubicBezTo>
                  <a:pt x="117" y="6"/>
                  <a:pt x="117" y="6"/>
                  <a:pt x="117" y="6"/>
                </a:cubicBezTo>
                <a:cubicBezTo>
                  <a:pt x="116" y="6"/>
                  <a:pt x="116" y="6"/>
                  <a:pt x="116" y="6"/>
                </a:cubicBezTo>
                <a:cubicBezTo>
                  <a:pt x="116" y="6"/>
                  <a:pt x="116" y="6"/>
                  <a:pt x="116" y="6"/>
                </a:cubicBezTo>
                <a:cubicBezTo>
                  <a:pt x="117" y="5"/>
                  <a:pt x="117" y="5"/>
                  <a:pt x="117" y="5"/>
                </a:cubicBezTo>
                <a:cubicBezTo>
                  <a:pt x="117" y="4"/>
                  <a:pt x="117" y="4"/>
                  <a:pt x="117" y="4"/>
                </a:cubicBezTo>
                <a:cubicBezTo>
                  <a:pt x="116" y="4"/>
                  <a:pt x="116" y="4"/>
                  <a:pt x="116" y="4"/>
                </a:cubicBezTo>
                <a:cubicBezTo>
                  <a:pt x="115" y="4"/>
                  <a:pt x="115" y="4"/>
                  <a:pt x="115" y="4"/>
                </a:cubicBezTo>
                <a:cubicBezTo>
                  <a:pt x="114" y="4"/>
                  <a:pt x="114" y="4"/>
                  <a:pt x="114" y="4"/>
                </a:cubicBezTo>
                <a:cubicBezTo>
                  <a:pt x="114" y="6"/>
                  <a:pt x="114" y="6"/>
                  <a:pt x="114" y="6"/>
                </a:cubicBezTo>
                <a:cubicBezTo>
                  <a:pt x="113" y="6"/>
                  <a:pt x="113" y="6"/>
                  <a:pt x="113" y="6"/>
                </a:cubicBezTo>
                <a:cubicBezTo>
                  <a:pt x="113" y="7"/>
                  <a:pt x="113" y="7"/>
                  <a:pt x="113" y="7"/>
                </a:cubicBezTo>
                <a:cubicBezTo>
                  <a:pt x="114" y="9"/>
                  <a:pt x="114" y="9"/>
                  <a:pt x="114" y="9"/>
                </a:cubicBezTo>
                <a:cubicBezTo>
                  <a:pt x="113" y="9"/>
                  <a:pt x="113" y="9"/>
                  <a:pt x="113" y="9"/>
                </a:cubicBezTo>
                <a:cubicBezTo>
                  <a:pt x="113" y="10"/>
                  <a:pt x="113" y="10"/>
                  <a:pt x="113" y="10"/>
                </a:cubicBezTo>
                <a:cubicBezTo>
                  <a:pt x="112" y="9"/>
                  <a:pt x="112" y="9"/>
                  <a:pt x="112" y="9"/>
                </a:cubicBezTo>
                <a:cubicBezTo>
                  <a:pt x="112" y="9"/>
                  <a:pt x="112" y="9"/>
                  <a:pt x="112" y="9"/>
                </a:cubicBezTo>
                <a:cubicBezTo>
                  <a:pt x="111" y="9"/>
                  <a:pt x="111" y="9"/>
                  <a:pt x="111" y="9"/>
                </a:cubicBezTo>
                <a:cubicBezTo>
                  <a:pt x="110" y="9"/>
                  <a:pt x="110" y="9"/>
                  <a:pt x="110" y="9"/>
                </a:cubicBezTo>
                <a:cubicBezTo>
                  <a:pt x="109" y="10"/>
                  <a:pt x="109" y="10"/>
                  <a:pt x="109" y="10"/>
                </a:cubicBezTo>
                <a:cubicBezTo>
                  <a:pt x="110" y="8"/>
                  <a:pt x="110" y="8"/>
                  <a:pt x="110" y="8"/>
                </a:cubicBezTo>
                <a:cubicBezTo>
                  <a:pt x="111" y="8"/>
                  <a:pt x="111" y="8"/>
                  <a:pt x="111" y="8"/>
                </a:cubicBezTo>
                <a:cubicBezTo>
                  <a:pt x="111" y="7"/>
                  <a:pt x="111" y="7"/>
                  <a:pt x="111" y="7"/>
                </a:cubicBezTo>
                <a:cubicBezTo>
                  <a:pt x="111" y="6"/>
                  <a:pt x="111" y="6"/>
                  <a:pt x="111" y="6"/>
                </a:cubicBezTo>
                <a:cubicBezTo>
                  <a:pt x="111" y="6"/>
                  <a:pt x="111" y="6"/>
                  <a:pt x="111" y="6"/>
                </a:cubicBezTo>
                <a:cubicBezTo>
                  <a:pt x="110" y="7"/>
                  <a:pt x="110" y="7"/>
                  <a:pt x="110" y="7"/>
                </a:cubicBezTo>
                <a:cubicBezTo>
                  <a:pt x="109" y="7"/>
                  <a:pt x="109" y="7"/>
                  <a:pt x="109" y="7"/>
                </a:cubicBezTo>
                <a:cubicBezTo>
                  <a:pt x="109" y="6"/>
                  <a:pt x="109" y="6"/>
                  <a:pt x="109" y="6"/>
                </a:cubicBezTo>
                <a:cubicBezTo>
                  <a:pt x="110" y="6"/>
                  <a:pt x="110" y="6"/>
                  <a:pt x="110" y="6"/>
                </a:cubicBezTo>
                <a:cubicBezTo>
                  <a:pt x="110" y="5"/>
                  <a:pt x="110" y="5"/>
                  <a:pt x="110" y="5"/>
                </a:cubicBezTo>
                <a:cubicBezTo>
                  <a:pt x="109" y="5"/>
                  <a:pt x="109" y="5"/>
                  <a:pt x="109" y="5"/>
                </a:cubicBezTo>
                <a:cubicBezTo>
                  <a:pt x="109" y="4"/>
                  <a:pt x="109" y="4"/>
                  <a:pt x="109" y="4"/>
                </a:cubicBezTo>
                <a:cubicBezTo>
                  <a:pt x="110" y="4"/>
                  <a:pt x="110" y="4"/>
                  <a:pt x="110" y="4"/>
                </a:cubicBezTo>
                <a:cubicBezTo>
                  <a:pt x="110" y="4"/>
                  <a:pt x="110" y="4"/>
                  <a:pt x="110" y="4"/>
                </a:cubicBezTo>
                <a:cubicBezTo>
                  <a:pt x="111" y="4"/>
                  <a:pt x="111" y="4"/>
                  <a:pt x="111" y="4"/>
                </a:cubicBezTo>
                <a:cubicBezTo>
                  <a:pt x="112" y="2"/>
                  <a:pt x="112" y="2"/>
                  <a:pt x="112" y="2"/>
                </a:cubicBezTo>
                <a:cubicBezTo>
                  <a:pt x="112" y="2"/>
                  <a:pt x="112" y="2"/>
                  <a:pt x="112" y="2"/>
                </a:cubicBezTo>
                <a:cubicBezTo>
                  <a:pt x="111" y="2"/>
                  <a:pt x="111" y="2"/>
                  <a:pt x="111" y="2"/>
                </a:cubicBezTo>
                <a:cubicBezTo>
                  <a:pt x="110" y="2"/>
                  <a:pt x="110" y="2"/>
                  <a:pt x="110" y="2"/>
                </a:cubicBezTo>
                <a:cubicBezTo>
                  <a:pt x="110" y="1"/>
                  <a:pt x="110" y="1"/>
                  <a:pt x="110" y="1"/>
                </a:cubicBezTo>
                <a:cubicBezTo>
                  <a:pt x="110" y="0"/>
                  <a:pt x="110" y="0"/>
                  <a:pt x="110" y="0"/>
                </a:cubicBezTo>
                <a:cubicBezTo>
                  <a:pt x="109" y="1"/>
                  <a:pt x="109" y="1"/>
                  <a:pt x="109" y="1"/>
                </a:cubicBezTo>
                <a:cubicBezTo>
                  <a:pt x="108" y="0"/>
                  <a:pt x="108" y="0"/>
                  <a:pt x="108" y="0"/>
                </a:cubicBezTo>
                <a:cubicBezTo>
                  <a:pt x="108" y="0"/>
                  <a:pt x="108" y="0"/>
                  <a:pt x="108" y="0"/>
                </a:cubicBezTo>
                <a:cubicBezTo>
                  <a:pt x="107" y="1"/>
                  <a:pt x="107" y="1"/>
                  <a:pt x="107" y="1"/>
                </a:cubicBezTo>
                <a:cubicBezTo>
                  <a:pt x="107" y="1"/>
                  <a:pt x="107" y="1"/>
                  <a:pt x="107" y="1"/>
                </a:cubicBezTo>
                <a:cubicBezTo>
                  <a:pt x="108" y="2"/>
                  <a:pt x="108" y="2"/>
                  <a:pt x="108" y="2"/>
                </a:cubicBezTo>
                <a:cubicBezTo>
                  <a:pt x="107" y="3"/>
                  <a:pt x="107" y="3"/>
                  <a:pt x="107" y="3"/>
                </a:cubicBezTo>
                <a:cubicBezTo>
                  <a:pt x="107" y="3"/>
                  <a:pt x="107" y="3"/>
                  <a:pt x="107" y="3"/>
                </a:cubicBezTo>
                <a:cubicBezTo>
                  <a:pt x="106" y="2"/>
                  <a:pt x="106" y="2"/>
                  <a:pt x="106" y="2"/>
                </a:cubicBezTo>
                <a:cubicBezTo>
                  <a:pt x="105" y="2"/>
                  <a:pt x="105" y="2"/>
                  <a:pt x="105" y="2"/>
                </a:cubicBezTo>
                <a:cubicBezTo>
                  <a:pt x="105" y="3"/>
                  <a:pt x="105" y="3"/>
                  <a:pt x="105" y="3"/>
                </a:cubicBezTo>
                <a:cubicBezTo>
                  <a:pt x="105" y="4"/>
                  <a:pt x="105" y="4"/>
                  <a:pt x="105" y="4"/>
                </a:cubicBezTo>
                <a:cubicBezTo>
                  <a:pt x="106" y="4"/>
                  <a:pt x="106" y="4"/>
                  <a:pt x="106" y="4"/>
                </a:cubicBezTo>
                <a:cubicBezTo>
                  <a:pt x="106" y="4"/>
                  <a:pt x="106" y="4"/>
                  <a:pt x="106" y="4"/>
                </a:cubicBezTo>
                <a:cubicBezTo>
                  <a:pt x="106" y="5"/>
                  <a:pt x="106" y="5"/>
                  <a:pt x="106" y="5"/>
                </a:cubicBezTo>
                <a:cubicBezTo>
                  <a:pt x="106" y="5"/>
                  <a:pt x="106" y="5"/>
                  <a:pt x="106" y="5"/>
                </a:cubicBezTo>
                <a:cubicBezTo>
                  <a:pt x="106" y="6"/>
                  <a:pt x="106" y="6"/>
                  <a:pt x="106" y="6"/>
                </a:cubicBezTo>
                <a:cubicBezTo>
                  <a:pt x="105" y="6"/>
                  <a:pt x="105" y="6"/>
                  <a:pt x="105" y="6"/>
                </a:cubicBezTo>
                <a:cubicBezTo>
                  <a:pt x="105" y="7"/>
                  <a:pt x="105" y="7"/>
                  <a:pt x="105" y="7"/>
                </a:cubicBezTo>
                <a:cubicBezTo>
                  <a:pt x="105" y="8"/>
                  <a:pt x="105" y="8"/>
                  <a:pt x="105" y="8"/>
                </a:cubicBezTo>
                <a:cubicBezTo>
                  <a:pt x="104" y="8"/>
                  <a:pt x="104" y="8"/>
                  <a:pt x="104" y="8"/>
                </a:cubicBezTo>
                <a:cubicBezTo>
                  <a:pt x="105" y="9"/>
                  <a:pt x="105" y="9"/>
                  <a:pt x="105" y="9"/>
                </a:cubicBezTo>
                <a:cubicBezTo>
                  <a:pt x="104" y="10"/>
                  <a:pt x="104" y="10"/>
                  <a:pt x="104" y="10"/>
                </a:cubicBezTo>
                <a:cubicBezTo>
                  <a:pt x="104" y="9"/>
                  <a:pt x="104" y="9"/>
                  <a:pt x="104" y="9"/>
                </a:cubicBezTo>
                <a:cubicBezTo>
                  <a:pt x="103" y="10"/>
                  <a:pt x="103" y="10"/>
                  <a:pt x="103" y="10"/>
                </a:cubicBezTo>
                <a:cubicBezTo>
                  <a:pt x="103" y="10"/>
                  <a:pt x="103" y="10"/>
                  <a:pt x="103" y="10"/>
                </a:cubicBezTo>
                <a:cubicBezTo>
                  <a:pt x="102" y="11"/>
                  <a:pt x="102" y="11"/>
                  <a:pt x="102" y="11"/>
                </a:cubicBezTo>
                <a:cubicBezTo>
                  <a:pt x="102" y="9"/>
                  <a:pt x="102" y="9"/>
                  <a:pt x="102" y="9"/>
                </a:cubicBezTo>
                <a:cubicBezTo>
                  <a:pt x="103" y="7"/>
                  <a:pt x="103" y="7"/>
                  <a:pt x="103" y="7"/>
                </a:cubicBezTo>
                <a:cubicBezTo>
                  <a:pt x="102" y="7"/>
                  <a:pt x="102" y="7"/>
                  <a:pt x="102" y="7"/>
                </a:cubicBezTo>
                <a:cubicBezTo>
                  <a:pt x="102" y="6"/>
                  <a:pt x="102" y="6"/>
                  <a:pt x="102" y="6"/>
                </a:cubicBezTo>
                <a:cubicBezTo>
                  <a:pt x="103" y="6"/>
                  <a:pt x="103" y="6"/>
                  <a:pt x="103" y="6"/>
                </a:cubicBezTo>
                <a:cubicBezTo>
                  <a:pt x="103" y="4"/>
                  <a:pt x="103" y="4"/>
                  <a:pt x="103" y="4"/>
                </a:cubicBezTo>
                <a:cubicBezTo>
                  <a:pt x="102" y="3"/>
                  <a:pt x="102" y="3"/>
                  <a:pt x="102" y="3"/>
                </a:cubicBezTo>
                <a:cubicBezTo>
                  <a:pt x="102" y="3"/>
                  <a:pt x="102" y="3"/>
                  <a:pt x="102" y="3"/>
                </a:cubicBezTo>
                <a:cubicBezTo>
                  <a:pt x="100" y="6"/>
                  <a:pt x="100" y="6"/>
                  <a:pt x="100" y="6"/>
                </a:cubicBezTo>
                <a:cubicBezTo>
                  <a:pt x="100" y="7"/>
                  <a:pt x="100" y="7"/>
                  <a:pt x="100" y="7"/>
                </a:cubicBezTo>
                <a:cubicBezTo>
                  <a:pt x="99" y="9"/>
                  <a:pt x="99" y="9"/>
                  <a:pt x="99" y="9"/>
                </a:cubicBezTo>
                <a:cubicBezTo>
                  <a:pt x="98" y="11"/>
                  <a:pt x="98" y="11"/>
                  <a:pt x="98" y="11"/>
                </a:cubicBezTo>
                <a:cubicBezTo>
                  <a:pt x="98" y="12"/>
                  <a:pt x="98" y="12"/>
                  <a:pt x="98" y="12"/>
                </a:cubicBezTo>
                <a:cubicBezTo>
                  <a:pt x="98" y="13"/>
                  <a:pt x="98" y="13"/>
                  <a:pt x="98" y="13"/>
                </a:cubicBezTo>
                <a:cubicBezTo>
                  <a:pt x="97" y="15"/>
                  <a:pt x="97" y="15"/>
                  <a:pt x="97" y="15"/>
                </a:cubicBezTo>
                <a:cubicBezTo>
                  <a:pt x="96" y="15"/>
                  <a:pt x="96" y="15"/>
                  <a:pt x="96" y="15"/>
                </a:cubicBezTo>
                <a:cubicBezTo>
                  <a:pt x="96" y="14"/>
                  <a:pt x="96" y="14"/>
                  <a:pt x="96" y="14"/>
                </a:cubicBezTo>
                <a:cubicBezTo>
                  <a:pt x="95" y="13"/>
                  <a:pt x="95" y="13"/>
                  <a:pt x="95" y="13"/>
                </a:cubicBezTo>
                <a:cubicBezTo>
                  <a:pt x="97" y="11"/>
                  <a:pt x="97" y="11"/>
                  <a:pt x="97" y="11"/>
                </a:cubicBezTo>
                <a:cubicBezTo>
                  <a:pt x="96" y="10"/>
                  <a:pt x="96" y="10"/>
                  <a:pt x="96" y="10"/>
                </a:cubicBezTo>
                <a:cubicBezTo>
                  <a:pt x="97" y="10"/>
                  <a:pt x="97" y="10"/>
                  <a:pt x="97" y="10"/>
                </a:cubicBezTo>
                <a:cubicBezTo>
                  <a:pt x="96" y="8"/>
                  <a:pt x="96" y="8"/>
                  <a:pt x="96" y="8"/>
                </a:cubicBezTo>
                <a:cubicBezTo>
                  <a:pt x="98" y="6"/>
                  <a:pt x="98" y="6"/>
                  <a:pt x="98" y="6"/>
                </a:cubicBezTo>
                <a:cubicBezTo>
                  <a:pt x="98" y="5"/>
                  <a:pt x="98" y="5"/>
                  <a:pt x="98" y="5"/>
                </a:cubicBezTo>
                <a:cubicBezTo>
                  <a:pt x="99" y="5"/>
                  <a:pt x="99" y="5"/>
                  <a:pt x="99" y="5"/>
                </a:cubicBezTo>
                <a:cubicBezTo>
                  <a:pt x="99" y="4"/>
                  <a:pt x="99" y="4"/>
                  <a:pt x="99" y="4"/>
                </a:cubicBezTo>
                <a:cubicBezTo>
                  <a:pt x="98" y="4"/>
                  <a:pt x="98" y="4"/>
                  <a:pt x="98" y="4"/>
                </a:cubicBezTo>
                <a:cubicBezTo>
                  <a:pt x="97" y="3"/>
                  <a:pt x="97" y="3"/>
                  <a:pt x="97" y="3"/>
                </a:cubicBezTo>
                <a:cubicBezTo>
                  <a:pt x="96" y="3"/>
                  <a:pt x="96" y="3"/>
                  <a:pt x="96" y="3"/>
                </a:cubicBezTo>
                <a:cubicBezTo>
                  <a:pt x="96" y="4"/>
                  <a:pt x="96" y="4"/>
                  <a:pt x="96" y="4"/>
                </a:cubicBezTo>
                <a:cubicBezTo>
                  <a:pt x="96" y="5"/>
                  <a:pt x="96" y="5"/>
                  <a:pt x="96" y="5"/>
                </a:cubicBezTo>
                <a:cubicBezTo>
                  <a:pt x="95" y="4"/>
                  <a:pt x="95" y="4"/>
                  <a:pt x="95" y="4"/>
                </a:cubicBezTo>
                <a:cubicBezTo>
                  <a:pt x="95" y="3"/>
                  <a:pt x="95" y="3"/>
                  <a:pt x="95" y="3"/>
                </a:cubicBezTo>
                <a:cubicBezTo>
                  <a:pt x="94" y="3"/>
                  <a:pt x="94" y="3"/>
                  <a:pt x="94" y="3"/>
                </a:cubicBezTo>
                <a:cubicBezTo>
                  <a:pt x="93" y="4"/>
                  <a:pt x="93" y="4"/>
                  <a:pt x="93" y="4"/>
                </a:cubicBezTo>
                <a:cubicBezTo>
                  <a:pt x="93" y="5"/>
                  <a:pt x="93" y="5"/>
                  <a:pt x="93" y="5"/>
                </a:cubicBezTo>
                <a:cubicBezTo>
                  <a:pt x="93" y="6"/>
                  <a:pt x="93" y="6"/>
                  <a:pt x="93" y="6"/>
                </a:cubicBezTo>
                <a:cubicBezTo>
                  <a:pt x="92" y="5"/>
                  <a:pt x="92" y="5"/>
                  <a:pt x="92" y="5"/>
                </a:cubicBezTo>
                <a:cubicBezTo>
                  <a:pt x="91" y="5"/>
                  <a:pt x="91" y="5"/>
                  <a:pt x="91" y="5"/>
                </a:cubicBezTo>
                <a:cubicBezTo>
                  <a:pt x="91" y="5"/>
                  <a:pt x="91" y="5"/>
                  <a:pt x="91" y="5"/>
                </a:cubicBezTo>
                <a:cubicBezTo>
                  <a:pt x="91" y="6"/>
                  <a:pt x="91" y="6"/>
                  <a:pt x="91" y="6"/>
                </a:cubicBezTo>
                <a:cubicBezTo>
                  <a:pt x="93" y="7"/>
                  <a:pt x="93" y="7"/>
                  <a:pt x="93" y="7"/>
                </a:cubicBezTo>
                <a:cubicBezTo>
                  <a:pt x="93" y="8"/>
                  <a:pt x="93" y="8"/>
                  <a:pt x="93" y="8"/>
                </a:cubicBezTo>
                <a:cubicBezTo>
                  <a:pt x="93" y="8"/>
                  <a:pt x="93" y="8"/>
                  <a:pt x="93" y="8"/>
                </a:cubicBezTo>
                <a:cubicBezTo>
                  <a:pt x="92" y="8"/>
                  <a:pt x="92" y="8"/>
                  <a:pt x="92" y="8"/>
                </a:cubicBezTo>
                <a:cubicBezTo>
                  <a:pt x="91" y="8"/>
                  <a:pt x="91" y="8"/>
                  <a:pt x="91" y="8"/>
                </a:cubicBezTo>
                <a:cubicBezTo>
                  <a:pt x="91" y="9"/>
                  <a:pt x="91" y="9"/>
                  <a:pt x="91" y="9"/>
                </a:cubicBezTo>
                <a:cubicBezTo>
                  <a:pt x="91" y="9"/>
                  <a:pt x="91" y="9"/>
                  <a:pt x="91" y="9"/>
                </a:cubicBezTo>
                <a:cubicBezTo>
                  <a:pt x="91" y="10"/>
                  <a:pt x="91" y="10"/>
                  <a:pt x="91" y="10"/>
                </a:cubicBezTo>
                <a:cubicBezTo>
                  <a:pt x="90" y="9"/>
                  <a:pt x="90" y="9"/>
                  <a:pt x="90" y="9"/>
                </a:cubicBezTo>
                <a:cubicBezTo>
                  <a:pt x="89" y="9"/>
                  <a:pt x="89" y="9"/>
                  <a:pt x="89" y="9"/>
                </a:cubicBezTo>
                <a:cubicBezTo>
                  <a:pt x="89" y="10"/>
                  <a:pt x="89" y="10"/>
                  <a:pt x="89" y="10"/>
                </a:cubicBezTo>
                <a:cubicBezTo>
                  <a:pt x="88" y="11"/>
                  <a:pt x="88" y="11"/>
                  <a:pt x="88" y="11"/>
                </a:cubicBezTo>
                <a:cubicBezTo>
                  <a:pt x="88" y="11"/>
                  <a:pt x="88" y="11"/>
                  <a:pt x="88" y="11"/>
                </a:cubicBezTo>
                <a:cubicBezTo>
                  <a:pt x="88" y="12"/>
                  <a:pt x="88" y="12"/>
                  <a:pt x="88" y="12"/>
                </a:cubicBezTo>
                <a:cubicBezTo>
                  <a:pt x="87" y="12"/>
                  <a:pt x="87" y="12"/>
                  <a:pt x="87" y="12"/>
                </a:cubicBezTo>
                <a:cubicBezTo>
                  <a:pt x="87" y="13"/>
                  <a:pt x="87" y="13"/>
                  <a:pt x="87" y="13"/>
                </a:cubicBezTo>
                <a:cubicBezTo>
                  <a:pt x="88" y="14"/>
                  <a:pt x="88" y="14"/>
                  <a:pt x="88" y="14"/>
                </a:cubicBezTo>
                <a:cubicBezTo>
                  <a:pt x="87" y="15"/>
                  <a:pt x="87" y="15"/>
                  <a:pt x="87" y="15"/>
                </a:cubicBezTo>
                <a:cubicBezTo>
                  <a:pt x="88" y="15"/>
                  <a:pt x="88" y="15"/>
                  <a:pt x="88" y="15"/>
                </a:cubicBezTo>
                <a:cubicBezTo>
                  <a:pt x="89" y="16"/>
                  <a:pt x="89" y="16"/>
                  <a:pt x="89" y="16"/>
                </a:cubicBezTo>
                <a:cubicBezTo>
                  <a:pt x="88" y="16"/>
                  <a:pt x="88" y="16"/>
                  <a:pt x="88" y="16"/>
                </a:cubicBezTo>
                <a:cubicBezTo>
                  <a:pt x="86" y="16"/>
                  <a:pt x="86" y="16"/>
                  <a:pt x="86" y="16"/>
                </a:cubicBezTo>
                <a:cubicBezTo>
                  <a:pt x="86" y="15"/>
                  <a:pt x="86" y="15"/>
                  <a:pt x="86" y="15"/>
                </a:cubicBezTo>
                <a:cubicBezTo>
                  <a:pt x="85" y="14"/>
                  <a:pt x="85" y="14"/>
                  <a:pt x="85" y="14"/>
                </a:cubicBezTo>
                <a:cubicBezTo>
                  <a:pt x="86" y="14"/>
                  <a:pt x="86" y="14"/>
                  <a:pt x="86" y="14"/>
                </a:cubicBezTo>
                <a:cubicBezTo>
                  <a:pt x="85" y="13"/>
                  <a:pt x="85" y="13"/>
                  <a:pt x="85" y="13"/>
                </a:cubicBezTo>
                <a:cubicBezTo>
                  <a:pt x="84" y="13"/>
                  <a:pt x="84" y="13"/>
                  <a:pt x="84" y="13"/>
                </a:cubicBezTo>
                <a:cubicBezTo>
                  <a:pt x="83" y="13"/>
                  <a:pt x="83" y="13"/>
                  <a:pt x="83" y="13"/>
                </a:cubicBezTo>
                <a:cubicBezTo>
                  <a:pt x="81" y="12"/>
                  <a:pt x="81" y="12"/>
                  <a:pt x="81" y="12"/>
                </a:cubicBezTo>
                <a:cubicBezTo>
                  <a:pt x="80" y="12"/>
                  <a:pt x="80" y="12"/>
                  <a:pt x="80" y="12"/>
                </a:cubicBezTo>
                <a:cubicBezTo>
                  <a:pt x="80" y="12"/>
                  <a:pt x="80" y="12"/>
                  <a:pt x="80" y="12"/>
                </a:cubicBezTo>
                <a:cubicBezTo>
                  <a:pt x="79" y="12"/>
                  <a:pt x="79" y="12"/>
                  <a:pt x="79" y="12"/>
                </a:cubicBezTo>
                <a:cubicBezTo>
                  <a:pt x="78" y="12"/>
                  <a:pt x="78" y="12"/>
                  <a:pt x="78" y="12"/>
                </a:cubicBezTo>
                <a:cubicBezTo>
                  <a:pt x="77" y="13"/>
                  <a:pt x="77" y="13"/>
                  <a:pt x="77" y="13"/>
                </a:cubicBezTo>
                <a:cubicBezTo>
                  <a:pt x="77" y="13"/>
                  <a:pt x="77" y="13"/>
                  <a:pt x="77" y="13"/>
                </a:cubicBezTo>
                <a:cubicBezTo>
                  <a:pt x="78" y="15"/>
                  <a:pt x="78" y="15"/>
                  <a:pt x="78" y="15"/>
                </a:cubicBezTo>
                <a:cubicBezTo>
                  <a:pt x="79" y="15"/>
                  <a:pt x="79" y="15"/>
                  <a:pt x="79" y="15"/>
                </a:cubicBezTo>
                <a:cubicBezTo>
                  <a:pt x="80" y="15"/>
                  <a:pt x="80" y="15"/>
                  <a:pt x="80" y="15"/>
                </a:cubicBezTo>
                <a:cubicBezTo>
                  <a:pt x="81" y="16"/>
                  <a:pt x="81" y="16"/>
                  <a:pt x="81" y="16"/>
                </a:cubicBezTo>
                <a:cubicBezTo>
                  <a:pt x="81" y="17"/>
                  <a:pt x="81" y="17"/>
                  <a:pt x="81" y="17"/>
                </a:cubicBezTo>
                <a:cubicBezTo>
                  <a:pt x="81" y="18"/>
                  <a:pt x="81" y="18"/>
                  <a:pt x="81" y="18"/>
                </a:cubicBezTo>
                <a:cubicBezTo>
                  <a:pt x="82" y="19"/>
                  <a:pt x="82" y="19"/>
                  <a:pt x="82" y="19"/>
                </a:cubicBezTo>
                <a:cubicBezTo>
                  <a:pt x="81" y="20"/>
                  <a:pt x="81" y="20"/>
                  <a:pt x="81" y="20"/>
                </a:cubicBezTo>
                <a:cubicBezTo>
                  <a:pt x="81" y="19"/>
                  <a:pt x="81" y="19"/>
                  <a:pt x="81" y="19"/>
                </a:cubicBezTo>
                <a:cubicBezTo>
                  <a:pt x="80" y="18"/>
                  <a:pt x="80" y="18"/>
                  <a:pt x="80" y="18"/>
                </a:cubicBezTo>
                <a:cubicBezTo>
                  <a:pt x="79" y="17"/>
                  <a:pt x="79" y="17"/>
                  <a:pt x="79" y="17"/>
                </a:cubicBezTo>
                <a:cubicBezTo>
                  <a:pt x="78" y="17"/>
                  <a:pt x="78" y="17"/>
                  <a:pt x="78" y="17"/>
                </a:cubicBezTo>
                <a:cubicBezTo>
                  <a:pt x="78" y="18"/>
                  <a:pt x="78" y="18"/>
                  <a:pt x="78" y="18"/>
                </a:cubicBezTo>
                <a:cubicBezTo>
                  <a:pt x="77" y="19"/>
                  <a:pt x="77" y="19"/>
                  <a:pt x="77" y="19"/>
                </a:cubicBezTo>
                <a:cubicBezTo>
                  <a:pt x="77" y="17"/>
                  <a:pt x="77" y="17"/>
                  <a:pt x="77" y="17"/>
                </a:cubicBezTo>
                <a:cubicBezTo>
                  <a:pt x="76" y="18"/>
                  <a:pt x="76" y="18"/>
                  <a:pt x="76" y="18"/>
                </a:cubicBezTo>
                <a:cubicBezTo>
                  <a:pt x="76" y="18"/>
                  <a:pt x="76" y="18"/>
                  <a:pt x="76" y="18"/>
                </a:cubicBezTo>
                <a:cubicBezTo>
                  <a:pt x="75" y="19"/>
                  <a:pt x="75" y="19"/>
                  <a:pt x="75" y="19"/>
                </a:cubicBezTo>
                <a:cubicBezTo>
                  <a:pt x="75" y="20"/>
                  <a:pt x="75" y="20"/>
                  <a:pt x="75" y="20"/>
                </a:cubicBezTo>
                <a:cubicBezTo>
                  <a:pt x="76" y="21"/>
                  <a:pt x="76" y="21"/>
                  <a:pt x="76" y="21"/>
                </a:cubicBezTo>
                <a:cubicBezTo>
                  <a:pt x="77" y="22"/>
                  <a:pt x="77" y="22"/>
                  <a:pt x="77" y="22"/>
                </a:cubicBezTo>
                <a:cubicBezTo>
                  <a:pt x="76" y="22"/>
                  <a:pt x="76" y="22"/>
                  <a:pt x="76" y="22"/>
                </a:cubicBezTo>
                <a:cubicBezTo>
                  <a:pt x="75" y="21"/>
                  <a:pt x="75" y="21"/>
                  <a:pt x="75" y="21"/>
                </a:cubicBezTo>
                <a:cubicBezTo>
                  <a:pt x="74" y="23"/>
                  <a:pt x="74" y="23"/>
                  <a:pt x="74" y="23"/>
                </a:cubicBezTo>
                <a:cubicBezTo>
                  <a:pt x="74" y="24"/>
                  <a:pt x="74" y="24"/>
                  <a:pt x="74" y="24"/>
                </a:cubicBezTo>
                <a:cubicBezTo>
                  <a:pt x="72" y="25"/>
                  <a:pt x="72" y="25"/>
                  <a:pt x="72" y="25"/>
                </a:cubicBezTo>
                <a:cubicBezTo>
                  <a:pt x="72" y="24"/>
                  <a:pt x="72" y="24"/>
                  <a:pt x="72" y="24"/>
                </a:cubicBezTo>
                <a:cubicBezTo>
                  <a:pt x="73" y="23"/>
                  <a:pt x="73" y="23"/>
                  <a:pt x="73" y="23"/>
                </a:cubicBezTo>
                <a:cubicBezTo>
                  <a:pt x="73" y="23"/>
                  <a:pt x="73" y="23"/>
                  <a:pt x="73" y="23"/>
                </a:cubicBezTo>
                <a:cubicBezTo>
                  <a:pt x="74" y="21"/>
                  <a:pt x="74" y="21"/>
                  <a:pt x="74" y="21"/>
                </a:cubicBezTo>
                <a:cubicBezTo>
                  <a:pt x="73" y="17"/>
                  <a:pt x="73" y="17"/>
                  <a:pt x="73" y="17"/>
                </a:cubicBezTo>
                <a:cubicBezTo>
                  <a:pt x="72" y="18"/>
                  <a:pt x="72" y="18"/>
                  <a:pt x="72" y="18"/>
                </a:cubicBezTo>
                <a:cubicBezTo>
                  <a:pt x="71" y="20"/>
                  <a:pt x="71" y="20"/>
                  <a:pt x="71" y="20"/>
                </a:cubicBezTo>
                <a:cubicBezTo>
                  <a:pt x="71" y="22"/>
                  <a:pt x="71" y="22"/>
                  <a:pt x="71" y="22"/>
                </a:cubicBezTo>
                <a:cubicBezTo>
                  <a:pt x="71" y="22"/>
                  <a:pt x="71" y="22"/>
                  <a:pt x="71" y="22"/>
                </a:cubicBezTo>
                <a:cubicBezTo>
                  <a:pt x="70" y="24"/>
                  <a:pt x="70" y="24"/>
                  <a:pt x="70" y="24"/>
                </a:cubicBezTo>
                <a:cubicBezTo>
                  <a:pt x="70" y="22"/>
                  <a:pt x="70" y="22"/>
                  <a:pt x="70" y="22"/>
                </a:cubicBezTo>
                <a:cubicBezTo>
                  <a:pt x="71" y="21"/>
                  <a:pt x="71" y="21"/>
                  <a:pt x="71" y="21"/>
                </a:cubicBezTo>
                <a:cubicBezTo>
                  <a:pt x="70" y="19"/>
                  <a:pt x="70" y="19"/>
                  <a:pt x="70" y="19"/>
                </a:cubicBezTo>
                <a:cubicBezTo>
                  <a:pt x="70" y="19"/>
                  <a:pt x="70" y="19"/>
                  <a:pt x="70" y="19"/>
                </a:cubicBezTo>
                <a:cubicBezTo>
                  <a:pt x="68" y="20"/>
                  <a:pt x="68" y="20"/>
                  <a:pt x="68" y="20"/>
                </a:cubicBezTo>
                <a:cubicBezTo>
                  <a:pt x="67" y="22"/>
                  <a:pt x="67" y="22"/>
                  <a:pt x="67" y="22"/>
                </a:cubicBezTo>
                <a:cubicBezTo>
                  <a:pt x="68" y="23"/>
                  <a:pt x="68" y="23"/>
                  <a:pt x="68" y="23"/>
                </a:cubicBezTo>
                <a:cubicBezTo>
                  <a:pt x="68" y="24"/>
                  <a:pt x="68" y="24"/>
                  <a:pt x="68" y="24"/>
                </a:cubicBezTo>
                <a:cubicBezTo>
                  <a:pt x="70" y="25"/>
                  <a:pt x="70" y="25"/>
                  <a:pt x="70" y="25"/>
                </a:cubicBezTo>
                <a:cubicBezTo>
                  <a:pt x="70" y="26"/>
                  <a:pt x="70" y="26"/>
                  <a:pt x="70" y="26"/>
                </a:cubicBezTo>
                <a:cubicBezTo>
                  <a:pt x="69" y="27"/>
                  <a:pt x="69" y="27"/>
                  <a:pt x="69" y="27"/>
                </a:cubicBezTo>
                <a:cubicBezTo>
                  <a:pt x="69" y="26"/>
                  <a:pt x="69" y="26"/>
                  <a:pt x="69" y="26"/>
                </a:cubicBezTo>
                <a:cubicBezTo>
                  <a:pt x="68" y="25"/>
                  <a:pt x="68" y="25"/>
                  <a:pt x="68" y="25"/>
                </a:cubicBezTo>
                <a:cubicBezTo>
                  <a:pt x="67" y="23"/>
                  <a:pt x="67" y="23"/>
                  <a:pt x="67" y="23"/>
                </a:cubicBezTo>
                <a:cubicBezTo>
                  <a:pt x="66" y="23"/>
                  <a:pt x="66" y="23"/>
                  <a:pt x="66" y="23"/>
                </a:cubicBezTo>
                <a:cubicBezTo>
                  <a:pt x="65" y="23"/>
                  <a:pt x="65" y="23"/>
                  <a:pt x="65" y="23"/>
                </a:cubicBezTo>
                <a:cubicBezTo>
                  <a:pt x="65" y="24"/>
                  <a:pt x="65" y="24"/>
                  <a:pt x="65" y="24"/>
                </a:cubicBezTo>
                <a:cubicBezTo>
                  <a:pt x="66" y="25"/>
                  <a:pt x="66" y="25"/>
                  <a:pt x="66" y="25"/>
                </a:cubicBezTo>
                <a:cubicBezTo>
                  <a:pt x="67" y="25"/>
                  <a:pt x="67" y="25"/>
                  <a:pt x="67" y="25"/>
                </a:cubicBezTo>
                <a:cubicBezTo>
                  <a:pt x="67" y="26"/>
                  <a:pt x="67" y="26"/>
                  <a:pt x="67" y="26"/>
                </a:cubicBezTo>
                <a:cubicBezTo>
                  <a:pt x="66" y="26"/>
                  <a:pt x="66" y="26"/>
                  <a:pt x="66" y="26"/>
                </a:cubicBezTo>
                <a:cubicBezTo>
                  <a:pt x="65" y="26"/>
                  <a:pt x="65" y="26"/>
                  <a:pt x="65" y="26"/>
                </a:cubicBezTo>
                <a:cubicBezTo>
                  <a:pt x="66" y="27"/>
                  <a:pt x="66" y="27"/>
                  <a:pt x="66" y="27"/>
                </a:cubicBezTo>
                <a:cubicBezTo>
                  <a:pt x="65" y="26"/>
                  <a:pt x="65" y="26"/>
                  <a:pt x="65" y="26"/>
                </a:cubicBezTo>
                <a:cubicBezTo>
                  <a:pt x="65" y="25"/>
                  <a:pt x="65" y="25"/>
                  <a:pt x="65" y="25"/>
                </a:cubicBezTo>
                <a:cubicBezTo>
                  <a:pt x="64" y="24"/>
                  <a:pt x="64" y="24"/>
                  <a:pt x="64" y="24"/>
                </a:cubicBezTo>
                <a:cubicBezTo>
                  <a:pt x="64" y="24"/>
                  <a:pt x="64" y="24"/>
                  <a:pt x="64" y="24"/>
                </a:cubicBezTo>
                <a:cubicBezTo>
                  <a:pt x="63" y="24"/>
                  <a:pt x="63" y="24"/>
                  <a:pt x="63" y="24"/>
                </a:cubicBezTo>
                <a:cubicBezTo>
                  <a:pt x="63" y="26"/>
                  <a:pt x="63" y="26"/>
                  <a:pt x="63" y="26"/>
                </a:cubicBezTo>
                <a:cubicBezTo>
                  <a:pt x="63" y="26"/>
                  <a:pt x="63" y="26"/>
                  <a:pt x="63" y="26"/>
                </a:cubicBezTo>
                <a:cubicBezTo>
                  <a:pt x="63" y="28"/>
                  <a:pt x="63" y="28"/>
                  <a:pt x="63" y="28"/>
                </a:cubicBezTo>
                <a:cubicBezTo>
                  <a:pt x="62" y="27"/>
                  <a:pt x="62" y="27"/>
                  <a:pt x="62" y="27"/>
                </a:cubicBezTo>
                <a:cubicBezTo>
                  <a:pt x="61" y="27"/>
                  <a:pt x="61" y="27"/>
                  <a:pt x="61" y="27"/>
                </a:cubicBezTo>
                <a:cubicBezTo>
                  <a:pt x="60" y="29"/>
                  <a:pt x="60" y="29"/>
                  <a:pt x="60" y="29"/>
                </a:cubicBezTo>
                <a:cubicBezTo>
                  <a:pt x="60" y="29"/>
                  <a:pt x="60" y="29"/>
                  <a:pt x="60" y="29"/>
                </a:cubicBezTo>
                <a:cubicBezTo>
                  <a:pt x="61" y="29"/>
                  <a:pt x="61" y="29"/>
                  <a:pt x="61" y="29"/>
                </a:cubicBezTo>
                <a:cubicBezTo>
                  <a:pt x="62" y="30"/>
                  <a:pt x="62" y="30"/>
                  <a:pt x="62" y="30"/>
                </a:cubicBezTo>
                <a:cubicBezTo>
                  <a:pt x="61" y="30"/>
                  <a:pt x="61" y="30"/>
                  <a:pt x="61" y="30"/>
                </a:cubicBezTo>
                <a:cubicBezTo>
                  <a:pt x="60" y="30"/>
                  <a:pt x="60" y="30"/>
                  <a:pt x="60" y="30"/>
                </a:cubicBezTo>
                <a:cubicBezTo>
                  <a:pt x="61" y="31"/>
                  <a:pt x="61" y="31"/>
                  <a:pt x="61" y="31"/>
                </a:cubicBezTo>
                <a:cubicBezTo>
                  <a:pt x="61" y="32"/>
                  <a:pt x="61" y="32"/>
                  <a:pt x="61" y="32"/>
                </a:cubicBezTo>
                <a:cubicBezTo>
                  <a:pt x="60" y="32"/>
                  <a:pt x="60" y="32"/>
                  <a:pt x="60" y="32"/>
                </a:cubicBezTo>
                <a:cubicBezTo>
                  <a:pt x="60" y="32"/>
                  <a:pt x="60" y="32"/>
                  <a:pt x="60" y="32"/>
                </a:cubicBezTo>
                <a:cubicBezTo>
                  <a:pt x="60" y="32"/>
                  <a:pt x="60" y="32"/>
                  <a:pt x="60" y="32"/>
                </a:cubicBezTo>
                <a:cubicBezTo>
                  <a:pt x="59" y="33"/>
                  <a:pt x="59" y="33"/>
                  <a:pt x="59" y="33"/>
                </a:cubicBezTo>
                <a:cubicBezTo>
                  <a:pt x="59" y="32"/>
                  <a:pt x="59" y="32"/>
                  <a:pt x="59" y="32"/>
                </a:cubicBezTo>
                <a:cubicBezTo>
                  <a:pt x="58" y="32"/>
                  <a:pt x="58" y="32"/>
                  <a:pt x="58" y="32"/>
                </a:cubicBezTo>
                <a:cubicBezTo>
                  <a:pt x="57" y="33"/>
                  <a:pt x="57" y="33"/>
                  <a:pt x="57" y="33"/>
                </a:cubicBezTo>
                <a:cubicBezTo>
                  <a:pt x="57" y="34"/>
                  <a:pt x="57" y="34"/>
                  <a:pt x="57" y="34"/>
                </a:cubicBezTo>
                <a:cubicBezTo>
                  <a:pt x="57" y="34"/>
                  <a:pt x="57" y="34"/>
                  <a:pt x="57" y="34"/>
                </a:cubicBezTo>
                <a:cubicBezTo>
                  <a:pt x="56" y="34"/>
                  <a:pt x="56" y="34"/>
                  <a:pt x="56" y="34"/>
                </a:cubicBezTo>
                <a:cubicBezTo>
                  <a:pt x="55" y="36"/>
                  <a:pt x="55" y="36"/>
                  <a:pt x="55" y="36"/>
                </a:cubicBezTo>
                <a:cubicBezTo>
                  <a:pt x="56" y="36"/>
                  <a:pt x="56" y="36"/>
                  <a:pt x="56" y="36"/>
                </a:cubicBezTo>
                <a:cubicBezTo>
                  <a:pt x="59" y="35"/>
                  <a:pt x="59" y="35"/>
                  <a:pt x="59" y="35"/>
                </a:cubicBezTo>
                <a:cubicBezTo>
                  <a:pt x="59" y="35"/>
                  <a:pt x="59" y="35"/>
                  <a:pt x="59" y="35"/>
                </a:cubicBezTo>
                <a:cubicBezTo>
                  <a:pt x="61" y="35"/>
                  <a:pt x="61" y="35"/>
                  <a:pt x="61" y="35"/>
                </a:cubicBezTo>
                <a:cubicBezTo>
                  <a:pt x="61" y="35"/>
                  <a:pt x="61" y="35"/>
                  <a:pt x="61" y="35"/>
                </a:cubicBezTo>
                <a:cubicBezTo>
                  <a:pt x="61" y="36"/>
                  <a:pt x="61" y="36"/>
                  <a:pt x="61" y="36"/>
                </a:cubicBezTo>
                <a:cubicBezTo>
                  <a:pt x="61" y="37"/>
                  <a:pt x="61" y="37"/>
                  <a:pt x="61" y="37"/>
                </a:cubicBezTo>
                <a:cubicBezTo>
                  <a:pt x="60" y="38"/>
                  <a:pt x="60" y="38"/>
                  <a:pt x="60" y="38"/>
                </a:cubicBezTo>
                <a:cubicBezTo>
                  <a:pt x="60" y="39"/>
                  <a:pt x="60" y="39"/>
                  <a:pt x="60" y="39"/>
                </a:cubicBezTo>
                <a:cubicBezTo>
                  <a:pt x="60" y="38"/>
                  <a:pt x="60" y="38"/>
                  <a:pt x="60" y="38"/>
                </a:cubicBezTo>
                <a:cubicBezTo>
                  <a:pt x="59" y="37"/>
                  <a:pt x="59" y="37"/>
                  <a:pt x="59" y="37"/>
                </a:cubicBezTo>
                <a:cubicBezTo>
                  <a:pt x="58" y="37"/>
                  <a:pt x="58" y="37"/>
                  <a:pt x="58" y="37"/>
                </a:cubicBezTo>
                <a:cubicBezTo>
                  <a:pt x="58" y="37"/>
                  <a:pt x="58" y="37"/>
                  <a:pt x="58" y="37"/>
                </a:cubicBezTo>
                <a:cubicBezTo>
                  <a:pt x="57" y="37"/>
                  <a:pt x="57" y="37"/>
                  <a:pt x="57" y="37"/>
                </a:cubicBezTo>
                <a:cubicBezTo>
                  <a:pt x="57" y="37"/>
                  <a:pt x="57" y="37"/>
                  <a:pt x="57" y="37"/>
                </a:cubicBezTo>
                <a:cubicBezTo>
                  <a:pt x="57" y="38"/>
                  <a:pt x="57" y="38"/>
                  <a:pt x="57" y="38"/>
                </a:cubicBezTo>
                <a:cubicBezTo>
                  <a:pt x="56" y="37"/>
                  <a:pt x="56" y="37"/>
                  <a:pt x="56" y="37"/>
                </a:cubicBezTo>
                <a:cubicBezTo>
                  <a:pt x="55" y="38"/>
                  <a:pt x="55" y="38"/>
                  <a:pt x="55" y="38"/>
                </a:cubicBezTo>
                <a:cubicBezTo>
                  <a:pt x="56" y="38"/>
                  <a:pt x="56" y="38"/>
                  <a:pt x="56" y="38"/>
                </a:cubicBezTo>
                <a:cubicBezTo>
                  <a:pt x="56" y="39"/>
                  <a:pt x="56" y="39"/>
                  <a:pt x="56" y="39"/>
                </a:cubicBezTo>
                <a:cubicBezTo>
                  <a:pt x="56" y="39"/>
                  <a:pt x="56" y="39"/>
                  <a:pt x="56" y="39"/>
                </a:cubicBezTo>
                <a:cubicBezTo>
                  <a:pt x="55" y="40"/>
                  <a:pt x="55" y="40"/>
                  <a:pt x="55" y="40"/>
                </a:cubicBezTo>
                <a:cubicBezTo>
                  <a:pt x="56" y="41"/>
                  <a:pt x="56" y="41"/>
                  <a:pt x="56" y="41"/>
                </a:cubicBezTo>
                <a:cubicBezTo>
                  <a:pt x="55" y="41"/>
                  <a:pt x="55" y="41"/>
                  <a:pt x="55" y="41"/>
                </a:cubicBezTo>
                <a:cubicBezTo>
                  <a:pt x="55" y="41"/>
                  <a:pt x="55" y="41"/>
                  <a:pt x="55" y="41"/>
                </a:cubicBezTo>
                <a:cubicBezTo>
                  <a:pt x="55" y="40"/>
                  <a:pt x="55" y="40"/>
                  <a:pt x="55" y="40"/>
                </a:cubicBezTo>
                <a:cubicBezTo>
                  <a:pt x="54" y="38"/>
                  <a:pt x="54" y="38"/>
                  <a:pt x="54" y="38"/>
                </a:cubicBezTo>
                <a:cubicBezTo>
                  <a:pt x="53" y="39"/>
                  <a:pt x="53" y="39"/>
                  <a:pt x="53" y="39"/>
                </a:cubicBezTo>
                <a:cubicBezTo>
                  <a:pt x="52" y="40"/>
                  <a:pt x="52" y="40"/>
                  <a:pt x="52" y="40"/>
                </a:cubicBezTo>
                <a:cubicBezTo>
                  <a:pt x="52" y="39"/>
                  <a:pt x="52" y="39"/>
                  <a:pt x="52" y="39"/>
                </a:cubicBezTo>
                <a:cubicBezTo>
                  <a:pt x="52" y="38"/>
                  <a:pt x="52" y="38"/>
                  <a:pt x="52" y="38"/>
                </a:cubicBezTo>
                <a:cubicBezTo>
                  <a:pt x="51" y="38"/>
                  <a:pt x="51" y="38"/>
                  <a:pt x="51" y="38"/>
                </a:cubicBezTo>
                <a:cubicBezTo>
                  <a:pt x="50" y="39"/>
                  <a:pt x="50" y="39"/>
                  <a:pt x="50" y="39"/>
                </a:cubicBezTo>
                <a:cubicBezTo>
                  <a:pt x="51" y="40"/>
                  <a:pt x="51" y="40"/>
                  <a:pt x="51" y="40"/>
                </a:cubicBezTo>
                <a:cubicBezTo>
                  <a:pt x="53" y="40"/>
                  <a:pt x="53" y="40"/>
                  <a:pt x="53" y="40"/>
                </a:cubicBezTo>
                <a:cubicBezTo>
                  <a:pt x="54" y="41"/>
                  <a:pt x="54" y="41"/>
                  <a:pt x="54" y="41"/>
                </a:cubicBezTo>
                <a:cubicBezTo>
                  <a:pt x="53" y="42"/>
                  <a:pt x="53" y="42"/>
                  <a:pt x="53" y="42"/>
                </a:cubicBezTo>
                <a:cubicBezTo>
                  <a:pt x="51" y="42"/>
                  <a:pt x="51" y="42"/>
                  <a:pt x="51" y="42"/>
                </a:cubicBezTo>
                <a:cubicBezTo>
                  <a:pt x="50" y="42"/>
                  <a:pt x="50" y="42"/>
                  <a:pt x="50" y="42"/>
                </a:cubicBezTo>
                <a:cubicBezTo>
                  <a:pt x="49" y="42"/>
                  <a:pt x="49" y="42"/>
                  <a:pt x="49" y="42"/>
                </a:cubicBezTo>
                <a:cubicBezTo>
                  <a:pt x="49" y="43"/>
                  <a:pt x="49" y="43"/>
                  <a:pt x="49" y="43"/>
                </a:cubicBezTo>
                <a:cubicBezTo>
                  <a:pt x="50" y="44"/>
                  <a:pt x="50" y="44"/>
                  <a:pt x="50" y="44"/>
                </a:cubicBezTo>
                <a:cubicBezTo>
                  <a:pt x="49" y="45"/>
                  <a:pt x="49" y="45"/>
                  <a:pt x="49" y="45"/>
                </a:cubicBezTo>
                <a:cubicBezTo>
                  <a:pt x="50" y="44"/>
                  <a:pt x="50" y="44"/>
                  <a:pt x="50" y="44"/>
                </a:cubicBezTo>
                <a:cubicBezTo>
                  <a:pt x="51" y="43"/>
                  <a:pt x="51" y="43"/>
                  <a:pt x="51" y="43"/>
                </a:cubicBezTo>
                <a:cubicBezTo>
                  <a:pt x="52" y="43"/>
                  <a:pt x="52" y="43"/>
                  <a:pt x="52" y="43"/>
                </a:cubicBezTo>
                <a:cubicBezTo>
                  <a:pt x="53" y="44"/>
                  <a:pt x="53" y="44"/>
                  <a:pt x="53" y="44"/>
                </a:cubicBezTo>
                <a:cubicBezTo>
                  <a:pt x="51" y="44"/>
                  <a:pt x="51" y="44"/>
                  <a:pt x="51" y="44"/>
                </a:cubicBezTo>
                <a:cubicBezTo>
                  <a:pt x="51" y="45"/>
                  <a:pt x="51" y="45"/>
                  <a:pt x="51" y="45"/>
                </a:cubicBezTo>
                <a:cubicBezTo>
                  <a:pt x="51" y="46"/>
                  <a:pt x="51" y="46"/>
                  <a:pt x="51" y="46"/>
                </a:cubicBezTo>
                <a:cubicBezTo>
                  <a:pt x="53" y="47"/>
                  <a:pt x="53" y="47"/>
                  <a:pt x="53" y="47"/>
                </a:cubicBezTo>
                <a:cubicBezTo>
                  <a:pt x="53" y="48"/>
                  <a:pt x="53" y="48"/>
                  <a:pt x="53" y="48"/>
                </a:cubicBezTo>
                <a:cubicBezTo>
                  <a:pt x="52" y="47"/>
                  <a:pt x="52" y="47"/>
                  <a:pt x="52" y="47"/>
                </a:cubicBezTo>
                <a:cubicBezTo>
                  <a:pt x="51" y="47"/>
                  <a:pt x="51" y="47"/>
                  <a:pt x="51" y="47"/>
                </a:cubicBezTo>
                <a:cubicBezTo>
                  <a:pt x="50" y="46"/>
                  <a:pt x="50" y="46"/>
                  <a:pt x="50" y="46"/>
                </a:cubicBezTo>
                <a:cubicBezTo>
                  <a:pt x="49" y="46"/>
                  <a:pt x="49" y="46"/>
                  <a:pt x="49" y="46"/>
                </a:cubicBezTo>
                <a:cubicBezTo>
                  <a:pt x="49" y="47"/>
                  <a:pt x="49" y="47"/>
                  <a:pt x="49" y="47"/>
                </a:cubicBezTo>
                <a:cubicBezTo>
                  <a:pt x="50" y="48"/>
                  <a:pt x="50" y="48"/>
                  <a:pt x="50" y="48"/>
                </a:cubicBezTo>
                <a:cubicBezTo>
                  <a:pt x="48" y="48"/>
                  <a:pt x="48" y="48"/>
                  <a:pt x="48" y="48"/>
                </a:cubicBezTo>
                <a:cubicBezTo>
                  <a:pt x="47" y="49"/>
                  <a:pt x="47" y="49"/>
                  <a:pt x="47" y="49"/>
                </a:cubicBezTo>
                <a:cubicBezTo>
                  <a:pt x="47" y="49"/>
                  <a:pt x="47" y="49"/>
                  <a:pt x="47" y="49"/>
                </a:cubicBezTo>
                <a:cubicBezTo>
                  <a:pt x="48" y="50"/>
                  <a:pt x="48" y="50"/>
                  <a:pt x="48" y="50"/>
                </a:cubicBezTo>
                <a:cubicBezTo>
                  <a:pt x="49" y="49"/>
                  <a:pt x="49" y="49"/>
                  <a:pt x="49" y="49"/>
                </a:cubicBezTo>
                <a:cubicBezTo>
                  <a:pt x="50" y="50"/>
                  <a:pt x="50" y="50"/>
                  <a:pt x="50" y="50"/>
                </a:cubicBezTo>
                <a:cubicBezTo>
                  <a:pt x="51" y="50"/>
                  <a:pt x="51" y="50"/>
                  <a:pt x="51" y="50"/>
                </a:cubicBezTo>
                <a:cubicBezTo>
                  <a:pt x="52" y="51"/>
                  <a:pt x="52" y="51"/>
                  <a:pt x="52" y="51"/>
                </a:cubicBezTo>
                <a:cubicBezTo>
                  <a:pt x="52" y="51"/>
                  <a:pt x="52" y="51"/>
                  <a:pt x="52" y="51"/>
                </a:cubicBezTo>
                <a:cubicBezTo>
                  <a:pt x="52" y="52"/>
                  <a:pt x="52" y="52"/>
                  <a:pt x="52" y="52"/>
                </a:cubicBezTo>
                <a:cubicBezTo>
                  <a:pt x="51" y="51"/>
                  <a:pt x="51" y="51"/>
                  <a:pt x="51" y="51"/>
                </a:cubicBezTo>
                <a:cubicBezTo>
                  <a:pt x="49" y="51"/>
                  <a:pt x="49" y="51"/>
                  <a:pt x="49" y="51"/>
                </a:cubicBezTo>
                <a:cubicBezTo>
                  <a:pt x="49" y="51"/>
                  <a:pt x="49" y="51"/>
                  <a:pt x="49" y="51"/>
                </a:cubicBezTo>
                <a:cubicBezTo>
                  <a:pt x="47" y="51"/>
                  <a:pt x="47" y="51"/>
                  <a:pt x="47" y="51"/>
                </a:cubicBezTo>
                <a:cubicBezTo>
                  <a:pt x="47" y="52"/>
                  <a:pt x="47" y="52"/>
                  <a:pt x="47" y="52"/>
                </a:cubicBezTo>
                <a:cubicBezTo>
                  <a:pt x="46" y="53"/>
                  <a:pt x="46" y="53"/>
                  <a:pt x="46" y="53"/>
                </a:cubicBezTo>
                <a:cubicBezTo>
                  <a:pt x="46" y="52"/>
                  <a:pt x="46" y="52"/>
                  <a:pt x="46" y="52"/>
                </a:cubicBezTo>
                <a:cubicBezTo>
                  <a:pt x="44" y="53"/>
                  <a:pt x="44" y="53"/>
                  <a:pt x="44" y="53"/>
                </a:cubicBezTo>
                <a:cubicBezTo>
                  <a:pt x="43" y="53"/>
                  <a:pt x="43" y="53"/>
                  <a:pt x="43" y="53"/>
                </a:cubicBezTo>
                <a:cubicBezTo>
                  <a:pt x="43" y="54"/>
                  <a:pt x="43" y="54"/>
                  <a:pt x="43" y="54"/>
                </a:cubicBezTo>
                <a:cubicBezTo>
                  <a:pt x="44" y="54"/>
                  <a:pt x="44" y="54"/>
                  <a:pt x="44" y="54"/>
                </a:cubicBezTo>
                <a:cubicBezTo>
                  <a:pt x="45" y="55"/>
                  <a:pt x="45" y="55"/>
                  <a:pt x="45" y="55"/>
                </a:cubicBezTo>
                <a:cubicBezTo>
                  <a:pt x="44" y="55"/>
                  <a:pt x="44" y="55"/>
                  <a:pt x="44" y="55"/>
                </a:cubicBezTo>
                <a:cubicBezTo>
                  <a:pt x="43" y="55"/>
                  <a:pt x="43" y="55"/>
                  <a:pt x="43" y="55"/>
                </a:cubicBezTo>
                <a:cubicBezTo>
                  <a:pt x="43" y="56"/>
                  <a:pt x="43" y="56"/>
                  <a:pt x="43" y="56"/>
                </a:cubicBezTo>
                <a:cubicBezTo>
                  <a:pt x="44" y="56"/>
                  <a:pt x="44" y="56"/>
                  <a:pt x="44" y="56"/>
                </a:cubicBezTo>
                <a:cubicBezTo>
                  <a:pt x="44" y="57"/>
                  <a:pt x="44" y="57"/>
                  <a:pt x="44" y="57"/>
                </a:cubicBezTo>
                <a:cubicBezTo>
                  <a:pt x="42" y="57"/>
                  <a:pt x="42" y="57"/>
                  <a:pt x="42" y="57"/>
                </a:cubicBezTo>
                <a:cubicBezTo>
                  <a:pt x="42" y="56"/>
                  <a:pt x="42" y="56"/>
                  <a:pt x="42" y="56"/>
                </a:cubicBezTo>
                <a:cubicBezTo>
                  <a:pt x="42" y="57"/>
                  <a:pt x="42" y="57"/>
                  <a:pt x="42" y="57"/>
                </a:cubicBezTo>
                <a:cubicBezTo>
                  <a:pt x="43" y="57"/>
                  <a:pt x="43" y="57"/>
                  <a:pt x="43" y="57"/>
                </a:cubicBezTo>
                <a:cubicBezTo>
                  <a:pt x="42" y="58"/>
                  <a:pt x="42" y="58"/>
                  <a:pt x="42" y="58"/>
                </a:cubicBezTo>
                <a:cubicBezTo>
                  <a:pt x="42" y="58"/>
                  <a:pt x="42" y="58"/>
                  <a:pt x="42" y="58"/>
                </a:cubicBezTo>
                <a:cubicBezTo>
                  <a:pt x="43" y="58"/>
                  <a:pt x="43" y="58"/>
                  <a:pt x="43" y="58"/>
                </a:cubicBezTo>
                <a:cubicBezTo>
                  <a:pt x="42" y="59"/>
                  <a:pt x="42" y="59"/>
                  <a:pt x="42" y="59"/>
                </a:cubicBezTo>
                <a:cubicBezTo>
                  <a:pt x="42" y="59"/>
                  <a:pt x="42" y="59"/>
                  <a:pt x="42" y="59"/>
                </a:cubicBezTo>
                <a:cubicBezTo>
                  <a:pt x="41" y="59"/>
                  <a:pt x="41" y="59"/>
                  <a:pt x="41" y="59"/>
                </a:cubicBezTo>
                <a:cubicBezTo>
                  <a:pt x="41" y="59"/>
                  <a:pt x="41" y="59"/>
                  <a:pt x="41" y="59"/>
                </a:cubicBezTo>
                <a:cubicBezTo>
                  <a:pt x="41" y="60"/>
                  <a:pt x="41" y="60"/>
                  <a:pt x="41" y="60"/>
                </a:cubicBezTo>
                <a:cubicBezTo>
                  <a:pt x="41" y="60"/>
                  <a:pt x="41" y="60"/>
                  <a:pt x="41" y="60"/>
                </a:cubicBezTo>
                <a:cubicBezTo>
                  <a:pt x="43" y="61"/>
                  <a:pt x="43" y="61"/>
                  <a:pt x="43" y="61"/>
                </a:cubicBezTo>
                <a:cubicBezTo>
                  <a:pt x="43" y="62"/>
                  <a:pt x="43" y="62"/>
                  <a:pt x="43" y="62"/>
                </a:cubicBezTo>
                <a:cubicBezTo>
                  <a:pt x="44" y="62"/>
                  <a:pt x="44" y="62"/>
                  <a:pt x="44" y="62"/>
                </a:cubicBezTo>
                <a:cubicBezTo>
                  <a:pt x="45" y="61"/>
                  <a:pt x="45" y="61"/>
                  <a:pt x="45" y="61"/>
                </a:cubicBezTo>
                <a:cubicBezTo>
                  <a:pt x="44" y="62"/>
                  <a:pt x="44" y="62"/>
                  <a:pt x="44" y="62"/>
                </a:cubicBezTo>
                <a:cubicBezTo>
                  <a:pt x="44" y="63"/>
                  <a:pt x="44" y="63"/>
                  <a:pt x="44" y="63"/>
                </a:cubicBezTo>
                <a:cubicBezTo>
                  <a:pt x="43" y="63"/>
                  <a:pt x="43" y="63"/>
                  <a:pt x="43" y="63"/>
                </a:cubicBezTo>
                <a:cubicBezTo>
                  <a:pt x="43" y="62"/>
                  <a:pt x="43" y="62"/>
                  <a:pt x="43" y="62"/>
                </a:cubicBezTo>
                <a:cubicBezTo>
                  <a:pt x="41" y="62"/>
                  <a:pt x="41" y="62"/>
                  <a:pt x="41" y="62"/>
                </a:cubicBezTo>
                <a:cubicBezTo>
                  <a:pt x="40" y="63"/>
                  <a:pt x="40" y="63"/>
                  <a:pt x="40" y="63"/>
                </a:cubicBezTo>
                <a:cubicBezTo>
                  <a:pt x="40" y="64"/>
                  <a:pt x="40" y="64"/>
                  <a:pt x="40" y="64"/>
                </a:cubicBezTo>
                <a:cubicBezTo>
                  <a:pt x="41" y="64"/>
                  <a:pt x="41" y="64"/>
                  <a:pt x="41" y="64"/>
                </a:cubicBezTo>
                <a:cubicBezTo>
                  <a:pt x="41" y="64"/>
                  <a:pt x="41" y="64"/>
                  <a:pt x="41" y="64"/>
                </a:cubicBezTo>
                <a:cubicBezTo>
                  <a:pt x="42" y="65"/>
                  <a:pt x="42" y="65"/>
                  <a:pt x="42" y="65"/>
                </a:cubicBezTo>
                <a:cubicBezTo>
                  <a:pt x="42" y="66"/>
                  <a:pt x="42" y="66"/>
                  <a:pt x="42" y="66"/>
                </a:cubicBezTo>
                <a:cubicBezTo>
                  <a:pt x="41" y="65"/>
                  <a:pt x="41" y="65"/>
                  <a:pt x="41" y="65"/>
                </a:cubicBezTo>
                <a:cubicBezTo>
                  <a:pt x="41" y="65"/>
                  <a:pt x="41" y="65"/>
                  <a:pt x="41" y="65"/>
                </a:cubicBezTo>
                <a:cubicBezTo>
                  <a:pt x="40" y="66"/>
                  <a:pt x="40" y="66"/>
                  <a:pt x="40" y="66"/>
                </a:cubicBezTo>
                <a:cubicBezTo>
                  <a:pt x="40" y="67"/>
                  <a:pt x="40" y="67"/>
                  <a:pt x="40" y="67"/>
                </a:cubicBezTo>
                <a:cubicBezTo>
                  <a:pt x="40" y="67"/>
                  <a:pt x="40" y="67"/>
                  <a:pt x="40" y="67"/>
                </a:cubicBezTo>
                <a:cubicBezTo>
                  <a:pt x="40" y="68"/>
                  <a:pt x="40" y="68"/>
                  <a:pt x="40" y="68"/>
                </a:cubicBezTo>
                <a:cubicBezTo>
                  <a:pt x="41" y="68"/>
                  <a:pt x="41" y="68"/>
                  <a:pt x="41" y="68"/>
                </a:cubicBezTo>
                <a:cubicBezTo>
                  <a:pt x="40" y="68"/>
                  <a:pt x="40" y="68"/>
                  <a:pt x="40" y="68"/>
                </a:cubicBezTo>
                <a:cubicBezTo>
                  <a:pt x="39" y="68"/>
                  <a:pt x="39" y="68"/>
                  <a:pt x="39" y="68"/>
                </a:cubicBezTo>
                <a:cubicBezTo>
                  <a:pt x="39" y="68"/>
                  <a:pt x="39" y="68"/>
                  <a:pt x="39" y="68"/>
                </a:cubicBezTo>
                <a:cubicBezTo>
                  <a:pt x="39" y="69"/>
                  <a:pt x="39" y="69"/>
                  <a:pt x="39" y="69"/>
                </a:cubicBezTo>
                <a:cubicBezTo>
                  <a:pt x="40" y="69"/>
                  <a:pt x="40" y="69"/>
                  <a:pt x="40" y="69"/>
                </a:cubicBezTo>
                <a:cubicBezTo>
                  <a:pt x="40" y="70"/>
                  <a:pt x="40" y="70"/>
                  <a:pt x="40" y="70"/>
                </a:cubicBezTo>
                <a:cubicBezTo>
                  <a:pt x="40" y="71"/>
                  <a:pt x="40" y="71"/>
                  <a:pt x="40" y="71"/>
                </a:cubicBezTo>
                <a:cubicBezTo>
                  <a:pt x="39" y="70"/>
                  <a:pt x="39" y="70"/>
                  <a:pt x="39" y="70"/>
                </a:cubicBezTo>
                <a:cubicBezTo>
                  <a:pt x="38" y="70"/>
                  <a:pt x="38" y="70"/>
                  <a:pt x="38" y="70"/>
                </a:cubicBezTo>
                <a:cubicBezTo>
                  <a:pt x="38" y="71"/>
                  <a:pt x="38" y="71"/>
                  <a:pt x="38" y="71"/>
                </a:cubicBezTo>
                <a:cubicBezTo>
                  <a:pt x="39" y="71"/>
                  <a:pt x="39" y="71"/>
                  <a:pt x="39" y="71"/>
                </a:cubicBezTo>
                <a:cubicBezTo>
                  <a:pt x="39" y="72"/>
                  <a:pt x="39" y="72"/>
                  <a:pt x="39" y="72"/>
                </a:cubicBezTo>
                <a:cubicBezTo>
                  <a:pt x="39" y="73"/>
                  <a:pt x="39" y="73"/>
                  <a:pt x="39" y="73"/>
                </a:cubicBezTo>
                <a:cubicBezTo>
                  <a:pt x="40" y="73"/>
                  <a:pt x="40" y="73"/>
                  <a:pt x="40" y="73"/>
                </a:cubicBezTo>
                <a:cubicBezTo>
                  <a:pt x="40" y="72"/>
                  <a:pt x="40" y="72"/>
                  <a:pt x="40" y="72"/>
                </a:cubicBezTo>
                <a:cubicBezTo>
                  <a:pt x="41" y="72"/>
                  <a:pt x="41" y="72"/>
                  <a:pt x="41" y="72"/>
                </a:cubicBezTo>
                <a:cubicBezTo>
                  <a:pt x="40" y="74"/>
                  <a:pt x="40" y="74"/>
                  <a:pt x="40" y="74"/>
                </a:cubicBezTo>
                <a:cubicBezTo>
                  <a:pt x="39" y="74"/>
                  <a:pt x="39" y="74"/>
                  <a:pt x="39" y="74"/>
                </a:cubicBezTo>
                <a:cubicBezTo>
                  <a:pt x="38" y="75"/>
                  <a:pt x="38" y="75"/>
                  <a:pt x="38" y="75"/>
                </a:cubicBezTo>
                <a:cubicBezTo>
                  <a:pt x="38" y="75"/>
                  <a:pt x="38" y="75"/>
                  <a:pt x="38" y="75"/>
                </a:cubicBezTo>
                <a:cubicBezTo>
                  <a:pt x="37" y="75"/>
                  <a:pt x="37" y="75"/>
                  <a:pt x="37" y="75"/>
                </a:cubicBezTo>
                <a:cubicBezTo>
                  <a:pt x="37" y="76"/>
                  <a:pt x="37" y="76"/>
                  <a:pt x="37" y="76"/>
                </a:cubicBezTo>
                <a:cubicBezTo>
                  <a:pt x="36" y="76"/>
                  <a:pt x="36" y="76"/>
                  <a:pt x="36" y="76"/>
                </a:cubicBezTo>
                <a:cubicBezTo>
                  <a:pt x="35" y="77"/>
                  <a:pt x="35" y="77"/>
                  <a:pt x="35" y="77"/>
                </a:cubicBezTo>
                <a:cubicBezTo>
                  <a:pt x="36" y="77"/>
                  <a:pt x="36" y="77"/>
                  <a:pt x="36" y="77"/>
                </a:cubicBezTo>
                <a:cubicBezTo>
                  <a:pt x="36" y="78"/>
                  <a:pt x="36" y="78"/>
                  <a:pt x="36" y="78"/>
                </a:cubicBezTo>
                <a:cubicBezTo>
                  <a:pt x="34" y="78"/>
                  <a:pt x="34" y="78"/>
                  <a:pt x="34" y="78"/>
                </a:cubicBezTo>
                <a:cubicBezTo>
                  <a:pt x="33" y="79"/>
                  <a:pt x="33" y="79"/>
                  <a:pt x="33" y="79"/>
                </a:cubicBezTo>
                <a:cubicBezTo>
                  <a:pt x="33" y="80"/>
                  <a:pt x="33" y="80"/>
                  <a:pt x="33" y="80"/>
                </a:cubicBezTo>
                <a:cubicBezTo>
                  <a:pt x="35" y="80"/>
                  <a:pt x="35" y="80"/>
                  <a:pt x="35" y="80"/>
                </a:cubicBezTo>
                <a:cubicBezTo>
                  <a:pt x="34" y="80"/>
                  <a:pt x="34" y="80"/>
                  <a:pt x="34" y="80"/>
                </a:cubicBezTo>
                <a:cubicBezTo>
                  <a:pt x="33" y="81"/>
                  <a:pt x="33" y="81"/>
                  <a:pt x="33" y="81"/>
                </a:cubicBezTo>
                <a:cubicBezTo>
                  <a:pt x="32" y="82"/>
                  <a:pt x="32" y="82"/>
                  <a:pt x="32" y="82"/>
                </a:cubicBezTo>
                <a:cubicBezTo>
                  <a:pt x="32" y="81"/>
                  <a:pt x="32" y="81"/>
                  <a:pt x="32" y="81"/>
                </a:cubicBezTo>
                <a:cubicBezTo>
                  <a:pt x="31" y="80"/>
                  <a:pt x="31" y="80"/>
                  <a:pt x="31" y="80"/>
                </a:cubicBezTo>
                <a:cubicBezTo>
                  <a:pt x="31" y="81"/>
                  <a:pt x="31" y="81"/>
                  <a:pt x="31" y="81"/>
                </a:cubicBezTo>
                <a:cubicBezTo>
                  <a:pt x="30" y="81"/>
                  <a:pt x="30" y="81"/>
                  <a:pt x="30" y="81"/>
                </a:cubicBezTo>
                <a:cubicBezTo>
                  <a:pt x="30" y="81"/>
                  <a:pt x="30" y="81"/>
                  <a:pt x="30" y="81"/>
                </a:cubicBezTo>
                <a:cubicBezTo>
                  <a:pt x="30" y="82"/>
                  <a:pt x="30" y="82"/>
                  <a:pt x="30" y="82"/>
                </a:cubicBezTo>
                <a:cubicBezTo>
                  <a:pt x="30" y="83"/>
                  <a:pt x="30" y="83"/>
                  <a:pt x="30" y="83"/>
                </a:cubicBezTo>
                <a:cubicBezTo>
                  <a:pt x="30" y="83"/>
                  <a:pt x="30" y="83"/>
                  <a:pt x="30" y="83"/>
                </a:cubicBezTo>
                <a:cubicBezTo>
                  <a:pt x="29" y="83"/>
                  <a:pt x="29" y="83"/>
                  <a:pt x="29" y="83"/>
                </a:cubicBezTo>
                <a:cubicBezTo>
                  <a:pt x="28" y="84"/>
                  <a:pt x="28" y="84"/>
                  <a:pt x="28" y="84"/>
                </a:cubicBezTo>
                <a:cubicBezTo>
                  <a:pt x="28" y="85"/>
                  <a:pt x="28" y="85"/>
                  <a:pt x="28" y="85"/>
                </a:cubicBezTo>
                <a:cubicBezTo>
                  <a:pt x="27" y="86"/>
                  <a:pt x="27" y="86"/>
                  <a:pt x="27" y="86"/>
                </a:cubicBezTo>
                <a:cubicBezTo>
                  <a:pt x="27" y="86"/>
                  <a:pt x="27" y="86"/>
                  <a:pt x="27" y="86"/>
                </a:cubicBezTo>
                <a:cubicBezTo>
                  <a:pt x="27" y="87"/>
                  <a:pt x="27" y="87"/>
                  <a:pt x="27" y="87"/>
                </a:cubicBezTo>
                <a:cubicBezTo>
                  <a:pt x="26" y="88"/>
                  <a:pt x="26" y="88"/>
                  <a:pt x="26" y="88"/>
                </a:cubicBezTo>
                <a:cubicBezTo>
                  <a:pt x="25" y="89"/>
                  <a:pt x="25" y="89"/>
                  <a:pt x="25" y="89"/>
                </a:cubicBezTo>
                <a:cubicBezTo>
                  <a:pt x="25" y="90"/>
                  <a:pt x="25" y="90"/>
                  <a:pt x="25" y="90"/>
                </a:cubicBezTo>
                <a:cubicBezTo>
                  <a:pt x="27" y="89"/>
                  <a:pt x="27" y="89"/>
                  <a:pt x="27" y="89"/>
                </a:cubicBezTo>
                <a:cubicBezTo>
                  <a:pt x="27" y="89"/>
                  <a:pt x="27" y="89"/>
                  <a:pt x="27" y="89"/>
                </a:cubicBezTo>
                <a:cubicBezTo>
                  <a:pt x="27" y="89"/>
                  <a:pt x="27" y="89"/>
                  <a:pt x="27" y="89"/>
                </a:cubicBezTo>
                <a:cubicBezTo>
                  <a:pt x="26" y="90"/>
                  <a:pt x="26" y="90"/>
                  <a:pt x="26" y="90"/>
                </a:cubicBezTo>
                <a:cubicBezTo>
                  <a:pt x="26" y="91"/>
                  <a:pt x="26" y="91"/>
                  <a:pt x="26" y="91"/>
                </a:cubicBezTo>
                <a:cubicBezTo>
                  <a:pt x="27" y="92"/>
                  <a:pt x="27" y="92"/>
                  <a:pt x="27" y="92"/>
                </a:cubicBezTo>
                <a:cubicBezTo>
                  <a:pt x="28" y="91"/>
                  <a:pt x="28" y="91"/>
                  <a:pt x="28" y="91"/>
                </a:cubicBezTo>
                <a:cubicBezTo>
                  <a:pt x="30" y="91"/>
                  <a:pt x="30" y="91"/>
                  <a:pt x="30" y="91"/>
                </a:cubicBezTo>
                <a:cubicBezTo>
                  <a:pt x="32" y="89"/>
                  <a:pt x="32" y="89"/>
                  <a:pt x="32" y="89"/>
                </a:cubicBezTo>
                <a:cubicBezTo>
                  <a:pt x="32" y="88"/>
                  <a:pt x="32" y="88"/>
                  <a:pt x="32" y="88"/>
                </a:cubicBezTo>
                <a:cubicBezTo>
                  <a:pt x="31" y="89"/>
                  <a:pt x="31" y="89"/>
                  <a:pt x="31" y="89"/>
                </a:cubicBezTo>
                <a:cubicBezTo>
                  <a:pt x="32" y="88"/>
                  <a:pt x="32" y="88"/>
                  <a:pt x="32" y="88"/>
                </a:cubicBezTo>
                <a:cubicBezTo>
                  <a:pt x="32" y="86"/>
                  <a:pt x="32" y="86"/>
                  <a:pt x="32" y="86"/>
                </a:cubicBezTo>
                <a:cubicBezTo>
                  <a:pt x="32" y="86"/>
                  <a:pt x="32" y="86"/>
                  <a:pt x="32" y="86"/>
                </a:cubicBezTo>
                <a:cubicBezTo>
                  <a:pt x="33" y="86"/>
                  <a:pt x="33" y="86"/>
                  <a:pt x="33" y="86"/>
                </a:cubicBezTo>
                <a:cubicBezTo>
                  <a:pt x="34" y="86"/>
                  <a:pt x="34" y="86"/>
                  <a:pt x="34" y="86"/>
                </a:cubicBezTo>
                <a:cubicBezTo>
                  <a:pt x="35" y="86"/>
                  <a:pt x="35" y="86"/>
                  <a:pt x="35" y="86"/>
                </a:cubicBezTo>
                <a:cubicBezTo>
                  <a:pt x="33" y="87"/>
                  <a:pt x="33" y="87"/>
                  <a:pt x="33" y="87"/>
                </a:cubicBezTo>
                <a:cubicBezTo>
                  <a:pt x="33" y="88"/>
                  <a:pt x="33" y="88"/>
                  <a:pt x="33" y="88"/>
                </a:cubicBezTo>
                <a:cubicBezTo>
                  <a:pt x="34" y="88"/>
                  <a:pt x="34" y="88"/>
                  <a:pt x="34" y="88"/>
                </a:cubicBezTo>
                <a:cubicBezTo>
                  <a:pt x="34" y="89"/>
                  <a:pt x="34" y="89"/>
                  <a:pt x="34" y="89"/>
                </a:cubicBezTo>
                <a:cubicBezTo>
                  <a:pt x="33" y="89"/>
                  <a:pt x="33" y="89"/>
                  <a:pt x="33" y="89"/>
                </a:cubicBezTo>
                <a:cubicBezTo>
                  <a:pt x="31" y="91"/>
                  <a:pt x="31" y="91"/>
                  <a:pt x="31" y="91"/>
                </a:cubicBezTo>
                <a:cubicBezTo>
                  <a:pt x="32" y="91"/>
                  <a:pt x="32" y="91"/>
                  <a:pt x="32" y="91"/>
                </a:cubicBezTo>
                <a:cubicBezTo>
                  <a:pt x="32" y="92"/>
                  <a:pt x="32" y="92"/>
                  <a:pt x="32" y="92"/>
                </a:cubicBezTo>
                <a:cubicBezTo>
                  <a:pt x="32" y="93"/>
                  <a:pt x="32" y="93"/>
                  <a:pt x="32" y="93"/>
                </a:cubicBezTo>
                <a:cubicBezTo>
                  <a:pt x="31" y="93"/>
                  <a:pt x="31" y="93"/>
                  <a:pt x="31" y="93"/>
                </a:cubicBezTo>
                <a:cubicBezTo>
                  <a:pt x="30" y="92"/>
                  <a:pt x="30" y="92"/>
                  <a:pt x="30" y="92"/>
                </a:cubicBezTo>
                <a:cubicBezTo>
                  <a:pt x="28" y="92"/>
                  <a:pt x="28" y="92"/>
                  <a:pt x="28" y="92"/>
                </a:cubicBezTo>
                <a:cubicBezTo>
                  <a:pt x="28" y="93"/>
                  <a:pt x="28" y="93"/>
                  <a:pt x="28" y="93"/>
                </a:cubicBezTo>
                <a:cubicBezTo>
                  <a:pt x="28" y="94"/>
                  <a:pt x="28" y="94"/>
                  <a:pt x="28" y="94"/>
                </a:cubicBezTo>
                <a:cubicBezTo>
                  <a:pt x="27" y="95"/>
                  <a:pt x="27" y="95"/>
                  <a:pt x="27" y="95"/>
                </a:cubicBezTo>
                <a:cubicBezTo>
                  <a:pt x="26" y="95"/>
                  <a:pt x="26" y="95"/>
                  <a:pt x="26" y="95"/>
                </a:cubicBezTo>
                <a:cubicBezTo>
                  <a:pt x="26" y="94"/>
                  <a:pt x="26" y="94"/>
                  <a:pt x="26" y="94"/>
                </a:cubicBezTo>
                <a:cubicBezTo>
                  <a:pt x="27" y="94"/>
                  <a:pt x="27" y="94"/>
                  <a:pt x="27" y="94"/>
                </a:cubicBezTo>
                <a:cubicBezTo>
                  <a:pt x="26" y="93"/>
                  <a:pt x="26" y="93"/>
                  <a:pt x="26" y="93"/>
                </a:cubicBezTo>
                <a:cubicBezTo>
                  <a:pt x="26" y="92"/>
                  <a:pt x="26" y="92"/>
                  <a:pt x="26" y="92"/>
                </a:cubicBezTo>
                <a:cubicBezTo>
                  <a:pt x="25" y="91"/>
                  <a:pt x="25" y="91"/>
                  <a:pt x="25" y="91"/>
                </a:cubicBezTo>
                <a:cubicBezTo>
                  <a:pt x="24" y="91"/>
                  <a:pt x="24" y="91"/>
                  <a:pt x="24" y="91"/>
                </a:cubicBezTo>
                <a:cubicBezTo>
                  <a:pt x="24" y="91"/>
                  <a:pt x="24" y="91"/>
                  <a:pt x="24" y="91"/>
                </a:cubicBezTo>
                <a:cubicBezTo>
                  <a:pt x="23" y="92"/>
                  <a:pt x="23" y="92"/>
                  <a:pt x="23" y="92"/>
                </a:cubicBezTo>
                <a:cubicBezTo>
                  <a:pt x="23" y="92"/>
                  <a:pt x="23" y="92"/>
                  <a:pt x="23" y="92"/>
                </a:cubicBezTo>
                <a:cubicBezTo>
                  <a:pt x="24" y="92"/>
                  <a:pt x="24" y="92"/>
                  <a:pt x="24" y="92"/>
                </a:cubicBezTo>
                <a:cubicBezTo>
                  <a:pt x="23" y="94"/>
                  <a:pt x="23" y="94"/>
                  <a:pt x="23" y="94"/>
                </a:cubicBezTo>
                <a:cubicBezTo>
                  <a:pt x="22" y="93"/>
                  <a:pt x="22" y="93"/>
                  <a:pt x="22" y="93"/>
                </a:cubicBezTo>
                <a:cubicBezTo>
                  <a:pt x="21" y="93"/>
                  <a:pt x="21" y="93"/>
                  <a:pt x="21" y="93"/>
                </a:cubicBezTo>
                <a:cubicBezTo>
                  <a:pt x="20" y="94"/>
                  <a:pt x="20" y="94"/>
                  <a:pt x="20" y="94"/>
                </a:cubicBezTo>
                <a:cubicBezTo>
                  <a:pt x="20" y="95"/>
                  <a:pt x="20" y="95"/>
                  <a:pt x="20" y="95"/>
                </a:cubicBezTo>
                <a:cubicBezTo>
                  <a:pt x="21" y="94"/>
                  <a:pt x="21" y="94"/>
                  <a:pt x="21" y="94"/>
                </a:cubicBezTo>
                <a:cubicBezTo>
                  <a:pt x="21" y="95"/>
                  <a:pt x="21" y="95"/>
                  <a:pt x="21" y="95"/>
                </a:cubicBezTo>
                <a:cubicBezTo>
                  <a:pt x="20" y="95"/>
                  <a:pt x="20" y="95"/>
                  <a:pt x="20" y="95"/>
                </a:cubicBezTo>
                <a:cubicBezTo>
                  <a:pt x="19" y="96"/>
                  <a:pt x="19" y="96"/>
                  <a:pt x="19" y="96"/>
                </a:cubicBezTo>
                <a:cubicBezTo>
                  <a:pt x="19" y="96"/>
                  <a:pt x="19" y="96"/>
                  <a:pt x="19" y="96"/>
                </a:cubicBezTo>
                <a:cubicBezTo>
                  <a:pt x="18" y="96"/>
                  <a:pt x="18" y="96"/>
                  <a:pt x="18" y="96"/>
                </a:cubicBezTo>
                <a:cubicBezTo>
                  <a:pt x="18" y="96"/>
                  <a:pt x="18" y="96"/>
                  <a:pt x="18" y="96"/>
                </a:cubicBezTo>
                <a:cubicBezTo>
                  <a:pt x="19" y="97"/>
                  <a:pt x="19" y="97"/>
                  <a:pt x="19" y="97"/>
                </a:cubicBezTo>
                <a:cubicBezTo>
                  <a:pt x="21" y="97"/>
                  <a:pt x="21" y="97"/>
                  <a:pt x="21" y="97"/>
                </a:cubicBezTo>
                <a:cubicBezTo>
                  <a:pt x="21" y="98"/>
                  <a:pt x="21" y="98"/>
                  <a:pt x="21" y="98"/>
                </a:cubicBezTo>
                <a:cubicBezTo>
                  <a:pt x="21" y="98"/>
                  <a:pt x="21" y="98"/>
                  <a:pt x="21" y="98"/>
                </a:cubicBezTo>
                <a:cubicBezTo>
                  <a:pt x="21" y="99"/>
                  <a:pt x="21" y="99"/>
                  <a:pt x="21" y="99"/>
                </a:cubicBezTo>
                <a:cubicBezTo>
                  <a:pt x="20" y="98"/>
                  <a:pt x="20" y="98"/>
                  <a:pt x="20" y="98"/>
                </a:cubicBezTo>
                <a:cubicBezTo>
                  <a:pt x="20" y="98"/>
                  <a:pt x="20" y="98"/>
                  <a:pt x="20" y="98"/>
                </a:cubicBezTo>
                <a:cubicBezTo>
                  <a:pt x="18" y="98"/>
                  <a:pt x="18" y="98"/>
                  <a:pt x="18" y="98"/>
                </a:cubicBezTo>
                <a:cubicBezTo>
                  <a:pt x="17" y="97"/>
                  <a:pt x="17" y="97"/>
                  <a:pt x="17" y="97"/>
                </a:cubicBezTo>
                <a:cubicBezTo>
                  <a:pt x="17" y="96"/>
                  <a:pt x="17" y="96"/>
                  <a:pt x="17" y="96"/>
                </a:cubicBezTo>
                <a:cubicBezTo>
                  <a:pt x="17" y="96"/>
                  <a:pt x="17" y="96"/>
                  <a:pt x="17" y="96"/>
                </a:cubicBezTo>
                <a:cubicBezTo>
                  <a:pt x="16" y="97"/>
                  <a:pt x="16" y="97"/>
                  <a:pt x="16" y="97"/>
                </a:cubicBezTo>
                <a:cubicBezTo>
                  <a:pt x="18" y="98"/>
                  <a:pt x="18" y="98"/>
                  <a:pt x="18" y="98"/>
                </a:cubicBezTo>
                <a:cubicBezTo>
                  <a:pt x="19" y="99"/>
                  <a:pt x="19" y="99"/>
                  <a:pt x="19" y="99"/>
                </a:cubicBezTo>
                <a:cubicBezTo>
                  <a:pt x="20" y="99"/>
                  <a:pt x="20" y="99"/>
                  <a:pt x="20" y="99"/>
                </a:cubicBezTo>
                <a:cubicBezTo>
                  <a:pt x="20" y="100"/>
                  <a:pt x="20" y="100"/>
                  <a:pt x="20" y="100"/>
                </a:cubicBezTo>
                <a:cubicBezTo>
                  <a:pt x="19" y="100"/>
                  <a:pt x="19" y="100"/>
                  <a:pt x="19" y="100"/>
                </a:cubicBezTo>
                <a:cubicBezTo>
                  <a:pt x="17" y="99"/>
                  <a:pt x="17" y="99"/>
                  <a:pt x="17" y="99"/>
                </a:cubicBezTo>
                <a:cubicBezTo>
                  <a:pt x="16" y="97"/>
                  <a:pt x="16" y="97"/>
                  <a:pt x="16" y="97"/>
                </a:cubicBezTo>
                <a:cubicBezTo>
                  <a:pt x="15" y="98"/>
                  <a:pt x="15" y="98"/>
                  <a:pt x="15" y="98"/>
                </a:cubicBezTo>
                <a:cubicBezTo>
                  <a:pt x="14" y="97"/>
                  <a:pt x="14" y="97"/>
                  <a:pt x="14" y="97"/>
                </a:cubicBezTo>
                <a:cubicBezTo>
                  <a:pt x="13" y="97"/>
                  <a:pt x="13" y="97"/>
                  <a:pt x="13" y="97"/>
                </a:cubicBezTo>
                <a:cubicBezTo>
                  <a:pt x="12" y="97"/>
                  <a:pt x="12" y="97"/>
                  <a:pt x="12" y="97"/>
                </a:cubicBezTo>
                <a:cubicBezTo>
                  <a:pt x="12" y="97"/>
                  <a:pt x="12" y="97"/>
                  <a:pt x="12" y="97"/>
                </a:cubicBezTo>
                <a:cubicBezTo>
                  <a:pt x="12" y="98"/>
                  <a:pt x="12" y="98"/>
                  <a:pt x="12" y="98"/>
                </a:cubicBezTo>
                <a:cubicBezTo>
                  <a:pt x="11" y="99"/>
                  <a:pt x="11" y="99"/>
                  <a:pt x="11" y="99"/>
                </a:cubicBezTo>
                <a:cubicBezTo>
                  <a:pt x="12" y="100"/>
                  <a:pt x="12" y="100"/>
                  <a:pt x="12" y="100"/>
                </a:cubicBezTo>
                <a:cubicBezTo>
                  <a:pt x="14" y="99"/>
                  <a:pt x="14" y="99"/>
                  <a:pt x="14" y="99"/>
                </a:cubicBezTo>
                <a:cubicBezTo>
                  <a:pt x="15" y="100"/>
                  <a:pt x="15" y="100"/>
                  <a:pt x="15" y="100"/>
                </a:cubicBezTo>
                <a:cubicBezTo>
                  <a:pt x="14" y="100"/>
                  <a:pt x="14" y="100"/>
                  <a:pt x="14" y="100"/>
                </a:cubicBezTo>
                <a:cubicBezTo>
                  <a:pt x="14" y="100"/>
                  <a:pt x="14" y="100"/>
                  <a:pt x="14" y="100"/>
                </a:cubicBezTo>
                <a:cubicBezTo>
                  <a:pt x="16" y="100"/>
                  <a:pt x="16" y="100"/>
                  <a:pt x="16" y="100"/>
                </a:cubicBezTo>
                <a:cubicBezTo>
                  <a:pt x="16" y="100"/>
                  <a:pt x="16" y="100"/>
                  <a:pt x="16" y="100"/>
                </a:cubicBezTo>
                <a:cubicBezTo>
                  <a:pt x="16" y="100"/>
                  <a:pt x="16" y="100"/>
                  <a:pt x="16" y="100"/>
                </a:cubicBezTo>
                <a:cubicBezTo>
                  <a:pt x="14" y="101"/>
                  <a:pt x="14" y="101"/>
                  <a:pt x="14" y="101"/>
                </a:cubicBezTo>
                <a:cubicBezTo>
                  <a:pt x="14" y="102"/>
                  <a:pt x="14" y="102"/>
                  <a:pt x="14" y="102"/>
                </a:cubicBezTo>
                <a:cubicBezTo>
                  <a:pt x="12" y="102"/>
                  <a:pt x="12" y="102"/>
                  <a:pt x="12" y="102"/>
                </a:cubicBezTo>
                <a:cubicBezTo>
                  <a:pt x="11" y="100"/>
                  <a:pt x="11" y="100"/>
                  <a:pt x="11" y="100"/>
                </a:cubicBezTo>
                <a:cubicBezTo>
                  <a:pt x="11" y="100"/>
                  <a:pt x="11" y="100"/>
                  <a:pt x="11" y="100"/>
                </a:cubicBezTo>
                <a:cubicBezTo>
                  <a:pt x="10" y="101"/>
                  <a:pt x="10" y="101"/>
                  <a:pt x="10" y="101"/>
                </a:cubicBezTo>
                <a:cubicBezTo>
                  <a:pt x="9" y="100"/>
                  <a:pt x="9" y="100"/>
                  <a:pt x="9" y="100"/>
                </a:cubicBezTo>
                <a:cubicBezTo>
                  <a:pt x="8" y="101"/>
                  <a:pt x="8" y="101"/>
                  <a:pt x="8" y="101"/>
                </a:cubicBezTo>
                <a:cubicBezTo>
                  <a:pt x="8" y="100"/>
                  <a:pt x="8" y="100"/>
                  <a:pt x="8" y="100"/>
                </a:cubicBezTo>
                <a:cubicBezTo>
                  <a:pt x="7" y="101"/>
                  <a:pt x="7" y="101"/>
                  <a:pt x="7" y="101"/>
                </a:cubicBezTo>
                <a:cubicBezTo>
                  <a:pt x="7" y="101"/>
                  <a:pt x="7" y="101"/>
                  <a:pt x="7" y="101"/>
                </a:cubicBezTo>
                <a:cubicBezTo>
                  <a:pt x="9" y="102"/>
                  <a:pt x="9" y="102"/>
                  <a:pt x="9" y="102"/>
                </a:cubicBezTo>
                <a:cubicBezTo>
                  <a:pt x="10" y="102"/>
                  <a:pt x="10" y="102"/>
                  <a:pt x="10" y="102"/>
                </a:cubicBezTo>
                <a:cubicBezTo>
                  <a:pt x="12" y="103"/>
                  <a:pt x="12" y="103"/>
                  <a:pt x="12" y="103"/>
                </a:cubicBezTo>
                <a:cubicBezTo>
                  <a:pt x="12" y="104"/>
                  <a:pt x="12" y="104"/>
                  <a:pt x="12" y="104"/>
                </a:cubicBezTo>
                <a:cubicBezTo>
                  <a:pt x="12" y="105"/>
                  <a:pt x="12" y="105"/>
                  <a:pt x="12" y="105"/>
                </a:cubicBezTo>
                <a:cubicBezTo>
                  <a:pt x="11" y="106"/>
                  <a:pt x="11" y="106"/>
                  <a:pt x="11" y="106"/>
                </a:cubicBezTo>
                <a:cubicBezTo>
                  <a:pt x="11" y="105"/>
                  <a:pt x="11" y="105"/>
                  <a:pt x="11" y="105"/>
                </a:cubicBezTo>
                <a:cubicBezTo>
                  <a:pt x="11" y="103"/>
                  <a:pt x="11" y="103"/>
                  <a:pt x="11" y="103"/>
                </a:cubicBezTo>
                <a:cubicBezTo>
                  <a:pt x="10" y="103"/>
                  <a:pt x="10" y="103"/>
                  <a:pt x="10" y="103"/>
                </a:cubicBezTo>
                <a:cubicBezTo>
                  <a:pt x="9" y="103"/>
                  <a:pt x="9" y="103"/>
                  <a:pt x="9" y="103"/>
                </a:cubicBezTo>
                <a:cubicBezTo>
                  <a:pt x="9" y="104"/>
                  <a:pt x="9" y="104"/>
                  <a:pt x="9" y="104"/>
                </a:cubicBezTo>
                <a:cubicBezTo>
                  <a:pt x="9" y="105"/>
                  <a:pt x="9" y="105"/>
                  <a:pt x="9" y="105"/>
                </a:cubicBezTo>
                <a:cubicBezTo>
                  <a:pt x="7" y="104"/>
                  <a:pt x="7" y="104"/>
                  <a:pt x="7" y="104"/>
                </a:cubicBezTo>
                <a:cubicBezTo>
                  <a:pt x="6" y="105"/>
                  <a:pt x="6" y="105"/>
                  <a:pt x="6" y="105"/>
                </a:cubicBezTo>
                <a:cubicBezTo>
                  <a:pt x="7" y="106"/>
                  <a:pt x="7" y="106"/>
                  <a:pt x="7" y="106"/>
                </a:cubicBezTo>
                <a:cubicBezTo>
                  <a:pt x="6" y="106"/>
                  <a:pt x="6" y="106"/>
                  <a:pt x="6" y="106"/>
                </a:cubicBezTo>
                <a:cubicBezTo>
                  <a:pt x="6" y="106"/>
                  <a:pt x="6" y="106"/>
                  <a:pt x="6" y="106"/>
                </a:cubicBezTo>
                <a:cubicBezTo>
                  <a:pt x="5" y="105"/>
                  <a:pt x="5" y="105"/>
                  <a:pt x="5" y="105"/>
                </a:cubicBezTo>
                <a:cubicBezTo>
                  <a:pt x="4" y="105"/>
                  <a:pt x="4" y="105"/>
                  <a:pt x="4" y="105"/>
                </a:cubicBezTo>
                <a:cubicBezTo>
                  <a:pt x="4" y="106"/>
                  <a:pt x="4" y="106"/>
                  <a:pt x="4" y="106"/>
                </a:cubicBezTo>
                <a:cubicBezTo>
                  <a:pt x="4" y="107"/>
                  <a:pt x="4" y="107"/>
                  <a:pt x="4" y="107"/>
                </a:cubicBezTo>
                <a:cubicBezTo>
                  <a:pt x="3" y="106"/>
                  <a:pt x="3" y="106"/>
                  <a:pt x="3" y="106"/>
                </a:cubicBezTo>
                <a:cubicBezTo>
                  <a:pt x="2" y="105"/>
                  <a:pt x="2" y="105"/>
                  <a:pt x="2" y="105"/>
                </a:cubicBezTo>
                <a:cubicBezTo>
                  <a:pt x="2" y="105"/>
                  <a:pt x="2" y="105"/>
                  <a:pt x="2" y="105"/>
                </a:cubicBezTo>
                <a:cubicBezTo>
                  <a:pt x="2" y="106"/>
                  <a:pt x="2" y="106"/>
                  <a:pt x="2" y="106"/>
                </a:cubicBezTo>
                <a:cubicBezTo>
                  <a:pt x="3" y="107"/>
                  <a:pt x="3" y="107"/>
                  <a:pt x="3" y="107"/>
                </a:cubicBezTo>
                <a:cubicBezTo>
                  <a:pt x="2" y="107"/>
                  <a:pt x="2" y="107"/>
                  <a:pt x="2" y="107"/>
                </a:cubicBezTo>
                <a:cubicBezTo>
                  <a:pt x="3" y="108"/>
                  <a:pt x="3" y="108"/>
                  <a:pt x="3" y="108"/>
                </a:cubicBezTo>
                <a:cubicBezTo>
                  <a:pt x="4" y="107"/>
                  <a:pt x="4" y="107"/>
                  <a:pt x="4" y="107"/>
                </a:cubicBezTo>
                <a:cubicBezTo>
                  <a:pt x="6" y="108"/>
                  <a:pt x="6" y="108"/>
                  <a:pt x="6" y="108"/>
                </a:cubicBezTo>
                <a:cubicBezTo>
                  <a:pt x="7" y="109"/>
                  <a:pt x="7" y="109"/>
                  <a:pt x="7" y="109"/>
                </a:cubicBezTo>
                <a:cubicBezTo>
                  <a:pt x="9" y="109"/>
                  <a:pt x="9" y="109"/>
                  <a:pt x="9" y="109"/>
                </a:cubicBezTo>
                <a:cubicBezTo>
                  <a:pt x="10" y="108"/>
                  <a:pt x="10" y="108"/>
                  <a:pt x="10" y="108"/>
                </a:cubicBezTo>
                <a:cubicBezTo>
                  <a:pt x="11" y="108"/>
                  <a:pt x="11" y="108"/>
                  <a:pt x="11" y="108"/>
                </a:cubicBezTo>
                <a:cubicBezTo>
                  <a:pt x="9" y="109"/>
                  <a:pt x="9" y="109"/>
                  <a:pt x="9" y="109"/>
                </a:cubicBezTo>
                <a:cubicBezTo>
                  <a:pt x="8" y="109"/>
                  <a:pt x="8" y="109"/>
                  <a:pt x="8" y="109"/>
                </a:cubicBezTo>
                <a:cubicBezTo>
                  <a:pt x="7" y="109"/>
                  <a:pt x="7" y="109"/>
                  <a:pt x="7" y="109"/>
                </a:cubicBezTo>
                <a:cubicBezTo>
                  <a:pt x="5" y="108"/>
                  <a:pt x="5" y="108"/>
                  <a:pt x="5" y="108"/>
                </a:cubicBezTo>
                <a:cubicBezTo>
                  <a:pt x="4" y="109"/>
                  <a:pt x="4" y="109"/>
                  <a:pt x="4" y="109"/>
                </a:cubicBezTo>
                <a:cubicBezTo>
                  <a:pt x="3" y="108"/>
                  <a:pt x="3" y="108"/>
                  <a:pt x="3" y="108"/>
                </a:cubicBezTo>
                <a:cubicBezTo>
                  <a:pt x="2" y="109"/>
                  <a:pt x="2" y="109"/>
                  <a:pt x="2" y="109"/>
                </a:cubicBezTo>
                <a:cubicBezTo>
                  <a:pt x="1" y="109"/>
                  <a:pt x="1" y="109"/>
                  <a:pt x="1" y="109"/>
                </a:cubicBezTo>
                <a:cubicBezTo>
                  <a:pt x="1" y="110"/>
                  <a:pt x="1" y="110"/>
                  <a:pt x="1" y="110"/>
                </a:cubicBezTo>
                <a:cubicBezTo>
                  <a:pt x="3" y="111"/>
                  <a:pt x="3" y="111"/>
                  <a:pt x="3" y="111"/>
                </a:cubicBezTo>
                <a:cubicBezTo>
                  <a:pt x="2" y="112"/>
                  <a:pt x="2" y="112"/>
                  <a:pt x="2" y="112"/>
                </a:cubicBezTo>
                <a:cubicBezTo>
                  <a:pt x="3" y="112"/>
                  <a:pt x="3" y="112"/>
                  <a:pt x="3" y="112"/>
                </a:cubicBezTo>
                <a:cubicBezTo>
                  <a:pt x="4" y="112"/>
                  <a:pt x="4" y="112"/>
                  <a:pt x="4" y="112"/>
                </a:cubicBezTo>
                <a:cubicBezTo>
                  <a:pt x="6" y="112"/>
                  <a:pt x="6" y="112"/>
                  <a:pt x="6" y="112"/>
                </a:cubicBezTo>
                <a:cubicBezTo>
                  <a:pt x="4" y="112"/>
                  <a:pt x="4" y="112"/>
                  <a:pt x="4" y="112"/>
                </a:cubicBezTo>
                <a:cubicBezTo>
                  <a:pt x="3" y="112"/>
                  <a:pt x="3" y="112"/>
                  <a:pt x="3" y="112"/>
                </a:cubicBezTo>
                <a:cubicBezTo>
                  <a:pt x="2" y="113"/>
                  <a:pt x="2" y="113"/>
                  <a:pt x="2" y="113"/>
                </a:cubicBezTo>
                <a:cubicBezTo>
                  <a:pt x="2" y="112"/>
                  <a:pt x="2" y="112"/>
                  <a:pt x="2" y="112"/>
                </a:cubicBezTo>
                <a:cubicBezTo>
                  <a:pt x="2" y="113"/>
                  <a:pt x="2" y="113"/>
                  <a:pt x="2" y="113"/>
                </a:cubicBezTo>
                <a:cubicBezTo>
                  <a:pt x="3" y="113"/>
                  <a:pt x="3" y="113"/>
                  <a:pt x="3" y="113"/>
                </a:cubicBezTo>
                <a:cubicBezTo>
                  <a:pt x="3" y="113"/>
                  <a:pt x="3" y="113"/>
                  <a:pt x="3" y="113"/>
                </a:cubicBezTo>
                <a:cubicBezTo>
                  <a:pt x="2" y="114"/>
                  <a:pt x="2" y="114"/>
                  <a:pt x="2" y="114"/>
                </a:cubicBezTo>
                <a:cubicBezTo>
                  <a:pt x="2" y="114"/>
                  <a:pt x="2" y="114"/>
                  <a:pt x="2" y="114"/>
                </a:cubicBezTo>
                <a:cubicBezTo>
                  <a:pt x="2" y="115"/>
                  <a:pt x="2" y="115"/>
                  <a:pt x="2" y="115"/>
                </a:cubicBezTo>
                <a:cubicBezTo>
                  <a:pt x="2" y="115"/>
                  <a:pt x="2" y="115"/>
                  <a:pt x="2" y="115"/>
                </a:cubicBezTo>
                <a:cubicBezTo>
                  <a:pt x="3" y="116"/>
                  <a:pt x="3" y="116"/>
                  <a:pt x="3" y="116"/>
                </a:cubicBezTo>
                <a:cubicBezTo>
                  <a:pt x="4" y="116"/>
                  <a:pt x="4" y="116"/>
                  <a:pt x="4" y="116"/>
                </a:cubicBezTo>
                <a:cubicBezTo>
                  <a:pt x="5" y="115"/>
                  <a:pt x="5" y="115"/>
                  <a:pt x="5" y="115"/>
                </a:cubicBezTo>
                <a:cubicBezTo>
                  <a:pt x="7" y="115"/>
                  <a:pt x="7" y="115"/>
                  <a:pt x="7" y="115"/>
                </a:cubicBezTo>
                <a:cubicBezTo>
                  <a:pt x="8" y="115"/>
                  <a:pt x="8" y="115"/>
                  <a:pt x="8" y="115"/>
                </a:cubicBezTo>
                <a:cubicBezTo>
                  <a:pt x="9" y="115"/>
                  <a:pt x="9" y="115"/>
                  <a:pt x="9" y="115"/>
                </a:cubicBezTo>
                <a:cubicBezTo>
                  <a:pt x="9" y="115"/>
                  <a:pt x="9" y="115"/>
                  <a:pt x="9" y="115"/>
                </a:cubicBezTo>
                <a:cubicBezTo>
                  <a:pt x="9" y="114"/>
                  <a:pt x="9" y="114"/>
                  <a:pt x="9" y="114"/>
                </a:cubicBezTo>
                <a:cubicBezTo>
                  <a:pt x="10" y="114"/>
                  <a:pt x="10" y="114"/>
                  <a:pt x="10" y="114"/>
                </a:cubicBezTo>
                <a:cubicBezTo>
                  <a:pt x="11" y="115"/>
                  <a:pt x="11" y="115"/>
                  <a:pt x="11" y="115"/>
                </a:cubicBezTo>
                <a:cubicBezTo>
                  <a:pt x="12" y="115"/>
                  <a:pt x="12" y="115"/>
                  <a:pt x="12" y="115"/>
                </a:cubicBezTo>
                <a:cubicBezTo>
                  <a:pt x="13" y="114"/>
                  <a:pt x="13" y="114"/>
                  <a:pt x="13" y="114"/>
                </a:cubicBezTo>
                <a:cubicBezTo>
                  <a:pt x="13" y="114"/>
                  <a:pt x="13" y="114"/>
                  <a:pt x="13" y="114"/>
                </a:cubicBezTo>
                <a:cubicBezTo>
                  <a:pt x="13" y="114"/>
                  <a:pt x="13" y="114"/>
                  <a:pt x="13" y="114"/>
                </a:cubicBezTo>
                <a:cubicBezTo>
                  <a:pt x="13" y="115"/>
                  <a:pt x="13" y="115"/>
                  <a:pt x="13" y="115"/>
                </a:cubicBezTo>
                <a:cubicBezTo>
                  <a:pt x="14" y="115"/>
                  <a:pt x="14" y="115"/>
                  <a:pt x="14" y="115"/>
                </a:cubicBezTo>
                <a:cubicBezTo>
                  <a:pt x="14" y="114"/>
                  <a:pt x="14" y="114"/>
                  <a:pt x="14" y="114"/>
                </a:cubicBezTo>
                <a:cubicBezTo>
                  <a:pt x="14" y="114"/>
                  <a:pt x="14" y="114"/>
                  <a:pt x="14" y="114"/>
                </a:cubicBezTo>
                <a:cubicBezTo>
                  <a:pt x="15" y="112"/>
                  <a:pt x="15" y="112"/>
                  <a:pt x="15" y="112"/>
                </a:cubicBezTo>
                <a:cubicBezTo>
                  <a:pt x="15" y="113"/>
                  <a:pt x="15" y="113"/>
                  <a:pt x="15" y="113"/>
                </a:cubicBezTo>
                <a:cubicBezTo>
                  <a:pt x="16" y="115"/>
                  <a:pt x="16" y="115"/>
                  <a:pt x="16" y="115"/>
                </a:cubicBezTo>
                <a:cubicBezTo>
                  <a:pt x="15" y="116"/>
                  <a:pt x="15" y="116"/>
                  <a:pt x="15" y="116"/>
                </a:cubicBezTo>
                <a:cubicBezTo>
                  <a:pt x="13" y="116"/>
                  <a:pt x="13" y="116"/>
                  <a:pt x="13" y="116"/>
                </a:cubicBezTo>
                <a:cubicBezTo>
                  <a:pt x="13" y="117"/>
                  <a:pt x="13" y="117"/>
                  <a:pt x="13" y="117"/>
                </a:cubicBezTo>
                <a:cubicBezTo>
                  <a:pt x="13" y="117"/>
                  <a:pt x="13" y="117"/>
                  <a:pt x="13" y="117"/>
                </a:cubicBezTo>
                <a:cubicBezTo>
                  <a:pt x="12" y="118"/>
                  <a:pt x="12" y="118"/>
                  <a:pt x="12" y="118"/>
                </a:cubicBezTo>
                <a:cubicBezTo>
                  <a:pt x="11" y="118"/>
                  <a:pt x="11" y="118"/>
                  <a:pt x="11" y="118"/>
                </a:cubicBezTo>
                <a:cubicBezTo>
                  <a:pt x="11" y="117"/>
                  <a:pt x="11" y="117"/>
                  <a:pt x="11" y="117"/>
                </a:cubicBezTo>
                <a:cubicBezTo>
                  <a:pt x="12" y="117"/>
                  <a:pt x="12" y="117"/>
                  <a:pt x="12" y="117"/>
                </a:cubicBezTo>
                <a:cubicBezTo>
                  <a:pt x="12" y="116"/>
                  <a:pt x="12" y="116"/>
                  <a:pt x="12" y="116"/>
                </a:cubicBezTo>
                <a:cubicBezTo>
                  <a:pt x="10" y="116"/>
                  <a:pt x="10" y="116"/>
                  <a:pt x="10" y="116"/>
                </a:cubicBezTo>
                <a:cubicBezTo>
                  <a:pt x="9" y="117"/>
                  <a:pt x="9" y="117"/>
                  <a:pt x="9" y="117"/>
                </a:cubicBezTo>
                <a:cubicBezTo>
                  <a:pt x="9" y="117"/>
                  <a:pt x="9" y="117"/>
                  <a:pt x="9" y="117"/>
                </a:cubicBezTo>
                <a:cubicBezTo>
                  <a:pt x="8" y="116"/>
                  <a:pt x="8" y="116"/>
                  <a:pt x="8" y="116"/>
                </a:cubicBezTo>
                <a:cubicBezTo>
                  <a:pt x="7" y="116"/>
                  <a:pt x="7" y="116"/>
                  <a:pt x="7" y="116"/>
                </a:cubicBezTo>
                <a:cubicBezTo>
                  <a:pt x="6" y="116"/>
                  <a:pt x="6" y="116"/>
                  <a:pt x="6" y="116"/>
                </a:cubicBezTo>
                <a:cubicBezTo>
                  <a:pt x="5" y="116"/>
                  <a:pt x="5" y="116"/>
                  <a:pt x="5" y="116"/>
                </a:cubicBezTo>
                <a:cubicBezTo>
                  <a:pt x="3" y="117"/>
                  <a:pt x="3" y="117"/>
                  <a:pt x="3" y="117"/>
                </a:cubicBezTo>
                <a:cubicBezTo>
                  <a:pt x="3" y="117"/>
                  <a:pt x="3" y="117"/>
                  <a:pt x="3" y="117"/>
                </a:cubicBezTo>
                <a:cubicBezTo>
                  <a:pt x="2" y="116"/>
                  <a:pt x="2" y="116"/>
                  <a:pt x="2" y="116"/>
                </a:cubicBezTo>
                <a:cubicBezTo>
                  <a:pt x="1" y="116"/>
                  <a:pt x="1" y="116"/>
                  <a:pt x="1" y="116"/>
                </a:cubicBezTo>
                <a:cubicBezTo>
                  <a:pt x="2" y="118"/>
                  <a:pt x="2" y="118"/>
                  <a:pt x="2" y="118"/>
                </a:cubicBezTo>
                <a:cubicBezTo>
                  <a:pt x="1" y="118"/>
                  <a:pt x="1" y="118"/>
                  <a:pt x="1" y="118"/>
                </a:cubicBezTo>
                <a:cubicBezTo>
                  <a:pt x="2" y="119"/>
                  <a:pt x="2" y="119"/>
                  <a:pt x="2" y="119"/>
                </a:cubicBezTo>
                <a:cubicBezTo>
                  <a:pt x="3" y="118"/>
                  <a:pt x="3" y="118"/>
                  <a:pt x="3" y="118"/>
                </a:cubicBezTo>
                <a:cubicBezTo>
                  <a:pt x="3" y="118"/>
                  <a:pt x="3" y="118"/>
                  <a:pt x="3" y="118"/>
                </a:cubicBezTo>
                <a:cubicBezTo>
                  <a:pt x="4" y="118"/>
                  <a:pt x="4" y="118"/>
                  <a:pt x="4" y="118"/>
                </a:cubicBezTo>
                <a:cubicBezTo>
                  <a:pt x="3" y="119"/>
                  <a:pt x="3" y="119"/>
                  <a:pt x="3" y="119"/>
                </a:cubicBezTo>
                <a:cubicBezTo>
                  <a:pt x="3" y="120"/>
                  <a:pt x="3" y="120"/>
                  <a:pt x="3" y="120"/>
                </a:cubicBezTo>
                <a:cubicBezTo>
                  <a:pt x="3" y="120"/>
                  <a:pt x="3" y="120"/>
                  <a:pt x="3" y="120"/>
                </a:cubicBezTo>
                <a:cubicBezTo>
                  <a:pt x="2" y="120"/>
                  <a:pt x="2" y="120"/>
                  <a:pt x="2" y="120"/>
                </a:cubicBezTo>
                <a:cubicBezTo>
                  <a:pt x="2" y="121"/>
                  <a:pt x="2" y="121"/>
                  <a:pt x="2" y="121"/>
                </a:cubicBezTo>
                <a:cubicBezTo>
                  <a:pt x="3" y="122"/>
                  <a:pt x="3" y="122"/>
                  <a:pt x="3" y="122"/>
                </a:cubicBezTo>
                <a:cubicBezTo>
                  <a:pt x="5" y="120"/>
                  <a:pt x="5" y="120"/>
                  <a:pt x="5" y="120"/>
                </a:cubicBezTo>
                <a:cubicBezTo>
                  <a:pt x="6" y="120"/>
                  <a:pt x="6" y="120"/>
                  <a:pt x="6" y="120"/>
                </a:cubicBezTo>
                <a:cubicBezTo>
                  <a:pt x="6" y="121"/>
                  <a:pt x="6" y="121"/>
                  <a:pt x="6" y="121"/>
                </a:cubicBezTo>
                <a:cubicBezTo>
                  <a:pt x="6" y="122"/>
                  <a:pt x="6" y="122"/>
                  <a:pt x="6" y="122"/>
                </a:cubicBezTo>
                <a:cubicBezTo>
                  <a:pt x="4" y="123"/>
                  <a:pt x="4" y="123"/>
                  <a:pt x="4" y="123"/>
                </a:cubicBezTo>
                <a:cubicBezTo>
                  <a:pt x="5" y="123"/>
                  <a:pt x="5" y="123"/>
                  <a:pt x="5" y="123"/>
                </a:cubicBezTo>
                <a:cubicBezTo>
                  <a:pt x="5" y="123"/>
                  <a:pt x="5" y="123"/>
                  <a:pt x="5" y="123"/>
                </a:cubicBezTo>
                <a:cubicBezTo>
                  <a:pt x="5" y="124"/>
                  <a:pt x="5" y="124"/>
                  <a:pt x="5" y="124"/>
                </a:cubicBezTo>
                <a:cubicBezTo>
                  <a:pt x="6" y="125"/>
                  <a:pt x="6" y="125"/>
                  <a:pt x="6" y="125"/>
                </a:cubicBezTo>
                <a:cubicBezTo>
                  <a:pt x="5" y="126"/>
                  <a:pt x="5" y="126"/>
                  <a:pt x="5" y="126"/>
                </a:cubicBezTo>
                <a:cubicBezTo>
                  <a:pt x="6" y="126"/>
                  <a:pt x="6" y="126"/>
                  <a:pt x="6" y="126"/>
                </a:cubicBezTo>
                <a:cubicBezTo>
                  <a:pt x="7" y="125"/>
                  <a:pt x="7" y="125"/>
                  <a:pt x="7" y="125"/>
                </a:cubicBezTo>
                <a:cubicBezTo>
                  <a:pt x="7" y="124"/>
                  <a:pt x="7" y="124"/>
                  <a:pt x="7" y="124"/>
                </a:cubicBezTo>
                <a:cubicBezTo>
                  <a:pt x="8" y="123"/>
                  <a:pt x="8" y="123"/>
                  <a:pt x="8" y="123"/>
                </a:cubicBezTo>
                <a:cubicBezTo>
                  <a:pt x="10" y="122"/>
                  <a:pt x="10" y="122"/>
                  <a:pt x="10" y="122"/>
                </a:cubicBezTo>
                <a:cubicBezTo>
                  <a:pt x="11" y="122"/>
                  <a:pt x="11" y="122"/>
                  <a:pt x="11" y="122"/>
                </a:cubicBezTo>
                <a:cubicBezTo>
                  <a:pt x="12" y="122"/>
                  <a:pt x="12" y="122"/>
                  <a:pt x="12" y="122"/>
                </a:cubicBezTo>
                <a:cubicBezTo>
                  <a:pt x="11" y="122"/>
                  <a:pt x="11" y="122"/>
                  <a:pt x="11" y="122"/>
                </a:cubicBezTo>
                <a:cubicBezTo>
                  <a:pt x="10" y="123"/>
                  <a:pt x="10" y="123"/>
                  <a:pt x="10" y="123"/>
                </a:cubicBezTo>
                <a:cubicBezTo>
                  <a:pt x="10" y="125"/>
                  <a:pt x="10" y="125"/>
                  <a:pt x="10" y="125"/>
                </a:cubicBezTo>
                <a:cubicBezTo>
                  <a:pt x="10" y="125"/>
                  <a:pt x="10" y="125"/>
                  <a:pt x="10" y="125"/>
                </a:cubicBezTo>
                <a:cubicBezTo>
                  <a:pt x="10" y="125"/>
                  <a:pt x="10" y="125"/>
                  <a:pt x="10" y="125"/>
                </a:cubicBezTo>
                <a:cubicBezTo>
                  <a:pt x="9" y="123"/>
                  <a:pt x="9" y="123"/>
                  <a:pt x="9" y="123"/>
                </a:cubicBezTo>
                <a:cubicBezTo>
                  <a:pt x="9" y="123"/>
                  <a:pt x="9" y="123"/>
                  <a:pt x="9" y="123"/>
                </a:cubicBezTo>
                <a:cubicBezTo>
                  <a:pt x="8" y="125"/>
                  <a:pt x="8" y="125"/>
                  <a:pt x="8" y="125"/>
                </a:cubicBezTo>
                <a:cubicBezTo>
                  <a:pt x="7" y="125"/>
                  <a:pt x="7" y="125"/>
                  <a:pt x="7" y="125"/>
                </a:cubicBezTo>
                <a:cubicBezTo>
                  <a:pt x="8" y="125"/>
                  <a:pt x="8" y="125"/>
                  <a:pt x="8" y="125"/>
                </a:cubicBezTo>
                <a:cubicBezTo>
                  <a:pt x="7" y="127"/>
                  <a:pt x="7" y="127"/>
                  <a:pt x="7" y="127"/>
                </a:cubicBezTo>
                <a:cubicBezTo>
                  <a:pt x="7" y="127"/>
                  <a:pt x="7" y="127"/>
                  <a:pt x="7" y="127"/>
                </a:cubicBezTo>
                <a:cubicBezTo>
                  <a:pt x="6" y="128"/>
                  <a:pt x="6" y="128"/>
                  <a:pt x="6" y="128"/>
                </a:cubicBezTo>
                <a:cubicBezTo>
                  <a:pt x="7" y="128"/>
                  <a:pt x="7" y="128"/>
                  <a:pt x="7" y="128"/>
                </a:cubicBezTo>
                <a:cubicBezTo>
                  <a:pt x="9" y="128"/>
                  <a:pt x="9" y="128"/>
                  <a:pt x="9" y="128"/>
                </a:cubicBezTo>
                <a:cubicBezTo>
                  <a:pt x="9" y="129"/>
                  <a:pt x="9" y="129"/>
                  <a:pt x="9" y="129"/>
                </a:cubicBezTo>
                <a:cubicBezTo>
                  <a:pt x="8" y="129"/>
                  <a:pt x="8" y="129"/>
                  <a:pt x="8" y="129"/>
                </a:cubicBezTo>
                <a:cubicBezTo>
                  <a:pt x="7" y="129"/>
                  <a:pt x="7" y="129"/>
                  <a:pt x="7" y="129"/>
                </a:cubicBezTo>
                <a:cubicBezTo>
                  <a:pt x="7" y="130"/>
                  <a:pt x="7" y="130"/>
                  <a:pt x="7" y="130"/>
                </a:cubicBezTo>
                <a:cubicBezTo>
                  <a:pt x="6" y="129"/>
                  <a:pt x="6" y="129"/>
                  <a:pt x="6" y="129"/>
                </a:cubicBezTo>
                <a:cubicBezTo>
                  <a:pt x="5" y="130"/>
                  <a:pt x="5" y="130"/>
                  <a:pt x="5" y="130"/>
                </a:cubicBezTo>
                <a:cubicBezTo>
                  <a:pt x="5" y="131"/>
                  <a:pt x="5" y="131"/>
                  <a:pt x="5" y="131"/>
                </a:cubicBezTo>
                <a:cubicBezTo>
                  <a:pt x="5" y="130"/>
                  <a:pt x="5" y="130"/>
                  <a:pt x="5" y="130"/>
                </a:cubicBezTo>
                <a:cubicBezTo>
                  <a:pt x="4" y="130"/>
                  <a:pt x="4" y="130"/>
                  <a:pt x="4" y="130"/>
                </a:cubicBezTo>
                <a:cubicBezTo>
                  <a:pt x="3" y="132"/>
                  <a:pt x="3" y="132"/>
                  <a:pt x="3" y="132"/>
                </a:cubicBezTo>
                <a:cubicBezTo>
                  <a:pt x="3" y="133"/>
                  <a:pt x="3" y="133"/>
                  <a:pt x="3" y="133"/>
                </a:cubicBezTo>
                <a:cubicBezTo>
                  <a:pt x="5" y="134"/>
                  <a:pt x="5" y="134"/>
                  <a:pt x="5" y="134"/>
                </a:cubicBezTo>
                <a:cubicBezTo>
                  <a:pt x="5" y="133"/>
                  <a:pt x="5" y="133"/>
                  <a:pt x="5" y="133"/>
                </a:cubicBezTo>
                <a:cubicBezTo>
                  <a:pt x="6" y="134"/>
                  <a:pt x="6" y="134"/>
                  <a:pt x="6" y="134"/>
                </a:cubicBezTo>
                <a:cubicBezTo>
                  <a:pt x="7" y="133"/>
                  <a:pt x="7" y="133"/>
                  <a:pt x="7" y="133"/>
                </a:cubicBezTo>
                <a:cubicBezTo>
                  <a:pt x="6" y="133"/>
                  <a:pt x="6" y="133"/>
                  <a:pt x="6" y="133"/>
                </a:cubicBezTo>
                <a:cubicBezTo>
                  <a:pt x="7" y="132"/>
                  <a:pt x="7" y="132"/>
                  <a:pt x="7" y="132"/>
                </a:cubicBezTo>
                <a:cubicBezTo>
                  <a:pt x="8" y="133"/>
                  <a:pt x="8" y="133"/>
                  <a:pt x="8" y="133"/>
                </a:cubicBezTo>
                <a:cubicBezTo>
                  <a:pt x="8" y="133"/>
                  <a:pt x="8" y="133"/>
                  <a:pt x="8" y="133"/>
                </a:cubicBezTo>
                <a:cubicBezTo>
                  <a:pt x="8" y="134"/>
                  <a:pt x="8" y="134"/>
                  <a:pt x="8" y="134"/>
                </a:cubicBezTo>
                <a:cubicBezTo>
                  <a:pt x="8" y="135"/>
                  <a:pt x="8" y="135"/>
                  <a:pt x="8" y="135"/>
                </a:cubicBezTo>
                <a:cubicBezTo>
                  <a:pt x="7" y="135"/>
                  <a:pt x="7" y="135"/>
                  <a:pt x="7" y="135"/>
                </a:cubicBezTo>
                <a:cubicBezTo>
                  <a:pt x="8" y="137"/>
                  <a:pt x="8" y="137"/>
                  <a:pt x="8" y="137"/>
                </a:cubicBezTo>
                <a:cubicBezTo>
                  <a:pt x="9" y="137"/>
                  <a:pt x="9" y="137"/>
                  <a:pt x="9" y="137"/>
                </a:cubicBezTo>
                <a:cubicBezTo>
                  <a:pt x="10" y="136"/>
                  <a:pt x="10" y="136"/>
                  <a:pt x="10" y="136"/>
                </a:cubicBezTo>
                <a:cubicBezTo>
                  <a:pt x="11" y="137"/>
                  <a:pt x="11" y="137"/>
                  <a:pt x="11" y="137"/>
                </a:cubicBezTo>
                <a:cubicBezTo>
                  <a:pt x="9" y="137"/>
                  <a:pt x="9" y="137"/>
                  <a:pt x="9" y="137"/>
                </a:cubicBezTo>
                <a:cubicBezTo>
                  <a:pt x="9" y="138"/>
                  <a:pt x="9" y="138"/>
                  <a:pt x="9" y="138"/>
                </a:cubicBezTo>
                <a:cubicBezTo>
                  <a:pt x="9" y="139"/>
                  <a:pt x="9" y="139"/>
                  <a:pt x="9" y="139"/>
                </a:cubicBezTo>
                <a:cubicBezTo>
                  <a:pt x="9" y="139"/>
                  <a:pt x="9" y="139"/>
                  <a:pt x="9" y="139"/>
                </a:cubicBezTo>
                <a:cubicBezTo>
                  <a:pt x="7" y="137"/>
                  <a:pt x="7" y="137"/>
                  <a:pt x="7" y="137"/>
                </a:cubicBezTo>
                <a:cubicBezTo>
                  <a:pt x="6" y="138"/>
                  <a:pt x="6" y="138"/>
                  <a:pt x="6" y="138"/>
                </a:cubicBezTo>
                <a:cubicBezTo>
                  <a:pt x="6" y="137"/>
                  <a:pt x="6" y="137"/>
                  <a:pt x="6" y="137"/>
                </a:cubicBezTo>
                <a:cubicBezTo>
                  <a:pt x="5" y="137"/>
                  <a:pt x="5" y="137"/>
                  <a:pt x="5" y="137"/>
                </a:cubicBezTo>
                <a:cubicBezTo>
                  <a:pt x="5" y="138"/>
                  <a:pt x="5" y="138"/>
                  <a:pt x="5" y="138"/>
                </a:cubicBezTo>
                <a:cubicBezTo>
                  <a:pt x="4" y="139"/>
                  <a:pt x="4" y="139"/>
                  <a:pt x="4" y="139"/>
                </a:cubicBezTo>
                <a:cubicBezTo>
                  <a:pt x="6" y="141"/>
                  <a:pt x="6" y="141"/>
                  <a:pt x="6" y="141"/>
                </a:cubicBezTo>
                <a:cubicBezTo>
                  <a:pt x="7" y="142"/>
                  <a:pt x="7" y="142"/>
                  <a:pt x="7" y="142"/>
                </a:cubicBezTo>
                <a:cubicBezTo>
                  <a:pt x="9" y="143"/>
                  <a:pt x="9" y="143"/>
                  <a:pt x="9" y="143"/>
                </a:cubicBezTo>
                <a:cubicBezTo>
                  <a:pt x="11" y="144"/>
                  <a:pt x="11" y="144"/>
                  <a:pt x="11" y="144"/>
                </a:cubicBezTo>
                <a:cubicBezTo>
                  <a:pt x="11" y="145"/>
                  <a:pt x="11" y="145"/>
                  <a:pt x="11" y="145"/>
                </a:cubicBezTo>
                <a:cubicBezTo>
                  <a:pt x="11" y="145"/>
                  <a:pt x="11" y="145"/>
                  <a:pt x="11" y="145"/>
                </a:cubicBezTo>
                <a:cubicBezTo>
                  <a:pt x="12" y="146"/>
                  <a:pt x="12" y="146"/>
                  <a:pt x="12" y="146"/>
                </a:cubicBezTo>
                <a:cubicBezTo>
                  <a:pt x="12" y="146"/>
                  <a:pt x="12" y="146"/>
                  <a:pt x="12" y="146"/>
                </a:cubicBezTo>
                <a:cubicBezTo>
                  <a:pt x="12" y="144"/>
                  <a:pt x="12" y="144"/>
                  <a:pt x="12" y="144"/>
                </a:cubicBezTo>
                <a:cubicBezTo>
                  <a:pt x="13" y="144"/>
                  <a:pt x="13" y="144"/>
                  <a:pt x="13" y="144"/>
                </a:cubicBezTo>
                <a:cubicBezTo>
                  <a:pt x="14" y="145"/>
                  <a:pt x="14" y="145"/>
                  <a:pt x="14" y="145"/>
                </a:cubicBezTo>
                <a:cubicBezTo>
                  <a:pt x="13" y="145"/>
                  <a:pt x="13" y="145"/>
                  <a:pt x="13" y="145"/>
                </a:cubicBezTo>
                <a:cubicBezTo>
                  <a:pt x="15" y="147"/>
                  <a:pt x="15" y="147"/>
                  <a:pt x="15" y="147"/>
                </a:cubicBezTo>
                <a:cubicBezTo>
                  <a:pt x="15" y="146"/>
                  <a:pt x="15" y="146"/>
                  <a:pt x="15" y="146"/>
                </a:cubicBezTo>
                <a:cubicBezTo>
                  <a:pt x="16" y="146"/>
                  <a:pt x="16" y="146"/>
                  <a:pt x="16" y="146"/>
                </a:cubicBezTo>
                <a:cubicBezTo>
                  <a:pt x="17" y="146"/>
                  <a:pt x="17" y="146"/>
                  <a:pt x="17" y="146"/>
                </a:cubicBezTo>
                <a:cubicBezTo>
                  <a:pt x="18" y="145"/>
                  <a:pt x="18" y="145"/>
                  <a:pt x="18" y="145"/>
                </a:cubicBezTo>
                <a:cubicBezTo>
                  <a:pt x="19" y="145"/>
                  <a:pt x="19" y="145"/>
                  <a:pt x="19" y="145"/>
                </a:cubicBezTo>
                <a:cubicBezTo>
                  <a:pt x="19" y="144"/>
                  <a:pt x="19" y="144"/>
                  <a:pt x="19" y="144"/>
                </a:cubicBezTo>
                <a:cubicBezTo>
                  <a:pt x="19" y="144"/>
                  <a:pt x="19" y="144"/>
                  <a:pt x="19" y="144"/>
                </a:cubicBezTo>
                <a:cubicBezTo>
                  <a:pt x="20" y="145"/>
                  <a:pt x="20" y="145"/>
                  <a:pt x="20" y="145"/>
                </a:cubicBezTo>
                <a:cubicBezTo>
                  <a:pt x="21" y="145"/>
                  <a:pt x="21" y="145"/>
                  <a:pt x="21" y="145"/>
                </a:cubicBezTo>
                <a:cubicBezTo>
                  <a:pt x="23" y="143"/>
                  <a:pt x="23" y="143"/>
                  <a:pt x="23" y="143"/>
                </a:cubicBezTo>
                <a:cubicBezTo>
                  <a:pt x="23" y="142"/>
                  <a:pt x="23" y="142"/>
                  <a:pt x="23" y="142"/>
                </a:cubicBezTo>
                <a:cubicBezTo>
                  <a:pt x="22" y="141"/>
                  <a:pt x="22" y="141"/>
                  <a:pt x="22" y="141"/>
                </a:cubicBezTo>
                <a:cubicBezTo>
                  <a:pt x="23" y="142"/>
                  <a:pt x="23" y="142"/>
                  <a:pt x="23" y="142"/>
                </a:cubicBezTo>
                <a:cubicBezTo>
                  <a:pt x="25" y="141"/>
                  <a:pt x="25" y="141"/>
                  <a:pt x="25" y="141"/>
                </a:cubicBezTo>
                <a:cubicBezTo>
                  <a:pt x="24" y="140"/>
                  <a:pt x="24" y="140"/>
                  <a:pt x="24" y="140"/>
                </a:cubicBezTo>
                <a:cubicBezTo>
                  <a:pt x="25" y="140"/>
                  <a:pt x="25" y="140"/>
                  <a:pt x="25" y="140"/>
                </a:cubicBezTo>
                <a:cubicBezTo>
                  <a:pt x="25" y="139"/>
                  <a:pt x="25" y="139"/>
                  <a:pt x="25" y="139"/>
                </a:cubicBezTo>
                <a:cubicBezTo>
                  <a:pt x="26" y="138"/>
                  <a:pt x="26" y="138"/>
                  <a:pt x="26" y="138"/>
                </a:cubicBezTo>
                <a:cubicBezTo>
                  <a:pt x="27" y="138"/>
                  <a:pt x="27" y="138"/>
                  <a:pt x="27" y="138"/>
                </a:cubicBezTo>
                <a:cubicBezTo>
                  <a:pt x="27" y="137"/>
                  <a:pt x="27" y="137"/>
                  <a:pt x="27" y="137"/>
                </a:cubicBezTo>
                <a:cubicBezTo>
                  <a:pt x="26" y="136"/>
                  <a:pt x="26" y="136"/>
                  <a:pt x="26" y="136"/>
                </a:cubicBezTo>
                <a:cubicBezTo>
                  <a:pt x="27" y="135"/>
                  <a:pt x="27" y="135"/>
                  <a:pt x="27" y="135"/>
                </a:cubicBezTo>
                <a:cubicBezTo>
                  <a:pt x="26" y="134"/>
                  <a:pt x="26" y="134"/>
                  <a:pt x="26" y="134"/>
                </a:cubicBezTo>
                <a:cubicBezTo>
                  <a:pt x="25" y="133"/>
                  <a:pt x="25" y="133"/>
                  <a:pt x="25" y="133"/>
                </a:cubicBezTo>
                <a:cubicBezTo>
                  <a:pt x="25" y="132"/>
                  <a:pt x="25" y="132"/>
                  <a:pt x="25" y="132"/>
                </a:cubicBezTo>
                <a:cubicBezTo>
                  <a:pt x="25" y="133"/>
                  <a:pt x="25" y="133"/>
                  <a:pt x="25" y="133"/>
                </a:cubicBezTo>
                <a:cubicBezTo>
                  <a:pt x="26" y="134"/>
                  <a:pt x="26" y="134"/>
                  <a:pt x="26" y="134"/>
                </a:cubicBezTo>
                <a:cubicBezTo>
                  <a:pt x="27" y="136"/>
                  <a:pt x="27" y="136"/>
                  <a:pt x="27" y="136"/>
                </a:cubicBezTo>
                <a:cubicBezTo>
                  <a:pt x="27" y="136"/>
                  <a:pt x="27" y="136"/>
                  <a:pt x="27" y="136"/>
                </a:cubicBezTo>
                <a:cubicBezTo>
                  <a:pt x="28" y="136"/>
                  <a:pt x="28" y="136"/>
                  <a:pt x="28" y="136"/>
                </a:cubicBezTo>
                <a:cubicBezTo>
                  <a:pt x="28" y="137"/>
                  <a:pt x="28" y="137"/>
                  <a:pt x="28" y="137"/>
                </a:cubicBezTo>
                <a:cubicBezTo>
                  <a:pt x="28" y="138"/>
                  <a:pt x="28" y="138"/>
                  <a:pt x="28" y="138"/>
                </a:cubicBezTo>
                <a:cubicBezTo>
                  <a:pt x="30" y="137"/>
                  <a:pt x="30" y="137"/>
                  <a:pt x="30" y="137"/>
                </a:cubicBezTo>
                <a:cubicBezTo>
                  <a:pt x="29" y="136"/>
                  <a:pt x="29" y="136"/>
                  <a:pt x="29" y="136"/>
                </a:cubicBezTo>
                <a:cubicBezTo>
                  <a:pt x="29" y="136"/>
                  <a:pt x="29" y="136"/>
                  <a:pt x="29" y="136"/>
                </a:cubicBezTo>
                <a:cubicBezTo>
                  <a:pt x="29" y="135"/>
                  <a:pt x="29" y="135"/>
                  <a:pt x="29" y="135"/>
                </a:cubicBezTo>
                <a:cubicBezTo>
                  <a:pt x="30" y="136"/>
                  <a:pt x="30" y="136"/>
                  <a:pt x="30" y="136"/>
                </a:cubicBezTo>
                <a:cubicBezTo>
                  <a:pt x="30" y="137"/>
                  <a:pt x="30" y="137"/>
                  <a:pt x="30" y="137"/>
                </a:cubicBezTo>
                <a:cubicBezTo>
                  <a:pt x="32" y="135"/>
                  <a:pt x="32" y="135"/>
                  <a:pt x="32" y="135"/>
                </a:cubicBezTo>
                <a:cubicBezTo>
                  <a:pt x="32" y="134"/>
                  <a:pt x="32" y="134"/>
                  <a:pt x="32" y="134"/>
                </a:cubicBezTo>
                <a:cubicBezTo>
                  <a:pt x="32" y="132"/>
                  <a:pt x="32" y="132"/>
                  <a:pt x="32" y="132"/>
                </a:cubicBezTo>
                <a:cubicBezTo>
                  <a:pt x="31" y="132"/>
                  <a:pt x="31" y="132"/>
                  <a:pt x="31" y="132"/>
                </a:cubicBezTo>
                <a:cubicBezTo>
                  <a:pt x="31" y="131"/>
                  <a:pt x="31" y="131"/>
                  <a:pt x="31" y="131"/>
                </a:cubicBezTo>
                <a:cubicBezTo>
                  <a:pt x="31" y="131"/>
                  <a:pt x="31" y="131"/>
                  <a:pt x="31" y="131"/>
                </a:cubicBezTo>
                <a:cubicBezTo>
                  <a:pt x="31" y="131"/>
                  <a:pt x="31" y="131"/>
                  <a:pt x="31" y="131"/>
                </a:cubicBezTo>
                <a:cubicBezTo>
                  <a:pt x="32" y="130"/>
                  <a:pt x="32" y="130"/>
                  <a:pt x="32" y="130"/>
                </a:cubicBezTo>
                <a:cubicBezTo>
                  <a:pt x="32" y="130"/>
                  <a:pt x="32" y="130"/>
                  <a:pt x="32" y="130"/>
                </a:cubicBezTo>
                <a:cubicBezTo>
                  <a:pt x="32" y="129"/>
                  <a:pt x="32" y="129"/>
                  <a:pt x="32" y="129"/>
                </a:cubicBezTo>
                <a:cubicBezTo>
                  <a:pt x="32" y="128"/>
                  <a:pt x="32" y="128"/>
                  <a:pt x="32" y="128"/>
                </a:cubicBezTo>
                <a:cubicBezTo>
                  <a:pt x="33" y="127"/>
                  <a:pt x="33" y="127"/>
                  <a:pt x="33" y="127"/>
                </a:cubicBezTo>
                <a:cubicBezTo>
                  <a:pt x="34" y="128"/>
                  <a:pt x="34" y="128"/>
                  <a:pt x="34" y="128"/>
                </a:cubicBezTo>
                <a:cubicBezTo>
                  <a:pt x="33" y="129"/>
                  <a:pt x="33" y="129"/>
                  <a:pt x="33" y="129"/>
                </a:cubicBezTo>
                <a:cubicBezTo>
                  <a:pt x="33" y="131"/>
                  <a:pt x="33" y="131"/>
                  <a:pt x="33" y="131"/>
                </a:cubicBezTo>
                <a:cubicBezTo>
                  <a:pt x="33" y="132"/>
                  <a:pt x="33" y="132"/>
                  <a:pt x="33" y="132"/>
                </a:cubicBezTo>
                <a:cubicBezTo>
                  <a:pt x="34" y="133"/>
                  <a:pt x="34" y="133"/>
                  <a:pt x="34" y="133"/>
                </a:cubicBezTo>
                <a:cubicBezTo>
                  <a:pt x="34" y="134"/>
                  <a:pt x="34" y="134"/>
                  <a:pt x="34" y="134"/>
                </a:cubicBezTo>
                <a:cubicBezTo>
                  <a:pt x="35" y="135"/>
                  <a:pt x="35" y="135"/>
                  <a:pt x="35" y="135"/>
                </a:cubicBezTo>
                <a:cubicBezTo>
                  <a:pt x="37" y="135"/>
                  <a:pt x="37" y="135"/>
                  <a:pt x="37" y="135"/>
                </a:cubicBezTo>
                <a:cubicBezTo>
                  <a:pt x="37" y="135"/>
                  <a:pt x="37" y="135"/>
                  <a:pt x="37" y="135"/>
                </a:cubicBezTo>
                <a:cubicBezTo>
                  <a:pt x="37" y="136"/>
                  <a:pt x="37" y="136"/>
                  <a:pt x="37" y="136"/>
                </a:cubicBezTo>
                <a:cubicBezTo>
                  <a:pt x="38" y="137"/>
                  <a:pt x="38" y="137"/>
                  <a:pt x="38" y="137"/>
                </a:cubicBezTo>
                <a:cubicBezTo>
                  <a:pt x="38" y="138"/>
                  <a:pt x="38" y="138"/>
                  <a:pt x="38" y="138"/>
                </a:cubicBezTo>
                <a:cubicBezTo>
                  <a:pt x="39" y="137"/>
                  <a:pt x="39" y="137"/>
                  <a:pt x="39" y="137"/>
                </a:cubicBezTo>
                <a:cubicBezTo>
                  <a:pt x="39" y="133"/>
                  <a:pt x="39" y="133"/>
                  <a:pt x="39" y="133"/>
                </a:cubicBezTo>
                <a:cubicBezTo>
                  <a:pt x="38" y="131"/>
                  <a:pt x="38" y="131"/>
                  <a:pt x="38" y="131"/>
                </a:cubicBezTo>
                <a:cubicBezTo>
                  <a:pt x="38" y="130"/>
                  <a:pt x="38" y="130"/>
                  <a:pt x="38" y="130"/>
                </a:cubicBezTo>
                <a:cubicBezTo>
                  <a:pt x="39" y="129"/>
                  <a:pt x="39" y="129"/>
                  <a:pt x="39" y="129"/>
                </a:cubicBezTo>
                <a:cubicBezTo>
                  <a:pt x="39" y="128"/>
                  <a:pt x="39" y="128"/>
                  <a:pt x="39" y="128"/>
                </a:cubicBezTo>
                <a:cubicBezTo>
                  <a:pt x="39" y="127"/>
                  <a:pt x="39" y="127"/>
                  <a:pt x="39" y="127"/>
                </a:cubicBezTo>
                <a:cubicBezTo>
                  <a:pt x="41" y="127"/>
                  <a:pt x="41" y="127"/>
                  <a:pt x="41" y="127"/>
                </a:cubicBezTo>
                <a:cubicBezTo>
                  <a:pt x="41" y="126"/>
                  <a:pt x="41" y="126"/>
                  <a:pt x="41" y="126"/>
                </a:cubicBezTo>
                <a:cubicBezTo>
                  <a:pt x="41" y="125"/>
                  <a:pt x="41" y="125"/>
                  <a:pt x="41" y="125"/>
                </a:cubicBezTo>
                <a:cubicBezTo>
                  <a:pt x="42" y="123"/>
                  <a:pt x="42" y="123"/>
                  <a:pt x="42" y="123"/>
                </a:cubicBezTo>
                <a:cubicBezTo>
                  <a:pt x="41" y="122"/>
                  <a:pt x="41" y="122"/>
                  <a:pt x="41" y="122"/>
                </a:cubicBezTo>
                <a:cubicBezTo>
                  <a:pt x="41" y="119"/>
                  <a:pt x="41" y="119"/>
                  <a:pt x="41" y="119"/>
                </a:cubicBezTo>
                <a:cubicBezTo>
                  <a:pt x="40" y="117"/>
                  <a:pt x="40" y="117"/>
                  <a:pt x="40" y="117"/>
                </a:cubicBezTo>
                <a:cubicBezTo>
                  <a:pt x="40" y="116"/>
                  <a:pt x="40" y="116"/>
                  <a:pt x="40" y="116"/>
                </a:cubicBezTo>
                <a:cubicBezTo>
                  <a:pt x="43" y="115"/>
                  <a:pt x="43" y="115"/>
                  <a:pt x="43" y="115"/>
                </a:cubicBezTo>
                <a:cubicBezTo>
                  <a:pt x="43" y="113"/>
                  <a:pt x="43" y="113"/>
                  <a:pt x="43" y="113"/>
                </a:cubicBezTo>
                <a:cubicBezTo>
                  <a:pt x="43" y="111"/>
                  <a:pt x="43" y="111"/>
                  <a:pt x="43" y="111"/>
                </a:cubicBezTo>
                <a:cubicBezTo>
                  <a:pt x="41" y="109"/>
                  <a:pt x="41" y="109"/>
                  <a:pt x="41" y="109"/>
                </a:cubicBezTo>
                <a:cubicBezTo>
                  <a:pt x="39" y="108"/>
                  <a:pt x="39" y="108"/>
                  <a:pt x="39" y="108"/>
                </a:cubicBezTo>
                <a:cubicBezTo>
                  <a:pt x="39" y="106"/>
                  <a:pt x="39" y="106"/>
                  <a:pt x="39" y="106"/>
                </a:cubicBezTo>
                <a:cubicBezTo>
                  <a:pt x="40" y="103"/>
                  <a:pt x="40" y="103"/>
                  <a:pt x="40" y="103"/>
                </a:cubicBezTo>
                <a:cubicBezTo>
                  <a:pt x="39" y="101"/>
                  <a:pt x="39" y="101"/>
                  <a:pt x="39" y="101"/>
                </a:cubicBezTo>
                <a:cubicBezTo>
                  <a:pt x="39" y="99"/>
                  <a:pt x="39" y="99"/>
                  <a:pt x="39" y="99"/>
                </a:cubicBezTo>
                <a:cubicBezTo>
                  <a:pt x="39" y="97"/>
                  <a:pt x="39" y="97"/>
                  <a:pt x="39" y="97"/>
                </a:cubicBezTo>
                <a:cubicBezTo>
                  <a:pt x="39" y="94"/>
                  <a:pt x="39" y="94"/>
                  <a:pt x="39" y="94"/>
                </a:cubicBezTo>
                <a:cubicBezTo>
                  <a:pt x="38" y="91"/>
                  <a:pt x="38" y="91"/>
                  <a:pt x="38" y="91"/>
                </a:cubicBezTo>
                <a:cubicBezTo>
                  <a:pt x="39" y="88"/>
                  <a:pt x="39" y="88"/>
                  <a:pt x="39" y="88"/>
                </a:cubicBezTo>
                <a:cubicBezTo>
                  <a:pt x="40" y="85"/>
                  <a:pt x="40" y="85"/>
                  <a:pt x="40" y="85"/>
                </a:cubicBezTo>
                <a:cubicBezTo>
                  <a:pt x="41" y="84"/>
                  <a:pt x="41" y="84"/>
                  <a:pt x="41" y="84"/>
                </a:cubicBezTo>
                <a:cubicBezTo>
                  <a:pt x="43" y="85"/>
                  <a:pt x="43" y="85"/>
                  <a:pt x="43" y="85"/>
                </a:cubicBezTo>
                <a:cubicBezTo>
                  <a:pt x="45" y="85"/>
                  <a:pt x="45" y="85"/>
                  <a:pt x="45" y="85"/>
                </a:cubicBezTo>
                <a:cubicBezTo>
                  <a:pt x="46" y="83"/>
                  <a:pt x="46" y="83"/>
                  <a:pt x="46" y="83"/>
                </a:cubicBezTo>
                <a:cubicBezTo>
                  <a:pt x="46" y="81"/>
                  <a:pt x="46" y="81"/>
                  <a:pt x="46" y="81"/>
                </a:cubicBezTo>
                <a:cubicBezTo>
                  <a:pt x="46" y="80"/>
                  <a:pt x="46" y="80"/>
                  <a:pt x="46" y="80"/>
                </a:cubicBezTo>
                <a:cubicBezTo>
                  <a:pt x="46" y="79"/>
                  <a:pt x="46" y="79"/>
                  <a:pt x="46" y="79"/>
                </a:cubicBezTo>
                <a:cubicBezTo>
                  <a:pt x="48" y="73"/>
                  <a:pt x="48" y="73"/>
                  <a:pt x="48" y="73"/>
                </a:cubicBezTo>
                <a:cubicBezTo>
                  <a:pt x="48" y="70"/>
                  <a:pt x="48" y="70"/>
                  <a:pt x="48" y="70"/>
                </a:cubicBezTo>
                <a:cubicBezTo>
                  <a:pt x="48" y="68"/>
                  <a:pt x="48" y="68"/>
                  <a:pt x="48" y="68"/>
                </a:cubicBezTo>
                <a:cubicBezTo>
                  <a:pt x="49" y="66"/>
                  <a:pt x="49" y="66"/>
                  <a:pt x="49" y="66"/>
                </a:cubicBezTo>
                <a:cubicBezTo>
                  <a:pt x="49" y="64"/>
                  <a:pt x="49" y="64"/>
                  <a:pt x="49" y="64"/>
                </a:cubicBezTo>
                <a:cubicBezTo>
                  <a:pt x="48" y="63"/>
                  <a:pt x="48" y="63"/>
                  <a:pt x="48" y="63"/>
                </a:cubicBezTo>
                <a:cubicBezTo>
                  <a:pt x="48" y="62"/>
                  <a:pt x="48" y="62"/>
                  <a:pt x="48" y="62"/>
                </a:cubicBezTo>
                <a:cubicBezTo>
                  <a:pt x="50" y="61"/>
                  <a:pt x="50" y="61"/>
                  <a:pt x="50" y="61"/>
                </a:cubicBezTo>
                <a:cubicBezTo>
                  <a:pt x="52" y="60"/>
                  <a:pt x="52" y="60"/>
                  <a:pt x="52" y="60"/>
                </a:cubicBezTo>
                <a:cubicBezTo>
                  <a:pt x="53" y="59"/>
                  <a:pt x="53" y="59"/>
                  <a:pt x="53" y="59"/>
                </a:cubicBezTo>
                <a:cubicBezTo>
                  <a:pt x="53" y="58"/>
                  <a:pt x="53" y="58"/>
                  <a:pt x="53" y="58"/>
                </a:cubicBezTo>
                <a:cubicBezTo>
                  <a:pt x="55" y="55"/>
                  <a:pt x="55" y="55"/>
                  <a:pt x="55" y="55"/>
                </a:cubicBezTo>
                <a:cubicBezTo>
                  <a:pt x="57" y="53"/>
                  <a:pt x="57" y="53"/>
                  <a:pt x="57" y="53"/>
                </a:cubicBezTo>
                <a:cubicBezTo>
                  <a:pt x="57" y="51"/>
                  <a:pt x="57" y="51"/>
                  <a:pt x="57" y="51"/>
                </a:cubicBezTo>
                <a:cubicBezTo>
                  <a:pt x="57" y="49"/>
                  <a:pt x="57" y="49"/>
                  <a:pt x="57" y="49"/>
                </a:cubicBezTo>
                <a:cubicBezTo>
                  <a:pt x="56" y="49"/>
                  <a:pt x="56" y="49"/>
                  <a:pt x="56" y="49"/>
                </a:cubicBezTo>
                <a:cubicBezTo>
                  <a:pt x="56" y="46"/>
                  <a:pt x="56" y="46"/>
                  <a:pt x="56" y="46"/>
                </a:cubicBezTo>
                <a:cubicBezTo>
                  <a:pt x="57" y="45"/>
                  <a:pt x="57" y="45"/>
                  <a:pt x="57" y="45"/>
                </a:cubicBezTo>
                <a:cubicBezTo>
                  <a:pt x="58" y="44"/>
                  <a:pt x="58" y="44"/>
                  <a:pt x="58" y="44"/>
                </a:cubicBezTo>
                <a:cubicBezTo>
                  <a:pt x="58" y="43"/>
                  <a:pt x="58" y="43"/>
                  <a:pt x="58" y="43"/>
                </a:cubicBezTo>
                <a:cubicBezTo>
                  <a:pt x="59" y="42"/>
                  <a:pt x="59" y="42"/>
                  <a:pt x="59" y="42"/>
                </a:cubicBezTo>
                <a:cubicBezTo>
                  <a:pt x="60" y="40"/>
                  <a:pt x="60" y="40"/>
                  <a:pt x="60" y="40"/>
                </a:cubicBezTo>
                <a:cubicBezTo>
                  <a:pt x="61" y="39"/>
                  <a:pt x="61" y="39"/>
                  <a:pt x="61" y="39"/>
                </a:cubicBezTo>
                <a:cubicBezTo>
                  <a:pt x="63" y="40"/>
                  <a:pt x="63" y="40"/>
                  <a:pt x="63" y="40"/>
                </a:cubicBezTo>
                <a:cubicBezTo>
                  <a:pt x="63" y="41"/>
                  <a:pt x="63" y="41"/>
                  <a:pt x="63" y="41"/>
                </a:cubicBezTo>
                <a:cubicBezTo>
                  <a:pt x="64" y="40"/>
                  <a:pt x="64" y="40"/>
                  <a:pt x="64" y="40"/>
                </a:cubicBezTo>
                <a:cubicBezTo>
                  <a:pt x="65" y="40"/>
                  <a:pt x="65" y="40"/>
                  <a:pt x="65" y="40"/>
                </a:cubicBezTo>
                <a:cubicBezTo>
                  <a:pt x="64" y="38"/>
                  <a:pt x="64" y="38"/>
                  <a:pt x="64" y="38"/>
                </a:cubicBezTo>
                <a:cubicBezTo>
                  <a:pt x="65" y="38"/>
                  <a:pt x="65" y="38"/>
                  <a:pt x="65" y="38"/>
                </a:cubicBezTo>
                <a:cubicBezTo>
                  <a:pt x="65" y="37"/>
                  <a:pt x="65" y="37"/>
                  <a:pt x="65" y="37"/>
                </a:cubicBezTo>
                <a:cubicBezTo>
                  <a:pt x="65" y="36"/>
                  <a:pt x="65" y="36"/>
                  <a:pt x="65" y="36"/>
                </a:cubicBezTo>
                <a:cubicBezTo>
                  <a:pt x="64" y="35"/>
                  <a:pt x="64" y="35"/>
                  <a:pt x="64" y="35"/>
                </a:cubicBezTo>
                <a:cubicBezTo>
                  <a:pt x="65" y="34"/>
                  <a:pt x="65" y="34"/>
                  <a:pt x="65" y="34"/>
                </a:cubicBezTo>
                <a:cubicBezTo>
                  <a:pt x="67" y="34"/>
                  <a:pt x="67" y="34"/>
                  <a:pt x="67" y="34"/>
                </a:cubicBezTo>
                <a:cubicBezTo>
                  <a:pt x="68" y="33"/>
                  <a:pt x="68" y="33"/>
                  <a:pt x="68" y="33"/>
                </a:cubicBezTo>
                <a:cubicBezTo>
                  <a:pt x="70" y="34"/>
                  <a:pt x="70" y="34"/>
                  <a:pt x="70" y="34"/>
                </a:cubicBezTo>
                <a:cubicBezTo>
                  <a:pt x="71" y="35"/>
                  <a:pt x="71" y="35"/>
                  <a:pt x="71" y="35"/>
                </a:cubicBezTo>
                <a:cubicBezTo>
                  <a:pt x="73" y="35"/>
                  <a:pt x="73" y="35"/>
                  <a:pt x="73" y="35"/>
                </a:cubicBezTo>
                <a:cubicBezTo>
                  <a:pt x="74" y="36"/>
                  <a:pt x="74" y="36"/>
                  <a:pt x="74" y="36"/>
                </a:cubicBezTo>
                <a:cubicBezTo>
                  <a:pt x="74" y="35"/>
                  <a:pt x="74" y="35"/>
                  <a:pt x="74" y="35"/>
                </a:cubicBezTo>
                <a:cubicBezTo>
                  <a:pt x="75" y="36"/>
                  <a:pt x="75" y="36"/>
                  <a:pt x="75" y="36"/>
                </a:cubicBezTo>
                <a:cubicBezTo>
                  <a:pt x="75" y="34"/>
                  <a:pt x="75" y="34"/>
                  <a:pt x="75" y="34"/>
                </a:cubicBezTo>
                <a:cubicBezTo>
                  <a:pt x="74" y="33"/>
                  <a:pt x="74" y="33"/>
                  <a:pt x="74" y="33"/>
                </a:cubicBezTo>
                <a:cubicBezTo>
                  <a:pt x="74" y="31"/>
                  <a:pt x="74" y="31"/>
                  <a:pt x="74" y="31"/>
                </a:cubicBezTo>
                <a:cubicBezTo>
                  <a:pt x="75" y="31"/>
                  <a:pt x="75" y="31"/>
                  <a:pt x="75" y="31"/>
                </a:cubicBezTo>
                <a:cubicBezTo>
                  <a:pt x="75" y="30"/>
                  <a:pt x="75" y="30"/>
                  <a:pt x="75" y="30"/>
                </a:cubicBezTo>
                <a:cubicBezTo>
                  <a:pt x="74" y="29"/>
                  <a:pt x="74" y="29"/>
                  <a:pt x="74" y="29"/>
                </a:cubicBezTo>
                <a:cubicBezTo>
                  <a:pt x="74" y="28"/>
                  <a:pt x="74" y="28"/>
                  <a:pt x="74" y="28"/>
                </a:cubicBezTo>
                <a:cubicBezTo>
                  <a:pt x="75" y="28"/>
                  <a:pt x="75" y="28"/>
                  <a:pt x="75" y="28"/>
                </a:cubicBezTo>
                <a:cubicBezTo>
                  <a:pt x="77" y="28"/>
                  <a:pt x="77" y="28"/>
                  <a:pt x="77" y="28"/>
                </a:cubicBezTo>
                <a:cubicBezTo>
                  <a:pt x="77" y="28"/>
                  <a:pt x="77" y="28"/>
                  <a:pt x="77" y="28"/>
                </a:cubicBezTo>
                <a:cubicBezTo>
                  <a:pt x="77" y="28"/>
                  <a:pt x="77" y="28"/>
                  <a:pt x="77" y="28"/>
                </a:cubicBezTo>
                <a:cubicBezTo>
                  <a:pt x="77" y="27"/>
                  <a:pt x="77" y="27"/>
                  <a:pt x="77" y="27"/>
                </a:cubicBezTo>
                <a:cubicBezTo>
                  <a:pt x="78" y="28"/>
                  <a:pt x="78" y="28"/>
                  <a:pt x="78" y="28"/>
                </a:cubicBezTo>
                <a:cubicBezTo>
                  <a:pt x="78" y="27"/>
                  <a:pt x="78" y="27"/>
                  <a:pt x="78" y="27"/>
                </a:cubicBezTo>
                <a:cubicBezTo>
                  <a:pt x="78" y="26"/>
                  <a:pt x="78" y="26"/>
                  <a:pt x="78" y="26"/>
                </a:cubicBezTo>
                <a:cubicBezTo>
                  <a:pt x="78" y="25"/>
                  <a:pt x="78" y="25"/>
                  <a:pt x="78" y="25"/>
                </a:cubicBezTo>
                <a:cubicBezTo>
                  <a:pt x="79" y="24"/>
                  <a:pt x="79" y="24"/>
                  <a:pt x="79" y="24"/>
                </a:cubicBezTo>
                <a:cubicBezTo>
                  <a:pt x="80" y="25"/>
                  <a:pt x="80" y="25"/>
                  <a:pt x="80" y="25"/>
                </a:cubicBezTo>
                <a:cubicBezTo>
                  <a:pt x="81" y="26"/>
                  <a:pt x="81" y="26"/>
                  <a:pt x="81" y="26"/>
                </a:cubicBezTo>
                <a:cubicBezTo>
                  <a:pt x="84" y="28"/>
                  <a:pt x="84" y="28"/>
                  <a:pt x="84" y="28"/>
                </a:cubicBezTo>
                <a:cubicBezTo>
                  <a:pt x="84" y="30"/>
                  <a:pt x="84" y="30"/>
                  <a:pt x="84" y="30"/>
                </a:cubicBezTo>
                <a:cubicBezTo>
                  <a:pt x="85" y="31"/>
                  <a:pt x="85" y="31"/>
                  <a:pt x="85" y="31"/>
                </a:cubicBezTo>
                <a:cubicBezTo>
                  <a:pt x="87" y="32"/>
                  <a:pt x="87" y="32"/>
                  <a:pt x="87" y="32"/>
                </a:cubicBezTo>
                <a:cubicBezTo>
                  <a:pt x="90" y="32"/>
                  <a:pt x="90" y="32"/>
                  <a:pt x="90" y="32"/>
                </a:cubicBezTo>
                <a:cubicBezTo>
                  <a:pt x="92" y="30"/>
                  <a:pt x="92" y="30"/>
                  <a:pt x="92" y="30"/>
                </a:cubicBezTo>
                <a:cubicBezTo>
                  <a:pt x="93" y="29"/>
                  <a:pt x="93" y="29"/>
                  <a:pt x="93" y="29"/>
                </a:cubicBezTo>
                <a:cubicBezTo>
                  <a:pt x="94" y="29"/>
                  <a:pt x="94" y="29"/>
                  <a:pt x="94" y="29"/>
                </a:cubicBezTo>
                <a:cubicBezTo>
                  <a:pt x="96" y="31"/>
                  <a:pt x="96" y="31"/>
                  <a:pt x="96" y="31"/>
                </a:cubicBezTo>
                <a:cubicBezTo>
                  <a:pt x="97" y="31"/>
                  <a:pt x="97" y="31"/>
                  <a:pt x="97" y="31"/>
                </a:cubicBezTo>
                <a:cubicBezTo>
                  <a:pt x="98" y="30"/>
                  <a:pt x="98" y="30"/>
                  <a:pt x="98" y="30"/>
                </a:cubicBezTo>
                <a:cubicBezTo>
                  <a:pt x="99" y="29"/>
                  <a:pt x="99" y="29"/>
                  <a:pt x="99" y="29"/>
                </a:cubicBezTo>
                <a:cubicBezTo>
                  <a:pt x="100" y="28"/>
                  <a:pt x="100" y="28"/>
                  <a:pt x="100" y="28"/>
                </a:cubicBezTo>
                <a:cubicBezTo>
                  <a:pt x="101" y="28"/>
                  <a:pt x="101" y="28"/>
                  <a:pt x="101" y="28"/>
                </a:cubicBezTo>
                <a:cubicBezTo>
                  <a:pt x="102" y="28"/>
                  <a:pt x="102" y="28"/>
                  <a:pt x="102" y="28"/>
                </a:cubicBezTo>
                <a:cubicBezTo>
                  <a:pt x="102" y="27"/>
                  <a:pt x="102" y="27"/>
                  <a:pt x="102" y="27"/>
                </a:cubicBezTo>
                <a:cubicBezTo>
                  <a:pt x="102" y="26"/>
                  <a:pt x="102" y="26"/>
                  <a:pt x="102" y="26"/>
                </a:cubicBezTo>
                <a:cubicBezTo>
                  <a:pt x="101" y="24"/>
                  <a:pt x="101" y="24"/>
                  <a:pt x="101" y="24"/>
                </a:cubicBezTo>
                <a:cubicBezTo>
                  <a:pt x="102" y="21"/>
                  <a:pt x="102" y="21"/>
                  <a:pt x="102" y="21"/>
                </a:cubicBezTo>
                <a:cubicBezTo>
                  <a:pt x="102" y="20"/>
                  <a:pt x="102" y="20"/>
                  <a:pt x="102" y="20"/>
                </a:cubicBezTo>
                <a:cubicBezTo>
                  <a:pt x="102" y="19"/>
                  <a:pt x="102" y="19"/>
                  <a:pt x="102" y="19"/>
                </a:cubicBezTo>
                <a:cubicBezTo>
                  <a:pt x="102" y="18"/>
                  <a:pt x="102" y="18"/>
                  <a:pt x="102" y="18"/>
                </a:cubicBezTo>
                <a:cubicBezTo>
                  <a:pt x="103" y="17"/>
                  <a:pt x="103" y="17"/>
                  <a:pt x="103" y="17"/>
                </a:cubicBezTo>
                <a:cubicBezTo>
                  <a:pt x="103" y="16"/>
                  <a:pt x="103" y="16"/>
                  <a:pt x="103" y="16"/>
                </a:cubicBezTo>
                <a:cubicBezTo>
                  <a:pt x="104" y="16"/>
                  <a:pt x="104" y="16"/>
                  <a:pt x="104" y="16"/>
                </a:cubicBezTo>
                <a:cubicBezTo>
                  <a:pt x="106" y="16"/>
                  <a:pt x="106" y="16"/>
                  <a:pt x="106" y="16"/>
                </a:cubicBezTo>
                <a:cubicBezTo>
                  <a:pt x="107" y="16"/>
                  <a:pt x="107" y="16"/>
                  <a:pt x="107" y="16"/>
                </a:cubicBezTo>
                <a:cubicBezTo>
                  <a:pt x="107" y="15"/>
                  <a:pt x="107" y="15"/>
                  <a:pt x="107" y="15"/>
                </a:cubicBezTo>
                <a:cubicBezTo>
                  <a:pt x="108" y="14"/>
                  <a:pt x="108" y="14"/>
                  <a:pt x="108" y="14"/>
                </a:cubicBezTo>
                <a:cubicBezTo>
                  <a:pt x="111" y="14"/>
                  <a:pt x="111" y="14"/>
                  <a:pt x="111" y="14"/>
                </a:cubicBezTo>
                <a:cubicBezTo>
                  <a:pt x="112" y="15"/>
                  <a:pt x="112" y="15"/>
                  <a:pt x="112" y="15"/>
                </a:cubicBezTo>
                <a:cubicBezTo>
                  <a:pt x="113" y="17"/>
                  <a:pt x="113" y="17"/>
                  <a:pt x="113" y="17"/>
                </a:cubicBezTo>
                <a:cubicBezTo>
                  <a:pt x="114" y="18"/>
                  <a:pt x="114" y="18"/>
                  <a:pt x="114" y="18"/>
                </a:cubicBezTo>
                <a:cubicBezTo>
                  <a:pt x="116" y="18"/>
                  <a:pt x="116" y="18"/>
                  <a:pt x="116" y="18"/>
                </a:cubicBezTo>
                <a:cubicBezTo>
                  <a:pt x="118" y="18"/>
                  <a:pt x="118" y="18"/>
                  <a:pt x="118" y="18"/>
                </a:cubicBezTo>
                <a:cubicBezTo>
                  <a:pt x="118" y="19"/>
                  <a:pt x="118" y="19"/>
                  <a:pt x="118" y="19"/>
                </a:cubicBezTo>
                <a:cubicBezTo>
                  <a:pt x="119" y="21"/>
                  <a:pt x="119" y="21"/>
                  <a:pt x="119" y="21"/>
                </a:cubicBezTo>
                <a:cubicBezTo>
                  <a:pt x="119" y="22"/>
                  <a:pt x="119" y="22"/>
                  <a:pt x="119" y="22"/>
                </a:cubicBezTo>
                <a:cubicBezTo>
                  <a:pt x="118" y="24"/>
                  <a:pt x="118" y="24"/>
                  <a:pt x="118" y="24"/>
                </a:cubicBezTo>
                <a:cubicBezTo>
                  <a:pt x="118" y="26"/>
                  <a:pt x="118" y="26"/>
                  <a:pt x="118" y="26"/>
                </a:cubicBezTo>
                <a:close/>
                <a:moveTo>
                  <a:pt x="5" y="135"/>
                </a:moveTo>
                <a:cubicBezTo>
                  <a:pt x="6" y="136"/>
                  <a:pt x="6" y="136"/>
                  <a:pt x="6" y="136"/>
                </a:cubicBezTo>
                <a:cubicBezTo>
                  <a:pt x="5" y="136"/>
                  <a:pt x="5" y="136"/>
                  <a:pt x="5" y="136"/>
                </a:cubicBezTo>
                <a:cubicBezTo>
                  <a:pt x="5" y="135"/>
                  <a:pt x="5" y="135"/>
                  <a:pt x="5" y="135"/>
                </a:cubicBezTo>
                <a:close/>
                <a:moveTo>
                  <a:pt x="2" y="128"/>
                </a:moveTo>
                <a:cubicBezTo>
                  <a:pt x="2" y="128"/>
                  <a:pt x="3" y="128"/>
                  <a:pt x="3" y="128"/>
                </a:cubicBezTo>
                <a:cubicBezTo>
                  <a:pt x="4" y="129"/>
                  <a:pt x="4" y="129"/>
                  <a:pt x="4" y="129"/>
                </a:cubicBezTo>
                <a:cubicBezTo>
                  <a:pt x="3" y="130"/>
                  <a:pt x="3" y="130"/>
                  <a:pt x="3" y="130"/>
                </a:cubicBezTo>
                <a:cubicBezTo>
                  <a:pt x="2" y="128"/>
                  <a:pt x="2" y="128"/>
                  <a:pt x="2" y="128"/>
                </a:cubicBezTo>
                <a:close/>
                <a:moveTo>
                  <a:pt x="5" y="126"/>
                </a:moveTo>
                <a:cubicBezTo>
                  <a:pt x="5" y="127"/>
                  <a:pt x="5" y="127"/>
                  <a:pt x="5" y="127"/>
                </a:cubicBezTo>
                <a:cubicBezTo>
                  <a:pt x="4" y="127"/>
                  <a:pt x="4" y="127"/>
                  <a:pt x="4" y="127"/>
                </a:cubicBezTo>
                <a:cubicBezTo>
                  <a:pt x="5" y="126"/>
                  <a:pt x="5" y="126"/>
                  <a:pt x="5" y="126"/>
                </a:cubicBezTo>
                <a:close/>
                <a:moveTo>
                  <a:pt x="4" y="125"/>
                </a:moveTo>
                <a:cubicBezTo>
                  <a:pt x="3" y="126"/>
                  <a:pt x="3" y="126"/>
                  <a:pt x="3" y="126"/>
                </a:cubicBezTo>
                <a:cubicBezTo>
                  <a:pt x="2" y="126"/>
                  <a:pt x="2" y="126"/>
                  <a:pt x="2" y="126"/>
                </a:cubicBezTo>
                <a:cubicBezTo>
                  <a:pt x="4" y="125"/>
                  <a:pt x="4" y="125"/>
                  <a:pt x="4" y="125"/>
                </a:cubicBezTo>
                <a:close/>
                <a:moveTo>
                  <a:pt x="1" y="120"/>
                </a:moveTo>
                <a:cubicBezTo>
                  <a:pt x="0" y="120"/>
                  <a:pt x="0" y="120"/>
                  <a:pt x="0" y="120"/>
                </a:cubicBezTo>
                <a:cubicBezTo>
                  <a:pt x="1" y="119"/>
                  <a:pt x="1" y="119"/>
                  <a:pt x="1" y="119"/>
                </a:cubicBezTo>
                <a:cubicBezTo>
                  <a:pt x="1" y="119"/>
                  <a:pt x="1" y="120"/>
                  <a:pt x="1" y="120"/>
                </a:cubicBezTo>
                <a:close/>
                <a:moveTo>
                  <a:pt x="1" y="121"/>
                </a:moveTo>
                <a:cubicBezTo>
                  <a:pt x="2" y="121"/>
                  <a:pt x="2" y="121"/>
                  <a:pt x="2" y="121"/>
                </a:cubicBezTo>
                <a:cubicBezTo>
                  <a:pt x="1" y="122"/>
                  <a:pt x="1" y="122"/>
                  <a:pt x="1" y="122"/>
                </a:cubicBezTo>
                <a:cubicBezTo>
                  <a:pt x="1" y="121"/>
                  <a:pt x="1" y="121"/>
                  <a:pt x="1" y="121"/>
                </a:cubicBezTo>
                <a:close/>
                <a:moveTo>
                  <a:pt x="3" y="123"/>
                </a:moveTo>
                <a:cubicBezTo>
                  <a:pt x="3" y="123"/>
                  <a:pt x="4" y="124"/>
                  <a:pt x="4" y="124"/>
                </a:cubicBezTo>
                <a:cubicBezTo>
                  <a:pt x="4" y="125"/>
                  <a:pt x="4" y="125"/>
                  <a:pt x="4" y="125"/>
                </a:cubicBezTo>
                <a:cubicBezTo>
                  <a:pt x="3" y="123"/>
                  <a:pt x="3" y="123"/>
                  <a:pt x="3" y="123"/>
                </a:cubicBezTo>
                <a:close/>
                <a:moveTo>
                  <a:pt x="2" y="124"/>
                </a:moveTo>
                <a:cubicBezTo>
                  <a:pt x="1" y="123"/>
                  <a:pt x="1" y="123"/>
                  <a:pt x="1" y="123"/>
                </a:cubicBezTo>
                <a:cubicBezTo>
                  <a:pt x="2" y="123"/>
                  <a:pt x="2" y="123"/>
                  <a:pt x="2" y="123"/>
                </a:cubicBezTo>
                <a:cubicBezTo>
                  <a:pt x="2" y="124"/>
                  <a:pt x="2" y="124"/>
                  <a:pt x="2" y="124"/>
                </a:cubicBezTo>
                <a:close/>
                <a:moveTo>
                  <a:pt x="1" y="117"/>
                </a:moveTo>
                <a:cubicBezTo>
                  <a:pt x="0" y="118"/>
                  <a:pt x="0" y="118"/>
                  <a:pt x="0" y="118"/>
                </a:cubicBezTo>
                <a:cubicBezTo>
                  <a:pt x="0" y="118"/>
                  <a:pt x="0" y="118"/>
                  <a:pt x="0" y="118"/>
                </a:cubicBezTo>
                <a:cubicBezTo>
                  <a:pt x="1" y="117"/>
                  <a:pt x="1" y="117"/>
                  <a:pt x="1" y="117"/>
                </a:cubicBezTo>
                <a:cubicBezTo>
                  <a:pt x="1" y="117"/>
                  <a:pt x="1" y="117"/>
                  <a:pt x="1" y="117"/>
                </a:cubicBezTo>
                <a:close/>
                <a:moveTo>
                  <a:pt x="0" y="108"/>
                </a:moveTo>
                <a:cubicBezTo>
                  <a:pt x="2" y="109"/>
                  <a:pt x="2" y="109"/>
                  <a:pt x="2" y="109"/>
                </a:cubicBezTo>
                <a:cubicBezTo>
                  <a:pt x="1" y="109"/>
                  <a:pt x="1" y="109"/>
                  <a:pt x="1" y="109"/>
                </a:cubicBezTo>
                <a:cubicBezTo>
                  <a:pt x="0" y="108"/>
                  <a:pt x="0" y="108"/>
                  <a:pt x="0" y="108"/>
                </a:cubicBezTo>
                <a:close/>
                <a:moveTo>
                  <a:pt x="1" y="106"/>
                </a:moveTo>
                <a:cubicBezTo>
                  <a:pt x="2" y="107"/>
                  <a:pt x="2" y="107"/>
                  <a:pt x="2" y="107"/>
                </a:cubicBezTo>
                <a:cubicBezTo>
                  <a:pt x="1" y="107"/>
                  <a:pt x="1" y="107"/>
                  <a:pt x="1" y="107"/>
                </a:cubicBezTo>
                <a:cubicBezTo>
                  <a:pt x="1" y="106"/>
                  <a:pt x="1" y="106"/>
                  <a:pt x="1" y="106"/>
                </a:cubicBezTo>
                <a:close/>
                <a:moveTo>
                  <a:pt x="4" y="103"/>
                </a:moveTo>
                <a:cubicBezTo>
                  <a:pt x="5" y="104"/>
                  <a:pt x="5" y="104"/>
                  <a:pt x="5" y="104"/>
                </a:cubicBezTo>
                <a:cubicBezTo>
                  <a:pt x="3" y="104"/>
                  <a:pt x="3" y="104"/>
                  <a:pt x="3" y="104"/>
                </a:cubicBezTo>
                <a:cubicBezTo>
                  <a:pt x="4" y="103"/>
                  <a:pt x="4" y="103"/>
                  <a:pt x="4" y="103"/>
                </a:cubicBezTo>
                <a:close/>
                <a:moveTo>
                  <a:pt x="5" y="103"/>
                </a:moveTo>
                <a:cubicBezTo>
                  <a:pt x="6" y="103"/>
                  <a:pt x="6" y="103"/>
                  <a:pt x="6" y="103"/>
                </a:cubicBezTo>
                <a:cubicBezTo>
                  <a:pt x="7" y="104"/>
                  <a:pt x="7" y="104"/>
                  <a:pt x="7" y="104"/>
                </a:cubicBezTo>
                <a:cubicBezTo>
                  <a:pt x="5" y="104"/>
                  <a:pt x="5" y="104"/>
                  <a:pt x="5" y="104"/>
                </a:cubicBezTo>
                <a:cubicBezTo>
                  <a:pt x="5" y="103"/>
                  <a:pt x="5" y="103"/>
                  <a:pt x="5" y="103"/>
                </a:cubicBezTo>
                <a:close/>
                <a:moveTo>
                  <a:pt x="16" y="95"/>
                </a:moveTo>
                <a:cubicBezTo>
                  <a:pt x="16" y="95"/>
                  <a:pt x="18" y="94"/>
                  <a:pt x="18" y="94"/>
                </a:cubicBezTo>
                <a:cubicBezTo>
                  <a:pt x="18" y="95"/>
                  <a:pt x="18" y="95"/>
                  <a:pt x="18" y="95"/>
                </a:cubicBezTo>
                <a:cubicBezTo>
                  <a:pt x="17" y="95"/>
                  <a:pt x="17" y="95"/>
                  <a:pt x="17" y="95"/>
                </a:cubicBezTo>
                <a:cubicBezTo>
                  <a:pt x="16" y="95"/>
                  <a:pt x="16" y="95"/>
                  <a:pt x="16" y="95"/>
                </a:cubicBezTo>
                <a:close/>
                <a:moveTo>
                  <a:pt x="17" y="93"/>
                </a:moveTo>
                <a:cubicBezTo>
                  <a:pt x="17" y="93"/>
                  <a:pt x="16" y="93"/>
                  <a:pt x="16" y="93"/>
                </a:cubicBezTo>
                <a:cubicBezTo>
                  <a:pt x="15" y="92"/>
                  <a:pt x="15" y="92"/>
                  <a:pt x="15" y="92"/>
                </a:cubicBezTo>
                <a:cubicBezTo>
                  <a:pt x="16" y="92"/>
                  <a:pt x="16" y="92"/>
                  <a:pt x="16" y="92"/>
                </a:cubicBezTo>
                <a:cubicBezTo>
                  <a:pt x="17" y="93"/>
                  <a:pt x="17" y="93"/>
                  <a:pt x="17" y="93"/>
                </a:cubicBezTo>
                <a:close/>
                <a:moveTo>
                  <a:pt x="18" y="90"/>
                </a:moveTo>
                <a:cubicBezTo>
                  <a:pt x="20" y="88"/>
                  <a:pt x="20" y="88"/>
                  <a:pt x="20" y="88"/>
                </a:cubicBezTo>
                <a:cubicBezTo>
                  <a:pt x="21" y="89"/>
                  <a:pt x="21" y="89"/>
                  <a:pt x="21" y="89"/>
                </a:cubicBezTo>
                <a:cubicBezTo>
                  <a:pt x="20" y="90"/>
                  <a:pt x="20" y="90"/>
                  <a:pt x="20" y="90"/>
                </a:cubicBezTo>
                <a:cubicBezTo>
                  <a:pt x="18" y="90"/>
                  <a:pt x="18" y="90"/>
                  <a:pt x="18" y="90"/>
                </a:cubicBezTo>
                <a:close/>
                <a:moveTo>
                  <a:pt x="18" y="92"/>
                </a:moveTo>
                <a:cubicBezTo>
                  <a:pt x="19" y="91"/>
                  <a:pt x="19" y="91"/>
                  <a:pt x="19" y="91"/>
                </a:cubicBezTo>
                <a:cubicBezTo>
                  <a:pt x="20" y="91"/>
                  <a:pt x="20" y="91"/>
                  <a:pt x="20" y="91"/>
                </a:cubicBezTo>
                <a:cubicBezTo>
                  <a:pt x="21" y="90"/>
                  <a:pt x="21" y="90"/>
                  <a:pt x="21" y="90"/>
                </a:cubicBezTo>
                <a:cubicBezTo>
                  <a:pt x="22" y="90"/>
                  <a:pt x="22" y="90"/>
                  <a:pt x="22" y="90"/>
                </a:cubicBezTo>
                <a:cubicBezTo>
                  <a:pt x="22" y="91"/>
                  <a:pt x="22" y="91"/>
                  <a:pt x="22" y="91"/>
                </a:cubicBezTo>
                <a:cubicBezTo>
                  <a:pt x="21" y="92"/>
                  <a:pt x="21" y="92"/>
                  <a:pt x="21" y="92"/>
                </a:cubicBezTo>
                <a:cubicBezTo>
                  <a:pt x="20" y="92"/>
                  <a:pt x="20" y="92"/>
                  <a:pt x="20" y="92"/>
                </a:cubicBezTo>
                <a:cubicBezTo>
                  <a:pt x="19" y="92"/>
                  <a:pt x="19" y="92"/>
                  <a:pt x="19" y="92"/>
                </a:cubicBezTo>
                <a:cubicBezTo>
                  <a:pt x="18" y="92"/>
                  <a:pt x="18" y="92"/>
                  <a:pt x="18" y="92"/>
                </a:cubicBezTo>
                <a:close/>
                <a:moveTo>
                  <a:pt x="35" y="75"/>
                </a:moveTo>
                <a:cubicBezTo>
                  <a:pt x="35" y="74"/>
                  <a:pt x="35" y="74"/>
                  <a:pt x="35" y="74"/>
                </a:cubicBezTo>
                <a:cubicBezTo>
                  <a:pt x="37" y="73"/>
                  <a:pt x="37" y="73"/>
                  <a:pt x="37" y="73"/>
                </a:cubicBezTo>
                <a:cubicBezTo>
                  <a:pt x="35" y="75"/>
                  <a:pt x="35" y="75"/>
                  <a:pt x="35" y="75"/>
                </a:cubicBezTo>
                <a:cubicBezTo>
                  <a:pt x="35" y="75"/>
                  <a:pt x="35" y="75"/>
                  <a:pt x="35" y="75"/>
                </a:cubicBezTo>
                <a:close/>
                <a:moveTo>
                  <a:pt x="33" y="78"/>
                </a:moveTo>
                <a:cubicBezTo>
                  <a:pt x="33" y="77"/>
                  <a:pt x="33" y="77"/>
                  <a:pt x="33" y="77"/>
                </a:cubicBezTo>
                <a:cubicBezTo>
                  <a:pt x="32" y="77"/>
                  <a:pt x="32" y="77"/>
                  <a:pt x="32" y="77"/>
                </a:cubicBezTo>
                <a:cubicBezTo>
                  <a:pt x="33" y="76"/>
                  <a:pt x="33" y="76"/>
                  <a:pt x="33" y="76"/>
                </a:cubicBezTo>
                <a:cubicBezTo>
                  <a:pt x="34" y="76"/>
                  <a:pt x="34" y="76"/>
                  <a:pt x="34" y="76"/>
                </a:cubicBezTo>
                <a:cubicBezTo>
                  <a:pt x="35" y="75"/>
                  <a:pt x="35" y="75"/>
                  <a:pt x="35" y="75"/>
                </a:cubicBezTo>
                <a:cubicBezTo>
                  <a:pt x="34" y="77"/>
                  <a:pt x="34" y="77"/>
                  <a:pt x="34" y="77"/>
                </a:cubicBezTo>
                <a:cubicBezTo>
                  <a:pt x="33" y="78"/>
                  <a:pt x="33" y="78"/>
                  <a:pt x="33" y="78"/>
                </a:cubicBezTo>
                <a:close/>
                <a:moveTo>
                  <a:pt x="36" y="67"/>
                </a:moveTo>
                <a:cubicBezTo>
                  <a:pt x="37" y="67"/>
                  <a:pt x="37" y="67"/>
                  <a:pt x="37" y="67"/>
                </a:cubicBezTo>
                <a:cubicBezTo>
                  <a:pt x="37" y="68"/>
                  <a:pt x="37" y="68"/>
                  <a:pt x="37" y="68"/>
                </a:cubicBezTo>
                <a:cubicBezTo>
                  <a:pt x="36" y="69"/>
                  <a:pt x="36" y="69"/>
                  <a:pt x="36" y="69"/>
                </a:cubicBezTo>
                <a:cubicBezTo>
                  <a:pt x="36" y="68"/>
                  <a:pt x="36" y="68"/>
                  <a:pt x="36" y="68"/>
                </a:cubicBezTo>
                <a:cubicBezTo>
                  <a:pt x="36" y="67"/>
                  <a:pt x="36" y="67"/>
                  <a:pt x="36" y="67"/>
                </a:cubicBezTo>
                <a:close/>
                <a:moveTo>
                  <a:pt x="39" y="65"/>
                </a:moveTo>
                <a:cubicBezTo>
                  <a:pt x="39" y="64"/>
                  <a:pt x="39" y="64"/>
                  <a:pt x="39" y="64"/>
                </a:cubicBezTo>
                <a:cubicBezTo>
                  <a:pt x="40" y="64"/>
                  <a:pt x="40" y="64"/>
                  <a:pt x="40" y="64"/>
                </a:cubicBezTo>
                <a:cubicBezTo>
                  <a:pt x="39" y="65"/>
                  <a:pt x="39" y="65"/>
                  <a:pt x="39" y="65"/>
                </a:cubicBezTo>
                <a:cubicBezTo>
                  <a:pt x="39" y="65"/>
                  <a:pt x="39" y="65"/>
                  <a:pt x="39" y="65"/>
                </a:cubicBezTo>
                <a:close/>
                <a:moveTo>
                  <a:pt x="38" y="62"/>
                </a:moveTo>
                <a:cubicBezTo>
                  <a:pt x="39" y="61"/>
                  <a:pt x="39" y="61"/>
                  <a:pt x="39" y="61"/>
                </a:cubicBezTo>
                <a:cubicBezTo>
                  <a:pt x="39" y="62"/>
                  <a:pt x="39" y="62"/>
                  <a:pt x="39" y="62"/>
                </a:cubicBezTo>
                <a:cubicBezTo>
                  <a:pt x="38" y="64"/>
                  <a:pt x="38" y="64"/>
                  <a:pt x="38" y="64"/>
                </a:cubicBezTo>
                <a:cubicBezTo>
                  <a:pt x="38" y="62"/>
                  <a:pt x="38" y="62"/>
                  <a:pt x="38" y="62"/>
                </a:cubicBezTo>
                <a:close/>
                <a:moveTo>
                  <a:pt x="46" y="51"/>
                </a:moveTo>
                <a:cubicBezTo>
                  <a:pt x="46" y="51"/>
                  <a:pt x="46" y="51"/>
                  <a:pt x="46" y="51"/>
                </a:cubicBezTo>
                <a:cubicBezTo>
                  <a:pt x="47" y="51"/>
                  <a:pt x="47" y="51"/>
                  <a:pt x="47" y="51"/>
                </a:cubicBezTo>
                <a:cubicBezTo>
                  <a:pt x="46" y="52"/>
                  <a:pt x="46" y="52"/>
                  <a:pt x="46" y="52"/>
                </a:cubicBezTo>
                <a:cubicBezTo>
                  <a:pt x="46" y="51"/>
                  <a:pt x="46" y="51"/>
                  <a:pt x="46" y="51"/>
                </a:cubicBezTo>
                <a:close/>
                <a:moveTo>
                  <a:pt x="38" y="45"/>
                </a:moveTo>
                <a:cubicBezTo>
                  <a:pt x="39" y="45"/>
                  <a:pt x="39" y="45"/>
                  <a:pt x="39" y="45"/>
                </a:cubicBezTo>
                <a:cubicBezTo>
                  <a:pt x="38" y="46"/>
                  <a:pt x="38" y="46"/>
                  <a:pt x="38" y="46"/>
                </a:cubicBezTo>
                <a:cubicBezTo>
                  <a:pt x="38" y="46"/>
                  <a:pt x="38" y="46"/>
                  <a:pt x="38" y="46"/>
                </a:cubicBezTo>
                <a:cubicBezTo>
                  <a:pt x="38" y="45"/>
                  <a:pt x="38" y="45"/>
                  <a:pt x="38" y="45"/>
                </a:cubicBezTo>
                <a:close/>
                <a:moveTo>
                  <a:pt x="40" y="42"/>
                </a:moveTo>
                <a:cubicBezTo>
                  <a:pt x="39" y="43"/>
                  <a:pt x="39" y="43"/>
                  <a:pt x="39" y="43"/>
                </a:cubicBezTo>
                <a:cubicBezTo>
                  <a:pt x="39" y="42"/>
                  <a:pt x="39" y="42"/>
                  <a:pt x="39" y="42"/>
                </a:cubicBezTo>
                <a:cubicBezTo>
                  <a:pt x="40" y="40"/>
                  <a:pt x="40" y="40"/>
                  <a:pt x="40" y="40"/>
                </a:cubicBezTo>
                <a:cubicBezTo>
                  <a:pt x="40" y="42"/>
                  <a:pt x="40" y="42"/>
                  <a:pt x="40" y="42"/>
                </a:cubicBezTo>
                <a:close/>
                <a:moveTo>
                  <a:pt x="41" y="41"/>
                </a:moveTo>
                <a:cubicBezTo>
                  <a:pt x="41" y="40"/>
                  <a:pt x="41" y="40"/>
                  <a:pt x="41" y="40"/>
                </a:cubicBezTo>
                <a:cubicBezTo>
                  <a:pt x="41" y="39"/>
                  <a:pt x="41" y="39"/>
                  <a:pt x="41" y="39"/>
                </a:cubicBezTo>
                <a:cubicBezTo>
                  <a:pt x="42" y="40"/>
                  <a:pt x="42" y="40"/>
                  <a:pt x="42" y="40"/>
                </a:cubicBezTo>
                <a:cubicBezTo>
                  <a:pt x="41" y="41"/>
                  <a:pt x="41" y="41"/>
                  <a:pt x="41" y="41"/>
                </a:cubicBezTo>
                <a:close/>
                <a:moveTo>
                  <a:pt x="45" y="38"/>
                </a:moveTo>
                <a:cubicBezTo>
                  <a:pt x="45" y="39"/>
                  <a:pt x="45" y="39"/>
                  <a:pt x="45" y="39"/>
                </a:cubicBezTo>
                <a:cubicBezTo>
                  <a:pt x="42" y="41"/>
                  <a:pt x="42" y="41"/>
                  <a:pt x="42" y="41"/>
                </a:cubicBezTo>
                <a:cubicBezTo>
                  <a:pt x="43" y="38"/>
                  <a:pt x="43" y="38"/>
                  <a:pt x="43" y="38"/>
                </a:cubicBezTo>
                <a:cubicBezTo>
                  <a:pt x="45" y="38"/>
                  <a:pt x="45" y="38"/>
                  <a:pt x="45" y="38"/>
                </a:cubicBezTo>
                <a:close/>
                <a:moveTo>
                  <a:pt x="47" y="35"/>
                </a:moveTo>
                <a:cubicBezTo>
                  <a:pt x="48" y="34"/>
                  <a:pt x="48" y="34"/>
                  <a:pt x="48" y="34"/>
                </a:cubicBezTo>
                <a:cubicBezTo>
                  <a:pt x="49" y="35"/>
                  <a:pt x="49" y="35"/>
                  <a:pt x="49" y="35"/>
                </a:cubicBezTo>
                <a:cubicBezTo>
                  <a:pt x="47" y="35"/>
                  <a:pt x="47" y="35"/>
                  <a:pt x="47" y="35"/>
                </a:cubicBezTo>
                <a:close/>
                <a:moveTo>
                  <a:pt x="48" y="36"/>
                </a:moveTo>
                <a:cubicBezTo>
                  <a:pt x="48" y="38"/>
                  <a:pt x="48" y="38"/>
                  <a:pt x="48" y="38"/>
                </a:cubicBezTo>
                <a:cubicBezTo>
                  <a:pt x="47" y="37"/>
                  <a:pt x="47" y="37"/>
                  <a:pt x="47" y="37"/>
                </a:cubicBezTo>
                <a:cubicBezTo>
                  <a:pt x="45" y="38"/>
                  <a:pt x="45" y="38"/>
                  <a:pt x="45" y="38"/>
                </a:cubicBezTo>
                <a:cubicBezTo>
                  <a:pt x="46" y="37"/>
                  <a:pt x="46" y="37"/>
                  <a:pt x="46" y="37"/>
                </a:cubicBezTo>
                <a:cubicBezTo>
                  <a:pt x="48" y="36"/>
                  <a:pt x="48" y="36"/>
                  <a:pt x="48" y="36"/>
                </a:cubicBezTo>
                <a:close/>
                <a:moveTo>
                  <a:pt x="49" y="29"/>
                </a:moveTo>
                <a:cubicBezTo>
                  <a:pt x="50" y="31"/>
                  <a:pt x="50" y="31"/>
                  <a:pt x="50" y="31"/>
                </a:cubicBezTo>
                <a:cubicBezTo>
                  <a:pt x="50" y="33"/>
                  <a:pt x="50" y="33"/>
                  <a:pt x="50" y="33"/>
                </a:cubicBezTo>
                <a:cubicBezTo>
                  <a:pt x="48" y="34"/>
                  <a:pt x="48" y="34"/>
                  <a:pt x="48" y="34"/>
                </a:cubicBezTo>
                <a:cubicBezTo>
                  <a:pt x="47" y="33"/>
                  <a:pt x="47" y="33"/>
                  <a:pt x="47" y="33"/>
                </a:cubicBezTo>
                <a:cubicBezTo>
                  <a:pt x="49" y="32"/>
                  <a:pt x="49" y="32"/>
                  <a:pt x="49" y="32"/>
                </a:cubicBezTo>
                <a:cubicBezTo>
                  <a:pt x="48" y="32"/>
                  <a:pt x="48" y="32"/>
                  <a:pt x="48" y="32"/>
                </a:cubicBezTo>
                <a:cubicBezTo>
                  <a:pt x="46" y="33"/>
                  <a:pt x="46" y="33"/>
                  <a:pt x="46" y="33"/>
                </a:cubicBezTo>
                <a:cubicBezTo>
                  <a:pt x="46" y="32"/>
                  <a:pt x="46" y="32"/>
                  <a:pt x="46" y="32"/>
                </a:cubicBezTo>
                <a:cubicBezTo>
                  <a:pt x="46" y="31"/>
                  <a:pt x="46" y="31"/>
                  <a:pt x="46" y="31"/>
                </a:cubicBezTo>
                <a:cubicBezTo>
                  <a:pt x="48" y="31"/>
                  <a:pt x="48" y="31"/>
                  <a:pt x="48" y="31"/>
                </a:cubicBezTo>
                <a:cubicBezTo>
                  <a:pt x="49" y="30"/>
                  <a:pt x="49" y="30"/>
                  <a:pt x="49" y="30"/>
                </a:cubicBezTo>
                <a:cubicBezTo>
                  <a:pt x="48" y="30"/>
                  <a:pt x="48" y="30"/>
                  <a:pt x="48" y="30"/>
                </a:cubicBezTo>
                <a:cubicBezTo>
                  <a:pt x="49" y="29"/>
                  <a:pt x="49" y="29"/>
                  <a:pt x="49" y="29"/>
                </a:cubicBezTo>
                <a:close/>
                <a:moveTo>
                  <a:pt x="51" y="30"/>
                </a:moveTo>
                <a:cubicBezTo>
                  <a:pt x="50" y="30"/>
                  <a:pt x="50" y="30"/>
                  <a:pt x="50" y="30"/>
                </a:cubicBezTo>
                <a:cubicBezTo>
                  <a:pt x="50" y="28"/>
                  <a:pt x="50" y="28"/>
                  <a:pt x="50" y="28"/>
                </a:cubicBezTo>
                <a:cubicBezTo>
                  <a:pt x="52" y="27"/>
                  <a:pt x="52" y="27"/>
                  <a:pt x="52" y="27"/>
                </a:cubicBezTo>
                <a:cubicBezTo>
                  <a:pt x="52" y="25"/>
                  <a:pt x="52" y="25"/>
                  <a:pt x="52" y="25"/>
                </a:cubicBezTo>
                <a:cubicBezTo>
                  <a:pt x="53" y="25"/>
                  <a:pt x="53" y="25"/>
                  <a:pt x="53" y="25"/>
                </a:cubicBezTo>
                <a:cubicBezTo>
                  <a:pt x="54" y="26"/>
                  <a:pt x="54" y="26"/>
                  <a:pt x="54" y="26"/>
                </a:cubicBezTo>
                <a:cubicBezTo>
                  <a:pt x="52" y="27"/>
                  <a:pt x="52" y="27"/>
                  <a:pt x="52" y="27"/>
                </a:cubicBezTo>
                <a:cubicBezTo>
                  <a:pt x="52" y="28"/>
                  <a:pt x="52" y="28"/>
                  <a:pt x="52" y="28"/>
                </a:cubicBezTo>
                <a:cubicBezTo>
                  <a:pt x="51" y="30"/>
                  <a:pt x="51" y="30"/>
                  <a:pt x="51" y="30"/>
                </a:cubicBezTo>
                <a:close/>
                <a:moveTo>
                  <a:pt x="55" y="31"/>
                </a:moveTo>
                <a:cubicBezTo>
                  <a:pt x="56" y="32"/>
                  <a:pt x="56" y="32"/>
                  <a:pt x="56" y="32"/>
                </a:cubicBezTo>
                <a:cubicBezTo>
                  <a:pt x="54" y="35"/>
                  <a:pt x="54" y="35"/>
                  <a:pt x="54" y="35"/>
                </a:cubicBezTo>
                <a:cubicBezTo>
                  <a:pt x="53" y="36"/>
                  <a:pt x="53" y="36"/>
                  <a:pt x="53" y="36"/>
                </a:cubicBezTo>
                <a:cubicBezTo>
                  <a:pt x="52" y="37"/>
                  <a:pt x="52" y="37"/>
                  <a:pt x="52" y="37"/>
                </a:cubicBezTo>
                <a:cubicBezTo>
                  <a:pt x="51" y="36"/>
                  <a:pt x="51" y="36"/>
                  <a:pt x="51" y="36"/>
                </a:cubicBezTo>
                <a:cubicBezTo>
                  <a:pt x="51" y="35"/>
                  <a:pt x="51" y="35"/>
                  <a:pt x="51" y="35"/>
                </a:cubicBezTo>
                <a:cubicBezTo>
                  <a:pt x="50" y="37"/>
                  <a:pt x="50" y="37"/>
                  <a:pt x="50" y="37"/>
                </a:cubicBezTo>
                <a:cubicBezTo>
                  <a:pt x="49" y="37"/>
                  <a:pt x="49" y="37"/>
                  <a:pt x="49" y="37"/>
                </a:cubicBezTo>
                <a:cubicBezTo>
                  <a:pt x="50" y="35"/>
                  <a:pt x="50" y="35"/>
                  <a:pt x="50" y="35"/>
                </a:cubicBezTo>
                <a:cubicBezTo>
                  <a:pt x="50" y="35"/>
                  <a:pt x="50" y="35"/>
                  <a:pt x="50" y="35"/>
                </a:cubicBezTo>
                <a:cubicBezTo>
                  <a:pt x="50" y="34"/>
                  <a:pt x="50" y="34"/>
                  <a:pt x="50" y="34"/>
                </a:cubicBezTo>
                <a:cubicBezTo>
                  <a:pt x="51" y="33"/>
                  <a:pt x="51" y="33"/>
                  <a:pt x="51" y="33"/>
                </a:cubicBezTo>
                <a:cubicBezTo>
                  <a:pt x="51" y="32"/>
                  <a:pt x="51" y="32"/>
                  <a:pt x="51" y="32"/>
                </a:cubicBezTo>
                <a:cubicBezTo>
                  <a:pt x="52" y="29"/>
                  <a:pt x="52" y="29"/>
                  <a:pt x="52" y="29"/>
                </a:cubicBezTo>
                <a:cubicBezTo>
                  <a:pt x="52" y="33"/>
                  <a:pt x="52" y="33"/>
                  <a:pt x="52" y="33"/>
                </a:cubicBezTo>
                <a:cubicBezTo>
                  <a:pt x="52" y="34"/>
                  <a:pt x="52" y="34"/>
                  <a:pt x="52" y="34"/>
                </a:cubicBezTo>
                <a:cubicBezTo>
                  <a:pt x="53" y="32"/>
                  <a:pt x="53" y="32"/>
                  <a:pt x="53" y="32"/>
                </a:cubicBezTo>
                <a:cubicBezTo>
                  <a:pt x="55" y="32"/>
                  <a:pt x="55" y="32"/>
                  <a:pt x="55" y="32"/>
                </a:cubicBezTo>
                <a:cubicBezTo>
                  <a:pt x="54" y="31"/>
                  <a:pt x="54" y="31"/>
                  <a:pt x="54" y="31"/>
                </a:cubicBezTo>
                <a:cubicBezTo>
                  <a:pt x="54" y="30"/>
                  <a:pt x="54" y="30"/>
                  <a:pt x="54" y="30"/>
                </a:cubicBezTo>
                <a:cubicBezTo>
                  <a:pt x="55" y="31"/>
                  <a:pt x="55" y="31"/>
                  <a:pt x="55" y="31"/>
                </a:cubicBezTo>
                <a:close/>
                <a:moveTo>
                  <a:pt x="55" y="29"/>
                </a:moveTo>
                <a:cubicBezTo>
                  <a:pt x="54" y="29"/>
                  <a:pt x="54" y="29"/>
                  <a:pt x="54" y="29"/>
                </a:cubicBezTo>
                <a:cubicBezTo>
                  <a:pt x="55" y="29"/>
                  <a:pt x="55" y="29"/>
                  <a:pt x="55" y="29"/>
                </a:cubicBezTo>
                <a:cubicBezTo>
                  <a:pt x="56" y="29"/>
                  <a:pt x="56" y="29"/>
                  <a:pt x="56" y="29"/>
                </a:cubicBezTo>
                <a:cubicBezTo>
                  <a:pt x="56" y="30"/>
                  <a:pt x="56" y="30"/>
                  <a:pt x="56" y="30"/>
                </a:cubicBezTo>
                <a:cubicBezTo>
                  <a:pt x="55" y="29"/>
                  <a:pt x="55" y="29"/>
                  <a:pt x="55" y="29"/>
                </a:cubicBezTo>
                <a:close/>
                <a:moveTo>
                  <a:pt x="58" y="31"/>
                </a:moveTo>
                <a:cubicBezTo>
                  <a:pt x="58" y="30"/>
                  <a:pt x="58" y="30"/>
                  <a:pt x="58" y="30"/>
                </a:cubicBezTo>
                <a:cubicBezTo>
                  <a:pt x="59" y="31"/>
                  <a:pt x="59" y="31"/>
                  <a:pt x="59" y="31"/>
                </a:cubicBezTo>
                <a:cubicBezTo>
                  <a:pt x="58" y="31"/>
                  <a:pt x="58" y="31"/>
                  <a:pt x="58" y="31"/>
                </a:cubicBezTo>
                <a:close/>
                <a:moveTo>
                  <a:pt x="62" y="25"/>
                </a:moveTo>
                <a:cubicBezTo>
                  <a:pt x="62" y="25"/>
                  <a:pt x="62" y="25"/>
                  <a:pt x="62" y="25"/>
                </a:cubicBezTo>
                <a:cubicBezTo>
                  <a:pt x="62" y="26"/>
                  <a:pt x="62" y="26"/>
                  <a:pt x="62" y="26"/>
                </a:cubicBezTo>
                <a:cubicBezTo>
                  <a:pt x="61" y="27"/>
                  <a:pt x="61" y="27"/>
                  <a:pt x="61" y="27"/>
                </a:cubicBezTo>
                <a:cubicBezTo>
                  <a:pt x="61" y="27"/>
                  <a:pt x="61" y="27"/>
                  <a:pt x="61" y="27"/>
                </a:cubicBezTo>
                <a:cubicBezTo>
                  <a:pt x="59" y="27"/>
                  <a:pt x="59" y="27"/>
                  <a:pt x="59" y="27"/>
                </a:cubicBezTo>
                <a:cubicBezTo>
                  <a:pt x="59" y="29"/>
                  <a:pt x="59" y="29"/>
                  <a:pt x="59" y="29"/>
                </a:cubicBezTo>
                <a:cubicBezTo>
                  <a:pt x="58" y="29"/>
                  <a:pt x="58" y="29"/>
                  <a:pt x="58" y="29"/>
                </a:cubicBezTo>
                <a:cubicBezTo>
                  <a:pt x="58" y="28"/>
                  <a:pt x="58" y="28"/>
                  <a:pt x="58" y="28"/>
                </a:cubicBezTo>
                <a:cubicBezTo>
                  <a:pt x="57" y="27"/>
                  <a:pt x="57" y="27"/>
                  <a:pt x="57" y="27"/>
                </a:cubicBezTo>
                <a:cubicBezTo>
                  <a:pt x="58" y="26"/>
                  <a:pt x="58" y="26"/>
                  <a:pt x="58" y="26"/>
                </a:cubicBezTo>
                <a:cubicBezTo>
                  <a:pt x="57" y="26"/>
                  <a:pt x="57" y="26"/>
                  <a:pt x="57" y="26"/>
                </a:cubicBezTo>
                <a:cubicBezTo>
                  <a:pt x="57" y="25"/>
                  <a:pt x="57" y="25"/>
                  <a:pt x="57" y="25"/>
                </a:cubicBezTo>
                <a:cubicBezTo>
                  <a:pt x="59" y="24"/>
                  <a:pt x="59" y="24"/>
                  <a:pt x="59" y="24"/>
                </a:cubicBezTo>
                <a:cubicBezTo>
                  <a:pt x="58" y="24"/>
                  <a:pt x="58" y="24"/>
                  <a:pt x="58" y="24"/>
                </a:cubicBezTo>
                <a:cubicBezTo>
                  <a:pt x="58" y="22"/>
                  <a:pt x="58" y="22"/>
                  <a:pt x="58" y="22"/>
                </a:cubicBezTo>
                <a:cubicBezTo>
                  <a:pt x="59" y="23"/>
                  <a:pt x="59" y="23"/>
                  <a:pt x="59" y="23"/>
                </a:cubicBezTo>
                <a:cubicBezTo>
                  <a:pt x="59" y="22"/>
                  <a:pt x="59" y="22"/>
                  <a:pt x="59" y="22"/>
                </a:cubicBezTo>
                <a:cubicBezTo>
                  <a:pt x="61" y="22"/>
                  <a:pt x="61" y="22"/>
                  <a:pt x="61" y="22"/>
                </a:cubicBezTo>
                <a:cubicBezTo>
                  <a:pt x="61" y="23"/>
                  <a:pt x="61" y="23"/>
                  <a:pt x="61" y="23"/>
                </a:cubicBezTo>
                <a:cubicBezTo>
                  <a:pt x="62" y="23"/>
                  <a:pt x="62" y="23"/>
                  <a:pt x="62" y="23"/>
                </a:cubicBezTo>
                <a:cubicBezTo>
                  <a:pt x="62" y="25"/>
                  <a:pt x="62" y="25"/>
                  <a:pt x="62" y="25"/>
                </a:cubicBezTo>
                <a:close/>
                <a:moveTo>
                  <a:pt x="62" y="21"/>
                </a:moveTo>
                <a:cubicBezTo>
                  <a:pt x="64" y="21"/>
                  <a:pt x="64" y="21"/>
                  <a:pt x="64" y="21"/>
                </a:cubicBezTo>
                <a:cubicBezTo>
                  <a:pt x="64" y="20"/>
                  <a:pt x="64" y="20"/>
                  <a:pt x="64" y="20"/>
                </a:cubicBezTo>
                <a:cubicBezTo>
                  <a:pt x="66" y="20"/>
                  <a:pt x="66" y="20"/>
                  <a:pt x="66" y="20"/>
                </a:cubicBezTo>
                <a:cubicBezTo>
                  <a:pt x="66" y="19"/>
                  <a:pt x="66" y="19"/>
                  <a:pt x="66" y="19"/>
                </a:cubicBezTo>
                <a:cubicBezTo>
                  <a:pt x="67" y="20"/>
                  <a:pt x="67" y="20"/>
                  <a:pt x="67" y="20"/>
                </a:cubicBezTo>
                <a:cubicBezTo>
                  <a:pt x="66" y="21"/>
                  <a:pt x="66" y="21"/>
                  <a:pt x="66" y="21"/>
                </a:cubicBezTo>
                <a:cubicBezTo>
                  <a:pt x="66" y="22"/>
                  <a:pt x="66" y="22"/>
                  <a:pt x="66" y="22"/>
                </a:cubicBezTo>
                <a:cubicBezTo>
                  <a:pt x="65" y="22"/>
                  <a:pt x="65" y="22"/>
                  <a:pt x="65" y="22"/>
                </a:cubicBezTo>
                <a:cubicBezTo>
                  <a:pt x="64" y="23"/>
                  <a:pt x="64" y="23"/>
                  <a:pt x="64" y="23"/>
                </a:cubicBezTo>
                <a:cubicBezTo>
                  <a:pt x="62" y="21"/>
                  <a:pt x="62" y="21"/>
                  <a:pt x="62" y="21"/>
                </a:cubicBezTo>
                <a:close/>
                <a:moveTo>
                  <a:pt x="67" y="14"/>
                </a:moveTo>
                <a:cubicBezTo>
                  <a:pt x="67" y="13"/>
                  <a:pt x="67" y="13"/>
                  <a:pt x="67" y="13"/>
                </a:cubicBezTo>
                <a:cubicBezTo>
                  <a:pt x="68" y="13"/>
                  <a:pt x="68" y="13"/>
                  <a:pt x="68" y="13"/>
                </a:cubicBezTo>
                <a:cubicBezTo>
                  <a:pt x="67" y="14"/>
                  <a:pt x="67" y="14"/>
                  <a:pt x="67" y="14"/>
                </a:cubicBezTo>
                <a:close/>
                <a:moveTo>
                  <a:pt x="65" y="16"/>
                </a:moveTo>
                <a:cubicBezTo>
                  <a:pt x="65" y="15"/>
                  <a:pt x="65" y="15"/>
                  <a:pt x="65" y="15"/>
                </a:cubicBezTo>
                <a:cubicBezTo>
                  <a:pt x="67" y="14"/>
                  <a:pt x="67" y="14"/>
                  <a:pt x="67" y="14"/>
                </a:cubicBezTo>
                <a:cubicBezTo>
                  <a:pt x="67" y="15"/>
                  <a:pt x="67" y="15"/>
                  <a:pt x="67" y="15"/>
                </a:cubicBezTo>
                <a:cubicBezTo>
                  <a:pt x="67" y="15"/>
                  <a:pt x="65" y="16"/>
                  <a:pt x="65" y="16"/>
                </a:cubicBezTo>
                <a:close/>
                <a:moveTo>
                  <a:pt x="69" y="19"/>
                </a:moveTo>
                <a:cubicBezTo>
                  <a:pt x="70" y="17"/>
                  <a:pt x="70" y="17"/>
                  <a:pt x="70" y="17"/>
                </a:cubicBezTo>
                <a:cubicBezTo>
                  <a:pt x="70" y="18"/>
                  <a:pt x="70" y="18"/>
                  <a:pt x="70" y="18"/>
                </a:cubicBezTo>
                <a:cubicBezTo>
                  <a:pt x="69" y="19"/>
                  <a:pt x="69" y="19"/>
                  <a:pt x="69" y="19"/>
                </a:cubicBezTo>
                <a:close/>
                <a:moveTo>
                  <a:pt x="69" y="18"/>
                </a:moveTo>
                <a:cubicBezTo>
                  <a:pt x="68" y="19"/>
                  <a:pt x="68" y="19"/>
                  <a:pt x="68" y="19"/>
                </a:cubicBezTo>
                <a:cubicBezTo>
                  <a:pt x="67" y="19"/>
                  <a:pt x="67" y="19"/>
                  <a:pt x="67" y="19"/>
                </a:cubicBezTo>
                <a:cubicBezTo>
                  <a:pt x="66" y="17"/>
                  <a:pt x="66" y="17"/>
                  <a:pt x="66" y="17"/>
                </a:cubicBezTo>
                <a:cubicBezTo>
                  <a:pt x="68" y="16"/>
                  <a:pt x="68" y="16"/>
                  <a:pt x="68" y="16"/>
                </a:cubicBezTo>
                <a:cubicBezTo>
                  <a:pt x="68" y="16"/>
                  <a:pt x="68" y="16"/>
                  <a:pt x="68" y="16"/>
                </a:cubicBezTo>
                <a:cubicBezTo>
                  <a:pt x="69" y="16"/>
                  <a:pt x="69" y="16"/>
                  <a:pt x="69" y="16"/>
                </a:cubicBezTo>
                <a:cubicBezTo>
                  <a:pt x="70" y="16"/>
                  <a:pt x="70" y="16"/>
                  <a:pt x="70" y="16"/>
                </a:cubicBezTo>
                <a:cubicBezTo>
                  <a:pt x="69" y="17"/>
                  <a:pt x="69" y="17"/>
                  <a:pt x="69" y="17"/>
                </a:cubicBezTo>
                <a:cubicBezTo>
                  <a:pt x="69" y="18"/>
                  <a:pt x="69" y="18"/>
                  <a:pt x="69" y="18"/>
                </a:cubicBezTo>
                <a:close/>
                <a:moveTo>
                  <a:pt x="72" y="15"/>
                </a:moveTo>
                <a:cubicBezTo>
                  <a:pt x="71" y="16"/>
                  <a:pt x="71" y="16"/>
                  <a:pt x="71" y="16"/>
                </a:cubicBezTo>
                <a:cubicBezTo>
                  <a:pt x="70" y="15"/>
                  <a:pt x="70" y="15"/>
                  <a:pt x="70" y="15"/>
                </a:cubicBezTo>
                <a:cubicBezTo>
                  <a:pt x="70" y="14"/>
                  <a:pt x="70" y="14"/>
                  <a:pt x="70" y="14"/>
                </a:cubicBezTo>
                <a:cubicBezTo>
                  <a:pt x="69" y="12"/>
                  <a:pt x="69" y="12"/>
                  <a:pt x="69" y="12"/>
                </a:cubicBezTo>
                <a:cubicBezTo>
                  <a:pt x="70" y="12"/>
                  <a:pt x="70" y="12"/>
                  <a:pt x="70" y="12"/>
                </a:cubicBezTo>
                <a:cubicBezTo>
                  <a:pt x="70" y="14"/>
                  <a:pt x="70" y="14"/>
                  <a:pt x="70" y="14"/>
                </a:cubicBezTo>
                <a:cubicBezTo>
                  <a:pt x="72" y="15"/>
                  <a:pt x="72" y="15"/>
                  <a:pt x="72" y="15"/>
                </a:cubicBezTo>
                <a:cubicBezTo>
                  <a:pt x="72" y="15"/>
                  <a:pt x="72" y="15"/>
                  <a:pt x="72" y="15"/>
                </a:cubicBezTo>
                <a:close/>
                <a:moveTo>
                  <a:pt x="75" y="17"/>
                </a:moveTo>
                <a:cubicBezTo>
                  <a:pt x="75" y="16"/>
                  <a:pt x="75" y="16"/>
                  <a:pt x="75" y="16"/>
                </a:cubicBezTo>
                <a:cubicBezTo>
                  <a:pt x="74" y="16"/>
                  <a:pt x="74" y="16"/>
                  <a:pt x="74" y="16"/>
                </a:cubicBezTo>
                <a:cubicBezTo>
                  <a:pt x="74" y="14"/>
                  <a:pt x="74" y="14"/>
                  <a:pt x="74" y="14"/>
                </a:cubicBezTo>
                <a:cubicBezTo>
                  <a:pt x="74" y="13"/>
                  <a:pt x="74" y="13"/>
                  <a:pt x="74" y="13"/>
                </a:cubicBezTo>
                <a:cubicBezTo>
                  <a:pt x="76" y="14"/>
                  <a:pt x="76" y="14"/>
                  <a:pt x="76" y="14"/>
                </a:cubicBezTo>
                <a:cubicBezTo>
                  <a:pt x="75" y="15"/>
                  <a:pt x="75" y="15"/>
                  <a:pt x="75" y="15"/>
                </a:cubicBezTo>
                <a:cubicBezTo>
                  <a:pt x="76" y="16"/>
                  <a:pt x="76" y="16"/>
                  <a:pt x="76" y="16"/>
                </a:cubicBezTo>
                <a:cubicBezTo>
                  <a:pt x="75" y="17"/>
                  <a:pt x="75" y="17"/>
                  <a:pt x="75" y="17"/>
                </a:cubicBezTo>
                <a:close/>
                <a:moveTo>
                  <a:pt x="85" y="12"/>
                </a:moveTo>
                <a:cubicBezTo>
                  <a:pt x="84" y="12"/>
                  <a:pt x="84" y="12"/>
                  <a:pt x="84" y="12"/>
                </a:cubicBezTo>
                <a:cubicBezTo>
                  <a:pt x="82" y="11"/>
                  <a:pt x="82" y="11"/>
                  <a:pt x="82" y="11"/>
                </a:cubicBezTo>
                <a:cubicBezTo>
                  <a:pt x="83" y="11"/>
                  <a:pt x="83" y="11"/>
                  <a:pt x="83" y="11"/>
                </a:cubicBezTo>
                <a:cubicBezTo>
                  <a:pt x="85" y="11"/>
                  <a:pt x="85" y="11"/>
                  <a:pt x="85" y="11"/>
                </a:cubicBezTo>
                <a:cubicBezTo>
                  <a:pt x="85" y="11"/>
                  <a:pt x="85" y="11"/>
                  <a:pt x="85" y="11"/>
                </a:cubicBezTo>
                <a:cubicBezTo>
                  <a:pt x="85" y="12"/>
                  <a:pt x="85" y="12"/>
                  <a:pt x="85" y="12"/>
                </a:cubicBezTo>
                <a:close/>
                <a:moveTo>
                  <a:pt x="86" y="11"/>
                </a:moveTo>
                <a:cubicBezTo>
                  <a:pt x="85" y="10"/>
                  <a:pt x="85" y="10"/>
                  <a:pt x="85" y="10"/>
                </a:cubicBezTo>
                <a:cubicBezTo>
                  <a:pt x="87" y="8"/>
                  <a:pt x="87" y="8"/>
                  <a:pt x="87" y="8"/>
                </a:cubicBezTo>
                <a:cubicBezTo>
                  <a:pt x="88" y="9"/>
                  <a:pt x="88" y="9"/>
                  <a:pt x="88" y="9"/>
                </a:cubicBezTo>
                <a:cubicBezTo>
                  <a:pt x="87" y="10"/>
                  <a:pt x="87" y="10"/>
                  <a:pt x="87" y="10"/>
                </a:cubicBezTo>
                <a:cubicBezTo>
                  <a:pt x="86" y="11"/>
                  <a:pt x="86" y="11"/>
                  <a:pt x="86" y="11"/>
                </a:cubicBezTo>
                <a:close/>
                <a:moveTo>
                  <a:pt x="84" y="9"/>
                </a:moveTo>
                <a:cubicBezTo>
                  <a:pt x="83" y="9"/>
                  <a:pt x="83" y="9"/>
                  <a:pt x="83" y="9"/>
                </a:cubicBezTo>
                <a:cubicBezTo>
                  <a:pt x="81" y="9"/>
                  <a:pt x="81" y="9"/>
                  <a:pt x="81" y="9"/>
                </a:cubicBezTo>
                <a:cubicBezTo>
                  <a:pt x="80" y="7"/>
                  <a:pt x="80" y="7"/>
                  <a:pt x="80" y="7"/>
                </a:cubicBezTo>
                <a:cubicBezTo>
                  <a:pt x="82" y="8"/>
                  <a:pt x="82" y="8"/>
                  <a:pt x="82" y="8"/>
                </a:cubicBezTo>
                <a:cubicBezTo>
                  <a:pt x="83" y="7"/>
                  <a:pt x="83" y="7"/>
                  <a:pt x="83" y="7"/>
                </a:cubicBezTo>
                <a:cubicBezTo>
                  <a:pt x="83" y="8"/>
                  <a:pt x="83" y="8"/>
                  <a:pt x="83" y="8"/>
                </a:cubicBezTo>
                <a:cubicBezTo>
                  <a:pt x="84" y="6"/>
                  <a:pt x="84" y="6"/>
                  <a:pt x="84" y="6"/>
                </a:cubicBezTo>
                <a:cubicBezTo>
                  <a:pt x="85" y="7"/>
                  <a:pt x="85" y="7"/>
                  <a:pt x="85" y="7"/>
                </a:cubicBezTo>
                <a:cubicBezTo>
                  <a:pt x="87" y="5"/>
                  <a:pt x="87" y="5"/>
                  <a:pt x="87" y="5"/>
                </a:cubicBezTo>
                <a:cubicBezTo>
                  <a:pt x="87" y="6"/>
                  <a:pt x="87" y="6"/>
                  <a:pt x="87" y="6"/>
                </a:cubicBezTo>
                <a:cubicBezTo>
                  <a:pt x="84" y="9"/>
                  <a:pt x="84" y="9"/>
                  <a:pt x="84" y="9"/>
                </a:cubicBezTo>
                <a:close/>
                <a:moveTo>
                  <a:pt x="88" y="6"/>
                </a:moveTo>
                <a:cubicBezTo>
                  <a:pt x="88" y="6"/>
                  <a:pt x="89" y="6"/>
                  <a:pt x="89" y="6"/>
                </a:cubicBezTo>
                <a:cubicBezTo>
                  <a:pt x="91" y="7"/>
                  <a:pt x="91" y="7"/>
                  <a:pt x="91" y="7"/>
                </a:cubicBezTo>
                <a:cubicBezTo>
                  <a:pt x="90" y="8"/>
                  <a:pt x="90" y="8"/>
                  <a:pt x="90" y="8"/>
                </a:cubicBezTo>
                <a:cubicBezTo>
                  <a:pt x="89" y="9"/>
                  <a:pt x="89" y="9"/>
                  <a:pt x="89" y="9"/>
                </a:cubicBezTo>
                <a:cubicBezTo>
                  <a:pt x="89" y="7"/>
                  <a:pt x="89" y="7"/>
                  <a:pt x="89" y="7"/>
                </a:cubicBezTo>
                <a:cubicBezTo>
                  <a:pt x="88" y="6"/>
                  <a:pt x="88" y="6"/>
                  <a:pt x="88" y="6"/>
                </a:cubicBezTo>
                <a:close/>
                <a:moveTo>
                  <a:pt x="91" y="3"/>
                </a:moveTo>
                <a:cubicBezTo>
                  <a:pt x="91" y="4"/>
                  <a:pt x="91" y="4"/>
                  <a:pt x="91" y="4"/>
                </a:cubicBezTo>
                <a:cubicBezTo>
                  <a:pt x="90" y="4"/>
                  <a:pt x="90" y="4"/>
                  <a:pt x="90" y="4"/>
                </a:cubicBezTo>
                <a:cubicBezTo>
                  <a:pt x="89" y="3"/>
                  <a:pt x="89" y="3"/>
                  <a:pt x="89" y="3"/>
                </a:cubicBezTo>
                <a:cubicBezTo>
                  <a:pt x="90" y="3"/>
                  <a:pt x="90" y="3"/>
                  <a:pt x="90" y="3"/>
                </a:cubicBezTo>
                <a:cubicBezTo>
                  <a:pt x="91" y="3"/>
                  <a:pt x="91" y="3"/>
                  <a:pt x="91" y="3"/>
                </a:cubicBezTo>
                <a:close/>
                <a:moveTo>
                  <a:pt x="94" y="2"/>
                </a:moveTo>
                <a:cubicBezTo>
                  <a:pt x="93" y="1"/>
                  <a:pt x="93" y="1"/>
                  <a:pt x="93" y="1"/>
                </a:cubicBezTo>
                <a:cubicBezTo>
                  <a:pt x="93" y="1"/>
                  <a:pt x="93" y="1"/>
                  <a:pt x="93" y="1"/>
                </a:cubicBezTo>
                <a:cubicBezTo>
                  <a:pt x="94" y="1"/>
                  <a:pt x="94" y="1"/>
                  <a:pt x="94" y="1"/>
                </a:cubicBezTo>
                <a:cubicBezTo>
                  <a:pt x="94" y="2"/>
                  <a:pt x="94" y="2"/>
                  <a:pt x="94" y="2"/>
                </a:cubicBezTo>
                <a:close/>
                <a:moveTo>
                  <a:pt x="96" y="2"/>
                </a:moveTo>
                <a:cubicBezTo>
                  <a:pt x="96" y="2"/>
                  <a:pt x="96" y="2"/>
                  <a:pt x="96" y="2"/>
                </a:cubicBezTo>
                <a:cubicBezTo>
                  <a:pt x="96" y="1"/>
                  <a:pt x="96" y="1"/>
                  <a:pt x="96" y="1"/>
                </a:cubicBezTo>
                <a:cubicBezTo>
                  <a:pt x="97" y="1"/>
                  <a:pt x="97" y="1"/>
                  <a:pt x="97" y="1"/>
                </a:cubicBezTo>
                <a:cubicBezTo>
                  <a:pt x="97" y="1"/>
                  <a:pt x="97" y="1"/>
                  <a:pt x="97" y="1"/>
                </a:cubicBezTo>
                <a:cubicBezTo>
                  <a:pt x="98" y="0"/>
                  <a:pt x="98" y="0"/>
                  <a:pt x="98" y="0"/>
                </a:cubicBezTo>
                <a:cubicBezTo>
                  <a:pt x="98" y="0"/>
                  <a:pt x="98" y="0"/>
                  <a:pt x="98" y="0"/>
                </a:cubicBezTo>
                <a:cubicBezTo>
                  <a:pt x="99" y="1"/>
                  <a:pt x="99" y="1"/>
                  <a:pt x="99" y="1"/>
                </a:cubicBezTo>
                <a:cubicBezTo>
                  <a:pt x="99" y="2"/>
                  <a:pt x="99" y="2"/>
                  <a:pt x="99" y="2"/>
                </a:cubicBezTo>
                <a:cubicBezTo>
                  <a:pt x="100" y="2"/>
                  <a:pt x="100" y="2"/>
                  <a:pt x="100" y="2"/>
                </a:cubicBezTo>
                <a:cubicBezTo>
                  <a:pt x="99" y="3"/>
                  <a:pt x="99" y="3"/>
                  <a:pt x="99" y="3"/>
                </a:cubicBezTo>
                <a:cubicBezTo>
                  <a:pt x="98" y="3"/>
                  <a:pt x="98" y="3"/>
                  <a:pt x="98" y="3"/>
                </a:cubicBezTo>
                <a:cubicBezTo>
                  <a:pt x="97" y="2"/>
                  <a:pt x="97" y="2"/>
                  <a:pt x="97" y="2"/>
                </a:cubicBezTo>
                <a:lnTo>
                  <a:pt x="96" y="2"/>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6" name="Freeform 44">
            <a:extLst>
              <a:ext uri="{FF2B5EF4-FFF2-40B4-BE49-F238E27FC236}">
                <a16:creationId xmlns:a16="http://schemas.microsoft.com/office/drawing/2014/main" id="{89FD7F2F-CD13-1839-AFAF-B688873840D2}"/>
              </a:ext>
            </a:extLst>
          </p:cNvPr>
          <p:cNvSpPr>
            <a:spLocks noEditPoints="1"/>
          </p:cNvSpPr>
          <p:nvPr userDrawn="1"/>
        </p:nvSpPr>
        <p:spPr bwMode="auto">
          <a:xfrm>
            <a:off x="13743678" y="4091856"/>
            <a:ext cx="615910" cy="1400176"/>
          </a:xfrm>
          <a:custGeom>
            <a:avLst/>
            <a:gdLst>
              <a:gd name="T0" fmla="*/ 7 w 194"/>
              <a:gd name="T1" fmla="*/ 319 h 441"/>
              <a:gd name="T2" fmla="*/ 19 w 194"/>
              <a:gd name="T3" fmla="*/ 297 h 441"/>
              <a:gd name="T4" fmla="*/ 22 w 194"/>
              <a:gd name="T5" fmla="*/ 260 h 441"/>
              <a:gd name="T6" fmla="*/ 10 w 194"/>
              <a:gd name="T7" fmla="*/ 216 h 441"/>
              <a:gd name="T8" fmla="*/ 28 w 194"/>
              <a:gd name="T9" fmla="*/ 179 h 441"/>
              <a:gd name="T10" fmla="*/ 38 w 194"/>
              <a:gd name="T11" fmla="*/ 125 h 441"/>
              <a:gd name="T12" fmla="*/ 53 w 194"/>
              <a:gd name="T13" fmla="*/ 97 h 441"/>
              <a:gd name="T14" fmla="*/ 63 w 194"/>
              <a:gd name="T15" fmla="*/ 57 h 441"/>
              <a:gd name="T16" fmla="*/ 85 w 194"/>
              <a:gd name="T17" fmla="*/ 38 h 441"/>
              <a:gd name="T18" fmla="*/ 91 w 194"/>
              <a:gd name="T19" fmla="*/ 25 h 441"/>
              <a:gd name="T20" fmla="*/ 116 w 194"/>
              <a:gd name="T21" fmla="*/ 22 h 441"/>
              <a:gd name="T22" fmla="*/ 122 w 194"/>
              <a:gd name="T23" fmla="*/ 10 h 441"/>
              <a:gd name="T24" fmla="*/ 132 w 194"/>
              <a:gd name="T25" fmla="*/ 3 h 441"/>
              <a:gd name="T26" fmla="*/ 166 w 194"/>
              <a:gd name="T27" fmla="*/ 25 h 441"/>
              <a:gd name="T28" fmla="*/ 178 w 194"/>
              <a:gd name="T29" fmla="*/ 41 h 441"/>
              <a:gd name="T30" fmla="*/ 182 w 194"/>
              <a:gd name="T31" fmla="*/ 66 h 441"/>
              <a:gd name="T32" fmla="*/ 188 w 194"/>
              <a:gd name="T33" fmla="*/ 100 h 441"/>
              <a:gd name="T34" fmla="*/ 188 w 194"/>
              <a:gd name="T35" fmla="*/ 116 h 441"/>
              <a:gd name="T36" fmla="*/ 169 w 194"/>
              <a:gd name="T37" fmla="*/ 116 h 441"/>
              <a:gd name="T38" fmla="*/ 157 w 194"/>
              <a:gd name="T39" fmla="*/ 119 h 441"/>
              <a:gd name="T40" fmla="*/ 157 w 194"/>
              <a:gd name="T41" fmla="*/ 135 h 441"/>
              <a:gd name="T42" fmla="*/ 157 w 194"/>
              <a:gd name="T43" fmla="*/ 138 h 441"/>
              <a:gd name="T44" fmla="*/ 157 w 194"/>
              <a:gd name="T45" fmla="*/ 157 h 441"/>
              <a:gd name="T46" fmla="*/ 150 w 194"/>
              <a:gd name="T47" fmla="*/ 175 h 441"/>
              <a:gd name="T48" fmla="*/ 135 w 194"/>
              <a:gd name="T49" fmla="*/ 194 h 441"/>
              <a:gd name="T50" fmla="*/ 122 w 194"/>
              <a:gd name="T51" fmla="*/ 207 h 441"/>
              <a:gd name="T52" fmla="*/ 110 w 194"/>
              <a:gd name="T53" fmla="*/ 210 h 441"/>
              <a:gd name="T54" fmla="*/ 100 w 194"/>
              <a:gd name="T55" fmla="*/ 229 h 441"/>
              <a:gd name="T56" fmla="*/ 97 w 194"/>
              <a:gd name="T57" fmla="*/ 250 h 441"/>
              <a:gd name="T58" fmla="*/ 97 w 194"/>
              <a:gd name="T59" fmla="*/ 266 h 441"/>
              <a:gd name="T60" fmla="*/ 100 w 194"/>
              <a:gd name="T61" fmla="*/ 285 h 441"/>
              <a:gd name="T62" fmla="*/ 119 w 194"/>
              <a:gd name="T63" fmla="*/ 297 h 441"/>
              <a:gd name="T64" fmla="*/ 119 w 194"/>
              <a:gd name="T65" fmla="*/ 326 h 441"/>
              <a:gd name="T66" fmla="*/ 100 w 194"/>
              <a:gd name="T67" fmla="*/ 319 h 441"/>
              <a:gd name="T68" fmla="*/ 85 w 194"/>
              <a:gd name="T69" fmla="*/ 322 h 441"/>
              <a:gd name="T70" fmla="*/ 97 w 194"/>
              <a:gd name="T71" fmla="*/ 326 h 441"/>
              <a:gd name="T72" fmla="*/ 119 w 194"/>
              <a:gd name="T73" fmla="*/ 332 h 441"/>
              <a:gd name="T74" fmla="*/ 110 w 194"/>
              <a:gd name="T75" fmla="*/ 335 h 441"/>
              <a:gd name="T76" fmla="*/ 97 w 194"/>
              <a:gd name="T77" fmla="*/ 347 h 441"/>
              <a:gd name="T78" fmla="*/ 91 w 194"/>
              <a:gd name="T79" fmla="*/ 357 h 441"/>
              <a:gd name="T80" fmla="*/ 94 w 194"/>
              <a:gd name="T81" fmla="*/ 372 h 441"/>
              <a:gd name="T82" fmla="*/ 94 w 194"/>
              <a:gd name="T83" fmla="*/ 397 h 441"/>
              <a:gd name="T84" fmla="*/ 78 w 194"/>
              <a:gd name="T85" fmla="*/ 419 h 441"/>
              <a:gd name="T86" fmla="*/ 57 w 194"/>
              <a:gd name="T87" fmla="*/ 435 h 441"/>
              <a:gd name="T88" fmla="*/ 35 w 194"/>
              <a:gd name="T89" fmla="*/ 438 h 441"/>
              <a:gd name="T90" fmla="*/ 35 w 194"/>
              <a:gd name="T91" fmla="*/ 413 h 441"/>
              <a:gd name="T92" fmla="*/ 16 w 194"/>
              <a:gd name="T93" fmla="*/ 388 h 441"/>
              <a:gd name="T94" fmla="*/ 10 w 194"/>
              <a:gd name="T95" fmla="*/ 369 h 441"/>
              <a:gd name="T96" fmla="*/ 7 w 194"/>
              <a:gd name="T97" fmla="*/ 360 h 441"/>
              <a:gd name="T98" fmla="*/ 0 w 194"/>
              <a:gd name="T99" fmla="*/ 347 h 441"/>
              <a:gd name="T100" fmla="*/ 122 w 194"/>
              <a:gd name="T101" fmla="*/ 332 h 441"/>
              <a:gd name="T102" fmla="*/ 7 w 194"/>
              <a:gd name="T103" fmla="*/ 366 h 441"/>
              <a:gd name="T104" fmla="*/ 138 w 194"/>
              <a:gd name="T105" fmla="*/ 357 h 441"/>
              <a:gd name="T106" fmla="*/ 141 w 194"/>
              <a:gd name="T107" fmla="*/ 372 h 441"/>
              <a:gd name="T108" fmla="*/ 128 w 194"/>
              <a:gd name="T109" fmla="*/ 401 h 441"/>
              <a:gd name="T110" fmla="*/ 135 w 194"/>
              <a:gd name="T111" fmla="*/ 385 h 441"/>
              <a:gd name="T112" fmla="*/ 128 w 194"/>
              <a:gd name="T113" fmla="*/ 376 h 441"/>
              <a:gd name="T114" fmla="*/ 125 w 194"/>
              <a:gd name="T115" fmla="*/ 394 h 441"/>
              <a:gd name="T116" fmla="*/ 94 w 194"/>
              <a:gd name="T117" fmla="*/ 419 h 441"/>
              <a:gd name="T118" fmla="*/ 100 w 194"/>
              <a:gd name="T119" fmla="*/ 39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4" h="441">
                <a:moveTo>
                  <a:pt x="3" y="338"/>
                </a:moveTo>
                <a:lnTo>
                  <a:pt x="7" y="341"/>
                </a:lnTo>
                <a:lnTo>
                  <a:pt x="7" y="344"/>
                </a:lnTo>
                <a:lnTo>
                  <a:pt x="10" y="341"/>
                </a:lnTo>
                <a:lnTo>
                  <a:pt x="10" y="329"/>
                </a:lnTo>
                <a:lnTo>
                  <a:pt x="7" y="322"/>
                </a:lnTo>
                <a:lnTo>
                  <a:pt x="7" y="319"/>
                </a:lnTo>
                <a:lnTo>
                  <a:pt x="10" y="316"/>
                </a:lnTo>
                <a:lnTo>
                  <a:pt x="10" y="313"/>
                </a:lnTo>
                <a:lnTo>
                  <a:pt x="10" y="310"/>
                </a:lnTo>
                <a:lnTo>
                  <a:pt x="16" y="310"/>
                </a:lnTo>
                <a:lnTo>
                  <a:pt x="16" y="307"/>
                </a:lnTo>
                <a:lnTo>
                  <a:pt x="16" y="304"/>
                </a:lnTo>
                <a:lnTo>
                  <a:pt x="19" y="297"/>
                </a:lnTo>
                <a:lnTo>
                  <a:pt x="16" y="294"/>
                </a:lnTo>
                <a:lnTo>
                  <a:pt x="16" y="285"/>
                </a:lnTo>
                <a:lnTo>
                  <a:pt x="13" y="279"/>
                </a:lnTo>
                <a:lnTo>
                  <a:pt x="13" y="275"/>
                </a:lnTo>
                <a:lnTo>
                  <a:pt x="22" y="272"/>
                </a:lnTo>
                <a:lnTo>
                  <a:pt x="22" y="266"/>
                </a:lnTo>
                <a:lnTo>
                  <a:pt x="22" y="260"/>
                </a:lnTo>
                <a:lnTo>
                  <a:pt x="16" y="254"/>
                </a:lnTo>
                <a:lnTo>
                  <a:pt x="10" y="250"/>
                </a:lnTo>
                <a:lnTo>
                  <a:pt x="10" y="244"/>
                </a:lnTo>
                <a:lnTo>
                  <a:pt x="13" y="235"/>
                </a:lnTo>
                <a:lnTo>
                  <a:pt x="10" y="229"/>
                </a:lnTo>
                <a:lnTo>
                  <a:pt x="10" y="222"/>
                </a:lnTo>
                <a:lnTo>
                  <a:pt x="10" y="216"/>
                </a:lnTo>
                <a:lnTo>
                  <a:pt x="10" y="207"/>
                </a:lnTo>
                <a:lnTo>
                  <a:pt x="7" y="197"/>
                </a:lnTo>
                <a:lnTo>
                  <a:pt x="10" y="188"/>
                </a:lnTo>
                <a:lnTo>
                  <a:pt x="13" y="179"/>
                </a:lnTo>
                <a:lnTo>
                  <a:pt x="16" y="175"/>
                </a:lnTo>
                <a:lnTo>
                  <a:pt x="22" y="179"/>
                </a:lnTo>
                <a:lnTo>
                  <a:pt x="28" y="179"/>
                </a:lnTo>
                <a:lnTo>
                  <a:pt x="32" y="172"/>
                </a:lnTo>
                <a:lnTo>
                  <a:pt x="32" y="166"/>
                </a:lnTo>
                <a:lnTo>
                  <a:pt x="32" y="163"/>
                </a:lnTo>
                <a:lnTo>
                  <a:pt x="32" y="160"/>
                </a:lnTo>
                <a:lnTo>
                  <a:pt x="38" y="141"/>
                </a:lnTo>
                <a:lnTo>
                  <a:pt x="38" y="132"/>
                </a:lnTo>
                <a:lnTo>
                  <a:pt x="38" y="125"/>
                </a:lnTo>
                <a:lnTo>
                  <a:pt x="41" y="119"/>
                </a:lnTo>
                <a:lnTo>
                  <a:pt x="41" y="113"/>
                </a:lnTo>
                <a:lnTo>
                  <a:pt x="38" y="110"/>
                </a:lnTo>
                <a:lnTo>
                  <a:pt x="38" y="107"/>
                </a:lnTo>
                <a:lnTo>
                  <a:pt x="44" y="103"/>
                </a:lnTo>
                <a:lnTo>
                  <a:pt x="50" y="100"/>
                </a:lnTo>
                <a:lnTo>
                  <a:pt x="53" y="97"/>
                </a:lnTo>
                <a:lnTo>
                  <a:pt x="53" y="94"/>
                </a:lnTo>
                <a:lnTo>
                  <a:pt x="60" y="85"/>
                </a:lnTo>
                <a:lnTo>
                  <a:pt x="66" y="78"/>
                </a:lnTo>
                <a:lnTo>
                  <a:pt x="66" y="72"/>
                </a:lnTo>
                <a:lnTo>
                  <a:pt x="66" y="66"/>
                </a:lnTo>
                <a:lnTo>
                  <a:pt x="63" y="66"/>
                </a:lnTo>
                <a:lnTo>
                  <a:pt x="63" y="57"/>
                </a:lnTo>
                <a:lnTo>
                  <a:pt x="66" y="53"/>
                </a:lnTo>
                <a:lnTo>
                  <a:pt x="69" y="50"/>
                </a:lnTo>
                <a:lnTo>
                  <a:pt x="69" y="47"/>
                </a:lnTo>
                <a:lnTo>
                  <a:pt x="72" y="44"/>
                </a:lnTo>
                <a:lnTo>
                  <a:pt x="75" y="38"/>
                </a:lnTo>
                <a:lnTo>
                  <a:pt x="78" y="35"/>
                </a:lnTo>
                <a:lnTo>
                  <a:pt x="85" y="38"/>
                </a:lnTo>
                <a:lnTo>
                  <a:pt x="85" y="41"/>
                </a:lnTo>
                <a:lnTo>
                  <a:pt x="88" y="38"/>
                </a:lnTo>
                <a:lnTo>
                  <a:pt x="91" y="38"/>
                </a:lnTo>
                <a:lnTo>
                  <a:pt x="88" y="31"/>
                </a:lnTo>
                <a:lnTo>
                  <a:pt x="91" y="31"/>
                </a:lnTo>
                <a:lnTo>
                  <a:pt x="91" y="28"/>
                </a:lnTo>
                <a:lnTo>
                  <a:pt x="91" y="25"/>
                </a:lnTo>
                <a:lnTo>
                  <a:pt x="88" y="22"/>
                </a:lnTo>
                <a:lnTo>
                  <a:pt x="91" y="19"/>
                </a:lnTo>
                <a:lnTo>
                  <a:pt x="97" y="19"/>
                </a:lnTo>
                <a:lnTo>
                  <a:pt x="100" y="16"/>
                </a:lnTo>
                <a:lnTo>
                  <a:pt x="107" y="19"/>
                </a:lnTo>
                <a:lnTo>
                  <a:pt x="110" y="22"/>
                </a:lnTo>
                <a:lnTo>
                  <a:pt x="116" y="22"/>
                </a:lnTo>
                <a:lnTo>
                  <a:pt x="119" y="25"/>
                </a:lnTo>
                <a:lnTo>
                  <a:pt x="119" y="22"/>
                </a:lnTo>
                <a:lnTo>
                  <a:pt x="122" y="25"/>
                </a:lnTo>
                <a:lnTo>
                  <a:pt x="122" y="19"/>
                </a:lnTo>
                <a:lnTo>
                  <a:pt x="119" y="16"/>
                </a:lnTo>
                <a:lnTo>
                  <a:pt x="119" y="10"/>
                </a:lnTo>
                <a:lnTo>
                  <a:pt x="122" y="10"/>
                </a:lnTo>
                <a:lnTo>
                  <a:pt x="122" y="6"/>
                </a:lnTo>
                <a:lnTo>
                  <a:pt x="119" y="3"/>
                </a:lnTo>
                <a:lnTo>
                  <a:pt x="119" y="0"/>
                </a:lnTo>
                <a:lnTo>
                  <a:pt x="122" y="0"/>
                </a:lnTo>
                <a:lnTo>
                  <a:pt x="128" y="0"/>
                </a:lnTo>
                <a:lnTo>
                  <a:pt x="128" y="0"/>
                </a:lnTo>
                <a:lnTo>
                  <a:pt x="132" y="3"/>
                </a:lnTo>
                <a:lnTo>
                  <a:pt x="138" y="6"/>
                </a:lnTo>
                <a:lnTo>
                  <a:pt x="144" y="13"/>
                </a:lnTo>
                <a:lnTo>
                  <a:pt x="150" y="16"/>
                </a:lnTo>
                <a:lnTo>
                  <a:pt x="157" y="19"/>
                </a:lnTo>
                <a:lnTo>
                  <a:pt x="160" y="19"/>
                </a:lnTo>
                <a:lnTo>
                  <a:pt x="163" y="19"/>
                </a:lnTo>
                <a:lnTo>
                  <a:pt x="166" y="25"/>
                </a:lnTo>
                <a:lnTo>
                  <a:pt x="169" y="28"/>
                </a:lnTo>
                <a:lnTo>
                  <a:pt x="169" y="28"/>
                </a:lnTo>
                <a:lnTo>
                  <a:pt x="172" y="28"/>
                </a:lnTo>
                <a:lnTo>
                  <a:pt x="175" y="35"/>
                </a:lnTo>
                <a:lnTo>
                  <a:pt x="178" y="35"/>
                </a:lnTo>
                <a:lnTo>
                  <a:pt x="178" y="38"/>
                </a:lnTo>
                <a:lnTo>
                  <a:pt x="178" y="41"/>
                </a:lnTo>
                <a:lnTo>
                  <a:pt x="178" y="44"/>
                </a:lnTo>
                <a:lnTo>
                  <a:pt x="175" y="50"/>
                </a:lnTo>
                <a:lnTo>
                  <a:pt x="178" y="53"/>
                </a:lnTo>
                <a:lnTo>
                  <a:pt x="182" y="53"/>
                </a:lnTo>
                <a:lnTo>
                  <a:pt x="185" y="60"/>
                </a:lnTo>
                <a:lnTo>
                  <a:pt x="182" y="63"/>
                </a:lnTo>
                <a:lnTo>
                  <a:pt x="182" y="66"/>
                </a:lnTo>
                <a:lnTo>
                  <a:pt x="185" y="69"/>
                </a:lnTo>
                <a:lnTo>
                  <a:pt x="185" y="78"/>
                </a:lnTo>
                <a:lnTo>
                  <a:pt x="185" y="82"/>
                </a:lnTo>
                <a:lnTo>
                  <a:pt x="185" y="85"/>
                </a:lnTo>
                <a:lnTo>
                  <a:pt x="185" y="91"/>
                </a:lnTo>
                <a:lnTo>
                  <a:pt x="185" y="94"/>
                </a:lnTo>
                <a:lnTo>
                  <a:pt x="188" y="100"/>
                </a:lnTo>
                <a:lnTo>
                  <a:pt x="191" y="100"/>
                </a:lnTo>
                <a:lnTo>
                  <a:pt x="194" y="107"/>
                </a:lnTo>
                <a:lnTo>
                  <a:pt x="194" y="110"/>
                </a:lnTo>
                <a:lnTo>
                  <a:pt x="194" y="116"/>
                </a:lnTo>
                <a:lnTo>
                  <a:pt x="194" y="116"/>
                </a:lnTo>
                <a:lnTo>
                  <a:pt x="194" y="116"/>
                </a:lnTo>
                <a:lnTo>
                  <a:pt x="188" y="116"/>
                </a:lnTo>
                <a:lnTo>
                  <a:pt x="188" y="113"/>
                </a:lnTo>
                <a:lnTo>
                  <a:pt x="182" y="116"/>
                </a:lnTo>
                <a:lnTo>
                  <a:pt x="178" y="116"/>
                </a:lnTo>
                <a:lnTo>
                  <a:pt x="178" y="119"/>
                </a:lnTo>
                <a:lnTo>
                  <a:pt x="175" y="116"/>
                </a:lnTo>
                <a:lnTo>
                  <a:pt x="172" y="113"/>
                </a:lnTo>
                <a:lnTo>
                  <a:pt x="169" y="116"/>
                </a:lnTo>
                <a:lnTo>
                  <a:pt x="166" y="113"/>
                </a:lnTo>
                <a:lnTo>
                  <a:pt x="166" y="116"/>
                </a:lnTo>
                <a:lnTo>
                  <a:pt x="166" y="119"/>
                </a:lnTo>
                <a:lnTo>
                  <a:pt x="163" y="122"/>
                </a:lnTo>
                <a:lnTo>
                  <a:pt x="160" y="122"/>
                </a:lnTo>
                <a:lnTo>
                  <a:pt x="160" y="119"/>
                </a:lnTo>
                <a:lnTo>
                  <a:pt x="157" y="119"/>
                </a:lnTo>
                <a:lnTo>
                  <a:pt x="160" y="122"/>
                </a:lnTo>
                <a:lnTo>
                  <a:pt x="160" y="125"/>
                </a:lnTo>
                <a:lnTo>
                  <a:pt x="157" y="128"/>
                </a:lnTo>
                <a:lnTo>
                  <a:pt x="153" y="128"/>
                </a:lnTo>
                <a:lnTo>
                  <a:pt x="150" y="128"/>
                </a:lnTo>
                <a:lnTo>
                  <a:pt x="157" y="132"/>
                </a:lnTo>
                <a:lnTo>
                  <a:pt x="157" y="135"/>
                </a:lnTo>
                <a:lnTo>
                  <a:pt x="153" y="135"/>
                </a:lnTo>
                <a:lnTo>
                  <a:pt x="153" y="132"/>
                </a:lnTo>
                <a:lnTo>
                  <a:pt x="150" y="132"/>
                </a:lnTo>
                <a:lnTo>
                  <a:pt x="150" y="132"/>
                </a:lnTo>
                <a:lnTo>
                  <a:pt x="150" y="135"/>
                </a:lnTo>
                <a:lnTo>
                  <a:pt x="153" y="135"/>
                </a:lnTo>
                <a:lnTo>
                  <a:pt x="157" y="138"/>
                </a:lnTo>
                <a:lnTo>
                  <a:pt x="153" y="141"/>
                </a:lnTo>
                <a:lnTo>
                  <a:pt x="150" y="147"/>
                </a:lnTo>
                <a:lnTo>
                  <a:pt x="153" y="150"/>
                </a:lnTo>
                <a:lnTo>
                  <a:pt x="147" y="150"/>
                </a:lnTo>
                <a:lnTo>
                  <a:pt x="150" y="153"/>
                </a:lnTo>
                <a:lnTo>
                  <a:pt x="153" y="153"/>
                </a:lnTo>
                <a:lnTo>
                  <a:pt x="157" y="157"/>
                </a:lnTo>
                <a:lnTo>
                  <a:pt x="153" y="157"/>
                </a:lnTo>
                <a:lnTo>
                  <a:pt x="157" y="160"/>
                </a:lnTo>
                <a:lnTo>
                  <a:pt x="160" y="160"/>
                </a:lnTo>
                <a:lnTo>
                  <a:pt x="153" y="166"/>
                </a:lnTo>
                <a:lnTo>
                  <a:pt x="153" y="166"/>
                </a:lnTo>
                <a:lnTo>
                  <a:pt x="150" y="169"/>
                </a:lnTo>
                <a:lnTo>
                  <a:pt x="150" y="175"/>
                </a:lnTo>
                <a:lnTo>
                  <a:pt x="147" y="182"/>
                </a:lnTo>
                <a:lnTo>
                  <a:pt x="144" y="182"/>
                </a:lnTo>
                <a:lnTo>
                  <a:pt x="141" y="188"/>
                </a:lnTo>
                <a:lnTo>
                  <a:pt x="138" y="185"/>
                </a:lnTo>
                <a:lnTo>
                  <a:pt x="138" y="188"/>
                </a:lnTo>
                <a:lnTo>
                  <a:pt x="138" y="191"/>
                </a:lnTo>
                <a:lnTo>
                  <a:pt x="135" y="194"/>
                </a:lnTo>
                <a:lnTo>
                  <a:pt x="132" y="197"/>
                </a:lnTo>
                <a:lnTo>
                  <a:pt x="128" y="197"/>
                </a:lnTo>
                <a:lnTo>
                  <a:pt x="128" y="194"/>
                </a:lnTo>
                <a:lnTo>
                  <a:pt x="125" y="194"/>
                </a:lnTo>
                <a:lnTo>
                  <a:pt x="125" y="197"/>
                </a:lnTo>
                <a:lnTo>
                  <a:pt x="125" y="204"/>
                </a:lnTo>
                <a:lnTo>
                  <a:pt x="122" y="207"/>
                </a:lnTo>
                <a:lnTo>
                  <a:pt x="119" y="204"/>
                </a:lnTo>
                <a:lnTo>
                  <a:pt x="119" y="204"/>
                </a:lnTo>
                <a:lnTo>
                  <a:pt x="116" y="207"/>
                </a:lnTo>
                <a:lnTo>
                  <a:pt x="116" y="207"/>
                </a:lnTo>
                <a:lnTo>
                  <a:pt x="113" y="207"/>
                </a:lnTo>
                <a:lnTo>
                  <a:pt x="110" y="207"/>
                </a:lnTo>
                <a:lnTo>
                  <a:pt x="110" y="210"/>
                </a:lnTo>
                <a:lnTo>
                  <a:pt x="113" y="213"/>
                </a:lnTo>
                <a:lnTo>
                  <a:pt x="113" y="213"/>
                </a:lnTo>
                <a:lnTo>
                  <a:pt x="107" y="219"/>
                </a:lnTo>
                <a:lnTo>
                  <a:pt x="103" y="219"/>
                </a:lnTo>
                <a:lnTo>
                  <a:pt x="103" y="219"/>
                </a:lnTo>
                <a:lnTo>
                  <a:pt x="103" y="222"/>
                </a:lnTo>
                <a:lnTo>
                  <a:pt x="100" y="229"/>
                </a:lnTo>
                <a:lnTo>
                  <a:pt x="94" y="229"/>
                </a:lnTo>
                <a:lnTo>
                  <a:pt x="91" y="229"/>
                </a:lnTo>
                <a:lnTo>
                  <a:pt x="97" y="235"/>
                </a:lnTo>
                <a:lnTo>
                  <a:pt x="97" y="238"/>
                </a:lnTo>
                <a:lnTo>
                  <a:pt x="97" y="241"/>
                </a:lnTo>
                <a:lnTo>
                  <a:pt x="97" y="244"/>
                </a:lnTo>
                <a:lnTo>
                  <a:pt x="97" y="250"/>
                </a:lnTo>
                <a:lnTo>
                  <a:pt x="97" y="254"/>
                </a:lnTo>
                <a:lnTo>
                  <a:pt x="97" y="257"/>
                </a:lnTo>
                <a:lnTo>
                  <a:pt x="97" y="254"/>
                </a:lnTo>
                <a:lnTo>
                  <a:pt x="94" y="257"/>
                </a:lnTo>
                <a:lnTo>
                  <a:pt x="97" y="263"/>
                </a:lnTo>
                <a:lnTo>
                  <a:pt x="94" y="266"/>
                </a:lnTo>
                <a:lnTo>
                  <a:pt x="97" y="266"/>
                </a:lnTo>
                <a:lnTo>
                  <a:pt x="97" y="269"/>
                </a:lnTo>
                <a:lnTo>
                  <a:pt x="94" y="269"/>
                </a:lnTo>
                <a:lnTo>
                  <a:pt x="97" y="275"/>
                </a:lnTo>
                <a:lnTo>
                  <a:pt x="94" y="279"/>
                </a:lnTo>
                <a:lnTo>
                  <a:pt x="97" y="282"/>
                </a:lnTo>
                <a:lnTo>
                  <a:pt x="97" y="282"/>
                </a:lnTo>
                <a:lnTo>
                  <a:pt x="100" y="285"/>
                </a:lnTo>
                <a:lnTo>
                  <a:pt x="100" y="288"/>
                </a:lnTo>
                <a:lnTo>
                  <a:pt x="103" y="285"/>
                </a:lnTo>
                <a:lnTo>
                  <a:pt x="103" y="291"/>
                </a:lnTo>
                <a:lnTo>
                  <a:pt x="107" y="285"/>
                </a:lnTo>
                <a:lnTo>
                  <a:pt x="110" y="288"/>
                </a:lnTo>
                <a:lnTo>
                  <a:pt x="113" y="291"/>
                </a:lnTo>
                <a:lnTo>
                  <a:pt x="119" y="297"/>
                </a:lnTo>
                <a:lnTo>
                  <a:pt x="116" y="301"/>
                </a:lnTo>
                <a:lnTo>
                  <a:pt x="122" y="304"/>
                </a:lnTo>
                <a:lnTo>
                  <a:pt x="122" y="307"/>
                </a:lnTo>
                <a:lnTo>
                  <a:pt x="128" y="310"/>
                </a:lnTo>
                <a:lnTo>
                  <a:pt x="125" y="316"/>
                </a:lnTo>
                <a:lnTo>
                  <a:pt x="119" y="319"/>
                </a:lnTo>
                <a:lnTo>
                  <a:pt x="119" y="326"/>
                </a:lnTo>
                <a:lnTo>
                  <a:pt x="113" y="326"/>
                </a:lnTo>
                <a:lnTo>
                  <a:pt x="110" y="322"/>
                </a:lnTo>
                <a:lnTo>
                  <a:pt x="110" y="322"/>
                </a:lnTo>
                <a:lnTo>
                  <a:pt x="107" y="319"/>
                </a:lnTo>
                <a:lnTo>
                  <a:pt x="103" y="319"/>
                </a:lnTo>
                <a:lnTo>
                  <a:pt x="103" y="319"/>
                </a:lnTo>
                <a:lnTo>
                  <a:pt x="100" y="319"/>
                </a:lnTo>
                <a:lnTo>
                  <a:pt x="100" y="319"/>
                </a:lnTo>
                <a:lnTo>
                  <a:pt x="97" y="319"/>
                </a:lnTo>
                <a:lnTo>
                  <a:pt x="94" y="319"/>
                </a:lnTo>
                <a:lnTo>
                  <a:pt x="91" y="322"/>
                </a:lnTo>
                <a:lnTo>
                  <a:pt x="91" y="319"/>
                </a:lnTo>
                <a:lnTo>
                  <a:pt x="88" y="322"/>
                </a:lnTo>
                <a:lnTo>
                  <a:pt x="85" y="322"/>
                </a:lnTo>
                <a:lnTo>
                  <a:pt x="82" y="322"/>
                </a:lnTo>
                <a:lnTo>
                  <a:pt x="82" y="326"/>
                </a:lnTo>
                <a:lnTo>
                  <a:pt x="88" y="326"/>
                </a:lnTo>
                <a:lnTo>
                  <a:pt x="88" y="326"/>
                </a:lnTo>
                <a:lnTo>
                  <a:pt x="88" y="326"/>
                </a:lnTo>
                <a:lnTo>
                  <a:pt x="94" y="326"/>
                </a:lnTo>
                <a:lnTo>
                  <a:pt x="97" y="326"/>
                </a:lnTo>
                <a:lnTo>
                  <a:pt x="100" y="326"/>
                </a:lnTo>
                <a:lnTo>
                  <a:pt x="103" y="329"/>
                </a:lnTo>
                <a:lnTo>
                  <a:pt x="107" y="329"/>
                </a:lnTo>
                <a:lnTo>
                  <a:pt x="110" y="329"/>
                </a:lnTo>
                <a:lnTo>
                  <a:pt x="113" y="326"/>
                </a:lnTo>
                <a:lnTo>
                  <a:pt x="116" y="329"/>
                </a:lnTo>
                <a:lnTo>
                  <a:pt x="119" y="332"/>
                </a:lnTo>
                <a:lnTo>
                  <a:pt x="119" y="335"/>
                </a:lnTo>
                <a:lnTo>
                  <a:pt x="116" y="335"/>
                </a:lnTo>
                <a:lnTo>
                  <a:pt x="116" y="335"/>
                </a:lnTo>
                <a:lnTo>
                  <a:pt x="110" y="341"/>
                </a:lnTo>
                <a:lnTo>
                  <a:pt x="110" y="341"/>
                </a:lnTo>
                <a:lnTo>
                  <a:pt x="110" y="338"/>
                </a:lnTo>
                <a:lnTo>
                  <a:pt x="110" y="335"/>
                </a:lnTo>
                <a:lnTo>
                  <a:pt x="107" y="338"/>
                </a:lnTo>
                <a:lnTo>
                  <a:pt x="107" y="341"/>
                </a:lnTo>
                <a:lnTo>
                  <a:pt x="103" y="341"/>
                </a:lnTo>
                <a:lnTo>
                  <a:pt x="103" y="344"/>
                </a:lnTo>
                <a:lnTo>
                  <a:pt x="100" y="347"/>
                </a:lnTo>
                <a:lnTo>
                  <a:pt x="97" y="344"/>
                </a:lnTo>
                <a:lnTo>
                  <a:pt x="97" y="347"/>
                </a:lnTo>
                <a:lnTo>
                  <a:pt x="97" y="351"/>
                </a:lnTo>
                <a:lnTo>
                  <a:pt x="94" y="351"/>
                </a:lnTo>
                <a:lnTo>
                  <a:pt x="94" y="351"/>
                </a:lnTo>
                <a:lnTo>
                  <a:pt x="91" y="351"/>
                </a:lnTo>
                <a:lnTo>
                  <a:pt x="94" y="354"/>
                </a:lnTo>
                <a:lnTo>
                  <a:pt x="97" y="357"/>
                </a:lnTo>
                <a:lnTo>
                  <a:pt x="91" y="357"/>
                </a:lnTo>
                <a:lnTo>
                  <a:pt x="97" y="360"/>
                </a:lnTo>
                <a:lnTo>
                  <a:pt x="97" y="360"/>
                </a:lnTo>
                <a:lnTo>
                  <a:pt x="94" y="366"/>
                </a:lnTo>
                <a:lnTo>
                  <a:pt x="100" y="369"/>
                </a:lnTo>
                <a:lnTo>
                  <a:pt x="94" y="369"/>
                </a:lnTo>
                <a:lnTo>
                  <a:pt x="91" y="369"/>
                </a:lnTo>
                <a:lnTo>
                  <a:pt x="94" y="372"/>
                </a:lnTo>
                <a:lnTo>
                  <a:pt x="91" y="376"/>
                </a:lnTo>
                <a:lnTo>
                  <a:pt x="94" y="379"/>
                </a:lnTo>
                <a:lnTo>
                  <a:pt x="91" y="382"/>
                </a:lnTo>
                <a:lnTo>
                  <a:pt x="94" y="385"/>
                </a:lnTo>
                <a:lnTo>
                  <a:pt x="91" y="388"/>
                </a:lnTo>
                <a:lnTo>
                  <a:pt x="91" y="394"/>
                </a:lnTo>
                <a:lnTo>
                  <a:pt x="94" y="397"/>
                </a:lnTo>
                <a:lnTo>
                  <a:pt x="94" y="401"/>
                </a:lnTo>
                <a:lnTo>
                  <a:pt x="91" y="410"/>
                </a:lnTo>
                <a:lnTo>
                  <a:pt x="88" y="413"/>
                </a:lnTo>
                <a:lnTo>
                  <a:pt x="88" y="419"/>
                </a:lnTo>
                <a:lnTo>
                  <a:pt x="85" y="426"/>
                </a:lnTo>
                <a:lnTo>
                  <a:pt x="82" y="423"/>
                </a:lnTo>
                <a:lnTo>
                  <a:pt x="78" y="419"/>
                </a:lnTo>
                <a:lnTo>
                  <a:pt x="72" y="423"/>
                </a:lnTo>
                <a:lnTo>
                  <a:pt x="66" y="423"/>
                </a:lnTo>
                <a:lnTo>
                  <a:pt x="66" y="419"/>
                </a:lnTo>
                <a:lnTo>
                  <a:pt x="63" y="426"/>
                </a:lnTo>
                <a:lnTo>
                  <a:pt x="57" y="426"/>
                </a:lnTo>
                <a:lnTo>
                  <a:pt x="57" y="432"/>
                </a:lnTo>
                <a:lnTo>
                  <a:pt x="57" y="435"/>
                </a:lnTo>
                <a:lnTo>
                  <a:pt x="57" y="438"/>
                </a:lnTo>
                <a:lnTo>
                  <a:pt x="53" y="441"/>
                </a:lnTo>
                <a:lnTo>
                  <a:pt x="50" y="438"/>
                </a:lnTo>
                <a:lnTo>
                  <a:pt x="38" y="441"/>
                </a:lnTo>
                <a:lnTo>
                  <a:pt x="35" y="441"/>
                </a:lnTo>
                <a:lnTo>
                  <a:pt x="32" y="441"/>
                </a:lnTo>
                <a:lnTo>
                  <a:pt x="35" y="438"/>
                </a:lnTo>
                <a:lnTo>
                  <a:pt x="35" y="429"/>
                </a:lnTo>
                <a:lnTo>
                  <a:pt x="28" y="426"/>
                </a:lnTo>
                <a:lnTo>
                  <a:pt x="28" y="423"/>
                </a:lnTo>
                <a:lnTo>
                  <a:pt x="25" y="423"/>
                </a:lnTo>
                <a:lnTo>
                  <a:pt x="25" y="419"/>
                </a:lnTo>
                <a:lnTo>
                  <a:pt x="32" y="419"/>
                </a:lnTo>
                <a:lnTo>
                  <a:pt x="35" y="413"/>
                </a:lnTo>
                <a:lnTo>
                  <a:pt x="35" y="407"/>
                </a:lnTo>
                <a:lnTo>
                  <a:pt x="28" y="410"/>
                </a:lnTo>
                <a:lnTo>
                  <a:pt x="25" y="407"/>
                </a:lnTo>
                <a:lnTo>
                  <a:pt x="25" y="404"/>
                </a:lnTo>
                <a:lnTo>
                  <a:pt x="19" y="401"/>
                </a:lnTo>
                <a:lnTo>
                  <a:pt x="19" y="397"/>
                </a:lnTo>
                <a:lnTo>
                  <a:pt x="16" y="388"/>
                </a:lnTo>
                <a:lnTo>
                  <a:pt x="16" y="388"/>
                </a:lnTo>
                <a:lnTo>
                  <a:pt x="13" y="382"/>
                </a:lnTo>
                <a:lnTo>
                  <a:pt x="10" y="382"/>
                </a:lnTo>
                <a:lnTo>
                  <a:pt x="7" y="379"/>
                </a:lnTo>
                <a:lnTo>
                  <a:pt x="10" y="376"/>
                </a:lnTo>
                <a:lnTo>
                  <a:pt x="10" y="372"/>
                </a:lnTo>
                <a:lnTo>
                  <a:pt x="10" y="369"/>
                </a:lnTo>
                <a:lnTo>
                  <a:pt x="10" y="366"/>
                </a:lnTo>
                <a:lnTo>
                  <a:pt x="13" y="363"/>
                </a:lnTo>
                <a:lnTo>
                  <a:pt x="13" y="360"/>
                </a:lnTo>
                <a:lnTo>
                  <a:pt x="10" y="360"/>
                </a:lnTo>
                <a:lnTo>
                  <a:pt x="10" y="357"/>
                </a:lnTo>
                <a:lnTo>
                  <a:pt x="7" y="357"/>
                </a:lnTo>
                <a:lnTo>
                  <a:pt x="7" y="360"/>
                </a:lnTo>
                <a:lnTo>
                  <a:pt x="10" y="363"/>
                </a:lnTo>
                <a:lnTo>
                  <a:pt x="7" y="363"/>
                </a:lnTo>
                <a:lnTo>
                  <a:pt x="7" y="360"/>
                </a:lnTo>
                <a:lnTo>
                  <a:pt x="7" y="360"/>
                </a:lnTo>
                <a:lnTo>
                  <a:pt x="3" y="357"/>
                </a:lnTo>
                <a:lnTo>
                  <a:pt x="3" y="351"/>
                </a:lnTo>
                <a:lnTo>
                  <a:pt x="0" y="347"/>
                </a:lnTo>
                <a:lnTo>
                  <a:pt x="0" y="341"/>
                </a:lnTo>
                <a:lnTo>
                  <a:pt x="3" y="338"/>
                </a:lnTo>
                <a:lnTo>
                  <a:pt x="3" y="338"/>
                </a:lnTo>
                <a:lnTo>
                  <a:pt x="3" y="338"/>
                </a:lnTo>
                <a:close/>
                <a:moveTo>
                  <a:pt x="119" y="326"/>
                </a:moveTo>
                <a:lnTo>
                  <a:pt x="122" y="332"/>
                </a:lnTo>
                <a:lnTo>
                  <a:pt x="122" y="332"/>
                </a:lnTo>
                <a:lnTo>
                  <a:pt x="122" y="329"/>
                </a:lnTo>
                <a:lnTo>
                  <a:pt x="125" y="326"/>
                </a:lnTo>
                <a:lnTo>
                  <a:pt x="125" y="319"/>
                </a:lnTo>
                <a:lnTo>
                  <a:pt x="122" y="319"/>
                </a:lnTo>
                <a:lnTo>
                  <a:pt x="119" y="326"/>
                </a:lnTo>
                <a:lnTo>
                  <a:pt x="119" y="326"/>
                </a:lnTo>
                <a:close/>
                <a:moveTo>
                  <a:pt x="7" y="366"/>
                </a:moveTo>
                <a:lnTo>
                  <a:pt x="3" y="369"/>
                </a:lnTo>
                <a:lnTo>
                  <a:pt x="7" y="369"/>
                </a:lnTo>
                <a:lnTo>
                  <a:pt x="7" y="366"/>
                </a:lnTo>
                <a:lnTo>
                  <a:pt x="7" y="366"/>
                </a:lnTo>
                <a:lnTo>
                  <a:pt x="7" y="366"/>
                </a:lnTo>
                <a:close/>
                <a:moveTo>
                  <a:pt x="135" y="354"/>
                </a:moveTo>
                <a:lnTo>
                  <a:pt x="138" y="357"/>
                </a:lnTo>
                <a:lnTo>
                  <a:pt x="138" y="354"/>
                </a:lnTo>
                <a:lnTo>
                  <a:pt x="138" y="354"/>
                </a:lnTo>
                <a:lnTo>
                  <a:pt x="135" y="354"/>
                </a:lnTo>
                <a:lnTo>
                  <a:pt x="135" y="354"/>
                </a:lnTo>
                <a:close/>
                <a:moveTo>
                  <a:pt x="138" y="372"/>
                </a:moveTo>
                <a:lnTo>
                  <a:pt x="138" y="372"/>
                </a:lnTo>
                <a:lnTo>
                  <a:pt x="141" y="372"/>
                </a:lnTo>
                <a:lnTo>
                  <a:pt x="144" y="369"/>
                </a:lnTo>
                <a:lnTo>
                  <a:pt x="144" y="369"/>
                </a:lnTo>
                <a:lnTo>
                  <a:pt x="138" y="369"/>
                </a:lnTo>
                <a:lnTo>
                  <a:pt x="138" y="372"/>
                </a:lnTo>
                <a:lnTo>
                  <a:pt x="138" y="372"/>
                </a:lnTo>
                <a:close/>
                <a:moveTo>
                  <a:pt x="122" y="401"/>
                </a:moveTo>
                <a:lnTo>
                  <a:pt x="128" y="401"/>
                </a:lnTo>
                <a:lnTo>
                  <a:pt x="128" y="397"/>
                </a:lnTo>
                <a:lnTo>
                  <a:pt x="128" y="397"/>
                </a:lnTo>
                <a:lnTo>
                  <a:pt x="128" y="394"/>
                </a:lnTo>
                <a:lnTo>
                  <a:pt x="132" y="391"/>
                </a:lnTo>
                <a:lnTo>
                  <a:pt x="135" y="388"/>
                </a:lnTo>
                <a:lnTo>
                  <a:pt x="135" y="385"/>
                </a:lnTo>
                <a:lnTo>
                  <a:pt x="135" y="385"/>
                </a:lnTo>
                <a:lnTo>
                  <a:pt x="132" y="382"/>
                </a:lnTo>
                <a:lnTo>
                  <a:pt x="135" y="379"/>
                </a:lnTo>
                <a:lnTo>
                  <a:pt x="135" y="376"/>
                </a:lnTo>
                <a:lnTo>
                  <a:pt x="138" y="376"/>
                </a:lnTo>
                <a:lnTo>
                  <a:pt x="135" y="372"/>
                </a:lnTo>
                <a:lnTo>
                  <a:pt x="132" y="376"/>
                </a:lnTo>
                <a:lnTo>
                  <a:pt x="128" y="376"/>
                </a:lnTo>
                <a:lnTo>
                  <a:pt x="125" y="379"/>
                </a:lnTo>
                <a:lnTo>
                  <a:pt x="122" y="382"/>
                </a:lnTo>
                <a:lnTo>
                  <a:pt x="122" y="385"/>
                </a:lnTo>
                <a:lnTo>
                  <a:pt x="122" y="388"/>
                </a:lnTo>
                <a:lnTo>
                  <a:pt x="119" y="388"/>
                </a:lnTo>
                <a:lnTo>
                  <a:pt x="125" y="394"/>
                </a:lnTo>
                <a:lnTo>
                  <a:pt x="125" y="394"/>
                </a:lnTo>
                <a:lnTo>
                  <a:pt x="125" y="397"/>
                </a:lnTo>
                <a:lnTo>
                  <a:pt x="122" y="401"/>
                </a:lnTo>
                <a:lnTo>
                  <a:pt x="122" y="401"/>
                </a:lnTo>
                <a:lnTo>
                  <a:pt x="122" y="401"/>
                </a:lnTo>
                <a:close/>
                <a:moveTo>
                  <a:pt x="94" y="413"/>
                </a:moveTo>
                <a:lnTo>
                  <a:pt x="94" y="416"/>
                </a:lnTo>
                <a:lnTo>
                  <a:pt x="94" y="419"/>
                </a:lnTo>
                <a:lnTo>
                  <a:pt x="97" y="423"/>
                </a:lnTo>
                <a:lnTo>
                  <a:pt x="97" y="419"/>
                </a:lnTo>
                <a:lnTo>
                  <a:pt x="100" y="413"/>
                </a:lnTo>
                <a:lnTo>
                  <a:pt x="100" y="404"/>
                </a:lnTo>
                <a:lnTo>
                  <a:pt x="103" y="397"/>
                </a:lnTo>
                <a:lnTo>
                  <a:pt x="103" y="394"/>
                </a:lnTo>
                <a:lnTo>
                  <a:pt x="100" y="391"/>
                </a:lnTo>
                <a:lnTo>
                  <a:pt x="97" y="394"/>
                </a:lnTo>
                <a:lnTo>
                  <a:pt x="100" y="397"/>
                </a:lnTo>
                <a:lnTo>
                  <a:pt x="97" y="401"/>
                </a:lnTo>
                <a:lnTo>
                  <a:pt x="94" y="404"/>
                </a:lnTo>
                <a:lnTo>
                  <a:pt x="94" y="413"/>
                </a:lnTo>
                <a:close/>
              </a:path>
            </a:pathLst>
          </a:custGeom>
          <a:solidFill>
            <a:schemeClr val="bg2"/>
          </a:solidFill>
          <a:ln>
            <a:solidFill>
              <a:schemeClr val="bg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7" name="Freeform 45">
            <a:extLst>
              <a:ext uri="{FF2B5EF4-FFF2-40B4-BE49-F238E27FC236}">
                <a16:creationId xmlns:a16="http://schemas.microsoft.com/office/drawing/2014/main" id="{3AD9F6E7-A387-2424-A86E-B39DF1D1198A}"/>
              </a:ext>
            </a:extLst>
          </p:cNvPr>
          <p:cNvSpPr>
            <a:spLocks noEditPoints="1"/>
          </p:cNvSpPr>
          <p:nvPr userDrawn="1"/>
        </p:nvSpPr>
        <p:spPr bwMode="auto">
          <a:xfrm>
            <a:off x="14150054" y="3952163"/>
            <a:ext cx="625437" cy="1123950"/>
          </a:xfrm>
          <a:custGeom>
            <a:avLst/>
            <a:gdLst>
              <a:gd name="T0" fmla="*/ 57 w 63"/>
              <a:gd name="T1" fmla="*/ 93 h 113"/>
              <a:gd name="T2" fmla="*/ 58 w 63"/>
              <a:gd name="T3" fmla="*/ 76 h 113"/>
              <a:gd name="T4" fmla="*/ 54 w 63"/>
              <a:gd name="T5" fmla="*/ 64 h 113"/>
              <a:gd name="T6" fmla="*/ 52 w 63"/>
              <a:gd name="T7" fmla="*/ 56 h 113"/>
              <a:gd name="T8" fmla="*/ 50 w 63"/>
              <a:gd name="T9" fmla="*/ 43 h 113"/>
              <a:gd name="T10" fmla="*/ 48 w 63"/>
              <a:gd name="T11" fmla="*/ 28 h 113"/>
              <a:gd name="T12" fmla="*/ 41 w 63"/>
              <a:gd name="T13" fmla="*/ 22 h 113"/>
              <a:gd name="T14" fmla="*/ 40 w 63"/>
              <a:gd name="T15" fmla="*/ 13 h 113"/>
              <a:gd name="T16" fmla="*/ 41 w 63"/>
              <a:gd name="T17" fmla="*/ 4 h 113"/>
              <a:gd name="T18" fmla="*/ 31 w 63"/>
              <a:gd name="T19" fmla="*/ 0 h 113"/>
              <a:gd name="T20" fmla="*/ 26 w 63"/>
              <a:gd name="T21" fmla="*/ 3 h 113"/>
              <a:gd name="T22" fmla="*/ 25 w 63"/>
              <a:gd name="T23" fmla="*/ 12 h 113"/>
              <a:gd name="T24" fmla="*/ 21 w 63"/>
              <a:gd name="T25" fmla="*/ 16 h 113"/>
              <a:gd name="T26" fmla="*/ 13 w 63"/>
              <a:gd name="T27" fmla="*/ 18 h 113"/>
              <a:gd name="T28" fmla="*/ 3 w 63"/>
              <a:gd name="T29" fmla="*/ 11 h 113"/>
              <a:gd name="T30" fmla="*/ 0 w 63"/>
              <a:gd name="T31" fmla="*/ 13 h 113"/>
              <a:gd name="T32" fmla="*/ 9 w 63"/>
              <a:gd name="T33" fmla="*/ 20 h 113"/>
              <a:gd name="T34" fmla="*/ 14 w 63"/>
              <a:gd name="T35" fmla="*/ 23 h 113"/>
              <a:gd name="T36" fmla="*/ 15 w 63"/>
              <a:gd name="T37" fmla="*/ 30 h 113"/>
              <a:gd name="T38" fmla="*/ 18 w 63"/>
              <a:gd name="T39" fmla="*/ 36 h 113"/>
              <a:gd name="T40" fmla="*/ 19 w 63"/>
              <a:gd name="T41" fmla="*/ 46 h 113"/>
              <a:gd name="T42" fmla="*/ 23 w 63"/>
              <a:gd name="T43" fmla="*/ 51 h 113"/>
              <a:gd name="T44" fmla="*/ 28 w 63"/>
              <a:gd name="T45" fmla="*/ 57 h 113"/>
              <a:gd name="T46" fmla="*/ 29 w 63"/>
              <a:gd name="T47" fmla="*/ 61 h 113"/>
              <a:gd name="T48" fmla="*/ 23 w 63"/>
              <a:gd name="T49" fmla="*/ 64 h 113"/>
              <a:gd name="T50" fmla="*/ 19 w 63"/>
              <a:gd name="T51" fmla="*/ 68 h 113"/>
              <a:gd name="T52" fmla="*/ 18 w 63"/>
              <a:gd name="T53" fmla="*/ 74 h 113"/>
              <a:gd name="T54" fmla="*/ 14 w 63"/>
              <a:gd name="T55" fmla="*/ 75 h 113"/>
              <a:gd name="T56" fmla="*/ 13 w 63"/>
              <a:gd name="T57" fmla="*/ 79 h 113"/>
              <a:gd name="T58" fmla="*/ 10 w 63"/>
              <a:gd name="T59" fmla="*/ 80 h 113"/>
              <a:gd name="T60" fmla="*/ 9 w 63"/>
              <a:gd name="T61" fmla="*/ 85 h 113"/>
              <a:gd name="T62" fmla="*/ 10 w 63"/>
              <a:gd name="T63" fmla="*/ 89 h 113"/>
              <a:gd name="T64" fmla="*/ 13 w 63"/>
              <a:gd name="T65" fmla="*/ 96 h 113"/>
              <a:gd name="T66" fmla="*/ 12 w 63"/>
              <a:gd name="T67" fmla="*/ 104 h 113"/>
              <a:gd name="T68" fmla="*/ 16 w 63"/>
              <a:gd name="T69" fmla="*/ 106 h 113"/>
              <a:gd name="T70" fmla="*/ 20 w 63"/>
              <a:gd name="T71" fmla="*/ 107 h 113"/>
              <a:gd name="T72" fmla="*/ 22 w 63"/>
              <a:gd name="T73" fmla="*/ 113 h 113"/>
              <a:gd name="T74" fmla="*/ 26 w 63"/>
              <a:gd name="T75" fmla="*/ 111 h 113"/>
              <a:gd name="T76" fmla="*/ 35 w 63"/>
              <a:gd name="T77" fmla="*/ 107 h 113"/>
              <a:gd name="T78" fmla="*/ 38 w 63"/>
              <a:gd name="T79" fmla="*/ 106 h 113"/>
              <a:gd name="T80" fmla="*/ 40 w 63"/>
              <a:gd name="T81" fmla="*/ 106 h 113"/>
              <a:gd name="T82" fmla="*/ 44 w 63"/>
              <a:gd name="T83" fmla="*/ 105 h 113"/>
              <a:gd name="T84" fmla="*/ 48 w 63"/>
              <a:gd name="T85" fmla="*/ 104 h 113"/>
              <a:gd name="T86" fmla="*/ 25 w 63"/>
              <a:gd name="T87" fmla="*/ 59 h 113"/>
              <a:gd name="T88" fmla="*/ 26 w 63"/>
              <a:gd name="T89" fmla="*/ 59 h 113"/>
              <a:gd name="T90" fmla="*/ 8 w 63"/>
              <a:gd name="T91" fmla="*/ 77 h 113"/>
              <a:gd name="T92" fmla="*/ 8 w 63"/>
              <a:gd name="T93" fmla="*/ 77 h 113"/>
              <a:gd name="T94" fmla="*/ 21 w 63"/>
              <a:gd name="T95" fmla="*/ 110 h 113"/>
              <a:gd name="T96" fmla="*/ 19 w 63"/>
              <a:gd name="T97" fmla="*/ 107 h 113"/>
              <a:gd name="T98" fmla="*/ 16 w 63"/>
              <a:gd name="T99" fmla="*/ 107 h 113"/>
              <a:gd name="T100" fmla="*/ 12 w 63"/>
              <a:gd name="T101" fmla="*/ 107 h 113"/>
              <a:gd name="T102" fmla="*/ 4 w 63"/>
              <a:gd name="T103" fmla="*/ 106 h 113"/>
              <a:gd name="T104" fmla="*/ 6 w 63"/>
              <a:gd name="T105" fmla="*/ 110 h 113"/>
              <a:gd name="T106" fmla="*/ 4 w 63"/>
              <a:gd name="T107" fmla="*/ 10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3" h="113">
                <a:moveTo>
                  <a:pt x="50" y="104"/>
                </a:moveTo>
                <a:cubicBezTo>
                  <a:pt x="50" y="103"/>
                  <a:pt x="50" y="103"/>
                  <a:pt x="50" y="103"/>
                </a:cubicBezTo>
                <a:cubicBezTo>
                  <a:pt x="53" y="100"/>
                  <a:pt x="53" y="100"/>
                  <a:pt x="53" y="100"/>
                </a:cubicBezTo>
                <a:cubicBezTo>
                  <a:pt x="54" y="99"/>
                  <a:pt x="54" y="99"/>
                  <a:pt x="54" y="99"/>
                </a:cubicBezTo>
                <a:cubicBezTo>
                  <a:pt x="56" y="96"/>
                  <a:pt x="56" y="96"/>
                  <a:pt x="56" y="96"/>
                </a:cubicBezTo>
                <a:cubicBezTo>
                  <a:pt x="57" y="93"/>
                  <a:pt x="57" y="93"/>
                  <a:pt x="57" y="93"/>
                </a:cubicBezTo>
                <a:cubicBezTo>
                  <a:pt x="59" y="90"/>
                  <a:pt x="59" y="90"/>
                  <a:pt x="59" y="90"/>
                </a:cubicBezTo>
                <a:cubicBezTo>
                  <a:pt x="61" y="86"/>
                  <a:pt x="61" y="86"/>
                  <a:pt x="61" y="86"/>
                </a:cubicBezTo>
                <a:cubicBezTo>
                  <a:pt x="63" y="82"/>
                  <a:pt x="63" y="82"/>
                  <a:pt x="63" y="82"/>
                </a:cubicBezTo>
                <a:cubicBezTo>
                  <a:pt x="63" y="80"/>
                  <a:pt x="63" y="80"/>
                  <a:pt x="63" y="80"/>
                </a:cubicBezTo>
                <a:cubicBezTo>
                  <a:pt x="60" y="77"/>
                  <a:pt x="60" y="77"/>
                  <a:pt x="60" y="77"/>
                </a:cubicBezTo>
                <a:cubicBezTo>
                  <a:pt x="58" y="76"/>
                  <a:pt x="58" y="76"/>
                  <a:pt x="58" y="76"/>
                </a:cubicBezTo>
                <a:cubicBezTo>
                  <a:pt x="55" y="72"/>
                  <a:pt x="55" y="72"/>
                  <a:pt x="55" y="72"/>
                </a:cubicBezTo>
                <a:cubicBezTo>
                  <a:pt x="56" y="70"/>
                  <a:pt x="56" y="70"/>
                  <a:pt x="56" y="70"/>
                </a:cubicBezTo>
                <a:cubicBezTo>
                  <a:pt x="57" y="68"/>
                  <a:pt x="57" y="68"/>
                  <a:pt x="57" y="68"/>
                </a:cubicBezTo>
                <a:cubicBezTo>
                  <a:pt x="57" y="67"/>
                  <a:pt x="57" y="67"/>
                  <a:pt x="57" y="67"/>
                </a:cubicBezTo>
                <a:cubicBezTo>
                  <a:pt x="55" y="65"/>
                  <a:pt x="55" y="65"/>
                  <a:pt x="55" y="65"/>
                </a:cubicBezTo>
                <a:cubicBezTo>
                  <a:pt x="54" y="64"/>
                  <a:pt x="54" y="64"/>
                  <a:pt x="54" y="64"/>
                </a:cubicBezTo>
                <a:cubicBezTo>
                  <a:pt x="54" y="62"/>
                  <a:pt x="54" y="62"/>
                  <a:pt x="54" y="62"/>
                </a:cubicBezTo>
                <a:cubicBezTo>
                  <a:pt x="55" y="61"/>
                  <a:pt x="55" y="61"/>
                  <a:pt x="55" y="61"/>
                </a:cubicBezTo>
                <a:cubicBezTo>
                  <a:pt x="54" y="60"/>
                  <a:pt x="54" y="60"/>
                  <a:pt x="54" y="60"/>
                </a:cubicBezTo>
                <a:cubicBezTo>
                  <a:pt x="53" y="59"/>
                  <a:pt x="53" y="59"/>
                  <a:pt x="53" y="59"/>
                </a:cubicBezTo>
                <a:cubicBezTo>
                  <a:pt x="52" y="58"/>
                  <a:pt x="52" y="58"/>
                  <a:pt x="52" y="58"/>
                </a:cubicBezTo>
                <a:cubicBezTo>
                  <a:pt x="52" y="56"/>
                  <a:pt x="52" y="56"/>
                  <a:pt x="52" y="56"/>
                </a:cubicBezTo>
                <a:cubicBezTo>
                  <a:pt x="53" y="55"/>
                  <a:pt x="53" y="55"/>
                  <a:pt x="53" y="55"/>
                </a:cubicBezTo>
                <a:cubicBezTo>
                  <a:pt x="52" y="55"/>
                  <a:pt x="52" y="55"/>
                  <a:pt x="52" y="55"/>
                </a:cubicBezTo>
                <a:cubicBezTo>
                  <a:pt x="52" y="54"/>
                  <a:pt x="52" y="54"/>
                  <a:pt x="52" y="54"/>
                </a:cubicBezTo>
                <a:cubicBezTo>
                  <a:pt x="52" y="50"/>
                  <a:pt x="52" y="50"/>
                  <a:pt x="52" y="50"/>
                </a:cubicBezTo>
                <a:cubicBezTo>
                  <a:pt x="53" y="49"/>
                  <a:pt x="53" y="49"/>
                  <a:pt x="53" y="49"/>
                </a:cubicBezTo>
                <a:cubicBezTo>
                  <a:pt x="50" y="43"/>
                  <a:pt x="50" y="43"/>
                  <a:pt x="50" y="43"/>
                </a:cubicBezTo>
                <a:cubicBezTo>
                  <a:pt x="48" y="38"/>
                  <a:pt x="48" y="38"/>
                  <a:pt x="48" y="38"/>
                </a:cubicBezTo>
                <a:cubicBezTo>
                  <a:pt x="47" y="36"/>
                  <a:pt x="47" y="36"/>
                  <a:pt x="47" y="36"/>
                </a:cubicBezTo>
                <a:cubicBezTo>
                  <a:pt x="46" y="35"/>
                  <a:pt x="46" y="35"/>
                  <a:pt x="46" y="35"/>
                </a:cubicBezTo>
                <a:cubicBezTo>
                  <a:pt x="47" y="32"/>
                  <a:pt x="47" y="32"/>
                  <a:pt x="47" y="32"/>
                </a:cubicBezTo>
                <a:cubicBezTo>
                  <a:pt x="48" y="30"/>
                  <a:pt x="48" y="30"/>
                  <a:pt x="48" y="30"/>
                </a:cubicBezTo>
                <a:cubicBezTo>
                  <a:pt x="48" y="28"/>
                  <a:pt x="48" y="28"/>
                  <a:pt x="48" y="28"/>
                </a:cubicBezTo>
                <a:cubicBezTo>
                  <a:pt x="48" y="27"/>
                  <a:pt x="48" y="27"/>
                  <a:pt x="48" y="27"/>
                </a:cubicBezTo>
                <a:cubicBezTo>
                  <a:pt x="45" y="25"/>
                  <a:pt x="45" y="25"/>
                  <a:pt x="45" y="25"/>
                </a:cubicBezTo>
                <a:cubicBezTo>
                  <a:pt x="44" y="24"/>
                  <a:pt x="44" y="24"/>
                  <a:pt x="44" y="24"/>
                </a:cubicBezTo>
                <a:cubicBezTo>
                  <a:pt x="43" y="23"/>
                  <a:pt x="43" y="23"/>
                  <a:pt x="43" y="23"/>
                </a:cubicBezTo>
                <a:cubicBezTo>
                  <a:pt x="42" y="22"/>
                  <a:pt x="42" y="22"/>
                  <a:pt x="42" y="22"/>
                </a:cubicBezTo>
                <a:cubicBezTo>
                  <a:pt x="41" y="22"/>
                  <a:pt x="41" y="22"/>
                  <a:pt x="41" y="22"/>
                </a:cubicBezTo>
                <a:cubicBezTo>
                  <a:pt x="40" y="19"/>
                  <a:pt x="40" y="19"/>
                  <a:pt x="40" y="19"/>
                </a:cubicBezTo>
                <a:cubicBezTo>
                  <a:pt x="39" y="18"/>
                  <a:pt x="39" y="18"/>
                  <a:pt x="39" y="18"/>
                </a:cubicBezTo>
                <a:cubicBezTo>
                  <a:pt x="39" y="16"/>
                  <a:pt x="39" y="16"/>
                  <a:pt x="39" y="16"/>
                </a:cubicBezTo>
                <a:cubicBezTo>
                  <a:pt x="40" y="14"/>
                  <a:pt x="40" y="14"/>
                  <a:pt x="40" y="14"/>
                </a:cubicBezTo>
                <a:cubicBezTo>
                  <a:pt x="39" y="14"/>
                  <a:pt x="39" y="14"/>
                  <a:pt x="39" y="14"/>
                </a:cubicBezTo>
                <a:cubicBezTo>
                  <a:pt x="40" y="13"/>
                  <a:pt x="40" y="13"/>
                  <a:pt x="40" y="13"/>
                </a:cubicBezTo>
                <a:cubicBezTo>
                  <a:pt x="41" y="12"/>
                  <a:pt x="41" y="12"/>
                  <a:pt x="41" y="12"/>
                </a:cubicBezTo>
                <a:cubicBezTo>
                  <a:pt x="41" y="10"/>
                  <a:pt x="41" y="10"/>
                  <a:pt x="41" y="10"/>
                </a:cubicBezTo>
                <a:cubicBezTo>
                  <a:pt x="42" y="8"/>
                  <a:pt x="42" y="8"/>
                  <a:pt x="42" y="8"/>
                </a:cubicBezTo>
                <a:cubicBezTo>
                  <a:pt x="42" y="7"/>
                  <a:pt x="42" y="7"/>
                  <a:pt x="42" y="7"/>
                </a:cubicBezTo>
                <a:cubicBezTo>
                  <a:pt x="41" y="5"/>
                  <a:pt x="41" y="5"/>
                  <a:pt x="41" y="5"/>
                </a:cubicBezTo>
                <a:cubicBezTo>
                  <a:pt x="41" y="4"/>
                  <a:pt x="41" y="4"/>
                  <a:pt x="41" y="4"/>
                </a:cubicBezTo>
                <a:cubicBezTo>
                  <a:pt x="39" y="4"/>
                  <a:pt x="39" y="4"/>
                  <a:pt x="39" y="4"/>
                </a:cubicBezTo>
                <a:cubicBezTo>
                  <a:pt x="37" y="4"/>
                  <a:pt x="37" y="4"/>
                  <a:pt x="37" y="4"/>
                </a:cubicBezTo>
                <a:cubicBezTo>
                  <a:pt x="36" y="3"/>
                  <a:pt x="36" y="3"/>
                  <a:pt x="36" y="3"/>
                </a:cubicBezTo>
                <a:cubicBezTo>
                  <a:pt x="35" y="1"/>
                  <a:pt x="35" y="1"/>
                  <a:pt x="35" y="1"/>
                </a:cubicBezTo>
                <a:cubicBezTo>
                  <a:pt x="34" y="0"/>
                  <a:pt x="34" y="0"/>
                  <a:pt x="34" y="0"/>
                </a:cubicBezTo>
                <a:cubicBezTo>
                  <a:pt x="31" y="0"/>
                  <a:pt x="31" y="0"/>
                  <a:pt x="31" y="0"/>
                </a:cubicBezTo>
                <a:cubicBezTo>
                  <a:pt x="30" y="1"/>
                  <a:pt x="30" y="1"/>
                  <a:pt x="30" y="1"/>
                </a:cubicBezTo>
                <a:cubicBezTo>
                  <a:pt x="30" y="2"/>
                  <a:pt x="30" y="2"/>
                  <a:pt x="30" y="2"/>
                </a:cubicBezTo>
                <a:cubicBezTo>
                  <a:pt x="29" y="2"/>
                  <a:pt x="29" y="2"/>
                  <a:pt x="29" y="2"/>
                </a:cubicBezTo>
                <a:cubicBezTo>
                  <a:pt x="27" y="2"/>
                  <a:pt x="27" y="2"/>
                  <a:pt x="27" y="2"/>
                </a:cubicBezTo>
                <a:cubicBezTo>
                  <a:pt x="26" y="2"/>
                  <a:pt x="26" y="2"/>
                  <a:pt x="26" y="2"/>
                </a:cubicBezTo>
                <a:cubicBezTo>
                  <a:pt x="26" y="3"/>
                  <a:pt x="26" y="3"/>
                  <a:pt x="26" y="3"/>
                </a:cubicBezTo>
                <a:cubicBezTo>
                  <a:pt x="25" y="4"/>
                  <a:pt x="25" y="4"/>
                  <a:pt x="25" y="4"/>
                </a:cubicBezTo>
                <a:cubicBezTo>
                  <a:pt x="25" y="5"/>
                  <a:pt x="25" y="5"/>
                  <a:pt x="25" y="5"/>
                </a:cubicBezTo>
                <a:cubicBezTo>
                  <a:pt x="25" y="6"/>
                  <a:pt x="25" y="6"/>
                  <a:pt x="25" y="6"/>
                </a:cubicBezTo>
                <a:cubicBezTo>
                  <a:pt x="25" y="7"/>
                  <a:pt x="25" y="7"/>
                  <a:pt x="25" y="7"/>
                </a:cubicBezTo>
                <a:cubicBezTo>
                  <a:pt x="24" y="10"/>
                  <a:pt x="24" y="10"/>
                  <a:pt x="24" y="10"/>
                </a:cubicBezTo>
                <a:cubicBezTo>
                  <a:pt x="25" y="12"/>
                  <a:pt x="25" y="12"/>
                  <a:pt x="25" y="12"/>
                </a:cubicBezTo>
                <a:cubicBezTo>
                  <a:pt x="25" y="13"/>
                  <a:pt x="25" y="13"/>
                  <a:pt x="25" y="13"/>
                </a:cubicBezTo>
                <a:cubicBezTo>
                  <a:pt x="25" y="14"/>
                  <a:pt x="25" y="14"/>
                  <a:pt x="25" y="14"/>
                </a:cubicBezTo>
                <a:cubicBezTo>
                  <a:pt x="24" y="14"/>
                  <a:pt x="24" y="14"/>
                  <a:pt x="24" y="14"/>
                </a:cubicBezTo>
                <a:cubicBezTo>
                  <a:pt x="23" y="14"/>
                  <a:pt x="23" y="14"/>
                  <a:pt x="23" y="14"/>
                </a:cubicBezTo>
                <a:cubicBezTo>
                  <a:pt x="22" y="15"/>
                  <a:pt x="22" y="15"/>
                  <a:pt x="22" y="15"/>
                </a:cubicBezTo>
                <a:cubicBezTo>
                  <a:pt x="21" y="16"/>
                  <a:pt x="21" y="16"/>
                  <a:pt x="21" y="16"/>
                </a:cubicBezTo>
                <a:cubicBezTo>
                  <a:pt x="20" y="17"/>
                  <a:pt x="20" y="17"/>
                  <a:pt x="20" y="17"/>
                </a:cubicBezTo>
                <a:cubicBezTo>
                  <a:pt x="19" y="17"/>
                  <a:pt x="19" y="17"/>
                  <a:pt x="19" y="17"/>
                </a:cubicBezTo>
                <a:cubicBezTo>
                  <a:pt x="17" y="15"/>
                  <a:pt x="17" y="15"/>
                  <a:pt x="17" y="15"/>
                </a:cubicBezTo>
                <a:cubicBezTo>
                  <a:pt x="16" y="15"/>
                  <a:pt x="16" y="15"/>
                  <a:pt x="16" y="15"/>
                </a:cubicBezTo>
                <a:cubicBezTo>
                  <a:pt x="15" y="16"/>
                  <a:pt x="15" y="16"/>
                  <a:pt x="15" y="16"/>
                </a:cubicBezTo>
                <a:cubicBezTo>
                  <a:pt x="13" y="18"/>
                  <a:pt x="13" y="18"/>
                  <a:pt x="13" y="18"/>
                </a:cubicBezTo>
                <a:cubicBezTo>
                  <a:pt x="10" y="18"/>
                  <a:pt x="10" y="18"/>
                  <a:pt x="10" y="18"/>
                </a:cubicBezTo>
                <a:cubicBezTo>
                  <a:pt x="8" y="17"/>
                  <a:pt x="8" y="17"/>
                  <a:pt x="8" y="17"/>
                </a:cubicBezTo>
                <a:cubicBezTo>
                  <a:pt x="7" y="16"/>
                  <a:pt x="7" y="16"/>
                  <a:pt x="7" y="16"/>
                </a:cubicBezTo>
                <a:cubicBezTo>
                  <a:pt x="7" y="14"/>
                  <a:pt x="7" y="14"/>
                  <a:pt x="7" y="14"/>
                </a:cubicBezTo>
                <a:cubicBezTo>
                  <a:pt x="4" y="12"/>
                  <a:pt x="4" y="12"/>
                  <a:pt x="4" y="12"/>
                </a:cubicBezTo>
                <a:cubicBezTo>
                  <a:pt x="3" y="11"/>
                  <a:pt x="3" y="11"/>
                  <a:pt x="3" y="11"/>
                </a:cubicBezTo>
                <a:cubicBezTo>
                  <a:pt x="2" y="10"/>
                  <a:pt x="2" y="10"/>
                  <a:pt x="2" y="10"/>
                </a:cubicBezTo>
                <a:cubicBezTo>
                  <a:pt x="1" y="11"/>
                  <a:pt x="1" y="11"/>
                  <a:pt x="1" y="11"/>
                </a:cubicBezTo>
                <a:cubicBezTo>
                  <a:pt x="1" y="12"/>
                  <a:pt x="1" y="12"/>
                  <a:pt x="1" y="12"/>
                </a:cubicBezTo>
                <a:cubicBezTo>
                  <a:pt x="1" y="13"/>
                  <a:pt x="1" y="13"/>
                  <a:pt x="1" y="13"/>
                </a:cubicBezTo>
                <a:cubicBezTo>
                  <a:pt x="1" y="14"/>
                  <a:pt x="1" y="14"/>
                  <a:pt x="1" y="14"/>
                </a:cubicBezTo>
                <a:cubicBezTo>
                  <a:pt x="0" y="13"/>
                  <a:pt x="0" y="13"/>
                  <a:pt x="0" y="13"/>
                </a:cubicBezTo>
                <a:cubicBezTo>
                  <a:pt x="0" y="14"/>
                  <a:pt x="0" y="14"/>
                  <a:pt x="0" y="14"/>
                </a:cubicBezTo>
                <a:cubicBezTo>
                  <a:pt x="1" y="15"/>
                  <a:pt x="1" y="15"/>
                  <a:pt x="1" y="15"/>
                </a:cubicBezTo>
                <a:cubicBezTo>
                  <a:pt x="3" y="16"/>
                  <a:pt x="3" y="16"/>
                  <a:pt x="3" y="16"/>
                </a:cubicBezTo>
                <a:cubicBezTo>
                  <a:pt x="5" y="18"/>
                  <a:pt x="5" y="18"/>
                  <a:pt x="5" y="18"/>
                </a:cubicBezTo>
                <a:cubicBezTo>
                  <a:pt x="7" y="19"/>
                  <a:pt x="7" y="19"/>
                  <a:pt x="7" y="19"/>
                </a:cubicBezTo>
                <a:cubicBezTo>
                  <a:pt x="9" y="20"/>
                  <a:pt x="9" y="20"/>
                  <a:pt x="9" y="20"/>
                </a:cubicBezTo>
                <a:cubicBezTo>
                  <a:pt x="10" y="20"/>
                  <a:pt x="10" y="20"/>
                  <a:pt x="10" y="20"/>
                </a:cubicBezTo>
                <a:cubicBezTo>
                  <a:pt x="11" y="20"/>
                  <a:pt x="11" y="20"/>
                  <a:pt x="11" y="20"/>
                </a:cubicBezTo>
                <a:cubicBezTo>
                  <a:pt x="12" y="22"/>
                  <a:pt x="12" y="22"/>
                  <a:pt x="12" y="22"/>
                </a:cubicBezTo>
                <a:cubicBezTo>
                  <a:pt x="13" y="23"/>
                  <a:pt x="13" y="23"/>
                  <a:pt x="13" y="23"/>
                </a:cubicBezTo>
                <a:cubicBezTo>
                  <a:pt x="13" y="23"/>
                  <a:pt x="13" y="23"/>
                  <a:pt x="13" y="23"/>
                </a:cubicBezTo>
                <a:cubicBezTo>
                  <a:pt x="14" y="23"/>
                  <a:pt x="14" y="23"/>
                  <a:pt x="14" y="23"/>
                </a:cubicBezTo>
                <a:cubicBezTo>
                  <a:pt x="15" y="25"/>
                  <a:pt x="15" y="25"/>
                  <a:pt x="15" y="25"/>
                </a:cubicBezTo>
                <a:cubicBezTo>
                  <a:pt x="16" y="25"/>
                  <a:pt x="16" y="25"/>
                  <a:pt x="16" y="25"/>
                </a:cubicBezTo>
                <a:cubicBezTo>
                  <a:pt x="16" y="26"/>
                  <a:pt x="16" y="26"/>
                  <a:pt x="16" y="26"/>
                </a:cubicBezTo>
                <a:cubicBezTo>
                  <a:pt x="16" y="27"/>
                  <a:pt x="16" y="27"/>
                  <a:pt x="16" y="27"/>
                </a:cubicBezTo>
                <a:cubicBezTo>
                  <a:pt x="16" y="28"/>
                  <a:pt x="16" y="28"/>
                  <a:pt x="16" y="28"/>
                </a:cubicBezTo>
                <a:cubicBezTo>
                  <a:pt x="15" y="30"/>
                  <a:pt x="15" y="30"/>
                  <a:pt x="15" y="30"/>
                </a:cubicBezTo>
                <a:cubicBezTo>
                  <a:pt x="16" y="31"/>
                  <a:pt x="16" y="31"/>
                  <a:pt x="16" y="31"/>
                </a:cubicBezTo>
                <a:cubicBezTo>
                  <a:pt x="17" y="31"/>
                  <a:pt x="17" y="31"/>
                  <a:pt x="17" y="31"/>
                </a:cubicBezTo>
                <a:cubicBezTo>
                  <a:pt x="18" y="33"/>
                  <a:pt x="18" y="33"/>
                  <a:pt x="18" y="33"/>
                </a:cubicBezTo>
                <a:cubicBezTo>
                  <a:pt x="17" y="34"/>
                  <a:pt x="17" y="34"/>
                  <a:pt x="17" y="34"/>
                </a:cubicBezTo>
                <a:cubicBezTo>
                  <a:pt x="17" y="35"/>
                  <a:pt x="17" y="35"/>
                  <a:pt x="17" y="35"/>
                </a:cubicBezTo>
                <a:cubicBezTo>
                  <a:pt x="18" y="36"/>
                  <a:pt x="18" y="36"/>
                  <a:pt x="18" y="36"/>
                </a:cubicBezTo>
                <a:cubicBezTo>
                  <a:pt x="18" y="39"/>
                  <a:pt x="18" y="39"/>
                  <a:pt x="18" y="39"/>
                </a:cubicBezTo>
                <a:cubicBezTo>
                  <a:pt x="18" y="40"/>
                  <a:pt x="18" y="40"/>
                  <a:pt x="18" y="40"/>
                </a:cubicBezTo>
                <a:cubicBezTo>
                  <a:pt x="18" y="41"/>
                  <a:pt x="18" y="41"/>
                  <a:pt x="18" y="41"/>
                </a:cubicBezTo>
                <a:cubicBezTo>
                  <a:pt x="18" y="43"/>
                  <a:pt x="18" y="43"/>
                  <a:pt x="18" y="43"/>
                </a:cubicBezTo>
                <a:cubicBezTo>
                  <a:pt x="18" y="44"/>
                  <a:pt x="18" y="44"/>
                  <a:pt x="18" y="44"/>
                </a:cubicBezTo>
                <a:cubicBezTo>
                  <a:pt x="19" y="46"/>
                  <a:pt x="19" y="46"/>
                  <a:pt x="19" y="46"/>
                </a:cubicBezTo>
                <a:cubicBezTo>
                  <a:pt x="20" y="46"/>
                  <a:pt x="20" y="46"/>
                  <a:pt x="20" y="46"/>
                </a:cubicBezTo>
                <a:cubicBezTo>
                  <a:pt x="21" y="48"/>
                  <a:pt x="21" y="48"/>
                  <a:pt x="21" y="48"/>
                </a:cubicBezTo>
                <a:cubicBezTo>
                  <a:pt x="21" y="49"/>
                  <a:pt x="21" y="49"/>
                  <a:pt x="21" y="49"/>
                </a:cubicBezTo>
                <a:cubicBezTo>
                  <a:pt x="21" y="51"/>
                  <a:pt x="21" y="51"/>
                  <a:pt x="21" y="51"/>
                </a:cubicBezTo>
                <a:cubicBezTo>
                  <a:pt x="22" y="51"/>
                  <a:pt x="22" y="51"/>
                  <a:pt x="22" y="51"/>
                </a:cubicBezTo>
                <a:cubicBezTo>
                  <a:pt x="23" y="51"/>
                  <a:pt x="23" y="51"/>
                  <a:pt x="23" y="51"/>
                </a:cubicBezTo>
                <a:cubicBezTo>
                  <a:pt x="24" y="52"/>
                  <a:pt x="24" y="52"/>
                  <a:pt x="24" y="52"/>
                </a:cubicBezTo>
                <a:cubicBezTo>
                  <a:pt x="27" y="52"/>
                  <a:pt x="27" y="52"/>
                  <a:pt x="27" y="52"/>
                </a:cubicBezTo>
                <a:cubicBezTo>
                  <a:pt x="28" y="54"/>
                  <a:pt x="28" y="54"/>
                  <a:pt x="28" y="54"/>
                </a:cubicBezTo>
                <a:cubicBezTo>
                  <a:pt x="27" y="54"/>
                  <a:pt x="27" y="54"/>
                  <a:pt x="27" y="54"/>
                </a:cubicBezTo>
                <a:cubicBezTo>
                  <a:pt x="28" y="55"/>
                  <a:pt x="28" y="55"/>
                  <a:pt x="28" y="55"/>
                </a:cubicBezTo>
                <a:cubicBezTo>
                  <a:pt x="28" y="57"/>
                  <a:pt x="28" y="57"/>
                  <a:pt x="28" y="57"/>
                </a:cubicBezTo>
                <a:cubicBezTo>
                  <a:pt x="28" y="57"/>
                  <a:pt x="28" y="57"/>
                  <a:pt x="28" y="57"/>
                </a:cubicBezTo>
                <a:cubicBezTo>
                  <a:pt x="29" y="59"/>
                  <a:pt x="29" y="59"/>
                  <a:pt x="29" y="59"/>
                </a:cubicBezTo>
                <a:cubicBezTo>
                  <a:pt x="28" y="59"/>
                  <a:pt x="28" y="59"/>
                  <a:pt x="28" y="59"/>
                </a:cubicBezTo>
                <a:cubicBezTo>
                  <a:pt x="28" y="59"/>
                  <a:pt x="28" y="59"/>
                  <a:pt x="28" y="59"/>
                </a:cubicBezTo>
                <a:cubicBezTo>
                  <a:pt x="29" y="60"/>
                  <a:pt x="29" y="60"/>
                  <a:pt x="29" y="60"/>
                </a:cubicBezTo>
                <a:cubicBezTo>
                  <a:pt x="29" y="61"/>
                  <a:pt x="29" y="61"/>
                  <a:pt x="29" y="61"/>
                </a:cubicBezTo>
                <a:cubicBezTo>
                  <a:pt x="27" y="60"/>
                  <a:pt x="27" y="60"/>
                  <a:pt x="27" y="60"/>
                </a:cubicBezTo>
                <a:cubicBezTo>
                  <a:pt x="26" y="60"/>
                  <a:pt x="26" y="60"/>
                  <a:pt x="26" y="60"/>
                </a:cubicBezTo>
                <a:cubicBezTo>
                  <a:pt x="24" y="61"/>
                  <a:pt x="24" y="61"/>
                  <a:pt x="24" y="61"/>
                </a:cubicBezTo>
                <a:cubicBezTo>
                  <a:pt x="24" y="62"/>
                  <a:pt x="24" y="62"/>
                  <a:pt x="24" y="62"/>
                </a:cubicBezTo>
                <a:cubicBezTo>
                  <a:pt x="23" y="63"/>
                  <a:pt x="23" y="63"/>
                  <a:pt x="23" y="63"/>
                </a:cubicBezTo>
                <a:cubicBezTo>
                  <a:pt x="23" y="64"/>
                  <a:pt x="23" y="64"/>
                  <a:pt x="23" y="64"/>
                </a:cubicBezTo>
                <a:cubicBezTo>
                  <a:pt x="22" y="65"/>
                  <a:pt x="22" y="65"/>
                  <a:pt x="22" y="65"/>
                </a:cubicBezTo>
                <a:cubicBezTo>
                  <a:pt x="21" y="67"/>
                  <a:pt x="21" y="67"/>
                  <a:pt x="21" y="67"/>
                </a:cubicBezTo>
                <a:cubicBezTo>
                  <a:pt x="20" y="69"/>
                  <a:pt x="20" y="69"/>
                  <a:pt x="20" y="69"/>
                </a:cubicBezTo>
                <a:cubicBezTo>
                  <a:pt x="20" y="69"/>
                  <a:pt x="20" y="69"/>
                  <a:pt x="20" y="69"/>
                </a:cubicBezTo>
                <a:cubicBezTo>
                  <a:pt x="19" y="68"/>
                  <a:pt x="19" y="68"/>
                  <a:pt x="19" y="68"/>
                </a:cubicBezTo>
                <a:cubicBezTo>
                  <a:pt x="19" y="68"/>
                  <a:pt x="19" y="68"/>
                  <a:pt x="19" y="68"/>
                </a:cubicBezTo>
                <a:cubicBezTo>
                  <a:pt x="19" y="70"/>
                  <a:pt x="19" y="70"/>
                  <a:pt x="19" y="70"/>
                </a:cubicBezTo>
                <a:cubicBezTo>
                  <a:pt x="19" y="71"/>
                  <a:pt x="19" y="71"/>
                  <a:pt x="19" y="71"/>
                </a:cubicBezTo>
                <a:cubicBezTo>
                  <a:pt x="18" y="71"/>
                  <a:pt x="18" y="71"/>
                  <a:pt x="18" y="71"/>
                </a:cubicBezTo>
                <a:cubicBezTo>
                  <a:pt x="17" y="72"/>
                  <a:pt x="17" y="72"/>
                  <a:pt x="17" y="72"/>
                </a:cubicBezTo>
                <a:cubicBezTo>
                  <a:pt x="17" y="73"/>
                  <a:pt x="17" y="73"/>
                  <a:pt x="17" y="73"/>
                </a:cubicBezTo>
                <a:cubicBezTo>
                  <a:pt x="18" y="74"/>
                  <a:pt x="18" y="74"/>
                  <a:pt x="18" y="74"/>
                </a:cubicBezTo>
                <a:cubicBezTo>
                  <a:pt x="17" y="74"/>
                  <a:pt x="17" y="74"/>
                  <a:pt x="17" y="74"/>
                </a:cubicBezTo>
                <a:cubicBezTo>
                  <a:pt x="16" y="73"/>
                  <a:pt x="16" y="73"/>
                  <a:pt x="16" y="73"/>
                </a:cubicBezTo>
                <a:cubicBezTo>
                  <a:pt x="15" y="73"/>
                  <a:pt x="15" y="73"/>
                  <a:pt x="15" y="73"/>
                </a:cubicBezTo>
                <a:cubicBezTo>
                  <a:pt x="15" y="75"/>
                  <a:pt x="15" y="75"/>
                  <a:pt x="15" y="75"/>
                </a:cubicBezTo>
                <a:cubicBezTo>
                  <a:pt x="15" y="75"/>
                  <a:pt x="15" y="75"/>
                  <a:pt x="15" y="75"/>
                </a:cubicBezTo>
                <a:cubicBezTo>
                  <a:pt x="14" y="75"/>
                  <a:pt x="14" y="75"/>
                  <a:pt x="14" y="75"/>
                </a:cubicBezTo>
                <a:cubicBezTo>
                  <a:pt x="14" y="75"/>
                  <a:pt x="14" y="75"/>
                  <a:pt x="14" y="75"/>
                </a:cubicBezTo>
                <a:cubicBezTo>
                  <a:pt x="15" y="76"/>
                  <a:pt x="15" y="76"/>
                  <a:pt x="15" y="76"/>
                </a:cubicBezTo>
                <a:cubicBezTo>
                  <a:pt x="15" y="77"/>
                  <a:pt x="15" y="77"/>
                  <a:pt x="15" y="77"/>
                </a:cubicBezTo>
                <a:cubicBezTo>
                  <a:pt x="14" y="78"/>
                  <a:pt x="14" y="78"/>
                  <a:pt x="14" y="78"/>
                </a:cubicBezTo>
                <a:cubicBezTo>
                  <a:pt x="14" y="78"/>
                  <a:pt x="14" y="78"/>
                  <a:pt x="14" y="78"/>
                </a:cubicBezTo>
                <a:cubicBezTo>
                  <a:pt x="13" y="79"/>
                  <a:pt x="13" y="79"/>
                  <a:pt x="13" y="79"/>
                </a:cubicBezTo>
                <a:cubicBezTo>
                  <a:pt x="12" y="79"/>
                  <a:pt x="12" y="79"/>
                  <a:pt x="12" y="79"/>
                </a:cubicBezTo>
                <a:cubicBezTo>
                  <a:pt x="12" y="78"/>
                  <a:pt x="12" y="78"/>
                  <a:pt x="12" y="78"/>
                </a:cubicBezTo>
                <a:cubicBezTo>
                  <a:pt x="11" y="78"/>
                  <a:pt x="11" y="78"/>
                  <a:pt x="11" y="78"/>
                </a:cubicBezTo>
                <a:cubicBezTo>
                  <a:pt x="10" y="78"/>
                  <a:pt x="10" y="78"/>
                  <a:pt x="10" y="78"/>
                </a:cubicBezTo>
                <a:cubicBezTo>
                  <a:pt x="10" y="79"/>
                  <a:pt x="10" y="79"/>
                  <a:pt x="10" y="79"/>
                </a:cubicBezTo>
                <a:cubicBezTo>
                  <a:pt x="10" y="80"/>
                  <a:pt x="10" y="80"/>
                  <a:pt x="10" y="80"/>
                </a:cubicBezTo>
                <a:cubicBezTo>
                  <a:pt x="10" y="81"/>
                  <a:pt x="10" y="81"/>
                  <a:pt x="10" y="81"/>
                </a:cubicBezTo>
                <a:cubicBezTo>
                  <a:pt x="10" y="82"/>
                  <a:pt x="10" y="82"/>
                  <a:pt x="10" y="82"/>
                </a:cubicBezTo>
                <a:cubicBezTo>
                  <a:pt x="9" y="82"/>
                  <a:pt x="9" y="82"/>
                  <a:pt x="9" y="82"/>
                </a:cubicBezTo>
                <a:cubicBezTo>
                  <a:pt x="9" y="83"/>
                  <a:pt x="9" y="83"/>
                  <a:pt x="9" y="83"/>
                </a:cubicBezTo>
                <a:cubicBezTo>
                  <a:pt x="9" y="85"/>
                  <a:pt x="9" y="85"/>
                  <a:pt x="9" y="85"/>
                </a:cubicBezTo>
                <a:cubicBezTo>
                  <a:pt x="9" y="85"/>
                  <a:pt x="9" y="85"/>
                  <a:pt x="9" y="85"/>
                </a:cubicBezTo>
                <a:cubicBezTo>
                  <a:pt x="9" y="86"/>
                  <a:pt x="9" y="86"/>
                  <a:pt x="9" y="86"/>
                </a:cubicBezTo>
                <a:cubicBezTo>
                  <a:pt x="9" y="87"/>
                  <a:pt x="9" y="87"/>
                  <a:pt x="9" y="87"/>
                </a:cubicBezTo>
                <a:cubicBezTo>
                  <a:pt x="10" y="87"/>
                  <a:pt x="10" y="87"/>
                  <a:pt x="10" y="87"/>
                </a:cubicBezTo>
                <a:cubicBezTo>
                  <a:pt x="11" y="87"/>
                  <a:pt x="11" y="87"/>
                  <a:pt x="11" y="87"/>
                </a:cubicBezTo>
                <a:cubicBezTo>
                  <a:pt x="10" y="89"/>
                  <a:pt x="10" y="89"/>
                  <a:pt x="10" y="89"/>
                </a:cubicBezTo>
                <a:cubicBezTo>
                  <a:pt x="10" y="89"/>
                  <a:pt x="10" y="89"/>
                  <a:pt x="10" y="89"/>
                </a:cubicBezTo>
                <a:cubicBezTo>
                  <a:pt x="11" y="91"/>
                  <a:pt x="11" y="91"/>
                  <a:pt x="11" y="91"/>
                </a:cubicBezTo>
                <a:cubicBezTo>
                  <a:pt x="10" y="91"/>
                  <a:pt x="10" y="91"/>
                  <a:pt x="10" y="91"/>
                </a:cubicBezTo>
                <a:cubicBezTo>
                  <a:pt x="12" y="93"/>
                  <a:pt x="12" y="93"/>
                  <a:pt x="12" y="93"/>
                </a:cubicBezTo>
                <a:cubicBezTo>
                  <a:pt x="12" y="94"/>
                  <a:pt x="12" y="94"/>
                  <a:pt x="12" y="94"/>
                </a:cubicBezTo>
                <a:cubicBezTo>
                  <a:pt x="12" y="94"/>
                  <a:pt x="12" y="94"/>
                  <a:pt x="12" y="94"/>
                </a:cubicBezTo>
                <a:cubicBezTo>
                  <a:pt x="13" y="96"/>
                  <a:pt x="13" y="96"/>
                  <a:pt x="13" y="96"/>
                </a:cubicBezTo>
                <a:cubicBezTo>
                  <a:pt x="12" y="96"/>
                  <a:pt x="12" y="96"/>
                  <a:pt x="12" y="96"/>
                </a:cubicBezTo>
                <a:cubicBezTo>
                  <a:pt x="12" y="98"/>
                  <a:pt x="12" y="98"/>
                  <a:pt x="12" y="98"/>
                </a:cubicBezTo>
                <a:cubicBezTo>
                  <a:pt x="12" y="99"/>
                  <a:pt x="12" y="99"/>
                  <a:pt x="12" y="99"/>
                </a:cubicBezTo>
                <a:cubicBezTo>
                  <a:pt x="11" y="102"/>
                  <a:pt x="11" y="102"/>
                  <a:pt x="11" y="102"/>
                </a:cubicBezTo>
                <a:cubicBezTo>
                  <a:pt x="12" y="102"/>
                  <a:pt x="12" y="102"/>
                  <a:pt x="12" y="102"/>
                </a:cubicBezTo>
                <a:cubicBezTo>
                  <a:pt x="12" y="104"/>
                  <a:pt x="12" y="104"/>
                  <a:pt x="12" y="104"/>
                </a:cubicBezTo>
                <a:cubicBezTo>
                  <a:pt x="12" y="105"/>
                  <a:pt x="12" y="105"/>
                  <a:pt x="12" y="105"/>
                </a:cubicBezTo>
                <a:cubicBezTo>
                  <a:pt x="12" y="105"/>
                  <a:pt x="12" y="105"/>
                  <a:pt x="12" y="105"/>
                </a:cubicBezTo>
                <a:cubicBezTo>
                  <a:pt x="14" y="105"/>
                  <a:pt x="14" y="105"/>
                  <a:pt x="14" y="105"/>
                </a:cubicBezTo>
                <a:cubicBezTo>
                  <a:pt x="14" y="105"/>
                  <a:pt x="14" y="105"/>
                  <a:pt x="14" y="105"/>
                </a:cubicBezTo>
                <a:cubicBezTo>
                  <a:pt x="15" y="104"/>
                  <a:pt x="15" y="104"/>
                  <a:pt x="15" y="104"/>
                </a:cubicBezTo>
                <a:cubicBezTo>
                  <a:pt x="16" y="106"/>
                  <a:pt x="16" y="106"/>
                  <a:pt x="16" y="106"/>
                </a:cubicBezTo>
                <a:cubicBezTo>
                  <a:pt x="17" y="106"/>
                  <a:pt x="17" y="106"/>
                  <a:pt x="17" y="106"/>
                </a:cubicBezTo>
                <a:cubicBezTo>
                  <a:pt x="18" y="107"/>
                  <a:pt x="18" y="107"/>
                  <a:pt x="18" y="107"/>
                </a:cubicBezTo>
                <a:cubicBezTo>
                  <a:pt x="19" y="106"/>
                  <a:pt x="19" y="106"/>
                  <a:pt x="19" y="106"/>
                </a:cubicBezTo>
                <a:cubicBezTo>
                  <a:pt x="20" y="107"/>
                  <a:pt x="20" y="107"/>
                  <a:pt x="20" y="107"/>
                </a:cubicBezTo>
                <a:cubicBezTo>
                  <a:pt x="20" y="107"/>
                  <a:pt x="20" y="107"/>
                  <a:pt x="20" y="107"/>
                </a:cubicBezTo>
                <a:cubicBezTo>
                  <a:pt x="20" y="107"/>
                  <a:pt x="20" y="107"/>
                  <a:pt x="20" y="107"/>
                </a:cubicBezTo>
                <a:cubicBezTo>
                  <a:pt x="22" y="106"/>
                  <a:pt x="22" y="106"/>
                  <a:pt x="22" y="106"/>
                </a:cubicBezTo>
                <a:cubicBezTo>
                  <a:pt x="22" y="107"/>
                  <a:pt x="22" y="107"/>
                  <a:pt x="22" y="107"/>
                </a:cubicBezTo>
                <a:cubicBezTo>
                  <a:pt x="21" y="108"/>
                  <a:pt x="21" y="108"/>
                  <a:pt x="21" y="108"/>
                </a:cubicBezTo>
                <a:cubicBezTo>
                  <a:pt x="23" y="111"/>
                  <a:pt x="23" y="111"/>
                  <a:pt x="23" y="111"/>
                </a:cubicBezTo>
                <a:cubicBezTo>
                  <a:pt x="23" y="111"/>
                  <a:pt x="23" y="111"/>
                  <a:pt x="23" y="111"/>
                </a:cubicBezTo>
                <a:cubicBezTo>
                  <a:pt x="22" y="113"/>
                  <a:pt x="22" y="113"/>
                  <a:pt x="22" y="113"/>
                </a:cubicBezTo>
                <a:cubicBezTo>
                  <a:pt x="23" y="113"/>
                  <a:pt x="23" y="113"/>
                  <a:pt x="23" y="113"/>
                </a:cubicBezTo>
                <a:cubicBezTo>
                  <a:pt x="24" y="111"/>
                  <a:pt x="24" y="111"/>
                  <a:pt x="24" y="111"/>
                </a:cubicBezTo>
                <a:cubicBezTo>
                  <a:pt x="24" y="111"/>
                  <a:pt x="24" y="111"/>
                  <a:pt x="24" y="111"/>
                </a:cubicBezTo>
                <a:cubicBezTo>
                  <a:pt x="24" y="111"/>
                  <a:pt x="24" y="111"/>
                  <a:pt x="24" y="111"/>
                </a:cubicBezTo>
                <a:cubicBezTo>
                  <a:pt x="26" y="111"/>
                  <a:pt x="26" y="111"/>
                  <a:pt x="26" y="111"/>
                </a:cubicBezTo>
                <a:cubicBezTo>
                  <a:pt x="26" y="111"/>
                  <a:pt x="26" y="111"/>
                  <a:pt x="26" y="111"/>
                </a:cubicBezTo>
                <a:cubicBezTo>
                  <a:pt x="28" y="109"/>
                  <a:pt x="28" y="109"/>
                  <a:pt x="28" y="109"/>
                </a:cubicBezTo>
                <a:cubicBezTo>
                  <a:pt x="30" y="109"/>
                  <a:pt x="30" y="109"/>
                  <a:pt x="30" y="109"/>
                </a:cubicBezTo>
                <a:cubicBezTo>
                  <a:pt x="32" y="108"/>
                  <a:pt x="32" y="108"/>
                  <a:pt x="32" y="108"/>
                </a:cubicBezTo>
                <a:cubicBezTo>
                  <a:pt x="32" y="107"/>
                  <a:pt x="32" y="107"/>
                  <a:pt x="32" y="107"/>
                </a:cubicBezTo>
                <a:cubicBezTo>
                  <a:pt x="34" y="108"/>
                  <a:pt x="34" y="108"/>
                  <a:pt x="34" y="108"/>
                </a:cubicBezTo>
                <a:cubicBezTo>
                  <a:pt x="35" y="107"/>
                  <a:pt x="35" y="107"/>
                  <a:pt x="35" y="107"/>
                </a:cubicBezTo>
                <a:cubicBezTo>
                  <a:pt x="36" y="106"/>
                  <a:pt x="36" y="106"/>
                  <a:pt x="36" y="106"/>
                </a:cubicBezTo>
                <a:cubicBezTo>
                  <a:pt x="36" y="106"/>
                  <a:pt x="36" y="106"/>
                  <a:pt x="36" y="106"/>
                </a:cubicBezTo>
                <a:cubicBezTo>
                  <a:pt x="36" y="107"/>
                  <a:pt x="36" y="107"/>
                  <a:pt x="36" y="107"/>
                </a:cubicBezTo>
                <a:cubicBezTo>
                  <a:pt x="36" y="108"/>
                  <a:pt x="36" y="108"/>
                  <a:pt x="36" y="108"/>
                </a:cubicBezTo>
                <a:cubicBezTo>
                  <a:pt x="37" y="106"/>
                  <a:pt x="37" y="106"/>
                  <a:pt x="37" y="106"/>
                </a:cubicBezTo>
                <a:cubicBezTo>
                  <a:pt x="38" y="106"/>
                  <a:pt x="38" y="106"/>
                  <a:pt x="38" y="106"/>
                </a:cubicBezTo>
                <a:cubicBezTo>
                  <a:pt x="37" y="105"/>
                  <a:pt x="37" y="105"/>
                  <a:pt x="37" y="105"/>
                </a:cubicBezTo>
                <a:cubicBezTo>
                  <a:pt x="38" y="105"/>
                  <a:pt x="38" y="105"/>
                  <a:pt x="38" y="105"/>
                </a:cubicBezTo>
                <a:cubicBezTo>
                  <a:pt x="38" y="106"/>
                  <a:pt x="38" y="106"/>
                  <a:pt x="38" y="106"/>
                </a:cubicBezTo>
                <a:cubicBezTo>
                  <a:pt x="39" y="106"/>
                  <a:pt x="39" y="106"/>
                  <a:pt x="39" y="106"/>
                </a:cubicBezTo>
                <a:cubicBezTo>
                  <a:pt x="39" y="105"/>
                  <a:pt x="39" y="105"/>
                  <a:pt x="39" y="105"/>
                </a:cubicBezTo>
                <a:cubicBezTo>
                  <a:pt x="40" y="106"/>
                  <a:pt x="40" y="106"/>
                  <a:pt x="40" y="106"/>
                </a:cubicBezTo>
                <a:cubicBezTo>
                  <a:pt x="41" y="106"/>
                  <a:pt x="41" y="106"/>
                  <a:pt x="41" y="106"/>
                </a:cubicBezTo>
                <a:cubicBezTo>
                  <a:pt x="41" y="105"/>
                  <a:pt x="41" y="105"/>
                  <a:pt x="41" y="105"/>
                </a:cubicBezTo>
                <a:cubicBezTo>
                  <a:pt x="41" y="105"/>
                  <a:pt x="41" y="105"/>
                  <a:pt x="41" y="105"/>
                </a:cubicBezTo>
                <a:cubicBezTo>
                  <a:pt x="42" y="106"/>
                  <a:pt x="42" y="106"/>
                  <a:pt x="42" y="106"/>
                </a:cubicBezTo>
                <a:cubicBezTo>
                  <a:pt x="42" y="105"/>
                  <a:pt x="42" y="105"/>
                  <a:pt x="42" y="105"/>
                </a:cubicBezTo>
                <a:cubicBezTo>
                  <a:pt x="44" y="105"/>
                  <a:pt x="44" y="105"/>
                  <a:pt x="44" y="105"/>
                </a:cubicBezTo>
                <a:cubicBezTo>
                  <a:pt x="45" y="106"/>
                  <a:pt x="45" y="106"/>
                  <a:pt x="45" y="106"/>
                </a:cubicBezTo>
                <a:cubicBezTo>
                  <a:pt x="47" y="106"/>
                  <a:pt x="47" y="106"/>
                  <a:pt x="47" y="106"/>
                </a:cubicBezTo>
                <a:cubicBezTo>
                  <a:pt x="47" y="105"/>
                  <a:pt x="47" y="105"/>
                  <a:pt x="47" y="105"/>
                </a:cubicBezTo>
                <a:cubicBezTo>
                  <a:pt x="47" y="104"/>
                  <a:pt x="47" y="104"/>
                  <a:pt x="47" y="104"/>
                </a:cubicBezTo>
                <a:cubicBezTo>
                  <a:pt x="47" y="104"/>
                  <a:pt x="47" y="104"/>
                  <a:pt x="47" y="104"/>
                </a:cubicBezTo>
                <a:cubicBezTo>
                  <a:pt x="48" y="104"/>
                  <a:pt x="48" y="104"/>
                  <a:pt x="48" y="104"/>
                </a:cubicBezTo>
                <a:cubicBezTo>
                  <a:pt x="48" y="105"/>
                  <a:pt x="48" y="105"/>
                  <a:pt x="48" y="105"/>
                </a:cubicBezTo>
                <a:cubicBezTo>
                  <a:pt x="49" y="105"/>
                  <a:pt x="49" y="105"/>
                  <a:pt x="49" y="105"/>
                </a:cubicBezTo>
                <a:cubicBezTo>
                  <a:pt x="49" y="105"/>
                  <a:pt x="50" y="105"/>
                  <a:pt x="50" y="104"/>
                </a:cubicBezTo>
                <a:close/>
                <a:moveTo>
                  <a:pt x="26" y="59"/>
                </a:moveTo>
                <a:cubicBezTo>
                  <a:pt x="26" y="59"/>
                  <a:pt x="26" y="59"/>
                  <a:pt x="26" y="59"/>
                </a:cubicBezTo>
                <a:cubicBezTo>
                  <a:pt x="25" y="59"/>
                  <a:pt x="25" y="59"/>
                  <a:pt x="25" y="59"/>
                </a:cubicBezTo>
                <a:cubicBezTo>
                  <a:pt x="24" y="58"/>
                  <a:pt x="24" y="58"/>
                  <a:pt x="24" y="58"/>
                </a:cubicBezTo>
                <a:cubicBezTo>
                  <a:pt x="25" y="57"/>
                  <a:pt x="25" y="57"/>
                  <a:pt x="25" y="57"/>
                </a:cubicBezTo>
                <a:cubicBezTo>
                  <a:pt x="27" y="57"/>
                  <a:pt x="27" y="57"/>
                  <a:pt x="27" y="57"/>
                </a:cubicBezTo>
                <a:cubicBezTo>
                  <a:pt x="27" y="58"/>
                  <a:pt x="27" y="58"/>
                  <a:pt x="27" y="58"/>
                </a:cubicBezTo>
                <a:cubicBezTo>
                  <a:pt x="26" y="58"/>
                  <a:pt x="26" y="58"/>
                  <a:pt x="26" y="58"/>
                </a:cubicBezTo>
                <a:cubicBezTo>
                  <a:pt x="26" y="59"/>
                  <a:pt x="26" y="59"/>
                  <a:pt x="26" y="59"/>
                </a:cubicBezTo>
                <a:close/>
                <a:moveTo>
                  <a:pt x="9" y="77"/>
                </a:moveTo>
                <a:cubicBezTo>
                  <a:pt x="9" y="76"/>
                  <a:pt x="9" y="76"/>
                  <a:pt x="9" y="76"/>
                </a:cubicBezTo>
                <a:cubicBezTo>
                  <a:pt x="10" y="76"/>
                  <a:pt x="10" y="76"/>
                  <a:pt x="10" y="76"/>
                </a:cubicBezTo>
                <a:cubicBezTo>
                  <a:pt x="9" y="77"/>
                  <a:pt x="9" y="77"/>
                  <a:pt x="9" y="77"/>
                </a:cubicBezTo>
                <a:cubicBezTo>
                  <a:pt x="9" y="77"/>
                  <a:pt x="9" y="77"/>
                  <a:pt x="9" y="77"/>
                </a:cubicBezTo>
                <a:close/>
                <a:moveTo>
                  <a:pt x="8" y="77"/>
                </a:moveTo>
                <a:cubicBezTo>
                  <a:pt x="9" y="78"/>
                  <a:pt x="9" y="78"/>
                  <a:pt x="9" y="78"/>
                </a:cubicBezTo>
                <a:cubicBezTo>
                  <a:pt x="10" y="78"/>
                  <a:pt x="10" y="78"/>
                  <a:pt x="10" y="78"/>
                </a:cubicBezTo>
                <a:cubicBezTo>
                  <a:pt x="10" y="79"/>
                  <a:pt x="10" y="79"/>
                  <a:pt x="10" y="79"/>
                </a:cubicBezTo>
                <a:cubicBezTo>
                  <a:pt x="9" y="79"/>
                  <a:pt x="9" y="79"/>
                  <a:pt x="9" y="79"/>
                </a:cubicBezTo>
                <a:cubicBezTo>
                  <a:pt x="8" y="78"/>
                  <a:pt x="8" y="78"/>
                  <a:pt x="8" y="78"/>
                </a:cubicBezTo>
                <a:cubicBezTo>
                  <a:pt x="8" y="77"/>
                  <a:pt x="8" y="77"/>
                  <a:pt x="8" y="77"/>
                </a:cubicBezTo>
                <a:close/>
                <a:moveTo>
                  <a:pt x="21" y="110"/>
                </a:moveTo>
                <a:cubicBezTo>
                  <a:pt x="21" y="111"/>
                  <a:pt x="21" y="111"/>
                  <a:pt x="21" y="111"/>
                </a:cubicBezTo>
                <a:cubicBezTo>
                  <a:pt x="21" y="112"/>
                  <a:pt x="21" y="112"/>
                  <a:pt x="21" y="112"/>
                </a:cubicBezTo>
                <a:cubicBezTo>
                  <a:pt x="20" y="111"/>
                  <a:pt x="20" y="111"/>
                  <a:pt x="20" y="111"/>
                </a:cubicBezTo>
                <a:cubicBezTo>
                  <a:pt x="21" y="111"/>
                  <a:pt x="21" y="111"/>
                  <a:pt x="21" y="111"/>
                </a:cubicBezTo>
                <a:cubicBezTo>
                  <a:pt x="21" y="110"/>
                  <a:pt x="21" y="110"/>
                  <a:pt x="21" y="110"/>
                </a:cubicBezTo>
                <a:close/>
                <a:moveTo>
                  <a:pt x="20" y="109"/>
                </a:moveTo>
                <a:cubicBezTo>
                  <a:pt x="20" y="109"/>
                  <a:pt x="20" y="110"/>
                  <a:pt x="20" y="110"/>
                </a:cubicBezTo>
                <a:cubicBezTo>
                  <a:pt x="19" y="110"/>
                  <a:pt x="19" y="110"/>
                  <a:pt x="19" y="110"/>
                </a:cubicBezTo>
                <a:cubicBezTo>
                  <a:pt x="20" y="109"/>
                  <a:pt x="20" y="109"/>
                  <a:pt x="20" y="109"/>
                </a:cubicBezTo>
                <a:close/>
                <a:moveTo>
                  <a:pt x="17" y="108"/>
                </a:moveTo>
                <a:cubicBezTo>
                  <a:pt x="19" y="107"/>
                  <a:pt x="19" y="107"/>
                  <a:pt x="19" y="107"/>
                </a:cubicBezTo>
                <a:cubicBezTo>
                  <a:pt x="19" y="108"/>
                  <a:pt x="19" y="108"/>
                  <a:pt x="19" y="108"/>
                </a:cubicBezTo>
                <a:cubicBezTo>
                  <a:pt x="18" y="109"/>
                  <a:pt x="18" y="109"/>
                  <a:pt x="18" y="109"/>
                </a:cubicBezTo>
                <a:cubicBezTo>
                  <a:pt x="17" y="108"/>
                  <a:pt x="17" y="108"/>
                  <a:pt x="17" y="108"/>
                </a:cubicBezTo>
                <a:cubicBezTo>
                  <a:pt x="17" y="108"/>
                  <a:pt x="17" y="108"/>
                  <a:pt x="17" y="108"/>
                </a:cubicBezTo>
                <a:close/>
                <a:moveTo>
                  <a:pt x="14" y="106"/>
                </a:moveTo>
                <a:cubicBezTo>
                  <a:pt x="16" y="107"/>
                  <a:pt x="16" y="107"/>
                  <a:pt x="16" y="107"/>
                </a:cubicBezTo>
                <a:cubicBezTo>
                  <a:pt x="15" y="107"/>
                  <a:pt x="15" y="107"/>
                  <a:pt x="15" y="107"/>
                </a:cubicBezTo>
                <a:cubicBezTo>
                  <a:pt x="14" y="107"/>
                  <a:pt x="14" y="107"/>
                  <a:pt x="14" y="107"/>
                </a:cubicBezTo>
                <a:cubicBezTo>
                  <a:pt x="14" y="106"/>
                  <a:pt x="14" y="106"/>
                  <a:pt x="14" y="106"/>
                </a:cubicBezTo>
                <a:close/>
                <a:moveTo>
                  <a:pt x="12" y="106"/>
                </a:moveTo>
                <a:cubicBezTo>
                  <a:pt x="13" y="106"/>
                  <a:pt x="13" y="106"/>
                  <a:pt x="13" y="106"/>
                </a:cubicBezTo>
                <a:cubicBezTo>
                  <a:pt x="12" y="107"/>
                  <a:pt x="12" y="107"/>
                  <a:pt x="12" y="107"/>
                </a:cubicBezTo>
                <a:cubicBezTo>
                  <a:pt x="12" y="107"/>
                  <a:pt x="12" y="106"/>
                  <a:pt x="12" y="106"/>
                </a:cubicBezTo>
                <a:close/>
                <a:moveTo>
                  <a:pt x="3" y="108"/>
                </a:moveTo>
                <a:cubicBezTo>
                  <a:pt x="5" y="108"/>
                  <a:pt x="5" y="108"/>
                  <a:pt x="5" y="108"/>
                </a:cubicBezTo>
                <a:cubicBezTo>
                  <a:pt x="5" y="108"/>
                  <a:pt x="5" y="108"/>
                  <a:pt x="5" y="108"/>
                </a:cubicBezTo>
                <a:cubicBezTo>
                  <a:pt x="4" y="107"/>
                  <a:pt x="4" y="107"/>
                  <a:pt x="4" y="107"/>
                </a:cubicBezTo>
                <a:cubicBezTo>
                  <a:pt x="4" y="106"/>
                  <a:pt x="4" y="106"/>
                  <a:pt x="4" y="106"/>
                </a:cubicBezTo>
                <a:cubicBezTo>
                  <a:pt x="5" y="106"/>
                  <a:pt x="5" y="106"/>
                  <a:pt x="5" y="106"/>
                </a:cubicBezTo>
                <a:cubicBezTo>
                  <a:pt x="7" y="107"/>
                  <a:pt x="7" y="107"/>
                  <a:pt x="7" y="107"/>
                </a:cubicBezTo>
                <a:cubicBezTo>
                  <a:pt x="7" y="108"/>
                  <a:pt x="7" y="108"/>
                  <a:pt x="7" y="108"/>
                </a:cubicBezTo>
                <a:cubicBezTo>
                  <a:pt x="6" y="108"/>
                  <a:pt x="6" y="108"/>
                  <a:pt x="6" y="108"/>
                </a:cubicBezTo>
                <a:cubicBezTo>
                  <a:pt x="6" y="109"/>
                  <a:pt x="6" y="109"/>
                  <a:pt x="6" y="109"/>
                </a:cubicBezTo>
                <a:cubicBezTo>
                  <a:pt x="6" y="110"/>
                  <a:pt x="6" y="110"/>
                  <a:pt x="6" y="110"/>
                </a:cubicBezTo>
                <a:cubicBezTo>
                  <a:pt x="7" y="110"/>
                  <a:pt x="7" y="110"/>
                  <a:pt x="7" y="110"/>
                </a:cubicBezTo>
                <a:cubicBezTo>
                  <a:pt x="7" y="111"/>
                  <a:pt x="7" y="111"/>
                  <a:pt x="7" y="111"/>
                </a:cubicBezTo>
                <a:cubicBezTo>
                  <a:pt x="7" y="111"/>
                  <a:pt x="7" y="111"/>
                  <a:pt x="7" y="111"/>
                </a:cubicBezTo>
                <a:cubicBezTo>
                  <a:pt x="5" y="110"/>
                  <a:pt x="5" y="110"/>
                  <a:pt x="5" y="110"/>
                </a:cubicBezTo>
                <a:cubicBezTo>
                  <a:pt x="4" y="110"/>
                  <a:pt x="4" y="110"/>
                  <a:pt x="4" y="110"/>
                </a:cubicBezTo>
                <a:cubicBezTo>
                  <a:pt x="4" y="109"/>
                  <a:pt x="4" y="109"/>
                  <a:pt x="4" y="109"/>
                </a:cubicBezTo>
                <a:cubicBezTo>
                  <a:pt x="3" y="109"/>
                  <a:pt x="3" y="109"/>
                  <a:pt x="3" y="109"/>
                </a:cubicBezTo>
                <a:lnTo>
                  <a:pt x="3" y="108"/>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8" name="Freeform 46">
            <a:extLst>
              <a:ext uri="{FF2B5EF4-FFF2-40B4-BE49-F238E27FC236}">
                <a16:creationId xmlns:a16="http://schemas.microsoft.com/office/drawing/2014/main" id="{BBD057DD-1111-FBC9-8E85-930CB025E0DE}"/>
              </a:ext>
            </a:extLst>
          </p:cNvPr>
          <p:cNvSpPr>
            <a:spLocks noEditPoints="1"/>
          </p:cNvSpPr>
          <p:nvPr userDrawn="1"/>
        </p:nvSpPr>
        <p:spPr bwMode="auto">
          <a:xfrm>
            <a:off x="14321495" y="5076108"/>
            <a:ext cx="336528" cy="228600"/>
          </a:xfrm>
          <a:custGeom>
            <a:avLst/>
            <a:gdLst>
              <a:gd name="T0" fmla="*/ 103 w 106"/>
              <a:gd name="T1" fmla="*/ 66 h 72"/>
              <a:gd name="T2" fmla="*/ 106 w 106"/>
              <a:gd name="T3" fmla="*/ 59 h 72"/>
              <a:gd name="T4" fmla="*/ 96 w 106"/>
              <a:gd name="T5" fmla="*/ 41 h 72"/>
              <a:gd name="T6" fmla="*/ 100 w 106"/>
              <a:gd name="T7" fmla="*/ 25 h 72"/>
              <a:gd name="T8" fmla="*/ 103 w 106"/>
              <a:gd name="T9" fmla="*/ 12 h 72"/>
              <a:gd name="T10" fmla="*/ 106 w 106"/>
              <a:gd name="T11" fmla="*/ 12 h 72"/>
              <a:gd name="T12" fmla="*/ 103 w 106"/>
              <a:gd name="T13" fmla="*/ 9 h 72"/>
              <a:gd name="T14" fmla="*/ 81 w 106"/>
              <a:gd name="T15" fmla="*/ 6 h 72"/>
              <a:gd name="T16" fmla="*/ 68 w 106"/>
              <a:gd name="T17" fmla="*/ 3 h 72"/>
              <a:gd name="T18" fmla="*/ 62 w 106"/>
              <a:gd name="T19" fmla="*/ 0 h 72"/>
              <a:gd name="T20" fmla="*/ 59 w 106"/>
              <a:gd name="T21" fmla="*/ 3 h 72"/>
              <a:gd name="T22" fmla="*/ 59 w 106"/>
              <a:gd name="T23" fmla="*/ 6 h 72"/>
              <a:gd name="T24" fmla="*/ 56 w 106"/>
              <a:gd name="T25" fmla="*/ 9 h 72"/>
              <a:gd name="T26" fmla="*/ 46 w 106"/>
              <a:gd name="T27" fmla="*/ 6 h 72"/>
              <a:gd name="T28" fmla="*/ 43 w 106"/>
              <a:gd name="T29" fmla="*/ 9 h 72"/>
              <a:gd name="T30" fmla="*/ 37 w 106"/>
              <a:gd name="T31" fmla="*/ 16 h 72"/>
              <a:gd name="T32" fmla="*/ 28 w 106"/>
              <a:gd name="T33" fmla="*/ 16 h 72"/>
              <a:gd name="T34" fmla="*/ 28 w 106"/>
              <a:gd name="T35" fmla="*/ 31 h 72"/>
              <a:gd name="T36" fmla="*/ 31 w 106"/>
              <a:gd name="T37" fmla="*/ 31 h 72"/>
              <a:gd name="T38" fmla="*/ 34 w 106"/>
              <a:gd name="T39" fmla="*/ 34 h 72"/>
              <a:gd name="T40" fmla="*/ 31 w 106"/>
              <a:gd name="T41" fmla="*/ 41 h 72"/>
              <a:gd name="T42" fmla="*/ 40 w 106"/>
              <a:gd name="T43" fmla="*/ 50 h 72"/>
              <a:gd name="T44" fmla="*/ 40 w 106"/>
              <a:gd name="T45" fmla="*/ 47 h 72"/>
              <a:gd name="T46" fmla="*/ 46 w 106"/>
              <a:gd name="T47" fmla="*/ 47 h 72"/>
              <a:gd name="T48" fmla="*/ 43 w 106"/>
              <a:gd name="T49" fmla="*/ 59 h 72"/>
              <a:gd name="T50" fmla="*/ 53 w 106"/>
              <a:gd name="T51" fmla="*/ 53 h 72"/>
              <a:gd name="T52" fmla="*/ 62 w 106"/>
              <a:gd name="T53" fmla="*/ 56 h 72"/>
              <a:gd name="T54" fmla="*/ 65 w 106"/>
              <a:gd name="T55" fmla="*/ 53 h 72"/>
              <a:gd name="T56" fmla="*/ 68 w 106"/>
              <a:gd name="T57" fmla="*/ 59 h 72"/>
              <a:gd name="T58" fmla="*/ 78 w 106"/>
              <a:gd name="T59" fmla="*/ 62 h 72"/>
              <a:gd name="T60" fmla="*/ 84 w 106"/>
              <a:gd name="T61" fmla="*/ 69 h 72"/>
              <a:gd name="T62" fmla="*/ 93 w 106"/>
              <a:gd name="T63" fmla="*/ 69 h 72"/>
              <a:gd name="T64" fmla="*/ 100 w 106"/>
              <a:gd name="T65" fmla="*/ 72 h 72"/>
              <a:gd name="T66" fmla="*/ 25 w 106"/>
              <a:gd name="T67" fmla="*/ 25 h 72"/>
              <a:gd name="T68" fmla="*/ 21 w 106"/>
              <a:gd name="T69" fmla="*/ 28 h 72"/>
              <a:gd name="T70" fmla="*/ 21 w 106"/>
              <a:gd name="T71" fmla="*/ 25 h 72"/>
              <a:gd name="T72" fmla="*/ 12 w 106"/>
              <a:gd name="T73" fmla="*/ 31 h 72"/>
              <a:gd name="T74" fmla="*/ 3 w 106"/>
              <a:gd name="T75" fmla="*/ 31 h 72"/>
              <a:gd name="T76" fmla="*/ 9 w 106"/>
              <a:gd name="T77" fmla="*/ 28 h 72"/>
              <a:gd name="T78" fmla="*/ 12 w 106"/>
              <a:gd name="T79" fmla="*/ 25 h 72"/>
              <a:gd name="T80" fmla="*/ 15 w 106"/>
              <a:gd name="T81" fmla="*/ 25 h 72"/>
              <a:gd name="T82" fmla="*/ 21 w 106"/>
              <a:gd name="T83" fmla="*/ 31 h 72"/>
              <a:gd name="T84" fmla="*/ 15 w 106"/>
              <a:gd name="T85" fmla="*/ 31 h 72"/>
              <a:gd name="T86" fmla="*/ 12 w 106"/>
              <a:gd name="T87" fmla="*/ 34 h 72"/>
              <a:gd name="T88" fmla="*/ 21 w 106"/>
              <a:gd name="T89" fmla="*/ 34 h 72"/>
              <a:gd name="T90" fmla="*/ 28 w 106"/>
              <a:gd name="T91" fmla="*/ 41 h 72"/>
              <a:gd name="T92" fmla="*/ 21 w 106"/>
              <a:gd name="T93" fmla="*/ 37 h 72"/>
              <a:gd name="T94" fmla="*/ 3 w 106"/>
              <a:gd name="T95" fmla="*/ 59 h 72"/>
              <a:gd name="T96" fmla="*/ 9 w 106"/>
              <a:gd name="T97" fmla="*/ 56 h 72"/>
              <a:gd name="T98" fmla="*/ 9 w 106"/>
              <a:gd name="T99" fmla="*/ 50 h 72"/>
              <a:gd name="T100" fmla="*/ 18 w 106"/>
              <a:gd name="T101" fmla="*/ 47 h 72"/>
              <a:gd name="T102" fmla="*/ 21 w 106"/>
              <a:gd name="T103" fmla="*/ 44 h 72"/>
              <a:gd name="T104" fmla="*/ 21 w 106"/>
              <a:gd name="T105" fmla="*/ 41 h 72"/>
              <a:gd name="T106" fmla="*/ 18 w 106"/>
              <a:gd name="T107" fmla="*/ 37 h 72"/>
              <a:gd name="T108" fmla="*/ 9 w 106"/>
              <a:gd name="T109" fmla="*/ 37 h 72"/>
              <a:gd name="T110" fmla="*/ 6 w 106"/>
              <a:gd name="T111" fmla="*/ 41 h 72"/>
              <a:gd name="T112" fmla="*/ 6 w 106"/>
              <a:gd name="T113" fmla="*/ 41 h 72"/>
              <a:gd name="T114" fmla="*/ 3 w 106"/>
              <a:gd name="T115" fmla="*/ 41 h 72"/>
              <a:gd name="T116" fmla="*/ 3 w 106"/>
              <a:gd name="T117" fmla="*/ 44 h 72"/>
              <a:gd name="T118" fmla="*/ 0 w 106"/>
              <a:gd name="T119" fmla="*/ 47 h 72"/>
              <a:gd name="T120" fmla="*/ 3 w 106"/>
              <a:gd name="T121" fmla="*/ 50 h 72"/>
              <a:gd name="T122" fmla="*/ 6 w 106"/>
              <a:gd name="T123" fmla="*/ 56 h 72"/>
              <a:gd name="T124" fmla="*/ 3 w 106"/>
              <a:gd name="T125" fmla="*/ 5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 h="72">
                <a:moveTo>
                  <a:pt x="100" y="72"/>
                </a:moveTo>
                <a:lnTo>
                  <a:pt x="103" y="66"/>
                </a:lnTo>
                <a:lnTo>
                  <a:pt x="103" y="62"/>
                </a:lnTo>
                <a:lnTo>
                  <a:pt x="106" y="59"/>
                </a:lnTo>
                <a:lnTo>
                  <a:pt x="106" y="56"/>
                </a:lnTo>
                <a:lnTo>
                  <a:pt x="96" y="41"/>
                </a:lnTo>
                <a:lnTo>
                  <a:pt x="96" y="25"/>
                </a:lnTo>
                <a:lnTo>
                  <a:pt x="100" y="25"/>
                </a:lnTo>
                <a:lnTo>
                  <a:pt x="100" y="19"/>
                </a:lnTo>
                <a:lnTo>
                  <a:pt x="103" y="12"/>
                </a:lnTo>
                <a:lnTo>
                  <a:pt x="106" y="12"/>
                </a:lnTo>
                <a:lnTo>
                  <a:pt x="106" y="12"/>
                </a:lnTo>
                <a:lnTo>
                  <a:pt x="103" y="9"/>
                </a:lnTo>
                <a:lnTo>
                  <a:pt x="103" y="9"/>
                </a:lnTo>
                <a:lnTo>
                  <a:pt x="87" y="9"/>
                </a:lnTo>
                <a:lnTo>
                  <a:pt x="81" y="6"/>
                </a:lnTo>
                <a:lnTo>
                  <a:pt x="71" y="6"/>
                </a:lnTo>
                <a:lnTo>
                  <a:pt x="68" y="3"/>
                </a:lnTo>
                <a:lnTo>
                  <a:pt x="65" y="6"/>
                </a:lnTo>
                <a:lnTo>
                  <a:pt x="62" y="0"/>
                </a:lnTo>
                <a:lnTo>
                  <a:pt x="62" y="3"/>
                </a:lnTo>
                <a:lnTo>
                  <a:pt x="59" y="3"/>
                </a:lnTo>
                <a:lnTo>
                  <a:pt x="59" y="6"/>
                </a:lnTo>
                <a:lnTo>
                  <a:pt x="59" y="6"/>
                </a:lnTo>
                <a:lnTo>
                  <a:pt x="56" y="9"/>
                </a:lnTo>
                <a:lnTo>
                  <a:pt x="56" y="9"/>
                </a:lnTo>
                <a:lnTo>
                  <a:pt x="46" y="9"/>
                </a:lnTo>
                <a:lnTo>
                  <a:pt x="46" y="6"/>
                </a:lnTo>
                <a:lnTo>
                  <a:pt x="46" y="9"/>
                </a:lnTo>
                <a:lnTo>
                  <a:pt x="43" y="9"/>
                </a:lnTo>
                <a:lnTo>
                  <a:pt x="37" y="9"/>
                </a:lnTo>
                <a:lnTo>
                  <a:pt x="37" y="16"/>
                </a:lnTo>
                <a:lnTo>
                  <a:pt x="34" y="12"/>
                </a:lnTo>
                <a:lnTo>
                  <a:pt x="28" y="16"/>
                </a:lnTo>
                <a:lnTo>
                  <a:pt x="28" y="19"/>
                </a:lnTo>
                <a:lnTo>
                  <a:pt x="28" y="31"/>
                </a:lnTo>
                <a:lnTo>
                  <a:pt x="31" y="34"/>
                </a:lnTo>
                <a:lnTo>
                  <a:pt x="31" y="31"/>
                </a:lnTo>
                <a:lnTo>
                  <a:pt x="34" y="31"/>
                </a:lnTo>
                <a:lnTo>
                  <a:pt x="34" y="34"/>
                </a:lnTo>
                <a:lnTo>
                  <a:pt x="31" y="34"/>
                </a:lnTo>
                <a:lnTo>
                  <a:pt x="31" y="41"/>
                </a:lnTo>
                <a:lnTo>
                  <a:pt x="34" y="44"/>
                </a:lnTo>
                <a:lnTo>
                  <a:pt x="40" y="50"/>
                </a:lnTo>
                <a:lnTo>
                  <a:pt x="40" y="50"/>
                </a:lnTo>
                <a:lnTo>
                  <a:pt x="40" y="47"/>
                </a:lnTo>
                <a:lnTo>
                  <a:pt x="43" y="44"/>
                </a:lnTo>
                <a:lnTo>
                  <a:pt x="46" y="47"/>
                </a:lnTo>
                <a:lnTo>
                  <a:pt x="43" y="56"/>
                </a:lnTo>
                <a:lnTo>
                  <a:pt x="43" y="59"/>
                </a:lnTo>
                <a:lnTo>
                  <a:pt x="46" y="59"/>
                </a:lnTo>
                <a:lnTo>
                  <a:pt x="53" y="53"/>
                </a:lnTo>
                <a:lnTo>
                  <a:pt x="56" y="53"/>
                </a:lnTo>
                <a:lnTo>
                  <a:pt x="62" y="56"/>
                </a:lnTo>
                <a:lnTo>
                  <a:pt x="65" y="56"/>
                </a:lnTo>
                <a:lnTo>
                  <a:pt x="65" y="53"/>
                </a:lnTo>
                <a:lnTo>
                  <a:pt x="68" y="56"/>
                </a:lnTo>
                <a:lnTo>
                  <a:pt x="68" y="59"/>
                </a:lnTo>
                <a:lnTo>
                  <a:pt x="71" y="59"/>
                </a:lnTo>
                <a:lnTo>
                  <a:pt x="78" y="62"/>
                </a:lnTo>
                <a:lnTo>
                  <a:pt x="81" y="66"/>
                </a:lnTo>
                <a:lnTo>
                  <a:pt x="84" y="69"/>
                </a:lnTo>
                <a:lnTo>
                  <a:pt x="87" y="72"/>
                </a:lnTo>
                <a:lnTo>
                  <a:pt x="93" y="69"/>
                </a:lnTo>
                <a:lnTo>
                  <a:pt x="100" y="72"/>
                </a:lnTo>
                <a:lnTo>
                  <a:pt x="100" y="72"/>
                </a:lnTo>
                <a:close/>
                <a:moveTo>
                  <a:pt x="21" y="25"/>
                </a:moveTo>
                <a:lnTo>
                  <a:pt x="25" y="25"/>
                </a:lnTo>
                <a:lnTo>
                  <a:pt x="25" y="28"/>
                </a:lnTo>
                <a:lnTo>
                  <a:pt x="21" y="28"/>
                </a:lnTo>
                <a:lnTo>
                  <a:pt x="21" y="25"/>
                </a:lnTo>
                <a:lnTo>
                  <a:pt x="21" y="25"/>
                </a:lnTo>
                <a:close/>
                <a:moveTo>
                  <a:pt x="12" y="34"/>
                </a:moveTo>
                <a:lnTo>
                  <a:pt x="12" y="31"/>
                </a:lnTo>
                <a:lnTo>
                  <a:pt x="9" y="31"/>
                </a:lnTo>
                <a:lnTo>
                  <a:pt x="3" y="31"/>
                </a:lnTo>
                <a:lnTo>
                  <a:pt x="3" y="31"/>
                </a:lnTo>
                <a:lnTo>
                  <a:pt x="9" y="28"/>
                </a:lnTo>
                <a:lnTo>
                  <a:pt x="12" y="25"/>
                </a:lnTo>
                <a:lnTo>
                  <a:pt x="12" y="25"/>
                </a:lnTo>
                <a:lnTo>
                  <a:pt x="12" y="25"/>
                </a:lnTo>
                <a:lnTo>
                  <a:pt x="15" y="25"/>
                </a:lnTo>
                <a:lnTo>
                  <a:pt x="18" y="28"/>
                </a:lnTo>
                <a:lnTo>
                  <a:pt x="21" y="31"/>
                </a:lnTo>
                <a:lnTo>
                  <a:pt x="18" y="31"/>
                </a:lnTo>
                <a:lnTo>
                  <a:pt x="15" y="31"/>
                </a:lnTo>
                <a:lnTo>
                  <a:pt x="12" y="34"/>
                </a:lnTo>
                <a:lnTo>
                  <a:pt x="12" y="34"/>
                </a:lnTo>
                <a:close/>
                <a:moveTo>
                  <a:pt x="21" y="37"/>
                </a:moveTo>
                <a:lnTo>
                  <a:pt x="21" y="34"/>
                </a:lnTo>
                <a:lnTo>
                  <a:pt x="25" y="34"/>
                </a:lnTo>
                <a:lnTo>
                  <a:pt x="28" y="41"/>
                </a:lnTo>
                <a:lnTo>
                  <a:pt x="25" y="41"/>
                </a:lnTo>
                <a:lnTo>
                  <a:pt x="21" y="37"/>
                </a:lnTo>
                <a:lnTo>
                  <a:pt x="21" y="37"/>
                </a:lnTo>
                <a:close/>
                <a:moveTo>
                  <a:pt x="3" y="59"/>
                </a:moveTo>
                <a:lnTo>
                  <a:pt x="6" y="59"/>
                </a:lnTo>
                <a:lnTo>
                  <a:pt x="9" y="56"/>
                </a:lnTo>
                <a:lnTo>
                  <a:pt x="9" y="56"/>
                </a:lnTo>
                <a:lnTo>
                  <a:pt x="9" y="50"/>
                </a:lnTo>
                <a:lnTo>
                  <a:pt x="15" y="50"/>
                </a:lnTo>
                <a:lnTo>
                  <a:pt x="18" y="47"/>
                </a:lnTo>
                <a:lnTo>
                  <a:pt x="21" y="44"/>
                </a:lnTo>
                <a:lnTo>
                  <a:pt x="21" y="44"/>
                </a:lnTo>
                <a:lnTo>
                  <a:pt x="25" y="44"/>
                </a:lnTo>
                <a:lnTo>
                  <a:pt x="21" y="41"/>
                </a:lnTo>
                <a:lnTo>
                  <a:pt x="21" y="41"/>
                </a:lnTo>
                <a:lnTo>
                  <a:pt x="18" y="37"/>
                </a:lnTo>
                <a:lnTo>
                  <a:pt x="12" y="37"/>
                </a:lnTo>
                <a:lnTo>
                  <a:pt x="9" y="37"/>
                </a:lnTo>
                <a:lnTo>
                  <a:pt x="9" y="41"/>
                </a:lnTo>
                <a:lnTo>
                  <a:pt x="6" y="41"/>
                </a:lnTo>
                <a:lnTo>
                  <a:pt x="6" y="41"/>
                </a:lnTo>
                <a:lnTo>
                  <a:pt x="6" y="41"/>
                </a:lnTo>
                <a:lnTo>
                  <a:pt x="3" y="41"/>
                </a:lnTo>
                <a:lnTo>
                  <a:pt x="3" y="41"/>
                </a:lnTo>
                <a:lnTo>
                  <a:pt x="0" y="41"/>
                </a:lnTo>
                <a:lnTo>
                  <a:pt x="3" y="44"/>
                </a:lnTo>
                <a:lnTo>
                  <a:pt x="3" y="44"/>
                </a:lnTo>
                <a:lnTo>
                  <a:pt x="0" y="47"/>
                </a:lnTo>
                <a:lnTo>
                  <a:pt x="0" y="47"/>
                </a:lnTo>
                <a:lnTo>
                  <a:pt x="3" y="50"/>
                </a:lnTo>
                <a:lnTo>
                  <a:pt x="6" y="53"/>
                </a:lnTo>
                <a:lnTo>
                  <a:pt x="6" y="56"/>
                </a:lnTo>
                <a:lnTo>
                  <a:pt x="6" y="56"/>
                </a:lnTo>
                <a:lnTo>
                  <a:pt x="3" y="59"/>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9" name="Freeform 47">
            <a:extLst>
              <a:ext uri="{FF2B5EF4-FFF2-40B4-BE49-F238E27FC236}">
                <a16:creationId xmlns:a16="http://schemas.microsoft.com/office/drawing/2014/main" id="{E31A3B04-C675-7E5F-6949-1BCE5871EB0F}"/>
              </a:ext>
            </a:extLst>
          </p:cNvPr>
          <p:cNvSpPr>
            <a:spLocks/>
          </p:cNvSpPr>
          <p:nvPr userDrawn="1"/>
        </p:nvSpPr>
        <p:spPr bwMode="auto">
          <a:xfrm>
            <a:off x="14289745" y="5244385"/>
            <a:ext cx="396852" cy="219078"/>
          </a:xfrm>
          <a:custGeom>
            <a:avLst/>
            <a:gdLst>
              <a:gd name="T0" fmla="*/ 125 w 125"/>
              <a:gd name="T1" fmla="*/ 47 h 69"/>
              <a:gd name="T2" fmla="*/ 119 w 125"/>
              <a:gd name="T3" fmla="*/ 38 h 69"/>
              <a:gd name="T4" fmla="*/ 116 w 125"/>
              <a:gd name="T5" fmla="*/ 31 h 69"/>
              <a:gd name="T6" fmla="*/ 116 w 125"/>
              <a:gd name="T7" fmla="*/ 25 h 69"/>
              <a:gd name="T8" fmla="*/ 113 w 125"/>
              <a:gd name="T9" fmla="*/ 22 h 69"/>
              <a:gd name="T10" fmla="*/ 103 w 125"/>
              <a:gd name="T11" fmla="*/ 16 h 69"/>
              <a:gd name="T12" fmla="*/ 94 w 125"/>
              <a:gd name="T13" fmla="*/ 16 h 69"/>
              <a:gd name="T14" fmla="*/ 88 w 125"/>
              <a:gd name="T15" fmla="*/ 9 h 69"/>
              <a:gd name="T16" fmla="*/ 78 w 125"/>
              <a:gd name="T17" fmla="*/ 6 h 69"/>
              <a:gd name="T18" fmla="*/ 75 w 125"/>
              <a:gd name="T19" fmla="*/ 0 h 69"/>
              <a:gd name="T20" fmla="*/ 72 w 125"/>
              <a:gd name="T21" fmla="*/ 3 h 69"/>
              <a:gd name="T22" fmla="*/ 63 w 125"/>
              <a:gd name="T23" fmla="*/ 0 h 69"/>
              <a:gd name="T24" fmla="*/ 53 w 125"/>
              <a:gd name="T25" fmla="*/ 6 h 69"/>
              <a:gd name="T26" fmla="*/ 56 w 125"/>
              <a:gd name="T27" fmla="*/ 19 h 69"/>
              <a:gd name="T28" fmla="*/ 47 w 125"/>
              <a:gd name="T29" fmla="*/ 31 h 69"/>
              <a:gd name="T30" fmla="*/ 38 w 125"/>
              <a:gd name="T31" fmla="*/ 28 h 69"/>
              <a:gd name="T32" fmla="*/ 28 w 125"/>
              <a:gd name="T33" fmla="*/ 16 h 69"/>
              <a:gd name="T34" fmla="*/ 25 w 125"/>
              <a:gd name="T35" fmla="*/ 9 h 69"/>
              <a:gd name="T36" fmla="*/ 19 w 125"/>
              <a:gd name="T37" fmla="*/ 16 h 69"/>
              <a:gd name="T38" fmla="*/ 13 w 125"/>
              <a:gd name="T39" fmla="*/ 16 h 69"/>
              <a:gd name="T40" fmla="*/ 10 w 125"/>
              <a:gd name="T41" fmla="*/ 25 h 69"/>
              <a:gd name="T42" fmla="*/ 6 w 125"/>
              <a:gd name="T43" fmla="*/ 31 h 69"/>
              <a:gd name="T44" fmla="*/ 3 w 125"/>
              <a:gd name="T45" fmla="*/ 41 h 69"/>
              <a:gd name="T46" fmla="*/ 0 w 125"/>
              <a:gd name="T47" fmla="*/ 47 h 69"/>
              <a:gd name="T48" fmla="*/ 3 w 125"/>
              <a:gd name="T49" fmla="*/ 60 h 69"/>
              <a:gd name="T50" fmla="*/ 6 w 125"/>
              <a:gd name="T51" fmla="*/ 60 h 69"/>
              <a:gd name="T52" fmla="*/ 16 w 125"/>
              <a:gd name="T53" fmla="*/ 50 h 69"/>
              <a:gd name="T54" fmla="*/ 31 w 125"/>
              <a:gd name="T55" fmla="*/ 47 h 69"/>
              <a:gd name="T56" fmla="*/ 38 w 125"/>
              <a:gd name="T57" fmla="*/ 50 h 69"/>
              <a:gd name="T58" fmla="*/ 44 w 125"/>
              <a:gd name="T59" fmla="*/ 47 h 69"/>
              <a:gd name="T60" fmla="*/ 50 w 125"/>
              <a:gd name="T61" fmla="*/ 50 h 69"/>
              <a:gd name="T62" fmla="*/ 60 w 125"/>
              <a:gd name="T63" fmla="*/ 53 h 69"/>
              <a:gd name="T64" fmla="*/ 66 w 125"/>
              <a:gd name="T65" fmla="*/ 50 h 69"/>
              <a:gd name="T66" fmla="*/ 81 w 125"/>
              <a:gd name="T67" fmla="*/ 53 h 69"/>
              <a:gd name="T68" fmla="*/ 91 w 125"/>
              <a:gd name="T69" fmla="*/ 60 h 69"/>
              <a:gd name="T70" fmla="*/ 100 w 125"/>
              <a:gd name="T71" fmla="*/ 66 h 69"/>
              <a:gd name="T72" fmla="*/ 100 w 125"/>
              <a:gd name="T73" fmla="*/ 69 h 69"/>
              <a:gd name="T74" fmla="*/ 116 w 125"/>
              <a:gd name="T75" fmla="*/ 63 h 69"/>
              <a:gd name="T76" fmla="*/ 119 w 125"/>
              <a:gd name="T77" fmla="*/ 56 h 69"/>
              <a:gd name="T78" fmla="*/ 125 w 125"/>
              <a:gd name="T79" fmla="*/ 5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5" h="69">
                <a:moveTo>
                  <a:pt x="125" y="53"/>
                </a:moveTo>
                <a:lnTo>
                  <a:pt x="125" y="47"/>
                </a:lnTo>
                <a:lnTo>
                  <a:pt x="122" y="44"/>
                </a:lnTo>
                <a:lnTo>
                  <a:pt x="119" y="38"/>
                </a:lnTo>
                <a:lnTo>
                  <a:pt x="119" y="34"/>
                </a:lnTo>
                <a:lnTo>
                  <a:pt x="116" y="31"/>
                </a:lnTo>
                <a:lnTo>
                  <a:pt x="116" y="28"/>
                </a:lnTo>
                <a:lnTo>
                  <a:pt x="116" y="25"/>
                </a:lnTo>
                <a:lnTo>
                  <a:pt x="113" y="25"/>
                </a:lnTo>
                <a:lnTo>
                  <a:pt x="113" y="22"/>
                </a:lnTo>
                <a:lnTo>
                  <a:pt x="113" y="19"/>
                </a:lnTo>
                <a:lnTo>
                  <a:pt x="103" y="16"/>
                </a:lnTo>
                <a:lnTo>
                  <a:pt x="97" y="19"/>
                </a:lnTo>
                <a:lnTo>
                  <a:pt x="94" y="16"/>
                </a:lnTo>
                <a:lnTo>
                  <a:pt x="91" y="13"/>
                </a:lnTo>
                <a:lnTo>
                  <a:pt x="88" y="9"/>
                </a:lnTo>
                <a:lnTo>
                  <a:pt x="81" y="6"/>
                </a:lnTo>
                <a:lnTo>
                  <a:pt x="78" y="6"/>
                </a:lnTo>
                <a:lnTo>
                  <a:pt x="78" y="3"/>
                </a:lnTo>
                <a:lnTo>
                  <a:pt x="75" y="0"/>
                </a:lnTo>
                <a:lnTo>
                  <a:pt x="75" y="3"/>
                </a:lnTo>
                <a:lnTo>
                  <a:pt x="72" y="3"/>
                </a:lnTo>
                <a:lnTo>
                  <a:pt x="66" y="0"/>
                </a:lnTo>
                <a:lnTo>
                  <a:pt x="63" y="0"/>
                </a:lnTo>
                <a:lnTo>
                  <a:pt x="56" y="6"/>
                </a:lnTo>
                <a:lnTo>
                  <a:pt x="53" y="6"/>
                </a:lnTo>
                <a:lnTo>
                  <a:pt x="53" y="9"/>
                </a:lnTo>
                <a:lnTo>
                  <a:pt x="56" y="19"/>
                </a:lnTo>
                <a:lnTo>
                  <a:pt x="53" y="25"/>
                </a:lnTo>
                <a:lnTo>
                  <a:pt x="47" y="31"/>
                </a:lnTo>
                <a:lnTo>
                  <a:pt x="44" y="31"/>
                </a:lnTo>
                <a:lnTo>
                  <a:pt x="38" y="28"/>
                </a:lnTo>
                <a:lnTo>
                  <a:pt x="38" y="25"/>
                </a:lnTo>
                <a:lnTo>
                  <a:pt x="28" y="16"/>
                </a:lnTo>
                <a:lnTo>
                  <a:pt x="28" y="9"/>
                </a:lnTo>
                <a:lnTo>
                  <a:pt x="25" y="9"/>
                </a:lnTo>
                <a:lnTo>
                  <a:pt x="22" y="13"/>
                </a:lnTo>
                <a:lnTo>
                  <a:pt x="19" y="16"/>
                </a:lnTo>
                <a:lnTo>
                  <a:pt x="16" y="16"/>
                </a:lnTo>
                <a:lnTo>
                  <a:pt x="13" y="16"/>
                </a:lnTo>
                <a:lnTo>
                  <a:pt x="10" y="22"/>
                </a:lnTo>
                <a:lnTo>
                  <a:pt x="10" y="25"/>
                </a:lnTo>
                <a:lnTo>
                  <a:pt x="6" y="25"/>
                </a:lnTo>
                <a:lnTo>
                  <a:pt x="6" y="31"/>
                </a:lnTo>
                <a:lnTo>
                  <a:pt x="3" y="38"/>
                </a:lnTo>
                <a:lnTo>
                  <a:pt x="3" y="41"/>
                </a:lnTo>
                <a:lnTo>
                  <a:pt x="3" y="44"/>
                </a:lnTo>
                <a:lnTo>
                  <a:pt x="0" y="47"/>
                </a:lnTo>
                <a:lnTo>
                  <a:pt x="0" y="56"/>
                </a:lnTo>
                <a:lnTo>
                  <a:pt x="3" y="60"/>
                </a:lnTo>
                <a:lnTo>
                  <a:pt x="3" y="60"/>
                </a:lnTo>
                <a:lnTo>
                  <a:pt x="6" y="60"/>
                </a:lnTo>
                <a:lnTo>
                  <a:pt x="10" y="53"/>
                </a:lnTo>
                <a:lnTo>
                  <a:pt x="16" y="50"/>
                </a:lnTo>
                <a:lnTo>
                  <a:pt x="22" y="47"/>
                </a:lnTo>
                <a:lnTo>
                  <a:pt x="31" y="47"/>
                </a:lnTo>
                <a:lnTo>
                  <a:pt x="35" y="47"/>
                </a:lnTo>
                <a:lnTo>
                  <a:pt x="38" y="50"/>
                </a:lnTo>
                <a:lnTo>
                  <a:pt x="41" y="47"/>
                </a:lnTo>
                <a:lnTo>
                  <a:pt x="44" y="47"/>
                </a:lnTo>
                <a:lnTo>
                  <a:pt x="47" y="50"/>
                </a:lnTo>
                <a:lnTo>
                  <a:pt x="50" y="50"/>
                </a:lnTo>
                <a:lnTo>
                  <a:pt x="53" y="53"/>
                </a:lnTo>
                <a:lnTo>
                  <a:pt x="60" y="53"/>
                </a:lnTo>
                <a:lnTo>
                  <a:pt x="60" y="53"/>
                </a:lnTo>
                <a:lnTo>
                  <a:pt x="66" y="50"/>
                </a:lnTo>
                <a:lnTo>
                  <a:pt x="75" y="53"/>
                </a:lnTo>
                <a:lnTo>
                  <a:pt x="81" y="53"/>
                </a:lnTo>
                <a:lnTo>
                  <a:pt x="85" y="60"/>
                </a:lnTo>
                <a:lnTo>
                  <a:pt x="91" y="60"/>
                </a:lnTo>
                <a:lnTo>
                  <a:pt x="94" y="66"/>
                </a:lnTo>
                <a:lnTo>
                  <a:pt x="100" y="66"/>
                </a:lnTo>
                <a:lnTo>
                  <a:pt x="100" y="69"/>
                </a:lnTo>
                <a:lnTo>
                  <a:pt x="100" y="69"/>
                </a:lnTo>
                <a:lnTo>
                  <a:pt x="106" y="66"/>
                </a:lnTo>
                <a:lnTo>
                  <a:pt x="116" y="63"/>
                </a:lnTo>
                <a:lnTo>
                  <a:pt x="116" y="60"/>
                </a:lnTo>
                <a:lnTo>
                  <a:pt x="119" y="56"/>
                </a:lnTo>
                <a:lnTo>
                  <a:pt x="122" y="53"/>
                </a:lnTo>
                <a:lnTo>
                  <a:pt x="125" y="53"/>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0" name="Freeform 48">
            <a:extLst>
              <a:ext uri="{FF2B5EF4-FFF2-40B4-BE49-F238E27FC236}">
                <a16:creationId xmlns:a16="http://schemas.microsoft.com/office/drawing/2014/main" id="{73478B3B-959B-2208-AE1D-39D80EC1055F}"/>
              </a:ext>
            </a:extLst>
          </p:cNvPr>
          <p:cNvSpPr>
            <a:spLocks/>
          </p:cNvSpPr>
          <p:nvPr userDrawn="1"/>
        </p:nvSpPr>
        <p:spPr bwMode="auto">
          <a:xfrm>
            <a:off x="14299267" y="5393608"/>
            <a:ext cx="307956" cy="228600"/>
          </a:xfrm>
          <a:custGeom>
            <a:avLst/>
            <a:gdLst>
              <a:gd name="T0" fmla="*/ 32 w 97"/>
              <a:gd name="T1" fmla="*/ 50 h 72"/>
              <a:gd name="T2" fmla="*/ 32 w 97"/>
              <a:gd name="T3" fmla="*/ 44 h 72"/>
              <a:gd name="T4" fmla="*/ 35 w 97"/>
              <a:gd name="T5" fmla="*/ 41 h 72"/>
              <a:gd name="T6" fmla="*/ 32 w 97"/>
              <a:gd name="T7" fmla="*/ 41 h 72"/>
              <a:gd name="T8" fmla="*/ 28 w 97"/>
              <a:gd name="T9" fmla="*/ 38 h 72"/>
              <a:gd name="T10" fmla="*/ 28 w 97"/>
              <a:gd name="T11" fmla="*/ 34 h 72"/>
              <a:gd name="T12" fmla="*/ 25 w 97"/>
              <a:gd name="T13" fmla="*/ 34 h 72"/>
              <a:gd name="T14" fmla="*/ 19 w 97"/>
              <a:gd name="T15" fmla="*/ 34 h 72"/>
              <a:gd name="T16" fmla="*/ 13 w 97"/>
              <a:gd name="T17" fmla="*/ 31 h 72"/>
              <a:gd name="T18" fmla="*/ 10 w 97"/>
              <a:gd name="T19" fmla="*/ 25 h 72"/>
              <a:gd name="T20" fmla="*/ 3 w 97"/>
              <a:gd name="T21" fmla="*/ 28 h 72"/>
              <a:gd name="T22" fmla="*/ 0 w 97"/>
              <a:gd name="T23" fmla="*/ 25 h 72"/>
              <a:gd name="T24" fmla="*/ 3 w 97"/>
              <a:gd name="T25" fmla="*/ 22 h 72"/>
              <a:gd name="T26" fmla="*/ 0 w 97"/>
              <a:gd name="T27" fmla="*/ 19 h 72"/>
              <a:gd name="T28" fmla="*/ 0 w 97"/>
              <a:gd name="T29" fmla="*/ 13 h 72"/>
              <a:gd name="T30" fmla="*/ 3 w 97"/>
              <a:gd name="T31" fmla="*/ 13 h 72"/>
              <a:gd name="T32" fmla="*/ 7 w 97"/>
              <a:gd name="T33" fmla="*/ 6 h 72"/>
              <a:gd name="T34" fmla="*/ 13 w 97"/>
              <a:gd name="T35" fmla="*/ 3 h 72"/>
              <a:gd name="T36" fmla="*/ 19 w 97"/>
              <a:gd name="T37" fmla="*/ 0 h 72"/>
              <a:gd name="T38" fmla="*/ 28 w 97"/>
              <a:gd name="T39" fmla="*/ 0 h 72"/>
              <a:gd name="T40" fmla="*/ 32 w 97"/>
              <a:gd name="T41" fmla="*/ 0 h 72"/>
              <a:gd name="T42" fmla="*/ 35 w 97"/>
              <a:gd name="T43" fmla="*/ 3 h 72"/>
              <a:gd name="T44" fmla="*/ 38 w 97"/>
              <a:gd name="T45" fmla="*/ 0 h 72"/>
              <a:gd name="T46" fmla="*/ 41 w 97"/>
              <a:gd name="T47" fmla="*/ 0 h 72"/>
              <a:gd name="T48" fmla="*/ 44 w 97"/>
              <a:gd name="T49" fmla="*/ 3 h 72"/>
              <a:gd name="T50" fmla="*/ 47 w 97"/>
              <a:gd name="T51" fmla="*/ 3 h 72"/>
              <a:gd name="T52" fmla="*/ 50 w 97"/>
              <a:gd name="T53" fmla="*/ 6 h 72"/>
              <a:gd name="T54" fmla="*/ 57 w 97"/>
              <a:gd name="T55" fmla="*/ 6 h 72"/>
              <a:gd name="T56" fmla="*/ 57 w 97"/>
              <a:gd name="T57" fmla="*/ 6 h 72"/>
              <a:gd name="T58" fmla="*/ 63 w 97"/>
              <a:gd name="T59" fmla="*/ 3 h 72"/>
              <a:gd name="T60" fmla="*/ 72 w 97"/>
              <a:gd name="T61" fmla="*/ 6 h 72"/>
              <a:gd name="T62" fmla="*/ 78 w 97"/>
              <a:gd name="T63" fmla="*/ 6 h 72"/>
              <a:gd name="T64" fmla="*/ 82 w 97"/>
              <a:gd name="T65" fmla="*/ 13 h 72"/>
              <a:gd name="T66" fmla="*/ 88 w 97"/>
              <a:gd name="T67" fmla="*/ 13 h 72"/>
              <a:gd name="T68" fmla="*/ 91 w 97"/>
              <a:gd name="T69" fmla="*/ 19 h 72"/>
              <a:gd name="T70" fmla="*/ 97 w 97"/>
              <a:gd name="T71" fmla="*/ 19 h 72"/>
              <a:gd name="T72" fmla="*/ 97 w 97"/>
              <a:gd name="T73" fmla="*/ 22 h 72"/>
              <a:gd name="T74" fmla="*/ 94 w 97"/>
              <a:gd name="T75" fmla="*/ 28 h 72"/>
              <a:gd name="T76" fmla="*/ 97 w 97"/>
              <a:gd name="T77" fmla="*/ 28 h 72"/>
              <a:gd name="T78" fmla="*/ 97 w 97"/>
              <a:gd name="T79" fmla="*/ 31 h 72"/>
              <a:gd name="T80" fmla="*/ 91 w 97"/>
              <a:gd name="T81" fmla="*/ 34 h 72"/>
              <a:gd name="T82" fmla="*/ 88 w 97"/>
              <a:gd name="T83" fmla="*/ 41 h 72"/>
              <a:gd name="T84" fmla="*/ 85 w 97"/>
              <a:gd name="T85" fmla="*/ 44 h 72"/>
              <a:gd name="T86" fmla="*/ 82 w 97"/>
              <a:gd name="T87" fmla="*/ 50 h 72"/>
              <a:gd name="T88" fmla="*/ 88 w 97"/>
              <a:gd name="T89" fmla="*/ 50 h 72"/>
              <a:gd name="T90" fmla="*/ 88 w 97"/>
              <a:gd name="T91" fmla="*/ 56 h 72"/>
              <a:gd name="T92" fmla="*/ 85 w 97"/>
              <a:gd name="T93" fmla="*/ 56 h 72"/>
              <a:gd name="T94" fmla="*/ 82 w 97"/>
              <a:gd name="T95" fmla="*/ 53 h 72"/>
              <a:gd name="T96" fmla="*/ 78 w 97"/>
              <a:gd name="T97" fmla="*/ 53 h 72"/>
              <a:gd name="T98" fmla="*/ 75 w 97"/>
              <a:gd name="T99" fmla="*/ 59 h 72"/>
              <a:gd name="T100" fmla="*/ 72 w 97"/>
              <a:gd name="T101" fmla="*/ 59 h 72"/>
              <a:gd name="T102" fmla="*/ 72 w 97"/>
              <a:gd name="T103" fmla="*/ 66 h 72"/>
              <a:gd name="T104" fmla="*/ 69 w 97"/>
              <a:gd name="T105" fmla="*/ 66 h 72"/>
              <a:gd name="T106" fmla="*/ 66 w 97"/>
              <a:gd name="T107" fmla="*/ 69 h 72"/>
              <a:gd name="T108" fmla="*/ 60 w 97"/>
              <a:gd name="T109" fmla="*/ 66 h 72"/>
              <a:gd name="T110" fmla="*/ 53 w 97"/>
              <a:gd name="T111" fmla="*/ 69 h 72"/>
              <a:gd name="T112" fmla="*/ 47 w 97"/>
              <a:gd name="T113" fmla="*/ 72 h 72"/>
              <a:gd name="T114" fmla="*/ 44 w 97"/>
              <a:gd name="T115" fmla="*/ 66 h 72"/>
              <a:gd name="T116" fmla="*/ 47 w 97"/>
              <a:gd name="T117" fmla="*/ 63 h 72"/>
              <a:gd name="T118" fmla="*/ 44 w 97"/>
              <a:gd name="T119" fmla="*/ 56 h 72"/>
              <a:gd name="T120" fmla="*/ 41 w 97"/>
              <a:gd name="T121" fmla="*/ 53 h 72"/>
              <a:gd name="T122" fmla="*/ 38 w 97"/>
              <a:gd name="T123" fmla="*/ 50 h 72"/>
              <a:gd name="T124" fmla="*/ 32 w 97"/>
              <a:gd name="T125" fmla="*/ 5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7" h="72">
                <a:moveTo>
                  <a:pt x="32" y="50"/>
                </a:moveTo>
                <a:lnTo>
                  <a:pt x="32" y="44"/>
                </a:lnTo>
                <a:lnTo>
                  <a:pt x="35" y="41"/>
                </a:lnTo>
                <a:lnTo>
                  <a:pt x="32" y="41"/>
                </a:lnTo>
                <a:lnTo>
                  <a:pt x="28" y="38"/>
                </a:lnTo>
                <a:lnTo>
                  <a:pt x="28" y="34"/>
                </a:lnTo>
                <a:lnTo>
                  <a:pt x="25" y="34"/>
                </a:lnTo>
                <a:lnTo>
                  <a:pt x="19" y="34"/>
                </a:lnTo>
                <a:lnTo>
                  <a:pt x="13" y="31"/>
                </a:lnTo>
                <a:lnTo>
                  <a:pt x="10" y="25"/>
                </a:lnTo>
                <a:lnTo>
                  <a:pt x="3" y="28"/>
                </a:lnTo>
                <a:lnTo>
                  <a:pt x="0" y="25"/>
                </a:lnTo>
                <a:lnTo>
                  <a:pt x="3" y="22"/>
                </a:lnTo>
                <a:lnTo>
                  <a:pt x="0" y="19"/>
                </a:lnTo>
                <a:lnTo>
                  <a:pt x="0" y="13"/>
                </a:lnTo>
                <a:lnTo>
                  <a:pt x="3" y="13"/>
                </a:lnTo>
                <a:lnTo>
                  <a:pt x="7" y="6"/>
                </a:lnTo>
                <a:lnTo>
                  <a:pt x="13" y="3"/>
                </a:lnTo>
                <a:lnTo>
                  <a:pt x="19" y="0"/>
                </a:lnTo>
                <a:lnTo>
                  <a:pt x="28" y="0"/>
                </a:lnTo>
                <a:lnTo>
                  <a:pt x="32" y="0"/>
                </a:lnTo>
                <a:lnTo>
                  <a:pt x="35" y="3"/>
                </a:lnTo>
                <a:lnTo>
                  <a:pt x="38" y="0"/>
                </a:lnTo>
                <a:lnTo>
                  <a:pt x="41" y="0"/>
                </a:lnTo>
                <a:lnTo>
                  <a:pt x="44" y="3"/>
                </a:lnTo>
                <a:lnTo>
                  <a:pt x="47" y="3"/>
                </a:lnTo>
                <a:lnTo>
                  <a:pt x="50" y="6"/>
                </a:lnTo>
                <a:lnTo>
                  <a:pt x="57" y="6"/>
                </a:lnTo>
                <a:lnTo>
                  <a:pt x="57" y="6"/>
                </a:lnTo>
                <a:lnTo>
                  <a:pt x="63" y="3"/>
                </a:lnTo>
                <a:lnTo>
                  <a:pt x="72" y="6"/>
                </a:lnTo>
                <a:lnTo>
                  <a:pt x="78" y="6"/>
                </a:lnTo>
                <a:lnTo>
                  <a:pt x="82" y="13"/>
                </a:lnTo>
                <a:lnTo>
                  <a:pt x="88" y="13"/>
                </a:lnTo>
                <a:lnTo>
                  <a:pt x="91" y="19"/>
                </a:lnTo>
                <a:lnTo>
                  <a:pt x="97" y="19"/>
                </a:lnTo>
                <a:lnTo>
                  <a:pt x="97" y="22"/>
                </a:lnTo>
                <a:lnTo>
                  <a:pt x="94" y="28"/>
                </a:lnTo>
                <a:lnTo>
                  <a:pt x="97" y="28"/>
                </a:lnTo>
                <a:lnTo>
                  <a:pt x="97" y="31"/>
                </a:lnTo>
                <a:lnTo>
                  <a:pt x="91" y="34"/>
                </a:lnTo>
                <a:lnTo>
                  <a:pt x="88" y="41"/>
                </a:lnTo>
                <a:lnTo>
                  <a:pt x="85" y="44"/>
                </a:lnTo>
                <a:lnTo>
                  <a:pt x="82" y="50"/>
                </a:lnTo>
                <a:lnTo>
                  <a:pt x="88" y="50"/>
                </a:lnTo>
                <a:lnTo>
                  <a:pt x="88" y="56"/>
                </a:lnTo>
                <a:lnTo>
                  <a:pt x="85" y="56"/>
                </a:lnTo>
                <a:lnTo>
                  <a:pt x="82" y="53"/>
                </a:lnTo>
                <a:lnTo>
                  <a:pt x="78" y="53"/>
                </a:lnTo>
                <a:lnTo>
                  <a:pt x="75" y="59"/>
                </a:lnTo>
                <a:lnTo>
                  <a:pt x="72" y="59"/>
                </a:lnTo>
                <a:lnTo>
                  <a:pt x="72" y="66"/>
                </a:lnTo>
                <a:lnTo>
                  <a:pt x="69" y="66"/>
                </a:lnTo>
                <a:lnTo>
                  <a:pt x="66" y="69"/>
                </a:lnTo>
                <a:lnTo>
                  <a:pt x="60" y="66"/>
                </a:lnTo>
                <a:lnTo>
                  <a:pt x="53" y="69"/>
                </a:lnTo>
                <a:lnTo>
                  <a:pt x="47" y="72"/>
                </a:lnTo>
                <a:lnTo>
                  <a:pt x="44" y="66"/>
                </a:lnTo>
                <a:lnTo>
                  <a:pt x="47" y="63"/>
                </a:lnTo>
                <a:lnTo>
                  <a:pt x="44" y="56"/>
                </a:lnTo>
                <a:lnTo>
                  <a:pt x="41" y="53"/>
                </a:lnTo>
                <a:lnTo>
                  <a:pt x="38" y="50"/>
                </a:lnTo>
                <a:lnTo>
                  <a:pt x="32" y="50"/>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1" name="Freeform 49">
            <a:extLst>
              <a:ext uri="{FF2B5EF4-FFF2-40B4-BE49-F238E27FC236}">
                <a16:creationId xmlns:a16="http://schemas.microsoft.com/office/drawing/2014/main" id="{99298F62-8D5E-06AC-CB19-7CE5DF2B2E3F}"/>
              </a:ext>
            </a:extLst>
          </p:cNvPr>
          <p:cNvSpPr>
            <a:spLocks/>
          </p:cNvSpPr>
          <p:nvPr userDrawn="1"/>
        </p:nvSpPr>
        <p:spPr bwMode="auto">
          <a:xfrm>
            <a:off x="14448482" y="5412661"/>
            <a:ext cx="527016" cy="396878"/>
          </a:xfrm>
          <a:custGeom>
            <a:avLst/>
            <a:gdLst>
              <a:gd name="T0" fmla="*/ 6 w 166"/>
              <a:gd name="T1" fmla="*/ 63 h 125"/>
              <a:gd name="T2" fmla="*/ 19 w 166"/>
              <a:gd name="T3" fmla="*/ 63 h 125"/>
              <a:gd name="T4" fmla="*/ 25 w 166"/>
              <a:gd name="T5" fmla="*/ 60 h 125"/>
              <a:gd name="T6" fmla="*/ 28 w 166"/>
              <a:gd name="T7" fmla="*/ 53 h 125"/>
              <a:gd name="T8" fmla="*/ 35 w 166"/>
              <a:gd name="T9" fmla="*/ 47 h 125"/>
              <a:gd name="T10" fmla="*/ 41 w 166"/>
              <a:gd name="T11" fmla="*/ 50 h 125"/>
              <a:gd name="T12" fmla="*/ 35 w 166"/>
              <a:gd name="T13" fmla="*/ 44 h 125"/>
              <a:gd name="T14" fmla="*/ 41 w 166"/>
              <a:gd name="T15" fmla="*/ 35 h 125"/>
              <a:gd name="T16" fmla="*/ 50 w 166"/>
              <a:gd name="T17" fmla="*/ 25 h 125"/>
              <a:gd name="T18" fmla="*/ 47 w 166"/>
              <a:gd name="T19" fmla="*/ 22 h 125"/>
              <a:gd name="T20" fmla="*/ 56 w 166"/>
              <a:gd name="T21" fmla="*/ 13 h 125"/>
              <a:gd name="T22" fmla="*/ 66 w 166"/>
              <a:gd name="T23" fmla="*/ 7 h 125"/>
              <a:gd name="T24" fmla="*/ 72 w 166"/>
              <a:gd name="T25" fmla="*/ 0 h 125"/>
              <a:gd name="T26" fmla="*/ 78 w 166"/>
              <a:gd name="T27" fmla="*/ 0 h 125"/>
              <a:gd name="T28" fmla="*/ 88 w 166"/>
              <a:gd name="T29" fmla="*/ 7 h 125"/>
              <a:gd name="T30" fmla="*/ 97 w 166"/>
              <a:gd name="T31" fmla="*/ 3 h 125"/>
              <a:gd name="T32" fmla="*/ 106 w 166"/>
              <a:gd name="T33" fmla="*/ 7 h 125"/>
              <a:gd name="T34" fmla="*/ 113 w 166"/>
              <a:gd name="T35" fmla="*/ 7 h 125"/>
              <a:gd name="T36" fmla="*/ 125 w 166"/>
              <a:gd name="T37" fmla="*/ 10 h 125"/>
              <a:gd name="T38" fmla="*/ 125 w 166"/>
              <a:gd name="T39" fmla="*/ 19 h 125"/>
              <a:gd name="T40" fmla="*/ 128 w 166"/>
              <a:gd name="T41" fmla="*/ 28 h 125"/>
              <a:gd name="T42" fmla="*/ 135 w 166"/>
              <a:gd name="T43" fmla="*/ 41 h 125"/>
              <a:gd name="T44" fmla="*/ 144 w 166"/>
              <a:gd name="T45" fmla="*/ 50 h 125"/>
              <a:gd name="T46" fmla="*/ 153 w 166"/>
              <a:gd name="T47" fmla="*/ 60 h 125"/>
              <a:gd name="T48" fmla="*/ 160 w 166"/>
              <a:gd name="T49" fmla="*/ 69 h 125"/>
              <a:gd name="T50" fmla="*/ 163 w 166"/>
              <a:gd name="T51" fmla="*/ 72 h 125"/>
              <a:gd name="T52" fmla="*/ 150 w 166"/>
              <a:gd name="T53" fmla="*/ 82 h 125"/>
              <a:gd name="T54" fmla="*/ 144 w 166"/>
              <a:gd name="T55" fmla="*/ 82 h 125"/>
              <a:gd name="T56" fmla="*/ 147 w 166"/>
              <a:gd name="T57" fmla="*/ 91 h 125"/>
              <a:gd name="T58" fmla="*/ 150 w 166"/>
              <a:gd name="T59" fmla="*/ 103 h 125"/>
              <a:gd name="T60" fmla="*/ 150 w 166"/>
              <a:gd name="T61" fmla="*/ 107 h 125"/>
              <a:gd name="T62" fmla="*/ 138 w 166"/>
              <a:gd name="T63" fmla="*/ 110 h 125"/>
              <a:gd name="T64" fmla="*/ 135 w 166"/>
              <a:gd name="T65" fmla="*/ 125 h 125"/>
              <a:gd name="T66" fmla="*/ 125 w 166"/>
              <a:gd name="T67" fmla="*/ 122 h 125"/>
              <a:gd name="T68" fmla="*/ 116 w 166"/>
              <a:gd name="T69" fmla="*/ 122 h 125"/>
              <a:gd name="T70" fmla="*/ 110 w 166"/>
              <a:gd name="T71" fmla="*/ 125 h 125"/>
              <a:gd name="T72" fmla="*/ 103 w 166"/>
              <a:gd name="T73" fmla="*/ 122 h 125"/>
              <a:gd name="T74" fmla="*/ 94 w 166"/>
              <a:gd name="T75" fmla="*/ 125 h 125"/>
              <a:gd name="T76" fmla="*/ 85 w 166"/>
              <a:gd name="T77" fmla="*/ 122 h 125"/>
              <a:gd name="T78" fmla="*/ 81 w 166"/>
              <a:gd name="T79" fmla="*/ 122 h 125"/>
              <a:gd name="T80" fmla="*/ 69 w 166"/>
              <a:gd name="T81" fmla="*/ 122 h 125"/>
              <a:gd name="T82" fmla="*/ 66 w 166"/>
              <a:gd name="T83" fmla="*/ 119 h 125"/>
              <a:gd name="T84" fmla="*/ 47 w 166"/>
              <a:gd name="T85" fmla="*/ 113 h 125"/>
              <a:gd name="T86" fmla="*/ 41 w 166"/>
              <a:gd name="T87" fmla="*/ 119 h 125"/>
              <a:gd name="T88" fmla="*/ 22 w 166"/>
              <a:gd name="T89" fmla="*/ 119 h 125"/>
              <a:gd name="T90" fmla="*/ 13 w 166"/>
              <a:gd name="T91" fmla="*/ 119 h 125"/>
              <a:gd name="T92" fmla="*/ 10 w 166"/>
              <a:gd name="T93" fmla="*/ 116 h 125"/>
              <a:gd name="T94" fmla="*/ 3 w 166"/>
              <a:gd name="T95" fmla="*/ 103 h 125"/>
              <a:gd name="T96" fmla="*/ 10 w 166"/>
              <a:gd name="T97" fmla="*/ 97 h 125"/>
              <a:gd name="T98" fmla="*/ 10 w 166"/>
              <a:gd name="T99" fmla="*/ 85 h 125"/>
              <a:gd name="T100" fmla="*/ 3 w 166"/>
              <a:gd name="T101" fmla="*/ 75 h 125"/>
              <a:gd name="T102" fmla="*/ 0 w 166"/>
              <a:gd name="T103" fmla="*/ 6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6" h="125">
                <a:moveTo>
                  <a:pt x="0" y="66"/>
                </a:moveTo>
                <a:lnTo>
                  <a:pt x="6" y="63"/>
                </a:lnTo>
                <a:lnTo>
                  <a:pt x="13" y="60"/>
                </a:lnTo>
                <a:lnTo>
                  <a:pt x="19" y="63"/>
                </a:lnTo>
                <a:lnTo>
                  <a:pt x="22" y="60"/>
                </a:lnTo>
                <a:lnTo>
                  <a:pt x="25" y="60"/>
                </a:lnTo>
                <a:lnTo>
                  <a:pt x="25" y="53"/>
                </a:lnTo>
                <a:lnTo>
                  <a:pt x="28" y="53"/>
                </a:lnTo>
                <a:lnTo>
                  <a:pt x="31" y="47"/>
                </a:lnTo>
                <a:lnTo>
                  <a:pt x="35" y="47"/>
                </a:lnTo>
                <a:lnTo>
                  <a:pt x="38" y="50"/>
                </a:lnTo>
                <a:lnTo>
                  <a:pt x="41" y="50"/>
                </a:lnTo>
                <a:lnTo>
                  <a:pt x="41" y="44"/>
                </a:lnTo>
                <a:lnTo>
                  <a:pt x="35" y="44"/>
                </a:lnTo>
                <a:lnTo>
                  <a:pt x="38" y="38"/>
                </a:lnTo>
                <a:lnTo>
                  <a:pt x="41" y="35"/>
                </a:lnTo>
                <a:lnTo>
                  <a:pt x="44" y="28"/>
                </a:lnTo>
                <a:lnTo>
                  <a:pt x="50" y="25"/>
                </a:lnTo>
                <a:lnTo>
                  <a:pt x="50" y="22"/>
                </a:lnTo>
                <a:lnTo>
                  <a:pt x="47" y="22"/>
                </a:lnTo>
                <a:lnTo>
                  <a:pt x="50" y="16"/>
                </a:lnTo>
                <a:lnTo>
                  <a:pt x="56" y="13"/>
                </a:lnTo>
                <a:lnTo>
                  <a:pt x="66" y="10"/>
                </a:lnTo>
                <a:lnTo>
                  <a:pt x="66" y="7"/>
                </a:lnTo>
                <a:lnTo>
                  <a:pt x="69" y="3"/>
                </a:lnTo>
                <a:lnTo>
                  <a:pt x="72" y="0"/>
                </a:lnTo>
                <a:lnTo>
                  <a:pt x="75" y="0"/>
                </a:lnTo>
                <a:lnTo>
                  <a:pt x="78" y="0"/>
                </a:lnTo>
                <a:lnTo>
                  <a:pt x="85" y="0"/>
                </a:lnTo>
                <a:lnTo>
                  <a:pt x="88" y="7"/>
                </a:lnTo>
                <a:lnTo>
                  <a:pt x="94" y="3"/>
                </a:lnTo>
                <a:lnTo>
                  <a:pt x="97" y="3"/>
                </a:lnTo>
                <a:lnTo>
                  <a:pt x="100" y="10"/>
                </a:lnTo>
                <a:lnTo>
                  <a:pt x="106" y="7"/>
                </a:lnTo>
                <a:lnTo>
                  <a:pt x="113" y="3"/>
                </a:lnTo>
                <a:lnTo>
                  <a:pt x="113" y="7"/>
                </a:lnTo>
                <a:lnTo>
                  <a:pt x="116" y="7"/>
                </a:lnTo>
                <a:lnTo>
                  <a:pt x="125" y="10"/>
                </a:lnTo>
                <a:lnTo>
                  <a:pt x="125" y="16"/>
                </a:lnTo>
                <a:lnTo>
                  <a:pt x="125" y="19"/>
                </a:lnTo>
                <a:lnTo>
                  <a:pt x="128" y="25"/>
                </a:lnTo>
                <a:lnTo>
                  <a:pt x="128" y="28"/>
                </a:lnTo>
                <a:lnTo>
                  <a:pt x="131" y="35"/>
                </a:lnTo>
                <a:lnTo>
                  <a:pt x="135" y="41"/>
                </a:lnTo>
                <a:lnTo>
                  <a:pt x="141" y="47"/>
                </a:lnTo>
                <a:lnTo>
                  <a:pt x="144" y="50"/>
                </a:lnTo>
                <a:lnTo>
                  <a:pt x="147" y="57"/>
                </a:lnTo>
                <a:lnTo>
                  <a:pt x="153" y="60"/>
                </a:lnTo>
                <a:lnTo>
                  <a:pt x="160" y="66"/>
                </a:lnTo>
                <a:lnTo>
                  <a:pt x="160" y="69"/>
                </a:lnTo>
                <a:lnTo>
                  <a:pt x="166" y="72"/>
                </a:lnTo>
                <a:lnTo>
                  <a:pt x="163" y="72"/>
                </a:lnTo>
                <a:lnTo>
                  <a:pt x="160" y="82"/>
                </a:lnTo>
                <a:lnTo>
                  <a:pt x="150" y="82"/>
                </a:lnTo>
                <a:lnTo>
                  <a:pt x="144" y="78"/>
                </a:lnTo>
                <a:lnTo>
                  <a:pt x="144" y="82"/>
                </a:lnTo>
                <a:lnTo>
                  <a:pt x="144" y="85"/>
                </a:lnTo>
                <a:lnTo>
                  <a:pt x="147" y="91"/>
                </a:lnTo>
                <a:lnTo>
                  <a:pt x="147" y="97"/>
                </a:lnTo>
                <a:lnTo>
                  <a:pt x="150" y="103"/>
                </a:lnTo>
                <a:lnTo>
                  <a:pt x="150" y="107"/>
                </a:lnTo>
                <a:lnTo>
                  <a:pt x="150" y="107"/>
                </a:lnTo>
                <a:lnTo>
                  <a:pt x="141" y="110"/>
                </a:lnTo>
                <a:lnTo>
                  <a:pt x="138" y="110"/>
                </a:lnTo>
                <a:lnTo>
                  <a:pt x="135" y="116"/>
                </a:lnTo>
                <a:lnTo>
                  <a:pt x="135" y="125"/>
                </a:lnTo>
                <a:lnTo>
                  <a:pt x="128" y="125"/>
                </a:lnTo>
                <a:lnTo>
                  <a:pt x="125" y="122"/>
                </a:lnTo>
                <a:lnTo>
                  <a:pt x="119" y="122"/>
                </a:lnTo>
                <a:lnTo>
                  <a:pt x="116" y="122"/>
                </a:lnTo>
                <a:lnTo>
                  <a:pt x="113" y="122"/>
                </a:lnTo>
                <a:lnTo>
                  <a:pt x="110" y="125"/>
                </a:lnTo>
                <a:lnTo>
                  <a:pt x="106" y="125"/>
                </a:lnTo>
                <a:lnTo>
                  <a:pt x="103" y="122"/>
                </a:lnTo>
                <a:lnTo>
                  <a:pt x="100" y="119"/>
                </a:lnTo>
                <a:lnTo>
                  <a:pt x="94" y="125"/>
                </a:lnTo>
                <a:lnTo>
                  <a:pt x="91" y="122"/>
                </a:lnTo>
                <a:lnTo>
                  <a:pt x="85" y="122"/>
                </a:lnTo>
                <a:lnTo>
                  <a:pt x="81" y="122"/>
                </a:lnTo>
                <a:lnTo>
                  <a:pt x="81" y="122"/>
                </a:lnTo>
                <a:lnTo>
                  <a:pt x="78" y="122"/>
                </a:lnTo>
                <a:lnTo>
                  <a:pt x="69" y="122"/>
                </a:lnTo>
                <a:lnTo>
                  <a:pt x="69" y="122"/>
                </a:lnTo>
                <a:lnTo>
                  <a:pt x="66" y="119"/>
                </a:lnTo>
                <a:lnTo>
                  <a:pt x="53" y="116"/>
                </a:lnTo>
                <a:lnTo>
                  <a:pt x="47" y="113"/>
                </a:lnTo>
                <a:lnTo>
                  <a:pt x="47" y="113"/>
                </a:lnTo>
                <a:lnTo>
                  <a:pt x="41" y="119"/>
                </a:lnTo>
                <a:lnTo>
                  <a:pt x="35" y="119"/>
                </a:lnTo>
                <a:lnTo>
                  <a:pt x="22" y="119"/>
                </a:lnTo>
                <a:lnTo>
                  <a:pt x="19" y="122"/>
                </a:lnTo>
                <a:lnTo>
                  <a:pt x="13" y="119"/>
                </a:lnTo>
                <a:lnTo>
                  <a:pt x="10" y="119"/>
                </a:lnTo>
                <a:lnTo>
                  <a:pt x="10" y="116"/>
                </a:lnTo>
                <a:lnTo>
                  <a:pt x="6" y="110"/>
                </a:lnTo>
                <a:lnTo>
                  <a:pt x="3" y="103"/>
                </a:lnTo>
                <a:lnTo>
                  <a:pt x="6" y="100"/>
                </a:lnTo>
                <a:lnTo>
                  <a:pt x="10" y="97"/>
                </a:lnTo>
                <a:lnTo>
                  <a:pt x="10" y="85"/>
                </a:lnTo>
                <a:lnTo>
                  <a:pt x="10" y="85"/>
                </a:lnTo>
                <a:lnTo>
                  <a:pt x="6" y="78"/>
                </a:lnTo>
                <a:lnTo>
                  <a:pt x="3" y="75"/>
                </a:lnTo>
                <a:lnTo>
                  <a:pt x="3" y="66"/>
                </a:lnTo>
                <a:lnTo>
                  <a:pt x="0" y="66"/>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2" name="Freeform 50">
            <a:extLst>
              <a:ext uri="{FF2B5EF4-FFF2-40B4-BE49-F238E27FC236}">
                <a16:creationId xmlns:a16="http://schemas.microsoft.com/office/drawing/2014/main" id="{E040B357-EC93-20CD-95CC-92375C1BEA56}"/>
              </a:ext>
            </a:extLst>
          </p:cNvPr>
          <p:cNvSpPr>
            <a:spLocks/>
          </p:cNvSpPr>
          <p:nvPr userDrawn="1"/>
        </p:nvSpPr>
        <p:spPr bwMode="auto">
          <a:xfrm>
            <a:off x="14410387" y="5730156"/>
            <a:ext cx="1031811" cy="638176"/>
          </a:xfrm>
          <a:custGeom>
            <a:avLst/>
            <a:gdLst>
              <a:gd name="T0" fmla="*/ 47 w 325"/>
              <a:gd name="T1" fmla="*/ 19 h 201"/>
              <a:gd name="T2" fmla="*/ 78 w 325"/>
              <a:gd name="T3" fmla="*/ 19 h 201"/>
              <a:gd name="T4" fmla="*/ 93 w 325"/>
              <a:gd name="T5" fmla="*/ 22 h 201"/>
              <a:gd name="T6" fmla="*/ 115 w 325"/>
              <a:gd name="T7" fmla="*/ 22 h 201"/>
              <a:gd name="T8" fmla="*/ 131 w 325"/>
              <a:gd name="T9" fmla="*/ 22 h 201"/>
              <a:gd name="T10" fmla="*/ 150 w 325"/>
              <a:gd name="T11" fmla="*/ 10 h 201"/>
              <a:gd name="T12" fmla="*/ 172 w 325"/>
              <a:gd name="T13" fmla="*/ 3 h 201"/>
              <a:gd name="T14" fmla="*/ 203 w 325"/>
              <a:gd name="T15" fmla="*/ 0 h 201"/>
              <a:gd name="T16" fmla="*/ 225 w 325"/>
              <a:gd name="T17" fmla="*/ 22 h 201"/>
              <a:gd name="T18" fmla="*/ 234 w 325"/>
              <a:gd name="T19" fmla="*/ 44 h 201"/>
              <a:gd name="T20" fmla="*/ 262 w 325"/>
              <a:gd name="T21" fmla="*/ 50 h 201"/>
              <a:gd name="T22" fmla="*/ 284 w 325"/>
              <a:gd name="T23" fmla="*/ 63 h 201"/>
              <a:gd name="T24" fmla="*/ 306 w 325"/>
              <a:gd name="T25" fmla="*/ 63 h 201"/>
              <a:gd name="T26" fmla="*/ 325 w 325"/>
              <a:gd name="T27" fmla="*/ 69 h 201"/>
              <a:gd name="T28" fmla="*/ 322 w 325"/>
              <a:gd name="T29" fmla="*/ 94 h 201"/>
              <a:gd name="T30" fmla="*/ 306 w 325"/>
              <a:gd name="T31" fmla="*/ 113 h 201"/>
              <a:gd name="T32" fmla="*/ 297 w 325"/>
              <a:gd name="T33" fmla="*/ 132 h 201"/>
              <a:gd name="T34" fmla="*/ 278 w 325"/>
              <a:gd name="T35" fmla="*/ 138 h 201"/>
              <a:gd name="T36" fmla="*/ 262 w 325"/>
              <a:gd name="T37" fmla="*/ 144 h 201"/>
              <a:gd name="T38" fmla="*/ 247 w 325"/>
              <a:gd name="T39" fmla="*/ 144 h 201"/>
              <a:gd name="T40" fmla="*/ 243 w 325"/>
              <a:gd name="T41" fmla="*/ 157 h 201"/>
              <a:gd name="T42" fmla="*/ 243 w 325"/>
              <a:gd name="T43" fmla="*/ 151 h 201"/>
              <a:gd name="T44" fmla="*/ 231 w 325"/>
              <a:gd name="T45" fmla="*/ 160 h 201"/>
              <a:gd name="T46" fmla="*/ 215 w 325"/>
              <a:gd name="T47" fmla="*/ 160 h 201"/>
              <a:gd name="T48" fmla="*/ 231 w 325"/>
              <a:gd name="T49" fmla="*/ 166 h 201"/>
              <a:gd name="T50" fmla="*/ 234 w 325"/>
              <a:gd name="T51" fmla="*/ 172 h 201"/>
              <a:gd name="T52" fmla="*/ 243 w 325"/>
              <a:gd name="T53" fmla="*/ 179 h 201"/>
              <a:gd name="T54" fmla="*/ 234 w 325"/>
              <a:gd name="T55" fmla="*/ 160 h 201"/>
              <a:gd name="T56" fmla="*/ 253 w 325"/>
              <a:gd name="T57" fmla="*/ 182 h 201"/>
              <a:gd name="T58" fmla="*/ 268 w 325"/>
              <a:gd name="T59" fmla="*/ 176 h 201"/>
              <a:gd name="T60" fmla="*/ 268 w 325"/>
              <a:gd name="T61" fmla="*/ 185 h 201"/>
              <a:gd name="T62" fmla="*/ 240 w 325"/>
              <a:gd name="T63" fmla="*/ 191 h 201"/>
              <a:gd name="T64" fmla="*/ 215 w 325"/>
              <a:gd name="T65" fmla="*/ 197 h 201"/>
              <a:gd name="T66" fmla="*/ 206 w 325"/>
              <a:gd name="T67" fmla="*/ 182 h 201"/>
              <a:gd name="T68" fmla="*/ 215 w 325"/>
              <a:gd name="T69" fmla="*/ 169 h 201"/>
              <a:gd name="T70" fmla="*/ 212 w 325"/>
              <a:gd name="T71" fmla="*/ 163 h 201"/>
              <a:gd name="T72" fmla="*/ 190 w 325"/>
              <a:gd name="T73" fmla="*/ 160 h 201"/>
              <a:gd name="T74" fmla="*/ 181 w 325"/>
              <a:gd name="T75" fmla="*/ 154 h 201"/>
              <a:gd name="T76" fmla="*/ 187 w 325"/>
              <a:gd name="T77" fmla="*/ 151 h 201"/>
              <a:gd name="T78" fmla="*/ 184 w 325"/>
              <a:gd name="T79" fmla="*/ 144 h 201"/>
              <a:gd name="T80" fmla="*/ 175 w 325"/>
              <a:gd name="T81" fmla="*/ 147 h 201"/>
              <a:gd name="T82" fmla="*/ 162 w 325"/>
              <a:gd name="T83" fmla="*/ 157 h 201"/>
              <a:gd name="T84" fmla="*/ 147 w 325"/>
              <a:gd name="T85" fmla="*/ 176 h 201"/>
              <a:gd name="T86" fmla="*/ 147 w 325"/>
              <a:gd name="T87" fmla="*/ 182 h 201"/>
              <a:gd name="T88" fmla="*/ 128 w 325"/>
              <a:gd name="T89" fmla="*/ 182 h 201"/>
              <a:gd name="T90" fmla="*/ 125 w 325"/>
              <a:gd name="T91" fmla="*/ 172 h 201"/>
              <a:gd name="T92" fmla="*/ 134 w 325"/>
              <a:gd name="T93" fmla="*/ 154 h 201"/>
              <a:gd name="T94" fmla="*/ 147 w 325"/>
              <a:gd name="T95" fmla="*/ 147 h 201"/>
              <a:gd name="T96" fmla="*/ 134 w 325"/>
              <a:gd name="T97" fmla="*/ 132 h 201"/>
              <a:gd name="T98" fmla="*/ 118 w 325"/>
              <a:gd name="T99" fmla="*/ 110 h 201"/>
              <a:gd name="T100" fmla="*/ 100 w 325"/>
              <a:gd name="T101" fmla="*/ 104 h 201"/>
              <a:gd name="T102" fmla="*/ 84 w 325"/>
              <a:gd name="T103" fmla="*/ 100 h 201"/>
              <a:gd name="T104" fmla="*/ 81 w 325"/>
              <a:gd name="T105" fmla="*/ 113 h 201"/>
              <a:gd name="T106" fmla="*/ 53 w 325"/>
              <a:gd name="T107" fmla="*/ 125 h 201"/>
              <a:gd name="T108" fmla="*/ 28 w 325"/>
              <a:gd name="T109" fmla="*/ 119 h 201"/>
              <a:gd name="T110" fmla="*/ 9 w 325"/>
              <a:gd name="T111" fmla="*/ 113 h 201"/>
              <a:gd name="T112" fmla="*/ 6 w 325"/>
              <a:gd name="T113" fmla="*/ 91 h 201"/>
              <a:gd name="T114" fmla="*/ 25 w 325"/>
              <a:gd name="T115" fmla="*/ 60 h 201"/>
              <a:gd name="T116" fmla="*/ 28 w 325"/>
              <a:gd name="T117" fmla="*/ 44 h 201"/>
              <a:gd name="T118" fmla="*/ 22 w 325"/>
              <a:gd name="T119" fmla="*/ 2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5" h="201">
                <a:moveTo>
                  <a:pt x="22" y="19"/>
                </a:moveTo>
                <a:lnTo>
                  <a:pt x="25" y="19"/>
                </a:lnTo>
                <a:lnTo>
                  <a:pt x="31" y="22"/>
                </a:lnTo>
                <a:lnTo>
                  <a:pt x="34" y="19"/>
                </a:lnTo>
                <a:lnTo>
                  <a:pt x="47" y="19"/>
                </a:lnTo>
                <a:lnTo>
                  <a:pt x="53" y="19"/>
                </a:lnTo>
                <a:lnTo>
                  <a:pt x="59" y="13"/>
                </a:lnTo>
                <a:lnTo>
                  <a:pt x="59" y="13"/>
                </a:lnTo>
                <a:lnTo>
                  <a:pt x="65" y="16"/>
                </a:lnTo>
                <a:lnTo>
                  <a:pt x="78" y="19"/>
                </a:lnTo>
                <a:lnTo>
                  <a:pt x="81" y="22"/>
                </a:lnTo>
                <a:lnTo>
                  <a:pt x="81" y="22"/>
                </a:lnTo>
                <a:lnTo>
                  <a:pt x="90" y="22"/>
                </a:lnTo>
                <a:lnTo>
                  <a:pt x="93" y="22"/>
                </a:lnTo>
                <a:lnTo>
                  <a:pt x="93" y="22"/>
                </a:lnTo>
                <a:lnTo>
                  <a:pt x="97" y="22"/>
                </a:lnTo>
                <a:lnTo>
                  <a:pt x="103" y="22"/>
                </a:lnTo>
                <a:lnTo>
                  <a:pt x="106" y="25"/>
                </a:lnTo>
                <a:lnTo>
                  <a:pt x="112" y="19"/>
                </a:lnTo>
                <a:lnTo>
                  <a:pt x="115" y="22"/>
                </a:lnTo>
                <a:lnTo>
                  <a:pt x="118" y="25"/>
                </a:lnTo>
                <a:lnTo>
                  <a:pt x="122" y="25"/>
                </a:lnTo>
                <a:lnTo>
                  <a:pt x="125" y="22"/>
                </a:lnTo>
                <a:lnTo>
                  <a:pt x="128" y="22"/>
                </a:lnTo>
                <a:lnTo>
                  <a:pt x="131" y="22"/>
                </a:lnTo>
                <a:lnTo>
                  <a:pt x="137" y="22"/>
                </a:lnTo>
                <a:lnTo>
                  <a:pt x="140" y="25"/>
                </a:lnTo>
                <a:lnTo>
                  <a:pt x="147" y="25"/>
                </a:lnTo>
                <a:lnTo>
                  <a:pt x="147" y="16"/>
                </a:lnTo>
                <a:lnTo>
                  <a:pt x="150" y="10"/>
                </a:lnTo>
                <a:lnTo>
                  <a:pt x="153" y="10"/>
                </a:lnTo>
                <a:lnTo>
                  <a:pt x="162" y="7"/>
                </a:lnTo>
                <a:lnTo>
                  <a:pt x="165" y="7"/>
                </a:lnTo>
                <a:lnTo>
                  <a:pt x="172" y="7"/>
                </a:lnTo>
                <a:lnTo>
                  <a:pt x="172" y="3"/>
                </a:lnTo>
                <a:lnTo>
                  <a:pt x="175" y="0"/>
                </a:lnTo>
                <a:lnTo>
                  <a:pt x="184" y="3"/>
                </a:lnTo>
                <a:lnTo>
                  <a:pt x="193" y="3"/>
                </a:lnTo>
                <a:lnTo>
                  <a:pt x="197" y="0"/>
                </a:lnTo>
                <a:lnTo>
                  <a:pt x="203" y="0"/>
                </a:lnTo>
                <a:lnTo>
                  <a:pt x="206" y="10"/>
                </a:lnTo>
                <a:lnTo>
                  <a:pt x="209" y="13"/>
                </a:lnTo>
                <a:lnTo>
                  <a:pt x="206" y="19"/>
                </a:lnTo>
                <a:lnTo>
                  <a:pt x="212" y="25"/>
                </a:lnTo>
                <a:lnTo>
                  <a:pt x="225" y="22"/>
                </a:lnTo>
                <a:lnTo>
                  <a:pt x="228" y="25"/>
                </a:lnTo>
                <a:lnTo>
                  <a:pt x="228" y="32"/>
                </a:lnTo>
                <a:lnTo>
                  <a:pt x="231" y="32"/>
                </a:lnTo>
                <a:lnTo>
                  <a:pt x="231" y="38"/>
                </a:lnTo>
                <a:lnTo>
                  <a:pt x="234" y="44"/>
                </a:lnTo>
                <a:lnTo>
                  <a:pt x="243" y="50"/>
                </a:lnTo>
                <a:lnTo>
                  <a:pt x="247" y="47"/>
                </a:lnTo>
                <a:lnTo>
                  <a:pt x="253" y="50"/>
                </a:lnTo>
                <a:lnTo>
                  <a:pt x="256" y="50"/>
                </a:lnTo>
                <a:lnTo>
                  <a:pt x="262" y="50"/>
                </a:lnTo>
                <a:lnTo>
                  <a:pt x="268" y="44"/>
                </a:lnTo>
                <a:lnTo>
                  <a:pt x="272" y="44"/>
                </a:lnTo>
                <a:lnTo>
                  <a:pt x="275" y="54"/>
                </a:lnTo>
                <a:lnTo>
                  <a:pt x="281" y="60"/>
                </a:lnTo>
                <a:lnTo>
                  <a:pt x="284" y="63"/>
                </a:lnTo>
                <a:lnTo>
                  <a:pt x="284" y="60"/>
                </a:lnTo>
                <a:lnTo>
                  <a:pt x="293" y="60"/>
                </a:lnTo>
                <a:lnTo>
                  <a:pt x="297" y="60"/>
                </a:lnTo>
                <a:lnTo>
                  <a:pt x="303" y="63"/>
                </a:lnTo>
                <a:lnTo>
                  <a:pt x="306" y="63"/>
                </a:lnTo>
                <a:lnTo>
                  <a:pt x="312" y="66"/>
                </a:lnTo>
                <a:lnTo>
                  <a:pt x="315" y="66"/>
                </a:lnTo>
                <a:lnTo>
                  <a:pt x="319" y="63"/>
                </a:lnTo>
                <a:lnTo>
                  <a:pt x="322" y="69"/>
                </a:lnTo>
                <a:lnTo>
                  <a:pt x="325" y="69"/>
                </a:lnTo>
                <a:lnTo>
                  <a:pt x="325" y="75"/>
                </a:lnTo>
                <a:lnTo>
                  <a:pt x="322" y="79"/>
                </a:lnTo>
                <a:lnTo>
                  <a:pt x="315" y="82"/>
                </a:lnTo>
                <a:lnTo>
                  <a:pt x="315" y="88"/>
                </a:lnTo>
                <a:lnTo>
                  <a:pt x="322" y="94"/>
                </a:lnTo>
                <a:lnTo>
                  <a:pt x="322" y="97"/>
                </a:lnTo>
                <a:lnTo>
                  <a:pt x="319" y="107"/>
                </a:lnTo>
                <a:lnTo>
                  <a:pt x="322" y="110"/>
                </a:lnTo>
                <a:lnTo>
                  <a:pt x="315" y="113"/>
                </a:lnTo>
                <a:lnTo>
                  <a:pt x="306" y="113"/>
                </a:lnTo>
                <a:lnTo>
                  <a:pt x="303" y="122"/>
                </a:lnTo>
                <a:lnTo>
                  <a:pt x="300" y="122"/>
                </a:lnTo>
                <a:lnTo>
                  <a:pt x="300" y="132"/>
                </a:lnTo>
                <a:lnTo>
                  <a:pt x="297" y="132"/>
                </a:lnTo>
                <a:lnTo>
                  <a:pt x="297" y="132"/>
                </a:lnTo>
                <a:lnTo>
                  <a:pt x="293" y="132"/>
                </a:lnTo>
                <a:lnTo>
                  <a:pt x="287" y="132"/>
                </a:lnTo>
                <a:lnTo>
                  <a:pt x="284" y="132"/>
                </a:lnTo>
                <a:lnTo>
                  <a:pt x="281" y="135"/>
                </a:lnTo>
                <a:lnTo>
                  <a:pt x="278" y="138"/>
                </a:lnTo>
                <a:lnTo>
                  <a:pt x="275" y="138"/>
                </a:lnTo>
                <a:lnTo>
                  <a:pt x="272" y="141"/>
                </a:lnTo>
                <a:lnTo>
                  <a:pt x="268" y="144"/>
                </a:lnTo>
                <a:lnTo>
                  <a:pt x="268" y="144"/>
                </a:lnTo>
                <a:lnTo>
                  <a:pt x="262" y="144"/>
                </a:lnTo>
                <a:lnTo>
                  <a:pt x="259" y="147"/>
                </a:lnTo>
                <a:lnTo>
                  <a:pt x="256" y="147"/>
                </a:lnTo>
                <a:lnTo>
                  <a:pt x="250" y="147"/>
                </a:lnTo>
                <a:lnTo>
                  <a:pt x="250" y="147"/>
                </a:lnTo>
                <a:lnTo>
                  <a:pt x="247" y="144"/>
                </a:lnTo>
                <a:lnTo>
                  <a:pt x="243" y="144"/>
                </a:lnTo>
                <a:lnTo>
                  <a:pt x="247" y="147"/>
                </a:lnTo>
                <a:lnTo>
                  <a:pt x="247" y="151"/>
                </a:lnTo>
                <a:lnTo>
                  <a:pt x="247" y="151"/>
                </a:lnTo>
                <a:lnTo>
                  <a:pt x="243" y="157"/>
                </a:lnTo>
                <a:lnTo>
                  <a:pt x="240" y="160"/>
                </a:lnTo>
                <a:lnTo>
                  <a:pt x="240" y="157"/>
                </a:lnTo>
                <a:lnTo>
                  <a:pt x="240" y="157"/>
                </a:lnTo>
                <a:lnTo>
                  <a:pt x="243" y="151"/>
                </a:lnTo>
                <a:lnTo>
                  <a:pt x="243" y="151"/>
                </a:lnTo>
                <a:lnTo>
                  <a:pt x="240" y="151"/>
                </a:lnTo>
                <a:lnTo>
                  <a:pt x="240" y="151"/>
                </a:lnTo>
                <a:lnTo>
                  <a:pt x="234" y="157"/>
                </a:lnTo>
                <a:lnTo>
                  <a:pt x="231" y="157"/>
                </a:lnTo>
                <a:lnTo>
                  <a:pt x="231" y="160"/>
                </a:lnTo>
                <a:lnTo>
                  <a:pt x="228" y="160"/>
                </a:lnTo>
                <a:lnTo>
                  <a:pt x="225" y="160"/>
                </a:lnTo>
                <a:lnTo>
                  <a:pt x="222" y="160"/>
                </a:lnTo>
                <a:lnTo>
                  <a:pt x="218" y="160"/>
                </a:lnTo>
                <a:lnTo>
                  <a:pt x="215" y="160"/>
                </a:lnTo>
                <a:lnTo>
                  <a:pt x="218" y="163"/>
                </a:lnTo>
                <a:lnTo>
                  <a:pt x="225" y="163"/>
                </a:lnTo>
                <a:lnTo>
                  <a:pt x="228" y="166"/>
                </a:lnTo>
                <a:lnTo>
                  <a:pt x="231" y="166"/>
                </a:lnTo>
                <a:lnTo>
                  <a:pt x="231" y="166"/>
                </a:lnTo>
                <a:lnTo>
                  <a:pt x="234" y="169"/>
                </a:lnTo>
                <a:lnTo>
                  <a:pt x="231" y="169"/>
                </a:lnTo>
                <a:lnTo>
                  <a:pt x="231" y="172"/>
                </a:lnTo>
                <a:lnTo>
                  <a:pt x="234" y="172"/>
                </a:lnTo>
                <a:lnTo>
                  <a:pt x="234" y="172"/>
                </a:lnTo>
                <a:lnTo>
                  <a:pt x="234" y="176"/>
                </a:lnTo>
                <a:lnTo>
                  <a:pt x="237" y="172"/>
                </a:lnTo>
                <a:lnTo>
                  <a:pt x="240" y="172"/>
                </a:lnTo>
                <a:lnTo>
                  <a:pt x="240" y="179"/>
                </a:lnTo>
                <a:lnTo>
                  <a:pt x="243" y="179"/>
                </a:lnTo>
                <a:lnTo>
                  <a:pt x="247" y="182"/>
                </a:lnTo>
                <a:lnTo>
                  <a:pt x="250" y="182"/>
                </a:lnTo>
                <a:lnTo>
                  <a:pt x="243" y="176"/>
                </a:lnTo>
                <a:lnTo>
                  <a:pt x="234" y="166"/>
                </a:lnTo>
                <a:lnTo>
                  <a:pt x="234" y="160"/>
                </a:lnTo>
                <a:lnTo>
                  <a:pt x="234" y="160"/>
                </a:lnTo>
                <a:lnTo>
                  <a:pt x="237" y="163"/>
                </a:lnTo>
                <a:lnTo>
                  <a:pt x="240" y="169"/>
                </a:lnTo>
                <a:lnTo>
                  <a:pt x="250" y="179"/>
                </a:lnTo>
                <a:lnTo>
                  <a:pt x="253" y="182"/>
                </a:lnTo>
                <a:lnTo>
                  <a:pt x="256" y="176"/>
                </a:lnTo>
                <a:lnTo>
                  <a:pt x="256" y="176"/>
                </a:lnTo>
                <a:lnTo>
                  <a:pt x="259" y="179"/>
                </a:lnTo>
                <a:lnTo>
                  <a:pt x="262" y="176"/>
                </a:lnTo>
                <a:lnTo>
                  <a:pt x="268" y="176"/>
                </a:lnTo>
                <a:lnTo>
                  <a:pt x="275" y="176"/>
                </a:lnTo>
                <a:lnTo>
                  <a:pt x="272" y="179"/>
                </a:lnTo>
                <a:lnTo>
                  <a:pt x="272" y="179"/>
                </a:lnTo>
                <a:lnTo>
                  <a:pt x="272" y="182"/>
                </a:lnTo>
                <a:lnTo>
                  <a:pt x="268" y="185"/>
                </a:lnTo>
                <a:lnTo>
                  <a:pt x="262" y="185"/>
                </a:lnTo>
                <a:lnTo>
                  <a:pt x="256" y="185"/>
                </a:lnTo>
                <a:lnTo>
                  <a:pt x="250" y="188"/>
                </a:lnTo>
                <a:lnTo>
                  <a:pt x="247" y="191"/>
                </a:lnTo>
                <a:lnTo>
                  <a:pt x="240" y="191"/>
                </a:lnTo>
                <a:lnTo>
                  <a:pt x="231" y="197"/>
                </a:lnTo>
                <a:lnTo>
                  <a:pt x="225" y="201"/>
                </a:lnTo>
                <a:lnTo>
                  <a:pt x="218" y="201"/>
                </a:lnTo>
                <a:lnTo>
                  <a:pt x="215" y="197"/>
                </a:lnTo>
                <a:lnTo>
                  <a:pt x="215" y="197"/>
                </a:lnTo>
                <a:lnTo>
                  <a:pt x="218" y="191"/>
                </a:lnTo>
                <a:lnTo>
                  <a:pt x="218" y="188"/>
                </a:lnTo>
                <a:lnTo>
                  <a:pt x="212" y="182"/>
                </a:lnTo>
                <a:lnTo>
                  <a:pt x="209" y="182"/>
                </a:lnTo>
                <a:lnTo>
                  <a:pt x="206" y="182"/>
                </a:lnTo>
                <a:lnTo>
                  <a:pt x="203" y="182"/>
                </a:lnTo>
                <a:lnTo>
                  <a:pt x="200" y="182"/>
                </a:lnTo>
                <a:lnTo>
                  <a:pt x="203" y="176"/>
                </a:lnTo>
                <a:lnTo>
                  <a:pt x="209" y="172"/>
                </a:lnTo>
                <a:lnTo>
                  <a:pt x="215" y="169"/>
                </a:lnTo>
                <a:lnTo>
                  <a:pt x="218" y="169"/>
                </a:lnTo>
                <a:lnTo>
                  <a:pt x="215" y="166"/>
                </a:lnTo>
                <a:lnTo>
                  <a:pt x="215" y="160"/>
                </a:lnTo>
                <a:lnTo>
                  <a:pt x="212" y="160"/>
                </a:lnTo>
                <a:lnTo>
                  <a:pt x="212" y="163"/>
                </a:lnTo>
                <a:lnTo>
                  <a:pt x="209" y="163"/>
                </a:lnTo>
                <a:lnTo>
                  <a:pt x="203" y="160"/>
                </a:lnTo>
                <a:lnTo>
                  <a:pt x="200" y="160"/>
                </a:lnTo>
                <a:lnTo>
                  <a:pt x="193" y="163"/>
                </a:lnTo>
                <a:lnTo>
                  <a:pt x="190" y="160"/>
                </a:lnTo>
                <a:lnTo>
                  <a:pt x="187" y="160"/>
                </a:lnTo>
                <a:lnTo>
                  <a:pt x="184" y="157"/>
                </a:lnTo>
                <a:lnTo>
                  <a:pt x="187" y="157"/>
                </a:lnTo>
                <a:lnTo>
                  <a:pt x="187" y="154"/>
                </a:lnTo>
                <a:lnTo>
                  <a:pt x="181" y="154"/>
                </a:lnTo>
                <a:lnTo>
                  <a:pt x="175" y="154"/>
                </a:lnTo>
                <a:lnTo>
                  <a:pt x="175" y="151"/>
                </a:lnTo>
                <a:lnTo>
                  <a:pt x="178" y="151"/>
                </a:lnTo>
                <a:lnTo>
                  <a:pt x="184" y="151"/>
                </a:lnTo>
                <a:lnTo>
                  <a:pt x="187" y="151"/>
                </a:lnTo>
                <a:lnTo>
                  <a:pt x="190" y="151"/>
                </a:lnTo>
                <a:lnTo>
                  <a:pt x="193" y="147"/>
                </a:lnTo>
                <a:lnTo>
                  <a:pt x="190" y="147"/>
                </a:lnTo>
                <a:lnTo>
                  <a:pt x="187" y="147"/>
                </a:lnTo>
                <a:lnTo>
                  <a:pt x="184" y="144"/>
                </a:lnTo>
                <a:lnTo>
                  <a:pt x="181" y="144"/>
                </a:lnTo>
                <a:lnTo>
                  <a:pt x="181" y="147"/>
                </a:lnTo>
                <a:lnTo>
                  <a:pt x="178" y="147"/>
                </a:lnTo>
                <a:lnTo>
                  <a:pt x="175" y="147"/>
                </a:lnTo>
                <a:lnTo>
                  <a:pt x="175" y="147"/>
                </a:lnTo>
                <a:lnTo>
                  <a:pt x="175" y="144"/>
                </a:lnTo>
                <a:lnTo>
                  <a:pt x="168" y="151"/>
                </a:lnTo>
                <a:lnTo>
                  <a:pt x="165" y="151"/>
                </a:lnTo>
                <a:lnTo>
                  <a:pt x="162" y="154"/>
                </a:lnTo>
                <a:lnTo>
                  <a:pt x="162" y="157"/>
                </a:lnTo>
                <a:lnTo>
                  <a:pt x="159" y="163"/>
                </a:lnTo>
                <a:lnTo>
                  <a:pt x="156" y="163"/>
                </a:lnTo>
                <a:lnTo>
                  <a:pt x="156" y="166"/>
                </a:lnTo>
                <a:lnTo>
                  <a:pt x="150" y="176"/>
                </a:lnTo>
                <a:lnTo>
                  <a:pt x="147" y="176"/>
                </a:lnTo>
                <a:lnTo>
                  <a:pt x="147" y="172"/>
                </a:lnTo>
                <a:lnTo>
                  <a:pt x="147" y="176"/>
                </a:lnTo>
                <a:lnTo>
                  <a:pt x="143" y="176"/>
                </a:lnTo>
                <a:lnTo>
                  <a:pt x="147" y="179"/>
                </a:lnTo>
                <a:lnTo>
                  <a:pt x="147" y="182"/>
                </a:lnTo>
                <a:lnTo>
                  <a:pt x="147" y="182"/>
                </a:lnTo>
                <a:lnTo>
                  <a:pt x="143" y="179"/>
                </a:lnTo>
                <a:lnTo>
                  <a:pt x="137" y="182"/>
                </a:lnTo>
                <a:lnTo>
                  <a:pt x="134" y="182"/>
                </a:lnTo>
                <a:lnTo>
                  <a:pt x="128" y="182"/>
                </a:lnTo>
                <a:lnTo>
                  <a:pt x="122" y="182"/>
                </a:lnTo>
                <a:lnTo>
                  <a:pt x="118" y="176"/>
                </a:lnTo>
                <a:lnTo>
                  <a:pt x="122" y="172"/>
                </a:lnTo>
                <a:lnTo>
                  <a:pt x="125" y="176"/>
                </a:lnTo>
                <a:lnTo>
                  <a:pt x="125" y="172"/>
                </a:lnTo>
                <a:lnTo>
                  <a:pt x="128" y="166"/>
                </a:lnTo>
                <a:lnTo>
                  <a:pt x="131" y="166"/>
                </a:lnTo>
                <a:lnTo>
                  <a:pt x="131" y="160"/>
                </a:lnTo>
                <a:lnTo>
                  <a:pt x="131" y="154"/>
                </a:lnTo>
                <a:lnTo>
                  <a:pt x="134" y="154"/>
                </a:lnTo>
                <a:lnTo>
                  <a:pt x="140" y="151"/>
                </a:lnTo>
                <a:lnTo>
                  <a:pt x="143" y="154"/>
                </a:lnTo>
                <a:lnTo>
                  <a:pt x="147" y="154"/>
                </a:lnTo>
                <a:lnTo>
                  <a:pt x="150" y="151"/>
                </a:lnTo>
                <a:lnTo>
                  <a:pt x="147" y="147"/>
                </a:lnTo>
                <a:lnTo>
                  <a:pt x="147" y="144"/>
                </a:lnTo>
                <a:lnTo>
                  <a:pt x="147" y="141"/>
                </a:lnTo>
                <a:lnTo>
                  <a:pt x="140" y="138"/>
                </a:lnTo>
                <a:lnTo>
                  <a:pt x="137" y="135"/>
                </a:lnTo>
                <a:lnTo>
                  <a:pt x="134" y="132"/>
                </a:lnTo>
                <a:lnTo>
                  <a:pt x="131" y="129"/>
                </a:lnTo>
                <a:lnTo>
                  <a:pt x="131" y="125"/>
                </a:lnTo>
                <a:lnTo>
                  <a:pt x="131" y="116"/>
                </a:lnTo>
                <a:lnTo>
                  <a:pt x="125" y="116"/>
                </a:lnTo>
                <a:lnTo>
                  <a:pt x="118" y="110"/>
                </a:lnTo>
                <a:lnTo>
                  <a:pt x="118" y="110"/>
                </a:lnTo>
                <a:lnTo>
                  <a:pt x="115" y="110"/>
                </a:lnTo>
                <a:lnTo>
                  <a:pt x="109" y="110"/>
                </a:lnTo>
                <a:lnTo>
                  <a:pt x="103" y="104"/>
                </a:lnTo>
                <a:lnTo>
                  <a:pt x="100" y="104"/>
                </a:lnTo>
                <a:lnTo>
                  <a:pt x="97" y="100"/>
                </a:lnTo>
                <a:lnTo>
                  <a:pt x="93" y="100"/>
                </a:lnTo>
                <a:lnTo>
                  <a:pt x="90" y="100"/>
                </a:lnTo>
                <a:lnTo>
                  <a:pt x="87" y="104"/>
                </a:lnTo>
                <a:lnTo>
                  <a:pt x="84" y="100"/>
                </a:lnTo>
                <a:lnTo>
                  <a:pt x="84" y="104"/>
                </a:lnTo>
                <a:lnTo>
                  <a:pt x="81" y="100"/>
                </a:lnTo>
                <a:lnTo>
                  <a:pt x="81" y="107"/>
                </a:lnTo>
                <a:lnTo>
                  <a:pt x="81" y="110"/>
                </a:lnTo>
                <a:lnTo>
                  <a:pt x="81" y="113"/>
                </a:lnTo>
                <a:lnTo>
                  <a:pt x="78" y="116"/>
                </a:lnTo>
                <a:lnTo>
                  <a:pt x="72" y="116"/>
                </a:lnTo>
                <a:lnTo>
                  <a:pt x="59" y="119"/>
                </a:lnTo>
                <a:lnTo>
                  <a:pt x="56" y="122"/>
                </a:lnTo>
                <a:lnTo>
                  <a:pt x="53" y="125"/>
                </a:lnTo>
                <a:lnTo>
                  <a:pt x="47" y="125"/>
                </a:lnTo>
                <a:lnTo>
                  <a:pt x="40" y="125"/>
                </a:lnTo>
                <a:lnTo>
                  <a:pt x="40" y="122"/>
                </a:lnTo>
                <a:lnTo>
                  <a:pt x="34" y="119"/>
                </a:lnTo>
                <a:lnTo>
                  <a:pt x="28" y="119"/>
                </a:lnTo>
                <a:lnTo>
                  <a:pt x="22" y="113"/>
                </a:lnTo>
                <a:lnTo>
                  <a:pt x="18" y="113"/>
                </a:lnTo>
                <a:lnTo>
                  <a:pt x="15" y="116"/>
                </a:lnTo>
                <a:lnTo>
                  <a:pt x="12" y="116"/>
                </a:lnTo>
                <a:lnTo>
                  <a:pt x="9" y="113"/>
                </a:lnTo>
                <a:lnTo>
                  <a:pt x="6" y="110"/>
                </a:lnTo>
                <a:lnTo>
                  <a:pt x="0" y="107"/>
                </a:lnTo>
                <a:lnTo>
                  <a:pt x="3" y="104"/>
                </a:lnTo>
                <a:lnTo>
                  <a:pt x="3" y="97"/>
                </a:lnTo>
                <a:lnTo>
                  <a:pt x="6" y="91"/>
                </a:lnTo>
                <a:lnTo>
                  <a:pt x="9" y="91"/>
                </a:lnTo>
                <a:lnTo>
                  <a:pt x="12" y="85"/>
                </a:lnTo>
                <a:lnTo>
                  <a:pt x="9" y="79"/>
                </a:lnTo>
                <a:lnTo>
                  <a:pt x="22" y="66"/>
                </a:lnTo>
                <a:lnTo>
                  <a:pt x="25" y="60"/>
                </a:lnTo>
                <a:lnTo>
                  <a:pt x="28" y="57"/>
                </a:lnTo>
                <a:lnTo>
                  <a:pt x="31" y="57"/>
                </a:lnTo>
                <a:lnTo>
                  <a:pt x="31" y="50"/>
                </a:lnTo>
                <a:lnTo>
                  <a:pt x="31" y="47"/>
                </a:lnTo>
                <a:lnTo>
                  <a:pt x="28" y="44"/>
                </a:lnTo>
                <a:lnTo>
                  <a:pt x="31" y="41"/>
                </a:lnTo>
                <a:lnTo>
                  <a:pt x="25" y="41"/>
                </a:lnTo>
                <a:lnTo>
                  <a:pt x="25" y="35"/>
                </a:lnTo>
                <a:lnTo>
                  <a:pt x="22" y="32"/>
                </a:lnTo>
                <a:lnTo>
                  <a:pt x="22" y="22"/>
                </a:lnTo>
                <a:lnTo>
                  <a:pt x="22" y="19"/>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3" name="Freeform 51">
            <a:extLst>
              <a:ext uri="{FF2B5EF4-FFF2-40B4-BE49-F238E27FC236}">
                <a16:creationId xmlns:a16="http://schemas.microsoft.com/office/drawing/2014/main" id="{54ABFC5D-212F-F1EB-9626-435D73F29D21}"/>
              </a:ext>
            </a:extLst>
          </p:cNvPr>
          <p:cNvSpPr>
            <a:spLocks/>
          </p:cNvSpPr>
          <p:nvPr userDrawn="1"/>
        </p:nvSpPr>
        <p:spPr bwMode="auto">
          <a:xfrm>
            <a:off x="14667542" y="6047661"/>
            <a:ext cx="219064" cy="241302"/>
          </a:xfrm>
          <a:custGeom>
            <a:avLst/>
            <a:gdLst>
              <a:gd name="T0" fmla="*/ 0 w 69"/>
              <a:gd name="T1" fmla="*/ 13 h 76"/>
              <a:gd name="T2" fmla="*/ 0 w 69"/>
              <a:gd name="T3" fmla="*/ 10 h 76"/>
              <a:gd name="T4" fmla="*/ 0 w 69"/>
              <a:gd name="T5" fmla="*/ 7 h 76"/>
              <a:gd name="T6" fmla="*/ 0 w 69"/>
              <a:gd name="T7" fmla="*/ 0 h 76"/>
              <a:gd name="T8" fmla="*/ 3 w 69"/>
              <a:gd name="T9" fmla="*/ 4 h 76"/>
              <a:gd name="T10" fmla="*/ 3 w 69"/>
              <a:gd name="T11" fmla="*/ 0 h 76"/>
              <a:gd name="T12" fmla="*/ 6 w 69"/>
              <a:gd name="T13" fmla="*/ 4 h 76"/>
              <a:gd name="T14" fmla="*/ 9 w 69"/>
              <a:gd name="T15" fmla="*/ 0 h 76"/>
              <a:gd name="T16" fmla="*/ 12 w 69"/>
              <a:gd name="T17" fmla="*/ 0 h 76"/>
              <a:gd name="T18" fmla="*/ 16 w 69"/>
              <a:gd name="T19" fmla="*/ 0 h 76"/>
              <a:gd name="T20" fmla="*/ 19 w 69"/>
              <a:gd name="T21" fmla="*/ 4 h 76"/>
              <a:gd name="T22" fmla="*/ 22 w 69"/>
              <a:gd name="T23" fmla="*/ 4 h 76"/>
              <a:gd name="T24" fmla="*/ 28 w 69"/>
              <a:gd name="T25" fmla="*/ 10 h 76"/>
              <a:gd name="T26" fmla="*/ 34 w 69"/>
              <a:gd name="T27" fmla="*/ 10 h 76"/>
              <a:gd name="T28" fmla="*/ 37 w 69"/>
              <a:gd name="T29" fmla="*/ 10 h 76"/>
              <a:gd name="T30" fmla="*/ 37 w 69"/>
              <a:gd name="T31" fmla="*/ 10 h 76"/>
              <a:gd name="T32" fmla="*/ 44 w 69"/>
              <a:gd name="T33" fmla="*/ 16 h 76"/>
              <a:gd name="T34" fmla="*/ 50 w 69"/>
              <a:gd name="T35" fmla="*/ 16 h 76"/>
              <a:gd name="T36" fmla="*/ 50 w 69"/>
              <a:gd name="T37" fmla="*/ 25 h 76"/>
              <a:gd name="T38" fmla="*/ 50 w 69"/>
              <a:gd name="T39" fmla="*/ 29 h 76"/>
              <a:gd name="T40" fmla="*/ 53 w 69"/>
              <a:gd name="T41" fmla="*/ 32 h 76"/>
              <a:gd name="T42" fmla="*/ 56 w 69"/>
              <a:gd name="T43" fmla="*/ 35 h 76"/>
              <a:gd name="T44" fmla="*/ 59 w 69"/>
              <a:gd name="T45" fmla="*/ 38 h 76"/>
              <a:gd name="T46" fmla="*/ 66 w 69"/>
              <a:gd name="T47" fmla="*/ 41 h 76"/>
              <a:gd name="T48" fmla="*/ 66 w 69"/>
              <a:gd name="T49" fmla="*/ 44 h 76"/>
              <a:gd name="T50" fmla="*/ 66 w 69"/>
              <a:gd name="T51" fmla="*/ 47 h 76"/>
              <a:gd name="T52" fmla="*/ 69 w 69"/>
              <a:gd name="T53" fmla="*/ 51 h 76"/>
              <a:gd name="T54" fmla="*/ 66 w 69"/>
              <a:gd name="T55" fmla="*/ 54 h 76"/>
              <a:gd name="T56" fmla="*/ 62 w 69"/>
              <a:gd name="T57" fmla="*/ 54 h 76"/>
              <a:gd name="T58" fmla="*/ 59 w 69"/>
              <a:gd name="T59" fmla="*/ 51 h 76"/>
              <a:gd name="T60" fmla="*/ 53 w 69"/>
              <a:gd name="T61" fmla="*/ 54 h 76"/>
              <a:gd name="T62" fmla="*/ 50 w 69"/>
              <a:gd name="T63" fmla="*/ 54 h 76"/>
              <a:gd name="T64" fmla="*/ 50 w 69"/>
              <a:gd name="T65" fmla="*/ 60 h 76"/>
              <a:gd name="T66" fmla="*/ 50 w 69"/>
              <a:gd name="T67" fmla="*/ 66 h 76"/>
              <a:gd name="T68" fmla="*/ 47 w 69"/>
              <a:gd name="T69" fmla="*/ 66 h 76"/>
              <a:gd name="T70" fmla="*/ 44 w 69"/>
              <a:gd name="T71" fmla="*/ 72 h 76"/>
              <a:gd name="T72" fmla="*/ 44 w 69"/>
              <a:gd name="T73" fmla="*/ 76 h 76"/>
              <a:gd name="T74" fmla="*/ 41 w 69"/>
              <a:gd name="T75" fmla="*/ 72 h 76"/>
              <a:gd name="T76" fmla="*/ 37 w 69"/>
              <a:gd name="T77" fmla="*/ 76 h 76"/>
              <a:gd name="T78" fmla="*/ 37 w 69"/>
              <a:gd name="T79" fmla="*/ 76 h 76"/>
              <a:gd name="T80" fmla="*/ 34 w 69"/>
              <a:gd name="T81" fmla="*/ 69 h 76"/>
              <a:gd name="T82" fmla="*/ 34 w 69"/>
              <a:gd name="T83" fmla="*/ 51 h 76"/>
              <a:gd name="T84" fmla="*/ 31 w 69"/>
              <a:gd name="T85" fmla="*/ 47 h 76"/>
              <a:gd name="T86" fmla="*/ 31 w 69"/>
              <a:gd name="T87" fmla="*/ 41 h 76"/>
              <a:gd name="T88" fmla="*/ 19 w 69"/>
              <a:gd name="T89" fmla="*/ 32 h 76"/>
              <a:gd name="T90" fmla="*/ 19 w 69"/>
              <a:gd name="T91" fmla="*/ 29 h 76"/>
              <a:gd name="T92" fmla="*/ 9 w 69"/>
              <a:gd name="T93" fmla="*/ 22 h 76"/>
              <a:gd name="T94" fmla="*/ 9 w 69"/>
              <a:gd name="T95" fmla="*/ 13 h 76"/>
              <a:gd name="T96" fmla="*/ 0 w 69"/>
              <a:gd name="T97" fmla="*/ 1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 h="76">
                <a:moveTo>
                  <a:pt x="0" y="13"/>
                </a:moveTo>
                <a:lnTo>
                  <a:pt x="0" y="10"/>
                </a:lnTo>
                <a:lnTo>
                  <a:pt x="0" y="7"/>
                </a:lnTo>
                <a:lnTo>
                  <a:pt x="0" y="0"/>
                </a:lnTo>
                <a:lnTo>
                  <a:pt x="3" y="4"/>
                </a:lnTo>
                <a:lnTo>
                  <a:pt x="3" y="0"/>
                </a:lnTo>
                <a:lnTo>
                  <a:pt x="6" y="4"/>
                </a:lnTo>
                <a:lnTo>
                  <a:pt x="9" y="0"/>
                </a:lnTo>
                <a:lnTo>
                  <a:pt x="12" y="0"/>
                </a:lnTo>
                <a:lnTo>
                  <a:pt x="16" y="0"/>
                </a:lnTo>
                <a:lnTo>
                  <a:pt x="19" y="4"/>
                </a:lnTo>
                <a:lnTo>
                  <a:pt x="22" y="4"/>
                </a:lnTo>
                <a:lnTo>
                  <a:pt x="28" y="10"/>
                </a:lnTo>
                <a:lnTo>
                  <a:pt x="34" y="10"/>
                </a:lnTo>
                <a:lnTo>
                  <a:pt x="37" y="10"/>
                </a:lnTo>
                <a:lnTo>
                  <a:pt x="37" y="10"/>
                </a:lnTo>
                <a:lnTo>
                  <a:pt x="44" y="16"/>
                </a:lnTo>
                <a:lnTo>
                  <a:pt x="50" y="16"/>
                </a:lnTo>
                <a:lnTo>
                  <a:pt x="50" y="25"/>
                </a:lnTo>
                <a:lnTo>
                  <a:pt x="50" y="29"/>
                </a:lnTo>
                <a:lnTo>
                  <a:pt x="53" y="32"/>
                </a:lnTo>
                <a:lnTo>
                  <a:pt x="56" y="35"/>
                </a:lnTo>
                <a:lnTo>
                  <a:pt x="59" y="38"/>
                </a:lnTo>
                <a:lnTo>
                  <a:pt x="66" y="41"/>
                </a:lnTo>
                <a:lnTo>
                  <a:pt x="66" y="44"/>
                </a:lnTo>
                <a:lnTo>
                  <a:pt x="66" y="47"/>
                </a:lnTo>
                <a:lnTo>
                  <a:pt x="69" y="51"/>
                </a:lnTo>
                <a:lnTo>
                  <a:pt x="66" y="54"/>
                </a:lnTo>
                <a:lnTo>
                  <a:pt x="62" y="54"/>
                </a:lnTo>
                <a:lnTo>
                  <a:pt x="59" y="51"/>
                </a:lnTo>
                <a:lnTo>
                  <a:pt x="53" y="54"/>
                </a:lnTo>
                <a:lnTo>
                  <a:pt x="50" y="54"/>
                </a:lnTo>
                <a:lnTo>
                  <a:pt x="50" y="60"/>
                </a:lnTo>
                <a:lnTo>
                  <a:pt x="50" y="66"/>
                </a:lnTo>
                <a:lnTo>
                  <a:pt x="47" y="66"/>
                </a:lnTo>
                <a:lnTo>
                  <a:pt x="44" y="72"/>
                </a:lnTo>
                <a:lnTo>
                  <a:pt x="44" y="76"/>
                </a:lnTo>
                <a:lnTo>
                  <a:pt x="41" y="72"/>
                </a:lnTo>
                <a:lnTo>
                  <a:pt x="37" y="76"/>
                </a:lnTo>
                <a:lnTo>
                  <a:pt x="37" y="76"/>
                </a:lnTo>
                <a:lnTo>
                  <a:pt x="34" y="69"/>
                </a:lnTo>
                <a:lnTo>
                  <a:pt x="34" y="51"/>
                </a:lnTo>
                <a:lnTo>
                  <a:pt x="31" y="47"/>
                </a:lnTo>
                <a:lnTo>
                  <a:pt x="31" y="41"/>
                </a:lnTo>
                <a:lnTo>
                  <a:pt x="19" y="32"/>
                </a:lnTo>
                <a:lnTo>
                  <a:pt x="19" y="29"/>
                </a:lnTo>
                <a:lnTo>
                  <a:pt x="9" y="22"/>
                </a:lnTo>
                <a:lnTo>
                  <a:pt x="9" y="13"/>
                </a:lnTo>
                <a:lnTo>
                  <a:pt x="0" y="13"/>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4" name="Freeform 52">
            <a:extLst>
              <a:ext uri="{FF2B5EF4-FFF2-40B4-BE49-F238E27FC236}">
                <a16:creationId xmlns:a16="http://schemas.microsoft.com/office/drawing/2014/main" id="{2663AFAC-2AEC-512C-15F1-54599A3221FE}"/>
              </a:ext>
            </a:extLst>
          </p:cNvPr>
          <p:cNvSpPr>
            <a:spLocks/>
          </p:cNvSpPr>
          <p:nvPr userDrawn="1"/>
        </p:nvSpPr>
        <p:spPr bwMode="auto">
          <a:xfrm>
            <a:off x="14321495" y="6088937"/>
            <a:ext cx="555590" cy="346078"/>
          </a:xfrm>
          <a:custGeom>
            <a:avLst/>
            <a:gdLst>
              <a:gd name="T0" fmla="*/ 43 w 175"/>
              <a:gd name="T1" fmla="*/ 3 h 109"/>
              <a:gd name="T2" fmla="*/ 50 w 175"/>
              <a:gd name="T3" fmla="*/ 0 h 109"/>
              <a:gd name="T4" fmla="*/ 62 w 175"/>
              <a:gd name="T5" fmla="*/ 6 h 109"/>
              <a:gd name="T6" fmla="*/ 68 w 175"/>
              <a:gd name="T7" fmla="*/ 12 h 109"/>
              <a:gd name="T8" fmla="*/ 81 w 175"/>
              <a:gd name="T9" fmla="*/ 12 h 109"/>
              <a:gd name="T10" fmla="*/ 87 w 175"/>
              <a:gd name="T11" fmla="*/ 6 h 109"/>
              <a:gd name="T12" fmla="*/ 106 w 175"/>
              <a:gd name="T13" fmla="*/ 3 h 109"/>
              <a:gd name="T14" fmla="*/ 118 w 175"/>
              <a:gd name="T15" fmla="*/ 9 h 109"/>
              <a:gd name="T16" fmla="*/ 128 w 175"/>
              <a:gd name="T17" fmla="*/ 19 h 109"/>
              <a:gd name="T18" fmla="*/ 140 w 175"/>
              <a:gd name="T19" fmla="*/ 34 h 109"/>
              <a:gd name="T20" fmla="*/ 143 w 175"/>
              <a:gd name="T21" fmla="*/ 56 h 109"/>
              <a:gd name="T22" fmla="*/ 150 w 175"/>
              <a:gd name="T23" fmla="*/ 69 h 109"/>
              <a:gd name="T24" fmla="*/ 162 w 175"/>
              <a:gd name="T25" fmla="*/ 69 h 109"/>
              <a:gd name="T26" fmla="*/ 171 w 175"/>
              <a:gd name="T27" fmla="*/ 66 h 109"/>
              <a:gd name="T28" fmla="*/ 171 w 175"/>
              <a:gd name="T29" fmla="*/ 72 h 109"/>
              <a:gd name="T30" fmla="*/ 175 w 175"/>
              <a:gd name="T31" fmla="*/ 75 h 109"/>
              <a:gd name="T32" fmla="*/ 168 w 175"/>
              <a:gd name="T33" fmla="*/ 81 h 109"/>
              <a:gd name="T34" fmla="*/ 159 w 175"/>
              <a:gd name="T35" fmla="*/ 88 h 109"/>
              <a:gd name="T36" fmla="*/ 159 w 175"/>
              <a:gd name="T37" fmla="*/ 94 h 109"/>
              <a:gd name="T38" fmla="*/ 156 w 175"/>
              <a:gd name="T39" fmla="*/ 100 h 109"/>
              <a:gd name="T40" fmla="*/ 153 w 175"/>
              <a:gd name="T41" fmla="*/ 106 h 109"/>
              <a:gd name="T42" fmla="*/ 146 w 175"/>
              <a:gd name="T43" fmla="*/ 103 h 109"/>
              <a:gd name="T44" fmla="*/ 140 w 175"/>
              <a:gd name="T45" fmla="*/ 100 h 109"/>
              <a:gd name="T46" fmla="*/ 128 w 175"/>
              <a:gd name="T47" fmla="*/ 97 h 109"/>
              <a:gd name="T48" fmla="*/ 112 w 175"/>
              <a:gd name="T49" fmla="*/ 103 h 109"/>
              <a:gd name="T50" fmla="*/ 106 w 175"/>
              <a:gd name="T51" fmla="*/ 109 h 109"/>
              <a:gd name="T52" fmla="*/ 96 w 175"/>
              <a:gd name="T53" fmla="*/ 109 h 109"/>
              <a:gd name="T54" fmla="*/ 87 w 175"/>
              <a:gd name="T55" fmla="*/ 106 h 109"/>
              <a:gd name="T56" fmla="*/ 81 w 175"/>
              <a:gd name="T57" fmla="*/ 109 h 109"/>
              <a:gd name="T58" fmla="*/ 68 w 175"/>
              <a:gd name="T59" fmla="*/ 109 h 109"/>
              <a:gd name="T60" fmla="*/ 65 w 175"/>
              <a:gd name="T61" fmla="*/ 106 h 109"/>
              <a:gd name="T62" fmla="*/ 56 w 175"/>
              <a:gd name="T63" fmla="*/ 109 h 109"/>
              <a:gd name="T64" fmla="*/ 53 w 175"/>
              <a:gd name="T65" fmla="*/ 103 h 109"/>
              <a:gd name="T66" fmla="*/ 53 w 175"/>
              <a:gd name="T67" fmla="*/ 100 h 109"/>
              <a:gd name="T68" fmla="*/ 46 w 175"/>
              <a:gd name="T69" fmla="*/ 94 h 109"/>
              <a:gd name="T70" fmla="*/ 46 w 175"/>
              <a:gd name="T71" fmla="*/ 88 h 109"/>
              <a:gd name="T72" fmla="*/ 37 w 175"/>
              <a:gd name="T73" fmla="*/ 91 h 109"/>
              <a:gd name="T74" fmla="*/ 31 w 175"/>
              <a:gd name="T75" fmla="*/ 88 h 109"/>
              <a:gd name="T76" fmla="*/ 21 w 175"/>
              <a:gd name="T77" fmla="*/ 84 h 109"/>
              <a:gd name="T78" fmla="*/ 25 w 175"/>
              <a:gd name="T79" fmla="*/ 78 h 109"/>
              <a:gd name="T80" fmla="*/ 12 w 175"/>
              <a:gd name="T81" fmla="*/ 69 h 109"/>
              <a:gd name="T82" fmla="*/ 6 w 175"/>
              <a:gd name="T83" fmla="*/ 59 h 109"/>
              <a:gd name="T84" fmla="*/ 0 w 175"/>
              <a:gd name="T85" fmla="*/ 56 h 109"/>
              <a:gd name="T86" fmla="*/ 9 w 175"/>
              <a:gd name="T87" fmla="*/ 50 h 109"/>
              <a:gd name="T88" fmla="*/ 15 w 175"/>
              <a:gd name="T89" fmla="*/ 47 h 109"/>
              <a:gd name="T90" fmla="*/ 18 w 175"/>
              <a:gd name="T91" fmla="*/ 41 h 109"/>
              <a:gd name="T92" fmla="*/ 31 w 175"/>
              <a:gd name="T93" fmla="*/ 19 h 109"/>
              <a:gd name="T94" fmla="*/ 37 w 175"/>
              <a:gd name="T95" fmla="*/ 9 h 109"/>
              <a:gd name="T96" fmla="*/ 40 w 175"/>
              <a:gd name="T97" fmla="*/ 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5" h="109">
                <a:moveTo>
                  <a:pt x="40" y="3"/>
                </a:moveTo>
                <a:lnTo>
                  <a:pt x="43" y="3"/>
                </a:lnTo>
                <a:lnTo>
                  <a:pt x="46" y="0"/>
                </a:lnTo>
                <a:lnTo>
                  <a:pt x="50" y="0"/>
                </a:lnTo>
                <a:lnTo>
                  <a:pt x="56" y="6"/>
                </a:lnTo>
                <a:lnTo>
                  <a:pt x="62" y="6"/>
                </a:lnTo>
                <a:lnTo>
                  <a:pt x="68" y="9"/>
                </a:lnTo>
                <a:lnTo>
                  <a:pt x="68" y="12"/>
                </a:lnTo>
                <a:lnTo>
                  <a:pt x="75" y="12"/>
                </a:lnTo>
                <a:lnTo>
                  <a:pt x="81" y="12"/>
                </a:lnTo>
                <a:lnTo>
                  <a:pt x="84" y="9"/>
                </a:lnTo>
                <a:lnTo>
                  <a:pt x="87" y="6"/>
                </a:lnTo>
                <a:lnTo>
                  <a:pt x="100" y="3"/>
                </a:lnTo>
                <a:lnTo>
                  <a:pt x="106" y="3"/>
                </a:lnTo>
                <a:lnTo>
                  <a:pt x="118" y="0"/>
                </a:lnTo>
                <a:lnTo>
                  <a:pt x="118" y="9"/>
                </a:lnTo>
                <a:lnTo>
                  <a:pt x="128" y="16"/>
                </a:lnTo>
                <a:lnTo>
                  <a:pt x="128" y="19"/>
                </a:lnTo>
                <a:lnTo>
                  <a:pt x="140" y="28"/>
                </a:lnTo>
                <a:lnTo>
                  <a:pt x="140" y="34"/>
                </a:lnTo>
                <a:lnTo>
                  <a:pt x="143" y="38"/>
                </a:lnTo>
                <a:lnTo>
                  <a:pt x="143" y="56"/>
                </a:lnTo>
                <a:lnTo>
                  <a:pt x="146" y="63"/>
                </a:lnTo>
                <a:lnTo>
                  <a:pt x="150" y="69"/>
                </a:lnTo>
                <a:lnTo>
                  <a:pt x="156" y="69"/>
                </a:lnTo>
                <a:lnTo>
                  <a:pt x="162" y="69"/>
                </a:lnTo>
                <a:lnTo>
                  <a:pt x="165" y="69"/>
                </a:lnTo>
                <a:lnTo>
                  <a:pt x="171" y="66"/>
                </a:lnTo>
                <a:lnTo>
                  <a:pt x="175" y="69"/>
                </a:lnTo>
                <a:lnTo>
                  <a:pt x="171" y="72"/>
                </a:lnTo>
                <a:lnTo>
                  <a:pt x="175" y="72"/>
                </a:lnTo>
                <a:lnTo>
                  <a:pt x="175" y="75"/>
                </a:lnTo>
                <a:lnTo>
                  <a:pt x="171" y="81"/>
                </a:lnTo>
                <a:lnTo>
                  <a:pt x="168" y="81"/>
                </a:lnTo>
                <a:lnTo>
                  <a:pt x="159" y="81"/>
                </a:lnTo>
                <a:lnTo>
                  <a:pt x="159" y="88"/>
                </a:lnTo>
                <a:lnTo>
                  <a:pt x="156" y="91"/>
                </a:lnTo>
                <a:lnTo>
                  <a:pt x="159" y="94"/>
                </a:lnTo>
                <a:lnTo>
                  <a:pt x="159" y="97"/>
                </a:lnTo>
                <a:lnTo>
                  <a:pt x="156" y="100"/>
                </a:lnTo>
                <a:lnTo>
                  <a:pt x="159" y="106"/>
                </a:lnTo>
                <a:lnTo>
                  <a:pt x="153" y="106"/>
                </a:lnTo>
                <a:lnTo>
                  <a:pt x="153" y="103"/>
                </a:lnTo>
                <a:lnTo>
                  <a:pt x="146" y="103"/>
                </a:lnTo>
                <a:lnTo>
                  <a:pt x="143" y="103"/>
                </a:lnTo>
                <a:lnTo>
                  <a:pt x="140" y="100"/>
                </a:lnTo>
                <a:lnTo>
                  <a:pt x="134" y="97"/>
                </a:lnTo>
                <a:lnTo>
                  <a:pt x="128" y="97"/>
                </a:lnTo>
                <a:lnTo>
                  <a:pt x="125" y="100"/>
                </a:lnTo>
                <a:lnTo>
                  <a:pt x="112" y="103"/>
                </a:lnTo>
                <a:lnTo>
                  <a:pt x="109" y="106"/>
                </a:lnTo>
                <a:lnTo>
                  <a:pt x="106" y="109"/>
                </a:lnTo>
                <a:lnTo>
                  <a:pt x="103" y="109"/>
                </a:lnTo>
                <a:lnTo>
                  <a:pt x="96" y="109"/>
                </a:lnTo>
                <a:lnTo>
                  <a:pt x="93" y="109"/>
                </a:lnTo>
                <a:lnTo>
                  <a:pt x="87" y="106"/>
                </a:lnTo>
                <a:lnTo>
                  <a:pt x="84" y="109"/>
                </a:lnTo>
                <a:lnTo>
                  <a:pt x="81" y="109"/>
                </a:lnTo>
                <a:lnTo>
                  <a:pt x="75" y="109"/>
                </a:lnTo>
                <a:lnTo>
                  <a:pt x="68" y="109"/>
                </a:lnTo>
                <a:lnTo>
                  <a:pt x="65" y="109"/>
                </a:lnTo>
                <a:lnTo>
                  <a:pt x="65" y="106"/>
                </a:lnTo>
                <a:lnTo>
                  <a:pt x="59" y="106"/>
                </a:lnTo>
                <a:lnTo>
                  <a:pt x="56" y="109"/>
                </a:lnTo>
                <a:lnTo>
                  <a:pt x="53" y="106"/>
                </a:lnTo>
                <a:lnTo>
                  <a:pt x="53" y="103"/>
                </a:lnTo>
                <a:lnTo>
                  <a:pt x="53" y="100"/>
                </a:lnTo>
                <a:lnTo>
                  <a:pt x="53" y="100"/>
                </a:lnTo>
                <a:lnTo>
                  <a:pt x="46" y="97"/>
                </a:lnTo>
                <a:lnTo>
                  <a:pt x="46" y="94"/>
                </a:lnTo>
                <a:lnTo>
                  <a:pt x="43" y="91"/>
                </a:lnTo>
                <a:lnTo>
                  <a:pt x="46" y="88"/>
                </a:lnTo>
                <a:lnTo>
                  <a:pt x="40" y="84"/>
                </a:lnTo>
                <a:lnTo>
                  <a:pt x="37" y="91"/>
                </a:lnTo>
                <a:lnTo>
                  <a:pt x="34" y="88"/>
                </a:lnTo>
                <a:lnTo>
                  <a:pt x="31" y="88"/>
                </a:lnTo>
                <a:lnTo>
                  <a:pt x="28" y="84"/>
                </a:lnTo>
                <a:lnTo>
                  <a:pt x="21" y="84"/>
                </a:lnTo>
                <a:lnTo>
                  <a:pt x="21" y="81"/>
                </a:lnTo>
                <a:lnTo>
                  <a:pt x="25" y="78"/>
                </a:lnTo>
                <a:lnTo>
                  <a:pt x="18" y="72"/>
                </a:lnTo>
                <a:lnTo>
                  <a:pt x="12" y="69"/>
                </a:lnTo>
                <a:lnTo>
                  <a:pt x="12" y="66"/>
                </a:lnTo>
                <a:lnTo>
                  <a:pt x="6" y="59"/>
                </a:lnTo>
                <a:lnTo>
                  <a:pt x="6" y="56"/>
                </a:lnTo>
                <a:lnTo>
                  <a:pt x="0" y="56"/>
                </a:lnTo>
                <a:lnTo>
                  <a:pt x="6" y="50"/>
                </a:lnTo>
                <a:lnTo>
                  <a:pt x="9" y="50"/>
                </a:lnTo>
                <a:lnTo>
                  <a:pt x="9" y="47"/>
                </a:lnTo>
                <a:lnTo>
                  <a:pt x="15" y="47"/>
                </a:lnTo>
                <a:lnTo>
                  <a:pt x="18" y="44"/>
                </a:lnTo>
                <a:lnTo>
                  <a:pt x="18" y="41"/>
                </a:lnTo>
                <a:lnTo>
                  <a:pt x="25" y="31"/>
                </a:lnTo>
                <a:lnTo>
                  <a:pt x="31" y="19"/>
                </a:lnTo>
                <a:lnTo>
                  <a:pt x="34" y="9"/>
                </a:lnTo>
                <a:lnTo>
                  <a:pt x="37" y="9"/>
                </a:lnTo>
                <a:lnTo>
                  <a:pt x="40" y="6"/>
                </a:lnTo>
                <a:lnTo>
                  <a:pt x="40" y="3"/>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5" name="Freeform 53">
            <a:extLst>
              <a:ext uri="{FF2B5EF4-FFF2-40B4-BE49-F238E27FC236}">
                <a16:creationId xmlns:a16="http://schemas.microsoft.com/office/drawing/2014/main" id="{1D2E6A65-E949-A9BB-6C2C-70BA5DCB6AB9}"/>
              </a:ext>
            </a:extLst>
          </p:cNvPr>
          <p:cNvSpPr>
            <a:spLocks/>
          </p:cNvSpPr>
          <p:nvPr userDrawn="1"/>
        </p:nvSpPr>
        <p:spPr bwMode="auto">
          <a:xfrm>
            <a:off x="14092905" y="6069880"/>
            <a:ext cx="355577" cy="228600"/>
          </a:xfrm>
          <a:custGeom>
            <a:avLst/>
            <a:gdLst>
              <a:gd name="T0" fmla="*/ 72 w 112"/>
              <a:gd name="T1" fmla="*/ 62 h 72"/>
              <a:gd name="T2" fmla="*/ 78 w 112"/>
              <a:gd name="T3" fmla="*/ 56 h 72"/>
              <a:gd name="T4" fmla="*/ 81 w 112"/>
              <a:gd name="T5" fmla="*/ 56 h 72"/>
              <a:gd name="T6" fmla="*/ 81 w 112"/>
              <a:gd name="T7" fmla="*/ 53 h 72"/>
              <a:gd name="T8" fmla="*/ 87 w 112"/>
              <a:gd name="T9" fmla="*/ 53 h 72"/>
              <a:gd name="T10" fmla="*/ 90 w 112"/>
              <a:gd name="T11" fmla="*/ 50 h 72"/>
              <a:gd name="T12" fmla="*/ 90 w 112"/>
              <a:gd name="T13" fmla="*/ 47 h 72"/>
              <a:gd name="T14" fmla="*/ 97 w 112"/>
              <a:gd name="T15" fmla="*/ 37 h 72"/>
              <a:gd name="T16" fmla="*/ 103 w 112"/>
              <a:gd name="T17" fmla="*/ 25 h 72"/>
              <a:gd name="T18" fmla="*/ 106 w 112"/>
              <a:gd name="T19" fmla="*/ 15 h 72"/>
              <a:gd name="T20" fmla="*/ 109 w 112"/>
              <a:gd name="T21" fmla="*/ 15 h 72"/>
              <a:gd name="T22" fmla="*/ 112 w 112"/>
              <a:gd name="T23" fmla="*/ 12 h 72"/>
              <a:gd name="T24" fmla="*/ 109 w 112"/>
              <a:gd name="T25" fmla="*/ 6 h 72"/>
              <a:gd name="T26" fmla="*/ 106 w 112"/>
              <a:gd name="T27" fmla="*/ 3 h 72"/>
              <a:gd name="T28" fmla="*/ 100 w 112"/>
              <a:gd name="T29" fmla="*/ 0 h 72"/>
              <a:gd name="T30" fmla="*/ 97 w 112"/>
              <a:gd name="T31" fmla="*/ 3 h 72"/>
              <a:gd name="T32" fmla="*/ 90 w 112"/>
              <a:gd name="T33" fmla="*/ 0 h 72"/>
              <a:gd name="T34" fmla="*/ 84 w 112"/>
              <a:gd name="T35" fmla="*/ 0 h 72"/>
              <a:gd name="T36" fmla="*/ 78 w 112"/>
              <a:gd name="T37" fmla="*/ 0 h 72"/>
              <a:gd name="T38" fmla="*/ 72 w 112"/>
              <a:gd name="T39" fmla="*/ 0 h 72"/>
              <a:gd name="T40" fmla="*/ 68 w 112"/>
              <a:gd name="T41" fmla="*/ 6 h 72"/>
              <a:gd name="T42" fmla="*/ 65 w 112"/>
              <a:gd name="T43" fmla="*/ 9 h 72"/>
              <a:gd name="T44" fmla="*/ 65 w 112"/>
              <a:gd name="T45" fmla="*/ 12 h 72"/>
              <a:gd name="T46" fmla="*/ 59 w 112"/>
              <a:gd name="T47" fmla="*/ 6 h 72"/>
              <a:gd name="T48" fmla="*/ 53 w 112"/>
              <a:gd name="T49" fmla="*/ 12 h 72"/>
              <a:gd name="T50" fmla="*/ 47 w 112"/>
              <a:gd name="T51" fmla="*/ 12 h 72"/>
              <a:gd name="T52" fmla="*/ 47 w 112"/>
              <a:gd name="T53" fmla="*/ 15 h 72"/>
              <a:gd name="T54" fmla="*/ 37 w 112"/>
              <a:gd name="T55" fmla="*/ 18 h 72"/>
              <a:gd name="T56" fmla="*/ 28 w 112"/>
              <a:gd name="T57" fmla="*/ 18 h 72"/>
              <a:gd name="T58" fmla="*/ 22 w 112"/>
              <a:gd name="T59" fmla="*/ 18 h 72"/>
              <a:gd name="T60" fmla="*/ 9 w 112"/>
              <a:gd name="T61" fmla="*/ 12 h 72"/>
              <a:gd name="T62" fmla="*/ 9 w 112"/>
              <a:gd name="T63" fmla="*/ 12 h 72"/>
              <a:gd name="T64" fmla="*/ 9 w 112"/>
              <a:gd name="T65" fmla="*/ 18 h 72"/>
              <a:gd name="T66" fmla="*/ 9 w 112"/>
              <a:gd name="T67" fmla="*/ 22 h 72"/>
              <a:gd name="T68" fmla="*/ 0 w 112"/>
              <a:gd name="T69" fmla="*/ 22 h 72"/>
              <a:gd name="T70" fmla="*/ 0 w 112"/>
              <a:gd name="T71" fmla="*/ 25 h 72"/>
              <a:gd name="T72" fmla="*/ 3 w 112"/>
              <a:gd name="T73" fmla="*/ 28 h 72"/>
              <a:gd name="T74" fmla="*/ 3 w 112"/>
              <a:gd name="T75" fmla="*/ 31 h 72"/>
              <a:gd name="T76" fmla="*/ 3 w 112"/>
              <a:gd name="T77" fmla="*/ 34 h 72"/>
              <a:gd name="T78" fmla="*/ 3 w 112"/>
              <a:gd name="T79" fmla="*/ 40 h 72"/>
              <a:gd name="T80" fmla="*/ 0 w 112"/>
              <a:gd name="T81" fmla="*/ 44 h 72"/>
              <a:gd name="T82" fmla="*/ 0 w 112"/>
              <a:gd name="T83" fmla="*/ 44 h 72"/>
              <a:gd name="T84" fmla="*/ 6 w 112"/>
              <a:gd name="T85" fmla="*/ 50 h 72"/>
              <a:gd name="T86" fmla="*/ 6 w 112"/>
              <a:gd name="T87" fmla="*/ 56 h 72"/>
              <a:gd name="T88" fmla="*/ 9 w 112"/>
              <a:gd name="T89" fmla="*/ 56 h 72"/>
              <a:gd name="T90" fmla="*/ 15 w 112"/>
              <a:gd name="T91" fmla="*/ 62 h 72"/>
              <a:gd name="T92" fmla="*/ 22 w 112"/>
              <a:gd name="T93" fmla="*/ 65 h 72"/>
              <a:gd name="T94" fmla="*/ 25 w 112"/>
              <a:gd name="T95" fmla="*/ 69 h 72"/>
              <a:gd name="T96" fmla="*/ 34 w 112"/>
              <a:gd name="T97" fmla="*/ 69 h 72"/>
              <a:gd name="T98" fmla="*/ 40 w 112"/>
              <a:gd name="T99" fmla="*/ 72 h 72"/>
              <a:gd name="T100" fmla="*/ 43 w 112"/>
              <a:gd name="T101" fmla="*/ 69 h 72"/>
              <a:gd name="T102" fmla="*/ 47 w 112"/>
              <a:gd name="T103" fmla="*/ 69 h 72"/>
              <a:gd name="T104" fmla="*/ 50 w 112"/>
              <a:gd name="T105" fmla="*/ 65 h 72"/>
              <a:gd name="T106" fmla="*/ 53 w 112"/>
              <a:gd name="T107" fmla="*/ 65 h 72"/>
              <a:gd name="T108" fmla="*/ 56 w 112"/>
              <a:gd name="T109" fmla="*/ 65 h 72"/>
              <a:gd name="T110" fmla="*/ 59 w 112"/>
              <a:gd name="T111" fmla="*/ 62 h 72"/>
              <a:gd name="T112" fmla="*/ 62 w 112"/>
              <a:gd name="T113" fmla="*/ 59 h 72"/>
              <a:gd name="T114" fmla="*/ 65 w 112"/>
              <a:gd name="T115" fmla="*/ 59 h 72"/>
              <a:gd name="T116" fmla="*/ 72 w 112"/>
              <a:gd name="T117" fmla="*/ 59 h 72"/>
              <a:gd name="T118" fmla="*/ 72 w 112"/>
              <a:gd name="T119"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2" h="72">
                <a:moveTo>
                  <a:pt x="72" y="62"/>
                </a:moveTo>
                <a:lnTo>
                  <a:pt x="78" y="56"/>
                </a:lnTo>
                <a:lnTo>
                  <a:pt x="81" y="56"/>
                </a:lnTo>
                <a:lnTo>
                  <a:pt x="81" y="53"/>
                </a:lnTo>
                <a:lnTo>
                  <a:pt x="87" y="53"/>
                </a:lnTo>
                <a:lnTo>
                  <a:pt x="90" y="50"/>
                </a:lnTo>
                <a:lnTo>
                  <a:pt x="90" y="47"/>
                </a:lnTo>
                <a:lnTo>
                  <a:pt x="97" y="37"/>
                </a:lnTo>
                <a:lnTo>
                  <a:pt x="103" y="25"/>
                </a:lnTo>
                <a:lnTo>
                  <a:pt x="106" y="15"/>
                </a:lnTo>
                <a:lnTo>
                  <a:pt x="109" y="15"/>
                </a:lnTo>
                <a:lnTo>
                  <a:pt x="112" y="12"/>
                </a:lnTo>
                <a:lnTo>
                  <a:pt x="109" y="6"/>
                </a:lnTo>
                <a:lnTo>
                  <a:pt x="106" y="3"/>
                </a:lnTo>
                <a:lnTo>
                  <a:pt x="100" y="0"/>
                </a:lnTo>
                <a:lnTo>
                  <a:pt x="97" y="3"/>
                </a:lnTo>
                <a:lnTo>
                  <a:pt x="90" y="0"/>
                </a:lnTo>
                <a:lnTo>
                  <a:pt x="84" y="0"/>
                </a:lnTo>
                <a:lnTo>
                  <a:pt x="78" y="0"/>
                </a:lnTo>
                <a:lnTo>
                  <a:pt x="72" y="0"/>
                </a:lnTo>
                <a:lnTo>
                  <a:pt x="68" y="6"/>
                </a:lnTo>
                <a:lnTo>
                  <a:pt x="65" y="9"/>
                </a:lnTo>
                <a:lnTo>
                  <a:pt x="65" y="12"/>
                </a:lnTo>
                <a:lnTo>
                  <a:pt x="59" y="6"/>
                </a:lnTo>
                <a:lnTo>
                  <a:pt x="53" y="12"/>
                </a:lnTo>
                <a:lnTo>
                  <a:pt x="47" y="12"/>
                </a:lnTo>
                <a:lnTo>
                  <a:pt x="47" y="15"/>
                </a:lnTo>
                <a:lnTo>
                  <a:pt x="37" y="18"/>
                </a:lnTo>
                <a:lnTo>
                  <a:pt x="28" y="18"/>
                </a:lnTo>
                <a:lnTo>
                  <a:pt x="22" y="18"/>
                </a:lnTo>
                <a:lnTo>
                  <a:pt x="9" y="12"/>
                </a:lnTo>
                <a:lnTo>
                  <a:pt x="9" y="12"/>
                </a:lnTo>
                <a:lnTo>
                  <a:pt x="9" y="18"/>
                </a:lnTo>
                <a:lnTo>
                  <a:pt x="9" y="22"/>
                </a:lnTo>
                <a:lnTo>
                  <a:pt x="0" y="22"/>
                </a:lnTo>
                <a:lnTo>
                  <a:pt x="0" y="25"/>
                </a:lnTo>
                <a:lnTo>
                  <a:pt x="3" y="28"/>
                </a:lnTo>
                <a:lnTo>
                  <a:pt x="3" y="31"/>
                </a:lnTo>
                <a:lnTo>
                  <a:pt x="3" y="34"/>
                </a:lnTo>
                <a:lnTo>
                  <a:pt x="3" y="40"/>
                </a:lnTo>
                <a:lnTo>
                  <a:pt x="0" y="44"/>
                </a:lnTo>
                <a:lnTo>
                  <a:pt x="0" y="44"/>
                </a:lnTo>
                <a:lnTo>
                  <a:pt x="6" y="50"/>
                </a:lnTo>
                <a:lnTo>
                  <a:pt x="6" y="56"/>
                </a:lnTo>
                <a:lnTo>
                  <a:pt x="9" y="56"/>
                </a:lnTo>
                <a:lnTo>
                  <a:pt x="15" y="62"/>
                </a:lnTo>
                <a:lnTo>
                  <a:pt x="22" y="65"/>
                </a:lnTo>
                <a:lnTo>
                  <a:pt x="25" y="69"/>
                </a:lnTo>
                <a:lnTo>
                  <a:pt x="34" y="69"/>
                </a:lnTo>
                <a:lnTo>
                  <a:pt x="40" y="72"/>
                </a:lnTo>
                <a:lnTo>
                  <a:pt x="43" y="69"/>
                </a:lnTo>
                <a:lnTo>
                  <a:pt x="47" y="69"/>
                </a:lnTo>
                <a:lnTo>
                  <a:pt x="50" y="65"/>
                </a:lnTo>
                <a:lnTo>
                  <a:pt x="53" y="65"/>
                </a:lnTo>
                <a:lnTo>
                  <a:pt x="56" y="65"/>
                </a:lnTo>
                <a:lnTo>
                  <a:pt x="59" y="62"/>
                </a:lnTo>
                <a:lnTo>
                  <a:pt x="62" y="59"/>
                </a:lnTo>
                <a:lnTo>
                  <a:pt x="65" y="59"/>
                </a:lnTo>
                <a:lnTo>
                  <a:pt x="72" y="59"/>
                </a:lnTo>
                <a:lnTo>
                  <a:pt x="72" y="62"/>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6" name="Freeform 54">
            <a:extLst>
              <a:ext uri="{FF2B5EF4-FFF2-40B4-BE49-F238E27FC236}">
                <a16:creationId xmlns:a16="http://schemas.microsoft.com/office/drawing/2014/main" id="{B3F79F7F-C229-21C0-753A-FF664F1631B9}"/>
              </a:ext>
            </a:extLst>
          </p:cNvPr>
          <p:cNvSpPr>
            <a:spLocks/>
          </p:cNvSpPr>
          <p:nvPr userDrawn="1"/>
        </p:nvSpPr>
        <p:spPr bwMode="auto">
          <a:xfrm>
            <a:off x="14121479" y="6000032"/>
            <a:ext cx="307956" cy="127000"/>
          </a:xfrm>
          <a:custGeom>
            <a:avLst/>
            <a:gdLst>
              <a:gd name="T0" fmla="*/ 0 w 97"/>
              <a:gd name="T1" fmla="*/ 34 h 40"/>
              <a:gd name="T2" fmla="*/ 13 w 97"/>
              <a:gd name="T3" fmla="*/ 40 h 40"/>
              <a:gd name="T4" fmla="*/ 19 w 97"/>
              <a:gd name="T5" fmla="*/ 40 h 40"/>
              <a:gd name="T6" fmla="*/ 28 w 97"/>
              <a:gd name="T7" fmla="*/ 40 h 40"/>
              <a:gd name="T8" fmla="*/ 38 w 97"/>
              <a:gd name="T9" fmla="*/ 37 h 40"/>
              <a:gd name="T10" fmla="*/ 38 w 97"/>
              <a:gd name="T11" fmla="*/ 34 h 40"/>
              <a:gd name="T12" fmla="*/ 44 w 97"/>
              <a:gd name="T13" fmla="*/ 34 h 40"/>
              <a:gd name="T14" fmla="*/ 50 w 97"/>
              <a:gd name="T15" fmla="*/ 28 h 40"/>
              <a:gd name="T16" fmla="*/ 56 w 97"/>
              <a:gd name="T17" fmla="*/ 34 h 40"/>
              <a:gd name="T18" fmla="*/ 56 w 97"/>
              <a:gd name="T19" fmla="*/ 31 h 40"/>
              <a:gd name="T20" fmla="*/ 59 w 97"/>
              <a:gd name="T21" fmla="*/ 28 h 40"/>
              <a:gd name="T22" fmla="*/ 63 w 97"/>
              <a:gd name="T23" fmla="*/ 22 h 40"/>
              <a:gd name="T24" fmla="*/ 69 w 97"/>
              <a:gd name="T25" fmla="*/ 22 h 40"/>
              <a:gd name="T26" fmla="*/ 75 w 97"/>
              <a:gd name="T27" fmla="*/ 22 h 40"/>
              <a:gd name="T28" fmla="*/ 81 w 97"/>
              <a:gd name="T29" fmla="*/ 22 h 40"/>
              <a:gd name="T30" fmla="*/ 88 w 97"/>
              <a:gd name="T31" fmla="*/ 25 h 40"/>
              <a:gd name="T32" fmla="*/ 94 w 97"/>
              <a:gd name="T33" fmla="*/ 19 h 40"/>
              <a:gd name="T34" fmla="*/ 94 w 97"/>
              <a:gd name="T35" fmla="*/ 12 h 40"/>
              <a:gd name="T36" fmla="*/ 97 w 97"/>
              <a:gd name="T37" fmla="*/ 6 h 40"/>
              <a:gd name="T38" fmla="*/ 97 w 97"/>
              <a:gd name="T39" fmla="*/ 6 h 40"/>
              <a:gd name="T40" fmla="*/ 88 w 97"/>
              <a:gd name="T41" fmla="*/ 0 h 40"/>
              <a:gd name="T42" fmla="*/ 81 w 97"/>
              <a:gd name="T43" fmla="*/ 0 h 40"/>
              <a:gd name="T44" fmla="*/ 78 w 97"/>
              <a:gd name="T45" fmla="*/ 0 h 40"/>
              <a:gd name="T46" fmla="*/ 75 w 97"/>
              <a:gd name="T47" fmla="*/ 0 h 40"/>
              <a:gd name="T48" fmla="*/ 72 w 97"/>
              <a:gd name="T49" fmla="*/ 0 h 40"/>
              <a:gd name="T50" fmla="*/ 72 w 97"/>
              <a:gd name="T51" fmla="*/ 3 h 40"/>
              <a:gd name="T52" fmla="*/ 69 w 97"/>
              <a:gd name="T53" fmla="*/ 0 h 40"/>
              <a:gd name="T54" fmla="*/ 63 w 97"/>
              <a:gd name="T55" fmla="*/ 0 h 40"/>
              <a:gd name="T56" fmla="*/ 59 w 97"/>
              <a:gd name="T57" fmla="*/ 0 h 40"/>
              <a:gd name="T58" fmla="*/ 56 w 97"/>
              <a:gd name="T59" fmla="*/ 0 h 40"/>
              <a:gd name="T60" fmla="*/ 53 w 97"/>
              <a:gd name="T61" fmla="*/ 6 h 40"/>
              <a:gd name="T62" fmla="*/ 50 w 97"/>
              <a:gd name="T63" fmla="*/ 6 h 40"/>
              <a:gd name="T64" fmla="*/ 50 w 97"/>
              <a:gd name="T65" fmla="*/ 3 h 40"/>
              <a:gd name="T66" fmla="*/ 50 w 97"/>
              <a:gd name="T67" fmla="*/ 3 h 40"/>
              <a:gd name="T68" fmla="*/ 41 w 97"/>
              <a:gd name="T69" fmla="*/ 3 h 40"/>
              <a:gd name="T70" fmla="*/ 38 w 97"/>
              <a:gd name="T71" fmla="*/ 6 h 40"/>
              <a:gd name="T72" fmla="*/ 31 w 97"/>
              <a:gd name="T73" fmla="*/ 9 h 40"/>
              <a:gd name="T74" fmla="*/ 25 w 97"/>
              <a:gd name="T75" fmla="*/ 12 h 40"/>
              <a:gd name="T76" fmla="*/ 19 w 97"/>
              <a:gd name="T77" fmla="*/ 15 h 40"/>
              <a:gd name="T78" fmla="*/ 13 w 97"/>
              <a:gd name="T79" fmla="*/ 19 h 40"/>
              <a:gd name="T80" fmla="*/ 9 w 97"/>
              <a:gd name="T81" fmla="*/ 15 h 40"/>
              <a:gd name="T82" fmla="*/ 6 w 97"/>
              <a:gd name="T83" fmla="*/ 15 h 40"/>
              <a:gd name="T84" fmla="*/ 0 w 97"/>
              <a:gd name="T85" fmla="*/ 19 h 40"/>
              <a:gd name="T86" fmla="*/ 0 w 97"/>
              <a:gd name="T87" fmla="*/ 19 h 40"/>
              <a:gd name="T88" fmla="*/ 0 w 97"/>
              <a:gd name="T89" fmla="*/ 25 h 40"/>
              <a:gd name="T90" fmla="*/ 0 w 97"/>
              <a:gd name="T91" fmla="*/ 3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40">
                <a:moveTo>
                  <a:pt x="0" y="34"/>
                </a:moveTo>
                <a:lnTo>
                  <a:pt x="13" y="40"/>
                </a:lnTo>
                <a:lnTo>
                  <a:pt x="19" y="40"/>
                </a:lnTo>
                <a:lnTo>
                  <a:pt x="28" y="40"/>
                </a:lnTo>
                <a:lnTo>
                  <a:pt x="38" y="37"/>
                </a:lnTo>
                <a:lnTo>
                  <a:pt x="38" y="34"/>
                </a:lnTo>
                <a:lnTo>
                  <a:pt x="44" y="34"/>
                </a:lnTo>
                <a:lnTo>
                  <a:pt x="50" y="28"/>
                </a:lnTo>
                <a:lnTo>
                  <a:pt x="56" y="34"/>
                </a:lnTo>
                <a:lnTo>
                  <a:pt x="56" y="31"/>
                </a:lnTo>
                <a:lnTo>
                  <a:pt x="59" y="28"/>
                </a:lnTo>
                <a:lnTo>
                  <a:pt x="63" y="22"/>
                </a:lnTo>
                <a:lnTo>
                  <a:pt x="69" y="22"/>
                </a:lnTo>
                <a:lnTo>
                  <a:pt x="75" y="22"/>
                </a:lnTo>
                <a:lnTo>
                  <a:pt x="81" y="22"/>
                </a:lnTo>
                <a:lnTo>
                  <a:pt x="88" y="25"/>
                </a:lnTo>
                <a:lnTo>
                  <a:pt x="94" y="19"/>
                </a:lnTo>
                <a:lnTo>
                  <a:pt x="94" y="12"/>
                </a:lnTo>
                <a:lnTo>
                  <a:pt x="97" y="6"/>
                </a:lnTo>
                <a:lnTo>
                  <a:pt x="97" y="6"/>
                </a:lnTo>
                <a:lnTo>
                  <a:pt x="88" y="0"/>
                </a:lnTo>
                <a:lnTo>
                  <a:pt x="81" y="0"/>
                </a:lnTo>
                <a:lnTo>
                  <a:pt x="78" y="0"/>
                </a:lnTo>
                <a:lnTo>
                  <a:pt x="75" y="0"/>
                </a:lnTo>
                <a:lnTo>
                  <a:pt x="72" y="0"/>
                </a:lnTo>
                <a:lnTo>
                  <a:pt x="72" y="3"/>
                </a:lnTo>
                <a:lnTo>
                  <a:pt x="69" y="0"/>
                </a:lnTo>
                <a:lnTo>
                  <a:pt x="63" y="0"/>
                </a:lnTo>
                <a:lnTo>
                  <a:pt x="59" y="0"/>
                </a:lnTo>
                <a:lnTo>
                  <a:pt x="56" y="0"/>
                </a:lnTo>
                <a:lnTo>
                  <a:pt x="53" y="6"/>
                </a:lnTo>
                <a:lnTo>
                  <a:pt x="50" y="6"/>
                </a:lnTo>
                <a:lnTo>
                  <a:pt x="50" y="3"/>
                </a:lnTo>
                <a:lnTo>
                  <a:pt x="50" y="3"/>
                </a:lnTo>
                <a:lnTo>
                  <a:pt x="41" y="3"/>
                </a:lnTo>
                <a:lnTo>
                  <a:pt x="38" y="6"/>
                </a:lnTo>
                <a:lnTo>
                  <a:pt x="31" y="9"/>
                </a:lnTo>
                <a:lnTo>
                  <a:pt x="25" y="12"/>
                </a:lnTo>
                <a:lnTo>
                  <a:pt x="19" y="15"/>
                </a:lnTo>
                <a:lnTo>
                  <a:pt x="13" y="19"/>
                </a:lnTo>
                <a:lnTo>
                  <a:pt x="9" y="15"/>
                </a:lnTo>
                <a:lnTo>
                  <a:pt x="6" y="15"/>
                </a:lnTo>
                <a:lnTo>
                  <a:pt x="0" y="19"/>
                </a:lnTo>
                <a:lnTo>
                  <a:pt x="0" y="19"/>
                </a:lnTo>
                <a:lnTo>
                  <a:pt x="0" y="25"/>
                </a:lnTo>
                <a:lnTo>
                  <a:pt x="0" y="34"/>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7" name="Freeform 55">
            <a:extLst>
              <a:ext uri="{FF2B5EF4-FFF2-40B4-BE49-F238E27FC236}">
                <a16:creationId xmlns:a16="http://schemas.microsoft.com/office/drawing/2014/main" id="{6283180F-B03D-B8B6-D208-8180118EE81A}"/>
              </a:ext>
            </a:extLst>
          </p:cNvPr>
          <p:cNvSpPr>
            <a:spLocks/>
          </p:cNvSpPr>
          <p:nvPr userDrawn="1"/>
        </p:nvSpPr>
        <p:spPr bwMode="auto">
          <a:xfrm>
            <a:off x="14458012" y="6396908"/>
            <a:ext cx="368278" cy="228600"/>
          </a:xfrm>
          <a:custGeom>
            <a:avLst/>
            <a:gdLst>
              <a:gd name="T0" fmla="*/ 10 w 116"/>
              <a:gd name="T1" fmla="*/ 3 h 72"/>
              <a:gd name="T2" fmla="*/ 10 w 116"/>
              <a:gd name="T3" fmla="*/ 6 h 72"/>
              <a:gd name="T4" fmla="*/ 13 w 116"/>
              <a:gd name="T5" fmla="*/ 12 h 72"/>
              <a:gd name="T6" fmla="*/ 22 w 116"/>
              <a:gd name="T7" fmla="*/ 9 h 72"/>
              <a:gd name="T8" fmla="*/ 25 w 116"/>
              <a:gd name="T9" fmla="*/ 12 h 72"/>
              <a:gd name="T10" fmla="*/ 38 w 116"/>
              <a:gd name="T11" fmla="*/ 12 h 72"/>
              <a:gd name="T12" fmla="*/ 44 w 116"/>
              <a:gd name="T13" fmla="*/ 9 h 72"/>
              <a:gd name="T14" fmla="*/ 53 w 116"/>
              <a:gd name="T15" fmla="*/ 12 h 72"/>
              <a:gd name="T16" fmla="*/ 63 w 116"/>
              <a:gd name="T17" fmla="*/ 12 h 72"/>
              <a:gd name="T18" fmla="*/ 69 w 116"/>
              <a:gd name="T19" fmla="*/ 6 h 72"/>
              <a:gd name="T20" fmla="*/ 85 w 116"/>
              <a:gd name="T21" fmla="*/ 0 h 72"/>
              <a:gd name="T22" fmla="*/ 97 w 116"/>
              <a:gd name="T23" fmla="*/ 3 h 72"/>
              <a:gd name="T24" fmla="*/ 103 w 116"/>
              <a:gd name="T25" fmla="*/ 6 h 72"/>
              <a:gd name="T26" fmla="*/ 110 w 116"/>
              <a:gd name="T27" fmla="*/ 9 h 72"/>
              <a:gd name="T28" fmla="*/ 116 w 116"/>
              <a:gd name="T29" fmla="*/ 9 h 72"/>
              <a:gd name="T30" fmla="*/ 113 w 116"/>
              <a:gd name="T31" fmla="*/ 19 h 72"/>
              <a:gd name="T32" fmla="*/ 103 w 116"/>
              <a:gd name="T33" fmla="*/ 25 h 72"/>
              <a:gd name="T34" fmla="*/ 103 w 116"/>
              <a:gd name="T35" fmla="*/ 38 h 72"/>
              <a:gd name="T36" fmla="*/ 97 w 116"/>
              <a:gd name="T37" fmla="*/ 44 h 72"/>
              <a:gd name="T38" fmla="*/ 103 w 116"/>
              <a:gd name="T39" fmla="*/ 50 h 72"/>
              <a:gd name="T40" fmla="*/ 107 w 116"/>
              <a:gd name="T41" fmla="*/ 53 h 72"/>
              <a:gd name="T42" fmla="*/ 100 w 116"/>
              <a:gd name="T43" fmla="*/ 56 h 72"/>
              <a:gd name="T44" fmla="*/ 88 w 116"/>
              <a:gd name="T45" fmla="*/ 50 h 72"/>
              <a:gd name="T46" fmla="*/ 85 w 116"/>
              <a:gd name="T47" fmla="*/ 53 h 72"/>
              <a:gd name="T48" fmla="*/ 82 w 116"/>
              <a:gd name="T49" fmla="*/ 56 h 72"/>
              <a:gd name="T50" fmla="*/ 72 w 116"/>
              <a:gd name="T51" fmla="*/ 63 h 72"/>
              <a:gd name="T52" fmla="*/ 75 w 116"/>
              <a:gd name="T53" fmla="*/ 69 h 72"/>
              <a:gd name="T54" fmla="*/ 63 w 116"/>
              <a:gd name="T55" fmla="*/ 72 h 72"/>
              <a:gd name="T56" fmla="*/ 57 w 116"/>
              <a:gd name="T57" fmla="*/ 72 h 72"/>
              <a:gd name="T58" fmla="*/ 50 w 116"/>
              <a:gd name="T59" fmla="*/ 72 h 72"/>
              <a:gd name="T60" fmla="*/ 47 w 116"/>
              <a:gd name="T61" fmla="*/ 69 h 72"/>
              <a:gd name="T62" fmla="*/ 35 w 116"/>
              <a:gd name="T63" fmla="*/ 69 h 72"/>
              <a:gd name="T64" fmla="*/ 28 w 116"/>
              <a:gd name="T65" fmla="*/ 72 h 72"/>
              <a:gd name="T66" fmla="*/ 19 w 116"/>
              <a:gd name="T67" fmla="*/ 72 h 72"/>
              <a:gd name="T68" fmla="*/ 19 w 116"/>
              <a:gd name="T69" fmla="*/ 69 h 72"/>
              <a:gd name="T70" fmla="*/ 13 w 116"/>
              <a:gd name="T71" fmla="*/ 53 h 72"/>
              <a:gd name="T72" fmla="*/ 3 w 116"/>
              <a:gd name="T73" fmla="*/ 47 h 72"/>
              <a:gd name="T74" fmla="*/ 3 w 116"/>
              <a:gd name="T75" fmla="*/ 41 h 72"/>
              <a:gd name="T76" fmla="*/ 10 w 116"/>
              <a:gd name="T77" fmla="*/ 31 h 72"/>
              <a:gd name="T78" fmla="*/ 10 w 116"/>
              <a:gd name="T79" fmla="*/ 22 h 72"/>
              <a:gd name="T80" fmla="*/ 0 w 116"/>
              <a:gd name="T81" fmla="*/ 9 h 72"/>
              <a:gd name="T82" fmla="*/ 3 w 116"/>
              <a:gd name="T83"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6" h="72">
                <a:moveTo>
                  <a:pt x="3" y="0"/>
                </a:moveTo>
                <a:lnTo>
                  <a:pt x="10" y="3"/>
                </a:lnTo>
                <a:lnTo>
                  <a:pt x="10" y="3"/>
                </a:lnTo>
                <a:lnTo>
                  <a:pt x="10" y="6"/>
                </a:lnTo>
                <a:lnTo>
                  <a:pt x="10" y="9"/>
                </a:lnTo>
                <a:lnTo>
                  <a:pt x="13" y="12"/>
                </a:lnTo>
                <a:lnTo>
                  <a:pt x="16" y="9"/>
                </a:lnTo>
                <a:lnTo>
                  <a:pt x="22" y="9"/>
                </a:lnTo>
                <a:lnTo>
                  <a:pt x="22" y="12"/>
                </a:lnTo>
                <a:lnTo>
                  <a:pt x="25" y="12"/>
                </a:lnTo>
                <a:lnTo>
                  <a:pt x="32" y="12"/>
                </a:lnTo>
                <a:lnTo>
                  <a:pt x="38" y="12"/>
                </a:lnTo>
                <a:lnTo>
                  <a:pt x="41" y="12"/>
                </a:lnTo>
                <a:lnTo>
                  <a:pt x="44" y="9"/>
                </a:lnTo>
                <a:lnTo>
                  <a:pt x="50" y="12"/>
                </a:lnTo>
                <a:lnTo>
                  <a:pt x="53" y="12"/>
                </a:lnTo>
                <a:lnTo>
                  <a:pt x="60" y="12"/>
                </a:lnTo>
                <a:lnTo>
                  <a:pt x="63" y="12"/>
                </a:lnTo>
                <a:lnTo>
                  <a:pt x="66" y="9"/>
                </a:lnTo>
                <a:lnTo>
                  <a:pt x="69" y="6"/>
                </a:lnTo>
                <a:lnTo>
                  <a:pt x="82" y="3"/>
                </a:lnTo>
                <a:lnTo>
                  <a:pt x="85" y="0"/>
                </a:lnTo>
                <a:lnTo>
                  <a:pt x="91" y="0"/>
                </a:lnTo>
                <a:lnTo>
                  <a:pt x="97" y="3"/>
                </a:lnTo>
                <a:lnTo>
                  <a:pt x="100" y="6"/>
                </a:lnTo>
                <a:lnTo>
                  <a:pt x="103" y="6"/>
                </a:lnTo>
                <a:lnTo>
                  <a:pt x="110" y="6"/>
                </a:lnTo>
                <a:lnTo>
                  <a:pt x="110" y="9"/>
                </a:lnTo>
                <a:lnTo>
                  <a:pt x="116" y="9"/>
                </a:lnTo>
                <a:lnTo>
                  <a:pt x="116" y="9"/>
                </a:lnTo>
                <a:lnTo>
                  <a:pt x="113" y="19"/>
                </a:lnTo>
                <a:lnTo>
                  <a:pt x="113" y="19"/>
                </a:lnTo>
                <a:lnTo>
                  <a:pt x="107" y="19"/>
                </a:lnTo>
                <a:lnTo>
                  <a:pt x="103" y="25"/>
                </a:lnTo>
                <a:lnTo>
                  <a:pt x="103" y="34"/>
                </a:lnTo>
                <a:lnTo>
                  <a:pt x="103" y="38"/>
                </a:lnTo>
                <a:lnTo>
                  <a:pt x="97" y="41"/>
                </a:lnTo>
                <a:lnTo>
                  <a:pt x="97" y="44"/>
                </a:lnTo>
                <a:lnTo>
                  <a:pt x="100" y="44"/>
                </a:lnTo>
                <a:lnTo>
                  <a:pt x="103" y="50"/>
                </a:lnTo>
                <a:lnTo>
                  <a:pt x="107" y="53"/>
                </a:lnTo>
                <a:lnTo>
                  <a:pt x="107" y="53"/>
                </a:lnTo>
                <a:lnTo>
                  <a:pt x="103" y="53"/>
                </a:lnTo>
                <a:lnTo>
                  <a:pt x="100" y="56"/>
                </a:lnTo>
                <a:lnTo>
                  <a:pt x="94" y="50"/>
                </a:lnTo>
                <a:lnTo>
                  <a:pt x="88" y="50"/>
                </a:lnTo>
                <a:lnTo>
                  <a:pt x="88" y="53"/>
                </a:lnTo>
                <a:lnTo>
                  <a:pt x="85" y="53"/>
                </a:lnTo>
                <a:lnTo>
                  <a:pt x="82" y="56"/>
                </a:lnTo>
                <a:lnTo>
                  <a:pt x="82" y="56"/>
                </a:lnTo>
                <a:lnTo>
                  <a:pt x="78" y="56"/>
                </a:lnTo>
                <a:lnTo>
                  <a:pt x="72" y="63"/>
                </a:lnTo>
                <a:lnTo>
                  <a:pt x="72" y="66"/>
                </a:lnTo>
                <a:lnTo>
                  <a:pt x="75" y="69"/>
                </a:lnTo>
                <a:lnTo>
                  <a:pt x="72" y="72"/>
                </a:lnTo>
                <a:lnTo>
                  <a:pt x="63" y="72"/>
                </a:lnTo>
                <a:lnTo>
                  <a:pt x="60" y="72"/>
                </a:lnTo>
                <a:lnTo>
                  <a:pt x="57" y="72"/>
                </a:lnTo>
                <a:lnTo>
                  <a:pt x="53" y="72"/>
                </a:lnTo>
                <a:lnTo>
                  <a:pt x="50" y="72"/>
                </a:lnTo>
                <a:lnTo>
                  <a:pt x="47" y="72"/>
                </a:lnTo>
                <a:lnTo>
                  <a:pt x="47" y="69"/>
                </a:lnTo>
                <a:lnTo>
                  <a:pt x="41" y="69"/>
                </a:lnTo>
                <a:lnTo>
                  <a:pt x="35" y="69"/>
                </a:lnTo>
                <a:lnTo>
                  <a:pt x="32" y="72"/>
                </a:lnTo>
                <a:lnTo>
                  <a:pt x="28" y="72"/>
                </a:lnTo>
                <a:lnTo>
                  <a:pt x="22" y="72"/>
                </a:lnTo>
                <a:lnTo>
                  <a:pt x="19" y="72"/>
                </a:lnTo>
                <a:lnTo>
                  <a:pt x="19" y="72"/>
                </a:lnTo>
                <a:lnTo>
                  <a:pt x="19" y="69"/>
                </a:lnTo>
                <a:lnTo>
                  <a:pt x="19" y="63"/>
                </a:lnTo>
                <a:lnTo>
                  <a:pt x="13" y="53"/>
                </a:lnTo>
                <a:lnTo>
                  <a:pt x="3" y="47"/>
                </a:lnTo>
                <a:lnTo>
                  <a:pt x="3" y="47"/>
                </a:lnTo>
                <a:lnTo>
                  <a:pt x="7" y="44"/>
                </a:lnTo>
                <a:lnTo>
                  <a:pt x="3" y="41"/>
                </a:lnTo>
                <a:lnTo>
                  <a:pt x="3" y="38"/>
                </a:lnTo>
                <a:lnTo>
                  <a:pt x="10" y="31"/>
                </a:lnTo>
                <a:lnTo>
                  <a:pt x="13" y="28"/>
                </a:lnTo>
                <a:lnTo>
                  <a:pt x="10" y="22"/>
                </a:lnTo>
                <a:lnTo>
                  <a:pt x="3" y="16"/>
                </a:lnTo>
                <a:lnTo>
                  <a:pt x="0" y="9"/>
                </a:lnTo>
                <a:lnTo>
                  <a:pt x="3" y="6"/>
                </a:lnTo>
                <a:lnTo>
                  <a:pt x="3" y="0"/>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8" name="Freeform 56">
            <a:extLst>
              <a:ext uri="{FF2B5EF4-FFF2-40B4-BE49-F238E27FC236}">
                <a16:creationId xmlns:a16="http://schemas.microsoft.com/office/drawing/2014/main" id="{0C21C5A5-0BFD-47A6-7CA9-70A9477BAF06}"/>
              </a:ext>
            </a:extLst>
          </p:cNvPr>
          <p:cNvSpPr>
            <a:spLocks/>
          </p:cNvSpPr>
          <p:nvPr userDrawn="1"/>
        </p:nvSpPr>
        <p:spPr bwMode="auto">
          <a:xfrm>
            <a:off x="14359590" y="6546130"/>
            <a:ext cx="158740" cy="130176"/>
          </a:xfrm>
          <a:custGeom>
            <a:avLst/>
            <a:gdLst>
              <a:gd name="T0" fmla="*/ 34 w 50"/>
              <a:gd name="T1" fmla="*/ 0 h 41"/>
              <a:gd name="T2" fmla="*/ 44 w 50"/>
              <a:gd name="T3" fmla="*/ 6 h 41"/>
              <a:gd name="T4" fmla="*/ 50 w 50"/>
              <a:gd name="T5" fmla="*/ 16 h 41"/>
              <a:gd name="T6" fmla="*/ 50 w 50"/>
              <a:gd name="T7" fmla="*/ 22 h 41"/>
              <a:gd name="T8" fmla="*/ 50 w 50"/>
              <a:gd name="T9" fmla="*/ 25 h 41"/>
              <a:gd name="T10" fmla="*/ 47 w 50"/>
              <a:gd name="T11" fmla="*/ 28 h 41"/>
              <a:gd name="T12" fmla="*/ 44 w 50"/>
              <a:gd name="T13" fmla="*/ 28 h 41"/>
              <a:gd name="T14" fmla="*/ 41 w 50"/>
              <a:gd name="T15" fmla="*/ 31 h 41"/>
              <a:gd name="T16" fmla="*/ 31 w 50"/>
              <a:gd name="T17" fmla="*/ 31 h 41"/>
              <a:gd name="T18" fmla="*/ 25 w 50"/>
              <a:gd name="T19" fmla="*/ 31 h 41"/>
              <a:gd name="T20" fmla="*/ 25 w 50"/>
              <a:gd name="T21" fmla="*/ 34 h 41"/>
              <a:gd name="T22" fmla="*/ 19 w 50"/>
              <a:gd name="T23" fmla="*/ 34 h 41"/>
              <a:gd name="T24" fmla="*/ 13 w 50"/>
              <a:gd name="T25" fmla="*/ 41 h 41"/>
              <a:gd name="T26" fmla="*/ 13 w 50"/>
              <a:gd name="T27" fmla="*/ 41 h 41"/>
              <a:gd name="T28" fmla="*/ 9 w 50"/>
              <a:gd name="T29" fmla="*/ 37 h 41"/>
              <a:gd name="T30" fmla="*/ 6 w 50"/>
              <a:gd name="T31" fmla="*/ 34 h 41"/>
              <a:gd name="T32" fmla="*/ 3 w 50"/>
              <a:gd name="T33" fmla="*/ 28 h 41"/>
              <a:gd name="T34" fmla="*/ 0 w 50"/>
              <a:gd name="T35" fmla="*/ 22 h 41"/>
              <a:gd name="T36" fmla="*/ 3 w 50"/>
              <a:gd name="T37" fmla="*/ 12 h 41"/>
              <a:gd name="T38" fmla="*/ 3 w 50"/>
              <a:gd name="T39" fmla="*/ 16 h 41"/>
              <a:gd name="T40" fmla="*/ 3 w 50"/>
              <a:gd name="T41" fmla="*/ 12 h 41"/>
              <a:gd name="T42" fmla="*/ 3 w 50"/>
              <a:gd name="T43" fmla="*/ 9 h 41"/>
              <a:gd name="T44" fmla="*/ 9 w 50"/>
              <a:gd name="T45" fmla="*/ 6 h 41"/>
              <a:gd name="T46" fmla="*/ 13 w 50"/>
              <a:gd name="T47" fmla="*/ 6 h 41"/>
              <a:gd name="T48" fmla="*/ 16 w 50"/>
              <a:gd name="T49" fmla="*/ 3 h 41"/>
              <a:gd name="T50" fmla="*/ 25 w 50"/>
              <a:gd name="T51" fmla="*/ 3 h 41"/>
              <a:gd name="T52" fmla="*/ 28 w 50"/>
              <a:gd name="T53" fmla="*/ 3 h 41"/>
              <a:gd name="T54" fmla="*/ 31 w 50"/>
              <a:gd name="T55" fmla="*/ 0 h 41"/>
              <a:gd name="T56" fmla="*/ 34 w 50"/>
              <a:gd name="T5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1">
                <a:moveTo>
                  <a:pt x="34" y="0"/>
                </a:moveTo>
                <a:lnTo>
                  <a:pt x="44" y="6"/>
                </a:lnTo>
                <a:lnTo>
                  <a:pt x="50" y="16"/>
                </a:lnTo>
                <a:lnTo>
                  <a:pt x="50" y="22"/>
                </a:lnTo>
                <a:lnTo>
                  <a:pt x="50" y="25"/>
                </a:lnTo>
                <a:lnTo>
                  <a:pt x="47" y="28"/>
                </a:lnTo>
                <a:lnTo>
                  <a:pt x="44" y="28"/>
                </a:lnTo>
                <a:lnTo>
                  <a:pt x="41" y="31"/>
                </a:lnTo>
                <a:lnTo>
                  <a:pt x="31" y="31"/>
                </a:lnTo>
                <a:lnTo>
                  <a:pt x="25" y="31"/>
                </a:lnTo>
                <a:lnTo>
                  <a:pt x="25" y="34"/>
                </a:lnTo>
                <a:lnTo>
                  <a:pt x="19" y="34"/>
                </a:lnTo>
                <a:lnTo>
                  <a:pt x="13" y="41"/>
                </a:lnTo>
                <a:lnTo>
                  <a:pt x="13" y="41"/>
                </a:lnTo>
                <a:lnTo>
                  <a:pt x="9" y="37"/>
                </a:lnTo>
                <a:lnTo>
                  <a:pt x="6" y="34"/>
                </a:lnTo>
                <a:lnTo>
                  <a:pt x="3" y="28"/>
                </a:lnTo>
                <a:lnTo>
                  <a:pt x="0" y="22"/>
                </a:lnTo>
                <a:lnTo>
                  <a:pt x="3" y="12"/>
                </a:lnTo>
                <a:lnTo>
                  <a:pt x="3" y="16"/>
                </a:lnTo>
                <a:lnTo>
                  <a:pt x="3" y="12"/>
                </a:lnTo>
                <a:lnTo>
                  <a:pt x="3" y="9"/>
                </a:lnTo>
                <a:lnTo>
                  <a:pt x="9" y="6"/>
                </a:lnTo>
                <a:lnTo>
                  <a:pt x="13" y="6"/>
                </a:lnTo>
                <a:lnTo>
                  <a:pt x="16" y="3"/>
                </a:lnTo>
                <a:lnTo>
                  <a:pt x="25" y="3"/>
                </a:lnTo>
                <a:lnTo>
                  <a:pt x="28" y="3"/>
                </a:lnTo>
                <a:lnTo>
                  <a:pt x="31" y="0"/>
                </a:lnTo>
                <a:lnTo>
                  <a:pt x="34" y="0"/>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9" name="Freeform 57">
            <a:extLst>
              <a:ext uri="{FF2B5EF4-FFF2-40B4-BE49-F238E27FC236}">
                <a16:creationId xmlns:a16="http://schemas.microsoft.com/office/drawing/2014/main" id="{D0EE23B8-A6EA-FA9A-56A4-34888B259B72}"/>
              </a:ext>
            </a:extLst>
          </p:cNvPr>
          <p:cNvSpPr>
            <a:spLocks/>
          </p:cNvSpPr>
          <p:nvPr userDrawn="1"/>
        </p:nvSpPr>
        <p:spPr bwMode="auto">
          <a:xfrm>
            <a:off x="14280224" y="6527080"/>
            <a:ext cx="120642" cy="228600"/>
          </a:xfrm>
          <a:custGeom>
            <a:avLst/>
            <a:gdLst>
              <a:gd name="T0" fmla="*/ 28 w 38"/>
              <a:gd name="T1" fmla="*/ 18 h 72"/>
              <a:gd name="T2" fmla="*/ 25 w 38"/>
              <a:gd name="T3" fmla="*/ 28 h 72"/>
              <a:gd name="T4" fmla="*/ 28 w 38"/>
              <a:gd name="T5" fmla="*/ 34 h 72"/>
              <a:gd name="T6" fmla="*/ 31 w 38"/>
              <a:gd name="T7" fmla="*/ 40 h 72"/>
              <a:gd name="T8" fmla="*/ 34 w 38"/>
              <a:gd name="T9" fmla="*/ 43 h 72"/>
              <a:gd name="T10" fmla="*/ 38 w 38"/>
              <a:gd name="T11" fmla="*/ 47 h 72"/>
              <a:gd name="T12" fmla="*/ 38 w 38"/>
              <a:gd name="T13" fmla="*/ 53 h 72"/>
              <a:gd name="T14" fmla="*/ 34 w 38"/>
              <a:gd name="T15" fmla="*/ 59 h 72"/>
              <a:gd name="T16" fmla="*/ 25 w 38"/>
              <a:gd name="T17" fmla="*/ 59 h 72"/>
              <a:gd name="T18" fmla="*/ 25 w 38"/>
              <a:gd name="T19" fmla="*/ 65 h 72"/>
              <a:gd name="T20" fmla="*/ 22 w 38"/>
              <a:gd name="T21" fmla="*/ 72 h 72"/>
              <a:gd name="T22" fmla="*/ 19 w 38"/>
              <a:gd name="T23" fmla="*/ 72 h 72"/>
              <a:gd name="T24" fmla="*/ 16 w 38"/>
              <a:gd name="T25" fmla="*/ 68 h 72"/>
              <a:gd name="T26" fmla="*/ 13 w 38"/>
              <a:gd name="T27" fmla="*/ 59 h 72"/>
              <a:gd name="T28" fmla="*/ 6 w 38"/>
              <a:gd name="T29" fmla="*/ 59 h 72"/>
              <a:gd name="T30" fmla="*/ 3 w 38"/>
              <a:gd name="T31" fmla="*/ 56 h 72"/>
              <a:gd name="T32" fmla="*/ 6 w 38"/>
              <a:gd name="T33" fmla="*/ 53 h 72"/>
              <a:gd name="T34" fmla="*/ 3 w 38"/>
              <a:gd name="T35" fmla="*/ 50 h 72"/>
              <a:gd name="T36" fmla="*/ 3 w 38"/>
              <a:gd name="T37" fmla="*/ 43 h 72"/>
              <a:gd name="T38" fmla="*/ 6 w 38"/>
              <a:gd name="T39" fmla="*/ 40 h 72"/>
              <a:gd name="T40" fmla="*/ 3 w 38"/>
              <a:gd name="T41" fmla="*/ 34 h 72"/>
              <a:gd name="T42" fmla="*/ 3 w 38"/>
              <a:gd name="T43" fmla="*/ 25 h 72"/>
              <a:gd name="T44" fmla="*/ 6 w 38"/>
              <a:gd name="T45" fmla="*/ 25 h 72"/>
              <a:gd name="T46" fmla="*/ 6 w 38"/>
              <a:gd name="T47" fmla="*/ 22 h 72"/>
              <a:gd name="T48" fmla="*/ 0 w 38"/>
              <a:gd name="T49" fmla="*/ 18 h 72"/>
              <a:gd name="T50" fmla="*/ 0 w 38"/>
              <a:gd name="T51" fmla="*/ 12 h 72"/>
              <a:gd name="T52" fmla="*/ 3 w 38"/>
              <a:gd name="T53" fmla="*/ 6 h 72"/>
              <a:gd name="T54" fmla="*/ 9 w 38"/>
              <a:gd name="T55" fmla="*/ 0 h 72"/>
              <a:gd name="T56" fmla="*/ 9 w 38"/>
              <a:gd name="T57" fmla="*/ 3 h 72"/>
              <a:gd name="T58" fmla="*/ 13 w 38"/>
              <a:gd name="T59" fmla="*/ 6 h 72"/>
              <a:gd name="T60" fmla="*/ 16 w 38"/>
              <a:gd name="T61" fmla="*/ 0 h 72"/>
              <a:gd name="T62" fmla="*/ 16 w 38"/>
              <a:gd name="T63" fmla="*/ 0 h 72"/>
              <a:gd name="T64" fmla="*/ 16 w 38"/>
              <a:gd name="T65" fmla="*/ 3 h 72"/>
              <a:gd name="T66" fmla="*/ 19 w 38"/>
              <a:gd name="T67" fmla="*/ 6 h 72"/>
              <a:gd name="T68" fmla="*/ 22 w 38"/>
              <a:gd name="T69" fmla="*/ 6 h 72"/>
              <a:gd name="T70" fmla="*/ 25 w 38"/>
              <a:gd name="T71" fmla="*/ 9 h 72"/>
              <a:gd name="T72" fmla="*/ 25 w 38"/>
              <a:gd name="T73" fmla="*/ 12 h 72"/>
              <a:gd name="T74" fmla="*/ 25 w 38"/>
              <a:gd name="T75" fmla="*/ 18 h 72"/>
              <a:gd name="T76" fmla="*/ 28 w 38"/>
              <a:gd name="T77" fmla="*/ 1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 h="72">
                <a:moveTo>
                  <a:pt x="28" y="18"/>
                </a:moveTo>
                <a:lnTo>
                  <a:pt x="25" y="28"/>
                </a:lnTo>
                <a:lnTo>
                  <a:pt x="28" y="34"/>
                </a:lnTo>
                <a:lnTo>
                  <a:pt x="31" y="40"/>
                </a:lnTo>
                <a:lnTo>
                  <a:pt x="34" y="43"/>
                </a:lnTo>
                <a:lnTo>
                  <a:pt x="38" y="47"/>
                </a:lnTo>
                <a:lnTo>
                  <a:pt x="38" y="53"/>
                </a:lnTo>
                <a:lnTo>
                  <a:pt x="34" y="59"/>
                </a:lnTo>
                <a:lnTo>
                  <a:pt x="25" y="59"/>
                </a:lnTo>
                <a:lnTo>
                  <a:pt x="25" y="65"/>
                </a:lnTo>
                <a:lnTo>
                  <a:pt x="22" y="72"/>
                </a:lnTo>
                <a:lnTo>
                  <a:pt x="19" y="72"/>
                </a:lnTo>
                <a:lnTo>
                  <a:pt x="16" y="68"/>
                </a:lnTo>
                <a:lnTo>
                  <a:pt x="13" y="59"/>
                </a:lnTo>
                <a:lnTo>
                  <a:pt x="6" y="59"/>
                </a:lnTo>
                <a:lnTo>
                  <a:pt x="3" y="56"/>
                </a:lnTo>
                <a:lnTo>
                  <a:pt x="6" y="53"/>
                </a:lnTo>
                <a:lnTo>
                  <a:pt x="3" y="50"/>
                </a:lnTo>
                <a:lnTo>
                  <a:pt x="3" y="43"/>
                </a:lnTo>
                <a:lnTo>
                  <a:pt x="6" y="40"/>
                </a:lnTo>
                <a:lnTo>
                  <a:pt x="3" y="34"/>
                </a:lnTo>
                <a:lnTo>
                  <a:pt x="3" y="25"/>
                </a:lnTo>
                <a:lnTo>
                  <a:pt x="6" y="25"/>
                </a:lnTo>
                <a:lnTo>
                  <a:pt x="6" y="22"/>
                </a:lnTo>
                <a:lnTo>
                  <a:pt x="0" y="18"/>
                </a:lnTo>
                <a:lnTo>
                  <a:pt x="0" y="12"/>
                </a:lnTo>
                <a:lnTo>
                  <a:pt x="3" y="6"/>
                </a:lnTo>
                <a:lnTo>
                  <a:pt x="9" y="0"/>
                </a:lnTo>
                <a:lnTo>
                  <a:pt x="9" y="3"/>
                </a:lnTo>
                <a:lnTo>
                  <a:pt x="13" y="6"/>
                </a:lnTo>
                <a:lnTo>
                  <a:pt x="16" y="0"/>
                </a:lnTo>
                <a:lnTo>
                  <a:pt x="16" y="0"/>
                </a:lnTo>
                <a:lnTo>
                  <a:pt x="16" y="3"/>
                </a:lnTo>
                <a:lnTo>
                  <a:pt x="19" y="6"/>
                </a:lnTo>
                <a:lnTo>
                  <a:pt x="22" y="6"/>
                </a:lnTo>
                <a:lnTo>
                  <a:pt x="25" y="9"/>
                </a:lnTo>
                <a:lnTo>
                  <a:pt x="25" y="12"/>
                </a:lnTo>
                <a:lnTo>
                  <a:pt x="25" y="18"/>
                </a:lnTo>
                <a:lnTo>
                  <a:pt x="28" y="18"/>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0" name="Freeform 58">
            <a:extLst>
              <a:ext uri="{FF2B5EF4-FFF2-40B4-BE49-F238E27FC236}">
                <a16:creationId xmlns:a16="http://schemas.microsoft.com/office/drawing/2014/main" id="{8051A9B8-277E-1527-9635-3324B81C21D7}"/>
              </a:ext>
            </a:extLst>
          </p:cNvPr>
          <p:cNvSpPr>
            <a:spLocks/>
          </p:cNvSpPr>
          <p:nvPr userDrawn="1"/>
        </p:nvSpPr>
        <p:spPr bwMode="auto">
          <a:xfrm>
            <a:off x="14242119" y="6257213"/>
            <a:ext cx="257159" cy="339726"/>
          </a:xfrm>
          <a:custGeom>
            <a:avLst/>
            <a:gdLst>
              <a:gd name="T0" fmla="*/ 3 w 81"/>
              <a:gd name="T1" fmla="*/ 6 h 107"/>
              <a:gd name="T2" fmla="*/ 9 w 81"/>
              <a:gd name="T3" fmla="*/ 6 h 107"/>
              <a:gd name="T4" fmla="*/ 15 w 81"/>
              <a:gd name="T5" fmla="*/ 0 h 107"/>
              <a:gd name="T6" fmla="*/ 25 w 81"/>
              <a:gd name="T7" fmla="*/ 0 h 107"/>
              <a:gd name="T8" fmla="*/ 31 w 81"/>
              <a:gd name="T9" fmla="*/ 6 h 107"/>
              <a:gd name="T10" fmla="*/ 37 w 81"/>
              <a:gd name="T11" fmla="*/ 16 h 107"/>
              <a:gd name="T12" fmla="*/ 50 w 81"/>
              <a:gd name="T13" fmla="*/ 25 h 107"/>
              <a:gd name="T14" fmla="*/ 46 w 81"/>
              <a:gd name="T15" fmla="*/ 31 h 107"/>
              <a:gd name="T16" fmla="*/ 56 w 81"/>
              <a:gd name="T17" fmla="*/ 35 h 107"/>
              <a:gd name="T18" fmla="*/ 62 w 81"/>
              <a:gd name="T19" fmla="*/ 38 h 107"/>
              <a:gd name="T20" fmla="*/ 71 w 81"/>
              <a:gd name="T21" fmla="*/ 35 h 107"/>
              <a:gd name="T22" fmla="*/ 71 w 81"/>
              <a:gd name="T23" fmla="*/ 41 h 107"/>
              <a:gd name="T24" fmla="*/ 68 w 81"/>
              <a:gd name="T25" fmla="*/ 53 h 107"/>
              <a:gd name="T26" fmla="*/ 78 w 81"/>
              <a:gd name="T27" fmla="*/ 66 h 107"/>
              <a:gd name="T28" fmla="*/ 78 w 81"/>
              <a:gd name="T29" fmla="*/ 75 h 107"/>
              <a:gd name="T30" fmla="*/ 71 w 81"/>
              <a:gd name="T31" fmla="*/ 85 h 107"/>
              <a:gd name="T32" fmla="*/ 71 w 81"/>
              <a:gd name="T33" fmla="*/ 91 h 107"/>
              <a:gd name="T34" fmla="*/ 65 w 81"/>
              <a:gd name="T35" fmla="*/ 94 h 107"/>
              <a:gd name="T36" fmla="*/ 53 w 81"/>
              <a:gd name="T37" fmla="*/ 94 h 107"/>
              <a:gd name="T38" fmla="*/ 46 w 81"/>
              <a:gd name="T39" fmla="*/ 97 h 107"/>
              <a:gd name="T40" fmla="*/ 40 w 81"/>
              <a:gd name="T41" fmla="*/ 103 h 107"/>
              <a:gd name="T42" fmla="*/ 37 w 81"/>
              <a:gd name="T43" fmla="*/ 103 h 107"/>
              <a:gd name="T44" fmla="*/ 37 w 81"/>
              <a:gd name="T45" fmla="*/ 94 h 107"/>
              <a:gd name="T46" fmla="*/ 31 w 81"/>
              <a:gd name="T47" fmla="*/ 91 h 107"/>
              <a:gd name="T48" fmla="*/ 28 w 81"/>
              <a:gd name="T49" fmla="*/ 85 h 107"/>
              <a:gd name="T50" fmla="*/ 31 w 81"/>
              <a:gd name="T51" fmla="*/ 82 h 107"/>
              <a:gd name="T52" fmla="*/ 25 w 81"/>
              <a:gd name="T53" fmla="*/ 75 h 107"/>
              <a:gd name="T54" fmla="*/ 18 w 81"/>
              <a:gd name="T55" fmla="*/ 72 h 107"/>
              <a:gd name="T56" fmla="*/ 15 w 81"/>
              <a:gd name="T57" fmla="*/ 69 h 107"/>
              <a:gd name="T58" fmla="*/ 12 w 81"/>
              <a:gd name="T59" fmla="*/ 63 h 107"/>
              <a:gd name="T60" fmla="*/ 9 w 81"/>
              <a:gd name="T61" fmla="*/ 53 h 107"/>
              <a:gd name="T62" fmla="*/ 15 w 81"/>
              <a:gd name="T63" fmla="*/ 53 h 107"/>
              <a:gd name="T64" fmla="*/ 12 w 81"/>
              <a:gd name="T65" fmla="*/ 50 h 107"/>
              <a:gd name="T66" fmla="*/ 6 w 81"/>
              <a:gd name="T67" fmla="*/ 44 h 107"/>
              <a:gd name="T68" fmla="*/ 9 w 81"/>
              <a:gd name="T69" fmla="*/ 35 h 107"/>
              <a:gd name="T70" fmla="*/ 6 w 81"/>
              <a:gd name="T71" fmla="*/ 31 h 107"/>
              <a:gd name="T72" fmla="*/ 3 w 81"/>
              <a:gd name="T73" fmla="*/ 31 h 107"/>
              <a:gd name="T74" fmla="*/ 9 w 81"/>
              <a:gd name="T75" fmla="*/ 25 h 107"/>
              <a:gd name="T76" fmla="*/ 9 w 81"/>
              <a:gd name="T77" fmla="*/ 25 h 107"/>
              <a:gd name="T78" fmla="*/ 3 w 81"/>
              <a:gd name="T79" fmla="*/ 22 h 107"/>
              <a:gd name="T80" fmla="*/ 0 w 81"/>
              <a:gd name="T81" fmla="*/ 1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07">
                <a:moveTo>
                  <a:pt x="0" y="10"/>
                </a:moveTo>
                <a:lnTo>
                  <a:pt x="3" y="6"/>
                </a:lnTo>
                <a:lnTo>
                  <a:pt x="6" y="6"/>
                </a:lnTo>
                <a:lnTo>
                  <a:pt x="9" y="6"/>
                </a:lnTo>
                <a:lnTo>
                  <a:pt x="12" y="3"/>
                </a:lnTo>
                <a:lnTo>
                  <a:pt x="15" y="0"/>
                </a:lnTo>
                <a:lnTo>
                  <a:pt x="18" y="0"/>
                </a:lnTo>
                <a:lnTo>
                  <a:pt x="25" y="0"/>
                </a:lnTo>
                <a:lnTo>
                  <a:pt x="31" y="3"/>
                </a:lnTo>
                <a:lnTo>
                  <a:pt x="31" y="6"/>
                </a:lnTo>
                <a:lnTo>
                  <a:pt x="37" y="13"/>
                </a:lnTo>
                <a:lnTo>
                  <a:pt x="37" y="16"/>
                </a:lnTo>
                <a:lnTo>
                  <a:pt x="43" y="19"/>
                </a:lnTo>
                <a:lnTo>
                  <a:pt x="50" y="25"/>
                </a:lnTo>
                <a:lnTo>
                  <a:pt x="46" y="28"/>
                </a:lnTo>
                <a:lnTo>
                  <a:pt x="46" y="31"/>
                </a:lnTo>
                <a:lnTo>
                  <a:pt x="53" y="31"/>
                </a:lnTo>
                <a:lnTo>
                  <a:pt x="56" y="35"/>
                </a:lnTo>
                <a:lnTo>
                  <a:pt x="59" y="35"/>
                </a:lnTo>
                <a:lnTo>
                  <a:pt x="62" y="38"/>
                </a:lnTo>
                <a:lnTo>
                  <a:pt x="65" y="31"/>
                </a:lnTo>
                <a:lnTo>
                  <a:pt x="71" y="35"/>
                </a:lnTo>
                <a:lnTo>
                  <a:pt x="68" y="38"/>
                </a:lnTo>
                <a:lnTo>
                  <a:pt x="71" y="41"/>
                </a:lnTo>
                <a:lnTo>
                  <a:pt x="71" y="50"/>
                </a:lnTo>
                <a:lnTo>
                  <a:pt x="68" y="53"/>
                </a:lnTo>
                <a:lnTo>
                  <a:pt x="71" y="60"/>
                </a:lnTo>
                <a:lnTo>
                  <a:pt x="78" y="66"/>
                </a:lnTo>
                <a:lnTo>
                  <a:pt x="81" y="72"/>
                </a:lnTo>
                <a:lnTo>
                  <a:pt x="78" y="75"/>
                </a:lnTo>
                <a:lnTo>
                  <a:pt x="71" y="82"/>
                </a:lnTo>
                <a:lnTo>
                  <a:pt x="71" y="85"/>
                </a:lnTo>
                <a:lnTo>
                  <a:pt x="75" y="88"/>
                </a:lnTo>
                <a:lnTo>
                  <a:pt x="71" y="91"/>
                </a:lnTo>
                <a:lnTo>
                  <a:pt x="68" y="91"/>
                </a:lnTo>
                <a:lnTo>
                  <a:pt x="65" y="94"/>
                </a:lnTo>
                <a:lnTo>
                  <a:pt x="62" y="94"/>
                </a:lnTo>
                <a:lnTo>
                  <a:pt x="53" y="94"/>
                </a:lnTo>
                <a:lnTo>
                  <a:pt x="50" y="97"/>
                </a:lnTo>
                <a:lnTo>
                  <a:pt x="46" y="97"/>
                </a:lnTo>
                <a:lnTo>
                  <a:pt x="40" y="100"/>
                </a:lnTo>
                <a:lnTo>
                  <a:pt x="40" y="103"/>
                </a:lnTo>
                <a:lnTo>
                  <a:pt x="40" y="107"/>
                </a:lnTo>
                <a:lnTo>
                  <a:pt x="37" y="103"/>
                </a:lnTo>
                <a:lnTo>
                  <a:pt x="37" y="97"/>
                </a:lnTo>
                <a:lnTo>
                  <a:pt x="37" y="94"/>
                </a:lnTo>
                <a:lnTo>
                  <a:pt x="34" y="91"/>
                </a:lnTo>
                <a:lnTo>
                  <a:pt x="31" y="91"/>
                </a:lnTo>
                <a:lnTo>
                  <a:pt x="28" y="88"/>
                </a:lnTo>
                <a:lnTo>
                  <a:pt x="28" y="85"/>
                </a:lnTo>
                <a:lnTo>
                  <a:pt x="28" y="85"/>
                </a:lnTo>
                <a:lnTo>
                  <a:pt x="31" y="82"/>
                </a:lnTo>
                <a:lnTo>
                  <a:pt x="31" y="75"/>
                </a:lnTo>
                <a:lnTo>
                  <a:pt x="25" y="75"/>
                </a:lnTo>
                <a:lnTo>
                  <a:pt x="21" y="72"/>
                </a:lnTo>
                <a:lnTo>
                  <a:pt x="18" y="72"/>
                </a:lnTo>
                <a:lnTo>
                  <a:pt x="15" y="72"/>
                </a:lnTo>
                <a:lnTo>
                  <a:pt x="15" y="69"/>
                </a:lnTo>
                <a:lnTo>
                  <a:pt x="12" y="63"/>
                </a:lnTo>
                <a:lnTo>
                  <a:pt x="12" y="63"/>
                </a:lnTo>
                <a:lnTo>
                  <a:pt x="9" y="56"/>
                </a:lnTo>
                <a:lnTo>
                  <a:pt x="9" y="53"/>
                </a:lnTo>
                <a:lnTo>
                  <a:pt x="12" y="50"/>
                </a:lnTo>
                <a:lnTo>
                  <a:pt x="15" y="53"/>
                </a:lnTo>
                <a:lnTo>
                  <a:pt x="15" y="50"/>
                </a:lnTo>
                <a:lnTo>
                  <a:pt x="12" y="50"/>
                </a:lnTo>
                <a:lnTo>
                  <a:pt x="12" y="47"/>
                </a:lnTo>
                <a:lnTo>
                  <a:pt x="6" y="44"/>
                </a:lnTo>
                <a:lnTo>
                  <a:pt x="6" y="41"/>
                </a:lnTo>
                <a:lnTo>
                  <a:pt x="9" y="35"/>
                </a:lnTo>
                <a:lnTo>
                  <a:pt x="9" y="31"/>
                </a:lnTo>
                <a:lnTo>
                  <a:pt x="6" y="31"/>
                </a:lnTo>
                <a:lnTo>
                  <a:pt x="6" y="31"/>
                </a:lnTo>
                <a:lnTo>
                  <a:pt x="3" y="31"/>
                </a:lnTo>
                <a:lnTo>
                  <a:pt x="3" y="28"/>
                </a:lnTo>
                <a:lnTo>
                  <a:pt x="9" y="25"/>
                </a:lnTo>
                <a:lnTo>
                  <a:pt x="9" y="25"/>
                </a:lnTo>
                <a:lnTo>
                  <a:pt x="9" y="25"/>
                </a:lnTo>
                <a:lnTo>
                  <a:pt x="6" y="22"/>
                </a:lnTo>
                <a:lnTo>
                  <a:pt x="3" y="22"/>
                </a:lnTo>
                <a:lnTo>
                  <a:pt x="3" y="16"/>
                </a:lnTo>
                <a:lnTo>
                  <a:pt x="0" y="10"/>
                </a:lnTo>
                <a:lnTo>
                  <a:pt x="0" y="10"/>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1" name="Freeform 59">
            <a:extLst>
              <a:ext uri="{FF2B5EF4-FFF2-40B4-BE49-F238E27FC236}">
                <a16:creationId xmlns:a16="http://schemas.microsoft.com/office/drawing/2014/main" id="{A8F52D4C-83F9-5B28-34EE-4D7D1A25460C}"/>
              </a:ext>
            </a:extLst>
          </p:cNvPr>
          <p:cNvSpPr>
            <a:spLocks/>
          </p:cNvSpPr>
          <p:nvPr userDrawn="1"/>
        </p:nvSpPr>
        <p:spPr bwMode="auto">
          <a:xfrm>
            <a:off x="14229425" y="6447715"/>
            <a:ext cx="111119" cy="136526"/>
          </a:xfrm>
          <a:custGeom>
            <a:avLst/>
            <a:gdLst>
              <a:gd name="T0" fmla="*/ 16 w 35"/>
              <a:gd name="T1" fmla="*/ 43 h 43"/>
              <a:gd name="T2" fmla="*/ 16 w 35"/>
              <a:gd name="T3" fmla="*/ 37 h 43"/>
              <a:gd name="T4" fmla="*/ 19 w 35"/>
              <a:gd name="T5" fmla="*/ 31 h 43"/>
              <a:gd name="T6" fmla="*/ 25 w 35"/>
              <a:gd name="T7" fmla="*/ 25 h 43"/>
              <a:gd name="T8" fmla="*/ 25 w 35"/>
              <a:gd name="T9" fmla="*/ 28 h 43"/>
              <a:gd name="T10" fmla="*/ 29 w 35"/>
              <a:gd name="T11" fmla="*/ 31 h 43"/>
              <a:gd name="T12" fmla="*/ 32 w 35"/>
              <a:gd name="T13" fmla="*/ 25 h 43"/>
              <a:gd name="T14" fmla="*/ 32 w 35"/>
              <a:gd name="T15" fmla="*/ 25 h 43"/>
              <a:gd name="T16" fmla="*/ 35 w 35"/>
              <a:gd name="T17" fmla="*/ 22 h 43"/>
              <a:gd name="T18" fmla="*/ 35 w 35"/>
              <a:gd name="T19" fmla="*/ 15 h 43"/>
              <a:gd name="T20" fmla="*/ 29 w 35"/>
              <a:gd name="T21" fmla="*/ 15 h 43"/>
              <a:gd name="T22" fmla="*/ 25 w 35"/>
              <a:gd name="T23" fmla="*/ 12 h 43"/>
              <a:gd name="T24" fmla="*/ 22 w 35"/>
              <a:gd name="T25" fmla="*/ 12 h 43"/>
              <a:gd name="T26" fmla="*/ 19 w 35"/>
              <a:gd name="T27" fmla="*/ 12 h 43"/>
              <a:gd name="T28" fmla="*/ 19 w 35"/>
              <a:gd name="T29" fmla="*/ 9 h 43"/>
              <a:gd name="T30" fmla="*/ 16 w 35"/>
              <a:gd name="T31" fmla="*/ 3 h 43"/>
              <a:gd name="T32" fmla="*/ 16 w 35"/>
              <a:gd name="T33" fmla="*/ 3 h 43"/>
              <a:gd name="T34" fmla="*/ 13 w 35"/>
              <a:gd name="T35" fmla="*/ 3 h 43"/>
              <a:gd name="T36" fmla="*/ 10 w 35"/>
              <a:gd name="T37" fmla="*/ 0 h 43"/>
              <a:gd name="T38" fmla="*/ 7 w 35"/>
              <a:gd name="T39" fmla="*/ 3 h 43"/>
              <a:gd name="T40" fmla="*/ 7 w 35"/>
              <a:gd name="T41" fmla="*/ 6 h 43"/>
              <a:gd name="T42" fmla="*/ 10 w 35"/>
              <a:gd name="T43" fmla="*/ 6 h 43"/>
              <a:gd name="T44" fmla="*/ 10 w 35"/>
              <a:gd name="T45" fmla="*/ 9 h 43"/>
              <a:gd name="T46" fmla="*/ 7 w 35"/>
              <a:gd name="T47" fmla="*/ 12 h 43"/>
              <a:gd name="T48" fmla="*/ 7 w 35"/>
              <a:gd name="T49" fmla="*/ 12 h 43"/>
              <a:gd name="T50" fmla="*/ 4 w 35"/>
              <a:gd name="T51" fmla="*/ 15 h 43"/>
              <a:gd name="T52" fmla="*/ 4 w 35"/>
              <a:gd name="T53" fmla="*/ 22 h 43"/>
              <a:gd name="T54" fmla="*/ 0 w 35"/>
              <a:gd name="T55" fmla="*/ 25 h 43"/>
              <a:gd name="T56" fmla="*/ 0 w 35"/>
              <a:gd name="T57" fmla="*/ 25 h 43"/>
              <a:gd name="T58" fmla="*/ 0 w 35"/>
              <a:gd name="T59" fmla="*/ 28 h 43"/>
              <a:gd name="T60" fmla="*/ 4 w 35"/>
              <a:gd name="T61" fmla="*/ 31 h 43"/>
              <a:gd name="T62" fmla="*/ 13 w 35"/>
              <a:gd name="T63" fmla="*/ 40 h 43"/>
              <a:gd name="T64" fmla="*/ 13 w 35"/>
              <a:gd name="T65" fmla="*/ 40 h 43"/>
              <a:gd name="T66" fmla="*/ 16 w 35"/>
              <a:gd name="T6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3">
                <a:moveTo>
                  <a:pt x="16" y="43"/>
                </a:moveTo>
                <a:lnTo>
                  <a:pt x="16" y="37"/>
                </a:lnTo>
                <a:lnTo>
                  <a:pt x="19" y="31"/>
                </a:lnTo>
                <a:lnTo>
                  <a:pt x="25" y="25"/>
                </a:lnTo>
                <a:lnTo>
                  <a:pt x="25" y="28"/>
                </a:lnTo>
                <a:lnTo>
                  <a:pt x="29" y="31"/>
                </a:lnTo>
                <a:lnTo>
                  <a:pt x="32" y="25"/>
                </a:lnTo>
                <a:lnTo>
                  <a:pt x="32" y="25"/>
                </a:lnTo>
                <a:lnTo>
                  <a:pt x="35" y="22"/>
                </a:lnTo>
                <a:lnTo>
                  <a:pt x="35" y="15"/>
                </a:lnTo>
                <a:lnTo>
                  <a:pt x="29" y="15"/>
                </a:lnTo>
                <a:lnTo>
                  <a:pt x="25" y="12"/>
                </a:lnTo>
                <a:lnTo>
                  <a:pt x="22" y="12"/>
                </a:lnTo>
                <a:lnTo>
                  <a:pt x="19" y="12"/>
                </a:lnTo>
                <a:lnTo>
                  <a:pt x="19" y="9"/>
                </a:lnTo>
                <a:lnTo>
                  <a:pt x="16" y="3"/>
                </a:lnTo>
                <a:lnTo>
                  <a:pt x="16" y="3"/>
                </a:lnTo>
                <a:lnTo>
                  <a:pt x="13" y="3"/>
                </a:lnTo>
                <a:lnTo>
                  <a:pt x="10" y="0"/>
                </a:lnTo>
                <a:lnTo>
                  <a:pt x="7" y="3"/>
                </a:lnTo>
                <a:lnTo>
                  <a:pt x="7" y="6"/>
                </a:lnTo>
                <a:lnTo>
                  <a:pt x="10" y="6"/>
                </a:lnTo>
                <a:lnTo>
                  <a:pt x="10" y="9"/>
                </a:lnTo>
                <a:lnTo>
                  <a:pt x="7" y="12"/>
                </a:lnTo>
                <a:lnTo>
                  <a:pt x="7" y="12"/>
                </a:lnTo>
                <a:lnTo>
                  <a:pt x="4" y="15"/>
                </a:lnTo>
                <a:lnTo>
                  <a:pt x="4" y="22"/>
                </a:lnTo>
                <a:lnTo>
                  <a:pt x="0" y="25"/>
                </a:lnTo>
                <a:lnTo>
                  <a:pt x="0" y="25"/>
                </a:lnTo>
                <a:lnTo>
                  <a:pt x="0" y="28"/>
                </a:lnTo>
                <a:lnTo>
                  <a:pt x="4" y="31"/>
                </a:lnTo>
                <a:lnTo>
                  <a:pt x="13" y="40"/>
                </a:lnTo>
                <a:lnTo>
                  <a:pt x="13" y="40"/>
                </a:lnTo>
                <a:lnTo>
                  <a:pt x="16" y="43"/>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2" name="Freeform 60">
            <a:extLst>
              <a:ext uri="{FF2B5EF4-FFF2-40B4-BE49-F238E27FC236}">
                <a16:creationId xmlns:a16="http://schemas.microsoft.com/office/drawing/2014/main" id="{6DEBDA55-8335-A6F8-E0E1-8BB6B3830C20}"/>
              </a:ext>
            </a:extLst>
          </p:cNvPr>
          <p:cNvSpPr>
            <a:spLocks noEditPoints="1"/>
          </p:cNvSpPr>
          <p:nvPr userDrawn="1"/>
        </p:nvSpPr>
        <p:spPr bwMode="auto">
          <a:xfrm>
            <a:off x="13934166" y="6247680"/>
            <a:ext cx="336528" cy="257176"/>
          </a:xfrm>
          <a:custGeom>
            <a:avLst/>
            <a:gdLst>
              <a:gd name="T0" fmla="*/ 34 w 34"/>
              <a:gd name="T1" fmla="*/ 9 h 26"/>
              <a:gd name="T2" fmla="*/ 33 w 34"/>
              <a:gd name="T3" fmla="*/ 8 h 26"/>
              <a:gd name="T4" fmla="*/ 31 w 34"/>
              <a:gd name="T5" fmla="*/ 4 h 26"/>
              <a:gd name="T6" fmla="*/ 27 w 34"/>
              <a:gd name="T7" fmla="*/ 4 h 26"/>
              <a:gd name="T8" fmla="*/ 21 w 34"/>
              <a:gd name="T9" fmla="*/ 2 h 26"/>
              <a:gd name="T10" fmla="*/ 18 w 34"/>
              <a:gd name="T11" fmla="*/ 0 h 26"/>
              <a:gd name="T12" fmla="*/ 11 w 34"/>
              <a:gd name="T13" fmla="*/ 4 h 26"/>
              <a:gd name="T14" fmla="*/ 7 w 34"/>
              <a:gd name="T15" fmla="*/ 7 h 26"/>
              <a:gd name="T16" fmla="*/ 2 w 34"/>
              <a:gd name="T17" fmla="*/ 7 h 26"/>
              <a:gd name="T18" fmla="*/ 0 w 34"/>
              <a:gd name="T19" fmla="*/ 10 h 26"/>
              <a:gd name="T20" fmla="*/ 2 w 34"/>
              <a:gd name="T21" fmla="*/ 12 h 26"/>
              <a:gd name="T22" fmla="*/ 5 w 34"/>
              <a:gd name="T23" fmla="*/ 8 h 26"/>
              <a:gd name="T24" fmla="*/ 8 w 34"/>
              <a:gd name="T25" fmla="*/ 10 h 26"/>
              <a:gd name="T26" fmla="*/ 11 w 34"/>
              <a:gd name="T27" fmla="*/ 15 h 26"/>
              <a:gd name="T28" fmla="*/ 12 w 34"/>
              <a:gd name="T29" fmla="*/ 16 h 26"/>
              <a:gd name="T30" fmla="*/ 11 w 34"/>
              <a:gd name="T31" fmla="*/ 18 h 26"/>
              <a:gd name="T32" fmla="*/ 15 w 34"/>
              <a:gd name="T33" fmla="*/ 20 h 26"/>
              <a:gd name="T34" fmla="*/ 17 w 34"/>
              <a:gd name="T35" fmla="*/ 22 h 26"/>
              <a:gd name="T36" fmla="*/ 25 w 34"/>
              <a:gd name="T37" fmla="*/ 26 h 26"/>
              <a:gd name="T38" fmla="*/ 23 w 34"/>
              <a:gd name="T39" fmla="*/ 26 h 26"/>
              <a:gd name="T40" fmla="*/ 25 w 34"/>
              <a:gd name="T41" fmla="*/ 25 h 26"/>
              <a:gd name="T42" fmla="*/ 15 w 34"/>
              <a:gd name="T43" fmla="*/ 15 h 26"/>
              <a:gd name="T44" fmla="*/ 15 w 34"/>
              <a:gd name="T45" fmla="*/ 13 h 26"/>
              <a:gd name="T46" fmla="*/ 13 w 34"/>
              <a:gd name="T47" fmla="*/ 10 h 26"/>
              <a:gd name="T48" fmla="*/ 14 w 34"/>
              <a:gd name="T49" fmla="*/ 8 h 26"/>
              <a:gd name="T50" fmla="*/ 16 w 34"/>
              <a:gd name="T51" fmla="*/ 10 h 26"/>
              <a:gd name="T52" fmla="*/ 18 w 34"/>
              <a:gd name="T53" fmla="*/ 9 h 26"/>
              <a:gd name="T54" fmla="*/ 21 w 34"/>
              <a:gd name="T55" fmla="*/ 8 h 26"/>
              <a:gd name="T56" fmla="*/ 23 w 34"/>
              <a:gd name="T57" fmla="*/ 9 h 26"/>
              <a:gd name="T58" fmla="*/ 26 w 34"/>
              <a:gd name="T59" fmla="*/ 9 h 26"/>
              <a:gd name="T60" fmla="*/ 29 w 34"/>
              <a:gd name="T61" fmla="*/ 9 h 26"/>
              <a:gd name="T62" fmla="*/ 32 w 34"/>
              <a:gd name="T63" fmla="*/ 11 h 26"/>
              <a:gd name="T64" fmla="*/ 22 w 34"/>
              <a:gd name="T65" fmla="*/ 26 h 26"/>
              <a:gd name="T66" fmla="*/ 18 w 34"/>
              <a:gd name="T67" fmla="*/ 24 h 26"/>
              <a:gd name="T68" fmla="*/ 18 w 34"/>
              <a:gd name="T69" fmla="*/ 24 h 26"/>
              <a:gd name="T70" fmla="*/ 21 w 34"/>
              <a:gd name="T71" fmla="*/ 23 h 26"/>
              <a:gd name="T72" fmla="*/ 18 w 34"/>
              <a:gd name="T73" fmla="*/ 23 h 26"/>
              <a:gd name="T74" fmla="*/ 11 w 34"/>
              <a:gd name="T75" fmla="*/ 16 h 26"/>
              <a:gd name="T76" fmla="*/ 8 w 34"/>
              <a:gd name="T77" fmla="*/ 13 h 26"/>
              <a:gd name="T78" fmla="*/ 8 w 34"/>
              <a:gd name="T79" fmla="*/ 13 h 26"/>
              <a:gd name="T80" fmla="*/ 10 w 34"/>
              <a:gd name="T81" fmla="*/ 19 h 26"/>
              <a:gd name="T82" fmla="*/ 8 w 34"/>
              <a:gd name="T83" fmla="*/ 15 h 26"/>
              <a:gd name="T84" fmla="*/ 5 w 34"/>
              <a:gd name="T85" fmla="*/ 11 h 26"/>
              <a:gd name="T86" fmla="*/ 6 w 34"/>
              <a:gd name="T87" fmla="*/ 14 h 26"/>
              <a:gd name="T88" fmla="*/ 5 w 34"/>
              <a:gd name="T89" fmla="*/ 11 h 26"/>
              <a:gd name="T90" fmla="*/ 6 w 34"/>
              <a:gd name="T91" fmla="*/ 12 h 26"/>
              <a:gd name="T92" fmla="*/ 5 w 34"/>
              <a:gd name="T93" fmla="*/ 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 h="26">
                <a:moveTo>
                  <a:pt x="32" y="11"/>
                </a:moveTo>
                <a:cubicBezTo>
                  <a:pt x="32" y="10"/>
                  <a:pt x="32" y="10"/>
                  <a:pt x="32" y="10"/>
                </a:cubicBezTo>
                <a:cubicBezTo>
                  <a:pt x="34" y="9"/>
                  <a:pt x="34" y="9"/>
                  <a:pt x="34" y="9"/>
                </a:cubicBezTo>
                <a:cubicBezTo>
                  <a:pt x="34" y="9"/>
                  <a:pt x="34" y="9"/>
                  <a:pt x="34" y="9"/>
                </a:cubicBezTo>
                <a:cubicBezTo>
                  <a:pt x="34" y="9"/>
                  <a:pt x="34" y="9"/>
                  <a:pt x="34" y="9"/>
                </a:cubicBezTo>
                <a:cubicBezTo>
                  <a:pt x="33" y="8"/>
                  <a:pt x="33" y="8"/>
                  <a:pt x="33" y="8"/>
                </a:cubicBezTo>
                <a:cubicBezTo>
                  <a:pt x="32" y="8"/>
                  <a:pt x="32" y="8"/>
                  <a:pt x="32" y="8"/>
                </a:cubicBezTo>
                <a:cubicBezTo>
                  <a:pt x="32" y="6"/>
                  <a:pt x="32" y="6"/>
                  <a:pt x="32" y="6"/>
                </a:cubicBezTo>
                <a:cubicBezTo>
                  <a:pt x="31" y="4"/>
                  <a:pt x="31" y="4"/>
                  <a:pt x="31" y="4"/>
                </a:cubicBezTo>
                <a:cubicBezTo>
                  <a:pt x="30" y="4"/>
                  <a:pt x="30" y="4"/>
                  <a:pt x="30" y="4"/>
                </a:cubicBezTo>
                <a:cubicBezTo>
                  <a:pt x="29" y="5"/>
                  <a:pt x="29" y="5"/>
                  <a:pt x="29" y="5"/>
                </a:cubicBezTo>
                <a:cubicBezTo>
                  <a:pt x="27" y="4"/>
                  <a:pt x="27" y="4"/>
                  <a:pt x="27" y="4"/>
                </a:cubicBezTo>
                <a:cubicBezTo>
                  <a:pt x="24" y="4"/>
                  <a:pt x="24" y="4"/>
                  <a:pt x="24" y="4"/>
                </a:cubicBezTo>
                <a:cubicBezTo>
                  <a:pt x="23" y="3"/>
                  <a:pt x="23" y="3"/>
                  <a:pt x="23" y="3"/>
                </a:cubicBezTo>
                <a:cubicBezTo>
                  <a:pt x="21" y="2"/>
                  <a:pt x="21" y="2"/>
                  <a:pt x="21" y="2"/>
                </a:cubicBezTo>
                <a:cubicBezTo>
                  <a:pt x="19" y="0"/>
                  <a:pt x="19" y="0"/>
                  <a:pt x="19" y="0"/>
                </a:cubicBezTo>
                <a:cubicBezTo>
                  <a:pt x="18" y="0"/>
                  <a:pt x="18" y="0"/>
                  <a:pt x="18" y="0"/>
                </a:cubicBezTo>
                <a:cubicBezTo>
                  <a:pt x="18" y="0"/>
                  <a:pt x="18" y="0"/>
                  <a:pt x="18" y="0"/>
                </a:cubicBezTo>
                <a:cubicBezTo>
                  <a:pt x="15" y="0"/>
                  <a:pt x="15" y="0"/>
                  <a:pt x="15" y="0"/>
                </a:cubicBezTo>
                <a:cubicBezTo>
                  <a:pt x="11" y="2"/>
                  <a:pt x="11" y="2"/>
                  <a:pt x="11" y="2"/>
                </a:cubicBezTo>
                <a:cubicBezTo>
                  <a:pt x="11" y="4"/>
                  <a:pt x="11" y="4"/>
                  <a:pt x="11" y="4"/>
                </a:cubicBezTo>
                <a:cubicBezTo>
                  <a:pt x="9" y="5"/>
                  <a:pt x="9" y="5"/>
                  <a:pt x="9" y="5"/>
                </a:cubicBezTo>
                <a:cubicBezTo>
                  <a:pt x="9" y="7"/>
                  <a:pt x="9" y="7"/>
                  <a:pt x="9" y="7"/>
                </a:cubicBezTo>
                <a:cubicBezTo>
                  <a:pt x="7" y="7"/>
                  <a:pt x="7" y="7"/>
                  <a:pt x="7" y="7"/>
                </a:cubicBezTo>
                <a:cubicBezTo>
                  <a:pt x="5" y="6"/>
                  <a:pt x="5" y="6"/>
                  <a:pt x="5" y="6"/>
                </a:cubicBezTo>
                <a:cubicBezTo>
                  <a:pt x="4" y="6"/>
                  <a:pt x="4" y="6"/>
                  <a:pt x="4" y="6"/>
                </a:cubicBezTo>
                <a:cubicBezTo>
                  <a:pt x="2" y="7"/>
                  <a:pt x="2" y="7"/>
                  <a:pt x="2" y="7"/>
                </a:cubicBezTo>
                <a:cubicBezTo>
                  <a:pt x="0" y="8"/>
                  <a:pt x="0" y="8"/>
                  <a:pt x="0" y="8"/>
                </a:cubicBezTo>
                <a:cubicBezTo>
                  <a:pt x="0" y="8"/>
                  <a:pt x="0" y="8"/>
                  <a:pt x="0" y="8"/>
                </a:cubicBezTo>
                <a:cubicBezTo>
                  <a:pt x="0" y="10"/>
                  <a:pt x="0" y="10"/>
                  <a:pt x="0" y="10"/>
                </a:cubicBezTo>
                <a:cubicBezTo>
                  <a:pt x="2" y="12"/>
                  <a:pt x="2" y="12"/>
                  <a:pt x="2" y="12"/>
                </a:cubicBezTo>
                <a:cubicBezTo>
                  <a:pt x="2" y="12"/>
                  <a:pt x="2" y="12"/>
                  <a:pt x="2" y="12"/>
                </a:cubicBezTo>
                <a:cubicBezTo>
                  <a:pt x="2" y="12"/>
                  <a:pt x="2" y="12"/>
                  <a:pt x="2" y="12"/>
                </a:cubicBezTo>
                <a:cubicBezTo>
                  <a:pt x="4" y="10"/>
                  <a:pt x="4" y="10"/>
                  <a:pt x="4" y="10"/>
                </a:cubicBezTo>
                <a:cubicBezTo>
                  <a:pt x="4" y="9"/>
                  <a:pt x="4" y="9"/>
                  <a:pt x="4" y="9"/>
                </a:cubicBezTo>
                <a:cubicBezTo>
                  <a:pt x="5" y="8"/>
                  <a:pt x="5" y="8"/>
                  <a:pt x="5" y="8"/>
                </a:cubicBezTo>
                <a:cubicBezTo>
                  <a:pt x="6" y="8"/>
                  <a:pt x="6" y="8"/>
                  <a:pt x="6" y="8"/>
                </a:cubicBezTo>
                <a:cubicBezTo>
                  <a:pt x="7" y="9"/>
                  <a:pt x="7" y="9"/>
                  <a:pt x="7" y="9"/>
                </a:cubicBezTo>
                <a:cubicBezTo>
                  <a:pt x="8" y="10"/>
                  <a:pt x="8" y="10"/>
                  <a:pt x="8" y="10"/>
                </a:cubicBezTo>
                <a:cubicBezTo>
                  <a:pt x="8" y="12"/>
                  <a:pt x="8" y="12"/>
                  <a:pt x="8" y="12"/>
                </a:cubicBezTo>
                <a:cubicBezTo>
                  <a:pt x="9" y="13"/>
                  <a:pt x="9" y="13"/>
                  <a:pt x="9" y="13"/>
                </a:cubicBezTo>
                <a:cubicBezTo>
                  <a:pt x="11" y="15"/>
                  <a:pt x="11" y="15"/>
                  <a:pt x="11" y="15"/>
                </a:cubicBezTo>
                <a:cubicBezTo>
                  <a:pt x="12" y="15"/>
                  <a:pt x="12" y="15"/>
                  <a:pt x="12" y="15"/>
                </a:cubicBezTo>
                <a:cubicBezTo>
                  <a:pt x="13" y="16"/>
                  <a:pt x="13" y="16"/>
                  <a:pt x="13" y="16"/>
                </a:cubicBezTo>
                <a:cubicBezTo>
                  <a:pt x="12" y="16"/>
                  <a:pt x="12" y="16"/>
                  <a:pt x="12" y="16"/>
                </a:cubicBezTo>
                <a:cubicBezTo>
                  <a:pt x="11" y="16"/>
                  <a:pt x="11" y="16"/>
                  <a:pt x="11" y="16"/>
                </a:cubicBezTo>
                <a:cubicBezTo>
                  <a:pt x="10" y="17"/>
                  <a:pt x="10" y="17"/>
                  <a:pt x="10" y="17"/>
                </a:cubicBezTo>
                <a:cubicBezTo>
                  <a:pt x="11" y="18"/>
                  <a:pt x="11" y="18"/>
                  <a:pt x="11" y="18"/>
                </a:cubicBezTo>
                <a:cubicBezTo>
                  <a:pt x="12" y="18"/>
                  <a:pt x="12" y="18"/>
                  <a:pt x="12" y="18"/>
                </a:cubicBezTo>
                <a:cubicBezTo>
                  <a:pt x="14" y="20"/>
                  <a:pt x="14" y="20"/>
                  <a:pt x="14" y="20"/>
                </a:cubicBezTo>
                <a:cubicBezTo>
                  <a:pt x="15" y="20"/>
                  <a:pt x="15" y="20"/>
                  <a:pt x="15" y="20"/>
                </a:cubicBezTo>
                <a:cubicBezTo>
                  <a:pt x="15" y="21"/>
                  <a:pt x="15" y="21"/>
                  <a:pt x="15" y="21"/>
                </a:cubicBezTo>
                <a:cubicBezTo>
                  <a:pt x="16" y="22"/>
                  <a:pt x="16" y="22"/>
                  <a:pt x="16" y="22"/>
                </a:cubicBezTo>
                <a:cubicBezTo>
                  <a:pt x="17" y="22"/>
                  <a:pt x="17" y="22"/>
                  <a:pt x="17" y="22"/>
                </a:cubicBezTo>
                <a:cubicBezTo>
                  <a:pt x="20" y="22"/>
                  <a:pt x="20" y="22"/>
                  <a:pt x="20" y="22"/>
                </a:cubicBezTo>
                <a:cubicBezTo>
                  <a:pt x="22" y="23"/>
                  <a:pt x="22" y="23"/>
                  <a:pt x="22" y="23"/>
                </a:cubicBezTo>
                <a:cubicBezTo>
                  <a:pt x="25" y="26"/>
                  <a:pt x="25" y="26"/>
                  <a:pt x="25" y="26"/>
                </a:cubicBezTo>
                <a:cubicBezTo>
                  <a:pt x="24" y="26"/>
                  <a:pt x="24" y="26"/>
                  <a:pt x="24" y="26"/>
                </a:cubicBezTo>
                <a:cubicBezTo>
                  <a:pt x="22" y="25"/>
                  <a:pt x="22" y="25"/>
                  <a:pt x="22" y="25"/>
                </a:cubicBezTo>
                <a:cubicBezTo>
                  <a:pt x="23" y="26"/>
                  <a:pt x="23" y="26"/>
                  <a:pt x="23" y="26"/>
                </a:cubicBezTo>
                <a:cubicBezTo>
                  <a:pt x="25" y="26"/>
                  <a:pt x="25" y="26"/>
                  <a:pt x="25" y="26"/>
                </a:cubicBezTo>
                <a:cubicBezTo>
                  <a:pt x="25" y="26"/>
                  <a:pt x="25" y="26"/>
                  <a:pt x="25" y="26"/>
                </a:cubicBezTo>
                <a:cubicBezTo>
                  <a:pt x="25" y="25"/>
                  <a:pt x="25" y="25"/>
                  <a:pt x="25" y="25"/>
                </a:cubicBezTo>
                <a:cubicBezTo>
                  <a:pt x="21" y="20"/>
                  <a:pt x="21" y="20"/>
                  <a:pt x="21" y="20"/>
                </a:cubicBezTo>
                <a:cubicBezTo>
                  <a:pt x="16" y="16"/>
                  <a:pt x="16" y="16"/>
                  <a:pt x="16" y="16"/>
                </a:cubicBezTo>
                <a:cubicBezTo>
                  <a:pt x="15" y="15"/>
                  <a:pt x="15" y="15"/>
                  <a:pt x="15" y="15"/>
                </a:cubicBezTo>
                <a:cubicBezTo>
                  <a:pt x="16" y="15"/>
                  <a:pt x="16" y="15"/>
                  <a:pt x="16" y="15"/>
                </a:cubicBezTo>
                <a:cubicBezTo>
                  <a:pt x="15" y="14"/>
                  <a:pt x="15" y="14"/>
                  <a:pt x="15" y="14"/>
                </a:cubicBezTo>
                <a:cubicBezTo>
                  <a:pt x="15" y="13"/>
                  <a:pt x="15" y="13"/>
                  <a:pt x="15" y="13"/>
                </a:cubicBezTo>
                <a:cubicBezTo>
                  <a:pt x="13" y="11"/>
                  <a:pt x="13" y="11"/>
                  <a:pt x="13" y="11"/>
                </a:cubicBezTo>
                <a:cubicBezTo>
                  <a:pt x="13" y="11"/>
                  <a:pt x="13" y="11"/>
                  <a:pt x="13" y="11"/>
                </a:cubicBezTo>
                <a:cubicBezTo>
                  <a:pt x="13" y="10"/>
                  <a:pt x="13" y="10"/>
                  <a:pt x="13" y="10"/>
                </a:cubicBezTo>
                <a:cubicBezTo>
                  <a:pt x="13" y="10"/>
                  <a:pt x="13" y="10"/>
                  <a:pt x="13" y="10"/>
                </a:cubicBezTo>
                <a:cubicBezTo>
                  <a:pt x="13" y="8"/>
                  <a:pt x="13" y="8"/>
                  <a:pt x="13" y="8"/>
                </a:cubicBezTo>
                <a:cubicBezTo>
                  <a:pt x="14" y="8"/>
                  <a:pt x="14" y="8"/>
                  <a:pt x="14" y="8"/>
                </a:cubicBezTo>
                <a:cubicBezTo>
                  <a:pt x="15" y="9"/>
                  <a:pt x="15" y="9"/>
                  <a:pt x="15" y="9"/>
                </a:cubicBezTo>
                <a:cubicBezTo>
                  <a:pt x="16" y="10"/>
                  <a:pt x="16" y="10"/>
                  <a:pt x="16" y="10"/>
                </a:cubicBezTo>
                <a:cubicBezTo>
                  <a:pt x="16" y="10"/>
                  <a:pt x="16" y="10"/>
                  <a:pt x="16" y="10"/>
                </a:cubicBezTo>
                <a:cubicBezTo>
                  <a:pt x="16" y="9"/>
                  <a:pt x="16" y="9"/>
                  <a:pt x="16" y="9"/>
                </a:cubicBezTo>
                <a:cubicBezTo>
                  <a:pt x="18" y="8"/>
                  <a:pt x="18" y="8"/>
                  <a:pt x="18" y="8"/>
                </a:cubicBezTo>
                <a:cubicBezTo>
                  <a:pt x="18" y="9"/>
                  <a:pt x="18" y="9"/>
                  <a:pt x="18" y="9"/>
                </a:cubicBezTo>
                <a:cubicBezTo>
                  <a:pt x="19" y="8"/>
                  <a:pt x="19" y="8"/>
                  <a:pt x="19" y="8"/>
                </a:cubicBezTo>
                <a:cubicBezTo>
                  <a:pt x="20" y="8"/>
                  <a:pt x="20" y="8"/>
                  <a:pt x="20" y="8"/>
                </a:cubicBezTo>
                <a:cubicBezTo>
                  <a:pt x="21" y="8"/>
                  <a:pt x="21" y="8"/>
                  <a:pt x="21" y="8"/>
                </a:cubicBezTo>
                <a:cubicBezTo>
                  <a:pt x="22" y="8"/>
                  <a:pt x="22" y="8"/>
                  <a:pt x="22" y="8"/>
                </a:cubicBezTo>
                <a:cubicBezTo>
                  <a:pt x="22" y="9"/>
                  <a:pt x="22" y="9"/>
                  <a:pt x="22" y="9"/>
                </a:cubicBezTo>
                <a:cubicBezTo>
                  <a:pt x="23" y="9"/>
                  <a:pt x="23" y="9"/>
                  <a:pt x="23" y="9"/>
                </a:cubicBezTo>
                <a:cubicBezTo>
                  <a:pt x="24" y="9"/>
                  <a:pt x="24" y="9"/>
                  <a:pt x="24" y="9"/>
                </a:cubicBezTo>
                <a:cubicBezTo>
                  <a:pt x="25" y="9"/>
                  <a:pt x="25" y="9"/>
                  <a:pt x="25" y="9"/>
                </a:cubicBezTo>
                <a:cubicBezTo>
                  <a:pt x="26" y="9"/>
                  <a:pt x="26" y="9"/>
                  <a:pt x="26" y="9"/>
                </a:cubicBezTo>
                <a:cubicBezTo>
                  <a:pt x="27" y="9"/>
                  <a:pt x="27" y="9"/>
                  <a:pt x="27" y="9"/>
                </a:cubicBezTo>
                <a:cubicBezTo>
                  <a:pt x="28" y="9"/>
                  <a:pt x="28" y="9"/>
                  <a:pt x="28" y="9"/>
                </a:cubicBezTo>
                <a:cubicBezTo>
                  <a:pt x="29" y="9"/>
                  <a:pt x="29" y="9"/>
                  <a:pt x="29" y="9"/>
                </a:cubicBezTo>
                <a:cubicBezTo>
                  <a:pt x="31" y="10"/>
                  <a:pt x="31" y="10"/>
                  <a:pt x="31" y="10"/>
                </a:cubicBezTo>
                <a:cubicBezTo>
                  <a:pt x="32" y="10"/>
                  <a:pt x="32" y="10"/>
                  <a:pt x="32" y="10"/>
                </a:cubicBezTo>
                <a:cubicBezTo>
                  <a:pt x="32" y="11"/>
                  <a:pt x="32" y="11"/>
                  <a:pt x="32" y="11"/>
                </a:cubicBezTo>
                <a:close/>
                <a:moveTo>
                  <a:pt x="19" y="25"/>
                </a:moveTo>
                <a:cubicBezTo>
                  <a:pt x="19" y="25"/>
                  <a:pt x="22" y="25"/>
                  <a:pt x="22" y="25"/>
                </a:cubicBezTo>
                <a:cubicBezTo>
                  <a:pt x="22" y="26"/>
                  <a:pt x="22" y="26"/>
                  <a:pt x="22" y="26"/>
                </a:cubicBezTo>
                <a:cubicBezTo>
                  <a:pt x="20" y="26"/>
                  <a:pt x="20" y="26"/>
                  <a:pt x="20" y="26"/>
                </a:cubicBezTo>
                <a:cubicBezTo>
                  <a:pt x="19" y="25"/>
                  <a:pt x="19" y="25"/>
                  <a:pt x="19" y="25"/>
                </a:cubicBezTo>
                <a:close/>
                <a:moveTo>
                  <a:pt x="18" y="24"/>
                </a:moveTo>
                <a:cubicBezTo>
                  <a:pt x="21" y="24"/>
                  <a:pt x="21" y="24"/>
                  <a:pt x="21" y="24"/>
                </a:cubicBezTo>
                <a:cubicBezTo>
                  <a:pt x="20" y="25"/>
                  <a:pt x="20" y="25"/>
                  <a:pt x="20" y="25"/>
                </a:cubicBezTo>
                <a:cubicBezTo>
                  <a:pt x="18" y="24"/>
                  <a:pt x="18" y="24"/>
                  <a:pt x="18" y="24"/>
                </a:cubicBezTo>
                <a:close/>
                <a:moveTo>
                  <a:pt x="18" y="23"/>
                </a:moveTo>
                <a:cubicBezTo>
                  <a:pt x="20" y="23"/>
                  <a:pt x="20" y="23"/>
                  <a:pt x="20" y="23"/>
                </a:cubicBezTo>
                <a:cubicBezTo>
                  <a:pt x="21" y="23"/>
                  <a:pt x="21" y="23"/>
                  <a:pt x="21" y="23"/>
                </a:cubicBezTo>
                <a:cubicBezTo>
                  <a:pt x="20" y="24"/>
                  <a:pt x="20" y="24"/>
                  <a:pt x="20" y="24"/>
                </a:cubicBezTo>
                <a:cubicBezTo>
                  <a:pt x="19" y="23"/>
                  <a:pt x="19" y="23"/>
                  <a:pt x="19" y="23"/>
                </a:cubicBezTo>
                <a:cubicBezTo>
                  <a:pt x="18" y="23"/>
                  <a:pt x="18" y="23"/>
                  <a:pt x="18" y="23"/>
                </a:cubicBezTo>
                <a:close/>
                <a:moveTo>
                  <a:pt x="9" y="15"/>
                </a:moveTo>
                <a:cubicBezTo>
                  <a:pt x="10" y="15"/>
                  <a:pt x="10" y="15"/>
                  <a:pt x="10" y="15"/>
                </a:cubicBezTo>
                <a:cubicBezTo>
                  <a:pt x="11" y="16"/>
                  <a:pt x="11" y="16"/>
                  <a:pt x="11" y="16"/>
                </a:cubicBezTo>
                <a:cubicBezTo>
                  <a:pt x="10" y="16"/>
                  <a:pt x="10" y="16"/>
                  <a:pt x="10" y="16"/>
                </a:cubicBezTo>
                <a:cubicBezTo>
                  <a:pt x="9" y="15"/>
                  <a:pt x="9" y="15"/>
                  <a:pt x="9" y="15"/>
                </a:cubicBezTo>
                <a:close/>
                <a:moveTo>
                  <a:pt x="8" y="13"/>
                </a:moveTo>
                <a:cubicBezTo>
                  <a:pt x="9" y="14"/>
                  <a:pt x="9" y="14"/>
                  <a:pt x="9" y="14"/>
                </a:cubicBezTo>
                <a:cubicBezTo>
                  <a:pt x="8" y="14"/>
                  <a:pt x="8" y="14"/>
                  <a:pt x="8" y="14"/>
                </a:cubicBezTo>
                <a:cubicBezTo>
                  <a:pt x="8" y="13"/>
                  <a:pt x="8" y="13"/>
                  <a:pt x="8" y="13"/>
                </a:cubicBezTo>
                <a:close/>
                <a:moveTo>
                  <a:pt x="8" y="17"/>
                </a:moveTo>
                <a:cubicBezTo>
                  <a:pt x="10" y="18"/>
                  <a:pt x="10" y="18"/>
                  <a:pt x="10" y="18"/>
                </a:cubicBezTo>
                <a:cubicBezTo>
                  <a:pt x="10" y="19"/>
                  <a:pt x="10" y="19"/>
                  <a:pt x="10" y="19"/>
                </a:cubicBezTo>
                <a:cubicBezTo>
                  <a:pt x="8" y="17"/>
                  <a:pt x="8" y="17"/>
                  <a:pt x="8" y="17"/>
                </a:cubicBezTo>
                <a:close/>
                <a:moveTo>
                  <a:pt x="7" y="15"/>
                </a:moveTo>
                <a:cubicBezTo>
                  <a:pt x="8" y="15"/>
                  <a:pt x="8" y="15"/>
                  <a:pt x="8" y="15"/>
                </a:cubicBezTo>
                <a:cubicBezTo>
                  <a:pt x="8" y="16"/>
                  <a:pt x="8" y="16"/>
                  <a:pt x="8" y="16"/>
                </a:cubicBezTo>
                <a:cubicBezTo>
                  <a:pt x="7" y="15"/>
                  <a:pt x="7" y="15"/>
                  <a:pt x="7" y="15"/>
                </a:cubicBezTo>
                <a:close/>
                <a:moveTo>
                  <a:pt x="5" y="11"/>
                </a:moveTo>
                <a:cubicBezTo>
                  <a:pt x="6" y="12"/>
                  <a:pt x="6" y="12"/>
                  <a:pt x="6" y="12"/>
                </a:cubicBezTo>
                <a:cubicBezTo>
                  <a:pt x="7" y="14"/>
                  <a:pt x="7" y="14"/>
                  <a:pt x="7" y="14"/>
                </a:cubicBezTo>
                <a:cubicBezTo>
                  <a:pt x="6" y="14"/>
                  <a:pt x="6" y="14"/>
                  <a:pt x="6" y="14"/>
                </a:cubicBezTo>
                <a:cubicBezTo>
                  <a:pt x="5" y="13"/>
                  <a:pt x="5" y="13"/>
                  <a:pt x="5" y="13"/>
                </a:cubicBezTo>
                <a:cubicBezTo>
                  <a:pt x="5" y="13"/>
                  <a:pt x="5" y="13"/>
                  <a:pt x="5" y="13"/>
                </a:cubicBezTo>
                <a:cubicBezTo>
                  <a:pt x="5" y="11"/>
                  <a:pt x="5" y="11"/>
                  <a:pt x="5" y="11"/>
                </a:cubicBezTo>
                <a:close/>
                <a:moveTo>
                  <a:pt x="6" y="9"/>
                </a:moveTo>
                <a:cubicBezTo>
                  <a:pt x="7" y="11"/>
                  <a:pt x="7" y="11"/>
                  <a:pt x="7" y="11"/>
                </a:cubicBezTo>
                <a:cubicBezTo>
                  <a:pt x="6" y="12"/>
                  <a:pt x="6" y="12"/>
                  <a:pt x="6" y="12"/>
                </a:cubicBezTo>
                <a:cubicBezTo>
                  <a:pt x="6" y="11"/>
                  <a:pt x="6" y="11"/>
                  <a:pt x="6" y="11"/>
                </a:cubicBezTo>
                <a:cubicBezTo>
                  <a:pt x="5" y="11"/>
                  <a:pt x="5" y="11"/>
                  <a:pt x="5" y="11"/>
                </a:cubicBezTo>
                <a:cubicBezTo>
                  <a:pt x="5" y="9"/>
                  <a:pt x="5" y="9"/>
                  <a:pt x="5" y="9"/>
                </a:cubicBezTo>
                <a:cubicBezTo>
                  <a:pt x="5" y="9"/>
                  <a:pt x="5" y="9"/>
                  <a:pt x="6" y="9"/>
                </a:cubicBez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3" name="Freeform 61">
            <a:extLst>
              <a:ext uri="{FF2B5EF4-FFF2-40B4-BE49-F238E27FC236}">
                <a16:creationId xmlns:a16="http://schemas.microsoft.com/office/drawing/2014/main" id="{AE1C3309-A63A-A2F1-86C8-ACE4C0326D5C}"/>
              </a:ext>
            </a:extLst>
          </p:cNvPr>
          <p:cNvSpPr>
            <a:spLocks/>
          </p:cNvSpPr>
          <p:nvPr userDrawn="1"/>
        </p:nvSpPr>
        <p:spPr bwMode="auto">
          <a:xfrm>
            <a:off x="14061155" y="6327063"/>
            <a:ext cx="228585" cy="200026"/>
          </a:xfrm>
          <a:custGeom>
            <a:avLst/>
            <a:gdLst>
              <a:gd name="T0" fmla="*/ 38 w 72"/>
              <a:gd name="T1" fmla="*/ 53 h 63"/>
              <a:gd name="T2" fmla="*/ 10 w 72"/>
              <a:gd name="T3" fmla="*/ 25 h 63"/>
              <a:gd name="T4" fmla="*/ 10 w 72"/>
              <a:gd name="T5" fmla="*/ 22 h 63"/>
              <a:gd name="T6" fmla="*/ 7 w 72"/>
              <a:gd name="T7" fmla="*/ 16 h 63"/>
              <a:gd name="T8" fmla="*/ 0 w 72"/>
              <a:gd name="T9" fmla="*/ 9 h 63"/>
              <a:gd name="T10" fmla="*/ 0 w 72"/>
              <a:gd name="T11" fmla="*/ 6 h 63"/>
              <a:gd name="T12" fmla="*/ 3 w 72"/>
              <a:gd name="T13" fmla="*/ 0 h 63"/>
              <a:gd name="T14" fmla="*/ 10 w 72"/>
              <a:gd name="T15" fmla="*/ 6 h 63"/>
              <a:gd name="T16" fmla="*/ 10 w 72"/>
              <a:gd name="T17" fmla="*/ 3 h 63"/>
              <a:gd name="T18" fmla="*/ 16 w 72"/>
              <a:gd name="T19" fmla="*/ 3 h 63"/>
              <a:gd name="T20" fmla="*/ 22 w 72"/>
              <a:gd name="T21" fmla="*/ 0 h 63"/>
              <a:gd name="T22" fmla="*/ 28 w 72"/>
              <a:gd name="T23" fmla="*/ 0 h 63"/>
              <a:gd name="T24" fmla="*/ 32 w 72"/>
              <a:gd name="T25" fmla="*/ 3 h 63"/>
              <a:gd name="T26" fmla="*/ 38 w 72"/>
              <a:gd name="T27" fmla="*/ 3 h 63"/>
              <a:gd name="T28" fmla="*/ 44 w 72"/>
              <a:gd name="T29" fmla="*/ 3 h 63"/>
              <a:gd name="T30" fmla="*/ 50 w 72"/>
              <a:gd name="T31" fmla="*/ 3 h 63"/>
              <a:gd name="T32" fmla="*/ 60 w 72"/>
              <a:gd name="T33" fmla="*/ 6 h 63"/>
              <a:gd name="T34" fmla="*/ 63 w 72"/>
              <a:gd name="T35" fmla="*/ 9 h 63"/>
              <a:gd name="T36" fmla="*/ 66 w 72"/>
              <a:gd name="T37" fmla="*/ 13 h 63"/>
              <a:gd name="T38" fmla="*/ 63 w 72"/>
              <a:gd name="T39" fmla="*/ 22 h 63"/>
              <a:gd name="T40" fmla="*/ 69 w 72"/>
              <a:gd name="T41" fmla="*/ 28 h 63"/>
              <a:gd name="T42" fmla="*/ 72 w 72"/>
              <a:gd name="T43" fmla="*/ 31 h 63"/>
              <a:gd name="T44" fmla="*/ 66 w 72"/>
              <a:gd name="T45" fmla="*/ 31 h 63"/>
              <a:gd name="T46" fmla="*/ 69 w 72"/>
              <a:gd name="T47" fmla="*/ 41 h 63"/>
              <a:gd name="T48" fmla="*/ 66 w 72"/>
              <a:gd name="T49" fmla="*/ 41 h 63"/>
              <a:gd name="T50" fmla="*/ 60 w 72"/>
              <a:gd name="T51" fmla="*/ 41 h 63"/>
              <a:gd name="T52" fmla="*/ 63 w 72"/>
              <a:gd name="T53" fmla="*/ 44 h 63"/>
              <a:gd name="T54" fmla="*/ 60 w 72"/>
              <a:gd name="T55" fmla="*/ 50 h 63"/>
              <a:gd name="T56" fmla="*/ 57 w 72"/>
              <a:gd name="T57" fmla="*/ 53 h 63"/>
              <a:gd name="T58" fmla="*/ 53 w 72"/>
              <a:gd name="T59" fmla="*/ 63 h 63"/>
              <a:gd name="T60" fmla="*/ 47 w 72"/>
              <a:gd name="T61" fmla="*/ 60 h 63"/>
              <a:gd name="T62" fmla="*/ 38 w 72"/>
              <a:gd name="T63" fmla="*/ 60 h 63"/>
              <a:gd name="T64" fmla="*/ 38 w 72"/>
              <a:gd name="T65" fmla="*/ 5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63">
                <a:moveTo>
                  <a:pt x="38" y="56"/>
                </a:moveTo>
                <a:lnTo>
                  <a:pt x="38" y="53"/>
                </a:lnTo>
                <a:lnTo>
                  <a:pt x="25" y="38"/>
                </a:lnTo>
                <a:lnTo>
                  <a:pt x="10" y="25"/>
                </a:lnTo>
                <a:lnTo>
                  <a:pt x="7" y="22"/>
                </a:lnTo>
                <a:lnTo>
                  <a:pt x="10" y="22"/>
                </a:lnTo>
                <a:lnTo>
                  <a:pt x="7" y="19"/>
                </a:lnTo>
                <a:lnTo>
                  <a:pt x="7" y="16"/>
                </a:lnTo>
                <a:lnTo>
                  <a:pt x="0" y="9"/>
                </a:lnTo>
                <a:lnTo>
                  <a:pt x="0" y="9"/>
                </a:lnTo>
                <a:lnTo>
                  <a:pt x="0" y="6"/>
                </a:lnTo>
                <a:lnTo>
                  <a:pt x="0" y="6"/>
                </a:lnTo>
                <a:lnTo>
                  <a:pt x="0" y="0"/>
                </a:lnTo>
                <a:lnTo>
                  <a:pt x="3" y="0"/>
                </a:lnTo>
                <a:lnTo>
                  <a:pt x="7" y="3"/>
                </a:lnTo>
                <a:lnTo>
                  <a:pt x="10" y="6"/>
                </a:lnTo>
                <a:lnTo>
                  <a:pt x="10" y="6"/>
                </a:lnTo>
                <a:lnTo>
                  <a:pt x="10" y="3"/>
                </a:lnTo>
                <a:lnTo>
                  <a:pt x="16" y="0"/>
                </a:lnTo>
                <a:lnTo>
                  <a:pt x="16" y="3"/>
                </a:lnTo>
                <a:lnTo>
                  <a:pt x="19" y="0"/>
                </a:lnTo>
                <a:lnTo>
                  <a:pt x="22" y="0"/>
                </a:lnTo>
                <a:lnTo>
                  <a:pt x="25" y="0"/>
                </a:lnTo>
                <a:lnTo>
                  <a:pt x="28" y="0"/>
                </a:lnTo>
                <a:lnTo>
                  <a:pt x="28" y="3"/>
                </a:lnTo>
                <a:lnTo>
                  <a:pt x="32" y="3"/>
                </a:lnTo>
                <a:lnTo>
                  <a:pt x="35" y="3"/>
                </a:lnTo>
                <a:lnTo>
                  <a:pt x="38" y="3"/>
                </a:lnTo>
                <a:lnTo>
                  <a:pt x="41" y="3"/>
                </a:lnTo>
                <a:lnTo>
                  <a:pt x="44" y="3"/>
                </a:lnTo>
                <a:lnTo>
                  <a:pt x="47" y="3"/>
                </a:lnTo>
                <a:lnTo>
                  <a:pt x="50" y="3"/>
                </a:lnTo>
                <a:lnTo>
                  <a:pt x="57" y="6"/>
                </a:lnTo>
                <a:lnTo>
                  <a:pt x="60" y="6"/>
                </a:lnTo>
                <a:lnTo>
                  <a:pt x="63" y="9"/>
                </a:lnTo>
                <a:lnTo>
                  <a:pt x="63" y="9"/>
                </a:lnTo>
                <a:lnTo>
                  <a:pt x="66" y="9"/>
                </a:lnTo>
                <a:lnTo>
                  <a:pt x="66" y="13"/>
                </a:lnTo>
                <a:lnTo>
                  <a:pt x="63" y="19"/>
                </a:lnTo>
                <a:lnTo>
                  <a:pt x="63" y="22"/>
                </a:lnTo>
                <a:lnTo>
                  <a:pt x="69" y="25"/>
                </a:lnTo>
                <a:lnTo>
                  <a:pt x="69" y="28"/>
                </a:lnTo>
                <a:lnTo>
                  <a:pt x="72" y="28"/>
                </a:lnTo>
                <a:lnTo>
                  <a:pt x="72" y="31"/>
                </a:lnTo>
                <a:lnTo>
                  <a:pt x="69" y="28"/>
                </a:lnTo>
                <a:lnTo>
                  <a:pt x="66" y="31"/>
                </a:lnTo>
                <a:lnTo>
                  <a:pt x="66" y="34"/>
                </a:lnTo>
                <a:lnTo>
                  <a:pt x="69" y="41"/>
                </a:lnTo>
                <a:lnTo>
                  <a:pt x="69" y="41"/>
                </a:lnTo>
                <a:lnTo>
                  <a:pt x="66" y="41"/>
                </a:lnTo>
                <a:lnTo>
                  <a:pt x="63" y="38"/>
                </a:lnTo>
                <a:lnTo>
                  <a:pt x="60" y="41"/>
                </a:lnTo>
                <a:lnTo>
                  <a:pt x="60" y="44"/>
                </a:lnTo>
                <a:lnTo>
                  <a:pt x="63" y="44"/>
                </a:lnTo>
                <a:lnTo>
                  <a:pt x="63" y="47"/>
                </a:lnTo>
                <a:lnTo>
                  <a:pt x="60" y="50"/>
                </a:lnTo>
                <a:lnTo>
                  <a:pt x="60" y="50"/>
                </a:lnTo>
                <a:lnTo>
                  <a:pt x="57" y="53"/>
                </a:lnTo>
                <a:lnTo>
                  <a:pt x="57" y="60"/>
                </a:lnTo>
                <a:lnTo>
                  <a:pt x="53" y="63"/>
                </a:lnTo>
                <a:lnTo>
                  <a:pt x="53" y="63"/>
                </a:lnTo>
                <a:lnTo>
                  <a:pt x="47" y="60"/>
                </a:lnTo>
                <a:lnTo>
                  <a:pt x="47" y="60"/>
                </a:lnTo>
                <a:lnTo>
                  <a:pt x="38" y="60"/>
                </a:lnTo>
                <a:lnTo>
                  <a:pt x="38" y="56"/>
                </a:lnTo>
                <a:lnTo>
                  <a:pt x="38" y="56"/>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4" name="Freeform 62">
            <a:extLst>
              <a:ext uri="{FF2B5EF4-FFF2-40B4-BE49-F238E27FC236}">
                <a16:creationId xmlns:a16="http://schemas.microsoft.com/office/drawing/2014/main" id="{97B7A77F-8433-BE01-679E-3BA4F6A72EB4}"/>
              </a:ext>
            </a:extLst>
          </p:cNvPr>
          <p:cNvSpPr>
            <a:spLocks/>
          </p:cNvSpPr>
          <p:nvPr userDrawn="1"/>
        </p:nvSpPr>
        <p:spPr bwMode="auto">
          <a:xfrm>
            <a:off x="13924647" y="6209585"/>
            <a:ext cx="187314" cy="117478"/>
          </a:xfrm>
          <a:custGeom>
            <a:avLst/>
            <a:gdLst>
              <a:gd name="T0" fmla="*/ 3 w 59"/>
              <a:gd name="T1" fmla="*/ 37 h 37"/>
              <a:gd name="T2" fmla="*/ 9 w 59"/>
              <a:gd name="T3" fmla="*/ 34 h 37"/>
              <a:gd name="T4" fmla="*/ 15 w 59"/>
              <a:gd name="T5" fmla="*/ 31 h 37"/>
              <a:gd name="T6" fmla="*/ 18 w 59"/>
              <a:gd name="T7" fmla="*/ 31 h 37"/>
              <a:gd name="T8" fmla="*/ 25 w 59"/>
              <a:gd name="T9" fmla="*/ 34 h 37"/>
              <a:gd name="T10" fmla="*/ 31 w 59"/>
              <a:gd name="T11" fmla="*/ 34 h 37"/>
              <a:gd name="T12" fmla="*/ 31 w 59"/>
              <a:gd name="T13" fmla="*/ 28 h 37"/>
              <a:gd name="T14" fmla="*/ 37 w 59"/>
              <a:gd name="T15" fmla="*/ 25 h 37"/>
              <a:gd name="T16" fmla="*/ 37 w 59"/>
              <a:gd name="T17" fmla="*/ 18 h 37"/>
              <a:gd name="T18" fmla="*/ 50 w 59"/>
              <a:gd name="T19" fmla="*/ 12 h 37"/>
              <a:gd name="T20" fmla="*/ 59 w 59"/>
              <a:gd name="T21" fmla="*/ 12 h 37"/>
              <a:gd name="T22" fmla="*/ 59 w 59"/>
              <a:gd name="T23" fmla="*/ 6 h 37"/>
              <a:gd name="T24" fmla="*/ 53 w 59"/>
              <a:gd name="T25" fmla="*/ 0 h 37"/>
              <a:gd name="T26" fmla="*/ 46 w 59"/>
              <a:gd name="T27" fmla="*/ 0 h 37"/>
              <a:gd name="T28" fmla="*/ 40 w 59"/>
              <a:gd name="T29" fmla="*/ 6 h 37"/>
              <a:gd name="T30" fmla="*/ 37 w 59"/>
              <a:gd name="T31" fmla="*/ 6 h 37"/>
              <a:gd name="T32" fmla="*/ 34 w 59"/>
              <a:gd name="T33" fmla="*/ 6 h 37"/>
              <a:gd name="T34" fmla="*/ 31 w 59"/>
              <a:gd name="T35" fmla="*/ 9 h 37"/>
              <a:gd name="T36" fmla="*/ 25 w 59"/>
              <a:gd name="T37" fmla="*/ 9 h 37"/>
              <a:gd name="T38" fmla="*/ 21 w 59"/>
              <a:gd name="T39" fmla="*/ 9 h 37"/>
              <a:gd name="T40" fmla="*/ 18 w 59"/>
              <a:gd name="T41" fmla="*/ 6 h 37"/>
              <a:gd name="T42" fmla="*/ 9 w 59"/>
              <a:gd name="T43" fmla="*/ 6 h 37"/>
              <a:gd name="T44" fmla="*/ 6 w 59"/>
              <a:gd name="T45" fmla="*/ 6 h 37"/>
              <a:gd name="T46" fmla="*/ 3 w 59"/>
              <a:gd name="T47" fmla="*/ 12 h 37"/>
              <a:gd name="T48" fmla="*/ 3 w 59"/>
              <a:gd name="T49" fmla="*/ 15 h 37"/>
              <a:gd name="T50" fmla="*/ 0 w 59"/>
              <a:gd name="T51" fmla="*/ 21 h 37"/>
              <a:gd name="T52" fmla="*/ 3 w 59"/>
              <a:gd name="T53" fmla="*/ 28 h 37"/>
              <a:gd name="T54" fmla="*/ 3 w 59"/>
              <a:gd name="T55" fmla="*/ 28 h 37"/>
              <a:gd name="T56" fmla="*/ 6 w 59"/>
              <a:gd name="T57" fmla="*/ 28 h 37"/>
              <a:gd name="T58" fmla="*/ 6 w 59"/>
              <a:gd name="T59" fmla="*/ 31 h 37"/>
              <a:gd name="T60" fmla="*/ 3 w 59"/>
              <a:gd name="T61" fmla="*/ 31 h 37"/>
              <a:gd name="T62" fmla="*/ 3 w 59"/>
              <a:gd name="T6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 h="37">
                <a:moveTo>
                  <a:pt x="3" y="37"/>
                </a:moveTo>
                <a:lnTo>
                  <a:pt x="9" y="34"/>
                </a:lnTo>
                <a:lnTo>
                  <a:pt x="15" y="31"/>
                </a:lnTo>
                <a:lnTo>
                  <a:pt x="18" y="31"/>
                </a:lnTo>
                <a:lnTo>
                  <a:pt x="25" y="34"/>
                </a:lnTo>
                <a:lnTo>
                  <a:pt x="31" y="34"/>
                </a:lnTo>
                <a:lnTo>
                  <a:pt x="31" y="28"/>
                </a:lnTo>
                <a:lnTo>
                  <a:pt x="37" y="25"/>
                </a:lnTo>
                <a:lnTo>
                  <a:pt x="37" y="18"/>
                </a:lnTo>
                <a:lnTo>
                  <a:pt x="50" y="12"/>
                </a:lnTo>
                <a:lnTo>
                  <a:pt x="59" y="12"/>
                </a:lnTo>
                <a:lnTo>
                  <a:pt x="59" y="6"/>
                </a:lnTo>
                <a:lnTo>
                  <a:pt x="53" y="0"/>
                </a:lnTo>
                <a:lnTo>
                  <a:pt x="46" y="0"/>
                </a:lnTo>
                <a:lnTo>
                  <a:pt x="40" y="6"/>
                </a:lnTo>
                <a:lnTo>
                  <a:pt x="37" y="6"/>
                </a:lnTo>
                <a:lnTo>
                  <a:pt x="34" y="6"/>
                </a:lnTo>
                <a:lnTo>
                  <a:pt x="31" y="9"/>
                </a:lnTo>
                <a:lnTo>
                  <a:pt x="25" y="9"/>
                </a:lnTo>
                <a:lnTo>
                  <a:pt x="21" y="9"/>
                </a:lnTo>
                <a:lnTo>
                  <a:pt x="18" y="6"/>
                </a:lnTo>
                <a:lnTo>
                  <a:pt x="9" y="6"/>
                </a:lnTo>
                <a:lnTo>
                  <a:pt x="6" y="6"/>
                </a:lnTo>
                <a:lnTo>
                  <a:pt x="3" y="12"/>
                </a:lnTo>
                <a:lnTo>
                  <a:pt x="3" y="15"/>
                </a:lnTo>
                <a:lnTo>
                  <a:pt x="0" y="21"/>
                </a:lnTo>
                <a:lnTo>
                  <a:pt x="3" y="28"/>
                </a:lnTo>
                <a:lnTo>
                  <a:pt x="3" y="28"/>
                </a:lnTo>
                <a:lnTo>
                  <a:pt x="6" y="28"/>
                </a:lnTo>
                <a:lnTo>
                  <a:pt x="6" y="31"/>
                </a:lnTo>
                <a:lnTo>
                  <a:pt x="3" y="31"/>
                </a:lnTo>
                <a:lnTo>
                  <a:pt x="3" y="37"/>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5" name="Freeform 63">
            <a:extLst>
              <a:ext uri="{FF2B5EF4-FFF2-40B4-BE49-F238E27FC236}">
                <a16:creationId xmlns:a16="http://schemas.microsoft.com/office/drawing/2014/main" id="{02F5B7E7-4EAA-829B-C130-6DBC8032A7BF}"/>
              </a:ext>
            </a:extLst>
          </p:cNvPr>
          <p:cNvSpPr>
            <a:spLocks/>
          </p:cNvSpPr>
          <p:nvPr userDrawn="1"/>
        </p:nvSpPr>
        <p:spPr bwMode="auto">
          <a:xfrm>
            <a:off x="13696062" y="6028613"/>
            <a:ext cx="425422" cy="209550"/>
          </a:xfrm>
          <a:custGeom>
            <a:avLst/>
            <a:gdLst>
              <a:gd name="T0" fmla="*/ 81 w 134"/>
              <a:gd name="T1" fmla="*/ 63 h 66"/>
              <a:gd name="T2" fmla="*/ 93 w 134"/>
              <a:gd name="T3" fmla="*/ 66 h 66"/>
              <a:gd name="T4" fmla="*/ 103 w 134"/>
              <a:gd name="T5" fmla="*/ 66 h 66"/>
              <a:gd name="T6" fmla="*/ 109 w 134"/>
              <a:gd name="T7" fmla="*/ 63 h 66"/>
              <a:gd name="T8" fmla="*/ 118 w 134"/>
              <a:gd name="T9" fmla="*/ 57 h 66"/>
              <a:gd name="T10" fmla="*/ 128 w 134"/>
              <a:gd name="T11" fmla="*/ 53 h 66"/>
              <a:gd name="T12" fmla="*/ 128 w 134"/>
              <a:gd name="T13" fmla="*/ 44 h 66"/>
              <a:gd name="T14" fmla="*/ 125 w 134"/>
              <a:gd name="T15" fmla="*/ 38 h 66"/>
              <a:gd name="T16" fmla="*/ 134 w 134"/>
              <a:gd name="T17" fmla="*/ 35 h 66"/>
              <a:gd name="T18" fmla="*/ 134 w 134"/>
              <a:gd name="T19" fmla="*/ 25 h 66"/>
              <a:gd name="T20" fmla="*/ 134 w 134"/>
              <a:gd name="T21" fmla="*/ 10 h 66"/>
              <a:gd name="T22" fmla="*/ 122 w 134"/>
              <a:gd name="T23" fmla="*/ 6 h 66"/>
              <a:gd name="T24" fmla="*/ 112 w 134"/>
              <a:gd name="T25" fmla="*/ 6 h 66"/>
              <a:gd name="T26" fmla="*/ 100 w 134"/>
              <a:gd name="T27" fmla="*/ 3 h 66"/>
              <a:gd name="T28" fmla="*/ 93 w 134"/>
              <a:gd name="T29" fmla="*/ 3 h 66"/>
              <a:gd name="T30" fmla="*/ 90 w 134"/>
              <a:gd name="T31" fmla="*/ 10 h 66"/>
              <a:gd name="T32" fmla="*/ 84 w 134"/>
              <a:gd name="T33" fmla="*/ 13 h 66"/>
              <a:gd name="T34" fmla="*/ 72 w 134"/>
              <a:gd name="T35" fmla="*/ 6 h 66"/>
              <a:gd name="T36" fmla="*/ 72 w 134"/>
              <a:gd name="T37" fmla="*/ 13 h 66"/>
              <a:gd name="T38" fmla="*/ 65 w 134"/>
              <a:gd name="T39" fmla="*/ 16 h 66"/>
              <a:gd name="T40" fmla="*/ 56 w 134"/>
              <a:gd name="T41" fmla="*/ 25 h 66"/>
              <a:gd name="T42" fmla="*/ 62 w 134"/>
              <a:gd name="T43" fmla="*/ 31 h 66"/>
              <a:gd name="T44" fmla="*/ 59 w 134"/>
              <a:gd name="T45" fmla="*/ 35 h 66"/>
              <a:gd name="T46" fmla="*/ 50 w 134"/>
              <a:gd name="T47" fmla="*/ 35 h 66"/>
              <a:gd name="T48" fmla="*/ 43 w 134"/>
              <a:gd name="T49" fmla="*/ 35 h 66"/>
              <a:gd name="T50" fmla="*/ 34 w 134"/>
              <a:gd name="T51" fmla="*/ 38 h 66"/>
              <a:gd name="T52" fmla="*/ 28 w 134"/>
              <a:gd name="T53" fmla="*/ 38 h 66"/>
              <a:gd name="T54" fmla="*/ 18 w 134"/>
              <a:gd name="T55" fmla="*/ 35 h 66"/>
              <a:gd name="T56" fmla="*/ 15 w 134"/>
              <a:gd name="T57" fmla="*/ 41 h 66"/>
              <a:gd name="T58" fmla="*/ 9 w 134"/>
              <a:gd name="T59" fmla="*/ 41 h 66"/>
              <a:gd name="T60" fmla="*/ 3 w 134"/>
              <a:gd name="T61" fmla="*/ 38 h 66"/>
              <a:gd name="T62" fmla="*/ 0 w 134"/>
              <a:gd name="T63" fmla="*/ 38 h 66"/>
              <a:gd name="T64" fmla="*/ 0 w 134"/>
              <a:gd name="T65" fmla="*/ 44 h 66"/>
              <a:gd name="T66" fmla="*/ 3 w 134"/>
              <a:gd name="T67" fmla="*/ 50 h 66"/>
              <a:gd name="T68" fmla="*/ 9 w 134"/>
              <a:gd name="T69" fmla="*/ 47 h 66"/>
              <a:gd name="T70" fmla="*/ 15 w 134"/>
              <a:gd name="T71" fmla="*/ 50 h 66"/>
              <a:gd name="T72" fmla="*/ 22 w 134"/>
              <a:gd name="T73" fmla="*/ 53 h 66"/>
              <a:gd name="T74" fmla="*/ 28 w 134"/>
              <a:gd name="T75" fmla="*/ 53 h 66"/>
              <a:gd name="T76" fmla="*/ 40 w 134"/>
              <a:gd name="T77" fmla="*/ 50 h 66"/>
              <a:gd name="T78" fmla="*/ 47 w 134"/>
              <a:gd name="T79" fmla="*/ 53 h 66"/>
              <a:gd name="T80" fmla="*/ 68 w 134"/>
              <a:gd name="T81" fmla="*/ 63 h 66"/>
              <a:gd name="T82" fmla="*/ 78 w 134"/>
              <a:gd name="T83" fmla="*/ 6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4" h="66">
                <a:moveTo>
                  <a:pt x="78" y="63"/>
                </a:moveTo>
                <a:lnTo>
                  <a:pt x="81" y="63"/>
                </a:lnTo>
                <a:lnTo>
                  <a:pt x="90" y="63"/>
                </a:lnTo>
                <a:lnTo>
                  <a:pt x="93" y="66"/>
                </a:lnTo>
                <a:lnTo>
                  <a:pt x="97" y="66"/>
                </a:lnTo>
                <a:lnTo>
                  <a:pt x="103" y="66"/>
                </a:lnTo>
                <a:lnTo>
                  <a:pt x="106" y="63"/>
                </a:lnTo>
                <a:lnTo>
                  <a:pt x="109" y="63"/>
                </a:lnTo>
                <a:lnTo>
                  <a:pt x="112" y="63"/>
                </a:lnTo>
                <a:lnTo>
                  <a:pt x="118" y="57"/>
                </a:lnTo>
                <a:lnTo>
                  <a:pt x="125" y="57"/>
                </a:lnTo>
                <a:lnTo>
                  <a:pt x="128" y="53"/>
                </a:lnTo>
                <a:lnTo>
                  <a:pt x="128" y="47"/>
                </a:lnTo>
                <a:lnTo>
                  <a:pt x="128" y="44"/>
                </a:lnTo>
                <a:lnTo>
                  <a:pt x="128" y="41"/>
                </a:lnTo>
                <a:lnTo>
                  <a:pt x="125" y="38"/>
                </a:lnTo>
                <a:lnTo>
                  <a:pt x="125" y="35"/>
                </a:lnTo>
                <a:lnTo>
                  <a:pt x="134" y="35"/>
                </a:lnTo>
                <a:lnTo>
                  <a:pt x="134" y="31"/>
                </a:lnTo>
                <a:lnTo>
                  <a:pt x="134" y="25"/>
                </a:lnTo>
                <a:lnTo>
                  <a:pt x="134" y="16"/>
                </a:lnTo>
                <a:lnTo>
                  <a:pt x="134" y="10"/>
                </a:lnTo>
                <a:lnTo>
                  <a:pt x="125" y="6"/>
                </a:lnTo>
                <a:lnTo>
                  <a:pt x="122" y="6"/>
                </a:lnTo>
                <a:lnTo>
                  <a:pt x="118" y="6"/>
                </a:lnTo>
                <a:lnTo>
                  <a:pt x="112" y="6"/>
                </a:lnTo>
                <a:lnTo>
                  <a:pt x="106" y="3"/>
                </a:lnTo>
                <a:lnTo>
                  <a:pt x="100" y="3"/>
                </a:lnTo>
                <a:lnTo>
                  <a:pt x="97" y="0"/>
                </a:lnTo>
                <a:lnTo>
                  <a:pt x="93" y="3"/>
                </a:lnTo>
                <a:lnTo>
                  <a:pt x="93" y="6"/>
                </a:lnTo>
                <a:lnTo>
                  <a:pt x="90" y="10"/>
                </a:lnTo>
                <a:lnTo>
                  <a:pt x="87" y="10"/>
                </a:lnTo>
                <a:lnTo>
                  <a:pt x="84" y="13"/>
                </a:lnTo>
                <a:lnTo>
                  <a:pt x="75" y="6"/>
                </a:lnTo>
                <a:lnTo>
                  <a:pt x="72" y="6"/>
                </a:lnTo>
                <a:lnTo>
                  <a:pt x="72" y="10"/>
                </a:lnTo>
                <a:lnTo>
                  <a:pt x="72" y="13"/>
                </a:lnTo>
                <a:lnTo>
                  <a:pt x="68" y="13"/>
                </a:lnTo>
                <a:lnTo>
                  <a:pt x="65" y="16"/>
                </a:lnTo>
                <a:lnTo>
                  <a:pt x="62" y="19"/>
                </a:lnTo>
                <a:lnTo>
                  <a:pt x="56" y="25"/>
                </a:lnTo>
                <a:lnTo>
                  <a:pt x="56" y="28"/>
                </a:lnTo>
                <a:lnTo>
                  <a:pt x="62" y="31"/>
                </a:lnTo>
                <a:lnTo>
                  <a:pt x="62" y="35"/>
                </a:lnTo>
                <a:lnTo>
                  <a:pt x="59" y="35"/>
                </a:lnTo>
                <a:lnTo>
                  <a:pt x="56" y="35"/>
                </a:lnTo>
                <a:lnTo>
                  <a:pt x="50" y="35"/>
                </a:lnTo>
                <a:lnTo>
                  <a:pt x="47" y="35"/>
                </a:lnTo>
                <a:lnTo>
                  <a:pt x="43" y="35"/>
                </a:lnTo>
                <a:lnTo>
                  <a:pt x="37" y="38"/>
                </a:lnTo>
                <a:lnTo>
                  <a:pt x="34" y="38"/>
                </a:lnTo>
                <a:lnTo>
                  <a:pt x="31" y="38"/>
                </a:lnTo>
                <a:lnTo>
                  <a:pt x="28" y="38"/>
                </a:lnTo>
                <a:lnTo>
                  <a:pt x="25" y="38"/>
                </a:lnTo>
                <a:lnTo>
                  <a:pt x="18" y="35"/>
                </a:lnTo>
                <a:lnTo>
                  <a:pt x="12" y="38"/>
                </a:lnTo>
                <a:lnTo>
                  <a:pt x="15" y="41"/>
                </a:lnTo>
                <a:lnTo>
                  <a:pt x="12" y="41"/>
                </a:lnTo>
                <a:lnTo>
                  <a:pt x="9" y="41"/>
                </a:lnTo>
                <a:lnTo>
                  <a:pt x="6" y="38"/>
                </a:lnTo>
                <a:lnTo>
                  <a:pt x="3" y="38"/>
                </a:lnTo>
                <a:lnTo>
                  <a:pt x="0" y="38"/>
                </a:lnTo>
                <a:lnTo>
                  <a:pt x="0" y="38"/>
                </a:lnTo>
                <a:lnTo>
                  <a:pt x="0" y="41"/>
                </a:lnTo>
                <a:lnTo>
                  <a:pt x="0" y="44"/>
                </a:lnTo>
                <a:lnTo>
                  <a:pt x="3" y="44"/>
                </a:lnTo>
                <a:lnTo>
                  <a:pt x="3" y="50"/>
                </a:lnTo>
                <a:lnTo>
                  <a:pt x="6" y="50"/>
                </a:lnTo>
                <a:lnTo>
                  <a:pt x="9" y="47"/>
                </a:lnTo>
                <a:lnTo>
                  <a:pt x="12" y="53"/>
                </a:lnTo>
                <a:lnTo>
                  <a:pt x="15" y="50"/>
                </a:lnTo>
                <a:lnTo>
                  <a:pt x="18" y="50"/>
                </a:lnTo>
                <a:lnTo>
                  <a:pt x="22" y="53"/>
                </a:lnTo>
                <a:lnTo>
                  <a:pt x="22" y="53"/>
                </a:lnTo>
                <a:lnTo>
                  <a:pt x="28" y="53"/>
                </a:lnTo>
                <a:lnTo>
                  <a:pt x="37" y="50"/>
                </a:lnTo>
                <a:lnTo>
                  <a:pt x="40" y="50"/>
                </a:lnTo>
                <a:lnTo>
                  <a:pt x="50" y="50"/>
                </a:lnTo>
                <a:lnTo>
                  <a:pt x="47" y="53"/>
                </a:lnTo>
                <a:lnTo>
                  <a:pt x="56" y="60"/>
                </a:lnTo>
                <a:lnTo>
                  <a:pt x="68" y="63"/>
                </a:lnTo>
                <a:lnTo>
                  <a:pt x="75" y="60"/>
                </a:lnTo>
                <a:lnTo>
                  <a:pt x="78" y="63"/>
                </a:lnTo>
                <a:lnTo>
                  <a:pt x="78" y="63"/>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6" name="Freeform 64">
            <a:extLst>
              <a:ext uri="{FF2B5EF4-FFF2-40B4-BE49-F238E27FC236}">
                <a16:creationId xmlns:a16="http://schemas.microsoft.com/office/drawing/2014/main" id="{A853D176-7B95-95F0-0F45-E7520FB6DEDD}"/>
              </a:ext>
            </a:extLst>
          </p:cNvPr>
          <p:cNvSpPr>
            <a:spLocks/>
          </p:cNvSpPr>
          <p:nvPr userDrawn="1"/>
        </p:nvSpPr>
        <p:spPr bwMode="auto">
          <a:xfrm>
            <a:off x="13934168" y="5533306"/>
            <a:ext cx="574641" cy="485776"/>
          </a:xfrm>
          <a:custGeom>
            <a:avLst/>
            <a:gdLst>
              <a:gd name="T0" fmla="*/ 109 w 181"/>
              <a:gd name="T1" fmla="*/ 153 h 153"/>
              <a:gd name="T2" fmla="*/ 115 w 181"/>
              <a:gd name="T3" fmla="*/ 147 h 153"/>
              <a:gd name="T4" fmla="*/ 122 w 181"/>
              <a:gd name="T5" fmla="*/ 147 h 153"/>
              <a:gd name="T6" fmla="*/ 131 w 181"/>
              <a:gd name="T7" fmla="*/ 150 h 153"/>
              <a:gd name="T8" fmla="*/ 134 w 181"/>
              <a:gd name="T9" fmla="*/ 147 h 153"/>
              <a:gd name="T10" fmla="*/ 140 w 181"/>
              <a:gd name="T11" fmla="*/ 147 h 153"/>
              <a:gd name="T12" fmla="*/ 156 w 181"/>
              <a:gd name="T13" fmla="*/ 153 h 153"/>
              <a:gd name="T14" fmla="*/ 162 w 181"/>
              <a:gd name="T15" fmla="*/ 147 h 153"/>
              <a:gd name="T16" fmla="*/ 172 w 181"/>
              <a:gd name="T17" fmla="*/ 128 h 153"/>
              <a:gd name="T18" fmla="*/ 178 w 181"/>
              <a:gd name="T19" fmla="*/ 119 h 153"/>
              <a:gd name="T20" fmla="*/ 181 w 181"/>
              <a:gd name="T21" fmla="*/ 112 h 153"/>
              <a:gd name="T22" fmla="*/ 178 w 181"/>
              <a:gd name="T23" fmla="*/ 106 h 153"/>
              <a:gd name="T24" fmla="*/ 175 w 181"/>
              <a:gd name="T25" fmla="*/ 103 h 153"/>
              <a:gd name="T26" fmla="*/ 172 w 181"/>
              <a:gd name="T27" fmla="*/ 94 h 153"/>
              <a:gd name="T28" fmla="*/ 172 w 181"/>
              <a:gd name="T29" fmla="*/ 78 h 153"/>
              <a:gd name="T30" fmla="*/ 165 w 181"/>
              <a:gd name="T31" fmla="*/ 65 h 153"/>
              <a:gd name="T32" fmla="*/ 172 w 181"/>
              <a:gd name="T33" fmla="*/ 59 h 153"/>
              <a:gd name="T34" fmla="*/ 172 w 181"/>
              <a:gd name="T35" fmla="*/ 47 h 153"/>
              <a:gd name="T36" fmla="*/ 165 w 181"/>
              <a:gd name="T37" fmla="*/ 37 h 153"/>
              <a:gd name="T38" fmla="*/ 159 w 181"/>
              <a:gd name="T39" fmla="*/ 22 h 153"/>
              <a:gd name="T40" fmla="*/ 159 w 181"/>
              <a:gd name="T41" fmla="*/ 12 h 153"/>
              <a:gd name="T42" fmla="*/ 153 w 181"/>
              <a:gd name="T43" fmla="*/ 6 h 153"/>
              <a:gd name="T44" fmla="*/ 100 w 181"/>
              <a:gd name="T45" fmla="*/ 9 h 153"/>
              <a:gd name="T46" fmla="*/ 90 w 181"/>
              <a:gd name="T47" fmla="*/ 15 h 153"/>
              <a:gd name="T48" fmla="*/ 84 w 181"/>
              <a:gd name="T49" fmla="*/ 15 h 153"/>
              <a:gd name="T50" fmla="*/ 97 w 181"/>
              <a:gd name="T51" fmla="*/ 6 h 153"/>
              <a:gd name="T52" fmla="*/ 90 w 181"/>
              <a:gd name="T53" fmla="*/ 12 h 153"/>
              <a:gd name="T54" fmla="*/ 75 w 181"/>
              <a:gd name="T55" fmla="*/ 12 h 153"/>
              <a:gd name="T56" fmla="*/ 75 w 181"/>
              <a:gd name="T57" fmla="*/ 3 h 153"/>
              <a:gd name="T58" fmla="*/ 81 w 181"/>
              <a:gd name="T59" fmla="*/ 6 h 153"/>
              <a:gd name="T60" fmla="*/ 75 w 181"/>
              <a:gd name="T61" fmla="*/ 3 h 153"/>
              <a:gd name="T62" fmla="*/ 56 w 181"/>
              <a:gd name="T63" fmla="*/ 3 h 153"/>
              <a:gd name="T64" fmla="*/ 47 w 181"/>
              <a:gd name="T65" fmla="*/ 6 h 153"/>
              <a:gd name="T66" fmla="*/ 37 w 181"/>
              <a:gd name="T67" fmla="*/ 9 h 153"/>
              <a:gd name="T68" fmla="*/ 34 w 181"/>
              <a:gd name="T69" fmla="*/ 19 h 153"/>
              <a:gd name="T70" fmla="*/ 18 w 181"/>
              <a:gd name="T71" fmla="*/ 22 h 153"/>
              <a:gd name="T72" fmla="*/ 9 w 181"/>
              <a:gd name="T73" fmla="*/ 28 h 153"/>
              <a:gd name="T74" fmla="*/ 6 w 181"/>
              <a:gd name="T75" fmla="*/ 34 h 153"/>
              <a:gd name="T76" fmla="*/ 6 w 181"/>
              <a:gd name="T77" fmla="*/ 34 h 153"/>
              <a:gd name="T78" fmla="*/ 6 w 181"/>
              <a:gd name="T79" fmla="*/ 50 h 153"/>
              <a:gd name="T80" fmla="*/ 0 w 181"/>
              <a:gd name="T81" fmla="*/ 56 h 153"/>
              <a:gd name="T82" fmla="*/ 6 w 181"/>
              <a:gd name="T83" fmla="*/ 65 h 153"/>
              <a:gd name="T84" fmla="*/ 9 w 181"/>
              <a:gd name="T85" fmla="*/ 75 h 153"/>
              <a:gd name="T86" fmla="*/ 9 w 181"/>
              <a:gd name="T87" fmla="*/ 81 h 153"/>
              <a:gd name="T88" fmla="*/ 15 w 181"/>
              <a:gd name="T89" fmla="*/ 91 h 153"/>
              <a:gd name="T90" fmla="*/ 18 w 181"/>
              <a:gd name="T91" fmla="*/ 103 h 153"/>
              <a:gd name="T92" fmla="*/ 18 w 181"/>
              <a:gd name="T93" fmla="*/ 109 h 153"/>
              <a:gd name="T94" fmla="*/ 22 w 181"/>
              <a:gd name="T95" fmla="*/ 106 h 153"/>
              <a:gd name="T96" fmla="*/ 34 w 181"/>
              <a:gd name="T97" fmla="*/ 106 h 153"/>
              <a:gd name="T98" fmla="*/ 37 w 181"/>
              <a:gd name="T99" fmla="*/ 112 h 153"/>
              <a:gd name="T100" fmla="*/ 43 w 181"/>
              <a:gd name="T101" fmla="*/ 116 h 153"/>
              <a:gd name="T102" fmla="*/ 40 w 181"/>
              <a:gd name="T103" fmla="*/ 122 h 153"/>
              <a:gd name="T104" fmla="*/ 43 w 181"/>
              <a:gd name="T105" fmla="*/ 128 h 153"/>
              <a:gd name="T106" fmla="*/ 47 w 181"/>
              <a:gd name="T107" fmla="*/ 125 h 153"/>
              <a:gd name="T108" fmla="*/ 47 w 181"/>
              <a:gd name="T109" fmla="*/ 119 h 153"/>
              <a:gd name="T110" fmla="*/ 56 w 181"/>
              <a:gd name="T111" fmla="*/ 125 h 153"/>
              <a:gd name="T112" fmla="*/ 62 w 181"/>
              <a:gd name="T113" fmla="*/ 125 h 153"/>
              <a:gd name="T114" fmla="*/ 72 w 181"/>
              <a:gd name="T115" fmla="*/ 128 h 153"/>
              <a:gd name="T116" fmla="*/ 90 w 181"/>
              <a:gd name="T117" fmla="*/ 137 h 153"/>
              <a:gd name="T118" fmla="*/ 97 w 181"/>
              <a:gd name="T119" fmla="*/ 144 h 153"/>
              <a:gd name="T120" fmla="*/ 106 w 181"/>
              <a:gd name="T121" fmla="*/ 144 h 153"/>
              <a:gd name="T122" fmla="*/ 109 w 181"/>
              <a:gd name="T123" fmla="*/ 1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 h="153">
                <a:moveTo>
                  <a:pt x="109" y="150"/>
                </a:moveTo>
                <a:lnTo>
                  <a:pt x="109" y="153"/>
                </a:lnTo>
                <a:lnTo>
                  <a:pt x="112" y="153"/>
                </a:lnTo>
                <a:lnTo>
                  <a:pt x="115" y="147"/>
                </a:lnTo>
                <a:lnTo>
                  <a:pt x="118" y="147"/>
                </a:lnTo>
                <a:lnTo>
                  <a:pt x="122" y="147"/>
                </a:lnTo>
                <a:lnTo>
                  <a:pt x="128" y="147"/>
                </a:lnTo>
                <a:lnTo>
                  <a:pt x="131" y="150"/>
                </a:lnTo>
                <a:lnTo>
                  <a:pt x="131" y="147"/>
                </a:lnTo>
                <a:lnTo>
                  <a:pt x="134" y="147"/>
                </a:lnTo>
                <a:lnTo>
                  <a:pt x="137" y="147"/>
                </a:lnTo>
                <a:lnTo>
                  <a:pt x="140" y="147"/>
                </a:lnTo>
                <a:lnTo>
                  <a:pt x="147" y="147"/>
                </a:lnTo>
                <a:lnTo>
                  <a:pt x="156" y="153"/>
                </a:lnTo>
                <a:lnTo>
                  <a:pt x="159" y="153"/>
                </a:lnTo>
                <a:lnTo>
                  <a:pt x="162" y="147"/>
                </a:lnTo>
                <a:lnTo>
                  <a:pt x="159" y="141"/>
                </a:lnTo>
                <a:lnTo>
                  <a:pt x="172" y="128"/>
                </a:lnTo>
                <a:lnTo>
                  <a:pt x="175" y="122"/>
                </a:lnTo>
                <a:lnTo>
                  <a:pt x="178" y="119"/>
                </a:lnTo>
                <a:lnTo>
                  <a:pt x="181" y="119"/>
                </a:lnTo>
                <a:lnTo>
                  <a:pt x="181" y="112"/>
                </a:lnTo>
                <a:lnTo>
                  <a:pt x="181" y="109"/>
                </a:lnTo>
                <a:lnTo>
                  <a:pt x="178" y="106"/>
                </a:lnTo>
                <a:lnTo>
                  <a:pt x="181" y="103"/>
                </a:lnTo>
                <a:lnTo>
                  <a:pt x="175" y="103"/>
                </a:lnTo>
                <a:lnTo>
                  <a:pt x="175" y="97"/>
                </a:lnTo>
                <a:lnTo>
                  <a:pt x="172" y="94"/>
                </a:lnTo>
                <a:lnTo>
                  <a:pt x="172" y="84"/>
                </a:lnTo>
                <a:lnTo>
                  <a:pt x="172" y="78"/>
                </a:lnTo>
                <a:lnTo>
                  <a:pt x="168" y="72"/>
                </a:lnTo>
                <a:lnTo>
                  <a:pt x="165" y="65"/>
                </a:lnTo>
                <a:lnTo>
                  <a:pt x="168" y="62"/>
                </a:lnTo>
                <a:lnTo>
                  <a:pt x="172" y="59"/>
                </a:lnTo>
                <a:lnTo>
                  <a:pt x="172" y="47"/>
                </a:lnTo>
                <a:lnTo>
                  <a:pt x="172" y="47"/>
                </a:lnTo>
                <a:lnTo>
                  <a:pt x="168" y="40"/>
                </a:lnTo>
                <a:lnTo>
                  <a:pt x="165" y="37"/>
                </a:lnTo>
                <a:lnTo>
                  <a:pt x="165" y="28"/>
                </a:lnTo>
                <a:lnTo>
                  <a:pt x="159" y="22"/>
                </a:lnTo>
                <a:lnTo>
                  <a:pt x="162" y="19"/>
                </a:lnTo>
                <a:lnTo>
                  <a:pt x="159" y="12"/>
                </a:lnTo>
                <a:lnTo>
                  <a:pt x="156" y="9"/>
                </a:lnTo>
                <a:lnTo>
                  <a:pt x="153" y="6"/>
                </a:lnTo>
                <a:lnTo>
                  <a:pt x="125" y="9"/>
                </a:lnTo>
                <a:lnTo>
                  <a:pt x="100" y="9"/>
                </a:lnTo>
                <a:lnTo>
                  <a:pt x="100" y="9"/>
                </a:lnTo>
                <a:lnTo>
                  <a:pt x="90" y="15"/>
                </a:lnTo>
                <a:lnTo>
                  <a:pt x="87" y="15"/>
                </a:lnTo>
                <a:lnTo>
                  <a:pt x="84" y="15"/>
                </a:lnTo>
                <a:lnTo>
                  <a:pt x="90" y="12"/>
                </a:lnTo>
                <a:lnTo>
                  <a:pt x="97" y="6"/>
                </a:lnTo>
                <a:lnTo>
                  <a:pt x="93" y="6"/>
                </a:lnTo>
                <a:lnTo>
                  <a:pt x="90" y="12"/>
                </a:lnTo>
                <a:lnTo>
                  <a:pt x="81" y="15"/>
                </a:lnTo>
                <a:lnTo>
                  <a:pt x="75" y="12"/>
                </a:lnTo>
                <a:lnTo>
                  <a:pt x="72" y="6"/>
                </a:lnTo>
                <a:lnTo>
                  <a:pt x="75" y="3"/>
                </a:lnTo>
                <a:lnTo>
                  <a:pt x="78" y="6"/>
                </a:lnTo>
                <a:lnTo>
                  <a:pt x="81" y="6"/>
                </a:lnTo>
                <a:lnTo>
                  <a:pt x="81" y="6"/>
                </a:lnTo>
                <a:lnTo>
                  <a:pt x="75" y="3"/>
                </a:lnTo>
                <a:lnTo>
                  <a:pt x="65" y="0"/>
                </a:lnTo>
                <a:lnTo>
                  <a:pt x="56" y="3"/>
                </a:lnTo>
                <a:lnTo>
                  <a:pt x="53" y="3"/>
                </a:lnTo>
                <a:lnTo>
                  <a:pt x="47" y="6"/>
                </a:lnTo>
                <a:lnTo>
                  <a:pt x="43" y="9"/>
                </a:lnTo>
                <a:lnTo>
                  <a:pt x="37" y="9"/>
                </a:lnTo>
                <a:lnTo>
                  <a:pt x="34" y="15"/>
                </a:lnTo>
                <a:lnTo>
                  <a:pt x="34" y="19"/>
                </a:lnTo>
                <a:lnTo>
                  <a:pt x="28" y="19"/>
                </a:lnTo>
                <a:lnTo>
                  <a:pt x="18" y="22"/>
                </a:lnTo>
                <a:lnTo>
                  <a:pt x="12" y="22"/>
                </a:lnTo>
                <a:lnTo>
                  <a:pt x="9" y="28"/>
                </a:lnTo>
                <a:lnTo>
                  <a:pt x="6" y="31"/>
                </a:lnTo>
                <a:lnTo>
                  <a:pt x="6" y="34"/>
                </a:lnTo>
                <a:lnTo>
                  <a:pt x="6" y="34"/>
                </a:lnTo>
                <a:lnTo>
                  <a:pt x="6" y="34"/>
                </a:lnTo>
                <a:lnTo>
                  <a:pt x="6" y="44"/>
                </a:lnTo>
                <a:lnTo>
                  <a:pt x="6" y="50"/>
                </a:lnTo>
                <a:lnTo>
                  <a:pt x="0" y="53"/>
                </a:lnTo>
                <a:lnTo>
                  <a:pt x="0" y="56"/>
                </a:lnTo>
                <a:lnTo>
                  <a:pt x="6" y="62"/>
                </a:lnTo>
                <a:lnTo>
                  <a:pt x="6" y="65"/>
                </a:lnTo>
                <a:lnTo>
                  <a:pt x="9" y="72"/>
                </a:lnTo>
                <a:lnTo>
                  <a:pt x="9" y="75"/>
                </a:lnTo>
                <a:lnTo>
                  <a:pt x="9" y="78"/>
                </a:lnTo>
                <a:lnTo>
                  <a:pt x="9" y="81"/>
                </a:lnTo>
                <a:lnTo>
                  <a:pt x="12" y="87"/>
                </a:lnTo>
                <a:lnTo>
                  <a:pt x="15" y="91"/>
                </a:lnTo>
                <a:lnTo>
                  <a:pt x="18" y="94"/>
                </a:lnTo>
                <a:lnTo>
                  <a:pt x="18" y="103"/>
                </a:lnTo>
                <a:lnTo>
                  <a:pt x="15" y="106"/>
                </a:lnTo>
                <a:lnTo>
                  <a:pt x="18" y="109"/>
                </a:lnTo>
                <a:lnTo>
                  <a:pt x="18" y="106"/>
                </a:lnTo>
                <a:lnTo>
                  <a:pt x="22" y="106"/>
                </a:lnTo>
                <a:lnTo>
                  <a:pt x="25" y="106"/>
                </a:lnTo>
                <a:lnTo>
                  <a:pt x="34" y="106"/>
                </a:lnTo>
                <a:lnTo>
                  <a:pt x="34" y="109"/>
                </a:lnTo>
                <a:lnTo>
                  <a:pt x="37" y="112"/>
                </a:lnTo>
                <a:lnTo>
                  <a:pt x="40" y="112"/>
                </a:lnTo>
                <a:lnTo>
                  <a:pt x="43" y="116"/>
                </a:lnTo>
                <a:lnTo>
                  <a:pt x="40" y="119"/>
                </a:lnTo>
                <a:lnTo>
                  <a:pt x="40" y="122"/>
                </a:lnTo>
                <a:lnTo>
                  <a:pt x="43" y="122"/>
                </a:lnTo>
                <a:lnTo>
                  <a:pt x="43" y="128"/>
                </a:lnTo>
                <a:lnTo>
                  <a:pt x="47" y="128"/>
                </a:lnTo>
                <a:lnTo>
                  <a:pt x="47" y="125"/>
                </a:lnTo>
                <a:lnTo>
                  <a:pt x="50" y="125"/>
                </a:lnTo>
                <a:lnTo>
                  <a:pt x="47" y="119"/>
                </a:lnTo>
                <a:lnTo>
                  <a:pt x="47" y="119"/>
                </a:lnTo>
                <a:lnTo>
                  <a:pt x="56" y="125"/>
                </a:lnTo>
                <a:lnTo>
                  <a:pt x="62" y="122"/>
                </a:lnTo>
                <a:lnTo>
                  <a:pt x="62" y="125"/>
                </a:lnTo>
                <a:lnTo>
                  <a:pt x="65" y="131"/>
                </a:lnTo>
                <a:lnTo>
                  <a:pt x="72" y="128"/>
                </a:lnTo>
                <a:lnTo>
                  <a:pt x="78" y="131"/>
                </a:lnTo>
                <a:lnTo>
                  <a:pt x="90" y="137"/>
                </a:lnTo>
                <a:lnTo>
                  <a:pt x="93" y="144"/>
                </a:lnTo>
                <a:lnTo>
                  <a:pt x="97" y="144"/>
                </a:lnTo>
                <a:lnTo>
                  <a:pt x="100" y="144"/>
                </a:lnTo>
                <a:lnTo>
                  <a:pt x="106" y="144"/>
                </a:lnTo>
                <a:lnTo>
                  <a:pt x="109" y="147"/>
                </a:lnTo>
                <a:lnTo>
                  <a:pt x="109" y="150"/>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7" name="Freeform 65">
            <a:extLst>
              <a:ext uri="{FF2B5EF4-FFF2-40B4-BE49-F238E27FC236}">
                <a16:creationId xmlns:a16="http://schemas.microsoft.com/office/drawing/2014/main" id="{D0EED0F1-2DF2-07D5-4365-4462ECF724FC}"/>
              </a:ext>
            </a:extLst>
          </p:cNvPr>
          <p:cNvSpPr>
            <a:spLocks/>
          </p:cNvSpPr>
          <p:nvPr userDrawn="1"/>
        </p:nvSpPr>
        <p:spPr bwMode="auto">
          <a:xfrm>
            <a:off x="13823046" y="5869863"/>
            <a:ext cx="457170" cy="200026"/>
          </a:xfrm>
          <a:custGeom>
            <a:avLst/>
            <a:gdLst>
              <a:gd name="T0" fmla="*/ 53 w 144"/>
              <a:gd name="T1" fmla="*/ 3 h 63"/>
              <a:gd name="T2" fmla="*/ 57 w 144"/>
              <a:gd name="T3" fmla="*/ 0 h 63"/>
              <a:gd name="T4" fmla="*/ 69 w 144"/>
              <a:gd name="T5" fmla="*/ 0 h 63"/>
              <a:gd name="T6" fmla="*/ 72 w 144"/>
              <a:gd name="T7" fmla="*/ 6 h 63"/>
              <a:gd name="T8" fmla="*/ 78 w 144"/>
              <a:gd name="T9" fmla="*/ 10 h 63"/>
              <a:gd name="T10" fmla="*/ 75 w 144"/>
              <a:gd name="T11" fmla="*/ 16 h 63"/>
              <a:gd name="T12" fmla="*/ 78 w 144"/>
              <a:gd name="T13" fmla="*/ 22 h 63"/>
              <a:gd name="T14" fmla="*/ 82 w 144"/>
              <a:gd name="T15" fmla="*/ 19 h 63"/>
              <a:gd name="T16" fmla="*/ 82 w 144"/>
              <a:gd name="T17" fmla="*/ 13 h 63"/>
              <a:gd name="T18" fmla="*/ 91 w 144"/>
              <a:gd name="T19" fmla="*/ 19 h 63"/>
              <a:gd name="T20" fmla="*/ 97 w 144"/>
              <a:gd name="T21" fmla="*/ 19 h 63"/>
              <a:gd name="T22" fmla="*/ 107 w 144"/>
              <a:gd name="T23" fmla="*/ 22 h 63"/>
              <a:gd name="T24" fmla="*/ 125 w 144"/>
              <a:gd name="T25" fmla="*/ 31 h 63"/>
              <a:gd name="T26" fmla="*/ 132 w 144"/>
              <a:gd name="T27" fmla="*/ 38 h 63"/>
              <a:gd name="T28" fmla="*/ 141 w 144"/>
              <a:gd name="T29" fmla="*/ 38 h 63"/>
              <a:gd name="T30" fmla="*/ 144 w 144"/>
              <a:gd name="T31" fmla="*/ 44 h 63"/>
              <a:gd name="T32" fmla="*/ 132 w 144"/>
              <a:gd name="T33" fmla="*/ 47 h 63"/>
              <a:gd name="T34" fmla="*/ 119 w 144"/>
              <a:gd name="T35" fmla="*/ 53 h 63"/>
              <a:gd name="T36" fmla="*/ 107 w 144"/>
              <a:gd name="T37" fmla="*/ 60 h 63"/>
              <a:gd name="T38" fmla="*/ 100 w 144"/>
              <a:gd name="T39" fmla="*/ 56 h 63"/>
              <a:gd name="T40" fmla="*/ 85 w 144"/>
              <a:gd name="T41" fmla="*/ 56 h 63"/>
              <a:gd name="T42" fmla="*/ 78 w 144"/>
              <a:gd name="T43" fmla="*/ 56 h 63"/>
              <a:gd name="T44" fmla="*/ 66 w 144"/>
              <a:gd name="T45" fmla="*/ 53 h 63"/>
              <a:gd name="T46" fmla="*/ 57 w 144"/>
              <a:gd name="T47" fmla="*/ 50 h 63"/>
              <a:gd name="T48" fmla="*/ 53 w 144"/>
              <a:gd name="T49" fmla="*/ 56 h 63"/>
              <a:gd name="T50" fmla="*/ 47 w 144"/>
              <a:gd name="T51" fmla="*/ 60 h 63"/>
              <a:gd name="T52" fmla="*/ 35 w 144"/>
              <a:gd name="T53" fmla="*/ 56 h 63"/>
              <a:gd name="T54" fmla="*/ 32 w 144"/>
              <a:gd name="T55" fmla="*/ 56 h 63"/>
              <a:gd name="T56" fmla="*/ 19 w 144"/>
              <a:gd name="T57" fmla="*/ 44 h 63"/>
              <a:gd name="T58" fmla="*/ 10 w 144"/>
              <a:gd name="T59" fmla="*/ 38 h 63"/>
              <a:gd name="T60" fmla="*/ 10 w 144"/>
              <a:gd name="T61" fmla="*/ 28 h 63"/>
              <a:gd name="T62" fmla="*/ 0 w 144"/>
              <a:gd name="T63" fmla="*/ 19 h 63"/>
              <a:gd name="T64" fmla="*/ 0 w 144"/>
              <a:gd name="T65" fmla="*/ 16 h 63"/>
              <a:gd name="T66" fmla="*/ 7 w 144"/>
              <a:gd name="T67" fmla="*/ 19 h 63"/>
              <a:gd name="T68" fmla="*/ 16 w 144"/>
              <a:gd name="T69" fmla="*/ 13 h 63"/>
              <a:gd name="T70" fmla="*/ 25 w 144"/>
              <a:gd name="T71" fmla="*/ 6 h 63"/>
              <a:gd name="T72" fmla="*/ 35 w 144"/>
              <a:gd name="T73" fmla="*/ 3 h 63"/>
              <a:gd name="T74" fmla="*/ 38 w 144"/>
              <a:gd name="T75" fmla="*/ 3 h 63"/>
              <a:gd name="T76" fmla="*/ 44 w 144"/>
              <a:gd name="T77" fmla="*/ 0 h 63"/>
              <a:gd name="T78" fmla="*/ 50 w 144"/>
              <a:gd name="T7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4" h="63">
                <a:moveTo>
                  <a:pt x="50" y="0"/>
                </a:moveTo>
                <a:lnTo>
                  <a:pt x="53" y="3"/>
                </a:lnTo>
                <a:lnTo>
                  <a:pt x="53" y="0"/>
                </a:lnTo>
                <a:lnTo>
                  <a:pt x="57" y="0"/>
                </a:lnTo>
                <a:lnTo>
                  <a:pt x="60" y="0"/>
                </a:lnTo>
                <a:lnTo>
                  <a:pt x="69" y="0"/>
                </a:lnTo>
                <a:lnTo>
                  <a:pt x="69" y="3"/>
                </a:lnTo>
                <a:lnTo>
                  <a:pt x="72" y="6"/>
                </a:lnTo>
                <a:lnTo>
                  <a:pt x="75" y="6"/>
                </a:lnTo>
                <a:lnTo>
                  <a:pt x="78" y="10"/>
                </a:lnTo>
                <a:lnTo>
                  <a:pt x="75" y="13"/>
                </a:lnTo>
                <a:lnTo>
                  <a:pt x="75" y="16"/>
                </a:lnTo>
                <a:lnTo>
                  <a:pt x="78" y="16"/>
                </a:lnTo>
                <a:lnTo>
                  <a:pt x="78" y="22"/>
                </a:lnTo>
                <a:lnTo>
                  <a:pt x="82" y="22"/>
                </a:lnTo>
                <a:lnTo>
                  <a:pt x="82" y="19"/>
                </a:lnTo>
                <a:lnTo>
                  <a:pt x="85" y="19"/>
                </a:lnTo>
                <a:lnTo>
                  <a:pt x="82" y="13"/>
                </a:lnTo>
                <a:lnTo>
                  <a:pt x="82" y="13"/>
                </a:lnTo>
                <a:lnTo>
                  <a:pt x="91" y="19"/>
                </a:lnTo>
                <a:lnTo>
                  <a:pt x="97" y="16"/>
                </a:lnTo>
                <a:lnTo>
                  <a:pt x="97" y="19"/>
                </a:lnTo>
                <a:lnTo>
                  <a:pt x="100" y="25"/>
                </a:lnTo>
                <a:lnTo>
                  <a:pt x="107" y="22"/>
                </a:lnTo>
                <a:lnTo>
                  <a:pt x="113" y="25"/>
                </a:lnTo>
                <a:lnTo>
                  <a:pt x="125" y="31"/>
                </a:lnTo>
                <a:lnTo>
                  <a:pt x="128" y="38"/>
                </a:lnTo>
                <a:lnTo>
                  <a:pt x="132" y="38"/>
                </a:lnTo>
                <a:lnTo>
                  <a:pt x="135" y="38"/>
                </a:lnTo>
                <a:lnTo>
                  <a:pt x="141" y="38"/>
                </a:lnTo>
                <a:lnTo>
                  <a:pt x="144" y="41"/>
                </a:lnTo>
                <a:lnTo>
                  <a:pt x="144" y="44"/>
                </a:lnTo>
                <a:lnTo>
                  <a:pt x="135" y="44"/>
                </a:lnTo>
                <a:lnTo>
                  <a:pt x="132" y="47"/>
                </a:lnTo>
                <a:lnTo>
                  <a:pt x="125" y="50"/>
                </a:lnTo>
                <a:lnTo>
                  <a:pt x="119" y="53"/>
                </a:lnTo>
                <a:lnTo>
                  <a:pt x="113" y="56"/>
                </a:lnTo>
                <a:lnTo>
                  <a:pt x="107" y="60"/>
                </a:lnTo>
                <a:lnTo>
                  <a:pt x="103" y="56"/>
                </a:lnTo>
                <a:lnTo>
                  <a:pt x="100" y="56"/>
                </a:lnTo>
                <a:lnTo>
                  <a:pt x="94" y="60"/>
                </a:lnTo>
                <a:lnTo>
                  <a:pt x="85" y="56"/>
                </a:lnTo>
                <a:lnTo>
                  <a:pt x="82" y="56"/>
                </a:lnTo>
                <a:lnTo>
                  <a:pt x="78" y="56"/>
                </a:lnTo>
                <a:lnTo>
                  <a:pt x="72" y="56"/>
                </a:lnTo>
                <a:lnTo>
                  <a:pt x="66" y="53"/>
                </a:lnTo>
                <a:lnTo>
                  <a:pt x="60" y="53"/>
                </a:lnTo>
                <a:lnTo>
                  <a:pt x="57" y="50"/>
                </a:lnTo>
                <a:lnTo>
                  <a:pt x="53" y="53"/>
                </a:lnTo>
                <a:lnTo>
                  <a:pt x="53" y="56"/>
                </a:lnTo>
                <a:lnTo>
                  <a:pt x="50" y="60"/>
                </a:lnTo>
                <a:lnTo>
                  <a:pt x="47" y="60"/>
                </a:lnTo>
                <a:lnTo>
                  <a:pt x="44" y="63"/>
                </a:lnTo>
                <a:lnTo>
                  <a:pt x="35" y="56"/>
                </a:lnTo>
                <a:lnTo>
                  <a:pt x="32" y="56"/>
                </a:lnTo>
                <a:lnTo>
                  <a:pt x="32" y="56"/>
                </a:lnTo>
                <a:lnTo>
                  <a:pt x="25" y="47"/>
                </a:lnTo>
                <a:lnTo>
                  <a:pt x="19" y="44"/>
                </a:lnTo>
                <a:lnTo>
                  <a:pt x="13" y="41"/>
                </a:lnTo>
                <a:lnTo>
                  <a:pt x="10" y="38"/>
                </a:lnTo>
                <a:lnTo>
                  <a:pt x="10" y="35"/>
                </a:lnTo>
                <a:lnTo>
                  <a:pt x="10" y="28"/>
                </a:lnTo>
                <a:lnTo>
                  <a:pt x="3" y="22"/>
                </a:lnTo>
                <a:lnTo>
                  <a:pt x="0" y="19"/>
                </a:lnTo>
                <a:lnTo>
                  <a:pt x="0" y="16"/>
                </a:lnTo>
                <a:lnTo>
                  <a:pt x="0" y="16"/>
                </a:lnTo>
                <a:lnTo>
                  <a:pt x="3" y="19"/>
                </a:lnTo>
                <a:lnTo>
                  <a:pt x="7" y="19"/>
                </a:lnTo>
                <a:lnTo>
                  <a:pt x="13" y="13"/>
                </a:lnTo>
                <a:lnTo>
                  <a:pt x="16" y="13"/>
                </a:lnTo>
                <a:lnTo>
                  <a:pt x="19" y="6"/>
                </a:lnTo>
                <a:lnTo>
                  <a:pt x="25" y="6"/>
                </a:lnTo>
                <a:lnTo>
                  <a:pt x="25" y="3"/>
                </a:lnTo>
                <a:lnTo>
                  <a:pt x="35" y="3"/>
                </a:lnTo>
                <a:lnTo>
                  <a:pt x="35" y="6"/>
                </a:lnTo>
                <a:lnTo>
                  <a:pt x="38" y="3"/>
                </a:lnTo>
                <a:lnTo>
                  <a:pt x="38" y="0"/>
                </a:lnTo>
                <a:lnTo>
                  <a:pt x="44" y="0"/>
                </a:lnTo>
                <a:lnTo>
                  <a:pt x="47" y="0"/>
                </a:lnTo>
                <a:lnTo>
                  <a:pt x="50" y="0"/>
                </a:lnTo>
                <a:lnTo>
                  <a:pt x="50" y="0"/>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8" name="Freeform 66">
            <a:extLst>
              <a:ext uri="{FF2B5EF4-FFF2-40B4-BE49-F238E27FC236}">
                <a16:creationId xmlns:a16="http://schemas.microsoft.com/office/drawing/2014/main" id="{3BAF052D-6FEE-BAA5-C27F-8C70DFCE5D77}"/>
              </a:ext>
            </a:extLst>
          </p:cNvPr>
          <p:cNvSpPr>
            <a:spLocks/>
          </p:cNvSpPr>
          <p:nvPr userDrawn="1"/>
        </p:nvSpPr>
        <p:spPr bwMode="auto">
          <a:xfrm>
            <a:off x="13467470" y="5533311"/>
            <a:ext cx="523844" cy="625478"/>
          </a:xfrm>
          <a:custGeom>
            <a:avLst/>
            <a:gdLst>
              <a:gd name="T0" fmla="*/ 59 w 165"/>
              <a:gd name="T1" fmla="*/ 3 h 197"/>
              <a:gd name="T2" fmla="*/ 69 w 165"/>
              <a:gd name="T3" fmla="*/ 12 h 197"/>
              <a:gd name="T4" fmla="*/ 72 w 165"/>
              <a:gd name="T5" fmla="*/ 22 h 197"/>
              <a:gd name="T6" fmla="*/ 81 w 165"/>
              <a:gd name="T7" fmla="*/ 19 h 197"/>
              <a:gd name="T8" fmla="*/ 90 w 165"/>
              <a:gd name="T9" fmla="*/ 19 h 197"/>
              <a:gd name="T10" fmla="*/ 84 w 165"/>
              <a:gd name="T11" fmla="*/ 25 h 197"/>
              <a:gd name="T12" fmla="*/ 94 w 165"/>
              <a:gd name="T13" fmla="*/ 28 h 197"/>
              <a:gd name="T14" fmla="*/ 109 w 165"/>
              <a:gd name="T15" fmla="*/ 22 h 197"/>
              <a:gd name="T16" fmla="*/ 115 w 165"/>
              <a:gd name="T17" fmla="*/ 15 h 197"/>
              <a:gd name="T18" fmla="*/ 115 w 165"/>
              <a:gd name="T19" fmla="*/ 19 h 197"/>
              <a:gd name="T20" fmla="*/ 122 w 165"/>
              <a:gd name="T21" fmla="*/ 19 h 197"/>
              <a:gd name="T22" fmla="*/ 134 w 165"/>
              <a:gd name="T23" fmla="*/ 25 h 197"/>
              <a:gd name="T24" fmla="*/ 144 w 165"/>
              <a:gd name="T25" fmla="*/ 34 h 197"/>
              <a:gd name="T26" fmla="*/ 153 w 165"/>
              <a:gd name="T27" fmla="*/ 44 h 197"/>
              <a:gd name="T28" fmla="*/ 153 w 165"/>
              <a:gd name="T29" fmla="*/ 62 h 197"/>
              <a:gd name="T30" fmla="*/ 156 w 165"/>
              <a:gd name="T31" fmla="*/ 78 h 197"/>
              <a:gd name="T32" fmla="*/ 165 w 165"/>
              <a:gd name="T33" fmla="*/ 94 h 197"/>
              <a:gd name="T34" fmla="*/ 156 w 165"/>
              <a:gd name="T35" fmla="*/ 106 h 197"/>
              <a:gd name="T36" fmla="*/ 147 w 165"/>
              <a:gd name="T37" fmla="*/ 109 h 197"/>
              <a:gd name="T38" fmla="*/ 128 w 165"/>
              <a:gd name="T39" fmla="*/ 119 h 197"/>
              <a:gd name="T40" fmla="*/ 112 w 165"/>
              <a:gd name="T41" fmla="*/ 122 h 197"/>
              <a:gd name="T42" fmla="*/ 122 w 165"/>
              <a:gd name="T43" fmla="*/ 134 h 197"/>
              <a:gd name="T44" fmla="*/ 131 w 165"/>
              <a:gd name="T45" fmla="*/ 150 h 197"/>
              <a:gd name="T46" fmla="*/ 144 w 165"/>
              <a:gd name="T47" fmla="*/ 169 h 197"/>
              <a:gd name="T48" fmla="*/ 128 w 165"/>
              <a:gd name="T49" fmla="*/ 181 h 197"/>
              <a:gd name="T50" fmla="*/ 131 w 165"/>
              <a:gd name="T51" fmla="*/ 191 h 197"/>
              <a:gd name="T52" fmla="*/ 115 w 165"/>
              <a:gd name="T53" fmla="*/ 191 h 197"/>
              <a:gd name="T54" fmla="*/ 100 w 165"/>
              <a:gd name="T55" fmla="*/ 194 h 197"/>
              <a:gd name="T56" fmla="*/ 87 w 165"/>
              <a:gd name="T57" fmla="*/ 197 h 197"/>
              <a:gd name="T58" fmla="*/ 75 w 165"/>
              <a:gd name="T59" fmla="*/ 194 h 197"/>
              <a:gd name="T60" fmla="*/ 62 w 165"/>
              <a:gd name="T61" fmla="*/ 191 h 197"/>
              <a:gd name="T62" fmla="*/ 56 w 165"/>
              <a:gd name="T63" fmla="*/ 187 h 197"/>
              <a:gd name="T64" fmla="*/ 44 w 165"/>
              <a:gd name="T65" fmla="*/ 191 h 197"/>
              <a:gd name="T66" fmla="*/ 37 w 165"/>
              <a:gd name="T67" fmla="*/ 187 h 197"/>
              <a:gd name="T68" fmla="*/ 37 w 165"/>
              <a:gd name="T69" fmla="*/ 172 h 197"/>
              <a:gd name="T70" fmla="*/ 40 w 165"/>
              <a:gd name="T71" fmla="*/ 156 h 197"/>
              <a:gd name="T72" fmla="*/ 25 w 165"/>
              <a:gd name="T73" fmla="*/ 153 h 197"/>
              <a:gd name="T74" fmla="*/ 15 w 165"/>
              <a:gd name="T75" fmla="*/ 150 h 197"/>
              <a:gd name="T76" fmla="*/ 9 w 165"/>
              <a:gd name="T77" fmla="*/ 137 h 197"/>
              <a:gd name="T78" fmla="*/ 6 w 165"/>
              <a:gd name="T79" fmla="*/ 122 h 197"/>
              <a:gd name="T80" fmla="*/ 3 w 165"/>
              <a:gd name="T81" fmla="*/ 109 h 197"/>
              <a:gd name="T82" fmla="*/ 3 w 165"/>
              <a:gd name="T83" fmla="*/ 91 h 197"/>
              <a:gd name="T84" fmla="*/ 19 w 165"/>
              <a:gd name="T85" fmla="*/ 84 h 197"/>
              <a:gd name="T86" fmla="*/ 22 w 165"/>
              <a:gd name="T87" fmla="*/ 72 h 197"/>
              <a:gd name="T88" fmla="*/ 15 w 165"/>
              <a:gd name="T89" fmla="*/ 65 h 197"/>
              <a:gd name="T90" fmla="*/ 25 w 165"/>
              <a:gd name="T91" fmla="*/ 59 h 197"/>
              <a:gd name="T92" fmla="*/ 28 w 165"/>
              <a:gd name="T93" fmla="*/ 50 h 197"/>
              <a:gd name="T94" fmla="*/ 22 w 165"/>
              <a:gd name="T95" fmla="*/ 44 h 197"/>
              <a:gd name="T96" fmla="*/ 37 w 165"/>
              <a:gd name="T97" fmla="*/ 37 h 197"/>
              <a:gd name="T98" fmla="*/ 40 w 165"/>
              <a:gd name="T99" fmla="*/ 40 h 197"/>
              <a:gd name="T100" fmla="*/ 44 w 165"/>
              <a:gd name="T101" fmla="*/ 44 h 197"/>
              <a:gd name="T102" fmla="*/ 47 w 165"/>
              <a:gd name="T103" fmla="*/ 37 h 197"/>
              <a:gd name="T104" fmla="*/ 59 w 165"/>
              <a:gd name="T105" fmla="*/ 31 h 197"/>
              <a:gd name="T106" fmla="*/ 59 w 165"/>
              <a:gd name="T107" fmla="*/ 31 h 197"/>
              <a:gd name="T108" fmla="*/ 56 w 165"/>
              <a:gd name="T109" fmla="*/ 25 h 197"/>
              <a:gd name="T110" fmla="*/ 47 w 165"/>
              <a:gd name="T111" fmla="*/ 15 h 197"/>
              <a:gd name="T112" fmla="*/ 50 w 165"/>
              <a:gd name="T113" fmla="*/ 6 h 197"/>
              <a:gd name="T114" fmla="*/ 47 w 165"/>
              <a:gd name="T11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5" h="197">
                <a:moveTo>
                  <a:pt x="47" y="0"/>
                </a:moveTo>
                <a:lnTo>
                  <a:pt x="50" y="0"/>
                </a:lnTo>
                <a:lnTo>
                  <a:pt x="59" y="3"/>
                </a:lnTo>
                <a:lnTo>
                  <a:pt x="59" y="3"/>
                </a:lnTo>
                <a:lnTo>
                  <a:pt x="65" y="3"/>
                </a:lnTo>
                <a:lnTo>
                  <a:pt x="69" y="6"/>
                </a:lnTo>
                <a:lnTo>
                  <a:pt x="72" y="6"/>
                </a:lnTo>
                <a:lnTo>
                  <a:pt x="69" y="12"/>
                </a:lnTo>
                <a:lnTo>
                  <a:pt x="69" y="15"/>
                </a:lnTo>
                <a:lnTo>
                  <a:pt x="69" y="15"/>
                </a:lnTo>
                <a:lnTo>
                  <a:pt x="72" y="19"/>
                </a:lnTo>
                <a:lnTo>
                  <a:pt x="72" y="22"/>
                </a:lnTo>
                <a:lnTo>
                  <a:pt x="75" y="19"/>
                </a:lnTo>
                <a:lnTo>
                  <a:pt x="78" y="15"/>
                </a:lnTo>
                <a:lnTo>
                  <a:pt x="78" y="15"/>
                </a:lnTo>
                <a:lnTo>
                  <a:pt x="81" y="19"/>
                </a:lnTo>
                <a:lnTo>
                  <a:pt x="84" y="22"/>
                </a:lnTo>
                <a:lnTo>
                  <a:pt x="87" y="19"/>
                </a:lnTo>
                <a:lnTo>
                  <a:pt x="90" y="15"/>
                </a:lnTo>
                <a:lnTo>
                  <a:pt x="90" y="19"/>
                </a:lnTo>
                <a:lnTo>
                  <a:pt x="90" y="22"/>
                </a:lnTo>
                <a:lnTo>
                  <a:pt x="87" y="25"/>
                </a:lnTo>
                <a:lnTo>
                  <a:pt x="87" y="25"/>
                </a:lnTo>
                <a:lnTo>
                  <a:pt x="84" y="25"/>
                </a:lnTo>
                <a:lnTo>
                  <a:pt x="87" y="28"/>
                </a:lnTo>
                <a:lnTo>
                  <a:pt x="90" y="28"/>
                </a:lnTo>
                <a:lnTo>
                  <a:pt x="94" y="28"/>
                </a:lnTo>
                <a:lnTo>
                  <a:pt x="94" y="28"/>
                </a:lnTo>
                <a:lnTo>
                  <a:pt x="100" y="28"/>
                </a:lnTo>
                <a:lnTo>
                  <a:pt x="100" y="25"/>
                </a:lnTo>
                <a:lnTo>
                  <a:pt x="103" y="22"/>
                </a:lnTo>
                <a:lnTo>
                  <a:pt x="109" y="22"/>
                </a:lnTo>
                <a:lnTo>
                  <a:pt x="109" y="19"/>
                </a:lnTo>
                <a:lnTo>
                  <a:pt x="112" y="19"/>
                </a:lnTo>
                <a:lnTo>
                  <a:pt x="112" y="15"/>
                </a:lnTo>
                <a:lnTo>
                  <a:pt x="115" y="15"/>
                </a:lnTo>
                <a:lnTo>
                  <a:pt x="122" y="15"/>
                </a:lnTo>
                <a:lnTo>
                  <a:pt x="115" y="15"/>
                </a:lnTo>
                <a:lnTo>
                  <a:pt x="115" y="19"/>
                </a:lnTo>
                <a:lnTo>
                  <a:pt x="115" y="19"/>
                </a:lnTo>
                <a:lnTo>
                  <a:pt x="112" y="19"/>
                </a:lnTo>
                <a:lnTo>
                  <a:pt x="112" y="22"/>
                </a:lnTo>
                <a:lnTo>
                  <a:pt x="119" y="19"/>
                </a:lnTo>
                <a:lnTo>
                  <a:pt x="122" y="19"/>
                </a:lnTo>
                <a:lnTo>
                  <a:pt x="125" y="19"/>
                </a:lnTo>
                <a:lnTo>
                  <a:pt x="125" y="19"/>
                </a:lnTo>
                <a:lnTo>
                  <a:pt x="128" y="19"/>
                </a:lnTo>
                <a:lnTo>
                  <a:pt x="134" y="25"/>
                </a:lnTo>
                <a:lnTo>
                  <a:pt x="137" y="25"/>
                </a:lnTo>
                <a:lnTo>
                  <a:pt x="140" y="28"/>
                </a:lnTo>
                <a:lnTo>
                  <a:pt x="137" y="31"/>
                </a:lnTo>
                <a:lnTo>
                  <a:pt x="144" y="34"/>
                </a:lnTo>
                <a:lnTo>
                  <a:pt x="147" y="34"/>
                </a:lnTo>
                <a:lnTo>
                  <a:pt x="147" y="34"/>
                </a:lnTo>
                <a:lnTo>
                  <a:pt x="153" y="34"/>
                </a:lnTo>
                <a:lnTo>
                  <a:pt x="153" y="44"/>
                </a:lnTo>
                <a:lnTo>
                  <a:pt x="153" y="50"/>
                </a:lnTo>
                <a:lnTo>
                  <a:pt x="147" y="53"/>
                </a:lnTo>
                <a:lnTo>
                  <a:pt x="147" y="56"/>
                </a:lnTo>
                <a:lnTo>
                  <a:pt x="153" y="62"/>
                </a:lnTo>
                <a:lnTo>
                  <a:pt x="153" y="65"/>
                </a:lnTo>
                <a:lnTo>
                  <a:pt x="156" y="72"/>
                </a:lnTo>
                <a:lnTo>
                  <a:pt x="156" y="75"/>
                </a:lnTo>
                <a:lnTo>
                  <a:pt x="156" y="78"/>
                </a:lnTo>
                <a:lnTo>
                  <a:pt x="156" y="81"/>
                </a:lnTo>
                <a:lnTo>
                  <a:pt x="159" y="87"/>
                </a:lnTo>
                <a:lnTo>
                  <a:pt x="162" y="91"/>
                </a:lnTo>
                <a:lnTo>
                  <a:pt x="165" y="94"/>
                </a:lnTo>
                <a:lnTo>
                  <a:pt x="165" y="103"/>
                </a:lnTo>
                <a:lnTo>
                  <a:pt x="162" y="106"/>
                </a:lnTo>
                <a:lnTo>
                  <a:pt x="159" y="106"/>
                </a:lnTo>
                <a:lnTo>
                  <a:pt x="156" y="106"/>
                </a:lnTo>
                <a:lnTo>
                  <a:pt x="150" y="106"/>
                </a:lnTo>
                <a:lnTo>
                  <a:pt x="150" y="109"/>
                </a:lnTo>
                <a:lnTo>
                  <a:pt x="147" y="112"/>
                </a:lnTo>
                <a:lnTo>
                  <a:pt x="147" y="109"/>
                </a:lnTo>
                <a:lnTo>
                  <a:pt x="137" y="109"/>
                </a:lnTo>
                <a:lnTo>
                  <a:pt x="137" y="112"/>
                </a:lnTo>
                <a:lnTo>
                  <a:pt x="131" y="112"/>
                </a:lnTo>
                <a:lnTo>
                  <a:pt x="128" y="119"/>
                </a:lnTo>
                <a:lnTo>
                  <a:pt x="125" y="119"/>
                </a:lnTo>
                <a:lnTo>
                  <a:pt x="119" y="125"/>
                </a:lnTo>
                <a:lnTo>
                  <a:pt x="115" y="125"/>
                </a:lnTo>
                <a:lnTo>
                  <a:pt x="112" y="122"/>
                </a:lnTo>
                <a:lnTo>
                  <a:pt x="112" y="122"/>
                </a:lnTo>
                <a:lnTo>
                  <a:pt x="112" y="125"/>
                </a:lnTo>
                <a:lnTo>
                  <a:pt x="115" y="128"/>
                </a:lnTo>
                <a:lnTo>
                  <a:pt x="122" y="134"/>
                </a:lnTo>
                <a:lnTo>
                  <a:pt x="122" y="141"/>
                </a:lnTo>
                <a:lnTo>
                  <a:pt x="122" y="144"/>
                </a:lnTo>
                <a:lnTo>
                  <a:pt x="125" y="147"/>
                </a:lnTo>
                <a:lnTo>
                  <a:pt x="131" y="150"/>
                </a:lnTo>
                <a:lnTo>
                  <a:pt x="137" y="153"/>
                </a:lnTo>
                <a:lnTo>
                  <a:pt x="144" y="162"/>
                </a:lnTo>
                <a:lnTo>
                  <a:pt x="144" y="166"/>
                </a:lnTo>
                <a:lnTo>
                  <a:pt x="144" y="169"/>
                </a:lnTo>
                <a:lnTo>
                  <a:pt x="140" y="169"/>
                </a:lnTo>
                <a:lnTo>
                  <a:pt x="137" y="172"/>
                </a:lnTo>
                <a:lnTo>
                  <a:pt x="134" y="175"/>
                </a:lnTo>
                <a:lnTo>
                  <a:pt x="128" y="181"/>
                </a:lnTo>
                <a:lnTo>
                  <a:pt x="128" y="184"/>
                </a:lnTo>
                <a:lnTo>
                  <a:pt x="134" y="187"/>
                </a:lnTo>
                <a:lnTo>
                  <a:pt x="134" y="191"/>
                </a:lnTo>
                <a:lnTo>
                  <a:pt x="131" y="191"/>
                </a:lnTo>
                <a:lnTo>
                  <a:pt x="128" y="191"/>
                </a:lnTo>
                <a:lnTo>
                  <a:pt x="122" y="191"/>
                </a:lnTo>
                <a:lnTo>
                  <a:pt x="119" y="191"/>
                </a:lnTo>
                <a:lnTo>
                  <a:pt x="115" y="191"/>
                </a:lnTo>
                <a:lnTo>
                  <a:pt x="109" y="194"/>
                </a:lnTo>
                <a:lnTo>
                  <a:pt x="106" y="194"/>
                </a:lnTo>
                <a:lnTo>
                  <a:pt x="103" y="194"/>
                </a:lnTo>
                <a:lnTo>
                  <a:pt x="100" y="194"/>
                </a:lnTo>
                <a:lnTo>
                  <a:pt x="97" y="194"/>
                </a:lnTo>
                <a:lnTo>
                  <a:pt x="90" y="191"/>
                </a:lnTo>
                <a:lnTo>
                  <a:pt x="84" y="194"/>
                </a:lnTo>
                <a:lnTo>
                  <a:pt x="87" y="197"/>
                </a:lnTo>
                <a:lnTo>
                  <a:pt x="84" y="197"/>
                </a:lnTo>
                <a:lnTo>
                  <a:pt x="81" y="197"/>
                </a:lnTo>
                <a:lnTo>
                  <a:pt x="78" y="194"/>
                </a:lnTo>
                <a:lnTo>
                  <a:pt x="75" y="194"/>
                </a:lnTo>
                <a:lnTo>
                  <a:pt x="72" y="194"/>
                </a:lnTo>
                <a:lnTo>
                  <a:pt x="72" y="194"/>
                </a:lnTo>
                <a:lnTo>
                  <a:pt x="69" y="194"/>
                </a:lnTo>
                <a:lnTo>
                  <a:pt x="62" y="191"/>
                </a:lnTo>
                <a:lnTo>
                  <a:pt x="59" y="191"/>
                </a:lnTo>
                <a:lnTo>
                  <a:pt x="59" y="191"/>
                </a:lnTo>
                <a:lnTo>
                  <a:pt x="56" y="191"/>
                </a:lnTo>
                <a:lnTo>
                  <a:pt x="56" y="187"/>
                </a:lnTo>
                <a:lnTo>
                  <a:pt x="50" y="187"/>
                </a:lnTo>
                <a:lnTo>
                  <a:pt x="50" y="191"/>
                </a:lnTo>
                <a:lnTo>
                  <a:pt x="50" y="194"/>
                </a:lnTo>
                <a:lnTo>
                  <a:pt x="44" y="191"/>
                </a:lnTo>
                <a:lnTo>
                  <a:pt x="40" y="194"/>
                </a:lnTo>
                <a:lnTo>
                  <a:pt x="37" y="194"/>
                </a:lnTo>
                <a:lnTo>
                  <a:pt x="37" y="194"/>
                </a:lnTo>
                <a:lnTo>
                  <a:pt x="37" y="187"/>
                </a:lnTo>
                <a:lnTo>
                  <a:pt x="34" y="187"/>
                </a:lnTo>
                <a:lnTo>
                  <a:pt x="34" y="181"/>
                </a:lnTo>
                <a:lnTo>
                  <a:pt x="34" y="175"/>
                </a:lnTo>
                <a:lnTo>
                  <a:pt x="37" y="172"/>
                </a:lnTo>
                <a:lnTo>
                  <a:pt x="37" y="169"/>
                </a:lnTo>
                <a:lnTo>
                  <a:pt x="40" y="162"/>
                </a:lnTo>
                <a:lnTo>
                  <a:pt x="44" y="159"/>
                </a:lnTo>
                <a:lnTo>
                  <a:pt x="40" y="156"/>
                </a:lnTo>
                <a:lnTo>
                  <a:pt x="37" y="156"/>
                </a:lnTo>
                <a:lnTo>
                  <a:pt x="31" y="153"/>
                </a:lnTo>
                <a:lnTo>
                  <a:pt x="28" y="153"/>
                </a:lnTo>
                <a:lnTo>
                  <a:pt x="25" y="153"/>
                </a:lnTo>
                <a:lnTo>
                  <a:pt x="22" y="153"/>
                </a:lnTo>
                <a:lnTo>
                  <a:pt x="19" y="156"/>
                </a:lnTo>
                <a:lnTo>
                  <a:pt x="15" y="153"/>
                </a:lnTo>
                <a:lnTo>
                  <a:pt x="15" y="150"/>
                </a:lnTo>
                <a:lnTo>
                  <a:pt x="12" y="147"/>
                </a:lnTo>
                <a:lnTo>
                  <a:pt x="12" y="147"/>
                </a:lnTo>
                <a:lnTo>
                  <a:pt x="12" y="141"/>
                </a:lnTo>
                <a:lnTo>
                  <a:pt x="9" y="137"/>
                </a:lnTo>
                <a:lnTo>
                  <a:pt x="9" y="134"/>
                </a:lnTo>
                <a:lnTo>
                  <a:pt x="6" y="128"/>
                </a:lnTo>
                <a:lnTo>
                  <a:pt x="3" y="128"/>
                </a:lnTo>
                <a:lnTo>
                  <a:pt x="6" y="122"/>
                </a:lnTo>
                <a:lnTo>
                  <a:pt x="3" y="119"/>
                </a:lnTo>
                <a:lnTo>
                  <a:pt x="3" y="116"/>
                </a:lnTo>
                <a:lnTo>
                  <a:pt x="0" y="112"/>
                </a:lnTo>
                <a:lnTo>
                  <a:pt x="3" y="109"/>
                </a:lnTo>
                <a:lnTo>
                  <a:pt x="0" y="109"/>
                </a:lnTo>
                <a:lnTo>
                  <a:pt x="3" y="103"/>
                </a:lnTo>
                <a:lnTo>
                  <a:pt x="3" y="97"/>
                </a:lnTo>
                <a:lnTo>
                  <a:pt x="3" y="91"/>
                </a:lnTo>
                <a:lnTo>
                  <a:pt x="6" y="87"/>
                </a:lnTo>
                <a:lnTo>
                  <a:pt x="9" y="84"/>
                </a:lnTo>
                <a:lnTo>
                  <a:pt x="12" y="84"/>
                </a:lnTo>
                <a:lnTo>
                  <a:pt x="19" y="84"/>
                </a:lnTo>
                <a:lnTo>
                  <a:pt x="22" y="81"/>
                </a:lnTo>
                <a:lnTo>
                  <a:pt x="19" y="78"/>
                </a:lnTo>
                <a:lnTo>
                  <a:pt x="22" y="78"/>
                </a:lnTo>
                <a:lnTo>
                  <a:pt x="22" y="72"/>
                </a:lnTo>
                <a:lnTo>
                  <a:pt x="22" y="72"/>
                </a:lnTo>
                <a:lnTo>
                  <a:pt x="22" y="69"/>
                </a:lnTo>
                <a:lnTo>
                  <a:pt x="15" y="69"/>
                </a:lnTo>
                <a:lnTo>
                  <a:pt x="15" y="65"/>
                </a:lnTo>
                <a:lnTo>
                  <a:pt x="19" y="62"/>
                </a:lnTo>
                <a:lnTo>
                  <a:pt x="22" y="65"/>
                </a:lnTo>
                <a:lnTo>
                  <a:pt x="25" y="62"/>
                </a:lnTo>
                <a:lnTo>
                  <a:pt x="25" y="59"/>
                </a:lnTo>
                <a:lnTo>
                  <a:pt x="25" y="56"/>
                </a:lnTo>
                <a:lnTo>
                  <a:pt x="25" y="53"/>
                </a:lnTo>
                <a:lnTo>
                  <a:pt x="28" y="50"/>
                </a:lnTo>
                <a:lnTo>
                  <a:pt x="28" y="50"/>
                </a:lnTo>
                <a:lnTo>
                  <a:pt x="28" y="50"/>
                </a:lnTo>
                <a:lnTo>
                  <a:pt x="28" y="47"/>
                </a:lnTo>
                <a:lnTo>
                  <a:pt x="22" y="47"/>
                </a:lnTo>
                <a:lnTo>
                  <a:pt x="22" y="44"/>
                </a:lnTo>
                <a:lnTo>
                  <a:pt x="22" y="37"/>
                </a:lnTo>
                <a:lnTo>
                  <a:pt x="31" y="37"/>
                </a:lnTo>
                <a:lnTo>
                  <a:pt x="31" y="34"/>
                </a:lnTo>
                <a:lnTo>
                  <a:pt x="37" y="37"/>
                </a:lnTo>
                <a:lnTo>
                  <a:pt x="37" y="44"/>
                </a:lnTo>
                <a:lnTo>
                  <a:pt x="40" y="47"/>
                </a:lnTo>
                <a:lnTo>
                  <a:pt x="44" y="44"/>
                </a:lnTo>
                <a:lnTo>
                  <a:pt x="40" y="40"/>
                </a:lnTo>
                <a:lnTo>
                  <a:pt x="40" y="37"/>
                </a:lnTo>
                <a:lnTo>
                  <a:pt x="44" y="37"/>
                </a:lnTo>
                <a:lnTo>
                  <a:pt x="44" y="40"/>
                </a:lnTo>
                <a:lnTo>
                  <a:pt x="44" y="44"/>
                </a:lnTo>
                <a:lnTo>
                  <a:pt x="50" y="50"/>
                </a:lnTo>
                <a:lnTo>
                  <a:pt x="47" y="47"/>
                </a:lnTo>
                <a:lnTo>
                  <a:pt x="47" y="40"/>
                </a:lnTo>
                <a:lnTo>
                  <a:pt x="47" y="37"/>
                </a:lnTo>
                <a:lnTo>
                  <a:pt x="50" y="34"/>
                </a:lnTo>
                <a:lnTo>
                  <a:pt x="53" y="31"/>
                </a:lnTo>
                <a:lnTo>
                  <a:pt x="56" y="34"/>
                </a:lnTo>
                <a:lnTo>
                  <a:pt x="59" y="31"/>
                </a:lnTo>
                <a:lnTo>
                  <a:pt x="65" y="40"/>
                </a:lnTo>
                <a:lnTo>
                  <a:pt x="75" y="40"/>
                </a:lnTo>
                <a:lnTo>
                  <a:pt x="65" y="37"/>
                </a:lnTo>
                <a:lnTo>
                  <a:pt x="59" y="31"/>
                </a:lnTo>
                <a:lnTo>
                  <a:pt x="56" y="31"/>
                </a:lnTo>
                <a:lnTo>
                  <a:pt x="53" y="28"/>
                </a:lnTo>
                <a:lnTo>
                  <a:pt x="53" y="25"/>
                </a:lnTo>
                <a:lnTo>
                  <a:pt x="56" y="25"/>
                </a:lnTo>
                <a:lnTo>
                  <a:pt x="53" y="22"/>
                </a:lnTo>
                <a:lnTo>
                  <a:pt x="53" y="19"/>
                </a:lnTo>
                <a:lnTo>
                  <a:pt x="47" y="19"/>
                </a:lnTo>
                <a:lnTo>
                  <a:pt x="47" y="15"/>
                </a:lnTo>
                <a:lnTo>
                  <a:pt x="50" y="15"/>
                </a:lnTo>
                <a:lnTo>
                  <a:pt x="56" y="12"/>
                </a:lnTo>
                <a:lnTo>
                  <a:pt x="50" y="9"/>
                </a:lnTo>
                <a:lnTo>
                  <a:pt x="50" y="6"/>
                </a:lnTo>
                <a:lnTo>
                  <a:pt x="50" y="6"/>
                </a:lnTo>
                <a:lnTo>
                  <a:pt x="47" y="6"/>
                </a:lnTo>
                <a:lnTo>
                  <a:pt x="47" y="3"/>
                </a:lnTo>
                <a:lnTo>
                  <a:pt x="47" y="0"/>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9" name="Freeform 67">
            <a:extLst>
              <a:ext uri="{FF2B5EF4-FFF2-40B4-BE49-F238E27FC236}">
                <a16:creationId xmlns:a16="http://schemas.microsoft.com/office/drawing/2014/main" id="{E4FBC5A0-5349-97B7-A00A-2FDB0A2347A5}"/>
              </a:ext>
            </a:extLst>
          </p:cNvPr>
          <p:cNvSpPr>
            <a:spLocks/>
          </p:cNvSpPr>
          <p:nvPr userDrawn="1"/>
        </p:nvSpPr>
        <p:spPr bwMode="auto">
          <a:xfrm>
            <a:off x="13696060" y="6168311"/>
            <a:ext cx="9525" cy="19050"/>
          </a:xfrm>
          <a:custGeom>
            <a:avLst/>
            <a:gdLst>
              <a:gd name="T0" fmla="*/ 0 w 3"/>
              <a:gd name="T1" fmla="*/ 0 h 6"/>
              <a:gd name="T2" fmla="*/ 3 w 3"/>
              <a:gd name="T3" fmla="*/ 0 h 6"/>
              <a:gd name="T4" fmla="*/ 3 w 3"/>
              <a:gd name="T5" fmla="*/ 6 h 6"/>
              <a:gd name="T6" fmla="*/ 0 w 3"/>
              <a:gd name="T7" fmla="*/ 6 h 6"/>
              <a:gd name="T8" fmla="*/ 0 w 3"/>
              <a:gd name="T9" fmla="*/ 3 h 6"/>
              <a:gd name="T10" fmla="*/ 0 w 3"/>
              <a:gd name="T11" fmla="*/ 0 h 6"/>
              <a:gd name="T12" fmla="*/ 0 w 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 h="6">
                <a:moveTo>
                  <a:pt x="0" y="0"/>
                </a:moveTo>
                <a:lnTo>
                  <a:pt x="3" y="0"/>
                </a:lnTo>
                <a:lnTo>
                  <a:pt x="3" y="6"/>
                </a:lnTo>
                <a:lnTo>
                  <a:pt x="0" y="6"/>
                </a:lnTo>
                <a:lnTo>
                  <a:pt x="0" y="3"/>
                </a:lnTo>
                <a:lnTo>
                  <a:pt x="0" y="0"/>
                </a:lnTo>
                <a:lnTo>
                  <a:pt x="0" y="0"/>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0" name="Freeform 68">
            <a:extLst>
              <a:ext uri="{FF2B5EF4-FFF2-40B4-BE49-F238E27FC236}">
                <a16:creationId xmlns:a16="http://schemas.microsoft.com/office/drawing/2014/main" id="{7DDF81D5-4C50-6EC4-D10E-3377107E7EF7}"/>
              </a:ext>
            </a:extLst>
          </p:cNvPr>
          <p:cNvSpPr>
            <a:spLocks/>
          </p:cNvSpPr>
          <p:nvPr userDrawn="1"/>
        </p:nvSpPr>
        <p:spPr bwMode="auto">
          <a:xfrm>
            <a:off x="13477002" y="6127037"/>
            <a:ext cx="288907" cy="161926"/>
          </a:xfrm>
          <a:custGeom>
            <a:avLst/>
            <a:gdLst>
              <a:gd name="T0" fmla="*/ 37 w 91"/>
              <a:gd name="T1" fmla="*/ 7 h 51"/>
              <a:gd name="T2" fmla="*/ 47 w 91"/>
              <a:gd name="T3" fmla="*/ 7 h 51"/>
              <a:gd name="T4" fmla="*/ 47 w 91"/>
              <a:gd name="T5" fmla="*/ 0 h 51"/>
              <a:gd name="T6" fmla="*/ 53 w 91"/>
              <a:gd name="T7" fmla="*/ 4 h 51"/>
              <a:gd name="T8" fmla="*/ 56 w 91"/>
              <a:gd name="T9" fmla="*/ 4 h 51"/>
              <a:gd name="T10" fmla="*/ 66 w 91"/>
              <a:gd name="T11" fmla="*/ 7 h 51"/>
              <a:gd name="T12" fmla="*/ 69 w 91"/>
              <a:gd name="T13" fmla="*/ 13 h 51"/>
              <a:gd name="T14" fmla="*/ 69 w 91"/>
              <a:gd name="T15" fmla="*/ 19 h 51"/>
              <a:gd name="T16" fmla="*/ 78 w 91"/>
              <a:gd name="T17" fmla="*/ 16 h 51"/>
              <a:gd name="T18" fmla="*/ 84 w 91"/>
              <a:gd name="T19" fmla="*/ 19 h 51"/>
              <a:gd name="T20" fmla="*/ 91 w 91"/>
              <a:gd name="T21" fmla="*/ 22 h 51"/>
              <a:gd name="T22" fmla="*/ 87 w 91"/>
              <a:gd name="T23" fmla="*/ 32 h 51"/>
              <a:gd name="T24" fmla="*/ 78 w 91"/>
              <a:gd name="T25" fmla="*/ 41 h 51"/>
              <a:gd name="T26" fmla="*/ 72 w 91"/>
              <a:gd name="T27" fmla="*/ 38 h 51"/>
              <a:gd name="T28" fmla="*/ 62 w 91"/>
              <a:gd name="T29" fmla="*/ 41 h 51"/>
              <a:gd name="T30" fmla="*/ 59 w 91"/>
              <a:gd name="T31" fmla="*/ 44 h 51"/>
              <a:gd name="T32" fmla="*/ 53 w 91"/>
              <a:gd name="T33" fmla="*/ 38 h 51"/>
              <a:gd name="T34" fmla="*/ 41 w 91"/>
              <a:gd name="T35" fmla="*/ 47 h 51"/>
              <a:gd name="T36" fmla="*/ 28 w 91"/>
              <a:gd name="T37" fmla="*/ 51 h 51"/>
              <a:gd name="T38" fmla="*/ 22 w 91"/>
              <a:gd name="T39" fmla="*/ 44 h 51"/>
              <a:gd name="T40" fmla="*/ 19 w 91"/>
              <a:gd name="T41" fmla="*/ 38 h 51"/>
              <a:gd name="T42" fmla="*/ 12 w 91"/>
              <a:gd name="T43" fmla="*/ 35 h 51"/>
              <a:gd name="T44" fmla="*/ 9 w 91"/>
              <a:gd name="T45" fmla="*/ 41 h 51"/>
              <a:gd name="T46" fmla="*/ 3 w 91"/>
              <a:gd name="T47" fmla="*/ 44 h 51"/>
              <a:gd name="T48" fmla="*/ 3 w 91"/>
              <a:gd name="T49" fmla="*/ 38 h 51"/>
              <a:gd name="T50" fmla="*/ 6 w 91"/>
              <a:gd name="T51" fmla="*/ 35 h 51"/>
              <a:gd name="T52" fmla="*/ 12 w 91"/>
              <a:gd name="T53" fmla="*/ 22 h 51"/>
              <a:gd name="T54" fmla="*/ 19 w 91"/>
              <a:gd name="T55" fmla="*/ 16 h 51"/>
              <a:gd name="T56" fmla="*/ 22 w 91"/>
              <a:gd name="T57" fmla="*/ 10 h 51"/>
              <a:gd name="T58" fmla="*/ 19 w 91"/>
              <a:gd name="T59" fmla="*/ 4 h 51"/>
              <a:gd name="T60" fmla="*/ 25 w 91"/>
              <a:gd name="T61" fmla="*/ 7 h 51"/>
              <a:gd name="T62" fmla="*/ 34 w 91"/>
              <a:gd name="T63" fmla="*/ 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51">
                <a:moveTo>
                  <a:pt x="34" y="7"/>
                </a:moveTo>
                <a:lnTo>
                  <a:pt x="37" y="7"/>
                </a:lnTo>
                <a:lnTo>
                  <a:pt x="41" y="4"/>
                </a:lnTo>
                <a:lnTo>
                  <a:pt x="47" y="7"/>
                </a:lnTo>
                <a:lnTo>
                  <a:pt x="47" y="4"/>
                </a:lnTo>
                <a:lnTo>
                  <a:pt x="47" y="0"/>
                </a:lnTo>
                <a:lnTo>
                  <a:pt x="53" y="0"/>
                </a:lnTo>
                <a:lnTo>
                  <a:pt x="53" y="4"/>
                </a:lnTo>
                <a:lnTo>
                  <a:pt x="56" y="4"/>
                </a:lnTo>
                <a:lnTo>
                  <a:pt x="56" y="4"/>
                </a:lnTo>
                <a:lnTo>
                  <a:pt x="59" y="4"/>
                </a:lnTo>
                <a:lnTo>
                  <a:pt x="66" y="7"/>
                </a:lnTo>
                <a:lnTo>
                  <a:pt x="69" y="10"/>
                </a:lnTo>
                <a:lnTo>
                  <a:pt x="69" y="13"/>
                </a:lnTo>
                <a:lnTo>
                  <a:pt x="69" y="16"/>
                </a:lnTo>
                <a:lnTo>
                  <a:pt x="69" y="19"/>
                </a:lnTo>
                <a:lnTo>
                  <a:pt x="75" y="19"/>
                </a:lnTo>
                <a:lnTo>
                  <a:pt x="78" y="16"/>
                </a:lnTo>
                <a:lnTo>
                  <a:pt x="81" y="22"/>
                </a:lnTo>
                <a:lnTo>
                  <a:pt x="84" y="19"/>
                </a:lnTo>
                <a:lnTo>
                  <a:pt x="87" y="19"/>
                </a:lnTo>
                <a:lnTo>
                  <a:pt x="91" y="22"/>
                </a:lnTo>
                <a:lnTo>
                  <a:pt x="84" y="26"/>
                </a:lnTo>
                <a:lnTo>
                  <a:pt x="87" y="32"/>
                </a:lnTo>
                <a:lnTo>
                  <a:pt x="81" y="35"/>
                </a:lnTo>
                <a:lnTo>
                  <a:pt x="78" y="41"/>
                </a:lnTo>
                <a:lnTo>
                  <a:pt x="75" y="38"/>
                </a:lnTo>
                <a:lnTo>
                  <a:pt x="72" y="38"/>
                </a:lnTo>
                <a:lnTo>
                  <a:pt x="62" y="35"/>
                </a:lnTo>
                <a:lnTo>
                  <a:pt x="62" y="41"/>
                </a:lnTo>
                <a:lnTo>
                  <a:pt x="59" y="47"/>
                </a:lnTo>
                <a:lnTo>
                  <a:pt x="59" y="44"/>
                </a:lnTo>
                <a:lnTo>
                  <a:pt x="53" y="41"/>
                </a:lnTo>
                <a:lnTo>
                  <a:pt x="53" y="38"/>
                </a:lnTo>
                <a:lnTo>
                  <a:pt x="47" y="35"/>
                </a:lnTo>
                <a:lnTo>
                  <a:pt x="41" y="47"/>
                </a:lnTo>
                <a:lnTo>
                  <a:pt x="34" y="44"/>
                </a:lnTo>
                <a:lnTo>
                  <a:pt x="28" y="51"/>
                </a:lnTo>
                <a:lnTo>
                  <a:pt x="25" y="47"/>
                </a:lnTo>
                <a:lnTo>
                  <a:pt x="22" y="44"/>
                </a:lnTo>
                <a:lnTo>
                  <a:pt x="22" y="44"/>
                </a:lnTo>
                <a:lnTo>
                  <a:pt x="19" y="38"/>
                </a:lnTo>
                <a:lnTo>
                  <a:pt x="19" y="35"/>
                </a:lnTo>
                <a:lnTo>
                  <a:pt x="12" y="35"/>
                </a:lnTo>
                <a:lnTo>
                  <a:pt x="9" y="38"/>
                </a:lnTo>
                <a:lnTo>
                  <a:pt x="9" y="41"/>
                </a:lnTo>
                <a:lnTo>
                  <a:pt x="6" y="44"/>
                </a:lnTo>
                <a:lnTo>
                  <a:pt x="3" y="44"/>
                </a:lnTo>
                <a:lnTo>
                  <a:pt x="0" y="41"/>
                </a:lnTo>
                <a:lnTo>
                  <a:pt x="3" y="38"/>
                </a:lnTo>
                <a:lnTo>
                  <a:pt x="6" y="38"/>
                </a:lnTo>
                <a:lnTo>
                  <a:pt x="6" y="35"/>
                </a:lnTo>
                <a:lnTo>
                  <a:pt x="6" y="29"/>
                </a:lnTo>
                <a:lnTo>
                  <a:pt x="12" y="22"/>
                </a:lnTo>
                <a:lnTo>
                  <a:pt x="16" y="19"/>
                </a:lnTo>
                <a:lnTo>
                  <a:pt x="19" y="16"/>
                </a:lnTo>
                <a:lnTo>
                  <a:pt x="22" y="13"/>
                </a:lnTo>
                <a:lnTo>
                  <a:pt x="22" y="10"/>
                </a:lnTo>
                <a:lnTo>
                  <a:pt x="19" y="7"/>
                </a:lnTo>
                <a:lnTo>
                  <a:pt x="19" y="4"/>
                </a:lnTo>
                <a:lnTo>
                  <a:pt x="25" y="4"/>
                </a:lnTo>
                <a:lnTo>
                  <a:pt x="25" y="7"/>
                </a:lnTo>
                <a:lnTo>
                  <a:pt x="28" y="7"/>
                </a:lnTo>
                <a:lnTo>
                  <a:pt x="34" y="7"/>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1" name="Freeform 69">
            <a:extLst>
              <a:ext uri="{FF2B5EF4-FFF2-40B4-BE49-F238E27FC236}">
                <a16:creationId xmlns:a16="http://schemas.microsoft.com/office/drawing/2014/main" id="{B36EF9A7-06E3-9340-8321-C72B67438A75}"/>
              </a:ext>
            </a:extLst>
          </p:cNvPr>
          <p:cNvSpPr>
            <a:spLocks noEditPoints="1"/>
          </p:cNvSpPr>
          <p:nvPr userDrawn="1"/>
        </p:nvSpPr>
        <p:spPr bwMode="auto">
          <a:xfrm>
            <a:off x="13327779" y="5673008"/>
            <a:ext cx="228585" cy="206376"/>
          </a:xfrm>
          <a:custGeom>
            <a:avLst/>
            <a:gdLst>
              <a:gd name="T0" fmla="*/ 47 w 72"/>
              <a:gd name="T1" fmla="*/ 59 h 65"/>
              <a:gd name="T2" fmla="*/ 47 w 72"/>
              <a:gd name="T3" fmla="*/ 47 h 65"/>
              <a:gd name="T4" fmla="*/ 53 w 72"/>
              <a:gd name="T5" fmla="*/ 40 h 65"/>
              <a:gd name="T6" fmla="*/ 63 w 72"/>
              <a:gd name="T7" fmla="*/ 40 h 65"/>
              <a:gd name="T8" fmla="*/ 63 w 72"/>
              <a:gd name="T9" fmla="*/ 34 h 65"/>
              <a:gd name="T10" fmla="*/ 66 w 72"/>
              <a:gd name="T11" fmla="*/ 28 h 65"/>
              <a:gd name="T12" fmla="*/ 66 w 72"/>
              <a:gd name="T13" fmla="*/ 25 h 65"/>
              <a:gd name="T14" fmla="*/ 59 w 72"/>
              <a:gd name="T15" fmla="*/ 21 h 65"/>
              <a:gd name="T16" fmla="*/ 66 w 72"/>
              <a:gd name="T17" fmla="*/ 21 h 65"/>
              <a:gd name="T18" fmla="*/ 69 w 72"/>
              <a:gd name="T19" fmla="*/ 15 h 65"/>
              <a:gd name="T20" fmla="*/ 69 w 72"/>
              <a:gd name="T21" fmla="*/ 9 h 65"/>
              <a:gd name="T22" fmla="*/ 72 w 72"/>
              <a:gd name="T23" fmla="*/ 6 h 65"/>
              <a:gd name="T24" fmla="*/ 66 w 72"/>
              <a:gd name="T25" fmla="*/ 3 h 65"/>
              <a:gd name="T26" fmla="*/ 53 w 72"/>
              <a:gd name="T27" fmla="*/ 0 h 65"/>
              <a:gd name="T28" fmla="*/ 47 w 72"/>
              <a:gd name="T29" fmla="*/ 3 h 65"/>
              <a:gd name="T30" fmla="*/ 41 w 72"/>
              <a:gd name="T31" fmla="*/ 3 h 65"/>
              <a:gd name="T32" fmla="*/ 28 w 72"/>
              <a:gd name="T33" fmla="*/ 12 h 65"/>
              <a:gd name="T34" fmla="*/ 22 w 72"/>
              <a:gd name="T35" fmla="*/ 12 h 65"/>
              <a:gd name="T36" fmla="*/ 19 w 72"/>
              <a:gd name="T37" fmla="*/ 21 h 65"/>
              <a:gd name="T38" fmla="*/ 19 w 72"/>
              <a:gd name="T39" fmla="*/ 31 h 65"/>
              <a:gd name="T40" fmla="*/ 16 w 72"/>
              <a:gd name="T41" fmla="*/ 34 h 65"/>
              <a:gd name="T42" fmla="*/ 12 w 72"/>
              <a:gd name="T43" fmla="*/ 40 h 65"/>
              <a:gd name="T44" fmla="*/ 22 w 72"/>
              <a:gd name="T45" fmla="*/ 47 h 65"/>
              <a:gd name="T46" fmla="*/ 16 w 72"/>
              <a:gd name="T47" fmla="*/ 47 h 65"/>
              <a:gd name="T48" fmla="*/ 16 w 72"/>
              <a:gd name="T49" fmla="*/ 50 h 65"/>
              <a:gd name="T50" fmla="*/ 19 w 72"/>
              <a:gd name="T51" fmla="*/ 53 h 65"/>
              <a:gd name="T52" fmla="*/ 9 w 72"/>
              <a:gd name="T53" fmla="*/ 50 h 65"/>
              <a:gd name="T54" fmla="*/ 3 w 72"/>
              <a:gd name="T55" fmla="*/ 50 h 65"/>
              <a:gd name="T56" fmla="*/ 9 w 72"/>
              <a:gd name="T57" fmla="*/ 53 h 65"/>
              <a:gd name="T58" fmla="*/ 12 w 72"/>
              <a:gd name="T59" fmla="*/ 53 h 65"/>
              <a:gd name="T60" fmla="*/ 12 w 72"/>
              <a:gd name="T61" fmla="*/ 56 h 65"/>
              <a:gd name="T62" fmla="*/ 6 w 72"/>
              <a:gd name="T63" fmla="*/ 53 h 65"/>
              <a:gd name="T64" fmla="*/ 0 w 72"/>
              <a:gd name="T65" fmla="*/ 53 h 65"/>
              <a:gd name="T66" fmla="*/ 6 w 72"/>
              <a:gd name="T67" fmla="*/ 59 h 65"/>
              <a:gd name="T68" fmla="*/ 9 w 72"/>
              <a:gd name="T69" fmla="*/ 59 h 65"/>
              <a:gd name="T70" fmla="*/ 16 w 72"/>
              <a:gd name="T71" fmla="*/ 56 h 65"/>
              <a:gd name="T72" fmla="*/ 19 w 72"/>
              <a:gd name="T73" fmla="*/ 56 h 65"/>
              <a:gd name="T74" fmla="*/ 28 w 72"/>
              <a:gd name="T75" fmla="*/ 53 h 65"/>
              <a:gd name="T76" fmla="*/ 34 w 72"/>
              <a:gd name="T77" fmla="*/ 56 h 65"/>
              <a:gd name="T78" fmla="*/ 41 w 72"/>
              <a:gd name="T79" fmla="*/ 56 h 65"/>
              <a:gd name="T80" fmla="*/ 41 w 72"/>
              <a:gd name="T81" fmla="*/ 62 h 65"/>
              <a:gd name="T82" fmla="*/ 44 w 72"/>
              <a:gd name="T83" fmla="*/ 65 h 65"/>
              <a:gd name="T84" fmla="*/ 12 w 72"/>
              <a:gd name="T85" fmla="*/ 47 h 65"/>
              <a:gd name="T86" fmla="*/ 9 w 72"/>
              <a:gd name="T87" fmla="*/ 50 h 65"/>
              <a:gd name="T88" fmla="*/ 6 w 72"/>
              <a:gd name="T89" fmla="*/ 47 h 65"/>
              <a:gd name="T90" fmla="*/ 9 w 72"/>
              <a:gd name="T91" fmla="*/ 43 h 65"/>
              <a:gd name="T92" fmla="*/ 16 w 72"/>
              <a:gd name="T93" fmla="*/ 43 h 65"/>
              <a:gd name="T94" fmla="*/ 12 w 72"/>
              <a:gd name="T95" fmla="*/ 47 h 65"/>
              <a:gd name="T96" fmla="*/ 9 w 72"/>
              <a:gd name="T97" fmla="*/ 4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 h="65">
                <a:moveTo>
                  <a:pt x="44" y="65"/>
                </a:moveTo>
                <a:lnTo>
                  <a:pt x="47" y="59"/>
                </a:lnTo>
                <a:lnTo>
                  <a:pt x="47" y="53"/>
                </a:lnTo>
                <a:lnTo>
                  <a:pt x="47" y="47"/>
                </a:lnTo>
                <a:lnTo>
                  <a:pt x="50" y="43"/>
                </a:lnTo>
                <a:lnTo>
                  <a:pt x="53" y="40"/>
                </a:lnTo>
                <a:lnTo>
                  <a:pt x="56" y="40"/>
                </a:lnTo>
                <a:lnTo>
                  <a:pt x="63" y="40"/>
                </a:lnTo>
                <a:lnTo>
                  <a:pt x="66" y="37"/>
                </a:lnTo>
                <a:lnTo>
                  <a:pt x="63" y="34"/>
                </a:lnTo>
                <a:lnTo>
                  <a:pt x="66" y="34"/>
                </a:lnTo>
                <a:lnTo>
                  <a:pt x="66" y="28"/>
                </a:lnTo>
                <a:lnTo>
                  <a:pt x="66" y="28"/>
                </a:lnTo>
                <a:lnTo>
                  <a:pt x="66" y="25"/>
                </a:lnTo>
                <a:lnTo>
                  <a:pt x="59" y="25"/>
                </a:lnTo>
                <a:lnTo>
                  <a:pt x="59" y="21"/>
                </a:lnTo>
                <a:lnTo>
                  <a:pt x="63" y="18"/>
                </a:lnTo>
                <a:lnTo>
                  <a:pt x="66" y="21"/>
                </a:lnTo>
                <a:lnTo>
                  <a:pt x="69" y="18"/>
                </a:lnTo>
                <a:lnTo>
                  <a:pt x="69" y="15"/>
                </a:lnTo>
                <a:lnTo>
                  <a:pt x="69" y="12"/>
                </a:lnTo>
                <a:lnTo>
                  <a:pt x="69" y="9"/>
                </a:lnTo>
                <a:lnTo>
                  <a:pt x="72" y="6"/>
                </a:lnTo>
                <a:lnTo>
                  <a:pt x="72" y="6"/>
                </a:lnTo>
                <a:lnTo>
                  <a:pt x="69" y="6"/>
                </a:lnTo>
                <a:lnTo>
                  <a:pt x="66" y="3"/>
                </a:lnTo>
                <a:lnTo>
                  <a:pt x="59" y="0"/>
                </a:lnTo>
                <a:lnTo>
                  <a:pt x="53" y="0"/>
                </a:lnTo>
                <a:lnTo>
                  <a:pt x="50" y="3"/>
                </a:lnTo>
                <a:lnTo>
                  <a:pt x="47" y="3"/>
                </a:lnTo>
                <a:lnTo>
                  <a:pt x="44" y="3"/>
                </a:lnTo>
                <a:lnTo>
                  <a:pt x="41" y="3"/>
                </a:lnTo>
                <a:lnTo>
                  <a:pt x="34" y="9"/>
                </a:lnTo>
                <a:lnTo>
                  <a:pt x="28" y="12"/>
                </a:lnTo>
                <a:lnTo>
                  <a:pt x="25" y="12"/>
                </a:lnTo>
                <a:lnTo>
                  <a:pt x="22" y="12"/>
                </a:lnTo>
                <a:lnTo>
                  <a:pt x="22" y="18"/>
                </a:lnTo>
                <a:lnTo>
                  <a:pt x="19" y="21"/>
                </a:lnTo>
                <a:lnTo>
                  <a:pt x="19" y="25"/>
                </a:lnTo>
                <a:lnTo>
                  <a:pt x="19" y="31"/>
                </a:lnTo>
                <a:lnTo>
                  <a:pt x="16" y="34"/>
                </a:lnTo>
                <a:lnTo>
                  <a:pt x="16" y="34"/>
                </a:lnTo>
                <a:lnTo>
                  <a:pt x="12" y="37"/>
                </a:lnTo>
                <a:lnTo>
                  <a:pt x="12" y="40"/>
                </a:lnTo>
                <a:lnTo>
                  <a:pt x="19" y="43"/>
                </a:lnTo>
                <a:lnTo>
                  <a:pt x="22" y="47"/>
                </a:lnTo>
                <a:lnTo>
                  <a:pt x="16" y="47"/>
                </a:lnTo>
                <a:lnTo>
                  <a:pt x="16" y="47"/>
                </a:lnTo>
                <a:lnTo>
                  <a:pt x="12" y="50"/>
                </a:lnTo>
                <a:lnTo>
                  <a:pt x="16" y="50"/>
                </a:lnTo>
                <a:lnTo>
                  <a:pt x="19" y="53"/>
                </a:lnTo>
                <a:lnTo>
                  <a:pt x="19" y="53"/>
                </a:lnTo>
                <a:lnTo>
                  <a:pt x="12" y="53"/>
                </a:lnTo>
                <a:lnTo>
                  <a:pt x="9" y="50"/>
                </a:lnTo>
                <a:lnTo>
                  <a:pt x="6" y="50"/>
                </a:lnTo>
                <a:lnTo>
                  <a:pt x="3" y="50"/>
                </a:lnTo>
                <a:lnTo>
                  <a:pt x="6" y="53"/>
                </a:lnTo>
                <a:lnTo>
                  <a:pt x="9" y="53"/>
                </a:lnTo>
                <a:lnTo>
                  <a:pt x="12" y="56"/>
                </a:lnTo>
                <a:lnTo>
                  <a:pt x="12" y="53"/>
                </a:lnTo>
                <a:lnTo>
                  <a:pt x="16" y="56"/>
                </a:lnTo>
                <a:lnTo>
                  <a:pt x="12" y="56"/>
                </a:lnTo>
                <a:lnTo>
                  <a:pt x="9" y="56"/>
                </a:lnTo>
                <a:lnTo>
                  <a:pt x="6" y="53"/>
                </a:lnTo>
                <a:lnTo>
                  <a:pt x="0" y="53"/>
                </a:lnTo>
                <a:lnTo>
                  <a:pt x="0" y="53"/>
                </a:lnTo>
                <a:lnTo>
                  <a:pt x="3" y="56"/>
                </a:lnTo>
                <a:lnTo>
                  <a:pt x="6" y="59"/>
                </a:lnTo>
                <a:lnTo>
                  <a:pt x="9" y="59"/>
                </a:lnTo>
                <a:lnTo>
                  <a:pt x="9" y="59"/>
                </a:lnTo>
                <a:lnTo>
                  <a:pt x="12" y="59"/>
                </a:lnTo>
                <a:lnTo>
                  <a:pt x="16" y="56"/>
                </a:lnTo>
                <a:lnTo>
                  <a:pt x="16" y="56"/>
                </a:lnTo>
                <a:lnTo>
                  <a:pt x="19" y="56"/>
                </a:lnTo>
                <a:lnTo>
                  <a:pt x="22" y="53"/>
                </a:lnTo>
                <a:lnTo>
                  <a:pt x="28" y="53"/>
                </a:lnTo>
                <a:lnTo>
                  <a:pt x="31" y="56"/>
                </a:lnTo>
                <a:lnTo>
                  <a:pt x="34" y="56"/>
                </a:lnTo>
                <a:lnTo>
                  <a:pt x="34" y="59"/>
                </a:lnTo>
                <a:lnTo>
                  <a:pt x="41" y="56"/>
                </a:lnTo>
                <a:lnTo>
                  <a:pt x="41" y="59"/>
                </a:lnTo>
                <a:lnTo>
                  <a:pt x="41" y="62"/>
                </a:lnTo>
                <a:lnTo>
                  <a:pt x="44" y="65"/>
                </a:lnTo>
                <a:lnTo>
                  <a:pt x="44" y="65"/>
                </a:lnTo>
                <a:close/>
                <a:moveTo>
                  <a:pt x="6" y="47"/>
                </a:moveTo>
                <a:lnTo>
                  <a:pt x="12" y="47"/>
                </a:lnTo>
                <a:lnTo>
                  <a:pt x="12" y="47"/>
                </a:lnTo>
                <a:lnTo>
                  <a:pt x="9" y="50"/>
                </a:lnTo>
                <a:lnTo>
                  <a:pt x="9" y="47"/>
                </a:lnTo>
                <a:lnTo>
                  <a:pt x="6" y="47"/>
                </a:lnTo>
                <a:lnTo>
                  <a:pt x="6" y="47"/>
                </a:lnTo>
                <a:close/>
                <a:moveTo>
                  <a:pt x="9" y="43"/>
                </a:moveTo>
                <a:lnTo>
                  <a:pt x="12" y="43"/>
                </a:lnTo>
                <a:lnTo>
                  <a:pt x="16" y="43"/>
                </a:lnTo>
                <a:lnTo>
                  <a:pt x="16" y="47"/>
                </a:lnTo>
                <a:lnTo>
                  <a:pt x="12" y="47"/>
                </a:lnTo>
                <a:lnTo>
                  <a:pt x="12" y="43"/>
                </a:lnTo>
                <a:lnTo>
                  <a:pt x="9" y="43"/>
                </a:lnTo>
                <a:lnTo>
                  <a:pt x="9" y="43"/>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2" name="Freeform 70">
            <a:extLst>
              <a:ext uri="{FF2B5EF4-FFF2-40B4-BE49-F238E27FC236}">
                <a16:creationId xmlns:a16="http://schemas.microsoft.com/office/drawing/2014/main" id="{DAC5685F-802A-EC37-2518-BD6487F9D724}"/>
              </a:ext>
            </a:extLst>
          </p:cNvPr>
          <p:cNvSpPr>
            <a:spLocks/>
          </p:cNvSpPr>
          <p:nvPr userDrawn="1"/>
        </p:nvSpPr>
        <p:spPr bwMode="auto">
          <a:xfrm>
            <a:off x="13308732" y="5841287"/>
            <a:ext cx="177788" cy="149226"/>
          </a:xfrm>
          <a:custGeom>
            <a:avLst/>
            <a:gdLst>
              <a:gd name="T0" fmla="*/ 53 w 56"/>
              <a:gd name="T1" fmla="*/ 31 h 47"/>
              <a:gd name="T2" fmla="*/ 56 w 56"/>
              <a:gd name="T3" fmla="*/ 25 h 47"/>
              <a:gd name="T4" fmla="*/ 53 w 56"/>
              <a:gd name="T5" fmla="*/ 22 h 47"/>
              <a:gd name="T6" fmla="*/ 53 w 56"/>
              <a:gd name="T7" fmla="*/ 19 h 47"/>
              <a:gd name="T8" fmla="*/ 50 w 56"/>
              <a:gd name="T9" fmla="*/ 15 h 47"/>
              <a:gd name="T10" fmla="*/ 53 w 56"/>
              <a:gd name="T11" fmla="*/ 12 h 47"/>
              <a:gd name="T12" fmla="*/ 47 w 56"/>
              <a:gd name="T13" fmla="*/ 9 h 47"/>
              <a:gd name="T14" fmla="*/ 47 w 56"/>
              <a:gd name="T15" fmla="*/ 6 h 47"/>
              <a:gd name="T16" fmla="*/ 47 w 56"/>
              <a:gd name="T17" fmla="*/ 3 h 47"/>
              <a:gd name="T18" fmla="*/ 40 w 56"/>
              <a:gd name="T19" fmla="*/ 6 h 47"/>
              <a:gd name="T20" fmla="*/ 40 w 56"/>
              <a:gd name="T21" fmla="*/ 3 h 47"/>
              <a:gd name="T22" fmla="*/ 37 w 56"/>
              <a:gd name="T23" fmla="*/ 3 h 47"/>
              <a:gd name="T24" fmla="*/ 34 w 56"/>
              <a:gd name="T25" fmla="*/ 0 h 47"/>
              <a:gd name="T26" fmla="*/ 28 w 56"/>
              <a:gd name="T27" fmla="*/ 0 h 47"/>
              <a:gd name="T28" fmla="*/ 25 w 56"/>
              <a:gd name="T29" fmla="*/ 3 h 47"/>
              <a:gd name="T30" fmla="*/ 22 w 56"/>
              <a:gd name="T31" fmla="*/ 3 h 47"/>
              <a:gd name="T32" fmla="*/ 22 w 56"/>
              <a:gd name="T33" fmla="*/ 3 h 47"/>
              <a:gd name="T34" fmla="*/ 18 w 56"/>
              <a:gd name="T35" fmla="*/ 6 h 47"/>
              <a:gd name="T36" fmla="*/ 15 w 56"/>
              <a:gd name="T37" fmla="*/ 6 h 47"/>
              <a:gd name="T38" fmla="*/ 15 w 56"/>
              <a:gd name="T39" fmla="*/ 6 h 47"/>
              <a:gd name="T40" fmla="*/ 12 w 56"/>
              <a:gd name="T41" fmla="*/ 6 h 47"/>
              <a:gd name="T42" fmla="*/ 9 w 56"/>
              <a:gd name="T43" fmla="*/ 3 h 47"/>
              <a:gd name="T44" fmla="*/ 6 w 56"/>
              <a:gd name="T45" fmla="*/ 0 h 47"/>
              <a:gd name="T46" fmla="*/ 3 w 56"/>
              <a:gd name="T47" fmla="*/ 3 h 47"/>
              <a:gd name="T48" fmla="*/ 0 w 56"/>
              <a:gd name="T49" fmla="*/ 9 h 47"/>
              <a:gd name="T50" fmla="*/ 3 w 56"/>
              <a:gd name="T51" fmla="*/ 9 h 47"/>
              <a:gd name="T52" fmla="*/ 3 w 56"/>
              <a:gd name="T53" fmla="*/ 19 h 47"/>
              <a:gd name="T54" fmla="*/ 9 w 56"/>
              <a:gd name="T55" fmla="*/ 19 h 47"/>
              <a:gd name="T56" fmla="*/ 9 w 56"/>
              <a:gd name="T57" fmla="*/ 22 h 47"/>
              <a:gd name="T58" fmla="*/ 15 w 56"/>
              <a:gd name="T59" fmla="*/ 28 h 47"/>
              <a:gd name="T60" fmla="*/ 15 w 56"/>
              <a:gd name="T61" fmla="*/ 28 h 47"/>
              <a:gd name="T62" fmla="*/ 18 w 56"/>
              <a:gd name="T63" fmla="*/ 28 h 47"/>
              <a:gd name="T64" fmla="*/ 22 w 56"/>
              <a:gd name="T65" fmla="*/ 31 h 47"/>
              <a:gd name="T66" fmla="*/ 22 w 56"/>
              <a:gd name="T67" fmla="*/ 34 h 47"/>
              <a:gd name="T68" fmla="*/ 25 w 56"/>
              <a:gd name="T69" fmla="*/ 37 h 47"/>
              <a:gd name="T70" fmla="*/ 28 w 56"/>
              <a:gd name="T71" fmla="*/ 37 h 47"/>
              <a:gd name="T72" fmla="*/ 31 w 56"/>
              <a:gd name="T73" fmla="*/ 37 h 47"/>
              <a:gd name="T74" fmla="*/ 31 w 56"/>
              <a:gd name="T75" fmla="*/ 37 h 47"/>
              <a:gd name="T76" fmla="*/ 34 w 56"/>
              <a:gd name="T77" fmla="*/ 37 h 47"/>
              <a:gd name="T78" fmla="*/ 40 w 56"/>
              <a:gd name="T79" fmla="*/ 44 h 47"/>
              <a:gd name="T80" fmla="*/ 43 w 56"/>
              <a:gd name="T81" fmla="*/ 44 h 47"/>
              <a:gd name="T82" fmla="*/ 47 w 56"/>
              <a:gd name="T83" fmla="*/ 47 h 47"/>
              <a:gd name="T84" fmla="*/ 50 w 56"/>
              <a:gd name="T85" fmla="*/ 47 h 47"/>
              <a:gd name="T86" fmla="*/ 53 w 56"/>
              <a:gd name="T87" fmla="*/ 47 h 47"/>
              <a:gd name="T88" fmla="*/ 53 w 56"/>
              <a:gd name="T89" fmla="*/ 44 h 47"/>
              <a:gd name="T90" fmla="*/ 50 w 56"/>
              <a:gd name="T91" fmla="*/ 44 h 47"/>
              <a:gd name="T92" fmla="*/ 50 w 56"/>
              <a:gd name="T93" fmla="*/ 40 h 47"/>
              <a:gd name="T94" fmla="*/ 50 w 56"/>
              <a:gd name="T95" fmla="*/ 37 h 47"/>
              <a:gd name="T96" fmla="*/ 50 w 56"/>
              <a:gd name="T97" fmla="*/ 34 h 47"/>
              <a:gd name="T98" fmla="*/ 53 w 56"/>
              <a:gd name="T99" fmla="*/ 31 h 47"/>
              <a:gd name="T100" fmla="*/ 53 w 56"/>
              <a:gd name="T101" fmla="*/ 3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 h="47">
                <a:moveTo>
                  <a:pt x="53" y="31"/>
                </a:moveTo>
                <a:lnTo>
                  <a:pt x="56" y="25"/>
                </a:lnTo>
                <a:lnTo>
                  <a:pt x="53" y="22"/>
                </a:lnTo>
                <a:lnTo>
                  <a:pt x="53" y="19"/>
                </a:lnTo>
                <a:lnTo>
                  <a:pt x="50" y="15"/>
                </a:lnTo>
                <a:lnTo>
                  <a:pt x="53" y="12"/>
                </a:lnTo>
                <a:lnTo>
                  <a:pt x="47" y="9"/>
                </a:lnTo>
                <a:lnTo>
                  <a:pt x="47" y="6"/>
                </a:lnTo>
                <a:lnTo>
                  <a:pt x="47" y="3"/>
                </a:lnTo>
                <a:lnTo>
                  <a:pt x="40" y="6"/>
                </a:lnTo>
                <a:lnTo>
                  <a:pt x="40" y="3"/>
                </a:lnTo>
                <a:lnTo>
                  <a:pt x="37" y="3"/>
                </a:lnTo>
                <a:lnTo>
                  <a:pt x="34" y="0"/>
                </a:lnTo>
                <a:lnTo>
                  <a:pt x="28" y="0"/>
                </a:lnTo>
                <a:lnTo>
                  <a:pt x="25" y="3"/>
                </a:lnTo>
                <a:lnTo>
                  <a:pt x="22" y="3"/>
                </a:lnTo>
                <a:lnTo>
                  <a:pt x="22" y="3"/>
                </a:lnTo>
                <a:lnTo>
                  <a:pt x="18" y="6"/>
                </a:lnTo>
                <a:lnTo>
                  <a:pt x="15" y="6"/>
                </a:lnTo>
                <a:lnTo>
                  <a:pt x="15" y="6"/>
                </a:lnTo>
                <a:lnTo>
                  <a:pt x="12" y="6"/>
                </a:lnTo>
                <a:lnTo>
                  <a:pt x="9" y="3"/>
                </a:lnTo>
                <a:lnTo>
                  <a:pt x="6" y="0"/>
                </a:lnTo>
                <a:lnTo>
                  <a:pt x="3" y="3"/>
                </a:lnTo>
                <a:lnTo>
                  <a:pt x="0" y="9"/>
                </a:lnTo>
                <a:lnTo>
                  <a:pt x="3" y="9"/>
                </a:lnTo>
                <a:lnTo>
                  <a:pt x="3" y="19"/>
                </a:lnTo>
                <a:lnTo>
                  <a:pt x="9" y="19"/>
                </a:lnTo>
                <a:lnTo>
                  <a:pt x="9" y="22"/>
                </a:lnTo>
                <a:lnTo>
                  <a:pt x="15" y="28"/>
                </a:lnTo>
                <a:lnTo>
                  <a:pt x="15" y="28"/>
                </a:lnTo>
                <a:lnTo>
                  <a:pt x="18" y="28"/>
                </a:lnTo>
                <a:lnTo>
                  <a:pt x="22" y="31"/>
                </a:lnTo>
                <a:lnTo>
                  <a:pt x="22" y="34"/>
                </a:lnTo>
                <a:lnTo>
                  <a:pt x="25" y="37"/>
                </a:lnTo>
                <a:lnTo>
                  <a:pt x="28" y="37"/>
                </a:lnTo>
                <a:lnTo>
                  <a:pt x="31" y="37"/>
                </a:lnTo>
                <a:lnTo>
                  <a:pt x="31" y="37"/>
                </a:lnTo>
                <a:lnTo>
                  <a:pt x="34" y="37"/>
                </a:lnTo>
                <a:lnTo>
                  <a:pt x="40" y="44"/>
                </a:lnTo>
                <a:lnTo>
                  <a:pt x="43" y="44"/>
                </a:lnTo>
                <a:lnTo>
                  <a:pt x="47" y="47"/>
                </a:lnTo>
                <a:lnTo>
                  <a:pt x="50" y="47"/>
                </a:lnTo>
                <a:lnTo>
                  <a:pt x="53" y="47"/>
                </a:lnTo>
                <a:lnTo>
                  <a:pt x="53" y="44"/>
                </a:lnTo>
                <a:lnTo>
                  <a:pt x="50" y="44"/>
                </a:lnTo>
                <a:lnTo>
                  <a:pt x="50" y="40"/>
                </a:lnTo>
                <a:lnTo>
                  <a:pt x="50" y="37"/>
                </a:lnTo>
                <a:lnTo>
                  <a:pt x="50" y="34"/>
                </a:lnTo>
                <a:lnTo>
                  <a:pt x="53" y="31"/>
                </a:lnTo>
                <a:lnTo>
                  <a:pt x="53" y="31"/>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3" name="Freeform 71">
            <a:extLst>
              <a:ext uri="{FF2B5EF4-FFF2-40B4-BE49-F238E27FC236}">
                <a16:creationId xmlns:a16="http://schemas.microsoft.com/office/drawing/2014/main" id="{A4177FDA-15C5-3B80-EC95-D1F92566B90F}"/>
              </a:ext>
            </a:extLst>
          </p:cNvPr>
          <p:cNvSpPr>
            <a:spLocks/>
          </p:cNvSpPr>
          <p:nvPr userDrawn="1"/>
        </p:nvSpPr>
        <p:spPr bwMode="auto">
          <a:xfrm>
            <a:off x="13467470" y="5939713"/>
            <a:ext cx="38100" cy="60326"/>
          </a:xfrm>
          <a:custGeom>
            <a:avLst/>
            <a:gdLst>
              <a:gd name="T0" fmla="*/ 3 w 12"/>
              <a:gd name="T1" fmla="*/ 16 h 19"/>
              <a:gd name="T2" fmla="*/ 3 w 12"/>
              <a:gd name="T3" fmla="*/ 13 h 19"/>
              <a:gd name="T4" fmla="*/ 0 w 12"/>
              <a:gd name="T5" fmla="*/ 13 h 19"/>
              <a:gd name="T6" fmla="*/ 0 w 12"/>
              <a:gd name="T7" fmla="*/ 9 h 19"/>
              <a:gd name="T8" fmla="*/ 0 w 12"/>
              <a:gd name="T9" fmla="*/ 6 h 19"/>
              <a:gd name="T10" fmla="*/ 0 w 12"/>
              <a:gd name="T11" fmla="*/ 3 h 19"/>
              <a:gd name="T12" fmla="*/ 3 w 12"/>
              <a:gd name="T13" fmla="*/ 0 h 19"/>
              <a:gd name="T14" fmla="*/ 6 w 12"/>
              <a:gd name="T15" fmla="*/ 0 h 19"/>
              <a:gd name="T16" fmla="*/ 9 w 12"/>
              <a:gd name="T17" fmla="*/ 6 h 19"/>
              <a:gd name="T18" fmla="*/ 9 w 12"/>
              <a:gd name="T19" fmla="*/ 9 h 19"/>
              <a:gd name="T20" fmla="*/ 12 w 12"/>
              <a:gd name="T21" fmla="*/ 13 h 19"/>
              <a:gd name="T22" fmla="*/ 12 w 12"/>
              <a:gd name="T23" fmla="*/ 19 h 19"/>
              <a:gd name="T24" fmla="*/ 9 w 12"/>
              <a:gd name="T25" fmla="*/ 19 h 19"/>
              <a:gd name="T26" fmla="*/ 3 w 12"/>
              <a:gd name="T27" fmla="*/ 19 h 19"/>
              <a:gd name="T28" fmla="*/ 3 w 12"/>
              <a:gd name="T29" fmla="*/ 16 h 19"/>
              <a:gd name="T30" fmla="*/ 3 w 12"/>
              <a:gd name="T31"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9">
                <a:moveTo>
                  <a:pt x="3" y="16"/>
                </a:moveTo>
                <a:lnTo>
                  <a:pt x="3" y="13"/>
                </a:lnTo>
                <a:lnTo>
                  <a:pt x="0" y="13"/>
                </a:lnTo>
                <a:lnTo>
                  <a:pt x="0" y="9"/>
                </a:lnTo>
                <a:lnTo>
                  <a:pt x="0" y="6"/>
                </a:lnTo>
                <a:lnTo>
                  <a:pt x="0" y="3"/>
                </a:lnTo>
                <a:lnTo>
                  <a:pt x="3" y="0"/>
                </a:lnTo>
                <a:lnTo>
                  <a:pt x="6" y="0"/>
                </a:lnTo>
                <a:lnTo>
                  <a:pt x="9" y="6"/>
                </a:lnTo>
                <a:lnTo>
                  <a:pt x="9" y="9"/>
                </a:lnTo>
                <a:lnTo>
                  <a:pt x="12" y="13"/>
                </a:lnTo>
                <a:lnTo>
                  <a:pt x="12" y="19"/>
                </a:lnTo>
                <a:lnTo>
                  <a:pt x="9" y="19"/>
                </a:lnTo>
                <a:lnTo>
                  <a:pt x="3" y="19"/>
                </a:lnTo>
                <a:lnTo>
                  <a:pt x="3" y="16"/>
                </a:lnTo>
                <a:lnTo>
                  <a:pt x="3" y="16"/>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4" name="Freeform 72">
            <a:extLst>
              <a:ext uri="{FF2B5EF4-FFF2-40B4-BE49-F238E27FC236}">
                <a16:creationId xmlns:a16="http://schemas.microsoft.com/office/drawing/2014/main" id="{F79750A8-9725-333F-BE2E-01353D19D9DC}"/>
              </a:ext>
            </a:extLst>
          </p:cNvPr>
          <p:cNvSpPr>
            <a:spLocks noEditPoints="1"/>
          </p:cNvSpPr>
          <p:nvPr userDrawn="1"/>
        </p:nvSpPr>
        <p:spPr bwMode="auto">
          <a:xfrm>
            <a:off x="12772187" y="4837987"/>
            <a:ext cx="38100" cy="98426"/>
          </a:xfrm>
          <a:custGeom>
            <a:avLst/>
            <a:gdLst>
              <a:gd name="T0" fmla="*/ 2 w 4"/>
              <a:gd name="T1" fmla="*/ 8 h 10"/>
              <a:gd name="T2" fmla="*/ 3 w 4"/>
              <a:gd name="T3" fmla="*/ 10 h 10"/>
              <a:gd name="T4" fmla="*/ 3 w 4"/>
              <a:gd name="T5" fmla="*/ 9 h 10"/>
              <a:gd name="T6" fmla="*/ 3 w 4"/>
              <a:gd name="T7" fmla="*/ 8 h 10"/>
              <a:gd name="T8" fmla="*/ 2 w 4"/>
              <a:gd name="T9" fmla="*/ 8 h 10"/>
              <a:gd name="T10" fmla="*/ 3 w 4"/>
              <a:gd name="T11" fmla="*/ 5 h 10"/>
              <a:gd name="T12" fmla="*/ 2 w 4"/>
              <a:gd name="T13" fmla="*/ 5 h 10"/>
              <a:gd name="T14" fmla="*/ 3 w 4"/>
              <a:gd name="T15" fmla="*/ 6 h 10"/>
              <a:gd name="T16" fmla="*/ 3 w 4"/>
              <a:gd name="T17" fmla="*/ 5 h 10"/>
              <a:gd name="T18" fmla="*/ 3 w 4"/>
              <a:gd name="T19" fmla="*/ 5 h 10"/>
              <a:gd name="T20" fmla="*/ 0 w 4"/>
              <a:gd name="T21" fmla="*/ 1 h 10"/>
              <a:gd name="T22" fmla="*/ 0 w 4"/>
              <a:gd name="T23" fmla="*/ 2 h 10"/>
              <a:gd name="T24" fmla="*/ 1 w 4"/>
              <a:gd name="T25" fmla="*/ 3 h 10"/>
              <a:gd name="T26" fmla="*/ 0 w 4"/>
              <a:gd name="T27" fmla="*/ 1 h 10"/>
              <a:gd name="T28" fmla="*/ 3 w 4"/>
              <a:gd name="T29" fmla="*/ 0 h 10"/>
              <a:gd name="T30" fmla="*/ 4 w 4"/>
              <a:gd name="T31" fmla="*/ 1 h 10"/>
              <a:gd name="T32" fmla="*/ 4 w 4"/>
              <a:gd name="T33" fmla="*/ 0 h 10"/>
              <a:gd name="T34" fmla="*/ 3 w 4"/>
              <a:gd name="T35" fmla="*/ 0 h 10"/>
              <a:gd name="T36" fmla="*/ 1 w 4"/>
              <a:gd name="T37" fmla="*/ 0 h 10"/>
              <a:gd name="T38" fmla="*/ 2 w 4"/>
              <a:gd name="T39" fmla="*/ 0 h 10"/>
              <a:gd name="T40" fmla="*/ 3 w 4"/>
              <a:gd name="T41" fmla="*/ 1 h 10"/>
              <a:gd name="T42" fmla="*/ 3 w 4"/>
              <a:gd name="T43" fmla="*/ 2 h 10"/>
              <a:gd name="T44" fmla="*/ 2 w 4"/>
              <a:gd name="T45" fmla="*/ 1 h 10"/>
              <a:gd name="T46" fmla="*/ 1 w 4"/>
              <a:gd name="T47" fmla="*/ 0 h 10"/>
              <a:gd name="T48" fmla="*/ 1 w 4"/>
              <a:gd name="T49" fmla="*/ 0 h 10"/>
              <a:gd name="T50" fmla="*/ 3 w 4"/>
              <a:gd name="T51" fmla="*/ 3 h 10"/>
              <a:gd name="T52" fmla="*/ 4 w 4"/>
              <a:gd name="T53" fmla="*/ 4 h 10"/>
              <a:gd name="T54" fmla="*/ 3 w 4"/>
              <a:gd name="T55" fmla="*/ 4 h 10"/>
              <a:gd name="T56" fmla="*/ 1 w 4"/>
              <a:gd name="T57" fmla="*/ 2 h 10"/>
              <a:gd name="T58" fmla="*/ 1 w 4"/>
              <a:gd name="T59" fmla="*/ 1 h 10"/>
              <a:gd name="T60" fmla="*/ 1 w 4"/>
              <a:gd name="T6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 h="10">
                <a:moveTo>
                  <a:pt x="2" y="8"/>
                </a:moveTo>
                <a:cubicBezTo>
                  <a:pt x="3" y="10"/>
                  <a:pt x="3" y="10"/>
                  <a:pt x="3" y="10"/>
                </a:cubicBezTo>
                <a:cubicBezTo>
                  <a:pt x="3" y="9"/>
                  <a:pt x="3" y="9"/>
                  <a:pt x="3" y="9"/>
                </a:cubicBezTo>
                <a:cubicBezTo>
                  <a:pt x="3" y="8"/>
                  <a:pt x="3" y="8"/>
                  <a:pt x="3" y="8"/>
                </a:cubicBezTo>
                <a:cubicBezTo>
                  <a:pt x="2" y="8"/>
                  <a:pt x="2" y="8"/>
                  <a:pt x="2" y="8"/>
                </a:cubicBezTo>
                <a:close/>
                <a:moveTo>
                  <a:pt x="3" y="5"/>
                </a:moveTo>
                <a:cubicBezTo>
                  <a:pt x="2" y="5"/>
                  <a:pt x="2" y="5"/>
                  <a:pt x="2" y="5"/>
                </a:cubicBezTo>
                <a:cubicBezTo>
                  <a:pt x="3" y="6"/>
                  <a:pt x="3" y="6"/>
                  <a:pt x="3" y="6"/>
                </a:cubicBezTo>
                <a:cubicBezTo>
                  <a:pt x="3" y="5"/>
                  <a:pt x="3" y="5"/>
                  <a:pt x="3" y="5"/>
                </a:cubicBezTo>
                <a:cubicBezTo>
                  <a:pt x="3" y="5"/>
                  <a:pt x="3" y="5"/>
                  <a:pt x="3" y="5"/>
                </a:cubicBezTo>
                <a:close/>
                <a:moveTo>
                  <a:pt x="0" y="1"/>
                </a:moveTo>
                <a:cubicBezTo>
                  <a:pt x="0" y="2"/>
                  <a:pt x="0" y="2"/>
                  <a:pt x="0" y="2"/>
                </a:cubicBezTo>
                <a:cubicBezTo>
                  <a:pt x="1" y="3"/>
                  <a:pt x="1" y="3"/>
                  <a:pt x="1" y="3"/>
                </a:cubicBezTo>
                <a:cubicBezTo>
                  <a:pt x="0" y="1"/>
                  <a:pt x="0" y="1"/>
                  <a:pt x="0" y="1"/>
                </a:cubicBezTo>
                <a:close/>
                <a:moveTo>
                  <a:pt x="3" y="0"/>
                </a:moveTo>
                <a:cubicBezTo>
                  <a:pt x="4" y="1"/>
                  <a:pt x="4" y="1"/>
                  <a:pt x="4" y="1"/>
                </a:cubicBezTo>
                <a:cubicBezTo>
                  <a:pt x="4" y="0"/>
                  <a:pt x="4" y="0"/>
                  <a:pt x="4" y="0"/>
                </a:cubicBezTo>
                <a:cubicBezTo>
                  <a:pt x="3" y="0"/>
                  <a:pt x="3" y="0"/>
                  <a:pt x="3" y="0"/>
                </a:cubicBezTo>
                <a:close/>
                <a:moveTo>
                  <a:pt x="1" y="0"/>
                </a:moveTo>
                <a:cubicBezTo>
                  <a:pt x="1" y="0"/>
                  <a:pt x="2" y="0"/>
                  <a:pt x="2" y="0"/>
                </a:cubicBezTo>
                <a:cubicBezTo>
                  <a:pt x="3" y="1"/>
                  <a:pt x="3" y="1"/>
                  <a:pt x="3" y="1"/>
                </a:cubicBezTo>
                <a:cubicBezTo>
                  <a:pt x="3" y="2"/>
                  <a:pt x="3" y="2"/>
                  <a:pt x="3" y="2"/>
                </a:cubicBezTo>
                <a:cubicBezTo>
                  <a:pt x="2" y="1"/>
                  <a:pt x="2" y="1"/>
                  <a:pt x="2" y="1"/>
                </a:cubicBezTo>
                <a:cubicBezTo>
                  <a:pt x="1" y="0"/>
                  <a:pt x="1" y="0"/>
                  <a:pt x="1" y="0"/>
                </a:cubicBezTo>
                <a:close/>
                <a:moveTo>
                  <a:pt x="1" y="0"/>
                </a:moveTo>
                <a:cubicBezTo>
                  <a:pt x="3" y="3"/>
                  <a:pt x="3" y="3"/>
                  <a:pt x="3" y="3"/>
                </a:cubicBezTo>
                <a:cubicBezTo>
                  <a:pt x="4" y="4"/>
                  <a:pt x="4" y="4"/>
                  <a:pt x="4" y="4"/>
                </a:cubicBezTo>
                <a:cubicBezTo>
                  <a:pt x="3" y="4"/>
                  <a:pt x="3" y="4"/>
                  <a:pt x="3" y="4"/>
                </a:cubicBezTo>
                <a:cubicBezTo>
                  <a:pt x="1" y="2"/>
                  <a:pt x="1" y="2"/>
                  <a:pt x="1" y="2"/>
                </a:cubicBezTo>
                <a:cubicBezTo>
                  <a:pt x="1" y="1"/>
                  <a:pt x="1" y="1"/>
                  <a:pt x="1" y="1"/>
                </a:cubicBezTo>
                <a:lnTo>
                  <a:pt x="1" y="0"/>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5" name="Freeform 73">
            <a:extLst>
              <a:ext uri="{FF2B5EF4-FFF2-40B4-BE49-F238E27FC236}">
                <a16:creationId xmlns:a16="http://schemas.microsoft.com/office/drawing/2014/main" id="{2BA1BC17-A3E3-8031-DDB4-979C88C0B844}"/>
              </a:ext>
            </a:extLst>
          </p:cNvPr>
          <p:cNvSpPr>
            <a:spLocks/>
          </p:cNvSpPr>
          <p:nvPr userDrawn="1"/>
        </p:nvSpPr>
        <p:spPr bwMode="auto">
          <a:xfrm>
            <a:off x="12572185" y="5492037"/>
            <a:ext cx="250810" cy="339726"/>
          </a:xfrm>
          <a:custGeom>
            <a:avLst/>
            <a:gdLst>
              <a:gd name="T0" fmla="*/ 35 w 79"/>
              <a:gd name="T1" fmla="*/ 104 h 107"/>
              <a:gd name="T2" fmla="*/ 41 w 79"/>
              <a:gd name="T3" fmla="*/ 97 h 107"/>
              <a:gd name="T4" fmla="*/ 47 w 79"/>
              <a:gd name="T5" fmla="*/ 94 h 107"/>
              <a:gd name="T6" fmla="*/ 60 w 79"/>
              <a:gd name="T7" fmla="*/ 91 h 107"/>
              <a:gd name="T8" fmla="*/ 66 w 79"/>
              <a:gd name="T9" fmla="*/ 88 h 107"/>
              <a:gd name="T10" fmla="*/ 69 w 79"/>
              <a:gd name="T11" fmla="*/ 85 h 107"/>
              <a:gd name="T12" fmla="*/ 75 w 79"/>
              <a:gd name="T13" fmla="*/ 75 h 107"/>
              <a:gd name="T14" fmla="*/ 79 w 79"/>
              <a:gd name="T15" fmla="*/ 60 h 107"/>
              <a:gd name="T16" fmla="*/ 79 w 79"/>
              <a:gd name="T17" fmla="*/ 53 h 107"/>
              <a:gd name="T18" fmla="*/ 72 w 79"/>
              <a:gd name="T19" fmla="*/ 41 h 107"/>
              <a:gd name="T20" fmla="*/ 72 w 79"/>
              <a:gd name="T21" fmla="*/ 38 h 107"/>
              <a:gd name="T22" fmla="*/ 60 w 79"/>
              <a:gd name="T23" fmla="*/ 25 h 107"/>
              <a:gd name="T24" fmla="*/ 54 w 79"/>
              <a:gd name="T25" fmla="*/ 35 h 107"/>
              <a:gd name="T26" fmla="*/ 54 w 79"/>
              <a:gd name="T27" fmla="*/ 16 h 107"/>
              <a:gd name="T28" fmla="*/ 60 w 79"/>
              <a:gd name="T29" fmla="*/ 10 h 107"/>
              <a:gd name="T30" fmla="*/ 66 w 79"/>
              <a:gd name="T31" fmla="*/ 7 h 107"/>
              <a:gd name="T32" fmla="*/ 60 w 79"/>
              <a:gd name="T33" fmla="*/ 3 h 107"/>
              <a:gd name="T34" fmla="*/ 54 w 79"/>
              <a:gd name="T35" fmla="*/ 13 h 107"/>
              <a:gd name="T36" fmla="*/ 54 w 79"/>
              <a:gd name="T37" fmla="*/ 3 h 107"/>
              <a:gd name="T38" fmla="*/ 50 w 79"/>
              <a:gd name="T39" fmla="*/ 7 h 107"/>
              <a:gd name="T40" fmla="*/ 44 w 79"/>
              <a:gd name="T41" fmla="*/ 10 h 107"/>
              <a:gd name="T42" fmla="*/ 44 w 79"/>
              <a:gd name="T43" fmla="*/ 13 h 107"/>
              <a:gd name="T44" fmla="*/ 41 w 79"/>
              <a:gd name="T45" fmla="*/ 16 h 107"/>
              <a:gd name="T46" fmla="*/ 41 w 79"/>
              <a:gd name="T47" fmla="*/ 22 h 107"/>
              <a:gd name="T48" fmla="*/ 47 w 79"/>
              <a:gd name="T49" fmla="*/ 22 h 107"/>
              <a:gd name="T50" fmla="*/ 38 w 79"/>
              <a:gd name="T51" fmla="*/ 28 h 107"/>
              <a:gd name="T52" fmla="*/ 29 w 79"/>
              <a:gd name="T53" fmla="*/ 32 h 107"/>
              <a:gd name="T54" fmla="*/ 16 w 79"/>
              <a:gd name="T55" fmla="*/ 28 h 107"/>
              <a:gd name="T56" fmla="*/ 13 w 79"/>
              <a:gd name="T57" fmla="*/ 32 h 107"/>
              <a:gd name="T58" fmla="*/ 16 w 79"/>
              <a:gd name="T59" fmla="*/ 38 h 107"/>
              <a:gd name="T60" fmla="*/ 10 w 79"/>
              <a:gd name="T61" fmla="*/ 35 h 107"/>
              <a:gd name="T62" fmla="*/ 19 w 79"/>
              <a:gd name="T63" fmla="*/ 41 h 107"/>
              <a:gd name="T64" fmla="*/ 16 w 79"/>
              <a:gd name="T65" fmla="*/ 47 h 107"/>
              <a:gd name="T66" fmla="*/ 10 w 79"/>
              <a:gd name="T67" fmla="*/ 50 h 107"/>
              <a:gd name="T68" fmla="*/ 13 w 79"/>
              <a:gd name="T69" fmla="*/ 53 h 107"/>
              <a:gd name="T70" fmla="*/ 29 w 79"/>
              <a:gd name="T71" fmla="*/ 57 h 107"/>
              <a:gd name="T72" fmla="*/ 19 w 79"/>
              <a:gd name="T73" fmla="*/ 66 h 107"/>
              <a:gd name="T74" fmla="*/ 10 w 79"/>
              <a:gd name="T75" fmla="*/ 75 h 107"/>
              <a:gd name="T76" fmla="*/ 19 w 79"/>
              <a:gd name="T77" fmla="*/ 75 h 107"/>
              <a:gd name="T78" fmla="*/ 29 w 79"/>
              <a:gd name="T79" fmla="*/ 72 h 107"/>
              <a:gd name="T80" fmla="*/ 16 w 79"/>
              <a:gd name="T81" fmla="*/ 75 h 107"/>
              <a:gd name="T82" fmla="*/ 13 w 79"/>
              <a:gd name="T83" fmla="*/ 82 h 107"/>
              <a:gd name="T84" fmla="*/ 10 w 79"/>
              <a:gd name="T85" fmla="*/ 85 h 107"/>
              <a:gd name="T86" fmla="*/ 7 w 79"/>
              <a:gd name="T87" fmla="*/ 82 h 107"/>
              <a:gd name="T88" fmla="*/ 13 w 79"/>
              <a:gd name="T89" fmla="*/ 88 h 107"/>
              <a:gd name="T90" fmla="*/ 4 w 79"/>
              <a:gd name="T91" fmla="*/ 94 h 107"/>
              <a:gd name="T92" fmla="*/ 16 w 79"/>
              <a:gd name="T93" fmla="*/ 94 h 107"/>
              <a:gd name="T94" fmla="*/ 10 w 79"/>
              <a:gd name="T95" fmla="*/ 100 h 107"/>
              <a:gd name="T96" fmla="*/ 10 w 79"/>
              <a:gd name="T97" fmla="*/ 104 h 107"/>
              <a:gd name="T98" fmla="*/ 19 w 79"/>
              <a:gd name="T99" fmla="*/ 10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 h="107">
                <a:moveTo>
                  <a:pt x="19" y="107"/>
                </a:moveTo>
                <a:lnTo>
                  <a:pt x="29" y="104"/>
                </a:lnTo>
                <a:lnTo>
                  <a:pt x="35" y="104"/>
                </a:lnTo>
                <a:lnTo>
                  <a:pt x="38" y="100"/>
                </a:lnTo>
                <a:lnTo>
                  <a:pt x="38" y="94"/>
                </a:lnTo>
                <a:lnTo>
                  <a:pt x="41" y="97"/>
                </a:lnTo>
                <a:lnTo>
                  <a:pt x="38" y="97"/>
                </a:lnTo>
                <a:lnTo>
                  <a:pt x="44" y="97"/>
                </a:lnTo>
                <a:lnTo>
                  <a:pt x="47" y="94"/>
                </a:lnTo>
                <a:lnTo>
                  <a:pt x="50" y="94"/>
                </a:lnTo>
                <a:lnTo>
                  <a:pt x="50" y="91"/>
                </a:lnTo>
                <a:lnTo>
                  <a:pt x="60" y="91"/>
                </a:lnTo>
                <a:lnTo>
                  <a:pt x="63" y="88"/>
                </a:lnTo>
                <a:lnTo>
                  <a:pt x="63" y="91"/>
                </a:lnTo>
                <a:lnTo>
                  <a:pt x="66" y="88"/>
                </a:lnTo>
                <a:lnTo>
                  <a:pt x="69" y="88"/>
                </a:lnTo>
                <a:lnTo>
                  <a:pt x="75" y="88"/>
                </a:lnTo>
                <a:lnTo>
                  <a:pt x="69" y="85"/>
                </a:lnTo>
                <a:lnTo>
                  <a:pt x="72" y="82"/>
                </a:lnTo>
                <a:lnTo>
                  <a:pt x="75" y="78"/>
                </a:lnTo>
                <a:lnTo>
                  <a:pt x="75" y="75"/>
                </a:lnTo>
                <a:lnTo>
                  <a:pt x="79" y="72"/>
                </a:lnTo>
                <a:lnTo>
                  <a:pt x="79" y="69"/>
                </a:lnTo>
                <a:lnTo>
                  <a:pt x="79" y="60"/>
                </a:lnTo>
                <a:lnTo>
                  <a:pt x="75" y="57"/>
                </a:lnTo>
                <a:lnTo>
                  <a:pt x="79" y="57"/>
                </a:lnTo>
                <a:lnTo>
                  <a:pt x="79" y="53"/>
                </a:lnTo>
                <a:lnTo>
                  <a:pt x="75" y="47"/>
                </a:lnTo>
                <a:lnTo>
                  <a:pt x="75" y="44"/>
                </a:lnTo>
                <a:lnTo>
                  <a:pt x="72" y="41"/>
                </a:lnTo>
                <a:lnTo>
                  <a:pt x="75" y="41"/>
                </a:lnTo>
                <a:lnTo>
                  <a:pt x="79" y="41"/>
                </a:lnTo>
                <a:lnTo>
                  <a:pt x="72" y="38"/>
                </a:lnTo>
                <a:lnTo>
                  <a:pt x="69" y="38"/>
                </a:lnTo>
                <a:lnTo>
                  <a:pt x="66" y="28"/>
                </a:lnTo>
                <a:lnTo>
                  <a:pt x="60" y="25"/>
                </a:lnTo>
                <a:lnTo>
                  <a:pt x="60" y="28"/>
                </a:lnTo>
                <a:lnTo>
                  <a:pt x="57" y="35"/>
                </a:lnTo>
                <a:lnTo>
                  <a:pt x="54" y="35"/>
                </a:lnTo>
                <a:lnTo>
                  <a:pt x="47" y="25"/>
                </a:lnTo>
                <a:lnTo>
                  <a:pt x="50" y="19"/>
                </a:lnTo>
                <a:lnTo>
                  <a:pt x="54" y="16"/>
                </a:lnTo>
                <a:lnTo>
                  <a:pt x="57" y="13"/>
                </a:lnTo>
                <a:lnTo>
                  <a:pt x="60" y="13"/>
                </a:lnTo>
                <a:lnTo>
                  <a:pt x="60" y="10"/>
                </a:lnTo>
                <a:lnTo>
                  <a:pt x="60" y="10"/>
                </a:lnTo>
                <a:lnTo>
                  <a:pt x="63" y="7"/>
                </a:lnTo>
                <a:lnTo>
                  <a:pt x="66" y="7"/>
                </a:lnTo>
                <a:lnTo>
                  <a:pt x="63" y="3"/>
                </a:lnTo>
                <a:lnTo>
                  <a:pt x="60" y="0"/>
                </a:lnTo>
                <a:lnTo>
                  <a:pt x="60" y="3"/>
                </a:lnTo>
                <a:lnTo>
                  <a:pt x="57" y="3"/>
                </a:lnTo>
                <a:lnTo>
                  <a:pt x="57" y="7"/>
                </a:lnTo>
                <a:lnTo>
                  <a:pt x="54" y="13"/>
                </a:lnTo>
                <a:lnTo>
                  <a:pt x="54" y="10"/>
                </a:lnTo>
                <a:lnTo>
                  <a:pt x="57" y="7"/>
                </a:lnTo>
                <a:lnTo>
                  <a:pt x="54" y="3"/>
                </a:lnTo>
                <a:lnTo>
                  <a:pt x="50" y="3"/>
                </a:lnTo>
                <a:lnTo>
                  <a:pt x="54" y="7"/>
                </a:lnTo>
                <a:lnTo>
                  <a:pt x="50" y="7"/>
                </a:lnTo>
                <a:lnTo>
                  <a:pt x="47" y="7"/>
                </a:lnTo>
                <a:lnTo>
                  <a:pt x="44" y="7"/>
                </a:lnTo>
                <a:lnTo>
                  <a:pt x="44" y="10"/>
                </a:lnTo>
                <a:lnTo>
                  <a:pt x="41" y="10"/>
                </a:lnTo>
                <a:lnTo>
                  <a:pt x="41" y="13"/>
                </a:lnTo>
                <a:lnTo>
                  <a:pt x="44" y="13"/>
                </a:lnTo>
                <a:lnTo>
                  <a:pt x="41" y="16"/>
                </a:lnTo>
                <a:lnTo>
                  <a:pt x="38" y="16"/>
                </a:lnTo>
                <a:lnTo>
                  <a:pt x="41" y="16"/>
                </a:lnTo>
                <a:lnTo>
                  <a:pt x="35" y="19"/>
                </a:lnTo>
                <a:lnTo>
                  <a:pt x="38" y="22"/>
                </a:lnTo>
                <a:lnTo>
                  <a:pt x="41" y="22"/>
                </a:lnTo>
                <a:lnTo>
                  <a:pt x="41" y="22"/>
                </a:lnTo>
                <a:lnTo>
                  <a:pt x="44" y="22"/>
                </a:lnTo>
                <a:lnTo>
                  <a:pt x="47" y="22"/>
                </a:lnTo>
                <a:lnTo>
                  <a:pt x="41" y="25"/>
                </a:lnTo>
                <a:lnTo>
                  <a:pt x="35" y="28"/>
                </a:lnTo>
                <a:lnTo>
                  <a:pt x="38" y="28"/>
                </a:lnTo>
                <a:lnTo>
                  <a:pt x="32" y="32"/>
                </a:lnTo>
                <a:lnTo>
                  <a:pt x="29" y="28"/>
                </a:lnTo>
                <a:lnTo>
                  <a:pt x="29" y="32"/>
                </a:lnTo>
                <a:lnTo>
                  <a:pt x="25" y="28"/>
                </a:lnTo>
                <a:lnTo>
                  <a:pt x="16" y="28"/>
                </a:lnTo>
                <a:lnTo>
                  <a:pt x="16" y="28"/>
                </a:lnTo>
                <a:lnTo>
                  <a:pt x="13" y="28"/>
                </a:lnTo>
                <a:lnTo>
                  <a:pt x="10" y="32"/>
                </a:lnTo>
                <a:lnTo>
                  <a:pt x="13" y="32"/>
                </a:lnTo>
                <a:lnTo>
                  <a:pt x="13" y="35"/>
                </a:lnTo>
                <a:lnTo>
                  <a:pt x="16" y="35"/>
                </a:lnTo>
                <a:lnTo>
                  <a:pt x="16" y="38"/>
                </a:lnTo>
                <a:lnTo>
                  <a:pt x="13" y="38"/>
                </a:lnTo>
                <a:lnTo>
                  <a:pt x="13" y="35"/>
                </a:lnTo>
                <a:lnTo>
                  <a:pt x="10" y="35"/>
                </a:lnTo>
                <a:lnTo>
                  <a:pt x="16" y="41"/>
                </a:lnTo>
                <a:lnTo>
                  <a:pt x="19" y="38"/>
                </a:lnTo>
                <a:lnTo>
                  <a:pt x="19" y="41"/>
                </a:lnTo>
                <a:lnTo>
                  <a:pt x="16" y="44"/>
                </a:lnTo>
                <a:lnTo>
                  <a:pt x="13" y="44"/>
                </a:lnTo>
                <a:lnTo>
                  <a:pt x="16" y="47"/>
                </a:lnTo>
                <a:lnTo>
                  <a:pt x="10" y="47"/>
                </a:lnTo>
                <a:lnTo>
                  <a:pt x="10" y="50"/>
                </a:lnTo>
                <a:lnTo>
                  <a:pt x="10" y="50"/>
                </a:lnTo>
                <a:lnTo>
                  <a:pt x="13" y="53"/>
                </a:lnTo>
                <a:lnTo>
                  <a:pt x="16" y="53"/>
                </a:lnTo>
                <a:lnTo>
                  <a:pt x="13" y="53"/>
                </a:lnTo>
                <a:lnTo>
                  <a:pt x="19" y="53"/>
                </a:lnTo>
                <a:lnTo>
                  <a:pt x="19" y="57"/>
                </a:lnTo>
                <a:lnTo>
                  <a:pt x="29" y="57"/>
                </a:lnTo>
                <a:lnTo>
                  <a:pt x="25" y="63"/>
                </a:lnTo>
                <a:lnTo>
                  <a:pt x="22" y="60"/>
                </a:lnTo>
                <a:lnTo>
                  <a:pt x="19" y="66"/>
                </a:lnTo>
                <a:lnTo>
                  <a:pt x="22" y="66"/>
                </a:lnTo>
                <a:lnTo>
                  <a:pt x="19" y="72"/>
                </a:lnTo>
                <a:lnTo>
                  <a:pt x="10" y="75"/>
                </a:lnTo>
                <a:lnTo>
                  <a:pt x="13" y="75"/>
                </a:lnTo>
                <a:lnTo>
                  <a:pt x="19" y="72"/>
                </a:lnTo>
                <a:lnTo>
                  <a:pt x="19" y="75"/>
                </a:lnTo>
                <a:lnTo>
                  <a:pt x="25" y="75"/>
                </a:lnTo>
                <a:lnTo>
                  <a:pt x="29" y="72"/>
                </a:lnTo>
                <a:lnTo>
                  <a:pt x="29" y="72"/>
                </a:lnTo>
                <a:lnTo>
                  <a:pt x="32" y="72"/>
                </a:lnTo>
                <a:lnTo>
                  <a:pt x="22" y="75"/>
                </a:lnTo>
                <a:lnTo>
                  <a:pt x="16" y="75"/>
                </a:lnTo>
                <a:lnTo>
                  <a:pt x="16" y="78"/>
                </a:lnTo>
                <a:lnTo>
                  <a:pt x="10" y="78"/>
                </a:lnTo>
                <a:lnTo>
                  <a:pt x="13" y="82"/>
                </a:lnTo>
                <a:lnTo>
                  <a:pt x="13" y="85"/>
                </a:lnTo>
                <a:lnTo>
                  <a:pt x="13" y="85"/>
                </a:lnTo>
                <a:lnTo>
                  <a:pt x="10" y="85"/>
                </a:lnTo>
                <a:lnTo>
                  <a:pt x="7" y="82"/>
                </a:lnTo>
                <a:lnTo>
                  <a:pt x="7" y="85"/>
                </a:lnTo>
                <a:lnTo>
                  <a:pt x="7" y="82"/>
                </a:lnTo>
                <a:lnTo>
                  <a:pt x="0" y="85"/>
                </a:lnTo>
                <a:lnTo>
                  <a:pt x="0" y="88"/>
                </a:lnTo>
                <a:lnTo>
                  <a:pt x="13" y="88"/>
                </a:lnTo>
                <a:lnTo>
                  <a:pt x="10" y="91"/>
                </a:lnTo>
                <a:lnTo>
                  <a:pt x="4" y="91"/>
                </a:lnTo>
                <a:lnTo>
                  <a:pt x="4" y="94"/>
                </a:lnTo>
                <a:lnTo>
                  <a:pt x="7" y="94"/>
                </a:lnTo>
                <a:lnTo>
                  <a:pt x="7" y="97"/>
                </a:lnTo>
                <a:lnTo>
                  <a:pt x="16" y="94"/>
                </a:lnTo>
                <a:lnTo>
                  <a:pt x="10" y="100"/>
                </a:lnTo>
                <a:lnTo>
                  <a:pt x="7" y="100"/>
                </a:lnTo>
                <a:lnTo>
                  <a:pt x="10" y="100"/>
                </a:lnTo>
                <a:lnTo>
                  <a:pt x="16" y="97"/>
                </a:lnTo>
                <a:lnTo>
                  <a:pt x="16" y="100"/>
                </a:lnTo>
                <a:lnTo>
                  <a:pt x="10" y="104"/>
                </a:lnTo>
                <a:lnTo>
                  <a:pt x="13" y="104"/>
                </a:lnTo>
                <a:lnTo>
                  <a:pt x="13" y="104"/>
                </a:lnTo>
                <a:lnTo>
                  <a:pt x="19" y="104"/>
                </a:lnTo>
                <a:lnTo>
                  <a:pt x="19" y="107"/>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6" name="Freeform 74">
            <a:extLst>
              <a:ext uri="{FF2B5EF4-FFF2-40B4-BE49-F238E27FC236}">
                <a16:creationId xmlns:a16="http://schemas.microsoft.com/office/drawing/2014/main" id="{DC1883C7-77E8-DEE7-E566-29F0A9830EBA}"/>
              </a:ext>
            </a:extLst>
          </p:cNvPr>
          <p:cNvSpPr>
            <a:spLocks noEditPoints="1"/>
          </p:cNvSpPr>
          <p:nvPr userDrawn="1"/>
        </p:nvSpPr>
        <p:spPr bwMode="auto">
          <a:xfrm>
            <a:off x="12721394" y="4987209"/>
            <a:ext cx="536541" cy="981078"/>
          </a:xfrm>
          <a:custGeom>
            <a:avLst/>
            <a:gdLst>
              <a:gd name="T0" fmla="*/ 2 w 54"/>
              <a:gd name="T1" fmla="*/ 56 h 99"/>
              <a:gd name="T2" fmla="*/ 12 w 54"/>
              <a:gd name="T3" fmla="*/ 57 h 99"/>
              <a:gd name="T4" fmla="*/ 11 w 54"/>
              <a:gd name="T5" fmla="*/ 62 h 99"/>
              <a:gd name="T6" fmla="*/ 39 w 54"/>
              <a:gd name="T7" fmla="*/ 0 h 99"/>
              <a:gd name="T8" fmla="*/ 38 w 54"/>
              <a:gd name="T9" fmla="*/ 1 h 99"/>
              <a:gd name="T10" fmla="*/ 36 w 54"/>
              <a:gd name="T11" fmla="*/ 4 h 99"/>
              <a:gd name="T12" fmla="*/ 50 w 54"/>
              <a:gd name="T13" fmla="*/ 86 h 99"/>
              <a:gd name="T14" fmla="*/ 36 w 54"/>
              <a:gd name="T15" fmla="*/ 93 h 99"/>
              <a:gd name="T16" fmla="*/ 6 w 54"/>
              <a:gd name="T17" fmla="*/ 41 h 99"/>
              <a:gd name="T18" fmla="*/ 9 w 54"/>
              <a:gd name="T19" fmla="*/ 37 h 99"/>
              <a:gd name="T20" fmla="*/ 26 w 54"/>
              <a:gd name="T21" fmla="*/ 19 h 99"/>
              <a:gd name="T22" fmla="*/ 25 w 54"/>
              <a:gd name="T23" fmla="*/ 22 h 99"/>
              <a:gd name="T24" fmla="*/ 11 w 54"/>
              <a:gd name="T25" fmla="*/ 26 h 99"/>
              <a:gd name="T26" fmla="*/ 7 w 54"/>
              <a:gd name="T27" fmla="*/ 29 h 99"/>
              <a:gd name="T28" fmla="*/ 4 w 54"/>
              <a:gd name="T29" fmla="*/ 33 h 99"/>
              <a:gd name="T30" fmla="*/ 5 w 54"/>
              <a:gd name="T31" fmla="*/ 35 h 99"/>
              <a:gd name="T32" fmla="*/ 9 w 54"/>
              <a:gd name="T33" fmla="*/ 34 h 99"/>
              <a:gd name="T34" fmla="*/ 11 w 54"/>
              <a:gd name="T35" fmla="*/ 34 h 99"/>
              <a:gd name="T36" fmla="*/ 12 w 54"/>
              <a:gd name="T37" fmla="*/ 42 h 99"/>
              <a:gd name="T38" fmla="*/ 12 w 54"/>
              <a:gd name="T39" fmla="*/ 47 h 99"/>
              <a:gd name="T40" fmla="*/ 16 w 54"/>
              <a:gd name="T41" fmla="*/ 52 h 99"/>
              <a:gd name="T42" fmla="*/ 17 w 54"/>
              <a:gd name="T43" fmla="*/ 63 h 99"/>
              <a:gd name="T44" fmla="*/ 16 w 54"/>
              <a:gd name="T45" fmla="*/ 98 h 99"/>
              <a:gd name="T46" fmla="*/ 24 w 54"/>
              <a:gd name="T47" fmla="*/ 97 h 99"/>
              <a:gd name="T48" fmla="*/ 31 w 54"/>
              <a:gd name="T49" fmla="*/ 93 h 99"/>
              <a:gd name="T50" fmla="*/ 40 w 54"/>
              <a:gd name="T51" fmla="*/ 92 h 99"/>
              <a:gd name="T52" fmla="*/ 51 w 54"/>
              <a:gd name="T53" fmla="*/ 89 h 99"/>
              <a:gd name="T54" fmla="*/ 48 w 54"/>
              <a:gd name="T55" fmla="*/ 86 h 99"/>
              <a:gd name="T56" fmla="*/ 50 w 54"/>
              <a:gd name="T57" fmla="*/ 82 h 99"/>
              <a:gd name="T58" fmla="*/ 53 w 54"/>
              <a:gd name="T59" fmla="*/ 80 h 99"/>
              <a:gd name="T60" fmla="*/ 44 w 54"/>
              <a:gd name="T61" fmla="*/ 73 h 99"/>
              <a:gd name="T62" fmla="*/ 40 w 54"/>
              <a:gd name="T63" fmla="*/ 66 h 99"/>
              <a:gd name="T64" fmla="*/ 42 w 54"/>
              <a:gd name="T65" fmla="*/ 62 h 99"/>
              <a:gd name="T66" fmla="*/ 33 w 54"/>
              <a:gd name="T67" fmla="*/ 50 h 99"/>
              <a:gd name="T68" fmla="*/ 23 w 54"/>
              <a:gd name="T69" fmla="*/ 45 h 99"/>
              <a:gd name="T70" fmla="*/ 25 w 54"/>
              <a:gd name="T71" fmla="*/ 43 h 99"/>
              <a:gd name="T72" fmla="*/ 31 w 54"/>
              <a:gd name="T73" fmla="*/ 34 h 99"/>
              <a:gd name="T74" fmla="*/ 24 w 54"/>
              <a:gd name="T75" fmla="*/ 32 h 99"/>
              <a:gd name="T76" fmla="*/ 21 w 54"/>
              <a:gd name="T77" fmla="*/ 29 h 99"/>
              <a:gd name="T78" fmla="*/ 22 w 54"/>
              <a:gd name="T79" fmla="*/ 24 h 99"/>
              <a:gd name="T80" fmla="*/ 16 w 54"/>
              <a:gd name="T81" fmla="*/ 24 h 99"/>
              <a:gd name="T82" fmla="*/ 14 w 54"/>
              <a:gd name="T83" fmla="*/ 30 h 99"/>
              <a:gd name="T84" fmla="*/ 13 w 54"/>
              <a:gd name="T85" fmla="*/ 33 h 99"/>
              <a:gd name="T86" fmla="*/ 13 w 54"/>
              <a:gd name="T87" fmla="*/ 35 h 99"/>
              <a:gd name="T88" fmla="*/ 12 w 54"/>
              <a:gd name="T89" fmla="*/ 39 h 99"/>
              <a:gd name="T90" fmla="*/ 13 w 54"/>
              <a:gd name="T91" fmla="*/ 42 h 99"/>
              <a:gd name="T92" fmla="*/ 13 w 54"/>
              <a:gd name="T93" fmla="*/ 48 h 99"/>
              <a:gd name="T94" fmla="*/ 14 w 54"/>
              <a:gd name="T95" fmla="*/ 48 h 99"/>
              <a:gd name="T96" fmla="*/ 17 w 54"/>
              <a:gd name="T97" fmla="*/ 45 h 99"/>
              <a:gd name="T98" fmla="*/ 16 w 54"/>
              <a:gd name="T99" fmla="*/ 56 h 99"/>
              <a:gd name="T100" fmla="*/ 22 w 54"/>
              <a:gd name="T101" fmla="*/ 57 h 99"/>
              <a:gd name="T102" fmla="*/ 28 w 54"/>
              <a:gd name="T103" fmla="*/ 62 h 99"/>
              <a:gd name="T104" fmla="*/ 27 w 54"/>
              <a:gd name="T105" fmla="*/ 69 h 99"/>
              <a:gd name="T106" fmla="*/ 17 w 54"/>
              <a:gd name="T107" fmla="*/ 74 h 99"/>
              <a:gd name="T108" fmla="*/ 19 w 54"/>
              <a:gd name="T109" fmla="*/ 80 h 99"/>
              <a:gd name="T110" fmla="*/ 16 w 54"/>
              <a:gd name="T111" fmla="*/ 85 h 99"/>
              <a:gd name="T112" fmla="*/ 24 w 54"/>
              <a:gd name="T113" fmla="*/ 86 h 99"/>
              <a:gd name="T114" fmla="*/ 27 w 54"/>
              <a:gd name="T115" fmla="*/ 89 h 99"/>
              <a:gd name="T116" fmla="*/ 16 w 54"/>
              <a:gd name="T117" fmla="*/ 94 h 99"/>
              <a:gd name="T118" fmla="*/ 15 w 54"/>
              <a:gd name="T119"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 h="99">
                <a:moveTo>
                  <a:pt x="10" y="64"/>
                </a:moveTo>
                <a:cubicBezTo>
                  <a:pt x="8" y="63"/>
                  <a:pt x="8" y="63"/>
                  <a:pt x="8" y="63"/>
                </a:cubicBezTo>
                <a:cubicBezTo>
                  <a:pt x="7" y="63"/>
                  <a:pt x="7" y="63"/>
                  <a:pt x="7" y="63"/>
                </a:cubicBezTo>
                <a:cubicBezTo>
                  <a:pt x="6" y="60"/>
                  <a:pt x="6" y="60"/>
                  <a:pt x="6" y="60"/>
                </a:cubicBezTo>
                <a:cubicBezTo>
                  <a:pt x="4" y="59"/>
                  <a:pt x="4" y="59"/>
                  <a:pt x="4" y="59"/>
                </a:cubicBezTo>
                <a:cubicBezTo>
                  <a:pt x="4" y="60"/>
                  <a:pt x="4" y="60"/>
                  <a:pt x="4" y="60"/>
                </a:cubicBezTo>
                <a:cubicBezTo>
                  <a:pt x="3" y="62"/>
                  <a:pt x="3" y="62"/>
                  <a:pt x="3" y="62"/>
                </a:cubicBezTo>
                <a:cubicBezTo>
                  <a:pt x="2" y="62"/>
                  <a:pt x="2" y="62"/>
                  <a:pt x="2" y="62"/>
                </a:cubicBezTo>
                <a:cubicBezTo>
                  <a:pt x="0" y="59"/>
                  <a:pt x="0" y="59"/>
                  <a:pt x="0" y="59"/>
                </a:cubicBezTo>
                <a:cubicBezTo>
                  <a:pt x="1" y="57"/>
                  <a:pt x="1" y="57"/>
                  <a:pt x="1" y="57"/>
                </a:cubicBezTo>
                <a:cubicBezTo>
                  <a:pt x="2" y="56"/>
                  <a:pt x="2" y="56"/>
                  <a:pt x="2" y="56"/>
                </a:cubicBezTo>
                <a:cubicBezTo>
                  <a:pt x="3" y="55"/>
                  <a:pt x="3" y="55"/>
                  <a:pt x="3" y="55"/>
                </a:cubicBezTo>
                <a:cubicBezTo>
                  <a:pt x="4" y="55"/>
                  <a:pt x="4" y="55"/>
                  <a:pt x="4" y="55"/>
                </a:cubicBezTo>
                <a:cubicBezTo>
                  <a:pt x="4" y="54"/>
                  <a:pt x="4" y="54"/>
                  <a:pt x="4" y="54"/>
                </a:cubicBezTo>
                <a:cubicBezTo>
                  <a:pt x="5" y="54"/>
                  <a:pt x="5" y="54"/>
                  <a:pt x="5" y="54"/>
                </a:cubicBezTo>
                <a:cubicBezTo>
                  <a:pt x="6" y="54"/>
                  <a:pt x="6" y="54"/>
                  <a:pt x="6" y="54"/>
                </a:cubicBezTo>
                <a:cubicBezTo>
                  <a:pt x="7" y="54"/>
                  <a:pt x="7" y="54"/>
                  <a:pt x="7" y="54"/>
                </a:cubicBezTo>
                <a:cubicBezTo>
                  <a:pt x="8" y="53"/>
                  <a:pt x="8" y="53"/>
                  <a:pt x="8" y="53"/>
                </a:cubicBezTo>
                <a:cubicBezTo>
                  <a:pt x="10" y="53"/>
                  <a:pt x="10" y="53"/>
                  <a:pt x="10" y="53"/>
                </a:cubicBezTo>
                <a:cubicBezTo>
                  <a:pt x="11" y="53"/>
                  <a:pt x="11" y="53"/>
                  <a:pt x="11" y="53"/>
                </a:cubicBezTo>
                <a:cubicBezTo>
                  <a:pt x="11" y="55"/>
                  <a:pt x="11" y="55"/>
                  <a:pt x="11" y="55"/>
                </a:cubicBezTo>
                <a:cubicBezTo>
                  <a:pt x="12" y="57"/>
                  <a:pt x="12" y="57"/>
                  <a:pt x="12" y="57"/>
                </a:cubicBezTo>
                <a:cubicBezTo>
                  <a:pt x="12" y="58"/>
                  <a:pt x="12" y="58"/>
                  <a:pt x="12" y="58"/>
                </a:cubicBezTo>
                <a:cubicBezTo>
                  <a:pt x="13" y="58"/>
                  <a:pt x="13" y="58"/>
                  <a:pt x="13" y="58"/>
                </a:cubicBezTo>
                <a:cubicBezTo>
                  <a:pt x="14" y="61"/>
                  <a:pt x="14" y="61"/>
                  <a:pt x="14" y="61"/>
                </a:cubicBezTo>
                <a:cubicBezTo>
                  <a:pt x="13" y="59"/>
                  <a:pt x="13" y="59"/>
                  <a:pt x="13" y="59"/>
                </a:cubicBezTo>
                <a:cubicBezTo>
                  <a:pt x="12" y="59"/>
                  <a:pt x="12" y="59"/>
                  <a:pt x="12" y="59"/>
                </a:cubicBezTo>
                <a:cubicBezTo>
                  <a:pt x="13" y="59"/>
                  <a:pt x="13" y="59"/>
                  <a:pt x="13" y="59"/>
                </a:cubicBezTo>
                <a:cubicBezTo>
                  <a:pt x="12" y="60"/>
                  <a:pt x="12" y="60"/>
                  <a:pt x="12" y="60"/>
                </a:cubicBezTo>
                <a:cubicBezTo>
                  <a:pt x="13" y="61"/>
                  <a:pt x="13" y="61"/>
                  <a:pt x="13" y="61"/>
                </a:cubicBezTo>
                <a:cubicBezTo>
                  <a:pt x="13" y="62"/>
                  <a:pt x="13" y="62"/>
                  <a:pt x="13" y="62"/>
                </a:cubicBezTo>
                <a:cubicBezTo>
                  <a:pt x="11" y="61"/>
                  <a:pt x="11" y="61"/>
                  <a:pt x="11" y="61"/>
                </a:cubicBezTo>
                <a:cubicBezTo>
                  <a:pt x="11" y="62"/>
                  <a:pt x="11" y="62"/>
                  <a:pt x="11" y="62"/>
                </a:cubicBezTo>
                <a:cubicBezTo>
                  <a:pt x="10" y="63"/>
                  <a:pt x="10" y="63"/>
                  <a:pt x="10" y="63"/>
                </a:cubicBezTo>
                <a:cubicBezTo>
                  <a:pt x="10" y="63"/>
                  <a:pt x="10" y="63"/>
                  <a:pt x="10" y="63"/>
                </a:cubicBezTo>
                <a:cubicBezTo>
                  <a:pt x="10" y="64"/>
                  <a:pt x="10" y="64"/>
                  <a:pt x="10" y="64"/>
                </a:cubicBezTo>
                <a:cubicBezTo>
                  <a:pt x="10" y="64"/>
                  <a:pt x="10" y="64"/>
                  <a:pt x="10" y="64"/>
                </a:cubicBezTo>
                <a:close/>
                <a:moveTo>
                  <a:pt x="36" y="9"/>
                </a:moveTo>
                <a:cubicBezTo>
                  <a:pt x="37" y="8"/>
                  <a:pt x="37" y="8"/>
                  <a:pt x="37" y="8"/>
                </a:cubicBezTo>
                <a:cubicBezTo>
                  <a:pt x="37" y="8"/>
                  <a:pt x="37" y="8"/>
                  <a:pt x="37" y="8"/>
                </a:cubicBezTo>
                <a:cubicBezTo>
                  <a:pt x="36" y="9"/>
                  <a:pt x="36" y="9"/>
                  <a:pt x="36" y="9"/>
                </a:cubicBezTo>
                <a:close/>
                <a:moveTo>
                  <a:pt x="38" y="1"/>
                </a:moveTo>
                <a:cubicBezTo>
                  <a:pt x="38" y="1"/>
                  <a:pt x="38" y="1"/>
                  <a:pt x="38" y="1"/>
                </a:cubicBezTo>
                <a:cubicBezTo>
                  <a:pt x="39" y="0"/>
                  <a:pt x="39" y="0"/>
                  <a:pt x="39" y="0"/>
                </a:cubicBezTo>
                <a:cubicBezTo>
                  <a:pt x="38" y="1"/>
                  <a:pt x="38" y="1"/>
                  <a:pt x="38" y="1"/>
                </a:cubicBezTo>
                <a:close/>
                <a:moveTo>
                  <a:pt x="36" y="4"/>
                </a:moveTo>
                <a:cubicBezTo>
                  <a:pt x="36" y="3"/>
                  <a:pt x="36" y="3"/>
                  <a:pt x="36" y="3"/>
                </a:cubicBezTo>
                <a:cubicBezTo>
                  <a:pt x="35" y="3"/>
                  <a:pt x="35" y="3"/>
                  <a:pt x="35" y="3"/>
                </a:cubicBezTo>
                <a:cubicBezTo>
                  <a:pt x="35" y="4"/>
                  <a:pt x="35" y="4"/>
                  <a:pt x="35" y="4"/>
                </a:cubicBezTo>
                <a:cubicBezTo>
                  <a:pt x="35" y="4"/>
                  <a:pt x="36" y="4"/>
                  <a:pt x="36" y="4"/>
                </a:cubicBezTo>
                <a:close/>
                <a:moveTo>
                  <a:pt x="37" y="3"/>
                </a:moveTo>
                <a:cubicBezTo>
                  <a:pt x="36" y="3"/>
                  <a:pt x="36" y="3"/>
                  <a:pt x="36" y="3"/>
                </a:cubicBezTo>
                <a:cubicBezTo>
                  <a:pt x="37" y="2"/>
                  <a:pt x="37" y="2"/>
                  <a:pt x="37" y="2"/>
                </a:cubicBezTo>
                <a:cubicBezTo>
                  <a:pt x="37" y="1"/>
                  <a:pt x="37" y="1"/>
                  <a:pt x="37" y="1"/>
                </a:cubicBezTo>
                <a:cubicBezTo>
                  <a:pt x="38" y="1"/>
                  <a:pt x="38" y="1"/>
                  <a:pt x="38" y="1"/>
                </a:cubicBezTo>
                <a:cubicBezTo>
                  <a:pt x="38" y="3"/>
                  <a:pt x="38" y="3"/>
                  <a:pt x="38" y="3"/>
                </a:cubicBezTo>
                <a:cubicBezTo>
                  <a:pt x="37" y="3"/>
                  <a:pt x="37" y="3"/>
                  <a:pt x="37" y="3"/>
                </a:cubicBezTo>
                <a:close/>
                <a:moveTo>
                  <a:pt x="37" y="7"/>
                </a:moveTo>
                <a:cubicBezTo>
                  <a:pt x="36" y="6"/>
                  <a:pt x="36" y="6"/>
                  <a:pt x="36" y="6"/>
                </a:cubicBezTo>
                <a:cubicBezTo>
                  <a:pt x="35" y="6"/>
                  <a:pt x="35" y="6"/>
                  <a:pt x="35" y="6"/>
                </a:cubicBezTo>
                <a:cubicBezTo>
                  <a:pt x="34" y="5"/>
                  <a:pt x="34" y="5"/>
                  <a:pt x="34" y="5"/>
                </a:cubicBezTo>
                <a:cubicBezTo>
                  <a:pt x="35" y="5"/>
                  <a:pt x="35" y="5"/>
                  <a:pt x="35" y="5"/>
                </a:cubicBezTo>
                <a:cubicBezTo>
                  <a:pt x="36" y="5"/>
                  <a:pt x="36" y="5"/>
                  <a:pt x="36" y="5"/>
                </a:cubicBezTo>
                <a:cubicBezTo>
                  <a:pt x="36" y="5"/>
                  <a:pt x="36" y="5"/>
                  <a:pt x="36" y="5"/>
                </a:cubicBezTo>
                <a:cubicBezTo>
                  <a:pt x="36" y="4"/>
                  <a:pt x="36" y="4"/>
                  <a:pt x="36" y="4"/>
                </a:cubicBezTo>
                <a:cubicBezTo>
                  <a:pt x="36" y="4"/>
                  <a:pt x="36" y="4"/>
                  <a:pt x="36" y="4"/>
                </a:cubicBezTo>
                <a:cubicBezTo>
                  <a:pt x="37" y="4"/>
                  <a:pt x="37" y="4"/>
                  <a:pt x="37" y="4"/>
                </a:cubicBezTo>
                <a:cubicBezTo>
                  <a:pt x="38" y="4"/>
                  <a:pt x="38" y="4"/>
                  <a:pt x="38" y="4"/>
                </a:cubicBezTo>
                <a:cubicBezTo>
                  <a:pt x="37" y="5"/>
                  <a:pt x="37" y="5"/>
                  <a:pt x="37" y="5"/>
                </a:cubicBezTo>
                <a:cubicBezTo>
                  <a:pt x="38" y="6"/>
                  <a:pt x="38" y="6"/>
                  <a:pt x="38" y="6"/>
                </a:cubicBezTo>
                <a:cubicBezTo>
                  <a:pt x="37" y="6"/>
                  <a:pt x="37" y="6"/>
                  <a:pt x="37" y="6"/>
                </a:cubicBezTo>
                <a:cubicBezTo>
                  <a:pt x="37" y="7"/>
                  <a:pt x="37" y="7"/>
                  <a:pt x="37" y="7"/>
                </a:cubicBezTo>
                <a:cubicBezTo>
                  <a:pt x="37" y="7"/>
                  <a:pt x="37" y="7"/>
                  <a:pt x="37" y="7"/>
                </a:cubicBezTo>
                <a:close/>
                <a:moveTo>
                  <a:pt x="49" y="86"/>
                </a:moveTo>
                <a:cubicBezTo>
                  <a:pt x="49" y="86"/>
                  <a:pt x="49" y="86"/>
                  <a:pt x="49" y="86"/>
                </a:cubicBezTo>
                <a:cubicBezTo>
                  <a:pt x="50" y="86"/>
                  <a:pt x="50" y="86"/>
                  <a:pt x="50" y="86"/>
                </a:cubicBezTo>
                <a:cubicBezTo>
                  <a:pt x="50" y="86"/>
                  <a:pt x="50" y="86"/>
                  <a:pt x="50" y="86"/>
                </a:cubicBezTo>
                <a:cubicBezTo>
                  <a:pt x="49" y="85"/>
                  <a:pt x="49" y="85"/>
                  <a:pt x="49" y="85"/>
                </a:cubicBezTo>
                <a:cubicBezTo>
                  <a:pt x="49" y="86"/>
                  <a:pt x="49" y="86"/>
                  <a:pt x="49" y="86"/>
                </a:cubicBezTo>
                <a:close/>
                <a:moveTo>
                  <a:pt x="36" y="93"/>
                </a:moveTo>
                <a:cubicBezTo>
                  <a:pt x="37" y="92"/>
                  <a:pt x="37" y="92"/>
                  <a:pt x="37" y="92"/>
                </a:cubicBezTo>
                <a:cubicBezTo>
                  <a:pt x="38" y="92"/>
                  <a:pt x="38" y="92"/>
                  <a:pt x="38" y="92"/>
                </a:cubicBezTo>
                <a:cubicBezTo>
                  <a:pt x="39" y="92"/>
                  <a:pt x="39" y="92"/>
                  <a:pt x="39" y="92"/>
                </a:cubicBezTo>
                <a:cubicBezTo>
                  <a:pt x="38" y="93"/>
                  <a:pt x="38" y="93"/>
                  <a:pt x="38" y="93"/>
                </a:cubicBezTo>
                <a:cubicBezTo>
                  <a:pt x="38" y="94"/>
                  <a:pt x="38" y="94"/>
                  <a:pt x="38" y="94"/>
                </a:cubicBezTo>
                <a:cubicBezTo>
                  <a:pt x="37" y="94"/>
                  <a:pt x="37" y="94"/>
                  <a:pt x="37" y="94"/>
                </a:cubicBezTo>
                <a:cubicBezTo>
                  <a:pt x="37" y="93"/>
                  <a:pt x="37" y="93"/>
                  <a:pt x="37" y="93"/>
                </a:cubicBezTo>
                <a:cubicBezTo>
                  <a:pt x="36" y="93"/>
                  <a:pt x="36" y="93"/>
                  <a:pt x="36" y="93"/>
                </a:cubicBezTo>
                <a:close/>
                <a:moveTo>
                  <a:pt x="16" y="47"/>
                </a:moveTo>
                <a:cubicBezTo>
                  <a:pt x="15" y="48"/>
                  <a:pt x="15" y="48"/>
                  <a:pt x="15" y="48"/>
                </a:cubicBezTo>
                <a:cubicBezTo>
                  <a:pt x="16" y="49"/>
                  <a:pt x="16" y="49"/>
                  <a:pt x="16" y="49"/>
                </a:cubicBezTo>
                <a:cubicBezTo>
                  <a:pt x="16" y="48"/>
                  <a:pt x="16" y="48"/>
                  <a:pt x="16" y="48"/>
                </a:cubicBezTo>
                <a:cubicBezTo>
                  <a:pt x="16" y="47"/>
                  <a:pt x="16" y="47"/>
                  <a:pt x="16" y="47"/>
                </a:cubicBezTo>
                <a:close/>
                <a:moveTo>
                  <a:pt x="10" y="46"/>
                </a:moveTo>
                <a:cubicBezTo>
                  <a:pt x="10" y="45"/>
                  <a:pt x="10" y="45"/>
                  <a:pt x="10" y="45"/>
                </a:cubicBezTo>
                <a:cubicBezTo>
                  <a:pt x="10" y="46"/>
                  <a:pt x="10" y="46"/>
                  <a:pt x="10" y="46"/>
                </a:cubicBezTo>
                <a:cubicBezTo>
                  <a:pt x="10" y="46"/>
                  <a:pt x="10" y="46"/>
                  <a:pt x="10" y="46"/>
                </a:cubicBezTo>
                <a:close/>
                <a:moveTo>
                  <a:pt x="6" y="42"/>
                </a:moveTo>
                <a:cubicBezTo>
                  <a:pt x="6" y="41"/>
                  <a:pt x="6" y="41"/>
                  <a:pt x="6" y="41"/>
                </a:cubicBezTo>
                <a:cubicBezTo>
                  <a:pt x="7" y="41"/>
                  <a:pt x="7" y="41"/>
                  <a:pt x="7" y="41"/>
                </a:cubicBezTo>
                <a:cubicBezTo>
                  <a:pt x="6" y="42"/>
                  <a:pt x="6" y="42"/>
                  <a:pt x="6" y="42"/>
                </a:cubicBezTo>
                <a:close/>
                <a:moveTo>
                  <a:pt x="8" y="41"/>
                </a:moveTo>
                <a:cubicBezTo>
                  <a:pt x="9" y="40"/>
                  <a:pt x="9" y="40"/>
                  <a:pt x="9" y="40"/>
                </a:cubicBezTo>
                <a:cubicBezTo>
                  <a:pt x="9" y="41"/>
                  <a:pt x="9" y="41"/>
                  <a:pt x="9" y="41"/>
                </a:cubicBezTo>
                <a:cubicBezTo>
                  <a:pt x="8" y="41"/>
                  <a:pt x="8" y="41"/>
                  <a:pt x="8" y="41"/>
                </a:cubicBezTo>
                <a:close/>
                <a:moveTo>
                  <a:pt x="10" y="39"/>
                </a:moveTo>
                <a:cubicBezTo>
                  <a:pt x="11" y="38"/>
                  <a:pt x="11" y="38"/>
                  <a:pt x="11" y="38"/>
                </a:cubicBezTo>
                <a:cubicBezTo>
                  <a:pt x="10" y="38"/>
                  <a:pt x="10" y="38"/>
                  <a:pt x="10" y="38"/>
                </a:cubicBezTo>
                <a:cubicBezTo>
                  <a:pt x="10" y="39"/>
                  <a:pt x="10" y="39"/>
                  <a:pt x="10" y="39"/>
                </a:cubicBezTo>
                <a:close/>
                <a:moveTo>
                  <a:pt x="9" y="37"/>
                </a:moveTo>
                <a:cubicBezTo>
                  <a:pt x="10" y="38"/>
                  <a:pt x="10" y="38"/>
                  <a:pt x="10" y="38"/>
                </a:cubicBezTo>
                <a:cubicBezTo>
                  <a:pt x="10" y="38"/>
                  <a:pt x="10" y="38"/>
                  <a:pt x="10" y="38"/>
                </a:cubicBezTo>
                <a:cubicBezTo>
                  <a:pt x="10" y="37"/>
                  <a:pt x="10" y="37"/>
                  <a:pt x="10" y="37"/>
                </a:cubicBezTo>
                <a:cubicBezTo>
                  <a:pt x="9" y="37"/>
                  <a:pt x="9" y="37"/>
                  <a:pt x="9" y="37"/>
                </a:cubicBezTo>
                <a:close/>
                <a:moveTo>
                  <a:pt x="25" y="18"/>
                </a:moveTo>
                <a:cubicBezTo>
                  <a:pt x="26" y="19"/>
                  <a:pt x="26" y="19"/>
                  <a:pt x="26" y="19"/>
                </a:cubicBezTo>
                <a:cubicBezTo>
                  <a:pt x="26" y="18"/>
                  <a:pt x="26" y="18"/>
                  <a:pt x="26" y="18"/>
                </a:cubicBezTo>
                <a:cubicBezTo>
                  <a:pt x="25" y="18"/>
                  <a:pt x="25" y="18"/>
                  <a:pt x="25" y="18"/>
                </a:cubicBezTo>
                <a:close/>
                <a:moveTo>
                  <a:pt x="24" y="19"/>
                </a:moveTo>
                <a:cubicBezTo>
                  <a:pt x="25" y="19"/>
                  <a:pt x="25" y="19"/>
                  <a:pt x="25" y="19"/>
                </a:cubicBezTo>
                <a:cubicBezTo>
                  <a:pt x="26" y="19"/>
                  <a:pt x="26" y="19"/>
                  <a:pt x="26" y="19"/>
                </a:cubicBezTo>
                <a:cubicBezTo>
                  <a:pt x="25" y="20"/>
                  <a:pt x="25" y="20"/>
                  <a:pt x="25" y="20"/>
                </a:cubicBezTo>
                <a:cubicBezTo>
                  <a:pt x="27" y="20"/>
                  <a:pt x="27" y="20"/>
                  <a:pt x="27" y="20"/>
                </a:cubicBezTo>
                <a:cubicBezTo>
                  <a:pt x="27" y="21"/>
                  <a:pt x="27" y="21"/>
                  <a:pt x="27" y="21"/>
                </a:cubicBezTo>
                <a:cubicBezTo>
                  <a:pt x="26" y="20"/>
                  <a:pt x="26" y="20"/>
                  <a:pt x="26" y="20"/>
                </a:cubicBezTo>
                <a:cubicBezTo>
                  <a:pt x="25" y="20"/>
                  <a:pt x="25" y="20"/>
                  <a:pt x="25" y="20"/>
                </a:cubicBezTo>
                <a:cubicBezTo>
                  <a:pt x="25" y="20"/>
                  <a:pt x="25" y="20"/>
                  <a:pt x="25" y="20"/>
                </a:cubicBezTo>
                <a:cubicBezTo>
                  <a:pt x="25" y="20"/>
                  <a:pt x="25" y="20"/>
                  <a:pt x="25" y="20"/>
                </a:cubicBezTo>
                <a:cubicBezTo>
                  <a:pt x="24" y="20"/>
                  <a:pt x="24" y="20"/>
                  <a:pt x="24" y="20"/>
                </a:cubicBezTo>
                <a:cubicBezTo>
                  <a:pt x="24" y="19"/>
                  <a:pt x="24" y="19"/>
                  <a:pt x="24" y="19"/>
                </a:cubicBezTo>
                <a:close/>
                <a:moveTo>
                  <a:pt x="24" y="21"/>
                </a:moveTo>
                <a:cubicBezTo>
                  <a:pt x="25" y="22"/>
                  <a:pt x="25" y="22"/>
                  <a:pt x="25" y="22"/>
                </a:cubicBezTo>
                <a:cubicBezTo>
                  <a:pt x="25" y="21"/>
                  <a:pt x="25" y="21"/>
                  <a:pt x="25" y="21"/>
                </a:cubicBezTo>
                <a:cubicBezTo>
                  <a:pt x="25" y="21"/>
                  <a:pt x="25" y="21"/>
                  <a:pt x="25" y="21"/>
                </a:cubicBezTo>
                <a:cubicBezTo>
                  <a:pt x="24" y="21"/>
                  <a:pt x="24" y="21"/>
                  <a:pt x="24" y="21"/>
                </a:cubicBezTo>
                <a:close/>
                <a:moveTo>
                  <a:pt x="6" y="28"/>
                </a:moveTo>
                <a:cubicBezTo>
                  <a:pt x="7" y="28"/>
                  <a:pt x="7" y="28"/>
                  <a:pt x="7" y="28"/>
                </a:cubicBezTo>
                <a:cubicBezTo>
                  <a:pt x="6" y="27"/>
                  <a:pt x="6" y="27"/>
                  <a:pt x="6" y="27"/>
                </a:cubicBezTo>
                <a:cubicBezTo>
                  <a:pt x="7" y="26"/>
                  <a:pt x="7" y="26"/>
                  <a:pt x="7" y="26"/>
                </a:cubicBezTo>
                <a:cubicBezTo>
                  <a:pt x="8" y="27"/>
                  <a:pt x="8" y="27"/>
                  <a:pt x="8" y="27"/>
                </a:cubicBezTo>
                <a:cubicBezTo>
                  <a:pt x="8" y="26"/>
                  <a:pt x="8" y="26"/>
                  <a:pt x="8" y="26"/>
                </a:cubicBezTo>
                <a:cubicBezTo>
                  <a:pt x="10" y="24"/>
                  <a:pt x="10" y="24"/>
                  <a:pt x="10" y="24"/>
                </a:cubicBezTo>
                <a:cubicBezTo>
                  <a:pt x="11" y="26"/>
                  <a:pt x="11" y="26"/>
                  <a:pt x="11" y="26"/>
                </a:cubicBezTo>
                <a:cubicBezTo>
                  <a:pt x="10" y="27"/>
                  <a:pt x="10" y="27"/>
                  <a:pt x="10" y="27"/>
                </a:cubicBezTo>
                <a:cubicBezTo>
                  <a:pt x="9" y="28"/>
                  <a:pt x="9" y="28"/>
                  <a:pt x="9" y="28"/>
                </a:cubicBezTo>
                <a:cubicBezTo>
                  <a:pt x="10" y="28"/>
                  <a:pt x="10" y="28"/>
                  <a:pt x="10" y="28"/>
                </a:cubicBezTo>
                <a:cubicBezTo>
                  <a:pt x="9" y="29"/>
                  <a:pt x="9" y="29"/>
                  <a:pt x="9" y="29"/>
                </a:cubicBezTo>
                <a:cubicBezTo>
                  <a:pt x="8" y="29"/>
                  <a:pt x="8" y="29"/>
                  <a:pt x="8" y="29"/>
                </a:cubicBezTo>
                <a:cubicBezTo>
                  <a:pt x="7" y="29"/>
                  <a:pt x="7" y="29"/>
                  <a:pt x="7" y="29"/>
                </a:cubicBezTo>
                <a:cubicBezTo>
                  <a:pt x="6" y="28"/>
                  <a:pt x="6" y="28"/>
                  <a:pt x="6" y="28"/>
                </a:cubicBezTo>
                <a:close/>
                <a:moveTo>
                  <a:pt x="6" y="30"/>
                </a:moveTo>
                <a:cubicBezTo>
                  <a:pt x="7" y="31"/>
                  <a:pt x="7" y="31"/>
                  <a:pt x="7" y="31"/>
                </a:cubicBezTo>
                <a:cubicBezTo>
                  <a:pt x="8" y="30"/>
                  <a:pt x="8" y="30"/>
                  <a:pt x="8" y="30"/>
                </a:cubicBezTo>
                <a:cubicBezTo>
                  <a:pt x="7" y="29"/>
                  <a:pt x="7" y="29"/>
                  <a:pt x="7" y="29"/>
                </a:cubicBezTo>
                <a:cubicBezTo>
                  <a:pt x="7" y="29"/>
                  <a:pt x="7" y="29"/>
                  <a:pt x="7" y="29"/>
                </a:cubicBezTo>
                <a:cubicBezTo>
                  <a:pt x="6" y="30"/>
                  <a:pt x="6" y="30"/>
                  <a:pt x="6" y="30"/>
                </a:cubicBezTo>
                <a:cubicBezTo>
                  <a:pt x="6" y="30"/>
                  <a:pt x="6" y="30"/>
                  <a:pt x="6" y="30"/>
                </a:cubicBezTo>
                <a:close/>
                <a:moveTo>
                  <a:pt x="6" y="32"/>
                </a:moveTo>
                <a:cubicBezTo>
                  <a:pt x="5" y="32"/>
                  <a:pt x="5" y="32"/>
                  <a:pt x="5" y="32"/>
                </a:cubicBezTo>
                <a:cubicBezTo>
                  <a:pt x="4" y="32"/>
                  <a:pt x="4" y="32"/>
                  <a:pt x="4" y="32"/>
                </a:cubicBezTo>
                <a:cubicBezTo>
                  <a:pt x="4" y="31"/>
                  <a:pt x="4" y="31"/>
                  <a:pt x="4" y="31"/>
                </a:cubicBezTo>
                <a:cubicBezTo>
                  <a:pt x="6" y="31"/>
                  <a:pt x="6" y="31"/>
                  <a:pt x="6" y="31"/>
                </a:cubicBezTo>
                <a:cubicBezTo>
                  <a:pt x="6" y="32"/>
                  <a:pt x="6" y="32"/>
                  <a:pt x="6" y="32"/>
                </a:cubicBezTo>
                <a:close/>
                <a:moveTo>
                  <a:pt x="5" y="34"/>
                </a:moveTo>
                <a:cubicBezTo>
                  <a:pt x="4" y="33"/>
                  <a:pt x="4" y="33"/>
                  <a:pt x="4" y="33"/>
                </a:cubicBezTo>
                <a:cubicBezTo>
                  <a:pt x="4" y="33"/>
                  <a:pt x="4" y="33"/>
                  <a:pt x="4" y="33"/>
                </a:cubicBezTo>
                <a:cubicBezTo>
                  <a:pt x="5" y="33"/>
                  <a:pt x="5" y="33"/>
                  <a:pt x="5" y="33"/>
                </a:cubicBezTo>
                <a:cubicBezTo>
                  <a:pt x="5" y="34"/>
                  <a:pt x="5" y="34"/>
                  <a:pt x="5" y="34"/>
                </a:cubicBezTo>
                <a:close/>
                <a:moveTo>
                  <a:pt x="4" y="37"/>
                </a:moveTo>
                <a:cubicBezTo>
                  <a:pt x="4" y="37"/>
                  <a:pt x="4" y="37"/>
                  <a:pt x="4" y="37"/>
                </a:cubicBezTo>
                <a:cubicBezTo>
                  <a:pt x="3" y="38"/>
                  <a:pt x="3" y="38"/>
                  <a:pt x="3" y="38"/>
                </a:cubicBezTo>
                <a:cubicBezTo>
                  <a:pt x="3" y="37"/>
                  <a:pt x="3" y="37"/>
                  <a:pt x="3" y="37"/>
                </a:cubicBezTo>
                <a:cubicBezTo>
                  <a:pt x="4" y="37"/>
                  <a:pt x="4" y="37"/>
                  <a:pt x="4" y="37"/>
                </a:cubicBezTo>
                <a:close/>
                <a:moveTo>
                  <a:pt x="5" y="36"/>
                </a:moveTo>
                <a:cubicBezTo>
                  <a:pt x="5" y="35"/>
                  <a:pt x="5" y="35"/>
                  <a:pt x="5" y="35"/>
                </a:cubicBezTo>
                <a:cubicBezTo>
                  <a:pt x="5" y="35"/>
                  <a:pt x="5" y="35"/>
                  <a:pt x="5" y="35"/>
                </a:cubicBezTo>
                <a:cubicBezTo>
                  <a:pt x="5" y="34"/>
                  <a:pt x="5" y="34"/>
                  <a:pt x="5" y="34"/>
                </a:cubicBezTo>
                <a:cubicBezTo>
                  <a:pt x="4" y="34"/>
                  <a:pt x="4" y="34"/>
                  <a:pt x="4" y="34"/>
                </a:cubicBezTo>
                <a:cubicBezTo>
                  <a:pt x="4" y="34"/>
                  <a:pt x="4" y="34"/>
                  <a:pt x="4" y="34"/>
                </a:cubicBezTo>
                <a:cubicBezTo>
                  <a:pt x="4" y="35"/>
                  <a:pt x="4" y="35"/>
                  <a:pt x="4" y="35"/>
                </a:cubicBezTo>
                <a:cubicBezTo>
                  <a:pt x="4" y="36"/>
                  <a:pt x="4" y="36"/>
                  <a:pt x="4" y="36"/>
                </a:cubicBezTo>
                <a:cubicBezTo>
                  <a:pt x="5" y="36"/>
                  <a:pt x="5" y="36"/>
                  <a:pt x="5" y="36"/>
                </a:cubicBezTo>
                <a:close/>
                <a:moveTo>
                  <a:pt x="11" y="37"/>
                </a:moveTo>
                <a:cubicBezTo>
                  <a:pt x="11" y="36"/>
                  <a:pt x="11" y="36"/>
                  <a:pt x="11" y="36"/>
                </a:cubicBezTo>
                <a:cubicBezTo>
                  <a:pt x="10" y="36"/>
                  <a:pt x="10" y="36"/>
                  <a:pt x="10" y="36"/>
                </a:cubicBezTo>
                <a:cubicBezTo>
                  <a:pt x="9" y="34"/>
                  <a:pt x="9" y="34"/>
                  <a:pt x="9" y="34"/>
                </a:cubicBezTo>
                <a:cubicBezTo>
                  <a:pt x="9" y="34"/>
                  <a:pt x="9" y="34"/>
                  <a:pt x="9" y="34"/>
                </a:cubicBezTo>
                <a:cubicBezTo>
                  <a:pt x="9" y="34"/>
                  <a:pt x="9" y="34"/>
                  <a:pt x="9" y="34"/>
                </a:cubicBezTo>
                <a:cubicBezTo>
                  <a:pt x="9" y="34"/>
                  <a:pt x="9" y="34"/>
                  <a:pt x="9" y="34"/>
                </a:cubicBezTo>
                <a:cubicBezTo>
                  <a:pt x="7" y="33"/>
                  <a:pt x="7" y="33"/>
                  <a:pt x="7" y="33"/>
                </a:cubicBezTo>
                <a:cubicBezTo>
                  <a:pt x="8" y="33"/>
                  <a:pt x="8" y="33"/>
                  <a:pt x="8" y="33"/>
                </a:cubicBezTo>
                <a:cubicBezTo>
                  <a:pt x="8" y="33"/>
                  <a:pt x="8" y="33"/>
                  <a:pt x="8" y="33"/>
                </a:cubicBezTo>
                <a:cubicBezTo>
                  <a:pt x="8" y="32"/>
                  <a:pt x="8" y="32"/>
                  <a:pt x="8" y="32"/>
                </a:cubicBezTo>
                <a:cubicBezTo>
                  <a:pt x="10" y="33"/>
                  <a:pt x="10" y="33"/>
                  <a:pt x="10" y="33"/>
                </a:cubicBezTo>
                <a:cubicBezTo>
                  <a:pt x="9" y="32"/>
                  <a:pt x="9" y="32"/>
                  <a:pt x="9" y="32"/>
                </a:cubicBezTo>
                <a:cubicBezTo>
                  <a:pt x="10" y="31"/>
                  <a:pt x="10" y="31"/>
                  <a:pt x="10" y="31"/>
                </a:cubicBezTo>
                <a:cubicBezTo>
                  <a:pt x="11" y="32"/>
                  <a:pt x="11" y="32"/>
                  <a:pt x="11" y="32"/>
                </a:cubicBezTo>
                <a:cubicBezTo>
                  <a:pt x="11" y="34"/>
                  <a:pt x="11" y="34"/>
                  <a:pt x="11" y="34"/>
                </a:cubicBezTo>
                <a:cubicBezTo>
                  <a:pt x="12" y="35"/>
                  <a:pt x="12" y="35"/>
                  <a:pt x="12" y="35"/>
                </a:cubicBezTo>
                <a:cubicBezTo>
                  <a:pt x="12" y="35"/>
                  <a:pt x="12" y="35"/>
                  <a:pt x="12" y="35"/>
                </a:cubicBezTo>
                <a:cubicBezTo>
                  <a:pt x="13" y="35"/>
                  <a:pt x="13" y="35"/>
                  <a:pt x="13" y="35"/>
                </a:cubicBezTo>
                <a:cubicBezTo>
                  <a:pt x="12" y="36"/>
                  <a:pt x="12" y="36"/>
                  <a:pt x="12" y="36"/>
                </a:cubicBezTo>
                <a:cubicBezTo>
                  <a:pt x="12" y="37"/>
                  <a:pt x="12" y="37"/>
                  <a:pt x="12" y="37"/>
                </a:cubicBezTo>
                <a:cubicBezTo>
                  <a:pt x="11" y="37"/>
                  <a:pt x="11" y="37"/>
                  <a:pt x="11" y="37"/>
                </a:cubicBezTo>
                <a:close/>
                <a:moveTo>
                  <a:pt x="9" y="44"/>
                </a:moveTo>
                <a:cubicBezTo>
                  <a:pt x="12" y="43"/>
                  <a:pt x="12" y="43"/>
                  <a:pt x="12" y="43"/>
                </a:cubicBezTo>
                <a:cubicBezTo>
                  <a:pt x="12" y="44"/>
                  <a:pt x="12" y="44"/>
                  <a:pt x="12" y="44"/>
                </a:cubicBezTo>
                <a:cubicBezTo>
                  <a:pt x="13" y="43"/>
                  <a:pt x="13" y="43"/>
                  <a:pt x="13" y="43"/>
                </a:cubicBezTo>
                <a:cubicBezTo>
                  <a:pt x="12" y="42"/>
                  <a:pt x="12" y="42"/>
                  <a:pt x="12" y="42"/>
                </a:cubicBezTo>
                <a:cubicBezTo>
                  <a:pt x="12" y="42"/>
                  <a:pt x="12" y="42"/>
                  <a:pt x="12" y="42"/>
                </a:cubicBezTo>
                <a:cubicBezTo>
                  <a:pt x="11" y="40"/>
                  <a:pt x="11" y="40"/>
                  <a:pt x="11" y="40"/>
                </a:cubicBezTo>
                <a:cubicBezTo>
                  <a:pt x="9" y="41"/>
                  <a:pt x="9" y="41"/>
                  <a:pt x="9" y="41"/>
                </a:cubicBezTo>
                <a:cubicBezTo>
                  <a:pt x="11" y="42"/>
                  <a:pt x="11" y="42"/>
                  <a:pt x="11" y="42"/>
                </a:cubicBezTo>
                <a:cubicBezTo>
                  <a:pt x="10" y="43"/>
                  <a:pt x="10" y="43"/>
                  <a:pt x="10" y="43"/>
                </a:cubicBezTo>
                <a:cubicBezTo>
                  <a:pt x="10" y="43"/>
                  <a:pt x="10" y="43"/>
                  <a:pt x="10" y="43"/>
                </a:cubicBezTo>
                <a:cubicBezTo>
                  <a:pt x="9" y="44"/>
                  <a:pt x="9" y="44"/>
                  <a:pt x="9" y="44"/>
                </a:cubicBezTo>
                <a:close/>
                <a:moveTo>
                  <a:pt x="11" y="48"/>
                </a:moveTo>
                <a:cubicBezTo>
                  <a:pt x="11" y="47"/>
                  <a:pt x="11" y="47"/>
                  <a:pt x="11" y="47"/>
                </a:cubicBezTo>
                <a:cubicBezTo>
                  <a:pt x="13" y="45"/>
                  <a:pt x="13" y="45"/>
                  <a:pt x="13" y="45"/>
                </a:cubicBezTo>
                <a:cubicBezTo>
                  <a:pt x="12" y="47"/>
                  <a:pt x="12" y="47"/>
                  <a:pt x="12" y="47"/>
                </a:cubicBezTo>
                <a:cubicBezTo>
                  <a:pt x="11" y="48"/>
                  <a:pt x="11" y="48"/>
                  <a:pt x="11" y="48"/>
                </a:cubicBezTo>
                <a:close/>
                <a:moveTo>
                  <a:pt x="9" y="50"/>
                </a:moveTo>
                <a:cubicBezTo>
                  <a:pt x="11" y="49"/>
                  <a:pt x="11" y="49"/>
                  <a:pt x="11" y="49"/>
                </a:cubicBezTo>
                <a:cubicBezTo>
                  <a:pt x="10" y="47"/>
                  <a:pt x="10" y="47"/>
                  <a:pt x="10" y="47"/>
                </a:cubicBezTo>
                <a:cubicBezTo>
                  <a:pt x="8" y="48"/>
                  <a:pt x="8" y="48"/>
                  <a:pt x="8" y="48"/>
                </a:cubicBezTo>
                <a:cubicBezTo>
                  <a:pt x="8" y="49"/>
                  <a:pt x="8" y="49"/>
                  <a:pt x="8" y="49"/>
                </a:cubicBezTo>
                <a:cubicBezTo>
                  <a:pt x="10" y="48"/>
                  <a:pt x="10" y="48"/>
                  <a:pt x="10" y="48"/>
                </a:cubicBezTo>
                <a:cubicBezTo>
                  <a:pt x="9" y="50"/>
                  <a:pt x="9" y="50"/>
                  <a:pt x="9" y="50"/>
                </a:cubicBezTo>
                <a:close/>
                <a:moveTo>
                  <a:pt x="14" y="49"/>
                </a:moveTo>
                <a:cubicBezTo>
                  <a:pt x="14" y="51"/>
                  <a:pt x="14" y="51"/>
                  <a:pt x="14" y="51"/>
                </a:cubicBezTo>
                <a:cubicBezTo>
                  <a:pt x="16" y="52"/>
                  <a:pt x="16" y="52"/>
                  <a:pt x="16" y="52"/>
                </a:cubicBezTo>
                <a:cubicBezTo>
                  <a:pt x="16" y="50"/>
                  <a:pt x="16" y="50"/>
                  <a:pt x="16" y="50"/>
                </a:cubicBezTo>
                <a:cubicBezTo>
                  <a:pt x="15" y="49"/>
                  <a:pt x="15" y="49"/>
                  <a:pt x="15" y="49"/>
                </a:cubicBezTo>
                <a:cubicBezTo>
                  <a:pt x="14" y="49"/>
                  <a:pt x="14" y="49"/>
                  <a:pt x="14" y="49"/>
                </a:cubicBezTo>
                <a:close/>
                <a:moveTo>
                  <a:pt x="18" y="70"/>
                </a:moveTo>
                <a:cubicBezTo>
                  <a:pt x="20" y="71"/>
                  <a:pt x="20" y="71"/>
                  <a:pt x="20" y="71"/>
                </a:cubicBezTo>
                <a:cubicBezTo>
                  <a:pt x="21" y="70"/>
                  <a:pt x="21" y="70"/>
                  <a:pt x="21" y="70"/>
                </a:cubicBezTo>
                <a:cubicBezTo>
                  <a:pt x="20" y="70"/>
                  <a:pt x="20" y="70"/>
                  <a:pt x="20" y="70"/>
                </a:cubicBezTo>
                <a:cubicBezTo>
                  <a:pt x="20" y="69"/>
                  <a:pt x="20" y="69"/>
                  <a:pt x="20" y="69"/>
                </a:cubicBezTo>
                <a:cubicBezTo>
                  <a:pt x="19" y="69"/>
                  <a:pt x="19" y="69"/>
                  <a:pt x="19" y="69"/>
                </a:cubicBezTo>
                <a:cubicBezTo>
                  <a:pt x="19" y="69"/>
                  <a:pt x="18" y="70"/>
                  <a:pt x="18" y="70"/>
                </a:cubicBezTo>
                <a:close/>
                <a:moveTo>
                  <a:pt x="17" y="63"/>
                </a:moveTo>
                <a:cubicBezTo>
                  <a:pt x="17" y="62"/>
                  <a:pt x="17" y="62"/>
                  <a:pt x="17" y="62"/>
                </a:cubicBezTo>
                <a:cubicBezTo>
                  <a:pt x="20" y="60"/>
                  <a:pt x="20" y="60"/>
                  <a:pt x="20" y="60"/>
                </a:cubicBezTo>
                <a:cubicBezTo>
                  <a:pt x="19" y="61"/>
                  <a:pt x="19" y="61"/>
                  <a:pt x="19" y="61"/>
                </a:cubicBezTo>
                <a:cubicBezTo>
                  <a:pt x="20" y="62"/>
                  <a:pt x="20" y="62"/>
                  <a:pt x="20" y="62"/>
                </a:cubicBezTo>
                <a:cubicBezTo>
                  <a:pt x="18" y="63"/>
                  <a:pt x="18" y="63"/>
                  <a:pt x="18" y="63"/>
                </a:cubicBezTo>
                <a:cubicBezTo>
                  <a:pt x="17" y="63"/>
                  <a:pt x="17" y="63"/>
                  <a:pt x="17" y="63"/>
                </a:cubicBezTo>
                <a:close/>
                <a:moveTo>
                  <a:pt x="15" y="99"/>
                </a:moveTo>
                <a:cubicBezTo>
                  <a:pt x="15" y="98"/>
                  <a:pt x="15" y="98"/>
                  <a:pt x="15" y="98"/>
                </a:cubicBezTo>
                <a:cubicBezTo>
                  <a:pt x="15" y="98"/>
                  <a:pt x="15" y="98"/>
                  <a:pt x="15" y="98"/>
                </a:cubicBezTo>
                <a:cubicBezTo>
                  <a:pt x="16" y="97"/>
                  <a:pt x="16" y="97"/>
                  <a:pt x="16" y="97"/>
                </a:cubicBezTo>
                <a:cubicBezTo>
                  <a:pt x="16" y="98"/>
                  <a:pt x="16" y="98"/>
                  <a:pt x="16" y="98"/>
                </a:cubicBezTo>
                <a:cubicBezTo>
                  <a:pt x="17" y="97"/>
                  <a:pt x="17" y="97"/>
                  <a:pt x="17" y="97"/>
                </a:cubicBezTo>
                <a:cubicBezTo>
                  <a:pt x="17" y="97"/>
                  <a:pt x="17" y="97"/>
                  <a:pt x="17" y="97"/>
                </a:cubicBezTo>
                <a:cubicBezTo>
                  <a:pt x="18" y="96"/>
                  <a:pt x="18" y="96"/>
                  <a:pt x="18" y="96"/>
                </a:cubicBezTo>
                <a:cubicBezTo>
                  <a:pt x="19" y="96"/>
                  <a:pt x="19" y="96"/>
                  <a:pt x="19" y="96"/>
                </a:cubicBezTo>
                <a:cubicBezTo>
                  <a:pt x="20" y="96"/>
                  <a:pt x="20" y="96"/>
                  <a:pt x="20" y="96"/>
                </a:cubicBezTo>
                <a:cubicBezTo>
                  <a:pt x="20" y="96"/>
                  <a:pt x="20" y="96"/>
                  <a:pt x="20" y="96"/>
                </a:cubicBezTo>
                <a:cubicBezTo>
                  <a:pt x="21" y="96"/>
                  <a:pt x="21" y="96"/>
                  <a:pt x="21" y="96"/>
                </a:cubicBezTo>
                <a:cubicBezTo>
                  <a:pt x="21" y="96"/>
                  <a:pt x="21" y="96"/>
                  <a:pt x="21" y="96"/>
                </a:cubicBezTo>
                <a:cubicBezTo>
                  <a:pt x="22" y="96"/>
                  <a:pt x="22" y="96"/>
                  <a:pt x="22" y="96"/>
                </a:cubicBezTo>
                <a:cubicBezTo>
                  <a:pt x="23" y="97"/>
                  <a:pt x="23" y="97"/>
                  <a:pt x="23" y="97"/>
                </a:cubicBezTo>
                <a:cubicBezTo>
                  <a:pt x="24" y="97"/>
                  <a:pt x="24" y="97"/>
                  <a:pt x="24" y="97"/>
                </a:cubicBezTo>
                <a:cubicBezTo>
                  <a:pt x="24" y="96"/>
                  <a:pt x="24" y="96"/>
                  <a:pt x="24" y="96"/>
                </a:cubicBezTo>
                <a:cubicBezTo>
                  <a:pt x="25" y="96"/>
                  <a:pt x="25" y="96"/>
                  <a:pt x="25" y="96"/>
                </a:cubicBezTo>
                <a:cubicBezTo>
                  <a:pt x="25" y="95"/>
                  <a:pt x="25" y="95"/>
                  <a:pt x="25" y="95"/>
                </a:cubicBezTo>
                <a:cubicBezTo>
                  <a:pt x="25" y="94"/>
                  <a:pt x="25" y="94"/>
                  <a:pt x="25" y="94"/>
                </a:cubicBezTo>
                <a:cubicBezTo>
                  <a:pt x="25" y="94"/>
                  <a:pt x="25" y="94"/>
                  <a:pt x="25" y="94"/>
                </a:cubicBezTo>
                <a:cubicBezTo>
                  <a:pt x="26" y="93"/>
                  <a:pt x="26" y="93"/>
                  <a:pt x="26" y="93"/>
                </a:cubicBezTo>
                <a:cubicBezTo>
                  <a:pt x="26" y="93"/>
                  <a:pt x="26" y="93"/>
                  <a:pt x="26" y="93"/>
                </a:cubicBezTo>
                <a:cubicBezTo>
                  <a:pt x="28" y="93"/>
                  <a:pt x="28" y="93"/>
                  <a:pt x="28" y="93"/>
                </a:cubicBezTo>
                <a:cubicBezTo>
                  <a:pt x="29" y="93"/>
                  <a:pt x="29" y="93"/>
                  <a:pt x="29" y="93"/>
                </a:cubicBezTo>
                <a:cubicBezTo>
                  <a:pt x="31" y="94"/>
                  <a:pt x="31" y="94"/>
                  <a:pt x="31" y="94"/>
                </a:cubicBezTo>
                <a:cubicBezTo>
                  <a:pt x="31" y="93"/>
                  <a:pt x="31" y="93"/>
                  <a:pt x="31" y="93"/>
                </a:cubicBezTo>
                <a:cubicBezTo>
                  <a:pt x="33" y="93"/>
                  <a:pt x="33" y="93"/>
                  <a:pt x="33" y="93"/>
                </a:cubicBezTo>
                <a:cubicBezTo>
                  <a:pt x="34" y="94"/>
                  <a:pt x="34" y="94"/>
                  <a:pt x="34" y="94"/>
                </a:cubicBezTo>
                <a:cubicBezTo>
                  <a:pt x="34" y="93"/>
                  <a:pt x="34" y="93"/>
                  <a:pt x="34" y="93"/>
                </a:cubicBezTo>
                <a:cubicBezTo>
                  <a:pt x="35" y="92"/>
                  <a:pt x="35" y="92"/>
                  <a:pt x="35" y="92"/>
                </a:cubicBezTo>
                <a:cubicBezTo>
                  <a:pt x="36" y="92"/>
                  <a:pt x="36" y="92"/>
                  <a:pt x="36" y="92"/>
                </a:cubicBezTo>
                <a:cubicBezTo>
                  <a:pt x="37" y="91"/>
                  <a:pt x="37" y="91"/>
                  <a:pt x="37" y="91"/>
                </a:cubicBezTo>
                <a:cubicBezTo>
                  <a:pt x="38" y="92"/>
                  <a:pt x="38" y="92"/>
                  <a:pt x="38" y="92"/>
                </a:cubicBezTo>
                <a:cubicBezTo>
                  <a:pt x="39" y="92"/>
                  <a:pt x="39" y="92"/>
                  <a:pt x="39" y="92"/>
                </a:cubicBezTo>
                <a:cubicBezTo>
                  <a:pt x="40" y="91"/>
                  <a:pt x="40" y="91"/>
                  <a:pt x="40" y="91"/>
                </a:cubicBezTo>
                <a:cubicBezTo>
                  <a:pt x="40" y="92"/>
                  <a:pt x="40" y="92"/>
                  <a:pt x="40" y="92"/>
                </a:cubicBezTo>
                <a:cubicBezTo>
                  <a:pt x="40" y="92"/>
                  <a:pt x="40" y="92"/>
                  <a:pt x="40" y="92"/>
                </a:cubicBezTo>
                <a:cubicBezTo>
                  <a:pt x="41" y="91"/>
                  <a:pt x="41" y="91"/>
                  <a:pt x="41" y="91"/>
                </a:cubicBezTo>
                <a:cubicBezTo>
                  <a:pt x="43" y="91"/>
                  <a:pt x="43" y="91"/>
                  <a:pt x="43" y="91"/>
                </a:cubicBezTo>
                <a:cubicBezTo>
                  <a:pt x="45" y="91"/>
                  <a:pt x="45" y="91"/>
                  <a:pt x="45" y="91"/>
                </a:cubicBezTo>
                <a:cubicBezTo>
                  <a:pt x="46" y="92"/>
                  <a:pt x="46" y="92"/>
                  <a:pt x="46" y="92"/>
                </a:cubicBezTo>
                <a:cubicBezTo>
                  <a:pt x="47" y="92"/>
                  <a:pt x="47" y="92"/>
                  <a:pt x="47" y="92"/>
                </a:cubicBezTo>
                <a:cubicBezTo>
                  <a:pt x="47" y="91"/>
                  <a:pt x="47" y="91"/>
                  <a:pt x="47" y="91"/>
                </a:cubicBezTo>
                <a:cubicBezTo>
                  <a:pt x="49" y="91"/>
                  <a:pt x="49" y="91"/>
                  <a:pt x="49" y="91"/>
                </a:cubicBezTo>
                <a:cubicBezTo>
                  <a:pt x="49" y="90"/>
                  <a:pt x="49" y="90"/>
                  <a:pt x="49" y="90"/>
                </a:cubicBezTo>
                <a:cubicBezTo>
                  <a:pt x="50" y="90"/>
                  <a:pt x="50" y="90"/>
                  <a:pt x="50" y="90"/>
                </a:cubicBezTo>
                <a:cubicBezTo>
                  <a:pt x="51" y="90"/>
                  <a:pt x="51" y="90"/>
                  <a:pt x="51" y="90"/>
                </a:cubicBezTo>
                <a:cubicBezTo>
                  <a:pt x="51" y="89"/>
                  <a:pt x="51" y="89"/>
                  <a:pt x="51" y="89"/>
                </a:cubicBezTo>
                <a:cubicBezTo>
                  <a:pt x="52" y="88"/>
                  <a:pt x="52" y="88"/>
                  <a:pt x="52" y="88"/>
                </a:cubicBezTo>
                <a:cubicBezTo>
                  <a:pt x="53" y="88"/>
                  <a:pt x="53" y="88"/>
                  <a:pt x="53" y="88"/>
                </a:cubicBezTo>
                <a:cubicBezTo>
                  <a:pt x="53" y="87"/>
                  <a:pt x="53" y="87"/>
                  <a:pt x="53" y="87"/>
                </a:cubicBezTo>
                <a:cubicBezTo>
                  <a:pt x="53" y="87"/>
                  <a:pt x="53" y="87"/>
                  <a:pt x="53" y="87"/>
                </a:cubicBezTo>
                <a:cubicBezTo>
                  <a:pt x="53" y="86"/>
                  <a:pt x="53" y="86"/>
                  <a:pt x="53" y="86"/>
                </a:cubicBezTo>
                <a:cubicBezTo>
                  <a:pt x="51" y="86"/>
                  <a:pt x="51" y="86"/>
                  <a:pt x="51" y="86"/>
                </a:cubicBezTo>
                <a:cubicBezTo>
                  <a:pt x="50" y="86"/>
                  <a:pt x="50" y="86"/>
                  <a:pt x="50" y="86"/>
                </a:cubicBezTo>
                <a:cubicBezTo>
                  <a:pt x="50" y="86"/>
                  <a:pt x="50" y="86"/>
                  <a:pt x="50" y="86"/>
                </a:cubicBezTo>
                <a:cubicBezTo>
                  <a:pt x="48" y="86"/>
                  <a:pt x="48" y="86"/>
                  <a:pt x="48" y="86"/>
                </a:cubicBezTo>
                <a:cubicBezTo>
                  <a:pt x="48" y="86"/>
                  <a:pt x="48" y="86"/>
                  <a:pt x="48" y="86"/>
                </a:cubicBezTo>
                <a:cubicBezTo>
                  <a:pt x="48" y="86"/>
                  <a:pt x="48" y="86"/>
                  <a:pt x="48" y="86"/>
                </a:cubicBezTo>
                <a:cubicBezTo>
                  <a:pt x="49" y="85"/>
                  <a:pt x="49" y="85"/>
                  <a:pt x="49" y="85"/>
                </a:cubicBezTo>
                <a:cubicBezTo>
                  <a:pt x="49" y="85"/>
                  <a:pt x="49" y="85"/>
                  <a:pt x="49" y="85"/>
                </a:cubicBezTo>
                <a:cubicBezTo>
                  <a:pt x="48" y="85"/>
                  <a:pt x="48" y="85"/>
                  <a:pt x="48" y="85"/>
                </a:cubicBezTo>
                <a:cubicBezTo>
                  <a:pt x="47" y="85"/>
                  <a:pt x="47" y="85"/>
                  <a:pt x="47" y="85"/>
                </a:cubicBezTo>
                <a:cubicBezTo>
                  <a:pt x="48" y="84"/>
                  <a:pt x="48" y="84"/>
                  <a:pt x="48" y="84"/>
                </a:cubicBezTo>
                <a:cubicBezTo>
                  <a:pt x="49" y="85"/>
                  <a:pt x="49" y="85"/>
                  <a:pt x="49" y="85"/>
                </a:cubicBezTo>
                <a:cubicBezTo>
                  <a:pt x="50" y="84"/>
                  <a:pt x="50" y="84"/>
                  <a:pt x="50" y="84"/>
                </a:cubicBezTo>
                <a:cubicBezTo>
                  <a:pt x="50" y="83"/>
                  <a:pt x="50" y="83"/>
                  <a:pt x="50" y="83"/>
                </a:cubicBezTo>
                <a:cubicBezTo>
                  <a:pt x="49" y="83"/>
                  <a:pt x="49" y="83"/>
                  <a:pt x="49" y="83"/>
                </a:cubicBezTo>
                <a:cubicBezTo>
                  <a:pt x="49" y="83"/>
                  <a:pt x="49" y="83"/>
                  <a:pt x="49" y="83"/>
                </a:cubicBezTo>
                <a:cubicBezTo>
                  <a:pt x="50" y="82"/>
                  <a:pt x="50" y="82"/>
                  <a:pt x="50" y="82"/>
                </a:cubicBezTo>
                <a:cubicBezTo>
                  <a:pt x="51" y="83"/>
                  <a:pt x="51" y="83"/>
                  <a:pt x="51" y="83"/>
                </a:cubicBezTo>
                <a:cubicBezTo>
                  <a:pt x="51" y="82"/>
                  <a:pt x="51" y="82"/>
                  <a:pt x="51" y="82"/>
                </a:cubicBezTo>
                <a:cubicBezTo>
                  <a:pt x="52" y="81"/>
                  <a:pt x="52" y="81"/>
                  <a:pt x="52" y="81"/>
                </a:cubicBezTo>
                <a:cubicBezTo>
                  <a:pt x="51" y="81"/>
                  <a:pt x="51" y="81"/>
                  <a:pt x="51" y="81"/>
                </a:cubicBezTo>
                <a:cubicBezTo>
                  <a:pt x="52" y="81"/>
                  <a:pt x="52" y="81"/>
                  <a:pt x="52" y="81"/>
                </a:cubicBezTo>
                <a:cubicBezTo>
                  <a:pt x="51" y="81"/>
                  <a:pt x="51" y="81"/>
                  <a:pt x="51" y="81"/>
                </a:cubicBezTo>
                <a:cubicBezTo>
                  <a:pt x="51" y="80"/>
                  <a:pt x="51" y="80"/>
                  <a:pt x="51" y="80"/>
                </a:cubicBezTo>
                <a:cubicBezTo>
                  <a:pt x="52" y="80"/>
                  <a:pt x="52" y="80"/>
                  <a:pt x="52" y="80"/>
                </a:cubicBezTo>
                <a:cubicBezTo>
                  <a:pt x="52" y="81"/>
                  <a:pt x="52" y="81"/>
                  <a:pt x="52" y="81"/>
                </a:cubicBezTo>
                <a:cubicBezTo>
                  <a:pt x="53" y="80"/>
                  <a:pt x="53" y="80"/>
                  <a:pt x="53" y="80"/>
                </a:cubicBezTo>
                <a:cubicBezTo>
                  <a:pt x="53" y="80"/>
                  <a:pt x="53" y="80"/>
                  <a:pt x="53" y="80"/>
                </a:cubicBezTo>
                <a:cubicBezTo>
                  <a:pt x="53" y="78"/>
                  <a:pt x="53" y="78"/>
                  <a:pt x="53" y="78"/>
                </a:cubicBezTo>
                <a:cubicBezTo>
                  <a:pt x="54" y="76"/>
                  <a:pt x="54" y="76"/>
                  <a:pt x="54" y="76"/>
                </a:cubicBezTo>
                <a:cubicBezTo>
                  <a:pt x="54" y="75"/>
                  <a:pt x="54" y="75"/>
                  <a:pt x="54" y="75"/>
                </a:cubicBezTo>
                <a:cubicBezTo>
                  <a:pt x="53" y="74"/>
                  <a:pt x="53" y="74"/>
                  <a:pt x="53" y="74"/>
                </a:cubicBezTo>
                <a:cubicBezTo>
                  <a:pt x="51" y="72"/>
                  <a:pt x="51" y="72"/>
                  <a:pt x="51" y="72"/>
                </a:cubicBezTo>
                <a:cubicBezTo>
                  <a:pt x="48" y="72"/>
                  <a:pt x="48" y="72"/>
                  <a:pt x="48" y="72"/>
                </a:cubicBezTo>
                <a:cubicBezTo>
                  <a:pt x="46" y="72"/>
                  <a:pt x="46" y="72"/>
                  <a:pt x="46" y="72"/>
                </a:cubicBezTo>
                <a:cubicBezTo>
                  <a:pt x="46" y="73"/>
                  <a:pt x="46" y="73"/>
                  <a:pt x="46" y="73"/>
                </a:cubicBezTo>
                <a:cubicBezTo>
                  <a:pt x="46" y="74"/>
                  <a:pt x="46" y="74"/>
                  <a:pt x="46" y="74"/>
                </a:cubicBezTo>
                <a:cubicBezTo>
                  <a:pt x="45" y="73"/>
                  <a:pt x="45" y="73"/>
                  <a:pt x="45" y="73"/>
                </a:cubicBezTo>
                <a:cubicBezTo>
                  <a:pt x="44" y="73"/>
                  <a:pt x="44" y="73"/>
                  <a:pt x="44" y="73"/>
                </a:cubicBezTo>
                <a:cubicBezTo>
                  <a:pt x="46" y="71"/>
                  <a:pt x="46" y="71"/>
                  <a:pt x="46" y="71"/>
                </a:cubicBezTo>
                <a:cubicBezTo>
                  <a:pt x="46" y="70"/>
                  <a:pt x="46" y="70"/>
                  <a:pt x="46" y="70"/>
                </a:cubicBezTo>
                <a:cubicBezTo>
                  <a:pt x="44" y="68"/>
                  <a:pt x="44" y="68"/>
                  <a:pt x="44" y="68"/>
                </a:cubicBezTo>
                <a:cubicBezTo>
                  <a:pt x="44" y="68"/>
                  <a:pt x="44" y="68"/>
                  <a:pt x="44" y="68"/>
                </a:cubicBezTo>
                <a:cubicBezTo>
                  <a:pt x="42" y="67"/>
                  <a:pt x="42" y="67"/>
                  <a:pt x="42" y="67"/>
                </a:cubicBezTo>
                <a:cubicBezTo>
                  <a:pt x="42" y="66"/>
                  <a:pt x="42" y="66"/>
                  <a:pt x="42" y="66"/>
                </a:cubicBezTo>
                <a:cubicBezTo>
                  <a:pt x="41" y="66"/>
                  <a:pt x="41" y="66"/>
                  <a:pt x="41" y="66"/>
                </a:cubicBezTo>
                <a:cubicBezTo>
                  <a:pt x="41" y="66"/>
                  <a:pt x="41" y="66"/>
                  <a:pt x="41" y="66"/>
                </a:cubicBezTo>
                <a:cubicBezTo>
                  <a:pt x="40" y="66"/>
                  <a:pt x="40" y="66"/>
                  <a:pt x="40" y="66"/>
                </a:cubicBezTo>
                <a:cubicBezTo>
                  <a:pt x="39" y="66"/>
                  <a:pt x="39" y="66"/>
                  <a:pt x="39" y="66"/>
                </a:cubicBezTo>
                <a:cubicBezTo>
                  <a:pt x="40" y="66"/>
                  <a:pt x="40" y="66"/>
                  <a:pt x="40" y="66"/>
                </a:cubicBezTo>
                <a:cubicBezTo>
                  <a:pt x="41" y="66"/>
                  <a:pt x="41" y="66"/>
                  <a:pt x="41" y="66"/>
                </a:cubicBezTo>
                <a:cubicBezTo>
                  <a:pt x="42" y="66"/>
                  <a:pt x="42" y="66"/>
                  <a:pt x="42" y="66"/>
                </a:cubicBezTo>
                <a:cubicBezTo>
                  <a:pt x="42" y="66"/>
                  <a:pt x="42" y="66"/>
                  <a:pt x="42" y="66"/>
                </a:cubicBezTo>
                <a:cubicBezTo>
                  <a:pt x="43" y="66"/>
                  <a:pt x="43" y="66"/>
                  <a:pt x="43" y="66"/>
                </a:cubicBezTo>
                <a:cubicBezTo>
                  <a:pt x="43" y="66"/>
                  <a:pt x="43" y="66"/>
                  <a:pt x="43" y="66"/>
                </a:cubicBezTo>
                <a:cubicBezTo>
                  <a:pt x="44" y="66"/>
                  <a:pt x="44" y="66"/>
                  <a:pt x="44" y="66"/>
                </a:cubicBezTo>
                <a:cubicBezTo>
                  <a:pt x="42" y="64"/>
                  <a:pt x="42" y="64"/>
                  <a:pt x="42" y="64"/>
                </a:cubicBezTo>
                <a:cubicBezTo>
                  <a:pt x="42" y="63"/>
                  <a:pt x="42" y="63"/>
                  <a:pt x="42" y="63"/>
                </a:cubicBezTo>
                <a:cubicBezTo>
                  <a:pt x="42" y="63"/>
                  <a:pt x="42" y="63"/>
                  <a:pt x="42" y="63"/>
                </a:cubicBezTo>
                <a:cubicBezTo>
                  <a:pt x="43" y="62"/>
                  <a:pt x="43" y="62"/>
                  <a:pt x="43" y="62"/>
                </a:cubicBezTo>
                <a:cubicBezTo>
                  <a:pt x="42" y="62"/>
                  <a:pt x="42" y="62"/>
                  <a:pt x="42" y="62"/>
                </a:cubicBezTo>
                <a:cubicBezTo>
                  <a:pt x="41" y="61"/>
                  <a:pt x="41" y="61"/>
                  <a:pt x="41" y="61"/>
                </a:cubicBezTo>
                <a:cubicBezTo>
                  <a:pt x="41" y="61"/>
                  <a:pt x="41" y="61"/>
                  <a:pt x="41" y="61"/>
                </a:cubicBezTo>
                <a:cubicBezTo>
                  <a:pt x="40" y="59"/>
                  <a:pt x="40" y="59"/>
                  <a:pt x="40" y="59"/>
                </a:cubicBezTo>
                <a:cubicBezTo>
                  <a:pt x="39" y="59"/>
                  <a:pt x="39" y="59"/>
                  <a:pt x="39" y="59"/>
                </a:cubicBezTo>
                <a:cubicBezTo>
                  <a:pt x="36" y="58"/>
                  <a:pt x="36" y="58"/>
                  <a:pt x="36" y="58"/>
                </a:cubicBezTo>
                <a:cubicBezTo>
                  <a:pt x="36" y="57"/>
                  <a:pt x="36" y="57"/>
                  <a:pt x="36" y="57"/>
                </a:cubicBezTo>
                <a:cubicBezTo>
                  <a:pt x="36" y="57"/>
                  <a:pt x="36" y="57"/>
                  <a:pt x="36" y="57"/>
                </a:cubicBezTo>
                <a:cubicBezTo>
                  <a:pt x="35" y="55"/>
                  <a:pt x="35" y="55"/>
                  <a:pt x="35" y="55"/>
                </a:cubicBezTo>
                <a:cubicBezTo>
                  <a:pt x="34" y="54"/>
                  <a:pt x="34" y="54"/>
                  <a:pt x="34" y="54"/>
                </a:cubicBezTo>
                <a:cubicBezTo>
                  <a:pt x="34" y="51"/>
                  <a:pt x="34" y="51"/>
                  <a:pt x="34" y="51"/>
                </a:cubicBezTo>
                <a:cubicBezTo>
                  <a:pt x="33" y="50"/>
                  <a:pt x="33" y="50"/>
                  <a:pt x="33" y="50"/>
                </a:cubicBezTo>
                <a:cubicBezTo>
                  <a:pt x="33" y="50"/>
                  <a:pt x="33" y="50"/>
                  <a:pt x="33" y="50"/>
                </a:cubicBezTo>
                <a:cubicBezTo>
                  <a:pt x="31" y="47"/>
                  <a:pt x="31" y="47"/>
                  <a:pt x="31" y="47"/>
                </a:cubicBezTo>
                <a:cubicBezTo>
                  <a:pt x="30" y="47"/>
                  <a:pt x="30" y="47"/>
                  <a:pt x="30" y="47"/>
                </a:cubicBezTo>
                <a:cubicBezTo>
                  <a:pt x="29" y="46"/>
                  <a:pt x="29" y="46"/>
                  <a:pt x="29" y="46"/>
                </a:cubicBezTo>
                <a:cubicBezTo>
                  <a:pt x="28" y="46"/>
                  <a:pt x="28" y="46"/>
                  <a:pt x="28" y="46"/>
                </a:cubicBezTo>
                <a:cubicBezTo>
                  <a:pt x="27" y="46"/>
                  <a:pt x="27" y="46"/>
                  <a:pt x="27" y="46"/>
                </a:cubicBezTo>
                <a:cubicBezTo>
                  <a:pt x="26" y="47"/>
                  <a:pt x="26" y="47"/>
                  <a:pt x="26" y="47"/>
                </a:cubicBezTo>
                <a:cubicBezTo>
                  <a:pt x="25" y="46"/>
                  <a:pt x="25" y="46"/>
                  <a:pt x="25" y="46"/>
                </a:cubicBezTo>
                <a:cubicBezTo>
                  <a:pt x="24" y="46"/>
                  <a:pt x="24" y="46"/>
                  <a:pt x="24" y="46"/>
                </a:cubicBezTo>
                <a:cubicBezTo>
                  <a:pt x="23" y="46"/>
                  <a:pt x="23" y="46"/>
                  <a:pt x="23" y="46"/>
                </a:cubicBezTo>
                <a:cubicBezTo>
                  <a:pt x="23" y="45"/>
                  <a:pt x="23" y="45"/>
                  <a:pt x="23" y="45"/>
                </a:cubicBezTo>
                <a:cubicBezTo>
                  <a:pt x="23" y="46"/>
                  <a:pt x="23" y="46"/>
                  <a:pt x="23" y="46"/>
                </a:cubicBezTo>
                <a:cubicBezTo>
                  <a:pt x="25" y="46"/>
                  <a:pt x="25" y="46"/>
                  <a:pt x="25" y="46"/>
                </a:cubicBezTo>
                <a:cubicBezTo>
                  <a:pt x="26" y="45"/>
                  <a:pt x="26" y="45"/>
                  <a:pt x="26" y="45"/>
                </a:cubicBezTo>
                <a:cubicBezTo>
                  <a:pt x="26" y="45"/>
                  <a:pt x="26" y="45"/>
                  <a:pt x="26" y="45"/>
                </a:cubicBezTo>
                <a:cubicBezTo>
                  <a:pt x="27" y="45"/>
                  <a:pt x="27" y="45"/>
                  <a:pt x="27" y="45"/>
                </a:cubicBezTo>
                <a:cubicBezTo>
                  <a:pt x="28" y="44"/>
                  <a:pt x="28" y="44"/>
                  <a:pt x="28" y="44"/>
                </a:cubicBezTo>
                <a:cubicBezTo>
                  <a:pt x="27" y="43"/>
                  <a:pt x="27" y="43"/>
                  <a:pt x="27" y="43"/>
                </a:cubicBezTo>
                <a:cubicBezTo>
                  <a:pt x="27" y="43"/>
                  <a:pt x="27" y="43"/>
                  <a:pt x="27" y="43"/>
                </a:cubicBezTo>
                <a:cubicBezTo>
                  <a:pt x="27" y="42"/>
                  <a:pt x="27" y="42"/>
                  <a:pt x="27" y="42"/>
                </a:cubicBezTo>
                <a:cubicBezTo>
                  <a:pt x="25" y="43"/>
                  <a:pt x="25" y="43"/>
                  <a:pt x="25" y="43"/>
                </a:cubicBezTo>
                <a:cubicBezTo>
                  <a:pt x="25" y="43"/>
                  <a:pt x="25" y="43"/>
                  <a:pt x="25" y="43"/>
                </a:cubicBezTo>
                <a:cubicBezTo>
                  <a:pt x="26" y="42"/>
                  <a:pt x="26" y="42"/>
                  <a:pt x="26" y="42"/>
                </a:cubicBezTo>
                <a:cubicBezTo>
                  <a:pt x="28" y="42"/>
                  <a:pt x="28" y="42"/>
                  <a:pt x="28" y="42"/>
                </a:cubicBezTo>
                <a:cubicBezTo>
                  <a:pt x="28" y="41"/>
                  <a:pt x="28" y="41"/>
                  <a:pt x="28" y="41"/>
                </a:cubicBezTo>
                <a:cubicBezTo>
                  <a:pt x="29" y="41"/>
                  <a:pt x="29" y="41"/>
                  <a:pt x="29" y="41"/>
                </a:cubicBezTo>
                <a:cubicBezTo>
                  <a:pt x="29" y="40"/>
                  <a:pt x="29" y="40"/>
                  <a:pt x="29" y="40"/>
                </a:cubicBezTo>
                <a:cubicBezTo>
                  <a:pt x="30" y="39"/>
                  <a:pt x="30" y="39"/>
                  <a:pt x="30" y="39"/>
                </a:cubicBezTo>
                <a:cubicBezTo>
                  <a:pt x="31" y="38"/>
                  <a:pt x="31" y="38"/>
                  <a:pt x="31" y="38"/>
                </a:cubicBezTo>
                <a:cubicBezTo>
                  <a:pt x="30" y="37"/>
                  <a:pt x="30" y="37"/>
                  <a:pt x="30" y="37"/>
                </a:cubicBezTo>
                <a:cubicBezTo>
                  <a:pt x="31" y="36"/>
                  <a:pt x="31" y="36"/>
                  <a:pt x="31" y="36"/>
                </a:cubicBezTo>
                <a:cubicBezTo>
                  <a:pt x="31" y="36"/>
                  <a:pt x="31" y="36"/>
                  <a:pt x="31" y="36"/>
                </a:cubicBezTo>
                <a:cubicBezTo>
                  <a:pt x="31" y="34"/>
                  <a:pt x="31" y="34"/>
                  <a:pt x="31" y="34"/>
                </a:cubicBezTo>
                <a:cubicBezTo>
                  <a:pt x="32" y="33"/>
                  <a:pt x="32" y="33"/>
                  <a:pt x="32" y="33"/>
                </a:cubicBezTo>
                <a:cubicBezTo>
                  <a:pt x="32" y="33"/>
                  <a:pt x="32" y="33"/>
                  <a:pt x="32" y="33"/>
                </a:cubicBezTo>
                <a:cubicBezTo>
                  <a:pt x="31" y="31"/>
                  <a:pt x="31" y="31"/>
                  <a:pt x="31" y="31"/>
                </a:cubicBezTo>
                <a:cubicBezTo>
                  <a:pt x="31" y="31"/>
                  <a:pt x="31" y="31"/>
                  <a:pt x="31" y="31"/>
                </a:cubicBezTo>
                <a:cubicBezTo>
                  <a:pt x="28" y="31"/>
                  <a:pt x="28" y="31"/>
                  <a:pt x="28" y="31"/>
                </a:cubicBezTo>
                <a:cubicBezTo>
                  <a:pt x="27" y="31"/>
                  <a:pt x="27" y="31"/>
                  <a:pt x="27" y="31"/>
                </a:cubicBezTo>
                <a:cubicBezTo>
                  <a:pt x="26" y="32"/>
                  <a:pt x="26" y="32"/>
                  <a:pt x="26" y="32"/>
                </a:cubicBezTo>
                <a:cubicBezTo>
                  <a:pt x="25" y="32"/>
                  <a:pt x="25" y="32"/>
                  <a:pt x="25" y="32"/>
                </a:cubicBezTo>
                <a:cubicBezTo>
                  <a:pt x="24" y="31"/>
                  <a:pt x="24" y="31"/>
                  <a:pt x="24" y="31"/>
                </a:cubicBezTo>
                <a:cubicBezTo>
                  <a:pt x="24" y="31"/>
                  <a:pt x="24" y="31"/>
                  <a:pt x="24" y="31"/>
                </a:cubicBezTo>
                <a:cubicBezTo>
                  <a:pt x="24" y="32"/>
                  <a:pt x="24" y="32"/>
                  <a:pt x="24" y="32"/>
                </a:cubicBezTo>
                <a:cubicBezTo>
                  <a:pt x="23" y="32"/>
                  <a:pt x="23" y="32"/>
                  <a:pt x="23" y="32"/>
                </a:cubicBezTo>
                <a:cubicBezTo>
                  <a:pt x="22" y="32"/>
                  <a:pt x="22" y="32"/>
                  <a:pt x="22" y="32"/>
                </a:cubicBezTo>
                <a:cubicBezTo>
                  <a:pt x="21" y="32"/>
                  <a:pt x="21" y="32"/>
                  <a:pt x="21" y="32"/>
                </a:cubicBezTo>
                <a:cubicBezTo>
                  <a:pt x="21" y="33"/>
                  <a:pt x="21" y="33"/>
                  <a:pt x="21" y="33"/>
                </a:cubicBezTo>
                <a:cubicBezTo>
                  <a:pt x="20" y="33"/>
                  <a:pt x="20" y="33"/>
                  <a:pt x="20" y="33"/>
                </a:cubicBezTo>
                <a:cubicBezTo>
                  <a:pt x="21" y="32"/>
                  <a:pt x="21" y="32"/>
                  <a:pt x="21" y="32"/>
                </a:cubicBezTo>
                <a:cubicBezTo>
                  <a:pt x="22" y="30"/>
                  <a:pt x="22" y="30"/>
                  <a:pt x="22" y="30"/>
                </a:cubicBezTo>
                <a:cubicBezTo>
                  <a:pt x="22" y="30"/>
                  <a:pt x="22" y="30"/>
                  <a:pt x="22" y="30"/>
                </a:cubicBezTo>
                <a:cubicBezTo>
                  <a:pt x="21" y="30"/>
                  <a:pt x="21" y="30"/>
                  <a:pt x="21" y="30"/>
                </a:cubicBezTo>
                <a:cubicBezTo>
                  <a:pt x="21" y="30"/>
                  <a:pt x="21" y="30"/>
                  <a:pt x="21" y="30"/>
                </a:cubicBezTo>
                <a:cubicBezTo>
                  <a:pt x="21" y="29"/>
                  <a:pt x="21" y="29"/>
                  <a:pt x="21" y="29"/>
                </a:cubicBezTo>
                <a:cubicBezTo>
                  <a:pt x="24" y="27"/>
                  <a:pt x="24" y="27"/>
                  <a:pt x="24" y="27"/>
                </a:cubicBezTo>
                <a:cubicBezTo>
                  <a:pt x="25" y="26"/>
                  <a:pt x="25" y="26"/>
                  <a:pt x="25" y="26"/>
                </a:cubicBezTo>
                <a:cubicBezTo>
                  <a:pt x="25" y="26"/>
                  <a:pt x="25" y="26"/>
                  <a:pt x="25" y="26"/>
                </a:cubicBezTo>
                <a:cubicBezTo>
                  <a:pt x="26" y="25"/>
                  <a:pt x="26" y="25"/>
                  <a:pt x="26" y="25"/>
                </a:cubicBezTo>
                <a:cubicBezTo>
                  <a:pt x="25" y="24"/>
                  <a:pt x="25" y="24"/>
                  <a:pt x="25" y="24"/>
                </a:cubicBezTo>
                <a:cubicBezTo>
                  <a:pt x="26" y="23"/>
                  <a:pt x="26" y="23"/>
                  <a:pt x="26" y="23"/>
                </a:cubicBezTo>
                <a:cubicBezTo>
                  <a:pt x="26" y="23"/>
                  <a:pt x="26" y="23"/>
                  <a:pt x="26" y="23"/>
                </a:cubicBezTo>
                <a:cubicBezTo>
                  <a:pt x="25" y="23"/>
                  <a:pt x="25" y="23"/>
                  <a:pt x="25" y="23"/>
                </a:cubicBezTo>
                <a:cubicBezTo>
                  <a:pt x="24" y="23"/>
                  <a:pt x="24" y="23"/>
                  <a:pt x="24" y="23"/>
                </a:cubicBezTo>
                <a:cubicBezTo>
                  <a:pt x="23" y="23"/>
                  <a:pt x="23" y="23"/>
                  <a:pt x="23" y="23"/>
                </a:cubicBezTo>
                <a:cubicBezTo>
                  <a:pt x="22" y="24"/>
                  <a:pt x="22" y="24"/>
                  <a:pt x="22" y="24"/>
                </a:cubicBezTo>
                <a:cubicBezTo>
                  <a:pt x="21" y="24"/>
                  <a:pt x="21" y="24"/>
                  <a:pt x="21" y="24"/>
                </a:cubicBezTo>
                <a:cubicBezTo>
                  <a:pt x="20" y="24"/>
                  <a:pt x="20" y="24"/>
                  <a:pt x="20" y="24"/>
                </a:cubicBezTo>
                <a:cubicBezTo>
                  <a:pt x="20" y="24"/>
                  <a:pt x="20" y="24"/>
                  <a:pt x="20" y="24"/>
                </a:cubicBezTo>
                <a:cubicBezTo>
                  <a:pt x="19" y="25"/>
                  <a:pt x="19" y="25"/>
                  <a:pt x="19" y="25"/>
                </a:cubicBezTo>
                <a:cubicBezTo>
                  <a:pt x="19" y="24"/>
                  <a:pt x="19" y="24"/>
                  <a:pt x="19" y="24"/>
                </a:cubicBezTo>
                <a:cubicBezTo>
                  <a:pt x="19" y="24"/>
                  <a:pt x="19" y="24"/>
                  <a:pt x="19" y="24"/>
                </a:cubicBezTo>
                <a:cubicBezTo>
                  <a:pt x="18" y="25"/>
                  <a:pt x="18" y="25"/>
                  <a:pt x="18" y="25"/>
                </a:cubicBezTo>
                <a:cubicBezTo>
                  <a:pt x="18" y="24"/>
                  <a:pt x="18" y="24"/>
                  <a:pt x="18" y="24"/>
                </a:cubicBezTo>
                <a:cubicBezTo>
                  <a:pt x="16" y="23"/>
                  <a:pt x="16" y="23"/>
                  <a:pt x="16" y="23"/>
                </a:cubicBezTo>
                <a:cubicBezTo>
                  <a:pt x="16" y="24"/>
                  <a:pt x="16" y="24"/>
                  <a:pt x="16" y="24"/>
                </a:cubicBezTo>
                <a:cubicBezTo>
                  <a:pt x="16" y="24"/>
                  <a:pt x="16" y="24"/>
                  <a:pt x="16" y="24"/>
                </a:cubicBezTo>
                <a:cubicBezTo>
                  <a:pt x="16" y="25"/>
                  <a:pt x="16" y="25"/>
                  <a:pt x="16" y="25"/>
                </a:cubicBezTo>
                <a:cubicBezTo>
                  <a:pt x="16" y="25"/>
                  <a:pt x="16" y="25"/>
                  <a:pt x="16" y="25"/>
                </a:cubicBezTo>
                <a:cubicBezTo>
                  <a:pt x="16" y="26"/>
                  <a:pt x="16" y="26"/>
                  <a:pt x="16" y="26"/>
                </a:cubicBezTo>
                <a:cubicBezTo>
                  <a:pt x="15" y="26"/>
                  <a:pt x="15" y="26"/>
                  <a:pt x="15" y="26"/>
                </a:cubicBezTo>
                <a:cubicBezTo>
                  <a:pt x="15" y="27"/>
                  <a:pt x="15" y="27"/>
                  <a:pt x="15" y="27"/>
                </a:cubicBezTo>
                <a:cubicBezTo>
                  <a:pt x="15" y="28"/>
                  <a:pt x="15" y="28"/>
                  <a:pt x="15" y="28"/>
                </a:cubicBezTo>
                <a:cubicBezTo>
                  <a:pt x="14" y="28"/>
                  <a:pt x="14" y="28"/>
                  <a:pt x="14" y="28"/>
                </a:cubicBezTo>
                <a:cubicBezTo>
                  <a:pt x="15" y="29"/>
                  <a:pt x="15" y="29"/>
                  <a:pt x="15" y="29"/>
                </a:cubicBezTo>
                <a:cubicBezTo>
                  <a:pt x="16" y="30"/>
                  <a:pt x="16" y="30"/>
                  <a:pt x="16" y="30"/>
                </a:cubicBezTo>
                <a:cubicBezTo>
                  <a:pt x="15" y="29"/>
                  <a:pt x="15" y="29"/>
                  <a:pt x="15" y="29"/>
                </a:cubicBezTo>
                <a:cubicBezTo>
                  <a:pt x="14" y="30"/>
                  <a:pt x="14" y="30"/>
                  <a:pt x="14" y="30"/>
                </a:cubicBezTo>
                <a:cubicBezTo>
                  <a:pt x="13" y="29"/>
                  <a:pt x="13" y="29"/>
                  <a:pt x="13" y="29"/>
                </a:cubicBezTo>
                <a:cubicBezTo>
                  <a:pt x="13" y="30"/>
                  <a:pt x="13" y="30"/>
                  <a:pt x="13" y="30"/>
                </a:cubicBezTo>
                <a:cubicBezTo>
                  <a:pt x="13" y="30"/>
                  <a:pt x="13" y="30"/>
                  <a:pt x="13" y="30"/>
                </a:cubicBezTo>
                <a:cubicBezTo>
                  <a:pt x="13" y="31"/>
                  <a:pt x="13" y="31"/>
                  <a:pt x="13" y="31"/>
                </a:cubicBezTo>
                <a:cubicBezTo>
                  <a:pt x="13" y="30"/>
                  <a:pt x="13" y="30"/>
                  <a:pt x="13" y="30"/>
                </a:cubicBezTo>
                <a:cubicBezTo>
                  <a:pt x="12" y="31"/>
                  <a:pt x="12" y="31"/>
                  <a:pt x="12" y="31"/>
                </a:cubicBezTo>
                <a:cubicBezTo>
                  <a:pt x="13" y="31"/>
                  <a:pt x="13" y="31"/>
                  <a:pt x="13" y="31"/>
                </a:cubicBezTo>
                <a:cubicBezTo>
                  <a:pt x="12" y="32"/>
                  <a:pt x="12" y="32"/>
                  <a:pt x="12" y="32"/>
                </a:cubicBezTo>
                <a:cubicBezTo>
                  <a:pt x="13" y="33"/>
                  <a:pt x="13" y="33"/>
                  <a:pt x="13" y="33"/>
                </a:cubicBezTo>
                <a:cubicBezTo>
                  <a:pt x="14" y="33"/>
                  <a:pt x="14" y="33"/>
                  <a:pt x="14" y="33"/>
                </a:cubicBezTo>
                <a:cubicBezTo>
                  <a:pt x="13" y="33"/>
                  <a:pt x="13" y="33"/>
                  <a:pt x="13" y="33"/>
                </a:cubicBezTo>
                <a:cubicBezTo>
                  <a:pt x="12" y="32"/>
                  <a:pt x="12" y="32"/>
                  <a:pt x="12" y="32"/>
                </a:cubicBezTo>
                <a:cubicBezTo>
                  <a:pt x="12" y="34"/>
                  <a:pt x="12" y="34"/>
                  <a:pt x="12" y="34"/>
                </a:cubicBezTo>
                <a:cubicBezTo>
                  <a:pt x="12" y="34"/>
                  <a:pt x="12" y="34"/>
                  <a:pt x="12" y="34"/>
                </a:cubicBezTo>
                <a:cubicBezTo>
                  <a:pt x="14" y="34"/>
                  <a:pt x="14" y="34"/>
                  <a:pt x="14" y="34"/>
                </a:cubicBezTo>
                <a:cubicBezTo>
                  <a:pt x="13" y="35"/>
                  <a:pt x="13" y="35"/>
                  <a:pt x="13" y="35"/>
                </a:cubicBezTo>
                <a:cubicBezTo>
                  <a:pt x="13" y="35"/>
                  <a:pt x="13" y="35"/>
                  <a:pt x="13" y="35"/>
                </a:cubicBezTo>
                <a:cubicBezTo>
                  <a:pt x="13" y="35"/>
                  <a:pt x="13" y="35"/>
                  <a:pt x="13" y="35"/>
                </a:cubicBezTo>
                <a:cubicBezTo>
                  <a:pt x="14" y="35"/>
                  <a:pt x="14" y="35"/>
                  <a:pt x="14" y="35"/>
                </a:cubicBezTo>
                <a:cubicBezTo>
                  <a:pt x="14" y="35"/>
                  <a:pt x="14" y="35"/>
                  <a:pt x="14" y="35"/>
                </a:cubicBezTo>
                <a:cubicBezTo>
                  <a:pt x="14" y="35"/>
                  <a:pt x="14" y="35"/>
                  <a:pt x="14" y="35"/>
                </a:cubicBezTo>
                <a:cubicBezTo>
                  <a:pt x="13" y="35"/>
                  <a:pt x="13" y="35"/>
                  <a:pt x="13" y="35"/>
                </a:cubicBezTo>
                <a:cubicBezTo>
                  <a:pt x="13" y="35"/>
                  <a:pt x="13" y="35"/>
                  <a:pt x="13" y="35"/>
                </a:cubicBezTo>
                <a:cubicBezTo>
                  <a:pt x="13" y="36"/>
                  <a:pt x="13" y="36"/>
                  <a:pt x="13" y="36"/>
                </a:cubicBezTo>
                <a:cubicBezTo>
                  <a:pt x="13" y="36"/>
                  <a:pt x="13" y="36"/>
                  <a:pt x="13" y="36"/>
                </a:cubicBezTo>
                <a:cubicBezTo>
                  <a:pt x="13" y="36"/>
                  <a:pt x="13" y="36"/>
                  <a:pt x="13" y="36"/>
                </a:cubicBezTo>
                <a:cubicBezTo>
                  <a:pt x="12" y="37"/>
                  <a:pt x="12" y="37"/>
                  <a:pt x="12" y="37"/>
                </a:cubicBezTo>
                <a:cubicBezTo>
                  <a:pt x="13" y="37"/>
                  <a:pt x="13" y="37"/>
                  <a:pt x="13" y="37"/>
                </a:cubicBezTo>
                <a:cubicBezTo>
                  <a:pt x="13" y="38"/>
                  <a:pt x="13" y="38"/>
                  <a:pt x="13" y="38"/>
                </a:cubicBezTo>
                <a:cubicBezTo>
                  <a:pt x="12" y="37"/>
                  <a:pt x="12" y="37"/>
                  <a:pt x="12" y="37"/>
                </a:cubicBezTo>
                <a:cubicBezTo>
                  <a:pt x="12" y="38"/>
                  <a:pt x="12" y="38"/>
                  <a:pt x="12" y="38"/>
                </a:cubicBezTo>
                <a:cubicBezTo>
                  <a:pt x="12" y="38"/>
                  <a:pt x="12" y="38"/>
                  <a:pt x="12" y="38"/>
                </a:cubicBezTo>
                <a:cubicBezTo>
                  <a:pt x="12" y="39"/>
                  <a:pt x="12" y="39"/>
                  <a:pt x="12" y="39"/>
                </a:cubicBezTo>
                <a:cubicBezTo>
                  <a:pt x="12" y="39"/>
                  <a:pt x="12" y="39"/>
                  <a:pt x="12" y="39"/>
                </a:cubicBezTo>
                <a:cubicBezTo>
                  <a:pt x="10" y="39"/>
                  <a:pt x="10" y="39"/>
                  <a:pt x="10" y="39"/>
                </a:cubicBezTo>
                <a:cubicBezTo>
                  <a:pt x="10" y="40"/>
                  <a:pt x="10" y="40"/>
                  <a:pt x="10" y="40"/>
                </a:cubicBezTo>
                <a:cubicBezTo>
                  <a:pt x="10" y="40"/>
                  <a:pt x="10" y="40"/>
                  <a:pt x="10" y="40"/>
                </a:cubicBezTo>
                <a:cubicBezTo>
                  <a:pt x="11" y="40"/>
                  <a:pt x="11" y="40"/>
                  <a:pt x="11" y="40"/>
                </a:cubicBezTo>
                <a:cubicBezTo>
                  <a:pt x="12" y="40"/>
                  <a:pt x="12" y="40"/>
                  <a:pt x="12" y="40"/>
                </a:cubicBezTo>
                <a:cubicBezTo>
                  <a:pt x="12" y="40"/>
                  <a:pt x="12" y="40"/>
                  <a:pt x="12" y="40"/>
                </a:cubicBezTo>
                <a:cubicBezTo>
                  <a:pt x="11" y="40"/>
                  <a:pt x="11" y="40"/>
                  <a:pt x="11" y="40"/>
                </a:cubicBezTo>
                <a:cubicBezTo>
                  <a:pt x="12" y="41"/>
                  <a:pt x="12" y="41"/>
                  <a:pt x="12" y="41"/>
                </a:cubicBezTo>
                <a:cubicBezTo>
                  <a:pt x="12" y="41"/>
                  <a:pt x="12" y="41"/>
                  <a:pt x="12" y="41"/>
                </a:cubicBezTo>
                <a:cubicBezTo>
                  <a:pt x="13" y="42"/>
                  <a:pt x="13" y="42"/>
                  <a:pt x="13" y="42"/>
                </a:cubicBezTo>
                <a:cubicBezTo>
                  <a:pt x="15" y="39"/>
                  <a:pt x="15" y="39"/>
                  <a:pt x="15" y="39"/>
                </a:cubicBezTo>
                <a:cubicBezTo>
                  <a:pt x="15" y="40"/>
                  <a:pt x="15" y="40"/>
                  <a:pt x="15" y="40"/>
                </a:cubicBezTo>
                <a:cubicBezTo>
                  <a:pt x="15" y="40"/>
                  <a:pt x="15" y="40"/>
                  <a:pt x="15" y="40"/>
                </a:cubicBezTo>
                <a:cubicBezTo>
                  <a:pt x="15" y="40"/>
                  <a:pt x="15" y="40"/>
                  <a:pt x="15" y="40"/>
                </a:cubicBezTo>
                <a:cubicBezTo>
                  <a:pt x="14" y="42"/>
                  <a:pt x="14" y="42"/>
                  <a:pt x="14" y="42"/>
                </a:cubicBezTo>
                <a:cubicBezTo>
                  <a:pt x="14" y="42"/>
                  <a:pt x="14" y="42"/>
                  <a:pt x="14" y="42"/>
                </a:cubicBezTo>
                <a:cubicBezTo>
                  <a:pt x="13" y="44"/>
                  <a:pt x="13" y="44"/>
                  <a:pt x="13" y="44"/>
                </a:cubicBezTo>
                <a:cubicBezTo>
                  <a:pt x="14" y="44"/>
                  <a:pt x="14" y="44"/>
                  <a:pt x="14" y="44"/>
                </a:cubicBezTo>
                <a:cubicBezTo>
                  <a:pt x="13" y="46"/>
                  <a:pt x="13" y="46"/>
                  <a:pt x="13" y="46"/>
                </a:cubicBezTo>
                <a:cubicBezTo>
                  <a:pt x="13" y="47"/>
                  <a:pt x="13" y="47"/>
                  <a:pt x="13" y="47"/>
                </a:cubicBezTo>
                <a:cubicBezTo>
                  <a:pt x="13" y="48"/>
                  <a:pt x="13" y="48"/>
                  <a:pt x="13" y="48"/>
                </a:cubicBezTo>
                <a:cubicBezTo>
                  <a:pt x="13" y="48"/>
                  <a:pt x="13" y="48"/>
                  <a:pt x="13" y="48"/>
                </a:cubicBezTo>
                <a:cubicBezTo>
                  <a:pt x="13" y="48"/>
                  <a:pt x="13" y="48"/>
                  <a:pt x="13" y="48"/>
                </a:cubicBezTo>
                <a:cubicBezTo>
                  <a:pt x="13" y="49"/>
                  <a:pt x="13" y="49"/>
                  <a:pt x="13" y="49"/>
                </a:cubicBezTo>
                <a:cubicBezTo>
                  <a:pt x="13" y="51"/>
                  <a:pt x="13" y="51"/>
                  <a:pt x="13" y="51"/>
                </a:cubicBezTo>
                <a:cubicBezTo>
                  <a:pt x="12" y="52"/>
                  <a:pt x="12" y="52"/>
                  <a:pt x="12" y="52"/>
                </a:cubicBezTo>
                <a:cubicBezTo>
                  <a:pt x="12" y="52"/>
                  <a:pt x="12" y="52"/>
                  <a:pt x="12" y="52"/>
                </a:cubicBezTo>
                <a:cubicBezTo>
                  <a:pt x="13" y="52"/>
                  <a:pt x="13" y="52"/>
                  <a:pt x="13" y="52"/>
                </a:cubicBezTo>
                <a:cubicBezTo>
                  <a:pt x="13" y="51"/>
                  <a:pt x="13" y="51"/>
                  <a:pt x="13" y="51"/>
                </a:cubicBezTo>
                <a:cubicBezTo>
                  <a:pt x="14" y="50"/>
                  <a:pt x="14" y="50"/>
                  <a:pt x="14" y="50"/>
                </a:cubicBezTo>
                <a:cubicBezTo>
                  <a:pt x="14" y="49"/>
                  <a:pt x="14" y="49"/>
                  <a:pt x="14" y="49"/>
                </a:cubicBezTo>
                <a:cubicBezTo>
                  <a:pt x="14" y="48"/>
                  <a:pt x="14" y="48"/>
                  <a:pt x="14" y="48"/>
                </a:cubicBezTo>
                <a:cubicBezTo>
                  <a:pt x="14" y="46"/>
                  <a:pt x="14" y="46"/>
                  <a:pt x="14" y="46"/>
                </a:cubicBezTo>
                <a:cubicBezTo>
                  <a:pt x="14" y="46"/>
                  <a:pt x="14" y="46"/>
                  <a:pt x="14" y="46"/>
                </a:cubicBezTo>
                <a:cubicBezTo>
                  <a:pt x="16" y="44"/>
                  <a:pt x="16" y="44"/>
                  <a:pt x="16" y="44"/>
                </a:cubicBezTo>
                <a:cubicBezTo>
                  <a:pt x="15" y="46"/>
                  <a:pt x="15" y="46"/>
                  <a:pt x="15" y="46"/>
                </a:cubicBezTo>
                <a:cubicBezTo>
                  <a:pt x="15" y="47"/>
                  <a:pt x="15" y="47"/>
                  <a:pt x="15" y="47"/>
                </a:cubicBezTo>
                <a:cubicBezTo>
                  <a:pt x="15" y="47"/>
                  <a:pt x="15" y="47"/>
                  <a:pt x="15" y="47"/>
                </a:cubicBezTo>
                <a:cubicBezTo>
                  <a:pt x="15" y="47"/>
                  <a:pt x="15" y="47"/>
                  <a:pt x="15" y="47"/>
                </a:cubicBezTo>
                <a:cubicBezTo>
                  <a:pt x="16" y="46"/>
                  <a:pt x="16" y="46"/>
                  <a:pt x="16" y="46"/>
                </a:cubicBezTo>
                <a:cubicBezTo>
                  <a:pt x="16" y="47"/>
                  <a:pt x="16" y="47"/>
                  <a:pt x="16" y="47"/>
                </a:cubicBezTo>
                <a:cubicBezTo>
                  <a:pt x="17" y="46"/>
                  <a:pt x="17" y="46"/>
                  <a:pt x="17" y="46"/>
                </a:cubicBezTo>
                <a:cubicBezTo>
                  <a:pt x="17" y="45"/>
                  <a:pt x="17" y="45"/>
                  <a:pt x="17" y="45"/>
                </a:cubicBezTo>
                <a:cubicBezTo>
                  <a:pt x="17" y="44"/>
                  <a:pt x="17" y="44"/>
                  <a:pt x="17" y="44"/>
                </a:cubicBezTo>
                <a:cubicBezTo>
                  <a:pt x="17" y="46"/>
                  <a:pt x="17" y="46"/>
                  <a:pt x="17" y="46"/>
                </a:cubicBezTo>
                <a:cubicBezTo>
                  <a:pt x="18" y="47"/>
                  <a:pt x="18" y="47"/>
                  <a:pt x="18" y="47"/>
                </a:cubicBezTo>
                <a:cubicBezTo>
                  <a:pt x="17" y="46"/>
                  <a:pt x="17" y="46"/>
                  <a:pt x="17" y="46"/>
                </a:cubicBezTo>
                <a:cubicBezTo>
                  <a:pt x="17" y="48"/>
                  <a:pt x="17" y="48"/>
                  <a:pt x="17" y="48"/>
                </a:cubicBezTo>
                <a:cubicBezTo>
                  <a:pt x="17" y="49"/>
                  <a:pt x="17" y="49"/>
                  <a:pt x="17" y="49"/>
                </a:cubicBezTo>
                <a:cubicBezTo>
                  <a:pt x="18" y="50"/>
                  <a:pt x="18" y="50"/>
                  <a:pt x="18" y="50"/>
                </a:cubicBezTo>
                <a:cubicBezTo>
                  <a:pt x="18" y="51"/>
                  <a:pt x="18" y="51"/>
                  <a:pt x="18" y="51"/>
                </a:cubicBezTo>
                <a:cubicBezTo>
                  <a:pt x="17" y="52"/>
                  <a:pt x="17" y="52"/>
                  <a:pt x="17" y="52"/>
                </a:cubicBezTo>
                <a:cubicBezTo>
                  <a:pt x="16" y="54"/>
                  <a:pt x="16" y="54"/>
                  <a:pt x="16" y="54"/>
                </a:cubicBezTo>
                <a:cubicBezTo>
                  <a:pt x="16" y="56"/>
                  <a:pt x="16" y="56"/>
                  <a:pt x="16" y="56"/>
                </a:cubicBezTo>
                <a:cubicBezTo>
                  <a:pt x="15" y="55"/>
                  <a:pt x="15" y="55"/>
                  <a:pt x="15" y="55"/>
                </a:cubicBezTo>
                <a:cubicBezTo>
                  <a:pt x="16" y="56"/>
                  <a:pt x="16" y="56"/>
                  <a:pt x="16" y="56"/>
                </a:cubicBezTo>
                <a:cubicBezTo>
                  <a:pt x="17" y="58"/>
                  <a:pt x="17" y="58"/>
                  <a:pt x="17" y="58"/>
                </a:cubicBezTo>
                <a:cubicBezTo>
                  <a:pt x="16" y="56"/>
                  <a:pt x="16" y="56"/>
                  <a:pt x="16" y="56"/>
                </a:cubicBezTo>
                <a:cubicBezTo>
                  <a:pt x="17" y="56"/>
                  <a:pt x="17" y="56"/>
                  <a:pt x="17" y="56"/>
                </a:cubicBezTo>
                <a:cubicBezTo>
                  <a:pt x="19" y="58"/>
                  <a:pt x="19" y="58"/>
                  <a:pt x="19" y="58"/>
                </a:cubicBezTo>
                <a:cubicBezTo>
                  <a:pt x="19" y="57"/>
                  <a:pt x="19" y="57"/>
                  <a:pt x="19" y="57"/>
                </a:cubicBezTo>
                <a:cubicBezTo>
                  <a:pt x="19" y="56"/>
                  <a:pt x="19" y="56"/>
                  <a:pt x="19" y="56"/>
                </a:cubicBezTo>
                <a:cubicBezTo>
                  <a:pt x="19" y="56"/>
                  <a:pt x="19" y="56"/>
                  <a:pt x="19" y="56"/>
                </a:cubicBezTo>
                <a:cubicBezTo>
                  <a:pt x="21" y="57"/>
                  <a:pt x="21" y="57"/>
                  <a:pt x="21" y="57"/>
                </a:cubicBezTo>
                <a:cubicBezTo>
                  <a:pt x="22" y="57"/>
                  <a:pt x="22" y="57"/>
                  <a:pt x="22" y="57"/>
                </a:cubicBezTo>
                <a:cubicBezTo>
                  <a:pt x="22" y="56"/>
                  <a:pt x="22" y="56"/>
                  <a:pt x="22" y="56"/>
                </a:cubicBezTo>
                <a:cubicBezTo>
                  <a:pt x="23" y="56"/>
                  <a:pt x="23" y="56"/>
                  <a:pt x="23" y="56"/>
                </a:cubicBezTo>
                <a:cubicBezTo>
                  <a:pt x="24" y="55"/>
                  <a:pt x="24" y="55"/>
                  <a:pt x="24" y="55"/>
                </a:cubicBezTo>
                <a:cubicBezTo>
                  <a:pt x="27" y="55"/>
                  <a:pt x="27" y="55"/>
                  <a:pt x="27" y="55"/>
                </a:cubicBezTo>
                <a:cubicBezTo>
                  <a:pt x="25" y="56"/>
                  <a:pt x="25" y="56"/>
                  <a:pt x="25" y="56"/>
                </a:cubicBezTo>
                <a:cubicBezTo>
                  <a:pt x="23" y="59"/>
                  <a:pt x="23" y="59"/>
                  <a:pt x="23" y="59"/>
                </a:cubicBezTo>
                <a:cubicBezTo>
                  <a:pt x="25" y="62"/>
                  <a:pt x="25" y="62"/>
                  <a:pt x="25" y="62"/>
                </a:cubicBezTo>
                <a:cubicBezTo>
                  <a:pt x="26" y="62"/>
                  <a:pt x="26" y="62"/>
                  <a:pt x="26" y="62"/>
                </a:cubicBezTo>
                <a:cubicBezTo>
                  <a:pt x="26" y="63"/>
                  <a:pt x="26" y="63"/>
                  <a:pt x="26" y="63"/>
                </a:cubicBezTo>
                <a:cubicBezTo>
                  <a:pt x="27" y="62"/>
                  <a:pt x="27" y="62"/>
                  <a:pt x="27" y="62"/>
                </a:cubicBezTo>
                <a:cubicBezTo>
                  <a:pt x="28" y="62"/>
                  <a:pt x="28" y="62"/>
                  <a:pt x="28" y="62"/>
                </a:cubicBezTo>
                <a:cubicBezTo>
                  <a:pt x="28" y="63"/>
                  <a:pt x="28" y="63"/>
                  <a:pt x="28" y="63"/>
                </a:cubicBezTo>
                <a:cubicBezTo>
                  <a:pt x="28" y="64"/>
                  <a:pt x="28" y="64"/>
                  <a:pt x="28" y="64"/>
                </a:cubicBezTo>
                <a:cubicBezTo>
                  <a:pt x="27" y="65"/>
                  <a:pt x="27" y="65"/>
                  <a:pt x="27" y="65"/>
                </a:cubicBezTo>
                <a:cubicBezTo>
                  <a:pt x="27" y="66"/>
                  <a:pt x="27" y="66"/>
                  <a:pt x="27" y="66"/>
                </a:cubicBezTo>
                <a:cubicBezTo>
                  <a:pt x="26" y="68"/>
                  <a:pt x="26" y="68"/>
                  <a:pt x="26" y="68"/>
                </a:cubicBezTo>
                <a:cubicBezTo>
                  <a:pt x="27" y="69"/>
                  <a:pt x="27" y="69"/>
                  <a:pt x="27" y="69"/>
                </a:cubicBezTo>
                <a:cubicBezTo>
                  <a:pt x="28" y="69"/>
                  <a:pt x="28" y="69"/>
                  <a:pt x="28" y="69"/>
                </a:cubicBezTo>
                <a:cubicBezTo>
                  <a:pt x="29" y="70"/>
                  <a:pt x="29" y="70"/>
                  <a:pt x="29" y="70"/>
                </a:cubicBezTo>
                <a:cubicBezTo>
                  <a:pt x="28" y="70"/>
                  <a:pt x="28" y="70"/>
                  <a:pt x="28" y="70"/>
                </a:cubicBezTo>
                <a:cubicBezTo>
                  <a:pt x="27" y="70"/>
                  <a:pt x="27" y="70"/>
                  <a:pt x="27" y="70"/>
                </a:cubicBezTo>
                <a:cubicBezTo>
                  <a:pt x="27" y="69"/>
                  <a:pt x="27" y="69"/>
                  <a:pt x="27" y="69"/>
                </a:cubicBezTo>
                <a:cubicBezTo>
                  <a:pt x="26" y="69"/>
                  <a:pt x="26" y="69"/>
                  <a:pt x="26" y="69"/>
                </a:cubicBezTo>
                <a:cubicBezTo>
                  <a:pt x="27" y="70"/>
                  <a:pt x="27" y="70"/>
                  <a:pt x="27" y="70"/>
                </a:cubicBezTo>
                <a:cubicBezTo>
                  <a:pt x="27" y="71"/>
                  <a:pt x="27" y="71"/>
                  <a:pt x="27" y="71"/>
                </a:cubicBezTo>
                <a:cubicBezTo>
                  <a:pt x="26" y="70"/>
                  <a:pt x="26" y="70"/>
                  <a:pt x="26" y="70"/>
                </a:cubicBezTo>
                <a:cubicBezTo>
                  <a:pt x="25" y="70"/>
                  <a:pt x="25" y="70"/>
                  <a:pt x="25" y="70"/>
                </a:cubicBezTo>
                <a:cubicBezTo>
                  <a:pt x="23" y="70"/>
                  <a:pt x="23" y="70"/>
                  <a:pt x="23" y="70"/>
                </a:cubicBezTo>
                <a:cubicBezTo>
                  <a:pt x="23" y="70"/>
                  <a:pt x="23" y="70"/>
                  <a:pt x="23" y="70"/>
                </a:cubicBezTo>
                <a:cubicBezTo>
                  <a:pt x="21" y="71"/>
                  <a:pt x="21" y="71"/>
                  <a:pt x="21" y="71"/>
                </a:cubicBezTo>
                <a:cubicBezTo>
                  <a:pt x="19" y="73"/>
                  <a:pt x="19" y="73"/>
                  <a:pt x="19" y="73"/>
                </a:cubicBezTo>
                <a:cubicBezTo>
                  <a:pt x="18" y="74"/>
                  <a:pt x="18" y="74"/>
                  <a:pt x="18" y="74"/>
                </a:cubicBezTo>
                <a:cubicBezTo>
                  <a:pt x="17" y="74"/>
                  <a:pt x="17" y="74"/>
                  <a:pt x="17" y="74"/>
                </a:cubicBezTo>
                <a:cubicBezTo>
                  <a:pt x="18" y="74"/>
                  <a:pt x="18" y="74"/>
                  <a:pt x="18" y="74"/>
                </a:cubicBezTo>
                <a:cubicBezTo>
                  <a:pt x="19" y="74"/>
                  <a:pt x="19" y="74"/>
                  <a:pt x="19" y="74"/>
                </a:cubicBezTo>
                <a:cubicBezTo>
                  <a:pt x="19" y="74"/>
                  <a:pt x="19" y="74"/>
                  <a:pt x="19" y="74"/>
                </a:cubicBezTo>
                <a:cubicBezTo>
                  <a:pt x="21" y="73"/>
                  <a:pt x="21" y="73"/>
                  <a:pt x="21" y="73"/>
                </a:cubicBezTo>
                <a:cubicBezTo>
                  <a:pt x="21" y="74"/>
                  <a:pt x="21" y="74"/>
                  <a:pt x="21" y="74"/>
                </a:cubicBezTo>
                <a:cubicBezTo>
                  <a:pt x="22" y="75"/>
                  <a:pt x="22" y="75"/>
                  <a:pt x="22" y="75"/>
                </a:cubicBezTo>
                <a:cubicBezTo>
                  <a:pt x="21" y="76"/>
                  <a:pt x="21" y="76"/>
                  <a:pt x="21" y="76"/>
                </a:cubicBezTo>
                <a:cubicBezTo>
                  <a:pt x="21" y="77"/>
                  <a:pt x="21" y="77"/>
                  <a:pt x="21" y="77"/>
                </a:cubicBezTo>
                <a:cubicBezTo>
                  <a:pt x="22" y="77"/>
                  <a:pt x="22" y="77"/>
                  <a:pt x="22" y="77"/>
                </a:cubicBezTo>
                <a:cubicBezTo>
                  <a:pt x="20" y="79"/>
                  <a:pt x="20" y="79"/>
                  <a:pt x="20" y="79"/>
                </a:cubicBezTo>
                <a:cubicBezTo>
                  <a:pt x="19" y="80"/>
                  <a:pt x="19" y="80"/>
                  <a:pt x="19" y="80"/>
                </a:cubicBezTo>
                <a:cubicBezTo>
                  <a:pt x="18" y="80"/>
                  <a:pt x="18" y="80"/>
                  <a:pt x="18" y="80"/>
                </a:cubicBezTo>
                <a:cubicBezTo>
                  <a:pt x="18" y="80"/>
                  <a:pt x="18" y="80"/>
                  <a:pt x="18" y="80"/>
                </a:cubicBezTo>
                <a:cubicBezTo>
                  <a:pt x="17" y="81"/>
                  <a:pt x="17" y="81"/>
                  <a:pt x="17" y="81"/>
                </a:cubicBezTo>
                <a:cubicBezTo>
                  <a:pt x="16" y="81"/>
                  <a:pt x="16" y="81"/>
                  <a:pt x="16" y="81"/>
                </a:cubicBezTo>
                <a:cubicBezTo>
                  <a:pt x="14" y="82"/>
                  <a:pt x="14" y="82"/>
                  <a:pt x="14" y="82"/>
                </a:cubicBezTo>
                <a:cubicBezTo>
                  <a:pt x="15" y="82"/>
                  <a:pt x="15" y="82"/>
                  <a:pt x="15" y="82"/>
                </a:cubicBezTo>
                <a:cubicBezTo>
                  <a:pt x="15" y="83"/>
                  <a:pt x="15" y="83"/>
                  <a:pt x="15" y="83"/>
                </a:cubicBezTo>
                <a:cubicBezTo>
                  <a:pt x="15" y="84"/>
                  <a:pt x="15" y="84"/>
                  <a:pt x="15" y="84"/>
                </a:cubicBezTo>
                <a:cubicBezTo>
                  <a:pt x="16" y="84"/>
                  <a:pt x="16" y="84"/>
                  <a:pt x="16" y="84"/>
                </a:cubicBezTo>
                <a:cubicBezTo>
                  <a:pt x="16" y="84"/>
                  <a:pt x="16" y="84"/>
                  <a:pt x="16" y="84"/>
                </a:cubicBezTo>
                <a:cubicBezTo>
                  <a:pt x="16" y="85"/>
                  <a:pt x="16" y="85"/>
                  <a:pt x="16" y="85"/>
                </a:cubicBezTo>
                <a:cubicBezTo>
                  <a:pt x="17" y="84"/>
                  <a:pt x="17" y="84"/>
                  <a:pt x="17" y="84"/>
                </a:cubicBezTo>
                <a:cubicBezTo>
                  <a:pt x="18" y="84"/>
                  <a:pt x="18" y="84"/>
                  <a:pt x="18" y="84"/>
                </a:cubicBezTo>
                <a:cubicBezTo>
                  <a:pt x="20" y="83"/>
                  <a:pt x="20" y="83"/>
                  <a:pt x="20" y="83"/>
                </a:cubicBezTo>
                <a:cubicBezTo>
                  <a:pt x="20" y="84"/>
                  <a:pt x="20" y="84"/>
                  <a:pt x="20" y="84"/>
                </a:cubicBezTo>
                <a:cubicBezTo>
                  <a:pt x="21" y="84"/>
                  <a:pt x="21" y="84"/>
                  <a:pt x="21" y="84"/>
                </a:cubicBezTo>
                <a:cubicBezTo>
                  <a:pt x="20" y="85"/>
                  <a:pt x="20" y="85"/>
                  <a:pt x="20" y="85"/>
                </a:cubicBezTo>
                <a:cubicBezTo>
                  <a:pt x="20" y="85"/>
                  <a:pt x="20" y="85"/>
                  <a:pt x="20" y="85"/>
                </a:cubicBezTo>
                <a:cubicBezTo>
                  <a:pt x="22" y="85"/>
                  <a:pt x="22" y="85"/>
                  <a:pt x="22" y="85"/>
                </a:cubicBezTo>
                <a:cubicBezTo>
                  <a:pt x="22" y="85"/>
                  <a:pt x="22" y="85"/>
                  <a:pt x="22" y="85"/>
                </a:cubicBezTo>
                <a:cubicBezTo>
                  <a:pt x="23" y="85"/>
                  <a:pt x="23" y="85"/>
                  <a:pt x="23" y="85"/>
                </a:cubicBezTo>
                <a:cubicBezTo>
                  <a:pt x="24" y="86"/>
                  <a:pt x="24" y="86"/>
                  <a:pt x="24" y="86"/>
                </a:cubicBezTo>
                <a:cubicBezTo>
                  <a:pt x="24" y="87"/>
                  <a:pt x="24" y="87"/>
                  <a:pt x="24" y="87"/>
                </a:cubicBezTo>
                <a:cubicBezTo>
                  <a:pt x="26" y="87"/>
                  <a:pt x="26" y="87"/>
                  <a:pt x="26" y="87"/>
                </a:cubicBezTo>
                <a:cubicBezTo>
                  <a:pt x="27" y="86"/>
                  <a:pt x="27" y="86"/>
                  <a:pt x="27" y="86"/>
                </a:cubicBezTo>
                <a:cubicBezTo>
                  <a:pt x="28" y="85"/>
                  <a:pt x="28" y="85"/>
                  <a:pt x="28" y="85"/>
                </a:cubicBezTo>
                <a:cubicBezTo>
                  <a:pt x="29" y="85"/>
                  <a:pt x="29" y="85"/>
                  <a:pt x="29" y="85"/>
                </a:cubicBezTo>
                <a:cubicBezTo>
                  <a:pt x="30" y="84"/>
                  <a:pt x="30" y="84"/>
                  <a:pt x="30" y="84"/>
                </a:cubicBezTo>
                <a:cubicBezTo>
                  <a:pt x="31" y="84"/>
                  <a:pt x="31" y="84"/>
                  <a:pt x="31" y="84"/>
                </a:cubicBezTo>
                <a:cubicBezTo>
                  <a:pt x="29" y="85"/>
                  <a:pt x="29" y="85"/>
                  <a:pt x="29" y="85"/>
                </a:cubicBezTo>
                <a:cubicBezTo>
                  <a:pt x="28" y="87"/>
                  <a:pt x="28" y="87"/>
                  <a:pt x="28" y="87"/>
                </a:cubicBezTo>
                <a:cubicBezTo>
                  <a:pt x="28" y="89"/>
                  <a:pt x="28" y="89"/>
                  <a:pt x="28" y="89"/>
                </a:cubicBezTo>
                <a:cubicBezTo>
                  <a:pt x="27" y="89"/>
                  <a:pt x="27" y="89"/>
                  <a:pt x="27" y="89"/>
                </a:cubicBezTo>
                <a:cubicBezTo>
                  <a:pt x="26" y="89"/>
                  <a:pt x="26" y="89"/>
                  <a:pt x="26" y="89"/>
                </a:cubicBezTo>
                <a:cubicBezTo>
                  <a:pt x="25" y="88"/>
                  <a:pt x="25" y="88"/>
                  <a:pt x="25" y="88"/>
                </a:cubicBezTo>
                <a:cubicBezTo>
                  <a:pt x="22" y="88"/>
                  <a:pt x="22" y="88"/>
                  <a:pt x="22" y="88"/>
                </a:cubicBezTo>
                <a:cubicBezTo>
                  <a:pt x="20" y="89"/>
                  <a:pt x="20" y="89"/>
                  <a:pt x="20" y="89"/>
                </a:cubicBezTo>
                <a:cubicBezTo>
                  <a:pt x="20" y="89"/>
                  <a:pt x="20" y="89"/>
                  <a:pt x="20" y="89"/>
                </a:cubicBezTo>
                <a:cubicBezTo>
                  <a:pt x="20" y="90"/>
                  <a:pt x="20" y="90"/>
                  <a:pt x="20" y="90"/>
                </a:cubicBezTo>
                <a:cubicBezTo>
                  <a:pt x="19" y="90"/>
                  <a:pt x="19" y="90"/>
                  <a:pt x="19" y="90"/>
                </a:cubicBezTo>
                <a:cubicBezTo>
                  <a:pt x="18" y="92"/>
                  <a:pt x="18" y="92"/>
                  <a:pt x="18" y="92"/>
                </a:cubicBezTo>
                <a:cubicBezTo>
                  <a:pt x="17" y="93"/>
                  <a:pt x="17" y="93"/>
                  <a:pt x="17" y="93"/>
                </a:cubicBezTo>
                <a:cubicBezTo>
                  <a:pt x="17" y="94"/>
                  <a:pt x="17" y="94"/>
                  <a:pt x="17" y="94"/>
                </a:cubicBezTo>
                <a:cubicBezTo>
                  <a:pt x="16" y="94"/>
                  <a:pt x="16" y="94"/>
                  <a:pt x="16" y="94"/>
                </a:cubicBezTo>
                <a:cubicBezTo>
                  <a:pt x="16" y="95"/>
                  <a:pt x="16" y="95"/>
                  <a:pt x="16" y="95"/>
                </a:cubicBezTo>
                <a:cubicBezTo>
                  <a:pt x="15" y="95"/>
                  <a:pt x="15" y="95"/>
                  <a:pt x="15" y="95"/>
                </a:cubicBezTo>
                <a:cubicBezTo>
                  <a:pt x="15" y="96"/>
                  <a:pt x="15" y="96"/>
                  <a:pt x="15" y="96"/>
                </a:cubicBezTo>
                <a:cubicBezTo>
                  <a:pt x="13" y="97"/>
                  <a:pt x="13" y="97"/>
                  <a:pt x="13" y="97"/>
                </a:cubicBezTo>
                <a:cubicBezTo>
                  <a:pt x="13" y="97"/>
                  <a:pt x="13" y="97"/>
                  <a:pt x="13" y="97"/>
                </a:cubicBezTo>
                <a:cubicBezTo>
                  <a:pt x="12" y="98"/>
                  <a:pt x="12" y="98"/>
                  <a:pt x="12" y="98"/>
                </a:cubicBezTo>
                <a:cubicBezTo>
                  <a:pt x="12" y="99"/>
                  <a:pt x="12" y="99"/>
                  <a:pt x="12" y="99"/>
                </a:cubicBezTo>
                <a:cubicBezTo>
                  <a:pt x="13" y="99"/>
                  <a:pt x="13" y="99"/>
                  <a:pt x="13" y="99"/>
                </a:cubicBezTo>
                <a:cubicBezTo>
                  <a:pt x="13" y="98"/>
                  <a:pt x="13" y="98"/>
                  <a:pt x="13" y="98"/>
                </a:cubicBezTo>
                <a:cubicBezTo>
                  <a:pt x="14" y="98"/>
                  <a:pt x="14" y="98"/>
                  <a:pt x="14" y="98"/>
                </a:cubicBezTo>
                <a:lnTo>
                  <a:pt x="15" y="99"/>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7" name="Freeform 75">
            <a:extLst>
              <a:ext uri="{FF2B5EF4-FFF2-40B4-BE49-F238E27FC236}">
                <a16:creationId xmlns:a16="http://schemas.microsoft.com/office/drawing/2014/main" id="{3E1B5730-BCA9-FC8A-FC99-A7AEB9E18597}"/>
              </a:ext>
            </a:extLst>
          </p:cNvPr>
          <p:cNvSpPr>
            <a:spLocks noEditPoints="1"/>
          </p:cNvSpPr>
          <p:nvPr userDrawn="1"/>
        </p:nvSpPr>
        <p:spPr bwMode="auto">
          <a:xfrm>
            <a:off x="12889659" y="5869865"/>
            <a:ext cx="815923" cy="755650"/>
          </a:xfrm>
          <a:custGeom>
            <a:avLst/>
            <a:gdLst>
              <a:gd name="T0" fmla="*/ 204 w 257"/>
              <a:gd name="T1" fmla="*/ 116 h 238"/>
              <a:gd name="T2" fmla="*/ 188 w 257"/>
              <a:gd name="T3" fmla="*/ 125 h 238"/>
              <a:gd name="T4" fmla="*/ 191 w 257"/>
              <a:gd name="T5" fmla="*/ 110 h 238"/>
              <a:gd name="T6" fmla="*/ 207 w 257"/>
              <a:gd name="T7" fmla="*/ 91 h 238"/>
              <a:gd name="T8" fmla="*/ 213 w 257"/>
              <a:gd name="T9" fmla="*/ 88 h 238"/>
              <a:gd name="T10" fmla="*/ 216 w 257"/>
              <a:gd name="T11" fmla="*/ 69 h 238"/>
              <a:gd name="T12" fmla="*/ 222 w 257"/>
              <a:gd name="T13" fmla="*/ 50 h 238"/>
              <a:gd name="T14" fmla="*/ 204 w 257"/>
              <a:gd name="T15" fmla="*/ 47 h 238"/>
              <a:gd name="T16" fmla="*/ 191 w 257"/>
              <a:gd name="T17" fmla="*/ 41 h 238"/>
              <a:gd name="T18" fmla="*/ 175 w 257"/>
              <a:gd name="T19" fmla="*/ 35 h 238"/>
              <a:gd name="T20" fmla="*/ 160 w 257"/>
              <a:gd name="T21" fmla="*/ 28 h 238"/>
              <a:gd name="T22" fmla="*/ 147 w 257"/>
              <a:gd name="T23" fmla="*/ 19 h 238"/>
              <a:gd name="T24" fmla="*/ 135 w 257"/>
              <a:gd name="T25" fmla="*/ 0 h 238"/>
              <a:gd name="T26" fmla="*/ 119 w 257"/>
              <a:gd name="T27" fmla="*/ 6 h 238"/>
              <a:gd name="T28" fmla="*/ 110 w 257"/>
              <a:gd name="T29" fmla="*/ 28 h 238"/>
              <a:gd name="T30" fmla="*/ 88 w 257"/>
              <a:gd name="T31" fmla="*/ 38 h 238"/>
              <a:gd name="T32" fmla="*/ 75 w 257"/>
              <a:gd name="T33" fmla="*/ 44 h 238"/>
              <a:gd name="T34" fmla="*/ 66 w 257"/>
              <a:gd name="T35" fmla="*/ 35 h 238"/>
              <a:gd name="T36" fmla="*/ 54 w 257"/>
              <a:gd name="T37" fmla="*/ 38 h 238"/>
              <a:gd name="T38" fmla="*/ 60 w 257"/>
              <a:gd name="T39" fmla="*/ 56 h 238"/>
              <a:gd name="T40" fmla="*/ 50 w 257"/>
              <a:gd name="T41" fmla="*/ 60 h 238"/>
              <a:gd name="T42" fmla="*/ 32 w 257"/>
              <a:gd name="T43" fmla="*/ 56 h 238"/>
              <a:gd name="T44" fmla="*/ 16 w 257"/>
              <a:gd name="T45" fmla="*/ 60 h 238"/>
              <a:gd name="T46" fmla="*/ 4 w 257"/>
              <a:gd name="T47" fmla="*/ 69 h 238"/>
              <a:gd name="T48" fmla="*/ 7 w 257"/>
              <a:gd name="T49" fmla="*/ 69 h 238"/>
              <a:gd name="T50" fmla="*/ 10 w 257"/>
              <a:gd name="T51" fmla="*/ 75 h 238"/>
              <a:gd name="T52" fmla="*/ 10 w 257"/>
              <a:gd name="T53" fmla="*/ 85 h 238"/>
              <a:gd name="T54" fmla="*/ 25 w 257"/>
              <a:gd name="T55" fmla="*/ 85 h 238"/>
              <a:gd name="T56" fmla="*/ 38 w 257"/>
              <a:gd name="T57" fmla="*/ 88 h 238"/>
              <a:gd name="T58" fmla="*/ 44 w 257"/>
              <a:gd name="T59" fmla="*/ 97 h 238"/>
              <a:gd name="T60" fmla="*/ 54 w 257"/>
              <a:gd name="T61" fmla="*/ 97 h 238"/>
              <a:gd name="T62" fmla="*/ 47 w 257"/>
              <a:gd name="T63" fmla="*/ 107 h 238"/>
              <a:gd name="T64" fmla="*/ 66 w 257"/>
              <a:gd name="T65" fmla="*/ 119 h 238"/>
              <a:gd name="T66" fmla="*/ 66 w 257"/>
              <a:gd name="T67" fmla="*/ 135 h 238"/>
              <a:gd name="T68" fmla="*/ 72 w 257"/>
              <a:gd name="T69" fmla="*/ 141 h 238"/>
              <a:gd name="T70" fmla="*/ 69 w 257"/>
              <a:gd name="T71" fmla="*/ 160 h 238"/>
              <a:gd name="T72" fmla="*/ 60 w 257"/>
              <a:gd name="T73" fmla="*/ 191 h 238"/>
              <a:gd name="T74" fmla="*/ 69 w 257"/>
              <a:gd name="T75" fmla="*/ 197 h 238"/>
              <a:gd name="T76" fmla="*/ 94 w 257"/>
              <a:gd name="T77" fmla="*/ 207 h 238"/>
              <a:gd name="T78" fmla="*/ 116 w 257"/>
              <a:gd name="T79" fmla="*/ 207 h 238"/>
              <a:gd name="T80" fmla="*/ 141 w 257"/>
              <a:gd name="T81" fmla="*/ 213 h 238"/>
              <a:gd name="T82" fmla="*/ 154 w 257"/>
              <a:gd name="T83" fmla="*/ 185 h 238"/>
              <a:gd name="T84" fmla="*/ 169 w 257"/>
              <a:gd name="T85" fmla="*/ 191 h 238"/>
              <a:gd name="T86" fmla="*/ 201 w 257"/>
              <a:gd name="T87" fmla="*/ 197 h 238"/>
              <a:gd name="T88" fmla="*/ 219 w 257"/>
              <a:gd name="T89" fmla="*/ 178 h 238"/>
              <a:gd name="T90" fmla="*/ 207 w 257"/>
              <a:gd name="T91" fmla="*/ 153 h 238"/>
              <a:gd name="T92" fmla="*/ 207 w 257"/>
              <a:gd name="T93" fmla="*/ 135 h 238"/>
              <a:gd name="T94" fmla="*/ 251 w 257"/>
              <a:gd name="T95" fmla="*/ 238 h 238"/>
              <a:gd name="T96" fmla="*/ 244 w 257"/>
              <a:gd name="T97" fmla="*/ 229 h 238"/>
              <a:gd name="T98" fmla="*/ 241 w 257"/>
              <a:gd name="T99" fmla="*/ 222 h 238"/>
              <a:gd name="T100" fmla="*/ 241 w 257"/>
              <a:gd name="T101" fmla="*/ 216 h 238"/>
              <a:gd name="T102" fmla="*/ 251 w 257"/>
              <a:gd name="T103" fmla="*/ 207 h 238"/>
              <a:gd name="T104" fmla="*/ 254 w 257"/>
              <a:gd name="T105" fmla="*/ 197 h 238"/>
              <a:gd name="T106" fmla="*/ 257 w 257"/>
              <a:gd name="T107" fmla="*/ 22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7" h="238">
                <a:moveTo>
                  <a:pt x="210" y="128"/>
                </a:moveTo>
                <a:lnTo>
                  <a:pt x="207" y="125"/>
                </a:lnTo>
                <a:lnTo>
                  <a:pt x="207" y="125"/>
                </a:lnTo>
                <a:lnTo>
                  <a:pt x="204" y="119"/>
                </a:lnTo>
                <a:lnTo>
                  <a:pt x="204" y="116"/>
                </a:lnTo>
                <a:lnTo>
                  <a:pt x="197" y="116"/>
                </a:lnTo>
                <a:lnTo>
                  <a:pt x="194" y="119"/>
                </a:lnTo>
                <a:lnTo>
                  <a:pt x="194" y="122"/>
                </a:lnTo>
                <a:lnTo>
                  <a:pt x="191" y="125"/>
                </a:lnTo>
                <a:lnTo>
                  <a:pt x="188" y="125"/>
                </a:lnTo>
                <a:lnTo>
                  <a:pt x="185" y="122"/>
                </a:lnTo>
                <a:lnTo>
                  <a:pt x="188" y="119"/>
                </a:lnTo>
                <a:lnTo>
                  <a:pt x="191" y="119"/>
                </a:lnTo>
                <a:lnTo>
                  <a:pt x="191" y="116"/>
                </a:lnTo>
                <a:lnTo>
                  <a:pt x="191" y="110"/>
                </a:lnTo>
                <a:lnTo>
                  <a:pt x="197" y="103"/>
                </a:lnTo>
                <a:lnTo>
                  <a:pt x="201" y="100"/>
                </a:lnTo>
                <a:lnTo>
                  <a:pt x="204" y="97"/>
                </a:lnTo>
                <a:lnTo>
                  <a:pt x="207" y="94"/>
                </a:lnTo>
                <a:lnTo>
                  <a:pt x="207" y="91"/>
                </a:lnTo>
                <a:lnTo>
                  <a:pt x="204" y="88"/>
                </a:lnTo>
                <a:lnTo>
                  <a:pt x="204" y="85"/>
                </a:lnTo>
                <a:lnTo>
                  <a:pt x="210" y="85"/>
                </a:lnTo>
                <a:lnTo>
                  <a:pt x="210" y="88"/>
                </a:lnTo>
                <a:lnTo>
                  <a:pt x="213" y="88"/>
                </a:lnTo>
                <a:lnTo>
                  <a:pt x="219" y="88"/>
                </a:lnTo>
                <a:lnTo>
                  <a:pt x="219" y="81"/>
                </a:lnTo>
                <a:lnTo>
                  <a:pt x="216" y="81"/>
                </a:lnTo>
                <a:lnTo>
                  <a:pt x="216" y="75"/>
                </a:lnTo>
                <a:lnTo>
                  <a:pt x="216" y="69"/>
                </a:lnTo>
                <a:lnTo>
                  <a:pt x="219" y="66"/>
                </a:lnTo>
                <a:lnTo>
                  <a:pt x="219" y="63"/>
                </a:lnTo>
                <a:lnTo>
                  <a:pt x="222" y="56"/>
                </a:lnTo>
                <a:lnTo>
                  <a:pt x="226" y="53"/>
                </a:lnTo>
                <a:lnTo>
                  <a:pt x="222" y="50"/>
                </a:lnTo>
                <a:lnTo>
                  <a:pt x="219" y="50"/>
                </a:lnTo>
                <a:lnTo>
                  <a:pt x="213" y="47"/>
                </a:lnTo>
                <a:lnTo>
                  <a:pt x="210" y="47"/>
                </a:lnTo>
                <a:lnTo>
                  <a:pt x="207" y="47"/>
                </a:lnTo>
                <a:lnTo>
                  <a:pt x="204" y="47"/>
                </a:lnTo>
                <a:lnTo>
                  <a:pt x="201" y="50"/>
                </a:lnTo>
                <a:lnTo>
                  <a:pt x="197" y="47"/>
                </a:lnTo>
                <a:lnTo>
                  <a:pt x="197" y="44"/>
                </a:lnTo>
                <a:lnTo>
                  <a:pt x="194" y="41"/>
                </a:lnTo>
                <a:lnTo>
                  <a:pt x="191" y="41"/>
                </a:lnTo>
                <a:lnTo>
                  <a:pt x="185" y="41"/>
                </a:lnTo>
                <a:lnTo>
                  <a:pt x="185" y="38"/>
                </a:lnTo>
                <a:lnTo>
                  <a:pt x="182" y="38"/>
                </a:lnTo>
                <a:lnTo>
                  <a:pt x="179" y="38"/>
                </a:lnTo>
                <a:lnTo>
                  <a:pt x="175" y="35"/>
                </a:lnTo>
                <a:lnTo>
                  <a:pt x="172" y="35"/>
                </a:lnTo>
                <a:lnTo>
                  <a:pt x="166" y="28"/>
                </a:lnTo>
                <a:lnTo>
                  <a:pt x="163" y="28"/>
                </a:lnTo>
                <a:lnTo>
                  <a:pt x="163" y="28"/>
                </a:lnTo>
                <a:lnTo>
                  <a:pt x="160" y="28"/>
                </a:lnTo>
                <a:lnTo>
                  <a:pt x="157" y="28"/>
                </a:lnTo>
                <a:lnTo>
                  <a:pt x="154" y="25"/>
                </a:lnTo>
                <a:lnTo>
                  <a:pt x="154" y="22"/>
                </a:lnTo>
                <a:lnTo>
                  <a:pt x="150" y="19"/>
                </a:lnTo>
                <a:lnTo>
                  <a:pt x="147" y="19"/>
                </a:lnTo>
                <a:lnTo>
                  <a:pt x="147" y="19"/>
                </a:lnTo>
                <a:lnTo>
                  <a:pt x="141" y="13"/>
                </a:lnTo>
                <a:lnTo>
                  <a:pt x="141" y="10"/>
                </a:lnTo>
                <a:lnTo>
                  <a:pt x="135" y="10"/>
                </a:lnTo>
                <a:lnTo>
                  <a:pt x="135" y="0"/>
                </a:lnTo>
                <a:lnTo>
                  <a:pt x="132" y="0"/>
                </a:lnTo>
                <a:lnTo>
                  <a:pt x="132" y="0"/>
                </a:lnTo>
                <a:lnTo>
                  <a:pt x="125" y="3"/>
                </a:lnTo>
                <a:lnTo>
                  <a:pt x="122" y="3"/>
                </a:lnTo>
                <a:lnTo>
                  <a:pt x="119" y="6"/>
                </a:lnTo>
                <a:lnTo>
                  <a:pt x="116" y="10"/>
                </a:lnTo>
                <a:lnTo>
                  <a:pt x="116" y="13"/>
                </a:lnTo>
                <a:lnTo>
                  <a:pt x="116" y="22"/>
                </a:lnTo>
                <a:lnTo>
                  <a:pt x="110" y="25"/>
                </a:lnTo>
                <a:lnTo>
                  <a:pt x="110" y="28"/>
                </a:lnTo>
                <a:lnTo>
                  <a:pt x="104" y="31"/>
                </a:lnTo>
                <a:lnTo>
                  <a:pt x="100" y="31"/>
                </a:lnTo>
                <a:lnTo>
                  <a:pt x="97" y="28"/>
                </a:lnTo>
                <a:lnTo>
                  <a:pt x="91" y="35"/>
                </a:lnTo>
                <a:lnTo>
                  <a:pt x="88" y="38"/>
                </a:lnTo>
                <a:lnTo>
                  <a:pt x="88" y="38"/>
                </a:lnTo>
                <a:lnTo>
                  <a:pt x="94" y="41"/>
                </a:lnTo>
                <a:lnTo>
                  <a:pt x="88" y="44"/>
                </a:lnTo>
                <a:lnTo>
                  <a:pt x="82" y="44"/>
                </a:lnTo>
                <a:lnTo>
                  <a:pt x="75" y="44"/>
                </a:lnTo>
                <a:lnTo>
                  <a:pt x="72" y="41"/>
                </a:lnTo>
                <a:lnTo>
                  <a:pt x="69" y="44"/>
                </a:lnTo>
                <a:lnTo>
                  <a:pt x="66" y="41"/>
                </a:lnTo>
                <a:lnTo>
                  <a:pt x="66" y="38"/>
                </a:lnTo>
                <a:lnTo>
                  <a:pt x="66" y="35"/>
                </a:lnTo>
                <a:lnTo>
                  <a:pt x="63" y="35"/>
                </a:lnTo>
                <a:lnTo>
                  <a:pt x="60" y="35"/>
                </a:lnTo>
                <a:lnTo>
                  <a:pt x="57" y="35"/>
                </a:lnTo>
                <a:lnTo>
                  <a:pt x="54" y="35"/>
                </a:lnTo>
                <a:lnTo>
                  <a:pt x="54" y="38"/>
                </a:lnTo>
                <a:lnTo>
                  <a:pt x="54" y="41"/>
                </a:lnTo>
                <a:lnTo>
                  <a:pt x="60" y="47"/>
                </a:lnTo>
                <a:lnTo>
                  <a:pt x="60" y="50"/>
                </a:lnTo>
                <a:lnTo>
                  <a:pt x="60" y="53"/>
                </a:lnTo>
                <a:lnTo>
                  <a:pt x="60" y="56"/>
                </a:lnTo>
                <a:lnTo>
                  <a:pt x="60" y="56"/>
                </a:lnTo>
                <a:lnTo>
                  <a:pt x="63" y="60"/>
                </a:lnTo>
                <a:lnTo>
                  <a:pt x="54" y="60"/>
                </a:lnTo>
                <a:lnTo>
                  <a:pt x="50" y="63"/>
                </a:lnTo>
                <a:lnTo>
                  <a:pt x="50" y="60"/>
                </a:lnTo>
                <a:lnTo>
                  <a:pt x="44" y="63"/>
                </a:lnTo>
                <a:lnTo>
                  <a:pt x="44" y="60"/>
                </a:lnTo>
                <a:lnTo>
                  <a:pt x="41" y="63"/>
                </a:lnTo>
                <a:lnTo>
                  <a:pt x="35" y="56"/>
                </a:lnTo>
                <a:lnTo>
                  <a:pt x="32" y="56"/>
                </a:lnTo>
                <a:lnTo>
                  <a:pt x="25" y="56"/>
                </a:lnTo>
                <a:lnTo>
                  <a:pt x="22" y="60"/>
                </a:lnTo>
                <a:lnTo>
                  <a:pt x="22" y="60"/>
                </a:lnTo>
                <a:lnTo>
                  <a:pt x="19" y="60"/>
                </a:lnTo>
                <a:lnTo>
                  <a:pt x="16" y="60"/>
                </a:lnTo>
                <a:lnTo>
                  <a:pt x="13" y="60"/>
                </a:lnTo>
                <a:lnTo>
                  <a:pt x="10" y="63"/>
                </a:lnTo>
                <a:lnTo>
                  <a:pt x="4" y="63"/>
                </a:lnTo>
                <a:lnTo>
                  <a:pt x="0" y="66"/>
                </a:lnTo>
                <a:lnTo>
                  <a:pt x="4" y="69"/>
                </a:lnTo>
                <a:lnTo>
                  <a:pt x="7" y="66"/>
                </a:lnTo>
                <a:lnTo>
                  <a:pt x="10" y="69"/>
                </a:lnTo>
                <a:lnTo>
                  <a:pt x="10" y="69"/>
                </a:lnTo>
                <a:lnTo>
                  <a:pt x="7" y="69"/>
                </a:lnTo>
                <a:lnTo>
                  <a:pt x="7" y="69"/>
                </a:lnTo>
                <a:lnTo>
                  <a:pt x="7" y="72"/>
                </a:lnTo>
                <a:lnTo>
                  <a:pt x="7" y="69"/>
                </a:lnTo>
                <a:lnTo>
                  <a:pt x="10" y="72"/>
                </a:lnTo>
                <a:lnTo>
                  <a:pt x="10" y="72"/>
                </a:lnTo>
                <a:lnTo>
                  <a:pt x="10" y="75"/>
                </a:lnTo>
                <a:lnTo>
                  <a:pt x="4" y="75"/>
                </a:lnTo>
                <a:lnTo>
                  <a:pt x="4" y="75"/>
                </a:lnTo>
                <a:lnTo>
                  <a:pt x="10" y="75"/>
                </a:lnTo>
                <a:lnTo>
                  <a:pt x="10" y="81"/>
                </a:lnTo>
                <a:lnTo>
                  <a:pt x="10" y="85"/>
                </a:lnTo>
                <a:lnTo>
                  <a:pt x="13" y="81"/>
                </a:lnTo>
                <a:lnTo>
                  <a:pt x="16" y="81"/>
                </a:lnTo>
                <a:lnTo>
                  <a:pt x="19" y="81"/>
                </a:lnTo>
                <a:lnTo>
                  <a:pt x="25" y="85"/>
                </a:lnTo>
                <a:lnTo>
                  <a:pt x="25" y="85"/>
                </a:lnTo>
                <a:lnTo>
                  <a:pt x="29" y="85"/>
                </a:lnTo>
                <a:lnTo>
                  <a:pt x="32" y="88"/>
                </a:lnTo>
                <a:lnTo>
                  <a:pt x="35" y="85"/>
                </a:lnTo>
                <a:lnTo>
                  <a:pt x="38" y="85"/>
                </a:lnTo>
                <a:lnTo>
                  <a:pt x="38" y="88"/>
                </a:lnTo>
                <a:lnTo>
                  <a:pt x="38" y="91"/>
                </a:lnTo>
                <a:lnTo>
                  <a:pt x="41" y="88"/>
                </a:lnTo>
                <a:lnTo>
                  <a:pt x="44" y="91"/>
                </a:lnTo>
                <a:lnTo>
                  <a:pt x="41" y="94"/>
                </a:lnTo>
                <a:lnTo>
                  <a:pt x="44" y="97"/>
                </a:lnTo>
                <a:lnTo>
                  <a:pt x="47" y="97"/>
                </a:lnTo>
                <a:lnTo>
                  <a:pt x="50" y="94"/>
                </a:lnTo>
                <a:lnTo>
                  <a:pt x="54" y="94"/>
                </a:lnTo>
                <a:lnTo>
                  <a:pt x="57" y="97"/>
                </a:lnTo>
                <a:lnTo>
                  <a:pt x="54" y="97"/>
                </a:lnTo>
                <a:lnTo>
                  <a:pt x="50" y="97"/>
                </a:lnTo>
                <a:lnTo>
                  <a:pt x="47" y="100"/>
                </a:lnTo>
                <a:lnTo>
                  <a:pt x="50" y="100"/>
                </a:lnTo>
                <a:lnTo>
                  <a:pt x="50" y="103"/>
                </a:lnTo>
                <a:lnTo>
                  <a:pt x="47" y="107"/>
                </a:lnTo>
                <a:lnTo>
                  <a:pt x="50" y="110"/>
                </a:lnTo>
                <a:lnTo>
                  <a:pt x="54" y="110"/>
                </a:lnTo>
                <a:lnTo>
                  <a:pt x="57" y="116"/>
                </a:lnTo>
                <a:lnTo>
                  <a:pt x="63" y="116"/>
                </a:lnTo>
                <a:lnTo>
                  <a:pt x="66" y="119"/>
                </a:lnTo>
                <a:lnTo>
                  <a:pt x="66" y="122"/>
                </a:lnTo>
                <a:lnTo>
                  <a:pt x="69" y="125"/>
                </a:lnTo>
                <a:lnTo>
                  <a:pt x="66" y="132"/>
                </a:lnTo>
                <a:lnTo>
                  <a:pt x="66" y="132"/>
                </a:lnTo>
                <a:lnTo>
                  <a:pt x="66" y="135"/>
                </a:lnTo>
                <a:lnTo>
                  <a:pt x="69" y="135"/>
                </a:lnTo>
                <a:lnTo>
                  <a:pt x="75" y="138"/>
                </a:lnTo>
                <a:lnTo>
                  <a:pt x="79" y="150"/>
                </a:lnTo>
                <a:lnTo>
                  <a:pt x="75" y="144"/>
                </a:lnTo>
                <a:lnTo>
                  <a:pt x="72" y="141"/>
                </a:lnTo>
                <a:lnTo>
                  <a:pt x="69" y="138"/>
                </a:lnTo>
                <a:lnTo>
                  <a:pt x="66" y="141"/>
                </a:lnTo>
                <a:lnTo>
                  <a:pt x="66" y="150"/>
                </a:lnTo>
                <a:lnTo>
                  <a:pt x="66" y="157"/>
                </a:lnTo>
                <a:lnTo>
                  <a:pt x="69" y="160"/>
                </a:lnTo>
                <a:lnTo>
                  <a:pt x="66" y="160"/>
                </a:lnTo>
                <a:lnTo>
                  <a:pt x="63" y="175"/>
                </a:lnTo>
                <a:lnTo>
                  <a:pt x="60" y="185"/>
                </a:lnTo>
                <a:lnTo>
                  <a:pt x="57" y="188"/>
                </a:lnTo>
                <a:lnTo>
                  <a:pt x="60" y="191"/>
                </a:lnTo>
                <a:lnTo>
                  <a:pt x="60" y="191"/>
                </a:lnTo>
                <a:lnTo>
                  <a:pt x="63" y="191"/>
                </a:lnTo>
                <a:lnTo>
                  <a:pt x="63" y="197"/>
                </a:lnTo>
                <a:lnTo>
                  <a:pt x="63" y="200"/>
                </a:lnTo>
                <a:lnTo>
                  <a:pt x="69" y="197"/>
                </a:lnTo>
                <a:lnTo>
                  <a:pt x="75" y="200"/>
                </a:lnTo>
                <a:lnTo>
                  <a:pt x="79" y="207"/>
                </a:lnTo>
                <a:lnTo>
                  <a:pt x="85" y="204"/>
                </a:lnTo>
                <a:lnTo>
                  <a:pt x="88" y="210"/>
                </a:lnTo>
                <a:lnTo>
                  <a:pt x="94" y="207"/>
                </a:lnTo>
                <a:lnTo>
                  <a:pt x="97" y="210"/>
                </a:lnTo>
                <a:lnTo>
                  <a:pt x="100" y="207"/>
                </a:lnTo>
                <a:lnTo>
                  <a:pt x="110" y="207"/>
                </a:lnTo>
                <a:lnTo>
                  <a:pt x="113" y="207"/>
                </a:lnTo>
                <a:lnTo>
                  <a:pt x="116" y="207"/>
                </a:lnTo>
                <a:lnTo>
                  <a:pt x="122" y="210"/>
                </a:lnTo>
                <a:lnTo>
                  <a:pt x="132" y="210"/>
                </a:lnTo>
                <a:lnTo>
                  <a:pt x="138" y="213"/>
                </a:lnTo>
                <a:lnTo>
                  <a:pt x="141" y="213"/>
                </a:lnTo>
                <a:lnTo>
                  <a:pt x="141" y="213"/>
                </a:lnTo>
                <a:lnTo>
                  <a:pt x="141" y="207"/>
                </a:lnTo>
                <a:lnTo>
                  <a:pt x="141" y="200"/>
                </a:lnTo>
                <a:lnTo>
                  <a:pt x="141" y="197"/>
                </a:lnTo>
                <a:lnTo>
                  <a:pt x="147" y="191"/>
                </a:lnTo>
                <a:lnTo>
                  <a:pt x="154" y="185"/>
                </a:lnTo>
                <a:lnTo>
                  <a:pt x="154" y="185"/>
                </a:lnTo>
                <a:lnTo>
                  <a:pt x="157" y="188"/>
                </a:lnTo>
                <a:lnTo>
                  <a:pt x="163" y="188"/>
                </a:lnTo>
                <a:lnTo>
                  <a:pt x="166" y="191"/>
                </a:lnTo>
                <a:lnTo>
                  <a:pt x="169" y="191"/>
                </a:lnTo>
                <a:lnTo>
                  <a:pt x="172" y="188"/>
                </a:lnTo>
                <a:lnTo>
                  <a:pt x="175" y="188"/>
                </a:lnTo>
                <a:lnTo>
                  <a:pt x="188" y="194"/>
                </a:lnTo>
                <a:lnTo>
                  <a:pt x="191" y="197"/>
                </a:lnTo>
                <a:lnTo>
                  <a:pt x="201" y="197"/>
                </a:lnTo>
                <a:lnTo>
                  <a:pt x="204" y="194"/>
                </a:lnTo>
                <a:lnTo>
                  <a:pt x="204" y="194"/>
                </a:lnTo>
                <a:lnTo>
                  <a:pt x="207" y="188"/>
                </a:lnTo>
                <a:lnTo>
                  <a:pt x="219" y="178"/>
                </a:lnTo>
                <a:lnTo>
                  <a:pt x="219" y="178"/>
                </a:lnTo>
                <a:lnTo>
                  <a:pt x="216" y="175"/>
                </a:lnTo>
                <a:lnTo>
                  <a:pt x="219" y="169"/>
                </a:lnTo>
                <a:lnTo>
                  <a:pt x="213" y="169"/>
                </a:lnTo>
                <a:lnTo>
                  <a:pt x="207" y="166"/>
                </a:lnTo>
                <a:lnTo>
                  <a:pt x="207" y="153"/>
                </a:lnTo>
                <a:lnTo>
                  <a:pt x="204" y="150"/>
                </a:lnTo>
                <a:lnTo>
                  <a:pt x="204" y="147"/>
                </a:lnTo>
                <a:lnTo>
                  <a:pt x="210" y="147"/>
                </a:lnTo>
                <a:lnTo>
                  <a:pt x="210" y="141"/>
                </a:lnTo>
                <a:lnTo>
                  <a:pt x="207" y="135"/>
                </a:lnTo>
                <a:lnTo>
                  <a:pt x="207" y="132"/>
                </a:lnTo>
                <a:lnTo>
                  <a:pt x="207" y="128"/>
                </a:lnTo>
                <a:lnTo>
                  <a:pt x="210" y="128"/>
                </a:lnTo>
                <a:lnTo>
                  <a:pt x="210" y="128"/>
                </a:lnTo>
                <a:close/>
                <a:moveTo>
                  <a:pt x="251" y="238"/>
                </a:moveTo>
                <a:lnTo>
                  <a:pt x="244" y="235"/>
                </a:lnTo>
                <a:lnTo>
                  <a:pt x="241" y="232"/>
                </a:lnTo>
                <a:lnTo>
                  <a:pt x="244" y="232"/>
                </a:lnTo>
                <a:lnTo>
                  <a:pt x="244" y="232"/>
                </a:lnTo>
                <a:lnTo>
                  <a:pt x="244" y="229"/>
                </a:lnTo>
                <a:lnTo>
                  <a:pt x="244" y="229"/>
                </a:lnTo>
                <a:lnTo>
                  <a:pt x="244" y="225"/>
                </a:lnTo>
                <a:lnTo>
                  <a:pt x="241" y="225"/>
                </a:lnTo>
                <a:lnTo>
                  <a:pt x="238" y="222"/>
                </a:lnTo>
                <a:lnTo>
                  <a:pt x="241" y="222"/>
                </a:lnTo>
                <a:lnTo>
                  <a:pt x="241" y="222"/>
                </a:lnTo>
                <a:lnTo>
                  <a:pt x="238" y="219"/>
                </a:lnTo>
                <a:lnTo>
                  <a:pt x="238" y="216"/>
                </a:lnTo>
                <a:lnTo>
                  <a:pt x="238" y="216"/>
                </a:lnTo>
                <a:lnTo>
                  <a:pt x="241" y="216"/>
                </a:lnTo>
                <a:lnTo>
                  <a:pt x="238" y="213"/>
                </a:lnTo>
                <a:lnTo>
                  <a:pt x="241" y="207"/>
                </a:lnTo>
                <a:lnTo>
                  <a:pt x="247" y="207"/>
                </a:lnTo>
                <a:lnTo>
                  <a:pt x="247" y="204"/>
                </a:lnTo>
                <a:lnTo>
                  <a:pt x="251" y="207"/>
                </a:lnTo>
                <a:lnTo>
                  <a:pt x="254" y="207"/>
                </a:lnTo>
                <a:lnTo>
                  <a:pt x="254" y="204"/>
                </a:lnTo>
                <a:lnTo>
                  <a:pt x="254" y="200"/>
                </a:lnTo>
                <a:lnTo>
                  <a:pt x="254" y="197"/>
                </a:lnTo>
                <a:lnTo>
                  <a:pt x="254" y="197"/>
                </a:lnTo>
                <a:lnTo>
                  <a:pt x="257" y="204"/>
                </a:lnTo>
                <a:lnTo>
                  <a:pt x="257" y="207"/>
                </a:lnTo>
                <a:lnTo>
                  <a:pt x="257" y="216"/>
                </a:lnTo>
                <a:lnTo>
                  <a:pt x="254" y="225"/>
                </a:lnTo>
                <a:lnTo>
                  <a:pt x="257" y="229"/>
                </a:lnTo>
                <a:lnTo>
                  <a:pt x="254" y="235"/>
                </a:lnTo>
                <a:lnTo>
                  <a:pt x="251" y="238"/>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8" name="Freeform 76">
            <a:extLst>
              <a:ext uri="{FF2B5EF4-FFF2-40B4-BE49-F238E27FC236}">
                <a16:creationId xmlns:a16="http://schemas.microsoft.com/office/drawing/2014/main" id="{F08762F7-E9B7-93CF-639B-C3CE9FA8BB2D}"/>
              </a:ext>
            </a:extLst>
          </p:cNvPr>
          <p:cNvSpPr>
            <a:spLocks/>
          </p:cNvSpPr>
          <p:nvPr userDrawn="1"/>
        </p:nvSpPr>
        <p:spPr bwMode="auto">
          <a:xfrm>
            <a:off x="14013541" y="7031909"/>
            <a:ext cx="19049" cy="19050"/>
          </a:xfrm>
          <a:custGeom>
            <a:avLst/>
            <a:gdLst>
              <a:gd name="T0" fmla="*/ 0 w 6"/>
              <a:gd name="T1" fmla="*/ 0 h 6"/>
              <a:gd name="T2" fmla="*/ 0 w 6"/>
              <a:gd name="T3" fmla="*/ 3 h 6"/>
              <a:gd name="T4" fmla="*/ 3 w 6"/>
              <a:gd name="T5" fmla="*/ 6 h 6"/>
              <a:gd name="T6" fmla="*/ 6 w 6"/>
              <a:gd name="T7" fmla="*/ 3 h 6"/>
              <a:gd name="T8" fmla="*/ 6 w 6"/>
              <a:gd name="T9" fmla="*/ 0 h 6"/>
              <a:gd name="T10" fmla="*/ 0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0" y="0"/>
                </a:moveTo>
                <a:lnTo>
                  <a:pt x="0" y="3"/>
                </a:lnTo>
                <a:lnTo>
                  <a:pt x="3" y="6"/>
                </a:lnTo>
                <a:lnTo>
                  <a:pt x="6" y="3"/>
                </a:lnTo>
                <a:lnTo>
                  <a:pt x="6" y="0"/>
                </a:lnTo>
                <a:lnTo>
                  <a:pt x="0" y="0"/>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9" name="Freeform 77">
            <a:extLst>
              <a:ext uri="{FF2B5EF4-FFF2-40B4-BE49-F238E27FC236}">
                <a16:creationId xmlns:a16="http://schemas.microsoft.com/office/drawing/2014/main" id="{F33C48FF-74FE-7EC6-0B97-DCB2E5F08E2B}"/>
              </a:ext>
            </a:extLst>
          </p:cNvPr>
          <p:cNvSpPr>
            <a:spLocks noEditPoints="1"/>
          </p:cNvSpPr>
          <p:nvPr userDrawn="1"/>
        </p:nvSpPr>
        <p:spPr bwMode="auto">
          <a:xfrm>
            <a:off x="13537324" y="6187363"/>
            <a:ext cx="704804" cy="796926"/>
          </a:xfrm>
          <a:custGeom>
            <a:avLst/>
            <a:gdLst>
              <a:gd name="T0" fmla="*/ 3 w 222"/>
              <a:gd name="T1" fmla="*/ 66 h 251"/>
              <a:gd name="T2" fmla="*/ 6 w 222"/>
              <a:gd name="T3" fmla="*/ 41 h 251"/>
              <a:gd name="T4" fmla="*/ 15 w 222"/>
              <a:gd name="T5" fmla="*/ 25 h 251"/>
              <a:gd name="T6" fmla="*/ 40 w 222"/>
              <a:gd name="T7" fmla="*/ 25 h 251"/>
              <a:gd name="T8" fmla="*/ 56 w 222"/>
              <a:gd name="T9" fmla="*/ 19 h 251"/>
              <a:gd name="T10" fmla="*/ 72 w 222"/>
              <a:gd name="T11" fmla="*/ 3 h 251"/>
              <a:gd name="T12" fmla="*/ 97 w 222"/>
              <a:gd name="T13" fmla="*/ 3 h 251"/>
              <a:gd name="T14" fmla="*/ 125 w 222"/>
              <a:gd name="T15" fmla="*/ 19 h 251"/>
              <a:gd name="T16" fmla="*/ 115 w 222"/>
              <a:gd name="T17" fmla="*/ 35 h 251"/>
              <a:gd name="T18" fmla="*/ 100 w 222"/>
              <a:gd name="T19" fmla="*/ 44 h 251"/>
              <a:gd name="T20" fmla="*/ 103 w 222"/>
              <a:gd name="T21" fmla="*/ 63 h 251"/>
              <a:gd name="T22" fmla="*/ 122 w 222"/>
              <a:gd name="T23" fmla="*/ 82 h 251"/>
              <a:gd name="T24" fmla="*/ 137 w 222"/>
              <a:gd name="T25" fmla="*/ 107 h 251"/>
              <a:gd name="T26" fmla="*/ 156 w 222"/>
              <a:gd name="T27" fmla="*/ 122 h 251"/>
              <a:gd name="T28" fmla="*/ 178 w 222"/>
              <a:gd name="T29" fmla="*/ 125 h 251"/>
              <a:gd name="T30" fmla="*/ 178 w 222"/>
              <a:gd name="T31" fmla="*/ 138 h 251"/>
              <a:gd name="T32" fmla="*/ 218 w 222"/>
              <a:gd name="T33" fmla="*/ 157 h 251"/>
              <a:gd name="T34" fmla="*/ 222 w 222"/>
              <a:gd name="T35" fmla="*/ 172 h 251"/>
              <a:gd name="T36" fmla="*/ 212 w 222"/>
              <a:gd name="T37" fmla="*/ 166 h 251"/>
              <a:gd name="T38" fmla="*/ 197 w 222"/>
              <a:gd name="T39" fmla="*/ 160 h 251"/>
              <a:gd name="T40" fmla="*/ 190 w 222"/>
              <a:gd name="T41" fmla="*/ 169 h 251"/>
              <a:gd name="T42" fmla="*/ 190 w 222"/>
              <a:gd name="T43" fmla="*/ 179 h 251"/>
              <a:gd name="T44" fmla="*/ 197 w 222"/>
              <a:gd name="T45" fmla="*/ 197 h 251"/>
              <a:gd name="T46" fmla="*/ 184 w 222"/>
              <a:gd name="T47" fmla="*/ 219 h 251"/>
              <a:gd name="T48" fmla="*/ 172 w 222"/>
              <a:gd name="T49" fmla="*/ 213 h 251"/>
              <a:gd name="T50" fmla="*/ 178 w 222"/>
              <a:gd name="T51" fmla="*/ 200 h 251"/>
              <a:gd name="T52" fmla="*/ 178 w 222"/>
              <a:gd name="T53" fmla="*/ 185 h 251"/>
              <a:gd name="T54" fmla="*/ 168 w 222"/>
              <a:gd name="T55" fmla="*/ 169 h 251"/>
              <a:gd name="T56" fmla="*/ 156 w 222"/>
              <a:gd name="T57" fmla="*/ 163 h 251"/>
              <a:gd name="T58" fmla="*/ 147 w 222"/>
              <a:gd name="T59" fmla="*/ 150 h 251"/>
              <a:gd name="T60" fmla="*/ 131 w 222"/>
              <a:gd name="T61" fmla="*/ 141 h 251"/>
              <a:gd name="T62" fmla="*/ 118 w 222"/>
              <a:gd name="T63" fmla="*/ 138 h 251"/>
              <a:gd name="T64" fmla="*/ 93 w 222"/>
              <a:gd name="T65" fmla="*/ 116 h 251"/>
              <a:gd name="T66" fmla="*/ 75 w 222"/>
              <a:gd name="T67" fmla="*/ 100 h 251"/>
              <a:gd name="T68" fmla="*/ 65 w 222"/>
              <a:gd name="T69" fmla="*/ 82 h 251"/>
              <a:gd name="T70" fmla="*/ 50 w 222"/>
              <a:gd name="T71" fmla="*/ 69 h 251"/>
              <a:gd name="T72" fmla="*/ 15 w 222"/>
              <a:gd name="T73" fmla="*/ 78 h 251"/>
              <a:gd name="T74" fmla="*/ 34 w 222"/>
              <a:gd name="T75" fmla="*/ 141 h 251"/>
              <a:gd name="T76" fmla="*/ 28 w 222"/>
              <a:gd name="T77" fmla="*/ 144 h 251"/>
              <a:gd name="T78" fmla="*/ 78 w 222"/>
              <a:gd name="T79" fmla="*/ 113 h 251"/>
              <a:gd name="T80" fmla="*/ 72 w 222"/>
              <a:gd name="T81" fmla="*/ 104 h 251"/>
              <a:gd name="T82" fmla="*/ 62 w 222"/>
              <a:gd name="T83" fmla="*/ 104 h 251"/>
              <a:gd name="T84" fmla="*/ 47 w 222"/>
              <a:gd name="T85" fmla="*/ 194 h 251"/>
              <a:gd name="T86" fmla="*/ 56 w 222"/>
              <a:gd name="T87" fmla="*/ 191 h 251"/>
              <a:gd name="T88" fmla="*/ 53 w 222"/>
              <a:gd name="T89" fmla="*/ 160 h 251"/>
              <a:gd name="T90" fmla="*/ 53 w 222"/>
              <a:gd name="T91" fmla="*/ 144 h 251"/>
              <a:gd name="T92" fmla="*/ 34 w 222"/>
              <a:gd name="T93" fmla="*/ 150 h 251"/>
              <a:gd name="T94" fmla="*/ 31 w 222"/>
              <a:gd name="T95" fmla="*/ 160 h 251"/>
              <a:gd name="T96" fmla="*/ 37 w 222"/>
              <a:gd name="T97" fmla="*/ 172 h 251"/>
              <a:gd name="T98" fmla="*/ 37 w 222"/>
              <a:gd name="T99" fmla="*/ 194 h 251"/>
              <a:gd name="T100" fmla="*/ 165 w 222"/>
              <a:gd name="T101" fmla="*/ 244 h 251"/>
              <a:gd name="T102" fmla="*/ 168 w 222"/>
              <a:gd name="T103" fmla="*/ 216 h 251"/>
              <a:gd name="T104" fmla="*/ 150 w 222"/>
              <a:gd name="T105" fmla="*/ 219 h 251"/>
              <a:gd name="T106" fmla="*/ 122 w 222"/>
              <a:gd name="T107" fmla="*/ 216 h 251"/>
              <a:gd name="T108" fmla="*/ 115 w 222"/>
              <a:gd name="T109" fmla="*/ 229 h 251"/>
              <a:gd name="T110" fmla="*/ 143 w 222"/>
              <a:gd name="T111" fmla="*/ 241 h 251"/>
              <a:gd name="T112" fmla="*/ 162 w 222"/>
              <a:gd name="T113" fmla="*/ 251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2" h="251">
                <a:moveTo>
                  <a:pt x="15" y="78"/>
                </a:moveTo>
                <a:lnTo>
                  <a:pt x="12" y="75"/>
                </a:lnTo>
                <a:lnTo>
                  <a:pt x="15" y="69"/>
                </a:lnTo>
                <a:lnTo>
                  <a:pt x="9" y="69"/>
                </a:lnTo>
                <a:lnTo>
                  <a:pt x="3" y="66"/>
                </a:lnTo>
                <a:lnTo>
                  <a:pt x="3" y="53"/>
                </a:lnTo>
                <a:lnTo>
                  <a:pt x="0" y="50"/>
                </a:lnTo>
                <a:lnTo>
                  <a:pt x="0" y="47"/>
                </a:lnTo>
                <a:lnTo>
                  <a:pt x="6" y="47"/>
                </a:lnTo>
                <a:lnTo>
                  <a:pt x="6" y="41"/>
                </a:lnTo>
                <a:lnTo>
                  <a:pt x="3" y="35"/>
                </a:lnTo>
                <a:lnTo>
                  <a:pt x="3" y="32"/>
                </a:lnTo>
                <a:lnTo>
                  <a:pt x="3" y="28"/>
                </a:lnTo>
                <a:lnTo>
                  <a:pt x="9" y="32"/>
                </a:lnTo>
                <a:lnTo>
                  <a:pt x="15" y="25"/>
                </a:lnTo>
                <a:lnTo>
                  <a:pt x="22" y="28"/>
                </a:lnTo>
                <a:lnTo>
                  <a:pt x="28" y="16"/>
                </a:lnTo>
                <a:lnTo>
                  <a:pt x="34" y="19"/>
                </a:lnTo>
                <a:lnTo>
                  <a:pt x="34" y="22"/>
                </a:lnTo>
                <a:lnTo>
                  <a:pt x="40" y="25"/>
                </a:lnTo>
                <a:lnTo>
                  <a:pt x="40" y="28"/>
                </a:lnTo>
                <a:lnTo>
                  <a:pt x="43" y="22"/>
                </a:lnTo>
                <a:lnTo>
                  <a:pt x="43" y="16"/>
                </a:lnTo>
                <a:lnTo>
                  <a:pt x="53" y="19"/>
                </a:lnTo>
                <a:lnTo>
                  <a:pt x="56" y="19"/>
                </a:lnTo>
                <a:lnTo>
                  <a:pt x="59" y="22"/>
                </a:lnTo>
                <a:lnTo>
                  <a:pt x="62" y="16"/>
                </a:lnTo>
                <a:lnTo>
                  <a:pt x="68" y="13"/>
                </a:lnTo>
                <a:lnTo>
                  <a:pt x="65" y="7"/>
                </a:lnTo>
                <a:lnTo>
                  <a:pt x="72" y="3"/>
                </a:lnTo>
                <a:lnTo>
                  <a:pt x="78" y="3"/>
                </a:lnTo>
                <a:lnTo>
                  <a:pt x="87" y="0"/>
                </a:lnTo>
                <a:lnTo>
                  <a:pt x="90" y="0"/>
                </a:lnTo>
                <a:lnTo>
                  <a:pt x="100" y="0"/>
                </a:lnTo>
                <a:lnTo>
                  <a:pt x="97" y="3"/>
                </a:lnTo>
                <a:lnTo>
                  <a:pt x="106" y="10"/>
                </a:lnTo>
                <a:lnTo>
                  <a:pt x="118" y="13"/>
                </a:lnTo>
                <a:lnTo>
                  <a:pt x="125" y="10"/>
                </a:lnTo>
                <a:lnTo>
                  <a:pt x="128" y="13"/>
                </a:lnTo>
                <a:lnTo>
                  <a:pt x="125" y="19"/>
                </a:lnTo>
                <a:lnTo>
                  <a:pt x="125" y="22"/>
                </a:lnTo>
                <a:lnTo>
                  <a:pt x="122" y="28"/>
                </a:lnTo>
                <a:lnTo>
                  <a:pt x="125" y="35"/>
                </a:lnTo>
                <a:lnTo>
                  <a:pt x="118" y="32"/>
                </a:lnTo>
                <a:lnTo>
                  <a:pt x="115" y="35"/>
                </a:lnTo>
                <a:lnTo>
                  <a:pt x="115" y="38"/>
                </a:lnTo>
                <a:lnTo>
                  <a:pt x="109" y="38"/>
                </a:lnTo>
                <a:lnTo>
                  <a:pt x="106" y="41"/>
                </a:lnTo>
                <a:lnTo>
                  <a:pt x="103" y="41"/>
                </a:lnTo>
                <a:lnTo>
                  <a:pt x="100" y="44"/>
                </a:lnTo>
                <a:lnTo>
                  <a:pt x="103" y="47"/>
                </a:lnTo>
                <a:lnTo>
                  <a:pt x="106" y="50"/>
                </a:lnTo>
                <a:lnTo>
                  <a:pt x="103" y="57"/>
                </a:lnTo>
                <a:lnTo>
                  <a:pt x="100" y="57"/>
                </a:lnTo>
                <a:lnTo>
                  <a:pt x="103" y="63"/>
                </a:lnTo>
                <a:lnTo>
                  <a:pt x="103" y="69"/>
                </a:lnTo>
                <a:lnTo>
                  <a:pt x="106" y="72"/>
                </a:lnTo>
                <a:lnTo>
                  <a:pt x="112" y="75"/>
                </a:lnTo>
                <a:lnTo>
                  <a:pt x="118" y="78"/>
                </a:lnTo>
                <a:lnTo>
                  <a:pt x="122" y="82"/>
                </a:lnTo>
                <a:lnTo>
                  <a:pt x="134" y="94"/>
                </a:lnTo>
                <a:lnTo>
                  <a:pt x="134" y="97"/>
                </a:lnTo>
                <a:lnTo>
                  <a:pt x="134" y="97"/>
                </a:lnTo>
                <a:lnTo>
                  <a:pt x="134" y="104"/>
                </a:lnTo>
                <a:lnTo>
                  <a:pt x="137" y="107"/>
                </a:lnTo>
                <a:lnTo>
                  <a:pt x="140" y="110"/>
                </a:lnTo>
                <a:lnTo>
                  <a:pt x="143" y="116"/>
                </a:lnTo>
                <a:lnTo>
                  <a:pt x="150" y="119"/>
                </a:lnTo>
                <a:lnTo>
                  <a:pt x="153" y="122"/>
                </a:lnTo>
                <a:lnTo>
                  <a:pt x="156" y="122"/>
                </a:lnTo>
                <a:lnTo>
                  <a:pt x="159" y="125"/>
                </a:lnTo>
                <a:lnTo>
                  <a:pt x="165" y="125"/>
                </a:lnTo>
                <a:lnTo>
                  <a:pt x="168" y="125"/>
                </a:lnTo>
                <a:lnTo>
                  <a:pt x="175" y="125"/>
                </a:lnTo>
                <a:lnTo>
                  <a:pt x="178" y="125"/>
                </a:lnTo>
                <a:lnTo>
                  <a:pt x="178" y="129"/>
                </a:lnTo>
                <a:lnTo>
                  <a:pt x="172" y="132"/>
                </a:lnTo>
                <a:lnTo>
                  <a:pt x="172" y="135"/>
                </a:lnTo>
                <a:lnTo>
                  <a:pt x="175" y="138"/>
                </a:lnTo>
                <a:lnTo>
                  <a:pt x="178" y="138"/>
                </a:lnTo>
                <a:lnTo>
                  <a:pt x="184" y="138"/>
                </a:lnTo>
                <a:lnTo>
                  <a:pt x="200" y="147"/>
                </a:lnTo>
                <a:lnTo>
                  <a:pt x="206" y="150"/>
                </a:lnTo>
                <a:lnTo>
                  <a:pt x="212" y="157"/>
                </a:lnTo>
                <a:lnTo>
                  <a:pt x="218" y="157"/>
                </a:lnTo>
                <a:lnTo>
                  <a:pt x="222" y="160"/>
                </a:lnTo>
                <a:lnTo>
                  <a:pt x="222" y="163"/>
                </a:lnTo>
                <a:lnTo>
                  <a:pt x="222" y="166"/>
                </a:lnTo>
                <a:lnTo>
                  <a:pt x="218" y="169"/>
                </a:lnTo>
                <a:lnTo>
                  <a:pt x="222" y="172"/>
                </a:lnTo>
                <a:lnTo>
                  <a:pt x="218" y="172"/>
                </a:lnTo>
                <a:lnTo>
                  <a:pt x="218" y="175"/>
                </a:lnTo>
                <a:lnTo>
                  <a:pt x="215" y="172"/>
                </a:lnTo>
                <a:lnTo>
                  <a:pt x="212" y="169"/>
                </a:lnTo>
                <a:lnTo>
                  <a:pt x="212" y="166"/>
                </a:lnTo>
                <a:lnTo>
                  <a:pt x="212" y="163"/>
                </a:lnTo>
                <a:lnTo>
                  <a:pt x="209" y="163"/>
                </a:lnTo>
                <a:lnTo>
                  <a:pt x="203" y="163"/>
                </a:lnTo>
                <a:lnTo>
                  <a:pt x="203" y="160"/>
                </a:lnTo>
                <a:lnTo>
                  <a:pt x="197" y="160"/>
                </a:lnTo>
                <a:lnTo>
                  <a:pt x="197" y="160"/>
                </a:lnTo>
                <a:lnTo>
                  <a:pt x="193" y="160"/>
                </a:lnTo>
                <a:lnTo>
                  <a:pt x="193" y="166"/>
                </a:lnTo>
                <a:lnTo>
                  <a:pt x="190" y="166"/>
                </a:lnTo>
                <a:lnTo>
                  <a:pt x="190" y="169"/>
                </a:lnTo>
                <a:lnTo>
                  <a:pt x="190" y="172"/>
                </a:lnTo>
                <a:lnTo>
                  <a:pt x="187" y="175"/>
                </a:lnTo>
                <a:lnTo>
                  <a:pt x="187" y="179"/>
                </a:lnTo>
                <a:lnTo>
                  <a:pt x="187" y="179"/>
                </a:lnTo>
                <a:lnTo>
                  <a:pt x="190" y="179"/>
                </a:lnTo>
                <a:lnTo>
                  <a:pt x="197" y="185"/>
                </a:lnTo>
                <a:lnTo>
                  <a:pt x="197" y="188"/>
                </a:lnTo>
                <a:lnTo>
                  <a:pt x="197" y="191"/>
                </a:lnTo>
                <a:lnTo>
                  <a:pt x="200" y="194"/>
                </a:lnTo>
                <a:lnTo>
                  <a:pt x="197" y="197"/>
                </a:lnTo>
                <a:lnTo>
                  <a:pt x="193" y="197"/>
                </a:lnTo>
                <a:lnTo>
                  <a:pt x="190" y="200"/>
                </a:lnTo>
                <a:lnTo>
                  <a:pt x="190" y="210"/>
                </a:lnTo>
                <a:lnTo>
                  <a:pt x="184" y="213"/>
                </a:lnTo>
                <a:lnTo>
                  <a:pt x="184" y="219"/>
                </a:lnTo>
                <a:lnTo>
                  <a:pt x="181" y="222"/>
                </a:lnTo>
                <a:lnTo>
                  <a:pt x="175" y="222"/>
                </a:lnTo>
                <a:lnTo>
                  <a:pt x="172" y="219"/>
                </a:lnTo>
                <a:lnTo>
                  <a:pt x="172" y="216"/>
                </a:lnTo>
                <a:lnTo>
                  <a:pt x="172" y="213"/>
                </a:lnTo>
                <a:lnTo>
                  <a:pt x="175" y="213"/>
                </a:lnTo>
                <a:lnTo>
                  <a:pt x="178" y="210"/>
                </a:lnTo>
                <a:lnTo>
                  <a:pt x="178" y="207"/>
                </a:lnTo>
                <a:lnTo>
                  <a:pt x="178" y="204"/>
                </a:lnTo>
                <a:lnTo>
                  <a:pt x="178" y="200"/>
                </a:lnTo>
                <a:lnTo>
                  <a:pt x="178" y="200"/>
                </a:lnTo>
                <a:lnTo>
                  <a:pt x="181" y="200"/>
                </a:lnTo>
                <a:lnTo>
                  <a:pt x="181" y="194"/>
                </a:lnTo>
                <a:lnTo>
                  <a:pt x="178" y="191"/>
                </a:lnTo>
                <a:lnTo>
                  <a:pt x="178" y="185"/>
                </a:lnTo>
                <a:lnTo>
                  <a:pt x="175" y="182"/>
                </a:lnTo>
                <a:lnTo>
                  <a:pt x="175" y="175"/>
                </a:lnTo>
                <a:lnTo>
                  <a:pt x="172" y="169"/>
                </a:lnTo>
                <a:lnTo>
                  <a:pt x="168" y="169"/>
                </a:lnTo>
                <a:lnTo>
                  <a:pt x="168" y="169"/>
                </a:lnTo>
                <a:lnTo>
                  <a:pt x="162" y="169"/>
                </a:lnTo>
                <a:lnTo>
                  <a:pt x="162" y="166"/>
                </a:lnTo>
                <a:lnTo>
                  <a:pt x="156" y="166"/>
                </a:lnTo>
                <a:lnTo>
                  <a:pt x="156" y="163"/>
                </a:lnTo>
                <a:lnTo>
                  <a:pt x="156" y="163"/>
                </a:lnTo>
                <a:lnTo>
                  <a:pt x="156" y="157"/>
                </a:lnTo>
                <a:lnTo>
                  <a:pt x="153" y="154"/>
                </a:lnTo>
                <a:lnTo>
                  <a:pt x="150" y="154"/>
                </a:lnTo>
                <a:lnTo>
                  <a:pt x="147" y="154"/>
                </a:lnTo>
                <a:lnTo>
                  <a:pt x="147" y="150"/>
                </a:lnTo>
                <a:lnTo>
                  <a:pt x="143" y="150"/>
                </a:lnTo>
                <a:lnTo>
                  <a:pt x="140" y="150"/>
                </a:lnTo>
                <a:lnTo>
                  <a:pt x="140" y="150"/>
                </a:lnTo>
                <a:lnTo>
                  <a:pt x="134" y="141"/>
                </a:lnTo>
                <a:lnTo>
                  <a:pt x="131" y="141"/>
                </a:lnTo>
                <a:lnTo>
                  <a:pt x="128" y="141"/>
                </a:lnTo>
                <a:lnTo>
                  <a:pt x="125" y="144"/>
                </a:lnTo>
                <a:lnTo>
                  <a:pt x="122" y="144"/>
                </a:lnTo>
                <a:lnTo>
                  <a:pt x="122" y="138"/>
                </a:lnTo>
                <a:lnTo>
                  <a:pt x="118" y="138"/>
                </a:lnTo>
                <a:lnTo>
                  <a:pt x="112" y="138"/>
                </a:lnTo>
                <a:lnTo>
                  <a:pt x="106" y="132"/>
                </a:lnTo>
                <a:lnTo>
                  <a:pt x="97" y="119"/>
                </a:lnTo>
                <a:lnTo>
                  <a:pt x="97" y="119"/>
                </a:lnTo>
                <a:lnTo>
                  <a:pt x="93" y="116"/>
                </a:lnTo>
                <a:lnTo>
                  <a:pt x="90" y="113"/>
                </a:lnTo>
                <a:lnTo>
                  <a:pt x="84" y="113"/>
                </a:lnTo>
                <a:lnTo>
                  <a:pt x="84" y="107"/>
                </a:lnTo>
                <a:lnTo>
                  <a:pt x="78" y="104"/>
                </a:lnTo>
                <a:lnTo>
                  <a:pt x="75" y="100"/>
                </a:lnTo>
                <a:lnTo>
                  <a:pt x="72" y="97"/>
                </a:lnTo>
                <a:lnTo>
                  <a:pt x="72" y="91"/>
                </a:lnTo>
                <a:lnTo>
                  <a:pt x="68" y="91"/>
                </a:lnTo>
                <a:lnTo>
                  <a:pt x="68" y="85"/>
                </a:lnTo>
                <a:lnTo>
                  <a:pt x="65" y="82"/>
                </a:lnTo>
                <a:lnTo>
                  <a:pt x="62" y="78"/>
                </a:lnTo>
                <a:lnTo>
                  <a:pt x="62" y="75"/>
                </a:lnTo>
                <a:lnTo>
                  <a:pt x="62" y="72"/>
                </a:lnTo>
                <a:lnTo>
                  <a:pt x="56" y="69"/>
                </a:lnTo>
                <a:lnTo>
                  <a:pt x="50" y="69"/>
                </a:lnTo>
                <a:lnTo>
                  <a:pt x="37" y="66"/>
                </a:lnTo>
                <a:lnTo>
                  <a:pt x="28" y="69"/>
                </a:lnTo>
                <a:lnTo>
                  <a:pt x="28" y="72"/>
                </a:lnTo>
                <a:lnTo>
                  <a:pt x="25" y="78"/>
                </a:lnTo>
                <a:lnTo>
                  <a:pt x="15" y="78"/>
                </a:lnTo>
                <a:lnTo>
                  <a:pt x="15" y="78"/>
                </a:lnTo>
                <a:close/>
                <a:moveTo>
                  <a:pt x="28" y="144"/>
                </a:moveTo>
                <a:lnTo>
                  <a:pt x="31" y="144"/>
                </a:lnTo>
                <a:lnTo>
                  <a:pt x="31" y="144"/>
                </a:lnTo>
                <a:lnTo>
                  <a:pt x="34" y="141"/>
                </a:lnTo>
                <a:lnTo>
                  <a:pt x="31" y="141"/>
                </a:lnTo>
                <a:lnTo>
                  <a:pt x="31" y="141"/>
                </a:lnTo>
                <a:lnTo>
                  <a:pt x="28" y="144"/>
                </a:lnTo>
                <a:lnTo>
                  <a:pt x="28" y="144"/>
                </a:lnTo>
                <a:lnTo>
                  <a:pt x="28" y="144"/>
                </a:lnTo>
                <a:close/>
                <a:moveTo>
                  <a:pt x="78" y="113"/>
                </a:moveTo>
                <a:lnTo>
                  <a:pt x="81" y="116"/>
                </a:lnTo>
                <a:lnTo>
                  <a:pt x="81" y="113"/>
                </a:lnTo>
                <a:lnTo>
                  <a:pt x="78" y="113"/>
                </a:lnTo>
                <a:lnTo>
                  <a:pt x="78" y="113"/>
                </a:lnTo>
                <a:close/>
                <a:moveTo>
                  <a:pt x="62" y="104"/>
                </a:moveTo>
                <a:lnTo>
                  <a:pt x="62" y="104"/>
                </a:lnTo>
                <a:lnTo>
                  <a:pt x="65" y="107"/>
                </a:lnTo>
                <a:lnTo>
                  <a:pt x="68" y="104"/>
                </a:lnTo>
                <a:lnTo>
                  <a:pt x="72" y="104"/>
                </a:lnTo>
                <a:lnTo>
                  <a:pt x="72" y="100"/>
                </a:lnTo>
                <a:lnTo>
                  <a:pt x="68" y="100"/>
                </a:lnTo>
                <a:lnTo>
                  <a:pt x="68" y="100"/>
                </a:lnTo>
                <a:lnTo>
                  <a:pt x="62" y="104"/>
                </a:lnTo>
                <a:lnTo>
                  <a:pt x="62" y="104"/>
                </a:lnTo>
                <a:close/>
                <a:moveTo>
                  <a:pt x="40" y="197"/>
                </a:moveTo>
                <a:lnTo>
                  <a:pt x="40" y="197"/>
                </a:lnTo>
                <a:lnTo>
                  <a:pt x="43" y="197"/>
                </a:lnTo>
                <a:lnTo>
                  <a:pt x="47" y="197"/>
                </a:lnTo>
                <a:lnTo>
                  <a:pt x="47" y="194"/>
                </a:lnTo>
                <a:lnTo>
                  <a:pt x="47" y="191"/>
                </a:lnTo>
                <a:lnTo>
                  <a:pt x="50" y="191"/>
                </a:lnTo>
                <a:lnTo>
                  <a:pt x="53" y="194"/>
                </a:lnTo>
                <a:lnTo>
                  <a:pt x="56" y="194"/>
                </a:lnTo>
                <a:lnTo>
                  <a:pt x="56" y="191"/>
                </a:lnTo>
                <a:lnTo>
                  <a:pt x="56" y="182"/>
                </a:lnTo>
                <a:lnTo>
                  <a:pt x="59" y="182"/>
                </a:lnTo>
                <a:lnTo>
                  <a:pt x="56" y="172"/>
                </a:lnTo>
                <a:lnTo>
                  <a:pt x="59" y="166"/>
                </a:lnTo>
                <a:lnTo>
                  <a:pt x="53" y="160"/>
                </a:lnTo>
                <a:lnTo>
                  <a:pt x="59" y="160"/>
                </a:lnTo>
                <a:lnTo>
                  <a:pt x="59" y="157"/>
                </a:lnTo>
                <a:lnTo>
                  <a:pt x="56" y="150"/>
                </a:lnTo>
                <a:lnTo>
                  <a:pt x="56" y="147"/>
                </a:lnTo>
                <a:lnTo>
                  <a:pt x="53" y="144"/>
                </a:lnTo>
                <a:lnTo>
                  <a:pt x="50" y="144"/>
                </a:lnTo>
                <a:lnTo>
                  <a:pt x="47" y="141"/>
                </a:lnTo>
                <a:lnTo>
                  <a:pt x="43" y="141"/>
                </a:lnTo>
                <a:lnTo>
                  <a:pt x="37" y="150"/>
                </a:lnTo>
                <a:lnTo>
                  <a:pt x="34" y="150"/>
                </a:lnTo>
                <a:lnTo>
                  <a:pt x="28" y="147"/>
                </a:lnTo>
                <a:lnTo>
                  <a:pt x="28" y="154"/>
                </a:lnTo>
                <a:lnTo>
                  <a:pt x="28" y="154"/>
                </a:lnTo>
                <a:lnTo>
                  <a:pt x="31" y="157"/>
                </a:lnTo>
                <a:lnTo>
                  <a:pt x="31" y="160"/>
                </a:lnTo>
                <a:lnTo>
                  <a:pt x="34" y="163"/>
                </a:lnTo>
                <a:lnTo>
                  <a:pt x="34" y="169"/>
                </a:lnTo>
                <a:lnTo>
                  <a:pt x="31" y="172"/>
                </a:lnTo>
                <a:lnTo>
                  <a:pt x="34" y="172"/>
                </a:lnTo>
                <a:lnTo>
                  <a:pt x="37" y="172"/>
                </a:lnTo>
                <a:lnTo>
                  <a:pt x="37" y="175"/>
                </a:lnTo>
                <a:lnTo>
                  <a:pt x="34" y="179"/>
                </a:lnTo>
                <a:lnTo>
                  <a:pt x="34" y="185"/>
                </a:lnTo>
                <a:lnTo>
                  <a:pt x="34" y="188"/>
                </a:lnTo>
                <a:lnTo>
                  <a:pt x="37" y="194"/>
                </a:lnTo>
                <a:lnTo>
                  <a:pt x="40" y="197"/>
                </a:lnTo>
                <a:lnTo>
                  <a:pt x="40" y="197"/>
                </a:lnTo>
                <a:close/>
                <a:moveTo>
                  <a:pt x="162" y="251"/>
                </a:moveTo>
                <a:lnTo>
                  <a:pt x="162" y="244"/>
                </a:lnTo>
                <a:lnTo>
                  <a:pt x="165" y="244"/>
                </a:lnTo>
                <a:lnTo>
                  <a:pt x="165" y="238"/>
                </a:lnTo>
                <a:lnTo>
                  <a:pt x="162" y="235"/>
                </a:lnTo>
                <a:lnTo>
                  <a:pt x="165" y="226"/>
                </a:lnTo>
                <a:lnTo>
                  <a:pt x="168" y="222"/>
                </a:lnTo>
                <a:lnTo>
                  <a:pt x="168" y="216"/>
                </a:lnTo>
                <a:lnTo>
                  <a:pt x="165" y="213"/>
                </a:lnTo>
                <a:lnTo>
                  <a:pt x="162" y="216"/>
                </a:lnTo>
                <a:lnTo>
                  <a:pt x="159" y="216"/>
                </a:lnTo>
                <a:lnTo>
                  <a:pt x="156" y="213"/>
                </a:lnTo>
                <a:lnTo>
                  <a:pt x="150" y="219"/>
                </a:lnTo>
                <a:lnTo>
                  <a:pt x="140" y="219"/>
                </a:lnTo>
                <a:lnTo>
                  <a:pt x="134" y="219"/>
                </a:lnTo>
                <a:lnTo>
                  <a:pt x="128" y="219"/>
                </a:lnTo>
                <a:lnTo>
                  <a:pt x="125" y="216"/>
                </a:lnTo>
                <a:lnTo>
                  <a:pt x="122" y="216"/>
                </a:lnTo>
                <a:lnTo>
                  <a:pt x="118" y="219"/>
                </a:lnTo>
                <a:lnTo>
                  <a:pt x="118" y="216"/>
                </a:lnTo>
                <a:lnTo>
                  <a:pt x="112" y="219"/>
                </a:lnTo>
                <a:lnTo>
                  <a:pt x="112" y="226"/>
                </a:lnTo>
                <a:lnTo>
                  <a:pt x="115" y="229"/>
                </a:lnTo>
                <a:lnTo>
                  <a:pt x="122" y="229"/>
                </a:lnTo>
                <a:lnTo>
                  <a:pt x="128" y="235"/>
                </a:lnTo>
                <a:lnTo>
                  <a:pt x="131" y="235"/>
                </a:lnTo>
                <a:lnTo>
                  <a:pt x="137" y="238"/>
                </a:lnTo>
                <a:lnTo>
                  <a:pt x="143" y="241"/>
                </a:lnTo>
                <a:lnTo>
                  <a:pt x="147" y="241"/>
                </a:lnTo>
                <a:lnTo>
                  <a:pt x="150" y="244"/>
                </a:lnTo>
                <a:lnTo>
                  <a:pt x="150" y="247"/>
                </a:lnTo>
                <a:lnTo>
                  <a:pt x="159" y="251"/>
                </a:lnTo>
                <a:lnTo>
                  <a:pt x="162" y="251"/>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0" name="Freeform 78">
            <a:extLst>
              <a:ext uri="{FF2B5EF4-FFF2-40B4-BE49-F238E27FC236}">
                <a16:creationId xmlns:a16="http://schemas.microsoft.com/office/drawing/2014/main" id="{4AED8873-22A0-5B23-479A-4AF076176712}"/>
              </a:ext>
            </a:extLst>
          </p:cNvPr>
          <p:cNvSpPr>
            <a:spLocks noEditPoints="1"/>
          </p:cNvSpPr>
          <p:nvPr userDrawn="1"/>
        </p:nvSpPr>
        <p:spPr bwMode="auto">
          <a:xfrm>
            <a:off x="12632505" y="6435008"/>
            <a:ext cx="774652" cy="587376"/>
          </a:xfrm>
          <a:custGeom>
            <a:avLst/>
            <a:gdLst>
              <a:gd name="T0" fmla="*/ 45 w 78"/>
              <a:gd name="T1" fmla="*/ 4 h 59"/>
              <a:gd name="T2" fmla="*/ 46 w 78"/>
              <a:gd name="T3" fmla="*/ 7 h 59"/>
              <a:gd name="T4" fmla="*/ 51 w 78"/>
              <a:gd name="T5" fmla="*/ 9 h 59"/>
              <a:gd name="T6" fmla="*/ 56 w 78"/>
              <a:gd name="T7" fmla="*/ 9 h 59"/>
              <a:gd name="T8" fmla="*/ 61 w 78"/>
              <a:gd name="T9" fmla="*/ 9 h 59"/>
              <a:gd name="T10" fmla="*/ 65 w 78"/>
              <a:gd name="T11" fmla="*/ 10 h 59"/>
              <a:gd name="T12" fmla="*/ 71 w 78"/>
              <a:gd name="T13" fmla="*/ 11 h 59"/>
              <a:gd name="T14" fmla="*/ 70 w 78"/>
              <a:gd name="T15" fmla="*/ 15 h 59"/>
              <a:gd name="T16" fmla="*/ 67 w 78"/>
              <a:gd name="T17" fmla="*/ 19 h 59"/>
              <a:gd name="T18" fmla="*/ 62 w 78"/>
              <a:gd name="T19" fmla="*/ 21 h 59"/>
              <a:gd name="T20" fmla="*/ 60 w 78"/>
              <a:gd name="T21" fmla="*/ 23 h 59"/>
              <a:gd name="T22" fmla="*/ 58 w 78"/>
              <a:gd name="T23" fmla="*/ 25 h 59"/>
              <a:gd name="T24" fmla="*/ 56 w 78"/>
              <a:gd name="T25" fmla="*/ 28 h 59"/>
              <a:gd name="T26" fmla="*/ 52 w 78"/>
              <a:gd name="T27" fmla="*/ 33 h 59"/>
              <a:gd name="T28" fmla="*/ 54 w 78"/>
              <a:gd name="T29" fmla="*/ 37 h 59"/>
              <a:gd name="T30" fmla="*/ 52 w 78"/>
              <a:gd name="T31" fmla="*/ 41 h 59"/>
              <a:gd name="T32" fmla="*/ 50 w 78"/>
              <a:gd name="T33" fmla="*/ 47 h 59"/>
              <a:gd name="T34" fmla="*/ 48 w 78"/>
              <a:gd name="T35" fmla="*/ 49 h 59"/>
              <a:gd name="T36" fmla="*/ 42 w 78"/>
              <a:gd name="T37" fmla="*/ 54 h 59"/>
              <a:gd name="T38" fmla="*/ 39 w 78"/>
              <a:gd name="T39" fmla="*/ 53 h 59"/>
              <a:gd name="T40" fmla="*/ 36 w 78"/>
              <a:gd name="T41" fmla="*/ 53 h 59"/>
              <a:gd name="T42" fmla="*/ 31 w 78"/>
              <a:gd name="T43" fmla="*/ 53 h 59"/>
              <a:gd name="T44" fmla="*/ 26 w 78"/>
              <a:gd name="T45" fmla="*/ 56 h 59"/>
              <a:gd name="T46" fmla="*/ 23 w 78"/>
              <a:gd name="T47" fmla="*/ 58 h 59"/>
              <a:gd name="T48" fmla="*/ 17 w 78"/>
              <a:gd name="T49" fmla="*/ 57 h 59"/>
              <a:gd name="T50" fmla="*/ 13 w 78"/>
              <a:gd name="T51" fmla="*/ 51 h 59"/>
              <a:gd name="T52" fmla="*/ 10 w 78"/>
              <a:gd name="T53" fmla="*/ 49 h 59"/>
              <a:gd name="T54" fmla="*/ 13 w 78"/>
              <a:gd name="T55" fmla="*/ 43 h 59"/>
              <a:gd name="T56" fmla="*/ 10 w 78"/>
              <a:gd name="T57" fmla="*/ 40 h 59"/>
              <a:gd name="T58" fmla="*/ 11 w 78"/>
              <a:gd name="T59" fmla="*/ 35 h 59"/>
              <a:gd name="T60" fmla="*/ 12 w 78"/>
              <a:gd name="T61" fmla="*/ 32 h 59"/>
              <a:gd name="T62" fmla="*/ 14 w 78"/>
              <a:gd name="T63" fmla="*/ 27 h 59"/>
              <a:gd name="T64" fmla="*/ 16 w 78"/>
              <a:gd name="T65" fmla="*/ 19 h 59"/>
              <a:gd name="T66" fmla="*/ 16 w 78"/>
              <a:gd name="T67" fmla="*/ 16 h 59"/>
              <a:gd name="T68" fmla="*/ 12 w 78"/>
              <a:gd name="T69" fmla="*/ 15 h 59"/>
              <a:gd name="T70" fmla="*/ 6 w 78"/>
              <a:gd name="T71" fmla="*/ 15 h 59"/>
              <a:gd name="T72" fmla="*/ 2 w 78"/>
              <a:gd name="T73" fmla="*/ 13 h 59"/>
              <a:gd name="T74" fmla="*/ 2 w 78"/>
              <a:gd name="T75" fmla="*/ 12 h 59"/>
              <a:gd name="T76" fmla="*/ 3 w 78"/>
              <a:gd name="T77" fmla="*/ 9 h 59"/>
              <a:gd name="T78" fmla="*/ 2 w 78"/>
              <a:gd name="T79" fmla="*/ 8 h 59"/>
              <a:gd name="T80" fmla="*/ 0 w 78"/>
              <a:gd name="T81" fmla="*/ 7 h 59"/>
              <a:gd name="T82" fmla="*/ 3 w 78"/>
              <a:gd name="T83" fmla="*/ 4 h 59"/>
              <a:gd name="T84" fmla="*/ 7 w 78"/>
              <a:gd name="T85" fmla="*/ 3 h 59"/>
              <a:gd name="T86" fmla="*/ 8 w 78"/>
              <a:gd name="T87" fmla="*/ 1 h 59"/>
              <a:gd name="T88" fmla="*/ 11 w 78"/>
              <a:gd name="T89" fmla="*/ 1 h 59"/>
              <a:gd name="T90" fmla="*/ 15 w 78"/>
              <a:gd name="T91" fmla="*/ 1 h 59"/>
              <a:gd name="T92" fmla="*/ 20 w 78"/>
              <a:gd name="T93" fmla="*/ 1 h 59"/>
              <a:gd name="T94" fmla="*/ 26 w 78"/>
              <a:gd name="T95" fmla="*/ 3 h 59"/>
              <a:gd name="T96" fmla="*/ 34 w 78"/>
              <a:gd name="T97" fmla="*/ 2 h 59"/>
              <a:gd name="T98" fmla="*/ 37 w 78"/>
              <a:gd name="T99" fmla="*/ 3 h 59"/>
              <a:gd name="T100" fmla="*/ 42 w 78"/>
              <a:gd name="T101" fmla="*/ 4 h 59"/>
              <a:gd name="T102" fmla="*/ 74 w 78"/>
              <a:gd name="T103" fmla="*/ 31 h 59"/>
              <a:gd name="T104" fmla="*/ 78 w 78"/>
              <a:gd name="T105" fmla="*/ 31 h 59"/>
              <a:gd name="T106" fmla="*/ 74 w 78"/>
              <a:gd name="T107" fmla="*/ 31 h 59"/>
              <a:gd name="T108" fmla="*/ 73 w 78"/>
              <a:gd name="T109" fmla="*/ 32 h 59"/>
              <a:gd name="T110" fmla="*/ 69 w 78"/>
              <a:gd name="T111" fmla="*/ 33 h 59"/>
              <a:gd name="T112" fmla="*/ 71 w 78"/>
              <a:gd name="T113" fmla="*/ 35 h 59"/>
              <a:gd name="T114" fmla="*/ 64 w 78"/>
              <a:gd name="T115" fmla="*/ 37 h 59"/>
              <a:gd name="T116" fmla="*/ 62 w 78"/>
              <a:gd name="T117" fmla="*/ 3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 h="59">
                <a:moveTo>
                  <a:pt x="44" y="3"/>
                </a:moveTo>
                <a:cubicBezTo>
                  <a:pt x="45" y="4"/>
                  <a:pt x="45" y="4"/>
                  <a:pt x="45" y="4"/>
                </a:cubicBezTo>
                <a:cubicBezTo>
                  <a:pt x="45" y="4"/>
                  <a:pt x="45" y="4"/>
                  <a:pt x="45" y="4"/>
                </a:cubicBezTo>
                <a:cubicBezTo>
                  <a:pt x="46" y="4"/>
                  <a:pt x="46" y="4"/>
                  <a:pt x="46" y="4"/>
                </a:cubicBezTo>
                <a:cubicBezTo>
                  <a:pt x="46" y="6"/>
                  <a:pt x="46" y="6"/>
                  <a:pt x="46" y="6"/>
                </a:cubicBezTo>
                <a:cubicBezTo>
                  <a:pt x="46" y="7"/>
                  <a:pt x="46" y="7"/>
                  <a:pt x="46" y="7"/>
                </a:cubicBezTo>
                <a:cubicBezTo>
                  <a:pt x="48" y="6"/>
                  <a:pt x="48" y="6"/>
                  <a:pt x="48" y="6"/>
                </a:cubicBezTo>
                <a:cubicBezTo>
                  <a:pt x="50" y="7"/>
                  <a:pt x="50" y="7"/>
                  <a:pt x="50" y="7"/>
                </a:cubicBezTo>
                <a:cubicBezTo>
                  <a:pt x="51" y="9"/>
                  <a:pt x="51" y="9"/>
                  <a:pt x="51" y="9"/>
                </a:cubicBezTo>
                <a:cubicBezTo>
                  <a:pt x="53" y="8"/>
                  <a:pt x="53" y="8"/>
                  <a:pt x="53" y="8"/>
                </a:cubicBezTo>
                <a:cubicBezTo>
                  <a:pt x="54" y="10"/>
                  <a:pt x="54" y="10"/>
                  <a:pt x="54" y="10"/>
                </a:cubicBezTo>
                <a:cubicBezTo>
                  <a:pt x="56" y="9"/>
                  <a:pt x="56" y="9"/>
                  <a:pt x="56" y="9"/>
                </a:cubicBezTo>
                <a:cubicBezTo>
                  <a:pt x="57" y="10"/>
                  <a:pt x="57" y="10"/>
                  <a:pt x="57" y="10"/>
                </a:cubicBezTo>
                <a:cubicBezTo>
                  <a:pt x="58" y="9"/>
                  <a:pt x="58" y="9"/>
                  <a:pt x="58" y="9"/>
                </a:cubicBezTo>
                <a:cubicBezTo>
                  <a:pt x="61" y="9"/>
                  <a:pt x="61" y="9"/>
                  <a:pt x="61" y="9"/>
                </a:cubicBezTo>
                <a:cubicBezTo>
                  <a:pt x="62" y="9"/>
                  <a:pt x="62" y="9"/>
                  <a:pt x="62" y="9"/>
                </a:cubicBezTo>
                <a:cubicBezTo>
                  <a:pt x="63" y="9"/>
                  <a:pt x="63" y="9"/>
                  <a:pt x="63" y="9"/>
                </a:cubicBezTo>
                <a:cubicBezTo>
                  <a:pt x="65" y="10"/>
                  <a:pt x="65" y="10"/>
                  <a:pt x="65" y="10"/>
                </a:cubicBezTo>
                <a:cubicBezTo>
                  <a:pt x="68" y="10"/>
                  <a:pt x="68" y="10"/>
                  <a:pt x="68" y="10"/>
                </a:cubicBezTo>
                <a:cubicBezTo>
                  <a:pt x="70" y="11"/>
                  <a:pt x="70" y="11"/>
                  <a:pt x="70" y="11"/>
                </a:cubicBezTo>
                <a:cubicBezTo>
                  <a:pt x="71" y="11"/>
                  <a:pt x="71" y="11"/>
                  <a:pt x="71" y="11"/>
                </a:cubicBezTo>
                <a:cubicBezTo>
                  <a:pt x="71" y="12"/>
                  <a:pt x="71" y="12"/>
                  <a:pt x="71" y="12"/>
                </a:cubicBezTo>
                <a:cubicBezTo>
                  <a:pt x="70" y="13"/>
                  <a:pt x="70" y="13"/>
                  <a:pt x="70" y="13"/>
                </a:cubicBezTo>
                <a:cubicBezTo>
                  <a:pt x="70" y="15"/>
                  <a:pt x="70" y="15"/>
                  <a:pt x="70" y="15"/>
                </a:cubicBezTo>
                <a:cubicBezTo>
                  <a:pt x="70" y="16"/>
                  <a:pt x="70" y="16"/>
                  <a:pt x="70" y="16"/>
                </a:cubicBezTo>
                <a:cubicBezTo>
                  <a:pt x="70" y="17"/>
                  <a:pt x="70" y="17"/>
                  <a:pt x="70" y="17"/>
                </a:cubicBezTo>
                <a:cubicBezTo>
                  <a:pt x="67" y="19"/>
                  <a:pt x="67" y="19"/>
                  <a:pt x="67" y="19"/>
                </a:cubicBezTo>
                <a:cubicBezTo>
                  <a:pt x="67" y="19"/>
                  <a:pt x="66" y="20"/>
                  <a:pt x="66" y="20"/>
                </a:cubicBezTo>
                <a:cubicBezTo>
                  <a:pt x="66" y="20"/>
                  <a:pt x="64" y="21"/>
                  <a:pt x="64" y="21"/>
                </a:cubicBezTo>
                <a:cubicBezTo>
                  <a:pt x="62" y="21"/>
                  <a:pt x="62" y="21"/>
                  <a:pt x="62" y="21"/>
                </a:cubicBezTo>
                <a:cubicBezTo>
                  <a:pt x="60" y="22"/>
                  <a:pt x="60" y="22"/>
                  <a:pt x="60" y="22"/>
                </a:cubicBezTo>
                <a:cubicBezTo>
                  <a:pt x="59" y="23"/>
                  <a:pt x="59" y="23"/>
                  <a:pt x="59" y="23"/>
                </a:cubicBezTo>
                <a:cubicBezTo>
                  <a:pt x="60" y="23"/>
                  <a:pt x="60" y="23"/>
                  <a:pt x="60" y="23"/>
                </a:cubicBezTo>
                <a:cubicBezTo>
                  <a:pt x="59" y="25"/>
                  <a:pt x="59" y="25"/>
                  <a:pt x="59" y="25"/>
                </a:cubicBezTo>
                <a:cubicBezTo>
                  <a:pt x="58" y="25"/>
                  <a:pt x="58" y="25"/>
                  <a:pt x="58" y="25"/>
                </a:cubicBezTo>
                <a:cubicBezTo>
                  <a:pt x="58" y="25"/>
                  <a:pt x="58" y="25"/>
                  <a:pt x="58" y="25"/>
                </a:cubicBezTo>
                <a:cubicBezTo>
                  <a:pt x="58" y="25"/>
                  <a:pt x="58" y="25"/>
                  <a:pt x="58" y="25"/>
                </a:cubicBezTo>
                <a:cubicBezTo>
                  <a:pt x="58" y="25"/>
                  <a:pt x="58" y="25"/>
                  <a:pt x="58" y="25"/>
                </a:cubicBezTo>
                <a:cubicBezTo>
                  <a:pt x="56" y="28"/>
                  <a:pt x="56" y="28"/>
                  <a:pt x="56" y="28"/>
                </a:cubicBezTo>
                <a:cubicBezTo>
                  <a:pt x="55" y="28"/>
                  <a:pt x="55" y="28"/>
                  <a:pt x="55" y="28"/>
                </a:cubicBezTo>
                <a:cubicBezTo>
                  <a:pt x="52" y="32"/>
                  <a:pt x="52" y="32"/>
                  <a:pt x="52" y="32"/>
                </a:cubicBezTo>
                <a:cubicBezTo>
                  <a:pt x="52" y="33"/>
                  <a:pt x="52" y="33"/>
                  <a:pt x="52" y="33"/>
                </a:cubicBezTo>
                <a:cubicBezTo>
                  <a:pt x="53" y="35"/>
                  <a:pt x="53" y="35"/>
                  <a:pt x="53" y="35"/>
                </a:cubicBezTo>
                <a:cubicBezTo>
                  <a:pt x="53" y="36"/>
                  <a:pt x="53" y="36"/>
                  <a:pt x="53" y="36"/>
                </a:cubicBezTo>
                <a:cubicBezTo>
                  <a:pt x="54" y="37"/>
                  <a:pt x="54" y="37"/>
                  <a:pt x="54" y="37"/>
                </a:cubicBezTo>
                <a:cubicBezTo>
                  <a:pt x="55" y="39"/>
                  <a:pt x="55" y="39"/>
                  <a:pt x="55" y="39"/>
                </a:cubicBezTo>
                <a:cubicBezTo>
                  <a:pt x="54" y="40"/>
                  <a:pt x="54" y="40"/>
                  <a:pt x="54" y="40"/>
                </a:cubicBezTo>
                <a:cubicBezTo>
                  <a:pt x="52" y="41"/>
                  <a:pt x="52" y="41"/>
                  <a:pt x="52" y="41"/>
                </a:cubicBezTo>
                <a:cubicBezTo>
                  <a:pt x="52" y="42"/>
                  <a:pt x="52" y="42"/>
                  <a:pt x="52" y="42"/>
                </a:cubicBezTo>
                <a:cubicBezTo>
                  <a:pt x="50" y="45"/>
                  <a:pt x="50" y="45"/>
                  <a:pt x="50" y="45"/>
                </a:cubicBezTo>
                <a:cubicBezTo>
                  <a:pt x="50" y="47"/>
                  <a:pt x="50" y="47"/>
                  <a:pt x="50" y="47"/>
                </a:cubicBezTo>
                <a:cubicBezTo>
                  <a:pt x="50" y="48"/>
                  <a:pt x="50" y="48"/>
                  <a:pt x="50" y="48"/>
                </a:cubicBezTo>
                <a:cubicBezTo>
                  <a:pt x="50" y="48"/>
                  <a:pt x="50" y="48"/>
                  <a:pt x="50" y="48"/>
                </a:cubicBezTo>
                <a:cubicBezTo>
                  <a:pt x="48" y="49"/>
                  <a:pt x="48" y="49"/>
                  <a:pt x="48" y="49"/>
                </a:cubicBezTo>
                <a:cubicBezTo>
                  <a:pt x="44" y="50"/>
                  <a:pt x="44" y="50"/>
                  <a:pt x="44" y="50"/>
                </a:cubicBezTo>
                <a:cubicBezTo>
                  <a:pt x="44" y="52"/>
                  <a:pt x="44" y="52"/>
                  <a:pt x="44" y="52"/>
                </a:cubicBezTo>
                <a:cubicBezTo>
                  <a:pt x="42" y="54"/>
                  <a:pt x="42" y="54"/>
                  <a:pt x="42" y="54"/>
                </a:cubicBezTo>
                <a:cubicBezTo>
                  <a:pt x="41" y="53"/>
                  <a:pt x="41" y="53"/>
                  <a:pt x="41" y="53"/>
                </a:cubicBezTo>
                <a:cubicBezTo>
                  <a:pt x="40" y="52"/>
                  <a:pt x="40" y="52"/>
                  <a:pt x="40" y="52"/>
                </a:cubicBezTo>
                <a:cubicBezTo>
                  <a:pt x="39" y="53"/>
                  <a:pt x="39" y="53"/>
                  <a:pt x="39" y="53"/>
                </a:cubicBezTo>
                <a:cubicBezTo>
                  <a:pt x="38" y="54"/>
                  <a:pt x="38" y="54"/>
                  <a:pt x="38" y="54"/>
                </a:cubicBezTo>
                <a:cubicBezTo>
                  <a:pt x="37" y="53"/>
                  <a:pt x="37" y="53"/>
                  <a:pt x="37" y="53"/>
                </a:cubicBezTo>
                <a:cubicBezTo>
                  <a:pt x="36" y="53"/>
                  <a:pt x="36" y="53"/>
                  <a:pt x="36" y="53"/>
                </a:cubicBezTo>
                <a:cubicBezTo>
                  <a:pt x="36" y="54"/>
                  <a:pt x="36" y="54"/>
                  <a:pt x="36" y="54"/>
                </a:cubicBezTo>
                <a:cubicBezTo>
                  <a:pt x="34" y="54"/>
                  <a:pt x="34" y="54"/>
                  <a:pt x="34" y="54"/>
                </a:cubicBezTo>
                <a:cubicBezTo>
                  <a:pt x="31" y="53"/>
                  <a:pt x="31" y="53"/>
                  <a:pt x="31" y="53"/>
                </a:cubicBezTo>
                <a:cubicBezTo>
                  <a:pt x="30" y="54"/>
                  <a:pt x="30" y="54"/>
                  <a:pt x="30" y="54"/>
                </a:cubicBezTo>
                <a:cubicBezTo>
                  <a:pt x="28" y="54"/>
                  <a:pt x="28" y="54"/>
                  <a:pt x="28" y="54"/>
                </a:cubicBezTo>
                <a:cubicBezTo>
                  <a:pt x="26" y="56"/>
                  <a:pt x="26" y="56"/>
                  <a:pt x="26" y="56"/>
                </a:cubicBezTo>
                <a:cubicBezTo>
                  <a:pt x="24" y="56"/>
                  <a:pt x="24" y="56"/>
                  <a:pt x="24" y="56"/>
                </a:cubicBezTo>
                <a:cubicBezTo>
                  <a:pt x="23" y="57"/>
                  <a:pt x="23" y="57"/>
                  <a:pt x="23" y="57"/>
                </a:cubicBezTo>
                <a:cubicBezTo>
                  <a:pt x="23" y="58"/>
                  <a:pt x="23" y="58"/>
                  <a:pt x="23" y="58"/>
                </a:cubicBezTo>
                <a:cubicBezTo>
                  <a:pt x="21" y="59"/>
                  <a:pt x="21" y="59"/>
                  <a:pt x="21" y="59"/>
                </a:cubicBezTo>
                <a:cubicBezTo>
                  <a:pt x="19" y="59"/>
                  <a:pt x="19" y="59"/>
                  <a:pt x="19" y="59"/>
                </a:cubicBezTo>
                <a:cubicBezTo>
                  <a:pt x="17" y="57"/>
                  <a:pt x="17" y="57"/>
                  <a:pt x="17" y="57"/>
                </a:cubicBezTo>
                <a:cubicBezTo>
                  <a:pt x="16" y="54"/>
                  <a:pt x="16" y="54"/>
                  <a:pt x="16" y="54"/>
                </a:cubicBezTo>
                <a:cubicBezTo>
                  <a:pt x="16" y="53"/>
                  <a:pt x="16" y="53"/>
                  <a:pt x="16" y="53"/>
                </a:cubicBezTo>
                <a:cubicBezTo>
                  <a:pt x="13" y="51"/>
                  <a:pt x="13" y="51"/>
                  <a:pt x="13" y="51"/>
                </a:cubicBezTo>
                <a:cubicBezTo>
                  <a:pt x="12" y="51"/>
                  <a:pt x="12" y="51"/>
                  <a:pt x="12" y="51"/>
                </a:cubicBezTo>
                <a:cubicBezTo>
                  <a:pt x="11" y="50"/>
                  <a:pt x="11" y="50"/>
                  <a:pt x="11" y="50"/>
                </a:cubicBezTo>
                <a:cubicBezTo>
                  <a:pt x="10" y="49"/>
                  <a:pt x="10" y="49"/>
                  <a:pt x="10" y="49"/>
                </a:cubicBezTo>
                <a:cubicBezTo>
                  <a:pt x="10" y="47"/>
                  <a:pt x="10" y="47"/>
                  <a:pt x="10" y="47"/>
                </a:cubicBezTo>
                <a:cubicBezTo>
                  <a:pt x="11" y="45"/>
                  <a:pt x="11" y="45"/>
                  <a:pt x="11" y="45"/>
                </a:cubicBezTo>
                <a:cubicBezTo>
                  <a:pt x="13" y="43"/>
                  <a:pt x="13" y="43"/>
                  <a:pt x="13" y="43"/>
                </a:cubicBezTo>
                <a:cubicBezTo>
                  <a:pt x="13" y="42"/>
                  <a:pt x="13" y="42"/>
                  <a:pt x="13" y="42"/>
                </a:cubicBezTo>
                <a:cubicBezTo>
                  <a:pt x="11" y="42"/>
                  <a:pt x="11" y="42"/>
                  <a:pt x="11" y="42"/>
                </a:cubicBezTo>
                <a:cubicBezTo>
                  <a:pt x="10" y="40"/>
                  <a:pt x="10" y="40"/>
                  <a:pt x="10" y="40"/>
                </a:cubicBezTo>
                <a:cubicBezTo>
                  <a:pt x="12" y="38"/>
                  <a:pt x="12" y="38"/>
                  <a:pt x="12" y="38"/>
                </a:cubicBezTo>
                <a:cubicBezTo>
                  <a:pt x="12" y="36"/>
                  <a:pt x="12" y="36"/>
                  <a:pt x="12" y="36"/>
                </a:cubicBezTo>
                <a:cubicBezTo>
                  <a:pt x="11" y="35"/>
                  <a:pt x="11" y="35"/>
                  <a:pt x="11" y="35"/>
                </a:cubicBezTo>
                <a:cubicBezTo>
                  <a:pt x="9" y="32"/>
                  <a:pt x="9" y="32"/>
                  <a:pt x="9" y="32"/>
                </a:cubicBezTo>
                <a:cubicBezTo>
                  <a:pt x="11" y="31"/>
                  <a:pt x="11" y="31"/>
                  <a:pt x="11" y="31"/>
                </a:cubicBezTo>
                <a:cubicBezTo>
                  <a:pt x="12" y="32"/>
                  <a:pt x="12" y="32"/>
                  <a:pt x="12" y="32"/>
                </a:cubicBezTo>
                <a:cubicBezTo>
                  <a:pt x="14" y="29"/>
                  <a:pt x="14" y="29"/>
                  <a:pt x="14" y="29"/>
                </a:cubicBezTo>
                <a:cubicBezTo>
                  <a:pt x="12" y="28"/>
                  <a:pt x="12" y="28"/>
                  <a:pt x="12" y="28"/>
                </a:cubicBezTo>
                <a:cubicBezTo>
                  <a:pt x="14" y="27"/>
                  <a:pt x="14" y="27"/>
                  <a:pt x="14" y="27"/>
                </a:cubicBezTo>
                <a:cubicBezTo>
                  <a:pt x="14" y="23"/>
                  <a:pt x="14" y="23"/>
                  <a:pt x="14" y="23"/>
                </a:cubicBezTo>
                <a:cubicBezTo>
                  <a:pt x="14" y="21"/>
                  <a:pt x="14" y="21"/>
                  <a:pt x="14" y="21"/>
                </a:cubicBezTo>
                <a:cubicBezTo>
                  <a:pt x="16" y="19"/>
                  <a:pt x="16" y="19"/>
                  <a:pt x="16" y="19"/>
                </a:cubicBezTo>
                <a:cubicBezTo>
                  <a:pt x="17" y="19"/>
                  <a:pt x="17" y="19"/>
                  <a:pt x="17" y="19"/>
                </a:cubicBezTo>
                <a:cubicBezTo>
                  <a:pt x="17" y="18"/>
                  <a:pt x="17" y="18"/>
                  <a:pt x="17" y="18"/>
                </a:cubicBezTo>
                <a:cubicBezTo>
                  <a:pt x="16" y="16"/>
                  <a:pt x="16" y="16"/>
                  <a:pt x="16" y="16"/>
                </a:cubicBezTo>
                <a:cubicBezTo>
                  <a:pt x="16" y="14"/>
                  <a:pt x="16" y="14"/>
                  <a:pt x="16" y="14"/>
                </a:cubicBezTo>
                <a:cubicBezTo>
                  <a:pt x="13" y="14"/>
                  <a:pt x="13" y="14"/>
                  <a:pt x="13" y="14"/>
                </a:cubicBezTo>
                <a:cubicBezTo>
                  <a:pt x="12" y="15"/>
                  <a:pt x="12" y="15"/>
                  <a:pt x="12" y="15"/>
                </a:cubicBezTo>
                <a:cubicBezTo>
                  <a:pt x="8" y="14"/>
                  <a:pt x="8" y="14"/>
                  <a:pt x="8" y="14"/>
                </a:cubicBezTo>
                <a:cubicBezTo>
                  <a:pt x="6" y="16"/>
                  <a:pt x="6" y="16"/>
                  <a:pt x="6" y="16"/>
                </a:cubicBezTo>
                <a:cubicBezTo>
                  <a:pt x="6" y="15"/>
                  <a:pt x="6" y="15"/>
                  <a:pt x="6" y="15"/>
                </a:cubicBezTo>
                <a:cubicBezTo>
                  <a:pt x="6" y="13"/>
                  <a:pt x="6" y="13"/>
                  <a:pt x="6" y="13"/>
                </a:cubicBezTo>
                <a:cubicBezTo>
                  <a:pt x="5" y="13"/>
                  <a:pt x="5" y="13"/>
                  <a:pt x="5" y="13"/>
                </a:cubicBezTo>
                <a:cubicBezTo>
                  <a:pt x="2" y="13"/>
                  <a:pt x="2" y="13"/>
                  <a:pt x="2" y="13"/>
                </a:cubicBezTo>
                <a:cubicBezTo>
                  <a:pt x="2" y="13"/>
                  <a:pt x="2" y="13"/>
                  <a:pt x="2" y="13"/>
                </a:cubicBezTo>
                <a:cubicBezTo>
                  <a:pt x="3" y="12"/>
                  <a:pt x="3" y="12"/>
                  <a:pt x="3" y="12"/>
                </a:cubicBezTo>
                <a:cubicBezTo>
                  <a:pt x="2" y="12"/>
                  <a:pt x="2" y="12"/>
                  <a:pt x="2" y="12"/>
                </a:cubicBezTo>
                <a:cubicBezTo>
                  <a:pt x="3" y="11"/>
                  <a:pt x="3" y="11"/>
                  <a:pt x="3" y="11"/>
                </a:cubicBezTo>
                <a:cubicBezTo>
                  <a:pt x="3" y="10"/>
                  <a:pt x="3" y="10"/>
                  <a:pt x="3" y="10"/>
                </a:cubicBezTo>
                <a:cubicBezTo>
                  <a:pt x="3" y="9"/>
                  <a:pt x="3" y="9"/>
                  <a:pt x="3" y="9"/>
                </a:cubicBezTo>
                <a:cubicBezTo>
                  <a:pt x="2" y="10"/>
                  <a:pt x="2" y="10"/>
                  <a:pt x="2" y="10"/>
                </a:cubicBezTo>
                <a:cubicBezTo>
                  <a:pt x="1" y="10"/>
                  <a:pt x="1" y="10"/>
                  <a:pt x="1" y="10"/>
                </a:cubicBezTo>
                <a:cubicBezTo>
                  <a:pt x="2" y="8"/>
                  <a:pt x="2" y="8"/>
                  <a:pt x="2" y="8"/>
                </a:cubicBezTo>
                <a:cubicBezTo>
                  <a:pt x="1" y="8"/>
                  <a:pt x="1" y="8"/>
                  <a:pt x="1" y="8"/>
                </a:cubicBezTo>
                <a:cubicBezTo>
                  <a:pt x="1" y="7"/>
                  <a:pt x="1" y="7"/>
                  <a:pt x="1" y="7"/>
                </a:cubicBezTo>
                <a:cubicBezTo>
                  <a:pt x="0" y="7"/>
                  <a:pt x="0" y="7"/>
                  <a:pt x="0" y="7"/>
                </a:cubicBezTo>
                <a:cubicBezTo>
                  <a:pt x="0" y="6"/>
                  <a:pt x="0" y="6"/>
                  <a:pt x="0" y="6"/>
                </a:cubicBezTo>
                <a:cubicBezTo>
                  <a:pt x="1" y="5"/>
                  <a:pt x="1" y="5"/>
                  <a:pt x="1" y="5"/>
                </a:cubicBezTo>
                <a:cubicBezTo>
                  <a:pt x="3" y="4"/>
                  <a:pt x="3" y="4"/>
                  <a:pt x="3" y="4"/>
                </a:cubicBezTo>
                <a:cubicBezTo>
                  <a:pt x="4" y="4"/>
                  <a:pt x="4" y="4"/>
                  <a:pt x="4" y="4"/>
                </a:cubicBezTo>
                <a:cubicBezTo>
                  <a:pt x="6" y="4"/>
                  <a:pt x="6" y="4"/>
                  <a:pt x="6" y="4"/>
                </a:cubicBezTo>
                <a:cubicBezTo>
                  <a:pt x="7" y="3"/>
                  <a:pt x="7" y="3"/>
                  <a:pt x="7" y="3"/>
                </a:cubicBezTo>
                <a:cubicBezTo>
                  <a:pt x="6" y="3"/>
                  <a:pt x="6" y="3"/>
                  <a:pt x="6" y="3"/>
                </a:cubicBezTo>
                <a:cubicBezTo>
                  <a:pt x="6" y="2"/>
                  <a:pt x="6" y="2"/>
                  <a:pt x="6" y="2"/>
                </a:cubicBezTo>
                <a:cubicBezTo>
                  <a:pt x="8" y="1"/>
                  <a:pt x="8" y="1"/>
                  <a:pt x="8" y="1"/>
                </a:cubicBezTo>
                <a:cubicBezTo>
                  <a:pt x="8" y="1"/>
                  <a:pt x="8" y="1"/>
                  <a:pt x="8" y="1"/>
                </a:cubicBezTo>
                <a:cubicBezTo>
                  <a:pt x="9" y="0"/>
                  <a:pt x="9" y="0"/>
                  <a:pt x="9" y="0"/>
                </a:cubicBezTo>
                <a:cubicBezTo>
                  <a:pt x="11" y="1"/>
                  <a:pt x="11" y="1"/>
                  <a:pt x="11" y="1"/>
                </a:cubicBezTo>
                <a:cubicBezTo>
                  <a:pt x="12" y="2"/>
                  <a:pt x="12" y="2"/>
                  <a:pt x="12" y="2"/>
                </a:cubicBezTo>
                <a:cubicBezTo>
                  <a:pt x="13" y="1"/>
                  <a:pt x="13" y="1"/>
                  <a:pt x="13" y="1"/>
                </a:cubicBezTo>
                <a:cubicBezTo>
                  <a:pt x="15" y="1"/>
                  <a:pt x="15" y="1"/>
                  <a:pt x="15" y="1"/>
                </a:cubicBezTo>
                <a:cubicBezTo>
                  <a:pt x="16" y="2"/>
                  <a:pt x="16" y="2"/>
                  <a:pt x="16" y="2"/>
                </a:cubicBezTo>
                <a:cubicBezTo>
                  <a:pt x="18" y="1"/>
                  <a:pt x="18" y="1"/>
                  <a:pt x="18" y="1"/>
                </a:cubicBezTo>
                <a:cubicBezTo>
                  <a:pt x="20" y="1"/>
                  <a:pt x="20" y="1"/>
                  <a:pt x="20" y="1"/>
                </a:cubicBezTo>
                <a:cubicBezTo>
                  <a:pt x="20" y="1"/>
                  <a:pt x="20" y="1"/>
                  <a:pt x="20" y="1"/>
                </a:cubicBezTo>
                <a:cubicBezTo>
                  <a:pt x="22" y="2"/>
                  <a:pt x="22" y="2"/>
                  <a:pt x="22" y="2"/>
                </a:cubicBezTo>
                <a:cubicBezTo>
                  <a:pt x="26" y="3"/>
                  <a:pt x="26" y="3"/>
                  <a:pt x="26" y="3"/>
                </a:cubicBezTo>
                <a:cubicBezTo>
                  <a:pt x="28" y="3"/>
                  <a:pt x="28" y="3"/>
                  <a:pt x="28" y="3"/>
                </a:cubicBezTo>
                <a:cubicBezTo>
                  <a:pt x="31" y="2"/>
                  <a:pt x="31" y="2"/>
                  <a:pt x="31" y="2"/>
                </a:cubicBezTo>
                <a:cubicBezTo>
                  <a:pt x="34" y="2"/>
                  <a:pt x="34" y="2"/>
                  <a:pt x="34" y="2"/>
                </a:cubicBezTo>
                <a:cubicBezTo>
                  <a:pt x="34" y="3"/>
                  <a:pt x="34" y="3"/>
                  <a:pt x="34" y="3"/>
                </a:cubicBezTo>
                <a:cubicBezTo>
                  <a:pt x="36" y="4"/>
                  <a:pt x="36" y="4"/>
                  <a:pt x="36" y="4"/>
                </a:cubicBezTo>
                <a:cubicBezTo>
                  <a:pt x="37" y="3"/>
                  <a:pt x="37" y="3"/>
                  <a:pt x="37" y="3"/>
                </a:cubicBezTo>
                <a:cubicBezTo>
                  <a:pt x="39" y="3"/>
                  <a:pt x="39" y="3"/>
                  <a:pt x="39" y="3"/>
                </a:cubicBezTo>
                <a:cubicBezTo>
                  <a:pt x="42" y="5"/>
                  <a:pt x="42" y="5"/>
                  <a:pt x="42" y="5"/>
                </a:cubicBezTo>
                <a:cubicBezTo>
                  <a:pt x="42" y="4"/>
                  <a:pt x="42" y="4"/>
                  <a:pt x="42" y="4"/>
                </a:cubicBezTo>
                <a:cubicBezTo>
                  <a:pt x="43" y="4"/>
                  <a:pt x="43" y="4"/>
                  <a:pt x="43" y="4"/>
                </a:cubicBezTo>
                <a:cubicBezTo>
                  <a:pt x="44" y="3"/>
                  <a:pt x="44" y="3"/>
                  <a:pt x="44" y="3"/>
                </a:cubicBezTo>
                <a:close/>
                <a:moveTo>
                  <a:pt x="74" y="31"/>
                </a:moveTo>
                <a:cubicBezTo>
                  <a:pt x="76" y="31"/>
                  <a:pt x="76" y="31"/>
                  <a:pt x="76" y="31"/>
                </a:cubicBezTo>
                <a:cubicBezTo>
                  <a:pt x="77" y="31"/>
                  <a:pt x="77" y="31"/>
                  <a:pt x="77" y="31"/>
                </a:cubicBezTo>
                <a:cubicBezTo>
                  <a:pt x="78" y="31"/>
                  <a:pt x="78" y="31"/>
                  <a:pt x="78" y="31"/>
                </a:cubicBezTo>
                <a:cubicBezTo>
                  <a:pt x="76" y="30"/>
                  <a:pt x="76" y="30"/>
                  <a:pt x="76" y="30"/>
                </a:cubicBezTo>
                <a:cubicBezTo>
                  <a:pt x="74" y="30"/>
                  <a:pt x="74" y="30"/>
                  <a:pt x="74" y="30"/>
                </a:cubicBezTo>
                <a:cubicBezTo>
                  <a:pt x="74" y="31"/>
                  <a:pt x="74" y="31"/>
                  <a:pt x="74" y="31"/>
                </a:cubicBezTo>
                <a:close/>
                <a:moveTo>
                  <a:pt x="71" y="35"/>
                </a:moveTo>
                <a:cubicBezTo>
                  <a:pt x="71" y="33"/>
                  <a:pt x="71" y="33"/>
                  <a:pt x="71" y="33"/>
                </a:cubicBezTo>
                <a:cubicBezTo>
                  <a:pt x="73" y="32"/>
                  <a:pt x="73" y="32"/>
                  <a:pt x="73" y="32"/>
                </a:cubicBezTo>
                <a:cubicBezTo>
                  <a:pt x="71" y="32"/>
                  <a:pt x="71" y="32"/>
                  <a:pt x="71" y="32"/>
                </a:cubicBezTo>
                <a:cubicBezTo>
                  <a:pt x="70" y="32"/>
                  <a:pt x="70" y="32"/>
                  <a:pt x="70" y="32"/>
                </a:cubicBezTo>
                <a:cubicBezTo>
                  <a:pt x="69" y="33"/>
                  <a:pt x="69" y="33"/>
                  <a:pt x="69" y="33"/>
                </a:cubicBezTo>
                <a:cubicBezTo>
                  <a:pt x="68" y="34"/>
                  <a:pt x="68" y="34"/>
                  <a:pt x="68" y="34"/>
                </a:cubicBezTo>
                <a:cubicBezTo>
                  <a:pt x="70" y="34"/>
                  <a:pt x="70" y="34"/>
                  <a:pt x="70" y="34"/>
                </a:cubicBezTo>
                <a:cubicBezTo>
                  <a:pt x="71" y="35"/>
                  <a:pt x="71" y="35"/>
                  <a:pt x="71" y="35"/>
                </a:cubicBezTo>
                <a:close/>
                <a:moveTo>
                  <a:pt x="63" y="39"/>
                </a:moveTo>
                <a:cubicBezTo>
                  <a:pt x="64" y="38"/>
                  <a:pt x="64" y="38"/>
                  <a:pt x="64" y="38"/>
                </a:cubicBezTo>
                <a:cubicBezTo>
                  <a:pt x="64" y="37"/>
                  <a:pt x="64" y="37"/>
                  <a:pt x="64" y="37"/>
                </a:cubicBezTo>
                <a:cubicBezTo>
                  <a:pt x="64" y="37"/>
                  <a:pt x="64" y="37"/>
                  <a:pt x="64" y="37"/>
                </a:cubicBezTo>
                <a:cubicBezTo>
                  <a:pt x="62" y="37"/>
                  <a:pt x="62" y="37"/>
                  <a:pt x="62" y="37"/>
                </a:cubicBezTo>
                <a:cubicBezTo>
                  <a:pt x="62" y="38"/>
                  <a:pt x="62" y="38"/>
                  <a:pt x="62" y="38"/>
                </a:cubicBezTo>
                <a:lnTo>
                  <a:pt x="63" y="39"/>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1" name="Freeform 79">
            <a:extLst>
              <a:ext uri="{FF2B5EF4-FFF2-40B4-BE49-F238E27FC236}">
                <a16:creationId xmlns:a16="http://schemas.microsoft.com/office/drawing/2014/main" id="{0C2E9019-2DB8-DB83-A415-165CE5E5A2E3}"/>
              </a:ext>
            </a:extLst>
          </p:cNvPr>
          <p:cNvSpPr>
            <a:spLocks/>
          </p:cNvSpPr>
          <p:nvPr userDrawn="1"/>
        </p:nvSpPr>
        <p:spPr bwMode="auto">
          <a:xfrm>
            <a:off x="12613458" y="6565185"/>
            <a:ext cx="187314" cy="387350"/>
          </a:xfrm>
          <a:custGeom>
            <a:avLst/>
            <a:gdLst>
              <a:gd name="T0" fmla="*/ 37 w 59"/>
              <a:gd name="T1" fmla="*/ 113 h 122"/>
              <a:gd name="T2" fmla="*/ 41 w 59"/>
              <a:gd name="T3" fmla="*/ 100 h 122"/>
              <a:gd name="T4" fmla="*/ 47 w 59"/>
              <a:gd name="T5" fmla="*/ 91 h 122"/>
              <a:gd name="T6" fmla="*/ 37 w 59"/>
              <a:gd name="T7" fmla="*/ 85 h 122"/>
              <a:gd name="T8" fmla="*/ 44 w 59"/>
              <a:gd name="T9" fmla="*/ 72 h 122"/>
              <a:gd name="T10" fmla="*/ 34 w 59"/>
              <a:gd name="T11" fmla="*/ 60 h 122"/>
              <a:gd name="T12" fmla="*/ 44 w 59"/>
              <a:gd name="T13" fmla="*/ 60 h 122"/>
              <a:gd name="T14" fmla="*/ 44 w 59"/>
              <a:gd name="T15" fmla="*/ 47 h 122"/>
              <a:gd name="T16" fmla="*/ 50 w 59"/>
              <a:gd name="T17" fmla="*/ 31 h 122"/>
              <a:gd name="T18" fmla="*/ 56 w 59"/>
              <a:gd name="T19" fmla="*/ 19 h 122"/>
              <a:gd name="T20" fmla="*/ 59 w 59"/>
              <a:gd name="T21" fmla="*/ 16 h 122"/>
              <a:gd name="T22" fmla="*/ 56 w 59"/>
              <a:gd name="T23" fmla="*/ 3 h 122"/>
              <a:gd name="T24" fmla="*/ 44 w 59"/>
              <a:gd name="T25" fmla="*/ 6 h 122"/>
              <a:gd name="T26" fmla="*/ 25 w 59"/>
              <a:gd name="T27" fmla="*/ 10 h 122"/>
              <a:gd name="T28" fmla="*/ 25 w 59"/>
              <a:gd name="T29" fmla="*/ 0 h 122"/>
              <a:gd name="T30" fmla="*/ 12 w 59"/>
              <a:gd name="T31" fmla="*/ 0 h 122"/>
              <a:gd name="T32" fmla="*/ 16 w 59"/>
              <a:gd name="T33" fmla="*/ 13 h 122"/>
              <a:gd name="T34" fmla="*/ 16 w 59"/>
              <a:gd name="T35" fmla="*/ 25 h 122"/>
              <a:gd name="T36" fmla="*/ 16 w 59"/>
              <a:gd name="T37" fmla="*/ 35 h 122"/>
              <a:gd name="T38" fmla="*/ 12 w 59"/>
              <a:gd name="T39" fmla="*/ 44 h 122"/>
              <a:gd name="T40" fmla="*/ 6 w 59"/>
              <a:gd name="T41" fmla="*/ 56 h 122"/>
              <a:gd name="T42" fmla="*/ 3 w 59"/>
              <a:gd name="T43" fmla="*/ 66 h 122"/>
              <a:gd name="T44" fmla="*/ 0 w 59"/>
              <a:gd name="T45" fmla="*/ 81 h 122"/>
              <a:gd name="T46" fmla="*/ 6 w 59"/>
              <a:gd name="T47" fmla="*/ 78 h 122"/>
              <a:gd name="T48" fmla="*/ 9 w 59"/>
              <a:gd name="T49" fmla="*/ 78 h 122"/>
              <a:gd name="T50" fmla="*/ 3 w 59"/>
              <a:gd name="T51" fmla="*/ 85 h 122"/>
              <a:gd name="T52" fmla="*/ 6 w 59"/>
              <a:gd name="T53" fmla="*/ 91 h 122"/>
              <a:gd name="T54" fmla="*/ 12 w 59"/>
              <a:gd name="T55" fmla="*/ 88 h 122"/>
              <a:gd name="T56" fmla="*/ 12 w 59"/>
              <a:gd name="T57" fmla="*/ 94 h 122"/>
              <a:gd name="T58" fmla="*/ 12 w 59"/>
              <a:gd name="T59" fmla="*/ 110 h 122"/>
              <a:gd name="T60" fmla="*/ 9 w 59"/>
              <a:gd name="T61" fmla="*/ 119 h 122"/>
              <a:gd name="T62" fmla="*/ 16 w 59"/>
              <a:gd name="T63" fmla="*/ 116 h 122"/>
              <a:gd name="T64" fmla="*/ 28 w 59"/>
              <a:gd name="T65" fmla="*/ 122 h 122"/>
              <a:gd name="T66" fmla="*/ 37 w 59"/>
              <a:gd name="T67" fmla="*/ 119 h 122"/>
              <a:gd name="T68" fmla="*/ 41 w 59"/>
              <a:gd name="T69" fmla="*/ 11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122">
                <a:moveTo>
                  <a:pt x="41" y="116"/>
                </a:moveTo>
                <a:lnTo>
                  <a:pt x="37" y="113"/>
                </a:lnTo>
                <a:lnTo>
                  <a:pt x="37" y="107"/>
                </a:lnTo>
                <a:lnTo>
                  <a:pt x="41" y="100"/>
                </a:lnTo>
                <a:lnTo>
                  <a:pt x="47" y="94"/>
                </a:lnTo>
                <a:lnTo>
                  <a:pt x="47" y="91"/>
                </a:lnTo>
                <a:lnTo>
                  <a:pt x="41" y="91"/>
                </a:lnTo>
                <a:lnTo>
                  <a:pt x="37" y="85"/>
                </a:lnTo>
                <a:lnTo>
                  <a:pt x="44" y="78"/>
                </a:lnTo>
                <a:lnTo>
                  <a:pt x="44" y="72"/>
                </a:lnTo>
                <a:lnTo>
                  <a:pt x="41" y="69"/>
                </a:lnTo>
                <a:lnTo>
                  <a:pt x="34" y="60"/>
                </a:lnTo>
                <a:lnTo>
                  <a:pt x="41" y="56"/>
                </a:lnTo>
                <a:lnTo>
                  <a:pt x="44" y="60"/>
                </a:lnTo>
                <a:lnTo>
                  <a:pt x="50" y="50"/>
                </a:lnTo>
                <a:lnTo>
                  <a:pt x="44" y="47"/>
                </a:lnTo>
                <a:lnTo>
                  <a:pt x="50" y="44"/>
                </a:lnTo>
                <a:lnTo>
                  <a:pt x="50" y="31"/>
                </a:lnTo>
                <a:lnTo>
                  <a:pt x="50" y="25"/>
                </a:lnTo>
                <a:lnTo>
                  <a:pt x="56" y="19"/>
                </a:lnTo>
                <a:lnTo>
                  <a:pt x="59" y="19"/>
                </a:lnTo>
                <a:lnTo>
                  <a:pt x="59" y="16"/>
                </a:lnTo>
                <a:lnTo>
                  <a:pt x="56" y="10"/>
                </a:lnTo>
                <a:lnTo>
                  <a:pt x="56" y="3"/>
                </a:lnTo>
                <a:lnTo>
                  <a:pt x="47" y="3"/>
                </a:lnTo>
                <a:lnTo>
                  <a:pt x="44" y="6"/>
                </a:lnTo>
                <a:lnTo>
                  <a:pt x="31" y="3"/>
                </a:lnTo>
                <a:lnTo>
                  <a:pt x="25" y="10"/>
                </a:lnTo>
                <a:lnTo>
                  <a:pt x="25" y="6"/>
                </a:lnTo>
                <a:lnTo>
                  <a:pt x="25" y="0"/>
                </a:lnTo>
                <a:lnTo>
                  <a:pt x="22" y="0"/>
                </a:lnTo>
                <a:lnTo>
                  <a:pt x="12" y="0"/>
                </a:lnTo>
                <a:lnTo>
                  <a:pt x="12" y="6"/>
                </a:lnTo>
                <a:lnTo>
                  <a:pt x="16" y="13"/>
                </a:lnTo>
                <a:lnTo>
                  <a:pt x="16" y="25"/>
                </a:lnTo>
                <a:lnTo>
                  <a:pt x="16" y="25"/>
                </a:lnTo>
                <a:lnTo>
                  <a:pt x="12" y="31"/>
                </a:lnTo>
                <a:lnTo>
                  <a:pt x="16" y="35"/>
                </a:lnTo>
                <a:lnTo>
                  <a:pt x="16" y="38"/>
                </a:lnTo>
                <a:lnTo>
                  <a:pt x="12" y="44"/>
                </a:lnTo>
                <a:lnTo>
                  <a:pt x="12" y="50"/>
                </a:lnTo>
                <a:lnTo>
                  <a:pt x="6" y="56"/>
                </a:lnTo>
                <a:lnTo>
                  <a:pt x="6" y="60"/>
                </a:lnTo>
                <a:lnTo>
                  <a:pt x="3" y="66"/>
                </a:lnTo>
                <a:lnTo>
                  <a:pt x="0" y="78"/>
                </a:lnTo>
                <a:lnTo>
                  <a:pt x="0" y="81"/>
                </a:lnTo>
                <a:lnTo>
                  <a:pt x="3" y="81"/>
                </a:lnTo>
                <a:lnTo>
                  <a:pt x="6" y="78"/>
                </a:lnTo>
                <a:lnTo>
                  <a:pt x="9" y="75"/>
                </a:lnTo>
                <a:lnTo>
                  <a:pt x="9" y="78"/>
                </a:lnTo>
                <a:lnTo>
                  <a:pt x="9" y="81"/>
                </a:lnTo>
                <a:lnTo>
                  <a:pt x="3" y="85"/>
                </a:lnTo>
                <a:lnTo>
                  <a:pt x="3" y="88"/>
                </a:lnTo>
                <a:lnTo>
                  <a:pt x="6" y="91"/>
                </a:lnTo>
                <a:lnTo>
                  <a:pt x="9" y="88"/>
                </a:lnTo>
                <a:lnTo>
                  <a:pt x="12" y="88"/>
                </a:lnTo>
                <a:lnTo>
                  <a:pt x="12" y="91"/>
                </a:lnTo>
                <a:lnTo>
                  <a:pt x="12" y="94"/>
                </a:lnTo>
                <a:lnTo>
                  <a:pt x="12" y="100"/>
                </a:lnTo>
                <a:lnTo>
                  <a:pt x="12" y="110"/>
                </a:lnTo>
                <a:lnTo>
                  <a:pt x="9" y="116"/>
                </a:lnTo>
                <a:lnTo>
                  <a:pt x="9" y="119"/>
                </a:lnTo>
                <a:lnTo>
                  <a:pt x="9" y="119"/>
                </a:lnTo>
                <a:lnTo>
                  <a:pt x="16" y="116"/>
                </a:lnTo>
                <a:lnTo>
                  <a:pt x="22" y="119"/>
                </a:lnTo>
                <a:lnTo>
                  <a:pt x="28" y="122"/>
                </a:lnTo>
                <a:lnTo>
                  <a:pt x="34" y="119"/>
                </a:lnTo>
                <a:lnTo>
                  <a:pt x="37" y="119"/>
                </a:lnTo>
                <a:lnTo>
                  <a:pt x="37" y="116"/>
                </a:lnTo>
                <a:lnTo>
                  <a:pt x="41" y="116"/>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2" name="Freeform 80">
            <a:extLst>
              <a:ext uri="{FF2B5EF4-FFF2-40B4-BE49-F238E27FC236}">
                <a16:creationId xmlns:a16="http://schemas.microsoft.com/office/drawing/2014/main" id="{CA301A15-4F2F-F086-955C-468CB385F47F}"/>
              </a:ext>
            </a:extLst>
          </p:cNvPr>
          <p:cNvSpPr>
            <a:spLocks noEditPoints="1"/>
          </p:cNvSpPr>
          <p:nvPr userDrawn="1"/>
        </p:nvSpPr>
        <p:spPr bwMode="auto">
          <a:xfrm>
            <a:off x="14308789" y="6574711"/>
            <a:ext cx="536541" cy="527050"/>
          </a:xfrm>
          <a:custGeom>
            <a:avLst/>
            <a:gdLst>
              <a:gd name="T0" fmla="*/ 33 w 54"/>
              <a:gd name="T1" fmla="*/ 5 h 53"/>
              <a:gd name="T2" fmla="*/ 22 w 54"/>
              <a:gd name="T3" fmla="*/ 5 h 53"/>
              <a:gd name="T4" fmla="*/ 9 w 54"/>
              <a:gd name="T5" fmla="*/ 10 h 53"/>
              <a:gd name="T6" fmla="*/ 6 w 54"/>
              <a:gd name="T7" fmla="*/ 22 h 53"/>
              <a:gd name="T8" fmla="*/ 14 w 54"/>
              <a:gd name="T9" fmla="*/ 29 h 53"/>
              <a:gd name="T10" fmla="*/ 20 w 54"/>
              <a:gd name="T11" fmla="*/ 31 h 53"/>
              <a:gd name="T12" fmla="*/ 10 w 54"/>
              <a:gd name="T13" fmla="*/ 31 h 53"/>
              <a:gd name="T14" fmla="*/ 16 w 54"/>
              <a:gd name="T15" fmla="*/ 40 h 53"/>
              <a:gd name="T16" fmla="*/ 19 w 54"/>
              <a:gd name="T17" fmla="*/ 41 h 53"/>
              <a:gd name="T18" fmla="*/ 20 w 54"/>
              <a:gd name="T19" fmla="*/ 35 h 53"/>
              <a:gd name="T20" fmla="*/ 24 w 54"/>
              <a:gd name="T21" fmla="*/ 35 h 53"/>
              <a:gd name="T22" fmla="*/ 26 w 54"/>
              <a:gd name="T23" fmla="*/ 32 h 53"/>
              <a:gd name="T24" fmla="*/ 22 w 54"/>
              <a:gd name="T25" fmla="*/ 26 h 53"/>
              <a:gd name="T26" fmla="*/ 20 w 54"/>
              <a:gd name="T27" fmla="*/ 21 h 53"/>
              <a:gd name="T28" fmla="*/ 20 w 54"/>
              <a:gd name="T29" fmla="*/ 18 h 53"/>
              <a:gd name="T30" fmla="*/ 19 w 54"/>
              <a:gd name="T31" fmla="*/ 12 h 53"/>
              <a:gd name="T32" fmla="*/ 24 w 54"/>
              <a:gd name="T33" fmla="*/ 14 h 53"/>
              <a:gd name="T34" fmla="*/ 28 w 54"/>
              <a:gd name="T35" fmla="*/ 13 h 53"/>
              <a:gd name="T36" fmla="*/ 30 w 54"/>
              <a:gd name="T37" fmla="*/ 9 h 53"/>
              <a:gd name="T38" fmla="*/ 40 w 54"/>
              <a:gd name="T39" fmla="*/ 7 h 53"/>
              <a:gd name="T40" fmla="*/ 26 w 54"/>
              <a:gd name="T41" fmla="*/ 50 h 53"/>
              <a:gd name="T42" fmla="*/ 35 w 54"/>
              <a:gd name="T43" fmla="*/ 53 h 53"/>
              <a:gd name="T44" fmla="*/ 42 w 54"/>
              <a:gd name="T45" fmla="*/ 50 h 53"/>
              <a:gd name="T46" fmla="*/ 37 w 54"/>
              <a:gd name="T47" fmla="*/ 49 h 53"/>
              <a:gd name="T48" fmla="*/ 29 w 54"/>
              <a:gd name="T49" fmla="*/ 48 h 53"/>
              <a:gd name="T50" fmla="*/ 27 w 54"/>
              <a:gd name="T51" fmla="*/ 49 h 53"/>
              <a:gd name="T52" fmla="*/ 1 w 54"/>
              <a:gd name="T53" fmla="*/ 19 h 53"/>
              <a:gd name="T54" fmla="*/ 7 w 54"/>
              <a:gd name="T55" fmla="*/ 25 h 53"/>
              <a:gd name="T56" fmla="*/ 7 w 54"/>
              <a:gd name="T57" fmla="*/ 29 h 53"/>
              <a:gd name="T58" fmla="*/ 6 w 54"/>
              <a:gd name="T59" fmla="*/ 30 h 53"/>
              <a:gd name="T60" fmla="*/ 8 w 54"/>
              <a:gd name="T61" fmla="*/ 34 h 53"/>
              <a:gd name="T62" fmla="*/ 48 w 54"/>
              <a:gd name="T63" fmla="*/ 46 h 53"/>
              <a:gd name="T64" fmla="*/ 48 w 54"/>
              <a:gd name="T65" fmla="*/ 50 h 53"/>
              <a:gd name="T66" fmla="*/ 54 w 54"/>
              <a:gd name="T67" fmla="*/ 42 h 53"/>
              <a:gd name="T68" fmla="*/ 51 w 54"/>
              <a:gd name="T69" fmla="*/ 46 h 53"/>
              <a:gd name="T70" fmla="*/ 43 w 54"/>
              <a:gd name="T71" fmla="*/ 32 h 53"/>
              <a:gd name="T72" fmla="*/ 43 w 54"/>
              <a:gd name="T73" fmla="*/ 33 h 53"/>
              <a:gd name="T74" fmla="*/ 39 w 54"/>
              <a:gd name="T75" fmla="*/ 28 h 53"/>
              <a:gd name="T76" fmla="*/ 38 w 54"/>
              <a:gd name="T77" fmla="*/ 22 h 53"/>
              <a:gd name="T78" fmla="*/ 42 w 54"/>
              <a:gd name="T79" fmla="*/ 23 h 53"/>
              <a:gd name="T80" fmla="*/ 39 w 54"/>
              <a:gd name="T81" fmla="*/ 23 h 53"/>
              <a:gd name="T82" fmla="*/ 33 w 54"/>
              <a:gd name="T83" fmla="*/ 15 h 53"/>
              <a:gd name="T84" fmla="*/ 33 w 54"/>
              <a:gd name="T85" fmla="*/ 16 h 53"/>
              <a:gd name="T86" fmla="*/ 29 w 54"/>
              <a:gd name="T87" fmla="*/ 10 h 53"/>
              <a:gd name="T88" fmla="*/ 23 w 54"/>
              <a:gd name="T89" fmla="*/ 22 h 53"/>
              <a:gd name="T90" fmla="*/ 31 w 54"/>
              <a:gd name="T91" fmla="*/ 25 h 53"/>
              <a:gd name="T92" fmla="*/ 40 w 54"/>
              <a:gd name="T93" fmla="*/ 35 h 53"/>
              <a:gd name="T94" fmla="*/ 31 w 54"/>
              <a:gd name="T95" fmla="*/ 38 h 53"/>
              <a:gd name="T96" fmla="*/ 30 w 54"/>
              <a:gd name="T97" fmla="*/ 34 h 53"/>
              <a:gd name="T98" fmla="*/ 37 w 54"/>
              <a:gd name="T99" fmla="*/ 39 h 53"/>
              <a:gd name="T100" fmla="*/ 37 w 54"/>
              <a:gd name="T101" fmla="*/ 35 h 53"/>
              <a:gd name="T102" fmla="*/ 32 w 54"/>
              <a:gd name="T103" fmla="*/ 32 h 53"/>
              <a:gd name="T104" fmla="*/ 21 w 54"/>
              <a:gd name="T105" fmla="*/ 23 h 53"/>
              <a:gd name="T106" fmla="*/ 29 w 54"/>
              <a:gd name="T107" fmla="*/ 28 h 53"/>
              <a:gd name="T108" fmla="*/ 30 w 54"/>
              <a:gd name="T109" fmla="*/ 32 h 53"/>
              <a:gd name="T110" fmla="*/ 24 w 54"/>
              <a:gd name="T111" fmla="*/ 26 h 53"/>
              <a:gd name="T112" fmla="*/ 22 w 54"/>
              <a:gd name="T113" fmla="*/ 42 h 53"/>
              <a:gd name="T114" fmla="*/ 22 w 54"/>
              <a:gd name="T115" fmla="*/ 4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53">
                <a:moveTo>
                  <a:pt x="41" y="0"/>
                </a:moveTo>
                <a:cubicBezTo>
                  <a:pt x="40" y="0"/>
                  <a:pt x="40" y="0"/>
                  <a:pt x="40" y="0"/>
                </a:cubicBezTo>
                <a:cubicBezTo>
                  <a:pt x="38" y="2"/>
                  <a:pt x="38" y="2"/>
                  <a:pt x="38" y="2"/>
                </a:cubicBezTo>
                <a:cubicBezTo>
                  <a:pt x="38" y="3"/>
                  <a:pt x="38" y="3"/>
                  <a:pt x="38" y="3"/>
                </a:cubicBezTo>
                <a:cubicBezTo>
                  <a:pt x="39" y="4"/>
                  <a:pt x="39" y="4"/>
                  <a:pt x="39" y="4"/>
                </a:cubicBezTo>
                <a:cubicBezTo>
                  <a:pt x="38" y="5"/>
                  <a:pt x="38" y="5"/>
                  <a:pt x="38" y="5"/>
                </a:cubicBezTo>
                <a:cubicBezTo>
                  <a:pt x="35" y="5"/>
                  <a:pt x="35" y="5"/>
                  <a:pt x="35" y="5"/>
                </a:cubicBezTo>
                <a:cubicBezTo>
                  <a:pt x="34" y="5"/>
                  <a:pt x="34" y="5"/>
                  <a:pt x="34" y="5"/>
                </a:cubicBezTo>
                <a:cubicBezTo>
                  <a:pt x="33" y="5"/>
                  <a:pt x="33" y="5"/>
                  <a:pt x="33" y="5"/>
                </a:cubicBezTo>
                <a:cubicBezTo>
                  <a:pt x="32" y="5"/>
                  <a:pt x="32" y="5"/>
                  <a:pt x="32" y="5"/>
                </a:cubicBezTo>
                <a:cubicBezTo>
                  <a:pt x="31" y="5"/>
                  <a:pt x="31" y="5"/>
                  <a:pt x="31" y="5"/>
                </a:cubicBezTo>
                <a:cubicBezTo>
                  <a:pt x="30" y="5"/>
                  <a:pt x="30" y="5"/>
                  <a:pt x="30" y="5"/>
                </a:cubicBezTo>
                <a:cubicBezTo>
                  <a:pt x="30" y="4"/>
                  <a:pt x="30" y="4"/>
                  <a:pt x="30" y="4"/>
                </a:cubicBezTo>
                <a:cubicBezTo>
                  <a:pt x="28" y="4"/>
                  <a:pt x="28" y="4"/>
                  <a:pt x="28" y="4"/>
                </a:cubicBezTo>
                <a:cubicBezTo>
                  <a:pt x="26" y="4"/>
                  <a:pt x="26" y="4"/>
                  <a:pt x="26" y="4"/>
                </a:cubicBezTo>
                <a:cubicBezTo>
                  <a:pt x="25" y="5"/>
                  <a:pt x="25" y="5"/>
                  <a:pt x="25" y="5"/>
                </a:cubicBezTo>
                <a:cubicBezTo>
                  <a:pt x="24" y="5"/>
                  <a:pt x="24" y="5"/>
                  <a:pt x="24" y="5"/>
                </a:cubicBezTo>
                <a:cubicBezTo>
                  <a:pt x="22" y="5"/>
                  <a:pt x="22" y="5"/>
                  <a:pt x="22" y="5"/>
                </a:cubicBezTo>
                <a:cubicBezTo>
                  <a:pt x="21" y="5"/>
                  <a:pt x="21" y="5"/>
                  <a:pt x="21" y="5"/>
                </a:cubicBezTo>
                <a:cubicBezTo>
                  <a:pt x="20" y="6"/>
                  <a:pt x="20" y="6"/>
                  <a:pt x="20" y="6"/>
                </a:cubicBezTo>
                <a:cubicBezTo>
                  <a:pt x="19" y="6"/>
                  <a:pt x="19" y="6"/>
                  <a:pt x="19" y="6"/>
                </a:cubicBezTo>
                <a:cubicBezTo>
                  <a:pt x="18" y="7"/>
                  <a:pt x="18" y="7"/>
                  <a:pt x="18" y="7"/>
                </a:cubicBezTo>
                <a:cubicBezTo>
                  <a:pt x="15" y="7"/>
                  <a:pt x="15" y="7"/>
                  <a:pt x="15" y="7"/>
                </a:cubicBezTo>
                <a:cubicBezTo>
                  <a:pt x="13" y="7"/>
                  <a:pt x="13" y="7"/>
                  <a:pt x="13" y="7"/>
                </a:cubicBezTo>
                <a:cubicBezTo>
                  <a:pt x="13" y="8"/>
                  <a:pt x="13" y="8"/>
                  <a:pt x="13" y="8"/>
                </a:cubicBezTo>
                <a:cubicBezTo>
                  <a:pt x="11" y="8"/>
                  <a:pt x="11" y="8"/>
                  <a:pt x="11" y="8"/>
                </a:cubicBezTo>
                <a:cubicBezTo>
                  <a:pt x="9" y="10"/>
                  <a:pt x="9" y="10"/>
                  <a:pt x="9" y="10"/>
                </a:cubicBezTo>
                <a:cubicBezTo>
                  <a:pt x="9" y="12"/>
                  <a:pt x="9" y="12"/>
                  <a:pt x="9" y="12"/>
                </a:cubicBezTo>
                <a:cubicBezTo>
                  <a:pt x="8" y="14"/>
                  <a:pt x="8" y="14"/>
                  <a:pt x="8" y="14"/>
                </a:cubicBezTo>
                <a:cubicBezTo>
                  <a:pt x="5" y="14"/>
                  <a:pt x="5" y="14"/>
                  <a:pt x="5" y="14"/>
                </a:cubicBezTo>
                <a:cubicBezTo>
                  <a:pt x="5" y="16"/>
                  <a:pt x="5" y="16"/>
                  <a:pt x="5" y="16"/>
                </a:cubicBezTo>
                <a:cubicBezTo>
                  <a:pt x="4" y="18"/>
                  <a:pt x="4" y="18"/>
                  <a:pt x="4" y="18"/>
                </a:cubicBezTo>
                <a:cubicBezTo>
                  <a:pt x="3" y="18"/>
                  <a:pt x="3" y="18"/>
                  <a:pt x="3" y="18"/>
                </a:cubicBezTo>
                <a:cubicBezTo>
                  <a:pt x="4" y="18"/>
                  <a:pt x="4" y="18"/>
                  <a:pt x="4" y="18"/>
                </a:cubicBezTo>
                <a:cubicBezTo>
                  <a:pt x="4" y="20"/>
                  <a:pt x="4" y="20"/>
                  <a:pt x="4" y="20"/>
                </a:cubicBezTo>
                <a:cubicBezTo>
                  <a:pt x="6" y="22"/>
                  <a:pt x="6" y="22"/>
                  <a:pt x="6" y="22"/>
                </a:cubicBezTo>
                <a:cubicBezTo>
                  <a:pt x="7" y="24"/>
                  <a:pt x="7" y="24"/>
                  <a:pt x="7" y="24"/>
                </a:cubicBezTo>
                <a:cubicBezTo>
                  <a:pt x="8" y="24"/>
                  <a:pt x="8" y="24"/>
                  <a:pt x="8" y="24"/>
                </a:cubicBezTo>
                <a:cubicBezTo>
                  <a:pt x="8" y="24"/>
                  <a:pt x="8" y="24"/>
                  <a:pt x="8" y="24"/>
                </a:cubicBezTo>
                <a:cubicBezTo>
                  <a:pt x="9" y="27"/>
                  <a:pt x="9" y="27"/>
                  <a:pt x="9" y="27"/>
                </a:cubicBezTo>
                <a:cubicBezTo>
                  <a:pt x="10" y="28"/>
                  <a:pt x="10" y="28"/>
                  <a:pt x="10" y="28"/>
                </a:cubicBezTo>
                <a:cubicBezTo>
                  <a:pt x="11" y="29"/>
                  <a:pt x="11" y="29"/>
                  <a:pt x="11" y="29"/>
                </a:cubicBezTo>
                <a:cubicBezTo>
                  <a:pt x="12" y="27"/>
                  <a:pt x="12" y="27"/>
                  <a:pt x="12" y="27"/>
                </a:cubicBezTo>
                <a:cubicBezTo>
                  <a:pt x="13" y="29"/>
                  <a:pt x="13" y="29"/>
                  <a:pt x="13" y="29"/>
                </a:cubicBezTo>
                <a:cubicBezTo>
                  <a:pt x="14" y="29"/>
                  <a:pt x="14" y="29"/>
                  <a:pt x="14" y="29"/>
                </a:cubicBezTo>
                <a:cubicBezTo>
                  <a:pt x="15" y="28"/>
                  <a:pt x="15" y="28"/>
                  <a:pt x="15" y="28"/>
                </a:cubicBezTo>
                <a:cubicBezTo>
                  <a:pt x="16" y="28"/>
                  <a:pt x="16" y="28"/>
                  <a:pt x="16" y="28"/>
                </a:cubicBezTo>
                <a:cubicBezTo>
                  <a:pt x="17" y="29"/>
                  <a:pt x="17" y="29"/>
                  <a:pt x="17" y="29"/>
                </a:cubicBezTo>
                <a:cubicBezTo>
                  <a:pt x="18" y="29"/>
                  <a:pt x="18" y="29"/>
                  <a:pt x="18" y="29"/>
                </a:cubicBezTo>
                <a:cubicBezTo>
                  <a:pt x="19" y="29"/>
                  <a:pt x="19" y="29"/>
                  <a:pt x="19" y="29"/>
                </a:cubicBezTo>
                <a:cubicBezTo>
                  <a:pt x="19" y="29"/>
                  <a:pt x="19" y="29"/>
                  <a:pt x="19" y="29"/>
                </a:cubicBezTo>
                <a:cubicBezTo>
                  <a:pt x="20" y="30"/>
                  <a:pt x="20" y="30"/>
                  <a:pt x="20" y="30"/>
                </a:cubicBezTo>
                <a:cubicBezTo>
                  <a:pt x="21" y="30"/>
                  <a:pt x="21" y="30"/>
                  <a:pt x="21" y="30"/>
                </a:cubicBezTo>
                <a:cubicBezTo>
                  <a:pt x="20" y="31"/>
                  <a:pt x="20" y="31"/>
                  <a:pt x="20" y="31"/>
                </a:cubicBezTo>
                <a:cubicBezTo>
                  <a:pt x="20" y="32"/>
                  <a:pt x="20" y="32"/>
                  <a:pt x="20" y="32"/>
                </a:cubicBezTo>
                <a:cubicBezTo>
                  <a:pt x="19" y="31"/>
                  <a:pt x="19" y="31"/>
                  <a:pt x="19" y="31"/>
                </a:cubicBezTo>
                <a:cubicBezTo>
                  <a:pt x="18" y="31"/>
                  <a:pt x="18" y="31"/>
                  <a:pt x="18" y="31"/>
                </a:cubicBezTo>
                <a:cubicBezTo>
                  <a:pt x="15" y="29"/>
                  <a:pt x="15" y="29"/>
                  <a:pt x="15" y="29"/>
                </a:cubicBezTo>
                <a:cubicBezTo>
                  <a:pt x="14" y="29"/>
                  <a:pt x="14" y="29"/>
                  <a:pt x="14" y="29"/>
                </a:cubicBezTo>
                <a:cubicBezTo>
                  <a:pt x="13" y="30"/>
                  <a:pt x="13" y="30"/>
                  <a:pt x="13" y="30"/>
                </a:cubicBezTo>
                <a:cubicBezTo>
                  <a:pt x="12" y="29"/>
                  <a:pt x="12" y="29"/>
                  <a:pt x="12" y="29"/>
                </a:cubicBezTo>
                <a:cubicBezTo>
                  <a:pt x="11" y="31"/>
                  <a:pt x="11" y="31"/>
                  <a:pt x="11" y="31"/>
                </a:cubicBezTo>
                <a:cubicBezTo>
                  <a:pt x="10" y="31"/>
                  <a:pt x="10" y="31"/>
                  <a:pt x="10" y="31"/>
                </a:cubicBezTo>
                <a:cubicBezTo>
                  <a:pt x="10" y="32"/>
                  <a:pt x="10" y="32"/>
                  <a:pt x="10" y="32"/>
                </a:cubicBezTo>
                <a:cubicBezTo>
                  <a:pt x="11" y="33"/>
                  <a:pt x="11" y="33"/>
                  <a:pt x="11" y="33"/>
                </a:cubicBezTo>
                <a:cubicBezTo>
                  <a:pt x="13" y="34"/>
                  <a:pt x="13" y="34"/>
                  <a:pt x="13" y="34"/>
                </a:cubicBezTo>
                <a:cubicBezTo>
                  <a:pt x="14" y="35"/>
                  <a:pt x="14" y="35"/>
                  <a:pt x="14" y="35"/>
                </a:cubicBezTo>
                <a:cubicBezTo>
                  <a:pt x="14" y="36"/>
                  <a:pt x="14" y="36"/>
                  <a:pt x="14" y="36"/>
                </a:cubicBezTo>
                <a:cubicBezTo>
                  <a:pt x="14" y="37"/>
                  <a:pt x="14" y="37"/>
                  <a:pt x="14" y="37"/>
                </a:cubicBezTo>
                <a:cubicBezTo>
                  <a:pt x="14" y="38"/>
                  <a:pt x="14" y="38"/>
                  <a:pt x="14" y="38"/>
                </a:cubicBezTo>
                <a:cubicBezTo>
                  <a:pt x="15" y="39"/>
                  <a:pt x="15" y="39"/>
                  <a:pt x="15" y="39"/>
                </a:cubicBezTo>
                <a:cubicBezTo>
                  <a:pt x="16" y="40"/>
                  <a:pt x="16" y="40"/>
                  <a:pt x="16" y="40"/>
                </a:cubicBezTo>
                <a:cubicBezTo>
                  <a:pt x="16" y="39"/>
                  <a:pt x="16" y="39"/>
                  <a:pt x="16" y="39"/>
                </a:cubicBezTo>
                <a:cubicBezTo>
                  <a:pt x="16" y="39"/>
                  <a:pt x="16" y="39"/>
                  <a:pt x="16" y="39"/>
                </a:cubicBezTo>
                <a:cubicBezTo>
                  <a:pt x="16" y="38"/>
                  <a:pt x="16" y="38"/>
                  <a:pt x="16" y="38"/>
                </a:cubicBezTo>
                <a:cubicBezTo>
                  <a:pt x="17" y="39"/>
                  <a:pt x="17" y="39"/>
                  <a:pt x="17" y="39"/>
                </a:cubicBezTo>
                <a:cubicBezTo>
                  <a:pt x="18" y="40"/>
                  <a:pt x="18" y="40"/>
                  <a:pt x="18" y="40"/>
                </a:cubicBezTo>
                <a:cubicBezTo>
                  <a:pt x="19" y="41"/>
                  <a:pt x="19" y="41"/>
                  <a:pt x="19" y="41"/>
                </a:cubicBezTo>
                <a:cubicBezTo>
                  <a:pt x="18" y="42"/>
                  <a:pt x="18" y="42"/>
                  <a:pt x="18" y="42"/>
                </a:cubicBezTo>
                <a:cubicBezTo>
                  <a:pt x="19" y="43"/>
                  <a:pt x="19" y="43"/>
                  <a:pt x="19" y="43"/>
                </a:cubicBezTo>
                <a:cubicBezTo>
                  <a:pt x="19" y="41"/>
                  <a:pt x="19" y="41"/>
                  <a:pt x="19" y="41"/>
                </a:cubicBezTo>
                <a:cubicBezTo>
                  <a:pt x="20" y="39"/>
                  <a:pt x="20" y="39"/>
                  <a:pt x="20" y="39"/>
                </a:cubicBezTo>
                <a:cubicBezTo>
                  <a:pt x="21" y="39"/>
                  <a:pt x="21" y="39"/>
                  <a:pt x="21" y="39"/>
                </a:cubicBezTo>
                <a:cubicBezTo>
                  <a:pt x="21" y="41"/>
                  <a:pt x="21" y="41"/>
                  <a:pt x="21" y="41"/>
                </a:cubicBezTo>
                <a:cubicBezTo>
                  <a:pt x="23" y="42"/>
                  <a:pt x="23" y="42"/>
                  <a:pt x="23" y="42"/>
                </a:cubicBezTo>
                <a:cubicBezTo>
                  <a:pt x="22" y="41"/>
                  <a:pt x="22" y="41"/>
                  <a:pt x="22" y="41"/>
                </a:cubicBezTo>
                <a:cubicBezTo>
                  <a:pt x="22" y="40"/>
                  <a:pt x="22" y="40"/>
                  <a:pt x="22" y="40"/>
                </a:cubicBezTo>
                <a:cubicBezTo>
                  <a:pt x="22" y="38"/>
                  <a:pt x="22" y="38"/>
                  <a:pt x="22" y="38"/>
                </a:cubicBezTo>
                <a:cubicBezTo>
                  <a:pt x="21" y="36"/>
                  <a:pt x="21" y="36"/>
                  <a:pt x="21" y="36"/>
                </a:cubicBezTo>
                <a:cubicBezTo>
                  <a:pt x="20" y="35"/>
                  <a:pt x="20" y="35"/>
                  <a:pt x="20" y="35"/>
                </a:cubicBezTo>
                <a:cubicBezTo>
                  <a:pt x="20" y="35"/>
                  <a:pt x="20" y="35"/>
                  <a:pt x="20" y="35"/>
                </a:cubicBezTo>
                <a:cubicBezTo>
                  <a:pt x="21" y="35"/>
                  <a:pt x="21" y="35"/>
                  <a:pt x="21" y="35"/>
                </a:cubicBezTo>
                <a:cubicBezTo>
                  <a:pt x="22" y="35"/>
                  <a:pt x="22" y="35"/>
                  <a:pt x="22" y="35"/>
                </a:cubicBezTo>
                <a:cubicBezTo>
                  <a:pt x="22" y="36"/>
                  <a:pt x="22" y="36"/>
                  <a:pt x="22" y="36"/>
                </a:cubicBezTo>
                <a:cubicBezTo>
                  <a:pt x="22" y="36"/>
                  <a:pt x="22" y="36"/>
                  <a:pt x="22" y="36"/>
                </a:cubicBezTo>
                <a:cubicBezTo>
                  <a:pt x="23" y="36"/>
                  <a:pt x="23" y="36"/>
                  <a:pt x="23" y="36"/>
                </a:cubicBezTo>
                <a:cubicBezTo>
                  <a:pt x="25" y="36"/>
                  <a:pt x="25" y="36"/>
                  <a:pt x="25" y="36"/>
                </a:cubicBezTo>
                <a:cubicBezTo>
                  <a:pt x="25" y="36"/>
                  <a:pt x="25" y="36"/>
                  <a:pt x="25" y="36"/>
                </a:cubicBezTo>
                <a:cubicBezTo>
                  <a:pt x="24" y="35"/>
                  <a:pt x="24" y="35"/>
                  <a:pt x="24" y="35"/>
                </a:cubicBezTo>
                <a:cubicBezTo>
                  <a:pt x="24" y="35"/>
                  <a:pt x="24" y="35"/>
                  <a:pt x="24" y="35"/>
                </a:cubicBezTo>
                <a:cubicBezTo>
                  <a:pt x="23" y="35"/>
                  <a:pt x="23" y="35"/>
                  <a:pt x="23" y="35"/>
                </a:cubicBezTo>
                <a:cubicBezTo>
                  <a:pt x="22" y="34"/>
                  <a:pt x="22" y="34"/>
                  <a:pt x="22" y="34"/>
                </a:cubicBezTo>
                <a:cubicBezTo>
                  <a:pt x="22" y="33"/>
                  <a:pt x="22" y="33"/>
                  <a:pt x="22" y="33"/>
                </a:cubicBezTo>
                <a:cubicBezTo>
                  <a:pt x="21" y="32"/>
                  <a:pt x="21" y="32"/>
                  <a:pt x="21" y="32"/>
                </a:cubicBezTo>
                <a:cubicBezTo>
                  <a:pt x="22" y="32"/>
                  <a:pt x="22" y="32"/>
                  <a:pt x="22" y="32"/>
                </a:cubicBezTo>
                <a:cubicBezTo>
                  <a:pt x="23" y="32"/>
                  <a:pt x="23" y="32"/>
                  <a:pt x="23" y="32"/>
                </a:cubicBezTo>
                <a:cubicBezTo>
                  <a:pt x="24" y="31"/>
                  <a:pt x="24" y="31"/>
                  <a:pt x="24" y="31"/>
                </a:cubicBezTo>
                <a:cubicBezTo>
                  <a:pt x="26" y="32"/>
                  <a:pt x="26" y="32"/>
                  <a:pt x="26" y="32"/>
                </a:cubicBezTo>
                <a:cubicBezTo>
                  <a:pt x="26" y="33"/>
                  <a:pt x="26" y="33"/>
                  <a:pt x="26" y="33"/>
                </a:cubicBezTo>
                <a:cubicBezTo>
                  <a:pt x="27" y="33"/>
                  <a:pt x="27" y="33"/>
                  <a:pt x="27" y="33"/>
                </a:cubicBezTo>
                <a:cubicBezTo>
                  <a:pt x="28" y="32"/>
                  <a:pt x="28" y="32"/>
                  <a:pt x="28" y="32"/>
                </a:cubicBezTo>
                <a:cubicBezTo>
                  <a:pt x="27" y="31"/>
                  <a:pt x="27" y="31"/>
                  <a:pt x="27" y="31"/>
                </a:cubicBezTo>
                <a:cubicBezTo>
                  <a:pt x="27" y="29"/>
                  <a:pt x="27" y="29"/>
                  <a:pt x="27" y="29"/>
                </a:cubicBezTo>
                <a:cubicBezTo>
                  <a:pt x="26" y="29"/>
                  <a:pt x="26" y="29"/>
                  <a:pt x="26" y="29"/>
                </a:cubicBezTo>
                <a:cubicBezTo>
                  <a:pt x="23" y="27"/>
                  <a:pt x="23" y="27"/>
                  <a:pt x="23" y="27"/>
                </a:cubicBezTo>
                <a:cubicBezTo>
                  <a:pt x="23" y="27"/>
                  <a:pt x="23" y="27"/>
                  <a:pt x="23" y="27"/>
                </a:cubicBezTo>
                <a:cubicBezTo>
                  <a:pt x="22" y="26"/>
                  <a:pt x="22" y="26"/>
                  <a:pt x="22" y="26"/>
                </a:cubicBezTo>
                <a:cubicBezTo>
                  <a:pt x="21" y="26"/>
                  <a:pt x="21" y="26"/>
                  <a:pt x="21" y="26"/>
                </a:cubicBezTo>
                <a:cubicBezTo>
                  <a:pt x="21" y="25"/>
                  <a:pt x="21" y="25"/>
                  <a:pt x="21" y="25"/>
                </a:cubicBezTo>
                <a:cubicBezTo>
                  <a:pt x="20" y="25"/>
                  <a:pt x="20" y="25"/>
                  <a:pt x="20" y="25"/>
                </a:cubicBezTo>
                <a:cubicBezTo>
                  <a:pt x="18" y="24"/>
                  <a:pt x="18" y="24"/>
                  <a:pt x="18" y="24"/>
                </a:cubicBezTo>
                <a:cubicBezTo>
                  <a:pt x="20" y="24"/>
                  <a:pt x="20" y="24"/>
                  <a:pt x="20" y="24"/>
                </a:cubicBezTo>
                <a:cubicBezTo>
                  <a:pt x="20" y="23"/>
                  <a:pt x="20" y="23"/>
                  <a:pt x="20" y="23"/>
                </a:cubicBezTo>
                <a:cubicBezTo>
                  <a:pt x="20" y="22"/>
                  <a:pt x="20" y="22"/>
                  <a:pt x="20" y="22"/>
                </a:cubicBezTo>
                <a:cubicBezTo>
                  <a:pt x="19" y="22"/>
                  <a:pt x="19" y="22"/>
                  <a:pt x="19" y="22"/>
                </a:cubicBezTo>
                <a:cubicBezTo>
                  <a:pt x="20" y="21"/>
                  <a:pt x="20" y="21"/>
                  <a:pt x="20" y="21"/>
                </a:cubicBezTo>
                <a:cubicBezTo>
                  <a:pt x="20" y="20"/>
                  <a:pt x="20" y="20"/>
                  <a:pt x="20" y="20"/>
                </a:cubicBezTo>
                <a:cubicBezTo>
                  <a:pt x="21" y="21"/>
                  <a:pt x="21" y="21"/>
                  <a:pt x="21" y="21"/>
                </a:cubicBezTo>
                <a:cubicBezTo>
                  <a:pt x="22" y="21"/>
                  <a:pt x="22" y="21"/>
                  <a:pt x="22" y="21"/>
                </a:cubicBezTo>
                <a:cubicBezTo>
                  <a:pt x="21" y="22"/>
                  <a:pt x="21" y="22"/>
                  <a:pt x="21" y="22"/>
                </a:cubicBezTo>
                <a:cubicBezTo>
                  <a:pt x="21" y="23"/>
                  <a:pt x="21" y="23"/>
                  <a:pt x="21" y="23"/>
                </a:cubicBezTo>
                <a:cubicBezTo>
                  <a:pt x="22" y="23"/>
                  <a:pt x="22" y="23"/>
                  <a:pt x="22" y="23"/>
                </a:cubicBezTo>
                <a:cubicBezTo>
                  <a:pt x="22" y="21"/>
                  <a:pt x="22" y="21"/>
                  <a:pt x="22" y="21"/>
                </a:cubicBezTo>
                <a:cubicBezTo>
                  <a:pt x="22" y="20"/>
                  <a:pt x="22" y="20"/>
                  <a:pt x="22" y="20"/>
                </a:cubicBezTo>
                <a:cubicBezTo>
                  <a:pt x="20" y="18"/>
                  <a:pt x="20" y="18"/>
                  <a:pt x="20" y="18"/>
                </a:cubicBezTo>
                <a:cubicBezTo>
                  <a:pt x="19" y="17"/>
                  <a:pt x="19" y="17"/>
                  <a:pt x="19" y="17"/>
                </a:cubicBezTo>
                <a:cubicBezTo>
                  <a:pt x="19" y="16"/>
                  <a:pt x="19" y="16"/>
                  <a:pt x="19" y="16"/>
                </a:cubicBezTo>
                <a:cubicBezTo>
                  <a:pt x="17" y="15"/>
                  <a:pt x="17" y="15"/>
                  <a:pt x="17" y="15"/>
                </a:cubicBezTo>
                <a:cubicBezTo>
                  <a:pt x="18" y="14"/>
                  <a:pt x="18" y="14"/>
                  <a:pt x="18" y="14"/>
                </a:cubicBezTo>
                <a:cubicBezTo>
                  <a:pt x="17" y="12"/>
                  <a:pt x="17" y="12"/>
                  <a:pt x="17" y="12"/>
                </a:cubicBezTo>
                <a:cubicBezTo>
                  <a:pt x="18" y="11"/>
                  <a:pt x="18" y="11"/>
                  <a:pt x="18" y="11"/>
                </a:cubicBezTo>
                <a:cubicBezTo>
                  <a:pt x="20" y="10"/>
                  <a:pt x="20" y="10"/>
                  <a:pt x="20" y="10"/>
                </a:cubicBezTo>
                <a:cubicBezTo>
                  <a:pt x="20" y="12"/>
                  <a:pt x="20" y="12"/>
                  <a:pt x="20" y="12"/>
                </a:cubicBezTo>
                <a:cubicBezTo>
                  <a:pt x="19" y="12"/>
                  <a:pt x="19" y="12"/>
                  <a:pt x="19" y="12"/>
                </a:cubicBezTo>
                <a:cubicBezTo>
                  <a:pt x="19" y="12"/>
                  <a:pt x="19" y="12"/>
                  <a:pt x="19" y="12"/>
                </a:cubicBezTo>
                <a:cubicBezTo>
                  <a:pt x="21" y="13"/>
                  <a:pt x="21" y="13"/>
                  <a:pt x="21" y="13"/>
                </a:cubicBezTo>
                <a:cubicBezTo>
                  <a:pt x="22" y="15"/>
                  <a:pt x="22" y="15"/>
                  <a:pt x="22" y="15"/>
                </a:cubicBezTo>
                <a:cubicBezTo>
                  <a:pt x="23" y="16"/>
                  <a:pt x="23" y="16"/>
                  <a:pt x="23" y="16"/>
                </a:cubicBezTo>
                <a:cubicBezTo>
                  <a:pt x="24" y="16"/>
                  <a:pt x="24" y="16"/>
                  <a:pt x="24" y="16"/>
                </a:cubicBezTo>
                <a:cubicBezTo>
                  <a:pt x="23" y="15"/>
                  <a:pt x="23" y="15"/>
                  <a:pt x="23" y="15"/>
                </a:cubicBezTo>
                <a:cubicBezTo>
                  <a:pt x="23" y="14"/>
                  <a:pt x="23" y="14"/>
                  <a:pt x="23" y="14"/>
                </a:cubicBezTo>
                <a:cubicBezTo>
                  <a:pt x="23" y="13"/>
                  <a:pt x="23" y="13"/>
                  <a:pt x="23" y="13"/>
                </a:cubicBezTo>
                <a:cubicBezTo>
                  <a:pt x="24" y="14"/>
                  <a:pt x="24" y="14"/>
                  <a:pt x="24" y="14"/>
                </a:cubicBezTo>
                <a:cubicBezTo>
                  <a:pt x="25" y="15"/>
                  <a:pt x="25" y="15"/>
                  <a:pt x="25" y="15"/>
                </a:cubicBezTo>
                <a:cubicBezTo>
                  <a:pt x="26" y="15"/>
                  <a:pt x="26" y="15"/>
                  <a:pt x="26" y="15"/>
                </a:cubicBezTo>
                <a:cubicBezTo>
                  <a:pt x="26" y="14"/>
                  <a:pt x="26" y="14"/>
                  <a:pt x="26" y="14"/>
                </a:cubicBezTo>
                <a:cubicBezTo>
                  <a:pt x="26" y="14"/>
                  <a:pt x="26" y="14"/>
                  <a:pt x="26" y="14"/>
                </a:cubicBezTo>
                <a:cubicBezTo>
                  <a:pt x="25" y="13"/>
                  <a:pt x="25" y="13"/>
                  <a:pt x="25" y="13"/>
                </a:cubicBezTo>
                <a:cubicBezTo>
                  <a:pt x="25" y="13"/>
                  <a:pt x="25" y="13"/>
                  <a:pt x="25" y="13"/>
                </a:cubicBezTo>
                <a:cubicBezTo>
                  <a:pt x="27" y="13"/>
                  <a:pt x="27" y="13"/>
                  <a:pt x="27" y="13"/>
                </a:cubicBezTo>
                <a:cubicBezTo>
                  <a:pt x="28" y="14"/>
                  <a:pt x="28" y="14"/>
                  <a:pt x="28" y="14"/>
                </a:cubicBezTo>
                <a:cubicBezTo>
                  <a:pt x="28" y="13"/>
                  <a:pt x="28" y="13"/>
                  <a:pt x="28" y="13"/>
                </a:cubicBezTo>
                <a:cubicBezTo>
                  <a:pt x="27" y="12"/>
                  <a:pt x="27" y="12"/>
                  <a:pt x="27" y="12"/>
                </a:cubicBezTo>
                <a:cubicBezTo>
                  <a:pt x="26" y="12"/>
                  <a:pt x="26" y="12"/>
                  <a:pt x="26" y="12"/>
                </a:cubicBezTo>
                <a:cubicBezTo>
                  <a:pt x="24" y="10"/>
                  <a:pt x="24" y="10"/>
                  <a:pt x="24" y="10"/>
                </a:cubicBezTo>
                <a:cubicBezTo>
                  <a:pt x="25" y="10"/>
                  <a:pt x="25" y="10"/>
                  <a:pt x="25" y="10"/>
                </a:cubicBezTo>
                <a:cubicBezTo>
                  <a:pt x="26" y="10"/>
                  <a:pt x="26" y="10"/>
                  <a:pt x="26" y="10"/>
                </a:cubicBezTo>
                <a:cubicBezTo>
                  <a:pt x="27" y="9"/>
                  <a:pt x="27" y="9"/>
                  <a:pt x="27" y="9"/>
                </a:cubicBezTo>
                <a:cubicBezTo>
                  <a:pt x="28" y="8"/>
                  <a:pt x="28" y="8"/>
                  <a:pt x="28" y="8"/>
                </a:cubicBezTo>
                <a:cubicBezTo>
                  <a:pt x="29" y="7"/>
                  <a:pt x="29" y="7"/>
                  <a:pt x="29" y="7"/>
                </a:cubicBezTo>
                <a:cubicBezTo>
                  <a:pt x="30" y="9"/>
                  <a:pt x="30" y="9"/>
                  <a:pt x="30" y="9"/>
                </a:cubicBezTo>
                <a:cubicBezTo>
                  <a:pt x="31" y="9"/>
                  <a:pt x="31" y="9"/>
                  <a:pt x="31" y="9"/>
                </a:cubicBezTo>
                <a:cubicBezTo>
                  <a:pt x="32" y="7"/>
                  <a:pt x="32" y="7"/>
                  <a:pt x="32" y="7"/>
                </a:cubicBezTo>
                <a:cubicBezTo>
                  <a:pt x="32" y="7"/>
                  <a:pt x="32" y="7"/>
                  <a:pt x="32" y="7"/>
                </a:cubicBezTo>
                <a:cubicBezTo>
                  <a:pt x="33" y="7"/>
                  <a:pt x="33" y="7"/>
                  <a:pt x="33" y="7"/>
                </a:cubicBezTo>
                <a:cubicBezTo>
                  <a:pt x="34" y="8"/>
                  <a:pt x="34" y="8"/>
                  <a:pt x="34" y="8"/>
                </a:cubicBezTo>
                <a:cubicBezTo>
                  <a:pt x="36" y="8"/>
                  <a:pt x="36" y="8"/>
                  <a:pt x="36" y="8"/>
                </a:cubicBezTo>
                <a:cubicBezTo>
                  <a:pt x="38" y="8"/>
                  <a:pt x="38" y="8"/>
                  <a:pt x="38" y="8"/>
                </a:cubicBezTo>
                <a:cubicBezTo>
                  <a:pt x="40" y="8"/>
                  <a:pt x="40" y="8"/>
                  <a:pt x="40" y="8"/>
                </a:cubicBezTo>
                <a:cubicBezTo>
                  <a:pt x="40" y="7"/>
                  <a:pt x="40" y="7"/>
                  <a:pt x="40" y="7"/>
                </a:cubicBezTo>
                <a:cubicBezTo>
                  <a:pt x="40" y="5"/>
                  <a:pt x="40" y="5"/>
                  <a:pt x="40" y="5"/>
                </a:cubicBezTo>
                <a:cubicBezTo>
                  <a:pt x="42" y="4"/>
                  <a:pt x="42" y="4"/>
                  <a:pt x="42" y="4"/>
                </a:cubicBezTo>
                <a:cubicBezTo>
                  <a:pt x="42" y="3"/>
                  <a:pt x="42" y="3"/>
                  <a:pt x="42" y="3"/>
                </a:cubicBezTo>
                <a:cubicBezTo>
                  <a:pt x="40" y="2"/>
                  <a:pt x="40" y="2"/>
                  <a:pt x="40" y="2"/>
                </a:cubicBezTo>
                <a:cubicBezTo>
                  <a:pt x="41" y="0"/>
                  <a:pt x="41" y="0"/>
                  <a:pt x="41" y="0"/>
                </a:cubicBezTo>
                <a:close/>
                <a:moveTo>
                  <a:pt x="27" y="49"/>
                </a:moveTo>
                <a:cubicBezTo>
                  <a:pt x="26" y="48"/>
                  <a:pt x="26" y="48"/>
                  <a:pt x="26" y="48"/>
                </a:cubicBezTo>
                <a:cubicBezTo>
                  <a:pt x="26" y="49"/>
                  <a:pt x="26" y="49"/>
                  <a:pt x="26" y="49"/>
                </a:cubicBezTo>
                <a:cubicBezTo>
                  <a:pt x="26" y="50"/>
                  <a:pt x="26" y="50"/>
                  <a:pt x="26" y="50"/>
                </a:cubicBezTo>
                <a:cubicBezTo>
                  <a:pt x="26" y="51"/>
                  <a:pt x="26" y="51"/>
                  <a:pt x="26" y="51"/>
                </a:cubicBezTo>
                <a:cubicBezTo>
                  <a:pt x="27" y="51"/>
                  <a:pt x="27" y="51"/>
                  <a:pt x="27" y="51"/>
                </a:cubicBezTo>
                <a:cubicBezTo>
                  <a:pt x="29" y="51"/>
                  <a:pt x="29" y="51"/>
                  <a:pt x="29" y="51"/>
                </a:cubicBezTo>
                <a:cubicBezTo>
                  <a:pt x="30" y="51"/>
                  <a:pt x="30" y="51"/>
                  <a:pt x="30" y="51"/>
                </a:cubicBezTo>
                <a:cubicBezTo>
                  <a:pt x="31" y="51"/>
                  <a:pt x="31" y="51"/>
                  <a:pt x="31" y="51"/>
                </a:cubicBezTo>
                <a:cubicBezTo>
                  <a:pt x="32" y="51"/>
                  <a:pt x="32" y="51"/>
                  <a:pt x="32" y="51"/>
                </a:cubicBezTo>
                <a:cubicBezTo>
                  <a:pt x="33" y="52"/>
                  <a:pt x="33" y="52"/>
                  <a:pt x="33" y="52"/>
                </a:cubicBezTo>
                <a:cubicBezTo>
                  <a:pt x="33" y="53"/>
                  <a:pt x="33" y="53"/>
                  <a:pt x="33" y="53"/>
                </a:cubicBezTo>
                <a:cubicBezTo>
                  <a:pt x="35" y="53"/>
                  <a:pt x="35" y="53"/>
                  <a:pt x="35" y="53"/>
                </a:cubicBezTo>
                <a:cubicBezTo>
                  <a:pt x="36" y="52"/>
                  <a:pt x="36" y="52"/>
                  <a:pt x="36" y="52"/>
                </a:cubicBezTo>
                <a:cubicBezTo>
                  <a:pt x="38" y="52"/>
                  <a:pt x="38" y="52"/>
                  <a:pt x="38" y="52"/>
                </a:cubicBezTo>
                <a:cubicBezTo>
                  <a:pt x="40" y="52"/>
                  <a:pt x="40" y="52"/>
                  <a:pt x="40" y="52"/>
                </a:cubicBezTo>
                <a:cubicBezTo>
                  <a:pt x="42" y="52"/>
                  <a:pt x="42" y="52"/>
                  <a:pt x="42" y="52"/>
                </a:cubicBezTo>
                <a:cubicBezTo>
                  <a:pt x="43" y="52"/>
                  <a:pt x="43" y="52"/>
                  <a:pt x="43" y="52"/>
                </a:cubicBezTo>
                <a:cubicBezTo>
                  <a:pt x="43" y="51"/>
                  <a:pt x="43" y="51"/>
                  <a:pt x="43" y="51"/>
                </a:cubicBezTo>
                <a:cubicBezTo>
                  <a:pt x="43" y="50"/>
                  <a:pt x="43" y="50"/>
                  <a:pt x="43" y="50"/>
                </a:cubicBezTo>
                <a:cubicBezTo>
                  <a:pt x="43" y="49"/>
                  <a:pt x="43" y="49"/>
                  <a:pt x="43" y="49"/>
                </a:cubicBezTo>
                <a:cubicBezTo>
                  <a:pt x="42" y="50"/>
                  <a:pt x="42" y="50"/>
                  <a:pt x="42" y="50"/>
                </a:cubicBezTo>
                <a:cubicBezTo>
                  <a:pt x="42" y="51"/>
                  <a:pt x="42" y="51"/>
                  <a:pt x="42" y="51"/>
                </a:cubicBezTo>
                <a:cubicBezTo>
                  <a:pt x="42" y="51"/>
                  <a:pt x="42" y="51"/>
                  <a:pt x="42" y="51"/>
                </a:cubicBezTo>
                <a:cubicBezTo>
                  <a:pt x="41" y="51"/>
                  <a:pt x="41" y="51"/>
                  <a:pt x="41" y="51"/>
                </a:cubicBezTo>
                <a:cubicBezTo>
                  <a:pt x="40" y="51"/>
                  <a:pt x="40" y="51"/>
                  <a:pt x="40" y="51"/>
                </a:cubicBezTo>
                <a:cubicBezTo>
                  <a:pt x="40" y="51"/>
                  <a:pt x="40" y="51"/>
                  <a:pt x="40" y="51"/>
                </a:cubicBezTo>
                <a:cubicBezTo>
                  <a:pt x="40" y="50"/>
                  <a:pt x="40" y="50"/>
                  <a:pt x="40" y="50"/>
                </a:cubicBezTo>
                <a:cubicBezTo>
                  <a:pt x="39" y="49"/>
                  <a:pt x="39" y="49"/>
                  <a:pt x="39" y="49"/>
                </a:cubicBezTo>
                <a:cubicBezTo>
                  <a:pt x="39" y="49"/>
                  <a:pt x="39" y="49"/>
                  <a:pt x="39" y="49"/>
                </a:cubicBezTo>
                <a:cubicBezTo>
                  <a:pt x="37" y="49"/>
                  <a:pt x="37" y="49"/>
                  <a:pt x="37" y="49"/>
                </a:cubicBezTo>
                <a:cubicBezTo>
                  <a:pt x="36" y="49"/>
                  <a:pt x="36" y="49"/>
                  <a:pt x="36" y="49"/>
                </a:cubicBezTo>
                <a:cubicBezTo>
                  <a:pt x="34" y="49"/>
                  <a:pt x="34" y="49"/>
                  <a:pt x="34" y="49"/>
                </a:cubicBezTo>
                <a:cubicBezTo>
                  <a:pt x="33" y="50"/>
                  <a:pt x="33" y="50"/>
                  <a:pt x="33" y="50"/>
                </a:cubicBezTo>
                <a:cubicBezTo>
                  <a:pt x="31" y="50"/>
                  <a:pt x="31" y="50"/>
                  <a:pt x="31" y="50"/>
                </a:cubicBezTo>
                <a:cubicBezTo>
                  <a:pt x="31" y="49"/>
                  <a:pt x="31" y="49"/>
                  <a:pt x="31" y="49"/>
                </a:cubicBezTo>
                <a:cubicBezTo>
                  <a:pt x="30" y="49"/>
                  <a:pt x="30" y="49"/>
                  <a:pt x="30" y="49"/>
                </a:cubicBezTo>
                <a:cubicBezTo>
                  <a:pt x="29" y="49"/>
                  <a:pt x="29" y="49"/>
                  <a:pt x="29" y="49"/>
                </a:cubicBezTo>
                <a:cubicBezTo>
                  <a:pt x="30" y="49"/>
                  <a:pt x="30" y="49"/>
                  <a:pt x="30" y="49"/>
                </a:cubicBezTo>
                <a:cubicBezTo>
                  <a:pt x="29" y="48"/>
                  <a:pt x="29" y="48"/>
                  <a:pt x="29" y="48"/>
                </a:cubicBezTo>
                <a:cubicBezTo>
                  <a:pt x="28" y="48"/>
                  <a:pt x="28" y="48"/>
                  <a:pt x="28" y="48"/>
                </a:cubicBezTo>
                <a:cubicBezTo>
                  <a:pt x="29" y="48"/>
                  <a:pt x="29" y="48"/>
                  <a:pt x="29" y="48"/>
                </a:cubicBezTo>
                <a:cubicBezTo>
                  <a:pt x="29" y="48"/>
                  <a:pt x="29" y="48"/>
                  <a:pt x="29" y="48"/>
                </a:cubicBezTo>
                <a:cubicBezTo>
                  <a:pt x="29" y="49"/>
                  <a:pt x="29" y="49"/>
                  <a:pt x="29" y="49"/>
                </a:cubicBezTo>
                <a:cubicBezTo>
                  <a:pt x="28" y="49"/>
                  <a:pt x="28" y="49"/>
                  <a:pt x="28" y="49"/>
                </a:cubicBezTo>
                <a:cubicBezTo>
                  <a:pt x="27" y="48"/>
                  <a:pt x="27" y="48"/>
                  <a:pt x="27" y="48"/>
                </a:cubicBezTo>
                <a:cubicBezTo>
                  <a:pt x="27" y="48"/>
                  <a:pt x="27" y="48"/>
                  <a:pt x="27" y="48"/>
                </a:cubicBezTo>
                <a:cubicBezTo>
                  <a:pt x="27" y="48"/>
                  <a:pt x="27" y="48"/>
                  <a:pt x="27" y="48"/>
                </a:cubicBezTo>
                <a:cubicBezTo>
                  <a:pt x="27" y="49"/>
                  <a:pt x="27" y="49"/>
                  <a:pt x="27" y="49"/>
                </a:cubicBezTo>
                <a:cubicBezTo>
                  <a:pt x="27" y="49"/>
                  <a:pt x="27" y="49"/>
                  <a:pt x="27" y="49"/>
                </a:cubicBezTo>
                <a:close/>
                <a:moveTo>
                  <a:pt x="2" y="17"/>
                </a:moveTo>
                <a:cubicBezTo>
                  <a:pt x="2" y="19"/>
                  <a:pt x="2" y="19"/>
                  <a:pt x="2" y="19"/>
                </a:cubicBezTo>
                <a:cubicBezTo>
                  <a:pt x="2" y="19"/>
                  <a:pt x="2" y="19"/>
                  <a:pt x="2" y="19"/>
                </a:cubicBezTo>
                <a:cubicBezTo>
                  <a:pt x="3" y="20"/>
                  <a:pt x="3" y="20"/>
                  <a:pt x="3" y="20"/>
                </a:cubicBezTo>
                <a:cubicBezTo>
                  <a:pt x="3" y="20"/>
                  <a:pt x="3" y="20"/>
                  <a:pt x="3" y="20"/>
                </a:cubicBezTo>
                <a:cubicBezTo>
                  <a:pt x="3" y="20"/>
                  <a:pt x="3" y="20"/>
                  <a:pt x="3" y="20"/>
                </a:cubicBezTo>
                <a:cubicBezTo>
                  <a:pt x="2" y="20"/>
                  <a:pt x="2" y="20"/>
                  <a:pt x="2" y="20"/>
                </a:cubicBezTo>
                <a:cubicBezTo>
                  <a:pt x="1" y="19"/>
                  <a:pt x="1" y="19"/>
                  <a:pt x="1" y="19"/>
                </a:cubicBezTo>
                <a:cubicBezTo>
                  <a:pt x="1" y="18"/>
                  <a:pt x="1" y="18"/>
                  <a:pt x="1" y="18"/>
                </a:cubicBezTo>
                <a:cubicBezTo>
                  <a:pt x="0" y="18"/>
                  <a:pt x="0" y="18"/>
                  <a:pt x="0" y="18"/>
                </a:cubicBezTo>
                <a:cubicBezTo>
                  <a:pt x="0" y="18"/>
                  <a:pt x="0" y="18"/>
                  <a:pt x="0" y="18"/>
                </a:cubicBezTo>
                <a:cubicBezTo>
                  <a:pt x="1" y="17"/>
                  <a:pt x="1" y="17"/>
                  <a:pt x="1" y="17"/>
                </a:cubicBezTo>
                <a:cubicBezTo>
                  <a:pt x="2" y="17"/>
                  <a:pt x="2" y="17"/>
                  <a:pt x="2" y="17"/>
                </a:cubicBezTo>
                <a:close/>
                <a:moveTo>
                  <a:pt x="6" y="26"/>
                </a:moveTo>
                <a:cubicBezTo>
                  <a:pt x="6" y="26"/>
                  <a:pt x="6" y="26"/>
                  <a:pt x="6" y="26"/>
                </a:cubicBezTo>
                <a:cubicBezTo>
                  <a:pt x="7" y="25"/>
                  <a:pt x="7" y="25"/>
                  <a:pt x="7" y="25"/>
                </a:cubicBezTo>
                <a:cubicBezTo>
                  <a:pt x="7" y="25"/>
                  <a:pt x="7" y="25"/>
                  <a:pt x="7" y="25"/>
                </a:cubicBezTo>
                <a:cubicBezTo>
                  <a:pt x="8" y="26"/>
                  <a:pt x="8" y="26"/>
                  <a:pt x="8" y="26"/>
                </a:cubicBezTo>
                <a:cubicBezTo>
                  <a:pt x="7" y="26"/>
                  <a:pt x="7" y="26"/>
                  <a:pt x="7" y="26"/>
                </a:cubicBezTo>
                <a:cubicBezTo>
                  <a:pt x="7" y="27"/>
                  <a:pt x="7" y="27"/>
                  <a:pt x="7" y="27"/>
                </a:cubicBezTo>
                <a:cubicBezTo>
                  <a:pt x="6" y="26"/>
                  <a:pt x="6" y="26"/>
                  <a:pt x="6" y="26"/>
                </a:cubicBezTo>
                <a:close/>
                <a:moveTo>
                  <a:pt x="7" y="28"/>
                </a:moveTo>
                <a:cubicBezTo>
                  <a:pt x="7" y="27"/>
                  <a:pt x="7" y="27"/>
                  <a:pt x="7" y="27"/>
                </a:cubicBezTo>
                <a:cubicBezTo>
                  <a:pt x="7" y="27"/>
                  <a:pt x="7" y="27"/>
                  <a:pt x="7" y="27"/>
                </a:cubicBezTo>
                <a:cubicBezTo>
                  <a:pt x="8" y="28"/>
                  <a:pt x="8" y="28"/>
                  <a:pt x="8" y="28"/>
                </a:cubicBezTo>
                <a:cubicBezTo>
                  <a:pt x="7" y="29"/>
                  <a:pt x="7" y="29"/>
                  <a:pt x="7" y="29"/>
                </a:cubicBezTo>
                <a:cubicBezTo>
                  <a:pt x="8" y="29"/>
                  <a:pt x="8" y="29"/>
                  <a:pt x="8" y="29"/>
                </a:cubicBezTo>
                <a:cubicBezTo>
                  <a:pt x="8" y="30"/>
                  <a:pt x="8" y="30"/>
                  <a:pt x="8" y="30"/>
                </a:cubicBezTo>
                <a:cubicBezTo>
                  <a:pt x="8" y="30"/>
                  <a:pt x="8" y="30"/>
                  <a:pt x="8" y="30"/>
                </a:cubicBezTo>
                <a:cubicBezTo>
                  <a:pt x="8" y="31"/>
                  <a:pt x="8" y="31"/>
                  <a:pt x="8" y="31"/>
                </a:cubicBezTo>
                <a:cubicBezTo>
                  <a:pt x="7" y="31"/>
                  <a:pt x="7" y="31"/>
                  <a:pt x="7" y="31"/>
                </a:cubicBezTo>
                <a:cubicBezTo>
                  <a:pt x="6" y="30"/>
                  <a:pt x="6" y="30"/>
                  <a:pt x="6" y="30"/>
                </a:cubicBezTo>
                <a:cubicBezTo>
                  <a:pt x="6" y="30"/>
                  <a:pt x="6" y="30"/>
                  <a:pt x="6" y="30"/>
                </a:cubicBezTo>
                <a:cubicBezTo>
                  <a:pt x="6" y="29"/>
                  <a:pt x="6" y="29"/>
                  <a:pt x="6" y="29"/>
                </a:cubicBezTo>
                <a:cubicBezTo>
                  <a:pt x="6" y="30"/>
                  <a:pt x="6" y="30"/>
                  <a:pt x="6" y="30"/>
                </a:cubicBezTo>
                <a:cubicBezTo>
                  <a:pt x="6" y="30"/>
                  <a:pt x="6" y="30"/>
                  <a:pt x="6" y="30"/>
                </a:cubicBezTo>
                <a:cubicBezTo>
                  <a:pt x="5" y="30"/>
                  <a:pt x="5" y="30"/>
                  <a:pt x="5" y="30"/>
                </a:cubicBezTo>
                <a:cubicBezTo>
                  <a:pt x="5" y="29"/>
                  <a:pt x="5" y="29"/>
                  <a:pt x="5" y="29"/>
                </a:cubicBezTo>
                <a:cubicBezTo>
                  <a:pt x="6" y="28"/>
                  <a:pt x="6" y="28"/>
                  <a:pt x="6" y="28"/>
                </a:cubicBezTo>
                <a:cubicBezTo>
                  <a:pt x="7" y="28"/>
                  <a:pt x="7" y="28"/>
                  <a:pt x="7" y="28"/>
                </a:cubicBezTo>
                <a:close/>
                <a:moveTo>
                  <a:pt x="9" y="33"/>
                </a:moveTo>
                <a:cubicBezTo>
                  <a:pt x="9" y="33"/>
                  <a:pt x="9" y="33"/>
                  <a:pt x="9" y="33"/>
                </a:cubicBezTo>
                <a:cubicBezTo>
                  <a:pt x="9" y="33"/>
                  <a:pt x="9" y="33"/>
                  <a:pt x="9" y="33"/>
                </a:cubicBezTo>
                <a:cubicBezTo>
                  <a:pt x="8" y="34"/>
                  <a:pt x="8" y="34"/>
                  <a:pt x="8" y="34"/>
                </a:cubicBezTo>
                <a:cubicBezTo>
                  <a:pt x="8" y="34"/>
                  <a:pt x="8" y="34"/>
                  <a:pt x="8" y="34"/>
                </a:cubicBezTo>
                <a:cubicBezTo>
                  <a:pt x="7" y="33"/>
                  <a:pt x="7" y="33"/>
                  <a:pt x="7" y="33"/>
                </a:cubicBezTo>
                <a:cubicBezTo>
                  <a:pt x="7" y="32"/>
                  <a:pt x="7" y="32"/>
                  <a:pt x="7" y="32"/>
                </a:cubicBezTo>
                <a:cubicBezTo>
                  <a:pt x="7" y="32"/>
                  <a:pt x="7" y="32"/>
                  <a:pt x="7" y="32"/>
                </a:cubicBezTo>
                <a:cubicBezTo>
                  <a:pt x="8" y="32"/>
                  <a:pt x="8" y="32"/>
                  <a:pt x="8" y="32"/>
                </a:cubicBezTo>
                <a:cubicBezTo>
                  <a:pt x="9" y="33"/>
                  <a:pt x="9" y="33"/>
                  <a:pt x="9" y="33"/>
                </a:cubicBezTo>
                <a:close/>
                <a:moveTo>
                  <a:pt x="48" y="47"/>
                </a:moveTo>
                <a:cubicBezTo>
                  <a:pt x="48" y="46"/>
                  <a:pt x="48" y="46"/>
                  <a:pt x="48" y="46"/>
                </a:cubicBezTo>
                <a:cubicBezTo>
                  <a:pt x="48" y="46"/>
                  <a:pt x="48" y="46"/>
                  <a:pt x="48" y="46"/>
                </a:cubicBezTo>
                <a:cubicBezTo>
                  <a:pt x="48" y="46"/>
                  <a:pt x="48" y="46"/>
                  <a:pt x="48" y="46"/>
                </a:cubicBezTo>
                <a:cubicBezTo>
                  <a:pt x="48" y="47"/>
                  <a:pt x="48" y="47"/>
                  <a:pt x="48" y="47"/>
                </a:cubicBezTo>
                <a:close/>
                <a:moveTo>
                  <a:pt x="48" y="50"/>
                </a:moveTo>
                <a:cubicBezTo>
                  <a:pt x="47" y="49"/>
                  <a:pt x="47" y="49"/>
                  <a:pt x="47" y="49"/>
                </a:cubicBezTo>
                <a:cubicBezTo>
                  <a:pt x="47" y="48"/>
                  <a:pt x="47" y="48"/>
                  <a:pt x="47" y="48"/>
                </a:cubicBezTo>
                <a:cubicBezTo>
                  <a:pt x="48" y="47"/>
                  <a:pt x="48" y="47"/>
                  <a:pt x="48" y="47"/>
                </a:cubicBezTo>
                <a:cubicBezTo>
                  <a:pt x="48" y="48"/>
                  <a:pt x="48" y="48"/>
                  <a:pt x="48" y="48"/>
                </a:cubicBezTo>
                <a:cubicBezTo>
                  <a:pt x="48" y="48"/>
                  <a:pt x="48" y="48"/>
                  <a:pt x="48" y="48"/>
                </a:cubicBezTo>
                <a:cubicBezTo>
                  <a:pt x="48" y="50"/>
                  <a:pt x="48" y="50"/>
                  <a:pt x="48" y="50"/>
                </a:cubicBezTo>
                <a:cubicBezTo>
                  <a:pt x="48" y="50"/>
                  <a:pt x="48" y="50"/>
                  <a:pt x="48" y="50"/>
                </a:cubicBezTo>
                <a:close/>
                <a:moveTo>
                  <a:pt x="51" y="46"/>
                </a:moveTo>
                <a:cubicBezTo>
                  <a:pt x="50" y="46"/>
                  <a:pt x="50" y="46"/>
                  <a:pt x="50" y="46"/>
                </a:cubicBezTo>
                <a:cubicBezTo>
                  <a:pt x="51" y="45"/>
                  <a:pt x="51" y="45"/>
                  <a:pt x="51" y="45"/>
                </a:cubicBezTo>
                <a:cubicBezTo>
                  <a:pt x="51" y="45"/>
                  <a:pt x="51" y="45"/>
                  <a:pt x="51" y="45"/>
                </a:cubicBezTo>
                <a:cubicBezTo>
                  <a:pt x="51" y="44"/>
                  <a:pt x="51" y="44"/>
                  <a:pt x="51" y="44"/>
                </a:cubicBezTo>
                <a:cubicBezTo>
                  <a:pt x="52" y="43"/>
                  <a:pt x="52" y="43"/>
                  <a:pt x="52" y="43"/>
                </a:cubicBezTo>
                <a:cubicBezTo>
                  <a:pt x="53" y="42"/>
                  <a:pt x="53" y="42"/>
                  <a:pt x="53" y="42"/>
                </a:cubicBezTo>
                <a:cubicBezTo>
                  <a:pt x="54" y="42"/>
                  <a:pt x="54" y="42"/>
                  <a:pt x="54" y="42"/>
                </a:cubicBezTo>
                <a:cubicBezTo>
                  <a:pt x="54" y="43"/>
                  <a:pt x="54" y="43"/>
                  <a:pt x="54" y="43"/>
                </a:cubicBezTo>
                <a:cubicBezTo>
                  <a:pt x="54" y="43"/>
                  <a:pt x="54" y="43"/>
                  <a:pt x="54" y="43"/>
                </a:cubicBezTo>
                <a:cubicBezTo>
                  <a:pt x="54" y="44"/>
                  <a:pt x="54" y="44"/>
                  <a:pt x="54" y="44"/>
                </a:cubicBezTo>
                <a:cubicBezTo>
                  <a:pt x="53" y="44"/>
                  <a:pt x="53" y="44"/>
                  <a:pt x="53" y="44"/>
                </a:cubicBezTo>
                <a:cubicBezTo>
                  <a:pt x="53" y="45"/>
                  <a:pt x="53" y="45"/>
                  <a:pt x="53" y="45"/>
                </a:cubicBezTo>
                <a:cubicBezTo>
                  <a:pt x="53" y="45"/>
                  <a:pt x="53" y="45"/>
                  <a:pt x="53" y="45"/>
                </a:cubicBezTo>
                <a:cubicBezTo>
                  <a:pt x="52" y="45"/>
                  <a:pt x="52" y="45"/>
                  <a:pt x="52" y="45"/>
                </a:cubicBezTo>
                <a:cubicBezTo>
                  <a:pt x="51" y="46"/>
                  <a:pt x="51" y="46"/>
                  <a:pt x="51" y="46"/>
                </a:cubicBezTo>
                <a:cubicBezTo>
                  <a:pt x="51" y="46"/>
                  <a:pt x="51" y="46"/>
                  <a:pt x="51" y="46"/>
                </a:cubicBezTo>
                <a:close/>
                <a:moveTo>
                  <a:pt x="42" y="42"/>
                </a:moveTo>
                <a:cubicBezTo>
                  <a:pt x="42" y="42"/>
                  <a:pt x="42" y="42"/>
                  <a:pt x="42" y="42"/>
                </a:cubicBezTo>
                <a:cubicBezTo>
                  <a:pt x="42" y="41"/>
                  <a:pt x="42" y="41"/>
                  <a:pt x="42" y="41"/>
                </a:cubicBezTo>
                <a:cubicBezTo>
                  <a:pt x="43" y="41"/>
                  <a:pt x="43" y="41"/>
                  <a:pt x="43" y="41"/>
                </a:cubicBezTo>
                <a:cubicBezTo>
                  <a:pt x="44" y="41"/>
                  <a:pt x="44" y="41"/>
                  <a:pt x="44" y="41"/>
                </a:cubicBezTo>
                <a:cubicBezTo>
                  <a:pt x="43" y="42"/>
                  <a:pt x="43" y="42"/>
                  <a:pt x="43" y="42"/>
                </a:cubicBezTo>
                <a:cubicBezTo>
                  <a:pt x="43" y="42"/>
                  <a:pt x="42" y="42"/>
                  <a:pt x="42" y="42"/>
                </a:cubicBezTo>
                <a:close/>
                <a:moveTo>
                  <a:pt x="42" y="33"/>
                </a:moveTo>
                <a:cubicBezTo>
                  <a:pt x="43" y="32"/>
                  <a:pt x="43" y="32"/>
                  <a:pt x="43" y="32"/>
                </a:cubicBezTo>
                <a:cubicBezTo>
                  <a:pt x="44" y="32"/>
                  <a:pt x="44" y="32"/>
                  <a:pt x="44" y="32"/>
                </a:cubicBezTo>
                <a:cubicBezTo>
                  <a:pt x="45" y="33"/>
                  <a:pt x="45" y="33"/>
                  <a:pt x="45" y="33"/>
                </a:cubicBezTo>
                <a:cubicBezTo>
                  <a:pt x="45" y="33"/>
                  <a:pt x="45" y="33"/>
                  <a:pt x="45" y="33"/>
                </a:cubicBezTo>
                <a:cubicBezTo>
                  <a:pt x="45" y="33"/>
                  <a:pt x="45" y="33"/>
                  <a:pt x="45" y="33"/>
                </a:cubicBezTo>
                <a:cubicBezTo>
                  <a:pt x="46" y="33"/>
                  <a:pt x="46" y="33"/>
                  <a:pt x="46" y="33"/>
                </a:cubicBezTo>
                <a:cubicBezTo>
                  <a:pt x="45" y="34"/>
                  <a:pt x="45" y="34"/>
                  <a:pt x="45" y="34"/>
                </a:cubicBezTo>
                <a:cubicBezTo>
                  <a:pt x="45" y="34"/>
                  <a:pt x="45" y="34"/>
                  <a:pt x="45" y="34"/>
                </a:cubicBezTo>
                <a:cubicBezTo>
                  <a:pt x="44" y="34"/>
                  <a:pt x="44" y="34"/>
                  <a:pt x="44" y="34"/>
                </a:cubicBezTo>
                <a:cubicBezTo>
                  <a:pt x="43" y="33"/>
                  <a:pt x="43" y="33"/>
                  <a:pt x="43" y="33"/>
                </a:cubicBezTo>
                <a:cubicBezTo>
                  <a:pt x="43" y="33"/>
                  <a:pt x="43" y="33"/>
                  <a:pt x="43" y="33"/>
                </a:cubicBezTo>
                <a:cubicBezTo>
                  <a:pt x="42" y="34"/>
                  <a:pt x="42" y="34"/>
                  <a:pt x="42" y="34"/>
                </a:cubicBezTo>
                <a:cubicBezTo>
                  <a:pt x="42" y="33"/>
                  <a:pt x="42" y="33"/>
                  <a:pt x="42" y="33"/>
                </a:cubicBezTo>
                <a:close/>
                <a:moveTo>
                  <a:pt x="40" y="26"/>
                </a:moveTo>
                <a:cubicBezTo>
                  <a:pt x="40" y="28"/>
                  <a:pt x="40" y="28"/>
                  <a:pt x="40" y="28"/>
                </a:cubicBezTo>
                <a:cubicBezTo>
                  <a:pt x="40" y="29"/>
                  <a:pt x="40" y="29"/>
                  <a:pt x="40" y="29"/>
                </a:cubicBezTo>
                <a:cubicBezTo>
                  <a:pt x="39" y="29"/>
                  <a:pt x="39" y="29"/>
                  <a:pt x="39" y="29"/>
                </a:cubicBezTo>
                <a:cubicBezTo>
                  <a:pt x="39" y="29"/>
                  <a:pt x="39" y="29"/>
                  <a:pt x="39" y="29"/>
                </a:cubicBezTo>
                <a:cubicBezTo>
                  <a:pt x="39" y="28"/>
                  <a:pt x="39" y="28"/>
                  <a:pt x="39" y="28"/>
                </a:cubicBezTo>
                <a:cubicBezTo>
                  <a:pt x="39" y="28"/>
                  <a:pt x="39" y="28"/>
                  <a:pt x="39" y="28"/>
                </a:cubicBezTo>
                <a:cubicBezTo>
                  <a:pt x="39" y="27"/>
                  <a:pt x="39" y="27"/>
                  <a:pt x="39" y="27"/>
                </a:cubicBezTo>
                <a:cubicBezTo>
                  <a:pt x="38" y="27"/>
                  <a:pt x="38" y="27"/>
                  <a:pt x="38" y="27"/>
                </a:cubicBezTo>
                <a:cubicBezTo>
                  <a:pt x="38" y="26"/>
                  <a:pt x="38" y="26"/>
                  <a:pt x="38" y="26"/>
                </a:cubicBezTo>
                <a:cubicBezTo>
                  <a:pt x="39" y="26"/>
                  <a:pt x="39" y="26"/>
                  <a:pt x="39" y="26"/>
                </a:cubicBezTo>
                <a:cubicBezTo>
                  <a:pt x="40" y="26"/>
                  <a:pt x="40" y="26"/>
                  <a:pt x="40" y="26"/>
                </a:cubicBezTo>
                <a:cubicBezTo>
                  <a:pt x="40" y="26"/>
                  <a:pt x="40" y="26"/>
                  <a:pt x="40" y="26"/>
                </a:cubicBezTo>
                <a:close/>
                <a:moveTo>
                  <a:pt x="39" y="23"/>
                </a:moveTo>
                <a:cubicBezTo>
                  <a:pt x="38" y="22"/>
                  <a:pt x="38" y="22"/>
                  <a:pt x="38" y="22"/>
                </a:cubicBezTo>
                <a:cubicBezTo>
                  <a:pt x="38" y="21"/>
                  <a:pt x="38" y="21"/>
                  <a:pt x="38" y="21"/>
                </a:cubicBezTo>
                <a:cubicBezTo>
                  <a:pt x="40" y="21"/>
                  <a:pt x="40" y="21"/>
                  <a:pt x="40" y="21"/>
                </a:cubicBezTo>
                <a:cubicBezTo>
                  <a:pt x="40" y="20"/>
                  <a:pt x="40" y="20"/>
                  <a:pt x="40" y="20"/>
                </a:cubicBezTo>
                <a:cubicBezTo>
                  <a:pt x="42" y="20"/>
                  <a:pt x="42" y="20"/>
                  <a:pt x="42" y="20"/>
                </a:cubicBezTo>
                <a:cubicBezTo>
                  <a:pt x="42" y="20"/>
                  <a:pt x="42" y="20"/>
                  <a:pt x="42" y="20"/>
                </a:cubicBezTo>
                <a:cubicBezTo>
                  <a:pt x="42" y="21"/>
                  <a:pt x="42" y="21"/>
                  <a:pt x="42" y="21"/>
                </a:cubicBezTo>
                <a:cubicBezTo>
                  <a:pt x="42" y="21"/>
                  <a:pt x="42" y="21"/>
                  <a:pt x="42" y="21"/>
                </a:cubicBezTo>
                <a:cubicBezTo>
                  <a:pt x="42" y="22"/>
                  <a:pt x="42" y="22"/>
                  <a:pt x="42" y="22"/>
                </a:cubicBezTo>
                <a:cubicBezTo>
                  <a:pt x="42" y="23"/>
                  <a:pt x="42" y="23"/>
                  <a:pt x="42" y="23"/>
                </a:cubicBezTo>
                <a:cubicBezTo>
                  <a:pt x="41" y="23"/>
                  <a:pt x="41" y="23"/>
                  <a:pt x="41" y="23"/>
                </a:cubicBezTo>
                <a:cubicBezTo>
                  <a:pt x="40" y="23"/>
                  <a:pt x="40" y="23"/>
                  <a:pt x="40" y="23"/>
                </a:cubicBezTo>
                <a:cubicBezTo>
                  <a:pt x="40" y="22"/>
                  <a:pt x="40" y="22"/>
                  <a:pt x="40" y="22"/>
                </a:cubicBezTo>
                <a:cubicBezTo>
                  <a:pt x="41" y="22"/>
                  <a:pt x="41" y="22"/>
                  <a:pt x="41" y="22"/>
                </a:cubicBezTo>
                <a:cubicBezTo>
                  <a:pt x="41" y="21"/>
                  <a:pt x="41" y="21"/>
                  <a:pt x="41" y="21"/>
                </a:cubicBezTo>
                <a:cubicBezTo>
                  <a:pt x="40" y="21"/>
                  <a:pt x="40" y="21"/>
                  <a:pt x="40" y="21"/>
                </a:cubicBezTo>
                <a:cubicBezTo>
                  <a:pt x="40" y="22"/>
                  <a:pt x="40" y="22"/>
                  <a:pt x="40" y="22"/>
                </a:cubicBezTo>
                <a:cubicBezTo>
                  <a:pt x="39" y="23"/>
                  <a:pt x="39" y="23"/>
                  <a:pt x="39" y="23"/>
                </a:cubicBezTo>
                <a:cubicBezTo>
                  <a:pt x="39" y="23"/>
                  <a:pt x="39" y="23"/>
                  <a:pt x="39" y="23"/>
                </a:cubicBezTo>
                <a:cubicBezTo>
                  <a:pt x="39" y="23"/>
                  <a:pt x="39" y="23"/>
                  <a:pt x="39" y="23"/>
                </a:cubicBezTo>
                <a:close/>
                <a:moveTo>
                  <a:pt x="35" y="11"/>
                </a:moveTo>
                <a:cubicBezTo>
                  <a:pt x="36" y="11"/>
                  <a:pt x="36" y="11"/>
                  <a:pt x="36" y="11"/>
                </a:cubicBezTo>
                <a:cubicBezTo>
                  <a:pt x="36" y="11"/>
                  <a:pt x="36" y="11"/>
                  <a:pt x="36" y="11"/>
                </a:cubicBezTo>
                <a:cubicBezTo>
                  <a:pt x="37" y="11"/>
                  <a:pt x="37" y="11"/>
                  <a:pt x="37" y="11"/>
                </a:cubicBezTo>
                <a:cubicBezTo>
                  <a:pt x="37" y="12"/>
                  <a:pt x="37" y="12"/>
                  <a:pt x="37" y="12"/>
                </a:cubicBezTo>
                <a:cubicBezTo>
                  <a:pt x="37" y="12"/>
                  <a:pt x="37" y="12"/>
                  <a:pt x="37" y="12"/>
                </a:cubicBezTo>
                <a:cubicBezTo>
                  <a:pt x="35" y="11"/>
                  <a:pt x="35" y="11"/>
                  <a:pt x="35" y="11"/>
                </a:cubicBezTo>
                <a:close/>
                <a:moveTo>
                  <a:pt x="33" y="15"/>
                </a:moveTo>
                <a:cubicBezTo>
                  <a:pt x="34" y="15"/>
                  <a:pt x="34" y="15"/>
                  <a:pt x="34" y="15"/>
                </a:cubicBezTo>
                <a:cubicBezTo>
                  <a:pt x="34" y="15"/>
                  <a:pt x="34" y="15"/>
                  <a:pt x="34" y="15"/>
                </a:cubicBezTo>
                <a:cubicBezTo>
                  <a:pt x="35" y="14"/>
                  <a:pt x="35" y="14"/>
                  <a:pt x="35" y="14"/>
                </a:cubicBezTo>
                <a:cubicBezTo>
                  <a:pt x="35" y="15"/>
                  <a:pt x="35" y="15"/>
                  <a:pt x="35" y="15"/>
                </a:cubicBezTo>
                <a:cubicBezTo>
                  <a:pt x="35" y="16"/>
                  <a:pt x="35" y="16"/>
                  <a:pt x="35" y="16"/>
                </a:cubicBezTo>
                <a:cubicBezTo>
                  <a:pt x="34" y="17"/>
                  <a:pt x="34" y="17"/>
                  <a:pt x="34" y="17"/>
                </a:cubicBezTo>
                <a:cubicBezTo>
                  <a:pt x="34" y="16"/>
                  <a:pt x="34" y="16"/>
                  <a:pt x="34" y="16"/>
                </a:cubicBezTo>
                <a:cubicBezTo>
                  <a:pt x="33" y="17"/>
                  <a:pt x="33" y="17"/>
                  <a:pt x="33" y="17"/>
                </a:cubicBezTo>
                <a:cubicBezTo>
                  <a:pt x="33" y="16"/>
                  <a:pt x="33" y="16"/>
                  <a:pt x="33" y="16"/>
                </a:cubicBezTo>
                <a:cubicBezTo>
                  <a:pt x="32" y="15"/>
                  <a:pt x="32" y="15"/>
                  <a:pt x="32" y="15"/>
                </a:cubicBezTo>
                <a:cubicBezTo>
                  <a:pt x="33" y="15"/>
                  <a:pt x="33" y="15"/>
                  <a:pt x="33" y="15"/>
                </a:cubicBezTo>
                <a:close/>
                <a:moveTo>
                  <a:pt x="30" y="9"/>
                </a:moveTo>
                <a:cubicBezTo>
                  <a:pt x="30" y="9"/>
                  <a:pt x="30" y="9"/>
                  <a:pt x="30" y="9"/>
                </a:cubicBezTo>
                <a:cubicBezTo>
                  <a:pt x="31" y="9"/>
                  <a:pt x="31" y="9"/>
                  <a:pt x="31" y="9"/>
                </a:cubicBezTo>
                <a:cubicBezTo>
                  <a:pt x="31" y="10"/>
                  <a:pt x="31" y="10"/>
                  <a:pt x="31" y="10"/>
                </a:cubicBezTo>
                <a:cubicBezTo>
                  <a:pt x="30" y="11"/>
                  <a:pt x="30" y="11"/>
                  <a:pt x="30" y="11"/>
                </a:cubicBezTo>
                <a:cubicBezTo>
                  <a:pt x="30" y="10"/>
                  <a:pt x="30" y="10"/>
                  <a:pt x="30" y="10"/>
                </a:cubicBezTo>
                <a:cubicBezTo>
                  <a:pt x="29" y="10"/>
                  <a:pt x="29" y="10"/>
                  <a:pt x="29" y="10"/>
                </a:cubicBezTo>
                <a:cubicBezTo>
                  <a:pt x="30" y="9"/>
                  <a:pt x="30" y="9"/>
                  <a:pt x="30" y="9"/>
                </a:cubicBezTo>
                <a:close/>
                <a:moveTo>
                  <a:pt x="24" y="22"/>
                </a:moveTo>
                <a:cubicBezTo>
                  <a:pt x="24" y="22"/>
                  <a:pt x="24" y="22"/>
                  <a:pt x="24" y="22"/>
                </a:cubicBezTo>
                <a:cubicBezTo>
                  <a:pt x="25" y="22"/>
                  <a:pt x="25" y="22"/>
                  <a:pt x="25" y="22"/>
                </a:cubicBezTo>
                <a:cubicBezTo>
                  <a:pt x="25" y="23"/>
                  <a:pt x="25" y="23"/>
                  <a:pt x="25" y="23"/>
                </a:cubicBezTo>
                <a:cubicBezTo>
                  <a:pt x="25" y="23"/>
                  <a:pt x="25" y="23"/>
                  <a:pt x="25" y="23"/>
                </a:cubicBezTo>
                <a:cubicBezTo>
                  <a:pt x="24" y="22"/>
                  <a:pt x="24" y="22"/>
                  <a:pt x="24" y="22"/>
                </a:cubicBezTo>
                <a:close/>
                <a:moveTo>
                  <a:pt x="23" y="22"/>
                </a:moveTo>
                <a:cubicBezTo>
                  <a:pt x="23" y="22"/>
                  <a:pt x="23" y="22"/>
                  <a:pt x="23" y="22"/>
                </a:cubicBezTo>
                <a:cubicBezTo>
                  <a:pt x="24" y="22"/>
                  <a:pt x="24" y="22"/>
                  <a:pt x="24" y="22"/>
                </a:cubicBezTo>
                <a:cubicBezTo>
                  <a:pt x="23" y="22"/>
                  <a:pt x="23" y="22"/>
                  <a:pt x="23" y="22"/>
                </a:cubicBezTo>
                <a:cubicBezTo>
                  <a:pt x="23" y="22"/>
                  <a:pt x="23" y="22"/>
                  <a:pt x="23" y="22"/>
                </a:cubicBezTo>
                <a:close/>
                <a:moveTo>
                  <a:pt x="30" y="23"/>
                </a:moveTo>
                <a:cubicBezTo>
                  <a:pt x="30" y="23"/>
                  <a:pt x="30" y="23"/>
                  <a:pt x="30" y="23"/>
                </a:cubicBezTo>
                <a:cubicBezTo>
                  <a:pt x="31" y="24"/>
                  <a:pt x="31" y="24"/>
                  <a:pt x="31" y="24"/>
                </a:cubicBezTo>
                <a:cubicBezTo>
                  <a:pt x="32" y="24"/>
                  <a:pt x="32" y="24"/>
                  <a:pt x="32" y="24"/>
                </a:cubicBezTo>
                <a:cubicBezTo>
                  <a:pt x="32" y="25"/>
                  <a:pt x="32" y="25"/>
                  <a:pt x="32" y="25"/>
                </a:cubicBezTo>
                <a:cubicBezTo>
                  <a:pt x="31" y="25"/>
                  <a:pt x="31" y="25"/>
                  <a:pt x="31" y="25"/>
                </a:cubicBezTo>
                <a:cubicBezTo>
                  <a:pt x="31" y="24"/>
                  <a:pt x="31" y="24"/>
                  <a:pt x="31" y="24"/>
                </a:cubicBezTo>
                <a:cubicBezTo>
                  <a:pt x="31" y="24"/>
                  <a:pt x="31" y="24"/>
                  <a:pt x="31" y="24"/>
                </a:cubicBezTo>
                <a:cubicBezTo>
                  <a:pt x="30" y="23"/>
                  <a:pt x="30" y="23"/>
                  <a:pt x="30" y="23"/>
                </a:cubicBezTo>
                <a:close/>
                <a:moveTo>
                  <a:pt x="40" y="35"/>
                </a:moveTo>
                <a:cubicBezTo>
                  <a:pt x="40" y="35"/>
                  <a:pt x="40" y="35"/>
                  <a:pt x="40" y="35"/>
                </a:cubicBezTo>
                <a:cubicBezTo>
                  <a:pt x="40" y="34"/>
                  <a:pt x="40" y="34"/>
                  <a:pt x="40" y="34"/>
                </a:cubicBezTo>
                <a:cubicBezTo>
                  <a:pt x="41" y="34"/>
                  <a:pt x="41" y="34"/>
                  <a:pt x="41" y="34"/>
                </a:cubicBezTo>
                <a:cubicBezTo>
                  <a:pt x="41" y="34"/>
                  <a:pt x="41" y="34"/>
                  <a:pt x="41" y="34"/>
                </a:cubicBezTo>
                <a:cubicBezTo>
                  <a:pt x="40" y="35"/>
                  <a:pt x="40" y="35"/>
                  <a:pt x="40" y="35"/>
                </a:cubicBezTo>
                <a:close/>
                <a:moveTo>
                  <a:pt x="30" y="42"/>
                </a:moveTo>
                <a:cubicBezTo>
                  <a:pt x="30" y="41"/>
                  <a:pt x="30" y="41"/>
                  <a:pt x="30" y="41"/>
                </a:cubicBezTo>
                <a:cubicBezTo>
                  <a:pt x="31" y="41"/>
                  <a:pt x="31" y="41"/>
                  <a:pt x="31" y="41"/>
                </a:cubicBezTo>
                <a:cubicBezTo>
                  <a:pt x="31" y="41"/>
                  <a:pt x="31" y="41"/>
                  <a:pt x="31" y="41"/>
                </a:cubicBezTo>
                <a:cubicBezTo>
                  <a:pt x="30" y="42"/>
                  <a:pt x="30" y="42"/>
                  <a:pt x="30" y="42"/>
                </a:cubicBezTo>
                <a:cubicBezTo>
                  <a:pt x="30" y="42"/>
                  <a:pt x="30" y="42"/>
                  <a:pt x="30" y="42"/>
                </a:cubicBezTo>
                <a:close/>
                <a:moveTo>
                  <a:pt x="30" y="38"/>
                </a:moveTo>
                <a:cubicBezTo>
                  <a:pt x="31" y="37"/>
                  <a:pt x="31" y="37"/>
                  <a:pt x="31" y="37"/>
                </a:cubicBezTo>
                <a:cubicBezTo>
                  <a:pt x="31" y="38"/>
                  <a:pt x="31" y="38"/>
                  <a:pt x="31" y="38"/>
                </a:cubicBezTo>
                <a:cubicBezTo>
                  <a:pt x="30" y="38"/>
                  <a:pt x="30" y="38"/>
                  <a:pt x="30" y="38"/>
                </a:cubicBezTo>
                <a:close/>
                <a:moveTo>
                  <a:pt x="30" y="37"/>
                </a:moveTo>
                <a:cubicBezTo>
                  <a:pt x="30" y="36"/>
                  <a:pt x="30" y="36"/>
                  <a:pt x="30" y="36"/>
                </a:cubicBezTo>
                <a:cubicBezTo>
                  <a:pt x="31" y="36"/>
                  <a:pt x="31" y="36"/>
                  <a:pt x="31" y="36"/>
                </a:cubicBezTo>
                <a:cubicBezTo>
                  <a:pt x="31" y="36"/>
                  <a:pt x="31" y="36"/>
                  <a:pt x="31" y="36"/>
                </a:cubicBezTo>
                <a:cubicBezTo>
                  <a:pt x="31" y="36"/>
                  <a:pt x="30" y="37"/>
                  <a:pt x="30" y="37"/>
                </a:cubicBezTo>
                <a:close/>
                <a:moveTo>
                  <a:pt x="29" y="35"/>
                </a:moveTo>
                <a:cubicBezTo>
                  <a:pt x="29" y="35"/>
                  <a:pt x="29" y="35"/>
                  <a:pt x="29" y="35"/>
                </a:cubicBezTo>
                <a:cubicBezTo>
                  <a:pt x="30" y="34"/>
                  <a:pt x="30" y="34"/>
                  <a:pt x="30" y="34"/>
                </a:cubicBezTo>
                <a:cubicBezTo>
                  <a:pt x="30" y="35"/>
                  <a:pt x="30" y="35"/>
                  <a:pt x="30" y="35"/>
                </a:cubicBezTo>
                <a:cubicBezTo>
                  <a:pt x="29" y="35"/>
                  <a:pt x="29" y="35"/>
                  <a:pt x="29" y="35"/>
                </a:cubicBezTo>
                <a:close/>
                <a:moveTo>
                  <a:pt x="35" y="39"/>
                </a:moveTo>
                <a:cubicBezTo>
                  <a:pt x="35" y="38"/>
                  <a:pt x="35" y="38"/>
                  <a:pt x="35" y="38"/>
                </a:cubicBezTo>
                <a:cubicBezTo>
                  <a:pt x="35" y="37"/>
                  <a:pt x="35" y="37"/>
                  <a:pt x="35" y="37"/>
                </a:cubicBezTo>
                <a:cubicBezTo>
                  <a:pt x="35" y="37"/>
                  <a:pt x="35" y="37"/>
                  <a:pt x="35" y="37"/>
                </a:cubicBezTo>
                <a:cubicBezTo>
                  <a:pt x="36" y="38"/>
                  <a:pt x="36" y="38"/>
                  <a:pt x="36" y="38"/>
                </a:cubicBezTo>
                <a:cubicBezTo>
                  <a:pt x="35" y="39"/>
                  <a:pt x="35" y="39"/>
                  <a:pt x="35" y="39"/>
                </a:cubicBezTo>
                <a:close/>
                <a:moveTo>
                  <a:pt x="37" y="39"/>
                </a:moveTo>
                <a:cubicBezTo>
                  <a:pt x="36" y="38"/>
                  <a:pt x="36" y="38"/>
                  <a:pt x="36" y="38"/>
                </a:cubicBezTo>
                <a:cubicBezTo>
                  <a:pt x="37" y="37"/>
                  <a:pt x="37" y="37"/>
                  <a:pt x="37" y="37"/>
                </a:cubicBezTo>
                <a:cubicBezTo>
                  <a:pt x="38" y="37"/>
                  <a:pt x="38" y="37"/>
                  <a:pt x="38" y="37"/>
                </a:cubicBezTo>
                <a:cubicBezTo>
                  <a:pt x="38" y="38"/>
                  <a:pt x="38" y="38"/>
                  <a:pt x="38" y="38"/>
                </a:cubicBezTo>
                <a:cubicBezTo>
                  <a:pt x="37" y="39"/>
                  <a:pt x="37" y="39"/>
                  <a:pt x="37" y="39"/>
                </a:cubicBezTo>
                <a:cubicBezTo>
                  <a:pt x="37" y="39"/>
                  <a:pt x="37" y="39"/>
                  <a:pt x="37" y="39"/>
                </a:cubicBezTo>
                <a:close/>
                <a:moveTo>
                  <a:pt x="36" y="36"/>
                </a:moveTo>
                <a:cubicBezTo>
                  <a:pt x="36" y="35"/>
                  <a:pt x="36" y="35"/>
                  <a:pt x="36" y="35"/>
                </a:cubicBezTo>
                <a:cubicBezTo>
                  <a:pt x="37" y="35"/>
                  <a:pt x="37" y="35"/>
                  <a:pt x="37" y="35"/>
                </a:cubicBezTo>
                <a:cubicBezTo>
                  <a:pt x="36" y="36"/>
                  <a:pt x="36" y="36"/>
                  <a:pt x="36" y="36"/>
                </a:cubicBezTo>
                <a:close/>
                <a:moveTo>
                  <a:pt x="34" y="34"/>
                </a:moveTo>
                <a:cubicBezTo>
                  <a:pt x="35" y="34"/>
                  <a:pt x="35" y="34"/>
                  <a:pt x="35" y="34"/>
                </a:cubicBezTo>
                <a:cubicBezTo>
                  <a:pt x="36" y="35"/>
                  <a:pt x="36" y="35"/>
                  <a:pt x="36" y="35"/>
                </a:cubicBezTo>
                <a:cubicBezTo>
                  <a:pt x="36" y="35"/>
                  <a:pt x="36" y="35"/>
                  <a:pt x="36" y="35"/>
                </a:cubicBezTo>
                <a:cubicBezTo>
                  <a:pt x="35" y="35"/>
                  <a:pt x="35" y="35"/>
                  <a:pt x="35" y="35"/>
                </a:cubicBezTo>
                <a:cubicBezTo>
                  <a:pt x="34" y="34"/>
                  <a:pt x="34" y="34"/>
                  <a:pt x="34" y="34"/>
                </a:cubicBezTo>
                <a:close/>
                <a:moveTo>
                  <a:pt x="32" y="32"/>
                </a:moveTo>
                <a:cubicBezTo>
                  <a:pt x="32" y="32"/>
                  <a:pt x="32" y="32"/>
                  <a:pt x="32" y="32"/>
                </a:cubicBezTo>
                <a:cubicBezTo>
                  <a:pt x="33" y="32"/>
                  <a:pt x="33" y="32"/>
                  <a:pt x="33" y="32"/>
                </a:cubicBezTo>
                <a:cubicBezTo>
                  <a:pt x="34" y="33"/>
                  <a:pt x="34" y="33"/>
                  <a:pt x="34" y="33"/>
                </a:cubicBezTo>
                <a:cubicBezTo>
                  <a:pt x="34" y="34"/>
                  <a:pt x="34" y="34"/>
                  <a:pt x="34" y="34"/>
                </a:cubicBezTo>
                <a:cubicBezTo>
                  <a:pt x="33" y="34"/>
                  <a:pt x="33" y="34"/>
                  <a:pt x="33" y="34"/>
                </a:cubicBezTo>
                <a:cubicBezTo>
                  <a:pt x="32" y="33"/>
                  <a:pt x="32" y="33"/>
                  <a:pt x="32" y="33"/>
                </a:cubicBezTo>
                <a:cubicBezTo>
                  <a:pt x="31" y="32"/>
                  <a:pt x="31" y="32"/>
                  <a:pt x="31" y="32"/>
                </a:cubicBezTo>
                <a:cubicBezTo>
                  <a:pt x="32" y="32"/>
                  <a:pt x="32" y="32"/>
                  <a:pt x="32" y="32"/>
                </a:cubicBezTo>
                <a:close/>
                <a:moveTo>
                  <a:pt x="20" y="24"/>
                </a:moveTo>
                <a:cubicBezTo>
                  <a:pt x="21" y="23"/>
                  <a:pt x="21" y="23"/>
                  <a:pt x="21" y="23"/>
                </a:cubicBezTo>
                <a:cubicBezTo>
                  <a:pt x="22" y="23"/>
                  <a:pt x="22" y="23"/>
                  <a:pt x="22" y="23"/>
                </a:cubicBezTo>
                <a:cubicBezTo>
                  <a:pt x="23" y="24"/>
                  <a:pt x="23" y="24"/>
                  <a:pt x="23" y="24"/>
                </a:cubicBezTo>
                <a:cubicBezTo>
                  <a:pt x="25" y="25"/>
                  <a:pt x="25" y="25"/>
                  <a:pt x="25" y="25"/>
                </a:cubicBezTo>
                <a:cubicBezTo>
                  <a:pt x="26" y="25"/>
                  <a:pt x="26" y="25"/>
                  <a:pt x="26" y="25"/>
                </a:cubicBezTo>
                <a:cubicBezTo>
                  <a:pt x="26" y="25"/>
                  <a:pt x="26" y="25"/>
                  <a:pt x="26" y="25"/>
                </a:cubicBezTo>
                <a:cubicBezTo>
                  <a:pt x="27" y="25"/>
                  <a:pt x="27" y="25"/>
                  <a:pt x="27" y="25"/>
                </a:cubicBezTo>
                <a:cubicBezTo>
                  <a:pt x="27" y="25"/>
                  <a:pt x="27" y="25"/>
                  <a:pt x="27" y="25"/>
                </a:cubicBezTo>
                <a:cubicBezTo>
                  <a:pt x="28" y="27"/>
                  <a:pt x="28" y="27"/>
                  <a:pt x="28" y="27"/>
                </a:cubicBezTo>
                <a:cubicBezTo>
                  <a:pt x="29" y="28"/>
                  <a:pt x="29" y="28"/>
                  <a:pt x="29" y="28"/>
                </a:cubicBezTo>
                <a:cubicBezTo>
                  <a:pt x="29" y="28"/>
                  <a:pt x="29" y="28"/>
                  <a:pt x="29" y="28"/>
                </a:cubicBezTo>
                <a:cubicBezTo>
                  <a:pt x="29" y="29"/>
                  <a:pt x="29" y="29"/>
                  <a:pt x="29" y="29"/>
                </a:cubicBezTo>
                <a:cubicBezTo>
                  <a:pt x="29" y="30"/>
                  <a:pt x="29" y="30"/>
                  <a:pt x="29" y="30"/>
                </a:cubicBezTo>
                <a:cubicBezTo>
                  <a:pt x="30" y="31"/>
                  <a:pt x="30" y="31"/>
                  <a:pt x="30" y="31"/>
                </a:cubicBezTo>
                <a:cubicBezTo>
                  <a:pt x="30" y="30"/>
                  <a:pt x="30" y="30"/>
                  <a:pt x="30" y="30"/>
                </a:cubicBezTo>
                <a:cubicBezTo>
                  <a:pt x="31" y="30"/>
                  <a:pt x="31" y="30"/>
                  <a:pt x="31" y="30"/>
                </a:cubicBezTo>
                <a:cubicBezTo>
                  <a:pt x="31" y="32"/>
                  <a:pt x="31" y="32"/>
                  <a:pt x="31" y="32"/>
                </a:cubicBezTo>
                <a:cubicBezTo>
                  <a:pt x="30" y="31"/>
                  <a:pt x="30" y="31"/>
                  <a:pt x="30" y="31"/>
                </a:cubicBezTo>
                <a:cubicBezTo>
                  <a:pt x="30" y="32"/>
                  <a:pt x="30" y="32"/>
                  <a:pt x="30" y="32"/>
                </a:cubicBezTo>
                <a:cubicBezTo>
                  <a:pt x="29" y="31"/>
                  <a:pt x="29" y="31"/>
                  <a:pt x="29" y="31"/>
                </a:cubicBezTo>
                <a:cubicBezTo>
                  <a:pt x="28" y="30"/>
                  <a:pt x="28" y="30"/>
                  <a:pt x="28" y="30"/>
                </a:cubicBezTo>
                <a:cubicBezTo>
                  <a:pt x="28" y="30"/>
                  <a:pt x="28" y="30"/>
                  <a:pt x="28" y="30"/>
                </a:cubicBezTo>
                <a:cubicBezTo>
                  <a:pt x="28" y="29"/>
                  <a:pt x="28" y="29"/>
                  <a:pt x="28" y="29"/>
                </a:cubicBezTo>
                <a:cubicBezTo>
                  <a:pt x="27" y="28"/>
                  <a:pt x="27" y="28"/>
                  <a:pt x="27" y="28"/>
                </a:cubicBezTo>
                <a:cubicBezTo>
                  <a:pt x="27" y="28"/>
                  <a:pt x="27" y="28"/>
                  <a:pt x="27" y="28"/>
                </a:cubicBezTo>
                <a:cubicBezTo>
                  <a:pt x="26" y="28"/>
                  <a:pt x="26" y="28"/>
                  <a:pt x="26" y="28"/>
                </a:cubicBezTo>
                <a:cubicBezTo>
                  <a:pt x="25" y="27"/>
                  <a:pt x="25" y="27"/>
                  <a:pt x="25" y="27"/>
                </a:cubicBezTo>
                <a:cubicBezTo>
                  <a:pt x="24" y="26"/>
                  <a:pt x="24" y="26"/>
                  <a:pt x="24" y="26"/>
                </a:cubicBezTo>
                <a:cubicBezTo>
                  <a:pt x="24" y="26"/>
                  <a:pt x="24" y="26"/>
                  <a:pt x="24" y="26"/>
                </a:cubicBezTo>
                <a:cubicBezTo>
                  <a:pt x="23" y="25"/>
                  <a:pt x="23" y="25"/>
                  <a:pt x="23" y="25"/>
                </a:cubicBezTo>
                <a:cubicBezTo>
                  <a:pt x="22" y="25"/>
                  <a:pt x="22" y="25"/>
                  <a:pt x="22" y="25"/>
                </a:cubicBezTo>
                <a:cubicBezTo>
                  <a:pt x="22" y="25"/>
                  <a:pt x="22" y="25"/>
                  <a:pt x="22" y="25"/>
                </a:cubicBezTo>
                <a:cubicBezTo>
                  <a:pt x="22" y="24"/>
                  <a:pt x="22" y="24"/>
                  <a:pt x="22" y="24"/>
                </a:cubicBezTo>
                <a:cubicBezTo>
                  <a:pt x="21" y="24"/>
                  <a:pt x="21" y="24"/>
                  <a:pt x="21" y="24"/>
                </a:cubicBezTo>
                <a:cubicBezTo>
                  <a:pt x="20" y="24"/>
                  <a:pt x="20" y="24"/>
                  <a:pt x="20" y="24"/>
                </a:cubicBezTo>
                <a:close/>
                <a:moveTo>
                  <a:pt x="22" y="43"/>
                </a:moveTo>
                <a:cubicBezTo>
                  <a:pt x="22" y="42"/>
                  <a:pt x="22" y="42"/>
                  <a:pt x="22" y="42"/>
                </a:cubicBezTo>
                <a:cubicBezTo>
                  <a:pt x="22" y="43"/>
                  <a:pt x="22" y="43"/>
                  <a:pt x="22" y="43"/>
                </a:cubicBezTo>
                <a:cubicBezTo>
                  <a:pt x="23" y="44"/>
                  <a:pt x="23" y="44"/>
                  <a:pt x="23" y="44"/>
                </a:cubicBezTo>
                <a:cubicBezTo>
                  <a:pt x="22" y="45"/>
                  <a:pt x="22" y="45"/>
                  <a:pt x="22" y="45"/>
                </a:cubicBezTo>
                <a:cubicBezTo>
                  <a:pt x="22" y="45"/>
                  <a:pt x="22" y="45"/>
                  <a:pt x="22" y="45"/>
                </a:cubicBezTo>
                <a:cubicBezTo>
                  <a:pt x="22" y="44"/>
                  <a:pt x="22" y="44"/>
                  <a:pt x="22" y="44"/>
                </a:cubicBezTo>
                <a:cubicBezTo>
                  <a:pt x="21" y="43"/>
                  <a:pt x="21" y="43"/>
                  <a:pt x="21" y="43"/>
                </a:cubicBezTo>
                <a:cubicBezTo>
                  <a:pt x="22" y="43"/>
                  <a:pt x="22" y="43"/>
                  <a:pt x="22" y="43"/>
                </a:cubicBezTo>
                <a:close/>
                <a:moveTo>
                  <a:pt x="22" y="42"/>
                </a:moveTo>
                <a:cubicBezTo>
                  <a:pt x="22" y="42"/>
                  <a:pt x="22" y="42"/>
                  <a:pt x="22" y="42"/>
                </a:cubicBezTo>
                <a:cubicBezTo>
                  <a:pt x="22" y="42"/>
                  <a:pt x="22" y="42"/>
                  <a:pt x="22" y="42"/>
                </a:cubicBez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3" name="Freeform 81">
            <a:extLst>
              <a:ext uri="{FF2B5EF4-FFF2-40B4-BE49-F238E27FC236}">
                <a16:creationId xmlns:a16="http://schemas.microsoft.com/office/drawing/2014/main" id="{EEECA377-8AC4-DACF-343B-9CF53DE9D8FF}"/>
              </a:ext>
            </a:extLst>
          </p:cNvPr>
          <p:cNvSpPr>
            <a:spLocks noEditPoints="1"/>
          </p:cNvSpPr>
          <p:nvPr userDrawn="1"/>
        </p:nvSpPr>
        <p:spPr bwMode="auto">
          <a:xfrm>
            <a:off x="15797775" y="6546139"/>
            <a:ext cx="339704" cy="288926"/>
          </a:xfrm>
          <a:custGeom>
            <a:avLst/>
            <a:gdLst>
              <a:gd name="T0" fmla="*/ 0 w 107"/>
              <a:gd name="T1" fmla="*/ 16 h 91"/>
              <a:gd name="T2" fmla="*/ 19 w 107"/>
              <a:gd name="T3" fmla="*/ 19 h 91"/>
              <a:gd name="T4" fmla="*/ 35 w 107"/>
              <a:gd name="T5" fmla="*/ 22 h 91"/>
              <a:gd name="T6" fmla="*/ 32 w 107"/>
              <a:gd name="T7" fmla="*/ 12 h 91"/>
              <a:gd name="T8" fmla="*/ 28 w 107"/>
              <a:gd name="T9" fmla="*/ 3 h 91"/>
              <a:gd name="T10" fmla="*/ 44 w 107"/>
              <a:gd name="T11" fmla="*/ 9 h 91"/>
              <a:gd name="T12" fmla="*/ 57 w 107"/>
              <a:gd name="T13" fmla="*/ 16 h 91"/>
              <a:gd name="T14" fmla="*/ 63 w 107"/>
              <a:gd name="T15" fmla="*/ 9 h 91"/>
              <a:gd name="T16" fmla="*/ 75 w 107"/>
              <a:gd name="T17" fmla="*/ 3 h 91"/>
              <a:gd name="T18" fmla="*/ 82 w 107"/>
              <a:gd name="T19" fmla="*/ 16 h 91"/>
              <a:gd name="T20" fmla="*/ 91 w 107"/>
              <a:gd name="T21" fmla="*/ 25 h 91"/>
              <a:gd name="T22" fmla="*/ 94 w 107"/>
              <a:gd name="T23" fmla="*/ 31 h 91"/>
              <a:gd name="T24" fmla="*/ 103 w 107"/>
              <a:gd name="T25" fmla="*/ 34 h 91"/>
              <a:gd name="T26" fmla="*/ 103 w 107"/>
              <a:gd name="T27" fmla="*/ 37 h 91"/>
              <a:gd name="T28" fmla="*/ 97 w 107"/>
              <a:gd name="T29" fmla="*/ 41 h 91"/>
              <a:gd name="T30" fmla="*/ 91 w 107"/>
              <a:gd name="T31" fmla="*/ 50 h 91"/>
              <a:gd name="T32" fmla="*/ 91 w 107"/>
              <a:gd name="T33" fmla="*/ 56 h 91"/>
              <a:gd name="T34" fmla="*/ 91 w 107"/>
              <a:gd name="T35" fmla="*/ 62 h 91"/>
              <a:gd name="T36" fmla="*/ 88 w 107"/>
              <a:gd name="T37" fmla="*/ 66 h 91"/>
              <a:gd name="T38" fmla="*/ 88 w 107"/>
              <a:gd name="T39" fmla="*/ 75 h 91"/>
              <a:gd name="T40" fmla="*/ 88 w 107"/>
              <a:gd name="T41" fmla="*/ 69 h 91"/>
              <a:gd name="T42" fmla="*/ 85 w 107"/>
              <a:gd name="T43" fmla="*/ 69 h 91"/>
              <a:gd name="T44" fmla="*/ 85 w 107"/>
              <a:gd name="T45" fmla="*/ 75 h 91"/>
              <a:gd name="T46" fmla="*/ 85 w 107"/>
              <a:gd name="T47" fmla="*/ 81 h 91"/>
              <a:gd name="T48" fmla="*/ 82 w 107"/>
              <a:gd name="T49" fmla="*/ 91 h 91"/>
              <a:gd name="T50" fmla="*/ 78 w 107"/>
              <a:gd name="T51" fmla="*/ 87 h 91"/>
              <a:gd name="T52" fmla="*/ 69 w 107"/>
              <a:gd name="T53" fmla="*/ 78 h 91"/>
              <a:gd name="T54" fmla="*/ 69 w 107"/>
              <a:gd name="T55" fmla="*/ 72 h 91"/>
              <a:gd name="T56" fmla="*/ 72 w 107"/>
              <a:gd name="T57" fmla="*/ 66 h 91"/>
              <a:gd name="T58" fmla="*/ 66 w 107"/>
              <a:gd name="T59" fmla="*/ 62 h 91"/>
              <a:gd name="T60" fmla="*/ 66 w 107"/>
              <a:gd name="T61" fmla="*/ 59 h 91"/>
              <a:gd name="T62" fmla="*/ 60 w 107"/>
              <a:gd name="T63" fmla="*/ 62 h 91"/>
              <a:gd name="T64" fmla="*/ 53 w 107"/>
              <a:gd name="T65" fmla="*/ 66 h 91"/>
              <a:gd name="T66" fmla="*/ 47 w 107"/>
              <a:gd name="T67" fmla="*/ 72 h 91"/>
              <a:gd name="T68" fmla="*/ 44 w 107"/>
              <a:gd name="T69" fmla="*/ 75 h 91"/>
              <a:gd name="T70" fmla="*/ 41 w 107"/>
              <a:gd name="T71" fmla="*/ 78 h 91"/>
              <a:gd name="T72" fmla="*/ 38 w 107"/>
              <a:gd name="T73" fmla="*/ 75 h 91"/>
              <a:gd name="T74" fmla="*/ 41 w 107"/>
              <a:gd name="T75" fmla="*/ 72 h 91"/>
              <a:gd name="T76" fmla="*/ 41 w 107"/>
              <a:gd name="T77" fmla="*/ 66 h 91"/>
              <a:gd name="T78" fmla="*/ 32 w 107"/>
              <a:gd name="T79" fmla="*/ 59 h 91"/>
              <a:gd name="T80" fmla="*/ 19 w 107"/>
              <a:gd name="T81" fmla="*/ 50 h 91"/>
              <a:gd name="T82" fmla="*/ 22 w 107"/>
              <a:gd name="T83" fmla="*/ 44 h 91"/>
              <a:gd name="T84" fmla="*/ 16 w 107"/>
              <a:gd name="T85" fmla="*/ 31 h 91"/>
              <a:gd name="T86" fmla="*/ 13 w 107"/>
              <a:gd name="T87" fmla="*/ 22 h 91"/>
              <a:gd name="T88" fmla="*/ 0 w 107"/>
              <a:gd name="T89" fmla="*/ 19 h 91"/>
              <a:gd name="T90" fmla="*/ 35 w 107"/>
              <a:gd name="T91" fmla="*/ 78 h 91"/>
              <a:gd name="T92" fmla="*/ 19 w 107"/>
              <a:gd name="T93" fmla="*/ 62 h 91"/>
              <a:gd name="T94" fmla="*/ 13 w 107"/>
              <a:gd name="T95" fmla="*/ 56 h 91"/>
              <a:gd name="T96" fmla="*/ 7 w 107"/>
              <a:gd name="T97" fmla="*/ 53 h 91"/>
              <a:gd name="T98" fmla="*/ 0 w 107"/>
              <a:gd name="T99" fmla="*/ 56 h 91"/>
              <a:gd name="T100" fmla="*/ 0 w 107"/>
              <a:gd name="T101" fmla="*/ 56 h 91"/>
              <a:gd name="T102" fmla="*/ 7 w 107"/>
              <a:gd name="T103" fmla="*/ 59 h 91"/>
              <a:gd name="T104" fmla="*/ 7 w 107"/>
              <a:gd name="T105" fmla="*/ 66 h 91"/>
              <a:gd name="T106" fmla="*/ 16 w 107"/>
              <a:gd name="T107" fmla="*/ 75 h 91"/>
              <a:gd name="T108" fmla="*/ 28 w 107"/>
              <a:gd name="T109" fmla="*/ 78 h 91"/>
              <a:gd name="T110" fmla="*/ 35 w 107"/>
              <a:gd name="T111" fmla="*/ 7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 h="91">
                <a:moveTo>
                  <a:pt x="0" y="19"/>
                </a:moveTo>
                <a:lnTo>
                  <a:pt x="0" y="16"/>
                </a:lnTo>
                <a:lnTo>
                  <a:pt x="10" y="12"/>
                </a:lnTo>
                <a:lnTo>
                  <a:pt x="19" y="19"/>
                </a:lnTo>
                <a:lnTo>
                  <a:pt x="28" y="19"/>
                </a:lnTo>
                <a:lnTo>
                  <a:pt x="35" y="22"/>
                </a:lnTo>
                <a:lnTo>
                  <a:pt x="35" y="16"/>
                </a:lnTo>
                <a:lnTo>
                  <a:pt x="32" y="12"/>
                </a:lnTo>
                <a:lnTo>
                  <a:pt x="28" y="9"/>
                </a:lnTo>
                <a:lnTo>
                  <a:pt x="28" y="3"/>
                </a:lnTo>
                <a:lnTo>
                  <a:pt x="35" y="3"/>
                </a:lnTo>
                <a:lnTo>
                  <a:pt x="44" y="9"/>
                </a:lnTo>
                <a:lnTo>
                  <a:pt x="47" y="16"/>
                </a:lnTo>
                <a:lnTo>
                  <a:pt x="57" y="16"/>
                </a:lnTo>
                <a:lnTo>
                  <a:pt x="57" y="12"/>
                </a:lnTo>
                <a:lnTo>
                  <a:pt x="63" y="9"/>
                </a:lnTo>
                <a:lnTo>
                  <a:pt x="69" y="0"/>
                </a:lnTo>
                <a:lnTo>
                  <a:pt x="75" y="3"/>
                </a:lnTo>
                <a:lnTo>
                  <a:pt x="82" y="12"/>
                </a:lnTo>
                <a:lnTo>
                  <a:pt x="82" y="16"/>
                </a:lnTo>
                <a:lnTo>
                  <a:pt x="82" y="22"/>
                </a:lnTo>
                <a:lnTo>
                  <a:pt x="91" y="25"/>
                </a:lnTo>
                <a:lnTo>
                  <a:pt x="91" y="28"/>
                </a:lnTo>
                <a:lnTo>
                  <a:pt x="94" y="31"/>
                </a:lnTo>
                <a:lnTo>
                  <a:pt x="100" y="31"/>
                </a:lnTo>
                <a:lnTo>
                  <a:pt x="103" y="34"/>
                </a:lnTo>
                <a:lnTo>
                  <a:pt x="107" y="37"/>
                </a:lnTo>
                <a:lnTo>
                  <a:pt x="103" y="37"/>
                </a:lnTo>
                <a:lnTo>
                  <a:pt x="103" y="41"/>
                </a:lnTo>
                <a:lnTo>
                  <a:pt x="97" y="41"/>
                </a:lnTo>
                <a:lnTo>
                  <a:pt x="91" y="44"/>
                </a:lnTo>
                <a:lnTo>
                  <a:pt x="91" y="50"/>
                </a:lnTo>
                <a:lnTo>
                  <a:pt x="91" y="53"/>
                </a:lnTo>
                <a:lnTo>
                  <a:pt x="91" y="56"/>
                </a:lnTo>
                <a:lnTo>
                  <a:pt x="91" y="59"/>
                </a:lnTo>
                <a:lnTo>
                  <a:pt x="91" y="62"/>
                </a:lnTo>
                <a:lnTo>
                  <a:pt x="91" y="66"/>
                </a:lnTo>
                <a:lnTo>
                  <a:pt x="88" y="66"/>
                </a:lnTo>
                <a:lnTo>
                  <a:pt x="88" y="72"/>
                </a:lnTo>
                <a:lnTo>
                  <a:pt x="88" y="75"/>
                </a:lnTo>
                <a:lnTo>
                  <a:pt x="88" y="75"/>
                </a:lnTo>
                <a:lnTo>
                  <a:pt x="88" y="69"/>
                </a:lnTo>
                <a:lnTo>
                  <a:pt x="85" y="66"/>
                </a:lnTo>
                <a:lnTo>
                  <a:pt x="85" y="69"/>
                </a:lnTo>
                <a:lnTo>
                  <a:pt x="82" y="72"/>
                </a:lnTo>
                <a:lnTo>
                  <a:pt x="85" y="75"/>
                </a:lnTo>
                <a:lnTo>
                  <a:pt x="85" y="78"/>
                </a:lnTo>
                <a:lnTo>
                  <a:pt x="85" y="81"/>
                </a:lnTo>
                <a:lnTo>
                  <a:pt x="85" y="87"/>
                </a:lnTo>
                <a:lnTo>
                  <a:pt x="82" y="91"/>
                </a:lnTo>
                <a:lnTo>
                  <a:pt x="78" y="87"/>
                </a:lnTo>
                <a:lnTo>
                  <a:pt x="78" y="87"/>
                </a:lnTo>
                <a:lnTo>
                  <a:pt x="75" y="84"/>
                </a:lnTo>
                <a:lnTo>
                  <a:pt x="69" y="78"/>
                </a:lnTo>
                <a:lnTo>
                  <a:pt x="75" y="72"/>
                </a:lnTo>
                <a:lnTo>
                  <a:pt x="69" y="72"/>
                </a:lnTo>
                <a:lnTo>
                  <a:pt x="69" y="69"/>
                </a:lnTo>
                <a:lnTo>
                  <a:pt x="72" y="66"/>
                </a:lnTo>
                <a:lnTo>
                  <a:pt x="69" y="62"/>
                </a:lnTo>
                <a:lnTo>
                  <a:pt x="66" y="62"/>
                </a:lnTo>
                <a:lnTo>
                  <a:pt x="66" y="59"/>
                </a:lnTo>
                <a:lnTo>
                  <a:pt x="66" y="59"/>
                </a:lnTo>
                <a:lnTo>
                  <a:pt x="63" y="59"/>
                </a:lnTo>
                <a:lnTo>
                  <a:pt x="60" y="62"/>
                </a:lnTo>
                <a:lnTo>
                  <a:pt x="57" y="62"/>
                </a:lnTo>
                <a:lnTo>
                  <a:pt x="53" y="66"/>
                </a:lnTo>
                <a:lnTo>
                  <a:pt x="53" y="66"/>
                </a:lnTo>
                <a:lnTo>
                  <a:pt x="47" y="72"/>
                </a:lnTo>
                <a:lnTo>
                  <a:pt x="47" y="72"/>
                </a:lnTo>
                <a:lnTo>
                  <a:pt x="44" y="75"/>
                </a:lnTo>
                <a:lnTo>
                  <a:pt x="44" y="75"/>
                </a:lnTo>
                <a:lnTo>
                  <a:pt x="41" y="78"/>
                </a:lnTo>
                <a:lnTo>
                  <a:pt x="38" y="75"/>
                </a:lnTo>
                <a:lnTo>
                  <a:pt x="38" y="75"/>
                </a:lnTo>
                <a:lnTo>
                  <a:pt x="38" y="72"/>
                </a:lnTo>
                <a:lnTo>
                  <a:pt x="41" y="72"/>
                </a:lnTo>
                <a:lnTo>
                  <a:pt x="38" y="66"/>
                </a:lnTo>
                <a:lnTo>
                  <a:pt x="41" y="66"/>
                </a:lnTo>
                <a:lnTo>
                  <a:pt x="38" y="59"/>
                </a:lnTo>
                <a:lnTo>
                  <a:pt x="32" y="59"/>
                </a:lnTo>
                <a:lnTo>
                  <a:pt x="22" y="56"/>
                </a:lnTo>
                <a:lnTo>
                  <a:pt x="19" y="50"/>
                </a:lnTo>
                <a:lnTo>
                  <a:pt x="22" y="47"/>
                </a:lnTo>
                <a:lnTo>
                  <a:pt x="22" y="44"/>
                </a:lnTo>
                <a:lnTo>
                  <a:pt x="16" y="34"/>
                </a:lnTo>
                <a:lnTo>
                  <a:pt x="16" y="31"/>
                </a:lnTo>
                <a:lnTo>
                  <a:pt x="16" y="28"/>
                </a:lnTo>
                <a:lnTo>
                  <a:pt x="13" y="22"/>
                </a:lnTo>
                <a:lnTo>
                  <a:pt x="3" y="22"/>
                </a:lnTo>
                <a:lnTo>
                  <a:pt x="0" y="19"/>
                </a:lnTo>
                <a:lnTo>
                  <a:pt x="0" y="19"/>
                </a:lnTo>
                <a:close/>
                <a:moveTo>
                  <a:pt x="35" y="78"/>
                </a:moveTo>
                <a:lnTo>
                  <a:pt x="25" y="62"/>
                </a:lnTo>
                <a:lnTo>
                  <a:pt x="19" y="62"/>
                </a:lnTo>
                <a:lnTo>
                  <a:pt x="16" y="56"/>
                </a:lnTo>
                <a:lnTo>
                  <a:pt x="13" y="56"/>
                </a:lnTo>
                <a:lnTo>
                  <a:pt x="13" y="59"/>
                </a:lnTo>
                <a:lnTo>
                  <a:pt x="7" y="53"/>
                </a:lnTo>
                <a:lnTo>
                  <a:pt x="3" y="56"/>
                </a:lnTo>
                <a:lnTo>
                  <a:pt x="0" y="56"/>
                </a:lnTo>
                <a:lnTo>
                  <a:pt x="0" y="56"/>
                </a:lnTo>
                <a:lnTo>
                  <a:pt x="0" y="56"/>
                </a:lnTo>
                <a:lnTo>
                  <a:pt x="3" y="59"/>
                </a:lnTo>
                <a:lnTo>
                  <a:pt x="7" y="59"/>
                </a:lnTo>
                <a:lnTo>
                  <a:pt x="10" y="62"/>
                </a:lnTo>
                <a:lnTo>
                  <a:pt x="7" y="66"/>
                </a:lnTo>
                <a:lnTo>
                  <a:pt x="16" y="72"/>
                </a:lnTo>
                <a:lnTo>
                  <a:pt x="16" y="75"/>
                </a:lnTo>
                <a:lnTo>
                  <a:pt x="22" y="78"/>
                </a:lnTo>
                <a:lnTo>
                  <a:pt x="28" y="78"/>
                </a:lnTo>
                <a:lnTo>
                  <a:pt x="32" y="81"/>
                </a:lnTo>
                <a:lnTo>
                  <a:pt x="35" y="78"/>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4" name="Freeform 82">
            <a:extLst>
              <a:ext uri="{FF2B5EF4-FFF2-40B4-BE49-F238E27FC236}">
                <a16:creationId xmlns:a16="http://schemas.microsoft.com/office/drawing/2014/main" id="{DE9BCCB0-08C2-2007-D231-67770D30D14F}"/>
              </a:ext>
            </a:extLst>
          </p:cNvPr>
          <p:cNvSpPr>
            <a:spLocks/>
          </p:cNvSpPr>
          <p:nvPr userDrawn="1"/>
        </p:nvSpPr>
        <p:spPr bwMode="auto">
          <a:xfrm>
            <a:off x="15769200" y="6723935"/>
            <a:ext cx="1279443" cy="1035050"/>
          </a:xfrm>
          <a:custGeom>
            <a:avLst/>
            <a:gdLst>
              <a:gd name="T0" fmla="*/ 19 w 403"/>
              <a:gd name="T1" fmla="*/ 6 h 326"/>
              <a:gd name="T2" fmla="*/ 37 w 403"/>
              <a:gd name="T3" fmla="*/ 22 h 326"/>
              <a:gd name="T4" fmla="*/ 50 w 403"/>
              <a:gd name="T5" fmla="*/ 22 h 326"/>
              <a:gd name="T6" fmla="*/ 62 w 403"/>
              <a:gd name="T7" fmla="*/ 10 h 326"/>
              <a:gd name="T8" fmla="*/ 75 w 403"/>
              <a:gd name="T9" fmla="*/ 3 h 326"/>
              <a:gd name="T10" fmla="*/ 78 w 403"/>
              <a:gd name="T11" fmla="*/ 13 h 326"/>
              <a:gd name="T12" fmla="*/ 87 w 403"/>
              <a:gd name="T13" fmla="*/ 31 h 326"/>
              <a:gd name="T14" fmla="*/ 97 w 403"/>
              <a:gd name="T15" fmla="*/ 38 h 326"/>
              <a:gd name="T16" fmla="*/ 103 w 403"/>
              <a:gd name="T17" fmla="*/ 53 h 326"/>
              <a:gd name="T18" fmla="*/ 125 w 403"/>
              <a:gd name="T19" fmla="*/ 57 h 326"/>
              <a:gd name="T20" fmla="*/ 153 w 403"/>
              <a:gd name="T21" fmla="*/ 72 h 326"/>
              <a:gd name="T22" fmla="*/ 200 w 403"/>
              <a:gd name="T23" fmla="*/ 69 h 326"/>
              <a:gd name="T24" fmla="*/ 209 w 403"/>
              <a:gd name="T25" fmla="*/ 50 h 326"/>
              <a:gd name="T26" fmla="*/ 234 w 403"/>
              <a:gd name="T27" fmla="*/ 35 h 326"/>
              <a:gd name="T28" fmla="*/ 253 w 403"/>
              <a:gd name="T29" fmla="*/ 31 h 326"/>
              <a:gd name="T30" fmla="*/ 284 w 403"/>
              <a:gd name="T31" fmla="*/ 44 h 326"/>
              <a:gd name="T32" fmla="*/ 303 w 403"/>
              <a:gd name="T33" fmla="*/ 53 h 326"/>
              <a:gd name="T34" fmla="*/ 334 w 403"/>
              <a:gd name="T35" fmla="*/ 75 h 326"/>
              <a:gd name="T36" fmla="*/ 337 w 403"/>
              <a:gd name="T37" fmla="*/ 94 h 326"/>
              <a:gd name="T38" fmla="*/ 337 w 403"/>
              <a:gd name="T39" fmla="*/ 107 h 326"/>
              <a:gd name="T40" fmla="*/ 331 w 403"/>
              <a:gd name="T41" fmla="*/ 122 h 326"/>
              <a:gd name="T42" fmla="*/ 341 w 403"/>
              <a:gd name="T43" fmla="*/ 135 h 326"/>
              <a:gd name="T44" fmla="*/ 341 w 403"/>
              <a:gd name="T45" fmla="*/ 169 h 326"/>
              <a:gd name="T46" fmla="*/ 362 w 403"/>
              <a:gd name="T47" fmla="*/ 194 h 326"/>
              <a:gd name="T48" fmla="*/ 362 w 403"/>
              <a:gd name="T49" fmla="*/ 241 h 326"/>
              <a:gd name="T50" fmla="*/ 384 w 403"/>
              <a:gd name="T51" fmla="*/ 254 h 326"/>
              <a:gd name="T52" fmla="*/ 391 w 403"/>
              <a:gd name="T53" fmla="*/ 272 h 326"/>
              <a:gd name="T54" fmla="*/ 400 w 403"/>
              <a:gd name="T55" fmla="*/ 291 h 326"/>
              <a:gd name="T56" fmla="*/ 375 w 403"/>
              <a:gd name="T57" fmla="*/ 297 h 326"/>
              <a:gd name="T58" fmla="*/ 375 w 403"/>
              <a:gd name="T59" fmla="*/ 322 h 326"/>
              <a:gd name="T60" fmla="*/ 356 w 403"/>
              <a:gd name="T61" fmla="*/ 319 h 326"/>
              <a:gd name="T62" fmla="*/ 347 w 403"/>
              <a:gd name="T63" fmla="*/ 319 h 326"/>
              <a:gd name="T64" fmla="*/ 319 w 403"/>
              <a:gd name="T65" fmla="*/ 316 h 326"/>
              <a:gd name="T66" fmla="*/ 297 w 403"/>
              <a:gd name="T67" fmla="*/ 313 h 326"/>
              <a:gd name="T68" fmla="*/ 281 w 403"/>
              <a:gd name="T69" fmla="*/ 297 h 326"/>
              <a:gd name="T70" fmla="*/ 272 w 403"/>
              <a:gd name="T71" fmla="*/ 282 h 326"/>
              <a:gd name="T72" fmla="*/ 253 w 403"/>
              <a:gd name="T73" fmla="*/ 282 h 326"/>
              <a:gd name="T74" fmla="*/ 222 w 403"/>
              <a:gd name="T75" fmla="*/ 288 h 326"/>
              <a:gd name="T76" fmla="*/ 203 w 403"/>
              <a:gd name="T77" fmla="*/ 282 h 326"/>
              <a:gd name="T78" fmla="*/ 191 w 403"/>
              <a:gd name="T79" fmla="*/ 272 h 326"/>
              <a:gd name="T80" fmla="*/ 169 w 403"/>
              <a:gd name="T81" fmla="*/ 266 h 326"/>
              <a:gd name="T82" fmla="*/ 153 w 403"/>
              <a:gd name="T83" fmla="*/ 244 h 326"/>
              <a:gd name="T84" fmla="*/ 153 w 403"/>
              <a:gd name="T85" fmla="*/ 241 h 326"/>
              <a:gd name="T86" fmla="*/ 137 w 403"/>
              <a:gd name="T87" fmla="*/ 216 h 326"/>
              <a:gd name="T88" fmla="*/ 125 w 403"/>
              <a:gd name="T89" fmla="*/ 216 h 326"/>
              <a:gd name="T90" fmla="*/ 116 w 403"/>
              <a:gd name="T91" fmla="*/ 213 h 326"/>
              <a:gd name="T92" fmla="*/ 112 w 403"/>
              <a:gd name="T93" fmla="*/ 219 h 326"/>
              <a:gd name="T94" fmla="*/ 103 w 403"/>
              <a:gd name="T95" fmla="*/ 213 h 326"/>
              <a:gd name="T96" fmla="*/ 91 w 403"/>
              <a:gd name="T97" fmla="*/ 188 h 326"/>
              <a:gd name="T98" fmla="*/ 81 w 403"/>
              <a:gd name="T99" fmla="*/ 163 h 326"/>
              <a:gd name="T100" fmla="*/ 53 w 403"/>
              <a:gd name="T101" fmla="*/ 153 h 326"/>
              <a:gd name="T102" fmla="*/ 50 w 403"/>
              <a:gd name="T103" fmla="*/ 141 h 326"/>
              <a:gd name="T104" fmla="*/ 44 w 403"/>
              <a:gd name="T105" fmla="*/ 132 h 326"/>
              <a:gd name="T106" fmla="*/ 47 w 403"/>
              <a:gd name="T107" fmla="*/ 113 h 326"/>
              <a:gd name="T108" fmla="*/ 50 w 403"/>
              <a:gd name="T109" fmla="*/ 97 h 326"/>
              <a:gd name="T110" fmla="*/ 53 w 403"/>
              <a:gd name="T111" fmla="*/ 91 h 326"/>
              <a:gd name="T112" fmla="*/ 31 w 403"/>
              <a:gd name="T113" fmla="*/ 85 h 326"/>
              <a:gd name="T114" fmla="*/ 22 w 403"/>
              <a:gd name="T115" fmla="*/ 69 h 326"/>
              <a:gd name="T116" fmla="*/ 16 w 403"/>
              <a:gd name="T117" fmla="*/ 57 h 326"/>
              <a:gd name="T118" fmla="*/ 9 w 403"/>
              <a:gd name="T119" fmla="*/ 35 h 326"/>
              <a:gd name="T120" fmla="*/ 3 w 403"/>
              <a:gd name="T121" fmla="*/ 13 h 326"/>
              <a:gd name="T122" fmla="*/ 9 w 403"/>
              <a:gd name="T123"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3" h="326">
                <a:moveTo>
                  <a:pt x="9" y="0"/>
                </a:moveTo>
                <a:lnTo>
                  <a:pt x="9" y="0"/>
                </a:lnTo>
                <a:lnTo>
                  <a:pt x="12" y="3"/>
                </a:lnTo>
                <a:lnTo>
                  <a:pt x="16" y="3"/>
                </a:lnTo>
                <a:lnTo>
                  <a:pt x="19" y="6"/>
                </a:lnTo>
                <a:lnTo>
                  <a:pt x="16" y="10"/>
                </a:lnTo>
                <a:lnTo>
                  <a:pt x="25" y="16"/>
                </a:lnTo>
                <a:lnTo>
                  <a:pt x="25" y="19"/>
                </a:lnTo>
                <a:lnTo>
                  <a:pt x="31" y="22"/>
                </a:lnTo>
                <a:lnTo>
                  <a:pt x="37" y="22"/>
                </a:lnTo>
                <a:lnTo>
                  <a:pt x="41" y="25"/>
                </a:lnTo>
                <a:lnTo>
                  <a:pt x="44" y="22"/>
                </a:lnTo>
                <a:lnTo>
                  <a:pt x="44" y="22"/>
                </a:lnTo>
                <a:lnTo>
                  <a:pt x="47" y="19"/>
                </a:lnTo>
                <a:lnTo>
                  <a:pt x="50" y="22"/>
                </a:lnTo>
                <a:lnTo>
                  <a:pt x="53" y="19"/>
                </a:lnTo>
                <a:lnTo>
                  <a:pt x="53" y="19"/>
                </a:lnTo>
                <a:lnTo>
                  <a:pt x="56" y="16"/>
                </a:lnTo>
                <a:lnTo>
                  <a:pt x="56" y="16"/>
                </a:lnTo>
                <a:lnTo>
                  <a:pt x="62" y="10"/>
                </a:lnTo>
                <a:lnTo>
                  <a:pt x="62" y="10"/>
                </a:lnTo>
                <a:lnTo>
                  <a:pt x="66" y="6"/>
                </a:lnTo>
                <a:lnTo>
                  <a:pt x="69" y="6"/>
                </a:lnTo>
                <a:lnTo>
                  <a:pt x="72" y="3"/>
                </a:lnTo>
                <a:lnTo>
                  <a:pt x="75" y="3"/>
                </a:lnTo>
                <a:lnTo>
                  <a:pt x="75" y="3"/>
                </a:lnTo>
                <a:lnTo>
                  <a:pt x="75" y="6"/>
                </a:lnTo>
                <a:lnTo>
                  <a:pt x="78" y="6"/>
                </a:lnTo>
                <a:lnTo>
                  <a:pt x="81" y="10"/>
                </a:lnTo>
                <a:lnTo>
                  <a:pt x="78" y="13"/>
                </a:lnTo>
                <a:lnTo>
                  <a:pt x="78" y="16"/>
                </a:lnTo>
                <a:lnTo>
                  <a:pt x="84" y="16"/>
                </a:lnTo>
                <a:lnTo>
                  <a:pt x="78" y="22"/>
                </a:lnTo>
                <a:lnTo>
                  <a:pt x="84" y="28"/>
                </a:lnTo>
                <a:lnTo>
                  <a:pt x="87" y="31"/>
                </a:lnTo>
                <a:lnTo>
                  <a:pt x="87" y="31"/>
                </a:lnTo>
                <a:lnTo>
                  <a:pt x="91" y="35"/>
                </a:lnTo>
                <a:lnTo>
                  <a:pt x="94" y="31"/>
                </a:lnTo>
                <a:lnTo>
                  <a:pt x="94" y="35"/>
                </a:lnTo>
                <a:lnTo>
                  <a:pt x="97" y="38"/>
                </a:lnTo>
                <a:lnTo>
                  <a:pt x="97" y="41"/>
                </a:lnTo>
                <a:lnTo>
                  <a:pt x="97" y="47"/>
                </a:lnTo>
                <a:lnTo>
                  <a:pt x="97" y="47"/>
                </a:lnTo>
                <a:lnTo>
                  <a:pt x="100" y="50"/>
                </a:lnTo>
                <a:lnTo>
                  <a:pt x="103" y="53"/>
                </a:lnTo>
                <a:lnTo>
                  <a:pt x="109" y="53"/>
                </a:lnTo>
                <a:lnTo>
                  <a:pt x="112" y="53"/>
                </a:lnTo>
                <a:lnTo>
                  <a:pt x="116" y="53"/>
                </a:lnTo>
                <a:lnTo>
                  <a:pt x="122" y="57"/>
                </a:lnTo>
                <a:lnTo>
                  <a:pt x="125" y="57"/>
                </a:lnTo>
                <a:lnTo>
                  <a:pt x="125" y="60"/>
                </a:lnTo>
                <a:lnTo>
                  <a:pt x="128" y="63"/>
                </a:lnTo>
                <a:lnTo>
                  <a:pt x="137" y="69"/>
                </a:lnTo>
                <a:lnTo>
                  <a:pt x="144" y="69"/>
                </a:lnTo>
                <a:lnTo>
                  <a:pt x="153" y="72"/>
                </a:lnTo>
                <a:lnTo>
                  <a:pt x="159" y="72"/>
                </a:lnTo>
                <a:lnTo>
                  <a:pt x="172" y="69"/>
                </a:lnTo>
                <a:lnTo>
                  <a:pt x="184" y="66"/>
                </a:lnTo>
                <a:lnTo>
                  <a:pt x="194" y="66"/>
                </a:lnTo>
                <a:lnTo>
                  <a:pt x="200" y="69"/>
                </a:lnTo>
                <a:lnTo>
                  <a:pt x="200" y="63"/>
                </a:lnTo>
                <a:lnTo>
                  <a:pt x="197" y="60"/>
                </a:lnTo>
                <a:lnTo>
                  <a:pt x="197" y="53"/>
                </a:lnTo>
                <a:lnTo>
                  <a:pt x="200" y="50"/>
                </a:lnTo>
                <a:lnTo>
                  <a:pt x="209" y="50"/>
                </a:lnTo>
                <a:lnTo>
                  <a:pt x="209" y="44"/>
                </a:lnTo>
                <a:lnTo>
                  <a:pt x="212" y="41"/>
                </a:lnTo>
                <a:lnTo>
                  <a:pt x="216" y="41"/>
                </a:lnTo>
                <a:lnTo>
                  <a:pt x="225" y="35"/>
                </a:lnTo>
                <a:lnTo>
                  <a:pt x="234" y="35"/>
                </a:lnTo>
                <a:lnTo>
                  <a:pt x="241" y="35"/>
                </a:lnTo>
                <a:lnTo>
                  <a:pt x="241" y="31"/>
                </a:lnTo>
                <a:lnTo>
                  <a:pt x="247" y="28"/>
                </a:lnTo>
                <a:lnTo>
                  <a:pt x="250" y="31"/>
                </a:lnTo>
                <a:lnTo>
                  <a:pt x="253" y="31"/>
                </a:lnTo>
                <a:lnTo>
                  <a:pt x="262" y="38"/>
                </a:lnTo>
                <a:lnTo>
                  <a:pt x="266" y="38"/>
                </a:lnTo>
                <a:lnTo>
                  <a:pt x="278" y="44"/>
                </a:lnTo>
                <a:lnTo>
                  <a:pt x="281" y="44"/>
                </a:lnTo>
                <a:lnTo>
                  <a:pt x="284" y="44"/>
                </a:lnTo>
                <a:lnTo>
                  <a:pt x="294" y="47"/>
                </a:lnTo>
                <a:lnTo>
                  <a:pt x="297" y="47"/>
                </a:lnTo>
                <a:lnTo>
                  <a:pt x="297" y="53"/>
                </a:lnTo>
                <a:lnTo>
                  <a:pt x="300" y="53"/>
                </a:lnTo>
                <a:lnTo>
                  <a:pt x="303" y="53"/>
                </a:lnTo>
                <a:lnTo>
                  <a:pt x="312" y="57"/>
                </a:lnTo>
                <a:lnTo>
                  <a:pt x="319" y="66"/>
                </a:lnTo>
                <a:lnTo>
                  <a:pt x="328" y="66"/>
                </a:lnTo>
                <a:lnTo>
                  <a:pt x="331" y="69"/>
                </a:lnTo>
                <a:lnTo>
                  <a:pt x="334" y="75"/>
                </a:lnTo>
                <a:lnTo>
                  <a:pt x="334" y="78"/>
                </a:lnTo>
                <a:lnTo>
                  <a:pt x="337" y="82"/>
                </a:lnTo>
                <a:lnTo>
                  <a:pt x="337" y="85"/>
                </a:lnTo>
                <a:lnTo>
                  <a:pt x="337" y="88"/>
                </a:lnTo>
                <a:lnTo>
                  <a:pt x="337" y="94"/>
                </a:lnTo>
                <a:lnTo>
                  <a:pt x="337" y="97"/>
                </a:lnTo>
                <a:lnTo>
                  <a:pt x="337" y="100"/>
                </a:lnTo>
                <a:lnTo>
                  <a:pt x="341" y="103"/>
                </a:lnTo>
                <a:lnTo>
                  <a:pt x="337" y="103"/>
                </a:lnTo>
                <a:lnTo>
                  <a:pt x="337" y="107"/>
                </a:lnTo>
                <a:lnTo>
                  <a:pt x="334" y="110"/>
                </a:lnTo>
                <a:lnTo>
                  <a:pt x="328" y="113"/>
                </a:lnTo>
                <a:lnTo>
                  <a:pt x="331" y="113"/>
                </a:lnTo>
                <a:lnTo>
                  <a:pt x="334" y="116"/>
                </a:lnTo>
                <a:lnTo>
                  <a:pt x="331" y="122"/>
                </a:lnTo>
                <a:lnTo>
                  <a:pt x="331" y="122"/>
                </a:lnTo>
                <a:lnTo>
                  <a:pt x="331" y="128"/>
                </a:lnTo>
                <a:lnTo>
                  <a:pt x="331" y="135"/>
                </a:lnTo>
                <a:lnTo>
                  <a:pt x="341" y="135"/>
                </a:lnTo>
                <a:lnTo>
                  <a:pt x="341" y="135"/>
                </a:lnTo>
                <a:lnTo>
                  <a:pt x="334" y="144"/>
                </a:lnTo>
                <a:lnTo>
                  <a:pt x="334" y="147"/>
                </a:lnTo>
                <a:lnTo>
                  <a:pt x="341" y="157"/>
                </a:lnTo>
                <a:lnTo>
                  <a:pt x="341" y="166"/>
                </a:lnTo>
                <a:lnTo>
                  <a:pt x="341" y="169"/>
                </a:lnTo>
                <a:lnTo>
                  <a:pt x="344" y="172"/>
                </a:lnTo>
                <a:lnTo>
                  <a:pt x="344" y="182"/>
                </a:lnTo>
                <a:lnTo>
                  <a:pt x="359" y="182"/>
                </a:lnTo>
                <a:lnTo>
                  <a:pt x="362" y="188"/>
                </a:lnTo>
                <a:lnTo>
                  <a:pt x="362" y="194"/>
                </a:lnTo>
                <a:lnTo>
                  <a:pt x="366" y="200"/>
                </a:lnTo>
                <a:lnTo>
                  <a:pt x="362" y="204"/>
                </a:lnTo>
                <a:lnTo>
                  <a:pt x="350" y="222"/>
                </a:lnTo>
                <a:lnTo>
                  <a:pt x="359" y="238"/>
                </a:lnTo>
                <a:lnTo>
                  <a:pt x="362" y="241"/>
                </a:lnTo>
                <a:lnTo>
                  <a:pt x="366" y="247"/>
                </a:lnTo>
                <a:lnTo>
                  <a:pt x="372" y="250"/>
                </a:lnTo>
                <a:lnTo>
                  <a:pt x="372" y="250"/>
                </a:lnTo>
                <a:lnTo>
                  <a:pt x="378" y="250"/>
                </a:lnTo>
                <a:lnTo>
                  <a:pt x="384" y="254"/>
                </a:lnTo>
                <a:lnTo>
                  <a:pt x="384" y="257"/>
                </a:lnTo>
                <a:lnTo>
                  <a:pt x="387" y="257"/>
                </a:lnTo>
                <a:lnTo>
                  <a:pt x="387" y="263"/>
                </a:lnTo>
                <a:lnTo>
                  <a:pt x="391" y="266"/>
                </a:lnTo>
                <a:lnTo>
                  <a:pt x="391" y="272"/>
                </a:lnTo>
                <a:lnTo>
                  <a:pt x="391" y="275"/>
                </a:lnTo>
                <a:lnTo>
                  <a:pt x="397" y="275"/>
                </a:lnTo>
                <a:lnTo>
                  <a:pt x="403" y="279"/>
                </a:lnTo>
                <a:lnTo>
                  <a:pt x="403" y="288"/>
                </a:lnTo>
                <a:lnTo>
                  <a:pt x="400" y="291"/>
                </a:lnTo>
                <a:lnTo>
                  <a:pt x="394" y="288"/>
                </a:lnTo>
                <a:lnTo>
                  <a:pt x="384" y="291"/>
                </a:lnTo>
                <a:lnTo>
                  <a:pt x="384" y="291"/>
                </a:lnTo>
                <a:lnTo>
                  <a:pt x="378" y="294"/>
                </a:lnTo>
                <a:lnTo>
                  <a:pt x="375" y="297"/>
                </a:lnTo>
                <a:lnTo>
                  <a:pt x="375" y="304"/>
                </a:lnTo>
                <a:lnTo>
                  <a:pt x="372" y="307"/>
                </a:lnTo>
                <a:lnTo>
                  <a:pt x="375" y="310"/>
                </a:lnTo>
                <a:lnTo>
                  <a:pt x="375" y="319"/>
                </a:lnTo>
                <a:lnTo>
                  <a:pt x="375" y="322"/>
                </a:lnTo>
                <a:lnTo>
                  <a:pt x="372" y="322"/>
                </a:lnTo>
                <a:lnTo>
                  <a:pt x="372" y="322"/>
                </a:lnTo>
                <a:lnTo>
                  <a:pt x="369" y="326"/>
                </a:lnTo>
                <a:lnTo>
                  <a:pt x="362" y="322"/>
                </a:lnTo>
                <a:lnTo>
                  <a:pt x="356" y="319"/>
                </a:lnTo>
                <a:lnTo>
                  <a:pt x="356" y="316"/>
                </a:lnTo>
                <a:lnTo>
                  <a:pt x="353" y="316"/>
                </a:lnTo>
                <a:lnTo>
                  <a:pt x="353" y="319"/>
                </a:lnTo>
                <a:lnTo>
                  <a:pt x="350" y="322"/>
                </a:lnTo>
                <a:lnTo>
                  <a:pt x="347" y="319"/>
                </a:lnTo>
                <a:lnTo>
                  <a:pt x="347" y="319"/>
                </a:lnTo>
                <a:lnTo>
                  <a:pt x="344" y="319"/>
                </a:lnTo>
                <a:lnTo>
                  <a:pt x="334" y="316"/>
                </a:lnTo>
                <a:lnTo>
                  <a:pt x="328" y="316"/>
                </a:lnTo>
                <a:lnTo>
                  <a:pt x="319" y="316"/>
                </a:lnTo>
                <a:lnTo>
                  <a:pt x="312" y="310"/>
                </a:lnTo>
                <a:lnTo>
                  <a:pt x="309" y="310"/>
                </a:lnTo>
                <a:lnTo>
                  <a:pt x="306" y="316"/>
                </a:lnTo>
                <a:lnTo>
                  <a:pt x="303" y="313"/>
                </a:lnTo>
                <a:lnTo>
                  <a:pt x="297" y="313"/>
                </a:lnTo>
                <a:lnTo>
                  <a:pt x="287" y="313"/>
                </a:lnTo>
                <a:lnTo>
                  <a:pt x="287" y="310"/>
                </a:lnTo>
                <a:lnTo>
                  <a:pt x="284" y="310"/>
                </a:lnTo>
                <a:lnTo>
                  <a:pt x="284" y="304"/>
                </a:lnTo>
                <a:lnTo>
                  <a:pt x="281" y="297"/>
                </a:lnTo>
                <a:lnTo>
                  <a:pt x="278" y="288"/>
                </a:lnTo>
                <a:lnTo>
                  <a:pt x="275" y="285"/>
                </a:lnTo>
                <a:lnTo>
                  <a:pt x="275" y="282"/>
                </a:lnTo>
                <a:lnTo>
                  <a:pt x="272" y="282"/>
                </a:lnTo>
                <a:lnTo>
                  <a:pt x="272" y="282"/>
                </a:lnTo>
                <a:lnTo>
                  <a:pt x="266" y="279"/>
                </a:lnTo>
                <a:lnTo>
                  <a:pt x="262" y="282"/>
                </a:lnTo>
                <a:lnTo>
                  <a:pt x="256" y="285"/>
                </a:lnTo>
                <a:lnTo>
                  <a:pt x="253" y="285"/>
                </a:lnTo>
                <a:lnTo>
                  <a:pt x="253" y="282"/>
                </a:lnTo>
                <a:lnTo>
                  <a:pt x="253" y="285"/>
                </a:lnTo>
                <a:lnTo>
                  <a:pt x="244" y="291"/>
                </a:lnTo>
                <a:lnTo>
                  <a:pt x="237" y="297"/>
                </a:lnTo>
                <a:lnTo>
                  <a:pt x="228" y="291"/>
                </a:lnTo>
                <a:lnTo>
                  <a:pt x="222" y="288"/>
                </a:lnTo>
                <a:lnTo>
                  <a:pt x="219" y="291"/>
                </a:lnTo>
                <a:lnTo>
                  <a:pt x="216" y="291"/>
                </a:lnTo>
                <a:lnTo>
                  <a:pt x="209" y="285"/>
                </a:lnTo>
                <a:lnTo>
                  <a:pt x="206" y="285"/>
                </a:lnTo>
                <a:lnTo>
                  <a:pt x="203" y="282"/>
                </a:lnTo>
                <a:lnTo>
                  <a:pt x="200" y="282"/>
                </a:lnTo>
                <a:lnTo>
                  <a:pt x="194" y="275"/>
                </a:lnTo>
                <a:lnTo>
                  <a:pt x="194" y="272"/>
                </a:lnTo>
                <a:lnTo>
                  <a:pt x="194" y="272"/>
                </a:lnTo>
                <a:lnTo>
                  <a:pt x="191" y="272"/>
                </a:lnTo>
                <a:lnTo>
                  <a:pt x="191" y="269"/>
                </a:lnTo>
                <a:lnTo>
                  <a:pt x="184" y="269"/>
                </a:lnTo>
                <a:lnTo>
                  <a:pt x="181" y="266"/>
                </a:lnTo>
                <a:lnTo>
                  <a:pt x="175" y="266"/>
                </a:lnTo>
                <a:lnTo>
                  <a:pt x="169" y="266"/>
                </a:lnTo>
                <a:lnTo>
                  <a:pt x="166" y="263"/>
                </a:lnTo>
                <a:lnTo>
                  <a:pt x="159" y="250"/>
                </a:lnTo>
                <a:lnTo>
                  <a:pt x="159" y="247"/>
                </a:lnTo>
                <a:lnTo>
                  <a:pt x="156" y="247"/>
                </a:lnTo>
                <a:lnTo>
                  <a:pt x="153" y="244"/>
                </a:lnTo>
                <a:lnTo>
                  <a:pt x="153" y="244"/>
                </a:lnTo>
                <a:lnTo>
                  <a:pt x="156" y="244"/>
                </a:lnTo>
                <a:lnTo>
                  <a:pt x="156" y="244"/>
                </a:lnTo>
                <a:lnTo>
                  <a:pt x="156" y="241"/>
                </a:lnTo>
                <a:lnTo>
                  <a:pt x="153" y="241"/>
                </a:lnTo>
                <a:lnTo>
                  <a:pt x="150" y="241"/>
                </a:lnTo>
                <a:lnTo>
                  <a:pt x="150" y="235"/>
                </a:lnTo>
                <a:lnTo>
                  <a:pt x="144" y="225"/>
                </a:lnTo>
                <a:lnTo>
                  <a:pt x="141" y="222"/>
                </a:lnTo>
                <a:lnTo>
                  <a:pt x="137" y="216"/>
                </a:lnTo>
                <a:lnTo>
                  <a:pt x="134" y="216"/>
                </a:lnTo>
                <a:lnTo>
                  <a:pt x="128" y="219"/>
                </a:lnTo>
                <a:lnTo>
                  <a:pt x="128" y="219"/>
                </a:lnTo>
                <a:lnTo>
                  <a:pt x="125" y="216"/>
                </a:lnTo>
                <a:lnTo>
                  <a:pt x="125" y="216"/>
                </a:lnTo>
                <a:lnTo>
                  <a:pt x="119" y="216"/>
                </a:lnTo>
                <a:lnTo>
                  <a:pt x="119" y="213"/>
                </a:lnTo>
                <a:lnTo>
                  <a:pt x="122" y="210"/>
                </a:lnTo>
                <a:lnTo>
                  <a:pt x="119" y="213"/>
                </a:lnTo>
                <a:lnTo>
                  <a:pt x="116" y="213"/>
                </a:lnTo>
                <a:lnTo>
                  <a:pt x="116" y="213"/>
                </a:lnTo>
                <a:lnTo>
                  <a:pt x="119" y="213"/>
                </a:lnTo>
                <a:lnTo>
                  <a:pt x="119" y="219"/>
                </a:lnTo>
                <a:lnTo>
                  <a:pt x="116" y="219"/>
                </a:lnTo>
                <a:lnTo>
                  <a:pt x="112" y="219"/>
                </a:lnTo>
                <a:lnTo>
                  <a:pt x="109" y="216"/>
                </a:lnTo>
                <a:lnTo>
                  <a:pt x="109" y="216"/>
                </a:lnTo>
                <a:lnTo>
                  <a:pt x="109" y="216"/>
                </a:lnTo>
                <a:lnTo>
                  <a:pt x="106" y="216"/>
                </a:lnTo>
                <a:lnTo>
                  <a:pt x="103" y="213"/>
                </a:lnTo>
                <a:lnTo>
                  <a:pt x="100" y="210"/>
                </a:lnTo>
                <a:lnTo>
                  <a:pt x="97" y="197"/>
                </a:lnTo>
                <a:lnTo>
                  <a:pt x="91" y="197"/>
                </a:lnTo>
                <a:lnTo>
                  <a:pt x="91" y="194"/>
                </a:lnTo>
                <a:lnTo>
                  <a:pt x="91" y="188"/>
                </a:lnTo>
                <a:lnTo>
                  <a:pt x="94" y="185"/>
                </a:lnTo>
                <a:lnTo>
                  <a:pt x="91" y="175"/>
                </a:lnTo>
                <a:lnTo>
                  <a:pt x="87" y="172"/>
                </a:lnTo>
                <a:lnTo>
                  <a:pt x="84" y="166"/>
                </a:lnTo>
                <a:lnTo>
                  <a:pt x="81" y="163"/>
                </a:lnTo>
                <a:lnTo>
                  <a:pt x="78" y="166"/>
                </a:lnTo>
                <a:lnTo>
                  <a:pt x="62" y="157"/>
                </a:lnTo>
                <a:lnTo>
                  <a:pt x="59" y="157"/>
                </a:lnTo>
                <a:lnTo>
                  <a:pt x="59" y="157"/>
                </a:lnTo>
                <a:lnTo>
                  <a:pt x="53" y="153"/>
                </a:lnTo>
                <a:lnTo>
                  <a:pt x="56" y="150"/>
                </a:lnTo>
                <a:lnTo>
                  <a:pt x="53" y="150"/>
                </a:lnTo>
                <a:lnTo>
                  <a:pt x="56" y="147"/>
                </a:lnTo>
                <a:lnTo>
                  <a:pt x="53" y="144"/>
                </a:lnTo>
                <a:lnTo>
                  <a:pt x="50" y="141"/>
                </a:lnTo>
                <a:lnTo>
                  <a:pt x="47" y="138"/>
                </a:lnTo>
                <a:lnTo>
                  <a:pt x="44" y="135"/>
                </a:lnTo>
                <a:lnTo>
                  <a:pt x="41" y="135"/>
                </a:lnTo>
                <a:lnTo>
                  <a:pt x="41" y="135"/>
                </a:lnTo>
                <a:lnTo>
                  <a:pt x="44" y="132"/>
                </a:lnTo>
                <a:lnTo>
                  <a:pt x="41" y="128"/>
                </a:lnTo>
                <a:lnTo>
                  <a:pt x="44" y="125"/>
                </a:lnTo>
                <a:lnTo>
                  <a:pt x="44" y="119"/>
                </a:lnTo>
                <a:lnTo>
                  <a:pt x="47" y="116"/>
                </a:lnTo>
                <a:lnTo>
                  <a:pt x="47" y="113"/>
                </a:lnTo>
                <a:lnTo>
                  <a:pt x="50" y="113"/>
                </a:lnTo>
                <a:lnTo>
                  <a:pt x="50" y="110"/>
                </a:lnTo>
                <a:lnTo>
                  <a:pt x="50" y="103"/>
                </a:lnTo>
                <a:lnTo>
                  <a:pt x="50" y="103"/>
                </a:lnTo>
                <a:lnTo>
                  <a:pt x="50" y="97"/>
                </a:lnTo>
                <a:lnTo>
                  <a:pt x="50" y="97"/>
                </a:lnTo>
                <a:lnTo>
                  <a:pt x="56" y="94"/>
                </a:lnTo>
                <a:lnTo>
                  <a:pt x="56" y="94"/>
                </a:lnTo>
                <a:lnTo>
                  <a:pt x="56" y="94"/>
                </a:lnTo>
                <a:lnTo>
                  <a:pt x="53" y="91"/>
                </a:lnTo>
                <a:lnTo>
                  <a:pt x="47" y="94"/>
                </a:lnTo>
                <a:lnTo>
                  <a:pt x="44" y="91"/>
                </a:lnTo>
                <a:lnTo>
                  <a:pt x="37" y="88"/>
                </a:lnTo>
                <a:lnTo>
                  <a:pt x="34" y="88"/>
                </a:lnTo>
                <a:lnTo>
                  <a:pt x="31" y="85"/>
                </a:lnTo>
                <a:lnTo>
                  <a:pt x="31" y="82"/>
                </a:lnTo>
                <a:lnTo>
                  <a:pt x="28" y="78"/>
                </a:lnTo>
                <a:lnTo>
                  <a:pt x="25" y="78"/>
                </a:lnTo>
                <a:lnTo>
                  <a:pt x="22" y="72"/>
                </a:lnTo>
                <a:lnTo>
                  <a:pt x="22" y="69"/>
                </a:lnTo>
                <a:lnTo>
                  <a:pt x="22" y="66"/>
                </a:lnTo>
                <a:lnTo>
                  <a:pt x="19" y="66"/>
                </a:lnTo>
                <a:lnTo>
                  <a:pt x="19" y="66"/>
                </a:lnTo>
                <a:lnTo>
                  <a:pt x="19" y="63"/>
                </a:lnTo>
                <a:lnTo>
                  <a:pt x="16" y="57"/>
                </a:lnTo>
                <a:lnTo>
                  <a:pt x="12" y="50"/>
                </a:lnTo>
                <a:lnTo>
                  <a:pt x="6" y="47"/>
                </a:lnTo>
                <a:lnTo>
                  <a:pt x="6" y="44"/>
                </a:lnTo>
                <a:lnTo>
                  <a:pt x="6" y="38"/>
                </a:lnTo>
                <a:lnTo>
                  <a:pt x="9" y="35"/>
                </a:lnTo>
                <a:lnTo>
                  <a:pt x="9" y="31"/>
                </a:lnTo>
                <a:lnTo>
                  <a:pt x="3" y="31"/>
                </a:lnTo>
                <a:lnTo>
                  <a:pt x="3" y="25"/>
                </a:lnTo>
                <a:lnTo>
                  <a:pt x="3" y="22"/>
                </a:lnTo>
                <a:lnTo>
                  <a:pt x="3" y="13"/>
                </a:lnTo>
                <a:lnTo>
                  <a:pt x="0" y="10"/>
                </a:lnTo>
                <a:lnTo>
                  <a:pt x="0" y="10"/>
                </a:lnTo>
                <a:lnTo>
                  <a:pt x="6" y="6"/>
                </a:lnTo>
                <a:lnTo>
                  <a:pt x="6" y="3"/>
                </a:lnTo>
                <a:lnTo>
                  <a:pt x="9" y="0"/>
                </a:lnTo>
                <a:lnTo>
                  <a:pt x="9" y="0"/>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5" name="Freeform 83">
            <a:extLst>
              <a:ext uri="{FF2B5EF4-FFF2-40B4-BE49-F238E27FC236}">
                <a16:creationId xmlns:a16="http://schemas.microsoft.com/office/drawing/2014/main" id="{81077EF9-181D-0F61-8857-1AEC3AF4FC7D}"/>
              </a:ext>
            </a:extLst>
          </p:cNvPr>
          <p:cNvSpPr>
            <a:spLocks/>
          </p:cNvSpPr>
          <p:nvPr userDrawn="1"/>
        </p:nvSpPr>
        <p:spPr bwMode="auto">
          <a:xfrm>
            <a:off x="15708874" y="6606465"/>
            <a:ext cx="219064" cy="187326"/>
          </a:xfrm>
          <a:custGeom>
            <a:avLst/>
            <a:gdLst>
              <a:gd name="T0" fmla="*/ 0 w 69"/>
              <a:gd name="T1" fmla="*/ 3 h 59"/>
              <a:gd name="T2" fmla="*/ 6 w 69"/>
              <a:gd name="T3" fmla="*/ 0 h 59"/>
              <a:gd name="T4" fmla="*/ 16 w 69"/>
              <a:gd name="T5" fmla="*/ 0 h 59"/>
              <a:gd name="T6" fmla="*/ 16 w 69"/>
              <a:gd name="T7" fmla="*/ 0 h 59"/>
              <a:gd name="T8" fmla="*/ 28 w 69"/>
              <a:gd name="T9" fmla="*/ 0 h 59"/>
              <a:gd name="T10" fmla="*/ 31 w 69"/>
              <a:gd name="T11" fmla="*/ 3 h 59"/>
              <a:gd name="T12" fmla="*/ 41 w 69"/>
              <a:gd name="T13" fmla="*/ 3 h 59"/>
              <a:gd name="T14" fmla="*/ 44 w 69"/>
              <a:gd name="T15" fmla="*/ 9 h 59"/>
              <a:gd name="T16" fmla="*/ 44 w 69"/>
              <a:gd name="T17" fmla="*/ 12 h 59"/>
              <a:gd name="T18" fmla="*/ 44 w 69"/>
              <a:gd name="T19" fmla="*/ 15 h 59"/>
              <a:gd name="T20" fmla="*/ 50 w 69"/>
              <a:gd name="T21" fmla="*/ 25 h 59"/>
              <a:gd name="T22" fmla="*/ 50 w 69"/>
              <a:gd name="T23" fmla="*/ 28 h 59"/>
              <a:gd name="T24" fmla="*/ 47 w 69"/>
              <a:gd name="T25" fmla="*/ 31 h 59"/>
              <a:gd name="T26" fmla="*/ 50 w 69"/>
              <a:gd name="T27" fmla="*/ 37 h 59"/>
              <a:gd name="T28" fmla="*/ 60 w 69"/>
              <a:gd name="T29" fmla="*/ 40 h 59"/>
              <a:gd name="T30" fmla="*/ 66 w 69"/>
              <a:gd name="T31" fmla="*/ 40 h 59"/>
              <a:gd name="T32" fmla="*/ 69 w 69"/>
              <a:gd name="T33" fmla="*/ 47 h 59"/>
              <a:gd name="T34" fmla="*/ 66 w 69"/>
              <a:gd name="T35" fmla="*/ 47 h 59"/>
              <a:gd name="T36" fmla="*/ 69 w 69"/>
              <a:gd name="T37" fmla="*/ 53 h 59"/>
              <a:gd name="T38" fmla="*/ 66 w 69"/>
              <a:gd name="T39" fmla="*/ 53 h 59"/>
              <a:gd name="T40" fmla="*/ 66 w 69"/>
              <a:gd name="T41" fmla="*/ 56 h 59"/>
              <a:gd name="T42" fmla="*/ 63 w 69"/>
              <a:gd name="T43" fmla="*/ 59 h 59"/>
              <a:gd name="T44" fmla="*/ 53 w 69"/>
              <a:gd name="T45" fmla="*/ 43 h 59"/>
              <a:gd name="T46" fmla="*/ 47 w 69"/>
              <a:gd name="T47" fmla="*/ 43 h 59"/>
              <a:gd name="T48" fmla="*/ 44 w 69"/>
              <a:gd name="T49" fmla="*/ 37 h 59"/>
              <a:gd name="T50" fmla="*/ 41 w 69"/>
              <a:gd name="T51" fmla="*/ 37 h 59"/>
              <a:gd name="T52" fmla="*/ 41 w 69"/>
              <a:gd name="T53" fmla="*/ 40 h 59"/>
              <a:gd name="T54" fmla="*/ 35 w 69"/>
              <a:gd name="T55" fmla="*/ 34 h 59"/>
              <a:gd name="T56" fmla="*/ 31 w 69"/>
              <a:gd name="T57" fmla="*/ 37 h 59"/>
              <a:gd name="T58" fmla="*/ 28 w 69"/>
              <a:gd name="T59" fmla="*/ 37 h 59"/>
              <a:gd name="T60" fmla="*/ 25 w 69"/>
              <a:gd name="T61" fmla="*/ 34 h 59"/>
              <a:gd name="T62" fmla="*/ 22 w 69"/>
              <a:gd name="T63" fmla="*/ 31 h 59"/>
              <a:gd name="T64" fmla="*/ 19 w 69"/>
              <a:gd name="T65" fmla="*/ 31 h 59"/>
              <a:gd name="T66" fmla="*/ 13 w 69"/>
              <a:gd name="T67" fmla="*/ 31 h 59"/>
              <a:gd name="T68" fmla="*/ 6 w 69"/>
              <a:gd name="T69" fmla="*/ 28 h 59"/>
              <a:gd name="T70" fmla="*/ 6 w 69"/>
              <a:gd name="T71" fmla="*/ 18 h 59"/>
              <a:gd name="T72" fmla="*/ 10 w 69"/>
              <a:gd name="T73" fmla="*/ 12 h 59"/>
              <a:gd name="T74" fmla="*/ 6 w 69"/>
              <a:gd name="T75" fmla="*/ 9 h 59"/>
              <a:gd name="T76" fmla="*/ 3 w 69"/>
              <a:gd name="T77" fmla="*/ 9 h 59"/>
              <a:gd name="T78" fmla="*/ 3 w 69"/>
              <a:gd name="T79" fmla="*/ 6 h 59"/>
              <a:gd name="T80" fmla="*/ 0 w 69"/>
              <a:gd name="T81"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9" h="59">
                <a:moveTo>
                  <a:pt x="0" y="3"/>
                </a:moveTo>
                <a:lnTo>
                  <a:pt x="6" y="0"/>
                </a:lnTo>
                <a:lnTo>
                  <a:pt x="16" y="0"/>
                </a:lnTo>
                <a:lnTo>
                  <a:pt x="16" y="0"/>
                </a:lnTo>
                <a:lnTo>
                  <a:pt x="28" y="0"/>
                </a:lnTo>
                <a:lnTo>
                  <a:pt x="31" y="3"/>
                </a:lnTo>
                <a:lnTo>
                  <a:pt x="41" y="3"/>
                </a:lnTo>
                <a:lnTo>
                  <a:pt x="44" y="9"/>
                </a:lnTo>
                <a:lnTo>
                  <a:pt x="44" y="12"/>
                </a:lnTo>
                <a:lnTo>
                  <a:pt x="44" y="15"/>
                </a:lnTo>
                <a:lnTo>
                  <a:pt x="50" y="25"/>
                </a:lnTo>
                <a:lnTo>
                  <a:pt x="50" y="28"/>
                </a:lnTo>
                <a:lnTo>
                  <a:pt x="47" y="31"/>
                </a:lnTo>
                <a:lnTo>
                  <a:pt x="50" y="37"/>
                </a:lnTo>
                <a:lnTo>
                  <a:pt x="60" y="40"/>
                </a:lnTo>
                <a:lnTo>
                  <a:pt x="66" y="40"/>
                </a:lnTo>
                <a:lnTo>
                  <a:pt x="69" y="47"/>
                </a:lnTo>
                <a:lnTo>
                  <a:pt x="66" y="47"/>
                </a:lnTo>
                <a:lnTo>
                  <a:pt x="69" y="53"/>
                </a:lnTo>
                <a:lnTo>
                  <a:pt x="66" y="53"/>
                </a:lnTo>
                <a:lnTo>
                  <a:pt x="66" y="56"/>
                </a:lnTo>
                <a:lnTo>
                  <a:pt x="63" y="59"/>
                </a:lnTo>
                <a:lnTo>
                  <a:pt x="53" y="43"/>
                </a:lnTo>
                <a:lnTo>
                  <a:pt x="47" y="43"/>
                </a:lnTo>
                <a:lnTo>
                  <a:pt x="44" y="37"/>
                </a:lnTo>
                <a:lnTo>
                  <a:pt x="41" y="37"/>
                </a:lnTo>
                <a:lnTo>
                  <a:pt x="41" y="40"/>
                </a:lnTo>
                <a:lnTo>
                  <a:pt x="35" y="34"/>
                </a:lnTo>
                <a:lnTo>
                  <a:pt x="31" y="37"/>
                </a:lnTo>
                <a:lnTo>
                  <a:pt x="28" y="37"/>
                </a:lnTo>
                <a:lnTo>
                  <a:pt x="25" y="34"/>
                </a:lnTo>
                <a:lnTo>
                  <a:pt x="22" y="31"/>
                </a:lnTo>
                <a:lnTo>
                  <a:pt x="19" y="31"/>
                </a:lnTo>
                <a:lnTo>
                  <a:pt x="13" y="31"/>
                </a:lnTo>
                <a:lnTo>
                  <a:pt x="6" y="28"/>
                </a:lnTo>
                <a:lnTo>
                  <a:pt x="6" y="18"/>
                </a:lnTo>
                <a:lnTo>
                  <a:pt x="10" y="12"/>
                </a:lnTo>
                <a:lnTo>
                  <a:pt x="6" y="9"/>
                </a:lnTo>
                <a:lnTo>
                  <a:pt x="3" y="9"/>
                </a:lnTo>
                <a:lnTo>
                  <a:pt x="3" y="6"/>
                </a:lnTo>
                <a:lnTo>
                  <a:pt x="0" y="3"/>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6" name="Freeform 84">
            <a:extLst>
              <a:ext uri="{FF2B5EF4-FFF2-40B4-BE49-F238E27FC236}">
                <a16:creationId xmlns:a16="http://schemas.microsoft.com/office/drawing/2014/main" id="{C6E24D87-74E0-8C03-D90B-BF66EDB66FAB}"/>
              </a:ext>
            </a:extLst>
          </p:cNvPr>
          <p:cNvSpPr>
            <a:spLocks noEditPoints="1"/>
          </p:cNvSpPr>
          <p:nvPr userDrawn="1"/>
        </p:nvSpPr>
        <p:spPr bwMode="auto">
          <a:xfrm>
            <a:off x="14667549" y="6555663"/>
            <a:ext cx="1161974" cy="466726"/>
          </a:xfrm>
          <a:custGeom>
            <a:avLst/>
            <a:gdLst>
              <a:gd name="T0" fmla="*/ 19 w 366"/>
              <a:gd name="T1" fmla="*/ 16 h 147"/>
              <a:gd name="T2" fmla="*/ 28 w 366"/>
              <a:gd name="T3" fmla="*/ 0 h 147"/>
              <a:gd name="T4" fmla="*/ 53 w 366"/>
              <a:gd name="T5" fmla="*/ 16 h 147"/>
              <a:gd name="T6" fmla="*/ 50 w 366"/>
              <a:gd name="T7" fmla="*/ 28 h 147"/>
              <a:gd name="T8" fmla="*/ 22 w 366"/>
              <a:gd name="T9" fmla="*/ 41 h 147"/>
              <a:gd name="T10" fmla="*/ 16 w 366"/>
              <a:gd name="T11" fmla="*/ 38 h 147"/>
              <a:gd name="T12" fmla="*/ 6 w 366"/>
              <a:gd name="T13" fmla="*/ 31 h 147"/>
              <a:gd name="T14" fmla="*/ 278 w 366"/>
              <a:gd name="T15" fmla="*/ 25 h 147"/>
              <a:gd name="T16" fmla="*/ 256 w 366"/>
              <a:gd name="T17" fmla="*/ 22 h 147"/>
              <a:gd name="T18" fmla="*/ 222 w 366"/>
              <a:gd name="T19" fmla="*/ 25 h 147"/>
              <a:gd name="T20" fmla="*/ 197 w 366"/>
              <a:gd name="T21" fmla="*/ 19 h 147"/>
              <a:gd name="T22" fmla="*/ 181 w 366"/>
              <a:gd name="T23" fmla="*/ 9 h 147"/>
              <a:gd name="T24" fmla="*/ 159 w 366"/>
              <a:gd name="T25" fmla="*/ 3 h 147"/>
              <a:gd name="T26" fmla="*/ 125 w 366"/>
              <a:gd name="T27" fmla="*/ 6 h 147"/>
              <a:gd name="T28" fmla="*/ 106 w 366"/>
              <a:gd name="T29" fmla="*/ 22 h 147"/>
              <a:gd name="T30" fmla="*/ 81 w 366"/>
              <a:gd name="T31" fmla="*/ 22 h 147"/>
              <a:gd name="T32" fmla="*/ 66 w 366"/>
              <a:gd name="T33" fmla="*/ 34 h 147"/>
              <a:gd name="T34" fmla="*/ 56 w 366"/>
              <a:gd name="T35" fmla="*/ 41 h 147"/>
              <a:gd name="T36" fmla="*/ 47 w 366"/>
              <a:gd name="T37" fmla="*/ 44 h 147"/>
              <a:gd name="T38" fmla="*/ 28 w 366"/>
              <a:gd name="T39" fmla="*/ 44 h 147"/>
              <a:gd name="T40" fmla="*/ 12 w 366"/>
              <a:gd name="T41" fmla="*/ 63 h 147"/>
              <a:gd name="T42" fmla="*/ 28 w 366"/>
              <a:gd name="T43" fmla="*/ 66 h 147"/>
              <a:gd name="T44" fmla="*/ 25 w 366"/>
              <a:gd name="T45" fmla="*/ 81 h 147"/>
              <a:gd name="T46" fmla="*/ 28 w 366"/>
              <a:gd name="T47" fmla="*/ 88 h 147"/>
              <a:gd name="T48" fmla="*/ 16 w 366"/>
              <a:gd name="T49" fmla="*/ 91 h 147"/>
              <a:gd name="T50" fmla="*/ 25 w 366"/>
              <a:gd name="T51" fmla="*/ 100 h 147"/>
              <a:gd name="T52" fmla="*/ 34 w 366"/>
              <a:gd name="T53" fmla="*/ 116 h 147"/>
              <a:gd name="T54" fmla="*/ 37 w 366"/>
              <a:gd name="T55" fmla="*/ 125 h 147"/>
              <a:gd name="T56" fmla="*/ 37 w 366"/>
              <a:gd name="T57" fmla="*/ 131 h 147"/>
              <a:gd name="T58" fmla="*/ 50 w 366"/>
              <a:gd name="T59" fmla="*/ 135 h 147"/>
              <a:gd name="T60" fmla="*/ 62 w 366"/>
              <a:gd name="T61" fmla="*/ 131 h 147"/>
              <a:gd name="T62" fmla="*/ 72 w 366"/>
              <a:gd name="T63" fmla="*/ 138 h 147"/>
              <a:gd name="T64" fmla="*/ 87 w 366"/>
              <a:gd name="T65" fmla="*/ 141 h 147"/>
              <a:gd name="T66" fmla="*/ 100 w 366"/>
              <a:gd name="T67" fmla="*/ 131 h 147"/>
              <a:gd name="T68" fmla="*/ 134 w 366"/>
              <a:gd name="T69" fmla="*/ 141 h 147"/>
              <a:gd name="T70" fmla="*/ 169 w 366"/>
              <a:gd name="T71" fmla="*/ 141 h 147"/>
              <a:gd name="T72" fmla="*/ 197 w 366"/>
              <a:gd name="T73" fmla="*/ 131 h 147"/>
              <a:gd name="T74" fmla="*/ 200 w 366"/>
              <a:gd name="T75" fmla="*/ 138 h 147"/>
              <a:gd name="T76" fmla="*/ 216 w 366"/>
              <a:gd name="T77" fmla="*/ 144 h 147"/>
              <a:gd name="T78" fmla="*/ 228 w 366"/>
              <a:gd name="T79" fmla="*/ 131 h 147"/>
              <a:gd name="T80" fmla="*/ 256 w 366"/>
              <a:gd name="T81" fmla="*/ 125 h 147"/>
              <a:gd name="T82" fmla="*/ 288 w 366"/>
              <a:gd name="T83" fmla="*/ 119 h 147"/>
              <a:gd name="T84" fmla="*/ 322 w 366"/>
              <a:gd name="T85" fmla="*/ 119 h 147"/>
              <a:gd name="T86" fmla="*/ 353 w 366"/>
              <a:gd name="T87" fmla="*/ 113 h 147"/>
              <a:gd name="T88" fmla="*/ 363 w 366"/>
              <a:gd name="T89" fmla="*/ 110 h 147"/>
              <a:gd name="T90" fmla="*/ 356 w 366"/>
              <a:gd name="T91" fmla="*/ 84 h 147"/>
              <a:gd name="T92" fmla="*/ 347 w 366"/>
              <a:gd name="T93" fmla="*/ 63 h 147"/>
              <a:gd name="T94" fmla="*/ 347 w 366"/>
              <a:gd name="T95" fmla="*/ 47 h 147"/>
              <a:gd name="T96" fmla="*/ 331 w 366"/>
              <a:gd name="T97" fmla="*/ 25 h 147"/>
              <a:gd name="T98" fmla="*/ 309 w 366"/>
              <a:gd name="T99" fmla="*/ 13 h 147"/>
              <a:gd name="T100" fmla="*/ 294 w 366"/>
              <a:gd name="T101" fmla="*/ 9 h 147"/>
              <a:gd name="T102" fmla="*/ 47 w 366"/>
              <a:gd name="T103" fmla="*/ 138 h 147"/>
              <a:gd name="T104" fmla="*/ 9 w 366"/>
              <a:gd name="T105" fmla="*/ 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6" h="147">
                <a:moveTo>
                  <a:pt x="6" y="31"/>
                </a:moveTo>
                <a:lnTo>
                  <a:pt x="12" y="31"/>
                </a:lnTo>
                <a:lnTo>
                  <a:pt x="12" y="28"/>
                </a:lnTo>
                <a:lnTo>
                  <a:pt x="12" y="22"/>
                </a:lnTo>
                <a:lnTo>
                  <a:pt x="19" y="19"/>
                </a:lnTo>
                <a:lnTo>
                  <a:pt x="19" y="16"/>
                </a:lnTo>
                <a:lnTo>
                  <a:pt x="12" y="13"/>
                </a:lnTo>
                <a:lnTo>
                  <a:pt x="16" y="6"/>
                </a:lnTo>
                <a:lnTo>
                  <a:pt x="19" y="3"/>
                </a:lnTo>
                <a:lnTo>
                  <a:pt x="22" y="3"/>
                </a:lnTo>
                <a:lnTo>
                  <a:pt x="22" y="0"/>
                </a:lnTo>
                <a:lnTo>
                  <a:pt x="28" y="0"/>
                </a:lnTo>
                <a:lnTo>
                  <a:pt x="34" y="6"/>
                </a:lnTo>
                <a:lnTo>
                  <a:pt x="37" y="3"/>
                </a:lnTo>
                <a:lnTo>
                  <a:pt x="41" y="3"/>
                </a:lnTo>
                <a:lnTo>
                  <a:pt x="41" y="13"/>
                </a:lnTo>
                <a:lnTo>
                  <a:pt x="47" y="16"/>
                </a:lnTo>
                <a:lnTo>
                  <a:pt x="53" y="16"/>
                </a:lnTo>
                <a:lnTo>
                  <a:pt x="56" y="22"/>
                </a:lnTo>
                <a:lnTo>
                  <a:pt x="59" y="25"/>
                </a:lnTo>
                <a:lnTo>
                  <a:pt x="59" y="25"/>
                </a:lnTo>
                <a:lnTo>
                  <a:pt x="56" y="31"/>
                </a:lnTo>
                <a:lnTo>
                  <a:pt x="53" y="28"/>
                </a:lnTo>
                <a:lnTo>
                  <a:pt x="50" y="28"/>
                </a:lnTo>
                <a:lnTo>
                  <a:pt x="44" y="28"/>
                </a:lnTo>
                <a:lnTo>
                  <a:pt x="44" y="28"/>
                </a:lnTo>
                <a:lnTo>
                  <a:pt x="37" y="28"/>
                </a:lnTo>
                <a:lnTo>
                  <a:pt x="34" y="31"/>
                </a:lnTo>
                <a:lnTo>
                  <a:pt x="31" y="38"/>
                </a:lnTo>
                <a:lnTo>
                  <a:pt x="22" y="41"/>
                </a:lnTo>
                <a:lnTo>
                  <a:pt x="12" y="50"/>
                </a:lnTo>
                <a:lnTo>
                  <a:pt x="12" y="47"/>
                </a:lnTo>
                <a:lnTo>
                  <a:pt x="12" y="41"/>
                </a:lnTo>
                <a:lnTo>
                  <a:pt x="16" y="41"/>
                </a:lnTo>
                <a:lnTo>
                  <a:pt x="19" y="38"/>
                </a:lnTo>
                <a:lnTo>
                  <a:pt x="16" y="38"/>
                </a:lnTo>
                <a:lnTo>
                  <a:pt x="12" y="38"/>
                </a:lnTo>
                <a:lnTo>
                  <a:pt x="12" y="38"/>
                </a:lnTo>
                <a:lnTo>
                  <a:pt x="9" y="34"/>
                </a:lnTo>
                <a:lnTo>
                  <a:pt x="6" y="31"/>
                </a:lnTo>
                <a:lnTo>
                  <a:pt x="6" y="31"/>
                </a:lnTo>
                <a:lnTo>
                  <a:pt x="6" y="31"/>
                </a:lnTo>
                <a:close/>
                <a:moveTo>
                  <a:pt x="294" y="9"/>
                </a:moveTo>
                <a:lnTo>
                  <a:pt x="294" y="9"/>
                </a:lnTo>
                <a:lnTo>
                  <a:pt x="291" y="16"/>
                </a:lnTo>
                <a:lnTo>
                  <a:pt x="288" y="19"/>
                </a:lnTo>
                <a:lnTo>
                  <a:pt x="281" y="22"/>
                </a:lnTo>
                <a:lnTo>
                  <a:pt x="278" y="25"/>
                </a:lnTo>
                <a:lnTo>
                  <a:pt x="272" y="25"/>
                </a:lnTo>
                <a:lnTo>
                  <a:pt x="269" y="25"/>
                </a:lnTo>
                <a:lnTo>
                  <a:pt x="263" y="25"/>
                </a:lnTo>
                <a:lnTo>
                  <a:pt x="259" y="22"/>
                </a:lnTo>
                <a:lnTo>
                  <a:pt x="256" y="22"/>
                </a:lnTo>
                <a:lnTo>
                  <a:pt x="256" y="22"/>
                </a:lnTo>
                <a:lnTo>
                  <a:pt x="253" y="22"/>
                </a:lnTo>
                <a:lnTo>
                  <a:pt x="244" y="25"/>
                </a:lnTo>
                <a:lnTo>
                  <a:pt x="238" y="28"/>
                </a:lnTo>
                <a:lnTo>
                  <a:pt x="231" y="25"/>
                </a:lnTo>
                <a:lnTo>
                  <a:pt x="225" y="22"/>
                </a:lnTo>
                <a:lnTo>
                  <a:pt x="222" y="25"/>
                </a:lnTo>
                <a:lnTo>
                  <a:pt x="216" y="22"/>
                </a:lnTo>
                <a:lnTo>
                  <a:pt x="212" y="19"/>
                </a:lnTo>
                <a:lnTo>
                  <a:pt x="203" y="16"/>
                </a:lnTo>
                <a:lnTo>
                  <a:pt x="203" y="16"/>
                </a:lnTo>
                <a:lnTo>
                  <a:pt x="200" y="19"/>
                </a:lnTo>
                <a:lnTo>
                  <a:pt x="197" y="19"/>
                </a:lnTo>
                <a:lnTo>
                  <a:pt x="194" y="13"/>
                </a:lnTo>
                <a:lnTo>
                  <a:pt x="194" y="9"/>
                </a:lnTo>
                <a:lnTo>
                  <a:pt x="191" y="6"/>
                </a:lnTo>
                <a:lnTo>
                  <a:pt x="187" y="6"/>
                </a:lnTo>
                <a:lnTo>
                  <a:pt x="184" y="9"/>
                </a:lnTo>
                <a:lnTo>
                  <a:pt x="181" y="9"/>
                </a:lnTo>
                <a:lnTo>
                  <a:pt x="181" y="9"/>
                </a:lnTo>
                <a:lnTo>
                  <a:pt x="172" y="3"/>
                </a:lnTo>
                <a:lnTo>
                  <a:pt x="172" y="0"/>
                </a:lnTo>
                <a:lnTo>
                  <a:pt x="172" y="0"/>
                </a:lnTo>
                <a:lnTo>
                  <a:pt x="166" y="3"/>
                </a:lnTo>
                <a:lnTo>
                  <a:pt x="159" y="3"/>
                </a:lnTo>
                <a:lnTo>
                  <a:pt x="156" y="0"/>
                </a:lnTo>
                <a:lnTo>
                  <a:pt x="153" y="3"/>
                </a:lnTo>
                <a:lnTo>
                  <a:pt x="144" y="3"/>
                </a:lnTo>
                <a:lnTo>
                  <a:pt x="137" y="3"/>
                </a:lnTo>
                <a:lnTo>
                  <a:pt x="128" y="6"/>
                </a:lnTo>
                <a:lnTo>
                  <a:pt x="125" y="6"/>
                </a:lnTo>
                <a:lnTo>
                  <a:pt x="119" y="9"/>
                </a:lnTo>
                <a:lnTo>
                  <a:pt x="116" y="13"/>
                </a:lnTo>
                <a:lnTo>
                  <a:pt x="112" y="13"/>
                </a:lnTo>
                <a:lnTo>
                  <a:pt x="109" y="16"/>
                </a:lnTo>
                <a:lnTo>
                  <a:pt x="106" y="16"/>
                </a:lnTo>
                <a:lnTo>
                  <a:pt x="106" y="22"/>
                </a:lnTo>
                <a:lnTo>
                  <a:pt x="103" y="22"/>
                </a:lnTo>
                <a:lnTo>
                  <a:pt x="103" y="25"/>
                </a:lnTo>
                <a:lnTo>
                  <a:pt x="97" y="25"/>
                </a:lnTo>
                <a:lnTo>
                  <a:pt x="87" y="22"/>
                </a:lnTo>
                <a:lnTo>
                  <a:pt x="84" y="22"/>
                </a:lnTo>
                <a:lnTo>
                  <a:pt x="81" y="22"/>
                </a:lnTo>
                <a:lnTo>
                  <a:pt x="78" y="22"/>
                </a:lnTo>
                <a:lnTo>
                  <a:pt x="72" y="25"/>
                </a:lnTo>
                <a:lnTo>
                  <a:pt x="69" y="22"/>
                </a:lnTo>
                <a:lnTo>
                  <a:pt x="62" y="25"/>
                </a:lnTo>
                <a:lnTo>
                  <a:pt x="62" y="28"/>
                </a:lnTo>
                <a:lnTo>
                  <a:pt x="66" y="34"/>
                </a:lnTo>
                <a:lnTo>
                  <a:pt x="72" y="34"/>
                </a:lnTo>
                <a:lnTo>
                  <a:pt x="75" y="34"/>
                </a:lnTo>
                <a:lnTo>
                  <a:pt x="75" y="34"/>
                </a:lnTo>
                <a:lnTo>
                  <a:pt x="66" y="38"/>
                </a:lnTo>
                <a:lnTo>
                  <a:pt x="59" y="38"/>
                </a:lnTo>
                <a:lnTo>
                  <a:pt x="56" y="41"/>
                </a:lnTo>
                <a:lnTo>
                  <a:pt x="59" y="44"/>
                </a:lnTo>
                <a:lnTo>
                  <a:pt x="62" y="41"/>
                </a:lnTo>
                <a:lnTo>
                  <a:pt x="66" y="44"/>
                </a:lnTo>
                <a:lnTo>
                  <a:pt x="62" y="47"/>
                </a:lnTo>
                <a:lnTo>
                  <a:pt x="53" y="47"/>
                </a:lnTo>
                <a:lnTo>
                  <a:pt x="47" y="44"/>
                </a:lnTo>
                <a:lnTo>
                  <a:pt x="44" y="47"/>
                </a:lnTo>
                <a:lnTo>
                  <a:pt x="41" y="44"/>
                </a:lnTo>
                <a:lnTo>
                  <a:pt x="37" y="44"/>
                </a:lnTo>
                <a:lnTo>
                  <a:pt x="34" y="47"/>
                </a:lnTo>
                <a:lnTo>
                  <a:pt x="31" y="47"/>
                </a:lnTo>
                <a:lnTo>
                  <a:pt x="28" y="44"/>
                </a:lnTo>
                <a:lnTo>
                  <a:pt x="22" y="44"/>
                </a:lnTo>
                <a:lnTo>
                  <a:pt x="12" y="50"/>
                </a:lnTo>
                <a:lnTo>
                  <a:pt x="12" y="53"/>
                </a:lnTo>
                <a:lnTo>
                  <a:pt x="12" y="56"/>
                </a:lnTo>
                <a:lnTo>
                  <a:pt x="12" y="59"/>
                </a:lnTo>
                <a:lnTo>
                  <a:pt x="12" y="63"/>
                </a:lnTo>
                <a:lnTo>
                  <a:pt x="12" y="66"/>
                </a:lnTo>
                <a:lnTo>
                  <a:pt x="12" y="66"/>
                </a:lnTo>
                <a:lnTo>
                  <a:pt x="19" y="66"/>
                </a:lnTo>
                <a:lnTo>
                  <a:pt x="19" y="66"/>
                </a:lnTo>
                <a:lnTo>
                  <a:pt x="22" y="66"/>
                </a:lnTo>
                <a:lnTo>
                  <a:pt x="28" y="66"/>
                </a:lnTo>
                <a:lnTo>
                  <a:pt x="22" y="69"/>
                </a:lnTo>
                <a:lnTo>
                  <a:pt x="25" y="72"/>
                </a:lnTo>
                <a:lnTo>
                  <a:pt x="25" y="75"/>
                </a:lnTo>
                <a:lnTo>
                  <a:pt x="25" y="78"/>
                </a:lnTo>
                <a:lnTo>
                  <a:pt x="25" y="78"/>
                </a:lnTo>
                <a:lnTo>
                  <a:pt x="25" y="81"/>
                </a:lnTo>
                <a:lnTo>
                  <a:pt x="31" y="78"/>
                </a:lnTo>
                <a:lnTo>
                  <a:pt x="31" y="81"/>
                </a:lnTo>
                <a:lnTo>
                  <a:pt x="28" y="81"/>
                </a:lnTo>
                <a:lnTo>
                  <a:pt x="22" y="84"/>
                </a:lnTo>
                <a:lnTo>
                  <a:pt x="25" y="88"/>
                </a:lnTo>
                <a:lnTo>
                  <a:pt x="28" y="88"/>
                </a:lnTo>
                <a:lnTo>
                  <a:pt x="25" y="88"/>
                </a:lnTo>
                <a:lnTo>
                  <a:pt x="22" y="91"/>
                </a:lnTo>
                <a:lnTo>
                  <a:pt x="22" y="91"/>
                </a:lnTo>
                <a:lnTo>
                  <a:pt x="19" y="88"/>
                </a:lnTo>
                <a:lnTo>
                  <a:pt x="19" y="88"/>
                </a:lnTo>
                <a:lnTo>
                  <a:pt x="16" y="91"/>
                </a:lnTo>
                <a:lnTo>
                  <a:pt x="19" y="94"/>
                </a:lnTo>
                <a:lnTo>
                  <a:pt x="16" y="94"/>
                </a:lnTo>
                <a:lnTo>
                  <a:pt x="16" y="97"/>
                </a:lnTo>
                <a:lnTo>
                  <a:pt x="19" y="100"/>
                </a:lnTo>
                <a:lnTo>
                  <a:pt x="22" y="97"/>
                </a:lnTo>
                <a:lnTo>
                  <a:pt x="25" y="100"/>
                </a:lnTo>
                <a:lnTo>
                  <a:pt x="28" y="100"/>
                </a:lnTo>
                <a:lnTo>
                  <a:pt x="31" y="103"/>
                </a:lnTo>
                <a:lnTo>
                  <a:pt x="34" y="110"/>
                </a:lnTo>
                <a:lnTo>
                  <a:pt x="31" y="113"/>
                </a:lnTo>
                <a:lnTo>
                  <a:pt x="34" y="113"/>
                </a:lnTo>
                <a:lnTo>
                  <a:pt x="34" y="116"/>
                </a:lnTo>
                <a:lnTo>
                  <a:pt x="34" y="116"/>
                </a:lnTo>
                <a:lnTo>
                  <a:pt x="41" y="122"/>
                </a:lnTo>
                <a:lnTo>
                  <a:pt x="37" y="125"/>
                </a:lnTo>
                <a:lnTo>
                  <a:pt x="34" y="122"/>
                </a:lnTo>
                <a:lnTo>
                  <a:pt x="34" y="125"/>
                </a:lnTo>
                <a:lnTo>
                  <a:pt x="37" y="125"/>
                </a:lnTo>
                <a:lnTo>
                  <a:pt x="44" y="125"/>
                </a:lnTo>
                <a:lnTo>
                  <a:pt x="50" y="125"/>
                </a:lnTo>
                <a:lnTo>
                  <a:pt x="50" y="125"/>
                </a:lnTo>
                <a:lnTo>
                  <a:pt x="50" y="128"/>
                </a:lnTo>
                <a:lnTo>
                  <a:pt x="44" y="131"/>
                </a:lnTo>
                <a:lnTo>
                  <a:pt x="37" y="131"/>
                </a:lnTo>
                <a:lnTo>
                  <a:pt x="37" y="131"/>
                </a:lnTo>
                <a:lnTo>
                  <a:pt x="41" y="135"/>
                </a:lnTo>
                <a:lnTo>
                  <a:pt x="44" y="131"/>
                </a:lnTo>
                <a:lnTo>
                  <a:pt x="47" y="131"/>
                </a:lnTo>
                <a:lnTo>
                  <a:pt x="50" y="131"/>
                </a:lnTo>
                <a:lnTo>
                  <a:pt x="50" y="135"/>
                </a:lnTo>
                <a:lnTo>
                  <a:pt x="50" y="135"/>
                </a:lnTo>
                <a:lnTo>
                  <a:pt x="53" y="131"/>
                </a:lnTo>
                <a:lnTo>
                  <a:pt x="56" y="128"/>
                </a:lnTo>
                <a:lnTo>
                  <a:pt x="59" y="128"/>
                </a:lnTo>
                <a:lnTo>
                  <a:pt x="59" y="131"/>
                </a:lnTo>
                <a:lnTo>
                  <a:pt x="62" y="131"/>
                </a:lnTo>
                <a:lnTo>
                  <a:pt x="66" y="135"/>
                </a:lnTo>
                <a:lnTo>
                  <a:pt x="69" y="131"/>
                </a:lnTo>
                <a:lnTo>
                  <a:pt x="72" y="131"/>
                </a:lnTo>
                <a:lnTo>
                  <a:pt x="72" y="135"/>
                </a:lnTo>
                <a:lnTo>
                  <a:pt x="69" y="135"/>
                </a:lnTo>
                <a:lnTo>
                  <a:pt x="72" y="138"/>
                </a:lnTo>
                <a:lnTo>
                  <a:pt x="72" y="141"/>
                </a:lnTo>
                <a:lnTo>
                  <a:pt x="75" y="144"/>
                </a:lnTo>
                <a:lnTo>
                  <a:pt x="78" y="141"/>
                </a:lnTo>
                <a:lnTo>
                  <a:pt x="81" y="144"/>
                </a:lnTo>
                <a:lnTo>
                  <a:pt x="87" y="144"/>
                </a:lnTo>
                <a:lnTo>
                  <a:pt x="87" y="141"/>
                </a:lnTo>
                <a:lnTo>
                  <a:pt x="91" y="141"/>
                </a:lnTo>
                <a:lnTo>
                  <a:pt x="94" y="141"/>
                </a:lnTo>
                <a:lnTo>
                  <a:pt x="97" y="141"/>
                </a:lnTo>
                <a:lnTo>
                  <a:pt x="100" y="141"/>
                </a:lnTo>
                <a:lnTo>
                  <a:pt x="100" y="135"/>
                </a:lnTo>
                <a:lnTo>
                  <a:pt x="100" y="131"/>
                </a:lnTo>
                <a:lnTo>
                  <a:pt x="100" y="128"/>
                </a:lnTo>
                <a:lnTo>
                  <a:pt x="109" y="128"/>
                </a:lnTo>
                <a:lnTo>
                  <a:pt x="116" y="128"/>
                </a:lnTo>
                <a:lnTo>
                  <a:pt x="125" y="135"/>
                </a:lnTo>
                <a:lnTo>
                  <a:pt x="128" y="135"/>
                </a:lnTo>
                <a:lnTo>
                  <a:pt x="134" y="141"/>
                </a:lnTo>
                <a:lnTo>
                  <a:pt x="141" y="144"/>
                </a:lnTo>
                <a:lnTo>
                  <a:pt x="156" y="144"/>
                </a:lnTo>
                <a:lnTo>
                  <a:pt x="162" y="141"/>
                </a:lnTo>
                <a:lnTo>
                  <a:pt x="166" y="141"/>
                </a:lnTo>
                <a:lnTo>
                  <a:pt x="166" y="141"/>
                </a:lnTo>
                <a:lnTo>
                  <a:pt x="169" y="141"/>
                </a:lnTo>
                <a:lnTo>
                  <a:pt x="169" y="138"/>
                </a:lnTo>
                <a:lnTo>
                  <a:pt x="178" y="125"/>
                </a:lnTo>
                <a:lnTo>
                  <a:pt x="178" y="125"/>
                </a:lnTo>
                <a:lnTo>
                  <a:pt x="187" y="128"/>
                </a:lnTo>
                <a:lnTo>
                  <a:pt x="194" y="131"/>
                </a:lnTo>
                <a:lnTo>
                  <a:pt x="197" y="131"/>
                </a:lnTo>
                <a:lnTo>
                  <a:pt x="200" y="128"/>
                </a:lnTo>
                <a:lnTo>
                  <a:pt x="203" y="125"/>
                </a:lnTo>
                <a:lnTo>
                  <a:pt x="206" y="125"/>
                </a:lnTo>
                <a:lnTo>
                  <a:pt x="206" y="128"/>
                </a:lnTo>
                <a:lnTo>
                  <a:pt x="203" y="135"/>
                </a:lnTo>
                <a:lnTo>
                  <a:pt x="200" y="138"/>
                </a:lnTo>
                <a:lnTo>
                  <a:pt x="200" y="138"/>
                </a:lnTo>
                <a:lnTo>
                  <a:pt x="203" y="144"/>
                </a:lnTo>
                <a:lnTo>
                  <a:pt x="203" y="147"/>
                </a:lnTo>
                <a:lnTo>
                  <a:pt x="206" y="147"/>
                </a:lnTo>
                <a:lnTo>
                  <a:pt x="209" y="147"/>
                </a:lnTo>
                <a:lnTo>
                  <a:pt x="216" y="144"/>
                </a:lnTo>
                <a:lnTo>
                  <a:pt x="216" y="141"/>
                </a:lnTo>
                <a:lnTo>
                  <a:pt x="216" y="138"/>
                </a:lnTo>
                <a:lnTo>
                  <a:pt x="216" y="131"/>
                </a:lnTo>
                <a:lnTo>
                  <a:pt x="219" y="128"/>
                </a:lnTo>
                <a:lnTo>
                  <a:pt x="225" y="128"/>
                </a:lnTo>
                <a:lnTo>
                  <a:pt x="228" y="131"/>
                </a:lnTo>
                <a:lnTo>
                  <a:pt x="238" y="125"/>
                </a:lnTo>
                <a:lnTo>
                  <a:pt x="238" y="125"/>
                </a:lnTo>
                <a:lnTo>
                  <a:pt x="241" y="125"/>
                </a:lnTo>
                <a:lnTo>
                  <a:pt x="253" y="122"/>
                </a:lnTo>
                <a:lnTo>
                  <a:pt x="256" y="125"/>
                </a:lnTo>
                <a:lnTo>
                  <a:pt x="256" y="125"/>
                </a:lnTo>
                <a:lnTo>
                  <a:pt x="263" y="128"/>
                </a:lnTo>
                <a:lnTo>
                  <a:pt x="272" y="128"/>
                </a:lnTo>
                <a:lnTo>
                  <a:pt x="275" y="125"/>
                </a:lnTo>
                <a:lnTo>
                  <a:pt x="278" y="125"/>
                </a:lnTo>
                <a:lnTo>
                  <a:pt x="281" y="122"/>
                </a:lnTo>
                <a:lnTo>
                  <a:pt x="288" y="119"/>
                </a:lnTo>
                <a:lnTo>
                  <a:pt x="294" y="119"/>
                </a:lnTo>
                <a:lnTo>
                  <a:pt x="297" y="119"/>
                </a:lnTo>
                <a:lnTo>
                  <a:pt x="306" y="119"/>
                </a:lnTo>
                <a:lnTo>
                  <a:pt x="316" y="116"/>
                </a:lnTo>
                <a:lnTo>
                  <a:pt x="322" y="116"/>
                </a:lnTo>
                <a:lnTo>
                  <a:pt x="322" y="119"/>
                </a:lnTo>
                <a:lnTo>
                  <a:pt x="328" y="113"/>
                </a:lnTo>
                <a:lnTo>
                  <a:pt x="331" y="113"/>
                </a:lnTo>
                <a:lnTo>
                  <a:pt x="334" y="113"/>
                </a:lnTo>
                <a:lnTo>
                  <a:pt x="341" y="113"/>
                </a:lnTo>
                <a:lnTo>
                  <a:pt x="350" y="113"/>
                </a:lnTo>
                <a:lnTo>
                  <a:pt x="353" y="113"/>
                </a:lnTo>
                <a:lnTo>
                  <a:pt x="356" y="113"/>
                </a:lnTo>
                <a:lnTo>
                  <a:pt x="356" y="119"/>
                </a:lnTo>
                <a:lnTo>
                  <a:pt x="359" y="119"/>
                </a:lnTo>
                <a:lnTo>
                  <a:pt x="366" y="119"/>
                </a:lnTo>
                <a:lnTo>
                  <a:pt x="366" y="116"/>
                </a:lnTo>
                <a:lnTo>
                  <a:pt x="363" y="110"/>
                </a:lnTo>
                <a:lnTo>
                  <a:pt x="359" y="103"/>
                </a:lnTo>
                <a:lnTo>
                  <a:pt x="353" y="100"/>
                </a:lnTo>
                <a:lnTo>
                  <a:pt x="353" y="97"/>
                </a:lnTo>
                <a:lnTo>
                  <a:pt x="353" y="91"/>
                </a:lnTo>
                <a:lnTo>
                  <a:pt x="356" y="88"/>
                </a:lnTo>
                <a:lnTo>
                  <a:pt x="356" y="84"/>
                </a:lnTo>
                <a:lnTo>
                  <a:pt x="350" y="84"/>
                </a:lnTo>
                <a:lnTo>
                  <a:pt x="350" y="78"/>
                </a:lnTo>
                <a:lnTo>
                  <a:pt x="350" y="75"/>
                </a:lnTo>
                <a:lnTo>
                  <a:pt x="350" y="66"/>
                </a:lnTo>
                <a:lnTo>
                  <a:pt x="347" y="63"/>
                </a:lnTo>
                <a:lnTo>
                  <a:pt x="347" y="63"/>
                </a:lnTo>
                <a:lnTo>
                  <a:pt x="353" y="59"/>
                </a:lnTo>
                <a:lnTo>
                  <a:pt x="353" y="56"/>
                </a:lnTo>
                <a:lnTo>
                  <a:pt x="356" y="53"/>
                </a:lnTo>
                <a:lnTo>
                  <a:pt x="353" y="50"/>
                </a:lnTo>
                <a:lnTo>
                  <a:pt x="350" y="47"/>
                </a:lnTo>
                <a:lnTo>
                  <a:pt x="347" y="47"/>
                </a:lnTo>
                <a:lnTo>
                  <a:pt x="341" y="47"/>
                </a:lnTo>
                <a:lnTo>
                  <a:pt x="334" y="44"/>
                </a:lnTo>
                <a:lnTo>
                  <a:pt x="334" y="34"/>
                </a:lnTo>
                <a:lnTo>
                  <a:pt x="338" y="28"/>
                </a:lnTo>
                <a:lnTo>
                  <a:pt x="334" y="25"/>
                </a:lnTo>
                <a:lnTo>
                  <a:pt x="331" y="25"/>
                </a:lnTo>
                <a:lnTo>
                  <a:pt x="331" y="22"/>
                </a:lnTo>
                <a:lnTo>
                  <a:pt x="328" y="19"/>
                </a:lnTo>
                <a:lnTo>
                  <a:pt x="325" y="19"/>
                </a:lnTo>
                <a:lnTo>
                  <a:pt x="316" y="9"/>
                </a:lnTo>
                <a:lnTo>
                  <a:pt x="313" y="9"/>
                </a:lnTo>
                <a:lnTo>
                  <a:pt x="309" y="13"/>
                </a:lnTo>
                <a:lnTo>
                  <a:pt x="306" y="13"/>
                </a:lnTo>
                <a:lnTo>
                  <a:pt x="303" y="9"/>
                </a:lnTo>
                <a:lnTo>
                  <a:pt x="300" y="13"/>
                </a:lnTo>
                <a:lnTo>
                  <a:pt x="297" y="13"/>
                </a:lnTo>
                <a:lnTo>
                  <a:pt x="297" y="9"/>
                </a:lnTo>
                <a:lnTo>
                  <a:pt x="294" y="9"/>
                </a:lnTo>
                <a:lnTo>
                  <a:pt x="294" y="9"/>
                </a:lnTo>
                <a:close/>
                <a:moveTo>
                  <a:pt x="44" y="135"/>
                </a:moveTo>
                <a:lnTo>
                  <a:pt x="47" y="135"/>
                </a:lnTo>
                <a:lnTo>
                  <a:pt x="47" y="135"/>
                </a:lnTo>
                <a:lnTo>
                  <a:pt x="47" y="135"/>
                </a:lnTo>
                <a:lnTo>
                  <a:pt x="47" y="138"/>
                </a:lnTo>
                <a:lnTo>
                  <a:pt x="44" y="135"/>
                </a:lnTo>
                <a:lnTo>
                  <a:pt x="44" y="135"/>
                </a:lnTo>
                <a:close/>
                <a:moveTo>
                  <a:pt x="0" y="47"/>
                </a:moveTo>
                <a:lnTo>
                  <a:pt x="3" y="50"/>
                </a:lnTo>
                <a:lnTo>
                  <a:pt x="9" y="47"/>
                </a:lnTo>
                <a:lnTo>
                  <a:pt x="9" y="47"/>
                </a:lnTo>
                <a:lnTo>
                  <a:pt x="6" y="44"/>
                </a:lnTo>
                <a:lnTo>
                  <a:pt x="6" y="47"/>
                </a:lnTo>
                <a:lnTo>
                  <a:pt x="3" y="47"/>
                </a:lnTo>
                <a:lnTo>
                  <a:pt x="0" y="47"/>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7" name="Freeform 85">
            <a:extLst>
              <a:ext uri="{FF2B5EF4-FFF2-40B4-BE49-F238E27FC236}">
                <a16:creationId xmlns:a16="http://schemas.microsoft.com/office/drawing/2014/main" id="{22EBD02A-0AE3-DF38-08C5-A9ADFFE9D284}"/>
              </a:ext>
            </a:extLst>
          </p:cNvPr>
          <p:cNvSpPr>
            <a:spLocks/>
          </p:cNvSpPr>
          <p:nvPr userDrawn="1"/>
        </p:nvSpPr>
        <p:spPr bwMode="auto">
          <a:xfrm>
            <a:off x="15512045" y="6914433"/>
            <a:ext cx="603211" cy="574678"/>
          </a:xfrm>
          <a:custGeom>
            <a:avLst/>
            <a:gdLst>
              <a:gd name="T0" fmla="*/ 187 w 190"/>
              <a:gd name="T1" fmla="*/ 156 h 181"/>
              <a:gd name="T2" fmla="*/ 181 w 190"/>
              <a:gd name="T3" fmla="*/ 150 h 181"/>
              <a:gd name="T4" fmla="*/ 172 w 190"/>
              <a:gd name="T5" fmla="*/ 137 h 181"/>
              <a:gd name="T6" fmla="*/ 172 w 190"/>
              <a:gd name="T7" fmla="*/ 128 h 181"/>
              <a:gd name="T8" fmla="*/ 172 w 190"/>
              <a:gd name="T9" fmla="*/ 115 h 181"/>
              <a:gd name="T10" fmla="*/ 165 w 190"/>
              <a:gd name="T11" fmla="*/ 106 h 181"/>
              <a:gd name="T12" fmla="*/ 159 w 190"/>
              <a:gd name="T13" fmla="*/ 106 h 181"/>
              <a:gd name="T14" fmla="*/ 140 w 190"/>
              <a:gd name="T15" fmla="*/ 97 h 181"/>
              <a:gd name="T16" fmla="*/ 134 w 190"/>
              <a:gd name="T17" fmla="*/ 93 h 181"/>
              <a:gd name="T18" fmla="*/ 134 w 190"/>
              <a:gd name="T19" fmla="*/ 90 h 181"/>
              <a:gd name="T20" fmla="*/ 134 w 190"/>
              <a:gd name="T21" fmla="*/ 84 h 181"/>
              <a:gd name="T22" fmla="*/ 128 w 190"/>
              <a:gd name="T23" fmla="*/ 78 h 181"/>
              <a:gd name="T24" fmla="*/ 122 w 190"/>
              <a:gd name="T25" fmla="*/ 75 h 181"/>
              <a:gd name="T26" fmla="*/ 125 w 190"/>
              <a:gd name="T27" fmla="*/ 72 h 181"/>
              <a:gd name="T28" fmla="*/ 125 w 190"/>
              <a:gd name="T29" fmla="*/ 65 h 181"/>
              <a:gd name="T30" fmla="*/ 128 w 190"/>
              <a:gd name="T31" fmla="*/ 56 h 181"/>
              <a:gd name="T32" fmla="*/ 131 w 190"/>
              <a:gd name="T33" fmla="*/ 53 h 181"/>
              <a:gd name="T34" fmla="*/ 131 w 190"/>
              <a:gd name="T35" fmla="*/ 43 h 181"/>
              <a:gd name="T36" fmla="*/ 131 w 190"/>
              <a:gd name="T37" fmla="*/ 37 h 181"/>
              <a:gd name="T38" fmla="*/ 137 w 190"/>
              <a:gd name="T39" fmla="*/ 34 h 181"/>
              <a:gd name="T40" fmla="*/ 137 w 190"/>
              <a:gd name="T41" fmla="*/ 34 h 181"/>
              <a:gd name="T42" fmla="*/ 128 w 190"/>
              <a:gd name="T43" fmla="*/ 34 h 181"/>
              <a:gd name="T44" fmla="*/ 118 w 190"/>
              <a:gd name="T45" fmla="*/ 28 h 181"/>
              <a:gd name="T46" fmla="*/ 112 w 190"/>
              <a:gd name="T47" fmla="*/ 25 h 181"/>
              <a:gd name="T48" fmla="*/ 109 w 190"/>
              <a:gd name="T49" fmla="*/ 18 h 181"/>
              <a:gd name="T50" fmla="*/ 103 w 190"/>
              <a:gd name="T51" fmla="*/ 12 h 181"/>
              <a:gd name="T52" fmla="*/ 103 w 190"/>
              <a:gd name="T53" fmla="*/ 6 h 181"/>
              <a:gd name="T54" fmla="*/ 93 w 190"/>
              <a:gd name="T55" fmla="*/ 6 h 181"/>
              <a:gd name="T56" fmla="*/ 90 w 190"/>
              <a:gd name="T57" fmla="*/ 0 h 181"/>
              <a:gd name="T58" fmla="*/ 84 w 190"/>
              <a:gd name="T59" fmla="*/ 0 h 181"/>
              <a:gd name="T60" fmla="*/ 68 w 190"/>
              <a:gd name="T61" fmla="*/ 0 h 181"/>
              <a:gd name="T62" fmla="*/ 62 w 190"/>
              <a:gd name="T63" fmla="*/ 0 h 181"/>
              <a:gd name="T64" fmla="*/ 56 w 190"/>
              <a:gd name="T65" fmla="*/ 6 h 181"/>
              <a:gd name="T66" fmla="*/ 53 w 190"/>
              <a:gd name="T67" fmla="*/ 9 h 181"/>
              <a:gd name="T68" fmla="*/ 40 w 190"/>
              <a:gd name="T69" fmla="*/ 15 h 181"/>
              <a:gd name="T70" fmla="*/ 37 w 190"/>
              <a:gd name="T71" fmla="*/ 28 h 181"/>
              <a:gd name="T72" fmla="*/ 40 w 190"/>
              <a:gd name="T73" fmla="*/ 40 h 181"/>
              <a:gd name="T74" fmla="*/ 37 w 190"/>
              <a:gd name="T75" fmla="*/ 50 h 181"/>
              <a:gd name="T76" fmla="*/ 34 w 190"/>
              <a:gd name="T77" fmla="*/ 62 h 181"/>
              <a:gd name="T78" fmla="*/ 0 w 190"/>
              <a:gd name="T79" fmla="*/ 90 h 181"/>
              <a:gd name="T80" fmla="*/ 0 w 190"/>
              <a:gd name="T81" fmla="*/ 90 h 181"/>
              <a:gd name="T82" fmla="*/ 25 w 190"/>
              <a:gd name="T83" fmla="*/ 115 h 181"/>
              <a:gd name="T84" fmla="*/ 156 w 190"/>
              <a:gd name="T85" fmla="*/ 181 h 181"/>
              <a:gd name="T86" fmla="*/ 162 w 190"/>
              <a:gd name="T87" fmla="*/ 162 h 181"/>
              <a:gd name="T88" fmla="*/ 178 w 190"/>
              <a:gd name="T89" fmla="*/ 162 h 181"/>
              <a:gd name="T90" fmla="*/ 184 w 190"/>
              <a:gd name="T91" fmla="*/ 162 h 181"/>
              <a:gd name="T92" fmla="*/ 190 w 190"/>
              <a:gd name="T93" fmla="*/ 15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0" h="181">
                <a:moveTo>
                  <a:pt x="190" y="156"/>
                </a:moveTo>
                <a:lnTo>
                  <a:pt x="187" y="156"/>
                </a:lnTo>
                <a:lnTo>
                  <a:pt x="184" y="153"/>
                </a:lnTo>
                <a:lnTo>
                  <a:pt x="181" y="150"/>
                </a:lnTo>
                <a:lnTo>
                  <a:pt x="178" y="137"/>
                </a:lnTo>
                <a:lnTo>
                  <a:pt x="172" y="137"/>
                </a:lnTo>
                <a:lnTo>
                  <a:pt x="172" y="134"/>
                </a:lnTo>
                <a:lnTo>
                  <a:pt x="172" y="128"/>
                </a:lnTo>
                <a:lnTo>
                  <a:pt x="175" y="125"/>
                </a:lnTo>
                <a:lnTo>
                  <a:pt x="172" y="115"/>
                </a:lnTo>
                <a:lnTo>
                  <a:pt x="168" y="112"/>
                </a:lnTo>
                <a:lnTo>
                  <a:pt x="165" y="106"/>
                </a:lnTo>
                <a:lnTo>
                  <a:pt x="162" y="103"/>
                </a:lnTo>
                <a:lnTo>
                  <a:pt x="159" y="106"/>
                </a:lnTo>
                <a:lnTo>
                  <a:pt x="143" y="97"/>
                </a:lnTo>
                <a:lnTo>
                  <a:pt x="140" y="97"/>
                </a:lnTo>
                <a:lnTo>
                  <a:pt x="140" y="97"/>
                </a:lnTo>
                <a:lnTo>
                  <a:pt x="134" y="93"/>
                </a:lnTo>
                <a:lnTo>
                  <a:pt x="137" y="90"/>
                </a:lnTo>
                <a:lnTo>
                  <a:pt x="134" y="90"/>
                </a:lnTo>
                <a:lnTo>
                  <a:pt x="137" y="87"/>
                </a:lnTo>
                <a:lnTo>
                  <a:pt x="134" y="84"/>
                </a:lnTo>
                <a:lnTo>
                  <a:pt x="131" y="81"/>
                </a:lnTo>
                <a:lnTo>
                  <a:pt x="128" y="78"/>
                </a:lnTo>
                <a:lnTo>
                  <a:pt x="125" y="75"/>
                </a:lnTo>
                <a:lnTo>
                  <a:pt x="122" y="75"/>
                </a:lnTo>
                <a:lnTo>
                  <a:pt x="122" y="75"/>
                </a:lnTo>
                <a:lnTo>
                  <a:pt x="125" y="72"/>
                </a:lnTo>
                <a:lnTo>
                  <a:pt x="122" y="68"/>
                </a:lnTo>
                <a:lnTo>
                  <a:pt x="125" y="65"/>
                </a:lnTo>
                <a:lnTo>
                  <a:pt x="125" y="59"/>
                </a:lnTo>
                <a:lnTo>
                  <a:pt x="128" y="56"/>
                </a:lnTo>
                <a:lnTo>
                  <a:pt x="128" y="53"/>
                </a:lnTo>
                <a:lnTo>
                  <a:pt x="131" y="53"/>
                </a:lnTo>
                <a:lnTo>
                  <a:pt x="131" y="50"/>
                </a:lnTo>
                <a:lnTo>
                  <a:pt x="131" y="43"/>
                </a:lnTo>
                <a:lnTo>
                  <a:pt x="131" y="43"/>
                </a:lnTo>
                <a:lnTo>
                  <a:pt x="131" y="37"/>
                </a:lnTo>
                <a:lnTo>
                  <a:pt x="131" y="37"/>
                </a:lnTo>
                <a:lnTo>
                  <a:pt x="137" y="34"/>
                </a:lnTo>
                <a:lnTo>
                  <a:pt x="137" y="34"/>
                </a:lnTo>
                <a:lnTo>
                  <a:pt x="137" y="34"/>
                </a:lnTo>
                <a:lnTo>
                  <a:pt x="134" y="31"/>
                </a:lnTo>
                <a:lnTo>
                  <a:pt x="128" y="34"/>
                </a:lnTo>
                <a:lnTo>
                  <a:pt x="125" y="31"/>
                </a:lnTo>
                <a:lnTo>
                  <a:pt x="118" y="28"/>
                </a:lnTo>
                <a:lnTo>
                  <a:pt x="115" y="28"/>
                </a:lnTo>
                <a:lnTo>
                  <a:pt x="112" y="25"/>
                </a:lnTo>
                <a:lnTo>
                  <a:pt x="112" y="22"/>
                </a:lnTo>
                <a:lnTo>
                  <a:pt x="109" y="18"/>
                </a:lnTo>
                <a:lnTo>
                  <a:pt x="106" y="18"/>
                </a:lnTo>
                <a:lnTo>
                  <a:pt x="103" y="12"/>
                </a:lnTo>
                <a:lnTo>
                  <a:pt x="103" y="9"/>
                </a:lnTo>
                <a:lnTo>
                  <a:pt x="103" y="6"/>
                </a:lnTo>
                <a:lnTo>
                  <a:pt x="100" y="6"/>
                </a:lnTo>
                <a:lnTo>
                  <a:pt x="93" y="6"/>
                </a:lnTo>
                <a:lnTo>
                  <a:pt x="90" y="6"/>
                </a:lnTo>
                <a:lnTo>
                  <a:pt x="90" y="0"/>
                </a:lnTo>
                <a:lnTo>
                  <a:pt x="87" y="0"/>
                </a:lnTo>
                <a:lnTo>
                  <a:pt x="84" y="0"/>
                </a:lnTo>
                <a:lnTo>
                  <a:pt x="75" y="0"/>
                </a:lnTo>
                <a:lnTo>
                  <a:pt x="68" y="0"/>
                </a:lnTo>
                <a:lnTo>
                  <a:pt x="65" y="0"/>
                </a:lnTo>
                <a:lnTo>
                  <a:pt x="62" y="0"/>
                </a:lnTo>
                <a:lnTo>
                  <a:pt x="56" y="6"/>
                </a:lnTo>
                <a:lnTo>
                  <a:pt x="56" y="6"/>
                </a:lnTo>
                <a:lnTo>
                  <a:pt x="56" y="9"/>
                </a:lnTo>
                <a:lnTo>
                  <a:pt x="53" y="9"/>
                </a:lnTo>
                <a:lnTo>
                  <a:pt x="50" y="12"/>
                </a:lnTo>
                <a:lnTo>
                  <a:pt x="40" y="15"/>
                </a:lnTo>
                <a:lnTo>
                  <a:pt x="37" y="22"/>
                </a:lnTo>
                <a:lnTo>
                  <a:pt x="37" y="28"/>
                </a:lnTo>
                <a:lnTo>
                  <a:pt x="40" y="34"/>
                </a:lnTo>
                <a:lnTo>
                  <a:pt x="40" y="40"/>
                </a:lnTo>
                <a:lnTo>
                  <a:pt x="37" y="47"/>
                </a:lnTo>
                <a:lnTo>
                  <a:pt x="37" y="50"/>
                </a:lnTo>
                <a:lnTo>
                  <a:pt x="37" y="56"/>
                </a:lnTo>
                <a:lnTo>
                  <a:pt x="34" y="62"/>
                </a:lnTo>
                <a:lnTo>
                  <a:pt x="34" y="65"/>
                </a:lnTo>
                <a:lnTo>
                  <a:pt x="0" y="90"/>
                </a:lnTo>
                <a:lnTo>
                  <a:pt x="0" y="90"/>
                </a:lnTo>
                <a:lnTo>
                  <a:pt x="0" y="90"/>
                </a:lnTo>
                <a:lnTo>
                  <a:pt x="9" y="115"/>
                </a:lnTo>
                <a:lnTo>
                  <a:pt x="25" y="115"/>
                </a:lnTo>
                <a:lnTo>
                  <a:pt x="118" y="181"/>
                </a:lnTo>
                <a:lnTo>
                  <a:pt x="156" y="181"/>
                </a:lnTo>
                <a:lnTo>
                  <a:pt x="159" y="172"/>
                </a:lnTo>
                <a:lnTo>
                  <a:pt x="162" y="162"/>
                </a:lnTo>
                <a:lnTo>
                  <a:pt x="172" y="159"/>
                </a:lnTo>
                <a:lnTo>
                  <a:pt x="178" y="162"/>
                </a:lnTo>
                <a:lnTo>
                  <a:pt x="184" y="159"/>
                </a:lnTo>
                <a:lnTo>
                  <a:pt x="184" y="162"/>
                </a:lnTo>
                <a:lnTo>
                  <a:pt x="187" y="156"/>
                </a:lnTo>
                <a:lnTo>
                  <a:pt x="190" y="156"/>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8" name="Freeform 86">
            <a:extLst>
              <a:ext uri="{FF2B5EF4-FFF2-40B4-BE49-F238E27FC236}">
                <a16:creationId xmlns:a16="http://schemas.microsoft.com/office/drawing/2014/main" id="{239BC775-BCCD-2BB4-6489-846312735CCE}"/>
              </a:ext>
            </a:extLst>
          </p:cNvPr>
          <p:cNvSpPr>
            <a:spLocks/>
          </p:cNvSpPr>
          <p:nvPr userDrawn="1"/>
        </p:nvSpPr>
        <p:spPr bwMode="auto">
          <a:xfrm>
            <a:off x="16007311" y="7419259"/>
            <a:ext cx="98420" cy="111126"/>
          </a:xfrm>
          <a:custGeom>
            <a:avLst/>
            <a:gdLst>
              <a:gd name="T0" fmla="*/ 0 w 31"/>
              <a:gd name="T1" fmla="*/ 22 h 35"/>
              <a:gd name="T2" fmla="*/ 3 w 31"/>
              <a:gd name="T3" fmla="*/ 13 h 35"/>
              <a:gd name="T4" fmla="*/ 6 w 31"/>
              <a:gd name="T5" fmla="*/ 3 h 35"/>
              <a:gd name="T6" fmla="*/ 16 w 31"/>
              <a:gd name="T7" fmla="*/ 0 h 35"/>
              <a:gd name="T8" fmla="*/ 22 w 31"/>
              <a:gd name="T9" fmla="*/ 3 h 35"/>
              <a:gd name="T10" fmla="*/ 28 w 31"/>
              <a:gd name="T11" fmla="*/ 0 h 35"/>
              <a:gd name="T12" fmla="*/ 28 w 31"/>
              <a:gd name="T13" fmla="*/ 3 h 35"/>
              <a:gd name="T14" fmla="*/ 28 w 31"/>
              <a:gd name="T15" fmla="*/ 3 h 35"/>
              <a:gd name="T16" fmla="*/ 31 w 31"/>
              <a:gd name="T17" fmla="*/ 13 h 35"/>
              <a:gd name="T18" fmla="*/ 19 w 31"/>
              <a:gd name="T19" fmla="*/ 16 h 35"/>
              <a:gd name="T20" fmla="*/ 28 w 31"/>
              <a:gd name="T21" fmla="*/ 19 h 35"/>
              <a:gd name="T22" fmla="*/ 28 w 31"/>
              <a:gd name="T23" fmla="*/ 19 h 35"/>
              <a:gd name="T24" fmla="*/ 28 w 31"/>
              <a:gd name="T25" fmla="*/ 22 h 35"/>
              <a:gd name="T26" fmla="*/ 28 w 31"/>
              <a:gd name="T27" fmla="*/ 25 h 35"/>
              <a:gd name="T28" fmla="*/ 31 w 31"/>
              <a:gd name="T29" fmla="*/ 25 h 35"/>
              <a:gd name="T30" fmla="*/ 31 w 31"/>
              <a:gd name="T31" fmla="*/ 25 h 35"/>
              <a:gd name="T32" fmla="*/ 31 w 31"/>
              <a:gd name="T33" fmla="*/ 28 h 35"/>
              <a:gd name="T34" fmla="*/ 31 w 31"/>
              <a:gd name="T35" fmla="*/ 28 h 35"/>
              <a:gd name="T36" fmla="*/ 19 w 31"/>
              <a:gd name="T37" fmla="*/ 35 h 35"/>
              <a:gd name="T38" fmla="*/ 19 w 31"/>
              <a:gd name="T39" fmla="*/ 28 h 35"/>
              <a:gd name="T40" fmla="*/ 0 w 31"/>
              <a:gd name="T41" fmla="*/ 22 h 35"/>
              <a:gd name="T42" fmla="*/ 0 w 31"/>
              <a:gd name="T43"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5">
                <a:moveTo>
                  <a:pt x="0" y="22"/>
                </a:moveTo>
                <a:lnTo>
                  <a:pt x="3" y="13"/>
                </a:lnTo>
                <a:lnTo>
                  <a:pt x="6" y="3"/>
                </a:lnTo>
                <a:lnTo>
                  <a:pt x="16" y="0"/>
                </a:lnTo>
                <a:lnTo>
                  <a:pt x="22" y="3"/>
                </a:lnTo>
                <a:lnTo>
                  <a:pt x="28" y="0"/>
                </a:lnTo>
                <a:lnTo>
                  <a:pt x="28" y="3"/>
                </a:lnTo>
                <a:lnTo>
                  <a:pt x="28" y="3"/>
                </a:lnTo>
                <a:lnTo>
                  <a:pt x="31" y="13"/>
                </a:lnTo>
                <a:lnTo>
                  <a:pt x="19" y="16"/>
                </a:lnTo>
                <a:lnTo>
                  <a:pt x="28" y="19"/>
                </a:lnTo>
                <a:lnTo>
                  <a:pt x="28" y="19"/>
                </a:lnTo>
                <a:lnTo>
                  <a:pt x="28" y="22"/>
                </a:lnTo>
                <a:lnTo>
                  <a:pt x="28" y="25"/>
                </a:lnTo>
                <a:lnTo>
                  <a:pt x="31" y="25"/>
                </a:lnTo>
                <a:lnTo>
                  <a:pt x="31" y="25"/>
                </a:lnTo>
                <a:lnTo>
                  <a:pt x="31" y="28"/>
                </a:lnTo>
                <a:lnTo>
                  <a:pt x="31" y="28"/>
                </a:lnTo>
                <a:lnTo>
                  <a:pt x="19" y="35"/>
                </a:lnTo>
                <a:lnTo>
                  <a:pt x="19" y="28"/>
                </a:lnTo>
                <a:lnTo>
                  <a:pt x="0" y="22"/>
                </a:lnTo>
                <a:lnTo>
                  <a:pt x="0" y="22"/>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9" name="Freeform 87">
            <a:extLst>
              <a:ext uri="{FF2B5EF4-FFF2-40B4-BE49-F238E27FC236}">
                <a16:creationId xmlns:a16="http://schemas.microsoft.com/office/drawing/2014/main" id="{6951549B-0CB6-8403-7057-290677120776}"/>
              </a:ext>
            </a:extLst>
          </p:cNvPr>
          <p:cNvSpPr>
            <a:spLocks/>
          </p:cNvSpPr>
          <p:nvPr userDrawn="1"/>
        </p:nvSpPr>
        <p:spPr bwMode="auto">
          <a:xfrm>
            <a:off x="15092969" y="7041432"/>
            <a:ext cx="139693" cy="79376"/>
          </a:xfrm>
          <a:custGeom>
            <a:avLst/>
            <a:gdLst>
              <a:gd name="T0" fmla="*/ 10 w 44"/>
              <a:gd name="T1" fmla="*/ 25 h 25"/>
              <a:gd name="T2" fmla="*/ 3 w 44"/>
              <a:gd name="T3" fmla="*/ 22 h 25"/>
              <a:gd name="T4" fmla="*/ 0 w 44"/>
              <a:gd name="T5" fmla="*/ 19 h 25"/>
              <a:gd name="T6" fmla="*/ 0 w 44"/>
              <a:gd name="T7" fmla="*/ 13 h 25"/>
              <a:gd name="T8" fmla="*/ 3 w 44"/>
              <a:gd name="T9" fmla="*/ 13 h 25"/>
              <a:gd name="T10" fmla="*/ 7 w 44"/>
              <a:gd name="T11" fmla="*/ 10 h 25"/>
              <a:gd name="T12" fmla="*/ 10 w 44"/>
              <a:gd name="T13" fmla="*/ 13 h 25"/>
              <a:gd name="T14" fmla="*/ 13 w 44"/>
              <a:gd name="T15" fmla="*/ 13 h 25"/>
              <a:gd name="T16" fmla="*/ 13 w 44"/>
              <a:gd name="T17" fmla="*/ 10 h 25"/>
              <a:gd name="T18" fmla="*/ 13 w 44"/>
              <a:gd name="T19" fmla="*/ 7 h 25"/>
              <a:gd name="T20" fmla="*/ 19 w 44"/>
              <a:gd name="T21" fmla="*/ 7 h 25"/>
              <a:gd name="T22" fmla="*/ 22 w 44"/>
              <a:gd name="T23" fmla="*/ 10 h 25"/>
              <a:gd name="T24" fmla="*/ 25 w 44"/>
              <a:gd name="T25" fmla="*/ 7 h 25"/>
              <a:gd name="T26" fmla="*/ 35 w 44"/>
              <a:gd name="T27" fmla="*/ 3 h 25"/>
              <a:gd name="T28" fmla="*/ 41 w 44"/>
              <a:gd name="T29" fmla="*/ 0 h 25"/>
              <a:gd name="T30" fmla="*/ 44 w 44"/>
              <a:gd name="T31" fmla="*/ 0 h 25"/>
              <a:gd name="T32" fmla="*/ 44 w 44"/>
              <a:gd name="T33" fmla="*/ 0 h 25"/>
              <a:gd name="T34" fmla="*/ 44 w 44"/>
              <a:gd name="T35" fmla="*/ 3 h 25"/>
              <a:gd name="T36" fmla="*/ 38 w 44"/>
              <a:gd name="T37" fmla="*/ 7 h 25"/>
              <a:gd name="T38" fmla="*/ 35 w 44"/>
              <a:gd name="T39" fmla="*/ 10 h 25"/>
              <a:gd name="T40" fmla="*/ 35 w 44"/>
              <a:gd name="T41" fmla="*/ 16 h 25"/>
              <a:gd name="T42" fmla="*/ 35 w 44"/>
              <a:gd name="T43" fmla="*/ 19 h 25"/>
              <a:gd name="T44" fmla="*/ 32 w 44"/>
              <a:gd name="T45" fmla="*/ 19 h 25"/>
              <a:gd name="T46" fmla="*/ 28 w 44"/>
              <a:gd name="T47" fmla="*/ 19 h 25"/>
              <a:gd name="T48" fmla="*/ 22 w 44"/>
              <a:gd name="T49" fmla="*/ 22 h 25"/>
              <a:gd name="T50" fmla="*/ 19 w 44"/>
              <a:gd name="T51" fmla="*/ 25 h 25"/>
              <a:gd name="T52" fmla="*/ 16 w 44"/>
              <a:gd name="T53" fmla="*/ 25 h 25"/>
              <a:gd name="T54" fmla="*/ 13 w 44"/>
              <a:gd name="T55" fmla="*/ 25 h 25"/>
              <a:gd name="T56" fmla="*/ 10 w 44"/>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 h="25">
                <a:moveTo>
                  <a:pt x="10" y="25"/>
                </a:moveTo>
                <a:lnTo>
                  <a:pt x="3" y="22"/>
                </a:lnTo>
                <a:lnTo>
                  <a:pt x="0" y="19"/>
                </a:lnTo>
                <a:lnTo>
                  <a:pt x="0" y="13"/>
                </a:lnTo>
                <a:lnTo>
                  <a:pt x="3" y="13"/>
                </a:lnTo>
                <a:lnTo>
                  <a:pt x="7" y="10"/>
                </a:lnTo>
                <a:lnTo>
                  <a:pt x="10" y="13"/>
                </a:lnTo>
                <a:lnTo>
                  <a:pt x="13" y="13"/>
                </a:lnTo>
                <a:lnTo>
                  <a:pt x="13" y="10"/>
                </a:lnTo>
                <a:lnTo>
                  <a:pt x="13" y="7"/>
                </a:lnTo>
                <a:lnTo>
                  <a:pt x="19" y="7"/>
                </a:lnTo>
                <a:lnTo>
                  <a:pt x="22" y="10"/>
                </a:lnTo>
                <a:lnTo>
                  <a:pt x="25" y="7"/>
                </a:lnTo>
                <a:lnTo>
                  <a:pt x="35" y="3"/>
                </a:lnTo>
                <a:lnTo>
                  <a:pt x="41" y="0"/>
                </a:lnTo>
                <a:lnTo>
                  <a:pt x="44" y="0"/>
                </a:lnTo>
                <a:lnTo>
                  <a:pt x="44" y="0"/>
                </a:lnTo>
                <a:lnTo>
                  <a:pt x="44" y="3"/>
                </a:lnTo>
                <a:lnTo>
                  <a:pt x="38" y="7"/>
                </a:lnTo>
                <a:lnTo>
                  <a:pt x="35" y="10"/>
                </a:lnTo>
                <a:lnTo>
                  <a:pt x="35" y="16"/>
                </a:lnTo>
                <a:lnTo>
                  <a:pt x="35" y="19"/>
                </a:lnTo>
                <a:lnTo>
                  <a:pt x="32" y="19"/>
                </a:lnTo>
                <a:lnTo>
                  <a:pt x="28" y="19"/>
                </a:lnTo>
                <a:lnTo>
                  <a:pt x="22" y="22"/>
                </a:lnTo>
                <a:lnTo>
                  <a:pt x="19" y="25"/>
                </a:lnTo>
                <a:lnTo>
                  <a:pt x="16" y="25"/>
                </a:lnTo>
                <a:lnTo>
                  <a:pt x="13" y="25"/>
                </a:lnTo>
                <a:lnTo>
                  <a:pt x="10" y="25"/>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0" name="Freeform 88">
            <a:extLst>
              <a:ext uri="{FF2B5EF4-FFF2-40B4-BE49-F238E27FC236}">
                <a16:creationId xmlns:a16="http://schemas.microsoft.com/office/drawing/2014/main" id="{A9F214AB-770D-1909-1CD0-6A6BC67938CE}"/>
              </a:ext>
            </a:extLst>
          </p:cNvPr>
          <p:cNvSpPr>
            <a:spLocks/>
          </p:cNvSpPr>
          <p:nvPr userDrawn="1"/>
        </p:nvSpPr>
        <p:spPr bwMode="auto">
          <a:xfrm>
            <a:off x="15302507" y="6923963"/>
            <a:ext cx="387325" cy="346078"/>
          </a:xfrm>
          <a:custGeom>
            <a:avLst/>
            <a:gdLst>
              <a:gd name="T0" fmla="*/ 100 w 122"/>
              <a:gd name="T1" fmla="*/ 62 h 109"/>
              <a:gd name="T2" fmla="*/ 103 w 122"/>
              <a:gd name="T3" fmla="*/ 53 h 109"/>
              <a:gd name="T4" fmla="*/ 103 w 122"/>
              <a:gd name="T5" fmla="*/ 44 h 109"/>
              <a:gd name="T6" fmla="*/ 106 w 122"/>
              <a:gd name="T7" fmla="*/ 31 h 109"/>
              <a:gd name="T8" fmla="*/ 103 w 122"/>
              <a:gd name="T9" fmla="*/ 19 h 109"/>
              <a:gd name="T10" fmla="*/ 116 w 122"/>
              <a:gd name="T11" fmla="*/ 9 h 109"/>
              <a:gd name="T12" fmla="*/ 122 w 122"/>
              <a:gd name="T13" fmla="*/ 6 h 109"/>
              <a:gd name="T14" fmla="*/ 122 w 122"/>
              <a:gd name="T15" fmla="*/ 0 h 109"/>
              <a:gd name="T16" fmla="*/ 106 w 122"/>
              <a:gd name="T17" fmla="*/ 3 h 109"/>
              <a:gd name="T18" fmla="*/ 94 w 122"/>
              <a:gd name="T19" fmla="*/ 3 h 109"/>
              <a:gd name="T20" fmla="*/ 81 w 122"/>
              <a:gd name="T21" fmla="*/ 6 h 109"/>
              <a:gd name="T22" fmla="*/ 75 w 122"/>
              <a:gd name="T23" fmla="*/ 9 h 109"/>
              <a:gd name="T24" fmla="*/ 63 w 122"/>
              <a:gd name="T25" fmla="*/ 12 h 109"/>
              <a:gd name="T26" fmla="*/ 56 w 122"/>
              <a:gd name="T27" fmla="*/ 9 h 109"/>
              <a:gd name="T28" fmla="*/ 41 w 122"/>
              <a:gd name="T29" fmla="*/ 9 h 109"/>
              <a:gd name="T30" fmla="*/ 38 w 122"/>
              <a:gd name="T31" fmla="*/ 9 h 109"/>
              <a:gd name="T32" fmla="*/ 25 w 122"/>
              <a:gd name="T33" fmla="*/ 12 h 109"/>
              <a:gd name="T34" fmla="*/ 16 w 122"/>
              <a:gd name="T35" fmla="*/ 15 h 109"/>
              <a:gd name="T36" fmla="*/ 16 w 122"/>
              <a:gd name="T37" fmla="*/ 25 h 109"/>
              <a:gd name="T38" fmla="*/ 9 w 122"/>
              <a:gd name="T39" fmla="*/ 31 h 109"/>
              <a:gd name="T40" fmla="*/ 3 w 122"/>
              <a:gd name="T41" fmla="*/ 31 h 109"/>
              <a:gd name="T42" fmla="*/ 0 w 122"/>
              <a:gd name="T43" fmla="*/ 31 h 109"/>
              <a:gd name="T44" fmla="*/ 3 w 122"/>
              <a:gd name="T45" fmla="*/ 44 h 109"/>
              <a:gd name="T46" fmla="*/ 3 w 122"/>
              <a:gd name="T47" fmla="*/ 53 h 109"/>
              <a:gd name="T48" fmla="*/ 12 w 122"/>
              <a:gd name="T49" fmla="*/ 62 h 109"/>
              <a:gd name="T50" fmla="*/ 19 w 122"/>
              <a:gd name="T51" fmla="*/ 65 h 109"/>
              <a:gd name="T52" fmla="*/ 19 w 122"/>
              <a:gd name="T53" fmla="*/ 75 h 109"/>
              <a:gd name="T54" fmla="*/ 16 w 122"/>
              <a:gd name="T55" fmla="*/ 78 h 109"/>
              <a:gd name="T56" fmla="*/ 9 w 122"/>
              <a:gd name="T57" fmla="*/ 84 h 109"/>
              <a:gd name="T58" fmla="*/ 6 w 122"/>
              <a:gd name="T59" fmla="*/ 87 h 109"/>
              <a:gd name="T60" fmla="*/ 9 w 122"/>
              <a:gd name="T61" fmla="*/ 94 h 109"/>
              <a:gd name="T62" fmla="*/ 9 w 122"/>
              <a:gd name="T63" fmla="*/ 103 h 109"/>
              <a:gd name="T64" fmla="*/ 19 w 122"/>
              <a:gd name="T65" fmla="*/ 106 h 109"/>
              <a:gd name="T66" fmla="*/ 22 w 122"/>
              <a:gd name="T67" fmla="*/ 109 h 109"/>
              <a:gd name="T68" fmla="*/ 66 w 122"/>
              <a:gd name="T69" fmla="*/ 8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2" h="109">
                <a:moveTo>
                  <a:pt x="66" y="87"/>
                </a:moveTo>
                <a:lnTo>
                  <a:pt x="100" y="62"/>
                </a:lnTo>
                <a:lnTo>
                  <a:pt x="100" y="59"/>
                </a:lnTo>
                <a:lnTo>
                  <a:pt x="103" y="53"/>
                </a:lnTo>
                <a:lnTo>
                  <a:pt x="103" y="47"/>
                </a:lnTo>
                <a:lnTo>
                  <a:pt x="103" y="44"/>
                </a:lnTo>
                <a:lnTo>
                  <a:pt x="106" y="37"/>
                </a:lnTo>
                <a:lnTo>
                  <a:pt x="106" y="31"/>
                </a:lnTo>
                <a:lnTo>
                  <a:pt x="103" y="25"/>
                </a:lnTo>
                <a:lnTo>
                  <a:pt x="103" y="19"/>
                </a:lnTo>
                <a:lnTo>
                  <a:pt x="106" y="12"/>
                </a:lnTo>
                <a:lnTo>
                  <a:pt x="116" y="9"/>
                </a:lnTo>
                <a:lnTo>
                  <a:pt x="119" y="6"/>
                </a:lnTo>
                <a:lnTo>
                  <a:pt x="122" y="6"/>
                </a:lnTo>
                <a:lnTo>
                  <a:pt x="122" y="3"/>
                </a:lnTo>
                <a:lnTo>
                  <a:pt x="122" y="0"/>
                </a:lnTo>
                <a:lnTo>
                  <a:pt x="116" y="0"/>
                </a:lnTo>
                <a:lnTo>
                  <a:pt x="106" y="3"/>
                </a:lnTo>
                <a:lnTo>
                  <a:pt x="97" y="3"/>
                </a:lnTo>
                <a:lnTo>
                  <a:pt x="94" y="3"/>
                </a:lnTo>
                <a:lnTo>
                  <a:pt x="88" y="3"/>
                </a:lnTo>
                <a:lnTo>
                  <a:pt x="81" y="6"/>
                </a:lnTo>
                <a:lnTo>
                  <a:pt x="78" y="9"/>
                </a:lnTo>
                <a:lnTo>
                  <a:pt x="75" y="9"/>
                </a:lnTo>
                <a:lnTo>
                  <a:pt x="72" y="12"/>
                </a:lnTo>
                <a:lnTo>
                  <a:pt x="63" y="12"/>
                </a:lnTo>
                <a:lnTo>
                  <a:pt x="56" y="9"/>
                </a:lnTo>
                <a:lnTo>
                  <a:pt x="56" y="9"/>
                </a:lnTo>
                <a:lnTo>
                  <a:pt x="53" y="6"/>
                </a:lnTo>
                <a:lnTo>
                  <a:pt x="41" y="9"/>
                </a:lnTo>
                <a:lnTo>
                  <a:pt x="38" y="9"/>
                </a:lnTo>
                <a:lnTo>
                  <a:pt x="38" y="9"/>
                </a:lnTo>
                <a:lnTo>
                  <a:pt x="28" y="15"/>
                </a:lnTo>
                <a:lnTo>
                  <a:pt x="25" y="12"/>
                </a:lnTo>
                <a:lnTo>
                  <a:pt x="19" y="12"/>
                </a:lnTo>
                <a:lnTo>
                  <a:pt x="16" y="15"/>
                </a:lnTo>
                <a:lnTo>
                  <a:pt x="16" y="22"/>
                </a:lnTo>
                <a:lnTo>
                  <a:pt x="16" y="25"/>
                </a:lnTo>
                <a:lnTo>
                  <a:pt x="16" y="28"/>
                </a:lnTo>
                <a:lnTo>
                  <a:pt x="9" y="31"/>
                </a:lnTo>
                <a:lnTo>
                  <a:pt x="6" y="31"/>
                </a:lnTo>
                <a:lnTo>
                  <a:pt x="3" y="31"/>
                </a:lnTo>
                <a:lnTo>
                  <a:pt x="3" y="31"/>
                </a:lnTo>
                <a:lnTo>
                  <a:pt x="0" y="31"/>
                </a:lnTo>
                <a:lnTo>
                  <a:pt x="0" y="37"/>
                </a:lnTo>
                <a:lnTo>
                  <a:pt x="3" y="44"/>
                </a:lnTo>
                <a:lnTo>
                  <a:pt x="6" y="50"/>
                </a:lnTo>
                <a:lnTo>
                  <a:pt x="3" y="53"/>
                </a:lnTo>
                <a:lnTo>
                  <a:pt x="3" y="59"/>
                </a:lnTo>
                <a:lnTo>
                  <a:pt x="12" y="62"/>
                </a:lnTo>
                <a:lnTo>
                  <a:pt x="16" y="65"/>
                </a:lnTo>
                <a:lnTo>
                  <a:pt x="19" y="65"/>
                </a:lnTo>
                <a:lnTo>
                  <a:pt x="19" y="72"/>
                </a:lnTo>
                <a:lnTo>
                  <a:pt x="19" y="75"/>
                </a:lnTo>
                <a:lnTo>
                  <a:pt x="16" y="78"/>
                </a:lnTo>
                <a:lnTo>
                  <a:pt x="16" y="78"/>
                </a:lnTo>
                <a:lnTo>
                  <a:pt x="9" y="78"/>
                </a:lnTo>
                <a:lnTo>
                  <a:pt x="9" y="84"/>
                </a:lnTo>
                <a:lnTo>
                  <a:pt x="6" y="87"/>
                </a:lnTo>
                <a:lnTo>
                  <a:pt x="6" y="87"/>
                </a:lnTo>
                <a:lnTo>
                  <a:pt x="6" y="90"/>
                </a:lnTo>
                <a:lnTo>
                  <a:pt x="9" y="94"/>
                </a:lnTo>
                <a:lnTo>
                  <a:pt x="9" y="100"/>
                </a:lnTo>
                <a:lnTo>
                  <a:pt x="9" y="103"/>
                </a:lnTo>
                <a:lnTo>
                  <a:pt x="12" y="103"/>
                </a:lnTo>
                <a:lnTo>
                  <a:pt x="19" y="106"/>
                </a:lnTo>
                <a:lnTo>
                  <a:pt x="22" y="109"/>
                </a:lnTo>
                <a:lnTo>
                  <a:pt x="22" y="109"/>
                </a:lnTo>
                <a:lnTo>
                  <a:pt x="25" y="109"/>
                </a:lnTo>
                <a:lnTo>
                  <a:pt x="66" y="87"/>
                </a:lnTo>
                <a:lnTo>
                  <a:pt x="66" y="87"/>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1" name="Freeform 89">
            <a:extLst>
              <a:ext uri="{FF2B5EF4-FFF2-40B4-BE49-F238E27FC236}">
                <a16:creationId xmlns:a16="http://schemas.microsoft.com/office/drawing/2014/main" id="{1F848FEE-3FEE-988B-C64F-C2442FDC3FCC}"/>
              </a:ext>
            </a:extLst>
          </p:cNvPr>
          <p:cNvSpPr>
            <a:spLocks/>
          </p:cNvSpPr>
          <p:nvPr userDrawn="1"/>
        </p:nvSpPr>
        <p:spPr bwMode="auto">
          <a:xfrm>
            <a:off x="15223134" y="7200182"/>
            <a:ext cx="98420" cy="279400"/>
          </a:xfrm>
          <a:custGeom>
            <a:avLst/>
            <a:gdLst>
              <a:gd name="T0" fmla="*/ 19 w 31"/>
              <a:gd name="T1" fmla="*/ 88 h 88"/>
              <a:gd name="T2" fmla="*/ 22 w 31"/>
              <a:gd name="T3" fmla="*/ 85 h 88"/>
              <a:gd name="T4" fmla="*/ 22 w 31"/>
              <a:gd name="T5" fmla="*/ 85 h 88"/>
              <a:gd name="T6" fmla="*/ 22 w 31"/>
              <a:gd name="T7" fmla="*/ 82 h 88"/>
              <a:gd name="T8" fmla="*/ 25 w 31"/>
              <a:gd name="T9" fmla="*/ 79 h 88"/>
              <a:gd name="T10" fmla="*/ 25 w 31"/>
              <a:gd name="T11" fmla="*/ 75 h 88"/>
              <a:gd name="T12" fmla="*/ 25 w 31"/>
              <a:gd name="T13" fmla="*/ 69 h 88"/>
              <a:gd name="T14" fmla="*/ 25 w 31"/>
              <a:gd name="T15" fmla="*/ 63 h 88"/>
              <a:gd name="T16" fmla="*/ 25 w 31"/>
              <a:gd name="T17" fmla="*/ 63 h 88"/>
              <a:gd name="T18" fmla="*/ 25 w 31"/>
              <a:gd name="T19" fmla="*/ 60 h 88"/>
              <a:gd name="T20" fmla="*/ 28 w 31"/>
              <a:gd name="T21" fmla="*/ 54 h 88"/>
              <a:gd name="T22" fmla="*/ 28 w 31"/>
              <a:gd name="T23" fmla="*/ 50 h 88"/>
              <a:gd name="T24" fmla="*/ 28 w 31"/>
              <a:gd name="T25" fmla="*/ 44 h 88"/>
              <a:gd name="T26" fmla="*/ 25 w 31"/>
              <a:gd name="T27" fmla="*/ 44 h 88"/>
              <a:gd name="T28" fmla="*/ 25 w 31"/>
              <a:gd name="T29" fmla="*/ 44 h 88"/>
              <a:gd name="T30" fmla="*/ 22 w 31"/>
              <a:gd name="T31" fmla="*/ 44 h 88"/>
              <a:gd name="T32" fmla="*/ 19 w 31"/>
              <a:gd name="T33" fmla="*/ 44 h 88"/>
              <a:gd name="T34" fmla="*/ 19 w 31"/>
              <a:gd name="T35" fmla="*/ 38 h 88"/>
              <a:gd name="T36" fmla="*/ 19 w 31"/>
              <a:gd name="T37" fmla="*/ 29 h 88"/>
              <a:gd name="T38" fmla="*/ 19 w 31"/>
              <a:gd name="T39" fmla="*/ 25 h 88"/>
              <a:gd name="T40" fmla="*/ 19 w 31"/>
              <a:gd name="T41" fmla="*/ 19 h 88"/>
              <a:gd name="T42" fmla="*/ 25 w 31"/>
              <a:gd name="T43" fmla="*/ 19 h 88"/>
              <a:gd name="T44" fmla="*/ 25 w 31"/>
              <a:gd name="T45" fmla="*/ 22 h 88"/>
              <a:gd name="T46" fmla="*/ 25 w 31"/>
              <a:gd name="T47" fmla="*/ 25 h 88"/>
              <a:gd name="T48" fmla="*/ 28 w 31"/>
              <a:gd name="T49" fmla="*/ 22 h 88"/>
              <a:gd name="T50" fmla="*/ 28 w 31"/>
              <a:gd name="T51" fmla="*/ 19 h 88"/>
              <a:gd name="T52" fmla="*/ 28 w 31"/>
              <a:gd name="T53" fmla="*/ 19 h 88"/>
              <a:gd name="T54" fmla="*/ 28 w 31"/>
              <a:gd name="T55" fmla="*/ 19 h 88"/>
              <a:gd name="T56" fmla="*/ 28 w 31"/>
              <a:gd name="T57" fmla="*/ 16 h 88"/>
              <a:gd name="T58" fmla="*/ 28 w 31"/>
              <a:gd name="T59" fmla="*/ 10 h 88"/>
              <a:gd name="T60" fmla="*/ 28 w 31"/>
              <a:gd name="T61" fmla="*/ 3 h 88"/>
              <a:gd name="T62" fmla="*/ 31 w 31"/>
              <a:gd name="T63" fmla="*/ 0 h 88"/>
              <a:gd name="T64" fmla="*/ 28 w 31"/>
              <a:gd name="T65" fmla="*/ 0 h 88"/>
              <a:gd name="T66" fmla="*/ 28 w 31"/>
              <a:gd name="T67" fmla="*/ 7 h 88"/>
              <a:gd name="T68" fmla="*/ 22 w 31"/>
              <a:gd name="T69" fmla="*/ 7 h 88"/>
              <a:gd name="T70" fmla="*/ 19 w 31"/>
              <a:gd name="T71" fmla="*/ 7 h 88"/>
              <a:gd name="T72" fmla="*/ 12 w 31"/>
              <a:gd name="T73" fmla="*/ 10 h 88"/>
              <a:gd name="T74" fmla="*/ 12 w 31"/>
              <a:gd name="T75" fmla="*/ 25 h 88"/>
              <a:gd name="T76" fmla="*/ 6 w 31"/>
              <a:gd name="T77" fmla="*/ 35 h 88"/>
              <a:gd name="T78" fmla="*/ 0 w 31"/>
              <a:gd name="T79" fmla="*/ 44 h 88"/>
              <a:gd name="T80" fmla="*/ 3 w 31"/>
              <a:gd name="T81" fmla="*/ 44 h 88"/>
              <a:gd name="T82" fmla="*/ 6 w 31"/>
              <a:gd name="T83" fmla="*/ 50 h 88"/>
              <a:gd name="T84" fmla="*/ 9 w 31"/>
              <a:gd name="T85" fmla="*/ 57 h 88"/>
              <a:gd name="T86" fmla="*/ 16 w 31"/>
              <a:gd name="T87" fmla="*/ 66 h 88"/>
              <a:gd name="T88" fmla="*/ 19 w 31"/>
              <a:gd name="T89" fmla="*/ 75 h 88"/>
              <a:gd name="T90" fmla="*/ 16 w 31"/>
              <a:gd name="T91" fmla="*/ 82 h 88"/>
              <a:gd name="T92" fmla="*/ 19 w 31"/>
              <a:gd name="T9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1" h="88">
                <a:moveTo>
                  <a:pt x="19" y="88"/>
                </a:moveTo>
                <a:lnTo>
                  <a:pt x="22" y="85"/>
                </a:lnTo>
                <a:lnTo>
                  <a:pt x="22" y="85"/>
                </a:lnTo>
                <a:lnTo>
                  <a:pt x="22" y="82"/>
                </a:lnTo>
                <a:lnTo>
                  <a:pt x="25" y="79"/>
                </a:lnTo>
                <a:lnTo>
                  <a:pt x="25" y="75"/>
                </a:lnTo>
                <a:lnTo>
                  <a:pt x="25" y="69"/>
                </a:lnTo>
                <a:lnTo>
                  <a:pt x="25" y="63"/>
                </a:lnTo>
                <a:lnTo>
                  <a:pt x="25" y="63"/>
                </a:lnTo>
                <a:lnTo>
                  <a:pt x="25" y="60"/>
                </a:lnTo>
                <a:lnTo>
                  <a:pt x="28" y="54"/>
                </a:lnTo>
                <a:lnTo>
                  <a:pt x="28" y="50"/>
                </a:lnTo>
                <a:lnTo>
                  <a:pt x="28" y="44"/>
                </a:lnTo>
                <a:lnTo>
                  <a:pt x="25" y="44"/>
                </a:lnTo>
                <a:lnTo>
                  <a:pt x="25" y="44"/>
                </a:lnTo>
                <a:lnTo>
                  <a:pt x="22" y="44"/>
                </a:lnTo>
                <a:lnTo>
                  <a:pt x="19" y="44"/>
                </a:lnTo>
                <a:lnTo>
                  <a:pt x="19" y="38"/>
                </a:lnTo>
                <a:lnTo>
                  <a:pt x="19" y="29"/>
                </a:lnTo>
                <a:lnTo>
                  <a:pt x="19" y="25"/>
                </a:lnTo>
                <a:lnTo>
                  <a:pt x="19" y="19"/>
                </a:lnTo>
                <a:lnTo>
                  <a:pt x="25" y="19"/>
                </a:lnTo>
                <a:lnTo>
                  <a:pt x="25" y="22"/>
                </a:lnTo>
                <a:lnTo>
                  <a:pt x="25" y="25"/>
                </a:lnTo>
                <a:lnTo>
                  <a:pt x="28" y="22"/>
                </a:lnTo>
                <a:lnTo>
                  <a:pt x="28" y="19"/>
                </a:lnTo>
                <a:lnTo>
                  <a:pt x="28" y="19"/>
                </a:lnTo>
                <a:lnTo>
                  <a:pt x="28" y="19"/>
                </a:lnTo>
                <a:lnTo>
                  <a:pt x="28" y="16"/>
                </a:lnTo>
                <a:lnTo>
                  <a:pt x="28" y="10"/>
                </a:lnTo>
                <a:lnTo>
                  <a:pt x="28" y="3"/>
                </a:lnTo>
                <a:lnTo>
                  <a:pt x="31" y="0"/>
                </a:lnTo>
                <a:lnTo>
                  <a:pt x="28" y="0"/>
                </a:lnTo>
                <a:lnTo>
                  <a:pt x="28" y="7"/>
                </a:lnTo>
                <a:lnTo>
                  <a:pt x="22" y="7"/>
                </a:lnTo>
                <a:lnTo>
                  <a:pt x="19" y="7"/>
                </a:lnTo>
                <a:lnTo>
                  <a:pt x="12" y="10"/>
                </a:lnTo>
                <a:lnTo>
                  <a:pt x="12" y="25"/>
                </a:lnTo>
                <a:lnTo>
                  <a:pt x="6" y="35"/>
                </a:lnTo>
                <a:lnTo>
                  <a:pt x="0" y="44"/>
                </a:lnTo>
                <a:lnTo>
                  <a:pt x="3" y="44"/>
                </a:lnTo>
                <a:lnTo>
                  <a:pt x="6" y="50"/>
                </a:lnTo>
                <a:lnTo>
                  <a:pt x="9" y="57"/>
                </a:lnTo>
                <a:lnTo>
                  <a:pt x="16" y="66"/>
                </a:lnTo>
                <a:lnTo>
                  <a:pt x="19" y="75"/>
                </a:lnTo>
                <a:lnTo>
                  <a:pt x="16" y="82"/>
                </a:lnTo>
                <a:lnTo>
                  <a:pt x="19" y="88"/>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2" name="Freeform 90">
            <a:extLst>
              <a:ext uri="{FF2B5EF4-FFF2-40B4-BE49-F238E27FC236}">
                <a16:creationId xmlns:a16="http://schemas.microsoft.com/office/drawing/2014/main" id="{CFFA66D9-E570-6028-038D-5E4D639F2DC9}"/>
              </a:ext>
            </a:extLst>
          </p:cNvPr>
          <p:cNvSpPr>
            <a:spLocks/>
          </p:cNvSpPr>
          <p:nvPr userDrawn="1"/>
        </p:nvSpPr>
        <p:spPr bwMode="auto">
          <a:xfrm>
            <a:off x="15312030" y="7200185"/>
            <a:ext cx="19049" cy="60326"/>
          </a:xfrm>
          <a:custGeom>
            <a:avLst/>
            <a:gdLst>
              <a:gd name="T0" fmla="*/ 0 w 6"/>
              <a:gd name="T1" fmla="*/ 19 h 19"/>
              <a:gd name="T2" fmla="*/ 0 w 6"/>
              <a:gd name="T3" fmla="*/ 19 h 19"/>
              <a:gd name="T4" fmla="*/ 0 w 6"/>
              <a:gd name="T5" fmla="*/ 16 h 19"/>
              <a:gd name="T6" fmla="*/ 0 w 6"/>
              <a:gd name="T7" fmla="*/ 10 h 19"/>
              <a:gd name="T8" fmla="*/ 0 w 6"/>
              <a:gd name="T9" fmla="*/ 3 h 19"/>
              <a:gd name="T10" fmla="*/ 3 w 6"/>
              <a:gd name="T11" fmla="*/ 0 h 19"/>
              <a:gd name="T12" fmla="*/ 3 w 6"/>
              <a:gd name="T13" fmla="*/ 0 h 19"/>
              <a:gd name="T14" fmla="*/ 3 w 6"/>
              <a:gd name="T15" fmla="*/ 3 h 19"/>
              <a:gd name="T16" fmla="*/ 6 w 6"/>
              <a:gd name="T17" fmla="*/ 7 h 19"/>
              <a:gd name="T18" fmla="*/ 6 w 6"/>
              <a:gd name="T19" fmla="*/ 13 h 19"/>
              <a:gd name="T20" fmla="*/ 6 w 6"/>
              <a:gd name="T21" fmla="*/ 16 h 19"/>
              <a:gd name="T22" fmla="*/ 6 w 6"/>
              <a:gd name="T23" fmla="*/ 16 h 19"/>
              <a:gd name="T24" fmla="*/ 3 w 6"/>
              <a:gd name="T25" fmla="*/ 19 h 19"/>
              <a:gd name="T26" fmla="*/ 3 w 6"/>
              <a:gd name="T27" fmla="*/ 19 h 19"/>
              <a:gd name="T28" fmla="*/ 0 w 6"/>
              <a:gd name="T2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19">
                <a:moveTo>
                  <a:pt x="0" y="19"/>
                </a:moveTo>
                <a:lnTo>
                  <a:pt x="0" y="19"/>
                </a:lnTo>
                <a:lnTo>
                  <a:pt x="0" y="16"/>
                </a:lnTo>
                <a:lnTo>
                  <a:pt x="0" y="10"/>
                </a:lnTo>
                <a:lnTo>
                  <a:pt x="0" y="3"/>
                </a:lnTo>
                <a:lnTo>
                  <a:pt x="3" y="0"/>
                </a:lnTo>
                <a:lnTo>
                  <a:pt x="3" y="0"/>
                </a:lnTo>
                <a:lnTo>
                  <a:pt x="3" y="3"/>
                </a:lnTo>
                <a:lnTo>
                  <a:pt x="6" y="7"/>
                </a:lnTo>
                <a:lnTo>
                  <a:pt x="6" y="13"/>
                </a:lnTo>
                <a:lnTo>
                  <a:pt x="6" y="16"/>
                </a:lnTo>
                <a:lnTo>
                  <a:pt x="6" y="16"/>
                </a:lnTo>
                <a:lnTo>
                  <a:pt x="3" y="19"/>
                </a:lnTo>
                <a:lnTo>
                  <a:pt x="3" y="19"/>
                </a:lnTo>
                <a:lnTo>
                  <a:pt x="0" y="19"/>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3" name="Freeform 91">
            <a:extLst>
              <a:ext uri="{FF2B5EF4-FFF2-40B4-BE49-F238E27FC236}">
                <a16:creationId xmlns:a16="http://schemas.microsoft.com/office/drawing/2014/main" id="{BE593F9C-1812-016E-E4FF-B02A0B51C4B1}"/>
              </a:ext>
            </a:extLst>
          </p:cNvPr>
          <p:cNvSpPr>
            <a:spLocks/>
          </p:cNvSpPr>
          <p:nvPr userDrawn="1"/>
        </p:nvSpPr>
        <p:spPr bwMode="auto">
          <a:xfrm>
            <a:off x="15283451" y="7260506"/>
            <a:ext cx="28574" cy="79376"/>
          </a:xfrm>
          <a:custGeom>
            <a:avLst/>
            <a:gdLst>
              <a:gd name="T0" fmla="*/ 6 w 9"/>
              <a:gd name="T1" fmla="*/ 25 h 25"/>
              <a:gd name="T2" fmla="*/ 6 w 9"/>
              <a:gd name="T3" fmla="*/ 25 h 25"/>
              <a:gd name="T4" fmla="*/ 3 w 9"/>
              <a:gd name="T5" fmla="*/ 25 h 25"/>
              <a:gd name="T6" fmla="*/ 0 w 9"/>
              <a:gd name="T7" fmla="*/ 25 h 25"/>
              <a:gd name="T8" fmla="*/ 0 w 9"/>
              <a:gd name="T9" fmla="*/ 19 h 25"/>
              <a:gd name="T10" fmla="*/ 0 w 9"/>
              <a:gd name="T11" fmla="*/ 10 h 25"/>
              <a:gd name="T12" fmla="*/ 0 w 9"/>
              <a:gd name="T13" fmla="*/ 6 h 25"/>
              <a:gd name="T14" fmla="*/ 0 w 9"/>
              <a:gd name="T15" fmla="*/ 0 h 25"/>
              <a:gd name="T16" fmla="*/ 6 w 9"/>
              <a:gd name="T17" fmla="*/ 0 h 25"/>
              <a:gd name="T18" fmla="*/ 6 w 9"/>
              <a:gd name="T19" fmla="*/ 3 h 25"/>
              <a:gd name="T20" fmla="*/ 6 w 9"/>
              <a:gd name="T21" fmla="*/ 6 h 25"/>
              <a:gd name="T22" fmla="*/ 9 w 9"/>
              <a:gd name="T23" fmla="*/ 3 h 25"/>
              <a:gd name="T24" fmla="*/ 9 w 9"/>
              <a:gd name="T25" fmla="*/ 3 h 25"/>
              <a:gd name="T26" fmla="*/ 9 w 9"/>
              <a:gd name="T27" fmla="*/ 6 h 25"/>
              <a:gd name="T28" fmla="*/ 9 w 9"/>
              <a:gd name="T29" fmla="*/ 10 h 25"/>
              <a:gd name="T30" fmla="*/ 9 w 9"/>
              <a:gd name="T31" fmla="*/ 13 h 25"/>
              <a:gd name="T32" fmla="*/ 9 w 9"/>
              <a:gd name="T33" fmla="*/ 16 h 25"/>
              <a:gd name="T34" fmla="*/ 9 w 9"/>
              <a:gd name="T35" fmla="*/ 25 h 25"/>
              <a:gd name="T36" fmla="*/ 6 w 9"/>
              <a:gd name="T3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25">
                <a:moveTo>
                  <a:pt x="6" y="25"/>
                </a:moveTo>
                <a:lnTo>
                  <a:pt x="6" y="25"/>
                </a:lnTo>
                <a:lnTo>
                  <a:pt x="3" y="25"/>
                </a:lnTo>
                <a:lnTo>
                  <a:pt x="0" y="25"/>
                </a:lnTo>
                <a:lnTo>
                  <a:pt x="0" y="19"/>
                </a:lnTo>
                <a:lnTo>
                  <a:pt x="0" y="10"/>
                </a:lnTo>
                <a:lnTo>
                  <a:pt x="0" y="6"/>
                </a:lnTo>
                <a:lnTo>
                  <a:pt x="0" y="0"/>
                </a:lnTo>
                <a:lnTo>
                  <a:pt x="6" y="0"/>
                </a:lnTo>
                <a:lnTo>
                  <a:pt x="6" y="3"/>
                </a:lnTo>
                <a:lnTo>
                  <a:pt x="6" y="6"/>
                </a:lnTo>
                <a:lnTo>
                  <a:pt x="9" y="3"/>
                </a:lnTo>
                <a:lnTo>
                  <a:pt x="9" y="3"/>
                </a:lnTo>
                <a:lnTo>
                  <a:pt x="9" y="6"/>
                </a:lnTo>
                <a:lnTo>
                  <a:pt x="9" y="10"/>
                </a:lnTo>
                <a:lnTo>
                  <a:pt x="9" y="13"/>
                </a:lnTo>
                <a:lnTo>
                  <a:pt x="9" y="16"/>
                </a:lnTo>
                <a:lnTo>
                  <a:pt x="9" y="25"/>
                </a:lnTo>
                <a:lnTo>
                  <a:pt x="6" y="25"/>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4" name="Freeform 92">
            <a:extLst>
              <a:ext uri="{FF2B5EF4-FFF2-40B4-BE49-F238E27FC236}">
                <a16:creationId xmlns:a16="http://schemas.microsoft.com/office/drawing/2014/main" id="{D925FD80-E3F1-940A-AEF5-6D54017A2971}"/>
              </a:ext>
            </a:extLst>
          </p:cNvPr>
          <p:cNvSpPr>
            <a:spLocks/>
          </p:cNvSpPr>
          <p:nvPr userDrawn="1"/>
        </p:nvSpPr>
        <p:spPr bwMode="auto">
          <a:xfrm>
            <a:off x="15283451" y="7111283"/>
            <a:ext cx="79371" cy="111126"/>
          </a:xfrm>
          <a:custGeom>
            <a:avLst/>
            <a:gdLst>
              <a:gd name="T0" fmla="*/ 0 w 25"/>
              <a:gd name="T1" fmla="*/ 35 h 35"/>
              <a:gd name="T2" fmla="*/ 3 w 25"/>
              <a:gd name="T3" fmla="*/ 35 h 35"/>
              <a:gd name="T4" fmla="*/ 9 w 25"/>
              <a:gd name="T5" fmla="*/ 35 h 35"/>
              <a:gd name="T6" fmla="*/ 9 w 25"/>
              <a:gd name="T7" fmla="*/ 28 h 35"/>
              <a:gd name="T8" fmla="*/ 12 w 25"/>
              <a:gd name="T9" fmla="*/ 28 h 35"/>
              <a:gd name="T10" fmla="*/ 15 w 25"/>
              <a:gd name="T11" fmla="*/ 25 h 35"/>
              <a:gd name="T12" fmla="*/ 15 w 25"/>
              <a:gd name="T13" fmla="*/ 19 h 35"/>
              <a:gd name="T14" fmla="*/ 22 w 25"/>
              <a:gd name="T15" fmla="*/ 19 h 35"/>
              <a:gd name="T16" fmla="*/ 22 w 25"/>
              <a:gd name="T17" fmla="*/ 19 h 35"/>
              <a:gd name="T18" fmla="*/ 25 w 25"/>
              <a:gd name="T19" fmla="*/ 16 h 35"/>
              <a:gd name="T20" fmla="*/ 25 w 25"/>
              <a:gd name="T21" fmla="*/ 13 h 35"/>
              <a:gd name="T22" fmla="*/ 25 w 25"/>
              <a:gd name="T23" fmla="*/ 6 h 35"/>
              <a:gd name="T24" fmla="*/ 22 w 25"/>
              <a:gd name="T25" fmla="*/ 6 h 35"/>
              <a:gd name="T26" fmla="*/ 18 w 25"/>
              <a:gd name="T27" fmla="*/ 3 h 35"/>
              <a:gd name="T28" fmla="*/ 9 w 25"/>
              <a:gd name="T29" fmla="*/ 0 h 35"/>
              <a:gd name="T30" fmla="*/ 9 w 25"/>
              <a:gd name="T31" fmla="*/ 3 h 35"/>
              <a:gd name="T32" fmla="*/ 6 w 25"/>
              <a:gd name="T33" fmla="*/ 3 h 35"/>
              <a:gd name="T34" fmla="*/ 6 w 25"/>
              <a:gd name="T35" fmla="*/ 16 h 35"/>
              <a:gd name="T36" fmla="*/ 3 w 25"/>
              <a:gd name="T37" fmla="*/ 22 h 35"/>
              <a:gd name="T38" fmla="*/ 0 w 25"/>
              <a:gd name="T39" fmla="*/ 28 h 35"/>
              <a:gd name="T40" fmla="*/ 0 w 25"/>
              <a:gd name="T41" fmla="*/ 31 h 35"/>
              <a:gd name="T42" fmla="*/ 0 w 25"/>
              <a:gd name="T4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35">
                <a:moveTo>
                  <a:pt x="0" y="35"/>
                </a:moveTo>
                <a:lnTo>
                  <a:pt x="3" y="35"/>
                </a:lnTo>
                <a:lnTo>
                  <a:pt x="9" y="35"/>
                </a:lnTo>
                <a:lnTo>
                  <a:pt x="9" y="28"/>
                </a:lnTo>
                <a:lnTo>
                  <a:pt x="12" y="28"/>
                </a:lnTo>
                <a:lnTo>
                  <a:pt x="15" y="25"/>
                </a:lnTo>
                <a:lnTo>
                  <a:pt x="15" y="19"/>
                </a:lnTo>
                <a:lnTo>
                  <a:pt x="22" y="19"/>
                </a:lnTo>
                <a:lnTo>
                  <a:pt x="22" y="19"/>
                </a:lnTo>
                <a:lnTo>
                  <a:pt x="25" y="16"/>
                </a:lnTo>
                <a:lnTo>
                  <a:pt x="25" y="13"/>
                </a:lnTo>
                <a:lnTo>
                  <a:pt x="25" y="6"/>
                </a:lnTo>
                <a:lnTo>
                  <a:pt x="22" y="6"/>
                </a:lnTo>
                <a:lnTo>
                  <a:pt x="18" y="3"/>
                </a:lnTo>
                <a:lnTo>
                  <a:pt x="9" y="0"/>
                </a:lnTo>
                <a:lnTo>
                  <a:pt x="9" y="3"/>
                </a:lnTo>
                <a:lnTo>
                  <a:pt x="6" y="3"/>
                </a:lnTo>
                <a:lnTo>
                  <a:pt x="6" y="16"/>
                </a:lnTo>
                <a:lnTo>
                  <a:pt x="3" y="22"/>
                </a:lnTo>
                <a:lnTo>
                  <a:pt x="0" y="28"/>
                </a:lnTo>
                <a:lnTo>
                  <a:pt x="0" y="31"/>
                </a:lnTo>
                <a:lnTo>
                  <a:pt x="0" y="35"/>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5" name="Freeform 93">
            <a:extLst>
              <a:ext uri="{FF2B5EF4-FFF2-40B4-BE49-F238E27FC236}">
                <a16:creationId xmlns:a16="http://schemas.microsoft.com/office/drawing/2014/main" id="{14B79F9A-3E2F-786E-C342-5B5A8613AD4C}"/>
              </a:ext>
            </a:extLst>
          </p:cNvPr>
          <p:cNvSpPr>
            <a:spLocks/>
          </p:cNvSpPr>
          <p:nvPr userDrawn="1"/>
        </p:nvSpPr>
        <p:spPr bwMode="auto">
          <a:xfrm>
            <a:off x="15283451" y="7200182"/>
            <a:ext cx="257159" cy="307976"/>
          </a:xfrm>
          <a:custGeom>
            <a:avLst/>
            <a:gdLst>
              <a:gd name="T0" fmla="*/ 3 w 81"/>
              <a:gd name="T1" fmla="*/ 85 h 97"/>
              <a:gd name="T2" fmla="*/ 3 w 81"/>
              <a:gd name="T3" fmla="*/ 85 h 97"/>
              <a:gd name="T4" fmla="*/ 3 w 81"/>
              <a:gd name="T5" fmla="*/ 82 h 97"/>
              <a:gd name="T6" fmla="*/ 6 w 81"/>
              <a:gd name="T7" fmla="*/ 79 h 97"/>
              <a:gd name="T8" fmla="*/ 6 w 81"/>
              <a:gd name="T9" fmla="*/ 75 h 97"/>
              <a:gd name="T10" fmla="*/ 6 w 81"/>
              <a:gd name="T11" fmla="*/ 69 h 97"/>
              <a:gd name="T12" fmla="*/ 6 w 81"/>
              <a:gd name="T13" fmla="*/ 63 h 97"/>
              <a:gd name="T14" fmla="*/ 6 w 81"/>
              <a:gd name="T15" fmla="*/ 63 h 97"/>
              <a:gd name="T16" fmla="*/ 6 w 81"/>
              <a:gd name="T17" fmla="*/ 60 h 97"/>
              <a:gd name="T18" fmla="*/ 9 w 81"/>
              <a:gd name="T19" fmla="*/ 54 h 97"/>
              <a:gd name="T20" fmla="*/ 9 w 81"/>
              <a:gd name="T21" fmla="*/ 50 h 97"/>
              <a:gd name="T22" fmla="*/ 9 w 81"/>
              <a:gd name="T23" fmla="*/ 35 h 97"/>
              <a:gd name="T24" fmla="*/ 9 w 81"/>
              <a:gd name="T25" fmla="*/ 32 h 97"/>
              <a:gd name="T26" fmla="*/ 9 w 81"/>
              <a:gd name="T27" fmla="*/ 29 h 97"/>
              <a:gd name="T28" fmla="*/ 9 w 81"/>
              <a:gd name="T29" fmla="*/ 25 h 97"/>
              <a:gd name="T30" fmla="*/ 9 w 81"/>
              <a:gd name="T31" fmla="*/ 22 h 97"/>
              <a:gd name="T32" fmla="*/ 9 w 81"/>
              <a:gd name="T33" fmla="*/ 19 h 97"/>
              <a:gd name="T34" fmla="*/ 12 w 81"/>
              <a:gd name="T35" fmla="*/ 19 h 97"/>
              <a:gd name="T36" fmla="*/ 12 w 81"/>
              <a:gd name="T37" fmla="*/ 19 h 97"/>
              <a:gd name="T38" fmla="*/ 15 w 81"/>
              <a:gd name="T39" fmla="*/ 16 h 97"/>
              <a:gd name="T40" fmla="*/ 18 w 81"/>
              <a:gd name="T41" fmla="*/ 16 h 97"/>
              <a:gd name="T42" fmla="*/ 25 w 81"/>
              <a:gd name="T43" fmla="*/ 19 h 97"/>
              <a:gd name="T44" fmla="*/ 28 w 81"/>
              <a:gd name="T45" fmla="*/ 22 h 97"/>
              <a:gd name="T46" fmla="*/ 28 w 81"/>
              <a:gd name="T47" fmla="*/ 22 h 97"/>
              <a:gd name="T48" fmla="*/ 31 w 81"/>
              <a:gd name="T49" fmla="*/ 22 h 97"/>
              <a:gd name="T50" fmla="*/ 72 w 81"/>
              <a:gd name="T51" fmla="*/ 0 h 97"/>
              <a:gd name="T52" fmla="*/ 81 w 81"/>
              <a:gd name="T53" fmla="*/ 25 h 97"/>
              <a:gd name="T54" fmla="*/ 78 w 81"/>
              <a:gd name="T55" fmla="*/ 25 h 97"/>
              <a:gd name="T56" fmla="*/ 72 w 81"/>
              <a:gd name="T57" fmla="*/ 32 h 97"/>
              <a:gd name="T58" fmla="*/ 44 w 81"/>
              <a:gd name="T59" fmla="*/ 41 h 97"/>
              <a:gd name="T60" fmla="*/ 65 w 81"/>
              <a:gd name="T61" fmla="*/ 66 h 97"/>
              <a:gd name="T62" fmla="*/ 56 w 81"/>
              <a:gd name="T63" fmla="*/ 75 h 97"/>
              <a:gd name="T64" fmla="*/ 56 w 81"/>
              <a:gd name="T65" fmla="*/ 82 h 97"/>
              <a:gd name="T66" fmla="*/ 40 w 81"/>
              <a:gd name="T67" fmla="*/ 82 h 97"/>
              <a:gd name="T68" fmla="*/ 28 w 81"/>
              <a:gd name="T69" fmla="*/ 97 h 97"/>
              <a:gd name="T70" fmla="*/ 6 w 81"/>
              <a:gd name="T71" fmla="*/ 91 h 97"/>
              <a:gd name="T72" fmla="*/ 0 w 81"/>
              <a:gd name="T73" fmla="*/ 91 h 97"/>
              <a:gd name="T74" fmla="*/ 3 w 81"/>
              <a:gd name="T75" fmla="*/ 91 h 97"/>
              <a:gd name="T76" fmla="*/ 3 w 81"/>
              <a:gd name="T77" fmla="*/ 85 h 97"/>
              <a:gd name="T78" fmla="*/ 3 w 81"/>
              <a:gd name="T79" fmla="*/ 85 h 97"/>
              <a:gd name="T80" fmla="*/ 3 w 81"/>
              <a:gd name="T81" fmla="*/ 8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97">
                <a:moveTo>
                  <a:pt x="3" y="85"/>
                </a:moveTo>
                <a:lnTo>
                  <a:pt x="3" y="85"/>
                </a:lnTo>
                <a:lnTo>
                  <a:pt x="3" y="82"/>
                </a:lnTo>
                <a:lnTo>
                  <a:pt x="6" y="79"/>
                </a:lnTo>
                <a:lnTo>
                  <a:pt x="6" y="75"/>
                </a:lnTo>
                <a:lnTo>
                  <a:pt x="6" y="69"/>
                </a:lnTo>
                <a:lnTo>
                  <a:pt x="6" y="63"/>
                </a:lnTo>
                <a:lnTo>
                  <a:pt x="6" y="63"/>
                </a:lnTo>
                <a:lnTo>
                  <a:pt x="6" y="60"/>
                </a:lnTo>
                <a:lnTo>
                  <a:pt x="9" y="54"/>
                </a:lnTo>
                <a:lnTo>
                  <a:pt x="9" y="50"/>
                </a:lnTo>
                <a:lnTo>
                  <a:pt x="9" y="35"/>
                </a:lnTo>
                <a:lnTo>
                  <a:pt x="9" y="32"/>
                </a:lnTo>
                <a:lnTo>
                  <a:pt x="9" y="29"/>
                </a:lnTo>
                <a:lnTo>
                  <a:pt x="9" y="25"/>
                </a:lnTo>
                <a:lnTo>
                  <a:pt x="9" y="22"/>
                </a:lnTo>
                <a:lnTo>
                  <a:pt x="9" y="19"/>
                </a:lnTo>
                <a:lnTo>
                  <a:pt x="12" y="19"/>
                </a:lnTo>
                <a:lnTo>
                  <a:pt x="12" y="19"/>
                </a:lnTo>
                <a:lnTo>
                  <a:pt x="15" y="16"/>
                </a:lnTo>
                <a:lnTo>
                  <a:pt x="18" y="16"/>
                </a:lnTo>
                <a:lnTo>
                  <a:pt x="25" y="19"/>
                </a:lnTo>
                <a:lnTo>
                  <a:pt x="28" y="22"/>
                </a:lnTo>
                <a:lnTo>
                  <a:pt x="28" y="22"/>
                </a:lnTo>
                <a:lnTo>
                  <a:pt x="31" y="22"/>
                </a:lnTo>
                <a:lnTo>
                  <a:pt x="72" y="0"/>
                </a:lnTo>
                <a:lnTo>
                  <a:pt x="81" y="25"/>
                </a:lnTo>
                <a:lnTo>
                  <a:pt x="78" y="25"/>
                </a:lnTo>
                <a:lnTo>
                  <a:pt x="72" y="32"/>
                </a:lnTo>
                <a:lnTo>
                  <a:pt x="44" y="41"/>
                </a:lnTo>
                <a:lnTo>
                  <a:pt x="65" y="66"/>
                </a:lnTo>
                <a:lnTo>
                  <a:pt x="56" y="75"/>
                </a:lnTo>
                <a:lnTo>
                  <a:pt x="56" y="82"/>
                </a:lnTo>
                <a:lnTo>
                  <a:pt x="40" y="82"/>
                </a:lnTo>
                <a:lnTo>
                  <a:pt x="28" y="97"/>
                </a:lnTo>
                <a:lnTo>
                  <a:pt x="6" y="91"/>
                </a:lnTo>
                <a:lnTo>
                  <a:pt x="0" y="91"/>
                </a:lnTo>
                <a:lnTo>
                  <a:pt x="3" y="91"/>
                </a:lnTo>
                <a:lnTo>
                  <a:pt x="3" y="85"/>
                </a:lnTo>
                <a:lnTo>
                  <a:pt x="3" y="85"/>
                </a:lnTo>
                <a:lnTo>
                  <a:pt x="3" y="85"/>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6" name="Freeform 94">
            <a:extLst>
              <a:ext uri="{FF2B5EF4-FFF2-40B4-BE49-F238E27FC236}">
                <a16:creationId xmlns:a16="http://schemas.microsoft.com/office/drawing/2014/main" id="{C128A7BA-E35E-E6E8-D3E8-8DB53DFC319A}"/>
              </a:ext>
            </a:extLst>
          </p:cNvPr>
          <p:cNvSpPr>
            <a:spLocks/>
          </p:cNvSpPr>
          <p:nvPr userDrawn="1"/>
        </p:nvSpPr>
        <p:spPr bwMode="auto">
          <a:xfrm>
            <a:off x="15283454" y="7279558"/>
            <a:ext cx="1288966" cy="1092200"/>
          </a:xfrm>
          <a:custGeom>
            <a:avLst/>
            <a:gdLst>
              <a:gd name="T0" fmla="*/ 247 w 406"/>
              <a:gd name="T1" fmla="*/ 72 h 344"/>
              <a:gd name="T2" fmla="*/ 97 w 406"/>
              <a:gd name="T3" fmla="*/ 0 h 344"/>
              <a:gd name="T4" fmla="*/ 44 w 406"/>
              <a:gd name="T5" fmla="*/ 16 h 344"/>
              <a:gd name="T6" fmla="*/ 56 w 406"/>
              <a:gd name="T7" fmla="*/ 57 h 344"/>
              <a:gd name="T8" fmla="*/ 6 w 406"/>
              <a:gd name="T9" fmla="*/ 66 h 344"/>
              <a:gd name="T10" fmla="*/ 0 w 406"/>
              <a:gd name="T11" fmla="*/ 82 h 344"/>
              <a:gd name="T12" fmla="*/ 3 w 406"/>
              <a:gd name="T13" fmla="*/ 88 h 344"/>
              <a:gd name="T14" fmla="*/ 9 w 406"/>
              <a:gd name="T15" fmla="*/ 91 h 344"/>
              <a:gd name="T16" fmla="*/ 18 w 406"/>
              <a:gd name="T17" fmla="*/ 107 h 344"/>
              <a:gd name="T18" fmla="*/ 25 w 406"/>
              <a:gd name="T19" fmla="*/ 113 h 344"/>
              <a:gd name="T20" fmla="*/ 34 w 406"/>
              <a:gd name="T21" fmla="*/ 129 h 344"/>
              <a:gd name="T22" fmla="*/ 37 w 406"/>
              <a:gd name="T23" fmla="*/ 135 h 344"/>
              <a:gd name="T24" fmla="*/ 50 w 406"/>
              <a:gd name="T25" fmla="*/ 151 h 344"/>
              <a:gd name="T26" fmla="*/ 53 w 406"/>
              <a:gd name="T27" fmla="*/ 160 h 344"/>
              <a:gd name="T28" fmla="*/ 56 w 406"/>
              <a:gd name="T29" fmla="*/ 169 h 344"/>
              <a:gd name="T30" fmla="*/ 65 w 406"/>
              <a:gd name="T31" fmla="*/ 172 h 344"/>
              <a:gd name="T32" fmla="*/ 78 w 406"/>
              <a:gd name="T33" fmla="*/ 185 h 344"/>
              <a:gd name="T34" fmla="*/ 81 w 406"/>
              <a:gd name="T35" fmla="*/ 191 h 344"/>
              <a:gd name="T36" fmla="*/ 90 w 406"/>
              <a:gd name="T37" fmla="*/ 207 h 344"/>
              <a:gd name="T38" fmla="*/ 87 w 406"/>
              <a:gd name="T39" fmla="*/ 216 h 344"/>
              <a:gd name="T40" fmla="*/ 90 w 406"/>
              <a:gd name="T41" fmla="*/ 235 h 344"/>
              <a:gd name="T42" fmla="*/ 106 w 406"/>
              <a:gd name="T43" fmla="*/ 251 h 344"/>
              <a:gd name="T44" fmla="*/ 115 w 406"/>
              <a:gd name="T45" fmla="*/ 257 h 344"/>
              <a:gd name="T46" fmla="*/ 125 w 406"/>
              <a:gd name="T47" fmla="*/ 266 h 344"/>
              <a:gd name="T48" fmla="*/ 131 w 406"/>
              <a:gd name="T49" fmla="*/ 269 h 344"/>
              <a:gd name="T50" fmla="*/ 140 w 406"/>
              <a:gd name="T51" fmla="*/ 294 h 344"/>
              <a:gd name="T52" fmla="*/ 159 w 406"/>
              <a:gd name="T53" fmla="*/ 319 h 344"/>
              <a:gd name="T54" fmla="*/ 172 w 406"/>
              <a:gd name="T55" fmla="*/ 329 h 344"/>
              <a:gd name="T56" fmla="*/ 181 w 406"/>
              <a:gd name="T57" fmla="*/ 323 h 344"/>
              <a:gd name="T58" fmla="*/ 184 w 406"/>
              <a:gd name="T59" fmla="*/ 307 h 344"/>
              <a:gd name="T60" fmla="*/ 222 w 406"/>
              <a:gd name="T61" fmla="*/ 316 h 344"/>
              <a:gd name="T62" fmla="*/ 275 w 406"/>
              <a:gd name="T63" fmla="*/ 294 h 344"/>
              <a:gd name="T64" fmla="*/ 403 w 406"/>
              <a:gd name="T65" fmla="*/ 197 h 344"/>
              <a:gd name="T66" fmla="*/ 337 w 406"/>
              <a:gd name="T67" fmla="*/ 194 h 344"/>
              <a:gd name="T68" fmla="*/ 331 w 406"/>
              <a:gd name="T69" fmla="*/ 169 h 344"/>
              <a:gd name="T70" fmla="*/ 328 w 406"/>
              <a:gd name="T71" fmla="*/ 166 h 344"/>
              <a:gd name="T72" fmla="*/ 325 w 406"/>
              <a:gd name="T73" fmla="*/ 160 h 344"/>
              <a:gd name="T74" fmla="*/ 315 w 406"/>
              <a:gd name="T75" fmla="*/ 157 h 344"/>
              <a:gd name="T76" fmla="*/ 309 w 406"/>
              <a:gd name="T77" fmla="*/ 151 h 344"/>
              <a:gd name="T78" fmla="*/ 297 w 406"/>
              <a:gd name="T79" fmla="*/ 129 h 344"/>
              <a:gd name="T80" fmla="*/ 297 w 406"/>
              <a:gd name="T81" fmla="*/ 119 h 344"/>
              <a:gd name="T82" fmla="*/ 290 w 406"/>
              <a:gd name="T83" fmla="*/ 113 h 344"/>
              <a:gd name="T84" fmla="*/ 281 w 406"/>
              <a:gd name="T85" fmla="*/ 100 h 344"/>
              <a:gd name="T86" fmla="*/ 284 w 406"/>
              <a:gd name="T87" fmla="*/ 97 h 344"/>
              <a:gd name="T88" fmla="*/ 272 w 406"/>
              <a:gd name="T89" fmla="*/ 94 h 344"/>
              <a:gd name="T90" fmla="*/ 262 w 406"/>
              <a:gd name="T91" fmla="*/ 79 h 344"/>
              <a:gd name="T92" fmla="*/ 259 w 406"/>
              <a:gd name="T93" fmla="*/ 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6" h="344">
                <a:moveTo>
                  <a:pt x="259" y="72"/>
                </a:moveTo>
                <a:lnTo>
                  <a:pt x="247" y="79"/>
                </a:lnTo>
                <a:lnTo>
                  <a:pt x="247" y="72"/>
                </a:lnTo>
                <a:lnTo>
                  <a:pt x="228" y="66"/>
                </a:lnTo>
                <a:lnTo>
                  <a:pt x="190" y="66"/>
                </a:lnTo>
                <a:lnTo>
                  <a:pt x="97" y="0"/>
                </a:lnTo>
                <a:lnTo>
                  <a:pt x="78" y="0"/>
                </a:lnTo>
                <a:lnTo>
                  <a:pt x="72" y="7"/>
                </a:lnTo>
                <a:lnTo>
                  <a:pt x="44" y="16"/>
                </a:lnTo>
                <a:lnTo>
                  <a:pt x="65" y="41"/>
                </a:lnTo>
                <a:lnTo>
                  <a:pt x="56" y="50"/>
                </a:lnTo>
                <a:lnTo>
                  <a:pt x="56" y="57"/>
                </a:lnTo>
                <a:lnTo>
                  <a:pt x="40" y="57"/>
                </a:lnTo>
                <a:lnTo>
                  <a:pt x="28" y="72"/>
                </a:lnTo>
                <a:lnTo>
                  <a:pt x="6" y="66"/>
                </a:lnTo>
                <a:lnTo>
                  <a:pt x="0" y="66"/>
                </a:lnTo>
                <a:lnTo>
                  <a:pt x="0" y="72"/>
                </a:lnTo>
                <a:lnTo>
                  <a:pt x="0" y="82"/>
                </a:lnTo>
                <a:lnTo>
                  <a:pt x="0" y="88"/>
                </a:lnTo>
                <a:lnTo>
                  <a:pt x="0" y="91"/>
                </a:lnTo>
                <a:lnTo>
                  <a:pt x="3" y="88"/>
                </a:lnTo>
                <a:lnTo>
                  <a:pt x="3" y="91"/>
                </a:lnTo>
                <a:lnTo>
                  <a:pt x="6" y="88"/>
                </a:lnTo>
                <a:lnTo>
                  <a:pt x="9" y="91"/>
                </a:lnTo>
                <a:lnTo>
                  <a:pt x="9" y="91"/>
                </a:lnTo>
                <a:lnTo>
                  <a:pt x="18" y="100"/>
                </a:lnTo>
                <a:lnTo>
                  <a:pt x="18" y="107"/>
                </a:lnTo>
                <a:lnTo>
                  <a:pt x="22" y="107"/>
                </a:lnTo>
                <a:lnTo>
                  <a:pt x="22" y="110"/>
                </a:lnTo>
                <a:lnTo>
                  <a:pt x="25" y="113"/>
                </a:lnTo>
                <a:lnTo>
                  <a:pt x="28" y="113"/>
                </a:lnTo>
                <a:lnTo>
                  <a:pt x="34" y="126"/>
                </a:lnTo>
                <a:lnTo>
                  <a:pt x="34" y="129"/>
                </a:lnTo>
                <a:lnTo>
                  <a:pt x="34" y="132"/>
                </a:lnTo>
                <a:lnTo>
                  <a:pt x="37" y="132"/>
                </a:lnTo>
                <a:lnTo>
                  <a:pt x="37" y="135"/>
                </a:lnTo>
                <a:lnTo>
                  <a:pt x="40" y="138"/>
                </a:lnTo>
                <a:lnTo>
                  <a:pt x="47" y="141"/>
                </a:lnTo>
                <a:lnTo>
                  <a:pt x="50" y="151"/>
                </a:lnTo>
                <a:lnTo>
                  <a:pt x="53" y="151"/>
                </a:lnTo>
                <a:lnTo>
                  <a:pt x="53" y="157"/>
                </a:lnTo>
                <a:lnTo>
                  <a:pt x="53" y="160"/>
                </a:lnTo>
                <a:lnTo>
                  <a:pt x="53" y="163"/>
                </a:lnTo>
                <a:lnTo>
                  <a:pt x="56" y="166"/>
                </a:lnTo>
                <a:lnTo>
                  <a:pt x="56" y="169"/>
                </a:lnTo>
                <a:lnTo>
                  <a:pt x="59" y="172"/>
                </a:lnTo>
                <a:lnTo>
                  <a:pt x="62" y="169"/>
                </a:lnTo>
                <a:lnTo>
                  <a:pt x="65" y="172"/>
                </a:lnTo>
                <a:lnTo>
                  <a:pt x="72" y="176"/>
                </a:lnTo>
                <a:lnTo>
                  <a:pt x="78" y="179"/>
                </a:lnTo>
                <a:lnTo>
                  <a:pt x="78" y="185"/>
                </a:lnTo>
                <a:lnTo>
                  <a:pt x="81" y="185"/>
                </a:lnTo>
                <a:lnTo>
                  <a:pt x="81" y="188"/>
                </a:lnTo>
                <a:lnTo>
                  <a:pt x="81" y="191"/>
                </a:lnTo>
                <a:lnTo>
                  <a:pt x="84" y="197"/>
                </a:lnTo>
                <a:lnTo>
                  <a:pt x="87" y="201"/>
                </a:lnTo>
                <a:lnTo>
                  <a:pt x="90" y="207"/>
                </a:lnTo>
                <a:lnTo>
                  <a:pt x="90" y="210"/>
                </a:lnTo>
                <a:lnTo>
                  <a:pt x="87" y="216"/>
                </a:lnTo>
                <a:lnTo>
                  <a:pt x="87" y="216"/>
                </a:lnTo>
                <a:lnTo>
                  <a:pt x="87" y="219"/>
                </a:lnTo>
                <a:lnTo>
                  <a:pt x="90" y="229"/>
                </a:lnTo>
                <a:lnTo>
                  <a:pt x="90" y="235"/>
                </a:lnTo>
                <a:lnTo>
                  <a:pt x="94" y="238"/>
                </a:lnTo>
                <a:lnTo>
                  <a:pt x="97" y="241"/>
                </a:lnTo>
                <a:lnTo>
                  <a:pt x="106" y="251"/>
                </a:lnTo>
                <a:lnTo>
                  <a:pt x="109" y="254"/>
                </a:lnTo>
                <a:lnTo>
                  <a:pt x="112" y="254"/>
                </a:lnTo>
                <a:lnTo>
                  <a:pt x="115" y="257"/>
                </a:lnTo>
                <a:lnTo>
                  <a:pt x="119" y="257"/>
                </a:lnTo>
                <a:lnTo>
                  <a:pt x="122" y="263"/>
                </a:lnTo>
                <a:lnTo>
                  <a:pt x="125" y="266"/>
                </a:lnTo>
                <a:lnTo>
                  <a:pt x="128" y="266"/>
                </a:lnTo>
                <a:lnTo>
                  <a:pt x="128" y="269"/>
                </a:lnTo>
                <a:lnTo>
                  <a:pt x="131" y="269"/>
                </a:lnTo>
                <a:lnTo>
                  <a:pt x="134" y="288"/>
                </a:lnTo>
                <a:lnTo>
                  <a:pt x="140" y="288"/>
                </a:lnTo>
                <a:lnTo>
                  <a:pt x="140" y="294"/>
                </a:lnTo>
                <a:lnTo>
                  <a:pt x="153" y="310"/>
                </a:lnTo>
                <a:lnTo>
                  <a:pt x="156" y="310"/>
                </a:lnTo>
                <a:lnTo>
                  <a:pt x="159" y="319"/>
                </a:lnTo>
                <a:lnTo>
                  <a:pt x="165" y="319"/>
                </a:lnTo>
                <a:lnTo>
                  <a:pt x="169" y="329"/>
                </a:lnTo>
                <a:lnTo>
                  <a:pt x="172" y="329"/>
                </a:lnTo>
                <a:lnTo>
                  <a:pt x="175" y="332"/>
                </a:lnTo>
                <a:lnTo>
                  <a:pt x="175" y="329"/>
                </a:lnTo>
                <a:lnTo>
                  <a:pt x="181" y="323"/>
                </a:lnTo>
                <a:lnTo>
                  <a:pt x="178" y="316"/>
                </a:lnTo>
                <a:lnTo>
                  <a:pt x="181" y="307"/>
                </a:lnTo>
                <a:lnTo>
                  <a:pt x="184" y="307"/>
                </a:lnTo>
                <a:lnTo>
                  <a:pt x="190" y="310"/>
                </a:lnTo>
                <a:lnTo>
                  <a:pt x="203" y="310"/>
                </a:lnTo>
                <a:lnTo>
                  <a:pt x="222" y="316"/>
                </a:lnTo>
                <a:lnTo>
                  <a:pt x="237" y="326"/>
                </a:lnTo>
                <a:lnTo>
                  <a:pt x="237" y="344"/>
                </a:lnTo>
                <a:lnTo>
                  <a:pt x="275" y="294"/>
                </a:lnTo>
                <a:lnTo>
                  <a:pt x="403" y="257"/>
                </a:lnTo>
                <a:lnTo>
                  <a:pt x="406" y="213"/>
                </a:lnTo>
                <a:lnTo>
                  <a:pt x="403" y="197"/>
                </a:lnTo>
                <a:lnTo>
                  <a:pt x="403" y="197"/>
                </a:lnTo>
                <a:lnTo>
                  <a:pt x="397" y="204"/>
                </a:lnTo>
                <a:lnTo>
                  <a:pt x="337" y="194"/>
                </a:lnTo>
                <a:lnTo>
                  <a:pt x="334" y="179"/>
                </a:lnTo>
                <a:lnTo>
                  <a:pt x="331" y="176"/>
                </a:lnTo>
                <a:lnTo>
                  <a:pt x="331" y="169"/>
                </a:lnTo>
                <a:lnTo>
                  <a:pt x="331" y="169"/>
                </a:lnTo>
                <a:lnTo>
                  <a:pt x="328" y="169"/>
                </a:lnTo>
                <a:lnTo>
                  <a:pt x="328" y="166"/>
                </a:lnTo>
                <a:lnTo>
                  <a:pt x="328" y="163"/>
                </a:lnTo>
                <a:lnTo>
                  <a:pt x="328" y="160"/>
                </a:lnTo>
                <a:lnTo>
                  <a:pt x="325" y="160"/>
                </a:lnTo>
                <a:lnTo>
                  <a:pt x="325" y="160"/>
                </a:lnTo>
                <a:lnTo>
                  <a:pt x="322" y="160"/>
                </a:lnTo>
                <a:lnTo>
                  <a:pt x="315" y="157"/>
                </a:lnTo>
                <a:lnTo>
                  <a:pt x="315" y="154"/>
                </a:lnTo>
                <a:lnTo>
                  <a:pt x="312" y="157"/>
                </a:lnTo>
                <a:lnTo>
                  <a:pt x="309" y="151"/>
                </a:lnTo>
                <a:lnTo>
                  <a:pt x="309" y="147"/>
                </a:lnTo>
                <a:lnTo>
                  <a:pt x="300" y="135"/>
                </a:lnTo>
                <a:lnTo>
                  <a:pt x="297" y="129"/>
                </a:lnTo>
                <a:lnTo>
                  <a:pt x="300" y="129"/>
                </a:lnTo>
                <a:lnTo>
                  <a:pt x="300" y="129"/>
                </a:lnTo>
                <a:lnTo>
                  <a:pt x="297" y="119"/>
                </a:lnTo>
                <a:lnTo>
                  <a:pt x="297" y="116"/>
                </a:lnTo>
                <a:lnTo>
                  <a:pt x="294" y="113"/>
                </a:lnTo>
                <a:lnTo>
                  <a:pt x="290" y="113"/>
                </a:lnTo>
                <a:lnTo>
                  <a:pt x="284" y="104"/>
                </a:lnTo>
                <a:lnTo>
                  <a:pt x="281" y="104"/>
                </a:lnTo>
                <a:lnTo>
                  <a:pt x="281" y="100"/>
                </a:lnTo>
                <a:lnTo>
                  <a:pt x="281" y="97"/>
                </a:lnTo>
                <a:lnTo>
                  <a:pt x="281" y="97"/>
                </a:lnTo>
                <a:lnTo>
                  <a:pt x="284" y="97"/>
                </a:lnTo>
                <a:lnTo>
                  <a:pt x="281" y="97"/>
                </a:lnTo>
                <a:lnTo>
                  <a:pt x="278" y="94"/>
                </a:lnTo>
                <a:lnTo>
                  <a:pt x="272" y="94"/>
                </a:lnTo>
                <a:lnTo>
                  <a:pt x="269" y="85"/>
                </a:lnTo>
                <a:lnTo>
                  <a:pt x="265" y="79"/>
                </a:lnTo>
                <a:lnTo>
                  <a:pt x="262" y="79"/>
                </a:lnTo>
                <a:lnTo>
                  <a:pt x="262" y="75"/>
                </a:lnTo>
                <a:lnTo>
                  <a:pt x="262" y="75"/>
                </a:lnTo>
                <a:lnTo>
                  <a:pt x="259" y="72"/>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7" name="Freeform 95">
            <a:extLst>
              <a:ext uri="{FF2B5EF4-FFF2-40B4-BE49-F238E27FC236}">
                <a16:creationId xmlns:a16="http://schemas.microsoft.com/office/drawing/2014/main" id="{C66698BB-650A-3C9C-6301-3E84B12E28A2}"/>
              </a:ext>
            </a:extLst>
          </p:cNvPr>
          <p:cNvSpPr>
            <a:spLocks/>
          </p:cNvSpPr>
          <p:nvPr userDrawn="1"/>
        </p:nvSpPr>
        <p:spPr bwMode="auto">
          <a:xfrm>
            <a:off x="16273987" y="7689135"/>
            <a:ext cx="50797" cy="98426"/>
          </a:xfrm>
          <a:custGeom>
            <a:avLst/>
            <a:gdLst>
              <a:gd name="T0" fmla="*/ 13 w 16"/>
              <a:gd name="T1" fmla="*/ 31 h 31"/>
              <a:gd name="T2" fmla="*/ 10 w 16"/>
              <a:gd name="T3" fmla="*/ 31 h 31"/>
              <a:gd name="T4" fmla="*/ 3 w 16"/>
              <a:gd name="T5" fmla="*/ 28 h 31"/>
              <a:gd name="T6" fmla="*/ 3 w 16"/>
              <a:gd name="T7" fmla="*/ 25 h 31"/>
              <a:gd name="T8" fmla="*/ 3 w 16"/>
              <a:gd name="T9" fmla="*/ 25 h 31"/>
              <a:gd name="T10" fmla="*/ 3 w 16"/>
              <a:gd name="T11" fmla="*/ 22 h 31"/>
              <a:gd name="T12" fmla="*/ 3 w 16"/>
              <a:gd name="T13" fmla="*/ 18 h 31"/>
              <a:gd name="T14" fmla="*/ 0 w 16"/>
              <a:gd name="T15" fmla="*/ 18 h 31"/>
              <a:gd name="T16" fmla="*/ 3 w 16"/>
              <a:gd name="T17" fmla="*/ 12 h 31"/>
              <a:gd name="T18" fmla="*/ 3 w 16"/>
              <a:gd name="T19" fmla="*/ 12 h 31"/>
              <a:gd name="T20" fmla="*/ 3 w 16"/>
              <a:gd name="T21" fmla="*/ 12 h 31"/>
              <a:gd name="T22" fmla="*/ 3 w 16"/>
              <a:gd name="T23" fmla="*/ 6 h 31"/>
              <a:gd name="T24" fmla="*/ 3 w 16"/>
              <a:gd name="T25" fmla="*/ 6 h 31"/>
              <a:gd name="T26" fmla="*/ 3 w 16"/>
              <a:gd name="T27" fmla="*/ 3 h 31"/>
              <a:gd name="T28" fmla="*/ 7 w 16"/>
              <a:gd name="T29" fmla="*/ 3 h 31"/>
              <a:gd name="T30" fmla="*/ 7 w 16"/>
              <a:gd name="T31" fmla="*/ 0 h 31"/>
              <a:gd name="T32" fmla="*/ 7 w 16"/>
              <a:gd name="T33" fmla="*/ 0 h 31"/>
              <a:gd name="T34" fmla="*/ 7 w 16"/>
              <a:gd name="T35" fmla="*/ 0 h 31"/>
              <a:gd name="T36" fmla="*/ 10 w 16"/>
              <a:gd name="T37" fmla="*/ 0 h 31"/>
              <a:gd name="T38" fmla="*/ 13 w 16"/>
              <a:gd name="T39" fmla="*/ 0 h 31"/>
              <a:gd name="T40" fmla="*/ 13 w 16"/>
              <a:gd name="T41" fmla="*/ 3 h 31"/>
              <a:gd name="T42" fmla="*/ 13 w 16"/>
              <a:gd name="T43" fmla="*/ 3 h 31"/>
              <a:gd name="T44" fmla="*/ 16 w 16"/>
              <a:gd name="T45" fmla="*/ 3 h 31"/>
              <a:gd name="T46" fmla="*/ 13 w 16"/>
              <a:gd name="T47" fmla="*/ 12 h 31"/>
              <a:gd name="T48" fmla="*/ 13 w 16"/>
              <a:gd name="T49" fmla="*/ 12 h 31"/>
              <a:gd name="T50" fmla="*/ 13 w 16"/>
              <a:gd name="T51" fmla="*/ 18 h 31"/>
              <a:gd name="T52" fmla="*/ 16 w 16"/>
              <a:gd name="T53" fmla="*/ 18 h 31"/>
              <a:gd name="T54" fmla="*/ 16 w 16"/>
              <a:gd name="T55" fmla="*/ 22 h 31"/>
              <a:gd name="T56" fmla="*/ 16 w 16"/>
              <a:gd name="T57" fmla="*/ 31 h 31"/>
              <a:gd name="T58" fmla="*/ 13 w 16"/>
              <a:gd name="T59" fmla="*/ 31 h 31"/>
              <a:gd name="T60" fmla="*/ 13 w 16"/>
              <a:gd name="T6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 h="31">
                <a:moveTo>
                  <a:pt x="13" y="31"/>
                </a:moveTo>
                <a:lnTo>
                  <a:pt x="10" y="31"/>
                </a:lnTo>
                <a:lnTo>
                  <a:pt x="3" y="28"/>
                </a:lnTo>
                <a:lnTo>
                  <a:pt x="3" y="25"/>
                </a:lnTo>
                <a:lnTo>
                  <a:pt x="3" y="25"/>
                </a:lnTo>
                <a:lnTo>
                  <a:pt x="3" y="22"/>
                </a:lnTo>
                <a:lnTo>
                  <a:pt x="3" y="18"/>
                </a:lnTo>
                <a:lnTo>
                  <a:pt x="0" y="18"/>
                </a:lnTo>
                <a:lnTo>
                  <a:pt x="3" y="12"/>
                </a:lnTo>
                <a:lnTo>
                  <a:pt x="3" y="12"/>
                </a:lnTo>
                <a:lnTo>
                  <a:pt x="3" y="12"/>
                </a:lnTo>
                <a:lnTo>
                  <a:pt x="3" y="6"/>
                </a:lnTo>
                <a:lnTo>
                  <a:pt x="3" y="6"/>
                </a:lnTo>
                <a:lnTo>
                  <a:pt x="3" y="3"/>
                </a:lnTo>
                <a:lnTo>
                  <a:pt x="7" y="3"/>
                </a:lnTo>
                <a:lnTo>
                  <a:pt x="7" y="0"/>
                </a:lnTo>
                <a:lnTo>
                  <a:pt x="7" y="0"/>
                </a:lnTo>
                <a:lnTo>
                  <a:pt x="7" y="0"/>
                </a:lnTo>
                <a:lnTo>
                  <a:pt x="10" y="0"/>
                </a:lnTo>
                <a:lnTo>
                  <a:pt x="13" y="0"/>
                </a:lnTo>
                <a:lnTo>
                  <a:pt x="13" y="3"/>
                </a:lnTo>
                <a:lnTo>
                  <a:pt x="13" y="3"/>
                </a:lnTo>
                <a:lnTo>
                  <a:pt x="16" y="3"/>
                </a:lnTo>
                <a:lnTo>
                  <a:pt x="13" y="12"/>
                </a:lnTo>
                <a:lnTo>
                  <a:pt x="13" y="12"/>
                </a:lnTo>
                <a:lnTo>
                  <a:pt x="13" y="18"/>
                </a:lnTo>
                <a:lnTo>
                  <a:pt x="16" y="18"/>
                </a:lnTo>
                <a:lnTo>
                  <a:pt x="16" y="22"/>
                </a:lnTo>
                <a:lnTo>
                  <a:pt x="16" y="31"/>
                </a:lnTo>
                <a:lnTo>
                  <a:pt x="13" y="31"/>
                </a:lnTo>
                <a:lnTo>
                  <a:pt x="13" y="31"/>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8" name="Freeform 96">
            <a:extLst>
              <a:ext uri="{FF2B5EF4-FFF2-40B4-BE49-F238E27FC236}">
                <a16:creationId xmlns:a16="http://schemas.microsoft.com/office/drawing/2014/main" id="{4D8C8FF9-133B-C058-D6F4-BB6AFBB2CE32}"/>
              </a:ext>
            </a:extLst>
          </p:cNvPr>
          <p:cNvSpPr>
            <a:spLocks/>
          </p:cNvSpPr>
          <p:nvPr userDrawn="1"/>
        </p:nvSpPr>
        <p:spPr bwMode="auto">
          <a:xfrm>
            <a:off x="16334314" y="7689137"/>
            <a:ext cx="298431" cy="238126"/>
          </a:xfrm>
          <a:custGeom>
            <a:avLst/>
            <a:gdLst>
              <a:gd name="T0" fmla="*/ 0 w 94"/>
              <a:gd name="T1" fmla="*/ 40 h 75"/>
              <a:gd name="T2" fmla="*/ 0 w 94"/>
              <a:gd name="T3" fmla="*/ 47 h 75"/>
              <a:gd name="T4" fmla="*/ 3 w 94"/>
              <a:gd name="T5" fmla="*/ 50 h 75"/>
              <a:gd name="T6" fmla="*/ 6 w 94"/>
              <a:gd name="T7" fmla="*/ 65 h 75"/>
              <a:gd name="T8" fmla="*/ 66 w 94"/>
              <a:gd name="T9" fmla="*/ 75 h 75"/>
              <a:gd name="T10" fmla="*/ 72 w 94"/>
              <a:gd name="T11" fmla="*/ 68 h 75"/>
              <a:gd name="T12" fmla="*/ 88 w 94"/>
              <a:gd name="T13" fmla="*/ 18 h 75"/>
              <a:gd name="T14" fmla="*/ 94 w 94"/>
              <a:gd name="T15" fmla="*/ 18 h 75"/>
              <a:gd name="T16" fmla="*/ 91 w 94"/>
              <a:gd name="T17" fmla="*/ 12 h 75"/>
              <a:gd name="T18" fmla="*/ 91 w 94"/>
              <a:gd name="T19" fmla="*/ 9 h 75"/>
              <a:gd name="T20" fmla="*/ 91 w 94"/>
              <a:gd name="T21" fmla="*/ 9 h 75"/>
              <a:gd name="T22" fmla="*/ 88 w 94"/>
              <a:gd name="T23" fmla="*/ 9 h 75"/>
              <a:gd name="T24" fmla="*/ 88 w 94"/>
              <a:gd name="T25" fmla="*/ 9 h 75"/>
              <a:gd name="T26" fmla="*/ 88 w 94"/>
              <a:gd name="T27" fmla="*/ 9 h 75"/>
              <a:gd name="T28" fmla="*/ 88 w 94"/>
              <a:gd name="T29" fmla="*/ 3 h 75"/>
              <a:gd name="T30" fmla="*/ 84 w 94"/>
              <a:gd name="T31" fmla="*/ 0 h 75"/>
              <a:gd name="T32" fmla="*/ 84 w 94"/>
              <a:gd name="T33" fmla="*/ 3 h 75"/>
              <a:gd name="T34" fmla="*/ 81 w 94"/>
              <a:gd name="T35" fmla="*/ 6 h 75"/>
              <a:gd name="T36" fmla="*/ 69 w 94"/>
              <a:gd name="T37" fmla="*/ 12 h 75"/>
              <a:gd name="T38" fmla="*/ 69 w 94"/>
              <a:gd name="T39" fmla="*/ 18 h 75"/>
              <a:gd name="T40" fmla="*/ 59 w 94"/>
              <a:gd name="T41" fmla="*/ 28 h 75"/>
              <a:gd name="T42" fmla="*/ 56 w 94"/>
              <a:gd name="T43" fmla="*/ 31 h 75"/>
              <a:gd name="T44" fmla="*/ 59 w 94"/>
              <a:gd name="T45" fmla="*/ 31 h 75"/>
              <a:gd name="T46" fmla="*/ 59 w 94"/>
              <a:gd name="T47" fmla="*/ 34 h 75"/>
              <a:gd name="T48" fmla="*/ 56 w 94"/>
              <a:gd name="T49" fmla="*/ 40 h 75"/>
              <a:gd name="T50" fmla="*/ 53 w 94"/>
              <a:gd name="T51" fmla="*/ 37 h 75"/>
              <a:gd name="T52" fmla="*/ 50 w 94"/>
              <a:gd name="T53" fmla="*/ 37 h 75"/>
              <a:gd name="T54" fmla="*/ 50 w 94"/>
              <a:gd name="T55" fmla="*/ 37 h 75"/>
              <a:gd name="T56" fmla="*/ 50 w 94"/>
              <a:gd name="T57" fmla="*/ 40 h 75"/>
              <a:gd name="T58" fmla="*/ 47 w 94"/>
              <a:gd name="T59" fmla="*/ 40 h 75"/>
              <a:gd name="T60" fmla="*/ 47 w 94"/>
              <a:gd name="T61" fmla="*/ 43 h 75"/>
              <a:gd name="T62" fmla="*/ 41 w 94"/>
              <a:gd name="T63" fmla="*/ 43 h 75"/>
              <a:gd name="T64" fmla="*/ 38 w 94"/>
              <a:gd name="T65" fmla="*/ 43 h 75"/>
              <a:gd name="T66" fmla="*/ 34 w 94"/>
              <a:gd name="T67" fmla="*/ 43 h 75"/>
              <a:gd name="T68" fmla="*/ 31 w 94"/>
              <a:gd name="T69" fmla="*/ 43 h 75"/>
              <a:gd name="T70" fmla="*/ 31 w 94"/>
              <a:gd name="T71" fmla="*/ 40 h 75"/>
              <a:gd name="T72" fmla="*/ 28 w 94"/>
              <a:gd name="T73" fmla="*/ 43 h 75"/>
              <a:gd name="T74" fmla="*/ 22 w 94"/>
              <a:gd name="T75" fmla="*/ 40 h 75"/>
              <a:gd name="T76" fmla="*/ 13 w 94"/>
              <a:gd name="T77" fmla="*/ 47 h 75"/>
              <a:gd name="T78" fmla="*/ 9 w 94"/>
              <a:gd name="T79" fmla="*/ 47 h 75"/>
              <a:gd name="T80" fmla="*/ 6 w 94"/>
              <a:gd name="T81" fmla="*/ 47 h 75"/>
              <a:gd name="T82" fmla="*/ 3 w 94"/>
              <a:gd name="T83" fmla="*/ 47 h 75"/>
              <a:gd name="T84" fmla="*/ 3 w 94"/>
              <a:gd name="T85" fmla="*/ 37 h 75"/>
              <a:gd name="T86" fmla="*/ 0 w 94"/>
              <a:gd name="T87" fmla="*/ 40 h 75"/>
              <a:gd name="T88" fmla="*/ 0 w 94"/>
              <a:gd name="T89" fmla="*/ 4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75">
                <a:moveTo>
                  <a:pt x="0" y="40"/>
                </a:moveTo>
                <a:lnTo>
                  <a:pt x="0" y="47"/>
                </a:lnTo>
                <a:lnTo>
                  <a:pt x="3" y="50"/>
                </a:lnTo>
                <a:lnTo>
                  <a:pt x="6" y="65"/>
                </a:lnTo>
                <a:lnTo>
                  <a:pt x="66" y="75"/>
                </a:lnTo>
                <a:lnTo>
                  <a:pt x="72" y="68"/>
                </a:lnTo>
                <a:lnTo>
                  <a:pt x="88" y="18"/>
                </a:lnTo>
                <a:lnTo>
                  <a:pt x="94" y="18"/>
                </a:lnTo>
                <a:lnTo>
                  <a:pt x="91" y="12"/>
                </a:lnTo>
                <a:lnTo>
                  <a:pt x="91" y="9"/>
                </a:lnTo>
                <a:lnTo>
                  <a:pt x="91" y="9"/>
                </a:lnTo>
                <a:lnTo>
                  <a:pt x="88" y="9"/>
                </a:lnTo>
                <a:lnTo>
                  <a:pt x="88" y="9"/>
                </a:lnTo>
                <a:lnTo>
                  <a:pt x="88" y="9"/>
                </a:lnTo>
                <a:lnTo>
                  <a:pt x="88" y="3"/>
                </a:lnTo>
                <a:lnTo>
                  <a:pt x="84" y="0"/>
                </a:lnTo>
                <a:lnTo>
                  <a:pt x="84" y="3"/>
                </a:lnTo>
                <a:lnTo>
                  <a:pt x="81" y="6"/>
                </a:lnTo>
                <a:lnTo>
                  <a:pt x="69" y="12"/>
                </a:lnTo>
                <a:lnTo>
                  <a:pt x="69" y="18"/>
                </a:lnTo>
                <a:lnTo>
                  <a:pt x="59" y="28"/>
                </a:lnTo>
                <a:lnTo>
                  <a:pt x="56" y="31"/>
                </a:lnTo>
                <a:lnTo>
                  <a:pt x="59" y="31"/>
                </a:lnTo>
                <a:lnTo>
                  <a:pt x="59" y="34"/>
                </a:lnTo>
                <a:lnTo>
                  <a:pt x="56" y="40"/>
                </a:lnTo>
                <a:lnTo>
                  <a:pt x="53" y="37"/>
                </a:lnTo>
                <a:lnTo>
                  <a:pt x="50" y="37"/>
                </a:lnTo>
                <a:lnTo>
                  <a:pt x="50" y="37"/>
                </a:lnTo>
                <a:lnTo>
                  <a:pt x="50" y="40"/>
                </a:lnTo>
                <a:lnTo>
                  <a:pt x="47" y="40"/>
                </a:lnTo>
                <a:lnTo>
                  <a:pt x="47" y="43"/>
                </a:lnTo>
                <a:lnTo>
                  <a:pt x="41" y="43"/>
                </a:lnTo>
                <a:lnTo>
                  <a:pt x="38" y="43"/>
                </a:lnTo>
                <a:lnTo>
                  <a:pt x="34" y="43"/>
                </a:lnTo>
                <a:lnTo>
                  <a:pt x="31" y="43"/>
                </a:lnTo>
                <a:lnTo>
                  <a:pt x="31" y="40"/>
                </a:lnTo>
                <a:lnTo>
                  <a:pt x="28" y="43"/>
                </a:lnTo>
                <a:lnTo>
                  <a:pt x="22" y="40"/>
                </a:lnTo>
                <a:lnTo>
                  <a:pt x="13" y="47"/>
                </a:lnTo>
                <a:lnTo>
                  <a:pt x="9" y="47"/>
                </a:lnTo>
                <a:lnTo>
                  <a:pt x="6" y="47"/>
                </a:lnTo>
                <a:lnTo>
                  <a:pt x="3" y="47"/>
                </a:lnTo>
                <a:lnTo>
                  <a:pt x="3" y="37"/>
                </a:lnTo>
                <a:lnTo>
                  <a:pt x="0" y="40"/>
                </a:lnTo>
                <a:lnTo>
                  <a:pt x="0" y="40"/>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9" name="Freeform 97">
            <a:extLst>
              <a:ext uri="{FF2B5EF4-FFF2-40B4-BE49-F238E27FC236}">
                <a16:creationId xmlns:a16="http://schemas.microsoft.com/office/drawing/2014/main" id="{DBBE649A-91DD-412E-E9F9-4EC6B0209ACE}"/>
              </a:ext>
            </a:extLst>
          </p:cNvPr>
          <p:cNvSpPr>
            <a:spLocks noEditPoints="1"/>
          </p:cNvSpPr>
          <p:nvPr userDrawn="1"/>
        </p:nvSpPr>
        <p:spPr bwMode="auto">
          <a:xfrm>
            <a:off x="11470524" y="6812832"/>
            <a:ext cx="190490" cy="79376"/>
          </a:xfrm>
          <a:custGeom>
            <a:avLst/>
            <a:gdLst>
              <a:gd name="T0" fmla="*/ 25 w 60"/>
              <a:gd name="T1" fmla="*/ 0 h 25"/>
              <a:gd name="T2" fmla="*/ 29 w 60"/>
              <a:gd name="T3" fmla="*/ 0 h 25"/>
              <a:gd name="T4" fmla="*/ 29 w 60"/>
              <a:gd name="T5" fmla="*/ 0 h 25"/>
              <a:gd name="T6" fmla="*/ 25 w 60"/>
              <a:gd name="T7" fmla="*/ 0 h 25"/>
              <a:gd name="T8" fmla="*/ 25 w 60"/>
              <a:gd name="T9" fmla="*/ 0 h 25"/>
              <a:gd name="T10" fmla="*/ 25 w 60"/>
              <a:gd name="T11" fmla="*/ 0 h 25"/>
              <a:gd name="T12" fmla="*/ 7 w 60"/>
              <a:gd name="T13" fmla="*/ 0 h 25"/>
              <a:gd name="T14" fmla="*/ 13 w 60"/>
              <a:gd name="T15" fmla="*/ 3 h 25"/>
              <a:gd name="T16" fmla="*/ 10 w 60"/>
              <a:gd name="T17" fmla="*/ 0 h 25"/>
              <a:gd name="T18" fmla="*/ 7 w 60"/>
              <a:gd name="T19" fmla="*/ 0 h 25"/>
              <a:gd name="T20" fmla="*/ 7 w 60"/>
              <a:gd name="T21" fmla="*/ 0 h 25"/>
              <a:gd name="T22" fmla="*/ 0 w 60"/>
              <a:gd name="T23" fmla="*/ 3 h 25"/>
              <a:gd name="T24" fmla="*/ 0 w 60"/>
              <a:gd name="T25" fmla="*/ 7 h 25"/>
              <a:gd name="T26" fmla="*/ 7 w 60"/>
              <a:gd name="T27" fmla="*/ 7 h 25"/>
              <a:gd name="T28" fmla="*/ 7 w 60"/>
              <a:gd name="T29" fmla="*/ 7 h 25"/>
              <a:gd name="T30" fmla="*/ 4 w 60"/>
              <a:gd name="T31" fmla="*/ 3 h 25"/>
              <a:gd name="T32" fmla="*/ 0 w 60"/>
              <a:gd name="T33" fmla="*/ 3 h 25"/>
              <a:gd name="T34" fmla="*/ 0 w 60"/>
              <a:gd name="T35" fmla="*/ 3 h 25"/>
              <a:gd name="T36" fmla="*/ 54 w 60"/>
              <a:gd name="T37" fmla="*/ 22 h 25"/>
              <a:gd name="T38" fmla="*/ 51 w 60"/>
              <a:gd name="T39" fmla="*/ 22 h 25"/>
              <a:gd name="T40" fmla="*/ 54 w 60"/>
              <a:gd name="T41" fmla="*/ 25 h 25"/>
              <a:gd name="T42" fmla="*/ 57 w 60"/>
              <a:gd name="T43" fmla="*/ 25 h 25"/>
              <a:gd name="T44" fmla="*/ 60 w 60"/>
              <a:gd name="T45" fmla="*/ 22 h 25"/>
              <a:gd name="T46" fmla="*/ 57 w 60"/>
              <a:gd name="T47" fmla="*/ 22 h 25"/>
              <a:gd name="T48" fmla="*/ 54 w 60"/>
              <a:gd name="T49" fmla="*/ 2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25">
                <a:moveTo>
                  <a:pt x="25" y="0"/>
                </a:moveTo>
                <a:lnTo>
                  <a:pt x="29" y="0"/>
                </a:lnTo>
                <a:lnTo>
                  <a:pt x="29" y="0"/>
                </a:lnTo>
                <a:lnTo>
                  <a:pt x="25" y="0"/>
                </a:lnTo>
                <a:lnTo>
                  <a:pt x="25" y="0"/>
                </a:lnTo>
                <a:lnTo>
                  <a:pt x="25" y="0"/>
                </a:lnTo>
                <a:close/>
                <a:moveTo>
                  <a:pt x="7" y="0"/>
                </a:moveTo>
                <a:lnTo>
                  <a:pt x="13" y="3"/>
                </a:lnTo>
                <a:lnTo>
                  <a:pt x="10" y="0"/>
                </a:lnTo>
                <a:lnTo>
                  <a:pt x="7" y="0"/>
                </a:lnTo>
                <a:lnTo>
                  <a:pt x="7" y="0"/>
                </a:lnTo>
                <a:close/>
                <a:moveTo>
                  <a:pt x="0" y="3"/>
                </a:moveTo>
                <a:lnTo>
                  <a:pt x="0" y="7"/>
                </a:lnTo>
                <a:lnTo>
                  <a:pt x="7" y="7"/>
                </a:lnTo>
                <a:lnTo>
                  <a:pt x="7" y="7"/>
                </a:lnTo>
                <a:lnTo>
                  <a:pt x="4" y="3"/>
                </a:lnTo>
                <a:lnTo>
                  <a:pt x="0" y="3"/>
                </a:lnTo>
                <a:lnTo>
                  <a:pt x="0" y="3"/>
                </a:lnTo>
                <a:close/>
                <a:moveTo>
                  <a:pt x="54" y="22"/>
                </a:moveTo>
                <a:lnTo>
                  <a:pt x="51" y="22"/>
                </a:lnTo>
                <a:lnTo>
                  <a:pt x="54" y="25"/>
                </a:lnTo>
                <a:lnTo>
                  <a:pt x="57" y="25"/>
                </a:lnTo>
                <a:lnTo>
                  <a:pt x="60" y="22"/>
                </a:lnTo>
                <a:lnTo>
                  <a:pt x="57" y="22"/>
                </a:lnTo>
                <a:lnTo>
                  <a:pt x="54" y="22"/>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0" name="Freeform 98">
            <a:extLst>
              <a:ext uri="{FF2B5EF4-FFF2-40B4-BE49-F238E27FC236}">
                <a16:creationId xmlns:a16="http://schemas.microsoft.com/office/drawing/2014/main" id="{E579E179-B3FD-62F8-AFF8-4CD284D2A47B}"/>
              </a:ext>
            </a:extLst>
          </p:cNvPr>
          <p:cNvSpPr>
            <a:spLocks/>
          </p:cNvSpPr>
          <p:nvPr userDrawn="1"/>
        </p:nvSpPr>
        <p:spPr bwMode="auto">
          <a:xfrm>
            <a:off x="12137232" y="7241463"/>
            <a:ext cx="28574" cy="19050"/>
          </a:xfrm>
          <a:custGeom>
            <a:avLst/>
            <a:gdLst>
              <a:gd name="T0" fmla="*/ 2 w 3"/>
              <a:gd name="T1" fmla="*/ 2 h 2"/>
              <a:gd name="T2" fmla="*/ 1 w 3"/>
              <a:gd name="T3" fmla="*/ 1 h 2"/>
              <a:gd name="T4" fmla="*/ 0 w 3"/>
              <a:gd name="T5" fmla="*/ 1 h 2"/>
              <a:gd name="T6" fmla="*/ 2 w 3"/>
              <a:gd name="T7" fmla="*/ 0 h 2"/>
              <a:gd name="T8" fmla="*/ 3 w 3"/>
              <a:gd name="T9" fmla="*/ 2 h 2"/>
              <a:gd name="T10" fmla="*/ 2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2" y="2"/>
                </a:moveTo>
                <a:cubicBezTo>
                  <a:pt x="1" y="1"/>
                  <a:pt x="1" y="1"/>
                  <a:pt x="1" y="1"/>
                </a:cubicBezTo>
                <a:cubicBezTo>
                  <a:pt x="0" y="1"/>
                  <a:pt x="0" y="1"/>
                  <a:pt x="0" y="1"/>
                </a:cubicBezTo>
                <a:cubicBezTo>
                  <a:pt x="2" y="0"/>
                  <a:pt x="2" y="0"/>
                  <a:pt x="2" y="0"/>
                </a:cubicBezTo>
                <a:cubicBezTo>
                  <a:pt x="3" y="2"/>
                  <a:pt x="3" y="2"/>
                  <a:pt x="3" y="2"/>
                </a:cubicBezTo>
                <a:cubicBezTo>
                  <a:pt x="3" y="2"/>
                  <a:pt x="2" y="2"/>
                  <a:pt x="2" y="2"/>
                </a:cubicBez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1" name="Freeform 99">
            <a:extLst>
              <a:ext uri="{FF2B5EF4-FFF2-40B4-BE49-F238E27FC236}">
                <a16:creationId xmlns:a16="http://schemas.microsoft.com/office/drawing/2014/main" id="{B098398C-7962-95BC-3C49-7BB86C43B29D}"/>
              </a:ext>
            </a:extLst>
          </p:cNvPr>
          <p:cNvSpPr>
            <a:spLocks noEditPoints="1"/>
          </p:cNvSpPr>
          <p:nvPr userDrawn="1"/>
        </p:nvSpPr>
        <p:spPr bwMode="auto">
          <a:xfrm>
            <a:off x="12076919" y="7508156"/>
            <a:ext cx="288907" cy="101600"/>
          </a:xfrm>
          <a:custGeom>
            <a:avLst/>
            <a:gdLst>
              <a:gd name="T0" fmla="*/ 5 w 29"/>
              <a:gd name="T1" fmla="*/ 7 h 10"/>
              <a:gd name="T2" fmla="*/ 5 w 29"/>
              <a:gd name="T3" fmla="*/ 7 h 10"/>
              <a:gd name="T4" fmla="*/ 5 w 29"/>
              <a:gd name="T5" fmla="*/ 6 h 10"/>
              <a:gd name="T6" fmla="*/ 5 w 29"/>
              <a:gd name="T7" fmla="*/ 6 h 10"/>
              <a:gd name="T8" fmla="*/ 5 w 29"/>
              <a:gd name="T9" fmla="*/ 7 h 10"/>
              <a:gd name="T10" fmla="*/ 5 w 29"/>
              <a:gd name="T11" fmla="*/ 7 h 10"/>
              <a:gd name="T12" fmla="*/ 1 w 29"/>
              <a:gd name="T13" fmla="*/ 10 h 10"/>
              <a:gd name="T14" fmla="*/ 0 w 29"/>
              <a:gd name="T15" fmla="*/ 9 h 10"/>
              <a:gd name="T16" fmla="*/ 1 w 29"/>
              <a:gd name="T17" fmla="*/ 9 h 10"/>
              <a:gd name="T18" fmla="*/ 1 w 29"/>
              <a:gd name="T19" fmla="*/ 9 h 10"/>
              <a:gd name="T20" fmla="*/ 1 w 29"/>
              <a:gd name="T21" fmla="*/ 9 h 10"/>
              <a:gd name="T22" fmla="*/ 1 w 29"/>
              <a:gd name="T23" fmla="*/ 10 h 10"/>
              <a:gd name="T24" fmla="*/ 1 w 29"/>
              <a:gd name="T25" fmla="*/ 10 h 10"/>
              <a:gd name="T26" fmla="*/ 2 w 29"/>
              <a:gd name="T27" fmla="*/ 4 h 10"/>
              <a:gd name="T28" fmla="*/ 2 w 29"/>
              <a:gd name="T29" fmla="*/ 3 h 10"/>
              <a:gd name="T30" fmla="*/ 1 w 29"/>
              <a:gd name="T31" fmla="*/ 2 h 10"/>
              <a:gd name="T32" fmla="*/ 2 w 29"/>
              <a:gd name="T33" fmla="*/ 1 h 10"/>
              <a:gd name="T34" fmla="*/ 3 w 29"/>
              <a:gd name="T35" fmla="*/ 2 h 10"/>
              <a:gd name="T36" fmla="*/ 3 w 29"/>
              <a:gd name="T37" fmla="*/ 4 h 10"/>
              <a:gd name="T38" fmla="*/ 2 w 29"/>
              <a:gd name="T39" fmla="*/ 4 h 10"/>
              <a:gd name="T40" fmla="*/ 12 w 29"/>
              <a:gd name="T41" fmla="*/ 6 h 10"/>
              <a:gd name="T42" fmla="*/ 10 w 29"/>
              <a:gd name="T43" fmla="*/ 6 h 10"/>
              <a:gd name="T44" fmla="*/ 8 w 29"/>
              <a:gd name="T45" fmla="*/ 7 h 10"/>
              <a:gd name="T46" fmla="*/ 7 w 29"/>
              <a:gd name="T47" fmla="*/ 7 h 10"/>
              <a:gd name="T48" fmla="*/ 7 w 29"/>
              <a:gd name="T49" fmla="*/ 6 h 10"/>
              <a:gd name="T50" fmla="*/ 8 w 29"/>
              <a:gd name="T51" fmla="*/ 5 h 10"/>
              <a:gd name="T52" fmla="*/ 9 w 29"/>
              <a:gd name="T53" fmla="*/ 5 h 10"/>
              <a:gd name="T54" fmla="*/ 10 w 29"/>
              <a:gd name="T55" fmla="*/ 5 h 10"/>
              <a:gd name="T56" fmla="*/ 11 w 29"/>
              <a:gd name="T57" fmla="*/ 4 h 10"/>
              <a:gd name="T58" fmla="*/ 12 w 29"/>
              <a:gd name="T59" fmla="*/ 4 h 10"/>
              <a:gd name="T60" fmla="*/ 12 w 29"/>
              <a:gd name="T61" fmla="*/ 6 h 10"/>
              <a:gd name="T62" fmla="*/ 14 w 29"/>
              <a:gd name="T63" fmla="*/ 6 h 10"/>
              <a:gd name="T64" fmla="*/ 14 w 29"/>
              <a:gd name="T65" fmla="*/ 8 h 10"/>
              <a:gd name="T66" fmla="*/ 15 w 29"/>
              <a:gd name="T67" fmla="*/ 9 h 10"/>
              <a:gd name="T68" fmla="*/ 16 w 29"/>
              <a:gd name="T69" fmla="*/ 8 h 10"/>
              <a:gd name="T70" fmla="*/ 17 w 29"/>
              <a:gd name="T71" fmla="*/ 8 h 10"/>
              <a:gd name="T72" fmla="*/ 16 w 29"/>
              <a:gd name="T73" fmla="*/ 7 h 10"/>
              <a:gd name="T74" fmla="*/ 15 w 29"/>
              <a:gd name="T75" fmla="*/ 6 h 10"/>
              <a:gd name="T76" fmla="*/ 14 w 29"/>
              <a:gd name="T77" fmla="*/ 6 h 10"/>
              <a:gd name="T78" fmla="*/ 26 w 29"/>
              <a:gd name="T79" fmla="*/ 2 h 10"/>
              <a:gd name="T80" fmla="*/ 27 w 29"/>
              <a:gd name="T81" fmla="*/ 0 h 10"/>
              <a:gd name="T82" fmla="*/ 28 w 29"/>
              <a:gd name="T83" fmla="*/ 0 h 10"/>
              <a:gd name="T84" fmla="*/ 29 w 29"/>
              <a:gd name="T85" fmla="*/ 1 h 10"/>
              <a:gd name="T86" fmla="*/ 27 w 29"/>
              <a:gd name="T87" fmla="*/ 1 h 10"/>
              <a:gd name="T88" fmla="*/ 26 w 29"/>
              <a:gd name="T89" fmla="*/ 2 h 10"/>
              <a:gd name="T90" fmla="*/ 22 w 29"/>
              <a:gd name="T91" fmla="*/ 7 h 10"/>
              <a:gd name="T92" fmla="*/ 24 w 29"/>
              <a:gd name="T93" fmla="*/ 5 h 10"/>
              <a:gd name="T94" fmla="*/ 24 w 29"/>
              <a:gd name="T95" fmla="*/ 4 h 10"/>
              <a:gd name="T96" fmla="*/ 26 w 29"/>
              <a:gd name="T97" fmla="*/ 3 h 10"/>
              <a:gd name="T98" fmla="*/ 26 w 29"/>
              <a:gd name="T99" fmla="*/ 5 h 10"/>
              <a:gd name="T100" fmla="*/ 24 w 29"/>
              <a:gd name="T101" fmla="*/ 7 h 10"/>
              <a:gd name="T102" fmla="*/ 23 w 29"/>
              <a:gd name="T103" fmla="*/ 7 h 10"/>
              <a:gd name="T104" fmla="*/ 22 w 29"/>
              <a:gd name="T105"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 h="10">
                <a:moveTo>
                  <a:pt x="5" y="7"/>
                </a:moveTo>
                <a:cubicBezTo>
                  <a:pt x="5" y="7"/>
                  <a:pt x="5" y="7"/>
                  <a:pt x="5" y="7"/>
                </a:cubicBezTo>
                <a:cubicBezTo>
                  <a:pt x="5" y="6"/>
                  <a:pt x="5" y="6"/>
                  <a:pt x="5" y="6"/>
                </a:cubicBezTo>
                <a:cubicBezTo>
                  <a:pt x="5" y="6"/>
                  <a:pt x="5" y="6"/>
                  <a:pt x="5" y="6"/>
                </a:cubicBezTo>
                <a:cubicBezTo>
                  <a:pt x="5" y="7"/>
                  <a:pt x="5" y="7"/>
                  <a:pt x="5" y="7"/>
                </a:cubicBezTo>
                <a:cubicBezTo>
                  <a:pt x="5" y="7"/>
                  <a:pt x="5" y="7"/>
                  <a:pt x="5" y="7"/>
                </a:cubicBezTo>
                <a:close/>
                <a:moveTo>
                  <a:pt x="1" y="10"/>
                </a:moveTo>
                <a:cubicBezTo>
                  <a:pt x="0" y="9"/>
                  <a:pt x="0" y="9"/>
                  <a:pt x="0" y="9"/>
                </a:cubicBezTo>
                <a:cubicBezTo>
                  <a:pt x="1" y="9"/>
                  <a:pt x="1" y="9"/>
                  <a:pt x="1" y="9"/>
                </a:cubicBezTo>
                <a:cubicBezTo>
                  <a:pt x="1" y="9"/>
                  <a:pt x="1" y="9"/>
                  <a:pt x="1" y="9"/>
                </a:cubicBezTo>
                <a:cubicBezTo>
                  <a:pt x="1" y="9"/>
                  <a:pt x="1" y="9"/>
                  <a:pt x="1" y="9"/>
                </a:cubicBezTo>
                <a:cubicBezTo>
                  <a:pt x="1" y="10"/>
                  <a:pt x="1" y="10"/>
                  <a:pt x="1" y="10"/>
                </a:cubicBezTo>
                <a:cubicBezTo>
                  <a:pt x="1" y="10"/>
                  <a:pt x="1" y="10"/>
                  <a:pt x="1" y="10"/>
                </a:cubicBezTo>
                <a:close/>
                <a:moveTo>
                  <a:pt x="2" y="4"/>
                </a:moveTo>
                <a:cubicBezTo>
                  <a:pt x="2" y="3"/>
                  <a:pt x="2" y="3"/>
                  <a:pt x="2" y="3"/>
                </a:cubicBezTo>
                <a:cubicBezTo>
                  <a:pt x="1" y="2"/>
                  <a:pt x="1" y="2"/>
                  <a:pt x="1" y="2"/>
                </a:cubicBezTo>
                <a:cubicBezTo>
                  <a:pt x="1" y="2"/>
                  <a:pt x="2" y="1"/>
                  <a:pt x="2" y="1"/>
                </a:cubicBezTo>
                <a:cubicBezTo>
                  <a:pt x="2" y="1"/>
                  <a:pt x="3" y="2"/>
                  <a:pt x="3" y="2"/>
                </a:cubicBezTo>
                <a:cubicBezTo>
                  <a:pt x="3" y="4"/>
                  <a:pt x="3" y="4"/>
                  <a:pt x="3" y="4"/>
                </a:cubicBezTo>
                <a:cubicBezTo>
                  <a:pt x="3" y="4"/>
                  <a:pt x="2" y="4"/>
                  <a:pt x="2" y="4"/>
                </a:cubicBezTo>
                <a:close/>
                <a:moveTo>
                  <a:pt x="12" y="6"/>
                </a:moveTo>
                <a:cubicBezTo>
                  <a:pt x="10" y="6"/>
                  <a:pt x="10" y="6"/>
                  <a:pt x="10" y="6"/>
                </a:cubicBezTo>
                <a:cubicBezTo>
                  <a:pt x="8" y="7"/>
                  <a:pt x="8" y="7"/>
                  <a:pt x="8" y="7"/>
                </a:cubicBezTo>
                <a:cubicBezTo>
                  <a:pt x="7" y="7"/>
                  <a:pt x="7" y="7"/>
                  <a:pt x="7" y="7"/>
                </a:cubicBezTo>
                <a:cubicBezTo>
                  <a:pt x="7" y="6"/>
                  <a:pt x="7" y="6"/>
                  <a:pt x="7" y="6"/>
                </a:cubicBezTo>
                <a:cubicBezTo>
                  <a:pt x="8" y="5"/>
                  <a:pt x="8" y="5"/>
                  <a:pt x="8" y="5"/>
                </a:cubicBezTo>
                <a:cubicBezTo>
                  <a:pt x="9" y="5"/>
                  <a:pt x="9" y="5"/>
                  <a:pt x="9" y="5"/>
                </a:cubicBezTo>
                <a:cubicBezTo>
                  <a:pt x="10" y="5"/>
                  <a:pt x="10" y="5"/>
                  <a:pt x="10" y="5"/>
                </a:cubicBezTo>
                <a:cubicBezTo>
                  <a:pt x="11" y="4"/>
                  <a:pt x="11" y="4"/>
                  <a:pt x="11" y="4"/>
                </a:cubicBezTo>
                <a:cubicBezTo>
                  <a:pt x="12" y="4"/>
                  <a:pt x="12" y="4"/>
                  <a:pt x="12" y="4"/>
                </a:cubicBezTo>
                <a:cubicBezTo>
                  <a:pt x="12" y="6"/>
                  <a:pt x="12" y="6"/>
                  <a:pt x="12" y="6"/>
                </a:cubicBezTo>
                <a:close/>
                <a:moveTo>
                  <a:pt x="14" y="6"/>
                </a:moveTo>
                <a:cubicBezTo>
                  <a:pt x="14" y="8"/>
                  <a:pt x="14" y="8"/>
                  <a:pt x="14" y="8"/>
                </a:cubicBezTo>
                <a:cubicBezTo>
                  <a:pt x="15" y="9"/>
                  <a:pt x="15" y="9"/>
                  <a:pt x="15" y="9"/>
                </a:cubicBezTo>
                <a:cubicBezTo>
                  <a:pt x="16" y="8"/>
                  <a:pt x="16" y="8"/>
                  <a:pt x="16" y="8"/>
                </a:cubicBezTo>
                <a:cubicBezTo>
                  <a:pt x="17" y="8"/>
                  <a:pt x="17" y="8"/>
                  <a:pt x="17" y="8"/>
                </a:cubicBezTo>
                <a:cubicBezTo>
                  <a:pt x="16" y="7"/>
                  <a:pt x="16" y="7"/>
                  <a:pt x="16" y="7"/>
                </a:cubicBezTo>
                <a:cubicBezTo>
                  <a:pt x="15" y="6"/>
                  <a:pt x="15" y="6"/>
                  <a:pt x="15" y="6"/>
                </a:cubicBezTo>
                <a:cubicBezTo>
                  <a:pt x="14" y="6"/>
                  <a:pt x="14" y="6"/>
                  <a:pt x="14" y="6"/>
                </a:cubicBezTo>
                <a:close/>
                <a:moveTo>
                  <a:pt x="26" y="2"/>
                </a:moveTo>
                <a:cubicBezTo>
                  <a:pt x="27" y="0"/>
                  <a:pt x="27" y="0"/>
                  <a:pt x="27" y="0"/>
                </a:cubicBezTo>
                <a:cubicBezTo>
                  <a:pt x="28" y="0"/>
                  <a:pt x="28" y="0"/>
                  <a:pt x="28" y="0"/>
                </a:cubicBezTo>
                <a:cubicBezTo>
                  <a:pt x="29" y="1"/>
                  <a:pt x="29" y="1"/>
                  <a:pt x="29" y="1"/>
                </a:cubicBezTo>
                <a:cubicBezTo>
                  <a:pt x="27" y="1"/>
                  <a:pt x="27" y="1"/>
                  <a:pt x="27" y="1"/>
                </a:cubicBezTo>
                <a:cubicBezTo>
                  <a:pt x="26" y="2"/>
                  <a:pt x="26" y="2"/>
                  <a:pt x="26" y="2"/>
                </a:cubicBezTo>
                <a:close/>
                <a:moveTo>
                  <a:pt x="22" y="7"/>
                </a:moveTo>
                <a:cubicBezTo>
                  <a:pt x="24" y="5"/>
                  <a:pt x="24" y="5"/>
                  <a:pt x="24" y="5"/>
                </a:cubicBezTo>
                <a:cubicBezTo>
                  <a:pt x="24" y="4"/>
                  <a:pt x="24" y="4"/>
                  <a:pt x="24" y="4"/>
                </a:cubicBezTo>
                <a:cubicBezTo>
                  <a:pt x="26" y="3"/>
                  <a:pt x="26" y="3"/>
                  <a:pt x="26" y="3"/>
                </a:cubicBezTo>
                <a:cubicBezTo>
                  <a:pt x="26" y="5"/>
                  <a:pt x="26" y="5"/>
                  <a:pt x="26" y="5"/>
                </a:cubicBezTo>
                <a:cubicBezTo>
                  <a:pt x="24" y="7"/>
                  <a:pt x="24" y="7"/>
                  <a:pt x="24" y="7"/>
                </a:cubicBezTo>
                <a:cubicBezTo>
                  <a:pt x="23" y="7"/>
                  <a:pt x="23" y="7"/>
                  <a:pt x="23" y="7"/>
                </a:cubicBezTo>
                <a:lnTo>
                  <a:pt x="22" y="7"/>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2" name="Freeform 100">
            <a:extLst>
              <a:ext uri="{FF2B5EF4-FFF2-40B4-BE49-F238E27FC236}">
                <a16:creationId xmlns:a16="http://schemas.microsoft.com/office/drawing/2014/main" id="{CC0C2875-68AC-4012-FA16-ECCD3C8D43C7}"/>
              </a:ext>
            </a:extLst>
          </p:cNvPr>
          <p:cNvSpPr>
            <a:spLocks noEditPoints="1"/>
          </p:cNvSpPr>
          <p:nvPr userDrawn="1"/>
        </p:nvSpPr>
        <p:spPr bwMode="auto">
          <a:xfrm>
            <a:off x="11610217" y="8282863"/>
            <a:ext cx="158740" cy="149226"/>
          </a:xfrm>
          <a:custGeom>
            <a:avLst/>
            <a:gdLst>
              <a:gd name="T0" fmla="*/ 2 w 16"/>
              <a:gd name="T1" fmla="*/ 1 h 15"/>
              <a:gd name="T2" fmla="*/ 3 w 16"/>
              <a:gd name="T3" fmla="*/ 0 h 15"/>
              <a:gd name="T4" fmla="*/ 3 w 16"/>
              <a:gd name="T5" fmla="*/ 0 h 15"/>
              <a:gd name="T6" fmla="*/ 2 w 16"/>
              <a:gd name="T7" fmla="*/ 0 h 15"/>
              <a:gd name="T8" fmla="*/ 1 w 16"/>
              <a:gd name="T9" fmla="*/ 0 h 15"/>
              <a:gd name="T10" fmla="*/ 0 w 16"/>
              <a:gd name="T11" fmla="*/ 0 h 15"/>
              <a:gd name="T12" fmla="*/ 1 w 16"/>
              <a:gd name="T13" fmla="*/ 1 h 15"/>
              <a:gd name="T14" fmla="*/ 2 w 16"/>
              <a:gd name="T15" fmla="*/ 1 h 15"/>
              <a:gd name="T16" fmla="*/ 3 w 16"/>
              <a:gd name="T17" fmla="*/ 2 h 15"/>
              <a:gd name="T18" fmla="*/ 3 w 16"/>
              <a:gd name="T19" fmla="*/ 1 h 15"/>
              <a:gd name="T20" fmla="*/ 3 w 16"/>
              <a:gd name="T21" fmla="*/ 1 h 15"/>
              <a:gd name="T22" fmla="*/ 4 w 16"/>
              <a:gd name="T23" fmla="*/ 1 h 15"/>
              <a:gd name="T24" fmla="*/ 4 w 16"/>
              <a:gd name="T25" fmla="*/ 2 h 15"/>
              <a:gd name="T26" fmla="*/ 3 w 16"/>
              <a:gd name="T27" fmla="*/ 2 h 15"/>
              <a:gd name="T28" fmla="*/ 8 w 16"/>
              <a:gd name="T29" fmla="*/ 4 h 15"/>
              <a:gd name="T30" fmla="*/ 8 w 16"/>
              <a:gd name="T31" fmla="*/ 4 h 15"/>
              <a:gd name="T32" fmla="*/ 7 w 16"/>
              <a:gd name="T33" fmla="*/ 4 h 15"/>
              <a:gd name="T34" fmla="*/ 7 w 16"/>
              <a:gd name="T35" fmla="*/ 3 h 15"/>
              <a:gd name="T36" fmla="*/ 7 w 16"/>
              <a:gd name="T37" fmla="*/ 3 h 15"/>
              <a:gd name="T38" fmla="*/ 8 w 16"/>
              <a:gd name="T39" fmla="*/ 3 h 15"/>
              <a:gd name="T40" fmla="*/ 8 w 16"/>
              <a:gd name="T41" fmla="*/ 3 h 15"/>
              <a:gd name="T42" fmla="*/ 8 w 16"/>
              <a:gd name="T43" fmla="*/ 4 h 15"/>
              <a:gd name="T44" fmla="*/ 8 w 16"/>
              <a:gd name="T45" fmla="*/ 4 h 15"/>
              <a:gd name="T46" fmla="*/ 10 w 16"/>
              <a:gd name="T47" fmla="*/ 4 h 15"/>
              <a:gd name="T48" fmla="*/ 9 w 16"/>
              <a:gd name="T49" fmla="*/ 4 h 15"/>
              <a:gd name="T50" fmla="*/ 9 w 16"/>
              <a:gd name="T51" fmla="*/ 3 h 15"/>
              <a:gd name="T52" fmla="*/ 9 w 16"/>
              <a:gd name="T53" fmla="*/ 3 h 15"/>
              <a:gd name="T54" fmla="*/ 10 w 16"/>
              <a:gd name="T55" fmla="*/ 4 h 15"/>
              <a:gd name="T56" fmla="*/ 15 w 16"/>
              <a:gd name="T57" fmla="*/ 3 h 15"/>
              <a:gd name="T58" fmla="*/ 15 w 16"/>
              <a:gd name="T59" fmla="*/ 2 h 15"/>
              <a:gd name="T60" fmla="*/ 16 w 16"/>
              <a:gd name="T61" fmla="*/ 1 h 15"/>
              <a:gd name="T62" fmla="*/ 16 w 16"/>
              <a:gd name="T63" fmla="*/ 3 h 15"/>
              <a:gd name="T64" fmla="*/ 15 w 16"/>
              <a:gd name="T65" fmla="*/ 3 h 15"/>
              <a:gd name="T66" fmla="*/ 15 w 16"/>
              <a:gd name="T67" fmla="*/ 7 h 15"/>
              <a:gd name="T68" fmla="*/ 14 w 16"/>
              <a:gd name="T69" fmla="*/ 6 h 15"/>
              <a:gd name="T70" fmla="*/ 15 w 16"/>
              <a:gd name="T71" fmla="*/ 6 h 15"/>
              <a:gd name="T72" fmla="*/ 16 w 16"/>
              <a:gd name="T73" fmla="*/ 6 h 15"/>
              <a:gd name="T74" fmla="*/ 16 w 16"/>
              <a:gd name="T75" fmla="*/ 7 h 15"/>
              <a:gd name="T76" fmla="*/ 16 w 16"/>
              <a:gd name="T77" fmla="*/ 7 h 15"/>
              <a:gd name="T78" fmla="*/ 15 w 16"/>
              <a:gd name="T79" fmla="*/ 7 h 15"/>
              <a:gd name="T80" fmla="*/ 14 w 16"/>
              <a:gd name="T81" fmla="*/ 13 h 15"/>
              <a:gd name="T82" fmla="*/ 13 w 16"/>
              <a:gd name="T83" fmla="*/ 12 h 15"/>
              <a:gd name="T84" fmla="*/ 14 w 16"/>
              <a:gd name="T85" fmla="*/ 12 h 15"/>
              <a:gd name="T86" fmla="*/ 14 w 16"/>
              <a:gd name="T87" fmla="*/ 13 h 15"/>
              <a:gd name="T88" fmla="*/ 14 w 16"/>
              <a:gd name="T89" fmla="*/ 13 h 15"/>
              <a:gd name="T90" fmla="*/ 10 w 16"/>
              <a:gd name="T91" fmla="*/ 14 h 15"/>
              <a:gd name="T92" fmla="*/ 10 w 16"/>
              <a:gd name="T93" fmla="*/ 13 h 15"/>
              <a:gd name="T94" fmla="*/ 10 w 16"/>
              <a:gd name="T95" fmla="*/ 12 h 15"/>
              <a:gd name="T96" fmla="*/ 11 w 16"/>
              <a:gd name="T97" fmla="*/ 12 h 15"/>
              <a:gd name="T98" fmla="*/ 12 w 16"/>
              <a:gd name="T99" fmla="*/ 14 h 15"/>
              <a:gd name="T100" fmla="*/ 12 w 16"/>
              <a:gd name="T101" fmla="*/ 15 h 15"/>
              <a:gd name="T102" fmla="*/ 10 w 16"/>
              <a:gd name="T103"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 h="15">
                <a:moveTo>
                  <a:pt x="2" y="1"/>
                </a:moveTo>
                <a:cubicBezTo>
                  <a:pt x="3" y="0"/>
                  <a:pt x="3" y="0"/>
                  <a:pt x="3" y="0"/>
                </a:cubicBezTo>
                <a:cubicBezTo>
                  <a:pt x="3" y="0"/>
                  <a:pt x="3" y="0"/>
                  <a:pt x="3" y="0"/>
                </a:cubicBezTo>
                <a:cubicBezTo>
                  <a:pt x="2" y="0"/>
                  <a:pt x="2" y="0"/>
                  <a:pt x="2" y="0"/>
                </a:cubicBezTo>
                <a:cubicBezTo>
                  <a:pt x="1" y="0"/>
                  <a:pt x="1" y="0"/>
                  <a:pt x="1" y="0"/>
                </a:cubicBezTo>
                <a:cubicBezTo>
                  <a:pt x="0" y="0"/>
                  <a:pt x="0" y="0"/>
                  <a:pt x="0" y="0"/>
                </a:cubicBezTo>
                <a:cubicBezTo>
                  <a:pt x="1" y="1"/>
                  <a:pt x="1" y="1"/>
                  <a:pt x="1" y="1"/>
                </a:cubicBezTo>
                <a:cubicBezTo>
                  <a:pt x="1" y="1"/>
                  <a:pt x="1" y="1"/>
                  <a:pt x="2" y="1"/>
                </a:cubicBezTo>
                <a:close/>
                <a:moveTo>
                  <a:pt x="3" y="2"/>
                </a:moveTo>
                <a:cubicBezTo>
                  <a:pt x="3" y="1"/>
                  <a:pt x="3" y="1"/>
                  <a:pt x="3" y="1"/>
                </a:cubicBezTo>
                <a:cubicBezTo>
                  <a:pt x="3" y="1"/>
                  <a:pt x="3" y="1"/>
                  <a:pt x="3" y="1"/>
                </a:cubicBezTo>
                <a:cubicBezTo>
                  <a:pt x="4" y="1"/>
                  <a:pt x="4" y="1"/>
                  <a:pt x="4" y="1"/>
                </a:cubicBezTo>
                <a:cubicBezTo>
                  <a:pt x="4" y="2"/>
                  <a:pt x="4" y="2"/>
                  <a:pt x="4" y="2"/>
                </a:cubicBezTo>
                <a:cubicBezTo>
                  <a:pt x="4" y="2"/>
                  <a:pt x="3" y="2"/>
                  <a:pt x="3" y="2"/>
                </a:cubicBezTo>
                <a:close/>
                <a:moveTo>
                  <a:pt x="8" y="4"/>
                </a:moveTo>
                <a:cubicBezTo>
                  <a:pt x="8" y="4"/>
                  <a:pt x="8" y="4"/>
                  <a:pt x="8" y="4"/>
                </a:cubicBezTo>
                <a:cubicBezTo>
                  <a:pt x="7" y="4"/>
                  <a:pt x="7" y="4"/>
                  <a:pt x="7" y="4"/>
                </a:cubicBezTo>
                <a:cubicBezTo>
                  <a:pt x="7" y="3"/>
                  <a:pt x="7" y="3"/>
                  <a:pt x="7" y="3"/>
                </a:cubicBezTo>
                <a:cubicBezTo>
                  <a:pt x="7" y="3"/>
                  <a:pt x="7" y="3"/>
                  <a:pt x="7" y="3"/>
                </a:cubicBezTo>
                <a:cubicBezTo>
                  <a:pt x="8" y="3"/>
                  <a:pt x="8" y="3"/>
                  <a:pt x="8" y="3"/>
                </a:cubicBezTo>
                <a:cubicBezTo>
                  <a:pt x="8" y="3"/>
                  <a:pt x="8" y="3"/>
                  <a:pt x="8" y="3"/>
                </a:cubicBezTo>
                <a:cubicBezTo>
                  <a:pt x="8" y="4"/>
                  <a:pt x="8" y="4"/>
                  <a:pt x="8" y="4"/>
                </a:cubicBezTo>
                <a:cubicBezTo>
                  <a:pt x="8" y="4"/>
                  <a:pt x="8" y="4"/>
                  <a:pt x="8" y="4"/>
                </a:cubicBezTo>
                <a:close/>
                <a:moveTo>
                  <a:pt x="10" y="4"/>
                </a:moveTo>
                <a:cubicBezTo>
                  <a:pt x="9" y="4"/>
                  <a:pt x="9" y="4"/>
                  <a:pt x="9" y="4"/>
                </a:cubicBezTo>
                <a:cubicBezTo>
                  <a:pt x="9" y="3"/>
                  <a:pt x="9" y="3"/>
                  <a:pt x="9" y="3"/>
                </a:cubicBezTo>
                <a:cubicBezTo>
                  <a:pt x="9" y="3"/>
                  <a:pt x="9" y="3"/>
                  <a:pt x="9" y="3"/>
                </a:cubicBezTo>
                <a:cubicBezTo>
                  <a:pt x="10" y="4"/>
                  <a:pt x="10" y="4"/>
                  <a:pt x="10" y="4"/>
                </a:cubicBezTo>
                <a:close/>
                <a:moveTo>
                  <a:pt x="15" y="3"/>
                </a:moveTo>
                <a:cubicBezTo>
                  <a:pt x="15" y="2"/>
                  <a:pt x="15" y="2"/>
                  <a:pt x="15" y="2"/>
                </a:cubicBezTo>
                <a:cubicBezTo>
                  <a:pt x="16" y="1"/>
                  <a:pt x="16" y="1"/>
                  <a:pt x="16" y="1"/>
                </a:cubicBezTo>
                <a:cubicBezTo>
                  <a:pt x="16" y="3"/>
                  <a:pt x="16" y="3"/>
                  <a:pt x="16" y="3"/>
                </a:cubicBezTo>
                <a:cubicBezTo>
                  <a:pt x="15" y="3"/>
                  <a:pt x="15" y="3"/>
                  <a:pt x="15" y="3"/>
                </a:cubicBezTo>
                <a:close/>
                <a:moveTo>
                  <a:pt x="15" y="7"/>
                </a:moveTo>
                <a:cubicBezTo>
                  <a:pt x="14" y="6"/>
                  <a:pt x="14" y="6"/>
                  <a:pt x="14" y="6"/>
                </a:cubicBezTo>
                <a:cubicBezTo>
                  <a:pt x="15" y="6"/>
                  <a:pt x="15" y="6"/>
                  <a:pt x="15" y="6"/>
                </a:cubicBezTo>
                <a:cubicBezTo>
                  <a:pt x="16" y="6"/>
                  <a:pt x="16" y="6"/>
                  <a:pt x="16" y="6"/>
                </a:cubicBezTo>
                <a:cubicBezTo>
                  <a:pt x="16" y="7"/>
                  <a:pt x="16" y="7"/>
                  <a:pt x="16" y="7"/>
                </a:cubicBezTo>
                <a:cubicBezTo>
                  <a:pt x="16" y="7"/>
                  <a:pt x="16" y="7"/>
                  <a:pt x="16" y="7"/>
                </a:cubicBezTo>
                <a:cubicBezTo>
                  <a:pt x="15" y="7"/>
                  <a:pt x="15" y="7"/>
                  <a:pt x="15" y="7"/>
                </a:cubicBezTo>
                <a:close/>
                <a:moveTo>
                  <a:pt x="14" y="13"/>
                </a:moveTo>
                <a:cubicBezTo>
                  <a:pt x="13" y="12"/>
                  <a:pt x="13" y="12"/>
                  <a:pt x="13" y="12"/>
                </a:cubicBezTo>
                <a:cubicBezTo>
                  <a:pt x="14" y="12"/>
                  <a:pt x="14" y="12"/>
                  <a:pt x="14" y="12"/>
                </a:cubicBezTo>
                <a:cubicBezTo>
                  <a:pt x="14" y="13"/>
                  <a:pt x="14" y="13"/>
                  <a:pt x="14" y="13"/>
                </a:cubicBezTo>
                <a:cubicBezTo>
                  <a:pt x="14" y="13"/>
                  <a:pt x="14" y="13"/>
                  <a:pt x="14" y="13"/>
                </a:cubicBezTo>
                <a:close/>
                <a:moveTo>
                  <a:pt x="10" y="14"/>
                </a:moveTo>
                <a:cubicBezTo>
                  <a:pt x="10" y="13"/>
                  <a:pt x="10" y="13"/>
                  <a:pt x="10" y="13"/>
                </a:cubicBezTo>
                <a:cubicBezTo>
                  <a:pt x="10" y="12"/>
                  <a:pt x="10" y="12"/>
                  <a:pt x="10" y="12"/>
                </a:cubicBezTo>
                <a:cubicBezTo>
                  <a:pt x="11" y="12"/>
                  <a:pt x="11" y="12"/>
                  <a:pt x="11" y="12"/>
                </a:cubicBezTo>
                <a:cubicBezTo>
                  <a:pt x="12" y="14"/>
                  <a:pt x="12" y="14"/>
                  <a:pt x="12" y="14"/>
                </a:cubicBezTo>
                <a:cubicBezTo>
                  <a:pt x="12" y="15"/>
                  <a:pt x="12" y="15"/>
                  <a:pt x="12" y="15"/>
                </a:cubicBezTo>
                <a:lnTo>
                  <a:pt x="10" y="14"/>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3" name="Freeform 101">
            <a:extLst>
              <a:ext uri="{FF2B5EF4-FFF2-40B4-BE49-F238E27FC236}">
                <a16:creationId xmlns:a16="http://schemas.microsoft.com/office/drawing/2014/main" id="{79DD08C0-E6B2-D617-C333-B26FB0AC0D1B}"/>
              </a:ext>
            </a:extLst>
          </p:cNvPr>
          <p:cNvSpPr>
            <a:spLocks noEditPoints="1"/>
          </p:cNvSpPr>
          <p:nvPr userDrawn="1"/>
        </p:nvSpPr>
        <p:spPr bwMode="auto">
          <a:xfrm>
            <a:off x="16385104" y="7657385"/>
            <a:ext cx="466696" cy="666750"/>
          </a:xfrm>
          <a:custGeom>
            <a:avLst/>
            <a:gdLst>
              <a:gd name="T0" fmla="*/ 56 w 147"/>
              <a:gd name="T1" fmla="*/ 138 h 210"/>
              <a:gd name="T2" fmla="*/ 56 w 147"/>
              <a:gd name="T3" fmla="*/ 78 h 210"/>
              <a:gd name="T4" fmla="*/ 78 w 147"/>
              <a:gd name="T5" fmla="*/ 28 h 210"/>
              <a:gd name="T6" fmla="*/ 84 w 147"/>
              <a:gd name="T7" fmla="*/ 47 h 210"/>
              <a:gd name="T8" fmla="*/ 97 w 147"/>
              <a:gd name="T9" fmla="*/ 60 h 210"/>
              <a:gd name="T10" fmla="*/ 103 w 147"/>
              <a:gd name="T11" fmla="*/ 60 h 210"/>
              <a:gd name="T12" fmla="*/ 115 w 147"/>
              <a:gd name="T13" fmla="*/ 60 h 210"/>
              <a:gd name="T14" fmla="*/ 122 w 147"/>
              <a:gd name="T15" fmla="*/ 60 h 210"/>
              <a:gd name="T16" fmla="*/ 131 w 147"/>
              <a:gd name="T17" fmla="*/ 72 h 210"/>
              <a:gd name="T18" fmla="*/ 134 w 147"/>
              <a:gd name="T19" fmla="*/ 78 h 210"/>
              <a:gd name="T20" fmla="*/ 147 w 147"/>
              <a:gd name="T21" fmla="*/ 85 h 210"/>
              <a:gd name="T22" fmla="*/ 147 w 147"/>
              <a:gd name="T23" fmla="*/ 91 h 210"/>
              <a:gd name="T24" fmla="*/ 143 w 147"/>
              <a:gd name="T25" fmla="*/ 97 h 210"/>
              <a:gd name="T26" fmla="*/ 137 w 147"/>
              <a:gd name="T27" fmla="*/ 113 h 210"/>
              <a:gd name="T28" fmla="*/ 131 w 147"/>
              <a:gd name="T29" fmla="*/ 119 h 210"/>
              <a:gd name="T30" fmla="*/ 125 w 147"/>
              <a:gd name="T31" fmla="*/ 129 h 210"/>
              <a:gd name="T32" fmla="*/ 122 w 147"/>
              <a:gd name="T33" fmla="*/ 129 h 210"/>
              <a:gd name="T34" fmla="*/ 122 w 147"/>
              <a:gd name="T35" fmla="*/ 125 h 210"/>
              <a:gd name="T36" fmla="*/ 118 w 147"/>
              <a:gd name="T37" fmla="*/ 125 h 210"/>
              <a:gd name="T38" fmla="*/ 115 w 147"/>
              <a:gd name="T39" fmla="*/ 129 h 210"/>
              <a:gd name="T40" fmla="*/ 115 w 147"/>
              <a:gd name="T41" fmla="*/ 132 h 210"/>
              <a:gd name="T42" fmla="*/ 112 w 147"/>
              <a:gd name="T43" fmla="*/ 144 h 210"/>
              <a:gd name="T44" fmla="*/ 112 w 147"/>
              <a:gd name="T45" fmla="*/ 147 h 210"/>
              <a:gd name="T46" fmla="*/ 112 w 147"/>
              <a:gd name="T47" fmla="*/ 150 h 210"/>
              <a:gd name="T48" fmla="*/ 115 w 147"/>
              <a:gd name="T49" fmla="*/ 160 h 210"/>
              <a:gd name="T50" fmla="*/ 106 w 147"/>
              <a:gd name="T51" fmla="*/ 160 h 210"/>
              <a:gd name="T52" fmla="*/ 100 w 147"/>
              <a:gd name="T53" fmla="*/ 160 h 210"/>
              <a:gd name="T54" fmla="*/ 90 w 147"/>
              <a:gd name="T55" fmla="*/ 172 h 210"/>
              <a:gd name="T56" fmla="*/ 87 w 147"/>
              <a:gd name="T57" fmla="*/ 179 h 210"/>
              <a:gd name="T58" fmla="*/ 81 w 147"/>
              <a:gd name="T59" fmla="*/ 182 h 210"/>
              <a:gd name="T60" fmla="*/ 68 w 147"/>
              <a:gd name="T61" fmla="*/ 182 h 210"/>
              <a:gd name="T62" fmla="*/ 65 w 147"/>
              <a:gd name="T63" fmla="*/ 188 h 210"/>
              <a:gd name="T64" fmla="*/ 65 w 147"/>
              <a:gd name="T65" fmla="*/ 191 h 210"/>
              <a:gd name="T66" fmla="*/ 65 w 147"/>
              <a:gd name="T67" fmla="*/ 194 h 210"/>
              <a:gd name="T68" fmla="*/ 65 w 147"/>
              <a:gd name="T69" fmla="*/ 194 h 210"/>
              <a:gd name="T70" fmla="*/ 59 w 147"/>
              <a:gd name="T71" fmla="*/ 204 h 210"/>
              <a:gd name="T72" fmla="*/ 53 w 147"/>
              <a:gd name="T73" fmla="*/ 200 h 210"/>
              <a:gd name="T74" fmla="*/ 40 w 147"/>
              <a:gd name="T75" fmla="*/ 204 h 210"/>
              <a:gd name="T76" fmla="*/ 34 w 147"/>
              <a:gd name="T77" fmla="*/ 210 h 210"/>
              <a:gd name="T78" fmla="*/ 31 w 147"/>
              <a:gd name="T79" fmla="*/ 210 h 210"/>
              <a:gd name="T80" fmla="*/ 15 w 147"/>
              <a:gd name="T81" fmla="*/ 194 h 210"/>
              <a:gd name="T82" fmla="*/ 0 w 147"/>
              <a:gd name="T83" fmla="*/ 163 h 210"/>
              <a:gd name="T84" fmla="*/ 3 w 147"/>
              <a:gd name="T85" fmla="*/ 154 h 210"/>
              <a:gd name="T86" fmla="*/ 72 w 147"/>
              <a:gd name="T87" fmla="*/ 16 h 210"/>
              <a:gd name="T88" fmla="*/ 75 w 147"/>
              <a:gd name="T89" fmla="*/ 7 h 210"/>
              <a:gd name="T90" fmla="*/ 75 w 147"/>
              <a:gd name="T91" fmla="*/ 3 h 210"/>
              <a:gd name="T92" fmla="*/ 75 w 147"/>
              <a:gd name="T93" fmla="*/ 3 h 210"/>
              <a:gd name="T94" fmla="*/ 75 w 147"/>
              <a:gd name="T95" fmla="*/ 0 h 210"/>
              <a:gd name="T96" fmla="*/ 72 w 147"/>
              <a:gd name="T97" fmla="*/ 0 h 210"/>
              <a:gd name="T98" fmla="*/ 68 w 147"/>
              <a:gd name="T99" fmla="*/ 10 h 210"/>
              <a:gd name="T100" fmla="*/ 68 w 147"/>
              <a:gd name="T101" fmla="*/ 10 h 210"/>
              <a:gd name="T102" fmla="*/ 72 w 147"/>
              <a:gd name="T103" fmla="*/ 13 h 210"/>
              <a:gd name="T104" fmla="*/ 72 w 147"/>
              <a:gd name="T105" fmla="*/ 1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7" h="210">
                <a:moveTo>
                  <a:pt x="3" y="154"/>
                </a:moveTo>
                <a:lnTo>
                  <a:pt x="56" y="138"/>
                </a:lnTo>
                <a:lnTo>
                  <a:pt x="59" y="94"/>
                </a:lnTo>
                <a:lnTo>
                  <a:pt x="56" y="78"/>
                </a:lnTo>
                <a:lnTo>
                  <a:pt x="72" y="28"/>
                </a:lnTo>
                <a:lnTo>
                  <a:pt x="78" y="28"/>
                </a:lnTo>
                <a:lnTo>
                  <a:pt x="78" y="38"/>
                </a:lnTo>
                <a:lnTo>
                  <a:pt x="84" y="47"/>
                </a:lnTo>
                <a:lnTo>
                  <a:pt x="84" y="50"/>
                </a:lnTo>
                <a:lnTo>
                  <a:pt x="97" y="60"/>
                </a:lnTo>
                <a:lnTo>
                  <a:pt x="100" y="60"/>
                </a:lnTo>
                <a:lnTo>
                  <a:pt x="103" y="60"/>
                </a:lnTo>
                <a:lnTo>
                  <a:pt x="106" y="60"/>
                </a:lnTo>
                <a:lnTo>
                  <a:pt x="115" y="60"/>
                </a:lnTo>
                <a:lnTo>
                  <a:pt x="122" y="60"/>
                </a:lnTo>
                <a:lnTo>
                  <a:pt x="122" y="60"/>
                </a:lnTo>
                <a:lnTo>
                  <a:pt x="128" y="66"/>
                </a:lnTo>
                <a:lnTo>
                  <a:pt x="131" y="72"/>
                </a:lnTo>
                <a:lnTo>
                  <a:pt x="134" y="75"/>
                </a:lnTo>
                <a:lnTo>
                  <a:pt x="134" y="78"/>
                </a:lnTo>
                <a:lnTo>
                  <a:pt x="143" y="85"/>
                </a:lnTo>
                <a:lnTo>
                  <a:pt x="147" y="85"/>
                </a:lnTo>
                <a:lnTo>
                  <a:pt x="147" y="88"/>
                </a:lnTo>
                <a:lnTo>
                  <a:pt x="147" y="91"/>
                </a:lnTo>
                <a:lnTo>
                  <a:pt x="143" y="94"/>
                </a:lnTo>
                <a:lnTo>
                  <a:pt x="143" y="97"/>
                </a:lnTo>
                <a:lnTo>
                  <a:pt x="143" y="100"/>
                </a:lnTo>
                <a:lnTo>
                  <a:pt x="137" y="113"/>
                </a:lnTo>
                <a:lnTo>
                  <a:pt x="131" y="116"/>
                </a:lnTo>
                <a:lnTo>
                  <a:pt x="131" y="119"/>
                </a:lnTo>
                <a:lnTo>
                  <a:pt x="128" y="122"/>
                </a:lnTo>
                <a:lnTo>
                  <a:pt x="125" y="129"/>
                </a:lnTo>
                <a:lnTo>
                  <a:pt x="125" y="129"/>
                </a:lnTo>
                <a:lnTo>
                  <a:pt x="122" y="129"/>
                </a:lnTo>
                <a:lnTo>
                  <a:pt x="122" y="125"/>
                </a:lnTo>
                <a:lnTo>
                  <a:pt x="122" y="125"/>
                </a:lnTo>
                <a:lnTo>
                  <a:pt x="122" y="122"/>
                </a:lnTo>
                <a:lnTo>
                  <a:pt x="118" y="125"/>
                </a:lnTo>
                <a:lnTo>
                  <a:pt x="115" y="129"/>
                </a:lnTo>
                <a:lnTo>
                  <a:pt x="115" y="129"/>
                </a:lnTo>
                <a:lnTo>
                  <a:pt x="118" y="132"/>
                </a:lnTo>
                <a:lnTo>
                  <a:pt x="115" y="132"/>
                </a:lnTo>
                <a:lnTo>
                  <a:pt x="112" y="138"/>
                </a:lnTo>
                <a:lnTo>
                  <a:pt x="112" y="144"/>
                </a:lnTo>
                <a:lnTo>
                  <a:pt x="109" y="147"/>
                </a:lnTo>
                <a:lnTo>
                  <a:pt x="112" y="147"/>
                </a:lnTo>
                <a:lnTo>
                  <a:pt x="112" y="150"/>
                </a:lnTo>
                <a:lnTo>
                  <a:pt x="112" y="150"/>
                </a:lnTo>
                <a:lnTo>
                  <a:pt x="115" y="157"/>
                </a:lnTo>
                <a:lnTo>
                  <a:pt x="115" y="160"/>
                </a:lnTo>
                <a:lnTo>
                  <a:pt x="115" y="160"/>
                </a:lnTo>
                <a:lnTo>
                  <a:pt x="106" y="160"/>
                </a:lnTo>
                <a:lnTo>
                  <a:pt x="103" y="163"/>
                </a:lnTo>
                <a:lnTo>
                  <a:pt x="100" y="160"/>
                </a:lnTo>
                <a:lnTo>
                  <a:pt x="97" y="163"/>
                </a:lnTo>
                <a:lnTo>
                  <a:pt x="90" y="172"/>
                </a:lnTo>
                <a:lnTo>
                  <a:pt x="90" y="179"/>
                </a:lnTo>
                <a:lnTo>
                  <a:pt x="87" y="179"/>
                </a:lnTo>
                <a:lnTo>
                  <a:pt x="84" y="182"/>
                </a:lnTo>
                <a:lnTo>
                  <a:pt x="81" y="182"/>
                </a:lnTo>
                <a:lnTo>
                  <a:pt x="75" y="182"/>
                </a:lnTo>
                <a:lnTo>
                  <a:pt x="68" y="182"/>
                </a:lnTo>
                <a:lnTo>
                  <a:pt x="68" y="185"/>
                </a:lnTo>
                <a:lnTo>
                  <a:pt x="65" y="188"/>
                </a:lnTo>
                <a:lnTo>
                  <a:pt x="65" y="188"/>
                </a:lnTo>
                <a:lnTo>
                  <a:pt x="65" y="191"/>
                </a:lnTo>
                <a:lnTo>
                  <a:pt x="65" y="191"/>
                </a:lnTo>
                <a:lnTo>
                  <a:pt x="65" y="194"/>
                </a:lnTo>
                <a:lnTo>
                  <a:pt x="65" y="194"/>
                </a:lnTo>
                <a:lnTo>
                  <a:pt x="65" y="194"/>
                </a:lnTo>
                <a:lnTo>
                  <a:pt x="62" y="204"/>
                </a:lnTo>
                <a:lnTo>
                  <a:pt x="59" y="204"/>
                </a:lnTo>
                <a:lnTo>
                  <a:pt x="56" y="200"/>
                </a:lnTo>
                <a:lnTo>
                  <a:pt x="53" y="200"/>
                </a:lnTo>
                <a:lnTo>
                  <a:pt x="50" y="200"/>
                </a:lnTo>
                <a:lnTo>
                  <a:pt x="40" y="204"/>
                </a:lnTo>
                <a:lnTo>
                  <a:pt x="37" y="204"/>
                </a:lnTo>
                <a:lnTo>
                  <a:pt x="34" y="210"/>
                </a:lnTo>
                <a:lnTo>
                  <a:pt x="31" y="210"/>
                </a:lnTo>
                <a:lnTo>
                  <a:pt x="31" y="210"/>
                </a:lnTo>
                <a:lnTo>
                  <a:pt x="28" y="210"/>
                </a:lnTo>
                <a:lnTo>
                  <a:pt x="15" y="194"/>
                </a:lnTo>
                <a:lnTo>
                  <a:pt x="18" y="188"/>
                </a:lnTo>
                <a:lnTo>
                  <a:pt x="0" y="163"/>
                </a:lnTo>
                <a:lnTo>
                  <a:pt x="3" y="154"/>
                </a:lnTo>
                <a:lnTo>
                  <a:pt x="3" y="154"/>
                </a:lnTo>
                <a:close/>
                <a:moveTo>
                  <a:pt x="72" y="19"/>
                </a:moveTo>
                <a:lnTo>
                  <a:pt x="72" y="16"/>
                </a:lnTo>
                <a:lnTo>
                  <a:pt x="75" y="13"/>
                </a:lnTo>
                <a:lnTo>
                  <a:pt x="75" y="7"/>
                </a:lnTo>
                <a:lnTo>
                  <a:pt x="75" y="7"/>
                </a:lnTo>
                <a:lnTo>
                  <a:pt x="75" y="3"/>
                </a:lnTo>
                <a:lnTo>
                  <a:pt x="75" y="3"/>
                </a:lnTo>
                <a:lnTo>
                  <a:pt x="75" y="3"/>
                </a:lnTo>
                <a:lnTo>
                  <a:pt x="75" y="3"/>
                </a:lnTo>
                <a:lnTo>
                  <a:pt x="75" y="0"/>
                </a:lnTo>
                <a:lnTo>
                  <a:pt x="72" y="3"/>
                </a:lnTo>
                <a:lnTo>
                  <a:pt x="72" y="0"/>
                </a:lnTo>
                <a:lnTo>
                  <a:pt x="72" y="7"/>
                </a:lnTo>
                <a:lnTo>
                  <a:pt x="68" y="10"/>
                </a:lnTo>
                <a:lnTo>
                  <a:pt x="68" y="7"/>
                </a:lnTo>
                <a:lnTo>
                  <a:pt x="68" y="10"/>
                </a:lnTo>
                <a:lnTo>
                  <a:pt x="68" y="10"/>
                </a:lnTo>
                <a:lnTo>
                  <a:pt x="72" y="13"/>
                </a:lnTo>
                <a:lnTo>
                  <a:pt x="72" y="19"/>
                </a:lnTo>
                <a:lnTo>
                  <a:pt x="72" y="19"/>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4" name="Freeform 102">
            <a:extLst>
              <a:ext uri="{FF2B5EF4-FFF2-40B4-BE49-F238E27FC236}">
                <a16:creationId xmlns:a16="http://schemas.microsoft.com/office/drawing/2014/main" id="{AE2672CD-7498-1E06-78DD-70D596BE1FC3}"/>
              </a:ext>
            </a:extLst>
          </p:cNvPr>
          <p:cNvSpPr>
            <a:spLocks noEditPoints="1"/>
          </p:cNvSpPr>
          <p:nvPr userDrawn="1"/>
        </p:nvSpPr>
        <p:spPr bwMode="auto">
          <a:xfrm>
            <a:off x="15807298" y="8146333"/>
            <a:ext cx="755601" cy="466726"/>
          </a:xfrm>
          <a:custGeom>
            <a:avLst/>
            <a:gdLst>
              <a:gd name="T0" fmla="*/ 7 w 238"/>
              <a:gd name="T1" fmla="*/ 56 h 147"/>
              <a:gd name="T2" fmla="*/ 10 w 238"/>
              <a:gd name="T3" fmla="*/ 56 h 147"/>
              <a:gd name="T4" fmla="*/ 13 w 238"/>
              <a:gd name="T5" fmla="*/ 43 h 147"/>
              <a:gd name="T6" fmla="*/ 19 w 238"/>
              <a:gd name="T7" fmla="*/ 34 h 147"/>
              <a:gd name="T8" fmla="*/ 38 w 238"/>
              <a:gd name="T9" fmla="*/ 37 h 147"/>
              <a:gd name="T10" fmla="*/ 72 w 238"/>
              <a:gd name="T11" fmla="*/ 53 h 147"/>
              <a:gd name="T12" fmla="*/ 110 w 238"/>
              <a:gd name="T13" fmla="*/ 21 h 147"/>
              <a:gd name="T14" fmla="*/ 182 w 238"/>
              <a:gd name="T15" fmla="*/ 9 h 147"/>
              <a:gd name="T16" fmla="*/ 197 w 238"/>
              <a:gd name="T17" fmla="*/ 40 h 147"/>
              <a:gd name="T18" fmla="*/ 204 w 238"/>
              <a:gd name="T19" fmla="*/ 56 h 147"/>
              <a:gd name="T20" fmla="*/ 191 w 238"/>
              <a:gd name="T21" fmla="*/ 65 h 147"/>
              <a:gd name="T22" fmla="*/ 191 w 238"/>
              <a:gd name="T23" fmla="*/ 71 h 147"/>
              <a:gd name="T24" fmla="*/ 191 w 238"/>
              <a:gd name="T25" fmla="*/ 75 h 147"/>
              <a:gd name="T26" fmla="*/ 179 w 238"/>
              <a:gd name="T27" fmla="*/ 81 h 147"/>
              <a:gd name="T28" fmla="*/ 160 w 238"/>
              <a:gd name="T29" fmla="*/ 87 h 147"/>
              <a:gd name="T30" fmla="*/ 135 w 238"/>
              <a:gd name="T31" fmla="*/ 97 h 147"/>
              <a:gd name="T32" fmla="*/ 132 w 238"/>
              <a:gd name="T33" fmla="*/ 97 h 147"/>
              <a:gd name="T34" fmla="*/ 119 w 238"/>
              <a:gd name="T35" fmla="*/ 109 h 147"/>
              <a:gd name="T36" fmla="*/ 116 w 238"/>
              <a:gd name="T37" fmla="*/ 109 h 147"/>
              <a:gd name="T38" fmla="*/ 113 w 238"/>
              <a:gd name="T39" fmla="*/ 109 h 147"/>
              <a:gd name="T40" fmla="*/ 107 w 238"/>
              <a:gd name="T41" fmla="*/ 109 h 147"/>
              <a:gd name="T42" fmla="*/ 100 w 238"/>
              <a:gd name="T43" fmla="*/ 115 h 147"/>
              <a:gd name="T44" fmla="*/ 88 w 238"/>
              <a:gd name="T45" fmla="*/ 118 h 147"/>
              <a:gd name="T46" fmla="*/ 75 w 238"/>
              <a:gd name="T47" fmla="*/ 122 h 147"/>
              <a:gd name="T48" fmla="*/ 69 w 238"/>
              <a:gd name="T49" fmla="*/ 122 h 147"/>
              <a:gd name="T50" fmla="*/ 66 w 238"/>
              <a:gd name="T51" fmla="*/ 118 h 147"/>
              <a:gd name="T52" fmla="*/ 57 w 238"/>
              <a:gd name="T53" fmla="*/ 122 h 147"/>
              <a:gd name="T54" fmla="*/ 54 w 238"/>
              <a:gd name="T55" fmla="*/ 128 h 147"/>
              <a:gd name="T56" fmla="*/ 47 w 238"/>
              <a:gd name="T57" fmla="*/ 134 h 147"/>
              <a:gd name="T58" fmla="*/ 41 w 238"/>
              <a:gd name="T59" fmla="*/ 134 h 147"/>
              <a:gd name="T60" fmla="*/ 32 w 238"/>
              <a:gd name="T61" fmla="*/ 137 h 147"/>
              <a:gd name="T62" fmla="*/ 25 w 238"/>
              <a:gd name="T63" fmla="*/ 137 h 147"/>
              <a:gd name="T64" fmla="*/ 22 w 238"/>
              <a:gd name="T65" fmla="*/ 134 h 147"/>
              <a:gd name="T66" fmla="*/ 16 w 238"/>
              <a:gd name="T67" fmla="*/ 125 h 147"/>
              <a:gd name="T68" fmla="*/ 16 w 238"/>
              <a:gd name="T69" fmla="*/ 118 h 147"/>
              <a:gd name="T70" fmla="*/ 10 w 238"/>
              <a:gd name="T71" fmla="*/ 109 h 147"/>
              <a:gd name="T72" fmla="*/ 4 w 238"/>
              <a:gd name="T73" fmla="*/ 84 h 147"/>
              <a:gd name="T74" fmla="*/ 0 w 238"/>
              <a:gd name="T75" fmla="*/ 81 h 147"/>
              <a:gd name="T76" fmla="*/ 4 w 238"/>
              <a:gd name="T77" fmla="*/ 78 h 147"/>
              <a:gd name="T78" fmla="*/ 4 w 238"/>
              <a:gd name="T79" fmla="*/ 78 h 147"/>
              <a:gd name="T80" fmla="*/ 4 w 238"/>
              <a:gd name="T81" fmla="*/ 59 h 147"/>
              <a:gd name="T82" fmla="*/ 4 w 238"/>
              <a:gd name="T83" fmla="*/ 56 h 147"/>
              <a:gd name="T84" fmla="*/ 194 w 238"/>
              <a:gd name="T85" fmla="*/ 147 h 147"/>
              <a:gd name="T86" fmla="*/ 194 w 238"/>
              <a:gd name="T87" fmla="*/ 147 h 147"/>
              <a:gd name="T88" fmla="*/ 191 w 238"/>
              <a:gd name="T89" fmla="*/ 147 h 147"/>
              <a:gd name="T90" fmla="*/ 216 w 238"/>
              <a:gd name="T91" fmla="*/ 140 h 147"/>
              <a:gd name="T92" fmla="*/ 219 w 238"/>
              <a:gd name="T93" fmla="*/ 134 h 147"/>
              <a:gd name="T94" fmla="*/ 222 w 238"/>
              <a:gd name="T95" fmla="*/ 137 h 147"/>
              <a:gd name="T96" fmla="*/ 229 w 238"/>
              <a:gd name="T97" fmla="*/ 137 h 147"/>
              <a:gd name="T98" fmla="*/ 235 w 238"/>
              <a:gd name="T99" fmla="*/ 137 h 147"/>
              <a:gd name="T100" fmla="*/ 238 w 238"/>
              <a:gd name="T101" fmla="*/ 140 h 147"/>
              <a:gd name="T102" fmla="*/ 235 w 238"/>
              <a:gd name="T103" fmla="*/ 140 h 147"/>
              <a:gd name="T104" fmla="*/ 225 w 238"/>
              <a:gd name="T105" fmla="*/ 143 h 147"/>
              <a:gd name="T106" fmla="*/ 216 w 238"/>
              <a:gd name="T107" fmla="*/ 14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8" h="147">
                <a:moveTo>
                  <a:pt x="4" y="56"/>
                </a:moveTo>
                <a:lnTo>
                  <a:pt x="7" y="56"/>
                </a:lnTo>
                <a:lnTo>
                  <a:pt x="10" y="59"/>
                </a:lnTo>
                <a:lnTo>
                  <a:pt x="10" y="56"/>
                </a:lnTo>
                <a:lnTo>
                  <a:pt x="16" y="50"/>
                </a:lnTo>
                <a:lnTo>
                  <a:pt x="13" y="43"/>
                </a:lnTo>
                <a:lnTo>
                  <a:pt x="16" y="34"/>
                </a:lnTo>
                <a:lnTo>
                  <a:pt x="19" y="34"/>
                </a:lnTo>
                <a:lnTo>
                  <a:pt x="25" y="37"/>
                </a:lnTo>
                <a:lnTo>
                  <a:pt x="38" y="37"/>
                </a:lnTo>
                <a:lnTo>
                  <a:pt x="57" y="43"/>
                </a:lnTo>
                <a:lnTo>
                  <a:pt x="72" y="53"/>
                </a:lnTo>
                <a:lnTo>
                  <a:pt x="72" y="71"/>
                </a:lnTo>
                <a:lnTo>
                  <a:pt x="110" y="21"/>
                </a:lnTo>
                <a:lnTo>
                  <a:pt x="185" y="0"/>
                </a:lnTo>
                <a:lnTo>
                  <a:pt x="182" y="9"/>
                </a:lnTo>
                <a:lnTo>
                  <a:pt x="200" y="34"/>
                </a:lnTo>
                <a:lnTo>
                  <a:pt x="197" y="40"/>
                </a:lnTo>
                <a:lnTo>
                  <a:pt x="210" y="56"/>
                </a:lnTo>
                <a:lnTo>
                  <a:pt x="204" y="56"/>
                </a:lnTo>
                <a:lnTo>
                  <a:pt x="197" y="59"/>
                </a:lnTo>
                <a:lnTo>
                  <a:pt x="191" y="65"/>
                </a:lnTo>
                <a:lnTo>
                  <a:pt x="191" y="71"/>
                </a:lnTo>
                <a:lnTo>
                  <a:pt x="191" y="71"/>
                </a:lnTo>
                <a:lnTo>
                  <a:pt x="191" y="75"/>
                </a:lnTo>
                <a:lnTo>
                  <a:pt x="191" y="75"/>
                </a:lnTo>
                <a:lnTo>
                  <a:pt x="182" y="78"/>
                </a:lnTo>
                <a:lnTo>
                  <a:pt x="179" y="81"/>
                </a:lnTo>
                <a:lnTo>
                  <a:pt x="172" y="84"/>
                </a:lnTo>
                <a:lnTo>
                  <a:pt x="160" y="87"/>
                </a:lnTo>
                <a:lnTo>
                  <a:pt x="157" y="90"/>
                </a:lnTo>
                <a:lnTo>
                  <a:pt x="135" y="97"/>
                </a:lnTo>
                <a:lnTo>
                  <a:pt x="135" y="97"/>
                </a:lnTo>
                <a:lnTo>
                  <a:pt x="132" y="97"/>
                </a:lnTo>
                <a:lnTo>
                  <a:pt x="125" y="103"/>
                </a:lnTo>
                <a:lnTo>
                  <a:pt x="119" y="109"/>
                </a:lnTo>
                <a:lnTo>
                  <a:pt x="119" y="109"/>
                </a:lnTo>
                <a:lnTo>
                  <a:pt x="116" y="109"/>
                </a:lnTo>
                <a:lnTo>
                  <a:pt x="116" y="109"/>
                </a:lnTo>
                <a:lnTo>
                  <a:pt x="113" y="109"/>
                </a:lnTo>
                <a:lnTo>
                  <a:pt x="110" y="109"/>
                </a:lnTo>
                <a:lnTo>
                  <a:pt x="107" y="109"/>
                </a:lnTo>
                <a:lnTo>
                  <a:pt x="100" y="112"/>
                </a:lnTo>
                <a:lnTo>
                  <a:pt x="100" y="115"/>
                </a:lnTo>
                <a:lnTo>
                  <a:pt x="97" y="118"/>
                </a:lnTo>
                <a:lnTo>
                  <a:pt x="88" y="118"/>
                </a:lnTo>
                <a:lnTo>
                  <a:pt x="79" y="122"/>
                </a:lnTo>
                <a:lnTo>
                  <a:pt x="75" y="122"/>
                </a:lnTo>
                <a:lnTo>
                  <a:pt x="75" y="118"/>
                </a:lnTo>
                <a:lnTo>
                  <a:pt x="69" y="122"/>
                </a:lnTo>
                <a:lnTo>
                  <a:pt x="69" y="118"/>
                </a:lnTo>
                <a:lnTo>
                  <a:pt x="66" y="118"/>
                </a:lnTo>
                <a:lnTo>
                  <a:pt x="63" y="118"/>
                </a:lnTo>
                <a:lnTo>
                  <a:pt x="57" y="122"/>
                </a:lnTo>
                <a:lnTo>
                  <a:pt x="57" y="128"/>
                </a:lnTo>
                <a:lnTo>
                  <a:pt x="54" y="128"/>
                </a:lnTo>
                <a:lnTo>
                  <a:pt x="50" y="134"/>
                </a:lnTo>
                <a:lnTo>
                  <a:pt x="47" y="134"/>
                </a:lnTo>
                <a:lnTo>
                  <a:pt x="44" y="134"/>
                </a:lnTo>
                <a:lnTo>
                  <a:pt x="41" y="134"/>
                </a:lnTo>
                <a:lnTo>
                  <a:pt x="35" y="137"/>
                </a:lnTo>
                <a:lnTo>
                  <a:pt x="32" y="137"/>
                </a:lnTo>
                <a:lnTo>
                  <a:pt x="29" y="134"/>
                </a:lnTo>
                <a:lnTo>
                  <a:pt x="25" y="137"/>
                </a:lnTo>
                <a:lnTo>
                  <a:pt x="22" y="137"/>
                </a:lnTo>
                <a:lnTo>
                  <a:pt x="22" y="134"/>
                </a:lnTo>
                <a:lnTo>
                  <a:pt x="19" y="128"/>
                </a:lnTo>
                <a:lnTo>
                  <a:pt x="16" y="125"/>
                </a:lnTo>
                <a:lnTo>
                  <a:pt x="13" y="118"/>
                </a:lnTo>
                <a:lnTo>
                  <a:pt x="16" y="118"/>
                </a:lnTo>
                <a:lnTo>
                  <a:pt x="16" y="112"/>
                </a:lnTo>
                <a:lnTo>
                  <a:pt x="10" y="109"/>
                </a:lnTo>
                <a:lnTo>
                  <a:pt x="7" y="90"/>
                </a:lnTo>
                <a:lnTo>
                  <a:pt x="4" y="84"/>
                </a:lnTo>
                <a:lnTo>
                  <a:pt x="4" y="81"/>
                </a:lnTo>
                <a:lnTo>
                  <a:pt x="0" y="81"/>
                </a:lnTo>
                <a:lnTo>
                  <a:pt x="0" y="78"/>
                </a:lnTo>
                <a:lnTo>
                  <a:pt x="4" y="78"/>
                </a:lnTo>
                <a:lnTo>
                  <a:pt x="4" y="78"/>
                </a:lnTo>
                <a:lnTo>
                  <a:pt x="4" y="78"/>
                </a:lnTo>
                <a:lnTo>
                  <a:pt x="7" y="71"/>
                </a:lnTo>
                <a:lnTo>
                  <a:pt x="4" y="59"/>
                </a:lnTo>
                <a:lnTo>
                  <a:pt x="4" y="56"/>
                </a:lnTo>
                <a:lnTo>
                  <a:pt x="4" y="56"/>
                </a:lnTo>
                <a:close/>
                <a:moveTo>
                  <a:pt x="191" y="147"/>
                </a:moveTo>
                <a:lnTo>
                  <a:pt x="194" y="147"/>
                </a:lnTo>
                <a:lnTo>
                  <a:pt x="200" y="147"/>
                </a:lnTo>
                <a:lnTo>
                  <a:pt x="194" y="147"/>
                </a:lnTo>
                <a:lnTo>
                  <a:pt x="191" y="147"/>
                </a:lnTo>
                <a:lnTo>
                  <a:pt x="191" y="147"/>
                </a:lnTo>
                <a:close/>
                <a:moveTo>
                  <a:pt x="216" y="140"/>
                </a:moveTo>
                <a:lnTo>
                  <a:pt x="216" y="140"/>
                </a:lnTo>
                <a:lnTo>
                  <a:pt x="216" y="137"/>
                </a:lnTo>
                <a:lnTo>
                  <a:pt x="219" y="134"/>
                </a:lnTo>
                <a:lnTo>
                  <a:pt x="222" y="134"/>
                </a:lnTo>
                <a:lnTo>
                  <a:pt x="222" y="137"/>
                </a:lnTo>
                <a:lnTo>
                  <a:pt x="225" y="137"/>
                </a:lnTo>
                <a:lnTo>
                  <a:pt x="229" y="137"/>
                </a:lnTo>
                <a:lnTo>
                  <a:pt x="232" y="137"/>
                </a:lnTo>
                <a:lnTo>
                  <a:pt x="235" y="137"/>
                </a:lnTo>
                <a:lnTo>
                  <a:pt x="238" y="137"/>
                </a:lnTo>
                <a:lnTo>
                  <a:pt x="238" y="140"/>
                </a:lnTo>
                <a:lnTo>
                  <a:pt x="238" y="140"/>
                </a:lnTo>
                <a:lnTo>
                  <a:pt x="235" y="140"/>
                </a:lnTo>
                <a:lnTo>
                  <a:pt x="229" y="143"/>
                </a:lnTo>
                <a:lnTo>
                  <a:pt x="225" y="143"/>
                </a:lnTo>
                <a:lnTo>
                  <a:pt x="219" y="143"/>
                </a:lnTo>
                <a:lnTo>
                  <a:pt x="216" y="143"/>
                </a:lnTo>
                <a:lnTo>
                  <a:pt x="216" y="140"/>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5" name="Freeform 103">
            <a:extLst>
              <a:ext uri="{FF2B5EF4-FFF2-40B4-BE49-F238E27FC236}">
                <a16:creationId xmlns:a16="http://schemas.microsoft.com/office/drawing/2014/main" id="{DFBB5B58-F92C-7E82-6714-7E6C209E4B74}"/>
              </a:ext>
            </a:extLst>
          </p:cNvPr>
          <p:cNvSpPr>
            <a:spLocks/>
          </p:cNvSpPr>
          <p:nvPr userDrawn="1"/>
        </p:nvSpPr>
        <p:spPr bwMode="auto">
          <a:xfrm>
            <a:off x="14658023" y="7320839"/>
            <a:ext cx="784175" cy="654050"/>
          </a:xfrm>
          <a:custGeom>
            <a:avLst/>
            <a:gdLst>
              <a:gd name="T0" fmla="*/ 197 w 247"/>
              <a:gd name="T1" fmla="*/ 37 h 206"/>
              <a:gd name="T2" fmla="*/ 184 w 247"/>
              <a:gd name="T3" fmla="*/ 12 h 206"/>
              <a:gd name="T4" fmla="*/ 175 w 247"/>
              <a:gd name="T5" fmla="*/ 9 h 206"/>
              <a:gd name="T6" fmla="*/ 150 w 247"/>
              <a:gd name="T7" fmla="*/ 12 h 206"/>
              <a:gd name="T8" fmla="*/ 144 w 247"/>
              <a:gd name="T9" fmla="*/ 16 h 206"/>
              <a:gd name="T10" fmla="*/ 137 w 247"/>
              <a:gd name="T11" fmla="*/ 9 h 206"/>
              <a:gd name="T12" fmla="*/ 134 w 247"/>
              <a:gd name="T13" fmla="*/ 3 h 206"/>
              <a:gd name="T14" fmla="*/ 122 w 247"/>
              <a:gd name="T15" fmla="*/ 3 h 206"/>
              <a:gd name="T16" fmla="*/ 125 w 247"/>
              <a:gd name="T17" fmla="*/ 6 h 206"/>
              <a:gd name="T18" fmla="*/ 112 w 247"/>
              <a:gd name="T19" fmla="*/ 6 h 206"/>
              <a:gd name="T20" fmla="*/ 115 w 247"/>
              <a:gd name="T21" fmla="*/ 3 h 206"/>
              <a:gd name="T22" fmla="*/ 109 w 247"/>
              <a:gd name="T23" fmla="*/ 3 h 206"/>
              <a:gd name="T24" fmla="*/ 100 w 247"/>
              <a:gd name="T25" fmla="*/ 9 h 206"/>
              <a:gd name="T26" fmla="*/ 87 w 247"/>
              <a:gd name="T27" fmla="*/ 16 h 206"/>
              <a:gd name="T28" fmla="*/ 72 w 247"/>
              <a:gd name="T29" fmla="*/ 12 h 206"/>
              <a:gd name="T30" fmla="*/ 56 w 247"/>
              <a:gd name="T31" fmla="*/ 9 h 206"/>
              <a:gd name="T32" fmla="*/ 40 w 247"/>
              <a:gd name="T33" fmla="*/ 6 h 206"/>
              <a:gd name="T34" fmla="*/ 9 w 247"/>
              <a:gd name="T35" fmla="*/ 3 h 206"/>
              <a:gd name="T36" fmla="*/ 6 w 247"/>
              <a:gd name="T37" fmla="*/ 6 h 206"/>
              <a:gd name="T38" fmla="*/ 6 w 247"/>
              <a:gd name="T39" fmla="*/ 25 h 206"/>
              <a:gd name="T40" fmla="*/ 3 w 247"/>
              <a:gd name="T41" fmla="*/ 41 h 206"/>
              <a:gd name="T42" fmla="*/ 247 w 247"/>
              <a:gd name="T43" fmla="*/ 206 h 206"/>
              <a:gd name="T44" fmla="*/ 241 w 247"/>
              <a:gd name="T45" fmla="*/ 200 h 206"/>
              <a:gd name="T46" fmla="*/ 231 w 247"/>
              <a:gd name="T47" fmla="*/ 191 h 206"/>
              <a:gd name="T48" fmla="*/ 219 w 247"/>
              <a:gd name="T49" fmla="*/ 188 h 206"/>
              <a:gd name="T50" fmla="*/ 215 w 247"/>
              <a:gd name="T51" fmla="*/ 169 h 206"/>
              <a:gd name="T52" fmla="*/ 219 w 247"/>
              <a:gd name="T53" fmla="*/ 166 h 206"/>
              <a:gd name="T54" fmla="*/ 219 w 247"/>
              <a:gd name="T55" fmla="*/ 166 h 206"/>
              <a:gd name="T56" fmla="*/ 215 w 247"/>
              <a:gd name="T57" fmla="*/ 159 h 206"/>
              <a:gd name="T58" fmla="*/ 203 w 247"/>
              <a:gd name="T59" fmla="*/ 141 h 206"/>
              <a:gd name="T60" fmla="*/ 187 w 247"/>
              <a:gd name="T61" fmla="*/ 116 h 206"/>
              <a:gd name="T62" fmla="*/ 184 w 247"/>
              <a:gd name="T63" fmla="*/ 100 h 206"/>
              <a:gd name="T64" fmla="*/ 175 w 247"/>
              <a:gd name="T65" fmla="*/ 87 h 206"/>
              <a:gd name="T66" fmla="*/ 172 w 247"/>
              <a:gd name="T67" fmla="*/ 78 h 206"/>
              <a:gd name="T68" fmla="*/ 153 w 247"/>
              <a:gd name="T69" fmla="*/ 56 h 206"/>
              <a:gd name="T70" fmla="*/ 150 w 247"/>
              <a:gd name="T71" fmla="*/ 44 h 206"/>
              <a:gd name="T72" fmla="*/ 150 w 247"/>
              <a:gd name="T73" fmla="*/ 41 h 206"/>
              <a:gd name="T74" fmla="*/ 156 w 247"/>
              <a:gd name="T75" fmla="*/ 50 h 206"/>
              <a:gd name="T76" fmla="*/ 165 w 247"/>
              <a:gd name="T77" fmla="*/ 62 h 206"/>
              <a:gd name="T78" fmla="*/ 172 w 247"/>
              <a:gd name="T79" fmla="*/ 72 h 206"/>
              <a:gd name="T80" fmla="*/ 187 w 247"/>
              <a:gd name="T81" fmla="*/ 84 h 206"/>
              <a:gd name="T82" fmla="*/ 194 w 247"/>
              <a:gd name="T83" fmla="*/ 75 h 206"/>
              <a:gd name="T84" fmla="*/ 194 w 247"/>
              <a:gd name="T85" fmla="*/ 6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7" h="206">
                <a:moveTo>
                  <a:pt x="197" y="50"/>
                </a:moveTo>
                <a:lnTo>
                  <a:pt x="194" y="44"/>
                </a:lnTo>
                <a:lnTo>
                  <a:pt x="197" y="37"/>
                </a:lnTo>
                <a:lnTo>
                  <a:pt x="194" y="28"/>
                </a:lnTo>
                <a:lnTo>
                  <a:pt x="187" y="19"/>
                </a:lnTo>
                <a:lnTo>
                  <a:pt x="184" y="12"/>
                </a:lnTo>
                <a:lnTo>
                  <a:pt x="181" y="6"/>
                </a:lnTo>
                <a:lnTo>
                  <a:pt x="178" y="6"/>
                </a:lnTo>
                <a:lnTo>
                  <a:pt x="175" y="9"/>
                </a:lnTo>
                <a:lnTo>
                  <a:pt x="172" y="12"/>
                </a:lnTo>
                <a:lnTo>
                  <a:pt x="159" y="9"/>
                </a:lnTo>
                <a:lnTo>
                  <a:pt x="150" y="12"/>
                </a:lnTo>
                <a:lnTo>
                  <a:pt x="140" y="6"/>
                </a:lnTo>
                <a:lnTo>
                  <a:pt x="140" y="9"/>
                </a:lnTo>
                <a:lnTo>
                  <a:pt x="144" y="16"/>
                </a:lnTo>
                <a:lnTo>
                  <a:pt x="144" y="16"/>
                </a:lnTo>
                <a:lnTo>
                  <a:pt x="140" y="12"/>
                </a:lnTo>
                <a:lnTo>
                  <a:pt x="137" y="9"/>
                </a:lnTo>
                <a:lnTo>
                  <a:pt x="134" y="6"/>
                </a:lnTo>
                <a:lnTo>
                  <a:pt x="137" y="6"/>
                </a:lnTo>
                <a:lnTo>
                  <a:pt x="134" y="3"/>
                </a:lnTo>
                <a:lnTo>
                  <a:pt x="131" y="6"/>
                </a:lnTo>
                <a:lnTo>
                  <a:pt x="128" y="3"/>
                </a:lnTo>
                <a:lnTo>
                  <a:pt x="122" y="3"/>
                </a:lnTo>
                <a:lnTo>
                  <a:pt x="122" y="3"/>
                </a:lnTo>
                <a:lnTo>
                  <a:pt x="125" y="3"/>
                </a:lnTo>
                <a:lnTo>
                  <a:pt x="125" y="6"/>
                </a:lnTo>
                <a:lnTo>
                  <a:pt x="122" y="6"/>
                </a:lnTo>
                <a:lnTo>
                  <a:pt x="115" y="6"/>
                </a:lnTo>
                <a:lnTo>
                  <a:pt x="112" y="6"/>
                </a:lnTo>
                <a:lnTo>
                  <a:pt x="112" y="6"/>
                </a:lnTo>
                <a:lnTo>
                  <a:pt x="112" y="3"/>
                </a:lnTo>
                <a:lnTo>
                  <a:pt x="115" y="3"/>
                </a:lnTo>
                <a:lnTo>
                  <a:pt x="119" y="3"/>
                </a:lnTo>
                <a:lnTo>
                  <a:pt x="115" y="3"/>
                </a:lnTo>
                <a:lnTo>
                  <a:pt x="109" y="3"/>
                </a:lnTo>
                <a:lnTo>
                  <a:pt x="106" y="6"/>
                </a:lnTo>
                <a:lnTo>
                  <a:pt x="100" y="9"/>
                </a:lnTo>
                <a:lnTo>
                  <a:pt x="100" y="9"/>
                </a:lnTo>
                <a:lnTo>
                  <a:pt x="94" y="12"/>
                </a:lnTo>
                <a:lnTo>
                  <a:pt x="90" y="16"/>
                </a:lnTo>
                <a:lnTo>
                  <a:pt x="87" y="16"/>
                </a:lnTo>
                <a:lnTo>
                  <a:pt x="81" y="16"/>
                </a:lnTo>
                <a:lnTo>
                  <a:pt x="75" y="12"/>
                </a:lnTo>
                <a:lnTo>
                  <a:pt x="72" y="12"/>
                </a:lnTo>
                <a:lnTo>
                  <a:pt x="62" y="12"/>
                </a:lnTo>
                <a:lnTo>
                  <a:pt x="59" y="9"/>
                </a:lnTo>
                <a:lnTo>
                  <a:pt x="56" y="9"/>
                </a:lnTo>
                <a:lnTo>
                  <a:pt x="53" y="9"/>
                </a:lnTo>
                <a:lnTo>
                  <a:pt x="47" y="6"/>
                </a:lnTo>
                <a:lnTo>
                  <a:pt x="40" y="6"/>
                </a:lnTo>
                <a:lnTo>
                  <a:pt x="25" y="3"/>
                </a:lnTo>
                <a:lnTo>
                  <a:pt x="19" y="0"/>
                </a:lnTo>
                <a:lnTo>
                  <a:pt x="9" y="3"/>
                </a:lnTo>
                <a:lnTo>
                  <a:pt x="6" y="3"/>
                </a:lnTo>
                <a:lnTo>
                  <a:pt x="6" y="3"/>
                </a:lnTo>
                <a:lnTo>
                  <a:pt x="6" y="6"/>
                </a:lnTo>
                <a:lnTo>
                  <a:pt x="3" y="12"/>
                </a:lnTo>
                <a:lnTo>
                  <a:pt x="6" y="19"/>
                </a:lnTo>
                <a:lnTo>
                  <a:pt x="6" y="25"/>
                </a:lnTo>
                <a:lnTo>
                  <a:pt x="3" y="31"/>
                </a:lnTo>
                <a:lnTo>
                  <a:pt x="0" y="37"/>
                </a:lnTo>
                <a:lnTo>
                  <a:pt x="3" y="41"/>
                </a:lnTo>
                <a:lnTo>
                  <a:pt x="6" y="53"/>
                </a:lnTo>
                <a:lnTo>
                  <a:pt x="12" y="206"/>
                </a:lnTo>
                <a:lnTo>
                  <a:pt x="247" y="206"/>
                </a:lnTo>
                <a:lnTo>
                  <a:pt x="247" y="206"/>
                </a:lnTo>
                <a:lnTo>
                  <a:pt x="244" y="203"/>
                </a:lnTo>
                <a:lnTo>
                  <a:pt x="241" y="200"/>
                </a:lnTo>
                <a:lnTo>
                  <a:pt x="237" y="197"/>
                </a:lnTo>
                <a:lnTo>
                  <a:pt x="234" y="197"/>
                </a:lnTo>
                <a:lnTo>
                  <a:pt x="231" y="191"/>
                </a:lnTo>
                <a:lnTo>
                  <a:pt x="228" y="191"/>
                </a:lnTo>
                <a:lnTo>
                  <a:pt x="225" y="191"/>
                </a:lnTo>
                <a:lnTo>
                  <a:pt x="219" y="188"/>
                </a:lnTo>
                <a:lnTo>
                  <a:pt x="215" y="178"/>
                </a:lnTo>
                <a:lnTo>
                  <a:pt x="215" y="175"/>
                </a:lnTo>
                <a:lnTo>
                  <a:pt x="215" y="169"/>
                </a:lnTo>
                <a:lnTo>
                  <a:pt x="215" y="166"/>
                </a:lnTo>
                <a:lnTo>
                  <a:pt x="215" y="166"/>
                </a:lnTo>
                <a:lnTo>
                  <a:pt x="219" y="166"/>
                </a:lnTo>
                <a:lnTo>
                  <a:pt x="222" y="166"/>
                </a:lnTo>
                <a:lnTo>
                  <a:pt x="222" y="166"/>
                </a:lnTo>
                <a:lnTo>
                  <a:pt x="219" y="166"/>
                </a:lnTo>
                <a:lnTo>
                  <a:pt x="215" y="159"/>
                </a:lnTo>
                <a:lnTo>
                  <a:pt x="215" y="159"/>
                </a:lnTo>
                <a:lnTo>
                  <a:pt x="215" y="159"/>
                </a:lnTo>
                <a:lnTo>
                  <a:pt x="212" y="156"/>
                </a:lnTo>
                <a:lnTo>
                  <a:pt x="209" y="153"/>
                </a:lnTo>
                <a:lnTo>
                  <a:pt x="203" y="141"/>
                </a:lnTo>
                <a:lnTo>
                  <a:pt x="200" y="138"/>
                </a:lnTo>
                <a:lnTo>
                  <a:pt x="197" y="131"/>
                </a:lnTo>
                <a:lnTo>
                  <a:pt x="187" y="116"/>
                </a:lnTo>
                <a:lnTo>
                  <a:pt x="187" y="109"/>
                </a:lnTo>
                <a:lnTo>
                  <a:pt x="184" y="106"/>
                </a:lnTo>
                <a:lnTo>
                  <a:pt x="184" y="100"/>
                </a:lnTo>
                <a:lnTo>
                  <a:pt x="181" y="97"/>
                </a:lnTo>
                <a:lnTo>
                  <a:pt x="181" y="94"/>
                </a:lnTo>
                <a:lnTo>
                  <a:pt x="175" y="87"/>
                </a:lnTo>
                <a:lnTo>
                  <a:pt x="175" y="84"/>
                </a:lnTo>
                <a:lnTo>
                  <a:pt x="175" y="81"/>
                </a:lnTo>
                <a:lnTo>
                  <a:pt x="172" y="78"/>
                </a:lnTo>
                <a:lnTo>
                  <a:pt x="162" y="69"/>
                </a:lnTo>
                <a:lnTo>
                  <a:pt x="162" y="66"/>
                </a:lnTo>
                <a:lnTo>
                  <a:pt x="153" y="56"/>
                </a:lnTo>
                <a:lnTo>
                  <a:pt x="153" y="53"/>
                </a:lnTo>
                <a:lnTo>
                  <a:pt x="150" y="47"/>
                </a:lnTo>
                <a:lnTo>
                  <a:pt x="150" y="44"/>
                </a:lnTo>
                <a:lnTo>
                  <a:pt x="150" y="41"/>
                </a:lnTo>
                <a:lnTo>
                  <a:pt x="150" y="41"/>
                </a:lnTo>
                <a:lnTo>
                  <a:pt x="150" y="41"/>
                </a:lnTo>
                <a:lnTo>
                  <a:pt x="153" y="41"/>
                </a:lnTo>
                <a:lnTo>
                  <a:pt x="153" y="47"/>
                </a:lnTo>
                <a:lnTo>
                  <a:pt x="156" y="50"/>
                </a:lnTo>
                <a:lnTo>
                  <a:pt x="156" y="50"/>
                </a:lnTo>
                <a:lnTo>
                  <a:pt x="165" y="59"/>
                </a:lnTo>
                <a:lnTo>
                  <a:pt x="165" y="62"/>
                </a:lnTo>
                <a:lnTo>
                  <a:pt x="165" y="66"/>
                </a:lnTo>
                <a:lnTo>
                  <a:pt x="172" y="69"/>
                </a:lnTo>
                <a:lnTo>
                  <a:pt x="172" y="72"/>
                </a:lnTo>
                <a:lnTo>
                  <a:pt x="181" y="81"/>
                </a:lnTo>
                <a:lnTo>
                  <a:pt x="187" y="84"/>
                </a:lnTo>
                <a:lnTo>
                  <a:pt x="187" y="84"/>
                </a:lnTo>
                <a:lnTo>
                  <a:pt x="187" y="84"/>
                </a:lnTo>
                <a:lnTo>
                  <a:pt x="190" y="81"/>
                </a:lnTo>
                <a:lnTo>
                  <a:pt x="194" y="75"/>
                </a:lnTo>
                <a:lnTo>
                  <a:pt x="190" y="72"/>
                </a:lnTo>
                <a:lnTo>
                  <a:pt x="194" y="66"/>
                </a:lnTo>
                <a:lnTo>
                  <a:pt x="194" y="62"/>
                </a:lnTo>
                <a:lnTo>
                  <a:pt x="197" y="50"/>
                </a:lnTo>
                <a:lnTo>
                  <a:pt x="197" y="50"/>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6" name="Freeform 104">
            <a:extLst>
              <a:ext uri="{FF2B5EF4-FFF2-40B4-BE49-F238E27FC236}">
                <a16:creationId xmlns:a16="http://schemas.microsoft.com/office/drawing/2014/main" id="{D2717C56-0CA3-E711-DF12-62A7CBA3542F}"/>
              </a:ext>
            </a:extLst>
          </p:cNvPr>
          <p:cNvSpPr>
            <a:spLocks/>
          </p:cNvSpPr>
          <p:nvPr userDrawn="1"/>
        </p:nvSpPr>
        <p:spPr bwMode="auto">
          <a:xfrm>
            <a:off x="14518330" y="7974885"/>
            <a:ext cx="1031811" cy="1184278"/>
          </a:xfrm>
          <a:custGeom>
            <a:avLst/>
            <a:gdLst>
              <a:gd name="T0" fmla="*/ 291 w 325"/>
              <a:gd name="T1" fmla="*/ 3 h 373"/>
              <a:gd name="T2" fmla="*/ 294 w 325"/>
              <a:gd name="T3" fmla="*/ 13 h 373"/>
              <a:gd name="T4" fmla="*/ 294 w 325"/>
              <a:gd name="T5" fmla="*/ 16 h 373"/>
              <a:gd name="T6" fmla="*/ 300 w 325"/>
              <a:gd name="T7" fmla="*/ 50 h 373"/>
              <a:gd name="T8" fmla="*/ 316 w 325"/>
              <a:gd name="T9" fmla="*/ 75 h 373"/>
              <a:gd name="T10" fmla="*/ 325 w 325"/>
              <a:gd name="T11" fmla="*/ 85 h 373"/>
              <a:gd name="T12" fmla="*/ 310 w 325"/>
              <a:gd name="T13" fmla="*/ 91 h 373"/>
              <a:gd name="T14" fmla="*/ 300 w 325"/>
              <a:gd name="T15" fmla="*/ 97 h 373"/>
              <a:gd name="T16" fmla="*/ 300 w 325"/>
              <a:gd name="T17" fmla="*/ 113 h 373"/>
              <a:gd name="T18" fmla="*/ 291 w 325"/>
              <a:gd name="T19" fmla="*/ 138 h 373"/>
              <a:gd name="T20" fmla="*/ 291 w 325"/>
              <a:gd name="T21" fmla="*/ 157 h 373"/>
              <a:gd name="T22" fmla="*/ 281 w 325"/>
              <a:gd name="T23" fmla="*/ 188 h 373"/>
              <a:gd name="T24" fmla="*/ 269 w 325"/>
              <a:gd name="T25" fmla="*/ 201 h 373"/>
              <a:gd name="T26" fmla="*/ 253 w 325"/>
              <a:gd name="T27" fmla="*/ 226 h 373"/>
              <a:gd name="T28" fmla="*/ 250 w 325"/>
              <a:gd name="T29" fmla="*/ 244 h 373"/>
              <a:gd name="T30" fmla="*/ 244 w 325"/>
              <a:gd name="T31" fmla="*/ 273 h 373"/>
              <a:gd name="T32" fmla="*/ 228 w 325"/>
              <a:gd name="T33" fmla="*/ 273 h 373"/>
              <a:gd name="T34" fmla="*/ 228 w 325"/>
              <a:gd name="T35" fmla="*/ 288 h 373"/>
              <a:gd name="T36" fmla="*/ 244 w 325"/>
              <a:gd name="T37" fmla="*/ 298 h 373"/>
              <a:gd name="T38" fmla="*/ 256 w 325"/>
              <a:gd name="T39" fmla="*/ 307 h 373"/>
              <a:gd name="T40" fmla="*/ 266 w 325"/>
              <a:gd name="T41" fmla="*/ 329 h 373"/>
              <a:gd name="T42" fmla="*/ 250 w 325"/>
              <a:gd name="T43" fmla="*/ 351 h 373"/>
              <a:gd name="T44" fmla="*/ 241 w 325"/>
              <a:gd name="T45" fmla="*/ 360 h 373"/>
              <a:gd name="T46" fmla="*/ 219 w 325"/>
              <a:gd name="T47" fmla="*/ 366 h 373"/>
              <a:gd name="T48" fmla="*/ 209 w 325"/>
              <a:gd name="T49" fmla="*/ 373 h 373"/>
              <a:gd name="T50" fmla="*/ 194 w 325"/>
              <a:gd name="T51" fmla="*/ 369 h 373"/>
              <a:gd name="T52" fmla="*/ 184 w 325"/>
              <a:gd name="T53" fmla="*/ 373 h 373"/>
              <a:gd name="T54" fmla="*/ 175 w 325"/>
              <a:gd name="T55" fmla="*/ 369 h 373"/>
              <a:gd name="T56" fmla="*/ 166 w 325"/>
              <a:gd name="T57" fmla="*/ 357 h 373"/>
              <a:gd name="T58" fmla="*/ 153 w 325"/>
              <a:gd name="T59" fmla="*/ 348 h 373"/>
              <a:gd name="T60" fmla="*/ 144 w 325"/>
              <a:gd name="T61" fmla="*/ 354 h 373"/>
              <a:gd name="T62" fmla="*/ 131 w 325"/>
              <a:gd name="T63" fmla="*/ 357 h 373"/>
              <a:gd name="T64" fmla="*/ 116 w 325"/>
              <a:gd name="T65" fmla="*/ 348 h 373"/>
              <a:gd name="T66" fmla="*/ 109 w 325"/>
              <a:gd name="T67" fmla="*/ 338 h 373"/>
              <a:gd name="T68" fmla="*/ 97 w 325"/>
              <a:gd name="T69" fmla="*/ 323 h 373"/>
              <a:gd name="T70" fmla="*/ 88 w 325"/>
              <a:gd name="T71" fmla="*/ 313 h 373"/>
              <a:gd name="T72" fmla="*/ 75 w 325"/>
              <a:gd name="T73" fmla="*/ 301 h 373"/>
              <a:gd name="T74" fmla="*/ 69 w 325"/>
              <a:gd name="T75" fmla="*/ 294 h 373"/>
              <a:gd name="T76" fmla="*/ 63 w 325"/>
              <a:gd name="T77" fmla="*/ 285 h 373"/>
              <a:gd name="T78" fmla="*/ 47 w 325"/>
              <a:gd name="T79" fmla="*/ 276 h 373"/>
              <a:gd name="T80" fmla="*/ 41 w 325"/>
              <a:gd name="T81" fmla="*/ 269 h 373"/>
              <a:gd name="T82" fmla="*/ 34 w 325"/>
              <a:gd name="T83" fmla="*/ 254 h 373"/>
              <a:gd name="T84" fmla="*/ 25 w 325"/>
              <a:gd name="T85" fmla="*/ 232 h 373"/>
              <a:gd name="T86" fmla="*/ 19 w 325"/>
              <a:gd name="T87" fmla="*/ 219 h 373"/>
              <a:gd name="T88" fmla="*/ 13 w 325"/>
              <a:gd name="T89" fmla="*/ 207 h 373"/>
              <a:gd name="T90" fmla="*/ 9 w 325"/>
              <a:gd name="T91" fmla="*/ 191 h 373"/>
              <a:gd name="T92" fmla="*/ 0 w 325"/>
              <a:gd name="T93" fmla="*/ 185 h 373"/>
              <a:gd name="T94" fmla="*/ 6 w 325"/>
              <a:gd name="T95" fmla="*/ 166 h 373"/>
              <a:gd name="T96" fmla="*/ 13 w 325"/>
              <a:gd name="T97" fmla="*/ 151 h 373"/>
              <a:gd name="T98" fmla="*/ 22 w 325"/>
              <a:gd name="T99" fmla="*/ 132 h 373"/>
              <a:gd name="T100" fmla="*/ 41 w 325"/>
              <a:gd name="T101" fmla="*/ 125 h 373"/>
              <a:gd name="T102" fmla="*/ 56 w 325"/>
              <a:gd name="T103"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5" h="373">
                <a:moveTo>
                  <a:pt x="56" y="0"/>
                </a:moveTo>
                <a:lnTo>
                  <a:pt x="291" y="0"/>
                </a:lnTo>
                <a:lnTo>
                  <a:pt x="291" y="0"/>
                </a:lnTo>
                <a:lnTo>
                  <a:pt x="291" y="3"/>
                </a:lnTo>
                <a:lnTo>
                  <a:pt x="291" y="3"/>
                </a:lnTo>
                <a:lnTo>
                  <a:pt x="291" y="7"/>
                </a:lnTo>
                <a:lnTo>
                  <a:pt x="291" y="7"/>
                </a:lnTo>
                <a:lnTo>
                  <a:pt x="291" y="7"/>
                </a:lnTo>
                <a:lnTo>
                  <a:pt x="291" y="10"/>
                </a:lnTo>
                <a:lnTo>
                  <a:pt x="294" y="13"/>
                </a:lnTo>
                <a:lnTo>
                  <a:pt x="297" y="19"/>
                </a:lnTo>
                <a:lnTo>
                  <a:pt x="297" y="19"/>
                </a:lnTo>
                <a:lnTo>
                  <a:pt x="297" y="19"/>
                </a:lnTo>
                <a:lnTo>
                  <a:pt x="297" y="19"/>
                </a:lnTo>
                <a:lnTo>
                  <a:pt x="294" y="16"/>
                </a:lnTo>
                <a:lnTo>
                  <a:pt x="294" y="19"/>
                </a:lnTo>
                <a:lnTo>
                  <a:pt x="294" y="22"/>
                </a:lnTo>
                <a:lnTo>
                  <a:pt x="300" y="35"/>
                </a:lnTo>
                <a:lnTo>
                  <a:pt x="300" y="44"/>
                </a:lnTo>
                <a:lnTo>
                  <a:pt x="300" y="50"/>
                </a:lnTo>
                <a:lnTo>
                  <a:pt x="300" y="60"/>
                </a:lnTo>
                <a:lnTo>
                  <a:pt x="306" y="66"/>
                </a:lnTo>
                <a:lnTo>
                  <a:pt x="310" y="66"/>
                </a:lnTo>
                <a:lnTo>
                  <a:pt x="316" y="72"/>
                </a:lnTo>
                <a:lnTo>
                  <a:pt x="316" y="75"/>
                </a:lnTo>
                <a:lnTo>
                  <a:pt x="322" y="75"/>
                </a:lnTo>
                <a:lnTo>
                  <a:pt x="325" y="79"/>
                </a:lnTo>
                <a:lnTo>
                  <a:pt x="325" y="82"/>
                </a:lnTo>
                <a:lnTo>
                  <a:pt x="325" y="82"/>
                </a:lnTo>
                <a:lnTo>
                  <a:pt x="325" y="85"/>
                </a:lnTo>
                <a:lnTo>
                  <a:pt x="322" y="88"/>
                </a:lnTo>
                <a:lnTo>
                  <a:pt x="316" y="88"/>
                </a:lnTo>
                <a:lnTo>
                  <a:pt x="316" y="91"/>
                </a:lnTo>
                <a:lnTo>
                  <a:pt x="313" y="91"/>
                </a:lnTo>
                <a:lnTo>
                  <a:pt x="310" y="91"/>
                </a:lnTo>
                <a:lnTo>
                  <a:pt x="306" y="91"/>
                </a:lnTo>
                <a:lnTo>
                  <a:pt x="306" y="94"/>
                </a:lnTo>
                <a:lnTo>
                  <a:pt x="306" y="97"/>
                </a:lnTo>
                <a:lnTo>
                  <a:pt x="306" y="97"/>
                </a:lnTo>
                <a:lnTo>
                  <a:pt x="300" y="97"/>
                </a:lnTo>
                <a:lnTo>
                  <a:pt x="297" y="100"/>
                </a:lnTo>
                <a:lnTo>
                  <a:pt x="297" y="104"/>
                </a:lnTo>
                <a:lnTo>
                  <a:pt x="297" y="110"/>
                </a:lnTo>
                <a:lnTo>
                  <a:pt x="297" y="110"/>
                </a:lnTo>
                <a:lnTo>
                  <a:pt x="300" y="113"/>
                </a:lnTo>
                <a:lnTo>
                  <a:pt x="297" y="113"/>
                </a:lnTo>
                <a:lnTo>
                  <a:pt x="294" y="119"/>
                </a:lnTo>
                <a:lnTo>
                  <a:pt x="294" y="129"/>
                </a:lnTo>
                <a:lnTo>
                  <a:pt x="291" y="135"/>
                </a:lnTo>
                <a:lnTo>
                  <a:pt x="291" y="138"/>
                </a:lnTo>
                <a:lnTo>
                  <a:pt x="288" y="141"/>
                </a:lnTo>
                <a:lnTo>
                  <a:pt x="288" y="144"/>
                </a:lnTo>
                <a:lnTo>
                  <a:pt x="291" y="154"/>
                </a:lnTo>
                <a:lnTo>
                  <a:pt x="291" y="157"/>
                </a:lnTo>
                <a:lnTo>
                  <a:pt x="291" y="157"/>
                </a:lnTo>
                <a:lnTo>
                  <a:pt x="291" y="160"/>
                </a:lnTo>
                <a:lnTo>
                  <a:pt x="288" y="163"/>
                </a:lnTo>
                <a:lnTo>
                  <a:pt x="288" y="172"/>
                </a:lnTo>
                <a:lnTo>
                  <a:pt x="285" y="182"/>
                </a:lnTo>
                <a:lnTo>
                  <a:pt x="281" y="188"/>
                </a:lnTo>
                <a:lnTo>
                  <a:pt x="278" y="185"/>
                </a:lnTo>
                <a:lnTo>
                  <a:pt x="275" y="188"/>
                </a:lnTo>
                <a:lnTo>
                  <a:pt x="275" y="191"/>
                </a:lnTo>
                <a:lnTo>
                  <a:pt x="272" y="197"/>
                </a:lnTo>
                <a:lnTo>
                  <a:pt x="269" y="201"/>
                </a:lnTo>
                <a:lnTo>
                  <a:pt x="266" y="207"/>
                </a:lnTo>
                <a:lnTo>
                  <a:pt x="263" y="210"/>
                </a:lnTo>
                <a:lnTo>
                  <a:pt x="259" y="226"/>
                </a:lnTo>
                <a:lnTo>
                  <a:pt x="256" y="226"/>
                </a:lnTo>
                <a:lnTo>
                  <a:pt x="253" y="226"/>
                </a:lnTo>
                <a:lnTo>
                  <a:pt x="253" y="229"/>
                </a:lnTo>
                <a:lnTo>
                  <a:pt x="250" y="235"/>
                </a:lnTo>
                <a:lnTo>
                  <a:pt x="247" y="238"/>
                </a:lnTo>
                <a:lnTo>
                  <a:pt x="250" y="241"/>
                </a:lnTo>
                <a:lnTo>
                  <a:pt x="250" y="244"/>
                </a:lnTo>
                <a:lnTo>
                  <a:pt x="247" y="247"/>
                </a:lnTo>
                <a:lnTo>
                  <a:pt x="244" y="254"/>
                </a:lnTo>
                <a:lnTo>
                  <a:pt x="247" y="263"/>
                </a:lnTo>
                <a:lnTo>
                  <a:pt x="244" y="273"/>
                </a:lnTo>
                <a:lnTo>
                  <a:pt x="244" y="273"/>
                </a:lnTo>
                <a:lnTo>
                  <a:pt x="241" y="276"/>
                </a:lnTo>
                <a:lnTo>
                  <a:pt x="238" y="276"/>
                </a:lnTo>
                <a:lnTo>
                  <a:pt x="238" y="273"/>
                </a:lnTo>
                <a:lnTo>
                  <a:pt x="234" y="276"/>
                </a:lnTo>
                <a:lnTo>
                  <a:pt x="228" y="273"/>
                </a:lnTo>
                <a:lnTo>
                  <a:pt x="228" y="279"/>
                </a:lnTo>
                <a:lnTo>
                  <a:pt x="225" y="279"/>
                </a:lnTo>
                <a:lnTo>
                  <a:pt x="222" y="282"/>
                </a:lnTo>
                <a:lnTo>
                  <a:pt x="225" y="285"/>
                </a:lnTo>
                <a:lnTo>
                  <a:pt x="228" y="288"/>
                </a:lnTo>
                <a:lnTo>
                  <a:pt x="238" y="288"/>
                </a:lnTo>
                <a:lnTo>
                  <a:pt x="238" y="288"/>
                </a:lnTo>
                <a:lnTo>
                  <a:pt x="241" y="294"/>
                </a:lnTo>
                <a:lnTo>
                  <a:pt x="244" y="294"/>
                </a:lnTo>
                <a:lnTo>
                  <a:pt x="244" y="298"/>
                </a:lnTo>
                <a:lnTo>
                  <a:pt x="247" y="304"/>
                </a:lnTo>
                <a:lnTo>
                  <a:pt x="250" y="304"/>
                </a:lnTo>
                <a:lnTo>
                  <a:pt x="250" y="307"/>
                </a:lnTo>
                <a:lnTo>
                  <a:pt x="253" y="307"/>
                </a:lnTo>
                <a:lnTo>
                  <a:pt x="256" y="307"/>
                </a:lnTo>
                <a:lnTo>
                  <a:pt x="259" y="310"/>
                </a:lnTo>
                <a:lnTo>
                  <a:pt x="259" y="313"/>
                </a:lnTo>
                <a:lnTo>
                  <a:pt x="263" y="316"/>
                </a:lnTo>
                <a:lnTo>
                  <a:pt x="266" y="326"/>
                </a:lnTo>
                <a:lnTo>
                  <a:pt x="266" y="329"/>
                </a:lnTo>
                <a:lnTo>
                  <a:pt x="269" y="335"/>
                </a:lnTo>
                <a:lnTo>
                  <a:pt x="263" y="341"/>
                </a:lnTo>
                <a:lnTo>
                  <a:pt x="256" y="348"/>
                </a:lnTo>
                <a:lnTo>
                  <a:pt x="253" y="348"/>
                </a:lnTo>
                <a:lnTo>
                  <a:pt x="250" y="351"/>
                </a:lnTo>
                <a:lnTo>
                  <a:pt x="250" y="354"/>
                </a:lnTo>
                <a:lnTo>
                  <a:pt x="247" y="354"/>
                </a:lnTo>
                <a:lnTo>
                  <a:pt x="244" y="357"/>
                </a:lnTo>
                <a:lnTo>
                  <a:pt x="244" y="357"/>
                </a:lnTo>
                <a:lnTo>
                  <a:pt x="241" y="360"/>
                </a:lnTo>
                <a:lnTo>
                  <a:pt x="238" y="363"/>
                </a:lnTo>
                <a:lnTo>
                  <a:pt x="234" y="366"/>
                </a:lnTo>
                <a:lnTo>
                  <a:pt x="228" y="366"/>
                </a:lnTo>
                <a:lnTo>
                  <a:pt x="222" y="366"/>
                </a:lnTo>
                <a:lnTo>
                  <a:pt x="219" y="366"/>
                </a:lnTo>
                <a:lnTo>
                  <a:pt x="216" y="366"/>
                </a:lnTo>
                <a:lnTo>
                  <a:pt x="213" y="369"/>
                </a:lnTo>
                <a:lnTo>
                  <a:pt x="209" y="366"/>
                </a:lnTo>
                <a:lnTo>
                  <a:pt x="209" y="369"/>
                </a:lnTo>
                <a:lnTo>
                  <a:pt x="209" y="373"/>
                </a:lnTo>
                <a:lnTo>
                  <a:pt x="206" y="373"/>
                </a:lnTo>
                <a:lnTo>
                  <a:pt x="200" y="373"/>
                </a:lnTo>
                <a:lnTo>
                  <a:pt x="200" y="369"/>
                </a:lnTo>
                <a:lnTo>
                  <a:pt x="197" y="366"/>
                </a:lnTo>
                <a:lnTo>
                  <a:pt x="194" y="369"/>
                </a:lnTo>
                <a:lnTo>
                  <a:pt x="191" y="366"/>
                </a:lnTo>
                <a:lnTo>
                  <a:pt x="184" y="366"/>
                </a:lnTo>
                <a:lnTo>
                  <a:pt x="184" y="366"/>
                </a:lnTo>
                <a:lnTo>
                  <a:pt x="184" y="369"/>
                </a:lnTo>
                <a:lnTo>
                  <a:pt x="184" y="373"/>
                </a:lnTo>
                <a:lnTo>
                  <a:pt x="184" y="373"/>
                </a:lnTo>
                <a:lnTo>
                  <a:pt x="181" y="373"/>
                </a:lnTo>
                <a:lnTo>
                  <a:pt x="178" y="373"/>
                </a:lnTo>
                <a:lnTo>
                  <a:pt x="175" y="373"/>
                </a:lnTo>
                <a:lnTo>
                  <a:pt x="175" y="369"/>
                </a:lnTo>
                <a:lnTo>
                  <a:pt x="175" y="366"/>
                </a:lnTo>
                <a:lnTo>
                  <a:pt x="175" y="366"/>
                </a:lnTo>
                <a:lnTo>
                  <a:pt x="172" y="363"/>
                </a:lnTo>
                <a:lnTo>
                  <a:pt x="169" y="360"/>
                </a:lnTo>
                <a:lnTo>
                  <a:pt x="166" y="357"/>
                </a:lnTo>
                <a:lnTo>
                  <a:pt x="163" y="357"/>
                </a:lnTo>
                <a:lnTo>
                  <a:pt x="163" y="354"/>
                </a:lnTo>
                <a:lnTo>
                  <a:pt x="159" y="348"/>
                </a:lnTo>
                <a:lnTo>
                  <a:pt x="156" y="348"/>
                </a:lnTo>
                <a:lnTo>
                  <a:pt x="153" y="348"/>
                </a:lnTo>
                <a:lnTo>
                  <a:pt x="150" y="351"/>
                </a:lnTo>
                <a:lnTo>
                  <a:pt x="150" y="354"/>
                </a:lnTo>
                <a:lnTo>
                  <a:pt x="147" y="354"/>
                </a:lnTo>
                <a:lnTo>
                  <a:pt x="144" y="354"/>
                </a:lnTo>
                <a:lnTo>
                  <a:pt x="144" y="354"/>
                </a:lnTo>
                <a:lnTo>
                  <a:pt x="141" y="354"/>
                </a:lnTo>
                <a:lnTo>
                  <a:pt x="138" y="354"/>
                </a:lnTo>
                <a:lnTo>
                  <a:pt x="134" y="354"/>
                </a:lnTo>
                <a:lnTo>
                  <a:pt x="131" y="357"/>
                </a:lnTo>
                <a:lnTo>
                  <a:pt x="131" y="357"/>
                </a:lnTo>
                <a:lnTo>
                  <a:pt x="125" y="354"/>
                </a:lnTo>
                <a:lnTo>
                  <a:pt x="122" y="351"/>
                </a:lnTo>
                <a:lnTo>
                  <a:pt x="119" y="351"/>
                </a:lnTo>
                <a:lnTo>
                  <a:pt x="119" y="348"/>
                </a:lnTo>
                <a:lnTo>
                  <a:pt x="116" y="348"/>
                </a:lnTo>
                <a:lnTo>
                  <a:pt x="116" y="344"/>
                </a:lnTo>
                <a:lnTo>
                  <a:pt x="116" y="344"/>
                </a:lnTo>
                <a:lnTo>
                  <a:pt x="116" y="341"/>
                </a:lnTo>
                <a:lnTo>
                  <a:pt x="113" y="341"/>
                </a:lnTo>
                <a:lnTo>
                  <a:pt x="109" y="338"/>
                </a:lnTo>
                <a:lnTo>
                  <a:pt x="106" y="335"/>
                </a:lnTo>
                <a:lnTo>
                  <a:pt x="106" y="329"/>
                </a:lnTo>
                <a:lnTo>
                  <a:pt x="106" y="329"/>
                </a:lnTo>
                <a:lnTo>
                  <a:pt x="103" y="326"/>
                </a:lnTo>
                <a:lnTo>
                  <a:pt x="97" y="323"/>
                </a:lnTo>
                <a:lnTo>
                  <a:pt x="97" y="323"/>
                </a:lnTo>
                <a:lnTo>
                  <a:pt x="97" y="319"/>
                </a:lnTo>
                <a:lnTo>
                  <a:pt x="94" y="316"/>
                </a:lnTo>
                <a:lnTo>
                  <a:pt x="91" y="316"/>
                </a:lnTo>
                <a:lnTo>
                  <a:pt x="88" y="313"/>
                </a:lnTo>
                <a:lnTo>
                  <a:pt x="88" y="307"/>
                </a:lnTo>
                <a:lnTo>
                  <a:pt x="88" y="307"/>
                </a:lnTo>
                <a:lnTo>
                  <a:pt x="81" y="301"/>
                </a:lnTo>
                <a:lnTo>
                  <a:pt x="78" y="301"/>
                </a:lnTo>
                <a:lnTo>
                  <a:pt x="75" y="301"/>
                </a:lnTo>
                <a:lnTo>
                  <a:pt x="75" y="301"/>
                </a:lnTo>
                <a:lnTo>
                  <a:pt x="72" y="301"/>
                </a:lnTo>
                <a:lnTo>
                  <a:pt x="66" y="298"/>
                </a:lnTo>
                <a:lnTo>
                  <a:pt x="69" y="294"/>
                </a:lnTo>
                <a:lnTo>
                  <a:pt x="69" y="294"/>
                </a:lnTo>
                <a:lnTo>
                  <a:pt x="72" y="291"/>
                </a:lnTo>
                <a:lnTo>
                  <a:pt x="72" y="288"/>
                </a:lnTo>
                <a:lnTo>
                  <a:pt x="72" y="285"/>
                </a:lnTo>
                <a:lnTo>
                  <a:pt x="69" y="285"/>
                </a:lnTo>
                <a:lnTo>
                  <a:pt x="63" y="285"/>
                </a:lnTo>
                <a:lnTo>
                  <a:pt x="63" y="282"/>
                </a:lnTo>
                <a:lnTo>
                  <a:pt x="59" y="279"/>
                </a:lnTo>
                <a:lnTo>
                  <a:pt x="56" y="279"/>
                </a:lnTo>
                <a:lnTo>
                  <a:pt x="53" y="279"/>
                </a:lnTo>
                <a:lnTo>
                  <a:pt x="47" y="276"/>
                </a:lnTo>
                <a:lnTo>
                  <a:pt x="47" y="273"/>
                </a:lnTo>
                <a:lnTo>
                  <a:pt x="50" y="269"/>
                </a:lnTo>
                <a:lnTo>
                  <a:pt x="47" y="266"/>
                </a:lnTo>
                <a:lnTo>
                  <a:pt x="41" y="266"/>
                </a:lnTo>
                <a:lnTo>
                  <a:pt x="41" y="269"/>
                </a:lnTo>
                <a:lnTo>
                  <a:pt x="34" y="269"/>
                </a:lnTo>
                <a:lnTo>
                  <a:pt x="31" y="266"/>
                </a:lnTo>
                <a:lnTo>
                  <a:pt x="31" y="260"/>
                </a:lnTo>
                <a:lnTo>
                  <a:pt x="34" y="257"/>
                </a:lnTo>
                <a:lnTo>
                  <a:pt x="34" y="254"/>
                </a:lnTo>
                <a:lnTo>
                  <a:pt x="34" y="251"/>
                </a:lnTo>
                <a:lnTo>
                  <a:pt x="34" y="247"/>
                </a:lnTo>
                <a:lnTo>
                  <a:pt x="31" y="241"/>
                </a:lnTo>
                <a:lnTo>
                  <a:pt x="25" y="232"/>
                </a:lnTo>
                <a:lnTo>
                  <a:pt x="25" y="232"/>
                </a:lnTo>
                <a:lnTo>
                  <a:pt x="22" y="229"/>
                </a:lnTo>
                <a:lnTo>
                  <a:pt x="22" y="226"/>
                </a:lnTo>
                <a:lnTo>
                  <a:pt x="22" y="222"/>
                </a:lnTo>
                <a:lnTo>
                  <a:pt x="19" y="222"/>
                </a:lnTo>
                <a:lnTo>
                  <a:pt x="19" y="219"/>
                </a:lnTo>
                <a:lnTo>
                  <a:pt x="19" y="216"/>
                </a:lnTo>
                <a:lnTo>
                  <a:pt x="22" y="216"/>
                </a:lnTo>
                <a:lnTo>
                  <a:pt x="19" y="213"/>
                </a:lnTo>
                <a:lnTo>
                  <a:pt x="13" y="210"/>
                </a:lnTo>
                <a:lnTo>
                  <a:pt x="13" y="207"/>
                </a:lnTo>
                <a:lnTo>
                  <a:pt x="13" y="201"/>
                </a:lnTo>
                <a:lnTo>
                  <a:pt x="9" y="197"/>
                </a:lnTo>
                <a:lnTo>
                  <a:pt x="13" y="194"/>
                </a:lnTo>
                <a:lnTo>
                  <a:pt x="9" y="194"/>
                </a:lnTo>
                <a:lnTo>
                  <a:pt x="9" y="191"/>
                </a:lnTo>
                <a:lnTo>
                  <a:pt x="9" y="188"/>
                </a:lnTo>
                <a:lnTo>
                  <a:pt x="9" y="188"/>
                </a:lnTo>
                <a:lnTo>
                  <a:pt x="3" y="191"/>
                </a:lnTo>
                <a:lnTo>
                  <a:pt x="0" y="188"/>
                </a:lnTo>
                <a:lnTo>
                  <a:pt x="0" y="185"/>
                </a:lnTo>
                <a:lnTo>
                  <a:pt x="6" y="179"/>
                </a:lnTo>
                <a:lnTo>
                  <a:pt x="9" y="176"/>
                </a:lnTo>
                <a:lnTo>
                  <a:pt x="9" y="172"/>
                </a:lnTo>
                <a:lnTo>
                  <a:pt x="6" y="169"/>
                </a:lnTo>
                <a:lnTo>
                  <a:pt x="6" y="166"/>
                </a:lnTo>
                <a:lnTo>
                  <a:pt x="9" y="163"/>
                </a:lnTo>
                <a:lnTo>
                  <a:pt x="13" y="160"/>
                </a:lnTo>
                <a:lnTo>
                  <a:pt x="9" y="157"/>
                </a:lnTo>
                <a:lnTo>
                  <a:pt x="9" y="154"/>
                </a:lnTo>
                <a:lnTo>
                  <a:pt x="13" y="151"/>
                </a:lnTo>
                <a:lnTo>
                  <a:pt x="16" y="151"/>
                </a:lnTo>
                <a:lnTo>
                  <a:pt x="22" y="144"/>
                </a:lnTo>
                <a:lnTo>
                  <a:pt x="25" y="138"/>
                </a:lnTo>
                <a:lnTo>
                  <a:pt x="22" y="135"/>
                </a:lnTo>
                <a:lnTo>
                  <a:pt x="22" y="132"/>
                </a:lnTo>
                <a:lnTo>
                  <a:pt x="25" y="129"/>
                </a:lnTo>
                <a:lnTo>
                  <a:pt x="31" y="129"/>
                </a:lnTo>
                <a:lnTo>
                  <a:pt x="34" y="129"/>
                </a:lnTo>
                <a:lnTo>
                  <a:pt x="38" y="129"/>
                </a:lnTo>
                <a:lnTo>
                  <a:pt x="41" y="125"/>
                </a:lnTo>
                <a:lnTo>
                  <a:pt x="41" y="50"/>
                </a:lnTo>
                <a:lnTo>
                  <a:pt x="41" y="50"/>
                </a:lnTo>
                <a:lnTo>
                  <a:pt x="41" y="41"/>
                </a:lnTo>
                <a:lnTo>
                  <a:pt x="59" y="41"/>
                </a:lnTo>
                <a:lnTo>
                  <a:pt x="56" y="0"/>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7" name="Freeform 105">
            <a:extLst>
              <a:ext uri="{FF2B5EF4-FFF2-40B4-BE49-F238E27FC236}">
                <a16:creationId xmlns:a16="http://schemas.microsoft.com/office/drawing/2014/main" id="{78091744-904B-AC32-4490-3FC354D2570E}"/>
              </a:ext>
            </a:extLst>
          </p:cNvPr>
          <p:cNvSpPr>
            <a:spLocks/>
          </p:cNvSpPr>
          <p:nvPr userDrawn="1"/>
        </p:nvSpPr>
        <p:spPr bwMode="auto">
          <a:xfrm>
            <a:off x="15223130" y="8432085"/>
            <a:ext cx="952440" cy="727078"/>
          </a:xfrm>
          <a:custGeom>
            <a:avLst/>
            <a:gdLst>
              <a:gd name="T0" fmla="*/ 44 w 300"/>
              <a:gd name="T1" fmla="*/ 182 h 229"/>
              <a:gd name="T2" fmla="*/ 37 w 300"/>
              <a:gd name="T3" fmla="*/ 166 h 229"/>
              <a:gd name="T4" fmla="*/ 28 w 300"/>
              <a:gd name="T5" fmla="*/ 163 h 229"/>
              <a:gd name="T6" fmla="*/ 22 w 300"/>
              <a:gd name="T7" fmla="*/ 154 h 229"/>
              <a:gd name="T8" fmla="*/ 16 w 300"/>
              <a:gd name="T9" fmla="*/ 144 h 229"/>
              <a:gd name="T10" fmla="*/ 3 w 300"/>
              <a:gd name="T11" fmla="*/ 141 h 229"/>
              <a:gd name="T12" fmla="*/ 6 w 300"/>
              <a:gd name="T13" fmla="*/ 135 h 229"/>
              <a:gd name="T14" fmla="*/ 16 w 300"/>
              <a:gd name="T15" fmla="*/ 129 h 229"/>
              <a:gd name="T16" fmla="*/ 22 w 300"/>
              <a:gd name="T17" fmla="*/ 129 h 229"/>
              <a:gd name="T18" fmla="*/ 22 w 300"/>
              <a:gd name="T19" fmla="*/ 110 h 229"/>
              <a:gd name="T20" fmla="*/ 28 w 300"/>
              <a:gd name="T21" fmla="*/ 97 h 229"/>
              <a:gd name="T22" fmla="*/ 31 w 300"/>
              <a:gd name="T23" fmla="*/ 85 h 229"/>
              <a:gd name="T24" fmla="*/ 37 w 300"/>
              <a:gd name="T25" fmla="*/ 82 h 229"/>
              <a:gd name="T26" fmla="*/ 47 w 300"/>
              <a:gd name="T27" fmla="*/ 57 h 229"/>
              <a:gd name="T28" fmla="*/ 53 w 300"/>
              <a:gd name="T29" fmla="*/ 44 h 229"/>
              <a:gd name="T30" fmla="*/ 63 w 300"/>
              <a:gd name="T31" fmla="*/ 38 h 229"/>
              <a:gd name="T32" fmla="*/ 69 w 300"/>
              <a:gd name="T33" fmla="*/ 16 h 229"/>
              <a:gd name="T34" fmla="*/ 78 w 300"/>
              <a:gd name="T35" fmla="*/ 13 h 229"/>
              <a:gd name="T36" fmla="*/ 88 w 300"/>
              <a:gd name="T37" fmla="*/ 0 h 229"/>
              <a:gd name="T38" fmla="*/ 97 w 300"/>
              <a:gd name="T39" fmla="*/ 7 h 229"/>
              <a:gd name="T40" fmla="*/ 109 w 300"/>
              <a:gd name="T41" fmla="*/ 3 h 229"/>
              <a:gd name="T42" fmla="*/ 116 w 300"/>
              <a:gd name="T43" fmla="*/ 3 h 229"/>
              <a:gd name="T44" fmla="*/ 125 w 300"/>
              <a:gd name="T45" fmla="*/ 7 h 229"/>
              <a:gd name="T46" fmla="*/ 138 w 300"/>
              <a:gd name="T47" fmla="*/ 13 h 229"/>
              <a:gd name="T48" fmla="*/ 150 w 300"/>
              <a:gd name="T49" fmla="*/ 22 h 229"/>
              <a:gd name="T50" fmla="*/ 156 w 300"/>
              <a:gd name="T51" fmla="*/ 25 h 229"/>
              <a:gd name="T52" fmla="*/ 172 w 300"/>
              <a:gd name="T53" fmla="*/ 35 h 229"/>
              <a:gd name="T54" fmla="*/ 175 w 300"/>
              <a:gd name="T55" fmla="*/ 47 h 229"/>
              <a:gd name="T56" fmla="*/ 181 w 300"/>
              <a:gd name="T57" fmla="*/ 53 h 229"/>
              <a:gd name="T58" fmla="*/ 178 w 300"/>
              <a:gd name="T59" fmla="*/ 69 h 229"/>
              <a:gd name="T60" fmla="*/ 172 w 300"/>
              <a:gd name="T61" fmla="*/ 78 h 229"/>
              <a:gd name="T62" fmla="*/ 188 w 300"/>
              <a:gd name="T63" fmla="*/ 78 h 229"/>
              <a:gd name="T64" fmla="*/ 194 w 300"/>
              <a:gd name="T65" fmla="*/ 82 h 229"/>
              <a:gd name="T66" fmla="*/ 203 w 300"/>
              <a:gd name="T67" fmla="*/ 103 h 229"/>
              <a:gd name="T68" fmla="*/ 213 w 300"/>
              <a:gd name="T69" fmla="*/ 116 h 229"/>
              <a:gd name="T70" fmla="*/ 300 w 300"/>
              <a:gd name="T71" fmla="*/ 138 h 229"/>
              <a:gd name="T72" fmla="*/ 216 w 300"/>
              <a:gd name="T73" fmla="*/ 197 h 229"/>
              <a:gd name="T74" fmla="*/ 203 w 300"/>
              <a:gd name="T75" fmla="*/ 204 h 229"/>
              <a:gd name="T76" fmla="*/ 194 w 300"/>
              <a:gd name="T77" fmla="*/ 213 h 229"/>
              <a:gd name="T78" fmla="*/ 178 w 300"/>
              <a:gd name="T79" fmla="*/ 219 h 229"/>
              <a:gd name="T80" fmla="*/ 166 w 300"/>
              <a:gd name="T81" fmla="*/ 219 h 229"/>
              <a:gd name="T82" fmla="*/ 156 w 300"/>
              <a:gd name="T83" fmla="*/ 213 h 229"/>
              <a:gd name="T84" fmla="*/ 144 w 300"/>
              <a:gd name="T85" fmla="*/ 216 h 229"/>
              <a:gd name="T86" fmla="*/ 131 w 300"/>
              <a:gd name="T87" fmla="*/ 229 h 229"/>
              <a:gd name="T88" fmla="*/ 122 w 300"/>
              <a:gd name="T89" fmla="*/ 225 h 229"/>
              <a:gd name="T90" fmla="*/ 106 w 300"/>
              <a:gd name="T91" fmla="*/ 225 h 229"/>
              <a:gd name="T92" fmla="*/ 94 w 300"/>
              <a:gd name="T93" fmla="*/ 216 h 229"/>
              <a:gd name="T94" fmla="*/ 72 w 300"/>
              <a:gd name="T95" fmla="*/ 207 h 229"/>
              <a:gd name="T96" fmla="*/ 59 w 300"/>
              <a:gd name="T97" fmla="*/ 207 h 229"/>
              <a:gd name="T98" fmla="*/ 53 w 300"/>
              <a:gd name="T99" fmla="*/ 191 h 229"/>
              <a:gd name="T100" fmla="*/ 47 w 300"/>
              <a:gd name="T101" fmla="*/ 19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229">
                <a:moveTo>
                  <a:pt x="47" y="191"/>
                </a:moveTo>
                <a:lnTo>
                  <a:pt x="44" y="185"/>
                </a:lnTo>
                <a:lnTo>
                  <a:pt x="44" y="182"/>
                </a:lnTo>
                <a:lnTo>
                  <a:pt x="41" y="172"/>
                </a:lnTo>
                <a:lnTo>
                  <a:pt x="37" y="169"/>
                </a:lnTo>
                <a:lnTo>
                  <a:pt x="37" y="166"/>
                </a:lnTo>
                <a:lnTo>
                  <a:pt x="34" y="163"/>
                </a:lnTo>
                <a:lnTo>
                  <a:pt x="31" y="163"/>
                </a:lnTo>
                <a:lnTo>
                  <a:pt x="28" y="163"/>
                </a:lnTo>
                <a:lnTo>
                  <a:pt x="28" y="160"/>
                </a:lnTo>
                <a:lnTo>
                  <a:pt x="25" y="160"/>
                </a:lnTo>
                <a:lnTo>
                  <a:pt x="22" y="154"/>
                </a:lnTo>
                <a:lnTo>
                  <a:pt x="22" y="150"/>
                </a:lnTo>
                <a:lnTo>
                  <a:pt x="19" y="150"/>
                </a:lnTo>
                <a:lnTo>
                  <a:pt x="16" y="144"/>
                </a:lnTo>
                <a:lnTo>
                  <a:pt x="16" y="144"/>
                </a:lnTo>
                <a:lnTo>
                  <a:pt x="6" y="144"/>
                </a:lnTo>
                <a:lnTo>
                  <a:pt x="3" y="141"/>
                </a:lnTo>
                <a:lnTo>
                  <a:pt x="0" y="138"/>
                </a:lnTo>
                <a:lnTo>
                  <a:pt x="3" y="135"/>
                </a:lnTo>
                <a:lnTo>
                  <a:pt x="6" y="135"/>
                </a:lnTo>
                <a:lnTo>
                  <a:pt x="6" y="129"/>
                </a:lnTo>
                <a:lnTo>
                  <a:pt x="12" y="132"/>
                </a:lnTo>
                <a:lnTo>
                  <a:pt x="16" y="129"/>
                </a:lnTo>
                <a:lnTo>
                  <a:pt x="16" y="132"/>
                </a:lnTo>
                <a:lnTo>
                  <a:pt x="19" y="132"/>
                </a:lnTo>
                <a:lnTo>
                  <a:pt x="22" y="129"/>
                </a:lnTo>
                <a:lnTo>
                  <a:pt x="22" y="129"/>
                </a:lnTo>
                <a:lnTo>
                  <a:pt x="25" y="119"/>
                </a:lnTo>
                <a:lnTo>
                  <a:pt x="22" y="110"/>
                </a:lnTo>
                <a:lnTo>
                  <a:pt x="25" y="103"/>
                </a:lnTo>
                <a:lnTo>
                  <a:pt x="28" y="100"/>
                </a:lnTo>
                <a:lnTo>
                  <a:pt x="28" y="97"/>
                </a:lnTo>
                <a:lnTo>
                  <a:pt x="25" y="94"/>
                </a:lnTo>
                <a:lnTo>
                  <a:pt x="28" y="91"/>
                </a:lnTo>
                <a:lnTo>
                  <a:pt x="31" y="85"/>
                </a:lnTo>
                <a:lnTo>
                  <a:pt x="31" y="82"/>
                </a:lnTo>
                <a:lnTo>
                  <a:pt x="34" y="82"/>
                </a:lnTo>
                <a:lnTo>
                  <a:pt x="37" y="82"/>
                </a:lnTo>
                <a:lnTo>
                  <a:pt x="41" y="66"/>
                </a:lnTo>
                <a:lnTo>
                  <a:pt x="44" y="63"/>
                </a:lnTo>
                <a:lnTo>
                  <a:pt x="47" y="57"/>
                </a:lnTo>
                <a:lnTo>
                  <a:pt x="50" y="53"/>
                </a:lnTo>
                <a:lnTo>
                  <a:pt x="53" y="47"/>
                </a:lnTo>
                <a:lnTo>
                  <a:pt x="53" y="44"/>
                </a:lnTo>
                <a:lnTo>
                  <a:pt x="56" y="41"/>
                </a:lnTo>
                <a:lnTo>
                  <a:pt x="59" y="44"/>
                </a:lnTo>
                <a:lnTo>
                  <a:pt x="63" y="38"/>
                </a:lnTo>
                <a:lnTo>
                  <a:pt x="66" y="28"/>
                </a:lnTo>
                <a:lnTo>
                  <a:pt x="66" y="19"/>
                </a:lnTo>
                <a:lnTo>
                  <a:pt x="69" y="16"/>
                </a:lnTo>
                <a:lnTo>
                  <a:pt x="69" y="13"/>
                </a:lnTo>
                <a:lnTo>
                  <a:pt x="72" y="13"/>
                </a:lnTo>
                <a:lnTo>
                  <a:pt x="78" y="13"/>
                </a:lnTo>
                <a:lnTo>
                  <a:pt x="78" y="13"/>
                </a:lnTo>
                <a:lnTo>
                  <a:pt x="81" y="13"/>
                </a:lnTo>
                <a:lnTo>
                  <a:pt x="88" y="0"/>
                </a:lnTo>
                <a:lnTo>
                  <a:pt x="88" y="3"/>
                </a:lnTo>
                <a:lnTo>
                  <a:pt x="91" y="3"/>
                </a:lnTo>
                <a:lnTo>
                  <a:pt x="97" y="7"/>
                </a:lnTo>
                <a:lnTo>
                  <a:pt x="100" y="7"/>
                </a:lnTo>
                <a:lnTo>
                  <a:pt x="106" y="3"/>
                </a:lnTo>
                <a:lnTo>
                  <a:pt x="109" y="3"/>
                </a:lnTo>
                <a:lnTo>
                  <a:pt x="113" y="7"/>
                </a:lnTo>
                <a:lnTo>
                  <a:pt x="113" y="3"/>
                </a:lnTo>
                <a:lnTo>
                  <a:pt x="116" y="3"/>
                </a:lnTo>
                <a:lnTo>
                  <a:pt x="122" y="10"/>
                </a:lnTo>
                <a:lnTo>
                  <a:pt x="122" y="10"/>
                </a:lnTo>
                <a:lnTo>
                  <a:pt x="125" y="7"/>
                </a:lnTo>
                <a:lnTo>
                  <a:pt x="131" y="10"/>
                </a:lnTo>
                <a:lnTo>
                  <a:pt x="134" y="13"/>
                </a:lnTo>
                <a:lnTo>
                  <a:pt x="138" y="13"/>
                </a:lnTo>
                <a:lnTo>
                  <a:pt x="144" y="19"/>
                </a:lnTo>
                <a:lnTo>
                  <a:pt x="144" y="22"/>
                </a:lnTo>
                <a:lnTo>
                  <a:pt x="150" y="22"/>
                </a:lnTo>
                <a:lnTo>
                  <a:pt x="150" y="22"/>
                </a:lnTo>
                <a:lnTo>
                  <a:pt x="156" y="25"/>
                </a:lnTo>
                <a:lnTo>
                  <a:pt x="156" y="25"/>
                </a:lnTo>
                <a:lnTo>
                  <a:pt x="163" y="28"/>
                </a:lnTo>
                <a:lnTo>
                  <a:pt x="166" y="35"/>
                </a:lnTo>
                <a:lnTo>
                  <a:pt x="172" y="35"/>
                </a:lnTo>
                <a:lnTo>
                  <a:pt x="175" y="41"/>
                </a:lnTo>
                <a:lnTo>
                  <a:pt x="175" y="44"/>
                </a:lnTo>
                <a:lnTo>
                  <a:pt x="175" y="47"/>
                </a:lnTo>
                <a:lnTo>
                  <a:pt x="178" y="47"/>
                </a:lnTo>
                <a:lnTo>
                  <a:pt x="184" y="53"/>
                </a:lnTo>
                <a:lnTo>
                  <a:pt x="181" y="53"/>
                </a:lnTo>
                <a:lnTo>
                  <a:pt x="178" y="60"/>
                </a:lnTo>
                <a:lnTo>
                  <a:pt x="178" y="63"/>
                </a:lnTo>
                <a:lnTo>
                  <a:pt x="178" y="69"/>
                </a:lnTo>
                <a:lnTo>
                  <a:pt x="175" y="72"/>
                </a:lnTo>
                <a:lnTo>
                  <a:pt x="175" y="75"/>
                </a:lnTo>
                <a:lnTo>
                  <a:pt x="172" y="78"/>
                </a:lnTo>
                <a:lnTo>
                  <a:pt x="175" y="82"/>
                </a:lnTo>
                <a:lnTo>
                  <a:pt x="181" y="82"/>
                </a:lnTo>
                <a:lnTo>
                  <a:pt x="188" y="78"/>
                </a:lnTo>
                <a:lnTo>
                  <a:pt x="191" y="78"/>
                </a:lnTo>
                <a:lnTo>
                  <a:pt x="197" y="78"/>
                </a:lnTo>
                <a:lnTo>
                  <a:pt x="194" y="82"/>
                </a:lnTo>
                <a:lnTo>
                  <a:pt x="197" y="88"/>
                </a:lnTo>
                <a:lnTo>
                  <a:pt x="200" y="100"/>
                </a:lnTo>
                <a:lnTo>
                  <a:pt x="203" y="103"/>
                </a:lnTo>
                <a:lnTo>
                  <a:pt x="203" y="110"/>
                </a:lnTo>
                <a:lnTo>
                  <a:pt x="206" y="113"/>
                </a:lnTo>
                <a:lnTo>
                  <a:pt x="213" y="116"/>
                </a:lnTo>
                <a:lnTo>
                  <a:pt x="219" y="119"/>
                </a:lnTo>
                <a:lnTo>
                  <a:pt x="275" y="138"/>
                </a:lnTo>
                <a:lnTo>
                  <a:pt x="300" y="138"/>
                </a:lnTo>
                <a:lnTo>
                  <a:pt x="241" y="197"/>
                </a:lnTo>
                <a:lnTo>
                  <a:pt x="228" y="197"/>
                </a:lnTo>
                <a:lnTo>
                  <a:pt x="216" y="197"/>
                </a:lnTo>
                <a:lnTo>
                  <a:pt x="213" y="200"/>
                </a:lnTo>
                <a:lnTo>
                  <a:pt x="209" y="200"/>
                </a:lnTo>
                <a:lnTo>
                  <a:pt x="203" y="204"/>
                </a:lnTo>
                <a:lnTo>
                  <a:pt x="203" y="207"/>
                </a:lnTo>
                <a:lnTo>
                  <a:pt x="197" y="210"/>
                </a:lnTo>
                <a:lnTo>
                  <a:pt x="194" y="213"/>
                </a:lnTo>
                <a:lnTo>
                  <a:pt x="188" y="213"/>
                </a:lnTo>
                <a:lnTo>
                  <a:pt x="181" y="216"/>
                </a:lnTo>
                <a:lnTo>
                  <a:pt x="178" y="219"/>
                </a:lnTo>
                <a:lnTo>
                  <a:pt x="178" y="219"/>
                </a:lnTo>
                <a:lnTo>
                  <a:pt x="172" y="219"/>
                </a:lnTo>
                <a:lnTo>
                  <a:pt x="166" y="219"/>
                </a:lnTo>
                <a:lnTo>
                  <a:pt x="163" y="219"/>
                </a:lnTo>
                <a:lnTo>
                  <a:pt x="159" y="216"/>
                </a:lnTo>
                <a:lnTo>
                  <a:pt x="156" y="213"/>
                </a:lnTo>
                <a:lnTo>
                  <a:pt x="147" y="213"/>
                </a:lnTo>
                <a:lnTo>
                  <a:pt x="147" y="216"/>
                </a:lnTo>
                <a:lnTo>
                  <a:pt x="144" y="216"/>
                </a:lnTo>
                <a:lnTo>
                  <a:pt x="141" y="216"/>
                </a:lnTo>
                <a:lnTo>
                  <a:pt x="138" y="219"/>
                </a:lnTo>
                <a:lnTo>
                  <a:pt x="131" y="229"/>
                </a:lnTo>
                <a:lnTo>
                  <a:pt x="128" y="229"/>
                </a:lnTo>
                <a:lnTo>
                  <a:pt x="125" y="229"/>
                </a:lnTo>
                <a:lnTo>
                  <a:pt x="122" y="225"/>
                </a:lnTo>
                <a:lnTo>
                  <a:pt x="116" y="229"/>
                </a:lnTo>
                <a:lnTo>
                  <a:pt x="113" y="225"/>
                </a:lnTo>
                <a:lnTo>
                  <a:pt x="106" y="225"/>
                </a:lnTo>
                <a:lnTo>
                  <a:pt x="103" y="225"/>
                </a:lnTo>
                <a:lnTo>
                  <a:pt x="100" y="222"/>
                </a:lnTo>
                <a:lnTo>
                  <a:pt x="94" y="216"/>
                </a:lnTo>
                <a:lnTo>
                  <a:pt x="88" y="210"/>
                </a:lnTo>
                <a:lnTo>
                  <a:pt x="81" y="207"/>
                </a:lnTo>
                <a:lnTo>
                  <a:pt x="72" y="207"/>
                </a:lnTo>
                <a:lnTo>
                  <a:pt x="69" y="207"/>
                </a:lnTo>
                <a:lnTo>
                  <a:pt x="63" y="210"/>
                </a:lnTo>
                <a:lnTo>
                  <a:pt x="59" y="207"/>
                </a:lnTo>
                <a:lnTo>
                  <a:pt x="56" y="204"/>
                </a:lnTo>
                <a:lnTo>
                  <a:pt x="56" y="191"/>
                </a:lnTo>
                <a:lnTo>
                  <a:pt x="53" y="191"/>
                </a:lnTo>
                <a:lnTo>
                  <a:pt x="50" y="191"/>
                </a:lnTo>
                <a:lnTo>
                  <a:pt x="47" y="188"/>
                </a:lnTo>
                <a:lnTo>
                  <a:pt x="47" y="191"/>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8" name="Freeform 106">
            <a:extLst>
              <a:ext uri="{FF2B5EF4-FFF2-40B4-BE49-F238E27FC236}">
                <a16:creationId xmlns:a16="http://schemas.microsoft.com/office/drawing/2014/main" id="{A33C3AF8-0FFA-0F1B-D757-BDDA8E465DDB}"/>
              </a:ext>
            </a:extLst>
          </p:cNvPr>
          <p:cNvSpPr>
            <a:spLocks/>
          </p:cNvSpPr>
          <p:nvPr userDrawn="1"/>
        </p:nvSpPr>
        <p:spPr bwMode="auto">
          <a:xfrm>
            <a:off x="15432672" y="8235237"/>
            <a:ext cx="415899" cy="365126"/>
          </a:xfrm>
          <a:custGeom>
            <a:avLst/>
            <a:gdLst>
              <a:gd name="T0" fmla="*/ 112 w 131"/>
              <a:gd name="T1" fmla="*/ 109 h 115"/>
              <a:gd name="T2" fmla="*/ 109 w 131"/>
              <a:gd name="T3" fmla="*/ 106 h 115"/>
              <a:gd name="T4" fmla="*/ 106 w 131"/>
              <a:gd name="T5" fmla="*/ 97 h 115"/>
              <a:gd name="T6" fmla="*/ 97 w 131"/>
              <a:gd name="T7" fmla="*/ 90 h 115"/>
              <a:gd name="T8" fmla="*/ 90 w 131"/>
              <a:gd name="T9" fmla="*/ 87 h 115"/>
              <a:gd name="T10" fmla="*/ 84 w 131"/>
              <a:gd name="T11" fmla="*/ 84 h 115"/>
              <a:gd name="T12" fmla="*/ 78 w 131"/>
              <a:gd name="T13" fmla="*/ 81 h 115"/>
              <a:gd name="T14" fmla="*/ 68 w 131"/>
              <a:gd name="T15" fmla="*/ 75 h 115"/>
              <a:gd name="T16" fmla="*/ 59 w 131"/>
              <a:gd name="T17" fmla="*/ 69 h 115"/>
              <a:gd name="T18" fmla="*/ 56 w 131"/>
              <a:gd name="T19" fmla="*/ 72 h 115"/>
              <a:gd name="T20" fmla="*/ 47 w 131"/>
              <a:gd name="T21" fmla="*/ 65 h 115"/>
              <a:gd name="T22" fmla="*/ 43 w 131"/>
              <a:gd name="T23" fmla="*/ 65 h 115"/>
              <a:gd name="T24" fmla="*/ 34 w 131"/>
              <a:gd name="T25" fmla="*/ 69 h 115"/>
              <a:gd name="T26" fmla="*/ 25 w 131"/>
              <a:gd name="T27" fmla="*/ 65 h 115"/>
              <a:gd name="T28" fmla="*/ 22 w 131"/>
              <a:gd name="T29" fmla="*/ 62 h 115"/>
              <a:gd name="T30" fmla="*/ 12 w 131"/>
              <a:gd name="T31" fmla="*/ 75 h 115"/>
              <a:gd name="T32" fmla="*/ 6 w 131"/>
              <a:gd name="T33" fmla="*/ 75 h 115"/>
              <a:gd name="T34" fmla="*/ 3 w 131"/>
              <a:gd name="T35" fmla="*/ 72 h 115"/>
              <a:gd name="T36" fmla="*/ 0 w 131"/>
              <a:gd name="T37" fmla="*/ 59 h 115"/>
              <a:gd name="T38" fmla="*/ 3 w 131"/>
              <a:gd name="T39" fmla="*/ 53 h 115"/>
              <a:gd name="T40" fmla="*/ 6 w 131"/>
              <a:gd name="T41" fmla="*/ 37 h 115"/>
              <a:gd name="T42" fmla="*/ 12 w 131"/>
              <a:gd name="T43" fmla="*/ 31 h 115"/>
              <a:gd name="T44" fmla="*/ 9 w 131"/>
              <a:gd name="T45" fmla="*/ 28 h 115"/>
              <a:gd name="T46" fmla="*/ 9 w 131"/>
              <a:gd name="T47" fmla="*/ 18 h 115"/>
              <a:gd name="T48" fmla="*/ 18 w 131"/>
              <a:gd name="T49" fmla="*/ 15 h 115"/>
              <a:gd name="T50" fmla="*/ 18 w 131"/>
              <a:gd name="T51" fmla="*/ 12 h 115"/>
              <a:gd name="T52" fmla="*/ 22 w 131"/>
              <a:gd name="T53" fmla="*/ 9 h 115"/>
              <a:gd name="T54" fmla="*/ 28 w 131"/>
              <a:gd name="T55" fmla="*/ 9 h 115"/>
              <a:gd name="T56" fmla="*/ 34 w 131"/>
              <a:gd name="T57" fmla="*/ 6 h 115"/>
              <a:gd name="T58" fmla="*/ 37 w 131"/>
              <a:gd name="T59" fmla="*/ 0 h 115"/>
              <a:gd name="T60" fmla="*/ 43 w 131"/>
              <a:gd name="T61" fmla="*/ 3 h 115"/>
              <a:gd name="T62" fmla="*/ 53 w 131"/>
              <a:gd name="T63" fmla="*/ 40 h 115"/>
              <a:gd name="T64" fmla="*/ 56 w 131"/>
              <a:gd name="T65" fmla="*/ 47 h 115"/>
              <a:gd name="T66" fmla="*/ 59 w 131"/>
              <a:gd name="T67" fmla="*/ 47 h 115"/>
              <a:gd name="T68" fmla="*/ 62 w 131"/>
              <a:gd name="T69" fmla="*/ 59 h 115"/>
              <a:gd name="T70" fmla="*/ 65 w 131"/>
              <a:gd name="T71" fmla="*/ 53 h 115"/>
              <a:gd name="T72" fmla="*/ 65 w 131"/>
              <a:gd name="T73" fmla="*/ 50 h 115"/>
              <a:gd name="T74" fmla="*/ 68 w 131"/>
              <a:gd name="T75" fmla="*/ 53 h 115"/>
              <a:gd name="T76" fmla="*/ 72 w 131"/>
              <a:gd name="T77" fmla="*/ 59 h 115"/>
              <a:gd name="T78" fmla="*/ 75 w 131"/>
              <a:gd name="T79" fmla="*/ 62 h 115"/>
              <a:gd name="T80" fmla="*/ 81 w 131"/>
              <a:gd name="T81" fmla="*/ 62 h 115"/>
              <a:gd name="T82" fmla="*/ 87 w 131"/>
              <a:gd name="T83" fmla="*/ 65 h 115"/>
              <a:gd name="T84" fmla="*/ 93 w 131"/>
              <a:gd name="T85" fmla="*/ 69 h 115"/>
              <a:gd name="T86" fmla="*/ 100 w 131"/>
              <a:gd name="T87" fmla="*/ 78 h 115"/>
              <a:gd name="T88" fmla="*/ 109 w 131"/>
              <a:gd name="T89" fmla="*/ 84 h 115"/>
              <a:gd name="T90" fmla="*/ 112 w 131"/>
              <a:gd name="T91" fmla="*/ 87 h 115"/>
              <a:gd name="T92" fmla="*/ 115 w 131"/>
              <a:gd name="T93" fmla="*/ 90 h 115"/>
              <a:gd name="T94" fmla="*/ 118 w 131"/>
              <a:gd name="T95" fmla="*/ 97 h 115"/>
              <a:gd name="T96" fmla="*/ 122 w 131"/>
              <a:gd name="T97" fmla="*/ 103 h 115"/>
              <a:gd name="T98" fmla="*/ 125 w 131"/>
              <a:gd name="T99" fmla="*/ 106 h 115"/>
              <a:gd name="T100" fmla="*/ 128 w 131"/>
              <a:gd name="T101" fmla="*/ 106 h 115"/>
              <a:gd name="T102" fmla="*/ 131 w 131"/>
              <a:gd name="T103" fmla="*/ 109 h 115"/>
              <a:gd name="T104" fmla="*/ 125 w 131"/>
              <a:gd name="T105" fmla="*/ 112 h 115"/>
              <a:gd name="T106" fmla="*/ 118 w 131"/>
              <a:gd name="T10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1" h="115">
                <a:moveTo>
                  <a:pt x="118" y="115"/>
                </a:moveTo>
                <a:lnTo>
                  <a:pt x="112" y="109"/>
                </a:lnTo>
                <a:lnTo>
                  <a:pt x="109" y="109"/>
                </a:lnTo>
                <a:lnTo>
                  <a:pt x="109" y="106"/>
                </a:lnTo>
                <a:lnTo>
                  <a:pt x="109" y="103"/>
                </a:lnTo>
                <a:lnTo>
                  <a:pt x="106" y="97"/>
                </a:lnTo>
                <a:lnTo>
                  <a:pt x="100" y="97"/>
                </a:lnTo>
                <a:lnTo>
                  <a:pt x="97" y="90"/>
                </a:lnTo>
                <a:lnTo>
                  <a:pt x="90" y="87"/>
                </a:lnTo>
                <a:lnTo>
                  <a:pt x="90" y="87"/>
                </a:lnTo>
                <a:lnTo>
                  <a:pt x="84" y="84"/>
                </a:lnTo>
                <a:lnTo>
                  <a:pt x="84" y="84"/>
                </a:lnTo>
                <a:lnTo>
                  <a:pt x="78" y="84"/>
                </a:lnTo>
                <a:lnTo>
                  <a:pt x="78" y="81"/>
                </a:lnTo>
                <a:lnTo>
                  <a:pt x="72" y="75"/>
                </a:lnTo>
                <a:lnTo>
                  <a:pt x="68" y="75"/>
                </a:lnTo>
                <a:lnTo>
                  <a:pt x="65" y="72"/>
                </a:lnTo>
                <a:lnTo>
                  <a:pt x="59" y="69"/>
                </a:lnTo>
                <a:lnTo>
                  <a:pt x="56" y="72"/>
                </a:lnTo>
                <a:lnTo>
                  <a:pt x="56" y="72"/>
                </a:lnTo>
                <a:lnTo>
                  <a:pt x="50" y="65"/>
                </a:lnTo>
                <a:lnTo>
                  <a:pt x="47" y="65"/>
                </a:lnTo>
                <a:lnTo>
                  <a:pt x="47" y="69"/>
                </a:lnTo>
                <a:lnTo>
                  <a:pt x="43" y="65"/>
                </a:lnTo>
                <a:lnTo>
                  <a:pt x="40" y="65"/>
                </a:lnTo>
                <a:lnTo>
                  <a:pt x="34" y="69"/>
                </a:lnTo>
                <a:lnTo>
                  <a:pt x="31" y="69"/>
                </a:lnTo>
                <a:lnTo>
                  <a:pt x="25" y="65"/>
                </a:lnTo>
                <a:lnTo>
                  <a:pt x="22" y="65"/>
                </a:lnTo>
                <a:lnTo>
                  <a:pt x="22" y="62"/>
                </a:lnTo>
                <a:lnTo>
                  <a:pt x="15" y="75"/>
                </a:lnTo>
                <a:lnTo>
                  <a:pt x="12" y="75"/>
                </a:lnTo>
                <a:lnTo>
                  <a:pt x="12" y="75"/>
                </a:lnTo>
                <a:lnTo>
                  <a:pt x="6" y="75"/>
                </a:lnTo>
                <a:lnTo>
                  <a:pt x="3" y="75"/>
                </a:lnTo>
                <a:lnTo>
                  <a:pt x="3" y="72"/>
                </a:lnTo>
                <a:lnTo>
                  <a:pt x="0" y="62"/>
                </a:lnTo>
                <a:lnTo>
                  <a:pt x="0" y="59"/>
                </a:lnTo>
                <a:lnTo>
                  <a:pt x="3" y="56"/>
                </a:lnTo>
                <a:lnTo>
                  <a:pt x="3" y="53"/>
                </a:lnTo>
                <a:lnTo>
                  <a:pt x="6" y="47"/>
                </a:lnTo>
                <a:lnTo>
                  <a:pt x="6" y="37"/>
                </a:lnTo>
                <a:lnTo>
                  <a:pt x="9" y="31"/>
                </a:lnTo>
                <a:lnTo>
                  <a:pt x="12" y="31"/>
                </a:lnTo>
                <a:lnTo>
                  <a:pt x="9" y="28"/>
                </a:lnTo>
                <a:lnTo>
                  <a:pt x="9" y="28"/>
                </a:lnTo>
                <a:lnTo>
                  <a:pt x="9" y="22"/>
                </a:lnTo>
                <a:lnTo>
                  <a:pt x="9" y="18"/>
                </a:lnTo>
                <a:lnTo>
                  <a:pt x="12" y="15"/>
                </a:lnTo>
                <a:lnTo>
                  <a:pt x="18" y="15"/>
                </a:lnTo>
                <a:lnTo>
                  <a:pt x="18" y="15"/>
                </a:lnTo>
                <a:lnTo>
                  <a:pt x="18" y="12"/>
                </a:lnTo>
                <a:lnTo>
                  <a:pt x="18" y="9"/>
                </a:lnTo>
                <a:lnTo>
                  <a:pt x="22" y="9"/>
                </a:lnTo>
                <a:lnTo>
                  <a:pt x="25" y="9"/>
                </a:lnTo>
                <a:lnTo>
                  <a:pt x="28" y="9"/>
                </a:lnTo>
                <a:lnTo>
                  <a:pt x="28" y="6"/>
                </a:lnTo>
                <a:lnTo>
                  <a:pt x="34" y="6"/>
                </a:lnTo>
                <a:lnTo>
                  <a:pt x="37" y="3"/>
                </a:lnTo>
                <a:lnTo>
                  <a:pt x="37" y="0"/>
                </a:lnTo>
                <a:lnTo>
                  <a:pt x="37" y="0"/>
                </a:lnTo>
                <a:lnTo>
                  <a:pt x="43" y="3"/>
                </a:lnTo>
                <a:lnTo>
                  <a:pt x="53" y="25"/>
                </a:lnTo>
                <a:lnTo>
                  <a:pt x="53" y="40"/>
                </a:lnTo>
                <a:lnTo>
                  <a:pt x="56" y="40"/>
                </a:lnTo>
                <a:lnTo>
                  <a:pt x="56" y="47"/>
                </a:lnTo>
                <a:lnTo>
                  <a:pt x="56" y="47"/>
                </a:lnTo>
                <a:lnTo>
                  <a:pt x="59" y="47"/>
                </a:lnTo>
                <a:lnTo>
                  <a:pt x="62" y="53"/>
                </a:lnTo>
                <a:lnTo>
                  <a:pt x="62" y="59"/>
                </a:lnTo>
                <a:lnTo>
                  <a:pt x="65" y="59"/>
                </a:lnTo>
                <a:lnTo>
                  <a:pt x="65" y="53"/>
                </a:lnTo>
                <a:lnTo>
                  <a:pt x="65" y="53"/>
                </a:lnTo>
                <a:lnTo>
                  <a:pt x="65" y="50"/>
                </a:lnTo>
                <a:lnTo>
                  <a:pt x="65" y="50"/>
                </a:lnTo>
                <a:lnTo>
                  <a:pt x="68" y="53"/>
                </a:lnTo>
                <a:lnTo>
                  <a:pt x="68" y="56"/>
                </a:lnTo>
                <a:lnTo>
                  <a:pt x="72" y="59"/>
                </a:lnTo>
                <a:lnTo>
                  <a:pt x="75" y="62"/>
                </a:lnTo>
                <a:lnTo>
                  <a:pt x="75" y="62"/>
                </a:lnTo>
                <a:lnTo>
                  <a:pt x="78" y="62"/>
                </a:lnTo>
                <a:lnTo>
                  <a:pt x="81" y="62"/>
                </a:lnTo>
                <a:lnTo>
                  <a:pt x="81" y="62"/>
                </a:lnTo>
                <a:lnTo>
                  <a:pt x="87" y="65"/>
                </a:lnTo>
                <a:lnTo>
                  <a:pt x="87" y="69"/>
                </a:lnTo>
                <a:lnTo>
                  <a:pt x="93" y="69"/>
                </a:lnTo>
                <a:lnTo>
                  <a:pt x="93" y="72"/>
                </a:lnTo>
                <a:lnTo>
                  <a:pt x="100" y="78"/>
                </a:lnTo>
                <a:lnTo>
                  <a:pt x="103" y="84"/>
                </a:lnTo>
                <a:lnTo>
                  <a:pt x="109" y="84"/>
                </a:lnTo>
                <a:lnTo>
                  <a:pt x="112" y="87"/>
                </a:lnTo>
                <a:lnTo>
                  <a:pt x="112" y="87"/>
                </a:lnTo>
                <a:lnTo>
                  <a:pt x="112" y="87"/>
                </a:lnTo>
                <a:lnTo>
                  <a:pt x="115" y="90"/>
                </a:lnTo>
                <a:lnTo>
                  <a:pt x="118" y="97"/>
                </a:lnTo>
                <a:lnTo>
                  <a:pt x="118" y="97"/>
                </a:lnTo>
                <a:lnTo>
                  <a:pt x="122" y="103"/>
                </a:lnTo>
                <a:lnTo>
                  <a:pt x="122" y="103"/>
                </a:lnTo>
                <a:lnTo>
                  <a:pt x="125" y="106"/>
                </a:lnTo>
                <a:lnTo>
                  <a:pt x="125" y="106"/>
                </a:lnTo>
                <a:lnTo>
                  <a:pt x="128" y="106"/>
                </a:lnTo>
                <a:lnTo>
                  <a:pt x="128" y="106"/>
                </a:lnTo>
                <a:lnTo>
                  <a:pt x="131" y="106"/>
                </a:lnTo>
                <a:lnTo>
                  <a:pt x="131" y="109"/>
                </a:lnTo>
                <a:lnTo>
                  <a:pt x="128" y="112"/>
                </a:lnTo>
                <a:lnTo>
                  <a:pt x="125" y="112"/>
                </a:lnTo>
                <a:lnTo>
                  <a:pt x="122" y="115"/>
                </a:lnTo>
                <a:lnTo>
                  <a:pt x="118" y="115"/>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9" name="Freeform 107">
            <a:extLst>
              <a:ext uri="{FF2B5EF4-FFF2-40B4-BE49-F238E27FC236}">
                <a16:creationId xmlns:a16="http://schemas.microsoft.com/office/drawing/2014/main" id="{6C5E7DDC-1570-0808-97E9-35745D32FDAF}"/>
              </a:ext>
            </a:extLst>
          </p:cNvPr>
          <p:cNvSpPr>
            <a:spLocks/>
          </p:cNvSpPr>
          <p:nvPr userDrawn="1"/>
        </p:nvSpPr>
        <p:spPr bwMode="auto">
          <a:xfrm>
            <a:off x="15769196" y="8581313"/>
            <a:ext cx="98420" cy="111126"/>
          </a:xfrm>
          <a:custGeom>
            <a:avLst/>
            <a:gdLst>
              <a:gd name="T0" fmla="*/ 25 w 31"/>
              <a:gd name="T1" fmla="*/ 31 h 35"/>
              <a:gd name="T2" fmla="*/ 19 w 31"/>
              <a:gd name="T3" fmla="*/ 31 h 35"/>
              <a:gd name="T4" fmla="*/ 16 w 31"/>
              <a:gd name="T5" fmla="*/ 31 h 35"/>
              <a:gd name="T6" fmla="*/ 9 w 31"/>
              <a:gd name="T7" fmla="*/ 35 h 35"/>
              <a:gd name="T8" fmla="*/ 3 w 31"/>
              <a:gd name="T9" fmla="*/ 35 h 35"/>
              <a:gd name="T10" fmla="*/ 0 w 31"/>
              <a:gd name="T11" fmla="*/ 31 h 35"/>
              <a:gd name="T12" fmla="*/ 3 w 31"/>
              <a:gd name="T13" fmla="*/ 28 h 35"/>
              <a:gd name="T14" fmla="*/ 3 w 31"/>
              <a:gd name="T15" fmla="*/ 25 h 35"/>
              <a:gd name="T16" fmla="*/ 6 w 31"/>
              <a:gd name="T17" fmla="*/ 22 h 35"/>
              <a:gd name="T18" fmla="*/ 6 w 31"/>
              <a:gd name="T19" fmla="*/ 16 h 35"/>
              <a:gd name="T20" fmla="*/ 6 w 31"/>
              <a:gd name="T21" fmla="*/ 13 h 35"/>
              <a:gd name="T22" fmla="*/ 9 w 31"/>
              <a:gd name="T23" fmla="*/ 6 h 35"/>
              <a:gd name="T24" fmla="*/ 16 w 31"/>
              <a:gd name="T25" fmla="*/ 6 h 35"/>
              <a:gd name="T26" fmla="*/ 19 w 31"/>
              <a:gd name="T27" fmla="*/ 3 h 35"/>
              <a:gd name="T28" fmla="*/ 22 w 31"/>
              <a:gd name="T29" fmla="*/ 3 h 35"/>
              <a:gd name="T30" fmla="*/ 25 w 31"/>
              <a:gd name="T31" fmla="*/ 0 h 35"/>
              <a:gd name="T32" fmla="*/ 25 w 31"/>
              <a:gd name="T33" fmla="*/ 0 h 35"/>
              <a:gd name="T34" fmla="*/ 25 w 31"/>
              <a:gd name="T35" fmla="*/ 0 h 35"/>
              <a:gd name="T36" fmla="*/ 28 w 31"/>
              <a:gd name="T37" fmla="*/ 3 h 35"/>
              <a:gd name="T38" fmla="*/ 31 w 31"/>
              <a:gd name="T39" fmla="*/ 3 h 35"/>
              <a:gd name="T40" fmla="*/ 31 w 31"/>
              <a:gd name="T41" fmla="*/ 6 h 35"/>
              <a:gd name="T42" fmla="*/ 31 w 31"/>
              <a:gd name="T43" fmla="*/ 13 h 35"/>
              <a:gd name="T44" fmla="*/ 28 w 31"/>
              <a:gd name="T45" fmla="*/ 13 h 35"/>
              <a:gd name="T46" fmla="*/ 25 w 31"/>
              <a:gd name="T47" fmla="*/ 19 h 35"/>
              <a:gd name="T48" fmla="*/ 22 w 31"/>
              <a:gd name="T49" fmla="*/ 19 h 35"/>
              <a:gd name="T50" fmla="*/ 22 w 31"/>
              <a:gd name="T51" fmla="*/ 22 h 35"/>
              <a:gd name="T52" fmla="*/ 16 w 31"/>
              <a:gd name="T53" fmla="*/ 22 h 35"/>
              <a:gd name="T54" fmla="*/ 19 w 31"/>
              <a:gd name="T55" fmla="*/ 22 h 35"/>
              <a:gd name="T56" fmla="*/ 19 w 31"/>
              <a:gd name="T57" fmla="*/ 22 h 35"/>
              <a:gd name="T58" fmla="*/ 22 w 31"/>
              <a:gd name="T59" fmla="*/ 22 h 35"/>
              <a:gd name="T60" fmla="*/ 28 w 31"/>
              <a:gd name="T61" fmla="*/ 22 h 35"/>
              <a:gd name="T62" fmla="*/ 28 w 31"/>
              <a:gd name="T63" fmla="*/ 22 h 35"/>
              <a:gd name="T64" fmla="*/ 25 w 31"/>
              <a:gd name="T65" fmla="*/ 31 h 35"/>
              <a:gd name="T66" fmla="*/ 25 w 31"/>
              <a:gd name="T67"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 h="35">
                <a:moveTo>
                  <a:pt x="25" y="31"/>
                </a:moveTo>
                <a:lnTo>
                  <a:pt x="19" y="31"/>
                </a:lnTo>
                <a:lnTo>
                  <a:pt x="16" y="31"/>
                </a:lnTo>
                <a:lnTo>
                  <a:pt x="9" y="35"/>
                </a:lnTo>
                <a:lnTo>
                  <a:pt x="3" y="35"/>
                </a:lnTo>
                <a:lnTo>
                  <a:pt x="0" y="31"/>
                </a:lnTo>
                <a:lnTo>
                  <a:pt x="3" y="28"/>
                </a:lnTo>
                <a:lnTo>
                  <a:pt x="3" y="25"/>
                </a:lnTo>
                <a:lnTo>
                  <a:pt x="6" y="22"/>
                </a:lnTo>
                <a:lnTo>
                  <a:pt x="6" y="16"/>
                </a:lnTo>
                <a:lnTo>
                  <a:pt x="6" y="13"/>
                </a:lnTo>
                <a:lnTo>
                  <a:pt x="9" y="6"/>
                </a:lnTo>
                <a:lnTo>
                  <a:pt x="16" y="6"/>
                </a:lnTo>
                <a:lnTo>
                  <a:pt x="19" y="3"/>
                </a:lnTo>
                <a:lnTo>
                  <a:pt x="22" y="3"/>
                </a:lnTo>
                <a:lnTo>
                  <a:pt x="25" y="0"/>
                </a:lnTo>
                <a:lnTo>
                  <a:pt x="25" y="0"/>
                </a:lnTo>
                <a:lnTo>
                  <a:pt x="25" y="0"/>
                </a:lnTo>
                <a:lnTo>
                  <a:pt x="28" y="3"/>
                </a:lnTo>
                <a:lnTo>
                  <a:pt x="31" y="3"/>
                </a:lnTo>
                <a:lnTo>
                  <a:pt x="31" y="6"/>
                </a:lnTo>
                <a:lnTo>
                  <a:pt x="31" y="13"/>
                </a:lnTo>
                <a:lnTo>
                  <a:pt x="28" y="13"/>
                </a:lnTo>
                <a:lnTo>
                  <a:pt x="25" y="19"/>
                </a:lnTo>
                <a:lnTo>
                  <a:pt x="22" y="19"/>
                </a:lnTo>
                <a:lnTo>
                  <a:pt x="22" y="22"/>
                </a:lnTo>
                <a:lnTo>
                  <a:pt x="16" y="22"/>
                </a:lnTo>
                <a:lnTo>
                  <a:pt x="19" y="22"/>
                </a:lnTo>
                <a:lnTo>
                  <a:pt x="19" y="22"/>
                </a:lnTo>
                <a:lnTo>
                  <a:pt x="22" y="22"/>
                </a:lnTo>
                <a:lnTo>
                  <a:pt x="28" y="22"/>
                </a:lnTo>
                <a:lnTo>
                  <a:pt x="28" y="22"/>
                </a:lnTo>
                <a:lnTo>
                  <a:pt x="25" y="31"/>
                </a:lnTo>
                <a:lnTo>
                  <a:pt x="25" y="31"/>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0" name="Freeform 108">
            <a:extLst>
              <a:ext uri="{FF2B5EF4-FFF2-40B4-BE49-F238E27FC236}">
                <a16:creationId xmlns:a16="http://schemas.microsoft.com/office/drawing/2014/main" id="{D33FA7C1-8373-6F3E-717F-3BC291EFAC19}"/>
              </a:ext>
            </a:extLst>
          </p:cNvPr>
          <p:cNvSpPr>
            <a:spLocks/>
          </p:cNvSpPr>
          <p:nvPr userDrawn="1"/>
        </p:nvSpPr>
        <p:spPr bwMode="auto">
          <a:xfrm>
            <a:off x="15727923" y="8622587"/>
            <a:ext cx="647660" cy="854078"/>
          </a:xfrm>
          <a:custGeom>
            <a:avLst/>
            <a:gdLst>
              <a:gd name="T0" fmla="*/ 22 w 204"/>
              <a:gd name="T1" fmla="*/ 156 h 269"/>
              <a:gd name="T2" fmla="*/ 38 w 204"/>
              <a:gd name="T3" fmla="*/ 150 h 269"/>
              <a:gd name="T4" fmla="*/ 50 w 204"/>
              <a:gd name="T5" fmla="*/ 140 h 269"/>
              <a:gd name="T6" fmla="*/ 69 w 204"/>
              <a:gd name="T7" fmla="*/ 137 h 269"/>
              <a:gd name="T8" fmla="*/ 116 w 204"/>
              <a:gd name="T9" fmla="*/ 78 h 269"/>
              <a:gd name="T10" fmla="*/ 47 w 204"/>
              <a:gd name="T11" fmla="*/ 53 h 269"/>
              <a:gd name="T12" fmla="*/ 41 w 204"/>
              <a:gd name="T13" fmla="*/ 40 h 269"/>
              <a:gd name="T14" fmla="*/ 38 w 204"/>
              <a:gd name="T15" fmla="*/ 18 h 269"/>
              <a:gd name="T16" fmla="*/ 44 w 204"/>
              <a:gd name="T17" fmla="*/ 12 h 269"/>
              <a:gd name="T18" fmla="*/ 60 w 204"/>
              <a:gd name="T19" fmla="*/ 31 h 269"/>
              <a:gd name="T20" fmla="*/ 75 w 204"/>
              <a:gd name="T21" fmla="*/ 34 h 269"/>
              <a:gd name="T22" fmla="*/ 85 w 204"/>
              <a:gd name="T23" fmla="*/ 28 h 269"/>
              <a:gd name="T24" fmla="*/ 94 w 204"/>
              <a:gd name="T25" fmla="*/ 25 h 269"/>
              <a:gd name="T26" fmla="*/ 107 w 204"/>
              <a:gd name="T27" fmla="*/ 25 h 269"/>
              <a:gd name="T28" fmla="*/ 125 w 204"/>
              <a:gd name="T29" fmla="*/ 18 h 269"/>
              <a:gd name="T30" fmla="*/ 138 w 204"/>
              <a:gd name="T31" fmla="*/ 18 h 269"/>
              <a:gd name="T32" fmla="*/ 154 w 204"/>
              <a:gd name="T33" fmla="*/ 15 h 269"/>
              <a:gd name="T34" fmla="*/ 169 w 204"/>
              <a:gd name="T35" fmla="*/ 12 h 269"/>
              <a:gd name="T36" fmla="*/ 175 w 204"/>
              <a:gd name="T37" fmla="*/ 9 h 269"/>
              <a:gd name="T38" fmla="*/ 185 w 204"/>
              <a:gd name="T39" fmla="*/ 6 h 269"/>
              <a:gd name="T40" fmla="*/ 188 w 204"/>
              <a:gd name="T41" fmla="*/ 0 h 269"/>
              <a:gd name="T42" fmla="*/ 194 w 204"/>
              <a:gd name="T43" fmla="*/ 3 h 269"/>
              <a:gd name="T44" fmla="*/ 200 w 204"/>
              <a:gd name="T45" fmla="*/ 3 h 269"/>
              <a:gd name="T46" fmla="*/ 197 w 204"/>
              <a:gd name="T47" fmla="*/ 12 h 269"/>
              <a:gd name="T48" fmla="*/ 200 w 204"/>
              <a:gd name="T49" fmla="*/ 18 h 269"/>
              <a:gd name="T50" fmla="*/ 197 w 204"/>
              <a:gd name="T51" fmla="*/ 25 h 269"/>
              <a:gd name="T52" fmla="*/ 197 w 204"/>
              <a:gd name="T53" fmla="*/ 34 h 269"/>
              <a:gd name="T54" fmla="*/ 200 w 204"/>
              <a:gd name="T55" fmla="*/ 31 h 269"/>
              <a:gd name="T56" fmla="*/ 200 w 204"/>
              <a:gd name="T57" fmla="*/ 34 h 269"/>
              <a:gd name="T58" fmla="*/ 194 w 204"/>
              <a:gd name="T59" fmla="*/ 40 h 269"/>
              <a:gd name="T60" fmla="*/ 194 w 204"/>
              <a:gd name="T61" fmla="*/ 50 h 269"/>
              <a:gd name="T62" fmla="*/ 182 w 204"/>
              <a:gd name="T63" fmla="*/ 75 h 269"/>
              <a:gd name="T64" fmla="*/ 172 w 204"/>
              <a:gd name="T65" fmla="*/ 81 h 269"/>
              <a:gd name="T66" fmla="*/ 172 w 204"/>
              <a:gd name="T67" fmla="*/ 87 h 269"/>
              <a:gd name="T68" fmla="*/ 154 w 204"/>
              <a:gd name="T69" fmla="*/ 125 h 269"/>
              <a:gd name="T70" fmla="*/ 138 w 204"/>
              <a:gd name="T71" fmla="*/ 153 h 269"/>
              <a:gd name="T72" fmla="*/ 100 w 204"/>
              <a:gd name="T73" fmla="*/ 191 h 269"/>
              <a:gd name="T74" fmla="*/ 79 w 204"/>
              <a:gd name="T75" fmla="*/ 203 h 269"/>
              <a:gd name="T76" fmla="*/ 57 w 204"/>
              <a:gd name="T77" fmla="*/ 222 h 269"/>
              <a:gd name="T78" fmla="*/ 41 w 204"/>
              <a:gd name="T79" fmla="*/ 241 h 269"/>
              <a:gd name="T80" fmla="*/ 32 w 204"/>
              <a:gd name="T81" fmla="*/ 250 h 269"/>
              <a:gd name="T82" fmla="*/ 0 w 204"/>
              <a:gd name="T83" fmla="*/ 256 h 269"/>
              <a:gd name="T84" fmla="*/ 19 w 204"/>
              <a:gd name="T85" fmla="*/ 15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4" h="269">
                <a:moveTo>
                  <a:pt x="19" y="159"/>
                </a:moveTo>
                <a:lnTo>
                  <a:pt x="19" y="159"/>
                </a:lnTo>
                <a:lnTo>
                  <a:pt x="22" y="156"/>
                </a:lnTo>
                <a:lnTo>
                  <a:pt x="29" y="153"/>
                </a:lnTo>
                <a:lnTo>
                  <a:pt x="35" y="153"/>
                </a:lnTo>
                <a:lnTo>
                  <a:pt x="38" y="150"/>
                </a:lnTo>
                <a:lnTo>
                  <a:pt x="44" y="147"/>
                </a:lnTo>
                <a:lnTo>
                  <a:pt x="44" y="144"/>
                </a:lnTo>
                <a:lnTo>
                  <a:pt x="50" y="140"/>
                </a:lnTo>
                <a:lnTo>
                  <a:pt x="54" y="140"/>
                </a:lnTo>
                <a:lnTo>
                  <a:pt x="57" y="137"/>
                </a:lnTo>
                <a:lnTo>
                  <a:pt x="69" y="137"/>
                </a:lnTo>
                <a:lnTo>
                  <a:pt x="82" y="137"/>
                </a:lnTo>
                <a:lnTo>
                  <a:pt x="141" y="78"/>
                </a:lnTo>
                <a:lnTo>
                  <a:pt x="116" y="78"/>
                </a:lnTo>
                <a:lnTo>
                  <a:pt x="60" y="59"/>
                </a:lnTo>
                <a:lnTo>
                  <a:pt x="54" y="56"/>
                </a:lnTo>
                <a:lnTo>
                  <a:pt x="47" y="53"/>
                </a:lnTo>
                <a:lnTo>
                  <a:pt x="44" y="50"/>
                </a:lnTo>
                <a:lnTo>
                  <a:pt x="44" y="43"/>
                </a:lnTo>
                <a:lnTo>
                  <a:pt x="41" y="40"/>
                </a:lnTo>
                <a:lnTo>
                  <a:pt x="38" y="28"/>
                </a:lnTo>
                <a:lnTo>
                  <a:pt x="35" y="22"/>
                </a:lnTo>
                <a:lnTo>
                  <a:pt x="38" y="18"/>
                </a:lnTo>
                <a:lnTo>
                  <a:pt x="41" y="9"/>
                </a:lnTo>
                <a:lnTo>
                  <a:pt x="44" y="12"/>
                </a:lnTo>
                <a:lnTo>
                  <a:pt x="44" y="12"/>
                </a:lnTo>
                <a:lnTo>
                  <a:pt x="57" y="28"/>
                </a:lnTo>
                <a:lnTo>
                  <a:pt x="57" y="28"/>
                </a:lnTo>
                <a:lnTo>
                  <a:pt x="60" y="31"/>
                </a:lnTo>
                <a:lnTo>
                  <a:pt x="63" y="34"/>
                </a:lnTo>
                <a:lnTo>
                  <a:pt x="69" y="34"/>
                </a:lnTo>
                <a:lnTo>
                  <a:pt x="75" y="34"/>
                </a:lnTo>
                <a:lnTo>
                  <a:pt x="75" y="34"/>
                </a:lnTo>
                <a:lnTo>
                  <a:pt x="82" y="31"/>
                </a:lnTo>
                <a:lnTo>
                  <a:pt x="85" y="28"/>
                </a:lnTo>
                <a:lnTo>
                  <a:pt x="91" y="25"/>
                </a:lnTo>
                <a:lnTo>
                  <a:pt x="94" y="25"/>
                </a:lnTo>
                <a:lnTo>
                  <a:pt x="94" y="25"/>
                </a:lnTo>
                <a:lnTo>
                  <a:pt x="100" y="25"/>
                </a:lnTo>
                <a:lnTo>
                  <a:pt x="100" y="25"/>
                </a:lnTo>
                <a:lnTo>
                  <a:pt x="107" y="25"/>
                </a:lnTo>
                <a:lnTo>
                  <a:pt x="110" y="25"/>
                </a:lnTo>
                <a:lnTo>
                  <a:pt x="122" y="18"/>
                </a:lnTo>
                <a:lnTo>
                  <a:pt x="125" y="18"/>
                </a:lnTo>
                <a:lnTo>
                  <a:pt x="132" y="18"/>
                </a:lnTo>
                <a:lnTo>
                  <a:pt x="135" y="18"/>
                </a:lnTo>
                <a:lnTo>
                  <a:pt x="138" y="18"/>
                </a:lnTo>
                <a:lnTo>
                  <a:pt x="144" y="15"/>
                </a:lnTo>
                <a:lnTo>
                  <a:pt x="150" y="15"/>
                </a:lnTo>
                <a:lnTo>
                  <a:pt x="154" y="15"/>
                </a:lnTo>
                <a:lnTo>
                  <a:pt x="154" y="15"/>
                </a:lnTo>
                <a:lnTo>
                  <a:pt x="163" y="15"/>
                </a:lnTo>
                <a:lnTo>
                  <a:pt x="169" y="12"/>
                </a:lnTo>
                <a:lnTo>
                  <a:pt x="172" y="12"/>
                </a:lnTo>
                <a:lnTo>
                  <a:pt x="175" y="12"/>
                </a:lnTo>
                <a:lnTo>
                  <a:pt x="175" y="9"/>
                </a:lnTo>
                <a:lnTo>
                  <a:pt x="182" y="9"/>
                </a:lnTo>
                <a:lnTo>
                  <a:pt x="185" y="6"/>
                </a:lnTo>
                <a:lnTo>
                  <a:pt x="185" y="6"/>
                </a:lnTo>
                <a:lnTo>
                  <a:pt x="188" y="3"/>
                </a:lnTo>
                <a:lnTo>
                  <a:pt x="188" y="3"/>
                </a:lnTo>
                <a:lnTo>
                  <a:pt x="188" y="0"/>
                </a:lnTo>
                <a:lnTo>
                  <a:pt x="191" y="3"/>
                </a:lnTo>
                <a:lnTo>
                  <a:pt x="191" y="0"/>
                </a:lnTo>
                <a:lnTo>
                  <a:pt x="194" y="3"/>
                </a:lnTo>
                <a:lnTo>
                  <a:pt x="197" y="3"/>
                </a:lnTo>
                <a:lnTo>
                  <a:pt x="200" y="3"/>
                </a:lnTo>
                <a:lnTo>
                  <a:pt x="200" y="3"/>
                </a:lnTo>
                <a:lnTo>
                  <a:pt x="200" y="6"/>
                </a:lnTo>
                <a:lnTo>
                  <a:pt x="197" y="9"/>
                </a:lnTo>
                <a:lnTo>
                  <a:pt x="197" y="12"/>
                </a:lnTo>
                <a:lnTo>
                  <a:pt x="197" y="15"/>
                </a:lnTo>
                <a:lnTo>
                  <a:pt x="197" y="18"/>
                </a:lnTo>
                <a:lnTo>
                  <a:pt x="200" y="18"/>
                </a:lnTo>
                <a:lnTo>
                  <a:pt x="200" y="18"/>
                </a:lnTo>
                <a:lnTo>
                  <a:pt x="197" y="22"/>
                </a:lnTo>
                <a:lnTo>
                  <a:pt x="197" y="25"/>
                </a:lnTo>
                <a:lnTo>
                  <a:pt x="197" y="28"/>
                </a:lnTo>
                <a:lnTo>
                  <a:pt x="200" y="31"/>
                </a:lnTo>
                <a:lnTo>
                  <a:pt x="197" y="34"/>
                </a:lnTo>
                <a:lnTo>
                  <a:pt x="200" y="34"/>
                </a:lnTo>
                <a:lnTo>
                  <a:pt x="200" y="31"/>
                </a:lnTo>
                <a:lnTo>
                  <a:pt x="200" y="31"/>
                </a:lnTo>
                <a:lnTo>
                  <a:pt x="204" y="34"/>
                </a:lnTo>
                <a:lnTo>
                  <a:pt x="200" y="34"/>
                </a:lnTo>
                <a:lnTo>
                  <a:pt x="200" y="34"/>
                </a:lnTo>
                <a:lnTo>
                  <a:pt x="197" y="34"/>
                </a:lnTo>
                <a:lnTo>
                  <a:pt x="197" y="34"/>
                </a:lnTo>
                <a:lnTo>
                  <a:pt x="194" y="40"/>
                </a:lnTo>
                <a:lnTo>
                  <a:pt x="194" y="43"/>
                </a:lnTo>
                <a:lnTo>
                  <a:pt x="194" y="47"/>
                </a:lnTo>
                <a:lnTo>
                  <a:pt x="194" y="50"/>
                </a:lnTo>
                <a:lnTo>
                  <a:pt x="194" y="53"/>
                </a:lnTo>
                <a:lnTo>
                  <a:pt x="188" y="62"/>
                </a:lnTo>
                <a:lnTo>
                  <a:pt x="182" y="75"/>
                </a:lnTo>
                <a:lnTo>
                  <a:pt x="179" y="78"/>
                </a:lnTo>
                <a:lnTo>
                  <a:pt x="179" y="78"/>
                </a:lnTo>
                <a:lnTo>
                  <a:pt x="172" y="81"/>
                </a:lnTo>
                <a:lnTo>
                  <a:pt x="172" y="84"/>
                </a:lnTo>
                <a:lnTo>
                  <a:pt x="175" y="87"/>
                </a:lnTo>
                <a:lnTo>
                  <a:pt x="172" y="87"/>
                </a:lnTo>
                <a:lnTo>
                  <a:pt x="160" y="109"/>
                </a:lnTo>
                <a:lnTo>
                  <a:pt x="160" y="115"/>
                </a:lnTo>
                <a:lnTo>
                  <a:pt x="154" y="125"/>
                </a:lnTo>
                <a:lnTo>
                  <a:pt x="154" y="128"/>
                </a:lnTo>
                <a:lnTo>
                  <a:pt x="141" y="147"/>
                </a:lnTo>
                <a:lnTo>
                  <a:pt x="138" y="153"/>
                </a:lnTo>
                <a:lnTo>
                  <a:pt x="132" y="159"/>
                </a:lnTo>
                <a:lnTo>
                  <a:pt x="122" y="172"/>
                </a:lnTo>
                <a:lnTo>
                  <a:pt x="100" y="191"/>
                </a:lnTo>
                <a:lnTo>
                  <a:pt x="91" y="197"/>
                </a:lnTo>
                <a:lnTo>
                  <a:pt x="85" y="200"/>
                </a:lnTo>
                <a:lnTo>
                  <a:pt x="79" y="203"/>
                </a:lnTo>
                <a:lnTo>
                  <a:pt x="72" y="209"/>
                </a:lnTo>
                <a:lnTo>
                  <a:pt x="60" y="222"/>
                </a:lnTo>
                <a:lnTo>
                  <a:pt x="57" y="222"/>
                </a:lnTo>
                <a:lnTo>
                  <a:pt x="44" y="234"/>
                </a:lnTo>
                <a:lnTo>
                  <a:pt x="44" y="237"/>
                </a:lnTo>
                <a:lnTo>
                  <a:pt x="41" y="241"/>
                </a:lnTo>
                <a:lnTo>
                  <a:pt x="38" y="241"/>
                </a:lnTo>
                <a:lnTo>
                  <a:pt x="32" y="244"/>
                </a:lnTo>
                <a:lnTo>
                  <a:pt x="32" y="250"/>
                </a:lnTo>
                <a:lnTo>
                  <a:pt x="16" y="266"/>
                </a:lnTo>
                <a:lnTo>
                  <a:pt x="16" y="269"/>
                </a:lnTo>
                <a:lnTo>
                  <a:pt x="0" y="256"/>
                </a:lnTo>
                <a:lnTo>
                  <a:pt x="0" y="178"/>
                </a:lnTo>
                <a:lnTo>
                  <a:pt x="19" y="159"/>
                </a:lnTo>
                <a:lnTo>
                  <a:pt x="19" y="159"/>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1" name="Freeform 109">
            <a:extLst>
              <a:ext uri="{FF2B5EF4-FFF2-40B4-BE49-F238E27FC236}">
                <a16:creationId xmlns:a16="http://schemas.microsoft.com/office/drawing/2014/main" id="{03582BF7-9EC8-C967-E3A8-F7D8EE4EBBC9}"/>
              </a:ext>
            </a:extLst>
          </p:cNvPr>
          <p:cNvSpPr>
            <a:spLocks noEditPoints="1"/>
          </p:cNvSpPr>
          <p:nvPr userDrawn="1"/>
        </p:nvSpPr>
        <p:spPr bwMode="auto">
          <a:xfrm>
            <a:off x="15134244" y="9028982"/>
            <a:ext cx="654007" cy="635000"/>
          </a:xfrm>
          <a:custGeom>
            <a:avLst/>
            <a:gdLst>
              <a:gd name="T0" fmla="*/ 53 w 206"/>
              <a:gd name="T1" fmla="*/ 22 h 200"/>
              <a:gd name="T2" fmla="*/ 56 w 206"/>
              <a:gd name="T3" fmla="*/ 19 h 200"/>
              <a:gd name="T4" fmla="*/ 62 w 206"/>
              <a:gd name="T5" fmla="*/ 16 h 200"/>
              <a:gd name="T6" fmla="*/ 75 w 206"/>
              <a:gd name="T7" fmla="*/ 0 h 200"/>
              <a:gd name="T8" fmla="*/ 81 w 206"/>
              <a:gd name="T9" fmla="*/ 3 h 200"/>
              <a:gd name="T10" fmla="*/ 84 w 206"/>
              <a:gd name="T11" fmla="*/ 16 h 200"/>
              <a:gd name="T12" fmla="*/ 91 w 206"/>
              <a:gd name="T13" fmla="*/ 22 h 200"/>
              <a:gd name="T14" fmla="*/ 100 w 206"/>
              <a:gd name="T15" fmla="*/ 19 h 200"/>
              <a:gd name="T16" fmla="*/ 116 w 206"/>
              <a:gd name="T17" fmla="*/ 22 h 200"/>
              <a:gd name="T18" fmla="*/ 128 w 206"/>
              <a:gd name="T19" fmla="*/ 34 h 200"/>
              <a:gd name="T20" fmla="*/ 134 w 206"/>
              <a:gd name="T21" fmla="*/ 37 h 200"/>
              <a:gd name="T22" fmla="*/ 144 w 206"/>
              <a:gd name="T23" fmla="*/ 41 h 200"/>
              <a:gd name="T24" fmla="*/ 153 w 206"/>
              <a:gd name="T25" fmla="*/ 41 h 200"/>
              <a:gd name="T26" fmla="*/ 159 w 206"/>
              <a:gd name="T27" fmla="*/ 41 h 200"/>
              <a:gd name="T28" fmla="*/ 169 w 206"/>
              <a:gd name="T29" fmla="*/ 28 h 200"/>
              <a:gd name="T30" fmla="*/ 175 w 206"/>
              <a:gd name="T31" fmla="*/ 28 h 200"/>
              <a:gd name="T32" fmla="*/ 184 w 206"/>
              <a:gd name="T33" fmla="*/ 25 h 200"/>
              <a:gd name="T34" fmla="*/ 191 w 206"/>
              <a:gd name="T35" fmla="*/ 31 h 200"/>
              <a:gd name="T36" fmla="*/ 200 w 206"/>
              <a:gd name="T37" fmla="*/ 31 h 200"/>
              <a:gd name="T38" fmla="*/ 187 w 206"/>
              <a:gd name="T39" fmla="*/ 50 h 200"/>
              <a:gd name="T40" fmla="*/ 203 w 206"/>
              <a:gd name="T41" fmla="*/ 141 h 200"/>
              <a:gd name="T42" fmla="*/ 194 w 206"/>
              <a:gd name="T43" fmla="*/ 147 h 200"/>
              <a:gd name="T44" fmla="*/ 191 w 206"/>
              <a:gd name="T45" fmla="*/ 150 h 200"/>
              <a:gd name="T46" fmla="*/ 184 w 206"/>
              <a:gd name="T47" fmla="*/ 156 h 200"/>
              <a:gd name="T48" fmla="*/ 175 w 206"/>
              <a:gd name="T49" fmla="*/ 159 h 200"/>
              <a:gd name="T50" fmla="*/ 175 w 206"/>
              <a:gd name="T51" fmla="*/ 163 h 200"/>
              <a:gd name="T52" fmla="*/ 172 w 206"/>
              <a:gd name="T53" fmla="*/ 169 h 200"/>
              <a:gd name="T54" fmla="*/ 169 w 206"/>
              <a:gd name="T55" fmla="*/ 175 h 200"/>
              <a:gd name="T56" fmla="*/ 166 w 206"/>
              <a:gd name="T57" fmla="*/ 181 h 200"/>
              <a:gd name="T58" fmla="*/ 156 w 206"/>
              <a:gd name="T59" fmla="*/ 200 h 200"/>
              <a:gd name="T60" fmla="*/ 150 w 206"/>
              <a:gd name="T61" fmla="*/ 200 h 200"/>
              <a:gd name="T62" fmla="*/ 125 w 206"/>
              <a:gd name="T63" fmla="*/ 181 h 200"/>
              <a:gd name="T64" fmla="*/ 125 w 206"/>
              <a:gd name="T65" fmla="*/ 178 h 200"/>
              <a:gd name="T66" fmla="*/ 47 w 206"/>
              <a:gd name="T67" fmla="*/ 128 h 200"/>
              <a:gd name="T68" fmla="*/ 47 w 206"/>
              <a:gd name="T69" fmla="*/ 109 h 200"/>
              <a:gd name="T70" fmla="*/ 53 w 206"/>
              <a:gd name="T71" fmla="*/ 100 h 200"/>
              <a:gd name="T72" fmla="*/ 56 w 206"/>
              <a:gd name="T73" fmla="*/ 94 h 200"/>
              <a:gd name="T74" fmla="*/ 62 w 206"/>
              <a:gd name="T75" fmla="*/ 88 h 200"/>
              <a:gd name="T76" fmla="*/ 69 w 206"/>
              <a:gd name="T77" fmla="*/ 84 h 200"/>
              <a:gd name="T78" fmla="*/ 69 w 206"/>
              <a:gd name="T79" fmla="*/ 78 h 200"/>
              <a:gd name="T80" fmla="*/ 75 w 206"/>
              <a:gd name="T81" fmla="*/ 69 h 200"/>
              <a:gd name="T82" fmla="*/ 69 w 206"/>
              <a:gd name="T83" fmla="*/ 63 h 200"/>
              <a:gd name="T84" fmla="*/ 69 w 206"/>
              <a:gd name="T85" fmla="*/ 59 h 200"/>
              <a:gd name="T86" fmla="*/ 65 w 206"/>
              <a:gd name="T87" fmla="*/ 50 h 200"/>
              <a:gd name="T88" fmla="*/ 59 w 206"/>
              <a:gd name="T89" fmla="*/ 44 h 200"/>
              <a:gd name="T90" fmla="*/ 56 w 206"/>
              <a:gd name="T91" fmla="*/ 37 h 200"/>
              <a:gd name="T92" fmla="*/ 53 w 206"/>
              <a:gd name="T93" fmla="*/ 34 h 200"/>
              <a:gd name="T94" fmla="*/ 50 w 206"/>
              <a:gd name="T95" fmla="*/ 25 h 200"/>
              <a:gd name="T96" fmla="*/ 50 w 206"/>
              <a:gd name="T97" fmla="*/ 25 h 200"/>
              <a:gd name="T98" fmla="*/ 0 w 206"/>
              <a:gd name="T99" fmla="*/ 131 h 200"/>
              <a:gd name="T100" fmla="*/ 15 w 206"/>
              <a:gd name="T101" fmla="*/ 131 h 200"/>
              <a:gd name="T102" fmla="*/ 0 w 206"/>
              <a:gd name="T103" fmla="*/ 13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6" h="200">
                <a:moveTo>
                  <a:pt x="50" y="25"/>
                </a:moveTo>
                <a:lnTo>
                  <a:pt x="53" y="22"/>
                </a:lnTo>
                <a:lnTo>
                  <a:pt x="56" y="22"/>
                </a:lnTo>
                <a:lnTo>
                  <a:pt x="56" y="19"/>
                </a:lnTo>
                <a:lnTo>
                  <a:pt x="59" y="16"/>
                </a:lnTo>
                <a:lnTo>
                  <a:pt x="62" y="16"/>
                </a:lnTo>
                <a:lnTo>
                  <a:pt x="69" y="9"/>
                </a:lnTo>
                <a:lnTo>
                  <a:pt x="75" y="0"/>
                </a:lnTo>
                <a:lnTo>
                  <a:pt x="78" y="3"/>
                </a:lnTo>
                <a:lnTo>
                  <a:pt x="81" y="3"/>
                </a:lnTo>
                <a:lnTo>
                  <a:pt x="84" y="3"/>
                </a:lnTo>
                <a:lnTo>
                  <a:pt x="84" y="16"/>
                </a:lnTo>
                <a:lnTo>
                  <a:pt x="87" y="19"/>
                </a:lnTo>
                <a:lnTo>
                  <a:pt x="91" y="22"/>
                </a:lnTo>
                <a:lnTo>
                  <a:pt x="97" y="19"/>
                </a:lnTo>
                <a:lnTo>
                  <a:pt x="100" y="19"/>
                </a:lnTo>
                <a:lnTo>
                  <a:pt x="109" y="19"/>
                </a:lnTo>
                <a:lnTo>
                  <a:pt x="116" y="22"/>
                </a:lnTo>
                <a:lnTo>
                  <a:pt x="122" y="28"/>
                </a:lnTo>
                <a:lnTo>
                  <a:pt x="128" y="34"/>
                </a:lnTo>
                <a:lnTo>
                  <a:pt x="131" y="37"/>
                </a:lnTo>
                <a:lnTo>
                  <a:pt x="134" y="37"/>
                </a:lnTo>
                <a:lnTo>
                  <a:pt x="141" y="37"/>
                </a:lnTo>
                <a:lnTo>
                  <a:pt x="144" y="41"/>
                </a:lnTo>
                <a:lnTo>
                  <a:pt x="150" y="37"/>
                </a:lnTo>
                <a:lnTo>
                  <a:pt x="153" y="41"/>
                </a:lnTo>
                <a:lnTo>
                  <a:pt x="156" y="41"/>
                </a:lnTo>
                <a:lnTo>
                  <a:pt x="159" y="41"/>
                </a:lnTo>
                <a:lnTo>
                  <a:pt x="166" y="31"/>
                </a:lnTo>
                <a:lnTo>
                  <a:pt x="169" y="28"/>
                </a:lnTo>
                <a:lnTo>
                  <a:pt x="172" y="28"/>
                </a:lnTo>
                <a:lnTo>
                  <a:pt x="175" y="28"/>
                </a:lnTo>
                <a:lnTo>
                  <a:pt x="175" y="25"/>
                </a:lnTo>
                <a:lnTo>
                  <a:pt x="184" y="25"/>
                </a:lnTo>
                <a:lnTo>
                  <a:pt x="187" y="28"/>
                </a:lnTo>
                <a:lnTo>
                  <a:pt x="191" y="31"/>
                </a:lnTo>
                <a:lnTo>
                  <a:pt x="194" y="31"/>
                </a:lnTo>
                <a:lnTo>
                  <a:pt x="200" y="31"/>
                </a:lnTo>
                <a:lnTo>
                  <a:pt x="206" y="31"/>
                </a:lnTo>
                <a:lnTo>
                  <a:pt x="187" y="50"/>
                </a:lnTo>
                <a:lnTo>
                  <a:pt x="187" y="128"/>
                </a:lnTo>
                <a:lnTo>
                  <a:pt x="203" y="141"/>
                </a:lnTo>
                <a:lnTo>
                  <a:pt x="203" y="141"/>
                </a:lnTo>
                <a:lnTo>
                  <a:pt x="194" y="147"/>
                </a:lnTo>
                <a:lnTo>
                  <a:pt x="194" y="150"/>
                </a:lnTo>
                <a:lnTo>
                  <a:pt x="191" y="150"/>
                </a:lnTo>
                <a:lnTo>
                  <a:pt x="194" y="153"/>
                </a:lnTo>
                <a:lnTo>
                  <a:pt x="184" y="156"/>
                </a:lnTo>
                <a:lnTo>
                  <a:pt x="181" y="159"/>
                </a:lnTo>
                <a:lnTo>
                  <a:pt x="175" y="159"/>
                </a:lnTo>
                <a:lnTo>
                  <a:pt x="175" y="163"/>
                </a:lnTo>
                <a:lnTo>
                  <a:pt x="175" y="163"/>
                </a:lnTo>
                <a:lnTo>
                  <a:pt x="172" y="166"/>
                </a:lnTo>
                <a:lnTo>
                  <a:pt x="172" y="169"/>
                </a:lnTo>
                <a:lnTo>
                  <a:pt x="172" y="169"/>
                </a:lnTo>
                <a:lnTo>
                  <a:pt x="169" y="175"/>
                </a:lnTo>
                <a:lnTo>
                  <a:pt x="166" y="178"/>
                </a:lnTo>
                <a:lnTo>
                  <a:pt x="166" y="181"/>
                </a:lnTo>
                <a:lnTo>
                  <a:pt x="162" y="188"/>
                </a:lnTo>
                <a:lnTo>
                  <a:pt x="156" y="200"/>
                </a:lnTo>
                <a:lnTo>
                  <a:pt x="150" y="200"/>
                </a:lnTo>
                <a:lnTo>
                  <a:pt x="150" y="200"/>
                </a:lnTo>
                <a:lnTo>
                  <a:pt x="125" y="185"/>
                </a:lnTo>
                <a:lnTo>
                  <a:pt x="125" y="181"/>
                </a:lnTo>
                <a:lnTo>
                  <a:pt x="122" y="178"/>
                </a:lnTo>
                <a:lnTo>
                  <a:pt x="125" y="178"/>
                </a:lnTo>
                <a:lnTo>
                  <a:pt x="119" y="172"/>
                </a:lnTo>
                <a:lnTo>
                  <a:pt x="47" y="128"/>
                </a:lnTo>
                <a:lnTo>
                  <a:pt x="44" y="128"/>
                </a:lnTo>
                <a:lnTo>
                  <a:pt x="47" y="109"/>
                </a:lnTo>
                <a:lnTo>
                  <a:pt x="47" y="103"/>
                </a:lnTo>
                <a:lnTo>
                  <a:pt x="53" y="100"/>
                </a:lnTo>
                <a:lnTo>
                  <a:pt x="53" y="97"/>
                </a:lnTo>
                <a:lnTo>
                  <a:pt x="56" y="94"/>
                </a:lnTo>
                <a:lnTo>
                  <a:pt x="59" y="91"/>
                </a:lnTo>
                <a:lnTo>
                  <a:pt x="62" y="88"/>
                </a:lnTo>
                <a:lnTo>
                  <a:pt x="59" y="84"/>
                </a:lnTo>
                <a:lnTo>
                  <a:pt x="69" y="84"/>
                </a:lnTo>
                <a:lnTo>
                  <a:pt x="69" y="81"/>
                </a:lnTo>
                <a:lnTo>
                  <a:pt x="69" y="78"/>
                </a:lnTo>
                <a:lnTo>
                  <a:pt x="75" y="72"/>
                </a:lnTo>
                <a:lnTo>
                  <a:pt x="75" y="69"/>
                </a:lnTo>
                <a:lnTo>
                  <a:pt x="72" y="66"/>
                </a:lnTo>
                <a:lnTo>
                  <a:pt x="69" y="63"/>
                </a:lnTo>
                <a:lnTo>
                  <a:pt x="72" y="59"/>
                </a:lnTo>
                <a:lnTo>
                  <a:pt x="69" y="59"/>
                </a:lnTo>
                <a:lnTo>
                  <a:pt x="65" y="56"/>
                </a:lnTo>
                <a:lnTo>
                  <a:pt x="65" y="50"/>
                </a:lnTo>
                <a:lnTo>
                  <a:pt x="59" y="47"/>
                </a:lnTo>
                <a:lnTo>
                  <a:pt x="59" y="44"/>
                </a:lnTo>
                <a:lnTo>
                  <a:pt x="59" y="37"/>
                </a:lnTo>
                <a:lnTo>
                  <a:pt x="56" y="37"/>
                </a:lnTo>
                <a:lnTo>
                  <a:pt x="56" y="34"/>
                </a:lnTo>
                <a:lnTo>
                  <a:pt x="53" y="34"/>
                </a:lnTo>
                <a:lnTo>
                  <a:pt x="53" y="28"/>
                </a:lnTo>
                <a:lnTo>
                  <a:pt x="50" y="25"/>
                </a:lnTo>
                <a:lnTo>
                  <a:pt x="50" y="25"/>
                </a:lnTo>
                <a:lnTo>
                  <a:pt x="50" y="25"/>
                </a:lnTo>
                <a:lnTo>
                  <a:pt x="50" y="25"/>
                </a:lnTo>
                <a:close/>
                <a:moveTo>
                  <a:pt x="0" y="131"/>
                </a:moveTo>
                <a:lnTo>
                  <a:pt x="6" y="131"/>
                </a:lnTo>
                <a:lnTo>
                  <a:pt x="15" y="131"/>
                </a:lnTo>
                <a:lnTo>
                  <a:pt x="0" y="131"/>
                </a:lnTo>
                <a:lnTo>
                  <a:pt x="0" y="131"/>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2" name="Freeform 110">
            <a:extLst>
              <a:ext uri="{FF2B5EF4-FFF2-40B4-BE49-F238E27FC236}">
                <a16:creationId xmlns:a16="http://schemas.microsoft.com/office/drawing/2014/main" id="{E0EBD3E9-9003-52B9-FA3B-D9676863D9F0}"/>
              </a:ext>
            </a:extLst>
          </p:cNvPr>
          <p:cNvSpPr>
            <a:spLocks/>
          </p:cNvSpPr>
          <p:nvPr userDrawn="1"/>
        </p:nvSpPr>
        <p:spPr bwMode="auto">
          <a:xfrm>
            <a:off x="15004070" y="9108358"/>
            <a:ext cx="368278" cy="358776"/>
          </a:xfrm>
          <a:custGeom>
            <a:avLst/>
            <a:gdLst>
              <a:gd name="T0" fmla="*/ 88 w 116"/>
              <a:gd name="T1" fmla="*/ 78 h 113"/>
              <a:gd name="T2" fmla="*/ 94 w 116"/>
              <a:gd name="T3" fmla="*/ 72 h 113"/>
              <a:gd name="T4" fmla="*/ 100 w 116"/>
              <a:gd name="T5" fmla="*/ 66 h 113"/>
              <a:gd name="T6" fmla="*/ 100 w 116"/>
              <a:gd name="T7" fmla="*/ 59 h 113"/>
              <a:gd name="T8" fmla="*/ 110 w 116"/>
              <a:gd name="T9" fmla="*/ 56 h 113"/>
              <a:gd name="T10" fmla="*/ 116 w 116"/>
              <a:gd name="T11" fmla="*/ 47 h 113"/>
              <a:gd name="T12" fmla="*/ 113 w 116"/>
              <a:gd name="T13" fmla="*/ 41 h 113"/>
              <a:gd name="T14" fmla="*/ 113 w 116"/>
              <a:gd name="T15" fmla="*/ 34 h 113"/>
              <a:gd name="T16" fmla="*/ 106 w 116"/>
              <a:gd name="T17" fmla="*/ 31 h 113"/>
              <a:gd name="T18" fmla="*/ 100 w 116"/>
              <a:gd name="T19" fmla="*/ 22 h 113"/>
              <a:gd name="T20" fmla="*/ 100 w 116"/>
              <a:gd name="T21" fmla="*/ 12 h 113"/>
              <a:gd name="T22" fmla="*/ 97 w 116"/>
              <a:gd name="T23" fmla="*/ 9 h 113"/>
              <a:gd name="T24" fmla="*/ 94 w 116"/>
              <a:gd name="T25" fmla="*/ 3 h 113"/>
              <a:gd name="T26" fmla="*/ 88 w 116"/>
              <a:gd name="T27" fmla="*/ 3 h 113"/>
              <a:gd name="T28" fmla="*/ 81 w 116"/>
              <a:gd name="T29" fmla="*/ 9 h 113"/>
              <a:gd name="T30" fmla="*/ 69 w 116"/>
              <a:gd name="T31" fmla="*/ 9 h 113"/>
              <a:gd name="T32" fmla="*/ 63 w 116"/>
              <a:gd name="T33" fmla="*/ 9 h 113"/>
              <a:gd name="T34" fmla="*/ 56 w 116"/>
              <a:gd name="T35" fmla="*/ 9 h 113"/>
              <a:gd name="T36" fmla="*/ 56 w 116"/>
              <a:gd name="T37" fmla="*/ 16 h 113"/>
              <a:gd name="T38" fmla="*/ 47 w 116"/>
              <a:gd name="T39" fmla="*/ 16 h 113"/>
              <a:gd name="T40" fmla="*/ 44 w 116"/>
              <a:gd name="T41" fmla="*/ 9 h 113"/>
              <a:gd name="T42" fmla="*/ 38 w 116"/>
              <a:gd name="T43" fmla="*/ 9 h 113"/>
              <a:gd name="T44" fmla="*/ 31 w 116"/>
              <a:gd name="T45" fmla="*/ 9 h 113"/>
              <a:gd name="T46" fmla="*/ 31 w 116"/>
              <a:gd name="T47" fmla="*/ 16 h 113"/>
              <a:gd name="T48" fmla="*/ 31 w 116"/>
              <a:gd name="T49" fmla="*/ 16 h 113"/>
              <a:gd name="T50" fmla="*/ 28 w 116"/>
              <a:gd name="T51" fmla="*/ 22 h 113"/>
              <a:gd name="T52" fmla="*/ 25 w 116"/>
              <a:gd name="T53" fmla="*/ 34 h 113"/>
              <a:gd name="T54" fmla="*/ 28 w 116"/>
              <a:gd name="T55" fmla="*/ 41 h 113"/>
              <a:gd name="T56" fmla="*/ 31 w 116"/>
              <a:gd name="T57" fmla="*/ 47 h 113"/>
              <a:gd name="T58" fmla="*/ 22 w 116"/>
              <a:gd name="T59" fmla="*/ 63 h 113"/>
              <a:gd name="T60" fmla="*/ 13 w 116"/>
              <a:gd name="T61" fmla="*/ 72 h 113"/>
              <a:gd name="T62" fmla="*/ 3 w 116"/>
              <a:gd name="T63" fmla="*/ 88 h 113"/>
              <a:gd name="T64" fmla="*/ 3 w 116"/>
              <a:gd name="T65" fmla="*/ 100 h 113"/>
              <a:gd name="T66" fmla="*/ 0 w 116"/>
              <a:gd name="T67" fmla="*/ 113 h 113"/>
              <a:gd name="T68" fmla="*/ 0 w 116"/>
              <a:gd name="T69" fmla="*/ 113 h 113"/>
              <a:gd name="T70" fmla="*/ 10 w 116"/>
              <a:gd name="T71" fmla="*/ 109 h 113"/>
              <a:gd name="T72" fmla="*/ 13 w 116"/>
              <a:gd name="T73" fmla="*/ 113 h 113"/>
              <a:gd name="T74" fmla="*/ 16 w 116"/>
              <a:gd name="T75" fmla="*/ 113 h 113"/>
              <a:gd name="T76" fmla="*/ 19 w 116"/>
              <a:gd name="T77" fmla="*/ 109 h 113"/>
              <a:gd name="T78" fmla="*/ 22 w 116"/>
              <a:gd name="T79" fmla="*/ 106 h 113"/>
              <a:gd name="T80" fmla="*/ 25 w 116"/>
              <a:gd name="T81" fmla="*/ 106 h 113"/>
              <a:gd name="T82" fmla="*/ 41 w 116"/>
              <a:gd name="T83" fmla="*/ 106 h 113"/>
              <a:gd name="T84" fmla="*/ 85 w 116"/>
              <a:gd name="T85" fmla="*/ 10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6" h="113">
                <a:moveTo>
                  <a:pt x="88" y="84"/>
                </a:moveTo>
                <a:lnTo>
                  <a:pt x="88" y="78"/>
                </a:lnTo>
                <a:lnTo>
                  <a:pt x="94" y="75"/>
                </a:lnTo>
                <a:lnTo>
                  <a:pt x="94" y="72"/>
                </a:lnTo>
                <a:lnTo>
                  <a:pt x="97" y="69"/>
                </a:lnTo>
                <a:lnTo>
                  <a:pt x="100" y="66"/>
                </a:lnTo>
                <a:lnTo>
                  <a:pt x="103" y="63"/>
                </a:lnTo>
                <a:lnTo>
                  <a:pt x="100" y="59"/>
                </a:lnTo>
                <a:lnTo>
                  <a:pt x="110" y="59"/>
                </a:lnTo>
                <a:lnTo>
                  <a:pt x="110" y="56"/>
                </a:lnTo>
                <a:lnTo>
                  <a:pt x="110" y="53"/>
                </a:lnTo>
                <a:lnTo>
                  <a:pt x="116" y="47"/>
                </a:lnTo>
                <a:lnTo>
                  <a:pt x="116" y="44"/>
                </a:lnTo>
                <a:lnTo>
                  <a:pt x="113" y="41"/>
                </a:lnTo>
                <a:lnTo>
                  <a:pt x="110" y="38"/>
                </a:lnTo>
                <a:lnTo>
                  <a:pt x="113" y="34"/>
                </a:lnTo>
                <a:lnTo>
                  <a:pt x="110" y="34"/>
                </a:lnTo>
                <a:lnTo>
                  <a:pt x="106" y="31"/>
                </a:lnTo>
                <a:lnTo>
                  <a:pt x="106" y="25"/>
                </a:lnTo>
                <a:lnTo>
                  <a:pt x="100" y="22"/>
                </a:lnTo>
                <a:lnTo>
                  <a:pt x="100" y="19"/>
                </a:lnTo>
                <a:lnTo>
                  <a:pt x="100" y="12"/>
                </a:lnTo>
                <a:lnTo>
                  <a:pt x="97" y="12"/>
                </a:lnTo>
                <a:lnTo>
                  <a:pt x="97" y="9"/>
                </a:lnTo>
                <a:lnTo>
                  <a:pt x="94" y="9"/>
                </a:lnTo>
                <a:lnTo>
                  <a:pt x="94" y="3"/>
                </a:lnTo>
                <a:lnTo>
                  <a:pt x="91" y="0"/>
                </a:lnTo>
                <a:lnTo>
                  <a:pt x="88" y="3"/>
                </a:lnTo>
                <a:lnTo>
                  <a:pt x="85" y="6"/>
                </a:lnTo>
                <a:lnTo>
                  <a:pt x="81" y="9"/>
                </a:lnTo>
                <a:lnTo>
                  <a:pt x="75" y="9"/>
                </a:lnTo>
                <a:lnTo>
                  <a:pt x="69" y="9"/>
                </a:lnTo>
                <a:lnTo>
                  <a:pt x="66" y="9"/>
                </a:lnTo>
                <a:lnTo>
                  <a:pt x="63" y="9"/>
                </a:lnTo>
                <a:lnTo>
                  <a:pt x="60" y="12"/>
                </a:lnTo>
                <a:lnTo>
                  <a:pt x="56" y="9"/>
                </a:lnTo>
                <a:lnTo>
                  <a:pt x="56" y="12"/>
                </a:lnTo>
                <a:lnTo>
                  <a:pt x="56" y="16"/>
                </a:lnTo>
                <a:lnTo>
                  <a:pt x="53" y="16"/>
                </a:lnTo>
                <a:lnTo>
                  <a:pt x="47" y="16"/>
                </a:lnTo>
                <a:lnTo>
                  <a:pt x="47" y="12"/>
                </a:lnTo>
                <a:lnTo>
                  <a:pt x="44" y="9"/>
                </a:lnTo>
                <a:lnTo>
                  <a:pt x="41" y="12"/>
                </a:lnTo>
                <a:lnTo>
                  <a:pt x="38" y="9"/>
                </a:lnTo>
                <a:lnTo>
                  <a:pt x="31" y="9"/>
                </a:lnTo>
                <a:lnTo>
                  <a:pt x="31" y="9"/>
                </a:lnTo>
                <a:lnTo>
                  <a:pt x="31" y="12"/>
                </a:lnTo>
                <a:lnTo>
                  <a:pt x="31" y="16"/>
                </a:lnTo>
                <a:lnTo>
                  <a:pt x="31" y="16"/>
                </a:lnTo>
                <a:lnTo>
                  <a:pt x="31" y="16"/>
                </a:lnTo>
                <a:lnTo>
                  <a:pt x="28" y="19"/>
                </a:lnTo>
                <a:lnTo>
                  <a:pt x="28" y="22"/>
                </a:lnTo>
                <a:lnTo>
                  <a:pt x="28" y="28"/>
                </a:lnTo>
                <a:lnTo>
                  <a:pt x="25" y="34"/>
                </a:lnTo>
                <a:lnTo>
                  <a:pt x="25" y="38"/>
                </a:lnTo>
                <a:lnTo>
                  <a:pt x="28" y="41"/>
                </a:lnTo>
                <a:lnTo>
                  <a:pt x="31" y="44"/>
                </a:lnTo>
                <a:lnTo>
                  <a:pt x="31" y="47"/>
                </a:lnTo>
                <a:lnTo>
                  <a:pt x="31" y="50"/>
                </a:lnTo>
                <a:lnTo>
                  <a:pt x="22" y="63"/>
                </a:lnTo>
                <a:lnTo>
                  <a:pt x="16" y="69"/>
                </a:lnTo>
                <a:lnTo>
                  <a:pt x="13" y="72"/>
                </a:lnTo>
                <a:lnTo>
                  <a:pt x="6" y="84"/>
                </a:lnTo>
                <a:lnTo>
                  <a:pt x="3" y="88"/>
                </a:lnTo>
                <a:lnTo>
                  <a:pt x="3" y="94"/>
                </a:lnTo>
                <a:lnTo>
                  <a:pt x="3" y="100"/>
                </a:lnTo>
                <a:lnTo>
                  <a:pt x="0" y="106"/>
                </a:lnTo>
                <a:lnTo>
                  <a:pt x="0" y="113"/>
                </a:lnTo>
                <a:lnTo>
                  <a:pt x="0" y="113"/>
                </a:lnTo>
                <a:lnTo>
                  <a:pt x="0" y="113"/>
                </a:lnTo>
                <a:lnTo>
                  <a:pt x="3" y="113"/>
                </a:lnTo>
                <a:lnTo>
                  <a:pt x="10" y="109"/>
                </a:lnTo>
                <a:lnTo>
                  <a:pt x="10" y="113"/>
                </a:lnTo>
                <a:lnTo>
                  <a:pt x="13" y="113"/>
                </a:lnTo>
                <a:lnTo>
                  <a:pt x="16" y="113"/>
                </a:lnTo>
                <a:lnTo>
                  <a:pt x="16" y="113"/>
                </a:lnTo>
                <a:lnTo>
                  <a:pt x="16" y="109"/>
                </a:lnTo>
                <a:lnTo>
                  <a:pt x="19" y="109"/>
                </a:lnTo>
                <a:lnTo>
                  <a:pt x="19" y="109"/>
                </a:lnTo>
                <a:lnTo>
                  <a:pt x="22" y="106"/>
                </a:lnTo>
                <a:lnTo>
                  <a:pt x="22" y="106"/>
                </a:lnTo>
                <a:lnTo>
                  <a:pt x="25" y="106"/>
                </a:lnTo>
                <a:lnTo>
                  <a:pt x="41" y="106"/>
                </a:lnTo>
                <a:lnTo>
                  <a:pt x="41" y="106"/>
                </a:lnTo>
                <a:lnTo>
                  <a:pt x="56" y="106"/>
                </a:lnTo>
                <a:lnTo>
                  <a:pt x="85" y="103"/>
                </a:lnTo>
                <a:lnTo>
                  <a:pt x="88" y="84"/>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3" name="Freeform 111">
            <a:extLst>
              <a:ext uri="{FF2B5EF4-FFF2-40B4-BE49-F238E27FC236}">
                <a16:creationId xmlns:a16="http://schemas.microsoft.com/office/drawing/2014/main" id="{DB9F04C6-5A37-A0A1-C344-0C16117E3E28}"/>
              </a:ext>
            </a:extLst>
          </p:cNvPr>
          <p:cNvSpPr>
            <a:spLocks/>
          </p:cNvSpPr>
          <p:nvPr userDrawn="1"/>
        </p:nvSpPr>
        <p:spPr bwMode="auto">
          <a:xfrm>
            <a:off x="14070682" y="8679737"/>
            <a:ext cx="815923" cy="549278"/>
          </a:xfrm>
          <a:custGeom>
            <a:avLst/>
            <a:gdLst>
              <a:gd name="T0" fmla="*/ 163 w 257"/>
              <a:gd name="T1" fmla="*/ 7 h 173"/>
              <a:gd name="T2" fmla="*/ 175 w 257"/>
              <a:gd name="T3" fmla="*/ 25 h 173"/>
              <a:gd name="T4" fmla="*/ 172 w 257"/>
              <a:gd name="T5" fmla="*/ 38 h 173"/>
              <a:gd name="T6" fmla="*/ 182 w 257"/>
              <a:gd name="T7" fmla="*/ 44 h 173"/>
              <a:gd name="T8" fmla="*/ 188 w 257"/>
              <a:gd name="T9" fmla="*/ 54 h 173"/>
              <a:gd name="T10" fmla="*/ 204 w 257"/>
              <a:gd name="T11" fmla="*/ 60 h 173"/>
              <a:gd name="T12" fmla="*/ 213 w 257"/>
              <a:gd name="T13" fmla="*/ 66 h 173"/>
              <a:gd name="T14" fmla="*/ 207 w 257"/>
              <a:gd name="T15" fmla="*/ 76 h 173"/>
              <a:gd name="T16" fmla="*/ 219 w 257"/>
              <a:gd name="T17" fmla="*/ 79 h 173"/>
              <a:gd name="T18" fmla="*/ 229 w 257"/>
              <a:gd name="T19" fmla="*/ 91 h 173"/>
              <a:gd name="T20" fmla="*/ 238 w 257"/>
              <a:gd name="T21" fmla="*/ 101 h 173"/>
              <a:gd name="T22" fmla="*/ 247 w 257"/>
              <a:gd name="T23" fmla="*/ 107 h 173"/>
              <a:gd name="T24" fmla="*/ 257 w 257"/>
              <a:gd name="T25" fmla="*/ 119 h 173"/>
              <a:gd name="T26" fmla="*/ 247 w 257"/>
              <a:gd name="T27" fmla="*/ 119 h 173"/>
              <a:gd name="T28" fmla="*/ 229 w 257"/>
              <a:gd name="T29" fmla="*/ 119 h 173"/>
              <a:gd name="T30" fmla="*/ 219 w 257"/>
              <a:gd name="T31" fmla="*/ 116 h 173"/>
              <a:gd name="T32" fmla="*/ 213 w 257"/>
              <a:gd name="T33" fmla="*/ 116 h 173"/>
              <a:gd name="T34" fmla="*/ 200 w 257"/>
              <a:gd name="T35" fmla="*/ 122 h 173"/>
              <a:gd name="T36" fmla="*/ 194 w 257"/>
              <a:gd name="T37" fmla="*/ 122 h 173"/>
              <a:gd name="T38" fmla="*/ 182 w 257"/>
              <a:gd name="T39" fmla="*/ 126 h 173"/>
              <a:gd name="T40" fmla="*/ 166 w 257"/>
              <a:gd name="T41" fmla="*/ 126 h 173"/>
              <a:gd name="T42" fmla="*/ 154 w 257"/>
              <a:gd name="T43" fmla="*/ 132 h 173"/>
              <a:gd name="T44" fmla="*/ 150 w 257"/>
              <a:gd name="T45" fmla="*/ 138 h 173"/>
              <a:gd name="T46" fmla="*/ 138 w 257"/>
              <a:gd name="T47" fmla="*/ 135 h 173"/>
              <a:gd name="T48" fmla="*/ 122 w 257"/>
              <a:gd name="T49" fmla="*/ 132 h 173"/>
              <a:gd name="T50" fmla="*/ 110 w 257"/>
              <a:gd name="T51" fmla="*/ 126 h 173"/>
              <a:gd name="T52" fmla="*/ 97 w 257"/>
              <a:gd name="T53" fmla="*/ 119 h 173"/>
              <a:gd name="T54" fmla="*/ 88 w 257"/>
              <a:gd name="T55" fmla="*/ 122 h 173"/>
              <a:gd name="T56" fmla="*/ 85 w 257"/>
              <a:gd name="T57" fmla="*/ 132 h 173"/>
              <a:gd name="T58" fmla="*/ 82 w 257"/>
              <a:gd name="T59" fmla="*/ 141 h 173"/>
              <a:gd name="T60" fmla="*/ 79 w 257"/>
              <a:gd name="T61" fmla="*/ 147 h 173"/>
              <a:gd name="T62" fmla="*/ 69 w 257"/>
              <a:gd name="T63" fmla="*/ 144 h 173"/>
              <a:gd name="T64" fmla="*/ 50 w 257"/>
              <a:gd name="T65" fmla="*/ 151 h 173"/>
              <a:gd name="T66" fmla="*/ 32 w 257"/>
              <a:gd name="T67" fmla="*/ 173 h 173"/>
              <a:gd name="T68" fmla="*/ 32 w 257"/>
              <a:gd name="T69" fmla="*/ 163 h 173"/>
              <a:gd name="T70" fmla="*/ 16 w 257"/>
              <a:gd name="T71" fmla="*/ 144 h 173"/>
              <a:gd name="T72" fmla="*/ 4 w 257"/>
              <a:gd name="T73" fmla="*/ 132 h 173"/>
              <a:gd name="T74" fmla="*/ 0 w 257"/>
              <a:gd name="T75" fmla="*/ 110 h 173"/>
              <a:gd name="T76" fmla="*/ 4 w 257"/>
              <a:gd name="T77" fmla="*/ 94 h 173"/>
              <a:gd name="T78" fmla="*/ 16 w 257"/>
              <a:gd name="T79" fmla="*/ 76 h 173"/>
              <a:gd name="T80" fmla="*/ 22 w 257"/>
              <a:gd name="T81" fmla="*/ 69 h 173"/>
              <a:gd name="T82" fmla="*/ 35 w 257"/>
              <a:gd name="T83" fmla="*/ 72 h 173"/>
              <a:gd name="T84" fmla="*/ 44 w 257"/>
              <a:gd name="T85" fmla="*/ 63 h 173"/>
              <a:gd name="T86" fmla="*/ 54 w 257"/>
              <a:gd name="T87" fmla="*/ 66 h 173"/>
              <a:gd name="T88" fmla="*/ 82 w 257"/>
              <a:gd name="T89" fmla="*/ 57 h 173"/>
              <a:gd name="T90" fmla="*/ 88 w 257"/>
              <a:gd name="T91" fmla="*/ 47 h 173"/>
              <a:gd name="T92" fmla="*/ 91 w 257"/>
              <a:gd name="T93" fmla="*/ 41 h 173"/>
              <a:gd name="T94" fmla="*/ 110 w 257"/>
              <a:gd name="T95" fmla="*/ 41 h 173"/>
              <a:gd name="T96" fmla="*/ 122 w 257"/>
              <a:gd name="T97" fmla="*/ 32 h 173"/>
              <a:gd name="T98" fmla="*/ 125 w 257"/>
              <a:gd name="T99" fmla="*/ 22 h 173"/>
              <a:gd name="T100" fmla="*/ 138 w 257"/>
              <a:gd name="T101" fmla="*/ 13 h 173"/>
              <a:gd name="T102" fmla="*/ 144 w 257"/>
              <a:gd name="T103" fmla="*/ 4 h 173"/>
              <a:gd name="T104" fmla="*/ 160 w 257"/>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7" h="173">
                <a:moveTo>
                  <a:pt x="160" y="0"/>
                </a:moveTo>
                <a:lnTo>
                  <a:pt x="163" y="0"/>
                </a:lnTo>
                <a:lnTo>
                  <a:pt x="163" y="4"/>
                </a:lnTo>
                <a:lnTo>
                  <a:pt x="163" y="7"/>
                </a:lnTo>
                <a:lnTo>
                  <a:pt x="166" y="10"/>
                </a:lnTo>
                <a:lnTo>
                  <a:pt x="166" y="10"/>
                </a:lnTo>
                <a:lnTo>
                  <a:pt x="172" y="19"/>
                </a:lnTo>
                <a:lnTo>
                  <a:pt x="175" y="25"/>
                </a:lnTo>
                <a:lnTo>
                  <a:pt x="175" y="29"/>
                </a:lnTo>
                <a:lnTo>
                  <a:pt x="175" y="32"/>
                </a:lnTo>
                <a:lnTo>
                  <a:pt x="175" y="35"/>
                </a:lnTo>
                <a:lnTo>
                  <a:pt x="172" y="38"/>
                </a:lnTo>
                <a:lnTo>
                  <a:pt x="172" y="44"/>
                </a:lnTo>
                <a:lnTo>
                  <a:pt x="175" y="47"/>
                </a:lnTo>
                <a:lnTo>
                  <a:pt x="182" y="47"/>
                </a:lnTo>
                <a:lnTo>
                  <a:pt x="182" y="44"/>
                </a:lnTo>
                <a:lnTo>
                  <a:pt x="188" y="44"/>
                </a:lnTo>
                <a:lnTo>
                  <a:pt x="191" y="47"/>
                </a:lnTo>
                <a:lnTo>
                  <a:pt x="188" y="51"/>
                </a:lnTo>
                <a:lnTo>
                  <a:pt x="188" y="54"/>
                </a:lnTo>
                <a:lnTo>
                  <a:pt x="194" y="57"/>
                </a:lnTo>
                <a:lnTo>
                  <a:pt x="197" y="57"/>
                </a:lnTo>
                <a:lnTo>
                  <a:pt x="200" y="57"/>
                </a:lnTo>
                <a:lnTo>
                  <a:pt x="204" y="60"/>
                </a:lnTo>
                <a:lnTo>
                  <a:pt x="204" y="63"/>
                </a:lnTo>
                <a:lnTo>
                  <a:pt x="210" y="63"/>
                </a:lnTo>
                <a:lnTo>
                  <a:pt x="213" y="63"/>
                </a:lnTo>
                <a:lnTo>
                  <a:pt x="213" y="66"/>
                </a:lnTo>
                <a:lnTo>
                  <a:pt x="213" y="69"/>
                </a:lnTo>
                <a:lnTo>
                  <a:pt x="210" y="72"/>
                </a:lnTo>
                <a:lnTo>
                  <a:pt x="210" y="72"/>
                </a:lnTo>
                <a:lnTo>
                  <a:pt x="207" y="76"/>
                </a:lnTo>
                <a:lnTo>
                  <a:pt x="213" y="79"/>
                </a:lnTo>
                <a:lnTo>
                  <a:pt x="216" y="79"/>
                </a:lnTo>
                <a:lnTo>
                  <a:pt x="216" y="79"/>
                </a:lnTo>
                <a:lnTo>
                  <a:pt x="219" y="79"/>
                </a:lnTo>
                <a:lnTo>
                  <a:pt x="222" y="79"/>
                </a:lnTo>
                <a:lnTo>
                  <a:pt x="229" y="85"/>
                </a:lnTo>
                <a:lnTo>
                  <a:pt x="229" y="85"/>
                </a:lnTo>
                <a:lnTo>
                  <a:pt x="229" y="91"/>
                </a:lnTo>
                <a:lnTo>
                  <a:pt x="232" y="94"/>
                </a:lnTo>
                <a:lnTo>
                  <a:pt x="235" y="94"/>
                </a:lnTo>
                <a:lnTo>
                  <a:pt x="238" y="97"/>
                </a:lnTo>
                <a:lnTo>
                  <a:pt x="238" y="101"/>
                </a:lnTo>
                <a:lnTo>
                  <a:pt x="238" y="101"/>
                </a:lnTo>
                <a:lnTo>
                  <a:pt x="244" y="104"/>
                </a:lnTo>
                <a:lnTo>
                  <a:pt x="247" y="107"/>
                </a:lnTo>
                <a:lnTo>
                  <a:pt x="247" y="107"/>
                </a:lnTo>
                <a:lnTo>
                  <a:pt x="247" y="113"/>
                </a:lnTo>
                <a:lnTo>
                  <a:pt x="250" y="116"/>
                </a:lnTo>
                <a:lnTo>
                  <a:pt x="254" y="119"/>
                </a:lnTo>
                <a:lnTo>
                  <a:pt x="257" y="119"/>
                </a:lnTo>
                <a:lnTo>
                  <a:pt x="257" y="122"/>
                </a:lnTo>
                <a:lnTo>
                  <a:pt x="254" y="119"/>
                </a:lnTo>
                <a:lnTo>
                  <a:pt x="250" y="119"/>
                </a:lnTo>
                <a:lnTo>
                  <a:pt x="247" y="119"/>
                </a:lnTo>
                <a:lnTo>
                  <a:pt x="241" y="122"/>
                </a:lnTo>
                <a:lnTo>
                  <a:pt x="238" y="119"/>
                </a:lnTo>
                <a:lnTo>
                  <a:pt x="232" y="119"/>
                </a:lnTo>
                <a:lnTo>
                  <a:pt x="229" y="119"/>
                </a:lnTo>
                <a:lnTo>
                  <a:pt x="225" y="119"/>
                </a:lnTo>
                <a:lnTo>
                  <a:pt x="225" y="116"/>
                </a:lnTo>
                <a:lnTo>
                  <a:pt x="222" y="116"/>
                </a:lnTo>
                <a:lnTo>
                  <a:pt x="219" y="116"/>
                </a:lnTo>
                <a:lnTo>
                  <a:pt x="216" y="113"/>
                </a:lnTo>
                <a:lnTo>
                  <a:pt x="213" y="116"/>
                </a:lnTo>
                <a:lnTo>
                  <a:pt x="213" y="116"/>
                </a:lnTo>
                <a:lnTo>
                  <a:pt x="213" y="116"/>
                </a:lnTo>
                <a:lnTo>
                  <a:pt x="210" y="122"/>
                </a:lnTo>
                <a:lnTo>
                  <a:pt x="210" y="122"/>
                </a:lnTo>
                <a:lnTo>
                  <a:pt x="207" y="122"/>
                </a:lnTo>
                <a:lnTo>
                  <a:pt x="200" y="122"/>
                </a:lnTo>
                <a:lnTo>
                  <a:pt x="200" y="122"/>
                </a:lnTo>
                <a:lnTo>
                  <a:pt x="197" y="122"/>
                </a:lnTo>
                <a:lnTo>
                  <a:pt x="197" y="122"/>
                </a:lnTo>
                <a:lnTo>
                  <a:pt x="194" y="122"/>
                </a:lnTo>
                <a:lnTo>
                  <a:pt x="194" y="119"/>
                </a:lnTo>
                <a:lnTo>
                  <a:pt x="191" y="119"/>
                </a:lnTo>
                <a:lnTo>
                  <a:pt x="185" y="122"/>
                </a:lnTo>
                <a:lnTo>
                  <a:pt x="182" y="126"/>
                </a:lnTo>
                <a:lnTo>
                  <a:pt x="179" y="126"/>
                </a:lnTo>
                <a:lnTo>
                  <a:pt x="172" y="129"/>
                </a:lnTo>
                <a:lnTo>
                  <a:pt x="169" y="129"/>
                </a:lnTo>
                <a:lnTo>
                  <a:pt x="166" y="126"/>
                </a:lnTo>
                <a:lnTo>
                  <a:pt x="163" y="126"/>
                </a:lnTo>
                <a:lnTo>
                  <a:pt x="160" y="126"/>
                </a:lnTo>
                <a:lnTo>
                  <a:pt x="157" y="129"/>
                </a:lnTo>
                <a:lnTo>
                  <a:pt x="154" y="132"/>
                </a:lnTo>
                <a:lnTo>
                  <a:pt x="154" y="135"/>
                </a:lnTo>
                <a:lnTo>
                  <a:pt x="154" y="135"/>
                </a:lnTo>
                <a:lnTo>
                  <a:pt x="154" y="138"/>
                </a:lnTo>
                <a:lnTo>
                  <a:pt x="150" y="138"/>
                </a:lnTo>
                <a:lnTo>
                  <a:pt x="147" y="138"/>
                </a:lnTo>
                <a:lnTo>
                  <a:pt x="144" y="135"/>
                </a:lnTo>
                <a:lnTo>
                  <a:pt x="141" y="135"/>
                </a:lnTo>
                <a:lnTo>
                  <a:pt x="138" y="135"/>
                </a:lnTo>
                <a:lnTo>
                  <a:pt x="135" y="135"/>
                </a:lnTo>
                <a:lnTo>
                  <a:pt x="132" y="135"/>
                </a:lnTo>
                <a:lnTo>
                  <a:pt x="129" y="135"/>
                </a:lnTo>
                <a:lnTo>
                  <a:pt x="122" y="132"/>
                </a:lnTo>
                <a:lnTo>
                  <a:pt x="119" y="132"/>
                </a:lnTo>
                <a:lnTo>
                  <a:pt x="119" y="132"/>
                </a:lnTo>
                <a:lnTo>
                  <a:pt x="113" y="129"/>
                </a:lnTo>
                <a:lnTo>
                  <a:pt x="110" y="126"/>
                </a:lnTo>
                <a:lnTo>
                  <a:pt x="104" y="122"/>
                </a:lnTo>
                <a:lnTo>
                  <a:pt x="100" y="122"/>
                </a:lnTo>
                <a:lnTo>
                  <a:pt x="97" y="119"/>
                </a:lnTo>
                <a:lnTo>
                  <a:pt x="97" y="119"/>
                </a:lnTo>
                <a:lnTo>
                  <a:pt x="97" y="122"/>
                </a:lnTo>
                <a:lnTo>
                  <a:pt x="94" y="119"/>
                </a:lnTo>
                <a:lnTo>
                  <a:pt x="91" y="122"/>
                </a:lnTo>
                <a:lnTo>
                  <a:pt x="88" y="122"/>
                </a:lnTo>
                <a:lnTo>
                  <a:pt x="85" y="126"/>
                </a:lnTo>
                <a:lnTo>
                  <a:pt x="85" y="129"/>
                </a:lnTo>
                <a:lnTo>
                  <a:pt x="85" y="129"/>
                </a:lnTo>
                <a:lnTo>
                  <a:pt x="85" y="132"/>
                </a:lnTo>
                <a:lnTo>
                  <a:pt x="82" y="132"/>
                </a:lnTo>
                <a:lnTo>
                  <a:pt x="79" y="135"/>
                </a:lnTo>
                <a:lnTo>
                  <a:pt x="79" y="135"/>
                </a:lnTo>
                <a:lnTo>
                  <a:pt x="82" y="141"/>
                </a:lnTo>
                <a:lnTo>
                  <a:pt x="82" y="141"/>
                </a:lnTo>
                <a:lnTo>
                  <a:pt x="82" y="144"/>
                </a:lnTo>
                <a:lnTo>
                  <a:pt x="82" y="147"/>
                </a:lnTo>
                <a:lnTo>
                  <a:pt x="79" y="147"/>
                </a:lnTo>
                <a:lnTo>
                  <a:pt x="75" y="147"/>
                </a:lnTo>
                <a:lnTo>
                  <a:pt x="72" y="147"/>
                </a:lnTo>
                <a:lnTo>
                  <a:pt x="72" y="144"/>
                </a:lnTo>
                <a:lnTo>
                  <a:pt x="69" y="144"/>
                </a:lnTo>
                <a:lnTo>
                  <a:pt x="66" y="144"/>
                </a:lnTo>
                <a:lnTo>
                  <a:pt x="63" y="147"/>
                </a:lnTo>
                <a:lnTo>
                  <a:pt x="60" y="147"/>
                </a:lnTo>
                <a:lnTo>
                  <a:pt x="50" y="151"/>
                </a:lnTo>
                <a:lnTo>
                  <a:pt x="50" y="151"/>
                </a:lnTo>
                <a:lnTo>
                  <a:pt x="47" y="154"/>
                </a:lnTo>
                <a:lnTo>
                  <a:pt x="41" y="157"/>
                </a:lnTo>
                <a:lnTo>
                  <a:pt x="32" y="173"/>
                </a:lnTo>
                <a:lnTo>
                  <a:pt x="32" y="173"/>
                </a:lnTo>
                <a:lnTo>
                  <a:pt x="32" y="169"/>
                </a:lnTo>
                <a:lnTo>
                  <a:pt x="32" y="166"/>
                </a:lnTo>
                <a:lnTo>
                  <a:pt x="32" y="163"/>
                </a:lnTo>
                <a:lnTo>
                  <a:pt x="25" y="157"/>
                </a:lnTo>
                <a:lnTo>
                  <a:pt x="22" y="157"/>
                </a:lnTo>
                <a:lnTo>
                  <a:pt x="19" y="151"/>
                </a:lnTo>
                <a:lnTo>
                  <a:pt x="16" y="144"/>
                </a:lnTo>
                <a:lnTo>
                  <a:pt x="13" y="138"/>
                </a:lnTo>
                <a:lnTo>
                  <a:pt x="10" y="135"/>
                </a:lnTo>
                <a:lnTo>
                  <a:pt x="4" y="132"/>
                </a:lnTo>
                <a:lnTo>
                  <a:pt x="4" y="132"/>
                </a:lnTo>
                <a:lnTo>
                  <a:pt x="4" y="122"/>
                </a:lnTo>
                <a:lnTo>
                  <a:pt x="4" y="119"/>
                </a:lnTo>
                <a:lnTo>
                  <a:pt x="0" y="113"/>
                </a:lnTo>
                <a:lnTo>
                  <a:pt x="0" y="110"/>
                </a:lnTo>
                <a:lnTo>
                  <a:pt x="0" y="104"/>
                </a:lnTo>
                <a:lnTo>
                  <a:pt x="0" y="101"/>
                </a:lnTo>
                <a:lnTo>
                  <a:pt x="0" y="97"/>
                </a:lnTo>
                <a:lnTo>
                  <a:pt x="4" y="94"/>
                </a:lnTo>
                <a:lnTo>
                  <a:pt x="7" y="91"/>
                </a:lnTo>
                <a:lnTo>
                  <a:pt x="10" y="85"/>
                </a:lnTo>
                <a:lnTo>
                  <a:pt x="13" y="79"/>
                </a:lnTo>
                <a:lnTo>
                  <a:pt x="16" y="76"/>
                </a:lnTo>
                <a:lnTo>
                  <a:pt x="19" y="72"/>
                </a:lnTo>
                <a:lnTo>
                  <a:pt x="22" y="69"/>
                </a:lnTo>
                <a:lnTo>
                  <a:pt x="22" y="66"/>
                </a:lnTo>
                <a:lnTo>
                  <a:pt x="22" y="69"/>
                </a:lnTo>
                <a:lnTo>
                  <a:pt x="25" y="72"/>
                </a:lnTo>
                <a:lnTo>
                  <a:pt x="29" y="72"/>
                </a:lnTo>
                <a:lnTo>
                  <a:pt x="32" y="72"/>
                </a:lnTo>
                <a:lnTo>
                  <a:pt x="35" y="72"/>
                </a:lnTo>
                <a:lnTo>
                  <a:pt x="38" y="69"/>
                </a:lnTo>
                <a:lnTo>
                  <a:pt x="38" y="63"/>
                </a:lnTo>
                <a:lnTo>
                  <a:pt x="41" y="63"/>
                </a:lnTo>
                <a:lnTo>
                  <a:pt x="44" y="63"/>
                </a:lnTo>
                <a:lnTo>
                  <a:pt x="44" y="69"/>
                </a:lnTo>
                <a:lnTo>
                  <a:pt x="47" y="69"/>
                </a:lnTo>
                <a:lnTo>
                  <a:pt x="50" y="69"/>
                </a:lnTo>
                <a:lnTo>
                  <a:pt x="54" y="66"/>
                </a:lnTo>
                <a:lnTo>
                  <a:pt x="60" y="63"/>
                </a:lnTo>
                <a:lnTo>
                  <a:pt x="66" y="60"/>
                </a:lnTo>
                <a:lnTo>
                  <a:pt x="75" y="57"/>
                </a:lnTo>
                <a:lnTo>
                  <a:pt x="82" y="57"/>
                </a:lnTo>
                <a:lnTo>
                  <a:pt x="85" y="54"/>
                </a:lnTo>
                <a:lnTo>
                  <a:pt x="91" y="51"/>
                </a:lnTo>
                <a:lnTo>
                  <a:pt x="91" y="47"/>
                </a:lnTo>
                <a:lnTo>
                  <a:pt x="88" y="47"/>
                </a:lnTo>
                <a:lnTo>
                  <a:pt x="85" y="44"/>
                </a:lnTo>
                <a:lnTo>
                  <a:pt x="85" y="41"/>
                </a:lnTo>
                <a:lnTo>
                  <a:pt x="88" y="38"/>
                </a:lnTo>
                <a:lnTo>
                  <a:pt x="91" y="41"/>
                </a:lnTo>
                <a:lnTo>
                  <a:pt x="94" y="38"/>
                </a:lnTo>
                <a:lnTo>
                  <a:pt x="97" y="41"/>
                </a:lnTo>
                <a:lnTo>
                  <a:pt x="104" y="41"/>
                </a:lnTo>
                <a:lnTo>
                  <a:pt x="110" y="41"/>
                </a:lnTo>
                <a:lnTo>
                  <a:pt x="116" y="41"/>
                </a:lnTo>
                <a:lnTo>
                  <a:pt x="119" y="38"/>
                </a:lnTo>
                <a:lnTo>
                  <a:pt x="122" y="35"/>
                </a:lnTo>
                <a:lnTo>
                  <a:pt x="122" y="32"/>
                </a:lnTo>
                <a:lnTo>
                  <a:pt x="122" y="29"/>
                </a:lnTo>
                <a:lnTo>
                  <a:pt x="122" y="25"/>
                </a:lnTo>
                <a:lnTo>
                  <a:pt x="125" y="25"/>
                </a:lnTo>
                <a:lnTo>
                  <a:pt x="125" y="22"/>
                </a:lnTo>
                <a:lnTo>
                  <a:pt x="129" y="19"/>
                </a:lnTo>
                <a:lnTo>
                  <a:pt x="132" y="19"/>
                </a:lnTo>
                <a:lnTo>
                  <a:pt x="132" y="19"/>
                </a:lnTo>
                <a:lnTo>
                  <a:pt x="138" y="13"/>
                </a:lnTo>
                <a:lnTo>
                  <a:pt x="138" y="13"/>
                </a:lnTo>
                <a:lnTo>
                  <a:pt x="138" y="10"/>
                </a:lnTo>
                <a:lnTo>
                  <a:pt x="138" y="7"/>
                </a:lnTo>
                <a:lnTo>
                  <a:pt x="144" y="4"/>
                </a:lnTo>
                <a:lnTo>
                  <a:pt x="147" y="0"/>
                </a:lnTo>
                <a:lnTo>
                  <a:pt x="154" y="0"/>
                </a:lnTo>
                <a:lnTo>
                  <a:pt x="154" y="4"/>
                </a:lnTo>
                <a:lnTo>
                  <a:pt x="160" y="0"/>
                </a:lnTo>
                <a:lnTo>
                  <a:pt x="160" y="0"/>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4" name="Freeform 112">
            <a:extLst>
              <a:ext uri="{FF2B5EF4-FFF2-40B4-BE49-F238E27FC236}">
                <a16:creationId xmlns:a16="http://schemas.microsoft.com/office/drawing/2014/main" id="{2E9068E9-7B1C-2387-F7CF-B38D02113EB4}"/>
              </a:ext>
            </a:extLst>
          </p:cNvPr>
          <p:cNvSpPr>
            <a:spLocks/>
          </p:cNvSpPr>
          <p:nvPr userDrawn="1"/>
        </p:nvSpPr>
        <p:spPr bwMode="auto">
          <a:xfrm>
            <a:off x="13734161" y="7231935"/>
            <a:ext cx="971487" cy="901702"/>
          </a:xfrm>
          <a:custGeom>
            <a:avLst/>
            <a:gdLst>
              <a:gd name="T0" fmla="*/ 288 w 306"/>
              <a:gd name="T1" fmla="*/ 275 h 284"/>
              <a:gd name="T2" fmla="*/ 297 w 306"/>
              <a:gd name="T3" fmla="*/ 81 h 284"/>
              <a:gd name="T4" fmla="*/ 291 w 306"/>
              <a:gd name="T5" fmla="*/ 65 h 284"/>
              <a:gd name="T6" fmla="*/ 297 w 306"/>
              <a:gd name="T7" fmla="*/ 53 h 284"/>
              <a:gd name="T8" fmla="*/ 294 w 306"/>
              <a:gd name="T9" fmla="*/ 40 h 284"/>
              <a:gd name="T10" fmla="*/ 297 w 306"/>
              <a:gd name="T11" fmla="*/ 31 h 284"/>
              <a:gd name="T12" fmla="*/ 294 w 306"/>
              <a:gd name="T13" fmla="*/ 22 h 284"/>
              <a:gd name="T14" fmla="*/ 285 w 306"/>
              <a:gd name="T15" fmla="*/ 22 h 284"/>
              <a:gd name="T16" fmla="*/ 269 w 306"/>
              <a:gd name="T17" fmla="*/ 19 h 284"/>
              <a:gd name="T18" fmla="*/ 260 w 306"/>
              <a:gd name="T19" fmla="*/ 15 h 284"/>
              <a:gd name="T20" fmla="*/ 260 w 306"/>
              <a:gd name="T21" fmla="*/ 12 h 284"/>
              <a:gd name="T22" fmla="*/ 250 w 306"/>
              <a:gd name="T23" fmla="*/ 6 h 284"/>
              <a:gd name="T24" fmla="*/ 238 w 306"/>
              <a:gd name="T25" fmla="*/ 3 h 284"/>
              <a:gd name="T26" fmla="*/ 235 w 306"/>
              <a:gd name="T27" fmla="*/ 6 h 284"/>
              <a:gd name="T28" fmla="*/ 228 w 306"/>
              <a:gd name="T29" fmla="*/ 3 h 284"/>
              <a:gd name="T30" fmla="*/ 213 w 306"/>
              <a:gd name="T31" fmla="*/ 6 h 284"/>
              <a:gd name="T32" fmla="*/ 200 w 306"/>
              <a:gd name="T33" fmla="*/ 15 h 284"/>
              <a:gd name="T34" fmla="*/ 197 w 306"/>
              <a:gd name="T35" fmla="*/ 22 h 284"/>
              <a:gd name="T36" fmla="*/ 200 w 306"/>
              <a:gd name="T37" fmla="*/ 37 h 284"/>
              <a:gd name="T38" fmla="*/ 200 w 306"/>
              <a:gd name="T39" fmla="*/ 50 h 284"/>
              <a:gd name="T40" fmla="*/ 194 w 306"/>
              <a:gd name="T41" fmla="*/ 56 h 284"/>
              <a:gd name="T42" fmla="*/ 185 w 306"/>
              <a:gd name="T43" fmla="*/ 65 h 284"/>
              <a:gd name="T44" fmla="*/ 169 w 306"/>
              <a:gd name="T45" fmla="*/ 56 h 284"/>
              <a:gd name="T46" fmla="*/ 153 w 306"/>
              <a:gd name="T47" fmla="*/ 47 h 284"/>
              <a:gd name="T48" fmla="*/ 131 w 306"/>
              <a:gd name="T49" fmla="*/ 37 h 284"/>
              <a:gd name="T50" fmla="*/ 122 w 306"/>
              <a:gd name="T51" fmla="*/ 40 h 284"/>
              <a:gd name="T52" fmla="*/ 110 w 306"/>
              <a:gd name="T53" fmla="*/ 25 h 284"/>
              <a:gd name="T54" fmla="*/ 103 w 306"/>
              <a:gd name="T55" fmla="*/ 12 h 284"/>
              <a:gd name="T56" fmla="*/ 85 w 306"/>
              <a:gd name="T57" fmla="*/ 6 h 284"/>
              <a:gd name="T58" fmla="*/ 69 w 306"/>
              <a:gd name="T59" fmla="*/ 3 h 284"/>
              <a:gd name="T60" fmla="*/ 44 w 306"/>
              <a:gd name="T61" fmla="*/ 3 h 284"/>
              <a:gd name="T62" fmla="*/ 38 w 306"/>
              <a:gd name="T63" fmla="*/ 0 h 284"/>
              <a:gd name="T64" fmla="*/ 38 w 306"/>
              <a:gd name="T65" fmla="*/ 9 h 284"/>
              <a:gd name="T66" fmla="*/ 35 w 306"/>
              <a:gd name="T67" fmla="*/ 15 h 284"/>
              <a:gd name="T68" fmla="*/ 22 w 306"/>
              <a:gd name="T69" fmla="*/ 28 h 284"/>
              <a:gd name="T70" fmla="*/ 16 w 306"/>
              <a:gd name="T71" fmla="*/ 31 h 284"/>
              <a:gd name="T72" fmla="*/ 13 w 306"/>
              <a:gd name="T73" fmla="*/ 34 h 284"/>
              <a:gd name="T74" fmla="*/ 13 w 306"/>
              <a:gd name="T75" fmla="*/ 44 h 284"/>
              <a:gd name="T76" fmla="*/ 13 w 306"/>
              <a:gd name="T77" fmla="*/ 50 h 284"/>
              <a:gd name="T78" fmla="*/ 13 w 306"/>
              <a:gd name="T79" fmla="*/ 53 h 284"/>
              <a:gd name="T80" fmla="*/ 6 w 306"/>
              <a:gd name="T81" fmla="*/ 59 h 284"/>
              <a:gd name="T82" fmla="*/ 3 w 306"/>
              <a:gd name="T83" fmla="*/ 59 h 284"/>
              <a:gd name="T84" fmla="*/ 0 w 306"/>
              <a:gd name="T85" fmla="*/ 62 h 284"/>
              <a:gd name="T86" fmla="*/ 3 w 306"/>
              <a:gd name="T87" fmla="*/ 69 h 284"/>
              <a:gd name="T88" fmla="*/ 6 w 306"/>
              <a:gd name="T89" fmla="*/ 87 h 284"/>
              <a:gd name="T90" fmla="*/ 6 w 306"/>
              <a:gd name="T91" fmla="*/ 97 h 284"/>
              <a:gd name="T92" fmla="*/ 10 w 306"/>
              <a:gd name="T93" fmla="*/ 112 h 284"/>
              <a:gd name="T94" fmla="*/ 6 w 306"/>
              <a:gd name="T95" fmla="*/ 125 h 284"/>
              <a:gd name="T96" fmla="*/ 10 w 306"/>
              <a:gd name="T97" fmla="*/ 137 h 284"/>
              <a:gd name="T98" fmla="*/ 3 w 306"/>
              <a:gd name="T99" fmla="*/ 141 h 284"/>
              <a:gd name="T100" fmla="*/ 0 w 306"/>
              <a:gd name="T101" fmla="*/ 147 h 284"/>
              <a:gd name="T102" fmla="*/ 6 w 306"/>
              <a:gd name="T103" fmla="*/ 156 h 284"/>
              <a:gd name="T104" fmla="*/ 13 w 306"/>
              <a:gd name="T105" fmla="*/ 162 h 284"/>
              <a:gd name="T106" fmla="*/ 13 w 306"/>
              <a:gd name="T107" fmla="*/ 172 h 284"/>
              <a:gd name="T108" fmla="*/ 16 w 306"/>
              <a:gd name="T109" fmla="*/ 178 h 284"/>
              <a:gd name="T110" fmla="*/ 19 w 306"/>
              <a:gd name="T111" fmla="*/ 184 h 284"/>
              <a:gd name="T112" fmla="*/ 35 w 306"/>
              <a:gd name="T113" fmla="*/ 184 h 284"/>
              <a:gd name="T114" fmla="*/ 41 w 306"/>
              <a:gd name="T115" fmla="*/ 191 h 284"/>
              <a:gd name="T116" fmla="*/ 47 w 306"/>
              <a:gd name="T117" fmla="*/ 203 h 284"/>
              <a:gd name="T118" fmla="*/ 50 w 306"/>
              <a:gd name="T119" fmla="*/ 206 h 284"/>
              <a:gd name="T120" fmla="*/ 88 w 306"/>
              <a:gd name="T121" fmla="*/ 219 h 284"/>
              <a:gd name="T122" fmla="*/ 288 w 306"/>
              <a:gd name="T123" fmla="*/ 284 h 284"/>
              <a:gd name="T124" fmla="*/ 288 w 306"/>
              <a:gd name="T125"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 h="284">
                <a:moveTo>
                  <a:pt x="288" y="284"/>
                </a:moveTo>
                <a:lnTo>
                  <a:pt x="288" y="275"/>
                </a:lnTo>
                <a:lnTo>
                  <a:pt x="306" y="275"/>
                </a:lnTo>
                <a:lnTo>
                  <a:pt x="297" y="81"/>
                </a:lnTo>
                <a:lnTo>
                  <a:pt x="294" y="69"/>
                </a:lnTo>
                <a:lnTo>
                  <a:pt x="291" y="65"/>
                </a:lnTo>
                <a:lnTo>
                  <a:pt x="294" y="59"/>
                </a:lnTo>
                <a:lnTo>
                  <a:pt x="297" y="53"/>
                </a:lnTo>
                <a:lnTo>
                  <a:pt x="297" y="47"/>
                </a:lnTo>
                <a:lnTo>
                  <a:pt x="294" y="40"/>
                </a:lnTo>
                <a:lnTo>
                  <a:pt x="297" y="34"/>
                </a:lnTo>
                <a:lnTo>
                  <a:pt x="297" y="31"/>
                </a:lnTo>
                <a:lnTo>
                  <a:pt x="297" y="25"/>
                </a:lnTo>
                <a:lnTo>
                  <a:pt x="294" y="22"/>
                </a:lnTo>
                <a:lnTo>
                  <a:pt x="291" y="22"/>
                </a:lnTo>
                <a:lnTo>
                  <a:pt x="285" y="22"/>
                </a:lnTo>
                <a:lnTo>
                  <a:pt x="272" y="19"/>
                </a:lnTo>
                <a:lnTo>
                  <a:pt x="269" y="19"/>
                </a:lnTo>
                <a:lnTo>
                  <a:pt x="266" y="19"/>
                </a:lnTo>
                <a:lnTo>
                  <a:pt x="260" y="15"/>
                </a:lnTo>
                <a:lnTo>
                  <a:pt x="256" y="12"/>
                </a:lnTo>
                <a:lnTo>
                  <a:pt x="260" y="12"/>
                </a:lnTo>
                <a:lnTo>
                  <a:pt x="256" y="9"/>
                </a:lnTo>
                <a:lnTo>
                  <a:pt x="250" y="6"/>
                </a:lnTo>
                <a:lnTo>
                  <a:pt x="244" y="6"/>
                </a:lnTo>
                <a:lnTo>
                  <a:pt x="238" y="3"/>
                </a:lnTo>
                <a:lnTo>
                  <a:pt x="238" y="3"/>
                </a:lnTo>
                <a:lnTo>
                  <a:pt x="235" y="6"/>
                </a:lnTo>
                <a:lnTo>
                  <a:pt x="231" y="3"/>
                </a:lnTo>
                <a:lnTo>
                  <a:pt x="228" y="3"/>
                </a:lnTo>
                <a:lnTo>
                  <a:pt x="222" y="6"/>
                </a:lnTo>
                <a:lnTo>
                  <a:pt x="213" y="6"/>
                </a:lnTo>
                <a:lnTo>
                  <a:pt x="206" y="9"/>
                </a:lnTo>
                <a:lnTo>
                  <a:pt x="200" y="15"/>
                </a:lnTo>
                <a:lnTo>
                  <a:pt x="200" y="22"/>
                </a:lnTo>
                <a:lnTo>
                  <a:pt x="197" y="22"/>
                </a:lnTo>
                <a:lnTo>
                  <a:pt x="197" y="31"/>
                </a:lnTo>
                <a:lnTo>
                  <a:pt x="200" y="37"/>
                </a:lnTo>
                <a:lnTo>
                  <a:pt x="203" y="47"/>
                </a:lnTo>
                <a:lnTo>
                  <a:pt x="200" y="50"/>
                </a:lnTo>
                <a:lnTo>
                  <a:pt x="194" y="56"/>
                </a:lnTo>
                <a:lnTo>
                  <a:pt x="194" y="56"/>
                </a:lnTo>
                <a:lnTo>
                  <a:pt x="188" y="62"/>
                </a:lnTo>
                <a:lnTo>
                  <a:pt x="185" y="65"/>
                </a:lnTo>
                <a:lnTo>
                  <a:pt x="175" y="62"/>
                </a:lnTo>
                <a:lnTo>
                  <a:pt x="169" y="56"/>
                </a:lnTo>
                <a:lnTo>
                  <a:pt x="163" y="50"/>
                </a:lnTo>
                <a:lnTo>
                  <a:pt x="153" y="47"/>
                </a:lnTo>
                <a:lnTo>
                  <a:pt x="138" y="40"/>
                </a:lnTo>
                <a:lnTo>
                  <a:pt x="131" y="37"/>
                </a:lnTo>
                <a:lnTo>
                  <a:pt x="128" y="40"/>
                </a:lnTo>
                <a:lnTo>
                  <a:pt x="122" y="40"/>
                </a:lnTo>
                <a:lnTo>
                  <a:pt x="116" y="37"/>
                </a:lnTo>
                <a:lnTo>
                  <a:pt x="110" y="25"/>
                </a:lnTo>
                <a:lnTo>
                  <a:pt x="110" y="19"/>
                </a:lnTo>
                <a:lnTo>
                  <a:pt x="103" y="12"/>
                </a:lnTo>
                <a:lnTo>
                  <a:pt x="91" y="9"/>
                </a:lnTo>
                <a:lnTo>
                  <a:pt x="85" y="6"/>
                </a:lnTo>
                <a:lnTo>
                  <a:pt x="75" y="6"/>
                </a:lnTo>
                <a:lnTo>
                  <a:pt x="69" y="3"/>
                </a:lnTo>
                <a:lnTo>
                  <a:pt x="53" y="6"/>
                </a:lnTo>
                <a:lnTo>
                  <a:pt x="44" y="3"/>
                </a:lnTo>
                <a:lnTo>
                  <a:pt x="41" y="0"/>
                </a:lnTo>
                <a:lnTo>
                  <a:pt x="38" y="0"/>
                </a:lnTo>
                <a:lnTo>
                  <a:pt x="38" y="0"/>
                </a:lnTo>
                <a:lnTo>
                  <a:pt x="38" y="9"/>
                </a:lnTo>
                <a:lnTo>
                  <a:pt x="38" y="9"/>
                </a:lnTo>
                <a:lnTo>
                  <a:pt x="35" y="15"/>
                </a:lnTo>
                <a:lnTo>
                  <a:pt x="22" y="25"/>
                </a:lnTo>
                <a:lnTo>
                  <a:pt x="22" y="28"/>
                </a:lnTo>
                <a:lnTo>
                  <a:pt x="19" y="31"/>
                </a:lnTo>
                <a:lnTo>
                  <a:pt x="16" y="31"/>
                </a:lnTo>
                <a:lnTo>
                  <a:pt x="13" y="34"/>
                </a:lnTo>
                <a:lnTo>
                  <a:pt x="13" y="34"/>
                </a:lnTo>
                <a:lnTo>
                  <a:pt x="13" y="37"/>
                </a:lnTo>
                <a:lnTo>
                  <a:pt x="13" y="44"/>
                </a:lnTo>
                <a:lnTo>
                  <a:pt x="13" y="50"/>
                </a:lnTo>
                <a:lnTo>
                  <a:pt x="13" y="50"/>
                </a:lnTo>
                <a:lnTo>
                  <a:pt x="13" y="53"/>
                </a:lnTo>
                <a:lnTo>
                  <a:pt x="13" y="53"/>
                </a:lnTo>
                <a:lnTo>
                  <a:pt x="10" y="56"/>
                </a:lnTo>
                <a:lnTo>
                  <a:pt x="6" y="59"/>
                </a:lnTo>
                <a:lnTo>
                  <a:pt x="6" y="59"/>
                </a:lnTo>
                <a:lnTo>
                  <a:pt x="3" y="59"/>
                </a:lnTo>
                <a:lnTo>
                  <a:pt x="3" y="59"/>
                </a:lnTo>
                <a:lnTo>
                  <a:pt x="0" y="62"/>
                </a:lnTo>
                <a:lnTo>
                  <a:pt x="0" y="69"/>
                </a:lnTo>
                <a:lnTo>
                  <a:pt x="3" y="69"/>
                </a:lnTo>
                <a:lnTo>
                  <a:pt x="6" y="75"/>
                </a:lnTo>
                <a:lnTo>
                  <a:pt x="6" y="87"/>
                </a:lnTo>
                <a:lnTo>
                  <a:pt x="6" y="94"/>
                </a:lnTo>
                <a:lnTo>
                  <a:pt x="6" y="97"/>
                </a:lnTo>
                <a:lnTo>
                  <a:pt x="6" y="106"/>
                </a:lnTo>
                <a:lnTo>
                  <a:pt x="10" y="112"/>
                </a:lnTo>
                <a:lnTo>
                  <a:pt x="6" y="122"/>
                </a:lnTo>
                <a:lnTo>
                  <a:pt x="6" y="125"/>
                </a:lnTo>
                <a:lnTo>
                  <a:pt x="10" y="128"/>
                </a:lnTo>
                <a:lnTo>
                  <a:pt x="10" y="137"/>
                </a:lnTo>
                <a:lnTo>
                  <a:pt x="6" y="137"/>
                </a:lnTo>
                <a:lnTo>
                  <a:pt x="3" y="141"/>
                </a:lnTo>
                <a:lnTo>
                  <a:pt x="0" y="144"/>
                </a:lnTo>
                <a:lnTo>
                  <a:pt x="0" y="147"/>
                </a:lnTo>
                <a:lnTo>
                  <a:pt x="3" y="150"/>
                </a:lnTo>
                <a:lnTo>
                  <a:pt x="6" y="156"/>
                </a:lnTo>
                <a:lnTo>
                  <a:pt x="13" y="162"/>
                </a:lnTo>
                <a:lnTo>
                  <a:pt x="13" y="162"/>
                </a:lnTo>
                <a:lnTo>
                  <a:pt x="13" y="169"/>
                </a:lnTo>
                <a:lnTo>
                  <a:pt x="13" y="172"/>
                </a:lnTo>
                <a:lnTo>
                  <a:pt x="13" y="175"/>
                </a:lnTo>
                <a:lnTo>
                  <a:pt x="16" y="178"/>
                </a:lnTo>
                <a:lnTo>
                  <a:pt x="16" y="181"/>
                </a:lnTo>
                <a:lnTo>
                  <a:pt x="19" y="184"/>
                </a:lnTo>
                <a:lnTo>
                  <a:pt x="25" y="184"/>
                </a:lnTo>
                <a:lnTo>
                  <a:pt x="35" y="184"/>
                </a:lnTo>
                <a:lnTo>
                  <a:pt x="38" y="187"/>
                </a:lnTo>
                <a:lnTo>
                  <a:pt x="41" y="191"/>
                </a:lnTo>
                <a:lnTo>
                  <a:pt x="44" y="200"/>
                </a:lnTo>
                <a:lnTo>
                  <a:pt x="47" y="203"/>
                </a:lnTo>
                <a:lnTo>
                  <a:pt x="47" y="206"/>
                </a:lnTo>
                <a:lnTo>
                  <a:pt x="50" y="206"/>
                </a:lnTo>
                <a:lnTo>
                  <a:pt x="85" y="216"/>
                </a:lnTo>
                <a:lnTo>
                  <a:pt x="88" y="219"/>
                </a:lnTo>
                <a:lnTo>
                  <a:pt x="128" y="203"/>
                </a:lnTo>
                <a:lnTo>
                  <a:pt x="288" y="284"/>
                </a:lnTo>
                <a:lnTo>
                  <a:pt x="288" y="284"/>
                </a:lnTo>
                <a:lnTo>
                  <a:pt x="288" y="284"/>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5" name="Freeform 113">
            <a:extLst>
              <a:ext uri="{FF2B5EF4-FFF2-40B4-BE49-F238E27FC236}">
                <a16:creationId xmlns:a16="http://schemas.microsoft.com/office/drawing/2014/main" id="{110F2053-89AE-A154-378B-F0E5264E54C7}"/>
              </a:ext>
            </a:extLst>
          </p:cNvPr>
          <p:cNvSpPr>
            <a:spLocks noEditPoints="1"/>
          </p:cNvSpPr>
          <p:nvPr userDrawn="1"/>
        </p:nvSpPr>
        <p:spPr bwMode="auto">
          <a:xfrm>
            <a:off x="13616690" y="6933480"/>
            <a:ext cx="238111" cy="485776"/>
          </a:xfrm>
          <a:custGeom>
            <a:avLst/>
            <a:gdLst>
              <a:gd name="T0" fmla="*/ 43 w 75"/>
              <a:gd name="T1" fmla="*/ 153 h 153"/>
              <a:gd name="T2" fmla="*/ 47 w 75"/>
              <a:gd name="T3" fmla="*/ 150 h 153"/>
              <a:gd name="T4" fmla="*/ 50 w 75"/>
              <a:gd name="T5" fmla="*/ 147 h 153"/>
              <a:gd name="T6" fmla="*/ 50 w 75"/>
              <a:gd name="T7" fmla="*/ 144 h 153"/>
              <a:gd name="T8" fmla="*/ 50 w 75"/>
              <a:gd name="T9" fmla="*/ 131 h 153"/>
              <a:gd name="T10" fmla="*/ 50 w 75"/>
              <a:gd name="T11" fmla="*/ 128 h 153"/>
              <a:gd name="T12" fmla="*/ 56 w 75"/>
              <a:gd name="T13" fmla="*/ 125 h 153"/>
              <a:gd name="T14" fmla="*/ 59 w 75"/>
              <a:gd name="T15" fmla="*/ 119 h 153"/>
              <a:gd name="T16" fmla="*/ 75 w 75"/>
              <a:gd name="T17" fmla="*/ 103 h 153"/>
              <a:gd name="T18" fmla="*/ 75 w 75"/>
              <a:gd name="T19" fmla="*/ 94 h 153"/>
              <a:gd name="T20" fmla="*/ 72 w 75"/>
              <a:gd name="T21" fmla="*/ 94 h 153"/>
              <a:gd name="T22" fmla="*/ 65 w 75"/>
              <a:gd name="T23" fmla="*/ 87 h 153"/>
              <a:gd name="T24" fmla="*/ 62 w 75"/>
              <a:gd name="T25" fmla="*/ 84 h 153"/>
              <a:gd name="T26" fmla="*/ 62 w 75"/>
              <a:gd name="T27" fmla="*/ 84 h 153"/>
              <a:gd name="T28" fmla="*/ 56 w 75"/>
              <a:gd name="T29" fmla="*/ 84 h 153"/>
              <a:gd name="T30" fmla="*/ 53 w 75"/>
              <a:gd name="T31" fmla="*/ 84 h 153"/>
              <a:gd name="T32" fmla="*/ 43 w 75"/>
              <a:gd name="T33" fmla="*/ 72 h 153"/>
              <a:gd name="T34" fmla="*/ 56 w 75"/>
              <a:gd name="T35" fmla="*/ 59 h 153"/>
              <a:gd name="T36" fmla="*/ 62 w 75"/>
              <a:gd name="T37" fmla="*/ 53 h 153"/>
              <a:gd name="T38" fmla="*/ 62 w 75"/>
              <a:gd name="T39" fmla="*/ 50 h 153"/>
              <a:gd name="T40" fmla="*/ 62 w 75"/>
              <a:gd name="T41" fmla="*/ 44 h 153"/>
              <a:gd name="T42" fmla="*/ 56 w 75"/>
              <a:gd name="T43" fmla="*/ 37 h 153"/>
              <a:gd name="T44" fmla="*/ 53 w 75"/>
              <a:gd name="T45" fmla="*/ 25 h 153"/>
              <a:gd name="T46" fmla="*/ 56 w 75"/>
              <a:gd name="T47" fmla="*/ 19 h 153"/>
              <a:gd name="T48" fmla="*/ 59 w 75"/>
              <a:gd name="T49" fmla="*/ 9 h 153"/>
              <a:gd name="T50" fmla="*/ 53 w 75"/>
              <a:gd name="T51" fmla="*/ 12 h 153"/>
              <a:gd name="T52" fmla="*/ 47 w 75"/>
              <a:gd name="T53" fmla="*/ 16 h 153"/>
              <a:gd name="T54" fmla="*/ 43 w 75"/>
              <a:gd name="T55" fmla="*/ 6 h 153"/>
              <a:gd name="T56" fmla="*/ 40 w 75"/>
              <a:gd name="T57" fmla="*/ 0 h 153"/>
              <a:gd name="T58" fmla="*/ 37 w 75"/>
              <a:gd name="T59" fmla="*/ 3 h 153"/>
              <a:gd name="T60" fmla="*/ 28 w 75"/>
              <a:gd name="T61" fmla="*/ 3 h 153"/>
              <a:gd name="T62" fmla="*/ 15 w 75"/>
              <a:gd name="T63" fmla="*/ 9 h 153"/>
              <a:gd name="T64" fmla="*/ 15 w 75"/>
              <a:gd name="T65" fmla="*/ 12 h 153"/>
              <a:gd name="T66" fmla="*/ 15 w 75"/>
              <a:gd name="T67" fmla="*/ 22 h 153"/>
              <a:gd name="T68" fmla="*/ 12 w 75"/>
              <a:gd name="T69" fmla="*/ 37 h 153"/>
              <a:gd name="T70" fmla="*/ 15 w 75"/>
              <a:gd name="T71" fmla="*/ 47 h 153"/>
              <a:gd name="T72" fmla="*/ 15 w 75"/>
              <a:gd name="T73" fmla="*/ 47 h 153"/>
              <a:gd name="T74" fmla="*/ 15 w 75"/>
              <a:gd name="T75" fmla="*/ 53 h 153"/>
              <a:gd name="T76" fmla="*/ 12 w 75"/>
              <a:gd name="T77" fmla="*/ 62 h 153"/>
              <a:gd name="T78" fmla="*/ 9 w 75"/>
              <a:gd name="T79" fmla="*/ 66 h 153"/>
              <a:gd name="T80" fmla="*/ 3 w 75"/>
              <a:gd name="T81" fmla="*/ 72 h 153"/>
              <a:gd name="T82" fmla="*/ 0 w 75"/>
              <a:gd name="T83" fmla="*/ 84 h 153"/>
              <a:gd name="T84" fmla="*/ 3 w 75"/>
              <a:gd name="T85" fmla="*/ 91 h 153"/>
              <a:gd name="T86" fmla="*/ 6 w 75"/>
              <a:gd name="T87" fmla="*/ 94 h 153"/>
              <a:gd name="T88" fmla="*/ 12 w 75"/>
              <a:gd name="T89" fmla="*/ 103 h 153"/>
              <a:gd name="T90" fmla="*/ 18 w 75"/>
              <a:gd name="T91" fmla="*/ 109 h 153"/>
              <a:gd name="T92" fmla="*/ 28 w 75"/>
              <a:gd name="T93" fmla="*/ 116 h 153"/>
              <a:gd name="T94" fmla="*/ 40 w 75"/>
              <a:gd name="T95" fmla="*/ 153 h 153"/>
              <a:gd name="T96" fmla="*/ 59 w 75"/>
              <a:gd name="T97" fmla="*/ 78 h 153"/>
              <a:gd name="T98" fmla="*/ 62 w 75"/>
              <a:gd name="T99" fmla="*/ 81 h 153"/>
              <a:gd name="T100" fmla="*/ 56 w 75"/>
              <a:gd name="T101" fmla="*/ 7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5" h="153">
                <a:moveTo>
                  <a:pt x="40" y="153"/>
                </a:moveTo>
                <a:lnTo>
                  <a:pt x="43" y="153"/>
                </a:lnTo>
                <a:lnTo>
                  <a:pt x="43" y="153"/>
                </a:lnTo>
                <a:lnTo>
                  <a:pt x="47" y="150"/>
                </a:lnTo>
                <a:lnTo>
                  <a:pt x="50" y="147"/>
                </a:lnTo>
                <a:lnTo>
                  <a:pt x="50" y="147"/>
                </a:lnTo>
                <a:lnTo>
                  <a:pt x="50" y="144"/>
                </a:lnTo>
                <a:lnTo>
                  <a:pt x="50" y="144"/>
                </a:lnTo>
                <a:lnTo>
                  <a:pt x="50" y="138"/>
                </a:lnTo>
                <a:lnTo>
                  <a:pt x="50" y="131"/>
                </a:lnTo>
                <a:lnTo>
                  <a:pt x="50" y="128"/>
                </a:lnTo>
                <a:lnTo>
                  <a:pt x="50" y="128"/>
                </a:lnTo>
                <a:lnTo>
                  <a:pt x="53" y="125"/>
                </a:lnTo>
                <a:lnTo>
                  <a:pt x="56" y="125"/>
                </a:lnTo>
                <a:lnTo>
                  <a:pt x="59" y="122"/>
                </a:lnTo>
                <a:lnTo>
                  <a:pt x="59" y="119"/>
                </a:lnTo>
                <a:lnTo>
                  <a:pt x="72" y="109"/>
                </a:lnTo>
                <a:lnTo>
                  <a:pt x="75" y="103"/>
                </a:lnTo>
                <a:lnTo>
                  <a:pt x="75" y="103"/>
                </a:lnTo>
                <a:lnTo>
                  <a:pt x="75" y="94"/>
                </a:lnTo>
                <a:lnTo>
                  <a:pt x="75" y="94"/>
                </a:lnTo>
                <a:lnTo>
                  <a:pt x="72" y="94"/>
                </a:lnTo>
                <a:lnTo>
                  <a:pt x="65" y="91"/>
                </a:lnTo>
                <a:lnTo>
                  <a:pt x="65" y="87"/>
                </a:lnTo>
                <a:lnTo>
                  <a:pt x="65" y="84"/>
                </a:lnTo>
                <a:lnTo>
                  <a:pt x="62" y="84"/>
                </a:lnTo>
                <a:lnTo>
                  <a:pt x="62" y="84"/>
                </a:lnTo>
                <a:lnTo>
                  <a:pt x="62" y="84"/>
                </a:lnTo>
                <a:lnTo>
                  <a:pt x="59" y="87"/>
                </a:lnTo>
                <a:lnTo>
                  <a:pt x="56" y="84"/>
                </a:lnTo>
                <a:lnTo>
                  <a:pt x="56" y="81"/>
                </a:lnTo>
                <a:lnTo>
                  <a:pt x="53" y="84"/>
                </a:lnTo>
                <a:lnTo>
                  <a:pt x="47" y="78"/>
                </a:lnTo>
                <a:lnTo>
                  <a:pt x="43" y="72"/>
                </a:lnTo>
                <a:lnTo>
                  <a:pt x="47" y="66"/>
                </a:lnTo>
                <a:lnTo>
                  <a:pt x="56" y="59"/>
                </a:lnTo>
                <a:lnTo>
                  <a:pt x="62" y="53"/>
                </a:lnTo>
                <a:lnTo>
                  <a:pt x="62" y="53"/>
                </a:lnTo>
                <a:lnTo>
                  <a:pt x="62" y="50"/>
                </a:lnTo>
                <a:lnTo>
                  <a:pt x="62" y="50"/>
                </a:lnTo>
                <a:lnTo>
                  <a:pt x="62" y="47"/>
                </a:lnTo>
                <a:lnTo>
                  <a:pt x="62" y="44"/>
                </a:lnTo>
                <a:lnTo>
                  <a:pt x="62" y="37"/>
                </a:lnTo>
                <a:lnTo>
                  <a:pt x="56" y="37"/>
                </a:lnTo>
                <a:lnTo>
                  <a:pt x="50" y="28"/>
                </a:lnTo>
                <a:lnTo>
                  <a:pt x="53" y="25"/>
                </a:lnTo>
                <a:lnTo>
                  <a:pt x="56" y="22"/>
                </a:lnTo>
                <a:lnTo>
                  <a:pt x="56" y="19"/>
                </a:lnTo>
                <a:lnTo>
                  <a:pt x="59" y="12"/>
                </a:lnTo>
                <a:lnTo>
                  <a:pt x="59" y="9"/>
                </a:lnTo>
                <a:lnTo>
                  <a:pt x="59" y="6"/>
                </a:lnTo>
                <a:lnTo>
                  <a:pt x="53" y="12"/>
                </a:lnTo>
                <a:lnTo>
                  <a:pt x="50" y="16"/>
                </a:lnTo>
                <a:lnTo>
                  <a:pt x="47" y="16"/>
                </a:lnTo>
                <a:lnTo>
                  <a:pt x="43" y="6"/>
                </a:lnTo>
                <a:lnTo>
                  <a:pt x="43" y="6"/>
                </a:lnTo>
                <a:lnTo>
                  <a:pt x="43" y="3"/>
                </a:lnTo>
                <a:lnTo>
                  <a:pt x="40" y="0"/>
                </a:lnTo>
                <a:lnTo>
                  <a:pt x="37" y="3"/>
                </a:lnTo>
                <a:lnTo>
                  <a:pt x="37" y="3"/>
                </a:lnTo>
                <a:lnTo>
                  <a:pt x="34" y="3"/>
                </a:lnTo>
                <a:lnTo>
                  <a:pt x="28" y="3"/>
                </a:lnTo>
                <a:lnTo>
                  <a:pt x="22" y="6"/>
                </a:lnTo>
                <a:lnTo>
                  <a:pt x="15" y="9"/>
                </a:lnTo>
                <a:lnTo>
                  <a:pt x="15" y="9"/>
                </a:lnTo>
                <a:lnTo>
                  <a:pt x="15" y="12"/>
                </a:lnTo>
                <a:lnTo>
                  <a:pt x="15" y="16"/>
                </a:lnTo>
                <a:lnTo>
                  <a:pt x="15" y="22"/>
                </a:lnTo>
                <a:lnTo>
                  <a:pt x="15" y="28"/>
                </a:lnTo>
                <a:lnTo>
                  <a:pt x="12" y="37"/>
                </a:lnTo>
                <a:lnTo>
                  <a:pt x="12" y="44"/>
                </a:lnTo>
                <a:lnTo>
                  <a:pt x="15" y="47"/>
                </a:lnTo>
                <a:lnTo>
                  <a:pt x="15" y="47"/>
                </a:lnTo>
                <a:lnTo>
                  <a:pt x="15" y="47"/>
                </a:lnTo>
                <a:lnTo>
                  <a:pt x="12" y="50"/>
                </a:lnTo>
                <a:lnTo>
                  <a:pt x="15" y="53"/>
                </a:lnTo>
                <a:lnTo>
                  <a:pt x="15" y="56"/>
                </a:lnTo>
                <a:lnTo>
                  <a:pt x="12" y="62"/>
                </a:lnTo>
                <a:lnTo>
                  <a:pt x="9" y="66"/>
                </a:lnTo>
                <a:lnTo>
                  <a:pt x="9" y="66"/>
                </a:lnTo>
                <a:lnTo>
                  <a:pt x="6" y="69"/>
                </a:lnTo>
                <a:lnTo>
                  <a:pt x="3" y="72"/>
                </a:lnTo>
                <a:lnTo>
                  <a:pt x="0" y="81"/>
                </a:lnTo>
                <a:lnTo>
                  <a:pt x="0" y="84"/>
                </a:lnTo>
                <a:lnTo>
                  <a:pt x="3" y="87"/>
                </a:lnTo>
                <a:lnTo>
                  <a:pt x="3" y="91"/>
                </a:lnTo>
                <a:lnTo>
                  <a:pt x="6" y="94"/>
                </a:lnTo>
                <a:lnTo>
                  <a:pt x="6" y="94"/>
                </a:lnTo>
                <a:lnTo>
                  <a:pt x="12" y="100"/>
                </a:lnTo>
                <a:lnTo>
                  <a:pt x="12" y="103"/>
                </a:lnTo>
                <a:lnTo>
                  <a:pt x="18" y="106"/>
                </a:lnTo>
                <a:lnTo>
                  <a:pt x="18" y="109"/>
                </a:lnTo>
                <a:lnTo>
                  <a:pt x="22" y="109"/>
                </a:lnTo>
                <a:lnTo>
                  <a:pt x="28" y="116"/>
                </a:lnTo>
                <a:lnTo>
                  <a:pt x="40" y="153"/>
                </a:lnTo>
                <a:lnTo>
                  <a:pt x="40" y="153"/>
                </a:lnTo>
                <a:close/>
                <a:moveTo>
                  <a:pt x="56" y="78"/>
                </a:moveTo>
                <a:lnTo>
                  <a:pt x="59" y="78"/>
                </a:lnTo>
                <a:lnTo>
                  <a:pt x="62" y="78"/>
                </a:lnTo>
                <a:lnTo>
                  <a:pt x="62" y="81"/>
                </a:lnTo>
                <a:lnTo>
                  <a:pt x="59" y="81"/>
                </a:lnTo>
                <a:lnTo>
                  <a:pt x="56" y="78"/>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6" name="Freeform 114">
            <a:extLst>
              <a:ext uri="{FF2B5EF4-FFF2-40B4-BE49-F238E27FC236}">
                <a16:creationId xmlns:a16="http://schemas.microsoft.com/office/drawing/2014/main" id="{E920A03B-2FF5-5BCE-10F0-C715AC6434E3}"/>
              </a:ext>
            </a:extLst>
          </p:cNvPr>
          <p:cNvSpPr>
            <a:spLocks/>
          </p:cNvSpPr>
          <p:nvPr userDrawn="1"/>
        </p:nvSpPr>
        <p:spPr bwMode="auto">
          <a:xfrm>
            <a:off x="12642030" y="6952537"/>
            <a:ext cx="1250869" cy="1212850"/>
          </a:xfrm>
          <a:custGeom>
            <a:avLst/>
            <a:gdLst>
              <a:gd name="T0" fmla="*/ 391 w 394"/>
              <a:gd name="T1" fmla="*/ 291 h 382"/>
              <a:gd name="T2" fmla="*/ 382 w 394"/>
              <a:gd name="T3" fmla="*/ 275 h 382"/>
              <a:gd name="T4" fmla="*/ 363 w 394"/>
              <a:gd name="T5" fmla="*/ 272 h 382"/>
              <a:gd name="T6" fmla="*/ 357 w 394"/>
              <a:gd name="T7" fmla="*/ 263 h 382"/>
              <a:gd name="T8" fmla="*/ 357 w 394"/>
              <a:gd name="T9" fmla="*/ 250 h 382"/>
              <a:gd name="T10" fmla="*/ 347 w 394"/>
              <a:gd name="T11" fmla="*/ 238 h 382"/>
              <a:gd name="T12" fmla="*/ 347 w 394"/>
              <a:gd name="T13" fmla="*/ 229 h 382"/>
              <a:gd name="T14" fmla="*/ 354 w 394"/>
              <a:gd name="T15" fmla="*/ 216 h 382"/>
              <a:gd name="T16" fmla="*/ 354 w 394"/>
              <a:gd name="T17" fmla="*/ 200 h 382"/>
              <a:gd name="T18" fmla="*/ 350 w 394"/>
              <a:gd name="T19" fmla="*/ 182 h 382"/>
              <a:gd name="T20" fmla="*/ 347 w 394"/>
              <a:gd name="T21" fmla="*/ 157 h 382"/>
              <a:gd name="T22" fmla="*/ 347 w 394"/>
              <a:gd name="T23" fmla="*/ 147 h 382"/>
              <a:gd name="T24" fmla="*/ 325 w 394"/>
              <a:gd name="T25" fmla="*/ 103 h 382"/>
              <a:gd name="T26" fmla="*/ 319 w 394"/>
              <a:gd name="T27" fmla="*/ 94 h 382"/>
              <a:gd name="T28" fmla="*/ 310 w 394"/>
              <a:gd name="T29" fmla="*/ 85 h 382"/>
              <a:gd name="T30" fmla="*/ 307 w 394"/>
              <a:gd name="T31" fmla="*/ 75 h 382"/>
              <a:gd name="T32" fmla="*/ 316 w 394"/>
              <a:gd name="T33" fmla="*/ 60 h 382"/>
              <a:gd name="T34" fmla="*/ 322 w 394"/>
              <a:gd name="T35" fmla="*/ 50 h 382"/>
              <a:gd name="T36" fmla="*/ 322 w 394"/>
              <a:gd name="T37" fmla="*/ 41 h 382"/>
              <a:gd name="T38" fmla="*/ 319 w 394"/>
              <a:gd name="T39" fmla="*/ 38 h 382"/>
              <a:gd name="T40" fmla="*/ 322 w 394"/>
              <a:gd name="T41" fmla="*/ 16 h 382"/>
              <a:gd name="T42" fmla="*/ 322 w 394"/>
              <a:gd name="T43" fmla="*/ 3 h 382"/>
              <a:gd name="T44" fmla="*/ 313 w 394"/>
              <a:gd name="T45" fmla="*/ 3 h 382"/>
              <a:gd name="T46" fmla="*/ 297 w 394"/>
              <a:gd name="T47" fmla="*/ 0 h 382"/>
              <a:gd name="T48" fmla="*/ 285 w 394"/>
              <a:gd name="T49" fmla="*/ 6 h 382"/>
              <a:gd name="T50" fmla="*/ 279 w 394"/>
              <a:gd name="T51" fmla="*/ 0 h 382"/>
              <a:gd name="T52" fmla="*/ 272 w 394"/>
              <a:gd name="T53" fmla="*/ 6 h 382"/>
              <a:gd name="T54" fmla="*/ 263 w 394"/>
              <a:gd name="T55" fmla="*/ 10 h 382"/>
              <a:gd name="T56" fmla="*/ 250 w 394"/>
              <a:gd name="T57" fmla="*/ 6 h 382"/>
              <a:gd name="T58" fmla="*/ 238 w 394"/>
              <a:gd name="T59" fmla="*/ 6 h 382"/>
              <a:gd name="T60" fmla="*/ 232 w 394"/>
              <a:gd name="T61" fmla="*/ 3 h 382"/>
              <a:gd name="T62" fmla="*/ 219 w 394"/>
              <a:gd name="T63" fmla="*/ 6 h 382"/>
              <a:gd name="T64" fmla="*/ 207 w 394"/>
              <a:gd name="T65" fmla="*/ 10 h 382"/>
              <a:gd name="T66" fmla="*/ 191 w 394"/>
              <a:gd name="T67" fmla="*/ 10 h 382"/>
              <a:gd name="T68" fmla="*/ 175 w 394"/>
              <a:gd name="T69" fmla="*/ 19 h 382"/>
              <a:gd name="T70" fmla="*/ 166 w 394"/>
              <a:gd name="T71" fmla="*/ 28 h 382"/>
              <a:gd name="T72" fmla="*/ 160 w 394"/>
              <a:gd name="T73" fmla="*/ 28 h 382"/>
              <a:gd name="T74" fmla="*/ 150 w 394"/>
              <a:gd name="T75" fmla="*/ 31 h 382"/>
              <a:gd name="T76" fmla="*/ 144 w 394"/>
              <a:gd name="T77" fmla="*/ 38 h 382"/>
              <a:gd name="T78" fmla="*/ 128 w 394"/>
              <a:gd name="T79" fmla="*/ 44 h 382"/>
              <a:gd name="T80" fmla="*/ 135 w 394"/>
              <a:gd name="T81" fmla="*/ 50 h 382"/>
              <a:gd name="T82" fmla="*/ 135 w 394"/>
              <a:gd name="T83" fmla="*/ 63 h 382"/>
              <a:gd name="T84" fmla="*/ 138 w 394"/>
              <a:gd name="T85" fmla="*/ 88 h 382"/>
              <a:gd name="T86" fmla="*/ 144 w 394"/>
              <a:gd name="T87" fmla="*/ 97 h 382"/>
              <a:gd name="T88" fmla="*/ 150 w 394"/>
              <a:gd name="T89" fmla="*/ 100 h 382"/>
              <a:gd name="T90" fmla="*/ 144 w 394"/>
              <a:gd name="T91" fmla="*/ 113 h 382"/>
              <a:gd name="T92" fmla="*/ 113 w 394"/>
              <a:gd name="T93" fmla="*/ 119 h 382"/>
              <a:gd name="T94" fmla="*/ 107 w 394"/>
              <a:gd name="T95" fmla="*/ 135 h 382"/>
              <a:gd name="T96" fmla="*/ 72 w 394"/>
              <a:gd name="T97" fmla="*/ 160 h 382"/>
              <a:gd name="T98" fmla="*/ 41 w 394"/>
              <a:gd name="T99" fmla="*/ 172 h 382"/>
              <a:gd name="T100" fmla="*/ 19 w 394"/>
              <a:gd name="T101" fmla="*/ 175 h 382"/>
              <a:gd name="T102" fmla="*/ 0 w 394"/>
              <a:gd name="T103" fmla="*/ 191 h 382"/>
              <a:gd name="T104" fmla="*/ 0 w 394"/>
              <a:gd name="T105" fmla="*/ 213 h 382"/>
              <a:gd name="T106" fmla="*/ 72 w 394"/>
              <a:gd name="T107" fmla="*/ 260 h 382"/>
              <a:gd name="T108" fmla="*/ 203 w 394"/>
              <a:gd name="T109" fmla="*/ 354 h 382"/>
              <a:gd name="T110" fmla="*/ 219 w 394"/>
              <a:gd name="T111" fmla="*/ 360 h 382"/>
              <a:gd name="T112" fmla="*/ 232 w 394"/>
              <a:gd name="T113" fmla="*/ 369 h 382"/>
              <a:gd name="T114" fmla="*/ 232 w 394"/>
              <a:gd name="T115" fmla="*/ 382 h 382"/>
              <a:gd name="T116" fmla="*/ 253 w 394"/>
              <a:gd name="T117" fmla="*/ 379 h 382"/>
              <a:gd name="T118" fmla="*/ 282 w 394"/>
              <a:gd name="T119" fmla="*/ 372 h 382"/>
              <a:gd name="T120" fmla="*/ 394 w 394"/>
              <a:gd name="T121" fmla="*/ 294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4" h="382">
                <a:moveTo>
                  <a:pt x="394" y="294"/>
                </a:moveTo>
                <a:lnTo>
                  <a:pt x="391" y="294"/>
                </a:lnTo>
                <a:lnTo>
                  <a:pt x="391" y="291"/>
                </a:lnTo>
                <a:lnTo>
                  <a:pt x="388" y="288"/>
                </a:lnTo>
                <a:lnTo>
                  <a:pt x="385" y="279"/>
                </a:lnTo>
                <a:lnTo>
                  <a:pt x="382" y="275"/>
                </a:lnTo>
                <a:lnTo>
                  <a:pt x="379" y="272"/>
                </a:lnTo>
                <a:lnTo>
                  <a:pt x="369" y="272"/>
                </a:lnTo>
                <a:lnTo>
                  <a:pt x="363" y="272"/>
                </a:lnTo>
                <a:lnTo>
                  <a:pt x="360" y="269"/>
                </a:lnTo>
                <a:lnTo>
                  <a:pt x="360" y="266"/>
                </a:lnTo>
                <a:lnTo>
                  <a:pt x="357" y="263"/>
                </a:lnTo>
                <a:lnTo>
                  <a:pt x="357" y="260"/>
                </a:lnTo>
                <a:lnTo>
                  <a:pt x="357" y="257"/>
                </a:lnTo>
                <a:lnTo>
                  <a:pt x="357" y="250"/>
                </a:lnTo>
                <a:lnTo>
                  <a:pt x="357" y="250"/>
                </a:lnTo>
                <a:lnTo>
                  <a:pt x="350" y="244"/>
                </a:lnTo>
                <a:lnTo>
                  <a:pt x="347" y="238"/>
                </a:lnTo>
                <a:lnTo>
                  <a:pt x="344" y="235"/>
                </a:lnTo>
                <a:lnTo>
                  <a:pt x="344" y="232"/>
                </a:lnTo>
                <a:lnTo>
                  <a:pt x="347" y="229"/>
                </a:lnTo>
                <a:lnTo>
                  <a:pt x="350" y="225"/>
                </a:lnTo>
                <a:lnTo>
                  <a:pt x="354" y="225"/>
                </a:lnTo>
                <a:lnTo>
                  <a:pt x="354" y="216"/>
                </a:lnTo>
                <a:lnTo>
                  <a:pt x="350" y="213"/>
                </a:lnTo>
                <a:lnTo>
                  <a:pt x="350" y="210"/>
                </a:lnTo>
                <a:lnTo>
                  <a:pt x="354" y="200"/>
                </a:lnTo>
                <a:lnTo>
                  <a:pt x="350" y="194"/>
                </a:lnTo>
                <a:lnTo>
                  <a:pt x="350" y="185"/>
                </a:lnTo>
                <a:lnTo>
                  <a:pt x="350" y="182"/>
                </a:lnTo>
                <a:lnTo>
                  <a:pt x="350" y="175"/>
                </a:lnTo>
                <a:lnTo>
                  <a:pt x="350" y="163"/>
                </a:lnTo>
                <a:lnTo>
                  <a:pt x="347" y="157"/>
                </a:lnTo>
                <a:lnTo>
                  <a:pt x="344" y="157"/>
                </a:lnTo>
                <a:lnTo>
                  <a:pt x="344" y="150"/>
                </a:lnTo>
                <a:lnTo>
                  <a:pt x="347" y="147"/>
                </a:lnTo>
                <a:lnTo>
                  <a:pt x="335" y="110"/>
                </a:lnTo>
                <a:lnTo>
                  <a:pt x="329" y="103"/>
                </a:lnTo>
                <a:lnTo>
                  <a:pt x="325" y="103"/>
                </a:lnTo>
                <a:lnTo>
                  <a:pt x="325" y="100"/>
                </a:lnTo>
                <a:lnTo>
                  <a:pt x="319" y="97"/>
                </a:lnTo>
                <a:lnTo>
                  <a:pt x="319" y="94"/>
                </a:lnTo>
                <a:lnTo>
                  <a:pt x="313" y="88"/>
                </a:lnTo>
                <a:lnTo>
                  <a:pt x="313" y="88"/>
                </a:lnTo>
                <a:lnTo>
                  <a:pt x="310" y="85"/>
                </a:lnTo>
                <a:lnTo>
                  <a:pt x="310" y="81"/>
                </a:lnTo>
                <a:lnTo>
                  <a:pt x="307" y="78"/>
                </a:lnTo>
                <a:lnTo>
                  <a:pt x="307" y="75"/>
                </a:lnTo>
                <a:lnTo>
                  <a:pt x="310" y="66"/>
                </a:lnTo>
                <a:lnTo>
                  <a:pt x="313" y="63"/>
                </a:lnTo>
                <a:lnTo>
                  <a:pt x="316" y="60"/>
                </a:lnTo>
                <a:lnTo>
                  <a:pt x="316" y="60"/>
                </a:lnTo>
                <a:lnTo>
                  <a:pt x="319" y="56"/>
                </a:lnTo>
                <a:lnTo>
                  <a:pt x="322" y="50"/>
                </a:lnTo>
                <a:lnTo>
                  <a:pt x="322" y="47"/>
                </a:lnTo>
                <a:lnTo>
                  <a:pt x="319" y="44"/>
                </a:lnTo>
                <a:lnTo>
                  <a:pt x="322" y="41"/>
                </a:lnTo>
                <a:lnTo>
                  <a:pt x="322" y="41"/>
                </a:lnTo>
                <a:lnTo>
                  <a:pt x="322" y="41"/>
                </a:lnTo>
                <a:lnTo>
                  <a:pt x="319" y="38"/>
                </a:lnTo>
                <a:lnTo>
                  <a:pt x="319" y="31"/>
                </a:lnTo>
                <a:lnTo>
                  <a:pt x="322" y="22"/>
                </a:lnTo>
                <a:lnTo>
                  <a:pt x="322" y="16"/>
                </a:lnTo>
                <a:lnTo>
                  <a:pt x="322" y="10"/>
                </a:lnTo>
                <a:lnTo>
                  <a:pt x="322" y="6"/>
                </a:lnTo>
                <a:lnTo>
                  <a:pt x="322" y="3"/>
                </a:lnTo>
                <a:lnTo>
                  <a:pt x="322" y="3"/>
                </a:lnTo>
                <a:lnTo>
                  <a:pt x="316" y="3"/>
                </a:lnTo>
                <a:lnTo>
                  <a:pt x="313" y="3"/>
                </a:lnTo>
                <a:lnTo>
                  <a:pt x="307" y="6"/>
                </a:lnTo>
                <a:lnTo>
                  <a:pt x="300" y="3"/>
                </a:lnTo>
                <a:lnTo>
                  <a:pt x="297" y="0"/>
                </a:lnTo>
                <a:lnTo>
                  <a:pt x="297" y="3"/>
                </a:lnTo>
                <a:lnTo>
                  <a:pt x="291" y="6"/>
                </a:lnTo>
                <a:lnTo>
                  <a:pt x="285" y="6"/>
                </a:lnTo>
                <a:lnTo>
                  <a:pt x="285" y="3"/>
                </a:lnTo>
                <a:lnTo>
                  <a:pt x="282" y="0"/>
                </a:lnTo>
                <a:lnTo>
                  <a:pt x="279" y="0"/>
                </a:lnTo>
                <a:lnTo>
                  <a:pt x="279" y="3"/>
                </a:lnTo>
                <a:lnTo>
                  <a:pt x="272" y="3"/>
                </a:lnTo>
                <a:lnTo>
                  <a:pt x="272" y="6"/>
                </a:lnTo>
                <a:lnTo>
                  <a:pt x="269" y="6"/>
                </a:lnTo>
                <a:lnTo>
                  <a:pt x="266" y="6"/>
                </a:lnTo>
                <a:lnTo>
                  <a:pt x="263" y="10"/>
                </a:lnTo>
                <a:lnTo>
                  <a:pt x="257" y="10"/>
                </a:lnTo>
                <a:lnTo>
                  <a:pt x="257" y="6"/>
                </a:lnTo>
                <a:lnTo>
                  <a:pt x="250" y="6"/>
                </a:lnTo>
                <a:lnTo>
                  <a:pt x="247" y="3"/>
                </a:lnTo>
                <a:lnTo>
                  <a:pt x="241" y="6"/>
                </a:lnTo>
                <a:lnTo>
                  <a:pt x="238" y="6"/>
                </a:lnTo>
                <a:lnTo>
                  <a:pt x="235" y="6"/>
                </a:lnTo>
                <a:lnTo>
                  <a:pt x="232" y="3"/>
                </a:lnTo>
                <a:lnTo>
                  <a:pt x="232" y="3"/>
                </a:lnTo>
                <a:lnTo>
                  <a:pt x="228" y="10"/>
                </a:lnTo>
                <a:lnTo>
                  <a:pt x="225" y="10"/>
                </a:lnTo>
                <a:lnTo>
                  <a:pt x="219" y="6"/>
                </a:lnTo>
                <a:lnTo>
                  <a:pt x="216" y="13"/>
                </a:lnTo>
                <a:lnTo>
                  <a:pt x="213" y="13"/>
                </a:lnTo>
                <a:lnTo>
                  <a:pt x="207" y="10"/>
                </a:lnTo>
                <a:lnTo>
                  <a:pt x="203" y="10"/>
                </a:lnTo>
                <a:lnTo>
                  <a:pt x="197" y="13"/>
                </a:lnTo>
                <a:lnTo>
                  <a:pt x="191" y="10"/>
                </a:lnTo>
                <a:lnTo>
                  <a:pt x="182" y="19"/>
                </a:lnTo>
                <a:lnTo>
                  <a:pt x="175" y="19"/>
                </a:lnTo>
                <a:lnTo>
                  <a:pt x="175" y="19"/>
                </a:lnTo>
                <a:lnTo>
                  <a:pt x="169" y="22"/>
                </a:lnTo>
                <a:lnTo>
                  <a:pt x="169" y="25"/>
                </a:lnTo>
                <a:lnTo>
                  <a:pt x="166" y="28"/>
                </a:lnTo>
                <a:lnTo>
                  <a:pt x="166" y="28"/>
                </a:lnTo>
                <a:lnTo>
                  <a:pt x="163" y="28"/>
                </a:lnTo>
                <a:lnTo>
                  <a:pt x="160" y="28"/>
                </a:lnTo>
                <a:lnTo>
                  <a:pt x="160" y="28"/>
                </a:lnTo>
                <a:lnTo>
                  <a:pt x="157" y="31"/>
                </a:lnTo>
                <a:lnTo>
                  <a:pt x="150" y="31"/>
                </a:lnTo>
                <a:lnTo>
                  <a:pt x="147" y="31"/>
                </a:lnTo>
                <a:lnTo>
                  <a:pt x="144" y="35"/>
                </a:lnTo>
                <a:lnTo>
                  <a:pt x="144" y="38"/>
                </a:lnTo>
                <a:lnTo>
                  <a:pt x="141" y="41"/>
                </a:lnTo>
                <a:lnTo>
                  <a:pt x="135" y="44"/>
                </a:lnTo>
                <a:lnTo>
                  <a:pt x="128" y="44"/>
                </a:lnTo>
                <a:lnTo>
                  <a:pt x="132" y="47"/>
                </a:lnTo>
                <a:lnTo>
                  <a:pt x="132" y="47"/>
                </a:lnTo>
                <a:lnTo>
                  <a:pt x="135" y="50"/>
                </a:lnTo>
                <a:lnTo>
                  <a:pt x="135" y="53"/>
                </a:lnTo>
                <a:lnTo>
                  <a:pt x="135" y="56"/>
                </a:lnTo>
                <a:lnTo>
                  <a:pt x="135" y="63"/>
                </a:lnTo>
                <a:lnTo>
                  <a:pt x="135" y="69"/>
                </a:lnTo>
                <a:lnTo>
                  <a:pt x="135" y="72"/>
                </a:lnTo>
                <a:lnTo>
                  <a:pt x="138" y="88"/>
                </a:lnTo>
                <a:lnTo>
                  <a:pt x="141" y="94"/>
                </a:lnTo>
                <a:lnTo>
                  <a:pt x="141" y="97"/>
                </a:lnTo>
                <a:lnTo>
                  <a:pt x="144" y="97"/>
                </a:lnTo>
                <a:lnTo>
                  <a:pt x="147" y="100"/>
                </a:lnTo>
                <a:lnTo>
                  <a:pt x="147" y="100"/>
                </a:lnTo>
                <a:lnTo>
                  <a:pt x="150" y="100"/>
                </a:lnTo>
                <a:lnTo>
                  <a:pt x="147" y="107"/>
                </a:lnTo>
                <a:lnTo>
                  <a:pt x="147" y="107"/>
                </a:lnTo>
                <a:lnTo>
                  <a:pt x="144" y="113"/>
                </a:lnTo>
                <a:lnTo>
                  <a:pt x="122" y="113"/>
                </a:lnTo>
                <a:lnTo>
                  <a:pt x="119" y="113"/>
                </a:lnTo>
                <a:lnTo>
                  <a:pt x="113" y="119"/>
                </a:lnTo>
                <a:lnTo>
                  <a:pt x="110" y="122"/>
                </a:lnTo>
                <a:lnTo>
                  <a:pt x="107" y="128"/>
                </a:lnTo>
                <a:lnTo>
                  <a:pt x="107" y="135"/>
                </a:lnTo>
                <a:lnTo>
                  <a:pt x="107" y="138"/>
                </a:lnTo>
                <a:lnTo>
                  <a:pt x="91" y="147"/>
                </a:lnTo>
                <a:lnTo>
                  <a:pt x="72" y="160"/>
                </a:lnTo>
                <a:lnTo>
                  <a:pt x="53" y="169"/>
                </a:lnTo>
                <a:lnTo>
                  <a:pt x="47" y="172"/>
                </a:lnTo>
                <a:lnTo>
                  <a:pt x="41" y="172"/>
                </a:lnTo>
                <a:lnTo>
                  <a:pt x="35" y="172"/>
                </a:lnTo>
                <a:lnTo>
                  <a:pt x="32" y="172"/>
                </a:lnTo>
                <a:lnTo>
                  <a:pt x="19" y="175"/>
                </a:lnTo>
                <a:lnTo>
                  <a:pt x="13" y="178"/>
                </a:lnTo>
                <a:lnTo>
                  <a:pt x="10" y="182"/>
                </a:lnTo>
                <a:lnTo>
                  <a:pt x="0" y="191"/>
                </a:lnTo>
                <a:lnTo>
                  <a:pt x="0" y="207"/>
                </a:lnTo>
                <a:lnTo>
                  <a:pt x="0" y="207"/>
                </a:lnTo>
                <a:lnTo>
                  <a:pt x="0" y="213"/>
                </a:lnTo>
                <a:lnTo>
                  <a:pt x="0" y="213"/>
                </a:lnTo>
                <a:lnTo>
                  <a:pt x="0" y="213"/>
                </a:lnTo>
                <a:lnTo>
                  <a:pt x="72" y="260"/>
                </a:lnTo>
                <a:lnTo>
                  <a:pt x="72" y="260"/>
                </a:lnTo>
                <a:lnTo>
                  <a:pt x="200" y="344"/>
                </a:lnTo>
                <a:lnTo>
                  <a:pt x="203" y="354"/>
                </a:lnTo>
                <a:lnTo>
                  <a:pt x="207" y="357"/>
                </a:lnTo>
                <a:lnTo>
                  <a:pt x="213" y="357"/>
                </a:lnTo>
                <a:lnTo>
                  <a:pt x="219" y="360"/>
                </a:lnTo>
                <a:lnTo>
                  <a:pt x="222" y="363"/>
                </a:lnTo>
                <a:lnTo>
                  <a:pt x="228" y="366"/>
                </a:lnTo>
                <a:lnTo>
                  <a:pt x="232" y="369"/>
                </a:lnTo>
                <a:lnTo>
                  <a:pt x="232" y="372"/>
                </a:lnTo>
                <a:lnTo>
                  <a:pt x="228" y="379"/>
                </a:lnTo>
                <a:lnTo>
                  <a:pt x="232" y="382"/>
                </a:lnTo>
                <a:lnTo>
                  <a:pt x="235" y="382"/>
                </a:lnTo>
                <a:lnTo>
                  <a:pt x="244" y="382"/>
                </a:lnTo>
                <a:lnTo>
                  <a:pt x="253" y="379"/>
                </a:lnTo>
                <a:lnTo>
                  <a:pt x="253" y="379"/>
                </a:lnTo>
                <a:lnTo>
                  <a:pt x="253" y="379"/>
                </a:lnTo>
                <a:lnTo>
                  <a:pt x="282" y="372"/>
                </a:lnTo>
                <a:lnTo>
                  <a:pt x="307" y="351"/>
                </a:lnTo>
                <a:lnTo>
                  <a:pt x="394" y="294"/>
                </a:lnTo>
                <a:lnTo>
                  <a:pt x="394" y="294"/>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7" name="Freeform 115">
            <a:extLst>
              <a:ext uri="{FF2B5EF4-FFF2-40B4-BE49-F238E27FC236}">
                <a16:creationId xmlns:a16="http://schemas.microsoft.com/office/drawing/2014/main" id="{3178F600-193A-5956-2E3F-5727CB179D45}"/>
              </a:ext>
            </a:extLst>
          </p:cNvPr>
          <p:cNvSpPr>
            <a:spLocks/>
          </p:cNvSpPr>
          <p:nvPr userDrawn="1"/>
        </p:nvSpPr>
        <p:spPr bwMode="auto">
          <a:xfrm>
            <a:off x="12394394" y="7031909"/>
            <a:ext cx="723855" cy="577850"/>
          </a:xfrm>
          <a:custGeom>
            <a:avLst/>
            <a:gdLst>
              <a:gd name="T0" fmla="*/ 78 w 228"/>
              <a:gd name="T1" fmla="*/ 166 h 182"/>
              <a:gd name="T2" fmla="*/ 91 w 228"/>
              <a:gd name="T3" fmla="*/ 153 h 182"/>
              <a:gd name="T4" fmla="*/ 110 w 228"/>
              <a:gd name="T5" fmla="*/ 147 h 182"/>
              <a:gd name="T6" fmla="*/ 119 w 228"/>
              <a:gd name="T7" fmla="*/ 147 h 182"/>
              <a:gd name="T8" fmla="*/ 131 w 228"/>
              <a:gd name="T9" fmla="*/ 144 h 182"/>
              <a:gd name="T10" fmla="*/ 169 w 228"/>
              <a:gd name="T11" fmla="*/ 122 h 182"/>
              <a:gd name="T12" fmla="*/ 185 w 228"/>
              <a:gd name="T13" fmla="*/ 110 h 182"/>
              <a:gd name="T14" fmla="*/ 188 w 228"/>
              <a:gd name="T15" fmla="*/ 97 h 182"/>
              <a:gd name="T16" fmla="*/ 197 w 228"/>
              <a:gd name="T17" fmla="*/ 88 h 182"/>
              <a:gd name="T18" fmla="*/ 222 w 228"/>
              <a:gd name="T19" fmla="*/ 88 h 182"/>
              <a:gd name="T20" fmla="*/ 225 w 228"/>
              <a:gd name="T21" fmla="*/ 82 h 182"/>
              <a:gd name="T22" fmla="*/ 225 w 228"/>
              <a:gd name="T23" fmla="*/ 75 h 182"/>
              <a:gd name="T24" fmla="*/ 222 w 228"/>
              <a:gd name="T25" fmla="*/ 72 h 182"/>
              <a:gd name="T26" fmla="*/ 219 w 228"/>
              <a:gd name="T27" fmla="*/ 69 h 182"/>
              <a:gd name="T28" fmla="*/ 213 w 228"/>
              <a:gd name="T29" fmla="*/ 47 h 182"/>
              <a:gd name="T30" fmla="*/ 213 w 228"/>
              <a:gd name="T31" fmla="*/ 38 h 182"/>
              <a:gd name="T32" fmla="*/ 213 w 228"/>
              <a:gd name="T33" fmla="*/ 28 h 182"/>
              <a:gd name="T34" fmla="*/ 210 w 228"/>
              <a:gd name="T35" fmla="*/ 22 h 182"/>
              <a:gd name="T36" fmla="*/ 206 w 228"/>
              <a:gd name="T37" fmla="*/ 19 h 182"/>
              <a:gd name="T38" fmla="*/ 194 w 228"/>
              <a:gd name="T39" fmla="*/ 19 h 182"/>
              <a:gd name="T40" fmla="*/ 191 w 228"/>
              <a:gd name="T41" fmla="*/ 13 h 182"/>
              <a:gd name="T42" fmla="*/ 188 w 228"/>
              <a:gd name="T43" fmla="*/ 10 h 182"/>
              <a:gd name="T44" fmla="*/ 178 w 228"/>
              <a:gd name="T45" fmla="*/ 16 h 182"/>
              <a:gd name="T46" fmla="*/ 169 w 228"/>
              <a:gd name="T47" fmla="*/ 13 h 182"/>
              <a:gd name="T48" fmla="*/ 160 w 228"/>
              <a:gd name="T49" fmla="*/ 16 h 182"/>
              <a:gd name="T50" fmla="*/ 150 w 228"/>
              <a:gd name="T51" fmla="*/ 10 h 182"/>
              <a:gd name="T52" fmla="*/ 147 w 228"/>
              <a:gd name="T53" fmla="*/ 6 h 182"/>
              <a:gd name="T54" fmla="*/ 147 w 228"/>
              <a:gd name="T55" fmla="*/ 3 h 182"/>
              <a:gd name="T56" fmla="*/ 141 w 228"/>
              <a:gd name="T57" fmla="*/ 3 h 182"/>
              <a:gd name="T58" fmla="*/ 138 w 228"/>
              <a:gd name="T59" fmla="*/ 3 h 182"/>
              <a:gd name="T60" fmla="*/ 131 w 228"/>
              <a:gd name="T61" fmla="*/ 19 h 182"/>
              <a:gd name="T62" fmla="*/ 128 w 228"/>
              <a:gd name="T63" fmla="*/ 31 h 182"/>
              <a:gd name="T64" fmla="*/ 116 w 228"/>
              <a:gd name="T65" fmla="*/ 44 h 182"/>
              <a:gd name="T66" fmla="*/ 110 w 228"/>
              <a:gd name="T67" fmla="*/ 47 h 182"/>
              <a:gd name="T68" fmla="*/ 97 w 228"/>
              <a:gd name="T69" fmla="*/ 56 h 182"/>
              <a:gd name="T70" fmla="*/ 88 w 228"/>
              <a:gd name="T71" fmla="*/ 63 h 182"/>
              <a:gd name="T72" fmla="*/ 78 w 228"/>
              <a:gd name="T73" fmla="*/ 69 h 182"/>
              <a:gd name="T74" fmla="*/ 72 w 228"/>
              <a:gd name="T75" fmla="*/ 82 h 182"/>
              <a:gd name="T76" fmla="*/ 66 w 228"/>
              <a:gd name="T77" fmla="*/ 94 h 182"/>
              <a:gd name="T78" fmla="*/ 60 w 228"/>
              <a:gd name="T79" fmla="*/ 107 h 182"/>
              <a:gd name="T80" fmla="*/ 60 w 228"/>
              <a:gd name="T81" fmla="*/ 122 h 182"/>
              <a:gd name="T82" fmla="*/ 63 w 228"/>
              <a:gd name="T83" fmla="*/ 125 h 182"/>
              <a:gd name="T84" fmla="*/ 50 w 228"/>
              <a:gd name="T85" fmla="*/ 144 h 182"/>
              <a:gd name="T86" fmla="*/ 44 w 228"/>
              <a:gd name="T87" fmla="*/ 157 h 182"/>
              <a:gd name="T88" fmla="*/ 25 w 228"/>
              <a:gd name="T89" fmla="*/ 169 h 182"/>
              <a:gd name="T90" fmla="*/ 0 w 228"/>
              <a:gd name="T91" fmla="*/ 182 h 182"/>
              <a:gd name="T92" fmla="*/ 78 w 228"/>
              <a:gd name="T93"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8" h="182">
                <a:moveTo>
                  <a:pt x="78" y="182"/>
                </a:moveTo>
                <a:lnTo>
                  <a:pt x="78" y="166"/>
                </a:lnTo>
                <a:lnTo>
                  <a:pt x="88" y="157"/>
                </a:lnTo>
                <a:lnTo>
                  <a:pt x="91" y="153"/>
                </a:lnTo>
                <a:lnTo>
                  <a:pt x="97" y="150"/>
                </a:lnTo>
                <a:lnTo>
                  <a:pt x="110" y="147"/>
                </a:lnTo>
                <a:lnTo>
                  <a:pt x="113" y="147"/>
                </a:lnTo>
                <a:lnTo>
                  <a:pt x="119" y="147"/>
                </a:lnTo>
                <a:lnTo>
                  <a:pt x="125" y="147"/>
                </a:lnTo>
                <a:lnTo>
                  <a:pt x="131" y="144"/>
                </a:lnTo>
                <a:lnTo>
                  <a:pt x="150" y="135"/>
                </a:lnTo>
                <a:lnTo>
                  <a:pt x="169" y="122"/>
                </a:lnTo>
                <a:lnTo>
                  <a:pt x="185" y="113"/>
                </a:lnTo>
                <a:lnTo>
                  <a:pt x="185" y="110"/>
                </a:lnTo>
                <a:lnTo>
                  <a:pt x="185" y="103"/>
                </a:lnTo>
                <a:lnTo>
                  <a:pt x="188" y="97"/>
                </a:lnTo>
                <a:lnTo>
                  <a:pt x="191" y="94"/>
                </a:lnTo>
                <a:lnTo>
                  <a:pt x="197" y="88"/>
                </a:lnTo>
                <a:lnTo>
                  <a:pt x="200" y="88"/>
                </a:lnTo>
                <a:lnTo>
                  <a:pt x="222" y="88"/>
                </a:lnTo>
                <a:lnTo>
                  <a:pt x="225" y="82"/>
                </a:lnTo>
                <a:lnTo>
                  <a:pt x="225" y="82"/>
                </a:lnTo>
                <a:lnTo>
                  <a:pt x="228" y="75"/>
                </a:lnTo>
                <a:lnTo>
                  <a:pt x="225" y="75"/>
                </a:lnTo>
                <a:lnTo>
                  <a:pt x="225" y="75"/>
                </a:lnTo>
                <a:lnTo>
                  <a:pt x="222" y="72"/>
                </a:lnTo>
                <a:lnTo>
                  <a:pt x="219" y="72"/>
                </a:lnTo>
                <a:lnTo>
                  <a:pt x="219" y="69"/>
                </a:lnTo>
                <a:lnTo>
                  <a:pt x="216" y="63"/>
                </a:lnTo>
                <a:lnTo>
                  <a:pt x="213" y="47"/>
                </a:lnTo>
                <a:lnTo>
                  <a:pt x="213" y="44"/>
                </a:lnTo>
                <a:lnTo>
                  <a:pt x="213" y="38"/>
                </a:lnTo>
                <a:lnTo>
                  <a:pt x="213" y="31"/>
                </a:lnTo>
                <a:lnTo>
                  <a:pt x="213" y="28"/>
                </a:lnTo>
                <a:lnTo>
                  <a:pt x="213" y="25"/>
                </a:lnTo>
                <a:lnTo>
                  <a:pt x="210" y="22"/>
                </a:lnTo>
                <a:lnTo>
                  <a:pt x="210" y="22"/>
                </a:lnTo>
                <a:lnTo>
                  <a:pt x="206" y="19"/>
                </a:lnTo>
                <a:lnTo>
                  <a:pt x="203" y="19"/>
                </a:lnTo>
                <a:lnTo>
                  <a:pt x="194" y="19"/>
                </a:lnTo>
                <a:lnTo>
                  <a:pt x="191" y="16"/>
                </a:lnTo>
                <a:lnTo>
                  <a:pt x="191" y="13"/>
                </a:lnTo>
                <a:lnTo>
                  <a:pt x="188" y="10"/>
                </a:lnTo>
                <a:lnTo>
                  <a:pt x="188" y="10"/>
                </a:lnTo>
                <a:lnTo>
                  <a:pt x="185" y="16"/>
                </a:lnTo>
                <a:lnTo>
                  <a:pt x="178" y="16"/>
                </a:lnTo>
                <a:lnTo>
                  <a:pt x="172" y="16"/>
                </a:lnTo>
                <a:lnTo>
                  <a:pt x="169" y="13"/>
                </a:lnTo>
                <a:lnTo>
                  <a:pt x="166" y="16"/>
                </a:lnTo>
                <a:lnTo>
                  <a:pt x="160" y="16"/>
                </a:lnTo>
                <a:lnTo>
                  <a:pt x="153" y="16"/>
                </a:lnTo>
                <a:lnTo>
                  <a:pt x="150" y="10"/>
                </a:lnTo>
                <a:lnTo>
                  <a:pt x="147" y="10"/>
                </a:lnTo>
                <a:lnTo>
                  <a:pt x="147" y="6"/>
                </a:lnTo>
                <a:lnTo>
                  <a:pt x="147" y="3"/>
                </a:lnTo>
                <a:lnTo>
                  <a:pt x="147" y="3"/>
                </a:lnTo>
                <a:lnTo>
                  <a:pt x="144" y="0"/>
                </a:lnTo>
                <a:lnTo>
                  <a:pt x="141" y="3"/>
                </a:lnTo>
                <a:lnTo>
                  <a:pt x="141" y="3"/>
                </a:lnTo>
                <a:lnTo>
                  <a:pt x="138" y="3"/>
                </a:lnTo>
                <a:lnTo>
                  <a:pt x="135" y="6"/>
                </a:lnTo>
                <a:lnTo>
                  <a:pt x="131" y="19"/>
                </a:lnTo>
                <a:lnTo>
                  <a:pt x="128" y="25"/>
                </a:lnTo>
                <a:lnTo>
                  <a:pt x="128" y="31"/>
                </a:lnTo>
                <a:lnTo>
                  <a:pt x="125" y="38"/>
                </a:lnTo>
                <a:lnTo>
                  <a:pt x="116" y="44"/>
                </a:lnTo>
                <a:lnTo>
                  <a:pt x="113" y="44"/>
                </a:lnTo>
                <a:lnTo>
                  <a:pt x="110" y="47"/>
                </a:lnTo>
                <a:lnTo>
                  <a:pt x="103" y="50"/>
                </a:lnTo>
                <a:lnTo>
                  <a:pt x="97" y="56"/>
                </a:lnTo>
                <a:lnTo>
                  <a:pt x="94" y="56"/>
                </a:lnTo>
                <a:lnTo>
                  <a:pt x="88" y="63"/>
                </a:lnTo>
                <a:lnTo>
                  <a:pt x="81" y="63"/>
                </a:lnTo>
                <a:lnTo>
                  <a:pt x="78" y="69"/>
                </a:lnTo>
                <a:lnTo>
                  <a:pt x="69" y="75"/>
                </a:lnTo>
                <a:lnTo>
                  <a:pt x="72" y="82"/>
                </a:lnTo>
                <a:lnTo>
                  <a:pt x="72" y="85"/>
                </a:lnTo>
                <a:lnTo>
                  <a:pt x="66" y="94"/>
                </a:lnTo>
                <a:lnTo>
                  <a:pt x="60" y="103"/>
                </a:lnTo>
                <a:lnTo>
                  <a:pt x="60" y="107"/>
                </a:lnTo>
                <a:lnTo>
                  <a:pt x="63" y="113"/>
                </a:lnTo>
                <a:lnTo>
                  <a:pt x="60" y="122"/>
                </a:lnTo>
                <a:lnTo>
                  <a:pt x="63" y="122"/>
                </a:lnTo>
                <a:lnTo>
                  <a:pt x="63" y="125"/>
                </a:lnTo>
                <a:lnTo>
                  <a:pt x="63" y="132"/>
                </a:lnTo>
                <a:lnTo>
                  <a:pt x="50" y="144"/>
                </a:lnTo>
                <a:lnTo>
                  <a:pt x="50" y="150"/>
                </a:lnTo>
                <a:lnTo>
                  <a:pt x="44" y="157"/>
                </a:lnTo>
                <a:lnTo>
                  <a:pt x="38" y="157"/>
                </a:lnTo>
                <a:lnTo>
                  <a:pt x="25" y="169"/>
                </a:lnTo>
                <a:lnTo>
                  <a:pt x="3" y="172"/>
                </a:lnTo>
                <a:lnTo>
                  <a:pt x="0" y="182"/>
                </a:lnTo>
                <a:lnTo>
                  <a:pt x="78" y="182"/>
                </a:lnTo>
                <a:lnTo>
                  <a:pt x="78" y="182"/>
                </a:lnTo>
                <a:lnTo>
                  <a:pt x="78" y="182"/>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8" name="Freeform 116">
            <a:extLst>
              <a:ext uri="{FF2B5EF4-FFF2-40B4-BE49-F238E27FC236}">
                <a16:creationId xmlns:a16="http://schemas.microsoft.com/office/drawing/2014/main" id="{410972D6-96EE-C511-5928-A4D17BAEC05E}"/>
              </a:ext>
            </a:extLst>
          </p:cNvPr>
          <p:cNvSpPr>
            <a:spLocks/>
          </p:cNvSpPr>
          <p:nvPr userDrawn="1"/>
        </p:nvSpPr>
        <p:spPr bwMode="auto">
          <a:xfrm>
            <a:off x="12137237" y="7609756"/>
            <a:ext cx="504793" cy="406400"/>
          </a:xfrm>
          <a:custGeom>
            <a:avLst/>
            <a:gdLst>
              <a:gd name="T0" fmla="*/ 159 w 159"/>
              <a:gd name="T1" fmla="*/ 6 h 128"/>
              <a:gd name="T2" fmla="*/ 159 w 159"/>
              <a:gd name="T3" fmla="*/ 0 h 128"/>
              <a:gd name="T4" fmla="*/ 81 w 159"/>
              <a:gd name="T5" fmla="*/ 0 h 128"/>
              <a:gd name="T6" fmla="*/ 72 w 159"/>
              <a:gd name="T7" fmla="*/ 9 h 128"/>
              <a:gd name="T8" fmla="*/ 72 w 159"/>
              <a:gd name="T9" fmla="*/ 15 h 128"/>
              <a:gd name="T10" fmla="*/ 69 w 159"/>
              <a:gd name="T11" fmla="*/ 15 h 128"/>
              <a:gd name="T12" fmla="*/ 56 w 159"/>
              <a:gd name="T13" fmla="*/ 25 h 128"/>
              <a:gd name="T14" fmla="*/ 56 w 159"/>
              <a:gd name="T15" fmla="*/ 28 h 128"/>
              <a:gd name="T16" fmla="*/ 50 w 159"/>
              <a:gd name="T17" fmla="*/ 31 h 128"/>
              <a:gd name="T18" fmla="*/ 50 w 159"/>
              <a:gd name="T19" fmla="*/ 37 h 128"/>
              <a:gd name="T20" fmla="*/ 37 w 159"/>
              <a:gd name="T21" fmla="*/ 53 h 128"/>
              <a:gd name="T22" fmla="*/ 37 w 159"/>
              <a:gd name="T23" fmla="*/ 59 h 128"/>
              <a:gd name="T24" fmla="*/ 28 w 159"/>
              <a:gd name="T25" fmla="*/ 68 h 128"/>
              <a:gd name="T26" fmla="*/ 25 w 159"/>
              <a:gd name="T27" fmla="*/ 68 h 128"/>
              <a:gd name="T28" fmla="*/ 22 w 159"/>
              <a:gd name="T29" fmla="*/ 81 h 128"/>
              <a:gd name="T30" fmla="*/ 22 w 159"/>
              <a:gd name="T31" fmla="*/ 84 h 128"/>
              <a:gd name="T32" fmla="*/ 12 w 159"/>
              <a:gd name="T33" fmla="*/ 93 h 128"/>
              <a:gd name="T34" fmla="*/ 12 w 159"/>
              <a:gd name="T35" fmla="*/ 97 h 128"/>
              <a:gd name="T36" fmla="*/ 16 w 159"/>
              <a:gd name="T37" fmla="*/ 97 h 128"/>
              <a:gd name="T38" fmla="*/ 12 w 159"/>
              <a:gd name="T39" fmla="*/ 100 h 128"/>
              <a:gd name="T40" fmla="*/ 6 w 159"/>
              <a:gd name="T41" fmla="*/ 109 h 128"/>
              <a:gd name="T42" fmla="*/ 3 w 159"/>
              <a:gd name="T43" fmla="*/ 109 h 128"/>
              <a:gd name="T44" fmla="*/ 0 w 159"/>
              <a:gd name="T45" fmla="*/ 112 h 128"/>
              <a:gd name="T46" fmla="*/ 0 w 159"/>
              <a:gd name="T47" fmla="*/ 118 h 128"/>
              <a:gd name="T48" fmla="*/ 0 w 159"/>
              <a:gd name="T49" fmla="*/ 122 h 128"/>
              <a:gd name="T50" fmla="*/ 0 w 159"/>
              <a:gd name="T51" fmla="*/ 128 h 128"/>
              <a:gd name="T52" fmla="*/ 78 w 159"/>
              <a:gd name="T53" fmla="*/ 128 h 128"/>
              <a:gd name="T54" fmla="*/ 78 w 159"/>
              <a:gd name="T55" fmla="*/ 93 h 128"/>
              <a:gd name="T56" fmla="*/ 81 w 159"/>
              <a:gd name="T57" fmla="*/ 87 h 128"/>
              <a:gd name="T58" fmla="*/ 84 w 159"/>
              <a:gd name="T59" fmla="*/ 84 h 128"/>
              <a:gd name="T60" fmla="*/ 91 w 159"/>
              <a:gd name="T61" fmla="*/ 84 h 128"/>
              <a:gd name="T62" fmla="*/ 97 w 159"/>
              <a:gd name="T63" fmla="*/ 84 h 128"/>
              <a:gd name="T64" fmla="*/ 97 w 159"/>
              <a:gd name="T65" fmla="*/ 31 h 128"/>
              <a:gd name="T66" fmla="*/ 159 w 159"/>
              <a:gd name="T67" fmla="*/ 34 h 128"/>
              <a:gd name="T68" fmla="*/ 159 w 159"/>
              <a:gd name="T69" fmla="*/ 6 h 128"/>
              <a:gd name="T70" fmla="*/ 159 w 159"/>
              <a:gd name="T71" fmla="*/ 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28">
                <a:moveTo>
                  <a:pt x="159" y="6"/>
                </a:moveTo>
                <a:lnTo>
                  <a:pt x="159" y="0"/>
                </a:lnTo>
                <a:lnTo>
                  <a:pt x="81" y="0"/>
                </a:lnTo>
                <a:lnTo>
                  <a:pt x="72" y="9"/>
                </a:lnTo>
                <a:lnTo>
                  <a:pt x="72" y="15"/>
                </a:lnTo>
                <a:lnTo>
                  <a:pt x="69" y="15"/>
                </a:lnTo>
                <a:lnTo>
                  <a:pt x="56" y="25"/>
                </a:lnTo>
                <a:lnTo>
                  <a:pt x="56" y="28"/>
                </a:lnTo>
                <a:lnTo>
                  <a:pt x="50" y="31"/>
                </a:lnTo>
                <a:lnTo>
                  <a:pt x="50" y="37"/>
                </a:lnTo>
                <a:lnTo>
                  <a:pt x="37" y="53"/>
                </a:lnTo>
                <a:lnTo>
                  <a:pt x="37" y="59"/>
                </a:lnTo>
                <a:lnTo>
                  <a:pt x="28" y="68"/>
                </a:lnTo>
                <a:lnTo>
                  <a:pt x="25" y="68"/>
                </a:lnTo>
                <a:lnTo>
                  <a:pt x="22" y="81"/>
                </a:lnTo>
                <a:lnTo>
                  <a:pt x="22" y="84"/>
                </a:lnTo>
                <a:lnTo>
                  <a:pt x="12" y="93"/>
                </a:lnTo>
                <a:lnTo>
                  <a:pt x="12" y="97"/>
                </a:lnTo>
                <a:lnTo>
                  <a:pt x="16" y="97"/>
                </a:lnTo>
                <a:lnTo>
                  <a:pt x="12" y="100"/>
                </a:lnTo>
                <a:lnTo>
                  <a:pt x="6" y="109"/>
                </a:lnTo>
                <a:lnTo>
                  <a:pt x="3" y="109"/>
                </a:lnTo>
                <a:lnTo>
                  <a:pt x="0" y="112"/>
                </a:lnTo>
                <a:lnTo>
                  <a:pt x="0" y="118"/>
                </a:lnTo>
                <a:lnTo>
                  <a:pt x="0" y="122"/>
                </a:lnTo>
                <a:lnTo>
                  <a:pt x="0" y="128"/>
                </a:lnTo>
                <a:lnTo>
                  <a:pt x="78" y="128"/>
                </a:lnTo>
                <a:lnTo>
                  <a:pt x="78" y="93"/>
                </a:lnTo>
                <a:lnTo>
                  <a:pt x="81" y="87"/>
                </a:lnTo>
                <a:lnTo>
                  <a:pt x="84" y="84"/>
                </a:lnTo>
                <a:lnTo>
                  <a:pt x="91" y="84"/>
                </a:lnTo>
                <a:lnTo>
                  <a:pt x="97" y="84"/>
                </a:lnTo>
                <a:lnTo>
                  <a:pt x="97" y="31"/>
                </a:lnTo>
                <a:lnTo>
                  <a:pt x="159" y="34"/>
                </a:lnTo>
                <a:lnTo>
                  <a:pt x="159" y="6"/>
                </a:lnTo>
                <a:lnTo>
                  <a:pt x="159" y="6"/>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9" name="Freeform 117">
            <a:extLst>
              <a:ext uri="{FF2B5EF4-FFF2-40B4-BE49-F238E27FC236}">
                <a16:creationId xmlns:a16="http://schemas.microsoft.com/office/drawing/2014/main" id="{9F97AA04-E302-134D-90C9-36CDDF49BD4C}"/>
              </a:ext>
            </a:extLst>
          </p:cNvPr>
          <p:cNvSpPr>
            <a:spLocks/>
          </p:cNvSpPr>
          <p:nvPr userDrawn="1"/>
        </p:nvSpPr>
        <p:spPr bwMode="auto">
          <a:xfrm>
            <a:off x="12127709" y="7628811"/>
            <a:ext cx="742902" cy="803278"/>
          </a:xfrm>
          <a:custGeom>
            <a:avLst/>
            <a:gdLst>
              <a:gd name="T0" fmla="*/ 81 w 234"/>
              <a:gd name="T1" fmla="*/ 122 h 253"/>
              <a:gd name="T2" fmla="*/ 84 w 234"/>
              <a:gd name="T3" fmla="*/ 81 h 253"/>
              <a:gd name="T4" fmla="*/ 94 w 234"/>
              <a:gd name="T5" fmla="*/ 78 h 253"/>
              <a:gd name="T6" fmla="*/ 100 w 234"/>
              <a:gd name="T7" fmla="*/ 25 h 253"/>
              <a:gd name="T8" fmla="*/ 162 w 234"/>
              <a:gd name="T9" fmla="*/ 0 h 253"/>
              <a:gd name="T10" fmla="*/ 234 w 234"/>
              <a:gd name="T11" fmla="*/ 47 h 253"/>
              <a:gd name="T12" fmla="*/ 209 w 234"/>
              <a:gd name="T13" fmla="*/ 47 h 253"/>
              <a:gd name="T14" fmla="*/ 231 w 234"/>
              <a:gd name="T15" fmla="*/ 225 h 253"/>
              <a:gd name="T16" fmla="*/ 156 w 234"/>
              <a:gd name="T17" fmla="*/ 241 h 253"/>
              <a:gd name="T18" fmla="*/ 150 w 234"/>
              <a:gd name="T19" fmla="*/ 238 h 253"/>
              <a:gd name="T20" fmla="*/ 144 w 234"/>
              <a:gd name="T21" fmla="*/ 241 h 253"/>
              <a:gd name="T22" fmla="*/ 144 w 234"/>
              <a:gd name="T23" fmla="*/ 234 h 253"/>
              <a:gd name="T24" fmla="*/ 128 w 234"/>
              <a:gd name="T25" fmla="*/ 238 h 253"/>
              <a:gd name="T26" fmla="*/ 122 w 234"/>
              <a:gd name="T27" fmla="*/ 244 h 253"/>
              <a:gd name="T28" fmla="*/ 119 w 234"/>
              <a:gd name="T29" fmla="*/ 234 h 253"/>
              <a:gd name="T30" fmla="*/ 106 w 234"/>
              <a:gd name="T31" fmla="*/ 234 h 253"/>
              <a:gd name="T32" fmla="*/ 106 w 234"/>
              <a:gd name="T33" fmla="*/ 244 h 253"/>
              <a:gd name="T34" fmla="*/ 100 w 234"/>
              <a:gd name="T35" fmla="*/ 250 h 253"/>
              <a:gd name="T36" fmla="*/ 94 w 234"/>
              <a:gd name="T37" fmla="*/ 253 h 253"/>
              <a:gd name="T38" fmla="*/ 87 w 234"/>
              <a:gd name="T39" fmla="*/ 247 h 253"/>
              <a:gd name="T40" fmla="*/ 84 w 234"/>
              <a:gd name="T41" fmla="*/ 244 h 253"/>
              <a:gd name="T42" fmla="*/ 78 w 234"/>
              <a:gd name="T43" fmla="*/ 238 h 253"/>
              <a:gd name="T44" fmla="*/ 75 w 234"/>
              <a:gd name="T45" fmla="*/ 228 h 253"/>
              <a:gd name="T46" fmla="*/ 69 w 234"/>
              <a:gd name="T47" fmla="*/ 228 h 253"/>
              <a:gd name="T48" fmla="*/ 65 w 234"/>
              <a:gd name="T49" fmla="*/ 228 h 253"/>
              <a:gd name="T50" fmla="*/ 62 w 234"/>
              <a:gd name="T51" fmla="*/ 225 h 253"/>
              <a:gd name="T52" fmla="*/ 53 w 234"/>
              <a:gd name="T53" fmla="*/ 219 h 253"/>
              <a:gd name="T54" fmla="*/ 40 w 234"/>
              <a:gd name="T55" fmla="*/ 216 h 253"/>
              <a:gd name="T56" fmla="*/ 19 w 234"/>
              <a:gd name="T57" fmla="*/ 222 h 253"/>
              <a:gd name="T58" fmla="*/ 12 w 234"/>
              <a:gd name="T59" fmla="*/ 225 h 253"/>
              <a:gd name="T60" fmla="*/ 9 w 234"/>
              <a:gd name="T61" fmla="*/ 219 h 253"/>
              <a:gd name="T62" fmla="*/ 19 w 234"/>
              <a:gd name="T63" fmla="*/ 200 h 253"/>
              <a:gd name="T64" fmla="*/ 15 w 234"/>
              <a:gd name="T65" fmla="*/ 166 h 253"/>
              <a:gd name="T66" fmla="*/ 12 w 234"/>
              <a:gd name="T67" fmla="*/ 156 h 253"/>
              <a:gd name="T68" fmla="*/ 15 w 234"/>
              <a:gd name="T69" fmla="*/ 150 h 253"/>
              <a:gd name="T70" fmla="*/ 15 w 234"/>
              <a:gd name="T71" fmla="*/ 144 h 253"/>
              <a:gd name="T72" fmla="*/ 9 w 234"/>
              <a:gd name="T73" fmla="*/ 138 h 253"/>
              <a:gd name="T74" fmla="*/ 6 w 234"/>
              <a:gd name="T75" fmla="*/ 131 h 253"/>
              <a:gd name="T76" fmla="*/ 0 w 234"/>
              <a:gd name="T77" fmla="*/ 128 h 253"/>
              <a:gd name="T78" fmla="*/ 3 w 234"/>
              <a:gd name="T79" fmla="*/ 122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253">
                <a:moveTo>
                  <a:pt x="3" y="122"/>
                </a:moveTo>
                <a:lnTo>
                  <a:pt x="81" y="122"/>
                </a:lnTo>
                <a:lnTo>
                  <a:pt x="81" y="87"/>
                </a:lnTo>
                <a:lnTo>
                  <a:pt x="84" y="81"/>
                </a:lnTo>
                <a:lnTo>
                  <a:pt x="87" y="78"/>
                </a:lnTo>
                <a:lnTo>
                  <a:pt x="94" y="78"/>
                </a:lnTo>
                <a:lnTo>
                  <a:pt x="100" y="78"/>
                </a:lnTo>
                <a:lnTo>
                  <a:pt x="100" y="25"/>
                </a:lnTo>
                <a:lnTo>
                  <a:pt x="162" y="28"/>
                </a:lnTo>
                <a:lnTo>
                  <a:pt x="162" y="0"/>
                </a:lnTo>
                <a:lnTo>
                  <a:pt x="234" y="47"/>
                </a:lnTo>
                <a:lnTo>
                  <a:pt x="234" y="47"/>
                </a:lnTo>
                <a:lnTo>
                  <a:pt x="234" y="47"/>
                </a:lnTo>
                <a:lnTo>
                  <a:pt x="209" y="47"/>
                </a:lnTo>
                <a:lnTo>
                  <a:pt x="225" y="219"/>
                </a:lnTo>
                <a:lnTo>
                  <a:pt x="231" y="225"/>
                </a:lnTo>
                <a:lnTo>
                  <a:pt x="225" y="241"/>
                </a:lnTo>
                <a:lnTo>
                  <a:pt x="156" y="241"/>
                </a:lnTo>
                <a:lnTo>
                  <a:pt x="153" y="241"/>
                </a:lnTo>
                <a:lnTo>
                  <a:pt x="150" y="238"/>
                </a:lnTo>
                <a:lnTo>
                  <a:pt x="147" y="238"/>
                </a:lnTo>
                <a:lnTo>
                  <a:pt x="144" y="241"/>
                </a:lnTo>
                <a:lnTo>
                  <a:pt x="144" y="241"/>
                </a:lnTo>
                <a:lnTo>
                  <a:pt x="144" y="234"/>
                </a:lnTo>
                <a:lnTo>
                  <a:pt x="137" y="231"/>
                </a:lnTo>
                <a:lnTo>
                  <a:pt x="128" y="238"/>
                </a:lnTo>
                <a:lnTo>
                  <a:pt x="122" y="247"/>
                </a:lnTo>
                <a:lnTo>
                  <a:pt x="122" y="244"/>
                </a:lnTo>
                <a:lnTo>
                  <a:pt x="119" y="238"/>
                </a:lnTo>
                <a:lnTo>
                  <a:pt x="119" y="234"/>
                </a:lnTo>
                <a:lnTo>
                  <a:pt x="112" y="234"/>
                </a:lnTo>
                <a:lnTo>
                  <a:pt x="106" y="234"/>
                </a:lnTo>
                <a:lnTo>
                  <a:pt x="106" y="244"/>
                </a:lnTo>
                <a:lnTo>
                  <a:pt x="106" y="244"/>
                </a:lnTo>
                <a:lnTo>
                  <a:pt x="103" y="250"/>
                </a:lnTo>
                <a:lnTo>
                  <a:pt x="100" y="250"/>
                </a:lnTo>
                <a:lnTo>
                  <a:pt x="94" y="253"/>
                </a:lnTo>
                <a:lnTo>
                  <a:pt x="94" y="253"/>
                </a:lnTo>
                <a:lnTo>
                  <a:pt x="94" y="250"/>
                </a:lnTo>
                <a:lnTo>
                  <a:pt x="87" y="247"/>
                </a:lnTo>
                <a:lnTo>
                  <a:pt x="84" y="247"/>
                </a:lnTo>
                <a:lnTo>
                  <a:pt x="84" y="244"/>
                </a:lnTo>
                <a:lnTo>
                  <a:pt x="78" y="241"/>
                </a:lnTo>
                <a:lnTo>
                  <a:pt x="78" y="238"/>
                </a:lnTo>
                <a:lnTo>
                  <a:pt x="75" y="234"/>
                </a:lnTo>
                <a:lnTo>
                  <a:pt x="75" y="228"/>
                </a:lnTo>
                <a:lnTo>
                  <a:pt x="72" y="228"/>
                </a:lnTo>
                <a:lnTo>
                  <a:pt x="69" y="228"/>
                </a:lnTo>
                <a:lnTo>
                  <a:pt x="69" y="228"/>
                </a:lnTo>
                <a:lnTo>
                  <a:pt x="65" y="228"/>
                </a:lnTo>
                <a:lnTo>
                  <a:pt x="62" y="228"/>
                </a:lnTo>
                <a:lnTo>
                  <a:pt x="62" y="225"/>
                </a:lnTo>
                <a:lnTo>
                  <a:pt x="56" y="219"/>
                </a:lnTo>
                <a:lnTo>
                  <a:pt x="53" y="219"/>
                </a:lnTo>
                <a:lnTo>
                  <a:pt x="44" y="216"/>
                </a:lnTo>
                <a:lnTo>
                  <a:pt x="40" y="216"/>
                </a:lnTo>
                <a:lnTo>
                  <a:pt x="28" y="219"/>
                </a:lnTo>
                <a:lnTo>
                  <a:pt x="19" y="222"/>
                </a:lnTo>
                <a:lnTo>
                  <a:pt x="15" y="225"/>
                </a:lnTo>
                <a:lnTo>
                  <a:pt x="12" y="225"/>
                </a:lnTo>
                <a:lnTo>
                  <a:pt x="9" y="228"/>
                </a:lnTo>
                <a:lnTo>
                  <a:pt x="9" y="219"/>
                </a:lnTo>
                <a:lnTo>
                  <a:pt x="12" y="206"/>
                </a:lnTo>
                <a:lnTo>
                  <a:pt x="19" y="200"/>
                </a:lnTo>
                <a:lnTo>
                  <a:pt x="19" y="188"/>
                </a:lnTo>
                <a:lnTo>
                  <a:pt x="15" y="166"/>
                </a:lnTo>
                <a:lnTo>
                  <a:pt x="9" y="156"/>
                </a:lnTo>
                <a:lnTo>
                  <a:pt x="12" y="156"/>
                </a:lnTo>
                <a:lnTo>
                  <a:pt x="15" y="156"/>
                </a:lnTo>
                <a:lnTo>
                  <a:pt x="15" y="150"/>
                </a:lnTo>
                <a:lnTo>
                  <a:pt x="15" y="144"/>
                </a:lnTo>
                <a:lnTo>
                  <a:pt x="15" y="144"/>
                </a:lnTo>
                <a:lnTo>
                  <a:pt x="12" y="134"/>
                </a:lnTo>
                <a:lnTo>
                  <a:pt x="9" y="138"/>
                </a:lnTo>
                <a:lnTo>
                  <a:pt x="6" y="134"/>
                </a:lnTo>
                <a:lnTo>
                  <a:pt x="6" y="131"/>
                </a:lnTo>
                <a:lnTo>
                  <a:pt x="0" y="134"/>
                </a:lnTo>
                <a:lnTo>
                  <a:pt x="0" y="128"/>
                </a:lnTo>
                <a:lnTo>
                  <a:pt x="3" y="125"/>
                </a:lnTo>
                <a:lnTo>
                  <a:pt x="3" y="122"/>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0" name="Freeform 118">
            <a:extLst>
              <a:ext uri="{FF2B5EF4-FFF2-40B4-BE49-F238E27FC236}">
                <a16:creationId xmlns:a16="http://schemas.microsoft.com/office/drawing/2014/main" id="{71C38E70-D65E-47CF-03BC-BE49FD036274}"/>
              </a:ext>
            </a:extLst>
          </p:cNvPr>
          <p:cNvSpPr>
            <a:spLocks/>
          </p:cNvSpPr>
          <p:nvPr userDrawn="1"/>
        </p:nvSpPr>
        <p:spPr bwMode="auto">
          <a:xfrm>
            <a:off x="12426139" y="7778032"/>
            <a:ext cx="1019110" cy="942976"/>
          </a:xfrm>
          <a:custGeom>
            <a:avLst/>
            <a:gdLst>
              <a:gd name="T0" fmla="*/ 9 w 321"/>
              <a:gd name="T1" fmla="*/ 203 h 297"/>
              <a:gd name="T2" fmla="*/ 12 w 321"/>
              <a:gd name="T3" fmla="*/ 187 h 297"/>
              <a:gd name="T4" fmla="*/ 25 w 321"/>
              <a:gd name="T5" fmla="*/ 191 h 297"/>
              <a:gd name="T6" fmla="*/ 34 w 321"/>
              <a:gd name="T7" fmla="*/ 191 h 297"/>
              <a:gd name="T8" fmla="*/ 50 w 321"/>
              <a:gd name="T9" fmla="*/ 194 h 297"/>
              <a:gd name="T10" fmla="*/ 56 w 321"/>
              <a:gd name="T11" fmla="*/ 191 h 297"/>
              <a:gd name="T12" fmla="*/ 131 w 321"/>
              <a:gd name="T13" fmla="*/ 194 h 297"/>
              <a:gd name="T14" fmla="*/ 115 w 321"/>
              <a:gd name="T15" fmla="*/ 0 h 297"/>
              <a:gd name="T16" fmla="*/ 271 w 321"/>
              <a:gd name="T17" fmla="*/ 94 h 297"/>
              <a:gd name="T18" fmla="*/ 287 w 321"/>
              <a:gd name="T19" fmla="*/ 100 h 297"/>
              <a:gd name="T20" fmla="*/ 300 w 321"/>
              <a:gd name="T21" fmla="*/ 109 h 297"/>
              <a:gd name="T22" fmla="*/ 300 w 321"/>
              <a:gd name="T23" fmla="*/ 122 h 297"/>
              <a:gd name="T24" fmla="*/ 321 w 321"/>
              <a:gd name="T25" fmla="*/ 119 h 297"/>
              <a:gd name="T26" fmla="*/ 318 w 321"/>
              <a:gd name="T27" fmla="*/ 175 h 297"/>
              <a:gd name="T28" fmla="*/ 312 w 321"/>
              <a:gd name="T29" fmla="*/ 187 h 297"/>
              <a:gd name="T30" fmla="*/ 290 w 321"/>
              <a:gd name="T31" fmla="*/ 197 h 297"/>
              <a:gd name="T32" fmla="*/ 275 w 321"/>
              <a:gd name="T33" fmla="*/ 200 h 297"/>
              <a:gd name="T34" fmla="*/ 250 w 321"/>
              <a:gd name="T35" fmla="*/ 203 h 297"/>
              <a:gd name="T36" fmla="*/ 243 w 321"/>
              <a:gd name="T37" fmla="*/ 203 h 297"/>
              <a:gd name="T38" fmla="*/ 231 w 321"/>
              <a:gd name="T39" fmla="*/ 200 h 297"/>
              <a:gd name="T40" fmla="*/ 209 w 321"/>
              <a:gd name="T41" fmla="*/ 209 h 297"/>
              <a:gd name="T42" fmla="*/ 181 w 321"/>
              <a:gd name="T43" fmla="*/ 228 h 297"/>
              <a:gd name="T44" fmla="*/ 162 w 321"/>
              <a:gd name="T45" fmla="*/ 231 h 297"/>
              <a:gd name="T46" fmla="*/ 156 w 321"/>
              <a:gd name="T47" fmla="*/ 244 h 297"/>
              <a:gd name="T48" fmla="*/ 146 w 321"/>
              <a:gd name="T49" fmla="*/ 263 h 297"/>
              <a:gd name="T50" fmla="*/ 137 w 321"/>
              <a:gd name="T51" fmla="*/ 272 h 297"/>
              <a:gd name="T52" fmla="*/ 134 w 321"/>
              <a:gd name="T53" fmla="*/ 281 h 297"/>
              <a:gd name="T54" fmla="*/ 134 w 321"/>
              <a:gd name="T55" fmla="*/ 291 h 297"/>
              <a:gd name="T56" fmla="*/ 121 w 321"/>
              <a:gd name="T57" fmla="*/ 294 h 297"/>
              <a:gd name="T58" fmla="*/ 112 w 321"/>
              <a:gd name="T59" fmla="*/ 294 h 297"/>
              <a:gd name="T60" fmla="*/ 103 w 321"/>
              <a:gd name="T61" fmla="*/ 294 h 297"/>
              <a:gd name="T62" fmla="*/ 87 w 321"/>
              <a:gd name="T63" fmla="*/ 297 h 297"/>
              <a:gd name="T64" fmla="*/ 81 w 321"/>
              <a:gd name="T65" fmla="*/ 291 h 297"/>
              <a:gd name="T66" fmla="*/ 81 w 321"/>
              <a:gd name="T67" fmla="*/ 284 h 297"/>
              <a:gd name="T68" fmla="*/ 71 w 321"/>
              <a:gd name="T69" fmla="*/ 288 h 297"/>
              <a:gd name="T70" fmla="*/ 78 w 321"/>
              <a:gd name="T71" fmla="*/ 275 h 297"/>
              <a:gd name="T72" fmla="*/ 71 w 321"/>
              <a:gd name="T73" fmla="*/ 266 h 297"/>
              <a:gd name="T74" fmla="*/ 65 w 321"/>
              <a:gd name="T75" fmla="*/ 256 h 297"/>
              <a:gd name="T76" fmla="*/ 56 w 321"/>
              <a:gd name="T77" fmla="*/ 256 h 297"/>
              <a:gd name="T78" fmla="*/ 43 w 321"/>
              <a:gd name="T79" fmla="*/ 263 h 297"/>
              <a:gd name="T80" fmla="*/ 31 w 321"/>
              <a:gd name="T81" fmla="*/ 263 h 297"/>
              <a:gd name="T82" fmla="*/ 21 w 321"/>
              <a:gd name="T83" fmla="*/ 263 h 297"/>
              <a:gd name="T84" fmla="*/ 25 w 321"/>
              <a:gd name="T85" fmla="*/ 256 h 297"/>
              <a:gd name="T86" fmla="*/ 18 w 321"/>
              <a:gd name="T87" fmla="*/ 247 h 297"/>
              <a:gd name="T88" fmla="*/ 15 w 321"/>
              <a:gd name="T89" fmla="*/ 241 h 297"/>
              <a:gd name="T90" fmla="*/ 9 w 321"/>
              <a:gd name="T91" fmla="*/ 238 h 297"/>
              <a:gd name="T92" fmla="*/ 3 w 321"/>
              <a:gd name="T93" fmla="*/ 225 h 297"/>
              <a:gd name="T94" fmla="*/ 3 w 321"/>
              <a:gd name="T95" fmla="*/ 209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1" h="297">
                <a:moveTo>
                  <a:pt x="0" y="206"/>
                </a:moveTo>
                <a:lnTo>
                  <a:pt x="6" y="203"/>
                </a:lnTo>
                <a:lnTo>
                  <a:pt x="9" y="203"/>
                </a:lnTo>
                <a:lnTo>
                  <a:pt x="12" y="197"/>
                </a:lnTo>
                <a:lnTo>
                  <a:pt x="12" y="197"/>
                </a:lnTo>
                <a:lnTo>
                  <a:pt x="12" y="187"/>
                </a:lnTo>
                <a:lnTo>
                  <a:pt x="18" y="187"/>
                </a:lnTo>
                <a:lnTo>
                  <a:pt x="25" y="187"/>
                </a:lnTo>
                <a:lnTo>
                  <a:pt x="25" y="191"/>
                </a:lnTo>
                <a:lnTo>
                  <a:pt x="28" y="197"/>
                </a:lnTo>
                <a:lnTo>
                  <a:pt x="28" y="200"/>
                </a:lnTo>
                <a:lnTo>
                  <a:pt x="34" y="191"/>
                </a:lnTo>
                <a:lnTo>
                  <a:pt x="43" y="184"/>
                </a:lnTo>
                <a:lnTo>
                  <a:pt x="50" y="187"/>
                </a:lnTo>
                <a:lnTo>
                  <a:pt x="50" y="194"/>
                </a:lnTo>
                <a:lnTo>
                  <a:pt x="50" y="194"/>
                </a:lnTo>
                <a:lnTo>
                  <a:pt x="53" y="191"/>
                </a:lnTo>
                <a:lnTo>
                  <a:pt x="56" y="191"/>
                </a:lnTo>
                <a:lnTo>
                  <a:pt x="59" y="194"/>
                </a:lnTo>
                <a:lnTo>
                  <a:pt x="62" y="194"/>
                </a:lnTo>
                <a:lnTo>
                  <a:pt x="131" y="194"/>
                </a:lnTo>
                <a:lnTo>
                  <a:pt x="137" y="178"/>
                </a:lnTo>
                <a:lnTo>
                  <a:pt x="131" y="172"/>
                </a:lnTo>
                <a:lnTo>
                  <a:pt x="115" y="0"/>
                </a:lnTo>
                <a:lnTo>
                  <a:pt x="140" y="0"/>
                </a:lnTo>
                <a:lnTo>
                  <a:pt x="268" y="84"/>
                </a:lnTo>
                <a:lnTo>
                  <a:pt x="271" y="94"/>
                </a:lnTo>
                <a:lnTo>
                  <a:pt x="275" y="97"/>
                </a:lnTo>
                <a:lnTo>
                  <a:pt x="281" y="97"/>
                </a:lnTo>
                <a:lnTo>
                  <a:pt x="287" y="100"/>
                </a:lnTo>
                <a:lnTo>
                  <a:pt x="290" y="103"/>
                </a:lnTo>
                <a:lnTo>
                  <a:pt x="296" y="106"/>
                </a:lnTo>
                <a:lnTo>
                  <a:pt x="300" y="109"/>
                </a:lnTo>
                <a:lnTo>
                  <a:pt x="300" y="112"/>
                </a:lnTo>
                <a:lnTo>
                  <a:pt x="296" y="119"/>
                </a:lnTo>
                <a:lnTo>
                  <a:pt x="300" y="122"/>
                </a:lnTo>
                <a:lnTo>
                  <a:pt x="303" y="122"/>
                </a:lnTo>
                <a:lnTo>
                  <a:pt x="312" y="122"/>
                </a:lnTo>
                <a:lnTo>
                  <a:pt x="321" y="119"/>
                </a:lnTo>
                <a:lnTo>
                  <a:pt x="321" y="119"/>
                </a:lnTo>
                <a:lnTo>
                  <a:pt x="318" y="156"/>
                </a:lnTo>
                <a:lnTo>
                  <a:pt x="318" y="175"/>
                </a:lnTo>
                <a:lnTo>
                  <a:pt x="315" y="178"/>
                </a:lnTo>
                <a:lnTo>
                  <a:pt x="315" y="184"/>
                </a:lnTo>
                <a:lnTo>
                  <a:pt x="312" y="187"/>
                </a:lnTo>
                <a:lnTo>
                  <a:pt x="303" y="194"/>
                </a:lnTo>
                <a:lnTo>
                  <a:pt x="296" y="197"/>
                </a:lnTo>
                <a:lnTo>
                  <a:pt x="290" y="197"/>
                </a:lnTo>
                <a:lnTo>
                  <a:pt x="287" y="200"/>
                </a:lnTo>
                <a:lnTo>
                  <a:pt x="281" y="200"/>
                </a:lnTo>
                <a:lnTo>
                  <a:pt x="275" y="200"/>
                </a:lnTo>
                <a:lnTo>
                  <a:pt x="268" y="203"/>
                </a:lnTo>
                <a:lnTo>
                  <a:pt x="262" y="203"/>
                </a:lnTo>
                <a:lnTo>
                  <a:pt x="250" y="203"/>
                </a:lnTo>
                <a:lnTo>
                  <a:pt x="246" y="203"/>
                </a:lnTo>
                <a:lnTo>
                  <a:pt x="246" y="203"/>
                </a:lnTo>
                <a:lnTo>
                  <a:pt x="243" y="203"/>
                </a:lnTo>
                <a:lnTo>
                  <a:pt x="240" y="203"/>
                </a:lnTo>
                <a:lnTo>
                  <a:pt x="234" y="200"/>
                </a:lnTo>
                <a:lnTo>
                  <a:pt x="231" y="200"/>
                </a:lnTo>
                <a:lnTo>
                  <a:pt x="221" y="203"/>
                </a:lnTo>
                <a:lnTo>
                  <a:pt x="215" y="206"/>
                </a:lnTo>
                <a:lnTo>
                  <a:pt x="209" y="209"/>
                </a:lnTo>
                <a:lnTo>
                  <a:pt x="193" y="219"/>
                </a:lnTo>
                <a:lnTo>
                  <a:pt x="184" y="225"/>
                </a:lnTo>
                <a:lnTo>
                  <a:pt x="181" y="228"/>
                </a:lnTo>
                <a:lnTo>
                  <a:pt x="171" y="231"/>
                </a:lnTo>
                <a:lnTo>
                  <a:pt x="168" y="231"/>
                </a:lnTo>
                <a:lnTo>
                  <a:pt x="162" y="231"/>
                </a:lnTo>
                <a:lnTo>
                  <a:pt x="162" y="234"/>
                </a:lnTo>
                <a:lnTo>
                  <a:pt x="159" y="234"/>
                </a:lnTo>
                <a:lnTo>
                  <a:pt x="156" y="244"/>
                </a:lnTo>
                <a:lnTo>
                  <a:pt x="156" y="247"/>
                </a:lnTo>
                <a:lnTo>
                  <a:pt x="150" y="253"/>
                </a:lnTo>
                <a:lnTo>
                  <a:pt x="146" y="263"/>
                </a:lnTo>
                <a:lnTo>
                  <a:pt x="140" y="266"/>
                </a:lnTo>
                <a:lnTo>
                  <a:pt x="137" y="269"/>
                </a:lnTo>
                <a:lnTo>
                  <a:pt x="137" y="272"/>
                </a:lnTo>
                <a:lnTo>
                  <a:pt x="140" y="278"/>
                </a:lnTo>
                <a:lnTo>
                  <a:pt x="134" y="278"/>
                </a:lnTo>
                <a:lnTo>
                  <a:pt x="134" y="281"/>
                </a:lnTo>
                <a:lnTo>
                  <a:pt x="137" y="284"/>
                </a:lnTo>
                <a:lnTo>
                  <a:pt x="134" y="291"/>
                </a:lnTo>
                <a:lnTo>
                  <a:pt x="134" y="291"/>
                </a:lnTo>
                <a:lnTo>
                  <a:pt x="131" y="297"/>
                </a:lnTo>
                <a:lnTo>
                  <a:pt x="125" y="297"/>
                </a:lnTo>
                <a:lnTo>
                  <a:pt x="121" y="294"/>
                </a:lnTo>
                <a:lnTo>
                  <a:pt x="121" y="291"/>
                </a:lnTo>
                <a:lnTo>
                  <a:pt x="118" y="291"/>
                </a:lnTo>
                <a:lnTo>
                  <a:pt x="112" y="294"/>
                </a:lnTo>
                <a:lnTo>
                  <a:pt x="112" y="294"/>
                </a:lnTo>
                <a:lnTo>
                  <a:pt x="109" y="297"/>
                </a:lnTo>
                <a:lnTo>
                  <a:pt x="103" y="294"/>
                </a:lnTo>
                <a:lnTo>
                  <a:pt x="96" y="294"/>
                </a:lnTo>
                <a:lnTo>
                  <a:pt x="93" y="294"/>
                </a:lnTo>
                <a:lnTo>
                  <a:pt x="87" y="297"/>
                </a:lnTo>
                <a:lnTo>
                  <a:pt x="87" y="294"/>
                </a:lnTo>
                <a:lnTo>
                  <a:pt x="87" y="291"/>
                </a:lnTo>
                <a:lnTo>
                  <a:pt x="81" y="291"/>
                </a:lnTo>
                <a:lnTo>
                  <a:pt x="81" y="291"/>
                </a:lnTo>
                <a:lnTo>
                  <a:pt x="81" y="288"/>
                </a:lnTo>
                <a:lnTo>
                  <a:pt x="81" y="284"/>
                </a:lnTo>
                <a:lnTo>
                  <a:pt x="78" y="284"/>
                </a:lnTo>
                <a:lnTo>
                  <a:pt x="75" y="284"/>
                </a:lnTo>
                <a:lnTo>
                  <a:pt x="71" y="288"/>
                </a:lnTo>
                <a:lnTo>
                  <a:pt x="75" y="281"/>
                </a:lnTo>
                <a:lnTo>
                  <a:pt x="78" y="275"/>
                </a:lnTo>
                <a:lnTo>
                  <a:pt x="78" y="275"/>
                </a:lnTo>
                <a:lnTo>
                  <a:pt x="71" y="272"/>
                </a:lnTo>
                <a:lnTo>
                  <a:pt x="71" y="272"/>
                </a:lnTo>
                <a:lnTo>
                  <a:pt x="71" y="266"/>
                </a:lnTo>
                <a:lnTo>
                  <a:pt x="71" y="263"/>
                </a:lnTo>
                <a:lnTo>
                  <a:pt x="65" y="259"/>
                </a:lnTo>
                <a:lnTo>
                  <a:pt x="65" y="256"/>
                </a:lnTo>
                <a:lnTo>
                  <a:pt x="62" y="256"/>
                </a:lnTo>
                <a:lnTo>
                  <a:pt x="59" y="259"/>
                </a:lnTo>
                <a:lnTo>
                  <a:pt x="56" y="256"/>
                </a:lnTo>
                <a:lnTo>
                  <a:pt x="50" y="256"/>
                </a:lnTo>
                <a:lnTo>
                  <a:pt x="46" y="263"/>
                </a:lnTo>
                <a:lnTo>
                  <a:pt x="43" y="263"/>
                </a:lnTo>
                <a:lnTo>
                  <a:pt x="40" y="266"/>
                </a:lnTo>
                <a:lnTo>
                  <a:pt x="37" y="266"/>
                </a:lnTo>
                <a:lnTo>
                  <a:pt x="31" y="263"/>
                </a:lnTo>
                <a:lnTo>
                  <a:pt x="28" y="263"/>
                </a:lnTo>
                <a:lnTo>
                  <a:pt x="25" y="263"/>
                </a:lnTo>
                <a:lnTo>
                  <a:pt x="21" y="263"/>
                </a:lnTo>
                <a:lnTo>
                  <a:pt x="21" y="263"/>
                </a:lnTo>
                <a:lnTo>
                  <a:pt x="25" y="259"/>
                </a:lnTo>
                <a:lnTo>
                  <a:pt x="25" y="256"/>
                </a:lnTo>
                <a:lnTo>
                  <a:pt x="18" y="253"/>
                </a:lnTo>
                <a:lnTo>
                  <a:pt x="18" y="250"/>
                </a:lnTo>
                <a:lnTo>
                  <a:pt x="18" y="247"/>
                </a:lnTo>
                <a:lnTo>
                  <a:pt x="18" y="247"/>
                </a:lnTo>
                <a:lnTo>
                  <a:pt x="15" y="244"/>
                </a:lnTo>
                <a:lnTo>
                  <a:pt x="15" y="241"/>
                </a:lnTo>
                <a:lnTo>
                  <a:pt x="12" y="238"/>
                </a:lnTo>
                <a:lnTo>
                  <a:pt x="12" y="238"/>
                </a:lnTo>
                <a:lnTo>
                  <a:pt x="9" y="238"/>
                </a:lnTo>
                <a:lnTo>
                  <a:pt x="6" y="231"/>
                </a:lnTo>
                <a:lnTo>
                  <a:pt x="3" y="228"/>
                </a:lnTo>
                <a:lnTo>
                  <a:pt x="3" y="225"/>
                </a:lnTo>
                <a:lnTo>
                  <a:pt x="3" y="216"/>
                </a:lnTo>
                <a:lnTo>
                  <a:pt x="3" y="213"/>
                </a:lnTo>
                <a:lnTo>
                  <a:pt x="3" y="209"/>
                </a:lnTo>
                <a:lnTo>
                  <a:pt x="0" y="206"/>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1" name="Freeform 119">
            <a:extLst>
              <a:ext uri="{FF2B5EF4-FFF2-40B4-BE49-F238E27FC236}">
                <a16:creationId xmlns:a16="http://schemas.microsoft.com/office/drawing/2014/main" id="{F41BA9EA-3123-4343-6262-66564A7208E8}"/>
              </a:ext>
            </a:extLst>
          </p:cNvPr>
          <p:cNvSpPr>
            <a:spLocks/>
          </p:cNvSpPr>
          <p:nvPr userDrawn="1"/>
        </p:nvSpPr>
        <p:spPr bwMode="auto">
          <a:xfrm>
            <a:off x="12851567" y="8413035"/>
            <a:ext cx="476219" cy="346078"/>
          </a:xfrm>
          <a:custGeom>
            <a:avLst/>
            <a:gdLst>
              <a:gd name="T0" fmla="*/ 3 w 150"/>
              <a:gd name="T1" fmla="*/ 84 h 109"/>
              <a:gd name="T2" fmla="*/ 0 w 150"/>
              <a:gd name="T3" fmla="*/ 78 h 109"/>
              <a:gd name="T4" fmla="*/ 3 w 150"/>
              <a:gd name="T5" fmla="*/ 72 h 109"/>
              <a:gd name="T6" fmla="*/ 6 w 150"/>
              <a:gd name="T7" fmla="*/ 66 h 109"/>
              <a:gd name="T8" fmla="*/ 16 w 150"/>
              <a:gd name="T9" fmla="*/ 53 h 109"/>
              <a:gd name="T10" fmla="*/ 22 w 150"/>
              <a:gd name="T11" fmla="*/ 44 h 109"/>
              <a:gd name="T12" fmla="*/ 28 w 150"/>
              <a:gd name="T13" fmla="*/ 34 h 109"/>
              <a:gd name="T14" fmla="*/ 34 w 150"/>
              <a:gd name="T15" fmla="*/ 31 h 109"/>
              <a:gd name="T16" fmla="*/ 47 w 150"/>
              <a:gd name="T17" fmla="*/ 28 h 109"/>
              <a:gd name="T18" fmla="*/ 59 w 150"/>
              <a:gd name="T19" fmla="*/ 19 h 109"/>
              <a:gd name="T20" fmla="*/ 81 w 150"/>
              <a:gd name="T21" fmla="*/ 6 h 109"/>
              <a:gd name="T22" fmla="*/ 97 w 150"/>
              <a:gd name="T23" fmla="*/ 0 h 109"/>
              <a:gd name="T24" fmla="*/ 106 w 150"/>
              <a:gd name="T25" fmla="*/ 3 h 109"/>
              <a:gd name="T26" fmla="*/ 112 w 150"/>
              <a:gd name="T27" fmla="*/ 3 h 109"/>
              <a:gd name="T28" fmla="*/ 109 w 150"/>
              <a:gd name="T29" fmla="*/ 9 h 109"/>
              <a:gd name="T30" fmla="*/ 106 w 150"/>
              <a:gd name="T31" fmla="*/ 22 h 109"/>
              <a:gd name="T32" fmla="*/ 125 w 150"/>
              <a:gd name="T33" fmla="*/ 41 h 109"/>
              <a:gd name="T34" fmla="*/ 141 w 150"/>
              <a:gd name="T35" fmla="*/ 41 h 109"/>
              <a:gd name="T36" fmla="*/ 144 w 150"/>
              <a:gd name="T37" fmla="*/ 44 h 109"/>
              <a:gd name="T38" fmla="*/ 147 w 150"/>
              <a:gd name="T39" fmla="*/ 50 h 109"/>
              <a:gd name="T40" fmla="*/ 147 w 150"/>
              <a:gd name="T41" fmla="*/ 59 h 109"/>
              <a:gd name="T42" fmla="*/ 150 w 150"/>
              <a:gd name="T43" fmla="*/ 63 h 109"/>
              <a:gd name="T44" fmla="*/ 141 w 150"/>
              <a:gd name="T45" fmla="*/ 69 h 109"/>
              <a:gd name="T46" fmla="*/ 134 w 150"/>
              <a:gd name="T47" fmla="*/ 69 h 109"/>
              <a:gd name="T48" fmla="*/ 128 w 150"/>
              <a:gd name="T49" fmla="*/ 75 h 109"/>
              <a:gd name="T50" fmla="*/ 128 w 150"/>
              <a:gd name="T51" fmla="*/ 81 h 109"/>
              <a:gd name="T52" fmla="*/ 122 w 150"/>
              <a:gd name="T53" fmla="*/ 84 h 109"/>
              <a:gd name="T54" fmla="*/ 100 w 150"/>
              <a:gd name="T55" fmla="*/ 78 h 109"/>
              <a:gd name="T56" fmla="*/ 97 w 150"/>
              <a:gd name="T57" fmla="*/ 78 h 109"/>
              <a:gd name="T58" fmla="*/ 87 w 150"/>
              <a:gd name="T59" fmla="*/ 81 h 109"/>
              <a:gd name="T60" fmla="*/ 72 w 150"/>
              <a:gd name="T61" fmla="*/ 81 h 109"/>
              <a:gd name="T62" fmla="*/ 56 w 150"/>
              <a:gd name="T63" fmla="*/ 84 h 109"/>
              <a:gd name="T64" fmla="*/ 47 w 150"/>
              <a:gd name="T65" fmla="*/ 88 h 109"/>
              <a:gd name="T66" fmla="*/ 50 w 150"/>
              <a:gd name="T67" fmla="*/ 97 h 109"/>
              <a:gd name="T68" fmla="*/ 53 w 150"/>
              <a:gd name="T69" fmla="*/ 106 h 109"/>
              <a:gd name="T70" fmla="*/ 47 w 150"/>
              <a:gd name="T71" fmla="*/ 103 h 109"/>
              <a:gd name="T72" fmla="*/ 41 w 150"/>
              <a:gd name="T73" fmla="*/ 106 h 109"/>
              <a:gd name="T74" fmla="*/ 28 w 150"/>
              <a:gd name="T75" fmla="*/ 106 h 109"/>
              <a:gd name="T76" fmla="*/ 22 w 150"/>
              <a:gd name="T77" fmla="*/ 100 h 109"/>
              <a:gd name="T78" fmla="*/ 19 w 150"/>
              <a:gd name="T79" fmla="*/ 100 h 109"/>
              <a:gd name="T80" fmla="*/ 6 w 150"/>
              <a:gd name="T81" fmla="*/ 94 h 109"/>
              <a:gd name="T82" fmla="*/ 0 w 150"/>
              <a:gd name="T83" fmla="*/ 9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09">
                <a:moveTo>
                  <a:pt x="0" y="91"/>
                </a:moveTo>
                <a:lnTo>
                  <a:pt x="3" y="84"/>
                </a:lnTo>
                <a:lnTo>
                  <a:pt x="0" y="81"/>
                </a:lnTo>
                <a:lnTo>
                  <a:pt x="0" y="78"/>
                </a:lnTo>
                <a:lnTo>
                  <a:pt x="6" y="78"/>
                </a:lnTo>
                <a:lnTo>
                  <a:pt x="3" y="72"/>
                </a:lnTo>
                <a:lnTo>
                  <a:pt x="3" y="69"/>
                </a:lnTo>
                <a:lnTo>
                  <a:pt x="6" y="66"/>
                </a:lnTo>
                <a:lnTo>
                  <a:pt x="12" y="63"/>
                </a:lnTo>
                <a:lnTo>
                  <a:pt x="16" y="53"/>
                </a:lnTo>
                <a:lnTo>
                  <a:pt x="22" y="47"/>
                </a:lnTo>
                <a:lnTo>
                  <a:pt x="22" y="44"/>
                </a:lnTo>
                <a:lnTo>
                  <a:pt x="25" y="34"/>
                </a:lnTo>
                <a:lnTo>
                  <a:pt x="28" y="34"/>
                </a:lnTo>
                <a:lnTo>
                  <a:pt x="28" y="31"/>
                </a:lnTo>
                <a:lnTo>
                  <a:pt x="34" y="31"/>
                </a:lnTo>
                <a:lnTo>
                  <a:pt x="37" y="31"/>
                </a:lnTo>
                <a:lnTo>
                  <a:pt x="47" y="28"/>
                </a:lnTo>
                <a:lnTo>
                  <a:pt x="50" y="25"/>
                </a:lnTo>
                <a:lnTo>
                  <a:pt x="59" y="19"/>
                </a:lnTo>
                <a:lnTo>
                  <a:pt x="75" y="9"/>
                </a:lnTo>
                <a:lnTo>
                  <a:pt x="81" y="6"/>
                </a:lnTo>
                <a:lnTo>
                  <a:pt x="87" y="3"/>
                </a:lnTo>
                <a:lnTo>
                  <a:pt x="97" y="0"/>
                </a:lnTo>
                <a:lnTo>
                  <a:pt x="100" y="0"/>
                </a:lnTo>
                <a:lnTo>
                  <a:pt x="106" y="3"/>
                </a:lnTo>
                <a:lnTo>
                  <a:pt x="109" y="3"/>
                </a:lnTo>
                <a:lnTo>
                  <a:pt x="112" y="3"/>
                </a:lnTo>
                <a:lnTo>
                  <a:pt x="109" y="6"/>
                </a:lnTo>
                <a:lnTo>
                  <a:pt x="109" y="9"/>
                </a:lnTo>
                <a:lnTo>
                  <a:pt x="106" y="16"/>
                </a:lnTo>
                <a:lnTo>
                  <a:pt x="106" y="22"/>
                </a:lnTo>
                <a:lnTo>
                  <a:pt x="125" y="34"/>
                </a:lnTo>
                <a:lnTo>
                  <a:pt x="125" y="41"/>
                </a:lnTo>
                <a:lnTo>
                  <a:pt x="134" y="47"/>
                </a:lnTo>
                <a:lnTo>
                  <a:pt x="141" y="41"/>
                </a:lnTo>
                <a:lnTo>
                  <a:pt x="144" y="44"/>
                </a:lnTo>
                <a:lnTo>
                  <a:pt x="144" y="44"/>
                </a:lnTo>
                <a:lnTo>
                  <a:pt x="147" y="47"/>
                </a:lnTo>
                <a:lnTo>
                  <a:pt x="147" y="50"/>
                </a:lnTo>
                <a:lnTo>
                  <a:pt x="144" y="53"/>
                </a:lnTo>
                <a:lnTo>
                  <a:pt x="147" y="59"/>
                </a:lnTo>
                <a:lnTo>
                  <a:pt x="150" y="59"/>
                </a:lnTo>
                <a:lnTo>
                  <a:pt x="150" y="63"/>
                </a:lnTo>
                <a:lnTo>
                  <a:pt x="144" y="66"/>
                </a:lnTo>
                <a:lnTo>
                  <a:pt x="141" y="69"/>
                </a:lnTo>
                <a:lnTo>
                  <a:pt x="134" y="72"/>
                </a:lnTo>
                <a:lnTo>
                  <a:pt x="134" y="69"/>
                </a:lnTo>
                <a:lnTo>
                  <a:pt x="128" y="72"/>
                </a:lnTo>
                <a:lnTo>
                  <a:pt x="128" y="75"/>
                </a:lnTo>
                <a:lnTo>
                  <a:pt x="125" y="78"/>
                </a:lnTo>
                <a:lnTo>
                  <a:pt x="128" y="81"/>
                </a:lnTo>
                <a:lnTo>
                  <a:pt x="122" y="81"/>
                </a:lnTo>
                <a:lnTo>
                  <a:pt x="122" y="84"/>
                </a:lnTo>
                <a:lnTo>
                  <a:pt x="100" y="78"/>
                </a:lnTo>
                <a:lnTo>
                  <a:pt x="100" y="78"/>
                </a:lnTo>
                <a:lnTo>
                  <a:pt x="100" y="78"/>
                </a:lnTo>
                <a:lnTo>
                  <a:pt x="97" y="78"/>
                </a:lnTo>
                <a:lnTo>
                  <a:pt x="94" y="81"/>
                </a:lnTo>
                <a:lnTo>
                  <a:pt x="87" y="81"/>
                </a:lnTo>
                <a:lnTo>
                  <a:pt x="81" y="81"/>
                </a:lnTo>
                <a:lnTo>
                  <a:pt x="72" y="81"/>
                </a:lnTo>
                <a:lnTo>
                  <a:pt x="69" y="84"/>
                </a:lnTo>
                <a:lnTo>
                  <a:pt x="56" y="84"/>
                </a:lnTo>
                <a:lnTo>
                  <a:pt x="47" y="84"/>
                </a:lnTo>
                <a:lnTo>
                  <a:pt x="47" y="88"/>
                </a:lnTo>
                <a:lnTo>
                  <a:pt x="50" y="94"/>
                </a:lnTo>
                <a:lnTo>
                  <a:pt x="50" y="97"/>
                </a:lnTo>
                <a:lnTo>
                  <a:pt x="53" y="100"/>
                </a:lnTo>
                <a:lnTo>
                  <a:pt x="53" y="106"/>
                </a:lnTo>
                <a:lnTo>
                  <a:pt x="50" y="106"/>
                </a:lnTo>
                <a:lnTo>
                  <a:pt x="47" y="103"/>
                </a:lnTo>
                <a:lnTo>
                  <a:pt x="44" y="103"/>
                </a:lnTo>
                <a:lnTo>
                  <a:pt x="41" y="106"/>
                </a:lnTo>
                <a:lnTo>
                  <a:pt x="34" y="109"/>
                </a:lnTo>
                <a:lnTo>
                  <a:pt x="28" y="106"/>
                </a:lnTo>
                <a:lnTo>
                  <a:pt x="28" y="103"/>
                </a:lnTo>
                <a:lnTo>
                  <a:pt x="22" y="100"/>
                </a:lnTo>
                <a:lnTo>
                  <a:pt x="19" y="100"/>
                </a:lnTo>
                <a:lnTo>
                  <a:pt x="19" y="100"/>
                </a:lnTo>
                <a:lnTo>
                  <a:pt x="16" y="100"/>
                </a:lnTo>
                <a:lnTo>
                  <a:pt x="6" y="94"/>
                </a:lnTo>
                <a:lnTo>
                  <a:pt x="3" y="91"/>
                </a:lnTo>
                <a:lnTo>
                  <a:pt x="0" y="91"/>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2" name="Freeform 120">
            <a:extLst>
              <a:ext uri="{FF2B5EF4-FFF2-40B4-BE49-F238E27FC236}">
                <a16:creationId xmlns:a16="http://schemas.microsoft.com/office/drawing/2014/main" id="{4302D1DE-5C0F-9D2E-EF90-40F0AEB86807}"/>
              </a:ext>
            </a:extLst>
          </p:cNvPr>
          <p:cNvSpPr>
            <a:spLocks/>
          </p:cNvSpPr>
          <p:nvPr userDrawn="1"/>
        </p:nvSpPr>
        <p:spPr bwMode="auto">
          <a:xfrm>
            <a:off x="12095961" y="8314615"/>
            <a:ext cx="409549" cy="298450"/>
          </a:xfrm>
          <a:custGeom>
            <a:avLst/>
            <a:gdLst>
              <a:gd name="T0" fmla="*/ 22 w 129"/>
              <a:gd name="T1" fmla="*/ 9 h 94"/>
              <a:gd name="T2" fmla="*/ 29 w 129"/>
              <a:gd name="T3" fmla="*/ 6 h 94"/>
              <a:gd name="T4" fmla="*/ 50 w 129"/>
              <a:gd name="T5" fmla="*/ 0 h 94"/>
              <a:gd name="T6" fmla="*/ 63 w 129"/>
              <a:gd name="T7" fmla="*/ 3 h 94"/>
              <a:gd name="T8" fmla="*/ 72 w 129"/>
              <a:gd name="T9" fmla="*/ 9 h 94"/>
              <a:gd name="T10" fmla="*/ 75 w 129"/>
              <a:gd name="T11" fmla="*/ 12 h 94"/>
              <a:gd name="T12" fmla="*/ 79 w 129"/>
              <a:gd name="T13" fmla="*/ 12 h 94"/>
              <a:gd name="T14" fmla="*/ 85 w 129"/>
              <a:gd name="T15" fmla="*/ 12 h 94"/>
              <a:gd name="T16" fmla="*/ 88 w 129"/>
              <a:gd name="T17" fmla="*/ 22 h 94"/>
              <a:gd name="T18" fmla="*/ 94 w 129"/>
              <a:gd name="T19" fmla="*/ 28 h 94"/>
              <a:gd name="T20" fmla="*/ 97 w 129"/>
              <a:gd name="T21" fmla="*/ 31 h 94"/>
              <a:gd name="T22" fmla="*/ 104 w 129"/>
              <a:gd name="T23" fmla="*/ 37 h 94"/>
              <a:gd name="T24" fmla="*/ 107 w 129"/>
              <a:gd name="T25" fmla="*/ 44 h 94"/>
              <a:gd name="T26" fmla="*/ 107 w 129"/>
              <a:gd name="T27" fmla="*/ 56 h 94"/>
              <a:gd name="T28" fmla="*/ 110 w 129"/>
              <a:gd name="T29" fmla="*/ 62 h 94"/>
              <a:gd name="T30" fmla="*/ 116 w 129"/>
              <a:gd name="T31" fmla="*/ 69 h 94"/>
              <a:gd name="T32" fmla="*/ 119 w 129"/>
              <a:gd name="T33" fmla="*/ 72 h 94"/>
              <a:gd name="T34" fmla="*/ 122 w 129"/>
              <a:gd name="T35" fmla="*/ 78 h 94"/>
              <a:gd name="T36" fmla="*/ 122 w 129"/>
              <a:gd name="T37" fmla="*/ 81 h 94"/>
              <a:gd name="T38" fmla="*/ 129 w 129"/>
              <a:gd name="T39" fmla="*/ 87 h 94"/>
              <a:gd name="T40" fmla="*/ 125 w 129"/>
              <a:gd name="T41" fmla="*/ 94 h 94"/>
              <a:gd name="T42" fmla="*/ 122 w 129"/>
              <a:gd name="T43" fmla="*/ 90 h 94"/>
              <a:gd name="T44" fmla="*/ 116 w 129"/>
              <a:gd name="T45" fmla="*/ 87 h 94"/>
              <a:gd name="T46" fmla="*/ 107 w 129"/>
              <a:gd name="T47" fmla="*/ 87 h 94"/>
              <a:gd name="T48" fmla="*/ 97 w 129"/>
              <a:gd name="T49" fmla="*/ 84 h 94"/>
              <a:gd name="T50" fmla="*/ 75 w 129"/>
              <a:gd name="T51" fmla="*/ 81 h 94"/>
              <a:gd name="T52" fmla="*/ 72 w 129"/>
              <a:gd name="T53" fmla="*/ 81 h 94"/>
              <a:gd name="T54" fmla="*/ 50 w 129"/>
              <a:gd name="T55" fmla="*/ 78 h 94"/>
              <a:gd name="T56" fmla="*/ 41 w 129"/>
              <a:gd name="T57" fmla="*/ 87 h 94"/>
              <a:gd name="T58" fmla="*/ 19 w 129"/>
              <a:gd name="T59" fmla="*/ 87 h 94"/>
              <a:gd name="T60" fmla="*/ 16 w 129"/>
              <a:gd name="T61" fmla="*/ 84 h 94"/>
              <a:gd name="T62" fmla="*/ 16 w 129"/>
              <a:gd name="T63" fmla="*/ 84 h 94"/>
              <a:gd name="T64" fmla="*/ 22 w 129"/>
              <a:gd name="T65" fmla="*/ 81 h 94"/>
              <a:gd name="T66" fmla="*/ 13 w 129"/>
              <a:gd name="T67" fmla="*/ 81 h 94"/>
              <a:gd name="T68" fmla="*/ 13 w 129"/>
              <a:gd name="T69" fmla="*/ 78 h 94"/>
              <a:gd name="T70" fmla="*/ 16 w 129"/>
              <a:gd name="T71" fmla="*/ 72 h 94"/>
              <a:gd name="T72" fmla="*/ 32 w 129"/>
              <a:gd name="T73" fmla="*/ 69 h 94"/>
              <a:gd name="T74" fmla="*/ 38 w 129"/>
              <a:gd name="T75" fmla="*/ 62 h 94"/>
              <a:gd name="T76" fmla="*/ 41 w 129"/>
              <a:gd name="T77" fmla="*/ 65 h 94"/>
              <a:gd name="T78" fmla="*/ 47 w 129"/>
              <a:gd name="T79" fmla="*/ 62 h 94"/>
              <a:gd name="T80" fmla="*/ 57 w 129"/>
              <a:gd name="T81" fmla="*/ 65 h 94"/>
              <a:gd name="T82" fmla="*/ 66 w 129"/>
              <a:gd name="T83" fmla="*/ 69 h 94"/>
              <a:gd name="T84" fmla="*/ 72 w 129"/>
              <a:gd name="T85" fmla="*/ 65 h 94"/>
              <a:gd name="T86" fmla="*/ 69 w 129"/>
              <a:gd name="T87" fmla="*/ 65 h 94"/>
              <a:gd name="T88" fmla="*/ 57 w 129"/>
              <a:gd name="T89" fmla="*/ 59 h 94"/>
              <a:gd name="T90" fmla="*/ 47 w 129"/>
              <a:gd name="T91" fmla="*/ 56 h 94"/>
              <a:gd name="T92" fmla="*/ 38 w 129"/>
              <a:gd name="T93" fmla="*/ 56 h 94"/>
              <a:gd name="T94" fmla="*/ 29 w 129"/>
              <a:gd name="T95" fmla="*/ 62 h 94"/>
              <a:gd name="T96" fmla="*/ 16 w 129"/>
              <a:gd name="T97" fmla="*/ 62 h 94"/>
              <a:gd name="T98" fmla="*/ 19 w 129"/>
              <a:gd name="T99" fmla="*/ 59 h 94"/>
              <a:gd name="T100" fmla="*/ 16 w 129"/>
              <a:gd name="T101" fmla="*/ 56 h 94"/>
              <a:gd name="T102" fmla="*/ 13 w 129"/>
              <a:gd name="T103" fmla="*/ 53 h 94"/>
              <a:gd name="T104" fmla="*/ 0 w 129"/>
              <a:gd name="T105" fmla="*/ 37 h 94"/>
              <a:gd name="T106" fmla="*/ 19 w 129"/>
              <a:gd name="T107" fmla="*/ 1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9" h="94">
                <a:moveTo>
                  <a:pt x="19" y="12"/>
                </a:moveTo>
                <a:lnTo>
                  <a:pt x="22" y="9"/>
                </a:lnTo>
                <a:lnTo>
                  <a:pt x="25" y="9"/>
                </a:lnTo>
                <a:lnTo>
                  <a:pt x="29" y="6"/>
                </a:lnTo>
                <a:lnTo>
                  <a:pt x="38" y="3"/>
                </a:lnTo>
                <a:lnTo>
                  <a:pt x="50" y="0"/>
                </a:lnTo>
                <a:lnTo>
                  <a:pt x="54" y="0"/>
                </a:lnTo>
                <a:lnTo>
                  <a:pt x="63" y="3"/>
                </a:lnTo>
                <a:lnTo>
                  <a:pt x="66" y="3"/>
                </a:lnTo>
                <a:lnTo>
                  <a:pt x="72" y="9"/>
                </a:lnTo>
                <a:lnTo>
                  <a:pt x="72" y="12"/>
                </a:lnTo>
                <a:lnTo>
                  <a:pt x="75" y="12"/>
                </a:lnTo>
                <a:lnTo>
                  <a:pt x="79" y="12"/>
                </a:lnTo>
                <a:lnTo>
                  <a:pt x="79" y="12"/>
                </a:lnTo>
                <a:lnTo>
                  <a:pt x="82" y="12"/>
                </a:lnTo>
                <a:lnTo>
                  <a:pt x="85" y="12"/>
                </a:lnTo>
                <a:lnTo>
                  <a:pt x="85" y="18"/>
                </a:lnTo>
                <a:lnTo>
                  <a:pt x="88" y="22"/>
                </a:lnTo>
                <a:lnTo>
                  <a:pt x="88" y="25"/>
                </a:lnTo>
                <a:lnTo>
                  <a:pt x="94" y="28"/>
                </a:lnTo>
                <a:lnTo>
                  <a:pt x="94" y="31"/>
                </a:lnTo>
                <a:lnTo>
                  <a:pt x="97" y="31"/>
                </a:lnTo>
                <a:lnTo>
                  <a:pt x="104" y="34"/>
                </a:lnTo>
                <a:lnTo>
                  <a:pt x="104" y="37"/>
                </a:lnTo>
                <a:lnTo>
                  <a:pt x="107" y="40"/>
                </a:lnTo>
                <a:lnTo>
                  <a:pt x="107" y="44"/>
                </a:lnTo>
                <a:lnTo>
                  <a:pt x="107" y="47"/>
                </a:lnTo>
                <a:lnTo>
                  <a:pt x="107" y="56"/>
                </a:lnTo>
                <a:lnTo>
                  <a:pt x="107" y="59"/>
                </a:lnTo>
                <a:lnTo>
                  <a:pt x="110" y="62"/>
                </a:lnTo>
                <a:lnTo>
                  <a:pt x="113" y="69"/>
                </a:lnTo>
                <a:lnTo>
                  <a:pt x="116" y="69"/>
                </a:lnTo>
                <a:lnTo>
                  <a:pt x="116" y="69"/>
                </a:lnTo>
                <a:lnTo>
                  <a:pt x="119" y="72"/>
                </a:lnTo>
                <a:lnTo>
                  <a:pt x="119" y="75"/>
                </a:lnTo>
                <a:lnTo>
                  <a:pt x="122" y="78"/>
                </a:lnTo>
                <a:lnTo>
                  <a:pt x="122" y="78"/>
                </a:lnTo>
                <a:lnTo>
                  <a:pt x="122" y="81"/>
                </a:lnTo>
                <a:lnTo>
                  <a:pt x="122" y="84"/>
                </a:lnTo>
                <a:lnTo>
                  <a:pt x="129" y="87"/>
                </a:lnTo>
                <a:lnTo>
                  <a:pt x="129" y="90"/>
                </a:lnTo>
                <a:lnTo>
                  <a:pt x="125" y="94"/>
                </a:lnTo>
                <a:lnTo>
                  <a:pt x="125" y="90"/>
                </a:lnTo>
                <a:lnTo>
                  <a:pt x="122" y="90"/>
                </a:lnTo>
                <a:lnTo>
                  <a:pt x="119" y="87"/>
                </a:lnTo>
                <a:lnTo>
                  <a:pt x="116" y="87"/>
                </a:lnTo>
                <a:lnTo>
                  <a:pt x="113" y="87"/>
                </a:lnTo>
                <a:lnTo>
                  <a:pt x="107" y="87"/>
                </a:lnTo>
                <a:lnTo>
                  <a:pt x="100" y="87"/>
                </a:lnTo>
                <a:lnTo>
                  <a:pt x="97" y="84"/>
                </a:lnTo>
                <a:lnTo>
                  <a:pt x="88" y="81"/>
                </a:lnTo>
                <a:lnTo>
                  <a:pt x="75" y="81"/>
                </a:lnTo>
                <a:lnTo>
                  <a:pt x="72" y="81"/>
                </a:lnTo>
                <a:lnTo>
                  <a:pt x="72" y="81"/>
                </a:lnTo>
                <a:lnTo>
                  <a:pt x="69" y="78"/>
                </a:lnTo>
                <a:lnTo>
                  <a:pt x="50" y="78"/>
                </a:lnTo>
                <a:lnTo>
                  <a:pt x="44" y="81"/>
                </a:lnTo>
                <a:lnTo>
                  <a:pt x="41" y="87"/>
                </a:lnTo>
                <a:lnTo>
                  <a:pt x="25" y="84"/>
                </a:lnTo>
                <a:lnTo>
                  <a:pt x="19" y="87"/>
                </a:lnTo>
                <a:lnTo>
                  <a:pt x="16" y="87"/>
                </a:lnTo>
                <a:lnTo>
                  <a:pt x="16" y="84"/>
                </a:lnTo>
                <a:lnTo>
                  <a:pt x="13" y="81"/>
                </a:lnTo>
                <a:lnTo>
                  <a:pt x="16" y="84"/>
                </a:lnTo>
                <a:lnTo>
                  <a:pt x="19" y="84"/>
                </a:lnTo>
                <a:lnTo>
                  <a:pt x="22" y="81"/>
                </a:lnTo>
                <a:lnTo>
                  <a:pt x="16" y="78"/>
                </a:lnTo>
                <a:lnTo>
                  <a:pt x="13" y="81"/>
                </a:lnTo>
                <a:lnTo>
                  <a:pt x="10" y="81"/>
                </a:lnTo>
                <a:lnTo>
                  <a:pt x="13" y="78"/>
                </a:lnTo>
                <a:lnTo>
                  <a:pt x="13" y="72"/>
                </a:lnTo>
                <a:lnTo>
                  <a:pt x="16" y="72"/>
                </a:lnTo>
                <a:lnTo>
                  <a:pt x="29" y="72"/>
                </a:lnTo>
                <a:lnTo>
                  <a:pt x="32" y="69"/>
                </a:lnTo>
                <a:lnTo>
                  <a:pt x="35" y="65"/>
                </a:lnTo>
                <a:lnTo>
                  <a:pt x="38" y="62"/>
                </a:lnTo>
                <a:lnTo>
                  <a:pt x="41" y="65"/>
                </a:lnTo>
                <a:lnTo>
                  <a:pt x="41" y="65"/>
                </a:lnTo>
                <a:lnTo>
                  <a:pt x="44" y="62"/>
                </a:lnTo>
                <a:lnTo>
                  <a:pt x="47" y="62"/>
                </a:lnTo>
                <a:lnTo>
                  <a:pt x="50" y="65"/>
                </a:lnTo>
                <a:lnTo>
                  <a:pt x="57" y="65"/>
                </a:lnTo>
                <a:lnTo>
                  <a:pt x="60" y="65"/>
                </a:lnTo>
                <a:lnTo>
                  <a:pt x="66" y="69"/>
                </a:lnTo>
                <a:lnTo>
                  <a:pt x="72" y="69"/>
                </a:lnTo>
                <a:lnTo>
                  <a:pt x="72" y="65"/>
                </a:lnTo>
                <a:lnTo>
                  <a:pt x="72" y="65"/>
                </a:lnTo>
                <a:lnTo>
                  <a:pt x="69" y="65"/>
                </a:lnTo>
                <a:lnTo>
                  <a:pt x="63" y="59"/>
                </a:lnTo>
                <a:lnTo>
                  <a:pt x="57" y="59"/>
                </a:lnTo>
                <a:lnTo>
                  <a:pt x="50" y="56"/>
                </a:lnTo>
                <a:lnTo>
                  <a:pt x="47" y="56"/>
                </a:lnTo>
                <a:lnTo>
                  <a:pt x="44" y="53"/>
                </a:lnTo>
                <a:lnTo>
                  <a:pt x="38" y="56"/>
                </a:lnTo>
                <a:lnTo>
                  <a:pt x="32" y="62"/>
                </a:lnTo>
                <a:lnTo>
                  <a:pt x="29" y="62"/>
                </a:lnTo>
                <a:lnTo>
                  <a:pt x="25" y="62"/>
                </a:lnTo>
                <a:lnTo>
                  <a:pt x="16" y="62"/>
                </a:lnTo>
                <a:lnTo>
                  <a:pt x="16" y="62"/>
                </a:lnTo>
                <a:lnTo>
                  <a:pt x="19" y="59"/>
                </a:lnTo>
                <a:lnTo>
                  <a:pt x="13" y="56"/>
                </a:lnTo>
                <a:lnTo>
                  <a:pt x="16" y="56"/>
                </a:lnTo>
                <a:lnTo>
                  <a:pt x="16" y="53"/>
                </a:lnTo>
                <a:lnTo>
                  <a:pt x="13" y="53"/>
                </a:lnTo>
                <a:lnTo>
                  <a:pt x="7" y="44"/>
                </a:lnTo>
                <a:lnTo>
                  <a:pt x="0" y="37"/>
                </a:lnTo>
                <a:lnTo>
                  <a:pt x="13" y="28"/>
                </a:lnTo>
                <a:lnTo>
                  <a:pt x="19" y="18"/>
                </a:lnTo>
                <a:lnTo>
                  <a:pt x="19" y="12"/>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3" name="Freeform 121">
            <a:extLst>
              <a:ext uri="{FF2B5EF4-FFF2-40B4-BE49-F238E27FC236}">
                <a16:creationId xmlns:a16="http://schemas.microsoft.com/office/drawing/2014/main" id="{96F1264B-D7F3-A9BF-CB18-4FBBF2D2D0B0}"/>
              </a:ext>
            </a:extLst>
          </p:cNvPr>
          <p:cNvSpPr>
            <a:spLocks/>
          </p:cNvSpPr>
          <p:nvPr userDrawn="1"/>
        </p:nvSpPr>
        <p:spPr bwMode="auto">
          <a:xfrm>
            <a:off x="12127714" y="8482887"/>
            <a:ext cx="196837" cy="60326"/>
          </a:xfrm>
          <a:custGeom>
            <a:avLst/>
            <a:gdLst>
              <a:gd name="T0" fmla="*/ 3 w 62"/>
              <a:gd name="T1" fmla="*/ 19 h 19"/>
              <a:gd name="T2" fmla="*/ 6 w 62"/>
              <a:gd name="T3" fmla="*/ 19 h 19"/>
              <a:gd name="T4" fmla="*/ 19 w 62"/>
              <a:gd name="T5" fmla="*/ 19 h 19"/>
              <a:gd name="T6" fmla="*/ 22 w 62"/>
              <a:gd name="T7" fmla="*/ 16 h 19"/>
              <a:gd name="T8" fmla="*/ 25 w 62"/>
              <a:gd name="T9" fmla="*/ 12 h 19"/>
              <a:gd name="T10" fmla="*/ 28 w 62"/>
              <a:gd name="T11" fmla="*/ 9 h 19"/>
              <a:gd name="T12" fmla="*/ 31 w 62"/>
              <a:gd name="T13" fmla="*/ 12 h 19"/>
              <a:gd name="T14" fmla="*/ 31 w 62"/>
              <a:gd name="T15" fmla="*/ 12 h 19"/>
              <a:gd name="T16" fmla="*/ 34 w 62"/>
              <a:gd name="T17" fmla="*/ 9 h 19"/>
              <a:gd name="T18" fmla="*/ 37 w 62"/>
              <a:gd name="T19" fmla="*/ 9 h 19"/>
              <a:gd name="T20" fmla="*/ 40 w 62"/>
              <a:gd name="T21" fmla="*/ 12 h 19"/>
              <a:gd name="T22" fmla="*/ 47 w 62"/>
              <a:gd name="T23" fmla="*/ 12 h 19"/>
              <a:gd name="T24" fmla="*/ 50 w 62"/>
              <a:gd name="T25" fmla="*/ 12 h 19"/>
              <a:gd name="T26" fmla="*/ 56 w 62"/>
              <a:gd name="T27" fmla="*/ 16 h 19"/>
              <a:gd name="T28" fmla="*/ 62 w 62"/>
              <a:gd name="T29" fmla="*/ 16 h 19"/>
              <a:gd name="T30" fmla="*/ 62 w 62"/>
              <a:gd name="T31" fmla="*/ 12 h 19"/>
              <a:gd name="T32" fmla="*/ 62 w 62"/>
              <a:gd name="T33" fmla="*/ 12 h 19"/>
              <a:gd name="T34" fmla="*/ 59 w 62"/>
              <a:gd name="T35" fmla="*/ 12 h 19"/>
              <a:gd name="T36" fmla="*/ 53 w 62"/>
              <a:gd name="T37" fmla="*/ 6 h 19"/>
              <a:gd name="T38" fmla="*/ 47 w 62"/>
              <a:gd name="T39" fmla="*/ 6 h 19"/>
              <a:gd name="T40" fmla="*/ 40 w 62"/>
              <a:gd name="T41" fmla="*/ 3 h 19"/>
              <a:gd name="T42" fmla="*/ 37 w 62"/>
              <a:gd name="T43" fmla="*/ 3 h 19"/>
              <a:gd name="T44" fmla="*/ 34 w 62"/>
              <a:gd name="T45" fmla="*/ 0 h 19"/>
              <a:gd name="T46" fmla="*/ 28 w 62"/>
              <a:gd name="T47" fmla="*/ 3 h 19"/>
              <a:gd name="T48" fmla="*/ 22 w 62"/>
              <a:gd name="T49" fmla="*/ 9 h 19"/>
              <a:gd name="T50" fmla="*/ 19 w 62"/>
              <a:gd name="T51" fmla="*/ 9 h 19"/>
              <a:gd name="T52" fmla="*/ 15 w 62"/>
              <a:gd name="T53" fmla="*/ 9 h 19"/>
              <a:gd name="T54" fmla="*/ 6 w 62"/>
              <a:gd name="T55" fmla="*/ 9 h 19"/>
              <a:gd name="T56" fmla="*/ 6 w 62"/>
              <a:gd name="T57" fmla="*/ 12 h 19"/>
              <a:gd name="T58" fmla="*/ 12 w 62"/>
              <a:gd name="T59" fmla="*/ 16 h 19"/>
              <a:gd name="T60" fmla="*/ 15 w 62"/>
              <a:gd name="T61" fmla="*/ 16 h 19"/>
              <a:gd name="T62" fmla="*/ 12 w 62"/>
              <a:gd name="T63" fmla="*/ 19 h 19"/>
              <a:gd name="T64" fmla="*/ 9 w 62"/>
              <a:gd name="T65" fmla="*/ 19 h 19"/>
              <a:gd name="T66" fmla="*/ 3 w 62"/>
              <a:gd name="T67" fmla="*/ 12 h 19"/>
              <a:gd name="T68" fmla="*/ 0 w 62"/>
              <a:gd name="T69" fmla="*/ 16 h 19"/>
              <a:gd name="T70" fmla="*/ 3 w 62"/>
              <a:gd name="T71" fmla="*/ 19 h 19"/>
              <a:gd name="T72" fmla="*/ 3 w 62"/>
              <a:gd name="T7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19">
                <a:moveTo>
                  <a:pt x="3" y="19"/>
                </a:moveTo>
                <a:lnTo>
                  <a:pt x="6" y="19"/>
                </a:lnTo>
                <a:lnTo>
                  <a:pt x="19" y="19"/>
                </a:lnTo>
                <a:lnTo>
                  <a:pt x="22" y="16"/>
                </a:lnTo>
                <a:lnTo>
                  <a:pt x="25" y="12"/>
                </a:lnTo>
                <a:lnTo>
                  <a:pt x="28" y="9"/>
                </a:lnTo>
                <a:lnTo>
                  <a:pt x="31" y="12"/>
                </a:lnTo>
                <a:lnTo>
                  <a:pt x="31" y="12"/>
                </a:lnTo>
                <a:lnTo>
                  <a:pt x="34" y="9"/>
                </a:lnTo>
                <a:lnTo>
                  <a:pt x="37" y="9"/>
                </a:lnTo>
                <a:lnTo>
                  <a:pt x="40" y="12"/>
                </a:lnTo>
                <a:lnTo>
                  <a:pt x="47" y="12"/>
                </a:lnTo>
                <a:lnTo>
                  <a:pt x="50" y="12"/>
                </a:lnTo>
                <a:lnTo>
                  <a:pt x="56" y="16"/>
                </a:lnTo>
                <a:lnTo>
                  <a:pt x="62" y="16"/>
                </a:lnTo>
                <a:lnTo>
                  <a:pt x="62" y="12"/>
                </a:lnTo>
                <a:lnTo>
                  <a:pt x="62" y="12"/>
                </a:lnTo>
                <a:lnTo>
                  <a:pt x="59" y="12"/>
                </a:lnTo>
                <a:lnTo>
                  <a:pt x="53" y="6"/>
                </a:lnTo>
                <a:lnTo>
                  <a:pt x="47" y="6"/>
                </a:lnTo>
                <a:lnTo>
                  <a:pt x="40" y="3"/>
                </a:lnTo>
                <a:lnTo>
                  <a:pt x="37" y="3"/>
                </a:lnTo>
                <a:lnTo>
                  <a:pt x="34" y="0"/>
                </a:lnTo>
                <a:lnTo>
                  <a:pt x="28" y="3"/>
                </a:lnTo>
                <a:lnTo>
                  <a:pt x="22" y="9"/>
                </a:lnTo>
                <a:lnTo>
                  <a:pt x="19" y="9"/>
                </a:lnTo>
                <a:lnTo>
                  <a:pt x="15" y="9"/>
                </a:lnTo>
                <a:lnTo>
                  <a:pt x="6" y="9"/>
                </a:lnTo>
                <a:lnTo>
                  <a:pt x="6" y="12"/>
                </a:lnTo>
                <a:lnTo>
                  <a:pt x="12" y="16"/>
                </a:lnTo>
                <a:lnTo>
                  <a:pt x="15" y="16"/>
                </a:lnTo>
                <a:lnTo>
                  <a:pt x="12" y="19"/>
                </a:lnTo>
                <a:lnTo>
                  <a:pt x="9" y="19"/>
                </a:lnTo>
                <a:lnTo>
                  <a:pt x="3" y="12"/>
                </a:lnTo>
                <a:lnTo>
                  <a:pt x="0" y="16"/>
                </a:lnTo>
                <a:lnTo>
                  <a:pt x="3" y="19"/>
                </a:lnTo>
                <a:lnTo>
                  <a:pt x="3" y="19"/>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4" name="Freeform 122">
            <a:extLst>
              <a:ext uri="{FF2B5EF4-FFF2-40B4-BE49-F238E27FC236}">
                <a16:creationId xmlns:a16="http://schemas.microsoft.com/office/drawing/2014/main" id="{FFE84A1A-5839-392D-3923-150B65C9DA21}"/>
              </a:ext>
            </a:extLst>
          </p:cNvPr>
          <p:cNvSpPr>
            <a:spLocks/>
          </p:cNvSpPr>
          <p:nvPr userDrawn="1"/>
        </p:nvSpPr>
        <p:spPr bwMode="auto">
          <a:xfrm>
            <a:off x="12146758" y="8562261"/>
            <a:ext cx="187314" cy="117478"/>
          </a:xfrm>
          <a:custGeom>
            <a:avLst/>
            <a:gdLst>
              <a:gd name="T0" fmla="*/ 0 w 59"/>
              <a:gd name="T1" fmla="*/ 9 h 37"/>
              <a:gd name="T2" fmla="*/ 3 w 59"/>
              <a:gd name="T3" fmla="*/ 9 h 37"/>
              <a:gd name="T4" fmla="*/ 9 w 59"/>
              <a:gd name="T5" fmla="*/ 6 h 37"/>
              <a:gd name="T6" fmla="*/ 25 w 59"/>
              <a:gd name="T7" fmla="*/ 9 h 37"/>
              <a:gd name="T8" fmla="*/ 28 w 59"/>
              <a:gd name="T9" fmla="*/ 3 h 37"/>
              <a:gd name="T10" fmla="*/ 34 w 59"/>
              <a:gd name="T11" fmla="*/ 0 h 37"/>
              <a:gd name="T12" fmla="*/ 53 w 59"/>
              <a:gd name="T13" fmla="*/ 0 h 37"/>
              <a:gd name="T14" fmla="*/ 56 w 59"/>
              <a:gd name="T15" fmla="*/ 3 h 37"/>
              <a:gd name="T16" fmla="*/ 56 w 59"/>
              <a:gd name="T17" fmla="*/ 9 h 37"/>
              <a:gd name="T18" fmla="*/ 56 w 59"/>
              <a:gd name="T19" fmla="*/ 12 h 37"/>
              <a:gd name="T20" fmla="*/ 56 w 59"/>
              <a:gd name="T21" fmla="*/ 19 h 37"/>
              <a:gd name="T22" fmla="*/ 59 w 59"/>
              <a:gd name="T23" fmla="*/ 22 h 37"/>
              <a:gd name="T24" fmla="*/ 59 w 59"/>
              <a:gd name="T25" fmla="*/ 25 h 37"/>
              <a:gd name="T26" fmla="*/ 56 w 59"/>
              <a:gd name="T27" fmla="*/ 28 h 37"/>
              <a:gd name="T28" fmla="*/ 50 w 59"/>
              <a:gd name="T29" fmla="*/ 28 h 37"/>
              <a:gd name="T30" fmla="*/ 44 w 59"/>
              <a:gd name="T31" fmla="*/ 31 h 37"/>
              <a:gd name="T32" fmla="*/ 41 w 59"/>
              <a:gd name="T33" fmla="*/ 31 h 37"/>
              <a:gd name="T34" fmla="*/ 38 w 59"/>
              <a:gd name="T35" fmla="*/ 37 h 37"/>
              <a:gd name="T36" fmla="*/ 31 w 59"/>
              <a:gd name="T37" fmla="*/ 37 h 37"/>
              <a:gd name="T38" fmla="*/ 31 w 59"/>
              <a:gd name="T39" fmla="*/ 37 h 37"/>
              <a:gd name="T40" fmla="*/ 31 w 59"/>
              <a:gd name="T41" fmla="*/ 34 h 37"/>
              <a:gd name="T42" fmla="*/ 25 w 59"/>
              <a:gd name="T43" fmla="*/ 34 h 37"/>
              <a:gd name="T44" fmla="*/ 28 w 59"/>
              <a:gd name="T45" fmla="*/ 28 h 37"/>
              <a:gd name="T46" fmla="*/ 25 w 59"/>
              <a:gd name="T47" fmla="*/ 28 h 37"/>
              <a:gd name="T48" fmla="*/ 28 w 59"/>
              <a:gd name="T49" fmla="*/ 28 h 37"/>
              <a:gd name="T50" fmla="*/ 25 w 59"/>
              <a:gd name="T51" fmla="*/ 25 h 37"/>
              <a:gd name="T52" fmla="*/ 22 w 59"/>
              <a:gd name="T53" fmla="*/ 25 h 37"/>
              <a:gd name="T54" fmla="*/ 22 w 59"/>
              <a:gd name="T55" fmla="*/ 25 h 37"/>
              <a:gd name="T56" fmla="*/ 31 w 59"/>
              <a:gd name="T57" fmla="*/ 22 h 37"/>
              <a:gd name="T58" fmla="*/ 31 w 59"/>
              <a:gd name="T59" fmla="*/ 22 h 37"/>
              <a:gd name="T60" fmla="*/ 28 w 59"/>
              <a:gd name="T61" fmla="*/ 19 h 37"/>
              <a:gd name="T62" fmla="*/ 22 w 59"/>
              <a:gd name="T63" fmla="*/ 19 h 37"/>
              <a:gd name="T64" fmla="*/ 19 w 59"/>
              <a:gd name="T65" fmla="*/ 22 h 37"/>
              <a:gd name="T66" fmla="*/ 16 w 59"/>
              <a:gd name="T67" fmla="*/ 22 h 37"/>
              <a:gd name="T68" fmla="*/ 13 w 59"/>
              <a:gd name="T69" fmla="*/ 19 h 37"/>
              <a:gd name="T70" fmla="*/ 9 w 59"/>
              <a:gd name="T71" fmla="*/ 19 h 37"/>
              <a:gd name="T72" fmla="*/ 6 w 59"/>
              <a:gd name="T73" fmla="*/ 16 h 37"/>
              <a:gd name="T74" fmla="*/ 9 w 59"/>
              <a:gd name="T75" fmla="*/ 12 h 37"/>
              <a:gd name="T76" fmla="*/ 6 w 59"/>
              <a:gd name="T77" fmla="*/ 12 h 37"/>
              <a:gd name="T78" fmla="*/ 0 w 59"/>
              <a:gd name="T79" fmla="*/ 12 h 37"/>
              <a:gd name="T80" fmla="*/ 0 w 59"/>
              <a:gd name="T81" fmla="*/ 9 h 37"/>
              <a:gd name="T82" fmla="*/ 0 w 59"/>
              <a:gd name="T83" fmla="*/ 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9" h="37">
                <a:moveTo>
                  <a:pt x="0" y="9"/>
                </a:moveTo>
                <a:lnTo>
                  <a:pt x="3" y="9"/>
                </a:lnTo>
                <a:lnTo>
                  <a:pt x="9" y="6"/>
                </a:lnTo>
                <a:lnTo>
                  <a:pt x="25" y="9"/>
                </a:lnTo>
                <a:lnTo>
                  <a:pt x="28" y="3"/>
                </a:lnTo>
                <a:lnTo>
                  <a:pt x="34" y="0"/>
                </a:lnTo>
                <a:lnTo>
                  <a:pt x="53" y="0"/>
                </a:lnTo>
                <a:lnTo>
                  <a:pt x="56" y="3"/>
                </a:lnTo>
                <a:lnTo>
                  <a:pt x="56" y="9"/>
                </a:lnTo>
                <a:lnTo>
                  <a:pt x="56" y="12"/>
                </a:lnTo>
                <a:lnTo>
                  <a:pt x="56" y="19"/>
                </a:lnTo>
                <a:lnTo>
                  <a:pt x="59" y="22"/>
                </a:lnTo>
                <a:lnTo>
                  <a:pt x="59" y="25"/>
                </a:lnTo>
                <a:lnTo>
                  <a:pt x="56" y="28"/>
                </a:lnTo>
                <a:lnTo>
                  <a:pt x="50" y="28"/>
                </a:lnTo>
                <a:lnTo>
                  <a:pt x="44" y="31"/>
                </a:lnTo>
                <a:lnTo>
                  <a:pt x="41" y="31"/>
                </a:lnTo>
                <a:lnTo>
                  <a:pt x="38" y="37"/>
                </a:lnTo>
                <a:lnTo>
                  <a:pt x="31" y="37"/>
                </a:lnTo>
                <a:lnTo>
                  <a:pt x="31" y="37"/>
                </a:lnTo>
                <a:lnTo>
                  <a:pt x="31" y="34"/>
                </a:lnTo>
                <a:lnTo>
                  <a:pt x="25" y="34"/>
                </a:lnTo>
                <a:lnTo>
                  <a:pt x="28" y="28"/>
                </a:lnTo>
                <a:lnTo>
                  <a:pt x="25" y="28"/>
                </a:lnTo>
                <a:lnTo>
                  <a:pt x="28" y="28"/>
                </a:lnTo>
                <a:lnTo>
                  <a:pt x="25" y="25"/>
                </a:lnTo>
                <a:lnTo>
                  <a:pt x="22" y="25"/>
                </a:lnTo>
                <a:lnTo>
                  <a:pt x="22" y="25"/>
                </a:lnTo>
                <a:lnTo>
                  <a:pt x="31" y="22"/>
                </a:lnTo>
                <a:lnTo>
                  <a:pt x="31" y="22"/>
                </a:lnTo>
                <a:lnTo>
                  <a:pt x="28" y="19"/>
                </a:lnTo>
                <a:lnTo>
                  <a:pt x="22" y="19"/>
                </a:lnTo>
                <a:lnTo>
                  <a:pt x="19" y="22"/>
                </a:lnTo>
                <a:lnTo>
                  <a:pt x="16" y="22"/>
                </a:lnTo>
                <a:lnTo>
                  <a:pt x="13" y="19"/>
                </a:lnTo>
                <a:lnTo>
                  <a:pt x="9" y="19"/>
                </a:lnTo>
                <a:lnTo>
                  <a:pt x="6" y="16"/>
                </a:lnTo>
                <a:lnTo>
                  <a:pt x="9" y="12"/>
                </a:lnTo>
                <a:lnTo>
                  <a:pt x="6" y="12"/>
                </a:lnTo>
                <a:lnTo>
                  <a:pt x="0" y="12"/>
                </a:lnTo>
                <a:lnTo>
                  <a:pt x="0" y="9"/>
                </a:lnTo>
                <a:lnTo>
                  <a:pt x="0" y="9"/>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5" name="Freeform 123">
            <a:extLst>
              <a:ext uri="{FF2B5EF4-FFF2-40B4-BE49-F238E27FC236}">
                <a16:creationId xmlns:a16="http://schemas.microsoft.com/office/drawing/2014/main" id="{7A6F06F7-CA01-4CB6-1480-85CF1CC468AB}"/>
              </a:ext>
            </a:extLst>
          </p:cNvPr>
          <p:cNvSpPr>
            <a:spLocks/>
          </p:cNvSpPr>
          <p:nvPr userDrawn="1"/>
        </p:nvSpPr>
        <p:spPr bwMode="auto">
          <a:xfrm>
            <a:off x="12267399" y="8571785"/>
            <a:ext cx="434948" cy="438150"/>
          </a:xfrm>
          <a:custGeom>
            <a:avLst/>
            <a:gdLst>
              <a:gd name="T0" fmla="*/ 3 w 137"/>
              <a:gd name="T1" fmla="*/ 28 h 138"/>
              <a:gd name="T2" fmla="*/ 12 w 137"/>
              <a:gd name="T3" fmla="*/ 25 h 138"/>
              <a:gd name="T4" fmla="*/ 21 w 137"/>
              <a:gd name="T5" fmla="*/ 22 h 138"/>
              <a:gd name="T6" fmla="*/ 18 w 137"/>
              <a:gd name="T7" fmla="*/ 16 h 138"/>
              <a:gd name="T8" fmla="*/ 18 w 137"/>
              <a:gd name="T9" fmla="*/ 6 h 138"/>
              <a:gd name="T10" fmla="*/ 21 w 137"/>
              <a:gd name="T11" fmla="*/ 0 h 138"/>
              <a:gd name="T12" fmla="*/ 43 w 137"/>
              <a:gd name="T13" fmla="*/ 3 h 138"/>
              <a:gd name="T14" fmla="*/ 53 w 137"/>
              <a:gd name="T15" fmla="*/ 6 h 138"/>
              <a:gd name="T16" fmla="*/ 62 w 137"/>
              <a:gd name="T17" fmla="*/ 6 h 138"/>
              <a:gd name="T18" fmla="*/ 68 w 137"/>
              <a:gd name="T19" fmla="*/ 9 h 138"/>
              <a:gd name="T20" fmla="*/ 71 w 137"/>
              <a:gd name="T21" fmla="*/ 13 h 138"/>
              <a:gd name="T22" fmla="*/ 78 w 137"/>
              <a:gd name="T23" fmla="*/ 13 h 138"/>
              <a:gd name="T24" fmla="*/ 87 w 137"/>
              <a:gd name="T25" fmla="*/ 16 h 138"/>
              <a:gd name="T26" fmla="*/ 93 w 137"/>
              <a:gd name="T27" fmla="*/ 13 h 138"/>
              <a:gd name="T28" fmla="*/ 100 w 137"/>
              <a:gd name="T29" fmla="*/ 6 h 138"/>
              <a:gd name="T30" fmla="*/ 109 w 137"/>
              <a:gd name="T31" fmla="*/ 9 h 138"/>
              <a:gd name="T32" fmla="*/ 115 w 137"/>
              <a:gd name="T33" fmla="*/ 6 h 138"/>
              <a:gd name="T34" fmla="*/ 121 w 137"/>
              <a:gd name="T35" fmla="*/ 13 h 138"/>
              <a:gd name="T36" fmla="*/ 121 w 137"/>
              <a:gd name="T37" fmla="*/ 22 h 138"/>
              <a:gd name="T38" fmla="*/ 128 w 137"/>
              <a:gd name="T39" fmla="*/ 25 h 138"/>
              <a:gd name="T40" fmla="*/ 125 w 137"/>
              <a:gd name="T41" fmla="*/ 31 h 138"/>
              <a:gd name="T42" fmla="*/ 125 w 137"/>
              <a:gd name="T43" fmla="*/ 34 h 138"/>
              <a:gd name="T44" fmla="*/ 131 w 137"/>
              <a:gd name="T45" fmla="*/ 34 h 138"/>
              <a:gd name="T46" fmla="*/ 131 w 137"/>
              <a:gd name="T47" fmla="*/ 41 h 138"/>
              <a:gd name="T48" fmla="*/ 137 w 137"/>
              <a:gd name="T49" fmla="*/ 41 h 138"/>
              <a:gd name="T50" fmla="*/ 137 w 137"/>
              <a:gd name="T51" fmla="*/ 47 h 138"/>
              <a:gd name="T52" fmla="*/ 131 w 137"/>
              <a:gd name="T53" fmla="*/ 50 h 138"/>
              <a:gd name="T54" fmla="*/ 131 w 137"/>
              <a:gd name="T55" fmla="*/ 56 h 138"/>
              <a:gd name="T56" fmla="*/ 131 w 137"/>
              <a:gd name="T57" fmla="*/ 66 h 138"/>
              <a:gd name="T58" fmla="*/ 134 w 137"/>
              <a:gd name="T59" fmla="*/ 75 h 138"/>
              <a:gd name="T60" fmla="*/ 134 w 137"/>
              <a:gd name="T61" fmla="*/ 81 h 138"/>
              <a:gd name="T62" fmla="*/ 131 w 137"/>
              <a:gd name="T63" fmla="*/ 81 h 138"/>
              <a:gd name="T64" fmla="*/ 134 w 137"/>
              <a:gd name="T65" fmla="*/ 91 h 138"/>
              <a:gd name="T66" fmla="*/ 134 w 137"/>
              <a:gd name="T67" fmla="*/ 97 h 138"/>
              <a:gd name="T68" fmla="*/ 125 w 137"/>
              <a:gd name="T69" fmla="*/ 110 h 138"/>
              <a:gd name="T70" fmla="*/ 125 w 137"/>
              <a:gd name="T71" fmla="*/ 116 h 138"/>
              <a:gd name="T72" fmla="*/ 121 w 137"/>
              <a:gd name="T73" fmla="*/ 125 h 138"/>
              <a:gd name="T74" fmla="*/ 90 w 137"/>
              <a:gd name="T75" fmla="*/ 138 h 138"/>
              <a:gd name="T76" fmla="*/ 81 w 137"/>
              <a:gd name="T77" fmla="*/ 131 h 138"/>
              <a:gd name="T78" fmla="*/ 71 w 137"/>
              <a:gd name="T79" fmla="*/ 122 h 138"/>
              <a:gd name="T80" fmla="*/ 71 w 137"/>
              <a:gd name="T81" fmla="*/ 119 h 138"/>
              <a:gd name="T82" fmla="*/ 84 w 137"/>
              <a:gd name="T83" fmla="*/ 88 h 138"/>
              <a:gd name="T84" fmla="*/ 81 w 137"/>
              <a:gd name="T85" fmla="*/ 85 h 138"/>
              <a:gd name="T86" fmla="*/ 84 w 137"/>
              <a:gd name="T87" fmla="*/ 78 h 138"/>
              <a:gd name="T88" fmla="*/ 81 w 137"/>
              <a:gd name="T89" fmla="*/ 72 h 138"/>
              <a:gd name="T90" fmla="*/ 75 w 137"/>
              <a:gd name="T91" fmla="*/ 59 h 138"/>
              <a:gd name="T92" fmla="*/ 71 w 137"/>
              <a:gd name="T93" fmla="*/ 53 h 138"/>
              <a:gd name="T94" fmla="*/ 50 w 137"/>
              <a:gd name="T95" fmla="*/ 53 h 138"/>
              <a:gd name="T96" fmla="*/ 40 w 137"/>
              <a:gd name="T97" fmla="*/ 63 h 138"/>
              <a:gd name="T98" fmla="*/ 34 w 137"/>
              <a:gd name="T99" fmla="*/ 69 h 138"/>
              <a:gd name="T100" fmla="*/ 28 w 137"/>
              <a:gd name="T101" fmla="*/ 66 h 138"/>
              <a:gd name="T102" fmla="*/ 21 w 137"/>
              <a:gd name="T103" fmla="*/ 56 h 138"/>
              <a:gd name="T104" fmla="*/ 15 w 137"/>
              <a:gd name="T105" fmla="*/ 56 h 138"/>
              <a:gd name="T106" fmla="*/ 18 w 137"/>
              <a:gd name="T107" fmla="*/ 50 h 138"/>
              <a:gd name="T108" fmla="*/ 12 w 137"/>
              <a:gd name="T109" fmla="*/ 53 h 138"/>
              <a:gd name="T110" fmla="*/ 6 w 137"/>
              <a:gd name="T111" fmla="*/ 50 h 138"/>
              <a:gd name="T112" fmla="*/ 3 w 137"/>
              <a:gd name="T113" fmla="*/ 38 h 138"/>
              <a:gd name="T114" fmla="*/ 0 w 137"/>
              <a:gd name="T115" fmla="*/ 3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7" h="138">
                <a:moveTo>
                  <a:pt x="0" y="34"/>
                </a:moveTo>
                <a:lnTo>
                  <a:pt x="3" y="28"/>
                </a:lnTo>
                <a:lnTo>
                  <a:pt x="6" y="28"/>
                </a:lnTo>
                <a:lnTo>
                  <a:pt x="12" y="25"/>
                </a:lnTo>
                <a:lnTo>
                  <a:pt x="18" y="25"/>
                </a:lnTo>
                <a:lnTo>
                  <a:pt x="21" y="22"/>
                </a:lnTo>
                <a:lnTo>
                  <a:pt x="21" y="19"/>
                </a:lnTo>
                <a:lnTo>
                  <a:pt x="18" y="16"/>
                </a:lnTo>
                <a:lnTo>
                  <a:pt x="18" y="9"/>
                </a:lnTo>
                <a:lnTo>
                  <a:pt x="18" y="6"/>
                </a:lnTo>
                <a:lnTo>
                  <a:pt x="18" y="0"/>
                </a:lnTo>
                <a:lnTo>
                  <a:pt x="21" y="0"/>
                </a:lnTo>
                <a:lnTo>
                  <a:pt x="34" y="0"/>
                </a:lnTo>
                <a:lnTo>
                  <a:pt x="43" y="3"/>
                </a:lnTo>
                <a:lnTo>
                  <a:pt x="46" y="6"/>
                </a:lnTo>
                <a:lnTo>
                  <a:pt x="53" y="6"/>
                </a:lnTo>
                <a:lnTo>
                  <a:pt x="59" y="6"/>
                </a:lnTo>
                <a:lnTo>
                  <a:pt x="62" y="6"/>
                </a:lnTo>
                <a:lnTo>
                  <a:pt x="65" y="6"/>
                </a:lnTo>
                <a:lnTo>
                  <a:pt x="68" y="9"/>
                </a:lnTo>
                <a:lnTo>
                  <a:pt x="71" y="9"/>
                </a:lnTo>
                <a:lnTo>
                  <a:pt x="71" y="13"/>
                </a:lnTo>
                <a:lnTo>
                  <a:pt x="75" y="13"/>
                </a:lnTo>
                <a:lnTo>
                  <a:pt x="78" y="13"/>
                </a:lnTo>
                <a:lnTo>
                  <a:pt x="81" y="13"/>
                </a:lnTo>
                <a:lnTo>
                  <a:pt x="87" y="16"/>
                </a:lnTo>
                <a:lnTo>
                  <a:pt x="90" y="16"/>
                </a:lnTo>
                <a:lnTo>
                  <a:pt x="93" y="13"/>
                </a:lnTo>
                <a:lnTo>
                  <a:pt x="96" y="13"/>
                </a:lnTo>
                <a:lnTo>
                  <a:pt x="100" y="6"/>
                </a:lnTo>
                <a:lnTo>
                  <a:pt x="106" y="6"/>
                </a:lnTo>
                <a:lnTo>
                  <a:pt x="109" y="9"/>
                </a:lnTo>
                <a:lnTo>
                  <a:pt x="112" y="6"/>
                </a:lnTo>
                <a:lnTo>
                  <a:pt x="115" y="6"/>
                </a:lnTo>
                <a:lnTo>
                  <a:pt x="115" y="9"/>
                </a:lnTo>
                <a:lnTo>
                  <a:pt x="121" y="13"/>
                </a:lnTo>
                <a:lnTo>
                  <a:pt x="121" y="16"/>
                </a:lnTo>
                <a:lnTo>
                  <a:pt x="121" y="22"/>
                </a:lnTo>
                <a:lnTo>
                  <a:pt x="121" y="22"/>
                </a:lnTo>
                <a:lnTo>
                  <a:pt x="128" y="25"/>
                </a:lnTo>
                <a:lnTo>
                  <a:pt x="128" y="25"/>
                </a:lnTo>
                <a:lnTo>
                  <a:pt x="125" y="31"/>
                </a:lnTo>
                <a:lnTo>
                  <a:pt x="121" y="38"/>
                </a:lnTo>
                <a:lnTo>
                  <a:pt x="125" y="34"/>
                </a:lnTo>
                <a:lnTo>
                  <a:pt x="128" y="34"/>
                </a:lnTo>
                <a:lnTo>
                  <a:pt x="131" y="34"/>
                </a:lnTo>
                <a:lnTo>
                  <a:pt x="131" y="38"/>
                </a:lnTo>
                <a:lnTo>
                  <a:pt x="131" y="41"/>
                </a:lnTo>
                <a:lnTo>
                  <a:pt x="131" y="41"/>
                </a:lnTo>
                <a:lnTo>
                  <a:pt x="137" y="41"/>
                </a:lnTo>
                <a:lnTo>
                  <a:pt x="137" y="44"/>
                </a:lnTo>
                <a:lnTo>
                  <a:pt x="137" y="47"/>
                </a:lnTo>
                <a:lnTo>
                  <a:pt x="137" y="47"/>
                </a:lnTo>
                <a:lnTo>
                  <a:pt x="131" y="50"/>
                </a:lnTo>
                <a:lnTo>
                  <a:pt x="131" y="53"/>
                </a:lnTo>
                <a:lnTo>
                  <a:pt x="131" y="56"/>
                </a:lnTo>
                <a:lnTo>
                  <a:pt x="131" y="63"/>
                </a:lnTo>
                <a:lnTo>
                  <a:pt x="131" y="66"/>
                </a:lnTo>
                <a:lnTo>
                  <a:pt x="131" y="75"/>
                </a:lnTo>
                <a:lnTo>
                  <a:pt x="134" y="75"/>
                </a:lnTo>
                <a:lnTo>
                  <a:pt x="137" y="78"/>
                </a:lnTo>
                <a:lnTo>
                  <a:pt x="134" y="81"/>
                </a:lnTo>
                <a:lnTo>
                  <a:pt x="131" y="81"/>
                </a:lnTo>
                <a:lnTo>
                  <a:pt x="131" y="81"/>
                </a:lnTo>
                <a:lnTo>
                  <a:pt x="131" y="85"/>
                </a:lnTo>
                <a:lnTo>
                  <a:pt x="134" y="91"/>
                </a:lnTo>
                <a:lnTo>
                  <a:pt x="134" y="91"/>
                </a:lnTo>
                <a:lnTo>
                  <a:pt x="134" y="97"/>
                </a:lnTo>
                <a:lnTo>
                  <a:pt x="128" y="106"/>
                </a:lnTo>
                <a:lnTo>
                  <a:pt x="125" y="110"/>
                </a:lnTo>
                <a:lnTo>
                  <a:pt x="125" y="110"/>
                </a:lnTo>
                <a:lnTo>
                  <a:pt x="125" y="116"/>
                </a:lnTo>
                <a:lnTo>
                  <a:pt x="121" y="122"/>
                </a:lnTo>
                <a:lnTo>
                  <a:pt x="121" y="125"/>
                </a:lnTo>
                <a:lnTo>
                  <a:pt x="121" y="125"/>
                </a:lnTo>
                <a:lnTo>
                  <a:pt x="90" y="138"/>
                </a:lnTo>
                <a:lnTo>
                  <a:pt x="84" y="131"/>
                </a:lnTo>
                <a:lnTo>
                  <a:pt x="81" y="131"/>
                </a:lnTo>
                <a:lnTo>
                  <a:pt x="75" y="125"/>
                </a:lnTo>
                <a:lnTo>
                  <a:pt x="71" y="122"/>
                </a:lnTo>
                <a:lnTo>
                  <a:pt x="75" y="119"/>
                </a:lnTo>
                <a:lnTo>
                  <a:pt x="71" y="119"/>
                </a:lnTo>
                <a:lnTo>
                  <a:pt x="81" y="113"/>
                </a:lnTo>
                <a:lnTo>
                  <a:pt x="84" y="88"/>
                </a:lnTo>
                <a:lnTo>
                  <a:pt x="84" y="85"/>
                </a:lnTo>
                <a:lnTo>
                  <a:pt x="81" y="85"/>
                </a:lnTo>
                <a:lnTo>
                  <a:pt x="81" y="81"/>
                </a:lnTo>
                <a:lnTo>
                  <a:pt x="84" y="78"/>
                </a:lnTo>
                <a:lnTo>
                  <a:pt x="84" y="75"/>
                </a:lnTo>
                <a:lnTo>
                  <a:pt x="81" y="72"/>
                </a:lnTo>
                <a:lnTo>
                  <a:pt x="81" y="69"/>
                </a:lnTo>
                <a:lnTo>
                  <a:pt x="75" y="59"/>
                </a:lnTo>
                <a:lnTo>
                  <a:pt x="75" y="56"/>
                </a:lnTo>
                <a:lnTo>
                  <a:pt x="71" y="53"/>
                </a:lnTo>
                <a:lnTo>
                  <a:pt x="56" y="53"/>
                </a:lnTo>
                <a:lnTo>
                  <a:pt x="50" y="53"/>
                </a:lnTo>
                <a:lnTo>
                  <a:pt x="46" y="56"/>
                </a:lnTo>
                <a:lnTo>
                  <a:pt x="40" y="63"/>
                </a:lnTo>
                <a:lnTo>
                  <a:pt x="40" y="66"/>
                </a:lnTo>
                <a:lnTo>
                  <a:pt x="34" y="69"/>
                </a:lnTo>
                <a:lnTo>
                  <a:pt x="31" y="69"/>
                </a:lnTo>
                <a:lnTo>
                  <a:pt x="28" y="66"/>
                </a:lnTo>
                <a:lnTo>
                  <a:pt x="25" y="63"/>
                </a:lnTo>
                <a:lnTo>
                  <a:pt x="21" y="56"/>
                </a:lnTo>
                <a:lnTo>
                  <a:pt x="18" y="56"/>
                </a:lnTo>
                <a:lnTo>
                  <a:pt x="15" y="56"/>
                </a:lnTo>
                <a:lnTo>
                  <a:pt x="15" y="53"/>
                </a:lnTo>
                <a:lnTo>
                  <a:pt x="18" y="50"/>
                </a:lnTo>
                <a:lnTo>
                  <a:pt x="15" y="50"/>
                </a:lnTo>
                <a:lnTo>
                  <a:pt x="12" y="53"/>
                </a:lnTo>
                <a:lnTo>
                  <a:pt x="9" y="50"/>
                </a:lnTo>
                <a:lnTo>
                  <a:pt x="6" y="50"/>
                </a:lnTo>
                <a:lnTo>
                  <a:pt x="0" y="44"/>
                </a:lnTo>
                <a:lnTo>
                  <a:pt x="3" y="38"/>
                </a:lnTo>
                <a:lnTo>
                  <a:pt x="0" y="34"/>
                </a:lnTo>
                <a:lnTo>
                  <a:pt x="0" y="34"/>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6" name="Freeform 124">
            <a:extLst>
              <a:ext uri="{FF2B5EF4-FFF2-40B4-BE49-F238E27FC236}">
                <a16:creationId xmlns:a16="http://schemas.microsoft.com/office/drawing/2014/main" id="{B676D579-1110-A2E1-343B-10F06E0C65F2}"/>
              </a:ext>
            </a:extLst>
          </p:cNvPr>
          <p:cNvSpPr>
            <a:spLocks noEditPoints="1"/>
          </p:cNvSpPr>
          <p:nvPr userDrawn="1"/>
        </p:nvSpPr>
        <p:spPr bwMode="auto">
          <a:xfrm>
            <a:off x="12365818" y="8740065"/>
            <a:ext cx="168267" cy="209550"/>
          </a:xfrm>
          <a:custGeom>
            <a:avLst/>
            <a:gdLst>
              <a:gd name="T0" fmla="*/ 12 w 53"/>
              <a:gd name="T1" fmla="*/ 57 h 66"/>
              <a:gd name="T2" fmla="*/ 12 w 53"/>
              <a:gd name="T3" fmla="*/ 53 h 66"/>
              <a:gd name="T4" fmla="*/ 12 w 53"/>
              <a:gd name="T5" fmla="*/ 53 h 66"/>
              <a:gd name="T6" fmla="*/ 9 w 53"/>
              <a:gd name="T7" fmla="*/ 50 h 66"/>
              <a:gd name="T8" fmla="*/ 9 w 53"/>
              <a:gd name="T9" fmla="*/ 53 h 66"/>
              <a:gd name="T10" fmla="*/ 9 w 53"/>
              <a:gd name="T11" fmla="*/ 53 h 66"/>
              <a:gd name="T12" fmla="*/ 12 w 53"/>
              <a:gd name="T13" fmla="*/ 57 h 66"/>
              <a:gd name="T14" fmla="*/ 12 w 53"/>
              <a:gd name="T15" fmla="*/ 57 h 66"/>
              <a:gd name="T16" fmla="*/ 12 w 53"/>
              <a:gd name="T17" fmla="*/ 57 h 66"/>
              <a:gd name="T18" fmla="*/ 0 w 53"/>
              <a:gd name="T19" fmla="*/ 16 h 66"/>
              <a:gd name="T20" fmla="*/ 3 w 53"/>
              <a:gd name="T21" fmla="*/ 16 h 66"/>
              <a:gd name="T22" fmla="*/ 9 w 53"/>
              <a:gd name="T23" fmla="*/ 13 h 66"/>
              <a:gd name="T24" fmla="*/ 9 w 53"/>
              <a:gd name="T25" fmla="*/ 10 h 66"/>
              <a:gd name="T26" fmla="*/ 15 w 53"/>
              <a:gd name="T27" fmla="*/ 3 h 66"/>
              <a:gd name="T28" fmla="*/ 19 w 53"/>
              <a:gd name="T29" fmla="*/ 0 h 66"/>
              <a:gd name="T30" fmla="*/ 25 w 53"/>
              <a:gd name="T31" fmla="*/ 0 h 66"/>
              <a:gd name="T32" fmla="*/ 40 w 53"/>
              <a:gd name="T33" fmla="*/ 0 h 66"/>
              <a:gd name="T34" fmla="*/ 44 w 53"/>
              <a:gd name="T35" fmla="*/ 3 h 66"/>
              <a:gd name="T36" fmla="*/ 44 w 53"/>
              <a:gd name="T37" fmla="*/ 6 h 66"/>
              <a:gd name="T38" fmla="*/ 50 w 53"/>
              <a:gd name="T39" fmla="*/ 16 h 66"/>
              <a:gd name="T40" fmla="*/ 50 w 53"/>
              <a:gd name="T41" fmla="*/ 19 h 66"/>
              <a:gd name="T42" fmla="*/ 53 w 53"/>
              <a:gd name="T43" fmla="*/ 22 h 66"/>
              <a:gd name="T44" fmla="*/ 53 w 53"/>
              <a:gd name="T45" fmla="*/ 25 h 66"/>
              <a:gd name="T46" fmla="*/ 50 w 53"/>
              <a:gd name="T47" fmla="*/ 28 h 66"/>
              <a:gd name="T48" fmla="*/ 50 w 53"/>
              <a:gd name="T49" fmla="*/ 32 h 66"/>
              <a:gd name="T50" fmla="*/ 53 w 53"/>
              <a:gd name="T51" fmla="*/ 32 h 66"/>
              <a:gd name="T52" fmla="*/ 53 w 53"/>
              <a:gd name="T53" fmla="*/ 35 h 66"/>
              <a:gd name="T54" fmla="*/ 50 w 53"/>
              <a:gd name="T55" fmla="*/ 60 h 66"/>
              <a:gd name="T56" fmla="*/ 40 w 53"/>
              <a:gd name="T57" fmla="*/ 66 h 66"/>
              <a:gd name="T58" fmla="*/ 40 w 53"/>
              <a:gd name="T59" fmla="*/ 66 h 66"/>
              <a:gd name="T60" fmla="*/ 31 w 53"/>
              <a:gd name="T61" fmla="*/ 66 h 66"/>
              <a:gd name="T62" fmla="*/ 22 w 53"/>
              <a:gd name="T63" fmla="*/ 60 h 66"/>
              <a:gd name="T64" fmla="*/ 19 w 53"/>
              <a:gd name="T65" fmla="*/ 60 h 66"/>
              <a:gd name="T66" fmla="*/ 19 w 53"/>
              <a:gd name="T67" fmla="*/ 57 h 66"/>
              <a:gd name="T68" fmla="*/ 15 w 53"/>
              <a:gd name="T69" fmla="*/ 53 h 66"/>
              <a:gd name="T70" fmla="*/ 12 w 53"/>
              <a:gd name="T71" fmla="*/ 50 h 66"/>
              <a:gd name="T72" fmla="*/ 15 w 53"/>
              <a:gd name="T73" fmla="*/ 47 h 66"/>
              <a:gd name="T74" fmla="*/ 15 w 53"/>
              <a:gd name="T75" fmla="*/ 47 h 66"/>
              <a:gd name="T76" fmla="*/ 9 w 53"/>
              <a:gd name="T77" fmla="*/ 47 h 66"/>
              <a:gd name="T78" fmla="*/ 6 w 53"/>
              <a:gd name="T79" fmla="*/ 44 h 66"/>
              <a:gd name="T80" fmla="*/ 6 w 53"/>
              <a:gd name="T81" fmla="*/ 38 h 66"/>
              <a:gd name="T82" fmla="*/ 3 w 53"/>
              <a:gd name="T83" fmla="*/ 32 h 66"/>
              <a:gd name="T84" fmla="*/ 0 w 53"/>
              <a:gd name="T85" fmla="*/ 32 h 66"/>
              <a:gd name="T86" fmla="*/ 0 w 53"/>
              <a:gd name="T87" fmla="*/ 28 h 66"/>
              <a:gd name="T88" fmla="*/ 3 w 53"/>
              <a:gd name="T89" fmla="*/ 25 h 66"/>
              <a:gd name="T90" fmla="*/ 0 w 53"/>
              <a:gd name="T91" fmla="*/ 22 h 66"/>
              <a:gd name="T92" fmla="*/ 0 w 53"/>
              <a:gd name="T93" fmla="*/ 19 h 66"/>
              <a:gd name="T94" fmla="*/ 0 w 53"/>
              <a:gd name="T95" fmla="*/ 16 h 66"/>
              <a:gd name="T96" fmla="*/ 0 w 53"/>
              <a:gd name="T97"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66">
                <a:moveTo>
                  <a:pt x="12" y="57"/>
                </a:moveTo>
                <a:lnTo>
                  <a:pt x="12" y="53"/>
                </a:lnTo>
                <a:lnTo>
                  <a:pt x="12" y="53"/>
                </a:lnTo>
                <a:lnTo>
                  <a:pt x="9" y="50"/>
                </a:lnTo>
                <a:lnTo>
                  <a:pt x="9" y="53"/>
                </a:lnTo>
                <a:lnTo>
                  <a:pt x="9" y="53"/>
                </a:lnTo>
                <a:lnTo>
                  <a:pt x="12" y="57"/>
                </a:lnTo>
                <a:lnTo>
                  <a:pt x="12" y="57"/>
                </a:lnTo>
                <a:lnTo>
                  <a:pt x="12" y="57"/>
                </a:lnTo>
                <a:close/>
                <a:moveTo>
                  <a:pt x="0" y="16"/>
                </a:moveTo>
                <a:lnTo>
                  <a:pt x="3" y="16"/>
                </a:lnTo>
                <a:lnTo>
                  <a:pt x="9" y="13"/>
                </a:lnTo>
                <a:lnTo>
                  <a:pt x="9" y="10"/>
                </a:lnTo>
                <a:lnTo>
                  <a:pt x="15" y="3"/>
                </a:lnTo>
                <a:lnTo>
                  <a:pt x="19" y="0"/>
                </a:lnTo>
                <a:lnTo>
                  <a:pt x="25" y="0"/>
                </a:lnTo>
                <a:lnTo>
                  <a:pt x="40" y="0"/>
                </a:lnTo>
                <a:lnTo>
                  <a:pt x="44" y="3"/>
                </a:lnTo>
                <a:lnTo>
                  <a:pt x="44" y="6"/>
                </a:lnTo>
                <a:lnTo>
                  <a:pt x="50" y="16"/>
                </a:lnTo>
                <a:lnTo>
                  <a:pt x="50" y="19"/>
                </a:lnTo>
                <a:lnTo>
                  <a:pt x="53" y="22"/>
                </a:lnTo>
                <a:lnTo>
                  <a:pt x="53" y="25"/>
                </a:lnTo>
                <a:lnTo>
                  <a:pt x="50" y="28"/>
                </a:lnTo>
                <a:lnTo>
                  <a:pt x="50" y="32"/>
                </a:lnTo>
                <a:lnTo>
                  <a:pt x="53" y="32"/>
                </a:lnTo>
                <a:lnTo>
                  <a:pt x="53" y="35"/>
                </a:lnTo>
                <a:lnTo>
                  <a:pt x="50" y="60"/>
                </a:lnTo>
                <a:lnTo>
                  <a:pt x="40" y="66"/>
                </a:lnTo>
                <a:lnTo>
                  <a:pt x="40" y="66"/>
                </a:lnTo>
                <a:lnTo>
                  <a:pt x="31" y="66"/>
                </a:lnTo>
                <a:lnTo>
                  <a:pt x="22" y="60"/>
                </a:lnTo>
                <a:lnTo>
                  <a:pt x="19" y="60"/>
                </a:lnTo>
                <a:lnTo>
                  <a:pt x="19" y="57"/>
                </a:lnTo>
                <a:lnTo>
                  <a:pt x="15" y="53"/>
                </a:lnTo>
                <a:lnTo>
                  <a:pt x="12" y="50"/>
                </a:lnTo>
                <a:lnTo>
                  <a:pt x="15" y="47"/>
                </a:lnTo>
                <a:lnTo>
                  <a:pt x="15" y="47"/>
                </a:lnTo>
                <a:lnTo>
                  <a:pt x="9" y="47"/>
                </a:lnTo>
                <a:lnTo>
                  <a:pt x="6" y="44"/>
                </a:lnTo>
                <a:lnTo>
                  <a:pt x="6" y="38"/>
                </a:lnTo>
                <a:lnTo>
                  <a:pt x="3" y="32"/>
                </a:lnTo>
                <a:lnTo>
                  <a:pt x="0" y="32"/>
                </a:lnTo>
                <a:lnTo>
                  <a:pt x="0" y="28"/>
                </a:lnTo>
                <a:lnTo>
                  <a:pt x="3" y="25"/>
                </a:lnTo>
                <a:lnTo>
                  <a:pt x="0" y="22"/>
                </a:lnTo>
                <a:lnTo>
                  <a:pt x="0" y="19"/>
                </a:lnTo>
                <a:lnTo>
                  <a:pt x="0" y="16"/>
                </a:lnTo>
                <a:lnTo>
                  <a:pt x="0" y="16"/>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7" name="Freeform 125">
            <a:extLst>
              <a:ext uri="{FF2B5EF4-FFF2-40B4-BE49-F238E27FC236}">
                <a16:creationId xmlns:a16="http://schemas.microsoft.com/office/drawing/2014/main" id="{C7F7CED0-DA03-7A65-742A-A99592A7E76E}"/>
              </a:ext>
            </a:extLst>
          </p:cNvPr>
          <p:cNvSpPr>
            <a:spLocks/>
          </p:cNvSpPr>
          <p:nvPr userDrawn="1"/>
        </p:nvSpPr>
        <p:spPr bwMode="auto">
          <a:xfrm>
            <a:off x="12473761" y="8828958"/>
            <a:ext cx="247634" cy="279400"/>
          </a:xfrm>
          <a:custGeom>
            <a:avLst/>
            <a:gdLst>
              <a:gd name="T0" fmla="*/ 0 w 78"/>
              <a:gd name="T1" fmla="*/ 38 h 88"/>
              <a:gd name="T2" fmla="*/ 0 w 78"/>
              <a:gd name="T3" fmla="*/ 35 h 88"/>
              <a:gd name="T4" fmla="*/ 3 w 78"/>
              <a:gd name="T5" fmla="*/ 29 h 88"/>
              <a:gd name="T6" fmla="*/ 6 w 78"/>
              <a:gd name="T7" fmla="*/ 25 h 88"/>
              <a:gd name="T8" fmla="*/ 13 w 78"/>
              <a:gd name="T9" fmla="*/ 22 h 88"/>
              <a:gd name="T10" fmla="*/ 13 w 78"/>
              <a:gd name="T11" fmla="*/ 19 h 88"/>
              <a:gd name="T12" fmla="*/ 13 w 78"/>
              <a:gd name="T13" fmla="*/ 13 h 88"/>
              <a:gd name="T14" fmla="*/ 16 w 78"/>
              <a:gd name="T15" fmla="*/ 13 h 88"/>
              <a:gd name="T16" fmla="*/ 16 w 78"/>
              <a:gd name="T17" fmla="*/ 10 h 88"/>
              <a:gd name="T18" fmla="*/ 16 w 78"/>
              <a:gd name="T19" fmla="*/ 7 h 88"/>
              <a:gd name="T20" fmla="*/ 22 w 78"/>
              <a:gd name="T21" fmla="*/ 4 h 88"/>
              <a:gd name="T22" fmla="*/ 25 w 78"/>
              <a:gd name="T23" fmla="*/ 4 h 88"/>
              <a:gd name="T24" fmla="*/ 31 w 78"/>
              <a:gd name="T25" fmla="*/ 0 h 88"/>
              <a:gd name="T26" fmla="*/ 35 w 78"/>
              <a:gd name="T27" fmla="*/ 4 h 88"/>
              <a:gd name="T28" fmla="*/ 38 w 78"/>
              <a:gd name="T29" fmla="*/ 7 h 88"/>
              <a:gd name="T30" fmla="*/ 41 w 78"/>
              <a:gd name="T31" fmla="*/ 10 h 88"/>
              <a:gd name="T32" fmla="*/ 41 w 78"/>
              <a:gd name="T33" fmla="*/ 16 h 88"/>
              <a:gd name="T34" fmla="*/ 41 w 78"/>
              <a:gd name="T35" fmla="*/ 22 h 88"/>
              <a:gd name="T36" fmla="*/ 47 w 78"/>
              <a:gd name="T37" fmla="*/ 29 h 88"/>
              <a:gd name="T38" fmla="*/ 47 w 78"/>
              <a:gd name="T39" fmla="*/ 25 h 88"/>
              <a:gd name="T40" fmla="*/ 53 w 78"/>
              <a:gd name="T41" fmla="*/ 22 h 88"/>
              <a:gd name="T42" fmla="*/ 56 w 78"/>
              <a:gd name="T43" fmla="*/ 22 h 88"/>
              <a:gd name="T44" fmla="*/ 60 w 78"/>
              <a:gd name="T45" fmla="*/ 25 h 88"/>
              <a:gd name="T46" fmla="*/ 60 w 78"/>
              <a:gd name="T47" fmla="*/ 29 h 88"/>
              <a:gd name="T48" fmla="*/ 60 w 78"/>
              <a:gd name="T49" fmla="*/ 29 h 88"/>
              <a:gd name="T50" fmla="*/ 60 w 78"/>
              <a:gd name="T51" fmla="*/ 35 h 88"/>
              <a:gd name="T52" fmla="*/ 56 w 78"/>
              <a:gd name="T53" fmla="*/ 41 h 88"/>
              <a:gd name="T54" fmla="*/ 56 w 78"/>
              <a:gd name="T55" fmla="*/ 44 h 88"/>
              <a:gd name="T56" fmla="*/ 56 w 78"/>
              <a:gd name="T57" fmla="*/ 47 h 88"/>
              <a:gd name="T58" fmla="*/ 60 w 78"/>
              <a:gd name="T59" fmla="*/ 47 h 88"/>
              <a:gd name="T60" fmla="*/ 60 w 78"/>
              <a:gd name="T61" fmla="*/ 47 h 88"/>
              <a:gd name="T62" fmla="*/ 63 w 78"/>
              <a:gd name="T63" fmla="*/ 47 h 88"/>
              <a:gd name="T64" fmla="*/ 66 w 78"/>
              <a:gd name="T65" fmla="*/ 50 h 88"/>
              <a:gd name="T66" fmla="*/ 69 w 78"/>
              <a:gd name="T67" fmla="*/ 50 h 88"/>
              <a:gd name="T68" fmla="*/ 72 w 78"/>
              <a:gd name="T69" fmla="*/ 50 h 88"/>
              <a:gd name="T70" fmla="*/ 72 w 78"/>
              <a:gd name="T71" fmla="*/ 54 h 88"/>
              <a:gd name="T72" fmla="*/ 75 w 78"/>
              <a:gd name="T73" fmla="*/ 57 h 88"/>
              <a:gd name="T74" fmla="*/ 78 w 78"/>
              <a:gd name="T75" fmla="*/ 57 h 88"/>
              <a:gd name="T76" fmla="*/ 78 w 78"/>
              <a:gd name="T77" fmla="*/ 60 h 88"/>
              <a:gd name="T78" fmla="*/ 75 w 78"/>
              <a:gd name="T79" fmla="*/ 63 h 88"/>
              <a:gd name="T80" fmla="*/ 78 w 78"/>
              <a:gd name="T81" fmla="*/ 66 h 88"/>
              <a:gd name="T82" fmla="*/ 75 w 78"/>
              <a:gd name="T83" fmla="*/ 69 h 88"/>
              <a:gd name="T84" fmla="*/ 75 w 78"/>
              <a:gd name="T85" fmla="*/ 72 h 88"/>
              <a:gd name="T86" fmla="*/ 75 w 78"/>
              <a:gd name="T87" fmla="*/ 75 h 88"/>
              <a:gd name="T88" fmla="*/ 75 w 78"/>
              <a:gd name="T89" fmla="*/ 79 h 88"/>
              <a:gd name="T90" fmla="*/ 78 w 78"/>
              <a:gd name="T91" fmla="*/ 82 h 88"/>
              <a:gd name="T92" fmla="*/ 78 w 78"/>
              <a:gd name="T93" fmla="*/ 88 h 88"/>
              <a:gd name="T94" fmla="*/ 56 w 78"/>
              <a:gd name="T95" fmla="*/ 79 h 88"/>
              <a:gd name="T96" fmla="*/ 44 w 78"/>
              <a:gd name="T97" fmla="*/ 69 h 88"/>
              <a:gd name="T98" fmla="*/ 38 w 78"/>
              <a:gd name="T99" fmla="*/ 69 h 88"/>
              <a:gd name="T100" fmla="*/ 25 w 78"/>
              <a:gd name="T101" fmla="*/ 57 h 88"/>
              <a:gd name="T102" fmla="*/ 19 w 78"/>
              <a:gd name="T103" fmla="*/ 50 h 88"/>
              <a:gd name="T104" fmla="*/ 16 w 78"/>
              <a:gd name="T105" fmla="*/ 50 h 88"/>
              <a:gd name="T106" fmla="*/ 10 w 78"/>
              <a:gd name="T107" fmla="*/ 44 h 88"/>
              <a:gd name="T108" fmla="*/ 6 w 78"/>
              <a:gd name="T109" fmla="*/ 41 h 88"/>
              <a:gd name="T110" fmla="*/ 10 w 78"/>
              <a:gd name="T111" fmla="*/ 38 h 88"/>
              <a:gd name="T112" fmla="*/ 6 w 78"/>
              <a:gd name="T113" fmla="*/ 38 h 88"/>
              <a:gd name="T114" fmla="*/ 0 w 78"/>
              <a:gd name="T115" fmla="*/ 3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 h="88">
                <a:moveTo>
                  <a:pt x="0" y="38"/>
                </a:moveTo>
                <a:lnTo>
                  <a:pt x="0" y="35"/>
                </a:lnTo>
                <a:lnTo>
                  <a:pt x="3" y="29"/>
                </a:lnTo>
                <a:lnTo>
                  <a:pt x="6" y="25"/>
                </a:lnTo>
                <a:lnTo>
                  <a:pt x="13" y="22"/>
                </a:lnTo>
                <a:lnTo>
                  <a:pt x="13" y="19"/>
                </a:lnTo>
                <a:lnTo>
                  <a:pt x="13" y="13"/>
                </a:lnTo>
                <a:lnTo>
                  <a:pt x="16" y="13"/>
                </a:lnTo>
                <a:lnTo>
                  <a:pt x="16" y="10"/>
                </a:lnTo>
                <a:lnTo>
                  <a:pt x="16" y="7"/>
                </a:lnTo>
                <a:lnTo>
                  <a:pt x="22" y="4"/>
                </a:lnTo>
                <a:lnTo>
                  <a:pt x="25" y="4"/>
                </a:lnTo>
                <a:lnTo>
                  <a:pt x="31" y="0"/>
                </a:lnTo>
                <a:lnTo>
                  <a:pt x="35" y="4"/>
                </a:lnTo>
                <a:lnTo>
                  <a:pt x="38" y="7"/>
                </a:lnTo>
                <a:lnTo>
                  <a:pt x="41" y="10"/>
                </a:lnTo>
                <a:lnTo>
                  <a:pt x="41" y="16"/>
                </a:lnTo>
                <a:lnTo>
                  <a:pt x="41" y="22"/>
                </a:lnTo>
                <a:lnTo>
                  <a:pt x="47" y="29"/>
                </a:lnTo>
                <a:lnTo>
                  <a:pt x="47" y="25"/>
                </a:lnTo>
                <a:lnTo>
                  <a:pt x="53" y="22"/>
                </a:lnTo>
                <a:lnTo>
                  <a:pt x="56" y="22"/>
                </a:lnTo>
                <a:lnTo>
                  <a:pt x="60" y="25"/>
                </a:lnTo>
                <a:lnTo>
                  <a:pt x="60" y="29"/>
                </a:lnTo>
                <a:lnTo>
                  <a:pt x="60" y="29"/>
                </a:lnTo>
                <a:lnTo>
                  <a:pt x="60" y="35"/>
                </a:lnTo>
                <a:lnTo>
                  <a:pt x="56" y="41"/>
                </a:lnTo>
                <a:lnTo>
                  <a:pt x="56" y="44"/>
                </a:lnTo>
                <a:lnTo>
                  <a:pt x="56" y="47"/>
                </a:lnTo>
                <a:lnTo>
                  <a:pt x="60" y="47"/>
                </a:lnTo>
                <a:lnTo>
                  <a:pt x="60" y="47"/>
                </a:lnTo>
                <a:lnTo>
                  <a:pt x="63" y="47"/>
                </a:lnTo>
                <a:lnTo>
                  <a:pt x="66" y="50"/>
                </a:lnTo>
                <a:lnTo>
                  <a:pt x="69" y="50"/>
                </a:lnTo>
                <a:lnTo>
                  <a:pt x="72" y="50"/>
                </a:lnTo>
                <a:lnTo>
                  <a:pt x="72" y="54"/>
                </a:lnTo>
                <a:lnTo>
                  <a:pt x="75" y="57"/>
                </a:lnTo>
                <a:lnTo>
                  <a:pt x="78" y="57"/>
                </a:lnTo>
                <a:lnTo>
                  <a:pt x="78" y="60"/>
                </a:lnTo>
                <a:lnTo>
                  <a:pt x="75" y="63"/>
                </a:lnTo>
                <a:lnTo>
                  <a:pt x="78" y="66"/>
                </a:lnTo>
                <a:lnTo>
                  <a:pt x="75" y="69"/>
                </a:lnTo>
                <a:lnTo>
                  <a:pt x="75" y="72"/>
                </a:lnTo>
                <a:lnTo>
                  <a:pt x="75" y="75"/>
                </a:lnTo>
                <a:lnTo>
                  <a:pt x="75" y="79"/>
                </a:lnTo>
                <a:lnTo>
                  <a:pt x="78" y="82"/>
                </a:lnTo>
                <a:lnTo>
                  <a:pt x="78" y="88"/>
                </a:lnTo>
                <a:lnTo>
                  <a:pt x="56" y="79"/>
                </a:lnTo>
                <a:lnTo>
                  <a:pt x="44" y="69"/>
                </a:lnTo>
                <a:lnTo>
                  <a:pt x="38" y="69"/>
                </a:lnTo>
                <a:lnTo>
                  <a:pt x="25" y="57"/>
                </a:lnTo>
                <a:lnTo>
                  <a:pt x="19" y="50"/>
                </a:lnTo>
                <a:lnTo>
                  <a:pt x="16" y="50"/>
                </a:lnTo>
                <a:lnTo>
                  <a:pt x="10" y="44"/>
                </a:lnTo>
                <a:lnTo>
                  <a:pt x="6" y="41"/>
                </a:lnTo>
                <a:lnTo>
                  <a:pt x="10" y="38"/>
                </a:lnTo>
                <a:lnTo>
                  <a:pt x="6" y="38"/>
                </a:lnTo>
                <a:lnTo>
                  <a:pt x="0" y="38"/>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8" name="Freeform 126">
            <a:extLst>
              <a:ext uri="{FF2B5EF4-FFF2-40B4-BE49-F238E27FC236}">
                <a16:creationId xmlns:a16="http://schemas.microsoft.com/office/drawing/2014/main" id="{89769378-639F-4321-4969-B329792BDDFA}"/>
              </a:ext>
            </a:extLst>
          </p:cNvPr>
          <p:cNvSpPr>
            <a:spLocks/>
          </p:cNvSpPr>
          <p:nvPr userDrawn="1"/>
        </p:nvSpPr>
        <p:spPr bwMode="auto">
          <a:xfrm>
            <a:off x="12651551" y="8701956"/>
            <a:ext cx="387325" cy="406400"/>
          </a:xfrm>
          <a:custGeom>
            <a:avLst/>
            <a:gdLst>
              <a:gd name="T0" fmla="*/ 22 w 122"/>
              <a:gd name="T1" fmla="*/ 122 h 128"/>
              <a:gd name="T2" fmla="*/ 19 w 122"/>
              <a:gd name="T3" fmla="*/ 115 h 128"/>
              <a:gd name="T4" fmla="*/ 19 w 122"/>
              <a:gd name="T5" fmla="*/ 109 h 128"/>
              <a:gd name="T6" fmla="*/ 19 w 122"/>
              <a:gd name="T7" fmla="*/ 103 h 128"/>
              <a:gd name="T8" fmla="*/ 22 w 122"/>
              <a:gd name="T9" fmla="*/ 97 h 128"/>
              <a:gd name="T10" fmla="*/ 16 w 122"/>
              <a:gd name="T11" fmla="*/ 94 h 128"/>
              <a:gd name="T12" fmla="*/ 13 w 122"/>
              <a:gd name="T13" fmla="*/ 90 h 128"/>
              <a:gd name="T14" fmla="*/ 7 w 122"/>
              <a:gd name="T15" fmla="*/ 87 h 128"/>
              <a:gd name="T16" fmla="*/ 4 w 122"/>
              <a:gd name="T17" fmla="*/ 87 h 128"/>
              <a:gd name="T18" fmla="*/ 0 w 122"/>
              <a:gd name="T19" fmla="*/ 84 h 128"/>
              <a:gd name="T20" fmla="*/ 4 w 122"/>
              <a:gd name="T21" fmla="*/ 75 h 128"/>
              <a:gd name="T22" fmla="*/ 4 w 122"/>
              <a:gd name="T23" fmla="*/ 69 h 128"/>
              <a:gd name="T24" fmla="*/ 13 w 122"/>
              <a:gd name="T25" fmla="*/ 56 h 128"/>
              <a:gd name="T26" fmla="*/ 13 w 122"/>
              <a:gd name="T27" fmla="*/ 50 h 128"/>
              <a:gd name="T28" fmla="*/ 10 w 122"/>
              <a:gd name="T29" fmla="*/ 40 h 128"/>
              <a:gd name="T30" fmla="*/ 13 w 122"/>
              <a:gd name="T31" fmla="*/ 40 h 128"/>
              <a:gd name="T32" fmla="*/ 13 w 122"/>
              <a:gd name="T33" fmla="*/ 34 h 128"/>
              <a:gd name="T34" fmla="*/ 10 w 122"/>
              <a:gd name="T35" fmla="*/ 25 h 128"/>
              <a:gd name="T36" fmla="*/ 10 w 122"/>
              <a:gd name="T37" fmla="*/ 15 h 128"/>
              <a:gd name="T38" fmla="*/ 10 w 122"/>
              <a:gd name="T39" fmla="*/ 9 h 128"/>
              <a:gd name="T40" fmla="*/ 22 w 122"/>
              <a:gd name="T41" fmla="*/ 3 h 128"/>
              <a:gd name="T42" fmla="*/ 32 w 122"/>
              <a:gd name="T43" fmla="*/ 3 h 128"/>
              <a:gd name="T44" fmla="*/ 41 w 122"/>
              <a:gd name="T45" fmla="*/ 3 h 128"/>
              <a:gd name="T46" fmla="*/ 47 w 122"/>
              <a:gd name="T47" fmla="*/ 0 h 128"/>
              <a:gd name="T48" fmla="*/ 50 w 122"/>
              <a:gd name="T49" fmla="*/ 3 h 128"/>
              <a:gd name="T50" fmla="*/ 60 w 122"/>
              <a:gd name="T51" fmla="*/ 6 h 128"/>
              <a:gd name="T52" fmla="*/ 66 w 122"/>
              <a:gd name="T53" fmla="*/ 0 h 128"/>
              <a:gd name="T54" fmla="*/ 79 w 122"/>
              <a:gd name="T55" fmla="*/ 9 h 128"/>
              <a:gd name="T56" fmla="*/ 82 w 122"/>
              <a:gd name="T57" fmla="*/ 9 h 128"/>
              <a:gd name="T58" fmla="*/ 91 w 122"/>
              <a:gd name="T59" fmla="*/ 12 h 128"/>
              <a:gd name="T60" fmla="*/ 97 w 122"/>
              <a:gd name="T61" fmla="*/ 18 h 128"/>
              <a:gd name="T62" fmla="*/ 107 w 122"/>
              <a:gd name="T63" fmla="*/ 12 h 128"/>
              <a:gd name="T64" fmla="*/ 113 w 122"/>
              <a:gd name="T65" fmla="*/ 15 h 128"/>
              <a:gd name="T66" fmla="*/ 116 w 122"/>
              <a:gd name="T67" fmla="*/ 18 h 128"/>
              <a:gd name="T68" fmla="*/ 116 w 122"/>
              <a:gd name="T69" fmla="*/ 28 h 128"/>
              <a:gd name="T70" fmla="*/ 119 w 122"/>
              <a:gd name="T71" fmla="*/ 34 h 128"/>
              <a:gd name="T72" fmla="*/ 119 w 122"/>
              <a:gd name="T73" fmla="*/ 44 h 128"/>
              <a:gd name="T74" fmla="*/ 116 w 122"/>
              <a:gd name="T75" fmla="*/ 50 h 128"/>
              <a:gd name="T76" fmla="*/ 110 w 122"/>
              <a:gd name="T77" fmla="*/ 62 h 128"/>
              <a:gd name="T78" fmla="*/ 107 w 122"/>
              <a:gd name="T79" fmla="*/ 72 h 128"/>
              <a:gd name="T80" fmla="*/ 107 w 122"/>
              <a:gd name="T81" fmla="*/ 81 h 128"/>
              <a:gd name="T82" fmla="*/ 104 w 122"/>
              <a:gd name="T83" fmla="*/ 84 h 128"/>
              <a:gd name="T84" fmla="*/ 110 w 122"/>
              <a:gd name="T85" fmla="*/ 94 h 128"/>
              <a:gd name="T86" fmla="*/ 116 w 122"/>
              <a:gd name="T87" fmla="*/ 100 h 128"/>
              <a:gd name="T88" fmla="*/ 116 w 122"/>
              <a:gd name="T89" fmla="*/ 109 h 128"/>
              <a:gd name="T90" fmla="*/ 110 w 122"/>
              <a:gd name="T91" fmla="*/ 109 h 128"/>
              <a:gd name="T92" fmla="*/ 107 w 122"/>
              <a:gd name="T93" fmla="*/ 106 h 128"/>
              <a:gd name="T94" fmla="*/ 100 w 122"/>
              <a:gd name="T95" fmla="*/ 112 h 128"/>
              <a:gd name="T96" fmla="*/ 82 w 122"/>
              <a:gd name="T97" fmla="*/ 112 h 128"/>
              <a:gd name="T98" fmla="*/ 50 w 122"/>
              <a:gd name="T99" fmla="*/ 112 h 128"/>
              <a:gd name="T100" fmla="*/ 35 w 122"/>
              <a:gd name="T101" fmla="*/ 119 h 128"/>
              <a:gd name="T102" fmla="*/ 29 w 122"/>
              <a:gd name="T103" fmla="*/ 122 h 128"/>
              <a:gd name="T104" fmla="*/ 22 w 122"/>
              <a:gd name="T10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2" h="128">
                <a:moveTo>
                  <a:pt x="22" y="128"/>
                </a:moveTo>
                <a:lnTo>
                  <a:pt x="22" y="122"/>
                </a:lnTo>
                <a:lnTo>
                  <a:pt x="19" y="119"/>
                </a:lnTo>
                <a:lnTo>
                  <a:pt x="19" y="115"/>
                </a:lnTo>
                <a:lnTo>
                  <a:pt x="19" y="112"/>
                </a:lnTo>
                <a:lnTo>
                  <a:pt x="19" y="109"/>
                </a:lnTo>
                <a:lnTo>
                  <a:pt x="22" y="106"/>
                </a:lnTo>
                <a:lnTo>
                  <a:pt x="19" y="103"/>
                </a:lnTo>
                <a:lnTo>
                  <a:pt x="22" y="100"/>
                </a:lnTo>
                <a:lnTo>
                  <a:pt x="22" y="97"/>
                </a:lnTo>
                <a:lnTo>
                  <a:pt x="19" y="97"/>
                </a:lnTo>
                <a:lnTo>
                  <a:pt x="16" y="94"/>
                </a:lnTo>
                <a:lnTo>
                  <a:pt x="16" y="90"/>
                </a:lnTo>
                <a:lnTo>
                  <a:pt x="13" y="90"/>
                </a:lnTo>
                <a:lnTo>
                  <a:pt x="10" y="90"/>
                </a:lnTo>
                <a:lnTo>
                  <a:pt x="7" y="87"/>
                </a:lnTo>
                <a:lnTo>
                  <a:pt x="4" y="87"/>
                </a:lnTo>
                <a:lnTo>
                  <a:pt x="4" y="87"/>
                </a:lnTo>
                <a:lnTo>
                  <a:pt x="0" y="87"/>
                </a:lnTo>
                <a:lnTo>
                  <a:pt x="0" y="84"/>
                </a:lnTo>
                <a:lnTo>
                  <a:pt x="0" y="81"/>
                </a:lnTo>
                <a:lnTo>
                  <a:pt x="4" y="75"/>
                </a:lnTo>
                <a:lnTo>
                  <a:pt x="4" y="69"/>
                </a:lnTo>
                <a:lnTo>
                  <a:pt x="4" y="69"/>
                </a:lnTo>
                <a:lnTo>
                  <a:pt x="7" y="65"/>
                </a:lnTo>
                <a:lnTo>
                  <a:pt x="13" y="56"/>
                </a:lnTo>
                <a:lnTo>
                  <a:pt x="13" y="50"/>
                </a:lnTo>
                <a:lnTo>
                  <a:pt x="13" y="50"/>
                </a:lnTo>
                <a:lnTo>
                  <a:pt x="10" y="44"/>
                </a:lnTo>
                <a:lnTo>
                  <a:pt x="10" y="40"/>
                </a:lnTo>
                <a:lnTo>
                  <a:pt x="10" y="40"/>
                </a:lnTo>
                <a:lnTo>
                  <a:pt x="13" y="40"/>
                </a:lnTo>
                <a:lnTo>
                  <a:pt x="16" y="37"/>
                </a:lnTo>
                <a:lnTo>
                  <a:pt x="13" y="34"/>
                </a:lnTo>
                <a:lnTo>
                  <a:pt x="10" y="34"/>
                </a:lnTo>
                <a:lnTo>
                  <a:pt x="10" y="25"/>
                </a:lnTo>
                <a:lnTo>
                  <a:pt x="10" y="22"/>
                </a:lnTo>
                <a:lnTo>
                  <a:pt x="10" y="15"/>
                </a:lnTo>
                <a:lnTo>
                  <a:pt x="10" y="12"/>
                </a:lnTo>
                <a:lnTo>
                  <a:pt x="10" y="9"/>
                </a:lnTo>
                <a:lnTo>
                  <a:pt x="16" y="6"/>
                </a:lnTo>
                <a:lnTo>
                  <a:pt x="22" y="3"/>
                </a:lnTo>
                <a:lnTo>
                  <a:pt x="25" y="3"/>
                </a:lnTo>
                <a:lnTo>
                  <a:pt x="32" y="3"/>
                </a:lnTo>
                <a:lnTo>
                  <a:pt x="38" y="6"/>
                </a:lnTo>
                <a:lnTo>
                  <a:pt x="41" y="3"/>
                </a:lnTo>
                <a:lnTo>
                  <a:pt x="41" y="3"/>
                </a:lnTo>
                <a:lnTo>
                  <a:pt x="47" y="0"/>
                </a:lnTo>
                <a:lnTo>
                  <a:pt x="50" y="0"/>
                </a:lnTo>
                <a:lnTo>
                  <a:pt x="50" y="3"/>
                </a:lnTo>
                <a:lnTo>
                  <a:pt x="54" y="6"/>
                </a:lnTo>
                <a:lnTo>
                  <a:pt x="60" y="6"/>
                </a:lnTo>
                <a:lnTo>
                  <a:pt x="63" y="0"/>
                </a:lnTo>
                <a:lnTo>
                  <a:pt x="66" y="0"/>
                </a:lnTo>
                <a:lnTo>
                  <a:pt x="69" y="3"/>
                </a:lnTo>
                <a:lnTo>
                  <a:pt x="79" y="9"/>
                </a:lnTo>
                <a:lnTo>
                  <a:pt x="82" y="9"/>
                </a:lnTo>
                <a:lnTo>
                  <a:pt x="82" y="9"/>
                </a:lnTo>
                <a:lnTo>
                  <a:pt x="85" y="9"/>
                </a:lnTo>
                <a:lnTo>
                  <a:pt x="91" y="12"/>
                </a:lnTo>
                <a:lnTo>
                  <a:pt x="91" y="15"/>
                </a:lnTo>
                <a:lnTo>
                  <a:pt x="97" y="18"/>
                </a:lnTo>
                <a:lnTo>
                  <a:pt x="104" y="15"/>
                </a:lnTo>
                <a:lnTo>
                  <a:pt x="107" y="12"/>
                </a:lnTo>
                <a:lnTo>
                  <a:pt x="110" y="12"/>
                </a:lnTo>
                <a:lnTo>
                  <a:pt x="113" y="15"/>
                </a:lnTo>
                <a:lnTo>
                  <a:pt x="116" y="15"/>
                </a:lnTo>
                <a:lnTo>
                  <a:pt x="116" y="18"/>
                </a:lnTo>
                <a:lnTo>
                  <a:pt x="116" y="25"/>
                </a:lnTo>
                <a:lnTo>
                  <a:pt x="116" y="28"/>
                </a:lnTo>
                <a:lnTo>
                  <a:pt x="116" y="31"/>
                </a:lnTo>
                <a:lnTo>
                  <a:pt x="119" y="34"/>
                </a:lnTo>
                <a:lnTo>
                  <a:pt x="122" y="40"/>
                </a:lnTo>
                <a:lnTo>
                  <a:pt x="119" y="44"/>
                </a:lnTo>
                <a:lnTo>
                  <a:pt x="119" y="47"/>
                </a:lnTo>
                <a:lnTo>
                  <a:pt x="116" y="50"/>
                </a:lnTo>
                <a:lnTo>
                  <a:pt x="110" y="59"/>
                </a:lnTo>
                <a:lnTo>
                  <a:pt x="110" y="62"/>
                </a:lnTo>
                <a:lnTo>
                  <a:pt x="110" y="65"/>
                </a:lnTo>
                <a:lnTo>
                  <a:pt x="107" y="72"/>
                </a:lnTo>
                <a:lnTo>
                  <a:pt x="107" y="75"/>
                </a:lnTo>
                <a:lnTo>
                  <a:pt x="107" y="81"/>
                </a:lnTo>
                <a:lnTo>
                  <a:pt x="104" y="84"/>
                </a:lnTo>
                <a:lnTo>
                  <a:pt x="104" y="84"/>
                </a:lnTo>
                <a:lnTo>
                  <a:pt x="107" y="87"/>
                </a:lnTo>
                <a:lnTo>
                  <a:pt x="110" y="94"/>
                </a:lnTo>
                <a:lnTo>
                  <a:pt x="110" y="100"/>
                </a:lnTo>
                <a:lnTo>
                  <a:pt x="116" y="100"/>
                </a:lnTo>
                <a:lnTo>
                  <a:pt x="116" y="103"/>
                </a:lnTo>
                <a:lnTo>
                  <a:pt x="116" y="109"/>
                </a:lnTo>
                <a:lnTo>
                  <a:pt x="113" y="109"/>
                </a:lnTo>
                <a:lnTo>
                  <a:pt x="110" y="109"/>
                </a:lnTo>
                <a:lnTo>
                  <a:pt x="110" y="112"/>
                </a:lnTo>
                <a:lnTo>
                  <a:pt x="107" y="106"/>
                </a:lnTo>
                <a:lnTo>
                  <a:pt x="104" y="109"/>
                </a:lnTo>
                <a:lnTo>
                  <a:pt x="100" y="112"/>
                </a:lnTo>
                <a:lnTo>
                  <a:pt x="91" y="109"/>
                </a:lnTo>
                <a:lnTo>
                  <a:pt x="82" y="112"/>
                </a:lnTo>
                <a:lnTo>
                  <a:pt x="57" y="112"/>
                </a:lnTo>
                <a:lnTo>
                  <a:pt x="50" y="112"/>
                </a:lnTo>
                <a:lnTo>
                  <a:pt x="50" y="115"/>
                </a:lnTo>
                <a:lnTo>
                  <a:pt x="35" y="119"/>
                </a:lnTo>
                <a:lnTo>
                  <a:pt x="35" y="122"/>
                </a:lnTo>
                <a:lnTo>
                  <a:pt x="29" y="122"/>
                </a:lnTo>
                <a:lnTo>
                  <a:pt x="22" y="128"/>
                </a:lnTo>
                <a:lnTo>
                  <a:pt x="22" y="128"/>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9" name="Freeform 127">
            <a:extLst>
              <a:ext uri="{FF2B5EF4-FFF2-40B4-BE49-F238E27FC236}">
                <a16:creationId xmlns:a16="http://schemas.microsoft.com/office/drawing/2014/main" id="{15E9201F-2285-B51D-6933-6B8EB5BAA359}"/>
              </a:ext>
            </a:extLst>
          </p:cNvPr>
          <p:cNvSpPr>
            <a:spLocks/>
          </p:cNvSpPr>
          <p:nvPr userDrawn="1"/>
        </p:nvSpPr>
        <p:spPr bwMode="auto">
          <a:xfrm>
            <a:off x="12981732" y="8660685"/>
            <a:ext cx="266685" cy="419102"/>
          </a:xfrm>
          <a:custGeom>
            <a:avLst/>
            <a:gdLst>
              <a:gd name="T0" fmla="*/ 6 w 84"/>
              <a:gd name="T1" fmla="*/ 122 h 132"/>
              <a:gd name="T2" fmla="*/ 12 w 84"/>
              <a:gd name="T3" fmla="*/ 122 h 132"/>
              <a:gd name="T4" fmla="*/ 12 w 84"/>
              <a:gd name="T5" fmla="*/ 113 h 132"/>
              <a:gd name="T6" fmla="*/ 6 w 84"/>
              <a:gd name="T7" fmla="*/ 107 h 132"/>
              <a:gd name="T8" fmla="*/ 0 w 84"/>
              <a:gd name="T9" fmla="*/ 97 h 132"/>
              <a:gd name="T10" fmla="*/ 3 w 84"/>
              <a:gd name="T11" fmla="*/ 94 h 132"/>
              <a:gd name="T12" fmla="*/ 3 w 84"/>
              <a:gd name="T13" fmla="*/ 85 h 132"/>
              <a:gd name="T14" fmla="*/ 6 w 84"/>
              <a:gd name="T15" fmla="*/ 75 h 132"/>
              <a:gd name="T16" fmla="*/ 12 w 84"/>
              <a:gd name="T17" fmla="*/ 63 h 132"/>
              <a:gd name="T18" fmla="*/ 15 w 84"/>
              <a:gd name="T19" fmla="*/ 57 h 132"/>
              <a:gd name="T20" fmla="*/ 15 w 84"/>
              <a:gd name="T21" fmla="*/ 47 h 132"/>
              <a:gd name="T22" fmla="*/ 12 w 84"/>
              <a:gd name="T23" fmla="*/ 41 h 132"/>
              <a:gd name="T24" fmla="*/ 12 w 84"/>
              <a:gd name="T25" fmla="*/ 31 h 132"/>
              <a:gd name="T26" fmla="*/ 9 w 84"/>
              <a:gd name="T27" fmla="*/ 19 h 132"/>
              <a:gd name="T28" fmla="*/ 6 w 84"/>
              <a:gd name="T29" fmla="*/ 10 h 132"/>
              <a:gd name="T30" fmla="*/ 15 w 84"/>
              <a:gd name="T31" fmla="*/ 6 h 132"/>
              <a:gd name="T32" fmla="*/ 31 w 84"/>
              <a:gd name="T33" fmla="*/ 3 h 132"/>
              <a:gd name="T34" fmla="*/ 46 w 84"/>
              <a:gd name="T35" fmla="*/ 3 h 132"/>
              <a:gd name="T36" fmla="*/ 56 w 84"/>
              <a:gd name="T37" fmla="*/ 0 h 132"/>
              <a:gd name="T38" fmla="*/ 59 w 84"/>
              <a:gd name="T39" fmla="*/ 6 h 132"/>
              <a:gd name="T40" fmla="*/ 62 w 84"/>
              <a:gd name="T41" fmla="*/ 13 h 132"/>
              <a:gd name="T42" fmla="*/ 68 w 84"/>
              <a:gd name="T43" fmla="*/ 19 h 132"/>
              <a:gd name="T44" fmla="*/ 71 w 84"/>
              <a:gd name="T45" fmla="*/ 25 h 132"/>
              <a:gd name="T46" fmla="*/ 75 w 84"/>
              <a:gd name="T47" fmla="*/ 35 h 132"/>
              <a:gd name="T48" fmla="*/ 75 w 84"/>
              <a:gd name="T49" fmla="*/ 41 h 132"/>
              <a:gd name="T50" fmla="*/ 75 w 84"/>
              <a:gd name="T51" fmla="*/ 47 h 132"/>
              <a:gd name="T52" fmla="*/ 75 w 84"/>
              <a:gd name="T53" fmla="*/ 53 h 132"/>
              <a:gd name="T54" fmla="*/ 75 w 84"/>
              <a:gd name="T55" fmla="*/ 60 h 132"/>
              <a:gd name="T56" fmla="*/ 78 w 84"/>
              <a:gd name="T57" fmla="*/ 69 h 132"/>
              <a:gd name="T58" fmla="*/ 75 w 84"/>
              <a:gd name="T59" fmla="*/ 85 h 132"/>
              <a:gd name="T60" fmla="*/ 75 w 84"/>
              <a:gd name="T61" fmla="*/ 91 h 132"/>
              <a:gd name="T62" fmla="*/ 78 w 84"/>
              <a:gd name="T63" fmla="*/ 100 h 132"/>
              <a:gd name="T64" fmla="*/ 81 w 84"/>
              <a:gd name="T65" fmla="*/ 103 h 132"/>
              <a:gd name="T66" fmla="*/ 71 w 84"/>
              <a:gd name="T67" fmla="*/ 110 h 132"/>
              <a:gd name="T68" fmla="*/ 53 w 84"/>
              <a:gd name="T69" fmla="*/ 122 h 132"/>
              <a:gd name="T70" fmla="*/ 25 w 84"/>
              <a:gd name="T71" fmla="*/ 132 h 132"/>
              <a:gd name="T72" fmla="*/ 6 w 84"/>
              <a:gd name="T73" fmla="*/ 12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4" h="132">
                <a:moveTo>
                  <a:pt x="6" y="125"/>
                </a:moveTo>
                <a:lnTo>
                  <a:pt x="6" y="122"/>
                </a:lnTo>
                <a:lnTo>
                  <a:pt x="9" y="122"/>
                </a:lnTo>
                <a:lnTo>
                  <a:pt x="12" y="122"/>
                </a:lnTo>
                <a:lnTo>
                  <a:pt x="12" y="116"/>
                </a:lnTo>
                <a:lnTo>
                  <a:pt x="12" y="113"/>
                </a:lnTo>
                <a:lnTo>
                  <a:pt x="6" y="113"/>
                </a:lnTo>
                <a:lnTo>
                  <a:pt x="6" y="107"/>
                </a:lnTo>
                <a:lnTo>
                  <a:pt x="3" y="100"/>
                </a:lnTo>
                <a:lnTo>
                  <a:pt x="0" y="97"/>
                </a:lnTo>
                <a:lnTo>
                  <a:pt x="0" y="97"/>
                </a:lnTo>
                <a:lnTo>
                  <a:pt x="3" y="94"/>
                </a:lnTo>
                <a:lnTo>
                  <a:pt x="3" y="88"/>
                </a:lnTo>
                <a:lnTo>
                  <a:pt x="3" y="85"/>
                </a:lnTo>
                <a:lnTo>
                  <a:pt x="6" y="78"/>
                </a:lnTo>
                <a:lnTo>
                  <a:pt x="6" y="75"/>
                </a:lnTo>
                <a:lnTo>
                  <a:pt x="6" y="72"/>
                </a:lnTo>
                <a:lnTo>
                  <a:pt x="12" y="63"/>
                </a:lnTo>
                <a:lnTo>
                  <a:pt x="15" y="60"/>
                </a:lnTo>
                <a:lnTo>
                  <a:pt x="15" y="57"/>
                </a:lnTo>
                <a:lnTo>
                  <a:pt x="18" y="53"/>
                </a:lnTo>
                <a:lnTo>
                  <a:pt x="15" y="47"/>
                </a:lnTo>
                <a:lnTo>
                  <a:pt x="12" y="44"/>
                </a:lnTo>
                <a:lnTo>
                  <a:pt x="12" y="41"/>
                </a:lnTo>
                <a:lnTo>
                  <a:pt x="12" y="38"/>
                </a:lnTo>
                <a:lnTo>
                  <a:pt x="12" y="31"/>
                </a:lnTo>
                <a:lnTo>
                  <a:pt x="12" y="22"/>
                </a:lnTo>
                <a:lnTo>
                  <a:pt x="9" y="19"/>
                </a:lnTo>
                <a:lnTo>
                  <a:pt x="9" y="16"/>
                </a:lnTo>
                <a:lnTo>
                  <a:pt x="6" y="10"/>
                </a:lnTo>
                <a:lnTo>
                  <a:pt x="6" y="6"/>
                </a:lnTo>
                <a:lnTo>
                  <a:pt x="15" y="6"/>
                </a:lnTo>
                <a:lnTo>
                  <a:pt x="28" y="6"/>
                </a:lnTo>
                <a:lnTo>
                  <a:pt x="31" y="3"/>
                </a:lnTo>
                <a:lnTo>
                  <a:pt x="40" y="3"/>
                </a:lnTo>
                <a:lnTo>
                  <a:pt x="46" y="3"/>
                </a:lnTo>
                <a:lnTo>
                  <a:pt x="53" y="3"/>
                </a:lnTo>
                <a:lnTo>
                  <a:pt x="56" y="0"/>
                </a:lnTo>
                <a:lnTo>
                  <a:pt x="59" y="0"/>
                </a:lnTo>
                <a:lnTo>
                  <a:pt x="59" y="6"/>
                </a:lnTo>
                <a:lnTo>
                  <a:pt x="62" y="10"/>
                </a:lnTo>
                <a:lnTo>
                  <a:pt x="62" y="13"/>
                </a:lnTo>
                <a:lnTo>
                  <a:pt x="65" y="16"/>
                </a:lnTo>
                <a:lnTo>
                  <a:pt x="68" y="19"/>
                </a:lnTo>
                <a:lnTo>
                  <a:pt x="71" y="22"/>
                </a:lnTo>
                <a:lnTo>
                  <a:pt x="71" y="25"/>
                </a:lnTo>
                <a:lnTo>
                  <a:pt x="71" y="35"/>
                </a:lnTo>
                <a:lnTo>
                  <a:pt x="75" y="35"/>
                </a:lnTo>
                <a:lnTo>
                  <a:pt x="75" y="35"/>
                </a:lnTo>
                <a:lnTo>
                  <a:pt x="75" y="41"/>
                </a:lnTo>
                <a:lnTo>
                  <a:pt x="75" y="44"/>
                </a:lnTo>
                <a:lnTo>
                  <a:pt x="75" y="47"/>
                </a:lnTo>
                <a:lnTo>
                  <a:pt x="75" y="50"/>
                </a:lnTo>
                <a:lnTo>
                  <a:pt x="75" y="53"/>
                </a:lnTo>
                <a:lnTo>
                  <a:pt x="75" y="57"/>
                </a:lnTo>
                <a:lnTo>
                  <a:pt x="75" y="60"/>
                </a:lnTo>
                <a:lnTo>
                  <a:pt x="75" y="66"/>
                </a:lnTo>
                <a:lnTo>
                  <a:pt x="78" y="69"/>
                </a:lnTo>
                <a:lnTo>
                  <a:pt x="78" y="82"/>
                </a:lnTo>
                <a:lnTo>
                  <a:pt x="75" y="85"/>
                </a:lnTo>
                <a:lnTo>
                  <a:pt x="75" y="88"/>
                </a:lnTo>
                <a:lnTo>
                  <a:pt x="75" y="91"/>
                </a:lnTo>
                <a:lnTo>
                  <a:pt x="75" y="97"/>
                </a:lnTo>
                <a:lnTo>
                  <a:pt x="78" y="100"/>
                </a:lnTo>
                <a:lnTo>
                  <a:pt x="78" y="103"/>
                </a:lnTo>
                <a:lnTo>
                  <a:pt x="81" y="103"/>
                </a:lnTo>
                <a:lnTo>
                  <a:pt x="84" y="107"/>
                </a:lnTo>
                <a:lnTo>
                  <a:pt x="71" y="110"/>
                </a:lnTo>
                <a:lnTo>
                  <a:pt x="62" y="113"/>
                </a:lnTo>
                <a:lnTo>
                  <a:pt x="53" y="122"/>
                </a:lnTo>
                <a:lnTo>
                  <a:pt x="40" y="122"/>
                </a:lnTo>
                <a:lnTo>
                  <a:pt x="25" y="132"/>
                </a:lnTo>
                <a:lnTo>
                  <a:pt x="15" y="128"/>
                </a:lnTo>
                <a:lnTo>
                  <a:pt x="6" y="125"/>
                </a:lnTo>
                <a:lnTo>
                  <a:pt x="6" y="125"/>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0" name="Freeform 128">
            <a:extLst>
              <a:ext uri="{FF2B5EF4-FFF2-40B4-BE49-F238E27FC236}">
                <a16:creationId xmlns:a16="http://schemas.microsoft.com/office/drawing/2014/main" id="{1B4BEC92-97C8-F932-A108-33B3ADB34002}"/>
              </a:ext>
            </a:extLst>
          </p:cNvPr>
          <p:cNvSpPr>
            <a:spLocks/>
          </p:cNvSpPr>
          <p:nvPr userDrawn="1"/>
        </p:nvSpPr>
        <p:spPr bwMode="auto">
          <a:xfrm>
            <a:off x="13169040" y="8660689"/>
            <a:ext cx="117470" cy="339726"/>
          </a:xfrm>
          <a:custGeom>
            <a:avLst/>
            <a:gdLst>
              <a:gd name="T0" fmla="*/ 22 w 37"/>
              <a:gd name="T1" fmla="*/ 6 h 107"/>
              <a:gd name="T2" fmla="*/ 0 w 37"/>
              <a:gd name="T3" fmla="*/ 0 h 107"/>
              <a:gd name="T4" fmla="*/ 0 w 37"/>
              <a:gd name="T5" fmla="*/ 0 h 107"/>
              <a:gd name="T6" fmla="*/ 0 w 37"/>
              <a:gd name="T7" fmla="*/ 6 h 107"/>
              <a:gd name="T8" fmla="*/ 3 w 37"/>
              <a:gd name="T9" fmla="*/ 10 h 107"/>
              <a:gd name="T10" fmla="*/ 3 w 37"/>
              <a:gd name="T11" fmla="*/ 13 h 107"/>
              <a:gd name="T12" fmla="*/ 6 w 37"/>
              <a:gd name="T13" fmla="*/ 16 h 107"/>
              <a:gd name="T14" fmla="*/ 9 w 37"/>
              <a:gd name="T15" fmla="*/ 19 h 107"/>
              <a:gd name="T16" fmla="*/ 12 w 37"/>
              <a:gd name="T17" fmla="*/ 22 h 107"/>
              <a:gd name="T18" fmla="*/ 12 w 37"/>
              <a:gd name="T19" fmla="*/ 25 h 107"/>
              <a:gd name="T20" fmla="*/ 12 w 37"/>
              <a:gd name="T21" fmla="*/ 35 h 107"/>
              <a:gd name="T22" fmla="*/ 16 w 37"/>
              <a:gd name="T23" fmla="*/ 35 h 107"/>
              <a:gd name="T24" fmla="*/ 16 w 37"/>
              <a:gd name="T25" fmla="*/ 35 h 107"/>
              <a:gd name="T26" fmla="*/ 16 w 37"/>
              <a:gd name="T27" fmla="*/ 41 h 107"/>
              <a:gd name="T28" fmla="*/ 16 w 37"/>
              <a:gd name="T29" fmla="*/ 44 h 107"/>
              <a:gd name="T30" fmla="*/ 16 w 37"/>
              <a:gd name="T31" fmla="*/ 47 h 107"/>
              <a:gd name="T32" fmla="*/ 16 w 37"/>
              <a:gd name="T33" fmla="*/ 50 h 107"/>
              <a:gd name="T34" fmla="*/ 16 w 37"/>
              <a:gd name="T35" fmla="*/ 53 h 107"/>
              <a:gd name="T36" fmla="*/ 16 w 37"/>
              <a:gd name="T37" fmla="*/ 57 h 107"/>
              <a:gd name="T38" fmla="*/ 16 w 37"/>
              <a:gd name="T39" fmla="*/ 60 h 107"/>
              <a:gd name="T40" fmla="*/ 16 w 37"/>
              <a:gd name="T41" fmla="*/ 66 h 107"/>
              <a:gd name="T42" fmla="*/ 19 w 37"/>
              <a:gd name="T43" fmla="*/ 69 h 107"/>
              <a:gd name="T44" fmla="*/ 19 w 37"/>
              <a:gd name="T45" fmla="*/ 82 h 107"/>
              <a:gd name="T46" fmla="*/ 16 w 37"/>
              <a:gd name="T47" fmla="*/ 85 h 107"/>
              <a:gd name="T48" fmla="*/ 16 w 37"/>
              <a:gd name="T49" fmla="*/ 88 h 107"/>
              <a:gd name="T50" fmla="*/ 16 w 37"/>
              <a:gd name="T51" fmla="*/ 91 h 107"/>
              <a:gd name="T52" fmla="*/ 16 w 37"/>
              <a:gd name="T53" fmla="*/ 97 h 107"/>
              <a:gd name="T54" fmla="*/ 19 w 37"/>
              <a:gd name="T55" fmla="*/ 100 h 107"/>
              <a:gd name="T56" fmla="*/ 19 w 37"/>
              <a:gd name="T57" fmla="*/ 103 h 107"/>
              <a:gd name="T58" fmla="*/ 22 w 37"/>
              <a:gd name="T59" fmla="*/ 103 h 107"/>
              <a:gd name="T60" fmla="*/ 25 w 37"/>
              <a:gd name="T61" fmla="*/ 107 h 107"/>
              <a:gd name="T62" fmla="*/ 25 w 37"/>
              <a:gd name="T63" fmla="*/ 107 h 107"/>
              <a:gd name="T64" fmla="*/ 37 w 37"/>
              <a:gd name="T65" fmla="*/ 100 h 107"/>
              <a:gd name="T66" fmla="*/ 37 w 37"/>
              <a:gd name="T67" fmla="*/ 100 h 107"/>
              <a:gd name="T68" fmla="*/ 37 w 37"/>
              <a:gd name="T69" fmla="*/ 97 h 107"/>
              <a:gd name="T70" fmla="*/ 37 w 37"/>
              <a:gd name="T71" fmla="*/ 94 h 107"/>
              <a:gd name="T72" fmla="*/ 37 w 37"/>
              <a:gd name="T73" fmla="*/ 88 h 107"/>
              <a:gd name="T74" fmla="*/ 34 w 37"/>
              <a:gd name="T75" fmla="*/ 82 h 107"/>
              <a:gd name="T76" fmla="*/ 34 w 37"/>
              <a:gd name="T77" fmla="*/ 60 h 107"/>
              <a:gd name="T78" fmla="*/ 34 w 37"/>
              <a:gd name="T79" fmla="*/ 57 h 107"/>
              <a:gd name="T80" fmla="*/ 37 w 37"/>
              <a:gd name="T81" fmla="*/ 53 h 107"/>
              <a:gd name="T82" fmla="*/ 37 w 37"/>
              <a:gd name="T83" fmla="*/ 47 h 107"/>
              <a:gd name="T84" fmla="*/ 37 w 37"/>
              <a:gd name="T85" fmla="*/ 44 h 107"/>
              <a:gd name="T86" fmla="*/ 37 w 37"/>
              <a:gd name="T87" fmla="*/ 41 h 107"/>
              <a:gd name="T88" fmla="*/ 34 w 37"/>
              <a:gd name="T89" fmla="*/ 31 h 107"/>
              <a:gd name="T90" fmla="*/ 31 w 37"/>
              <a:gd name="T91" fmla="*/ 22 h 107"/>
              <a:gd name="T92" fmla="*/ 28 w 37"/>
              <a:gd name="T93" fmla="*/ 19 h 107"/>
              <a:gd name="T94" fmla="*/ 25 w 37"/>
              <a:gd name="T95" fmla="*/ 16 h 107"/>
              <a:gd name="T96" fmla="*/ 22 w 37"/>
              <a:gd name="T97" fmla="*/ 16 h 107"/>
              <a:gd name="T98" fmla="*/ 19 w 37"/>
              <a:gd name="T99" fmla="*/ 10 h 107"/>
              <a:gd name="T100" fmla="*/ 22 w 37"/>
              <a:gd name="T101" fmla="*/ 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 h="107">
                <a:moveTo>
                  <a:pt x="22" y="6"/>
                </a:moveTo>
                <a:lnTo>
                  <a:pt x="0" y="0"/>
                </a:lnTo>
                <a:lnTo>
                  <a:pt x="0" y="0"/>
                </a:lnTo>
                <a:lnTo>
                  <a:pt x="0" y="6"/>
                </a:lnTo>
                <a:lnTo>
                  <a:pt x="3" y="10"/>
                </a:lnTo>
                <a:lnTo>
                  <a:pt x="3" y="13"/>
                </a:lnTo>
                <a:lnTo>
                  <a:pt x="6" y="16"/>
                </a:lnTo>
                <a:lnTo>
                  <a:pt x="9" y="19"/>
                </a:lnTo>
                <a:lnTo>
                  <a:pt x="12" y="22"/>
                </a:lnTo>
                <a:lnTo>
                  <a:pt x="12" y="25"/>
                </a:lnTo>
                <a:lnTo>
                  <a:pt x="12" y="35"/>
                </a:lnTo>
                <a:lnTo>
                  <a:pt x="16" y="35"/>
                </a:lnTo>
                <a:lnTo>
                  <a:pt x="16" y="35"/>
                </a:lnTo>
                <a:lnTo>
                  <a:pt x="16" y="41"/>
                </a:lnTo>
                <a:lnTo>
                  <a:pt x="16" y="44"/>
                </a:lnTo>
                <a:lnTo>
                  <a:pt x="16" y="47"/>
                </a:lnTo>
                <a:lnTo>
                  <a:pt x="16" y="50"/>
                </a:lnTo>
                <a:lnTo>
                  <a:pt x="16" y="53"/>
                </a:lnTo>
                <a:lnTo>
                  <a:pt x="16" y="57"/>
                </a:lnTo>
                <a:lnTo>
                  <a:pt x="16" y="60"/>
                </a:lnTo>
                <a:lnTo>
                  <a:pt x="16" y="66"/>
                </a:lnTo>
                <a:lnTo>
                  <a:pt x="19" y="69"/>
                </a:lnTo>
                <a:lnTo>
                  <a:pt x="19" y="82"/>
                </a:lnTo>
                <a:lnTo>
                  <a:pt x="16" y="85"/>
                </a:lnTo>
                <a:lnTo>
                  <a:pt x="16" y="88"/>
                </a:lnTo>
                <a:lnTo>
                  <a:pt x="16" y="91"/>
                </a:lnTo>
                <a:lnTo>
                  <a:pt x="16" y="97"/>
                </a:lnTo>
                <a:lnTo>
                  <a:pt x="19" y="100"/>
                </a:lnTo>
                <a:lnTo>
                  <a:pt x="19" y="103"/>
                </a:lnTo>
                <a:lnTo>
                  <a:pt x="22" y="103"/>
                </a:lnTo>
                <a:lnTo>
                  <a:pt x="25" y="107"/>
                </a:lnTo>
                <a:lnTo>
                  <a:pt x="25" y="107"/>
                </a:lnTo>
                <a:lnTo>
                  <a:pt x="37" y="100"/>
                </a:lnTo>
                <a:lnTo>
                  <a:pt x="37" y="100"/>
                </a:lnTo>
                <a:lnTo>
                  <a:pt x="37" y="97"/>
                </a:lnTo>
                <a:lnTo>
                  <a:pt x="37" y="94"/>
                </a:lnTo>
                <a:lnTo>
                  <a:pt x="37" y="88"/>
                </a:lnTo>
                <a:lnTo>
                  <a:pt x="34" y="82"/>
                </a:lnTo>
                <a:lnTo>
                  <a:pt x="34" y="60"/>
                </a:lnTo>
                <a:lnTo>
                  <a:pt x="34" y="57"/>
                </a:lnTo>
                <a:lnTo>
                  <a:pt x="37" y="53"/>
                </a:lnTo>
                <a:lnTo>
                  <a:pt x="37" y="47"/>
                </a:lnTo>
                <a:lnTo>
                  <a:pt x="37" y="44"/>
                </a:lnTo>
                <a:lnTo>
                  <a:pt x="37" y="41"/>
                </a:lnTo>
                <a:lnTo>
                  <a:pt x="34" y="31"/>
                </a:lnTo>
                <a:lnTo>
                  <a:pt x="31" y="22"/>
                </a:lnTo>
                <a:lnTo>
                  <a:pt x="28" y="19"/>
                </a:lnTo>
                <a:lnTo>
                  <a:pt x="25" y="16"/>
                </a:lnTo>
                <a:lnTo>
                  <a:pt x="22" y="16"/>
                </a:lnTo>
                <a:lnTo>
                  <a:pt x="19" y="10"/>
                </a:lnTo>
                <a:lnTo>
                  <a:pt x="22" y="6"/>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1" name="Freeform 129">
            <a:extLst>
              <a:ext uri="{FF2B5EF4-FFF2-40B4-BE49-F238E27FC236}">
                <a16:creationId xmlns:a16="http://schemas.microsoft.com/office/drawing/2014/main" id="{DF9710B4-EED7-3A8B-9FE9-26463D806B2E}"/>
              </a:ext>
            </a:extLst>
          </p:cNvPr>
          <p:cNvSpPr>
            <a:spLocks/>
          </p:cNvSpPr>
          <p:nvPr userDrawn="1"/>
        </p:nvSpPr>
        <p:spPr bwMode="auto">
          <a:xfrm>
            <a:off x="13229368" y="8581306"/>
            <a:ext cx="196837" cy="406400"/>
          </a:xfrm>
          <a:custGeom>
            <a:avLst/>
            <a:gdLst>
              <a:gd name="T0" fmla="*/ 31 w 62"/>
              <a:gd name="T1" fmla="*/ 10 h 128"/>
              <a:gd name="T2" fmla="*/ 22 w 62"/>
              <a:gd name="T3" fmla="*/ 16 h 128"/>
              <a:gd name="T4" fmla="*/ 15 w 62"/>
              <a:gd name="T5" fmla="*/ 16 h 128"/>
              <a:gd name="T6" fmla="*/ 9 w 62"/>
              <a:gd name="T7" fmla="*/ 22 h 128"/>
              <a:gd name="T8" fmla="*/ 9 w 62"/>
              <a:gd name="T9" fmla="*/ 28 h 128"/>
              <a:gd name="T10" fmla="*/ 0 w 62"/>
              <a:gd name="T11" fmla="*/ 35 h 128"/>
              <a:gd name="T12" fmla="*/ 6 w 62"/>
              <a:gd name="T13" fmla="*/ 41 h 128"/>
              <a:gd name="T14" fmla="*/ 12 w 62"/>
              <a:gd name="T15" fmla="*/ 47 h 128"/>
              <a:gd name="T16" fmla="*/ 18 w 62"/>
              <a:gd name="T17" fmla="*/ 66 h 128"/>
              <a:gd name="T18" fmla="*/ 18 w 62"/>
              <a:gd name="T19" fmla="*/ 72 h 128"/>
              <a:gd name="T20" fmla="*/ 15 w 62"/>
              <a:gd name="T21" fmla="*/ 82 h 128"/>
              <a:gd name="T22" fmla="*/ 15 w 62"/>
              <a:gd name="T23" fmla="*/ 107 h 128"/>
              <a:gd name="T24" fmla="*/ 18 w 62"/>
              <a:gd name="T25" fmla="*/ 119 h 128"/>
              <a:gd name="T26" fmla="*/ 18 w 62"/>
              <a:gd name="T27" fmla="*/ 125 h 128"/>
              <a:gd name="T28" fmla="*/ 40 w 62"/>
              <a:gd name="T29" fmla="*/ 122 h 128"/>
              <a:gd name="T30" fmla="*/ 40 w 62"/>
              <a:gd name="T31" fmla="*/ 119 h 128"/>
              <a:gd name="T32" fmla="*/ 40 w 62"/>
              <a:gd name="T33" fmla="*/ 107 h 128"/>
              <a:gd name="T34" fmla="*/ 40 w 62"/>
              <a:gd name="T35" fmla="*/ 94 h 128"/>
              <a:gd name="T36" fmla="*/ 40 w 62"/>
              <a:gd name="T37" fmla="*/ 91 h 128"/>
              <a:gd name="T38" fmla="*/ 40 w 62"/>
              <a:gd name="T39" fmla="*/ 88 h 128"/>
              <a:gd name="T40" fmla="*/ 40 w 62"/>
              <a:gd name="T41" fmla="*/ 82 h 128"/>
              <a:gd name="T42" fmla="*/ 40 w 62"/>
              <a:gd name="T43" fmla="*/ 75 h 128"/>
              <a:gd name="T44" fmla="*/ 40 w 62"/>
              <a:gd name="T45" fmla="*/ 69 h 128"/>
              <a:gd name="T46" fmla="*/ 47 w 62"/>
              <a:gd name="T47" fmla="*/ 66 h 128"/>
              <a:gd name="T48" fmla="*/ 50 w 62"/>
              <a:gd name="T49" fmla="*/ 63 h 128"/>
              <a:gd name="T50" fmla="*/ 53 w 62"/>
              <a:gd name="T51" fmla="*/ 53 h 128"/>
              <a:gd name="T52" fmla="*/ 59 w 62"/>
              <a:gd name="T53" fmla="*/ 53 h 128"/>
              <a:gd name="T54" fmla="*/ 56 w 62"/>
              <a:gd name="T55" fmla="*/ 47 h 128"/>
              <a:gd name="T56" fmla="*/ 59 w 62"/>
              <a:gd name="T57" fmla="*/ 41 h 128"/>
              <a:gd name="T58" fmla="*/ 62 w 62"/>
              <a:gd name="T59" fmla="*/ 38 h 128"/>
              <a:gd name="T60" fmla="*/ 62 w 62"/>
              <a:gd name="T61" fmla="*/ 28 h 128"/>
              <a:gd name="T62" fmla="*/ 56 w 62"/>
              <a:gd name="T63" fmla="*/ 19 h 128"/>
              <a:gd name="T64" fmla="*/ 56 w 62"/>
              <a:gd name="T65" fmla="*/ 16 h 128"/>
              <a:gd name="T66" fmla="*/ 47 w 62"/>
              <a:gd name="T67" fmla="*/ 10 h 128"/>
              <a:gd name="T68" fmla="*/ 37 w 62"/>
              <a:gd name="T69" fmla="*/ 0 h 128"/>
              <a:gd name="T70" fmla="*/ 37 w 62"/>
              <a:gd name="T71" fmla="*/ 3 h 128"/>
              <a:gd name="T72" fmla="*/ 31 w 62"/>
              <a:gd name="T73" fmla="*/ 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128">
                <a:moveTo>
                  <a:pt x="31" y="6"/>
                </a:moveTo>
                <a:lnTo>
                  <a:pt x="31" y="10"/>
                </a:lnTo>
                <a:lnTo>
                  <a:pt x="25" y="13"/>
                </a:lnTo>
                <a:lnTo>
                  <a:pt x="22" y="16"/>
                </a:lnTo>
                <a:lnTo>
                  <a:pt x="15" y="19"/>
                </a:lnTo>
                <a:lnTo>
                  <a:pt x="15" y="16"/>
                </a:lnTo>
                <a:lnTo>
                  <a:pt x="9" y="19"/>
                </a:lnTo>
                <a:lnTo>
                  <a:pt x="9" y="22"/>
                </a:lnTo>
                <a:lnTo>
                  <a:pt x="6" y="25"/>
                </a:lnTo>
                <a:lnTo>
                  <a:pt x="9" y="28"/>
                </a:lnTo>
                <a:lnTo>
                  <a:pt x="3" y="28"/>
                </a:lnTo>
                <a:lnTo>
                  <a:pt x="0" y="35"/>
                </a:lnTo>
                <a:lnTo>
                  <a:pt x="3" y="41"/>
                </a:lnTo>
                <a:lnTo>
                  <a:pt x="6" y="41"/>
                </a:lnTo>
                <a:lnTo>
                  <a:pt x="9" y="44"/>
                </a:lnTo>
                <a:lnTo>
                  <a:pt x="12" y="47"/>
                </a:lnTo>
                <a:lnTo>
                  <a:pt x="15" y="56"/>
                </a:lnTo>
                <a:lnTo>
                  <a:pt x="18" y="66"/>
                </a:lnTo>
                <a:lnTo>
                  <a:pt x="18" y="69"/>
                </a:lnTo>
                <a:lnTo>
                  <a:pt x="18" y="72"/>
                </a:lnTo>
                <a:lnTo>
                  <a:pt x="18" y="78"/>
                </a:lnTo>
                <a:lnTo>
                  <a:pt x="15" y="82"/>
                </a:lnTo>
                <a:lnTo>
                  <a:pt x="15" y="85"/>
                </a:lnTo>
                <a:lnTo>
                  <a:pt x="15" y="107"/>
                </a:lnTo>
                <a:lnTo>
                  <a:pt x="18" y="113"/>
                </a:lnTo>
                <a:lnTo>
                  <a:pt x="18" y="119"/>
                </a:lnTo>
                <a:lnTo>
                  <a:pt x="18" y="122"/>
                </a:lnTo>
                <a:lnTo>
                  <a:pt x="18" y="125"/>
                </a:lnTo>
                <a:lnTo>
                  <a:pt x="28" y="128"/>
                </a:lnTo>
                <a:lnTo>
                  <a:pt x="40" y="122"/>
                </a:lnTo>
                <a:lnTo>
                  <a:pt x="40" y="122"/>
                </a:lnTo>
                <a:lnTo>
                  <a:pt x="40" y="119"/>
                </a:lnTo>
                <a:lnTo>
                  <a:pt x="40" y="110"/>
                </a:lnTo>
                <a:lnTo>
                  <a:pt x="40" y="107"/>
                </a:lnTo>
                <a:lnTo>
                  <a:pt x="40" y="103"/>
                </a:lnTo>
                <a:lnTo>
                  <a:pt x="40" y="94"/>
                </a:lnTo>
                <a:lnTo>
                  <a:pt x="40" y="91"/>
                </a:lnTo>
                <a:lnTo>
                  <a:pt x="40" y="91"/>
                </a:lnTo>
                <a:lnTo>
                  <a:pt x="40" y="88"/>
                </a:lnTo>
                <a:lnTo>
                  <a:pt x="40" y="88"/>
                </a:lnTo>
                <a:lnTo>
                  <a:pt x="40" y="85"/>
                </a:lnTo>
                <a:lnTo>
                  <a:pt x="40" y="82"/>
                </a:lnTo>
                <a:lnTo>
                  <a:pt x="40" y="78"/>
                </a:lnTo>
                <a:lnTo>
                  <a:pt x="40" y="75"/>
                </a:lnTo>
                <a:lnTo>
                  <a:pt x="40" y="72"/>
                </a:lnTo>
                <a:lnTo>
                  <a:pt x="40" y="69"/>
                </a:lnTo>
                <a:lnTo>
                  <a:pt x="43" y="69"/>
                </a:lnTo>
                <a:lnTo>
                  <a:pt x="47" y="66"/>
                </a:lnTo>
                <a:lnTo>
                  <a:pt x="50" y="66"/>
                </a:lnTo>
                <a:lnTo>
                  <a:pt x="50" y="63"/>
                </a:lnTo>
                <a:lnTo>
                  <a:pt x="53" y="56"/>
                </a:lnTo>
                <a:lnTo>
                  <a:pt x="53" y="53"/>
                </a:lnTo>
                <a:lnTo>
                  <a:pt x="56" y="53"/>
                </a:lnTo>
                <a:lnTo>
                  <a:pt x="59" y="53"/>
                </a:lnTo>
                <a:lnTo>
                  <a:pt x="59" y="50"/>
                </a:lnTo>
                <a:lnTo>
                  <a:pt x="56" y="47"/>
                </a:lnTo>
                <a:lnTo>
                  <a:pt x="56" y="44"/>
                </a:lnTo>
                <a:lnTo>
                  <a:pt x="59" y="41"/>
                </a:lnTo>
                <a:lnTo>
                  <a:pt x="62" y="41"/>
                </a:lnTo>
                <a:lnTo>
                  <a:pt x="62" y="38"/>
                </a:lnTo>
                <a:lnTo>
                  <a:pt x="62" y="31"/>
                </a:lnTo>
                <a:lnTo>
                  <a:pt x="62" y="28"/>
                </a:lnTo>
                <a:lnTo>
                  <a:pt x="56" y="22"/>
                </a:lnTo>
                <a:lnTo>
                  <a:pt x="56" y="19"/>
                </a:lnTo>
                <a:lnTo>
                  <a:pt x="56" y="16"/>
                </a:lnTo>
                <a:lnTo>
                  <a:pt x="56" y="16"/>
                </a:lnTo>
                <a:lnTo>
                  <a:pt x="53" y="10"/>
                </a:lnTo>
                <a:lnTo>
                  <a:pt x="47" y="10"/>
                </a:lnTo>
                <a:lnTo>
                  <a:pt x="43" y="3"/>
                </a:lnTo>
                <a:lnTo>
                  <a:pt x="37" y="0"/>
                </a:lnTo>
                <a:lnTo>
                  <a:pt x="34" y="3"/>
                </a:lnTo>
                <a:lnTo>
                  <a:pt x="37" y="3"/>
                </a:lnTo>
                <a:lnTo>
                  <a:pt x="31" y="6"/>
                </a:lnTo>
                <a:lnTo>
                  <a:pt x="31" y="6"/>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2" name="Freeform 130">
            <a:extLst>
              <a:ext uri="{FF2B5EF4-FFF2-40B4-BE49-F238E27FC236}">
                <a16:creationId xmlns:a16="http://schemas.microsoft.com/office/drawing/2014/main" id="{0DDA314E-1F4E-8AB7-B3F4-CBFEBA1F6917}"/>
              </a:ext>
            </a:extLst>
          </p:cNvPr>
          <p:cNvSpPr>
            <a:spLocks noEditPoints="1"/>
          </p:cNvSpPr>
          <p:nvPr userDrawn="1"/>
        </p:nvSpPr>
        <p:spPr bwMode="auto">
          <a:xfrm>
            <a:off x="13924647" y="7876461"/>
            <a:ext cx="723855" cy="1031878"/>
          </a:xfrm>
          <a:custGeom>
            <a:avLst/>
            <a:gdLst>
              <a:gd name="T0" fmla="*/ 228 w 228"/>
              <a:gd name="T1" fmla="*/ 81 h 325"/>
              <a:gd name="T2" fmla="*/ 221 w 228"/>
              <a:gd name="T3" fmla="*/ 160 h 325"/>
              <a:gd name="T4" fmla="*/ 209 w 228"/>
              <a:gd name="T5" fmla="*/ 163 h 325"/>
              <a:gd name="T6" fmla="*/ 209 w 228"/>
              <a:gd name="T7" fmla="*/ 175 h 325"/>
              <a:gd name="T8" fmla="*/ 196 w 228"/>
              <a:gd name="T9" fmla="*/ 185 h 325"/>
              <a:gd name="T10" fmla="*/ 196 w 228"/>
              <a:gd name="T11" fmla="*/ 194 h 325"/>
              <a:gd name="T12" fmla="*/ 196 w 228"/>
              <a:gd name="T13" fmla="*/ 203 h 325"/>
              <a:gd name="T14" fmla="*/ 187 w 228"/>
              <a:gd name="T15" fmla="*/ 216 h 325"/>
              <a:gd name="T16" fmla="*/ 196 w 228"/>
              <a:gd name="T17" fmla="*/ 219 h 325"/>
              <a:gd name="T18" fmla="*/ 196 w 228"/>
              <a:gd name="T19" fmla="*/ 225 h 325"/>
              <a:gd name="T20" fmla="*/ 200 w 228"/>
              <a:gd name="T21" fmla="*/ 232 h 325"/>
              <a:gd name="T22" fmla="*/ 206 w 228"/>
              <a:gd name="T23" fmla="*/ 244 h 325"/>
              <a:gd name="T24" fmla="*/ 206 w 228"/>
              <a:gd name="T25" fmla="*/ 250 h 325"/>
              <a:gd name="T26" fmla="*/ 200 w 228"/>
              <a:gd name="T27" fmla="*/ 253 h 325"/>
              <a:gd name="T28" fmla="*/ 184 w 228"/>
              <a:gd name="T29" fmla="*/ 260 h 325"/>
              <a:gd name="T30" fmla="*/ 184 w 228"/>
              <a:gd name="T31" fmla="*/ 266 h 325"/>
              <a:gd name="T32" fmla="*/ 175 w 228"/>
              <a:gd name="T33" fmla="*/ 272 h 325"/>
              <a:gd name="T34" fmla="*/ 168 w 228"/>
              <a:gd name="T35" fmla="*/ 278 h 325"/>
              <a:gd name="T36" fmla="*/ 168 w 228"/>
              <a:gd name="T37" fmla="*/ 288 h 325"/>
              <a:gd name="T38" fmla="*/ 156 w 228"/>
              <a:gd name="T39" fmla="*/ 294 h 325"/>
              <a:gd name="T40" fmla="*/ 140 w 228"/>
              <a:gd name="T41" fmla="*/ 291 h 325"/>
              <a:gd name="T42" fmla="*/ 131 w 228"/>
              <a:gd name="T43" fmla="*/ 294 h 325"/>
              <a:gd name="T44" fmla="*/ 137 w 228"/>
              <a:gd name="T45" fmla="*/ 300 h 325"/>
              <a:gd name="T46" fmla="*/ 128 w 228"/>
              <a:gd name="T47" fmla="*/ 310 h 325"/>
              <a:gd name="T48" fmla="*/ 106 w 228"/>
              <a:gd name="T49" fmla="*/ 316 h 325"/>
              <a:gd name="T50" fmla="*/ 93 w 228"/>
              <a:gd name="T51" fmla="*/ 322 h 325"/>
              <a:gd name="T52" fmla="*/ 87 w 228"/>
              <a:gd name="T53" fmla="*/ 316 h 325"/>
              <a:gd name="T54" fmla="*/ 81 w 228"/>
              <a:gd name="T55" fmla="*/ 325 h 325"/>
              <a:gd name="T56" fmla="*/ 71 w 228"/>
              <a:gd name="T57" fmla="*/ 325 h 325"/>
              <a:gd name="T58" fmla="*/ 68 w 228"/>
              <a:gd name="T59" fmla="*/ 316 h 325"/>
              <a:gd name="T60" fmla="*/ 59 w 228"/>
              <a:gd name="T61" fmla="*/ 304 h 325"/>
              <a:gd name="T62" fmla="*/ 40 w 228"/>
              <a:gd name="T63" fmla="*/ 288 h 325"/>
              <a:gd name="T64" fmla="*/ 37 w 228"/>
              <a:gd name="T65" fmla="*/ 285 h 325"/>
              <a:gd name="T66" fmla="*/ 37 w 228"/>
              <a:gd name="T67" fmla="*/ 275 h 325"/>
              <a:gd name="T68" fmla="*/ 46 w 228"/>
              <a:gd name="T69" fmla="*/ 275 h 325"/>
              <a:gd name="T70" fmla="*/ 56 w 228"/>
              <a:gd name="T71" fmla="*/ 275 h 325"/>
              <a:gd name="T72" fmla="*/ 65 w 228"/>
              <a:gd name="T73" fmla="*/ 275 h 325"/>
              <a:gd name="T74" fmla="*/ 59 w 228"/>
              <a:gd name="T75" fmla="*/ 269 h 325"/>
              <a:gd name="T76" fmla="*/ 53 w 228"/>
              <a:gd name="T77" fmla="*/ 260 h 325"/>
              <a:gd name="T78" fmla="*/ 56 w 228"/>
              <a:gd name="T79" fmla="*/ 247 h 325"/>
              <a:gd name="T80" fmla="*/ 56 w 228"/>
              <a:gd name="T81" fmla="*/ 241 h 325"/>
              <a:gd name="T82" fmla="*/ 53 w 228"/>
              <a:gd name="T83" fmla="*/ 232 h 325"/>
              <a:gd name="T84" fmla="*/ 43 w 228"/>
              <a:gd name="T85" fmla="*/ 219 h 325"/>
              <a:gd name="T86" fmla="*/ 31 w 228"/>
              <a:gd name="T87" fmla="*/ 210 h 325"/>
              <a:gd name="T88" fmla="*/ 21 w 228"/>
              <a:gd name="T89" fmla="*/ 175 h 325"/>
              <a:gd name="T90" fmla="*/ 28 w 228"/>
              <a:gd name="T91" fmla="*/ 172 h 325"/>
              <a:gd name="T92" fmla="*/ 59 w 228"/>
              <a:gd name="T93" fmla="*/ 110 h 325"/>
              <a:gd name="T94" fmla="*/ 68 w 228"/>
              <a:gd name="T95" fmla="*/ 63 h 325"/>
              <a:gd name="T96" fmla="*/ 59 w 228"/>
              <a:gd name="T97" fmla="*/ 38 h 325"/>
              <a:gd name="T98" fmla="*/ 46 w 228"/>
              <a:gd name="T99" fmla="*/ 9 h 325"/>
              <a:gd name="T100" fmla="*/ 0 w 228"/>
              <a:gd name="T101" fmla="*/ 21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8" h="325">
                <a:moveTo>
                  <a:pt x="46" y="9"/>
                </a:moveTo>
                <a:lnTo>
                  <a:pt x="68" y="0"/>
                </a:lnTo>
                <a:lnTo>
                  <a:pt x="228" y="81"/>
                </a:lnTo>
                <a:lnTo>
                  <a:pt x="228" y="156"/>
                </a:lnTo>
                <a:lnTo>
                  <a:pt x="225" y="160"/>
                </a:lnTo>
                <a:lnTo>
                  <a:pt x="221" y="160"/>
                </a:lnTo>
                <a:lnTo>
                  <a:pt x="218" y="160"/>
                </a:lnTo>
                <a:lnTo>
                  <a:pt x="212" y="160"/>
                </a:lnTo>
                <a:lnTo>
                  <a:pt x="209" y="163"/>
                </a:lnTo>
                <a:lnTo>
                  <a:pt x="209" y="166"/>
                </a:lnTo>
                <a:lnTo>
                  <a:pt x="212" y="169"/>
                </a:lnTo>
                <a:lnTo>
                  <a:pt x="209" y="175"/>
                </a:lnTo>
                <a:lnTo>
                  <a:pt x="203" y="182"/>
                </a:lnTo>
                <a:lnTo>
                  <a:pt x="200" y="182"/>
                </a:lnTo>
                <a:lnTo>
                  <a:pt x="196" y="185"/>
                </a:lnTo>
                <a:lnTo>
                  <a:pt x="196" y="188"/>
                </a:lnTo>
                <a:lnTo>
                  <a:pt x="200" y="191"/>
                </a:lnTo>
                <a:lnTo>
                  <a:pt x="196" y="194"/>
                </a:lnTo>
                <a:lnTo>
                  <a:pt x="193" y="197"/>
                </a:lnTo>
                <a:lnTo>
                  <a:pt x="193" y="200"/>
                </a:lnTo>
                <a:lnTo>
                  <a:pt x="196" y="203"/>
                </a:lnTo>
                <a:lnTo>
                  <a:pt x="196" y="207"/>
                </a:lnTo>
                <a:lnTo>
                  <a:pt x="193" y="210"/>
                </a:lnTo>
                <a:lnTo>
                  <a:pt x="187" y="216"/>
                </a:lnTo>
                <a:lnTo>
                  <a:pt x="187" y="219"/>
                </a:lnTo>
                <a:lnTo>
                  <a:pt x="190" y="222"/>
                </a:lnTo>
                <a:lnTo>
                  <a:pt x="196" y="219"/>
                </a:lnTo>
                <a:lnTo>
                  <a:pt x="196" y="219"/>
                </a:lnTo>
                <a:lnTo>
                  <a:pt x="196" y="222"/>
                </a:lnTo>
                <a:lnTo>
                  <a:pt x="196" y="225"/>
                </a:lnTo>
                <a:lnTo>
                  <a:pt x="200" y="225"/>
                </a:lnTo>
                <a:lnTo>
                  <a:pt x="196" y="228"/>
                </a:lnTo>
                <a:lnTo>
                  <a:pt x="200" y="232"/>
                </a:lnTo>
                <a:lnTo>
                  <a:pt x="200" y="238"/>
                </a:lnTo>
                <a:lnTo>
                  <a:pt x="200" y="241"/>
                </a:lnTo>
                <a:lnTo>
                  <a:pt x="206" y="244"/>
                </a:lnTo>
                <a:lnTo>
                  <a:pt x="209" y="247"/>
                </a:lnTo>
                <a:lnTo>
                  <a:pt x="206" y="247"/>
                </a:lnTo>
                <a:lnTo>
                  <a:pt x="206" y="250"/>
                </a:lnTo>
                <a:lnTo>
                  <a:pt x="206" y="253"/>
                </a:lnTo>
                <a:lnTo>
                  <a:pt x="200" y="257"/>
                </a:lnTo>
                <a:lnTo>
                  <a:pt x="200" y="253"/>
                </a:lnTo>
                <a:lnTo>
                  <a:pt x="193" y="253"/>
                </a:lnTo>
                <a:lnTo>
                  <a:pt x="190" y="257"/>
                </a:lnTo>
                <a:lnTo>
                  <a:pt x="184" y="260"/>
                </a:lnTo>
                <a:lnTo>
                  <a:pt x="184" y="263"/>
                </a:lnTo>
                <a:lnTo>
                  <a:pt x="184" y="266"/>
                </a:lnTo>
                <a:lnTo>
                  <a:pt x="184" y="266"/>
                </a:lnTo>
                <a:lnTo>
                  <a:pt x="178" y="272"/>
                </a:lnTo>
                <a:lnTo>
                  <a:pt x="178" y="272"/>
                </a:lnTo>
                <a:lnTo>
                  <a:pt x="175" y="272"/>
                </a:lnTo>
                <a:lnTo>
                  <a:pt x="171" y="275"/>
                </a:lnTo>
                <a:lnTo>
                  <a:pt x="171" y="278"/>
                </a:lnTo>
                <a:lnTo>
                  <a:pt x="168" y="278"/>
                </a:lnTo>
                <a:lnTo>
                  <a:pt x="168" y="282"/>
                </a:lnTo>
                <a:lnTo>
                  <a:pt x="168" y="285"/>
                </a:lnTo>
                <a:lnTo>
                  <a:pt x="168" y="288"/>
                </a:lnTo>
                <a:lnTo>
                  <a:pt x="165" y="291"/>
                </a:lnTo>
                <a:lnTo>
                  <a:pt x="162" y="294"/>
                </a:lnTo>
                <a:lnTo>
                  <a:pt x="156" y="294"/>
                </a:lnTo>
                <a:lnTo>
                  <a:pt x="150" y="294"/>
                </a:lnTo>
                <a:lnTo>
                  <a:pt x="143" y="294"/>
                </a:lnTo>
                <a:lnTo>
                  <a:pt x="140" y="291"/>
                </a:lnTo>
                <a:lnTo>
                  <a:pt x="137" y="294"/>
                </a:lnTo>
                <a:lnTo>
                  <a:pt x="134" y="291"/>
                </a:lnTo>
                <a:lnTo>
                  <a:pt x="131" y="294"/>
                </a:lnTo>
                <a:lnTo>
                  <a:pt x="131" y="297"/>
                </a:lnTo>
                <a:lnTo>
                  <a:pt x="134" y="300"/>
                </a:lnTo>
                <a:lnTo>
                  <a:pt x="137" y="300"/>
                </a:lnTo>
                <a:lnTo>
                  <a:pt x="137" y="304"/>
                </a:lnTo>
                <a:lnTo>
                  <a:pt x="131" y="307"/>
                </a:lnTo>
                <a:lnTo>
                  <a:pt x="128" y="310"/>
                </a:lnTo>
                <a:lnTo>
                  <a:pt x="121" y="310"/>
                </a:lnTo>
                <a:lnTo>
                  <a:pt x="112" y="313"/>
                </a:lnTo>
                <a:lnTo>
                  <a:pt x="106" y="316"/>
                </a:lnTo>
                <a:lnTo>
                  <a:pt x="100" y="319"/>
                </a:lnTo>
                <a:lnTo>
                  <a:pt x="96" y="322"/>
                </a:lnTo>
                <a:lnTo>
                  <a:pt x="93" y="322"/>
                </a:lnTo>
                <a:lnTo>
                  <a:pt x="90" y="322"/>
                </a:lnTo>
                <a:lnTo>
                  <a:pt x="90" y="316"/>
                </a:lnTo>
                <a:lnTo>
                  <a:pt x="87" y="316"/>
                </a:lnTo>
                <a:lnTo>
                  <a:pt x="84" y="316"/>
                </a:lnTo>
                <a:lnTo>
                  <a:pt x="84" y="322"/>
                </a:lnTo>
                <a:lnTo>
                  <a:pt x="81" y="325"/>
                </a:lnTo>
                <a:lnTo>
                  <a:pt x="78" y="325"/>
                </a:lnTo>
                <a:lnTo>
                  <a:pt x="75" y="325"/>
                </a:lnTo>
                <a:lnTo>
                  <a:pt x="71" y="325"/>
                </a:lnTo>
                <a:lnTo>
                  <a:pt x="68" y="322"/>
                </a:lnTo>
                <a:lnTo>
                  <a:pt x="68" y="319"/>
                </a:lnTo>
                <a:lnTo>
                  <a:pt x="68" y="316"/>
                </a:lnTo>
                <a:lnTo>
                  <a:pt x="65" y="313"/>
                </a:lnTo>
                <a:lnTo>
                  <a:pt x="62" y="307"/>
                </a:lnTo>
                <a:lnTo>
                  <a:pt x="59" y="304"/>
                </a:lnTo>
                <a:lnTo>
                  <a:pt x="50" y="297"/>
                </a:lnTo>
                <a:lnTo>
                  <a:pt x="43" y="291"/>
                </a:lnTo>
                <a:lnTo>
                  <a:pt x="40" y="288"/>
                </a:lnTo>
                <a:lnTo>
                  <a:pt x="40" y="288"/>
                </a:lnTo>
                <a:lnTo>
                  <a:pt x="37" y="285"/>
                </a:lnTo>
                <a:lnTo>
                  <a:pt x="37" y="285"/>
                </a:lnTo>
                <a:lnTo>
                  <a:pt x="37" y="278"/>
                </a:lnTo>
                <a:lnTo>
                  <a:pt x="37" y="278"/>
                </a:lnTo>
                <a:lnTo>
                  <a:pt x="37" y="275"/>
                </a:lnTo>
                <a:lnTo>
                  <a:pt x="40" y="275"/>
                </a:lnTo>
                <a:lnTo>
                  <a:pt x="43" y="275"/>
                </a:lnTo>
                <a:lnTo>
                  <a:pt x="46" y="275"/>
                </a:lnTo>
                <a:lnTo>
                  <a:pt x="50" y="275"/>
                </a:lnTo>
                <a:lnTo>
                  <a:pt x="53" y="275"/>
                </a:lnTo>
                <a:lnTo>
                  <a:pt x="56" y="275"/>
                </a:lnTo>
                <a:lnTo>
                  <a:pt x="59" y="275"/>
                </a:lnTo>
                <a:lnTo>
                  <a:pt x="62" y="275"/>
                </a:lnTo>
                <a:lnTo>
                  <a:pt x="65" y="275"/>
                </a:lnTo>
                <a:lnTo>
                  <a:pt x="65" y="275"/>
                </a:lnTo>
                <a:lnTo>
                  <a:pt x="65" y="275"/>
                </a:lnTo>
                <a:lnTo>
                  <a:pt x="59" y="269"/>
                </a:lnTo>
                <a:lnTo>
                  <a:pt x="59" y="266"/>
                </a:lnTo>
                <a:lnTo>
                  <a:pt x="56" y="266"/>
                </a:lnTo>
                <a:lnTo>
                  <a:pt x="53" y="260"/>
                </a:lnTo>
                <a:lnTo>
                  <a:pt x="53" y="257"/>
                </a:lnTo>
                <a:lnTo>
                  <a:pt x="56" y="253"/>
                </a:lnTo>
                <a:lnTo>
                  <a:pt x="56" y="247"/>
                </a:lnTo>
                <a:lnTo>
                  <a:pt x="53" y="247"/>
                </a:lnTo>
                <a:lnTo>
                  <a:pt x="53" y="244"/>
                </a:lnTo>
                <a:lnTo>
                  <a:pt x="56" y="241"/>
                </a:lnTo>
                <a:lnTo>
                  <a:pt x="56" y="238"/>
                </a:lnTo>
                <a:lnTo>
                  <a:pt x="53" y="235"/>
                </a:lnTo>
                <a:lnTo>
                  <a:pt x="53" y="232"/>
                </a:lnTo>
                <a:lnTo>
                  <a:pt x="50" y="228"/>
                </a:lnTo>
                <a:lnTo>
                  <a:pt x="50" y="222"/>
                </a:lnTo>
                <a:lnTo>
                  <a:pt x="43" y="219"/>
                </a:lnTo>
                <a:lnTo>
                  <a:pt x="34" y="213"/>
                </a:lnTo>
                <a:lnTo>
                  <a:pt x="34" y="213"/>
                </a:lnTo>
                <a:lnTo>
                  <a:pt x="31" y="210"/>
                </a:lnTo>
                <a:lnTo>
                  <a:pt x="28" y="203"/>
                </a:lnTo>
                <a:lnTo>
                  <a:pt x="25" y="200"/>
                </a:lnTo>
                <a:lnTo>
                  <a:pt x="21" y="175"/>
                </a:lnTo>
                <a:lnTo>
                  <a:pt x="25" y="175"/>
                </a:lnTo>
                <a:lnTo>
                  <a:pt x="25" y="175"/>
                </a:lnTo>
                <a:lnTo>
                  <a:pt x="28" y="172"/>
                </a:lnTo>
                <a:lnTo>
                  <a:pt x="28" y="172"/>
                </a:lnTo>
                <a:lnTo>
                  <a:pt x="62" y="138"/>
                </a:lnTo>
                <a:lnTo>
                  <a:pt x="59" y="110"/>
                </a:lnTo>
                <a:lnTo>
                  <a:pt x="65" y="72"/>
                </a:lnTo>
                <a:lnTo>
                  <a:pt x="68" y="69"/>
                </a:lnTo>
                <a:lnTo>
                  <a:pt x="68" y="63"/>
                </a:lnTo>
                <a:lnTo>
                  <a:pt x="56" y="47"/>
                </a:lnTo>
                <a:lnTo>
                  <a:pt x="56" y="44"/>
                </a:lnTo>
                <a:lnTo>
                  <a:pt x="59" y="38"/>
                </a:lnTo>
                <a:lnTo>
                  <a:pt x="46" y="13"/>
                </a:lnTo>
                <a:lnTo>
                  <a:pt x="46" y="9"/>
                </a:lnTo>
                <a:lnTo>
                  <a:pt x="46" y="9"/>
                </a:lnTo>
                <a:close/>
                <a:moveTo>
                  <a:pt x="6" y="210"/>
                </a:moveTo>
                <a:lnTo>
                  <a:pt x="3" y="213"/>
                </a:lnTo>
                <a:lnTo>
                  <a:pt x="0" y="216"/>
                </a:lnTo>
                <a:lnTo>
                  <a:pt x="0" y="213"/>
                </a:lnTo>
                <a:lnTo>
                  <a:pt x="6" y="210"/>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3" name="Freeform 131">
            <a:extLst>
              <a:ext uri="{FF2B5EF4-FFF2-40B4-BE49-F238E27FC236}">
                <a16:creationId xmlns:a16="http://schemas.microsoft.com/office/drawing/2014/main" id="{11ADA199-9207-1AB8-7C7B-624A09F08C1D}"/>
              </a:ext>
            </a:extLst>
          </p:cNvPr>
          <p:cNvSpPr>
            <a:spLocks/>
          </p:cNvSpPr>
          <p:nvPr userDrawn="1"/>
        </p:nvSpPr>
        <p:spPr bwMode="auto">
          <a:xfrm>
            <a:off x="13188093" y="7885987"/>
            <a:ext cx="952440" cy="746126"/>
          </a:xfrm>
          <a:custGeom>
            <a:avLst/>
            <a:gdLst>
              <a:gd name="T0" fmla="*/ 66 w 300"/>
              <a:gd name="T1" fmla="*/ 229 h 235"/>
              <a:gd name="T2" fmla="*/ 56 w 300"/>
              <a:gd name="T3" fmla="*/ 222 h 235"/>
              <a:gd name="T4" fmla="*/ 47 w 300"/>
              <a:gd name="T5" fmla="*/ 222 h 235"/>
              <a:gd name="T6" fmla="*/ 44 w 300"/>
              <a:gd name="T7" fmla="*/ 225 h 235"/>
              <a:gd name="T8" fmla="*/ 38 w 300"/>
              <a:gd name="T9" fmla="*/ 219 h 235"/>
              <a:gd name="T10" fmla="*/ 41 w 300"/>
              <a:gd name="T11" fmla="*/ 213 h 235"/>
              <a:gd name="T12" fmla="*/ 38 w 300"/>
              <a:gd name="T13" fmla="*/ 210 h 235"/>
              <a:gd name="T14" fmla="*/ 28 w 300"/>
              <a:gd name="T15" fmla="*/ 213 h 235"/>
              <a:gd name="T16" fmla="*/ 19 w 300"/>
              <a:gd name="T17" fmla="*/ 200 h 235"/>
              <a:gd name="T18" fmla="*/ 0 w 300"/>
              <a:gd name="T19" fmla="*/ 182 h 235"/>
              <a:gd name="T20" fmla="*/ 3 w 300"/>
              <a:gd name="T21" fmla="*/ 172 h 235"/>
              <a:gd name="T22" fmla="*/ 10 w 300"/>
              <a:gd name="T23" fmla="*/ 169 h 235"/>
              <a:gd name="T24" fmla="*/ 28 w 300"/>
              <a:gd name="T25" fmla="*/ 169 h 235"/>
              <a:gd name="T26" fmla="*/ 41 w 300"/>
              <a:gd name="T27" fmla="*/ 166 h 235"/>
              <a:gd name="T28" fmla="*/ 50 w 300"/>
              <a:gd name="T29" fmla="*/ 163 h 235"/>
              <a:gd name="T30" fmla="*/ 63 w 300"/>
              <a:gd name="T31" fmla="*/ 160 h 235"/>
              <a:gd name="T32" fmla="*/ 75 w 300"/>
              <a:gd name="T33" fmla="*/ 150 h 235"/>
              <a:gd name="T34" fmla="*/ 78 w 300"/>
              <a:gd name="T35" fmla="*/ 141 h 235"/>
              <a:gd name="T36" fmla="*/ 81 w 300"/>
              <a:gd name="T37" fmla="*/ 85 h 235"/>
              <a:gd name="T38" fmla="*/ 135 w 300"/>
              <a:gd name="T39" fmla="*/ 57 h 235"/>
              <a:gd name="T40" fmla="*/ 257 w 300"/>
              <a:gd name="T41" fmla="*/ 10 h 235"/>
              <a:gd name="T42" fmla="*/ 278 w 300"/>
              <a:gd name="T43" fmla="*/ 6 h 235"/>
              <a:gd name="T44" fmla="*/ 291 w 300"/>
              <a:gd name="T45" fmla="*/ 35 h 235"/>
              <a:gd name="T46" fmla="*/ 288 w 300"/>
              <a:gd name="T47" fmla="*/ 44 h 235"/>
              <a:gd name="T48" fmla="*/ 300 w 300"/>
              <a:gd name="T49" fmla="*/ 66 h 235"/>
              <a:gd name="T50" fmla="*/ 291 w 300"/>
              <a:gd name="T51" fmla="*/ 107 h 235"/>
              <a:gd name="T52" fmla="*/ 260 w 300"/>
              <a:gd name="T53" fmla="*/ 169 h 235"/>
              <a:gd name="T54" fmla="*/ 257 w 300"/>
              <a:gd name="T55" fmla="*/ 172 h 235"/>
              <a:gd name="T56" fmla="*/ 253 w 300"/>
              <a:gd name="T57" fmla="*/ 172 h 235"/>
              <a:gd name="T58" fmla="*/ 253 w 300"/>
              <a:gd name="T59" fmla="*/ 197 h 235"/>
              <a:gd name="T60" fmla="*/ 250 w 300"/>
              <a:gd name="T61" fmla="*/ 204 h 235"/>
              <a:gd name="T62" fmla="*/ 244 w 300"/>
              <a:gd name="T63" fmla="*/ 204 h 235"/>
              <a:gd name="T64" fmla="*/ 241 w 300"/>
              <a:gd name="T65" fmla="*/ 207 h 235"/>
              <a:gd name="T66" fmla="*/ 238 w 300"/>
              <a:gd name="T67" fmla="*/ 207 h 235"/>
              <a:gd name="T68" fmla="*/ 228 w 300"/>
              <a:gd name="T69" fmla="*/ 210 h 235"/>
              <a:gd name="T70" fmla="*/ 216 w 300"/>
              <a:gd name="T71" fmla="*/ 207 h 235"/>
              <a:gd name="T72" fmla="*/ 203 w 300"/>
              <a:gd name="T73" fmla="*/ 207 h 235"/>
              <a:gd name="T74" fmla="*/ 188 w 300"/>
              <a:gd name="T75" fmla="*/ 207 h 235"/>
              <a:gd name="T76" fmla="*/ 178 w 300"/>
              <a:gd name="T77" fmla="*/ 216 h 235"/>
              <a:gd name="T78" fmla="*/ 169 w 300"/>
              <a:gd name="T79" fmla="*/ 213 h 235"/>
              <a:gd name="T80" fmla="*/ 157 w 300"/>
              <a:gd name="T81" fmla="*/ 210 h 235"/>
              <a:gd name="T82" fmla="*/ 153 w 300"/>
              <a:gd name="T83" fmla="*/ 207 h 235"/>
              <a:gd name="T84" fmla="*/ 147 w 300"/>
              <a:gd name="T85" fmla="*/ 204 h 235"/>
              <a:gd name="T86" fmla="*/ 141 w 300"/>
              <a:gd name="T87" fmla="*/ 207 h 235"/>
              <a:gd name="T88" fmla="*/ 135 w 300"/>
              <a:gd name="T89" fmla="*/ 207 h 235"/>
              <a:gd name="T90" fmla="*/ 132 w 300"/>
              <a:gd name="T91" fmla="*/ 210 h 235"/>
              <a:gd name="T92" fmla="*/ 122 w 300"/>
              <a:gd name="T93" fmla="*/ 200 h 235"/>
              <a:gd name="T94" fmla="*/ 116 w 300"/>
              <a:gd name="T95" fmla="*/ 197 h 235"/>
              <a:gd name="T96" fmla="*/ 110 w 300"/>
              <a:gd name="T97" fmla="*/ 194 h 235"/>
              <a:gd name="T98" fmla="*/ 100 w 300"/>
              <a:gd name="T99" fmla="*/ 194 h 235"/>
              <a:gd name="T100" fmla="*/ 97 w 300"/>
              <a:gd name="T101" fmla="*/ 194 h 235"/>
              <a:gd name="T102" fmla="*/ 88 w 300"/>
              <a:gd name="T103" fmla="*/ 194 h 235"/>
              <a:gd name="T104" fmla="*/ 81 w 300"/>
              <a:gd name="T105" fmla="*/ 197 h 235"/>
              <a:gd name="T106" fmla="*/ 78 w 300"/>
              <a:gd name="T107" fmla="*/ 197 h 235"/>
              <a:gd name="T108" fmla="*/ 72 w 300"/>
              <a:gd name="T109" fmla="*/ 204 h 235"/>
              <a:gd name="T110" fmla="*/ 72 w 300"/>
              <a:gd name="T111" fmla="*/ 207 h 235"/>
              <a:gd name="T112" fmla="*/ 75 w 300"/>
              <a:gd name="T113" fmla="*/ 213 h 235"/>
              <a:gd name="T114" fmla="*/ 75 w 300"/>
              <a:gd name="T115" fmla="*/ 216 h 235"/>
              <a:gd name="T116" fmla="*/ 69 w 300"/>
              <a:gd name="T117" fmla="*/ 219 h 235"/>
              <a:gd name="T118" fmla="*/ 66 w 300"/>
              <a:gd name="T119" fmla="*/ 225 h 235"/>
              <a:gd name="T120" fmla="*/ 72 w 300"/>
              <a:gd name="T121" fmla="*/ 229 h 235"/>
              <a:gd name="T122" fmla="*/ 69 w 300"/>
              <a:gd name="T123"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0" h="235">
                <a:moveTo>
                  <a:pt x="69" y="235"/>
                </a:moveTo>
                <a:lnTo>
                  <a:pt x="66" y="229"/>
                </a:lnTo>
                <a:lnTo>
                  <a:pt x="60" y="229"/>
                </a:lnTo>
                <a:lnTo>
                  <a:pt x="56" y="222"/>
                </a:lnTo>
                <a:lnTo>
                  <a:pt x="50" y="219"/>
                </a:lnTo>
                <a:lnTo>
                  <a:pt x="47" y="222"/>
                </a:lnTo>
                <a:lnTo>
                  <a:pt x="50" y="222"/>
                </a:lnTo>
                <a:lnTo>
                  <a:pt x="44" y="225"/>
                </a:lnTo>
                <a:lnTo>
                  <a:pt x="41" y="225"/>
                </a:lnTo>
                <a:lnTo>
                  <a:pt x="38" y="219"/>
                </a:lnTo>
                <a:lnTo>
                  <a:pt x="41" y="216"/>
                </a:lnTo>
                <a:lnTo>
                  <a:pt x="41" y="213"/>
                </a:lnTo>
                <a:lnTo>
                  <a:pt x="38" y="210"/>
                </a:lnTo>
                <a:lnTo>
                  <a:pt x="38" y="210"/>
                </a:lnTo>
                <a:lnTo>
                  <a:pt x="35" y="207"/>
                </a:lnTo>
                <a:lnTo>
                  <a:pt x="28" y="213"/>
                </a:lnTo>
                <a:lnTo>
                  <a:pt x="19" y="207"/>
                </a:lnTo>
                <a:lnTo>
                  <a:pt x="19" y="200"/>
                </a:lnTo>
                <a:lnTo>
                  <a:pt x="0" y="188"/>
                </a:lnTo>
                <a:lnTo>
                  <a:pt x="0" y="182"/>
                </a:lnTo>
                <a:lnTo>
                  <a:pt x="3" y="175"/>
                </a:lnTo>
                <a:lnTo>
                  <a:pt x="3" y="172"/>
                </a:lnTo>
                <a:lnTo>
                  <a:pt x="6" y="169"/>
                </a:lnTo>
                <a:lnTo>
                  <a:pt x="10" y="169"/>
                </a:lnTo>
                <a:lnTo>
                  <a:pt x="22" y="169"/>
                </a:lnTo>
                <a:lnTo>
                  <a:pt x="28" y="169"/>
                </a:lnTo>
                <a:lnTo>
                  <a:pt x="35" y="166"/>
                </a:lnTo>
                <a:lnTo>
                  <a:pt x="41" y="166"/>
                </a:lnTo>
                <a:lnTo>
                  <a:pt x="47" y="166"/>
                </a:lnTo>
                <a:lnTo>
                  <a:pt x="50" y="163"/>
                </a:lnTo>
                <a:lnTo>
                  <a:pt x="56" y="163"/>
                </a:lnTo>
                <a:lnTo>
                  <a:pt x="63" y="160"/>
                </a:lnTo>
                <a:lnTo>
                  <a:pt x="72" y="153"/>
                </a:lnTo>
                <a:lnTo>
                  <a:pt x="75" y="150"/>
                </a:lnTo>
                <a:lnTo>
                  <a:pt x="75" y="144"/>
                </a:lnTo>
                <a:lnTo>
                  <a:pt x="78" y="141"/>
                </a:lnTo>
                <a:lnTo>
                  <a:pt x="78" y="122"/>
                </a:lnTo>
                <a:lnTo>
                  <a:pt x="81" y="85"/>
                </a:lnTo>
                <a:lnTo>
                  <a:pt x="110" y="78"/>
                </a:lnTo>
                <a:lnTo>
                  <a:pt x="135" y="57"/>
                </a:lnTo>
                <a:lnTo>
                  <a:pt x="222" y="0"/>
                </a:lnTo>
                <a:lnTo>
                  <a:pt x="257" y="10"/>
                </a:lnTo>
                <a:lnTo>
                  <a:pt x="260" y="13"/>
                </a:lnTo>
                <a:lnTo>
                  <a:pt x="278" y="6"/>
                </a:lnTo>
                <a:lnTo>
                  <a:pt x="278" y="10"/>
                </a:lnTo>
                <a:lnTo>
                  <a:pt x="291" y="35"/>
                </a:lnTo>
                <a:lnTo>
                  <a:pt x="288" y="41"/>
                </a:lnTo>
                <a:lnTo>
                  <a:pt x="288" y="44"/>
                </a:lnTo>
                <a:lnTo>
                  <a:pt x="300" y="60"/>
                </a:lnTo>
                <a:lnTo>
                  <a:pt x="300" y="66"/>
                </a:lnTo>
                <a:lnTo>
                  <a:pt x="297" y="69"/>
                </a:lnTo>
                <a:lnTo>
                  <a:pt x="291" y="107"/>
                </a:lnTo>
                <a:lnTo>
                  <a:pt x="294" y="135"/>
                </a:lnTo>
                <a:lnTo>
                  <a:pt x="260" y="169"/>
                </a:lnTo>
                <a:lnTo>
                  <a:pt x="260" y="169"/>
                </a:lnTo>
                <a:lnTo>
                  <a:pt x="257" y="172"/>
                </a:lnTo>
                <a:lnTo>
                  <a:pt x="257" y="172"/>
                </a:lnTo>
                <a:lnTo>
                  <a:pt x="253" y="172"/>
                </a:lnTo>
                <a:lnTo>
                  <a:pt x="257" y="197"/>
                </a:lnTo>
                <a:lnTo>
                  <a:pt x="253" y="197"/>
                </a:lnTo>
                <a:lnTo>
                  <a:pt x="250" y="200"/>
                </a:lnTo>
                <a:lnTo>
                  <a:pt x="250" y="204"/>
                </a:lnTo>
                <a:lnTo>
                  <a:pt x="247" y="204"/>
                </a:lnTo>
                <a:lnTo>
                  <a:pt x="244" y="204"/>
                </a:lnTo>
                <a:lnTo>
                  <a:pt x="241" y="204"/>
                </a:lnTo>
                <a:lnTo>
                  <a:pt x="241" y="207"/>
                </a:lnTo>
                <a:lnTo>
                  <a:pt x="238" y="207"/>
                </a:lnTo>
                <a:lnTo>
                  <a:pt x="238" y="207"/>
                </a:lnTo>
                <a:lnTo>
                  <a:pt x="232" y="210"/>
                </a:lnTo>
                <a:lnTo>
                  <a:pt x="228" y="210"/>
                </a:lnTo>
                <a:lnTo>
                  <a:pt x="222" y="210"/>
                </a:lnTo>
                <a:lnTo>
                  <a:pt x="216" y="207"/>
                </a:lnTo>
                <a:lnTo>
                  <a:pt x="207" y="204"/>
                </a:lnTo>
                <a:lnTo>
                  <a:pt x="203" y="207"/>
                </a:lnTo>
                <a:lnTo>
                  <a:pt x="194" y="207"/>
                </a:lnTo>
                <a:lnTo>
                  <a:pt x="188" y="207"/>
                </a:lnTo>
                <a:lnTo>
                  <a:pt x="185" y="213"/>
                </a:lnTo>
                <a:lnTo>
                  <a:pt x="178" y="216"/>
                </a:lnTo>
                <a:lnTo>
                  <a:pt x="175" y="216"/>
                </a:lnTo>
                <a:lnTo>
                  <a:pt x="169" y="213"/>
                </a:lnTo>
                <a:lnTo>
                  <a:pt x="163" y="213"/>
                </a:lnTo>
                <a:lnTo>
                  <a:pt x="157" y="210"/>
                </a:lnTo>
                <a:lnTo>
                  <a:pt x="153" y="207"/>
                </a:lnTo>
                <a:lnTo>
                  <a:pt x="153" y="207"/>
                </a:lnTo>
                <a:lnTo>
                  <a:pt x="150" y="204"/>
                </a:lnTo>
                <a:lnTo>
                  <a:pt x="147" y="204"/>
                </a:lnTo>
                <a:lnTo>
                  <a:pt x="147" y="204"/>
                </a:lnTo>
                <a:lnTo>
                  <a:pt x="141" y="207"/>
                </a:lnTo>
                <a:lnTo>
                  <a:pt x="138" y="207"/>
                </a:lnTo>
                <a:lnTo>
                  <a:pt x="135" y="207"/>
                </a:lnTo>
                <a:lnTo>
                  <a:pt x="132" y="210"/>
                </a:lnTo>
                <a:lnTo>
                  <a:pt x="132" y="210"/>
                </a:lnTo>
                <a:lnTo>
                  <a:pt x="125" y="207"/>
                </a:lnTo>
                <a:lnTo>
                  <a:pt x="122" y="200"/>
                </a:lnTo>
                <a:lnTo>
                  <a:pt x="119" y="200"/>
                </a:lnTo>
                <a:lnTo>
                  <a:pt x="116" y="197"/>
                </a:lnTo>
                <a:lnTo>
                  <a:pt x="113" y="197"/>
                </a:lnTo>
                <a:lnTo>
                  <a:pt x="110" y="194"/>
                </a:lnTo>
                <a:lnTo>
                  <a:pt x="103" y="194"/>
                </a:lnTo>
                <a:lnTo>
                  <a:pt x="100" y="194"/>
                </a:lnTo>
                <a:lnTo>
                  <a:pt x="97" y="194"/>
                </a:lnTo>
                <a:lnTo>
                  <a:pt x="97" y="194"/>
                </a:lnTo>
                <a:lnTo>
                  <a:pt x="91" y="194"/>
                </a:lnTo>
                <a:lnTo>
                  <a:pt x="88" y="194"/>
                </a:lnTo>
                <a:lnTo>
                  <a:pt x="85" y="194"/>
                </a:lnTo>
                <a:lnTo>
                  <a:pt x="81" y="197"/>
                </a:lnTo>
                <a:lnTo>
                  <a:pt x="81" y="197"/>
                </a:lnTo>
                <a:lnTo>
                  <a:pt x="78" y="197"/>
                </a:lnTo>
                <a:lnTo>
                  <a:pt x="75" y="200"/>
                </a:lnTo>
                <a:lnTo>
                  <a:pt x="72" y="204"/>
                </a:lnTo>
                <a:lnTo>
                  <a:pt x="75" y="207"/>
                </a:lnTo>
                <a:lnTo>
                  <a:pt x="72" y="207"/>
                </a:lnTo>
                <a:lnTo>
                  <a:pt x="72" y="207"/>
                </a:lnTo>
                <a:lnTo>
                  <a:pt x="75" y="213"/>
                </a:lnTo>
                <a:lnTo>
                  <a:pt x="75" y="213"/>
                </a:lnTo>
                <a:lnTo>
                  <a:pt x="75" y="216"/>
                </a:lnTo>
                <a:lnTo>
                  <a:pt x="72" y="216"/>
                </a:lnTo>
                <a:lnTo>
                  <a:pt x="69" y="219"/>
                </a:lnTo>
                <a:lnTo>
                  <a:pt x="69" y="222"/>
                </a:lnTo>
                <a:lnTo>
                  <a:pt x="66" y="225"/>
                </a:lnTo>
                <a:lnTo>
                  <a:pt x="69" y="229"/>
                </a:lnTo>
                <a:lnTo>
                  <a:pt x="72" y="229"/>
                </a:lnTo>
                <a:lnTo>
                  <a:pt x="72" y="232"/>
                </a:lnTo>
                <a:lnTo>
                  <a:pt x="69" y="235"/>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4" name="Freeform 132">
            <a:extLst>
              <a:ext uri="{FF2B5EF4-FFF2-40B4-BE49-F238E27FC236}">
                <a16:creationId xmlns:a16="http://schemas.microsoft.com/office/drawing/2014/main" id="{1E18DCF6-8314-F925-1AE2-2A2115080ABB}"/>
              </a:ext>
            </a:extLst>
          </p:cNvPr>
          <p:cNvSpPr>
            <a:spLocks/>
          </p:cNvSpPr>
          <p:nvPr userDrawn="1"/>
        </p:nvSpPr>
        <p:spPr bwMode="auto">
          <a:xfrm>
            <a:off x="13356352" y="8501939"/>
            <a:ext cx="714330" cy="615950"/>
          </a:xfrm>
          <a:custGeom>
            <a:avLst/>
            <a:gdLst>
              <a:gd name="T0" fmla="*/ 210 w 225"/>
              <a:gd name="T1" fmla="*/ 13 h 194"/>
              <a:gd name="T2" fmla="*/ 197 w 225"/>
              <a:gd name="T3" fmla="*/ 6 h 194"/>
              <a:gd name="T4" fmla="*/ 191 w 225"/>
              <a:gd name="T5" fmla="*/ 10 h 194"/>
              <a:gd name="T6" fmla="*/ 185 w 225"/>
              <a:gd name="T7" fmla="*/ 13 h 194"/>
              <a:gd name="T8" fmla="*/ 175 w 225"/>
              <a:gd name="T9" fmla="*/ 16 h 194"/>
              <a:gd name="T10" fmla="*/ 154 w 225"/>
              <a:gd name="T11" fmla="*/ 10 h 194"/>
              <a:gd name="T12" fmla="*/ 135 w 225"/>
              <a:gd name="T13" fmla="*/ 13 h 194"/>
              <a:gd name="T14" fmla="*/ 122 w 225"/>
              <a:gd name="T15" fmla="*/ 22 h 194"/>
              <a:gd name="T16" fmla="*/ 104 w 225"/>
              <a:gd name="T17" fmla="*/ 16 h 194"/>
              <a:gd name="T18" fmla="*/ 97 w 225"/>
              <a:gd name="T19" fmla="*/ 10 h 194"/>
              <a:gd name="T20" fmla="*/ 88 w 225"/>
              <a:gd name="T21" fmla="*/ 13 h 194"/>
              <a:gd name="T22" fmla="*/ 79 w 225"/>
              <a:gd name="T23" fmla="*/ 16 h 194"/>
              <a:gd name="T24" fmla="*/ 69 w 225"/>
              <a:gd name="T25" fmla="*/ 6 h 194"/>
              <a:gd name="T26" fmla="*/ 60 w 225"/>
              <a:gd name="T27" fmla="*/ 3 h 194"/>
              <a:gd name="T28" fmla="*/ 47 w 225"/>
              <a:gd name="T29" fmla="*/ 0 h 194"/>
              <a:gd name="T30" fmla="*/ 38 w 225"/>
              <a:gd name="T31" fmla="*/ 0 h 194"/>
              <a:gd name="T32" fmla="*/ 28 w 225"/>
              <a:gd name="T33" fmla="*/ 3 h 194"/>
              <a:gd name="T34" fmla="*/ 22 w 225"/>
              <a:gd name="T35" fmla="*/ 6 h 194"/>
              <a:gd name="T36" fmla="*/ 19 w 225"/>
              <a:gd name="T37" fmla="*/ 13 h 194"/>
              <a:gd name="T38" fmla="*/ 22 w 225"/>
              <a:gd name="T39" fmla="*/ 19 h 194"/>
              <a:gd name="T40" fmla="*/ 16 w 225"/>
              <a:gd name="T41" fmla="*/ 25 h 194"/>
              <a:gd name="T42" fmla="*/ 16 w 225"/>
              <a:gd name="T43" fmla="*/ 35 h 194"/>
              <a:gd name="T44" fmla="*/ 16 w 225"/>
              <a:gd name="T45" fmla="*/ 41 h 194"/>
              <a:gd name="T46" fmla="*/ 22 w 225"/>
              <a:gd name="T47" fmla="*/ 53 h 194"/>
              <a:gd name="T48" fmla="*/ 22 w 225"/>
              <a:gd name="T49" fmla="*/ 66 h 194"/>
              <a:gd name="T50" fmla="*/ 16 w 225"/>
              <a:gd name="T51" fmla="*/ 72 h 194"/>
              <a:gd name="T52" fmla="*/ 16 w 225"/>
              <a:gd name="T53" fmla="*/ 78 h 194"/>
              <a:gd name="T54" fmla="*/ 10 w 225"/>
              <a:gd name="T55" fmla="*/ 88 h 194"/>
              <a:gd name="T56" fmla="*/ 3 w 225"/>
              <a:gd name="T57" fmla="*/ 94 h 194"/>
              <a:gd name="T58" fmla="*/ 0 w 225"/>
              <a:gd name="T59" fmla="*/ 100 h 194"/>
              <a:gd name="T60" fmla="*/ 0 w 225"/>
              <a:gd name="T61" fmla="*/ 110 h 194"/>
              <a:gd name="T62" fmla="*/ 0 w 225"/>
              <a:gd name="T63" fmla="*/ 116 h 194"/>
              <a:gd name="T64" fmla="*/ 0 w 225"/>
              <a:gd name="T65" fmla="*/ 128 h 194"/>
              <a:gd name="T66" fmla="*/ 0 w 225"/>
              <a:gd name="T67" fmla="*/ 144 h 194"/>
              <a:gd name="T68" fmla="*/ 16 w 225"/>
              <a:gd name="T69" fmla="*/ 147 h 194"/>
              <a:gd name="T70" fmla="*/ 41 w 225"/>
              <a:gd name="T71" fmla="*/ 172 h 194"/>
              <a:gd name="T72" fmla="*/ 47 w 225"/>
              <a:gd name="T73" fmla="*/ 188 h 194"/>
              <a:gd name="T74" fmla="*/ 79 w 225"/>
              <a:gd name="T75" fmla="*/ 191 h 194"/>
              <a:gd name="T76" fmla="*/ 94 w 225"/>
              <a:gd name="T77" fmla="*/ 188 h 194"/>
              <a:gd name="T78" fmla="*/ 104 w 225"/>
              <a:gd name="T79" fmla="*/ 182 h 194"/>
              <a:gd name="T80" fmla="*/ 110 w 225"/>
              <a:gd name="T81" fmla="*/ 185 h 194"/>
              <a:gd name="T82" fmla="*/ 116 w 225"/>
              <a:gd name="T83" fmla="*/ 172 h 194"/>
              <a:gd name="T84" fmla="*/ 116 w 225"/>
              <a:gd name="T85" fmla="*/ 163 h 194"/>
              <a:gd name="T86" fmla="*/ 125 w 225"/>
              <a:gd name="T87" fmla="*/ 153 h 194"/>
              <a:gd name="T88" fmla="*/ 132 w 225"/>
              <a:gd name="T89" fmla="*/ 144 h 194"/>
              <a:gd name="T90" fmla="*/ 138 w 225"/>
              <a:gd name="T91" fmla="*/ 138 h 194"/>
              <a:gd name="T92" fmla="*/ 147 w 225"/>
              <a:gd name="T93" fmla="*/ 141 h 194"/>
              <a:gd name="T94" fmla="*/ 157 w 225"/>
              <a:gd name="T95" fmla="*/ 150 h 194"/>
              <a:gd name="T96" fmla="*/ 166 w 225"/>
              <a:gd name="T97" fmla="*/ 144 h 194"/>
              <a:gd name="T98" fmla="*/ 169 w 225"/>
              <a:gd name="T99" fmla="*/ 138 h 194"/>
              <a:gd name="T100" fmla="*/ 172 w 225"/>
              <a:gd name="T101" fmla="*/ 128 h 194"/>
              <a:gd name="T102" fmla="*/ 179 w 225"/>
              <a:gd name="T103" fmla="*/ 116 h 194"/>
              <a:gd name="T104" fmla="*/ 191 w 225"/>
              <a:gd name="T105" fmla="*/ 103 h 194"/>
              <a:gd name="T106" fmla="*/ 191 w 225"/>
              <a:gd name="T107" fmla="*/ 91 h 194"/>
              <a:gd name="T108" fmla="*/ 204 w 225"/>
              <a:gd name="T109" fmla="*/ 81 h 194"/>
              <a:gd name="T110" fmla="*/ 204 w 225"/>
              <a:gd name="T111" fmla="*/ 69 h 194"/>
              <a:gd name="T112" fmla="*/ 210 w 225"/>
              <a:gd name="T113" fmla="*/ 56 h 194"/>
              <a:gd name="T114" fmla="*/ 216 w 225"/>
              <a:gd name="T115" fmla="*/ 53 h 194"/>
              <a:gd name="T116" fmla="*/ 225 w 225"/>
              <a:gd name="T117" fmla="*/ 47 h 194"/>
              <a:gd name="T118" fmla="*/ 222 w 225"/>
              <a:gd name="T119" fmla="*/ 35 h 194"/>
              <a:gd name="T120" fmla="*/ 216 w 225"/>
              <a:gd name="T121" fmla="*/ 25 h 194"/>
              <a:gd name="T122" fmla="*/ 213 w 225"/>
              <a:gd name="T123" fmla="*/ 1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5" h="194">
                <a:moveTo>
                  <a:pt x="213" y="16"/>
                </a:moveTo>
                <a:lnTo>
                  <a:pt x="213" y="16"/>
                </a:lnTo>
                <a:lnTo>
                  <a:pt x="210" y="13"/>
                </a:lnTo>
                <a:lnTo>
                  <a:pt x="207" y="6"/>
                </a:lnTo>
                <a:lnTo>
                  <a:pt x="200" y="3"/>
                </a:lnTo>
                <a:lnTo>
                  <a:pt x="197" y="6"/>
                </a:lnTo>
                <a:lnTo>
                  <a:pt x="197" y="10"/>
                </a:lnTo>
                <a:lnTo>
                  <a:pt x="194" y="10"/>
                </a:lnTo>
                <a:lnTo>
                  <a:pt x="191" y="10"/>
                </a:lnTo>
                <a:lnTo>
                  <a:pt x="188" y="10"/>
                </a:lnTo>
                <a:lnTo>
                  <a:pt x="188" y="13"/>
                </a:lnTo>
                <a:lnTo>
                  <a:pt x="185" y="13"/>
                </a:lnTo>
                <a:lnTo>
                  <a:pt x="182" y="16"/>
                </a:lnTo>
                <a:lnTo>
                  <a:pt x="179" y="19"/>
                </a:lnTo>
                <a:lnTo>
                  <a:pt x="175" y="16"/>
                </a:lnTo>
                <a:lnTo>
                  <a:pt x="169" y="16"/>
                </a:lnTo>
                <a:lnTo>
                  <a:pt x="163" y="13"/>
                </a:lnTo>
                <a:lnTo>
                  <a:pt x="154" y="10"/>
                </a:lnTo>
                <a:lnTo>
                  <a:pt x="150" y="13"/>
                </a:lnTo>
                <a:lnTo>
                  <a:pt x="141" y="13"/>
                </a:lnTo>
                <a:lnTo>
                  <a:pt x="135" y="13"/>
                </a:lnTo>
                <a:lnTo>
                  <a:pt x="132" y="19"/>
                </a:lnTo>
                <a:lnTo>
                  <a:pt x="125" y="22"/>
                </a:lnTo>
                <a:lnTo>
                  <a:pt x="122" y="22"/>
                </a:lnTo>
                <a:lnTo>
                  <a:pt x="116" y="19"/>
                </a:lnTo>
                <a:lnTo>
                  <a:pt x="110" y="19"/>
                </a:lnTo>
                <a:lnTo>
                  <a:pt x="104" y="16"/>
                </a:lnTo>
                <a:lnTo>
                  <a:pt x="100" y="13"/>
                </a:lnTo>
                <a:lnTo>
                  <a:pt x="100" y="13"/>
                </a:lnTo>
                <a:lnTo>
                  <a:pt x="97" y="10"/>
                </a:lnTo>
                <a:lnTo>
                  <a:pt x="94" y="10"/>
                </a:lnTo>
                <a:lnTo>
                  <a:pt x="94" y="10"/>
                </a:lnTo>
                <a:lnTo>
                  <a:pt x="88" y="13"/>
                </a:lnTo>
                <a:lnTo>
                  <a:pt x="85" y="13"/>
                </a:lnTo>
                <a:lnTo>
                  <a:pt x="82" y="13"/>
                </a:lnTo>
                <a:lnTo>
                  <a:pt x="79" y="16"/>
                </a:lnTo>
                <a:lnTo>
                  <a:pt x="79" y="16"/>
                </a:lnTo>
                <a:lnTo>
                  <a:pt x="72" y="13"/>
                </a:lnTo>
                <a:lnTo>
                  <a:pt x="69" y="6"/>
                </a:lnTo>
                <a:lnTo>
                  <a:pt x="66" y="6"/>
                </a:lnTo>
                <a:lnTo>
                  <a:pt x="63" y="3"/>
                </a:lnTo>
                <a:lnTo>
                  <a:pt x="60" y="3"/>
                </a:lnTo>
                <a:lnTo>
                  <a:pt x="57" y="0"/>
                </a:lnTo>
                <a:lnTo>
                  <a:pt x="50" y="0"/>
                </a:lnTo>
                <a:lnTo>
                  <a:pt x="47" y="0"/>
                </a:lnTo>
                <a:lnTo>
                  <a:pt x="44" y="0"/>
                </a:lnTo>
                <a:lnTo>
                  <a:pt x="44" y="0"/>
                </a:lnTo>
                <a:lnTo>
                  <a:pt x="38" y="0"/>
                </a:lnTo>
                <a:lnTo>
                  <a:pt x="35" y="0"/>
                </a:lnTo>
                <a:lnTo>
                  <a:pt x="32" y="0"/>
                </a:lnTo>
                <a:lnTo>
                  <a:pt x="28" y="3"/>
                </a:lnTo>
                <a:lnTo>
                  <a:pt x="28" y="3"/>
                </a:lnTo>
                <a:lnTo>
                  <a:pt x="25" y="3"/>
                </a:lnTo>
                <a:lnTo>
                  <a:pt x="22" y="6"/>
                </a:lnTo>
                <a:lnTo>
                  <a:pt x="19" y="10"/>
                </a:lnTo>
                <a:lnTo>
                  <a:pt x="22" y="13"/>
                </a:lnTo>
                <a:lnTo>
                  <a:pt x="19" y="13"/>
                </a:lnTo>
                <a:lnTo>
                  <a:pt x="19" y="13"/>
                </a:lnTo>
                <a:lnTo>
                  <a:pt x="22" y="19"/>
                </a:lnTo>
                <a:lnTo>
                  <a:pt x="22" y="19"/>
                </a:lnTo>
                <a:lnTo>
                  <a:pt x="22" y="22"/>
                </a:lnTo>
                <a:lnTo>
                  <a:pt x="19" y="22"/>
                </a:lnTo>
                <a:lnTo>
                  <a:pt x="16" y="25"/>
                </a:lnTo>
                <a:lnTo>
                  <a:pt x="16" y="28"/>
                </a:lnTo>
                <a:lnTo>
                  <a:pt x="13" y="31"/>
                </a:lnTo>
                <a:lnTo>
                  <a:pt x="16" y="35"/>
                </a:lnTo>
                <a:lnTo>
                  <a:pt x="19" y="35"/>
                </a:lnTo>
                <a:lnTo>
                  <a:pt x="19" y="38"/>
                </a:lnTo>
                <a:lnTo>
                  <a:pt x="16" y="41"/>
                </a:lnTo>
                <a:lnTo>
                  <a:pt x="16" y="44"/>
                </a:lnTo>
                <a:lnTo>
                  <a:pt x="16" y="47"/>
                </a:lnTo>
                <a:lnTo>
                  <a:pt x="22" y="53"/>
                </a:lnTo>
                <a:lnTo>
                  <a:pt x="22" y="56"/>
                </a:lnTo>
                <a:lnTo>
                  <a:pt x="22" y="63"/>
                </a:lnTo>
                <a:lnTo>
                  <a:pt x="22" y="66"/>
                </a:lnTo>
                <a:lnTo>
                  <a:pt x="19" y="66"/>
                </a:lnTo>
                <a:lnTo>
                  <a:pt x="16" y="69"/>
                </a:lnTo>
                <a:lnTo>
                  <a:pt x="16" y="72"/>
                </a:lnTo>
                <a:lnTo>
                  <a:pt x="19" y="75"/>
                </a:lnTo>
                <a:lnTo>
                  <a:pt x="19" y="78"/>
                </a:lnTo>
                <a:lnTo>
                  <a:pt x="16" y="78"/>
                </a:lnTo>
                <a:lnTo>
                  <a:pt x="13" y="78"/>
                </a:lnTo>
                <a:lnTo>
                  <a:pt x="13" y="81"/>
                </a:lnTo>
                <a:lnTo>
                  <a:pt x="10" y="88"/>
                </a:lnTo>
                <a:lnTo>
                  <a:pt x="10" y="91"/>
                </a:lnTo>
                <a:lnTo>
                  <a:pt x="7" y="91"/>
                </a:lnTo>
                <a:lnTo>
                  <a:pt x="3" y="94"/>
                </a:lnTo>
                <a:lnTo>
                  <a:pt x="0" y="94"/>
                </a:lnTo>
                <a:lnTo>
                  <a:pt x="0" y="97"/>
                </a:lnTo>
                <a:lnTo>
                  <a:pt x="0" y="100"/>
                </a:lnTo>
                <a:lnTo>
                  <a:pt x="0" y="103"/>
                </a:lnTo>
                <a:lnTo>
                  <a:pt x="0" y="107"/>
                </a:lnTo>
                <a:lnTo>
                  <a:pt x="0" y="110"/>
                </a:lnTo>
                <a:lnTo>
                  <a:pt x="0" y="113"/>
                </a:lnTo>
                <a:lnTo>
                  <a:pt x="0" y="113"/>
                </a:lnTo>
                <a:lnTo>
                  <a:pt x="0" y="116"/>
                </a:lnTo>
                <a:lnTo>
                  <a:pt x="0" y="116"/>
                </a:lnTo>
                <a:lnTo>
                  <a:pt x="0" y="119"/>
                </a:lnTo>
                <a:lnTo>
                  <a:pt x="0" y="128"/>
                </a:lnTo>
                <a:lnTo>
                  <a:pt x="0" y="132"/>
                </a:lnTo>
                <a:lnTo>
                  <a:pt x="0" y="135"/>
                </a:lnTo>
                <a:lnTo>
                  <a:pt x="0" y="144"/>
                </a:lnTo>
                <a:lnTo>
                  <a:pt x="0" y="147"/>
                </a:lnTo>
                <a:lnTo>
                  <a:pt x="10" y="150"/>
                </a:lnTo>
                <a:lnTo>
                  <a:pt x="16" y="147"/>
                </a:lnTo>
                <a:lnTo>
                  <a:pt x="28" y="153"/>
                </a:lnTo>
                <a:lnTo>
                  <a:pt x="38" y="163"/>
                </a:lnTo>
                <a:lnTo>
                  <a:pt x="41" y="172"/>
                </a:lnTo>
                <a:lnTo>
                  <a:pt x="41" y="178"/>
                </a:lnTo>
                <a:lnTo>
                  <a:pt x="44" y="178"/>
                </a:lnTo>
                <a:lnTo>
                  <a:pt x="47" y="188"/>
                </a:lnTo>
                <a:lnTo>
                  <a:pt x="50" y="191"/>
                </a:lnTo>
                <a:lnTo>
                  <a:pt x="60" y="194"/>
                </a:lnTo>
                <a:lnTo>
                  <a:pt x="79" y="191"/>
                </a:lnTo>
                <a:lnTo>
                  <a:pt x="82" y="191"/>
                </a:lnTo>
                <a:lnTo>
                  <a:pt x="85" y="191"/>
                </a:lnTo>
                <a:lnTo>
                  <a:pt x="94" y="188"/>
                </a:lnTo>
                <a:lnTo>
                  <a:pt x="97" y="188"/>
                </a:lnTo>
                <a:lnTo>
                  <a:pt x="100" y="188"/>
                </a:lnTo>
                <a:lnTo>
                  <a:pt x="104" y="182"/>
                </a:lnTo>
                <a:lnTo>
                  <a:pt x="107" y="185"/>
                </a:lnTo>
                <a:lnTo>
                  <a:pt x="110" y="185"/>
                </a:lnTo>
                <a:lnTo>
                  <a:pt x="110" y="185"/>
                </a:lnTo>
                <a:lnTo>
                  <a:pt x="110" y="182"/>
                </a:lnTo>
                <a:lnTo>
                  <a:pt x="113" y="175"/>
                </a:lnTo>
                <a:lnTo>
                  <a:pt x="116" y="172"/>
                </a:lnTo>
                <a:lnTo>
                  <a:pt x="116" y="166"/>
                </a:lnTo>
                <a:lnTo>
                  <a:pt x="116" y="163"/>
                </a:lnTo>
                <a:lnTo>
                  <a:pt x="116" y="163"/>
                </a:lnTo>
                <a:lnTo>
                  <a:pt x="116" y="160"/>
                </a:lnTo>
                <a:lnTo>
                  <a:pt x="119" y="157"/>
                </a:lnTo>
                <a:lnTo>
                  <a:pt x="125" y="153"/>
                </a:lnTo>
                <a:lnTo>
                  <a:pt x="125" y="150"/>
                </a:lnTo>
                <a:lnTo>
                  <a:pt x="132" y="147"/>
                </a:lnTo>
                <a:lnTo>
                  <a:pt x="132" y="144"/>
                </a:lnTo>
                <a:lnTo>
                  <a:pt x="132" y="141"/>
                </a:lnTo>
                <a:lnTo>
                  <a:pt x="138" y="141"/>
                </a:lnTo>
                <a:lnTo>
                  <a:pt x="138" y="138"/>
                </a:lnTo>
                <a:lnTo>
                  <a:pt x="138" y="138"/>
                </a:lnTo>
                <a:lnTo>
                  <a:pt x="144" y="141"/>
                </a:lnTo>
                <a:lnTo>
                  <a:pt x="147" y="141"/>
                </a:lnTo>
                <a:lnTo>
                  <a:pt x="150" y="144"/>
                </a:lnTo>
                <a:lnTo>
                  <a:pt x="154" y="147"/>
                </a:lnTo>
                <a:lnTo>
                  <a:pt x="157" y="150"/>
                </a:lnTo>
                <a:lnTo>
                  <a:pt x="157" y="150"/>
                </a:lnTo>
                <a:lnTo>
                  <a:pt x="163" y="147"/>
                </a:lnTo>
                <a:lnTo>
                  <a:pt x="166" y="144"/>
                </a:lnTo>
                <a:lnTo>
                  <a:pt x="166" y="141"/>
                </a:lnTo>
                <a:lnTo>
                  <a:pt x="166" y="138"/>
                </a:lnTo>
                <a:lnTo>
                  <a:pt x="169" y="138"/>
                </a:lnTo>
                <a:lnTo>
                  <a:pt x="172" y="135"/>
                </a:lnTo>
                <a:lnTo>
                  <a:pt x="172" y="132"/>
                </a:lnTo>
                <a:lnTo>
                  <a:pt x="172" y="128"/>
                </a:lnTo>
                <a:lnTo>
                  <a:pt x="179" y="122"/>
                </a:lnTo>
                <a:lnTo>
                  <a:pt x="179" y="119"/>
                </a:lnTo>
                <a:lnTo>
                  <a:pt x="179" y="116"/>
                </a:lnTo>
                <a:lnTo>
                  <a:pt x="182" y="113"/>
                </a:lnTo>
                <a:lnTo>
                  <a:pt x="185" y="107"/>
                </a:lnTo>
                <a:lnTo>
                  <a:pt x="191" y="103"/>
                </a:lnTo>
                <a:lnTo>
                  <a:pt x="191" y="100"/>
                </a:lnTo>
                <a:lnTo>
                  <a:pt x="191" y="97"/>
                </a:lnTo>
                <a:lnTo>
                  <a:pt x="191" y="91"/>
                </a:lnTo>
                <a:lnTo>
                  <a:pt x="194" y="88"/>
                </a:lnTo>
                <a:lnTo>
                  <a:pt x="200" y="88"/>
                </a:lnTo>
                <a:lnTo>
                  <a:pt x="204" y="81"/>
                </a:lnTo>
                <a:lnTo>
                  <a:pt x="204" y="78"/>
                </a:lnTo>
                <a:lnTo>
                  <a:pt x="204" y="72"/>
                </a:lnTo>
                <a:lnTo>
                  <a:pt x="204" y="69"/>
                </a:lnTo>
                <a:lnTo>
                  <a:pt x="204" y="66"/>
                </a:lnTo>
                <a:lnTo>
                  <a:pt x="207" y="60"/>
                </a:lnTo>
                <a:lnTo>
                  <a:pt x="210" y="56"/>
                </a:lnTo>
                <a:lnTo>
                  <a:pt x="210" y="56"/>
                </a:lnTo>
                <a:lnTo>
                  <a:pt x="213" y="53"/>
                </a:lnTo>
                <a:lnTo>
                  <a:pt x="216" y="53"/>
                </a:lnTo>
                <a:lnTo>
                  <a:pt x="219" y="50"/>
                </a:lnTo>
                <a:lnTo>
                  <a:pt x="222" y="47"/>
                </a:lnTo>
                <a:lnTo>
                  <a:pt x="225" y="47"/>
                </a:lnTo>
                <a:lnTo>
                  <a:pt x="222" y="41"/>
                </a:lnTo>
                <a:lnTo>
                  <a:pt x="222" y="38"/>
                </a:lnTo>
                <a:lnTo>
                  <a:pt x="222" y="35"/>
                </a:lnTo>
                <a:lnTo>
                  <a:pt x="219" y="35"/>
                </a:lnTo>
                <a:lnTo>
                  <a:pt x="216" y="31"/>
                </a:lnTo>
                <a:lnTo>
                  <a:pt x="216" y="25"/>
                </a:lnTo>
                <a:lnTo>
                  <a:pt x="216" y="22"/>
                </a:lnTo>
                <a:lnTo>
                  <a:pt x="213" y="16"/>
                </a:lnTo>
                <a:lnTo>
                  <a:pt x="213" y="16"/>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5" name="Freeform 133">
            <a:extLst>
              <a:ext uri="{FF2B5EF4-FFF2-40B4-BE49-F238E27FC236}">
                <a16:creationId xmlns:a16="http://schemas.microsoft.com/office/drawing/2014/main" id="{68D6163C-0D54-0E2F-2FAB-5AFDAEABC7D5}"/>
              </a:ext>
            </a:extLst>
          </p:cNvPr>
          <p:cNvSpPr>
            <a:spLocks/>
          </p:cNvSpPr>
          <p:nvPr userDrawn="1"/>
        </p:nvSpPr>
        <p:spPr bwMode="auto">
          <a:xfrm>
            <a:off x="13565894" y="9356013"/>
            <a:ext cx="19049" cy="19050"/>
          </a:xfrm>
          <a:custGeom>
            <a:avLst/>
            <a:gdLst>
              <a:gd name="T0" fmla="*/ 0 w 6"/>
              <a:gd name="T1" fmla="*/ 6 h 6"/>
              <a:gd name="T2" fmla="*/ 0 w 6"/>
              <a:gd name="T3" fmla="*/ 3 h 6"/>
              <a:gd name="T4" fmla="*/ 3 w 6"/>
              <a:gd name="T5" fmla="*/ 0 h 6"/>
              <a:gd name="T6" fmla="*/ 6 w 6"/>
              <a:gd name="T7" fmla="*/ 3 h 6"/>
              <a:gd name="T8" fmla="*/ 3 w 6"/>
              <a:gd name="T9" fmla="*/ 6 h 6"/>
              <a:gd name="T10" fmla="*/ 3 w 6"/>
              <a:gd name="T11" fmla="*/ 6 h 6"/>
              <a:gd name="T12" fmla="*/ 0 w 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0" y="6"/>
                </a:moveTo>
                <a:lnTo>
                  <a:pt x="0" y="3"/>
                </a:lnTo>
                <a:lnTo>
                  <a:pt x="3" y="0"/>
                </a:lnTo>
                <a:lnTo>
                  <a:pt x="6" y="3"/>
                </a:lnTo>
                <a:lnTo>
                  <a:pt x="3" y="6"/>
                </a:lnTo>
                <a:lnTo>
                  <a:pt x="3" y="6"/>
                </a:lnTo>
                <a:lnTo>
                  <a:pt x="0" y="6"/>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6" name="Freeform 134">
            <a:extLst>
              <a:ext uri="{FF2B5EF4-FFF2-40B4-BE49-F238E27FC236}">
                <a16:creationId xmlns:a16="http://schemas.microsoft.com/office/drawing/2014/main" id="{87E5841B-3162-DD42-A2CB-B9D2A1014310}"/>
              </a:ext>
            </a:extLst>
          </p:cNvPr>
          <p:cNvSpPr>
            <a:spLocks/>
          </p:cNvSpPr>
          <p:nvPr userDrawn="1"/>
        </p:nvSpPr>
        <p:spPr bwMode="auto">
          <a:xfrm>
            <a:off x="13686531" y="9136930"/>
            <a:ext cx="28574" cy="50800"/>
          </a:xfrm>
          <a:custGeom>
            <a:avLst/>
            <a:gdLst>
              <a:gd name="T0" fmla="*/ 0 w 9"/>
              <a:gd name="T1" fmla="*/ 13 h 16"/>
              <a:gd name="T2" fmla="*/ 0 w 9"/>
              <a:gd name="T3" fmla="*/ 10 h 16"/>
              <a:gd name="T4" fmla="*/ 3 w 9"/>
              <a:gd name="T5" fmla="*/ 10 h 16"/>
              <a:gd name="T6" fmla="*/ 3 w 9"/>
              <a:gd name="T7" fmla="*/ 3 h 16"/>
              <a:gd name="T8" fmla="*/ 9 w 9"/>
              <a:gd name="T9" fmla="*/ 0 h 16"/>
              <a:gd name="T10" fmla="*/ 9 w 9"/>
              <a:gd name="T11" fmla="*/ 0 h 16"/>
              <a:gd name="T12" fmla="*/ 9 w 9"/>
              <a:gd name="T13" fmla="*/ 7 h 16"/>
              <a:gd name="T14" fmla="*/ 6 w 9"/>
              <a:gd name="T15" fmla="*/ 16 h 16"/>
              <a:gd name="T16" fmla="*/ 3 w 9"/>
              <a:gd name="T17" fmla="*/ 13 h 16"/>
              <a:gd name="T18" fmla="*/ 0 w 9"/>
              <a:gd name="T19"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6">
                <a:moveTo>
                  <a:pt x="0" y="13"/>
                </a:moveTo>
                <a:lnTo>
                  <a:pt x="0" y="10"/>
                </a:lnTo>
                <a:lnTo>
                  <a:pt x="3" y="10"/>
                </a:lnTo>
                <a:lnTo>
                  <a:pt x="3" y="3"/>
                </a:lnTo>
                <a:lnTo>
                  <a:pt x="9" y="0"/>
                </a:lnTo>
                <a:lnTo>
                  <a:pt x="9" y="0"/>
                </a:lnTo>
                <a:lnTo>
                  <a:pt x="9" y="7"/>
                </a:lnTo>
                <a:lnTo>
                  <a:pt x="6" y="16"/>
                </a:lnTo>
                <a:lnTo>
                  <a:pt x="3" y="13"/>
                </a:lnTo>
                <a:lnTo>
                  <a:pt x="0" y="13"/>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7" name="Freeform 135">
            <a:extLst>
              <a:ext uri="{FF2B5EF4-FFF2-40B4-BE49-F238E27FC236}">
                <a16:creationId xmlns:a16="http://schemas.microsoft.com/office/drawing/2014/main" id="{BDEEEF07-47B2-25A7-7546-DAE48128F2D7}"/>
              </a:ext>
            </a:extLst>
          </p:cNvPr>
          <p:cNvSpPr>
            <a:spLocks/>
          </p:cNvSpPr>
          <p:nvPr userDrawn="1"/>
        </p:nvSpPr>
        <p:spPr bwMode="auto">
          <a:xfrm>
            <a:off x="13705585" y="8552732"/>
            <a:ext cx="466696" cy="714376"/>
          </a:xfrm>
          <a:custGeom>
            <a:avLst/>
            <a:gdLst>
              <a:gd name="T0" fmla="*/ 3 w 147"/>
              <a:gd name="T1" fmla="*/ 159 h 225"/>
              <a:gd name="T2" fmla="*/ 6 w 147"/>
              <a:gd name="T3" fmla="*/ 147 h 225"/>
              <a:gd name="T4" fmla="*/ 9 w 147"/>
              <a:gd name="T5" fmla="*/ 141 h 225"/>
              <a:gd name="T6" fmla="*/ 22 w 147"/>
              <a:gd name="T7" fmla="*/ 131 h 225"/>
              <a:gd name="T8" fmla="*/ 28 w 147"/>
              <a:gd name="T9" fmla="*/ 125 h 225"/>
              <a:gd name="T10" fmla="*/ 34 w 147"/>
              <a:gd name="T11" fmla="*/ 125 h 225"/>
              <a:gd name="T12" fmla="*/ 44 w 147"/>
              <a:gd name="T13" fmla="*/ 131 h 225"/>
              <a:gd name="T14" fmla="*/ 53 w 147"/>
              <a:gd name="T15" fmla="*/ 131 h 225"/>
              <a:gd name="T16" fmla="*/ 56 w 147"/>
              <a:gd name="T17" fmla="*/ 122 h 225"/>
              <a:gd name="T18" fmla="*/ 62 w 147"/>
              <a:gd name="T19" fmla="*/ 116 h 225"/>
              <a:gd name="T20" fmla="*/ 69 w 147"/>
              <a:gd name="T21" fmla="*/ 103 h 225"/>
              <a:gd name="T22" fmla="*/ 75 w 147"/>
              <a:gd name="T23" fmla="*/ 91 h 225"/>
              <a:gd name="T24" fmla="*/ 81 w 147"/>
              <a:gd name="T25" fmla="*/ 81 h 225"/>
              <a:gd name="T26" fmla="*/ 90 w 147"/>
              <a:gd name="T27" fmla="*/ 72 h 225"/>
              <a:gd name="T28" fmla="*/ 94 w 147"/>
              <a:gd name="T29" fmla="*/ 56 h 225"/>
              <a:gd name="T30" fmla="*/ 97 w 147"/>
              <a:gd name="T31" fmla="*/ 44 h 225"/>
              <a:gd name="T32" fmla="*/ 103 w 147"/>
              <a:gd name="T33" fmla="*/ 37 h 225"/>
              <a:gd name="T34" fmla="*/ 112 w 147"/>
              <a:gd name="T35" fmla="*/ 31 h 225"/>
              <a:gd name="T36" fmla="*/ 112 w 147"/>
              <a:gd name="T37" fmla="*/ 22 h 225"/>
              <a:gd name="T38" fmla="*/ 106 w 147"/>
              <a:gd name="T39" fmla="*/ 15 h 225"/>
              <a:gd name="T40" fmla="*/ 103 w 147"/>
              <a:gd name="T41" fmla="*/ 0 h 225"/>
              <a:gd name="T42" fmla="*/ 119 w 147"/>
              <a:gd name="T43" fmla="*/ 15 h 225"/>
              <a:gd name="T44" fmla="*/ 125 w 147"/>
              <a:gd name="T45" fmla="*/ 25 h 225"/>
              <a:gd name="T46" fmla="*/ 122 w 147"/>
              <a:gd name="T47" fmla="*/ 34 h 225"/>
              <a:gd name="T48" fmla="*/ 122 w 147"/>
              <a:gd name="T49" fmla="*/ 44 h 225"/>
              <a:gd name="T50" fmla="*/ 128 w 147"/>
              <a:gd name="T51" fmla="*/ 53 h 225"/>
              <a:gd name="T52" fmla="*/ 134 w 147"/>
              <a:gd name="T53" fmla="*/ 62 h 225"/>
              <a:gd name="T54" fmla="*/ 128 w 147"/>
              <a:gd name="T55" fmla="*/ 62 h 225"/>
              <a:gd name="T56" fmla="*/ 119 w 147"/>
              <a:gd name="T57" fmla="*/ 62 h 225"/>
              <a:gd name="T58" fmla="*/ 109 w 147"/>
              <a:gd name="T59" fmla="*/ 62 h 225"/>
              <a:gd name="T60" fmla="*/ 106 w 147"/>
              <a:gd name="T61" fmla="*/ 65 h 225"/>
              <a:gd name="T62" fmla="*/ 109 w 147"/>
              <a:gd name="T63" fmla="*/ 75 h 225"/>
              <a:gd name="T64" fmla="*/ 119 w 147"/>
              <a:gd name="T65" fmla="*/ 84 h 225"/>
              <a:gd name="T66" fmla="*/ 134 w 147"/>
              <a:gd name="T67" fmla="*/ 100 h 225"/>
              <a:gd name="T68" fmla="*/ 134 w 147"/>
              <a:gd name="T69" fmla="*/ 112 h 225"/>
              <a:gd name="T70" fmla="*/ 125 w 147"/>
              <a:gd name="T71" fmla="*/ 125 h 225"/>
              <a:gd name="T72" fmla="*/ 115 w 147"/>
              <a:gd name="T73" fmla="*/ 137 h 225"/>
              <a:gd name="T74" fmla="*/ 115 w 147"/>
              <a:gd name="T75" fmla="*/ 150 h 225"/>
              <a:gd name="T76" fmla="*/ 119 w 147"/>
              <a:gd name="T77" fmla="*/ 162 h 225"/>
              <a:gd name="T78" fmla="*/ 125 w 147"/>
              <a:gd name="T79" fmla="*/ 175 h 225"/>
              <a:gd name="T80" fmla="*/ 134 w 147"/>
              <a:gd name="T81" fmla="*/ 191 h 225"/>
              <a:gd name="T82" fmla="*/ 147 w 147"/>
              <a:gd name="T83" fmla="*/ 203 h 225"/>
              <a:gd name="T84" fmla="*/ 147 w 147"/>
              <a:gd name="T85" fmla="*/ 213 h 225"/>
              <a:gd name="T86" fmla="*/ 147 w 147"/>
              <a:gd name="T87" fmla="*/ 216 h 225"/>
              <a:gd name="T88" fmla="*/ 144 w 147"/>
              <a:gd name="T89" fmla="*/ 225 h 225"/>
              <a:gd name="T90" fmla="*/ 140 w 147"/>
              <a:gd name="T91" fmla="*/ 225 h 225"/>
              <a:gd name="T92" fmla="*/ 137 w 147"/>
              <a:gd name="T93" fmla="*/ 225 h 225"/>
              <a:gd name="T94" fmla="*/ 128 w 147"/>
              <a:gd name="T95" fmla="*/ 222 h 225"/>
              <a:gd name="T96" fmla="*/ 125 w 147"/>
              <a:gd name="T97" fmla="*/ 222 h 225"/>
              <a:gd name="T98" fmla="*/ 119 w 147"/>
              <a:gd name="T99" fmla="*/ 222 h 225"/>
              <a:gd name="T100" fmla="*/ 115 w 147"/>
              <a:gd name="T101" fmla="*/ 222 h 225"/>
              <a:gd name="T102" fmla="*/ 84 w 147"/>
              <a:gd name="T103" fmla="*/ 219 h 225"/>
              <a:gd name="T104" fmla="*/ 78 w 147"/>
              <a:gd name="T105" fmla="*/ 219 h 225"/>
              <a:gd name="T106" fmla="*/ 72 w 147"/>
              <a:gd name="T107" fmla="*/ 219 h 225"/>
              <a:gd name="T108" fmla="*/ 62 w 147"/>
              <a:gd name="T109" fmla="*/ 216 h 225"/>
              <a:gd name="T110" fmla="*/ 53 w 147"/>
              <a:gd name="T111" fmla="*/ 219 h 225"/>
              <a:gd name="T112" fmla="*/ 50 w 147"/>
              <a:gd name="T113" fmla="*/ 219 h 225"/>
              <a:gd name="T114" fmla="*/ 25 w 147"/>
              <a:gd name="T115" fmla="*/ 219 h 225"/>
              <a:gd name="T116" fmla="*/ 22 w 147"/>
              <a:gd name="T117" fmla="*/ 213 h 225"/>
              <a:gd name="T118" fmla="*/ 19 w 147"/>
              <a:gd name="T119" fmla="*/ 194 h 225"/>
              <a:gd name="T120" fmla="*/ 19 w 147"/>
              <a:gd name="T121" fmla="*/ 181 h 225"/>
              <a:gd name="T122" fmla="*/ 6 w 147"/>
              <a:gd name="T123" fmla="*/ 181 h 225"/>
              <a:gd name="T124" fmla="*/ 0 w 147"/>
              <a:gd name="T125" fmla="*/ 169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7" h="225">
                <a:moveTo>
                  <a:pt x="0" y="169"/>
                </a:moveTo>
                <a:lnTo>
                  <a:pt x="0" y="166"/>
                </a:lnTo>
                <a:lnTo>
                  <a:pt x="3" y="159"/>
                </a:lnTo>
                <a:lnTo>
                  <a:pt x="6" y="156"/>
                </a:lnTo>
                <a:lnTo>
                  <a:pt x="6" y="150"/>
                </a:lnTo>
                <a:lnTo>
                  <a:pt x="6" y="147"/>
                </a:lnTo>
                <a:lnTo>
                  <a:pt x="6" y="147"/>
                </a:lnTo>
                <a:lnTo>
                  <a:pt x="6" y="144"/>
                </a:lnTo>
                <a:lnTo>
                  <a:pt x="9" y="141"/>
                </a:lnTo>
                <a:lnTo>
                  <a:pt x="15" y="137"/>
                </a:lnTo>
                <a:lnTo>
                  <a:pt x="15" y="134"/>
                </a:lnTo>
                <a:lnTo>
                  <a:pt x="22" y="131"/>
                </a:lnTo>
                <a:lnTo>
                  <a:pt x="22" y="128"/>
                </a:lnTo>
                <a:lnTo>
                  <a:pt x="22" y="125"/>
                </a:lnTo>
                <a:lnTo>
                  <a:pt x="28" y="125"/>
                </a:lnTo>
                <a:lnTo>
                  <a:pt x="28" y="122"/>
                </a:lnTo>
                <a:lnTo>
                  <a:pt x="28" y="122"/>
                </a:lnTo>
                <a:lnTo>
                  <a:pt x="34" y="125"/>
                </a:lnTo>
                <a:lnTo>
                  <a:pt x="37" y="125"/>
                </a:lnTo>
                <a:lnTo>
                  <a:pt x="40" y="128"/>
                </a:lnTo>
                <a:lnTo>
                  <a:pt x="44" y="131"/>
                </a:lnTo>
                <a:lnTo>
                  <a:pt x="47" y="134"/>
                </a:lnTo>
                <a:lnTo>
                  <a:pt x="47" y="134"/>
                </a:lnTo>
                <a:lnTo>
                  <a:pt x="53" y="131"/>
                </a:lnTo>
                <a:lnTo>
                  <a:pt x="56" y="128"/>
                </a:lnTo>
                <a:lnTo>
                  <a:pt x="56" y="125"/>
                </a:lnTo>
                <a:lnTo>
                  <a:pt x="56" y="122"/>
                </a:lnTo>
                <a:lnTo>
                  <a:pt x="59" y="122"/>
                </a:lnTo>
                <a:lnTo>
                  <a:pt x="62" y="119"/>
                </a:lnTo>
                <a:lnTo>
                  <a:pt x="62" y="116"/>
                </a:lnTo>
                <a:lnTo>
                  <a:pt x="62" y="112"/>
                </a:lnTo>
                <a:lnTo>
                  <a:pt x="69" y="106"/>
                </a:lnTo>
                <a:lnTo>
                  <a:pt x="69" y="103"/>
                </a:lnTo>
                <a:lnTo>
                  <a:pt x="69" y="100"/>
                </a:lnTo>
                <a:lnTo>
                  <a:pt x="72" y="97"/>
                </a:lnTo>
                <a:lnTo>
                  <a:pt x="75" y="91"/>
                </a:lnTo>
                <a:lnTo>
                  <a:pt x="81" y="87"/>
                </a:lnTo>
                <a:lnTo>
                  <a:pt x="81" y="84"/>
                </a:lnTo>
                <a:lnTo>
                  <a:pt x="81" y="81"/>
                </a:lnTo>
                <a:lnTo>
                  <a:pt x="81" y="75"/>
                </a:lnTo>
                <a:lnTo>
                  <a:pt x="84" y="72"/>
                </a:lnTo>
                <a:lnTo>
                  <a:pt x="90" y="72"/>
                </a:lnTo>
                <a:lnTo>
                  <a:pt x="94" y="65"/>
                </a:lnTo>
                <a:lnTo>
                  <a:pt x="94" y="62"/>
                </a:lnTo>
                <a:lnTo>
                  <a:pt x="94" y="56"/>
                </a:lnTo>
                <a:lnTo>
                  <a:pt x="94" y="53"/>
                </a:lnTo>
                <a:lnTo>
                  <a:pt x="94" y="50"/>
                </a:lnTo>
                <a:lnTo>
                  <a:pt x="97" y="44"/>
                </a:lnTo>
                <a:lnTo>
                  <a:pt x="100" y="40"/>
                </a:lnTo>
                <a:lnTo>
                  <a:pt x="100" y="40"/>
                </a:lnTo>
                <a:lnTo>
                  <a:pt x="103" y="37"/>
                </a:lnTo>
                <a:lnTo>
                  <a:pt x="106" y="37"/>
                </a:lnTo>
                <a:lnTo>
                  <a:pt x="109" y="34"/>
                </a:lnTo>
                <a:lnTo>
                  <a:pt x="112" y="31"/>
                </a:lnTo>
                <a:lnTo>
                  <a:pt x="115" y="31"/>
                </a:lnTo>
                <a:lnTo>
                  <a:pt x="112" y="25"/>
                </a:lnTo>
                <a:lnTo>
                  <a:pt x="112" y="22"/>
                </a:lnTo>
                <a:lnTo>
                  <a:pt x="112" y="19"/>
                </a:lnTo>
                <a:lnTo>
                  <a:pt x="109" y="19"/>
                </a:lnTo>
                <a:lnTo>
                  <a:pt x="106" y="15"/>
                </a:lnTo>
                <a:lnTo>
                  <a:pt x="106" y="9"/>
                </a:lnTo>
                <a:lnTo>
                  <a:pt x="106" y="6"/>
                </a:lnTo>
                <a:lnTo>
                  <a:pt x="103" y="0"/>
                </a:lnTo>
                <a:lnTo>
                  <a:pt x="112" y="6"/>
                </a:lnTo>
                <a:lnTo>
                  <a:pt x="119" y="9"/>
                </a:lnTo>
                <a:lnTo>
                  <a:pt x="119" y="15"/>
                </a:lnTo>
                <a:lnTo>
                  <a:pt x="122" y="19"/>
                </a:lnTo>
                <a:lnTo>
                  <a:pt x="122" y="22"/>
                </a:lnTo>
                <a:lnTo>
                  <a:pt x="125" y="25"/>
                </a:lnTo>
                <a:lnTo>
                  <a:pt x="125" y="28"/>
                </a:lnTo>
                <a:lnTo>
                  <a:pt x="122" y="31"/>
                </a:lnTo>
                <a:lnTo>
                  <a:pt x="122" y="34"/>
                </a:lnTo>
                <a:lnTo>
                  <a:pt x="125" y="34"/>
                </a:lnTo>
                <a:lnTo>
                  <a:pt x="125" y="40"/>
                </a:lnTo>
                <a:lnTo>
                  <a:pt x="122" y="44"/>
                </a:lnTo>
                <a:lnTo>
                  <a:pt x="122" y="47"/>
                </a:lnTo>
                <a:lnTo>
                  <a:pt x="125" y="53"/>
                </a:lnTo>
                <a:lnTo>
                  <a:pt x="128" y="53"/>
                </a:lnTo>
                <a:lnTo>
                  <a:pt x="128" y="56"/>
                </a:lnTo>
                <a:lnTo>
                  <a:pt x="134" y="62"/>
                </a:lnTo>
                <a:lnTo>
                  <a:pt x="134" y="62"/>
                </a:lnTo>
                <a:lnTo>
                  <a:pt x="134" y="62"/>
                </a:lnTo>
                <a:lnTo>
                  <a:pt x="131" y="62"/>
                </a:lnTo>
                <a:lnTo>
                  <a:pt x="128" y="62"/>
                </a:lnTo>
                <a:lnTo>
                  <a:pt x="125" y="62"/>
                </a:lnTo>
                <a:lnTo>
                  <a:pt x="122" y="62"/>
                </a:lnTo>
                <a:lnTo>
                  <a:pt x="119" y="62"/>
                </a:lnTo>
                <a:lnTo>
                  <a:pt x="115" y="62"/>
                </a:lnTo>
                <a:lnTo>
                  <a:pt x="112" y="62"/>
                </a:lnTo>
                <a:lnTo>
                  <a:pt x="109" y="62"/>
                </a:lnTo>
                <a:lnTo>
                  <a:pt x="106" y="62"/>
                </a:lnTo>
                <a:lnTo>
                  <a:pt x="106" y="65"/>
                </a:lnTo>
                <a:lnTo>
                  <a:pt x="106" y="65"/>
                </a:lnTo>
                <a:lnTo>
                  <a:pt x="106" y="72"/>
                </a:lnTo>
                <a:lnTo>
                  <a:pt x="106" y="72"/>
                </a:lnTo>
                <a:lnTo>
                  <a:pt x="109" y="75"/>
                </a:lnTo>
                <a:lnTo>
                  <a:pt x="109" y="75"/>
                </a:lnTo>
                <a:lnTo>
                  <a:pt x="112" y="78"/>
                </a:lnTo>
                <a:lnTo>
                  <a:pt x="119" y="84"/>
                </a:lnTo>
                <a:lnTo>
                  <a:pt x="128" y="91"/>
                </a:lnTo>
                <a:lnTo>
                  <a:pt x="131" y="94"/>
                </a:lnTo>
                <a:lnTo>
                  <a:pt x="134" y="100"/>
                </a:lnTo>
                <a:lnTo>
                  <a:pt x="137" y="103"/>
                </a:lnTo>
                <a:lnTo>
                  <a:pt x="137" y="109"/>
                </a:lnTo>
                <a:lnTo>
                  <a:pt x="134" y="112"/>
                </a:lnTo>
                <a:lnTo>
                  <a:pt x="131" y="116"/>
                </a:lnTo>
                <a:lnTo>
                  <a:pt x="128" y="119"/>
                </a:lnTo>
                <a:lnTo>
                  <a:pt x="125" y="125"/>
                </a:lnTo>
                <a:lnTo>
                  <a:pt x="122" y="131"/>
                </a:lnTo>
                <a:lnTo>
                  <a:pt x="119" y="134"/>
                </a:lnTo>
                <a:lnTo>
                  <a:pt x="115" y="137"/>
                </a:lnTo>
                <a:lnTo>
                  <a:pt x="115" y="141"/>
                </a:lnTo>
                <a:lnTo>
                  <a:pt x="115" y="144"/>
                </a:lnTo>
                <a:lnTo>
                  <a:pt x="115" y="150"/>
                </a:lnTo>
                <a:lnTo>
                  <a:pt x="115" y="153"/>
                </a:lnTo>
                <a:lnTo>
                  <a:pt x="119" y="159"/>
                </a:lnTo>
                <a:lnTo>
                  <a:pt x="119" y="162"/>
                </a:lnTo>
                <a:lnTo>
                  <a:pt x="119" y="172"/>
                </a:lnTo>
                <a:lnTo>
                  <a:pt x="119" y="172"/>
                </a:lnTo>
                <a:lnTo>
                  <a:pt x="125" y="175"/>
                </a:lnTo>
                <a:lnTo>
                  <a:pt x="128" y="178"/>
                </a:lnTo>
                <a:lnTo>
                  <a:pt x="131" y="184"/>
                </a:lnTo>
                <a:lnTo>
                  <a:pt x="134" y="191"/>
                </a:lnTo>
                <a:lnTo>
                  <a:pt x="137" y="197"/>
                </a:lnTo>
                <a:lnTo>
                  <a:pt x="140" y="197"/>
                </a:lnTo>
                <a:lnTo>
                  <a:pt x="147" y="203"/>
                </a:lnTo>
                <a:lnTo>
                  <a:pt x="147" y="206"/>
                </a:lnTo>
                <a:lnTo>
                  <a:pt x="147" y="209"/>
                </a:lnTo>
                <a:lnTo>
                  <a:pt x="147" y="213"/>
                </a:lnTo>
                <a:lnTo>
                  <a:pt x="147" y="213"/>
                </a:lnTo>
                <a:lnTo>
                  <a:pt x="147" y="213"/>
                </a:lnTo>
                <a:lnTo>
                  <a:pt x="147" y="216"/>
                </a:lnTo>
                <a:lnTo>
                  <a:pt x="144" y="219"/>
                </a:lnTo>
                <a:lnTo>
                  <a:pt x="144" y="219"/>
                </a:lnTo>
                <a:lnTo>
                  <a:pt x="144" y="225"/>
                </a:lnTo>
                <a:lnTo>
                  <a:pt x="144" y="225"/>
                </a:lnTo>
                <a:lnTo>
                  <a:pt x="144" y="225"/>
                </a:lnTo>
                <a:lnTo>
                  <a:pt x="140" y="225"/>
                </a:lnTo>
                <a:lnTo>
                  <a:pt x="140" y="225"/>
                </a:lnTo>
                <a:lnTo>
                  <a:pt x="137" y="225"/>
                </a:lnTo>
                <a:lnTo>
                  <a:pt x="137" y="225"/>
                </a:lnTo>
                <a:lnTo>
                  <a:pt x="134" y="225"/>
                </a:lnTo>
                <a:lnTo>
                  <a:pt x="131" y="225"/>
                </a:lnTo>
                <a:lnTo>
                  <a:pt x="128" y="222"/>
                </a:lnTo>
                <a:lnTo>
                  <a:pt x="128" y="222"/>
                </a:lnTo>
                <a:lnTo>
                  <a:pt x="125" y="222"/>
                </a:lnTo>
                <a:lnTo>
                  <a:pt x="125" y="222"/>
                </a:lnTo>
                <a:lnTo>
                  <a:pt x="122" y="222"/>
                </a:lnTo>
                <a:lnTo>
                  <a:pt x="122" y="222"/>
                </a:lnTo>
                <a:lnTo>
                  <a:pt x="119" y="222"/>
                </a:lnTo>
                <a:lnTo>
                  <a:pt x="115" y="219"/>
                </a:lnTo>
                <a:lnTo>
                  <a:pt x="115" y="219"/>
                </a:lnTo>
                <a:lnTo>
                  <a:pt x="115" y="222"/>
                </a:lnTo>
                <a:lnTo>
                  <a:pt x="112" y="219"/>
                </a:lnTo>
                <a:lnTo>
                  <a:pt x="87" y="219"/>
                </a:lnTo>
                <a:lnTo>
                  <a:pt x="84" y="219"/>
                </a:lnTo>
                <a:lnTo>
                  <a:pt x="84" y="219"/>
                </a:lnTo>
                <a:lnTo>
                  <a:pt x="84" y="219"/>
                </a:lnTo>
                <a:lnTo>
                  <a:pt x="78" y="219"/>
                </a:lnTo>
                <a:lnTo>
                  <a:pt x="78" y="216"/>
                </a:lnTo>
                <a:lnTo>
                  <a:pt x="75" y="216"/>
                </a:lnTo>
                <a:lnTo>
                  <a:pt x="72" y="219"/>
                </a:lnTo>
                <a:lnTo>
                  <a:pt x="69" y="216"/>
                </a:lnTo>
                <a:lnTo>
                  <a:pt x="62" y="216"/>
                </a:lnTo>
                <a:lnTo>
                  <a:pt x="62" y="216"/>
                </a:lnTo>
                <a:lnTo>
                  <a:pt x="56" y="216"/>
                </a:lnTo>
                <a:lnTo>
                  <a:pt x="56" y="219"/>
                </a:lnTo>
                <a:lnTo>
                  <a:pt x="53" y="219"/>
                </a:lnTo>
                <a:lnTo>
                  <a:pt x="50" y="219"/>
                </a:lnTo>
                <a:lnTo>
                  <a:pt x="50" y="219"/>
                </a:lnTo>
                <a:lnTo>
                  <a:pt x="50" y="219"/>
                </a:lnTo>
                <a:lnTo>
                  <a:pt x="28" y="219"/>
                </a:lnTo>
                <a:lnTo>
                  <a:pt x="25" y="219"/>
                </a:lnTo>
                <a:lnTo>
                  <a:pt x="25" y="219"/>
                </a:lnTo>
                <a:lnTo>
                  <a:pt x="22" y="219"/>
                </a:lnTo>
                <a:lnTo>
                  <a:pt x="25" y="216"/>
                </a:lnTo>
                <a:lnTo>
                  <a:pt x="22" y="213"/>
                </a:lnTo>
                <a:lnTo>
                  <a:pt x="25" y="206"/>
                </a:lnTo>
                <a:lnTo>
                  <a:pt x="22" y="200"/>
                </a:lnTo>
                <a:lnTo>
                  <a:pt x="19" y="194"/>
                </a:lnTo>
                <a:lnTo>
                  <a:pt x="19" y="187"/>
                </a:lnTo>
                <a:lnTo>
                  <a:pt x="22" y="184"/>
                </a:lnTo>
                <a:lnTo>
                  <a:pt x="19" y="181"/>
                </a:lnTo>
                <a:lnTo>
                  <a:pt x="12" y="184"/>
                </a:lnTo>
                <a:lnTo>
                  <a:pt x="9" y="181"/>
                </a:lnTo>
                <a:lnTo>
                  <a:pt x="6" y="181"/>
                </a:lnTo>
                <a:lnTo>
                  <a:pt x="6" y="169"/>
                </a:lnTo>
                <a:lnTo>
                  <a:pt x="3" y="172"/>
                </a:lnTo>
                <a:lnTo>
                  <a:pt x="0" y="169"/>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8" name="Freeform 136">
            <a:extLst>
              <a:ext uri="{FF2B5EF4-FFF2-40B4-BE49-F238E27FC236}">
                <a16:creationId xmlns:a16="http://schemas.microsoft.com/office/drawing/2014/main" id="{5750FE4B-144F-4393-8D4B-31B30F8722CB}"/>
              </a:ext>
            </a:extLst>
          </p:cNvPr>
          <p:cNvSpPr>
            <a:spLocks/>
          </p:cNvSpPr>
          <p:nvPr userDrawn="1"/>
        </p:nvSpPr>
        <p:spPr bwMode="auto">
          <a:xfrm>
            <a:off x="13705578" y="9238537"/>
            <a:ext cx="355577" cy="387350"/>
          </a:xfrm>
          <a:custGeom>
            <a:avLst/>
            <a:gdLst>
              <a:gd name="T0" fmla="*/ 50 w 112"/>
              <a:gd name="T1" fmla="*/ 3 h 122"/>
              <a:gd name="T2" fmla="*/ 56 w 112"/>
              <a:gd name="T3" fmla="*/ 3 h 122"/>
              <a:gd name="T4" fmla="*/ 62 w 112"/>
              <a:gd name="T5" fmla="*/ 0 h 122"/>
              <a:gd name="T6" fmla="*/ 69 w 112"/>
              <a:gd name="T7" fmla="*/ 0 h 122"/>
              <a:gd name="T8" fmla="*/ 75 w 112"/>
              <a:gd name="T9" fmla="*/ 0 h 122"/>
              <a:gd name="T10" fmla="*/ 78 w 112"/>
              <a:gd name="T11" fmla="*/ 3 h 122"/>
              <a:gd name="T12" fmla="*/ 84 w 112"/>
              <a:gd name="T13" fmla="*/ 3 h 122"/>
              <a:gd name="T14" fmla="*/ 87 w 112"/>
              <a:gd name="T15" fmla="*/ 3 h 122"/>
              <a:gd name="T16" fmla="*/ 84 w 112"/>
              <a:gd name="T17" fmla="*/ 6 h 122"/>
              <a:gd name="T18" fmla="*/ 87 w 112"/>
              <a:gd name="T19" fmla="*/ 15 h 122"/>
              <a:gd name="T20" fmla="*/ 87 w 112"/>
              <a:gd name="T21" fmla="*/ 22 h 122"/>
              <a:gd name="T22" fmla="*/ 90 w 112"/>
              <a:gd name="T23" fmla="*/ 22 h 122"/>
              <a:gd name="T24" fmla="*/ 100 w 112"/>
              <a:gd name="T25" fmla="*/ 22 h 122"/>
              <a:gd name="T26" fmla="*/ 109 w 112"/>
              <a:gd name="T27" fmla="*/ 18 h 122"/>
              <a:gd name="T28" fmla="*/ 112 w 112"/>
              <a:gd name="T29" fmla="*/ 25 h 122"/>
              <a:gd name="T30" fmla="*/ 112 w 112"/>
              <a:gd name="T31" fmla="*/ 31 h 122"/>
              <a:gd name="T32" fmla="*/ 109 w 112"/>
              <a:gd name="T33" fmla="*/ 34 h 122"/>
              <a:gd name="T34" fmla="*/ 103 w 112"/>
              <a:gd name="T35" fmla="*/ 40 h 122"/>
              <a:gd name="T36" fmla="*/ 106 w 112"/>
              <a:gd name="T37" fmla="*/ 43 h 122"/>
              <a:gd name="T38" fmla="*/ 103 w 112"/>
              <a:gd name="T39" fmla="*/ 47 h 122"/>
              <a:gd name="T40" fmla="*/ 100 w 112"/>
              <a:gd name="T41" fmla="*/ 47 h 122"/>
              <a:gd name="T42" fmla="*/ 103 w 112"/>
              <a:gd name="T43" fmla="*/ 50 h 122"/>
              <a:gd name="T44" fmla="*/ 106 w 112"/>
              <a:gd name="T45" fmla="*/ 53 h 122"/>
              <a:gd name="T46" fmla="*/ 109 w 112"/>
              <a:gd name="T47" fmla="*/ 59 h 122"/>
              <a:gd name="T48" fmla="*/ 112 w 112"/>
              <a:gd name="T49" fmla="*/ 65 h 122"/>
              <a:gd name="T50" fmla="*/ 106 w 112"/>
              <a:gd name="T51" fmla="*/ 87 h 122"/>
              <a:gd name="T52" fmla="*/ 106 w 112"/>
              <a:gd name="T53" fmla="*/ 93 h 122"/>
              <a:gd name="T54" fmla="*/ 103 w 112"/>
              <a:gd name="T55" fmla="*/ 90 h 122"/>
              <a:gd name="T56" fmla="*/ 94 w 112"/>
              <a:gd name="T57" fmla="*/ 90 h 122"/>
              <a:gd name="T58" fmla="*/ 90 w 112"/>
              <a:gd name="T59" fmla="*/ 90 h 122"/>
              <a:gd name="T60" fmla="*/ 81 w 112"/>
              <a:gd name="T61" fmla="*/ 90 h 122"/>
              <a:gd name="T62" fmla="*/ 75 w 112"/>
              <a:gd name="T63" fmla="*/ 81 h 122"/>
              <a:gd name="T64" fmla="*/ 75 w 112"/>
              <a:gd name="T65" fmla="*/ 87 h 122"/>
              <a:gd name="T66" fmla="*/ 65 w 112"/>
              <a:gd name="T67" fmla="*/ 90 h 122"/>
              <a:gd name="T68" fmla="*/ 62 w 112"/>
              <a:gd name="T69" fmla="*/ 93 h 122"/>
              <a:gd name="T70" fmla="*/ 56 w 112"/>
              <a:gd name="T71" fmla="*/ 93 h 122"/>
              <a:gd name="T72" fmla="*/ 50 w 112"/>
              <a:gd name="T73" fmla="*/ 97 h 122"/>
              <a:gd name="T74" fmla="*/ 53 w 112"/>
              <a:gd name="T75" fmla="*/ 103 h 122"/>
              <a:gd name="T76" fmla="*/ 59 w 112"/>
              <a:gd name="T77" fmla="*/ 100 h 122"/>
              <a:gd name="T78" fmla="*/ 62 w 112"/>
              <a:gd name="T79" fmla="*/ 103 h 122"/>
              <a:gd name="T80" fmla="*/ 62 w 112"/>
              <a:gd name="T81" fmla="*/ 119 h 122"/>
              <a:gd name="T82" fmla="*/ 56 w 112"/>
              <a:gd name="T83" fmla="*/ 112 h 122"/>
              <a:gd name="T84" fmla="*/ 53 w 112"/>
              <a:gd name="T85" fmla="*/ 115 h 122"/>
              <a:gd name="T86" fmla="*/ 50 w 112"/>
              <a:gd name="T87" fmla="*/ 119 h 122"/>
              <a:gd name="T88" fmla="*/ 47 w 112"/>
              <a:gd name="T89" fmla="*/ 122 h 122"/>
              <a:gd name="T90" fmla="*/ 40 w 112"/>
              <a:gd name="T91" fmla="*/ 119 h 122"/>
              <a:gd name="T92" fmla="*/ 31 w 112"/>
              <a:gd name="T93" fmla="*/ 109 h 122"/>
              <a:gd name="T94" fmla="*/ 19 w 112"/>
              <a:gd name="T95" fmla="*/ 97 h 122"/>
              <a:gd name="T96" fmla="*/ 15 w 112"/>
              <a:gd name="T97" fmla="*/ 90 h 122"/>
              <a:gd name="T98" fmla="*/ 9 w 112"/>
              <a:gd name="T99" fmla="*/ 84 h 122"/>
              <a:gd name="T100" fmla="*/ 6 w 112"/>
              <a:gd name="T101" fmla="*/ 75 h 122"/>
              <a:gd name="T102" fmla="*/ 3 w 112"/>
              <a:gd name="T103" fmla="*/ 68 h 122"/>
              <a:gd name="T104" fmla="*/ 0 w 112"/>
              <a:gd name="T105" fmla="*/ 59 h 122"/>
              <a:gd name="T106" fmla="*/ 9 w 112"/>
              <a:gd name="T107" fmla="*/ 56 h 122"/>
              <a:gd name="T108" fmla="*/ 9 w 112"/>
              <a:gd name="T109" fmla="*/ 40 h 122"/>
              <a:gd name="T110" fmla="*/ 22 w 112"/>
              <a:gd name="T111" fmla="*/ 40 h 122"/>
              <a:gd name="T112" fmla="*/ 12 w 112"/>
              <a:gd name="T113" fmla="*/ 34 h 122"/>
              <a:gd name="T114" fmla="*/ 15 w 112"/>
              <a:gd name="T115" fmla="*/ 28 h 122"/>
              <a:gd name="T116" fmla="*/ 19 w 112"/>
              <a:gd name="T117" fmla="*/ 25 h 122"/>
              <a:gd name="T118" fmla="*/ 25 w 112"/>
              <a:gd name="T119" fmla="*/ 28 h 122"/>
              <a:gd name="T120" fmla="*/ 50 w 112"/>
              <a:gd name="T121" fmla="*/ 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2" h="122">
                <a:moveTo>
                  <a:pt x="50" y="3"/>
                </a:moveTo>
                <a:lnTo>
                  <a:pt x="50" y="3"/>
                </a:lnTo>
                <a:lnTo>
                  <a:pt x="53" y="3"/>
                </a:lnTo>
                <a:lnTo>
                  <a:pt x="56" y="3"/>
                </a:lnTo>
                <a:lnTo>
                  <a:pt x="56" y="0"/>
                </a:lnTo>
                <a:lnTo>
                  <a:pt x="62" y="0"/>
                </a:lnTo>
                <a:lnTo>
                  <a:pt x="62" y="0"/>
                </a:lnTo>
                <a:lnTo>
                  <a:pt x="69" y="0"/>
                </a:lnTo>
                <a:lnTo>
                  <a:pt x="72" y="3"/>
                </a:lnTo>
                <a:lnTo>
                  <a:pt x="75" y="0"/>
                </a:lnTo>
                <a:lnTo>
                  <a:pt x="78" y="0"/>
                </a:lnTo>
                <a:lnTo>
                  <a:pt x="78" y="3"/>
                </a:lnTo>
                <a:lnTo>
                  <a:pt x="84" y="3"/>
                </a:lnTo>
                <a:lnTo>
                  <a:pt x="84" y="3"/>
                </a:lnTo>
                <a:lnTo>
                  <a:pt x="84" y="3"/>
                </a:lnTo>
                <a:lnTo>
                  <a:pt x="87" y="3"/>
                </a:lnTo>
                <a:lnTo>
                  <a:pt x="87" y="3"/>
                </a:lnTo>
                <a:lnTo>
                  <a:pt x="84" y="6"/>
                </a:lnTo>
                <a:lnTo>
                  <a:pt x="87" y="12"/>
                </a:lnTo>
                <a:lnTo>
                  <a:pt x="87" y="15"/>
                </a:lnTo>
                <a:lnTo>
                  <a:pt x="87" y="18"/>
                </a:lnTo>
                <a:lnTo>
                  <a:pt x="87" y="22"/>
                </a:lnTo>
                <a:lnTo>
                  <a:pt x="87" y="22"/>
                </a:lnTo>
                <a:lnTo>
                  <a:pt x="90" y="22"/>
                </a:lnTo>
                <a:lnTo>
                  <a:pt x="94" y="22"/>
                </a:lnTo>
                <a:lnTo>
                  <a:pt x="100" y="22"/>
                </a:lnTo>
                <a:lnTo>
                  <a:pt x="103" y="18"/>
                </a:lnTo>
                <a:lnTo>
                  <a:pt x="109" y="18"/>
                </a:lnTo>
                <a:lnTo>
                  <a:pt x="112" y="22"/>
                </a:lnTo>
                <a:lnTo>
                  <a:pt x="112" y="25"/>
                </a:lnTo>
                <a:lnTo>
                  <a:pt x="109" y="28"/>
                </a:lnTo>
                <a:lnTo>
                  <a:pt x="112" y="31"/>
                </a:lnTo>
                <a:lnTo>
                  <a:pt x="112" y="34"/>
                </a:lnTo>
                <a:lnTo>
                  <a:pt x="109" y="34"/>
                </a:lnTo>
                <a:lnTo>
                  <a:pt x="103" y="37"/>
                </a:lnTo>
                <a:lnTo>
                  <a:pt x="103" y="40"/>
                </a:lnTo>
                <a:lnTo>
                  <a:pt x="103" y="40"/>
                </a:lnTo>
                <a:lnTo>
                  <a:pt x="106" y="43"/>
                </a:lnTo>
                <a:lnTo>
                  <a:pt x="103" y="43"/>
                </a:lnTo>
                <a:lnTo>
                  <a:pt x="103" y="47"/>
                </a:lnTo>
                <a:lnTo>
                  <a:pt x="100" y="47"/>
                </a:lnTo>
                <a:lnTo>
                  <a:pt x="100" y="47"/>
                </a:lnTo>
                <a:lnTo>
                  <a:pt x="103" y="50"/>
                </a:lnTo>
                <a:lnTo>
                  <a:pt x="103" y="50"/>
                </a:lnTo>
                <a:lnTo>
                  <a:pt x="106" y="53"/>
                </a:lnTo>
                <a:lnTo>
                  <a:pt x="106" y="53"/>
                </a:lnTo>
                <a:lnTo>
                  <a:pt x="109" y="56"/>
                </a:lnTo>
                <a:lnTo>
                  <a:pt x="109" y="59"/>
                </a:lnTo>
                <a:lnTo>
                  <a:pt x="112" y="62"/>
                </a:lnTo>
                <a:lnTo>
                  <a:pt x="112" y="65"/>
                </a:lnTo>
                <a:lnTo>
                  <a:pt x="109" y="72"/>
                </a:lnTo>
                <a:lnTo>
                  <a:pt x="106" y="87"/>
                </a:lnTo>
                <a:lnTo>
                  <a:pt x="106" y="90"/>
                </a:lnTo>
                <a:lnTo>
                  <a:pt x="106" y="93"/>
                </a:lnTo>
                <a:lnTo>
                  <a:pt x="103" y="93"/>
                </a:lnTo>
                <a:lnTo>
                  <a:pt x="103" y="90"/>
                </a:lnTo>
                <a:lnTo>
                  <a:pt x="100" y="90"/>
                </a:lnTo>
                <a:lnTo>
                  <a:pt x="94" y="90"/>
                </a:lnTo>
                <a:lnTo>
                  <a:pt x="94" y="90"/>
                </a:lnTo>
                <a:lnTo>
                  <a:pt x="90" y="90"/>
                </a:lnTo>
                <a:lnTo>
                  <a:pt x="84" y="93"/>
                </a:lnTo>
                <a:lnTo>
                  <a:pt x="81" y="90"/>
                </a:lnTo>
                <a:lnTo>
                  <a:pt x="78" y="81"/>
                </a:lnTo>
                <a:lnTo>
                  <a:pt x="75" y="81"/>
                </a:lnTo>
                <a:lnTo>
                  <a:pt x="75" y="84"/>
                </a:lnTo>
                <a:lnTo>
                  <a:pt x="75" y="87"/>
                </a:lnTo>
                <a:lnTo>
                  <a:pt x="75" y="90"/>
                </a:lnTo>
                <a:lnTo>
                  <a:pt x="65" y="90"/>
                </a:lnTo>
                <a:lnTo>
                  <a:pt x="62" y="90"/>
                </a:lnTo>
                <a:lnTo>
                  <a:pt x="62" y="93"/>
                </a:lnTo>
                <a:lnTo>
                  <a:pt x="59" y="93"/>
                </a:lnTo>
                <a:lnTo>
                  <a:pt x="56" y="93"/>
                </a:lnTo>
                <a:lnTo>
                  <a:pt x="53" y="93"/>
                </a:lnTo>
                <a:lnTo>
                  <a:pt x="50" y="97"/>
                </a:lnTo>
                <a:lnTo>
                  <a:pt x="53" y="97"/>
                </a:lnTo>
                <a:lnTo>
                  <a:pt x="53" y="103"/>
                </a:lnTo>
                <a:lnTo>
                  <a:pt x="56" y="100"/>
                </a:lnTo>
                <a:lnTo>
                  <a:pt x="59" y="100"/>
                </a:lnTo>
                <a:lnTo>
                  <a:pt x="59" y="103"/>
                </a:lnTo>
                <a:lnTo>
                  <a:pt x="62" y="103"/>
                </a:lnTo>
                <a:lnTo>
                  <a:pt x="62" y="115"/>
                </a:lnTo>
                <a:lnTo>
                  <a:pt x="62" y="119"/>
                </a:lnTo>
                <a:lnTo>
                  <a:pt x="59" y="112"/>
                </a:lnTo>
                <a:lnTo>
                  <a:pt x="56" y="112"/>
                </a:lnTo>
                <a:lnTo>
                  <a:pt x="56" y="115"/>
                </a:lnTo>
                <a:lnTo>
                  <a:pt x="53" y="115"/>
                </a:lnTo>
                <a:lnTo>
                  <a:pt x="50" y="115"/>
                </a:lnTo>
                <a:lnTo>
                  <a:pt x="50" y="119"/>
                </a:lnTo>
                <a:lnTo>
                  <a:pt x="47" y="122"/>
                </a:lnTo>
                <a:lnTo>
                  <a:pt x="47" y="122"/>
                </a:lnTo>
                <a:lnTo>
                  <a:pt x="44" y="122"/>
                </a:lnTo>
                <a:lnTo>
                  <a:pt x="40" y="119"/>
                </a:lnTo>
                <a:lnTo>
                  <a:pt x="34" y="115"/>
                </a:lnTo>
                <a:lnTo>
                  <a:pt x="31" y="109"/>
                </a:lnTo>
                <a:lnTo>
                  <a:pt x="25" y="103"/>
                </a:lnTo>
                <a:lnTo>
                  <a:pt x="19" y="97"/>
                </a:lnTo>
                <a:lnTo>
                  <a:pt x="19" y="97"/>
                </a:lnTo>
                <a:lnTo>
                  <a:pt x="15" y="90"/>
                </a:lnTo>
                <a:lnTo>
                  <a:pt x="12" y="87"/>
                </a:lnTo>
                <a:lnTo>
                  <a:pt x="9" y="84"/>
                </a:lnTo>
                <a:lnTo>
                  <a:pt x="9" y="78"/>
                </a:lnTo>
                <a:lnTo>
                  <a:pt x="6" y="75"/>
                </a:lnTo>
                <a:lnTo>
                  <a:pt x="6" y="72"/>
                </a:lnTo>
                <a:lnTo>
                  <a:pt x="3" y="68"/>
                </a:lnTo>
                <a:lnTo>
                  <a:pt x="0" y="59"/>
                </a:lnTo>
                <a:lnTo>
                  <a:pt x="0" y="59"/>
                </a:lnTo>
                <a:lnTo>
                  <a:pt x="6" y="59"/>
                </a:lnTo>
                <a:lnTo>
                  <a:pt x="9" y="56"/>
                </a:lnTo>
                <a:lnTo>
                  <a:pt x="9" y="47"/>
                </a:lnTo>
                <a:lnTo>
                  <a:pt x="9" y="40"/>
                </a:lnTo>
                <a:lnTo>
                  <a:pt x="12" y="43"/>
                </a:lnTo>
                <a:lnTo>
                  <a:pt x="22" y="40"/>
                </a:lnTo>
                <a:lnTo>
                  <a:pt x="15" y="40"/>
                </a:lnTo>
                <a:lnTo>
                  <a:pt x="12" y="34"/>
                </a:lnTo>
                <a:lnTo>
                  <a:pt x="15" y="31"/>
                </a:lnTo>
                <a:lnTo>
                  <a:pt x="15" y="28"/>
                </a:lnTo>
                <a:lnTo>
                  <a:pt x="19" y="28"/>
                </a:lnTo>
                <a:lnTo>
                  <a:pt x="19" y="25"/>
                </a:lnTo>
                <a:lnTo>
                  <a:pt x="22" y="25"/>
                </a:lnTo>
                <a:lnTo>
                  <a:pt x="25" y="28"/>
                </a:lnTo>
                <a:lnTo>
                  <a:pt x="50" y="28"/>
                </a:lnTo>
                <a:lnTo>
                  <a:pt x="50" y="3"/>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9" name="Freeform 137">
            <a:extLst>
              <a:ext uri="{FF2B5EF4-FFF2-40B4-BE49-F238E27FC236}">
                <a16:creationId xmlns:a16="http://schemas.microsoft.com/office/drawing/2014/main" id="{23A3A45C-16CF-0185-40AF-0A7FB1AE0688}"/>
              </a:ext>
            </a:extLst>
          </p:cNvPr>
          <p:cNvSpPr>
            <a:spLocks/>
          </p:cNvSpPr>
          <p:nvPr userDrawn="1"/>
        </p:nvSpPr>
        <p:spPr bwMode="auto">
          <a:xfrm>
            <a:off x="13734152" y="9248056"/>
            <a:ext cx="130168" cy="79376"/>
          </a:xfrm>
          <a:custGeom>
            <a:avLst/>
            <a:gdLst>
              <a:gd name="T0" fmla="*/ 6 w 41"/>
              <a:gd name="T1" fmla="*/ 25 h 25"/>
              <a:gd name="T2" fmla="*/ 10 w 41"/>
              <a:gd name="T3" fmla="*/ 25 h 25"/>
              <a:gd name="T4" fmla="*/ 10 w 41"/>
              <a:gd name="T5" fmla="*/ 22 h 25"/>
              <a:gd name="T6" fmla="*/ 13 w 41"/>
              <a:gd name="T7" fmla="*/ 22 h 25"/>
              <a:gd name="T8" fmla="*/ 16 w 41"/>
              <a:gd name="T9" fmla="*/ 25 h 25"/>
              <a:gd name="T10" fmla="*/ 41 w 41"/>
              <a:gd name="T11" fmla="*/ 25 h 25"/>
              <a:gd name="T12" fmla="*/ 41 w 41"/>
              <a:gd name="T13" fmla="*/ 0 h 25"/>
              <a:gd name="T14" fmla="*/ 19 w 41"/>
              <a:gd name="T15" fmla="*/ 0 h 25"/>
              <a:gd name="T16" fmla="*/ 16 w 41"/>
              <a:gd name="T17" fmla="*/ 0 h 25"/>
              <a:gd name="T18" fmla="*/ 16 w 41"/>
              <a:gd name="T19" fmla="*/ 0 h 25"/>
              <a:gd name="T20" fmla="*/ 13 w 41"/>
              <a:gd name="T21" fmla="*/ 0 h 25"/>
              <a:gd name="T22" fmla="*/ 10 w 41"/>
              <a:gd name="T23" fmla="*/ 0 h 25"/>
              <a:gd name="T24" fmla="*/ 13 w 41"/>
              <a:gd name="T25" fmla="*/ 3 h 25"/>
              <a:gd name="T26" fmla="*/ 6 w 41"/>
              <a:gd name="T27" fmla="*/ 12 h 25"/>
              <a:gd name="T28" fmla="*/ 0 w 41"/>
              <a:gd name="T29" fmla="*/ 22 h 25"/>
              <a:gd name="T30" fmla="*/ 6 w 41"/>
              <a:gd name="T31" fmla="*/ 22 h 25"/>
              <a:gd name="T32" fmla="*/ 6 w 41"/>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 h="25">
                <a:moveTo>
                  <a:pt x="6" y="25"/>
                </a:moveTo>
                <a:lnTo>
                  <a:pt x="10" y="25"/>
                </a:lnTo>
                <a:lnTo>
                  <a:pt x="10" y="22"/>
                </a:lnTo>
                <a:lnTo>
                  <a:pt x="13" y="22"/>
                </a:lnTo>
                <a:lnTo>
                  <a:pt x="16" y="25"/>
                </a:lnTo>
                <a:lnTo>
                  <a:pt x="41" y="25"/>
                </a:lnTo>
                <a:lnTo>
                  <a:pt x="41" y="0"/>
                </a:lnTo>
                <a:lnTo>
                  <a:pt x="19" y="0"/>
                </a:lnTo>
                <a:lnTo>
                  <a:pt x="16" y="0"/>
                </a:lnTo>
                <a:lnTo>
                  <a:pt x="16" y="0"/>
                </a:lnTo>
                <a:lnTo>
                  <a:pt x="13" y="0"/>
                </a:lnTo>
                <a:lnTo>
                  <a:pt x="10" y="0"/>
                </a:lnTo>
                <a:lnTo>
                  <a:pt x="13" y="3"/>
                </a:lnTo>
                <a:lnTo>
                  <a:pt x="6" y="12"/>
                </a:lnTo>
                <a:lnTo>
                  <a:pt x="0" y="22"/>
                </a:lnTo>
                <a:lnTo>
                  <a:pt x="6" y="22"/>
                </a:lnTo>
                <a:lnTo>
                  <a:pt x="6" y="25"/>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0" name="Freeform 138">
            <a:extLst>
              <a:ext uri="{FF2B5EF4-FFF2-40B4-BE49-F238E27FC236}">
                <a16:creationId xmlns:a16="http://schemas.microsoft.com/office/drawing/2014/main" id="{3915A2D3-2717-6D12-CE57-80FED6575B36}"/>
              </a:ext>
            </a:extLst>
          </p:cNvPr>
          <p:cNvSpPr>
            <a:spLocks/>
          </p:cNvSpPr>
          <p:nvPr userDrawn="1"/>
        </p:nvSpPr>
        <p:spPr bwMode="auto">
          <a:xfrm>
            <a:off x="13854799" y="9136937"/>
            <a:ext cx="476219" cy="568326"/>
          </a:xfrm>
          <a:custGeom>
            <a:avLst/>
            <a:gdLst>
              <a:gd name="T0" fmla="*/ 3 w 150"/>
              <a:gd name="T1" fmla="*/ 147 h 179"/>
              <a:gd name="T2" fmla="*/ 9 w 150"/>
              <a:gd name="T3" fmla="*/ 144 h 179"/>
              <a:gd name="T4" fmla="*/ 15 w 150"/>
              <a:gd name="T5" fmla="*/ 147 h 179"/>
              <a:gd name="T6" fmla="*/ 12 w 150"/>
              <a:gd name="T7" fmla="*/ 132 h 179"/>
              <a:gd name="T8" fmla="*/ 6 w 150"/>
              <a:gd name="T9" fmla="*/ 129 h 179"/>
              <a:gd name="T10" fmla="*/ 9 w 150"/>
              <a:gd name="T11" fmla="*/ 125 h 179"/>
              <a:gd name="T12" fmla="*/ 15 w 150"/>
              <a:gd name="T13" fmla="*/ 122 h 179"/>
              <a:gd name="T14" fmla="*/ 28 w 150"/>
              <a:gd name="T15" fmla="*/ 119 h 179"/>
              <a:gd name="T16" fmla="*/ 31 w 150"/>
              <a:gd name="T17" fmla="*/ 113 h 179"/>
              <a:gd name="T18" fmla="*/ 43 w 150"/>
              <a:gd name="T19" fmla="*/ 122 h 179"/>
              <a:gd name="T20" fmla="*/ 53 w 150"/>
              <a:gd name="T21" fmla="*/ 122 h 179"/>
              <a:gd name="T22" fmla="*/ 59 w 150"/>
              <a:gd name="T23" fmla="*/ 125 h 179"/>
              <a:gd name="T24" fmla="*/ 62 w 150"/>
              <a:gd name="T25" fmla="*/ 104 h 179"/>
              <a:gd name="T26" fmla="*/ 62 w 150"/>
              <a:gd name="T27" fmla="*/ 91 h 179"/>
              <a:gd name="T28" fmla="*/ 59 w 150"/>
              <a:gd name="T29" fmla="*/ 85 h 179"/>
              <a:gd name="T30" fmla="*/ 53 w 150"/>
              <a:gd name="T31" fmla="*/ 79 h 179"/>
              <a:gd name="T32" fmla="*/ 56 w 150"/>
              <a:gd name="T33" fmla="*/ 75 h 179"/>
              <a:gd name="T34" fmla="*/ 56 w 150"/>
              <a:gd name="T35" fmla="*/ 72 h 179"/>
              <a:gd name="T36" fmla="*/ 65 w 150"/>
              <a:gd name="T37" fmla="*/ 66 h 179"/>
              <a:gd name="T38" fmla="*/ 65 w 150"/>
              <a:gd name="T39" fmla="*/ 57 h 179"/>
              <a:gd name="T40" fmla="*/ 56 w 150"/>
              <a:gd name="T41" fmla="*/ 50 h 179"/>
              <a:gd name="T42" fmla="*/ 43 w 150"/>
              <a:gd name="T43" fmla="*/ 54 h 179"/>
              <a:gd name="T44" fmla="*/ 40 w 150"/>
              <a:gd name="T45" fmla="*/ 50 h 179"/>
              <a:gd name="T46" fmla="*/ 37 w 150"/>
              <a:gd name="T47" fmla="*/ 38 h 179"/>
              <a:gd name="T48" fmla="*/ 68 w 150"/>
              <a:gd name="T49" fmla="*/ 38 h 179"/>
              <a:gd name="T50" fmla="*/ 72 w 150"/>
              <a:gd name="T51" fmla="*/ 38 h 179"/>
              <a:gd name="T52" fmla="*/ 78 w 150"/>
              <a:gd name="T53" fmla="*/ 38 h 179"/>
              <a:gd name="T54" fmla="*/ 81 w 150"/>
              <a:gd name="T55" fmla="*/ 38 h 179"/>
              <a:gd name="T56" fmla="*/ 90 w 150"/>
              <a:gd name="T57" fmla="*/ 41 h 179"/>
              <a:gd name="T58" fmla="*/ 93 w 150"/>
              <a:gd name="T59" fmla="*/ 41 h 179"/>
              <a:gd name="T60" fmla="*/ 97 w 150"/>
              <a:gd name="T61" fmla="*/ 41 h 179"/>
              <a:gd name="T62" fmla="*/ 100 w 150"/>
              <a:gd name="T63" fmla="*/ 32 h 179"/>
              <a:gd name="T64" fmla="*/ 115 w 150"/>
              <a:gd name="T65" fmla="*/ 10 h 179"/>
              <a:gd name="T66" fmla="*/ 128 w 150"/>
              <a:gd name="T67" fmla="*/ 3 h 179"/>
              <a:gd name="T68" fmla="*/ 137 w 150"/>
              <a:gd name="T69" fmla="*/ 0 h 179"/>
              <a:gd name="T70" fmla="*/ 143 w 150"/>
              <a:gd name="T71" fmla="*/ 3 h 179"/>
              <a:gd name="T72" fmla="*/ 147 w 150"/>
              <a:gd name="T73" fmla="*/ 3 h 179"/>
              <a:gd name="T74" fmla="*/ 147 w 150"/>
              <a:gd name="T75" fmla="*/ 19 h 179"/>
              <a:gd name="T76" fmla="*/ 137 w 150"/>
              <a:gd name="T77" fmla="*/ 41 h 179"/>
              <a:gd name="T78" fmla="*/ 134 w 150"/>
              <a:gd name="T79" fmla="*/ 50 h 179"/>
              <a:gd name="T80" fmla="*/ 134 w 150"/>
              <a:gd name="T81" fmla="*/ 66 h 179"/>
              <a:gd name="T82" fmla="*/ 131 w 150"/>
              <a:gd name="T83" fmla="*/ 75 h 179"/>
              <a:gd name="T84" fmla="*/ 122 w 150"/>
              <a:gd name="T85" fmla="*/ 97 h 179"/>
              <a:gd name="T86" fmla="*/ 112 w 150"/>
              <a:gd name="T87" fmla="*/ 100 h 179"/>
              <a:gd name="T88" fmla="*/ 106 w 150"/>
              <a:gd name="T89" fmla="*/ 113 h 179"/>
              <a:gd name="T90" fmla="*/ 97 w 150"/>
              <a:gd name="T91" fmla="*/ 129 h 179"/>
              <a:gd name="T92" fmla="*/ 97 w 150"/>
              <a:gd name="T93" fmla="*/ 147 h 179"/>
              <a:gd name="T94" fmla="*/ 90 w 150"/>
              <a:gd name="T95" fmla="*/ 157 h 179"/>
              <a:gd name="T96" fmla="*/ 78 w 150"/>
              <a:gd name="T97" fmla="*/ 169 h 179"/>
              <a:gd name="T98" fmla="*/ 65 w 150"/>
              <a:gd name="T99" fmla="*/ 172 h 179"/>
              <a:gd name="T100" fmla="*/ 65 w 150"/>
              <a:gd name="T101" fmla="*/ 163 h 179"/>
              <a:gd name="T102" fmla="*/ 56 w 150"/>
              <a:gd name="T103" fmla="*/ 166 h 179"/>
              <a:gd name="T104" fmla="*/ 50 w 150"/>
              <a:gd name="T105" fmla="*/ 172 h 179"/>
              <a:gd name="T106" fmla="*/ 43 w 150"/>
              <a:gd name="T107" fmla="*/ 172 h 179"/>
              <a:gd name="T108" fmla="*/ 37 w 150"/>
              <a:gd name="T109" fmla="*/ 172 h 179"/>
              <a:gd name="T110" fmla="*/ 34 w 150"/>
              <a:gd name="T111" fmla="*/ 166 h 179"/>
              <a:gd name="T112" fmla="*/ 28 w 150"/>
              <a:gd name="T113" fmla="*/ 166 h 179"/>
              <a:gd name="T114" fmla="*/ 22 w 150"/>
              <a:gd name="T115" fmla="*/ 172 h 179"/>
              <a:gd name="T116" fmla="*/ 15 w 150"/>
              <a:gd name="T117" fmla="*/ 179 h 179"/>
              <a:gd name="T118" fmla="*/ 12 w 150"/>
              <a:gd name="T119" fmla="*/ 169 h 179"/>
              <a:gd name="T120" fmla="*/ 3 w 150"/>
              <a:gd name="T121" fmla="*/ 16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179">
                <a:moveTo>
                  <a:pt x="0" y="154"/>
                </a:moveTo>
                <a:lnTo>
                  <a:pt x="3" y="151"/>
                </a:lnTo>
                <a:lnTo>
                  <a:pt x="3" y="147"/>
                </a:lnTo>
                <a:lnTo>
                  <a:pt x="6" y="147"/>
                </a:lnTo>
                <a:lnTo>
                  <a:pt x="9" y="147"/>
                </a:lnTo>
                <a:lnTo>
                  <a:pt x="9" y="144"/>
                </a:lnTo>
                <a:lnTo>
                  <a:pt x="12" y="144"/>
                </a:lnTo>
                <a:lnTo>
                  <a:pt x="15" y="151"/>
                </a:lnTo>
                <a:lnTo>
                  <a:pt x="15" y="147"/>
                </a:lnTo>
                <a:lnTo>
                  <a:pt x="15" y="135"/>
                </a:lnTo>
                <a:lnTo>
                  <a:pt x="12" y="135"/>
                </a:lnTo>
                <a:lnTo>
                  <a:pt x="12" y="132"/>
                </a:lnTo>
                <a:lnTo>
                  <a:pt x="9" y="132"/>
                </a:lnTo>
                <a:lnTo>
                  <a:pt x="6" y="135"/>
                </a:lnTo>
                <a:lnTo>
                  <a:pt x="6" y="129"/>
                </a:lnTo>
                <a:lnTo>
                  <a:pt x="3" y="129"/>
                </a:lnTo>
                <a:lnTo>
                  <a:pt x="6" y="125"/>
                </a:lnTo>
                <a:lnTo>
                  <a:pt x="9" y="125"/>
                </a:lnTo>
                <a:lnTo>
                  <a:pt x="12" y="125"/>
                </a:lnTo>
                <a:lnTo>
                  <a:pt x="15" y="125"/>
                </a:lnTo>
                <a:lnTo>
                  <a:pt x="15" y="122"/>
                </a:lnTo>
                <a:lnTo>
                  <a:pt x="18" y="122"/>
                </a:lnTo>
                <a:lnTo>
                  <a:pt x="28" y="122"/>
                </a:lnTo>
                <a:lnTo>
                  <a:pt x="28" y="119"/>
                </a:lnTo>
                <a:lnTo>
                  <a:pt x="28" y="116"/>
                </a:lnTo>
                <a:lnTo>
                  <a:pt x="28" y="113"/>
                </a:lnTo>
                <a:lnTo>
                  <a:pt x="31" y="113"/>
                </a:lnTo>
                <a:lnTo>
                  <a:pt x="34" y="122"/>
                </a:lnTo>
                <a:lnTo>
                  <a:pt x="37" y="125"/>
                </a:lnTo>
                <a:lnTo>
                  <a:pt x="43" y="122"/>
                </a:lnTo>
                <a:lnTo>
                  <a:pt x="47" y="122"/>
                </a:lnTo>
                <a:lnTo>
                  <a:pt x="47" y="122"/>
                </a:lnTo>
                <a:lnTo>
                  <a:pt x="53" y="122"/>
                </a:lnTo>
                <a:lnTo>
                  <a:pt x="56" y="122"/>
                </a:lnTo>
                <a:lnTo>
                  <a:pt x="56" y="125"/>
                </a:lnTo>
                <a:lnTo>
                  <a:pt x="59" y="125"/>
                </a:lnTo>
                <a:lnTo>
                  <a:pt x="59" y="122"/>
                </a:lnTo>
                <a:lnTo>
                  <a:pt x="59" y="119"/>
                </a:lnTo>
                <a:lnTo>
                  <a:pt x="62" y="104"/>
                </a:lnTo>
                <a:lnTo>
                  <a:pt x="65" y="97"/>
                </a:lnTo>
                <a:lnTo>
                  <a:pt x="65" y="94"/>
                </a:lnTo>
                <a:lnTo>
                  <a:pt x="62" y="91"/>
                </a:lnTo>
                <a:lnTo>
                  <a:pt x="62" y="88"/>
                </a:lnTo>
                <a:lnTo>
                  <a:pt x="59" y="85"/>
                </a:lnTo>
                <a:lnTo>
                  <a:pt x="59" y="85"/>
                </a:lnTo>
                <a:lnTo>
                  <a:pt x="56" y="82"/>
                </a:lnTo>
                <a:lnTo>
                  <a:pt x="56" y="82"/>
                </a:lnTo>
                <a:lnTo>
                  <a:pt x="53" y="79"/>
                </a:lnTo>
                <a:lnTo>
                  <a:pt x="53" y="79"/>
                </a:lnTo>
                <a:lnTo>
                  <a:pt x="56" y="79"/>
                </a:lnTo>
                <a:lnTo>
                  <a:pt x="56" y="75"/>
                </a:lnTo>
                <a:lnTo>
                  <a:pt x="59" y="75"/>
                </a:lnTo>
                <a:lnTo>
                  <a:pt x="56" y="72"/>
                </a:lnTo>
                <a:lnTo>
                  <a:pt x="56" y="72"/>
                </a:lnTo>
                <a:lnTo>
                  <a:pt x="56" y="69"/>
                </a:lnTo>
                <a:lnTo>
                  <a:pt x="62" y="66"/>
                </a:lnTo>
                <a:lnTo>
                  <a:pt x="65" y="66"/>
                </a:lnTo>
                <a:lnTo>
                  <a:pt x="65" y="63"/>
                </a:lnTo>
                <a:lnTo>
                  <a:pt x="62" y="60"/>
                </a:lnTo>
                <a:lnTo>
                  <a:pt x="65" y="57"/>
                </a:lnTo>
                <a:lnTo>
                  <a:pt x="65" y="54"/>
                </a:lnTo>
                <a:lnTo>
                  <a:pt x="62" y="50"/>
                </a:lnTo>
                <a:lnTo>
                  <a:pt x="56" y="50"/>
                </a:lnTo>
                <a:lnTo>
                  <a:pt x="53" y="54"/>
                </a:lnTo>
                <a:lnTo>
                  <a:pt x="47" y="54"/>
                </a:lnTo>
                <a:lnTo>
                  <a:pt x="43" y="54"/>
                </a:lnTo>
                <a:lnTo>
                  <a:pt x="40" y="54"/>
                </a:lnTo>
                <a:lnTo>
                  <a:pt x="40" y="54"/>
                </a:lnTo>
                <a:lnTo>
                  <a:pt x="40" y="50"/>
                </a:lnTo>
                <a:lnTo>
                  <a:pt x="40" y="47"/>
                </a:lnTo>
                <a:lnTo>
                  <a:pt x="40" y="44"/>
                </a:lnTo>
                <a:lnTo>
                  <a:pt x="37" y="38"/>
                </a:lnTo>
                <a:lnTo>
                  <a:pt x="40" y="35"/>
                </a:lnTo>
                <a:lnTo>
                  <a:pt x="65" y="35"/>
                </a:lnTo>
                <a:lnTo>
                  <a:pt x="68" y="38"/>
                </a:lnTo>
                <a:lnTo>
                  <a:pt x="68" y="35"/>
                </a:lnTo>
                <a:lnTo>
                  <a:pt x="68" y="35"/>
                </a:lnTo>
                <a:lnTo>
                  <a:pt x="72" y="38"/>
                </a:lnTo>
                <a:lnTo>
                  <a:pt x="75" y="38"/>
                </a:lnTo>
                <a:lnTo>
                  <a:pt x="75" y="38"/>
                </a:lnTo>
                <a:lnTo>
                  <a:pt x="78" y="38"/>
                </a:lnTo>
                <a:lnTo>
                  <a:pt x="78" y="38"/>
                </a:lnTo>
                <a:lnTo>
                  <a:pt x="81" y="38"/>
                </a:lnTo>
                <a:lnTo>
                  <a:pt x="81" y="38"/>
                </a:lnTo>
                <a:lnTo>
                  <a:pt x="84" y="41"/>
                </a:lnTo>
                <a:lnTo>
                  <a:pt x="87" y="41"/>
                </a:lnTo>
                <a:lnTo>
                  <a:pt x="90" y="41"/>
                </a:lnTo>
                <a:lnTo>
                  <a:pt x="90" y="41"/>
                </a:lnTo>
                <a:lnTo>
                  <a:pt x="93" y="41"/>
                </a:lnTo>
                <a:lnTo>
                  <a:pt x="93" y="41"/>
                </a:lnTo>
                <a:lnTo>
                  <a:pt x="97" y="41"/>
                </a:lnTo>
                <a:lnTo>
                  <a:pt x="97" y="41"/>
                </a:lnTo>
                <a:lnTo>
                  <a:pt x="97" y="41"/>
                </a:lnTo>
                <a:lnTo>
                  <a:pt x="97" y="35"/>
                </a:lnTo>
                <a:lnTo>
                  <a:pt x="97" y="35"/>
                </a:lnTo>
                <a:lnTo>
                  <a:pt x="100" y="32"/>
                </a:lnTo>
                <a:lnTo>
                  <a:pt x="100" y="29"/>
                </a:lnTo>
                <a:lnTo>
                  <a:pt x="109" y="13"/>
                </a:lnTo>
                <a:lnTo>
                  <a:pt x="115" y="10"/>
                </a:lnTo>
                <a:lnTo>
                  <a:pt x="118" y="7"/>
                </a:lnTo>
                <a:lnTo>
                  <a:pt x="118" y="7"/>
                </a:lnTo>
                <a:lnTo>
                  <a:pt x="128" y="3"/>
                </a:lnTo>
                <a:lnTo>
                  <a:pt x="131" y="3"/>
                </a:lnTo>
                <a:lnTo>
                  <a:pt x="134" y="0"/>
                </a:lnTo>
                <a:lnTo>
                  <a:pt x="137" y="0"/>
                </a:lnTo>
                <a:lnTo>
                  <a:pt x="140" y="0"/>
                </a:lnTo>
                <a:lnTo>
                  <a:pt x="140" y="3"/>
                </a:lnTo>
                <a:lnTo>
                  <a:pt x="143" y="3"/>
                </a:lnTo>
                <a:lnTo>
                  <a:pt x="147" y="3"/>
                </a:lnTo>
                <a:lnTo>
                  <a:pt x="150" y="3"/>
                </a:lnTo>
                <a:lnTo>
                  <a:pt x="147" y="3"/>
                </a:lnTo>
                <a:lnTo>
                  <a:pt x="150" y="10"/>
                </a:lnTo>
                <a:lnTo>
                  <a:pt x="150" y="16"/>
                </a:lnTo>
                <a:lnTo>
                  <a:pt x="147" y="19"/>
                </a:lnTo>
                <a:lnTo>
                  <a:pt x="147" y="22"/>
                </a:lnTo>
                <a:lnTo>
                  <a:pt x="137" y="32"/>
                </a:lnTo>
                <a:lnTo>
                  <a:pt x="137" y="41"/>
                </a:lnTo>
                <a:lnTo>
                  <a:pt x="137" y="44"/>
                </a:lnTo>
                <a:lnTo>
                  <a:pt x="137" y="47"/>
                </a:lnTo>
                <a:lnTo>
                  <a:pt x="134" y="50"/>
                </a:lnTo>
                <a:lnTo>
                  <a:pt x="134" y="57"/>
                </a:lnTo>
                <a:lnTo>
                  <a:pt x="134" y="60"/>
                </a:lnTo>
                <a:lnTo>
                  <a:pt x="134" y="66"/>
                </a:lnTo>
                <a:lnTo>
                  <a:pt x="134" y="66"/>
                </a:lnTo>
                <a:lnTo>
                  <a:pt x="134" y="72"/>
                </a:lnTo>
                <a:lnTo>
                  <a:pt x="131" y="75"/>
                </a:lnTo>
                <a:lnTo>
                  <a:pt x="128" y="82"/>
                </a:lnTo>
                <a:lnTo>
                  <a:pt x="128" y="88"/>
                </a:lnTo>
                <a:lnTo>
                  <a:pt x="122" y="97"/>
                </a:lnTo>
                <a:lnTo>
                  <a:pt x="118" y="97"/>
                </a:lnTo>
                <a:lnTo>
                  <a:pt x="115" y="100"/>
                </a:lnTo>
                <a:lnTo>
                  <a:pt x="112" y="100"/>
                </a:lnTo>
                <a:lnTo>
                  <a:pt x="109" y="104"/>
                </a:lnTo>
                <a:lnTo>
                  <a:pt x="106" y="107"/>
                </a:lnTo>
                <a:lnTo>
                  <a:pt x="106" y="113"/>
                </a:lnTo>
                <a:lnTo>
                  <a:pt x="100" y="119"/>
                </a:lnTo>
                <a:lnTo>
                  <a:pt x="97" y="122"/>
                </a:lnTo>
                <a:lnTo>
                  <a:pt x="97" y="129"/>
                </a:lnTo>
                <a:lnTo>
                  <a:pt x="100" y="129"/>
                </a:lnTo>
                <a:lnTo>
                  <a:pt x="97" y="141"/>
                </a:lnTo>
                <a:lnTo>
                  <a:pt x="97" y="147"/>
                </a:lnTo>
                <a:lnTo>
                  <a:pt x="97" y="151"/>
                </a:lnTo>
                <a:lnTo>
                  <a:pt x="93" y="154"/>
                </a:lnTo>
                <a:lnTo>
                  <a:pt x="90" y="157"/>
                </a:lnTo>
                <a:lnTo>
                  <a:pt x="87" y="157"/>
                </a:lnTo>
                <a:lnTo>
                  <a:pt x="84" y="160"/>
                </a:lnTo>
                <a:lnTo>
                  <a:pt x="78" y="169"/>
                </a:lnTo>
                <a:lnTo>
                  <a:pt x="75" y="172"/>
                </a:lnTo>
                <a:lnTo>
                  <a:pt x="68" y="176"/>
                </a:lnTo>
                <a:lnTo>
                  <a:pt x="65" y="172"/>
                </a:lnTo>
                <a:lnTo>
                  <a:pt x="65" y="169"/>
                </a:lnTo>
                <a:lnTo>
                  <a:pt x="62" y="169"/>
                </a:lnTo>
                <a:lnTo>
                  <a:pt x="65" y="163"/>
                </a:lnTo>
                <a:lnTo>
                  <a:pt x="65" y="163"/>
                </a:lnTo>
                <a:lnTo>
                  <a:pt x="59" y="163"/>
                </a:lnTo>
                <a:lnTo>
                  <a:pt x="56" y="166"/>
                </a:lnTo>
                <a:lnTo>
                  <a:pt x="53" y="166"/>
                </a:lnTo>
                <a:lnTo>
                  <a:pt x="50" y="166"/>
                </a:lnTo>
                <a:lnTo>
                  <a:pt x="50" y="172"/>
                </a:lnTo>
                <a:lnTo>
                  <a:pt x="47" y="172"/>
                </a:lnTo>
                <a:lnTo>
                  <a:pt x="43" y="172"/>
                </a:lnTo>
                <a:lnTo>
                  <a:pt x="43" y="172"/>
                </a:lnTo>
                <a:lnTo>
                  <a:pt x="43" y="169"/>
                </a:lnTo>
                <a:lnTo>
                  <a:pt x="40" y="172"/>
                </a:lnTo>
                <a:lnTo>
                  <a:pt x="37" y="172"/>
                </a:lnTo>
                <a:lnTo>
                  <a:pt x="37" y="172"/>
                </a:lnTo>
                <a:lnTo>
                  <a:pt x="37" y="169"/>
                </a:lnTo>
                <a:lnTo>
                  <a:pt x="34" y="166"/>
                </a:lnTo>
                <a:lnTo>
                  <a:pt x="34" y="163"/>
                </a:lnTo>
                <a:lnTo>
                  <a:pt x="31" y="163"/>
                </a:lnTo>
                <a:lnTo>
                  <a:pt x="28" y="166"/>
                </a:lnTo>
                <a:lnTo>
                  <a:pt x="25" y="166"/>
                </a:lnTo>
                <a:lnTo>
                  <a:pt x="25" y="169"/>
                </a:lnTo>
                <a:lnTo>
                  <a:pt x="22" y="172"/>
                </a:lnTo>
                <a:lnTo>
                  <a:pt x="18" y="172"/>
                </a:lnTo>
                <a:lnTo>
                  <a:pt x="18" y="176"/>
                </a:lnTo>
                <a:lnTo>
                  <a:pt x="15" y="179"/>
                </a:lnTo>
                <a:lnTo>
                  <a:pt x="12" y="176"/>
                </a:lnTo>
                <a:lnTo>
                  <a:pt x="15" y="172"/>
                </a:lnTo>
                <a:lnTo>
                  <a:pt x="12" y="169"/>
                </a:lnTo>
                <a:lnTo>
                  <a:pt x="9" y="166"/>
                </a:lnTo>
                <a:lnTo>
                  <a:pt x="6" y="160"/>
                </a:lnTo>
                <a:lnTo>
                  <a:pt x="3" y="160"/>
                </a:lnTo>
                <a:lnTo>
                  <a:pt x="0" y="154"/>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1" name="Freeform 139">
            <a:extLst>
              <a:ext uri="{FF2B5EF4-FFF2-40B4-BE49-F238E27FC236}">
                <a16:creationId xmlns:a16="http://schemas.microsoft.com/office/drawing/2014/main" id="{8BB3328A-4187-DC58-CF07-F1BA02A53C40}"/>
              </a:ext>
            </a:extLst>
          </p:cNvPr>
          <p:cNvSpPr>
            <a:spLocks/>
          </p:cNvSpPr>
          <p:nvPr userDrawn="1"/>
        </p:nvSpPr>
        <p:spPr bwMode="auto">
          <a:xfrm>
            <a:off x="13902420" y="9654463"/>
            <a:ext cx="69845" cy="98426"/>
          </a:xfrm>
          <a:custGeom>
            <a:avLst/>
            <a:gdLst>
              <a:gd name="T0" fmla="*/ 22 w 22"/>
              <a:gd name="T1" fmla="*/ 9 h 31"/>
              <a:gd name="T2" fmla="*/ 22 w 22"/>
              <a:gd name="T3" fmla="*/ 6 h 31"/>
              <a:gd name="T4" fmla="*/ 19 w 22"/>
              <a:gd name="T5" fmla="*/ 3 h 31"/>
              <a:gd name="T6" fmla="*/ 19 w 22"/>
              <a:gd name="T7" fmla="*/ 0 h 31"/>
              <a:gd name="T8" fmla="*/ 16 w 22"/>
              <a:gd name="T9" fmla="*/ 0 h 31"/>
              <a:gd name="T10" fmla="*/ 13 w 22"/>
              <a:gd name="T11" fmla="*/ 3 h 31"/>
              <a:gd name="T12" fmla="*/ 10 w 22"/>
              <a:gd name="T13" fmla="*/ 3 h 31"/>
              <a:gd name="T14" fmla="*/ 10 w 22"/>
              <a:gd name="T15" fmla="*/ 6 h 31"/>
              <a:gd name="T16" fmla="*/ 7 w 22"/>
              <a:gd name="T17" fmla="*/ 9 h 31"/>
              <a:gd name="T18" fmla="*/ 3 w 22"/>
              <a:gd name="T19" fmla="*/ 9 h 31"/>
              <a:gd name="T20" fmla="*/ 3 w 22"/>
              <a:gd name="T21" fmla="*/ 13 h 31"/>
              <a:gd name="T22" fmla="*/ 0 w 22"/>
              <a:gd name="T23" fmla="*/ 16 h 31"/>
              <a:gd name="T24" fmla="*/ 3 w 22"/>
              <a:gd name="T25" fmla="*/ 19 h 31"/>
              <a:gd name="T26" fmla="*/ 3 w 22"/>
              <a:gd name="T27" fmla="*/ 22 h 31"/>
              <a:gd name="T28" fmla="*/ 3 w 22"/>
              <a:gd name="T29" fmla="*/ 28 h 31"/>
              <a:gd name="T30" fmla="*/ 3 w 22"/>
              <a:gd name="T31" fmla="*/ 31 h 31"/>
              <a:gd name="T32" fmla="*/ 7 w 22"/>
              <a:gd name="T33" fmla="*/ 28 h 31"/>
              <a:gd name="T34" fmla="*/ 10 w 22"/>
              <a:gd name="T35" fmla="*/ 28 h 31"/>
              <a:gd name="T36" fmla="*/ 13 w 22"/>
              <a:gd name="T37" fmla="*/ 25 h 31"/>
              <a:gd name="T38" fmla="*/ 13 w 22"/>
              <a:gd name="T39" fmla="*/ 19 h 31"/>
              <a:gd name="T40" fmla="*/ 13 w 22"/>
              <a:gd name="T41" fmla="*/ 16 h 31"/>
              <a:gd name="T42" fmla="*/ 19 w 22"/>
              <a:gd name="T43" fmla="*/ 13 h 31"/>
              <a:gd name="T44" fmla="*/ 22 w 22"/>
              <a:gd name="T45"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31">
                <a:moveTo>
                  <a:pt x="22" y="9"/>
                </a:moveTo>
                <a:lnTo>
                  <a:pt x="22" y="6"/>
                </a:lnTo>
                <a:lnTo>
                  <a:pt x="19" y="3"/>
                </a:lnTo>
                <a:lnTo>
                  <a:pt x="19" y="0"/>
                </a:lnTo>
                <a:lnTo>
                  <a:pt x="16" y="0"/>
                </a:lnTo>
                <a:lnTo>
                  <a:pt x="13" y="3"/>
                </a:lnTo>
                <a:lnTo>
                  <a:pt x="10" y="3"/>
                </a:lnTo>
                <a:lnTo>
                  <a:pt x="10" y="6"/>
                </a:lnTo>
                <a:lnTo>
                  <a:pt x="7" y="9"/>
                </a:lnTo>
                <a:lnTo>
                  <a:pt x="3" y="9"/>
                </a:lnTo>
                <a:lnTo>
                  <a:pt x="3" y="13"/>
                </a:lnTo>
                <a:lnTo>
                  <a:pt x="0" y="16"/>
                </a:lnTo>
                <a:lnTo>
                  <a:pt x="3" y="19"/>
                </a:lnTo>
                <a:lnTo>
                  <a:pt x="3" y="22"/>
                </a:lnTo>
                <a:lnTo>
                  <a:pt x="3" y="28"/>
                </a:lnTo>
                <a:lnTo>
                  <a:pt x="3" y="31"/>
                </a:lnTo>
                <a:lnTo>
                  <a:pt x="7" y="28"/>
                </a:lnTo>
                <a:lnTo>
                  <a:pt x="10" y="28"/>
                </a:lnTo>
                <a:lnTo>
                  <a:pt x="13" y="25"/>
                </a:lnTo>
                <a:lnTo>
                  <a:pt x="13" y="19"/>
                </a:lnTo>
                <a:lnTo>
                  <a:pt x="13" y="16"/>
                </a:lnTo>
                <a:lnTo>
                  <a:pt x="19" y="13"/>
                </a:lnTo>
                <a:lnTo>
                  <a:pt x="22" y="9"/>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2" name="Freeform 140">
            <a:extLst>
              <a:ext uri="{FF2B5EF4-FFF2-40B4-BE49-F238E27FC236}">
                <a16:creationId xmlns:a16="http://schemas.microsoft.com/office/drawing/2014/main" id="{47AB13FF-1E1F-1922-4F4B-A1271DBE5B98}"/>
              </a:ext>
            </a:extLst>
          </p:cNvPr>
          <p:cNvSpPr>
            <a:spLocks/>
          </p:cNvSpPr>
          <p:nvPr userDrawn="1"/>
        </p:nvSpPr>
        <p:spPr bwMode="auto">
          <a:xfrm>
            <a:off x="14985030" y="9435382"/>
            <a:ext cx="704804" cy="714376"/>
          </a:xfrm>
          <a:custGeom>
            <a:avLst/>
            <a:gdLst>
              <a:gd name="T0" fmla="*/ 28 w 222"/>
              <a:gd name="T1" fmla="*/ 3 h 225"/>
              <a:gd name="T2" fmla="*/ 94 w 222"/>
              <a:gd name="T3" fmla="*/ 0 h 225"/>
              <a:gd name="T4" fmla="*/ 169 w 222"/>
              <a:gd name="T5" fmla="*/ 50 h 225"/>
              <a:gd name="T6" fmla="*/ 197 w 222"/>
              <a:gd name="T7" fmla="*/ 72 h 225"/>
              <a:gd name="T8" fmla="*/ 197 w 222"/>
              <a:gd name="T9" fmla="*/ 78 h 225"/>
              <a:gd name="T10" fmla="*/ 188 w 222"/>
              <a:gd name="T11" fmla="*/ 100 h 225"/>
              <a:gd name="T12" fmla="*/ 197 w 222"/>
              <a:gd name="T13" fmla="*/ 116 h 225"/>
              <a:gd name="T14" fmla="*/ 203 w 222"/>
              <a:gd name="T15" fmla="*/ 122 h 225"/>
              <a:gd name="T16" fmla="*/ 197 w 222"/>
              <a:gd name="T17" fmla="*/ 128 h 225"/>
              <a:gd name="T18" fmla="*/ 200 w 222"/>
              <a:gd name="T19" fmla="*/ 144 h 225"/>
              <a:gd name="T20" fmla="*/ 200 w 222"/>
              <a:gd name="T21" fmla="*/ 157 h 225"/>
              <a:gd name="T22" fmla="*/ 200 w 222"/>
              <a:gd name="T23" fmla="*/ 163 h 225"/>
              <a:gd name="T24" fmla="*/ 203 w 222"/>
              <a:gd name="T25" fmla="*/ 169 h 225"/>
              <a:gd name="T26" fmla="*/ 213 w 222"/>
              <a:gd name="T27" fmla="*/ 185 h 225"/>
              <a:gd name="T28" fmla="*/ 222 w 222"/>
              <a:gd name="T29" fmla="*/ 191 h 225"/>
              <a:gd name="T30" fmla="*/ 219 w 222"/>
              <a:gd name="T31" fmla="*/ 194 h 225"/>
              <a:gd name="T32" fmla="*/ 209 w 222"/>
              <a:gd name="T33" fmla="*/ 197 h 225"/>
              <a:gd name="T34" fmla="*/ 200 w 222"/>
              <a:gd name="T35" fmla="*/ 204 h 225"/>
              <a:gd name="T36" fmla="*/ 191 w 222"/>
              <a:gd name="T37" fmla="*/ 204 h 225"/>
              <a:gd name="T38" fmla="*/ 178 w 222"/>
              <a:gd name="T39" fmla="*/ 210 h 225"/>
              <a:gd name="T40" fmla="*/ 169 w 222"/>
              <a:gd name="T41" fmla="*/ 207 h 225"/>
              <a:gd name="T42" fmla="*/ 169 w 222"/>
              <a:gd name="T43" fmla="*/ 213 h 225"/>
              <a:gd name="T44" fmla="*/ 156 w 222"/>
              <a:gd name="T45" fmla="*/ 213 h 225"/>
              <a:gd name="T46" fmla="*/ 150 w 222"/>
              <a:gd name="T47" fmla="*/ 210 h 225"/>
              <a:gd name="T48" fmla="*/ 144 w 222"/>
              <a:gd name="T49" fmla="*/ 216 h 225"/>
              <a:gd name="T50" fmla="*/ 134 w 222"/>
              <a:gd name="T51" fmla="*/ 213 h 225"/>
              <a:gd name="T52" fmla="*/ 128 w 222"/>
              <a:gd name="T53" fmla="*/ 210 h 225"/>
              <a:gd name="T54" fmla="*/ 125 w 222"/>
              <a:gd name="T55" fmla="*/ 210 h 225"/>
              <a:gd name="T56" fmla="*/ 100 w 222"/>
              <a:gd name="T57" fmla="*/ 225 h 225"/>
              <a:gd name="T58" fmla="*/ 91 w 222"/>
              <a:gd name="T59" fmla="*/ 179 h 225"/>
              <a:gd name="T60" fmla="*/ 87 w 222"/>
              <a:gd name="T61" fmla="*/ 172 h 225"/>
              <a:gd name="T62" fmla="*/ 81 w 222"/>
              <a:gd name="T63" fmla="*/ 172 h 225"/>
              <a:gd name="T64" fmla="*/ 78 w 222"/>
              <a:gd name="T65" fmla="*/ 172 h 225"/>
              <a:gd name="T66" fmla="*/ 72 w 222"/>
              <a:gd name="T67" fmla="*/ 169 h 225"/>
              <a:gd name="T68" fmla="*/ 69 w 222"/>
              <a:gd name="T69" fmla="*/ 166 h 225"/>
              <a:gd name="T70" fmla="*/ 62 w 222"/>
              <a:gd name="T71" fmla="*/ 160 h 225"/>
              <a:gd name="T72" fmla="*/ 47 w 222"/>
              <a:gd name="T73" fmla="*/ 157 h 225"/>
              <a:gd name="T74" fmla="*/ 41 w 222"/>
              <a:gd name="T75" fmla="*/ 150 h 225"/>
              <a:gd name="T76" fmla="*/ 34 w 222"/>
              <a:gd name="T77" fmla="*/ 150 h 225"/>
              <a:gd name="T78" fmla="*/ 9 w 222"/>
              <a:gd name="T79" fmla="*/ 113 h 225"/>
              <a:gd name="T80" fmla="*/ 12 w 222"/>
              <a:gd name="T81" fmla="*/ 72 h 225"/>
              <a:gd name="T82" fmla="*/ 25 w 222"/>
              <a:gd name="T83" fmla="*/ 60 h 225"/>
              <a:gd name="T84" fmla="*/ 34 w 222"/>
              <a:gd name="T85" fmla="*/ 53 h 225"/>
              <a:gd name="T86" fmla="*/ 31 w 222"/>
              <a:gd name="T87" fmla="*/ 44 h 225"/>
              <a:gd name="T88" fmla="*/ 28 w 222"/>
              <a:gd name="T89" fmla="*/ 38 h 225"/>
              <a:gd name="T90" fmla="*/ 28 w 222"/>
              <a:gd name="T91" fmla="*/ 35 h 225"/>
              <a:gd name="T92" fmla="*/ 34 w 222"/>
              <a:gd name="T93" fmla="*/ 31 h 225"/>
              <a:gd name="T94" fmla="*/ 34 w 222"/>
              <a:gd name="T95" fmla="*/ 22 h 225"/>
              <a:gd name="T96" fmla="*/ 31 w 222"/>
              <a:gd name="T97" fmla="*/ 1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2" h="225">
                <a:moveTo>
                  <a:pt x="25" y="6"/>
                </a:moveTo>
                <a:lnTo>
                  <a:pt x="28" y="3"/>
                </a:lnTo>
                <a:lnTo>
                  <a:pt x="28" y="3"/>
                </a:lnTo>
                <a:lnTo>
                  <a:pt x="31" y="3"/>
                </a:lnTo>
                <a:lnTo>
                  <a:pt x="53" y="3"/>
                </a:lnTo>
                <a:lnTo>
                  <a:pt x="94" y="0"/>
                </a:lnTo>
                <a:lnTo>
                  <a:pt x="166" y="44"/>
                </a:lnTo>
                <a:lnTo>
                  <a:pt x="172" y="50"/>
                </a:lnTo>
                <a:lnTo>
                  <a:pt x="169" y="50"/>
                </a:lnTo>
                <a:lnTo>
                  <a:pt x="172" y="53"/>
                </a:lnTo>
                <a:lnTo>
                  <a:pt x="172" y="57"/>
                </a:lnTo>
                <a:lnTo>
                  <a:pt x="197" y="72"/>
                </a:lnTo>
                <a:lnTo>
                  <a:pt x="197" y="72"/>
                </a:lnTo>
                <a:lnTo>
                  <a:pt x="197" y="75"/>
                </a:lnTo>
                <a:lnTo>
                  <a:pt x="197" y="78"/>
                </a:lnTo>
                <a:lnTo>
                  <a:pt x="197" y="78"/>
                </a:lnTo>
                <a:lnTo>
                  <a:pt x="191" y="91"/>
                </a:lnTo>
                <a:lnTo>
                  <a:pt x="188" y="100"/>
                </a:lnTo>
                <a:lnTo>
                  <a:pt x="188" y="103"/>
                </a:lnTo>
                <a:lnTo>
                  <a:pt x="194" y="110"/>
                </a:lnTo>
                <a:lnTo>
                  <a:pt x="197" y="116"/>
                </a:lnTo>
                <a:lnTo>
                  <a:pt x="200" y="113"/>
                </a:lnTo>
                <a:lnTo>
                  <a:pt x="203" y="122"/>
                </a:lnTo>
                <a:lnTo>
                  <a:pt x="203" y="122"/>
                </a:lnTo>
                <a:lnTo>
                  <a:pt x="200" y="122"/>
                </a:lnTo>
                <a:lnTo>
                  <a:pt x="197" y="125"/>
                </a:lnTo>
                <a:lnTo>
                  <a:pt x="197" y="128"/>
                </a:lnTo>
                <a:lnTo>
                  <a:pt x="197" y="138"/>
                </a:lnTo>
                <a:lnTo>
                  <a:pt x="200" y="141"/>
                </a:lnTo>
                <a:lnTo>
                  <a:pt x="200" y="144"/>
                </a:lnTo>
                <a:lnTo>
                  <a:pt x="197" y="147"/>
                </a:lnTo>
                <a:lnTo>
                  <a:pt x="197" y="150"/>
                </a:lnTo>
                <a:lnTo>
                  <a:pt x="200" y="157"/>
                </a:lnTo>
                <a:lnTo>
                  <a:pt x="200" y="157"/>
                </a:lnTo>
                <a:lnTo>
                  <a:pt x="200" y="160"/>
                </a:lnTo>
                <a:lnTo>
                  <a:pt x="200" y="163"/>
                </a:lnTo>
                <a:lnTo>
                  <a:pt x="203" y="163"/>
                </a:lnTo>
                <a:lnTo>
                  <a:pt x="200" y="169"/>
                </a:lnTo>
                <a:lnTo>
                  <a:pt x="203" y="169"/>
                </a:lnTo>
                <a:lnTo>
                  <a:pt x="206" y="175"/>
                </a:lnTo>
                <a:lnTo>
                  <a:pt x="203" y="179"/>
                </a:lnTo>
                <a:lnTo>
                  <a:pt x="213" y="185"/>
                </a:lnTo>
                <a:lnTo>
                  <a:pt x="216" y="185"/>
                </a:lnTo>
                <a:lnTo>
                  <a:pt x="222" y="191"/>
                </a:lnTo>
                <a:lnTo>
                  <a:pt x="222" y="191"/>
                </a:lnTo>
                <a:lnTo>
                  <a:pt x="222" y="191"/>
                </a:lnTo>
                <a:lnTo>
                  <a:pt x="222" y="191"/>
                </a:lnTo>
                <a:lnTo>
                  <a:pt x="219" y="194"/>
                </a:lnTo>
                <a:lnTo>
                  <a:pt x="216" y="194"/>
                </a:lnTo>
                <a:lnTo>
                  <a:pt x="213" y="197"/>
                </a:lnTo>
                <a:lnTo>
                  <a:pt x="209" y="197"/>
                </a:lnTo>
                <a:lnTo>
                  <a:pt x="206" y="200"/>
                </a:lnTo>
                <a:lnTo>
                  <a:pt x="203" y="204"/>
                </a:lnTo>
                <a:lnTo>
                  <a:pt x="200" y="204"/>
                </a:lnTo>
                <a:lnTo>
                  <a:pt x="197" y="204"/>
                </a:lnTo>
                <a:lnTo>
                  <a:pt x="194" y="207"/>
                </a:lnTo>
                <a:lnTo>
                  <a:pt x="191" y="204"/>
                </a:lnTo>
                <a:lnTo>
                  <a:pt x="184" y="207"/>
                </a:lnTo>
                <a:lnTo>
                  <a:pt x="181" y="207"/>
                </a:lnTo>
                <a:lnTo>
                  <a:pt x="178" y="210"/>
                </a:lnTo>
                <a:lnTo>
                  <a:pt x="175" y="207"/>
                </a:lnTo>
                <a:lnTo>
                  <a:pt x="172" y="207"/>
                </a:lnTo>
                <a:lnTo>
                  <a:pt x="169" y="207"/>
                </a:lnTo>
                <a:lnTo>
                  <a:pt x="169" y="207"/>
                </a:lnTo>
                <a:lnTo>
                  <a:pt x="169" y="210"/>
                </a:lnTo>
                <a:lnTo>
                  <a:pt x="169" y="213"/>
                </a:lnTo>
                <a:lnTo>
                  <a:pt x="163" y="213"/>
                </a:lnTo>
                <a:lnTo>
                  <a:pt x="159" y="213"/>
                </a:lnTo>
                <a:lnTo>
                  <a:pt x="156" y="213"/>
                </a:lnTo>
                <a:lnTo>
                  <a:pt x="153" y="213"/>
                </a:lnTo>
                <a:lnTo>
                  <a:pt x="153" y="213"/>
                </a:lnTo>
                <a:lnTo>
                  <a:pt x="150" y="210"/>
                </a:lnTo>
                <a:lnTo>
                  <a:pt x="150" y="213"/>
                </a:lnTo>
                <a:lnTo>
                  <a:pt x="147" y="213"/>
                </a:lnTo>
                <a:lnTo>
                  <a:pt x="144" y="216"/>
                </a:lnTo>
                <a:lnTo>
                  <a:pt x="138" y="216"/>
                </a:lnTo>
                <a:lnTo>
                  <a:pt x="138" y="216"/>
                </a:lnTo>
                <a:lnTo>
                  <a:pt x="134" y="213"/>
                </a:lnTo>
                <a:lnTo>
                  <a:pt x="134" y="213"/>
                </a:lnTo>
                <a:lnTo>
                  <a:pt x="131" y="210"/>
                </a:lnTo>
                <a:lnTo>
                  <a:pt x="128" y="210"/>
                </a:lnTo>
                <a:lnTo>
                  <a:pt x="128" y="210"/>
                </a:lnTo>
                <a:lnTo>
                  <a:pt x="125" y="210"/>
                </a:lnTo>
                <a:lnTo>
                  <a:pt x="125" y="210"/>
                </a:lnTo>
                <a:lnTo>
                  <a:pt x="122" y="213"/>
                </a:lnTo>
                <a:lnTo>
                  <a:pt x="103" y="213"/>
                </a:lnTo>
                <a:lnTo>
                  <a:pt x="100" y="225"/>
                </a:lnTo>
                <a:lnTo>
                  <a:pt x="100" y="194"/>
                </a:lnTo>
                <a:lnTo>
                  <a:pt x="97" y="185"/>
                </a:lnTo>
                <a:lnTo>
                  <a:pt x="91" y="179"/>
                </a:lnTo>
                <a:lnTo>
                  <a:pt x="91" y="175"/>
                </a:lnTo>
                <a:lnTo>
                  <a:pt x="87" y="175"/>
                </a:lnTo>
                <a:lnTo>
                  <a:pt x="87" y="172"/>
                </a:lnTo>
                <a:lnTo>
                  <a:pt x="84" y="172"/>
                </a:lnTo>
                <a:lnTo>
                  <a:pt x="84" y="172"/>
                </a:lnTo>
                <a:lnTo>
                  <a:pt x="81" y="172"/>
                </a:lnTo>
                <a:lnTo>
                  <a:pt x="81" y="172"/>
                </a:lnTo>
                <a:lnTo>
                  <a:pt x="78" y="172"/>
                </a:lnTo>
                <a:lnTo>
                  <a:pt x="78" y="172"/>
                </a:lnTo>
                <a:lnTo>
                  <a:pt x="75" y="169"/>
                </a:lnTo>
                <a:lnTo>
                  <a:pt x="75" y="169"/>
                </a:lnTo>
                <a:lnTo>
                  <a:pt x="72" y="169"/>
                </a:lnTo>
                <a:lnTo>
                  <a:pt x="72" y="169"/>
                </a:lnTo>
                <a:lnTo>
                  <a:pt x="72" y="169"/>
                </a:lnTo>
                <a:lnTo>
                  <a:pt x="69" y="166"/>
                </a:lnTo>
                <a:lnTo>
                  <a:pt x="66" y="163"/>
                </a:lnTo>
                <a:lnTo>
                  <a:pt x="62" y="163"/>
                </a:lnTo>
                <a:lnTo>
                  <a:pt x="62" y="160"/>
                </a:lnTo>
                <a:lnTo>
                  <a:pt x="59" y="160"/>
                </a:lnTo>
                <a:lnTo>
                  <a:pt x="50" y="157"/>
                </a:lnTo>
                <a:lnTo>
                  <a:pt x="47" y="157"/>
                </a:lnTo>
                <a:lnTo>
                  <a:pt x="44" y="153"/>
                </a:lnTo>
                <a:lnTo>
                  <a:pt x="44" y="153"/>
                </a:lnTo>
                <a:lnTo>
                  <a:pt x="41" y="150"/>
                </a:lnTo>
                <a:lnTo>
                  <a:pt x="41" y="150"/>
                </a:lnTo>
                <a:lnTo>
                  <a:pt x="37" y="150"/>
                </a:lnTo>
                <a:lnTo>
                  <a:pt x="34" y="150"/>
                </a:lnTo>
                <a:lnTo>
                  <a:pt x="28" y="147"/>
                </a:lnTo>
                <a:lnTo>
                  <a:pt x="22" y="132"/>
                </a:lnTo>
                <a:lnTo>
                  <a:pt x="9" y="113"/>
                </a:lnTo>
                <a:lnTo>
                  <a:pt x="3" y="88"/>
                </a:lnTo>
                <a:lnTo>
                  <a:pt x="0" y="72"/>
                </a:lnTo>
                <a:lnTo>
                  <a:pt x="12" y="72"/>
                </a:lnTo>
                <a:lnTo>
                  <a:pt x="19" y="69"/>
                </a:lnTo>
                <a:lnTo>
                  <a:pt x="22" y="66"/>
                </a:lnTo>
                <a:lnTo>
                  <a:pt x="25" y="60"/>
                </a:lnTo>
                <a:lnTo>
                  <a:pt x="28" y="57"/>
                </a:lnTo>
                <a:lnTo>
                  <a:pt x="31" y="57"/>
                </a:lnTo>
                <a:lnTo>
                  <a:pt x="34" y="53"/>
                </a:lnTo>
                <a:lnTo>
                  <a:pt x="34" y="50"/>
                </a:lnTo>
                <a:lnTo>
                  <a:pt x="34" y="44"/>
                </a:lnTo>
                <a:lnTo>
                  <a:pt x="31" y="44"/>
                </a:lnTo>
                <a:lnTo>
                  <a:pt x="31" y="41"/>
                </a:lnTo>
                <a:lnTo>
                  <a:pt x="28" y="38"/>
                </a:lnTo>
                <a:lnTo>
                  <a:pt x="28" y="38"/>
                </a:lnTo>
                <a:lnTo>
                  <a:pt x="28" y="35"/>
                </a:lnTo>
                <a:lnTo>
                  <a:pt x="28" y="31"/>
                </a:lnTo>
                <a:lnTo>
                  <a:pt x="28" y="35"/>
                </a:lnTo>
                <a:lnTo>
                  <a:pt x="28" y="35"/>
                </a:lnTo>
                <a:lnTo>
                  <a:pt x="31" y="31"/>
                </a:lnTo>
                <a:lnTo>
                  <a:pt x="34" y="31"/>
                </a:lnTo>
                <a:lnTo>
                  <a:pt x="34" y="28"/>
                </a:lnTo>
                <a:lnTo>
                  <a:pt x="34" y="25"/>
                </a:lnTo>
                <a:lnTo>
                  <a:pt x="34" y="22"/>
                </a:lnTo>
                <a:lnTo>
                  <a:pt x="34" y="16"/>
                </a:lnTo>
                <a:lnTo>
                  <a:pt x="31" y="13"/>
                </a:lnTo>
                <a:lnTo>
                  <a:pt x="31" y="13"/>
                </a:lnTo>
                <a:lnTo>
                  <a:pt x="28" y="10"/>
                </a:lnTo>
                <a:lnTo>
                  <a:pt x="25" y="6"/>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3" name="Freeform 141">
            <a:extLst>
              <a:ext uri="{FF2B5EF4-FFF2-40B4-BE49-F238E27FC236}">
                <a16:creationId xmlns:a16="http://schemas.microsoft.com/office/drawing/2014/main" id="{F67283CD-3229-B831-58CE-9BD44605C78C}"/>
              </a:ext>
            </a:extLst>
          </p:cNvPr>
          <p:cNvSpPr>
            <a:spLocks/>
          </p:cNvSpPr>
          <p:nvPr userDrawn="1"/>
        </p:nvSpPr>
        <p:spPr bwMode="auto">
          <a:xfrm>
            <a:off x="14975496" y="9454432"/>
            <a:ext cx="117470" cy="101600"/>
          </a:xfrm>
          <a:custGeom>
            <a:avLst/>
            <a:gdLst>
              <a:gd name="T0" fmla="*/ 9 w 37"/>
              <a:gd name="T1" fmla="*/ 4 h 32"/>
              <a:gd name="T2" fmla="*/ 9 w 37"/>
              <a:gd name="T3" fmla="*/ 4 h 32"/>
              <a:gd name="T4" fmla="*/ 12 w 37"/>
              <a:gd name="T5" fmla="*/ 4 h 32"/>
              <a:gd name="T6" fmla="*/ 19 w 37"/>
              <a:gd name="T7" fmla="*/ 0 h 32"/>
              <a:gd name="T8" fmla="*/ 19 w 37"/>
              <a:gd name="T9" fmla="*/ 4 h 32"/>
              <a:gd name="T10" fmla="*/ 22 w 37"/>
              <a:gd name="T11" fmla="*/ 4 h 32"/>
              <a:gd name="T12" fmla="*/ 25 w 37"/>
              <a:gd name="T13" fmla="*/ 4 h 32"/>
              <a:gd name="T14" fmla="*/ 25 w 37"/>
              <a:gd name="T15" fmla="*/ 4 h 32"/>
              <a:gd name="T16" fmla="*/ 25 w 37"/>
              <a:gd name="T17" fmla="*/ 0 h 32"/>
              <a:gd name="T18" fmla="*/ 28 w 37"/>
              <a:gd name="T19" fmla="*/ 0 h 32"/>
              <a:gd name="T20" fmla="*/ 31 w 37"/>
              <a:gd name="T21" fmla="*/ 4 h 32"/>
              <a:gd name="T22" fmla="*/ 34 w 37"/>
              <a:gd name="T23" fmla="*/ 7 h 32"/>
              <a:gd name="T24" fmla="*/ 34 w 37"/>
              <a:gd name="T25" fmla="*/ 7 h 32"/>
              <a:gd name="T26" fmla="*/ 37 w 37"/>
              <a:gd name="T27" fmla="*/ 10 h 32"/>
              <a:gd name="T28" fmla="*/ 37 w 37"/>
              <a:gd name="T29" fmla="*/ 16 h 32"/>
              <a:gd name="T30" fmla="*/ 37 w 37"/>
              <a:gd name="T31" fmla="*/ 19 h 32"/>
              <a:gd name="T32" fmla="*/ 37 w 37"/>
              <a:gd name="T33" fmla="*/ 22 h 32"/>
              <a:gd name="T34" fmla="*/ 37 w 37"/>
              <a:gd name="T35" fmla="*/ 25 h 32"/>
              <a:gd name="T36" fmla="*/ 34 w 37"/>
              <a:gd name="T37" fmla="*/ 25 h 32"/>
              <a:gd name="T38" fmla="*/ 31 w 37"/>
              <a:gd name="T39" fmla="*/ 29 h 32"/>
              <a:gd name="T40" fmla="*/ 31 w 37"/>
              <a:gd name="T41" fmla="*/ 29 h 32"/>
              <a:gd name="T42" fmla="*/ 31 w 37"/>
              <a:gd name="T43" fmla="*/ 25 h 32"/>
              <a:gd name="T44" fmla="*/ 31 w 37"/>
              <a:gd name="T45" fmla="*/ 25 h 32"/>
              <a:gd name="T46" fmla="*/ 28 w 37"/>
              <a:gd name="T47" fmla="*/ 25 h 32"/>
              <a:gd name="T48" fmla="*/ 28 w 37"/>
              <a:gd name="T49" fmla="*/ 22 h 32"/>
              <a:gd name="T50" fmla="*/ 25 w 37"/>
              <a:gd name="T51" fmla="*/ 22 h 32"/>
              <a:gd name="T52" fmla="*/ 22 w 37"/>
              <a:gd name="T53" fmla="*/ 19 h 32"/>
              <a:gd name="T54" fmla="*/ 22 w 37"/>
              <a:gd name="T55" fmla="*/ 19 h 32"/>
              <a:gd name="T56" fmla="*/ 22 w 37"/>
              <a:gd name="T57" fmla="*/ 22 h 32"/>
              <a:gd name="T58" fmla="*/ 19 w 37"/>
              <a:gd name="T59" fmla="*/ 29 h 32"/>
              <a:gd name="T60" fmla="*/ 19 w 37"/>
              <a:gd name="T61" fmla="*/ 32 h 32"/>
              <a:gd name="T62" fmla="*/ 15 w 37"/>
              <a:gd name="T63" fmla="*/ 32 h 32"/>
              <a:gd name="T64" fmla="*/ 12 w 37"/>
              <a:gd name="T65" fmla="*/ 32 h 32"/>
              <a:gd name="T66" fmla="*/ 12 w 37"/>
              <a:gd name="T67" fmla="*/ 32 h 32"/>
              <a:gd name="T68" fmla="*/ 9 w 37"/>
              <a:gd name="T69" fmla="*/ 32 h 32"/>
              <a:gd name="T70" fmla="*/ 6 w 37"/>
              <a:gd name="T71" fmla="*/ 32 h 32"/>
              <a:gd name="T72" fmla="*/ 6 w 37"/>
              <a:gd name="T73" fmla="*/ 29 h 32"/>
              <a:gd name="T74" fmla="*/ 3 w 37"/>
              <a:gd name="T75" fmla="*/ 25 h 32"/>
              <a:gd name="T76" fmla="*/ 0 w 37"/>
              <a:gd name="T77" fmla="*/ 25 h 32"/>
              <a:gd name="T78" fmla="*/ 0 w 37"/>
              <a:gd name="T79" fmla="*/ 29 h 32"/>
              <a:gd name="T80" fmla="*/ 0 w 37"/>
              <a:gd name="T81" fmla="*/ 25 h 32"/>
              <a:gd name="T82" fmla="*/ 3 w 37"/>
              <a:gd name="T83" fmla="*/ 13 h 32"/>
              <a:gd name="T84" fmla="*/ 6 w 37"/>
              <a:gd name="T85" fmla="*/ 7 h 32"/>
              <a:gd name="T86" fmla="*/ 9 w 37"/>
              <a:gd name="T87"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 h="32">
                <a:moveTo>
                  <a:pt x="9" y="4"/>
                </a:moveTo>
                <a:lnTo>
                  <a:pt x="9" y="4"/>
                </a:lnTo>
                <a:lnTo>
                  <a:pt x="12" y="4"/>
                </a:lnTo>
                <a:lnTo>
                  <a:pt x="19" y="0"/>
                </a:lnTo>
                <a:lnTo>
                  <a:pt x="19" y="4"/>
                </a:lnTo>
                <a:lnTo>
                  <a:pt x="22" y="4"/>
                </a:lnTo>
                <a:lnTo>
                  <a:pt x="25" y="4"/>
                </a:lnTo>
                <a:lnTo>
                  <a:pt x="25" y="4"/>
                </a:lnTo>
                <a:lnTo>
                  <a:pt x="25" y="0"/>
                </a:lnTo>
                <a:lnTo>
                  <a:pt x="28" y="0"/>
                </a:lnTo>
                <a:lnTo>
                  <a:pt x="31" y="4"/>
                </a:lnTo>
                <a:lnTo>
                  <a:pt x="34" y="7"/>
                </a:lnTo>
                <a:lnTo>
                  <a:pt x="34" y="7"/>
                </a:lnTo>
                <a:lnTo>
                  <a:pt x="37" y="10"/>
                </a:lnTo>
                <a:lnTo>
                  <a:pt x="37" y="16"/>
                </a:lnTo>
                <a:lnTo>
                  <a:pt x="37" y="19"/>
                </a:lnTo>
                <a:lnTo>
                  <a:pt x="37" y="22"/>
                </a:lnTo>
                <a:lnTo>
                  <a:pt x="37" y="25"/>
                </a:lnTo>
                <a:lnTo>
                  <a:pt x="34" y="25"/>
                </a:lnTo>
                <a:lnTo>
                  <a:pt x="31" y="29"/>
                </a:lnTo>
                <a:lnTo>
                  <a:pt x="31" y="29"/>
                </a:lnTo>
                <a:lnTo>
                  <a:pt x="31" y="25"/>
                </a:lnTo>
                <a:lnTo>
                  <a:pt x="31" y="25"/>
                </a:lnTo>
                <a:lnTo>
                  <a:pt x="28" y="25"/>
                </a:lnTo>
                <a:lnTo>
                  <a:pt x="28" y="22"/>
                </a:lnTo>
                <a:lnTo>
                  <a:pt x="25" y="22"/>
                </a:lnTo>
                <a:lnTo>
                  <a:pt x="22" y="19"/>
                </a:lnTo>
                <a:lnTo>
                  <a:pt x="22" y="19"/>
                </a:lnTo>
                <a:lnTo>
                  <a:pt x="22" y="22"/>
                </a:lnTo>
                <a:lnTo>
                  <a:pt x="19" y="29"/>
                </a:lnTo>
                <a:lnTo>
                  <a:pt x="19" y="32"/>
                </a:lnTo>
                <a:lnTo>
                  <a:pt x="15" y="32"/>
                </a:lnTo>
                <a:lnTo>
                  <a:pt x="12" y="32"/>
                </a:lnTo>
                <a:lnTo>
                  <a:pt x="12" y="32"/>
                </a:lnTo>
                <a:lnTo>
                  <a:pt x="9" y="32"/>
                </a:lnTo>
                <a:lnTo>
                  <a:pt x="6" y="32"/>
                </a:lnTo>
                <a:lnTo>
                  <a:pt x="6" y="29"/>
                </a:lnTo>
                <a:lnTo>
                  <a:pt x="3" y="25"/>
                </a:lnTo>
                <a:lnTo>
                  <a:pt x="0" y="25"/>
                </a:lnTo>
                <a:lnTo>
                  <a:pt x="0" y="29"/>
                </a:lnTo>
                <a:lnTo>
                  <a:pt x="0" y="25"/>
                </a:lnTo>
                <a:lnTo>
                  <a:pt x="3" y="13"/>
                </a:lnTo>
                <a:lnTo>
                  <a:pt x="6" y="7"/>
                </a:lnTo>
                <a:lnTo>
                  <a:pt x="9" y="4"/>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4" name="Freeform 142">
            <a:extLst>
              <a:ext uri="{FF2B5EF4-FFF2-40B4-BE49-F238E27FC236}">
                <a16:creationId xmlns:a16="http://schemas.microsoft.com/office/drawing/2014/main" id="{921E20B6-3CA3-FDF9-2AF9-ED2E1DF49237}"/>
              </a:ext>
            </a:extLst>
          </p:cNvPr>
          <p:cNvSpPr>
            <a:spLocks/>
          </p:cNvSpPr>
          <p:nvPr userDrawn="1"/>
        </p:nvSpPr>
        <p:spPr bwMode="auto">
          <a:xfrm>
            <a:off x="14965974" y="9514763"/>
            <a:ext cx="126992" cy="149226"/>
          </a:xfrm>
          <a:custGeom>
            <a:avLst/>
            <a:gdLst>
              <a:gd name="T0" fmla="*/ 6 w 40"/>
              <a:gd name="T1" fmla="*/ 47 h 47"/>
              <a:gd name="T2" fmla="*/ 18 w 40"/>
              <a:gd name="T3" fmla="*/ 47 h 47"/>
              <a:gd name="T4" fmla="*/ 25 w 40"/>
              <a:gd name="T5" fmla="*/ 44 h 47"/>
              <a:gd name="T6" fmla="*/ 28 w 40"/>
              <a:gd name="T7" fmla="*/ 41 h 47"/>
              <a:gd name="T8" fmla="*/ 31 w 40"/>
              <a:gd name="T9" fmla="*/ 35 h 47"/>
              <a:gd name="T10" fmla="*/ 34 w 40"/>
              <a:gd name="T11" fmla="*/ 32 h 47"/>
              <a:gd name="T12" fmla="*/ 37 w 40"/>
              <a:gd name="T13" fmla="*/ 32 h 47"/>
              <a:gd name="T14" fmla="*/ 40 w 40"/>
              <a:gd name="T15" fmla="*/ 28 h 47"/>
              <a:gd name="T16" fmla="*/ 40 w 40"/>
              <a:gd name="T17" fmla="*/ 25 h 47"/>
              <a:gd name="T18" fmla="*/ 40 w 40"/>
              <a:gd name="T19" fmla="*/ 19 h 47"/>
              <a:gd name="T20" fmla="*/ 37 w 40"/>
              <a:gd name="T21" fmla="*/ 19 h 47"/>
              <a:gd name="T22" fmla="*/ 37 w 40"/>
              <a:gd name="T23" fmla="*/ 16 h 47"/>
              <a:gd name="T24" fmla="*/ 34 w 40"/>
              <a:gd name="T25" fmla="*/ 13 h 47"/>
              <a:gd name="T26" fmla="*/ 34 w 40"/>
              <a:gd name="T27" fmla="*/ 13 h 47"/>
              <a:gd name="T28" fmla="*/ 34 w 40"/>
              <a:gd name="T29" fmla="*/ 10 h 47"/>
              <a:gd name="T30" fmla="*/ 34 w 40"/>
              <a:gd name="T31" fmla="*/ 6 h 47"/>
              <a:gd name="T32" fmla="*/ 31 w 40"/>
              <a:gd name="T33" fmla="*/ 6 h 47"/>
              <a:gd name="T34" fmla="*/ 31 w 40"/>
              <a:gd name="T35" fmla="*/ 3 h 47"/>
              <a:gd name="T36" fmla="*/ 28 w 40"/>
              <a:gd name="T37" fmla="*/ 3 h 47"/>
              <a:gd name="T38" fmla="*/ 25 w 40"/>
              <a:gd name="T39" fmla="*/ 0 h 47"/>
              <a:gd name="T40" fmla="*/ 25 w 40"/>
              <a:gd name="T41" fmla="*/ 0 h 47"/>
              <a:gd name="T42" fmla="*/ 25 w 40"/>
              <a:gd name="T43" fmla="*/ 3 h 47"/>
              <a:gd name="T44" fmla="*/ 22 w 40"/>
              <a:gd name="T45" fmla="*/ 10 h 47"/>
              <a:gd name="T46" fmla="*/ 22 w 40"/>
              <a:gd name="T47" fmla="*/ 13 h 47"/>
              <a:gd name="T48" fmla="*/ 18 w 40"/>
              <a:gd name="T49" fmla="*/ 13 h 47"/>
              <a:gd name="T50" fmla="*/ 15 w 40"/>
              <a:gd name="T51" fmla="*/ 13 h 47"/>
              <a:gd name="T52" fmla="*/ 15 w 40"/>
              <a:gd name="T53" fmla="*/ 13 h 47"/>
              <a:gd name="T54" fmla="*/ 12 w 40"/>
              <a:gd name="T55" fmla="*/ 13 h 47"/>
              <a:gd name="T56" fmla="*/ 9 w 40"/>
              <a:gd name="T57" fmla="*/ 13 h 47"/>
              <a:gd name="T58" fmla="*/ 9 w 40"/>
              <a:gd name="T59" fmla="*/ 10 h 47"/>
              <a:gd name="T60" fmla="*/ 6 w 40"/>
              <a:gd name="T61" fmla="*/ 6 h 47"/>
              <a:gd name="T62" fmla="*/ 3 w 40"/>
              <a:gd name="T63" fmla="*/ 6 h 47"/>
              <a:gd name="T64" fmla="*/ 3 w 40"/>
              <a:gd name="T65" fmla="*/ 10 h 47"/>
              <a:gd name="T66" fmla="*/ 0 w 40"/>
              <a:gd name="T67" fmla="*/ 10 h 47"/>
              <a:gd name="T68" fmla="*/ 3 w 40"/>
              <a:gd name="T69" fmla="*/ 16 h 47"/>
              <a:gd name="T70" fmla="*/ 3 w 40"/>
              <a:gd name="T71" fmla="*/ 19 h 47"/>
              <a:gd name="T72" fmla="*/ 3 w 40"/>
              <a:gd name="T73" fmla="*/ 25 h 47"/>
              <a:gd name="T74" fmla="*/ 6 w 40"/>
              <a:gd name="T75"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7">
                <a:moveTo>
                  <a:pt x="6" y="47"/>
                </a:moveTo>
                <a:lnTo>
                  <a:pt x="18" y="47"/>
                </a:lnTo>
                <a:lnTo>
                  <a:pt x="25" y="44"/>
                </a:lnTo>
                <a:lnTo>
                  <a:pt x="28" y="41"/>
                </a:lnTo>
                <a:lnTo>
                  <a:pt x="31" y="35"/>
                </a:lnTo>
                <a:lnTo>
                  <a:pt x="34" y="32"/>
                </a:lnTo>
                <a:lnTo>
                  <a:pt x="37" y="32"/>
                </a:lnTo>
                <a:lnTo>
                  <a:pt x="40" y="28"/>
                </a:lnTo>
                <a:lnTo>
                  <a:pt x="40" y="25"/>
                </a:lnTo>
                <a:lnTo>
                  <a:pt x="40" y="19"/>
                </a:lnTo>
                <a:lnTo>
                  <a:pt x="37" y="19"/>
                </a:lnTo>
                <a:lnTo>
                  <a:pt x="37" y="16"/>
                </a:lnTo>
                <a:lnTo>
                  <a:pt x="34" y="13"/>
                </a:lnTo>
                <a:lnTo>
                  <a:pt x="34" y="13"/>
                </a:lnTo>
                <a:lnTo>
                  <a:pt x="34" y="10"/>
                </a:lnTo>
                <a:lnTo>
                  <a:pt x="34" y="6"/>
                </a:lnTo>
                <a:lnTo>
                  <a:pt x="31" y="6"/>
                </a:lnTo>
                <a:lnTo>
                  <a:pt x="31" y="3"/>
                </a:lnTo>
                <a:lnTo>
                  <a:pt x="28" y="3"/>
                </a:lnTo>
                <a:lnTo>
                  <a:pt x="25" y="0"/>
                </a:lnTo>
                <a:lnTo>
                  <a:pt x="25" y="0"/>
                </a:lnTo>
                <a:lnTo>
                  <a:pt x="25" y="3"/>
                </a:lnTo>
                <a:lnTo>
                  <a:pt x="22" y="10"/>
                </a:lnTo>
                <a:lnTo>
                  <a:pt x="22" y="13"/>
                </a:lnTo>
                <a:lnTo>
                  <a:pt x="18" y="13"/>
                </a:lnTo>
                <a:lnTo>
                  <a:pt x="15" y="13"/>
                </a:lnTo>
                <a:lnTo>
                  <a:pt x="15" y="13"/>
                </a:lnTo>
                <a:lnTo>
                  <a:pt x="12" y="13"/>
                </a:lnTo>
                <a:lnTo>
                  <a:pt x="9" y="13"/>
                </a:lnTo>
                <a:lnTo>
                  <a:pt x="9" y="10"/>
                </a:lnTo>
                <a:lnTo>
                  <a:pt x="6" y="6"/>
                </a:lnTo>
                <a:lnTo>
                  <a:pt x="3" y="6"/>
                </a:lnTo>
                <a:lnTo>
                  <a:pt x="3" y="10"/>
                </a:lnTo>
                <a:lnTo>
                  <a:pt x="0" y="10"/>
                </a:lnTo>
                <a:lnTo>
                  <a:pt x="3" y="16"/>
                </a:lnTo>
                <a:lnTo>
                  <a:pt x="3" y="19"/>
                </a:lnTo>
                <a:lnTo>
                  <a:pt x="3" y="25"/>
                </a:lnTo>
                <a:lnTo>
                  <a:pt x="6" y="47"/>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5" name="Freeform 143">
            <a:extLst>
              <a:ext uri="{FF2B5EF4-FFF2-40B4-BE49-F238E27FC236}">
                <a16:creationId xmlns:a16="http://schemas.microsoft.com/office/drawing/2014/main" id="{AB171244-B990-61F9-B8F9-7FF8D86BFDF1}"/>
              </a:ext>
            </a:extLst>
          </p:cNvPr>
          <p:cNvSpPr>
            <a:spLocks/>
          </p:cNvSpPr>
          <p:nvPr userDrawn="1"/>
        </p:nvSpPr>
        <p:spPr bwMode="auto">
          <a:xfrm>
            <a:off x="13911949" y="9038513"/>
            <a:ext cx="1190549" cy="1190626"/>
          </a:xfrm>
          <a:custGeom>
            <a:avLst/>
            <a:gdLst>
              <a:gd name="T0" fmla="*/ 10 w 375"/>
              <a:gd name="T1" fmla="*/ 210 h 375"/>
              <a:gd name="T2" fmla="*/ 25 w 375"/>
              <a:gd name="T3" fmla="*/ 203 h 375"/>
              <a:gd name="T4" fmla="*/ 41 w 375"/>
              <a:gd name="T5" fmla="*/ 194 h 375"/>
              <a:gd name="T6" fmla="*/ 50 w 375"/>
              <a:gd name="T7" fmla="*/ 207 h 375"/>
              <a:gd name="T8" fmla="*/ 75 w 375"/>
              <a:gd name="T9" fmla="*/ 185 h 375"/>
              <a:gd name="T10" fmla="*/ 79 w 375"/>
              <a:gd name="T11" fmla="*/ 153 h 375"/>
              <a:gd name="T12" fmla="*/ 97 w 375"/>
              <a:gd name="T13" fmla="*/ 131 h 375"/>
              <a:gd name="T14" fmla="*/ 116 w 375"/>
              <a:gd name="T15" fmla="*/ 103 h 375"/>
              <a:gd name="T16" fmla="*/ 119 w 375"/>
              <a:gd name="T17" fmla="*/ 78 h 375"/>
              <a:gd name="T18" fmla="*/ 132 w 375"/>
              <a:gd name="T19" fmla="*/ 47 h 375"/>
              <a:gd name="T20" fmla="*/ 129 w 375"/>
              <a:gd name="T21" fmla="*/ 22 h 375"/>
              <a:gd name="T22" fmla="*/ 135 w 375"/>
              <a:gd name="T23" fmla="*/ 13 h 375"/>
              <a:gd name="T24" fmla="*/ 147 w 375"/>
              <a:gd name="T25" fmla="*/ 6 h 375"/>
              <a:gd name="T26" fmla="*/ 169 w 375"/>
              <a:gd name="T27" fmla="*/ 19 h 375"/>
              <a:gd name="T28" fmla="*/ 191 w 375"/>
              <a:gd name="T29" fmla="*/ 22 h 375"/>
              <a:gd name="T30" fmla="*/ 204 w 375"/>
              <a:gd name="T31" fmla="*/ 22 h 375"/>
              <a:gd name="T32" fmla="*/ 219 w 375"/>
              <a:gd name="T33" fmla="*/ 16 h 375"/>
              <a:gd name="T34" fmla="*/ 244 w 375"/>
              <a:gd name="T35" fmla="*/ 6 h 375"/>
              <a:gd name="T36" fmla="*/ 257 w 375"/>
              <a:gd name="T37" fmla="*/ 9 h 375"/>
              <a:gd name="T38" fmla="*/ 266 w 375"/>
              <a:gd name="T39" fmla="*/ 0 h 375"/>
              <a:gd name="T40" fmla="*/ 282 w 375"/>
              <a:gd name="T41" fmla="*/ 6 h 375"/>
              <a:gd name="T42" fmla="*/ 307 w 375"/>
              <a:gd name="T43" fmla="*/ 9 h 375"/>
              <a:gd name="T44" fmla="*/ 322 w 375"/>
              <a:gd name="T45" fmla="*/ 22 h 375"/>
              <a:gd name="T46" fmla="*/ 335 w 375"/>
              <a:gd name="T47" fmla="*/ 19 h 375"/>
              <a:gd name="T48" fmla="*/ 350 w 375"/>
              <a:gd name="T49" fmla="*/ 13 h 375"/>
              <a:gd name="T50" fmla="*/ 366 w 375"/>
              <a:gd name="T51" fmla="*/ 31 h 375"/>
              <a:gd name="T52" fmla="*/ 375 w 375"/>
              <a:gd name="T53" fmla="*/ 38 h 375"/>
              <a:gd name="T54" fmla="*/ 372 w 375"/>
              <a:gd name="T55" fmla="*/ 63 h 375"/>
              <a:gd name="T56" fmla="*/ 357 w 375"/>
              <a:gd name="T57" fmla="*/ 94 h 375"/>
              <a:gd name="T58" fmla="*/ 344 w 375"/>
              <a:gd name="T59" fmla="*/ 135 h 375"/>
              <a:gd name="T60" fmla="*/ 335 w 375"/>
              <a:gd name="T61" fmla="*/ 169 h 375"/>
              <a:gd name="T62" fmla="*/ 363 w 375"/>
              <a:gd name="T63" fmla="*/ 269 h 375"/>
              <a:gd name="T64" fmla="*/ 329 w 375"/>
              <a:gd name="T65" fmla="*/ 304 h 375"/>
              <a:gd name="T66" fmla="*/ 325 w 375"/>
              <a:gd name="T67" fmla="*/ 316 h 375"/>
              <a:gd name="T68" fmla="*/ 319 w 375"/>
              <a:gd name="T69" fmla="*/ 344 h 375"/>
              <a:gd name="T70" fmla="*/ 341 w 375"/>
              <a:gd name="T71" fmla="*/ 357 h 375"/>
              <a:gd name="T72" fmla="*/ 344 w 375"/>
              <a:gd name="T73" fmla="*/ 375 h 375"/>
              <a:gd name="T74" fmla="*/ 332 w 375"/>
              <a:gd name="T75" fmla="*/ 375 h 375"/>
              <a:gd name="T76" fmla="*/ 304 w 375"/>
              <a:gd name="T77" fmla="*/ 354 h 375"/>
              <a:gd name="T78" fmla="*/ 294 w 375"/>
              <a:gd name="T79" fmla="*/ 338 h 375"/>
              <a:gd name="T80" fmla="*/ 279 w 375"/>
              <a:gd name="T81" fmla="*/ 347 h 375"/>
              <a:gd name="T82" fmla="*/ 260 w 375"/>
              <a:gd name="T83" fmla="*/ 341 h 375"/>
              <a:gd name="T84" fmla="*/ 250 w 375"/>
              <a:gd name="T85" fmla="*/ 332 h 375"/>
              <a:gd name="T86" fmla="*/ 241 w 375"/>
              <a:gd name="T87" fmla="*/ 335 h 375"/>
              <a:gd name="T88" fmla="*/ 232 w 375"/>
              <a:gd name="T89" fmla="*/ 329 h 375"/>
              <a:gd name="T90" fmla="*/ 216 w 375"/>
              <a:gd name="T91" fmla="*/ 332 h 375"/>
              <a:gd name="T92" fmla="*/ 200 w 375"/>
              <a:gd name="T93" fmla="*/ 329 h 375"/>
              <a:gd name="T94" fmla="*/ 197 w 375"/>
              <a:gd name="T95" fmla="*/ 322 h 375"/>
              <a:gd name="T96" fmla="*/ 194 w 375"/>
              <a:gd name="T97" fmla="*/ 310 h 375"/>
              <a:gd name="T98" fmla="*/ 191 w 375"/>
              <a:gd name="T99" fmla="*/ 297 h 375"/>
              <a:gd name="T100" fmla="*/ 191 w 375"/>
              <a:gd name="T101" fmla="*/ 278 h 375"/>
              <a:gd name="T102" fmla="*/ 188 w 375"/>
              <a:gd name="T103" fmla="*/ 266 h 375"/>
              <a:gd name="T104" fmla="*/ 166 w 375"/>
              <a:gd name="T105" fmla="*/ 250 h 375"/>
              <a:gd name="T106" fmla="*/ 141 w 375"/>
              <a:gd name="T107" fmla="*/ 253 h 375"/>
              <a:gd name="T108" fmla="*/ 122 w 375"/>
              <a:gd name="T109" fmla="*/ 269 h 375"/>
              <a:gd name="T110" fmla="*/ 100 w 375"/>
              <a:gd name="T111" fmla="*/ 260 h 375"/>
              <a:gd name="T112" fmla="*/ 94 w 375"/>
              <a:gd name="T113" fmla="*/ 244 h 375"/>
              <a:gd name="T114" fmla="*/ 91 w 375"/>
              <a:gd name="T115" fmla="*/ 228 h 375"/>
              <a:gd name="T116" fmla="*/ 44 w 375"/>
              <a:gd name="T117" fmla="*/ 225 h 375"/>
              <a:gd name="T118" fmla="*/ 19 w 375"/>
              <a:gd name="T119" fmla="*/ 225 h 375"/>
              <a:gd name="T120" fmla="*/ 10 w 375"/>
              <a:gd name="T121" fmla="*/ 228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5" h="375">
                <a:moveTo>
                  <a:pt x="0" y="225"/>
                </a:moveTo>
                <a:lnTo>
                  <a:pt x="4" y="222"/>
                </a:lnTo>
                <a:lnTo>
                  <a:pt x="7" y="222"/>
                </a:lnTo>
                <a:lnTo>
                  <a:pt x="10" y="219"/>
                </a:lnTo>
                <a:lnTo>
                  <a:pt x="10" y="213"/>
                </a:lnTo>
                <a:lnTo>
                  <a:pt x="10" y="210"/>
                </a:lnTo>
                <a:lnTo>
                  <a:pt x="16" y="207"/>
                </a:lnTo>
                <a:lnTo>
                  <a:pt x="19" y="203"/>
                </a:lnTo>
                <a:lnTo>
                  <a:pt x="22" y="203"/>
                </a:lnTo>
                <a:lnTo>
                  <a:pt x="25" y="200"/>
                </a:lnTo>
                <a:lnTo>
                  <a:pt x="25" y="203"/>
                </a:lnTo>
                <a:lnTo>
                  <a:pt x="25" y="203"/>
                </a:lnTo>
                <a:lnTo>
                  <a:pt x="29" y="203"/>
                </a:lnTo>
                <a:lnTo>
                  <a:pt x="32" y="203"/>
                </a:lnTo>
                <a:lnTo>
                  <a:pt x="32" y="197"/>
                </a:lnTo>
                <a:lnTo>
                  <a:pt x="35" y="197"/>
                </a:lnTo>
                <a:lnTo>
                  <a:pt x="38" y="197"/>
                </a:lnTo>
                <a:lnTo>
                  <a:pt x="41" y="194"/>
                </a:lnTo>
                <a:lnTo>
                  <a:pt x="47" y="194"/>
                </a:lnTo>
                <a:lnTo>
                  <a:pt x="47" y="194"/>
                </a:lnTo>
                <a:lnTo>
                  <a:pt x="44" y="200"/>
                </a:lnTo>
                <a:lnTo>
                  <a:pt x="47" y="200"/>
                </a:lnTo>
                <a:lnTo>
                  <a:pt x="47" y="203"/>
                </a:lnTo>
                <a:lnTo>
                  <a:pt x="50" y="207"/>
                </a:lnTo>
                <a:lnTo>
                  <a:pt x="57" y="203"/>
                </a:lnTo>
                <a:lnTo>
                  <a:pt x="60" y="200"/>
                </a:lnTo>
                <a:lnTo>
                  <a:pt x="66" y="191"/>
                </a:lnTo>
                <a:lnTo>
                  <a:pt x="69" y="188"/>
                </a:lnTo>
                <a:lnTo>
                  <a:pt x="72" y="188"/>
                </a:lnTo>
                <a:lnTo>
                  <a:pt x="75" y="185"/>
                </a:lnTo>
                <a:lnTo>
                  <a:pt x="79" y="182"/>
                </a:lnTo>
                <a:lnTo>
                  <a:pt x="79" y="178"/>
                </a:lnTo>
                <a:lnTo>
                  <a:pt x="79" y="172"/>
                </a:lnTo>
                <a:lnTo>
                  <a:pt x="82" y="160"/>
                </a:lnTo>
                <a:lnTo>
                  <a:pt x="79" y="160"/>
                </a:lnTo>
                <a:lnTo>
                  <a:pt x="79" y="153"/>
                </a:lnTo>
                <a:lnTo>
                  <a:pt x="82" y="150"/>
                </a:lnTo>
                <a:lnTo>
                  <a:pt x="88" y="144"/>
                </a:lnTo>
                <a:lnTo>
                  <a:pt x="88" y="138"/>
                </a:lnTo>
                <a:lnTo>
                  <a:pt x="91" y="135"/>
                </a:lnTo>
                <a:lnTo>
                  <a:pt x="94" y="131"/>
                </a:lnTo>
                <a:lnTo>
                  <a:pt x="97" y="131"/>
                </a:lnTo>
                <a:lnTo>
                  <a:pt x="100" y="128"/>
                </a:lnTo>
                <a:lnTo>
                  <a:pt x="104" y="128"/>
                </a:lnTo>
                <a:lnTo>
                  <a:pt x="110" y="119"/>
                </a:lnTo>
                <a:lnTo>
                  <a:pt x="110" y="113"/>
                </a:lnTo>
                <a:lnTo>
                  <a:pt x="113" y="106"/>
                </a:lnTo>
                <a:lnTo>
                  <a:pt x="116" y="103"/>
                </a:lnTo>
                <a:lnTo>
                  <a:pt x="116" y="97"/>
                </a:lnTo>
                <a:lnTo>
                  <a:pt x="116" y="97"/>
                </a:lnTo>
                <a:lnTo>
                  <a:pt x="116" y="91"/>
                </a:lnTo>
                <a:lnTo>
                  <a:pt x="116" y="88"/>
                </a:lnTo>
                <a:lnTo>
                  <a:pt x="116" y="81"/>
                </a:lnTo>
                <a:lnTo>
                  <a:pt x="119" y="78"/>
                </a:lnTo>
                <a:lnTo>
                  <a:pt x="119" y="75"/>
                </a:lnTo>
                <a:lnTo>
                  <a:pt x="119" y="72"/>
                </a:lnTo>
                <a:lnTo>
                  <a:pt x="119" y="63"/>
                </a:lnTo>
                <a:lnTo>
                  <a:pt x="129" y="53"/>
                </a:lnTo>
                <a:lnTo>
                  <a:pt x="129" y="50"/>
                </a:lnTo>
                <a:lnTo>
                  <a:pt x="132" y="47"/>
                </a:lnTo>
                <a:lnTo>
                  <a:pt x="132" y="41"/>
                </a:lnTo>
                <a:lnTo>
                  <a:pt x="129" y="34"/>
                </a:lnTo>
                <a:lnTo>
                  <a:pt x="132" y="31"/>
                </a:lnTo>
                <a:lnTo>
                  <a:pt x="132" y="28"/>
                </a:lnTo>
                <a:lnTo>
                  <a:pt x="132" y="28"/>
                </a:lnTo>
                <a:lnTo>
                  <a:pt x="129" y="22"/>
                </a:lnTo>
                <a:lnTo>
                  <a:pt x="129" y="22"/>
                </a:lnTo>
                <a:lnTo>
                  <a:pt x="132" y="19"/>
                </a:lnTo>
                <a:lnTo>
                  <a:pt x="135" y="19"/>
                </a:lnTo>
                <a:lnTo>
                  <a:pt x="135" y="16"/>
                </a:lnTo>
                <a:lnTo>
                  <a:pt x="135" y="16"/>
                </a:lnTo>
                <a:lnTo>
                  <a:pt x="135" y="13"/>
                </a:lnTo>
                <a:lnTo>
                  <a:pt x="138" y="9"/>
                </a:lnTo>
                <a:lnTo>
                  <a:pt x="141" y="9"/>
                </a:lnTo>
                <a:lnTo>
                  <a:pt x="144" y="6"/>
                </a:lnTo>
                <a:lnTo>
                  <a:pt x="147" y="9"/>
                </a:lnTo>
                <a:lnTo>
                  <a:pt x="147" y="6"/>
                </a:lnTo>
                <a:lnTo>
                  <a:pt x="147" y="6"/>
                </a:lnTo>
                <a:lnTo>
                  <a:pt x="150" y="9"/>
                </a:lnTo>
                <a:lnTo>
                  <a:pt x="154" y="9"/>
                </a:lnTo>
                <a:lnTo>
                  <a:pt x="160" y="13"/>
                </a:lnTo>
                <a:lnTo>
                  <a:pt x="163" y="16"/>
                </a:lnTo>
                <a:lnTo>
                  <a:pt x="169" y="19"/>
                </a:lnTo>
                <a:lnTo>
                  <a:pt x="169" y="19"/>
                </a:lnTo>
                <a:lnTo>
                  <a:pt x="172" y="19"/>
                </a:lnTo>
                <a:lnTo>
                  <a:pt x="179" y="22"/>
                </a:lnTo>
                <a:lnTo>
                  <a:pt x="182" y="22"/>
                </a:lnTo>
                <a:lnTo>
                  <a:pt x="185" y="22"/>
                </a:lnTo>
                <a:lnTo>
                  <a:pt x="188" y="22"/>
                </a:lnTo>
                <a:lnTo>
                  <a:pt x="191" y="22"/>
                </a:lnTo>
                <a:lnTo>
                  <a:pt x="194" y="22"/>
                </a:lnTo>
                <a:lnTo>
                  <a:pt x="197" y="25"/>
                </a:lnTo>
                <a:lnTo>
                  <a:pt x="200" y="25"/>
                </a:lnTo>
                <a:lnTo>
                  <a:pt x="204" y="25"/>
                </a:lnTo>
                <a:lnTo>
                  <a:pt x="204" y="22"/>
                </a:lnTo>
                <a:lnTo>
                  <a:pt x="204" y="22"/>
                </a:lnTo>
                <a:lnTo>
                  <a:pt x="204" y="19"/>
                </a:lnTo>
                <a:lnTo>
                  <a:pt x="207" y="16"/>
                </a:lnTo>
                <a:lnTo>
                  <a:pt x="210" y="13"/>
                </a:lnTo>
                <a:lnTo>
                  <a:pt x="213" y="13"/>
                </a:lnTo>
                <a:lnTo>
                  <a:pt x="216" y="13"/>
                </a:lnTo>
                <a:lnTo>
                  <a:pt x="219" y="16"/>
                </a:lnTo>
                <a:lnTo>
                  <a:pt x="222" y="16"/>
                </a:lnTo>
                <a:lnTo>
                  <a:pt x="229" y="13"/>
                </a:lnTo>
                <a:lnTo>
                  <a:pt x="232" y="13"/>
                </a:lnTo>
                <a:lnTo>
                  <a:pt x="235" y="9"/>
                </a:lnTo>
                <a:lnTo>
                  <a:pt x="241" y="6"/>
                </a:lnTo>
                <a:lnTo>
                  <a:pt x="244" y="6"/>
                </a:lnTo>
                <a:lnTo>
                  <a:pt x="244" y="9"/>
                </a:lnTo>
                <a:lnTo>
                  <a:pt x="247" y="9"/>
                </a:lnTo>
                <a:lnTo>
                  <a:pt x="247" y="9"/>
                </a:lnTo>
                <a:lnTo>
                  <a:pt x="250" y="9"/>
                </a:lnTo>
                <a:lnTo>
                  <a:pt x="250" y="9"/>
                </a:lnTo>
                <a:lnTo>
                  <a:pt x="257" y="9"/>
                </a:lnTo>
                <a:lnTo>
                  <a:pt x="260" y="9"/>
                </a:lnTo>
                <a:lnTo>
                  <a:pt x="260" y="9"/>
                </a:lnTo>
                <a:lnTo>
                  <a:pt x="263" y="3"/>
                </a:lnTo>
                <a:lnTo>
                  <a:pt x="263" y="3"/>
                </a:lnTo>
                <a:lnTo>
                  <a:pt x="263" y="3"/>
                </a:lnTo>
                <a:lnTo>
                  <a:pt x="266" y="0"/>
                </a:lnTo>
                <a:lnTo>
                  <a:pt x="269" y="3"/>
                </a:lnTo>
                <a:lnTo>
                  <a:pt x="272" y="3"/>
                </a:lnTo>
                <a:lnTo>
                  <a:pt x="275" y="3"/>
                </a:lnTo>
                <a:lnTo>
                  <a:pt x="275" y="6"/>
                </a:lnTo>
                <a:lnTo>
                  <a:pt x="279" y="6"/>
                </a:lnTo>
                <a:lnTo>
                  <a:pt x="282" y="6"/>
                </a:lnTo>
                <a:lnTo>
                  <a:pt x="288" y="6"/>
                </a:lnTo>
                <a:lnTo>
                  <a:pt x="291" y="9"/>
                </a:lnTo>
                <a:lnTo>
                  <a:pt x="297" y="6"/>
                </a:lnTo>
                <a:lnTo>
                  <a:pt x="300" y="6"/>
                </a:lnTo>
                <a:lnTo>
                  <a:pt x="304" y="6"/>
                </a:lnTo>
                <a:lnTo>
                  <a:pt x="307" y="9"/>
                </a:lnTo>
                <a:lnTo>
                  <a:pt x="307" y="13"/>
                </a:lnTo>
                <a:lnTo>
                  <a:pt x="310" y="13"/>
                </a:lnTo>
                <a:lnTo>
                  <a:pt x="310" y="16"/>
                </a:lnTo>
                <a:lnTo>
                  <a:pt x="313" y="16"/>
                </a:lnTo>
                <a:lnTo>
                  <a:pt x="316" y="19"/>
                </a:lnTo>
                <a:lnTo>
                  <a:pt x="322" y="22"/>
                </a:lnTo>
                <a:lnTo>
                  <a:pt x="322" y="22"/>
                </a:lnTo>
                <a:lnTo>
                  <a:pt x="325" y="19"/>
                </a:lnTo>
                <a:lnTo>
                  <a:pt x="329" y="19"/>
                </a:lnTo>
                <a:lnTo>
                  <a:pt x="332" y="19"/>
                </a:lnTo>
                <a:lnTo>
                  <a:pt x="335" y="19"/>
                </a:lnTo>
                <a:lnTo>
                  <a:pt x="335" y="19"/>
                </a:lnTo>
                <a:lnTo>
                  <a:pt x="338" y="19"/>
                </a:lnTo>
                <a:lnTo>
                  <a:pt x="341" y="19"/>
                </a:lnTo>
                <a:lnTo>
                  <a:pt x="341" y="16"/>
                </a:lnTo>
                <a:lnTo>
                  <a:pt x="344" y="13"/>
                </a:lnTo>
                <a:lnTo>
                  <a:pt x="347" y="13"/>
                </a:lnTo>
                <a:lnTo>
                  <a:pt x="350" y="13"/>
                </a:lnTo>
                <a:lnTo>
                  <a:pt x="354" y="19"/>
                </a:lnTo>
                <a:lnTo>
                  <a:pt x="354" y="22"/>
                </a:lnTo>
                <a:lnTo>
                  <a:pt x="357" y="22"/>
                </a:lnTo>
                <a:lnTo>
                  <a:pt x="360" y="25"/>
                </a:lnTo>
                <a:lnTo>
                  <a:pt x="363" y="28"/>
                </a:lnTo>
                <a:lnTo>
                  <a:pt x="366" y="31"/>
                </a:lnTo>
                <a:lnTo>
                  <a:pt x="366" y="31"/>
                </a:lnTo>
                <a:lnTo>
                  <a:pt x="366" y="34"/>
                </a:lnTo>
                <a:lnTo>
                  <a:pt x="366" y="38"/>
                </a:lnTo>
                <a:lnTo>
                  <a:pt x="369" y="38"/>
                </a:lnTo>
                <a:lnTo>
                  <a:pt x="372" y="38"/>
                </a:lnTo>
                <a:lnTo>
                  <a:pt x="375" y="38"/>
                </a:lnTo>
                <a:lnTo>
                  <a:pt x="372" y="41"/>
                </a:lnTo>
                <a:lnTo>
                  <a:pt x="372" y="44"/>
                </a:lnTo>
                <a:lnTo>
                  <a:pt x="372" y="50"/>
                </a:lnTo>
                <a:lnTo>
                  <a:pt x="369" y="56"/>
                </a:lnTo>
                <a:lnTo>
                  <a:pt x="369" y="60"/>
                </a:lnTo>
                <a:lnTo>
                  <a:pt x="372" y="63"/>
                </a:lnTo>
                <a:lnTo>
                  <a:pt x="375" y="66"/>
                </a:lnTo>
                <a:lnTo>
                  <a:pt x="375" y="69"/>
                </a:lnTo>
                <a:lnTo>
                  <a:pt x="375" y="72"/>
                </a:lnTo>
                <a:lnTo>
                  <a:pt x="366" y="85"/>
                </a:lnTo>
                <a:lnTo>
                  <a:pt x="360" y="91"/>
                </a:lnTo>
                <a:lnTo>
                  <a:pt x="357" y="94"/>
                </a:lnTo>
                <a:lnTo>
                  <a:pt x="350" y="106"/>
                </a:lnTo>
                <a:lnTo>
                  <a:pt x="347" y="110"/>
                </a:lnTo>
                <a:lnTo>
                  <a:pt x="347" y="116"/>
                </a:lnTo>
                <a:lnTo>
                  <a:pt x="347" y="122"/>
                </a:lnTo>
                <a:lnTo>
                  <a:pt x="344" y="128"/>
                </a:lnTo>
                <a:lnTo>
                  <a:pt x="344" y="135"/>
                </a:lnTo>
                <a:lnTo>
                  <a:pt x="341" y="138"/>
                </a:lnTo>
                <a:lnTo>
                  <a:pt x="338" y="144"/>
                </a:lnTo>
                <a:lnTo>
                  <a:pt x="335" y="156"/>
                </a:lnTo>
                <a:lnTo>
                  <a:pt x="332" y="160"/>
                </a:lnTo>
                <a:lnTo>
                  <a:pt x="335" y="166"/>
                </a:lnTo>
                <a:lnTo>
                  <a:pt x="335" y="169"/>
                </a:lnTo>
                <a:lnTo>
                  <a:pt x="335" y="175"/>
                </a:lnTo>
                <a:lnTo>
                  <a:pt x="341" y="213"/>
                </a:lnTo>
                <a:lnTo>
                  <a:pt x="347" y="238"/>
                </a:lnTo>
                <a:lnTo>
                  <a:pt x="360" y="257"/>
                </a:lnTo>
                <a:lnTo>
                  <a:pt x="366" y="272"/>
                </a:lnTo>
                <a:lnTo>
                  <a:pt x="363" y="269"/>
                </a:lnTo>
                <a:lnTo>
                  <a:pt x="332" y="278"/>
                </a:lnTo>
                <a:lnTo>
                  <a:pt x="322" y="294"/>
                </a:lnTo>
                <a:lnTo>
                  <a:pt x="322" y="297"/>
                </a:lnTo>
                <a:lnTo>
                  <a:pt x="325" y="300"/>
                </a:lnTo>
                <a:lnTo>
                  <a:pt x="329" y="300"/>
                </a:lnTo>
                <a:lnTo>
                  <a:pt x="329" y="304"/>
                </a:lnTo>
                <a:lnTo>
                  <a:pt x="325" y="304"/>
                </a:lnTo>
                <a:lnTo>
                  <a:pt x="325" y="307"/>
                </a:lnTo>
                <a:lnTo>
                  <a:pt x="325" y="310"/>
                </a:lnTo>
                <a:lnTo>
                  <a:pt x="325" y="313"/>
                </a:lnTo>
                <a:lnTo>
                  <a:pt x="325" y="316"/>
                </a:lnTo>
                <a:lnTo>
                  <a:pt x="325" y="316"/>
                </a:lnTo>
                <a:lnTo>
                  <a:pt x="325" y="319"/>
                </a:lnTo>
                <a:lnTo>
                  <a:pt x="325" y="319"/>
                </a:lnTo>
                <a:lnTo>
                  <a:pt x="319" y="325"/>
                </a:lnTo>
                <a:lnTo>
                  <a:pt x="319" y="325"/>
                </a:lnTo>
                <a:lnTo>
                  <a:pt x="319" y="338"/>
                </a:lnTo>
                <a:lnTo>
                  <a:pt x="319" y="344"/>
                </a:lnTo>
                <a:lnTo>
                  <a:pt x="322" y="344"/>
                </a:lnTo>
                <a:lnTo>
                  <a:pt x="329" y="350"/>
                </a:lnTo>
                <a:lnTo>
                  <a:pt x="329" y="354"/>
                </a:lnTo>
                <a:lnTo>
                  <a:pt x="332" y="357"/>
                </a:lnTo>
                <a:lnTo>
                  <a:pt x="338" y="357"/>
                </a:lnTo>
                <a:lnTo>
                  <a:pt x="341" y="357"/>
                </a:lnTo>
                <a:lnTo>
                  <a:pt x="338" y="354"/>
                </a:lnTo>
                <a:lnTo>
                  <a:pt x="338" y="350"/>
                </a:lnTo>
                <a:lnTo>
                  <a:pt x="344" y="350"/>
                </a:lnTo>
                <a:lnTo>
                  <a:pt x="344" y="350"/>
                </a:lnTo>
                <a:lnTo>
                  <a:pt x="347" y="372"/>
                </a:lnTo>
                <a:lnTo>
                  <a:pt x="344" y="375"/>
                </a:lnTo>
                <a:lnTo>
                  <a:pt x="341" y="372"/>
                </a:lnTo>
                <a:lnTo>
                  <a:pt x="341" y="372"/>
                </a:lnTo>
                <a:lnTo>
                  <a:pt x="341" y="372"/>
                </a:lnTo>
                <a:lnTo>
                  <a:pt x="338" y="372"/>
                </a:lnTo>
                <a:lnTo>
                  <a:pt x="335" y="375"/>
                </a:lnTo>
                <a:lnTo>
                  <a:pt x="332" y="375"/>
                </a:lnTo>
                <a:lnTo>
                  <a:pt x="329" y="369"/>
                </a:lnTo>
                <a:lnTo>
                  <a:pt x="322" y="366"/>
                </a:lnTo>
                <a:lnTo>
                  <a:pt x="319" y="363"/>
                </a:lnTo>
                <a:lnTo>
                  <a:pt x="316" y="357"/>
                </a:lnTo>
                <a:lnTo>
                  <a:pt x="313" y="354"/>
                </a:lnTo>
                <a:lnTo>
                  <a:pt x="304" y="354"/>
                </a:lnTo>
                <a:lnTo>
                  <a:pt x="300" y="350"/>
                </a:lnTo>
                <a:lnTo>
                  <a:pt x="300" y="347"/>
                </a:lnTo>
                <a:lnTo>
                  <a:pt x="297" y="344"/>
                </a:lnTo>
                <a:lnTo>
                  <a:pt x="297" y="338"/>
                </a:lnTo>
                <a:lnTo>
                  <a:pt x="294" y="338"/>
                </a:lnTo>
                <a:lnTo>
                  <a:pt x="294" y="338"/>
                </a:lnTo>
                <a:lnTo>
                  <a:pt x="291" y="338"/>
                </a:lnTo>
                <a:lnTo>
                  <a:pt x="288" y="344"/>
                </a:lnTo>
                <a:lnTo>
                  <a:pt x="288" y="347"/>
                </a:lnTo>
                <a:lnTo>
                  <a:pt x="282" y="347"/>
                </a:lnTo>
                <a:lnTo>
                  <a:pt x="279" y="347"/>
                </a:lnTo>
                <a:lnTo>
                  <a:pt x="279" y="347"/>
                </a:lnTo>
                <a:lnTo>
                  <a:pt x="275" y="347"/>
                </a:lnTo>
                <a:lnTo>
                  <a:pt x="269" y="344"/>
                </a:lnTo>
                <a:lnTo>
                  <a:pt x="266" y="341"/>
                </a:lnTo>
                <a:lnTo>
                  <a:pt x="263" y="341"/>
                </a:lnTo>
                <a:lnTo>
                  <a:pt x="260" y="341"/>
                </a:lnTo>
                <a:lnTo>
                  <a:pt x="260" y="341"/>
                </a:lnTo>
                <a:lnTo>
                  <a:pt x="260" y="338"/>
                </a:lnTo>
                <a:lnTo>
                  <a:pt x="260" y="335"/>
                </a:lnTo>
                <a:lnTo>
                  <a:pt x="257" y="335"/>
                </a:lnTo>
                <a:lnTo>
                  <a:pt x="257" y="332"/>
                </a:lnTo>
                <a:lnTo>
                  <a:pt x="257" y="329"/>
                </a:lnTo>
                <a:lnTo>
                  <a:pt x="250" y="332"/>
                </a:lnTo>
                <a:lnTo>
                  <a:pt x="250" y="332"/>
                </a:lnTo>
                <a:lnTo>
                  <a:pt x="247" y="332"/>
                </a:lnTo>
                <a:lnTo>
                  <a:pt x="244" y="335"/>
                </a:lnTo>
                <a:lnTo>
                  <a:pt x="241" y="335"/>
                </a:lnTo>
                <a:lnTo>
                  <a:pt x="241" y="335"/>
                </a:lnTo>
                <a:lnTo>
                  <a:pt x="241" y="335"/>
                </a:lnTo>
                <a:lnTo>
                  <a:pt x="241" y="332"/>
                </a:lnTo>
                <a:lnTo>
                  <a:pt x="238" y="329"/>
                </a:lnTo>
                <a:lnTo>
                  <a:pt x="235" y="329"/>
                </a:lnTo>
                <a:lnTo>
                  <a:pt x="235" y="329"/>
                </a:lnTo>
                <a:lnTo>
                  <a:pt x="232" y="329"/>
                </a:lnTo>
                <a:lnTo>
                  <a:pt x="232" y="329"/>
                </a:lnTo>
                <a:lnTo>
                  <a:pt x="229" y="329"/>
                </a:lnTo>
                <a:lnTo>
                  <a:pt x="225" y="329"/>
                </a:lnTo>
                <a:lnTo>
                  <a:pt x="222" y="332"/>
                </a:lnTo>
                <a:lnTo>
                  <a:pt x="219" y="332"/>
                </a:lnTo>
                <a:lnTo>
                  <a:pt x="219" y="332"/>
                </a:lnTo>
                <a:lnTo>
                  <a:pt x="216" y="332"/>
                </a:lnTo>
                <a:lnTo>
                  <a:pt x="210" y="332"/>
                </a:lnTo>
                <a:lnTo>
                  <a:pt x="210" y="332"/>
                </a:lnTo>
                <a:lnTo>
                  <a:pt x="207" y="329"/>
                </a:lnTo>
                <a:lnTo>
                  <a:pt x="204" y="329"/>
                </a:lnTo>
                <a:lnTo>
                  <a:pt x="204" y="329"/>
                </a:lnTo>
                <a:lnTo>
                  <a:pt x="200" y="329"/>
                </a:lnTo>
                <a:lnTo>
                  <a:pt x="200" y="332"/>
                </a:lnTo>
                <a:lnTo>
                  <a:pt x="197" y="332"/>
                </a:lnTo>
                <a:lnTo>
                  <a:pt x="197" y="329"/>
                </a:lnTo>
                <a:lnTo>
                  <a:pt x="197" y="325"/>
                </a:lnTo>
                <a:lnTo>
                  <a:pt x="197" y="325"/>
                </a:lnTo>
                <a:lnTo>
                  <a:pt x="197" y="322"/>
                </a:lnTo>
                <a:lnTo>
                  <a:pt x="200" y="322"/>
                </a:lnTo>
                <a:lnTo>
                  <a:pt x="197" y="319"/>
                </a:lnTo>
                <a:lnTo>
                  <a:pt x="197" y="316"/>
                </a:lnTo>
                <a:lnTo>
                  <a:pt x="197" y="313"/>
                </a:lnTo>
                <a:lnTo>
                  <a:pt x="197" y="313"/>
                </a:lnTo>
                <a:lnTo>
                  <a:pt x="194" y="310"/>
                </a:lnTo>
                <a:lnTo>
                  <a:pt x="194" y="307"/>
                </a:lnTo>
                <a:lnTo>
                  <a:pt x="197" y="304"/>
                </a:lnTo>
                <a:lnTo>
                  <a:pt x="194" y="304"/>
                </a:lnTo>
                <a:lnTo>
                  <a:pt x="194" y="300"/>
                </a:lnTo>
                <a:lnTo>
                  <a:pt x="194" y="300"/>
                </a:lnTo>
                <a:lnTo>
                  <a:pt x="191" y="297"/>
                </a:lnTo>
                <a:lnTo>
                  <a:pt x="191" y="297"/>
                </a:lnTo>
                <a:lnTo>
                  <a:pt x="191" y="294"/>
                </a:lnTo>
                <a:lnTo>
                  <a:pt x="191" y="291"/>
                </a:lnTo>
                <a:lnTo>
                  <a:pt x="188" y="291"/>
                </a:lnTo>
                <a:lnTo>
                  <a:pt x="191" y="288"/>
                </a:lnTo>
                <a:lnTo>
                  <a:pt x="191" y="278"/>
                </a:lnTo>
                <a:lnTo>
                  <a:pt x="188" y="275"/>
                </a:lnTo>
                <a:lnTo>
                  <a:pt x="188" y="275"/>
                </a:lnTo>
                <a:lnTo>
                  <a:pt x="191" y="275"/>
                </a:lnTo>
                <a:lnTo>
                  <a:pt x="191" y="272"/>
                </a:lnTo>
                <a:lnTo>
                  <a:pt x="188" y="269"/>
                </a:lnTo>
                <a:lnTo>
                  <a:pt x="188" y="266"/>
                </a:lnTo>
                <a:lnTo>
                  <a:pt x="191" y="263"/>
                </a:lnTo>
                <a:lnTo>
                  <a:pt x="191" y="260"/>
                </a:lnTo>
                <a:lnTo>
                  <a:pt x="191" y="257"/>
                </a:lnTo>
                <a:lnTo>
                  <a:pt x="191" y="253"/>
                </a:lnTo>
                <a:lnTo>
                  <a:pt x="166" y="250"/>
                </a:lnTo>
                <a:lnTo>
                  <a:pt x="166" y="250"/>
                </a:lnTo>
                <a:lnTo>
                  <a:pt x="169" y="247"/>
                </a:lnTo>
                <a:lnTo>
                  <a:pt x="169" y="244"/>
                </a:lnTo>
                <a:lnTo>
                  <a:pt x="163" y="244"/>
                </a:lnTo>
                <a:lnTo>
                  <a:pt x="163" y="247"/>
                </a:lnTo>
                <a:lnTo>
                  <a:pt x="144" y="247"/>
                </a:lnTo>
                <a:lnTo>
                  <a:pt x="141" y="253"/>
                </a:lnTo>
                <a:lnTo>
                  <a:pt x="141" y="257"/>
                </a:lnTo>
                <a:lnTo>
                  <a:pt x="138" y="257"/>
                </a:lnTo>
                <a:lnTo>
                  <a:pt x="141" y="260"/>
                </a:lnTo>
                <a:lnTo>
                  <a:pt x="141" y="266"/>
                </a:lnTo>
                <a:lnTo>
                  <a:pt x="125" y="266"/>
                </a:lnTo>
                <a:lnTo>
                  <a:pt x="122" y="269"/>
                </a:lnTo>
                <a:lnTo>
                  <a:pt x="116" y="269"/>
                </a:lnTo>
                <a:lnTo>
                  <a:pt x="113" y="266"/>
                </a:lnTo>
                <a:lnTo>
                  <a:pt x="110" y="269"/>
                </a:lnTo>
                <a:lnTo>
                  <a:pt x="104" y="269"/>
                </a:lnTo>
                <a:lnTo>
                  <a:pt x="104" y="266"/>
                </a:lnTo>
                <a:lnTo>
                  <a:pt x="100" y="260"/>
                </a:lnTo>
                <a:lnTo>
                  <a:pt x="100" y="257"/>
                </a:lnTo>
                <a:lnTo>
                  <a:pt x="97" y="253"/>
                </a:lnTo>
                <a:lnTo>
                  <a:pt x="94" y="253"/>
                </a:lnTo>
                <a:lnTo>
                  <a:pt x="94" y="250"/>
                </a:lnTo>
                <a:lnTo>
                  <a:pt x="94" y="247"/>
                </a:lnTo>
                <a:lnTo>
                  <a:pt x="94" y="244"/>
                </a:lnTo>
                <a:lnTo>
                  <a:pt x="91" y="241"/>
                </a:lnTo>
                <a:lnTo>
                  <a:pt x="91" y="238"/>
                </a:lnTo>
                <a:lnTo>
                  <a:pt x="94" y="235"/>
                </a:lnTo>
                <a:lnTo>
                  <a:pt x="91" y="232"/>
                </a:lnTo>
                <a:lnTo>
                  <a:pt x="91" y="232"/>
                </a:lnTo>
                <a:lnTo>
                  <a:pt x="91" y="228"/>
                </a:lnTo>
                <a:lnTo>
                  <a:pt x="91" y="228"/>
                </a:lnTo>
                <a:lnTo>
                  <a:pt x="91" y="225"/>
                </a:lnTo>
                <a:lnTo>
                  <a:pt x="69" y="225"/>
                </a:lnTo>
                <a:lnTo>
                  <a:pt x="57" y="225"/>
                </a:lnTo>
                <a:lnTo>
                  <a:pt x="50" y="225"/>
                </a:lnTo>
                <a:lnTo>
                  <a:pt x="44" y="225"/>
                </a:lnTo>
                <a:lnTo>
                  <a:pt x="41" y="225"/>
                </a:lnTo>
                <a:lnTo>
                  <a:pt x="35" y="225"/>
                </a:lnTo>
                <a:lnTo>
                  <a:pt x="29" y="225"/>
                </a:lnTo>
                <a:lnTo>
                  <a:pt x="25" y="225"/>
                </a:lnTo>
                <a:lnTo>
                  <a:pt x="22" y="225"/>
                </a:lnTo>
                <a:lnTo>
                  <a:pt x="19" y="225"/>
                </a:lnTo>
                <a:lnTo>
                  <a:pt x="16" y="225"/>
                </a:lnTo>
                <a:lnTo>
                  <a:pt x="13" y="225"/>
                </a:lnTo>
                <a:lnTo>
                  <a:pt x="13" y="228"/>
                </a:lnTo>
                <a:lnTo>
                  <a:pt x="10" y="228"/>
                </a:lnTo>
                <a:lnTo>
                  <a:pt x="10" y="228"/>
                </a:lnTo>
                <a:lnTo>
                  <a:pt x="10" y="228"/>
                </a:lnTo>
                <a:lnTo>
                  <a:pt x="10" y="228"/>
                </a:lnTo>
                <a:lnTo>
                  <a:pt x="10" y="228"/>
                </a:lnTo>
                <a:lnTo>
                  <a:pt x="7" y="225"/>
                </a:lnTo>
                <a:lnTo>
                  <a:pt x="0" y="225"/>
                </a:lnTo>
                <a:lnTo>
                  <a:pt x="0" y="225"/>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6" name="Freeform 144">
            <a:extLst>
              <a:ext uri="{FF2B5EF4-FFF2-40B4-BE49-F238E27FC236}">
                <a16:creationId xmlns:a16="http://schemas.microsoft.com/office/drawing/2014/main" id="{00D3CA52-0CF9-F2F6-19E7-BD9DFC18DA60}"/>
              </a:ext>
            </a:extLst>
          </p:cNvPr>
          <p:cNvSpPr>
            <a:spLocks/>
          </p:cNvSpPr>
          <p:nvPr userDrawn="1"/>
        </p:nvSpPr>
        <p:spPr bwMode="auto">
          <a:xfrm>
            <a:off x="15194564" y="9971963"/>
            <a:ext cx="196837" cy="498478"/>
          </a:xfrm>
          <a:custGeom>
            <a:avLst/>
            <a:gdLst>
              <a:gd name="T0" fmla="*/ 9 w 62"/>
              <a:gd name="T1" fmla="*/ 0 h 157"/>
              <a:gd name="T2" fmla="*/ 12 w 62"/>
              <a:gd name="T3" fmla="*/ 3 h 157"/>
              <a:gd name="T4" fmla="*/ 15 w 62"/>
              <a:gd name="T5" fmla="*/ 3 h 157"/>
              <a:gd name="T6" fmla="*/ 18 w 62"/>
              <a:gd name="T7" fmla="*/ 3 h 157"/>
              <a:gd name="T8" fmla="*/ 21 w 62"/>
              <a:gd name="T9" fmla="*/ 3 h 157"/>
              <a:gd name="T10" fmla="*/ 25 w 62"/>
              <a:gd name="T11" fmla="*/ 6 h 157"/>
              <a:gd name="T12" fmla="*/ 31 w 62"/>
              <a:gd name="T13" fmla="*/ 16 h 157"/>
              <a:gd name="T14" fmla="*/ 34 w 62"/>
              <a:gd name="T15" fmla="*/ 56 h 157"/>
              <a:gd name="T16" fmla="*/ 34 w 62"/>
              <a:gd name="T17" fmla="*/ 78 h 157"/>
              <a:gd name="T18" fmla="*/ 43 w 62"/>
              <a:gd name="T19" fmla="*/ 85 h 157"/>
              <a:gd name="T20" fmla="*/ 46 w 62"/>
              <a:gd name="T21" fmla="*/ 88 h 157"/>
              <a:gd name="T22" fmla="*/ 56 w 62"/>
              <a:gd name="T23" fmla="*/ 97 h 157"/>
              <a:gd name="T24" fmla="*/ 62 w 62"/>
              <a:gd name="T25" fmla="*/ 106 h 157"/>
              <a:gd name="T26" fmla="*/ 62 w 62"/>
              <a:gd name="T27" fmla="*/ 113 h 157"/>
              <a:gd name="T28" fmla="*/ 59 w 62"/>
              <a:gd name="T29" fmla="*/ 116 h 157"/>
              <a:gd name="T30" fmla="*/ 56 w 62"/>
              <a:gd name="T31" fmla="*/ 116 h 157"/>
              <a:gd name="T32" fmla="*/ 56 w 62"/>
              <a:gd name="T33" fmla="*/ 119 h 157"/>
              <a:gd name="T34" fmla="*/ 59 w 62"/>
              <a:gd name="T35" fmla="*/ 128 h 157"/>
              <a:gd name="T36" fmla="*/ 56 w 62"/>
              <a:gd name="T37" fmla="*/ 135 h 157"/>
              <a:gd name="T38" fmla="*/ 50 w 62"/>
              <a:gd name="T39" fmla="*/ 141 h 157"/>
              <a:gd name="T40" fmla="*/ 46 w 62"/>
              <a:gd name="T41" fmla="*/ 147 h 157"/>
              <a:gd name="T42" fmla="*/ 46 w 62"/>
              <a:gd name="T43" fmla="*/ 157 h 157"/>
              <a:gd name="T44" fmla="*/ 43 w 62"/>
              <a:gd name="T45" fmla="*/ 157 h 157"/>
              <a:gd name="T46" fmla="*/ 40 w 62"/>
              <a:gd name="T47" fmla="*/ 150 h 157"/>
              <a:gd name="T48" fmla="*/ 37 w 62"/>
              <a:gd name="T49" fmla="*/ 147 h 157"/>
              <a:gd name="T50" fmla="*/ 31 w 62"/>
              <a:gd name="T51" fmla="*/ 138 h 157"/>
              <a:gd name="T52" fmla="*/ 28 w 62"/>
              <a:gd name="T53" fmla="*/ 132 h 157"/>
              <a:gd name="T54" fmla="*/ 31 w 62"/>
              <a:gd name="T55" fmla="*/ 125 h 157"/>
              <a:gd name="T56" fmla="*/ 34 w 62"/>
              <a:gd name="T57" fmla="*/ 116 h 157"/>
              <a:gd name="T58" fmla="*/ 34 w 62"/>
              <a:gd name="T59" fmla="*/ 106 h 157"/>
              <a:gd name="T60" fmla="*/ 28 w 62"/>
              <a:gd name="T61" fmla="*/ 100 h 157"/>
              <a:gd name="T62" fmla="*/ 21 w 62"/>
              <a:gd name="T63" fmla="*/ 103 h 157"/>
              <a:gd name="T64" fmla="*/ 18 w 62"/>
              <a:gd name="T65" fmla="*/ 103 h 157"/>
              <a:gd name="T66" fmla="*/ 15 w 62"/>
              <a:gd name="T67" fmla="*/ 100 h 157"/>
              <a:gd name="T68" fmla="*/ 12 w 62"/>
              <a:gd name="T69" fmla="*/ 97 h 157"/>
              <a:gd name="T70" fmla="*/ 6 w 62"/>
              <a:gd name="T71" fmla="*/ 94 h 157"/>
              <a:gd name="T72" fmla="*/ 3 w 62"/>
              <a:gd name="T73" fmla="*/ 88 h 157"/>
              <a:gd name="T74" fmla="*/ 0 w 62"/>
              <a:gd name="T75" fmla="*/ 85 h 157"/>
              <a:gd name="T76" fmla="*/ 6 w 62"/>
              <a:gd name="T77" fmla="*/ 78 h 157"/>
              <a:gd name="T78" fmla="*/ 6 w 62"/>
              <a:gd name="T79" fmla="*/ 75 h 157"/>
              <a:gd name="T80" fmla="*/ 6 w 62"/>
              <a:gd name="T81" fmla="*/ 69 h 157"/>
              <a:gd name="T82" fmla="*/ 9 w 62"/>
              <a:gd name="T83" fmla="*/ 66 h 157"/>
              <a:gd name="T84" fmla="*/ 15 w 62"/>
              <a:gd name="T85" fmla="*/ 63 h 157"/>
              <a:gd name="T86" fmla="*/ 15 w 62"/>
              <a:gd name="T87" fmla="*/ 60 h 157"/>
              <a:gd name="T88" fmla="*/ 12 w 62"/>
              <a:gd name="T89" fmla="*/ 56 h 157"/>
              <a:gd name="T90" fmla="*/ 12 w 62"/>
              <a:gd name="T91" fmla="*/ 53 h 157"/>
              <a:gd name="T92" fmla="*/ 12 w 62"/>
              <a:gd name="T93" fmla="*/ 47 h 157"/>
              <a:gd name="T94" fmla="*/ 12 w 62"/>
              <a:gd name="T95" fmla="*/ 44 h 157"/>
              <a:gd name="T96" fmla="*/ 12 w 62"/>
              <a:gd name="T97" fmla="*/ 38 h 157"/>
              <a:gd name="T98" fmla="*/ 18 w 62"/>
              <a:gd name="T99" fmla="*/ 28 h 157"/>
              <a:gd name="T100" fmla="*/ 18 w 62"/>
              <a:gd name="T101" fmla="*/ 28 h 157"/>
              <a:gd name="T102" fmla="*/ 15 w 62"/>
              <a:gd name="T103" fmla="*/ 19 h 157"/>
              <a:gd name="T104" fmla="*/ 12 w 62"/>
              <a:gd name="T105" fmla="*/ 16 h 157"/>
              <a:gd name="T106" fmla="*/ 15 w 62"/>
              <a:gd name="T107" fmla="*/ 10 h 157"/>
              <a:gd name="T108" fmla="*/ 9 w 62"/>
              <a:gd name="T109" fmla="*/ 6 h 157"/>
              <a:gd name="T110" fmla="*/ 9 w 62"/>
              <a:gd name="T111" fmla="*/ 3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 h="157">
                <a:moveTo>
                  <a:pt x="6" y="0"/>
                </a:moveTo>
                <a:lnTo>
                  <a:pt x="9" y="0"/>
                </a:lnTo>
                <a:lnTo>
                  <a:pt x="9" y="0"/>
                </a:lnTo>
                <a:lnTo>
                  <a:pt x="12" y="3"/>
                </a:lnTo>
                <a:lnTo>
                  <a:pt x="12" y="3"/>
                </a:lnTo>
                <a:lnTo>
                  <a:pt x="15" y="3"/>
                </a:lnTo>
                <a:lnTo>
                  <a:pt x="15" y="3"/>
                </a:lnTo>
                <a:lnTo>
                  <a:pt x="18" y="3"/>
                </a:lnTo>
                <a:lnTo>
                  <a:pt x="18" y="3"/>
                </a:lnTo>
                <a:lnTo>
                  <a:pt x="21" y="3"/>
                </a:lnTo>
                <a:lnTo>
                  <a:pt x="21" y="6"/>
                </a:lnTo>
                <a:lnTo>
                  <a:pt x="25" y="6"/>
                </a:lnTo>
                <a:lnTo>
                  <a:pt x="25" y="10"/>
                </a:lnTo>
                <a:lnTo>
                  <a:pt x="31" y="16"/>
                </a:lnTo>
                <a:lnTo>
                  <a:pt x="34" y="25"/>
                </a:lnTo>
                <a:lnTo>
                  <a:pt x="34" y="56"/>
                </a:lnTo>
                <a:lnTo>
                  <a:pt x="31" y="60"/>
                </a:lnTo>
                <a:lnTo>
                  <a:pt x="34" y="78"/>
                </a:lnTo>
                <a:lnTo>
                  <a:pt x="40" y="81"/>
                </a:lnTo>
                <a:lnTo>
                  <a:pt x="43" y="85"/>
                </a:lnTo>
                <a:lnTo>
                  <a:pt x="46" y="88"/>
                </a:lnTo>
                <a:lnTo>
                  <a:pt x="46" y="88"/>
                </a:lnTo>
                <a:lnTo>
                  <a:pt x="53" y="94"/>
                </a:lnTo>
                <a:lnTo>
                  <a:pt x="56" y="97"/>
                </a:lnTo>
                <a:lnTo>
                  <a:pt x="59" y="103"/>
                </a:lnTo>
                <a:lnTo>
                  <a:pt x="62" y="106"/>
                </a:lnTo>
                <a:lnTo>
                  <a:pt x="62" y="110"/>
                </a:lnTo>
                <a:lnTo>
                  <a:pt x="62" y="113"/>
                </a:lnTo>
                <a:lnTo>
                  <a:pt x="59" y="113"/>
                </a:lnTo>
                <a:lnTo>
                  <a:pt x="59" y="116"/>
                </a:lnTo>
                <a:lnTo>
                  <a:pt x="56" y="116"/>
                </a:lnTo>
                <a:lnTo>
                  <a:pt x="56" y="116"/>
                </a:lnTo>
                <a:lnTo>
                  <a:pt x="59" y="119"/>
                </a:lnTo>
                <a:lnTo>
                  <a:pt x="56" y="119"/>
                </a:lnTo>
                <a:lnTo>
                  <a:pt x="59" y="122"/>
                </a:lnTo>
                <a:lnTo>
                  <a:pt x="59" y="128"/>
                </a:lnTo>
                <a:lnTo>
                  <a:pt x="59" y="132"/>
                </a:lnTo>
                <a:lnTo>
                  <a:pt x="56" y="135"/>
                </a:lnTo>
                <a:lnTo>
                  <a:pt x="50" y="135"/>
                </a:lnTo>
                <a:lnTo>
                  <a:pt x="50" y="141"/>
                </a:lnTo>
                <a:lnTo>
                  <a:pt x="50" y="144"/>
                </a:lnTo>
                <a:lnTo>
                  <a:pt x="46" y="147"/>
                </a:lnTo>
                <a:lnTo>
                  <a:pt x="46" y="153"/>
                </a:lnTo>
                <a:lnTo>
                  <a:pt x="46" y="157"/>
                </a:lnTo>
                <a:lnTo>
                  <a:pt x="43" y="157"/>
                </a:lnTo>
                <a:lnTo>
                  <a:pt x="43" y="157"/>
                </a:lnTo>
                <a:lnTo>
                  <a:pt x="43" y="153"/>
                </a:lnTo>
                <a:lnTo>
                  <a:pt x="40" y="150"/>
                </a:lnTo>
                <a:lnTo>
                  <a:pt x="40" y="147"/>
                </a:lnTo>
                <a:lnTo>
                  <a:pt x="37" y="147"/>
                </a:lnTo>
                <a:lnTo>
                  <a:pt x="34" y="144"/>
                </a:lnTo>
                <a:lnTo>
                  <a:pt x="31" y="138"/>
                </a:lnTo>
                <a:lnTo>
                  <a:pt x="28" y="135"/>
                </a:lnTo>
                <a:lnTo>
                  <a:pt x="28" y="132"/>
                </a:lnTo>
                <a:lnTo>
                  <a:pt x="28" y="128"/>
                </a:lnTo>
                <a:lnTo>
                  <a:pt x="31" y="125"/>
                </a:lnTo>
                <a:lnTo>
                  <a:pt x="31" y="119"/>
                </a:lnTo>
                <a:lnTo>
                  <a:pt x="34" y="116"/>
                </a:lnTo>
                <a:lnTo>
                  <a:pt x="34" y="110"/>
                </a:lnTo>
                <a:lnTo>
                  <a:pt x="34" y="106"/>
                </a:lnTo>
                <a:lnTo>
                  <a:pt x="34" y="103"/>
                </a:lnTo>
                <a:lnTo>
                  <a:pt x="28" y="100"/>
                </a:lnTo>
                <a:lnTo>
                  <a:pt x="25" y="100"/>
                </a:lnTo>
                <a:lnTo>
                  <a:pt x="21" y="103"/>
                </a:lnTo>
                <a:lnTo>
                  <a:pt x="18" y="103"/>
                </a:lnTo>
                <a:lnTo>
                  <a:pt x="18" y="103"/>
                </a:lnTo>
                <a:lnTo>
                  <a:pt x="15" y="103"/>
                </a:lnTo>
                <a:lnTo>
                  <a:pt x="15" y="100"/>
                </a:lnTo>
                <a:lnTo>
                  <a:pt x="12" y="97"/>
                </a:lnTo>
                <a:lnTo>
                  <a:pt x="12" y="97"/>
                </a:lnTo>
                <a:lnTo>
                  <a:pt x="12" y="94"/>
                </a:lnTo>
                <a:lnTo>
                  <a:pt x="6" y="94"/>
                </a:lnTo>
                <a:lnTo>
                  <a:pt x="6" y="94"/>
                </a:lnTo>
                <a:lnTo>
                  <a:pt x="3" y="88"/>
                </a:lnTo>
                <a:lnTo>
                  <a:pt x="0" y="85"/>
                </a:lnTo>
                <a:lnTo>
                  <a:pt x="0" y="85"/>
                </a:lnTo>
                <a:lnTo>
                  <a:pt x="3" y="81"/>
                </a:lnTo>
                <a:lnTo>
                  <a:pt x="6" y="78"/>
                </a:lnTo>
                <a:lnTo>
                  <a:pt x="6" y="75"/>
                </a:lnTo>
                <a:lnTo>
                  <a:pt x="6" y="75"/>
                </a:lnTo>
                <a:lnTo>
                  <a:pt x="6" y="72"/>
                </a:lnTo>
                <a:lnTo>
                  <a:pt x="6" y="69"/>
                </a:lnTo>
                <a:lnTo>
                  <a:pt x="6" y="69"/>
                </a:lnTo>
                <a:lnTo>
                  <a:pt x="9" y="66"/>
                </a:lnTo>
                <a:lnTo>
                  <a:pt x="12" y="63"/>
                </a:lnTo>
                <a:lnTo>
                  <a:pt x="15" y="63"/>
                </a:lnTo>
                <a:lnTo>
                  <a:pt x="15" y="63"/>
                </a:lnTo>
                <a:lnTo>
                  <a:pt x="15" y="60"/>
                </a:lnTo>
                <a:lnTo>
                  <a:pt x="15" y="60"/>
                </a:lnTo>
                <a:lnTo>
                  <a:pt x="12" y="56"/>
                </a:lnTo>
                <a:lnTo>
                  <a:pt x="12" y="53"/>
                </a:lnTo>
                <a:lnTo>
                  <a:pt x="12" y="53"/>
                </a:lnTo>
                <a:lnTo>
                  <a:pt x="15" y="50"/>
                </a:lnTo>
                <a:lnTo>
                  <a:pt x="12" y="47"/>
                </a:lnTo>
                <a:lnTo>
                  <a:pt x="15" y="47"/>
                </a:lnTo>
                <a:lnTo>
                  <a:pt x="12" y="44"/>
                </a:lnTo>
                <a:lnTo>
                  <a:pt x="12" y="41"/>
                </a:lnTo>
                <a:lnTo>
                  <a:pt x="12" y="38"/>
                </a:lnTo>
                <a:lnTo>
                  <a:pt x="12" y="35"/>
                </a:lnTo>
                <a:lnTo>
                  <a:pt x="18" y="28"/>
                </a:lnTo>
                <a:lnTo>
                  <a:pt x="18" y="28"/>
                </a:lnTo>
                <a:lnTo>
                  <a:pt x="18" y="28"/>
                </a:lnTo>
                <a:lnTo>
                  <a:pt x="18" y="22"/>
                </a:lnTo>
                <a:lnTo>
                  <a:pt x="15" y="19"/>
                </a:lnTo>
                <a:lnTo>
                  <a:pt x="12" y="19"/>
                </a:lnTo>
                <a:lnTo>
                  <a:pt x="12" y="16"/>
                </a:lnTo>
                <a:lnTo>
                  <a:pt x="15" y="10"/>
                </a:lnTo>
                <a:lnTo>
                  <a:pt x="15" y="10"/>
                </a:lnTo>
                <a:lnTo>
                  <a:pt x="12" y="10"/>
                </a:lnTo>
                <a:lnTo>
                  <a:pt x="9" y="6"/>
                </a:lnTo>
                <a:lnTo>
                  <a:pt x="9" y="3"/>
                </a:lnTo>
                <a:lnTo>
                  <a:pt x="9" y="3"/>
                </a:lnTo>
                <a:lnTo>
                  <a:pt x="6" y="0"/>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7" name="Freeform 145">
            <a:extLst>
              <a:ext uri="{FF2B5EF4-FFF2-40B4-BE49-F238E27FC236}">
                <a16:creationId xmlns:a16="http://schemas.microsoft.com/office/drawing/2014/main" id="{F90D4A4A-6A08-760A-F2EB-0F119E32C2E3}"/>
              </a:ext>
            </a:extLst>
          </p:cNvPr>
          <p:cNvSpPr>
            <a:spLocks/>
          </p:cNvSpPr>
          <p:nvPr userDrawn="1"/>
        </p:nvSpPr>
        <p:spPr bwMode="auto">
          <a:xfrm>
            <a:off x="14508802" y="9892582"/>
            <a:ext cx="742902" cy="635000"/>
          </a:xfrm>
          <a:custGeom>
            <a:avLst/>
            <a:gdLst>
              <a:gd name="T0" fmla="*/ 50 w 234"/>
              <a:gd name="T1" fmla="*/ 60 h 200"/>
              <a:gd name="T2" fmla="*/ 53 w 234"/>
              <a:gd name="T3" fmla="*/ 66 h 200"/>
              <a:gd name="T4" fmla="*/ 62 w 234"/>
              <a:gd name="T5" fmla="*/ 63 h 200"/>
              <a:gd name="T6" fmla="*/ 72 w 234"/>
              <a:gd name="T7" fmla="*/ 66 h 200"/>
              <a:gd name="T8" fmla="*/ 75 w 234"/>
              <a:gd name="T9" fmla="*/ 72 h 200"/>
              <a:gd name="T10" fmla="*/ 91 w 234"/>
              <a:gd name="T11" fmla="*/ 78 h 200"/>
              <a:gd name="T12" fmla="*/ 100 w 234"/>
              <a:gd name="T13" fmla="*/ 75 h 200"/>
              <a:gd name="T14" fmla="*/ 109 w 234"/>
              <a:gd name="T15" fmla="*/ 69 h 200"/>
              <a:gd name="T16" fmla="*/ 116 w 234"/>
              <a:gd name="T17" fmla="*/ 85 h 200"/>
              <a:gd name="T18" fmla="*/ 134 w 234"/>
              <a:gd name="T19" fmla="*/ 97 h 200"/>
              <a:gd name="T20" fmla="*/ 150 w 234"/>
              <a:gd name="T21" fmla="*/ 103 h 200"/>
              <a:gd name="T22" fmla="*/ 156 w 234"/>
              <a:gd name="T23" fmla="*/ 106 h 200"/>
              <a:gd name="T24" fmla="*/ 150 w 234"/>
              <a:gd name="T25" fmla="*/ 81 h 200"/>
              <a:gd name="T26" fmla="*/ 144 w 234"/>
              <a:gd name="T27" fmla="*/ 88 h 200"/>
              <a:gd name="T28" fmla="*/ 131 w 234"/>
              <a:gd name="T29" fmla="*/ 75 h 200"/>
              <a:gd name="T30" fmla="*/ 137 w 234"/>
              <a:gd name="T31" fmla="*/ 50 h 200"/>
              <a:gd name="T32" fmla="*/ 137 w 234"/>
              <a:gd name="T33" fmla="*/ 44 h 200"/>
              <a:gd name="T34" fmla="*/ 141 w 234"/>
              <a:gd name="T35" fmla="*/ 35 h 200"/>
              <a:gd name="T36" fmla="*/ 134 w 234"/>
              <a:gd name="T37" fmla="*/ 25 h 200"/>
              <a:gd name="T38" fmla="*/ 187 w 234"/>
              <a:gd name="T39" fmla="*/ 6 h 200"/>
              <a:gd name="T40" fmla="*/ 194 w 234"/>
              <a:gd name="T41" fmla="*/ 9 h 200"/>
              <a:gd name="T42" fmla="*/ 212 w 234"/>
              <a:gd name="T43" fmla="*/ 16 h 200"/>
              <a:gd name="T44" fmla="*/ 222 w 234"/>
              <a:gd name="T45" fmla="*/ 25 h 200"/>
              <a:gd name="T46" fmla="*/ 225 w 234"/>
              <a:gd name="T47" fmla="*/ 31 h 200"/>
              <a:gd name="T48" fmla="*/ 228 w 234"/>
              <a:gd name="T49" fmla="*/ 41 h 200"/>
              <a:gd name="T50" fmla="*/ 234 w 234"/>
              <a:gd name="T51" fmla="*/ 53 h 200"/>
              <a:gd name="T52" fmla="*/ 228 w 234"/>
              <a:gd name="T53" fmla="*/ 63 h 200"/>
              <a:gd name="T54" fmla="*/ 228 w 234"/>
              <a:gd name="T55" fmla="*/ 72 h 200"/>
              <a:gd name="T56" fmla="*/ 228 w 234"/>
              <a:gd name="T57" fmla="*/ 81 h 200"/>
              <a:gd name="T58" fmla="*/ 231 w 234"/>
              <a:gd name="T59" fmla="*/ 88 h 200"/>
              <a:gd name="T60" fmla="*/ 222 w 234"/>
              <a:gd name="T61" fmla="*/ 94 h 200"/>
              <a:gd name="T62" fmla="*/ 222 w 234"/>
              <a:gd name="T63" fmla="*/ 103 h 200"/>
              <a:gd name="T64" fmla="*/ 219 w 234"/>
              <a:gd name="T65" fmla="*/ 113 h 200"/>
              <a:gd name="T66" fmla="*/ 216 w 234"/>
              <a:gd name="T67" fmla="*/ 122 h 200"/>
              <a:gd name="T68" fmla="*/ 178 w 234"/>
              <a:gd name="T69" fmla="*/ 135 h 200"/>
              <a:gd name="T70" fmla="*/ 169 w 234"/>
              <a:gd name="T71" fmla="*/ 150 h 200"/>
              <a:gd name="T72" fmla="*/ 159 w 234"/>
              <a:gd name="T73" fmla="*/ 150 h 200"/>
              <a:gd name="T74" fmla="*/ 147 w 234"/>
              <a:gd name="T75" fmla="*/ 153 h 200"/>
              <a:gd name="T76" fmla="*/ 137 w 234"/>
              <a:gd name="T77" fmla="*/ 160 h 200"/>
              <a:gd name="T78" fmla="*/ 134 w 234"/>
              <a:gd name="T79" fmla="*/ 166 h 200"/>
              <a:gd name="T80" fmla="*/ 103 w 234"/>
              <a:gd name="T81" fmla="*/ 197 h 200"/>
              <a:gd name="T82" fmla="*/ 91 w 234"/>
              <a:gd name="T83" fmla="*/ 194 h 200"/>
              <a:gd name="T84" fmla="*/ 81 w 234"/>
              <a:gd name="T85" fmla="*/ 194 h 200"/>
              <a:gd name="T86" fmla="*/ 72 w 234"/>
              <a:gd name="T87" fmla="*/ 194 h 200"/>
              <a:gd name="T88" fmla="*/ 59 w 234"/>
              <a:gd name="T89" fmla="*/ 188 h 200"/>
              <a:gd name="T90" fmla="*/ 53 w 234"/>
              <a:gd name="T91" fmla="*/ 188 h 200"/>
              <a:gd name="T92" fmla="*/ 28 w 234"/>
              <a:gd name="T93" fmla="*/ 191 h 200"/>
              <a:gd name="T94" fmla="*/ 22 w 234"/>
              <a:gd name="T95" fmla="*/ 182 h 200"/>
              <a:gd name="T96" fmla="*/ 9 w 234"/>
              <a:gd name="T97" fmla="*/ 172 h 200"/>
              <a:gd name="T98" fmla="*/ 0 w 234"/>
              <a:gd name="T99" fmla="*/ 163 h 200"/>
              <a:gd name="T100" fmla="*/ 44 w 234"/>
              <a:gd name="T101" fmla="*/ 91 h 200"/>
              <a:gd name="T102" fmla="*/ 44 w 234"/>
              <a:gd name="T103" fmla="*/ 78 h 200"/>
              <a:gd name="T104" fmla="*/ 44 w 234"/>
              <a:gd name="T10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4" h="200">
                <a:moveTo>
                  <a:pt x="44" y="60"/>
                </a:moveTo>
                <a:lnTo>
                  <a:pt x="47" y="60"/>
                </a:lnTo>
                <a:lnTo>
                  <a:pt x="47" y="60"/>
                </a:lnTo>
                <a:lnTo>
                  <a:pt x="50" y="60"/>
                </a:lnTo>
                <a:lnTo>
                  <a:pt x="53" y="63"/>
                </a:lnTo>
                <a:lnTo>
                  <a:pt x="53" y="66"/>
                </a:lnTo>
                <a:lnTo>
                  <a:pt x="53" y="66"/>
                </a:lnTo>
                <a:lnTo>
                  <a:pt x="53" y="66"/>
                </a:lnTo>
                <a:lnTo>
                  <a:pt x="56" y="66"/>
                </a:lnTo>
                <a:lnTo>
                  <a:pt x="59" y="63"/>
                </a:lnTo>
                <a:lnTo>
                  <a:pt x="62" y="63"/>
                </a:lnTo>
                <a:lnTo>
                  <a:pt x="62" y="63"/>
                </a:lnTo>
                <a:lnTo>
                  <a:pt x="69" y="60"/>
                </a:lnTo>
                <a:lnTo>
                  <a:pt x="69" y="63"/>
                </a:lnTo>
                <a:lnTo>
                  <a:pt x="69" y="66"/>
                </a:lnTo>
                <a:lnTo>
                  <a:pt x="72" y="66"/>
                </a:lnTo>
                <a:lnTo>
                  <a:pt x="72" y="69"/>
                </a:lnTo>
                <a:lnTo>
                  <a:pt x="72" y="72"/>
                </a:lnTo>
                <a:lnTo>
                  <a:pt x="72" y="72"/>
                </a:lnTo>
                <a:lnTo>
                  <a:pt x="75" y="72"/>
                </a:lnTo>
                <a:lnTo>
                  <a:pt x="78" y="72"/>
                </a:lnTo>
                <a:lnTo>
                  <a:pt x="81" y="75"/>
                </a:lnTo>
                <a:lnTo>
                  <a:pt x="87" y="78"/>
                </a:lnTo>
                <a:lnTo>
                  <a:pt x="91" y="78"/>
                </a:lnTo>
                <a:lnTo>
                  <a:pt x="91" y="78"/>
                </a:lnTo>
                <a:lnTo>
                  <a:pt x="94" y="78"/>
                </a:lnTo>
                <a:lnTo>
                  <a:pt x="100" y="78"/>
                </a:lnTo>
                <a:lnTo>
                  <a:pt x="100" y="75"/>
                </a:lnTo>
                <a:lnTo>
                  <a:pt x="103" y="69"/>
                </a:lnTo>
                <a:lnTo>
                  <a:pt x="106" y="69"/>
                </a:lnTo>
                <a:lnTo>
                  <a:pt x="106" y="69"/>
                </a:lnTo>
                <a:lnTo>
                  <a:pt x="109" y="69"/>
                </a:lnTo>
                <a:lnTo>
                  <a:pt x="109" y="75"/>
                </a:lnTo>
                <a:lnTo>
                  <a:pt x="112" y="78"/>
                </a:lnTo>
                <a:lnTo>
                  <a:pt x="112" y="81"/>
                </a:lnTo>
                <a:lnTo>
                  <a:pt x="116" y="85"/>
                </a:lnTo>
                <a:lnTo>
                  <a:pt x="125" y="85"/>
                </a:lnTo>
                <a:lnTo>
                  <a:pt x="128" y="88"/>
                </a:lnTo>
                <a:lnTo>
                  <a:pt x="131" y="94"/>
                </a:lnTo>
                <a:lnTo>
                  <a:pt x="134" y="97"/>
                </a:lnTo>
                <a:lnTo>
                  <a:pt x="141" y="100"/>
                </a:lnTo>
                <a:lnTo>
                  <a:pt x="144" y="106"/>
                </a:lnTo>
                <a:lnTo>
                  <a:pt x="147" y="106"/>
                </a:lnTo>
                <a:lnTo>
                  <a:pt x="150" y="103"/>
                </a:lnTo>
                <a:lnTo>
                  <a:pt x="153" y="103"/>
                </a:lnTo>
                <a:lnTo>
                  <a:pt x="153" y="103"/>
                </a:lnTo>
                <a:lnTo>
                  <a:pt x="153" y="103"/>
                </a:lnTo>
                <a:lnTo>
                  <a:pt x="156" y="106"/>
                </a:lnTo>
                <a:lnTo>
                  <a:pt x="159" y="103"/>
                </a:lnTo>
                <a:lnTo>
                  <a:pt x="156" y="81"/>
                </a:lnTo>
                <a:lnTo>
                  <a:pt x="156" y="81"/>
                </a:lnTo>
                <a:lnTo>
                  <a:pt x="150" y="81"/>
                </a:lnTo>
                <a:lnTo>
                  <a:pt x="150" y="85"/>
                </a:lnTo>
                <a:lnTo>
                  <a:pt x="153" y="88"/>
                </a:lnTo>
                <a:lnTo>
                  <a:pt x="150" y="88"/>
                </a:lnTo>
                <a:lnTo>
                  <a:pt x="144" y="88"/>
                </a:lnTo>
                <a:lnTo>
                  <a:pt x="141" y="85"/>
                </a:lnTo>
                <a:lnTo>
                  <a:pt x="141" y="81"/>
                </a:lnTo>
                <a:lnTo>
                  <a:pt x="134" y="75"/>
                </a:lnTo>
                <a:lnTo>
                  <a:pt x="131" y="75"/>
                </a:lnTo>
                <a:lnTo>
                  <a:pt x="131" y="69"/>
                </a:lnTo>
                <a:lnTo>
                  <a:pt x="131" y="56"/>
                </a:lnTo>
                <a:lnTo>
                  <a:pt x="131" y="56"/>
                </a:lnTo>
                <a:lnTo>
                  <a:pt x="137" y="50"/>
                </a:lnTo>
                <a:lnTo>
                  <a:pt x="137" y="50"/>
                </a:lnTo>
                <a:lnTo>
                  <a:pt x="137" y="47"/>
                </a:lnTo>
                <a:lnTo>
                  <a:pt x="137" y="47"/>
                </a:lnTo>
                <a:lnTo>
                  <a:pt x="137" y="44"/>
                </a:lnTo>
                <a:lnTo>
                  <a:pt x="137" y="41"/>
                </a:lnTo>
                <a:lnTo>
                  <a:pt x="137" y="38"/>
                </a:lnTo>
                <a:lnTo>
                  <a:pt x="137" y="35"/>
                </a:lnTo>
                <a:lnTo>
                  <a:pt x="141" y="35"/>
                </a:lnTo>
                <a:lnTo>
                  <a:pt x="141" y="31"/>
                </a:lnTo>
                <a:lnTo>
                  <a:pt x="137" y="31"/>
                </a:lnTo>
                <a:lnTo>
                  <a:pt x="134" y="28"/>
                </a:lnTo>
                <a:lnTo>
                  <a:pt x="134" y="25"/>
                </a:lnTo>
                <a:lnTo>
                  <a:pt x="144" y="9"/>
                </a:lnTo>
                <a:lnTo>
                  <a:pt x="175" y="0"/>
                </a:lnTo>
                <a:lnTo>
                  <a:pt x="184" y="6"/>
                </a:lnTo>
                <a:lnTo>
                  <a:pt x="187" y="6"/>
                </a:lnTo>
                <a:lnTo>
                  <a:pt x="191" y="6"/>
                </a:lnTo>
                <a:lnTo>
                  <a:pt x="191" y="6"/>
                </a:lnTo>
                <a:lnTo>
                  <a:pt x="194" y="9"/>
                </a:lnTo>
                <a:lnTo>
                  <a:pt x="194" y="9"/>
                </a:lnTo>
                <a:lnTo>
                  <a:pt x="197" y="13"/>
                </a:lnTo>
                <a:lnTo>
                  <a:pt x="200" y="13"/>
                </a:lnTo>
                <a:lnTo>
                  <a:pt x="209" y="16"/>
                </a:lnTo>
                <a:lnTo>
                  <a:pt x="212" y="16"/>
                </a:lnTo>
                <a:lnTo>
                  <a:pt x="212" y="19"/>
                </a:lnTo>
                <a:lnTo>
                  <a:pt x="216" y="19"/>
                </a:lnTo>
                <a:lnTo>
                  <a:pt x="219" y="22"/>
                </a:lnTo>
                <a:lnTo>
                  <a:pt x="222" y="25"/>
                </a:lnTo>
                <a:lnTo>
                  <a:pt x="222" y="25"/>
                </a:lnTo>
                <a:lnTo>
                  <a:pt x="225" y="28"/>
                </a:lnTo>
                <a:lnTo>
                  <a:pt x="225" y="28"/>
                </a:lnTo>
                <a:lnTo>
                  <a:pt x="225" y="31"/>
                </a:lnTo>
                <a:lnTo>
                  <a:pt x="228" y="35"/>
                </a:lnTo>
                <a:lnTo>
                  <a:pt x="231" y="35"/>
                </a:lnTo>
                <a:lnTo>
                  <a:pt x="231" y="35"/>
                </a:lnTo>
                <a:lnTo>
                  <a:pt x="228" y="41"/>
                </a:lnTo>
                <a:lnTo>
                  <a:pt x="228" y="44"/>
                </a:lnTo>
                <a:lnTo>
                  <a:pt x="231" y="44"/>
                </a:lnTo>
                <a:lnTo>
                  <a:pt x="234" y="47"/>
                </a:lnTo>
                <a:lnTo>
                  <a:pt x="234" y="53"/>
                </a:lnTo>
                <a:lnTo>
                  <a:pt x="234" y="53"/>
                </a:lnTo>
                <a:lnTo>
                  <a:pt x="234" y="53"/>
                </a:lnTo>
                <a:lnTo>
                  <a:pt x="228" y="60"/>
                </a:lnTo>
                <a:lnTo>
                  <a:pt x="228" y="63"/>
                </a:lnTo>
                <a:lnTo>
                  <a:pt x="228" y="66"/>
                </a:lnTo>
                <a:lnTo>
                  <a:pt x="228" y="69"/>
                </a:lnTo>
                <a:lnTo>
                  <a:pt x="231" y="72"/>
                </a:lnTo>
                <a:lnTo>
                  <a:pt x="228" y="72"/>
                </a:lnTo>
                <a:lnTo>
                  <a:pt x="231" y="75"/>
                </a:lnTo>
                <a:lnTo>
                  <a:pt x="228" y="78"/>
                </a:lnTo>
                <a:lnTo>
                  <a:pt x="228" y="78"/>
                </a:lnTo>
                <a:lnTo>
                  <a:pt x="228" y="81"/>
                </a:lnTo>
                <a:lnTo>
                  <a:pt x="231" y="85"/>
                </a:lnTo>
                <a:lnTo>
                  <a:pt x="231" y="85"/>
                </a:lnTo>
                <a:lnTo>
                  <a:pt x="231" y="88"/>
                </a:lnTo>
                <a:lnTo>
                  <a:pt x="231" y="88"/>
                </a:lnTo>
                <a:lnTo>
                  <a:pt x="228" y="88"/>
                </a:lnTo>
                <a:lnTo>
                  <a:pt x="225" y="91"/>
                </a:lnTo>
                <a:lnTo>
                  <a:pt x="222" y="94"/>
                </a:lnTo>
                <a:lnTo>
                  <a:pt x="222" y="94"/>
                </a:lnTo>
                <a:lnTo>
                  <a:pt x="222" y="97"/>
                </a:lnTo>
                <a:lnTo>
                  <a:pt x="222" y="100"/>
                </a:lnTo>
                <a:lnTo>
                  <a:pt x="222" y="100"/>
                </a:lnTo>
                <a:lnTo>
                  <a:pt x="222" y="103"/>
                </a:lnTo>
                <a:lnTo>
                  <a:pt x="219" y="106"/>
                </a:lnTo>
                <a:lnTo>
                  <a:pt x="216" y="110"/>
                </a:lnTo>
                <a:lnTo>
                  <a:pt x="216" y="110"/>
                </a:lnTo>
                <a:lnTo>
                  <a:pt x="219" y="113"/>
                </a:lnTo>
                <a:lnTo>
                  <a:pt x="222" y="119"/>
                </a:lnTo>
                <a:lnTo>
                  <a:pt x="222" y="119"/>
                </a:lnTo>
                <a:lnTo>
                  <a:pt x="222" y="119"/>
                </a:lnTo>
                <a:lnTo>
                  <a:pt x="216" y="122"/>
                </a:lnTo>
                <a:lnTo>
                  <a:pt x="203" y="125"/>
                </a:lnTo>
                <a:lnTo>
                  <a:pt x="200" y="128"/>
                </a:lnTo>
                <a:lnTo>
                  <a:pt x="181" y="135"/>
                </a:lnTo>
                <a:lnTo>
                  <a:pt x="178" y="135"/>
                </a:lnTo>
                <a:lnTo>
                  <a:pt x="169" y="141"/>
                </a:lnTo>
                <a:lnTo>
                  <a:pt x="169" y="144"/>
                </a:lnTo>
                <a:lnTo>
                  <a:pt x="169" y="147"/>
                </a:lnTo>
                <a:lnTo>
                  <a:pt x="169" y="150"/>
                </a:lnTo>
                <a:lnTo>
                  <a:pt x="169" y="150"/>
                </a:lnTo>
                <a:lnTo>
                  <a:pt x="166" y="150"/>
                </a:lnTo>
                <a:lnTo>
                  <a:pt x="162" y="150"/>
                </a:lnTo>
                <a:lnTo>
                  <a:pt x="159" y="150"/>
                </a:lnTo>
                <a:lnTo>
                  <a:pt x="159" y="150"/>
                </a:lnTo>
                <a:lnTo>
                  <a:pt x="153" y="150"/>
                </a:lnTo>
                <a:lnTo>
                  <a:pt x="150" y="150"/>
                </a:lnTo>
                <a:lnTo>
                  <a:pt x="147" y="153"/>
                </a:lnTo>
                <a:lnTo>
                  <a:pt x="144" y="153"/>
                </a:lnTo>
                <a:lnTo>
                  <a:pt x="137" y="157"/>
                </a:lnTo>
                <a:lnTo>
                  <a:pt x="137" y="160"/>
                </a:lnTo>
                <a:lnTo>
                  <a:pt x="137" y="160"/>
                </a:lnTo>
                <a:lnTo>
                  <a:pt x="137" y="163"/>
                </a:lnTo>
                <a:lnTo>
                  <a:pt x="137" y="166"/>
                </a:lnTo>
                <a:lnTo>
                  <a:pt x="137" y="166"/>
                </a:lnTo>
                <a:lnTo>
                  <a:pt x="134" y="166"/>
                </a:lnTo>
                <a:lnTo>
                  <a:pt x="128" y="169"/>
                </a:lnTo>
                <a:lnTo>
                  <a:pt x="116" y="178"/>
                </a:lnTo>
                <a:lnTo>
                  <a:pt x="109" y="188"/>
                </a:lnTo>
                <a:lnTo>
                  <a:pt x="103" y="197"/>
                </a:lnTo>
                <a:lnTo>
                  <a:pt x="97" y="200"/>
                </a:lnTo>
                <a:lnTo>
                  <a:pt x="94" y="197"/>
                </a:lnTo>
                <a:lnTo>
                  <a:pt x="91" y="197"/>
                </a:lnTo>
                <a:lnTo>
                  <a:pt x="91" y="194"/>
                </a:lnTo>
                <a:lnTo>
                  <a:pt x="87" y="194"/>
                </a:lnTo>
                <a:lnTo>
                  <a:pt x="87" y="194"/>
                </a:lnTo>
                <a:lnTo>
                  <a:pt x="84" y="194"/>
                </a:lnTo>
                <a:lnTo>
                  <a:pt x="81" y="194"/>
                </a:lnTo>
                <a:lnTo>
                  <a:pt x="78" y="197"/>
                </a:lnTo>
                <a:lnTo>
                  <a:pt x="75" y="197"/>
                </a:lnTo>
                <a:lnTo>
                  <a:pt x="75" y="194"/>
                </a:lnTo>
                <a:lnTo>
                  <a:pt x="72" y="194"/>
                </a:lnTo>
                <a:lnTo>
                  <a:pt x="66" y="194"/>
                </a:lnTo>
                <a:lnTo>
                  <a:pt x="62" y="194"/>
                </a:lnTo>
                <a:lnTo>
                  <a:pt x="59" y="191"/>
                </a:lnTo>
                <a:lnTo>
                  <a:pt x="59" y="188"/>
                </a:lnTo>
                <a:lnTo>
                  <a:pt x="59" y="188"/>
                </a:lnTo>
                <a:lnTo>
                  <a:pt x="56" y="188"/>
                </a:lnTo>
                <a:lnTo>
                  <a:pt x="56" y="188"/>
                </a:lnTo>
                <a:lnTo>
                  <a:pt x="53" y="188"/>
                </a:lnTo>
                <a:lnTo>
                  <a:pt x="53" y="188"/>
                </a:lnTo>
                <a:lnTo>
                  <a:pt x="50" y="188"/>
                </a:lnTo>
                <a:lnTo>
                  <a:pt x="47" y="188"/>
                </a:lnTo>
                <a:lnTo>
                  <a:pt x="28" y="191"/>
                </a:lnTo>
                <a:lnTo>
                  <a:pt x="28" y="188"/>
                </a:lnTo>
                <a:lnTo>
                  <a:pt x="25" y="188"/>
                </a:lnTo>
                <a:lnTo>
                  <a:pt x="22" y="185"/>
                </a:lnTo>
                <a:lnTo>
                  <a:pt x="22" y="182"/>
                </a:lnTo>
                <a:lnTo>
                  <a:pt x="19" y="182"/>
                </a:lnTo>
                <a:lnTo>
                  <a:pt x="16" y="178"/>
                </a:lnTo>
                <a:lnTo>
                  <a:pt x="12" y="175"/>
                </a:lnTo>
                <a:lnTo>
                  <a:pt x="9" y="172"/>
                </a:lnTo>
                <a:lnTo>
                  <a:pt x="6" y="172"/>
                </a:lnTo>
                <a:lnTo>
                  <a:pt x="6" y="169"/>
                </a:lnTo>
                <a:lnTo>
                  <a:pt x="3" y="166"/>
                </a:lnTo>
                <a:lnTo>
                  <a:pt x="0" y="163"/>
                </a:lnTo>
                <a:lnTo>
                  <a:pt x="3" y="97"/>
                </a:lnTo>
                <a:lnTo>
                  <a:pt x="44" y="97"/>
                </a:lnTo>
                <a:lnTo>
                  <a:pt x="44" y="97"/>
                </a:lnTo>
                <a:lnTo>
                  <a:pt x="44" y="91"/>
                </a:lnTo>
                <a:lnTo>
                  <a:pt x="47" y="88"/>
                </a:lnTo>
                <a:lnTo>
                  <a:pt x="47" y="85"/>
                </a:lnTo>
                <a:lnTo>
                  <a:pt x="44" y="81"/>
                </a:lnTo>
                <a:lnTo>
                  <a:pt x="44" y="78"/>
                </a:lnTo>
                <a:lnTo>
                  <a:pt x="44" y="69"/>
                </a:lnTo>
                <a:lnTo>
                  <a:pt x="44" y="63"/>
                </a:lnTo>
                <a:lnTo>
                  <a:pt x="44" y="60"/>
                </a:lnTo>
                <a:lnTo>
                  <a:pt x="44" y="60"/>
                </a:lnTo>
                <a:lnTo>
                  <a:pt x="44" y="60"/>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8" name="Freeform 146">
            <a:extLst>
              <a:ext uri="{FF2B5EF4-FFF2-40B4-BE49-F238E27FC236}">
                <a16:creationId xmlns:a16="http://schemas.microsoft.com/office/drawing/2014/main" id="{D6EDE0DC-D76E-6D14-0EC8-E7C3BF75322C}"/>
              </a:ext>
            </a:extLst>
          </p:cNvPr>
          <p:cNvSpPr>
            <a:spLocks/>
          </p:cNvSpPr>
          <p:nvPr userDrawn="1"/>
        </p:nvSpPr>
        <p:spPr bwMode="auto">
          <a:xfrm>
            <a:off x="13873850" y="9752885"/>
            <a:ext cx="784175" cy="774702"/>
          </a:xfrm>
          <a:custGeom>
            <a:avLst/>
            <a:gdLst>
              <a:gd name="T0" fmla="*/ 222 w 247"/>
              <a:gd name="T1" fmla="*/ 229 h 244"/>
              <a:gd name="T2" fmla="*/ 212 w 247"/>
              <a:gd name="T3" fmla="*/ 219 h 244"/>
              <a:gd name="T4" fmla="*/ 203 w 247"/>
              <a:gd name="T5" fmla="*/ 210 h 244"/>
              <a:gd name="T6" fmla="*/ 244 w 247"/>
              <a:gd name="T7" fmla="*/ 141 h 244"/>
              <a:gd name="T8" fmla="*/ 244 w 247"/>
              <a:gd name="T9" fmla="*/ 125 h 244"/>
              <a:gd name="T10" fmla="*/ 244 w 247"/>
              <a:gd name="T11" fmla="*/ 104 h 244"/>
              <a:gd name="T12" fmla="*/ 237 w 247"/>
              <a:gd name="T13" fmla="*/ 104 h 244"/>
              <a:gd name="T14" fmla="*/ 228 w 247"/>
              <a:gd name="T15" fmla="*/ 107 h 244"/>
              <a:gd name="T16" fmla="*/ 216 w 247"/>
              <a:gd name="T17" fmla="*/ 104 h 244"/>
              <a:gd name="T18" fmla="*/ 209 w 247"/>
              <a:gd name="T19" fmla="*/ 107 h 244"/>
              <a:gd name="T20" fmla="*/ 209 w 247"/>
              <a:gd name="T21" fmla="*/ 97 h 244"/>
              <a:gd name="T22" fmla="*/ 209 w 247"/>
              <a:gd name="T23" fmla="*/ 88 h 244"/>
              <a:gd name="T24" fmla="*/ 209 w 247"/>
              <a:gd name="T25" fmla="*/ 79 h 244"/>
              <a:gd name="T26" fmla="*/ 203 w 247"/>
              <a:gd name="T27" fmla="*/ 72 h 244"/>
              <a:gd name="T28" fmla="*/ 200 w 247"/>
              <a:gd name="T29" fmla="*/ 66 h 244"/>
              <a:gd name="T30" fmla="*/ 200 w 247"/>
              <a:gd name="T31" fmla="*/ 50 h 244"/>
              <a:gd name="T32" fmla="*/ 200 w 247"/>
              <a:gd name="T33" fmla="*/ 41 h 244"/>
              <a:gd name="T34" fmla="*/ 203 w 247"/>
              <a:gd name="T35" fmla="*/ 28 h 244"/>
              <a:gd name="T36" fmla="*/ 181 w 247"/>
              <a:gd name="T37" fmla="*/ 19 h 244"/>
              <a:gd name="T38" fmla="*/ 153 w 247"/>
              <a:gd name="T39" fmla="*/ 28 h 244"/>
              <a:gd name="T40" fmla="*/ 153 w 247"/>
              <a:gd name="T41" fmla="*/ 41 h 244"/>
              <a:gd name="T42" fmla="*/ 125 w 247"/>
              <a:gd name="T43" fmla="*/ 41 h 244"/>
              <a:gd name="T44" fmla="*/ 112 w 247"/>
              <a:gd name="T45" fmla="*/ 35 h 244"/>
              <a:gd name="T46" fmla="*/ 106 w 247"/>
              <a:gd name="T47" fmla="*/ 25 h 244"/>
              <a:gd name="T48" fmla="*/ 103 w 247"/>
              <a:gd name="T49" fmla="*/ 13 h 244"/>
              <a:gd name="T50" fmla="*/ 103 w 247"/>
              <a:gd name="T51" fmla="*/ 3 h 244"/>
              <a:gd name="T52" fmla="*/ 69 w 247"/>
              <a:gd name="T53" fmla="*/ 0 h 244"/>
              <a:gd name="T54" fmla="*/ 47 w 247"/>
              <a:gd name="T55" fmla="*/ 0 h 244"/>
              <a:gd name="T56" fmla="*/ 31 w 247"/>
              <a:gd name="T57" fmla="*/ 0 h 244"/>
              <a:gd name="T58" fmla="*/ 22 w 247"/>
              <a:gd name="T59" fmla="*/ 3 h 244"/>
              <a:gd name="T60" fmla="*/ 16 w 247"/>
              <a:gd name="T61" fmla="*/ 7 h 244"/>
              <a:gd name="T62" fmla="*/ 28 w 247"/>
              <a:gd name="T63" fmla="*/ 38 h 244"/>
              <a:gd name="T64" fmla="*/ 31 w 247"/>
              <a:gd name="T65" fmla="*/ 66 h 244"/>
              <a:gd name="T66" fmla="*/ 41 w 247"/>
              <a:gd name="T67" fmla="*/ 94 h 244"/>
              <a:gd name="T68" fmla="*/ 37 w 247"/>
              <a:gd name="T69" fmla="*/ 132 h 244"/>
              <a:gd name="T70" fmla="*/ 16 w 247"/>
              <a:gd name="T71" fmla="*/ 154 h 244"/>
              <a:gd name="T72" fmla="*/ 6 w 247"/>
              <a:gd name="T73" fmla="*/ 182 h 244"/>
              <a:gd name="T74" fmla="*/ 0 w 247"/>
              <a:gd name="T75" fmla="*/ 210 h 244"/>
              <a:gd name="T76" fmla="*/ 0 w 247"/>
              <a:gd name="T77" fmla="*/ 229 h 244"/>
              <a:gd name="T78" fmla="*/ 6 w 247"/>
              <a:gd name="T79" fmla="*/ 226 h 244"/>
              <a:gd name="T80" fmla="*/ 16 w 247"/>
              <a:gd name="T81" fmla="*/ 226 h 244"/>
              <a:gd name="T82" fmla="*/ 28 w 247"/>
              <a:gd name="T83" fmla="*/ 222 h 244"/>
              <a:gd name="T84" fmla="*/ 34 w 247"/>
              <a:gd name="T85" fmla="*/ 222 h 244"/>
              <a:gd name="T86" fmla="*/ 37 w 247"/>
              <a:gd name="T87" fmla="*/ 226 h 244"/>
              <a:gd name="T88" fmla="*/ 50 w 247"/>
              <a:gd name="T89" fmla="*/ 229 h 244"/>
              <a:gd name="T90" fmla="*/ 131 w 247"/>
              <a:gd name="T91" fmla="*/ 229 h 244"/>
              <a:gd name="T92" fmla="*/ 137 w 247"/>
              <a:gd name="T93" fmla="*/ 238 h 244"/>
              <a:gd name="T94" fmla="*/ 147 w 247"/>
              <a:gd name="T95" fmla="*/ 238 h 244"/>
              <a:gd name="T96" fmla="*/ 162 w 247"/>
              <a:gd name="T97" fmla="*/ 238 h 244"/>
              <a:gd name="T98" fmla="*/ 169 w 247"/>
              <a:gd name="T99" fmla="*/ 238 h 244"/>
              <a:gd name="T100" fmla="*/ 181 w 247"/>
              <a:gd name="T101" fmla="*/ 241 h 244"/>
              <a:gd name="T102" fmla="*/ 187 w 247"/>
              <a:gd name="T103" fmla="*/ 241 h 244"/>
              <a:gd name="T104" fmla="*/ 194 w 247"/>
              <a:gd name="T105" fmla="*/ 244 h 244"/>
              <a:gd name="T106" fmla="*/ 228 w 247"/>
              <a:gd name="T107" fmla="*/ 23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7" h="244">
                <a:moveTo>
                  <a:pt x="228" y="235"/>
                </a:moveTo>
                <a:lnTo>
                  <a:pt x="228" y="232"/>
                </a:lnTo>
                <a:lnTo>
                  <a:pt x="225" y="232"/>
                </a:lnTo>
                <a:lnTo>
                  <a:pt x="222" y="229"/>
                </a:lnTo>
                <a:lnTo>
                  <a:pt x="222" y="226"/>
                </a:lnTo>
                <a:lnTo>
                  <a:pt x="219" y="226"/>
                </a:lnTo>
                <a:lnTo>
                  <a:pt x="216" y="222"/>
                </a:lnTo>
                <a:lnTo>
                  <a:pt x="212" y="219"/>
                </a:lnTo>
                <a:lnTo>
                  <a:pt x="209" y="216"/>
                </a:lnTo>
                <a:lnTo>
                  <a:pt x="206" y="216"/>
                </a:lnTo>
                <a:lnTo>
                  <a:pt x="206" y="213"/>
                </a:lnTo>
                <a:lnTo>
                  <a:pt x="203" y="210"/>
                </a:lnTo>
                <a:lnTo>
                  <a:pt x="200" y="207"/>
                </a:lnTo>
                <a:lnTo>
                  <a:pt x="203" y="141"/>
                </a:lnTo>
                <a:lnTo>
                  <a:pt x="244" y="141"/>
                </a:lnTo>
                <a:lnTo>
                  <a:pt x="244" y="141"/>
                </a:lnTo>
                <a:lnTo>
                  <a:pt x="244" y="135"/>
                </a:lnTo>
                <a:lnTo>
                  <a:pt x="247" y="132"/>
                </a:lnTo>
                <a:lnTo>
                  <a:pt x="247" y="129"/>
                </a:lnTo>
                <a:lnTo>
                  <a:pt x="244" y="125"/>
                </a:lnTo>
                <a:lnTo>
                  <a:pt x="244" y="122"/>
                </a:lnTo>
                <a:lnTo>
                  <a:pt x="244" y="113"/>
                </a:lnTo>
                <a:lnTo>
                  <a:pt x="244" y="107"/>
                </a:lnTo>
                <a:lnTo>
                  <a:pt x="244" y="104"/>
                </a:lnTo>
                <a:lnTo>
                  <a:pt x="244" y="104"/>
                </a:lnTo>
                <a:lnTo>
                  <a:pt x="244" y="104"/>
                </a:lnTo>
                <a:lnTo>
                  <a:pt x="241" y="104"/>
                </a:lnTo>
                <a:lnTo>
                  <a:pt x="237" y="104"/>
                </a:lnTo>
                <a:lnTo>
                  <a:pt x="234" y="107"/>
                </a:lnTo>
                <a:lnTo>
                  <a:pt x="231" y="107"/>
                </a:lnTo>
                <a:lnTo>
                  <a:pt x="231" y="107"/>
                </a:lnTo>
                <a:lnTo>
                  <a:pt x="228" y="107"/>
                </a:lnTo>
                <a:lnTo>
                  <a:pt x="222" y="107"/>
                </a:lnTo>
                <a:lnTo>
                  <a:pt x="222" y="107"/>
                </a:lnTo>
                <a:lnTo>
                  <a:pt x="219" y="104"/>
                </a:lnTo>
                <a:lnTo>
                  <a:pt x="216" y="104"/>
                </a:lnTo>
                <a:lnTo>
                  <a:pt x="216" y="104"/>
                </a:lnTo>
                <a:lnTo>
                  <a:pt x="212" y="104"/>
                </a:lnTo>
                <a:lnTo>
                  <a:pt x="212" y="107"/>
                </a:lnTo>
                <a:lnTo>
                  <a:pt x="209" y="107"/>
                </a:lnTo>
                <a:lnTo>
                  <a:pt x="209" y="104"/>
                </a:lnTo>
                <a:lnTo>
                  <a:pt x="209" y="100"/>
                </a:lnTo>
                <a:lnTo>
                  <a:pt x="209" y="100"/>
                </a:lnTo>
                <a:lnTo>
                  <a:pt x="209" y="97"/>
                </a:lnTo>
                <a:lnTo>
                  <a:pt x="212" y="97"/>
                </a:lnTo>
                <a:lnTo>
                  <a:pt x="209" y="94"/>
                </a:lnTo>
                <a:lnTo>
                  <a:pt x="209" y="91"/>
                </a:lnTo>
                <a:lnTo>
                  <a:pt x="209" y="88"/>
                </a:lnTo>
                <a:lnTo>
                  <a:pt x="209" y="88"/>
                </a:lnTo>
                <a:lnTo>
                  <a:pt x="206" y="85"/>
                </a:lnTo>
                <a:lnTo>
                  <a:pt x="206" y="82"/>
                </a:lnTo>
                <a:lnTo>
                  <a:pt x="209" y="79"/>
                </a:lnTo>
                <a:lnTo>
                  <a:pt x="206" y="79"/>
                </a:lnTo>
                <a:lnTo>
                  <a:pt x="206" y="75"/>
                </a:lnTo>
                <a:lnTo>
                  <a:pt x="206" y="75"/>
                </a:lnTo>
                <a:lnTo>
                  <a:pt x="203" y="72"/>
                </a:lnTo>
                <a:lnTo>
                  <a:pt x="203" y="72"/>
                </a:lnTo>
                <a:lnTo>
                  <a:pt x="203" y="69"/>
                </a:lnTo>
                <a:lnTo>
                  <a:pt x="203" y="66"/>
                </a:lnTo>
                <a:lnTo>
                  <a:pt x="200" y="66"/>
                </a:lnTo>
                <a:lnTo>
                  <a:pt x="203" y="63"/>
                </a:lnTo>
                <a:lnTo>
                  <a:pt x="203" y="53"/>
                </a:lnTo>
                <a:lnTo>
                  <a:pt x="200" y="50"/>
                </a:lnTo>
                <a:lnTo>
                  <a:pt x="200" y="50"/>
                </a:lnTo>
                <a:lnTo>
                  <a:pt x="203" y="50"/>
                </a:lnTo>
                <a:lnTo>
                  <a:pt x="203" y="47"/>
                </a:lnTo>
                <a:lnTo>
                  <a:pt x="200" y="44"/>
                </a:lnTo>
                <a:lnTo>
                  <a:pt x="200" y="41"/>
                </a:lnTo>
                <a:lnTo>
                  <a:pt x="203" y="38"/>
                </a:lnTo>
                <a:lnTo>
                  <a:pt x="203" y="35"/>
                </a:lnTo>
                <a:lnTo>
                  <a:pt x="203" y="32"/>
                </a:lnTo>
                <a:lnTo>
                  <a:pt x="203" y="28"/>
                </a:lnTo>
                <a:lnTo>
                  <a:pt x="178" y="25"/>
                </a:lnTo>
                <a:lnTo>
                  <a:pt x="178" y="25"/>
                </a:lnTo>
                <a:lnTo>
                  <a:pt x="181" y="22"/>
                </a:lnTo>
                <a:lnTo>
                  <a:pt x="181" y="19"/>
                </a:lnTo>
                <a:lnTo>
                  <a:pt x="175" y="19"/>
                </a:lnTo>
                <a:lnTo>
                  <a:pt x="175" y="22"/>
                </a:lnTo>
                <a:lnTo>
                  <a:pt x="156" y="22"/>
                </a:lnTo>
                <a:lnTo>
                  <a:pt x="153" y="28"/>
                </a:lnTo>
                <a:lnTo>
                  <a:pt x="153" y="32"/>
                </a:lnTo>
                <a:lnTo>
                  <a:pt x="150" y="32"/>
                </a:lnTo>
                <a:lnTo>
                  <a:pt x="153" y="35"/>
                </a:lnTo>
                <a:lnTo>
                  <a:pt x="153" y="41"/>
                </a:lnTo>
                <a:lnTo>
                  <a:pt x="137" y="41"/>
                </a:lnTo>
                <a:lnTo>
                  <a:pt x="134" y="44"/>
                </a:lnTo>
                <a:lnTo>
                  <a:pt x="128" y="44"/>
                </a:lnTo>
                <a:lnTo>
                  <a:pt x="125" y="41"/>
                </a:lnTo>
                <a:lnTo>
                  <a:pt x="122" y="44"/>
                </a:lnTo>
                <a:lnTo>
                  <a:pt x="116" y="44"/>
                </a:lnTo>
                <a:lnTo>
                  <a:pt x="116" y="41"/>
                </a:lnTo>
                <a:lnTo>
                  <a:pt x="112" y="35"/>
                </a:lnTo>
                <a:lnTo>
                  <a:pt x="112" y="32"/>
                </a:lnTo>
                <a:lnTo>
                  <a:pt x="109" y="28"/>
                </a:lnTo>
                <a:lnTo>
                  <a:pt x="106" y="28"/>
                </a:lnTo>
                <a:lnTo>
                  <a:pt x="106" y="25"/>
                </a:lnTo>
                <a:lnTo>
                  <a:pt x="106" y="22"/>
                </a:lnTo>
                <a:lnTo>
                  <a:pt x="106" y="19"/>
                </a:lnTo>
                <a:lnTo>
                  <a:pt x="103" y="16"/>
                </a:lnTo>
                <a:lnTo>
                  <a:pt x="103" y="13"/>
                </a:lnTo>
                <a:lnTo>
                  <a:pt x="106" y="10"/>
                </a:lnTo>
                <a:lnTo>
                  <a:pt x="103" y="7"/>
                </a:lnTo>
                <a:lnTo>
                  <a:pt x="103" y="7"/>
                </a:lnTo>
                <a:lnTo>
                  <a:pt x="103" y="3"/>
                </a:lnTo>
                <a:lnTo>
                  <a:pt x="103" y="3"/>
                </a:lnTo>
                <a:lnTo>
                  <a:pt x="103" y="0"/>
                </a:lnTo>
                <a:lnTo>
                  <a:pt x="81" y="0"/>
                </a:lnTo>
                <a:lnTo>
                  <a:pt x="69" y="0"/>
                </a:lnTo>
                <a:lnTo>
                  <a:pt x="62" y="0"/>
                </a:lnTo>
                <a:lnTo>
                  <a:pt x="56" y="0"/>
                </a:lnTo>
                <a:lnTo>
                  <a:pt x="53" y="0"/>
                </a:lnTo>
                <a:lnTo>
                  <a:pt x="47" y="0"/>
                </a:lnTo>
                <a:lnTo>
                  <a:pt x="41" y="0"/>
                </a:lnTo>
                <a:lnTo>
                  <a:pt x="37" y="0"/>
                </a:lnTo>
                <a:lnTo>
                  <a:pt x="34" y="0"/>
                </a:lnTo>
                <a:lnTo>
                  <a:pt x="31" y="0"/>
                </a:lnTo>
                <a:lnTo>
                  <a:pt x="28" y="0"/>
                </a:lnTo>
                <a:lnTo>
                  <a:pt x="25" y="0"/>
                </a:lnTo>
                <a:lnTo>
                  <a:pt x="25" y="3"/>
                </a:lnTo>
                <a:lnTo>
                  <a:pt x="22" y="3"/>
                </a:lnTo>
                <a:lnTo>
                  <a:pt x="22" y="3"/>
                </a:lnTo>
                <a:lnTo>
                  <a:pt x="22" y="3"/>
                </a:lnTo>
                <a:lnTo>
                  <a:pt x="22" y="3"/>
                </a:lnTo>
                <a:lnTo>
                  <a:pt x="16" y="7"/>
                </a:lnTo>
                <a:lnTo>
                  <a:pt x="19" y="10"/>
                </a:lnTo>
                <a:lnTo>
                  <a:pt x="19" y="13"/>
                </a:lnTo>
                <a:lnTo>
                  <a:pt x="28" y="22"/>
                </a:lnTo>
                <a:lnTo>
                  <a:pt x="28" y="38"/>
                </a:lnTo>
                <a:lnTo>
                  <a:pt x="34" y="47"/>
                </a:lnTo>
                <a:lnTo>
                  <a:pt x="34" y="57"/>
                </a:lnTo>
                <a:lnTo>
                  <a:pt x="28" y="63"/>
                </a:lnTo>
                <a:lnTo>
                  <a:pt x="31" y="66"/>
                </a:lnTo>
                <a:lnTo>
                  <a:pt x="31" y="72"/>
                </a:lnTo>
                <a:lnTo>
                  <a:pt x="34" y="75"/>
                </a:lnTo>
                <a:lnTo>
                  <a:pt x="34" y="82"/>
                </a:lnTo>
                <a:lnTo>
                  <a:pt x="41" y="94"/>
                </a:lnTo>
                <a:lnTo>
                  <a:pt x="41" y="97"/>
                </a:lnTo>
                <a:lnTo>
                  <a:pt x="44" y="100"/>
                </a:lnTo>
                <a:lnTo>
                  <a:pt x="44" y="116"/>
                </a:lnTo>
                <a:lnTo>
                  <a:pt x="37" y="132"/>
                </a:lnTo>
                <a:lnTo>
                  <a:pt x="34" y="132"/>
                </a:lnTo>
                <a:lnTo>
                  <a:pt x="25" y="138"/>
                </a:lnTo>
                <a:lnTo>
                  <a:pt x="25" y="144"/>
                </a:lnTo>
                <a:lnTo>
                  <a:pt x="16" y="154"/>
                </a:lnTo>
                <a:lnTo>
                  <a:pt x="12" y="160"/>
                </a:lnTo>
                <a:lnTo>
                  <a:pt x="12" y="160"/>
                </a:lnTo>
                <a:lnTo>
                  <a:pt x="12" y="175"/>
                </a:lnTo>
                <a:lnTo>
                  <a:pt x="6" y="182"/>
                </a:lnTo>
                <a:lnTo>
                  <a:pt x="6" y="191"/>
                </a:lnTo>
                <a:lnTo>
                  <a:pt x="0" y="197"/>
                </a:lnTo>
                <a:lnTo>
                  <a:pt x="0" y="204"/>
                </a:lnTo>
                <a:lnTo>
                  <a:pt x="0" y="210"/>
                </a:lnTo>
                <a:lnTo>
                  <a:pt x="0" y="219"/>
                </a:lnTo>
                <a:lnTo>
                  <a:pt x="0" y="226"/>
                </a:lnTo>
                <a:lnTo>
                  <a:pt x="0" y="229"/>
                </a:lnTo>
                <a:lnTo>
                  <a:pt x="0" y="229"/>
                </a:lnTo>
                <a:lnTo>
                  <a:pt x="3" y="229"/>
                </a:lnTo>
                <a:lnTo>
                  <a:pt x="3" y="229"/>
                </a:lnTo>
                <a:lnTo>
                  <a:pt x="6" y="229"/>
                </a:lnTo>
                <a:lnTo>
                  <a:pt x="6" y="226"/>
                </a:lnTo>
                <a:lnTo>
                  <a:pt x="6" y="226"/>
                </a:lnTo>
                <a:lnTo>
                  <a:pt x="12" y="226"/>
                </a:lnTo>
                <a:lnTo>
                  <a:pt x="16" y="229"/>
                </a:lnTo>
                <a:lnTo>
                  <a:pt x="16" y="226"/>
                </a:lnTo>
                <a:lnTo>
                  <a:pt x="16" y="226"/>
                </a:lnTo>
                <a:lnTo>
                  <a:pt x="22" y="219"/>
                </a:lnTo>
                <a:lnTo>
                  <a:pt x="25" y="219"/>
                </a:lnTo>
                <a:lnTo>
                  <a:pt x="28" y="222"/>
                </a:lnTo>
                <a:lnTo>
                  <a:pt x="28" y="222"/>
                </a:lnTo>
                <a:lnTo>
                  <a:pt x="31" y="222"/>
                </a:lnTo>
                <a:lnTo>
                  <a:pt x="31" y="219"/>
                </a:lnTo>
                <a:lnTo>
                  <a:pt x="34" y="222"/>
                </a:lnTo>
                <a:lnTo>
                  <a:pt x="34" y="222"/>
                </a:lnTo>
                <a:lnTo>
                  <a:pt x="37" y="222"/>
                </a:lnTo>
                <a:lnTo>
                  <a:pt x="37" y="226"/>
                </a:lnTo>
                <a:lnTo>
                  <a:pt x="37" y="226"/>
                </a:lnTo>
                <a:lnTo>
                  <a:pt x="41" y="229"/>
                </a:lnTo>
                <a:lnTo>
                  <a:pt x="47" y="232"/>
                </a:lnTo>
                <a:lnTo>
                  <a:pt x="50" y="229"/>
                </a:lnTo>
                <a:lnTo>
                  <a:pt x="50" y="229"/>
                </a:lnTo>
                <a:lnTo>
                  <a:pt x="53" y="229"/>
                </a:lnTo>
                <a:lnTo>
                  <a:pt x="56" y="229"/>
                </a:lnTo>
                <a:lnTo>
                  <a:pt x="56" y="229"/>
                </a:lnTo>
                <a:lnTo>
                  <a:pt x="131" y="229"/>
                </a:lnTo>
                <a:lnTo>
                  <a:pt x="131" y="229"/>
                </a:lnTo>
                <a:lnTo>
                  <a:pt x="134" y="235"/>
                </a:lnTo>
                <a:lnTo>
                  <a:pt x="134" y="235"/>
                </a:lnTo>
                <a:lnTo>
                  <a:pt x="137" y="238"/>
                </a:lnTo>
                <a:lnTo>
                  <a:pt x="144" y="238"/>
                </a:lnTo>
                <a:lnTo>
                  <a:pt x="147" y="238"/>
                </a:lnTo>
                <a:lnTo>
                  <a:pt x="147" y="238"/>
                </a:lnTo>
                <a:lnTo>
                  <a:pt x="147" y="238"/>
                </a:lnTo>
                <a:lnTo>
                  <a:pt x="150" y="241"/>
                </a:lnTo>
                <a:lnTo>
                  <a:pt x="153" y="238"/>
                </a:lnTo>
                <a:lnTo>
                  <a:pt x="156" y="238"/>
                </a:lnTo>
                <a:lnTo>
                  <a:pt x="162" y="238"/>
                </a:lnTo>
                <a:lnTo>
                  <a:pt x="166" y="238"/>
                </a:lnTo>
                <a:lnTo>
                  <a:pt x="166" y="235"/>
                </a:lnTo>
                <a:lnTo>
                  <a:pt x="166" y="238"/>
                </a:lnTo>
                <a:lnTo>
                  <a:pt x="169" y="238"/>
                </a:lnTo>
                <a:lnTo>
                  <a:pt x="172" y="241"/>
                </a:lnTo>
                <a:lnTo>
                  <a:pt x="175" y="241"/>
                </a:lnTo>
                <a:lnTo>
                  <a:pt x="181" y="241"/>
                </a:lnTo>
                <a:lnTo>
                  <a:pt x="181" y="241"/>
                </a:lnTo>
                <a:lnTo>
                  <a:pt x="181" y="241"/>
                </a:lnTo>
                <a:lnTo>
                  <a:pt x="184" y="241"/>
                </a:lnTo>
                <a:lnTo>
                  <a:pt x="187" y="241"/>
                </a:lnTo>
                <a:lnTo>
                  <a:pt x="187" y="241"/>
                </a:lnTo>
                <a:lnTo>
                  <a:pt x="191" y="241"/>
                </a:lnTo>
                <a:lnTo>
                  <a:pt x="191" y="241"/>
                </a:lnTo>
                <a:lnTo>
                  <a:pt x="191" y="241"/>
                </a:lnTo>
                <a:lnTo>
                  <a:pt x="194" y="244"/>
                </a:lnTo>
                <a:lnTo>
                  <a:pt x="194" y="244"/>
                </a:lnTo>
                <a:lnTo>
                  <a:pt x="197" y="244"/>
                </a:lnTo>
                <a:lnTo>
                  <a:pt x="197" y="244"/>
                </a:lnTo>
                <a:lnTo>
                  <a:pt x="228" y="235"/>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9" name="Freeform 147">
            <a:extLst>
              <a:ext uri="{FF2B5EF4-FFF2-40B4-BE49-F238E27FC236}">
                <a16:creationId xmlns:a16="http://schemas.microsoft.com/office/drawing/2014/main" id="{ACD36C35-7F4E-848C-D6E7-B5F419B9C54A}"/>
              </a:ext>
            </a:extLst>
          </p:cNvPr>
          <p:cNvSpPr>
            <a:spLocks/>
          </p:cNvSpPr>
          <p:nvPr userDrawn="1"/>
        </p:nvSpPr>
        <p:spPr bwMode="auto">
          <a:xfrm>
            <a:off x="14705644" y="10368835"/>
            <a:ext cx="498446" cy="447678"/>
          </a:xfrm>
          <a:custGeom>
            <a:avLst/>
            <a:gdLst>
              <a:gd name="T0" fmla="*/ 10 w 157"/>
              <a:gd name="T1" fmla="*/ 44 h 141"/>
              <a:gd name="T2" fmla="*/ 16 w 157"/>
              <a:gd name="T3" fmla="*/ 47 h 141"/>
              <a:gd name="T4" fmla="*/ 25 w 157"/>
              <a:gd name="T5" fmla="*/ 44 h 141"/>
              <a:gd name="T6" fmla="*/ 29 w 157"/>
              <a:gd name="T7" fmla="*/ 47 h 141"/>
              <a:gd name="T8" fmla="*/ 41 w 157"/>
              <a:gd name="T9" fmla="*/ 47 h 141"/>
              <a:gd name="T10" fmla="*/ 66 w 157"/>
              <a:gd name="T11" fmla="*/ 19 h 141"/>
              <a:gd name="T12" fmla="*/ 75 w 157"/>
              <a:gd name="T13" fmla="*/ 16 h 141"/>
              <a:gd name="T14" fmla="*/ 75 w 157"/>
              <a:gd name="T15" fmla="*/ 10 h 141"/>
              <a:gd name="T16" fmla="*/ 85 w 157"/>
              <a:gd name="T17" fmla="*/ 3 h 141"/>
              <a:gd name="T18" fmla="*/ 97 w 157"/>
              <a:gd name="T19" fmla="*/ 0 h 141"/>
              <a:gd name="T20" fmla="*/ 104 w 157"/>
              <a:gd name="T21" fmla="*/ 0 h 141"/>
              <a:gd name="T22" fmla="*/ 107 w 157"/>
              <a:gd name="T23" fmla="*/ 7 h 141"/>
              <a:gd name="T24" fmla="*/ 119 w 157"/>
              <a:gd name="T25" fmla="*/ 10 h 141"/>
              <a:gd name="T26" fmla="*/ 125 w 157"/>
              <a:gd name="T27" fmla="*/ 10 h 141"/>
              <a:gd name="T28" fmla="*/ 138 w 157"/>
              <a:gd name="T29" fmla="*/ 19 h 141"/>
              <a:gd name="T30" fmla="*/ 150 w 157"/>
              <a:gd name="T31" fmla="*/ 22 h 141"/>
              <a:gd name="T32" fmla="*/ 154 w 157"/>
              <a:gd name="T33" fmla="*/ 32 h 141"/>
              <a:gd name="T34" fmla="*/ 154 w 157"/>
              <a:gd name="T35" fmla="*/ 38 h 141"/>
              <a:gd name="T36" fmla="*/ 154 w 157"/>
              <a:gd name="T37" fmla="*/ 50 h 141"/>
              <a:gd name="T38" fmla="*/ 154 w 157"/>
              <a:gd name="T39" fmla="*/ 53 h 141"/>
              <a:gd name="T40" fmla="*/ 150 w 157"/>
              <a:gd name="T41" fmla="*/ 63 h 141"/>
              <a:gd name="T42" fmla="*/ 147 w 157"/>
              <a:gd name="T43" fmla="*/ 69 h 141"/>
              <a:gd name="T44" fmla="*/ 150 w 157"/>
              <a:gd name="T45" fmla="*/ 78 h 141"/>
              <a:gd name="T46" fmla="*/ 154 w 157"/>
              <a:gd name="T47" fmla="*/ 85 h 141"/>
              <a:gd name="T48" fmla="*/ 144 w 157"/>
              <a:gd name="T49" fmla="*/ 94 h 141"/>
              <a:gd name="T50" fmla="*/ 144 w 157"/>
              <a:gd name="T51" fmla="*/ 100 h 141"/>
              <a:gd name="T52" fmla="*/ 141 w 157"/>
              <a:gd name="T53" fmla="*/ 113 h 141"/>
              <a:gd name="T54" fmla="*/ 116 w 157"/>
              <a:gd name="T55" fmla="*/ 138 h 141"/>
              <a:gd name="T56" fmla="*/ 100 w 157"/>
              <a:gd name="T57" fmla="*/ 138 h 141"/>
              <a:gd name="T58" fmla="*/ 91 w 157"/>
              <a:gd name="T59" fmla="*/ 135 h 141"/>
              <a:gd name="T60" fmla="*/ 79 w 157"/>
              <a:gd name="T61" fmla="*/ 132 h 141"/>
              <a:gd name="T62" fmla="*/ 75 w 157"/>
              <a:gd name="T63" fmla="*/ 125 h 141"/>
              <a:gd name="T64" fmla="*/ 69 w 157"/>
              <a:gd name="T65" fmla="*/ 122 h 141"/>
              <a:gd name="T66" fmla="*/ 60 w 157"/>
              <a:gd name="T67" fmla="*/ 122 h 141"/>
              <a:gd name="T68" fmla="*/ 47 w 157"/>
              <a:gd name="T69" fmla="*/ 113 h 141"/>
              <a:gd name="T70" fmla="*/ 47 w 157"/>
              <a:gd name="T71" fmla="*/ 103 h 141"/>
              <a:gd name="T72" fmla="*/ 41 w 157"/>
              <a:gd name="T73" fmla="*/ 97 h 141"/>
              <a:gd name="T74" fmla="*/ 41 w 157"/>
              <a:gd name="T75" fmla="*/ 94 h 141"/>
              <a:gd name="T76" fmla="*/ 32 w 157"/>
              <a:gd name="T77" fmla="*/ 88 h 141"/>
              <a:gd name="T78" fmla="*/ 22 w 157"/>
              <a:gd name="T79" fmla="*/ 72 h 141"/>
              <a:gd name="T80" fmla="*/ 16 w 157"/>
              <a:gd name="T81" fmla="*/ 69 h 141"/>
              <a:gd name="T82" fmla="*/ 13 w 157"/>
              <a:gd name="T83" fmla="*/ 60 h 141"/>
              <a:gd name="T84" fmla="*/ 10 w 157"/>
              <a:gd name="T85" fmla="*/ 57 h 141"/>
              <a:gd name="T86" fmla="*/ 4 w 157"/>
              <a:gd name="T87" fmla="*/ 50 h 141"/>
              <a:gd name="T88" fmla="*/ 4 w 157"/>
              <a:gd name="T89" fmla="*/ 44 h 141"/>
              <a:gd name="T90" fmla="*/ 0 w 157"/>
              <a:gd name="T91" fmla="*/ 4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7" h="141">
                <a:moveTo>
                  <a:pt x="0" y="44"/>
                </a:moveTo>
                <a:lnTo>
                  <a:pt x="4" y="44"/>
                </a:lnTo>
                <a:lnTo>
                  <a:pt x="10" y="44"/>
                </a:lnTo>
                <a:lnTo>
                  <a:pt x="13" y="44"/>
                </a:lnTo>
                <a:lnTo>
                  <a:pt x="13" y="47"/>
                </a:lnTo>
                <a:lnTo>
                  <a:pt x="16" y="47"/>
                </a:lnTo>
                <a:lnTo>
                  <a:pt x="19" y="44"/>
                </a:lnTo>
                <a:lnTo>
                  <a:pt x="22" y="44"/>
                </a:lnTo>
                <a:lnTo>
                  <a:pt x="25" y="44"/>
                </a:lnTo>
                <a:lnTo>
                  <a:pt x="25" y="44"/>
                </a:lnTo>
                <a:lnTo>
                  <a:pt x="29" y="44"/>
                </a:lnTo>
                <a:lnTo>
                  <a:pt x="29" y="47"/>
                </a:lnTo>
                <a:lnTo>
                  <a:pt x="32" y="47"/>
                </a:lnTo>
                <a:lnTo>
                  <a:pt x="35" y="50"/>
                </a:lnTo>
                <a:lnTo>
                  <a:pt x="41" y="47"/>
                </a:lnTo>
                <a:lnTo>
                  <a:pt x="47" y="38"/>
                </a:lnTo>
                <a:lnTo>
                  <a:pt x="54" y="28"/>
                </a:lnTo>
                <a:lnTo>
                  <a:pt x="66" y="19"/>
                </a:lnTo>
                <a:lnTo>
                  <a:pt x="72" y="16"/>
                </a:lnTo>
                <a:lnTo>
                  <a:pt x="75" y="16"/>
                </a:lnTo>
                <a:lnTo>
                  <a:pt x="75" y="16"/>
                </a:lnTo>
                <a:lnTo>
                  <a:pt x="75" y="13"/>
                </a:lnTo>
                <a:lnTo>
                  <a:pt x="75" y="10"/>
                </a:lnTo>
                <a:lnTo>
                  <a:pt x="75" y="10"/>
                </a:lnTo>
                <a:lnTo>
                  <a:pt x="75" y="7"/>
                </a:lnTo>
                <a:lnTo>
                  <a:pt x="82" y="3"/>
                </a:lnTo>
                <a:lnTo>
                  <a:pt x="85" y="3"/>
                </a:lnTo>
                <a:lnTo>
                  <a:pt x="88" y="0"/>
                </a:lnTo>
                <a:lnTo>
                  <a:pt x="91" y="0"/>
                </a:lnTo>
                <a:lnTo>
                  <a:pt x="97" y="0"/>
                </a:lnTo>
                <a:lnTo>
                  <a:pt x="97" y="0"/>
                </a:lnTo>
                <a:lnTo>
                  <a:pt x="100" y="0"/>
                </a:lnTo>
                <a:lnTo>
                  <a:pt x="104" y="0"/>
                </a:lnTo>
                <a:lnTo>
                  <a:pt x="107" y="0"/>
                </a:lnTo>
                <a:lnTo>
                  <a:pt x="107" y="0"/>
                </a:lnTo>
                <a:lnTo>
                  <a:pt x="107" y="7"/>
                </a:lnTo>
                <a:lnTo>
                  <a:pt x="113" y="7"/>
                </a:lnTo>
                <a:lnTo>
                  <a:pt x="116" y="10"/>
                </a:lnTo>
                <a:lnTo>
                  <a:pt x="119" y="10"/>
                </a:lnTo>
                <a:lnTo>
                  <a:pt x="119" y="10"/>
                </a:lnTo>
                <a:lnTo>
                  <a:pt x="122" y="7"/>
                </a:lnTo>
                <a:lnTo>
                  <a:pt x="125" y="10"/>
                </a:lnTo>
                <a:lnTo>
                  <a:pt x="132" y="13"/>
                </a:lnTo>
                <a:lnTo>
                  <a:pt x="135" y="16"/>
                </a:lnTo>
                <a:lnTo>
                  <a:pt x="138" y="19"/>
                </a:lnTo>
                <a:lnTo>
                  <a:pt x="144" y="19"/>
                </a:lnTo>
                <a:lnTo>
                  <a:pt x="150" y="22"/>
                </a:lnTo>
                <a:lnTo>
                  <a:pt x="150" y="22"/>
                </a:lnTo>
                <a:lnTo>
                  <a:pt x="157" y="25"/>
                </a:lnTo>
                <a:lnTo>
                  <a:pt x="157" y="28"/>
                </a:lnTo>
                <a:lnTo>
                  <a:pt x="154" y="32"/>
                </a:lnTo>
                <a:lnTo>
                  <a:pt x="154" y="35"/>
                </a:lnTo>
                <a:lnTo>
                  <a:pt x="154" y="35"/>
                </a:lnTo>
                <a:lnTo>
                  <a:pt x="154" y="38"/>
                </a:lnTo>
                <a:lnTo>
                  <a:pt x="154" y="41"/>
                </a:lnTo>
                <a:lnTo>
                  <a:pt x="154" y="44"/>
                </a:lnTo>
                <a:lnTo>
                  <a:pt x="154" y="50"/>
                </a:lnTo>
                <a:lnTo>
                  <a:pt x="150" y="53"/>
                </a:lnTo>
                <a:lnTo>
                  <a:pt x="150" y="53"/>
                </a:lnTo>
                <a:lnTo>
                  <a:pt x="154" y="53"/>
                </a:lnTo>
                <a:lnTo>
                  <a:pt x="154" y="57"/>
                </a:lnTo>
                <a:lnTo>
                  <a:pt x="150" y="60"/>
                </a:lnTo>
                <a:lnTo>
                  <a:pt x="150" y="63"/>
                </a:lnTo>
                <a:lnTo>
                  <a:pt x="150" y="66"/>
                </a:lnTo>
                <a:lnTo>
                  <a:pt x="147" y="66"/>
                </a:lnTo>
                <a:lnTo>
                  <a:pt x="147" y="69"/>
                </a:lnTo>
                <a:lnTo>
                  <a:pt x="150" y="72"/>
                </a:lnTo>
                <a:lnTo>
                  <a:pt x="150" y="75"/>
                </a:lnTo>
                <a:lnTo>
                  <a:pt x="150" y="78"/>
                </a:lnTo>
                <a:lnTo>
                  <a:pt x="150" y="82"/>
                </a:lnTo>
                <a:lnTo>
                  <a:pt x="150" y="82"/>
                </a:lnTo>
                <a:lnTo>
                  <a:pt x="154" y="85"/>
                </a:lnTo>
                <a:lnTo>
                  <a:pt x="150" y="91"/>
                </a:lnTo>
                <a:lnTo>
                  <a:pt x="147" y="91"/>
                </a:lnTo>
                <a:lnTo>
                  <a:pt x="144" y="94"/>
                </a:lnTo>
                <a:lnTo>
                  <a:pt x="144" y="94"/>
                </a:lnTo>
                <a:lnTo>
                  <a:pt x="141" y="97"/>
                </a:lnTo>
                <a:lnTo>
                  <a:pt x="144" y="100"/>
                </a:lnTo>
                <a:lnTo>
                  <a:pt x="141" y="103"/>
                </a:lnTo>
                <a:lnTo>
                  <a:pt x="141" y="110"/>
                </a:lnTo>
                <a:lnTo>
                  <a:pt x="141" y="113"/>
                </a:lnTo>
                <a:lnTo>
                  <a:pt x="141" y="119"/>
                </a:lnTo>
                <a:lnTo>
                  <a:pt x="119" y="141"/>
                </a:lnTo>
                <a:lnTo>
                  <a:pt x="116" y="138"/>
                </a:lnTo>
                <a:lnTo>
                  <a:pt x="110" y="135"/>
                </a:lnTo>
                <a:lnTo>
                  <a:pt x="104" y="138"/>
                </a:lnTo>
                <a:lnTo>
                  <a:pt x="100" y="138"/>
                </a:lnTo>
                <a:lnTo>
                  <a:pt x="100" y="138"/>
                </a:lnTo>
                <a:lnTo>
                  <a:pt x="94" y="135"/>
                </a:lnTo>
                <a:lnTo>
                  <a:pt x="91" y="135"/>
                </a:lnTo>
                <a:lnTo>
                  <a:pt x="91" y="132"/>
                </a:lnTo>
                <a:lnTo>
                  <a:pt x="85" y="132"/>
                </a:lnTo>
                <a:lnTo>
                  <a:pt x="79" y="132"/>
                </a:lnTo>
                <a:lnTo>
                  <a:pt x="79" y="132"/>
                </a:lnTo>
                <a:lnTo>
                  <a:pt x="75" y="129"/>
                </a:lnTo>
                <a:lnTo>
                  <a:pt x="75" y="125"/>
                </a:lnTo>
                <a:lnTo>
                  <a:pt x="75" y="125"/>
                </a:lnTo>
                <a:lnTo>
                  <a:pt x="72" y="125"/>
                </a:lnTo>
                <a:lnTo>
                  <a:pt x="69" y="122"/>
                </a:lnTo>
                <a:lnTo>
                  <a:pt x="66" y="122"/>
                </a:lnTo>
                <a:lnTo>
                  <a:pt x="60" y="119"/>
                </a:lnTo>
                <a:lnTo>
                  <a:pt x="60" y="122"/>
                </a:lnTo>
                <a:lnTo>
                  <a:pt x="54" y="119"/>
                </a:lnTo>
                <a:lnTo>
                  <a:pt x="54" y="116"/>
                </a:lnTo>
                <a:lnTo>
                  <a:pt x="47" y="113"/>
                </a:lnTo>
                <a:lnTo>
                  <a:pt x="47" y="110"/>
                </a:lnTo>
                <a:lnTo>
                  <a:pt x="47" y="107"/>
                </a:lnTo>
                <a:lnTo>
                  <a:pt x="47" y="103"/>
                </a:lnTo>
                <a:lnTo>
                  <a:pt x="47" y="100"/>
                </a:lnTo>
                <a:lnTo>
                  <a:pt x="44" y="97"/>
                </a:lnTo>
                <a:lnTo>
                  <a:pt x="41" y="97"/>
                </a:lnTo>
                <a:lnTo>
                  <a:pt x="41" y="94"/>
                </a:lnTo>
                <a:lnTo>
                  <a:pt x="41" y="94"/>
                </a:lnTo>
                <a:lnTo>
                  <a:pt x="41" y="94"/>
                </a:lnTo>
                <a:lnTo>
                  <a:pt x="38" y="91"/>
                </a:lnTo>
                <a:lnTo>
                  <a:pt x="35" y="91"/>
                </a:lnTo>
                <a:lnTo>
                  <a:pt x="32" y="88"/>
                </a:lnTo>
                <a:lnTo>
                  <a:pt x="29" y="85"/>
                </a:lnTo>
                <a:lnTo>
                  <a:pt x="22" y="75"/>
                </a:lnTo>
                <a:lnTo>
                  <a:pt x="22" y="72"/>
                </a:lnTo>
                <a:lnTo>
                  <a:pt x="19" y="72"/>
                </a:lnTo>
                <a:lnTo>
                  <a:pt x="19" y="72"/>
                </a:lnTo>
                <a:lnTo>
                  <a:pt x="16" y="69"/>
                </a:lnTo>
                <a:lnTo>
                  <a:pt x="16" y="66"/>
                </a:lnTo>
                <a:lnTo>
                  <a:pt x="13" y="63"/>
                </a:lnTo>
                <a:lnTo>
                  <a:pt x="13" y="60"/>
                </a:lnTo>
                <a:lnTo>
                  <a:pt x="10" y="60"/>
                </a:lnTo>
                <a:lnTo>
                  <a:pt x="10" y="57"/>
                </a:lnTo>
                <a:lnTo>
                  <a:pt x="10" y="57"/>
                </a:lnTo>
                <a:lnTo>
                  <a:pt x="7" y="53"/>
                </a:lnTo>
                <a:lnTo>
                  <a:pt x="7" y="53"/>
                </a:lnTo>
                <a:lnTo>
                  <a:pt x="4" y="50"/>
                </a:lnTo>
                <a:lnTo>
                  <a:pt x="4" y="47"/>
                </a:lnTo>
                <a:lnTo>
                  <a:pt x="4" y="47"/>
                </a:lnTo>
                <a:lnTo>
                  <a:pt x="4" y="44"/>
                </a:lnTo>
                <a:lnTo>
                  <a:pt x="0" y="44"/>
                </a:lnTo>
                <a:lnTo>
                  <a:pt x="0" y="44"/>
                </a:lnTo>
                <a:lnTo>
                  <a:pt x="0" y="44"/>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0" name="Freeform 148">
            <a:extLst>
              <a:ext uri="{FF2B5EF4-FFF2-40B4-BE49-F238E27FC236}">
                <a16:creationId xmlns:a16="http://schemas.microsoft.com/office/drawing/2014/main" id="{0AAD0F03-1EC6-4B27-6566-E2287E9D1BDF}"/>
              </a:ext>
            </a:extLst>
          </p:cNvPr>
          <p:cNvSpPr>
            <a:spLocks/>
          </p:cNvSpPr>
          <p:nvPr userDrawn="1"/>
        </p:nvSpPr>
        <p:spPr bwMode="auto">
          <a:xfrm>
            <a:off x="14369111" y="10508535"/>
            <a:ext cx="587338" cy="577850"/>
          </a:xfrm>
          <a:custGeom>
            <a:avLst/>
            <a:gdLst>
              <a:gd name="T0" fmla="*/ 110 w 185"/>
              <a:gd name="T1" fmla="*/ 3 h 182"/>
              <a:gd name="T2" fmla="*/ 113 w 185"/>
              <a:gd name="T3" fmla="*/ 9 h 182"/>
              <a:gd name="T4" fmla="*/ 116 w 185"/>
              <a:gd name="T5" fmla="*/ 13 h 182"/>
              <a:gd name="T6" fmla="*/ 119 w 185"/>
              <a:gd name="T7" fmla="*/ 19 h 182"/>
              <a:gd name="T8" fmla="*/ 125 w 185"/>
              <a:gd name="T9" fmla="*/ 28 h 182"/>
              <a:gd name="T10" fmla="*/ 128 w 185"/>
              <a:gd name="T11" fmla="*/ 31 h 182"/>
              <a:gd name="T12" fmla="*/ 141 w 185"/>
              <a:gd name="T13" fmla="*/ 47 h 182"/>
              <a:gd name="T14" fmla="*/ 147 w 185"/>
              <a:gd name="T15" fmla="*/ 50 h 182"/>
              <a:gd name="T16" fmla="*/ 150 w 185"/>
              <a:gd name="T17" fmla="*/ 53 h 182"/>
              <a:gd name="T18" fmla="*/ 153 w 185"/>
              <a:gd name="T19" fmla="*/ 63 h 182"/>
              <a:gd name="T20" fmla="*/ 160 w 185"/>
              <a:gd name="T21" fmla="*/ 72 h 182"/>
              <a:gd name="T22" fmla="*/ 166 w 185"/>
              <a:gd name="T23" fmla="*/ 75 h 182"/>
              <a:gd name="T24" fmla="*/ 178 w 185"/>
              <a:gd name="T25" fmla="*/ 81 h 182"/>
              <a:gd name="T26" fmla="*/ 181 w 185"/>
              <a:gd name="T27" fmla="*/ 85 h 182"/>
              <a:gd name="T28" fmla="*/ 185 w 185"/>
              <a:gd name="T29" fmla="*/ 88 h 182"/>
              <a:gd name="T30" fmla="*/ 175 w 185"/>
              <a:gd name="T31" fmla="*/ 91 h 182"/>
              <a:gd name="T32" fmla="*/ 172 w 185"/>
              <a:gd name="T33" fmla="*/ 97 h 182"/>
              <a:gd name="T34" fmla="*/ 166 w 185"/>
              <a:gd name="T35" fmla="*/ 100 h 182"/>
              <a:gd name="T36" fmla="*/ 156 w 185"/>
              <a:gd name="T37" fmla="*/ 103 h 182"/>
              <a:gd name="T38" fmla="*/ 150 w 185"/>
              <a:gd name="T39" fmla="*/ 110 h 182"/>
              <a:gd name="T40" fmla="*/ 144 w 185"/>
              <a:gd name="T41" fmla="*/ 113 h 182"/>
              <a:gd name="T42" fmla="*/ 135 w 185"/>
              <a:gd name="T43" fmla="*/ 125 h 182"/>
              <a:gd name="T44" fmla="*/ 135 w 185"/>
              <a:gd name="T45" fmla="*/ 131 h 182"/>
              <a:gd name="T46" fmla="*/ 128 w 185"/>
              <a:gd name="T47" fmla="*/ 135 h 182"/>
              <a:gd name="T48" fmla="*/ 125 w 185"/>
              <a:gd name="T49" fmla="*/ 141 h 182"/>
              <a:gd name="T50" fmla="*/ 113 w 185"/>
              <a:gd name="T51" fmla="*/ 144 h 182"/>
              <a:gd name="T52" fmla="*/ 110 w 185"/>
              <a:gd name="T53" fmla="*/ 153 h 182"/>
              <a:gd name="T54" fmla="*/ 110 w 185"/>
              <a:gd name="T55" fmla="*/ 163 h 182"/>
              <a:gd name="T56" fmla="*/ 103 w 185"/>
              <a:gd name="T57" fmla="*/ 163 h 182"/>
              <a:gd name="T58" fmla="*/ 91 w 185"/>
              <a:gd name="T59" fmla="*/ 163 h 182"/>
              <a:gd name="T60" fmla="*/ 78 w 185"/>
              <a:gd name="T61" fmla="*/ 160 h 182"/>
              <a:gd name="T62" fmla="*/ 66 w 185"/>
              <a:gd name="T63" fmla="*/ 153 h 182"/>
              <a:gd name="T64" fmla="*/ 53 w 185"/>
              <a:gd name="T65" fmla="*/ 169 h 182"/>
              <a:gd name="T66" fmla="*/ 41 w 185"/>
              <a:gd name="T67" fmla="*/ 175 h 182"/>
              <a:gd name="T68" fmla="*/ 31 w 185"/>
              <a:gd name="T69" fmla="*/ 182 h 182"/>
              <a:gd name="T70" fmla="*/ 19 w 185"/>
              <a:gd name="T71" fmla="*/ 182 h 182"/>
              <a:gd name="T72" fmla="*/ 16 w 185"/>
              <a:gd name="T73" fmla="*/ 172 h 182"/>
              <a:gd name="T74" fmla="*/ 10 w 185"/>
              <a:gd name="T75" fmla="*/ 150 h 182"/>
              <a:gd name="T76" fmla="*/ 0 w 185"/>
              <a:gd name="T77" fmla="*/ 147 h 182"/>
              <a:gd name="T78" fmla="*/ 22 w 185"/>
              <a:gd name="T79" fmla="*/ 85 h 182"/>
              <a:gd name="T80" fmla="*/ 60 w 185"/>
              <a:gd name="T81" fmla="*/ 9 h 182"/>
              <a:gd name="T82" fmla="*/ 69 w 185"/>
              <a:gd name="T83" fmla="*/ 6 h 182"/>
              <a:gd name="T84" fmla="*/ 72 w 185"/>
              <a:gd name="T85" fmla="*/ 13 h 182"/>
              <a:gd name="T86" fmla="*/ 72 w 185"/>
              <a:gd name="T87" fmla="*/ 16 h 182"/>
              <a:gd name="T88" fmla="*/ 88 w 185"/>
              <a:gd name="T89" fmla="*/ 3 h 182"/>
              <a:gd name="T90" fmla="*/ 94 w 185"/>
              <a:gd name="T91" fmla="*/ 3 h 182"/>
              <a:gd name="T92" fmla="*/ 106 w 185"/>
              <a:gd name="T9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5" h="182">
                <a:moveTo>
                  <a:pt x="106" y="0"/>
                </a:moveTo>
                <a:lnTo>
                  <a:pt x="110" y="0"/>
                </a:lnTo>
                <a:lnTo>
                  <a:pt x="110" y="3"/>
                </a:lnTo>
                <a:lnTo>
                  <a:pt x="110" y="3"/>
                </a:lnTo>
                <a:lnTo>
                  <a:pt x="110" y="6"/>
                </a:lnTo>
                <a:lnTo>
                  <a:pt x="113" y="9"/>
                </a:lnTo>
                <a:lnTo>
                  <a:pt x="113" y="9"/>
                </a:lnTo>
                <a:lnTo>
                  <a:pt x="116" y="13"/>
                </a:lnTo>
                <a:lnTo>
                  <a:pt x="116" y="13"/>
                </a:lnTo>
                <a:lnTo>
                  <a:pt x="116" y="16"/>
                </a:lnTo>
                <a:lnTo>
                  <a:pt x="119" y="16"/>
                </a:lnTo>
                <a:lnTo>
                  <a:pt x="119" y="19"/>
                </a:lnTo>
                <a:lnTo>
                  <a:pt x="122" y="22"/>
                </a:lnTo>
                <a:lnTo>
                  <a:pt x="122" y="25"/>
                </a:lnTo>
                <a:lnTo>
                  <a:pt x="125" y="28"/>
                </a:lnTo>
                <a:lnTo>
                  <a:pt x="125" y="28"/>
                </a:lnTo>
                <a:lnTo>
                  <a:pt x="128" y="28"/>
                </a:lnTo>
                <a:lnTo>
                  <a:pt x="128" y="31"/>
                </a:lnTo>
                <a:lnTo>
                  <a:pt x="135" y="41"/>
                </a:lnTo>
                <a:lnTo>
                  <a:pt x="138" y="44"/>
                </a:lnTo>
                <a:lnTo>
                  <a:pt x="141" y="47"/>
                </a:lnTo>
                <a:lnTo>
                  <a:pt x="144" y="47"/>
                </a:lnTo>
                <a:lnTo>
                  <a:pt x="147" y="50"/>
                </a:lnTo>
                <a:lnTo>
                  <a:pt x="147" y="50"/>
                </a:lnTo>
                <a:lnTo>
                  <a:pt x="147" y="50"/>
                </a:lnTo>
                <a:lnTo>
                  <a:pt x="147" y="53"/>
                </a:lnTo>
                <a:lnTo>
                  <a:pt x="150" y="53"/>
                </a:lnTo>
                <a:lnTo>
                  <a:pt x="153" y="56"/>
                </a:lnTo>
                <a:lnTo>
                  <a:pt x="153" y="59"/>
                </a:lnTo>
                <a:lnTo>
                  <a:pt x="153" y="63"/>
                </a:lnTo>
                <a:lnTo>
                  <a:pt x="153" y="66"/>
                </a:lnTo>
                <a:lnTo>
                  <a:pt x="153" y="69"/>
                </a:lnTo>
                <a:lnTo>
                  <a:pt x="160" y="72"/>
                </a:lnTo>
                <a:lnTo>
                  <a:pt x="160" y="75"/>
                </a:lnTo>
                <a:lnTo>
                  <a:pt x="166" y="78"/>
                </a:lnTo>
                <a:lnTo>
                  <a:pt x="166" y="75"/>
                </a:lnTo>
                <a:lnTo>
                  <a:pt x="172" y="78"/>
                </a:lnTo>
                <a:lnTo>
                  <a:pt x="175" y="78"/>
                </a:lnTo>
                <a:lnTo>
                  <a:pt x="178" y="81"/>
                </a:lnTo>
                <a:lnTo>
                  <a:pt x="181" y="81"/>
                </a:lnTo>
                <a:lnTo>
                  <a:pt x="181" y="81"/>
                </a:lnTo>
                <a:lnTo>
                  <a:pt x="181" y="85"/>
                </a:lnTo>
                <a:lnTo>
                  <a:pt x="185" y="88"/>
                </a:lnTo>
                <a:lnTo>
                  <a:pt x="185" y="88"/>
                </a:lnTo>
                <a:lnTo>
                  <a:pt x="185" y="88"/>
                </a:lnTo>
                <a:lnTo>
                  <a:pt x="181" y="91"/>
                </a:lnTo>
                <a:lnTo>
                  <a:pt x="178" y="91"/>
                </a:lnTo>
                <a:lnTo>
                  <a:pt x="175" y="91"/>
                </a:lnTo>
                <a:lnTo>
                  <a:pt x="175" y="94"/>
                </a:lnTo>
                <a:lnTo>
                  <a:pt x="175" y="97"/>
                </a:lnTo>
                <a:lnTo>
                  <a:pt x="172" y="97"/>
                </a:lnTo>
                <a:lnTo>
                  <a:pt x="169" y="100"/>
                </a:lnTo>
                <a:lnTo>
                  <a:pt x="166" y="100"/>
                </a:lnTo>
                <a:lnTo>
                  <a:pt x="166" y="100"/>
                </a:lnTo>
                <a:lnTo>
                  <a:pt x="163" y="100"/>
                </a:lnTo>
                <a:lnTo>
                  <a:pt x="160" y="100"/>
                </a:lnTo>
                <a:lnTo>
                  <a:pt x="156" y="103"/>
                </a:lnTo>
                <a:lnTo>
                  <a:pt x="153" y="106"/>
                </a:lnTo>
                <a:lnTo>
                  <a:pt x="150" y="106"/>
                </a:lnTo>
                <a:lnTo>
                  <a:pt x="150" y="110"/>
                </a:lnTo>
                <a:lnTo>
                  <a:pt x="147" y="110"/>
                </a:lnTo>
                <a:lnTo>
                  <a:pt x="147" y="113"/>
                </a:lnTo>
                <a:lnTo>
                  <a:pt x="144" y="113"/>
                </a:lnTo>
                <a:lnTo>
                  <a:pt x="141" y="113"/>
                </a:lnTo>
                <a:lnTo>
                  <a:pt x="135" y="122"/>
                </a:lnTo>
                <a:lnTo>
                  <a:pt x="135" y="125"/>
                </a:lnTo>
                <a:lnTo>
                  <a:pt x="135" y="128"/>
                </a:lnTo>
                <a:lnTo>
                  <a:pt x="135" y="131"/>
                </a:lnTo>
                <a:lnTo>
                  <a:pt x="135" y="131"/>
                </a:lnTo>
                <a:lnTo>
                  <a:pt x="131" y="131"/>
                </a:lnTo>
                <a:lnTo>
                  <a:pt x="128" y="135"/>
                </a:lnTo>
                <a:lnTo>
                  <a:pt x="128" y="135"/>
                </a:lnTo>
                <a:lnTo>
                  <a:pt x="125" y="138"/>
                </a:lnTo>
                <a:lnTo>
                  <a:pt x="125" y="138"/>
                </a:lnTo>
                <a:lnTo>
                  <a:pt x="125" y="141"/>
                </a:lnTo>
                <a:lnTo>
                  <a:pt x="122" y="141"/>
                </a:lnTo>
                <a:lnTo>
                  <a:pt x="119" y="144"/>
                </a:lnTo>
                <a:lnTo>
                  <a:pt x="113" y="144"/>
                </a:lnTo>
                <a:lnTo>
                  <a:pt x="113" y="147"/>
                </a:lnTo>
                <a:lnTo>
                  <a:pt x="113" y="153"/>
                </a:lnTo>
                <a:lnTo>
                  <a:pt x="110" y="153"/>
                </a:lnTo>
                <a:lnTo>
                  <a:pt x="110" y="156"/>
                </a:lnTo>
                <a:lnTo>
                  <a:pt x="110" y="160"/>
                </a:lnTo>
                <a:lnTo>
                  <a:pt x="110" y="163"/>
                </a:lnTo>
                <a:lnTo>
                  <a:pt x="106" y="166"/>
                </a:lnTo>
                <a:lnTo>
                  <a:pt x="103" y="163"/>
                </a:lnTo>
                <a:lnTo>
                  <a:pt x="103" y="163"/>
                </a:lnTo>
                <a:lnTo>
                  <a:pt x="100" y="163"/>
                </a:lnTo>
                <a:lnTo>
                  <a:pt x="94" y="163"/>
                </a:lnTo>
                <a:lnTo>
                  <a:pt x="91" y="163"/>
                </a:lnTo>
                <a:lnTo>
                  <a:pt x="88" y="163"/>
                </a:lnTo>
                <a:lnTo>
                  <a:pt x="85" y="163"/>
                </a:lnTo>
                <a:lnTo>
                  <a:pt x="78" y="160"/>
                </a:lnTo>
                <a:lnTo>
                  <a:pt x="75" y="156"/>
                </a:lnTo>
                <a:lnTo>
                  <a:pt x="72" y="156"/>
                </a:lnTo>
                <a:lnTo>
                  <a:pt x="66" y="153"/>
                </a:lnTo>
                <a:lnTo>
                  <a:pt x="63" y="156"/>
                </a:lnTo>
                <a:lnTo>
                  <a:pt x="56" y="160"/>
                </a:lnTo>
                <a:lnTo>
                  <a:pt x="53" y="169"/>
                </a:lnTo>
                <a:lnTo>
                  <a:pt x="50" y="172"/>
                </a:lnTo>
                <a:lnTo>
                  <a:pt x="44" y="175"/>
                </a:lnTo>
                <a:lnTo>
                  <a:pt x="41" y="175"/>
                </a:lnTo>
                <a:lnTo>
                  <a:pt x="38" y="178"/>
                </a:lnTo>
                <a:lnTo>
                  <a:pt x="35" y="182"/>
                </a:lnTo>
                <a:lnTo>
                  <a:pt x="31" y="182"/>
                </a:lnTo>
                <a:lnTo>
                  <a:pt x="25" y="182"/>
                </a:lnTo>
                <a:lnTo>
                  <a:pt x="22" y="182"/>
                </a:lnTo>
                <a:lnTo>
                  <a:pt x="19" y="182"/>
                </a:lnTo>
                <a:lnTo>
                  <a:pt x="13" y="182"/>
                </a:lnTo>
                <a:lnTo>
                  <a:pt x="13" y="178"/>
                </a:lnTo>
                <a:lnTo>
                  <a:pt x="16" y="172"/>
                </a:lnTo>
                <a:lnTo>
                  <a:pt x="16" y="166"/>
                </a:lnTo>
                <a:lnTo>
                  <a:pt x="10" y="156"/>
                </a:lnTo>
                <a:lnTo>
                  <a:pt x="10" y="150"/>
                </a:lnTo>
                <a:lnTo>
                  <a:pt x="3" y="147"/>
                </a:lnTo>
                <a:lnTo>
                  <a:pt x="3" y="147"/>
                </a:lnTo>
                <a:lnTo>
                  <a:pt x="0" y="147"/>
                </a:lnTo>
                <a:lnTo>
                  <a:pt x="0" y="147"/>
                </a:lnTo>
                <a:lnTo>
                  <a:pt x="6" y="85"/>
                </a:lnTo>
                <a:lnTo>
                  <a:pt x="22" y="85"/>
                </a:lnTo>
                <a:lnTo>
                  <a:pt x="25" y="13"/>
                </a:lnTo>
                <a:lnTo>
                  <a:pt x="41" y="13"/>
                </a:lnTo>
                <a:lnTo>
                  <a:pt x="60" y="9"/>
                </a:lnTo>
                <a:lnTo>
                  <a:pt x="66" y="6"/>
                </a:lnTo>
                <a:lnTo>
                  <a:pt x="69" y="6"/>
                </a:lnTo>
                <a:lnTo>
                  <a:pt x="69" y="6"/>
                </a:lnTo>
                <a:lnTo>
                  <a:pt x="69" y="6"/>
                </a:lnTo>
                <a:lnTo>
                  <a:pt x="72" y="9"/>
                </a:lnTo>
                <a:lnTo>
                  <a:pt x="72" y="13"/>
                </a:lnTo>
                <a:lnTo>
                  <a:pt x="72" y="13"/>
                </a:lnTo>
                <a:lnTo>
                  <a:pt x="72" y="16"/>
                </a:lnTo>
                <a:lnTo>
                  <a:pt x="72" y="16"/>
                </a:lnTo>
                <a:lnTo>
                  <a:pt x="78" y="13"/>
                </a:lnTo>
                <a:lnTo>
                  <a:pt x="85" y="6"/>
                </a:lnTo>
                <a:lnTo>
                  <a:pt x="88" y="3"/>
                </a:lnTo>
                <a:lnTo>
                  <a:pt x="91" y="3"/>
                </a:lnTo>
                <a:lnTo>
                  <a:pt x="91" y="3"/>
                </a:lnTo>
                <a:lnTo>
                  <a:pt x="94" y="3"/>
                </a:lnTo>
                <a:lnTo>
                  <a:pt x="97" y="3"/>
                </a:lnTo>
                <a:lnTo>
                  <a:pt x="103" y="0"/>
                </a:lnTo>
                <a:lnTo>
                  <a:pt x="106" y="0"/>
                </a:lnTo>
                <a:lnTo>
                  <a:pt x="106" y="0"/>
                </a:lnTo>
                <a:lnTo>
                  <a:pt x="106" y="0"/>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1" name="Freeform 149">
            <a:extLst>
              <a:ext uri="{FF2B5EF4-FFF2-40B4-BE49-F238E27FC236}">
                <a16:creationId xmlns:a16="http://schemas.microsoft.com/office/drawing/2014/main" id="{AA0C3FB0-CE55-293A-4248-75B5AEF92478}"/>
              </a:ext>
            </a:extLst>
          </p:cNvPr>
          <p:cNvSpPr>
            <a:spLocks/>
          </p:cNvSpPr>
          <p:nvPr userDrawn="1"/>
        </p:nvSpPr>
        <p:spPr bwMode="auto">
          <a:xfrm>
            <a:off x="13873850" y="10448213"/>
            <a:ext cx="831796" cy="796926"/>
          </a:xfrm>
          <a:custGeom>
            <a:avLst/>
            <a:gdLst>
              <a:gd name="T0" fmla="*/ 162 w 262"/>
              <a:gd name="T1" fmla="*/ 104 h 251"/>
              <a:gd name="T2" fmla="*/ 197 w 262"/>
              <a:gd name="T3" fmla="*/ 32 h 251"/>
              <a:gd name="T4" fmla="*/ 225 w 262"/>
              <a:gd name="T5" fmla="*/ 25 h 251"/>
              <a:gd name="T6" fmla="*/ 228 w 262"/>
              <a:gd name="T7" fmla="*/ 28 h 251"/>
              <a:gd name="T8" fmla="*/ 228 w 262"/>
              <a:gd name="T9" fmla="*/ 35 h 251"/>
              <a:gd name="T10" fmla="*/ 241 w 262"/>
              <a:gd name="T11" fmla="*/ 25 h 251"/>
              <a:gd name="T12" fmla="*/ 247 w 262"/>
              <a:gd name="T13" fmla="*/ 22 h 251"/>
              <a:gd name="T14" fmla="*/ 259 w 262"/>
              <a:gd name="T15" fmla="*/ 19 h 251"/>
              <a:gd name="T16" fmla="*/ 259 w 262"/>
              <a:gd name="T17" fmla="*/ 13 h 251"/>
              <a:gd name="T18" fmla="*/ 256 w 262"/>
              <a:gd name="T19" fmla="*/ 13 h 251"/>
              <a:gd name="T20" fmla="*/ 250 w 262"/>
              <a:gd name="T21" fmla="*/ 13 h 251"/>
              <a:gd name="T22" fmla="*/ 197 w 262"/>
              <a:gd name="T23" fmla="*/ 25 h 251"/>
              <a:gd name="T24" fmla="*/ 191 w 262"/>
              <a:gd name="T25" fmla="*/ 22 h 251"/>
              <a:gd name="T26" fmla="*/ 187 w 262"/>
              <a:gd name="T27" fmla="*/ 22 h 251"/>
              <a:gd name="T28" fmla="*/ 181 w 262"/>
              <a:gd name="T29" fmla="*/ 22 h 251"/>
              <a:gd name="T30" fmla="*/ 175 w 262"/>
              <a:gd name="T31" fmla="*/ 22 h 251"/>
              <a:gd name="T32" fmla="*/ 166 w 262"/>
              <a:gd name="T33" fmla="*/ 19 h 251"/>
              <a:gd name="T34" fmla="*/ 162 w 262"/>
              <a:gd name="T35" fmla="*/ 19 h 251"/>
              <a:gd name="T36" fmla="*/ 150 w 262"/>
              <a:gd name="T37" fmla="*/ 22 h 251"/>
              <a:gd name="T38" fmla="*/ 147 w 262"/>
              <a:gd name="T39" fmla="*/ 19 h 251"/>
              <a:gd name="T40" fmla="*/ 134 w 262"/>
              <a:gd name="T41" fmla="*/ 16 h 251"/>
              <a:gd name="T42" fmla="*/ 131 w 262"/>
              <a:gd name="T43" fmla="*/ 10 h 251"/>
              <a:gd name="T44" fmla="*/ 53 w 262"/>
              <a:gd name="T45" fmla="*/ 10 h 251"/>
              <a:gd name="T46" fmla="*/ 47 w 262"/>
              <a:gd name="T47" fmla="*/ 13 h 251"/>
              <a:gd name="T48" fmla="*/ 37 w 262"/>
              <a:gd name="T49" fmla="*/ 7 h 251"/>
              <a:gd name="T50" fmla="*/ 34 w 262"/>
              <a:gd name="T51" fmla="*/ 3 h 251"/>
              <a:gd name="T52" fmla="*/ 28 w 262"/>
              <a:gd name="T53" fmla="*/ 3 h 251"/>
              <a:gd name="T54" fmla="*/ 22 w 262"/>
              <a:gd name="T55" fmla="*/ 0 h 251"/>
              <a:gd name="T56" fmla="*/ 16 w 262"/>
              <a:gd name="T57" fmla="*/ 10 h 251"/>
              <a:gd name="T58" fmla="*/ 6 w 262"/>
              <a:gd name="T59" fmla="*/ 7 h 251"/>
              <a:gd name="T60" fmla="*/ 3 w 262"/>
              <a:gd name="T61" fmla="*/ 10 h 251"/>
              <a:gd name="T62" fmla="*/ 0 w 262"/>
              <a:gd name="T63" fmla="*/ 25 h 251"/>
              <a:gd name="T64" fmla="*/ 28 w 262"/>
              <a:gd name="T65" fmla="*/ 69 h 251"/>
              <a:gd name="T66" fmla="*/ 41 w 262"/>
              <a:gd name="T67" fmla="*/ 97 h 251"/>
              <a:gd name="T68" fmla="*/ 47 w 262"/>
              <a:gd name="T69" fmla="*/ 122 h 251"/>
              <a:gd name="T70" fmla="*/ 56 w 262"/>
              <a:gd name="T71" fmla="*/ 163 h 251"/>
              <a:gd name="T72" fmla="*/ 56 w 262"/>
              <a:gd name="T73" fmla="*/ 179 h 251"/>
              <a:gd name="T74" fmla="*/ 62 w 262"/>
              <a:gd name="T75" fmla="*/ 194 h 251"/>
              <a:gd name="T76" fmla="*/ 62 w 262"/>
              <a:gd name="T77" fmla="*/ 204 h 251"/>
              <a:gd name="T78" fmla="*/ 69 w 262"/>
              <a:gd name="T79" fmla="*/ 219 h 251"/>
              <a:gd name="T80" fmla="*/ 78 w 262"/>
              <a:gd name="T81" fmla="*/ 235 h 251"/>
              <a:gd name="T82" fmla="*/ 94 w 262"/>
              <a:gd name="T83" fmla="*/ 238 h 251"/>
              <a:gd name="T84" fmla="*/ 94 w 262"/>
              <a:gd name="T85" fmla="*/ 232 h 251"/>
              <a:gd name="T86" fmla="*/ 103 w 262"/>
              <a:gd name="T87" fmla="*/ 232 h 251"/>
              <a:gd name="T88" fmla="*/ 112 w 262"/>
              <a:gd name="T89" fmla="*/ 244 h 251"/>
              <a:gd name="T90" fmla="*/ 122 w 262"/>
              <a:gd name="T91" fmla="*/ 247 h 251"/>
              <a:gd name="T92" fmla="*/ 128 w 262"/>
              <a:gd name="T93" fmla="*/ 247 h 251"/>
              <a:gd name="T94" fmla="*/ 134 w 262"/>
              <a:gd name="T95" fmla="*/ 251 h 251"/>
              <a:gd name="T96" fmla="*/ 141 w 262"/>
              <a:gd name="T97" fmla="*/ 241 h 251"/>
              <a:gd name="T98" fmla="*/ 153 w 262"/>
              <a:gd name="T99" fmla="*/ 235 h 251"/>
              <a:gd name="T100" fmla="*/ 156 w 262"/>
              <a:gd name="T101" fmla="*/ 166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2" h="251">
                <a:moveTo>
                  <a:pt x="156" y="166"/>
                </a:moveTo>
                <a:lnTo>
                  <a:pt x="156" y="166"/>
                </a:lnTo>
                <a:lnTo>
                  <a:pt x="162" y="104"/>
                </a:lnTo>
                <a:lnTo>
                  <a:pt x="178" y="104"/>
                </a:lnTo>
                <a:lnTo>
                  <a:pt x="181" y="32"/>
                </a:lnTo>
                <a:lnTo>
                  <a:pt x="197" y="32"/>
                </a:lnTo>
                <a:lnTo>
                  <a:pt x="216" y="28"/>
                </a:lnTo>
                <a:lnTo>
                  <a:pt x="222" y="25"/>
                </a:lnTo>
                <a:lnTo>
                  <a:pt x="225" y="25"/>
                </a:lnTo>
                <a:lnTo>
                  <a:pt x="225" y="25"/>
                </a:lnTo>
                <a:lnTo>
                  <a:pt x="225" y="25"/>
                </a:lnTo>
                <a:lnTo>
                  <a:pt x="228" y="28"/>
                </a:lnTo>
                <a:lnTo>
                  <a:pt x="228" y="32"/>
                </a:lnTo>
                <a:lnTo>
                  <a:pt x="228" y="32"/>
                </a:lnTo>
                <a:lnTo>
                  <a:pt x="228" y="35"/>
                </a:lnTo>
                <a:lnTo>
                  <a:pt x="228" y="35"/>
                </a:lnTo>
                <a:lnTo>
                  <a:pt x="234" y="32"/>
                </a:lnTo>
                <a:lnTo>
                  <a:pt x="241" y="25"/>
                </a:lnTo>
                <a:lnTo>
                  <a:pt x="244" y="22"/>
                </a:lnTo>
                <a:lnTo>
                  <a:pt x="247" y="22"/>
                </a:lnTo>
                <a:lnTo>
                  <a:pt x="247" y="22"/>
                </a:lnTo>
                <a:lnTo>
                  <a:pt x="250" y="22"/>
                </a:lnTo>
                <a:lnTo>
                  <a:pt x="253" y="22"/>
                </a:lnTo>
                <a:lnTo>
                  <a:pt x="259" y="19"/>
                </a:lnTo>
                <a:lnTo>
                  <a:pt x="262" y="19"/>
                </a:lnTo>
                <a:lnTo>
                  <a:pt x="259" y="16"/>
                </a:lnTo>
                <a:lnTo>
                  <a:pt x="259" y="13"/>
                </a:lnTo>
                <a:lnTo>
                  <a:pt x="259" y="13"/>
                </a:lnTo>
                <a:lnTo>
                  <a:pt x="256" y="13"/>
                </a:lnTo>
                <a:lnTo>
                  <a:pt x="256" y="13"/>
                </a:lnTo>
                <a:lnTo>
                  <a:pt x="253" y="13"/>
                </a:lnTo>
                <a:lnTo>
                  <a:pt x="253" y="13"/>
                </a:lnTo>
                <a:lnTo>
                  <a:pt x="250" y="13"/>
                </a:lnTo>
                <a:lnTo>
                  <a:pt x="247" y="13"/>
                </a:lnTo>
                <a:lnTo>
                  <a:pt x="197" y="25"/>
                </a:lnTo>
                <a:lnTo>
                  <a:pt x="197" y="25"/>
                </a:lnTo>
                <a:lnTo>
                  <a:pt x="194" y="25"/>
                </a:lnTo>
                <a:lnTo>
                  <a:pt x="194" y="25"/>
                </a:lnTo>
                <a:lnTo>
                  <a:pt x="191" y="22"/>
                </a:lnTo>
                <a:lnTo>
                  <a:pt x="191" y="22"/>
                </a:lnTo>
                <a:lnTo>
                  <a:pt x="191" y="22"/>
                </a:lnTo>
                <a:lnTo>
                  <a:pt x="187" y="22"/>
                </a:lnTo>
                <a:lnTo>
                  <a:pt x="187" y="22"/>
                </a:lnTo>
                <a:lnTo>
                  <a:pt x="184" y="22"/>
                </a:lnTo>
                <a:lnTo>
                  <a:pt x="181" y="22"/>
                </a:lnTo>
                <a:lnTo>
                  <a:pt x="181" y="22"/>
                </a:lnTo>
                <a:lnTo>
                  <a:pt x="181" y="22"/>
                </a:lnTo>
                <a:lnTo>
                  <a:pt x="175" y="22"/>
                </a:lnTo>
                <a:lnTo>
                  <a:pt x="172" y="22"/>
                </a:lnTo>
                <a:lnTo>
                  <a:pt x="169" y="19"/>
                </a:lnTo>
                <a:lnTo>
                  <a:pt x="166" y="19"/>
                </a:lnTo>
                <a:lnTo>
                  <a:pt x="166" y="16"/>
                </a:lnTo>
                <a:lnTo>
                  <a:pt x="166" y="19"/>
                </a:lnTo>
                <a:lnTo>
                  <a:pt x="162" y="19"/>
                </a:lnTo>
                <a:lnTo>
                  <a:pt x="156" y="19"/>
                </a:lnTo>
                <a:lnTo>
                  <a:pt x="153" y="19"/>
                </a:lnTo>
                <a:lnTo>
                  <a:pt x="150" y="22"/>
                </a:lnTo>
                <a:lnTo>
                  <a:pt x="147" y="19"/>
                </a:lnTo>
                <a:lnTo>
                  <a:pt x="147" y="19"/>
                </a:lnTo>
                <a:lnTo>
                  <a:pt x="147" y="19"/>
                </a:lnTo>
                <a:lnTo>
                  <a:pt x="144" y="19"/>
                </a:lnTo>
                <a:lnTo>
                  <a:pt x="137" y="19"/>
                </a:lnTo>
                <a:lnTo>
                  <a:pt x="134" y="16"/>
                </a:lnTo>
                <a:lnTo>
                  <a:pt x="134" y="16"/>
                </a:lnTo>
                <a:lnTo>
                  <a:pt x="131" y="10"/>
                </a:lnTo>
                <a:lnTo>
                  <a:pt x="131" y="10"/>
                </a:lnTo>
                <a:lnTo>
                  <a:pt x="56" y="10"/>
                </a:lnTo>
                <a:lnTo>
                  <a:pt x="56" y="10"/>
                </a:lnTo>
                <a:lnTo>
                  <a:pt x="53" y="10"/>
                </a:lnTo>
                <a:lnTo>
                  <a:pt x="50" y="10"/>
                </a:lnTo>
                <a:lnTo>
                  <a:pt x="50" y="10"/>
                </a:lnTo>
                <a:lnTo>
                  <a:pt x="47" y="13"/>
                </a:lnTo>
                <a:lnTo>
                  <a:pt x="41" y="10"/>
                </a:lnTo>
                <a:lnTo>
                  <a:pt x="37" y="7"/>
                </a:lnTo>
                <a:lnTo>
                  <a:pt x="37" y="7"/>
                </a:lnTo>
                <a:lnTo>
                  <a:pt x="37" y="3"/>
                </a:lnTo>
                <a:lnTo>
                  <a:pt x="34" y="3"/>
                </a:lnTo>
                <a:lnTo>
                  <a:pt x="34" y="3"/>
                </a:lnTo>
                <a:lnTo>
                  <a:pt x="31" y="0"/>
                </a:lnTo>
                <a:lnTo>
                  <a:pt x="31" y="3"/>
                </a:lnTo>
                <a:lnTo>
                  <a:pt x="28" y="3"/>
                </a:lnTo>
                <a:lnTo>
                  <a:pt x="28" y="3"/>
                </a:lnTo>
                <a:lnTo>
                  <a:pt x="25" y="0"/>
                </a:lnTo>
                <a:lnTo>
                  <a:pt x="22" y="0"/>
                </a:lnTo>
                <a:lnTo>
                  <a:pt x="16" y="7"/>
                </a:lnTo>
                <a:lnTo>
                  <a:pt x="16" y="7"/>
                </a:lnTo>
                <a:lnTo>
                  <a:pt x="16" y="10"/>
                </a:lnTo>
                <a:lnTo>
                  <a:pt x="12" y="7"/>
                </a:lnTo>
                <a:lnTo>
                  <a:pt x="6" y="7"/>
                </a:lnTo>
                <a:lnTo>
                  <a:pt x="6" y="7"/>
                </a:lnTo>
                <a:lnTo>
                  <a:pt x="6" y="10"/>
                </a:lnTo>
                <a:lnTo>
                  <a:pt x="3" y="10"/>
                </a:lnTo>
                <a:lnTo>
                  <a:pt x="3" y="10"/>
                </a:lnTo>
                <a:lnTo>
                  <a:pt x="0" y="10"/>
                </a:lnTo>
                <a:lnTo>
                  <a:pt x="0" y="10"/>
                </a:lnTo>
                <a:lnTo>
                  <a:pt x="0" y="25"/>
                </a:lnTo>
                <a:lnTo>
                  <a:pt x="12" y="38"/>
                </a:lnTo>
                <a:lnTo>
                  <a:pt x="19" y="47"/>
                </a:lnTo>
                <a:lnTo>
                  <a:pt x="28" y="69"/>
                </a:lnTo>
                <a:lnTo>
                  <a:pt x="28" y="78"/>
                </a:lnTo>
                <a:lnTo>
                  <a:pt x="41" y="94"/>
                </a:lnTo>
                <a:lnTo>
                  <a:pt x="41" y="97"/>
                </a:lnTo>
                <a:lnTo>
                  <a:pt x="50" y="113"/>
                </a:lnTo>
                <a:lnTo>
                  <a:pt x="50" y="122"/>
                </a:lnTo>
                <a:lnTo>
                  <a:pt x="47" y="122"/>
                </a:lnTo>
                <a:lnTo>
                  <a:pt x="50" y="132"/>
                </a:lnTo>
                <a:lnTo>
                  <a:pt x="50" y="147"/>
                </a:lnTo>
                <a:lnTo>
                  <a:pt x="56" y="163"/>
                </a:lnTo>
                <a:lnTo>
                  <a:pt x="56" y="172"/>
                </a:lnTo>
                <a:lnTo>
                  <a:pt x="56" y="179"/>
                </a:lnTo>
                <a:lnTo>
                  <a:pt x="56" y="179"/>
                </a:lnTo>
                <a:lnTo>
                  <a:pt x="56" y="182"/>
                </a:lnTo>
                <a:lnTo>
                  <a:pt x="59" y="191"/>
                </a:lnTo>
                <a:lnTo>
                  <a:pt x="62" y="194"/>
                </a:lnTo>
                <a:lnTo>
                  <a:pt x="62" y="197"/>
                </a:lnTo>
                <a:lnTo>
                  <a:pt x="62" y="201"/>
                </a:lnTo>
                <a:lnTo>
                  <a:pt x="62" y="204"/>
                </a:lnTo>
                <a:lnTo>
                  <a:pt x="66" y="207"/>
                </a:lnTo>
                <a:lnTo>
                  <a:pt x="66" y="213"/>
                </a:lnTo>
                <a:lnTo>
                  <a:pt x="69" y="219"/>
                </a:lnTo>
                <a:lnTo>
                  <a:pt x="72" y="229"/>
                </a:lnTo>
                <a:lnTo>
                  <a:pt x="78" y="232"/>
                </a:lnTo>
                <a:lnTo>
                  <a:pt x="78" y="235"/>
                </a:lnTo>
                <a:lnTo>
                  <a:pt x="84" y="241"/>
                </a:lnTo>
                <a:lnTo>
                  <a:pt x="87" y="238"/>
                </a:lnTo>
                <a:lnTo>
                  <a:pt x="94" y="238"/>
                </a:lnTo>
                <a:lnTo>
                  <a:pt x="94" y="235"/>
                </a:lnTo>
                <a:lnTo>
                  <a:pt x="91" y="235"/>
                </a:lnTo>
                <a:lnTo>
                  <a:pt x="94" y="232"/>
                </a:lnTo>
                <a:lnTo>
                  <a:pt x="97" y="229"/>
                </a:lnTo>
                <a:lnTo>
                  <a:pt x="100" y="232"/>
                </a:lnTo>
                <a:lnTo>
                  <a:pt x="103" y="232"/>
                </a:lnTo>
                <a:lnTo>
                  <a:pt x="103" y="238"/>
                </a:lnTo>
                <a:lnTo>
                  <a:pt x="106" y="244"/>
                </a:lnTo>
                <a:lnTo>
                  <a:pt x="112" y="244"/>
                </a:lnTo>
                <a:lnTo>
                  <a:pt x="116" y="247"/>
                </a:lnTo>
                <a:lnTo>
                  <a:pt x="119" y="247"/>
                </a:lnTo>
                <a:lnTo>
                  <a:pt x="122" y="247"/>
                </a:lnTo>
                <a:lnTo>
                  <a:pt x="125" y="247"/>
                </a:lnTo>
                <a:lnTo>
                  <a:pt x="125" y="247"/>
                </a:lnTo>
                <a:lnTo>
                  <a:pt x="128" y="247"/>
                </a:lnTo>
                <a:lnTo>
                  <a:pt x="131" y="247"/>
                </a:lnTo>
                <a:lnTo>
                  <a:pt x="134" y="247"/>
                </a:lnTo>
                <a:lnTo>
                  <a:pt x="134" y="251"/>
                </a:lnTo>
                <a:lnTo>
                  <a:pt x="134" y="244"/>
                </a:lnTo>
                <a:lnTo>
                  <a:pt x="137" y="244"/>
                </a:lnTo>
                <a:lnTo>
                  <a:pt x="141" y="241"/>
                </a:lnTo>
                <a:lnTo>
                  <a:pt x="141" y="238"/>
                </a:lnTo>
                <a:lnTo>
                  <a:pt x="147" y="235"/>
                </a:lnTo>
                <a:lnTo>
                  <a:pt x="153" y="235"/>
                </a:lnTo>
                <a:lnTo>
                  <a:pt x="156" y="235"/>
                </a:lnTo>
                <a:lnTo>
                  <a:pt x="159" y="166"/>
                </a:lnTo>
                <a:lnTo>
                  <a:pt x="156" y="166"/>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2" name="Freeform 150">
            <a:extLst>
              <a:ext uri="{FF2B5EF4-FFF2-40B4-BE49-F238E27FC236}">
                <a16:creationId xmlns:a16="http://schemas.microsoft.com/office/drawing/2014/main" id="{E00C24A3-F715-0591-7D07-404A407B531C}"/>
              </a:ext>
            </a:extLst>
          </p:cNvPr>
          <p:cNvSpPr>
            <a:spLocks noEditPoints="1"/>
          </p:cNvSpPr>
          <p:nvPr userDrawn="1"/>
        </p:nvSpPr>
        <p:spPr bwMode="auto">
          <a:xfrm>
            <a:off x="23360130" y="10778408"/>
            <a:ext cx="247634" cy="177800"/>
          </a:xfrm>
          <a:custGeom>
            <a:avLst/>
            <a:gdLst>
              <a:gd name="T0" fmla="*/ 6 w 78"/>
              <a:gd name="T1" fmla="*/ 6 h 56"/>
              <a:gd name="T2" fmla="*/ 9 w 78"/>
              <a:gd name="T3" fmla="*/ 6 h 56"/>
              <a:gd name="T4" fmla="*/ 16 w 78"/>
              <a:gd name="T5" fmla="*/ 12 h 56"/>
              <a:gd name="T6" fmla="*/ 19 w 78"/>
              <a:gd name="T7" fmla="*/ 15 h 56"/>
              <a:gd name="T8" fmla="*/ 31 w 78"/>
              <a:gd name="T9" fmla="*/ 34 h 56"/>
              <a:gd name="T10" fmla="*/ 34 w 78"/>
              <a:gd name="T11" fmla="*/ 34 h 56"/>
              <a:gd name="T12" fmla="*/ 47 w 78"/>
              <a:gd name="T13" fmla="*/ 50 h 56"/>
              <a:gd name="T14" fmla="*/ 50 w 78"/>
              <a:gd name="T15" fmla="*/ 56 h 56"/>
              <a:gd name="T16" fmla="*/ 47 w 78"/>
              <a:gd name="T17" fmla="*/ 56 h 56"/>
              <a:gd name="T18" fmla="*/ 38 w 78"/>
              <a:gd name="T19" fmla="*/ 53 h 56"/>
              <a:gd name="T20" fmla="*/ 34 w 78"/>
              <a:gd name="T21" fmla="*/ 46 h 56"/>
              <a:gd name="T22" fmla="*/ 28 w 78"/>
              <a:gd name="T23" fmla="*/ 40 h 56"/>
              <a:gd name="T24" fmla="*/ 25 w 78"/>
              <a:gd name="T25" fmla="*/ 40 h 56"/>
              <a:gd name="T26" fmla="*/ 16 w 78"/>
              <a:gd name="T27" fmla="*/ 31 h 56"/>
              <a:gd name="T28" fmla="*/ 13 w 78"/>
              <a:gd name="T29" fmla="*/ 28 h 56"/>
              <a:gd name="T30" fmla="*/ 9 w 78"/>
              <a:gd name="T31" fmla="*/ 21 h 56"/>
              <a:gd name="T32" fmla="*/ 0 w 78"/>
              <a:gd name="T33" fmla="*/ 9 h 56"/>
              <a:gd name="T34" fmla="*/ 0 w 78"/>
              <a:gd name="T35" fmla="*/ 3 h 56"/>
              <a:gd name="T36" fmla="*/ 0 w 78"/>
              <a:gd name="T37" fmla="*/ 0 h 56"/>
              <a:gd name="T38" fmla="*/ 75 w 78"/>
              <a:gd name="T39" fmla="*/ 31 h 56"/>
              <a:gd name="T40" fmla="*/ 75 w 78"/>
              <a:gd name="T41" fmla="*/ 37 h 56"/>
              <a:gd name="T42" fmla="*/ 72 w 78"/>
              <a:gd name="T43" fmla="*/ 40 h 56"/>
              <a:gd name="T44" fmla="*/ 69 w 78"/>
              <a:gd name="T45" fmla="*/ 34 h 56"/>
              <a:gd name="T46" fmla="*/ 59 w 78"/>
              <a:gd name="T47" fmla="*/ 12 h 56"/>
              <a:gd name="T48" fmla="*/ 56 w 78"/>
              <a:gd name="T49" fmla="*/ 18 h 56"/>
              <a:gd name="T50" fmla="*/ 59 w 78"/>
              <a:gd name="T51" fmla="*/ 25 h 56"/>
              <a:gd name="T52" fmla="*/ 66 w 78"/>
              <a:gd name="T53" fmla="*/ 25 h 56"/>
              <a:gd name="T54" fmla="*/ 63 w 78"/>
              <a:gd name="T55" fmla="*/ 18 h 56"/>
              <a:gd name="T56" fmla="*/ 59 w 78"/>
              <a:gd name="T57" fmla="*/ 12 h 56"/>
              <a:gd name="T58" fmla="*/ 47 w 78"/>
              <a:gd name="T59" fmla="*/ 9 h 56"/>
              <a:gd name="T60" fmla="*/ 44 w 78"/>
              <a:gd name="T61" fmla="*/ 15 h 56"/>
              <a:gd name="T62" fmla="*/ 50 w 78"/>
              <a:gd name="T63" fmla="*/ 12 h 56"/>
              <a:gd name="T64" fmla="*/ 47 w 78"/>
              <a:gd name="T65" fmla="*/ 9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56">
                <a:moveTo>
                  <a:pt x="0" y="0"/>
                </a:moveTo>
                <a:lnTo>
                  <a:pt x="6" y="6"/>
                </a:lnTo>
                <a:lnTo>
                  <a:pt x="6" y="3"/>
                </a:lnTo>
                <a:lnTo>
                  <a:pt x="9" y="6"/>
                </a:lnTo>
                <a:lnTo>
                  <a:pt x="9" y="9"/>
                </a:lnTo>
                <a:lnTo>
                  <a:pt x="16" y="12"/>
                </a:lnTo>
                <a:lnTo>
                  <a:pt x="16" y="15"/>
                </a:lnTo>
                <a:lnTo>
                  <a:pt x="19" y="15"/>
                </a:lnTo>
                <a:lnTo>
                  <a:pt x="25" y="28"/>
                </a:lnTo>
                <a:lnTo>
                  <a:pt x="31" y="34"/>
                </a:lnTo>
                <a:lnTo>
                  <a:pt x="31" y="34"/>
                </a:lnTo>
                <a:lnTo>
                  <a:pt x="34" y="34"/>
                </a:lnTo>
                <a:lnTo>
                  <a:pt x="41" y="43"/>
                </a:lnTo>
                <a:lnTo>
                  <a:pt x="47" y="50"/>
                </a:lnTo>
                <a:lnTo>
                  <a:pt x="50" y="50"/>
                </a:lnTo>
                <a:lnTo>
                  <a:pt x="50" y="56"/>
                </a:lnTo>
                <a:lnTo>
                  <a:pt x="47" y="53"/>
                </a:lnTo>
                <a:lnTo>
                  <a:pt x="47" y="56"/>
                </a:lnTo>
                <a:lnTo>
                  <a:pt x="44" y="53"/>
                </a:lnTo>
                <a:lnTo>
                  <a:pt x="38" y="53"/>
                </a:lnTo>
                <a:lnTo>
                  <a:pt x="34" y="50"/>
                </a:lnTo>
                <a:lnTo>
                  <a:pt x="34" y="46"/>
                </a:lnTo>
                <a:lnTo>
                  <a:pt x="28" y="46"/>
                </a:lnTo>
                <a:lnTo>
                  <a:pt x="28" y="40"/>
                </a:lnTo>
                <a:lnTo>
                  <a:pt x="25" y="40"/>
                </a:lnTo>
                <a:lnTo>
                  <a:pt x="25" y="40"/>
                </a:lnTo>
                <a:lnTo>
                  <a:pt x="22" y="34"/>
                </a:lnTo>
                <a:lnTo>
                  <a:pt x="16" y="31"/>
                </a:lnTo>
                <a:lnTo>
                  <a:pt x="16" y="28"/>
                </a:lnTo>
                <a:lnTo>
                  <a:pt x="13" y="28"/>
                </a:lnTo>
                <a:lnTo>
                  <a:pt x="9" y="25"/>
                </a:lnTo>
                <a:lnTo>
                  <a:pt x="9" y="21"/>
                </a:lnTo>
                <a:lnTo>
                  <a:pt x="6" y="18"/>
                </a:lnTo>
                <a:lnTo>
                  <a:pt x="0" y="9"/>
                </a:lnTo>
                <a:lnTo>
                  <a:pt x="0" y="6"/>
                </a:lnTo>
                <a:lnTo>
                  <a:pt x="0" y="3"/>
                </a:lnTo>
                <a:lnTo>
                  <a:pt x="0" y="0"/>
                </a:lnTo>
                <a:lnTo>
                  <a:pt x="0" y="0"/>
                </a:lnTo>
                <a:close/>
                <a:moveTo>
                  <a:pt x="69" y="34"/>
                </a:moveTo>
                <a:lnTo>
                  <a:pt x="75" y="31"/>
                </a:lnTo>
                <a:lnTo>
                  <a:pt x="78" y="34"/>
                </a:lnTo>
                <a:lnTo>
                  <a:pt x="75" y="37"/>
                </a:lnTo>
                <a:lnTo>
                  <a:pt x="75" y="37"/>
                </a:lnTo>
                <a:lnTo>
                  <a:pt x="72" y="40"/>
                </a:lnTo>
                <a:lnTo>
                  <a:pt x="69" y="37"/>
                </a:lnTo>
                <a:lnTo>
                  <a:pt x="69" y="34"/>
                </a:lnTo>
                <a:lnTo>
                  <a:pt x="69" y="34"/>
                </a:lnTo>
                <a:close/>
                <a:moveTo>
                  <a:pt x="59" y="12"/>
                </a:moveTo>
                <a:lnTo>
                  <a:pt x="56" y="15"/>
                </a:lnTo>
                <a:lnTo>
                  <a:pt x="56" y="18"/>
                </a:lnTo>
                <a:lnTo>
                  <a:pt x="56" y="21"/>
                </a:lnTo>
                <a:lnTo>
                  <a:pt x="59" y="25"/>
                </a:lnTo>
                <a:lnTo>
                  <a:pt x="63" y="25"/>
                </a:lnTo>
                <a:lnTo>
                  <a:pt x="66" y="25"/>
                </a:lnTo>
                <a:lnTo>
                  <a:pt x="63" y="21"/>
                </a:lnTo>
                <a:lnTo>
                  <a:pt x="63" y="18"/>
                </a:lnTo>
                <a:lnTo>
                  <a:pt x="63" y="15"/>
                </a:lnTo>
                <a:lnTo>
                  <a:pt x="59" y="12"/>
                </a:lnTo>
                <a:lnTo>
                  <a:pt x="59" y="12"/>
                </a:lnTo>
                <a:close/>
                <a:moveTo>
                  <a:pt x="47" y="9"/>
                </a:moveTo>
                <a:lnTo>
                  <a:pt x="47" y="12"/>
                </a:lnTo>
                <a:lnTo>
                  <a:pt x="44" y="15"/>
                </a:lnTo>
                <a:lnTo>
                  <a:pt x="50" y="15"/>
                </a:lnTo>
                <a:lnTo>
                  <a:pt x="50" y="12"/>
                </a:lnTo>
                <a:lnTo>
                  <a:pt x="50" y="9"/>
                </a:lnTo>
                <a:lnTo>
                  <a:pt x="47" y="9"/>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3" name="Freeform 151">
            <a:extLst>
              <a:ext uri="{FF2B5EF4-FFF2-40B4-BE49-F238E27FC236}">
                <a16:creationId xmlns:a16="http://schemas.microsoft.com/office/drawing/2014/main" id="{9D047B05-BA44-7A1D-86CC-F5816076D425}"/>
              </a:ext>
            </a:extLst>
          </p:cNvPr>
          <p:cNvSpPr>
            <a:spLocks/>
          </p:cNvSpPr>
          <p:nvPr userDrawn="1"/>
        </p:nvSpPr>
        <p:spPr bwMode="auto">
          <a:xfrm>
            <a:off x="17258178" y="13210456"/>
            <a:ext cx="19049" cy="28576"/>
          </a:xfrm>
          <a:custGeom>
            <a:avLst/>
            <a:gdLst>
              <a:gd name="T0" fmla="*/ 0 w 6"/>
              <a:gd name="T1" fmla="*/ 0 h 9"/>
              <a:gd name="T2" fmla="*/ 0 w 6"/>
              <a:gd name="T3" fmla="*/ 3 h 9"/>
              <a:gd name="T4" fmla="*/ 0 w 6"/>
              <a:gd name="T5" fmla="*/ 6 h 9"/>
              <a:gd name="T6" fmla="*/ 3 w 6"/>
              <a:gd name="T7" fmla="*/ 6 h 9"/>
              <a:gd name="T8" fmla="*/ 3 w 6"/>
              <a:gd name="T9" fmla="*/ 9 h 9"/>
              <a:gd name="T10" fmla="*/ 6 w 6"/>
              <a:gd name="T11" fmla="*/ 9 h 9"/>
              <a:gd name="T12" fmla="*/ 3 w 6"/>
              <a:gd name="T13" fmla="*/ 3 h 9"/>
              <a:gd name="T14" fmla="*/ 0 w 6"/>
              <a:gd name="T15" fmla="*/ 0 h 9"/>
              <a:gd name="T16" fmla="*/ 0 w 6"/>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9">
                <a:moveTo>
                  <a:pt x="0" y="0"/>
                </a:moveTo>
                <a:lnTo>
                  <a:pt x="0" y="3"/>
                </a:lnTo>
                <a:lnTo>
                  <a:pt x="0" y="6"/>
                </a:lnTo>
                <a:lnTo>
                  <a:pt x="3" y="6"/>
                </a:lnTo>
                <a:lnTo>
                  <a:pt x="3" y="9"/>
                </a:lnTo>
                <a:lnTo>
                  <a:pt x="6" y="9"/>
                </a:lnTo>
                <a:lnTo>
                  <a:pt x="3" y="3"/>
                </a:lnTo>
                <a:lnTo>
                  <a:pt x="0" y="0"/>
                </a:lnTo>
                <a:lnTo>
                  <a:pt x="0" y="0"/>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4" name="Freeform 152">
            <a:extLst>
              <a:ext uri="{FF2B5EF4-FFF2-40B4-BE49-F238E27FC236}">
                <a16:creationId xmlns:a16="http://schemas.microsoft.com/office/drawing/2014/main" id="{5FDA97F5-1B37-ED2D-9DF1-7910AA7EADA5}"/>
              </a:ext>
            </a:extLst>
          </p:cNvPr>
          <p:cNvSpPr>
            <a:spLocks noEditPoints="1"/>
          </p:cNvSpPr>
          <p:nvPr userDrawn="1"/>
        </p:nvSpPr>
        <p:spPr bwMode="auto">
          <a:xfrm>
            <a:off x="17067687" y="12823106"/>
            <a:ext cx="101593" cy="79376"/>
          </a:xfrm>
          <a:custGeom>
            <a:avLst/>
            <a:gdLst>
              <a:gd name="T0" fmla="*/ 13 w 32"/>
              <a:gd name="T1" fmla="*/ 6 h 25"/>
              <a:gd name="T2" fmla="*/ 13 w 32"/>
              <a:gd name="T3" fmla="*/ 3 h 25"/>
              <a:gd name="T4" fmla="*/ 16 w 32"/>
              <a:gd name="T5" fmla="*/ 3 h 25"/>
              <a:gd name="T6" fmla="*/ 16 w 32"/>
              <a:gd name="T7" fmla="*/ 6 h 25"/>
              <a:gd name="T8" fmla="*/ 13 w 32"/>
              <a:gd name="T9" fmla="*/ 6 h 25"/>
              <a:gd name="T10" fmla="*/ 13 w 32"/>
              <a:gd name="T11" fmla="*/ 6 h 25"/>
              <a:gd name="T12" fmla="*/ 13 w 32"/>
              <a:gd name="T13" fmla="*/ 6 h 25"/>
              <a:gd name="T14" fmla="*/ 13 w 32"/>
              <a:gd name="T15" fmla="*/ 6 h 25"/>
              <a:gd name="T16" fmla="*/ 0 w 32"/>
              <a:gd name="T17" fmla="*/ 22 h 25"/>
              <a:gd name="T18" fmla="*/ 3 w 32"/>
              <a:gd name="T19" fmla="*/ 22 h 25"/>
              <a:gd name="T20" fmla="*/ 7 w 32"/>
              <a:gd name="T21" fmla="*/ 19 h 25"/>
              <a:gd name="T22" fmla="*/ 10 w 32"/>
              <a:gd name="T23" fmla="*/ 19 h 25"/>
              <a:gd name="T24" fmla="*/ 13 w 32"/>
              <a:gd name="T25" fmla="*/ 22 h 25"/>
              <a:gd name="T26" fmla="*/ 16 w 32"/>
              <a:gd name="T27" fmla="*/ 22 h 25"/>
              <a:gd name="T28" fmla="*/ 16 w 32"/>
              <a:gd name="T29" fmla="*/ 22 h 25"/>
              <a:gd name="T30" fmla="*/ 19 w 32"/>
              <a:gd name="T31" fmla="*/ 19 h 25"/>
              <a:gd name="T32" fmla="*/ 19 w 32"/>
              <a:gd name="T33" fmla="*/ 22 h 25"/>
              <a:gd name="T34" fmla="*/ 19 w 32"/>
              <a:gd name="T35" fmla="*/ 22 h 25"/>
              <a:gd name="T36" fmla="*/ 22 w 32"/>
              <a:gd name="T37" fmla="*/ 25 h 25"/>
              <a:gd name="T38" fmla="*/ 25 w 32"/>
              <a:gd name="T39" fmla="*/ 25 h 25"/>
              <a:gd name="T40" fmla="*/ 28 w 32"/>
              <a:gd name="T41" fmla="*/ 22 h 25"/>
              <a:gd name="T42" fmla="*/ 28 w 32"/>
              <a:gd name="T43" fmla="*/ 22 h 25"/>
              <a:gd name="T44" fmla="*/ 25 w 32"/>
              <a:gd name="T45" fmla="*/ 22 h 25"/>
              <a:gd name="T46" fmla="*/ 22 w 32"/>
              <a:gd name="T47" fmla="*/ 19 h 25"/>
              <a:gd name="T48" fmla="*/ 25 w 32"/>
              <a:gd name="T49" fmla="*/ 16 h 25"/>
              <a:gd name="T50" fmla="*/ 28 w 32"/>
              <a:gd name="T51" fmla="*/ 16 h 25"/>
              <a:gd name="T52" fmla="*/ 32 w 32"/>
              <a:gd name="T53" fmla="*/ 16 h 25"/>
              <a:gd name="T54" fmla="*/ 32 w 32"/>
              <a:gd name="T55" fmla="*/ 12 h 25"/>
              <a:gd name="T56" fmla="*/ 32 w 32"/>
              <a:gd name="T57" fmla="*/ 9 h 25"/>
              <a:gd name="T58" fmla="*/ 28 w 32"/>
              <a:gd name="T59" fmla="*/ 12 h 25"/>
              <a:gd name="T60" fmla="*/ 25 w 32"/>
              <a:gd name="T61" fmla="*/ 9 h 25"/>
              <a:gd name="T62" fmla="*/ 22 w 32"/>
              <a:gd name="T63" fmla="*/ 16 h 25"/>
              <a:gd name="T64" fmla="*/ 19 w 32"/>
              <a:gd name="T65" fmla="*/ 16 h 25"/>
              <a:gd name="T66" fmla="*/ 19 w 32"/>
              <a:gd name="T67" fmla="*/ 9 h 25"/>
              <a:gd name="T68" fmla="*/ 19 w 32"/>
              <a:gd name="T69" fmla="*/ 9 h 25"/>
              <a:gd name="T70" fmla="*/ 19 w 32"/>
              <a:gd name="T71" fmla="*/ 3 h 25"/>
              <a:gd name="T72" fmla="*/ 19 w 32"/>
              <a:gd name="T73" fmla="*/ 6 h 25"/>
              <a:gd name="T74" fmla="*/ 16 w 32"/>
              <a:gd name="T75" fmla="*/ 9 h 25"/>
              <a:gd name="T76" fmla="*/ 16 w 32"/>
              <a:gd name="T77" fmla="*/ 12 h 25"/>
              <a:gd name="T78" fmla="*/ 13 w 32"/>
              <a:gd name="T79" fmla="*/ 9 h 25"/>
              <a:gd name="T80" fmla="*/ 10 w 32"/>
              <a:gd name="T81" fmla="*/ 9 h 25"/>
              <a:gd name="T82" fmla="*/ 7 w 32"/>
              <a:gd name="T83" fmla="*/ 6 h 25"/>
              <a:gd name="T84" fmla="*/ 7 w 32"/>
              <a:gd name="T85" fmla="*/ 3 h 25"/>
              <a:gd name="T86" fmla="*/ 7 w 32"/>
              <a:gd name="T87" fmla="*/ 3 h 25"/>
              <a:gd name="T88" fmla="*/ 10 w 32"/>
              <a:gd name="T89" fmla="*/ 0 h 25"/>
              <a:gd name="T90" fmla="*/ 10 w 32"/>
              <a:gd name="T91" fmla="*/ 0 h 25"/>
              <a:gd name="T92" fmla="*/ 7 w 32"/>
              <a:gd name="T93" fmla="*/ 0 h 25"/>
              <a:gd name="T94" fmla="*/ 3 w 32"/>
              <a:gd name="T95" fmla="*/ 3 h 25"/>
              <a:gd name="T96" fmla="*/ 7 w 32"/>
              <a:gd name="T97" fmla="*/ 6 h 25"/>
              <a:gd name="T98" fmla="*/ 7 w 32"/>
              <a:gd name="T99" fmla="*/ 9 h 25"/>
              <a:gd name="T100" fmla="*/ 7 w 32"/>
              <a:gd name="T101" fmla="*/ 9 h 25"/>
              <a:gd name="T102" fmla="*/ 7 w 32"/>
              <a:gd name="T103" fmla="*/ 12 h 25"/>
              <a:gd name="T104" fmla="*/ 3 w 32"/>
              <a:gd name="T105" fmla="*/ 16 h 25"/>
              <a:gd name="T106" fmla="*/ 0 w 32"/>
              <a:gd name="T107" fmla="*/ 19 h 25"/>
              <a:gd name="T108" fmla="*/ 0 w 32"/>
              <a:gd name="T109" fmla="*/ 2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 h="25">
                <a:moveTo>
                  <a:pt x="13" y="6"/>
                </a:moveTo>
                <a:lnTo>
                  <a:pt x="13" y="3"/>
                </a:lnTo>
                <a:lnTo>
                  <a:pt x="16" y="3"/>
                </a:lnTo>
                <a:lnTo>
                  <a:pt x="16" y="6"/>
                </a:lnTo>
                <a:lnTo>
                  <a:pt x="13" y="6"/>
                </a:lnTo>
                <a:lnTo>
                  <a:pt x="13" y="6"/>
                </a:lnTo>
                <a:lnTo>
                  <a:pt x="13" y="6"/>
                </a:lnTo>
                <a:lnTo>
                  <a:pt x="13" y="6"/>
                </a:lnTo>
                <a:close/>
                <a:moveTo>
                  <a:pt x="0" y="22"/>
                </a:moveTo>
                <a:lnTo>
                  <a:pt x="3" y="22"/>
                </a:lnTo>
                <a:lnTo>
                  <a:pt x="7" y="19"/>
                </a:lnTo>
                <a:lnTo>
                  <a:pt x="10" y="19"/>
                </a:lnTo>
                <a:lnTo>
                  <a:pt x="13" y="22"/>
                </a:lnTo>
                <a:lnTo>
                  <a:pt x="16" y="22"/>
                </a:lnTo>
                <a:lnTo>
                  <a:pt x="16" y="22"/>
                </a:lnTo>
                <a:lnTo>
                  <a:pt x="19" y="19"/>
                </a:lnTo>
                <a:lnTo>
                  <a:pt x="19" y="22"/>
                </a:lnTo>
                <a:lnTo>
                  <a:pt x="19" y="22"/>
                </a:lnTo>
                <a:lnTo>
                  <a:pt x="22" y="25"/>
                </a:lnTo>
                <a:lnTo>
                  <a:pt x="25" y="25"/>
                </a:lnTo>
                <a:lnTo>
                  <a:pt x="28" y="22"/>
                </a:lnTo>
                <a:lnTo>
                  <a:pt x="28" y="22"/>
                </a:lnTo>
                <a:lnTo>
                  <a:pt x="25" y="22"/>
                </a:lnTo>
                <a:lnTo>
                  <a:pt x="22" y="19"/>
                </a:lnTo>
                <a:lnTo>
                  <a:pt x="25" y="16"/>
                </a:lnTo>
                <a:lnTo>
                  <a:pt x="28" y="16"/>
                </a:lnTo>
                <a:lnTo>
                  <a:pt x="32" y="16"/>
                </a:lnTo>
                <a:lnTo>
                  <a:pt x="32" y="12"/>
                </a:lnTo>
                <a:lnTo>
                  <a:pt x="32" y="9"/>
                </a:lnTo>
                <a:lnTo>
                  <a:pt x="28" y="12"/>
                </a:lnTo>
                <a:lnTo>
                  <a:pt x="25" y="9"/>
                </a:lnTo>
                <a:lnTo>
                  <a:pt x="22" y="16"/>
                </a:lnTo>
                <a:lnTo>
                  <a:pt x="19" y="16"/>
                </a:lnTo>
                <a:lnTo>
                  <a:pt x="19" y="9"/>
                </a:lnTo>
                <a:lnTo>
                  <a:pt x="19" y="9"/>
                </a:lnTo>
                <a:lnTo>
                  <a:pt x="19" y="3"/>
                </a:lnTo>
                <a:lnTo>
                  <a:pt x="19" y="6"/>
                </a:lnTo>
                <a:lnTo>
                  <a:pt x="16" y="9"/>
                </a:lnTo>
                <a:lnTo>
                  <a:pt x="16" y="12"/>
                </a:lnTo>
                <a:lnTo>
                  <a:pt x="13" y="9"/>
                </a:lnTo>
                <a:lnTo>
                  <a:pt x="10" y="9"/>
                </a:lnTo>
                <a:lnTo>
                  <a:pt x="7" y="6"/>
                </a:lnTo>
                <a:lnTo>
                  <a:pt x="7" y="3"/>
                </a:lnTo>
                <a:lnTo>
                  <a:pt x="7" y="3"/>
                </a:lnTo>
                <a:lnTo>
                  <a:pt x="10" y="0"/>
                </a:lnTo>
                <a:lnTo>
                  <a:pt x="10" y="0"/>
                </a:lnTo>
                <a:lnTo>
                  <a:pt x="7" y="0"/>
                </a:lnTo>
                <a:lnTo>
                  <a:pt x="3" y="3"/>
                </a:lnTo>
                <a:lnTo>
                  <a:pt x="7" y="6"/>
                </a:lnTo>
                <a:lnTo>
                  <a:pt x="7" y="9"/>
                </a:lnTo>
                <a:lnTo>
                  <a:pt x="7" y="9"/>
                </a:lnTo>
                <a:lnTo>
                  <a:pt x="7" y="12"/>
                </a:lnTo>
                <a:lnTo>
                  <a:pt x="3" y="16"/>
                </a:lnTo>
                <a:lnTo>
                  <a:pt x="0" y="19"/>
                </a:lnTo>
                <a:lnTo>
                  <a:pt x="0" y="22"/>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5" name="Freeform 153">
            <a:extLst>
              <a:ext uri="{FF2B5EF4-FFF2-40B4-BE49-F238E27FC236}">
                <a16:creationId xmlns:a16="http://schemas.microsoft.com/office/drawing/2014/main" id="{9A72455C-AB54-1E50-E7AE-DEDDA99F9F32}"/>
              </a:ext>
            </a:extLst>
          </p:cNvPr>
          <p:cNvSpPr>
            <a:spLocks/>
          </p:cNvSpPr>
          <p:nvPr userDrawn="1"/>
        </p:nvSpPr>
        <p:spPr bwMode="auto">
          <a:xfrm>
            <a:off x="16702588" y="10657761"/>
            <a:ext cx="38100" cy="38102"/>
          </a:xfrm>
          <a:custGeom>
            <a:avLst/>
            <a:gdLst>
              <a:gd name="T0" fmla="*/ 3 w 12"/>
              <a:gd name="T1" fmla="*/ 0 h 12"/>
              <a:gd name="T2" fmla="*/ 3 w 12"/>
              <a:gd name="T3" fmla="*/ 6 h 12"/>
              <a:gd name="T4" fmla="*/ 0 w 12"/>
              <a:gd name="T5" fmla="*/ 9 h 12"/>
              <a:gd name="T6" fmla="*/ 6 w 12"/>
              <a:gd name="T7" fmla="*/ 12 h 12"/>
              <a:gd name="T8" fmla="*/ 9 w 12"/>
              <a:gd name="T9" fmla="*/ 9 h 12"/>
              <a:gd name="T10" fmla="*/ 9 w 12"/>
              <a:gd name="T11" fmla="*/ 6 h 12"/>
              <a:gd name="T12" fmla="*/ 12 w 12"/>
              <a:gd name="T13" fmla="*/ 6 h 12"/>
              <a:gd name="T14" fmla="*/ 12 w 12"/>
              <a:gd name="T15" fmla="*/ 3 h 12"/>
              <a:gd name="T16" fmla="*/ 9 w 12"/>
              <a:gd name="T17" fmla="*/ 0 h 12"/>
              <a:gd name="T18" fmla="*/ 6 w 12"/>
              <a:gd name="T19" fmla="*/ 3 h 12"/>
              <a:gd name="T20" fmla="*/ 3 w 12"/>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2">
                <a:moveTo>
                  <a:pt x="3" y="0"/>
                </a:moveTo>
                <a:lnTo>
                  <a:pt x="3" y="6"/>
                </a:lnTo>
                <a:lnTo>
                  <a:pt x="0" y="9"/>
                </a:lnTo>
                <a:lnTo>
                  <a:pt x="6" y="12"/>
                </a:lnTo>
                <a:lnTo>
                  <a:pt x="9" y="9"/>
                </a:lnTo>
                <a:lnTo>
                  <a:pt x="9" y="6"/>
                </a:lnTo>
                <a:lnTo>
                  <a:pt x="12" y="6"/>
                </a:lnTo>
                <a:lnTo>
                  <a:pt x="12" y="3"/>
                </a:lnTo>
                <a:lnTo>
                  <a:pt x="9" y="0"/>
                </a:lnTo>
                <a:lnTo>
                  <a:pt x="6" y="3"/>
                </a:lnTo>
                <a:lnTo>
                  <a:pt x="3" y="0"/>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6" name="Freeform 154">
            <a:extLst>
              <a:ext uri="{FF2B5EF4-FFF2-40B4-BE49-F238E27FC236}">
                <a16:creationId xmlns:a16="http://schemas.microsoft.com/office/drawing/2014/main" id="{F6E4B5D1-8F67-9B9D-E3EB-6B5E91A6B2AB}"/>
              </a:ext>
            </a:extLst>
          </p:cNvPr>
          <p:cNvSpPr>
            <a:spLocks/>
          </p:cNvSpPr>
          <p:nvPr userDrawn="1"/>
        </p:nvSpPr>
        <p:spPr bwMode="auto">
          <a:xfrm>
            <a:off x="16581948" y="10708561"/>
            <a:ext cx="31748" cy="38102"/>
          </a:xfrm>
          <a:custGeom>
            <a:avLst/>
            <a:gdLst>
              <a:gd name="T0" fmla="*/ 0 w 10"/>
              <a:gd name="T1" fmla="*/ 0 h 12"/>
              <a:gd name="T2" fmla="*/ 0 w 10"/>
              <a:gd name="T3" fmla="*/ 6 h 12"/>
              <a:gd name="T4" fmla="*/ 3 w 10"/>
              <a:gd name="T5" fmla="*/ 12 h 12"/>
              <a:gd name="T6" fmla="*/ 6 w 10"/>
              <a:gd name="T7" fmla="*/ 12 h 12"/>
              <a:gd name="T8" fmla="*/ 10 w 10"/>
              <a:gd name="T9" fmla="*/ 9 h 12"/>
              <a:gd name="T10" fmla="*/ 10 w 10"/>
              <a:gd name="T11" fmla="*/ 6 h 12"/>
              <a:gd name="T12" fmla="*/ 6 w 10"/>
              <a:gd name="T13" fmla="*/ 3 h 12"/>
              <a:gd name="T14" fmla="*/ 0 w 10"/>
              <a:gd name="T15" fmla="*/ 0 h 12"/>
              <a:gd name="T16" fmla="*/ 0 w 1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2">
                <a:moveTo>
                  <a:pt x="0" y="0"/>
                </a:moveTo>
                <a:lnTo>
                  <a:pt x="0" y="6"/>
                </a:lnTo>
                <a:lnTo>
                  <a:pt x="3" y="12"/>
                </a:lnTo>
                <a:lnTo>
                  <a:pt x="6" y="12"/>
                </a:lnTo>
                <a:lnTo>
                  <a:pt x="10" y="9"/>
                </a:lnTo>
                <a:lnTo>
                  <a:pt x="10" y="6"/>
                </a:lnTo>
                <a:lnTo>
                  <a:pt x="6" y="3"/>
                </a:lnTo>
                <a:lnTo>
                  <a:pt x="0" y="0"/>
                </a:lnTo>
                <a:lnTo>
                  <a:pt x="0" y="0"/>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7" name="Freeform 155">
            <a:extLst>
              <a:ext uri="{FF2B5EF4-FFF2-40B4-BE49-F238E27FC236}">
                <a16:creationId xmlns:a16="http://schemas.microsoft.com/office/drawing/2014/main" id="{304CC159-8AE5-052B-110C-511BA6C1B458}"/>
              </a:ext>
            </a:extLst>
          </p:cNvPr>
          <p:cNvSpPr>
            <a:spLocks noEditPoints="1"/>
          </p:cNvSpPr>
          <p:nvPr userDrawn="1"/>
        </p:nvSpPr>
        <p:spPr bwMode="auto">
          <a:xfrm>
            <a:off x="15807296" y="10140239"/>
            <a:ext cx="476219" cy="885826"/>
          </a:xfrm>
          <a:custGeom>
            <a:avLst/>
            <a:gdLst>
              <a:gd name="T0" fmla="*/ 44 w 150"/>
              <a:gd name="T1" fmla="*/ 276 h 279"/>
              <a:gd name="T2" fmla="*/ 69 w 150"/>
              <a:gd name="T3" fmla="*/ 266 h 279"/>
              <a:gd name="T4" fmla="*/ 79 w 150"/>
              <a:gd name="T5" fmla="*/ 254 h 279"/>
              <a:gd name="T6" fmla="*/ 82 w 150"/>
              <a:gd name="T7" fmla="*/ 238 h 279"/>
              <a:gd name="T8" fmla="*/ 88 w 150"/>
              <a:gd name="T9" fmla="*/ 229 h 279"/>
              <a:gd name="T10" fmla="*/ 100 w 150"/>
              <a:gd name="T11" fmla="*/ 201 h 279"/>
              <a:gd name="T12" fmla="*/ 116 w 150"/>
              <a:gd name="T13" fmla="*/ 163 h 279"/>
              <a:gd name="T14" fmla="*/ 125 w 150"/>
              <a:gd name="T15" fmla="*/ 138 h 279"/>
              <a:gd name="T16" fmla="*/ 132 w 150"/>
              <a:gd name="T17" fmla="*/ 110 h 279"/>
              <a:gd name="T18" fmla="*/ 135 w 150"/>
              <a:gd name="T19" fmla="*/ 94 h 279"/>
              <a:gd name="T20" fmla="*/ 138 w 150"/>
              <a:gd name="T21" fmla="*/ 82 h 279"/>
              <a:gd name="T22" fmla="*/ 138 w 150"/>
              <a:gd name="T23" fmla="*/ 69 h 279"/>
              <a:gd name="T24" fmla="*/ 147 w 150"/>
              <a:gd name="T25" fmla="*/ 82 h 279"/>
              <a:gd name="T26" fmla="*/ 150 w 150"/>
              <a:gd name="T27" fmla="*/ 69 h 279"/>
              <a:gd name="T28" fmla="*/ 144 w 150"/>
              <a:gd name="T29" fmla="*/ 57 h 279"/>
              <a:gd name="T30" fmla="*/ 147 w 150"/>
              <a:gd name="T31" fmla="*/ 41 h 279"/>
              <a:gd name="T32" fmla="*/ 141 w 150"/>
              <a:gd name="T33" fmla="*/ 16 h 279"/>
              <a:gd name="T34" fmla="*/ 132 w 150"/>
              <a:gd name="T35" fmla="*/ 7 h 279"/>
              <a:gd name="T36" fmla="*/ 129 w 150"/>
              <a:gd name="T37" fmla="*/ 7 h 279"/>
              <a:gd name="T38" fmla="*/ 125 w 150"/>
              <a:gd name="T39" fmla="*/ 10 h 279"/>
              <a:gd name="T40" fmla="*/ 122 w 150"/>
              <a:gd name="T41" fmla="*/ 22 h 279"/>
              <a:gd name="T42" fmla="*/ 113 w 150"/>
              <a:gd name="T43" fmla="*/ 35 h 279"/>
              <a:gd name="T44" fmla="*/ 110 w 150"/>
              <a:gd name="T45" fmla="*/ 32 h 279"/>
              <a:gd name="T46" fmla="*/ 107 w 150"/>
              <a:gd name="T47" fmla="*/ 44 h 279"/>
              <a:gd name="T48" fmla="*/ 100 w 150"/>
              <a:gd name="T49" fmla="*/ 47 h 279"/>
              <a:gd name="T50" fmla="*/ 104 w 150"/>
              <a:gd name="T51" fmla="*/ 57 h 279"/>
              <a:gd name="T52" fmla="*/ 94 w 150"/>
              <a:gd name="T53" fmla="*/ 63 h 279"/>
              <a:gd name="T54" fmla="*/ 91 w 150"/>
              <a:gd name="T55" fmla="*/ 57 h 279"/>
              <a:gd name="T56" fmla="*/ 88 w 150"/>
              <a:gd name="T57" fmla="*/ 66 h 279"/>
              <a:gd name="T58" fmla="*/ 85 w 150"/>
              <a:gd name="T59" fmla="*/ 72 h 279"/>
              <a:gd name="T60" fmla="*/ 82 w 150"/>
              <a:gd name="T61" fmla="*/ 66 h 279"/>
              <a:gd name="T62" fmla="*/ 75 w 150"/>
              <a:gd name="T63" fmla="*/ 82 h 279"/>
              <a:gd name="T64" fmla="*/ 69 w 150"/>
              <a:gd name="T65" fmla="*/ 72 h 279"/>
              <a:gd name="T66" fmla="*/ 57 w 150"/>
              <a:gd name="T67" fmla="*/ 75 h 279"/>
              <a:gd name="T68" fmla="*/ 54 w 150"/>
              <a:gd name="T69" fmla="*/ 79 h 279"/>
              <a:gd name="T70" fmla="*/ 41 w 150"/>
              <a:gd name="T71" fmla="*/ 85 h 279"/>
              <a:gd name="T72" fmla="*/ 32 w 150"/>
              <a:gd name="T73" fmla="*/ 88 h 279"/>
              <a:gd name="T74" fmla="*/ 19 w 150"/>
              <a:gd name="T75" fmla="*/ 110 h 279"/>
              <a:gd name="T76" fmla="*/ 22 w 150"/>
              <a:gd name="T77" fmla="*/ 125 h 279"/>
              <a:gd name="T78" fmla="*/ 32 w 150"/>
              <a:gd name="T79" fmla="*/ 147 h 279"/>
              <a:gd name="T80" fmla="*/ 29 w 150"/>
              <a:gd name="T81" fmla="*/ 163 h 279"/>
              <a:gd name="T82" fmla="*/ 19 w 150"/>
              <a:gd name="T83" fmla="*/ 175 h 279"/>
              <a:gd name="T84" fmla="*/ 7 w 150"/>
              <a:gd name="T85" fmla="*/ 188 h 279"/>
              <a:gd name="T86" fmla="*/ 0 w 150"/>
              <a:gd name="T87" fmla="*/ 207 h 279"/>
              <a:gd name="T88" fmla="*/ 7 w 150"/>
              <a:gd name="T89" fmla="*/ 226 h 279"/>
              <a:gd name="T90" fmla="*/ 10 w 150"/>
              <a:gd name="T91" fmla="*/ 232 h 279"/>
              <a:gd name="T92" fmla="*/ 7 w 150"/>
              <a:gd name="T93" fmla="*/ 244 h 279"/>
              <a:gd name="T94" fmla="*/ 10 w 150"/>
              <a:gd name="T95" fmla="*/ 260 h 279"/>
              <a:gd name="T96" fmla="*/ 19 w 150"/>
              <a:gd name="T97" fmla="*/ 269 h 279"/>
              <a:gd name="T98" fmla="*/ 29 w 150"/>
              <a:gd name="T99" fmla="*/ 276 h 279"/>
              <a:gd name="T100" fmla="*/ 32 w 150"/>
              <a:gd name="T101" fmla="*/ 279 h 279"/>
              <a:gd name="T102" fmla="*/ 119 w 150"/>
              <a:gd name="T103" fmla="*/ 16 h 279"/>
              <a:gd name="T104" fmla="*/ 116 w 150"/>
              <a:gd name="T105" fmla="*/ 25 h 279"/>
              <a:gd name="T106" fmla="*/ 116 w 150"/>
              <a:gd name="T107" fmla="*/ 25 h 279"/>
              <a:gd name="T108" fmla="*/ 113 w 150"/>
              <a:gd name="T109" fmla="*/ 25 h 279"/>
              <a:gd name="T110" fmla="*/ 110 w 150"/>
              <a:gd name="T111" fmla="*/ 25 h 279"/>
              <a:gd name="T112" fmla="*/ 138 w 150"/>
              <a:gd name="T113" fmla="*/ 97 h 279"/>
              <a:gd name="T114" fmla="*/ 141 w 150"/>
              <a:gd name="T115" fmla="*/ 9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279">
                <a:moveTo>
                  <a:pt x="32" y="279"/>
                </a:moveTo>
                <a:lnTo>
                  <a:pt x="35" y="276"/>
                </a:lnTo>
                <a:lnTo>
                  <a:pt x="38" y="279"/>
                </a:lnTo>
                <a:lnTo>
                  <a:pt x="44" y="276"/>
                </a:lnTo>
                <a:lnTo>
                  <a:pt x="47" y="269"/>
                </a:lnTo>
                <a:lnTo>
                  <a:pt x="60" y="269"/>
                </a:lnTo>
                <a:lnTo>
                  <a:pt x="63" y="269"/>
                </a:lnTo>
                <a:lnTo>
                  <a:pt x="69" y="266"/>
                </a:lnTo>
                <a:lnTo>
                  <a:pt x="72" y="263"/>
                </a:lnTo>
                <a:lnTo>
                  <a:pt x="75" y="263"/>
                </a:lnTo>
                <a:lnTo>
                  <a:pt x="75" y="257"/>
                </a:lnTo>
                <a:lnTo>
                  <a:pt x="79" y="254"/>
                </a:lnTo>
                <a:lnTo>
                  <a:pt x="82" y="247"/>
                </a:lnTo>
                <a:lnTo>
                  <a:pt x="85" y="247"/>
                </a:lnTo>
                <a:lnTo>
                  <a:pt x="85" y="241"/>
                </a:lnTo>
                <a:lnTo>
                  <a:pt x="82" y="238"/>
                </a:lnTo>
                <a:lnTo>
                  <a:pt x="85" y="238"/>
                </a:lnTo>
                <a:lnTo>
                  <a:pt x="88" y="232"/>
                </a:lnTo>
                <a:lnTo>
                  <a:pt x="88" y="229"/>
                </a:lnTo>
                <a:lnTo>
                  <a:pt x="88" y="229"/>
                </a:lnTo>
                <a:lnTo>
                  <a:pt x="91" y="226"/>
                </a:lnTo>
                <a:lnTo>
                  <a:pt x="94" y="210"/>
                </a:lnTo>
                <a:lnTo>
                  <a:pt x="97" y="204"/>
                </a:lnTo>
                <a:lnTo>
                  <a:pt x="100" y="201"/>
                </a:lnTo>
                <a:lnTo>
                  <a:pt x="100" y="191"/>
                </a:lnTo>
                <a:lnTo>
                  <a:pt x="107" y="182"/>
                </a:lnTo>
                <a:lnTo>
                  <a:pt x="113" y="166"/>
                </a:lnTo>
                <a:lnTo>
                  <a:pt x="116" y="163"/>
                </a:lnTo>
                <a:lnTo>
                  <a:pt x="116" y="154"/>
                </a:lnTo>
                <a:lnTo>
                  <a:pt x="119" y="147"/>
                </a:lnTo>
                <a:lnTo>
                  <a:pt x="119" y="144"/>
                </a:lnTo>
                <a:lnTo>
                  <a:pt x="125" y="138"/>
                </a:lnTo>
                <a:lnTo>
                  <a:pt x="125" y="125"/>
                </a:lnTo>
                <a:lnTo>
                  <a:pt x="129" y="119"/>
                </a:lnTo>
                <a:lnTo>
                  <a:pt x="132" y="116"/>
                </a:lnTo>
                <a:lnTo>
                  <a:pt x="132" y="110"/>
                </a:lnTo>
                <a:lnTo>
                  <a:pt x="129" y="107"/>
                </a:lnTo>
                <a:lnTo>
                  <a:pt x="132" y="104"/>
                </a:lnTo>
                <a:lnTo>
                  <a:pt x="135" y="97"/>
                </a:lnTo>
                <a:lnTo>
                  <a:pt x="135" y="94"/>
                </a:lnTo>
                <a:lnTo>
                  <a:pt x="138" y="91"/>
                </a:lnTo>
                <a:lnTo>
                  <a:pt x="138" y="88"/>
                </a:lnTo>
                <a:lnTo>
                  <a:pt x="135" y="85"/>
                </a:lnTo>
                <a:lnTo>
                  <a:pt x="138" y="82"/>
                </a:lnTo>
                <a:lnTo>
                  <a:pt x="135" y="75"/>
                </a:lnTo>
                <a:lnTo>
                  <a:pt x="135" y="75"/>
                </a:lnTo>
                <a:lnTo>
                  <a:pt x="135" y="72"/>
                </a:lnTo>
                <a:lnTo>
                  <a:pt x="138" y="69"/>
                </a:lnTo>
                <a:lnTo>
                  <a:pt x="138" y="72"/>
                </a:lnTo>
                <a:lnTo>
                  <a:pt x="141" y="75"/>
                </a:lnTo>
                <a:lnTo>
                  <a:pt x="144" y="79"/>
                </a:lnTo>
                <a:lnTo>
                  <a:pt x="147" y="82"/>
                </a:lnTo>
                <a:lnTo>
                  <a:pt x="147" y="79"/>
                </a:lnTo>
                <a:lnTo>
                  <a:pt x="147" y="75"/>
                </a:lnTo>
                <a:lnTo>
                  <a:pt x="147" y="72"/>
                </a:lnTo>
                <a:lnTo>
                  <a:pt x="150" y="69"/>
                </a:lnTo>
                <a:lnTo>
                  <a:pt x="150" y="69"/>
                </a:lnTo>
                <a:lnTo>
                  <a:pt x="150" y="66"/>
                </a:lnTo>
                <a:lnTo>
                  <a:pt x="147" y="60"/>
                </a:lnTo>
                <a:lnTo>
                  <a:pt x="144" y="57"/>
                </a:lnTo>
                <a:lnTo>
                  <a:pt x="147" y="53"/>
                </a:lnTo>
                <a:lnTo>
                  <a:pt x="147" y="50"/>
                </a:lnTo>
                <a:lnTo>
                  <a:pt x="144" y="44"/>
                </a:lnTo>
                <a:lnTo>
                  <a:pt x="147" y="41"/>
                </a:lnTo>
                <a:lnTo>
                  <a:pt x="147" y="32"/>
                </a:lnTo>
                <a:lnTo>
                  <a:pt x="144" y="28"/>
                </a:lnTo>
                <a:lnTo>
                  <a:pt x="144" y="19"/>
                </a:lnTo>
                <a:lnTo>
                  <a:pt x="141" y="16"/>
                </a:lnTo>
                <a:lnTo>
                  <a:pt x="141" y="16"/>
                </a:lnTo>
                <a:lnTo>
                  <a:pt x="138" y="13"/>
                </a:lnTo>
                <a:lnTo>
                  <a:pt x="135" y="10"/>
                </a:lnTo>
                <a:lnTo>
                  <a:pt x="132" y="7"/>
                </a:lnTo>
                <a:lnTo>
                  <a:pt x="135" y="3"/>
                </a:lnTo>
                <a:lnTo>
                  <a:pt x="135" y="0"/>
                </a:lnTo>
                <a:lnTo>
                  <a:pt x="129" y="3"/>
                </a:lnTo>
                <a:lnTo>
                  <a:pt x="129" y="7"/>
                </a:lnTo>
                <a:lnTo>
                  <a:pt x="125" y="10"/>
                </a:lnTo>
                <a:lnTo>
                  <a:pt x="122" y="7"/>
                </a:lnTo>
                <a:lnTo>
                  <a:pt x="122" y="7"/>
                </a:lnTo>
                <a:lnTo>
                  <a:pt x="125" y="10"/>
                </a:lnTo>
                <a:lnTo>
                  <a:pt x="125" y="13"/>
                </a:lnTo>
                <a:lnTo>
                  <a:pt x="125" y="16"/>
                </a:lnTo>
                <a:lnTo>
                  <a:pt x="125" y="16"/>
                </a:lnTo>
                <a:lnTo>
                  <a:pt x="122" y="22"/>
                </a:lnTo>
                <a:lnTo>
                  <a:pt x="122" y="25"/>
                </a:lnTo>
                <a:lnTo>
                  <a:pt x="119" y="32"/>
                </a:lnTo>
                <a:lnTo>
                  <a:pt x="116" y="28"/>
                </a:lnTo>
                <a:lnTo>
                  <a:pt x="113" y="35"/>
                </a:lnTo>
                <a:lnTo>
                  <a:pt x="113" y="38"/>
                </a:lnTo>
                <a:lnTo>
                  <a:pt x="110" y="38"/>
                </a:lnTo>
                <a:lnTo>
                  <a:pt x="110" y="38"/>
                </a:lnTo>
                <a:lnTo>
                  <a:pt x="110" y="32"/>
                </a:lnTo>
                <a:lnTo>
                  <a:pt x="107" y="32"/>
                </a:lnTo>
                <a:lnTo>
                  <a:pt x="104" y="35"/>
                </a:lnTo>
                <a:lnTo>
                  <a:pt x="104" y="38"/>
                </a:lnTo>
                <a:lnTo>
                  <a:pt x="107" y="44"/>
                </a:lnTo>
                <a:lnTo>
                  <a:pt x="110" y="44"/>
                </a:lnTo>
                <a:lnTo>
                  <a:pt x="107" y="47"/>
                </a:lnTo>
                <a:lnTo>
                  <a:pt x="107" y="44"/>
                </a:lnTo>
                <a:lnTo>
                  <a:pt x="100" y="47"/>
                </a:lnTo>
                <a:lnTo>
                  <a:pt x="104" y="50"/>
                </a:lnTo>
                <a:lnTo>
                  <a:pt x="107" y="50"/>
                </a:lnTo>
                <a:lnTo>
                  <a:pt x="107" y="53"/>
                </a:lnTo>
                <a:lnTo>
                  <a:pt x="104" y="57"/>
                </a:lnTo>
                <a:lnTo>
                  <a:pt x="104" y="53"/>
                </a:lnTo>
                <a:lnTo>
                  <a:pt x="100" y="53"/>
                </a:lnTo>
                <a:lnTo>
                  <a:pt x="100" y="57"/>
                </a:lnTo>
                <a:lnTo>
                  <a:pt x="94" y="63"/>
                </a:lnTo>
                <a:lnTo>
                  <a:pt x="94" y="57"/>
                </a:lnTo>
                <a:lnTo>
                  <a:pt x="94" y="57"/>
                </a:lnTo>
                <a:lnTo>
                  <a:pt x="94" y="53"/>
                </a:lnTo>
                <a:lnTo>
                  <a:pt x="91" y="57"/>
                </a:lnTo>
                <a:lnTo>
                  <a:pt x="91" y="60"/>
                </a:lnTo>
                <a:lnTo>
                  <a:pt x="91" y="60"/>
                </a:lnTo>
                <a:lnTo>
                  <a:pt x="88" y="63"/>
                </a:lnTo>
                <a:lnTo>
                  <a:pt x="88" y="66"/>
                </a:lnTo>
                <a:lnTo>
                  <a:pt x="91" y="66"/>
                </a:lnTo>
                <a:lnTo>
                  <a:pt x="91" y="69"/>
                </a:lnTo>
                <a:lnTo>
                  <a:pt x="88" y="69"/>
                </a:lnTo>
                <a:lnTo>
                  <a:pt x="85" y="72"/>
                </a:lnTo>
                <a:lnTo>
                  <a:pt x="85" y="69"/>
                </a:lnTo>
                <a:lnTo>
                  <a:pt x="82" y="69"/>
                </a:lnTo>
                <a:lnTo>
                  <a:pt x="85" y="66"/>
                </a:lnTo>
                <a:lnTo>
                  <a:pt x="82" y="66"/>
                </a:lnTo>
                <a:lnTo>
                  <a:pt x="75" y="72"/>
                </a:lnTo>
                <a:lnTo>
                  <a:pt x="75" y="75"/>
                </a:lnTo>
                <a:lnTo>
                  <a:pt x="75" y="79"/>
                </a:lnTo>
                <a:lnTo>
                  <a:pt x="75" y="82"/>
                </a:lnTo>
                <a:lnTo>
                  <a:pt x="72" y="82"/>
                </a:lnTo>
                <a:lnTo>
                  <a:pt x="69" y="79"/>
                </a:lnTo>
                <a:lnTo>
                  <a:pt x="69" y="75"/>
                </a:lnTo>
                <a:lnTo>
                  <a:pt x="69" y="72"/>
                </a:lnTo>
                <a:lnTo>
                  <a:pt x="63" y="79"/>
                </a:lnTo>
                <a:lnTo>
                  <a:pt x="60" y="75"/>
                </a:lnTo>
                <a:lnTo>
                  <a:pt x="57" y="75"/>
                </a:lnTo>
                <a:lnTo>
                  <a:pt x="57" y="75"/>
                </a:lnTo>
                <a:lnTo>
                  <a:pt x="57" y="82"/>
                </a:lnTo>
                <a:lnTo>
                  <a:pt x="57" y="82"/>
                </a:lnTo>
                <a:lnTo>
                  <a:pt x="54" y="82"/>
                </a:lnTo>
                <a:lnTo>
                  <a:pt x="54" y="79"/>
                </a:lnTo>
                <a:lnTo>
                  <a:pt x="50" y="79"/>
                </a:lnTo>
                <a:lnTo>
                  <a:pt x="50" y="82"/>
                </a:lnTo>
                <a:lnTo>
                  <a:pt x="47" y="79"/>
                </a:lnTo>
                <a:lnTo>
                  <a:pt x="41" y="85"/>
                </a:lnTo>
                <a:lnTo>
                  <a:pt x="38" y="85"/>
                </a:lnTo>
                <a:lnTo>
                  <a:pt x="35" y="85"/>
                </a:lnTo>
                <a:lnTo>
                  <a:pt x="32" y="85"/>
                </a:lnTo>
                <a:lnTo>
                  <a:pt x="32" y="88"/>
                </a:lnTo>
                <a:lnTo>
                  <a:pt x="32" y="94"/>
                </a:lnTo>
                <a:lnTo>
                  <a:pt x="25" y="104"/>
                </a:lnTo>
                <a:lnTo>
                  <a:pt x="25" y="104"/>
                </a:lnTo>
                <a:lnTo>
                  <a:pt x="19" y="110"/>
                </a:lnTo>
                <a:lnTo>
                  <a:pt x="19" y="113"/>
                </a:lnTo>
                <a:lnTo>
                  <a:pt x="22" y="116"/>
                </a:lnTo>
                <a:lnTo>
                  <a:pt x="19" y="119"/>
                </a:lnTo>
                <a:lnTo>
                  <a:pt x="22" y="125"/>
                </a:lnTo>
                <a:lnTo>
                  <a:pt x="22" y="129"/>
                </a:lnTo>
                <a:lnTo>
                  <a:pt x="29" y="141"/>
                </a:lnTo>
                <a:lnTo>
                  <a:pt x="29" y="144"/>
                </a:lnTo>
                <a:lnTo>
                  <a:pt x="32" y="147"/>
                </a:lnTo>
                <a:lnTo>
                  <a:pt x="32" y="147"/>
                </a:lnTo>
                <a:lnTo>
                  <a:pt x="29" y="150"/>
                </a:lnTo>
                <a:lnTo>
                  <a:pt x="29" y="154"/>
                </a:lnTo>
                <a:lnTo>
                  <a:pt x="29" y="163"/>
                </a:lnTo>
                <a:lnTo>
                  <a:pt x="22" y="166"/>
                </a:lnTo>
                <a:lnTo>
                  <a:pt x="22" y="169"/>
                </a:lnTo>
                <a:lnTo>
                  <a:pt x="19" y="169"/>
                </a:lnTo>
                <a:lnTo>
                  <a:pt x="19" y="175"/>
                </a:lnTo>
                <a:lnTo>
                  <a:pt x="16" y="175"/>
                </a:lnTo>
                <a:lnTo>
                  <a:pt x="16" y="185"/>
                </a:lnTo>
                <a:lnTo>
                  <a:pt x="13" y="188"/>
                </a:lnTo>
                <a:lnTo>
                  <a:pt x="7" y="188"/>
                </a:lnTo>
                <a:lnTo>
                  <a:pt x="7" y="191"/>
                </a:lnTo>
                <a:lnTo>
                  <a:pt x="7" y="197"/>
                </a:lnTo>
                <a:lnTo>
                  <a:pt x="0" y="201"/>
                </a:lnTo>
                <a:lnTo>
                  <a:pt x="0" y="207"/>
                </a:lnTo>
                <a:lnTo>
                  <a:pt x="0" y="210"/>
                </a:lnTo>
                <a:lnTo>
                  <a:pt x="0" y="213"/>
                </a:lnTo>
                <a:lnTo>
                  <a:pt x="0" y="219"/>
                </a:lnTo>
                <a:lnTo>
                  <a:pt x="7" y="226"/>
                </a:lnTo>
                <a:lnTo>
                  <a:pt x="7" y="229"/>
                </a:lnTo>
                <a:lnTo>
                  <a:pt x="7" y="232"/>
                </a:lnTo>
                <a:lnTo>
                  <a:pt x="10" y="232"/>
                </a:lnTo>
                <a:lnTo>
                  <a:pt x="10" y="232"/>
                </a:lnTo>
                <a:lnTo>
                  <a:pt x="10" y="235"/>
                </a:lnTo>
                <a:lnTo>
                  <a:pt x="7" y="235"/>
                </a:lnTo>
                <a:lnTo>
                  <a:pt x="7" y="238"/>
                </a:lnTo>
                <a:lnTo>
                  <a:pt x="7" y="244"/>
                </a:lnTo>
                <a:lnTo>
                  <a:pt x="7" y="254"/>
                </a:lnTo>
                <a:lnTo>
                  <a:pt x="7" y="254"/>
                </a:lnTo>
                <a:lnTo>
                  <a:pt x="7" y="257"/>
                </a:lnTo>
                <a:lnTo>
                  <a:pt x="10" y="260"/>
                </a:lnTo>
                <a:lnTo>
                  <a:pt x="13" y="263"/>
                </a:lnTo>
                <a:lnTo>
                  <a:pt x="13" y="263"/>
                </a:lnTo>
                <a:lnTo>
                  <a:pt x="16" y="266"/>
                </a:lnTo>
                <a:lnTo>
                  <a:pt x="19" y="269"/>
                </a:lnTo>
                <a:lnTo>
                  <a:pt x="22" y="269"/>
                </a:lnTo>
                <a:lnTo>
                  <a:pt x="22" y="269"/>
                </a:lnTo>
                <a:lnTo>
                  <a:pt x="25" y="272"/>
                </a:lnTo>
                <a:lnTo>
                  <a:pt x="29" y="276"/>
                </a:lnTo>
                <a:lnTo>
                  <a:pt x="32" y="276"/>
                </a:lnTo>
                <a:lnTo>
                  <a:pt x="32" y="279"/>
                </a:lnTo>
                <a:lnTo>
                  <a:pt x="32" y="279"/>
                </a:lnTo>
                <a:lnTo>
                  <a:pt x="32" y="279"/>
                </a:lnTo>
                <a:close/>
                <a:moveTo>
                  <a:pt x="119" y="19"/>
                </a:moveTo>
                <a:lnTo>
                  <a:pt x="116" y="19"/>
                </a:lnTo>
                <a:lnTo>
                  <a:pt x="119" y="16"/>
                </a:lnTo>
                <a:lnTo>
                  <a:pt x="119" y="16"/>
                </a:lnTo>
                <a:lnTo>
                  <a:pt x="119" y="19"/>
                </a:lnTo>
                <a:lnTo>
                  <a:pt x="119" y="19"/>
                </a:lnTo>
                <a:close/>
                <a:moveTo>
                  <a:pt x="116" y="25"/>
                </a:moveTo>
                <a:lnTo>
                  <a:pt x="116" y="25"/>
                </a:lnTo>
                <a:lnTo>
                  <a:pt x="119" y="25"/>
                </a:lnTo>
                <a:lnTo>
                  <a:pt x="116" y="28"/>
                </a:lnTo>
                <a:lnTo>
                  <a:pt x="116" y="25"/>
                </a:lnTo>
                <a:lnTo>
                  <a:pt x="116" y="25"/>
                </a:lnTo>
                <a:close/>
                <a:moveTo>
                  <a:pt x="110" y="25"/>
                </a:moveTo>
                <a:lnTo>
                  <a:pt x="110" y="25"/>
                </a:lnTo>
                <a:lnTo>
                  <a:pt x="113" y="25"/>
                </a:lnTo>
                <a:lnTo>
                  <a:pt x="113" y="25"/>
                </a:lnTo>
                <a:lnTo>
                  <a:pt x="113" y="28"/>
                </a:lnTo>
                <a:lnTo>
                  <a:pt x="110" y="28"/>
                </a:lnTo>
                <a:lnTo>
                  <a:pt x="110" y="28"/>
                </a:lnTo>
                <a:lnTo>
                  <a:pt x="110" y="25"/>
                </a:lnTo>
                <a:lnTo>
                  <a:pt x="110" y="25"/>
                </a:lnTo>
                <a:close/>
                <a:moveTo>
                  <a:pt x="138" y="104"/>
                </a:moveTo>
                <a:lnTo>
                  <a:pt x="138" y="100"/>
                </a:lnTo>
                <a:lnTo>
                  <a:pt x="138" y="97"/>
                </a:lnTo>
                <a:lnTo>
                  <a:pt x="138" y="97"/>
                </a:lnTo>
                <a:lnTo>
                  <a:pt x="141" y="97"/>
                </a:lnTo>
                <a:lnTo>
                  <a:pt x="141" y="94"/>
                </a:lnTo>
                <a:lnTo>
                  <a:pt x="141" y="97"/>
                </a:lnTo>
                <a:lnTo>
                  <a:pt x="138" y="100"/>
                </a:lnTo>
                <a:lnTo>
                  <a:pt x="138" y="104"/>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8" name="Freeform 156">
            <a:extLst>
              <a:ext uri="{FF2B5EF4-FFF2-40B4-BE49-F238E27FC236}">
                <a16:creationId xmlns:a16="http://schemas.microsoft.com/office/drawing/2014/main" id="{73AFB262-E2F2-F8A6-EEF2-6243BEC4798F}"/>
              </a:ext>
            </a:extLst>
          </p:cNvPr>
          <p:cNvSpPr>
            <a:spLocks/>
          </p:cNvSpPr>
          <p:nvPr userDrawn="1"/>
        </p:nvSpPr>
        <p:spPr bwMode="auto">
          <a:xfrm>
            <a:off x="15045350" y="10041809"/>
            <a:ext cx="644484" cy="1054102"/>
          </a:xfrm>
          <a:custGeom>
            <a:avLst/>
            <a:gdLst>
              <a:gd name="T0" fmla="*/ 34 w 203"/>
              <a:gd name="T1" fmla="*/ 206 h 332"/>
              <a:gd name="T2" fmla="*/ 40 w 203"/>
              <a:gd name="T3" fmla="*/ 194 h 332"/>
              <a:gd name="T4" fmla="*/ 43 w 203"/>
              <a:gd name="T5" fmla="*/ 181 h 332"/>
              <a:gd name="T6" fmla="*/ 43 w 203"/>
              <a:gd name="T7" fmla="*/ 169 h 332"/>
              <a:gd name="T8" fmla="*/ 43 w 203"/>
              <a:gd name="T9" fmla="*/ 156 h 332"/>
              <a:gd name="T10" fmla="*/ 47 w 203"/>
              <a:gd name="T11" fmla="*/ 141 h 332"/>
              <a:gd name="T12" fmla="*/ 50 w 203"/>
              <a:gd name="T13" fmla="*/ 128 h 332"/>
              <a:gd name="T14" fmla="*/ 28 w 203"/>
              <a:gd name="T15" fmla="*/ 119 h 332"/>
              <a:gd name="T16" fmla="*/ 12 w 203"/>
              <a:gd name="T17" fmla="*/ 113 h 332"/>
              <a:gd name="T18" fmla="*/ 0 w 203"/>
              <a:gd name="T19" fmla="*/ 97 h 332"/>
              <a:gd name="T20" fmla="*/ 34 w 203"/>
              <a:gd name="T21" fmla="*/ 78 h 332"/>
              <a:gd name="T22" fmla="*/ 59 w 203"/>
              <a:gd name="T23" fmla="*/ 75 h 332"/>
              <a:gd name="T24" fmla="*/ 68 w 203"/>
              <a:gd name="T25" fmla="*/ 81 h 332"/>
              <a:gd name="T26" fmla="*/ 81 w 203"/>
              <a:gd name="T27" fmla="*/ 88 h 332"/>
              <a:gd name="T28" fmla="*/ 75 w 203"/>
              <a:gd name="T29" fmla="*/ 110 h 332"/>
              <a:gd name="T30" fmla="*/ 87 w 203"/>
              <a:gd name="T31" fmla="*/ 125 h 332"/>
              <a:gd name="T32" fmla="*/ 93 w 203"/>
              <a:gd name="T33" fmla="*/ 135 h 332"/>
              <a:gd name="T34" fmla="*/ 97 w 203"/>
              <a:gd name="T35" fmla="*/ 113 h 332"/>
              <a:gd name="T36" fmla="*/ 103 w 203"/>
              <a:gd name="T37" fmla="*/ 97 h 332"/>
              <a:gd name="T38" fmla="*/ 106 w 203"/>
              <a:gd name="T39" fmla="*/ 91 h 332"/>
              <a:gd name="T40" fmla="*/ 103 w 203"/>
              <a:gd name="T41" fmla="*/ 75 h 332"/>
              <a:gd name="T42" fmla="*/ 87 w 203"/>
              <a:gd name="T43" fmla="*/ 59 h 332"/>
              <a:gd name="T44" fmla="*/ 106 w 203"/>
              <a:gd name="T45" fmla="*/ 19 h 332"/>
              <a:gd name="T46" fmla="*/ 115 w 203"/>
              <a:gd name="T47" fmla="*/ 22 h 332"/>
              <a:gd name="T48" fmla="*/ 128 w 203"/>
              <a:gd name="T49" fmla="*/ 22 h 332"/>
              <a:gd name="T50" fmla="*/ 137 w 203"/>
              <a:gd name="T51" fmla="*/ 22 h 332"/>
              <a:gd name="T52" fmla="*/ 150 w 203"/>
              <a:gd name="T53" fmla="*/ 16 h 332"/>
              <a:gd name="T54" fmla="*/ 162 w 203"/>
              <a:gd name="T55" fmla="*/ 16 h 332"/>
              <a:gd name="T56" fmla="*/ 181 w 203"/>
              <a:gd name="T57" fmla="*/ 13 h 332"/>
              <a:gd name="T58" fmla="*/ 197 w 203"/>
              <a:gd name="T59" fmla="*/ 3 h 332"/>
              <a:gd name="T60" fmla="*/ 203 w 203"/>
              <a:gd name="T61" fmla="*/ 6 h 332"/>
              <a:gd name="T62" fmla="*/ 200 w 203"/>
              <a:gd name="T63" fmla="*/ 19 h 332"/>
              <a:gd name="T64" fmla="*/ 200 w 203"/>
              <a:gd name="T65" fmla="*/ 34 h 332"/>
              <a:gd name="T66" fmla="*/ 200 w 203"/>
              <a:gd name="T67" fmla="*/ 53 h 332"/>
              <a:gd name="T68" fmla="*/ 197 w 203"/>
              <a:gd name="T69" fmla="*/ 72 h 332"/>
              <a:gd name="T70" fmla="*/ 203 w 203"/>
              <a:gd name="T71" fmla="*/ 84 h 332"/>
              <a:gd name="T72" fmla="*/ 197 w 203"/>
              <a:gd name="T73" fmla="*/ 91 h 332"/>
              <a:gd name="T74" fmla="*/ 197 w 203"/>
              <a:gd name="T75" fmla="*/ 97 h 332"/>
              <a:gd name="T76" fmla="*/ 184 w 203"/>
              <a:gd name="T77" fmla="*/ 116 h 332"/>
              <a:gd name="T78" fmla="*/ 165 w 203"/>
              <a:gd name="T79" fmla="*/ 128 h 332"/>
              <a:gd name="T80" fmla="*/ 134 w 203"/>
              <a:gd name="T81" fmla="*/ 144 h 332"/>
              <a:gd name="T82" fmla="*/ 125 w 203"/>
              <a:gd name="T83" fmla="*/ 150 h 332"/>
              <a:gd name="T84" fmla="*/ 112 w 203"/>
              <a:gd name="T85" fmla="*/ 166 h 332"/>
              <a:gd name="T86" fmla="*/ 93 w 203"/>
              <a:gd name="T87" fmla="*/ 178 h 332"/>
              <a:gd name="T88" fmla="*/ 81 w 203"/>
              <a:gd name="T89" fmla="*/ 185 h 332"/>
              <a:gd name="T90" fmla="*/ 78 w 203"/>
              <a:gd name="T91" fmla="*/ 194 h 332"/>
              <a:gd name="T92" fmla="*/ 81 w 203"/>
              <a:gd name="T93" fmla="*/ 213 h 332"/>
              <a:gd name="T94" fmla="*/ 87 w 203"/>
              <a:gd name="T95" fmla="*/ 238 h 332"/>
              <a:gd name="T96" fmla="*/ 90 w 203"/>
              <a:gd name="T97" fmla="*/ 238 h 332"/>
              <a:gd name="T98" fmla="*/ 90 w 203"/>
              <a:gd name="T99" fmla="*/ 250 h 332"/>
              <a:gd name="T100" fmla="*/ 84 w 203"/>
              <a:gd name="T101" fmla="*/ 266 h 332"/>
              <a:gd name="T102" fmla="*/ 87 w 203"/>
              <a:gd name="T103" fmla="*/ 278 h 332"/>
              <a:gd name="T104" fmla="*/ 37 w 203"/>
              <a:gd name="T105" fmla="*/ 303 h 332"/>
              <a:gd name="T106" fmla="*/ 28 w 203"/>
              <a:gd name="T107" fmla="*/ 313 h 332"/>
              <a:gd name="T108" fmla="*/ 34 w 203"/>
              <a:gd name="T109" fmla="*/ 322 h 332"/>
              <a:gd name="T110" fmla="*/ 34 w 203"/>
              <a:gd name="T111" fmla="*/ 329 h 332"/>
              <a:gd name="T112" fmla="*/ 22 w 203"/>
              <a:gd name="T113" fmla="*/ 329 h 332"/>
              <a:gd name="T114" fmla="*/ 18 w 203"/>
              <a:gd name="T115" fmla="*/ 316 h 332"/>
              <a:gd name="T116" fmla="*/ 18 w 203"/>
              <a:gd name="T117" fmla="*/ 297 h 332"/>
              <a:gd name="T118" fmla="*/ 18 w 203"/>
              <a:gd name="T119" fmla="*/ 269 h 332"/>
              <a:gd name="T120" fmla="*/ 12 w 203"/>
              <a:gd name="T121" fmla="*/ 24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3" h="332">
                <a:moveTo>
                  <a:pt x="12" y="244"/>
                </a:moveTo>
                <a:lnTo>
                  <a:pt x="34" y="222"/>
                </a:lnTo>
                <a:lnTo>
                  <a:pt x="34" y="216"/>
                </a:lnTo>
                <a:lnTo>
                  <a:pt x="34" y="213"/>
                </a:lnTo>
                <a:lnTo>
                  <a:pt x="34" y="206"/>
                </a:lnTo>
                <a:lnTo>
                  <a:pt x="37" y="203"/>
                </a:lnTo>
                <a:lnTo>
                  <a:pt x="34" y="200"/>
                </a:lnTo>
                <a:lnTo>
                  <a:pt x="37" y="197"/>
                </a:lnTo>
                <a:lnTo>
                  <a:pt x="37" y="197"/>
                </a:lnTo>
                <a:lnTo>
                  <a:pt x="40" y="194"/>
                </a:lnTo>
                <a:lnTo>
                  <a:pt x="43" y="194"/>
                </a:lnTo>
                <a:lnTo>
                  <a:pt x="47" y="188"/>
                </a:lnTo>
                <a:lnTo>
                  <a:pt x="43" y="185"/>
                </a:lnTo>
                <a:lnTo>
                  <a:pt x="43" y="185"/>
                </a:lnTo>
                <a:lnTo>
                  <a:pt x="43" y="181"/>
                </a:lnTo>
                <a:lnTo>
                  <a:pt x="43" y="178"/>
                </a:lnTo>
                <a:lnTo>
                  <a:pt x="43" y="175"/>
                </a:lnTo>
                <a:lnTo>
                  <a:pt x="40" y="172"/>
                </a:lnTo>
                <a:lnTo>
                  <a:pt x="40" y="169"/>
                </a:lnTo>
                <a:lnTo>
                  <a:pt x="43" y="169"/>
                </a:lnTo>
                <a:lnTo>
                  <a:pt x="43" y="166"/>
                </a:lnTo>
                <a:lnTo>
                  <a:pt x="43" y="163"/>
                </a:lnTo>
                <a:lnTo>
                  <a:pt x="47" y="160"/>
                </a:lnTo>
                <a:lnTo>
                  <a:pt x="47" y="156"/>
                </a:lnTo>
                <a:lnTo>
                  <a:pt x="43" y="156"/>
                </a:lnTo>
                <a:lnTo>
                  <a:pt x="43" y="156"/>
                </a:lnTo>
                <a:lnTo>
                  <a:pt x="47" y="153"/>
                </a:lnTo>
                <a:lnTo>
                  <a:pt x="47" y="147"/>
                </a:lnTo>
                <a:lnTo>
                  <a:pt x="47" y="144"/>
                </a:lnTo>
                <a:lnTo>
                  <a:pt x="47" y="141"/>
                </a:lnTo>
                <a:lnTo>
                  <a:pt x="47" y="138"/>
                </a:lnTo>
                <a:lnTo>
                  <a:pt x="47" y="138"/>
                </a:lnTo>
                <a:lnTo>
                  <a:pt x="47" y="135"/>
                </a:lnTo>
                <a:lnTo>
                  <a:pt x="50" y="131"/>
                </a:lnTo>
                <a:lnTo>
                  <a:pt x="50" y="128"/>
                </a:lnTo>
                <a:lnTo>
                  <a:pt x="43" y="125"/>
                </a:lnTo>
                <a:lnTo>
                  <a:pt x="43" y="125"/>
                </a:lnTo>
                <a:lnTo>
                  <a:pt x="37" y="122"/>
                </a:lnTo>
                <a:lnTo>
                  <a:pt x="31" y="122"/>
                </a:lnTo>
                <a:lnTo>
                  <a:pt x="28" y="119"/>
                </a:lnTo>
                <a:lnTo>
                  <a:pt x="25" y="116"/>
                </a:lnTo>
                <a:lnTo>
                  <a:pt x="18" y="113"/>
                </a:lnTo>
                <a:lnTo>
                  <a:pt x="15" y="110"/>
                </a:lnTo>
                <a:lnTo>
                  <a:pt x="12" y="113"/>
                </a:lnTo>
                <a:lnTo>
                  <a:pt x="12" y="113"/>
                </a:lnTo>
                <a:lnTo>
                  <a:pt x="9" y="113"/>
                </a:lnTo>
                <a:lnTo>
                  <a:pt x="6" y="110"/>
                </a:lnTo>
                <a:lnTo>
                  <a:pt x="0" y="110"/>
                </a:lnTo>
                <a:lnTo>
                  <a:pt x="0" y="100"/>
                </a:lnTo>
                <a:lnTo>
                  <a:pt x="0" y="97"/>
                </a:lnTo>
                <a:lnTo>
                  <a:pt x="0" y="94"/>
                </a:lnTo>
                <a:lnTo>
                  <a:pt x="9" y="88"/>
                </a:lnTo>
                <a:lnTo>
                  <a:pt x="12" y="88"/>
                </a:lnTo>
                <a:lnTo>
                  <a:pt x="31" y="81"/>
                </a:lnTo>
                <a:lnTo>
                  <a:pt x="34" y="78"/>
                </a:lnTo>
                <a:lnTo>
                  <a:pt x="47" y="75"/>
                </a:lnTo>
                <a:lnTo>
                  <a:pt x="53" y="72"/>
                </a:lnTo>
                <a:lnTo>
                  <a:pt x="59" y="72"/>
                </a:lnTo>
                <a:lnTo>
                  <a:pt x="59" y="75"/>
                </a:lnTo>
                <a:lnTo>
                  <a:pt x="59" y="75"/>
                </a:lnTo>
                <a:lnTo>
                  <a:pt x="62" y="78"/>
                </a:lnTo>
                <a:lnTo>
                  <a:pt x="62" y="81"/>
                </a:lnTo>
                <a:lnTo>
                  <a:pt x="65" y="81"/>
                </a:lnTo>
                <a:lnTo>
                  <a:pt x="65" y="81"/>
                </a:lnTo>
                <a:lnTo>
                  <a:pt x="68" y="81"/>
                </a:lnTo>
                <a:lnTo>
                  <a:pt x="72" y="78"/>
                </a:lnTo>
                <a:lnTo>
                  <a:pt x="75" y="78"/>
                </a:lnTo>
                <a:lnTo>
                  <a:pt x="81" y="81"/>
                </a:lnTo>
                <a:lnTo>
                  <a:pt x="81" y="84"/>
                </a:lnTo>
                <a:lnTo>
                  <a:pt x="81" y="88"/>
                </a:lnTo>
                <a:lnTo>
                  <a:pt x="81" y="94"/>
                </a:lnTo>
                <a:lnTo>
                  <a:pt x="78" y="97"/>
                </a:lnTo>
                <a:lnTo>
                  <a:pt x="78" y="103"/>
                </a:lnTo>
                <a:lnTo>
                  <a:pt x="75" y="106"/>
                </a:lnTo>
                <a:lnTo>
                  <a:pt x="75" y="110"/>
                </a:lnTo>
                <a:lnTo>
                  <a:pt x="75" y="113"/>
                </a:lnTo>
                <a:lnTo>
                  <a:pt x="78" y="116"/>
                </a:lnTo>
                <a:lnTo>
                  <a:pt x="81" y="122"/>
                </a:lnTo>
                <a:lnTo>
                  <a:pt x="84" y="125"/>
                </a:lnTo>
                <a:lnTo>
                  <a:pt x="87" y="125"/>
                </a:lnTo>
                <a:lnTo>
                  <a:pt x="87" y="128"/>
                </a:lnTo>
                <a:lnTo>
                  <a:pt x="90" y="131"/>
                </a:lnTo>
                <a:lnTo>
                  <a:pt x="90" y="135"/>
                </a:lnTo>
                <a:lnTo>
                  <a:pt x="90" y="135"/>
                </a:lnTo>
                <a:lnTo>
                  <a:pt x="93" y="135"/>
                </a:lnTo>
                <a:lnTo>
                  <a:pt x="93" y="131"/>
                </a:lnTo>
                <a:lnTo>
                  <a:pt x="93" y="125"/>
                </a:lnTo>
                <a:lnTo>
                  <a:pt x="97" y="122"/>
                </a:lnTo>
                <a:lnTo>
                  <a:pt x="97" y="119"/>
                </a:lnTo>
                <a:lnTo>
                  <a:pt x="97" y="113"/>
                </a:lnTo>
                <a:lnTo>
                  <a:pt x="103" y="113"/>
                </a:lnTo>
                <a:lnTo>
                  <a:pt x="106" y="110"/>
                </a:lnTo>
                <a:lnTo>
                  <a:pt x="106" y="106"/>
                </a:lnTo>
                <a:lnTo>
                  <a:pt x="106" y="100"/>
                </a:lnTo>
                <a:lnTo>
                  <a:pt x="103" y="97"/>
                </a:lnTo>
                <a:lnTo>
                  <a:pt x="106" y="97"/>
                </a:lnTo>
                <a:lnTo>
                  <a:pt x="103" y="94"/>
                </a:lnTo>
                <a:lnTo>
                  <a:pt x="103" y="94"/>
                </a:lnTo>
                <a:lnTo>
                  <a:pt x="106" y="94"/>
                </a:lnTo>
                <a:lnTo>
                  <a:pt x="106" y="91"/>
                </a:lnTo>
                <a:lnTo>
                  <a:pt x="109" y="91"/>
                </a:lnTo>
                <a:lnTo>
                  <a:pt x="109" y="88"/>
                </a:lnTo>
                <a:lnTo>
                  <a:pt x="109" y="84"/>
                </a:lnTo>
                <a:lnTo>
                  <a:pt x="106" y="81"/>
                </a:lnTo>
                <a:lnTo>
                  <a:pt x="103" y="75"/>
                </a:lnTo>
                <a:lnTo>
                  <a:pt x="100" y="72"/>
                </a:lnTo>
                <a:lnTo>
                  <a:pt x="93" y="66"/>
                </a:lnTo>
                <a:lnTo>
                  <a:pt x="93" y="66"/>
                </a:lnTo>
                <a:lnTo>
                  <a:pt x="90" y="63"/>
                </a:lnTo>
                <a:lnTo>
                  <a:pt x="87" y="59"/>
                </a:lnTo>
                <a:lnTo>
                  <a:pt x="81" y="56"/>
                </a:lnTo>
                <a:lnTo>
                  <a:pt x="78" y="38"/>
                </a:lnTo>
                <a:lnTo>
                  <a:pt x="84" y="22"/>
                </a:lnTo>
                <a:lnTo>
                  <a:pt x="103" y="22"/>
                </a:lnTo>
                <a:lnTo>
                  <a:pt x="106" y="19"/>
                </a:lnTo>
                <a:lnTo>
                  <a:pt x="106" y="19"/>
                </a:lnTo>
                <a:lnTo>
                  <a:pt x="109" y="19"/>
                </a:lnTo>
                <a:lnTo>
                  <a:pt x="109" y="19"/>
                </a:lnTo>
                <a:lnTo>
                  <a:pt x="112" y="19"/>
                </a:lnTo>
                <a:lnTo>
                  <a:pt x="115" y="22"/>
                </a:lnTo>
                <a:lnTo>
                  <a:pt x="115" y="22"/>
                </a:lnTo>
                <a:lnTo>
                  <a:pt x="119" y="25"/>
                </a:lnTo>
                <a:lnTo>
                  <a:pt x="119" y="25"/>
                </a:lnTo>
                <a:lnTo>
                  <a:pt x="125" y="25"/>
                </a:lnTo>
                <a:lnTo>
                  <a:pt x="128" y="22"/>
                </a:lnTo>
                <a:lnTo>
                  <a:pt x="131" y="22"/>
                </a:lnTo>
                <a:lnTo>
                  <a:pt x="131" y="19"/>
                </a:lnTo>
                <a:lnTo>
                  <a:pt x="134" y="22"/>
                </a:lnTo>
                <a:lnTo>
                  <a:pt x="134" y="22"/>
                </a:lnTo>
                <a:lnTo>
                  <a:pt x="137" y="22"/>
                </a:lnTo>
                <a:lnTo>
                  <a:pt x="140" y="22"/>
                </a:lnTo>
                <a:lnTo>
                  <a:pt x="144" y="22"/>
                </a:lnTo>
                <a:lnTo>
                  <a:pt x="150" y="22"/>
                </a:lnTo>
                <a:lnTo>
                  <a:pt x="150" y="19"/>
                </a:lnTo>
                <a:lnTo>
                  <a:pt x="150" y="16"/>
                </a:lnTo>
                <a:lnTo>
                  <a:pt x="150" y="16"/>
                </a:lnTo>
                <a:lnTo>
                  <a:pt x="153" y="16"/>
                </a:lnTo>
                <a:lnTo>
                  <a:pt x="156" y="16"/>
                </a:lnTo>
                <a:lnTo>
                  <a:pt x="159" y="19"/>
                </a:lnTo>
                <a:lnTo>
                  <a:pt x="162" y="16"/>
                </a:lnTo>
                <a:lnTo>
                  <a:pt x="165" y="16"/>
                </a:lnTo>
                <a:lnTo>
                  <a:pt x="172" y="13"/>
                </a:lnTo>
                <a:lnTo>
                  <a:pt x="175" y="16"/>
                </a:lnTo>
                <a:lnTo>
                  <a:pt x="178" y="13"/>
                </a:lnTo>
                <a:lnTo>
                  <a:pt x="181" y="13"/>
                </a:lnTo>
                <a:lnTo>
                  <a:pt x="184" y="13"/>
                </a:lnTo>
                <a:lnTo>
                  <a:pt x="187" y="9"/>
                </a:lnTo>
                <a:lnTo>
                  <a:pt x="190" y="6"/>
                </a:lnTo>
                <a:lnTo>
                  <a:pt x="194" y="6"/>
                </a:lnTo>
                <a:lnTo>
                  <a:pt x="197" y="3"/>
                </a:lnTo>
                <a:lnTo>
                  <a:pt x="200" y="3"/>
                </a:lnTo>
                <a:lnTo>
                  <a:pt x="203" y="0"/>
                </a:lnTo>
                <a:lnTo>
                  <a:pt x="203" y="0"/>
                </a:lnTo>
                <a:lnTo>
                  <a:pt x="203" y="3"/>
                </a:lnTo>
                <a:lnTo>
                  <a:pt x="203" y="6"/>
                </a:lnTo>
                <a:lnTo>
                  <a:pt x="203" y="9"/>
                </a:lnTo>
                <a:lnTo>
                  <a:pt x="203" y="9"/>
                </a:lnTo>
                <a:lnTo>
                  <a:pt x="200" y="16"/>
                </a:lnTo>
                <a:lnTo>
                  <a:pt x="200" y="19"/>
                </a:lnTo>
                <a:lnTo>
                  <a:pt x="200" y="19"/>
                </a:lnTo>
                <a:lnTo>
                  <a:pt x="200" y="19"/>
                </a:lnTo>
                <a:lnTo>
                  <a:pt x="197" y="22"/>
                </a:lnTo>
                <a:lnTo>
                  <a:pt x="200" y="28"/>
                </a:lnTo>
                <a:lnTo>
                  <a:pt x="200" y="31"/>
                </a:lnTo>
                <a:lnTo>
                  <a:pt x="200" y="34"/>
                </a:lnTo>
                <a:lnTo>
                  <a:pt x="200" y="38"/>
                </a:lnTo>
                <a:lnTo>
                  <a:pt x="200" y="41"/>
                </a:lnTo>
                <a:lnTo>
                  <a:pt x="203" y="44"/>
                </a:lnTo>
                <a:lnTo>
                  <a:pt x="200" y="47"/>
                </a:lnTo>
                <a:lnTo>
                  <a:pt x="200" y="53"/>
                </a:lnTo>
                <a:lnTo>
                  <a:pt x="200" y="63"/>
                </a:lnTo>
                <a:lnTo>
                  <a:pt x="197" y="63"/>
                </a:lnTo>
                <a:lnTo>
                  <a:pt x="200" y="63"/>
                </a:lnTo>
                <a:lnTo>
                  <a:pt x="200" y="72"/>
                </a:lnTo>
                <a:lnTo>
                  <a:pt x="197" y="72"/>
                </a:lnTo>
                <a:lnTo>
                  <a:pt x="197" y="75"/>
                </a:lnTo>
                <a:lnTo>
                  <a:pt x="197" y="75"/>
                </a:lnTo>
                <a:lnTo>
                  <a:pt x="200" y="75"/>
                </a:lnTo>
                <a:lnTo>
                  <a:pt x="203" y="75"/>
                </a:lnTo>
                <a:lnTo>
                  <a:pt x="203" y="84"/>
                </a:lnTo>
                <a:lnTo>
                  <a:pt x="200" y="88"/>
                </a:lnTo>
                <a:lnTo>
                  <a:pt x="200" y="88"/>
                </a:lnTo>
                <a:lnTo>
                  <a:pt x="200" y="91"/>
                </a:lnTo>
                <a:lnTo>
                  <a:pt x="200" y="91"/>
                </a:lnTo>
                <a:lnTo>
                  <a:pt x="197" y="91"/>
                </a:lnTo>
                <a:lnTo>
                  <a:pt x="194" y="94"/>
                </a:lnTo>
                <a:lnTo>
                  <a:pt x="194" y="97"/>
                </a:lnTo>
                <a:lnTo>
                  <a:pt x="197" y="94"/>
                </a:lnTo>
                <a:lnTo>
                  <a:pt x="197" y="94"/>
                </a:lnTo>
                <a:lnTo>
                  <a:pt x="197" y="97"/>
                </a:lnTo>
                <a:lnTo>
                  <a:pt x="197" y="103"/>
                </a:lnTo>
                <a:lnTo>
                  <a:pt x="194" y="103"/>
                </a:lnTo>
                <a:lnTo>
                  <a:pt x="190" y="106"/>
                </a:lnTo>
                <a:lnTo>
                  <a:pt x="190" y="110"/>
                </a:lnTo>
                <a:lnTo>
                  <a:pt x="184" y="116"/>
                </a:lnTo>
                <a:lnTo>
                  <a:pt x="181" y="116"/>
                </a:lnTo>
                <a:lnTo>
                  <a:pt x="181" y="119"/>
                </a:lnTo>
                <a:lnTo>
                  <a:pt x="169" y="128"/>
                </a:lnTo>
                <a:lnTo>
                  <a:pt x="169" y="128"/>
                </a:lnTo>
                <a:lnTo>
                  <a:pt x="165" y="128"/>
                </a:lnTo>
                <a:lnTo>
                  <a:pt x="153" y="138"/>
                </a:lnTo>
                <a:lnTo>
                  <a:pt x="150" y="135"/>
                </a:lnTo>
                <a:lnTo>
                  <a:pt x="150" y="138"/>
                </a:lnTo>
                <a:lnTo>
                  <a:pt x="144" y="141"/>
                </a:lnTo>
                <a:lnTo>
                  <a:pt x="134" y="144"/>
                </a:lnTo>
                <a:lnTo>
                  <a:pt x="134" y="144"/>
                </a:lnTo>
                <a:lnTo>
                  <a:pt x="134" y="147"/>
                </a:lnTo>
                <a:lnTo>
                  <a:pt x="128" y="150"/>
                </a:lnTo>
                <a:lnTo>
                  <a:pt x="125" y="153"/>
                </a:lnTo>
                <a:lnTo>
                  <a:pt x="125" y="150"/>
                </a:lnTo>
                <a:lnTo>
                  <a:pt x="125" y="153"/>
                </a:lnTo>
                <a:lnTo>
                  <a:pt x="122" y="156"/>
                </a:lnTo>
                <a:lnTo>
                  <a:pt x="122" y="160"/>
                </a:lnTo>
                <a:lnTo>
                  <a:pt x="112" y="163"/>
                </a:lnTo>
                <a:lnTo>
                  <a:pt x="112" y="166"/>
                </a:lnTo>
                <a:lnTo>
                  <a:pt x="109" y="166"/>
                </a:lnTo>
                <a:lnTo>
                  <a:pt x="109" y="166"/>
                </a:lnTo>
                <a:lnTo>
                  <a:pt x="109" y="169"/>
                </a:lnTo>
                <a:lnTo>
                  <a:pt x="103" y="169"/>
                </a:lnTo>
                <a:lnTo>
                  <a:pt x="93" y="178"/>
                </a:lnTo>
                <a:lnTo>
                  <a:pt x="93" y="181"/>
                </a:lnTo>
                <a:lnTo>
                  <a:pt x="90" y="185"/>
                </a:lnTo>
                <a:lnTo>
                  <a:pt x="87" y="185"/>
                </a:lnTo>
                <a:lnTo>
                  <a:pt x="84" y="188"/>
                </a:lnTo>
                <a:lnTo>
                  <a:pt x="81" y="185"/>
                </a:lnTo>
                <a:lnTo>
                  <a:pt x="78" y="185"/>
                </a:lnTo>
                <a:lnTo>
                  <a:pt x="78" y="188"/>
                </a:lnTo>
                <a:lnTo>
                  <a:pt x="81" y="188"/>
                </a:lnTo>
                <a:lnTo>
                  <a:pt x="81" y="191"/>
                </a:lnTo>
                <a:lnTo>
                  <a:pt x="78" y="194"/>
                </a:lnTo>
                <a:lnTo>
                  <a:pt x="78" y="197"/>
                </a:lnTo>
                <a:lnTo>
                  <a:pt x="78" y="200"/>
                </a:lnTo>
                <a:lnTo>
                  <a:pt x="84" y="206"/>
                </a:lnTo>
                <a:lnTo>
                  <a:pt x="84" y="210"/>
                </a:lnTo>
                <a:lnTo>
                  <a:pt x="81" y="213"/>
                </a:lnTo>
                <a:lnTo>
                  <a:pt x="81" y="213"/>
                </a:lnTo>
                <a:lnTo>
                  <a:pt x="84" y="216"/>
                </a:lnTo>
                <a:lnTo>
                  <a:pt x="84" y="222"/>
                </a:lnTo>
                <a:lnTo>
                  <a:pt x="87" y="225"/>
                </a:lnTo>
                <a:lnTo>
                  <a:pt x="87" y="238"/>
                </a:lnTo>
                <a:lnTo>
                  <a:pt x="87" y="241"/>
                </a:lnTo>
                <a:lnTo>
                  <a:pt x="87" y="241"/>
                </a:lnTo>
                <a:lnTo>
                  <a:pt x="87" y="238"/>
                </a:lnTo>
                <a:lnTo>
                  <a:pt x="90" y="235"/>
                </a:lnTo>
                <a:lnTo>
                  <a:pt x="90" y="238"/>
                </a:lnTo>
                <a:lnTo>
                  <a:pt x="93" y="238"/>
                </a:lnTo>
                <a:lnTo>
                  <a:pt x="90" y="244"/>
                </a:lnTo>
                <a:lnTo>
                  <a:pt x="90" y="244"/>
                </a:lnTo>
                <a:lnTo>
                  <a:pt x="90" y="250"/>
                </a:lnTo>
                <a:lnTo>
                  <a:pt x="90" y="250"/>
                </a:lnTo>
                <a:lnTo>
                  <a:pt x="87" y="257"/>
                </a:lnTo>
                <a:lnTo>
                  <a:pt x="87" y="260"/>
                </a:lnTo>
                <a:lnTo>
                  <a:pt x="87" y="263"/>
                </a:lnTo>
                <a:lnTo>
                  <a:pt x="87" y="266"/>
                </a:lnTo>
                <a:lnTo>
                  <a:pt x="84" y="266"/>
                </a:lnTo>
                <a:lnTo>
                  <a:pt x="87" y="269"/>
                </a:lnTo>
                <a:lnTo>
                  <a:pt x="90" y="269"/>
                </a:lnTo>
                <a:lnTo>
                  <a:pt x="90" y="269"/>
                </a:lnTo>
                <a:lnTo>
                  <a:pt x="87" y="275"/>
                </a:lnTo>
                <a:lnTo>
                  <a:pt x="87" y="278"/>
                </a:lnTo>
                <a:lnTo>
                  <a:pt x="78" y="288"/>
                </a:lnTo>
                <a:lnTo>
                  <a:pt x="65" y="294"/>
                </a:lnTo>
                <a:lnTo>
                  <a:pt x="50" y="297"/>
                </a:lnTo>
                <a:lnTo>
                  <a:pt x="43" y="303"/>
                </a:lnTo>
                <a:lnTo>
                  <a:pt x="37" y="303"/>
                </a:lnTo>
                <a:lnTo>
                  <a:pt x="37" y="307"/>
                </a:lnTo>
                <a:lnTo>
                  <a:pt x="34" y="307"/>
                </a:lnTo>
                <a:lnTo>
                  <a:pt x="31" y="313"/>
                </a:lnTo>
                <a:lnTo>
                  <a:pt x="31" y="313"/>
                </a:lnTo>
                <a:lnTo>
                  <a:pt x="28" y="313"/>
                </a:lnTo>
                <a:lnTo>
                  <a:pt x="28" y="316"/>
                </a:lnTo>
                <a:lnTo>
                  <a:pt x="31" y="319"/>
                </a:lnTo>
                <a:lnTo>
                  <a:pt x="31" y="322"/>
                </a:lnTo>
                <a:lnTo>
                  <a:pt x="31" y="319"/>
                </a:lnTo>
                <a:lnTo>
                  <a:pt x="34" y="322"/>
                </a:lnTo>
                <a:lnTo>
                  <a:pt x="37" y="316"/>
                </a:lnTo>
                <a:lnTo>
                  <a:pt x="37" y="316"/>
                </a:lnTo>
                <a:lnTo>
                  <a:pt x="37" y="319"/>
                </a:lnTo>
                <a:lnTo>
                  <a:pt x="37" y="325"/>
                </a:lnTo>
                <a:lnTo>
                  <a:pt x="34" y="329"/>
                </a:lnTo>
                <a:lnTo>
                  <a:pt x="34" y="332"/>
                </a:lnTo>
                <a:lnTo>
                  <a:pt x="31" y="332"/>
                </a:lnTo>
                <a:lnTo>
                  <a:pt x="25" y="329"/>
                </a:lnTo>
                <a:lnTo>
                  <a:pt x="22" y="329"/>
                </a:lnTo>
                <a:lnTo>
                  <a:pt x="22" y="329"/>
                </a:lnTo>
                <a:lnTo>
                  <a:pt x="22" y="325"/>
                </a:lnTo>
                <a:lnTo>
                  <a:pt x="22" y="322"/>
                </a:lnTo>
                <a:lnTo>
                  <a:pt x="25" y="322"/>
                </a:lnTo>
                <a:lnTo>
                  <a:pt x="22" y="319"/>
                </a:lnTo>
                <a:lnTo>
                  <a:pt x="18" y="316"/>
                </a:lnTo>
                <a:lnTo>
                  <a:pt x="18" y="316"/>
                </a:lnTo>
                <a:lnTo>
                  <a:pt x="18" y="316"/>
                </a:lnTo>
                <a:lnTo>
                  <a:pt x="18" y="307"/>
                </a:lnTo>
                <a:lnTo>
                  <a:pt x="18" y="303"/>
                </a:lnTo>
                <a:lnTo>
                  <a:pt x="18" y="297"/>
                </a:lnTo>
                <a:lnTo>
                  <a:pt x="18" y="282"/>
                </a:lnTo>
                <a:lnTo>
                  <a:pt x="18" y="275"/>
                </a:lnTo>
                <a:lnTo>
                  <a:pt x="15" y="272"/>
                </a:lnTo>
                <a:lnTo>
                  <a:pt x="15" y="269"/>
                </a:lnTo>
                <a:lnTo>
                  <a:pt x="18" y="269"/>
                </a:lnTo>
                <a:lnTo>
                  <a:pt x="18" y="260"/>
                </a:lnTo>
                <a:lnTo>
                  <a:pt x="15" y="253"/>
                </a:lnTo>
                <a:lnTo>
                  <a:pt x="12" y="247"/>
                </a:lnTo>
                <a:lnTo>
                  <a:pt x="12" y="244"/>
                </a:lnTo>
                <a:lnTo>
                  <a:pt x="12" y="244"/>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9" name="Freeform 157">
            <a:extLst>
              <a:ext uri="{FF2B5EF4-FFF2-40B4-BE49-F238E27FC236}">
                <a16:creationId xmlns:a16="http://schemas.microsoft.com/office/drawing/2014/main" id="{52C8BAFF-ABC4-6E30-EECF-786EC218382B}"/>
              </a:ext>
            </a:extLst>
          </p:cNvPr>
          <p:cNvSpPr>
            <a:spLocks/>
          </p:cNvSpPr>
          <p:nvPr userDrawn="1"/>
        </p:nvSpPr>
        <p:spPr bwMode="auto">
          <a:xfrm>
            <a:off x="15035816" y="11016535"/>
            <a:ext cx="88896" cy="98426"/>
          </a:xfrm>
          <a:custGeom>
            <a:avLst/>
            <a:gdLst>
              <a:gd name="T0" fmla="*/ 21 w 28"/>
              <a:gd name="T1" fmla="*/ 9 h 31"/>
              <a:gd name="T2" fmla="*/ 21 w 28"/>
              <a:gd name="T3" fmla="*/ 9 h 31"/>
              <a:gd name="T4" fmla="*/ 21 w 28"/>
              <a:gd name="T5" fmla="*/ 9 h 31"/>
              <a:gd name="T6" fmla="*/ 25 w 28"/>
              <a:gd name="T7" fmla="*/ 12 h 31"/>
              <a:gd name="T8" fmla="*/ 28 w 28"/>
              <a:gd name="T9" fmla="*/ 15 h 31"/>
              <a:gd name="T10" fmla="*/ 25 w 28"/>
              <a:gd name="T11" fmla="*/ 15 h 31"/>
              <a:gd name="T12" fmla="*/ 25 w 28"/>
              <a:gd name="T13" fmla="*/ 18 h 31"/>
              <a:gd name="T14" fmla="*/ 25 w 28"/>
              <a:gd name="T15" fmla="*/ 22 h 31"/>
              <a:gd name="T16" fmla="*/ 25 w 28"/>
              <a:gd name="T17" fmla="*/ 22 h 31"/>
              <a:gd name="T18" fmla="*/ 25 w 28"/>
              <a:gd name="T19" fmla="*/ 25 h 31"/>
              <a:gd name="T20" fmla="*/ 21 w 28"/>
              <a:gd name="T21" fmla="*/ 25 h 31"/>
              <a:gd name="T22" fmla="*/ 21 w 28"/>
              <a:gd name="T23" fmla="*/ 28 h 31"/>
              <a:gd name="T24" fmla="*/ 21 w 28"/>
              <a:gd name="T25" fmla="*/ 31 h 31"/>
              <a:gd name="T26" fmla="*/ 18 w 28"/>
              <a:gd name="T27" fmla="*/ 31 h 31"/>
              <a:gd name="T28" fmla="*/ 9 w 28"/>
              <a:gd name="T29" fmla="*/ 31 h 31"/>
              <a:gd name="T30" fmla="*/ 3 w 28"/>
              <a:gd name="T31" fmla="*/ 28 h 31"/>
              <a:gd name="T32" fmla="*/ 3 w 28"/>
              <a:gd name="T33" fmla="*/ 25 h 31"/>
              <a:gd name="T34" fmla="*/ 0 w 28"/>
              <a:gd name="T35" fmla="*/ 22 h 31"/>
              <a:gd name="T36" fmla="*/ 0 w 28"/>
              <a:gd name="T37" fmla="*/ 18 h 31"/>
              <a:gd name="T38" fmla="*/ 0 w 28"/>
              <a:gd name="T39" fmla="*/ 15 h 31"/>
              <a:gd name="T40" fmla="*/ 6 w 28"/>
              <a:gd name="T41" fmla="*/ 6 h 31"/>
              <a:gd name="T42" fmla="*/ 6 w 28"/>
              <a:gd name="T43" fmla="*/ 3 h 31"/>
              <a:gd name="T44" fmla="*/ 9 w 28"/>
              <a:gd name="T45" fmla="*/ 0 h 31"/>
              <a:gd name="T46" fmla="*/ 15 w 28"/>
              <a:gd name="T47" fmla="*/ 3 h 31"/>
              <a:gd name="T48" fmla="*/ 18 w 28"/>
              <a:gd name="T49" fmla="*/ 6 h 31"/>
              <a:gd name="T50" fmla="*/ 21 w 28"/>
              <a:gd name="T51" fmla="*/ 9 h 31"/>
              <a:gd name="T52" fmla="*/ 21 w 28"/>
              <a:gd name="T53"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31">
                <a:moveTo>
                  <a:pt x="21" y="9"/>
                </a:moveTo>
                <a:lnTo>
                  <a:pt x="21" y="9"/>
                </a:lnTo>
                <a:lnTo>
                  <a:pt x="21" y="9"/>
                </a:lnTo>
                <a:lnTo>
                  <a:pt x="25" y="12"/>
                </a:lnTo>
                <a:lnTo>
                  <a:pt x="28" y="15"/>
                </a:lnTo>
                <a:lnTo>
                  <a:pt x="25" y="15"/>
                </a:lnTo>
                <a:lnTo>
                  <a:pt x="25" y="18"/>
                </a:lnTo>
                <a:lnTo>
                  <a:pt x="25" y="22"/>
                </a:lnTo>
                <a:lnTo>
                  <a:pt x="25" y="22"/>
                </a:lnTo>
                <a:lnTo>
                  <a:pt x="25" y="25"/>
                </a:lnTo>
                <a:lnTo>
                  <a:pt x="21" y="25"/>
                </a:lnTo>
                <a:lnTo>
                  <a:pt x="21" y="28"/>
                </a:lnTo>
                <a:lnTo>
                  <a:pt x="21" y="31"/>
                </a:lnTo>
                <a:lnTo>
                  <a:pt x="18" y="31"/>
                </a:lnTo>
                <a:lnTo>
                  <a:pt x="9" y="31"/>
                </a:lnTo>
                <a:lnTo>
                  <a:pt x="3" y="28"/>
                </a:lnTo>
                <a:lnTo>
                  <a:pt x="3" y="25"/>
                </a:lnTo>
                <a:lnTo>
                  <a:pt x="0" y="22"/>
                </a:lnTo>
                <a:lnTo>
                  <a:pt x="0" y="18"/>
                </a:lnTo>
                <a:lnTo>
                  <a:pt x="0" y="15"/>
                </a:lnTo>
                <a:lnTo>
                  <a:pt x="6" y="6"/>
                </a:lnTo>
                <a:lnTo>
                  <a:pt x="6" y="3"/>
                </a:lnTo>
                <a:lnTo>
                  <a:pt x="9" y="0"/>
                </a:lnTo>
                <a:lnTo>
                  <a:pt x="15" y="3"/>
                </a:lnTo>
                <a:lnTo>
                  <a:pt x="18" y="6"/>
                </a:lnTo>
                <a:lnTo>
                  <a:pt x="21" y="9"/>
                </a:lnTo>
                <a:lnTo>
                  <a:pt x="21" y="9"/>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0" name="Freeform 158">
            <a:extLst>
              <a:ext uri="{FF2B5EF4-FFF2-40B4-BE49-F238E27FC236}">
                <a16:creationId xmlns:a16="http://schemas.microsoft.com/office/drawing/2014/main" id="{25217F5F-8652-3689-97A5-45743312DDE6}"/>
              </a:ext>
            </a:extLst>
          </p:cNvPr>
          <p:cNvSpPr>
            <a:spLocks noEditPoints="1"/>
          </p:cNvSpPr>
          <p:nvPr userDrawn="1"/>
        </p:nvSpPr>
        <p:spPr bwMode="auto">
          <a:xfrm>
            <a:off x="14140533" y="10787930"/>
            <a:ext cx="1012760" cy="863600"/>
          </a:xfrm>
          <a:custGeom>
            <a:avLst/>
            <a:gdLst>
              <a:gd name="T0" fmla="*/ 7 w 319"/>
              <a:gd name="T1" fmla="*/ 128 h 272"/>
              <a:gd name="T2" fmla="*/ 19 w 319"/>
              <a:gd name="T3" fmla="*/ 131 h 272"/>
              <a:gd name="T4" fmla="*/ 38 w 319"/>
              <a:gd name="T5" fmla="*/ 140 h 272"/>
              <a:gd name="T6" fmla="*/ 50 w 319"/>
              <a:gd name="T7" fmla="*/ 140 h 272"/>
              <a:gd name="T8" fmla="*/ 57 w 319"/>
              <a:gd name="T9" fmla="*/ 131 h 272"/>
              <a:gd name="T10" fmla="*/ 82 w 319"/>
              <a:gd name="T11" fmla="*/ 62 h 272"/>
              <a:gd name="T12" fmla="*/ 85 w 319"/>
              <a:gd name="T13" fmla="*/ 94 h 272"/>
              <a:gd name="T14" fmla="*/ 107 w 319"/>
              <a:gd name="T15" fmla="*/ 94 h 272"/>
              <a:gd name="T16" fmla="*/ 125 w 319"/>
              <a:gd name="T17" fmla="*/ 81 h 272"/>
              <a:gd name="T18" fmla="*/ 147 w 319"/>
              <a:gd name="T19" fmla="*/ 68 h 272"/>
              <a:gd name="T20" fmla="*/ 166 w 319"/>
              <a:gd name="T21" fmla="*/ 75 h 272"/>
              <a:gd name="T22" fmla="*/ 182 w 319"/>
              <a:gd name="T23" fmla="*/ 75 h 272"/>
              <a:gd name="T24" fmla="*/ 185 w 319"/>
              <a:gd name="T25" fmla="*/ 59 h 272"/>
              <a:gd name="T26" fmla="*/ 197 w 319"/>
              <a:gd name="T27" fmla="*/ 50 h 272"/>
              <a:gd name="T28" fmla="*/ 207 w 319"/>
              <a:gd name="T29" fmla="*/ 43 h 272"/>
              <a:gd name="T30" fmla="*/ 213 w 319"/>
              <a:gd name="T31" fmla="*/ 25 h 272"/>
              <a:gd name="T32" fmla="*/ 222 w 319"/>
              <a:gd name="T33" fmla="*/ 18 h 272"/>
              <a:gd name="T34" fmla="*/ 238 w 319"/>
              <a:gd name="T35" fmla="*/ 12 h 272"/>
              <a:gd name="T36" fmla="*/ 247 w 319"/>
              <a:gd name="T37" fmla="*/ 6 h 272"/>
              <a:gd name="T38" fmla="*/ 263 w 319"/>
              <a:gd name="T39" fmla="*/ 0 h 272"/>
              <a:gd name="T40" fmla="*/ 278 w 319"/>
              <a:gd name="T41" fmla="*/ 6 h 272"/>
              <a:gd name="T42" fmla="*/ 297 w 319"/>
              <a:gd name="T43" fmla="*/ 12 h 272"/>
              <a:gd name="T44" fmla="*/ 300 w 319"/>
              <a:gd name="T45" fmla="*/ 37 h 272"/>
              <a:gd name="T46" fmla="*/ 303 w 319"/>
              <a:gd name="T47" fmla="*/ 72 h 272"/>
              <a:gd name="T48" fmla="*/ 288 w 319"/>
              <a:gd name="T49" fmla="*/ 75 h 272"/>
              <a:gd name="T50" fmla="*/ 285 w 319"/>
              <a:gd name="T51" fmla="*/ 97 h 272"/>
              <a:gd name="T52" fmla="*/ 303 w 319"/>
              <a:gd name="T53" fmla="*/ 100 h 272"/>
              <a:gd name="T54" fmla="*/ 319 w 319"/>
              <a:gd name="T55" fmla="*/ 97 h 272"/>
              <a:gd name="T56" fmla="*/ 316 w 319"/>
              <a:gd name="T57" fmla="*/ 112 h 272"/>
              <a:gd name="T58" fmla="*/ 300 w 319"/>
              <a:gd name="T59" fmla="*/ 140 h 272"/>
              <a:gd name="T60" fmla="*/ 288 w 319"/>
              <a:gd name="T61" fmla="*/ 150 h 272"/>
              <a:gd name="T62" fmla="*/ 275 w 319"/>
              <a:gd name="T63" fmla="*/ 165 h 272"/>
              <a:gd name="T64" fmla="*/ 253 w 319"/>
              <a:gd name="T65" fmla="*/ 197 h 272"/>
              <a:gd name="T66" fmla="*/ 225 w 319"/>
              <a:gd name="T67" fmla="*/ 225 h 272"/>
              <a:gd name="T68" fmla="*/ 200 w 319"/>
              <a:gd name="T69" fmla="*/ 241 h 272"/>
              <a:gd name="T70" fmla="*/ 182 w 319"/>
              <a:gd name="T71" fmla="*/ 247 h 272"/>
              <a:gd name="T72" fmla="*/ 172 w 319"/>
              <a:gd name="T73" fmla="*/ 256 h 272"/>
              <a:gd name="T74" fmla="*/ 157 w 319"/>
              <a:gd name="T75" fmla="*/ 259 h 272"/>
              <a:gd name="T76" fmla="*/ 128 w 319"/>
              <a:gd name="T77" fmla="*/ 253 h 272"/>
              <a:gd name="T78" fmla="*/ 107 w 319"/>
              <a:gd name="T79" fmla="*/ 256 h 272"/>
              <a:gd name="T80" fmla="*/ 97 w 319"/>
              <a:gd name="T81" fmla="*/ 262 h 272"/>
              <a:gd name="T82" fmla="*/ 78 w 319"/>
              <a:gd name="T83" fmla="*/ 262 h 272"/>
              <a:gd name="T84" fmla="*/ 63 w 319"/>
              <a:gd name="T85" fmla="*/ 269 h 272"/>
              <a:gd name="T86" fmla="*/ 44 w 319"/>
              <a:gd name="T87" fmla="*/ 259 h 272"/>
              <a:gd name="T88" fmla="*/ 35 w 319"/>
              <a:gd name="T89" fmla="*/ 256 h 272"/>
              <a:gd name="T90" fmla="*/ 32 w 319"/>
              <a:gd name="T91" fmla="*/ 253 h 272"/>
              <a:gd name="T92" fmla="*/ 22 w 319"/>
              <a:gd name="T93" fmla="*/ 228 h 272"/>
              <a:gd name="T94" fmla="*/ 32 w 319"/>
              <a:gd name="T95" fmla="*/ 222 h 272"/>
              <a:gd name="T96" fmla="*/ 25 w 319"/>
              <a:gd name="T97" fmla="*/ 190 h 272"/>
              <a:gd name="T98" fmla="*/ 10 w 319"/>
              <a:gd name="T99" fmla="*/ 144 h 272"/>
              <a:gd name="T100" fmla="*/ 210 w 319"/>
              <a:gd name="T101" fmla="*/ 172 h 272"/>
              <a:gd name="T102" fmla="*/ 225 w 319"/>
              <a:gd name="T103" fmla="*/ 178 h 272"/>
              <a:gd name="T104" fmla="*/ 238 w 319"/>
              <a:gd name="T105" fmla="*/ 165 h 272"/>
              <a:gd name="T106" fmla="*/ 241 w 319"/>
              <a:gd name="T107" fmla="*/ 159 h 272"/>
              <a:gd name="T108" fmla="*/ 241 w 319"/>
              <a:gd name="T109" fmla="*/ 137 h 272"/>
              <a:gd name="T110" fmla="*/ 228 w 319"/>
              <a:gd name="T111" fmla="*/ 137 h 272"/>
              <a:gd name="T112" fmla="*/ 213 w 319"/>
              <a:gd name="T113" fmla="*/ 147 h 272"/>
              <a:gd name="T114" fmla="*/ 207 w 319"/>
              <a:gd name="T115" fmla="*/ 16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9" h="272">
                <a:moveTo>
                  <a:pt x="0" y="134"/>
                </a:moveTo>
                <a:lnTo>
                  <a:pt x="3" y="131"/>
                </a:lnTo>
                <a:lnTo>
                  <a:pt x="10" y="131"/>
                </a:lnTo>
                <a:lnTo>
                  <a:pt x="10" y="128"/>
                </a:lnTo>
                <a:lnTo>
                  <a:pt x="7" y="128"/>
                </a:lnTo>
                <a:lnTo>
                  <a:pt x="10" y="125"/>
                </a:lnTo>
                <a:lnTo>
                  <a:pt x="13" y="122"/>
                </a:lnTo>
                <a:lnTo>
                  <a:pt x="16" y="125"/>
                </a:lnTo>
                <a:lnTo>
                  <a:pt x="19" y="125"/>
                </a:lnTo>
                <a:lnTo>
                  <a:pt x="19" y="131"/>
                </a:lnTo>
                <a:lnTo>
                  <a:pt x="22" y="137"/>
                </a:lnTo>
                <a:lnTo>
                  <a:pt x="28" y="137"/>
                </a:lnTo>
                <a:lnTo>
                  <a:pt x="32" y="140"/>
                </a:lnTo>
                <a:lnTo>
                  <a:pt x="35" y="140"/>
                </a:lnTo>
                <a:lnTo>
                  <a:pt x="38" y="140"/>
                </a:lnTo>
                <a:lnTo>
                  <a:pt x="41" y="140"/>
                </a:lnTo>
                <a:lnTo>
                  <a:pt x="41" y="140"/>
                </a:lnTo>
                <a:lnTo>
                  <a:pt x="44" y="140"/>
                </a:lnTo>
                <a:lnTo>
                  <a:pt x="47" y="140"/>
                </a:lnTo>
                <a:lnTo>
                  <a:pt x="50" y="140"/>
                </a:lnTo>
                <a:lnTo>
                  <a:pt x="50" y="144"/>
                </a:lnTo>
                <a:lnTo>
                  <a:pt x="50" y="137"/>
                </a:lnTo>
                <a:lnTo>
                  <a:pt x="53" y="137"/>
                </a:lnTo>
                <a:lnTo>
                  <a:pt x="57" y="134"/>
                </a:lnTo>
                <a:lnTo>
                  <a:pt x="57" y="131"/>
                </a:lnTo>
                <a:lnTo>
                  <a:pt x="63" y="128"/>
                </a:lnTo>
                <a:lnTo>
                  <a:pt x="69" y="128"/>
                </a:lnTo>
                <a:lnTo>
                  <a:pt x="72" y="128"/>
                </a:lnTo>
                <a:lnTo>
                  <a:pt x="75" y="59"/>
                </a:lnTo>
                <a:lnTo>
                  <a:pt x="82" y="62"/>
                </a:lnTo>
                <a:lnTo>
                  <a:pt x="82" y="68"/>
                </a:lnTo>
                <a:lnTo>
                  <a:pt x="88" y="78"/>
                </a:lnTo>
                <a:lnTo>
                  <a:pt x="88" y="84"/>
                </a:lnTo>
                <a:lnTo>
                  <a:pt x="85" y="90"/>
                </a:lnTo>
                <a:lnTo>
                  <a:pt x="85" y="94"/>
                </a:lnTo>
                <a:lnTo>
                  <a:pt x="91" y="94"/>
                </a:lnTo>
                <a:lnTo>
                  <a:pt x="94" y="94"/>
                </a:lnTo>
                <a:lnTo>
                  <a:pt x="97" y="94"/>
                </a:lnTo>
                <a:lnTo>
                  <a:pt x="103" y="94"/>
                </a:lnTo>
                <a:lnTo>
                  <a:pt x="107" y="94"/>
                </a:lnTo>
                <a:lnTo>
                  <a:pt x="110" y="90"/>
                </a:lnTo>
                <a:lnTo>
                  <a:pt x="113" y="87"/>
                </a:lnTo>
                <a:lnTo>
                  <a:pt x="116" y="87"/>
                </a:lnTo>
                <a:lnTo>
                  <a:pt x="122" y="84"/>
                </a:lnTo>
                <a:lnTo>
                  <a:pt x="125" y="81"/>
                </a:lnTo>
                <a:lnTo>
                  <a:pt x="128" y="72"/>
                </a:lnTo>
                <a:lnTo>
                  <a:pt x="135" y="68"/>
                </a:lnTo>
                <a:lnTo>
                  <a:pt x="138" y="65"/>
                </a:lnTo>
                <a:lnTo>
                  <a:pt x="144" y="68"/>
                </a:lnTo>
                <a:lnTo>
                  <a:pt x="147" y="68"/>
                </a:lnTo>
                <a:lnTo>
                  <a:pt x="150" y="72"/>
                </a:lnTo>
                <a:lnTo>
                  <a:pt x="157" y="75"/>
                </a:lnTo>
                <a:lnTo>
                  <a:pt x="160" y="75"/>
                </a:lnTo>
                <a:lnTo>
                  <a:pt x="163" y="75"/>
                </a:lnTo>
                <a:lnTo>
                  <a:pt x="166" y="75"/>
                </a:lnTo>
                <a:lnTo>
                  <a:pt x="172" y="75"/>
                </a:lnTo>
                <a:lnTo>
                  <a:pt x="175" y="75"/>
                </a:lnTo>
                <a:lnTo>
                  <a:pt x="175" y="75"/>
                </a:lnTo>
                <a:lnTo>
                  <a:pt x="178" y="78"/>
                </a:lnTo>
                <a:lnTo>
                  <a:pt x="182" y="75"/>
                </a:lnTo>
                <a:lnTo>
                  <a:pt x="182" y="72"/>
                </a:lnTo>
                <a:lnTo>
                  <a:pt x="182" y="68"/>
                </a:lnTo>
                <a:lnTo>
                  <a:pt x="182" y="65"/>
                </a:lnTo>
                <a:lnTo>
                  <a:pt x="185" y="65"/>
                </a:lnTo>
                <a:lnTo>
                  <a:pt x="185" y="59"/>
                </a:lnTo>
                <a:lnTo>
                  <a:pt x="185" y="56"/>
                </a:lnTo>
                <a:lnTo>
                  <a:pt x="191" y="56"/>
                </a:lnTo>
                <a:lnTo>
                  <a:pt x="194" y="53"/>
                </a:lnTo>
                <a:lnTo>
                  <a:pt x="197" y="53"/>
                </a:lnTo>
                <a:lnTo>
                  <a:pt x="197" y="50"/>
                </a:lnTo>
                <a:lnTo>
                  <a:pt x="197" y="50"/>
                </a:lnTo>
                <a:lnTo>
                  <a:pt x="200" y="47"/>
                </a:lnTo>
                <a:lnTo>
                  <a:pt x="200" y="47"/>
                </a:lnTo>
                <a:lnTo>
                  <a:pt x="203" y="43"/>
                </a:lnTo>
                <a:lnTo>
                  <a:pt x="207" y="43"/>
                </a:lnTo>
                <a:lnTo>
                  <a:pt x="207" y="43"/>
                </a:lnTo>
                <a:lnTo>
                  <a:pt x="207" y="40"/>
                </a:lnTo>
                <a:lnTo>
                  <a:pt x="207" y="37"/>
                </a:lnTo>
                <a:lnTo>
                  <a:pt x="207" y="34"/>
                </a:lnTo>
                <a:lnTo>
                  <a:pt x="213" y="25"/>
                </a:lnTo>
                <a:lnTo>
                  <a:pt x="216" y="25"/>
                </a:lnTo>
                <a:lnTo>
                  <a:pt x="219" y="25"/>
                </a:lnTo>
                <a:lnTo>
                  <a:pt x="219" y="22"/>
                </a:lnTo>
                <a:lnTo>
                  <a:pt x="222" y="22"/>
                </a:lnTo>
                <a:lnTo>
                  <a:pt x="222" y="18"/>
                </a:lnTo>
                <a:lnTo>
                  <a:pt x="225" y="18"/>
                </a:lnTo>
                <a:lnTo>
                  <a:pt x="228" y="15"/>
                </a:lnTo>
                <a:lnTo>
                  <a:pt x="232" y="12"/>
                </a:lnTo>
                <a:lnTo>
                  <a:pt x="235" y="12"/>
                </a:lnTo>
                <a:lnTo>
                  <a:pt x="238" y="12"/>
                </a:lnTo>
                <a:lnTo>
                  <a:pt x="238" y="12"/>
                </a:lnTo>
                <a:lnTo>
                  <a:pt x="241" y="12"/>
                </a:lnTo>
                <a:lnTo>
                  <a:pt x="244" y="9"/>
                </a:lnTo>
                <a:lnTo>
                  <a:pt x="247" y="9"/>
                </a:lnTo>
                <a:lnTo>
                  <a:pt x="247" y="6"/>
                </a:lnTo>
                <a:lnTo>
                  <a:pt x="247" y="3"/>
                </a:lnTo>
                <a:lnTo>
                  <a:pt x="250" y="3"/>
                </a:lnTo>
                <a:lnTo>
                  <a:pt x="253" y="3"/>
                </a:lnTo>
                <a:lnTo>
                  <a:pt x="257" y="0"/>
                </a:lnTo>
                <a:lnTo>
                  <a:pt x="263" y="0"/>
                </a:lnTo>
                <a:lnTo>
                  <a:pt x="269" y="0"/>
                </a:lnTo>
                <a:lnTo>
                  <a:pt x="269" y="3"/>
                </a:lnTo>
                <a:lnTo>
                  <a:pt x="272" y="3"/>
                </a:lnTo>
                <a:lnTo>
                  <a:pt x="278" y="6"/>
                </a:lnTo>
                <a:lnTo>
                  <a:pt x="278" y="6"/>
                </a:lnTo>
                <a:lnTo>
                  <a:pt x="282" y="6"/>
                </a:lnTo>
                <a:lnTo>
                  <a:pt x="288" y="3"/>
                </a:lnTo>
                <a:lnTo>
                  <a:pt x="294" y="6"/>
                </a:lnTo>
                <a:lnTo>
                  <a:pt x="297" y="9"/>
                </a:lnTo>
                <a:lnTo>
                  <a:pt x="297" y="12"/>
                </a:lnTo>
                <a:lnTo>
                  <a:pt x="300" y="18"/>
                </a:lnTo>
                <a:lnTo>
                  <a:pt x="303" y="25"/>
                </a:lnTo>
                <a:lnTo>
                  <a:pt x="303" y="34"/>
                </a:lnTo>
                <a:lnTo>
                  <a:pt x="300" y="34"/>
                </a:lnTo>
                <a:lnTo>
                  <a:pt x="300" y="37"/>
                </a:lnTo>
                <a:lnTo>
                  <a:pt x="303" y="40"/>
                </a:lnTo>
                <a:lnTo>
                  <a:pt x="303" y="47"/>
                </a:lnTo>
                <a:lnTo>
                  <a:pt x="303" y="62"/>
                </a:lnTo>
                <a:lnTo>
                  <a:pt x="303" y="68"/>
                </a:lnTo>
                <a:lnTo>
                  <a:pt x="303" y="72"/>
                </a:lnTo>
                <a:lnTo>
                  <a:pt x="303" y="81"/>
                </a:lnTo>
                <a:lnTo>
                  <a:pt x="300" y="78"/>
                </a:lnTo>
                <a:lnTo>
                  <a:pt x="297" y="75"/>
                </a:lnTo>
                <a:lnTo>
                  <a:pt x="291" y="72"/>
                </a:lnTo>
                <a:lnTo>
                  <a:pt x="288" y="75"/>
                </a:lnTo>
                <a:lnTo>
                  <a:pt x="288" y="78"/>
                </a:lnTo>
                <a:lnTo>
                  <a:pt x="282" y="87"/>
                </a:lnTo>
                <a:lnTo>
                  <a:pt x="282" y="90"/>
                </a:lnTo>
                <a:lnTo>
                  <a:pt x="282" y="94"/>
                </a:lnTo>
                <a:lnTo>
                  <a:pt x="285" y="97"/>
                </a:lnTo>
                <a:lnTo>
                  <a:pt x="285" y="100"/>
                </a:lnTo>
                <a:lnTo>
                  <a:pt x="291" y="103"/>
                </a:lnTo>
                <a:lnTo>
                  <a:pt x="300" y="103"/>
                </a:lnTo>
                <a:lnTo>
                  <a:pt x="303" y="103"/>
                </a:lnTo>
                <a:lnTo>
                  <a:pt x="303" y="100"/>
                </a:lnTo>
                <a:lnTo>
                  <a:pt x="303" y="97"/>
                </a:lnTo>
                <a:lnTo>
                  <a:pt x="307" y="97"/>
                </a:lnTo>
                <a:lnTo>
                  <a:pt x="310" y="94"/>
                </a:lnTo>
                <a:lnTo>
                  <a:pt x="316" y="97"/>
                </a:lnTo>
                <a:lnTo>
                  <a:pt x="319" y="97"/>
                </a:lnTo>
                <a:lnTo>
                  <a:pt x="319" y="97"/>
                </a:lnTo>
                <a:lnTo>
                  <a:pt x="316" y="100"/>
                </a:lnTo>
                <a:lnTo>
                  <a:pt x="319" y="100"/>
                </a:lnTo>
                <a:lnTo>
                  <a:pt x="316" y="109"/>
                </a:lnTo>
                <a:lnTo>
                  <a:pt x="316" y="112"/>
                </a:lnTo>
                <a:lnTo>
                  <a:pt x="313" y="119"/>
                </a:lnTo>
                <a:lnTo>
                  <a:pt x="310" y="128"/>
                </a:lnTo>
                <a:lnTo>
                  <a:pt x="307" y="131"/>
                </a:lnTo>
                <a:lnTo>
                  <a:pt x="307" y="134"/>
                </a:lnTo>
                <a:lnTo>
                  <a:pt x="300" y="140"/>
                </a:lnTo>
                <a:lnTo>
                  <a:pt x="300" y="140"/>
                </a:lnTo>
                <a:lnTo>
                  <a:pt x="297" y="144"/>
                </a:lnTo>
                <a:lnTo>
                  <a:pt x="294" y="144"/>
                </a:lnTo>
                <a:lnTo>
                  <a:pt x="294" y="147"/>
                </a:lnTo>
                <a:lnTo>
                  <a:pt x="288" y="150"/>
                </a:lnTo>
                <a:lnTo>
                  <a:pt x="285" y="153"/>
                </a:lnTo>
                <a:lnTo>
                  <a:pt x="282" y="159"/>
                </a:lnTo>
                <a:lnTo>
                  <a:pt x="282" y="159"/>
                </a:lnTo>
                <a:lnTo>
                  <a:pt x="278" y="165"/>
                </a:lnTo>
                <a:lnTo>
                  <a:pt x="275" y="165"/>
                </a:lnTo>
                <a:lnTo>
                  <a:pt x="272" y="172"/>
                </a:lnTo>
                <a:lnTo>
                  <a:pt x="266" y="184"/>
                </a:lnTo>
                <a:lnTo>
                  <a:pt x="260" y="190"/>
                </a:lnTo>
                <a:lnTo>
                  <a:pt x="257" y="197"/>
                </a:lnTo>
                <a:lnTo>
                  <a:pt x="253" y="197"/>
                </a:lnTo>
                <a:lnTo>
                  <a:pt x="250" y="200"/>
                </a:lnTo>
                <a:lnTo>
                  <a:pt x="247" y="200"/>
                </a:lnTo>
                <a:lnTo>
                  <a:pt x="247" y="203"/>
                </a:lnTo>
                <a:lnTo>
                  <a:pt x="225" y="222"/>
                </a:lnTo>
                <a:lnTo>
                  <a:pt x="225" y="225"/>
                </a:lnTo>
                <a:lnTo>
                  <a:pt x="225" y="225"/>
                </a:lnTo>
                <a:lnTo>
                  <a:pt x="222" y="228"/>
                </a:lnTo>
                <a:lnTo>
                  <a:pt x="207" y="237"/>
                </a:lnTo>
                <a:lnTo>
                  <a:pt x="203" y="241"/>
                </a:lnTo>
                <a:lnTo>
                  <a:pt x="200" y="241"/>
                </a:lnTo>
                <a:lnTo>
                  <a:pt x="200" y="244"/>
                </a:lnTo>
                <a:lnTo>
                  <a:pt x="191" y="244"/>
                </a:lnTo>
                <a:lnTo>
                  <a:pt x="188" y="247"/>
                </a:lnTo>
                <a:lnTo>
                  <a:pt x="185" y="247"/>
                </a:lnTo>
                <a:lnTo>
                  <a:pt x="182" y="247"/>
                </a:lnTo>
                <a:lnTo>
                  <a:pt x="175" y="247"/>
                </a:lnTo>
                <a:lnTo>
                  <a:pt x="172" y="247"/>
                </a:lnTo>
                <a:lnTo>
                  <a:pt x="169" y="253"/>
                </a:lnTo>
                <a:lnTo>
                  <a:pt x="172" y="253"/>
                </a:lnTo>
                <a:lnTo>
                  <a:pt x="172" y="256"/>
                </a:lnTo>
                <a:lnTo>
                  <a:pt x="166" y="256"/>
                </a:lnTo>
                <a:lnTo>
                  <a:pt x="160" y="253"/>
                </a:lnTo>
                <a:lnTo>
                  <a:pt x="157" y="253"/>
                </a:lnTo>
                <a:lnTo>
                  <a:pt x="153" y="256"/>
                </a:lnTo>
                <a:lnTo>
                  <a:pt x="157" y="259"/>
                </a:lnTo>
                <a:lnTo>
                  <a:pt x="153" y="259"/>
                </a:lnTo>
                <a:lnTo>
                  <a:pt x="144" y="256"/>
                </a:lnTo>
                <a:lnTo>
                  <a:pt x="141" y="256"/>
                </a:lnTo>
                <a:lnTo>
                  <a:pt x="135" y="253"/>
                </a:lnTo>
                <a:lnTo>
                  <a:pt x="128" y="253"/>
                </a:lnTo>
                <a:lnTo>
                  <a:pt x="128" y="256"/>
                </a:lnTo>
                <a:lnTo>
                  <a:pt x="125" y="256"/>
                </a:lnTo>
                <a:lnTo>
                  <a:pt x="119" y="253"/>
                </a:lnTo>
                <a:lnTo>
                  <a:pt x="110" y="253"/>
                </a:lnTo>
                <a:lnTo>
                  <a:pt x="107" y="256"/>
                </a:lnTo>
                <a:lnTo>
                  <a:pt x="103" y="259"/>
                </a:lnTo>
                <a:lnTo>
                  <a:pt x="103" y="259"/>
                </a:lnTo>
                <a:lnTo>
                  <a:pt x="100" y="259"/>
                </a:lnTo>
                <a:lnTo>
                  <a:pt x="97" y="259"/>
                </a:lnTo>
                <a:lnTo>
                  <a:pt x="97" y="262"/>
                </a:lnTo>
                <a:lnTo>
                  <a:pt x="91" y="262"/>
                </a:lnTo>
                <a:lnTo>
                  <a:pt x="91" y="262"/>
                </a:lnTo>
                <a:lnTo>
                  <a:pt x="85" y="262"/>
                </a:lnTo>
                <a:lnTo>
                  <a:pt x="78" y="262"/>
                </a:lnTo>
                <a:lnTo>
                  <a:pt x="78" y="262"/>
                </a:lnTo>
                <a:lnTo>
                  <a:pt x="72" y="262"/>
                </a:lnTo>
                <a:lnTo>
                  <a:pt x="69" y="266"/>
                </a:lnTo>
                <a:lnTo>
                  <a:pt x="66" y="269"/>
                </a:lnTo>
                <a:lnTo>
                  <a:pt x="63" y="272"/>
                </a:lnTo>
                <a:lnTo>
                  <a:pt x="63" y="269"/>
                </a:lnTo>
                <a:lnTo>
                  <a:pt x="60" y="272"/>
                </a:lnTo>
                <a:lnTo>
                  <a:pt x="50" y="266"/>
                </a:lnTo>
                <a:lnTo>
                  <a:pt x="47" y="266"/>
                </a:lnTo>
                <a:lnTo>
                  <a:pt x="47" y="262"/>
                </a:lnTo>
                <a:lnTo>
                  <a:pt x="44" y="259"/>
                </a:lnTo>
                <a:lnTo>
                  <a:pt x="41" y="262"/>
                </a:lnTo>
                <a:lnTo>
                  <a:pt x="41" y="262"/>
                </a:lnTo>
                <a:lnTo>
                  <a:pt x="41" y="259"/>
                </a:lnTo>
                <a:lnTo>
                  <a:pt x="41" y="256"/>
                </a:lnTo>
                <a:lnTo>
                  <a:pt x="35" y="256"/>
                </a:lnTo>
                <a:lnTo>
                  <a:pt x="32" y="256"/>
                </a:lnTo>
                <a:lnTo>
                  <a:pt x="32" y="262"/>
                </a:lnTo>
                <a:lnTo>
                  <a:pt x="32" y="259"/>
                </a:lnTo>
                <a:lnTo>
                  <a:pt x="32" y="256"/>
                </a:lnTo>
                <a:lnTo>
                  <a:pt x="32" y="253"/>
                </a:lnTo>
                <a:lnTo>
                  <a:pt x="32" y="247"/>
                </a:lnTo>
                <a:lnTo>
                  <a:pt x="35" y="244"/>
                </a:lnTo>
                <a:lnTo>
                  <a:pt x="28" y="237"/>
                </a:lnTo>
                <a:lnTo>
                  <a:pt x="25" y="234"/>
                </a:lnTo>
                <a:lnTo>
                  <a:pt x="22" y="228"/>
                </a:lnTo>
                <a:lnTo>
                  <a:pt x="22" y="222"/>
                </a:lnTo>
                <a:lnTo>
                  <a:pt x="25" y="222"/>
                </a:lnTo>
                <a:lnTo>
                  <a:pt x="28" y="225"/>
                </a:lnTo>
                <a:lnTo>
                  <a:pt x="28" y="225"/>
                </a:lnTo>
                <a:lnTo>
                  <a:pt x="32" y="222"/>
                </a:lnTo>
                <a:lnTo>
                  <a:pt x="32" y="216"/>
                </a:lnTo>
                <a:lnTo>
                  <a:pt x="32" y="209"/>
                </a:lnTo>
                <a:lnTo>
                  <a:pt x="32" y="206"/>
                </a:lnTo>
                <a:lnTo>
                  <a:pt x="25" y="197"/>
                </a:lnTo>
                <a:lnTo>
                  <a:pt x="25" y="190"/>
                </a:lnTo>
                <a:lnTo>
                  <a:pt x="19" y="184"/>
                </a:lnTo>
                <a:lnTo>
                  <a:pt x="16" y="172"/>
                </a:lnTo>
                <a:lnTo>
                  <a:pt x="13" y="162"/>
                </a:lnTo>
                <a:lnTo>
                  <a:pt x="13" y="156"/>
                </a:lnTo>
                <a:lnTo>
                  <a:pt x="10" y="144"/>
                </a:lnTo>
                <a:lnTo>
                  <a:pt x="3" y="140"/>
                </a:lnTo>
                <a:lnTo>
                  <a:pt x="0" y="134"/>
                </a:lnTo>
                <a:lnTo>
                  <a:pt x="0" y="134"/>
                </a:lnTo>
                <a:lnTo>
                  <a:pt x="0" y="134"/>
                </a:lnTo>
                <a:close/>
                <a:moveTo>
                  <a:pt x="210" y="172"/>
                </a:moveTo>
                <a:lnTo>
                  <a:pt x="213" y="175"/>
                </a:lnTo>
                <a:lnTo>
                  <a:pt x="216" y="178"/>
                </a:lnTo>
                <a:lnTo>
                  <a:pt x="219" y="178"/>
                </a:lnTo>
                <a:lnTo>
                  <a:pt x="225" y="178"/>
                </a:lnTo>
                <a:lnTo>
                  <a:pt x="225" y="178"/>
                </a:lnTo>
                <a:lnTo>
                  <a:pt x="225" y="175"/>
                </a:lnTo>
                <a:lnTo>
                  <a:pt x="228" y="172"/>
                </a:lnTo>
                <a:lnTo>
                  <a:pt x="232" y="169"/>
                </a:lnTo>
                <a:lnTo>
                  <a:pt x="235" y="169"/>
                </a:lnTo>
                <a:lnTo>
                  <a:pt x="238" y="165"/>
                </a:lnTo>
                <a:lnTo>
                  <a:pt x="241" y="169"/>
                </a:lnTo>
                <a:lnTo>
                  <a:pt x="244" y="165"/>
                </a:lnTo>
                <a:lnTo>
                  <a:pt x="244" y="162"/>
                </a:lnTo>
                <a:lnTo>
                  <a:pt x="244" y="159"/>
                </a:lnTo>
                <a:lnTo>
                  <a:pt x="241" y="159"/>
                </a:lnTo>
                <a:lnTo>
                  <a:pt x="247" y="156"/>
                </a:lnTo>
                <a:lnTo>
                  <a:pt x="250" y="153"/>
                </a:lnTo>
                <a:lnTo>
                  <a:pt x="250" y="150"/>
                </a:lnTo>
                <a:lnTo>
                  <a:pt x="247" y="140"/>
                </a:lnTo>
                <a:lnTo>
                  <a:pt x="241" y="137"/>
                </a:lnTo>
                <a:lnTo>
                  <a:pt x="238" y="137"/>
                </a:lnTo>
                <a:lnTo>
                  <a:pt x="235" y="137"/>
                </a:lnTo>
                <a:lnTo>
                  <a:pt x="235" y="137"/>
                </a:lnTo>
                <a:lnTo>
                  <a:pt x="232" y="137"/>
                </a:lnTo>
                <a:lnTo>
                  <a:pt x="228" y="137"/>
                </a:lnTo>
                <a:lnTo>
                  <a:pt x="228" y="137"/>
                </a:lnTo>
                <a:lnTo>
                  <a:pt x="225" y="140"/>
                </a:lnTo>
                <a:lnTo>
                  <a:pt x="225" y="140"/>
                </a:lnTo>
                <a:lnTo>
                  <a:pt x="219" y="144"/>
                </a:lnTo>
                <a:lnTo>
                  <a:pt x="213" y="147"/>
                </a:lnTo>
                <a:lnTo>
                  <a:pt x="213" y="150"/>
                </a:lnTo>
                <a:lnTo>
                  <a:pt x="207" y="156"/>
                </a:lnTo>
                <a:lnTo>
                  <a:pt x="203" y="156"/>
                </a:lnTo>
                <a:lnTo>
                  <a:pt x="207" y="159"/>
                </a:lnTo>
                <a:lnTo>
                  <a:pt x="207" y="162"/>
                </a:lnTo>
                <a:lnTo>
                  <a:pt x="210" y="165"/>
                </a:lnTo>
                <a:lnTo>
                  <a:pt x="210" y="169"/>
                </a:lnTo>
                <a:lnTo>
                  <a:pt x="210" y="172"/>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1" name="Freeform 159">
            <a:extLst>
              <a:ext uri="{FF2B5EF4-FFF2-40B4-BE49-F238E27FC236}">
                <a16:creationId xmlns:a16="http://schemas.microsoft.com/office/drawing/2014/main" id="{10D1D9A2-A60C-1EC9-1EDC-B4203E4A3BDE}"/>
              </a:ext>
            </a:extLst>
          </p:cNvPr>
          <p:cNvSpPr>
            <a:spLocks/>
          </p:cNvSpPr>
          <p:nvPr userDrawn="1"/>
        </p:nvSpPr>
        <p:spPr bwMode="auto">
          <a:xfrm>
            <a:off x="14785015" y="11222906"/>
            <a:ext cx="149216" cy="130176"/>
          </a:xfrm>
          <a:custGeom>
            <a:avLst/>
            <a:gdLst>
              <a:gd name="T0" fmla="*/ 7 w 47"/>
              <a:gd name="T1" fmla="*/ 35 h 41"/>
              <a:gd name="T2" fmla="*/ 7 w 47"/>
              <a:gd name="T3" fmla="*/ 32 h 41"/>
              <a:gd name="T4" fmla="*/ 7 w 47"/>
              <a:gd name="T5" fmla="*/ 28 h 41"/>
              <a:gd name="T6" fmla="*/ 4 w 47"/>
              <a:gd name="T7" fmla="*/ 25 h 41"/>
              <a:gd name="T8" fmla="*/ 4 w 47"/>
              <a:gd name="T9" fmla="*/ 22 h 41"/>
              <a:gd name="T10" fmla="*/ 0 w 47"/>
              <a:gd name="T11" fmla="*/ 19 h 41"/>
              <a:gd name="T12" fmla="*/ 4 w 47"/>
              <a:gd name="T13" fmla="*/ 19 h 41"/>
              <a:gd name="T14" fmla="*/ 10 w 47"/>
              <a:gd name="T15" fmla="*/ 13 h 41"/>
              <a:gd name="T16" fmla="*/ 10 w 47"/>
              <a:gd name="T17" fmla="*/ 10 h 41"/>
              <a:gd name="T18" fmla="*/ 16 w 47"/>
              <a:gd name="T19" fmla="*/ 7 h 41"/>
              <a:gd name="T20" fmla="*/ 22 w 47"/>
              <a:gd name="T21" fmla="*/ 3 h 41"/>
              <a:gd name="T22" fmla="*/ 22 w 47"/>
              <a:gd name="T23" fmla="*/ 3 h 41"/>
              <a:gd name="T24" fmla="*/ 25 w 47"/>
              <a:gd name="T25" fmla="*/ 0 h 41"/>
              <a:gd name="T26" fmla="*/ 25 w 47"/>
              <a:gd name="T27" fmla="*/ 0 h 41"/>
              <a:gd name="T28" fmla="*/ 29 w 47"/>
              <a:gd name="T29" fmla="*/ 0 h 41"/>
              <a:gd name="T30" fmla="*/ 32 w 47"/>
              <a:gd name="T31" fmla="*/ 0 h 41"/>
              <a:gd name="T32" fmla="*/ 32 w 47"/>
              <a:gd name="T33" fmla="*/ 0 h 41"/>
              <a:gd name="T34" fmla="*/ 35 w 47"/>
              <a:gd name="T35" fmla="*/ 0 h 41"/>
              <a:gd name="T36" fmla="*/ 38 w 47"/>
              <a:gd name="T37" fmla="*/ 0 h 41"/>
              <a:gd name="T38" fmla="*/ 44 w 47"/>
              <a:gd name="T39" fmla="*/ 3 h 41"/>
              <a:gd name="T40" fmla="*/ 47 w 47"/>
              <a:gd name="T41" fmla="*/ 13 h 41"/>
              <a:gd name="T42" fmla="*/ 47 w 47"/>
              <a:gd name="T43" fmla="*/ 16 h 41"/>
              <a:gd name="T44" fmla="*/ 44 w 47"/>
              <a:gd name="T45" fmla="*/ 19 h 41"/>
              <a:gd name="T46" fmla="*/ 38 w 47"/>
              <a:gd name="T47" fmla="*/ 22 h 41"/>
              <a:gd name="T48" fmla="*/ 41 w 47"/>
              <a:gd name="T49" fmla="*/ 22 h 41"/>
              <a:gd name="T50" fmla="*/ 41 w 47"/>
              <a:gd name="T51" fmla="*/ 25 h 41"/>
              <a:gd name="T52" fmla="*/ 41 w 47"/>
              <a:gd name="T53" fmla="*/ 28 h 41"/>
              <a:gd name="T54" fmla="*/ 38 w 47"/>
              <a:gd name="T55" fmla="*/ 32 h 41"/>
              <a:gd name="T56" fmla="*/ 35 w 47"/>
              <a:gd name="T57" fmla="*/ 28 h 41"/>
              <a:gd name="T58" fmla="*/ 32 w 47"/>
              <a:gd name="T59" fmla="*/ 32 h 41"/>
              <a:gd name="T60" fmla="*/ 29 w 47"/>
              <a:gd name="T61" fmla="*/ 32 h 41"/>
              <a:gd name="T62" fmla="*/ 25 w 47"/>
              <a:gd name="T63" fmla="*/ 35 h 41"/>
              <a:gd name="T64" fmla="*/ 22 w 47"/>
              <a:gd name="T65" fmla="*/ 38 h 41"/>
              <a:gd name="T66" fmla="*/ 22 w 47"/>
              <a:gd name="T67" fmla="*/ 41 h 41"/>
              <a:gd name="T68" fmla="*/ 22 w 47"/>
              <a:gd name="T69" fmla="*/ 41 h 41"/>
              <a:gd name="T70" fmla="*/ 16 w 47"/>
              <a:gd name="T71" fmla="*/ 41 h 41"/>
              <a:gd name="T72" fmla="*/ 13 w 47"/>
              <a:gd name="T73" fmla="*/ 41 h 41"/>
              <a:gd name="T74" fmla="*/ 10 w 47"/>
              <a:gd name="T75" fmla="*/ 38 h 41"/>
              <a:gd name="T76" fmla="*/ 7 w 47"/>
              <a:gd name="T77" fmla="*/ 3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 h="41">
                <a:moveTo>
                  <a:pt x="7" y="35"/>
                </a:moveTo>
                <a:lnTo>
                  <a:pt x="7" y="32"/>
                </a:lnTo>
                <a:lnTo>
                  <a:pt x="7" y="28"/>
                </a:lnTo>
                <a:lnTo>
                  <a:pt x="4" y="25"/>
                </a:lnTo>
                <a:lnTo>
                  <a:pt x="4" y="22"/>
                </a:lnTo>
                <a:lnTo>
                  <a:pt x="0" y="19"/>
                </a:lnTo>
                <a:lnTo>
                  <a:pt x="4" y="19"/>
                </a:lnTo>
                <a:lnTo>
                  <a:pt x="10" y="13"/>
                </a:lnTo>
                <a:lnTo>
                  <a:pt x="10" y="10"/>
                </a:lnTo>
                <a:lnTo>
                  <a:pt x="16" y="7"/>
                </a:lnTo>
                <a:lnTo>
                  <a:pt x="22" y="3"/>
                </a:lnTo>
                <a:lnTo>
                  <a:pt x="22" y="3"/>
                </a:lnTo>
                <a:lnTo>
                  <a:pt x="25" y="0"/>
                </a:lnTo>
                <a:lnTo>
                  <a:pt x="25" y="0"/>
                </a:lnTo>
                <a:lnTo>
                  <a:pt x="29" y="0"/>
                </a:lnTo>
                <a:lnTo>
                  <a:pt x="32" y="0"/>
                </a:lnTo>
                <a:lnTo>
                  <a:pt x="32" y="0"/>
                </a:lnTo>
                <a:lnTo>
                  <a:pt x="35" y="0"/>
                </a:lnTo>
                <a:lnTo>
                  <a:pt x="38" y="0"/>
                </a:lnTo>
                <a:lnTo>
                  <a:pt x="44" y="3"/>
                </a:lnTo>
                <a:lnTo>
                  <a:pt x="47" y="13"/>
                </a:lnTo>
                <a:lnTo>
                  <a:pt x="47" y="16"/>
                </a:lnTo>
                <a:lnTo>
                  <a:pt x="44" y="19"/>
                </a:lnTo>
                <a:lnTo>
                  <a:pt x="38" y="22"/>
                </a:lnTo>
                <a:lnTo>
                  <a:pt x="41" y="22"/>
                </a:lnTo>
                <a:lnTo>
                  <a:pt x="41" y="25"/>
                </a:lnTo>
                <a:lnTo>
                  <a:pt x="41" y="28"/>
                </a:lnTo>
                <a:lnTo>
                  <a:pt x="38" y="32"/>
                </a:lnTo>
                <a:lnTo>
                  <a:pt x="35" y="28"/>
                </a:lnTo>
                <a:lnTo>
                  <a:pt x="32" y="32"/>
                </a:lnTo>
                <a:lnTo>
                  <a:pt x="29" y="32"/>
                </a:lnTo>
                <a:lnTo>
                  <a:pt x="25" y="35"/>
                </a:lnTo>
                <a:lnTo>
                  <a:pt x="22" y="38"/>
                </a:lnTo>
                <a:lnTo>
                  <a:pt x="22" y="41"/>
                </a:lnTo>
                <a:lnTo>
                  <a:pt x="22" y="41"/>
                </a:lnTo>
                <a:lnTo>
                  <a:pt x="16" y="41"/>
                </a:lnTo>
                <a:lnTo>
                  <a:pt x="13" y="41"/>
                </a:lnTo>
                <a:lnTo>
                  <a:pt x="10" y="38"/>
                </a:lnTo>
                <a:lnTo>
                  <a:pt x="7" y="35"/>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2" name="Freeform 160">
            <a:extLst>
              <a:ext uri="{FF2B5EF4-FFF2-40B4-BE49-F238E27FC236}">
                <a16:creationId xmlns:a16="http://schemas.microsoft.com/office/drawing/2014/main" id="{B8B0AD6F-52B0-69CD-CE2E-A3AB56BBB8FD}"/>
              </a:ext>
            </a:extLst>
          </p:cNvPr>
          <p:cNvSpPr>
            <a:spLocks noEditPoints="1"/>
          </p:cNvSpPr>
          <p:nvPr userDrawn="1"/>
        </p:nvSpPr>
        <p:spPr bwMode="auto">
          <a:xfrm>
            <a:off x="20115492" y="10051330"/>
            <a:ext cx="2530313" cy="2720976"/>
          </a:xfrm>
          <a:custGeom>
            <a:avLst/>
            <a:gdLst>
              <a:gd name="T0" fmla="*/ 252 w 255"/>
              <a:gd name="T1" fmla="*/ 115 h 274"/>
              <a:gd name="T2" fmla="*/ 217 w 255"/>
              <a:gd name="T3" fmla="*/ 59 h 274"/>
              <a:gd name="T4" fmla="*/ 174 w 255"/>
              <a:gd name="T5" fmla="*/ 47 h 274"/>
              <a:gd name="T6" fmla="*/ 156 w 255"/>
              <a:gd name="T7" fmla="*/ 26 h 274"/>
              <a:gd name="T8" fmla="*/ 158 w 255"/>
              <a:gd name="T9" fmla="*/ 28 h 274"/>
              <a:gd name="T10" fmla="*/ 154 w 255"/>
              <a:gd name="T11" fmla="*/ 11 h 274"/>
              <a:gd name="T12" fmla="*/ 121 w 255"/>
              <a:gd name="T13" fmla="*/ 8 h 274"/>
              <a:gd name="T14" fmla="*/ 120 w 255"/>
              <a:gd name="T15" fmla="*/ 8 h 274"/>
              <a:gd name="T16" fmla="*/ 82 w 255"/>
              <a:gd name="T17" fmla="*/ 36 h 274"/>
              <a:gd name="T18" fmla="*/ 1 w 255"/>
              <a:gd name="T19" fmla="*/ 103 h 274"/>
              <a:gd name="T20" fmla="*/ 138 w 255"/>
              <a:gd name="T21" fmla="*/ 196 h 274"/>
              <a:gd name="T22" fmla="*/ 187 w 255"/>
              <a:gd name="T23" fmla="*/ 226 h 274"/>
              <a:gd name="T24" fmla="*/ 172 w 255"/>
              <a:gd name="T25" fmla="*/ 241 h 274"/>
              <a:gd name="T26" fmla="*/ 192 w 255"/>
              <a:gd name="T27" fmla="*/ 237 h 274"/>
              <a:gd name="T28" fmla="*/ 186 w 255"/>
              <a:gd name="T29" fmla="*/ 265 h 274"/>
              <a:gd name="T30" fmla="*/ 169 w 255"/>
              <a:gd name="T31" fmla="*/ 263 h 274"/>
              <a:gd name="T32" fmla="*/ 173 w 255"/>
              <a:gd name="T33" fmla="*/ 245 h 274"/>
              <a:gd name="T34" fmla="*/ 191 w 255"/>
              <a:gd name="T35" fmla="*/ 247 h 274"/>
              <a:gd name="T36" fmla="*/ 184 w 255"/>
              <a:gd name="T37" fmla="*/ 266 h 274"/>
              <a:gd name="T38" fmla="*/ 176 w 255"/>
              <a:gd name="T39" fmla="*/ 272 h 274"/>
              <a:gd name="T40" fmla="*/ 12 w 255"/>
              <a:gd name="T41" fmla="*/ 181 h 274"/>
              <a:gd name="T42" fmla="*/ 30 w 255"/>
              <a:gd name="T43" fmla="*/ 175 h 274"/>
              <a:gd name="T44" fmla="*/ 53 w 255"/>
              <a:gd name="T45" fmla="*/ 173 h 274"/>
              <a:gd name="T46" fmla="*/ 82 w 255"/>
              <a:gd name="T47" fmla="*/ 161 h 274"/>
              <a:gd name="T48" fmla="*/ 117 w 255"/>
              <a:gd name="T49" fmla="*/ 160 h 274"/>
              <a:gd name="T50" fmla="*/ 128 w 255"/>
              <a:gd name="T51" fmla="*/ 182 h 274"/>
              <a:gd name="T52" fmla="*/ 139 w 255"/>
              <a:gd name="T53" fmla="*/ 176 h 274"/>
              <a:gd name="T54" fmla="*/ 141 w 255"/>
              <a:gd name="T55" fmla="*/ 183 h 274"/>
              <a:gd name="T56" fmla="*/ 143 w 255"/>
              <a:gd name="T57" fmla="*/ 193 h 274"/>
              <a:gd name="T58" fmla="*/ 149 w 255"/>
              <a:gd name="T59" fmla="*/ 209 h 274"/>
              <a:gd name="T60" fmla="*/ 170 w 255"/>
              <a:gd name="T61" fmla="*/ 225 h 274"/>
              <a:gd name="T62" fmla="*/ 183 w 255"/>
              <a:gd name="T63" fmla="*/ 223 h 274"/>
              <a:gd name="T64" fmla="*/ 196 w 255"/>
              <a:gd name="T65" fmla="*/ 220 h 274"/>
              <a:gd name="T66" fmla="*/ 215 w 255"/>
              <a:gd name="T67" fmla="*/ 203 h 274"/>
              <a:gd name="T68" fmla="*/ 236 w 255"/>
              <a:gd name="T69" fmla="*/ 173 h 274"/>
              <a:gd name="T70" fmla="*/ 248 w 255"/>
              <a:gd name="T71" fmla="*/ 145 h 274"/>
              <a:gd name="T72" fmla="*/ 251 w 255"/>
              <a:gd name="T73" fmla="*/ 113 h 274"/>
              <a:gd name="T74" fmla="*/ 240 w 255"/>
              <a:gd name="T75" fmla="*/ 94 h 274"/>
              <a:gd name="T76" fmla="*/ 234 w 255"/>
              <a:gd name="T77" fmla="*/ 83 h 274"/>
              <a:gd name="T78" fmla="*/ 224 w 255"/>
              <a:gd name="T79" fmla="*/ 69 h 274"/>
              <a:gd name="T80" fmla="*/ 215 w 255"/>
              <a:gd name="T81" fmla="*/ 49 h 274"/>
              <a:gd name="T82" fmla="*/ 206 w 255"/>
              <a:gd name="T83" fmla="*/ 29 h 274"/>
              <a:gd name="T84" fmla="*/ 199 w 255"/>
              <a:gd name="T85" fmla="*/ 9 h 274"/>
              <a:gd name="T86" fmla="*/ 191 w 255"/>
              <a:gd name="T87" fmla="*/ 21 h 274"/>
              <a:gd name="T88" fmla="*/ 183 w 255"/>
              <a:gd name="T89" fmla="*/ 52 h 274"/>
              <a:gd name="T90" fmla="*/ 160 w 255"/>
              <a:gd name="T91" fmla="*/ 40 h 274"/>
              <a:gd name="T92" fmla="*/ 155 w 255"/>
              <a:gd name="T93" fmla="*/ 22 h 274"/>
              <a:gd name="T94" fmla="*/ 157 w 255"/>
              <a:gd name="T95" fmla="*/ 15 h 274"/>
              <a:gd name="T96" fmla="*/ 148 w 255"/>
              <a:gd name="T97" fmla="*/ 13 h 274"/>
              <a:gd name="T98" fmla="*/ 131 w 255"/>
              <a:gd name="T99" fmla="*/ 8 h 274"/>
              <a:gd name="T100" fmla="*/ 124 w 255"/>
              <a:gd name="T101" fmla="*/ 16 h 274"/>
              <a:gd name="T102" fmla="*/ 115 w 255"/>
              <a:gd name="T103" fmla="*/ 25 h 274"/>
              <a:gd name="T104" fmla="*/ 111 w 255"/>
              <a:gd name="T105" fmla="*/ 33 h 274"/>
              <a:gd name="T106" fmla="*/ 103 w 255"/>
              <a:gd name="T107" fmla="*/ 35 h 274"/>
              <a:gd name="T108" fmla="*/ 91 w 255"/>
              <a:gd name="T109" fmla="*/ 27 h 274"/>
              <a:gd name="T110" fmla="*/ 83 w 255"/>
              <a:gd name="T111" fmla="*/ 35 h 274"/>
              <a:gd name="T112" fmla="*/ 78 w 255"/>
              <a:gd name="T113" fmla="*/ 43 h 274"/>
              <a:gd name="T114" fmla="*/ 71 w 255"/>
              <a:gd name="T115" fmla="*/ 45 h 274"/>
              <a:gd name="T116" fmla="*/ 60 w 255"/>
              <a:gd name="T117" fmla="*/ 59 h 274"/>
              <a:gd name="T118" fmla="*/ 29 w 255"/>
              <a:gd name="T119" fmla="*/ 72 h 274"/>
              <a:gd name="T120" fmla="*/ 9 w 255"/>
              <a:gd name="T121" fmla="*/ 82 h 274"/>
              <a:gd name="T122" fmla="*/ 5 w 255"/>
              <a:gd name="T123" fmla="*/ 110 h 274"/>
              <a:gd name="T124" fmla="*/ 8 w 255"/>
              <a:gd name="T125" fmla="*/ 145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5" h="274">
                <a:moveTo>
                  <a:pt x="252" y="131"/>
                </a:moveTo>
                <a:cubicBezTo>
                  <a:pt x="252" y="129"/>
                  <a:pt x="252" y="129"/>
                  <a:pt x="252" y="129"/>
                </a:cubicBezTo>
                <a:cubicBezTo>
                  <a:pt x="252" y="130"/>
                  <a:pt x="252" y="130"/>
                  <a:pt x="252" y="130"/>
                </a:cubicBezTo>
                <a:cubicBezTo>
                  <a:pt x="252" y="131"/>
                  <a:pt x="252" y="131"/>
                  <a:pt x="252" y="131"/>
                </a:cubicBezTo>
                <a:close/>
                <a:moveTo>
                  <a:pt x="252" y="115"/>
                </a:moveTo>
                <a:cubicBezTo>
                  <a:pt x="252" y="113"/>
                  <a:pt x="252" y="113"/>
                  <a:pt x="252" y="113"/>
                </a:cubicBezTo>
                <a:cubicBezTo>
                  <a:pt x="252" y="112"/>
                  <a:pt x="252" y="112"/>
                  <a:pt x="252" y="112"/>
                </a:cubicBezTo>
                <a:cubicBezTo>
                  <a:pt x="252" y="111"/>
                  <a:pt x="252" y="111"/>
                  <a:pt x="252" y="111"/>
                </a:cubicBezTo>
                <a:cubicBezTo>
                  <a:pt x="253" y="110"/>
                  <a:pt x="253" y="110"/>
                  <a:pt x="253" y="110"/>
                </a:cubicBezTo>
                <a:cubicBezTo>
                  <a:pt x="254" y="108"/>
                  <a:pt x="254" y="108"/>
                  <a:pt x="254" y="108"/>
                </a:cubicBezTo>
                <a:cubicBezTo>
                  <a:pt x="254" y="107"/>
                  <a:pt x="254" y="107"/>
                  <a:pt x="254" y="107"/>
                </a:cubicBezTo>
                <a:cubicBezTo>
                  <a:pt x="254" y="106"/>
                  <a:pt x="254" y="106"/>
                  <a:pt x="254" y="106"/>
                </a:cubicBezTo>
                <a:cubicBezTo>
                  <a:pt x="254" y="106"/>
                  <a:pt x="254" y="106"/>
                  <a:pt x="254" y="106"/>
                </a:cubicBezTo>
                <a:cubicBezTo>
                  <a:pt x="255" y="108"/>
                  <a:pt x="255" y="108"/>
                  <a:pt x="255" y="108"/>
                </a:cubicBezTo>
                <a:cubicBezTo>
                  <a:pt x="254" y="110"/>
                  <a:pt x="254" y="110"/>
                  <a:pt x="254" y="110"/>
                </a:cubicBezTo>
                <a:cubicBezTo>
                  <a:pt x="253" y="112"/>
                  <a:pt x="253" y="112"/>
                  <a:pt x="253" y="112"/>
                </a:cubicBezTo>
                <a:cubicBezTo>
                  <a:pt x="253" y="114"/>
                  <a:pt x="253" y="114"/>
                  <a:pt x="253" y="114"/>
                </a:cubicBezTo>
                <a:cubicBezTo>
                  <a:pt x="253" y="115"/>
                  <a:pt x="253" y="115"/>
                  <a:pt x="253" y="115"/>
                </a:cubicBezTo>
                <a:cubicBezTo>
                  <a:pt x="252" y="115"/>
                  <a:pt x="252" y="115"/>
                  <a:pt x="252" y="115"/>
                </a:cubicBezTo>
                <a:close/>
                <a:moveTo>
                  <a:pt x="242" y="97"/>
                </a:moveTo>
                <a:cubicBezTo>
                  <a:pt x="243" y="98"/>
                  <a:pt x="243" y="98"/>
                  <a:pt x="243" y="98"/>
                </a:cubicBezTo>
                <a:cubicBezTo>
                  <a:pt x="244" y="99"/>
                  <a:pt x="244" y="99"/>
                  <a:pt x="244" y="99"/>
                </a:cubicBezTo>
                <a:cubicBezTo>
                  <a:pt x="244" y="98"/>
                  <a:pt x="244" y="98"/>
                  <a:pt x="244" y="98"/>
                </a:cubicBezTo>
                <a:cubicBezTo>
                  <a:pt x="243" y="97"/>
                  <a:pt x="243" y="97"/>
                  <a:pt x="243" y="97"/>
                </a:cubicBezTo>
                <a:cubicBezTo>
                  <a:pt x="243" y="97"/>
                  <a:pt x="243" y="97"/>
                  <a:pt x="243" y="97"/>
                </a:cubicBezTo>
                <a:cubicBezTo>
                  <a:pt x="243" y="97"/>
                  <a:pt x="243" y="97"/>
                  <a:pt x="243" y="97"/>
                </a:cubicBezTo>
                <a:cubicBezTo>
                  <a:pt x="242" y="96"/>
                  <a:pt x="242" y="96"/>
                  <a:pt x="242" y="96"/>
                </a:cubicBezTo>
                <a:cubicBezTo>
                  <a:pt x="242" y="97"/>
                  <a:pt x="242" y="97"/>
                  <a:pt x="242" y="97"/>
                </a:cubicBezTo>
                <a:close/>
                <a:moveTo>
                  <a:pt x="240" y="88"/>
                </a:moveTo>
                <a:cubicBezTo>
                  <a:pt x="240" y="87"/>
                  <a:pt x="240" y="87"/>
                  <a:pt x="240" y="87"/>
                </a:cubicBezTo>
                <a:cubicBezTo>
                  <a:pt x="240" y="87"/>
                  <a:pt x="240" y="87"/>
                  <a:pt x="240" y="87"/>
                </a:cubicBezTo>
                <a:cubicBezTo>
                  <a:pt x="240" y="88"/>
                  <a:pt x="240" y="88"/>
                  <a:pt x="240" y="88"/>
                </a:cubicBezTo>
                <a:close/>
                <a:moveTo>
                  <a:pt x="216" y="60"/>
                </a:moveTo>
                <a:cubicBezTo>
                  <a:pt x="217" y="59"/>
                  <a:pt x="217" y="59"/>
                  <a:pt x="217" y="59"/>
                </a:cubicBezTo>
                <a:cubicBezTo>
                  <a:pt x="216" y="58"/>
                  <a:pt x="216" y="58"/>
                  <a:pt x="216" y="58"/>
                </a:cubicBezTo>
                <a:cubicBezTo>
                  <a:pt x="217" y="58"/>
                  <a:pt x="217" y="58"/>
                  <a:pt x="217" y="58"/>
                </a:cubicBezTo>
                <a:cubicBezTo>
                  <a:pt x="217" y="57"/>
                  <a:pt x="217" y="57"/>
                  <a:pt x="217" y="57"/>
                </a:cubicBezTo>
                <a:cubicBezTo>
                  <a:pt x="217" y="59"/>
                  <a:pt x="217" y="59"/>
                  <a:pt x="217" y="59"/>
                </a:cubicBezTo>
                <a:cubicBezTo>
                  <a:pt x="217" y="61"/>
                  <a:pt x="217" y="61"/>
                  <a:pt x="217" y="61"/>
                </a:cubicBezTo>
                <a:cubicBezTo>
                  <a:pt x="216" y="60"/>
                  <a:pt x="216" y="60"/>
                  <a:pt x="216" y="60"/>
                </a:cubicBezTo>
                <a:close/>
                <a:moveTo>
                  <a:pt x="196" y="0"/>
                </a:moveTo>
                <a:cubicBezTo>
                  <a:pt x="196" y="1"/>
                  <a:pt x="196" y="1"/>
                  <a:pt x="196" y="1"/>
                </a:cubicBezTo>
                <a:cubicBezTo>
                  <a:pt x="197" y="0"/>
                  <a:pt x="197" y="0"/>
                  <a:pt x="197" y="0"/>
                </a:cubicBezTo>
                <a:cubicBezTo>
                  <a:pt x="196" y="0"/>
                  <a:pt x="196" y="0"/>
                  <a:pt x="196" y="0"/>
                </a:cubicBezTo>
                <a:close/>
                <a:moveTo>
                  <a:pt x="195" y="3"/>
                </a:moveTo>
                <a:cubicBezTo>
                  <a:pt x="195" y="5"/>
                  <a:pt x="195" y="5"/>
                  <a:pt x="195" y="5"/>
                </a:cubicBezTo>
                <a:cubicBezTo>
                  <a:pt x="195" y="5"/>
                  <a:pt x="195" y="5"/>
                  <a:pt x="195" y="5"/>
                </a:cubicBezTo>
                <a:cubicBezTo>
                  <a:pt x="196" y="5"/>
                  <a:pt x="196" y="5"/>
                  <a:pt x="196" y="5"/>
                </a:cubicBezTo>
                <a:cubicBezTo>
                  <a:pt x="196" y="4"/>
                  <a:pt x="196" y="4"/>
                  <a:pt x="196" y="4"/>
                </a:cubicBezTo>
                <a:cubicBezTo>
                  <a:pt x="195" y="3"/>
                  <a:pt x="195" y="3"/>
                  <a:pt x="195" y="3"/>
                </a:cubicBezTo>
                <a:close/>
                <a:moveTo>
                  <a:pt x="175" y="49"/>
                </a:moveTo>
                <a:cubicBezTo>
                  <a:pt x="175" y="49"/>
                  <a:pt x="175" y="49"/>
                  <a:pt x="175" y="49"/>
                </a:cubicBezTo>
                <a:cubicBezTo>
                  <a:pt x="176" y="49"/>
                  <a:pt x="176" y="49"/>
                  <a:pt x="176" y="49"/>
                </a:cubicBezTo>
                <a:cubicBezTo>
                  <a:pt x="176" y="48"/>
                  <a:pt x="176" y="48"/>
                  <a:pt x="176" y="48"/>
                </a:cubicBezTo>
                <a:cubicBezTo>
                  <a:pt x="175" y="49"/>
                  <a:pt x="175" y="49"/>
                  <a:pt x="175" y="49"/>
                </a:cubicBezTo>
                <a:close/>
                <a:moveTo>
                  <a:pt x="173" y="46"/>
                </a:moveTo>
                <a:cubicBezTo>
                  <a:pt x="174" y="47"/>
                  <a:pt x="174" y="47"/>
                  <a:pt x="174" y="47"/>
                </a:cubicBezTo>
                <a:cubicBezTo>
                  <a:pt x="174" y="46"/>
                  <a:pt x="174" y="46"/>
                  <a:pt x="174" y="46"/>
                </a:cubicBezTo>
                <a:cubicBezTo>
                  <a:pt x="175" y="45"/>
                  <a:pt x="175" y="45"/>
                  <a:pt x="175" y="45"/>
                </a:cubicBezTo>
                <a:cubicBezTo>
                  <a:pt x="177" y="45"/>
                  <a:pt x="177" y="45"/>
                  <a:pt x="177" y="45"/>
                </a:cubicBezTo>
                <a:cubicBezTo>
                  <a:pt x="177" y="45"/>
                  <a:pt x="177" y="45"/>
                  <a:pt x="177" y="45"/>
                </a:cubicBezTo>
                <a:cubicBezTo>
                  <a:pt x="175" y="44"/>
                  <a:pt x="175" y="44"/>
                  <a:pt x="175" y="44"/>
                </a:cubicBezTo>
                <a:cubicBezTo>
                  <a:pt x="173" y="45"/>
                  <a:pt x="173" y="45"/>
                  <a:pt x="173" y="45"/>
                </a:cubicBezTo>
                <a:cubicBezTo>
                  <a:pt x="173" y="45"/>
                  <a:pt x="173" y="46"/>
                  <a:pt x="173" y="46"/>
                </a:cubicBezTo>
                <a:close/>
                <a:moveTo>
                  <a:pt x="160" y="40"/>
                </a:moveTo>
                <a:cubicBezTo>
                  <a:pt x="160" y="39"/>
                  <a:pt x="160" y="39"/>
                  <a:pt x="160" y="39"/>
                </a:cubicBezTo>
                <a:cubicBezTo>
                  <a:pt x="160" y="38"/>
                  <a:pt x="160" y="38"/>
                  <a:pt x="160" y="38"/>
                </a:cubicBezTo>
                <a:cubicBezTo>
                  <a:pt x="161" y="39"/>
                  <a:pt x="161" y="39"/>
                  <a:pt x="161" y="39"/>
                </a:cubicBezTo>
                <a:cubicBezTo>
                  <a:pt x="160" y="40"/>
                  <a:pt x="160" y="40"/>
                  <a:pt x="160" y="40"/>
                </a:cubicBezTo>
                <a:close/>
                <a:moveTo>
                  <a:pt x="156" y="26"/>
                </a:moveTo>
                <a:cubicBezTo>
                  <a:pt x="156" y="26"/>
                  <a:pt x="156" y="26"/>
                  <a:pt x="156" y="26"/>
                </a:cubicBezTo>
                <a:cubicBezTo>
                  <a:pt x="156" y="26"/>
                  <a:pt x="156" y="26"/>
                  <a:pt x="156" y="26"/>
                </a:cubicBezTo>
                <a:cubicBezTo>
                  <a:pt x="156" y="25"/>
                  <a:pt x="156" y="25"/>
                  <a:pt x="156" y="25"/>
                </a:cubicBezTo>
                <a:cubicBezTo>
                  <a:pt x="156" y="25"/>
                  <a:pt x="156" y="25"/>
                  <a:pt x="156" y="25"/>
                </a:cubicBezTo>
                <a:cubicBezTo>
                  <a:pt x="157" y="26"/>
                  <a:pt x="157" y="26"/>
                  <a:pt x="157" y="26"/>
                </a:cubicBezTo>
                <a:cubicBezTo>
                  <a:pt x="156" y="26"/>
                  <a:pt x="156" y="26"/>
                  <a:pt x="156" y="26"/>
                </a:cubicBezTo>
                <a:close/>
                <a:moveTo>
                  <a:pt x="158" y="28"/>
                </a:moveTo>
                <a:cubicBezTo>
                  <a:pt x="157" y="29"/>
                  <a:pt x="157" y="29"/>
                  <a:pt x="157" y="29"/>
                </a:cubicBezTo>
                <a:cubicBezTo>
                  <a:pt x="158" y="29"/>
                  <a:pt x="158" y="29"/>
                  <a:pt x="158" y="29"/>
                </a:cubicBezTo>
                <a:cubicBezTo>
                  <a:pt x="159" y="28"/>
                  <a:pt x="159" y="28"/>
                  <a:pt x="159" y="28"/>
                </a:cubicBezTo>
                <a:cubicBezTo>
                  <a:pt x="160" y="28"/>
                  <a:pt x="160" y="28"/>
                  <a:pt x="160" y="28"/>
                </a:cubicBezTo>
                <a:cubicBezTo>
                  <a:pt x="161" y="27"/>
                  <a:pt x="161" y="27"/>
                  <a:pt x="161" y="27"/>
                </a:cubicBezTo>
                <a:cubicBezTo>
                  <a:pt x="160" y="27"/>
                  <a:pt x="160" y="27"/>
                  <a:pt x="160" y="27"/>
                </a:cubicBezTo>
                <a:cubicBezTo>
                  <a:pt x="160" y="27"/>
                  <a:pt x="160" y="27"/>
                  <a:pt x="160" y="27"/>
                </a:cubicBezTo>
                <a:cubicBezTo>
                  <a:pt x="159" y="27"/>
                  <a:pt x="159" y="27"/>
                  <a:pt x="159" y="27"/>
                </a:cubicBezTo>
                <a:cubicBezTo>
                  <a:pt x="160" y="26"/>
                  <a:pt x="160" y="26"/>
                  <a:pt x="160" y="26"/>
                </a:cubicBezTo>
                <a:cubicBezTo>
                  <a:pt x="160" y="26"/>
                  <a:pt x="160" y="26"/>
                  <a:pt x="160" y="26"/>
                </a:cubicBezTo>
                <a:cubicBezTo>
                  <a:pt x="159" y="26"/>
                  <a:pt x="159" y="26"/>
                  <a:pt x="159" y="26"/>
                </a:cubicBezTo>
                <a:cubicBezTo>
                  <a:pt x="159" y="25"/>
                  <a:pt x="159" y="25"/>
                  <a:pt x="159" y="25"/>
                </a:cubicBezTo>
                <a:cubicBezTo>
                  <a:pt x="159" y="25"/>
                  <a:pt x="159" y="25"/>
                  <a:pt x="159" y="25"/>
                </a:cubicBezTo>
                <a:cubicBezTo>
                  <a:pt x="158" y="26"/>
                  <a:pt x="158" y="26"/>
                  <a:pt x="158" y="26"/>
                </a:cubicBezTo>
                <a:cubicBezTo>
                  <a:pt x="157" y="26"/>
                  <a:pt x="157" y="26"/>
                  <a:pt x="157" y="26"/>
                </a:cubicBezTo>
                <a:cubicBezTo>
                  <a:pt x="158" y="26"/>
                  <a:pt x="158" y="26"/>
                  <a:pt x="158" y="26"/>
                </a:cubicBezTo>
                <a:cubicBezTo>
                  <a:pt x="157" y="27"/>
                  <a:pt x="157" y="27"/>
                  <a:pt x="157" y="27"/>
                </a:cubicBezTo>
                <a:cubicBezTo>
                  <a:pt x="158" y="28"/>
                  <a:pt x="158" y="28"/>
                  <a:pt x="158" y="28"/>
                </a:cubicBezTo>
                <a:close/>
                <a:moveTo>
                  <a:pt x="159" y="9"/>
                </a:moveTo>
                <a:cubicBezTo>
                  <a:pt x="160" y="9"/>
                  <a:pt x="160" y="9"/>
                  <a:pt x="160" y="9"/>
                </a:cubicBezTo>
                <a:cubicBezTo>
                  <a:pt x="160" y="8"/>
                  <a:pt x="160" y="8"/>
                  <a:pt x="160" y="8"/>
                </a:cubicBezTo>
                <a:cubicBezTo>
                  <a:pt x="161" y="7"/>
                  <a:pt x="161" y="7"/>
                  <a:pt x="161" y="7"/>
                </a:cubicBezTo>
                <a:cubicBezTo>
                  <a:pt x="160" y="7"/>
                  <a:pt x="160" y="7"/>
                  <a:pt x="160" y="7"/>
                </a:cubicBezTo>
                <a:cubicBezTo>
                  <a:pt x="159" y="8"/>
                  <a:pt x="159" y="8"/>
                  <a:pt x="159" y="8"/>
                </a:cubicBezTo>
                <a:cubicBezTo>
                  <a:pt x="159" y="9"/>
                  <a:pt x="159" y="9"/>
                  <a:pt x="159" y="9"/>
                </a:cubicBezTo>
                <a:close/>
                <a:moveTo>
                  <a:pt x="157" y="10"/>
                </a:moveTo>
                <a:cubicBezTo>
                  <a:pt x="158" y="10"/>
                  <a:pt x="158" y="10"/>
                  <a:pt x="158" y="10"/>
                </a:cubicBezTo>
                <a:cubicBezTo>
                  <a:pt x="158" y="9"/>
                  <a:pt x="158" y="9"/>
                  <a:pt x="158" y="9"/>
                </a:cubicBezTo>
                <a:cubicBezTo>
                  <a:pt x="157" y="10"/>
                  <a:pt x="157" y="10"/>
                  <a:pt x="157" y="10"/>
                </a:cubicBezTo>
                <a:close/>
                <a:moveTo>
                  <a:pt x="156" y="10"/>
                </a:moveTo>
                <a:cubicBezTo>
                  <a:pt x="157" y="11"/>
                  <a:pt x="157" y="11"/>
                  <a:pt x="157" y="11"/>
                </a:cubicBezTo>
                <a:cubicBezTo>
                  <a:pt x="157" y="10"/>
                  <a:pt x="157" y="10"/>
                  <a:pt x="157" y="10"/>
                </a:cubicBezTo>
                <a:cubicBezTo>
                  <a:pt x="156" y="10"/>
                  <a:pt x="156" y="10"/>
                  <a:pt x="156" y="10"/>
                </a:cubicBezTo>
                <a:close/>
                <a:moveTo>
                  <a:pt x="154" y="11"/>
                </a:moveTo>
                <a:cubicBezTo>
                  <a:pt x="155" y="11"/>
                  <a:pt x="155" y="11"/>
                  <a:pt x="155" y="11"/>
                </a:cubicBezTo>
                <a:cubicBezTo>
                  <a:pt x="155" y="11"/>
                  <a:pt x="155" y="11"/>
                  <a:pt x="155" y="11"/>
                </a:cubicBezTo>
                <a:cubicBezTo>
                  <a:pt x="154" y="11"/>
                  <a:pt x="154" y="11"/>
                  <a:pt x="154" y="11"/>
                </a:cubicBezTo>
                <a:close/>
                <a:moveTo>
                  <a:pt x="153" y="13"/>
                </a:moveTo>
                <a:cubicBezTo>
                  <a:pt x="152" y="12"/>
                  <a:pt x="152" y="12"/>
                  <a:pt x="152" y="12"/>
                </a:cubicBezTo>
                <a:cubicBezTo>
                  <a:pt x="154" y="12"/>
                  <a:pt x="154" y="12"/>
                  <a:pt x="154" y="12"/>
                </a:cubicBezTo>
                <a:cubicBezTo>
                  <a:pt x="155" y="12"/>
                  <a:pt x="155" y="12"/>
                  <a:pt x="155" y="12"/>
                </a:cubicBezTo>
                <a:cubicBezTo>
                  <a:pt x="154" y="12"/>
                  <a:pt x="154" y="12"/>
                  <a:pt x="154" y="12"/>
                </a:cubicBezTo>
                <a:cubicBezTo>
                  <a:pt x="153" y="13"/>
                  <a:pt x="153" y="13"/>
                  <a:pt x="153" y="13"/>
                </a:cubicBezTo>
                <a:cubicBezTo>
                  <a:pt x="153" y="13"/>
                  <a:pt x="153" y="13"/>
                  <a:pt x="153" y="13"/>
                </a:cubicBezTo>
                <a:close/>
                <a:moveTo>
                  <a:pt x="151" y="14"/>
                </a:moveTo>
                <a:cubicBezTo>
                  <a:pt x="151" y="14"/>
                  <a:pt x="151" y="14"/>
                  <a:pt x="151" y="14"/>
                </a:cubicBezTo>
                <a:cubicBezTo>
                  <a:pt x="152" y="14"/>
                  <a:pt x="152" y="14"/>
                  <a:pt x="152" y="14"/>
                </a:cubicBezTo>
                <a:cubicBezTo>
                  <a:pt x="152" y="13"/>
                  <a:pt x="152" y="13"/>
                  <a:pt x="152" y="13"/>
                </a:cubicBezTo>
                <a:cubicBezTo>
                  <a:pt x="151" y="14"/>
                  <a:pt x="151" y="14"/>
                  <a:pt x="151" y="14"/>
                </a:cubicBezTo>
                <a:close/>
                <a:moveTo>
                  <a:pt x="135" y="9"/>
                </a:moveTo>
                <a:cubicBezTo>
                  <a:pt x="134" y="7"/>
                  <a:pt x="134" y="7"/>
                  <a:pt x="134" y="7"/>
                </a:cubicBezTo>
                <a:cubicBezTo>
                  <a:pt x="134" y="6"/>
                  <a:pt x="134" y="6"/>
                  <a:pt x="134" y="6"/>
                </a:cubicBezTo>
                <a:cubicBezTo>
                  <a:pt x="135" y="6"/>
                  <a:pt x="135" y="6"/>
                  <a:pt x="135" y="6"/>
                </a:cubicBezTo>
                <a:cubicBezTo>
                  <a:pt x="135" y="7"/>
                  <a:pt x="135" y="7"/>
                  <a:pt x="135" y="7"/>
                </a:cubicBezTo>
                <a:cubicBezTo>
                  <a:pt x="135" y="9"/>
                  <a:pt x="135" y="9"/>
                  <a:pt x="135" y="9"/>
                </a:cubicBezTo>
                <a:close/>
                <a:moveTo>
                  <a:pt x="121" y="8"/>
                </a:moveTo>
                <a:cubicBezTo>
                  <a:pt x="121" y="9"/>
                  <a:pt x="121" y="9"/>
                  <a:pt x="121" y="9"/>
                </a:cubicBezTo>
                <a:cubicBezTo>
                  <a:pt x="122" y="11"/>
                  <a:pt x="122" y="11"/>
                  <a:pt x="122" y="11"/>
                </a:cubicBezTo>
                <a:cubicBezTo>
                  <a:pt x="123" y="12"/>
                  <a:pt x="123" y="12"/>
                  <a:pt x="123" y="12"/>
                </a:cubicBezTo>
                <a:cubicBezTo>
                  <a:pt x="124" y="13"/>
                  <a:pt x="124" y="13"/>
                  <a:pt x="124" y="13"/>
                </a:cubicBezTo>
                <a:cubicBezTo>
                  <a:pt x="127" y="10"/>
                  <a:pt x="127" y="10"/>
                  <a:pt x="127" y="10"/>
                </a:cubicBezTo>
                <a:cubicBezTo>
                  <a:pt x="127" y="10"/>
                  <a:pt x="127" y="10"/>
                  <a:pt x="127" y="10"/>
                </a:cubicBezTo>
                <a:cubicBezTo>
                  <a:pt x="127" y="10"/>
                  <a:pt x="127" y="10"/>
                  <a:pt x="127" y="10"/>
                </a:cubicBezTo>
                <a:cubicBezTo>
                  <a:pt x="128" y="9"/>
                  <a:pt x="128" y="9"/>
                  <a:pt x="128" y="9"/>
                </a:cubicBezTo>
                <a:cubicBezTo>
                  <a:pt x="127" y="9"/>
                  <a:pt x="127" y="9"/>
                  <a:pt x="127" y="9"/>
                </a:cubicBezTo>
                <a:cubicBezTo>
                  <a:pt x="127" y="8"/>
                  <a:pt x="127" y="8"/>
                  <a:pt x="127" y="8"/>
                </a:cubicBezTo>
                <a:cubicBezTo>
                  <a:pt x="126" y="8"/>
                  <a:pt x="126" y="8"/>
                  <a:pt x="126" y="8"/>
                </a:cubicBezTo>
                <a:cubicBezTo>
                  <a:pt x="126" y="8"/>
                  <a:pt x="126" y="8"/>
                  <a:pt x="126" y="8"/>
                </a:cubicBezTo>
                <a:cubicBezTo>
                  <a:pt x="124" y="8"/>
                  <a:pt x="124" y="8"/>
                  <a:pt x="124" y="8"/>
                </a:cubicBezTo>
                <a:cubicBezTo>
                  <a:pt x="123" y="9"/>
                  <a:pt x="123" y="9"/>
                  <a:pt x="123" y="9"/>
                </a:cubicBezTo>
                <a:cubicBezTo>
                  <a:pt x="123" y="9"/>
                  <a:pt x="123" y="9"/>
                  <a:pt x="123" y="9"/>
                </a:cubicBezTo>
                <a:cubicBezTo>
                  <a:pt x="122" y="8"/>
                  <a:pt x="122" y="8"/>
                  <a:pt x="122" y="8"/>
                </a:cubicBezTo>
                <a:cubicBezTo>
                  <a:pt x="122" y="8"/>
                  <a:pt x="122" y="8"/>
                  <a:pt x="122" y="8"/>
                </a:cubicBezTo>
                <a:cubicBezTo>
                  <a:pt x="121" y="8"/>
                  <a:pt x="121" y="8"/>
                  <a:pt x="121" y="8"/>
                </a:cubicBezTo>
                <a:cubicBezTo>
                  <a:pt x="120" y="8"/>
                  <a:pt x="120" y="8"/>
                  <a:pt x="120" y="8"/>
                </a:cubicBezTo>
                <a:cubicBezTo>
                  <a:pt x="121" y="8"/>
                  <a:pt x="121" y="8"/>
                  <a:pt x="121" y="8"/>
                </a:cubicBezTo>
                <a:close/>
                <a:moveTo>
                  <a:pt x="120" y="8"/>
                </a:moveTo>
                <a:cubicBezTo>
                  <a:pt x="121" y="11"/>
                  <a:pt x="121" y="11"/>
                  <a:pt x="121" y="11"/>
                </a:cubicBezTo>
                <a:cubicBezTo>
                  <a:pt x="122" y="11"/>
                  <a:pt x="122" y="11"/>
                  <a:pt x="122" y="11"/>
                </a:cubicBezTo>
                <a:cubicBezTo>
                  <a:pt x="122" y="11"/>
                  <a:pt x="122" y="11"/>
                  <a:pt x="122" y="11"/>
                </a:cubicBezTo>
                <a:cubicBezTo>
                  <a:pt x="121" y="11"/>
                  <a:pt x="121" y="11"/>
                  <a:pt x="121" y="11"/>
                </a:cubicBezTo>
                <a:cubicBezTo>
                  <a:pt x="120" y="11"/>
                  <a:pt x="120" y="11"/>
                  <a:pt x="120" y="11"/>
                </a:cubicBezTo>
                <a:cubicBezTo>
                  <a:pt x="119" y="11"/>
                  <a:pt x="119" y="11"/>
                  <a:pt x="119" y="11"/>
                </a:cubicBezTo>
                <a:cubicBezTo>
                  <a:pt x="119" y="10"/>
                  <a:pt x="119" y="10"/>
                  <a:pt x="119" y="10"/>
                </a:cubicBezTo>
                <a:cubicBezTo>
                  <a:pt x="119" y="10"/>
                  <a:pt x="119" y="10"/>
                  <a:pt x="119" y="10"/>
                </a:cubicBezTo>
                <a:cubicBezTo>
                  <a:pt x="120" y="10"/>
                  <a:pt x="120" y="10"/>
                  <a:pt x="120" y="10"/>
                </a:cubicBezTo>
                <a:cubicBezTo>
                  <a:pt x="120" y="10"/>
                  <a:pt x="120" y="10"/>
                  <a:pt x="120" y="10"/>
                </a:cubicBezTo>
                <a:cubicBezTo>
                  <a:pt x="119" y="10"/>
                  <a:pt x="119" y="10"/>
                  <a:pt x="119" y="10"/>
                </a:cubicBezTo>
                <a:cubicBezTo>
                  <a:pt x="120" y="9"/>
                  <a:pt x="120" y="9"/>
                  <a:pt x="120" y="9"/>
                </a:cubicBezTo>
                <a:cubicBezTo>
                  <a:pt x="119" y="9"/>
                  <a:pt x="119" y="9"/>
                  <a:pt x="119" y="9"/>
                </a:cubicBezTo>
                <a:cubicBezTo>
                  <a:pt x="120" y="8"/>
                  <a:pt x="120" y="8"/>
                  <a:pt x="120" y="8"/>
                </a:cubicBezTo>
                <a:close/>
                <a:moveTo>
                  <a:pt x="80" y="35"/>
                </a:moveTo>
                <a:cubicBezTo>
                  <a:pt x="81" y="36"/>
                  <a:pt x="81" y="36"/>
                  <a:pt x="81" y="36"/>
                </a:cubicBezTo>
                <a:cubicBezTo>
                  <a:pt x="82" y="36"/>
                  <a:pt x="82" y="36"/>
                  <a:pt x="82" y="36"/>
                </a:cubicBezTo>
                <a:cubicBezTo>
                  <a:pt x="81" y="35"/>
                  <a:pt x="81" y="35"/>
                  <a:pt x="81" y="35"/>
                </a:cubicBezTo>
                <a:cubicBezTo>
                  <a:pt x="81" y="35"/>
                  <a:pt x="80" y="35"/>
                  <a:pt x="80" y="35"/>
                </a:cubicBezTo>
                <a:close/>
                <a:moveTo>
                  <a:pt x="80" y="40"/>
                </a:moveTo>
                <a:cubicBezTo>
                  <a:pt x="80" y="38"/>
                  <a:pt x="80" y="38"/>
                  <a:pt x="80" y="38"/>
                </a:cubicBezTo>
                <a:cubicBezTo>
                  <a:pt x="80" y="37"/>
                  <a:pt x="80" y="37"/>
                  <a:pt x="80" y="37"/>
                </a:cubicBezTo>
                <a:cubicBezTo>
                  <a:pt x="80" y="39"/>
                  <a:pt x="80" y="39"/>
                  <a:pt x="80" y="39"/>
                </a:cubicBezTo>
                <a:cubicBezTo>
                  <a:pt x="80" y="40"/>
                  <a:pt x="80" y="40"/>
                  <a:pt x="80" y="40"/>
                </a:cubicBezTo>
                <a:close/>
                <a:moveTo>
                  <a:pt x="86" y="30"/>
                </a:moveTo>
                <a:cubicBezTo>
                  <a:pt x="85" y="30"/>
                  <a:pt x="85" y="30"/>
                  <a:pt x="85" y="30"/>
                </a:cubicBezTo>
                <a:cubicBezTo>
                  <a:pt x="85" y="30"/>
                  <a:pt x="85" y="30"/>
                  <a:pt x="85" y="30"/>
                </a:cubicBezTo>
                <a:cubicBezTo>
                  <a:pt x="86" y="30"/>
                  <a:pt x="86" y="30"/>
                  <a:pt x="86" y="30"/>
                </a:cubicBezTo>
                <a:cubicBezTo>
                  <a:pt x="86" y="30"/>
                  <a:pt x="86" y="30"/>
                  <a:pt x="86" y="30"/>
                </a:cubicBezTo>
                <a:close/>
                <a:moveTo>
                  <a:pt x="19" y="74"/>
                </a:moveTo>
                <a:cubicBezTo>
                  <a:pt x="19" y="73"/>
                  <a:pt x="19" y="73"/>
                  <a:pt x="19" y="73"/>
                </a:cubicBezTo>
                <a:cubicBezTo>
                  <a:pt x="20" y="71"/>
                  <a:pt x="20" y="71"/>
                  <a:pt x="20" y="71"/>
                </a:cubicBezTo>
                <a:cubicBezTo>
                  <a:pt x="20" y="73"/>
                  <a:pt x="20" y="73"/>
                  <a:pt x="20" y="73"/>
                </a:cubicBezTo>
                <a:cubicBezTo>
                  <a:pt x="19" y="74"/>
                  <a:pt x="19" y="74"/>
                  <a:pt x="19" y="74"/>
                </a:cubicBezTo>
                <a:close/>
                <a:moveTo>
                  <a:pt x="0" y="106"/>
                </a:moveTo>
                <a:cubicBezTo>
                  <a:pt x="1" y="103"/>
                  <a:pt x="1" y="103"/>
                  <a:pt x="1" y="103"/>
                </a:cubicBezTo>
                <a:cubicBezTo>
                  <a:pt x="1" y="105"/>
                  <a:pt x="1" y="105"/>
                  <a:pt x="1" y="105"/>
                </a:cubicBezTo>
                <a:cubicBezTo>
                  <a:pt x="1" y="105"/>
                  <a:pt x="0" y="106"/>
                  <a:pt x="0" y="106"/>
                </a:cubicBezTo>
                <a:close/>
                <a:moveTo>
                  <a:pt x="0" y="111"/>
                </a:moveTo>
                <a:cubicBezTo>
                  <a:pt x="0" y="108"/>
                  <a:pt x="0" y="108"/>
                  <a:pt x="0" y="108"/>
                </a:cubicBezTo>
                <a:cubicBezTo>
                  <a:pt x="0" y="107"/>
                  <a:pt x="0" y="107"/>
                  <a:pt x="0" y="107"/>
                </a:cubicBezTo>
                <a:cubicBezTo>
                  <a:pt x="1" y="109"/>
                  <a:pt x="1" y="109"/>
                  <a:pt x="1" y="109"/>
                </a:cubicBezTo>
                <a:cubicBezTo>
                  <a:pt x="0" y="111"/>
                  <a:pt x="0" y="111"/>
                  <a:pt x="0" y="111"/>
                </a:cubicBezTo>
                <a:close/>
                <a:moveTo>
                  <a:pt x="139" y="192"/>
                </a:moveTo>
                <a:cubicBezTo>
                  <a:pt x="139" y="193"/>
                  <a:pt x="139" y="193"/>
                  <a:pt x="139" y="193"/>
                </a:cubicBezTo>
                <a:cubicBezTo>
                  <a:pt x="140" y="194"/>
                  <a:pt x="140" y="194"/>
                  <a:pt x="140" y="194"/>
                </a:cubicBezTo>
                <a:cubicBezTo>
                  <a:pt x="140" y="194"/>
                  <a:pt x="140" y="194"/>
                  <a:pt x="140" y="194"/>
                </a:cubicBezTo>
                <a:cubicBezTo>
                  <a:pt x="140" y="195"/>
                  <a:pt x="140" y="195"/>
                  <a:pt x="140" y="195"/>
                </a:cubicBezTo>
                <a:cubicBezTo>
                  <a:pt x="141" y="195"/>
                  <a:pt x="141" y="195"/>
                  <a:pt x="141" y="195"/>
                </a:cubicBezTo>
                <a:cubicBezTo>
                  <a:pt x="142" y="194"/>
                  <a:pt x="142" y="194"/>
                  <a:pt x="142" y="194"/>
                </a:cubicBezTo>
                <a:cubicBezTo>
                  <a:pt x="143" y="195"/>
                  <a:pt x="143" y="195"/>
                  <a:pt x="143" y="195"/>
                </a:cubicBezTo>
                <a:cubicBezTo>
                  <a:pt x="142" y="195"/>
                  <a:pt x="142" y="195"/>
                  <a:pt x="142" y="195"/>
                </a:cubicBezTo>
                <a:cubicBezTo>
                  <a:pt x="139" y="195"/>
                  <a:pt x="139" y="195"/>
                  <a:pt x="139" y="195"/>
                </a:cubicBezTo>
                <a:cubicBezTo>
                  <a:pt x="139" y="196"/>
                  <a:pt x="139" y="196"/>
                  <a:pt x="139" y="196"/>
                </a:cubicBezTo>
                <a:cubicBezTo>
                  <a:pt x="138" y="196"/>
                  <a:pt x="138" y="196"/>
                  <a:pt x="138" y="196"/>
                </a:cubicBezTo>
                <a:cubicBezTo>
                  <a:pt x="138" y="196"/>
                  <a:pt x="138" y="196"/>
                  <a:pt x="138" y="196"/>
                </a:cubicBezTo>
                <a:cubicBezTo>
                  <a:pt x="138" y="196"/>
                  <a:pt x="138" y="196"/>
                  <a:pt x="138" y="196"/>
                </a:cubicBezTo>
                <a:cubicBezTo>
                  <a:pt x="137" y="196"/>
                  <a:pt x="137" y="196"/>
                  <a:pt x="137" y="196"/>
                </a:cubicBezTo>
                <a:cubicBezTo>
                  <a:pt x="136" y="196"/>
                  <a:pt x="136" y="196"/>
                  <a:pt x="136" y="196"/>
                </a:cubicBezTo>
                <a:cubicBezTo>
                  <a:pt x="135" y="196"/>
                  <a:pt x="135" y="196"/>
                  <a:pt x="135" y="196"/>
                </a:cubicBezTo>
                <a:cubicBezTo>
                  <a:pt x="135" y="196"/>
                  <a:pt x="135" y="196"/>
                  <a:pt x="135" y="196"/>
                </a:cubicBezTo>
                <a:cubicBezTo>
                  <a:pt x="133" y="196"/>
                  <a:pt x="133" y="196"/>
                  <a:pt x="133" y="196"/>
                </a:cubicBezTo>
                <a:cubicBezTo>
                  <a:pt x="132" y="195"/>
                  <a:pt x="132" y="195"/>
                  <a:pt x="132" y="195"/>
                </a:cubicBezTo>
                <a:cubicBezTo>
                  <a:pt x="133" y="194"/>
                  <a:pt x="133" y="194"/>
                  <a:pt x="133" y="194"/>
                </a:cubicBezTo>
                <a:cubicBezTo>
                  <a:pt x="134" y="194"/>
                  <a:pt x="134" y="194"/>
                  <a:pt x="134" y="194"/>
                </a:cubicBezTo>
                <a:cubicBezTo>
                  <a:pt x="137" y="193"/>
                  <a:pt x="137" y="193"/>
                  <a:pt x="137" y="193"/>
                </a:cubicBezTo>
                <a:cubicBezTo>
                  <a:pt x="139" y="193"/>
                  <a:pt x="139" y="193"/>
                  <a:pt x="139" y="193"/>
                </a:cubicBezTo>
                <a:cubicBezTo>
                  <a:pt x="139" y="192"/>
                  <a:pt x="139" y="192"/>
                  <a:pt x="139" y="192"/>
                </a:cubicBezTo>
                <a:close/>
                <a:moveTo>
                  <a:pt x="180" y="222"/>
                </a:moveTo>
                <a:cubicBezTo>
                  <a:pt x="181" y="222"/>
                  <a:pt x="181" y="222"/>
                  <a:pt x="181" y="222"/>
                </a:cubicBezTo>
                <a:cubicBezTo>
                  <a:pt x="181" y="222"/>
                  <a:pt x="181" y="222"/>
                  <a:pt x="181" y="222"/>
                </a:cubicBezTo>
                <a:cubicBezTo>
                  <a:pt x="181" y="223"/>
                  <a:pt x="181" y="223"/>
                  <a:pt x="181" y="223"/>
                </a:cubicBezTo>
                <a:cubicBezTo>
                  <a:pt x="180" y="222"/>
                  <a:pt x="180" y="222"/>
                  <a:pt x="180" y="222"/>
                </a:cubicBezTo>
                <a:close/>
                <a:moveTo>
                  <a:pt x="187" y="226"/>
                </a:moveTo>
                <a:cubicBezTo>
                  <a:pt x="187" y="227"/>
                  <a:pt x="187" y="227"/>
                  <a:pt x="187" y="227"/>
                </a:cubicBezTo>
                <a:cubicBezTo>
                  <a:pt x="188" y="226"/>
                  <a:pt x="188" y="226"/>
                  <a:pt x="188" y="226"/>
                </a:cubicBezTo>
                <a:cubicBezTo>
                  <a:pt x="187" y="226"/>
                  <a:pt x="187" y="226"/>
                  <a:pt x="187" y="226"/>
                </a:cubicBezTo>
                <a:close/>
                <a:moveTo>
                  <a:pt x="172" y="243"/>
                </a:moveTo>
                <a:cubicBezTo>
                  <a:pt x="172" y="244"/>
                  <a:pt x="172" y="244"/>
                  <a:pt x="172" y="244"/>
                </a:cubicBezTo>
                <a:cubicBezTo>
                  <a:pt x="173" y="244"/>
                  <a:pt x="173" y="244"/>
                  <a:pt x="173" y="244"/>
                </a:cubicBezTo>
                <a:cubicBezTo>
                  <a:pt x="173" y="244"/>
                  <a:pt x="173" y="244"/>
                  <a:pt x="173" y="244"/>
                </a:cubicBezTo>
                <a:cubicBezTo>
                  <a:pt x="173" y="243"/>
                  <a:pt x="173" y="243"/>
                  <a:pt x="173" y="243"/>
                </a:cubicBezTo>
                <a:cubicBezTo>
                  <a:pt x="172" y="243"/>
                  <a:pt x="172" y="243"/>
                  <a:pt x="172" y="243"/>
                </a:cubicBezTo>
                <a:close/>
                <a:moveTo>
                  <a:pt x="172" y="241"/>
                </a:moveTo>
                <a:cubicBezTo>
                  <a:pt x="172" y="242"/>
                  <a:pt x="172" y="242"/>
                  <a:pt x="172" y="242"/>
                </a:cubicBezTo>
                <a:cubicBezTo>
                  <a:pt x="173" y="242"/>
                  <a:pt x="173" y="242"/>
                  <a:pt x="173" y="242"/>
                </a:cubicBezTo>
                <a:cubicBezTo>
                  <a:pt x="173" y="241"/>
                  <a:pt x="173" y="241"/>
                  <a:pt x="173" y="241"/>
                </a:cubicBezTo>
                <a:cubicBezTo>
                  <a:pt x="172" y="241"/>
                  <a:pt x="172" y="241"/>
                  <a:pt x="172" y="241"/>
                </a:cubicBezTo>
                <a:close/>
                <a:moveTo>
                  <a:pt x="171" y="242"/>
                </a:moveTo>
                <a:cubicBezTo>
                  <a:pt x="171" y="242"/>
                  <a:pt x="171" y="242"/>
                  <a:pt x="171" y="242"/>
                </a:cubicBezTo>
                <a:cubicBezTo>
                  <a:pt x="171" y="241"/>
                  <a:pt x="171" y="241"/>
                  <a:pt x="171" y="241"/>
                </a:cubicBezTo>
                <a:cubicBezTo>
                  <a:pt x="172" y="240"/>
                  <a:pt x="172" y="240"/>
                  <a:pt x="172" y="240"/>
                </a:cubicBezTo>
                <a:cubicBezTo>
                  <a:pt x="172" y="241"/>
                  <a:pt x="172" y="241"/>
                  <a:pt x="172" y="241"/>
                </a:cubicBezTo>
                <a:cubicBezTo>
                  <a:pt x="171" y="242"/>
                  <a:pt x="171" y="242"/>
                  <a:pt x="171" y="242"/>
                </a:cubicBezTo>
                <a:close/>
                <a:moveTo>
                  <a:pt x="167" y="238"/>
                </a:moveTo>
                <a:cubicBezTo>
                  <a:pt x="167" y="237"/>
                  <a:pt x="167" y="237"/>
                  <a:pt x="167" y="237"/>
                </a:cubicBezTo>
                <a:cubicBezTo>
                  <a:pt x="167" y="236"/>
                  <a:pt x="167" y="236"/>
                  <a:pt x="167" y="236"/>
                </a:cubicBezTo>
                <a:cubicBezTo>
                  <a:pt x="168" y="235"/>
                  <a:pt x="168" y="235"/>
                  <a:pt x="168" y="235"/>
                </a:cubicBezTo>
                <a:cubicBezTo>
                  <a:pt x="168" y="234"/>
                  <a:pt x="168" y="234"/>
                  <a:pt x="168" y="234"/>
                </a:cubicBezTo>
                <a:cubicBezTo>
                  <a:pt x="169" y="233"/>
                  <a:pt x="169" y="233"/>
                  <a:pt x="169" y="233"/>
                </a:cubicBezTo>
                <a:cubicBezTo>
                  <a:pt x="169" y="232"/>
                  <a:pt x="169" y="232"/>
                  <a:pt x="169" y="232"/>
                </a:cubicBezTo>
                <a:cubicBezTo>
                  <a:pt x="170" y="233"/>
                  <a:pt x="170" y="233"/>
                  <a:pt x="170" y="233"/>
                </a:cubicBezTo>
                <a:cubicBezTo>
                  <a:pt x="170" y="235"/>
                  <a:pt x="170" y="235"/>
                  <a:pt x="170" y="235"/>
                </a:cubicBezTo>
                <a:cubicBezTo>
                  <a:pt x="170" y="235"/>
                  <a:pt x="170" y="235"/>
                  <a:pt x="170" y="235"/>
                </a:cubicBezTo>
                <a:cubicBezTo>
                  <a:pt x="169" y="237"/>
                  <a:pt x="169" y="237"/>
                  <a:pt x="169" y="237"/>
                </a:cubicBezTo>
                <a:cubicBezTo>
                  <a:pt x="169" y="237"/>
                  <a:pt x="169" y="237"/>
                  <a:pt x="169" y="237"/>
                </a:cubicBezTo>
                <a:cubicBezTo>
                  <a:pt x="168" y="238"/>
                  <a:pt x="168" y="238"/>
                  <a:pt x="168" y="238"/>
                </a:cubicBezTo>
                <a:cubicBezTo>
                  <a:pt x="167" y="238"/>
                  <a:pt x="167" y="238"/>
                  <a:pt x="167" y="238"/>
                </a:cubicBezTo>
                <a:close/>
                <a:moveTo>
                  <a:pt x="192" y="241"/>
                </a:moveTo>
                <a:cubicBezTo>
                  <a:pt x="195" y="240"/>
                  <a:pt x="195" y="240"/>
                  <a:pt x="195" y="240"/>
                </a:cubicBezTo>
                <a:cubicBezTo>
                  <a:pt x="195" y="239"/>
                  <a:pt x="195" y="239"/>
                  <a:pt x="195" y="239"/>
                </a:cubicBezTo>
                <a:cubicBezTo>
                  <a:pt x="192" y="237"/>
                  <a:pt x="192" y="237"/>
                  <a:pt x="192" y="237"/>
                </a:cubicBezTo>
                <a:cubicBezTo>
                  <a:pt x="192" y="237"/>
                  <a:pt x="192" y="237"/>
                  <a:pt x="192" y="237"/>
                </a:cubicBezTo>
                <a:cubicBezTo>
                  <a:pt x="192" y="238"/>
                  <a:pt x="192" y="238"/>
                  <a:pt x="192" y="238"/>
                </a:cubicBezTo>
                <a:cubicBezTo>
                  <a:pt x="191" y="239"/>
                  <a:pt x="191" y="239"/>
                  <a:pt x="191" y="239"/>
                </a:cubicBezTo>
                <a:cubicBezTo>
                  <a:pt x="192" y="240"/>
                  <a:pt x="192" y="240"/>
                  <a:pt x="192" y="240"/>
                </a:cubicBezTo>
                <a:cubicBezTo>
                  <a:pt x="192" y="241"/>
                  <a:pt x="192" y="241"/>
                  <a:pt x="192" y="241"/>
                </a:cubicBezTo>
                <a:close/>
                <a:moveTo>
                  <a:pt x="191" y="242"/>
                </a:moveTo>
                <a:cubicBezTo>
                  <a:pt x="191" y="243"/>
                  <a:pt x="191" y="243"/>
                  <a:pt x="191" y="243"/>
                </a:cubicBezTo>
                <a:cubicBezTo>
                  <a:pt x="193" y="243"/>
                  <a:pt x="193" y="243"/>
                  <a:pt x="193" y="243"/>
                </a:cubicBezTo>
                <a:cubicBezTo>
                  <a:pt x="194" y="244"/>
                  <a:pt x="194" y="244"/>
                  <a:pt x="194" y="244"/>
                </a:cubicBezTo>
                <a:cubicBezTo>
                  <a:pt x="195" y="243"/>
                  <a:pt x="195" y="243"/>
                  <a:pt x="195" y="243"/>
                </a:cubicBezTo>
                <a:cubicBezTo>
                  <a:pt x="193" y="242"/>
                  <a:pt x="193" y="242"/>
                  <a:pt x="193" y="242"/>
                </a:cubicBezTo>
                <a:cubicBezTo>
                  <a:pt x="192" y="242"/>
                  <a:pt x="192" y="242"/>
                  <a:pt x="192" y="242"/>
                </a:cubicBezTo>
                <a:cubicBezTo>
                  <a:pt x="191" y="242"/>
                  <a:pt x="191" y="242"/>
                  <a:pt x="191" y="242"/>
                </a:cubicBezTo>
                <a:close/>
                <a:moveTo>
                  <a:pt x="192" y="245"/>
                </a:moveTo>
                <a:cubicBezTo>
                  <a:pt x="192" y="245"/>
                  <a:pt x="192" y="245"/>
                  <a:pt x="192" y="245"/>
                </a:cubicBezTo>
                <a:cubicBezTo>
                  <a:pt x="193" y="244"/>
                  <a:pt x="193" y="244"/>
                  <a:pt x="193" y="244"/>
                </a:cubicBezTo>
                <a:cubicBezTo>
                  <a:pt x="192" y="245"/>
                  <a:pt x="192" y="245"/>
                  <a:pt x="192" y="245"/>
                </a:cubicBezTo>
                <a:close/>
                <a:moveTo>
                  <a:pt x="186" y="266"/>
                </a:moveTo>
                <a:cubicBezTo>
                  <a:pt x="186" y="265"/>
                  <a:pt x="186" y="265"/>
                  <a:pt x="186" y="265"/>
                </a:cubicBezTo>
                <a:cubicBezTo>
                  <a:pt x="186" y="265"/>
                  <a:pt x="186" y="265"/>
                  <a:pt x="186" y="265"/>
                </a:cubicBezTo>
                <a:cubicBezTo>
                  <a:pt x="186" y="266"/>
                  <a:pt x="186" y="266"/>
                  <a:pt x="186" y="266"/>
                </a:cubicBezTo>
                <a:close/>
                <a:moveTo>
                  <a:pt x="178" y="273"/>
                </a:moveTo>
                <a:cubicBezTo>
                  <a:pt x="177" y="272"/>
                  <a:pt x="177" y="272"/>
                  <a:pt x="177" y="272"/>
                </a:cubicBezTo>
                <a:cubicBezTo>
                  <a:pt x="178" y="271"/>
                  <a:pt x="178" y="271"/>
                  <a:pt x="178" y="271"/>
                </a:cubicBezTo>
                <a:cubicBezTo>
                  <a:pt x="178" y="270"/>
                  <a:pt x="178" y="270"/>
                  <a:pt x="178" y="270"/>
                </a:cubicBezTo>
                <a:cubicBezTo>
                  <a:pt x="179" y="270"/>
                  <a:pt x="179" y="270"/>
                  <a:pt x="179" y="270"/>
                </a:cubicBezTo>
                <a:cubicBezTo>
                  <a:pt x="179" y="270"/>
                  <a:pt x="179" y="270"/>
                  <a:pt x="179" y="270"/>
                </a:cubicBezTo>
                <a:cubicBezTo>
                  <a:pt x="179" y="271"/>
                  <a:pt x="179" y="271"/>
                  <a:pt x="179" y="271"/>
                </a:cubicBezTo>
                <a:cubicBezTo>
                  <a:pt x="178" y="273"/>
                  <a:pt x="178" y="273"/>
                  <a:pt x="178" y="273"/>
                </a:cubicBezTo>
                <a:close/>
                <a:moveTo>
                  <a:pt x="170" y="272"/>
                </a:moveTo>
                <a:cubicBezTo>
                  <a:pt x="170" y="271"/>
                  <a:pt x="170" y="271"/>
                  <a:pt x="170" y="271"/>
                </a:cubicBezTo>
                <a:cubicBezTo>
                  <a:pt x="171" y="270"/>
                  <a:pt x="171" y="270"/>
                  <a:pt x="171" y="270"/>
                </a:cubicBezTo>
                <a:cubicBezTo>
                  <a:pt x="170" y="270"/>
                  <a:pt x="170" y="270"/>
                  <a:pt x="170" y="270"/>
                </a:cubicBezTo>
                <a:cubicBezTo>
                  <a:pt x="169" y="268"/>
                  <a:pt x="169" y="268"/>
                  <a:pt x="169" y="268"/>
                </a:cubicBezTo>
                <a:cubicBezTo>
                  <a:pt x="170" y="268"/>
                  <a:pt x="170" y="268"/>
                  <a:pt x="170" y="268"/>
                </a:cubicBezTo>
                <a:cubicBezTo>
                  <a:pt x="169" y="267"/>
                  <a:pt x="169" y="267"/>
                  <a:pt x="169" y="267"/>
                </a:cubicBezTo>
                <a:cubicBezTo>
                  <a:pt x="169" y="264"/>
                  <a:pt x="169" y="264"/>
                  <a:pt x="169" y="264"/>
                </a:cubicBezTo>
                <a:cubicBezTo>
                  <a:pt x="169" y="263"/>
                  <a:pt x="169" y="263"/>
                  <a:pt x="169" y="263"/>
                </a:cubicBezTo>
                <a:cubicBezTo>
                  <a:pt x="168" y="262"/>
                  <a:pt x="168" y="262"/>
                  <a:pt x="168" y="262"/>
                </a:cubicBezTo>
                <a:cubicBezTo>
                  <a:pt x="168" y="260"/>
                  <a:pt x="168" y="260"/>
                  <a:pt x="168" y="260"/>
                </a:cubicBezTo>
                <a:cubicBezTo>
                  <a:pt x="169" y="259"/>
                  <a:pt x="169" y="259"/>
                  <a:pt x="169" y="259"/>
                </a:cubicBezTo>
                <a:cubicBezTo>
                  <a:pt x="170" y="260"/>
                  <a:pt x="170" y="260"/>
                  <a:pt x="170" y="260"/>
                </a:cubicBezTo>
                <a:cubicBezTo>
                  <a:pt x="171" y="260"/>
                  <a:pt x="171" y="260"/>
                  <a:pt x="171" y="260"/>
                </a:cubicBezTo>
                <a:cubicBezTo>
                  <a:pt x="170" y="259"/>
                  <a:pt x="170" y="259"/>
                  <a:pt x="170" y="259"/>
                </a:cubicBezTo>
                <a:cubicBezTo>
                  <a:pt x="170" y="258"/>
                  <a:pt x="170" y="258"/>
                  <a:pt x="170" y="258"/>
                </a:cubicBezTo>
                <a:cubicBezTo>
                  <a:pt x="169" y="258"/>
                  <a:pt x="169" y="258"/>
                  <a:pt x="169" y="258"/>
                </a:cubicBezTo>
                <a:cubicBezTo>
                  <a:pt x="170" y="256"/>
                  <a:pt x="170" y="256"/>
                  <a:pt x="170" y="256"/>
                </a:cubicBezTo>
                <a:cubicBezTo>
                  <a:pt x="169" y="254"/>
                  <a:pt x="169" y="254"/>
                  <a:pt x="169" y="254"/>
                </a:cubicBezTo>
                <a:cubicBezTo>
                  <a:pt x="169" y="251"/>
                  <a:pt x="169" y="251"/>
                  <a:pt x="169" y="251"/>
                </a:cubicBezTo>
                <a:cubicBezTo>
                  <a:pt x="170" y="249"/>
                  <a:pt x="170" y="249"/>
                  <a:pt x="170" y="249"/>
                </a:cubicBezTo>
                <a:cubicBezTo>
                  <a:pt x="169" y="247"/>
                  <a:pt x="169" y="247"/>
                  <a:pt x="169" y="247"/>
                </a:cubicBezTo>
                <a:cubicBezTo>
                  <a:pt x="169" y="246"/>
                  <a:pt x="169" y="246"/>
                  <a:pt x="169" y="246"/>
                </a:cubicBezTo>
                <a:cubicBezTo>
                  <a:pt x="170" y="245"/>
                  <a:pt x="170" y="245"/>
                  <a:pt x="170" y="245"/>
                </a:cubicBezTo>
                <a:cubicBezTo>
                  <a:pt x="170" y="244"/>
                  <a:pt x="170" y="244"/>
                  <a:pt x="170" y="244"/>
                </a:cubicBezTo>
                <a:cubicBezTo>
                  <a:pt x="170" y="243"/>
                  <a:pt x="170" y="243"/>
                  <a:pt x="170" y="243"/>
                </a:cubicBezTo>
                <a:cubicBezTo>
                  <a:pt x="171" y="244"/>
                  <a:pt x="171" y="244"/>
                  <a:pt x="171" y="244"/>
                </a:cubicBezTo>
                <a:cubicBezTo>
                  <a:pt x="173" y="245"/>
                  <a:pt x="173" y="245"/>
                  <a:pt x="173" y="245"/>
                </a:cubicBezTo>
                <a:cubicBezTo>
                  <a:pt x="173" y="246"/>
                  <a:pt x="173" y="246"/>
                  <a:pt x="173" y="246"/>
                </a:cubicBezTo>
                <a:cubicBezTo>
                  <a:pt x="174" y="245"/>
                  <a:pt x="174" y="245"/>
                  <a:pt x="174" y="245"/>
                </a:cubicBezTo>
                <a:cubicBezTo>
                  <a:pt x="174" y="244"/>
                  <a:pt x="174" y="244"/>
                  <a:pt x="174" y="244"/>
                </a:cubicBezTo>
                <a:cubicBezTo>
                  <a:pt x="174" y="246"/>
                  <a:pt x="174" y="246"/>
                  <a:pt x="174" y="246"/>
                </a:cubicBezTo>
                <a:cubicBezTo>
                  <a:pt x="176" y="247"/>
                  <a:pt x="176" y="247"/>
                  <a:pt x="176" y="247"/>
                </a:cubicBezTo>
                <a:cubicBezTo>
                  <a:pt x="178" y="249"/>
                  <a:pt x="178" y="249"/>
                  <a:pt x="178" y="249"/>
                </a:cubicBezTo>
                <a:cubicBezTo>
                  <a:pt x="179" y="250"/>
                  <a:pt x="179" y="250"/>
                  <a:pt x="179" y="250"/>
                </a:cubicBezTo>
                <a:cubicBezTo>
                  <a:pt x="180" y="249"/>
                  <a:pt x="180" y="249"/>
                  <a:pt x="180" y="249"/>
                </a:cubicBezTo>
                <a:cubicBezTo>
                  <a:pt x="181" y="249"/>
                  <a:pt x="181" y="249"/>
                  <a:pt x="181" y="249"/>
                </a:cubicBezTo>
                <a:cubicBezTo>
                  <a:pt x="182" y="250"/>
                  <a:pt x="182" y="250"/>
                  <a:pt x="182" y="250"/>
                </a:cubicBezTo>
                <a:cubicBezTo>
                  <a:pt x="182" y="249"/>
                  <a:pt x="182" y="249"/>
                  <a:pt x="182" y="249"/>
                </a:cubicBezTo>
                <a:cubicBezTo>
                  <a:pt x="183" y="248"/>
                  <a:pt x="183" y="248"/>
                  <a:pt x="183" y="248"/>
                </a:cubicBezTo>
                <a:cubicBezTo>
                  <a:pt x="187" y="249"/>
                  <a:pt x="187" y="249"/>
                  <a:pt x="187" y="249"/>
                </a:cubicBezTo>
                <a:cubicBezTo>
                  <a:pt x="187" y="248"/>
                  <a:pt x="187" y="248"/>
                  <a:pt x="187" y="248"/>
                </a:cubicBezTo>
                <a:cubicBezTo>
                  <a:pt x="188" y="247"/>
                  <a:pt x="188" y="247"/>
                  <a:pt x="188" y="247"/>
                </a:cubicBezTo>
                <a:cubicBezTo>
                  <a:pt x="189" y="247"/>
                  <a:pt x="189" y="247"/>
                  <a:pt x="189" y="247"/>
                </a:cubicBezTo>
                <a:cubicBezTo>
                  <a:pt x="189" y="248"/>
                  <a:pt x="189" y="248"/>
                  <a:pt x="189" y="248"/>
                </a:cubicBezTo>
                <a:cubicBezTo>
                  <a:pt x="190" y="247"/>
                  <a:pt x="190" y="247"/>
                  <a:pt x="190" y="247"/>
                </a:cubicBezTo>
                <a:cubicBezTo>
                  <a:pt x="191" y="247"/>
                  <a:pt x="191" y="247"/>
                  <a:pt x="191" y="247"/>
                </a:cubicBezTo>
                <a:cubicBezTo>
                  <a:pt x="192" y="248"/>
                  <a:pt x="192" y="248"/>
                  <a:pt x="192" y="248"/>
                </a:cubicBezTo>
                <a:cubicBezTo>
                  <a:pt x="192" y="249"/>
                  <a:pt x="192" y="249"/>
                  <a:pt x="192" y="249"/>
                </a:cubicBezTo>
                <a:cubicBezTo>
                  <a:pt x="191" y="252"/>
                  <a:pt x="191" y="252"/>
                  <a:pt x="191" y="252"/>
                </a:cubicBezTo>
                <a:cubicBezTo>
                  <a:pt x="190" y="253"/>
                  <a:pt x="190" y="253"/>
                  <a:pt x="190" y="253"/>
                </a:cubicBezTo>
                <a:cubicBezTo>
                  <a:pt x="190" y="256"/>
                  <a:pt x="190" y="256"/>
                  <a:pt x="190" y="256"/>
                </a:cubicBezTo>
                <a:cubicBezTo>
                  <a:pt x="189" y="257"/>
                  <a:pt x="189" y="257"/>
                  <a:pt x="189" y="257"/>
                </a:cubicBezTo>
                <a:cubicBezTo>
                  <a:pt x="189" y="258"/>
                  <a:pt x="189" y="258"/>
                  <a:pt x="189" y="258"/>
                </a:cubicBezTo>
                <a:cubicBezTo>
                  <a:pt x="189" y="259"/>
                  <a:pt x="189" y="259"/>
                  <a:pt x="189" y="259"/>
                </a:cubicBezTo>
                <a:cubicBezTo>
                  <a:pt x="189" y="260"/>
                  <a:pt x="189" y="260"/>
                  <a:pt x="189" y="260"/>
                </a:cubicBezTo>
                <a:cubicBezTo>
                  <a:pt x="188" y="262"/>
                  <a:pt x="188" y="262"/>
                  <a:pt x="188" y="262"/>
                </a:cubicBezTo>
                <a:cubicBezTo>
                  <a:pt x="188" y="261"/>
                  <a:pt x="188" y="261"/>
                  <a:pt x="188" y="261"/>
                </a:cubicBezTo>
                <a:cubicBezTo>
                  <a:pt x="188" y="259"/>
                  <a:pt x="188" y="259"/>
                  <a:pt x="188" y="259"/>
                </a:cubicBezTo>
                <a:cubicBezTo>
                  <a:pt x="187" y="260"/>
                  <a:pt x="187" y="260"/>
                  <a:pt x="187" y="260"/>
                </a:cubicBezTo>
                <a:cubicBezTo>
                  <a:pt x="186" y="261"/>
                  <a:pt x="186" y="261"/>
                  <a:pt x="186" y="261"/>
                </a:cubicBezTo>
                <a:cubicBezTo>
                  <a:pt x="186" y="263"/>
                  <a:pt x="186" y="263"/>
                  <a:pt x="186" y="263"/>
                </a:cubicBezTo>
                <a:cubicBezTo>
                  <a:pt x="186" y="264"/>
                  <a:pt x="186" y="264"/>
                  <a:pt x="186" y="264"/>
                </a:cubicBezTo>
                <a:cubicBezTo>
                  <a:pt x="185" y="264"/>
                  <a:pt x="185" y="264"/>
                  <a:pt x="185" y="264"/>
                </a:cubicBezTo>
                <a:cubicBezTo>
                  <a:pt x="185" y="265"/>
                  <a:pt x="185" y="265"/>
                  <a:pt x="185" y="265"/>
                </a:cubicBezTo>
                <a:cubicBezTo>
                  <a:pt x="184" y="266"/>
                  <a:pt x="184" y="266"/>
                  <a:pt x="184" y="266"/>
                </a:cubicBezTo>
                <a:cubicBezTo>
                  <a:pt x="185" y="267"/>
                  <a:pt x="185" y="267"/>
                  <a:pt x="185" y="267"/>
                </a:cubicBezTo>
                <a:cubicBezTo>
                  <a:pt x="185" y="268"/>
                  <a:pt x="185" y="268"/>
                  <a:pt x="185" y="268"/>
                </a:cubicBezTo>
                <a:cubicBezTo>
                  <a:pt x="183" y="270"/>
                  <a:pt x="183" y="270"/>
                  <a:pt x="183" y="270"/>
                </a:cubicBezTo>
                <a:cubicBezTo>
                  <a:pt x="183" y="270"/>
                  <a:pt x="183" y="270"/>
                  <a:pt x="183" y="270"/>
                </a:cubicBezTo>
                <a:cubicBezTo>
                  <a:pt x="182" y="270"/>
                  <a:pt x="182" y="270"/>
                  <a:pt x="182" y="270"/>
                </a:cubicBezTo>
                <a:cubicBezTo>
                  <a:pt x="182" y="268"/>
                  <a:pt x="182" y="268"/>
                  <a:pt x="182" y="268"/>
                </a:cubicBezTo>
                <a:cubicBezTo>
                  <a:pt x="183" y="269"/>
                  <a:pt x="183" y="269"/>
                  <a:pt x="183" y="269"/>
                </a:cubicBezTo>
                <a:cubicBezTo>
                  <a:pt x="183" y="268"/>
                  <a:pt x="183" y="268"/>
                  <a:pt x="183" y="268"/>
                </a:cubicBezTo>
                <a:cubicBezTo>
                  <a:pt x="182" y="267"/>
                  <a:pt x="182" y="267"/>
                  <a:pt x="182" y="267"/>
                </a:cubicBezTo>
                <a:cubicBezTo>
                  <a:pt x="181" y="267"/>
                  <a:pt x="181" y="267"/>
                  <a:pt x="181" y="267"/>
                </a:cubicBezTo>
                <a:cubicBezTo>
                  <a:pt x="181" y="269"/>
                  <a:pt x="181" y="269"/>
                  <a:pt x="181" y="269"/>
                </a:cubicBezTo>
                <a:cubicBezTo>
                  <a:pt x="180" y="268"/>
                  <a:pt x="180" y="268"/>
                  <a:pt x="180" y="268"/>
                </a:cubicBezTo>
                <a:cubicBezTo>
                  <a:pt x="180" y="267"/>
                  <a:pt x="180" y="267"/>
                  <a:pt x="180" y="267"/>
                </a:cubicBezTo>
                <a:cubicBezTo>
                  <a:pt x="179" y="268"/>
                  <a:pt x="179" y="268"/>
                  <a:pt x="179" y="268"/>
                </a:cubicBezTo>
                <a:cubicBezTo>
                  <a:pt x="178" y="269"/>
                  <a:pt x="178" y="269"/>
                  <a:pt x="178" y="269"/>
                </a:cubicBezTo>
                <a:cubicBezTo>
                  <a:pt x="178" y="270"/>
                  <a:pt x="178" y="270"/>
                  <a:pt x="178" y="270"/>
                </a:cubicBezTo>
                <a:cubicBezTo>
                  <a:pt x="177" y="269"/>
                  <a:pt x="177" y="269"/>
                  <a:pt x="177" y="269"/>
                </a:cubicBezTo>
                <a:cubicBezTo>
                  <a:pt x="177" y="271"/>
                  <a:pt x="177" y="271"/>
                  <a:pt x="177" y="271"/>
                </a:cubicBezTo>
                <a:cubicBezTo>
                  <a:pt x="176" y="272"/>
                  <a:pt x="176" y="272"/>
                  <a:pt x="176" y="272"/>
                </a:cubicBezTo>
                <a:cubicBezTo>
                  <a:pt x="175" y="274"/>
                  <a:pt x="175" y="274"/>
                  <a:pt x="175" y="274"/>
                </a:cubicBezTo>
                <a:cubicBezTo>
                  <a:pt x="174" y="274"/>
                  <a:pt x="174" y="274"/>
                  <a:pt x="174" y="274"/>
                </a:cubicBezTo>
                <a:cubicBezTo>
                  <a:pt x="174" y="273"/>
                  <a:pt x="174" y="273"/>
                  <a:pt x="174" y="273"/>
                </a:cubicBezTo>
                <a:cubicBezTo>
                  <a:pt x="174" y="272"/>
                  <a:pt x="174" y="272"/>
                  <a:pt x="174" y="272"/>
                </a:cubicBezTo>
                <a:cubicBezTo>
                  <a:pt x="173" y="273"/>
                  <a:pt x="173" y="273"/>
                  <a:pt x="173" y="273"/>
                </a:cubicBezTo>
                <a:cubicBezTo>
                  <a:pt x="172" y="272"/>
                  <a:pt x="172" y="272"/>
                  <a:pt x="172" y="272"/>
                </a:cubicBezTo>
                <a:cubicBezTo>
                  <a:pt x="171" y="273"/>
                  <a:pt x="171" y="273"/>
                  <a:pt x="171" y="273"/>
                </a:cubicBezTo>
                <a:cubicBezTo>
                  <a:pt x="171" y="273"/>
                  <a:pt x="170" y="272"/>
                  <a:pt x="170" y="272"/>
                </a:cubicBezTo>
                <a:close/>
                <a:moveTo>
                  <a:pt x="2" y="174"/>
                </a:moveTo>
                <a:cubicBezTo>
                  <a:pt x="3" y="175"/>
                  <a:pt x="3" y="175"/>
                  <a:pt x="3" y="175"/>
                </a:cubicBezTo>
                <a:cubicBezTo>
                  <a:pt x="4" y="175"/>
                  <a:pt x="4" y="175"/>
                  <a:pt x="4" y="175"/>
                </a:cubicBezTo>
                <a:cubicBezTo>
                  <a:pt x="7" y="177"/>
                  <a:pt x="7" y="177"/>
                  <a:pt x="7" y="177"/>
                </a:cubicBezTo>
                <a:cubicBezTo>
                  <a:pt x="7" y="178"/>
                  <a:pt x="7" y="178"/>
                  <a:pt x="7" y="178"/>
                </a:cubicBezTo>
                <a:cubicBezTo>
                  <a:pt x="7" y="179"/>
                  <a:pt x="7" y="179"/>
                  <a:pt x="7" y="179"/>
                </a:cubicBezTo>
                <a:cubicBezTo>
                  <a:pt x="9" y="179"/>
                  <a:pt x="9" y="179"/>
                  <a:pt x="9" y="179"/>
                </a:cubicBezTo>
                <a:cubicBezTo>
                  <a:pt x="9" y="180"/>
                  <a:pt x="9" y="180"/>
                  <a:pt x="9" y="180"/>
                </a:cubicBezTo>
                <a:cubicBezTo>
                  <a:pt x="11" y="180"/>
                  <a:pt x="11" y="180"/>
                  <a:pt x="11" y="180"/>
                </a:cubicBezTo>
                <a:cubicBezTo>
                  <a:pt x="12" y="180"/>
                  <a:pt x="12" y="180"/>
                  <a:pt x="12" y="180"/>
                </a:cubicBezTo>
                <a:cubicBezTo>
                  <a:pt x="12" y="181"/>
                  <a:pt x="12" y="181"/>
                  <a:pt x="12" y="181"/>
                </a:cubicBezTo>
                <a:cubicBezTo>
                  <a:pt x="14" y="181"/>
                  <a:pt x="14" y="181"/>
                  <a:pt x="14" y="181"/>
                </a:cubicBezTo>
                <a:cubicBezTo>
                  <a:pt x="15" y="180"/>
                  <a:pt x="15" y="180"/>
                  <a:pt x="15" y="180"/>
                </a:cubicBezTo>
                <a:cubicBezTo>
                  <a:pt x="16" y="181"/>
                  <a:pt x="16" y="181"/>
                  <a:pt x="16" y="181"/>
                </a:cubicBezTo>
                <a:cubicBezTo>
                  <a:pt x="16" y="181"/>
                  <a:pt x="16" y="181"/>
                  <a:pt x="16" y="181"/>
                </a:cubicBezTo>
                <a:cubicBezTo>
                  <a:pt x="17" y="181"/>
                  <a:pt x="17" y="181"/>
                  <a:pt x="17" y="181"/>
                </a:cubicBezTo>
                <a:cubicBezTo>
                  <a:pt x="19" y="181"/>
                  <a:pt x="19" y="181"/>
                  <a:pt x="19" y="181"/>
                </a:cubicBezTo>
                <a:cubicBezTo>
                  <a:pt x="20" y="181"/>
                  <a:pt x="20" y="181"/>
                  <a:pt x="20" y="181"/>
                </a:cubicBezTo>
                <a:cubicBezTo>
                  <a:pt x="20" y="180"/>
                  <a:pt x="20" y="180"/>
                  <a:pt x="20" y="180"/>
                </a:cubicBezTo>
                <a:cubicBezTo>
                  <a:pt x="21" y="180"/>
                  <a:pt x="21" y="180"/>
                  <a:pt x="21" y="180"/>
                </a:cubicBezTo>
                <a:cubicBezTo>
                  <a:pt x="22" y="178"/>
                  <a:pt x="22" y="178"/>
                  <a:pt x="22" y="178"/>
                </a:cubicBezTo>
                <a:cubicBezTo>
                  <a:pt x="24" y="178"/>
                  <a:pt x="24" y="178"/>
                  <a:pt x="24" y="178"/>
                </a:cubicBezTo>
                <a:cubicBezTo>
                  <a:pt x="24" y="177"/>
                  <a:pt x="24" y="177"/>
                  <a:pt x="24" y="177"/>
                </a:cubicBezTo>
                <a:cubicBezTo>
                  <a:pt x="25" y="177"/>
                  <a:pt x="25" y="177"/>
                  <a:pt x="25" y="177"/>
                </a:cubicBezTo>
                <a:cubicBezTo>
                  <a:pt x="26" y="177"/>
                  <a:pt x="26" y="177"/>
                  <a:pt x="26" y="177"/>
                </a:cubicBezTo>
                <a:cubicBezTo>
                  <a:pt x="27" y="178"/>
                  <a:pt x="27" y="178"/>
                  <a:pt x="27" y="178"/>
                </a:cubicBezTo>
                <a:cubicBezTo>
                  <a:pt x="28" y="176"/>
                  <a:pt x="28" y="176"/>
                  <a:pt x="28" y="176"/>
                </a:cubicBezTo>
                <a:cubicBezTo>
                  <a:pt x="29" y="176"/>
                  <a:pt x="29" y="176"/>
                  <a:pt x="29" y="176"/>
                </a:cubicBezTo>
                <a:cubicBezTo>
                  <a:pt x="29" y="176"/>
                  <a:pt x="29" y="176"/>
                  <a:pt x="29" y="176"/>
                </a:cubicBezTo>
                <a:cubicBezTo>
                  <a:pt x="30" y="175"/>
                  <a:pt x="30" y="175"/>
                  <a:pt x="30" y="175"/>
                </a:cubicBezTo>
                <a:cubicBezTo>
                  <a:pt x="33" y="172"/>
                  <a:pt x="33" y="172"/>
                  <a:pt x="33" y="172"/>
                </a:cubicBezTo>
                <a:cubicBezTo>
                  <a:pt x="34" y="173"/>
                  <a:pt x="34" y="173"/>
                  <a:pt x="34" y="173"/>
                </a:cubicBezTo>
                <a:cubicBezTo>
                  <a:pt x="35" y="173"/>
                  <a:pt x="35" y="173"/>
                  <a:pt x="35" y="173"/>
                </a:cubicBezTo>
                <a:cubicBezTo>
                  <a:pt x="36" y="172"/>
                  <a:pt x="36" y="172"/>
                  <a:pt x="36" y="172"/>
                </a:cubicBezTo>
                <a:cubicBezTo>
                  <a:pt x="40" y="172"/>
                  <a:pt x="40" y="172"/>
                  <a:pt x="40" y="172"/>
                </a:cubicBezTo>
                <a:cubicBezTo>
                  <a:pt x="40" y="172"/>
                  <a:pt x="40" y="172"/>
                  <a:pt x="40" y="172"/>
                </a:cubicBezTo>
                <a:cubicBezTo>
                  <a:pt x="42" y="172"/>
                  <a:pt x="42" y="172"/>
                  <a:pt x="42" y="172"/>
                </a:cubicBezTo>
                <a:cubicBezTo>
                  <a:pt x="43" y="172"/>
                  <a:pt x="43" y="172"/>
                  <a:pt x="43" y="172"/>
                </a:cubicBezTo>
                <a:cubicBezTo>
                  <a:pt x="44" y="172"/>
                  <a:pt x="44" y="172"/>
                  <a:pt x="44" y="172"/>
                </a:cubicBezTo>
                <a:cubicBezTo>
                  <a:pt x="45" y="172"/>
                  <a:pt x="45" y="172"/>
                  <a:pt x="45" y="172"/>
                </a:cubicBezTo>
                <a:cubicBezTo>
                  <a:pt x="46" y="173"/>
                  <a:pt x="46" y="173"/>
                  <a:pt x="46" y="173"/>
                </a:cubicBezTo>
                <a:cubicBezTo>
                  <a:pt x="47" y="173"/>
                  <a:pt x="47" y="173"/>
                  <a:pt x="47" y="173"/>
                </a:cubicBezTo>
                <a:cubicBezTo>
                  <a:pt x="48" y="173"/>
                  <a:pt x="48" y="173"/>
                  <a:pt x="48" y="173"/>
                </a:cubicBezTo>
                <a:cubicBezTo>
                  <a:pt x="48" y="173"/>
                  <a:pt x="48" y="173"/>
                  <a:pt x="48" y="173"/>
                </a:cubicBezTo>
                <a:cubicBezTo>
                  <a:pt x="49" y="173"/>
                  <a:pt x="49" y="173"/>
                  <a:pt x="49" y="173"/>
                </a:cubicBezTo>
                <a:cubicBezTo>
                  <a:pt x="52" y="173"/>
                  <a:pt x="52" y="173"/>
                  <a:pt x="52" y="173"/>
                </a:cubicBezTo>
                <a:cubicBezTo>
                  <a:pt x="51" y="174"/>
                  <a:pt x="51" y="174"/>
                  <a:pt x="51" y="174"/>
                </a:cubicBezTo>
                <a:cubicBezTo>
                  <a:pt x="52" y="174"/>
                  <a:pt x="52" y="174"/>
                  <a:pt x="52" y="174"/>
                </a:cubicBezTo>
                <a:cubicBezTo>
                  <a:pt x="53" y="173"/>
                  <a:pt x="53" y="173"/>
                  <a:pt x="53" y="173"/>
                </a:cubicBezTo>
                <a:cubicBezTo>
                  <a:pt x="55" y="173"/>
                  <a:pt x="55" y="173"/>
                  <a:pt x="55" y="173"/>
                </a:cubicBezTo>
                <a:cubicBezTo>
                  <a:pt x="56" y="172"/>
                  <a:pt x="56" y="172"/>
                  <a:pt x="56" y="172"/>
                </a:cubicBezTo>
                <a:cubicBezTo>
                  <a:pt x="57" y="170"/>
                  <a:pt x="57" y="170"/>
                  <a:pt x="57" y="170"/>
                </a:cubicBezTo>
                <a:cubicBezTo>
                  <a:pt x="57" y="170"/>
                  <a:pt x="57" y="170"/>
                  <a:pt x="57" y="170"/>
                </a:cubicBezTo>
                <a:cubicBezTo>
                  <a:pt x="59" y="169"/>
                  <a:pt x="59" y="169"/>
                  <a:pt x="59" y="169"/>
                </a:cubicBezTo>
                <a:cubicBezTo>
                  <a:pt x="60" y="167"/>
                  <a:pt x="60" y="167"/>
                  <a:pt x="60" y="167"/>
                </a:cubicBezTo>
                <a:cubicBezTo>
                  <a:pt x="61" y="165"/>
                  <a:pt x="61" y="165"/>
                  <a:pt x="61" y="165"/>
                </a:cubicBezTo>
                <a:cubicBezTo>
                  <a:pt x="63" y="165"/>
                  <a:pt x="63" y="165"/>
                  <a:pt x="63" y="165"/>
                </a:cubicBezTo>
                <a:cubicBezTo>
                  <a:pt x="64" y="165"/>
                  <a:pt x="64" y="165"/>
                  <a:pt x="64" y="165"/>
                </a:cubicBezTo>
                <a:cubicBezTo>
                  <a:pt x="66" y="164"/>
                  <a:pt x="66" y="164"/>
                  <a:pt x="66" y="164"/>
                </a:cubicBezTo>
                <a:cubicBezTo>
                  <a:pt x="69" y="162"/>
                  <a:pt x="69" y="162"/>
                  <a:pt x="69" y="162"/>
                </a:cubicBezTo>
                <a:cubicBezTo>
                  <a:pt x="72" y="160"/>
                  <a:pt x="72" y="160"/>
                  <a:pt x="72" y="160"/>
                </a:cubicBezTo>
                <a:cubicBezTo>
                  <a:pt x="72" y="160"/>
                  <a:pt x="72" y="160"/>
                  <a:pt x="72" y="160"/>
                </a:cubicBezTo>
                <a:cubicBezTo>
                  <a:pt x="73" y="160"/>
                  <a:pt x="73" y="160"/>
                  <a:pt x="73" y="160"/>
                </a:cubicBezTo>
                <a:cubicBezTo>
                  <a:pt x="74" y="160"/>
                  <a:pt x="74" y="160"/>
                  <a:pt x="74" y="160"/>
                </a:cubicBezTo>
                <a:cubicBezTo>
                  <a:pt x="76" y="161"/>
                  <a:pt x="76" y="161"/>
                  <a:pt x="76" y="161"/>
                </a:cubicBezTo>
                <a:cubicBezTo>
                  <a:pt x="78" y="161"/>
                  <a:pt x="78" y="161"/>
                  <a:pt x="78" y="161"/>
                </a:cubicBezTo>
                <a:cubicBezTo>
                  <a:pt x="79" y="161"/>
                  <a:pt x="79" y="161"/>
                  <a:pt x="79" y="161"/>
                </a:cubicBezTo>
                <a:cubicBezTo>
                  <a:pt x="82" y="161"/>
                  <a:pt x="82" y="161"/>
                  <a:pt x="82" y="161"/>
                </a:cubicBezTo>
                <a:cubicBezTo>
                  <a:pt x="85" y="159"/>
                  <a:pt x="85" y="159"/>
                  <a:pt x="85" y="159"/>
                </a:cubicBezTo>
                <a:cubicBezTo>
                  <a:pt x="87" y="159"/>
                  <a:pt x="87" y="159"/>
                  <a:pt x="87" y="159"/>
                </a:cubicBezTo>
                <a:cubicBezTo>
                  <a:pt x="89" y="158"/>
                  <a:pt x="89" y="158"/>
                  <a:pt x="89" y="158"/>
                </a:cubicBezTo>
                <a:cubicBezTo>
                  <a:pt x="90" y="158"/>
                  <a:pt x="90" y="158"/>
                  <a:pt x="90" y="158"/>
                </a:cubicBezTo>
                <a:cubicBezTo>
                  <a:pt x="91" y="157"/>
                  <a:pt x="91" y="157"/>
                  <a:pt x="91" y="157"/>
                </a:cubicBezTo>
                <a:cubicBezTo>
                  <a:pt x="94" y="156"/>
                  <a:pt x="94" y="156"/>
                  <a:pt x="94" y="156"/>
                </a:cubicBezTo>
                <a:cubicBezTo>
                  <a:pt x="101" y="156"/>
                  <a:pt x="101" y="156"/>
                  <a:pt x="101" y="156"/>
                </a:cubicBezTo>
                <a:cubicBezTo>
                  <a:pt x="103" y="157"/>
                  <a:pt x="103" y="157"/>
                  <a:pt x="103" y="157"/>
                </a:cubicBezTo>
                <a:cubicBezTo>
                  <a:pt x="105" y="157"/>
                  <a:pt x="105" y="157"/>
                  <a:pt x="105" y="157"/>
                </a:cubicBezTo>
                <a:cubicBezTo>
                  <a:pt x="107" y="156"/>
                  <a:pt x="107" y="156"/>
                  <a:pt x="107" y="156"/>
                </a:cubicBezTo>
                <a:cubicBezTo>
                  <a:pt x="108" y="156"/>
                  <a:pt x="108" y="156"/>
                  <a:pt x="108" y="156"/>
                </a:cubicBezTo>
                <a:cubicBezTo>
                  <a:pt x="110" y="158"/>
                  <a:pt x="110" y="158"/>
                  <a:pt x="110" y="158"/>
                </a:cubicBezTo>
                <a:cubicBezTo>
                  <a:pt x="112" y="160"/>
                  <a:pt x="112" y="160"/>
                  <a:pt x="112" y="160"/>
                </a:cubicBezTo>
                <a:cubicBezTo>
                  <a:pt x="113" y="161"/>
                  <a:pt x="113" y="161"/>
                  <a:pt x="113" y="161"/>
                </a:cubicBezTo>
                <a:cubicBezTo>
                  <a:pt x="113" y="160"/>
                  <a:pt x="113" y="160"/>
                  <a:pt x="113" y="160"/>
                </a:cubicBezTo>
                <a:cubicBezTo>
                  <a:pt x="114" y="160"/>
                  <a:pt x="114" y="160"/>
                  <a:pt x="114" y="160"/>
                </a:cubicBezTo>
                <a:cubicBezTo>
                  <a:pt x="115" y="160"/>
                  <a:pt x="115" y="160"/>
                  <a:pt x="115" y="160"/>
                </a:cubicBezTo>
                <a:cubicBezTo>
                  <a:pt x="116" y="160"/>
                  <a:pt x="116" y="160"/>
                  <a:pt x="116" y="160"/>
                </a:cubicBezTo>
                <a:cubicBezTo>
                  <a:pt x="117" y="160"/>
                  <a:pt x="117" y="160"/>
                  <a:pt x="117" y="160"/>
                </a:cubicBezTo>
                <a:cubicBezTo>
                  <a:pt x="118" y="162"/>
                  <a:pt x="118" y="162"/>
                  <a:pt x="118" y="162"/>
                </a:cubicBezTo>
                <a:cubicBezTo>
                  <a:pt x="120" y="162"/>
                  <a:pt x="120" y="162"/>
                  <a:pt x="120" y="162"/>
                </a:cubicBezTo>
                <a:cubicBezTo>
                  <a:pt x="120" y="162"/>
                  <a:pt x="120" y="162"/>
                  <a:pt x="120" y="162"/>
                </a:cubicBezTo>
                <a:cubicBezTo>
                  <a:pt x="123" y="164"/>
                  <a:pt x="123" y="164"/>
                  <a:pt x="123" y="164"/>
                </a:cubicBezTo>
                <a:cubicBezTo>
                  <a:pt x="123" y="165"/>
                  <a:pt x="123" y="165"/>
                  <a:pt x="123" y="165"/>
                </a:cubicBezTo>
                <a:cubicBezTo>
                  <a:pt x="124" y="165"/>
                  <a:pt x="124" y="165"/>
                  <a:pt x="124" y="165"/>
                </a:cubicBezTo>
                <a:cubicBezTo>
                  <a:pt x="125" y="166"/>
                  <a:pt x="125" y="166"/>
                  <a:pt x="125" y="166"/>
                </a:cubicBezTo>
                <a:cubicBezTo>
                  <a:pt x="124" y="167"/>
                  <a:pt x="124" y="167"/>
                  <a:pt x="124" y="167"/>
                </a:cubicBezTo>
                <a:cubicBezTo>
                  <a:pt x="123" y="167"/>
                  <a:pt x="123" y="167"/>
                  <a:pt x="123" y="167"/>
                </a:cubicBezTo>
                <a:cubicBezTo>
                  <a:pt x="123" y="168"/>
                  <a:pt x="123" y="168"/>
                  <a:pt x="123" y="168"/>
                </a:cubicBezTo>
                <a:cubicBezTo>
                  <a:pt x="124" y="170"/>
                  <a:pt x="124" y="170"/>
                  <a:pt x="124" y="170"/>
                </a:cubicBezTo>
                <a:cubicBezTo>
                  <a:pt x="125" y="170"/>
                  <a:pt x="125" y="170"/>
                  <a:pt x="125" y="170"/>
                </a:cubicBezTo>
                <a:cubicBezTo>
                  <a:pt x="126" y="172"/>
                  <a:pt x="126" y="172"/>
                  <a:pt x="126" y="172"/>
                </a:cubicBezTo>
                <a:cubicBezTo>
                  <a:pt x="127" y="173"/>
                  <a:pt x="127" y="173"/>
                  <a:pt x="127" y="173"/>
                </a:cubicBezTo>
                <a:cubicBezTo>
                  <a:pt x="127" y="175"/>
                  <a:pt x="127" y="175"/>
                  <a:pt x="127" y="175"/>
                </a:cubicBezTo>
                <a:cubicBezTo>
                  <a:pt x="128" y="178"/>
                  <a:pt x="128" y="178"/>
                  <a:pt x="128" y="178"/>
                </a:cubicBezTo>
                <a:cubicBezTo>
                  <a:pt x="128" y="179"/>
                  <a:pt x="128" y="179"/>
                  <a:pt x="128" y="179"/>
                </a:cubicBezTo>
                <a:cubicBezTo>
                  <a:pt x="128" y="180"/>
                  <a:pt x="128" y="180"/>
                  <a:pt x="128" y="180"/>
                </a:cubicBezTo>
                <a:cubicBezTo>
                  <a:pt x="128" y="182"/>
                  <a:pt x="128" y="182"/>
                  <a:pt x="128" y="182"/>
                </a:cubicBezTo>
                <a:cubicBezTo>
                  <a:pt x="127" y="183"/>
                  <a:pt x="127" y="183"/>
                  <a:pt x="127" y="183"/>
                </a:cubicBezTo>
                <a:cubicBezTo>
                  <a:pt x="127" y="182"/>
                  <a:pt x="127" y="182"/>
                  <a:pt x="127" y="182"/>
                </a:cubicBezTo>
                <a:cubicBezTo>
                  <a:pt x="126" y="182"/>
                  <a:pt x="126" y="182"/>
                  <a:pt x="126" y="182"/>
                </a:cubicBezTo>
                <a:cubicBezTo>
                  <a:pt x="127" y="184"/>
                  <a:pt x="127" y="184"/>
                  <a:pt x="127" y="184"/>
                </a:cubicBezTo>
                <a:cubicBezTo>
                  <a:pt x="128" y="184"/>
                  <a:pt x="128" y="184"/>
                  <a:pt x="128" y="184"/>
                </a:cubicBezTo>
                <a:cubicBezTo>
                  <a:pt x="129" y="186"/>
                  <a:pt x="129" y="186"/>
                  <a:pt x="129" y="186"/>
                </a:cubicBezTo>
                <a:cubicBezTo>
                  <a:pt x="130" y="185"/>
                  <a:pt x="130" y="185"/>
                  <a:pt x="130" y="185"/>
                </a:cubicBezTo>
                <a:cubicBezTo>
                  <a:pt x="131" y="186"/>
                  <a:pt x="131" y="186"/>
                  <a:pt x="131" y="186"/>
                </a:cubicBezTo>
                <a:cubicBezTo>
                  <a:pt x="131" y="185"/>
                  <a:pt x="131" y="185"/>
                  <a:pt x="131" y="185"/>
                </a:cubicBezTo>
                <a:cubicBezTo>
                  <a:pt x="130" y="184"/>
                  <a:pt x="130" y="184"/>
                  <a:pt x="130" y="184"/>
                </a:cubicBezTo>
                <a:cubicBezTo>
                  <a:pt x="131" y="183"/>
                  <a:pt x="131" y="183"/>
                  <a:pt x="131" y="183"/>
                </a:cubicBezTo>
                <a:cubicBezTo>
                  <a:pt x="132" y="182"/>
                  <a:pt x="132" y="182"/>
                  <a:pt x="132" y="182"/>
                </a:cubicBezTo>
                <a:cubicBezTo>
                  <a:pt x="133" y="182"/>
                  <a:pt x="133" y="182"/>
                  <a:pt x="133" y="182"/>
                </a:cubicBezTo>
                <a:cubicBezTo>
                  <a:pt x="133" y="181"/>
                  <a:pt x="133" y="181"/>
                  <a:pt x="133" y="181"/>
                </a:cubicBezTo>
                <a:cubicBezTo>
                  <a:pt x="134" y="180"/>
                  <a:pt x="134" y="180"/>
                  <a:pt x="134" y="180"/>
                </a:cubicBezTo>
                <a:cubicBezTo>
                  <a:pt x="135" y="179"/>
                  <a:pt x="135" y="179"/>
                  <a:pt x="135" y="179"/>
                </a:cubicBezTo>
                <a:cubicBezTo>
                  <a:pt x="136" y="178"/>
                  <a:pt x="136" y="178"/>
                  <a:pt x="136" y="178"/>
                </a:cubicBezTo>
                <a:cubicBezTo>
                  <a:pt x="138" y="176"/>
                  <a:pt x="138" y="176"/>
                  <a:pt x="138" y="176"/>
                </a:cubicBezTo>
                <a:cubicBezTo>
                  <a:pt x="139" y="176"/>
                  <a:pt x="139" y="176"/>
                  <a:pt x="139" y="176"/>
                </a:cubicBezTo>
                <a:cubicBezTo>
                  <a:pt x="139" y="176"/>
                  <a:pt x="139" y="176"/>
                  <a:pt x="139" y="176"/>
                </a:cubicBezTo>
                <a:cubicBezTo>
                  <a:pt x="141" y="175"/>
                  <a:pt x="141" y="175"/>
                  <a:pt x="141" y="175"/>
                </a:cubicBezTo>
                <a:cubicBezTo>
                  <a:pt x="142" y="173"/>
                  <a:pt x="142" y="173"/>
                  <a:pt x="142" y="173"/>
                </a:cubicBezTo>
                <a:cubicBezTo>
                  <a:pt x="143" y="170"/>
                  <a:pt x="143" y="170"/>
                  <a:pt x="143" y="170"/>
                </a:cubicBezTo>
                <a:cubicBezTo>
                  <a:pt x="145" y="170"/>
                  <a:pt x="145" y="170"/>
                  <a:pt x="145" y="170"/>
                </a:cubicBezTo>
                <a:cubicBezTo>
                  <a:pt x="146" y="169"/>
                  <a:pt x="146" y="169"/>
                  <a:pt x="146" y="169"/>
                </a:cubicBezTo>
                <a:cubicBezTo>
                  <a:pt x="145" y="167"/>
                  <a:pt x="145" y="167"/>
                  <a:pt x="145" y="167"/>
                </a:cubicBezTo>
                <a:cubicBezTo>
                  <a:pt x="146" y="166"/>
                  <a:pt x="146" y="166"/>
                  <a:pt x="146" y="166"/>
                </a:cubicBezTo>
                <a:cubicBezTo>
                  <a:pt x="147" y="168"/>
                  <a:pt x="147" y="168"/>
                  <a:pt x="147" y="168"/>
                </a:cubicBezTo>
                <a:cubicBezTo>
                  <a:pt x="147" y="169"/>
                  <a:pt x="147" y="169"/>
                  <a:pt x="147" y="169"/>
                </a:cubicBezTo>
                <a:cubicBezTo>
                  <a:pt x="147" y="171"/>
                  <a:pt x="147" y="171"/>
                  <a:pt x="147" y="171"/>
                </a:cubicBezTo>
                <a:cubicBezTo>
                  <a:pt x="146" y="172"/>
                  <a:pt x="146" y="172"/>
                  <a:pt x="146" y="172"/>
                </a:cubicBezTo>
                <a:cubicBezTo>
                  <a:pt x="145" y="175"/>
                  <a:pt x="145" y="175"/>
                  <a:pt x="145" y="175"/>
                </a:cubicBezTo>
                <a:cubicBezTo>
                  <a:pt x="143" y="177"/>
                  <a:pt x="143" y="177"/>
                  <a:pt x="143" y="177"/>
                </a:cubicBezTo>
                <a:cubicBezTo>
                  <a:pt x="142" y="178"/>
                  <a:pt x="142" y="178"/>
                  <a:pt x="142" y="178"/>
                </a:cubicBezTo>
                <a:cubicBezTo>
                  <a:pt x="142" y="179"/>
                  <a:pt x="142" y="179"/>
                  <a:pt x="142" y="179"/>
                </a:cubicBezTo>
                <a:cubicBezTo>
                  <a:pt x="142" y="181"/>
                  <a:pt x="142" y="181"/>
                  <a:pt x="142" y="181"/>
                </a:cubicBezTo>
                <a:cubicBezTo>
                  <a:pt x="140" y="183"/>
                  <a:pt x="140" y="183"/>
                  <a:pt x="140" y="183"/>
                </a:cubicBezTo>
                <a:cubicBezTo>
                  <a:pt x="141" y="183"/>
                  <a:pt x="141" y="183"/>
                  <a:pt x="141" y="183"/>
                </a:cubicBezTo>
                <a:cubicBezTo>
                  <a:pt x="140" y="186"/>
                  <a:pt x="140" y="186"/>
                  <a:pt x="140" y="186"/>
                </a:cubicBezTo>
                <a:cubicBezTo>
                  <a:pt x="137" y="186"/>
                  <a:pt x="137" y="186"/>
                  <a:pt x="137" y="186"/>
                </a:cubicBezTo>
                <a:cubicBezTo>
                  <a:pt x="136" y="188"/>
                  <a:pt x="136" y="188"/>
                  <a:pt x="136" y="188"/>
                </a:cubicBezTo>
                <a:cubicBezTo>
                  <a:pt x="135" y="189"/>
                  <a:pt x="135" y="189"/>
                  <a:pt x="135" y="189"/>
                </a:cubicBezTo>
                <a:cubicBezTo>
                  <a:pt x="135" y="189"/>
                  <a:pt x="135" y="189"/>
                  <a:pt x="135" y="189"/>
                </a:cubicBezTo>
                <a:cubicBezTo>
                  <a:pt x="137" y="189"/>
                  <a:pt x="137" y="189"/>
                  <a:pt x="137" y="189"/>
                </a:cubicBezTo>
                <a:cubicBezTo>
                  <a:pt x="139" y="188"/>
                  <a:pt x="139" y="188"/>
                  <a:pt x="139" y="188"/>
                </a:cubicBezTo>
                <a:cubicBezTo>
                  <a:pt x="141" y="189"/>
                  <a:pt x="141" y="189"/>
                  <a:pt x="141" y="189"/>
                </a:cubicBezTo>
                <a:cubicBezTo>
                  <a:pt x="143" y="185"/>
                  <a:pt x="143" y="185"/>
                  <a:pt x="143" y="185"/>
                </a:cubicBezTo>
                <a:cubicBezTo>
                  <a:pt x="144" y="182"/>
                  <a:pt x="144" y="182"/>
                  <a:pt x="144" y="182"/>
                </a:cubicBezTo>
                <a:cubicBezTo>
                  <a:pt x="145" y="180"/>
                  <a:pt x="145" y="180"/>
                  <a:pt x="145" y="180"/>
                </a:cubicBezTo>
                <a:cubicBezTo>
                  <a:pt x="146" y="181"/>
                  <a:pt x="146" y="181"/>
                  <a:pt x="146" y="181"/>
                </a:cubicBezTo>
                <a:cubicBezTo>
                  <a:pt x="146" y="184"/>
                  <a:pt x="146" y="184"/>
                  <a:pt x="146" y="184"/>
                </a:cubicBezTo>
                <a:cubicBezTo>
                  <a:pt x="147" y="186"/>
                  <a:pt x="147" y="186"/>
                  <a:pt x="147" y="186"/>
                </a:cubicBezTo>
                <a:cubicBezTo>
                  <a:pt x="146" y="186"/>
                  <a:pt x="146" y="186"/>
                  <a:pt x="146" y="186"/>
                </a:cubicBezTo>
                <a:cubicBezTo>
                  <a:pt x="146" y="189"/>
                  <a:pt x="146" y="189"/>
                  <a:pt x="146" y="189"/>
                </a:cubicBezTo>
                <a:cubicBezTo>
                  <a:pt x="145" y="191"/>
                  <a:pt x="145" y="191"/>
                  <a:pt x="145" y="191"/>
                </a:cubicBezTo>
                <a:cubicBezTo>
                  <a:pt x="143" y="192"/>
                  <a:pt x="143" y="192"/>
                  <a:pt x="143" y="192"/>
                </a:cubicBezTo>
                <a:cubicBezTo>
                  <a:pt x="143" y="193"/>
                  <a:pt x="143" y="193"/>
                  <a:pt x="143" y="193"/>
                </a:cubicBezTo>
                <a:cubicBezTo>
                  <a:pt x="144" y="193"/>
                  <a:pt x="144" y="193"/>
                  <a:pt x="144" y="193"/>
                </a:cubicBezTo>
                <a:cubicBezTo>
                  <a:pt x="146" y="193"/>
                  <a:pt x="146" y="193"/>
                  <a:pt x="146" y="193"/>
                </a:cubicBezTo>
                <a:cubicBezTo>
                  <a:pt x="147" y="192"/>
                  <a:pt x="147" y="192"/>
                  <a:pt x="147" y="192"/>
                </a:cubicBezTo>
                <a:cubicBezTo>
                  <a:pt x="148" y="192"/>
                  <a:pt x="148" y="192"/>
                  <a:pt x="148" y="192"/>
                </a:cubicBezTo>
                <a:cubicBezTo>
                  <a:pt x="149" y="191"/>
                  <a:pt x="149" y="191"/>
                  <a:pt x="149" y="191"/>
                </a:cubicBezTo>
                <a:cubicBezTo>
                  <a:pt x="150" y="191"/>
                  <a:pt x="150" y="191"/>
                  <a:pt x="150" y="191"/>
                </a:cubicBezTo>
                <a:cubicBezTo>
                  <a:pt x="151" y="191"/>
                  <a:pt x="151" y="191"/>
                  <a:pt x="151" y="191"/>
                </a:cubicBezTo>
                <a:cubicBezTo>
                  <a:pt x="150" y="192"/>
                  <a:pt x="150" y="192"/>
                  <a:pt x="150" y="192"/>
                </a:cubicBezTo>
                <a:cubicBezTo>
                  <a:pt x="150" y="193"/>
                  <a:pt x="150" y="193"/>
                  <a:pt x="150" y="193"/>
                </a:cubicBezTo>
                <a:cubicBezTo>
                  <a:pt x="149" y="193"/>
                  <a:pt x="149" y="193"/>
                  <a:pt x="149" y="193"/>
                </a:cubicBezTo>
                <a:cubicBezTo>
                  <a:pt x="148" y="194"/>
                  <a:pt x="148" y="194"/>
                  <a:pt x="148" y="194"/>
                </a:cubicBezTo>
                <a:cubicBezTo>
                  <a:pt x="149" y="196"/>
                  <a:pt x="149" y="196"/>
                  <a:pt x="149" y="196"/>
                </a:cubicBezTo>
                <a:cubicBezTo>
                  <a:pt x="150" y="197"/>
                  <a:pt x="150" y="197"/>
                  <a:pt x="150" y="197"/>
                </a:cubicBezTo>
                <a:cubicBezTo>
                  <a:pt x="151" y="199"/>
                  <a:pt x="151" y="199"/>
                  <a:pt x="151" y="199"/>
                </a:cubicBezTo>
                <a:cubicBezTo>
                  <a:pt x="151" y="201"/>
                  <a:pt x="151" y="201"/>
                  <a:pt x="151" y="201"/>
                </a:cubicBezTo>
                <a:cubicBezTo>
                  <a:pt x="151" y="204"/>
                  <a:pt x="151" y="204"/>
                  <a:pt x="151" y="204"/>
                </a:cubicBezTo>
                <a:cubicBezTo>
                  <a:pt x="149" y="206"/>
                  <a:pt x="149" y="206"/>
                  <a:pt x="149" y="206"/>
                </a:cubicBezTo>
                <a:cubicBezTo>
                  <a:pt x="149" y="207"/>
                  <a:pt x="149" y="207"/>
                  <a:pt x="149" y="207"/>
                </a:cubicBezTo>
                <a:cubicBezTo>
                  <a:pt x="149" y="209"/>
                  <a:pt x="149" y="209"/>
                  <a:pt x="149" y="209"/>
                </a:cubicBezTo>
                <a:cubicBezTo>
                  <a:pt x="150" y="210"/>
                  <a:pt x="150" y="210"/>
                  <a:pt x="150" y="210"/>
                </a:cubicBezTo>
                <a:cubicBezTo>
                  <a:pt x="151" y="211"/>
                  <a:pt x="151" y="211"/>
                  <a:pt x="151" y="211"/>
                </a:cubicBezTo>
                <a:cubicBezTo>
                  <a:pt x="151" y="213"/>
                  <a:pt x="151" y="213"/>
                  <a:pt x="151" y="213"/>
                </a:cubicBezTo>
                <a:cubicBezTo>
                  <a:pt x="154" y="216"/>
                  <a:pt x="154" y="216"/>
                  <a:pt x="154" y="216"/>
                </a:cubicBezTo>
                <a:cubicBezTo>
                  <a:pt x="155" y="217"/>
                  <a:pt x="155" y="217"/>
                  <a:pt x="155" y="217"/>
                </a:cubicBezTo>
                <a:cubicBezTo>
                  <a:pt x="157" y="218"/>
                  <a:pt x="157" y="218"/>
                  <a:pt x="157" y="218"/>
                </a:cubicBezTo>
                <a:cubicBezTo>
                  <a:pt x="157" y="219"/>
                  <a:pt x="157" y="219"/>
                  <a:pt x="157" y="219"/>
                </a:cubicBezTo>
                <a:cubicBezTo>
                  <a:pt x="158" y="219"/>
                  <a:pt x="158" y="219"/>
                  <a:pt x="158" y="219"/>
                </a:cubicBezTo>
                <a:cubicBezTo>
                  <a:pt x="159" y="219"/>
                  <a:pt x="159" y="219"/>
                  <a:pt x="159" y="219"/>
                </a:cubicBezTo>
                <a:cubicBezTo>
                  <a:pt x="159" y="219"/>
                  <a:pt x="159" y="219"/>
                  <a:pt x="159" y="219"/>
                </a:cubicBezTo>
                <a:cubicBezTo>
                  <a:pt x="161" y="219"/>
                  <a:pt x="161" y="219"/>
                  <a:pt x="161" y="219"/>
                </a:cubicBezTo>
                <a:cubicBezTo>
                  <a:pt x="162" y="221"/>
                  <a:pt x="162" y="221"/>
                  <a:pt x="162" y="221"/>
                </a:cubicBezTo>
                <a:cubicBezTo>
                  <a:pt x="164" y="221"/>
                  <a:pt x="164" y="221"/>
                  <a:pt x="164" y="221"/>
                </a:cubicBezTo>
                <a:cubicBezTo>
                  <a:pt x="165" y="222"/>
                  <a:pt x="165" y="222"/>
                  <a:pt x="165" y="222"/>
                </a:cubicBezTo>
                <a:cubicBezTo>
                  <a:pt x="166" y="224"/>
                  <a:pt x="166" y="224"/>
                  <a:pt x="166" y="224"/>
                </a:cubicBezTo>
                <a:cubicBezTo>
                  <a:pt x="167" y="224"/>
                  <a:pt x="167" y="224"/>
                  <a:pt x="167" y="224"/>
                </a:cubicBezTo>
                <a:cubicBezTo>
                  <a:pt x="168" y="225"/>
                  <a:pt x="168" y="225"/>
                  <a:pt x="168" y="225"/>
                </a:cubicBezTo>
                <a:cubicBezTo>
                  <a:pt x="169" y="225"/>
                  <a:pt x="169" y="225"/>
                  <a:pt x="169" y="225"/>
                </a:cubicBezTo>
                <a:cubicBezTo>
                  <a:pt x="170" y="225"/>
                  <a:pt x="170" y="225"/>
                  <a:pt x="170" y="225"/>
                </a:cubicBezTo>
                <a:cubicBezTo>
                  <a:pt x="172" y="223"/>
                  <a:pt x="172" y="223"/>
                  <a:pt x="172" y="223"/>
                </a:cubicBezTo>
                <a:cubicBezTo>
                  <a:pt x="173" y="222"/>
                  <a:pt x="173" y="222"/>
                  <a:pt x="173" y="222"/>
                </a:cubicBezTo>
                <a:cubicBezTo>
                  <a:pt x="174" y="222"/>
                  <a:pt x="174" y="222"/>
                  <a:pt x="174" y="222"/>
                </a:cubicBezTo>
                <a:cubicBezTo>
                  <a:pt x="176" y="221"/>
                  <a:pt x="176" y="221"/>
                  <a:pt x="176" y="221"/>
                </a:cubicBezTo>
                <a:cubicBezTo>
                  <a:pt x="177" y="221"/>
                  <a:pt x="177" y="221"/>
                  <a:pt x="177" y="221"/>
                </a:cubicBezTo>
                <a:cubicBezTo>
                  <a:pt x="177" y="220"/>
                  <a:pt x="177" y="220"/>
                  <a:pt x="177" y="220"/>
                </a:cubicBezTo>
                <a:cubicBezTo>
                  <a:pt x="177" y="220"/>
                  <a:pt x="177" y="220"/>
                  <a:pt x="177" y="220"/>
                </a:cubicBezTo>
                <a:cubicBezTo>
                  <a:pt x="176" y="219"/>
                  <a:pt x="176" y="219"/>
                  <a:pt x="176" y="219"/>
                </a:cubicBezTo>
                <a:cubicBezTo>
                  <a:pt x="176" y="219"/>
                  <a:pt x="176" y="219"/>
                  <a:pt x="176" y="219"/>
                </a:cubicBezTo>
                <a:cubicBezTo>
                  <a:pt x="179" y="217"/>
                  <a:pt x="179" y="217"/>
                  <a:pt x="179" y="217"/>
                </a:cubicBezTo>
                <a:cubicBezTo>
                  <a:pt x="181" y="218"/>
                  <a:pt x="181" y="218"/>
                  <a:pt x="181" y="218"/>
                </a:cubicBezTo>
                <a:cubicBezTo>
                  <a:pt x="181" y="220"/>
                  <a:pt x="181" y="220"/>
                  <a:pt x="181" y="220"/>
                </a:cubicBezTo>
                <a:cubicBezTo>
                  <a:pt x="178" y="221"/>
                  <a:pt x="178" y="221"/>
                  <a:pt x="178" y="221"/>
                </a:cubicBezTo>
                <a:cubicBezTo>
                  <a:pt x="179" y="222"/>
                  <a:pt x="179" y="222"/>
                  <a:pt x="179" y="222"/>
                </a:cubicBezTo>
                <a:cubicBezTo>
                  <a:pt x="180" y="222"/>
                  <a:pt x="180" y="222"/>
                  <a:pt x="180" y="222"/>
                </a:cubicBezTo>
                <a:cubicBezTo>
                  <a:pt x="180" y="221"/>
                  <a:pt x="180" y="221"/>
                  <a:pt x="180" y="221"/>
                </a:cubicBezTo>
                <a:cubicBezTo>
                  <a:pt x="182" y="221"/>
                  <a:pt x="182" y="221"/>
                  <a:pt x="182" y="221"/>
                </a:cubicBezTo>
                <a:cubicBezTo>
                  <a:pt x="183" y="221"/>
                  <a:pt x="183" y="221"/>
                  <a:pt x="183" y="221"/>
                </a:cubicBezTo>
                <a:cubicBezTo>
                  <a:pt x="183" y="223"/>
                  <a:pt x="183" y="223"/>
                  <a:pt x="183" y="223"/>
                </a:cubicBezTo>
                <a:cubicBezTo>
                  <a:pt x="182" y="223"/>
                  <a:pt x="182" y="223"/>
                  <a:pt x="182" y="223"/>
                </a:cubicBezTo>
                <a:cubicBezTo>
                  <a:pt x="181" y="224"/>
                  <a:pt x="181" y="224"/>
                  <a:pt x="181" y="224"/>
                </a:cubicBezTo>
                <a:cubicBezTo>
                  <a:pt x="183" y="226"/>
                  <a:pt x="183" y="226"/>
                  <a:pt x="183" y="226"/>
                </a:cubicBezTo>
                <a:cubicBezTo>
                  <a:pt x="183" y="228"/>
                  <a:pt x="183" y="228"/>
                  <a:pt x="183" y="228"/>
                </a:cubicBezTo>
                <a:cubicBezTo>
                  <a:pt x="184" y="227"/>
                  <a:pt x="184" y="227"/>
                  <a:pt x="184" y="227"/>
                </a:cubicBezTo>
                <a:cubicBezTo>
                  <a:pt x="184" y="227"/>
                  <a:pt x="184" y="227"/>
                  <a:pt x="184" y="227"/>
                </a:cubicBezTo>
                <a:cubicBezTo>
                  <a:pt x="184" y="229"/>
                  <a:pt x="184" y="229"/>
                  <a:pt x="184" y="229"/>
                </a:cubicBezTo>
                <a:cubicBezTo>
                  <a:pt x="185" y="230"/>
                  <a:pt x="185" y="230"/>
                  <a:pt x="185" y="230"/>
                </a:cubicBezTo>
                <a:cubicBezTo>
                  <a:pt x="186" y="228"/>
                  <a:pt x="186" y="228"/>
                  <a:pt x="186" y="228"/>
                </a:cubicBezTo>
                <a:cubicBezTo>
                  <a:pt x="186" y="227"/>
                  <a:pt x="186" y="227"/>
                  <a:pt x="186" y="227"/>
                </a:cubicBezTo>
                <a:cubicBezTo>
                  <a:pt x="185" y="227"/>
                  <a:pt x="185" y="227"/>
                  <a:pt x="185" y="227"/>
                </a:cubicBezTo>
                <a:cubicBezTo>
                  <a:pt x="185" y="227"/>
                  <a:pt x="185" y="227"/>
                  <a:pt x="185" y="227"/>
                </a:cubicBezTo>
                <a:cubicBezTo>
                  <a:pt x="186" y="226"/>
                  <a:pt x="186" y="226"/>
                  <a:pt x="186" y="226"/>
                </a:cubicBezTo>
                <a:cubicBezTo>
                  <a:pt x="189" y="226"/>
                  <a:pt x="189" y="226"/>
                  <a:pt x="189" y="226"/>
                </a:cubicBezTo>
                <a:cubicBezTo>
                  <a:pt x="189" y="227"/>
                  <a:pt x="189" y="227"/>
                  <a:pt x="189" y="227"/>
                </a:cubicBezTo>
                <a:cubicBezTo>
                  <a:pt x="190" y="226"/>
                  <a:pt x="190" y="226"/>
                  <a:pt x="190" y="226"/>
                </a:cubicBezTo>
                <a:cubicBezTo>
                  <a:pt x="191" y="224"/>
                  <a:pt x="191" y="224"/>
                  <a:pt x="191" y="224"/>
                </a:cubicBezTo>
                <a:cubicBezTo>
                  <a:pt x="194" y="222"/>
                  <a:pt x="194" y="222"/>
                  <a:pt x="194" y="222"/>
                </a:cubicBezTo>
                <a:cubicBezTo>
                  <a:pt x="196" y="220"/>
                  <a:pt x="196" y="220"/>
                  <a:pt x="196" y="220"/>
                </a:cubicBezTo>
                <a:cubicBezTo>
                  <a:pt x="195" y="220"/>
                  <a:pt x="195" y="220"/>
                  <a:pt x="195" y="220"/>
                </a:cubicBezTo>
                <a:cubicBezTo>
                  <a:pt x="195" y="221"/>
                  <a:pt x="195" y="221"/>
                  <a:pt x="195" y="221"/>
                </a:cubicBezTo>
                <a:cubicBezTo>
                  <a:pt x="195" y="220"/>
                  <a:pt x="195" y="220"/>
                  <a:pt x="195" y="220"/>
                </a:cubicBezTo>
                <a:cubicBezTo>
                  <a:pt x="194" y="220"/>
                  <a:pt x="194" y="220"/>
                  <a:pt x="194" y="220"/>
                </a:cubicBezTo>
                <a:cubicBezTo>
                  <a:pt x="195" y="220"/>
                  <a:pt x="195" y="220"/>
                  <a:pt x="195" y="220"/>
                </a:cubicBezTo>
                <a:cubicBezTo>
                  <a:pt x="197" y="220"/>
                  <a:pt x="197" y="220"/>
                  <a:pt x="197" y="220"/>
                </a:cubicBezTo>
                <a:cubicBezTo>
                  <a:pt x="199" y="219"/>
                  <a:pt x="199" y="219"/>
                  <a:pt x="199" y="219"/>
                </a:cubicBezTo>
                <a:cubicBezTo>
                  <a:pt x="204" y="218"/>
                  <a:pt x="204" y="218"/>
                  <a:pt x="204" y="218"/>
                </a:cubicBezTo>
                <a:cubicBezTo>
                  <a:pt x="208" y="219"/>
                  <a:pt x="208" y="219"/>
                  <a:pt x="208" y="219"/>
                </a:cubicBezTo>
                <a:cubicBezTo>
                  <a:pt x="209" y="218"/>
                  <a:pt x="209" y="218"/>
                  <a:pt x="209" y="218"/>
                </a:cubicBezTo>
                <a:cubicBezTo>
                  <a:pt x="209" y="217"/>
                  <a:pt x="209" y="217"/>
                  <a:pt x="209" y="217"/>
                </a:cubicBezTo>
                <a:cubicBezTo>
                  <a:pt x="210" y="217"/>
                  <a:pt x="210" y="217"/>
                  <a:pt x="210" y="217"/>
                </a:cubicBezTo>
                <a:cubicBezTo>
                  <a:pt x="212" y="216"/>
                  <a:pt x="212" y="216"/>
                  <a:pt x="212" y="216"/>
                </a:cubicBezTo>
                <a:cubicBezTo>
                  <a:pt x="213" y="214"/>
                  <a:pt x="213" y="214"/>
                  <a:pt x="213" y="214"/>
                </a:cubicBezTo>
                <a:cubicBezTo>
                  <a:pt x="212" y="211"/>
                  <a:pt x="212" y="211"/>
                  <a:pt x="212" y="211"/>
                </a:cubicBezTo>
                <a:cubicBezTo>
                  <a:pt x="212" y="210"/>
                  <a:pt x="212" y="210"/>
                  <a:pt x="212" y="210"/>
                </a:cubicBezTo>
                <a:cubicBezTo>
                  <a:pt x="214" y="208"/>
                  <a:pt x="214" y="208"/>
                  <a:pt x="214" y="208"/>
                </a:cubicBezTo>
                <a:cubicBezTo>
                  <a:pt x="214" y="204"/>
                  <a:pt x="214" y="204"/>
                  <a:pt x="214" y="204"/>
                </a:cubicBezTo>
                <a:cubicBezTo>
                  <a:pt x="215" y="203"/>
                  <a:pt x="215" y="203"/>
                  <a:pt x="215" y="203"/>
                </a:cubicBezTo>
                <a:cubicBezTo>
                  <a:pt x="216" y="200"/>
                  <a:pt x="216" y="200"/>
                  <a:pt x="216" y="200"/>
                </a:cubicBezTo>
                <a:cubicBezTo>
                  <a:pt x="217" y="200"/>
                  <a:pt x="217" y="200"/>
                  <a:pt x="217" y="200"/>
                </a:cubicBezTo>
                <a:cubicBezTo>
                  <a:pt x="217" y="198"/>
                  <a:pt x="217" y="198"/>
                  <a:pt x="217" y="198"/>
                </a:cubicBezTo>
                <a:cubicBezTo>
                  <a:pt x="221" y="194"/>
                  <a:pt x="221" y="194"/>
                  <a:pt x="221" y="194"/>
                </a:cubicBezTo>
                <a:cubicBezTo>
                  <a:pt x="222" y="194"/>
                  <a:pt x="222" y="194"/>
                  <a:pt x="222" y="194"/>
                </a:cubicBezTo>
                <a:cubicBezTo>
                  <a:pt x="222" y="191"/>
                  <a:pt x="222" y="191"/>
                  <a:pt x="222" y="191"/>
                </a:cubicBezTo>
                <a:cubicBezTo>
                  <a:pt x="224" y="189"/>
                  <a:pt x="224" y="189"/>
                  <a:pt x="224" y="189"/>
                </a:cubicBezTo>
                <a:cubicBezTo>
                  <a:pt x="225" y="186"/>
                  <a:pt x="225" y="186"/>
                  <a:pt x="225" y="186"/>
                </a:cubicBezTo>
                <a:cubicBezTo>
                  <a:pt x="226" y="185"/>
                  <a:pt x="226" y="185"/>
                  <a:pt x="226" y="185"/>
                </a:cubicBezTo>
                <a:cubicBezTo>
                  <a:pt x="226" y="183"/>
                  <a:pt x="226" y="183"/>
                  <a:pt x="226" y="183"/>
                </a:cubicBezTo>
                <a:cubicBezTo>
                  <a:pt x="227" y="183"/>
                  <a:pt x="227" y="183"/>
                  <a:pt x="227" y="183"/>
                </a:cubicBezTo>
                <a:cubicBezTo>
                  <a:pt x="228" y="180"/>
                  <a:pt x="228" y="180"/>
                  <a:pt x="228" y="180"/>
                </a:cubicBezTo>
                <a:cubicBezTo>
                  <a:pt x="227" y="180"/>
                  <a:pt x="227" y="180"/>
                  <a:pt x="227" y="180"/>
                </a:cubicBezTo>
                <a:cubicBezTo>
                  <a:pt x="229" y="179"/>
                  <a:pt x="229" y="179"/>
                  <a:pt x="229" y="179"/>
                </a:cubicBezTo>
                <a:cubicBezTo>
                  <a:pt x="231" y="177"/>
                  <a:pt x="231" y="177"/>
                  <a:pt x="231" y="177"/>
                </a:cubicBezTo>
                <a:cubicBezTo>
                  <a:pt x="232" y="176"/>
                  <a:pt x="232" y="176"/>
                  <a:pt x="232" y="176"/>
                </a:cubicBezTo>
                <a:cubicBezTo>
                  <a:pt x="233" y="174"/>
                  <a:pt x="233" y="174"/>
                  <a:pt x="233" y="174"/>
                </a:cubicBezTo>
                <a:cubicBezTo>
                  <a:pt x="234" y="173"/>
                  <a:pt x="234" y="173"/>
                  <a:pt x="234" y="173"/>
                </a:cubicBezTo>
                <a:cubicBezTo>
                  <a:pt x="236" y="173"/>
                  <a:pt x="236" y="173"/>
                  <a:pt x="236" y="173"/>
                </a:cubicBezTo>
                <a:cubicBezTo>
                  <a:pt x="234" y="173"/>
                  <a:pt x="234" y="173"/>
                  <a:pt x="234" y="173"/>
                </a:cubicBezTo>
                <a:cubicBezTo>
                  <a:pt x="234" y="172"/>
                  <a:pt x="234" y="172"/>
                  <a:pt x="234" y="172"/>
                </a:cubicBezTo>
                <a:cubicBezTo>
                  <a:pt x="236" y="172"/>
                  <a:pt x="236" y="172"/>
                  <a:pt x="236" y="172"/>
                </a:cubicBezTo>
                <a:cubicBezTo>
                  <a:pt x="238" y="171"/>
                  <a:pt x="238" y="171"/>
                  <a:pt x="238" y="171"/>
                </a:cubicBezTo>
                <a:cubicBezTo>
                  <a:pt x="239" y="169"/>
                  <a:pt x="239" y="169"/>
                  <a:pt x="239" y="169"/>
                </a:cubicBezTo>
                <a:cubicBezTo>
                  <a:pt x="238" y="168"/>
                  <a:pt x="238" y="168"/>
                  <a:pt x="238" y="168"/>
                </a:cubicBezTo>
                <a:cubicBezTo>
                  <a:pt x="239" y="167"/>
                  <a:pt x="239" y="167"/>
                  <a:pt x="239" y="167"/>
                </a:cubicBezTo>
                <a:cubicBezTo>
                  <a:pt x="241" y="166"/>
                  <a:pt x="241" y="166"/>
                  <a:pt x="241" y="166"/>
                </a:cubicBezTo>
                <a:cubicBezTo>
                  <a:pt x="241" y="164"/>
                  <a:pt x="241" y="164"/>
                  <a:pt x="241" y="164"/>
                </a:cubicBezTo>
                <a:cubicBezTo>
                  <a:pt x="242" y="164"/>
                  <a:pt x="242" y="164"/>
                  <a:pt x="242" y="164"/>
                </a:cubicBezTo>
                <a:cubicBezTo>
                  <a:pt x="244" y="161"/>
                  <a:pt x="244" y="161"/>
                  <a:pt x="244" y="161"/>
                </a:cubicBezTo>
                <a:cubicBezTo>
                  <a:pt x="243" y="160"/>
                  <a:pt x="243" y="160"/>
                  <a:pt x="243" y="160"/>
                </a:cubicBezTo>
                <a:cubicBezTo>
                  <a:pt x="244" y="158"/>
                  <a:pt x="244" y="158"/>
                  <a:pt x="244" y="158"/>
                </a:cubicBezTo>
                <a:cubicBezTo>
                  <a:pt x="244" y="158"/>
                  <a:pt x="244" y="158"/>
                  <a:pt x="244" y="158"/>
                </a:cubicBezTo>
                <a:cubicBezTo>
                  <a:pt x="244" y="157"/>
                  <a:pt x="244" y="157"/>
                  <a:pt x="244" y="157"/>
                </a:cubicBezTo>
                <a:cubicBezTo>
                  <a:pt x="246" y="152"/>
                  <a:pt x="246" y="152"/>
                  <a:pt x="246" y="152"/>
                </a:cubicBezTo>
                <a:cubicBezTo>
                  <a:pt x="246" y="150"/>
                  <a:pt x="246" y="150"/>
                  <a:pt x="246" y="150"/>
                </a:cubicBezTo>
                <a:cubicBezTo>
                  <a:pt x="248" y="146"/>
                  <a:pt x="248" y="146"/>
                  <a:pt x="248" y="146"/>
                </a:cubicBezTo>
                <a:cubicBezTo>
                  <a:pt x="248" y="145"/>
                  <a:pt x="248" y="145"/>
                  <a:pt x="248" y="145"/>
                </a:cubicBezTo>
                <a:cubicBezTo>
                  <a:pt x="249" y="142"/>
                  <a:pt x="249" y="142"/>
                  <a:pt x="249" y="142"/>
                </a:cubicBezTo>
                <a:cubicBezTo>
                  <a:pt x="251" y="140"/>
                  <a:pt x="251" y="140"/>
                  <a:pt x="251" y="140"/>
                </a:cubicBezTo>
                <a:cubicBezTo>
                  <a:pt x="252" y="139"/>
                  <a:pt x="252" y="139"/>
                  <a:pt x="252" y="139"/>
                </a:cubicBezTo>
                <a:cubicBezTo>
                  <a:pt x="251" y="137"/>
                  <a:pt x="251" y="137"/>
                  <a:pt x="251" y="137"/>
                </a:cubicBezTo>
                <a:cubicBezTo>
                  <a:pt x="252" y="135"/>
                  <a:pt x="252" y="135"/>
                  <a:pt x="252" y="135"/>
                </a:cubicBezTo>
                <a:cubicBezTo>
                  <a:pt x="251" y="133"/>
                  <a:pt x="251" y="133"/>
                  <a:pt x="251" y="133"/>
                </a:cubicBezTo>
                <a:cubicBezTo>
                  <a:pt x="251" y="131"/>
                  <a:pt x="251" y="131"/>
                  <a:pt x="251" y="131"/>
                </a:cubicBezTo>
                <a:cubicBezTo>
                  <a:pt x="251" y="129"/>
                  <a:pt x="251" y="129"/>
                  <a:pt x="251" y="129"/>
                </a:cubicBezTo>
                <a:cubicBezTo>
                  <a:pt x="250" y="128"/>
                  <a:pt x="250" y="128"/>
                  <a:pt x="250" y="128"/>
                </a:cubicBezTo>
                <a:cubicBezTo>
                  <a:pt x="250" y="127"/>
                  <a:pt x="250" y="127"/>
                  <a:pt x="250" y="127"/>
                </a:cubicBezTo>
                <a:cubicBezTo>
                  <a:pt x="251" y="126"/>
                  <a:pt x="251" y="126"/>
                  <a:pt x="251" y="126"/>
                </a:cubicBezTo>
                <a:cubicBezTo>
                  <a:pt x="251" y="125"/>
                  <a:pt x="251" y="125"/>
                  <a:pt x="251" y="125"/>
                </a:cubicBezTo>
                <a:cubicBezTo>
                  <a:pt x="252" y="123"/>
                  <a:pt x="252" y="123"/>
                  <a:pt x="252" y="123"/>
                </a:cubicBezTo>
                <a:cubicBezTo>
                  <a:pt x="252" y="122"/>
                  <a:pt x="252" y="122"/>
                  <a:pt x="252" y="122"/>
                </a:cubicBezTo>
                <a:cubicBezTo>
                  <a:pt x="252" y="119"/>
                  <a:pt x="252" y="119"/>
                  <a:pt x="252" y="119"/>
                </a:cubicBezTo>
                <a:cubicBezTo>
                  <a:pt x="252" y="117"/>
                  <a:pt x="252" y="117"/>
                  <a:pt x="252" y="117"/>
                </a:cubicBezTo>
                <a:cubicBezTo>
                  <a:pt x="252" y="117"/>
                  <a:pt x="252" y="117"/>
                  <a:pt x="252" y="117"/>
                </a:cubicBezTo>
                <a:cubicBezTo>
                  <a:pt x="251" y="115"/>
                  <a:pt x="251" y="115"/>
                  <a:pt x="251" y="115"/>
                </a:cubicBezTo>
                <a:cubicBezTo>
                  <a:pt x="251" y="113"/>
                  <a:pt x="251" y="113"/>
                  <a:pt x="251" y="113"/>
                </a:cubicBezTo>
                <a:cubicBezTo>
                  <a:pt x="251" y="113"/>
                  <a:pt x="251" y="113"/>
                  <a:pt x="251" y="113"/>
                </a:cubicBezTo>
                <a:cubicBezTo>
                  <a:pt x="252" y="111"/>
                  <a:pt x="252" y="111"/>
                  <a:pt x="252" y="111"/>
                </a:cubicBezTo>
                <a:cubicBezTo>
                  <a:pt x="250" y="111"/>
                  <a:pt x="250" y="111"/>
                  <a:pt x="250" y="111"/>
                </a:cubicBezTo>
                <a:cubicBezTo>
                  <a:pt x="250" y="110"/>
                  <a:pt x="250" y="110"/>
                  <a:pt x="250" y="110"/>
                </a:cubicBezTo>
                <a:cubicBezTo>
                  <a:pt x="250" y="108"/>
                  <a:pt x="250" y="108"/>
                  <a:pt x="250" y="108"/>
                </a:cubicBezTo>
                <a:cubicBezTo>
                  <a:pt x="248" y="107"/>
                  <a:pt x="248" y="107"/>
                  <a:pt x="248" y="107"/>
                </a:cubicBezTo>
                <a:cubicBezTo>
                  <a:pt x="247" y="105"/>
                  <a:pt x="247" y="105"/>
                  <a:pt x="247" y="105"/>
                </a:cubicBezTo>
                <a:cubicBezTo>
                  <a:pt x="247" y="103"/>
                  <a:pt x="247" y="103"/>
                  <a:pt x="247" y="103"/>
                </a:cubicBezTo>
                <a:cubicBezTo>
                  <a:pt x="246" y="102"/>
                  <a:pt x="246" y="102"/>
                  <a:pt x="246" y="102"/>
                </a:cubicBezTo>
                <a:cubicBezTo>
                  <a:pt x="245" y="102"/>
                  <a:pt x="245" y="102"/>
                  <a:pt x="245" y="102"/>
                </a:cubicBezTo>
                <a:cubicBezTo>
                  <a:pt x="244" y="102"/>
                  <a:pt x="244" y="102"/>
                  <a:pt x="244" y="102"/>
                </a:cubicBezTo>
                <a:cubicBezTo>
                  <a:pt x="244" y="101"/>
                  <a:pt x="244" y="101"/>
                  <a:pt x="244" y="101"/>
                </a:cubicBezTo>
                <a:cubicBezTo>
                  <a:pt x="243" y="100"/>
                  <a:pt x="243" y="100"/>
                  <a:pt x="243" y="100"/>
                </a:cubicBezTo>
                <a:cubicBezTo>
                  <a:pt x="243" y="99"/>
                  <a:pt x="243" y="99"/>
                  <a:pt x="243" y="99"/>
                </a:cubicBezTo>
                <a:cubicBezTo>
                  <a:pt x="243" y="99"/>
                  <a:pt x="243" y="99"/>
                  <a:pt x="243" y="99"/>
                </a:cubicBezTo>
                <a:cubicBezTo>
                  <a:pt x="241" y="97"/>
                  <a:pt x="241" y="97"/>
                  <a:pt x="241" y="97"/>
                </a:cubicBezTo>
                <a:cubicBezTo>
                  <a:pt x="240" y="97"/>
                  <a:pt x="240" y="97"/>
                  <a:pt x="240" y="97"/>
                </a:cubicBezTo>
                <a:cubicBezTo>
                  <a:pt x="241" y="96"/>
                  <a:pt x="241" y="96"/>
                  <a:pt x="241" y="96"/>
                </a:cubicBezTo>
                <a:cubicBezTo>
                  <a:pt x="240" y="94"/>
                  <a:pt x="240" y="94"/>
                  <a:pt x="240" y="94"/>
                </a:cubicBezTo>
                <a:cubicBezTo>
                  <a:pt x="241" y="93"/>
                  <a:pt x="241" y="93"/>
                  <a:pt x="241" y="93"/>
                </a:cubicBezTo>
                <a:cubicBezTo>
                  <a:pt x="241" y="91"/>
                  <a:pt x="241" y="91"/>
                  <a:pt x="241" y="91"/>
                </a:cubicBezTo>
                <a:cubicBezTo>
                  <a:pt x="241" y="90"/>
                  <a:pt x="241" y="90"/>
                  <a:pt x="241" y="90"/>
                </a:cubicBezTo>
                <a:cubicBezTo>
                  <a:pt x="241" y="89"/>
                  <a:pt x="241" y="89"/>
                  <a:pt x="241" y="89"/>
                </a:cubicBezTo>
                <a:cubicBezTo>
                  <a:pt x="240" y="88"/>
                  <a:pt x="240" y="88"/>
                  <a:pt x="240" y="88"/>
                </a:cubicBezTo>
                <a:cubicBezTo>
                  <a:pt x="240" y="89"/>
                  <a:pt x="240" y="89"/>
                  <a:pt x="240" y="89"/>
                </a:cubicBezTo>
                <a:cubicBezTo>
                  <a:pt x="240" y="89"/>
                  <a:pt x="240" y="89"/>
                  <a:pt x="240" y="89"/>
                </a:cubicBezTo>
                <a:cubicBezTo>
                  <a:pt x="240" y="90"/>
                  <a:pt x="240" y="90"/>
                  <a:pt x="240" y="90"/>
                </a:cubicBezTo>
                <a:cubicBezTo>
                  <a:pt x="237" y="87"/>
                  <a:pt x="237" y="87"/>
                  <a:pt x="237" y="87"/>
                </a:cubicBezTo>
                <a:cubicBezTo>
                  <a:pt x="237" y="86"/>
                  <a:pt x="237" y="86"/>
                  <a:pt x="237" y="86"/>
                </a:cubicBezTo>
                <a:cubicBezTo>
                  <a:pt x="236" y="86"/>
                  <a:pt x="236" y="86"/>
                  <a:pt x="236" y="86"/>
                </a:cubicBezTo>
                <a:cubicBezTo>
                  <a:pt x="236" y="87"/>
                  <a:pt x="236" y="87"/>
                  <a:pt x="236" y="87"/>
                </a:cubicBezTo>
                <a:cubicBezTo>
                  <a:pt x="236" y="88"/>
                  <a:pt x="236" y="88"/>
                  <a:pt x="236" y="88"/>
                </a:cubicBezTo>
                <a:cubicBezTo>
                  <a:pt x="236" y="90"/>
                  <a:pt x="236" y="90"/>
                  <a:pt x="236" y="90"/>
                </a:cubicBezTo>
                <a:cubicBezTo>
                  <a:pt x="235" y="88"/>
                  <a:pt x="235" y="88"/>
                  <a:pt x="235" y="88"/>
                </a:cubicBezTo>
                <a:cubicBezTo>
                  <a:pt x="234" y="89"/>
                  <a:pt x="234" y="89"/>
                  <a:pt x="234" y="89"/>
                </a:cubicBezTo>
                <a:cubicBezTo>
                  <a:pt x="234" y="88"/>
                  <a:pt x="234" y="88"/>
                  <a:pt x="234" y="88"/>
                </a:cubicBezTo>
                <a:cubicBezTo>
                  <a:pt x="234" y="87"/>
                  <a:pt x="234" y="87"/>
                  <a:pt x="234" y="87"/>
                </a:cubicBezTo>
                <a:cubicBezTo>
                  <a:pt x="234" y="83"/>
                  <a:pt x="234" y="83"/>
                  <a:pt x="234" y="83"/>
                </a:cubicBezTo>
                <a:cubicBezTo>
                  <a:pt x="234" y="83"/>
                  <a:pt x="234" y="83"/>
                  <a:pt x="234" y="83"/>
                </a:cubicBezTo>
                <a:cubicBezTo>
                  <a:pt x="234" y="82"/>
                  <a:pt x="234" y="82"/>
                  <a:pt x="234" y="82"/>
                </a:cubicBezTo>
                <a:cubicBezTo>
                  <a:pt x="233" y="81"/>
                  <a:pt x="233" y="81"/>
                  <a:pt x="233" y="81"/>
                </a:cubicBezTo>
                <a:cubicBezTo>
                  <a:pt x="233" y="80"/>
                  <a:pt x="233" y="80"/>
                  <a:pt x="233" y="80"/>
                </a:cubicBezTo>
                <a:cubicBezTo>
                  <a:pt x="232" y="80"/>
                  <a:pt x="232" y="80"/>
                  <a:pt x="232" y="80"/>
                </a:cubicBezTo>
                <a:cubicBezTo>
                  <a:pt x="233" y="79"/>
                  <a:pt x="233" y="79"/>
                  <a:pt x="233" y="79"/>
                </a:cubicBezTo>
                <a:cubicBezTo>
                  <a:pt x="231" y="77"/>
                  <a:pt x="231" y="77"/>
                  <a:pt x="231" y="77"/>
                </a:cubicBezTo>
                <a:cubicBezTo>
                  <a:pt x="230" y="76"/>
                  <a:pt x="230" y="76"/>
                  <a:pt x="230" y="76"/>
                </a:cubicBezTo>
                <a:cubicBezTo>
                  <a:pt x="230" y="74"/>
                  <a:pt x="230" y="74"/>
                  <a:pt x="230" y="74"/>
                </a:cubicBezTo>
                <a:cubicBezTo>
                  <a:pt x="231" y="74"/>
                  <a:pt x="231" y="74"/>
                  <a:pt x="231" y="74"/>
                </a:cubicBezTo>
                <a:cubicBezTo>
                  <a:pt x="231" y="73"/>
                  <a:pt x="231" y="73"/>
                  <a:pt x="231" y="73"/>
                </a:cubicBezTo>
                <a:cubicBezTo>
                  <a:pt x="230" y="71"/>
                  <a:pt x="230" y="71"/>
                  <a:pt x="230" y="71"/>
                </a:cubicBezTo>
                <a:cubicBezTo>
                  <a:pt x="230" y="72"/>
                  <a:pt x="230" y="72"/>
                  <a:pt x="230" y="72"/>
                </a:cubicBezTo>
                <a:cubicBezTo>
                  <a:pt x="228" y="71"/>
                  <a:pt x="228" y="71"/>
                  <a:pt x="228" y="71"/>
                </a:cubicBezTo>
                <a:cubicBezTo>
                  <a:pt x="227" y="70"/>
                  <a:pt x="227" y="70"/>
                  <a:pt x="227" y="70"/>
                </a:cubicBezTo>
                <a:cubicBezTo>
                  <a:pt x="226" y="70"/>
                  <a:pt x="226" y="70"/>
                  <a:pt x="226" y="70"/>
                </a:cubicBezTo>
                <a:cubicBezTo>
                  <a:pt x="225" y="69"/>
                  <a:pt x="225" y="69"/>
                  <a:pt x="225" y="69"/>
                </a:cubicBezTo>
                <a:cubicBezTo>
                  <a:pt x="224" y="69"/>
                  <a:pt x="224" y="69"/>
                  <a:pt x="224" y="69"/>
                </a:cubicBezTo>
                <a:cubicBezTo>
                  <a:pt x="224" y="69"/>
                  <a:pt x="224" y="69"/>
                  <a:pt x="224" y="69"/>
                </a:cubicBezTo>
                <a:cubicBezTo>
                  <a:pt x="223" y="68"/>
                  <a:pt x="223" y="68"/>
                  <a:pt x="223" y="68"/>
                </a:cubicBezTo>
                <a:cubicBezTo>
                  <a:pt x="222" y="69"/>
                  <a:pt x="222" y="69"/>
                  <a:pt x="222" y="69"/>
                </a:cubicBezTo>
                <a:cubicBezTo>
                  <a:pt x="222" y="68"/>
                  <a:pt x="222" y="68"/>
                  <a:pt x="222" y="68"/>
                </a:cubicBezTo>
                <a:cubicBezTo>
                  <a:pt x="224" y="67"/>
                  <a:pt x="224" y="67"/>
                  <a:pt x="224" y="67"/>
                </a:cubicBezTo>
                <a:cubicBezTo>
                  <a:pt x="224" y="67"/>
                  <a:pt x="224" y="67"/>
                  <a:pt x="224" y="67"/>
                </a:cubicBezTo>
                <a:cubicBezTo>
                  <a:pt x="223" y="66"/>
                  <a:pt x="223" y="66"/>
                  <a:pt x="223" y="66"/>
                </a:cubicBezTo>
                <a:cubicBezTo>
                  <a:pt x="222" y="66"/>
                  <a:pt x="222" y="66"/>
                  <a:pt x="222" y="66"/>
                </a:cubicBezTo>
                <a:cubicBezTo>
                  <a:pt x="221" y="66"/>
                  <a:pt x="221" y="66"/>
                  <a:pt x="221" y="66"/>
                </a:cubicBezTo>
                <a:cubicBezTo>
                  <a:pt x="221" y="65"/>
                  <a:pt x="221" y="65"/>
                  <a:pt x="221" y="65"/>
                </a:cubicBezTo>
                <a:cubicBezTo>
                  <a:pt x="220" y="65"/>
                  <a:pt x="220" y="65"/>
                  <a:pt x="220" y="65"/>
                </a:cubicBezTo>
                <a:cubicBezTo>
                  <a:pt x="217" y="64"/>
                  <a:pt x="217" y="64"/>
                  <a:pt x="217" y="64"/>
                </a:cubicBezTo>
                <a:cubicBezTo>
                  <a:pt x="216" y="61"/>
                  <a:pt x="216" y="61"/>
                  <a:pt x="216" y="61"/>
                </a:cubicBezTo>
                <a:cubicBezTo>
                  <a:pt x="216" y="59"/>
                  <a:pt x="216" y="59"/>
                  <a:pt x="216" y="59"/>
                </a:cubicBezTo>
                <a:cubicBezTo>
                  <a:pt x="215" y="58"/>
                  <a:pt x="215" y="58"/>
                  <a:pt x="215" y="58"/>
                </a:cubicBezTo>
                <a:cubicBezTo>
                  <a:pt x="215" y="56"/>
                  <a:pt x="215" y="56"/>
                  <a:pt x="215" y="56"/>
                </a:cubicBezTo>
                <a:cubicBezTo>
                  <a:pt x="216" y="56"/>
                  <a:pt x="216" y="56"/>
                  <a:pt x="216" y="56"/>
                </a:cubicBezTo>
                <a:cubicBezTo>
                  <a:pt x="216" y="54"/>
                  <a:pt x="216" y="54"/>
                  <a:pt x="216" y="54"/>
                </a:cubicBezTo>
                <a:cubicBezTo>
                  <a:pt x="216" y="50"/>
                  <a:pt x="216" y="50"/>
                  <a:pt x="216" y="50"/>
                </a:cubicBezTo>
                <a:cubicBezTo>
                  <a:pt x="215" y="49"/>
                  <a:pt x="215" y="49"/>
                  <a:pt x="215" y="49"/>
                </a:cubicBezTo>
                <a:cubicBezTo>
                  <a:pt x="216" y="49"/>
                  <a:pt x="216" y="49"/>
                  <a:pt x="216" y="49"/>
                </a:cubicBezTo>
                <a:cubicBezTo>
                  <a:pt x="215" y="48"/>
                  <a:pt x="215" y="48"/>
                  <a:pt x="215" y="48"/>
                </a:cubicBezTo>
                <a:cubicBezTo>
                  <a:pt x="214" y="48"/>
                  <a:pt x="214" y="48"/>
                  <a:pt x="214" y="48"/>
                </a:cubicBezTo>
                <a:cubicBezTo>
                  <a:pt x="213" y="45"/>
                  <a:pt x="213" y="45"/>
                  <a:pt x="213" y="45"/>
                </a:cubicBezTo>
                <a:cubicBezTo>
                  <a:pt x="213" y="42"/>
                  <a:pt x="213" y="42"/>
                  <a:pt x="213" y="42"/>
                </a:cubicBezTo>
                <a:cubicBezTo>
                  <a:pt x="213" y="42"/>
                  <a:pt x="213" y="42"/>
                  <a:pt x="213" y="42"/>
                </a:cubicBezTo>
                <a:cubicBezTo>
                  <a:pt x="213" y="41"/>
                  <a:pt x="213" y="41"/>
                  <a:pt x="213" y="41"/>
                </a:cubicBezTo>
                <a:cubicBezTo>
                  <a:pt x="213" y="40"/>
                  <a:pt x="213" y="40"/>
                  <a:pt x="213" y="40"/>
                </a:cubicBezTo>
                <a:cubicBezTo>
                  <a:pt x="212" y="37"/>
                  <a:pt x="212" y="37"/>
                  <a:pt x="212" y="37"/>
                </a:cubicBezTo>
                <a:cubicBezTo>
                  <a:pt x="213" y="36"/>
                  <a:pt x="213" y="36"/>
                  <a:pt x="213" y="36"/>
                </a:cubicBezTo>
                <a:cubicBezTo>
                  <a:pt x="212" y="34"/>
                  <a:pt x="212" y="34"/>
                  <a:pt x="212" y="34"/>
                </a:cubicBezTo>
                <a:cubicBezTo>
                  <a:pt x="213" y="34"/>
                  <a:pt x="213" y="34"/>
                  <a:pt x="213" y="34"/>
                </a:cubicBezTo>
                <a:cubicBezTo>
                  <a:pt x="213" y="33"/>
                  <a:pt x="213" y="33"/>
                  <a:pt x="213" y="33"/>
                </a:cubicBezTo>
                <a:cubicBezTo>
                  <a:pt x="211" y="31"/>
                  <a:pt x="211" y="31"/>
                  <a:pt x="211" y="31"/>
                </a:cubicBezTo>
                <a:cubicBezTo>
                  <a:pt x="209" y="30"/>
                  <a:pt x="209" y="30"/>
                  <a:pt x="209" y="30"/>
                </a:cubicBezTo>
                <a:cubicBezTo>
                  <a:pt x="210" y="30"/>
                  <a:pt x="210" y="30"/>
                  <a:pt x="210" y="30"/>
                </a:cubicBezTo>
                <a:cubicBezTo>
                  <a:pt x="208" y="28"/>
                  <a:pt x="208" y="28"/>
                  <a:pt x="208" y="28"/>
                </a:cubicBezTo>
                <a:cubicBezTo>
                  <a:pt x="207" y="29"/>
                  <a:pt x="207" y="29"/>
                  <a:pt x="207" y="29"/>
                </a:cubicBezTo>
                <a:cubicBezTo>
                  <a:pt x="206" y="29"/>
                  <a:pt x="206" y="29"/>
                  <a:pt x="206" y="29"/>
                </a:cubicBezTo>
                <a:cubicBezTo>
                  <a:pt x="206" y="30"/>
                  <a:pt x="206" y="30"/>
                  <a:pt x="206" y="30"/>
                </a:cubicBezTo>
                <a:cubicBezTo>
                  <a:pt x="205" y="30"/>
                  <a:pt x="205" y="30"/>
                  <a:pt x="205" y="30"/>
                </a:cubicBezTo>
                <a:cubicBezTo>
                  <a:pt x="203" y="28"/>
                  <a:pt x="203" y="28"/>
                  <a:pt x="203" y="28"/>
                </a:cubicBezTo>
                <a:cubicBezTo>
                  <a:pt x="203" y="27"/>
                  <a:pt x="203" y="27"/>
                  <a:pt x="203" y="27"/>
                </a:cubicBezTo>
                <a:cubicBezTo>
                  <a:pt x="203" y="25"/>
                  <a:pt x="203" y="25"/>
                  <a:pt x="203" y="25"/>
                </a:cubicBezTo>
                <a:cubicBezTo>
                  <a:pt x="203" y="23"/>
                  <a:pt x="203" y="23"/>
                  <a:pt x="203" y="23"/>
                </a:cubicBezTo>
                <a:cubicBezTo>
                  <a:pt x="203" y="20"/>
                  <a:pt x="203" y="20"/>
                  <a:pt x="203" y="20"/>
                </a:cubicBezTo>
                <a:cubicBezTo>
                  <a:pt x="202" y="20"/>
                  <a:pt x="202" y="20"/>
                  <a:pt x="202" y="20"/>
                </a:cubicBezTo>
                <a:cubicBezTo>
                  <a:pt x="202" y="19"/>
                  <a:pt x="202" y="19"/>
                  <a:pt x="202" y="19"/>
                </a:cubicBezTo>
                <a:cubicBezTo>
                  <a:pt x="202" y="18"/>
                  <a:pt x="202" y="18"/>
                  <a:pt x="202" y="18"/>
                </a:cubicBezTo>
                <a:cubicBezTo>
                  <a:pt x="201" y="17"/>
                  <a:pt x="201" y="17"/>
                  <a:pt x="201" y="17"/>
                </a:cubicBezTo>
                <a:cubicBezTo>
                  <a:pt x="201" y="16"/>
                  <a:pt x="201" y="16"/>
                  <a:pt x="201" y="16"/>
                </a:cubicBezTo>
                <a:cubicBezTo>
                  <a:pt x="201" y="15"/>
                  <a:pt x="201" y="15"/>
                  <a:pt x="201" y="15"/>
                </a:cubicBezTo>
                <a:cubicBezTo>
                  <a:pt x="201" y="14"/>
                  <a:pt x="201" y="14"/>
                  <a:pt x="201" y="14"/>
                </a:cubicBezTo>
                <a:cubicBezTo>
                  <a:pt x="202" y="13"/>
                  <a:pt x="202" y="13"/>
                  <a:pt x="202" y="13"/>
                </a:cubicBezTo>
                <a:cubicBezTo>
                  <a:pt x="201" y="12"/>
                  <a:pt x="201" y="12"/>
                  <a:pt x="201" y="12"/>
                </a:cubicBezTo>
                <a:cubicBezTo>
                  <a:pt x="200" y="13"/>
                  <a:pt x="200" y="13"/>
                  <a:pt x="200" y="13"/>
                </a:cubicBezTo>
                <a:cubicBezTo>
                  <a:pt x="199" y="12"/>
                  <a:pt x="199" y="12"/>
                  <a:pt x="199" y="12"/>
                </a:cubicBezTo>
                <a:cubicBezTo>
                  <a:pt x="199" y="9"/>
                  <a:pt x="199" y="9"/>
                  <a:pt x="199" y="9"/>
                </a:cubicBezTo>
                <a:cubicBezTo>
                  <a:pt x="199" y="8"/>
                  <a:pt x="199" y="8"/>
                  <a:pt x="199" y="8"/>
                </a:cubicBezTo>
                <a:cubicBezTo>
                  <a:pt x="199" y="7"/>
                  <a:pt x="199" y="7"/>
                  <a:pt x="199" y="7"/>
                </a:cubicBezTo>
                <a:cubicBezTo>
                  <a:pt x="197" y="6"/>
                  <a:pt x="197" y="6"/>
                  <a:pt x="197" y="6"/>
                </a:cubicBezTo>
                <a:cubicBezTo>
                  <a:pt x="197" y="5"/>
                  <a:pt x="197" y="5"/>
                  <a:pt x="197" y="5"/>
                </a:cubicBezTo>
                <a:cubicBezTo>
                  <a:pt x="196" y="6"/>
                  <a:pt x="196" y="6"/>
                  <a:pt x="196" y="6"/>
                </a:cubicBezTo>
                <a:cubicBezTo>
                  <a:pt x="195" y="7"/>
                  <a:pt x="195" y="7"/>
                  <a:pt x="195" y="7"/>
                </a:cubicBezTo>
                <a:cubicBezTo>
                  <a:pt x="195" y="9"/>
                  <a:pt x="195" y="9"/>
                  <a:pt x="195" y="9"/>
                </a:cubicBezTo>
                <a:cubicBezTo>
                  <a:pt x="194" y="11"/>
                  <a:pt x="194" y="11"/>
                  <a:pt x="194" y="11"/>
                </a:cubicBezTo>
                <a:cubicBezTo>
                  <a:pt x="194" y="12"/>
                  <a:pt x="194" y="12"/>
                  <a:pt x="194" y="12"/>
                </a:cubicBezTo>
                <a:cubicBezTo>
                  <a:pt x="194" y="13"/>
                  <a:pt x="194" y="13"/>
                  <a:pt x="194" y="13"/>
                </a:cubicBezTo>
                <a:cubicBezTo>
                  <a:pt x="193" y="13"/>
                  <a:pt x="193" y="13"/>
                  <a:pt x="193" y="13"/>
                </a:cubicBezTo>
                <a:cubicBezTo>
                  <a:pt x="193" y="15"/>
                  <a:pt x="193" y="15"/>
                  <a:pt x="193" y="15"/>
                </a:cubicBezTo>
                <a:cubicBezTo>
                  <a:pt x="192" y="16"/>
                  <a:pt x="192" y="16"/>
                  <a:pt x="192" y="16"/>
                </a:cubicBezTo>
                <a:cubicBezTo>
                  <a:pt x="192" y="17"/>
                  <a:pt x="192" y="17"/>
                  <a:pt x="192" y="17"/>
                </a:cubicBezTo>
                <a:cubicBezTo>
                  <a:pt x="194" y="18"/>
                  <a:pt x="194" y="18"/>
                  <a:pt x="194" y="18"/>
                </a:cubicBezTo>
                <a:cubicBezTo>
                  <a:pt x="193" y="19"/>
                  <a:pt x="193" y="19"/>
                  <a:pt x="193" y="19"/>
                </a:cubicBezTo>
                <a:cubicBezTo>
                  <a:pt x="192" y="19"/>
                  <a:pt x="192" y="19"/>
                  <a:pt x="192" y="19"/>
                </a:cubicBezTo>
                <a:cubicBezTo>
                  <a:pt x="192" y="20"/>
                  <a:pt x="192" y="20"/>
                  <a:pt x="192" y="20"/>
                </a:cubicBezTo>
                <a:cubicBezTo>
                  <a:pt x="191" y="21"/>
                  <a:pt x="191" y="21"/>
                  <a:pt x="191" y="21"/>
                </a:cubicBezTo>
                <a:cubicBezTo>
                  <a:pt x="192" y="23"/>
                  <a:pt x="192" y="23"/>
                  <a:pt x="192" y="23"/>
                </a:cubicBezTo>
                <a:cubicBezTo>
                  <a:pt x="192" y="24"/>
                  <a:pt x="192" y="24"/>
                  <a:pt x="192" y="24"/>
                </a:cubicBezTo>
                <a:cubicBezTo>
                  <a:pt x="191" y="23"/>
                  <a:pt x="191" y="23"/>
                  <a:pt x="191" y="23"/>
                </a:cubicBezTo>
                <a:cubicBezTo>
                  <a:pt x="190" y="24"/>
                  <a:pt x="190" y="24"/>
                  <a:pt x="190" y="24"/>
                </a:cubicBezTo>
                <a:cubicBezTo>
                  <a:pt x="190" y="27"/>
                  <a:pt x="190" y="27"/>
                  <a:pt x="190" y="27"/>
                </a:cubicBezTo>
                <a:cubicBezTo>
                  <a:pt x="190" y="29"/>
                  <a:pt x="190" y="29"/>
                  <a:pt x="190" y="29"/>
                </a:cubicBezTo>
                <a:cubicBezTo>
                  <a:pt x="190" y="31"/>
                  <a:pt x="190" y="31"/>
                  <a:pt x="190" y="31"/>
                </a:cubicBezTo>
                <a:cubicBezTo>
                  <a:pt x="190" y="33"/>
                  <a:pt x="190" y="33"/>
                  <a:pt x="190" y="33"/>
                </a:cubicBezTo>
                <a:cubicBezTo>
                  <a:pt x="190" y="35"/>
                  <a:pt x="190" y="35"/>
                  <a:pt x="190" y="35"/>
                </a:cubicBezTo>
                <a:cubicBezTo>
                  <a:pt x="189" y="36"/>
                  <a:pt x="189" y="36"/>
                  <a:pt x="189" y="36"/>
                </a:cubicBezTo>
                <a:cubicBezTo>
                  <a:pt x="189" y="37"/>
                  <a:pt x="189" y="37"/>
                  <a:pt x="189" y="37"/>
                </a:cubicBezTo>
                <a:cubicBezTo>
                  <a:pt x="188" y="39"/>
                  <a:pt x="188" y="39"/>
                  <a:pt x="188" y="39"/>
                </a:cubicBezTo>
                <a:cubicBezTo>
                  <a:pt x="188" y="43"/>
                  <a:pt x="188" y="43"/>
                  <a:pt x="188" y="43"/>
                </a:cubicBezTo>
                <a:cubicBezTo>
                  <a:pt x="187" y="44"/>
                  <a:pt x="187" y="44"/>
                  <a:pt x="187" y="44"/>
                </a:cubicBezTo>
                <a:cubicBezTo>
                  <a:pt x="187" y="45"/>
                  <a:pt x="187" y="45"/>
                  <a:pt x="187" y="45"/>
                </a:cubicBezTo>
                <a:cubicBezTo>
                  <a:pt x="186" y="47"/>
                  <a:pt x="186" y="47"/>
                  <a:pt x="186" y="47"/>
                </a:cubicBezTo>
                <a:cubicBezTo>
                  <a:pt x="185" y="48"/>
                  <a:pt x="185" y="48"/>
                  <a:pt x="185" y="48"/>
                </a:cubicBezTo>
                <a:cubicBezTo>
                  <a:pt x="185" y="51"/>
                  <a:pt x="185" y="51"/>
                  <a:pt x="185" y="51"/>
                </a:cubicBezTo>
                <a:cubicBezTo>
                  <a:pt x="183" y="52"/>
                  <a:pt x="183" y="52"/>
                  <a:pt x="183" y="52"/>
                </a:cubicBezTo>
                <a:cubicBezTo>
                  <a:pt x="179" y="54"/>
                  <a:pt x="179" y="54"/>
                  <a:pt x="179" y="54"/>
                </a:cubicBezTo>
                <a:cubicBezTo>
                  <a:pt x="177" y="53"/>
                  <a:pt x="177" y="53"/>
                  <a:pt x="177" y="53"/>
                </a:cubicBezTo>
                <a:cubicBezTo>
                  <a:pt x="176" y="53"/>
                  <a:pt x="176" y="53"/>
                  <a:pt x="176" y="53"/>
                </a:cubicBezTo>
                <a:cubicBezTo>
                  <a:pt x="175" y="51"/>
                  <a:pt x="175" y="51"/>
                  <a:pt x="175" y="51"/>
                </a:cubicBezTo>
                <a:cubicBezTo>
                  <a:pt x="173" y="50"/>
                  <a:pt x="173" y="50"/>
                  <a:pt x="173" y="50"/>
                </a:cubicBezTo>
                <a:cubicBezTo>
                  <a:pt x="173" y="49"/>
                  <a:pt x="173" y="49"/>
                  <a:pt x="173" y="49"/>
                </a:cubicBezTo>
                <a:cubicBezTo>
                  <a:pt x="173" y="49"/>
                  <a:pt x="173" y="49"/>
                  <a:pt x="173" y="49"/>
                </a:cubicBezTo>
                <a:cubicBezTo>
                  <a:pt x="172" y="48"/>
                  <a:pt x="172" y="48"/>
                  <a:pt x="172" y="48"/>
                </a:cubicBezTo>
                <a:cubicBezTo>
                  <a:pt x="171" y="47"/>
                  <a:pt x="171" y="47"/>
                  <a:pt x="171" y="47"/>
                </a:cubicBezTo>
                <a:cubicBezTo>
                  <a:pt x="170" y="47"/>
                  <a:pt x="170" y="47"/>
                  <a:pt x="170" y="47"/>
                </a:cubicBezTo>
                <a:cubicBezTo>
                  <a:pt x="168" y="47"/>
                  <a:pt x="168" y="47"/>
                  <a:pt x="168" y="47"/>
                </a:cubicBezTo>
                <a:cubicBezTo>
                  <a:pt x="166" y="46"/>
                  <a:pt x="166" y="46"/>
                  <a:pt x="166" y="46"/>
                </a:cubicBezTo>
                <a:cubicBezTo>
                  <a:pt x="166" y="44"/>
                  <a:pt x="166" y="44"/>
                  <a:pt x="166" y="44"/>
                </a:cubicBezTo>
                <a:cubicBezTo>
                  <a:pt x="164" y="43"/>
                  <a:pt x="164" y="43"/>
                  <a:pt x="164" y="43"/>
                </a:cubicBezTo>
                <a:cubicBezTo>
                  <a:pt x="163" y="43"/>
                  <a:pt x="163" y="43"/>
                  <a:pt x="163" y="43"/>
                </a:cubicBezTo>
                <a:cubicBezTo>
                  <a:pt x="161" y="42"/>
                  <a:pt x="161" y="42"/>
                  <a:pt x="161" y="42"/>
                </a:cubicBezTo>
                <a:cubicBezTo>
                  <a:pt x="161" y="41"/>
                  <a:pt x="161" y="41"/>
                  <a:pt x="161" y="41"/>
                </a:cubicBezTo>
                <a:cubicBezTo>
                  <a:pt x="160" y="41"/>
                  <a:pt x="160" y="41"/>
                  <a:pt x="160" y="41"/>
                </a:cubicBezTo>
                <a:cubicBezTo>
                  <a:pt x="160" y="40"/>
                  <a:pt x="160" y="40"/>
                  <a:pt x="160" y="40"/>
                </a:cubicBezTo>
                <a:cubicBezTo>
                  <a:pt x="158" y="40"/>
                  <a:pt x="158" y="40"/>
                  <a:pt x="158" y="40"/>
                </a:cubicBezTo>
                <a:cubicBezTo>
                  <a:pt x="157" y="40"/>
                  <a:pt x="157" y="40"/>
                  <a:pt x="157" y="40"/>
                </a:cubicBezTo>
                <a:cubicBezTo>
                  <a:pt x="157" y="39"/>
                  <a:pt x="157" y="39"/>
                  <a:pt x="157" y="39"/>
                </a:cubicBezTo>
                <a:cubicBezTo>
                  <a:pt x="156" y="38"/>
                  <a:pt x="156" y="38"/>
                  <a:pt x="156" y="38"/>
                </a:cubicBezTo>
                <a:cubicBezTo>
                  <a:pt x="156" y="37"/>
                  <a:pt x="156" y="37"/>
                  <a:pt x="156" y="37"/>
                </a:cubicBezTo>
                <a:cubicBezTo>
                  <a:pt x="154" y="35"/>
                  <a:pt x="154" y="35"/>
                  <a:pt x="154" y="35"/>
                </a:cubicBezTo>
                <a:cubicBezTo>
                  <a:pt x="153" y="35"/>
                  <a:pt x="153" y="35"/>
                  <a:pt x="153" y="35"/>
                </a:cubicBezTo>
                <a:cubicBezTo>
                  <a:pt x="152" y="33"/>
                  <a:pt x="152" y="33"/>
                  <a:pt x="152" y="33"/>
                </a:cubicBezTo>
                <a:cubicBezTo>
                  <a:pt x="151" y="32"/>
                  <a:pt x="151" y="32"/>
                  <a:pt x="151" y="32"/>
                </a:cubicBezTo>
                <a:cubicBezTo>
                  <a:pt x="153" y="30"/>
                  <a:pt x="153" y="30"/>
                  <a:pt x="153" y="30"/>
                </a:cubicBezTo>
                <a:cubicBezTo>
                  <a:pt x="153" y="28"/>
                  <a:pt x="153" y="28"/>
                  <a:pt x="153" y="28"/>
                </a:cubicBezTo>
                <a:cubicBezTo>
                  <a:pt x="154" y="28"/>
                  <a:pt x="154" y="28"/>
                  <a:pt x="154" y="28"/>
                </a:cubicBezTo>
                <a:cubicBezTo>
                  <a:pt x="155" y="26"/>
                  <a:pt x="155" y="26"/>
                  <a:pt x="155" y="26"/>
                </a:cubicBezTo>
                <a:cubicBezTo>
                  <a:pt x="155" y="25"/>
                  <a:pt x="155" y="25"/>
                  <a:pt x="155" y="25"/>
                </a:cubicBezTo>
                <a:cubicBezTo>
                  <a:pt x="154" y="26"/>
                  <a:pt x="154" y="26"/>
                  <a:pt x="154" y="26"/>
                </a:cubicBezTo>
                <a:cubicBezTo>
                  <a:pt x="153" y="24"/>
                  <a:pt x="153" y="24"/>
                  <a:pt x="153" y="24"/>
                </a:cubicBezTo>
                <a:cubicBezTo>
                  <a:pt x="154" y="23"/>
                  <a:pt x="154" y="23"/>
                  <a:pt x="154" y="23"/>
                </a:cubicBezTo>
                <a:cubicBezTo>
                  <a:pt x="154" y="22"/>
                  <a:pt x="154" y="22"/>
                  <a:pt x="154" y="22"/>
                </a:cubicBezTo>
                <a:cubicBezTo>
                  <a:pt x="155" y="22"/>
                  <a:pt x="155" y="22"/>
                  <a:pt x="155" y="22"/>
                </a:cubicBezTo>
                <a:cubicBezTo>
                  <a:pt x="156" y="21"/>
                  <a:pt x="156" y="21"/>
                  <a:pt x="156" y="21"/>
                </a:cubicBezTo>
                <a:cubicBezTo>
                  <a:pt x="156" y="22"/>
                  <a:pt x="156" y="22"/>
                  <a:pt x="156" y="22"/>
                </a:cubicBezTo>
                <a:cubicBezTo>
                  <a:pt x="157" y="22"/>
                  <a:pt x="157" y="22"/>
                  <a:pt x="157" y="22"/>
                </a:cubicBezTo>
                <a:cubicBezTo>
                  <a:pt x="159" y="21"/>
                  <a:pt x="159" y="21"/>
                  <a:pt x="159" y="21"/>
                </a:cubicBezTo>
                <a:cubicBezTo>
                  <a:pt x="159" y="20"/>
                  <a:pt x="159" y="20"/>
                  <a:pt x="159" y="20"/>
                </a:cubicBezTo>
                <a:cubicBezTo>
                  <a:pt x="158" y="19"/>
                  <a:pt x="158" y="19"/>
                  <a:pt x="158" y="19"/>
                </a:cubicBezTo>
                <a:cubicBezTo>
                  <a:pt x="159" y="18"/>
                  <a:pt x="159" y="18"/>
                  <a:pt x="159" y="18"/>
                </a:cubicBezTo>
                <a:cubicBezTo>
                  <a:pt x="160" y="19"/>
                  <a:pt x="160" y="19"/>
                  <a:pt x="160" y="19"/>
                </a:cubicBezTo>
                <a:cubicBezTo>
                  <a:pt x="160" y="16"/>
                  <a:pt x="160" y="16"/>
                  <a:pt x="160" y="16"/>
                </a:cubicBezTo>
                <a:cubicBezTo>
                  <a:pt x="161" y="16"/>
                  <a:pt x="161" y="16"/>
                  <a:pt x="161" y="16"/>
                </a:cubicBezTo>
                <a:cubicBezTo>
                  <a:pt x="162" y="15"/>
                  <a:pt x="162" y="15"/>
                  <a:pt x="162" y="15"/>
                </a:cubicBezTo>
                <a:cubicBezTo>
                  <a:pt x="162" y="14"/>
                  <a:pt x="162" y="14"/>
                  <a:pt x="162" y="14"/>
                </a:cubicBezTo>
                <a:cubicBezTo>
                  <a:pt x="161" y="14"/>
                  <a:pt x="161" y="14"/>
                  <a:pt x="161" y="14"/>
                </a:cubicBezTo>
                <a:cubicBezTo>
                  <a:pt x="160" y="15"/>
                  <a:pt x="160" y="15"/>
                  <a:pt x="160" y="15"/>
                </a:cubicBezTo>
                <a:cubicBezTo>
                  <a:pt x="159" y="14"/>
                  <a:pt x="159" y="14"/>
                  <a:pt x="159" y="14"/>
                </a:cubicBezTo>
                <a:cubicBezTo>
                  <a:pt x="159" y="12"/>
                  <a:pt x="159" y="12"/>
                  <a:pt x="159" y="12"/>
                </a:cubicBezTo>
                <a:cubicBezTo>
                  <a:pt x="158" y="13"/>
                  <a:pt x="158" y="13"/>
                  <a:pt x="158" y="13"/>
                </a:cubicBezTo>
                <a:cubicBezTo>
                  <a:pt x="156" y="14"/>
                  <a:pt x="156" y="14"/>
                  <a:pt x="156" y="14"/>
                </a:cubicBezTo>
                <a:cubicBezTo>
                  <a:pt x="157" y="15"/>
                  <a:pt x="157" y="15"/>
                  <a:pt x="157" y="15"/>
                </a:cubicBezTo>
                <a:cubicBezTo>
                  <a:pt x="157" y="16"/>
                  <a:pt x="157" y="16"/>
                  <a:pt x="157" y="16"/>
                </a:cubicBezTo>
                <a:cubicBezTo>
                  <a:pt x="156" y="16"/>
                  <a:pt x="156" y="16"/>
                  <a:pt x="156" y="16"/>
                </a:cubicBezTo>
                <a:cubicBezTo>
                  <a:pt x="155" y="15"/>
                  <a:pt x="155" y="15"/>
                  <a:pt x="155" y="15"/>
                </a:cubicBezTo>
                <a:cubicBezTo>
                  <a:pt x="155" y="15"/>
                  <a:pt x="155" y="15"/>
                  <a:pt x="155" y="15"/>
                </a:cubicBezTo>
                <a:cubicBezTo>
                  <a:pt x="154" y="14"/>
                  <a:pt x="154" y="14"/>
                  <a:pt x="154" y="14"/>
                </a:cubicBezTo>
                <a:cubicBezTo>
                  <a:pt x="154" y="15"/>
                  <a:pt x="154" y="15"/>
                  <a:pt x="154" y="15"/>
                </a:cubicBezTo>
                <a:cubicBezTo>
                  <a:pt x="153" y="15"/>
                  <a:pt x="153" y="15"/>
                  <a:pt x="153" y="15"/>
                </a:cubicBezTo>
                <a:cubicBezTo>
                  <a:pt x="153" y="14"/>
                  <a:pt x="153" y="14"/>
                  <a:pt x="153" y="14"/>
                </a:cubicBezTo>
                <a:cubicBezTo>
                  <a:pt x="154" y="13"/>
                  <a:pt x="154" y="13"/>
                  <a:pt x="154" y="13"/>
                </a:cubicBezTo>
                <a:cubicBezTo>
                  <a:pt x="154" y="13"/>
                  <a:pt x="154" y="13"/>
                  <a:pt x="154" y="13"/>
                </a:cubicBezTo>
                <a:cubicBezTo>
                  <a:pt x="153" y="13"/>
                  <a:pt x="153" y="13"/>
                  <a:pt x="153" y="13"/>
                </a:cubicBezTo>
                <a:cubicBezTo>
                  <a:pt x="153" y="14"/>
                  <a:pt x="153" y="14"/>
                  <a:pt x="153" y="14"/>
                </a:cubicBezTo>
                <a:cubicBezTo>
                  <a:pt x="151" y="14"/>
                  <a:pt x="151" y="14"/>
                  <a:pt x="151" y="14"/>
                </a:cubicBezTo>
                <a:cubicBezTo>
                  <a:pt x="151" y="15"/>
                  <a:pt x="151" y="15"/>
                  <a:pt x="151" y="15"/>
                </a:cubicBezTo>
                <a:cubicBezTo>
                  <a:pt x="150" y="15"/>
                  <a:pt x="150" y="15"/>
                  <a:pt x="150" y="15"/>
                </a:cubicBezTo>
                <a:cubicBezTo>
                  <a:pt x="150" y="15"/>
                  <a:pt x="150" y="15"/>
                  <a:pt x="150" y="15"/>
                </a:cubicBezTo>
                <a:cubicBezTo>
                  <a:pt x="149" y="14"/>
                  <a:pt x="149" y="14"/>
                  <a:pt x="149" y="14"/>
                </a:cubicBezTo>
                <a:cubicBezTo>
                  <a:pt x="149" y="14"/>
                  <a:pt x="149" y="14"/>
                  <a:pt x="149" y="14"/>
                </a:cubicBezTo>
                <a:cubicBezTo>
                  <a:pt x="148" y="13"/>
                  <a:pt x="148" y="13"/>
                  <a:pt x="148" y="13"/>
                </a:cubicBezTo>
                <a:cubicBezTo>
                  <a:pt x="147" y="12"/>
                  <a:pt x="147" y="12"/>
                  <a:pt x="147" y="12"/>
                </a:cubicBezTo>
                <a:cubicBezTo>
                  <a:pt x="146" y="13"/>
                  <a:pt x="146" y="13"/>
                  <a:pt x="146" y="13"/>
                </a:cubicBezTo>
                <a:cubicBezTo>
                  <a:pt x="145" y="13"/>
                  <a:pt x="145" y="13"/>
                  <a:pt x="145" y="13"/>
                </a:cubicBezTo>
                <a:cubicBezTo>
                  <a:pt x="144" y="13"/>
                  <a:pt x="144" y="13"/>
                  <a:pt x="144" y="13"/>
                </a:cubicBezTo>
                <a:cubicBezTo>
                  <a:pt x="144" y="12"/>
                  <a:pt x="144" y="12"/>
                  <a:pt x="144" y="12"/>
                </a:cubicBezTo>
                <a:cubicBezTo>
                  <a:pt x="143" y="12"/>
                  <a:pt x="143" y="12"/>
                  <a:pt x="143" y="12"/>
                </a:cubicBezTo>
                <a:cubicBezTo>
                  <a:pt x="142" y="11"/>
                  <a:pt x="142" y="11"/>
                  <a:pt x="142" y="11"/>
                </a:cubicBezTo>
                <a:cubicBezTo>
                  <a:pt x="141" y="12"/>
                  <a:pt x="141" y="12"/>
                  <a:pt x="141" y="12"/>
                </a:cubicBezTo>
                <a:cubicBezTo>
                  <a:pt x="139" y="11"/>
                  <a:pt x="139" y="11"/>
                  <a:pt x="139" y="11"/>
                </a:cubicBezTo>
                <a:cubicBezTo>
                  <a:pt x="138" y="11"/>
                  <a:pt x="138" y="11"/>
                  <a:pt x="138" y="11"/>
                </a:cubicBezTo>
                <a:cubicBezTo>
                  <a:pt x="138" y="10"/>
                  <a:pt x="138" y="10"/>
                  <a:pt x="138" y="10"/>
                </a:cubicBezTo>
                <a:cubicBezTo>
                  <a:pt x="137" y="9"/>
                  <a:pt x="137" y="9"/>
                  <a:pt x="137" y="9"/>
                </a:cubicBezTo>
                <a:cubicBezTo>
                  <a:pt x="137" y="9"/>
                  <a:pt x="137" y="9"/>
                  <a:pt x="137" y="9"/>
                </a:cubicBezTo>
                <a:cubicBezTo>
                  <a:pt x="137" y="9"/>
                  <a:pt x="137" y="9"/>
                  <a:pt x="137" y="9"/>
                </a:cubicBezTo>
                <a:cubicBezTo>
                  <a:pt x="135" y="10"/>
                  <a:pt x="135" y="10"/>
                  <a:pt x="135" y="10"/>
                </a:cubicBezTo>
                <a:cubicBezTo>
                  <a:pt x="134" y="9"/>
                  <a:pt x="134" y="9"/>
                  <a:pt x="134" y="9"/>
                </a:cubicBezTo>
                <a:cubicBezTo>
                  <a:pt x="133" y="8"/>
                  <a:pt x="133" y="8"/>
                  <a:pt x="133" y="8"/>
                </a:cubicBezTo>
                <a:cubicBezTo>
                  <a:pt x="132" y="7"/>
                  <a:pt x="132" y="7"/>
                  <a:pt x="132" y="7"/>
                </a:cubicBezTo>
                <a:cubicBezTo>
                  <a:pt x="131" y="8"/>
                  <a:pt x="131" y="8"/>
                  <a:pt x="131" y="8"/>
                </a:cubicBezTo>
                <a:cubicBezTo>
                  <a:pt x="131" y="7"/>
                  <a:pt x="131" y="7"/>
                  <a:pt x="131" y="7"/>
                </a:cubicBezTo>
                <a:cubicBezTo>
                  <a:pt x="129" y="8"/>
                  <a:pt x="129" y="8"/>
                  <a:pt x="129" y="8"/>
                </a:cubicBezTo>
                <a:cubicBezTo>
                  <a:pt x="131" y="9"/>
                  <a:pt x="131" y="9"/>
                  <a:pt x="131" y="9"/>
                </a:cubicBezTo>
                <a:cubicBezTo>
                  <a:pt x="130" y="9"/>
                  <a:pt x="130" y="9"/>
                  <a:pt x="130" y="9"/>
                </a:cubicBezTo>
                <a:cubicBezTo>
                  <a:pt x="132" y="10"/>
                  <a:pt x="132" y="10"/>
                  <a:pt x="132" y="10"/>
                </a:cubicBezTo>
                <a:cubicBezTo>
                  <a:pt x="133" y="9"/>
                  <a:pt x="133" y="9"/>
                  <a:pt x="133" y="9"/>
                </a:cubicBezTo>
                <a:cubicBezTo>
                  <a:pt x="134" y="11"/>
                  <a:pt x="134" y="11"/>
                  <a:pt x="134" y="11"/>
                </a:cubicBezTo>
                <a:cubicBezTo>
                  <a:pt x="134" y="11"/>
                  <a:pt x="134" y="11"/>
                  <a:pt x="134" y="11"/>
                </a:cubicBezTo>
                <a:cubicBezTo>
                  <a:pt x="135" y="13"/>
                  <a:pt x="135" y="13"/>
                  <a:pt x="135" y="13"/>
                </a:cubicBezTo>
                <a:cubicBezTo>
                  <a:pt x="133" y="14"/>
                  <a:pt x="133" y="14"/>
                  <a:pt x="133" y="14"/>
                </a:cubicBezTo>
                <a:cubicBezTo>
                  <a:pt x="133" y="15"/>
                  <a:pt x="133" y="15"/>
                  <a:pt x="133" y="15"/>
                </a:cubicBezTo>
                <a:cubicBezTo>
                  <a:pt x="132" y="14"/>
                  <a:pt x="132" y="14"/>
                  <a:pt x="132" y="14"/>
                </a:cubicBezTo>
                <a:cubicBezTo>
                  <a:pt x="131" y="14"/>
                  <a:pt x="131" y="14"/>
                  <a:pt x="131" y="14"/>
                </a:cubicBezTo>
                <a:cubicBezTo>
                  <a:pt x="130" y="14"/>
                  <a:pt x="130" y="14"/>
                  <a:pt x="130" y="14"/>
                </a:cubicBezTo>
                <a:cubicBezTo>
                  <a:pt x="127" y="15"/>
                  <a:pt x="127" y="15"/>
                  <a:pt x="127" y="15"/>
                </a:cubicBezTo>
                <a:cubicBezTo>
                  <a:pt x="125" y="13"/>
                  <a:pt x="125" y="13"/>
                  <a:pt x="125" y="13"/>
                </a:cubicBezTo>
                <a:cubicBezTo>
                  <a:pt x="125" y="14"/>
                  <a:pt x="125" y="14"/>
                  <a:pt x="125" y="14"/>
                </a:cubicBezTo>
                <a:cubicBezTo>
                  <a:pt x="124" y="15"/>
                  <a:pt x="124" y="15"/>
                  <a:pt x="124" y="15"/>
                </a:cubicBezTo>
                <a:cubicBezTo>
                  <a:pt x="124" y="16"/>
                  <a:pt x="124" y="16"/>
                  <a:pt x="124" y="16"/>
                </a:cubicBezTo>
                <a:cubicBezTo>
                  <a:pt x="123" y="15"/>
                  <a:pt x="123" y="15"/>
                  <a:pt x="123" y="15"/>
                </a:cubicBezTo>
                <a:cubicBezTo>
                  <a:pt x="123" y="17"/>
                  <a:pt x="123" y="17"/>
                  <a:pt x="123" y="17"/>
                </a:cubicBezTo>
                <a:cubicBezTo>
                  <a:pt x="123" y="17"/>
                  <a:pt x="123" y="17"/>
                  <a:pt x="123" y="17"/>
                </a:cubicBezTo>
                <a:cubicBezTo>
                  <a:pt x="121" y="16"/>
                  <a:pt x="121" y="16"/>
                  <a:pt x="121" y="16"/>
                </a:cubicBezTo>
                <a:cubicBezTo>
                  <a:pt x="121" y="17"/>
                  <a:pt x="121" y="17"/>
                  <a:pt x="121" y="17"/>
                </a:cubicBezTo>
                <a:cubicBezTo>
                  <a:pt x="121" y="18"/>
                  <a:pt x="121" y="18"/>
                  <a:pt x="121" y="18"/>
                </a:cubicBezTo>
                <a:cubicBezTo>
                  <a:pt x="121" y="18"/>
                  <a:pt x="121" y="18"/>
                  <a:pt x="121" y="18"/>
                </a:cubicBezTo>
                <a:cubicBezTo>
                  <a:pt x="120" y="18"/>
                  <a:pt x="120" y="18"/>
                  <a:pt x="120" y="18"/>
                </a:cubicBezTo>
                <a:cubicBezTo>
                  <a:pt x="119" y="19"/>
                  <a:pt x="119" y="19"/>
                  <a:pt x="119" y="19"/>
                </a:cubicBezTo>
                <a:cubicBezTo>
                  <a:pt x="119" y="19"/>
                  <a:pt x="119" y="19"/>
                  <a:pt x="119" y="19"/>
                </a:cubicBezTo>
                <a:cubicBezTo>
                  <a:pt x="119" y="20"/>
                  <a:pt x="119" y="20"/>
                  <a:pt x="119" y="20"/>
                </a:cubicBezTo>
                <a:cubicBezTo>
                  <a:pt x="118" y="20"/>
                  <a:pt x="118" y="20"/>
                  <a:pt x="118" y="20"/>
                </a:cubicBezTo>
                <a:cubicBezTo>
                  <a:pt x="118" y="21"/>
                  <a:pt x="118" y="21"/>
                  <a:pt x="118" y="21"/>
                </a:cubicBezTo>
                <a:cubicBezTo>
                  <a:pt x="119" y="22"/>
                  <a:pt x="119" y="22"/>
                  <a:pt x="119" y="22"/>
                </a:cubicBezTo>
                <a:cubicBezTo>
                  <a:pt x="119" y="23"/>
                  <a:pt x="119" y="23"/>
                  <a:pt x="119" y="23"/>
                </a:cubicBezTo>
                <a:cubicBezTo>
                  <a:pt x="118" y="22"/>
                  <a:pt x="118" y="22"/>
                  <a:pt x="118" y="22"/>
                </a:cubicBezTo>
                <a:cubicBezTo>
                  <a:pt x="117" y="23"/>
                  <a:pt x="117" y="23"/>
                  <a:pt x="117" y="23"/>
                </a:cubicBezTo>
                <a:cubicBezTo>
                  <a:pt x="116" y="23"/>
                  <a:pt x="116" y="23"/>
                  <a:pt x="116" y="23"/>
                </a:cubicBezTo>
                <a:cubicBezTo>
                  <a:pt x="115" y="25"/>
                  <a:pt x="115" y="25"/>
                  <a:pt x="115" y="25"/>
                </a:cubicBezTo>
                <a:cubicBezTo>
                  <a:pt x="114" y="27"/>
                  <a:pt x="114" y="27"/>
                  <a:pt x="114" y="27"/>
                </a:cubicBezTo>
                <a:cubicBezTo>
                  <a:pt x="113" y="27"/>
                  <a:pt x="113" y="27"/>
                  <a:pt x="113" y="27"/>
                </a:cubicBezTo>
                <a:cubicBezTo>
                  <a:pt x="113" y="28"/>
                  <a:pt x="113" y="28"/>
                  <a:pt x="113" y="28"/>
                </a:cubicBezTo>
                <a:cubicBezTo>
                  <a:pt x="112" y="29"/>
                  <a:pt x="112" y="29"/>
                  <a:pt x="112" y="29"/>
                </a:cubicBezTo>
                <a:cubicBezTo>
                  <a:pt x="113" y="30"/>
                  <a:pt x="113" y="30"/>
                  <a:pt x="113" y="30"/>
                </a:cubicBezTo>
                <a:cubicBezTo>
                  <a:pt x="115" y="30"/>
                  <a:pt x="115" y="30"/>
                  <a:pt x="115" y="30"/>
                </a:cubicBezTo>
                <a:cubicBezTo>
                  <a:pt x="114" y="31"/>
                  <a:pt x="114" y="31"/>
                  <a:pt x="114" y="31"/>
                </a:cubicBezTo>
                <a:cubicBezTo>
                  <a:pt x="113" y="31"/>
                  <a:pt x="113" y="31"/>
                  <a:pt x="113" y="31"/>
                </a:cubicBezTo>
                <a:cubicBezTo>
                  <a:pt x="116" y="32"/>
                  <a:pt x="116" y="32"/>
                  <a:pt x="116" y="32"/>
                </a:cubicBezTo>
                <a:cubicBezTo>
                  <a:pt x="115" y="33"/>
                  <a:pt x="115" y="33"/>
                  <a:pt x="115" y="33"/>
                </a:cubicBezTo>
                <a:cubicBezTo>
                  <a:pt x="113" y="33"/>
                  <a:pt x="113" y="33"/>
                  <a:pt x="113" y="33"/>
                </a:cubicBezTo>
                <a:cubicBezTo>
                  <a:pt x="113" y="32"/>
                  <a:pt x="113" y="32"/>
                  <a:pt x="113" y="32"/>
                </a:cubicBezTo>
                <a:cubicBezTo>
                  <a:pt x="113" y="33"/>
                  <a:pt x="113" y="33"/>
                  <a:pt x="113" y="33"/>
                </a:cubicBezTo>
                <a:cubicBezTo>
                  <a:pt x="114" y="33"/>
                  <a:pt x="114" y="33"/>
                  <a:pt x="114" y="33"/>
                </a:cubicBezTo>
                <a:cubicBezTo>
                  <a:pt x="114" y="35"/>
                  <a:pt x="114" y="35"/>
                  <a:pt x="114" y="35"/>
                </a:cubicBezTo>
                <a:cubicBezTo>
                  <a:pt x="115" y="36"/>
                  <a:pt x="115" y="36"/>
                  <a:pt x="115" y="36"/>
                </a:cubicBezTo>
                <a:cubicBezTo>
                  <a:pt x="113" y="35"/>
                  <a:pt x="113" y="35"/>
                  <a:pt x="113" y="35"/>
                </a:cubicBezTo>
                <a:cubicBezTo>
                  <a:pt x="112" y="33"/>
                  <a:pt x="112" y="33"/>
                  <a:pt x="112" y="33"/>
                </a:cubicBezTo>
                <a:cubicBezTo>
                  <a:pt x="111" y="33"/>
                  <a:pt x="111" y="33"/>
                  <a:pt x="111" y="33"/>
                </a:cubicBezTo>
                <a:cubicBezTo>
                  <a:pt x="111" y="34"/>
                  <a:pt x="111" y="34"/>
                  <a:pt x="111" y="34"/>
                </a:cubicBezTo>
                <a:cubicBezTo>
                  <a:pt x="111" y="35"/>
                  <a:pt x="111" y="35"/>
                  <a:pt x="111" y="35"/>
                </a:cubicBezTo>
                <a:cubicBezTo>
                  <a:pt x="110" y="34"/>
                  <a:pt x="110" y="34"/>
                  <a:pt x="110" y="34"/>
                </a:cubicBezTo>
                <a:cubicBezTo>
                  <a:pt x="108" y="32"/>
                  <a:pt x="108" y="32"/>
                  <a:pt x="108" y="32"/>
                </a:cubicBezTo>
                <a:cubicBezTo>
                  <a:pt x="106" y="32"/>
                  <a:pt x="106" y="32"/>
                  <a:pt x="106" y="32"/>
                </a:cubicBezTo>
                <a:cubicBezTo>
                  <a:pt x="106" y="33"/>
                  <a:pt x="106" y="33"/>
                  <a:pt x="106" y="33"/>
                </a:cubicBezTo>
                <a:cubicBezTo>
                  <a:pt x="106" y="34"/>
                  <a:pt x="106" y="34"/>
                  <a:pt x="106" y="34"/>
                </a:cubicBezTo>
                <a:cubicBezTo>
                  <a:pt x="105" y="33"/>
                  <a:pt x="105" y="33"/>
                  <a:pt x="105" y="33"/>
                </a:cubicBezTo>
                <a:cubicBezTo>
                  <a:pt x="105" y="33"/>
                  <a:pt x="105" y="33"/>
                  <a:pt x="105" y="33"/>
                </a:cubicBezTo>
                <a:cubicBezTo>
                  <a:pt x="104" y="34"/>
                  <a:pt x="104" y="34"/>
                  <a:pt x="104" y="34"/>
                </a:cubicBezTo>
                <a:cubicBezTo>
                  <a:pt x="105" y="35"/>
                  <a:pt x="105" y="35"/>
                  <a:pt x="105" y="35"/>
                </a:cubicBezTo>
                <a:cubicBezTo>
                  <a:pt x="105" y="36"/>
                  <a:pt x="105" y="36"/>
                  <a:pt x="105" y="36"/>
                </a:cubicBezTo>
                <a:cubicBezTo>
                  <a:pt x="105" y="35"/>
                  <a:pt x="105" y="35"/>
                  <a:pt x="105" y="35"/>
                </a:cubicBezTo>
                <a:cubicBezTo>
                  <a:pt x="104" y="35"/>
                  <a:pt x="104" y="35"/>
                  <a:pt x="104" y="35"/>
                </a:cubicBezTo>
                <a:cubicBezTo>
                  <a:pt x="104" y="36"/>
                  <a:pt x="104" y="36"/>
                  <a:pt x="104" y="36"/>
                </a:cubicBezTo>
                <a:cubicBezTo>
                  <a:pt x="103" y="37"/>
                  <a:pt x="103" y="37"/>
                  <a:pt x="103" y="37"/>
                </a:cubicBezTo>
                <a:cubicBezTo>
                  <a:pt x="101" y="37"/>
                  <a:pt x="101" y="37"/>
                  <a:pt x="101" y="37"/>
                </a:cubicBezTo>
                <a:cubicBezTo>
                  <a:pt x="102" y="36"/>
                  <a:pt x="102" y="36"/>
                  <a:pt x="102" y="36"/>
                </a:cubicBezTo>
                <a:cubicBezTo>
                  <a:pt x="103" y="35"/>
                  <a:pt x="103" y="35"/>
                  <a:pt x="103" y="35"/>
                </a:cubicBezTo>
                <a:cubicBezTo>
                  <a:pt x="103" y="33"/>
                  <a:pt x="103" y="33"/>
                  <a:pt x="103" y="33"/>
                </a:cubicBezTo>
                <a:cubicBezTo>
                  <a:pt x="104" y="32"/>
                  <a:pt x="104" y="32"/>
                  <a:pt x="104" y="32"/>
                </a:cubicBezTo>
                <a:cubicBezTo>
                  <a:pt x="104" y="31"/>
                  <a:pt x="104" y="31"/>
                  <a:pt x="104" y="31"/>
                </a:cubicBezTo>
                <a:cubicBezTo>
                  <a:pt x="102" y="31"/>
                  <a:pt x="102" y="31"/>
                  <a:pt x="102" y="31"/>
                </a:cubicBezTo>
                <a:cubicBezTo>
                  <a:pt x="101" y="28"/>
                  <a:pt x="101" y="28"/>
                  <a:pt x="101" y="28"/>
                </a:cubicBezTo>
                <a:cubicBezTo>
                  <a:pt x="100" y="26"/>
                  <a:pt x="100" y="26"/>
                  <a:pt x="100" y="26"/>
                </a:cubicBezTo>
                <a:cubicBezTo>
                  <a:pt x="98" y="26"/>
                  <a:pt x="98" y="26"/>
                  <a:pt x="98" y="26"/>
                </a:cubicBezTo>
                <a:cubicBezTo>
                  <a:pt x="97" y="25"/>
                  <a:pt x="97" y="25"/>
                  <a:pt x="97" y="25"/>
                </a:cubicBezTo>
                <a:cubicBezTo>
                  <a:pt x="96" y="25"/>
                  <a:pt x="96" y="25"/>
                  <a:pt x="96" y="25"/>
                </a:cubicBezTo>
                <a:cubicBezTo>
                  <a:pt x="97" y="26"/>
                  <a:pt x="97" y="26"/>
                  <a:pt x="97" y="26"/>
                </a:cubicBezTo>
                <a:cubicBezTo>
                  <a:pt x="96" y="26"/>
                  <a:pt x="96" y="26"/>
                  <a:pt x="96" y="26"/>
                </a:cubicBezTo>
                <a:cubicBezTo>
                  <a:pt x="95" y="28"/>
                  <a:pt x="95" y="28"/>
                  <a:pt x="95" y="28"/>
                </a:cubicBezTo>
                <a:cubicBezTo>
                  <a:pt x="94" y="27"/>
                  <a:pt x="94" y="27"/>
                  <a:pt x="94" y="27"/>
                </a:cubicBezTo>
                <a:cubicBezTo>
                  <a:pt x="95" y="27"/>
                  <a:pt x="95" y="27"/>
                  <a:pt x="95" y="27"/>
                </a:cubicBezTo>
                <a:cubicBezTo>
                  <a:pt x="93" y="27"/>
                  <a:pt x="93" y="27"/>
                  <a:pt x="93" y="27"/>
                </a:cubicBezTo>
                <a:cubicBezTo>
                  <a:pt x="93" y="28"/>
                  <a:pt x="93" y="28"/>
                  <a:pt x="93" y="28"/>
                </a:cubicBezTo>
                <a:cubicBezTo>
                  <a:pt x="92" y="26"/>
                  <a:pt x="92" y="26"/>
                  <a:pt x="92" y="26"/>
                </a:cubicBezTo>
                <a:cubicBezTo>
                  <a:pt x="92" y="26"/>
                  <a:pt x="92" y="26"/>
                  <a:pt x="92" y="26"/>
                </a:cubicBezTo>
                <a:cubicBezTo>
                  <a:pt x="91" y="27"/>
                  <a:pt x="91" y="27"/>
                  <a:pt x="91" y="27"/>
                </a:cubicBezTo>
                <a:cubicBezTo>
                  <a:pt x="92" y="27"/>
                  <a:pt x="92" y="27"/>
                  <a:pt x="92" y="27"/>
                </a:cubicBezTo>
                <a:cubicBezTo>
                  <a:pt x="91" y="28"/>
                  <a:pt x="91" y="28"/>
                  <a:pt x="91" y="28"/>
                </a:cubicBezTo>
                <a:cubicBezTo>
                  <a:pt x="91" y="30"/>
                  <a:pt x="91" y="30"/>
                  <a:pt x="91" y="30"/>
                </a:cubicBezTo>
                <a:cubicBezTo>
                  <a:pt x="91" y="30"/>
                  <a:pt x="91" y="30"/>
                  <a:pt x="91" y="30"/>
                </a:cubicBezTo>
                <a:cubicBezTo>
                  <a:pt x="90" y="31"/>
                  <a:pt x="90" y="31"/>
                  <a:pt x="90" y="31"/>
                </a:cubicBezTo>
                <a:cubicBezTo>
                  <a:pt x="89" y="30"/>
                  <a:pt x="89" y="30"/>
                  <a:pt x="89" y="30"/>
                </a:cubicBezTo>
                <a:cubicBezTo>
                  <a:pt x="88" y="30"/>
                  <a:pt x="88" y="30"/>
                  <a:pt x="88" y="30"/>
                </a:cubicBezTo>
                <a:cubicBezTo>
                  <a:pt x="88" y="29"/>
                  <a:pt x="88" y="29"/>
                  <a:pt x="88" y="29"/>
                </a:cubicBezTo>
                <a:cubicBezTo>
                  <a:pt x="89" y="28"/>
                  <a:pt x="89" y="28"/>
                  <a:pt x="89" y="28"/>
                </a:cubicBezTo>
                <a:cubicBezTo>
                  <a:pt x="88" y="29"/>
                  <a:pt x="88" y="29"/>
                  <a:pt x="88" y="29"/>
                </a:cubicBezTo>
                <a:cubicBezTo>
                  <a:pt x="88" y="30"/>
                  <a:pt x="88" y="30"/>
                  <a:pt x="88" y="30"/>
                </a:cubicBezTo>
                <a:cubicBezTo>
                  <a:pt x="86" y="30"/>
                  <a:pt x="86" y="30"/>
                  <a:pt x="86" y="30"/>
                </a:cubicBezTo>
                <a:cubicBezTo>
                  <a:pt x="86" y="31"/>
                  <a:pt x="86" y="31"/>
                  <a:pt x="86" y="31"/>
                </a:cubicBezTo>
                <a:cubicBezTo>
                  <a:pt x="86" y="32"/>
                  <a:pt x="86" y="32"/>
                  <a:pt x="86" y="32"/>
                </a:cubicBezTo>
                <a:cubicBezTo>
                  <a:pt x="87" y="33"/>
                  <a:pt x="87" y="33"/>
                  <a:pt x="87" y="33"/>
                </a:cubicBezTo>
                <a:cubicBezTo>
                  <a:pt x="86" y="34"/>
                  <a:pt x="86" y="34"/>
                  <a:pt x="86" y="34"/>
                </a:cubicBezTo>
                <a:cubicBezTo>
                  <a:pt x="85" y="34"/>
                  <a:pt x="85" y="34"/>
                  <a:pt x="85" y="34"/>
                </a:cubicBezTo>
                <a:cubicBezTo>
                  <a:pt x="83" y="35"/>
                  <a:pt x="83" y="35"/>
                  <a:pt x="83" y="35"/>
                </a:cubicBezTo>
                <a:cubicBezTo>
                  <a:pt x="83" y="35"/>
                  <a:pt x="83" y="35"/>
                  <a:pt x="83" y="35"/>
                </a:cubicBezTo>
                <a:cubicBezTo>
                  <a:pt x="85" y="36"/>
                  <a:pt x="85" y="36"/>
                  <a:pt x="85" y="36"/>
                </a:cubicBezTo>
                <a:cubicBezTo>
                  <a:pt x="85" y="37"/>
                  <a:pt x="85" y="37"/>
                  <a:pt x="85" y="37"/>
                </a:cubicBezTo>
                <a:cubicBezTo>
                  <a:pt x="84" y="37"/>
                  <a:pt x="84" y="37"/>
                  <a:pt x="84" y="37"/>
                </a:cubicBezTo>
                <a:cubicBezTo>
                  <a:pt x="83" y="35"/>
                  <a:pt x="83" y="35"/>
                  <a:pt x="83" y="35"/>
                </a:cubicBezTo>
                <a:cubicBezTo>
                  <a:pt x="81" y="37"/>
                  <a:pt x="81" y="37"/>
                  <a:pt x="81" y="37"/>
                </a:cubicBezTo>
                <a:cubicBezTo>
                  <a:pt x="80" y="37"/>
                  <a:pt x="80" y="37"/>
                  <a:pt x="80" y="37"/>
                </a:cubicBezTo>
                <a:cubicBezTo>
                  <a:pt x="80" y="38"/>
                  <a:pt x="80" y="38"/>
                  <a:pt x="80" y="38"/>
                </a:cubicBezTo>
                <a:cubicBezTo>
                  <a:pt x="81" y="39"/>
                  <a:pt x="81" y="39"/>
                  <a:pt x="81" y="39"/>
                </a:cubicBezTo>
                <a:cubicBezTo>
                  <a:pt x="81" y="39"/>
                  <a:pt x="81" y="39"/>
                  <a:pt x="81" y="39"/>
                </a:cubicBezTo>
                <a:cubicBezTo>
                  <a:pt x="82" y="39"/>
                  <a:pt x="82" y="39"/>
                  <a:pt x="82" y="39"/>
                </a:cubicBezTo>
                <a:cubicBezTo>
                  <a:pt x="81" y="40"/>
                  <a:pt x="81" y="40"/>
                  <a:pt x="81" y="40"/>
                </a:cubicBezTo>
                <a:cubicBezTo>
                  <a:pt x="81" y="41"/>
                  <a:pt x="81" y="41"/>
                  <a:pt x="81" y="41"/>
                </a:cubicBezTo>
                <a:cubicBezTo>
                  <a:pt x="80" y="42"/>
                  <a:pt x="80" y="42"/>
                  <a:pt x="80" y="42"/>
                </a:cubicBezTo>
                <a:cubicBezTo>
                  <a:pt x="80" y="43"/>
                  <a:pt x="80" y="43"/>
                  <a:pt x="80" y="43"/>
                </a:cubicBezTo>
                <a:cubicBezTo>
                  <a:pt x="82" y="43"/>
                  <a:pt x="82" y="43"/>
                  <a:pt x="82" y="43"/>
                </a:cubicBezTo>
                <a:cubicBezTo>
                  <a:pt x="80" y="44"/>
                  <a:pt x="80" y="44"/>
                  <a:pt x="80" y="44"/>
                </a:cubicBezTo>
                <a:cubicBezTo>
                  <a:pt x="80" y="44"/>
                  <a:pt x="80" y="44"/>
                  <a:pt x="80" y="44"/>
                </a:cubicBezTo>
                <a:cubicBezTo>
                  <a:pt x="79" y="44"/>
                  <a:pt x="79" y="44"/>
                  <a:pt x="79" y="44"/>
                </a:cubicBezTo>
                <a:cubicBezTo>
                  <a:pt x="78" y="43"/>
                  <a:pt x="78" y="43"/>
                  <a:pt x="78" y="43"/>
                </a:cubicBezTo>
                <a:cubicBezTo>
                  <a:pt x="77" y="42"/>
                  <a:pt x="77" y="42"/>
                  <a:pt x="77" y="42"/>
                </a:cubicBezTo>
                <a:cubicBezTo>
                  <a:pt x="76" y="43"/>
                  <a:pt x="76" y="43"/>
                  <a:pt x="76" y="43"/>
                </a:cubicBezTo>
                <a:cubicBezTo>
                  <a:pt x="76" y="42"/>
                  <a:pt x="76" y="42"/>
                  <a:pt x="76" y="42"/>
                </a:cubicBezTo>
                <a:cubicBezTo>
                  <a:pt x="75" y="42"/>
                  <a:pt x="75" y="42"/>
                  <a:pt x="75" y="42"/>
                </a:cubicBezTo>
                <a:cubicBezTo>
                  <a:pt x="74" y="42"/>
                  <a:pt x="74" y="42"/>
                  <a:pt x="74" y="42"/>
                </a:cubicBezTo>
                <a:cubicBezTo>
                  <a:pt x="75" y="43"/>
                  <a:pt x="75" y="43"/>
                  <a:pt x="75" y="43"/>
                </a:cubicBezTo>
                <a:cubicBezTo>
                  <a:pt x="75" y="44"/>
                  <a:pt x="75" y="44"/>
                  <a:pt x="75" y="44"/>
                </a:cubicBezTo>
                <a:cubicBezTo>
                  <a:pt x="74" y="45"/>
                  <a:pt x="74" y="45"/>
                  <a:pt x="74" y="45"/>
                </a:cubicBezTo>
                <a:cubicBezTo>
                  <a:pt x="75" y="46"/>
                  <a:pt x="75" y="46"/>
                  <a:pt x="75" y="46"/>
                </a:cubicBezTo>
                <a:cubicBezTo>
                  <a:pt x="77" y="46"/>
                  <a:pt x="77" y="46"/>
                  <a:pt x="77" y="46"/>
                </a:cubicBezTo>
                <a:cubicBezTo>
                  <a:pt x="76" y="47"/>
                  <a:pt x="76" y="47"/>
                  <a:pt x="76" y="47"/>
                </a:cubicBezTo>
                <a:cubicBezTo>
                  <a:pt x="76" y="48"/>
                  <a:pt x="76" y="48"/>
                  <a:pt x="76" y="48"/>
                </a:cubicBezTo>
                <a:cubicBezTo>
                  <a:pt x="76" y="48"/>
                  <a:pt x="76" y="48"/>
                  <a:pt x="76" y="48"/>
                </a:cubicBezTo>
                <a:cubicBezTo>
                  <a:pt x="75" y="48"/>
                  <a:pt x="75" y="48"/>
                  <a:pt x="75" y="48"/>
                </a:cubicBezTo>
                <a:cubicBezTo>
                  <a:pt x="75" y="49"/>
                  <a:pt x="75" y="49"/>
                  <a:pt x="75" y="49"/>
                </a:cubicBezTo>
                <a:cubicBezTo>
                  <a:pt x="75" y="50"/>
                  <a:pt x="75" y="50"/>
                  <a:pt x="75" y="50"/>
                </a:cubicBezTo>
                <a:cubicBezTo>
                  <a:pt x="74" y="52"/>
                  <a:pt x="74" y="52"/>
                  <a:pt x="74" y="52"/>
                </a:cubicBezTo>
                <a:cubicBezTo>
                  <a:pt x="72" y="48"/>
                  <a:pt x="72" y="48"/>
                  <a:pt x="72" y="48"/>
                </a:cubicBezTo>
                <a:cubicBezTo>
                  <a:pt x="71" y="45"/>
                  <a:pt x="71" y="45"/>
                  <a:pt x="71" y="45"/>
                </a:cubicBezTo>
                <a:cubicBezTo>
                  <a:pt x="70" y="44"/>
                  <a:pt x="70" y="44"/>
                  <a:pt x="70" y="44"/>
                </a:cubicBezTo>
                <a:cubicBezTo>
                  <a:pt x="71" y="43"/>
                  <a:pt x="71" y="43"/>
                  <a:pt x="71" y="43"/>
                </a:cubicBezTo>
                <a:cubicBezTo>
                  <a:pt x="70" y="43"/>
                  <a:pt x="70" y="43"/>
                  <a:pt x="70" y="43"/>
                </a:cubicBezTo>
                <a:cubicBezTo>
                  <a:pt x="69" y="44"/>
                  <a:pt x="69" y="44"/>
                  <a:pt x="69" y="44"/>
                </a:cubicBezTo>
                <a:cubicBezTo>
                  <a:pt x="69" y="46"/>
                  <a:pt x="69" y="46"/>
                  <a:pt x="69" y="46"/>
                </a:cubicBezTo>
                <a:cubicBezTo>
                  <a:pt x="68" y="46"/>
                  <a:pt x="68" y="46"/>
                  <a:pt x="68" y="46"/>
                </a:cubicBezTo>
                <a:cubicBezTo>
                  <a:pt x="67" y="47"/>
                  <a:pt x="67" y="47"/>
                  <a:pt x="67" y="47"/>
                </a:cubicBezTo>
                <a:cubicBezTo>
                  <a:pt x="66" y="47"/>
                  <a:pt x="66" y="47"/>
                  <a:pt x="66" y="47"/>
                </a:cubicBezTo>
                <a:cubicBezTo>
                  <a:pt x="66" y="48"/>
                  <a:pt x="66" y="48"/>
                  <a:pt x="66" y="48"/>
                </a:cubicBezTo>
                <a:cubicBezTo>
                  <a:pt x="64" y="49"/>
                  <a:pt x="64" y="49"/>
                  <a:pt x="64" y="49"/>
                </a:cubicBezTo>
                <a:cubicBezTo>
                  <a:pt x="65" y="50"/>
                  <a:pt x="65" y="50"/>
                  <a:pt x="65" y="50"/>
                </a:cubicBezTo>
                <a:cubicBezTo>
                  <a:pt x="65" y="54"/>
                  <a:pt x="65" y="54"/>
                  <a:pt x="65" y="54"/>
                </a:cubicBezTo>
                <a:cubicBezTo>
                  <a:pt x="65" y="54"/>
                  <a:pt x="65" y="54"/>
                  <a:pt x="65" y="54"/>
                </a:cubicBezTo>
                <a:cubicBezTo>
                  <a:pt x="65" y="55"/>
                  <a:pt x="65" y="55"/>
                  <a:pt x="65" y="55"/>
                </a:cubicBezTo>
                <a:cubicBezTo>
                  <a:pt x="64" y="56"/>
                  <a:pt x="64" y="56"/>
                  <a:pt x="64" y="56"/>
                </a:cubicBezTo>
                <a:cubicBezTo>
                  <a:pt x="64" y="57"/>
                  <a:pt x="64" y="57"/>
                  <a:pt x="64" y="57"/>
                </a:cubicBezTo>
                <a:cubicBezTo>
                  <a:pt x="62" y="57"/>
                  <a:pt x="62" y="57"/>
                  <a:pt x="62" y="57"/>
                </a:cubicBezTo>
                <a:cubicBezTo>
                  <a:pt x="62" y="58"/>
                  <a:pt x="62" y="58"/>
                  <a:pt x="62" y="58"/>
                </a:cubicBezTo>
                <a:cubicBezTo>
                  <a:pt x="60" y="59"/>
                  <a:pt x="60" y="59"/>
                  <a:pt x="60" y="59"/>
                </a:cubicBezTo>
                <a:cubicBezTo>
                  <a:pt x="61" y="61"/>
                  <a:pt x="61" y="61"/>
                  <a:pt x="61" y="61"/>
                </a:cubicBezTo>
                <a:cubicBezTo>
                  <a:pt x="60" y="61"/>
                  <a:pt x="60" y="61"/>
                  <a:pt x="60" y="61"/>
                </a:cubicBezTo>
                <a:cubicBezTo>
                  <a:pt x="58" y="64"/>
                  <a:pt x="58" y="64"/>
                  <a:pt x="58" y="64"/>
                </a:cubicBezTo>
                <a:cubicBezTo>
                  <a:pt x="54" y="66"/>
                  <a:pt x="54" y="66"/>
                  <a:pt x="54" y="66"/>
                </a:cubicBezTo>
                <a:cubicBezTo>
                  <a:pt x="51" y="67"/>
                  <a:pt x="51" y="67"/>
                  <a:pt x="51" y="67"/>
                </a:cubicBezTo>
                <a:cubicBezTo>
                  <a:pt x="49" y="67"/>
                  <a:pt x="49" y="67"/>
                  <a:pt x="49" y="67"/>
                </a:cubicBezTo>
                <a:cubicBezTo>
                  <a:pt x="48" y="67"/>
                  <a:pt x="48" y="67"/>
                  <a:pt x="48" y="67"/>
                </a:cubicBezTo>
                <a:cubicBezTo>
                  <a:pt x="46" y="68"/>
                  <a:pt x="46" y="68"/>
                  <a:pt x="46" y="68"/>
                </a:cubicBezTo>
                <a:cubicBezTo>
                  <a:pt x="45" y="67"/>
                  <a:pt x="45" y="67"/>
                  <a:pt x="45" y="67"/>
                </a:cubicBezTo>
                <a:cubicBezTo>
                  <a:pt x="43" y="68"/>
                  <a:pt x="43" y="68"/>
                  <a:pt x="43" y="68"/>
                </a:cubicBezTo>
                <a:cubicBezTo>
                  <a:pt x="42" y="69"/>
                  <a:pt x="42" y="69"/>
                  <a:pt x="42" y="69"/>
                </a:cubicBezTo>
                <a:cubicBezTo>
                  <a:pt x="41" y="70"/>
                  <a:pt x="41" y="70"/>
                  <a:pt x="41" y="70"/>
                </a:cubicBezTo>
                <a:cubicBezTo>
                  <a:pt x="37" y="70"/>
                  <a:pt x="37" y="70"/>
                  <a:pt x="37" y="70"/>
                </a:cubicBezTo>
                <a:cubicBezTo>
                  <a:pt x="36" y="70"/>
                  <a:pt x="36" y="70"/>
                  <a:pt x="36" y="70"/>
                </a:cubicBezTo>
                <a:cubicBezTo>
                  <a:pt x="36" y="71"/>
                  <a:pt x="36" y="71"/>
                  <a:pt x="36" y="71"/>
                </a:cubicBezTo>
                <a:cubicBezTo>
                  <a:pt x="33" y="72"/>
                  <a:pt x="33" y="72"/>
                  <a:pt x="33" y="72"/>
                </a:cubicBezTo>
                <a:cubicBezTo>
                  <a:pt x="31" y="72"/>
                  <a:pt x="31" y="72"/>
                  <a:pt x="31" y="72"/>
                </a:cubicBezTo>
                <a:cubicBezTo>
                  <a:pt x="30" y="72"/>
                  <a:pt x="30" y="72"/>
                  <a:pt x="30" y="72"/>
                </a:cubicBezTo>
                <a:cubicBezTo>
                  <a:pt x="29" y="72"/>
                  <a:pt x="29" y="72"/>
                  <a:pt x="29" y="72"/>
                </a:cubicBezTo>
                <a:cubicBezTo>
                  <a:pt x="29" y="71"/>
                  <a:pt x="29" y="71"/>
                  <a:pt x="29" y="71"/>
                </a:cubicBezTo>
                <a:cubicBezTo>
                  <a:pt x="28" y="72"/>
                  <a:pt x="28" y="72"/>
                  <a:pt x="28" y="72"/>
                </a:cubicBezTo>
                <a:cubicBezTo>
                  <a:pt x="27" y="73"/>
                  <a:pt x="27" y="73"/>
                  <a:pt x="27" y="73"/>
                </a:cubicBezTo>
                <a:cubicBezTo>
                  <a:pt x="24" y="74"/>
                  <a:pt x="24" y="74"/>
                  <a:pt x="24" y="74"/>
                </a:cubicBezTo>
                <a:cubicBezTo>
                  <a:pt x="24" y="74"/>
                  <a:pt x="24" y="74"/>
                  <a:pt x="24" y="74"/>
                </a:cubicBezTo>
                <a:cubicBezTo>
                  <a:pt x="23" y="74"/>
                  <a:pt x="23" y="74"/>
                  <a:pt x="23" y="74"/>
                </a:cubicBezTo>
                <a:cubicBezTo>
                  <a:pt x="21" y="76"/>
                  <a:pt x="21" y="76"/>
                  <a:pt x="21" y="76"/>
                </a:cubicBezTo>
                <a:cubicBezTo>
                  <a:pt x="18" y="78"/>
                  <a:pt x="18" y="78"/>
                  <a:pt x="18" y="78"/>
                </a:cubicBezTo>
                <a:cubicBezTo>
                  <a:pt x="15" y="79"/>
                  <a:pt x="15" y="79"/>
                  <a:pt x="15" y="79"/>
                </a:cubicBezTo>
                <a:cubicBezTo>
                  <a:pt x="13" y="81"/>
                  <a:pt x="13" y="81"/>
                  <a:pt x="13" y="81"/>
                </a:cubicBezTo>
                <a:cubicBezTo>
                  <a:pt x="13" y="83"/>
                  <a:pt x="13" y="83"/>
                  <a:pt x="13" y="83"/>
                </a:cubicBezTo>
                <a:cubicBezTo>
                  <a:pt x="12" y="84"/>
                  <a:pt x="12" y="84"/>
                  <a:pt x="12" y="84"/>
                </a:cubicBezTo>
                <a:cubicBezTo>
                  <a:pt x="11" y="83"/>
                  <a:pt x="11" y="83"/>
                  <a:pt x="11" y="83"/>
                </a:cubicBezTo>
                <a:cubicBezTo>
                  <a:pt x="11" y="83"/>
                  <a:pt x="11" y="83"/>
                  <a:pt x="11" y="83"/>
                </a:cubicBezTo>
                <a:cubicBezTo>
                  <a:pt x="11" y="82"/>
                  <a:pt x="11" y="82"/>
                  <a:pt x="11" y="82"/>
                </a:cubicBezTo>
                <a:cubicBezTo>
                  <a:pt x="12" y="80"/>
                  <a:pt x="12" y="80"/>
                  <a:pt x="12" y="80"/>
                </a:cubicBezTo>
                <a:cubicBezTo>
                  <a:pt x="12" y="79"/>
                  <a:pt x="12" y="79"/>
                  <a:pt x="12" y="79"/>
                </a:cubicBezTo>
                <a:cubicBezTo>
                  <a:pt x="10" y="81"/>
                  <a:pt x="10" y="81"/>
                  <a:pt x="10" y="81"/>
                </a:cubicBezTo>
                <a:cubicBezTo>
                  <a:pt x="9" y="82"/>
                  <a:pt x="9" y="82"/>
                  <a:pt x="9" y="82"/>
                </a:cubicBezTo>
                <a:cubicBezTo>
                  <a:pt x="8" y="85"/>
                  <a:pt x="8" y="85"/>
                  <a:pt x="8" y="85"/>
                </a:cubicBezTo>
                <a:cubicBezTo>
                  <a:pt x="9" y="87"/>
                  <a:pt x="9" y="87"/>
                  <a:pt x="9" y="87"/>
                </a:cubicBezTo>
                <a:cubicBezTo>
                  <a:pt x="8" y="89"/>
                  <a:pt x="8" y="89"/>
                  <a:pt x="8" y="89"/>
                </a:cubicBezTo>
                <a:cubicBezTo>
                  <a:pt x="8" y="91"/>
                  <a:pt x="8" y="91"/>
                  <a:pt x="8" y="91"/>
                </a:cubicBezTo>
                <a:cubicBezTo>
                  <a:pt x="6" y="94"/>
                  <a:pt x="6" y="94"/>
                  <a:pt x="6" y="94"/>
                </a:cubicBezTo>
                <a:cubicBezTo>
                  <a:pt x="5" y="99"/>
                  <a:pt x="5" y="99"/>
                  <a:pt x="5" y="99"/>
                </a:cubicBezTo>
                <a:cubicBezTo>
                  <a:pt x="5" y="101"/>
                  <a:pt x="5" y="101"/>
                  <a:pt x="5" y="101"/>
                </a:cubicBezTo>
                <a:cubicBezTo>
                  <a:pt x="5" y="104"/>
                  <a:pt x="5" y="104"/>
                  <a:pt x="5" y="104"/>
                </a:cubicBezTo>
                <a:cubicBezTo>
                  <a:pt x="7" y="107"/>
                  <a:pt x="7" y="107"/>
                  <a:pt x="7" y="107"/>
                </a:cubicBezTo>
                <a:cubicBezTo>
                  <a:pt x="7" y="109"/>
                  <a:pt x="7" y="109"/>
                  <a:pt x="7" y="109"/>
                </a:cubicBezTo>
                <a:cubicBezTo>
                  <a:pt x="8" y="110"/>
                  <a:pt x="8" y="110"/>
                  <a:pt x="8" y="110"/>
                </a:cubicBezTo>
                <a:cubicBezTo>
                  <a:pt x="7" y="112"/>
                  <a:pt x="7" y="112"/>
                  <a:pt x="7" y="112"/>
                </a:cubicBezTo>
                <a:cubicBezTo>
                  <a:pt x="8" y="113"/>
                  <a:pt x="8" y="113"/>
                  <a:pt x="8" y="113"/>
                </a:cubicBezTo>
                <a:cubicBezTo>
                  <a:pt x="6" y="114"/>
                  <a:pt x="6" y="114"/>
                  <a:pt x="6" y="114"/>
                </a:cubicBezTo>
                <a:cubicBezTo>
                  <a:pt x="6" y="113"/>
                  <a:pt x="6" y="113"/>
                  <a:pt x="6" y="113"/>
                </a:cubicBezTo>
                <a:cubicBezTo>
                  <a:pt x="6" y="111"/>
                  <a:pt x="6" y="111"/>
                  <a:pt x="6" y="111"/>
                </a:cubicBezTo>
                <a:cubicBezTo>
                  <a:pt x="5" y="112"/>
                  <a:pt x="5" y="112"/>
                  <a:pt x="5" y="112"/>
                </a:cubicBezTo>
                <a:cubicBezTo>
                  <a:pt x="5" y="112"/>
                  <a:pt x="5" y="112"/>
                  <a:pt x="5" y="112"/>
                </a:cubicBezTo>
                <a:cubicBezTo>
                  <a:pt x="5" y="110"/>
                  <a:pt x="5" y="110"/>
                  <a:pt x="5" y="110"/>
                </a:cubicBezTo>
                <a:cubicBezTo>
                  <a:pt x="3" y="107"/>
                  <a:pt x="3" y="107"/>
                  <a:pt x="3" y="107"/>
                </a:cubicBezTo>
                <a:cubicBezTo>
                  <a:pt x="3" y="108"/>
                  <a:pt x="3" y="108"/>
                  <a:pt x="3" y="108"/>
                </a:cubicBezTo>
                <a:cubicBezTo>
                  <a:pt x="3" y="111"/>
                  <a:pt x="3" y="111"/>
                  <a:pt x="3" y="111"/>
                </a:cubicBezTo>
                <a:cubicBezTo>
                  <a:pt x="5" y="113"/>
                  <a:pt x="5" y="113"/>
                  <a:pt x="5" y="113"/>
                </a:cubicBezTo>
                <a:cubicBezTo>
                  <a:pt x="6" y="115"/>
                  <a:pt x="6" y="115"/>
                  <a:pt x="6" y="115"/>
                </a:cubicBezTo>
                <a:cubicBezTo>
                  <a:pt x="4" y="115"/>
                  <a:pt x="4" y="115"/>
                  <a:pt x="4" y="115"/>
                </a:cubicBezTo>
                <a:cubicBezTo>
                  <a:pt x="3" y="113"/>
                  <a:pt x="3" y="113"/>
                  <a:pt x="3" y="113"/>
                </a:cubicBezTo>
                <a:cubicBezTo>
                  <a:pt x="2" y="111"/>
                  <a:pt x="2" y="111"/>
                  <a:pt x="2" y="111"/>
                </a:cubicBezTo>
                <a:cubicBezTo>
                  <a:pt x="2" y="112"/>
                  <a:pt x="2" y="112"/>
                  <a:pt x="2" y="112"/>
                </a:cubicBezTo>
                <a:cubicBezTo>
                  <a:pt x="1" y="112"/>
                  <a:pt x="1" y="112"/>
                  <a:pt x="1" y="112"/>
                </a:cubicBezTo>
                <a:cubicBezTo>
                  <a:pt x="2" y="115"/>
                  <a:pt x="2" y="115"/>
                  <a:pt x="2" y="115"/>
                </a:cubicBezTo>
                <a:cubicBezTo>
                  <a:pt x="4" y="117"/>
                  <a:pt x="4" y="117"/>
                  <a:pt x="4" y="117"/>
                </a:cubicBezTo>
                <a:cubicBezTo>
                  <a:pt x="6" y="121"/>
                  <a:pt x="6" y="121"/>
                  <a:pt x="6" y="121"/>
                </a:cubicBezTo>
                <a:cubicBezTo>
                  <a:pt x="5" y="127"/>
                  <a:pt x="5" y="127"/>
                  <a:pt x="5" y="127"/>
                </a:cubicBezTo>
                <a:cubicBezTo>
                  <a:pt x="6" y="128"/>
                  <a:pt x="6" y="128"/>
                  <a:pt x="6" y="128"/>
                </a:cubicBezTo>
                <a:cubicBezTo>
                  <a:pt x="7" y="132"/>
                  <a:pt x="7" y="132"/>
                  <a:pt x="7" y="132"/>
                </a:cubicBezTo>
                <a:cubicBezTo>
                  <a:pt x="9" y="137"/>
                  <a:pt x="9" y="137"/>
                  <a:pt x="9" y="137"/>
                </a:cubicBezTo>
                <a:cubicBezTo>
                  <a:pt x="8" y="138"/>
                  <a:pt x="8" y="138"/>
                  <a:pt x="8" y="138"/>
                </a:cubicBezTo>
                <a:cubicBezTo>
                  <a:pt x="8" y="145"/>
                  <a:pt x="8" y="145"/>
                  <a:pt x="8" y="145"/>
                </a:cubicBezTo>
                <a:cubicBezTo>
                  <a:pt x="8" y="146"/>
                  <a:pt x="8" y="146"/>
                  <a:pt x="8" y="146"/>
                </a:cubicBezTo>
                <a:cubicBezTo>
                  <a:pt x="9" y="148"/>
                  <a:pt x="9" y="148"/>
                  <a:pt x="9" y="148"/>
                </a:cubicBezTo>
                <a:cubicBezTo>
                  <a:pt x="9" y="150"/>
                  <a:pt x="9" y="150"/>
                  <a:pt x="9" y="150"/>
                </a:cubicBezTo>
                <a:cubicBezTo>
                  <a:pt x="10" y="153"/>
                  <a:pt x="10" y="153"/>
                  <a:pt x="10" y="153"/>
                </a:cubicBezTo>
                <a:cubicBezTo>
                  <a:pt x="10" y="155"/>
                  <a:pt x="10" y="155"/>
                  <a:pt x="10" y="155"/>
                </a:cubicBezTo>
                <a:cubicBezTo>
                  <a:pt x="9" y="156"/>
                  <a:pt x="9" y="156"/>
                  <a:pt x="9" y="156"/>
                </a:cubicBezTo>
                <a:cubicBezTo>
                  <a:pt x="9" y="157"/>
                  <a:pt x="9" y="157"/>
                  <a:pt x="9" y="157"/>
                </a:cubicBezTo>
                <a:cubicBezTo>
                  <a:pt x="9" y="158"/>
                  <a:pt x="9" y="158"/>
                  <a:pt x="9" y="158"/>
                </a:cubicBezTo>
                <a:cubicBezTo>
                  <a:pt x="9" y="161"/>
                  <a:pt x="9" y="161"/>
                  <a:pt x="9" y="161"/>
                </a:cubicBezTo>
                <a:cubicBezTo>
                  <a:pt x="8" y="162"/>
                  <a:pt x="8" y="162"/>
                  <a:pt x="8" y="162"/>
                </a:cubicBezTo>
                <a:cubicBezTo>
                  <a:pt x="8" y="163"/>
                  <a:pt x="8" y="163"/>
                  <a:pt x="8" y="163"/>
                </a:cubicBezTo>
                <a:cubicBezTo>
                  <a:pt x="8" y="164"/>
                  <a:pt x="8" y="164"/>
                  <a:pt x="8" y="164"/>
                </a:cubicBezTo>
                <a:cubicBezTo>
                  <a:pt x="7" y="165"/>
                  <a:pt x="7" y="165"/>
                  <a:pt x="7" y="165"/>
                </a:cubicBezTo>
                <a:cubicBezTo>
                  <a:pt x="7" y="167"/>
                  <a:pt x="7" y="167"/>
                  <a:pt x="7" y="167"/>
                </a:cubicBezTo>
                <a:cubicBezTo>
                  <a:pt x="5" y="168"/>
                  <a:pt x="5" y="168"/>
                  <a:pt x="5" y="168"/>
                </a:cubicBezTo>
                <a:cubicBezTo>
                  <a:pt x="4" y="168"/>
                  <a:pt x="4" y="168"/>
                  <a:pt x="4" y="168"/>
                </a:cubicBezTo>
                <a:cubicBezTo>
                  <a:pt x="2" y="170"/>
                  <a:pt x="2" y="170"/>
                  <a:pt x="2" y="170"/>
                </a:cubicBezTo>
                <a:lnTo>
                  <a:pt x="2" y="174"/>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3" name="Freeform 161">
            <a:extLst>
              <a:ext uri="{FF2B5EF4-FFF2-40B4-BE49-F238E27FC236}">
                <a16:creationId xmlns:a16="http://schemas.microsoft.com/office/drawing/2014/main" id="{589DC4A2-1BA4-8C73-EA8A-A92DAAC93AFA}"/>
              </a:ext>
            </a:extLst>
          </p:cNvPr>
          <p:cNvSpPr>
            <a:spLocks noEditPoints="1"/>
          </p:cNvSpPr>
          <p:nvPr userDrawn="1"/>
        </p:nvSpPr>
        <p:spPr bwMode="auto">
          <a:xfrm>
            <a:off x="22696598" y="12007135"/>
            <a:ext cx="1260396" cy="1927226"/>
          </a:xfrm>
          <a:custGeom>
            <a:avLst/>
            <a:gdLst>
              <a:gd name="T0" fmla="*/ 25 w 397"/>
              <a:gd name="T1" fmla="*/ 604 h 607"/>
              <a:gd name="T2" fmla="*/ 0 w 397"/>
              <a:gd name="T3" fmla="*/ 529 h 607"/>
              <a:gd name="T4" fmla="*/ 0 w 397"/>
              <a:gd name="T5" fmla="*/ 529 h 607"/>
              <a:gd name="T6" fmla="*/ 340 w 397"/>
              <a:gd name="T7" fmla="*/ 69 h 607"/>
              <a:gd name="T8" fmla="*/ 347 w 397"/>
              <a:gd name="T9" fmla="*/ 69 h 607"/>
              <a:gd name="T10" fmla="*/ 290 w 397"/>
              <a:gd name="T11" fmla="*/ 229 h 607"/>
              <a:gd name="T12" fmla="*/ 315 w 397"/>
              <a:gd name="T13" fmla="*/ 216 h 607"/>
              <a:gd name="T14" fmla="*/ 343 w 397"/>
              <a:gd name="T15" fmla="*/ 185 h 607"/>
              <a:gd name="T16" fmla="*/ 356 w 397"/>
              <a:gd name="T17" fmla="*/ 160 h 607"/>
              <a:gd name="T18" fmla="*/ 368 w 397"/>
              <a:gd name="T19" fmla="*/ 154 h 607"/>
              <a:gd name="T20" fmla="*/ 387 w 397"/>
              <a:gd name="T21" fmla="*/ 129 h 607"/>
              <a:gd name="T22" fmla="*/ 387 w 397"/>
              <a:gd name="T23" fmla="*/ 110 h 607"/>
              <a:gd name="T24" fmla="*/ 350 w 397"/>
              <a:gd name="T25" fmla="*/ 107 h 607"/>
              <a:gd name="T26" fmla="*/ 347 w 397"/>
              <a:gd name="T27" fmla="*/ 79 h 607"/>
              <a:gd name="T28" fmla="*/ 340 w 397"/>
              <a:gd name="T29" fmla="*/ 88 h 607"/>
              <a:gd name="T30" fmla="*/ 328 w 397"/>
              <a:gd name="T31" fmla="*/ 88 h 607"/>
              <a:gd name="T32" fmla="*/ 334 w 397"/>
              <a:gd name="T33" fmla="*/ 63 h 607"/>
              <a:gd name="T34" fmla="*/ 337 w 397"/>
              <a:gd name="T35" fmla="*/ 41 h 607"/>
              <a:gd name="T36" fmla="*/ 328 w 397"/>
              <a:gd name="T37" fmla="*/ 25 h 607"/>
              <a:gd name="T38" fmla="*/ 322 w 397"/>
              <a:gd name="T39" fmla="*/ 13 h 607"/>
              <a:gd name="T40" fmla="*/ 312 w 397"/>
              <a:gd name="T41" fmla="*/ 4 h 607"/>
              <a:gd name="T42" fmla="*/ 312 w 397"/>
              <a:gd name="T43" fmla="*/ 25 h 607"/>
              <a:gd name="T44" fmla="*/ 312 w 397"/>
              <a:gd name="T45" fmla="*/ 41 h 607"/>
              <a:gd name="T46" fmla="*/ 322 w 397"/>
              <a:gd name="T47" fmla="*/ 63 h 607"/>
              <a:gd name="T48" fmla="*/ 322 w 397"/>
              <a:gd name="T49" fmla="*/ 76 h 607"/>
              <a:gd name="T50" fmla="*/ 325 w 397"/>
              <a:gd name="T51" fmla="*/ 91 h 607"/>
              <a:gd name="T52" fmla="*/ 322 w 397"/>
              <a:gd name="T53" fmla="*/ 113 h 607"/>
              <a:gd name="T54" fmla="*/ 312 w 397"/>
              <a:gd name="T55" fmla="*/ 129 h 607"/>
              <a:gd name="T56" fmla="*/ 284 w 397"/>
              <a:gd name="T57" fmla="*/ 160 h 607"/>
              <a:gd name="T58" fmla="*/ 306 w 397"/>
              <a:gd name="T59" fmla="*/ 191 h 607"/>
              <a:gd name="T60" fmla="*/ 272 w 397"/>
              <a:gd name="T61" fmla="*/ 210 h 607"/>
              <a:gd name="T62" fmla="*/ 272 w 397"/>
              <a:gd name="T63" fmla="*/ 210 h 607"/>
              <a:gd name="T64" fmla="*/ 272 w 397"/>
              <a:gd name="T65" fmla="*/ 213 h 607"/>
              <a:gd name="T66" fmla="*/ 87 w 397"/>
              <a:gd name="T67" fmla="*/ 404 h 607"/>
              <a:gd name="T68" fmla="*/ 90 w 397"/>
              <a:gd name="T69" fmla="*/ 391 h 607"/>
              <a:gd name="T70" fmla="*/ 96 w 397"/>
              <a:gd name="T71" fmla="*/ 398 h 607"/>
              <a:gd name="T72" fmla="*/ 90 w 397"/>
              <a:gd name="T73" fmla="*/ 404 h 607"/>
              <a:gd name="T74" fmla="*/ 81 w 397"/>
              <a:gd name="T75" fmla="*/ 363 h 607"/>
              <a:gd name="T76" fmla="*/ 93 w 397"/>
              <a:gd name="T77" fmla="*/ 341 h 607"/>
              <a:gd name="T78" fmla="*/ 109 w 397"/>
              <a:gd name="T79" fmla="*/ 329 h 607"/>
              <a:gd name="T80" fmla="*/ 125 w 397"/>
              <a:gd name="T81" fmla="*/ 310 h 607"/>
              <a:gd name="T82" fmla="*/ 156 w 397"/>
              <a:gd name="T83" fmla="*/ 301 h 607"/>
              <a:gd name="T84" fmla="*/ 181 w 397"/>
              <a:gd name="T85" fmla="*/ 276 h 607"/>
              <a:gd name="T86" fmla="*/ 215 w 397"/>
              <a:gd name="T87" fmla="*/ 244 h 607"/>
              <a:gd name="T88" fmla="*/ 237 w 397"/>
              <a:gd name="T89" fmla="*/ 219 h 607"/>
              <a:gd name="T90" fmla="*/ 256 w 397"/>
              <a:gd name="T91" fmla="*/ 207 h 607"/>
              <a:gd name="T92" fmla="*/ 259 w 397"/>
              <a:gd name="T93" fmla="*/ 219 h 607"/>
              <a:gd name="T94" fmla="*/ 272 w 397"/>
              <a:gd name="T95" fmla="*/ 216 h 607"/>
              <a:gd name="T96" fmla="*/ 278 w 397"/>
              <a:gd name="T97" fmla="*/ 219 h 607"/>
              <a:gd name="T98" fmla="*/ 262 w 397"/>
              <a:gd name="T99" fmla="*/ 251 h 607"/>
              <a:gd name="T100" fmla="*/ 237 w 397"/>
              <a:gd name="T101" fmla="*/ 282 h 607"/>
              <a:gd name="T102" fmla="*/ 228 w 397"/>
              <a:gd name="T103" fmla="*/ 307 h 607"/>
              <a:gd name="T104" fmla="*/ 222 w 397"/>
              <a:gd name="T105" fmla="*/ 304 h 607"/>
              <a:gd name="T106" fmla="*/ 209 w 397"/>
              <a:gd name="T107" fmla="*/ 301 h 607"/>
              <a:gd name="T108" fmla="*/ 190 w 397"/>
              <a:gd name="T109" fmla="*/ 313 h 607"/>
              <a:gd name="T110" fmla="*/ 165 w 397"/>
              <a:gd name="T111" fmla="*/ 354 h 607"/>
              <a:gd name="T112" fmla="*/ 153 w 397"/>
              <a:gd name="T113" fmla="*/ 370 h 607"/>
              <a:gd name="T114" fmla="*/ 134 w 397"/>
              <a:gd name="T115" fmla="*/ 385 h 607"/>
              <a:gd name="T116" fmla="*/ 109 w 397"/>
              <a:gd name="T117" fmla="*/ 388 h 607"/>
              <a:gd name="T118" fmla="*/ 93 w 397"/>
              <a:gd name="T119" fmla="*/ 373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7" h="607">
                <a:moveTo>
                  <a:pt x="81" y="354"/>
                </a:moveTo>
                <a:lnTo>
                  <a:pt x="84" y="354"/>
                </a:lnTo>
                <a:lnTo>
                  <a:pt x="87" y="354"/>
                </a:lnTo>
                <a:lnTo>
                  <a:pt x="87" y="351"/>
                </a:lnTo>
                <a:lnTo>
                  <a:pt x="84" y="351"/>
                </a:lnTo>
                <a:lnTo>
                  <a:pt x="81" y="351"/>
                </a:lnTo>
                <a:lnTo>
                  <a:pt x="81" y="354"/>
                </a:lnTo>
                <a:lnTo>
                  <a:pt x="81" y="354"/>
                </a:lnTo>
                <a:close/>
                <a:moveTo>
                  <a:pt x="25" y="604"/>
                </a:moveTo>
                <a:lnTo>
                  <a:pt x="28" y="607"/>
                </a:lnTo>
                <a:lnTo>
                  <a:pt x="31" y="607"/>
                </a:lnTo>
                <a:lnTo>
                  <a:pt x="34" y="601"/>
                </a:lnTo>
                <a:lnTo>
                  <a:pt x="34" y="598"/>
                </a:lnTo>
                <a:lnTo>
                  <a:pt x="31" y="604"/>
                </a:lnTo>
                <a:lnTo>
                  <a:pt x="28" y="604"/>
                </a:lnTo>
                <a:lnTo>
                  <a:pt x="25" y="604"/>
                </a:lnTo>
                <a:lnTo>
                  <a:pt x="25" y="604"/>
                </a:lnTo>
                <a:close/>
                <a:moveTo>
                  <a:pt x="0" y="529"/>
                </a:moveTo>
                <a:lnTo>
                  <a:pt x="9" y="520"/>
                </a:lnTo>
                <a:lnTo>
                  <a:pt x="9" y="520"/>
                </a:lnTo>
                <a:lnTo>
                  <a:pt x="9" y="523"/>
                </a:lnTo>
                <a:lnTo>
                  <a:pt x="6" y="526"/>
                </a:lnTo>
                <a:lnTo>
                  <a:pt x="9" y="529"/>
                </a:lnTo>
                <a:lnTo>
                  <a:pt x="9" y="532"/>
                </a:lnTo>
                <a:lnTo>
                  <a:pt x="3" y="529"/>
                </a:lnTo>
                <a:lnTo>
                  <a:pt x="0" y="532"/>
                </a:lnTo>
                <a:lnTo>
                  <a:pt x="0" y="529"/>
                </a:lnTo>
                <a:lnTo>
                  <a:pt x="0" y="529"/>
                </a:lnTo>
                <a:close/>
                <a:moveTo>
                  <a:pt x="334" y="85"/>
                </a:moveTo>
                <a:lnTo>
                  <a:pt x="337" y="85"/>
                </a:lnTo>
                <a:lnTo>
                  <a:pt x="337" y="88"/>
                </a:lnTo>
                <a:lnTo>
                  <a:pt x="337" y="88"/>
                </a:lnTo>
                <a:lnTo>
                  <a:pt x="334" y="85"/>
                </a:lnTo>
                <a:lnTo>
                  <a:pt x="334" y="85"/>
                </a:lnTo>
                <a:close/>
                <a:moveTo>
                  <a:pt x="340" y="69"/>
                </a:moveTo>
                <a:lnTo>
                  <a:pt x="340" y="69"/>
                </a:lnTo>
                <a:lnTo>
                  <a:pt x="340" y="69"/>
                </a:lnTo>
                <a:lnTo>
                  <a:pt x="340" y="69"/>
                </a:lnTo>
                <a:lnTo>
                  <a:pt x="340" y="69"/>
                </a:lnTo>
                <a:close/>
                <a:moveTo>
                  <a:pt x="347" y="72"/>
                </a:moveTo>
                <a:lnTo>
                  <a:pt x="343" y="69"/>
                </a:lnTo>
                <a:lnTo>
                  <a:pt x="347" y="63"/>
                </a:lnTo>
                <a:lnTo>
                  <a:pt x="347" y="66"/>
                </a:lnTo>
                <a:lnTo>
                  <a:pt x="350" y="69"/>
                </a:lnTo>
                <a:lnTo>
                  <a:pt x="347" y="69"/>
                </a:lnTo>
                <a:lnTo>
                  <a:pt x="347" y="69"/>
                </a:lnTo>
                <a:lnTo>
                  <a:pt x="347" y="72"/>
                </a:lnTo>
                <a:lnTo>
                  <a:pt x="347" y="72"/>
                </a:lnTo>
                <a:close/>
                <a:moveTo>
                  <a:pt x="284" y="226"/>
                </a:moveTo>
                <a:lnTo>
                  <a:pt x="287" y="226"/>
                </a:lnTo>
                <a:lnTo>
                  <a:pt x="287" y="223"/>
                </a:lnTo>
                <a:lnTo>
                  <a:pt x="290" y="223"/>
                </a:lnTo>
                <a:lnTo>
                  <a:pt x="290" y="226"/>
                </a:lnTo>
                <a:lnTo>
                  <a:pt x="290" y="229"/>
                </a:lnTo>
                <a:lnTo>
                  <a:pt x="290" y="229"/>
                </a:lnTo>
                <a:lnTo>
                  <a:pt x="293" y="229"/>
                </a:lnTo>
                <a:lnTo>
                  <a:pt x="293" y="229"/>
                </a:lnTo>
                <a:lnTo>
                  <a:pt x="293" y="232"/>
                </a:lnTo>
                <a:lnTo>
                  <a:pt x="293" y="235"/>
                </a:lnTo>
                <a:lnTo>
                  <a:pt x="297" y="235"/>
                </a:lnTo>
                <a:lnTo>
                  <a:pt x="303" y="229"/>
                </a:lnTo>
                <a:lnTo>
                  <a:pt x="309" y="223"/>
                </a:lnTo>
                <a:lnTo>
                  <a:pt x="315" y="216"/>
                </a:lnTo>
                <a:lnTo>
                  <a:pt x="322" y="210"/>
                </a:lnTo>
                <a:lnTo>
                  <a:pt x="328" y="204"/>
                </a:lnTo>
                <a:lnTo>
                  <a:pt x="331" y="201"/>
                </a:lnTo>
                <a:lnTo>
                  <a:pt x="334" y="201"/>
                </a:lnTo>
                <a:lnTo>
                  <a:pt x="337" y="198"/>
                </a:lnTo>
                <a:lnTo>
                  <a:pt x="337" y="194"/>
                </a:lnTo>
                <a:lnTo>
                  <a:pt x="337" y="194"/>
                </a:lnTo>
                <a:lnTo>
                  <a:pt x="340" y="191"/>
                </a:lnTo>
                <a:lnTo>
                  <a:pt x="343" y="185"/>
                </a:lnTo>
                <a:lnTo>
                  <a:pt x="350" y="179"/>
                </a:lnTo>
                <a:lnTo>
                  <a:pt x="350" y="176"/>
                </a:lnTo>
                <a:lnTo>
                  <a:pt x="350" y="176"/>
                </a:lnTo>
                <a:lnTo>
                  <a:pt x="347" y="172"/>
                </a:lnTo>
                <a:lnTo>
                  <a:pt x="343" y="172"/>
                </a:lnTo>
                <a:lnTo>
                  <a:pt x="340" y="172"/>
                </a:lnTo>
                <a:lnTo>
                  <a:pt x="343" y="169"/>
                </a:lnTo>
                <a:lnTo>
                  <a:pt x="347" y="169"/>
                </a:lnTo>
                <a:lnTo>
                  <a:pt x="356" y="160"/>
                </a:lnTo>
                <a:lnTo>
                  <a:pt x="359" y="157"/>
                </a:lnTo>
                <a:lnTo>
                  <a:pt x="365" y="160"/>
                </a:lnTo>
                <a:lnTo>
                  <a:pt x="368" y="160"/>
                </a:lnTo>
                <a:lnTo>
                  <a:pt x="368" y="163"/>
                </a:lnTo>
                <a:lnTo>
                  <a:pt x="368" y="163"/>
                </a:lnTo>
                <a:lnTo>
                  <a:pt x="372" y="160"/>
                </a:lnTo>
                <a:lnTo>
                  <a:pt x="375" y="160"/>
                </a:lnTo>
                <a:lnTo>
                  <a:pt x="368" y="157"/>
                </a:lnTo>
                <a:lnTo>
                  <a:pt x="368" y="154"/>
                </a:lnTo>
                <a:lnTo>
                  <a:pt x="372" y="147"/>
                </a:lnTo>
                <a:lnTo>
                  <a:pt x="375" y="144"/>
                </a:lnTo>
                <a:lnTo>
                  <a:pt x="378" y="144"/>
                </a:lnTo>
                <a:lnTo>
                  <a:pt x="378" y="147"/>
                </a:lnTo>
                <a:lnTo>
                  <a:pt x="381" y="144"/>
                </a:lnTo>
                <a:lnTo>
                  <a:pt x="384" y="141"/>
                </a:lnTo>
                <a:lnTo>
                  <a:pt x="387" y="135"/>
                </a:lnTo>
                <a:lnTo>
                  <a:pt x="387" y="132"/>
                </a:lnTo>
                <a:lnTo>
                  <a:pt x="387" y="129"/>
                </a:lnTo>
                <a:lnTo>
                  <a:pt x="390" y="126"/>
                </a:lnTo>
                <a:lnTo>
                  <a:pt x="393" y="119"/>
                </a:lnTo>
                <a:lnTo>
                  <a:pt x="397" y="119"/>
                </a:lnTo>
                <a:lnTo>
                  <a:pt x="393" y="116"/>
                </a:lnTo>
                <a:lnTo>
                  <a:pt x="390" y="116"/>
                </a:lnTo>
                <a:lnTo>
                  <a:pt x="387" y="113"/>
                </a:lnTo>
                <a:lnTo>
                  <a:pt x="390" y="113"/>
                </a:lnTo>
                <a:lnTo>
                  <a:pt x="390" y="113"/>
                </a:lnTo>
                <a:lnTo>
                  <a:pt x="387" y="110"/>
                </a:lnTo>
                <a:lnTo>
                  <a:pt x="381" y="113"/>
                </a:lnTo>
                <a:lnTo>
                  <a:pt x="375" y="122"/>
                </a:lnTo>
                <a:lnTo>
                  <a:pt x="368" y="122"/>
                </a:lnTo>
                <a:lnTo>
                  <a:pt x="368" y="122"/>
                </a:lnTo>
                <a:lnTo>
                  <a:pt x="362" y="122"/>
                </a:lnTo>
                <a:lnTo>
                  <a:pt x="356" y="113"/>
                </a:lnTo>
                <a:lnTo>
                  <a:pt x="353" y="113"/>
                </a:lnTo>
                <a:lnTo>
                  <a:pt x="350" y="110"/>
                </a:lnTo>
                <a:lnTo>
                  <a:pt x="350" y="107"/>
                </a:lnTo>
                <a:lnTo>
                  <a:pt x="353" y="104"/>
                </a:lnTo>
                <a:lnTo>
                  <a:pt x="353" y="101"/>
                </a:lnTo>
                <a:lnTo>
                  <a:pt x="350" y="94"/>
                </a:lnTo>
                <a:lnTo>
                  <a:pt x="350" y="91"/>
                </a:lnTo>
                <a:lnTo>
                  <a:pt x="347" y="88"/>
                </a:lnTo>
                <a:lnTo>
                  <a:pt x="350" y="85"/>
                </a:lnTo>
                <a:lnTo>
                  <a:pt x="350" y="82"/>
                </a:lnTo>
                <a:lnTo>
                  <a:pt x="347" y="82"/>
                </a:lnTo>
                <a:lnTo>
                  <a:pt x="347" y="79"/>
                </a:lnTo>
                <a:lnTo>
                  <a:pt x="347" y="76"/>
                </a:lnTo>
                <a:lnTo>
                  <a:pt x="343" y="76"/>
                </a:lnTo>
                <a:lnTo>
                  <a:pt x="340" y="76"/>
                </a:lnTo>
                <a:lnTo>
                  <a:pt x="340" y="76"/>
                </a:lnTo>
                <a:lnTo>
                  <a:pt x="343" y="79"/>
                </a:lnTo>
                <a:lnTo>
                  <a:pt x="343" y="82"/>
                </a:lnTo>
                <a:lnTo>
                  <a:pt x="343" y="85"/>
                </a:lnTo>
                <a:lnTo>
                  <a:pt x="340" y="88"/>
                </a:lnTo>
                <a:lnTo>
                  <a:pt x="340" y="88"/>
                </a:lnTo>
                <a:lnTo>
                  <a:pt x="343" y="94"/>
                </a:lnTo>
                <a:lnTo>
                  <a:pt x="343" y="94"/>
                </a:lnTo>
                <a:lnTo>
                  <a:pt x="340" y="97"/>
                </a:lnTo>
                <a:lnTo>
                  <a:pt x="337" y="94"/>
                </a:lnTo>
                <a:lnTo>
                  <a:pt x="337" y="91"/>
                </a:lnTo>
                <a:lnTo>
                  <a:pt x="334" y="91"/>
                </a:lnTo>
                <a:lnTo>
                  <a:pt x="334" y="88"/>
                </a:lnTo>
                <a:lnTo>
                  <a:pt x="331" y="85"/>
                </a:lnTo>
                <a:lnTo>
                  <a:pt x="328" y="88"/>
                </a:lnTo>
                <a:lnTo>
                  <a:pt x="328" y="85"/>
                </a:lnTo>
                <a:lnTo>
                  <a:pt x="331" y="82"/>
                </a:lnTo>
                <a:lnTo>
                  <a:pt x="331" y="82"/>
                </a:lnTo>
                <a:lnTo>
                  <a:pt x="328" y="79"/>
                </a:lnTo>
                <a:lnTo>
                  <a:pt x="331" y="72"/>
                </a:lnTo>
                <a:lnTo>
                  <a:pt x="334" y="72"/>
                </a:lnTo>
                <a:lnTo>
                  <a:pt x="334" y="69"/>
                </a:lnTo>
                <a:lnTo>
                  <a:pt x="334" y="66"/>
                </a:lnTo>
                <a:lnTo>
                  <a:pt x="334" y="63"/>
                </a:lnTo>
                <a:lnTo>
                  <a:pt x="334" y="60"/>
                </a:lnTo>
                <a:lnTo>
                  <a:pt x="334" y="57"/>
                </a:lnTo>
                <a:lnTo>
                  <a:pt x="328" y="54"/>
                </a:lnTo>
                <a:lnTo>
                  <a:pt x="331" y="50"/>
                </a:lnTo>
                <a:lnTo>
                  <a:pt x="331" y="54"/>
                </a:lnTo>
                <a:lnTo>
                  <a:pt x="334" y="50"/>
                </a:lnTo>
                <a:lnTo>
                  <a:pt x="337" y="47"/>
                </a:lnTo>
                <a:lnTo>
                  <a:pt x="337" y="47"/>
                </a:lnTo>
                <a:lnTo>
                  <a:pt x="337" y="41"/>
                </a:lnTo>
                <a:lnTo>
                  <a:pt x="337" y="35"/>
                </a:lnTo>
                <a:lnTo>
                  <a:pt x="337" y="32"/>
                </a:lnTo>
                <a:lnTo>
                  <a:pt x="334" y="32"/>
                </a:lnTo>
                <a:lnTo>
                  <a:pt x="331" y="35"/>
                </a:lnTo>
                <a:lnTo>
                  <a:pt x="328" y="32"/>
                </a:lnTo>
                <a:lnTo>
                  <a:pt x="328" y="29"/>
                </a:lnTo>
                <a:lnTo>
                  <a:pt x="328" y="29"/>
                </a:lnTo>
                <a:lnTo>
                  <a:pt x="325" y="29"/>
                </a:lnTo>
                <a:lnTo>
                  <a:pt x="328" y="25"/>
                </a:lnTo>
                <a:lnTo>
                  <a:pt x="331" y="22"/>
                </a:lnTo>
                <a:lnTo>
                  <a:pt x="328" y="22"/>
                </a:lnTo>
                <a:lnTo>
                  <a:pt x="325" y="22"/>
                </a:lnTo>
                <a:lnTo>
                  <a:pt x="322" y="19"/>
                </a:lnTo>
                <a:lnTo>
                  <a:pt x="322" y="19"/>
                </a:lnTo>
                <a:lnTo>
                  <a:pt x="318" y="16"/>
                </a:lnTo>
                <a:lnTo>
                  <a:pt x="322" y="16"/>
                </a:lnTo>
                <a:lnTo>
                  <a:pt x="322" y="13"/>
                </a:lnTo>
                <a:lnTo>
                  <a:pt x="322" y="13"/>
                </a:lnTo>
                <a:lnTo>
                  <a:pt x="318" y="16"/>
                </a:lnTo>
                <a:lnTo>
                  <a:pt x="318" y="16"/>
                </a:lnTo>
                <a:lnTo>
                  <a:pt x="318" y="19"/>
                </a:lnTo>
                <a:lnTo>
                  <a:pt x="315" y="19"/>
                </a:lnTo>
                <a:lnTo>
                  <a:pt x="315" y="16"/>
                </a:lnTo>
                <a:lnTo>
                  <a:pt x="315" y="13"/>
                </a:lnTo>
                <a:lnTo>
                  <a:pt x="312" y="7"/>
                </a:lnTo>
                <a:lnTo>
                  <a:pt x="312" y="4"/>
                </a:lnTo>
                <a:lnTo>
                  <a:pt x="312" y="4"/>
                </a:lnTo>
                <a:lnTo>
                  <a:pt x="315" y="4"/>
                </a:lnTo>
                <a:lnTo>
                  <a:pt x="312" y="0"/>
                </a:lnTo>
                <a:lnTo>
                  <a:pt x="312" y="4"/>
                </a:lnTo>
                <a:lnTo>
                  <a:pt x="306" y="0"/>
                </a:lnTo>
                <a:lnTo>
                  <a:pt x="306" y="4"/>
                </a:lnTo>
                <a:lnTo>
                  <a:pt x="309" y="7"/>
                </a:lnTo>
                <a:lnTo>
                  <a:pt x="312" y="16"/>
                </a:lnTo>
                <a:lnTo>
                  <a:pt x="312" y="19"/>
                </a:lnTo>
                <a:lnTo>
                  <a:pt x="312" y="25"/>
                </a:lnTo>
                <a:lnTo>
                  <a:pt x="309" y="29"/>
                </a:lnTo>
                <a:lnTo>
                  <a:pt x="309" y="29"/>
                </a:lnTo>
                <a:lnTo>
                  <a:pt x="309" y="29"/>
                </a:lnTo>
                <a:lnTo>
                  <a:pt x="309" y="38"/>
                </a:lnTo>
                <a:lnTo>
                  <a:pt x="312" y="38"/>
                </a:lnTo>
                <a:lnTo>
                  <a:pt x="315" y="35"/>
                </a:lnTo>
                <a:lnTo>
                  <a:pt x="318" y="35"/>
                </a:lnTo>
                <a:lnTo>
                  <a:pt x="315" y="38"/>
                </a:lnTo>
                <a:lnTo>
                  <a:pt x="312" y="41"/>
                </a:lnTo>
                <a:lnTo>
                  <a:pt x="315" y="44"/>
                </a:lnTo>
                <a:lnTo>
                  <a:pt x="315" y="50"/>
                </a:lnTo>
                <a:lnTo>
                  <a:pt x="318" y="60"/>
                </a:lnTo>
                <a:lnTo>
                  <a:pt x="318" y="66"/>
                </a:lnTo>
                <a:lnTo>
                  <a:pt x="318" y="69"/>
                </a:lnTo>
                <a:lnTo>
                  <a:pt x="318" y="69"/>
                </a:lnTo>
                <a:lnTo>
                  <a:pt x="322" y="66"/>
                </a:lnTo>
                <a:lnTo>
                  <a:pt x="318" y="63"/>
                </a:lnTo>
                <a:lnTo>
                  <a:pt x="322" y="63"/>
                </a:lnTo>
                <a:lnTo>
                  <a:pt x="322" y="66"/>
                </a:lnTo>
                <a:lnTo>
                  <a:pt x="322" y="69"/>
                </a:lnTo>
                <a:lnTo>
                  <a:pt x="325" y="66"/>
                </a:lnTo>
                <a:lnTo>
                  <a:pt x="325" y="66"/>
                </a:lnTo>
                <a:lnTo>
                  <a:pt x="325" y="66"/>
                </a:lnTo>
                <a:lnTo>
                  <a:pt x="325" y="63"/>
                </a:lnTo>
                <a:lnTo>
                  <a:pt x="325" y="66"/>
                </a:lnTo>
                <a:lnTo>
                  <a:pt x="325" y="72"/>
                </a:lnTo>
                <a:lnTo>
                  <a:pt x="322" y="76"/>
                </a:lnTo>
                <a:lnTo>
                  <a:pt x="322" y="76"/>
                </a:lnTo>
                <a:lnTo>
                  <a:pt x="322" y="76"/>
                </a:lnTo>
                <a:lnTo>
                  <a:pt x="318" y="76"/>
                </a:lnTo>
                <a:lnTo>
                  <a:pt x="318" y="76"/>
                </a:lnTo>
                <a:lnTo>
                  <a:pt x="318" y="79"/>
                </a:lnTo>
                <a:lnTo>
                  <a:pt x="322" y="88"/>
                </a:lnTo>
                <a:lnTo>
                  <a:pt x="322" y="88"/>
                </a:lnTo>
                <a:lnTo>
                  <a:pt x="325" y="88"/>
                </a:lnTo>
                <a:lnTo>
                  <a:pt x="325" y="91"/>
                </a:lnTo>
                <a:lnTo>
                  <a:pt x="325" y="91"/>
                </a:lnTo>
                <a:lnTo>
                  <a:pt x="328" y="94"/>
                </a:lnTo>
                <a:lnTo>
                  <a:pt x="325" y="97"/>
                </a:lnTo>
                <a:lnTo>
                  <a:pt x="325" y="97"/>
                </a:lnTo>
                <a:lnTo>
                  <a:pt x="325" y="97"/>
                </a:lnTo>
                <a:lnTo>
                  <a:pt x="325" y="101"/>
                </a:lnTo>
                <a:lnTo>
                  <a:pt x="322" y="107"/>
                </a:lnTo>
                <a:lnTo>
                  <a:pt x="322" y="113"/>
                </a:lnTo>
                <a:lnTo>
                  <a:pt x="322" y="113"/>
                </a:lnTo>
                <a:lnTo>
                  <a:pt x="322" y="116"/>
                </a:lnTo>
                <a:lnTo>
                  <a:pt x="322" y="116"/>
                </a:lnTo>
                <a:lnTo>
                  <a:pt x="318" y="116"/>
                </a:lnTo>
                <a:lnTo>
                  <a:pt x="318" y="119"/>
                </a:lnTo>
                <a:lnTo>
                  <a:pt x="318" y="122"/>
                </a:lnTo>
                <a:lnTo>
                  <a:pt x="318" y="122"/>
                </a:lnTo>
                <a:lnTo>
                  <a:pt x="318" y="126"/>
                </a:lnTo>
                <a:lnTo>
                  <a:pt x="315" y="126"/>
                </a:lnTo>
                <a:lnTo>
                  <a:pt x="312" y="129"/>
                </a:lnTo>
                <a:lnTo>
                  <a:pt x="309" y="144"/>
                </a:lnTo>
                <a:lnTo>
                  <a:pt x="309" y="147"/>
                </a:lnTo>
                <a:lnTo>
                  <a:pt x="306" y="147"/>
                </a:lnTo>
                <a:lnTo>
                  <a:pt x="306" y="147"/>
                </a:lnTo>
                <a:lnTo>
                  <a:pt x="300" y="147"/>
                </a:lnTo>
                <a:lnTo>
                  <a:pt x="297" y="147"/>
                </a:lnTo>
                <a:lnTo>
                  <a:pt x="290" y="151"/>
                </a:lnTo>
                <a:lnTo>
                  <a:pt x="287" y="157"/>
                </a:lnTo>
                <a:lnTo>
                  <a:pt x="284" y="160"/>
                </a:lnTo>
                <a:lnTo>
                  <a:pt x="287" y="166"/>
                </a:lnTo>
                <a:lnTo>
                  <a:pt x="290" y="169"/>
                </a:lnTo>
                <a:lnTo>
                  <a:pt x="297" y="172"/>
                </a:lnTo>
                <a:lnTo>
                  <a:pt x="297" y="179"/>
                </a:lnTo>
                <a:lnTo>
                  <a:pt x="303" y="179"/>
                </a:lnTo>
                <a:lnTo>
                  <a:pt x="306" y="182"/>
                </a:lnTo>
                <a:lnTo>
                  <a:pt x="306" y="191"/>
                </a:lnTo>
                <a:lnTo>
                  <a:pt x="306" y="191"/>
                </a:lnTo>
                <a:lnTo>
                  <a:pt x="306" y="191"/>
                </a:lnTo>
                <a:lnTo>
                  <a:pt x="306" y="198"/>
                </a:lnTo>
                <a:lnTo>
                  <a:pt x="303" y="201"/>
                </a:lnTo>
                <a:lnTo>
                  <a:pt x="297" y="210"/>
                </a:lnTo>
                <a:lnTo>
                  <a:pt x="290" y="216"/>
                </a:lnTo>
                <a:lnTo>
                  <a:pt x="284" y="219"/>
                </a:lnTo>
                <a:lnTo>
                  <a:pt x="284" y="223"/>
                </a:lnTo>
                <a:lnTo>
                  <a:pt x="284" y="226"/>
                </a:lnTo>
                <a:lnTo>
                  <a:pt x="284" y="226"/>
                </a:lnTo>
                <a:close/>
                <a:moveTo>
                  <a:pt x="272" y="210"/>
                </a:moveTo>
                <a:lnTo>
                  <a:pt x="272" y="207"/>
                </a:lnTo>
                <a:lnTo>
                  <a:pt x="272" y="204"/>
                </a:lnTo>
                <a:lnTo>
                  <a:pt x="275" y="204"/>
                </a:lnTo>
                <a:lnTo>
                  <a:pt x="275" y="207"/>
                </a:lnTo>
                <a:lnTo>
                  <a:pt x="272" y="207"/>
                </a:lnTo>
                <a:lnTo>
                  <a:pt x="272" y="210"/>
                </a:lnTo>
                <a:lnTo>
                  <a:pt x="272" y="210"/>
                </a:lnTo>
                <a:lnTo>
                  <a:pt x="272" y="210"/>
                </a:lnTo>
                <a:lnTo>
                  <a:pt x="272" y="210"/>
                </a:lnTo>
                <a:close/>
                <a:moveTo>
                  <a:pt x="268" y="216"/>
                </a:moveTo>
                <a:lnTo>
                  <a:pt x="272" y="213"/>
                </a:lnTo>
                <a:lnTo>
                  <a:pt x="272" y="213"/>
                </a:lnTo>
                <a:lnTo>
                  <a:pt x="272" y="216"/>
                </a:lnTo>
                <a:lnTo>
                  <a:pt x="268" y="216"/>
                </a:lnTo>
                <a:lnTo>
                  <a:pt x="268" y="216"/>
                </a:lnTo>
                <a:close/>
                <a:moveTo>
                  <a:pt x="265" y="213"/>
                </a:moveTo>
                <a:lnTo>
                  <a:pt x="268" y="213"/>
                </a:lnTo>
                <a:lnTo>
                  <a:pt x="272" y="213"/>
                </a:lnTo>
                <a:lnTo>
                  <a:pt x="272" y="213"/>
                </a:lnTo>
                <a:lnTo>
                  <a:pt x="265" y="213"/>
                </a:lnTo>
                <a:lnTo>
                  <a:pt x="265" y="213"/>
                </a:lnTo>
                <a:close/>
                <a:moveTo>
                  <a:pt x="106" y="398"/>
                </a:moveTo>
                <a:lnTo>
                  <a:pt x="109" y="395"/>
                </a:lnTo>
                <a:lnTo>
                  <a:pt x="106" y="398"/>
                </a:lnTo>
                <a:lnTo>
                  <a:pt x="106" y="398"/>
                </a:lnTo>
                <a:lnTo>
                  <a:pt x="106" y="398"/>
                </a:lnTo>
                <a:close/>
                <a:moveTo>
                  <a:pt x="87" y="404"/>
                </a:moveTo>
                <a:lnTo>
                  <a:pt x="84" y="407"/>
                </a:lnTo>
                <a:lnTo>
                  <a:pt x="81" y="407"/>
                </a:lnTo>
                <a:lnTo>
                  <a:pt x="81" y="407"/>
                </a:lnTo>
                <a:lnTo>
                  <a:pt x="84" y="401"/>
                </a:lnTo>
                <a:lnTo>
                  <a:pt x="87" y="401"/>
                </a:lnTo>
                <a:lnTo>
                  <a:pt x="87" y="398"/>
                </a:lnTo>
                <a:lnTo>
                  <a:pt x="90" y="398"/>
                </a:lnTo>
                <a:lnTo>
                  <a:pt x="90" y="395"/>
                </a:lnTo>
                <a:lnTo>
                  <a:pt x="90" y="391"/>
                </a:lnTo>
                <a:lnTo>
                  <a:pt x="90" y="388"/>
                </a:lnTo>
                <a:lnTo>
                  <a:pt x="93" y="388"/>
                </a:lnTo>
                <a:lnTo>
                  <a:pt x="96" y="391"/>
                </a:lnTo>
                <a:lnTo>
                  <a:pt x="100" y="395"/>
                </a:lnTo>
                <a:lnTo>
                  <a:pt x="100" y="395"/>
                </a:lnTo>
                <a:lnTo>
                  <a:pt x="100" y="398"/>
                </a:lnTo>
                <a:lnTo>
                  <a:pt x="96" y="398"/>
                </a:lnTo>
                <a:lnTo>
                  <a:pt x="96" y="395"/>
                </a:lnTo>
                <a:lnTo>
                  <a:pt x="96" y="398"/>
                </a:lnTo>
                <a:lnTo>
                  <a:pt x="96" y="398"/>
                </a:lnTo>
                <a:lnTo>
                  <a:pt x="96" y="398"/>
                </a:lnTo>
                <a:lnTo>
                  <a:pt x="100" y="401"/>
                </a:lnTo>
                <a:lnTo>
                  <a:pt x="100" y="401"/>
                </a:lnTo>
                <a:lnTo>
                  <a:pt x="100" y="404"/>
                </a:lnTo>
                <a:lnTo>
                  <a:pt x="96" y="401"/>
                </a:lnTo>
                <a:lnTo>
                  <a:pt x="93" y="404"/>
                </a:lnTo>
                <a:lnTo>
                  <a:pt x="90" y="404"/>
                </a:lnTo>
                <a:lnTo>
                  <a:pt x="90" y="404"/>
                </a:lnTo>
                <a:lnTo>
                  <a:pt x="87" y="404"/>
                </a:lnTo>
                <a:lnTo>
                  <a:pt x="87" y="404"/>
                </a:lnTo>
                <a:lnTo>
                  <a:pt x="87" y="404"/>
                </a:lnTo>
                <a:close/>
                <a:moveTo>
                  <a:pt x="84" y="370"/>
                </a:moveTo>
                <a:lnTo>
                  <a:pt x="81" y="370"/>
                </a:lnTo>
                <a:lnTo>
                  <a:pt x="81" y="363"/>
                </a:lnTo>
                <a:lnTo>
                  <a:pt x="84" y="363"/>
                </a:lnTo>
                <a:lnTo>
                  <a:pt x="81" y="363"/>
                </a:lnTo>
                <a:lnTo>
                  <a:pt x="81" y="363"/>
                </a:lnTo>
                <a:lnTo>
                  <a:pt x="84" y="357"/>
                </a:lnTo>
                <a:lnTo>
                  <a:pt x="87" y="357"/>
                </a:lnTo>
                <a:lnTo>
                  <a:pt x="90" y="357"/>
                </a:lnTo>
                <a:lnTo>
                  <a:pt x="93" y="357"/>
                </a:lnTo>
                <a:lnTo>
                  <a:pt x="90" y="354"/>
                </a:lnTo>
                <a:lnTo>
                  <a:pt x="87" y="351"/>
                </a:lnTo>
                <a:lnTo>
                  <a:pt x="87" y="348"/>
                </a:lnTo>
                <a:lnTo>
                  <a:pt x="90" y="341"/>
                </a:lnTo>
                <a:lnTo>
                  <a:pt x="93" y="341"/>
                </a:lnTo>
                <a:lnTo>
                  <a:pt x="93" y="338"/>
                </a:lnTo>
                <a:lnTo>
                  <a:pt x="96" y="341"/>
                </a:lnTo>
                <a:lnTo>
                  <a:pt x="96" y="345"/>
                </a:lnTo>
                <a:lnTo>
                  <a:pt x="100" y="341"/>
                </a:lnTo>
                <a:lnTo>
                  <a:pt x="100" y="335"/>
                </a:lnTo>
                <a:lnTo>
                  <a:pt x="100" y="332"/>
                </a:lnTo>
                <a:lnTo>
                  <a:pt x="103" y="332"/>
                </a:lnTo>
                <a:lnTo>
                  <a:pt x="109" y="326"/>
                </a:lnTo>
                <a:lnTo>
                  <a:pt x="109" y="329"/>
                </a:lnTo>
                <a:lnTo>
                  <a:pt x="112" y="326"/>
                </a:lnTo>
                <a:lnTo>
                  <a:pt x="112" y="320"/>
                </a:lnTo>
                <a:lnTo>
                  <a:pt x="115" y="320"/>
                </a:lnTo>
                <a:lnTo>
                  <a:pt x="115" y="316"/>
                </a:lnTo>
                <a:lnTo>
                  <a:pt x="118" y="320"/>
                </a:lnTo>
                <a:lnTo>
                  <a:pt x="118" y="320"/>
                </a:lnTo>
                <a:lnTo>
                  <a:pt x="118" y="316"/>
                </a:lnTo>
                <a:lnTo>
                  <a:pt x="125" y="313"/>
                </a:lnTo>
                <a:lnTo>
                  <a:pt x="125" y="310"/>
                </a:lnTo>
                <a:lnTo>
                  <a:pt x="131" y="307"/>
                </a:lnTo>
                <a:lnTo>
                  <a:pt x="134" y="304"/>
                </a:lnTo>
                <a:lnTo>
                  <a:pt x="140" y="298"/>
                </a:lnTo>
                <a:lnTo>
                  <a:pt x="143" y="298"/>
                </a:lnTo>
                <a:lnTo>
                  <a:pt x="143" y="301"/>
                </a:lnTo>
                <a:lnTo>
                  <a:pt x="147" y="301"/>
                </a:lnTo>
                <a:lnTo>
                  <a:pt x="150" y="298"/>
                </a:lnTo>
                <a:lnTo>
                  <a:pt x="153" y="298"/>
                </a:lnTo>
                <a:lnTo>
                  <a:pt x="156" y="301"/>
                </a:lnTo>
                <a:lnTo>
                  <a:pt x="156" y="298"/>
                </a:lnTo>
                <a:lnTo>
                  <a:pt x="153" y="294"/>
                </a:lnTo>
                <a:lnTo>
                  <a:pt x="156" y="291"/>
                </a:lnTo>
                <a:lnTo>
                  <a:pt x="162" y="288"/>
                </a:lnTo>
                <a:lnTo>
                  <a:pt x="165" y="288"/>
                </a:lnTo>
                <a:lnTo>
                  <a:pt x="172" y="282"/>
                </a:lnTo>
                <a:lnTo>
                  <a:pt x="178" y="279"/>
                </a:lnTo>
                <a:lnTo>
                  <a:pt x="181" y="279"/>
                </a:lnTo>
                <a:lnTo>
                  <a:pt x="181" y="276"/>
                </a:lnTo>
                <a:lnTo>
                  <a:pt x="187" y="273"/>
                </a:lnTo>
                <a:lnTo>
                  <a:pt x="190" y="273"/>
                </a:lnTo>
                <a:lnTo>
                  <a:pt x="200" y="266"/>
                </a:lnTo>
                <a:lnTo>
                  <a:pt x="206" y="257"/>
                </a:lnTo>
                <a:lnTo>
                  <a:pt x="206" y="254"/>
                </a:lnTo>
                <a:lnTo>
                  <a:pt x="209" y="254"/>
                </a:lnTo>
                <a:lnTo>
                  <a:pt x="209" y="248"/>
                </a:lnTo>
                <a:lnTo>
                  <a:pt x="212" y="244"/>
                </a:lnTo>
                <a:lnTo>
                  <a:pt x="215" y="244"/>
                </a:lnTo>
                <a:lnTo>
                  <a:pt x="215" y="241"/>
                </a:lnTo>
                <a:lnTo>
                  <a:pt x="215" y="235"/>
                </a:lnTo>
                <a:lnTo>
                  <a:pt x="218" y="235"/>
                </a:lnTo>
                <a:lnTo>
                  <a:pt x="222" y="235"/>
                </a:lnTo>
                <a:lnTo>
                  <a:pt x="225" y="232"/>
                </a:lnTo>
                <a:lnTo>
                  <a:pt x="228" y="229"/>
                </a:lnTo>
                <a:lnTo>
                  <a:pt x="231" y="226"/>
                </a:lnTo>
                <a:lnTo>
                  <a:pt x="234" y="223"/>
                </a:lnTo>
                <a:lnTo>
                  <a:pt x="237" y="219"/>
                </a:lnTo>
                <a:lnTo>
                  <a:pt x="240" y="210"/>
                </a:lnTo>
                <a:lnTo>
                  <a:pt x="240" y="207"/>
                </a:lnTo>
                <a:lnTo>
                  <a:pt x="243" y="204"/>
                </a:lnTo>
                <a:lnTo>
                  <a:pt x="247" y="201"/>
                </a:lnTo>
                <a:lnTo>
                  <a:pt x="253" y="198"/>
                </a:lnTo>
                <a:lnTo>
                  <a:pt x="256" y="198"/>
                </a:lnTo>
                <a:lnTo>
                  <a:pt x="253" y="201"/>
                </a:lnTo>
                <a:lnTo>
                  <a:pt x="253" y="204"/>
                </a:lnTo>
                <a:lnTo>
                  <a:pt x="256" y="207"/>
                </a:lnTo>
                <a:lnTo>
                  <a:pt x="256" y="207"/>
                </a:lnTo>
                <a:lnTo>
                  <a:pt x="259" y="207"/>
                </a:lnTo>
                <a:lnTo>
                  <a:pt x="259" y="207"/>
                </a:lnTo>
                <a:lnTo>
                  <a:pt x="259" y="207"/>
                </a:lnTo>
                <a:lnTo>
                  <a:pt x="259" y="210"/>
                </a:lnTo>
                <a:lnTo>
                  <a:pt x="259" y="210"/>
                </a:lnTo>
                <a:lnTo>
                  <a:pt x="256" y="213"/>
                </a:lnTo>
                <a:lnTo>
                  <a:pt x="256" y="213"/>
                </a:lnTo>
                <a:lnTo>
                  <a:pt x="259" y="219"/>
                </a:lnTo>
                <a:lnTo>
                  <a:pt x="259" y="223"/>
                </a:lnTo>
                <a:lnTo>
                  <a:pt x="262" y="216"/>
                </a:lnTo>
                <a:lnTo>
                  <a:pt x="265" y="216"/>
                </a:lnTo>
                <a:lnTo>
                  <a:pt x="268" y="216"/>
                </a:lnTo>
                <a:lnTo>
                  <a:pt x="268" y="216"/>
                </a:lnTo>
                <a:lnTo>
                  <a:pt x="268" y="219"/>
                </a:lnTo>
                <a:lnTo>
                  <a:pt x="272" y="219"/>
                </a:lnTo>
                <a:lnTo>
                  <a:pt x="275" y="219"/>
                </a:lnTo>
                <a:lnTo>
                  <a:pt x="272" y="216"/>
                </a:lnTo>
                <a:lnTo>
                  <a:pt x="272" y="216"/>
                </a:lnTo>
                <a:lnTo>
                  <a:pt x="275" y="213"/>
                </a:lnTo>
                <a:lnTo>
                  <a:pt x="278" y="213"/>
                </a:lnTo>
                <a:lnTo>
                  <a:pt x="278" y="216"/>
                </a:lnTo>
                <a:lnTo>
                  <a:pt x="278" y="216"/>
                </a:lnTo>
                <a:lnTo>
                  <a:pt x="275" y="219"/>
                </a:lnTo>
                <a:lnTo>
                  <a:pt x="272" y="223"/>
                </a:lnTo>
                <a:lnTo>
                  <a:pt x="275" y="223"/>
                </a:lnTo>
                <a:lnTo>
                  <a:pt x="278" y="219"/>
                </a:lnTo>
                <a:lnTo>
                  <a:pt x="275" y="226"/>
                </a:lnTo>
                <a:lnTo>
                  <a:pt x="272" y="226"/>
                </a:lnTo>
                <a:lnTo>
                  <a:pt x="272" y="229"/>
                </a:lnTo>
                <a:lnTo>
                  <a:pt x="272" y="232"/>
                </a:lnTo>
                <a:lnTo>
                  <a:pt x="275" y="235"/>
                </a:lnTo>
                <a:lnTo>
                  <a:pt x="275" y="238"/>
                </a:lnTo>
                <a:lnTo>
                  <a:pt x="275" y="241"/>
                </a:lnTo>
                <a:lnTo>
                  <a:pt x="272" y="241"/>
                </a:lnTo>
                <a:lnTo>
                  <a:pt x="262" y="251"/>
                </a:lnTo>
                <a:lnTo>
                  <a:pt x="262" y="254"/>
                </a:lnTo>
                <a:lnTo>
                  <a:pt x="253" y="260"/>
                </a:lnTo>
                <a:lnTo>
                  <a:pt x="256" y="263"/>
                </a:lnTo>
                <a:lnTo>
                  <a:pt x="253" y="263"/>
                </a:lnTo>
                <a:lnTo>
                  <a:pt x="247" y="266"/>
                </a:lnTo>
                <a:lnTo>
                  <a:pt x="247" y="269"/>
                </a:lnTo>
                <a:lnTo>
                  <a:pt x="243" y="276"/>
                </a:lnTo>
                <a:lnTo>
                  <a:pt x="240" y="276"/>
                </a:lnTo>
                <a:lnTo>
                  <a:pt x="237" y="282"/>
                </a:lnTo>
                <a:lnTo>
                  <a:pt x="231" y="282"/>
                </a:lnTo>
                <a:lnTo>
                  <a:pt x="228" y="285"/>
                </a:lnTo>
                <a:lnTo>
                  <a:pt x="228" y="291"/>
                </a:lnTo>
                <a:lnTo>
                  <a:pt x="228" y="294"/>
                </a:lnTo>
                <a:lnTo>
                  <a:pt x="225" y="294"/>
                </a:lnTo>
                <a:lnTo>
                  <a:pt x="228" y="298"/>
                </a:lnTo>
                <a:lnTo>
                  <a:pt x="231" y="301"/>
                </a:lnTo>
                <a:lnTo>
                  <a:pt x="231" y="304"/>
                </a:lnTo>
                <a:lnTo>
                  <a:pt x="228" y="307"/>
                </a:lnTo>
                <a:lnTo>
                  <a:pt x="228" y="304"/>
                </a:lnTo>
                <a:lnTo>
                  <a:pt x="228" y="301"/>
                </a:lnTo>
                <a:lnTo>
                  <a:pt x="225" y="301"/>
                </a:lnTo>
                <a:lnTo>
                  <a:pt x="225" y="301"/>
                </a:lnTo>
                <a:lnTo>
                  <a:pt x="225" y="304"/>
                </a:lnTo>
                <a:lnTo>
                  <a:pt x="225" y="307"/>
                </a:lnTo>
                <a:lnTo>
                  <a:pt x="222" y="304"/>
                </a:lnTo>
                <a:lnTo>
                  <a:pt x="215" y="304"/>
                </a:lnTo>
                <a:lnTo>
                  <a:pt x="222" y="304"/>
                </a:lnTo>
                <a:lnTo>
                  <a:pt x="222" y="301"/>
                </a:lnTo>
                <a:lnTo>
                  <a:pt x="218" y="301"/>
                </a:lnTo>
                <a:lnTo>
                  <a:pt x="215" y="304"/>
                </a:lnTo>
                <a:lnTo>
                  <a:pt x="215" y="304"/>
                </a:lnTo>
                <a:lnTo>
                  <a:pt x="212" y="304"/>
                </a:lnTo>
                <a:lnTo>
                  <a:pt x="212" y="304"/>
                </a:lnTo>
                <a:lnTo>
                  <a:pt x="209" y="301"/>
                </a:lnTo>
                <a:lnTo>
                  <a:pt x="206" y="301"/>
                </a:lnTo>
                <a:lnTo>
                  <a:pt x="209" y="301"/>
                </a:lnTo>
                <a:lnTo>
                  <a:pt x="209" y="304"/>
                </a:lnTo>
                <a:lnTo>
                  <a:pt x="206" y="307"/>
                </a:lnTo>
                <a:lnTo>
                  <a:pt x="206" y="310"/>
                </a:lnTo>
                <a:lnTo>
                  <a:pt x="203" y="310"/>
                </a:lnTo>
                <a:lnTo>
                  <a:pt x="200" y="313"/>
                </a:lnTo>
                <a:lnTo>
                  <a:pt x="197" y="313"/>
                </a:lnTo>
                <a:lnTo>
                  <a:pt x="197" y="310"/>
                </a:lnTo>
                <a:lnTo>
                  <a:pt x="193" y="313"/>
                </a:lnTo>
                <a:lnTo>
                  <a:pt x="190" y="313"/>
                </a:lnTo>
                <a:lnTo>
                  <a:pt x="187" y="320"/>
                </a:lnTo>
                <a:lnTo>
                  <a:pt x="187" y="323"/>
                </a:lnTo>
                <a:lnTo>
                  <a:pt x="187" y="326"/>
                </a:lnTo>
                <a:lnTo>
                  <a:pt x="181" y="332"/>
                </a:lnTo>
                <a:lnTo>
                  <a:pt x="181" y="335"/>
                </a:lnTo>
                <a:lnTo>
                  <a:pt x="178" y="338"/>
                </a:lnTo>
                <a:lnTo>
                  <a:pt x="172" y="345"/>
                </a:lnTo>
                <a:lnTo>
                  <a:pt x="168" y="348"/>
                </a:lnTo>
                <a:lnTo>
                  <a:pt x="165" y="354"/>
                </a:lnTo>
                <a:lnTo>
                  <a:pt x="162" y="360"/>
                </a:lnTo>
                <a:lnTo>
                  <a:pt x="159" y="363"/>
                </a:lnTo>
                <a:lnTo>
                  <a:pt x="159" y="366"/>
                </a:lnTo>
                <a:lnTo>
                  <a:pt x="159" y="366"/>
                </a:lnTo>
                <a:lnTo>
                  <a:pt x="156" y="366"/>
                </a:lnTo>
                <a:lnTo>
                  <a:pt x="162" y="366"/>
                </a:lnTo>
                <a:lnTo>
                  <a:pt x="162" y="370"/>
                </a:lnTo>
                <a:lnTo>
                  <a:pt x="159" y="370"/>
                </a:lnTo>
                <a:lnTo>
                  <a:pt x="153" y="370"/>
                </a:lnTo>
                <a:lnTo>
                  <a:pt x="150" y="373"/>
                </a:lnTo>
                <a:lnTo>
                  <a:pt x="147" y="376"/>
                </a:lnTo>
                <a:lnTo>
                  <a:pt x="143" y="379"/>
                </a:lnTo>
                <a:lnTo>
                  <a:pt x="140" y="382"/>
                </a:lnTo>
                <a:lnTo>
                  <a:pt x="140" y="379"/>
                </a:lnTo>
                <a:lnTo>
                  <a:pt x="137" y="376"/>
                </a:lnTo>
                <a:lnTo>
                  <a:pt x="140" y="379"/>
                </a:lnTo>
                <a:lnTo>
                  <a:pt x="140" y="382"/>
                </a:lnTo>
                <a:lnTo>
                  <a:pt x="134" y="385"/>
                </a:lnTo>
                <a:lnTo>
                  <a:pt x="131" y="388"/>
                </a:lnTo>
                <a:lnTo>
                  <a:pt x="122" y="391"/>
                </a:lnTo>
                <a:lnTo>
                  <a:pt x="118" y="391"/>
                </a:lnTo>
                <a:lnTo>
                  <a:pt x="115" y="391"/>
                </a:lnTo>
                <a:lnTo>
                  <a:pt x="115" y="388"/>
                </a:lnTo>
                <a:lnTo>
                  <a:pt x="109" y="391"/>
                </a:lnTo>
                <a:lnTo>
                  <a:pt x="109" y="391"/>
                </a:lnTo>
                <a:lnTo>
                  <a:pt x="112" y="388"/>
                </a:lnTo>
                <a:lnTo>
                  <a:pt x="109" y="388"/>
                </a:lnTo>
                <a:lnTo>
                  <a:pt x="106" y="385"/>
                </a:lnTo>
                <a:lnTo>
                  <a:pt x="106" y="379"/>
                </a:lnTo>
                <a:lnTo>
                  <a:pt x="103" y="379"/>
                </a:lnTo>
                <a:lnTo>
                  <a:pt x="100" y="379"/>
                </a:lnTo>
                <a:lnTo>
                  <a:pt x="100" y="376"/>
                </a:lnTo>
                <a:lnTo>
                  <a:pt x="100" y="376"/>
                </a:lnTo>
                <a:lnTo>
                  <a:pt x="96" y="373"/>
                </a:lnTo>
                <a:lnTo>
                  <a:pt x="96" y="370"/>
                </a:lnTo>
                <a:lnTo>
                  <a:pt x="93" y="373"/>
                </a:lnTo>
                <a:lnTo>
                  <a:pt x="93" y="373"/>
                </a:lnTo>
                <a:lnTo>
                  <a:pt x="90" y="373"/>
                </a:lnTo>
                <a:lnTo>
                  <a:pt x="90" y="373"/>
                </a:lnTo>
                <a:lnTo>
                  <a:pt x="84" y="373"/>
                </a:lnTo>
                <a:lnTo>
                  <a:pt x="84" y="370"/>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4" name="Freeform 162">
            <a:extLst>
              <a:ext uri="{FF2B5EF4-FFF2-40B4-BE49-F238E27FC236}">
                <a16:creationId xmlns:a16="http://schemas.microsoft.com/office/drawing/2014/main" id="{DA44F5AE-0928-64B0-2BF3-761BCB412123}"/>
              </a:ext>
            </a:extLst>
          </p:cNvPr>
          <p:cNvSpPr>
            <a:spLocks noEditPoints="1"/>
          </p:cNvSpPr>
          <p:nvPr userDrawn="1"/>
        </p:nvSpPr>
        <p:spPr bwMode="auto">
          <a:xfrm>
            <a:off x="11908652" y="4380787"/>
            <a:ext cx="555590" cy="346078"/>
          </a:xfrm>
          <a:custGeom>
            <a:avLst/>
            <a:gdLst>
              <a:gd name="T0" fmla="*/ 66 w 175"/>
              <a:gd name="T1" fmla="*/ 106 h 109"/>
              <a:gd name="T2" fmla="*/ 56 w 175"/>
              <a:gd name="T3" fmla="*/ 94 h 109"/>
              <a:gd name="T4" fmla="*/ 78 w 175"/>
              <a:gd name="T5" fmla="*/ 103 h 109"/>
              <a:gd name="T6" fmla="*/ 94 w 175"/>
              <a:gd name="T7" fmla="*/ 97 h 109"/>
              <a:gd name="T8" fmla="*/ 109 w 175"/>
              <a:gd name="T9" fmla="*/ 91 h 109"/>
              <a:gd name="T10" fmla="*/ 116 w 175"/>
              <a:gd name="T11" fmla="*/ 88 h 109"/>
              <a:gd name="T12" fmla="*/ 125 w 175"/>
              <a:gd name="T13" fmla="*/ 91 h 109"/>
              <a:gd name="T14" fmla="*/ 147 w 175"/>
              <a:gd name="T15" fmla="*/ 72 h 109"/>
              <a:gd name="T16" fmla="*/ 159 w 175"/>
              <a:gd name="T17" fmla="*/ 72 h 109"/>
              <a:gd name="T18" fmla="*/ 159 w 175"/>
              <a:gd name="T19" fmla="*/ 59 h 109"/>
              <a:gd name="T20" fmla="*/ 169 w 175"/>
              <a:gd name="T21" fmla="*/ 59 h 109"/>
              <a:gd name="T22" fmla="*/ 166 w 175"/>
              <a:gd name="T23" fmla="*/ 41 h 109"/>
              <a:gd name="T24" fmla="*/ 163 w 175"/>
              <a:gd name="T25" fmla="*/ 34 h 109"/>
              <a:gd name="T26" fmla="*/ 156 w 175"/>
              <a:gd name="T27" fmla="*/ 28 h 109"/>
              <a:gd name="T28" fmla="*/ 159 w 175"/>
              <a:gd name="T29" fmla="*/ 16 h 109"/>
              <a:gd name="T30" fmla="*/ 156 w 175"/>
              <a:gd name="T31" fmla="*/ 9 h 109"/>
              <a:gd name="T32" fmla="*/ 147 w 175"/>
              <a:gd name="T33" fmla="*/ 9 h 109"/>
              <a:gd name="T34" fmla="*/ 141 w 175"/>
              <a:gd name="T35" fmla="*/ 6 h 109"/>
              <a:gd name="T36" fmla="*/ 131 w 175"/>
              <a:gd name="T37" fmla="*/ 6 h 109"/>
              <a:gd name="T38" fmla="*/ 122 w 175"/>
              <a:gd name="T39" fmla="*/ 12 h 109"/>
              <a:gd name="T40" fmla="*/ 109 w 175"/>
              <a:gd name="T41" fmla="*/ 12 h 109"/>
              <a:gd name="T42" fmla="*/ 103 w 175"/>
              <a:gd name="T43" fmla="*/ 25 h 109"/>
              <a:gd name="T44" fmla="*/ 97 w 175"/>
              <a:gd name="T45" fmla="*/ 16 h 109"/>
              <a:gd name="T46" fmla="*/ 84 w 175"/>
              <a:gd name="T47" fmla="*/ 22 h 109"/>
              <a:gd name="T48" fmla="*/ 75 w 175"/>
              <a:gd name="T49" fmla="*/ 12 h 109"/>
              <a:gd name="T50" fmla="*/ 69 w 175"/>
              <a:gd name="T51" fmla="*/ 31 h 109"/>
              <a:gd name="T52" fmla="*/ 59 w 175"/>
              <a:gd name="T53" fmla="*/ 37 h 109"/>
              <a:gd name="T54" fmla="*/ 50 w 175"/>
              <a:gd name="T55" fmla="*/ 34 h 109"/>
              <a:gd name="T56" fmla="*/ 50 w 175"/>
              <a:gd name="T57" fmla="*/ 22 h 109"/>
              <a:gd name="T58" fmla="*/ 53 w 175"/>
              <a:gd name="T59" fmla="*/ 12 h 109"/>
              <a:gd name="T60" fmla="*/ 41 w 175"/>
              <a:gd name="T61" fmla="*/ 3 h 109"/>
              <a:gd name="T62" fmla="*/ 25 w 175"/>
              <a:gd name="T63" fmla="*/ 0 h 109"/>
              <a:gd name="T64" fmla="*/ 34 w 175"/>
              <a:gd name="T65" fmla="*/ 3 h 109"/>
              <a:gd name="T66" fmla="*/ 31 w 175"/>
              <a:gd name="T67" fmla="*/ 6 h 109"/>
              <a:gd name="T68" fmla="*/ 38 w 175"/>
              <a:gd name="T69" fmla="*/ 16 h 109"/>
              <a:gd name="T70" fmla="*/ 25 w 175"/>
              <a:gd name="T71" fmla="*/ 9 h 109"/>
              <a:gd name="T72" fmla="*/ 19 w 175"/>
              <a:gd name="T73" fmla="*/ 9 h 109"/>
              <a:gd name="T74" fmla="*/ 19 w 175"/>
              <a:gd name="T75" fmla="*/ 19 h 109"/>
              <a:gd name="T76" fmla="*/ 19 w 175"/>
              <a:gd name="T77" fmla="*/ 22 h 109"/>
              <a:gd name="T78" fmla="*/ 9 w 175"/>
              <a:gd name="T79" fmla="*/ 22 h 109"/>
              <a:gd name="T80" fmla="*/ 6 w 175"/>
              <a:gd name="T81" fmla="*/ 25 h 109"/>
              <a:gd name="T82" fmla="*/ 13 w 175"/>
              <a:gd name="T83" fmla="*/ 34 h 109"/>
              <a:gd name="T84" fmla="*/ 22 w 175"/>
              <a:gd name="T85" fmla="*/ 31 h 109"/>
              <a:gd name="T86" fmla="*/ 34 w 175"/>
              <a:gd name="T87" fmla="*/ 31 h 109"/>
              <a:gd name="T88" fmla="*/ 41 w 175"/>
              <a:gd name="T89" fmla="*/ 31 h 109"/>
              <a:gd name="T90" fmla="*/ 44 w 175"/>
              <a:gd name="T91" fmla="*/ 37 h 109"/>
              <a:gd name="T92" fmla="*/ 31 w 175"/>
              <a:gd name="T93" fmla="*/ 44 h 109"/>
              <a:gd name="T94" fmla="*/ 44 w 175"/>
              <a:gd name="T95" fmla="*/ 44 h 109"/>
              <a:gd name="T96" fmla="*/ 28 w 175"/>
              <a:gd name="T97" fmla="*/ 47 h 109"/>
              <a:gd name="T98" fmla="*/ 25 w 175"/>
              <a:gd name="T99" fmla="*/ 47 h 109"/>
              <a:gd name="T100" fmla="*/ 9 w 175"/>
              <a:gd name="T101" fmla="*/ 47 h 109"/>
              <a:gd name="T102" fmla="*/ 13 w 175"/>
              <a:gd name="T103" fmla="*/ 56 h 109"/>
              <a:gd name="T104" fmla="*/ 31 w 175"/>
              <a:gd name="T105" fmla="*/ 59 h 109"/>
              <a:gd name="T106" fmla="*/ 34 w 175"/>
              <a:gd name="T107" fmla="*/ 69 h 109"/>
              <a:gd name="T108" fmla="*/ 38 w 175"/>
              <a:gd name="T109" fmla="*/ 75 h 109"/>
              <a:gd name="T110" fmla="*/ 41 w 175"/>
              <a:gd name="T111" fmla="*/ 72 h 109"/>
              <a:gd name="T112" fmla="*/ 31 w 175"/>
              <a:gd name="T113" fmla="*/ 81 h 109"/>
              <a:gd name="T114" fmla="*/ 22 w 175"/>
              <a:gd name="T115" fmla="*/ 78 h 109"/>
              <a:gd name="T116" fmla="*/ 28 w 175"/>
              <a:gd name="T117" fmla="*/ 91 h 109"/>
              <a:gd name="T118" fmla="*/ 47 w 175"/>
              <a:gd name="T119" fmla="*/ 9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5" h="109">
                <a:moveTo>
                  <a:pt x="63" y="109"/>
                </a:moveTo>
                <a:lnTo>
                  <a:pt x="59" y="106"/>
                </a:lnTo>
                <a:lnTo>
                  <a:pt x="63" y="103"/>
                </a:lnTo>
                <a:lnTo>
                  <a:pt x="63" y="103"/>
                </a:lnTo>
                <a:lnTo>
                  <a:pt x="66" y="106"/>
                </a:lnTo>
                <a:lnTo>
                  <a:pt x="63" y="109"/>
                </a:lnTo>
                <a:lnTo>
                  <a:pt x="63" y="109"/>
                </a:lnTo>
                <a:close/>
                <a:moveTo>
                  <a:pt x="53" y="91"/>
                </a:moveTo>
                <a:lnTo>
                  <a:pt x="56" y="91"/>
                </a:lnTo>
                <a:lnTo>
                  <a:pt x="56" y="94"/>
                </a:lnTo>
                <a:lnTo>
                  <a:pt x="63" y="100"/>
                </a:lnTo>
                <a:lnTo>
                  <a:pt x="66" y="100"/>
                </a:lnTo>
                <a:lnTo>
                  <a:pt x="69" y="97"/>
                </a:lnTo>
                <a:lnTo>
                  <a:pt x="72" y="97"/>
                </a:lnTo>
                <a:lnTo>
                  <a:pt x="78" y="103"/>
                </a:lnTo>
                <a:lnTo>
                  <a:pt x="84" y="103"/>
                </a:lnTo>
                <a:lnTo>
                  <a:pt x="88" y="106"/>
                </a:lnTo>
                <a:lnTo>
                  <a:pt x="94" y="103"/>
                </a:lnTo>
                <a:lnTo>
                  <a:pt x="94" y="100"/>
                </a:lnTo>
                <a:lnTo>
                  <a:pt x="94" y="97"/>
                </a:lnTo>
                <a:lnTo>
                  <a:pt x="97" y="100"/>
                </a:lnTo>
                <a:lnTo>
                  <a:pt x="100" y="100"/>
                </a:lnTo>
                <a:lnTo>
                  <a:pt x="103" y="97"/>
                </a:lnTo>
                <a:lnTo>
                  <a:pt x="103" y="94"/>
                </a:lnTo>
                <a:lnTo>
                  <a:pt x="109" y="91"/>
                </a:lnTo>
                <a:lnTo>
                  <a:pt x="106" y="94"/>
                </a:lnTo>
                <a:lnTo>
                  <a:pt x="109" y="97"/>
                </a:lnTo>
                <a:lnTo>
                  <a:pt x="109" y="94"/>
                </a:lnTo>
                <a:lnTo>
                  <a:pt x="113" y="94"/>
                </a:lnTo>
                <a:lnTo>
                  <a:pt x="116" y="88"/>
                </a:lnTo>
                <a:lnTo>
                  <a:pt x="119" y="91"/>
                </a:lnTo>
                <a:lnTo>
                  <a:pt x="119" y="91"/>
                </a:lnTo>
                <a:lnTo>
                  <a:pt x="125" y="91"/>
                </a:lnTo>
                <a:lnTo>
                  <a:pt x="125" y="91"/>
                </a:lnTo>
                <a:lnTo>
                  <a:pt x="125" y="91"/>
                </a:lnTo>
                <a:lnTo>
                  <a:pt x="134" y="81"/>
                </a:lnTo>
                <a:lnTo>
                  <a:pt x="138" y="78"/>
                </a:lnTo>
                <a:lnTo>
                  <a:pt x="147" y="75"/>
                </a:lnTo>
                <a:lnTo>
                  <a:pt x="147" y="75"/>
                </a:lnTo>
                <a:lnTo>
                  <a:pt x="147" y="72"/>
                </a:lnTo>
                <a:lnTo>
                  <a:pt x="147" y="69"/>
                </a:lnTo>
                <a:lnTo>
                  <a:pt x="150" y="69"/>
                </a:lnTo>
                <a:lnTo>
                  <a:pt x="150" y="72"/>
                </a:lnTo>
                <a:lnTo>
                  <a:pt x="156" y="75"/>
                </a:lnTo>
                <a:lnTo>
                  <a:pt x="159" y="72"/>
                </a:lnTo>
                <a:lnTo>
                  <a:pt x="159" y="69"/>
                </a:lnTo>
                <a:lnTo>
                  <a:pt x="156" y="69"/>
                </a:lnTo>
                <a:lnTo>
                  <a:pt x="159" y="66"/>
                </a:lnTo>
                <a:lnTo>
                  <a:pt x="159" y="66"/>
                </a:lnTo>
                <a:lnTo>
                  <a:pt x="159" y="59"/>
                </a:lnTo>
                <a:lnTo>
                  <a:pt x="159" y="56"/>
                </a:lnTo>
                <a:lnTo>
                  <a:pt x="163" y="59"/>
                </a:lnTo>
                <a:lnTo>
                  <a:pt x="163" y="62"/>
                </a:lnTo>
                <a:lnTo>
                  <a:pt x="166" y="62"/>
                </a:lnTo>
                <a:lnTo>
                  <a:pt x="169" y="59"/>
                </a:lnTo>
                <a:lnTo>
                  <a:pt x="169" y="56"/>
                </a:lnTo>
                <a:lnTo>
                  <a:pt x="166" y="50"/>
                </a:lnTo>
                <a:lnTo>
                  <a:pt x="166" y="47"/>
                </a:lnTo>
                <a:lnTo>
                  <a:pt x="166" y="47"/>
                </a:lnTo>
                <a:lnTo>
                  <a:pt x="166" y="41"/>
                </a:lnTo>
                <a:lnTo>
                  <a:pt x="169" y="41"/>
                </a:lnTo>
                <a:lnTo>
                  <a:pt x="172" y="41"/>
                </a:lnTo>
                <a:lnTo>
                  <a:pt x="175" y="37"/>
                </a:lnTo>
                <a:lnTo>
                  <a:pt x="172" y="34"/>
                </a:lnTo>
                <a:lnTo>
                  <a:pt x="163" y="34"/>
                </a:lnTo>
                <a:lnTo>
                  <a:pt x="163" y="34"/>
                </a:lnTo>
                <a:lnTo>
                  <a:pt x="163" y="31"/>
                </a:lnTo>
                <a:lnTo>
                  <a:pt x="163" y="28"/>
                </a:lnTo>
                <a:lnTo>
                  <a:pt x="159" y="28"/>
                </a:lnTo>
                <a:lnTo>
                  <a:pt x="156" y="28"/>
                </a:lnTo>
                <a:lnTo>
                  <a:pt x="156" y="25"/>
                </a:lnTo>
                <a:lnTo>
                  <a:pt x="159" y="22"/>
                </a:lnTo>
                <a:lnTo>
                  <a:pt x="163" y="22"/>
                </a:lnTo>
                <a:lnTo>
                  <a:pt x="159" y="16"/>
                </a:lnTo>
                <a:lnTo>
                  <a:pt x="159" y="16"/>
                </a:lnTo>
                <a:lnTo>
                  <a:pt x="156" y="19"/>
                </a:lnTo>
                <a:lnTo>
                  <a:pt x="153" y="16"/>
                </a:lnTo>
                <a:lnTo>
                  <a:pt x="150" y="12"/>
                </a:lnTo>
                <a:lnTo>
                  <a:pt x="156" y="12"/>
                </a:lnTo>
                <a:lnTo>
                  <a:pt x="156" y="9"/>
                </a:lnTo>
                <a:lnTo>
                  <a:pt x="156" y="6"/>
                </a:lnTo>
                <a:lnTo>
                  <a:pt x="159" y="6"/>
                </a:lnTo>
                <a:lnTo>
                  <a:pt x="156" y="3"/>
                </a:lnTo>
                <a:lnTo>
                  <a:pt x="153" y="3"/>
                </a:lnTo>
                <a:lnTo>
                  <a:pt x="147" y="9"/>
                </a:lnTo>
                <a:lnTo>
                  <a:pt x="147" y="12"/>
                </a:lnTo>
                <a:lnTo>
                  <a:pt x="144" y="16"/>
                </a:lnTo>
                <a:lnTo>
                  <a:pt x="141" y="9"/>
                </a:lnTo>
                <a:lnTo>
                  <a:pt x="144" y="9"/>
                </a:lnTo>
                <a:lnTo>
                  <a:pt x="141" y="6"/>
                </a:lnTo>
                <a:lnTo>
                  <a:pt x="141" y="3"/>
                </a:lnTo>
                <a:lnTo>
                  <a:pt x="138" y="0"/>
                </a:lnTo>
                <a:lnTo>
                  <a:pt x="134" y="3"/>
                </a:lnTo>
                <a:lnTo>
                  <a:pt x="131" y="3"/>
                </a:lnTo>
                <a:lnTo>
                  <a:pt x="131" y="6"/>
                </a:lnTo>
                <a:lnTo>
                  <a:pt x="131" y="9"/>
                </a:lnTo>
                <a:lnTo>
                  <a:pt x="131" y="12"/>
                </a:lnTo>
                <a:lnTo>
                  <a:pt x="125" y="12"/>
                </a:lnTo>
                <a:lnTo>
                  <a:pt x="122" y="16"/>
                </a:lnTo>
                <a:lnTo>
                  <a:pt x="122" y="12"/>
                </a:lnTo>
                <a:lnTo>
                  <a:pt x="119" y="9"/>
                </a:lnTo>
                <a:lnTo>
                  <a:pt x="119" y="12"/>
                </a:lnTo>
                <a:lnTo>
                  <a:pt x="116" y="19"/>
                </a:lnTo>
                <a:lnTo>
                  <a:pt x="113" y="19"/>
                </a:lnTo>
                <a:lnTo>
                  <a:pt x="109" y="12"/>
                </a:lnTo>
                <a:lnTo>
                  <a:pt x="106" y="12"/>
                </a:lnTo>
                <a:lnTo>
                  <a:pt x="103" y="12"/>
                </a:lnTo>
                <a:lnTo>
                  <a:pt x="100" y="12"/>
                </a:lnTo>
                <a:lnTo>
                  <a:pt x="100" y="19"/>
                </a:lnTo>
                <a:lnTo>
                  <a:pt x="103" y="25"/>
                </a:lnTo>
                <a:lnTo>
                  <a:pt x="100" y="34"/>
                </a:lnTo>
                <a:lnTo>
                  <a:pt x="100" y="25"/>
                </a:lnTo>
                <a:lnTo>
                  <a:pt x="97" y="22"/>
                </a:lnTo>
                <a:lnTo>
                  <a:pt x="97" y="19"/>
                </a:lnTo>
                <a:lnTo>
                  <a:pt x="97" y="16"/>
                </a:lnTo>
                <a:lnTo>
                  <a:pt x="97" y="12"/>
                </a:lnTo>
                <a:lnTo>
                  <a:pt x="91" y="9"/>
                </a:lnTo>
                <a:lnTo>
                  <a:pt x="84" y="16"/>
                </a:lnTo>
                <a:lnTo>
                  <a:pt x="84" y="19"/>
                </a:lnTo>
                <a:lnTo>
                  <a:pt x="84" y="22"/>
                </a:lnTo>
                <a:lnTo>
                  <a:pt x="81" y="28"/>
                </a:lnTo>
                <a:lnTo>
                  <a:pt x="78" y="28"/>
                </a:lnTo>
                <a:lnTo>
                  <a:pt x="78" y="22"/>
                </a:lnTo>
                <a:lnTo>
                  <a:pt x="75" y="19"/>
                </a:lnTo>
                <a:lnTo>
                  <a:pt x="75" y="12"/>
                </a:lnTo>
                <a:lnTo>
                  <a:pt x="72" y="9"/>
                </a:lnTo>
                <a:lnTo>
                  <a:pt x="66" y="12"/>
                </a:lnTo>
                <a:lnTo>
                  <a:pt x="69" y="22"/>
                </a:lnTo>
                <a:lnTo>
                  <a:pt x="69" y="25"/>
                </a:lnTo>
                <a:lnTo>
                  <a:pt x="69" y="31"/>
                </a:lnTo>
                <a:lnTo>
                  <a:pt x="66" y="34"/>
                </a:lnTo>
                <a:lnTo>
                  <a:pt x="63" y="34"/>
                </a:lnTo>
                <a:lnTo>
                  <a:pt x="63" y="31"/>
                </a:lnTo>
                <a:lnTo>
                  <a:pt x="59" y="31"/>
                </a:lnTo>
                <a:lnTo>
                  <a:pt x="59" y="37"/>
                </a:lnTo>
                <a:lnTo>
                  <a:pt x="56" y="37"/>
                </a:lnTo>
                <a:lnTo>
                  <a:pt x="56" y="44"/>
                </a:lnTo>
                <a:lnTo>
                  <a:pt x="53" y="37"/>
                </a:lnTo>
                <a:lnTo>
                  <a:pt x="50" y="37"/>
                </a:lnTo>
                <a:lnTo>
                  <a:pt x="50" y="34"/>
                </a:lnTo>
                <a:lnTo>
                  <a:pt x="53" y="31"/>
                </a:lnTo>
                <a:lnTo>
                  <a:pt x="53" y="28"/>
                </a:lnTo>
                <a:lnTo>
                  <a:pt x="50" y="28"/>
                </a:lnTo>
                <a:lnTo>
                  <a:pt x="50" y="25"/>
                </a:lnTo>
                <a:lnTo>
                  <a:pt x="50" y="22"/>
                </a:lnTo>
                <a:lnTo>
                  <a:pt x="50" y="25"/>
                </a:lnTo>
                <a:lnTo>
                  <a:pt x="53" y="22"/>
                </a:lnTo>
                <a:lnTo>
                  <a:pt x="53" y="19"/>
                </a:lnTo>
                <a:lnTo>
                  <a:pt x="50" y="16"/>
                </a:lnTo>
                <a:lnTo>
                  <a:pt x="53" y="12"/>
                </a:lnTo>
                <a:lnTo>
                  <a:pt x="50" y="9"/>
                </a:lnTo>
                <a:lnTo>
                  <a:pt x="47" y="12"/>
                </a:lnTo>
                <a:lnTo>
                  <a:pt x="47" y="9"/>
                </a:lnTo>
                <a:lnTo>
                  <a:pt x="41" y="6"/>
                </a:lnTo>
                <a:lnTo>
                  <a:pt x="41" y="3"/>
                </a:lnTo>
                <a:lnTo>
                  <a:pt x="41" y="0"/>
                </a:lnTo>
                <a:lnTo>
                  <a:pt x="34" y="0"/>
                </a:lnTo>
                <a:lnTo>
                  <a:pt x="31" y="0"/>
                </a:lnTo>
                <a:lnTo>
                  <a:pt x="25" y="0"/>
                </a:lnTo>
                <a:lnTo>
                  <a:pt x="25" y="0"/>
                </a:lnTo>
                <a:lnTo>
                  <a:pt x="28" y="3"/>
                </a:lnTo>
                <a:lnTo>
                  <a:pt x="28" y="3"/>
                </a:lnTo>
                <a:lnTo>
                  <a:pt x="31" y="3"/>
                </a:lnTo>
                <a:lnTo>
                  <a:pt x="31" y="3"/>
                </a:lnTo>
                <a:lnTo>
                  <a:pt x="34" y="3"/>
                </a:lnTo>
                <a:lnTo>
                  <a:pt x="38" y="3"/>
                </a:lnTo>
                <a:lnTo>
                  <a:pt x="38" y="6"/>
                </a:lnTo>
                <a:lnTo>
                  <a:pt x="34" y="6"/>
                </a:lnTo>
                <a:lnTo>
                  <a:pt x="28" y="6"/>
                </a:lnTo>
                <a:lnTo>
                  <a:pt x="31" y="6"/>
                </a:lnTo>
                <a:lnTo>
                  <a:pt x="34" y="9"/>
                </a:lnTo>
                <a:lnTo>
                  <a:pt x="38" y="16"/>
                </a:lnTo>
                <a:lnTo>
                  <a:pt x="38" y="19"/>
                </a:lnTo>
                <a:lnTo>
                  <a:pt x="38" y="19"/>
                </a:lnTo>
                <a:lnTo>
                  <a:pt x="38" y="16"/>
                </a:lnTo>
                <a:lnTo>
                  <a:pt x="31" y="12"/>
                </a:lnTo>
                <a:lnTo>
                  <a:pt x="28" y="16"/>
                </a:lnTo>
                <a:lnTo>
                  <a:pt x="28" y="16"/>
                </a:lnTo>
                <a:lnTo>
                  <a:pt x="28" y="12"/>
                </a:lnTo>
                <a:lnTo>
                  <a:pt x="25" y="9"/>
                </a:lnTo>
                <a:lnTo>
                  <a:pt x="22" y="6"/>
                </a:lnTo>
                <a:lnTo>
                  <a:pt x="19" y="9"/>
                </a:lnTo>
                <a:lnTo>
                  <a:pt x="22" y="12"/>
                </a:lnTo>
                <a:lnTo>
                  <a:pt x="22" y="12"/>
                </a:lnTo>
                <a:lnTo>
                  <a:pt x="19" y="9"/>
                </a:lnTo>
                <a:lnTo>
                  <a:pt x="16" y="9"/>
                </a:lnTo>
                <a:lnTo>
                  <a:pt x="16" y="12"/>
                </a:lnTo>
                <a:lnTo>
                  <a:pt x="16" y="16"/>
                </a:lnTo>
                <a:lnTo>
                  <a:pt x="19" y="16"/>
                </a:lnTo>
                <a:lnTo>
                  <a:pt x="19" y="19"/>
                </a:lnTo>
                <a:lnTo>
                  <a:pt x="16" y="16"/>
                </a:lnTo>
                <a:lnTo>
                  <a:pt x="13" y="19"/>
                </a:lnTo>
                <a:lnTo>
                  <a:pt x="16" y="22"/>
                </a:lnTo>
                <a:lnTo>
                  <a:pt x="19" y="22"/>
                </a:lnTo>
                <a:lnTo>
                  <a:pt x="19" y="22"/>
                </a:lnTo>
                <a:lnTo>
                  <a:pt x="16" y="25"/>
                </a:lnTo>
                <a:lnTo>
                  <a:pt x="19" y="25"/>
                </a:lnTo>
                <a:lnTo>
                  <a:pt x="16" y="25"/>
                </a:lnTo>
                <a:lnTo>
                  <a:pt x="9" y="22"/>
                </a:lnTo>
                <a:lnTo>
                  <a:pt x="9" y="22"/>
                </a:lnTo>
                <a:lnTo>
                  <a:pt x="6" y="22"/>
                </a:lnTo>
                <a:lnTo>
                  <a:pt x="9" y="28"/>
                </a:lnTo>
                <a:lnTo>
                  <a:pt x="13" y="31"/>
                </a:lnTo>
                <a:lnTo>
                  <a:pt x="9" y="31"/>
                </a:lnTo>
                <a:lnTo>
                  <a:pt x="6" y="25"/>
                </a:lnTo>
                <a:lnTo>
                  <a:pt x="3" y="25"/>
                </a:lnTo>
                <a:lnTo>
                  <a:pt x="0" y="28"/>
                </a:lnTo>
                <a:lnTo>
                  <a:pt x="6" y="31"/>
                </a:lnTo>
                <a:lnTo>
                  <a:pt x="9" y="34"/>
                </a:lnTo>
                <a:lnTo>
                  <a:pt x="13" y="34"/>
                </a:lnTo>
                <a:lnTo>
                  <a:pt x="16" y="31"/>
                </a:lnTo>
                <a:lnTo>
                  <a:pt x="19" y="31"/>
                </a:lnTo>
                <a:lnTo>
                  <a:pt x="22" y="28"/>
                </a:lnTo>
                <a:lnTo>
                  <a:pt x="22" y="28"/>
                </a:lnTo>
                <a:lnTo>
                  <a:pt x="22" y="31"/>
                </a:lnTo>
                <a:lnTo>
                  <a:pt x="25" y="31"/>
                </a:lnTo>
                <a:lnTo>
                  <a:pt x="28" y="28"/>
                </a:lnTo>
                <a:lnTo>
                  <a:pt x="28" y="31"/>
                </a:lnTo>
                <a:lnTo>
                  <a:pt x="31" y="31"/>
                </a:lnTo>
                <a:lnTo>
                  <a:pt x="34" y="31"/>
                </a:lnTo>
                <a:lnTo>
                  <a:pt x="34" y="28"/>
                </a:lnTo>
                <a:lnTo>
                  <a:pt x="34" y="31"/>
                </a:lnTo>
                <a:lnTo>
                  <a:pt x="34" y="31"/>
                </a:lnTo>
                <a:lnTo>
                  <a:pt x="41" y="28"/>
                </a:lnTo>
                <a:lnTo>
                  <a:pt x="41" y="31"/>
                </a:lnTo>
                <a:lnTo>
                  <a:pt x="38" y="34"/>
                </a:lnTo>
                <a:lnTo>
                  <a:pt x="41" y="34"/>
                </a:lnTo>
                <a:lnTo>
                  <a:pt x="44" y="34"/>
                </a:lnTo>
                <a:lnTo>
                  <a:pt x="47" y="34"/>
                </a:lnTo>
                <a:lnTo>
                  <a:pt x="44" y="37"/>
                </a:lnTo>
                <a:lnTo>
                  <a:pt x="41" y="37"/>
                </a:lnTo>
                <a:lnTo>
                  <a:pt x="41" y="37"/>
                </a:lnTo>
                <a:lnTo>
                  <a:pt x="38" y="37"/>
                </a:lnTo>
                <a:lnTo>
                  <a:pt x="31" y="41"/>
                </a:lnTo>
                <a:lnTo>
                  <a:pt x="31" y="44"/>
                </a:lnTo>
                <a:lnTo>
                  <a:pt x="38" y="44"/>
                </a:lnTo>
                <a:lnTo>
                  <a:pt x="41" y="44"/>
                </a:lnTo>
                <a:lnTo>
                  <a:pt x="44" y="41"/>
                </a:lnTo>
                <a:lnTo>
                  <a:pt x="44" y="41"/>
                </a:lnTo>
                <a:lnTo>
                  <a:pt x="44" y="44"/>
                </a:lnTo>
                <a:lnTo>
                  <a:pt x="41" y="47"/>
                </a:lnTo>
                <a:lnTo>
                  <a:pt x="34" y="47"/>
                </a:lnTo>
                <a:lnTo>
                  <a:pt x="34" y="47"/>
                </a:lnTo>
                <a:lnTo>
                  <a:pt x="31" y="50"/>
                </a:lnTo>
                <a:lnTo>
                  <a:pt x="28" y="47"/>
                </a:lnTo>
                <a:lnTo>
                  <a:pt x="28" y="47"/>
                </a:lnTo>
                <a:lnTo>
                  <a:pt x="28" y="44"/>
                </a:lnTo>
                <a:lnTo>
                  <a:pt x="25" y="44"/>
                </a:lnTo>
                <a:lnTo>
                  <a:pt x="25" y="44"/>
                </a:lnTo>
                <a:lnTo>
                  <a:pt x="25" y="47"/>
                </a:lnTo>
                <a:lnTo>
                  <a:pt x="22" y="50"/>
                </a:lnTo>
                <a:lnTo>
                  <a:pt x="19" y="47"/>
                </a:lnTo>
                <a:lnTo>
                  <a:pt x="16" y="47"/>
                </a:lnTo>
                <a:lnTo>
                  <a:pt x="13" y="50"/>
                </a:lnTo>
                <a:lnTo>
                  <a:pt x="9" y="47"/>
                </a:lnTo>
                <a:lnTo>
                  <a:pt x="6" y="50"/>
                </a:lnTo>
                <a:lnTo>
                  <a:pt x="6" y="50"/>
                </a:lnTo>
                <a:lnTo>
                  <a:pt x="6" y="53"/>
                </a:lnTo>
                <a:lnTo>
                  <a:pt x="9" y="56"/>
                </a:lnTo>
                <a:lnTo>
                  <a:pt x="13" y="56"/>
                </a:lnTo>
                <a:lnTo>
                  <a:pt x="13" y="56"/>
                </a:lnTo>
                <a:lnTo>
                  <a:pt x="19" y="56"/>
                </a:lnTo>
                <a:lnTo>
                  <a:pt x="28" y="56"/>
                </a:lnTo>
                <a:lnTo>
                  <a:pt x="31" y="56"/>
                </a:lnTo>
                <a:lnTo>
                  <a:pt x="31" y="59"/>
                </a:lnTo>
                <a:lnTo>
                  <a:pt x="28" y="59"/>
                </a:lnTo>
                <a:lnTo>
                  <a:pt x="28" y="62"/>
                </a:lnTo>
                <a:lnTo>
                  <a:pt x="31" y="66"/>
                </a:lnTo>
                <a:lnTo>
                  <a:pt x="34" y="69"/>
                </a:lnTo>
                <a:lnTo>
                  <a:pt x="34" y="69"/>
                </a:lnTo>
                <a:lnTo>
                  <a:pt x="41" y="62"/>
                </a:lnTo>
                <a:lnTo>
                  <a:pt x="41" y="66"/>
                </a:lnTo>
                <a:lnTo>
                  <a:pt x="38" y="69"/>
                </a:lnTo>
                <a:lnTo>
                  <a:pt x="34" y="72"/>
                </a:lnTo>
                <a:lnTo>
                  <a:pt x="38" y="75"/>
                </a:lnTo>
                <a:lnTo>
                  <a:pt x="44" y="69"/>
                </a:lnTo>
                <a:lnTo>
                  <a:pt x="47" y="72"/>
                </a:lnTo>
                <a:lnTo>
                  <a:pt x="47" y="72"/>
                </a:lnTo>
                <a:lnTo>
                  <a:pt x="44" y="72"/>
                </a:lnTo>
                <a:lnTo>
                  <a:pt x="41" y="72"/>
                </a:lnTo>
                <a:lnTo>
                  <a:pt x="38" y="75"/>
                </a:lnTo>
                <a:lnTo>
                  <a:pt x="34" y="75"/>
                </a:lnTo>
                <a:lnTo>
                  <a:pt x="34" y="78"/>
                </a:lnTo>
                <a:lnTo>
                  <a:pt x="34" y="81"/>
                </a:lnTo>
                <a:lnTo>
                  <a:pt x="31" y="81"/>
                </a:lnTo>
                <a:lnTo>
                  <a:pt x="28" y="81"/>
                </a:lnTo>
                <a:lnTo>
                  <a:pt x="28" y="78"/>
                </a:lnTo>
                <a:lnTo>
                  <a:pt x="25" y="78"/>
                </a:lnTo>
                <a:lnTo>
                  <a:pt x="25" y="78"/>
                </a:lnTo>
                <a:lnTo>
                  <a:pt x="22" y="78"/>
                </a:lnTo>
                <a:lnTo>
                  <a:pt x="22" y="84"/>
                </a:lnTo>
                <a:lnTo>
                  <a:pt x="25" y="84"/>
                </a:lnTo>
                <a:lnTo>
                  <a:pt x="25" y="84"/>
                </a:lnTo>
                <a:lnTo>
                  <a:pt x="22" y="91"/>
                </a:lnTo>
                <a:lnTo>
                  <a:pt x="28" y="91"/>
                </a:lnTo>
                <a:lnTo>
                  <a:pt x="28" y="91"/>
                </a:lnTo>
                <a:lnTo>
                  <a:pt x="31" y="91"/>
                </a:lnTo>
                <a:lnTo>
                  <a:pt x="38" y="94"/>
                </a:lnTo>
                <a:lnTo>
                  <a:pt x="44" y="88"/>
                </a:lnTo>
                <a:lnTo>
                  <a:pt x="47" y="91"/>
                </a:lnTo>
                <a:lnTo>
                  <a:pt x="50" y="91"/>
                </a:lnTo>
                <a:lnTo>
                  <a:pt x="50" y="91"/>
                </a:lnTo>
                <a:lnTo>
                  <a:pt x="53" y="91"/>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5" name="Freeform 163">
            <a:extLst>
              <a:ext uri="{FF2B5EF4-FFF2-40B4-BE49-F238E27FC236}">
                <a16:creationId xmlns:a16="http://schemas.microsoft.com/office/drawing/2014/main" id="{F4961D79-4079-AD47-C138-3217006E9615}"/>
              </a:ext>
            </a:extLst>
          </p:cNvPr>
          <p:cNvSpPr>
            <a:spLocks noEditPoints="1"/>
          </p:cNvSpPr>
          <p:nvPr userDrawn="1"/>
        </p:nvSpPr>
        <p:spPr bwMode="auto">
          <a:xfrm>
            <a:off x="3295439" y="7885985"/>
            <a:ext cx="336528" cy="247650"/>
          </a:xfrm>
          <a:custGeom>
            <a:avLst/>
            <a:gdLst>
              <a:gd name="T0" fmla="*/ 3 w 106"/>
              <a:gd name="T1" fmla="*/ 10 h 78"/>
              <a:gd name="T2" fmla="*/ 6 w 106"/>
              <a:gd name="T3" fmla="*/ 6 h 78"/>
              <a:gd name="T4" fmla="*/ 3 w 106"/>
              <a:gd name="T5" fmla="*/ 3 h 78"/>
              <a:gd name="T6" fmla="*/ 0 w 106"/>
              <a:gd name="T7" fmla="*/ 6 h 78"/>
              <a:gd name="T8" fmla="*/ 3 w 106"/>
              <a:gd name="T9" fmla="*/ 10 h 78"/>
              <a:gd name="T10" fmla="*/ 3 w 106"/>
              <a:gd name="T11" fmla="*/ 10 h 78"/>
              <a:gd name="T12" fmla="*/ 22 w 106"/>
              <a:gd name="T13" fmla="*/ 6 h 78"/>
              <a:gd name="T14" fmla="*/ 22 w 106"/>
              <a:gd name="T15" fmla="*/ 0 h 78"/>
              <a:gd name="T16" fmla="*/ 22 w 106"/>
              <a:gd name="T17" fmla="*/ 0 h 78"/>
              <a:gd name="T18" fmla="*/ 19 w 106"/>
              <a:gd name="T19" fmla="*/ 0 h 78"/>
              <a:gd name="T20" fmla="*/ 16 w 106"/>
              <a:gd name="T21" fmla="*/ 3 h 78"/>
              <a:gd name="T22" fmla="*/ 19 w 106"/>
              <a:gd name="T23" fmla="*/ 6 h 78"/>
              <a:gd name="T24" fmla="*/ 22 w 106"/>
              <a:gd name="T25" fmla="*/ 6 h 78"/>
              <a:gd name="T26" fmla="*/ 22 w 106"/>
              <a:gd name="T27" fmla="*/ 6 h 78"/>
              <a:gd name="T28" fmla="*/ 53 w 106"/>
              <a:gd name="T29" fmla="*/ 19 h 78"/>
              <a:gd name="T30" fmla="*/ 50 w 106"/>
              <a:gd name="T31" fmla="*/ 16 h 78"/>
              <a:gd name="T32" fmla="*/ 47 w 106"/>
              <a:gd name="T33" fmla="*/ 13 h 78"/>
              <a:gd name="T34" fmla="*/ 44 w 106"/>
              <a:gd name="T35" fmla="*/ 13 h 78"/>
              <a:gd name="T36" fmla="*/ 44 w 106"/>
              <a:gd name="T37" fmla="*/ 16 h 78"/>
              <a:gd name="T38" fmla="*/ 47 w 106"/>
              <a:gd name="T39" fmla="*/ 22 h 78"/>
              <a:gd name="T40" fmla="*/ 53 w 106"/>
              <a:gd name="T41" fmla="*/ 22 h 78"/>
              <a:gd name="T42" fmla="*/ 53 w 106"/>
              <a:gd name="T43" fmla="*/ 19 h 78"/>
              <a:gd name="T44" fmla="*/ 53 w 106"/>
              <a:gd name="T45" fmla="*/ 19 h 78"/>
              <a:gd name="T46" fmla="*/ 69 w 106"/>
              <a:gd name="T47" fmla="*/ 25 h 78"/>
              <a:gd name="T48" fmla="*/ 66 w 106"/>
              <a:gd name="T49" fmla="*/ 25 h 78"/>
              <a:gd name="T50" fmla="*/ 66 w 106"/>
              <a:gd name="T51" fmla="*/ 25 h 78"/>
              <a:gd name="T52" fmla="*/ 62 w 106"/>
              <a:gd name="T53" fmla="*/ 25 h 78"/>
              <a:gd name="T54" fmla="*/ 66 w 106"/>
              <a:gd name="T55" fmla="*/ 25 h 78"/>
              <a:gd name="T56" fmla="*/ 72 w 106"/>
              <a:gd name="T57" fmla="*/ 22 h 78"/>
              <a:gd name="T58" fmla="*/ 69 w 106"/>
              <a:gd name="T59" fmla="*/ 25 h 78"/>
              <a:gd name="T60" fmla="*/ 69 w 106"/>
              <a:gd name="T61" fmla="*/ 25 h 78"/>
              <a:gd name="T62" fmla="*/ 78 w 106"/>
              <a:gd name="T63" fmla="*/ 35 h 78"/>
              <a:gd name="T64" fmla="*/ 75 w 106"/>
              <a:gd name="T65" fmla="*/ 31 h 78"/>
              <a:gd name="T66" fmla="*/ 72 w 106"/>
              <a:gd name="T67" fmla="*/ 31 h 78"/>
              <a:gd name="T68" fmla="*/ 72 w 106"/>
              <a:gd name="T69" fmla="*/ 28 h 78"/>
              <a:gd name="T70" fmla="*/ 72 w 106"/>
              <a:gd name="T71" fmla="*/ 28 h 78"/>
              <a:gd name="T72" fmla="*/ 75 w 106"/>
              <a:gd name="T73" fmla="*/ 28 h 78"/>
              <a:gd name="T74" fmla="*/ 81 w 106"/>
              <a:gd name="T75" fmla="*/ 31 h 78"/>
              <a:gd name="T76" fmla="*/ 84 w 106"/>
              <a:gd name="T77" fmla="*/ 35 h 78"/>
              <a:gd name="T78" fmla="*/ 81 w 106"/>
              <a:gd name="T79" fmla="*/ 35 h 78"/>
              <a:gd name="T80" fmla="*/ 78 w 106"/>
              <a:gd name="T81" fmla="*/ 35 h 78"/>
              <a:gd name="T82" fmla="*/ 78 w 106"/>
              <a:gd name="T83" fmla="*/ 35 h 78"/>
              <a:gd name="T84" fmla="*/ 84 w 106"/>
              <a:gd name="T85" fmla="*/ 60 h 78"/>
              <a:gd name="T86" fmla="*/ 84 w 106"/>
              <a:gd name="T87" fmla="*/ 66 h 78"/>
              <a:gd name="T88" fmla="*/ 84 w 106"/>
              <a:gd name="T89" fmla="*/ 75 h 78"/>
              <a:gd name="T90" fmla="*/ 91 w 106"/>
              <a:gd name="T91" fmla="*/ 78 h 78"/>
              <a:gd name="T92" fmla="*/ 97 w 106"/>
              <a:gd name="T93" fmla="*/ 69 h 78"/>
              <a:gd name="T94" fmla="*/ 103 w 106"/>
              <a:gd name="T95" fmla="*/ 66 h 78"/>
              <a:gd name="T96" fmla="*/ 106 w 106"/>
              <a:gd name="T97" fmla="*/ 63 h 78"/>
              <a:gd name="T98" fmla="*/ 103 w 106"/>
              <a:gd name="T99" fmla="*/ 60 h 78"/>
              <a:gd name="T100" fmla="*/ 100 w 106"/>
              <a:gd name="T101" fmla="*/ 60 h 78"/>
              <a:gd name="T102" fmla="*/ 103 w 106"/>
              <a:gd name="T103" fmla="*/ 57 h 78"/>
              <a:gd name="T104" fmla="*/ 97 w 106"/>
              <a:gd name="T105" fmla="*/ 50 h 78"/>
              <a:gd name="T106" fmla="*/ 94 w 106"/>
              <a:gd name="T107" fmla="*/ 50 h 78"/>
              <a:gd name="T108" fmla="*/ 91 w 106"/>
              <a:gd name="T109" fmla="*/ 47 h 78"/>
              <a:gd name="T110" fmla="*/ 87 w 106"/>
              <a:gd name="T111" fmla="*/ 44 h 78"/>
              <a:gd name="T112" fmla="*/ 84 w 106"/>
              <a:gd name="T113" fmla="*/ 47 h 78"/>
              <a:gd name="T114" fmla="*/ 87 w 106"/>
              <a:gd name="T115" fmla="*/ 50 h 78"/>
              <a:gd name="T116" fmla="*/ 84 w 106"/>
              <a:gd name="T117" fmla="*/ 53 h 78"/>
              <a:gd name="T118" fmla="*/ 84 w 106"/>
              <a:gd name="T119" fmla="*/ 57 h 78"/>
              <a:gd name="T120" fmla="*/ 84 w 106"/>
              <a:gd name="T121" fmla="*/ 6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6" h="78">
                <a:moveTo>
                  <a:pt x="3" y="10"/>
                </a:moveTo>
                <a:lnTo>
                  <a:pt x="6" y="6"/>
                </a:lnTo>
                <a:lnTo>
                  <a:pt x="3" y="3"/>
                </a:lnTo>
                <a:lnTo>
                  <a:pt x="0" y="6"/>
                </a:lnTo>
                <a:lnTo>
                  <a:pt x="3" y="10"/>
                </a:lnTo>
                <a:lnTo>
                  <a:pt x="3" y="10"/>
                </a:lnTo>
                <a:close/>
                <a:moveTo>
                  <a:pt x="22" y="6"/>
                </a:moveTo>
                <a:lnTo>
                  <a:pt x="22" y="0"/>
                </a:lnTo>
                <a:lnTo>
                  <a:pt x="22" y="0"/>
                </a:lnTo>
                <a:lnTo>
                  <a:pt x="19" y="0"/>
                </a:lnTo>
                <a:lnTo>
                  <a:pt x="16" y="3"/>
                </a:lnTo>
                <a:lnTo>
                  <a:pt x="19" y="6"/>
                </a:lnTo>
                <a:lnTo>
                  <a:pt x="22" y="6"/>
                </a:lnTo>
                <a:lnTo>
                  <a:pt x="22" y="6"/>
                </a:lnTo>
                <a:close/>
                <a:moveTo>
                  <a:pt x="53" y="19"/>
                </a:moveTo>
                <a:lnTo>
                  <a:pt x="50" y="16"/>
                </a:lnTo>
                <a:lnTo>
                  <a:pt x="47" y="13"/>
                </a:lnTo>
                <a:lnTo>
                  <a:pt x="44" y="13"/>
                </a:lnTo>
                <a:lnTo>
                  <a:pt x="44" y="16"/>
                </a:lnTo>
                <a:lnTo>
                  <a:pt x="47" y="22"/>
                </a:lnTo>
                <a:lnTo>
                  <a:pt x="53" y="22"/>
                </a:lnTo>
                <a:lnTo>
                  <a:pt x="53" y="19"/>
                </a:lnTo>
                <a:lnTo>
                  <a:pt x="53" y="19"/>
                </a:lnTo>
                <a:close/>
                <a:moveTo>
                  <a:pt x="69" y="25"/>
                </a:moveTo>
                <a:lnTo>
                  <a:pt x="66" y="25"/>
                </a:lnTo>
                <a:lnTo>
                  <a:pt x="66" y="25"/>
                </a:lnTo>
                <a:lnTo>
                  <a:pt x="62" y="25"/>
                </a:lnTo>
                <a:lnTo>
                  <a:pt x="66" y="25"/>
                </a:lnTo>
                <a:lnTo>
                  <a:pt x="72" y="22"/>
                </a:lnTo>
                <a:lnTo>
                  <a:pt x="69" y="25"/>
                </a:lnTo>
                <a:lnTo>
                  <a:pt x="69" y="25"/>
                </a:lnTo>
                <a:close/>
                <a:moveTo>
                  <a:pt x="78" y="35"/>
                </a:moveTo>
                <a:lnTo>
                  <a:pt x="75" y="31"/>
                </a:lnTo>
                <a:lnTo>
                  <a:pt x="72" y="31"/>
                </a:lnTo>
                <a:lnTo>
                  <a:pt x="72" y="28"/>
                </a:lnTo>
                <a:lnTo>
                  <a:pt x="72" y="28"/>
                </a:lnTo>
                <a:lnTo>
                  <a:pt x="75" y="28"/>
                </a:lnTo>
                <a:lnTo>
                  <a:pt x="81" y="31"/>
                </a:lnTo>
                <a:lnTo>
                  <a:pt x="84" y="35"/>
                </a:lnTo>
                <a:lnTo>
                  <a:pt x="81" y="35"/>
                </a:lnTo>
                <a:lnTo>
                  <a:pt x="78" y="35"/>
                </a:lnTo>
                <a:lnTo>
                  <a:pt x="78" y="35"/>
                </a:lnTo>
                <a:close/>
                <a:moveTo>
                  <a:pt x="84" y="60"/>
                </a:moveTo>
                <a:lnTo>
                  <a:pt x="84" y="66"/>
                </a:lnTo>
                <a:lnTo>
                  <a:pt x="84" y="75"/>
                </a:lnTo>
                <a:lnTo>
                  <a:pt x="91" y="78"/>
                </a:lnTo>
                <a:lnTo>
                  <a:pt x="97" y="69"/>
                </a:lnTo>
                <a:lnTo>
                  <a:pt x="103" y="66"/>
                </a:lnTo>
                <a:lnTo>
                  <a:pt x="106" y="63"/>
                </a:lnTo>
                <a:lnTo>
                  <a:pt x="103" y="60"/>
                </a:lnTo>
                <a:lnTo>
                  <a:pt x="100" y="60"/>
                </a:lnTo>
                <a:lnTo>
                  <a:pt x="103" y="57"/>
                </a:lnTo>
                <a:lnTo>
                  <a:pt x="97" y="50"/>
                </a:lnTo>
                <a:lnTo>
                  <a:pt x="94" y="50"/>
                </a:lnTo>
                <a:lnTo>
                  <a:pt x="91" y="47"/>
                </a:lnTo>
                <a:lnTo>
                  <a:pt x="87" y="44"/>
                </a:lnTo>
                <a:lnTo>
                  <a:pt x="84" y="47"/>
                </a:lnTo>
                <a:lnTo>
                  <a:pt x="87" y="50"/>
                </a:lnTo>
                <a:lnTo>
                  <a:pt x="84" y="53"/>
                </a:lnTo>
                <a:lnTo>
                  <a:pt x="84" y="57"/>
                </a:lnTo>
                <a:lnTo>
                  <a:pt x="84" y="60"/>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6" name="Freeform 164">
            <a:extLst>
              <a:ext uri="{FF2B5EF4-FFF2-40B4-BE49-F238E27FC236}">
                <a16:creationId xmlns:a16="http://schemas.microsoft.com/office/drawing/2014/main" id="{76D2C372-3C2B-3DB4-DE79-56459AA5855B}"/>
              </a:ext>
            </a:extLst>
          </p:cNvPr>
          <p:cNvSpPr>
            <a:spLocks noEditPoints="1"/>
          </p:cNvSpPr>
          <p:nvPr userDrawn="1"/>
        </p:nvSpPr>
        <p:spPr bwMode="auto">
          <a:xfrm>
            <a:off x="7502031" y="9387761"/>
            <a:ext cx="130168" cy="88902"/>
          </a:xfrm>
          <a:custGeom>
            <a:avLst/>
            <a:gdLst>
              <a:gd name="T0" fmla="*/ 38 w 41"/>
              <a:gd name="T1" fmla="*/ 21 h 28"/>
              <a:gd name="T2" fmla="*/ 35 w 41"/>
              <a:gd name="T3" fmla="*/ 25 h 28"/>
              <a:gd name="T4" fmla="*/ 35 w 41"/>
              <a:gd name="T5" fmla="*/ 28 h 28"/>
              <a:gd name="T6" fmla="*/ 41 w 41"/>
              <a:gd name="T7" fmla="*/ 21 h 28"/>
              <a:gd name="T8" fmla="*/ 41 w 41"/>
              <a:gd name="T9" fmla="*/ 21 h 28"/>
              <a:gd name="T10" fmla="*/ 38 w 41"/>
              <a:gd name="T11" fmla="*/ 21 h 28"/>
              <a:gd name="T12" fmla="*/ 38 w 41"/>
              <a:gd name="T13" fmla="*/ 21 h 28"/>
              <a:gd name="T14" fmla="*/ 22 w 41"/>
              <a:gd name="T15" fmla="*/ 15 h 28"/>
              <a:gd name="T16" fmla="*/ 25 w 41"/>
              <a:gd name="T17" fmla="*/ 15 h 28"/>
              <a:gd name="T18" fmla="*/ 28 w 41"/>
              <a:gd name="T19" fmla="*/ 15 h 28"/>
              <a:gd name="T20" fmla="*/ 25 w 41"/>
              <a:gd name="T21" fmla="*/ 18 h 28"/>
              <a:gd name="T22" fmla="*/ 22 w 41"/>
              <a:gd name="T23" fmla="*/ 15 h 28"/>
              <a:gd name="T24" fmla="*/ 22 w 41"/>
              <a:gd name="T25" fmla="*/ 15 h 28"/>
              <a:gd name="T26" fmla="*/ 16 w 41"/>
              <a:gd name="T27" fmla="*/ 6 h 28"/>
              <a:gd name="T28" fmla="*/ 16 w 41"/>
              <a:gd name="T29" fmla="*/ 9 h 28"/>
              <a:gd name="T30" fmla="*/ 19 w 41"/>
              <a:gd name="T31" fmla="*/ 9 h 28"/>
              <a:gd name="T32" fmla="*/ 16 w 41"/>
              <a:gd name="T33" fmla="*/ 6 h 28"/>
              <a:gd name="T34" fmla="*/ 16 w 41"/>
              <a:gd name="T35" fmla="*/ 6 h 28"/>
              <a:gd name="T36" fmla="*/ 0 w 41"/>
              <a:gd name="T37" fmla="*/ 12 h 28"/>
              <a:gd name="T38" fmla="*/ 3 w 41"/>
              <a:gd name="T39" fmla="*/ 12 h 28"/>
              <a:gd name="T40" fmla="*/ 3 w 41"/>
              <a:gd name="T41" fmla="*/ 15 h 28"/>
              <a:gd name="T42" fmla="*/ 0 w 41"/>
              <a:gd name="T43" fmla="*/ 15 h 28"/>
              <a:gd name="T44" fmla="*/ 0 w 41"/>
              <a:gd name="T45" fmla="*/ 12 h 28"/>
              <a:gd name="T46" fmla="*/ 0 w 41"/>
              <a:gd name="T47" fmla="*/ 12 h 28"/>
              <a:gd name="T48" fmla="*/ 0 w 41"/>
              <a:gd name="T49" fmla="*/ 12 h 28"/>
              <a:gd name="T50" fmla="*/ 3 w 41"/>
              <a:gd name="T51" fmla="*/ 6 h 28"/>
              <a:gd name="T52" fmla="*/ 6 w 41"/>
              <a:gd name="T53" fmla="*/ 6 h 28"/>
              <a:gd name="T54" fmla="*/ 6 w 41"/>
              <a:gd name="T55" fmla="*/ 12 h 28"/>
              <a:gd name="T56" fmla="*/ 10 w 41"/>
              <a:gd name="T57" fmla="*/ 18 h 28"/>
              <a:gd name="T58" fmla="*/ 6 w 41"/>
              <a:gd name="T59" fmla="*/ 18 h 28"/>
              <a:gd name="T60" fmla="*/ 3 w 41"/>
              <a:gd name="T61" fmla="*/ 25 h 28"/>
              <a:gd name="T62" fmla="*/ 6 w 41"/>
              <a:gd name="T63" fmla="*/ 25 h 28"/>
              <a:gd name="T64" fmla="*/ 13 w 41"/>
              <a:gd name="T65" fmla="*/ 25 h 28"/>
              <a:gd name="T66" fmla="*/ 13 w 41"/>
              <a:gd name="T67" fmla="*/ 18 h 28"/>
              <a:gd name="T68" fmla="*/ 10 w 41"/>
              <a:gd name="T69" fmla="*/ 15 h 28"/>
              <a:gd name="T70" fmla="*/ 10 w 41"/>
              <a:gd name="T71" fmla="*/ 12 h 28"/>
              <a:gd name="T72" fmla="*/ 10 w 41"/>
              <a:gd name="T73" fmla="*/ 9 h 28"/>
              <a:gd name="T74" fmla="*/ 10 w 41"/>
              <a:gd name="T75" fmla="*/ 3 h 28"/>
              <a:gd name="T76" fmla="*/ 6 w 41"/>
              <a:gd name="T77" fmla="*/ 0 h 28"/>
              <a:gd name="T78" fmla="*/ 3 w 41"/>
              <a:gd name="T79" fmla="*/ 3 h 28"/>
              <a:gd name="T80" fmla="*/ 3 w 41"/>
              <a:gd name="T81"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 h="28">
                <a:moveTo>
                  <a:pt x="38" y="21"/>
                </a:moveTo>
                <a:lnTo>
                  <a:pt x="35" y="25"/>
                </a:lnTo>
                <a:lnTo>
                  <a:pt x="35" y="28"/>
                </a:lnTo>
                <a:lnTo>
                  <a:pt x="41" y="21"/>
                </a:lnTo>
                <a:lnTo>
                  <a:pt x="41" y="21"/>
                </a:lnTo>
                <a:lnTo>
                  <a:pt x="38" y="21"/>
                </a:lnTo>
                <a:lnTo>
                  <a:pt x="38" y="21"/>
                </a:lnTo>
                <a:close/>
                <a:moveTo>
                  <a:pt x="22" y="15"/>
                </a:moveTo>
                <a:lnTo>
                  <a:pt x="25" y="15"/>
                </a:lnTo>
                <a:lnTo>
                  <a:pt x="28" y="15"/>
                </a:lnTo>
                <a:lnTo>
                  <a:pt x="25" y="18"/>
                </a:lnTo>
                <a:lnTo>
                  <a:pt x="22" y="15"/>
                </a:lnTo>
                <a:lnTo>
                  <a:pt x="22" y="15"/>
                </a:lnTo>
                <a:close/>
                <a:moveTo>
                  <a:pt x="16" y="6"/>
                </a:moveTo>
                <a:lnTo>
                  <a:pt x="16" y="9"/>
                </a:lnTo>
                <a:lnTo>
                  <a:pt x="19" y="9"/>
                </a:lnTo>
                <a:lnTo>
                  <a:pt x="16" y="6"/>
                </a:lnTo>
                <a:lnTo>
                  <a:pt x="16" y="6"/>
                </a:lnTo>
                <a:close/>
                <a:moveTo>
                  <a:pt x="0" y="12"/>
                </a:moveTo>
                <a:lnTo>
                  <a:pt x="3" y="12"/>
                </a:lnTo>
                <a:lnTo>
                  <a:pt x="3" y="15"/>
                </a:lnTo>
                <a:lnTo>
                  <a:pt x="0" y="15"/>
                </a:lnTo>
                <a:lnTo>
                  <a:pt x="0" y="12"/>
                </a:lnTo>
                <a:lnTo>
                  <a:pt x="0" y="12"/>
                </a:lnTo>
                <a:lnTo>
                  <a:pt x="0" y="12"/>
                </a:lnTo>
                <a:close/>
                <a:moveTo>
                  <a:pt x="3" y="6"/>
                </a:moveTo>
                <a:lnTo>
                  <a:pt x="6" y="6"/>
                </a:lnTo>
                <a:lnTo>
                  <a:pt x="6" y="12"/>
                </a:lnTo>
                <a:lnTo>
                  <a:pt x="10" y="18"/>
                </a:lnTo>
                <a:lnTo>
                  <a:pt x="6" y="18"/>
                </a:lnTo>
                <a:lnTo>
                  <a:pt x="3" y="25"/>
                </a:lnTo>
                <a:lnTo>
                  <a:pt x="6" y="25"/>
                </a:lnTo>
                <a:lnTo>
                  <a:pt x="13" y="25"/>
                </a:lnTo>
                <a:lnTo>
                  <a:pt x="13" y="18"/>
                </a:lnTo>
                <a:lnTo>
                  <a:pt x="10" y="15"/>
                </a:lnTo>
                <a:lnTo>
                  <a:pt x="10" y="12"/>
                </a:lnTo>
                <a:lnTo>
                  <a:pt x="10" y="9"/>
                </a:lnTo>
                <a:lnTo>
                  <a:pt x="10" y="3"/>
                </a:lnTo>
                <a:lnTo>
                  <a:pt x="6" y="0"/>
                </a:lnTo>
                <a:lnTo>
                  <a:pt x="3" y="3"/>
                </a:lnTo>
                <a:lnTo>
                  <a:pt x="3" y="6"/>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7" name="Freeform 165">
            <a:extLst>
              <a:ext uri="{FF2B5EF4-FFF2-40B4-BE49-F238E27FC236}">
                <a16:creationId xmlns:a16="http://schemas.microsoft.com/office/drawing/2014/main" id="{87F6AE99-410E-8475-5607-DF12892BB47A}"/>
              </a:ext>
            </a:extLst>
          </p:cNvPr>
          <p:cNvSpPr>
            <a:spLocks noEditPoints="1"/>
          </p:cNvSpPr>
          <p:nvPr userDrawn="1"/>
        </p:nvSpPr>
        <p:spPr bwMode="auto">
          <a:xfrm>
            <a:off x="9191031" y="8203485"/>
            <a:ext cx="196837" cy="88902"/>
          </a:xfrm>
          <a:custGeom>
            <a:avLst/>
            <a:gdLst>
              <a:gd name="T0" fmla="*/ 56 w 62"/>
              <a:gd name="T1" fmla="*/ 22 h 28"/>
              <a:gd name="T2" fmla="*/ 62 w 62"/>
              <a:gd name="T3" fmla="*/ 25 h 28"/>
              <a:gd name="T4" fmla="*/ 59 w 62"/>
              <a:gd name="T5" fmla="*/ 28 h 28"/>
              <a:gd name="T6" fmla="*/ 56 w 62"/>
              <a:gd name="T7" fmla="*/ 25 h 28"/>
              <a:gd name="T8" fmla="*/ 56 w 62"/>
              <a:gd name="T9" fmla="*/ 22 h 28"/>
              <a:gd name="T10" fmla="*/ 56 w 62"/>
              <a:gd name="T11" fmla="*/ 22 h 28"/>
              <a:gd name="T12" fmla="*/ 59 w 62"/>
              <a:gd name="T13" fmla="*/ 10 h 28"/>
              <a:gd name="T14" fmla="*/ 56 w 62"/>
              <a:gd name="T15" fmla="*/ 13 h 28"/>
              <a:gd name="T16" fmla="*/ 59 w 62"/>
              <a:gd name="T17" fmla="*/ 16 h 28"/>
              <a:gd name="T18" fmla="*/ 62 w 62"/>
              <a:gd name="T19" fmla="*/ 13 h 28"/>
              <a:gd name="T20" fmla="*/ 59 w 62"/>
              <a:gd name="T21" fmla="*/ 10 h 28"/>
              <a:gd name="T22" fmla="*/ 59 w 62"/>
              <a:gd name="T23" fmla="*/ 10 h 28"/>
              <a:gd name="T24" fmla="*/ 40 w 62"/>
              <a:gd name="T25" fmla="*/ 16 h 28"/>
              <a:gd name="T26" fmla="*/ 37 w 62"/>
              <a:gd name="T27" fmla="*/ 19 h 28"/>
              <a:gd name="T28" fmla="*/ 40 w 62"/>
              <a:gd name="T29" fmla="*/ 22 h 28"/>
              <a:gd name="T30" fmla="*/ 43 w 62"/>
              <a:gd name="T31" fmla="*/ 22 h 28"/>
              <a:gd name="T32" fmla="*/ 40 w 62"/>
              <a:gd name="T33" fmla="*/ 16 h 28"/>
              <a:gd name="T34" fmla="*/ 40 w 62"/>
              <a:gd name="T35" fmla="*/ 16 h 28"/>
              <a:gd name="T36" fmla="*/ 31 w 62"/>
              <a:gd name="T37" fmla="*/ 3 h 28"/>
              <a:gd name="T38" fmla="*/ 34 w 62"/>
              <a:gd name="T39" fmla="*/ 0 h 28"/>
              <a:gd name="T40" fmla="*/ 40 w 62"/>
              <a:gd name="T41" fmla="*/ 0 h 28"/>
              <a:gd name="T42" fmla="*/ 37 w 62"/>
              <a:gd name="T43" fmla="*/ 7 h 28"/>
              <a:gd name="T44" fmla="*/ 37 w 62"/>
              <a:gd name="T45" fmla="*/ 10 h 28"/>
              <a:gd name="T46" fmla="*/ 31 w 62"/>
              <a:gd name="T47" fmla="*/ 7 h 28"/>
              <a:gd name="T48" fmla="*/ 31 w 62"/>
              <a:gd name="T49" fmla="*/ 3 h 28"/>
              <a:gd name="T50" fmla="*/ 31 w 62"/>
              <a:gd name="T51" fmla="*/ 3 h 28"/>
              <a:gd name="T52" fmla="*/ 6 w 62"/>
              <a:gd name="T53" fmla="*/ 10 h 28"/>
              <a:gd name="T54" fmla="*/ 6 w 62"/>
              <a:gd name="T55" fmla="*/ 13 h 28"/>
              <a:gd name="T56" fmla="*/ 0 w 62"/>
              <a:gd name="T57" fmla="*/ 13 h 28"/>
              <a:gd name="T58" fmla="*/ 6 w 62"/>
              <a:gd name="T59"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2" h="28">
                <a:moveTo>
                  <a:pt x="56" y="22"/>
                </a:moveTo>
                <a:lnTo>
                  <a:pt x="62" y="25"/>
                </a:lnTo>
                <a:lnTo>
                  <a:pt x="59" y="28"/>
                </a:lnTo>
                <a:lnTo>
                  <a:pt x="56" y="25"/>
                </a:lnTo>
                <a:lnTo>
                  <a:pt x="56" y="22"/>
                </a:lnTo>
                <a:lnTo>
                  <a:pt x="56" y="22"/>
                </a:lnTo>
                <a:close/>
                <a:moveTo>
                  <a:pt x="59" y="10"/>
                </a:moveTo>
                <a:lnTo>
                  <a:pt x="56" y="13"/>
                </a:lnTo>
                <a:lnTo>
                  <a:pt x="59" y="16"/>
                </a:lnTo>
                <a:lnTo>
                  <a:pt x="62" y="13"/>
                </a:lnTo>
                <a:lnTo>
                  <a:pt x="59" y="10"/>
                </a:lnTo>
                <a:lnTo>
                  <a:pt x="59" y="10"/>
                </a:lnTo>
                <a:close/>
                <a:moveTo>
                  <a:pt x="40" y="16"/>
                </a:moveTo>
                <a:lnTo>
                  <a:pt x="37" y="19"/>
                </a:lnTo>
                <a:lnTo>
                  <a:pt x="40" y="22"/>
                </a:lnTo>
                <a:lnTo>
                  <a:pt x="43" y="22"/>
                </a:lnTo>
                <a:lnTo>
                  <a:pt x="40" y="16"/>
                </a:lnTo>
                <a:lnTo>
                  <a:pt x="40" y="16"/>
                </a:lnTo>
                <a:close/>
                <a:moveTo>
                  <a:pt x="31" y="3"/>
                </a:moveTo>
                <a:lnTo>
                  <a:pt x="34" y="0"/>
                </a:lnTo>
                <a:lnTo>
                  <a:pt x="40" y="0"/>
                </a:lnTo>
                <a:lnTo>
                  <a:pt x="37" y="7"/>
                </a:lnTo>
                <a:lnTo>
                  <a:pt x="37" y="10"/>
                </a:lnTo>
                <a:lnTo>
                  <a:pt x="31" y="7"/>
                </a:lnTo>
                <a:lnTo>
                  <a:pt x="31" y="3"/>
                </a:lnTo>
                <a:lnTo>
                  <a:pt x="31" y="3"/>
                </a:lnTo>
                <a:close/>
                <a:moveTo>
                  <a:pt x="6" y="10"/>
                </a:moveTo>
                <a:lnTo>
                  <a:pt x="6" y="13"/>
                </a:lnTo>
                <a:lnTo>
                  <a:pt x="0" y="13"/>
                </a:lnTo>
                <a:lnTo>
                  <a:pt x="6" y="10"/>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8" name="Freeform 166">
            <a:extLst>
              <a:ext uri="{FF2B5EF4-FFF2-40B4-BE49-F238E27FC236}">
                <a16:creationId xmlns:a16="http://schemas.microsoft.com/office/drawing/2014/main" id="{2A2FFDB4-C669-AB6B-DE0C-E275EFB27300}"/>
              </a:ext>
            </a:extLst>
          </p:cNvPr>
          <p:cNvSpPr>
            <a:spLocks noEditPoints="1"/>
          </p:cNvSpPr>
          <p:nvPr userDrawn="1"/>
        </p:nvSpPr>
        <p:spPr bwMode="auto">
          <a:xfrm>
            <a:off x="9041815" y="8193963"/>
            <a:ext cx="136517" cy="41278"/>
          </a:xfrm>
          <a:custGeom>
            <a:avLst/>
            <a:gdLst>
              <a:gd name="T0" fmla="*/ 34 w 43"/>
              <a:gd name="T1" fmla="*/ 13 h 13"/>
              <a:gd name="T2" fmla="*/ 37 w 43"/>
              <a:gd name="T3" fmla="*/ 10 h 13"/>
              <a:gd name="T4" fmla="*/ 43 w 43"/>
              <a:gd name="T5" fmla="*/ 10 h 13"/>
              <a:gd name="T6" fmla="*/ 40 w 43"/>
              <a:gd name="T7" fmla="*/ 10 h 13"/>
              <a:gd name="T8" fmla="*/ 34 w 43"/>
              <a:gd name="T9" fmla="*/ 13 h 13"/>
              <a:gd name="T10" fmla="*/ 34 w 43"/>
              <a:gd name="T11" fmla="*/ 13 h 13"/>
              <a:gd name="T12" fmla="*/ 31 w 43"/>
              <a:gd name="T13" fmla="*/ 0 h 13"/>
              <a:gd name="T14" fmla="*/ 28 w 43"/>
              <a:gd name="T15" fmla="*/ 0 h 13"/>
              <a:gd name="T16" fmla="*/ 22 w 43"/>
              <a:gd name="T17" fmla="*/ 0 h 13"/>
              <a:gd name="T18" fmla="*/ 6 w 43"/>
              <a:gd name="T19" fmla="*/ 0 h 13"/>
              <a:gd name="T20" fmla="*/ 6 w 43"/>
              <a:gd name="T21" fmla="*/ 3 h 13"/>
              <a:gd name="T22" fmla="*/ 0 w 43"/>
              <a:gd name="T23" fmla="*/ 3 h 13"/>
              <a:gd name="T24" fmla="*/ 3 w 43"/>
              <a:gd name="T25" fmla="*/ 6 h 13"/>
              <a:gd name="T26" fmla="*/ 0 w 43"/>
              <a:gd name="T27" fmla="*/ 10 h 13"/>
              <a:gd name="T28" fmla="*/ 3 w 43"/>
              <a:gd name="T29" fmla="*/ 13 h 13"/>
              <a:gd name="T30" fmla="*/ 12 w 43"/>
              <a:gd name="T31" fmla="*/ 13 h 13"/>
              <a:gd name="T32" fmla="*/ 15 w 43"/>
              <a:gd name="T33" fmla="*/ 13 h 13"/>
              <a:gd name="T34" fmla="*/ 22 w 43"/>
              <a:gd name="T35" fmla="*/ 13 h 13"/>
              <a:gd name="T36" fmla="*/ 25 w 43"/>
              <a:gd name="T37" fmla="*/ 13 h 13"/>
              <a:gd name="T38" fmla="*/ 31 w 43"/>
              <a:gd name="T39" fmla="*/ 10 h 13"/>
              <a:gd name="T40" fmla="*/ 34 w 43"/>
              <a:gd name="T41" fmla="*/ 6 h 13"/>
              <a:gd name="T42" fmla="*/ 31 w 43"/>
              <a:gd name="T43" fmla="*/ 3 h 13"/>
              <a:gd name="T44" fmla="*/ 31 w 43"/>
              <a:gd name="T4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 h="13">
                <a:moveTo>
                  <a:pt x="34" y="13"/>
                </a:moveTo>
                <a:lnTo>
                  <a:pt x="37" y="10"/>
                </a:lnTo>
                <a:lnTo>
                  <a:pt x="43" y="10"/>
                </a:lnTo>
                <a:lnTo>
                  <a:pt x="40" y="10"/>
                </a:lnTo>
                <a:lnTo>
                  <a:pt x="34" y="13"/>
                </a:lnTo>
                <a:lnTo>
                  <a:pt x="34" y="13"/>
                </a:lnTo>
                <a:close/>
                <a:moveTo>
                  <a:pt x="31" y="0"/>
                </a:moveTo>
                <a:lnTo>
                  <a:pt x="28" y="0"/>
                </a:lnTo>
                <a:lnTo>
                  <a:pt x="22" y="0"/>
                </a:lnTo>
                <a:lnTo>
                  <a:pt x="6" y="0"/>
                </a:lnTo>
                <a:lnTo>
                  <a:pt x="6" y="3"/>
                </a:lnTo>
                <a:lnTo>
                  <a:pt x="0" y="3"/>
                </a:lnTo>
                <a:lnTo>
                  <a:pt x="3" y="6"/>
                </a:lnTo>
                <a:lnTo>
                  <a:pt x="0" y="10"/>
                </a:lnTo>
                <a:lnTo>
                  <a:pt x="3" y="13"/>
                </a:lnTo>
                <a:lnTo>
                  <a:pt x="12" y="13"/>
                </a:lnTo>
                <a:lnTo>
                  <a:pt x="15" y="13"/>
                </a:lnTo>
                <a:lnTo>
                  <a:pt x="22" y="13"/>
                </a:lnTo>
                <a:lnTo>
                  <a:pt x="25" y="13"/>
                </a:lnTo>
                <a:lnTo>
                  <a:pt x="31" y="10"/>
                </a:lnTo>
                <a:lnTo>
                  <a:pt x="34" y="6"/>
                </a:lnTo>
                <a:lnTo>
                  <a:pt x="31" y="3"/>
                </a:lnTo>
                <a:lnTo>
                  <a:pt x="31" y="0"/>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9" name="Freeform 167">
            <a:extLst>
              <a:ext uri="{FF2B5EF4-FFF2-40B4-BE49-F238E27FC236}">
                <a16:creationId xmlns:a16="http://schemas.microsoft.com/office/drawing/2014/main" id="{37A4C95F-8893-8A0F-E96D-9C840062B54C}"/>
              </a:ext>
            </a:extLst>
          </p:cNvPr>
          <p:cNvSpPr>
            <a:spLocks noEditPoints="1"/>
          </p:cNvSpPr>
          <p:nvPr userDrawn="1"/>
        </p:nvSpPr>
        <p:spPr bwMode="auto">
          <a:xfrm>
            <a:off x="8752909" y="8095535"/>
            <a:ext cx="238111" cy="168278"/>
          </a:xfrm>
          <a:custGeom>
            <a:avLst/>
            <a:gdLst>
              <a:gd name="T0" fmla="*/ 69 w 75"/>
              <a:gd name="T1" fmla="*/ 37 h 53"/>
              <a:gd name="T2" fmla="*/ 69 w 75"/>
              <a:gd name="T3" fmla="*/ 41 h 53"/>
              <a:gd name="T4" fmla="*/ 66 w 75"/>
              <a:gd name="T5" fmla="*/ 37 h 53"/>
              <a:gd name="T6" fmla="*/ 66 w 75"/>
              <a:gd name="T7" fmla="*/ 37 h 53"/>
              <a:gd name="T8" fmla="*/ 6 w 75"/>
              <a:gd name="T9" fmla="*/ 9 h 53"/>
              <a:gd name="T10" fmla="*/ 6 w 75"/>
              <a:gd name="T11" fmla="*/ 16 h 53"/>
              <a:gd name="T12" fmla="*/ 3 w 75"/>
              <a:gd name="T13" fmla="*/ 22 h 53"/>
              <a:gd name="T14" fmla="*/ 3 w 75"/>
              <a:gd name="T15" fmla="*/ 25 h 53"/>
              <a:gd name="T16" fmla="*/ 3 w 75"/>
              <a:gd name="T17" fmla="*/ 31 h 53"/>
              <a:gd name="T18" fmla="*/ 0 w 75"/>
              <a:gd name="T19" fmla="*/ 41 h 53"/>
              <a:gd name="T20" fmla="*/ 3 w 75"/>
              <a:gd name="T21" fmla="*/ 44 h 53"/>
              <a:gd name="T22" fmla="*/ 6 w 75"/>
              <a:gd name="T23" fmla="*/ 47 h 53"/>
              <a:gd name="T24" fmla="*/ 9 w 75"/>
              <a:gd name="T25" fmla="*/ 53 h 53"/>
              <a:gd name="T26" fmla="*/ 16 w 75"/>
              <a:gd name="T27" fmla="*/ 41 h 53"/>
              <a:gd name="T28" fmla="*/ 19 w 75"/>
              <a:gd name="T29" fmla="*/ 34 h 53"/>
              <a:gd name="T30" fmla="*/ 22 w 75"/>
              <a:gd name="T31" fmla="*/ 37 h 53"/>
              <a:gd name="T32" fmla="*/ 28 w 75"/>
              <a:gd name="T33" fmla="*/ 34 h 53"/>
              <a:gd name="T34" fmla="*/ 31 w 75"/>
              <a:gd name="T35" fmla="*/ 41 h 53"/>
              <a:gd name="T36" fmla="*/ 41 w 75"/>
              <a:gd name="T37" fmla="*/ 34 h 53"/>
              <a:gd name="T38" fmla="*/ 53 w 75"/>
              <a:gd name="T39" fmla="*/ 34 h 53"/>
              <a:gd name="T40" fmla="*/ 59 w 75"/>
              <a:gd name="T41" fmla="*/ 34 h 53"/>
              <a:gd name="T42" fmla="*/ 69 w 75"/>
              <a:gd name="T43" fmla="*/ 34 h 53"/>
              <a:gd name="T44" fmla="*/ 72 w 75"/>
              <a:gd name="T45" fmla="*/ 31 h 53"/>
              <a:gd name="T46" fmla="*/ 72 w 75"/>
              <a:gd name="T47" fmla="*/ 25 h 53"/>
              <a:gd name="T48" fmla="*/ 63 w 75"/>
              <a:gd name="T49" fmla="*/ 22 h 53"/>
              <a:gd name="T50" fmla="*/ 53 w 75"/>
              <a:gd name="T51" fmla="*/ 22 h 53"/>
              <a:gd name="T52" fmla="*/ 44 w 75"/>
              <a:gd name="T53" fmla="*/ 16 h 53"/>
              <a:gd name="T54" fmla="*/ 41 w 75"/>
              <a:gd name="T55" fmla="*/ 12 h 53"/>
              <a:gd name="T56" fmla="*/ 56 w 75"/>
              <a:gd name="T57" fmla="*/ 16 h 53"/>
              <a:gd name="T58" fmla="*/ 56 w 75"/>
              <a:gd name="T59" fmla="*/ 12 h 53"/>
              <a:gd name="T60" fmla="*/ 47 w 75"/>
              <a:gd name="T61" fmla="*/ 12 h 53"/>
              <a:gd name="T62" fmla="*/ 41 w 75"/>
              <a:gd name="T63" fmla="*/ 6 h 53"/>
              <a:gd name="T64" fmla="*/ 38 w 75"/>
              <a:gd name="T65" fmla="*/ 6 h 53"/>
              <a:gd name="T66" fmla="*/ 19 w 75"/>
              <a:gd name="T67" fmla="*/ 3 h 53"/>
              <a:gd name="T68" fmla="*/ 9 w 75"/>
              <a:gd name="T69" fmla="*/ 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 h="53">
                <a:moveTo>
                  <a:pt x="66" y="37"/>
                </a:moveTo>
                <a:lnTo>
                  <a:pt x="69" y="37"/>
                </a:lnTo>
                <a:lnTo>
                  <a:pt x="72" y="41"/>
                </a:lnTo>
                <a:lnTo>
                  <a:pt x="69" y="41"/>
                </a:lnTo>
                <a:lnTo>
                  <a:pt x="66" y="41"/>
                </a:lnTo>
                <a:lnTo>
                  <a:pt x="66" y="37"/>
                </a:lnTo>
                <a:lnTo>
                  <a:pt x="66" y="37"/>
                </a:lnTo>
                <a:lnTo>
                  <a:pt x="66" y="37"/>
                </a:lnTo>
                <a:close/>
                <a:moveTo>
                  <a:pt x="6" y="6"/>
                </a:moveTo>
                <a:lnTo>
                  <a:pt x="6" y="9"/>
                </a:lnTo>
                <a:lnTo>
                  <a:pt x="6" y="12"/>
                </a:lnTo>
                <a:lnTo>
                  <a:pt x="6" y="16"/>
                </a:lnTo>
                <a:lnTo>
                  <a:pt x="6" y="19"/>
                </a:lnTo>
                <a:lnTo>
                  <a:pt x="3" y="22"/>
                </a:lnTo>
                <a:lnTo>
                  <a:pt x="3" y="22"/>
                </a:lnTo>
                <a:lnTo>
                  <a:pt x="3" y="25"/>
                </a:lnTo>
                <a:lnTo>
                  <a:pt x="3" y="28"/>
                </a:lnTo>
                <a:lnTo>
                  <a:pt x="3" y="31"/>
                </a:lnTo>
                <a:lnTo>
                  <a:pt x="0" y="37"/>
                </a:lnTo>
                <a:lnTo>
                  <a:pt x="0" y="41"/>
                </a:lnTo>
                <a:lnTo>
                  <a:pt x="0" y="41"/>
                </a:lnTo>
                <a:lnTo>
                  <a:pt x="3" y="44"/>
                </a:lnTo>
                <a:lnTo>
                  <a:pt x="3" y="47"/>
                </a:lnTo>
                <a:lnTo>
                  <a:pt x="6" y="47"/>
                </a:lnTo>
                <a:lnTo>
                  <a:pt x="6" y="50"/>
                </a:lnTo>
                <a:lnTo>
                  <a:pt x="9" y="53"/>
                </a:lnTo>
                <a:lnTo>
                  <a:pt x="13" y="47"/>
                </a:lnTo>
                <a:lnTo>
                  <a:pt x="16" y="41"/>
                </a:lnTo>
                <a:lnTo>
                  <a:pt x="16" y="37"/>
                </a:lnTo>
                <a:lnTo>
                  <a:pt x="19" y="34"/>
                </a:lnTo>
                <a:lnTo>
                  <a:pt x="19" y="37"/>
                </a:lnTo>
                <a:lnTo>
                  <a:pt x="22" y="37"/>
                </a:lnTo>
                <a:lnTo>
                  <a:pt x="25" y="31"/>
                </a:lnTo>
                <a:lnTo>
                  <a:pt x="28" y="34"/>
                </a:lnTo>
                <a:lnTo>
                  <a:pt x="28" y="37"/>
                </a:lnTo>
                <a:lnTo>
                  <a:pt x="31" y="41"/>
                </a:lnTo>
                <a:lnTo>
                  <a:pt x="34" y="37"/>
                </a:lnTo>
                <a:lnTo>
                  <a:pt x="41" y="34"/>
                </a:lnTo>
                <a:lnTo>
                  <a:pt x="47" y="31"/>
                </a:lnTo>
                <a:lnTo>
                  <a:pt x="53" y="34"/>
                </a:lnTo>
                <a:lnTo>
                  <a:pt x="56" y="31"/>
                </a:lnTo>
                <a:lnTo>
                  <a:pt x="59" y="34"/>
                </a:lnTo>
                <a:lnTo>
                  <a:pt x="63" y="34"/>
                </a:lnTo>
                <a:lnTo>
                  <a:pt x="69" y="34"/>
                </a:lnTo>
                <a:lnTo>
                  <a:pt x="69" y="31"/>
                </a:lnTo>
                <a:lnTo>
                  <a:pt x="72" y="31"/>
                </a:lnTo>
                <a:lnTo>
                  <a:pt x="75" y="28"/>
                </a:lnTo>
                <a:lnTo>
                  <a:pt x="72" y="25"/>
                </a:lnTo>
                <a:lnTo>
                  <a:pt x="66" y="22"/>
                </a:lnTo>
                <a:lnTo>
                  <a:pt x="63" y="22"/>
                </a:lnTo>
                <a:lnTo>
                  <a:pt x="56" y="19"/>
                </a:lnTo>
                <a:lnTo>
                  <a:pt x="53" y="22"/>
                </a:lnTo>
                <a:lnTo>
                  <a:pt x="50" y="19"/>
                </a:lnTo>
                <a:lnTo>
                  <a:pt x="44" y="16"/>
                </a:lnTo>
                <a:lnTo>
                  <a:pt x="41" y="16"/>
                </a:lnTo>
                <a:lnTo>
                  <a:pt x="41" y="12"/>
                </a:lnTo>
                <a:lnTo>
                  <a:pt x="47" y="16"/>
                </a:lnTo>
                <a:lnTo>
                  <a:pt x="56" y="16"/>
                </a:lnTo>
                <a:lnTo>
                  <a:pt x="59" y="16"/>
                </a:lnTo>
                <a:lnTo>
                  <a:pt x="56" y="12"/>
                </a:lnTo>
                <a:lnTo>
                  <a:pt x="53" y="12"/>
                </a:lnTo>
                <a:lnTo>
                  <a:pt x="47" y="12"/>
                </a:lnTo>
                <a:lnTo>
                  <a:pt x="44" y="6"/>
                </a:lnTo>
                <a:lnTo>
                  <a:pt x="41" y="6"/>
                </a:lnTo>
                <a:lnTo>
                  <a:pt x="41" y="6"/>
                </a:lnTo>
                <a:lnTo>
                  <a:pt x="38" y="6"/>
                </a:lnTo>
                <a:lnTo>
                  <a:pt x="22" y="0"/>
                </a:lnTo>
                <a:lnTo>
                  <a:pt x="19" y="3"/>
                </a:lnTo>
                <a:lnTo>
                  <a:pt x="16" y="0"/>
                </a:lnTo>
                <a:lnTo>
                  <a:pt x="9" y="3"/>
                </a:lnTo>
                <a:lnTo>
                  <a:pt x="6" y="6"/>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0" name="Freeform 168">
            <a:extLst>
              <a:ext uri="{FF2B5EF4-FFF2-40B4-BE49-F238E27FC236}">
                <a16:creationId xmlns:a16="http://schemas.microsoft.com/office/drawing/2014/main" id="{78976E8C-1A2E-1396-7CAD-6D09C335D10D}"/>
              </a:ext>
            </a:extLst>
          </p:cNvPr>
          <p:cNvSpPr>
            <a:spLocks noEditPoints="1"/>
          </p:cNvSpPr>
          <p:nvPr userDrawn="1"/>
        </p:nvSpPr>
        <p:spPr bwMode="auto">
          <a:xfrm>
            <a:off x="10064094" y="1628065"/>
            <a:ext cx="2638254" cy="3387726"/>
          </a:xfrm>
          <a:custGeom>
            <a:avLst/>
            <a:gdLst>
              <a:gd name="T0" fmla="*/ 67 w 266"/>
              <a:gd name="T1" fmla="*/ 327 h 341"/>
              <a:gd name="T2" fmla="*/ 52 w 266"/>
              <a:gd name="T3" fmla="*/ 314 h 341"/>
              <a:gd name="T4" fmla="*/ 45 w 266"/>
              <a:gd name="T5" fmla="*/ 297 h 341"/>
              <a:gd name="T6" fmla="*/ 42 w 266"/>
              <a:gd name="T7" fmla="*/ 289 h 341"/>
              <a:gd name="T8" fmla="*/ 47 w 266"/>
              <a:gd name="T9" fmla="*/ 270 h 341"/>
              <a:gd name="T10" fmla="*/ 44 w 266"/>
              <a:gd name="T11" fmla="*/ 261 h 341"/>
              <a:gd name="T12" fmla="*/ 55 w 266"/>
              <a:gd name="T13" fmla="*/ 251 h 341"/>
              <a:gd name="T14" fmla="*/ 58 w 266"/>
              <a:gd name="T15" fmla="*/ 248 h 341"/>
              <a:gd name="T16" fmla="*/ 62 w 266"/>
              <a:gd name="T17" fmla="*/ 233 h 341"/>
              <a:gd name="T18" fmla="*/ 64 w 266"/>
              <a:gd name="T19" fmla="*/ 220 h 341"/>
              <a:gd name="T20" fmla="*/ 63 w 266"/>
              <a:gd name="T21" fmla="*/ 202 h 341"/>
              <a:gd name="T22" fmla="*/ 48 w 266"/>
              <a:gd name="T23" fmla="*/ 198 h 341"/>
              <a:gd name="T24" fmla="*/ 54 w 266"/>
              <a:gd name="T25" fmla="*/ 169 h 341"/>
              <a:gd name="T26" fmla="*/ 42 w 266"/>
              <a:gd name="T27" fmla="*/ 132 h 341"/>
              <a:gd name="T28" fmla="*/ 9 w 266"/>
              <a:gd name="T29" fmla="*/ 116 h 341"/>
              <a:gd name="T30" fmla="*/ 27 w 266"/>
              <a:gd name="T31" fmla="*/ 100 h 341"/>
              <a:gd name="T32" fmla="*/ 10 w 266"/>
              <a:gd name="T33" fmla="*/ 78 h 341"/>
              <a:gd name="T34" fmla="*/ 53 w 266"/>
              <a:gd name="T35" fmla="*/ 58 h 341"/>
              <a:gd name="T36" fmla="*/ 69 w 266"/>
              <a:gd name="T37" fmla="*/ 39 h 341"/>
              <a:gd name="T38" fmla="*/ 104 w 266"/>
              <a:gd name="T39" fmla="*/ 20 h 341"/>
              <a:gd name="T40" fmla="*/ 122 w 266"/>
              <a:gd name="T41" fmla="*/ 36 h 341"/>
              <a:gd name="T42" fmla="*/ 143 w 266"/>
              <a:gd name="T43" fmla="*/ 36 h 341"/>
              <a:gd name="T44" fmla="*/ 152 w 266"/>
              <a:gd name="T45" fmla="*/ 14 h 341"/>
              <a:gd name="T46" fmla="*/ 179 w 266"/>
              <a:gd name="T47" fmla="*/ 2 h 341"/>
              <a:gd name="T48" fmla="*/ 197 w 266"/>
              <a:gd name="T49" fmla="*/ 13 h 341"/>
              <a:gd name="T50" fmla="*/ 210 w 266"/>
              <a:gd name="T51" fmla="*/ 17 h 341"/>
              <a:gd name="T52" fmla="*/ 235 w 266"/>
              <a:gd name="T53" fmla="*/ 35 h 341"/>
              <a:gd name="T54" fmla="*/ 184 w 266"/>
              <a:gd name="T55" fmla="*/ 44 h 341"/>
              <a:gd name="T56" fmla="*/ 223 w 266"/>
              <a:gd name="T57" fmla="*/ 47 h 341"/>
              <a:gd name="T58" fmla="*/ 232 w 266"/>
              <a:gd name="T59" fmla="*/ 59 h 341"/>
              <a:gd name="T60" fmla="*/ 256 w 266"/>
              <a:gd name="T61" fmla="*/ 66 h 341"/>
              <a:gd name="T62" fmla="*/ 232 w 266"/>
              <a:gd name="T63" fmla="*/ 80 h 341"/>
              <a:gd name="T64" fmla="*/ 222 w 266"/>
              <a:gd name="T65" fmla="*/ 121 h 341"/>
              <a:gd name="T66" fmla="*/ 221 w 266"/>
              <a:gd name="T67" fmla="*/ 138 h 341"/>
              <a:gd name="T68" fmla="*/ 222 w 266"/>
              <a:gd name="T69" fmla="*/ 154 h 341"/>
              <a:gd name="T70" fmla="*/ 216 w 266"/>
              <a:gd name="T71" fmla="*/ 166 h 341"/>
              <a:gd name="T72" fmla="*/ 215 w 266"/>
              <a:gd name="T73" fmla="*/ 183 h 341"/>
              <a:gd name="T74" fmla="*/ 196 w 266"/>
              <a:gd name="T75" fmla="*/ 186 h 341"/>
              <a:gd name="T76" fmla="*/ 187 w 266"/>
              <a:gd name="T77" fmla="*/ 196 h 341"/>
              <a:gd name="T78" fmla="*/ 207 w 266"/>
              <a:gd name="T79" fmla="*/ 213 h 341"/>
              <a:gd name="T80" fmla="*/ 195 w 266"/>
              <a:gd name="T81" fmla="*/ 223 h 341"/>
              <a:gd name="T82" fmla="*/ 178 w 266"/>
              <a:gd name="T83" fmla="*/ 221 h 341"/>
              <a:gd name="T84" fmla="*/ 191 w 266"/>
              <a:gd name="T85" fmla="*/ 230 h 341"/>
              <a:gd name="T86" fmla="*/ 180 w 266"/>
              <a:gd name="T87" fmla="*/ 249 h 341"/>
              <a:gd name="T88" fmla="*/ 151 w 266"/>
              <a:gd name="T89" fmla="*/ 253 h 341"/>
              <a:gd name="T90" fmla="*/ 126 w 266"/>
              <a:gd name="T91" fmla="*/ 278 h 341"/>
              <a:gd name="T92" fmla="*/ 106 w 266"/>
              <a:gd name="T93" fmla="*/ 283 h 341"/>
              <a:gd name="T94" fmla="*/ 93 w 266"/>
              <a:gd name="T95" fmla="*/ 302 h 341"/>
              <a:gd name="T96" fmla="*/ 88 w 266"/>
              <a:gd name="T97" fmla="*/ 318 h 341"/>
              <a:gd name="T98" fmla="*/ 77 w 266"/>
              <a:gd name="T99" fmla="*/ 332 h 341"/>
              <a:gd name="T100" fmla="*/ 89 w 266"/>
              <a:gd name="T101" fmla="*/ 312 h 341"/>
              <a:gd name="T102" fmla="*/ 198 w 266"/>
              <a:gd name="T103" fmla="*/ 239 h 341"/>
              <a:gd name="T104" fmla="*/ 201 w 266"/>
              <a:gd name="T105" fmla="*/ 197 h 341"/>
              <a:gd name="T106" fmla="*/ 213 w 266"/>
              <a:gd name="T107" fmla="*/ 175 h 341"/>
              <a:gd name="T108" fmla="*/ 219 w 266"/>
              <a:gd name="T109" fmla="*/ 147 h 341"/>
              <a:gd name="T110" fmla="*/ 246 w 266"/>
              <a:gd name="T111" fmla="*/ 45 h 341"/>
              <a:gd name="T112" fmla="*/ 151 w 266"/>
              <a:gd name="T113" fmla="*/ 13 h 341"/>
              <a:gd name="T114" fmla="*/ 120 w 266"/>
              <a:gd name="T115" fmla="*/ 26 h 341"/>
              <a:gd name="T116" fmla="*/ 50 w 266"/>
              <a:gd name="T117" fmla="*/ 158 h 341"/>
              <a:gd name="T118" fmla="*/ 50 w 266"/>
              <a:gd name="T119" fmla="*/ 185 h 341"/>
              <a:gd name="T120" fmla="*/ 54 w 266"/>
              <a:gd name="T121" fmla="*/ 330 h 341"/>
              <a:gd name="T122" fmla="*/ 49 w 266"/>
              <a:gd name="T123" fmla="*/ 241 h 341"/>
              <a:gd name="T124" fmla="*/ 62 w 266"/>
              <a:gd name="T125" fmla="*/ 226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6" h="341">
                <a:moveTo>
                  <a:pt x="79" y="338"/>
                </a:moveTo>
                <a:cubicBezTo>
                  <a:pt x="76" y="336"/>
                  <a:pt x="76" y="336"/>
                  <a:pt x="76" y="336"/>
                </a:cubicBezTo>
                <a:cubicBezTo>
                  <a:pt x="75" y="336"/>
                  <a:pt x="75" y="336"/>
                  <a:pt x="75" y="336"/>
                </a:cubicBezTo>
                <a:cubicBezTo>
                  <a:pt x="75" y="336"/>
                  <a:pt x="75" y="336"/>
                  <a:pt x="75" y="336"/>
                </a:cubicBezTo>
                <a:cubicBezTo>
                  <a:pt x="75" y="335"/>
                  <a:pt x="75" y="335"/>
                  <a:pt x="75" y="335"/>
                </a:cubicBezTo>
                <a:cubicBezTo>
                  <a:pt x="75" y="335"/>
                  <a:pt x="75" y="335"/>
                  <a:pt x="75" y="335"/>
                </a:cubicBezTo>
                <a:cubicBezTo>
                  <a:pt x="75" y="334"/>
                  <a:pt x="75" y="334"/>
                  <a:pt x="75" y="334"/>
                </a:cubicBezTo>
                <a:cubicBezTo>
                  <a:pt x="75" y="334"/>
                  <a:pt x="75" y="334"/>
                  <a:pt x="75" y="334"/>
                </a:cubicBezTo>
                <a:cubicBezTo>
                  <a:pt x="74" y="335"/>
                  <a:pt x="74" y="335"/>
                  <a:pt x="74" y="335"/>
                </a:cubicBezTo>
                <a:cubicBezTo>
                  <a:pt x="74" y="335"/>
                  <a:pt x="74" y="335"/>
                  <a:pt x="74" y="335"/>
                </a:cubicBezTo>
                <a:cubicBezTo>
                  <a:pt x="74" y="336"/>
                  <a:pt x="74" y="336"/>
                  <a:pt x="74" y="336"/>
                </a:cubicBezTo>
                <a:cubicBezTo>
                  <a:pt x="73" y="336"/>
                  <a:pt x="73" y="336"/>
                  <a:pt x="73" y="336"/>
                </a:cubicBezTo>
                <a:cubicBezTo>
                  <a:pt x="72" y="336"/>
                  <a:pt x="72" y="336"/>
                  <a:pt x="72" y="336"/>
                </a:cubicBezTo>
                <a:cubicBezTo>
                  <a:pt x="72" y="337"/>
                  <a:pt x="72" y="337"/>
                  <a:pt x="72" y="337"/>
                </a:cubicBezTo>
                <a:cubicBezTo>
                  <a:pt x="72" y="338"/>
                  <a:pt x="72" y="338"/>
                  <a:pt x="72" y="338"/>
                </a:cubicBezTo>
                <a:cubicBezTo>
                  <a:pt x="72" y="338"/>
                  <a:pt x="72" y="338"/>
                  <a:pt x="72" y="338"/>
                </a:cubicBezTo>
                <a:cubicBezTo>
                  <a:pt x="71" y="338"/>
                  <a:pt x="71" y="338"/>
                  <a:pt x="71" y="338"/>
                </a:cubicBezTo>
                <a:cubicBezTo>
                  <a:pt x="71" y="337"/>
                  <a:pt x="71" y="337"/>
                  <a:pt x="71" y="337"/>
                </a:cubicBezTo>
                <a:cubicBezTo>
                  <a:pt x="72" y="336"/>
                  <a:pt x="72" y="336"/>
                  <a:pt x="72" y="336"/>
                </a:cubicBezTo>
                <a:cubicBezTo>
                  <a:pt x="72" y="335"/>
                  <a:pt x="72" y="335"/>
                  <a:pt x="72" y="335"/>
                </a:cubicBezTo>
                <a:cubicBezTo>
                  <a:pt x="73" y="333"/>
                  <a:pt x="73" y="333"/>
                  <a:pt x="73" y="333"/>
                </a:cubicBezTo>
                <a:cubicBezTo>
                  <a:pt x="73" y="333"/>
                  <a:pt x="73" y="333"/>
                  <a:pt x="73" y="333"/>
                </a:cubicBezTo>
                <a:cubicBezTo>
                  <a:pt x="72" y="334"/>
                  <a:pt x="72" y="334"/>
                  <a:pt x="72" y="334"/>
                </a:cubicBezTo>
                <a:cubicBezTo>
                  <a:pt x="71" y="336"/>
                  <a:pt x="71" y="336"/>
                  <a:pt x="71" y="336"/>
                </a:cubicBezTo>
                <a:cubicBezTo>
                  <a:pt x="70" y="337"/>
                  <a:pt x="70" y="337"/>
                  <a:pt x="70" y="337"/>
                </a:cubicBezTo>
                <a:cubicBezTo>
                  <a:pt x="69" y="336"/>
                  <a:pt x="69" y="336"/>
                  <a:pt x="69" y="336"/>
                </a:cubicBezTo>
                <a:cubicBezTo>
                  <a:pt x="70" y="336"/>
                  <a:pt x="70" y="336"/>
                  <a:pt x="70" y="336"/>
                </a:cubicBezTo>
                <a:cubicBezTo>
                  <a:pt x="71" y="335"/>
                  <a:pt x="71" y="335"/>
                  <a:pt x="71" y="335"/>
                </a:cubicBezTo>
                <a:cubicBezTo>
                  <a:pt x="71" y="333"/>
                  <a:pt x="71" y="333"/>
                  <a:pt x="71" y="333"/>
                </a:cubicBezTo>
                <a:cubicBezTo>
                  <a:pt x="72" y="332"/>
                  <a:pt x="72" y="332"/>
                  <a:pt x="72" y="332"/>
                </a:cubicBezTo>
                <a:cubicBezTo>
                  <a:pt x="71" y="332"/>
                  <a:pt x="71" y="332"/>
                  <a:pt x="71" y="332"/>
                </a:cubicBezTo>
                <a:cubicBezTo>
                  <a:pt x="70" y="332"/>
                  <a:pt x="70" y="332"/>
                  <a:pt x="70" y="332"/>
                </a:cubicBezTo>
                <a:cubicBezTo>
                  <a:pt x="70" y="333"/>
                  <a:pt x="70" y="333"/>
                  <a:pt x="70" y="333"/>
                </a:cubicBezTo>
                <a:cubicBezTo>
                  <a:pt x="69" y="334"/>
                  <a:pt x="69" y="334"/>
                  <a:pt x="69" y="334"/>
                </a:cubicBezTo>
                <a:cubicBezTo>
                  <a:pt x="69" y="333"/>
                  <a:pt x="69" y="333"/>
                  <a:pt x="69" y="333"/>
                </a:cubicBezTo>
                <a:cubicBezTo>
                  <a:pt x="69" y="332"/>
                  <a:pt x="69" y="332"/>
                  <a:pt x="69" y="332"/>
                </a:cubicBezTo>
                <a:cubicBezTo>
                  <a:pt x="70" y="332"/>
                  <a:pt x="70" y="332"/>
                  <a:pt x="70" y="332"/>
                </a:cubicBezTo>
                <a:cubicBezTo>
                  <a:pt x="70" y="331"/>
                  <a:pt x="70" y="331"/>
                  <a:pt x="70" y="331"/>
                </a:cubicBezTo>
                <a:cubicBezTo>
                  <a:pt x="69" y="331"/>
                  <a:pt x="69" y="331"/>
                  <a:pt x="69" y="331"/>
                </a:cubicBezTo>
                <a:cubicBezTo>
                  <a:pt x="69" y="332"/>
                  <a:pt x="69" y="332"/>
                  <a:pt x="69" y="332"/>
                </a:cubicBezTo>
                <a:cubicBezTo>
                  <a:pt x="68" y="333"/>
                  <a:pt x="68" y="333"/>
                  <a:pt x="68" y="333"/>
                </a:cubicBezTo>
                <a:cubicBezTo>
                  <a:pt x="68" y="333"/>
                  <a:pt x="68" y="333"/>
                  <a:pt x="68" y="333"/>
                </a:cubicBezTo>
                <a:cubicBezTo>
                  <a:pt x="67" y="332"/>
                  <a:pt x="67" y="332"/>
                  <a:pt x="67" y="332"/>
                </a:cubicBezTo>
                <a:cubicBezTo>
                  <a:pt x="67" y="332"/>
                  <a:pt x="67" y="332"/>
                  <a:pt x="67" y="332"/>
                </a:cubicBezTo>
                <a:cubicBezTo>
                  <a:pt x="67" y="332"/>
                  <a:pt x="67" y="332"/>
                  <a:pt x="67" y="332"/>
                </a:cubicBezTo>
                <a:cubicBezTo>
                  <a:pt x="66" y="332"/>
                  <a:pt x="66" y="332"/>
                  <a:pt x="66" y="332"/>
                </a:cubicBezTo>
                <a:cubicBezTo>
                  <a:pt x="66" y="332"/>
                  <a:pt x="66" y="332"/>
                  <a:pt x="66" y="332"/>
                </a:cubicBezTo>
                <a:cubicBezTo>
                  <a:pt x="66" y="332"/>
                  <a:pt x="66" y="332"/>
                  <a:pt x="66" y="332"/>
                </a:cubicBezTo>
                <a:cubicBezTo>
                  <a:pt x="68" y="331"/>
                  <a:pt x="68" y="331"/>
                  <a:pt x="68" y="331"/>
                </a:cubicBezTo>
                <a:cubicBezTo>
                  <a:pt x="68" y="330"/>
                  <a:pt x="68" y="330"/>
                  <a:pt x="68" y="330"/>
                </a:cubicBezTo>
                <a:cubicBezTo>
                  <a:pt x="69" y="329"/>
                  <a:pt x="69" y="329"/>
                  <a:pt x="69" y="329"/>
                </a:cubicBezTo>
                <a:cubicBezTo>
                  <a:pt x="70" y="328"/>
                  <a:pt x="70" y="328"/>
                  <a:pt x="70" y="328"/>
                </a:cubicBezTo>
                <a:cubicBezTo>
                  <a:pt x="70" y="328"/>
                  <a:pt x="70" y="328"/>
                  <a:pt x="70" y="328"/>
                </a:cubicBezTo>
                <a:cubicBezTo>
                  <a:pt x="68" y="329"/>
                  <a:pt x="68" y="329"/>
                  <a:pt x="68" y="329"/>
                </a:cubicBezTo>
                <a:cubicBezTo>
                  <a:pt x="67" y="329"/>
                  <a:pt x="67" y="329"/>
                  <a:pt x="67" y="329"/>
                </a:cubicBezTo>
                <a:cubicBezTo>
                  <a:pt x="67" y="329"/>
                  <a:pt x="67" y="329"/>
                  <a:pt x="67" y="329"/>
                </a:cubicBezTo>
                <a:cubicBezTo>
                  <a:pt x="67" y="329"/>
                  <a:pt x="67" y="329"/>
                  <a:pt x="67" y="329"/>
                </a:cubicBezTo>
                <a:cubicBezTo>
                  <a:pt x="68" y="329"/>
                  <a:pt x="68" y="329"/>
                  <a:pt x="68" y="329"/>
                </a:cubicBezTo>
                <a:cubicBezTo>
                  <a:pt x="69" y="328"/>
                  <a:pt x="69" y="328"/>
                  <a:pt x="69" y="328"/>
                </a:cubicBezTo>
                <a:cubicBezTo>
                  <a:pt x="70" y="327"/>
                  <a:pt x="70" y="327"/>
                  <a:pt x="70" y="327"/>
                </a:cubicBezTo>
                <a:cubicBezTo>
                  <a:pt x="71" y="327"/>
                  <a:pt x="71" y="327"/>
                  <a:pt x="71" y="327"/>
                </a:cubicBezTo>
                <a:cubicBezTo>
                  <a:pt x="71" y="326"/>
                  <a:pt x="71" y="326"/>
                  <a:pt x="71" y="326"/>
                </a:cubicBezTo>
                <a:cubicBezTo>
                  <a:pt x="71" y="325"/>
                  <a:pt x="71" y="325"/>
                  <a:pt x="71" y="325"/>
                </a:cubicBezTo>
                <a:cubicBezTo>
                  <a:pt x="70" y="325"/>
                  <a:pt x="70" y="325"/>
                  <a:pt x="70" y="325"/>
                </a:cubicBezTo>
                <a:cubicBezTo>
                  <a:pt x="69" y="327"/>
                  <a:pt x="69" y="327"/>
                  <a:pt x="69" y="327"/>
                </a:cubicBezTo>
                <a:cubicBezTo>
                  <a:pt x="67" y="328"/>
                  <a:pt x="67" y="328"/>
                  <a:pt x="67" y="328"/>
                </a:cubicBezTo>
                <a:cubicBezTo>
                  <a:pt x="66" y="328"/>
                  <a:pt x="66" y="328"/>
                  <a:pt x="66" y="328"/>
                </a:cubicBezTo>
                <a:cubicBezTo>
                  <a:pt x="66" y="328"/>
                  <a:pt x="66" y="328"/>
                  <a:pt x="66" y="328"/>
                </a:cubicBezTo>
                <a:cubicBezTo>
                  <a:pt x="66" y="327"/>
                  <a:pt x="66" y="327"/>
                  <a:pt x="66" y="327"/>
                </a:cubicBezTo>
                <a:cubicBezTo>
                  <a:pt x="67" y="327"/>
                  <a:pt x="67" y="327"/>
                  <a:pt x="67" y="327"/>
                </a:cubicBezTo>
                <a:cubicBezTo>
                  <a:pt x="68" y="326"/>
                  <a:pt x="68" y="326"/>
                  <a:pt x="68" y="326"/>
                </a:cubicBezTo>
                <a:cubicBezTo>
                  <a:pt x="68" y="325"/>
                  <a:pt x="68" y="325"/>
                  <a:pt x="68" y="325"/>
                </a:cubicBezTo>
                <a:cubicBezTo>
                  <a:pt x="67" y="324"/>
                  <a:pt x="67" y="324"/>
                  <a:pt x="67" y="324"/>
                </a:cubicBezTo>
                <a:cubicBezTo>
                  <a:pt x="67" y="324"/>
                  <a:pt x="67" y="324"/>
                  <a:pt x="67" y="324"/>
                </a:cubicBezTo>
                <a:cubicBezTo>
                  <a:pt x="66" y="324"/>
                  <a:pt x="66" y="324"/>
                  <a:pt x="66" y="324"/>
                </a:cubicBezTo>
                <a:cubicBezTo>
                  <a:pt x="66" y="325"/>
                  <a:pt x="66" y="325"/>
                  <a:pt x="66" y="325"/>
                </a:cubicBezTo>
                <a:cubicBezTo>
                  <a:pt x="67" y="325"/>
                  <a:pt x="67" y="325"/>
                  <a:pt x="67" y="325"/>
                </a:cubicBezTo>
                <a:cubicBezTo>
                  <a:pt x="67" y="326"/>
                  <a:pt x="67" y="326"/>
                  <a:pt x="67" y="326"/>
                </a:cubicBezTo>
                <a:cubicBezTo>
                  <a:pt x="66" y="326"/>
                  <a:pt x="66" y="326"/>
                  <a:pt x="66" y="326"/>
                </a:cubicBezTo>
                <a:cubicBezTo>
                  <a:pt x="65" y="326"/>
                  <a:pt x="65" y="326"/>
                  <a:pt x="65" y="326"/>
                </a:cubicBezTo>
                <a:cubicBezTo>
                  <a:pt x="64" y="326"/>
                  <a:pt x="64" y="326"/>
                  <a:pt x="64" y="326"/>
                </a:cubicBezTo>
                <a:cubicBezTo>
                  <a:pt x="64" y="326"/>
                  <a:pt x="64" y="326"/>
                  <a:pt x="64" y="326"/>
                </a:cubicBezTo>
                <a:cubicBezTo>
                  <a:pt x="63" y="327"/>
                  <a:pt x="63" y="327"/>
                  <a:pt x="63" y="327"/>
                </a:cubicBezTo>
                <a:cubicBezTo>
                  <a:pt x="62" y="328"/>
                  <a:pt x="62" y="328"/>
                  <a:pt x="62" y="328"/>
                </a:cubicBezTo>
                <a:cubicBezTo>
                  <a:pt x="62" y="328"/>
                  <a:pt x="62" y="328"/>
                  <a:pt x="62" y="328"/>
                </a:cubicBezTo>
                <a:cubicBezTo>
                  <a:pt x="61" y="328"/>
                  <a:pt x="61" y="328"/>
                  <a:pt x="61" y="328"/>
                </a:cubicBezTo>
                <a:cubicBezTo>
                  <a:pt x="61" y="327"/>
                  <a:pt x="61" y="327"/>
                  <a:pt x="61" y="327"/>
                </a:cubicBezTo>
                <a:cubicBezTo>
                  <a:pt x="60" y="327"/>
                  <a:pt x="60" y="327"/>
                  <a:pt x="60" y="327"/>
                </a:cubicBezTo>
                <a:cubicBezTo>
                  <a:pt x="59" y="328"/>
                  <a:pt x="59" y="328"/>
                  <a:pt x="59" y="328"/>
                </a:cubicBezTo>
                <a:cubicBezTo>
                  <a:pt x="58" y="328"/>
                  <a:pt x="58" y="328"/>
                  <a:pt x="58" y="328"/>
                </a:cubicBezTo>
                <a:cubicBezTo>
                  <a:pt x="58" y="328"/>
                  <a:pt x="58" y="328"/>
                  <a:pt x="58" y="328"/>
                </a:cubicBezTo>
                <a:cubicBezTo>
                  <a:pt x="58" y="328"/>
                  <a:pt x="58" y="328"/>
                  <a:pt x="58" y="328"/>
                </a:cubicBezTo>
                <a:cubicBezTo>
                  <a:pt x="58" y="329"/>
                  <a:pt x="58" y="329"/>
                  <a:pt x="58" y="329"/>
                </a:cubicBezTo>
                <a:cubicBezTo>
                  <a:pt x="57" y="329"/>
                  <a:pt x="57" y="329"/>
                  <a:pt x="57" y="329"/>
                </a:cubicBezTo>
                <a:cubicBezTo>
                  <a:pt x="56" y="329"/>
                  <a:pt x="56" y="329"/>
                  <a:pt x="56" y="329"/>
                </a:cubicBezTo>
                <a:cubicBezTo>
                  <a:pt x="55" y="328"/>
                  <a:pt x="55" y="328"/>
                  <a:pt x="55" y="328"/>
                </a:cubicBezTo>
                <a:cubicBezTo>
                  <a:pt x="56" y="327"/>
                  <a:pt x="56" y="327"/>
                  <a:pt x="56" y="327"/>
                </a:cubicBezTo>
                <a:cubicBezTo>
                  <a:pt x="57" y="327"/>
                  <a:pt x="57" y="327"/>
                  <a:pt x="57" y="327"/>
                </a:cubicBezTo>
                <a:cubicBezTo>
                  <a:pt x="58" y="327"/>
                  <a:pt x="58" y="327"/>
                  <a:pt x="58" y="327"/>
                </a:cubicBezTo>
                <a:cubicBezTo>
                  <a:pt x="57" y="326"/>
                  <a:pt x="57" y="326"/>
                  <a:pt x="57" y="326"/>
                </a:cubicBezTo>
                <a:cubicBezTo>
                  <a:pt x="56" y="326"/>
                  <a:pt x="56" y="326"/>
                  <a:pt x="56" y="326"/>
                </a:cubicBezTo>
                <a:cubicBezTo>
                  <a:pt x="56" y="325"/>
                  <a:pt x="56" y="325"/>
                  <a:pt x="56" y="325"/>
                </a:cubicBezTo>
                <a:cubicBezTo>
                  <a:pt x="56" y="324"/>
                  <a:pt x="56" y="324"/>
                  <a:pt x="56" y="324"/>
                </a:cubicBezTo>
                <a:cubicBezTo>
                  <a:pt x="55" y="323"/>
                  <a:pt x="55" y="323"/>
                  <a:pt x="55" y="323"/>
                </a:cubicBezTo>
                <a:cubicBezTo>
                  <a:pt x="55" y="324"/>
                  <a:pt x="55" y="324"/>
                  <a:pt x="55" y="324"/>
                </a:cubicBezTo>
                <a:cubicBezTo>
                  <a:pt x="53" y="325"/>
                  <a:pt x="53" y="325"/>
                  <a:pt x="53" y="325"/>
                </a:cubicBezTo>
                <a:cubicBezTo>
                  <a:pt x="52" y="325"/>
                  <a:pt x="52" y="325"/>
                  <a:pt x="52" y="325"/>
                </a:cubicBezTo>
                <a:cubicBezTo>
                  <a:pt x="52" y="324"/>
                  <a:pt x="52" y="324"/>
                  <a:pt x="52" y="324"/>
                </a:cubicBezTo>
                <a:cubicBezTo>
                  <a:pt x="53" y="323"/>
                  <a:pt x="53" y="323"/>
                  <a:pt x="53" y="323"/>
                </a:cubicBezTo>
                <a:cubicBezTo>
                  <a:pt x="52" y="322"/>
                  <a:pt x="52" y="322"/>
                  <a:pt x="52" y="322"/>
                </a:cubicBezTo>
                <a:cubicBezTo>
                  <a:pt x="52" y="322"/>
                  <a:pt x="52" y="322"/>
                  <a:pt x="52" y="322"/>
                </a:cubicBezTo>
                <a:cubicBezTo>
                  <a:pt x="52" y="322"/>
                  <a:pt x="52" y="322"/>
                  <a:pt x="52" y="322"/>
                </a:cubicBezTo>
                <a:cubicBezTo>
                  <a:pt x="53" y="321"/>
                  <a:pt x="53" y="321"/>
                  <a:pt x="53" y="321"/>
                </a:cubicBezTo>
                <a:cubicBezTo>
                  <a:pt x="54" y="321"/>
                  <a:pt x="54" y="321"/>
                  <a:pt x="54" y="321"/>
                </a:cubicBezTo>
                <a:cubicBezTo>
                  <a:pt x="54" y="321"/>
                  <a:pt x="54" y="321"/>
                  <a:pt x="54" y="321"/>
                </a:cubicBezTo>
                <a:cubicBezTo>
                  <a:pt x="54" y="320"/>
                  <a:pt x="54" y="320"/>
                  <a:pt x="54" y="320"/>
                </a:cubicBezTo>
                <a:cubicBezTo>
                  <a:pt x="53" y="320"/>
                  <a:pt x="53" y="320"/>
                  <a:pt x="53" y="320"/>
                </a:cubicBezTo>
                <a:cubicBezTo>
                  <a:pt x="52" y="320"/>
                  <a:pt x="52" y="320"/>
                  <a:pt x="52" y="320"/>
                </a:cubicBezTo>
                <a:cubicBezTo>
                  <a:pt x="51" y="321"/>
                  <a:pt x="51" y="321"/>
                  <a:pt x="51" y="321"/>
                </a:cubicBezTo>
                <a:cubicBezTo>
                  <a:pt x="50" y="321"/>
                  <a:pt x="50" y="321"/>
                  <a:pt x="50" y="321"/>
                </a:cubicBezTo>
                <a:cubicBezTo>
                  <a:pt x="49" y="321"/>
                  <a:pt x="49" y="321"/>
                  <a:pt x="49" y="321"/>
                </a:cubicBezTo>
                <a:cubicBezTo>
                  <a:pt x="49" y="320"/>
                  <a:pt x="49" y="320"/>
                  <a:pt x="49" y="320"/>
                </a:cubicBezTo>
                <a:cubicBezTo>
                  <a:pt x="50" y="320"/>
                  <a:pt x="50" y="320"/>
                  <a:pt x="50" y="320"/>
                </a:cubicBezTo>
                <a:cubicBezTo>
                  <a:pt x="51" y="319"/>
                  <a:pt x="51" y="319"/>
                  <a:pt x="51" y="319"/>
                </a:cubicBezTo>
                <a:cubicBezTo>
                  <a:pt x="51" y="318"/>
                  <a:pt x="51" y="318"/>
                  <a:pt x="51" y="318"/>
                </a:cubicBezTo>
                <a:cubicBezTo>
                  <a:pt x="52" y="318"/>
                  <a:pt x="52" y="318"/>
                  <a:pt x="52" y="318"/>
                </a:cubicBezTo>
                <a:cubicBezTo>
                  <a:pt x="52" y="317"/>
                  <a:pt x="52" y="317"/>
                  <a:pt x="52" y="317"/>
                </a:cubicBezTo>
                <a:cubicBezTo>
                  <a:pt x="52" y="317"/>
                  <a:pt x="52" y="317"/>
                  <a:pt x="52" y="317"/>
                </a:cubicBezTo>
                <a:cubicBezTo>
                  <a:pt x="51" y="317"/>
                  <a:pt x="51" y="317"/>
                  <a:pt x="51" y="317"/>
                </a:cubicBezTo>
                <a:cubicBezTo>
                  <a:pt x="50" y="317"/>
                  <a:pt x="50" y="317"/>
                  <a:pt x="50" y="317"/>
                </a:cubicBezTo>
                <a:cubicBezTo>
                  <a:pt x="49" y="318"/>
                  <a:pt x="49" y="318"/>
                  <a:pt x="49" y="318"/>
                </a:cubicBezTo>
                <a:cubicBezTo>
                  <a:pt x="49" y="317"/>
                  <a:pt x="49" y="317"/>
                  <a:pt x="49" y="317"/>
                </a:cubicBezTo>
                <a:cubicBezTo>
                  <a:pt x="49" y="316"/>
                  <a:pt x="49" y="316"/>
                  <a:pt x="49" y="316"/>
                </a:cubicBezTo>
                <a:cubicBezTo>
                  <a:pt x="50" y="316"/>
                  <a:pt x="50" y="316"/>
                  <a:pt x="50" y="316"/>
                </a:cubicBezTo>
                <a:cubicBezTo>
                  <a:pt x="51" y="316"/>
                  <a:pt x="51" y="316"/>
                  <a:pt x="51" y="316"/>
                </a:cubicBezTo>
                <a:cubicBezTo>
                  <a:pt x="51" y="316"/>
                  <a:pt x="51" y="316"/>
                  <a:pt x="51" y="316"/>
                </a:cubicBezTo>
                <a:cubicBezTo>
                  <a:pt x="52" y="315"/>
                  <a:pt x="52" y="315"/>
                  <a:pt x="52" y="315"/>
                </a:cubicBezTo>
                <a:cubicBezTo>
                  <a:pt x="52" y="315"/>
                  <a:pt x="52" y="315"/>
                  <a:pt x="52" y="315"/>
                </a:cubicBezTo>
                <a:cubicBezTo>
                  <a:pt x="52" y="314"/>
                  <a:pt x="52" y="314"/>
                  <a:pt x="52" y="314"/>
                </a:cubicBezTo>
                <a:cubicBezTo>
                  <a:pt x="52" y="314"/>
                  <a:pt x="52" y="314"/>
                  <a:pt x="52" y="314"/>
                </a:cubicBezTo>
                <a:cubicBezTo>
                  <a:pt x="51" y="314"/>
                  <a:pt x="51" y="314"/>
                  <a:pt x="51" y="314"/>
                </a:cubicBezTo>
                <a:cubicBezTo>
                  <a:pt x="50" y="315"/>
                  <a:pt x="50" y="315"/>
                  <a:pt x="50" y="315"/>
                </a:cubicBezTo>
                <a:cubicBezTo>
                  <a:pt x="50" y="315"/>
                  <a:pt x="50" y="315"/>
                  <a:pt x="50" y="315"/>
                </a:cubicBezTo>
                <a:cubicBezTo>
                  <a:pt x="49" y="315"/>
                  <a:pt x="49" y="315"/>
                  <a:pt x="49" y="315"/>
                </a:cubicBezTo>
                <a:cubicBezTo>
                  <a:pt x="49" y="315"/>
                  <a:pt x="49" y="315"/>
                  <a:pt x="49" y="315"/>
                </a:cubicBezTo>
                <a:cubicBezTo>
                  <a:pt x="50" y="314"/>
                  <a:pt x="50" y="314"/>
                  <a:pt x="50" y="314"/>
                </a:cubicBezTo>
                <a:cubicBezTo>
                  <a:pt x="50" y="314"/>
                  <a:pt x="50" y="314"/>
                  <a:pt x="50" y="314"/>
                </a:cubicBezTo>
                <a:cubicBezTo>
                  <a:pt x="49" y="313"/>
                  <a:pt x="49" y="313"/>
                  <a:pt x="49" y="313"/>
                </a:cubicBezTo>
                <a:cubicBezTo>
                  <a:pt x="50" y="313"/>
                  <a:pt x="50" y="313"/>
                  <a:pt x="50" y="313"/>
                </a:cubicBezTo>
                <a:cubicBezTo>
                  <a:pt x="50" y="312"/>
                  <a:pt x="50" y="312"/>
                  <a:pt x="50" y="312"/>
                </a:cubicBezTo>
                <a:cubicBezTo>
                  <a:pt x="50" y="312"/>
                  <a:pt x="50" y="312"/>
                  <a:pt x="50" y="312"/>
                </a:cubicBezTo>
                <a:cubicBezTo>
                  <a:pt x="49" y="312"/>
                  <a:pt x="49" y="312"/>
                  <a:pt x="49" y="312"/>
                </a:cubicBezTo>
                <a:cubicBezTo>
                  <a:pt x="49" y="312"/>
                  <a:pt x="49" y="312"/>
                  <a:pt x="49" y="312"/>
                </a:cubicBezTo>
                <a:cubicBezTo>
                  <a:pt x="49" y="311"/>
                  <a:pt x="49" y="311"/>
                  <a:pt x="49" y="311"/>
                </a:cubicBezTo>
                <a:cubicBezTo>
                  <a:pt x="49" y="310"/>
                  <a:pt x="49" y="310"/>
                  <a:pt x="49" y="310"/>
                </a:cubicBezTo>
                <a:cubicBezTo>
                  <a:pt x="48" y="310"/>
                  <a:pt x="48" y="310"/>
                  <a:pt x="48" y="310"/>
                </a:cubicBezTo>
                <a:cubicBezTo>
                  <a:pt x="48" y="310"/>
                  <a:pt x="48" y="310"/>
                  <a:pt x="48" y="310"/>
                </a:cubicBezTo>
                <a:cubicBezTo>
                  <a:pt x="47" y="311"/>
                  <a:pt x="47" y="311"/>
                  <a:pt x="47" y="311"/>
                </a:cubicBezTo>
                <a:cubicBezTo>
                  <a:pt x="47" y="310"/>
                  <a:pt x="47" y="310"/>
                  <a:pt x="47" y="310"/>
                </a:cubicBezTo>
                <a:cubicBezTo>
                  <a:pt x="47" y="309"/>
                  <a:pt x="47" y="309"/>
                  <a:pt x="47" y="309"/>
                </a:cubicBezTo>
                <a:cubicBezTo>
                  <a:pt x="48" y="308"/>
                  <a:pt x="48" y="308"/>
                  <a:pt x="48" y="308"/>
                </a:cubicBezTo>
                <a:cubicBezTo>
                  <a:pt x="48" y="308"/>
                  <a:pt x="48" y="308"/>
                  <a:pt x="48" y="308"/>
                </a:cubicBezTo>
                <a:cubicBezTo>
                  <a:pt x="49" y="307"/>
                  <a:pt x="49" y="307"/>
                  <a:pt x="49" y="307"/>
                </a:cubicBezTo>
                <a:cubicBezTo>
                  <a:pt x="49" y="306"/>
                  <a:pt x="49" y="306"/>
                  <a:pt x="49" y="306"/>
                </a:cubicBezTo>
                <a:cubicBezTo>
                  <a:pt x="49" y="306"/>
                  <a:pt x="49" y="306"/>
                  <a:pt x="49" y="306"/>
                </a:cubicBezTo>
                <a:cubicBezTo>
                  <a:pt x="49" y="305"/>
                  <a:pt x="49" y="305"/>
                  <a:pt x="49" y="305"/>
                </a:cubicBezTo>
                <a:cubicBezTo>
                  <a:pt x="49" y="305"/>
                  <a:pt x="49" y="305"/>
                  <a:pt x="49" y="305"/>
                </a:cubicBezTo>
                <a:cubicBezTo>
                  <a:pt x="49" y="305"/>
                  <a:pt x="49" y="305"/>
                  <a:pt x="49" y="305"/>
                </a:cubicBezTo>
                <a:cubicBezTo>
                  <a:pt x="48" y="306"/>
                  <a:pt x="48" y="306"/>
                  <a:pt x="48" y="306"/>
                </a:cubicBezTo>
                <a:cubicBezTo>
                  <a:pt x="48" y="305"/>
                  <a:pt x="48" y="305"/>
                  <a:pt x="48" y="305"/>
                </a:cubicBezTo>
                <a:cubicBezTo>
                  <a:pt x="47" y="305"/>
                  <a:pt x="47" y="305"/>
                  <a:pt x="47" y="305"/>
                </a:cubicBezTo>
                <a:cubicBezTo>
                  <a:pt x="47" y="305"/>
                  <a:pt x="47" y="305"/>
                  <a:pt x="47" y="305"/>
                </a:cubicBezTo>
                <a:cubicBezTo>
                  <a:pt x="46" y="305"/>
                  <a:pt x="46" y="305"/>
                  <a:pt x="46" y="305"/>
                </a:cubicBezTo>
                <a:cubicBezTo>
                  <a:pt x="46" y="304"/>
                  <a:pt x="46" y="304"/>
                  <a:pt x="46" y="304"/>
                </a:cubicBezTo>
                <a:cubicBezTo>
                  <a:pt x="46" y="303"/>
                  <a:pt x="46" y="303"/>
                  <a:pt x="46" y="303"/>
                </a:cubicBezTo>
                <a:cubicBezTo>
                  <a:pt x="48" y="303"/>
                  <a:pt x="48" y="303"/>
                  <a:pt x="48" y="303"/>
                </a:cubicBezTo>
                <a:cubicBezTo>
                  <a:pt x="48" y="302"/>
                  <a:pt x="48" y="302"/>
                  <a:pt x="48" y="302"/>
                </a:cubicBezTo>
                <a:cubicBezTo>
                  <a:pt x="47" y="302"/>
                  <a:pt x="47" y="302"/>
                  <a:pt x="47" y="302"/>
                </a:cubicBezTo>
                <a:cubicBezTo>
                  <a:pt x="46" y="302"/>
                  <a:pt x="46" y="302"/>
                  <a:pt x="46" y="302"/>
                </a:cubicBezTo>
                <a:cubicBezTo>
                  <a:pt x="45" y="302"/>
                  <a:pt x="45" y="302"/>
                  <a:pt x="45" y="302"/>
                </a:cubicBezTo>
                <a:cubicBezTo>
                  <a:pt x="44" y="302"/>
                  <a:pt x="44" y="302"/>
                  <a:pt x="44" y="302"/>
                </a:cubicBezTo>
                <a:cubicBezTo>
                  <a:pt x="44" y="302"/>
                  <a:pt x="44" y="302"/>
                  <a:pt x="44" y="302"/>
                </a:cubicBezTo>
                <a:cubicBezTo>
                  <a:pt x="44" y="301"/>
                  <a:pt x="44" y="301"/>
                  <a:pt x="44" y="301"/>
                </a:cubicBezTo>
                <a:cubicBezTo>
                  <a:pt x="45" y="301"/>
                  <a:pt x="45" y="301"/>
                  <a:pt x="45" y="301"/>
                </a:cubicBezTo>
                <a:cubicBezTo>
                  <a:pt x="46" y="301"/>
                  <a:pt x="46" y="301"/>
                  <a:pt x="46" y="301"/>
                </a:cubicBezTo>
                <a:cubicBezTo>
                  <a:pt x="48" y="301"/>
                  <a:pt x="48" y="301"/>
                  <a:pt x="48" y="301"/>
                </a:cubicBezTo>
                <a:cubicBezTo>
                  <a:pt x="48" y="300"/>
                  <a:pt x="48" y="300"/>
                  <a:pt x="48" y="300"/>
                </a:cubicBezTo>
                <a:cubicBezTo>
                  <a:pt x="48" y="300"/>
                  <a:pt x="48" y="300"/>
                  <a:pt x="48" y="300"/>
                </a:cubicBezTo>
                <a:cubicBezTo>
                  <a:pt x="47" y="300"/>
                  <a:pt x="47" y="300"/>
                  <a:pt x="47" y="300"/>
                </a:cubicBezTo>
                <a:cubicBezTo>
                  <a:pt x="46" y="300"/>
                  <a:pt x="46" y="300"/>
                  <a:pt x="46" y="300"/>
                </a:cubicBezTo>
                <a:cubicBezTo>
                  <a:pt x="45" y="300"/>
                  <a:pt x="45" y="300"/>
                  <a:pt x="45" y="300"/>
                </a:cubicBezTo>
                <a:cubicBezTo>
                  <a:pt x="44" y="300"/>
                  <a:pt x="44" y="300"/>
                  <a:pt x="44" y="300"/>
                </a:cubicBezTo>
                <a:cubicBezTo>
                  <a:pt x="44" y="300"/>
                  <a:pt x="44" y="300"/>
                  <a:pt x="44" y="300"/>
                </a:cubicBezTo>
                <a:cubicBezTo>
                  <a:pt x="45" y="299"/>
                  <a:pt x="45" y="299"/>
                  <a:pt x="45" y="299"/>
                </a:cubicBezTo>
                <a:cubicBezTo>
                  <a:pt x="46" y="299"/>
                  <a:pt x="46" y="299"/>
                  <a:pt x="46" y="299"/>
                </a:cubicBezTo>
                <a:cubicBezTo>
                  <a:pt x="47" y="298"/>
                  <a:pt x="47" y="298"/>
                  <a:pt x="47" y="298"/>
                </a:cubicBezTo>
                <a:cubicBezTo>
                  <a:pt x="46" y="298"/>
                  <a:pt x="46" y="298"/>
                  <a:pt x="46" y="298"/>
                </a:cubicBezTo>
                <a:cubicBezTo>
                  <a:pt x="46" y="298"/>
                  <a:pt x="46" y="298"/>
                  <a:pt x="46" y="298"/>
                </a:cubicBezTo>
                <a:cubicBezTo>
                  <a:pt x="45" y="298"/>
                  <a:pt x="45" y="298"/>
                  <a:pt x="45" y="298"/>
                </a:cubicBezTo>
                <a:cubicBezTo>
                  <a:pt x="45" y="297"/>
                  <a:pt x="45" y="297"/>
                  <a:pt x="45" y="297"/>
                </a:cubicBezTo>
                <a:cubicBezTo>
                  <a:pt x="46" y="298"/>
                  <a:pt x="46" y="298"/>
                  <a:pt x="46" y="298"/>
                </a:cubicBezTo>
                <a:cubicBezTo>
                  <a:pt x="47" y="298"/>
                  <a:pt x="47" y="298"/>
                  <a:pt x="47" y="298"/>
                </a:cubicBezTo>
                <a:cubicBezTo>
                  <a:pt x="48" y="297"/>
                  <a:pt x="48" y="297"/>
                  <a:pt x="48" y="297"/>
                </a:cubicBezTo>
                <a:cubicBezTo>
                  <a:pt x="49" y="297"/>
                  <a:pt x="49" y="297"/>
                  <a:pt x="49" y="297"/>
                </a:cubicBezTo>
                <a:cubicBezTo>
                  <a:pt x="48" y="297"/>
                  <a:pt x="48" y="297"/>
                  <a:pt x="48" y="297"/>
                </a:cubicBezTo>
                <a:cubicBezTo>
                  <a:pt x="48" y="297"/>
                  <a:pt x="48" y="297"/>
                  <a:pt x="48" y="297"/>
                </a:cubicBezTo>
                <a:cubicBezTo>
                  <a:pt x="47" y="297"/>
                  <a:pt x="47" y="297"/>
                  <a:pt x="47" y="297"/>
                </a:cubicBezTo>
                <a:cubicBezTo>
                  <a:pt x="46" y="297"/>
                  <a:pt x="46" y="297"/>
                  <a:pt x="46" y="297"/>
                </a:cubicBezTo>
                <a:cubicBezTo>
                  <a:pt x="46" y="297"/>
                  <a:pt x="46" y="297"/>
                  <a:pt x="46" y="297"/>
                </a:cubicBezTo>
                <a:cubicBezTo>
                  <a:pt x="45" y="297"/>
                  <a:pt x="45" y="297"/>
                  <a:pt x="45" y="297"/>
                </a:cubicBezTo>
                <a:cubicBezTo>
                  <a:pt x="45" y="297"/>
                  <a:pt x="45" y="297"/>
                  <a:pt x="45" y="297"/>
                </a:cubicBezTo>
                <a:cubicBezTo>
                  <a:pt x="44" y="298"/>
                  <a:pt x="44" y="298"/>
                  <a:pt x="44" y="298"/>
                </a:cubicBezTo>
                <a:cubicBezTo>
                  <a:pt x="43" y="297"/>
                  <a:pt x="43" y="297"/>
                  <a:pt x="43" y="297"/>
                </a:cubicBezTo>
                <a:cubicBezTo>
                  <a:pt x="43" y="297"/>
                  <a:pt x="43" y="297"/>
                  <a:pt x="43" y="297"/>
                </a:cubicBezTo>
                <a:cubicBezTo>
                  <a:pt x="43" y="296"/>
                  <a:pt x="43" y="296"/>
                  <a:pt x="43" y="296"/>
                </a:cubicBezTo>
                <a:cubicBezTo>
                  <a:pt x="45" y="296"/>
                  <a:pt x="45" y="296"/>
                  <a:pt x="45" y="296"/>
                </a:cubicBezTo>
                <a:cubicBezTo>
                  <a:pt x="46" y="295"/>
                  <a:pt x="46" y="295"/>
                  <a:pt x="46" y="295"/>
                </a:cubicBezTo>
                <a:cubicBezTo>
                  <a:pt x="45" y="295"/>
                  <a:pt x="45" y="295"/>
                  <a:pt x="45" y="295"/>
                </a:cubicBezTo>
                <a:cubicBezTo>
                  <a:pt x="44" y="295"/>
                  <a:pt x="44" y="295"/>
                  <a:pt x="44" y="295"/>
                </a:cubicBezTo>
                <a:cubicBezTo>
                  <a:pt x="43" y="295"/>
                  <a:pt x="43" y="295"/>
                  <a:pt x="43" y="295"/>
                </a:cubicBezTo>
                <a:cubicBezTo>
                  <a:pt x="43" y="294"/>
                  <a:pt x="43" y="294"/>
                  <a:pt x="43" y="294"/>
                </a:cubicBezTo>
                <a:cubicBezTo>
                  <a:pt x="43" y="293"/>
                  <a:pt x="43" y="293"/>
                  <a:pt x="43" y="293"/>
                </a:cubicBezTo>
                <a:cubicBezTo>
                  <a:pt x="44" y="293"/>
                  <a:pt x="44" y="293"/>
                  <a:pt x="44" y="293"/>
                </a:cubicBezTo>
                <a:cubicBezTo>
                  <a:pt x="47" y="293"/>
                  <a:pt x="47" y="293"/>
                  <a:pt x="47" y="293"/>
                </a:cubicBezTo>
                <a:cubicBezTo>
                  <a:pt x="48" y="292"/>
                  <a:pt x="48" y="292"/>
                  <a:pt x="48" y="292"/>
                </a:cubicBezTo>
                <a:cubicBezTo>
                  <a:pt x="50" y="292"/>
                  <a:pt x="50" y="292"/>
                  <a:pt x="50" y="292"/>
                </a:cubicBezTo>
                <a:cubicBezTo>
                  <a:pt x="51" y="292"/>
                  <a:pt x="51" y="292"/>
                  <a:pt x="51" y="292"/>
                </a:cubicBezTo>
                <a:cubicBezTo>
                  <a:pt x="51" y="291"/>
                  <a:pt x="51" y="291"/>
                  <a:pt x="51" y="291"/>
                </a:cubicBezTo>
                <a:cubicBezTo>
                  <a:pt x="50" y="291"/>
                  <a:pt x="50" y="291"/>
                  <a:pt x="50" y="291"/>
                </a:cubicBezTo>
                <a:cubicBezTo>
                  <a:pt x="49" y="291"/>
                  <a:pt x="49" y="291"/>
                  <a:pt x="49" y="291"/>
                </a:cubicBezTo>
                <a:cubicBezTo>
                  <a:pt x="48" y="292"/>
                  <a:pt x="48" y="292"/>
                  <a:pt x="48" y="292"/>
                </a:cubicBezTo>
                <a:cubicBezTo>
                  <a:pt x="46" y="292"/>
                  <a:pt x="46" y="292"/>
                  <a:pt x="46" y="292"/>
                </a:cubicBezTo>
                <a:cubicBezTo>
                  <a:pt x="45" y="292"/>
                  <a:pt x="45" y="292"/>
                  <a:pt x="45" y="292"/>
                </a:cubicBezTo>
                <a:cubicBezTo>
                  <a:pt x="44" y="292"/>
                  <a:pt x="44" y="292"/>
                  <a:pt x="44" y="292"/>
                </a:cubicBezTo>
                <a:cubicBezTo>
                  <a:pt x="43" y="292"/>
                  <a:pt x="43" y="292"/>
                  <a:pt x="43" y="292"/>
                </a:cubicBezTo>
                <a:cubicBezTo>
                  <a:pt x="44" y="292"/>
                  <a:pt x="44" y="292"/>
                  <a:pt x="44" y="292"/>
                </a:cubicBezTo>
                <a:cubicBezTo>
                  <a:pt x="46" y="292"/>
                  <a:pt x="46" y="292"/>
                  <a:pt x="46" y="292"/>
                </a:cubicBezTo>
                <a:cubicBezTo>
                  <a:pt x="47" y="291"/>
                  <a:pt x="47" y="291"/>
                  <a:pt x="47" y="291"/>
                </a:cubicBezTo>
                <a:cubicBezTo>
                  <a:pt x="48" y="290"/>
                  <a:pt x="48" y="290"/>
                  <a:pt x="48" y="290"/>
                </a:cubicBezTo>
                <a:cubicBezTo>
                  <a:pt x="49" y="290"/>
                  <a:pt x="49" y="290"/>
                  <a:pt x="49" y="290"/>
                </a:cubicBezTo>
                <a:cubicBezTo>
                  <a:pt x="49" y="290"/>
                  <a:pt x="49" y="290"/>
                  <a:pt x="49" y="290"/>
                </a:cubicBezTo>
                <a:cubicBezTo>
                  <a:pt x="50" y="291"/>
                  <a:pt x="50" y="291"/>
                  <a:pt x="50" y="291"/>
                </a:cubicBezTo>
                <a:cubicBezTo>
                  <a:pt x="51" y="291"/>
                  <a:pt x="51" y="291"/>
                  <a:pt x="51" y="291"/>
                </a:cubicBezTo>
                <a:cubicBezTo>
                  <a:pt x="51" y="290"/>
                  <a:pt x="51" y="290"/>
                  <a:pt x="51" y="290"/>
                </a:cubicBezTo>
                <a:cubicBezTo>
                  <a:pt x="50" y="290"/>
                  <a:pt x="50" y="290"/>
                  <a:pt x="50" y="290"/>
                </a:cubicBezTo>
                <a:cubicBezTo>
                  <a:pt x="49" y="289"/>
                  <a:pt x="49" y="289"/>
                  <a:pt x="49" y="289"/>
                </a:cubicBezTo>
                <a:cubicBezTo>
                  <a:pt x="49" y="289"/>
                  <a:pt x="49" y="289"/>
                  <a:pt x="49" y="289"/>
                </a:cubicBezTo>
                <a:cubicBezTo>
                  <a:pt x="48" y="288"/>
                  <a:pt x="48" y="288"/>
                  <a:pt x="48" y="288"/>
                </a:cubicBezTo>
                <a:cubicBezTo>
                  <a:pt x="49" y="288"/>
                  <a:pt x="49" y="288"/>
                  <a:pt x="49" y="288"/>
                </a:cubicBezTo>
                <a:cubicBezTo>
                  <a:pt x="49" y="288"/>
                  <a:pt x="49" y="288"/>
                  <a:pt x="49" y="288"/>
                </a:cubicBezTo>
                <a:cubicBezTo>
                  <a:pt x="50" y="287"/>
                  <a:pt x="50" y="287"/>
                  <a:pt x="50" y="287"/>
                </a:cubicBezTo>
                <a:cubicBezTo>
                  <a:pt x="50" y="288"/>
                  <a:pt x="50" y="288"/>
                  <a:pt x="50" y="288"/>
                </a:cubicBezTo>
                <a:cubicBezTo>
                  <a:pt x="51" y="288"/>
                  <a:pt x="51" y="288"/>
                  <a:pt x="51" y="288"/>
                </a:cubicBezTo>
                <a:cubicBezTo>
                  <a:pt x="52" y="290"/>
                  <a:pt x="52" y="290"/>
                  <a:pt x="52" y="290"/>
                </a:cubicBezTo>
                <a:cubicBezTo>
                  <a:pt x="52" y="290"/>
                  <a:pt x="52" y="290"/>
                  <a:pt x="52" y="290"/>
                </a:cubicBezTo>
                <a:cubicBezTo>
                  <a:pt x="53" y="290"/>
                  <a:pt x="53" y="290"/>
                  <a:pt x="53" y="290"/>
                </a:cubicBezTo>
                <a:cubicBezTo>
                  <a:pt x="52" y="289"/>
                  <a:pt x="52" y="289"/>
                  <a:pt x="52" y="289"/>
                </a:cubicBezTo>
                <a:cubicBezTo>
                  <a:pt x="52" y="288"/>
                  <a:pt x="52" y="288"/>
                  <a:pt x="52" y="288"/>
                </a:cubicBezTo>
                <a:cubicBezTo>
                  <a:pt x="52" y="286"/>
                  <a:pt x="52" y="286"/>
                  <a:pt x="52" y="286"/>
                </a:cubicBezTo>
                <a:cubicBezTo>
                  <a:pt x="52" y="286"/>
                  <a:pt x="52" y="286"/>
                  <a:pt x="52" y="286"/>
                </a:cubicBezTo>
                <a:cubicBezTo>
                  <a:pt x="52" y="285"/>
                  <a:pt x="52" y="285"/>
                  <a:pt x="52" y="285"/>
                </a:cubicBezTo>
                <a:cubicBezTo>
                  <a:pt x="52" y="285"/>
                  <a:pt x="52" y="285"/>
                  <a:pt x="52" y="285"/>
                </a:cubicBezTo>
                <a:cubicBezTo>
                  <a:pt x="51" y="286"/>
                  <a:pt x="51" y="286"/>
                  <a:pt x="51" y="286"/>
                </a:cubicBezTo>
                <a:cubicBezTo>
                  <a:pt x="50" y="286"/>
                  <a:pt x="50" y="286"/>
                  <a:pt x="50" y="286"/>
                </a:cubicBezTo>
                <a:cubicBezTo>
                  <a:pt x="50" y="285"/>
                  <a:pt x="50" y="285"/>
                  <a:pt x="50" y="285"/>
                </a:cubicBezTo>
                <a:cubicBezTo>
                  <a:pt x="49" y="286"/>
                  <a:pt x="49" y="286"/>
                  <a:pt x="49" y="286"/>
                </a:cubicBezTo>
                <a:cubicBezTo>
                  <a:pt x="48" y="287"/>
                  <a:pt x="48" y="287"/>
                  <a:pt x="48" y="287"/>
                </a:cubicBezTo>
                <a:cubicBezTo>
                  <a:pt x="47" y="287"/>
                  <a:pt x="47" y="287"/>
                  <a:pt x="47" y="287"/>
                </a:cubicBezTo>
                <a:cubicBezTo>
                  <a:pt x="47" y="287"/>
                  <a:pt x="47" y="287"/>
                  <a:pt x="47" y="287"/>
                </a:cubicBezTo>
                <a:cubicBezTo>
                  <a:pt x="47" y="287"/>
                  <a:pt x="47" y="287"/>
                  <a:pt x="47" y="287"/>
                </a:cubicBezTo>
                <a:cubicBezTo>
                  <a:pt x="47" y="286"/>
                  <a:pt x="47" y="286"/>
                  <a:pt x="47" y="286"/>
                </a:cubicBezTo>
                <a:cubicBezTo>
                  <a:pt x="47" y="286"/>
                  <a:pt x="47" y="286"/>
                  <a:pt x="47" y="286"/>
                </a:cubicBezTo>
                <a:cubicBezTo>
                  <a:pt x="47" y="286"/>
                  <a:pt x="47" y="286"/>
                  <a:pt x="47" y="286"/>
                </a:cubicBezTo>
                <a:cubicBezTo>
                  <a:pt x="46" y="287"/>
                  <a:pt x="46" y="287"/>
                  <a:pt x="46" y="287"/>
                </a:cubicBezTo>
                <a:cubicBezTo>
                  <a:pt x="46" y="287"/>
                  <a:pt x="46" y="287"/>
                  <a:pt x="46" y="287"/>
                </a:cubicBezTo>
                <a:cubicBezTo>
                  <a:pt x="44" y="289"/>
                  <a:pt x="44" y="289"/>
                  <a:pt x="44" y="289"/>
                </a:cubicBezTo>
                <a:cubicBezTo>
                  <a:pt x="44" y="289"/>
                  <a:pt x="44" y="289"/>
                  <a:pt x="44" y="289"/>
                </a:cubicBezTo>
                <a:cubicBezTo>
                  <a:pt x="43" y="290"/>
                  <a:pt x="43" y="290"/>
                  <a:pt x="43" y="290"/>
                </a:cubicBezTo>
                <a:cubicBezTo>
                  <a:pt x="42" y="290"/>
                  <a:pt x="42" y="290"/>
                  <a:pt x="42" y="290"/>
                </a:cubicBezTo>
                <a:cubicBezTo>
                  <a:pt x="42" y="289"/>
                  <a:pt x="42" y="289"/>
                  <a:pt x="42" y="289"/>
                </a:cubicBezTo>
                <a:cubicBezTo>
                  <a:pt x="42" y="288"/>
                  <a:pt x="42" y="288"/>
                  <a:pt x="42" y="288"/>
                </a:cubicBezTo>
                <a:cubicBezTo>
                  <a:pt x="42" y="287"/>
                  <a:pt x="42" y="287"/>
                  <a:pt x="42" y="287"/>
                </a:cubicBezTo>
                <a:cubicBezTo>
                  <a:pt x="42" y="287"/>
                  <a:pt x="42" y="287"/>
                  <a:pt x="42" y="287"/>
                </a:cubicBezTo>
                <a:cubicBezTo>
                  <a:pt x="42" y="286"/>
                  <a:pt x="42" y="286"/>
                  <a:pt x="42" y="286"/>
                </a:cubicBezTo>
                <a:cubicBezTo>
                  <a:pt x="42" y="285"/>
                  <a:pt x="42" y="285"/>
                  <a:pt x="42" y="285"/>
                </a:cubicBezTo>
                <a:cubicBezTo>
                  <a:pt x="43" y="285"/>
                  <a:pt x="43" y="285"/>
                  <a:pt x="43" y="285"/>
                </a:cubicBezTo>
                <a:cubicBezTo>
                  <a:pt x="45" y="284"/>
                  <a:pt x="45" y="284"/>
                  <a:pt x="45" y="284"/>
                </a:cubicBezTo>
                <a:cubicBezTo>
                  <a:pt x="45" y="284"/>
                  <a:pt x="45" y="284"/>
                  <a:pt x="45" y="284"/>
                </a:cubicBezTo>
                <a:cubicBezTo>
                  <a:pt x="46" y="283"/>
                  <a:pt x="46" y="283"/>
                  <a:pt x="46" y="283"/>
                </a:cubicBezTo>
                <a:cubicBezTo>
                  <a:pt x="47" y="283"/>
                  <a:pt x="47" y="283"/>
                  <a:pt x="47" y="283"/>
                </a:cubicBezTo>
                <a:cubicBezTo>
                  <a:pt x="46" y="282"/>
                  <a:pt x="46" y="282"/>
                  <a:pt x="46" y="282"/>
                </a:cubicBezTo>
                <a:cubicBezTo>
                  <a:pt x="46" y="282"/>
                  <a:pt x="46" y="282"/>
                  <a:pt x="46" y="282"/>
                </a:cubicBezTo>
                <a:cubicBezTo>
                  <a:pt x="45" y="283"/>
                  <a:pt x="45" y="283"/>
                  <a:pt x="45" y="283"/>
                </a:cubicBezTo>
                <a:cubicBezTo>
                  <a:pt x="44" y="283"/>
                  <a:pt x="44" y="283"/>
                  <a:pt x="44" y="283"/>
                </a:cubicBezTo>
                <a:cubicBezTo>
                  <a:pt x="44" y="284"/>
                  <a:pt x="44" y="284"/>
                  <a:pt x="44" y="284"/>
                </a:cubicBezTo>
                <a:cubicBezTo>
                  <a:pt x="43" y="284"/>
                  <a:pt x="43" y="284"/>
                  <a:pt x="43" y="284"/>
                </a:cubicBezTo>
                <a:cubicBezTo>
                  <a:pt x="42" y="284"/>
                  <a:pt x="42" y="284"/>
                  <a:pt x="42" y="284"/>
                </a:cubicBezTo>
                <a:cubicBezTo>
                  <a:pt x="42" y="283"/>
                  <a:pt x="42" y="283"/>
                  <a:pt x="42" y="283"/>
                </a:cubicBezTo>
                <a:cubicBezTo>
                  <a:pt x="42" y="282"/>
                  <a:pt x="42" y="282"/>
                  <a:pt x="42" y="282"/>
                </a:cubicBezTo>
                <a:cubicBezTo>
                  <a:pt x="43" y="281"/>
                  <a:pt x="43" y="281"/>
                  <a:pt x="43" y="281"/>
                </a:cubicBezTo>
                <a:cubicBezTo>
                  <a:pt x="43" y="280"/>
                  <a:pt x="43" y="280"/>
                  <a:pt x="43" y="280"/>
                </a:cubicBezTo>
                <a:cubicBezTo>
                  <a:pt x="42" y="279"/>
                  <a:pt x="42" y="279"/>
                  <a:pt x="42" y="279"/>
                </a:cubicBezTo>
                <a:cubicBezTo>
                  <a:pt x="42" y="279"/>
                  <a:pt x="42" y="279"/>
                  <a:pt x="42" y="279"/>
                </a:cubicBezTo>
                <a:cubicBezTo>
                  <a:pt x="41" y="280"/>
                  <a:pt x="41" y="280"/>
                  <a:pt x="41" y="280"/>
                </a:cubicBezTo>
                <a:cubicBezTo>
                  <a:pt x="41" y="280"/>
                  <a:pt x="41" y="280"/>
                  <a:pt x="41" y="280"/>
                </a:cubicBezTo>
                <a:cubicBezTo>
                  <a:pt x="41" y="279"/>
                  <a:pt x="41" y="279"/>
                  <a:pt x="41" y="279"/>
                </a:cubicBezTo>
                <a:cubicBezTo>
                  <a:pt x="41" y="278"/>
                  <a:pt x="41" y="278"/>
                  <a:pt x="41" y="278"/>
                </a:cubicBezTo>
                <a:cubicBezTo>
                  <a:pt x="43" y="278"/>
                  <a:pt x="43" y="278"/>
                  <a:pt x="43" y="278"/>
                </a:cubicBezTo>
                <a:cubicBezTo>
                  <a:pt x="43" y="277"/>
                  <a:pt x="43" y="277"/>
                  <a:pt x="43" y="277"/>
                </a:cubicBezTo>
                <a:cubicBezTo>
                  <a:pt x="45" y="277"/>
                  <a:pt x="45" y="277"/>
                  <a:pt x="45" y="277"/>
                </a:cubicBezTo>
                <a:cubicBezTo>
                  <a:pt x="45" y="276"/>
                  <a:pt x="45" y="276"/>
                  <a:pt x="45" y="276"/>
                </a:cubicBezTo>
                <a:cubicBezTo>
                  <a:pt x="46" y="276"/>
                  <a:pt x="46" y="276"/>
                  <a:pt x="46" y="276"/>
                </a:cubicBezTo>
                <a:cubicBezTo>
                  <a:pt x="46" y="275"/>
                  <a:pt x="46" y="275"/>
                  <a:pt x="46" y="275"/>
                </a:cubicBezTo>
                <a:cubicBezTo>
                  <a:pt x="47" y="275"/>
                  <a:pt x="47" y="275"/>
                  <a:pt x="47" y="275"/>
                </a:cubicBezTo>
                <a:cubicBezTo>
                  <a:pt x="47" y="275"/>
                  <a:pt x="47" y="275"/>
                  <a:pt x="47" y="275"/>
                </a:cubicBezTo>
                <a:cubicBezTo>
                  <a:pt x="48" y="275"/>
                  <a:pt x="48" y="275"/>
                  <a:pt x="48" y="275"/>
                </a:cubicBezTo>
                <a:cubicBezTo>
                  <a:pt x="50" y="275"/>
                  <a:pt x="50" y="275"/>
                  <a:pt x="50" y="275"/>
                </a:cubicBezTo>
                <a:cubicBezTo>
                  <a:pt x="50" y="275"/>
                  <a:pt x="50" y="275"/>
                  <a:pt x="50" y="275"/>
                </a:cubicBezTo>
                <a:cubicBezTo>
                  <a:pt x="51" y="275"/>
                  <a:pt x="51" y="275"/>
                  <a:pt x="51" y="275"/>
                </a:cubicBezTo>
                <a:cubicBezTo>
                  <a:pt x="51" y="274"/>
                  <a:pt x="51" y="274"/>
                  <a:pt x="51" y="274"/>
                </a:cubicBezTo>
                <a:cubicBezTo>
                  <a:pt x="50" y="274"/>
                  <a:pt x="50" y="274"/>
                  <a:pt x="50" y="274"/>
                </a:cubicBezTo>
                <a:cubicBezTo>
                  <a:pt x="50" y="273"/>
                  <a:pt x="50" y="273"/>
                  <a:pt x="50" y="273"/>
                </a:cubicBezTo>
                <a:cubicBezTo>
                  <a:pt x="49" y="273"/>
                  <a:pt x="49" y="273"/>
                  <a:pt x="49" y="273"/>
                </a:cubicBezTo>
                <a:cubicBezTo>
                  <a:pt x="46" y="275"/>
                  <a:pt x="46" y="275"/>
                  <a:pt x="46" y="275"/>
                </a:cubicBezTo>
                <a:cubicBezTo>
                  <a:pt x="46" y="275"/>
                  <a:pt x="46" y="275"/>
                  <a:pt x="46" y="275"/>
                </a:cubicBezTo>
                <a:cubicBezTo>
                  <a:pt x="45" y="275"/>
                  <a:pt x="45" y="275"/>
                  <a:pt x="45" y="275"/>
                </a:cubicBezTo>
                <a:cubicBezTo>
                  <a:pt x="45" y="276"/>
                  <a:pt x="45" y="276"/>
                  <a:pt x="45" y="276"/>
                </a:cubicBezTo>
                <a:cubicBezTo>
                  <a:pt x="44" y="276"/>
                  <a:pt x="44" y="276"/>
                  <a:pt x="44" y="276"/>
                </a:cubicBezTo>
                <a:cubicBezTo>
                  <a:pt x="43" y="277"/>
                  <a:pt x="43" y="277"/>
                  <a:pt x="43" y="277"/>
                </a:cubicBezTo>
                <a:cubicBezTo>
                  <a:pt x="42" y="277"/>
                  <a:pt x="42" y="277"/>
                  <a:pt x="42" y="277"/>
                </a:cubicBezTo>
                <a:cubicBezTo>
                  <a:pt x="42" y="277"/>
                  <a:pt x="42" y="277"/>
                  <a:pt x="42" y="277"/>
                </a:cubicBezTo>
                <a:cubicBezTo>
                  <a:pt x="42" y="277"/>
                  <a:pt x="42" y="277"/>
                  <a:pt x="42" y="277"/>
                </a:cubicBezTo>
                <a:cubicBezTo>
                  <a:pt x="42" y="276"/>
                  <a:pt x="42" y="276"/>
                  <a:pt x="42" y="276"/>
                </a:cubicBezTo>
                <a:cubicBezTo>
                  <a:pt x="41" y="276"/>
                  <a:pt x="41" y="276"/>
                  <a:pt x="41" y="276"/>
                </a:cubicBezTo>
                <a:cubicBezTo>
                  <a:pt x="41" y="276"/>
                  <a:pt x="41" y="276"/>
                  <a:pt x="41" y="276"/>
                </a:cubicBezTo>
                <a:cubicBezTo>
                  <a:pt x="42" y="275"/>
                  <a:pt x="42" y="275"/>
                  <a:pt x="42" y="275"/>
                </a:cubicBezTo>
                <a:cubicBezTo>
                  <a:pt x="41" y="274"/>
                  <a:pt x="41" y="274"/>
                  <a:pt x="41" y="274"/>
                </a:cubicBezTo>
                <a:cubicBezTo>
                  <a:pt x="40" y="274"/>
                  <a:pt x="40" y="274"/>
                  <a:pt x="40" y="274"/>
                </a:cubicBezTo>
                <a:cubicBezTo>
                  <a:pt x="40" y="273"/>
                  <a:pt x="40" y="273"/>
                  <a:pt x="40" y="273"/>
                </a:cubicBezTo>
                <a:cubicBezTo>
                  <a:pt x="40" y="273"/>
                  <a:pt x="40" y="273"/>
                  <a:pt x="40" y="273"/>
                </a:cubicBezTo>
                <a:cubicBezTo>
                  <a:pt x="41" y="272"/>
                  <a:pt x="41" y="272"/>
                  <a:pt x="41" y="272"/>
                </a:cubicBezTo>
                <a:cubicBezTo>
                  <a:pt x="42" y="272"/>
                  <a:pt x="42" y="272"/>
                  <a:pt x="42" y="272"/>
                </a:cubicBezTo>
                <a:cubicBezTo>
                  <a:pt x="42" y="272"/>
                  <a:pt x="42" y="272"/>
                  <a:pt x="42" y="272"/>
                </a:cubicBezTo>
                <a:cubicBezTo>
                  <a:pt x="43" y="272"/>
                  <a:pt x="43" y="272"/>
                  <a:pt x="43" y="272"/>
                </a:cubicBezTo>
                <a:cubicBezTo>
                  <a:pt x="44" y="272"/>
                  <a:pt x="44" y="272"/>
                  <a:pt x="44" y="272"/>
                </a:cubicBezTo>
                <a:cubicBezTo>
                  <a:pt x="45" y="272"/>
                  <a:pt x="45" y="272"/>
                  <a:pt x="45" y="272"/>
                </a:cubicBezTo>
                <a:cubicBezTo>
                  <a:pt x="46" y="271"/>
                  <a:pt x="46" y="271"/>
                  <a:pt x="46" y="271"/>
                </a:cubicBezTo>
                <a:cubicBezTo>
                  <a:pt x="47" y="271"/>
                  <a:pt x="47" y="271"/>
                  <a:pt x="47" y="271"/>
                </a:cubicBezTo>
                <a:cubicBezTo>
                  <a:pt x="47" y="270"/>
                  <a:pt x="47" y="270"/>
                  <a:pt x="47" y="270"/>
                </a:cubicBezTo>
                <a:cubicBezTo>
                  <a:pt x="47" y="270"/>
                  <a:pt x="47" y="270"/>
                  <a:pt x="47" y="270"/>
                </a:cubicBezTo>
                <a:cubicBezTo>
                  <a:pt x="46" y="270"/>
                  <a:pt x="46" y="270"/>
                  <a:pt x="46" y="270"/>
                </a:cubicBezTo>
                <a:cubicBezTo>
                  <a:pt x="45" y="271"/>
                  <a:pt x="45" y="271"/>
                  <a:pt x="45" y="271"/>
                </a:cubicBezTo>
                <a:cubicBezTo>
                  <a:pt x="44" y="271"/>
                  <a:pt x="44" y="271"/>
                  <a:pt x="44" y="271"/>
                </a:cubicBezTo>
                <a:cubicBezTo>
                  <a:pt x="43" y="271"/>
                  <a:pt x="43" y="271"/>
                  <a:pt x="43" y="271"/>
                </a:cubicBezTo>
                <a:cubicBezTo>
                  <a:pt x="42" y="270"/>
                  <a:pt x="42" y="270"/>
                  <a:pt x="42" y="270"/>
                </a:cubicBezTo>
                <a:cubicBezTo>
                  <a:pt x="42" y="270"/>
                  <a:pt x="42" y="270"/>
                  <a:pt x="42" y="270"/>
                </a:cubicBezTo>
                <a:cubicBezTo>
                  <a:pt x="41" y="271"/>
                  <a:pt x="41" y="271"/>
                  <a:pt x="41" y="271"/>
                </a:cubicBezTo>
                <a:cubicBezTo>
                  <a:pt x="40" y="272"/>
                  <a:pt x="40" y="272"/>
                  <a:pt x="40" y="272"/>
                </a:cubicBezTo>
                <a:cubicBezTo>
                  <a:pt x="40" y="271"/>
                  <a:pt x="40" y="271"/>
                  <a:pt x="40" y="271"/>
                </a:cubicBezTo>
                <a:cubicBezTo>
                  <a:pt x="40" y="271"/>
                  <a:pt x="40" y="271"/>
                  <a:pt x="40" y="271"/>
                </a:cubicBezTo>
                <a:cubicBezTo>
                  <a:pt x="39" y="271"/>
                  <a:pt x="39" y="271"/>
                  <a:pt x="39" y="271"/>
                </a:cubicBezTo>
                <a:cubicBezTo>
                  <a:pt x="38" y="271"/>
                  <a:pt x="38" y="271"/>
                  <a:pt x="38" y="271"/>
                </a:cubicBezTo>
                <a:cubicBezTo>
                  <a:pt x="39" y="271"/>
                  <a:pt x="39" y="271"/>
                  <a:pt x="39" y="271"/>
                </a:cubicBezTo>
                <a:cubicBezTo>
                  <a:pt x="39" y="270"/>
                  <a:pt x="39" y="270"/>
                  <a:pt x="39" y="270"/>
                </a:cubicBezTo>
                <a:cubicBezTo>
                  <a:pt x="41" y="270"/>
                  <a:pt x="41" y="270"/>
                  <a:pt x="41" y="270"/>
                </a:cubicBezTo>
                <a:cubicBezTo>
                  <a:pt x="43" y="269"/>
                  <a:pt x="43" y="269"/>
                  <a:pt x="43" y="269"/>
                </a:cubicBezTo>
                <a:cubicBezTo>
                  <a:pt x="44" y="268"/>
                  <a:pt x="44" y="268"/>
                  <a:pt x="44" y="268"/>
                </a:cubicBezTo>
                <a:cubicBezTo>
                  <a:pt x="45" y="268"/>
                  <a:pt x="45" y="268"/>
                  <a:pt x="45" y="268"/>
                </a:cubicBezTo>
                <a:cubicBezTo>
                  <a:pt x="46" y="267"/>
                  <a:pt x="46" y="267"/>
                  <a:pt x="46" y="267"/>
                </a:cubicBezTo>
                <a:cubicBezTo>
                  <a:pt x="48" y="265"/>
                  <a:pt x="48" y="265"/>
                  <a:pt x="48" y="265"/>
                </a:cubicBezTo>
                <a:cubicBezTo>
                  <a:pt x="50" y="264"/>
                  <a:pt x="50" y="264"/>
                  <a:pt x="50" y="264"/>
                </a:cubicBezTo>
                <a:cubicBezTo>
                  <a:pt x="52" y="263"/>
                  <a:pt x="52" y="263"/>
                  <a:pt x="52" y="263"/>
                </a:cubicBezTo>
                <a:cubicBezTo>
                  <a:pt x="53" y="263"/>
                  <a:pt x="53" y="263"/>
                  <a:pt x="53" y="263"/>
                </a:cubicBezTo>
                <a:cubicBezTo>
                  <a:pt x="53" y="263"/>
                  <a:pt x="53" y="263"/>
                  <a:pt x="53" y="263"/>
                </a:cubicBezTo>
                <a:cubicBezTo>
                  <a:pt x="53" y="262"/>
                  <a:pt x="53" y="262"/>
                  <a:pt x="53" y="262"/>
                </a:cubicBezTo>
                <a:cubicBezTo>
                  <a:pt x="52" y="262"/>
                  <a:pt x="52" y="262"/>
                  <a:pt x="52" y="262"/>
                </a:cubicBezTo>
                <a:cubicBezTo>
                  <a:pt x="51" y="263"/>
                  <a:pt x="51" y="263"/>
                  <a:pt x="51" y="263"/>
                </a:cubicBezTo>
                <a:cubicBezTo>
                  <a:pt x="48" y="264"/>
                  <a:pt x="48" y="264"/>
                  <a:pt x="48" y="264"/>
                </a:cubicBezTo>
                <a:cubicBezTo>
                  <a:pt x="46" y="265"/>
                  <a:pt x="46" y="265"/>
                  <a:pt x="46" y="265"/>
                </a:cubicBezTo>
                <a:cubicBezTo>
                  <a:pt x="45" y="267"/>
                  <a:pt x="45" y="267"/>
                  <a:pt x="45" y="267"/>
                </a:cubicBezTo>
                <a:cubicBezTo>
                  <a:pt x="44" y="267"/>
                  <a:pt x="44" y="267"/>
                  <a:pt x="44" y="267"/>
                </a:cubicBezTo>
                <a:cubicBezTo>
                  <a:pt x="42" y="268"/>
                  <a:pt x="42" y="268"/>
                  <a:pt x="42" y="268"/>
                </a:cubicBezTo>
                <a:cubicBezTo>
                  <a:pt x="41" y="268"/>
                  <a:pt x="41" y="268"/>
                  <a:pt x="41" y="268"/>
                </a:cubicBezTo>
                <a:cubicBezTo>
                  <a:pt x="39" y="269"/>
                  <a:pt x="39" y="269"/>
                  <a:pt x="39" y="269"/>
                </a:cubicBezTo>
                <a:cubicBezTo>
                  <a:pt x="38" y="269"/>
                  <a:pt x="38" y="269"/>
                  <a:pt x="38" y="269"/>
                </a:cubicBezTo>
                <a:cubicBezTo>
                  <a:pt x="38" y="269"/>
                  <a:pt x="38" y="269"/>
                  <a:pt x="38" y="269"/>
                </a:cubicBezTo>
                <a:cubicBezTo>
                  <a:pt x="38" y="268"/>
                  <a:pt x="38" y="268"/>
                  <a:pt x="38" y="268"/>
                </a:cubicBezTo>
                <a:cubicBezTo>
                  <a:pt x="38" y="266"/>
                  <a:pt x="38" y="266"/>
                  <a:pt x="38" y="266"/>
                </a:cubicBezTo>
                <a:cubicBezTo>
                  <a:pt x="39" y="265"/>
                  <a:pt x="39" y="265"/>
                  <a:pt x="39" y="265"/>
                </a:cubicBezTo>
                <a:cubicBezTo>
                  <a:pt x="40" y="265"/>
                  <a:pt x="40" y="265"/>
                  <a:pt x="40" y="265"/>
                </a:cubicBezTo>
                <a:cubicBezTo>
                  <a:pt x="41" y="266"/>
                  <a:pt x="41" y="266"/>
                  <a:pt x="41" y="266"/>
                </a:cubicBezTo>
                <a:cubicBezTo>
                  <a:pt x="41" y="266"/>
                  <a:pt x="41" y="266"/>
                  <a:pt x="41" y="266"/>
                </a:cubicBezTo>
                <a:cubicBezTo>
                  <a:pt x="43" y="266"/>
                  <a:pt x="43" y="266"/>
                  <a:pt x="43" y="266"/>
                </a:cubicBezTo>
                <a:cubicBezTo>
                  <a:pt x="44" y="266"/>
                  <a:pt x="44" y="266"/>
                  <a:pt x="44" y="266"/>
                </a:cubicBezTo>
                <a:cubicBezTo>
                  <a:pt x="43" y="265"/>
                  <a:pt x="43" y="265"/>
                  <a:pt x="43" y="265"/>
                </a:cubicBezTo>
                <a:cubicBezTo>
                  <a:pt x="43" y="265"/>
                  <a:pt x="43" y="265"/>
                  <a:pt x="43" y="265"/>
                </a:cubicBezTo>
                <a:cubicBezTo>
                  <a:pt x="42" y="265"/>
                  <a:pt x="42" y="265"/>
                  <a:pt x="42" y="265"/>
                </a:cubicBezTo>
                <a:cubicBezTo>
                  <a:pt x="41" y="265"/>
                  <a:pt x="41" y="265"/>
                  <a:pt x="41" y="265"/>
                </a:cubicBezTo>
                <a:cubicBezTo>
                  <a:pt x="40" y="265"/>
                  <a:pt x="40" y="265"/>
                  <a:pt x="40" y="265"/>
                </a:cubicBezTo>
                <a:cubicBezTo>
                  <a:pt x="40" y="264"/>
                  <a:pt x="40" y="264"/>
                  <a:pt x="40" y="264"/>
                </a:cubicBezTo>
                <a:cubicBezTo>
                  <a:pt x="40" y="264"/>
                  <a:pt x="40" y="264"/>
                  <a:pt x="40" y="264"/>
                </a:cubicBezTo>
                <a:cubicBezTo>
                  <a:pt x="41" y="263"/>
                  <a:pt x="41" y="263"/>
                  <a:pt x="41" y="263"/>
                </a:cubicBezTo>
                <a:cubicBezTo>
                  <a:pt x="42" y="264"/>
                  <a:pt x="42" y="264"/>
                  <a:pt x="42" y="264"/>
                </a:cubicBezTo>
                <a:cubicBezTo>
                  <a:pt x="43" y="264"/>
                  <a:pt x="43" y="264"/>
                  <a:pt x="43" y="264"/>
                </a:cubicBezTo>
                <a:cubicBezTo>
                  <a:pt x="44" y="264"/>
                  <a:pt x="44" y="264"/>
                  <a:pt x="44" y="264"/>
                </a:cubicBezTo>
                <a:cubicBezTo>
                  <a:pt x="44" y="263"/>
                  <a:pt x="44" y="263"/>
                  <a:pt x="44" y="263"/>
                </a:cubicBezTo>
                <a:cubicBezTo>
                  <a:pt x="43" y="263"/>
                  <a:pt x="43" y="263"/>
                  <a:pt x="43" y="263"/>
                </a:cubicBezTo>
                <a:cubicBezTo>
                  <a:pt x="43" y="263"/>
                  <a:pt x="43" y="263"/>
                  <a:pt x="43" y="263"/>
                </a:cubicBezTo>
                <a:cubicBezTo>
                  <a:pt x="42" y="263"/>
                  <a:pt x="42" y="263"/>
                  <a:pt x="42" y="263"/>
                </a:cubicBezTo>
                <a:cubicBezTo>
                  <a:pt x="43" y="262"/>
                  <a:pt x="43" y="262"/>
                  <a:pt x="43" y="262"/>
                </a:cubicBezTo>
                <a:cubicBezTo>
                  <a:pt x="44" y="262"/>
                  <a:pt x="44" y="262"/>
                  <a:pt x="44" y="262"/>
                </a:cubicBezTo>
                <a:cubicBezTo>
                  <a:pt x="44" y="262"/>
                  <a:pt x="44" y="262"/>
                  <a:pt x="44" y="262"/>
                </a:cubicBezTo>
                <a:cubicBezTo>
                  <a:pt x="44" y="262"/>
                  <a:pt x="44" y="262"/>
                  <a:pt x="44" y="262"/>
                </a:cubicBezTo>
                <a:cubicBezTo>
                  <a:pt x="45" y="262"/>
                  <a:pt x="45" y="262"/>
                  <a:pt x="45" y="262"/>
                </a:cubicBezTo>
                <a:cubicBezTo>
                  <a:pt x="46" y="262"/>
                  <a:pt x="46" y="262"/>
                  <a:pt x="46" y="262"/>
                </a:cubicBezTo>
                <a:cubicBezTo>
                  <a:pt x="46" y="261"/>
                  <a:pt x="46" y="261"/>
                  <a:pt x="46" y="261"/>
                </a:cubicBezTo>
                <a:cubicBezTo>
                  <a:pt x="46" y="260"/>
                  <a:pt x="46" y="260"/>
                  <a:pt x="46" y="260"/>
                </a:cubicBezTo>
                <a:cubicBezTo>
                  <a:pt x="45" y="260"/>
                  <a:pt x="45" y="260"/>
                  <a:pt x="45" y="260"/>
                </a:cubicBezTo>
                <a:cubicBezTo>
                  <a:pt x="45" y="260"/>
                  <a:pt x="45" y="260"/>
                  <a:pt x="45" y="260"/>
                </a:cubicBezTo>
                <a:cubicBezTo>
                  <a:pt x="44" y="261"/>
                  <a:pt x="44" y="261"/>
                  <a:pt x="44" y="261"/>
                </a:cubicBezTo>
                <a:cubicBezTo>
                  <a:pt x="43" y="261"/>
                  <a:pt x="43" y="261"/>
                  <a:pt x="43" y="261"/>
                </a:cubicBezTo>
                <a:cubicBezTo>
                  <a:pt x="41" y="260"/>
                  <a:pt x="41" y="260"/>
                  <a:pt x="41" y="260"/>
                </a:cubicBezTo>
                <a:cubicBezTo>
                  <a:pt x="39" y="260"/>
                  <a:pt x="39" y="260"/>
                  <a:pt x="39" y="260"/>
                </a:cubicBezTo>
                <a:cubicBezTo>
                  <a:pt x="39" y="259"/>
                  <a:pt x="39" y="259"/>
                  <a:pt x="39" y="259"/>
                </a:cubicBezTo>
                <a:cubicBezTo>
                  <a:pt x="39" y="259"/>
                  <a:pt x="39" y="259"/>
                  <a:pt x="39" y="259"/>
                </a:cubicBezTo>
                <a:cubicBezTo>
                  <a:pt x="40" y="259"/>
                  <a:pt x="40" y="259"/>
                  <a:pt x="40" y="259"/>
                </a:cubicBezTo>
                <a:cubicBezTo>
                  <a:pt x="41" y="259"/>
                  <a:pt x="41" y="259"/>
                  <a:pt x="41" y="259"/>
                </a:cubicBezTo>
                <a:cubicBezTo>
                  <a:pt x="41" y="259"/>
                  <a:pt x="41" y="259"/>
                  <a:pt x="41" y="259"/>
                </a:cubicBezTo>
                <a:cubicBezTo>
                  <a:pt x="41" y="258"/>
                  <a:pt x="41" y="258"/>
                  <a:pt x="41" y="258"/>
                </a:cubicBezTo>
                <a:cubicBezTo>
                  <a:pt x="40" y="258"/>
                  <a:pt x="40" y="258"/>
                  <a:pt x="40" y="258"/>
                </a:cubicBezTo>
                <a:cubicBezTo>
                  <a:pt x="40" y="258"/>
                  <a:pt x="40" y="258"/>
                  <a:pt x="40" y="258"/>
                </a:cubicBezTo>
                <a:cubicBezTo>
                  <a:pt x="40" y="257"/>
                  <a:pt x="40" y="257"/>
                  <a:pt x="40" y="257"/>
                </a:cubicBezTo>
                <a:cubicBezTo>
                  <a:pt x="41" y="257"/>
                  <a:pt x="41" y="257"/>
                  <a:pt x="41" y="257"/>
                </a:cubicBezTo>
                <a:cubicBezTo>
                  <a:pt x="42" y="257"/>
                  <a:pt x="42" y="257"/>
                  <a:pt x="42" y="257"/>
                </a:cubicBezTo>
                <a:cubicBezTo>
                  <a:pt x="43" y="257"/>
                  <a:pt x="43" y="257"/>
                  <a:pt x="43" y="257"/>
                </a:cubicBezTo>
                <a:cubicBezTo>
                  <a:pt x="47" y="257"/>
                  <a:pt x="47" y="257"/>
                  <a:pt x="47" y="257"/>
                </a:cubicBezTo>
                <a:cubicBezTo>
                  <a:pt x="48" y="257"/>
                  <a:pt x="48" y="257"/>
                  <a:pt x="48" y="257"/>
                </a:cubicBezTo>
                <a:cubicBezTo>
                  <a:pt x="49" y="257"/>
                  <a:pt x="49" y="257"/>
                  <a:pt x="49" y="257"/>
                </a:cubicBezTo>
                <a:cubicBezTo>
                  <a:pt x="50" y="257"/>
                  <a:pt x="50" y="257"/>
                  <a:pt x="50" y="257"/>
                </a:cubicBezTo>
                <a:cubicBezTo>
                  <a:pt x="50" y="256"/>
                  <a:pt x="50" y="256"/>
                  <a:pt x="50" y="256"/>
                </a:cubicBezTo>
                <a:cubicBezTo>
                  <a:pt x="48" y="256"/>
                  <a:pt x="48" y="256"/>
                  <a:pt x="48" y="256"/>
                </a:cubicBezTo>
                <a:cubicBezTo>
                  <a:pt x="46" y="256"/>
                  <a:pt x="46" y="256"/>
                  <a:pt x="46" y="256"/>
                </a:cubicBezTo>
                <a:cubicBezTo>
                  <a:pt x="44" y="256"/>
                  <a:pt x="44" y="256"/>
                  <a:pt x="44" y="256"/>
                </a:cubicBezTo>
                <a:cubicBezTo>
                  <a:pt x="43" y="256"/>
                  <a:pt x="43" y="256"/>
                  <a:pt x="43" y="256"/>
                </a:cubicBezTo>
                <a:cubicBezTo>
                  <a:pt x="43" y="256"/>
                  <a:pt x="43" y="256"/>
                  <a:pt x="43" y="256"/>
                </a:cubicBezTo>
                <a:cubicBezTo>
                  <a:pt x="42" y="256"/>
                  <a:pt x="42" y="256"/>
                  <a:pt x="42" y="256"/>
                </a:cubicBezTo>
                <a:cubicBezTo>
                  <a:pt x="41" y="256"/>
                  <a:pt x="41" y="256"/>
                  <a:pt x="41" y="256"/>
                </a:cubicBezTo>
                <a:cubicBezTo>
                  <a:pt x="40" y="257"/>
                  <a:pt x="40" y="257"/>
                  <a:pt x="40" y="257"/>
                </a:cubicBezTo>
                <a:cubicBezTo>
                  <a:pt x="40" y="257"/>
                  <a:pt x="40" y="257"/>
                  <a:pt x="40" y="257"/>
                </a:cubicBezTo>
                <a:cubicBezTo>
                  <a:pt x="40" y="256"/>
                  <a:pt x="40" y="256"/>
                  <a:pt x="40" y="256"/>
                </a:cubicBezTo>
                <a:cubicBezTo>
                  <a:pt x="41" y="255"/>
                  <a:pt x="41" y="255"/>
                  <a:pt x="41" y="255"/>
                </a:cubicBezTo>
                <a:cubicBezTo>
                  <a:pt x="42" y="254"/>
                  <a:pt x="42" y="254"/>
                  <a:pt x="42" y="254"/>
                </a:cubicBezTo>
                <a:cubicBezTo>
                  <a:pt x="43" y="254"/>
                  <a:pt x="43" y="254"/>
                  <a:pt x="43" y="254"/>
                </a:cubicBezTo>
                <a:cubicBezTo>
                  <a:pt x="44" y="253"/>
                  <a:pt x="44" y="253"/>
                  <a:pt x="44" y="253"/>
                </a:cubicBezTo>
                <a:cubicBezTo>
                  <a:pt x="44" y="252"/>
                  <a:pt x="44" y="252"/>
                  <a:pt x="44" y="252"/>
                </a:cubicBezTo>
                <a:cubicBezTo>
                  <a:pt x="45" y="251"/>
                  <a:pt x="45" y="251"/>
                  <a:pt x="45" y="251"/>
                </a:cubicBezTo>
                <a:cubicBezTo>
                  <a:pt x="46" y="251"/>
                  <a:pt x="46" y="251"/>
                  <a:pt x="46" y="251"/>
                </a:cubicBezTo>
                <a:cubicBezTo>
                  <a:pt x="46" y="252"/>
                  <a:pt x="46" y="252"/>
                  <a:pt x="46" y="252"/>
                </a:cubicBezTo>
                <a:cubicBezTo>
                  <a:pt x="47" y="252"/>
                  <a:pt x="47" y="252"/>
                  <a:pt x="47" y="252"/>
                </a:cubicBezTo>
                <a:cubicBezTo>
                  <a:pt x="48" y="251"/>
                  <a:pt x="48" y="251"/>
                  <a:pt x="48" y="251"/>
                </a:cubicBezTo>
                <a:cubicBezTo>
                  <a:pt x="49" y="251"/>
                  <a:pt x="49" y="251"/>
                  <a:pt x="49" y="251"/>
                </a:cubicBezTo>
                <a:cubicBezTo>
                  <a:pt x="49" y="252"/>
                  <a:pt x="49" y="252"/>
                  <a:pt x="49" y="252"/>
                </a:cubicBezTo>
                <a:cubicBezTo>
                  <a:pt x="50" y="252"/>
                  <a:pt x="50" y="252"/>
                  <a:pt x="50" y="252"/>
                </a:cubicBezTo>
                <a:cubicBezTo>
                  <a:pt x="51" y="253"/>
                  <a:pt x="51" y="253"/>
                  <a:pt x="51" y="253"/>
                </a:cubicBezTo>
                <a:cubicBezTo>
                  <a:pt x="53" y="253"/>
                  <a:pt x="53" y="253"/>
                  <a:pt x="53" y="253"/>
                </a:cubicBezTo>
                <a:cubicBezTo>
                  <a:pt x="54" y="253"/>
                  <a:pt x="54" y="253"/>
                  <a:pt x="54" y="253"/>
                </a:cubicBezTo>
                <a:cubicBezTo>
                  <a:pt x="55" y="255"/>
                  <a:pt x="55" y="255"/>
                  <a:pt x="55" y="255"/>
                </a:cubicBezTo>
                <a:cubicBezTo>
                  <a:pt x="56" y="256"/>
                  <a:pt x="56" y="256"/>
                  <a:pt x="56" y="256"/>
                </a:cubicBezTo>
                <a:cubicBezTo>
                  <a:pt x="58" y="256"/>
                  <a:pt x="58" y="256"/>
                  <a:pt x="58" y="256"/>
                </a:cubicBezTo>
                <a:cubicBezTo>
                  <a:pt x="59" y="256"/>
                  <a:pt x="59" y="256"/>
                  <a:pt x="59" y="256"/>
                </a:cubicBezTo>
                <a:cubicBezTo>
                  <a:pt x="59" y="256"/>
                  <a:pt x="59" y="256"/>
                  <a:pt x="59" y="256"/>
                </a:cubicBezTo>
                <a:cubicBezTo>
                  <a:pt x="60" y="255"/>
                  <a:pt x="60" y="255"/>
                  <a:pt x="60" y="255"/>
                </a:cubicBezTo>
                <a:cubicBezTo>
                  <a:pt x="59" y="255"/>
                  <a:pt x="59" y="255"/>
                  <a:pt x="59" y="255"/>
                </a:cubicBezTo>
                <a:cubicBezTo>
                  <a:pt x="58" y="255"/>
                  <a:pt x="58" y="255"/>
                  <a:pt x="58" y="255"/>
                </a:cubicBezTo>
                <a:cubicBezTo>
                  <a:pt x="58" y="255"/>
                  <a:pt x="58" y="255"/>
                  <a:pt x="58" y="255"/>
                </a:cubicBezTo>
                <a:cubicBezTo>
                  <a:pt x="57" y="255"/>
                  <a:pt x="57" y="255"/>
                  <a:pt x="57" y="255"/>
                </a:cubicBezTo>
                <a:cubicBezTo>
                  <a:pt x="56" y="254"/>
                  <a:pt x="56" y="254"/>
                  <a:pt x="56" y="254"/>
                </a:cubicBezTo>
                <a:cubicBezTo>
                  <a:pt x="55" y="253"/>
                  <a:pt x="55" y="253"/>
                  <a:pt x="55" y="253"/>
                </a:cubicBezTo>
                <a:cubicBezTo>
                  <a:pt x="55" y="252"/>
                  <a:pt x="55" y="252"/>
                  <a:pt x="55" y="252"/>
                </a:cubicBezTo>
                <a:cubicBezTo>
                  <a:pt x="55" y="252"/>
                  <a:pt x="55" y="252"/>
                  <a:pt x="55" y="252"/>
                </a:cubicBezTo>
                <a:cubicBezTo>
                  <a:pt x="57" y="252"/>
                  <a:pt x="57" y="252"/>
                  <a:pt x="57" y="252"/>
                </a:cubicBezTo>
                <a:cubicBezTo>
                  <a:pt x="59" y="252"/>
                  <a:pt x="59" y="252"/>
                  <a:pt x="59" y="252"/>
                </a:cubicBezTo>
                <a:cubicBezTo>
                  <a:pt x="59" y="251"/>
                  <a:pt x="59" y="251"/>
                  <a:pt x="59" y="251"/>
                </a:cubicBezTo>
                <a:cubicBezTo>
                  <a:pt x="59" y="250"/>
                  <a:pt x="59" y="250"/>
                  <a:pt x="59" y="250"/>
                </a:cubicBezTo>
                <a:cubicBezTo>
                  <a:pt x="58" y="250"/>
                  <a:pt x="58" y="250"/>
                  <a:pt x="58" y="250"/>
                </a:cubicBezTo>
                <a:cubicBezTo>
                  <a:pt x="57" y="250"/>
                  <a:pt x="57" y="250"/>
                  <a:pt x="57" y="250"/>
                </a:cubicBezTo>
                <a:cubicBezTo>
                  <a:pt x="57" y="251"/>
                  <a:pt x="57" y="251"/>
                  <a:pt x="57" y="251"/>
                </a:cubicBezTo>
                <a:cubicBezTo>
                  <a:pt x="57" y="251"/>
                  <a:pt x="57" y="251"/>
                  <a:pt x="57" y="251"/>
                </a:cubicBezTo>
                <a:cubicBezTo>
                  <a:pt x="57" y="251"/>
                  <a:pt x="57" y="251"/>
                  <a:pt x="57" y="251"/>
                </a:cubicBezTo>
                <a:cubicBezTo>
                  <a:pt x="55" y="251"/>
                  <a:pt x="55" y="251"/>
                  <a:pt x="55" y="251"/>
                </a:cubicBezTo>
                <a:cubicBezTo>
                  <a:pt x="55" y="251"/>
                  <a:pt x="55" y="251"/>
                  <a:pt x="55" y="251"/>
                </a:cubicBezTo>
                <a:cubicBezTo>
                  <a:pt x="54" y="250"/>
                  <a:pt x="54" y="250"/>
                  <a:pt x="54" y="250"/>
                </a:cubicBezTo>
                <a:cubicBezTo>
                  <a:pt x="55" y="250"/>
                  <a:pt x="55" y="250"/>
                  <a:pt x="55" y="250"/>
                </a:cubicBezTo>
                <a:cubicBezTo>
                  <a:pt x="56" y="250"/>
                  <a:pt x="56" y="250"/>
                  <a:pt x="56" y="250"/>
                </a:cubicBezTo>
                <a:cubicBezTo>
                  <a:pt x="56" y="250"/>
                  <a:pt x="56" y="250"/>
                  <a:pt x="56" y="250"/>
                </a:cubicBezTo>
                <a:cubicBezTo>
                  <a:pt x="55" y="249"/>
                  <a:pt x="55" y="249"/>
                  <a:pt x="55" y="249"/>
                </a:cubicBezTo>
                <a:cubicBezTo>
                  <a:pt x="55" y="249"/>
                  <a:pt x="55" y="249"/>
                  <a:pt x="55" y="249"/>
                </a:cubicBezTo>
                <a:cubicBezTo>
                  <a:pt x="54" y="249"/>
                  <a:pt x="54" y="249"/>
                  <a:pt x="54" y="249"/>
                </a:cubicBezTo>
                <a:cubicBezTo>
                  <a:pt x="54" y="249"/>
                  <a:pt x="54" y="249"/>
                  <a:pt x="54" y="249"/>
                </a:cubicBezTo>
                <a:cubicBezTo>
                  <a:pt x="53" y="249"/>
                  <a:pt x="53" y="249"/>
                  <a:pt x="53" y="249"/>
                </a:cubicBezTo>
                <a:cubicBezTo>
                  <a:pt x="53" y="250"/>
                  <a:pt x="53" y="250"/>
                  <a:pt x="53" y="250"/>
                </a:cubicBezTo>
                <a:cubicBezTo>
                  <a:pt x="54" y="250"/>
                  <a:pt x="54" y="250"/>
                  <a:pt x="54" y="250"/>
                </a:cubicBezTo>
                <a:cubicBezTo>
                  <a:pt x="54" y="251"/>
                  <a:pt x="54" y="251"/>
                  <a:pt x="54" y="251"/>
                </a:cubicBezTo>
                <a:cubicBezTo>
                  <a:pt x="53" y="252"/>
                  <a:pt x="53" y="252"/>
                  <a:pt x="53" y="252"/>
                </a:cubicBezTo>
                <a:cubicBezTo>
                  <a:pt x="52" y="252"/>
                  <a:pt x="52" y="252"/>
                  <a:pt x="52" y="252"/>
                </a:cubicBezTo>
                <a:cubicBezTo>
                  <a:pt x="51" y="252"/>
                  <a:pt x="51" y="252"/>
                  <a:pt x="51" y="252"/>
                </a:cubicBezTo>
                <a:cubicBezTo>
                  <a:pt x="50" y="251"/>
                  <a:pt x="50" y="251"/>
                  <a:pt x="50" y="251"/>
                </a:cubicBezTo>
                <a:cubicBezTo>
                  <a:pt x="49" y="251"/>
                  <a:pt x="49" y="251"/>
                  <a:pt x="49" y="251"/>
                </a:cubicBezTo>
                <a:cubicBezTo>
                  <a:pt x="49" y="250"/>
                  <a:pt x="49" y="250"/>
                  <a:pt x="49" y="250"/>
                </a:cubicBezTo>
                <a:cubicBezTo>
                  <a:pt x="48" y="250"/>
                  <a:pt x="48" y="250"/>
                  <a:pt x="48" y="250"/>
                </a:cubicBezTo>
                <a:cubicBezTo>
                  <a:pt x="48" y="250"/>
                  <a:pt x="48" y="250"/>
                  <a:pt x="48" y="250"/>
                </a:cubicBezTo>
                <a:cubicBezTo>
                  <a:pt x="47" y="250"/>
                  <a:pt x="47" y="250"/>
                  <a:pt x="47" y="250"/>
                </a:cubicBezTo>
                <a:cubicBezTo>
                  <a:pt x="46" y="250"/>
                  <a:pt x="46" y="250"/>
                  <a:pt x="46" y="250"/>
                </a:cubicBezTo>
                <a:cubicBezTo>
                  <a:pt x="45" y="250"/>
                  <a:pt x="45" y="250"/>
                  <a:pt x="45" y="250"/>
                </a:cubicBezTo>
                <a:cubicBezTo>
                  <a:pt x="44" y="251"/>
                  <a:pt x="44" y="251"/>
                  <a:pt x="44" y="251"/>
                </a:cubicBezTo>
                <a:cubicBezTo>
                  <a:pt x="43" y="252"/>
                  <a:pt x="43" y="252"/>
                  <a:pt x="43" y="252"/>
                </a:cubicBezTo>
                <a:cubicBezTo>
                  <a:pt x="42" y="253"/>
                  <a:pt x="42" y="253"/>
                  <a:pt x="42" y="253"/>
                </a:cubicBezTo>
                <a:cubicBezTo>
                  <a:pt x="42" y="252"/>
                  <a:pt x="42" y="252"/>
                  <a:pt x="42" y="252"/>
                </a:cubicBezTo>
                <a:cubicBezTo>
                  <a:pt x="42" y="252"/>
                  <a:pt x="42" y="252"/>
                  <a:pt x="42" y="252"/>
                </a:cubicBezTo>
                <a:cubicBezTo>
                  <a:pt x="43" y="250"/>
                  <a:pt x="43" y="250"/>
                  <a:pt x="43" y="250"/>
                </a:cubicBezTo>
                <a:cubicBezTo>
                  <a:pt x="44" y="250"/>
                  <a:pt x="44" y="250"/>
                  <a:pt x="44" y="250"/>
                </a:cubicBezTo>
                <a:cubicBezTo>
                  <a:pt x="44" y="250"/>
                  <a:pt x="44" y="250"/>
                  <a:pt x="44" y="250"/>
                </a:cubicBezTo>
                <a:cubicBezTo>
                  <a:pt x="44" y="249"/>
                  <a:pt x="44" y="249"/>
                  <a:pt x="44" y="249"/>
                </a:cubicBezTo>
                <a:cubicBezTo>
                  <a:pt x="44" y="249"/>
                  <a:pt x="44" y="249"/>
                  <a:pt x="44" y="249"/>
                </a:cubicBezTo>
                <a:cubicBezTo>
                  <a:pt x="45" y="248"/>
                  <a:pt x="45" y="248"/>
                  <a:pt x="45" y="248"/>
                </a:cubicBezTo>
                <a:cubicBezTo>
                  <a:pt x="45" y="248"/>
                  <a:pt x="45" y="248"/>
                  <a:pt x="45" y="248"/>
                </a:cubicBezTo>
                <a:cubicBezTo>
                  <a:pt x="46" y="247"/>
                  <a:pt x="46" y="247"/>
                  <a:pt x="46" y="247"/>
                </a:cubicBezTo>
                <a:cubicBezTo>
                  <a:pt x="46" y="247"/>
                  <a:pt x="46" y="247"/>
                  <a:pt x="46" y="247"/>
                </a:cubicBezTo>
                <a:cubicBezTo>
                  <a:pt x="47" y="248"/>
                  <a:pt x="47" y="248"/>
                  <a:pt x="47" y="248"/>
                </a:cubicBezTo>
                <a:cubicBezTo>
                  <a:pt x="48" y="248"/>
                  <a:pt x="48" y="248"/>
                  <a:pt x="48" y="248"/>
                </a:cubicBezTo>
                <a:cubicBezTo>
                  <a:pt x="50" y="248"/>
                  <a:pt x="50" y="248"/>
                  <a:pt x="50" y="248"/>
                </a:cubicBezTo>
                <a:cubicBezTo>
                  <a:pt x="50" y="248"/>
                  <a:pt x="50" y="248"/>
                  <a:pt x="50" y="248"/>
                </a:cubicBezTo>
                <a:cubicBezTo>
                  <a:pt x="49" y="248"/>
                  <a:pt x="49" y="248"/>
                  <a:pt x="49" y="248"/>
                </a:cubicBezTo>
                <a:cubicBezTo>
                  <a:pt x="48" y="248"/>
                  <a:pt x="48" y="248"/>
                  <a:pt x="48" y="248"/>
                </a:cubicBezTo>
                <a:cubicBezTo>
                  <a:pt x="48" y="247"/>
                  <a:pt x="48" y="247"/>
                  <a:pt x="48" y="247"/>
                </a:cubicBezTo>
                <a:cubicBezTo>
                  <a:pt x="46" y="246"/>
                  <a:pt x="46" y="246"/>
                  <a:pt x="46" y="246"/>
                </a:cubicBezTo>
                <a:cubicBezTo>
                  <a:pt x="46" y="245"/>
                  <a:pt x="46" y="245"/>
                  <a:pt x="46" y="245"/>
                </a:cubicBezTo>
                <a:cubicBezTo>
                  <a:pt x="45" y="245"/>
                  <a:pt x="45" y="245"/>
                  <a:pt x="45" y="245"/>
                </a:cubicBezTo>
                <a:cubicBezTo>
                  <a:pt x="45" y="244"/>
                  <a:pt x="45" y="244"/>
                  <a:pt x="45" y="244"/>
                </a:cubicBezTo>
                <a:cubicBezTo>
                  <a:pt x="46" y="244"/>
                  <a:pt x="46" y="244"/>
                  <a:pt x="46" y="244"/>
                </a:cubicBezTo>
                <a:cubicBezTo>
                  <a:pt x="47" y="244"/>
                  <a:pt x="47" y="244"/>
                  <a:pt x="47" y="244"/>
                </a:cubicBezTo>
                <a:cubicBezTo>
                  <a:pt x="48" y="246"/>
                  <a:pt x="48" y="246"/>
                  <a:pt x="48" y="246"/>
                </a:cubicBezTo>
                <a:cubicBezTo>
                  <a:pt x="49" y="247"/>
                  <a:pt x="49" y="247"/>
                  <a:pt x="49" y="247"/>
                </a:cubicBezTo>
                <a:cubicBezTo>
                  <a:pt x="49" y="247"/>
                  <a:pt x="49" y="247"/>
                  <a:pt x="49" y="247"/>
                </a:cubicBezTo>
                <a:cubicBezTo>
                  <a:pt x="49" y="246"/>
                  <a:pt x="49" y="246"/>
                  <a:pt x="49" y="246"/>
                </a:cubicBezTo>
                <a:cubicBezTo>
                  <a:pt x="49" y="245"/>
                  <a:pt x="49" y="245"/>
                  <a:pt x="49" y="245"/>
                </a:cubicBezTo>
                <a:cubicBezTo>
                  <a:pt x="49" y="245"/>
                  <a:pt x="49" y="245"/>
                  <a:pt x="49" y="245"/>
                </a:cubicBezTo>
                <a:cubicBezTo>
                  <a:pt x="50" y="246"/>
                  <a:pt x="50" y="246"/>
                  <a:pt x="50" y="246"/>
                </a:cubicBezTo>
                <a:cubicBezTo>
                  <a:pt x="50" y="246"/>
                  <a:pt x="50" y="246"/>
                  <a:pt x="50" y="246"/>
                </a:cubicBezTo>
                <a:cubicBezTo>
                  <a:pt x="52" y="248"/>
                  <a:pt x="52" y="248"/>
                  <a:pt x="52" y="248"/>
                </a:cubicBezTo>
                <a:cubicBezTo>
                  <a:pt x="53" y="248"/>
                  <a:pt x="53" y="248"/>
                  <a:pt x="53" y="248"/>
                </a:cubicBezTo>
                <a:cubicBezTo>
                  <a:pt x="54" y="247"/>
                  <a:pt x="54" y="247"/>
                  <a:pt x="54" y="247"/>
                </a:cubicBezTo>
                <a:cubicBezTo>
                  <a:pt x="55" y="247"/>
                  <a:pt x="55" y="247"/>
                  <a:pt x="55" y="247"/>
                </a:cubicBezTo>
                <a:cubicBezTo>
                  <a:pt x="55" y="248"/>
                  <a:pt x="55" y="248"/>
                  <a:pt x="55" y="248"/>
                </a:cubicBezTo>
                <a:cubicBezTo>
                  <a:pt x="57" y="249"/>
                  <a:pt x="57" y="249"/>
                  <a:pt x="57" y="249"/>
                </a:cubicBezTo>
                <a:cubicBezTo>
                  <a:pt x="58" y="249"/>
                  <a:pt x="58" y="249"/>
                  <a:pt x="58" y="249"/>
                </a:cubicBezTo>
                <a:cubicBezTo>
                  <a:pt x="58" y="249"/>
                  <a:pt x="58" y="249"/>
                  <a:pt x="58" y="249"/>
                </a:cubicBezTo>
                <a:cubicBezTo>
                  <a:pt x="59" y="249"/>
                  <a:pt x="59" y="249"/>
                  <a:pt x="59" y="249"/>
                </a:cubicBezTo>
                <a:cubicBezTo>
                  <a:pt x="59" y="249"/>
                  <a:pt x="59" y="249"/>
                  <a:pt x="59" y="249"/>
                </a:cubicBezTo>
                <a:cubicBezTo>
                  <a:pt x="58" y="248"/>
                  <a:pt x="58" y="248"/>
                  <a:pt x="58" y="248"/>
                </a:cubicBezTo>
                <a:cubicBezTo>
                  <a:pt x="55" y="246"/>
                  <a:pt x="55" y="246"/>
                  <a:pt x="55" y="246"/>
                </a:cubicBezTo>
                <a:cubicBezTo>
                  <a:pt x="55" y="245"/>
                  <a:pt x="55" y="245"/>
                  <a:pt x="55" y="245"/>
                </a:cubicBezTo>
                <a:cubicBezTo>
                  <a:pt x="55" y="245"/>
                  <a:pt x="55" y="245"/>
                  <a:pt x="55" y="245"/>
                </a:cubicBezTo>
                <a:cubicBezTo>
                  <a:pt x="56" y="244"/>
                  <a:pt x="56" y="244"/>
                  <a:pt x="56" y="244"/>
                </a:cubicBezTo>
                <a:cubicBezTo>
                  <a:pt x="57" y="244"/>
                  <a:pt x="57" y="244"/>
                  <a:pt x="57" y="244"/>
                </a:cubicBezTo>
                <a:cubicBezTo>
                  <a:pt x="57" y="243"/>
                  <a:pt x="57" y="243"/>
                  <a:pt x="57" y="243"/>
                </a:cubicBezTo>
                <a:cubicBezTo>
                  <a:pt x="57" y="243"/>
                  <a:pt x="57" y="243"/>
                  <a:pt x="57" y="243"/>
                </a:cubicBezTo>
                <a:cubicBezTo>
                  <a:pt x="57" y="242"/>
                  <a:pt x="57" y="242"/>
                  <a:pt x="57" y="242"/>
                </a:cubicBezTo>
                <a:cubicBezTo>
                  <a:pt x="57" y="242"/>
                  <a:pt x="57" y="242"/>
                  <a:pt x="57" y="242"/>
                </a:cubicBezTo>
                <a:cubicBezTo>
                  <a:pt x="56" y="243"/>
                  <a:pt x="56" y="243"/>
                  <a:pt x="56" y="243"/>
                </a:cubicBezTo>
                <a:cubicBezTo>
                  <a:pt x="54" y="243"/>
                  <a:pt x="54" y="243"/>
                  <a:pt x="54" y="243"/>
                </a:cubicBezTo>
                <a:cubicBezTo>
                  <a:pt x="54" y="243"/>
                  <a:pt x="54" y="243"/>
                  <a:pt x="54" y="243"/>
                </a:cubicBezTo>
                <a:cubicBezTo>
                  <a:pt x="54" y="243"/>
                  <a:pt x="54" y="243"/>
                  <a:pt x="54" y="243"/>
                </a:cubicBezTo>
                <a:cubicBezTo>
                  <a:pt x="55" y="244"/>
                  <a:pt x="55" y="244"/>
                  <a:pt x="55" y="244"/>
                </a:cubicBezTo>
                <a:cubicBezTo>
                  <a:pt x="55" y="244"/>
                  <a:pt x="55" y="244"/>
                  <a:pt x="55" y="244"/>
                </a:cubicBezTo>
                <a:cubicBezTo>
                  <a:pt x="53" y="244"/>
                  <a:pt x="53" y="244"/>
                  <a:pt x="53" y="244"/>
                </a:cubicBezTo>
                <a:cubicBezTo>
                  <a:pt x="53" y="245"/>
                  <a:pt x="53" y="245"/>
                  <a:pt x="53" y="245"/>
                </a:cubicBezTo>
                <a:cubicBezTo>
                  <a:pt x="52" y="244"/>
                  <a:pt x="52" y="244"/>
                  <a:pt x="52" y="244"/>
                </a:cubicBezTo>
                <a:cubicBezTo>
                  <a:pt x="51" y="245"/>
                  <a:pt x="51" y="245"/>
                  <a:pt x="51" y="245"/>
                </a:cubicBezTo>
                <a:cubicBezTo>
                  <a:pt x="50" y="244"/>
                  <a:pt x="50" y="244"/>
                  <a:pt x="50" y="244"/>
                </a:cubicBezTo>
                <a:cubicBezTo>
                  <a:pt x="49" y="244"/>
                  <a:pt x="49" y="244"/>
                  <a:pt x="49" y="244"/>
                </a:cubicBezTo>
                <a:cubicBezTo>
                  <a:pt x="49" y="243"/>
                  <a:pt x="49" y="243"/>
                  <a:pt x="49" y="243"/>
                </a:cubicBezTo>
                <a:cubicBezTo>
                  <a:pt x="49" y="243"/>
                  <a:pt x="49" y="243"/>
                  <a:pt x="49" y="243"/>
                </a:cubicBezTo>
                <a:cubicBezTo>
                  <a:pt x="50" y="242"/>
                  <a:pt x="50" y="242"/>
                  <a:pt x="50" y="242"/>
                </a:cubicBezTo>
                <a:cubicBezTo>
                  <a:pt x="49" y="242"/>
                  <a:pt x="49" y="242"/>
                  <a:pt x="49" y="242"/>
                </a:cubicBezTo>
                <a:cubicBezTo>
                  <a:pt x="48" y="242"/>
                  <a:pt x="48" y="242"/>
                  <a:pt x="48" y="242"/>
                </a:cubicBezTo>
                <a:cubicBezTo>
                  <a:pt x="48" y="242"/>
                  <a:pt x="48" y="242"/>
                  <a:pt x="48" y="242"/>
                </a:cubicBezTo>
                <a:cubicBezTo>
                  <a:pt x="49" y="242"/>
                  <a:pt x="49" y="242"/>
                  <a:pt x="49" y="242"/>
                </a:cubicBezTo>
                <a:cubicBezTo>
                  <a:pt x="51" y="241"/>
                  <a:pt x="51" y="241"/>
                  <a:pt x="51" y="241"/>
                </a:cubicBezTo>
                <a:cubicBezTo>
                  <a:pt x="52" y="241"/>
                  <a:pt x="52" y="241"/>
                  <a:pt x="52" y="241"/>
                </a:cubicBezTo>
                <a:cubicBezTo>
                  <a:pt x="53" y="241"/>
                  <a:pt x="53" y="241"/>
                  <a:pt x="53" y="241"/>
                </a:cubicBezTo>
                <a:cubicBezTo>
                  <a:pt x="54" y="241"/>
                  <a:pt x="54" y="241"/>
                  <a:pt x="54" y="241"/>
                </a:cubicBezTo>
                <a:cubicBezTo>
                  <a:pt x="55" y="241"/>
                  <a:pt x="55" y="241"/>
                  <a:pt x="55" y="241"/>
                </a:cubicBezTo>
                <a:cubicBezTo>
                  <a:pt x="56" y="241"/>
                  <a:pt x="56" y="241"/>
                  <a:pt x="56" y="241"/>
                </a:cubicBezTo>
                <a:cubicBezTo>
                  <a:pt x="57" y="241"/>
                  <a:pt x="57" y="241"/>
                  <a:pt x="57" y="241"/>
                </a:cubicBezTo>
                <a:cubicBezTo>
                  <a:pt x="57" y="240"/>
                  <a:pt x="57" y="240"/>
                  <a:pt x="57" y="240"/>
                </a:cubicBezTo>
                <a:cubicBezTo>
                  <a:pt x="58" y="240"/>
                  <a:pt x="58" y="240"/>
                  <a:pt x="58" y="240"/>
                </a:cubicBezTo>
                <a:cubicBezTo>
                  <a:pt x="58" y="240"/>
                  <a:pt x="58" y="240"/>
                  <a:pt x="58" y="240"/>
                </a:cubicBezTo>
                <a:cubicBezTo>
                  <a:pt x="59" y="239"/>
                  <a:pt x="59" y="239"/>
                  <a:pt x="59" y="239"/>
                </a:cubicBezTo>
                <a:cubicBezTo>
                  <a:pt x="59" y="238"/>
                  <a:pt x="59" y="238"/>
                  <a:pt x="59" y="238"/>
                </a:cubicBezTo>
                <a:cubicBezTo>
                  <a:pt x="59" y="238"/>
                  <a:pt x="59" y="238"/>
                  <a:pt x="59" y="238"/>
                </a:cubicBezTo>
                <a:cubicBezTo>
                  <a:pt x="58" y="239"/>
                  <a:pt x="58" y="239"/>
                  <a:pt x="58" y="239"/>
                </a:cubicBezTo>
                <a:cubicBezTo>
                  <a:pt x="57" y="239"/>
                  <a:pt x="57" y="239"/>
                  <a:pt x="57" y="239"/>
                </a:cubicBezTo>
                <a:cubicBezTo>
                  <a:pt x="57" y="238"/>
                  <a:pt x="57" y="238"/>
                  <a:pt x="57" y="238"/>
                </a:cubicBezTo>
                <a:cubicBezTo>
                  <a:pt x="58" y="237"/>
                  <a:pt x="58" y="237"/>
                  <a:pt x="58" y="237"/>
                </a:cubicBezTo>
                <a:cubicBezTo>
                  <a:pt x="59" y="235"/>
                  <a:pt x="59" y="235"/>
                  <a:pt x="59" y="235"/>
                </a:cubicBezTo>
                <a:cubicBezTo>
                  <a:pt x="58" y="234"/>
                  <a:pt x="58" y="234"/>
                  <a:pt x="58" y="234"/>
                </a:cubicBezTo>
                <a:cubicBezTo>
                  <a:pt x="59" y="234"/>
                  <a:pt x="59" y="234"/>
                  <a:pt x="59" y="234"/>
                </a:cubicBezTo>
                <a:cubicBezTo>
                  <a:pt x="59" y="234"/>
                  <a:pt x="59" y="234"/>
                  <a:pt x="59" y="234"/>
                </a:cubicBezTo>
                <a:cubicBezTo>
                  <a:pt x="60" y="235"/>
                  <a:pt x="60" y="235"/>
                  <a:pt x="60" y="235"/>
                </a:cubicBezTo>
                <a:cubicBezTo>
                  <a:pt x="60" y="236"/>
                  <a:pt x="60" y="236"/>
                  <a:pt x="60" y="236"/>
                </a:cubicBezTo>
                <a:cubicBezTo>
                  <a:pt x="60" y="236"/>
                  <a:pt x="60" y="236"/>
                  <a:pt x="60" y="236"/>
                </a:cubicBezTo>
                <a:cubicBezTo>
                  <a:pt x="61" y="236"/>
                  <a:pt x="61" y="236"/>
                  <a:pt x="61" y="236"/>
                </a:cubicBezTo>
                <a:cubicBezTo>
                  <a:pt x="62" y="236"/>
                  <a:pt x="62" y="236"/>
                  <a:pt x="62" y="236"/>
                </a:cubicBezTo>
                <a:cubicBezTo>
                  <a:pt x="62" y="237"/>
                  <a:pt x="62" y="237"/>
                  <a:pt x="62" y="237"/>
                </a:cubicBezTo>
                <a:cubicBezTo>
                  <a:pt x="63" y="237"/>
                  <a:pt x="63" y="237"/>
                  <a:pt x="63" y="237"/>
                </a:cubicBezTo>
                <a:cubicBezTo>
                  <a:pt x="63" y="236"/>
                  <a:pt x="63" y="236"/>
                  <a:pt x="63" y="236"/>
                </a:cubicBezTo>
                <a:cubicBezTo>
                  <a:pt x="63" y="237"/>
                  <a:pt x="63" y="237"/>
                  <a:pt x="63" y="237"/>
                </a:cubicBezTo>
                <a:cubicBezTo>
                  <a:pt x="64" y="237"/>
                  <a:pt x="64" y="237"/>
                  <a:pt x="64" y="237"/>
                </a:cubicBezTo>
                <a:cubicBezTo>
                  <a:pt x="64" y="236"/>
                  <a:pt x="64" y="236"/>
                  <a:pt x="64" y="236"/>
                </a:cubicBezTo>
                <a:cubicBezTo>
                  <a:pt x="63" y="236"/>
                  <a:pt x="63" y="236"/>
                  <a:pt x="63" y="236"/>
                </a:cubicBezTo>
                <a:cubicBezTo>
                  <a:pt x="62" y="235"/>
                  <a:pt x="62" y="235"/>
                  <a:pt x="62" y="235"/>
                </a:cubicBezTo>
                <a:cubicBezTo>
                  <a:pt x="62" y="235"/>
                  <a:pt x="62" y="235"/>
                  <a:pt x="62" y="235"/>
                </a:cubicBezTo>
                <a:cubicBezTo>
                  <a:pt x="63" y="235"/>
                  <a:pt x="63" y="235"/>
                  <a:pt x="63" y="235"/>
                </a:cubicBezTo>
                <a:cubicBezTo>
                  <a:pt x="64" y="235"/>
                  <a:pt x="64" y="235"/>
                  <a:pt x="64" y="235"/>
                </a:cubicBezTo>
                <a:cubicBezTo>
                  <a:pt x="64" y="234"/>
                  <a:pt x="64" y="234"/>
                  <a:pt x="64" y="234"/>
                </a:cubicBezTo>
                <a:cubicBezTo>
                  <a:pt x="63" y="234"/>
                  <a:pt x="63" y="234"/>
                  <a:pt x="63" y="234"/>
                </a:cubicBezTo>
                <a:cubicBezTo>
                  <a:pt x="63" y="234"/>
                  <a:pt x="63" y="234"/>
                  <a:pt x="63" y="234"/>
                </a:cubicBezTo>
                <a:cubicBezTo>
                  <a:pt x="62" y="233"/>
                  <a:pt x="62" y="233"/>
                  <a:pt x="62" y="233"/>
                </a:cubicBezTo>
                <a:cubicBezTo>
                  <a:pt x="62" y="233"/>
                  <a:pt x="62" y="233"/>
                  <a:pt x="62" y="233"/>
                </a:cubicBezTo>
                <a:cubicBezTo>
                  <a:pt x="61" y="233"/>
                  <a:pt x="61" y="233"/>
                  <a:pt x="61" y="233"/>
                </a:cubicBezTo>
                <a:cubicBezTo>
                  <a:pt x="61" y="233"/>
                  <a:pt x="61" y="233"/>
                  <a:pt x="61" y="233"/>
                </a:cubicBezTo>
                <a:cubicBezTo>
                  <a:pt x="60" y="233"/>
                  <a:pt x="60" y="233"/>
                  <a:pt x="60" y="233"/>
                </a:cubicBezTo>
                <a:cubicBezTo>
                  <a:pt x="60" y="233"/>
                  <a:pt x="60" y="233"/>
                  <a:pt x="60" y="233"/>
                </a:cubicBezTo>
                <a:cubicBezTo>
                  <a:pt x="60" y="232"/>
                  <a:pt x="60" y="232"/>
                  <a:pt x="60" y="232"/>
                </a:cubicBezTo>
                <a:cubicBezTo>
                  <a:pt x="61" y="232"/>
                  <a:pt x="61" y="232"/>
                  <a:pt x="61" y="232"/>
                </a:cubicBezTo>
                <a:cubicBezTo>
                  <a:pt x="62" y="231"/>
                  <a:pt x="62" y="231"/>
                  <a:pt x="62" y="231"/>
                </a:cubicBezTo>
                <a:cubicBezTo>
                  <a:pt x="62" y="230"/>
                  <a:pt x="62" y="230"/>
                  <a:pt x="62" y="230"/>
                </a:cubicBezTo>
                <a:cubicBezTo>
                  <a:pt x="63" y="230"/>
                  <a:pt x="63" y="230"/>
                  <a:pt x="63" y="230"/>
                </a:cubicBezTo>
                <a:cubicBezTo>
                  <a:pt x="63" y="230"/>
                  <a:pt x="63" y="230"/>
                  <a:pt x="63" y="230"/>
                </a:cubicBezTo>
                <a:cubicBezTo>
                  <a:pt x="64" y="230"/>
                  <a:pt x="64" y="230"/>
                  <a:pt x="64" y="230"/>
                </a:cubicBezTo>
                <a:cubicBezTo>
                  <a:pt x="64" y="230"/>
                  <a:pt x="64" y="230"/>
                  <a:pt x="64" y="230"/>
                </a:cubicBezTo>
                <a:cubicBezTo>
                  <a:pt x="63" y="229"/>
                  <a:pt x="63" y="229"/>
                  <a:pt x="63" y="229"/>
                </a:cubicBezTo>
                <a:cubicBezTo>
                  <a:pt x="62" y="229"/>
                  <a:pt x="62" y="229"/>
                  <a:pt x="62" y="229"/>
                </a:cubicBezTo>
                <a:cubicBezTo>
                  <a:pt x="62" y="229"/>
                  <a:pt x="62" y="229"/>
                  <a:pt x="62" y="229"/>
                </a:cubicBezTo>
                <a:cubicBezTo>
                  <a:pt x="62" y="228"/>
                  <a:pt x="62" y="228"/>
                  <a:pt x="62" y="228"/>
                </a:cubicBezTo>
                <a:cubicBezTo>
                  <a:pt x="64" y="228"/>
                  <a:pt x="64" y="228"/>
                  <a:pt x="64" y="228"/>
                </a:cubicBezTo>
                <a:cubicBezTo>
                  <a:pt x="64" y="227"/>
                  <a:pt x="64" y="227"/>
                  <a:pt x="64" y="227"/>
                </a:cubicBezTo>
                <a:cubicBezTo>
                  <a:pt x="65" y="227"/>
                  <a:pt x="65" y="227"/>
                  <a:pt x="65" y="227"/>
                </a:cubicBezTo>
                <a:cubicBezTo>
                  <a:pt x="65" y="227"/>
                  <a:pt x="65" y="227"/>
                  <a:pt x="65" y="227"/>
                </a:cubicBezTo>
                <a:cubicBezTo>
                  <a:pt x="66" y="226"/>
                  <a:pt x="66" y="226"/>
                  <a:pt x="66" y="226"/>
                </a:cubicBezTo>
                <a:cubicBezTo>
                  <a:pt x="65" y="225"/>
                  <a:pt x="65" y="225"/>
                  <a:pt x="65" y="225"/>
                </a:cubicBezTo>
                <a:cubicBezTo>
                  <a:pt x="65" y="225"/>
                  <a:pt x="65" y="225"/>
                  <a:pt x="65" y="225"/>
                </a:cubicBezTo>
                <a:cubicBezTo>
                  <a:pt x="65" y="225"/>
                  <a:pt x="65" y="225"/>
                  <a:pt x="65" y="225"/>
                </a:cubicBezTo>
                <a:cubicBezTo>
                  <a:pt x="65" y="225"/>
                  <a:pt x="65" y="225"/>
                  <a:pt x="65" y="225"/>
                </a:cubicBezTo>
                <a:cubicBezTo>
                  <a:pt x="66" y="225"/>
                  <a:pt x="66" y="225"/>
                  <a:pt x="66" y="225"/>
                </a:cubicBezTo>
                <a:cubicBezTo>
                  <a:pt x="66" y="224"/>
                  <a:pt x="66" y="224"/>
                  <a:pt x="66" y="224"/>
                </a:cubicBezTo>
                <a:cubicBezTo>
                  <a:pt x="65" y="223"/>
                  <a:pt x="65" y="223"/>
                  <a:pt x="65" y="223"/>
                </a:cubicBezTo>
                <a:cubicBezTo>
                  <a:pt x="64" y="224"/>
                  <a:pt x="64" y="224"/>
                  <a:pt x="64" y="224"/>
                </a:cubicBezTo>
                <a:cubicBezTo>
                  <a:pt x="63" y="224"/>
                  <a:pt x="63" y="224"/>
                  <a:pt x="63" y="224"/>
                </a:cubicBezTo>
                <a:cubicBezTo>
                  <a:pt x="62" y="224"/>
                  <a:pt x="62" y="224"/>
                  <a:pt x="62" y="224"/>
                </a:cubicBezTo>
                <a:cubicBezTo>
                  <a:pt x="62" y="224"/>
                  <a:pt x="62" y="224"/>
                  <a:pt x="62" y="224"/>
                </a:cubicBezTo>
                <a:cubicBezTo>
                  <a:pt x="61" y="224"/>
                  <a:pt x="61" y="224"/>
                  <a:pt x="61" y="224"/>
                </a:cubicBezTo>
                <a:cubicBezTo>
                  <a:pt x="60" y="224"/>
                  <a:pt x="60" y="224"/>
                  <a:pt x="60" y="224"/>
                </a:cubicBezTo>
                <a:cubicBezTo>
                  <a:pt x="59" y="223"/>
                  <a:pt x="59" y="223"/>
                  <a:pt x="59" y="223"/>
                </a:cubicBezTo>
                <a:cubicBezTo>
                  <a:pt x="59" y="224"/>
                  <a:pt x="59" y="224"/>
                  <a:pt x="59" y="224"/>
                </a:cubicBezTo>
                <a:cubicBezTo>
                  <a:pt x="58" y="223"/>
                  <a:pt x="58" y="223"/>
                  <a:pt x="58" y="223"/>
                </a:cubicBezTo>
                <a:cubicBezTo>
                  <a:pt x="57" y="222"/>
                  <a:pt x="57" y="222"/>
                  <a:pt x="57" y="222"/>
                </a:cubicBezTo>
                <a:cubicBezTo>
                  <a:pt x="56" y="222"/>
                  <a:pt x="56" y="222"/>
                  <a:pt x="56" y="222"/>
                </a:cubicBezTo>
                <a:cubicBezTo>
                  <a:pt x="55" y="222"/>
                  <a:pt x="55" y="222"/>
                  <a:pt x="55" y="222"/>
                </a:cubicBezTo>
                <a:cubicBezTo>
                  <a:pt x="55" y="221"/>
                  <a:pt x="55" y="221"/>
                  <a:pt x="55" y="221"/>
                </a:cubicBezTo>
                <a:cubicBezTo>
                  <a:pt x="55" y="220"/>
                  <a:pt x="55" y="220"/>
                  <a:pt x="55" y="220"/>
                </a:cubicBezTo>
                <a:cubicBezTo>
                  <a:pt x="53" y="219"/>
                  <a:pt x="53" y="219"/>
                  <a:pt x="53" y="219"/>
                </a:cubicBezTo>
                <a:cubicBezTo>
                  <a:pt x="51" y="218"/>
                  <a:pt x="51" y="218"/>
                  <a:pt x="51" y="218"/>
                </a:cubicBezTo>
                <a:cubicBezTo>
                  <a:pt x="49" y="218"/>
                  <a:pt x="49" y="218"/>
                  <a:pt x="49" y="218"/>
                </a:cubicBezTo>
                <a:cubicBezTo>
                  <a:pt x="48" y="217"/>
                  <a:pt x="48" y="217"/>
                  <a:pt x="48" y="217"/>
                </a:cubicBezTo>
                <a:cubicBezTo>
                  <a:pt x="48" y="216"/>
                  <a:pt x="48" y="216"/>
                  <a:pt x="48" y="216"/>
                </a:cubicBezTo>
                <a:cubicBezTo>
                  <a:pt x="48" y="214"/>
                  <a:pt x="48" y="214"/>
                  <a:pt x="48" y="214"/>
                </a:cubicBezTo>
                <a:cubicBezTo>
                  <a:pt x="47" y="214"/>
                  <a:pt x="47" y="214"/>
                  <a:pt x="47" y="214"/>
                </a:cubicBezTo>
                <a:cubicBezTo>
                  <a:pt x="47" y="213"/>
                  <a:pt x="47" y="213"/>
                  <a:pt x="47" y="213"/>
                </a:cubicBezTo>
                <a:cubicBezTo>
                  <a:pt x="47" y="212"/>
                  <a:pt x="47" y="212"/>
                  <a:pt x="47" y="212"/>
                </a:cubicBezTo>
                <a:cubicBezTo>
                  <a:pt x="48" y="211"/>
                  <a:pt x="48" y="211"/>
                  <a:pt x="48" y="211"/>
                </a:cubicBezTo>
                <a:cubicBezTo>
                  <a:pt x="49" y="211"/>
                  <a:pt x="49" y="211"/>
                  <a:pt x="49" y="211"/>
                </a:cubicBezTo>
                <a:cubicBezTo>
                  <a:pt x="50" y="211"/>
                  <a:pt x="50" y="211"/>
                  <a:pt x="50" y="211"/>
                </a:cubicBezTo>
                <a:cubicBezTo>
                  <a:pt x="50" y="211"/>
                  <a:pt x="50" y="211"/>
                  <a:pt x="50" y="211"/>
                </a:cubicBezTo>
                <a:cubicBezTo>
                  <a:pt x="52" y="211"/>
                  <a:pt x="52" y="211"/>
                  <a:pt x="52" y="211"/>
                </a:cubicBezTo>
                <a:cubicBezTo>
                  <a:pt x="53" y="212"/>
                  <a:pt x="53" y="212"/>
                  <a:pt x="53" y="212"/>
                </a:cubicBezTo>
                <a:cubicBezTo>
                  <a:pt x="54" y="212"/>
                  <a:pt x="54" y="212"/>
                  <a:pt x="54" y="212"/>
                </a:cubicBezTo>
                <a:cubicBezTo>
                  <a:pt x="55" y="213"/>
                  <a:pt x="55" y="213"/>
                  <a:pt x="55" y="213"/>
                </a:cubicBezTo>
                <a:cubicBezTo>
                  <a:pt x="55" y="213"/>
                  <a:pt x="55" y="213"/>
                  <a:pt x="55" y="213"/>
                </a:cubicBezTo>
                <a:cubicBezTo>
                  <a:pt x="56" y="213"/>
                  <a:pt x="56" y="213"/>
                  <a:pt x="56" y="213"/>
                </a:cubicBezTo>
                <a:cubicBezTo>
                  <a:pt x="57" y="213"/>
                  <a:pt x="57" y="213"/>
                  <a:pt x="57" y="213"/>
                </a:cubicBezTo>
                <a:cubicBezTo>
                  <a:pt x="58" y="214"/>
                  <a:pt x="58" y="214"/>
                  <a:pt x="58" y="214"/>
                </a:cubicBezTo>
                <a:cubicBezTo>
                  <a:pt x="59" y="214"/>
                  <a:pt x="59" y="214"/>
                  <a:pt x="59" y="214"/>
                </a:cubicBezTo>
                <a:cubicBezTo>
                  <a:pt x="59" y="215"/>
                  <a:pt x="59" y="215"/>
                  <a:pt x="59" y="215"/>
                </a:cubicBezTo>
                <a:cubicBezTo>
                  <a:pt x="60" y="217"/>
                  <a:pt x="60" y="217"/>
                  <a:pt x="60" y="217"/>
                </a:cubicBezTo>
                <a:cubicBezTo>
                  <a:pt x="61" y="218"/>
                  <a:pt x="61" y="218"/>
                  <a:pt x="61" y="218"/>
                </a:cubicBezTo>
                <a:cubicBezTo>
                  <a:pt x="62" y="219"/>
                  <a:pt x="62" y="219"/>
                  <a:pt x="62" y="219"/>
                </a:cubicBezTo>
                <a:cubicBezTo>
                  <a:pt x="63" y="220"/>
                  <a:pt x="63" y="220"/>
                  <a:pt x="63" y="220"/>
                </a:cubicBezTo>
                <a:cubicBezTo>
                  <a:pt x="64" y="220"/>
                  <a:pt x="64" y="220"/>
                  <a:pt x="64" y="220"/>
                </a:cubicBezTo>
                <a:cubicBezTo>
                  <a:pt x="65" y="220"/>
                  <a:pt x="65" y="220"/>
                  <a:pt x="65" y="220"/>
                </a:cubicBezTo>
                <a:cubicBezTo>
                  <a:pt x="65" y="219"/>
                  <a:pt x="65" y="219"/>
                  <a:pt x="65" y="219"/>
                </a:cubicBezTo>
                <a:cubicBezTo>
                  <a:pt x="65" y="219"/>
                  <a:pt x="65" y="219"/>
                  <a:pt x="65" y="219"/>
                </a:cubicBezTo>
                <a:cubicBezTo>
                  <a:pt x="65" y="219"/>
                  <a:pt x="65" y="219"/>
                  <a:pt x="65" y="219"/>
                </a:cubicBezTo>
                <a:cubicBezTo>
                  <a:pt x="64" y="219"/>
                  <a:pt x="64" y="219"/>
                  <a:pt x="64" y="219"/>
                </a:cubicBezTo>
                <a:cubicBezTo>
                  <a:pt x="63" y="219"/>
                  <a:pt x="63" y="219"/>
                  <a:pt x="63" y="219"/>
                </a:cubicBezTo>
                <a:cubicBezTo>
                  <a:pt x="62" y="217"/>
                  <a:pt x="62" y="217"/>
                  <a:pt x="62" y="217"/>
                </a:cubicBezTo>
                <a:cubicBezTo>
                  <a:pt x="62" y="217"/>
                  <a:pt x="62" y="217"/>
                  <a:pt x="62" y="217"/>
                </a:cubicBezTo>
                <a:cubicBezTo>
                  <a:pt x="62" y="217"/>
                  <a:pt x="62" y="217"/>
                  <a:pt x="62" y="217"/>
                </a:cubicBezTo>
                <a:cubicBezTo>
                  <a:pt x="63" y="218"/>
                  <a:pt x="63" y="218"/>
                  <a:pt x="63" y="218"/>
                </a:cubicBezTo>
                <a:cubicBezTo>
                  <a:pt x="64" y="218"/>
                  <a:pt x="64" y="218"/>
                  <a:pt x="64" y="218"/>
                </a:cubicBezTo>
                <a:cubicBezTo>
                  <a:pt x="64" y="217"/>
                  <a:pt x="64" y="217"/>
                  <a:pt x="64" y="217"/>
                </a:cubicBezTo>
                <a:cubicBezTo>
                  <a:pt x="65" y="217"/>
                  <a:pt x="65" y="217"/>
                  <a:pt x="65" y="217"/>
                </a:cubicBezTo>
                <a:cubicBezTo>
                  <a:pt x="65" y="217"/>
                  <a:pt x="65" y="217"/>
                  <a:pt x="65" y="217"/>
                </a:cubicBezTo>
                <a:cubicBezTo>
                  <a:pt x="63" y="216"/>
                  <a:pt x="63" y="216"/>
                  <a:pt x="63" y="216"/>
                </a:cubicBezTo>
                <a:cubicBezTo>
                  <a:pt x="62" y="214"/>
                  <a:pt x="62" y="214"/>
                  <a:pt x="62" y="214"/>
                </a:cubicBezTo>
                <a:cubicBezTo>
                  <a:pt x="62" y="214"/>
                  <a:pt x="62" y="214"/>
                  <a:pt x="62" y="214"/>
                </a:cubicBezTo>
                <a:cubicBezTo>
                  <a:pt x="62" y="213"/>
                  <a:pt x="62" y="213"/>
                  <a:pt x="62" y="213"/>
                </a:cubicBezTo>
                <a:cubicBezTo>
                  <a:pt x="62" y="213"/>
                  <a:pt x="62" y="213"/>
                  <a:pt x="62" y="213"/>
                </a:cubicBezTo>
                <a:cubicBezTo>
                  <a:pt x="63" y="214"/>
                  <a:pt x="63" y="214"/>
                  <a:pt x="63" y="214"/>
                </a:cubicBezTo>
                <a:cubicBezTo>
                  <a:pt x="64" y="214"/>
                  <a:pt x="64" y="214"/>
                  <a:pt x="64" y="214"/>
                </a:cubicBezTo>
                <a:cubicBezTo>
                  <a:pt x="63" y="213"/>
                  <a:pt x="63" y="213"/>
                  <a:pt x="63" y="213"/>
                </a:cubicBezTo>
                <a:cubicBezTo>
                  <a:pt x="62" y="212"/>
                  <a:pt x="62" y="212"/>
                  <a:pt x="62" y="212"/>
                </a:cubicBezTo>
                <a:cubicBezTo>
                  <a:pt x="61" y="211"/>
                  <a:pt x="61" y="211"/>
                  <a:pt x="61" y="211"/>
                </a:cubicBezTo>
                <a:cubicBezTo>
                  <a:pt x="61" y="211"/>
                  <a:pt x="61" y="211"/>
                  <a:pt x="61" y="211"/>
                </a:cubicBezTo>
                <a:cubicBezTo>
                  <a:pt x="61" y="210"/>
                  <a:pt x="61" y="210"/>
                  <a:pt x="61" y="210"/>
                </a:cubicBezTo>
                <a:cubicBezTo>
                  <a:pt x="62" y="211"/>
                  <a:pt x="62" y="211"/>
                  <a:pt x="62" y="211"/>
                </a:cubicBezTo>
                <a:cubicBezTo>
                  <a:pt x="64" y="211"/>
                  <a:pt x="64" y="211"/>
                  <a:pt x="64" y="211"/>
                </a:cubicBezTo>
                <a:cubicBezTo>
                  <a:pt x="65" y="211"/>
                  <a:pt x="65" y="211"/>
                  <a:pt x="65" y="211"/>
                </a:cubicBezTo>
                <a:cubicBezTo>
                  <a:pt x="65" y="210"/>
                  <a:pt x="65" y="210"/>
                  <a:pt x="65" y="210"/>
                </a:cubicBezTo>
                <a:cubicBezTo>
                  <a:pt x="64" y="209"/>
                  <a:pt x="64" y="209"/>
                  <a:pt x="64" y="209"/>
                </a:cubicBezTo>
                <a:cubicBezTo>
                  <a:pt x="64" y="209"/>
                  <a:pt x="64" y="209"/>
                  <a:pt x="64" y="209"/>
                </a:cubicBezTo>
                <a:cubicBezTo>
                  <a:pt x="63" y="210"/>
                  <a:pt x="63" y="210"/>
                  <a:pt x="63" y="210"/>
                </a:cubicBezTo>
                <a:cubicBezTo>
                  <a:pt x="62" y="210"/>
                  <a:pt x="62" y="210"/>
                  <a:pt x="62" y="210"/>
                </a:cubicBezTo>
                <a:cubicBezTo>
                  <a:pt x="61" y="210"/>
                  <a:pt x="61" y="210"/>
                  <a:pt x="61" y="210"/>
                </a:cubicBezTo>
                <a:cubicBezTo>
                  <a:pt x="61" y="209"/>
                  <a:pt x="61" y="209"/>
                  <a:pt x="61" y="209"/>
                </a:cubicBezTo>
                <a:cubicBezTo>
                  <a:pt x="61" y="208"/>
                  <a:pt x="61" y="208"/>
                  <a:pt x="61" y="208"/>
                </a:cubicBezTo>
                <a:cubicBezTo>
                  <a:pt x="63" y="208"/>
                  <a:pt x="63" y="208"/>
                  <a:pt x="63" y="208"/>
                </a:cubicBezTo>
                <a:cubicBezTo>
                  <a:pt x="63" y="208"/>
                  <a:pt x="63" y="208"/>
                  <a:pt x="63" y="208"/>
                </a:cubicBezTo>
                <a:cubicBezTo>
                  <a:pt x="64" y="208"/>
                  <a:pt x="64" y="208"/>
                  <a:pt x="64" y="208"/>
                </a:cubicBezTo>
                <a:cubicBezTo>
                  <a:pt x="64" y="208"/>
                  <a:pt x="64" y="208"/>
                  <a:pt x="64" y="208"/>
                </a:cubicBezTo>
                <a:cubicBezTo>
                  <a:pt x="64" y="207"/>
                  <a:pt x="64" y="207"/>
                  <a:pt x="64" y="207"/>
                </a:cubicBezTo>
                <a:cubicBezTo>
                  <a:pt x="63" y="206"/>
                  <a:pt x="63" y="206"/>
                  <a:pt x="63" y="206"/>
                </a:cubicBezTo>
                <a:cubicBezTo>
                  <a:pt x="63" y="206"/>
                  <a:pt x="63" y="206"/>
                  <a:pt x="63" y="206"/>
                </a:cubicBezTo>
                <a:cubicBezTo>
                  <a:pt x="62" y="207"/>
                  <a:pt x="62" y="207"/>
                  <a:pt x="62" y="207"/>
                </a:cubicBezTo>
                <a:cubicBezTo>
                  <a:pt x="62" y="207"/>
                  <a:pt x="62" y="207"/>
                  <a:pt x="62" y="207"/>
                </a:cubicBezTo>
                <a:cubicBezTo>
                  <a:pt x="61" y="207"/>
                  <a:pt x="61" y="207"/>
                  <a:pt x="61" y="207"/>
                </a:cubicBezTo>
                <a:cubicBezTo>
                  <a:pt x="60" y="209"/>
                  <a:pt x="60" y="209"/>
                  <a:pt x="60" y="209"/>
                </a:cubicBezTo>
                <a:cubicBezTo>
                  <a:pt x="59" y="209"/>
                  <a:pt x="59" y="209"/>
                  <a:pt x="59" y="209"/>
                </a:cubicBezTo>
                <a:cubicBezTo>
                  <a:pt x="59" y="208"/>
                  <a:pt x="59" y="208"/>
                  <a:pt x="59" y="208"/>
                </a:cubicBezTo>
                <a:cubicBezTo>
                  <a:pt x="60" y="208"/>
                  <a:pt x="60" y="208"/>
                  <a:pt x="60" y="208"/>
                </a:cubicBezTo>
                <a:cubicBezTo>
                  <a:pt x="60" y="207"/>
                  <a:pt x="60" y="207"/>
                  <a:pt x="60" y="207"/>
                </a:cubicBezTo>
                <a:cubicBezTo>
                  <a:pt x="61" y="206"/>
                  <a:pt x="61" y="206"/>
                  <a:pt x="61" y="206"/>
                </a:cubicBezTo>
                <a:cubicBezTo>
                  <a:pt x="61" y="206"/>
                  <a:pt x="61" y="206"/>
                  <a:pt x="61" y="206"/>
                </a:cubicBezTo>
                <a:cubicBezTo>
                  <a:pt x="62" y="206"/>
                  <a:pt x="62" y="206"/>
                  <a:pt x="62" y="206"/>
                </a:cubicBezTo>
                <a:cubicBezTo>
                  <a:pt x="63" y="205"/>
                  <a:pt x="63" y="205"/>
                  <a:pt x="63" y="205"/>
                </a:cubicBezTo>
                <a:cubicBezTo>
                  <a:pt x="64" y="205"/>
                  <a:pt x="64" y="205"/>
                  <a:pt x="64" y="205"/>
                </a:cubicBezTo>
                <a:cubicBezTo>
                  <a:pt x="64" y="204"/>
                  <a:pt x="64" y="204"/>
                  <a:pt x="64" y="204"/>
                </a:cubicBezTo>
                <a:cubicBezTo>
                  <a:pt x="64" y="204"/>
                  <a:pt x="64" y="204"/>
                  <a:pt x="64" y="204"/>
                </a:cubicBezTo>
                <a:cubicBezTo>
                  <a:pt x="62" y="204"/>
                  <a:pt x="62" y="204"/>
                  <a:pt x="62" y="204"/>
                </a:cubicBezTo>
                <a:cubicBezTo>
                  <a:pt x="61" y="205"/>
                  <a:pt x="61" y="205"/>
                  <a:pt x="61" y="205"/>
                </a:cubicBezTo>
                <a:cubicBezTo>
                  <a:pt x="61" y="205"/>
                  <a:pt x="61" y="205"/>
                  <a:pt x="61" y="205"/>
                </a:cubicBezTo>
                <a:cubicBezTo>
                  <a:pt x="60" y="205"/>
                  <a:pt x="60" y="205"/>
                  <a:pt x="60" y="205"/>
                </a:cubicBezTo>
                <a:cubicBezTo>
                  <a:pt x="59" y="205"/>
                  <a:pt x="59" y="205"/>
                  <a:pt x="59" y="205"/>
                </a:cubicBezTo>
                <a:cubicBezTo>
                  <a:pt x="58" y="205"/>
                  <a:pt x="58" y="205"/>
                  <a:pt x="58" y="205"/>
                </a:cubicBezTo>
                <a:cubicBezTo>
                  <a:pt x="58" y="204"/>
                  <a:pt x="58" y="204"/>
                  <a:pt x="58" y="204"/>
                </a:cubicBezTo>
                <a:cubicBezTo>
                  <a:pt x="59" y="203"/>
                  <a:pt x="59" y="203"/>
                  <a:pt x="59" y="203"/>
                </a:cubicBezTo>
                <a:cubicBezTo>
                  <a:pt x="60" y="203"/>
                  <a:pt x="60" y="203"/>
                  <a:pt x="60" y="203"/>
                </a:cubicBezTo>
                <a:cubicBezTo>
                  <a:pt x="61" y="203"/>
                  <a:pt x="61" y="203"/>
                  <a:pt x="61" y="203"/>
                </a:cubicBezTo>
                <a:cubicBezTo>
                  <a:pt x="63" y="202"/>
                  <a:pt x="63" y="202"/>
                  <a:pt x="63" y="202"/>
                </a:cubicBezTo>
                <a:cubicBezTo>
                  <a:pt x="65" y="201"/>
                  <a:pt x="65" y="201"/>
                  <a:pt x="65" y="201"/>
                </a:cubicBezTo>
                <a:cubicBezTo>
                  <a:pt x="65" y="201"/>
                  <a:pt x="65" y="201"/>
                  <a:pt x="65" y="201"/>
                </a:cubicBezTo>
                <a:cubicBezTo>
                  <a:pt x="64" y="201"/>
                  <a:pt x="64" y="201"/>
                  <a:pt x="64" y="201"/>
                </a:cubicBezTo>
                <a:cubicBezTo>
                  <a:pt x="64" y="201"/>
                  <a:pt x="64" y="201"/>
                  <a:pt x="64" y="201"/>
                </a:cubicBezTo>
                <a:cubicBezTo>
                  <a:pt x="63" y="201"/>
                  <a:pt x="63" y="201"/>
                  <a:pt x="63" y="201"/>
                </a:cubicBezTo>
                <a:cubicBezTo>
                  <a:pt x="62" y="202"/>
                  <a:pt x="62" y="202"/>
                  <a:pt x="62" y="202"/>
                </a:cubicBezTo>
                <a:cubicBezTo>
                  <a:pt x="61" y="201"/>
                  <a:pt x="61" y="201"/>
                  <a:pt x="61" y="201"/>
                </a:cubicBezTo>
                <a:cubicBezTo>
                  <a:pt x="61" y="201"/>
                  <a:pt x="61" y="201"/>
                  <a:pt x="61" y="201"/>
                </a:cubicBezTo>
                <a:cubicBezTo>
                  <a:pt x="60" y="200"/>
                  <a:pt x="60" y="200"/>
                  <a:pt x="60" y="200"/>
                </a:cubicBezTo>
                <a:cubicBezTo>
                  <a:pt x="59" y="200"/>
                  <a:pt x="59" y="200"/>
                  <a:pt x="59" y="200"/>
                </a:cubicBezTo>
                <a:cubicBezTo>
                  <a:pt x="59" y="200"/>
                  <a:pt x="59" y="200"/>
                  <a:pt x="59" y="200"/>
                </a:cubicBezTo>
                <a:cubicBezTo>
                  <a:pt x="59" y="200"/>
                  <a:pt x="59" y="200"/>
                  <a:pt x="59" y="200"/>
                </a:cubicBezTo>
                <a:cubicBezTo>
                  <a:pt x="60" y="199"/>
                  <a:pt x="60" y="199"/>
                  <a:pt x="60" y="199"/>
                </a:cubicBezTo>
                <a:cubicBezTo>
                  <a:pt x="60" y="198"/>
                  <a:pt x="60" y="198"/>
                  <a:pt x="60" y="198"/>
                </a:cubicBezTo>
                <a:cubicBezTo>
                  <a:pt x="61" y="197"/>
                  <a:pt x="61" y="197"/>
                  <a:pt x="61" y="197"/>
                </a:cubicBezTo>
                <a:cubicBezTo>
                  <a:pt x="61" y="197"/>
                  <a:pt x="61" y="197"/>
                  <a:pt x="61" y="197"/>
                </a:cubicBezTo>
                <a:cubicBezTo>
                  <a:pt x="61" y="196"/>
                  <a:pt x="61" y="196"/>
                  <a:pt x="61" y="196"/>
                </a:cubicBezTo>
                <a:cubicBezTo>
                  <a:pt x="61" y="196"/>
                  <a:pt x="61" y="196"/>
                  <a:pt x="61" y="196"/>
                </a:cubicBezTo>
                <a:cubicBezTo>
                  <a:pt x="60" y="197"/>
                  <a:pt x="60" y="197"/>
                  <a:pt x="60" y="197"/>
                </a:cubicBezTo>
                <a:cubicBezTo>
                  <a:pt x="59" y="198"/>
                  <a:pt x="59" y="198"/>
                  <a:pt x="59" y="198"/>
                </a:cubicBezTo>
                <a:cubicBezTo>
                  <a:pt x="59" y="199"/>
                  <a:pt x="59" y="199"/>
                  <a:pt x="59" y="199"/>
                </a:cubicBezTo>
                <a:cubicBezTo>
                  <a:pt x="58" y="199"/>
                  <a:pt x="58" y="199"/>
                  <a:pt x="58" y="199"/>
                </a:cubicBezTo>
                <a:cubicBezTo>
                  <a:pt x="58" y="200"/>
                  <a:pt x="58" y="200"/>
                  <a:pt x="58" y="200"/>
                </a:cubicBezTo>
                <a:cubicBezTo>
                  <a:pt x="57" y="200"/>
                  <a:pt x="57" y="200"/>
                  <a:pt x="57" y="200"/>
                </a:cubicBezTo>
                <a:cubicBezTo>
                  <a:pt x="57" y="199"/>
                  <a:pt x="57" y="199"/>
                  <a:pt x="57" y="199"/>
                </a:cubicBezTo>
                <a:cubicBezTo>
                  <a:pt x="57" y="197"/>
                  <a:pt x="57" y="197"/>
                  <a:pt x="57" y="197"/>
                </a:cubicBezTo>
                <a:cubicBezTo>
                  <a:pt x="58" y="196"/>
                  <a:pt x="58" y="196"/>
                  <a:pt x="58" y="196"/>
                </a:cubicBezTo>
                <a:cubicBezTo>
                  <a:pt x="57" y="194"/>
                  <a:pt x="57" y="194"/>
                  <a:pt x="57" y="194"/>
                </a:cubicBezTo>
                <a:cubicBezTo>
                  <a:pt x="57" y="193"/>
                  <a:pt x="57" y="193"/>
                  <a:pt x="57" y="193"/>
                </a:cubicBezTo>
                <a:cubicBezTo>
                  <a:pt x="57" y="192"/>
                  <a:pt x="57" y="192"/>
                  <a:pt x="57" y="192"/>
                </a:cubicBezTo>
                <a:cubicBezTo>
                  <a:pt x="57" y="191"/>
                  <a:pt x="57" y="191"/>
                  <a:pt x="57" y="191"/>
                </a:cubicBezTo>
                <a:cubicBezTo>
                  <a:pt x="57" y="191"/>
                  <a:pt x="57" y="191"/>
                  <a:pt x="57" y="191"/>
                </a:cubicBezTo>
                <a:cubicBezTo>
                  <a:pt x="57" y="192"/>
                  <a:pt x="57" y="192"/>
                  <a:pt x="57" y="192"/>
                </a:cubicBezTo>
                <a:cubicBezTo>
                  <a:pt x="56" y="194"/>
                  <a:pt x="56" y="194"/>
                  <a:pt x="56" y="194"/>
                </a:cubicBezTo>
                <a:cubicBezTo>
                  <a:pt x="57" y="195"/>
                  <a:pt x="57" y="195"/>
                  <a:pt x="57" y="195"/>
                </a:cubicBezTo>
                <a:cubicBezTo>
                  <a:pt x="57" y="196"/>
                  <a:pt x="57" y="196"/>
                  <a:pt x="57" y="196"/>
                </a:cubicBezTo>
                <a:cubicBezTo>
                  <a:pt x="57" y="197"/>
                  <a:pt x="57" y="197"/>
                  <a:pt x="57" y="197"/>
                </a:cubicBezTo>
                <a:cubicBezTo>
                  <a:pt x="57" y="199"/>
                  <a:pt x="57" y="199"/>
                  <a:pt x="57" y="199"/>
                </a:cubicBezTo>
                <a:cubicBezTo>
                  <a:pt x="56" y="200"/>
                  <a:pt x="56" y="200"/>
                  <a:pt x="56" y="200"/>
                </a:cubicBezTo>
                <a:cubicBezTo>
                  <a:pt x="56" y="200"/>
                  <a:pt x="56" y="200"/>
                  <a:pt x="56" y="200"/>
                </a:cubicBezTo>
                <a:cubicBezTo>
                  <a:pt x="55" y="199"/>
                  <a:pt x="55" y="199"/>
                  <a:pt x="55" y="199"/>
                </a:cubicBezTo>
                <a:cubicBezTo>
                  <a:pt x="55" y="198"/>
                  <a:pt x="55" y="198"/>
                  <a:pt x="55" y="198"/>
                </a:cubicBezTo>
                <a:cubicBezTo>
                  <a:pt x="54" y="200"/>
                  <a:pt x="54" y="200"/>
                  <a:pt x="54" y="200"/>
                </a:cubicBezTo>
                <a:cubicBezTo>
                  <a:pt x="54" y="201"/>
                  <a:pt x="54" y="201"/>
                  <a:pt x="54" y="201"/>
                </a:cubicBezTo>
                <a:cubicBezTo>
                  <a:pt x="54" y="200"/>
                  <a:pt x="54" y="200"/>
                  <a:pt x="54" y="200"/>
                </a:cubicBezTo>
                <a:cubicBezTo>
                  <a:pt x="53" y="200"/>
                  <a:pt x="53" y="200"/>
                  <a:pt x="53" y="200"/>
                </a:cubicBezTo>
                <a:cubicBezTo>
                  <a:pt x="54" y="201"/>
                  <a:pt x="54" y="201"/>
                  <a:pt x="54" y="201"/>
                </a:cubicBezTo>
                <a:cubicBezTo>
                  <a:pt x="54" y="202"/>
                  <a:pt x="54" y="202"/>
                  <a:pt x="54" y="202"/>
                </a:cubicBezTo>
                <a:cubicBezTo>
                  <a:pt x="54" y="203"/>
                  <a:pt x="54" y="203"/>
                  <a:pt x="54" y="203"/>
                </a:cubicBezTo>
                <a:cubicBezTo>
                  <a:pt x="53" y="203"/>
                  <a:pt x="53" y="203"/>
                  <a:pt x="53" y="203"/>
                </a:cubicBezTo>
                <a:cubicBezTo>
                  <a:pt x="52" y="204"/>
                  <a:pt x="52" y="204"/>
                  <a:pt x="52" y="204"/>
                </a:cubicBezTo>
                <a:cubicBezTo>
                  <a:pt x="52" y="203"/>
                  <a:pt x="52" y="203"/>
                  <a:pt x="52" y="203"/>
                </a:cubicBezTo>
                <a:cubicBezTo>
                  <a:pt x="51" y="204"/>
                  <a:pt x="51" y="204"/>
                  <a:pt x="51" y="204"/>
                </a:cubicBezTo>
                <a:cubicBezTo>
                  <a:pt x="50" y="204"/>
                  <a:pt x="50" y="204"/>
                  <a:pt x="50" y="204"/>
                </a:cubicBezTo>
                <a:cubicBezTo>
                  <a:pt x="49" y="204"/>
                  <a:pt x="49" y="204"/>
                  <a:pt x="49" y="204"/>
                </a:cubicBezTo>
                <a:cubicBezTo>
                  <a:pt x="48" y="204"/>
                  <a:pt x="48" y="204"/>
                  <a:pt x="48" y="204"/>
                </a:cubicBezTo>
                <a:cubicBezTo>
                  <a:pt x="48" y="203"/>
                  <a:pt x="48" y="203"/>
                  <a:pt x="48" y="203"/>
                </a:cubicBezTo>
                <a:cubicBezTo>
                  <a:pt x="48" y="202"/>
                  <a:pt x="48" y="202"/>
                  <a:pt x="48" y="202"/>
                </a:cubicBezTo>
                <a:cubicBezTo>
                  <a:pt x="48" y="202"/>
                  <a:pt x="48" y="202"/>
                  <a:pt x="48" y="202"/>
                </a:cubicBezTo>
                <a:cubicBezTo>
                  <a:pt x="47" y="202"/>
                  <a:pt x="47" y="202"/>
                  <a:pt x="47" y="202"/>
                </a:cubicBezTo>
                <a:cubicBezTo>
                  <a:pt x="47" y="203"/>
                  <a:pt x="47" y="203"/>
                  <a:pt x="47" y="203"/>
                </a:cubicBezTo>
                <a:cubicBezTo>
                  <a:pt x="46" y="203"/>
                  <a:pt x="46" y="203"/>
                  <a:pt x="46" y="203"/>
                </a:cubicBezTo>
                <a:cubicBezTo>
                  <a:pt x="46" y="201"/>
                  <a:pt x="46" y="201"/>
                  <a:pt x="46" y="201"/>
                </a:cubicBezTo>
                <a:cubicBezTo>
                  <a:pt x="46" y="200"/>
                  <a:pt x="46" y="200"/>
                  <a:pt x="46" y="200"/>
                </a:cubicBezTo>
                <a:cubicBezTo>
                  <a:pt x="46" y="200"/>
                  <a:pt x="46" y="200"/>
                  <a:pt x="46" y="200"/>
                </a:cubicBezTo>
                <a:cubicBezTo>
                  <a:pt x="46" y="199"/>
                  <a:pt x="46" y="199"/>
                  <a:pt x="46" y="199"/>
                </a:cubicBezTo>
                <a:cubicBezTo>
                  <a:pt x="46" y="199"/>
                  <a:pt x="46" y="199"/>
                  <a:pt x="46" y="199"/>
                </a:cubicBezTo>
                <a:cubicBezTo>
                  <a:pt x="47" y="198"/>
                  <a:pt x="47" y="198"/>
                  <a:pt x="47" y="198"/>
                </a:cubicBezTo>
                <a:cubicBezTo>
                  <a:pt x="48" y="198"/>
                  <a:pt x="48" y="198"/>
                  <a:pt x="48" y="198"/>
                </a:cubicBezTo>
                <a:cubicBezTo>
                  <a:pt x="48" y="198"/>
                  <a:pt x="48" y="198"/>
                  <a:pt x="48" y="198"/>
                </a:cubicBezTo>
                <a:cubicBezTo>
                  <a:pt x="49" y="197"/>
                  <a:pt x="49" y="197"/>
                  <a:pt x="49" y="197"/>
                </a:cubicBezTo>
                <a:cubicBezTo>
                  <a:pt x="49" y="197"/>
                  <a:pt x="49" y="197"/>
                  <a:pt x="49" y="197"/>
                </a:cubicBezTo>
                <a:cubicBezTo>
                  <a:pt x="51" y="197"/>
                  <a:pt x="51" y="197"/>
                  <a:pt x="51" y="197"/>
                </a:cubicBezTo>
                <a:cubicBezTo>
                  <a:pt x="52" y="197"/>
                  <a:pt x="52" y="197"/>
                  <a:pt x="52" y="197"/>
                </a:cubicBezTo>
                <a:cubicBezTo>
                  <a:pt x="53" y="195"/>
                  <a:pt x="53" y="195"/>
                  <a:pt x="53" y="195"/>
                </a:cubicBezTo>
                <a:cubicBezTo>
                  <a:pt x="54" y="194"/>
                  <a:pt x="54" y="194"/>
                  <a:pt x="54" y="194"/>
                </a:cubicBezTo>
                <a:cubicBezTo>
                  <a:pt x="54" y="193"/>
                  <a:pt x="54" y="193"/>
                  <a:pt x="54" y="193"/>
                </a:cubicBezTo>
                <a:cubicBezTo>
                  <a:pt x="54" y="193"/>
                  <a:pt x="54" y="193"/>
                  <a:pt x="54" y="193"/>
                </a:cubicBezTo>
                <a:cubicBezTo>
                  <a:pt x="53" y="193"/>
                  <a:pt x="53" y="193"/>
                  <a:pt x="53" y="193"/>
                </a:cubicBezTo>
                <a:cubicBezTo>
                  <a:pt x="53" y="194"/>
                  <a:pt x="53" y="194"/>
                  <a:pt x="53" y="194"/>
                </a:cubicBezTo>
                <a:cubicBezTo>
                  <a:pt x="52" y="196"/>
                  <a:pt x="52" y="196"/>
                  <a:pt x="52" y="196"/>
                </a:cubicBezTo>
                <a:cubicBezTo>
                  <a:pt x="50" y="196"/>
                  <a:pt x="50" y="196"/>
                  <a:pt x="50" y="196"/>
                </a:cubicBezTo>
                <a:cubicBezTo>
                  <a:pt x="49" y="196"/>
                  <a:pt x="49" y="196"/>
                  <a:pt x="49" y="196"/>
                </a:cubicBezTo>
                <a:cubicBezTo>
                  <a:pt x="48" y="195"/>
                  <a:pt x="48" y="195"/>
                  <a:pt x="48" y="195"/>
                </a:cubicBezTo>
                <a:cubicBezTo>
                  <a:pt x="48" y="194"/>
                  <a:pt x="48" y="194"/>
                  <a:pt x="48" y="194"/>
                </a:cubicBezTo>
                <a:cubicBezTo>
                  <a:pt x="49" y="194"/>
                  <a:pt x="49" y="194"/>
                  <a:pt x="49" y="194"/>
                </a:cubicBezTo>
                <a:cubicBezTo>
                  <a:pt x="50" y="192"/>
                  <a:pt x="50" y="192"/>
                  <a:pt x="50" y="192"/>
                </a:cubicBezTo>
                <a:cubicBezTo>
                  <a:pt x="51" y="192"/>
                  <a:pt x="51" y="192"/>
                  <a:pt x="51" y="192"/>
                </a:cubicBezTo>
                <a:cubicBezTo>
                  <a:pt x="51" y="192"/>
                  <a:pt x="51" y="192"/>
                  <a:pt x="51" y="192"/>
                </a:cubicBezTo>
                <a:cubicBezTo>
                  <a:pt x="51" y="191"/>
                  <a:pt x="51" y="191"/>
                  <a:pt x="51" y="191"/>
                </a:cubicBezTo>
                <a:cubicBezTo>
                  <a:pt x="52" y="191"/>
                  <a:pt x="52" y="191"/>
                  <a:pt x="52" y="191"/>
                </a:cubicBezTo>
                <a:cubicBezTo>
                  <a:pt x="52" y="191"/>
                  <a:pt x="52" y="191"/>
                  <a:pt x="52" y="191"/>
                </a:cubicBezTo>
                <a:cubicBezTo>
                  <a:pt x="53" y="190"/>
                  <a:pt x="53" y="190"/>
                  <a:pt x="53" y="190"/>
                </a:cubicBezTo>
                <a:cubicBezTo>
                  <a:pt x="52" y="190"/>
                  <a:pt x="52" y="190"/>
                  <a:pt x="52" y="190"/>
                </a:cubicBezTo>
                <a:cubicBezTo>
                  <a:pt x="52" y="189"/>
                  <a:pt x="52" y="189"/>
                  <a:pt x="52" y="189"/>
                </a:cubicBezTo>
                <a:cubicBezTo>
                  <a:pt x="52" y="189"/>
                  <a:pt x="52" y="189"/>
                  <a:pt x="52" y="189"/>
                </a:cubicBezTo>
                <a:cubicBezTo>
                  <a:pt x="52" y="189"/>
                  <a:pt x="52" y="189"/>
                  <a:pt x="52" y="189"/>
                </a:cubicBezTo>
                <a:cubicBezTo>
                  <a:pt x="51" y="190"/>
                  <a:pt x="51" y="190"/>
                  <a:pt x="51" y="190"/>
                </a:cubicBezTo>
                <a:cubicBezTo>
                  <a:pt x="50" y="190"/>
                  <a:pt x="50" y="190"/>
                  <a:pt x="50" y="190"/>
                </a:cubicBezTo>
                <a:cubicBezTo>
                  <a:pt x="49" y="190"/>
                  <a:pt x="49" y="190"/>
                  <a:pt x="49" y="190"/>
                </a:cubicBezTo>
                <a:cubicBezTo>
                  <a:pt x="49" y="189"/>
                  <a:pt x="49" y="189"/>
                  <a:pt x="49" y="189"/>
                </a:cubicBezTo>
                <a:cubicBezTo>
                  <a:pt x="49" y="188"/>
                  <a:pt x="49" y="188"/>
                  <a:pt x="49" y="188"/>
                </a:cubicBezTo>
                <a:cubicBezTo>
                  <a:pt x="50" y="188"/>
                  <a:pt x="50" y="188"/>
                  <a:pt x="50" y="188"/>
                </a:cubicBezTo>
                <a:cubicBezTo>
                  <a:pt x="51" y="188"/>
                  <a:pt x="51" y="188"/>
                  <a:pt x="51" y="188"/>
                </a:cubicBezTo>
                <a:cubicBezTo>
                  <a:pt x="52" y="188"/>
                  <a:pt x="52" y="188"/>
                  <a:pt x="52" y="188"/>
                </a:cubicBezTo>
                <a:cubicBezTo>
                  <a:pt x="52" y="188"/>
                  <a:pt x="52" y="188"/>
                  <a:pt x="52" y="188"/>
                </a:cubicBezTo>
                <a:cubicBezTo>
                  <a:pt x="54" y="188"/>
                  <a:pt x="54" y="188"/>
                  <a:pt x="54" y="188"/>
                </a:cubicBezTo>
                <a:cubicBezTo>
                  <a:pt x="54" y="186"/>
                  <a:pt x="54" y="186"/>
                  <a:pt x="54" y="186"/>
                </a:cubicBezTo>
                <a:cubicBezTo>
                  <a:pt x="54" y="185"/>
                  <a:pt x="54" y="185"/>
                  <a:pt x="54" y="185"/>
                </a:cubicBezTo>
                <a:cubicBezTo>
                  <a:pt x="54" y="185"/>
                  <a:pt x="54" y="185"/>
                  <a:pt x="54" y="185"/>
                </a:cubicBezTo>
                <a:cubicBezTo>
                  <a:pt x="55" y="183"/>
                  <a:pt x="55" y="183"/>
                  <a:pt x="55" y="183"/>
                </a:cubicBezTo>
                <a:cubicBezTo>
                  <a:pt x="55" y="182"/>
                  <a:pt x="55" y="182"/>
                  <a:pt x="55" y="182"/>
                </a:cubicBezTo>
                <a:cubicBezTo>
                  <a:pt x="55" y="181"/>
                  <a:pt x="55" y="181"/>
                  <a:pt x="55" y="181"/>
                </a:cubicBezTo>
                <a:cubicBezTo>
                  <a:pt x="55" y="180"/>
                  <a:pt x="55" y="180"/>
                  <a:pt x="55" y="180"/>
                </a:cubicBezTo>
                <a:cubicBezTo>
                  <a:pt x="54" y="180"/>
                  <a:pt x="54" y="180"/>
                  <a:pt x="54" y="180"/>
                </a:cubicBezTo>
                <a:cubicBezTo>
                  <a:pt x="54" y="180"/>
                  <a:pt x="54" y="180"/>
                  <a:pt x="54" y="180"/>
                </a:cubicBezTo>
                <a:cubicBezTo>
                  <a:pt x="53" y="179"/>
                  <a:pt x="53" y="179"/>
                  <a:pt x="53" y="179"/>
                </a:cubicBezTo>
                <a:cubicBezTo>
                  <a:pt x="52" y="179"/>
                  <a:pt x="52" y="179"/>
                  <a:pt x="52" y="179"/>
                </a:cubicBezTo>
                <a:cubicBezTo>
                  <a:pt x="51" y="179"/>
                  <a:pt x="51" y="179"/>
                  <a:pt x="51" y="179"/>
                </a:cubicBezTo>
                <a:cubicBezTo>
                  <a:pt x="51" y="178"/>
                  <a:pt x="51" y="178"/>
                  <a:pt x="51" y="178"/>
                </a:cubicBezTo>
                <a:cubicBezTo>
                  <a:pt x="52" y="178"/>
                  <a:pt x="52" y="178"/>
                  <a:pt x="52" y="178"/>
                </a:cubicBezTo>
                <a:cubicBezTo>
                  <a:pt x="53" y="178"/>
                  <a:pt x="53" y="178"/>
                  <a:pt x="53" y="178"/>
                </a:cubicBezTo>
                <a:cubicBezTo>
                  <a:pt x="53" y="178"/>
                  <a:pt x="53" y="178"/>
                  <a:pt x="53" y="178"/>
                </a:cubicBezTo>
                <a:cubicBezTo>
                  <a:pt x="54" y="177"/>
                  <a:pt x="54" y="177"/>
                  <a:pt x="54" y="177"/>
                </a:cubicBezTo>
                <a:cubicBezTo>
                  <a:pt x="54" y="176"/>
                  <a:pt x="54" y="176"/>
                  <a:pt x="54" y="176"/>
                </a:cubicBezTo>
                <a:cubicBezTo>
                  <a:pt x="55" y="176"/>
                  <a:pt x="55" y="176"/>
                  <a:pt x="55" y="176"/>
                </a:cubicBezTo>
                <a:cubicBezTo>
                  <a:pt x="55" y="175"/>
                  <a:pt x="55" y="175"/>
                  <a:pt x="55" y="175"/>
                </a:cubicBezTo>
                <a:cubicBezTo>
                  <a:pt x="54" y="174"/>
                  <a:pt x="54" y="174"/>
                  <a:pt x="54" y="174"/>
                </a:cubicBezTo>
                <a:cubicBezTo>
                  <a:pt x="53" y="174"/>
                  <a:pt x="53" y="174"/>
                  <a:pt x="53" y="174"/>
                </a:cubicBezTo>
                <a:cubicBezTo>
                  <a:pt x="53" y="174"/>
                  <a:pt x="53" y="174"/>
                  <a:pt x="53" y="174"/>
                </a:cubicBezTo>
                <a:cubicBezTo>
                  <a:pt x="53" y="173"/>
                  <a:pt x="53" y="173"/>
                  <a:pt x="53" y="173"/>
                </a:cubicBezTo>
                <a:cubicBezTo>
                  <a:pt x="54" y="172"/>
                  <a:pt x="54" y="172"/>
                  <a:pt x="54" y="172"/>
                </a:cubicBezTo>
                <a:cubicBezTo>
                  <a:pt x="54" y="173"/>
                  <a:pt x="54" y="173"/>
                  <a:pt x="54" y="173"/>
                </a:cubicBezTo>
                <a:cubicBezTo>
                  <a:pt x="54" y="172"/>
                  <a:pt x="54" y="172"/>
                  <a:pt x="54" y="172"/>
                </a:cubicBezTo>
                <a:cubicBezTo>
                  <a:pt x="53" y="171"/>
                  <a:pt x="53" y="171"/>
                  <a:pt x="53" y="171"/>
                </a:cubicBezTo>
                <a:cubicBezTo>
                  <a:pt x="53" y="170"/>
                  <a:pt x="53" y="170"/>
                  <a:pt x="53" y="170"/>
                </a:cubicBezTo>
                <a:cubicBezTo>
                  <a:pt x="53" y="169"/>
                  <a:pt x="53" y="169"/>
                  <a:pt x="53" y="169"/>
                </a:cubicBezTo>
                <a:cubicBezTo>
                  <a:pt x="54" y="170"/>
                  <a:pt x="54" y="170"/>
                  <a:pt x="54" y="170"/>
                </a:cubicBezTo>
                <a:cubicBezTo>
                  <a:pt x="54" y="170"/>
                  <a:pt x="54" y="170"/>
                  <a:pt x="54" y="170"/>
                </a:cubicBezTo>
                <a:cubicBezTo>
                  <a:pt x="54" y="169"/>
                  <a:pt x="54" y="169"/>
                  <a:pt x="54" y="169"/>
                </a:cubicBezTo>
                <a:cubicBezTo>
                  <a:pt x="54" y="168"/>
                  <a:pt x="54" y="168"/>
                  <a:pt x="54" y="168"/>
                </a:cubicBezTo>
                <a:cubicBezTo>
                  <a:pt x="54" y="167"/>
                  <a:pt x="54" y="167"/>
                  <a:pt x="54" y="167"/>
                </a:cubicBezTo>
                <a:cubicBezTo>
                  <a:pt x="54" y="166"/>
                  <a:pt x="54" y="166"/>
                  <a:pt x="54" y="166"/>
                </a:cubicBezTo>
                <a:cubicBezTo>
                  <a:pt x="53" y="165"/>
                  <a:pt x="53" y="165"/>
                  <a:pt x="53" y="165"/>
                </a:cubicBezTo>
                <a:cubicBezTo>
                  <a:pt x="53" y="165"/>
                  <a:pt x="53" y="165"/>
                  <a:pt x="53" y="165"/>
                </a:cubicBezTo>
                <a:cubicBezTo>
                  <a:pt x="53" y="164"/>
                  <a:pt x="53" y="164"/>
                  <a:pt x="53" y="164"/>
                </a:cubicBezTo>
                <a:cubicBezTo>
                  <a:pt x="54" y="163"/>
                  <a:pt x="54" y="163"/>
                  <a:pt x="54" y="163"/>
                </a:cubicBezTo>
                <a:cubicBezTo>
                  <a:pt x="54" y="162"/>
                  <a:pt x="54" y="162"/>
                  <a:pt x="54" y="162"/>
                </a:cubicBezTo>
                <a:cubicBezTo>
                  <a:pt x="53" y="162"/>
                  <a:pt x="53" y="162"/>
                  <a:pt x="53" y="162"/>
                </a:cubicBezTo>
                <a:cubicBezTo>
                  <a:pt x="53" y="162"/>
                  <a:pt x="53" y="162"/>
                  <a:pt x="53" y="162"/>
                </a:cubicBezTo>
                <a:cubicBezTo>
                  <a:pt x="52" y="163"/>
                  <a:pt x="52" y="163"/>
                  <a:pt x="52" y="163"/>
                </a:cubicBezTo>
                <a:cubicBezTo>
                  <a:pt x="51" y="163"/>
                  <a:pt x="51" y="163"/>
                  <a:pt x="51" y="163"/>
                </a:cubicBezTo>
                <a:cubicBezTo>
                  <a:pt x="51" y="163"/>
                  <a:pt x="51" y="163"/>
                  <a:pt x="51" y="163"/>
                </a:cubicBezTo>
                <a:cubicBezTo>
                  <a:pt x="50" y="164"/>
                  <a:pt x="50" y="164"/>
                  <a:pt x="50" y="164"/>
                </a:cubicBezTo>
                <a:cubicBezTo>
                  <a:pt x="49" y="163"/>
                  <a:pt x="49" y="163"/>
                  <a:pt x="49" y="163"/>
                </a:cubicBezTo>
                <a:cubicBezTo>
                  <a:pt x="50" y="163"/>
                  <a:pt x="50" y="163"/>
                  <a:pt x="50" y="163"/>
                </a:cubicBezTo>
                <a:cubicBezTo>
                  <a:pt x="51" y="162"/>
                  <a:pt x="51" y="162"/>
                  <a:pt x="51" y="162"/>
                </a:cubicBezTo>
                <a:cubicBezTo>
                  <a:pt x="52" y="162"/>
                  <a:pt x="52" y="162"/>
                  <a:pt x="52" y="162"/>
                </a:cubicBezTo>
                <a:cubicBezTo>
                  <a:pt x="52" y="161"/>
                  <a:pt x="52" y="161"/>
                  <a:pt x="52" y="161"/>
                </a:cubicBezTo>
                <a:cubicBezTo>
                  <a:pt x="53" y="160"/>
                  <a:pt x="53" y="160"/>
                  <a:pt x="53" y="160"/>
                </a:cubicBezTo>
                <a:cubicBezTo>
                  <a:pt x="53" y="159"/>
                  <a:pt x="53" y="159"/>
                  <a:pt x="53" y="159"/>
                </a:cubicBezTo>
                <a:cubicBezTo>
                  <a:pt x="54" y="159"/>
                  <a:pt x="54" y="159"/>
                  <a:pt x="54" y="159"/>
                </a:cubicBezTo>
                <a:cubicBezTo>
                  <a:pt x="55" y="158"/>
                  <a:pt x="55" y="158"/>
                  <a:pt x="55" y="158"/>
                </a:cubicBezTo>
                <a:cubicBezTo>
                  <a:pt x="55" y="157"/>
                  <a:pt x="55" y="157"/>
                  <a:pt x="55" y="157"/>
                </a:cubicBezTo>
                <a:cubicBezTo>
                  <a:pt x="54" y="157"/>
                  <a:pt x="54" y="157"/>
                  <a:pt x="54" y="157"/>
                </a:cubicBezTo>
                <a:cubicBezTo>
                  <a:pt x="53" y="156"/>
                  <a:pt x="53" y="156"/>
                  <a:pt x="53" y="156"/>
                </a:cubicBezTo>
                <a:cubicBezTo>
                  <a:pt x="53" y="155"/>
                  <a:pt x="53" y="155"/>
                  <a:pt x="53" y="155"/>
                </a:cubicBezTo>
                <a:cubicBezTo>
                  <a:pt x="53" y="154"/>
                  <a:pt x="53" y="154"/>
                  <a:pt x="53" y="154"/>
                </a:cubicBezTo>
                <a:cubicBezTo>
                  <a:pt x="52" y="154"/>
                  <a:pt x="52" y="154"/>
                  <a:pt x="52" y="154"/>
                </a:cubicBezTo>
                <a:cubicBezTo>
                  <a:pt x="52" y="153"/>
                  <a:pt x="52" y="153"/>
                  <a:pt x="52" y="153"/>
                </a:cubicBezTo>
                <a:cubicBezTo>
                  <a:pt x="52" y="153"/>
                  <a:pt x="52" y="153"/>
                  <a:pt x="52" y="153"/>
                </a:cubicBezTo>
                <a:cubicBezTo>
                  <a:pt x="52" y="152"/>
                  <a:pt x="52" y="152"/>
                  <a:pt x="52" y="152"/>
                </a:cubicBezTo>
                <a:cubicBezTo>
                  <a:pt x="52" y="152"/>
                  <a:pt x="52" y="152"/>
                  <a:pt x="52" y="152"/>
                </a:cubicBezTo>
                <a:cubicBezTo>
                  <a:pt x="52" y="150"/>
                  <a:pt x="52" y="150"/>
                  <a:pt x="52" y="150"/>
                </a:cubicBezTo>
                <a:cubicBezTo>
                  <a:pt x="51" y="149"/>
                  <a:pt x="51" y="149"/>
                  <a:pt x="51" y="149"/>
                </a:cubicBezTo>
                <a:cubicBezTo>
                  <a:pt x="49" y="148"/>
                  <a:pt x="49" y="148"/>
                  <a:pt x="49" y="148"/>
                </a:cubicBezTo>
                <a:cubicBezTo>
                  <a:pt x="49" y="147"/>
                  <a:pt x="49" y="147"/>
                  <a:pt x="49" y="147"/>
                </a:cubicBezTo>
                <a:cubicBezTo>
                  <a:pt x="49" y="146"/>
                  <a:pt x="49" y="146"/>
                  <a:pt x="49" y="146"/>
                </a:cubicBezTo>
                <a:cubicBezTo>
                  <a:pt x="48" y="146"/>
                  <a:pt x="48" y="146"/>
                  <a:pt x="48" y="146"/>
                </a:cubicBezTo>
                <a:cubicBezTo>
                  <a:pt x="48" y="145"/>
                  <a:pt x="48" y="145"/>
                  <a:pt x="48" y="145"/>
                </a:cubicBezTo>
                <a:cubicBezTo>
                  <a:pt x="49" y="145"/>
                  <a:pt x="49" y="145"/>
                  <a:pt x="49" y="145"/>
                </a:cubicBezTo>
                <a:cubicBezTo>
                  <a:pt x="50" y="144"/>
                  <a:pt x="50" y="144"/>
                  <a:pt x="50" y="144"/>
                </a:cubicBezTo>
                <a:cubicBezTo>
                  <a:pt x="51" y="144"/>
                  <a:pt x="51" y="144"/>
                  <a:pt x="51" y="144"/>
                </a:cubicBezTo>
                <a:cubicBezTo>
                  <a:pt x="51" y="143"/>
                  <a:pt x="51" y="143"/>
                  <a:pt x="51" y="143"/>
                </a:cubicBezTo>
                <a:cubicBezTo>
                  <a:pt x="51" y="143"/>
                  <a:pt x="51" y="143"/>
                  <a:pt x="51" y="143"/>
                </a:cubicBezTo>
                <a:cubicBezTo>
                  <a:pt x="50" y="143"/>
                  <a:pt x="50" y="143"/>
                  <a:pt x="50" y="143"/>
                </a:cubicBezTo>
                <a:cubicBezTo>
                  <a:pt x="50" y="142"/>
                  <a:pt x="50" y="142"/>
                  <a:pt x="50" y="142"/>
                </a:cubicBezTo>
                <a:cubicBezTo>
                  <a:pt x="50" y="142"/>
                  <a:pt x="50" y="142"/>
                  <a:pt x="50" y="142"/>
                </a:cubicBezTo>
                <a:cubicBezTo>
                  <a:pt x="51" y="141"/>
                  <a:pt x="51" y="141"/>
                  <a:pt x="51" y="141"/>
                </a:cubicBezTo>
                <a:cubicBezTo>
                  <a:pt x="52" y="140"/>
                  <a:pt x="52" y="140"/>
                  <a:pt x="52" y="140"/>
                </a:cubicBezTo>
                <a:cubicBezTo>
                  <a:pt x="52" y="139"/>
                  <a:pt x="52" y="139"/>
                  <a:pt x="52" y="139"/>
                </a:cubicBezTo>
                <a:cubicBezTo>
                  <a:pt x="51" y="139"/>
                  <a:pt x="51" y="139"/>
                  <a:pt x="51" y="139"/>
                </a:cubicBezTo>
                <a:cubicBezTo>
                  <a:pt x="52" y="138"/>
                  <a:pt x="52" y="138"/>
                  <a:pt x="52" y="138"/>
                </a:cubicBezTo>
                <a:cubicBezTo>
                  <a:pt x="51" y="138"/>
                  <a:pt x="51" y="138"/>
                  <a:pt x="51" y="138"/>
                </a:cubicBezTo>
                <a:cubicBezTo>
                  <a:pt x="51" y="138"/>
                  <a:pt x="51" y="138"/>
                  <a:pt x="51" y="138"/>
                </a:cubicBezTo>
                <a:cubicBezTo>
                  <a:pt x="50" y="136"/>
                  <a:pt x="50" y="136"/>
                  <a:pt x="50" y="136"/>
                </a:cubicBezTo>
                <a:cubicBezTo>
                  <a:pt x="48" y="135"/>
                  <a:pt x="48" y="135"/>
                  <a:pt x="48" y="135"/>
                </a:cubicBezTo>
                <a:cubicBezTo>
                  <a:pt x="48" y="134"/>
                  <a:pt x="48" y="134"/>
                  <a:pt x="48" y="134"/>
                </a:cubicBezTo>
                <a:cubicBezTo>
                  <a:pt x="47" y="134"/>
                  <a:pt x="47" y="134"/>
                  <a:pt x="47" y="134"/>
                </a:cubicBezTo>
                <a:cubicBezTo>
                  <a:pt x="47" y="134"/>
                  <a:pt x="47" y="134"/>
                  <a:pt x="47" y="134"/>
                </a:cubicBezTo>
                <a:cubicBezTo>
                  <a:pt x="47" y="135"/>
                  <a:pt x="47" y="135"/>
                  <a:pt x="47" y="135"/>
                </a:cubicBezTo>
                <a:cubicBezTo>
                  <a:pt x="46" y="135"/>
                  <a:pt x="46" y="135"/>
                  <a:pt x="46" y="135"/>
                </a:cubicBezTo>
                <a:cubicBezTo>
                  <a:pt x="46" y="134"/>
                  <a:pt x="46" y="134"/>
                  <a:pt x="46" y="134"/>
                </a:cubicBezTo>
                <a:cubicBezTo>
                  <a:pt x="46" y="133"/>
                  <a:pt x="46" y="133"/>
                  <a:pt x="46" y="133"/>
                </a:cubicBezTo>
                <a:cubicBezTo>
                  <a:pt x="45" y="133"/>
                  <a:pt x="45" y="133"/>
                  <a:pt x="45" y="133"/>
                </a:cubicBezTo>
                <a:cubicBezTo>
                  <a:pt x="44" y="132"/>
                  <a:pt x="44" y="132"/>
                  <a:pt x="44" y="132"/>
                </a:cubicBezTo>
                <a:cubicBezTo>
                  <a:pt x="43" y="132"/>
                  <a:pt x="43" y="132"/>
                  <a:pt x="43" y="132"/>
                </a:cubicBezTo>
                <a:cubicBezTo>
                  <a:pt x="43" y="131"/>
                  <a:pt x="43" y="131"/>
                  <a:pt x="43" y="131"/>
                </a:cubicBezTo>
                <a:cubicBezTo>
                  <a:pt x="43" y="132"/>
                  <a:pt x="43" y="132"/>
                  <a:pt x="43" y="132"/>
                </a:cubicBezTo>
                <a:cubicBezTo>
                  <a:pt x="42" y="132"/>
                  <a:pt x="42" y="132"/>
                  <a:pt x="42" y="132"/>
                </a:cubicBezTo>
                <a:cubicBezTo>
                  <a:pt x="42" y="131"/>
                  <a:pt x="42" y="131"/>
                  <a:pt x="42" y="131"/>
                </a:cubicBezTo>
                <a:cubicBezTo>
                  <a:pt x="42" y="130"/>
                  <a:pt x="42" y="130"/>
                  <a:pt x="42" y="130"/>
                </a:cubicBezTo>
                <a:cubicBezTo>
                  <a:pt x="41" y="129"/>
                  <a:pt x="41" y="129"/>
                  <a:pt x="41" y="129"/>
                </a:cubicBezTo>
                <a:cubicBezTo>
                  <a:pt x="40" y="128"/>
                  <a:pt x="40" y="128"/>
                  <a:pt x="40" y="128"/>
                </a:cubicBezTo>
                <a:cubicBezTo>
                  <a:pt x="39" y="128"/>
                  <a:pt x="39" y="128"/>
                  <a:pt x="39" y="128"/>
                </a:cubicBezTo>
                <a:cubicBezTo>
                  <a:pt x="39" y="129"/>
                  <a:pt x="39" y="129"/>
                  <a:pt x="39" y="129"/>
                </a:cubicBezTo>
                <a:cubicBezTo>
                  <a:pt x="38" y="128"/>
                  <a:pt x="38" y="128"/>
                  <a:pt x="38" y="128"/>
                </a:cubicBezTo>
                <a:cubicBezTo>
                  <a:pt x="36" y="127"/>
                  <a:pt x="36" y="127"/>
                  <a:pt x="36" y="127"/>
                </a:cubicBezTo>
                <a:cubicBezTo>
                  <a:pt x="35" y="126"/>
                  <a:pt x="35" y="126"/>
                  <a:pt x="35" y="126"/>
                </a:cubicBezTo>
                <a:cubicBezTo>
                  <a:pt x="34" y="125"/>
                  <a:pt x="34" y="125"/>
                  <a:pt x="34" y="125"/>
                </a:cubicBezTo>
                <a:cubicBezTo>
                  <a:pt x="33" y="125"/>
                  <a:pt x="33" y="125"/>
                  <a:pt x="33" y="125"/>
                </a:cubicBezTo>
                <a:cubicBezTo>
                  <a:pt x="31" y="125"/>
                  <a:pt x="31" y="125"/>
                  <a:pt x="31" y="125"/>
                </a:cubicBezTo>
                <a:cubicBezTo>
                  <a:pt x="30" y="126"/>
                  <a:pt x="30" y="126"/>
                  <a:pt x="30" y="126"/>
                </a:cubicBezTo>
                <a:cubicBezTo>
                  <a:pt x="30" y="127"/>
                  <a:pt x="30" y="127"/>
                  <a:pt x="30" y="127"/>
                </a:cubicBezTo>
                <a:cubicBezTo>
                  <a:pt x="29" y="128"/>
                  <a:pt x="29" y="128"/>
                  <a:pt x="29" y="128"/>
                </a:cubicBezTo>
                <a:cubicBezTo>
                  <a:pt x="28" y="129"/>
                  <a:pt x="28" y="129"/>
                  <a:pt x="28" y="129"/>
                </a:cubicBezTo>
                <a:cubicBezTo>
                  <a:pt x="28" y="128"/>
                  <a:pt x="28" y="128"/>
                  <a:pt x="28" y="128"/>
                </a:cubicBezTo>
                <a:cubicBezTo>
                  <a:pt x="29" y="127"/>
                  <a:pt x="29" y="127"/>
                  <a:pt x="29" y="127"/>
                </a:cubicBezTo>
                <a:cubicBezTo>
                  <a:pt x="29" y="125"/>
                  <a:pt x="29" y="125"/>
                  <a:pt x="29" y="125"/>
                </a:cubicBezTo>
                <a:cubicBezTo>
                  <a:pt x="28" y="125"/>
                  <a:pt x="28" y="125"/>
                  <a:pt x="28" y="125"/>
                </a:cubicBezTo>
                <a:cubicBezTo>
                  <a:pt x="27" y="125"/>
                  <a:pt x="27" y="125"/>
                  <a:pt x="27" y="125"/>
                </a:cubicBezTo>
                <a:cubicBezTo>
                  <a:pt x="26" y="126"/>
                  <a:pt x="26" y="126"/>
                  <a:pt x="26" y="126"/>
                </a:cubicBezTo>
                <a:cubicBezTo>
                  <a:pt x="26" y="127"/>
                  <a:pt x="26" y="127"/>
                  <a:pt x="26" y="127"/>
                </a:cubicBezTo>
                <a:cubicBezTo>
                  <a:pt x="25" y="127"/>
                  <a:pt x="25" y="127"/>
                  <a:pt x="25" y="127"/>
                </a:cubicBezTo>
                <a:cubicBezTo>
                  <a:pt x="25" y="127"/>
                  <a:pt x="25" y="127"/>
                  <a:pt x="25" y="127"/>
                </a:cubicBezTo>
                <a:cubicBezTo>
                  <a:pt x="24" y="125"/>
                  <a:pt x="24" y="125"/>
                  <a:pt x="24" y="125"/>
                </a:cubicBezTo>
                <a:cubicBezTo>
                  <a:pt x="23" y="125"/>
                  <a:pt x="23" y="125"/>
                  <a:pt x="23" y="125"/>
                </a:cubicBezTo>
                <a:cubicBezTo>
                  <a:pt x="23" y="126"/>
                  <a:pt x="23" y="126"/>
                  <a:pt x="23" y="126"/>
                </a:cubicBezTo>
                <a:cubicBezTo>
                  <a:pt x="23" y="128"/>
                  <a:pt x="23" y="128"/>
                  <a:pt x="23" y="128"/>
                </a:cubicBezTo>
                <a:cubicBezTo>
                  <a:pt x="22" y="128"/>
                  <a:pt x="22" y="128"/>
                  <a:pt x="22" y="128"/>
                </a:cubicBezTo>
                <a:cubicBezTo>
                  <a:pt x="21" y="128"/>
                  <a:pt x="21" y="128"/>
                  <a:pt x="21" y="128"/>
                </a:cubicBezTo>
                <a:cubicBezTo>
                  <a:pt x="21" y="127"/>
                  <a:pt x="21" y="127"/>
                  <a:pt x="21" y="127"/>
                </a:cubicBezTo>
                <a:cubicBezTo>
                  <a:pt x="22" y="125"/>
                  <a:pt x="22" y="125"/>
                  <a:pt x="22" y="125"/>
                </a:cubicBezTo>
                <a:cubicBezTo>
                  <a:pt x="23" y="125"/>
                  <a:pt x="23" y="125"/>
                  <a:pt x="23" y="125"/>
                </a:cubicBezTo>
                <a:cubicBezTo>
                  <a:pt x="22" y="124"/>
                  <a:pt x="22" y="124"/>
                  <a:pt x="22" y="124"/>
                </a:cubicBezTo>
                <a:cubicBezTo>
                  <a:pt x="22" y="124"/>
                  <a:pt x="22" y="124"/>
                  <a:pt x="22" y="124"/>
                </a:cubicBezTo>
                <a:cubicBezTo>
                  <a:pt x="21" y="124"/>
                  <a:pt x="21" y="124"/>
                  <a:pt x="21" y="124"/>
                </a:cubicBezTo>
                <a:cubicBezTo>
                  <a:pt x="20" y="125"/>
                  <a:pt x="20" y="125"/>
                  <a:pt x="20" y="125"/>
                </a:cubicBezTo>
                <a:cubicBezTo>
                  <a:pt x="19" y="125"/>
                  <a:pt x="19" y="125"/>
                  <a:pt x="19" y="125"/>
                </a:cubicBezTo>
                <a:cubicBezTo>
                  <a:pt x="19" y="125"/>
                  <a:pt x="19" y="125"/>
                  <a:pt x="19" y="125"/>
                </a:cubicBezTo>
                <a:cubicBezTo>
                  <a:pt x="19" y="126"/>
                  <a:pt x="19" y="126"/>
                  <a:pt x="19" y="126"/>
                </a:cubicBezTo>
                <a:cubicBezTo>
                  <a:pt x="18" y="125"/>
                  <a:pt x="18" y="125"/>
                  <a:pt x="18" y="125"/>
                </a:cubicBezTo>
                <a:cubicBezTo>
                  <a:pt x="18" y="124"/>
                  <a:pt x="18" y="124"/>
                  <a:pt x="18" y="124"/>
                </a:cubicBezTo>
                <a:cubicBezTo>
                  <a:pt x="18" y="123"/>
                  <a:pt x="18" y="123"/>
                  <a:pt x="18" y="123"/>
                </a:cubicBezTo>
                <a:cubicBezTo>
                  <a:pt x="18" y="122"/>
                  <a:pt x="18" y="122"/>
                  <a:pt x="18" y="122"/>
                </a:cubicBezTo>
                <a:cubicBezTo>
                  <a:pt x="17" y="122"/>
                  <a:pt x="17" y="122"/>
                  <a:pt x="17" y="122"/>
                </a:cubicBezTo>
                <a:cubicBezTo>
                  <a:pt x="17" y="122"/>
                  <a:pt x="17" y="122"/>
                  <a:pt x="17" y="122"/>
                </a:cubicBezTo>
                <a:cubicBezTo>
                  <a:pt x="16" y="123"/>
                  <a:pt x="16" y="123"/>
                  <a:pt x="16" y="123"/>
                </a:cubicBezTo>
                <a:cubicBezTo>
                  <a:pt x="16" y="124"/>
                  <a:pt x="16" y="124"/>
                  <a:pt x="16" y="124"/>
                </a:cubicBezTo>
                <a:cubicBezTo>
                  <a:pt x="16" y="125"/>
                  <a:pt x="16" y="125"/>
                  <a:pt x="16" y="125"/>
                </a:cubicBezTo>
                <a:cubicBezTo>
                  <a:pt x="16" y="126"/>
                  <a:pt x="16" y="126"/>
                  <a:pt x="16" y="126"/>
                </a:cubicBezTo>
                <a:cubicBezTo>
                  <a:pt x="16" y="127"/>
                  <a:pt x="16" y="127"/>
                  <a:pt x="16" y="127"/>
                </a:cubicBezTo>
                <a:cubicBezTo>
                  <a:pt x="16" y="128"/>
                  <a:pt x="16" y="128"/>
                  <a:pt x="16" y="128"/>
                </a:cubicBezTo>
                <a:cubicBezTo>
                  <a:pt x="15" y="129"/>
                  <a:pt x="15" y="129"/>
                  <a:pt x="15" y="129"/>
                </a:cubicBezTo>
                <a:cubicBezTo>
                  <a:pt x="15" y="128"/>
                  <a:pt x="15" y="128"/>
                  <a:pt x="15" y="128"/>
                </a:cubicBezTo>
                <a:cubicBezTo>
                  <a:pt x="14" y="127"/>
                  <a:pt x="14" y="127"/>
                  <a:pt x="14" y="127"/>
                </a:cubicBezTo>
                <a:cubicBezTo>
                  <a:pt x="12" y="126"/>
                  <a:pt x="12" y="126"/>
                  <a:pt x="12" y="126"/>
                </a:cubicBezTo>
                <a:cubicBezTo>
                  <a:pt x="11" y="126"/>
                  <a:pt x="11" y="126"/>
                  <a:pt x="11" y="126"/>
                </a:cubicBezTo>
                <a:cubicBezTo>
                  <a:pt x="10" y="125"/>
                  <a:pt x="10" y="125"/>
                  <a:pt x="10" y="125"/>
                </a:cubicBezTo>
                <a:cubicBezTo>
                  <a:pt x="9" y="124"/>
                  <a:pt x="9" y="124"/>
                  <a:pt x="9" y="124"/>
                </a:cubicBezTo>
                <a:cubicBezTo>
                  <a:pt x="9" y="124"/>
                  <a:pt x="9" y="124"/>
                  <a:pt x="9" y="124"/>
                </a:cubicBezTo>
                <a:cubicBezTo>
                  <a:pt x="10" y="123"/>
                  <a:pt x="10" y="123"/>
                  <a:pt x="10" y="123"/>
                </a:cubicBezTo>
                <a:cubicBezTo>
                  <a:pt x="8" y="123"/>
                  <a:pt x="8" y="123"/>
                  <a:pt x="8" y="123"/>
                </a:cubicBezTo>
                <a:cubicBezTo>
                  <a:pt x="8" y="121"/>
                  <a:pt x="8" y="121"/>
                  <a:pt x="8" y="121"/>
                </a:cubicBezTo>
                <a:cubicBezTo>
                  <a:pt x="7" y="120"/>
                  <a:pt x="7" y="120"/>
                  <a:pt x="7" y="120"/>
                </a:cubicBezTo>
                <a:cubicBezTo>
                  <a:pt x="6" y="119"/>
                  <a:pt x="6" y="119"/>
                  <a:pt x="6" y="119"/>
                </a:cubicBezTo>
                <a:cubicBezTo>
                  <a:pt x="6" y="118"/>
                  <a:pt x="6" y="118"/>
                  <a:pt x="6" y="118"/>
                </a:cubicBezTo>
                <a:cubicBezTo>
                  <a:pt x="7" y="117"/>
                  <a:pt x="7" y="117"/>
                  <a:pt x="7" y="117"/>
                </a:cubicBezTo>
                <a:cubicBezTo>
                  <a:pt x="8" y="117"/>
                  <a:pt x="8" y="117"/>
                  <a:pt x="8" y="117"/>
                </a:cubicBezTo>
                <a:cubicBezTo>
                  <a:pt x="9" y="116"/>
                  <a:pt x="9" y="116"/>
                  <a:pt x="9" y="116"/>
                </a:cubicBezTo>
                <a:cubicBezTo>
                  <a:pt x="10" y="116"/>
                  <a:pt x="10" y="116"/>
                  <a:pt x="10" y="116"/>
                </a:cubicBezTo>
                <a:cubicBezTo>
                  <a:pt x="12" y="116"/>
                  <a:pt x="12" y="116"/>
                  <a:pt x="12" y="116"/>
                </a:cubicBezTo>
                <a:cubicBezTo>
                  <a:pt x="12" y="116"/>
                  <a:pt x="12" y="116"/>
                  <a:pt x="12" y="116"/>
                </a:cubicBezTo>
                <a:cubicBezTo>
                  <a:pt x="13" y="116"/>
                  <a:pt x="13" y="116"/>
                  <a:pt x="13" y="116"/>
                </a:cubicBezTo>
                <a:cubicBezTo>
                  <a:pt x="13" y="115"/>
                  <a:pt x="13" y="115"/>
                  <a:pt x="13" y="115"/>
                </a:cubicBezTo>
                <a:cubicBezTo>
                  <a:pt x="13" y="114"/>
                  <a:pt x="13" y="114"/>
                  <a:pt x="13" y="114"/>
                </a:cubicBezTo>
                <a:cubicBezTo>
                  <a:pt x="12" y="115"/>
                  <a:pt x="12" y="115"/>
                  <a:pt x="12" y="115"/>
                </a:cubicBezTo>
                <a:cubicBezTo>
                  <a:pt x="10" y="114"/>
                  <a:pt x="10" y="114"/>
                  <a:pt x="10" y="114"/>
                </a:cubicBezTo>
                <a:cubicBezTo>
                  <a:pt x="10" y="114"/>
                  <a:pt x="10" y="114"/>
                  <a:pt x="10" y="114"/>
                </a:cubicBezTo>
                <a:cubicBezTo>
                  <a:pt x="9" y="114"/>
                  <a:pt x="9" y="114"/>
                  <a:pt x="9" y="114"/>
                </a:cubicBezTo>
                <a:cubicBezTo>
                  <a:pt x="7" y="112"/>
                  <a:pt x="7" y="112"/>
                  <a:pt x="7" y="112"/>
                </a:cubicBezTo>
                <a:cubicBezTo>
                  <a:pt x="7" y="111"/>
                  <a:pt x="7" y="111"/>
                  <a:pt x="7" y="111"/>
                </a:cubicBezTo>
                <a:cubicBezTo>
                  <a:pt x="8" y="110"/>
                  <a:pt x="8" y="110"/>
                  <a:pt x="8" y="110"/>
                </a:cubicBezTo>
                <a:cubicBezTo>
                  <a:pt x="9" y="110"/>
                  <a:pt x="9" y="110"/>
                  <a:pt x="9" y="110"/>
                </a:cubicBezTo>
                <a:cubicBezTo>
                  <a:pt x="9" y="108"/>
                  <a:pt x="9" y="108"/>
                  <a:pt x="9" y="108"/>
                </a:cubicBezTo>
                <a:cubicBezTo>
                  <a:pt x="10" y="108"/>
                  <a:pt x="10" y="108"/>
                  <a:pt x="10" y="108"/>
                </a:cubicBezTo>
                <a:cubicBezTo>
                  <a:pt x="9" y="108"/>
                  <a:pt x="9" y="108"/>
                  <a:pt x="9" y="108"/>
                </a:cubicBezTo>
                <a:cubicBezTo>
                  <a:pt x="8" y="108"/>
                  <a:pt x="8" y="108"/>
                  <a:pt x="8" y="108"/>
                </a:cubicBezTo>
                <a:cubicBezTo>
                  <a:pt x="8" y="110"/>
                  <a:pt x="8" y="110"/>
                  <a:pt x="8" y="110"/>
                </a:cubicBezTo>
                <a:cubicBezTo>
                  <a:pt x="7" y="110"/>
                  <a:pt x="7" y="110"/>
                  <a:pt x="7" y="110"/>
                </a:cubicBezTo>
                <a:cubicBezTo>
                  <a:pt x="7" y="110"/>
                  <a:pt x="7" y="110"/>
                  <a:pt x="7" y="110"/>
                </a:cubicBezTo>
                <a:cubicBezTo>
                  <a:pt x="6" y="111"/>
                  <a:pt x="6" y="111"/>
                  <a:pt x="6" y="111"/>
                </a:cubicBezTo>
                <a:cubicBezTo>
                  <a:pt x="5" y="110"/>
                  <a:pt x="5" y="110"/>
                  <a:pt x="5" y="110"/>
                </a:cubicBezTo>
                <a:cubicBezTo>
                  <a:pt x="4" y="109"/>
                  <a:pt x="4" y="109"/>
                  <a:pt x="4" y="109"/>
                </a:cubicBezTo>
                <a:cubicBezTo>
                  <a:pt x="4" y="108"/>
                  <a:pt x="4" y="108"/>
                  <a:pt x="4" y="108"/>
                </a:cubicBezTo>
                <a:cubicBezTo>
                  <a:pt x="5" y="108"/>
                  <a:pt x="5" y="108"/>
                  <a:pt x="5" y="108"/>
                </a:cubicBezTo>
                <a:cubicBezTo>
                  <a:pt x="5" y="107"/>
                  <a:pt x="5" y="107"/>
                  <a:pt x="5" y="107"/>
                </a:cubicBezTo>
                <a:cubicBezTo>
                  <a:pt x="4" y="107"/>
                  <a:pt x="4" y="107"/>
                  <a:pt x="4" y="107"/>
                </a:cubicBezTo>
                <a:cubicBezTo>
                  <a:pt x="4" y="108"/>
                  <a:pt x="4" y="108"/>
                  <a:pt x="4" y="108"/>
                </a:cubicBezTo>
                <a:cubicBezTo>
                  <a:pt x="4" y="107"/>
                  <a:pt x="4" y="107"/>
                  <a:pt x="4" y="107"/>
                </a:cubicBezTo>
                <a:cubicBezTo>
                  <a:pt x="4" y="106"/>
                  <a:pt x="4" y="106"/>
                  <a:pt x="4" y="106"/>
                </a:cubicBezTo>
                <a:cubicBezTo>
                  <a:pt x="4" y="105"/>
                  <a:pt x="4" y="105"/>
                  <a:pt x="4" y="105"/>
                </a:cubicBezTo>
                <a:cubicBezTo>
                  <a:pt x="5" y="105"/>
                  <a:pt x="5" y="105"/>
                  <a:pt x="5" y="105"/>
                </a:cubicBezTo>
                <a:cubicBezTo>
                  <a:pt x="5" y="104"/>
                  <a:pt x="5" y="104"/>
                  <a:pt x="5" y="104"/>
                </a:cubicBezTo>
                <a:cubicBezTo>
                  <a:pt x="6" y="104"/>
                  <a:pt x="6" y="104"/>
                  <a:pt x="6" y="104"/>
                </a:cubicBezTo>
                <a:cubicBezTo>
                  <a:pt x="7" y="105"/>
                  <a:pt x="7" y="105"/>
                  <a:pt x="7" y="105"/>
                </a:cubicBezTo>
                <a:cubicBezTo>
                  <a:pt x="7" y="104"/>
                  <a:pt x="7" y="104"/>
                  <a:pt x="7" y="104"/>
                </a:cubicBezTo>
                <a:cubicBezTo>
                  <a:pt x="9" y="103"/>
                  <a:pt x="9" y="103"/>
                  <a:pt x="9" y="103"/>
                </a:cubicBezTo>
                <a:cubicBezTo>
                  <a:pt x="11" y="103"/>
                  <a:pt x="11" y="103"/>
                  <a:pt x="11" y="103"/>
                </a:cubicBezTo>
                <a:cubicBezTo>
                  <a:pt x="12" y="104"/>
                  <a:pt x="12" y="104"/>
                  <a:pt x="12" y="104"/>
                </a:cubicBezTo>
                <a:cubicBezTo>
                  <a:pt x="14" y="104"/>
                  <a:pt x="14" y="104"/>
                  <a:pt x="14" y="104"/>
                </a:cubicBezTo>
                <a:cubicBezTo>
                  <a:pt x="17" y="105"/>
                  <a:pt x="17" y="105"/>
                  <a:pt x="17" y="105"/>
                </a:cubicBezTo>
                <a:cubicBezTo>
                  <a:pt x="18" y="106"/>
                  <a:pt x="18" y="106"/>
                  <a:pt x="18" y="106"/>
                </a:cubicBezTo>
                <a:cubicBezTo>
                  <a:pt x="19" y="106"/>
                  <a:pt x="19" y="106"/>
                  <a:pt x="19" y="106"/>
                </a:cubicBezTo>
                <a:cubicBezTo>
                  <a:pt x="21" y="107"/>
                  <a:pt x="21" y="107"/>
                  <a:pt x="21" y="107"/>
                </a:cubicBezTo>
                <a:cubicBezTo>
                  <a:pt x="22" y="107"/>
                  <a:pt x="22" y="107"/>
                  <a:pt x="22" y="107"/>
                </a:cubicBezTo>
                <a:cubicBezTo>
                  <a:pt x="23" y="107"/>
                  <a:pt x="23" y="107"/>
                  <a:pt x="23" y="107"/>
                </a:cubicBezTo>
                <a:cubicBezTo>
                  <a:pt x="24" y="107"/>
                  <a:pt x="24" y="107"/>
                  <a:pt x="24" y="107"/>
                </a:cubicBezTo>
                <a:cubicBezTo>
                  <a:pt x="23" y="107"/>
                  <a:pt x="23" y="107"/>
                  <a:pt x="23" y="107"/>
                </a:cubicBezTo>
                <a:cubicBezTo>
                  <a:pt x="22" y="107"/>
                  <a:pt x="22" y="107"/>
                  <a:pt x="22" y="107"/>
                </a:cubicBezTo>
                <a:cubicBezTo>
                  <a:pt x="20" y="106"/>
                  <a:pt x="20" y="106"/>
                  <a:pt x="20" y="106"/>
                </a:cubicBezTo>
                <a:cubicBezTo>
                  <a:pt x="19" y="105"/>
                  <a:pt x="19" y="105"/>
                  <a:pt x="19" y="105"/>
                </a:cubicBezTo>
                <a:cubicBezTo>
                  <a:pt x="17" y="104"/>
                  <a:pt x="17" y="104"/>
                  <a:pt x="17" y="104"/>
                </a:cubicBezTo>
                <a:cubicBezTo>
                  <a:pt x="16" y="104"/>
                  <a:pt x="16" y="104"/>
                  <a:pt x="16" y="104"/>
                </a:cubicBezTo>
                <a:cubicBezTo>
                  <a:pt x="15" y="103"/>
                  <a:pt x="15" y="103"/>
                  <a:pt x="15" y="103"/>
                </a:cubicBezTo>
                <a:cubicBezTo>
                  <a:pt x="15" y="103"/>
                  <a:pt x="15" y="103"/>
                  <a:pt x="15" y="103"/>
                </a:cubicBezTo>
                <a:cubicBezTo>
                  <a:pt x="17" y="102"/>
                  <a:pt x="17" y="102"/>
                  <a:pt x="17" y="102"/>
                </a:cubicBezTo>
                <a:cubicBezTo>
                  <a:pt x="19" y="102"/>
                  <a:pt x="19" y="102"/>
                  <a:pt x="19" y="102"/>
                </a:cubicBezTo>
                <a:cubicBezTo>
                  <a:pt x="21" y="102"/>
                  <a:pt x="21" y="102"/>
                  <a:pt x="21" y="102"/>
                </a:cubicBezTo>
                <a:cubicBezTo>
                  <a:pt x="23" y="103"/>
                  <a:pt x="23" y="103"/>
                  <a:pt x="23" y="103"/>
                </a:cubicBezTo>
                <a:cubicBezTo>
                  <a:pt x="24" y="104"/>
                  <a:pt x="24" y="104"/>
                  <a:pt x="24" y="104"/>
                </a:cubicBezTo>
                <a:cubicBezTo>
                  <a:pt x="25" y="104"/>
                  <a:pt x="25" y="104"/>
                  <a:pt x="25" y="104"/>
                </a:cubicBezTo>
                <a:cubicBezTo>
                  <a:pt x="25" y="105"/>
                  <a:pt x="25" y="105"/>
                  <a:pt x="25" y="105"/>
                </a:cubicBezTo>
                <a:cubicBezTo>
                  <a:pt x="26" y="105"/>
                  <a:pt x="26" y="105"/>
                  <a:pt x="26" y="105"/>
                </a:cubicBezTo>
                <a:cubicBezTo>
                  <a:pt x="26" y="105"/>
                  <a:pt x="26" y="105"/>
                  <a:pt x="26" y="105"/>
                </a:cubicBezTo>
                <a:cubicBezTo>
                  <a:pt x="26" y="104"/>
                  <a:pt x="26" y="104"/>
                  <a:pt x="26" y="104"/>
                </a:cubicBezTo>
                <a:cubicBezTo>
                  <a:pt x="26" y="103"/>
                  <a:pt x="26" y="103"/>
                  <a:pt x="26" y="103"/>
                </a:cubicBezTo>
                <a:cubicBezTo>
                  <a:pt x="27" y="102"/>
                  <a:pt x="27" y="102"/>
                  <a:pt x="27" y="102"/>
                </a:cubicBezTo>
                <a:cubicBezTo>
                  <a:pt x="27" y="102"/>
                  <a:pt x="27" y="102"/>
                  <a:pt x="27" y="102"/>
                </a:cubicBezTo>
                <a:cubicBezTo>
                  <a:pt x="27" y="100"/>
                  <a:pt x="27" y="100"/>
                  <a:pt x="27" y="100"/>
                </a:cubicBezTo>
                <a:cubicBezTo>
                  <a:pt x="27" y="100"/>
                  <a:pt x="27" y="100"/>
                  <a:pt x="27" y="100"/>
                </a:cubicBezTo>
                <a:cubicBezTo>
                  <a:pt x="26" y="100"/>
                  <a:pt x="26" y="100"/>
                  <a:pt x="26" y="100"/>
                </a:cubicBezTo>
                <a:cubicBezTo>
                  <a:pt x="26" y="100"/>
                  <a:pt x="26" y="100"/>
                  <a:pt x="26" y="100"/>
                </a:cubicBezTo>
                <a:cubicBezTo>
                  <a:pt x="26" y="99"/>
                  <a:pt x="26" y="99"/>
                  <a:pt x="26" y="99"/>
                </a:cubicBezTo>
                <a:cubicBezTo>
                  <a:pt x="25" y="99"/>
                  <a:pt x="25" y="99"/>
                  <a:pt x="25" y="99"/>
                </a:cubicBezTo>
                <a:cubicBezTo>
                  <a:pt x="24" y="99"/>
                  <a:pt x="24" y="99"/>
                  <a:pt x="24" y="99"/>
                </a:cubicBezTo>
                <a:cubicBezTo>
                  <a:pt x="23" y="100"/>
                  <a:pt x="23" y="100"/>
                  <a:pt x="23" y="100"/>
                </a:cubicBezTo>
                <a:cubicBezTo>
                  <a:pt x="22" y="100"/>
                  <a:pt x="22" y="100"/>
                  <a:pt x="22" y="100"/>
                </a:cubicBezTo>
                <a:cubicBezTo>
                  <a:pt x="20" y="99"/>
                  <a:pt x="20" y="99"/>
                  <a:pt x="20" y="99"/>
                </a:cubicBezTo>
                <a:cubicBezTo>
                  <a:pt x="19" y="99"/>
                  <a:pt x="19" y="99"/>
                  <a:pt x="19" y="99"/>
                </a:cubicBezTo>
                <a:cubicBezTo>
                  <a:pt x="19" y="98"/>
                  <a:pt x="19" y="98"/>
                  <a:pt x="19" y="98"/>
                </a:cubicBezTo>
                <a:cubicBezTo>
                  <a:pt x="19" y="98"/>
                  <a:pt x="19" y="98"/>
                  <a:pt x="19" y="98"/>
                </a:cubicBezTo>
                <a:cubicBezTo>
                  <a:pt x="18" y="97"/>
                  <a:pt x="18" y="97"/>
                  <a:pt x="18" y="97"/>
                </a:cubicBezTo>
                <a:cubicBezTo>
                  <a:pt x="17" y="97"/>
                  <a:pt x="17" y="97"/>
                  <a:pt x="17" y="97"/>
                </a:cubicBezTo>
                <a:cubicBezTo>
                  <a:pt x="17" y="97"/>
                  <a:pt x="17" y="97"/>
                  <a:pt x="17" y="97"/>
                </a:cubicBezTo>
                <a:cubicBezTo>
                  <a:pt x="17" y="98"/>
                  <a:pt x="17" y="98"/>
                  <a:pt x="17" y="98"/>
                </a:cubicBezTo>
                <a:cubicBezTo>
                  <a:pt x="17" y="98"/>
                  <a:pt x="17" y="98"/>
                  <a:pt x="17" y="98"/>
                </a:cubicBezTo>
                <a:cubicBezTo>
                  <a:pt x="17" y="100"/>
                  <a:pt x="17" y="100"/>
                  <a:pt x="17" y="100"/>
                </a:cubicBezTo>
                <a:cubicBezTo>
                  <a:pt x="17" y="100"/>
                  <a:pt x="17" y="100"/>
                  <a:pt x="17" y="100"/>
                </a:cubicBezTo>
                <a:cubicBezTo>
                  <a:pt x="15" y="100"/>
                  <a:pt x="15" y="100"/>
                  <a:pt x="15" y="100"/>
                </a:cubicBezTo>
                <a:cubicBezTo>
                  <a:pt x="14" y="100"/>
                  <a:pt x="14" y="100"/>
                  <a:pt x="14" y="100"/>
                </a:cubicBezTo>
                <a:cubicBezTo>
                  <a:pt x="12" y="98"/>
                  <a:pt x="12" y="98"/>
                  <a:pt x="12" y="98"/>
                </a:cubicBezTo>
                <a:cubicBezTo>
                  <a:pt x="12" y="97"/>
                  <a:pt x="12" y="97"/>
                  <a:pt x="12" y="97"/>
                </a:cubicBezTo>
                <a:cubicBezTo>
                  <a:pt x="13" y="97"/>
                  <a:pt x="13" y="97"/>
                  <a:pt x="13" y="97"/>
                </a:cubicBezTo>
                <a:cubicBezTo>
                  <a:pt x="15" y="96"/>
                  <a:pt x="15" y="96"/>
                  <a:pt x="15" y="96"/>
                </a:cubicBezTo>
                <a:cubicBezTo>
                  <a:pt x="15" y="95"/>
                  <a:pt x="15" y="95"/>
                  <a:pt x="15" y="95"/>
                </a:cubicBezTo>
                <a:cubicBezTo>
                  <a:pt x="15" y="95"/>
                  <a:pt x="15" y="95"/>
                  <a:pt x="15" y="95"/>
                </a:cubicBezTo>
                <a:cubicBezTo>
                  <a:pt x="13" y="96"/>
                  <a:pt x="13" y="96"/>
                  <a:pt x="13" y="96"/>
                </a:cubicBezTo>
                <a:cubicBezTo>
                  <a:pt x="12" y="96"/>
                  <a:pt x="12" y="96"/>
                  <a:pt x="12" y="96"/>
                </a:cubicBezTo>
                <a:cubicBezTo>
                  <a:pt x="11" y="96"/>
                  <a:pt x="11" y="96"/>
                  <a:pt x="11" y="96"/>
                </a:cubicBezTo>
                <a:cubicBezTo>
                  <a:pt x="11" y="95"/>
                  <a:pt x="11" y="95"/>
                  <a:pt x="11" y="95"/>
                </a:cubicBezTo>
                <a:cubicBezTo>
                  <a:pt x="11" y="95"/>
                  <a:pt x="11" y="95"/>
                  <a:pt x="11" y="95"/>
                </a:cubicBezTo>
                <a:cubicBezTo>
                  <a:pt x="12" y="94"/>
                  <a:pt x="12" y="94"/>
                  <a:pt x="12" y="94"/>
                </a:cubicBezTo>
                <a:cubicBezTo>
                  <a:pt x="13" y="94"/>
                  <a:pt x="13" y="94"/>
                  <a:pt x="13" y="94"/>
                </a:cubicBezTo>
                <a:cubicBezTo>
                  <a:pt x="14" y="92"/>
                  <a:pt x="14" y="92"/>
                  <a:pt x="14" y="92"/>
                </a:cubicBezTo>
                <a:cubicBezTo>
                  <a:pt x="14" y="92"/>
                  <a:pt x="14" y="92"/>
                  <a:pt x="14" y="92"/>
                </a:cubicBezTo>
                <a:cubicBezTo>
                  <a:pt x="13" y="91"/>
                  <a:pt x="13" y="91"/>
                  <a:pt x="13" y="91"/>
                </a:cubicBezTo>
                <a:cubicBezTo>
                  <a:pt x="13" y="92"/>
                  <a:pt x="13" y="92"/>
                  <a:pt x="13" y="92"/>
                </a:cubicBezTo>
                <a:cubicBezTo>
                  <a:pt x="13" y="92"/>
                  <a:pt x="13" y="92"/>
                  <a:pt x="13" y="92"/>
                </a:cubicBezTo>
                <a:cubicBezTo>
                  <a:pt x="11" y="93"/>
                  <a:pt x="11" y="93"/>
                  <a:pt x="11" y="93"/>
                </a:cubicBezTo>
                <a:cubicBezTo>
                  <a:pt x="10" y="93"/>
                  <a:pt x="10" y="93"/>
                  <a:pt x="10" y="93"/>
                </a:cubicBezTo>
                <a:cubicBezTo>
                  <a:pt x="9" y="93"/>
                  <a:pt x="9" y="93"/>
                  <a:pt x="9" y="93"/>
                </a:cubicBezTo>
                <a:cubicBezTo>
                  <a:pt x="8" y="92"/>
                  <a:pt x="8" y="92"/>
                  <a:pt x="8" y="92"/>
                </a:cubicBezTo>
                <a:cubicBezTo>
                  <a:pt x="9" y="92"/>
                  <a:pt x="9" y="92"/>
                  <a:pt x="9" y="92"/>
                </a:cubicBezTo>
                <a:cubicBezTo>
                  <a:pt x="9" y="91"/>
                  <a:pt x="9" y="91"/>
                  <a:pt x="9" y="91"/>
                </a:cubicBezTo>
                <a:cubicBezTo>
                  <a:pt x="10" y="91"/>
                  <a:pt x="10" y="91"/>
                  <a:pt x="10" y="91"/>
                </a:cubicBezTo>
                <a:cubicBezTo>
                  <a:pt x="10" y="90"/>
                  <a:pt x="10" y="90"/>
                  <a:pt x="10" y="90"/>
                </a:cubicBezTo>
                <a:cubicBezTo>
                  <a:pt x="9" y="90"/>
                  <a:pt x="9" y="90"/>
                  <a:pt x="9" y="90"/>
                </a:cubicBezTo>
                <a:cubicBezTo>
                  <a:pt x="8" y="90"/>
                  <a:pt x="8" y="90"/>
                  <a:pt x="8" y="90"/>
                </a:cubicBezTo>
                <a:cubicBezTo>
                  <a:pt x="7" y="89"/>
                  <a:pt x="7" y="89"/>
                  <a:pt x="7" y="89"/>
                </a:cubicBezTo>
                <a:cubicBezTo>
                  <a:pt x="6" y="87"/>
                  <a:pt x="6" y="87"/>
                  <a:pt x="6" y="87"/>
                </a:cubicBezTo>
                <a:cubicBezTo>
                  <a:pt x="6" y="86"/>
                  <a:pt x="6" y="86"/>
                  <a:pt x="6" y="86"/>
                </a:cubicBezTo>
                <a:cubicBezTo>
                  <a:pt x="4" y="85"/>
                  <a:pt x="4" y="85"/>
                  <a:pt x="4" y="85"/>
                </a:cubicBezTo>
                <a:cubicBezTo>
                  <a:pt x="4" y="85"/>
                  <a:pt x="4" y="85"/>
                  <a:pt x="4" y="85"/>
                </a:cubicBezTo>
                <a:cubicBezTo>
                  <a:pt x="5" y="85"/>
                  <a:pt x="5" y="85"/>
                  <a:pt x="5" y="85"/>
                </a:cubicBezTo>
                <a:cubicBezTo>
                  <a:pt x="6" y="84"/>
                  <a:pt x="6" y="84"/>
                  <a:pt x="6" y="84"/>
                </a:cubicBezTo>
                <a:cubicBezTo>
                  <a:pt x="6" y="83"/>
                  <a:pt x="6" y="83"/>
                  <a:pt x="6" y="83"/>
                </a:cubicBezTo>
                <a:cubicBezTo>
                  <a:pt x="7" y="83"/>
                  <a:pt x="7" y="83"/>
                  <a:pt x="7" y="83"/>
                </a:cubicBezTo>
                <a:cubicBezTo>
                  <a:pt x="7" y="83"/>
                  <a:pt x="7" y="83"/>
                  <a:pt x="7" y="83"/>
                </a:cubicBezTo>
                <a:cubicBezTo>
                  <a:pt x="8" y="83"/>
                  <a:pt x="8" y="83"/>
                  <a:pt x="8" y="83"/>
                </a:cubicBezTo>
                <a:cubicBezTo>
                  <a:pt x="8" y="82"/>
                  <a:pt x="8" y="82"/>
                  <a:pt x="8" y="82"/>
                </a:cubicBezTo>
                <a:cubicBezTo>
                  <a:pt x="7" y="82"/>
                  <a:pt x="7" y="82"/>
                  <a:pt x="7" y="82"/>
                </a:cubicBezTo>
                <a:cubicBezTo>
                  <a:pt x="6" y="82"/>
                  <a:pt x="6" y="82"/>
                  <a:pt x="6" y="82"/>
                </a:cubicBezTo>
                <a:cubicBezTo>
                  <a:pt x="6" y="81"/>
                  <a:pt x="6" y="81"/>
                  <a:pt x="6" y="81"/>
                </a:cubicBezTo>
                <a:cubicBezTo>
                  <a:pt x="6" y="81"/>
                  <a:pt x="6" y="81"/>
                  <a:pt x="6" y="81"/>
                </a:cubicBezTo>
                <a:cubicBezTo>
                  <a:pt x="7" y="81"/>
                  <a:pt x="7" y="81"/>
                  <a:pt x="7" y="81"/>
                </a:cubicBezTo>
                <a:cubicBezTo>
                  <a:pt x="9" y="80"/>
                  <a:pt x="9" y="80"/>
                  <a:pt x="9" y="80"/>
                </a:cubicBezTo>
                <a:cubicBezTo>
                  <a:pt x="9" y="79"/>
                  <a:pt x="9" y="79"/>
                  <a:pt x="9" y="79"/>
                </a:cubicBezTo>
                <a:cubicBezTo>
                  <a:pt x="9" y="79"/>
                  <a:pt x="9" y="79"/>
                  <a:pt x="9" y="79"/>
                </a:cubicBezTo>
                <a:cubicBezTo>
                  <a:pt x="10" y="78"/>
                  <a:pt x="10" y="78"/>
                  <a:pt x="10" y="78"/>
                </a:cubicBezTo>
                <a:cubicBezTo>
                  <a:pt x="11" y="78"/>
                  <a:pt x="11" y="78"/>
                  <a:pt x="11" y="78"/>
                </a:cubicBezTo>
                <a:cubicBezTo>
                  <a:pt x="12" y="78"/>
                  <a:pt x="12" y="78"/>
                  <a:pt x="12" y="78"/>
                </a:cubicBezTo>
                <a:cubicBezTo>
                  <a:pt x="12" y="78"/>
                  <a:pt x="12" y="78"/>
                  <a:pt x="12" y="78"/>
                </a:cubicBezTo>
                <a:cubicBezTo>
                  <a:pt x="13" y="78"/>
                  <a:pt x="13" y="78"/>
                  <a:pt x="13" y="78"/>
                </a:cubicBezTo>
                <a:cubicBezTo>
                  <a:pt x="14" y="78"/>
                  <a:pt x="14" y="78"/>
                  <a:pt x="14" y="78"/>
                </a:cubicBezTo>
                <a:cubicBezTo>
                  <a:pt x="15" y="78"/>
                  <a:pt x="15" y="78"/>
                  <a:pt x="15" y="78"/>
                </a:cubicBezTo>
                <a:cubicBezTo>
                  <a:pt x="15" y="78"/>
                  <a:pt x="15" y="78"/>
                  <a:pt x="15" y="78"/>
                </a:cubicBezTo>
                <a:cubicBezTo>
                  <a:pt x="15" y="78"/>
                  <a:pt x="15" y="78"/>
                  <a:pt x="15" y="78"/>
                </a:cubicBezTo>
                <a:cubicBezTo>
                  <a:pt x="16" y="78"/>
                  <a:pt x="16" y="78"/>
                  <a:pt x="16" y="78"/>
                </a:cubicBezTo>
                <a:cubicBezTo>
                  <a:pt x="17" y="78"/>
                  <a:pt x="17" y="78"/>
                  <a:pt x="17" y="78"/>
                </a:cubicBezTo>
                <a:cubicBezTo>
                  <a:pt x="17" y="77"/>
                  <a:pt x="17" y="77"/>
                  <a:pt x="17" y="77"/>
                </a:cubicBezTo>
                <a:cubicBezTo>
                  <a:pt x="18" y="77"/>
                  <a:pt x="18" y="77"/>
                  <a:pt x="18" y="77"/>
                </a:cubicBezTo>
                <a:cubicBezTo>
                  <a:pt x="19" y="77"/>
                  <a:pt x="19" y="77"/>
                  <a:pt x="19" y="77"/>
                </a:cubicBezTo>
                <a:cubicBezTo>
                  <a:pt x="19" y="77"/>
                  <a:pt x="19" y="77"/>
                  <a:pt x="19" y="77"/>
                </a:cubicBezTo>
                <a:cubicBezTo>
                  <a:pt x="20" y="77"/>
                  <a:pt x="20" y="77"/>
                  <a:pt x="20" y="77"/>
                </a:cubicBezTo>
                <a:cubicBezTo>
                  <a:pt x="20" y="77"/>
                  <a:pt x="20" y="77"/>
                  <a:pt x="20" y="77"/>
                </a:cubicBezTo>
                <a:cubicBezTo>
                  <a:pt x="21" y="77"/>
                  <a:pt x="21" y="77"/>
                  <a:pt x="21" y="77"/>
                </a:cubicBezTo>
                <a:cubicBezTo>
                  <a:pt x="26" y="75"/>
                  <a:pt x="26" y="75"/>
                  <a:pt x="26" y="75"/>
                </a:cubicBezTo>
                <a:cubicBezTo>
                  <a:pt x="27" y="75"/>
                  <a:pt x="27" y="75"/>
                  <a:pt x="27" y="75"/>
                </a:cubicBezTo>
                <a:cubicBezTo>
                  <a:pt x="27" y="76"/>
                  <a:pt x="27" y="76"/>
                  <a:pt x="27" y="76"/>
                </a:cubicBezTo>
                <a:cubicBezTo>
                  <a:pt x="27" y="75"/>
                  <a:pt x="27" y="75"/>
                  <a:pt x="27" y="75"/>
                </a:cubicBezTo>
                <a:cubicBezTo>
                  <a:pt x="27" y="75"/>
                  <a:pt x="27" y="75"/>
                  <a:pt x="27" y="75"/>
                </a:cubicBezTo>
                <a:cubicBezTo>
                  <a:pt x="27" y="74"/>
                  <a:pt x="27" y="74"/>
                  <a:pt x="27" y="74"/>
                </a:cubicBezTo>
                <a:cubicBezTo>
                  <a:pt x="29" y="73"/>
                  <a:pt x="29" y="73"/>
                  <a:pt x="29" y="73"/>
                </a:cubicBezTo>
                <a:cubicBezTo>
                  <a:pt x="31" y="73"/>
                  <a:pt x="31" y="73"/>
                  <a:pt x="31" y="73"/>
                </a:cubicBezTo>
                <a:cubicBezTo>
                  <a:pt x="32" y="73"/>
                  <a:pt x="32" y="73"/>
                  <a:pt x="32" y="73"/>
                </a:cubicBezTo>
                <a:cubicBezTo>
                  <a:pt x="33" y="73"/>
                  <a:pt x="33" y="73"/>
                  <a:pt x="33" y="73"/>
                </a:cubicBezTo>
                <a:cubicBezTo>
                  <a:pt x="34" y="74"/>
                  <a:pt x="34" y="74"/>
                  <a:pt x="34" y="74"/>
                </a:cubicBezTo>
                <a:cubicBezTo>
                  <a:pt x="35" y="73"/>
                  <a:pt x="35" y="73"/>
                  <a:pt x="35" y="73"/>
                </a:cubicBezTo>
                <a:cubicBezTo>
                  <a:pt x="36" y="73"/>
                  <a:pt x="36" y="73"/>
                  <a:pt x="36" y="73"/>
                </a:cubicBezTo>
                <a:cubicBezTo>
                  <a:pt x="38" y="73"/>
                  <a:pt x="38" y="73"/>
                  <a:pt x="38" y="73"/>
                </a:cubicBezTo>
                <a:cubicBezTo>
                  <a:pt x="38" y="74"/>
                  <a:pt x="38" y="74"/>
                  <a:pt x="38" y="74"/>
                </a:cubicBezTo>
                <a:cubicBezTo>
                  <a:pt x="39" y="74"/>
                  <a:pt x="39" y="74"/>
                  <a:pt x="39" y="74"/>
                </a:cubicBezTo>
                <a:cubicBezTo>
                  <a:pt x="40" y="74"/>
                  <a:pt x="40" y="74"/>
                  <a:pt x="40" y="74"/>
                </a:cubicBezTo>
                <a:cubicBezTo>
                  <a:pt x="41" y="75"/>
                  <a:pt x="41" y="75"/>
                  <a:pt x="41" y="75"/>
                </a:cubicBezTo>
                <a:cubicBezTo>
                  <a:pt x="42" y="75"/>
                  <a:pt x="42" y="75"/>
                  <a:pt x="42" y="75"/>
                </a:cubicBezTo>
                <a:cubicBezTo>
                  <a:pt x="43" y="75"/>
                  <a:pt x="43" y="75"/>
                  <a:pt x="43" y="75"/>
                </a:cubicBezTo>
                <a:cubicBezTo>
                  <a:pt x="43" y="74"/>
                  <a:pt x="43" y="74"/>
                  <a:pt x="43" y="74"/>
                </a:cubicBezTo>
                <a:cubicBezTo>
                  <a:pt x="44" y="73"/>
                  <a:pt x="44" y="73"/>
                  <a:pt x="44" y="73"/>
                </a:cubicBezTo>
                <a:cubicBezTo>
                  <a:pt x="45" y="72"/>
                  <a:pt x="45" y="72"/>
                  <a:pt x="45" y="72"/>
                </a:cubicBezTo>
                <a:cubicBezTo>
                  <a:pt x="46" y="71"/>
                  <a:pt x="46" y="71"/>
                  <a:pt x="46" y="71"/>
                </a:cubicBezTo>
                <a:cubicBezTo>
                  <a:pt x="47" y="70"/>
                  <a:pt x="47" y="70"/>
                  <a:pt x="47" y="70"/>
                </a:cubicBezTo>
                <a:cubicBezTo>
                  <a:pt x="48" y="69"/>
                  <a:pt x="48" y="69"/>
                  <a:pt x="48" y="69"/>
                </a:cubicBezTo>
                <a:cubicBezTo>
                  <a:pt x="49" y="68"/>
                  <a:pt x="49" y="68"/>
                  <a:pt x="49" y="68"/>
                </a:cubicBezTo>
                <a:cubicBezTo>
                  <a:pt x="50" y="67"/>
                  <a:pt x="50" y="67"/>
                  <a:pt x="50" y="67"/>
                </a:cubicBezTo>
                <a:cubicBezTo>
                  <a:pt x="50" y="66"/>
                  <a:pt x="50" y="66"/>
                  <a:pt x="50" y="66"/>
                </a:cubicBezTo>
                <a:cubicBezTo>
                  <a:pt x="49" y="66"/>
                  <a:pt x="49" y="66"/>
                  <a:pt x="49" y="66"/>
                </a:cubicBezTo>
                <a:cubicBezTo>
                  <a:pt x="49" y="65"/>
                  <a:pt x="49" y="65"/>
                  <a:pt x="49" y="65"/>
                </a:cubicBezTo>
                <a:cubicBezTo>
                  <a:pt x="50" y="63"/>
                  <a:pt x="50" y="63"/>
                  <a:pt x="50" y="63"/>
                </a:cubicBezTo>
                <a:cubicBezTo>
                  <a:pt x="51" y="63"/>
                  <a:pt x="51" y="63"/>
                  <a:pt x="51" y="63"/>
                </a:cubicBezTo>
                <a:cubicBezTo>
                  <a:pt x="53" y="63"/>
                  <a:pt x="53" y="63"/>
                  <a:pt x="53" y="63"/>
                </a:cubicBezTo>
                <a:cubicBezTo>
                  <a:pt x="54" y="63"/>
                  <a:pt x="54" y="63"/>
                  <a:pt x="54" y="63"/>
                </a:cubicBezTo>
                <a:cubicBezTo>
                  <a:pt x="55" y="62"/>
                  <a:pt x="55" y="62"/>
                  <a:pt x="55" y="62"/>
                </a:cubicBezTo>
                <a:cubicBezTo>
                  <a:pt x="54" y="61"/>
                  <a:pt x="54" y="61"/>
                  <a:pt x="54" y="61"/>
                </a:cubicBezTo>
                <a:cubicBezTo>
                  <a:pt x="53" y="61"/>
                  <a:pt x="53" y="61"/>
                  <a:pt x="53" y="61"/>
                </a:cubicBezTo>
                <a:cubicBezTo>
                  <a:pt x="52" y="61"/>
                  <a:pt x="52" y="61"/>
                  <a:pt x="52" y="61"/>
                </a:cubicBezTo>
                <a:cubicBezTo>
                  <a:pt x="52" y="60"/>
                  <a:pt x="52" y="60"/>
                  <a:pt x="52" y="60"/>
                </a:cubicBezTo>
                <a:cubicBezTo>
                  <a:pt x="52" y="59"/>
                  <a:pt x="52" y="59"/>
                  <a:pt x="52" y="59"/>
                </a:cubicBezTo>
                <a:cubicBezTo>
                  <a:pt x="53" y="59"/>
                  <a:pt x="53" y="59"/>
                  <a:pt x="53" y="59"/>
                </a:cubicBezTo>
                <a:cubicBezTo>
                  <a:pt x="55" y="59"/>
                  <a:pt x="55" y="59"/>
                  <a:pt x="55" y="59"/>
                </a:cubicBezTo>
                <a:cubicBezTo>
                  <a:pt x="56" y="58"/>
                  <a:pt x="56" y="58"/>
                  <a:pt x="56" y="58"/>
                </a:cubicBezTo>
                <a:cubicBezTo>
                  <a:pt x="57" y="58"/>
                  <a:pt x="57" y="58"/>
                  <a:pt x="57" y="58"/>
                </a:cubicBezTo>
                <a:cubicBezTo>
                  <a:pt x="58" y="57"/>
                  <a:pt x="58" y="57"/>
                  <a:pt x="58" y="57"/>
                </a:cubicBezTo>
                <a:cubicBezTo>
                  <a:pt x="57" y="57"/>
                  <a:pt x="57" y="57"/>
                  <a:pt x="57" y="57"/>
                </a:cubicBezTo>
                <a:cubicBezTo>
                  <a:pt x="57" y="56"/>
                  <a:pt x="57" y="56"/>
                  <a:pt x="57" y="56"/>
                </a:cubicBezTo>
                <a:cubicBezTo>
                  <a:pt x="57" y="56"/>
                  <a:pt x="57" y="56"/>
                  <a:pt x="57" y="56"/>
                </a:cubicBezTo>
                <a:cubicBezTo>
                  <a:pt x="56" y="57"/>
                  <a:pt x="56" y="57"/>
                  <a:pt x="56" y="57"/>
                </a:cubicBezTo>
                <a:cubicBezTo>
                  <a:pt x="56" y="58"/>
                  <a:pt x="56" y="58"/>
                  <a:pt x="56" y="58"/>
                </a:cubicBezTo>
                <a:cubicBezTo>
                  <a:pt x="55" y="58"/>
                  <a:pt x="55" y="58"/>
                  <a:pt x="55" y="58"/>
                </a:cubicBezTo>
                <a:cubicBezTo>
                  <a:pt x="53" y="58"/>
                  <a:pt x="53" y="58"/>
                  <a:pt x="53" y="58"/>
                </a:cubicBezTo>
                <a:cubicBezTo>
                  <a:pt x="52" y="58"/>
                  <a:pt x="52" y="58"/>
                  <a:pt x="52" y="58"/>
                </a:cubicBezTo>
                <a:cubicBezTo>
                  <a:pt x="52" y="58"/>
                  <a:pt x="52" y="58"/>
                  <a:pt x="52" y="58"/>
                </a:cubicBezTo>
                <a:cubicBezTo>
                  <a:pt x="51" y="59"/>
                  <a:pt x="51" y="59"/>
                  <a:pt x="51" y="59"/>
                </a:cubicBezTo>
                <a:cubicBezTo>
                  <a:pt x="50" y="59"/>
                  <a:pt x="50" y="59"/>
                  <a:pt x="50" y="59"/>
                </a:cubicBezTo>
                <a:cubicBezTo>
                  <a:pt x="49" y="58"/>
                  <a:pt x="49" y="58"/>
                  <a:pt x="49" y="58"/>
                </a:cubicBezTo>
                <a:cubicBezTo>
                  <a:pt x="48" y="57"/>
                  <a:pt x="48" y="57"/>
                  <a:pt x="48" y="57"/>
                </a:cubicBezTo>
                <a:cubicBezTo>
                  <a:pt x="47" y="57"/>
                  <a:pt x="47" y="57"/>
                  <a:pt x="47" y="57"/>
                </a:cubicBezTo>
                <a:cubicBezTo>
                  <a:pt x="47" y="58"/>
                  <a:pt x="47" y="58"/>
                  <a:pt x="47" y="58"/>
                </a:cubicBezTo>
                <a:cubicBezTo>
                  <a:pt x="46" y="58"/>
                  <a:pt x="46" y="58"/>
                  <a:pt x="46" y="58"/>
                </a:cubicBezTo>
                <a:cubicBezTo>
                  <a:pt x="46" y="57"/>
                  <a:pt x="46" y="57"/>
                  <a:pt x="46" y="57"/>
                </a:cubicBezTo>
                <a:cubicBezTo>
                  <a:pt x="45" y="57"/>
                  <a:pt x="45" y="57"/>
                  <a:pt x="45" y="57"/>
                </a:cubicBezTo>
                <a:cubicBezTo>
                  <a:pt x="44" y="57"/>
                  <a:pt x="44" y="57"/>
                  <a:pt x="44" y="57"/>
                </a:cubicBezTo>
                <a:cubicBezTo>
                  <a:pt x="44" y="57"/>
                  <a:pt x="44" y="57"/>
                  <a:pt x="44" y="57"/>
                </a:cubicBezTo>
                <a:cubicBezTo>
                  <a:pt x="44" y="56"/>
                  <a:pt x="44" y="56"/>
                  <a:pt x="44" y="56"/>
                </a:cubicBezTo>
                <a:cubicBezTo>
                  <a:pt x="44" y="56"/>
                  <a:pt x="44" y="56"/>
                  <a:pt x="44" y="56"/>
                </a:cubicBezTo>
                <a:cubicBezTo>
                  <a:pt x="44" y="55"/>
                  <a:pt x="44" y="55"/>
                  <a:pt x="44" y="55"/>
                </a:cubicBezTo>
                <a:cubicBezTo>
                  <a:pt x="44" y="54"/>
                  <a:pt x="44" y="54"/>
                  <a:pt x="44" y="54"/>
                </a:cubicBezTo>
                <a:cubicBezTo>
                  <a:pt x="45" y="54"/>
                  <a:pt x="45" y="54"/>
                  <a:pt x="45" y="54"/>
                </a:cubicBezTo>
                <a:cubicBezTo>
                  <a:pt x="46" y="53"/>
                  <a:pt x="46" y="53"/>
                  <a:pt x="46" y="53"/>
                </a:cubicBezTo>
                <a:cubicBezTo>
                  <a:pt x="46" y="52"/>
                  <a:pt x="46" y="52"/>
                  <a:pt x="46" y="52"/>
                </a:cubicBezTo>
                <a:cubicBezTo>
                  <a:pt x="47" y="52"/>
                  <a:pt x="47" y="52"/>
                  <a:pt x="47" y="52"/>
                </a:cubicBezTo>
                <a:cubicBezTo>
                  <a:pt x="47" y="51"/>
                  <a:pt x="47" y="51"/>
                  <a:pt x="47" y="51"/>
                </a:cubicBezTo>
                <a:cubicBezTo>
                  <a:pt x="47" y="51"/>
                  <a:pt x="47" y="51"/>
                  <a:pt x="47" y="51"/>
                </a:cubicBezTo>
                <a:cubicBezTo>
                  <a:pt x="46" y="50"/>
                  <a:pt x="46" y="50"/>
                  <a:pt x="46" y="50"/>
                </a:cubicBezTo>
                <a:cubicBezTo>
                  <a:pt x="47" y="50"/>
                  <a:pt x="47" y="50"/>
                  <a:pt x="47" y="50"/>
                </a:cubicBezTo>
                <a:cubicBezTo>
                  <a:pt x="48" y="49"/>
                  <a:pt x="48" y="49"/>
                  <a:pt x="48" y="49"/>
                </a:cubicBezTo>
                <a:cubicBezTo>
                  <a:pt x="49" y="49"/>
                  <a:pt x="49" y="49"/>
                  <a:pt x="49" y="49"/>
                </a:cubicBezTo>
                <a:cubicBezTo>
                  <a:pt x="49" y="48"/>
                  <a:pt x="49" y="48"/>
                  <a:pt x="49" y="48"/>
                </a:cubicBezTo>
                <a:cubicBezTo>
                  <a:pt x="50" y="48"/>
                  <a:pt x="50" y="48"/>
                  <a:pt x="50" y="48"/>
                </a:cubicBezTo>
                <a:cubicBezTo>
                  <a:pt x="52" y="47"/>
                  <a:pt x="52" y="47"/>
                  <a:pt x="52" y="47"/>
                </a:cubicBezTo>
                <a:cubicBezTo>
                  <a:pt x="52" y="46"/>
                  <a:pt x="52" y="46"/>
                  <a:pt x="52" y="46"/>
                </a:cubicBezTo>
                <a:cubicBezTo>
                  <a:pt x="53" y="46"/>
                  <a:pt x="53" y="46"/>
                  <a:pt x="53" y="46"/>
                </a:cubicBezTo>
                <a:cubicBezTo>
                  <a:pt x="55" y="46"/>
                  <a:pt x="55" y="46"/>
                  <a:pt x="55" y="46"/>
                </a:cubicBezTo>
                <a:cubicBezTo>
                  <a:pt x="56" y="46"/>
                  <a:pt x="56" y="46"/>
                  <a:pt x="56" y="46"/>
                </a:cubicBezTo>
                <a:cubicBezTo>
                  <a:pt x="55" y="45"/>
                  <a:pt x="55" y="45"/>
                  <a:pt x="55" y="45"/>
                </a:cubicBezTo>
                <a:cubicBezTo>
                  <a:pt x="55" y="45"/>
                  <a:pt x="55" y="45"/>
                  <a:pt x="55" y="45"/>
                </a:cubicBezTo>
                <a:cubicBezTo>
                  <a:pt x="55" y="44"/>
                  <a:pt x="55" y="44"/>
                  <a:pt x="55" y="44"/>
                </a:cubicBezTo>
                <a:cubicBezTo>
                  <a:pt x="55" y="44"/>
                  <a:pt x="55" y="44"/>
                  <a:pt x="55" y="44"/>
                </a:cubicBezTo>
                <a:cubicBezTo>
                  <a:pt x="57" y="44"/>
                  <a:pt x="57" y="44"/>
                  <a:pt x="57" y="44"/>
                </a:cubicBezTo>
                <a:cubicBezTo>
                  <a:pt x="57" y="45"/>
                  <a:pt x="57" y="45"/>
                  <a:pt x="57" y="45"/>
                </a:cubicBezTo>
                <a:cubicBezTo>
                  <a:pt x="57" y="44"/>
                  <a:pt x="57" y="44"/>
                  <a:pt x="57" y="44"/>
                </a:cubicBezTo>
                <a:cubicBezTo>
                  <a:pt x="59" y="43"/>
                  <a:pt x="59" y="43"/>
                  <a:pt x="59" y="43"/>
                </a:cubicBezTo>
                <a:cubicBezTo>
                  <a:pt x="59" y="42"/>
                  <a:pt x="59" y="42"/>
                  <a:pt x="59" y="42"/>
                </a:cubicBezTo>
                <a:cubicBezTo>
                  <a:pt x="59" y="41"/>
                  <a:pt x="59" y="41"/>
                  <a:pt x="59" y="41"/>
                </a:cubicBezTo>
                <a:cubicBezTo>
                  <a:pt x="60" y="40"/>
                  <a:pt x="60" y="40"/>
                  <a:pt x="60" y="40"/>
                </a:cubicBezTo>
                <a:cubicBezTo>
                  <a:pt x="61" y="40"/>
                  <a:pt x="61" y="40"/>
                  <a:pt x="61" y="40"/>
                </a:cubicBezTo>
                <a:cubicBezTo>
                  <a:pt x="62" y="39"/>
                  <a:pt x="62" y="39"/>
                  <a:pt x="62" y="39"/>
                </a:cubicBezTo>
                <a:cubicBezTo>
                  <a:pt x="63" y="39"/>
                  <a:pt x="63" y="39"/>
                  <a:pt x="63" y="39"/>
                </a:cubicBezTo>
                <a:cubicBezTo>
                  <a:pt x="63" y="39"/>
                  <a:pt x="63" y="39"/>
                  <a:pt x="63" y="39"/>
                </a:cubicBezTo>
                <a:cubicBezTo>
                  <a:pt x="64" y="39"/>
                  <a:pt x="64" y="39"/>
                  <a:pt x="64" y="39"/>
                </a:cubicBezTo>
                <a:cubicBezTo>
                  <a:pt x="64" y="40"/>
                  <a:pt x="64" y="40"/>
                  <a:pt x="64" y="40"/>
                </a:cubicBezTo>
                <a:cubicBezTo>
                  <a:pt x="64" y="42"/>
                  <a:pt x="64" y="42"/>
                  <a:pt x="64" y="42"/>
                </a:cubicBezTo>
                <a:cubicBezTo>
                  <a:pt x="64" y="43"/>
                  <a:pt x="64" y="43"/>
                  <a:pt x="64" y="43"/>
                </a:cubicBezTo>
                <a:cubicBezTo>
                  <a:pt x="64" y="45"/>
                  <a:pt x="64" y="45"/>
                  <a:pt x="64" y="45"/>
                </a:cubicBezTo>
                <a:cubicBezTo>
                  <a:pt x="64" y="47"/>
                  <a:pt x="64" y="47"/>
                  <a:pt x="64" y="47"/>
                </a:cubicBezTo>
                <a:cubicBezTo>
                  <a:pt x="65" y="47"/>
                  <a:pt x="65" y="47"/>
                  <a:pt x="65" y="47"/>
                </a:cubicBezTo>
                <a:cubicBezTo>
                  <a:pt x="65" y="47"/>
                  <a:pt x="65" y="47"/>
                  <a:pt x="65" y="47"/>
                </a:cubicBezTo>
                <a:cubicBezTo>
                  <a:pt x="65" y="45"/>
                  <a:pt x="65" y="45"/>
                  <a:pt x="65" y="45"/>
                </a:cubicBezTo>
                <a:cubicBezTo>
                  <a:pt x="65" y="43"/>
                  <a:pt x="65" y="43"/>
                  <a:pt x="65" y="43"/>
                </a:cubicBezTo>
                <a:cubicBezTo>
                  <a:pt x="65" y="42"/>
                  <a:pt x="65" y="42"/>
                  <a:pt x="65" y="42"/>
                </a:cubicBezTo>
                <a:cubicBezTo>
                  <a:pt x="65" y="41"/>
                  <a:pt x="65" y="41"/>
                  <a:pt x="65" y="41"/>
                </a:cubicBezTo>
                <a:cubicBezTo>
                  <a:pt x="65" y="39"/>
                  <a:pt x="65" y="39"/>
                  <a:pt x="65" y="39"/>
                </a:cubicBezTo>
                <a:cubicBezTo>
                  <a:pt x="66" y="39"/>
                  <a:pt x="66" y="39"/>
                  <a:pt x="66" y="39"/>
                </a:cubicBezTo>
                <a:cubicBezTo>
                  <a:pt x="66" y="39"/>
                  <a:pt x="66" y="39"/>
                  <a:pt x="66" y="39"/>
                </a:cubicBezTo>
                <a:cubicBezTo>
                  <a:pt x="67" y="38"/>
                  <a:pt x="67" y="38"/>
                  <a:pt x="67" y="38"/>
                </a:cubicBezTo>
                <a:cubicBezTo>
                  <a:pt x="67" y="38"/>
                  <a:pt x="67" y="38"/>
                  <a:pt x="67" y="38"/>
                </a:cubicBezTo>
                <a:cubicBezTo>
                  <a:pt x="68" y="38"/>
                  <a:pt x="68" y="38"/>
                  <a:pt x="68" y="38"/>
                </a:cubicBezTo>
                <a:cubicBezTo>
                  <a:pt x="68" y="39"/>
                  <a:pt x="68" y="39"/>
                  <a:pt x="68" y="39"/>
                </a:cubicBezTo>
                <a:cubicBezTo>
                  <a:pt x="68" y="39"/>
                  <a:pt x="68" y="39"/>
                  <a:pt x="68" y="39"/>
                </a:cubicBezTo>
                <a:cubicBezTo>
                  <a:pt x="69" y="39"/>
                  <a:pt x="69" y="39"/>
                  <a:pt x="69" y="39"/>
                </a:cubicBezTo>
                <a:cubicBezTo>
                  <a:pt x="69" y="39"/>
                  <a:pt x="69" y="39"/>
                  <a:pt x="69" y="39"/>
                </a:cubicBezTo>
                <a:cubicBezTo>
                  <a:pt x="69" y="40"/>
                  <a:pt x="69" y="40"/>
                  <a:pt x="69" y="40"/>
                </a:cubicBezTo>
                <a:cubicBezTo>
                  <a:pt x="69" y="41"/>
                  <a:pt x="69" y="41"/>
                  <a:pt x="69" y="41"/>
                </a:cubicBezTo>
                <a:cubicBezTo>
                  <a:pt x="70" y="41"/>
                  <a:pt x="70" y="41"/>
                  <a:pt x="70" y="41"/>
                </a:cubicBezTo>
                <a:cubicBezTo>
                  <a:pt x="72" y="41"/>
                  <a:pt x="72" y="41"/>
                  <a:pt x="72" y="41"/>
                </a:cubicBezTo>
                <a:cubicBezTo>
                  <a:pt x="73" y="41"/>
                  <a:pt x="73" y="41"/>
                  <a:pt x="73" y="41"/>
                </a:cubicBezTo>
                <a:cubicBezTo>
                  <a:pt x="74" y="41"/>
                  <a:pt x="74" y="41"/>
                  <a:pt x="74" y="41"/>
                </a:cubicBezTo>
                <a:cubicBezTo>
                  <a:pt x="74" y="40"/>
                  <a:pt x="74" y="40"/>
                  <a:pt x="74" y="40"/>
                </a:cubicBezTo>
                <a:cubicBezTo>
                  <a:pt x="73" y="40"/>
                  <a:pt x="73" y="40"/>
                  <a:pt x="73" y="40"/>
                </a:cubicBezTo>
                <a:cubicBezTo>
                  <a:pt x="74" y="39"/>
                  <a:pt x="74" y="39"/>
                  <a:pt x="74" y="39"/>
                </a:cubicBezTo>
                <a:cubicBezTo>
                  <a:pt x="74" y="38"/>
                  <a:pt x="74" y="38"/>
                  <a:pt x="74" y="38"/>
                </a:cubicBezTo>
                <a:cubicBezTo>
                  <a:pt x="75" y="37"/>
                  <a:pt x="75" y="37"/>
                  <a:pt x="75" y="37"/>
                </a:cubicBezTo>
                <a:cubicBezTo>
                  <a:pt x="75" y="37"/>
                  <a:pt x="75" y="37"/>
                  <a:pt x="75" y="37"/>
                </a:cubicBezTo>
                <a:cubicBezTo>
                  <a:pt x="76" y="37"/>
                  <a:pt x="76" y="37"/>
                  <a:pt x="76" y="37"/>
                </a:cubicBezTo>
                <a:cubicBezTo>
                  <a:pt x="78" y="36"/>
                  <a:pt x="78" y="36"/>
                  <a:pt x="78" y="36"/>
                </a:cubicBezTo>
                <a:cubicBezTo>
                  <a:pt x="78" y="35"/>
                  <a:pt x="78" y="35"/>
                  <a:pt x="78" y="35"/>
                </a:cubicBezTo>
                <a:cubicBezTo>
                  <a:pt x="78" y="33"/>
                  <a:pt x="78" y="33"/>
                  <a:pt x="78" y="33"/>
                </a:cubicBezTo>
                <a:cubicBezTo>
                  <a:pt x="78" y="33"/>
                  <a:pt x="78" y="33"/>
                  <a:pt x="78" y="33"/>
                </a:cubicBezTo>
                <a:cubicBezTo>
                  <a:pt x="77" y="33"/>
                  <a:pt x="77" y="33"/>
                  <a:pt x="77" y="33"/>
                </a:cubicBezTo>
                <a:cubicBezTo>
                  <a:pt x="77" y="33"/>
                  <a:pt x="77" y="33"/>
                  <a:pt x="77" y="33"/>
                </a:cubicBezTo>
                <a:cubicBezTo>
                  <a:pt x="77" y="32"/>
                  <a:pt x="77" y="32"/>
                  <a:pt x="77" y="32"/>
                </a:cubicBezTo>
                <a:cubicBezTo>
                  <a:pt x="78" y="31"/>
                  <a:pt x="78" y="31"/>
                  <a:pt x="78" y="31"/>
                </a:cubicBezTo>
                <a:cubicBezTo>
                  <a:pt x="78" y="29"/>
                  <a:pt x="78" y="29"/>
                  <a:pt x="78" y="29"/>
                </a:cubicBezTo>
                <a:cubicBezTo>
                  <a:pt x="78" y="28"/>
                  <a:pt x="78" y="28"/>
                  <a:pt x="78" y="28"/>
                </a:cubicBezTo>
                <a:cubicBezTo>
                  <a:pt x="78" y="27"/>
                  <a:pt x="78" y="27"/>
                  <a:pt x="78" y="27"/>
                </a:cubicBezTo>
                <a:cubicBezTo>
                  <a:pt x="79" y="26"/>
                  <a:pt x="79" y="26"/>
                  <a:pt x="79" y="26"/>
                </a:cubicBezTo>
                <a:cubicBezTo>
                  <a:pt x="81" y="26"/>
                  <a:pt x="81" y="26"/>
                  <a:pt x="81" y="26"/>
                </a:cubicBezTo>
                <a:cubicBezTo>
                  <a:pt x="82" y="25"/>
                  <a:pt x="82" y="25"/>
                  <a:pt x="82" y="25"/>
                </a:cubicBezTo>
                <a:cubicBezTo>
                  <a:pt x="84" y="25"/>
                  <a:pt x="84" y="25"/>
                  <a:pt x="84" y="25"/>
                </a:cubicBezTo>
                <a:cubicBezTo>
                  <a:pt x="84" y="25"/>
                  <a:pt x="84" y="25"/>
                  <a:pt x="84" y="25"/>
                </a:cubicBezTo>
                <a:cubicBezTo>
                  <a:pt x="84" y="26"/>
                  <a:pt x="84" y="26"/>
                  <a:pt x="84" y="26"/>
                </a:cubicBezTo>
                <a:cubicBezTo>
                  <a:pt x="84" y="27"/>
                  <a:pt x="84" y="27"/>
                  <a:pt x="84" y="27"/>
                </a:cubicBezTo>
                <a:cubicBezTo>
                  <a:pt x="86" y="28"/>
                  <a:pt x="86" y="28"/>
                  <a:pt x="86" y="28"/>
                </a:cubicBezTo>
                <a:cubicBezTo>
                  <a:pt x="86" y="29"/>
                  <a:pt x="86" y="29"/>
                  <a:pt x="86" y="29"/>
                </a:cubicBezTo>
                <a:cubicBezTo>
                  <a:pt x="86" y="32"/>
                  <a:pt x="86" y="32"/>
                  <a:pt x="86" y="32"/>
                </a:cubicBezTo>
                <a:cubicBezTo>
                  <a:pt x="85" y="34"/>
                  <a:pt x="85" y="34"/>
                  <a:pt x="85" y="34"/>
                </a:cubicBezTo>
                <a:cubicBezTo>
                  <a:pt x="86" y="34"/>
                  <a:pt x="86" y="34"/>
                  <a:pt x="86" y="34"/>
                </a:cubicBezTo>
                <a:cubicBezTo>
                  <a:pt x="88" y="36"/>
                  <a:pt x="88" y="36"/>
                  <a:pt x="88" y="36"/>
                </a:cubicBezTo>
                <a:cubicBezTo>
                  <a:pt x="88" y="37"/>
                  <a:pt x="88" y="37"/>
                  <a:pt x="88" y="37"/>
                </a:cubicBezTo>
                <a:cubicBezTo>
                  <a:pt x="89" y="38"/>
                  <a:pt x="89" y="38"/>
                  <a:pt x="89" y="38"/>
                </a:cubicBezTo>
                <a:cubicBezTo>
                  <a:pt x="89" y="37"/>
                  <a:pt x="89" y="37"/>
                  <a:pt x="89" y="37"/>
                </a:cubicBezTo>
                <a:cubicBezTo>
                  <a:pt x="89" y="35"/>
                  <a:pt x="89" y="35"/>
                  <a:pt x="89" y="35"/>
                </a:cubicBezTo>
                <a:cubicBezTo>
                  <a:pt x="89" y="34"/>
                  <a:pt x="89" y="34"/>
                  <a:pt x="89" y="34"/>
                </a:cubicBezTo>
                <a:cubicBezTo>
                  <a:pt x="87" y="32"/>
                  <a:pt x="87" y="32"/>
                  <a:pt x="87" y="32"/>
                </a:cubicBezTo>
                <a:cubicBezTo>
                  <a:pt x="87" y="30"/>
                  <a:pt x="87" y="30"/>
                  <a:pt x="87" y="30"/>
                </a:cubicBezTo>
                <a:cubicBezTo>
                  <a:pt x="88" y="28"/>
                  <a:pt x="88" y="28"/>
                  <a:pt x="88" y="28"/>
                </a:cubicBezTo>
                <a:cubicBezTo>
                  <a:pt x="88" y="27"/>
                  <a:pt x="88" y="27"/>
                  <a:pt x="88" y="27"/>
                </a:cubicBezTo>
                <a:cubicBezTo>
                  <a:pt x="88" y="27"/>
                  <a:pt x="88" y="27"/>
                  <a:pt x="88" y="27"/>
                </a:cubicBezTo>
                <a:cubicBezTo>
                  <a:pt x="87" y="26"/>
                  <a:pt x="87" y="26"/>
                  <a:pt x="87" y="26"/>
                </a:cubicBezTo>
                <a:cubicBezTo>
                  <a:pt x="87" y="25"/>
                  <a:pt x="87" y="25"/>
                  <a:pt x="87" y="25"/>
                </a:cubicBezTo>
                <a:cubicBezTo>
                  <a:pt x="87" y="24"/>
                  <a:pt x="87" y="24"/>
                  <a:pt x="87" y="24"/>
                </a:cubicBezTo>
                <a:cubicBezTo>
                  <a:pt x="87" y="23"/>
                  <a:pt x="87" y="23"/>
                  <a:pt x="87" y="23"/>
                </a:cubicBezTo>
                <a:cubicBezTo>
                  <a:pt x="88" y="22"/>
                  <a:pt x="88" y="22"/>
                  <a:pt x="88" y="22"/>
                </a:cubicBezTo>
                <a:cubicBezTo>
                  <a:pt x="89" y="22"/>
                  <a:pt x="89" y="22"/>
                  <a:pt x="89" y="22"/>
                </a:cubicBezTo>
                <a:cubicBezTo>
                  <a:pt x="90" y="23"/>
                  <a:pt x="90" y="23"/>
                  <a:pt x="90" y="23"/>
                </a:cubicBezTo>
                <a:cubicBezTo>
                  <a:pt x="91" y="22"/>
                  <a:pt x="91" y="22"/>
                  <a:pt x="91" y="22"/>
                </a:cubicBezTo>
                <a:cubicBezTo>
                  <a:pt x="92" y="22"/>
                  <a:pt x="92" y="22"/>
                  <a:pt x="92" y="22"/>
                </a:cubicBezTo>
                <a:cubicBezTo>
                  <a:pt x="93" y="23"/>
                  <a:pt x="93" y="23"/>
                  <a:pt x="93" y="23"/>
                </a:cubicBezTo>
                <a:cubicBezTo>
                  <a:pt x="96" y="22"/>
                  <a:pt x="96" y="22"/>
                  <a:pt x="96" y="22"/>
                </a:cubicBezTo>
                <a:cubicBezTo>
                  <a:pt x="98" y="22"/>
                  <a:pt x="98" y="22"/>
                  <a:pt x="98" y="22"/>
                </a:cubicBezTo>
                <a:cubicBezTo>
                  <a:pt x="101" y="21"/>
                  <a:pt x="101" y="21"/>
                  <a:pt x="101" y="21"/>
                </a:cubicBezTo>
                <a:cubicBezTo>
                  <a:pt x="101" y="22"/>
                  <a:pt x="101" y="22"/>
                  <a:pt x="101" y="22"/>
                </a:cubicBezTo>
                <a:cubicBezTo>
                  <a:pt x="102" y="23"/>
                  <a:pt x="102" y="23"/>
                  <a:pt x="102" y="23"/>
                </a:cubicBezTo>
                <a:cubicBezTo>
                  <a:pt x="102" y="24"/>
                  <a:pt x="102" y="24"/>
                  <a:pt x="102" y="24"/>
                </a:cubicBezTo>
                <a:cubicBezTo>
                  <a:pt x="102" y="25"/>
                  <a:pt x="102" y="25"/>
                  <a:pt x="102" y="25"/>
                </a:cubicBezTo>
                <a:cubicBezTo>
                  <a:pt x="103" y="25"/>
                  <a:pt x="103" y="25"/>
                  <a:pt x="103" y="25"/>
                </a:cubicBezTo>
                <a:cubicBezTo>
                  <a:pt x="103" y="24"/>
                  <a:pt x="103" y="24"/>
                  <a:pt x="103" y="24"/>
                </a:cubicBezTo>
                <a:cubicBezTo>
                  <a:pt x="103" y="23"/>
                  <a:pt x="103" y="23"/>
                  <a:pt x="103" y="23"/>
                </a:cubicBezTo>
                <a:cubicBezTo>
                  <a:pt x="103" y="22"/>
                  <a:pt x="103" y="22"/>
                  <a:pt x="103" y="22"/>
                </a:cubicBezTo>
                <a:cubicBezTo>
                  <a:pt x="104" y="20"/>
                  <a:pt x="104" y="20"/>
                  <a:pt x="104" y="20"/>
                </a:cubicBezTo>
                <a:cubicBezTo>
                  <a:pt x="105" y="21"/>
                  <a:pt x="105" y="21"/>
                  <a:pt x="105" y="21"/>
                </a:cubicBezTo>
                <a:cubicBezTo>
                  <a:pt x="106" y="22"/>
                  <a:pt x="106" y="22"/>
                  <a:pt x="106" y="22"/>
                </a:cubicBezTo>
                <a:cubicBezTo>
                  <a:pt x="106" y="23"/>
                  <a:pt x="106" y="23"/>
                  <a:pt x="106" y="23"/>
                </a:cubicBezTo>
                <a:cubicBezTo>
                  <a:pt x="107" y="24"/>
                  <a:pt x="107" y="24"/>
                  <a:pt x="107" y="24"/>
                </a:cubicBezTo>
                <a:cubicBezTo>
                  <a:pt x="107" y="23"/>
                  <a:pt x="107" y="23"/>
                  <a:pt x="107" y="23"/>
                </a:cubicBezTo>
                <a:cubicBezTo>
                  <a:pt x="107" y="21"/>
                  <a:pt x="107" y="21"/>
                  <a:pt x="107" y="21"/>
                </a:cubicBezTo>
                <a:cubicBezTo>
                  <a:pt x="106" y="20"/>
                  <a:pt x="106" y="20"/>
                  <a:pt x="106" y="20"/>
                </a:cubicBezTo>
                <a:cubicBezTo>
                  <a:pt x="106" y="19"/>
                  <a:pt x="106" y="19"/>
                  <a:pt x="106" y="19"/>
                </a:cubicBezTo>
                <a:cubicBezTo>
                  <a:pt x="107" y="19"/>
                  <a:pt x="107" y="19"/>
                  <a:pt x="107" y="19"/>
                </a:cubicBezTo>
                <a:cubicBezTo>
                  <a:pt x="108" y="19"/>
                  <a:pt x="108" y="19"/>
                  <a:pt x="108" y="19"/>
                </a:cubicBezTo>
                <a:cubicBezTo>
                  <a:pt x="109" y="20"/>
                  <a:pt x="109" y="20"/>
                  <a:pt x="109" y="20"/>
                </a:cubicBezTo>
                <a:cubicBezTo>
                  <a:pt x="110" y="19"/>
                  <a:pt x="110" y="19"/>
                  <a:pt x="110" y="19"/>
                </a:cubicBezTo>
                <a:cubicBezTo>
                  <a:pt x="111" y="19"/>
                  <a:pt x="111" y="19"/>
                  <a:pt x="111" y="19"/>
                </a:cubicBezTo>
                <a:cubicBezTo>
                  <a:pt x="113" y="19"/>
                  <a:pt x="113" y="19"/>
                  <a:pt x="113" y="19"/>
                </a:cubicBezTo>
                <a:cubicBezTo>
                  <a:pt x="113" y="20"/>
                  <a:pt x="113" y="20"/>
                  <a:pt x="113" y="20"/>
                </a:cubicBezTo>
                <a:cubicBezTo>
                  <a:pt x="113" y="23"/>
                  <a:pt x="113" y="23"/>
                  <a:pt x="113" y="23"/>
                </a:cubicBezTo>
                <a:cubicBezTo>
                  <a:pt x="112" y="24"/>
                  <a:pt x="112" y="24"/>
                  <a:pt x="112" y="24"/>
                </a:cubicBezTo>
                <a:cubicBezTo>
                  <a:pt x="112" y="25"/>
                  <a:pt x="112" y="25"/>
                  <a:pt x="112" y="25"/>
                </a:cubicBezTo>
                <a:cubicBezTo>
                  <a:pt x="111" y="27"/>
                  <a:pt x="111" y="27"/>
                  <a:pt x="111" y="27"/>
                </a:cubicBezTo>
                <a:cubicBezTo>
                  <a:pt x="111" y="29"/>
                  <a:pt x="111" y="29"/>
                  <a:pt x="111" y="29"/>
                </a:cubicBezTo>
                <a:cubicBezTo>
                  <a:pt x="111" y="29"/>
                  <a:pt x="111" y="29"/>
                  <a:pt x="111" y="29"/>
                </a:cubicBezTo>
                <a:cubicBezTo>
                  <a:pt x="110" y="30"/>
                  <a:pt x="110" y="30"/>
                  <a:pt x="110" y="30"/>
                </a:cubicBezTo>
                <a:cubicBezTo>
                  <a:pt x="110" y="31"/>
                  <a:pt x="110" y="31"/>
                  <a:pt x="110" y="31"/>
                </a:cubicBezTo>
                <a:cubicBezTo>
                  <a:pt x="109" y="31"/>
                  <a:pt x="109" y="31"/>
                  <a:pt x="109" y="31"/>
                </a:cubicBezTo>
                <a:cubicBezTo>
                  <a:pt x="110" y="32"/>
                  <a:pt x="110" y="32"/>
                  <a:pt x="110" y="32"/>
                </a:cubicBezTo>
                <a:cubicBezTo>
                  <a:pt x="110" y="32"/>
                  <a:pt x="110" y="32"/>
                  <a:pt x="110" y="32"/>
                </a:cubicBezTo>
                <a:cubicBezTo>
                  <a:pt x="110" y="33"/>
                  <a:pt x="110" y="33"/>
                  <a:pt x="110" y="33"/>
                </a:cubicBezTo>
                <a:cubicBezTo>
                  <a:pt x="109" y="34"/>
                  <a:pt x="109" y="34"/>
                  <a:pt x="109" y="34"/>
                </a:cubicBezTo>
                <a:cubicBezTo>
                  <a:pt x="108" y="36"/>
                  <a:pt x="108" y="36"/>
                  <a:pt x="108" y="36"/>
                </a:cubicBezTo>
                <a:cubicBezTo>
                  <a:pt x="107" y="36"/>
                  <a:pt x="107" y="36"/>
                  <a:pt x="107" y="36"/>
                </a:cubicBezTo>
                <a:cubicBezTo>
                  <a:pt x="107" y="37"/>
                  <a:pt x="107" y="37"/>
                  <a:pt x="107" y="37"/>
                </a:cubicBezTo>
                <a:cubicBezTo>
                  <a:pt x="106" y="38"/>
                  <a:pt x="106" y="38"/>
                  <a:pt x="106" y="38"/>
                </a:cubicBezTo>
                <a:cubicBezTo>
                  <a:pt x="106" y="39"/>
                  <a:pt x="106" y="39"/>
                  <a:pt x="106" y="39"/>
                </a:cubicBezTo>
                <a:cubicBezTo>
                  <a:pt x="105" y="41"/>
                  <a:pt x="105" y="41"/>
                  <a:pt x="105" y="41"/>
                </a:cubicBezTo>
                <a:cubicBezTo>
                  <a:pt x="106" y="41"/>
                  <a:pt x="106" y="41"/>
                  <a:pt x="106" y="41"/>
                </a:cubicBezTo>
                <a:cubicBezTo>
                  <a:pt x="106" y="41"/>
                  <a:pt x="106" y="41"/>
                  <a:pt x="106" y="41"/>
                </a:cubicBezTo>
                <a:cubicBezTo>
                  <a:pt x="107" y="40"/>
                  <a:pt x="107" y="40"/>
                  <a:pt x="107" y="40"/>
                </a:cubicBezTo>
                <a:cubicBezTo>
                  <a:pt x="108" y="39"/>
                  <a:pt x="108" y="39"/>
                  <a:pt x="108" y="39"/>
                </a:cubicBezTo>
                <a:cubicBezTo>
                  <a:pt x="108" y="38"/>
                  <a:pt x="108" y="38"/>
                  <a:pt x="108" y="38"/>
                </a:cubicBezTo>
                <a:cubicBezTo>
                  <a:pt x="109" y="37"/>
                  <a:pt x="109" y="37"/>
                  <a:pt x="109" y="37"/>
                </a:cubicBezTo>
                <a:cubicBezTo>
                  <a:pt x="110" y="36"/>
                  <a:pt x="110" y="36"/>
                  <a:pt x="110" y="36"/>
                </a:cubicBezTo>
                <a:cubicBezTo>
                  <a:pt x="110" y="35"/>
                  <a:pt x="110" y="35"/>
                  <a:pt x="110" y="35"/>
                </a:cubicBezTo>
                <a:cubicBezTo>
                  <a:pt x="111" y="34"/>
                  <a:pt x="111" y="34"/>
                  <a:pt x="111" y="34"/>
                </a:cubicBezTo>
                <a:cubicBezTo>
                  <a:pt x="112" y="34"/>
                  <a:pt x="112" y="34"/>
                  <a:pt x="112" y="34"/>
                </a:cubicBezTo>
                <a:cubicBezTo>
                  <a:pt x="112" y="33"/>
                  <a:pt x="112" y="33"/>
                  <a:pt x="112" y="33"/>
                </a:cubicBezTo>
                <a:cubicBezTo>
                  <a:pt x="112" y="32"/>
                  <a:pt x="112" y="32"/>
                  <a:pt x="112" y="32"/>
                </a:cubicBezTo>
                <a:cubicBezTo>
                  <a:pt x="113" y="32"/>
                  <a:pt x="113" y="32"/>
                  <a:pt x="113" y="32"/>
                </a:cubicBezTo>
                <a:cubicBezTo>
                  <a:pt x="113" y="30"/>
                  <a:pt x="113" y="30"/>
                  <a:pt x="113" y="30"/>
                </a:cubicBezTo>
                <a:cubicBezTo>
                  <a:pt x="114" y="30"/>
                  <a:pt x="114" y="30"/>
                  <a:pt x="114" y="30"/>
                </a:cubicBezTo>
                <a:cubicBezTo>
                  <a:pt x="114" y="31"/>
                  <a:pt x="114" y="31"/>
                  <a:pt x="114" y="31"/>
                </a:cubicBezTo>
                <a:cubicBezTo>
                  <a:pt x="114" y="32"/>
                  <a:pt x="114" y="32"/>
                  <a:pt x="114" y="32"/>
                </a:cubicBezTo>
                <a:cubicBezTo>
                  <a:pt x="115" y="32"/>
                  <a:pt x="115" y="32"/>
                  <a:pt x="115" y="32"/>
                </a:cubicBezTo>
                <a:cubicBezTo>
                  <a:pt x="115" y="33"/>
                  <a:pt x="115" y="33"/>
                  <a:pt x="115" y="33"/>
                </a:cubicBezTo>
                <a:cubicBezTo>
                  <a:pt x="116" y="35"/>
                  <a:pt x="116" y="35"/>
                  <a:pt x="116" y="35"/>
                </a:cubicBezTo>
                <a:cubicBezTo>
                  <a:pt x="117" y="36"/>
                  <a:pt x="117" y="36"/>
                  <a:pt x="117" y="36"/>
                </a:cubicBezTo>
                <a:cubicBezTo>
                  <a:pt x="117" y="38"/>
                  <a:pt x="117" y="38"/>
                  <a:pt x="117" y="38"/>
                </a:cubicBezTo>
                <a:cubicBezTo>
                  <a:pt x="117" y="38"/>
                  <a:pt x="117" y="38"/>
                  <a:pt x="117" y="38"/>
                </a:cubicBezTo>
                <a:cubicBezTo>
                  <a:pt x="118" y="38"/>
                  <a:pt x="118" y="38"/>
                  <a:pt x="118" y="38"/>
                </a:cubicBezTo>
                <a:cubicBezTo>
                  <a:pt x="119" y="39"/>
                  <a:pt x="119" y="39"/>
                  <a:pt x="119" y="39"/>
                </a:cubicBezTo>
                <a:cubicBezTo>
                  <a:pt x="119" y="39"/>
                  <a:pt x="119" y="39"/>
                  <a:pt x="119" y="39"/>
                </a:cubicBezTo>
                <a:cubicBezTo>
                  <a:pt x="119" y="38"/>
                  <a:pt x="119" y="38"/>
                  <a:pt x="119" y="38"/>
                </a:cubicBezTo>
                <a:cubicBezTo>
                  <a:pt x="120" y="38"/>
                  <a:pt x="120" y="38"/>
                  <a:pt x="120" y="38"/>
                </a:cubicBezTo>
                <a:cubicBezTo>
                  <a:pt x="120" y="37"/>
                  <a:pt x="120" y="37"/>
                  <a:pt x="120" y="37"/>
                </a:cubicBezTo>
                <a:cubicBezTo>
                  <a:pt x="119" y="36"/>
                  <a:pt x="119" y="36"/>
                  <a:pt x="119" y="36"/>
                </a:cubicBezTo>
                <a:cubicBezTo>
                  <a:pt x="119" y="35"/>
                  <a:pt x="119" y="35"/>
                  <a:pt x="119" y="35"/>
                </a:cubicBezTo>
                <a:cubicBezTo>
                  <a:pt x="119" y="35"/>
                  <a:pt x="119" y="35"/>
                  <a:pt x="119" y="35"/>
                </a:cubicBezTo>
                <a:cubicBezTo>
                  <a:pt x="119" y="35"/>
                  <a:pt x="119" y="35"/>
                  <a:pt x="119" y="35"/>
                </a:cubicBezTo>
                <a:cubicBezTo>
                  <a:pt x="120" y="36"/>
                  <a:pt x="120" y="36"/>
                  <a:pt x="120" y="36"/>
                </a:cubicBezTo>
                <a:cubicBezTo>
                  <a:pt x="121" y="36"/>
                  <a:pt x="121" y="36"/>
                  <a:pt x="121" y="36"/>
                </a:cubicBezTo>
                <a:cubicBezTo>
                  <a:pt x="122" y="36"/>
                  <a:pt x="122" y="36"/>
                  <a:pt x="122" y="36"/>
                </a:cubicBezTo>
                <a:cubicBezTo>
                  <a:pt x="122" y="37"/>
                  <a:pt x="122" y="37"/>
                  <a:pt x="122" y="37"/>
                </a:cubicBezTo>
                <a:cubicBezTo>
                  <a:pt x="123" y="37"/>
                  <a:pt x="123" y="37"/>
                  <a:pt x="123" y="37"/>
                </a:cubicBezTo>
                <a:cubicBezTo>
                  <a:pt x="124" y="37"/>
                  <a:pt x="124" y="37"/>
                  <a:pt x="124" y="37"/>
                </a:cubicBezTo>
                <a:cubicBezTo>
                  <a:pt x="124" y="37"/>
                  <a:pt x="124" y="37"/>
                  <a:pt x="124" y="37"/>
                </a:cubicBezTo>
                <a:cubicBezTo>
                  <a:pt x="125" y="37"/>
                  <a:pt x="125" y="37"/>
                  <a:pt x="125" y="37"/>
                </a:cubicBezTo>
                <a:cubicBezTo>
                  <a:pt x="125" y="37"/>
                  <a:pt x="125" y="37"/>
                  <a:pt x="125" y="37"/>
                </a:cubicBezTo>
                <a:cubicBezTo>
                  <a:pt x="125" y="35"/>
                  <a:pt x="125" y="35"/>
                  <a:pt x="125" y="35"/>
                </a:cubicBezTo>
                <a:cubicBezTo>
                  <a:pt x="125" y="34"/>
                  <a:pt x="125" y="34"/>
                  <a:pt x="125" y="34"/>
                </a:cubicBezTo>
                <a:cubicBezTo>
                  <a:pt x="125" y="32"/>
                  <a:pt x="125" y="32"/>
                  <a:pt x="125" y="32"/>
                </a:cubicBezTo>
                <a:cubicBezTo>
                  <a:pt x="126" y="30"/>
                  <a:pt x="126" y="30"/>
                  <a:pt x="126" y="30"/>
                </a:cubicBezTo>
                <a:cubicBezTo>
                  <a:pt x="125" y="30"/>
                  <a:pt x="125" y="30"/>
                  <a:pt x="125" y="30"/>
                </a:cubicBezTo>
                <a:cubicBezTo>
                  <a:pt x="125" y="28"/>
                  <a:pt x="125" y="28"/>
                  <a:pt x="125" y="28"/>
                </a:cubicBezTo>
                <a:cubicBezTo>
                  <a:pt x="125" y="26"/>
                  <a:pt x="125" y="26"/>
                  <a:pt x="125" y="26"/>
                </a:cubicBezTo>
                <a:cubicBezTo>
                  <a:pt x="126" y="24"/>
                  <a:pt x="126" y="24"/>
                  <a:pt x="126" y="24"/>
                </a:cubicBezTo>
                <a:cubicBezTo>
                  <a:pt x="126" y="23"/>
                  <a:pt x="126" y="23"/>
                  <a:pt x="126" y="23"/>
                </a:cubicBezTo>
                <a:cubicBezTo>
                  <a:pt x="126" y="23"/>
                  <a:pt x="126" y="23"/>
                  <a:pt x="126" y="23"/>
                </a:cubicBezTo>
                <a:cubicBezTo>
                  <a:pt x="126" y="22"/>
                  <a:pt x="126" y="22"/>
                  <a:pt x="126" y="22"/>
                </a:cubicBezTo>
                <a:cubicBezTo>
                  <a:pt x="126" y="21"/>
                  <a:pt x="126" y="21"/>
                  <a:pt x="126" y="21"/>
                </a:cubicBezTo>
                <a:cubicBezTo>
                  <a:pt x="126" y="20"/>
                  <a:pt x="126" y="20"/>
                  <a:pt x="126" y="20"/>
                </a:cubicBezTo>
                <a:cubicBezTo>
                  <a:pt x="128" y="20"/>
                  <a:pt x="128" y="20"/>
                  <a:pt x="128" y="20"/>
                </a:cubicBezTo>
                <a:cubicBezTo>
                  <a:pt x="128" y="20"/>
                  <a:pt x="128" y="20"/>
                  <a:pt x="128" y="20"/>
                </a:cubicBezTo>
                <a:cubicBezTo>
                  <a:pt x="129" y="20"/>
                  <a:pt x="129" y="20"/>
                  <a:pt x="129" y="20"/>
                </a:cubicBezTo>
                <a:cubicBezTo>
                  <a:pt x="130" y="21"/>
                  <a:pt x="130" y="21"/>
                  <a:pt x="130" y="21"/>
                </a:cubicBezTo>
                <a:cubicBezTo>
                  <a:pt x="130" y="22"/>
                  <a:pt x="130" y="22"/>
                  <a:pt x="130" y="22"/>
                </a:cubicBezTo>
                <a:cubicBezTo>
                  <a:pt x="131" y="22"/>
                  <a:pt x="131" y="22"/>
                  <a:pt x="131" y="22"/>
                </a:cubicBezTo>
                <a:cubicBezTo>
                  <a:pt x="132" y="23"/>
                  <a:pt x="132" y="23"/>
                  <a:pt x="132" y="23"/>
                </a:cubicBezTo>
                <a:cubicBezTo>
                  <a:pt x="133" y="26"/>
                  <a:pt x="133" y="26"/>
                  <a:pt x="133" y="26"/>
                </a:cubicBezTo>
                <a:cubicBezTo>
                  <a:pt x="133" y="27"/>
                  <a:pt x="133" y="27"/>
                  <a:pt x="133" y="27"/>
                </a:cubicBezTo>
                <a:cubicBezTo>
                  <a:pt x="134" y="29"/>
                  <a:pt x="134" y="29"/>
                  <a:pt x="134" y="29"/>
                </a:cubicBezTo>
                <a:cubicBezTo>
                  <a:pt x="135" y="30"/>
                  <a:pt x="135" y="30"/>
                  <a:pt x="135" y="30"/>
                </a:cubicBezTo>
                <a:cubicBezTo>
                  <a:pt x="135" y="33"/>
                  <a:pt x="135" y="33"/>
                  <a:pt x="135" y="33"/>
                </a:cubicBezTo>
                <a:cubicBezTo>
                  <a:pt x="135" y="34"/>
                  <a:pt x="135" y="34"/>
                  <a:pt x="135" y="34"/>
                </a:cubicBezTo>
                <a:cubicBezTo>
                  <a:pt x="134" y="34"/>
                  <a:pt x="134" y="34"/>
                  <a:pt x="134" y="34"/>
                </a:cubicBezTo>
                <a:cubicBezTo>
                  <a:pt x="134" y="35"/>
                  <a:pt x="134" y="35"/>
                  <a:pt x="134" y="35"/>
                </a:cubicBezTo>
                <a:cubicBezTo>
                  <a:pt x="134" y="37"/>
                  <a:pt x="134" y="37"/>
                  <a:pt x="134" y="37"/>
                </a:cubicBezTo>
                <a:cubicBezTo>
                  <a:pt x="135" y="37"/>
                  <a:pt x="135" y="37"/>
                  <a:pt x="135" y="37"/>
                </a:cubicBezTo>
                <a:cubicBezTo>
                  <a:pt x="136" y="39"/>
                  <a:pt x="136" y="39"/>
                  <a:pt x="136" y="39"/>
                </a:cubicBezTo>
                <a:cubicBezTo>
                  <a:pt x="136" y="41"/>
                  <a:pt x="136" y="41"/>
                  <a:pt x="136" y="41"/>
                </a:cubicBezTo>
                <a:cubicBezTo>
                  <a:pt x="136" y="42"/>
                  <a:pt x="136" y="42"/>
                  <a:pt x="136" y="42"/>
                </a:cubicBezTo>
                <a:cubicBezTo>
                  <a:pt x="136" y="43"/>
                  <a:pt x="136" y="43"/>
                  <a:pt x="136" y="43"/>
                </a:cubicBezTo>
                <a:cubicBezTo>
                  <a:pt x="137" y="43"/>
                  <a:pt x="137" y="43"/>
                  <a:pt x="137" y="43"/>
                </a:cubicBezTo>
                <a:cubicBezTo>
                  <a:pt x="139" y="44"/>
                  <a:pt x="139" y="44"/>
                  <a:pt x="139" y="44"/>
                </a:cubicBezTo>
                <a:cubicBezTo>
                  <a:pt x="140" y="44"/>
                  <a:pt x="140" y="44"/>
                  <a:pt x="140" y="44"/>
                </a:cubicBezTo>
                <a:cubicBezTo>
                  <a:pt x="141" y="43"/>
                  <a:pt x="141" y="43"/>
                  <a:pt x="141" y="43"/>
                </a:cubicBezTo>
                <a:cubicBezTo>
                  <a:pt x="142" y="42"/>
                  <a:pt x="142" y="42"/>
                  <a:pt x="142" y="42"/>
                </a:cubicBezTo>
                <a:cubicBezTo>
                  <a:pt x="142" y="41"/>
                  <a:pt x="142" y="41"/>
                  <a:pt x="142" y="41"/>
                </a:cubicBezTo>
                <a:cubicBezTo>
                  <a:pt x="143" y="41"/>
                  <a:pt x="143" y="41"/>
                  <a:pt x="143" y="41"/>
                </a:cubicBezTo>
                <a:cubicBezTo>
                  <a:pt x="143" y="42"/>
                  <a:pt x="143" y="42"/>
                  <a:pt x="143" y="42"/>
                </a:cubicBezTo>
                <a:cubicBezTo>
                  <a:pt x="143" y="43"/>
                  <a:pt x="143" y="43"/>
                  <a:pt x="143" y="43"/>
                </a:cubicBezTo>
                <a:cubicBezTo>
                  <a:pt x="143" y="43"/>
                  <a:pt x="143" y="43"/>
                  <a:pt x="143" y="43"/>
                </a:cubicBezTo>
                <a:cubicBezTo>
                  <a:pt x="144" y="42"/>
                  <a:pt x="144" y="42"/>
                  <a:pt x="144" y="42"/>
                </a:cubicBezTo>
                <a:cubicBezTo>
                  <a:pt x="145" y="43"/>
                  <a:pt x="145" y="43"/>
                  <a:pt x="145" y="43"/>
                </a:cubicBezTo>
                <a:cubicBezTo>
                  <a:pt x="145" y="43"/>
                  <a:pt x="145" y="43"/>
                  <a:pt x="145" y="43"/>
                </a:cubicBezTo>
                <a:cubicBezTo>
                  <a:pt x="145" y="44"/>
                  <a:pt x="145" y="44"/>
                  <a:pt x="145" y="44"/>
                </a:cubicBezTo>
                <a:cubicBezTo>
                  <a:pt x="146" y="45"/>
                  <a:pt x="146" y="45"/>
                  <a:pt x="146" y="45"/>
                </a:cubicBezTo>
                <a:cubicBezTo>
                  <a:pt x="147" y="45"/>
                  <a:pt x="147" y="45"/>
                  <a:pt x="147" y="45"/>
                </a:cubicBezTo>
                <a:cubicBezTo>
                  <a:pt x="147" y="45"/>
                  <a:pt x="147" y="45"/>
                  <a:pt x="147" y="45"/>
                </a:cubicBezTo>
                <a:cubicBezTo>
                  <a:pt x="148" y="45"/>
                  <a:pt x="148" y="45"/>
                  <a:pt x="148" y="45"/>
                </a:cubicBezTo>
                <a:cubicBezTo>
                  <a:pt x="149" y="45"/>
                  <a:pt x="149" y="45"/>
                  <a:pt x="149" y="45"/>
                </a:cubicBezTo>
                <a:cubicBezTo>
                  <a:pt x="148" y="45"/>
                  <a:pt x="148" y="45"/>
                  <a:pt x="148" y="45"/>
                </a:cubicBezTo>
                <a:cubicBezTo>
                  <a:pt x="147" y="44"/>
                  <a:pt x="147" y="44"/>
                  <a:pt x="147" y="44"/>
                </a:cubicBezTo>
                <a:cubicBezTo>
                  <a:pt x="147" y="43"/>
                  <a:pt x="147" y="43"/>
                  <a:pt x="147" y="43"/>
                </a:cubicBezTo>
                <a:cubicBezTo>
                  <a:pt x="147" y="42"/>
                  <a:pt x="147" y="42"/>
                  <a:pt x="147" y="42"/>
                </a:cubicBezTo>
                <a:cubicBezTo>
                  <a:pt x="146" y="42"/>
                  <a:pt x="146" y="42"/>
                  <a:pt x="146" y="42"/>
                </a:cubicBezTo>
                <a:cubicBezTo>
                  <a:pt x="146" y="42"/>
                  <a:pt x="146" y="42"/>
                  <a:pt x="146" y="42"/>
                </a:cubicBezTo>
                <a:cubicBezTo>
                  <a:pt x="146" y="41"/>
                  <a:pt x="146" y="41"/>
                  <a:pt x="146" y="41"/>
                </a:cubicBezTo>
                <a:cubicBezTo>
                  <a:pt x="145" y="40"/>
                  <a:pt x="145" y="40"/>
                  <a:pt x="145" y="40"/>
                </a:cubicBezTo>
                <a:cubicBezTo>
                  <a:pt x="144" y="39"/>
                  <a:pt x="144" y="39"/>
                  <a:pt x="144" y="39"/>
                </a:cubicBezTo>
                <a:cubicBezTo>
                  <a:pt x="144" y="38"/>
                  <a:pt x="144" y="38"/>
                  <a:pt x="144" y="38"/>
                </a:cubicBezTo>
                <a:cubicBezTo>
                  <a:pt x="143" y="36"/>
                  <a:pt x="143" y="36"/>
                  <a:pt x="143" y="36"/>
                </a:cubicBezTo>
                <a:cubicBezTo>
                  <a:pt x="143" y="35"/>
                  <a:pt x="143" y="35"/>
                  <a:pt x="143" y="35"/>
                </a:cubicBezTo>
                <a:cubicBezTo>
                  <a:pt x="143" y="35"/>
                  <a:pt x="143" y="35"/>
                  <a:pt x="143" y="35"/>
                </a:cubicBezTo>
                <a:cubicBezTo>
                  <a:pt x="143" y="33"/>
                  <a:pt x="143" y="33"/>
                  <a:pt x="143" y="33"/>
                </a:cubicBezTo>
                <a:cubicBezTo>
                  <a:pt x="143" y="32"/>
                  <a:pt x="143" y="32"/>
                  <a:pt x="143" y="32"/>
                </a:cubicBezTo>
                <a:cubicBezTo>
                  <a:pt x="142" y="30"/>
                  <a:pt x="142" y="30"/>
                  <a:pt x="142" y="30"/>
                </a:cubicBezTo>
                <a:cubicBezTo>
                  <a:pt x="142" y="29"/>
                  <a:pt x="142" y="29"/>
                  <a:pt x="142" y="29"/>
                </a:cubicBezTo>
                <a:cubicBezTo>
                  <a:pt x="142" y="29"/>
                  <a:pt x="142" y="29"/>
                  <a:pt x="142" y="29"/>
                </a:cubicBezTo>
                <a:cubicBezTo>
                  <a:pt x="142" y="27"/>
                  <a:pt x="142" y="27"/>
                  <a:pt x="142" y="27"/>
                </a:cubicBezTo>
                <a:cubicBezTo>
                  <a:pt x="141" y="26"/>
                  <a:pt x="141" y="26"/>
                  <a:pt x="141" y="26"/>
                </a:cubicBezTo>
                <a:cubicBezTo>
                  <a:pt x="141" y="25"/>
                  <a:pt x="141" y="25"/>
                  <a:pt x="141" y="25"/>
                </a:cubicBezTo>
                <a:cubicBezTo>
                  <a:pt x="141" y="23"/>
                  <a:pt x="141" y="23"/>
                  <a:pt x="141" y="23"/>
                </a:cubicBezTo>
                <a:cubicBezTo>
                  <a:pt x="140" y="22"/>
                  <a:pt x="140" y="22"/>
                  <a:pt x="140" y="22"/>
                </a:cubicBezTo>
                <a:cubicBezTo>
                  <a:pt x="141" y="21"/>
                  <a:pt x="141" y="21"/>
                  <a:pt x="141" y="21"/>
                </a:cubicBezTo>
                <a:cubicBezTo>
                  <a:pt x="140" y="20"/>
                  <a:pt x="140" y="20"/>
                  <a:pt x="140" y="20"/>
                </a:cubicBezTo>
                <a:cubicBezTo>
                  <a:pt x="140" y="19"/>
                  <a:pt x="140" y="19"/>
                  <a:pt x="140" y="19"/>
                </a:cubicBezTo>
                <a:cubicBezTo>
                  <a:pt x="140" y="18"/>
                  <a:pt x="140" y="18"/>
                  <a:pt x="140" y="18"/>
                </a:cubicBezTo>
                <a:cubicBezTo>
                  <a:pt x="142" y="19"/>
                  <a:pt x="142" y="19"/>
                  <a:pt x="142" y="19"/>
                </a:cubicBezTo>
                <a:cubicBezTo>
                  <a:pt x="143" y="19"/>
                  <a:pt x="143" y="19"/>
                  <a:pt x="143" y="19"/>
                </a:cubicBezTo>
                <a:cubicBezTo>
                  <a:pt x="144" y="19"/>
                  <a:pt x="144" y="19"/>
                  <a:pt x="144" y="19"/>
                </a:cubicBezTo>
                <a:cubicBezTo>
                  <a:pt x="144" y="19"/>
                  <a:pt x="144" y="19"/>
                  <a:pt x="144" y="19"/>
                </a:cubicBezTo>
                <a:cubicBezTo>
                  <a:pt x="145" y="19"/>
                  <a:pt x="145" y="19"/>
                  <a:pt x="145" y="19"/>
                </a:cubicBezTo>
                <a:cubicBezTo>
                  <a:pt x="147" y="21"/>
                  <a:pt x="147" y="21"/>
                  <a:pt x="147" y="21"/>
                </a:cubicBezTo>
                <a:cubicBezTo>
                  <a:pt x="148" y="22"/>
                  <a:pt x="148" y="22"/>
                  <a:pt x="148" y="22"/>
                </a:cubicBezTo>
                <a:cubicBezTo>
                  <a:pt x="149" y="21"/>
                  <a:pt x="149" y="21"/>
                  <a:pt x="149" y="21"/>
                </a:cubicBezTo>
                <a:cubicBezTo>
                  <a:pt x="149" y="20"/>
                  <a:pt x="149" y="20"/>
                  <a:pt x="149" y="20"/>
                </a:cubicBezTo>
                <a:cubicBezTo>
                  <a:pt x="148" y="20"/>
                  <a:pt x="148" y="20"/>
                  <a:pt x="148" y="20"/>
                </a:cubicBezTo>
                <a:cubicBezTo>
                  <a:pt x="149" y="18"/>
                  <a:pt x="149" y="18"/>
                  <a:pt x="149" y="18"/>
                </a:cubicBezTo>
                <a:cubicBezTo>
                  <a:pt x="150" y="18"/>
                  <a:pt x="150" y="18"/>
                  <a:pt x="150" y="18"/>
                </a:cubicBezTo>
                <a:cubicBezTo>
                  <a:pt x="151" y="18"/>
                  <a:pt x="151" y="18"/>
                  <a:pt x="151" y="18"/>
                </a:cubicBezTo>
                <a:cubicBezTo>
                  <a:pt x="152" y="18"/>
                  <a:pt x="152" y="18"/>
                  <a:pt x="152" y="18"/>
                </a:cubicBezTo>
                <a:cubicBezTo>
                  <a:pt x="153" y="17"/>
                  <a:pt x="153" y="17"/>
                  <a:pt x="153" y="17"/>
                </a:cubicBezTo>
                <a:cubicBezTo>
                  <a:pt x="154" y="17"/>
                  <a:pt x="154" y="17"/>
                  <a:pt x="154" y="17"/>
                </a:cubicBezTo>
                <a:cubicBezTo>
                  <a:pt x="155" y="18"/>
                  <a:pt x="155" y="18"/>
                  <a:pt x="155" y="18"/>
                </a:cubicBezTo>
                <a:cubicBezTo>
                  <a:pt x="156" y="18"/>
                  <a:pt x="156" y="18"/>
                  <a:pt x="156" y="18"/>
                </a:cubicBezTo>
                <a:cubicBezTo>
                  <a:pt x="157" y="19"/>
                  <a:pt x="157" y="19"/>
                  <a:pt x="157" y="19"/>
                </a:cubicBezTo>
                <a:cubicBezTo>
                  <a:pt x="157" y="21"/>
                  <a:pt x="157" y="21"/>
                  <a:pt x="157" y="21"/>
                </a:cubicBezTo>
                <a:cubicBezTo>
                  <a:pt x="157" y="21"/>
                  <a:pt x="157" y="21"/>
                  <a:pt x="157" y="21"/>
                </a:cubicBezTo>
                <a:cubicBezTo>
                  <a:pt x="159" y="23"/>
                  <a:pt x="159" y="23"/>
                  <a:pt x="159" y="23"/>
                </a:cubicBezTo>
                <a:cubicBezTo>
                  <a:pt x="159" y="24"/>
                  <a:pt x="159" y="24"/>
                  <a:pt x="159" y="24"/>
                </a:cubicBezTo>
                <a:cubicBezTo>
                  <a:pt x="158" y="25"/>
                  <a:pt x="158" y="25"/>
                  <a:pt x="158" y="25"/>
                </a:cubicBezTo>
                <a:cubicBezTo>
                  <a:pt x="159" y="27"/>
                  <a:pt x="159" y="27"/>
                  <a:pt x="159" y="27"/>
                </a:cubicBezTo>
                <a:cubicBezTo>
                  <a:pt x="159" y="28"/>
                  <a:pt x="159" y="28"/>
                  <a:pt x="159" y="28"/>
                </a:cubicBezTo>
                <a:cubicBezTo>
                  <a:pt x="159" y="29"/>
                  <a:pt x="159" y="29"/>
                  <a:pt x="159" y="29"/>
                </a:cubicBezTo>
                <a:cubicBezTo>
                  <a:pt x="160" y="30"/>
                  <a:pt x="160" y="30"/>
                  <a:pt x="160" y="30"/>
                </a:cubicBezTo>
                <a:cubicBezTo>
                  <a:pt x="162" y="30"/>
                  <a:pt x="162" y="30"/>
                  <a:pt x="162" y="30"/>
                </a:cubicBezTo>
                <a:cubicBezTo>
                  <a:pt x="163" y="31"/>
                  <a:pt x="163" y="31"/>
                  <a:pt x="163" y="31"/>
                </a:cubicBezTo>
                <a:cubicBezTo>
                  <a:pt x="165" y="32"/>
                  <a:pt x="165" y="32"/>
                  <a:pt x="165" y="32"/>
                </a:cubicBezTo>
                <a:cubicBezTo>
                  <a:pt x="164" y="31"/>
                  <a:pt x="164" y="31"/>
                  <a:pt x="164" y="31"/>
                </a:cubicBezTo>
                <a:cubicBezTo>
                  <a:pt x="164" y="31"/>
                  <a:pt x="164" y="31"/>
                  <a:pt x="164" y="31"/>
                </a:cubicBezTo>
                <a:cubicBezTo>
                  <a:pt x="163" y="30"/>
                  <a:pt x="163" y="30"/>
                  <a:pt x="163" y="30"/>
                </a:cubicBezTo>
                <a:cubicBezTo>
                  <a:pt x="162" y="29"/>
                  <a:pt x="162" y="29"/>
                  <a:pt x="162" y="29"/>
                </a:cubicBezTo>
                <a:cubicBezTo>
                  <a:pt x="161" y="29"/>
                  <a:pt x="161" y="29"/>
                  <a:pt x="161" y="29"/>
                </a:cubicBezTo>
                <a:cubicBezTo>
                  <a:pt x="160" y="28"/>
                  <a:pt x="160" y="28"/>
                  <a:pt x="160" y="28"/>
                </a:cubicBezTo>
                <a:cubicBezTo>
                  <a:pt x="160" y="27"/>
                  <a:pt x="160" y="27"/>
                  <a:pt x="160" y="27"/>
                </a:cubicBezTo>
                <a:cubicBezTo>
                  <a:pt x="160" y="26"/>
                  <a:pt x="160" y="26"/>
                  <a:pt x="160" y="26"/>
                </a:cubicBezTo>
                <a:cubicBezTo>
                  <a:pt x="159" y="25"/>
                  <a:pt x="159" y="25"/>
                  <a:pt x="159" y="25"/>
                </a:cubicBezTo>
                <a:cubicBezTo>
                  <a:pt x="159" y="24"/>
                  <a:pt x="159" y="24"/>
                  <a:pt x="159" y="24"/>
                </a:cubicBezTo>
                <a:cubicBezTo>
                  <a:pt x="160" y="22"/>
                  <a:pt x="160" y="22"/>
                  <a:pt x="160" y="22"/>
                </a:cubicBezTo>
                <a:cubicBezTo>
                  <a:pt x="160" y="21"/>
                  <a:pt x="160" y="21"/>
                  <a:pt x="160" y="21"/>
                </a:cubicBezTo>
                <a:cubicBezTo>
                  <a:pt x="160" y="20"/>
                  <a:pt x="160" y="20"/>
                  <a:pt x="160" y="20"/>
                </a:cubicBezTo>
                <a:cubicBezTo>
                  <a:pt x="160" y="19"/>
                  <a:pt x="160" y="19"/>
                  <a:pt x="160" y="19"/>
                </a:cubicBezTo>
                <a:cubicBezTo>
                  <a:pt x="159" y="19"/>
                  <a:pt x="159" y="19"/>
                  <a:pt x="159" y="19"/>
                </a:cubicBezTo>
                <a:cubicBezTo>
                  <a:pt x="158" y="18"/>
                  <a:pt x="158" y="18"/>
                  <a:pt x="158" y="18"/>
                </a:cubicBezTo>
                <a:cubicBezTo>
                  <a:pt x="157" y="16"/>
                  <a:pt x="157" y="16"/>
                  <a:pt x="157" y="16"/>
                </a:cubicBezTo>
                <a:cubicBezTo>
                  <a:pt x="156" y="16"/>
                  <a:pt x="156" y="16"/>
                  <a:pt x="156" y="16"/>
                </a:cubicBezTo>
                <a:cubicBezTo>
                  <a:pt x="155" y="16"/>
                  <a:pt x="155" y="16"/>
                  <a:pt x="155" y="16"/>
                </a:cubicBezTo>
                <a:cubicBezTo>
                  <a:pt x="154" y="17"/>
                  <a:pt x="154" y="17"/>
                  <a:pt x="154" y="17"/>
                </a:cubicBezTo>
                <a:cubicBezTo>
                  <a:pt x="153" y="17"/>
                  <a:pt x="153" y="17"/>
                  <a:pt x="153" y="17"/>
                </a:cubicBezTo>
                <a:cubicBezTo>
                  <a:pt x="152" y="16"/>
                  <a:pt x="152" y="16"/>
                  <a:pt x="152" y="16"/>
                </a:cubicBezTo>
                <a:cubicBezTo>
                  <a:pt x="152" y="14"/>
                  <a:pt x="152" y="14"/>
                  <a:pt x="152" y="14"/>
                </a:cubicBezTo>
                <a:cubicBezTo>
                  <a:pt x="153" y="13"/>
                  <a:pt x="153" y="13"/>
                  <a:pt x="153" y="13"/>
                </a:cubicBezTo>
                <a:cubicBezTo>
                  <a:pt x="154" y="13"/>
                  <a:pt x="154" y="13"/>
                  <a:pt x="154" y="13"/>
                </a:cubicBezTo>
                <a:cubicBezTo>
                  <a:pt x="154" y="12"/>
                  <a:pt x="154" y="12"/>
                  <a:pt x="154" y="12"/>
                </a:cubicBezTo>
                <a:cubicBezTo>
                  <a:pt x="152" y="11"/>
                  <a:pt x="152" y="11"/>
                  <a:pt x="152" y="11"/>
                </a:cubicBezTo>
                <a:cubicBezTo>
                  <a:pt x="152" y="10"/>
                  <a:pt x="152" y="10"/>
                  <a:pt x="152" y="10"/>
                </a:cubicBezTo>
                <a:cubicBezTo>
                  <a:pt x="152" y="9"/>
                  <a:pt x="152" y="9"/>
                  <a:pt x="152" y="9"/>
                </a:cubicBezTo>
                <a:cubicBezTo>
                  <a:pt x="152" y="8"/>
                  <a:pt x="152" y="8"/>
                  <a:pt x="152" y="8"/>
                </a:cubicBezTo>
                <a:cubicBezTo>
                  <a:pt x="153" y="8"/>
                  <a:pt x="153" y="8"/>
                  <a:pt x="153" y="8"/>
                </a:cubicBezTo>
                <a:cubicBezTo>
                  <a:pt x="154" y="9"/>
                  <a:pt x="154" y="9"/>
                  <a:pt x="154" y="9"/>
                </a:cubicBezTo>
                <a:cubicBezTo>
                  <a:pt x="154" y="10"/>
                  <a:pt x="154" y="10"/>
                  <a:pt x="154" y="10"/>
                </a:cubicBezTo>
                <a:cubicBezTo>
                  <a:pt x="155" y="10"/>
                  <a:pt x="155" y="10"/>
                  <a:pt x="155" y="10"/>
                </a:cubicBezTo>
                <a:cubicBezTo>
                  <a:pt x="156" y="8"/>
                  <a:pt x="156" y="8"/>
                  <a:pt x="156" y="8"/>
                </a:cubicBezTo>
                <a:cubicBezTo>
                  <a:pt x="157" y="8"/>
                  <a:pt x="157" y="8"/>
                  <a:pt x="157" y="8"/>
                </a:cubicBezTo>
                <a:cubicBezTo>
                  <a:pt x="158" y="7"/>
                  <a:pt x="158" y="7"/>
                  <a:pt x="158" y="7"/>
                </a:cubicBezTo>
                <a:cubicBezTo>
                  <a:pt x="158" y="6"/>
                  <a:pt x="158" y="6"/>
                  <a:pt x="158" y="6"/>
                </a:cubicBezTo>
                <a:cubicBezTo>
                  <a:pt x="159" y="5"/>
                  <a:pt x="159" y="5"/>
                  <a:pt x="159" y="5"/>
                </a:cubicBezTo>
                <a:cubicBezTo>
                  <a:pt x="161" y="5"/>
                  <a:pt x="161" y="5"/>
                  <a:pt x="161" y="5"/>
                </a:cubicBezTo>
                <a:cubicBezTo>
                  <a:pt x="160" y="6"/>
                  <a:pt x="160" y="6"/>
                  <a:pt x="160" y="6"/>
                </a:cubicBezTo>
                <a:cubicBezTo>
                  <a:pt x="159" y="7"/>
                  <a:pt x="159" y="7"/>
                  <a:pt x="159" y="7"/>
                </a:cubicBezTo>
                <a:cubicBezTo>
                  <a:pt x="160" y="7"/>
                  <a:pt x="160" y="7"/>
                  <a:pt x="160" y="7"/>
                </a:cubicBezTo>
                <a:cubicBezTo>
                  <a:pt x="161" y="7"/>
                  <a:pt x="161" y="7"/>
                  <a:pt x="161" y="7"/>
                </a:cubicBezTo>
                <a:cubicBezTo>
                  <a:pt x="162" y="7"/>
                  <a:pt x="162" y="7"/>
                  <a:pt x="162" y="7"/>
                </a:cubicBezTo>
                <a:cubicBezTo>
                  <a:pt x="162" y="7"/>
                  <a:pt x="162" y="7"/>
                  <a:pt x="162" y="7"/>
                </a:cubicBezTo>
                <a:cubicBezTo>
                  <a:pt x="162" y="8"/>
                  <a:pt x="162" y="8"/>
                  <a:pt x="162" y="8"/>
                </a:cubicBezTo>
                <a:cubicBezTo>
                  <a:pt x="163" y="9"/>
                  <a:pt x="163" y="9"/>
                  <a:pt x="163" y="9"/>
                </a:cubicBezTo>
                <a:cubicBezTo>
                  <a:pt x="163" y="9"/>
                  <a:pt x="163" y="9"/>
                  <a:pt x="163" y="9"/>
                </a:cubicBezTo>
                <a:cubicBezTo>
                  <a:pt x="162" y="10"/>
                  <a:pt x="162" y="10"/>
                  <a:pt x="162" y="10"/>
                </a:cubicBezTo>
                <a:cubicBezTo>
                  <a:pt x="163" y="11"/>
                  <a:pt x="163" y="11"/>
                  <a:pt x="163" y="11"/>
                </a:cubicBezTo>
                <a:cubicBezTo>
                  <a:pt x="163" y="10"/>
                  <a:pt x="163" y="10"/>
                  <a:pt x="163" y="10"/>
                </a:cubicBezTo>
                <a:cubicBezTo>
                  <a:pt x="164" y="9"/>
                  <a:pt x="164" y="9"/>
                  <a:pt x="164" y="9"/>
                </a:cubicBezTo>
                <a:cubicBezTo>
                  <a:pt x="166" y="9"/>
                  <a:pt x="166" y="9"/>
                  <a:pt x="166" y="9"/>
                </a:cubicBezTo>
                <a:cubicBezTo>
                  <a:pt x="166" y="10"/>
                  <a:pt x="166" y="10"/>
                  <a:pt x="166" y="10"/>
                </a:cubicBezTo>
                <a:cubicBezTo>
                  <a:pt x="166" y="11"/>
                  <a:pt x="166" y="11"/>
                  <a:pt x="166" y="11"/>
                </a:cubicBezTo>
                <a:cubicBezTo>
                  <a:pt x="167" y="13"/>
                  <a:pt x="167" y="13"/>
                  <a:pt x="167" y="13"/>
                </a:cubicBezTo>
                <a:cubicBezTo>
                  <a:pt x="168" y="14"/>
                  <a:pt x="168" y="14"/>
                  <a:pt x="168" y="14"/>
                </a:cubicBezTo>
                <a:cubicBezTo>
                  <a:pt x="168" y="16"/>
                  <a:pt x="168" y="16"/>
                  <a:pt x="168" y="16"/>
                </a:cubicBezTo>
                <a:cubicBezTo>
                  <a:pt x="168" y="15"/>
                  <a:pt x="168" y="15"/>
                  <a:pt x="168" y="15"/>
                </a:cubicBezTo>
                <a:cubicBezTo>
                  <a:pt x="169" y="14"/>
                  <a:pt x="169" y="14"/>
                  <a:pt x="169" y="14"/>
                </a:cubicBezTo>
                <a:cubicBezTo>
                  <a:pt x="168" y="13"/>
                  <a:pt x="168" y="13"/>
                  <a:pt x="168" y="13"/>
                </a:cubicBezTo>
                <a:cubicBezTo>
                  <a:pt x="168" y="12"/>
                  <a:pt x="168" y="12"/>
                  <a:pt x="168" y="12"/>
                </a:cubicBezTo>
                <a:cubicBezTo>
                  <a:pt x="168" y="11"/>
                  <a:pt x="168" y="11"/>
                  <a:pt x="168" y="11"/>
                </a:cubicBezTo>
                <a:cubicBezTo>
                  <a:pt x="167" y="10"/>
                  <a:pt x="167" y="10"/>
                  <a:pt x="167" y="10"/>
                </a:cubicBezTo>
                <a:cubicBezTo>
                  <a:pt x="168" y="10"/>
                  <a:pt x="168" y="10"/>
                  <a:pt x="168" y="10"/>
                </a:cubicBezTo>
                <a:cubicBezTo>
                  <a:pt x="168" y="10"/>
                  <a:pt x="168" y="10"/>
                  <a:pt x="168" y="10"/>
                </a:cubicBezTo>
                <a:cubicBezTo>
                  <a:pt x="170" y="12"/>
                  <a:pt x="170" y="12"/>
                  <a:pt x="170" y="12"/>
                </a:cubicBezTo>
                <a:cubicBezTo>
                  <a:pt x="171" y="14"/>
                  <a:pt x="171" y="14"/>
                  <a:pt x="171" y="14"/>
                </a:cubicBezTo>
                <a:cubicBezTo>
                  <a:pt x="173" y="15"/>
                  <a:pt x="173" y="15"/>
                  <a:pt x="173" y="15"/>
                </a:cubicBezTo>
                <a:cubicBezTo>
                  <a:pt x="174" y="15"/>
                  <a:pt x="174" y="15"/>
                  <a:pt x="174" y="15"/>
                </a:cubicBezTo>
                <a:cubicBezTo>
                  <a:pt x="174" y="14"/>
                  <a:pt x="174" y="14"/>
                  <a:pt x="174" y="14"/>
                </a:cubicBezTo>
                <a:cubicBezTo>
                  <a:pt x="174" y="14"/>
                  <a:pt x="174" y="14"/>
                  <a:pt x="174" y="14"/>
                </a:cubicBezTo>
                <a:cubicBezTo>
                  <a:pt x="172" y="13"/>
                  <a:pt x="172" y="13"/>
                  <a:pt x="172" y="13"/>
                </a:cubicBezTo>
                <a:cubicBezTo>
                  <a:pt x="171" y="11"/>
                  <a:pt x="171" y="11"/>
                  <a:pt x="171" y="11"/>
                </a:cubicBezTo>
                <a:cubicBezTo>
                  <a:pt x="171" y="10"/>
                  <a:pt x="171" y="10"/>
                  <a:pt x="171" y="10"/>
                </a:cubicBezTo>
                <a:cubicBezTo>
                  <a:pt x="171" y="8"/>
                  <a:pt x="171" y="8"/>
                  <a:pt x="171" y="8"/>
                </a:cubicBezTo>
                <a:cubicBezTo>
                  <a:pt x="173" y="8"/>
                  <a:pt x="173" y="8"/>
                  <a:pt x="173" y="8"/>
                </a:cubicBezTo>
                <a:cubicBezTo>
                  <a:pt x="174" y="8"/>
                  <a:pt x="174" y="8"/>
                  <a:pt x="174" y="8"/>
                </a:cubicBezTo>
                <a:cubicBezTo>
                  <a:pt x="175" y="9"/>
                  <a:pt x="175" y="9"/>
                  <a:pt x="175" y="9"/>
                </a:cubicBezTo>
                <a:cubicBezTo>
                  <a:pt x="177" y="9"/>
                  <a:pt x="177" y="9"/>
                  <a:pt x="177" y="9"/>
                </a:cubicBezTo>
                <a:cubicBezTo>
                  <a:pt x="177" y="9"/>
                  <a:pt x="177" y="9"/>
                  <a:pt x="177" y="9"/>
                </a:cubicBezTo>
                <a:cubicBezTo>
                  <a:pt x="177" y="8"/>
                  <a:pt x="177" y="8"/>
                  <a:pt x="177" y="8"/>
                </a:cubicBezTo>
                <a:cubicBezTo>
                  <a:pt x="176" y="8"/>
                  <a:pt x="176" y="8"/>
                  <a:pt x="176" y="8"/>
                </a:cubicBezTo>
                <a:cubicBezTo>
                  <a:pt x="176" y="7"/>
                  <a:pt x="176" y="7"/>
                  <a:pt x="176" y="7"/>
                </a:cubicBezTo>
                <a:cubicBezTo>
                  <a:pt x="177" y="6"/>
                  <a:pt x="177" y="6"/>
                  <a:pt x="177" y="6"/>
                </a:cubicBezTo>
                <a:cubicBezTo>
                  <a:pt x="178" y="5"/>
                  <a:pt x="178" y="5"/>
                  <a:pt x="178" y="5"/>
                </a:cubicBezTo>
                <a:cubicBezTo>
                  <a:pt x="177" y="4"/>
                  <a:pt x="177" y="4"/>
                  <a:pt x="177" y="4"/>
                </a:cubicBezTo>
                <a:cubicBezTo>
                  <a:pt x="177" y="3"/>
                  <a:pt x="177" y="3"/>
                  <a:pt x="177" y="3"/>
                </a:cubicBezTo>
                <a:cubicBezTo>
                  <a:pt x="177" y="2"/>
                  <a:pt x="177" y="2"/>
                  <a:pt x="177" y="2"/>
                </a:cubicBezTo>
                <a:cubicBezTo>
                  <a:pt x="178" y="2"/>
                  <a:pt x="178" y="2"/>
                  <a:pt x="178" y="2"/>
                </a:cubicBezTo>
                <a:cubicBezTo>
                  <a:pt x="179" y="2"/>
                  <a:pt x="179" y="2"/>
                  <a:pt x="179" y="2"/>
                </a:cubicBezTo>
                <a:cubicBezTo>
                  <a:pt x="179" y="2"/>
                  <a:pt x="179" y="2"/>
                  <a:pt x="179" y="2"/>
                </a:cubicBezTo>
                <a:cubicBezTo>
                  <a:pt x="180" y="1"/>
                  <a:pt x="180" y="1"/>
                  <a:pt x="180" y="1"/>
                </a:cubicBezTo>
                <a:cubicBezTo>
                  <a:pt x="180" y="0"/>
                  <a:pt x="180" y="0"/>
                  <a:pt x="180" y="0"/>
                </a:cubicBezTo>
                <a:cubicBezTo>
                  <a:pt x="181" y="0"/>
                  <a:pt x="181" y="0"/>
                  <a:pt x="181" y="0"/>
                </a:cubicBezTo>
                <a:cubicBezTo>
                  <a:pt x="181" y="1"/>
                  <a:pt x="181" y="1"/>
                  <a:pt x="181" y="1"/>
                </a:cubicBezTo>
                <a:cubicBezTo>
                  <a:pt x="182" y="1"/>
                  <a:pt x="182" y="1"/>
                  <a:pt x="182" y="1"/>
                </a:cubicBezTo>
                <a:cubicBezTo>
                  <a:pt x="182" y="2"/>
                  <a:pt x="182" y="2"/>
                  <a:pt x="182" y="2"/>
                </a:cubicBezTo>
                <a:cubicBezTo>
                  <a:pt x="183" y="3"/>
                  <a:pt x="183" y="3"/>
                  <a:pt x="183" y="3"/>
                </a:cubicBezTo>
                <a:cubicBezTo>
                  <a:pt x="183" y="4"/>
                  <a:pt x="183" y="4"/>
                  <a:pt x="183" y="4"/>
                </a:cubicBezTo>
                <a:cubicBezTo>
                  <a:pt x="184" y="3"/>
                  <a:pt x="184" y="3"/>
                  <a:pt x="184" y="3"/>
                </a:cubicBezTo>
                <a:cubicBezTo>
                  <a:pt x="184" y="2"/>
                  <a:pt x="184" y="2"/>
                  <a:pt x="184" y="2"/>
                </a:cubicBezTo>
                <a:cubicBezTo>
                  <a:pt x="184" y="1"/>
                  <a:pt x="184" y="1"/>
                  <a:pt x="184" y="1"/>
                </a:cubicBezTo>
                <a:cubicBezTo>
                  <a:pt x="184" y="0"/>
                  <a:pt x="184" y="0"/>
                  <a:pt x="184" y="0"/>
                </a:cubicBezTo>
                <a:cubicBezTo>
                  <a:pt x="184" y="0"/>
                  <a:pt x="184" y="0"/>
                  <a:pt x="184" y="0"/>
                </a:cubicBezTo>
                <a:cubicBezTo>
                  <a:pt x="185" y="0"/>
                  <a:pt x="185" y="0"/>
                  <a:pt x="185" y="0"/>
                </a:cubicBezTo>
                <a:cubicBezTo>
                  <a:pt x="186" y="0"/>
                  <a:pt x="186" y="0"/>
                  <a:pt x="186" y="0"/>
                </a:cubicBezTo>
                <a:cubicBezTo>
                  <a:pt x="188" y="0"/>
                  <a:pt x="188" y="0"/>
                  <a:pt x="188" y="0"/>
                </a:cubicBezTo>
                <a:cubicBezTo>
                  <a:pt x="189" y="0"/>
                  <a:pt x="189" y="0"/>
                  <a:pt x="189" y="0"/>
                </a:cubicBezTo>
                <a:cubicBezTo>
                  <a:pt x="189" y="1"/>
                  <a:pt x="189" y="1"/>
                  <a:pt x="189" y="1"/>
                </a:cubicBezTo>
                <a:cubicBezTo>
                  <a:pt x="190" y="1"/>
                  <a:pt x="190" y="1"/>
                  <a:pt x="190" y="1"/>
                </a:cubicBezTo>
                <a:cubicBezTo>
                  <a:pt x="191" y="0"/>
                  <a:pt x="191" y="0"/>
                  <a:pt x="191" y="0"/>
                </a:cubicBezTo>
                <a:cubicBezTo>
                  <a:pt x="192" y="1"/>
                  <a:pt x="192" y="1"/>
                  <a:pt x="192" y="1"/>
                </a:cubicBezTo>
                <a:cubicBezTo>
                  <a:pt x="194" y="1"/>
                  <a:pt x="194" y="1"/>
                  <a:pt x="194" y="1"/>
                </a:cubicBezTo>
                <a:cubicBezTo>
                  <a:pt x="195" y="1"/>
                  <a:pt x="195" y="1"/>
                  <a:pt x="195" y="1"/>
                </a:cubicBezTo>
                <a:cubicBezTo>
                  <a:pt x="195" y="1"/>
                  <a:pt x="195" y="1"/>
                  <a:pt x="195" y="1"/>
                </a:cubicBezTo>
                <a:cubicBezTo>
                  <a:pt x="196" y="1"/>
                  <a:pt x="196" y="1"/>
                  <a:pt x="196" y="1"/>
                </a:cubicBezTo>
                <a:cubicBezTo>
                  <a:pt x="197" y="1"/>
                  <a:pt x="197" y="1"/>
                  <a:pt x="197" y="1"/>
                </a:cubicBezTo>
                <a:cubicBezTo>
                  <a:pt x="197" y="2"/>
                  <a:pt x="197" y="2"/>
                  <a:pt x="197" y="2"/>
                </a:cubicBezTo>
                <a:cubicBezTo>
                  <a:pt x="199" y="3"/>
                  <a:pt x="199" y="3"/>
                  <a:pt x="199" y="3"/>
                </a:cubicBezTo>
                <a:cubicBezTo>
                  <a:pt x="200" y="3"/>
                  <a:pt x="200" y="3"/>
                  <a:pt x="200" y="3"/>
                </a:cubicBezTo>
                <a:cubicBezTo>
                  <a:pt x="200" y="3"/>
                  <a:pt x="200" y="3"/>
                  <a:pt x="200" y="3"/>
                </a:cubicBezTo>
                <a:cubicBezTo>
                  <a:pt x="200" y="3"/>
                  <a:pt x="200" y="3"/>
                  <a:pt x="200" y="3"/>
                </a:cubicBezTo>
                <a:cubicBezTo>
                  <a:pt x="202" y="4"/>
                  <a:pt x="202" y="4"/>
                  <a:pt x="202" y="4"/>
                </a:cubicBezTo>
                <a:cubicBezTo>
                  <a:pt x="203" y="4"/>
                  <a:pt x="203" y="4"/>
                  <a:pt x="203" y="4"/>
                </a:cubicBezTo>
                <a:cubicBezTo>
                  <a:pt x="204" y="5"/>
                  <a:pt x="204" y="5"/>
                  <a:pt x="204" y="5"/>
                </a:cubicBezTo>
                <a:cubicBezTo>
                  <a:pt x="207" y="5"/>
                  <a:pt x="207" y="5"/>
                  <a:pt x="207" y="5"/>
                </a:cubicBezTo>
                <a:cubicBezTo>
                  <a:pt x="208" y="6"/>
                  <a:pt x="208" y="6"/>
                  <a:pt x="208" y="6"/>
                </a:cubicBezTo>
                <a:cubicBezTo>
                  <a:pt x="209" y="5"/>
                  <a:pt x="209" y="5"/>
                  <a:pt x="209" y="5"/>
                </a:cubicBezTo>
                <a:cubicBezTo>
                  <a:pt x="209" y="6"/>
                  <a:pt x="209" y="6"/>
                  <a:pt x="209" y="6"/>
                </a:cubicBezTo>
                <a:cubicBezTo>
                  <a:pt x="210" y="6"/>
                  <a:pt x="210" y="6"/>
                  <a:pt x="210" y="6"/>
                </a:cubicBezTo>
                <a:cubicBezTo>
                  <a:pt x="211" y="6"/>
                  <a:pt x="211" y="6"/>
                  <a:pt x="211" y="6"/>
                </a:cubicBezTo>
                <a:cubicBezTo>
                  <a:pt x="212" y="6"/>
                  <a:pt x="212" y="6"/>
                  <a:pt x="212" y="6"/>
                </a:cubicBezTo>
                <a:cubicBezTo>
                  <a:pt x="213" y="7"/>
                  <a:pt x="213" y="7"/>
                  <a:pt x="213" y="7"/>
                </a:cubicBezTo>
                <a:cubicBezTo>
                  <a:pt x="215" y="8"/>
                  <a:pt x="215" y="8"/>
                  <a:pt x="215" y="8"/>
                </a:cubicBezTo>
                <a:cubicBezTo>
                  <a:pt x="216" y="9"/>
                  <a:pt x="216" y="9"/>
                  <a:pt x="216" y="9"/>
                </a:cubicBezTo>
                <a:cubicBezTo>
                  <a:pt x="217" y="10"/>
                  <a:pt x="217" y="10"/>
                  <a:pt x="217" y="10"/>
                </a:cubicBezTo>
                <a:cubicBezTo>
                  <a:pt x="218" y="10"/>
                  <a:pt x="218" y="10"/>
                  <a:pt x="218" y="10"/>
                </a:cubicBezTo>
                <a:cubicBezTo>
                  <a:pt x="220" y="11"/>
                  <a:pt x="220" y="11"/>
                  <a:pt x="220" y="11"/>
                </a:cubicBezTo>
                <a:cubicBezTo>
                  <a:pt x="219" y="12"/>
                  <a:pt x="219" y="12"/>
                  <a:pt x="219" y="12"/>
                </a:cubicBezTo>
                <a:cubicBezTo>
                  <a:pt x="219" y="13"/>
                  <a:pt x="219" y="13"/>
                  <a:pt x="219" y="13"/>
                </a:cubicBezTo>
                <a:cubicBezTo>
                  <a:pt x="218" y="13"/>
                  <a:pt x="218" y="13"/>
                  <a:pt x="218" y="13"/>
                </a:cubicBezTo>
                <a:cubicBezTo>
                  <a:pt x="217" y="13"/>
                  <a:pt x="217" y="13"/>
                  <a:pt x="217" y="13"/>
                </a:cubicBezTo>
                <a:cubicBezTo>
                  <a:pt x="216" y="13"/>
                  <a:pt x="216" y="13"/>
                  <a:pt x="216" y="13"/>
                </a:cubicBezTo>
                <a:cubicBezTo>
                  <a:pt x="215" y="14"/>
                  <a:pt x="215" y="14"/>
                  <a:pt x="215" y="14"/>
                </a:cubicBezTo>
                <a:cubicBezTo>
                  <a:pt x="214" y="14"/>
                  <a:pt x="214" y="14"/>
                  <a:pt x="214" y="14"/>
                </a:cubicBezTo>
                <a:cubicBezTo>
                  <a:pt x="214" y="14"/>
                  <a:pt x="214" y="14"/>
                  <a:pt x="214" y="14"/>
                </a:cubicBezTo>
                <a:cubicBezTo>
                  <a:pt x="213" y="14"/>
                  <a:pt x="213" y="14"/>
                  <a:pt x="213" y="14"/>
                </a:cubicBezTo>
                <a:cubicBezTo>
                  <a:pt x="211" y="14"/>
                  <a:pt x="211" y="14"/>
                  <a:pt x="211" y="14"/>
                </a:cubicBezTo>
                <a:cubicBezTo>
                  <a:pt x="209" y="13"/>
                  <a:pt x="209" y="13"/>
                  <a:pt x="209" y="13"/>
                </a:cubicBezTo>
                <a:cubicBezTo>
                  <a:pt x="208" y="13"/>
                  <a:pt x="208" y="13"/>
                  <a:pt x="208" y="13"/>
                </a:cubicBezTo>
                <a:cubicBezTo>
                  <a:pt x="207" y="13"/>
                  <a:pt x="207" y="13"/>
                  <a:pt x="207" y="13"/>
                </a:cubicBezTo>
                <a:cubicBezTo>
                  <a:pt x="206" y="12"/>
                  <a:pt x="206" y="12"/>
                  <a:pt x="206" y="12"/>
                </a:cubicBezTo>
                <a:cubicBezTo>
                  <a:pt x="204" y="12"/>
                  <a:pt x="204" y="12"/>
                  <a:pt x="204" y="12"/>
                </a:cubicBezTo>
                <a:cubicBezTo>
                  <a:pt x="204" y="13"/>
                  <a:pt x="204" y="13"/>
                  <a:pt x="204" y="13"/>
                </a:cubicBezTo>
                <a:cubicBezTo>
                  <a:pt x="203" y="13"/>
                  <a:pt x="203" y="13"/>
                  <a:pt x="203" y="13"/>
                </a:cubicBezTo>
                <a:cubicBezTo>
                  <a:pt x="203" y="12"/>
                  <a:pt x="203" y="12"/>
                  <a:pt x="203" y="12"/>
                </a:cubicBezTo>
                <a:cubicBezTo>
                  <a:pt x="201" y="12"/>
                  <a:pt x="201" y="12"/>
                  <a:pt x="201" y="12"/>
                </a:cubicBezTo>
                <a:cubicBezTo>
                  <a:pt x="199" y="13"/>
                  <a:pt x="199" y="13"/>
                  <a:pt x="199" y="13"/>
                </a:cubicBezTo>
                <a:cubicBezTo>
                  <a:pt x="199" y="14"/>
                  <a:pt x="199" y="14"/>
                  <a:pt x="199" y="14"/>
                </a:cubicBezTo>
                <a:cubicBezTo>
                  <a:pt x="198" y="13"/>
                  <a:pt x="198" y="13"/>
                  <a:pt x="198" y="13"/>
                </a:cubicBezTo>
                <a:cubicBezTo>
                  <a:pt x="197" y="13"/>
                  <a:pt x="197" y="13"/>
                  <a:pt x="197" y="13"/>
                </a:cubicBezTo>
                <a:cubicBezTo>
                  <a:pt x="195" y="14"/>
                  <a:pt x="195" y="14"/>
                  <a:pt x="195" y="14"/>
                </a:cubicBezTo>
                <a:cubicBezTo>
                  <a:pt x="193" y="14"/>
                  <a:pt x="193" y="14"/>
                  <a:pt x="193" y="14"/>
                </a:cubicBezTo>
                <a:cubicBezTo>
                  <a:pt x="193" y="13"/>
                  <a:pt x="193" y="13"/>
                  <a:pt x="193" y="13"/>
                </a:cubicBezTo>
                <a:cubicBezTo>
                  <a:pt x="193" y="12"/>
                  <a:pt x="193" y="12"/>
                  <a:pt x="193" y="12"/>
                </a:cubicBezTo>
                <a:cubicBezTo>
                  <a:pt x="193" y="11"/>
                  <a:pt x="193" y="11"/>
                  <a:pt x="193" y="11"/>
                </a:cubicBezTo>
                <a:cubicBezTo>
                  <a:pt x="194" y="11"/>
                  <a:pt x="194" y="11"/>
                  <a:pt x="194" y="11"/>
                </a:cubicBezTo>
                <a:cubicBezTo>
                  <a:pt x="194" y="11"/>
                  <a:pt x="194" y="11"/>
                  <a:pt x="194" y="11"/>
                </a:cubicBezTo>
                <a:cubicBezTo>
                  <a:pt x="194" y="10"/>
                  <a:pt x="194" y="10"/>
                  <a:pt x="194" y="10"/>
                </a:cubicBezTo>
                <a:cubicBezTo>
                  <a:pt x="193" y="10"/>
                  <a:pt x="193" y="10"/>
                  <a:pt x="193" y="10"/>
                </a:cubicBezTo>
                <a:cubicBezTo>
                  <a:pt x="192" y="10"/>
                  <a:pt x="192" y="10"/>
                  <a:pt x="192" y="10"/>
                </a:cubicBezTo>
                <a:cubicBezTo>
                  <a:pt x="191" y="11"/>
                  <a:pt x="191" y="11"/>
                  <a:pt x="191" y="11"/>
                </a:cubicBezTo>
                <a:cubicBezTo>
                  <a:pt x="191" y="12"/>
                  <a:pt x="191" y="12"/>
                  <a:pt x="191" y="12"/>
                </a:cubicBezTo>
                <a:cubicBezTo>
                  <a:pt x="192" y="13"/>
                  <a:pt x="192" y="13"/>
                  <a:pt x="192" y="13"/>
                </a:cubicBezTo>
                <a:cubicBezTo>
                  <a:pt x="192" y="13"/>
                  <a:pt x="192" y="13"/>
                  <a:pt x="192" y="13"/>
                </a:cubicBezTo>
                <a:cubicBezTo>
                  <a:pt x="192" y="14"/>
                  <a:pt x="192" y="14"/>
                  <a:pt x="192" y="14"/>
                </a:cubicBezTo>
                <a:cubicBezTo>
                  <a:pt x="191" y="15"/>
                  <a:pt x="191" y="15"/>
                  <a:pt x="191" y="15"/>
                </a:cubicBezTo>
                <a:cubicBezTo>
                  <a:pt x="191" y="15"/>
                  <a:pt x="191" y="15"/>
                  <a:pt x="191" y="15"/>
                </a:cubicBezTo>
                <a:cubicBezTo>
                  <a:pt x="190" y="15"/>
                  <a:pt x="190" y="15"/>
                  <a:pt x="190" y="15"/>
                </a:cubicBezTo>
                <a:cubicBezTo>
                  <a:pt x="188" y="15"/>
                  <a:pt x="188" y="15"/>
                  <a:pt x="188" y="15"/>
                </a:cubicBezTo>
                <a:cubicBezTo>
                  <a:pt x="188" y="15"/>
                  <a:pt x="188" y="15"/>
                  <a:pt x="188" y="15"/>
                </a:cubicBezTo>
                <a:cubicBezTo>
                  <a:pt x="187" y="15"/>
                  <a:pt x="187" y="15"/>
                  <a:pt x="187" y="15"/>
                </a:cubicBezTo>
                <a:cubicBezTo>
                  <a:pt x="185" y="15"/>
                  <a:pt x="185" y="15"/>
                  <a:pt x="185" y="15"/>
                </a:cubicBezTo>
                <a:cubicBezTo>
                  <a:pt x="184" y="15"/>
                  <a:pt x="184" y="15"/>
                  <a:pt x="184" y="15"/>
                </a:cubicBezTo>
                <a:cubicBezTo>
                  <a:pt x="182" y="15"/>
                  <a:pt x="182" y="15"/>
                  <a:pt x="182" y="15"/>
                </a:cubicBezTo>
                <a:cubicBezTo>
                  <a:pt x="180" y="17"/>
                  <a:pt x="180" y="17"/>
                  <a:pt x="180" y="17"/>
                </a:cubicBezTo>
                <a:cubicBezTo>
                  <a:pt x="180" y="18"/>
                  <a:pt x="180" y="18"/>
                  <a:pt x="180" y="18"/>
                </a:cubicBezTo>
                <a:cubicBezTo>
                  <a:pt x="180" y="19"/>
                  <a:pt x="180" y="19"/>
                  <a:pt x="180" y="19"/>
                </a:cubicBezTo>
                <a:cubicBezTo>
                  <a:pt x="179" y="20"/>
                  <a:pt x="179" y="20"/>
                  <a:pt x="179" y="20"/>
                </a:cubicBezTo>
                <a:cubicBezTo>
                  <a:pt x="179" y="21"/>
                  <a:pt x="179" y="21"/>
                  <a:pt x="179" y="21"/>
                </a:cubicBezTo>
                <a:cubicBezTo>
                  <a:pt x="179" y="22"/>
                  <a:pt x="179" y="22"/>
                  <a:pt x="179" y="22"/>
                </a:cubicBezTo>
                <a:cubicBezTo>
                  <a:pt x="180" y="21"/>
                  <a:pt x="180" y="21"/>
                  <a:pt x="180" y="21"/>
                </a:cubicBezTo>
                <a:cubicBezTo>
                  <a:pt x="180" y="20"/>
                  <a:pt x="180" y="20"/>
                  <a:pt x="180" y="20"/>
                </a:cubicBezTo>
                <a:cubicBezTo>
                  <a:pt x="181" y="19"/>
                  <a:pt x="181" y="19"/>
                  <a:pt x="181" y="19"/>
                </a:cubicBezTo>
                <a:cubicBezTo>
                  <a:pt x="181" y="19"/>
                  <a:pt x="181" y="19"/>
                  <a:pt x="181" y="19"/>
                </a:cubicBezTo>
                <a:cubicBezTo>
                  <a:pt x="181" y="18"/>
                  <a:pt x="181" y="18"/>
                  <a:pt x="181" y="18"/>
                </a:cubicBezTo>
                <a:cubicBezTo>
                  <a:pt x="183" y="18"/>
                  <a:pt x="183" y="18"/>
                  <a:pt x="183" y="18"/>
                </a:cubicBezTo>
                <a:cubicBezTo>
                  <a:pt x="183" y="18"/>
                  <a:pt x="183" y="18"/>
                  <a:pt x="183" y="18"/>
                </a:cubicBezTo>
                <a:cubicBezTo>
                  <a:pt x="184" y="19"/>
                  <a:pt x="184" y="19"/>
                  <a:pt x="184" y="19"/>
                </a:cubicBezTo>
                <a:cubicBezTo>
                  <a:pt x="183" y="19"/>
                  <a:pt x="183" y="19"/>
                  <a:pt x="183" y="19"/>
                </a:cubicBezTo>
                <a:cubicBezTo>
                  <a:pt x="183" y="20"/>
                  <a:pt x="183" y="20"/>
                  <a:pt x="183" y="20"/>
                </a:cubicBezTo>
                <a:cubicBezTo>
                  <a:pt x="183" y="21"/>
                  <a:pt x="183" y="21"/>
                  <a:pt x="183" y="21"/>
                </a:cubicBezTo>
                <a:cubicBezTo>
                  <a:pt x="183" y="21"/>
                  <a:pt x="183" y="21"/>
                  <a:pt x="183" y="21"/>
                </a:cubicBezTo>
                <a:cubicBezTo>
                  <a:pt x="184" y="20"/>
                  <a:pt x="184" y="20"/>
                  <a:pt x="184" y="20"/>
                </a:cubicBezTo>
                <a:cubicBezTo>
                  <a:pt x="184" y="18"/>
                  <a:pt x="184" y="18"/>
                  <a:pt x="184" y="18"/>
                </a:cubicBezTo>
                <a:cubicBezTo>
                  <a:pt x="184" y="18"/>
                  <a:pt x="185" y="17"/>
                  <a:pt x="185" y="17"/>
                </a:cubicBezTo>
                <a:cubicBezTo>
                  <a:pt x="185" y="17"/>
                  <a:pt x="187" y="16"/>
                  <a:pt x="187" y="16"/>
                </a:cubicBezTo>
                <a:cubicBezTo>
                  <a:pt x="187" y="16"/>
                  <a:pt x="187" y="16"/>
                  <a:pt x="187" y="16"/>
                </a:cubicBezTo>
                <a:cubicBezTo>
                  <a:pt x="189" y="16"/>
                  <a:pt x="189" y="16"/>
                  <a:pt x="189" y="16"/>
                </a:cubicBezTo>
                <a:cubicBezTo>
                  <a:pt x="190" y="16"/>
                  <a:pt x="190" y="16"/>
                  <a:pt x="190" y="16"/>
                </a:cubicBezTo>
                <a:cubicBezTo>
                  <a:pt x="191" y="16"/>
                  <a:pt x="191" y="16"/>
                  <a:pt x="191" y="16"/>
                </a:cubicBezTo>
                <a:cubicBezTo>
                  <a:pt x="191" y="16"/>
                  <a:pt x="191" y="16"/>
                  <a:pt x="191" y="16"/>
                </a:cubicBezTo>
                <a:cubicBezTo>
                  <a:pt x="192" y="17"/>
                  <a:pt x="192" y="17"/>
                  <a:pt x="192" y="17"/>
                </a:cubicBezTo>
                <a:cubicBezTo>
                  <a:pt x="192" y="18"/>
                  <a:pt x="192" y="18"/>
                  <a:pt x="192" y="18"/>
                </a:cubicBezTo>
                <a:cubicBezTo>
                  <a:pt x="193" y="19"/>
                  <a:pt x="193" y="19"/>
                  <a:pt x="193" y="19"/>
                </a:cubicBezTo>
                <a:cubicBezTo>
                  <a:pt x="193" y="19"/>
                  <a:pt x="193" y="19"/>
                  <a:pt x="193" y="19"/>
                </a:cubicBezTo>
                <a:cubicBezTo>
                  <a:pt x="194" y="18"/>
                  <a:pt x="194" y="18"/>
                  <a:pt x="194" y="18"/>
                </a:cubicBezTo>
                <a:cubicBezTo>
                  <a:pt x="193" y="17"/>
                  <a:pt x="193" y="17"/>
                  <a:pt x="193" y="17"/>
                </a:cubicBezTo>
                <a:cubicBezTo>
                  <a:pt x="193" y="16"/>
                  <a:pt x="193" y="16"/>
                  <a:pt x="193" y="16"/>
                </a:cubicBezTo>
                <a:cubicBezTo>
                  <a:pt x="195" y="16"/>
                  <a:pt x="195" y="16"/>
                  <a:pt x="195" y="16"/>
                </a:cubicBezTo>
                <a:cubicBezTo>
                  <a:pt x="196" y="16"/>
                  <a:pt x="196" y="16"/>
                  <a:pt x="196" y="16"/>
                </a:cubicBezTo>
                <a:cubicBezTo>
                  <a:pt x="197" y="16"/>
                  <a:pt x="197" y="16"/>
                  <a:pt x="197" y="16"/>
                </a:cubicBezTo>
                <a:cubicBezTo>
                  <a:pt x="199" y="16"/>
                  <a:pt x="199" y="16"/>
                  <a:pt x="199" y="16"/>
                </a:cubicBezTo>
                <a:cubicBezTo>
                  <a:pt x="201" y="15"/>
                  <a:pt x="201" y="15"/>
                  <a:pt x="201" y="15"/>
                </a:cubicBezTo>
                <a:cubicBezTo>
                  <a:pt x="202" y="15"/>
                  <a:pt x="202" y="15"/>
                  <a:pt x="202" y="15"/>
                </a:cubicBezTo>
                <a:cubicBezTo>
                  <a:pt x="204" y="15"/>
                  <a:pt x="204" y="15"/>
                  <a:pt x="204" y="15"/>
                </a:cubicBezTo>
                <a:cubicBezTo>
                  <a:pt x="206" y="15"/>
                  <a:pt x="206" y="15"/>
                  <a:pt x="206" y="15"/>
                </a:cubicBezTo>
                <a:cubicBezTo>
                  <a:pt x="207" y="16"/>
                  <a:pt x="207" y="16"/>
                  <a:pt x="207" y="16"/>
                </a:cubicBezTo>
                <a:cubicBezTo>
                  <a:pt x="208" y="16"/>
                  <a:pt x="208" y="16"/>
                  <a:pt x="208" y="16"/>
                </a:cubicBezTo>
                <a:cubicBezTo>
                  <a:pt x="209" y="16"/>
                  <a:pt x="209" y="16"/>
                  <a:pt x="209" y="16"/>
                </a:cubicBezTo>
                <a:cubicBezTo>
                  <a:pt x="210" y="17"/>
                  <a:pt x="210" y="17"/>
                  <a:pt x="210" y="17"/>
                </a:cubicBezTo>
                <a:cubicBezTo>
                  <a:pt x="211" y="17"/>
                  <a:pt x="211" y="17"/>
                  <a:pt x="211" y="17"/>
                </a:cubicBezTo>
                <a:cubicBezTo>
                  <a:pt x="212" y="18"/>
                  <a:pt x="212" y="18"/>
                  <a:pt x="212" y="18"/>
                </a:cubicBezTo>
                <a:cubicBezTo>
                  <a:pt x="213" y="17"/>
                  <a:pt x="213" y="17"/>
                  <a:pt x="213" y="17"/>
                </a:cubicBezTo>
                <a:cubicBezTo>
                  <a:pt x="213" y="17"/>
                  <a:pt x="213" y="17"/>
                  <a:pt x="213" y="17"/>
                </a:cubicBezTo>
                <a:cubicBezTo>
                  <a:pt x="214" y="17"/>
                  <a:pt x="214" y="17"/>
                  <a:pt x="214" y="17"/>
                </a:cubicBezTo>
                <a:cubicBezTo>
                  <a:pt x="214" y="18"/>
                  <a:pt x="214" y="18"/>
                  <a:pt x="214" y="18"/>
                </a:cubicBezTo>
                <a:cubicBezTo>
                  <a:pt x="215" y="18"/>
                  <a:pt x="215" y="18"/>
                  <a:pt x="215" y="18"/>
                </a:cubicBezTo>
                <a:cubicBezTo>
                  <a:pt x="216" y="17"/>
                  <a:pt x="216" y="17"/>
                  <a:pt x="216" y="17"/>
                </a:cubicBezTo>
                <a:cubicBezTo>
                  <a:pt x="217" y="17"/>
                  <a:pt x="217" y="17"/>
                  <a:pt x="217" y="17"/>
                </a:cubicBezTo>
                <a:cubicBezTo>
                  <a:pt x="218" y="17"/>
                  <a:pt x="218" y="17"/>
                  <a:pt x="218" y="17"/>
                </a:cubicBezTo>
                <a:cubicBezTo>
                  <a:pt x="220" y="16"/>
                  <a:pt x="220" y="16"/>
                  <a:pt x="220" y="16"/>
                </a:cubicBezTo>
                <a:cubicBezTo>
                  <a:pt x="221" y="15"/>
                  <a:pt x="221" y="15"/>
                  <a:pt x="221" y="15"/>
                </a:cubicBezTo>
                <a:cubicBezTo>
                  <a:pt x="221" y="15"/>
                  <a:pt x="221" y="15"/>
                  <a:pt x="221" y="15"/>
                </a:cubicBezTo>
                <a:cubicBezTo>
                  <a:pt x="222" y="15"/>
                  <a:pt x="222" y="15"/>
                  <a:pt x="222" y="15"/>
                </a:cubicBezTo>
                <a:cubicBezTo>
                  <a:pt x="223" y="16"/>
                  <a:pt x="223" y="16"/>
                  <a:pt x="223" y="16"/>
                </a:cubicBezTo>
                <a:cubicBezTo>
                  <a:pt x="224" y="17"/>
                  <a:pt x="224" y="17"/>
                  <a:pt x="224" y="17"/>
                </a:cubicBezTo>
                <a:cubicBezTo>
                  <a:pt x="224" y="18"/>
                  <a:pt x="224" y="18"/>
                  <a:pt x="224" y="18"/>
                </a:cubicBezTo>
                <a:cubicBezTo>
                  <a:pt x="223" y="18"/>
                  <a:pt x="223" y="18"/>
                  <a:pt x="223" y="18"/>
                </a:cubicBezTo>
                <a:cubicBezTo>
                  <a:pt x="223" y="19"/>
                  <a:pt x="223" y="19"/>
                  <a:pt x="223" y="19"/>
                </a:cubicBezTo>
                <a:cubicBezTo>
                  <a:pt x="224" y="19"/>
                  <a:pt x="224" y="19"/>
                  <a:pt x="224" y="19"/>
                </a:cubicBezTo>
                <a:cubicBezTo>
                  <a:pt x="224" y="20"/>
                  <a:pt x="224" y="20"/>
                  <a:pt x="224" y="20"/>
                </a:cubicBezTo>
                <a:cubicBezTo>
                  <a:pt x="224" y="20"/>
                  <a:pt x="224" y="20"/>
                  <a:pt x="224" y="20"/>
                </a:cubicBezTo>
                <a:cubicBezTo>
                  <a:pt x="222" y="22"/>
                  <a:pt x="222" y="22"/>
                  <a:pt x="222" y="22"/>
                </a:cubicBezTo>
                <a:cubicBezTo>
                  <a:pt x="220" y="22"/>
                  <a:pt x="220" y="22"/>
                  <a:pt x="220" y="22"/>
                </a:cubicBezTo>
                <a:cubicBezTo>
                  <a:pt x="219" y="22"/>
                  <a:pt x="219" y="22"/>
                  <a:pt x="219" y="22"/>
                </a:cubicBezTo>
                <a:cubicBezTo>
                  <a:pt x="218" y="22"/>
                  <a:pt x="218" y="22"/>
                  <a:pt x="218" y="22"/>
                </a:cubicBezTo>
                <a:cubicBezTo>
                  <a:pt x="218" y="21"/>
                  <a:pt x="218" y="21"/>
                  <a:pt x="218" y="21"/>
                </a:cubicBezTo>
                <a:cubicBezTo>
                  <a:pt x="217" y="21"/>
                  <a:pt x="217" y="21"/>
                  <a:pt x="217" y="21"/>
                </a:cubicBezTo>
                <a:cubicBezTo>
                  <a:pt x="217" y="22"/>
                  <a:pt x="217" y="22"/>
                  <a:pt x="217" y="22"/>
                </a:cubicBezTo>
                <a:cubicBezTo>
                  <a:pt x="218" y="23"/>
                  <a:pt x="218" y="23"/>
                  <a:pt x="218" y="23"/>
                </a:cubicBezTo>
                <a:cubicBezTo>
                  <a:pt x="219" y="23"/>
                  <a:pt x="219" y="23"/>
                  <a:pt x="219" y="23"/>
                </a:cubicBezTo>
                <a:cubicBezTo>
                  <a:pt x="218" y="24"/>
                  <a:pt x="218" y="24"/>
                  <a:pt x="218" y="24"/>
                </a:cubicBezTo>
                <a:cubicBezTo>
                  <a:pt x="217" y="23"/>
                  <a:pt x="217" y="23"/>
                  <a:pt x="217" y="23"/>
                </a:cubicBezTo>
                <a:cubicBezTo>
                  <a:pt x="217" y="23"/>
                  <a:pt x="217" y="23"/>
                  <a:pt x="217" y="23"/>
                </a:cubicBezTo>
                <a:cubicBezTo>
                  <a:pt x="216" y="23"/>
                  <a:pt x="216" y="23"/>
                  <a:pt x="216" y="23"/>
                </a:cubicBezTo>
                <a:cubicBezTo>
                  <a:pt x="216" y="23"/>
                  <a:pt x="216" y="23"/>
                  <a:pt x="216" y="23"/>
                </a:cubicBezTo>
                <a:cubicBezTo>
                  <a:pt x="216" y="24"/>
                  <a:pt x="216" y="24"/>
                  <a:pt x="216" y="24"/>
                </a:cubicBezTo>
                <a:cubicBezTo>
                  <a:pt x="217" y="24"/>
                  <a:pt x="217" y="24"/>
                  <a:pt x="217" y="24"/>
                </a:cubicBezTo>
                <a:cubicBezTo>
                  <a:pt x="218" y="25"/>
                  <a:pt x="218" y="25"/>
                  <a:pt x="218" y="25"/>
                </a:cubicBezTo>
                <a:cubicBezTo>
                  <a:pt x="220" y="25"/>
                  <a:pt x="220" y="25"/>
                  <a:pt x="220" y="25"/>
                </a:cubicBezTo>
                <a:cubicBezTo>
                  <a:pt x="221" y="25"/>
                  <a:pt x="221" y="25"/>
                  <a:pt x="221" y="25"/>
                </a:cubicBezTo>
                <a:cubicBezTo>
                  <a:pt x="223" y="24"/>
                  <a:pt x="223" y="24"/>
                  <a:pt x="223" y="24"/>
                </a:cubicBezTo>
                <a:cubicBezTo>
                  <a:pt x="223" y="24"/>
                  <a:pt x="223" y="24"/>
                  <a:pt x="223" y="24"/>
                </a:cubicBezTo>
                <a:cubicBezTo>
                  <a:pt x="224" y="25"/>
                  <a:pt x="224" y="25"/>
                  <a:pt x="224" y="25"/>
                </a:cubicBezTo>
                <a:cubicBezTo>
                  <a:pt x="224" y="24"/>
                  <a:pt x="224" y="24"/>
                  <a:pt x="224" y="24"/>
                </a:cubicBezTo>
                <a:cubicBezTo>
                  <a:pt x="224" y="23"/>
                  <a:pt x="224" y="23"/>
                  <a:pt x="224" y="23"/>
                </a:cubicBezTo>
                <a:cubicBezTo>
                  <a:pt x="225" y="23"/>
                  <a:pt x="225" y="23"/>
                  <a:pt x="225" y="23"/>
                </a:cubicBezTo>
                <a:cubicBezTo>
                  <a:pt x="227" y="23"/>
                  <a:pt x="227" y="23"/>
                  <a:pt x="227" y="23"/>
                </a:cubicBezTo>
                <a:cubicBezTo>
                  <a:pt x="228" y="24"/>
                  <a:pt x="228" y="24"/>
                  <a:pt x="228" y="24"/>
                </a:cubicBezTo>
                <a:cubicBezTo>
                  <a:pt x="228" y="24"/>
                  <a:pt x="228" y="24"/>
                  <a:pt x="228" y="24"/>
                </a:cubicBezTo>
                <a:cubicBezTo>
                  <a:pt x="229" y="25"/>
                  <a:pt x="229" y="25"/>
                  <a:pt x="229" y="25"/>
                </a:cubicBezTo>
                <a:cubicBezTo>
                  <a:pt x="229" y="25"/>
                  <a:pt x="229" y="25"/>
                  <a:pt x="229" y="25"/>
                </a:cubicBezTo>
                <a:cubicBezTo>
                  <a:pt x="230" y="24"/>
                  <a:pt x="230" y="24"/>
                  <a:pt x="230" y="24"/>
                </a:cubicBezTo>
                <a:cubicBezTo>
                  <a:pt x="230" y="24"/>
                  <a:pt x="230" y="24"/>
                  <a:pt x="230" y="24"/>
                </a:cubicBezTo>
                <a:cubicBezTo>
                  <a:pt x="231" y="25"/>
                  <a:pt x="231" y="25"/>
                  <a:pt x="231" y="25"/>
                </a:cubicBezTo>
                <a:cubicBezTo>
                  <a:pt x="231" y="26"/>
                  <a:pt x="231" y="26"/>
                  <a:pt x="231" y="26"/>
                </a:cubicBezTo>
                <a:cubicBezTo>
                  <a:pt x="233" y="26"/>
                  <a:pt x="233" y="26"/>
                  <a:pt x="233" y="26"/>
                </a:cubicBezTo>
                <a:cubicBezTo>
                  <a:pt x="234" y="27"/>
                  <a:pt x="234" y="27"/>
                  <a:pt x="234" y="27"/>
                </a:cubicBezTo>
                <a:cubicBezTo>
                  <a:pt x="234" y="28"/>
                  <a:pt x="234" y="28"/>
                  <a:pt x="234" y="28"/>
                </a:cubicBezTo>
                <a:cubicBezTo>
                  <a:pt x="235" y="29"/>
                  <a:pt x="235" y="29"/>
                  <a:pt x="235" y="29"/>
                </a:cubicBezTo>
                <a:cubicBezTo>
                  <a:pt x="237" y="29"/>
                  <a:pt x="237" y="29"/>
                  <a:pt x="237" y="29"/>
                </a:cubicBezTo>
                <a:cubicBezTo>
                  <a:pt x="238" y="30"/>
                  <a:pt x="238" y="30"/>
                  <a:pt x="238" y="30"/>
                </a:cubicBezTo>
                <a:cubicBezTo>
                  <a:pt x="238" y="31"/>
                  <a:pt x="238" y="31"/>
                  <a:pt x="238" y="31"/>
                </a:cubicBezTo>
                <a:cubicBezTo>
                  <a:pt x="238" y="32"/>
                  <a:pt x="238" y="32"/>
                  <a:pt x="238" y="32"/>
                </a:cubicBezTo>
                <a:cubicBezTo>
                  <a:pt x="237" y="32"/>
                  <a:pt x="237" y="32"/>
                  <a:pt x="237" y="32"/>
                </a:cubicBezTo>
                <a:cubicBezTo>
                  <a:pt x="237" y="33"/>
                  <a:pt x="237" y="33"/>
                  <a:pt x="237" y="33"/>
                </a:cubicBezTo>
                <a:cubicBezTo>
                  <a:pt x="237" y="34"/>
                  <a:pt x="237" y="34"/>
                  <a:pt x="237" y="34"/>
                </a:cubicBezTo>
                <a:cubicBezTo>
                  <a:pt x="237" y="34"/>
                  <a:pt x="237" y="34"/>
                  <a:pt x="237" y="34"/>
                </a:cubicBezTo>
                <a:cubicBezTo>
                  <a:pt x="235" y="35"/>
                  <a:pt x="235" y="35"/>
                  <a:pt x="235" y="35"/>
                </a:cubicBezTo>
                <a:cubicBezTo>
                  <a:pt x="235" y="35"/>
                  <a:pt x="235" y="35"/>
                  <a:pt x="235" y="35"/>
                </a:cubicBezTo>
                <a:cubicBezTo>
                  <a:pt x="234" y="35"/>
                  <a:pt x="234" y="35"/>
                  <a:pt x="234" y="35"/>
                </a:cubicBezTo>
                <a:cubicBezTo>
                  <a:pt x="234" y="35"/>
                  <a:pt x="234" y="35"/>
                  <a:pt x="234" y="35"/>
                </a:cubicBezTo>
                <a:cubicBezTo>
                  <a:pt x="234" y="36"/>
                  <a:pt x="234" y="36"/>
                  <a:pt x="234" y="36"/>
                </a:cubicBezTo>
                <a:cubicBezTo>
                  <a:pt x="233" y="36"/>
                  <a:pt x="233" y="36"/>
                  <a:pt x="233" y="36"/>
                </a:cubicBezTo>
                <a:cubicBezTo>
                  <a:pt x="232" y="37"/>
                  <a:pt x="232" y="37"/>
                  <a:pt x="232" y="37"/>
                </a:cubicBezTo>
                <a:cubicBezTo>
                  <a:pt x="230" y="38"/>
                  <a:pt x="230" y="38"/>
                  <a:pt x="230" y="38"/>
                </a:cubicBezTo>
                <a:cubicBezTo>
                  <a:pt x="228" y="38"/>
                  <a:pt x="228" y="38"/>
                  <a:pt x="228" y="38"/>
                </a:cubicBezTo>
                <a:cubicBezTo>
                  <a:pt x="228" y="38"/>
                  <a:pt x="228" y="38"/>
                  <a:pt x="228" y="38"/>
                </a:cubicBezTo>
                <a:cubicBezTo>
                  <a:pt x="227" y="38"/>
                  <a:pt x="227" y="38"/>
                  <a:pt x="227" y="38"/>
                </a:cubicBezTo>
                <a:cubicBezTo>
                  <a:pt x="226" y="38"/>
                  <a:pt x="226" y="38"/>
                  <a:pt x="226" y="38"/>
                </a:cubicBezTo>
                <a:cubicBezTo>
                  <a:pt x="226" y="37"/>
                  <a:pt x="226" y="37"/>
                  <a:pt x="226" y="37"/>
                </a:cubicBezTo>
                <a:cubicBezTo>
                  <a:pt x="225" y="37"/>
                  <a:pt x="225" y="37"/>
                  <a:pt x="225" y="37"/>
                </a:cubicBezTo>
                <a:cubicBezTo>
                  <a:pt x="225" y="38"/>
                  <a:pt x="225" y="38"/>
                  <a:pt x="225" y="38"/>
                </a:cubicBezTo>
                <a:cubicBezTo>
                  <a:pt x="226" y="38"/>
                  <a:pt x="226" y="38"/>
                  <a:pt x="226" y="38"/>
                </a:cubicBezTo>
                <a:cubicBezTo>
                  <a:pt x="226" y="39"/>
                  <a:pt x="226" y="39"/>
                  <a:pt x="226" y="39"/>
                </a:cubicBezTo>
                <a:cubicBezTo>
                  <a:pt x="225" y="39"/>
                  <a:pt x="225" y="39"/>
                  <a:pt x="225" y="39"/>
                </a:cubicBezTo>
                <a:cubicBezTo>
                  <a:pt x="224" y="38"/>
                  <a:pt x="224" y="38"/>
                  <a:pt x="224" y="38"/>
                </a:cubicBezTo>
                <a:cubicBezTo>
                  <a:pt x="223" y="39"/>
                  <a:pt x="223" y="39"/>
                  <a:pt x="223" y="39"/>
                </a:cubicBezTo>
                <a:cubicBezTo>
                  <a:pt x="222" y="39"/>
                  <a:pt x="222" y="39"/>
                  <a:pt x="222" y="39"/>
                </a:cubicBezTo>
                <a:cubicBezTo>
                  <a:pt x="221" y="38"/>
                  <a:pt x="221" y="38"/>
                  <a:pt x="221" y="38"/>
                </a:cubicBezTo>
                <a:cubicBezTo>
                  <a:pt x="220" y="38"/>
                  <a:pt x="220" y="38"/>
                  <a:pt x="220" y="38"/>
                </a:cubicBezTo>
                <a:cubicBezTo>
                  <a:pt x="219" y="39"/>
                  <a:pt x="219" y="39"/>
                  <a:pt x="219" y="39"/>
                </a:cubicBezTo>
                <a:cubicBezTo>
                  <a:pt x="218" y="40"/>
                  <a:pt x="218" y="40"/>
                  <a:pt x="218" y="40"/>
                </a:cubicBezTo>
                <a:cubicBezTo>
                  <a:pt x="217" y="40"/>
                  <a:pt x="217" y="40"/>
                  <a:pt x="217" y="40"/>
                </a:cubicBezTo>
                <a:cubicBezTo>
                  <a:pt x="216" y="39"/>
                  <a:pt x="216" y="39"/>
                  <a:pt x="216" y="39"/>
                </a:cubicBezTo>
                <a:cubicBezTo>
                  <a:pt x="215" y="39"/>
                  <a:pt x="215" y="39"/>
                  <a:pt x="215" y="39"/>
                </a:cubicBezTo>
                <a:cubicBezTo>
                  <a:pt x="214" y="39"/>
                  <a:pt x="214" y="39"/>
                  <a:pt x="214" y="39"/>
                </a:cubicBezTo>
                <a:cubicBezTo>
                  <a:pt x="214" y="39"/>
                  <a:pt x="214" y="39"/>
                  <a:pt x="214" y="39"/>
                </a:cubicBezTo>
                <a:cubicBezTo>
                  <a:pt x="213" y="39"/>
                  <a:pt x="213" y="39"/>
                  <a:pt x="213" y="39"/>
                </a:cubicBezTo>
                <a:cubicBezTo>
                  <a:pt x="212" y="40"/>
                  <a:pt x="212" y="40"/>
                  <a:pt x="212" y="40"/>
                </a:cubicBezTo>
                <a:cubicBezTo>
                  <a:pt x="211" y="39"/>
                  <a:pt x="211" y="39"/>
                  <a:pt x="211" y="39"/>
                </a:cubicBezTo>
                <a:cubicBezTo>
                  <a:pt x="209" y="38"/>
                  <a:pt x="209" y="38"/>
                  <a:pt x="209" y="38"/>
                </a:cubicBezTo>
                <a:cubicBezTo>
                  <a:pt x="209" y="38"/>
                  <a:pt x="209" y="38"/>
                  <a:pt x="209" y="38"/>
                </a:cubicBezTo>
                <a:cubicBezTo>
                  <a:pt x="209" y="38"/>
                  <a:pt x="209" y="38"/>
                  <a:pt x="209" y="38"/>
                </a:cubicBezTo>
                <a:cubicBezTo>
                  <a:pt x="207" y="38"/>
                  <a:pt x="207" y="38"/>
                  <a:pt x="207" y="38"/>
                </a:cubicBezTo>
                <a:cubicBezTo>
                  <a:pt x="206" y="37"/>
                  <a:pt x="206" y="37"/>
                  <a:pt x="206" y="37"/>
                </a:cubicBezTo>
                <a:cubicBezTo>
                  <a:pt x="205" y="37"/>
                  <a:pt x="205" y="37"/>
                  <a:pt x="205" y="37"/>
                </a:cubicBezTo>
                <a:cubicBezTo>
                  <a:pt x="204" y="38"/>
                  <a:pt x="204" y="38"/>
                  <a:pt x="204" y="38"/>
                </a:cubicBezTo>
                <a:cubicBezTo>
                  <a:pt x="203" y="37"/>
                  <a:pt x="203" y="37"/>
                  <a:pt x="203" y="37"/>
                </a:cubicBezTo>
                <a:cubicBezTo>
                  <a:pt x="202" y="37"/>
                  <a:pt x="202" y="37"/>
                  <a:pt x="202" y="37"/>
                </a:cubicBezTo>
                <a:cubicBezTo>
                  <a:pt x="201" y="37"/>
                  <a:pt x="201" y="37"/>
                  <a:pt x="201" y="37"/>
                </a:cubicBezTo>
                <a:cubicBezTo>
                  <a:pt x="200" y="38"/>
                  <a:pt x="200" y="38"/>
                  <a:pt x="200" y="38"/>
                </a:cubicBezTo>
                <a:cubicBezTo>
                  <a:pt x="199" y="38"/>
                  <a:pt x="199" y="38"/>
                  <a:pt x="199" y="38"/>
                </a:cubicBezTo>
                <a:cubicBezTo>
                  <a:pt x="198" y="38"/>
                  <a:pt x="198" y="38"/>
                  <a:pt x="198" y="38"/>
                </a:cubicBezTo>
                <a:cubicBezTo>
                  <a:pt x="197" y="39"/>
                  <a:pt x="197" y="39"/>
                  <a:pt x="197" y="39"/>
                </a:cubicBezTo>
                <a:cubicBezTo>
                  <a:pt x="197" y="39"/>
                  <a:pt x="197" y="39"/>
                  <a:pt x="197" y="39"/>
                </a:cubicBezTo>
                <a:cubicBezTo>
                  <a:pt x="196" y="39"/>
                  <a:pt x="196" y="39"/>
                  <a:pt x="196" y="39"/>
                </a:cubicBezTo>
                <a:cubicBezTo>
                  <a:pt x="196" y="38"/>
                  <a:pt x="196" y="38"/>
                  <a:pt x="196" y="38"/>
                </a:cubicBezTo>
                <a:cubicBezTo>
                  <a:pt x="195" y="38"/>
                  <a:pt x="195" y="38"/>
                  <a:pt x="195" y="38"/>
                </a:cubicBezTo>
                <a:cubicBezTo>
                  <a:pt x="194" y="38"/>
                  <a:pt x="194" y="38"/>
                  <a:pt x="194" y="38"/>
                </a:cubicBezTo>
                <a:cubicBezTo>
                  <a:pt x="194" y="37"/>
                  <a:pt x="194" y="37"/>
                  <a:pt x="194" y="37"/>
                </a:cubicBezTo>
                <a:cubicBezTo>
                  <a:pt x="193" y="37"/>
                  <a:pt x="193" y="37"/>
                  <a:pt x="193" y="37"/>
                </a:cubicBezTo>
                <a:cubicBezTo>
                  <a:pt x="193" y="38"/>
                  <a:pt x="193" y="38"/>
                  <a:pt x="193" y="38"/>
                </a:cubicBezTo>
                <a:cubicBezTo>
                  <a:pt x="193" y="38"/>
                  <a:pt x="193" y="38"/>
                  <a:pt x="193" y="38"/>
                </a:cubicBezTo>
                <a:cubicBezTo>
                  <a:pt x="195" y="38"/>
                  <a:pt x="195" y="38"/>
                  <a:pt x="195" y="38"/>
                </a:cubicBezTo>
                <a:cubicBezTo>
                  <a:pt x="195" y="38"/>
                  <a:pt x="195" y="38"/>
                  <a:pt x="195" y="38"/>
                </a:cubicBezTo>
                <a:cubicBezTo>
                  <a:pt x="196" y="39"/>
                  <a:pt x="196" y="39"/>
                  <a:pt x="196" y="39"/>
                </a:cubicBezTo>
                <a:cubicBezTo>
                  <a:pt x="195" y="40"/>
                  <a:pt x="195" y="40"/>
                  <a:pt x="195" y="40"/>
                </a:cubicBezTo>
                <a:cubicBezTo>
                  <a:pt x="194" y="40"/>
                  <a:pt x="194" y="40"/>
                  <a:pt x="194" y="40"/>
                </a:cubicBezTo>
                <a:cubicBezTo>
                  <a:pt x="194" y="40"/>
                  <a:pt x="194" y="40"/>
                  <a:pt x="194" y="40"/>
                </a:cubicBezTo>
                <a:cubicBezTo>
                  <a:pt x="193" y="40"/>
                  <a:pt x="193" y="40"/>
                  <a:pt x="193" y="40"/>
                </a:cubicBezTo>
                <a:cubicBezTo>
                  <a:pt x="192" y="41"/>
                  <a:pt x="192" y="41"/>
                  <a:pt x="192" y="41"/>
                </a:cubicBezTo>
                <a:cubicBezTo>
                  <a:pt x="191" y="41"/>
                  <a:pt x="191" y="41"/>
                  <a:pt x="191" y="41"/>
                </a:cubicBezTo>
                <a:cubicBezTo>
                  <a:pt x="189" y="42"/>
                  <a:pt x="189" y="42"/>
                  <a:pt x="189" y="42"/>
                </a:cubicBezTo>
                <a:cubicBezTo>
                  <a:pt x="188" y="42"/>
                  <a:pt x="188" y="42"/>
                  <a:pt x="188" y="42"/>
                </a:cubicBezTo>
                <a:cubicBezTo>
                  <a:pt x="188" y="43"/>
                  <a:pt x="188" y="43"/>
                  <a:pt x="188" y="43"/>
                </a:cubicBezTo>
                <a:cubicBezTo>
                  <a:pt x="187" y="43"/>
                  <a:pt x="187" y="43"/>
                  <a:pt x="187" y="43"/>
                </a:cubicBezTo>
                <a:cubicBezTo>
                  <a:pt x="186" y="43"/>
                  <a:pt x="186" y="43"/>
                  <a:pt x="186" y="43"/>
                </a:cubicBezTo>
                <a:cubicBezTo>
                  <a:pt x="184" y="44"/>
                  <a:pt x="184" y="44"/>
                  <a:pt x="184" y="44"/>
                </a:cubicBezTo>
                <a:cubicBezTo>
                  <a:pt x="184" y="44"/>
                  <a:pt x="184" y="44"/>
                  <a:pt x="184" y="44"/>
                </a:cubicBezTo>
                <a:cubicBezTo>
                  <a:pt x="183" y="44"/>
                  <a:pt x="183" y="44"/>
                  <a:pt x="183" y="44"/>
                </a:cubicBezTo>
                <a:cubicBezTo>
                  <a:pt x="183" y="45"/>
                  <a:pt x="183" y="45"/>
                  <a:pt x="183" y="45"/>
                </a:cubicBezTo>
                <a:cubicBezTo>
                  <a:pt x="184" y="46"/>
                  <a:pt x="184" y="46"/>
                  <a:pt x="184" y="46"/>
                </a:cubicBezTo>
                <a:cubicBezTo>
                  <a:pt x="184" y="47"/>
                  <a:pt x="184" y="47"/>
                  <a:pt x="184" y="47"/>
                </a:cubicBezTo>
                <a:cubicBezTo>
                  <a:pt x="184" y="48"/>
                  <a:pt x="184" y="48"/>
                  <a:pt x="184" y="48"/>
                </a:cubicBezTo>
                <a:cubicBezTo>
                  <a:pt x="184" y="49"/>
                  <a:pt x="184" y="49"/>
                  <a:pt x="184" y="49"/>
                </a:cubicBezTo>
                <a:cubicBezTo>
                  <a:pt x="185" y="48"/>
                  <a:pt x="185" y="48"/>
                  <a:pt x="185" y="48"/>
                </a:cubicBezTo>
                <a:cubicBezTo>
                  <a:pt x="185" y="48"/>
                  <a:pt x="185" y="48"/>
                  <a:pt x="185" y="48"/>
                </a:cubicBezTo>
                <a:cubicBezTo>
                  <a:pt x="186" y="47"/>
                  <a:pt x="186" y="47"/>
                  <a:pt x="186" y="47"/>
                </a:cubicBezTo>
                <a:cubicBezTo>
                  <a:pt x="186" y="46"/>
                  <a:pt x="186" y="46"/>
                  <a:pt x="186" y="46"/>
                </a:cubicBezTo>
                <a:cubicBezTo>
                  <a:pt x="187" y="46"/>
                  <a:pt x="187" y="46"/>
                  <a:pt x="187" y="46"/>
                </a:cubicBezTo>
                <a:cubicBezTo>
                  <a:pt x="188" y="45"/>
                  <a:pt x="188" y="45"/>
                  <a:pt x="188" y="45"/>
                </a:cubicBezTo>
                <a:cubicBezTo>
                  <a:pt x="189" y="45"/>
                  <a:pt x="189" y="45"/>
                  <a:pt x="189" y="45"/>
                </a:cubicBezTo>
                <a:cubicBezTo>
                  <a:pt x="190" y="45"/>
                  <a:pt x="190" y="45"/>
                  <a:pt x="190" y="45"/>
                </a:cubicBezTo>
                <a:cubicBezTo>
                  <a:pt x="191" y="45"/>
                  <a:pt x="191" y="45"/>
                  <a:pt x="191" y="45"/>
                </a:cubicBezTo>
                <a:cubicBezTo>
                  <a:pt x="192" y="44"/>
                  <a:pt x="192" y="44"/>
                  <a:pt x="192" y="44"/>
                </a:cubicBezTo>
                <a:cubicBezTo>
                  <a:pt x="193" y="44"/>
                  <a:pt x="193" y="44"/>
                  <a:pt x="193" y="44"/>
                </a:cubicBezTo>
                <a:cubicBezTo>
                  <a:pt x="196" y="43"/>
                  <a:pt x="196" y="43"/>
                  <a:pt x="196" y="43"/>
                </a:cubicBezTo>
                <a:cubicBezTo>
                  <a:pt x="197" y="43"/>
                  <a:pt x="197" y="43"/>
                  <a:pt x="197" y="43"/>
                </a:cubicBezTo>
                <a:cubicBezTo>
                  <a:pt x="197" y="43"/>
                  <a:pt x="197" y="43"/>
                  <a:pt x="197" y="43"/>
                </a:cubicBezTo>
                <a:cubicBezTo>
                  <a:pt x="196" y="44"/>
                  <a:pt x="196" y="44"/>
                  <a:pt x="196" y="44"/>
                </a:cubicBezTo>
                <a:cubicBezTo>
                  <a:pt x="197" y="44"/>
                  <a:pt x="197" y="44"/>
                  <a:pt x="197" y="44"/>
                </a:cubicBezTo>
                <a:cubicBezTo>
                  <a:pt x="198" y="43"/>
                  <a:pt x="198" y="43"/>
                  <a:pt x="198" y="43"/>
                </a:cubicBezTo>
                <a:cubicBezTo>
                  <a:pt x="198" y="42"/>
                  <a:pt x="198" y="42"/>
                  <a:pt x="198" y="42"/>
                </a:cubicBezTo>
                <a:cubicBezTo>
                  <a:pt x="198" y="41"/>
                  <a:pt x="198" y="41"/>
                  <a:pt x="198" y="41"/>
                </a:cubicBezTo>
                <a:cubicBezTo>
                  <a:pt x="199" y="41"/>
                  <a:pt x="199" y="41"/>
                  <a:pt x="199" y="41"/>
                </a:cubicBezTo>
                <a:cubicBezTo>
                  <a:pt x="200" y="41"/>
                  <a:pt x="200" y="41"/>
                  <a:pt x="200" y="41"/>
                </a:cubicBezTo>
                <a:cubicBezTo>
                  <a:pt x="201" y="41"/>
                  <a:pt x="201" y="41"/>
                  <a:pt x="201" y="41"/>
                </a:cubicBezTo>
                <a:cubicBezTo>
                  <a:pt x="202" y="41"/>
                  <a:pt x="202" y="41"/>
                  <a:pt x="202" y="41"/>
                </a:cubicBezTo>
                <a:cubicBezTo>
                  <a:pt x="204" y="41"/>
                  <a:pt x="204" y="41"/>
                  <a:pt x="204" y="41"/>
                </a:cubicBezTo>
                <a:cubicBezTo>
                  <a:pt x="205" y="42"/>
                  <a:pt x="205" y="42"/>
                  <a:pt x="205" y="42"/>
                </a:cubicBezTo>
                <a:cubicBezTo>
                  <a:pt x="206" y="42"/>
                  <a:pt x="206" y="42"/>
                  <a:pt x="206" y="42"/>
                </a:cubicBezTo>
                <a:cubicBezTo>
                  <a:pt x="209" y="42"/>
                  <a:pt x="209" y="42"/>
                  <a:pt x="209" y="42"/>
                </a:cubicBezTo>
                <a:cubicBezTo>
                  <a:pt x="210" y="42"/>
                  <a:pt x="210" y="42"/>
                  <a:pt x="210" y="42"/>
                </a:cubicBezTo>
                <a:cubicBezTo>
                  <a:pt x="211" y="42"/>
                  <a:pt x="211" y="42"/>
                  <a:pt x="211" y="42"/>
                </a:cubicBezTo>
                <a:cubicBezTo>
                  <a:pt x="213" y="43"/>
                  <a:pt x="213" y="43"/>
                  <a:pt x="213" y="43"/>
                </a:cubicBezTo>
                <a:cubicBezTo>
                  <a:pt x="216" y="43"/>
                  <a:pt x="216" y="43"/>
                  <a:pt x="216" y="43"/>
                </a:cubicBezTo>
                <a:cubicBezTo>
                  <a:pt x="217" y="43"/>
                  <a:pt x="217" y="43"/>
                  <a:pt x="217" y="43"/>
                </a:cubicBezTo>
                <a:cubicBezTo>
                  <a:pt x="217" y="44"/>
                  <a:pt x="217" y="44"/>
                  <a:pt x="217" y="44"/>
                </a:cubicBezTo>
                <a:cubicBezTo>
                  <a:pt x="217" y="44"/>
                  <a:pt x="217" y="44"/>
                  <a:pt x="217" y="44"/>
                </a:cubicBezTo>
                <a:cubicBezTo>
                  <a:pt x="217" y="45"/>
                  <a:pt x="217" y="45"/>
                  <a:pt x="217" y="45"/>
                </a:cubicBezTo>
                <a:cubicBezTo>
                  <a:pt x="216" y="45"/>
                  <a:pt x="216" y="45"/>
                  <a:pt x="216" y="45"/>
                </a:cubicBezTo>
                <a:cubicBezTo>
                  <a:pt x="216" y="46"/>
                  <a:pt x="216" y="46"/>
                  <a:pt x="216" y="46"/>
                </a:cubicBezTo>
                <a:cubicBezTo>
                  <a:pt x="215" y="47"/>
                  <a:pt x="215" y="47"/>
                  <a:pt x="215" y="47"/>
                </a:cubicBezTo>
                <a:cubicBezTo>
                  <a:pt x="215" y="48"/>
                  <a:pt x="215" y="48"/>
                  <a:pt x="215" y="48"/>
                </a:cubicBezTo>
                <a:cubicBezTo>
                  <a:pt x="212" y="48"/>
                  <a:pt x="212" y="48"/>
                  <a:pt x="212" y="48"/>
                </a:cubicBezTo>
                <a:cubicBezTo>
                  <a:pt x="210" y="49"/>
                  <a:pt x="210" y="49"/>
                  <a:pt x="210" y="49"/>
                </a:cubicBezTo>
                <a:cubicBezTo>
                  <a:pt x="210" y="49"/>
                  <a:pt x="210" y="49"/>
                  <a:pt x="210" y="49"/>
                </a:cubicBezTo>
                <a:cubicBezTo>
                  <a:pt x="209" y="49"/>
                  <a:pt x="209" y="49"/>
                  <a:pt x="209" y="49"/>
                </a:cubicBezTo>
                <a:cubicBezTo>
                  <a:pt x="209" y="49"/>
                  <a:pt x="209" y="49"/>
                  <a:pt x="209" y="49"/>
                </a:cubicBezTo>
                <a:cubicBezTo>
                  <a:pt x="209" y="50"/>
                  <a:pt x="209" y="50"/>
                  <a:pt x="209" y="50"/>
                </a:cubicBezTo>
                <a:cubicBezTo>
                  <a:pt x="209" y="50"/>
                  <a:pt x="209" y="50"/>
                  <a:pt x="209" y="50"/>
                </a:cubicBezTo>
                <a:cubicBezTo>
                  <a:pt x="208" y="51"/>
                  <a:pt x="208" y="51"/>
                  <a:pt x="208" y="51"/>
                </a:cubicBezTo>
                <a:cubicBezTo>
                  <a:pt x="209" y="52"/>
                  <a:pt x="209" y="52"/>
                  <a:pt x="209" y="52"/>
                </a:cubicBezTo>
                <a:cubicBezTo>
                  <a:pt x="209" y="52"/>
                  <a:pt x="209" y="52"/>
                  <a:pt x="209" y="52"/>
                </a:cubicBezTo>
                <a:cubicBezTo>
                  <a:pt x="210" y="52"/>
                  <a:pt x="210" y="52"/>
                  <a:pt x="210" y="52"/>
                </a:cubicBezTo>
                <a:cubicBezTo>
                  <a:pt x="212" y="51"/>
                  <a:pt x="212" y="51"/>
                  <a:pt x="212" y="51"/>
                </a:cubicBezTo>
                <a:cubicBezTo>
                  <a:pt x="213" y="51"/>
                  <a:pt x="213" y="51"/>
                  <a:pt x="213" y="51"/>
                </a:cubicBezTo>
                <a:cubicBezTo>
                  <a:pt x="213" y="51"/>
                  <a:pt x="215" y="51"/>
                  <a:pt x="215" y="51"/>
                </a:cubicBezTo>
                <a:cubicBezTo>
                  <a:pt x="216" y="51"/>
                  <a:pt x="218" y="51"/>
                  <a:pt x="218" y="51"/>
                </a:cubicBezTo>
                <a:cubicBezTo>
                  <a:pt x="218" y="51"/>
                  <a:pt x="218" y="51"/>
                  <a:pt x="218" y="51"/>
                </a:cubicBezTo>
                <a:cubicBezTo>
                  <a:pt x="219" y="52"/>
                  <a:pt x="219" y="52"/>
                  <a:pt x="219" y="52"/>
                </a:cubicBezTo>
                <a:cubicBezTo>
                  <a:pt x="220" y="52"/>
                  <a:pt x="220" y="52"/>
                  <a:pt x="220" y="52"/>
                </a:cubicBezTo>
                <a:cubicBezTo>
                  <a:pt x="220" y="51"/>
                  <a:pt x="220" y="51"/>
                  <a:pt x="220" y="51"/>
                </a:cubicBezTo>
                <a:cubicBezTo>
                  <a:pt x="221" y="51"/>
                  <a:pt x="221" y="51"/>
                  <a:pt x="221" y="51"/>
                </a:cubicBezTo>
                <a:cubicBezTo>
                  <a:pt x="221" y="51"/>
                  <a:pt x="221" y="51"/>
                  <a:pt x="221" y="51"/>
                </a:cubicBezTo>
                <a:cubicBezTo>
                  <a:pt x="222" y="52"/>
                  <a:pt x="222" y="52"/>
                  <a:pt x="222" y="52"/>
                </a:cubicBezTo>
                <a:cubicBezTo>
                  <a:pt x="223" y="50"/>
                  <a:pt x="223" y="50"/>
                  <a:pt x="223" y="50"/>
                </a:cubicBezTo>
                <a:cubicBezTo>
                  <a:pt x="223" y="48"/>
                  <a:pt x="223" y="48"/>
                  <a:pt x="223" y="48"/>
                </a:cubicBezTo>
                <a:cubicBezTo>
                  <a:pt x="223" y="47"/>
                  <a:pt x="223" y="47"/>
                  <a:pt x="223" y="47"/>
                </a:cubicBezTo>
                <a:cubicBezTo>
                  <a:pt x="224" y="46"/>
                  <a:pt x="224" y="46"/>
                  <a:pt x="224" y="46"/>
                </a:cubicBezTo>
                <a:cubicBezTo>
                  <a:pt x="224" y="46"/>
                  <a:pt x="224" y="46"/>
                  <a:pt x="224" y="46"/>
                </a:cubicBezTo>
                <a:cubicBezTo>
                  <a:pt x="224" y="45"/>
                  <a:pt x="224" y="45"/>
                  <a:pt x="224" y="45"/>
                </a:cubicBezTo>
                <a:cubicBezTo>
                  <a:pt x="225" y="44"/>
                  <a:pt x="225" y="44"/>
                  <a:pt x="225" y="44"/>
                </a:cubicBezTo>
                <a:cubicBezTo>
                  <a:pt x="226" y="44"/>
                  <a:pt x="226" y="44"/>
                  <a:pt x="226" y="44"/>
                </a:cubicBezTo>
                <a:cubicBezTo>
                  <a:pt x="227" y="45"/>
                  <a:pt x="227" y="45"/>
                  <a:pt x="227" y="45"/>
                </a:cubicBezTo>
                <a:cubicBezTo>
                  <a:pt x="229" y="44"/>
                  <a:pt x="229" y="44"/>
                  <a:pt x="229" y="44"/>
                </a:cubicBezTo>
                <a:cubicBezTo>
                  <a:pt x="230" y="44"/>
                  <a:pt x="230" y="44"/>
                  <a:pt x="230" y="44"/>
                </a:cubicBezTo>
                <a:cubicBezTo>
                  <a:pt x="231" y="44"/>
                  <a:pt x="231" y="44"/>
                  <a:pt x="231" y="44"/>
                </a:cubicBezTo>
                <a:cubicBezTo>
                  <a:pt x="231" y="46"/>
                  <a:pt x="231" y="46"/>
                  <a:pt x="231" y="46"/>
                </a:cubicBezTo>
                <a:cubicBezTo>
                  <a:pt x="231" y="48"/>
                  <a:pt x="231" y="48"/>
                  <a:pt x="231" y="48"/>
                </a:cubicBezTo>
                <a:cubicBezTo>
                  <a:pt x="231" y="49"/>
                  <a:pt x="231" y="49"/>
                  <a:pt x="231" y="49"/>
                </a:cubicBezTo>
                <a:cubicBezTo>
                  <a:pt x="230" y="51"/>
                  <a:pt x="230" y="51"/>
                  <a:pt x="230" y="51"/>
                </a:cubicBezTo>
                <a:cubicBezTo>
                  <a:pt x="229" y="52"/>
                  <a:pt x="229" y="52"/>
                  <a:pt x="229" y="52"/>
                </a:cubicBezTo>
                <a:cubicBezTo>
                  <a:pt x="229" y="54"/>
                  <a:pt x="229" y="54"/>
                  <a:pt x="229" y="54"/>
                </a:cubicBezTo>
                <a:cubicBezTo>
                  <a:pt x="229" y="55"/>
                  <a:pt x="229" y="55"/>
                  <a:pt x="229" y="55"/>
                </a:cubicBezTo>
                <a:cubicBezTo>
                  <a:pt x="225" y="58"/>
                  <a:pt x="225" y="58"/>
                  <a:pt x="225" y="58"/>
                </a:cubicBezTo>
                <a:cubicBezTo>
                  <a:pt x="224" y="58"/>
                  <a:pt x="224" y="58"/>
                  <a:pt x="224" y="58"/>
                </a:cubicBezTo>
                <a:cubicBezTo>
                  <a:pt x="224" y="58"/>
                  <a:pt x="224" y="58"/>
                  <a:pt x="224" y="58"/>
                </a:cubicBezTo>
                <a:cubicBezTo>
                  <a:pt x="223" y="58"/>
                  <a:pt x="223" y="58"/>
                  <a:pt x="223" y="58"/>
                </a:cubicBezTo>
                <a:cubicBezTo>
                  <a:pt x="222" y="59"/>
                  <a:pt x="222" y="59"/>
                  <a:pt x="222" y="59"/>
                </a:cubicBezTo>
                <a:cubicBezTo>
                  <a:pt x="222" y="59"/>
                  <a:pt x="222" y="59"/>
                  <a:pt x="222" y="59"/>
                </a:cubicBezTo>
                <a:cubicBezTo>
                  <a:pt x="221" y="59"/>
                  <a:pt x="221" y="59"/>
                  <a:pt x="221" y="59"/>
                </a:cubicBezTo>
                <a:cubicBezTo>
                  <a:pt x="220" y="60"/>
                  <a:pt x="220" y="60"/>
                  <a:pt x="220" y="60"/>
                </a:cubicBezTo>
                <a:cubicBezTo>
                  <a:pt x="220" y="61"/>
                  <a:pt x="220" y="61"/>
                  <a:pt x="220" y="61"/>
                </a:cubicBezTo>
                <a:cubicBezTo>
                  <a:pt x="219" y="62"/>
                  <a:pt x="219" y="62"/>
                  <a:pt x="219" y="62"/>
                </a:cubicBezTo>
                <a:cubicBezTo>
                  <a:pt x="218" y="63"/>
                  <a:pt x="218" y="63"/>
                  <a:pt x="218" y="63"/>
                </a:cubicBezTo>
                <a:cubicBezTo>
                  <a:pt x="218" y="63"/>
                  <a:pt x="218" y="63"/>
                  <a:pt x="218" y="63"/>
                </a:cubicBezTo>
                <a:cubicBezTo>
                  <a:pt x="217" y="62"/>
                  <a:pt x="217" y="62"/>
                  <a:pt x="217" y="62"/>
                </a:cubicBezTo>
                <a:cubicBezTo>
                  <a:pt x="217" y="63"/>
                  <a:pt x="217" y="63"/>
                  <a:pt x="217" y="63"/>
                </a:cubicBezTo>
                <a:cubicBezTo>
                  <a:pt x="217" y="63"/>
                  <a:pt x="217" y="63"/>
                  <a:pt x="217" y="63"/>
                </a:cubicBezTo>
                <a:cubicBezTo>
                  <a:pt x="217" y="64"/>
                  <a:pt x="217" y="64"/>
                  <a:pt x="217" y="64"/>
                </a:cubicBezTo>
                <a:cubicBezTo>
                  <a:pt x="216" y="66"/>
                  <a:pt x="216" y="66"/>
                  <a:pt x="216" y="66"/>
                </a:cubicBezTo>
                <a:cubicBezTo>
                  <a:pt x="215" y="67"/>
                  <a:pt x="215" y="67"/>
                  <a:pt x="215" y="67"/>
                </a:cubicBezTo>
                <a:cubicBezTo>
                  <a:pt x="214" y="67"/>
                  <a:pt x="214" y="67"/>
                  <a:pt x="214" y="67"/>
                </a:cubicBezTo>
                <a:cubicBezTo>
                  <a:pt x="213" y="69"/>
                  <a:pt x="213" y="69"/>
                  <a:pt x="213" y="69"/>
                </a:cubicBezTo>
                <a:cubicBezTo>
                  <a:pt x="211" y="70"/>
                  <a:pt x="211" y="70"/>
                  <a:pt x="211" y="70"/>
                </a:cubicBezTo>
                <a:cubicBezTo>
                  <a:pt x="210" y="70"/>
                  <a:pt x="210" y="70"/>
                  <a:pt x="210" y="70"/>
                </a:cubicBezTo>
                <a:cubicBezTo>
                  <a:pt x="209" y="71"/>
                  <a:pt x="209" y="71"/>
                  <a:pt x="209" y="71"/>
                </a:cubicBezTo>
                <a:cubicBezTo>
                  <a:pt x="209" y="72"/>
                  <a:pt x="209" y="72"/>
                  <a:pt x="209" y="72"/>
                </a:cubicBezTo>
                <a:cubicBezTo>
                  <a:pt x="208" y="72"/>
                  <a:pt x="208" y="72"/>
                  <a:pt x="208" y="72"/>
                </a:cubicBezTo>
                <a:cubicBezTo>
                  <a:pt x="208" y="73"/>
                  <a:pt x="208" y="73"/>
                  <a:pt x="208" y="73"/>
                </a:cubicBezTo>
                <a:cubicBezTo>
                  <a:pt x="208" y="74"/>
                  <a:pt x="208" y="74"/>
                  <a:pt x="208" y="74"/>
                </a:cubicBezTo>
                <a:cubicBezTo>
                  <a:pt x="207" y="75"/>
                  <a:pt x="207" y="75"/>
                  <a:pt x="207" y="75"/>
                </a:cubicBezTo>
                <a:cubicBezTo>
                  <a:pt x="207" y="76"/>
                  <a:pt x="207" y="76"/>
                  <a:pt x="207" y="76"/>
                </a:cubicBezTo>
                <a:cubicBezTo>
                  <a:pt x="208" y="75"/>
                  <a:pt x="208" y="75"/>
                  <a:pt x="208" y="75"/>
                </a:cubicBezTo>
                <a:cubicBezTo>
                  <a:pt x="208" y="75"/>
                  <a:pt x="208" y="75"/>
                  <a:pt x="208" y="75"/>
                </a:cubicBezTo>
                <a:cubicBezTo>
                  <a:pt x="209" y="73"/>
                  <a:pt x="209" y="73"/>
                  <a:pt x="209" y="73"/>
                </a:cubicBezTo>
                <a:cubicBezTo>
                  <a:pt x="210" y="72"/>
                  <a:pt x="210" y="72"/>
                  <a:pt x="210" y="72"/>
                </a:cubicBezTo>
                <a:cubicBezTo>
                  <a:pt x="211" y="71"/>
                  <a:pt x="211" y="71"/>
                  <a:pt x="211" y="71"/>
                </a:cubicBezTo>
                <a:cubicBezTo>
                  <a:pt x="212" y="71"/>
                  <a:pt x="212" y="71"/>
                  <a:pt x="212" y="71"/>
                </a:cubicBezTo>
                <a:cubicBezTo>
                  <a:pt x="212" y="72"/>
                  <a:pt x="212" y="72"/>
                  <a:pt x="212" y="72"/>
                </a:cubicBezTo>
                <a:cubicBezTo>
                  <a:pt x="213" y="70"/>
                  <a:pt x="213" y="70"/>
                  <a:pt x="213" y="70"/>
                </a:cubicBezTo>
                <a:cubicBezTo>
                  <a:pt x="215" y="69"/>
                  <a:pt x="215" y="69"/>
                  <a:pt x="215" y="69"/>
                </a:cubicBezTo>
                <a:cubicBezTo>
                  <a:pt x="216" y="69"/>
                  <a:pt x="216" y="69"/>
                  <a:pt x="216" y="69"/>
                </a:cubicBezTo>
                <a:cubicBezTo>
                  <a:pt x="216" y="67"/>
                  <a:pt x="216" y="67"/>
                  <a:pt x="216" y="67"/>
                </a:cubicBezTo>
                <a:cubicBezTo>
                  <a:pt x="218" y="66"/>
                  <a:pt x="218" y="66"/>
                  <a:pt x="218" y="66"/>
                </a:cubicBezTo>
                <a:cubicBezTo>
                  <a:pt x="220" y="64"/>
                  <a:pt x="220" y="64"/>
                  <a:pt x="220" y="64"/>
                </a:cubicBezTo>
                <a:cubicBezTo>
                  <a:pt x="220" y="64"/>
                  <a:pt x="220" y="64"/>
                  <a:pt x="220" y="64"/>
                </a:cubicBezTo>
                <a:cubicBezTo>
                  <a:pt x="221" y="64"/>
                  <a:pt x="221" y="64"/>
                  <a:pt x="221" y="64"/>
                </a:cubicBezTo>
                <a:cubicBezTo>
                  <a:pt x="222" y="64"/>
                  <a:pt x="222" y="64"/>
                  <a:pt x="222" y="64"/>
                </a:cubicBezTo>
                <a:cubicBezTo>
                  <a:pt x="223" y="63"/>
                  <a:pt x="223" y="63"/>
                  <a:pt x="223" y="63"/>
                </a:cubicBezTo>
                <a:cubicBezTo>
                  <a:pt x="223" y="63"/>
                  <a:pt x="223" y="63"/>
                  <a:pt x="223" y="63"/>
                </a:cubicBezTo>
                <a:cubicBezTo>
                  <a:pt x="224" y="63"/>
                  <a:pt x="224" y="63"/>
                  <a:pt x="224" y="63"/>
                </a:cubicBezTo>
                <a:cubicBezTo>
                  <a:pt x="226" y="63"/>
                  <a:pt x="226" y="63"/>
                  <a:pt x="226" y="63"/>
                </a:cubicBezTo>
                <a:cubicBezTo>
                  <a:pt x="228" y="62"/>
                  <a:pt x="228" y="62"/>
                  <a:pt x="228" y="62"/>
                </a:cubicBezTo>
                <a:cubicBezTo>
                  <a:pt x="229" y="61"/>
                  <a:pt x="229" y="61"/>
                  <a:pt x="229" y="61"/>
                </a:cubicBezTo>
                <a:cubicBezTo>
                  <a:pt x="230" y="61"/>
                  <a:pt x="230" y="61"/>
                  <a:pt x="230" y="61"/>
                </a:cubicBezTo>
                <a:cubicBezTo>
                  <a:pt x="231" y="60"/>
                  <a:pt x="231" y="60"/>
                  <a:pt x="231" y="60"/>
                </a:cubicBezTo>
                <a:cubicBezTo>
                  <a:pt x="232" y="59"/>
                  <a:pt x="232" y="59"/>
                  <a:pt x="232" y="59"/>
                </a:cubicBezTo>
                <a:cubicBezTo>
                  <a:pt x="233" y="59"/>
                  <a:pt x="233" y="59"/>
                  <a:pt x="233" y="59"/>
                </a:cubicBezTo>
                <a:cubicBezTo>
                  <a:pt x="233" y="58"/>
                  <a:pt x="233" y="58"/>
                  <a:pt x="233" y="58"/>
                </a:cubicBezTo>
                <a:cubicBezTo>
                  <a:pt x="235" y="57"/>
                  <a:pt x="235" y="57"/>
                  <a:pt x="235" y="57"/>
                </a:cubicBezTo>
                <a:cubicBezTo>
                  <a:pt x="236" y="55"/>
                  <a:pt x="236" y="55"/>
                  <a:pt x="236" y="55"/>
                </a:cubicBezTo>
                <a:cubicBezTo>
                  <a:pt x="236" y="55"/>
                  <a:pt x="236" y="55"/>
                  <a:pt x="236" y="55"/>
                </a:cubicBezTo>
                <a:cubicBezTo>
                  <a:pt x="236" y="54"/>
                  <a:pt x="236" y="54"/>
                  <a:pt x="236" y="54"/>
                </a:cubicBezTo>
                <a:cubicBezTo>
                  <a:pt x="237" y="53"/>
                  <a:pt x="237" y="53"/>
                  <a:pt x="237" y="53"/>
                </a:cubicBezTo>
                <a:cubicBezTo>
                  <a:pt x="237" y="53"/>
                  <a:pt x="237" y="53"/>
                  <a:pt x="237" y="53"/>
                </a:cubicBezTo>
                <a:cubicBezTo>
                  <a:pt x="237" y="53"/>
                  <a:pt x="237" y="53"/>
                  <a:pt x="237" y="53"/>
                </a:cubicBezTo>
                <a:cubicBezTo>
                  <a:pt x="238" y="54"/>
                  <a:pt x="238" y="54"/>
                  <a:pt x="238" y="54"/>
                </a:cubicBezTo>
                <a:cubicBezTo>
                  <a:pt x="238" y="55"/>
                  <a:pt x="238" y="55"/>
                  <a:pt x="238" y="55"/>
                </a:cubicBezTo>
                <a:cubicBezTo>
                  <a:pt x="237" y="56"/>
                  <a:pt x="237" y="56"/>
                  <a:pt x="237" y="56"/>
                </a:cubicBezTo>
                <a:cubicBezTo>
                  <a:pt x="238" y="57"/>
                  <a:pt x="238" y="57"/>
                  <a:pt x="238" y="57"/>
                </a:cubicBezTo>
                <a:cubicBezTo>
                  <a:pt x="238" y="58"/>
                  <a:pt x="238" y="58"/>
                  <a:pt x="238" y="58"/>
                </a:cubicBezTo>
                <a:cubicBezTo>
                  <a:pt x="238" y="59"/>
                  <a:pt x="238" y="59"/>
                  <a:pt x="238" y="59"/>
                </a:cubicBezTo>
                <a:cubicBezTo>
                  <a:pt x="238" y="59"/>
                  <a:pt x="238" y="59"/>
                  <a:pt x="238" y="59"/>
                </a:cubicBezTo>
                <a:cubicBezTo>
                  <a:pt x="238" y="59"/>
                  <a:pt x="238" y="59"/>
                  <a:pt x="238" y="59"/>
                </a:cubicBezTo>
                <a:cubicBezTo>
                  <a:pt x="239" y="58"/>
                  <a:pt x="239" y="58"/>
                  <a:pt x="239" y="58"/>
                </a:cubicBezTo>
                <a:cubicBezTo>
                  <a:pt x="239" y="57"/>
                  <a:pt x="239" y="57"/>
                  <a:pt x="239" y="57"/>
                </a:cubicBezTo>
                <a:cubicBezTo>
                  <a:pt x="239" y="57"/>
                  <a:pt x="239" y="57"/>
                  <a:pt x="239" y="57"/>
                </a:cubicBezTo>
                <a:cubicBezTo>
                  <a:pt x="239" y="55"/>
                  <a:pt x="239" y="55"/>
                  <a:pt x="239" y="55"/>
                </a:cubicBezTo>
                <a:cubicBezTo>
                  <a:pt x="239" y="55"/>
                  <a:pt x="239" y="55"/>
                  <a:pt x="239" y="55"/>
                </a:cubicBezTo>
                <a:cubicBezTo>
                  <a:pt x="240" y="55"/>
                  <a:pt x="240" y="55"/>
                  <a:pt x="240" y="55"/>
                </a:cubicBezTo>
                <a:cubicBezTo>
                  <a:pt x="240" y="56"/>
                  <a:pt x="240" y="56"/>
                  <a:pt x="240" y="56"/>
                </a:cubicBezTo>
                <a:cubicBezTo>
                  <a:pt x="241" y="57"/>
                  <a:pt x="241" y="57"/>
                  <a:pt x="241" y="57"/>
                </a:cubicBezTo>
                <a:cubicBezTo>
                  <a:pt x="242" y="57"/>
                  <a:pt x="242" y="57"/>
                  <a:pt x="242" y="57"/>
                </a:cubicBezTo>
                <a:cubicBezTo>
                  <a:pt x="243" y="56"/>
                  <a:pt x="243" y="56"/>
                  <a:pt x="243" y="56"/>
                </a:cubicBezTo>
                <a:cubicBezTo>
                  <a:pt x="243" y="56"/>
                  <a:pt x="243" y="56"/>
                  <a:pt x="243" y="56"/>
                </a:cubicBezTo>
                <a:cubicBezTo>
                  <a:pt x="243" y="55"/>
                  <a:pt x="243" y="55"/>
                  <a:pt x="243" y="55"/>
                </a:cubicBezTo>
                <a:cubicBezTo>
                  <a:pt x="243" y="54"/>
                  <a:pt x="243" y="54"/>
                  <a:pt x="243" y="54"/>
                </a:cubicBezTo>
                <a:cubicBezTo>
                  <a:pt x="244" y="54"/>
                  <a:pt x="244" y="54"/>
                  <a:pt x="244" y="54"/>
                </a:cubicBezTo>
                <a:cubicBezTo>
                  <a:pt x="244" y="54"/>
                  <a:pt x="244" y="54"/>
                  <a:pt x="244" y="54"/>
                </a:cubicBezTo>
                <a:cubicBezTo>
                  <a:pt x="244" y="52"/>
                  <a:pt x="244" y="52"/>
                  <a:pt x="244" y="52"/>
                </a:cubicBezTo>
                <a:cubicBezTo>
                  <a:pt x="244" y="51"/>
                  <a:pt x="244" y="51"/>
                  <a:pt x="244" y="51"/>
                </a:cubicBezTo>
                <a:cubicBezTo>
                  <a:pt x="244" y="51"/>
                  <a:pt x="244" y="51"/>
                  <a:pt x="244" y="51"/>
                </a:cubicBezTo>
                <a:cubicBezTo>
                  <a:pt x="245" y="50"/>
                  <a:pt x="245" y="50"/>
                  <a:pt x="245" y="50"/>
                </a:cubicBezTo>
                <a:cubicBezTo>
                  <a:pt x="245" y="51"/>
                  <a:pt x="245" y="51"/>
                  <a:pt x="245" y="51"/>
                </a:cubicBezTo>
                <a:cubicBezTo>
                  <a:pt x="246" y="52"/>
                  <a:pt x="246" y="52"/>
                  <a:pt x="246" y="52"/>
                </a:cubicBezTo>
                <a:cubicBezTo>
                  <a:pt x="248" y="51"/>
                  <a:pt x="248" y="51"/>
                  <a:pt x="248" y="51"/>
                </a:cubicBezTo>
                <a:cubicBezTo>
                  <a:pt x="248" y="50"/>
                  <a:pt x="248" y="50"/>
                  <a:pt x="248" y="50"/>
                </a:cubicBezTo>
                <a:cubicBezTo>
                  <a:pt x="250" y="50"/>
                  <a:pt x="250" y="50"/>
                  <a:pt x="250" y="50"/>
                </a:cubicBezTo>
                <a:cubicBezTo>
                  <a:pt x="251" y="50"/>
                  <a:pt x="251" y="50"/>
                  <a:pt x="251" y="50"/>
                </a:cubicBezTo>
                <a:cubicBezTo>
                  <a:pt x="252" y="49"/>
                  <a:pt x="252" y="49"/>
                  <a:pt x="252" y="49"/>
                </a:cubicBezTo>
                <a:cubicBezTo>
                  <a:pt x="254" y="50"/>
                  <a:pt x="254" y="50"/>
                  <a:pt x="254" y="50"/>
                </a:cubicBezTo>
                <a:cubicBezTo>
                  <a:pt x="255" y="51"/>
                  <a:pt x="255" y="51"/>
                  <a:pt x="255" y="51"/>
                </a:cubicBezTo>
                <a:cubicBezTo>
                  <a:pt x="257" y="51"/>
                  <a:pt x="257" y="51"/>
                  <a:pt x="257" y="51"/>
                </a:cubicBezTo>
                <a:cubicBezTo>
                  <a:pt x="258" y="51"/>
                  <a:pt x="258" y="51"/>
                  <a:pt x="258" y="51"/>
                </a:cubicBezTo>
                <a:cubicBezTo>
                  <a:pt x="259" y="52"/>
                  <a:pt x="259" y="52"/>
                  <a:pt x="259" y="52"/>
                </a:cubicBezTo>
                <a:cubicBezTo>
                  <a:pt x="260" y="53"/>
                  <a:pt x="260" y="53"/>
                  <a:pt x="260" y="53"/>
                </a:cubicBezTo>
                <a:cubicBezTo>
                  <a:pt x="261" y="53"/>
                  <a:pt x="261" y="53"/>
                  <a:pt x="261" y="53"/>
                </a:cubicBezTo>
                <a:cubicBezTo>
                  <a:pt x="262" y="53"/>
                  <a:pt x="262" y="53"/>
                  <a:pt x="262" y="53"/>
                </a:cubicBezTo>
                <a:cubicBezTo>
                  <a:pt x="262" y="54"/>
                  <a:pt x="262" y="54"/>
                  <a:pt x="262" y="54"/>
                </a:cubicBezTo>
                <a:cubicBezTo>
                  <a:pt x="263" y="55"/>
                  <a:pt x="263" y="55"/>
                  <a:pt x="263" y="55"/>
                </a:cubicBezTo>
                <a:cubicBezTo>
                  <a:pt x="264" y="56"/>
                  <a:pt x="264" y="56"/>
                  <a:pt x="264" y="56"/>
                </a:cubicBezTo>
                <a:cubicBezTo>
                  <a:pt x="265" y="57"/>
                  <a:pt x="265" y="57"/>
                  <a:pt x="265" y="57"/>
                </a:cubicBezTo>
                <a:cubicBezTo>
                  <a:pt x="266" y="58"/>
                  <a:pt x="266" y="58"/>
                  <a:pt x="266" y="58"/>
                </a:cubicBezTo>
                <a:cubicBezTo>
                  <a:pt x="266" y="60"/>
                  <a:pt x="266" y="60"/>
                  <a:pt x="266" y="60"/>
                </a:cubicBezTo>
                <a:cubicBezTo>
                  <a:pt x="266" y="61"/>
                  <a:pt x="266" y="61"/>
                  <a:pt x="266" y="61"/>
                </a:cubicBezTo>
                <a:cubicBezTo>
                  <a:pt x="266" y="62"/>
                  <a:pt x="266" y="62"/>
                  <a:pt x="266" y="62"/>
                </a:cubicBezTo>
                <a:cubicBezTo>
                  <a:pt x="264" y="62"/>
                  <a:pt x="264" y="62"/>
                  <a:pt x="264" y="62"/>
                </a:cubicBezTo>
                <a:cubicBezTo>
                  <a:pt x="263" y="63"/>
                  <a:pt x="263" y="63"/>
                  <a:pt x="263" y="63"/>
                </a:cubicBezTo>
                <a:cubicBezTo>
                  <a:pt x="263" y="64"/>
                  <a:pt x="263" y="64"/>
                  <a:pt x="263" y="64"/>
                </a:cubicBezTo>
                <a:cubicBezTo>
                  <a:pt x="262" y="64"/>
                  <a:pt x="262" y="64"/>
                  <a:pt x="262" y="64"/>
                </a:cubicBezTo>
                <a:cubicBezTo>
                  <a:pt x="261" y="65"/>
                  <a:pt x="261" y="65"/>
                  <a:pt x="261" y="65"/>
                </a:cubicBezTo>
                <a:cubicBezTo>
                  <a:pt x="260" y="67"/>
                  <a:pt x="260" y="67"/>
                  <a:pt x="260" y="67"/>
                </a:cubicBezTo>
                <a:cubicBezTo>
                  <a:pt x="259" y="68"/>
                  <a:pt x="259" y="68"/>
                  <a:pt x="259" y="68"/>
                </a:cubicBezTo>
                <a:cubicBezTo>
                  <a:pt x="259" y="68"/>
                  <a:pt x="259" y="68"/>
                  <a:pt x="259" y="68"/>
                </a:cubicBezTo>
                <a:cubicBezTo>
                  <a:pt x="258" y="67"/>
                  <a:pt x="258" y="67"/>
                  <a:pt x="258" y="67"/>
                </a:cubicBezTo>
                <a:cubicBezTo>
                  <a:pt x="256" y="66"/>
                  <a:pt x="256" y="66"/>
                  <a:pt x="256" y="66"/>
                </a:cubicBezTo>
                <a:cubicBezTo>
                  <a:pt x="256" y="66"/>
                  <a:pt x="256" y="66"/>
                  <a:pt x="256" y="66"/>
                </a:cubicBezTo>
                <a:cubicBezTo>
                  <a:pt x="255" y="67"/>
                  <a:pt x="255" y="67"/>
                  <a:pt x="255" y="67"/>
                </a:cubicBezTo>
                <a:cubicBezTo>
                  <a:pt x="254" y="68"/>
                  <a:pt x="254" y="68"/>
                  <a:pt x="254" y="68"/>
                </a:cubicBezTo>
                <a:cubicBezTo>
                  <a:pt x="254" y="69"/>
                  <a:pt x="254" y="69"/>
                  <a:pt x="254" y="69"/>
                </a:cubicBezTo>
                <a:cubicBezTo>
                  <a:pt x="254" y="69"/>
                  <a:pt x="254" y="69"/>
                  <a:pt x="254" y="69"/>
                </a:cubicBezTo>
                <a:cubicBezTo>
                  <a:pt x="254" y="70"/>
                  <a:pt x="254" y="70"/>
                  <a:pt x="254" y="70"/>
                </a:cubicBezTo>
                <a:cubicBezTo>
                  <a:pt x="255" y="71"/>
                  <a:pt x="255" y="71"/>
                  <a:pt x="255" y="71"/>
                </a:cubicBezTo>
                <a:cubicBezTo>
                  <a:pt x="256" y="71"/>
                  <a:pt x="256" y="71"/>
                  <a:pt x="256" y="71"/>
                </a:cubicBezTo>
                <a:cubicBezTo>
                  <a:pt x="256" y="72"/>
                  <a:pt x="256" y="72"/>
                  <a:pt x="256" y="72"/>
                </a:cubicBezTo>
                <a:cubicBezTo>
                  <a:pt x="255" y="72"/>
                  <a:pt x="255" y="72"/>
                  <a:pt x="255" y="72"/>
                </a:cubicBezTo>
                <a:cubicBezTo>
                  <a:pt x="254" y="72"/>
                  <a:pt x="254" y="72"/>
                  <a:pt x="254" y="72"/>
                </a:cubicBezTo>
                <a:cubicBezTo>
                  <a:pt x="254" y="72"/>
                  <a:pt x="254" y="72"/>
                  <a:pt x="254" y="72"/>
                </a:cubicBezTo>
                <a:cubicBezTo>
                  <a:pt x="252" y="73"/>
                  <a:pt x="252" y="73"/>
                  <a:pt x="252" y="73"/>
                </a:cubicBezTo>
                <a:cubicBezTo>
                  <a:pt x="250" y="74"/>
                  <a:pt x="250" y="74"/>
                  <a:pt x="250" y="74"/>
                </a:cubicBezTo>
                <a:cubicBezTo>
                  <a:pt x="249" y="74"/>
                  <a:pt x="249" y="74"/>
                  <a:pt x="249" y="74"/>
                </a:cubicBezTo>
                <a:cubicBezTo>
                  <a:pt x="249" y="74"/>
                  <a:pt x="249" y="74"/>
                  <a:pt x="249" y="74"/>
                </a:cubicBezTo>
                <a:cubicBezTo>
                  <a:pt x="248" y="74"/>
                  <a:pt x="248" y="74"/>
                  <a:pt x="248" y="74"/>
                </a:cubicBezTo>
                <a:cubicBezTo>
                  <a:pt x="247" y="73"/>
                  <a:pt x="247" y="73"/>
                  <a:pt x="247" y="73"/>
                </a:cubicBezTo>
                <a:cubicBezTo>
                  <a:pt x="246" y="73"/>
                  <a:pt x="246" y="73"/>
                  <a:pt x="246" y="73"/>
                </a:cubicBezTo>
                <a:cubicBezTo>
                  <a:pt x="245" y="73"/>
                  <a:pt x="245" y="73"/>
                  <a:pt x="245" y="73"/>
                </a:cubicBezTo>
                <a:cubicBezTo>
                  <a:pt x="245" y="73"/>
                  <a:pt x="245" y="73"/>
                  <a:pt x="245" y="73"/>
                </a:cubicBezTo>
                <a:cubicBezTo>
                  <a:pt x="244" y="73"/>
                  <a:pt x="244" y="73"/>
                  <a:pt x="244" y="73"/>
                </a:cubicBezTo>
                <a:cubicBezTo>
                  <a:pt x="244" y="73"/>
                  <a:pt x="244" y="73"/>
                  <a:pt x="244" y="73"/>
                </a:cubicBezTo>
                <a:cubicBezTo>
                  <a:pt x="244" y="73"/>
                  <a:pt x="244" y="73"/>
                  <a:pt x="244" y="73"/>
                </a:cubicBezTo>
                <a:cubicBezTo>
                  <a:pt x="243" y="73"/>
                  <a:pt x="243" y="73"/>
                  <a:pt x="243" y="73"/>
                </a:cubicBezTo>
                <a:cubicBezTo>
                  <a:pt x="243" y="73"/>
                  <a:pt x="243" y="73"/>
                  <a:pt x="243" y="73"/>
                </a:cubicBezTo>
                <a:cubicBezTo>
                  <a:pt x="242" y="73"/>
                  <a:pt x="242" y="73"/>
                  <a:pt x="242" y="73"/>
                </a:cubicBezTo>
                <a:cubicBezTo>
                  <a:pt x="242" y="73"/>
                  <a:pt x="242" y="73"/>
                  <a:pt x="242" y="73"/>
                </a:cubicBezTo>
                <a:cubicBezTo>
                  <a:pt x="241" y="74"/>
                  <a:pt x="241" y="74"/>
                  <a:pt x="241" y="74"/>
                </a:cubicBezTo>
                <a:cubicBezTo>
                  <a:pt x="240" y="74"/>
                  <a:pt x="240" y="74"/>
                  <a:pt x="240" y="74"/>
                </a:cubicBezTo>
                <a:cubicBezTo>
                  <a:pt x="240" y="74"/>
                  <a:pt x="240" y="74"/>
                  <a:pt x="240" y="74"/>
                </a:cubicBezTo>
                <a:cubicBezTo>
                  <a:pt x="239" y="74"/>
                  <a:pt x="239" y="74"/>
                  <a:pt x="239" y="74"/>
                </a:cubicBezTo>
                <a:cubicBezTo>
                  <a:pt x="239" y="75"/>
                  <a:pt x="239" y="75"/>
                  <a:pt x="239" y="75"/>
                </a:cubicBezTo>
                <a:cubicBezTo>
                  <a:pt x="237" y="74"/>
                  <a:pt x="237" y="74"/>
                  <a:pt x="237" y="74"/>
                </a:cubicBezTo>
                <a:cubicBezTo>
                  <a:pt x="236" y="74"/>
                  <a:pt x="236" y="74"/>
                  <a:pt x="236" y="74"/>
                </a:cubicBezTo>
                <a:cubicBezTo>
                  <a:pt x="235" y="74"/>
                  <a:pt x="235" y="74"/>
                  <a:pt x="235" y="74"/>
                </a:cubicBezTo>
                <a:cubicBezTo>
                  <a:pt x="234" y="75"/>
                  <a:pt x="234" y="75"/>
                  <a:pt x="234" y="75"/>
                </a:cubicBezTo>
                <a:cubicBezTo>
                  <a:pt x="233" y="75"/>
                  <a:pt x="233" y="75"/>
                  <a:pt x="233" y="75"/>
                </a:cubicBezTo>
                <a:cubicBezTo>
                  <a:pt x="232" y="75"/>
                  <a:pt x="232" y="75"/>
                  <a:pt x="232" y="75"/>
                </a:cubicBezTo>
                <a:cubicBezTo>
                  <a:pt x="233" y="75"/>
                  <a:pt x="233" y="75"/>
                  <a:pt x="233" y="75"/>
                </a:cubicBezTo>
                <a:cubicBezTo>
                  <a:pt x="234" y="75"/>
                  <a:pt x="234" y="75"/>
                  <a:pt x="234" y="75"/>
                </a:cubicBezTo>
                <a:cubicBezTo>
                  <a:pt x="236" y="75"/>
                  <a:pt x="236" y="75"/>
                  <a:pt x="236" y="75"/>
                </a:cubicBezTo>
                <a:cubicBezTo>
                  <a:pt x="237" y="75"/>
                  <a:pt x="237" y="75"/>
                  <a:pt x="237" y="75"/>
                </a:cubicBezTo>
                <a:cubicBezTo>
                  <a:pt x="238" y="75"/>
                  <a:pt x="238" y="75"/>
                  <a:pt x="238" y="75"/>
                </a:cubicBezTo>
                <a:cubicBezTo>
                  <a:pt x="239" y="75"/>
                  <a:pt x="239" y="75"/>
                  <a:pt x="239" y="75"/>
                </a:cubicBezTo>
                <a:cubicBezTo>
                  <a:pt x="241" y="76"/>
                  <a:pt x="241" y="76"/>
                  <a:pt x="241" y="76"/>
                </a:cubicBezTo>
                <a:cubicBezTo>
                  <a:pt x="243" y="76"/>
                  <a:pt x="243" y="76"/>
                  <a:pt x="243" y="76"/>
                </a:cubicBezTo>
                <a:cubicBezTo>
                  <a:pt x="244" y="76"/>
                  <a:pt x="244" y="76"/>
                  <a:pt x="244" y="76"/>
                </a:cubicBezTo>
                <a:cubicBezTo>
                  <a:pt x="244" y="76"/>
                  <a:pt x="244" y="76"/>
                  <a:pt x="244" y="76"/>
                </a:cubicBezTo>
                <a:cubicBezTo>
                  <a:pt x="245" y="76"/>
                  <a:pt x="245" y="76"/>
                  <a:pt x="245" y="76"/>
                </a:cubicBezTo>
                <a:cubicBezTo>
                  <a:pt x="246" y="76"/>
                  <a:pt x="246" y="76"/>
                  <a:pt x="246" y="76"/>
                </a:cubicBezTo>
                <a:cubicBezTo>
                  <a:pt x="247" y="76"/>
                  <a:pt x="247" y="76"/>
                  <a:pt x="247" y="76"/>
                </a:cubicBezTo>
                <a:cubicBezTo>
                  <a:pt x="247" y="76"/>
                  <a:pt x="247" y="76"/>
                  <a:pt x="247" y="76"/>
                </a:cubicBezTo>
                <a:cubicBezTo>
                  <a:pt x="248" y="77"/>
                  <a:pt x="248" y="77"/>
                  <a:pt x="248" y="77"/>
                </a:cubicBezTo>
                <a:cubicBezTo>
                  <a:pt x="249" y="78"/>
                  <a:pt x="249" y="78"/>
                  <a:pt x="249" y="78"/>
                </a:cubicBezTo>
                <a:cubicBezTo>
                  <a:pt x="249" y="78"/>
                  <a:pt x="249" y="78"/>
                  <a:pt x="249" y="78"/>
                </a:cubicBezTo>
                <a:cubicBezTo>
                  <a:pt x="248" y="79"/>
                  <a:pt x="248" y="79"/>
                  <a:pt x="248" y="79"/>
                </a:cubicBezTo>
                <a:cubicBezTo>
                  <a:pt x="247" y="80"/>
                  <a:pt x="247" y="80"/>
                  <a:pt x="247" y="80"/>
                </a:cubicBezTo>
                <a:cubicBezTo>
                  <a:pt x="247" y="80"/>
                  <a:pt x="247" y="80"/>
                  <a:pt x="247" y="80"/>
                </a:cubicBezTo>
                <a:cubicBezTo>
                  <a:pt x="247" y="80"/>
                  <a:pt x="247" y="80"/>
                  <a:pt x="247" y="80"/>
                </a:cubicBezTo>
                <a:cubicBezTo>
                  <a:pt x="247" y="81"/>
                  <a:pt x="247" y="81"/>
                  <a:pt x="247" y="81"/>
                </a:cubicBezTo>
                <a:cubicBezTo>
                  <a:pt x="246" y="82"/>
                  <a:pt x="246" y="82"/>
                  <a:pt x="246" y="82"/>
                </a:cubicBezTo>
                <a:cubicBezTo>
                  <a:pt x="243" y="82"/>
                  <a:pt x="243" y="82"/>
                  <a:pt x="243" y="82"/>
                </a:cubicBezTo>
                <a:cubicBezTo>
                  <a:pt x="242" y="82"/>
                  <a:pt x="242" y="82"/>
                  <a:pt x="242" y="82"/>
                </a:cubicBezTo>
                <a:cubicBezTo>
                  <a:pt x="241" y="82"/>
                  <a:pt x="241" y="82"/>
                  <a:pt x="241" y="82"/>
                </a:cubicBezTo>
                <a:cubicBezTo>
                  <a:pt x="239" y="82"/>
                  <a:pt x="239" y="82"/>
                  <a:pt x="239" y="82"/>
                </a:cubicBezTo>
                <a:cubicBezTo>
                  <a:pt x="238" y="82"/>
                  <a:pt x="238" y="82"/>
                  <a:pt x="238" y="82"/>
                </a:cubicBezTo>
                <a:cubicBezTo>
                  <a:pt x="236" y="80"/>
                  <a:pt x="236" y="80"/>
                  <a:pt x="236" y="80"/>
                </a:cubicBezTo>
                <a:cubicBezTo>
                  <a:pt x="234" y="80"/>
                  <a:pt x="234" y="80"/>
                  <a:pt x="234" y="80"/>
                </a:cubicBezTo>
                <a:cubicBezTo>
                  <a:pt x="233" y="80"/>
                  <a:pt x="233" y="80"/>
                  <a:pt x="233" y="80"/>
                </a:cubicBezTo>
                <a:cubicBezTo>
                  <a:pt x="232" y="80"/>
                  <a:pt x="232" y="80"/>
                  <a:pt x="232" y="80"/>
                </a:cubicBezTo>
                <a:cubicBezTo>
                  <a:pt x="232" y="82"/>
                  <a:pt x="232" y="82"/>
                  <a:pt x="232" y="82"/>
                </a:cubicBezTo>
                <a:cubicBezTo>
                  <a:pt x="230" y="83"/>
                  <a:pt x="230" y="83"/>
                  <a:pt x="230" y="83"/>
                </a:cubicBezTo>
                <a:cubicBezTo>
                  <a:pt x="230" y="83"/>
                  <a:pt x="230" y="83"/>
                  <a:pt x="230" y="83"/>
                </a:cubicBezTo>
                <a:cubicBezTo>
                  <a:pt x="229" y="84"/>
                  <a:pt x="229" y="84"/>
                  <a:pt x="229" y="84"/>
                </a:cubicBezTo>
                <a:cubicBezTo>
                  <a:pt x="230" y="84"/>
                  <a:pt x="230" y="84"/>
                  <a:pt x="230" y="84"/>
                </a:cubicBezTo>
                <a:cubicBezTo>
                  <a:pt x="230" y="84"/>
                  <a:pt x="230" y="84"/>
                  <a:pt x="230" y="84"/>
                </a:cubicBezTo>
                <a:cubicBezTo>
                  <a:pt x="231" y="85"/>
                  <a:pt x="231" y="85"/>
                  <a:pt x="231" y="85"/>
                </a:cubicBezTo>
                <a:cubicBezTo>
                  <a:pt x="231" y="86"/>
                  <a:pt x="231" y="86"/>
                  <a:pt x="231" y="86"/>
                </a:cubicBezTo>
                <a:cubicBezTo>
                  <a:pt x="230" y="86"/>
                  <a:pt x="230" y="86"/>
                  <a:pt x="230" y="86"/>
                </a:cubicBezTo>
                <a:cubicBezTo>
                  <a:pt x="229" y="86"/>
                  <a:pt x="229" y="86"/>
                  <a:pt x="229" y="86"/>
                </a:cubicBezTo>
                <a:cubicBezTo>
                  <a:pt x="229" y="87"/>
                  <a:pt x="229" y="87"/>
                  <a:pt x="229" y="87"/>
                </a:cubicBezTo>
                <a:cubicBezTo>
                  <a:pt x="230" y="87"/>
                  <a:pt x="230" y="87"/>
                  <a:pt x="230" y="87"/>
                </a:cubicBezTo>
                <a:cubicBezTo>
                  <a:pt x="231" y="88"/>
                  <a:pt x="231" y="88"/>
                  <a:pt x="231" y="88"/>
                </a:cubicBezTo>
                <a:cubicBezTo>
                  <a:pt x="232" y="87"/>
                  <a:pt x="232" y="87"/>
                  <a:pt x="232" y="87"/>
                </a:cubicBezTo>
                <a:cubicBezTo>
                  <a:pt x="232" y="87"/>
                  <a:pt x="232" y="87"/>
                  <a:pt x="232" y="87"/>
                </a:cubicBezTo>
                <a:cubicBezTo>
                  <a:pt x="233" y="86"/>
                  <a:pt x="233" y="86"/>
                  <a:pt x="233" y="86"/>
                </a:cubicBezTo>
                <a:cubicBezTo>
                  <a:pt x="234" y="85"/>
                  <a:pt x="234" y="85"/>
                  <a:pt x="234" y="85"/>
                </a:cubicBezTo>
                <a:cubicBezTo>
                  <a:pt x="236" y="84"/>
                  <a:pt x="236" y="84"/>
                  <a:pt x="236" y="84"/>
                </a:cubicBezTo>
                <a:cubicBezTo>
                  <a:pt x="237" y="84"/>
                  <a:pt x="237" y="84"/>
                  <a:pt x="237" y="84"/>
                </a:cubicBezTo>
                <a:cubicBezTo>
                  <a:pt x="239" y="83"/>
                  <a:pt x="239" y="83"/>
                  <a:pt x="239" y="83"/>
                </a:cubicBezTo>
                <a:cubicBezTo>
                  <a:pt x="240" y="83"/>
                  <a:pt x="240" y="83"/>
                  <a:pt x="240" y="83"/>
                </a:cubicBezTo>
                <a:cubicBezTo>
                  <a:pt x="240" y="84"/>
                  <a:pt x="240" y="84"/>
                  <a:pt x="240" y="84"/>
                </a:cubicBezTo>
                <a:cubicBezTo>
                  <a:pt x="241" y="84"/>
                  <a:pt x="241" y="84"/>
                  <a:pt x="241" y="84"/>
                </a:cubicBezTo>
                <a:cubicBezTo>
                  <a:pt x="242" y="85"/>
                  <a:pt x="242" y="85"/>
                  <a:pt x="242" y="85"/>
                </a:cubicBezTo>
                <a:cubicBezTo>
                  <a:pt x="243" y="85"/>
                  <a:pt x="243" y="85"/>
                  <a:pt x="243" y="85"/>
                </a:cubicBezTo>
                <a:cubicBezTo>
                  <a:pt x="243" y="86"/>
                  <a:pt x="243" y="86"/>
                  <a:pt x="243" y="86"/>
                </a:cubicBezTo>
                <a:cubicBezTo>
                  <a:pt x="243" y="86"/>
                  <a:pt x="243" y="86"/>
                  <a:pt x="243" y="86"/>
                </a:cubicBezTo>
                <a:cubicBezTo>
                  <a:pt x="241" y="87"/>
                  <a:pt x="241" y="87"/>
                  <a:pt x="241" y="87"/>
                </a:cubicBezTo>
                <a:cubicBezTo>
                  <a:pt x="241" y="89"/>
                  <a:pt x="241" y="89"/>
                  <a:pt x="241" y="89"/>
                </a:cubicBezTo>
                <a:cubicBezTo>
                  <a:pt x="240" y="90"/>
                  <a:pt x="240" y="90"/>
                  <a:pt x="240" y="90"/>
                </a:cubicBezTo>
                <a:cubicBezTo>
                  <a:pt x="239" y="91"/>
                  <a:pt x="239" y="91"/>
                  <a:pt x="239" y="91"/>
                </a:cubicBezTo>
                <a:cubicBezTo>
                  <a:pt x="238" y="92"/>
                  <a:pt x="238" y="92"/>
                  <a:pt x="238" y="92"/>
                </a:cubicBezTo>
                <a:cubicBezTo>
                  <a:pt x="237" y="94"/>
                  <a:pt x="237" y="94"/>
                  <a:pt x="237" y="94"/>
                </a:cubicBezTo>
                <a:cubicBezTo>
                  <a:pt x="235" y="97"/>
                  <a:pt x="235" y="97"/>
                  <a:pt x="235" y="97"/>
                </a:cubicBezTo>
                <a:cubicBezTo>
                  <a:pt x="234" y="98"/>
                  <a:pt x="234" y="98"/>
                  <a:pt x="234" y="98"/>
                </a:cubicBezTo>
                <a:cubicBezTo>
                  <a:pt x="233" y="99"/>
                  <a:pt x="233" y="99"/>
                  <a:pt x="233" y="99"/>
                </a:cubicBezTo>
                <a:cubicBezTo>
                  <a:pt x="233" y="100"/>
                  <a:pt x="233" y="100"/>
                  <a:pt x="233" y="100"/>
                </a:cubicBezTo>
                <a:cubicBezTo>
                  <a:pt x="233" y="102"/>
                  <a:pt x="233" y="102"/>
                  <a:pt x="233" y="102"/>
                </a:cubicBezTo>
                <a:cubicBezTo>
                  <a:pt x="232" y="102"/>
                  <a:pt x="232" y="102"/>
                  <a:pt x="232" y="102"/>
                </a:cubicBezTo>
                <a:cubicBezTo>
                  <a:pt x="232" y="103"/>
                  <a:pt x="232" y="103"/>
                  <a:pt x="232" y="103"/>
                </a:cubicBezTo>
                <a:cubicBezTo>
                  <a:pt x="232" y="105"/>
                  <a:pt x="232" y="105"/>
                  <a:pt x="232" y="105"/>
                </a:cubicBezTo>
                <a:cubicBezTo>
                  <a:pt x="231" y="107"/>
                  <a:pt x="231" y="107"/>
                  <a:pt x="231" y="107"/>
                </a:cubicBezTo>
                <a:cubicBezTo>
                  <a:pt x="230" y="109"/>
                  <a:pt x="230" y="109"/>
                  <a:pt x="230" y="109"/>
                </a:cubicBezTo>
                <a:cubicBezTo>
                  <a:pt x="231" y="110"/>
                  <a:pt x="231" y="110"/>
                  <a:pt x="231" y="110"/>
                </a:cubicBezTo>
                <a:cubicBezTo>
                  <a:pt x="231" y="111"/>
                  <a:pt x="231" y="111"/>
                  <a:pt x="231" y="111"/>
                </a:cubicBezTo>
                <a:cubicBezTo>
                  <a:pt x="231" y="113"/>
                  <a:pt x="231" y="113"/>
                  <a:pt x="231" y="113"/>
                </a:cubicBezTo>
                <a:cubicBezTo>
                  <a:pt x="230" y="113"/>
                  <a:pt x="230" y="113"/>
                  <a:pt x="230" y="113"/>
                </a:cubicBezTo>
                <a:cubicBezTo>
                  <a:pt x="229" y="114"/>
                  <a:pt x="229" y="114"/>
                  <a:pt x="229" y="114"/>
                </a:cubicBezTo>
                <a:cubicBezTo>
                  <a:pt x="230" y="116"/>
                  <a:pt x="230" y="116"/>
                  <a:pt x="230" y="116"/>
                </a:cubicBezTo>
                <a:cubicBezTo>
                  <a:pt x="229" y="116"/>
                  <a:pt x="229" y="116"/>
                  <a:pt x="229" y="116"/>
                </a:cubicBezTo>
                <a:cubicBezTo>
                  <a:pt x="229" y="117"/>
                  <a:pt x="229" y="117"/>
                  <a:pt x="229" y="117"/>
                </a:cubicBezTo>
                <a:cubicBezTo>
                  <a:pt x="228" y="119"/>
                  <a:pt x="228" y="119"/>
                  <a:pt x="228" y="119"/>
                </a:cubicBezTo>
                <a:cubicBezTo>
                  <a:pt x="228" y="120"/>
                  <a:pt x="228" y="120"/>
                  <a:pt x="228" y="120"/>
                </a:cubicBezTo>
                <a:cubicBezTo>
                  <a:pt x="227" y="121"/>
                  <a:pt x="227" y="121"/>
                  <a:pt x="227" y="121"/>
                </a:cubicBezTo>
                <a:cubicBezTo>
                  <a:pt x="226" y="121"/>
                  <a:pt x="226" y="121"/>
                  <a:pt x="226" y="121"/>
                </a:cubicBezTo>
                <a:cubicBezTo>
                  <a:pt x="226" y="120"/>
                  <a:pt x="226" y="120"/>
                  <a:pt x="226" y="120"/>
                </a:cubicBezTo>
                <a:cubicBezTo>
                  <a:pt x="226" y="119"/>
                  <a:pt x="226" y="119"/>
                  <a:pt x="226" y="119"/>
                </a:cubicBezTo>
                <a:cubicBezTo>
                  <a:pt x="225" y="119"/>
                  <a:pt x="225" y="119"/>
                  <a:pt x="225" y="119"/>
                </a:cubicBezTo>
                <a:cubicBezTo>
                  <a:pt x="225" y="119"/>
                  <a:pt x="225" y="119"/>
                  <a:pt x="225" y="119"/>
                </a:cubicBezTo>
                <a:cubicBezTo>
                  <a:pt x="226" y="118"/>
                  <a:pt x="226" y="118"/>
                  <a:pt x="226" y="118"/>
                </a:cubicBezTo>
                <a:cubicBezTo>
                  <a:pt x="225" y="117"/>
                  <a:pt x="225" y="117"/>
                  <a:pt x="225" y="117"/>
                </a:cubicBezTo>
                <a:cubicBezTo>
                  <a:pt x="224" y="117"/>
                  <a:pt x="224" y="117"/>
                  <a:pt x="224" y="117"/>
                </a:cubicBezTo>
                <a:cubicBezTo>
                  <a:pt x="224" y="118"/>
                  <a:pt x="224" y="118"/>
                  <a:pt x="224" y="118"/>
                </a:cubicBezTo>
                <a:cubicBezTo>
                  <a:pt x="223" y="118"/>
                  <a:pt x="223" y="118"/>
                  <a:pt x="223" y="118"/>
                </a:cubicBezTo>
                <a:cubicBezTo>
                  <a:pt x="223" y="118"/>
                  <a:pt x="223" y="118"/>
                  <a:pt x="223" y="118"/>
                </a:cubicBezTo>
                <a:cubicBezTo>
                  <a:pt x="223" y="119"/>
                  <a:pt x="223" y="119"/>
                  <a:pt x="223" y="119"/>
                </a:cubicBezTo>
                <a:cubicBezTo>
                  <a:pt x="223" y="119"/>
                  <a:pt x="223" y="119"/>
                  <a:pt x="223" y="119"/>
                </a:cubicBezTo>
                <a:cubicBezTo>
                  <a:pt x="223" y="120"/>
                  <a:pt x="223" y="120"/>
                  <a:pt x="223" y="120"/>
                </a:cubicBezTo>
                <a:cubicBezTo>
                  <a:pt x="222" y="120"/>
                  <a:pt x="222" y="120"/>
                  <a:pt x="222" y="120"/>
                </a:cubicBezTo>
                <a:cubicBezTo>
                  <a:pt x="222" y="121"/>
                  <a:pt x="222" y="121"/>
                  <a:pt x="222" y="121"/>
                </a:cubicBezTo>
                <a:cubicBezTo>
                  <a:pt x="223" y="121"/>
                  <a:pt x="223" y="121"/>
                  <a:pt x="223" y="121"/>
                </a:cubicBezTo>
                <a:cubicBezTo>
                  <a:pt x="224" y="122"/>
                  <a:pt x="224" y="122"/>
                  <a:pt x="224" y="122"/>
                </a:cubicBezTo>
                <a:cubicBezTo>
                  <a:pt x="225" y="123"/>
                  <a:pt x="225" y="123"/>
                  <a:pt x="225" y="123"/>
                </a:cubicBezTo>
                <a:cubicBezTo>
                  <a:pt x="225" y="123"/>
                  <a:pt x="225" y="123"/>
                  <a:pt x="225" y="123"/>
                </a:cubicBezTo>
                <a:cubicBezTo>
                  <a:pt x="226" y="125"/>
                  <a:pt x="226" y="125"/>
                  <a:pt x="226" y="125"/>
                </a:cubicBezTo>
                <a:cubicBezTo>
                  <a:pt x="227" y="125"/>
                  <a:pt x="227" y="125"/>
                  <a:pt x="227" y="125"/>
                </a:cubicBezTo>
                <a:cubicBezTo>
                  <a:pt x="228" y="126"/>
                  <a:pt x="228" y="126"/>
                  <a:pt x="228" y="126"/>
                </a:cubicBezTo>
                <a:cubicBezTo>
                  <a:pt x="229" y="127"/>
                  <a:pt x="229" y="127"/>
                  <a:pt x="229" y="127"/>
                </a:cubicBezTo>
                <a:cubicBezTo>
                  <a:pt x="230" y="128"/>
                  <a:pt x="230" y="128"/>
                  <a:pt x="230" y="128"/>
                </a:cubicBezTo>
                <a:cubicBezTo>
                  <a:pt x="229" y="129"/>
                  <a:pt x="229" y="129"/>
                  <a:pt x="229" y="129"/>
                </a:cubicBezTo>
                <a:cubicBezTo>
                  <a:pt x="228" y="129"/>
                  <a:pt x="228" y="129"/>
                  <a:pt x="228" y="129"/>
                </a:cubicBezTo>
                <a:cubicBezTo>
                  <a:pt x="227" y="129"/>
                  <a:pt x="227" y="129"/>
                  <a:pt x="227" y="129"/>
                </a:cubicBezTo>
                <a:cubicBezTo>
                  <a:pt x="226" y="127"/>
                  <a:pt x="226" y="127"/>
                  <a:pt x="226" y="127"/>
                </a:cubicBezTo>
                <a:cubicBezTo>
                  <a:pt x="226" y="127"/>
                  <a:pt x="226" y="127"/>
                  <a:pt x="226" y="127"/>
                </a:cubicBezTo>
                <a:cubicBezTo>
                  <a:pt x="225" y="126"/>
                  <a:pt x="225" y="126"/>
                  <a:pt x="225" y="126"/>
                </a:cubicBezTo>
                <a:cubicBezTo>
                  <a:pt x="225" y="126"/>
                  <a:pt x="225" y="126"/>
                  <a:pt x="225" y="126"/>
                </a:cubicBezTo>
                <a:cubicBezTo>
                  <a:pt x="224" y="126"/>
                  <a:pt x="224" y="126"/>
                  <a:pt x="224" y="126"/>
                </a:cubicBezTo>
                <a:cubicBezTo>
                  <a:pt x="224" y="127"/>
                  <a:pt x="224" y="127"/>
                  <a:pt x="224" y="127"/>
                </a:cubicBezTo>
                <a:cubicBezTo>
                  <a:pt x="225" y="128"/>
                  <a:pt x="225" y="128"/>
                  <a:pt x="225" y="128"/>
                </a:cubicBezTo>
                <a:cubicBezTo>
                  <a:pt x="225" y="128"/>
                  <a:pt x="225" y="128"/>
                  <a:pt x="225" y="128"/>
                </a:cubicBezTo>
                <a:cubicBezTo>
                  <a:pt x="225" y="129"/>
                  <a:pt x="225" y="129"/>
                  <a:pt x="225" y="129"/>
                </a:cubicBezTo>
                <a:cubicBezTo>
                  <a:pt x="224" y="129"/>
                  <a:pt x="224" y="129"/>
                  <a:pt x="224" y="129"/>
                </a:cubicBezTo>
                <a:cubicBezTo>
                  <a:pt x="224" y="129"/>
                  <a:pt x="224" y="129"/>
                  <a:pt x="224" y="129"/>
                </a:cubicBezTo>
                <a:cubicBezTo>
                  <a:pt x="224" y="129"/>
                  <a:pt x="224" y="129"/>
                  <a:pt x="224" y="129"/>
                </a:cubicBezTo>
                <a:cubicBezTo>
                  <a:pt x="224" y="130"/>
                  <a:pt x="224" y="130"/>
                  <a:pt x="224" y="130"/>
                </a:cubicBezTo>
                <a:cubicBezTo>
                  <a:pt x="225" y="130"/>
                  <a:pt x="225" y="130"/>
                  <a:pt x="225" y="130"/>
                </a:cubicBezTo>
                <a:cubicBezTo>
                  <a:pt x="225" y="130"/>
                  <a:pt x="225" y="130"/>
                  <a:pt x="225" y="130"/>
                </a:cubicBezTo>
                <a:cubicBezTo>
                  <a:pt x="224" y="131"/>
                  <a:pt x="224" y="131"/>
                  <a:pt x="224" y="131"/>
                </a:cubicBezTo>
                <a:cubicBezTo>
                  <a:pt x="225" y="131"/>
                  <a:pt x="225" y="131"/>
                  <a:pt x="225" y="131"/>
                </a:cubicBezTo>
                <a:cubicBezTo>
                  <a:pt x="225" y="131"/>
                  <a:pt x="225" y="131"/>
                  <a:pt x="225" y="131"/>
                </a:cubicBezTo>
                <a:cubicBezTo>
                  <a:pt x="227" y="131"/>
                  <a:pt x="227" y="131"/>
                  <a:pt x="227" y="131"/>
                </a:cubicBezTo>
                <a:cubicBezTo>
                  <a:pt x="227" y="132"/>
                  <a:pt x="227" y="132"/>
                  <a:pt x="227" y="132"/>
                </a:cubicBezTo>
                <a:cubicBezTo>
                  <a:pt x="227" y="133"/>
                  <a:pt x="227" y="133"/>
                  <a:pt x="227" y="133"/>
                </a:cubicBezTo>
                <a:cubicBezTo>
                  <a:pt x="227" y="133"/>
                  <a:pt x="227" y="133"/>
                  <a:pt x="227" y="133"/>
                </a:cubicBezTo>
                <a:cubicBezTo>
                  <a:pt x="227" y="134"/>
                  <a:pt x="227" y="134"/>
                  <a:pt x="227" y="134"/>
                </a:cubicBezTo>
                <a:cubicBezTo>
                  <a:pt x="228" y="133"/>
                  <a:pt x="228" y="133"/>
                  <a:pt x="228" y="133"/>
                </a:cubicBezTo>
                <a:cubicBezTo>
                  <a:pt x="229" y="132"/>
                  <a:pt x="229" y="132"/>
                  <a:pt x="229" y="132"/>
                </a:cubicBezTo>
                <a:cubicBezTo>
                  <a:pt x="230" y="131"/>
                  <a:pt x="230" y="131"/>
                  <a:pt x="230" y="131"/>
                </a:cubicBezTo>
                <a:cubicBezTo>
                  <a:pt x="230" y="131"/>
                  <a:pt x="230" y="131"/>
                  <a:pt x="230" y="131"/>
                </a:cubicBezTo>
                <a:cubicBezTo>
                  <a:pt x="230" y="132"/>
                  <a:pt x="230" y="132"/>
                  <a:pt x="230" y="132"/>
                </a:cubicBezTo>
                <a:cubicBezTo>
                  <a:pt x="230" y="132"/>
                  <a:pt x="230" y="132"/>
                  <a:pt x="230" y="132"/>
                </a:cubicBezTo>
                <a:cubicBezTo>
                  <a:pt x="231" y="132"/>
                  <a:pt x="231" y="132"/>
                  <a:pt x="231" y="132"/>
                </a:cubicBezTo>
                <a:cubicBezTo>
                  <a:pt x="232" y="133"/>
                  <a:pt x="232" y="133"/>
                  <a:pt x="232" y="133"/>
                </a:cubicBezTo>
                <a:cubicBezTo>
                  <a:pt x="233" y="133"/>
                  <a:pt x="233" y="133"/>
                  <a:pt x="233" y="133"/>
                </a:cubicBezTo>
                <a:cubicBezTo>
                  <a:pt x="233" y="134"/>
                  <a:pt x="233" y="134"/>
                  <a:pt x="233" y="134"/>
                </a:cubicBezTo>
                <a:cubicBezTo>
                  <a:pt x="233" y="135"/>
                  <a:pt x="233" y="135"/>
                  <a:pt x="233" y="135"/>
                </a:cubicBezTo>
                <a:cubicBezTo>
                  <a:pt x="232" y="136"/>
                  <a:pt x="232" y="136"/>
                  <a:pt x="232" y="136"/>
                </a:cubicBezTo>
                <a:cubicBezTo>
                  <a:pt x="232" y="137"/>
                  <a:pt x="232" y="137"/>
                  <a:pt x="232" y="137"/>
                </a:cubicBezTo>
                <a:cubicBezTo>
                  <a:pt x="232" y="139"/>
                  <a:pt x="232" y="139"/>
                  <a:pt x="232" y="139"/>
                </a:cubicBezTo>
                <a:cubicBezTo>
                  <a:pt x="232" y="139"/>
                  <a:pt x="232" y="139"/>
                  <a:pt x="232" y="139"/>
                </a:cubicBezTo>
                <a:cubicBezTo>
                  <a:pt x="232" y="141"/>
                  <a:pt x="232" y="141"/>
                  <a:pt x="232" y="141"/>
                </a:cubicBezTo>
                <a:cubicBezTo>
                  <a:pt x="231" y="142"/>
                  <a:pt x="231" y="142"/>
                  <a:pt x="231" y="142"/>
                </a:cubicBezTo>
                <a:cubicBezTo>
                  <a:pt x="231" y="143"/>
                  <a:pt x="231" y="143"/>
                  <a:pt x="231" y="143"/>
                </a:cubicBezTo>
                <a:cubicBezTo>
                  <a:pt x="231" y="143"/>
                  <a:pt x="231" y="143"/>
                  <a:pt x="231" y="143"/>
                </a:cubicBezTo>
                <a:cubicBezTo>
                  <a:pt x="230" y="143"/>
                  <a:pt x="230" y="143"/>
                  <a:pt x="230" y="143"/>
                </a:cubicBezTo>
                <a:cubicBezTo>
                  <a:pt x="230" y="142"/>
                  <a:pt x="230" y="142"/>
                  <a:pt x="230" y="142"/>
                </a:cubicBezTo>
                <a:cubicBezTo>
                  <a:pt x="228" y="142"/>
                  <a:pt x="228" y="142"/>
                  <a:pt x="228" y="142"/>
                </a:cubicBezTo>
                <a:cubicBezTo>
                  <a:pt x="228" y="141"/>
                  <a:pt x="228" y="141"/>
                  <a:pt x="228" y="141"/>
                </a:cubicBezTo>
                <a:cubicBezTo>
                  <a:pt x="227" y="141"/>
                  <a:pt x="227" y="141"/>
                  <a:pt x="227" y="141"/>
                </a:cubicBezTo>
                <a:cubicBezTo>
                  <a:pt x="227" y="141"/>
                  <a:pt x="227" y="141"/>
                  <a:pt x="227" y="141"/>
                </a:cubicBezTo>
                <a:cubicBezTo>
                  <a:pt x="226" y="141"/>
                  <a:pt x="226" y="141"/>
                  <a:pt x="226" y="141"/>
                </a:cubicBezTo>
                <a:cubicBezTo>
                  <a:pt x="226" y="140"/>
                  <a:pt x="226" y="140"/>
                  <a:pt x="226" y="140"/>
                </a:cubicBezTo>
                <a:cubicBezTo>
                  <a:pt x="226" y="139"/>
                  <a:pt x="226" y="139"/>
                  <a:pt x="226" y="139"/>
                </a:cubicBezTo>
                <a:cubicBezTo>
                  <a:pt x="225" y="139"/>
                  <a:pt x="225" y="139"/>
                  <a:pt x="225" y="139"/>
                </a:cubicBezTo>
                <a:cubicBezTo>
                  <a:pt x="225" y="138"/>
                  <a:pt x="225" y="138"/>
                  <a:pt x="225" y="138"/>
                </a:cubicBezTo>
                <a:cubicBezTo>
                  <a:pt x="224" y="139"/>
                  <a:pt x="224" y="139"/>
                  <a:pt x="224" y="139"/>
                </a:cubicBezTo>
                <a:cubicBezTo>
                  <a:pt x="224" y="138"/>
                  <a:pt x="224" y="138"/>
                  <a:pt x="224" y="138"/>
                </a:cubicBezTo>
                <a:cubicBezTo>
                  <a:pt x="223" y="138"/>
                  <a:pt x="223" y="138"/>
                  <a:pt x="223" y="138"/>
                </a:cubicBezTo>
                <a:cubicBezTo>
                  <a:pt x="222" y="137"/>
                  <a:pt x="222" y="137"/>
                  <a:pt x="222" y="137"/>
                </a:cubicBezTo>
                <a:cubicBezTo>
                  <a:pt x="221" y="138"/>
                  <a:pt x="221" y="138"/>
                  <a:pt x="221" y="138"/>
                </a:cubicBezTo>
                <a:cubicBezTo>
                  <a:pt x="221" y="138"/>
                  <a:pt x="221" y="138"/>
                  <a:pt x="221" y="138"/>
                </a:cubicBezTo>
                <a:cubicBezTo>
                  <a:pt x="221" y="139"/>
                  <a:pt x="221" y="139"/>
                  <a:pt x="221" y="139"/>
                </a:cubicBezTo>
                <a:cubicBezTo>
                  <a:pt x="221" y="139"/>
                  <a:pt x="221" y="139"/>
                  <a:pt x="221" y="139"/>
                </a:cubicBezTo>
                <a:cubicBezTo>
                  <a:pt x="220" y="139"/>
                  <a:pt x="220" y="139"/>
                  <a:pt x="220" y="139"/>
                </a:cubicBezTo>
                <a:cubicBezTo>
                  <a:pt x="219" y="138"/>
                  <a:pt x="219" y="138"/>
                  <a:pt x="219" y="138"/>
                </a:cubicBezTo>
                <a:cubicBezTo>
                  <a:pt x="218" y="139"/>
                  <a:pt x="218" y="139"/>
                  <a:pt x="218" y="139"/>
                </a:cubicBezTo>
                <a:cubicBezTo>
                  <a:pt x="218" y="139"/>
                  <a:pt x="218" y="139"/>
                  <a:pt x="218" y="139"/>
                </a:cubicBezTo>
                <a:cubicBezTo>
                  <a:pt x="219" y="139"/>
                  <a:pt x="219" y="139"/>
                  <a:pt x="219" y="139"/>
                </a:cubicBezTo>
                <a:cubicBezTo>
                  <a:pt x="220" y="139"/>
                  <a:pt x="220" y="139"/>
                  <a:pt x="220" y="139"/>
                </a:cubicBezTo>
                <a:cubicBezTo>
                  <a:pt x="221" y="140"/>
                  <a:pt x="221" y="140"/>
                  <a:pt x="221" y="140"/>
                </a:cubicBezTo>
                <a:cubicBezTo>
                  <a:pt x="221" y="140"/>
                  <a:pt x="221" y="140"/>
                  <a:pt x="221" y="140"/>
                </a:cubicBezTo>
                <a:cubicBezTo>
                  <a:pt x="220" y="140"/>
                  <a:pt x="220" y="140"/>
                  <a:pt x="220" y="140"/>
                </a:cubicBezTo>
                <a:cubicBezTo>
                  <a:pt x="218" y="142"/>
                  <a:pt x="218" y="142"/>
                  <a:pt x="218" y="142"/>
                </a:cubicBezTo>
                <a:cubicBezTo>
                  <a:pt x="217" y="142"/>
                  <a:pt x="217" y="142"/>
                  <a:pt x="217" y="142"/>
                </a:cubicBezTo>
                <a:cubicBezTo>
                  <a:pt x="217" y="142"/>
                  <a:pt x="217" y="142"/>
                  <a:pt x="217" y="142"/>
                </a:cubicBezTo>
                <a:cubicBezTo>
                  <a:pt x="216" y="142"/>
                  <a:pt x="216" y="142"/>
                  <a:pt x="216" y="142"/>
                </a:cubicBezTo>
                <a:cubicBezTo>
                  <a:pt x="216" y="141"/>
                  <a:pt x="216" y="141"/>
                  <a:pt x="216" y="141"/>
                </a:cubicBezTo>
                <a:cubicBezTo>
                  <a:pt x="216" y="141"/>
                  <a:pt x="216" y="141"/>
                  <a:pt x="216" y="141"/>
                </a:cubicBezTo>
                <a:cubicBezTo>
                  <a:pt x="215" y="141"/>
                  <a:pt x="215" y="141"/>
                  <a:pt x="215" y="141"/>
                </a:cubicBezTo>
                <a:cubicBezTo>
                  <a:pt x="215" y="142"/>
                  <a:pt x="215" y="142"/>
                  <a:pt x="215" y="142"/>
                </a:cubicBezTo>
                <a:cubicBezTo>
                  <a:pt x="216" y="142"/>
                  <a:pt x="216" y="142"/>
                  <a:pt x="216" y="142"/>
                </a:cubicBezTo>
                <a:cubicBezTo>
                  <a:pt x="215" y="143"/>
                  <a:pt x="215" y="143"/>
                  <a:pt x="215" y="143"/>
                </a:cubicBezTo>
                <a:cubicBezTo>
                  <a:pt x="215" y="144"/>
                  <a:pt x="215" y="144"/>
                  <a:pt x="215" y="144"/>
                </a:cubicBezTo>
                <a:cubicBezTo>
                  <a:pt x="216" y="144"/>
                  <a:pt x="216" y="144"/>
                  <a:pt x="216" y="144"/>
                </a:cubicBezTo>
                <a:cubicBezTo>
                  <a:pt x="215" y="145"/>
                  <a:pt x="215" y="145"/>
                  <a:pt x="215" y="145"/>
                </a:cubicBezTo>
                <a:cubicBezTo>
                  <a:pt x="216" y="145"/>
                  <a:pt x="216" y="145"/>
                  <a:pt x="216" y="145"/>
                </a:cubicBezTo>
                <a:cubicBezTo>
                  <a:pt x="216" y="146"/>
                  <a:pt x="216" y="146"/>
                  <a:pt x="216" y="146"/>
                </a:cubicBezTo>
                <a:cubicBezTo>
                  <a:pt x="215" y="146"/>
                  <a:pt x="215" y="146"/>
                  <a:pt x="215" y="146"/>
                </a:cubicBezTo>
                <a:cubicBezTo>
                  <a:pt x="214" y="146"/>
                  <a:pt x="214" y="146"/>
                  <a:pt x="214" y="146"/>
                </a:cubicBezTo>
                <a:cubicBezTo>
                  <a:pt x="213" y="146"/>
                  <a:pt x="213" y="146"/>
                  <a:pt x="213" y="146"/>
                </a:cubicBezTo>
                <a:cubicBezTo>
                  <a:pt x="213" y="146"/>
                  <a:pt x="213" y="146"/>
                  <a:pt x="213" y="146"/>
                </a:cubicBezTo>
                <a:cubicBezTo>
                  <a:pt x="214" y="147"/>
                  <a:pt x="214" y="147"/>
                  <a:pt x="214" y="147"/>
                </a:cubicBezTo>
                <a:cubicBezTo>
                  <a:pt x="214" y="147"/>
                  <a:pt x="214" y="147"/>
                  <a:pt x="214" y="147"/>
                </a:cubicBezTo>
                <a:cubicBezTo>
                  <a:pt x="216" y="147"/>
                  <a:pt x="216" y="147"/>
                  <a:pt x="216" y="147"/>
                </a:cubicBezTo>
                <a:cubicBezTo>
                  <a:pt x="216" y="147"/>
                  <a:pt x="216" y="147"/>
                  <a:pt x="216" y="147"/>
                </a:cubicBezTo>
                <a:cubicBezTo>
                  <a:pt x="216" y="148"/>
                  <a:pt x="216" y="148"/>
                  <a:pt x="216" y="148"/>
                </a:cubicBezTo>
                <a:cubicBezTo>
                  <a:pt x="216" y="149"/>
                  <a:pt x="216" y="149"/>
                  <a:pt x="216" y="149"/>
                </a:cubicBezTo>
                <a:cubicBezTo>
                  <a:pt x="216" y="149"/>
                  <a:pt x="216" y="149"/>
                  <a:pt x="216" y="149"/>
                </a:cubicBezTo>
                <a:cubicBezTo>
                  <a:pt x="217" y="149"/>
                  <a:pt x="217" y="149"/>
                  <a:pt x="217" y="149"/>
                </a:cubicBezTo>
                <a:cubicBezTo>
                  <a:pt x="218" y="148"/>
                  <a:pt x="218" y="148"/>
                  <a:pt x="218" y="148"/>
                </a:cubicBezTo>
                <a:cubicBezTo>
                  <a:pt x="219" y="149"/>
                  <a:pt x="219" y="149"/>
                  <a:pt x="219" y="149"/>
                </a:cubicBezTo>
                <a:cubicBezTo>
                  <a:pt x="220" y="149"/>
                  <a:pt x="220" y="149"/>
                  <a:pt x="220" y="149"/>
                </a:cubicBezTo>
                <a:cubicBezTo>
                  <a:pt x="221" y="149"/>
                  <a:pt x="221" y="149"/>
                  <a:pt x="221" y="149"/>
                </a:cubicBezTo>
                <a:cubicBezTo>
                  <a:pt x="222" y="150"/>
                  <a:pt x="222" y="150"/>
                  <a:pt x="222" y="150"/>
                </a:cubicBezTo>
                <a:cubicBezTo>
                  <a:pt x="223" y="149"/>
                  <a:pt x="223" y="149"/>
                  <a:pt x="223" y="149"/>
                </a:cubicBezTo>
                <a:cubicBezTo>
                  <a:pt x="223" y="149"/>
                  <a:pt x="223" y="149"/>
                  <a:pt x="223" y="149"/>
                </a:cubicBezTo>
                <a:cubicBezTo>
                  <a:pt x="224" y="149"/>
                  <a:pt x="224" y="149"/>
                  <a:pt x="224" y="149"/>
                </a:cubicBezTo>
                <a:cubicBezTo>
                  <a:pt x="224" y="150"/>
                  <a:pt x="224" y="150"/>
                  <a:pt x="224" y="150"/>
                </a:cubicBezTo>
                <a:cubicBezTo>
                  <a:pt x="224" y="151"/>
                  <a:pt x="224" y="151"/>
                  <a:pt x="224" y="151"/>
                </a:cubicBezTo>
                <a:cubicBezTo>
                  <a:pt x="224" y="152"/>
                  <a:pt x="224" y="152"/>
                  <a:pt x="224" y="152"/>
                </a:cubicBezTo>
                <a:cubicBezTo>
                  <a:pt x="224" y="152"/>
                  <a:pt x="224" y="152"/>
                  <a:pt x="224" y="152"/>
                </a:cubicBezTo>
                <a:cubicBezTo>
                  <a:pt x="223" y="152"/>
                  <a:pt x="223" y="152"/>
                  <a:pt x="223" y="152"/>
                </a:cubicBezTo>
                <a:cubicBezTo>
                  <a:pt x="222" y="152"/>
                  <a:pt x="222" y="152"/>
                  <a:pt x="222" y="152"/>
                </a:cubicBezTo>
                <a:cubicBezTo>
                  <a:pt x="222" y="152"/>
                  <a:pt x="222" y="152"/>
                  <a:pt x="222" y="152"/>
                </a:cubicBezTo>
                <a:cubicBezTo>
                  <a:pt x="221" y="152"/>
                  <a:pt x="221" y="152"/>
                  <a:pt x="221" y="152"/>
                </a:cubicBezTo>
                <a:cubicBezTo>
                  <a:pt x="220" y="152"/>
                  <a:pt x="220" y="152"/>
                  <a:pt x="220" y="152"/>
                </a:cubicBezTo>
                <a:cubicBezTo>
                  <a:pt x="220" y="152"/>
                  <a:pt x="220" y="152"/>
                  <a:pt x="220" y="152"/>
                </a:cubicBezTo>
                <a:cubicBezTo>
                  <a:pt x="218" y="152"/>
                  <a:pt x="218" y="152"/>
                  <a:pt x="218" y="152"/>
                </a:cubicBezTo>
                <a:cubicBezTo>
                  <a:pt x="217" y="152"/>
                  <a:pt x="217" y="152"/>
                  <a:pt x="217" y="152"/>
                </a:cubicBezTo>
                <a:cubicBezTo>
                  <a:pt x="216" y="152"/>
                  <a:pt x="216" y="152"/>
                  <a:pt x="216" y="152"/>
                </a:cubicBezTo>
                <a:cubicBezTo>
                  <a:pt x="216" y="152"/>
                  <a:pt x="216" y="152"/>
                  <a:pt x="216" y="152"/>
                </a:cubicBezTo>
                <a:cubicBezTo>
                  <a:pt x="215" y="152"/>
                  <a:pt x="215" y="152"/>
                  <a:pt x="215" y="152"/>
                </a:cubicBezTo>
                <a:cubicBezTo>
                  <a:pt x="216" y="153"/>
                  <a:pt x="216" y="153"/>
                  <a:pt x="216" y="153"/>
                </a:cubicBezTo>
                <a:cubicBezTo>
                  <a:pt x="216" y="153"/>
                  <a:pt x="216" y="153"/>
                  <a:pt x="216" y="153"/>
                </a:cubicBezTo>
                <a:cubicBezTo>
                  <a:pt x="217" y="153"/>
                  <a:pt x="217" y="153"/>
                  <a:pt x="217" y="153"/>
                </a:cubicBezTo>
                <a:cubicBezTo>
                  <a:pt x="218" y="153"/>
                  <a:pt x="218" y="153"/>
                  <a:pt x="218" y="153"/>
                </a:cubicBezTo>
                <a:cubicBezTo>
                  <a:pt x="220" y="153"/>
                  <a:pt x="220" y="153"/>
                  <a:pt x="220" y="153"/>
                </a:cubicBezTo>
                <a:cubicBezTo>
                  <a:pt x="220" y="153"/>
                  <a:pt x="220" y="153"/>
                  <a:pt x="220" y="153"/>
                </a:cubicBezTo>
                <a:cubicBezTo>
                  <a:pt x="221" y="154"/>
                  <a:pt x="221" y="154"/>
                  <a:pt x="221" y="154"/>
                </a:cubicBezTo>
                <a:cubicBezTo>
                  <a:pt x="222" y="154"/>
                  <a:pt x="222" y="154"/>
                  <a:pt x="222" y="154"/>
                </a:cubicBezTo>
                <a:cubicBezTo>
                  <a:pt x="223" y="154"/>
                  <a:pt x="223" y="154"/>
                  <a:pt x="223" y="154"/>
                </a:cubicBezTo>
                <a:cubicBezTo>
                  <a:pt x="223" y="155"/>
                  <a:pt x="223" y="155"/>
                  <a:pt x="223" y="155"/>
                </a:cubicBezTo>
                <a:cubicBezTo>
                  <a:pt x="224" y="156"/>
                  <a:pt x="224" y="156"/>
                  <a:pt x="224" y="156"/>
                </a:cubicBezTo>
                <a:cubicBezTo>
                  <a:pt x="225" y="157"/>
                  <a:pt x="225" y="157"/>
                  <a:pt x="225" y="157"/>
                </a:cubicBezTo>
                <a:cubicBezTo>
                  <a:pt x="225" y="158"/>
                  <a:pt x="225" y="158"/>
                  <a:pt x="225" y="158"/>
                </a:cubicBezTo>
                <a:cubicBezTo>
                  <a:pt x="225" y="158"/>
                  <a:pt x="225" y="158"/>
                  <a:pt x="225" y="158"/>
                </a:cubicBezTo>
                <a:cubicBezTo>
                  <a:pt x="224" y="157"/>
                  <a:pt x="224" y="157"/>
                  <a:pt x="224" y="157"/>
                </a:cubicBezTo>
                <a:cubicBezTo>
                  <a:pt x="224" y="157"/>
                  <a:pt x="224" y="157"/>
                  <a:pt x="224" y="157"/>
                </a:cubicBezTo>
                <a:cubicBezTo>
                  <a:pt x="224" y="158"/>
                  <a:pt x="224" y="158"/>
                  <a:pt x="224" y="158"/>
                </a:cubicBezTo>
                <a:cubicBezTo>
                  <a:pt x="223" y="158"/>
                  <a:pt x="223" y="158"/>
                  <a:pt x="223" y="158"/>
                </a:cubicBezTo>
                <a:cubicBezTo>
                  <a:pt x="224" y="159"/>
                  <a:pt x="224" y="159"/>
                  <a:pt x="224" y="159"/>
                </a:cubicBezTo>
                <a:cubicBezTo>
                  <a:pt x="224" y="161"/>
                  <a:pt x="224" y="161"/>
                  <a:pt x="224" y="161"/>
                </a:cubicBezTo>
                <a:cubicBezTo>
                  <a:pt x="224" y="161"/>
                  <a:pt x="224" y="161"/>
                  <a:pt x="224" y="161"/>
                </a:cubicBezTo>
                <a:cubicBezTo>
                  <a:pt x="224" y="162"/>
                  <a:pt x="224" y="162"/>
                  <a:pt x="224" y="162"/>
                </a:cubicBezTo>
                <a:cubicBezTo>
                  <a:pt x="224" y="163"/>
                  <a:pt x="224" y="163"/>
                  <a:pt x="224" y="163"/>
                </a:cubicBezTo>
                <a:cubicBezTo>
                  <a:pt x="224" y="164"/>
                  <a:pt x="224" y="164"/>
                  <a:pt x="224" y="164"/>
                </a:cubicBezTo>
                <a:cubicBezTo>
                  <a:pt x="223" y="166"/>
                  <a:pt x="223" y="166"/>
                  <a:pt x="223" y="166"/>
                </a:cubicBezTo>
                <a:cubicBezTo>
                  <a:pt x="222" y="166"/>
                  <a:pt x="222" y="166"/>
                  <a:pt x="222" y="166"/>
                </a:cubicBezTo>
                <a:cubicBezTo>
                  <a:pt x="222" y="166"/>
                  <a:pt x="222" y="166"/>
                  <a:pt x="222" y="166"/>
                </a:cubicBezTo>
                <a:cubicBezTo>
                  <a:pt x="221" y="166"/>
                  <a:pt x="221" y="166"/>
                  <a:pt x="221" y="166"/>
                </a:cubicBezTo>
                <a:cubicBezTo>
                  <a:pt x="220" y="165"/>
                  <a:pt x="220" y="165"/>
                  <a:pt x="220" y="165"/>
                </a:cubicBezTo>
                <a:cubicBezTo>
                  <a:pt x="221" y="164"/>
                  <a:pt x="221" y="164"/>
                  <a:pt x="221" y="164"/>
                </a:cubicBezTo>
                <a:cubicBezTo>
                  <a:pt x="221" y="164"/>
                  <a:pt x="221" y="164"/>
                  <a:pt x="221" y="164"/>
                </a:cubicBezTo>
                <a:cubicBezTo>
                  <a:pt x="220" y="164"/>
                  <a:pt x="220" y="164"/>
                  <a:pt x="220" y="164"/>
                </a:cubicBezTo>
                <a:cubicBezTo>
                  <a:pt x="220" y="164"/>
                  <a:pt x="220" y="164"/>
                  <a:pt x="220" y="164"/>
                </a:cubicBezTo>
                <a:cubicBezTo>
                  <a:pt x="219" y="164"/>
                  <a:pt x="219" y="164"/>
                  <a:pt x="219" y="164"/>
                </a:cubicBezTo>
                <a:cubicBezTo>
                  <a:pt x="218" y="162"/>
                  <a:pt x="218" y="162"/>
                  <a:pt x="218" y="162"/>
                </a:cubicBezTo>
                <a:cubicBezTo>
                  <a:pt x="217" y="161"/>
                  <a:pt x="217" y="161"/>
                  <a:pt x="217" y="161"/>
                </a:cubicBezTo>
                <a:cubicBezTo>
                  <a:pt x="215" y="160"/>
                  <a:pt x="215" y="160"/>
                  <a:pt x="215" y="160"/>
                </a:cubicBezTo>
                <a:cubicBezTo>
                  <a:pt x="215" y="159"/>
                  <a:pt x="215" y="159"/>
                  <a:pt x="215" y="159"/>
                </a:cubicBezTo>
                <a:cubicBezTo>
                  <a:pt x="215" y="158"/>
                  <a:pt x="215" y="158"/>
                  <a:pt x="215" y="158"/>
                </a:cubicBezTo>
                <a:cubicBezTo>
                  <a:pt x="214" y="157"/>
                  <a:pt x="214" y="157"/>
                  <a:pt x="214" y="157"/>
                </a:cubicBezTo>
                <a:cubicBezTo>
                  <a:pt x="213" y="157"/>
                  <a:pt x="213" y="157"/>
                  <a:pt x="213" y="157"/>
                </a:cubicBezTo>
                <a:cubicBezTo>
                  <a:pt x="213" y="157"/>
                  <a:pt x="213" y="157"/>
                  <a:pt x="213" y="157"/>
                </a:cubicBezTo>
                <a:cubicBezTo>
                  <a:pt x="213" y="157"/>
                  <a:pt x="213" y="157"/>
                  <a:pt x="213" y="157"/>
                </a:cubicBezTo>
                <a:cubicBezTo>
                  <a:pt x="213" y="157"/>
                  <a:pt x="213" y="157"/>
                  <a:pt x="213" y="157"/>
                </a:cubicBezTo>
                <a:cubicBezTo>
                  <a:pt x="214" y="159"/>
                  <a:pt x="214" y="159"/>
                  <a:pt x="214" y="159"/>
                </a:cubicBezTo>
                <a:cubicBezTo>
                  <a:pt x="214" y="159"/>
                  <a:pt x="214" y="159"/>
                  <a:pt x="214" y="159"/>
                </a:cubicBezTo>
                <a:cubicBezTo>
                  <a:pt x="214" y="160"/>
                  <a:pt x="214" y="160"/>
                  <a:pt x="214" y="160"/>
                </a:cubicBezTo>
                <a:cubicBezTo>
                  <a:pt x="212" y="160"/>
                  <a:pt x="212" y="160"/>
                  <a:pt x="212" y="160"/>
                </a:cubicBezTo>
                <a:cubicBezTo>
                  <a:pt x="212" y="159"/>
                  <a:pt x="212" y="159"/>
                  <a:pt x="212" y="159"/>
                </a:cubicBezTo>
                <a:cubicBezTo>
                  <a:pt x="211" y="158"/>
                  <a:pt x="211" y="158"/>
                  <a:pt x="211" y="158"/>
                </a:cubicBezTo>
                <a:cubicBezTo>
                  <a:pt x="210" y="157"/>
                  <a:pt x="210" y="157"/>
                  <a:pt x="210" y="157"/>
                </a:cubicBezTo>
                <a:cubicBezTo>
                  <a:pt x="210" y="158"/>
                  <a:pt x="210" y="158"/>
                  <a:pt x="210" y="158"/>
                </a:cubicBezTo>
                <a:cubicBezTo>
                  <a:pt x="210" y="159"/>
                  <a:pt x="210" y="159"/>
                  <a:pt x="210" y="159"/>
                </a:cubicBezTo>
                <a:cubicBezTo>
                  <a:pt x="211" y="160"/>
                  <a:pt x="211" y="160"/>
                  <a:pt x="211" y="160"/>
                </a:cubicBezTo>
                <a:cubicBezTo>
                  <a:pt x="213" y="161"/>
                  <a:pt x="213" y="161"/>
                  <a:pt x="213" y="161"/>
                </a:cubicBezTo>
                <a:cubicBezTo>
                  <a:pt x="215" y="161"/>
                  <a:pt x="215" y="161"/>
                  <a:pt x="215" y="161"/>
                </a:cubicBezTo>
                <a:cubicBezTo>
                  <a:pt x="217" y="162"/>
                  <a:pt x="217" y="162"/>
                  <a:pt x="217" y="162"/>
                </a:cubicBezTo>
                <a:cubicBezTo>
                  <a:pt x="219" y="164"/>
                  <a:pt x="219" y="164"/>
                  <a:pt x="219" y="164"/>
                </a:cubicBezTo>
                <a:cubicBezTo>
                  <a:pt x="219" y="165"/>
                  <a:pt x="219" y="165"/>
                  <a:pt x="219" y="165"/>
                </a:cubicBezTo>
                <a:cubicBezTo>
                  <a:pt x="219" y="166"/>
                  <a:pt x="219" y="166"/>
                  <a:pt x="219" y="166"/>
                </a:cubicBezTo>
                <a:cubicBezTo>
                  <a:pt x="218" y="165"/>
                  <a:pt x="218" y="165"/>
                  <a:pt x="218" y="165"/>
                </a:cubicBezTo>
                <a:cubicBezTo>
                  <a:pt x="217" y="165"/>
                  <a:pt x="217" y="165"/>
                  <a:pt x="217" y="165"/>
                </a:cubicBezTo>
                <a:cubicBezTo>
                  <a:pt x="216" y="165"/>
                  <a:pt x="216" y="165"/>
                  <a:pt x="216" y="165"/>
                </a:cubicBezTo>
                <a:cubicBezTo>
                  <a:pt x="216" y="165"/>
                  <a:pt x="216" y="165"/>
                  <a:pt x="216" y="165"/>
                </a:cubicBezTo>
                <a:cubicBezTo>
                  <a:pt x="214" y="167"/>
                  <a:pt x="214" y="167"/>
                  <a:pt x="214" y="167"/>
                </a:cubicBezTo>
                <a:cubicBezTo>
                  <a:pt x="214" y="167"/>
                  <a:pt x="214" y="167"/>
                  <a:pt x="214" y="167"/>
                </a:cubicBezTo>
                <a:cubicBezTo>
                  <a:pt x="213" y="166"/>
                  <a:pt x="213" y="166"/>
                  <a:pt x="213" y="166"/>
                </a:cubicBezTo>
                <a:cubicBezTo>
                  <a:pt x="212" y="165"/>
                  <a:pt x="212" y="165"/>
                  <a:pt x="212" y="165"/>
                </a:cubicBezTo>
                <a:cubicBezTo>
                  <a:pt x="213" y="165"/>
                  <a:pt x="213" y="165"/>
                  <a:pt x="213" y="165"/>
                </a:cubicBezTo>
                <a:cubicBezTo>
                  <a:pt x="212" y="164"/>
                  <a:pt x="212" y="164"/>
                  <a:pt x="212" y="164"/>
                </a:cubicBezTo>
                <a:cubicBezTo>
                  <a:pt x="212" y="164"/>
                  <a:pt x="212" y="164"/>
                  <a:pt x="212" y="164"/>
                </a:cubicBezTo>
                <a:cubicBezTo>
                  <a:pt x="212" y="165"/>
                  <a:pt x="212" y="165"/>
                  <a:pt x="212" y="165"/>
                </a:cubicBezTo>
                <a:cubicBezTo>
                  <a:pt x="212" y="165"/>
                  <a:pt x="212" y="165"/>
                  <a:pt x="212" y="165"/>
                </a:cubicBezTo>
                <a:cubicBezTo>
                  <a:pt x="212" y="166"/>
                  <a:pt x="212" y="166"/>
                  <a:pt x="212" y="166"/>
                </a:cubicBezTo>
                <a:cubicBezTo>
                  <a:pt x="213" y="167"/>
                  <a:pt x="213" y="167"/>
                  <a:pt x="213" y="167"/>
                </a:cubicBezTo>
                <a:cubicBezTo>
                  <a:pt x="214" y="167"/>
                  <a:pt x="214" y="167"/>
                  <a:pt x="214" y="167"/>
                </a:cubicBezTo>
                <a:cubicBezTo>
                  <a:pt x="215" y="167"/>
                  <a:pt x="215" y="167"/>
                  <a:pt x="215" y="167"/>
                </a:cubicBezTo>
                <a:cubicBezTo>
                  <a:pt x="216" y="166"/>
                  <a:pt x="216" y="166"/>
                  <a:pt x="216" y="166"/>
                </a:cubicBezTo>
                <a:cubicBezTo>
                  <a:pt x="217" y="166"/>
                  <a:pt x="217" y="166"/>
                  <a:pt x="217" y="166"/>
                </a:cubicBezTo>
                <a:cubicBezTo>
                  <a:pt x="218" y="167"/>
                  <a:pt x="218" y="167"/>
                  <a:pt x="218" y="167"/>
                </a:cubicBezTo>
                <a:cubicBezTo>
                  <a:pt x="218" y="167"/>
                  <a:pt x="218" y="167"/>
                  <a:pt x="218" y="167"/>
                </a:cubicBezTo>
                <a:cubicBezTo>
                  <a:pt x="218" y="168"/>
                  <a:pt x="218" y="168"/>
                  <a:pt x="218" y="168"/>
                </a:cubicBezTo>
                <a:cubicBezTo>
                  <a:pt x="217" y="170"/>
                  <a:pt x="217" y="170"/>
                  <a:pt x="217" y="170"/>
                </a:cubicBezTo>
                <a:cubicBezTo>
                  <a:pt x="217" y="171"/>
                  <a:pt x="217" y="171"/>
                  <a:pt x="217" y="171"/>
                </a:cubicBezTo>
                <a:cubicBezTo>
                  <a:pt x="216" y="171"/>
                  <a:pt x="216" y="171"/>
                  <a:pt x="216" y="171"/>
                </a:cubicBezTo>
                <a:cubicBezTo>
                  <a:pt x="216" y="171"/>
                  <a:pt x="216" y="171"/>
                  <a:pt x="216" y="171"/>
                </a:cubicBezTo>
                <a:cubicBezTo>
                  <a:pt x="217" y="172"/>
                  <a:pt x="217" y="172"/>
                  <a:pt x="217" y="172"/>
                </a:cubicBezTo>
                <a:cubicBezTo>
                  <a:pt x="218" y="171"/>
                  <a:pt x="218" y="171"/>
                  <a:pt x="218" y="171"/>
                </a:cubicBezTo>
                <a:cubicBezTo>
                  <a:pt x="219" y="171"/>
                  <a:pt x="219" y="171"/>
                  <a:pt x="219" y="171"/>
                </a:cubicBezTo>
                <a:cubicBezTo>
                  <a:pt x="220" y="173"/>
                  <a:pt x="220" y="173"/>
                  <a:pt x="220" y="173"/>
                </a:cubicBezTo>
                <a:cubicBezTo>
                  <a:pt x="221" y="173"/>
                  <a:pt x="221" y="173"/>
                  <a:pt x="221" y="173"/>
                </a:cubicBezTo>
                <a:cubicBezTo>
                  <a:pt x="222" y="173"/>
                  <a:pt x="222" y="173"/>
                  <a:pt x="222" y="173"/>
                </a:cubicBezTo>
                <a:cubicBezTo>
                  <a:pt x="223" y="172"/>
                  <a:pt x="223" y="172"/>
                  <a:pt x="223" y="172"/>
                </a:cubicBezTo>
                <a:cubicBezTo>
                  <a:pt x="224" y="173"/>
                  <a:pt x="224" y="173"/>
                  <a:pt x="224" y="173"/>
                </a:cubicBezTo>
                <a:cubicBezTo>
                  <a:pt x="224" y="173"/>
                  <a:pt x="224" y="173"/>
                  <a:pt x="224" y="173"/>
                </a:cubicBezTo>
                <a:cubicBezTo>
                  <a:pt x="223" y="174"/>
                  <a:pt x="223" y="174"/>
                  <a:pt x="223" y="174"/>
                </a:cubicBezTo>
                <a:cubicBezTo>
                  <a:pt x="223" y="175"/>
                  <a:pt x="223" y="175"/>
                  <a:pt x="223" y="175"/>
                </a:cubicBezTo>
                <a:cubicBezTo>
                  <a:pt x="224" y="175"/>
                  <a:pt x="224" y="175"/>
                  <a:pt x="224" y="175"/>
                </a:cubicBezTo>
                <a:cubicBezTo>
                  <a:pt x="224" y="176"/>
                  <a:pt x="224" y="176"/>
                  <a:pt x="224" y="176"/>
                </a:cubicBezTo>
                <a:cubicBezTo>
                  <a:pt x="222" y="178"/>
                  <a:pt x="222" y="178"/>
                  <a:pt x="222" y="178"/>
                </a:cubicBezTo>
                <a:cubicBezTo>
                  <a:pt x="221" y="179"/>
                  <a:pt x="221" y="179"/>
                  <a:pt x="221" y="179"/>
                </a:cubicBezTo>
                <a:cubicBezTo>
                  <a:pt x="220" y="179"/>
                  <a:pt x="220" y="179"/>
                  <a:pt x="220" y="179"/>
                </a:cubicBezTo>
                <a:cubicBezTo>
                  <a:pt x="220" y="178"/>
                  <a:pt x="220" y="178"/>
                  <a:pt x="220" y="178"/>
                </a:cubicBezTo>
                <a:cubicBezTo>
                  <a:pt x="220" y="177"/>
                  <a:pt x="220" y="177"/>
                  <a:pt x="220" y="177"/>
                </a:cubicBezTo>
                <a:cubicBezTo>
                  <a:pt x="219" y="177"/>
                  <a:pt x="219" y="177"/>
                  <a:pt x="219" y="177"/>
                </a:cubicBezTo>
                <a:cubicBezTo>
                  <a:pt x="219" y="176"/>
                  <a:pt x="219" y="176"/>
                  <a:pt x="219" y="176"/>
                </a:cubicBezTo>
                <a:cubicBezTo>
                  <a:pt x="218" y="175"/>
                  <a:pt x="218" y="175"/>
                  <a:pt x="218" y="175"/>
                </a:cubicBezTo>
                <a:cubicBezTo>
                  <a:pt x="217" y="174"/>
                  <a:pt x="217" y="174"/>
                  <a:pt x="217" y="174"/>
                </a:cubicBezTo>
                <a:cubicBezTo>
                  <a:pt x="216" y="174"/>
                  <a:pt x="216" y="174"/>
                  <a:pt x="216" y="174"/>
                </a:cubicBezTo>
                <a:cubicBezTo>
                  <a:pt x="215" y="174"/>
                  <a:pt x="215" y="174"/>
                  <a:pt x="215" y="174"/>
                </a:cubicBezTo>
                <a:cubicBezTo>
                  <a:pt x="214" y="174"/>
                  <a:pt x="214" y="174"/>
                  <a:pt x="214" y="174"/>
                </a:cubicBezTo>
                <a:cubicBezTo>
                  <a:pt x="213" y="174"/>
                  <a:pt x="213" y="174"/>
                  <a:pt x="213" y="174"/>
                </a:cubicBezTo>
                <a:cubicBezTo>
                  <a:pt x="213" y="174"/>
                  <a:pt x="213" y="174"/>
                  <a:pt x="213" y="174"/>
                </a:cubicBezTo>
                <a:cubicBezTo>
                  <a:pt x="212" y="173"/>
                  <a:pt x="212" y="173"/>
                  <a:pt x="212" y="173"/>
                </a:cubicBezTo>
                <a:cubicBezTo>
                  <a:pt x="212" y="172"/>
                  <a:pt x="212" y="172"/>
                  <a:pt x="212" y="172"/>
                </a:cubicBezTo>
                <a:cubicBezTo>
                  <a:pt x="211" y="172"/>
                  <a:pt x="211" y="172"/>
                  <a:pt x="211" y="172"/>
                </a:cubicBezTo>
                <a:cubicBezTo>
                  <a:pt x="211" y="173"/>
                  <a:pt x="211" y="173"/>
                  <a:pt x="211" y="173"/>
                </a:cubicBezTo>
                <a:cubicBezTo>
                  <a:pt x="212" y="173"/>
                  <a:pt x="212" y="173"/>
                  <a:pt x="212" y="173"/>
                </a:cubicBezTo>
                <a:cubicBezTo>
                  <a:pt x="212" y="175"/>
                  <a:pt x="212" y="175"/>
                  <a:pt x="212" y="175"/>
                </a:cubicBezTo>
                <a:cubicBezTo>
                  <a:pt x="211" y="176"/>
                  <a:pt x="211" y="176"/>
                  <a:pt x="211" y="176"/>
                </a:cubicBezTo>
                <a:cubicBezTo>
                  <a:pt x="211" y="176"/>
                  <a:pt x="211" y="176"/>
                  <a:pt x="211" y="176"/>
                </a:cubicBezTo>
                <a:cubicBezTo>
                  <a:pt x="210" y="176"/>
                  <a:pt x="210" y="176"/>
                  <a:pt x="210" y="176"/>
                </a:cubicBezTo>
                <a:cubicBezTo>
                  <a:pt x="209" y="176"/>
                  <a:pt x="209" y="176"/>
                  <a:pt x="209" y="176"/>
                </a:cubicBezTo>
                <a:cubicBezTo>
                  <a:pt x="210" y="177"/>
                  <a:pt x="210" y="177"/>
                  <a:pt x="210" y="177"/>
                </a:cubicBezTo>
                <a:cubicBezTo>
                  <a:pt x="210" y="177"/>
                  <a:pt x="210" y="177"/>
                  <a:pt x="210" y="177"/>
                </a:cubicBezTo>
                <a:cubicBezTo>
                  <a:pt x="210" y="178"/>
                  <a:pt x="210" y="178"/>
                  <a:pt x="210" y="178"/>
                </a:cubicBezTo>
                <a:cubicBezTo>
                  <a:pt x="209" y="179"/>
                  <a:pt x="209" y="179"/>
                  <a:pt x="209" y="179"/>
                </a:cubicBezTo>
                <a:cubicBezTo>
                  <a:pt x="209" y="179"/>
                  <a:pt x="209" y="179"/>
                  <a:pt x="209" y="179"/>
                </a:cubicBezTo>
                <a:cubicBezTo>
                  <a:pt x="209" y="180"/>
                  <a:pt x="209" y="180"/>
                  <a:pt x="209" y="180"/>
                </a:cubicBezTo>
                <a:cubicBezTo>
                  <a:pt x="209" y="180"/>
                  <a:pt x="209" y="180"/>
                  <a:pt x="209" y="180"/>
                </a:cubicBezTo>
                <a:cubicBezTo>
                  <a:pt x="210" y="181"/>
                  <a:pt x="210" y="181"/>
                  <a:pt x="210" y="181"/>
                </a:cubicBezTo>
                <a:cubicBezTo>
                  <a:pt x="210" y="182"/>
                  <a:pt x="210" y="182"/>
                  <a:pt x="210" y="182"/>
                </a:cubicBezTo>
                <a:cubicBezTo>
                  <a:pt x="211" y="182"/>
                  <a:pt x="211" y="182"/>
                  <a:pt x="211" y="182"/>
                </a:cubicBezTo>
                <a:cubicBezTo>
                  <a:pt x="211" y="184"/>
                  <a:pt x="211" y="184"/>
                  <a:pt x="211" y="184"/>
                </a:cubicBezTo>
                <a:cubicBezTo>
                  <a:pt x="211" y="185"/>
                  <a:pt x="211" y="185"/>
                  <a:pt x="211" y="185"/>
                </a:cubicBezTo>
                <a:cubicBezTo>
                  <a:pt x="211" y="185"/>
                  <a:pt x="211" y="185"/>
                  <a:pt x="211" y="185"/>
                </a:cubicBezTo>
                <a:cubicBezTo>
                  <a:pt x="211" y="184"/>
                  <a:pt x="211" y="184"/>
                  <a:pt x="211" y="184"/>
                </a:cubicBezTo>
                <a:cubicBezTo>
                  <a:pt x="212" y="184"/>
                  <a:pt x="212" y="184"/>
                  <a:pt x="212" y="184"/>
                </a:cubicBezTo>
                <a:cubicBezTo>
                  <a:pt x="212" y="183"/>
                  <a:pt x="212" y="183"/>
                  <a:pt x="212" y="183"/>
                </a:cubicBezTo>
                <a:cubicBezTo>
                  <a:pt x="211" y="182"/>
                  <a:pt x="211" y="182"/>
                  <a:pt x="211" y="182"/>
                </a:cubicBezTo>
                <a:cubicBezTo>
                  <a:pt x="211" y="181"/>
                  <a:pt x="211" y="181"/>
                  <a:pt x="211" y="181"/>
                </a:cubicBezTo>
                <a:cubicBezTo>
                  <a:pt x="212" y="180"/>
                  <a:pt x="212" y="180"/>
                  <a:pt x="212" y="180"/>
                </a:cubicBezTo>
                <a:cubicBezTo>
                  <a:pt x="212" y="180"/>
                  <a:pt x="212" y="180"/>
                  <a:pt x="212" y="180"/>
                </a:cubicBezTo>
                <a:cubicBezTo>
                  <a:pt x="212" y="181"/>
                  <a:pt x="212" y="181"/>
                  <a:pt x="212" y="181"/>
                </a:cubicBezTo>
                <a:cubicBezTo>
                  <a:pt x="213" y="182"/>
                  <a:pt x="213" y="182"/>
                  <a:pt x="213" y="182"/>
                </a:cubicBezTo>
                <a:cubicBezTo>
                  <a:pt x="213" y="183"/>
                  <a:pt x="213" y="183"/>
                  <a:pt x="213" y="183"/>
                </a:cubicBezTo>
                <a:cubicBezTo>
                  <a:pt x="214" y="183"/>
                  <a:pt x="214" y="183"/>
                  <a:pt x="214" y="183"/>
                </a:cubicBezTo>
                <a:cubicBezTo>
                  <a:pt x="215" y="183"/>
                  <a:pt x="215" y="183"/>
                  <a:pt x="215" y="183"/>
                </a:cubicBezTo>
                <a:cubicBezTo>
                  <a:pt x="215" y="183"/>
                  <a:pt x="215" y="183"/>
                  <a:pt x="215" y="183"/>
                </a:cubicBezTo>
                <a:cubicBezTo>
                  <a:pt x="215" y="183"/>
                  <a:pt x="215" y="183"/>
                  <a:pt x="215" y="183"/>
                </a:cubicBezTo>
                <a:cubicBezTo>
                  <a:pt x="216" y="183"/>
                  <a:pt x="216" y="183"/>
                  <a:pt x="216" y="183"/>
                </a:cubicBezTo>
                <a:cubicBezTo>
                  <a:pt x="217" y="182"/>
                  <a:pt x="217" y="182"/>
                  <a:pt x="217" y="182"/>
                </a:cubicBezTo>
                <a:cubicBezTo>
                  <a:pt x="218" y="183"/>
                  <a:pt x="218" y="183"/>
                  <a:pt x="218" y="183"/>
                </a:cubicBezTo>
                <a:cubicBezTo>
                  <a:pt x="218" y="183"/>
                  <a:pt x="218" y="183"/>
                  <a:pt x="218" y="183"/>
                </a:cubicBezTo>
                <a:cubicBezTo>
                  <a:pt x="218" y="184"/>
                  <a:pt x="218" y="184"/>
                  <a:pt x="218" y="184"/>
                </a:cubicBezTo>
                <a:cubicBezTo>
                  <a:pt x="217" y="185"/>
                  <a:pt x="217" y="185"/>
                  <a:pt x="217" y="185"/>
                </a:cubicBezTo>
                <a:cubicBezTo>
                  <a:pt x="217" y="186"/>
                  <a:pt x="217" y="186"/>
                  <a:pt x="217" y="186"/>
                </a:cubicBezTo>
                <a:cubicBezTo>
                  <a:pt x="217" y="187"/>
                  <a:pt x="217" y="187"/>
                  <a:pt x="217" y="187"/>
                </a:cubicBezTo>
                <a:cubicBezTo>
                  <a:pt x="217" y="189"/>
                  <a:pt x="217" y="189"/>
                  <a:pt x="217" y="189"/>
                </a:cubicBezTo>
                <a:cubicBezTo>
                  <a:pt x="216" y="189"/>
                  <a:pt x="216" y="189"/>
                  <a:pt x="216" y="189"/>
                </a:cubicBezTo>
                <a:cubicBezTo>
                  <a:pt x="215" y="189"/>
                  <a:pt x="215" y="189"/>
                  <a:pt x="215" y="189"/>
                </a:cubicBezTo>
                <a:cubicBezTo>
                  <a:pt x="214" y="190"/>
                  <a:pt x="214" y="190"/>
                  <a:pt x="214" y="190"/>
                </a:cubicBezTo>
                <a:cubicBezTo>
                  <a:pt x="213" y="189"/>
                  <a:pt x="213" y="189"/>
                  <a:pt x="213" y="189"/>
                </a:cubicBezTo>
                <a:cubicBezTo>
                  <a:pt x="212" y="189"/>
                  <a:pt x="212" y="189"/>
                  <a:pt x="212" y="189"/>
                </a:cubicBezTo>
                <a:cubicBezTo>
                  <a:pt x="212" y="189"/>
                  <a:pt x="212" y="189"/>
                  <a:pt x="212" y="189"/>
                </a:cubicBezTo>
                <a:cubicBezTo>
                  <a:pt x="211" y="190"/>
                  <a:pt x="211" y="190"/>
                  <a:pt x="211" y="190"/>
                </a:cubicBezTo>
                <a:cubicBezTo>
                  <a:pt x="211" y="190"/>
                  <a:pt x="211" y="190"/>
                  <a:pt x="211" y="190"/>
                </a:cubicBezTo>
                <a:cubicBezTo>
                  <a:pt x="210" y="191"/>
                  <a:pt x="210" y="191"/>
                  <a:pt x="210" y="191"/>
                </a:cubicBezTo>
                <a:cubicBezTo>
                  <a:pt x="209" y="191"/>
                  <a:pt x="209" y="191"/>
                  <a:pt x="209" y="191"/>
                </a:cubicBezTo>
                <a:cubicBezTo>
                  <a:pt x="209" y="191"/>
                  <a:pt x="209" y="191"/>
                  <a:pt x="209" y="191"/>
                </a:cubicBezTo>
                <a:cubicBezTo>
                  <a:pt x="208" y="192"/>
                  <a:pt x="208" y="192"/>
                  <a:pt x="208" y="192"/>
                </a:cubicBezTo>
                <a:cubicBezTo>
                  <a:pt x="208" y="192"/>
                  <a:pt x="208" y="192"/>
                  <a:pt x="208" y="192"/>
                </a:cubicBezTo>
                <a:cubicBezTo>
                  <a:pt x="208" y="192"/>
                  <a:pt x="208" y="192"/>
                  <a:pt x="208" y="192"/>
                </a:cubicBezTo>
                <a:cubicBezTo>
                  <a:pt x="207" y="192"/>
                  <a:pt x="207" y="192"/>
                  <a:pt x="207" y="192"/>
                </a:cubicBezTo>
                <a:cubicBezTo>
                  <a:pt x="206" y="191"/>
                  <a:pt x="206" y="191"/>
                  <a:pt x="206" y="191"/>
                </a:cubicBezTo>
                <a:cubicBezTo>
                  <a:pt x="204" y="191"/>
                  <a:pt x="204" y="191"/>
                  <a:pt x="204" y="191"/>
                </a:cubicBezTo>
                <a:cubicBezTo>
                  <a:pt x="203" y="189"/>
                  <a:pt x="203" y="189"/>
                  <a:pt x="203" y="189"/>
                </a:cubicBezTo>
                <a:cubicBezTo>
                  <a:pt x="201" y="187"/>
                  <a:pt x="201" y="187"/>
                  <a:pt x="201" y="187"/>
                </a:cubicBezTo>
                <a:cubicBezTo>
                  <a:pt x="200" y="186"/>
                  <a:pt x="200" y="186"/>
                  <a:pt x="200" y="186"/>
                </a:cubicBezTo>
                <a:cubicBezTo>
                  <a:pt x="200" y="185"/>
                  <a:pt x="200" y="185"/>
                  <a:pt x="200" y="185"/>
                </a:cubicBezTo>
                <a:cubicBezTo>
                  <a:pt x="201" y="185"/>
                  <a:pt x="201" y="185"/>
                  <a:pt x="201" y="185"/>
                </a:cubicBezTo>
                <a:cubicBezTo>
                  <a:pt x="201" y="185"/>
                  <a:pt x="201" y="185"/>
                  <a:pt x="201" y="185"/>
                </a:cubicBezTo>
                <a:cubicBezTo>
                  <a:pt x="201" y="185"/>
                  <a:pt x="201" y="185"/>
                  <a:pt x="201" y="185"/>
                </a:cubicBezTo>
                <a:cubicBezTo>
                  <a:pt x="202" y="186"/>
                  <a:pt x="202" y="186"/>
                  <a:pt x="202" y="186"/>
                </a:cubicBezTo>
                <a:cubicBezTo>
                  <a:pt x="204" y="187"/>
                  <a:pt x="204" y="187"/>
                  <a:pt x="204" y="187"/>
                </a:cubicBezTo>
                <a:cubicBezTo>
                  <a:pt x="205" y="188"/>
                  <a:pt x="205" y="188"/>
                  <a:pt x="205" y="188"/>
                </a:cubicBezTo>
                <a:cubicBezTo>
                  <a:pt x="206" y="188"/>
                  <a:pt x="206" y="188"/>
                  <a:pt x="206" y="188"/>
                </a:cubicBezTo>
                <a:cubicBezTo>
                  <a:pt x="207" y="187"/>
                  <a:pt x="207" y="187"/>
                  <a:pt x="207" y="187"/>
                </a:cubicBezTo>
                <a:cubicBezTo>
                  <a:pt x="208" y="187"/>
                  <a:pt x="208" y="187"/>
                  <a:pt x="208" y="187"/>
                </a:cubicBezTo>
                <a:cubicBezTo>
                  <a:pt x="207" y="186"/>
                  <a:pt x="207" y="186"/>
                  <a:pt x="207" y="186"/>
                </a:cubicBezTo>
                <a:cubicBezTo>
                  <a:pt x="207" y="186"/>
                  <a:pt x="207" y="186"/>
                  <a:pt x="207" y="186"/>
                </a:cubicBezTo>
                <a:cubicBezTo>
                  <a:pt x="206" y="187"/>
                  <a:pt x="206" y="187"/>
                  <a:pt x="206" y="187"/>
                </a:cubicBezTo>
                <a:cubicBezTo>
                  <a:pt x="205" y="186"/>
                  <a:pt x="205" y="186"/>
                  <a:pt x="205" y="186"/>
                </a:cubicBezTo>
                <a:cubicBezTo>
                  <a:pt x="203" y="185"/>
                  <a:pt x="203" y="185"/>
                  <a:pt x="203" y="185"/>
                </a:cubicBezTo>
                <a:cubicBezTo>
                  <a:pt x="201" y="184"/>
                  <a:pt x="201" y="184"/>
                  <a:pt x="201" y="184"/>
                </a:cubicBezTo>
                <a:cubicBezTo>
                  <a:pt x="200" y="184"/>
                  <a:pt x="200" y="184"/>
                  <a:pt x="200" y="184"/>
                </a:cubicBezTo>
                <a:cubicBezTo>
                  <a:pt x="200" y="184"/>
                  <a:pt x="200" y="184"/>
                  <a:pt x="200" y="184"/>
                </a:cubicBezTo>
                <a:cubicBezTo>
                  <a:pt x="200" y="183"/>
                  <a:pt x="200" y="183"/>
                  <a:pt x="200" y="183"/>
                </a:cubicBezTo>
                <a:cubicBezTo>
                  <a:pt x="200" y="183"/>
                  <a:pt x="200" y="183"/>
                  <a:pt x="200" y="183"/>
                </a:cubicBezTo>
                <a:cubicBezTo>
                  <a:pt x="199" y="183"/>
                  <a:pt x="199" y="183"/>
                  <a:pt x="199" y="183"/>
                </a:cubicBezTo>
                <a:cubicBezTo>
                  <a:pt x="199" y="183"/>
                  <a:pt x="199" y="183"/>
                  <a:pt x="199" y="183"/>
                </a:cubicBezTo>
                <a:cubicBezTo>
                  <a:pt x="199" y="184"/>
                  <a:pt x="199" y="184"/>
                  <a:pt x="199" y="184"/>
                </a:cubicBezTo>
                <a:cubicBezTo>
                  <a:pt x="198" y="186"/>
                  <a:pt x="198" y="186"/>
                  <a:pt x="198" y="186"/>
                </a:cubicBezTo>
                <a:cubicBezTo>
                  <a:pt x="198" y="187"/>
                  <a:pt x="198" y="187"/>
                  <a:pt x="198" y="187"/>
                </a:cubicBezTo>
                <a:cubicBezTo>
                  <a:pt x="198" y="188"/>
                  <a:pt x="198" y="188"/>
                  <a:pt x="198" y="188"/>
                </a:cubicBezTo>
                <a:cubicBezTo>
                  <a:pt x="198" y="187"/>
                  <a:pt x="198" y="187"/>
                  <a:pt x="198" y="187"/>
                </a:cubicBezTo>
                <a:cubicBezTo>
                  <a:pt x="196" y="185"/>
                  <a:pt x="196" y="185"/>
                  <a:pt x="196" y="185"/>
                </a:cubicBezTo>
                <a:cubicBezTo>
                  <a:pt x="195" y="183"/>
                  <a:pt x="195" y="183"/>
                  <a:pt x="195" y="183"/>
                </a:cubicBezTo>
                <a:cubicBezTo>
                  <a:pt x="194" y="182"/>
                  <a:pt x="194" y="182"/>
                  <a:pt x="194" y="182"/>
                </a:cubicBezTo>
                <a:cubicBezTo>
                  <a:pt x="194" y="182"/>
                  <a:pt x="194" y="182"/>
                  <a:pt x="194" y="182"/>
                </a:cubicBezTo>
                <a:cubicBezTo>
                  <a:pt x="194" y="181"/>
                  <a:pt x="194" y="181"/>
                  <a:pt x="194" y="181"/>
                </a:cubicBezTo>
                <a:cubicBezTo>
                  <a:pt x="193" y="181"/>
                  <a:pt x="193" y="181"/>
                  <a:pt x="193" y="181"/>
                </a:cubicBezTo>
                <a:cubicBezTo>
                  <a:pt x="193" y="181"/>
                  <a:pt x="193" y="181"/>
                  <a:pt x="193" y="181"/>
                </a:cubicBezTo>
                <a:cubicBezTo>
                  <a:pt x="193" y="182"/>
                  <a:pt x="193" y="182"/>
                  <a:pt x="193" y="182"/>
                </a:cubicBezTo>
                <a:cubicBezTo>
                  <a:pt x="194" y="183"/>
                  <a:pt x="194" y="183"/>
                  <a:pt x="194" y="183"/>
                </a:cubicBezTo>
                <a:cubicBezTo>
                  <a:pt x="195" y="185"/>
                  <a:pt x="195" y="185"/>
                  <a:pt x="195" y="185"/>
                </a:cubicBezTo>
                <a:cubicBezTo>
                  <a:pt x="195" y="186"/>
                  <a:pt x="195" y="186"/>
                  <a:pt x="195" y="186"/>
                </a:cubicBezTo>
                <a:cubicBezTo>
                  <a:pt x="196" y="186"/>
                  <a:pt x="196" y="186"/>
                  <a:pt x="196" y="186"/>
                </a:cubicBezTo>
                <a:cubicBezTo>
                  <a:pt x="197" y="187"/>
                  <a:pt x="197" y="187"/>
                  <a:pt x="197" y="187"/>
                </a:cubicBezTo>
                <a:cubicBezTo>
                  <a:pt x="196" y="188"/>
                  <a:pt x="196" y="188"/>
                  <a:pt x="196" y="188"/>
                </a:cubicBezTo>
                <a:cubicBezTo>
                  <a:pt x="196" y="188"/>
                  <a:pt x="196" y="188"/>
                  <a:pt x="196" y="188"/>
                </a:cubicBezTo>
                <a:cubicBezTo>
                  <a:pt x="195" y="188"/>
                  <a:pt x="195" y="188"/>
                  <a:pt x="195" y="188"/>
                </a:cubicBezTo>
                <a:cubicBezTo>
                  <a:pt x="194" y="189"/>
                  <a:pt x="194" y="189"/>
                  <a:pt x="194" y="189"/>
                </a:cubicBezTo>
                <a:cubicBezTo>
                  <a:pt x="194" y="189"/>
                  <a:pt x="194" y="189"/>
                  <a:pt x="194" y="189"/>
                </a:cubicBezTo>
                <a:cubicBezTo>
                  <a:pt x="193" y="190"/>
                  <a:pt x="193" y="190"/>
                  <a:pt x="193" y="190"/>
                </a:cubicBezTo>
                <a:cubicBezTo>
                  <a:pt x="192" y="190"/>
                  <a:pt x="192" y="190"/>
                  <a:pt x="192" y="190"/>
                </a:cubicBezTo>
                <a:cubicBezTo>
                  <a:pt x="191" y="190"/>
                  <a:pt x="191" y="190"/>
                  <a:pt x="191" y="190"/>
                </a:cubicBezTo>
                <a:cubicBezTo>
                  <a:pt x="190" y="190"/>
                  <a:pt x="190" y="190"/>
                  <a:pt x="190" y="190"/>
                </a:cubicBezTo>
                <a:cubicBezTo>
                  <a:pt x="189" y="190"/>
                  <a:pt x="189" y="190"/>
                  <a:pt x="189" y="190"/>
                </a:cubicBezTo>
                <a:cubicBezTo>
                  <a:pt x="189" y="189"/>
                  <a:pt x="189" y="189"/>
                  <a:pt x="189" y="189"/>
                </a:cubicBezTo>
                <a:cubicBezTo>
                  <a:pt x="188" y="189"/>
                  <a:pt x="188" y="189"/>
                  <a:pt x="188" y="189"/>
                </a:cubicBezTo>
                <a:cubicBezTo>
                  <a:pt x="188" y="189"/>
                  <a:pt x="188" y="189"/>
                  <a:pt x="188" y="189"/>
                </a:cubicBezTo>
                <a:cubicBezTo>
                  <a:pt x="186" y="188"/>
                  <a:pt x="186" y="188"/>
                  <a:pt x="186" y="188"/>
                </a:cubicBezTo>
                <a:cubicBezTo>
                  <a:pt x="186" y="187"/>
                  <a:pt x="186" y="187"/>
                  <a:pt x="186" y="187"/>
                </a:cubicBezTo>
                <a:cubicBezTo>
                  <a:pt x="186" y="186"/>
                  <a:pt x="186" y="186"/>
                  <a:pt x="186" y="186"/>
                </a:cubicBezTo>
                <a:cubicBezTo>
                  <a:pt x="185" y="186"/>
                  <a:pt x="185" y="186"/>
                  <a:pt x="185" y="186"/>
                </a:cubicBezTo>
                <a:cubicBezTo>
                  <a:pt x="185" y="186"/>
                  <a:pt x="185" y="186"/>
                  <a:pt x="185" y="186"/>
                </a:cubicBezTo>
                <a:cubicBezTo>
                  <a:pt x="185" y="186"/>
                  <a:pt x="185" y="186"/>
                  <a:pt x="185" y="186"/>
                </a:cubicBezTo>
                <a:cubicBezTo>
                  <a:pt x="185" y="187"/>
                  <a:pt x="185" y="187"/>
                  <a:pt x="185" y="187"/>
                </a:cubicBezTo>
                <a:cubicBezTo>
                  <a:pt x="185" y="188"/>
                  <a:pt x="185" y="188"/>
                  <a:pt x="185" y="188"/>
                </a:cubicBezTo>
                <a:cubicBezTo>
                  <a:pt x="186" y="188"/>
                  <a:pt x="186" y="188"/>
                  <a:pt x="186" y="188"/>
                </a:cubicBezTo>
                <a:cubicBezTo>
                  <a:pt x="187" y="189"/>
                  <a:pt x="187" y="189"/>
                  <a:pt x="187" y="189"/>
                </a:cubicBezTo>
                <a:cubicBezTo>
                  <a:pt x="188" y="190"/>
                  <a:pt x="188" y="190"/>
                  <a:pt x="188" y="190"/>
                </a:cubicBezTo>
                <a:cubicBezTo>
                  <a:pt x="188" y="191"/>
                  <a:pt x="188" y="191"/>
                  <a:pt x="188" y="191"/>
                </a:cubicBezTo>
                <a:cubicBezTo>
                  <a:pt x="187" y="191"/>
                  <a:pt x="187" y="191"/>
                  <a:pt x="187" y="191"/>
                </a:cubicBezTo>
                <a:cubicBezTo>
                  <a:pt x="185" y="191"/>
                  <a:pt x="185" y="191"/>
                  <a:pt x="185" y="191"/>
                </a:cubicBezTo>
                <a:cubicBezTo>
                  <a:pt x="184" y="191"/>
                  <a:pt x="184" y="191"/>
                  <a:pt x="184" y="191"/>
                </a:cubicBezTo>
                <a:cubicBezTo>
                  <a:pt x="183" y="191"/>
                  <a:pt x="183" y="191"/>
                  <a:pt x="183" y="191"/>
                </a:cubicBezTo>
                <a:cubicBezTo>
                  <a:pt x="182" y="192"/>
                  <a:pt x="182" y="192"/>
                  <a:pt x="182" y="192"/>
                </a:cubicBezTo>
                <a:cubicBezTo>
                  <a:pt x="183" y="192"/>
                  <a:pt x="183" y="192"/>
                  <a:pt x="183" y="192"/>
                </a:cubicBezTo>
                <a:cubicBezTo>
                  <a:pt x="183" y="192"/>
                  <a:pt x="183" y="192"/>
                  <a:pt x="183" y="192"/>
                </a:cubicBezTo>
                <a:cubicBezTo>
                  <a:pt x="183" y="193"/>
                  <a:pt x="183" y="193"/>
                  <a:pt x="183" y="193"/>
                </a:cubicBezTo>
                <a:cubicBezTo>
                  <a:pt x="184" y="193"/>
                  <a:pt x="184" y="193"/>
                  <a:pt x="184" y="193"/>
                </a:cubicBezTo>
                <a:cubicBezTo>
                  <a:pt x="184" y="193"/>
                  <a:pt x="184" y="193"/>
                  <a:pt x="184" y="193"/>
                </a:cubicBezTo>
                <a:cubicBezTo>
                  <a:pt x="184" y="192"/>
                  <a:pt x="184" y="192"/>
                  <a:pt x="184" y="192"/>
                </a:cubicBezTo>
                <a:cubicBezTo>
                  <a:pt x="186" y="192"/>
                  <a:pt x="186" y="192"/>
                  <a:pt x="186" y="192"/>
                </a:cubicBezTo>
                <a:cubicBezTo>
                  <a:pt x="186" y="192"/>
                  <a:pt x="186" y="192"/>
                  <a:pt x="186" y="192"/>
                </a:cubicBezTo>
                <a:cubicBezTo>
                  <a:pt x="187" y="192"/>
                  <a:pt x="187" y="193"/>
                  <a:pt x="187" y="193"/>
                </a:cubicBezTo>
                <a:cubicBezTo>
                  <a:pt x="188" y="192"/>
                  <a:pt x="188" y="192"/>
                  <a:pt x="188" y="192"/>
                </a:cubicBezTo>
                <a:cubicBezTo>
                  <a:pt x="188" y="191"/>
                  <a:pt x="188" y="191"/>
                  <a:pt x="188" y="191"/>
                </a:cubicBezTo>
                <a:cubicBezTo>
                  <a:pt x="189" y="191"/>
                  <a:pt x="189" y="191"/>
                  <a:pt x="189" y="191"/>
                </a:cubicBezTo>
                <a:cubicBezTo>
                  <a:pt x="190" y="191"/>
                  <a:pt x="190" y="191"/>
                  <a:pt x="190" y="191"/>
                </a:cubicBezTo>
                <a:cubicBezTo>
                  <a:pt x="191" y="191"/>
                  <a:pt x="191" y="191"/>
                  <a:pt x="191" y="191"/>
                </a:cubicBezTo>
                <a:cubicBezTo>
                  <a:pt x="192" y="192"/>
                  <a:pt x="192" y="192"/>
                  <a:pt x="192" y="192"/>
                </a:cubicBezTo>
                <a:cubicBezTo>
                  <a:pt x="193" y="192"/>
                  <a:pt x="193" y="192"/>
                  <a:pt x="193" y="192"/>
                </a:cubicBezTo>
                <a:cubicBezTo>
                  <a:pt x="194" y="193"/>
                  <a:pt x="194" y="193"/>
                  <a:pt x="194" y="193"/>
                </a:cubicBezTo>
                <a:cubicBezTo>
                  <a:pt x="195" y="193"/>
                  <a:pt x="195" y="193"/>
                  <a:pt x="195" y="193"/>
                </a:cubicBezTo>
                <a:cubicBezTo>
                  <a:pt x="195" y="194"/>
                  <a:pt x="195" y="194"/>
                  <a:pt x="195" y="194"/>
                </a:cubicBezTo>
                <a:cubicBezTo>
                  <a:pt x="195" y="195"/>
                  <a:pt x="195" y="195"/>
                  <a:pt x="195" y="195"/>
                </a:cubicBezTo>
                <a:cubicBezTo>
                  <a:pt x="194" y="195"/>
                  <a:pt x="194" y="195"/>
                  <a:pt x="194" y="195"/>
                </a:cubicBezTo>
                <a:cubicBezTo>
                  <a:pt x="194" y="196"/>
                  <a:pt x="194" y="196"/>
                  <a:pt x="194" y="196"/>
                </a:cubicBezTo>
                <a:cubicBezTo>
                  <a:pt x="193" y="195"/>
                  <a:pt x="193" y="195"/>
                  <a:pt x="193" y="195"/>
                </a:cubicBezTo>
                <a:cubicBezTo>
                  <a:pt x="192" y="196"/>
                  <a:pt x="192" y="196"/>
                  <a:pt x="192" y="196"/>
                </a:cubicBezTo>
                <a:cubicBezTo>
                  <a:pt x="191" y="196"/>
                  <a:pt x="191" y="196"/>
                  <a:pt x="191" y="196"/>
                </a:cubicBezTo>
                <a:cubicBezTo>
                  <a:pt x="190" y="197"/>
                  <a:pt x="190" y="197"/>
                  <a:pt x="190" y="197"/>
                </a:cubicBezTo>
                <a:cubicBezTo>
                  <a:pt x="189" y="197"/>
                  <a:pt x="189" y="197"/>
                  <a:pt x="189" y="197"/>
                </a:cubicBezTo>
                <a:cubicBezTo>
                  <a:pt x="188" y="195"/>
                  <a:pt x="188" y="195"/>
                  <a:pt x="188" y="195"/>
                </a:cubicBezTo>
                <a:cubicBezTo>
                  <a:pt x="187" y="195"/>
                  <a:pt x="187" y="195"/>
                  <a:pt x="187" y="195"/>
                </a:cubicBezTo>
                <a:cubicBezTo>
                  <a:pt x="187" y="195"/>
                  <a:pt x="187" y="195"/>
                  <a:pt x="187" y="195"/>
                </a:cubicBezTo>
                <a:cubicBezTo>
                  <a:pt x="186" y="196"/>
                  <a:pt x="186" y="196"/>
                  <a:pt x="186" y="196"/>
                </a:cubicBezTo>
                <a:cubicBezTo>
                  <a:pt x="185" y="196"/>
                  <a:pt x="185" y="196"/>
                  <a:pt x="185" y="196"/>
                </a:cubicBezTo>
                <a:cubicBezTo>
                  <a:pt x="185" y="196"/>
                  <a:pt x="185" y="196"/>
                  <a:pt x="185" y="196"/>
                </a:cubicBezTo>
                <a:cubicBezTo>
                  <a:pt x="184" y="196"/>
                  <a:pt x="184" y="196"/>
                  <a:pt x="184" y="196"/>
                </a:cubicBezTo>
                <a:cubicBezTo>
                  <a:pt x="184" y="196"/>
                  <a:pt x="184" y="196"/>
                  <a:pt x="184" y="196"/>
                </a:cubicBezTo>
                <a:cubicBezTo>
                  <a:pt x="185" y="196"/>
                  <a:pt x="185" y="196"/>
                  <a:pt x="185" y="196"/>
                </a:cubicBezTo>
                <a:cubicBezTo>
                  <a:pt x="186" y="196"/>
                  <a:pt x="186" y="196"/>
                  <a:pt x="186" y="196"/>
                </a:cubicBezTo>
                <a:cubicBezTo>
                  <a:pt x="187" y="196"/>
                  <a:pt x="187" y="196"/>
                  <a:pt x="187" y="196"/>
                </a:cubicBezTo>
                <a:cubicBezTo>
                  <a:pt x="187" y="196"/>
                  <a:pt x="187" y="196"/>
                  <a:pt x="187" y="196"/>
                </a:cubicBezTo>
                <a:cubicBezTo>
                  <a:pt x="188" y="197"/>
                  <a:pt x="188" y="197"/>
                  <a:pt x="188" y="197"/>
                </a:cubicBezTo>
                <a:cubicBezTo>
                  <a:pt x="187" y="197"/>
                  <a:pt x="187" y="197"/>
                  <a:pt x="187" y="197"/>
                </a:cubicBezTo>
                <a:cubicBezTo>
                  <a:pt x="186" y="197"/>
                  <a:pt x="186" y="197"/>
                  <a:pt x="186" y="197"/>
                </a:cubicBezTo>
                <a:cubicBezTo>
                  <a:pt x="185" y="198"/>
                  <a:pt x="185" y="198"/>
                  <a:pt x="185" y="198"/>
                </a:cubicBezTo>
                <a:cubicBezTo>
                  <a:pt x="185" y="198"/>
                  <a:pt x="185" y="198"/>
                  <a:pt x="185" y="198"/>
                </a:cubicBezTo>
                <a:cubicBezTo>
                  <a:pt x="185" y="198"/>
                  <a:pt x="185" y="198"/>
                  <a:pt x="185" y="198"/>
                </a:cubicBezTo>
                <a:cubicBezTo>
                  <a:pt x="186" y="198"/>
                  <a:pt x="186" y="198"/>
                  <a:pt x="186" y="198"/>
                </a:cubicBezTo>
                <a:cubicBezTo>
                  <a:pt x="187" y="198"/>
                  <a:pt x="187" y="198"/>
                  <a:pt x="187" y="198"/>
                </a:cubicBezTo>
                <a:cubicBezTo>
                  <a:pt x="188" y="198"/>
                  <a:pt x="188" y="198"/>
                  <a:pt x="188" y="198"/>
                </a:cubicBezTo>
                <a:cubicBezTo>
                  <a:pt x="188" y="198"/>
                  <a:pt x="188" y="198"/>
                  <a:pt x="188" y="198"/>
                </a:cubicBezTo>
                <a:cubicBezTo>
                  <a:pt x="188" y="199"/>
                  <a:pt x="188" y="199"/>
                  <a:pt x="188" y="199"/>
                </a:cubicBezTo>
                <a:cubicBezTo>
                  <a:pt x="189" y="199"/>
                  <a:pt x="189" y="199"/>
                  <a:pt x="189" y="199"/>
                </a:cubicBezTo>
                <a:cubicBezTo>
                  <a:pt x="189" y="198"/>
                  <a:pt x="189" y="198"/>
                  <a:pt x="189" y="198"/>
                </a:cubicBezTo>
                <a:cubicBezTo>
                  <a:pt x="190" y="198"/>
                  <a:pt x="190" y="198"/>
                  <a:pt x="190" y="198"/>
                </a:cubicBezTo>
                <a:cubicBezTo>
                  <a:pt x="191" y="198"/>
                  <a:pt x="191" y="198"/>
                  <a:pt x="191" y="198"/>
                </a:cubicBezTo>
                <a:cubicBezTo>
                  <a:pt x="192" y="197"/>
                  <a:pt x="192" y="197"/>
                  <a:pt x="192" y="197"/>
                </a:cubicBezTo>
                <a:cubicBezTo>
                  <a:pt x="192" y="197"/>
                  <a:pt x="192" y="197"/>
                  <a:pt x="192" y="197"/>
                </a:cubicBezTo>
                <a:cubicBezTo>
                  <a:pt x="193" y="197"/>
                  <a:pt x="193" y="197"/>
                  <a:pt x="193" y="197"/>
                </a:cubicBezTo>
                <a:cubicBezTo>
                  <a:pt x="194" y="198"/>
                  <a:pt x="194" y="198"/>
                  <a:pt x="194" y="198"/>
                </a:cubicBezTo>
                <a:cubicBezTo>
                  <a:pt x="195" y="198"/>
                  <a:pt x="195" y="198"/>
                  <a:pt x="195" y="198"/>
                </a:cubicBezTo>
                <a:cubicBezTo>
                  <a:pt x="195" y="198"/>
                  <a:pt x="195" y="198"/>
                  <a:pt x="195" y="198"/>
                </a:cubicBezTo>
                <a:cubicBezTo>
                  <a:pt x="195" y="199"/>
                  <a:pt x="195" y="199"/>
                  <a:pt x="195" y="199"/>
                </a:cubicBezTo>
                <a:cubicBezTo>
                  <a:pt x="195" y="201"/>
                  <a:pt x="195" y="201"/>
                  <a:pt x="195" y="201"/>
                </a:cubicBezTo>
                <a:cubicBezTo>
                  <a:pt x="194" y="202"/>
                  <a:pt x="194" y="202"/>
                  <a:pt x="194" y="202"/>
                </a:cubicBezTo>
                <a:cubicBezTo>
                  <a:pt x="193" y="202"/>
                  <a:pt x="193" y="202"/>
                  <a:pt x="193" y="202"/>
                </a:cubicBezTo>
                <a:cubicBezTo>
                  <a:pt x="192" y="202"/>
                  <a:pt x="192" y="202"/>
                  <a:pt x="192" y="202"/>
                </a:cubicBezTo>
                <a:cubicBezTo>
                  <a:pt x="191" y="202"/>
                  <a:pt x="191" y="202"/>
                  <a:pt x="191" y="202"/>
                </a:cubicBezTo>
                <a:cubicBezTo>
                  <a:pt x="189" y="202"/>
                  <a:pt x="189" y="202"/>
                  <a:pt x="189" y="202"/>
                </a:cubicBezTo>
                <a:cubicBezTo>
                  <a:pt x="189" y="201"/>
                  <a:pt x="189" y="201"/>
                  <a:pt x="189" y="201"/>
                </a:cubicBezTo>
                <a:cubicBezTo>
                  <a:pt x="188" y="202"/>
                  <a:pt x="188" y="202"/>
                  <a:pt x="188" y="202"/>
                </a:cubicBezTo>
                <a:cubicBezTo>
                  <a:pt x="188" y="202"/>
                  <a:pt x="188" y="202"/>
                  <a:pt x="188" y="202"/>
                </a:cubicBezTo>
                <a:cubicBezTo>
                  <a:pt x="189" y="202"/>
                  <a:pt x="189" y="202"/>
                  <a:pt x="189" y="202"/>
                </a:cubicBezTo>
                <a:cubicBezTo>
                  <a:pt x="191" y="202"/>
                  <a:pt x="191" y="202"/>
                  <a:pt x="191" y="202"/>
                </a:cubicBezTo>
                <a:cubicBezTo>
                  <a:pt x="192" y="203"/>
                  <a:pt x="192" y="203"/>
                  <a:pt x="192" y="203"/>
                </a:cubicBezTo>
                <a:cubicBezTo>
                  <a:pt x="193" y="204"/>
                  <a:pt x="193" y="204"/>
                  <a:pt x="193" y="204"/>
                </a:cubicBezTo>
                <a:cubicBezTo>
                  <a:pt x="192" y="204"/>
                  <a:pt x="192" y="204"/>
                  <a:pt x="192" y="204"/>
                </a:cubicBezTo>
                <a:cubicBezTo>
                  <a:pt x="193" y="203"/>
                  <a:pt x="193" y="203"/>
                  <a:pt x="193" y="203"/>
                </a:cubicBezTo>
                <a:cubicBezTo>
                  <a:pt x="194" y="203"/>
                  <a:pt x="194" y="203"/>
                  <a:pt x="194" y="203"/>
                </a:cubicBezTo>
                <a:cubicBezTo>
                  <a:pt x="196" y="203"/>
                  <a:pt x="196" y="203"/>
                  <a:pt x="196" y="203"/>
                </a:cubicBezTo>
                <a:cubicBezTo>
                  <a:pt x="197" y="203"/>
                  <a:pt x="197" y="203"/>
                  <a:pt x="197" y="203"/>
                </a:cubicBezTo>
                <a:cubicBezTo>
                  <a:pt x="197" y="204"/>
                  <a:pt x="197" y="204"/>
                  <a:pt x="197" y="204"/>
                </a:cubicBezTo>
                <a:cubicBezTo>
                  <a:pt x="199" y="205"/>
                  <a:pt x="199" y="205"/>
                  <a:pt x="199" y="205"/>
                </a:cubicBezTo>
                <a:cubicBezTo>
                  <a:pt x="199" y="206"/>
                  <a:pt x="199" y="206"/>
                  <a:pt x="199" y="206"/>
                </a:cubicBezTo>
                <a:cubicBezTo>
                  <a:pt x="199" y="206"/>
                  <a:pt x="199" y="206"/>
                  <a:pt x="199" y="206"/>
                </a:cubicBezTo>
                <a:cubicBezTo>
                  <a:pt x="200" y="206"/>
                  <a:pt x="200" y="206"/>
                  <a:pt x="200" y="206"/>
                </a:cubicBezTo>
                <a:cubicBezTo>
                  <a:pt x="200" y="207"/>
                  <a:pt x="200" y="207"/>
                  <a:pt x="200" y="207"/>
                </a:cubicBezTo>
                <a:cubicBezTo>
                  <a:pt x="201" y="207"/>
                  <a:pt x="201" y="207"/>
                  <a:pt x="201" y="207"/>
                </a:cubicBezTo>
                <a:cubicBezTo>
                  <a:pt x="202" y="208"/>
                  <a:pt x="202" y="208"/>
                  <a:pt x="202" y="208"/>
                </a:cubicBezTo>
                <a:cubicBezTo>
                  <a:pt x="202" y="208"/>
                  <a:pt x="202" y="208"/>
                  <a:pt x="202" y="208"/>
                </a:cubicBezTo>
                <a:cubicBezTo>
                  <a:pt x="203" y="209"/>
                  <a:pt x="203" y="209"/>
                  <a:pt x="203" y="209"/>
                </a:cubicBezTo>
                <a:cubicBezTo>
                  <a:pt x="203" y="209"/>
                  <a:pt x="203" y="209"/>
                  <a:pt x="203" y="209"/>
                </a:cubicBezTo>
                <a:cubicBezTo>
                  <a:pt x="204" y="209"/>
                  <a:pt x="204" y="209"/>
                  <a:pt x="204" y="209"/>
                </a:cubicBezTo>
                <a:cubicBezTo>
                  <a:pt x="204" y="210"/>
                  <a:pt x="204" y="210"/>
                  <a:pt x="204" y="210"/>
                </a:cubicBezTo>
                <a:cubicBezTo>
                  <a:pt x="205" y="210"/>
                  <a:pt x="205" y="210"/>
                  <a:pt x="205" y="210"/>
                </a:cubicBezTo>
                <a:cubicBezTo>
                  <a:pt x="205" y="211"/>
                  <a:pt x="205" y="211"/>
                  <a:pt x="205" y="211"/>
                </a:cubicBezTo>
                <a:cubicBezTo>
                  <a:pt x="204" y="212"/>
                  <a:pt x="204" y="212"/>
                  <a:pt x="204" y="212"/>
                </a:cubicBezTo>
                <a:cubicBezTo>
                  <a:pt x="203" y="212"/>
                  <a:pt x="203" y="212"/>
                  <a:pt x="203" y="212"/>
                </a:cubicBezTo>
                <a:cubicBezTo>
                  <a:pt x="203" y="213"/>
                  <a:pt x="203" y="213"/>
                  <a:pt x="203" y="213"/>
                </a:cubicBezTo>
                <a:cubicBezTo>
                  <a:pt x="203" y="214"/>
                  <a:pt x="203" y="214"/>
                  <a:pt x="203" y="214"/>
                </a:cubicBezTo>
                <a:cubicBezTo>
                  <a:pt x="203" y="214"/>
                  <a:pt x="203" y="214"/>
                  <a:pt x="203" y="214"/>
                </a:cubicBezTo>
                <a:cubicBezTo>
                  <a:pt x="203" y="213"/>
                  <a:pt x="203" y="213"/>
                  <a:pt x="203" y="213"/>
                </a:cubicBezTo>
                <a:cubicBezTo>
                  <a:pt x="204" y="212"/>
                  <a:pt x="204" y="212"/>
                  <a:pt x="204" y="212"/>
                </a:cubicBezTo>
                <a:cubicBezTo>
                  <a:pt x="205" y="212"/>
                  <a:pt x="205" y="212"/>
                  <a:pt x="205" y="212"/>
                </a:cubicBezTo>
                <a:cubicBezTo>
                  <a:pt x="205" y="212"/>
                  <a:pt x="205" y="212"/>
                  <a:pt x="205" y="212"/>
                </a:cubicBezTo>
                <a:cubicBezTo>
                  <a:pt x="205" y="213"/>
                  <a:pt x="205" y="213"/>
                  <a:pt x="205" y="213"/>
                </a:cubicBezTo>
                <a:cubicBezTo>
                  <a:pt x="205" y="214"/>
                  <a:pt x="205" y="214"/>
                  <a:pt x="205" y="214"/>
                </a:cubicBezTo>
                <a:cubicBezTo>
                  <a:pt x="205" y="214"/>
                  <a:pt x="205" y="214"/>
                  <a:pt x="205" y="214"/>
                </a:cubicBezTo>
                <a:cubicBezTo>
                  <a:pt x="205" y="213"/>
                  <a:pt x="205" y="213"/>
                  <a:pt x="205" y="213"/>
                </a:cubicBezTo>
                <a:cubicBezTo>
                  <a:pt x="206" y="213"/>
                  <a:pt x="206" y="213"/>
                  <a:pt x="206" y="213"/>
                </a:cubicBezTo>
                <a:cubicBezTo>
                  <a:pt x="207" y="213"/>
                  <a:pt x="207" y="213"/>
                  <a:pt x="207" y="213"/>
                </a:cubicBezTo>
                <a:cubicBezTo>
                  <a:pt x="207" y="213"/>
                  <a:pt x="207" y="213"/>
                  <a:pt x="207" y="213"/>
                </a:cubicBezTo>
                <a:cubicBezTo>
                  <a:pt x="207" y="214"/>
                  <a:pt x="207" y="214"/>
                  <a:pt x="207" y="214"/>
                </a:cubicBezTo>
                <a:cubicBezTo>
                  <a:pt x="206" y="215"/>
                  <a:pt x="206" y="215"/>
                  <a:pt x="206" y="215"/>
                </a:cubicBezTo>
                <a:cubicBezTo>
                  <a:pt x="205" y="215"/>
                  <a:pt x="205" y="215"/>
                  <a:pt x="205" y="215"/>
                </a:cubicBezTo>
                <a:cubicBezTo>
                  <a:pt x="205" y="216"/>
                  <a:pt x="205" y="216"/>
                  <a:pt x="205" y="216"/>
                </a:cubicBezTo>
                <a:cubicBezTo>
                  <a:pt x="205" y="217"/>
                  <a:pt x="205" y="217"/>
                  <a:pt x="205" y="217"/>
                </a:cubicBezTo>
                <a:cubicBezTo>
                  <a:pt x="205" y="217"/>
                  <a:pt x="205" y="217"/>
                  <a:pt x="205" y="217"/>
                </a:cubicBezTo>
                <a:cubicBezTo>
                  <a:pt x="205" y="218"/>
                  <a:pt x="205" y="218"/>
                  <a:pt x="205" y="218"/>
                </a:cubicBezTo>
                <a:cubicBezTo>
                  <a:pt x="205" y="219"/>
                  <a:pt x="205" y="219"/>
                  <a:pt x="205" y="219"/>
                </a:cubicBezTo>
                <a:cubicBezTo>
                  <a:pt x="205" y="220"/>
                  <a:pt x="205" y="220"/>
                  <a:pt x="205" y="220"/>
                </a:cubicBezTo>
                <a:cubicBezTo>
                  <a:pt x="205" y="220"/>
                  <a:pt x="205" y="220"/>
                  <a:pt x="205" y="220"/>
                </a:cubicBezTo>
                <a:cubicBezTo>
                  <a:pt x="205" y="218"/>
                  <a:pt x="205" y="218"/>
                  <a:pt x="205" y="218"/>
                </a:cubicBezTo>
                <a:cubicBezTo>
                  <a:pt x="206" y="217"/>
                  <a:pt x="206" y="217"/>
                  <a:pt x="206" y="217"/>
                </a:cubicBezTo>
                <a:cubicBezTo>
                  <a:pt x="207" y="216"/>
                  <a:pt x="207" y="216"/>
                  <a:pt x="207" y="216"/>
                </a:cubicBezTo>
                <a:cubicBezTo>
                  <a:pt x="208" y="216"/>
                  <a:pt x="208" y="216"/>
                  <a:pt x="208" y="216"/>
                </a:cubicBezTo>
                <a:cubicBezTo>
                  <a:pt x="208" y="217"/>
                  <a:pt x="208" y="217"/>
                  <a:pt x="208" y="217"/>
                </a:cubicBezTo>
                <a:cubicBezTo>
                  <a:pt x="207" y="218"/>
                  <a:pt x="207" y="218"/>
                  <a:pt x="207" y="218"/>
                </a:cubicBezTo>
                <a:cubicBezTo>
                  <a:pt x="207" y="219"/>
                  <a:pt x="207" y="219"/>
                  <a:pt x="207" y="219"/>
                </a:cubicBezTo>
                <a:cubicBezTo>
                  <a:pt x="207" y="219"/>
                  <a:pt x="207" y="219"/>
                  <a:pt x="207" y="219"/>
                </a:cubicBezTo>
                <a:cubicBezTo>
                  <a:pt x="207" y="219"/>
                  <a:pt x="207" y="219"/>
                  <a:pt x="207" y="219"/>
                </a:cubicBezTo>
                <a:cubicBezTo>
                  <a:pt x="208" y="219"/>
                  <a:pt x="208" y="219"/>
                  <a:pt x="208" y="219"/>
                </a:cubicBezTo>
                <a:cubicBezTo>
                  <a:pt x="208" y="221"/>
                  <a:pt x="208" y="221"/>
                  <a:pt x="208" y="221"/>
                </a:cubicBezTo>
                <a:cubicBezTo>
                  <a:pt x="207" y="221"/>
                  <a:pt x="207" y="221"/>
                  <a:pt x="207" y="221"/>
                </a:cubicBezTo>
                <a:cubicBezTo>
                  <a:pt x="206" y="221"/>
                  <a:pt x="206" y="221"/>
                  <a:pt x="206" y="221"/>
                </a:cubicBezTo>
                <a:cubicBezTo>
                  <a:pt x="206" y="222"/>
                  <a:pt x="206" y="222"/>
                  <a:pt x="206" y="222"/>
                </a:cubicBezTo>
                <a:cubicBezTo>
                  <a:pt x="206" y="222"/>
                  <a:pt x="206" y="222"/>
                  <a:pt x="206" y="222"/>
                </a:cubicBezTo>
                <a:cubicBezTo>
                  <a:pt x="207" y="222"/>
                  <a:pt x="207" y="222"/>
                  <a:pt x="207" y="222"/>
                </a:cubicBezTo>
                <a:cubicBezTo>
                  <a:pt x="207" y="222"/>
                  <a:pt x="207" y="222"/>
                  <a:pt x="207" y="222"/>
                </a:cubicBezTo>
                <a:cubicBezTo>
                  <a:pt x="207" y="223"/>
                  <a:pt x="207" y="223"/>
                  <a:pt x="207" y="223"/>
                </a:cubicBezTo>
                <a:cubicBezTo>
                  <a:pt x="207" y="223"/>
                  <a:pt x="207" y="223"/>
                  <a:pt x="207" y="223"/>
                </a:cubicBezTo>
                <a:cubicBezTo>
                  <a:pt x="207" y="224"/>
                  <a:pt x="207" y="224"/>
                  <a:pt x="207" y="224"/>
                </a:cubicBezTo>
                <a:cubicBezTo>
                  <a:pt x="208" y="224"/>
                  <a:pt x="208" y="224"/>
                  <a:pt x="208" y="224"/>
                </a:cubicBezTo>
                <a:cubicBezTo>
                  <a:pt x="208" y="225"/>
                  <a:pt x="208" y="225"/>
                  <a:pt x="208" y="225"/>
                </a:cubicBezTo>
                <a:cubicBezTo>
                  <a:pt x="207" y="226"/>
                  <a:pt x="207" y="226"/>
                  <a:pt x="207" y="226"/>
                </a:cubicBezTo>
                <a:cubicBezTo>
                  <a:pt x="207" y="227"/>
                  <a:pt x="207" y="227"/>
                  <a:pt x="207" y="227"/>
                </a:cubicBezTo>
                <a:cubicBezTo>
                  <a:pt x="207" y="229"/>
                  <a:pt x="207" y="229"/>
                  <a:pt x="207" y="229"/>
                </a:cubicBezTo>
                <a:cubicBezTo>
                  <a:pt x="207" y="229"/>
                  <a:pt x="207" y="229"/>
                  <a:pt x="207" y="229"/>
                </a:cubicBezTo>
                <a:cubicBezTo>
                  <a:pt x="207" y="230"/>
                  <a:pt x="207" y="230"/>
                  <a:pt x="207" y="230"/>
                </a:cubicBezTo>
                <a:cubicBezTo>
                  <a:pt x="207" y="231"/>
                  <a:pt x="207" y="231"/>
                  <a:pt x="207" y="231"/>
                </a:cubicBezTo>
                <a:cubicBezTo>
                  <a:pt x="206" y="231"/>
                  <a:pt x="206" y="231"/>
                  <a:pt x="206" y="231"/>
                </a:cubicBezTo>
                <a:cubicBezTo>
                  <a:pt x="206" y="231"/>
                  <a:pt x="206" y="231"/>
                  <a:pt x="206" y="231"/>
                </a:cubicBezTo>
                <a:cubicBezTo>
                  <a:pt x="205" y="230"/>
                  <a:pt x="205" y="230"/>
                  <a:pt x="205" y="230"/>
                </a:cubicBezTo>
                <a:cubicBezTo>
                  <a:pt x="206" y="230"/>
                  <a:pt x="206" y="230"/>
                  <a:pt x="206" y="230"/>
                </a:cubicBezTo>
                <a:cubicBezTo>
                  <a:pt x="205" y="229"/>
                  <a:pt x="205" y="229"/>
                  <a:pt x="205" y="229"/>
                </a:cubicBezTo>
                <a:cubicBezTo>
                  <a:pt x="205" y="229"/>
                  <a:pt x="205" y="229"/>
                  <a:pt x="205" y="229"/>
                </a:cubicBezTo>
                <a:cubicBezTo>
                  <a:pt x="204" y="229"/>
                  <a:pt x="204" y="229"/>
                  <a:pt x="204" y="229"/>
                </a:cubicBezTo>
                <a:cubicBezTo>
                  <a:pt x="204" y="230"/>
                  <a:pt x="204" y="230"/>
                  <a:pt x="204" y="230"/>
                </a:cubicBezTo>
                <a:cubicBezTo>
                  <a:pt x="203" y="229"/>
                  <a:pt x="203" y="229"/>
                  <a:pt x="203" y="229"/>
                </a:cubicBezTo>
                <a:cubicBezTo>
                  <a:pt x="203" y="228"/>
                  <a:pt x="203" y="228"/>
                  <a:pt x="203" y="228"/>
                </a:cubicBezTo>
                <a:cubicBezTo>
                  <a:pt x="204" y="227"/>
                  <a:pt x="204" y="227"/>
                  <a:pt x="204" y="227"/>
                </a:cubicBezTo>
                <a:cubicBezTo>
                  <a:pt x="203" y="226"/>
                  <a:pt x="203" y="226"/>
                  <a:pt x="203" y="226"/>
                </a:cubicBezTo>
                <a:cubicBezTo>
                  <a:pt x="203" y="225"/>
                  <a:pt x="203" y="225"/>
                  <a:pt x="203" y="225"/>
                </a:cubicBezTo>
                <a:cubicBezTo>
                  <a:pt x="203" y="225"/>
                  <a:pt x="203" y="225"/>
                  <a:pt x="203" y="225"/>
                </a:cubicBezTo>
                <a:cubicBezTo>
                  <a:pt x="203" y="224"/>
                  <a:pt x="203" y="224"/>
                  <a:pt x="203" y="224"/>
                </a:cubicBezTo>
                <a:cubicBezTo>
                  <a:pt x="203" y="224"/>
                  <a:pt x="203" y="224"/>
                  <a:pt x="203" y="224"/>
                </a:cubicBezTo>
                <a:cubicBezTo>
                  <a:pt x="202" y="225"/>
                  <a:pt x="202" y="225"/>
                  <a:pt x="202" y="225"/>
                </a:cubicBezTo>
                <a:cubicBezTo>
                  <a:pt x="202" y="226"/>
                  <a:pt x="202" y="226"/>
                  <a:pt x="202" y="226"/>
                </a:cubicBezTo>
                <a:cubicBezTo>
                  <a:pt x="202" y="227"/>
                  <a:pt x="202" y="227"/>
                  <a:pt x="202" y="227"/>
                </a:cubicBezTo>
                <a:cubicBezTo>
                  <a:pt x="202" y="229"/>
                  <a:pt x="202" y="229"/>
                  <a:pt x="202" y="229"/>
                </a:cubicBezTo>
                <a:cubicBezTo>
                  <a:pt x="202" y="230"/>
                  <a:pt x="202" y="230"/>
                  <a:pt x="202" y="230"/>
                </a:cubicBezTo>
                <a:cubicBezTo>
                  <a:pt x="202" y="230"/>
                  <a:pt x="202" y="230"/>
                  <a:pt x="202" y="230"/>
                </a:cubicBezTo>
                <a:cubicBezTo>
                  <a:pt x="201" y="230"/>
                  <a:pt x="201" y="230"/>
                  <a:pt x="201" y="230"/>
                </a:cubicBezTo>
                <a:cubicBezTo>
                  <a:pt x="200" y="230"/>
                  <a:pt x="200" y="230"/>
                  <a:pt x="200" y="230"/>
                </a:cubicBezTo>
                <a:cubicBezTo>
                  <a:pt x="199" y="230"/>
                  <a:pt x="199" y="230"/>
                  <a:pt x="199" y="230"/>
                </a:cubicBezTo>
                <a:cubicBezTo>
                  <a:pt x="199" y="230"/>
                  <a:pt x="199" y="230"/>
                  <a:pt x="199" y="230"/>
                </a:cubicBezTo>
                <a:cubicBezTo>
                  <a:pt x="197" y="229"/>
                  <a:pt x="197" y="229"/>
                  <a:pt x="197" y="229"/>
                </a:cubicBezTo>
                <a:cubicBezTo>
                  <a:pt x="196" y="227"/>
                  <a:pt x="196" y="227"/>
                  <a:pt x="196" y="227"/>
                </a:cubicBezTo>
                <a:cubicBezTo>
                  <a:pt x="195" y="226"/>
                  <a:pt x="195" y="226"/>
                  <a:pt x="195" y="226"/>
                </a:cubicBezTo>
                <a:cubicBezTo>
                  <a:pt x="195" y="225"/>
                  <a:pt x="195" y="225"/>
                  <a:pt x="195" y="225"/>
                </a:cubicBezTo>
                <a:cubicBezTo>
                  <a:pt x="195" y="223"/>
                  <a:pt x="195" y="223"/>
                  <a:pt x="195" y="223"/>
                </a:cubicBezTo>
                <a:cubicBezTo>
                  <a:pt x="194" y="222"/>
                  <a:pt x="194" y="222"/>
                  <a:pt x="194" y="222"/>
                </a:cubicBezTo>
                <a:cubicBezTo>
                  <a:pt x="193" y="221"/>
                  <a:pt x="193" y="221"/>
                  <a:pt x="193" y="221"/>
                </a:cubicBezTo>
                <a:cubicBezTo>
                  <a:pt x="193" y="220"/>
                  <a:pt x="193" y="220"/>
                  <a:pt x="193" y="220"/>
                </a:cubicBezTo>
                <a:cubicBezTo>
                  <a:pt x="193" y="219"/>
                  <a:pt x="193" y="219"/>
                  <a:pt x="193" y="219"/>
                </a:cubicBezTo>
                <a:cubicBezTo>
                  <a:pt x="194" y="218"/>
                  <a:pt x="194" y="218"/>
                  <a:pt x="194" y="218"/>
                </a:cubicBezTo>
                <a:cubicBezTo>
                  <a:pt x="193" y="217"/>
                  <a:pt x="193" y="217"/>
                  <a:pt x="193" y="217"/>
                </a:cubicBezTo>
                <a:cubicBezTo>
                  <a:pt x="193" y="217"/>
                  <a:pt x="193" y="217"/>
                  <a:pt x="193" y="217"/>
                </a:cubicBezTo>
                <a:cubicBezTo>
                  <a:pt x="192" y="217"/>
                  <a:pt x="192" y="217"/>
                  <a:pt x="192" y="217"/>
                </a:cubicBezTo>
                <a:cubicBezTo>
                  <a:pt x="191" y="218"/>
                  <a:pt x="191" y="218"/>
                  <a:pt x="191" y="218"/>
                </a:cubicBezTo>
                <a:cubicBezTo>
                  <a:pt x="191" y="217"/>
                  <a:pt x="191" y="217"/>
                  <a:pt x="191" y="217"/>
                </a:cubicBezTo>
                <a:cubicBezTo>
                  <a:pt x="189" y="215"/>
                  <a:pt x="189" y="215"/>
                  <a:pt x="189" y="215"/>
                </a:cubicBezTo>
                <a:cubicBezTo>
                  <a:pt x="188" y="214"/>
                  <a:pt x="188" y="214"/>
                  <a:pt x="188" y="214"/>
                </a:cubicBezTo>
                <a:cubicBezTo>
                  <a:pt x="188" y="213"/>
                  <a:pt x="188" y="213"/>
                  <a:pt x="188" y="213"/>
                </a:cubicBezTo>
                <a:cubicBezTo>
                  <a:pt x="187" y="214"/>
                  <a:pt x="187" y="214"/>
                  <a:pt x="187" y="214"/>
                </a:cubicBezTo>
                <a:cubicBezTo>
                  <a:pt x="186" y="214"/>
                  <a:pt x="186" y="214"/>
                  <a:pt x="186" y="214"/>
                </a:cubicBezTo>
                <a:cubicBezTo>
                  <a:pt x="185" y="213"/>
                  <a:pt x="185" y="213"/>
                  <a:pt x="185" y="213"/>
                </a:cubicBezTo>
                <a:cubicBezTo>
                  <a:pt x="185" y="214"/>
                  <a:pt x="185" y="214"/>
                  <a:pt x="185" y="214"/>
                </a:cubicBezTo>
                <a:cubicBezTo>
                  <a:pt x="184" y="214"/>
                  <a:pt x="184" y="214"/>
                  <a:pt x="184" y="214"/>
                </a:cubicBezTo>
                <a:cubicBezTo>
                  <a:pt x="183" y="214"/>
                  <a:pt x="183" y="214"/>
                  <a:pt x="183" y="214"/>
                </a:cubicBezTo>
                <a:cubicBezTo>
                  <a:pt x="182" y="213"/>
                  <a:pt x="182" y="213"/>
                  <a:pt x="182" y="213"/>
                </a:cubicBezTo>
                <a:cubicBezTo>
                  <a:pt x="182" y="212"/>
                  <a:pt x="182" y="212"/>
                  <a:pt x="182" y="212"/>
                </a:cubicBezTo>
                <a:cubicBezTo>
                  <a:pt x="181" y="211"/>
                  <a:pt x="181" y="211"/>
                  <a:pt x="181" y="211"/>
                </a:cubicBezTo>
                <a:cubicBezTo>
                  <a:pt x="181" y="210"/>
                  <a:pt x="181" y="210"/>
                  <a:pt x="181" y="210"/>
                </a:cubicBezTo>
                <a:cubicBezTo>
                  <a:pt x="180" y="210"/>
                  <a:pt x="180" y="210"/>
                  <a:pt x="180" y="210"/>
                </a:cubicBezTo>
                <a:cubicBezTo>
                  <a:pt x="180" y="208"/>
                  <a:pt x="180" y="208"/>
                  <a:pt x="180" y="208"/>
                </a:cubicBezTo>
                <a:cubicBezTo>
                  <a:pt x="179" y="207"/>
                  <a:pt x="179" y="207"/>
                  <a:pt x="179" y="207"/>
                </a:cubicBezTo>
                <a:cubicBezTo>
                  <a:pt x="179" y="208"/>
                  <a:pt x="179" y="208"/>
                  <a:pt x="179" y="208"/>
                </a:cubicBezTo>
                <a:cubicBezTo>
                  <a:pt x="179" y="209"/>
                  <a:pt x="179" y="209"/>
                  <a:pt x="179" y="209"/>
                </a:cubicBezTo>
                <a:cubicBezTo>
                  <a:pt x="179" y="210"/>
                  <a:pt x="179" y="210"/>
                  <a:pt x="179" y="210"/>
                </a:cubicBezTo>
                <a:cubicBezTo>
                  <a:pt x="178" y="210"/>
                  <a:pt x="178" y="210"/>
                  <a:pt x="178" y="210"/>
                </a:cubicBezTo>
                <a:cubicBezTo>
                  <a:pt x="178" y="211"/>
                  <a:pt x="178" y="211"/>
                  <a:pt x="178" y="211"/>
                </a:cubicBezTo>
                <a:cubicBezTo>
                  <a:pt x="179" y="211"/>
                  <a:pt x="179" y="211"/>
                  <a:pt x="179" y="211"/>
                </a:cubicBezTo>
                <a:cubicBezTo>
                  <a:pt x="179" y="211"/>
                  <a:pt x="179" y="211"/>
                  <a:pt x="179" y="211"/>
                </a:cubicBezTo>
                <a:cubicBezTo>
                  <a:pt x="180" y="212"/>
                  <a:pt x="180" y="212"/>
                  <a:pt x="180" y="212"/>
                </a:cubicBezTo>
                <a:cubicBezTo>
                  <a:pt x="181" y="213"/>
                  <a:pt x="181" y="213"/>
                  <a:pt x="181" y="213"/>
                </a:cubicBezTo>
                <a:cubicBezTo>
                  <a:pt x="180" y="214"/>
                  <a:pt x="180" y="214"/>
                  <a:pt x="180" y="214"/>
                </a:cubicBezTo>
                <a:cubicBezTo>
                  <a:pt x="179" y="214"/>
                  <a:pt x="179" y="214"/>
                  <a:pt x="179" y="214"/>
                </a:cubicBezTo>
                <a:cubicBezTo>
                  <a:pt x="179" y="214"/>
                  <a:pt x="179" y="214"/>
                  <a:pt x="179" y="214"/>
                </a:cubicBezTo>
                <a:cubicBezTo>
                  <a:pt x="178" y="215"/>
                  <a:pt x="178" y="215"/>
                  <a:pt x="178" y="215"/>
                </a:cubicBezTo>
                <a:cubicBezTo>
                  <a:pt x="177" y="214"/>
                  <a:pt x="177" y="214"/>
                  <a:pt x="177" y="214"/>
                </a:cubicBezTo>
                <a:cubicBezTo>
                  <a:pt x="177" y="215"/>
                  <a:pt x="177" y="215"/>
                  <a:pt x="177" y="215"/>
                </a:cubicBezTo>
                <a:cubicBezTo>
                  <a:pt x="178" y="215"/>
                  <a:pt x="178" y="215"/>
                  <a:pt x="178" y="215"/>
                </a:cubicBezTo>
                <a:cubicBezTo>
                  <a:pt x="179" y="215"/>
                  <a:pt x="179" y="215"/>
                  <a:pt x="179" y="215"/>
                </a:cubicBezTo>
                <a:cubicBezTo>
                  <a:pt x="180" y="214"/>
                  <a:pt x="180" y="214"/>
                  <a:pt x="180" y="214"/>
                </a:cubicBezTo>
                <a:cubicBezTo>
                  <a:pt x="181" y="214"/>
                  <a:pt x="181" y="214"/>
                  <a:pt x="181" y="214"/>
                </a:cubicBezTo>
                <a:cubicBezTo>
                  <a:pt x="182" y="214"/>
                  <a:pt x="182" y="214"/>
                  <a:pt x="182" y="214"/>
                </a:cubicBezTo>
                <a:cubicBezTo>
                  <a:pt x="182" y="214"/>
                  <a:pt x="182" y="214"/>
                  <a:pt x="182" y="214"/>
                </a:cubicBezTo>
                <a:cubicBezTo>
                  <a:pt x="182" y="215"/>
                  <a:pt x="182" y="215"/>
                  <a:pt x="182" y="215"/>
                </a:cubicBezTo>
                <a:cubicBezTo>
                  <a:pt x="183" y="215"/>
                  <a:pt x="183" y="215"/>
                  <a:pt x="183" y="215"/>
                </a:cubicBezTo>
                <a:cubicBezTo>
                  <a:pt x="184" y="215"/>
                  <a:pt x="184" y="215"/>
                  <a:pt x="184" y="215"/>
                </a:cubicBezTo>
                <a:cubicBezTo>
                  <a:pt x="184" y="215"/>
                  <a:pt x="184" y="215"/>
                  <a:pt x="184" y="215"/>
                </a:cubicBezTo>
                <a:cubicBezTo>
                  <a:pt x="187" y="216"/>
                  <a:pt x="187" y="216"/>
                  <a:pt x="187" y="216"/>
                </a:cubicBezTo>
                <a:cubicBezTo>
                  <a:pt x="188" y="216"/>
                  <a:pt x="188" y="216"/>
                  <a:pt x="188" y="216"/>
                </a:cubicBezTo>
                <a:cubicBezTo>
                  <a:pt x="189" y="216"/>
                  <a:pt x="189" y="216"/>
                  <a:pt x="189" y="216"/>
                </a:cubicBezTo>
                <a:cubicBezTo>
                  <a:pt x="189" y="217"/>
                  <a:pt x="189" y="217"/>
                  <a:pt x="189" y="217"/>
                </a:cubicBezTo>
                <a:cubicBezTo>
                  <a:pt x="190" y="218"/>
                  <a:pt x="190" y="218"/>
                  <a:pt x="190" y="218"/>
                </a:cubicBezTo>
                <a:cubicBezTo>
                  <a:pt x="189" y="219"/>
                  <a:pt x="189" y="219"/>
                  <a:pt x="189" y="219"/>
                </a:cubicBezTo>
                <a:cubicBezTo>
                  <a:pt x="188" y="220"/>
                  <a:pt x="188" y="220"/>
                  <a:pt x="188" y="220"/>
                </a:cubicBezTo>
                <a:cubicBezTo>
                  <a:pt x="188" y="221"/>
                  <a:pt x="188" y="221"/>
                  <a:pt x="188" y="221"/>
                </a:cubicBezTo>
                <a:cubicBezTo>
                  <a:pt x="187" y="221"/>
                  <a:pt x="187" y="221"/>
                  <a:pt x="187" y="221"/>
                </a:cubicBezTo>
                <a:cubicBezTo>
                  <a:pt x="186" y="221"/>
                  <a:pt x="186" y="221"/>
                  <a:pt x="186" y="221"/>
                </a:cubicBezTo>
                <a:cubicBezTo>
                  <a:pt x="183" y="222"/>
                  <a:pt x="183" y="222"/>
                  <a:pt x="183" y="222"/>
                </a:cubicBezTo>
                <a:cubicBezTo>
                  <a:pt x="182" y="222"/>
                  <a:pt x="182" y="222"/>
                  <a:pt x="182" y="222"/>
                </a:cubicBezTo>
                <a:cubicBezTo>
                  <a:pt x="180" y="223"/>
                  <a:pt x="180" y="223"/>
                  <a:pt x="180" y="223"/>
                </a:cubicBezTo>
                <a:cubicBezTo>
                  <a:pt x="180" y="222"/>
                  <a:pt x="180" y="222"/>
                  <a:pt x="180" y="222"/>
                </a:cubicBezTo>
                <a:cubicBezTo>
                  <a:pt x="179" y="221"/>
                  <a:pt x="179" y="221"/>
                  <a:pt x="179" y="221"/>
                </a:cubicBezTo>
                <a:cubicBezTo>
                  <a:pt x="179" y="220"/>
                  <a:pt x="179" y="220"/>
                  <a:pt x="179" y="220"/>
                </a:cubicBezTo>
                <a:cubicBezTo>
                  <a:pt x="179" y="220"/>
                  <a:pt x="179" y="220"/>
                  <a:pt x="179" y="220"/>
                </a:cubicBezTo>
                <a:cubicBezTo>
                  <a:pt x="178" y="220"/>
                  <a:pt x="178" y="220"/>
                  <a:pt x="178" y="220"/>
                </a:cubicBezTo>
                <a:cubicBezTo>
                  <a:pt x="178" y="221"/>
                  <a:pt x="178" y="221"/>
                  <a:pt x="178" y="221"/>
                </a:cubicBezTo>
                <a:cubicBezTo>
                  <a:pt x="178" y="221"/>
                  <a:pt x="178" y="221"/>
                  <a:pt x="178" y="221"/>
                </a:cubicBezTo>
                <a:cubicBezTo>
                  <a:pt x="178" y="222"/>
                  <a:pt x="178" y="222"/>
                  <a:pt x="178" y="222"/>
                </a:cubicBezTo>
                <a:cubicBezTo>
                  <a:pt x="178" y="222"/>
                  <a:pt x="178" y="222"/>
                  <a:pt x="178" y="222"/>
                </a:cubicBezTo>
                <a:cubicBezTo>
                  <a:pt x="177" y="222"/>
                  <a:pt x="177" y="222"/>
                  <a:pt x="177" y="222"/>
                </a:cubicBezTo>
                <a:cubicBezTo>
                  <a:pt x="177" y="222"/>
                  <a:pt x="177" y="222"/>
                  <a:pt x="177" y="222"/>
                </a:cubicBezTo>
                <a:cubicBezTo>
                  <a:pt x="177" y="222"/>
                  <a:pt x="177" y="222"/>
                  <a:pt x="177" y="222"/>
                </a:cubicBezTo>
                <a:cubicBezTo>
                  <a:pt x="176" y="222"/>
                  <a:pt x="176" y="222"/>
                  <a:pt x="176" y="222"/>
                </a:cubicBezTo>
                <a:cubicBezTo>
                  <a:pt x="176" y="223"/>
                  <a:pt x="176" y="223"/>
                  <a:pt x="176" y="223"/>
                </a:cubicBezTo>
                <a:cubicBezTo>
                  <a:pt x="177" y="223"/>
                  <a:pt x="177" y="223"/>
                  <a:pt x="177" y="223"/>
                </a:cubicBezTo>
                <a:cubicBezTo>
                  <a:pt x="177" y="223"/>
                  <a:pt x="177" y="223"/>
                  <a:pt x="177" y="223"/>
                </a:cubicBezTo>
                <a:cubicBezTo>
                  <a:pt x="178" y="224"/>
                  <a:pt x="178" y="224"/>
                  <a:pt x="178" y="224"/>
                </a:cubicBezTo>
                <a:cubicBezTo>
                  <a:pt x="177" y="225"/>
                  <a:pt x="177" y="225"/>
                  <a:pt x="177" y="225"/>
                </a:cubicBezTo>
                <a:cubicBezTo>
                  <a:pt x="177" y="225"/>
                  <a:pt x="177" y="225"/>
                  <a:pt x="177" y="225"/>
                </a:cubicBezTo>
                <a:cubicBezTo>
                  <a:pt x="176" y="225"/>
                  <a:pt x="176" y="225"/>
                  <a:pt x="176" y="225"/>
                </a:cubicBezTo>
                <a:cubicBezTo>
                  <a:pt x="176" y="226"/>
                  <a:pt x="176" y="226"/>
                  <a:pt x="176" y="226"/>
                </a:cubicBezTo>
                <a:cubicBezTo>
                  <a:pt x="175" y="226"/>
                  <a:pt x="175" y="226"/>
                  <a:pt x="175" y="226"/>
                </a:cubicBezTo>
                <a:cubicBezTo>
                  <a:pt x="175" y="227"/>
                  <a:pt x="175" y="227"/>
                  <a:pt x="175" y="227"/>
                </a:cubicBezTo>
                <a:cubicBezTo>
                  <a:pt x="173" y="228"/>
                  <a:pt x="173" y="228"/>
                  <a:pt x="173" y="228"/>
                </a:cubicBezTo>
                <a:cubicBezTo>
                  <a:pt x="171" y="228"/>
                  <a:pt x="171" y="228"/>
                  <a:pt x="171" y="228"/>
                </a:cubicBezTo>
                <a:cubicBezTo>
                  <a:pt x="171" y="228"/>
                  <a:pt x="171" y="228"/>
                  <a:pt x="171" y="228"/>
                </a:cubicBezTo>
                <a:cubicBezTo>
                  <a:pt x="170" y="229"/>
                  <a:pt x="170" y="229"/>
                  <a:pt x="170" y="229"/>
                </a:cubicBezTo>
                <a:cubicBezTo>
                  <a:pt x="169" y="229"/>
                  <a:pt x="169" y="229"/>
                  <a:pt x="169" y="229"/>
                </a:cubicBezTo>
                <a:cubicBezTo>
                  <a:pt x="170" y="230"/>
                  <a:pt x="170" y="230"/>
                  <a:pt x="170" y="230"/>
                </a:cubicBezTo>
                <a:cubicBezTo>
                  <a:pt x="172" y="229"/>
                  <a:pt x="172" y="229"/>
                  <a:pt x="172" y="229"/>
                </a:cubicBezTo>
                <a:cubicBezTo>
                  <a:pt x="173" y="229"/>
                  <a:pt x="173" y="229"/>
                  <a:pt x="173" y="229"/>
                </a:cubicBezTo>
                <a:cubicBezTo>
                  <a:pt x="174" y="228"/>
                  <a:pt x="174" y="228"/>
                  <a:pt x="174" y="228"/>
                </a:cubicBezTo>
                <a:cubicBezTo>
                  <a:pt x="175" y="229"/>
                  <a:pt x="175" y="229"/>
                  <a:pt x="175" y="229"/>
                </a:cubicBezTo>
                <a:cubicBezTo>
                  <a:pt x="175" y="229"/>
                  <a:pt x="175" y="229"/>
                  <a:pt x="175" y="229"/>
                </a:cubicBezTo>
                <a:cubicBezTo>
                  <a:pt x="176" y="230"/>
                  <a:pt x="176" y="230"/>
                  <a:pt x="176" y="230"/>
                </a:cubicBezTo>
                <a:cubicBezTo>
                  <a:pt x="178" y="230"/>
                  <a:pt x="178" y="230"/>
                  <a:pt x="178" y="230"/>
                </a:cubicBezTo>
                <a:cubicBezTo>
                  <a:pt x="179" y="229"/>
                  <a:pt x="179" y="229"/>
                  <a:pt x="179" y="229"/>
                </a:cubicBezTo>
                <a:cubicBezTo>
                  <a:pt x="181" y="229"/>
                  <a:pt x="181" y="229"/>
                  <a:pt x="181" y="229"/>
                </a:cubicBezTo>
                <a:cubicBezTo>
                  <a:pt x="181" y="230"/>
                  <a:pt x="181" y="230"/>
                  <a:pt x="181" y="230"/>
                </a:cubicBezTo>
                <a:cubicBezTo>
                  <a:pt x="183" y="229"/>
                  <a:pt x="183" y="229"/>
                  <a:pt x="183" y="229"/>
                </a:cubicBezTo>
                <a:cubicBezTo>
                  <a:pt x="183" y="229"/>
                  <a:pt x="183" y="229"/>
                  <a:pt x="183" y="229"/>
                </a:cubicBezTo>
                <a:cubicBezTo>
                  <a:pt x="183" y="230"/>
                  <a:pt x="183" y="230"/>
                  <a:pt x="183" y="230"/>
                </a:cubicBezTo>
                <a:cubicBezTo>
                  <a:pt x="184" y="230"/>
                  <a:pt x="184" y="230"/>
                  <a:pt x="184" y="230"/>
                </a:cubicBezTo>
                <a:cubicBezTo>
                  <a:pt x="184" y="231"/>
                  <a:pt x="184" y="231"/>
                  <a:pt x="184" y="231"/>
                </a:cubicBezTo>
                <a:cubicBezTo>
                  <a:pt x="184" y="231"/>
                  <a:pt x="184" y="231"/>
                  <a:pt x="184" y="231"/>
                </a:cubicBezTo>
                <a:cubicBezTo>
                  <a:pt x="183" y="231"/>
                  <a:pt x="183" y="231"/>
                  <a:pt x="183" y="231"/>
                </a:cubicBezTo>
                <a:cubicBezTo>
                  <a:pt x="182" y="231"/>
                  <a:pt x="182" y="231"/>
                  <a:pt x="182" y="231"/>
                </a:cubicBezTo>
                <a:cubicBezTo>
                  <a:pt x="181" y="231"/>
                  <a:pt x="181" y="231"/>
                  <a:pt x="181" y="231"/>
                </a:cubicBezTo>
                <a:cubicBezTo>
                  <a:pt x="180" y="232"/>
                  <a:pt x="180" y="232"/>
                  <a:pt x="180" y="232"/>
                </a:cubicBezTo>
                <a:cubicBezTo>
                  <a:pt x="178" y="232"/>
                  <a:pt x="178" y="232"/>
                  <a:pt x="178" y="232"/>
                </a:cubicBezTo>
                <a:cubicBezTo>
                  <a:pt x="177" y="233"/>
                  <a:pt x="177" y="233"/>
                  <a:pt x="177" y="233"/>
                </a:cubicBezTo>
                <a:cubicBezTo>
                  <a:pt x="177" y="232"/>
                  <a:pt x="177" y="232"/>
                  <a:pt x="177" y="232"/>
                </a:cubicBezTo>
                <a:cubicBezTo>
                  <a:pt x="176" y="232"/>
                  <a:pt x="176" y="232"/>
                  <a:pt x="176" y="232"/>
                </a:cubicBezTo>
                <a:cubicBezTo>
                  <a:pt x="175" y="232"/>
                  <a:pt x="175" y="232"/>
                  <a:pt x="175" y="232"/>
                </a:cubicBezTo>
                <a:cubicBezTo>
                  <a:pt x="174" y="233"/>
                  <a:pt x="174" y="233"/>
                  <a:pt x="174" y="233"/>
                </a:cubicBezTo>
                <a:cubicBezTo>
                  <a:pt x="175" y="233"/>
                  <a:pt x="175" y="233"/>
                  <a:pt x="175" y="233"/>
                </a:cubicBezTo>
                <a:cubicBezTo>
                  <a:pt x="175" y="233"/>
                  <a:pt x="175" y="233"/>
                  <a:pt x="175" y="233"/>
                </a:cubicBezTo>
                <a:cubicBezTo>
                  <a:pt x="176" y="233"/>
                  <a:pt x="176" y="233"/>
                  <a:pt x="176" y="233"/>
                </a:cubicBezTo>
                <a:cubicBezTo>
                  <a:pt x="178" y="233"/>
                  <a:pt x="178" y="233"/>
                  <a:pt x="178" y="233"/>
                </a:cubicBezTo>
                <a:cubicBezTo>
                  <a:pt x="179" y="234"/>
                  <a:pt x="179" y="234"/>
                  <a:pt x="179" y="234"/>
                </a:cubicBezTo>
                <a:cubicBezTo>
                  <a:pt x="179" y="234"/>
                  <a:pt x="179" y="234"/>
                  <a:pt x="179" y="234"/>
                </a:cubicBezTo>
                <a:cubicBezTo>
                  <a:pt x="180" y="234"/>
                  <a:pt x="180" y="234"/>
                  <a:pt x="180" y="234"/>
                </a:cubicBezTo>
                <a:cubicBezTo>
                  <a:pt x="181" y="232"/>
                  <a:pt x="181" y="232"/>
                  <a:pt x="181" y="232"/>
                </a:cubicBezTo>
                <a:cubicBezTo>
                  <a:pt x="181" y="232"/>
                  <a:pt x="182" y="232"/>
                  <a:pt x="182" y="232"/>
                </a:cubicBezTo>
                <a:cubicBezTo>
                  <a:pt x="182" y="232"/>
                  <a:pt x="183" y="232"/>
                  <a:pt x="183" y="232"/>
                </a:cubicBezTo>
                <a:cubicBezTo>
                  <a:pt x="183" y="232"/>
                  <a:pt x="183" y="232"/>
                  <a:pt x="183" y="232"/>
                </a:cubicBezTo>
                <a:cubicBezTo>
                  <a:pt x="184" y="233"/>
                  <a:pt x="184" y="233"/>
                  <a:pt x="184" y="233"/>
                </a:cubicBezTo>
                <a:cubicBezTo>
                  <a:pt x="185" y="232"/>
                  <a:pt x="185" y="232"/>
                  <a:pt x="185" y="232"/>
                </a:cubicBezTo>
                <a:cubicBezTo>
                  <a:pt x="186" y="232"/>
                  <a:pt x="186" y="232"/>
                  <a:pt x="186" y="232"/>
                </a:cubicBezTo>
                <a:cubicBezTo>
                  <a:pt x="187" y="232"/>
                  <a:pt x="187" y="232"/>
                  <a:pt x="187" y="232"/>
                </a:cubicBezTo>
                <a:cubicBezTo>
                  <a:pt x="189" y="231"/>
                  <a:pt x="189" y="231"/>
                  <a:pt x="189" y="231"/>
                </a:cubicBezTo>
                <a:cubicBezTo>
                  <a:pt x="190" y="230"/>
                  <a:pt x="190" y="230"/>
                  <a:pt x="190" y="230"/>
                </a:cubicBezTo>
                <a:cubicBezTo>
                  <a:pt x="190" y="230"/>
                  <a:pt x="190" y="230"/>
                  <a:pt x="190" y="230"/>
                </a:cubicBezTo>
                <a:cubicBezTo>
                  <a:pt x="189" y="231"/>
                  <a:pt x="189" y="231"/>
                  <a:pt x="189" y="231"/>
                </a:cubicBezTo>
                <a:cubicBezTo>
                  <a:pt x="190" y="231"/>
                  <a:pt x="190" y="231"/>
                  <a:pt x="190" y="231"/>
                </a:cubicBezTo>
                <a:cubicBezTo>
                  <a:pt x="191" y="230"/>
                  <a:pt x="191" y="230"/>
                  <a:pt x="191" y="230"/>
                </a:cubicBezTo>
                <a:cubicBezTo>
                  <a:pt x="191" y="230"/>
                  <a:pt x="191" y="230"/>
                  <a:pt x="191" y="230"/>
                </a:cubicBezTo>
                <a:cubicBezTo>
                  <a:pt x="191" y="231"/>
                  <a:pt x="191" y="231"/>
                  <a:pt x="191" y="231"/>
                </a:cubicBezTo>
                <a:cubicBezTo>
                  <a:pt x="193" y="232"/>
                  <a:pt x="193" y="232"/>
                  <a:pt x="193" y="232"/>
                </a:cubicBezTo>
                <a:cubicBezTo>
                  <a:pt x="195" y="233"/>
                  <a:pt x="195" y="233"/>
                  <a:pt x="195" y="233"/>
                </a:cubicBezTo>
                <a:cubicBezTo>
                  <a:pt x="196" y="233"/>
                  <a:pt x="196" y="233"/>
                  <a:pt x="196" y="233"/>
                </a:cubicBezTo>
                <a:cubicBezTo>
                  <a:pt x="198" y="234"/>
                  <a:pt x="198" y="234"/>
                  <a:pt x="198" y="234"/>
                </a:cubicBezTo>
                <a:cubicBezTo>
                  <a:pt x="199" y="234"/>
                  <a:pt x="199" y="234"/>
                  <a:pt x="199" y="234"/>
                </a:cubicBezTo>
                <a:cubicBezTo>
                  <a:pt x="200" y="234"/>
                  <a:pt x="200" y="234"/>
                  <a:pt x="200" y="234"/>
                </a:cubicBezTo>
                <a:cubicBezTo>
                  <a:pt x="201" y="234"/>
                  <a:pt x="201" y="234"/>
                  <a:pt x="201" y="234"/>
                </a:cubicBezTo>
                <a:cubicBezTo>
                  <a:pt x="202" y="234"/>
                  <a:pt x="202" y="234"/>
                  <a:pt x="202" y="234"/>
                </a:cubicBezTo>
                <a:cubicBezTo>
                  <a:pt x="204" y="233"/>
                  <a:pt x="204" y="233"/>
                  <a:pt x="204" y="233"/>
                </a:cubicBezTo>
                <a:cubicBezTo>
                  <a:pt x="204" y="234"/>
                  <a:pt x="204" y="234"/>
                  <a:pt x="204" y="234"/>
                </a:cubicBezTo>
                <a:cubicBezTo>
                  <a:pt x="203" y="235"/>
                  <a:pt x="203" y="235"/>
                  <a:pt x="203" y="235"/>
                </a:cubicBezTo>
                <a:cubicBezTo>
                  <a:pt x="202" y="236"/>
                  <a:pt x="202" y="236"/>
                  <a:pt x="202" y="236"/>
                </a:cubicBezTo>
                <a:cubicBezTo>
                  <a:pt x="201" y="236"/>
                  <a:pt x="201" y="236"/>
                  <a:pt x="201" y="236"/>
                </a:cubicBezTo>
                <a:cubicBezTo>
                  <a:pt x="200" y="236"/>
                  <a:pt x="200" y="236"/>
                  <a:pt x="200" y="236"/>
                </a:cubicBezTo>
                <a:cubicBezTo>
                  <a:pt x="199" y="236"/>
                  <a:pt x="199" y="236"/>
                  <a:pt x="199" y="236"/>
                </a:cubicBezTo>
                <a:cubicBezTo>
                  <a:pt x="199" y="237"/>
                  <a:pt x="199" y="237"/>
                  <a:pt x="199" y="237"/>
                </a:cubicBezTo>
                <a:cubicBezTo>
                  <a:pt x="200" y="237"/>
                  <a:pt x="200" y="237"/>
                  <a:pt x="200" y="237"/>
                </a:cubicBezTo>
                <a:cubicBezTo>
                  <a:pt x="200" y="238"/>
                  <a:pt x="200" y="238"/>
                  <a:pt x="200" y="238"/>
                </a:cubicBezTo>
                <a:cubicBezTo>
                  <a:pt x="200" y="238"/>
                  <a:pt x="200" y="238"/>
                  <a:pt x="200" y="238"/>
                </a:cubicBezTo>
                <a:cubicBezTo>
                  <a:pt x="199" y="238"/>
                  <a:pt x="199" y="238"/>
                  <a:pt x="199" y="238"/>
                </a:cubicBezTo>
                <a:cubicBezTo>
                  <a:pt x="199" y="238"/>
                  <a:pt x="199" y="238"/>
                  <a:pt x="199" y="238"/>
                </a:cubicBezTo>
                <a:cubicBezTo>
                  <a:pt x="198" y="237"/>
                  <a:pt x="198" y="237"/>
                  <a:pt x="198" y="237"/>
                </a:cubicBezTo>
                <a:cubicBezTo>
                  <a:pt x="198" y="238"/>
                  <a:pt x="198" y="238"/>
                  <a:pt x="198" y="238"/>
                </a:cubicBezTo>
                <a:cubicBezTo>
                  <a:pt x="198" y="239"/>
                  <a:pt x="198" y="239"/>
                  <a:pt x="198" y="239"/>
                </a:cubicBezTo>
                <a:cubicBezTo>
                  <a:pt x="197" y="238"/>
                  <a:pt x="197" y="238"/>
                  <a:pt x="197" y="238"/>
                </a:cubicBezTo>
                <a:cubicBezTo>
                  <a:pt x="196" y="238"/>
                  <a:pt x="196" y="238"/>
                  <a:pt x="196" y="238"/>
                </a:cubicBezTo>
                <a:cubicBezTo>
                  <a:pt x="196" y="239"/>
                  <a:pt x="196" y="239"/>
                  <a:pt x="196" y="239"/>
                </a:cubicBezTo>
                <a:cubicBezTo>
                  <a:pt x="196" y="239"/>
                  <a:pt x="196" y="239"/>
                  <a:pt x="196" y="239"/>
                </a:cubicBezTo>
                <a:cubicBezTo>
                  <a:pt x="196" y="239"/>
                  <a:pt x="196" y="239"/>
                  <a:pt x="196" y="239"/>
                </a:cubicBezTo>
                <a:cubicBezTo>
                  <a:pt x="196" y="240"/>
                  <a:pt x="196" y="240"/>
                  <a:pt x="196" y="240"/>
                </a:cubicBezTo>
                <a:cubicBezTo>
                  <a:pt x="195" y="241"/>
                  <a:pt x="195" y="241"/>
                  <a:pt x="195" y="241"/>
                </a:cubicBezTo>
                <a:cubicBezTo>
                  <a:pt x="195" y="241"/>
                  <a:pt x="195" y="241"/>
                  <a:pt x="195" y="241"/>
                </a:cubicBezTo>
                <a:cubicBezTo>
                  <a:pt x="194" y="240"/>
                  <a:pt x="194" y="240"/>
                  <a:pt x="194" y="240"/>
                </a:cubicBezTo>
                <a:cubicBezTo>
                  <a:pt x="194" y="240"/>
                  <a:pt x="194" y="240"/>
                  <a:pt x="194" y="240"/>
                </a:cubicBezTo>
                <a:cubicBezTo>
                  <a:pt x="193" y="240"/>
                  <a:pt x="193" y="240"/>
                  <a:pt x="193" y="240"/>
                </a:cubicBezTo>
                <a:cubicBezTo>
                  <a:pt x="194" y="241"/>
                  <a:pt x="194" y="241"/>
                  <a:pt x="194" y="241"/>
                </a:cubicBezTo>
                <a:cubicBezTo>
                  <a:pt x="194" y="242"/>
                  <a:pt x="194" y="242"/>
                  <a:pt x="194" y="242"/>
                </a:cubicBezTo>
                <a:cubicBezTo>
                  <a:pt x="193" y="242"/>
                  <a:pt x="193" y="242"/>
                  <a:pt x="193" y="242"/>
                </a:cubicBezTo>
                <a:cubicBezTo>
                  <a:pt x="192" y="242"/>
                  <a:pt x="192" y="242"/>
                  <a:pt x="192" y="242"/>
                </a:cubicBezTo>
                <a:cubicBezTo>
                  <a:pt x="192" y="243"/>
                  <a:pt x="192" y="243"/>
                  <a:pt x="192" y="243"/>
                </a:cubicBezTo>
                <a:cubicBezTo>
                  <a:pt x="191" y="242"/>
                  <a:pt x="191" y="242"/>
                  <a:pt x="191" y="242"/>
                </a:cubicBezTo>
                <a:cubicBezTo>
                  <a:pt x="191" y="242"/>
                  <a:pt x="191" y="242"/>
                  <a:pt x="191" y="242"/>
                </a:cubicBezTo>
                <a:cubicBezTo>
                  <a:pt x="190" y="242"/>
                  <a:pt x="190" y="242"/>
                  <a:pt x="190" y="242"/>
                </a:cubicBezTo>
                <a:cubicBezTo>
                  <a:pt x="190" y="243"/>
                  <a:pt x="190" y="243"/>
                  <a:pt x="190" y="243"/>
                </a:cubicBezTo>
                <a:cubicBezTo>
                  <a:pt x="191" y="243"/>
                  <a:pt x="191" y="243"/>
                  <a:pt x="191" y="243"/>
                </a:cubicBezTo>
                <a:cubicBezTo>
                  <a:pt x="190" y="244"/>
                  <a:pt x="190" y="244"/>
                  <a:pt x="190" y="244"/>
                </a:cubicBezTo>
                <a:cubicBezTo>
                  <a:pt x="189" y="244"/>
                  <a:pt x="189" y="244"/>
                  <a:pt x="189" y="244"/>
                </a:cubicBezTo>
                <a:cubicBezTo>
                  <a:pt x="189" y="243"/>
                  <a:pt x="189" y="243"/>
                  <a:pt x="189" y="243"/>
                </a:cubicBezTo>
                <a:cubicBezTo>
                  <a:pt x="188" y="244"/>
                  <a:pt x="188" y="244"/>
                  <a:pt x="188" y="244"/>
                </a:cubicBezTo>
                <a:cubicBezTo>
                  <a:pt x="188" y="244"/>
                  <a:pt x="188" y="244"/>
                  <a:pt x="188" y="244"/>
                </a:cubicBezTo>
                <a:cubicBezTo>
                  <a:pt x="189" y="245"/>
                  <a:pt x="189" y="245"/>
                  <a:pt x="189" y="245"/>
                </a:cubicBezTo>
                <a:cubicBezTo>
                  <a:pt x="189" y="246"/>
                  <a:pt x="189" y="246"/>
                  <a:pt x="189" y="246"/>
                </a:cubicBezTo>
                <a:cubicBezTo>
                  <a:pt x="187" y="246"/>
                  <a:pt x="187" y="246"/>
                  <a:pt x="187" y="246"/>
                </a:cubicBezTo>
                <a:cubicBezTo>
                  <a:pt x="187" y="246"/>
                  <a:pt x="187" y="246"/>
                  <a:pt x="187" y="246"/>
                </a:cubicBezTo>
                <a:cubicBezTo>
                  <a:pt x="187" y="246"/>
                  <a:pt x="187" y="246"/>
                  <a:pt x="187" y="246"/>
                </a:cubicBezTo>
                <a:cubicBezTo>
                  <a:pt x="186" y="245"/>
                  <a:pt x="186" y="245"/>
                  <a:pt x="186" y="245"/>
                </a:cubicBezTo>
                <a:cubicBezTo>
                  <a:pt x="185" y="245"/>
                  <a:pt x="185" y="245"/>
                  <a:pt x="185" y="245"/>
                </a:cubicBezTo>
                <a:cubicBezTo>
                  <a:pt x="185" y="246"/>
                  <a:pt x="185" y="246"/>
                  <a:pt x="185" y="246"/>
                </a:cubicBezTo>
                <a:cubicBezTo>
                  <a:pt x="186" y="247"/>
                  <a:pt x="186" y="247"/>
                  <a:pt x="186" y="247"/>
                </a:cubicBezTo>
                <a:cubicBezTo>
                  <a:pt x="186" y="247"/>
                  <a:pt x="186" y="247"/>
                  <a:pt x="186" y="247"/>
                </a:cubicBezTo>
                <a:cubicBezTo>
                  <a:pt x="185" y="248"/>
                  <a:pt x="185" y="248"/>
                  <a:pt x="185" y="248"/>
                </a:cubicBezTo>
                <a:cubicBezTo>
                  <a:pt x="184" y="248"/>
                  <a:pt x="184" y="248"/>
                  <a:pt x="184" y="248"/>
                </a:cubicBezTo>
                <a:cubicBezTo>
                  <a:pt x="184" y="248"/>
                  <a:pt x="184" y="248"/>
                  <a:pt x="184" y="248"/>
                </a:cubicBezTo>
                <a:cubicBezTo>
                  <a:pt x="182" y="249"/>
                  <a:pt x="182" y="249"/>
                  <a:pt x="182" y="249"/>
                </a:cubicBezTo>
                <a:cubicBezTo>
                  <a:pt x="182" y="249"/>
                  <a:pt x="182" y="249"/>
                  <a:pt x="182" y="249"/>
                </a:cubicBezTo>
                <a:cubicBezTo>
                  <a:pt x="181" y="250"/>
                  <a:pt x="181" y="250"/>
                  <a:pt x="181" y="250"/>
                </a:cubicBezTo>
                <a:cubicBezTo>
                  <a:pt x="181" y="250"/>
                  <a:pt x="181" y="250"/>
                  <a:pt x="181" y="250"/>
                </a:cubicBezTo>
                <a:cubicBezTo>
                  <a:pt x="180" y="249"/>
                  <a:pt x="180" y="249"/>
                  <a:pt x="180" y="249"/>
                </a:cubicBezTo>
                <a:cubicBezTo>
                  <a:pt x="180" y="249"/>
                  <a:pt x="180" y="249"/>
                  <a:pt x="180" y="249"/>
                </a:cubicBezTo>
                <a:cubicBezTo>
                  <a:pt x="179" y="250"/>
                  <a:pt x="179" y="250"/>
                  <a:pt x="179" y="250"/>
                </a:cubicBezTo>
                <a:cubicBezTo>
                  <a:pt x="178" y="250"/>
                  <a:pt x="178" y="250"/>
                  <a:pt x="178" y="250"/>
                </a:cubicBezTo>
                <a:cubicBezTo>
                  <a:pt x="177" y="250"/>
                  <a:pt x="177" y="250"/>
                  <a:pt x="177" y="250"/>
                </a:cubicBezTo>
                <a:cubicBezTo>
                  <a:pt x="177" y="251"/>
                  <a:pt x="177" y="251"/>
                  <a:pt x="177" y="251"/>
                </a:cubicBezTo>
                <a:cubicBezTo>
                  <a:pt x="176" y="251"/>
                  <a:pt x="176" y="251"/>
                  <a:pt x="176" y="251"/>
                </a:cubicBezTo>
                <a:cubicBezTo>
                  <a:pt x="176" y="251"/>
                  <a:pt x="176" y="251"/>
                  <a:pt x="176" y="251"/>
                </a:cubicBezTo>
                <a:cubicBezTo>
                  <a:pt x="175" y="250"/>
                  <a:pt x="175" y="250"/>
                  <a:pt x="175" y="250"/>
                </a:cubicBezTo>
                <a:cubicBezTo>
                  <a:pt x="175" y="250"/>
                  <a:pt x="175" y="250"/>
                  <a:pt x="175" y="250"/>
                </a:cubicBezTo>
                <a:cubicBezTo>
                  <a:pt x="174" y="252"/>
                  <a:pt x="174" y="252"/>
                  <a:pt x="174" y="252"/>
                </a:cubicBezTo>
                <a:cubicBezTo>
                  <a:pt x="174" y="251"/>
                  <a:pt x="174" y="251"/>
                  <a:pt x="174" y="251"/>
                </a:cubicBezTo>
                <a:cubicBezTo>
                  <a:pt x="173" y="251"/>
                  <a:pt x="173" y="251"/>
                  <a:pt x="173" y="251"/>
                </a:cubicBezTo>
                <a:cubicBezTo>
                  <a:pt x="173" y="251"/>
                  <a:pt x="173" y="251"/>
                  <a:pt x="173" y="251"/>
                </a:cubicBezTo>
                <a:cubicBezTo>
                  <a:pt x="173" y="251"/>
                  <a:pt x="173" y="251"/>
                  <a:pt x="173" y="251"/>
                </a:cubicBezTo>
                <a:cubicBezTo>
                  <a:pt x="172" y="252"/>
                  <a:pt x="172" y="252"/>
                  <a:pt x="172" y="252"/>
                </a:cubicBezTo>
                <a:cubicBezTo>
                  <a:pt x="171" y="252"/>
                  <a:pt x="171" y="252"/>
                  <a:pt x="171" y="252"/>
                </a:cubicBezTo>
                <a:cubicBezTo>
                  <a:pt x="171" y="251"/>
                  <a:pt x="171" y="251"/>
                  <a:pt x="171" y="251"/>
                </a:cubicBezTo>
                <a:cubicBezTo>
                  <a:pt x="171" y="251"/>
                  <a:pt x="171" y="251"/>
                  <a:pt x="171" y="251"/>
                </a:cubicBezTo>
                <a:cubicBezTo>
                  <a:pt x="171" y="252"/>
                  <a:pt x="171" y="252"/>
                  <a:pt x="171" y="252"/>
                </a:cubicBezTo>
                <a:cubicBezTo>
                  <a:pt x="171" y="252"/>
                  <a:pt x="171" y="252"/>
                  <a:pt x="171" y="252"/>
                </a:cubicBezTo>
                <a:cubicBezTo>
                  <a:pt x="170" y="252"/>
                  <a:pt x="170" y="252"/>
                  <a:pt x="170" y="252"/>
                </a:cubicBezTo>
                <a:cubicBezTo>
                  <a:pt x="169" y="252"/>
                  <a:pt x="169" y="252"/>
                  <a:pt x="169" y="252"/>
                </a:cubicBezTo>
                <a:cubicBezTo>
                  <a:pt x="169" y="253"/>
                  <a:pt x="169" y="253"/>
                  <a:pt x="169" y="253"/>
                </a:cubicBezTo>
                <a:cubicBezTo>
                  <a:pt x="169" y="253"/>
                  <a:pt x="169" y="253"/>
                  <a:pt x="169" y="253"/>
                </a:cubicBezTo>
                <a:cubicBezTo>
                  <a:pt x="168" y="253"/>
                  <a:pt x="168" y="253"/>
                  <a:pt x="168" y="253"/>
                </a:cubicBezTo>
                <a:cubicBezTo>
                  <a:pt x="168" y="253"/>
                  <a:pt x="168" y="253"/>
                  <a:pt x="168" y="253"/>
                </a:cubicBezTo>
                <a:cubicBezTo>
                  <a:pt x="167" y="253"/>
                  <a:pt x="167" y="253"/>
                  <a:pt x="167" y="253"/>
                </a:cubicBezTo>
                <a:cubicBezTo>
                  <a:pt x="167" y="254"/>
                  <a:pt x="167" y="254"/>
                  <a:pt x="167" y="254"/>
                </a:cubicBezTo>
                <a:cubicBezTo>
                  <a:pt x="167" y="254"/>
                  <a:pt x="167" y="254"/>
                  <a:pt x="167" y="254"/>
                </a:cubicBezTo>
                <a:cubicBezTo>
                  <a:pt x="166" y="253"/>
                  <a:pt x="166" y="253"/>
                  <a:pt x="166" y="253"/>
                </a:cubicBezTo>
                <a:cubicBezTo>
                  <a:pt x="166" y="253"/>
                  <a:pt x="166" y="253"/>
                  <a:pt x="166" y="253"/>
                </a:cubicBezTo>
                <a:cubicBezTo>
                  <a:pt x="166" y="254"/>
                  <a:pt x="166" y="254"/>
                  <a:pt x="166" y="254"/>
                </a:cubicBezTo>
                <a:cubicBezTo>
                  <a:pt x="165" y="255"/>
                  <a:pt x="165" y="255"/>
                  <a:pt x="165" y="255"/>
                </a:cubicBezTo>
                <a:cubicBezTo>
                  <a:pt x="165" y="255"/>
                  <a:pt x="165" y="255"/>
                  <a:pt x="165" y="255"/>
                </a:cubicBezTo>
                <a:cubicBezTo>
                  <a:pt x="164" y="255"/>
                  <a:pt x="164" y="255"/>
                  <a:pt x="164" y="255"/>
                </a:cubicBezTo>
                <a:cubicBezTo>
                  <a:pt x="164" y="255"/>
                  <a:pt x="164" y="255"/>
                  <a:pt x="164" y="255"/>
                </a:cubicBezTo>
                <a:cubicBezTo>
                  <a:pt x="163" y="253"/>
                  <a:pt x="163" y="253"/>
                  <a:pt x="163" y="253"/>
                </a:cubicBezTo>
                <a:cubicBezTo>
                  <a:pt x="162" y="253"/>
                  <a:pt x="162" y="253"/>
                  <a:pt x="162" y="253"/>
                </a:cubicBezTo>
                <a:cubicBezTo>
                  <a:pt x="161" y="253"/>
                  <a:pt x="161" y="253"/>
                  <a:pt x="161" y="253"/>
                </a:cubicBezTo>
                <a:cubicBezTo>
                  <a:pt x="161" y="254"/>
                  <a:pt x="161" y="254"/>
                  <a:pt x="161" y="254"/>
                </a:cubicBezTo>
                <a:cubicBezTo>
                  <a:pt x="161" y="254"/>
                  <a:pt x="161" y="254"/>
                  <a:pt x="161" y="254"/>
                </a:cubicBezTo>
                <a:cubicBezTo>
                  <a:pt x="161" y="255"/>
                  <a:pt x="161" y="255"/>
                  <a:pt x="161" y="255"/>
                </a:cubicBezTo>
                <a:cubicBezTo>
                  <a:pt x="160" y="255"/>
                  <a:pt x="160" y="255"/>
                  <a:pt x="160" y="255"/>
                </a:cubicBezTo>
                <a:cubicBezTo>
                  <a:pt x="159" y="255"/>
                  <a:pt x="159" y="255"/>
                  <a:pt x="159" y="255"/>
                </a:cubicBezTo>
                <a:cubicBezTo>
                  <a:pt x="159" y="255"/>
                  <a:pt x="159" y="255"/>
                  <a:pt x="159" y="255"/>
                </a:cubicBezTo>
                <a:cubicBezTo>
                  <a:pt x="158" y="255"/>
                  <a:pt x="158" y="255"/>
                  <a:pt x="158" y="255"/>
                </a:cubicBezTo>
                <a:cubicBezTo>
                  <a:pt x="157" y="256"/>
                  <a:pt x="157" y="256"/>
                  <a:pt x="157" y="256"/>
                </a:cubicBezTo>
                <a:cubicBezTo>
                  <a:pt x="157" y="255"/>
                  <a:pt x="157" y="255"/>
                  <a:pt x="157" y="255"/>
                </a:cubicBezTo>
                <a:cubicBezTo>
                  <a:pt x="156" y="255"/>
                  <a:pt x="156" y="255"/>
                  <a:pt x="156" y="255"/>
                </a:cubicBezTo>
                <a:cubicBezTo>
                  <a:pt x="155" y="255"/>
                  <a:pt x="155" y="255"/>
                  <a:pt x="155" y="255"/>
                </a:cubicBezTo>
                <a:cubicBezTo>
                  <a:pt x="155" y="255"/>
                  <a:pt x="155" y="255"/>
                  <a:pt x="155" y="255"/>
                </a:cubicBezTo>
                <a:cubicBezTo>
                  <a:pt x="155" y="256"/>
                  <a:pt x="155" y="256"/>
                  <a:pt x="155" y="256"/>
                </a:cubicBezTo>
                <a:cubicBezTo>
                  <a:pt x="154" y="256"/>
                  <a:pt x="154" y="256"/>
                  <a:pt x="154" y="256"/>
                </a:cubicBezTo>
                <a:cubicBezTo>
                  <a:pt x="153" y="255"/>
                  <a:pt x="153" y="255"/>
                  <a:pt x="153" y="255"/>
                </a:cubicBezTo>
                <a:cubicBezTo>
                  <a:pt x="153" y="254"/>
                  <a:pt x="153" y="254"/>
                  <a:pt x="153" y="254"/>
                </a:cubicBezTo>
                <a:cubicBezTo>
                  <a:pt x="153" y="253"/>
                  <a:pt x="153" y="253"/>
                  <a:pt x="153" y="253"/>
                </a:cubicBezTo>
                <a:cubicBezTo>
                  <a:pt x="153" y="253"/>
                  <a:pt x="153" y="253"/>
                  <a:pt x="153" y="253"/>
                </a:cubicBezTo>
                <a:cubicBezTo>
                  <a:pt x="152" y="253"/>
                  <a:pt x="152" y="253"/>
                  <a:pt x="152" y="253"/>
                </a:cubicBezTo>
                <a:cubicBezTo>
                  <a:pt x="151" y="251"/>
                  <a:pt x="151" y="251"/>
                  <a:pt x="151" y="251"/>
                </a:cubicBezTo>
                <a:cubicBezTo>
                  <a:pt x="151" y="250"/>
                  <a:pt x="151" y="250"/>
                  <a:pt x="151" y="250"/>
                </a:cubicBezTo>
                <a:cubicBezTo>
                  <a:pt x="151" y="250"/>
                  <a:pt x="151" y="250"/>
                  <a:pt x="151" y="250"/>
                </a:cubicBezTo>
                <a:cubicBezTo>
                  <a:pt x="151" y="248"/>
                  <a:pt x="151" y="248"/>
                  <a:pt x="151" y="248"/>
                </a:cubicBezTo>
                <a:cubicBezTo>
                  <a:pt x="150" y="248"/>
                  <a:pt x="150" y="248"/>
                  <a:pt x="150" y="248"/>
                </a:cubicBezTo>
                <a:cubicBezTo>
                  <a:pt x="150" y="248"/>
                  <a:pt x="150" y="248"/>
                  <a:pt x="150" y="248"/>
                </a:cubicBezTo>
                <a:cubicBezTo>
                  <a:pt x="150" y="249"/>
                  <a:pt x="150" y="249"/>
                  <a:pt x="150" y="249"/>
                </a:cubicBezTo>
                <a:cubicBezTo>
                  <a:pt x="150" y="250"/>
                  <a:pt x="150" y="250"/>
                  <a:pt x="150" y="250"/>
                </a:cubicBezTo>
                <a:cubicBezTo>
                  <a:pt x="150" y="251"/>
                  <a:pt x="150" y="251"/>
                  <a:pt x="150" y="251"/>
                </a:cubicBezTo>
                <a:cubicBezTo>
                  <a:pt x="151" y="251"/>
                  <a:pt x="151" y="251"/>
                  <a:pt x="151" y="251"/>
                </a:cubicBezTo>
                <a:cubicBezTo>
                  <a:pt x="151" y="252"/>
                  <a:pt x="151" y="252"/>
                  <a:pt x="151" y="252"/>
                </a:cubicBezTo>
                <a:cubicBezTo>
                  <a:pt x="151" y="253"/>
                  <a:pt x="151" y="253"/>
                  <a:pt x="151" y="253"/>
                </a:cubicBezTo>
                <a:cubicBezTo>
                  <a:pt x="151" y="254"/>
                  <a:pt x="151" y="254"/>
                  <a:pt x="151" y="254"/>
                </a:cubicBezTo>
                <a:cubicBezTo>
                  <a:pt x="151" y="254"/>
                  <a:pt x="151" y="254"/>
                  <a:pt x="151" y="254"/>
                </a:cubicBezTo>
                <a:cubicBezTo>
                  <a:pt x="152" y="254"/>
                  <a:pt x="152" y="254"/>
                  <a:pt x="152" y="254"/>
                </a:cubicBezTo>
                <a:cubicBezTo>
                  <a:pt x="152" y="256"/>
                  <a:pt x="152" y="256"/>
                  <a:pt x="152" y="256"/>
                </a:cubicBezTo>
                <a:cubicBezTo>
                  <a:pt x="152" y="257"/>
                  <a:pt x="152" y="257"/>
                  <a:pt x="152" y="257"/>
                </a:cubicBezTo>
                <a:cubicBezTo>
                  <a:pt x="151" y="258"/>
                  <a:pt x="151" y="258"/>
                  <a:pt x="151" y="258"/>
                </a:cubicBezTo>
                <a:cubicBezTo>
                  <a:pt x="150" y="258"/>
                  <a:pt x="150" y="258"/>
                  <a:pt x="150" y="258"/>
                </a:cubicBezTo>
                <a:cubicBezTo>
                  <a:pt x="150" y="258"/>
                  <a:pt x="150" y="258"/>
                  <a:pt x="150" y="258"/>
                </a:cubicBezTo>
                <a:cubicBezTo>
                  <a:pt x="149" y="258"/>
                  <a:pt x="149" y="258"/>
                  <a:pt x="149" y="258"/>
                </a:cubicBezTo>
                <a:cubicBezTo>
                  <a:pt x="149" y="258"/>
                  <a:pt x="149" y="258"/>
                  <a:pt x="149" y="258"/>
                </a:cubicBezTo>
                <a:cubicBezTo>
                  <a:pt x="148" y="260"/>
                  <a:pt x="148" y="260"/>
                  <a:pt x="148" y="260"/>
                </a:cubicBezTo>
                <a:cubicBezTo>
                  <a:pt x="147" y="260"/>
                  <a:pt x="147" y="260"/>
                  <a:pt x="147" y="260"/>
                </a:cubicBezTo>
                <a:cubicBezTo>
                  <a:pt x="146" y="260"/>
                  <a:pt x="146" y="260"/>
                  <a:pt x="146" y="260"/>
                </a:cubicBezTo>
                <a:cubicBezTo>
                  <a:pt x="146" y="260"/>
                  <a:pt x="146" y="260"/>
                  <a:pt x="146" y="260"/>
                </a:cubicBezTo>
                <a:cubicBezTo>
                  <a:pt x="146" y="260"/>
                  <a:pt x="146" y="260"/>
                  <a:pt x="146" y="260"/>
                </a:cubicBezTo>
                <a:cubicBezTo>
                  <a:pt x="146" y="261"/>
                  <a:pt x="146" y="261"/>
                  <a:pt x="146" y="261"/>
                </a:cubicBezTo>
                <a:cubicBezTo>
                  <a:pt x="145" y="262"/>
                  <a:pt x="145" y="262"/>
                  <a:pt x="145" y="262"/>
                </a:cubicBezTo>
                <a:cubicBezTo>
                  <a:pt x="145" y="262"/>
                  <a:pt x="145" y="262"/>
                  <a:pt x="145" y="262"/>
                </a:cubicBezTo>
                <a:cubicBezTo>
                  <a:pt x="144" y="262"/>
                  <a:pt x="144" y="262"/>
                  <a:pt x="144" y="262"/>
                </a:cubicBezTo>
                <a:cubicBezTo>
                  <a:pt x="144" y="263"/>
                  <a:pt x="144" y="263"/>
                  <a:pt x="144" y="263"/>
                </a:cubicBezTo>
                <a:cubicBezTo>
                  <a:pt x="144" y="264"/>
                  <a:pt x="144" y="264"/>
                  <a:pt x="144" y="264"/>
                </a:cubicBezTo>
                <a:cubicBezTo>
                  <a:pt x="144" y="263"/>
                  <a:pt x="144" y="263"/>
                  <a:pt x="144" y="263"/>
                </a:cubicBezTo>
                <a:cubicBezTo>
                  <a:pt x="143" y="263"/>
                  <a:pt x="143" y="263"/>
                  <a:pt x="143" y="263"/>
                </a:cubicBezTo>
                <a:cubicBezTo>
                  <a:pt x="144" y="263"/>
                  <a:pt x="144" y="263"/>
                  <a:pt x="144" y="263"/>
                </a:cubicBezTo>
                <a:cubicBezTo>
                  <a:pt x="144" y="264"/>
                  <a:pt x="144" y="264"/>
                  <a:pt x="144" y="264"/>
                </a:cubicBezTo>
                <a:cubicBezTo>
                  <a:pt x="144" y="265"/>
                  <a:pt x="144" y="265"/>
                  <a:pt x="144" y="265"/>
                </a:cubicBezTo>
                <a:cubicBezTo>
                  <a:pt x="143" y="265"/>
                  <a:pt x="143" y="265"/>
                  <a:pt x="143" y="265"/>
                </a:cubicBezTo>
                <a:cubicBezTo>
                  <a:pt x="143" y="264"/>
                  <a:pt x="143" y="264"/>
                  <a:pt x="143" y="264"/>
                </a:cubicBezTo>
                <a:cubicBezTo>
                  <a:pt x="142" y="264"/>
                  <a:pt x="142" y="264"/>
                  <a:pt x="142" y="264"/>
                </a:cubicBezTo>
                <a:cubicBezTo>
                  <a:pt x="142" y="265"/>
                  <a:pt x="142" y="265"/>
                  <a:pt x="142" y="265"/>
                </a:cubicBezTo>
                <a:cubicBezTo>
                  <a:pt x="142" y="265"/>
                  <a:pt x="142" y="265"/>
                  <a:pt x="142" y="265"/>
                </a:cubicBezTo>
                <a:cubicBezTo>
                  <a:pt x="142" y="266"/>
                  <a:pt x="142" y="266"/>
                  <a:pt x="142" y="266"/>
                </a:cubicBezTo>
                <a:cubicBezTo>
                  <a:pt x="142" y="266"/>
                  <a:pt x="142" y="266"/>
                  <a:pt x="142" y="266"/>
                </a:cubicBezTo>
                <a:cubicBezTo>
                  <a:pt x="141" y="267"/>
                  <a:pt x="141" y="267"/>
                  <a:pt x="141" y="267"/>
                </a:cubicBezTo>
                <a:cubicBezTo>
                  <a:pt x="139" y="268"/>
                  <a:pt x="139" y="268"/>
                  <a:pt x="139" y="268"/>
                </a:cubicBezTo>
                <a:cubicBezTo>
                  <a:pt x="139" y="269"/>
                  <a:pt x="139" y="269"/>
                  <a:pt x="139" y="269"/>
                </a:cubicBezTo>
                <a:cubicBezTo>
                  <a:pt x="139" y="270"/>
                  <a:pt x="139" y="270"/>
                  <a:pt x="139" y="270"/>
                </a:cubicBezTo>
                <a:cubicBezTo>
                  <a:pt x="139" y="271"/>
                  <a:pt x="139" y="271"/>
                  <a:pt x="139" y="271"/>
                </a:cubicBezTo>
                <a:cubicBezTo>
                  <a:pt x="138" y="272"/>
                  <a:pt x="138" y="272"/>
                  <a:pt x="138" y="272"/>
                </a:cubicBezTo>
                <a:cubicBezTo>
                  <a:pt x="138" y="272"/>
                  <a:pt x="138" y="272"/>
                  <a:pt x="138" y="272"/>
                </a:cubicBezTo>
                <a:cubicBezTo>
                  <a:pt x="137" y="272"/>
                  <a:pt x="137" y="272"/>
                  <a:pt x="137" y="272"/>
                </a:cubicBezTo>
                <a:cubicBezTo>
                  <a:pt x="137" y="271"/>
                  <a:pt x="137" y="271"/>
                  <a:pt x="137" y="271"/>
                </a:cubicBezTo>
                <a:cubicBezTo>
                  <a:pt x="137" y="271"/>
                  <a:pt x="137" y="271"/>
                  <a:pt x="137" y="271"/>
                </a:cubicBezTo>
                <a:cubicBezTo>
                  <a:pt x="137" y="271"/>
                  <a:pt x="137" y="271"/>
                  <a:pt x="137" y="271"/>
                </a:cubicBezTo>
                <a:cubicBezTo>
                  <a:pt x="136" y="272"/>
                  <a:pt x="136" y="272"/>
                  <a:pt x="136" y="272"/>
                </a:cubicBezTo>
                <a:cubicBezTo>
                  <a:pt x="136" y="272"/>
                  <a:pt x="136" y="272"/>
                  <a:pt x="136" y="272"/>
                </a:cubicBezTo>
                <a:cubicBezTo>
                  <a:pt x="136" y="273"/>
                  <a:pt x="136" y="273"/>
                  <a:pt x="136" y="273"/>
                </a:cubicBezTo>
                <a:cubicBezTo>
                  <a:pt x="136" y="273"/>
                  <a:pt x="136" y="273"/>
                  <a:pt x="136" y="273"/>
                </a:cubicBezTo>
                <a:cubicBezTo>
                  <a:pt x="134" y="275"/>
                  <a:pt x="134" y="275"/>
                  <a:pt x="134" y="275"/>
                </a:cubicBezTo>
                <a:cubicBezTo>
                  <a:pt x="134" y="275"/>
                  <a:pt x="134" y="275"/>
                  <a:pt x="134" y="275"/>
                </a:cubicBezTo>
                <a:cubicBezTo>
                  <a:pt x="133" y="275"/>
                  <a:pt x="133" y="275"/>
                  <a:pt x="133" y="275"/>
                </a:cubicBezTo>
                <a:cubicBezTo>
                  <a:pt x="133" y="274"/>
                  <a:pt x="133" y="274"/>
                  <a:pt x="133" y="274"/>
                </a:cubicBezTo>
                <a:cubicBezTo>
                  <a:pt x="133" y="274"/>
                  <a:pt x="133" y="274"/>
                  <a:pt x="133" y="274"/>
                </a:cubicBezTo>
                <a:cubicBezTo>
                  <a:pt x="132" y="274"/>
                  <a:pt x="132" y="274"/>
                  <a:pt x="132" y="274"/>
                </a:cubicBezTo>
                <a:cubicBezTo>
                  <a:pt x="132" y="274"/>
                  <a:pt x="132" y="274"/>
                  <a:pt x="132" y="274"/>
                </a:cubicBezTo>
                <a:cubicBezTo>
                  <a:pt x="132" y="274"/>
                  <a:pt x="132" y="274"/>
                  <a:pt x="132" y="274"/>
                </a:cubicBezTo>
                <a:cubicBezTo>
                  <a:pt x="131" y="274"/>
                  <a:pt x="131" y="274"/>
                  <a:pt x="131" y="274"/>
                </a:cubicBezTo>
                <a:cubicBezTo>
                  <a:pt x="130" y="273"/>
                  <a:pt x="130" y="273"/>
                  <a:pt x="130" y="273"/>
                </a:cubicBezTo>
                <a:cubicBezTo>
                  <a:pt x="130" y="273"/>
                  <a:pt x="130" y="273"/>
                  <a:pt x="130" y="273"/>
                </a:cubicBezTo>
                <a:cubicBezTo>
                  <a:pt x="130" y="273"/>
                  <a:pt x="130" y="273"/>
                  <a:pt x="130" y="273"/>
                </a:cubicBezTo>
                <a:cubicBezTo>
                  <a:pt x="130" y="274"/>
                  <a:pt x="130" y="274"/>
                  <a:pt x="130" y="274"/>
                </a:cubicBezTo>
                <a:cubicBezTo>
                  <a:pt x="131" y="274"/>
                  <a:pt x="131" y="274"/>
                  <a:pt x="131" y="274"/>
                </a:cubicBezTo>
                <a:cubicBezTo>
                  <a:pt x="131" y="275"/>
                  <a:pt x="131" y="275"/>
                  <a:pt x="131" y="275"/>
                </a:cubicBezTo>
                <a:cubicBezTo>
                  <a:pt x="131" y="276"/>
                  <a:pt x="131" y="276"/>
                  <a:pt x="131" y="276"/>
                </a:cubicBezTo>
                <a:cubicBezTo>
                  <a:pt x="130" y="276"/>
                  <a:pt x="130" y="276"/>
                  <a:pt x="130" y="276"/>
                </a:cubicBezTo>
                <a:cubicBezTo>
                  <a:pt x="130" y="276"/>
                  <a:pt x="130" y="276"/>
                  <a:pt x="130" y="276"/>
                </a:cubicBezTo>
                <a:cubicBezTo>
                  <a:pt x="128" y="277"/>
                  <a:pt x="128" y="277"/>
                  <a:pt x="128" y="277"/>
                </a:cubicBezTo>
                <a:cubicBezTo>
                  <a:pt x="127" y="278"/>
                  <a:pt x="127" y="278"/>
                  <a:pt x="127" y="278"/>
                </a:cubicBezTo>
                <a:cubicBezTo>
                  <a:pt x="127" y="279"/>
                  <a:pt x="127" y="279"/>
                  <a:pt x="127" y="279"/>
                </a:cubicBezTo>
                <a:cubicBezTo>
                  <a:pt x="126" y="278"/>
                  <a:pt x="126" y="278"/>
                  <a:pt x="126" y="278"/>
                </a:cubicBezTo>
                <a:cubicBezTo>
                  <a:pt x="126" y="278"/>
                  <a:pt x="126" y="278"/>
                  <a:pt x="126" y="278"/>
                </a:cubicBezTo>
                <a:cubicBezTo>
                  <a:pt x="126" y="277"/>
                  <a:pt x="126" y="277"/>
                  <a:pt x="126" y="277"/>
                </a:cubicBezTo>
                <a:cubicBezTo>
                  <a:pt x="126" y="277"/>
                  <a:pt x="126" y="277"/>
                  <a:pt x="126" y="277"/>
                </a:cubicBezTo>
                <a:cubicBezTo>
                  <a:pt x="126" y="277"/>
                  <a:pt x="126" y="277"/>
                  <a:pt x="126" y="277"/>
                </a:cubicBezTo>
                <a:cubicBezTo>
                  <a:pt x="125" y="277"/>
                  <a:pt x="125" y="277"/>
                  <a:pt x="125" y="277"/>
                </a:cubicBezTo>
                <a:cubicBezTo>
                  <a:pt x="125" y="278"/>
                  <a:pt x="125" y="278"/>
                  <a:pt x="125" y="278"/>
                </a:cubicBezTo>
                <a:cubicBezTo>
                  <a:pt x="125" y="279"/>
                  <a:pt x="125" y="279"/>
                  <a:pt x="125" y="279"/>
                </a:cubicBezTo>
                <a:cubicBezTo>
                  <a:pt x="124" y="279"/>
                  <a:pt x="124" y="279"/>
                  <a:pt x="124" y="279"/>
                </a:cubicBezTo>
                <a:cubicBezTo>
                  <a:pt x="123" y="279"/>
                  <a:pt x="123" y="279"/>
                  <a:pt x="123" y="279"/>
                </a:cubicBezTo>
                <a:cubicBezTo>
                  <a:pt x="123" y="279"/>
                  <a:pt x="123" y="279"/>
                  <a:pt x="123" y="279"/>
                </a:cubicBezTo>
                <a:cubicBezTo>
                  <a:pt x="122" y="278"/>
                  <a:pt x="122" y="278"/>
                  <a:pt x="122" y="278"/>
                </a:cubicBezTo>
                <a:cubicBezTo>
                  <a:pt x="122" y="277"/>
                  <a:pt x="122" y="277"/>
                  <a:pt x="122" y="277"/>
                </a:cubicBezTo>
                <a:cubicBezTo>
                  <a:pt x="122" y="276"/>
                  <a:pt x="122" y="276"/>
                  <a:pt x="122" y="276"/>
                </a:cubicBezTo>
                <a:cubicBezTo>
                  <a:pt x="122" y="276"/>
                  <a:pt x="122" y="276"/>
                  <a:pt x="122" y="276"/>
                </a:cubicBezTo>
                <a:cubicBezTo>
                  <a:pt x="122" y="275"/>
                  <a:pt x="122" y="275"/>
                  <a:pt x="122" y="275"/>
                </a:cubicBezTo>
                <a:cubicBezTo>
                  <a:pt x="122" y="277"/>
                  <a:pt x="122" y="277"/>
                  <a:pt x="122" y="277"/>
                </a:cubicBezTo>
                <a:cubicBezTo>
                  <a:pt x="121" y="278"/>
                  <a:pt x="121" y="278"/>
                  <a:pt x="121" y="278"/>
                </a:cubicBezTo>
                <a:cubicBezTo>
                  <a:pt x="121" y="278"/>
                  <a:pt x="121" y="278"/>
                  <a:pt x="121" y="278"/>
                </a:cubicBezTo>
                <a:cubicBezTo>
                  <a:pt x="121" y="279"/>
                  <a:pt x="121" y="279"/>
                  <a:pt x="121" y="279"/>
                </a:cubicBezTo>
                <a:cubicBezTo>
                  <a:pt x="121" y="279"/>
                  <a:pt x="121" y="279"/>
                  <a:pt x="121" y="279"/>
                </a:cubicBezTo>
                <a:cubicBezTo>
                  <a:pt x="119" y="277"/>
                  <a:pt x="119" y="277"/>
                  <a:pt x="119" y="277"/>
                </a:cubicBezTo>
                <a:cubicBezTo>
                  <a:pt x="119" y="276"/>
                  <a:pt x="119" y="276"/>
                  <a:pt x="119" y="276"/>
                </a:cubicBezTo>
                <a:cubicBezTo>
                  <a:pt x="120" y="275"/>
                  <a:pt x="120" y="275"/>
                  <a:pt x="120" y="275"/>
                </a:cubicBezTo>
                <a:cubicBezTo>
                  <a:pt x="120" y="274"/>
                  <a:pt x="120" y="274"/>
                  <a:pt x="120" y="274"/>
                </a:cubicBezTo>
                <a:cubicBezTo>
                  <a:pt x="121" y="274"/>
                  <a:pt x="121" y="274"/>
                  <a:pt x="121" y="274"/>
                </a:cubicBezTo>
                <a:cubicBezTo>
                  <a:pt x="121" y="273"/>
                  <a:pt x="121" y="273"/>
                  <a:pt x="121" y="273"/>
                </a:cubicBezTo>
                <a:cubicBezTo>
                  <a:pt x="120" y="273"/>
                  <a:pt x="120" y="273"/>
                  <a:pt x="120" y="273"/>
                </a:cubicBezTo>
                <a:cubicBezTo>
                  <a:pt x="119" y="272"/>
                  <a:pt x="119" y="272"/>
                  <a:pt x="119" y="272"/>
                </a:cubicBezTo>
                <a:cubicBezTo>
                  <a:pt x="119" y="272"/>
                  <a:pt x="119" y="272"/>
                  <a:pt x="119" y="272"/>
                </a:cubicBezTo>
                <a:cubicBezTo>
                  <a:pt x="119" y="272"/>
                  <a:pt x="119" y="272"/>
                  <a:pt x="119" y="272"/>
                </a:cubicBezTo>
                <a:cubicBezTo>
                  <a:pt x="118" y="272"/>
                  <a:pt x="118" y="272"/>
                  <a:pt x="118" y="272"/>
                </a:cubicBezTo>
                <a:cubicBezTo>
                  <a:pt x="118" y="273"/>
                  <a:pt x="118" y="273"/>
                  <a:pt x="118" y="273"/>
                </a:cubicBezTo>
                <a:cubicBezTo>
                  <a:pt x="118" y="273"/>
                  <a:pt x="118" y="273"/>
                  <a:pt x="118" y="273"/>
                </a:cubicBezTo>
                <a:cubicBezTo>
                  <a:pt x="119" y="274"/>
                  <a:pt x="119" y="274"/>
                  <a:pt x="119" y="274"/>
                </a:cubicBezTo>
                <a:cubicBezTo>
                  <a:pt x="118" y="275"/>
                  <a:pt x="118" y="275"/>
                  <a:pt x="118" y="275"/>
                </a:cubicBezTo>
                <a:cubicBezTo>
                  <a:pt x="118" y="276"/>
                  <a:pt x="118" y="276"/>
                  <a:pt x="118" y="276"/>
                </a:cubicBezTo>
                <a:cubicBezTo>
                  <a:pt x="118" y="276"/>
                  <a:pt x="118" y="276"/>
                  <a:pt x="118" y="276"/>
                </a:cubicBezTo>
                <a:cubicBezTo>
                  <a:pt x="117" y="277"/>
                  <a:pt x="117" y="277"/>
                  <a:pt x="117" y="277"/>
                </a:cubicBezTo>
                <a:cubicBezTo>
                  <a:pt x="116" y="277"/>
                  <a:pt x="116" y="277"/>
                  <a:pt x="116" y="277"/>
                </a:cubicBezTo>
                <a:cubicBezTo>
                  <a:pt x="116" y="276"/>
                  <a:pt x="116" y="276"/>
                  <a:pt x="116" y="276"/>
                </a:cubicBezTo>
                <a:cubicBezTo>
                  <a:pt x="116" y="276"/>
                  <a:pt x="116" y="276"/>
                  <a:pt x="116" y="276"/>
                </a:cubicBezTo>
                <a:cubicBezTo>
                  <a:pt x="115" y="277"/>
                  <a:pt x="115" y="277"/>
                  <a:pt x="115" y="277"/>
                </a:cubicBezTo>
                <a:cubicBezTo>
                  <a:pt x="115" y="277"/>
                  <a:pt x="115" y="277"/>
                  <a:pt x="115" y="277"/>
                </a:cubicBezTo>
                <a:cubicBezTo>
                  <a:pt x="116" y="279"/>
                  <a:pt x="116" y="279"/>
                  <a:pt x="116" y="279"/>
                </a:cubicBezTo>
                <a:cubicBezTo>
                  <a:pt x="116" y="280"/>
                  <a:pt x="116" y="280"/>
                  <a:pt x="116" y="280"/>
                </a:cubicBezTo>
                <a:cubicBezTo>
                  <a:pt x="116" y="280"/>
                  <a:pt x="116" y="280"/>
                  <a:pt x="116" y="280"/>
                </a:cubicBezTo>
                <a:cubicBezTo>
                  <a:pt x="116" y="280"/>
                  <a:pt x="116" y="280"/>
                  <a:pt x="116" y="280"/>
                </a:cubicBezTo>
                <a:cubicBezTo>
                  <a:pt x="116" y="281"/>
                  <a:pt x="116" y="281"/>
                  <a:pt x="116" y="281"/>
                </a:cubicBezTo>
                <a:cubicBezTo>
                  <a:pt x="115" y="281"/>
                  <a:pt x="115" y="281"/>
                  <a:pt x="115" y="281"/>
                </a:cubicBezTo>
                <a:cubicBezTo>
                  <a:pt x="114" y="281"/>
                  <a:pt x="114" y="281"/>
                  <a:pt x="114" y="281"/>
                </a:cubicBezTo>
                <a:cubicBezTo>
                  <a:pt x="114" y="281"/>
                  <a:pt x="114" y="281"/>
                  <a:pt x="114" y="281"/>
                </a:cubicBezTo>
                <a:cubicBezTo>
                  <a:pt x="113" y="281"/>
                  <a:pt x="113" y="281"/>
                  <a:pt x="113" y="281"/>
                </a:cubicBezTo>
                <a:cubicBezTo>
                  <a:pt x="113" y="282"/>
                  <a:pt x="113" y="282"/>
                  <a:pt x="113" y="282"/>
                </a:cubicBezTo>
                <a:cubicBezTo>
                  <a:pt x="112" y="282"/>
                  <a:pt x="112" y="282"/>
                  <a:pt x="112" y="282"/>
                </a:cubicBezTo>
                <a:cubicBezTo>
                  <a:pt x="111" y="282"/>
                  <a:pt x="111" y="282"/>
                  <a:pt x="111" y="282"/>
                </a:cubicBezTo>
                <a:cubicBezTo>
                  <a:pt x="111" y="281"/>
                  <a:pt x="111" y="281"/>
                  <a:pt x="111" y="281"/>
                </a:cubicBezTo>
                <a:cubicBezTo>
                  <a:pt x="110" y="280"/>
                  <a:pt x="110" y="280"/>
                  <a:pt x="110" y="280"/>
                </a:cubicBezTo>
                <a:cubicBezTo>
                  <a:pt x="110" y="280"/>
                  <a:pt x="110" y="280"/>
                  <a:pt x="110" y="280"/>
                </a:cubicBezTo>
                <a:cubicBezTo>
                  <a:pt x="110" y="281"/>
                  <a:pt x="110" y="281"/>
                  <a:pt x="110" y="281"/>
                </a:cubicBezTo>
                <a:cubicBezTo>
                  <a:pt x="110" y="281"/>
                  <a:pt x="110" y="281"/>
                  <a:pt x="110" y="281"/>
                </a:cubicBezTo>
                <a:cubicBezTo>
                  <a:pt x="109" y="282"/>
                  <a:pt x="109" y="282"/>
                  <a:pt x="109" y="282"/>
                </a:cubicBezTo>
                <a:cubicBezTo>
                  <a:pt x="109" y="282"/>
                  <a:pt x="109" y="282"/>
                  <a:pt x="109" y="282"/>
                </a:cubicBezTo>
                <a:cubicBezTo>
                  <a:pt x="108" y="281"/>
                  <a:pt x="108" y="281"/>
                  <a:pt x="108" y="281"/>
                </a:cubicBezTo>
                <a:cubicBezTo>
                  <a:pt x="108" y="280"/>
                  <a:pt x="108" y="280"/>
                  <a:pt x="108" y="280"/>
                </a:cubicBezTo>
                <a:cubicBezTo>
                  <a:pt x="107" y="280"/>
                  <a:pt x="107" y="280"/>
                  <a:pt x="107" y="280"/>
                </a:cubicBezTo>
                <a:cubicBezTo>
                  <a:pt x="107" y="281"/>
                  <a:pt x="107" y="281"/>
                  <a:pt x="107" y="281"/>
                </a:cubicBezTo>
                <a:cubicBezTo>
                  <a:pt x="106" y="281"/>
                  <a:pt x="106" y="281"/>
                  <a:pt x="106" y="281"/>
                </a:cubicBezTo>
                <a:cubicBezTo>
                  <a:pt x="106" y="281"/>
                  <a:pt x="106" y="281"/>
                  <a:pt x="106" y="281"/>
                </a:cubicBezTo>
                <a:cubicBezTo>
                  <a:pt x="106" y="282"/>
                  <a:pt x="106" y="282"/>
                  <a:pt x="106" y="282"/>
                </a:cubicBezTo>
                <a:cubicBezTo>
                  <a:pt x="106" y="283"/>
                  <a:pt x="106" y="283"/>
                  <a:pt x="106" y="283"/>
                </a:cubicBezTo>
                <a:cubicBezTo>
                  <a:pt x="106" y="284"/>
                  <a:pt x="106" y="284"/>
                  <a:pt x="106" y="284"/>
                </a:cubicBezTo>
                <a:cubicBezTo>
                  <a:pt x="106" y="285"/>
                  <a:pt x="106" y="285"/>
                  <a:pt x="106" y="285"/>
                </a:cubicBezTo>
                <a:cubicBezTo>
                  <a:pt x="105" y="287"/>
                  <a:pt x="105" y="287"/>
                  <a:pt x="105" y="287"/>
                </a:cubicBezTo>
                <a:cubicBezTo>
                  <a:pt x="104" y="287"/>
                  <a:pt x="104" y="287"/>
                  <a:pt x="104" y="287"/>
                </a:cubicBezTo>
                <a:cubicBezTo>
                  <a:pt x="103" y="286"/>
                  <a:pt x="103" y="286"/>
                  <a:pt x="103" y="286"/>
                </a:cubicBezTo>
                <a:cubicBezTo>
                  <a:pt x="103" y="285"/>
                  <a:pt x="103" y="285"/>
                  <a:pt x="103" y="285"/>
                </a:cubicBezTo>
                <a:cubicBezTo>
                  <a:pt x="102" y="285"/>
                  <a:pt x="102" y="285"/>
                  <a:pt x="102" y="285"/>
                </a:cubicBezTo>
                <a:cubicBezTo>
                  <a:pt x="102" y="285"/>
                  <a:pt x="102" y="285"/>
                  <a:pt x="102" y="285"/>
                </a:cubicBezTo>
                <a:cubicBezTo>
                  <a:pt x="102" y="286"/>
                  <a:pt x="102" y="286"/>
                  <a:pt x="102" y="286"/>
                </a:cubicBezTo>
                <a:cubicBezTo>
                  <a:pt x="101" y="285"/>
                  <a:pt x="101" y="285"/>
                  <a:pt x="101" y="285"/>
                </a:cubicBezTo>
                <a:cubicBezTo>
                  <a:pt x="101" y="284"/>
                  <a:pt x="101" y="284"/>
                  <a:pt x="101" y="284"/>
                </a:cubicBezTo>
                <a:cubicBezTo>
                  <a:pt x="100" y="284"/>
                  <a:pt x="100" y="284"/>
                  <a:pt x="100" y="284"/>
                </a:cubicBezTo>
                <a:cubicBezTo>
                  <a:pt x="100" y="285"/>
                  <a:pt x="100" y="285"/>
                  <a:pt x="100" y="285"/>
                </a:cubicBezTo>
                <a:cubicBezTo>
                  <a:pt x="100" y="285"/>
                  <a:pt x="100" y="285"/>
                  <a:pt x="100" y="285"/>
                </a:cubicBezTo>
                <a:cubicBezTo>
                  <a:pt x="100" y="286"/>
                  <a:pt x="100" y="286"/>
                  <a:pt x="100" y="286"/>
                </a:cubicBezTo>
                <a:cubicBezTo>
                  <a:pt x="100" y="287"/>
                  <a:pt x="100" y="287"/>
                  <a:pt x="100" y="287"/>
                </a:cubicBezTo>
                <a:cubicBezTo>
                  <a:pt x="100" y="287"/>
                  <a:pt x="100" y="287"/>
                  <a:pt x="100" y="287"/>
                </a:cubicBezTo>
                <a:cubicBezTo>
                  <a:pt x="100" y="288"/>
                  <a:pt x="100" y="288"/>
                  <a:pt x="100" y="288"/>
                </a:cubicBezTo>
                <a:cubicBezTo>
                  <a:pt x="101" y="289"/>
                  <a:pt x="101" y="289"/>
                  <a:pt x="101" y="289"/>
                </a:cubicBezTo>
                <a:cubicBezTo>
                  <a:pt x="101" y="290"/>
                  <a:pt x="101" y="290"/>
                  <a:pt x="101" y="290"/>
                </a:cubicBezTo>
                <a:cubicBezTo>
                  <a:pt x="101" y="292"/>
                  <a:pt x="101" y="292"/>
                  <a:pt x="101" y="292"/>
                </a:cubicBezTo>
                <a:cubicBezTo>
                  <a:pt x="101" y="293"/>
                  <a:pt x="101" y="293"/>
                  <a:pt x="101" y="293"/>
                </a:cubicBezTo>
                <a:cubicBezTo>
                  <a:pt x="100" y="292"/>
                  <a:pt x="100" y="292"/>
                  <a:pt x="100" y="292"/>
                </a:cubicBezTo>
                <a:cubicBezTo>
                  <a:pt x="100" y="292"/>
                  <a:pt x="100" y="292"/>
                  <a:pt x="100" y="292"/>
                </a:cubicBezTo>
                <a:cubicBezTo>
                  <a:pt x="100" y="293"/>
                  <a:pt x="100" y="293"/>
                  <a:pt x="100" y="293"/>
                </a:cubicBezTo>
                <a:cubicBezTo>
                  <a:pt x="99" y="293"/>
                  <a:pt x="99" y="293"/>
                  <a:pt x="99" y="293"/>
                </a:cubicBezTo>
                <a:cubicBezTo>
                  <a:pt x="97" y="293"/>
                  <a:pt x="97" y="293"/>
                  <a:pt x="97" y="293"/>
                </a:cubicBezTo>
                <a:cubicBezTo>
                  <a:pt x="96" y="293"/>
                  <a:pt x="96" y="293"/>
                  <a:pt x="96" y="293"/>
                </a:cubicBezTo>
                <a:cubicBezTo>
                  <a:pt x="96" y="294"/>
                  <a:pt x="96" y="294"/>
                  <a:pt x="96" y="294"/>
                </a:cubicBezTo>
                <a:cubicBezTo>
                  <a:pt x="96" y="294"/>
                  <a:pt x="96" y="294"/>
                  <a:pt x="96" y="294"/>
                </a:cubicBezTo>
                <a:cubicBezTo>
                  <a:pt x="97" y="295"/>
                  <a:pt x="97" y="295"/>
                  <a:pt x="97" y="295"/>
                </a:cubicBezTo>
                <a:cubicBezTo>
                  <a:pt x="98" y="295"/>
                  <a:pt x="98" y="295"/>
                  <a:pt x="98" y="295"/>
                </a:cubicBezTo>
                <a:cubicBezTo>
                  <a:pt x="99" y="295"/>
                  <a:pt x="99" y="295"/>
                  <a:pt x="99" y="295"/>
                </a:cubicBezTo>
                <a:cubicBezTo>
                  <a:pt x="99" y="296"/>
                  <a:pt x="99" y="296"/>
                  <a:pt x="99" y="296"/>
                </a:cubicBezTo>
                <a:cubicBezTo>
                  <a:pt x="100" y="296"/>
                  <a:pt x="100" y="296"/>
                  <a:pt x="100" y="296"/>
                </a:cubicBezTo>
                <a:cubicBezTo>
                  <a:pt x="101" y="296"/>
                  <a:pt x="101" y="296"/>
                  <a:pt x="101" y="296"/>
                </a:cubicBezTo>
                <a:cubicBezTo>
                  <a:pt x="101" y="296"/>
                  <a:pt x="101" y="296"/>
                  <a:pt x="101" y="296"/>
                </a:cubicBezTo>
                <a:cubicBezTo>
                  <a:pt x="100" y="297"/>
                  <a:pt x="100" y="297"/>
                  <a:pt x="100" y="297"/>
                </a:cubicBezTo>
                <a:cubicBezTo>
                  <a:pt x="100" y="297"/>
                  <a:pt x="100" y="297"/>
                  <a:pt x="100" y="297"/>
                </a:cubicBezTo>
                <a:cubicBezTo>
                  <a:pt x="99" y="297"/>
                  <a:pt x="99" y="297"/>
                  <a:pt x="99" y="297"/>
                </a:cubicBezTo>
                <a:cubicBezTo>
                  <a:pt x="99" y="298"/>
                  <a:pt x="99" y="298"/>
                  <a:pt x="99" y="298"/>
                </a:cubicBezTo>
                <a:cubicBezTo>
                  <a:pt x="100" y="298"/>
                  <a:pt x="100" y="298"/>
                  <a:pt x="100" y="298"/>
                </a:cubicBezTo>
                <a:cubicBezTo>
                  <a:pt x="100" y="299"/>
                  <a:pt x="100" y="299"/>
                  <a:pt x="100" y="299"/>
                </a:cubicBezTo>
                <a:cubicBezTo>
                  <a:pt x="100" y="300"/>
                  <a:pt x="100" y="300"/>
                  <a:pt x="100" y="300"/>
                </a:cubicBezTo>
                <a:cubicBezTo>
                  <a:pt x="100" y="300"/>
                  <a:pt x="100" y="300"/>
                  <a:pt x="100" y="300"/>
                </a:cubicBezTo>
                <a:cubicBezTo>
                  <a:pt x="99" y="301"/>
                  <a:pt x="99" y="301"/>
                  <a:pt x="99" y="301"/>
                </a:cubicBezTo>
                <a:cubicBezTo>
                  <a:pt x="99" y="301"/>
                  <a:pt x="99" y="301"/>
                  <a:pt x="99" y="301"/>
                </a:cubicBezTo>
                <a:cubicBezTo>
                  <a:pt x="98" y="300"/>
                  <a:pt x="98" y="300"/>
                  <a:pt x="98" y="300"/>
                </a:cubicBezTo>
                <a:cubicBezTo>
                  <a:pt x="97" y="299"/>
                  <a:pt x="97" y="299"/>
                  <a:pt x="97" y="299"/>
                </a:cubicBezTo>
                <a:cubicBezTo>
                  <a:pt x="97" y="299"/>
                  <a:pt x="97" y="299"/>
                  <a:pt x="97" y="299"/>
                </a:cubicBezTo>
                <a:cubicBezTo>
                  <a:pt x="96" y="299"/>
                  <a:pt x="96" y="299"/>
                  <a:pt x="96" y="299"/>
                </a:cubicBezTo>
                <a:cubicBezTo>
                  <a:pt x="96" y="298"/>
                  <a:pt x="96" y="298"/>
                  <a:pt x="96" y="298"/>
                </a:cubicBezTo>
                <a:cubicBezTo>
                  <a:pt x="95" y="298"/>
                  <a:pt x="95" y="298"/>
                  <a:pt x="95" y="298"/>
                </a:cubicBezTo>
                <a:cubicBezTo>
                  <a:pt x="95" y="299"/>
                  <a:pt x="95" y="299"/>
                  <a:pt x="95" y="299"/>
                </a:cubicBezTo>
                <a:cubicBezTo>
                  <a:pt x="94" y="299"/>
                  <a:pt x="94" y="299"/>
                  <a:pt x="94" y="299"/>
                </a:cubicBezTo>
                <a:cubicBezTo>
                  <a:pt x="95" y="299"/>
                  <a:pt x="95" y="299"/>
                  <a:pt x="95" y="299"/>
                </a:cubicBezTo>
                <a:cubicBezTo>
                  <a:pt x="96" y="300"/>
                  <a:pt x="96" y="300"/>
                  <a:pt x="96" y="300"/>
                </a:cubicBezTo>
                <a:cubicBezTo>
                  <a:pt x="97" y="300"/>
                  <a:pt x="97" y="300"/>
                  <a:pt x="97" y="300"/>
                </a:cubicBezTo>
                <a:cubicBezTo>
                  <a:pt x="98" y="301"/>
                  <a:pt x="98" y="301"/>
                  <a:pt x="98" y="301"/>
                </a:cubicBezTo>
                <a:cubicBezTo>
                  <a:pt x="99" y="301"/>
                  <a:pt x="99" y="301"/>
                  <a:pt x="99" y="301"/>
                </a:cubicBezTo>
                <a:cubicBezTo>
                  <a:pt x="99" y="301"/>
                  <a:pt x="99" y="301"/>
                  <a:pt x="99" y="301"/>
                </a:cubicBezTo>
                <a:cubicBezTo>
                  <a:pt x="99" y="302"/>
                  <a:pt x="99" y="302"/>
                  <a:pt x="99" y="302"/>
                </a:cubicBezTo>
                <a:cubicBezTo>
                  <a:pt x="98" y="303"/>
                  <a:pt x="98" y="303"/>
                  <a:pt x="98" y="303"/>
                </a:cubicBezTo>
                <a:cubicBezTo>
                  <a:pt x="97" y="303"/>
                  <a:pt x="97" y="303"/>
                  <a:pt x="97" y="303"/>
                </a:cubicBezTo>
                <a:cubicBezTo>
                  <a:pt x="96" y="303"/>
                  <a:pt x="96" y="303"/>
                  <a:pt x="96" y="303"/>
                </a:cubicBezTo>
                <a:cubicBezTo>
                  <a:pt x="96" y="303"/>
                  <a:pt x="96" y="303"/>
                  <a:pt x="96" y="303"/>
                </a:cubicBezTo>
                <a:cubicBezTo>
                  <a:pt x="94" y="302"/>
                  <a:pt x="94" y="302"/>
                  <a:pt x="94" y="302"/>
                </a:cubicBezTo>
                <a:cubicBezTo>
                  <a:pt x="94" y="301"/>
                  <a:pt x="94" y="301"/>
                  <a:pt x="94" y="301"/>
                </a:cubicBezTo>
                <a:cubicBezTo>
                  <a:pt x="93" y="301"/>
                  <a:pt x="93" y="301"/>
                  <a:pt x="93" y="301"/>
                </a:cubicBezTo>
                <a:cubicBezTo>
                  <a:pt x="93" y="302"/>
                  <a:pt x="93" y="302"/>
                  <a:pt x="93" y="302"/>
                </a:cubicBezTo>
                <a:cubicBezTo>
                  <a:pt x="93" y="302"/>
                  <a:pt x="93" y="302"/>
                  <a:pt x="93" y="302"/>
                </a:cubicBezTo>
                <a:cubicBezTo>
                  <a:pt x="93" y="303"/>
                  <a:pt x="93" y="303"/>
                  <a:pt x="93" y="303"/>
                </a:cubicBezTo>
                <a:cubicBezTo>
                  <a:pt x="93" y="304"/>
                  <a:pt x="93" y="304"/>
                  <a:pt x="93" y="304"/>
                </a:cubicBezTo>
                <a:cubicBezTo>
                  <a:pt x="95" y="304"/>
                  <a:pt x="95" y="304"/>
                  <a:pt x="95" y="304"/>
                </a:cubicBezTo>
                <a:cubicBezTo>
                  <a:pt x="95" y="305"/>
                  <a:pt x="95" y="305"/>
                  <a:pt x="95" y="305"/>
                </a:cubicBezTo>
                <a:cubicBezTo>
                  <a:pt x="95" y="306"/>
                  <a:pt x="95" y="306"/>
                  <a:pt x="95" y="306"/>
                </a:cubicBezTo>
                <a:cubicBezTo>
                  <a:pt x="95" y="306"/>
                  <a:pt x="95" y="306"/>
                  <a:pt x="95" y="306"/>
                </a:cubicBezTo>
                <a:cubicBezTo>
                  <a:pt x="94" y="305"/>
                  <a:pt x="94" y="305"/>
                  <a:pt x="94" y="305"/>
                </a:cubicBezTo>
                <a:cubicBezTo>
                  <a:pt x="93" y="305"/>
                  <a:pt x="93" y="305"/>
                  <a:pt x="93" y="305"/>
                </a:cubicBezTo>
                <a:cubicBezTo>
                  <a:pt x="92" y="304"/>
                  <a:pt x="92" y="304"/>
                  <a:pt x="92" y="304"/>
                </a:cubicBezTo>
                <a:cubicBezTo>
                  <a:pt x="91" y="304"/>
                  <a:pt x="91" y="304"/>
                  <a:pt x="91" y="304"/>
                </a:cubicBezTo>
                <a:cubicBezTo>
                  <a:pt x="91" y="304"/>
                  <a:pt x="91" y="304"/>
                  <a:pt x="91" y="304"/>
                </a:cubicBezTo>
                <a:cubicBezTo>
                  <a:pt x="91" y="305"/>
                  <a:pt x="91" y="305"/>
                  <a:pt x="91" y="305"/>
                </a:cubicBezTo>
                <a:cubicBezTo>
                  <a:pt x="92" y="305"/>
                  <a:pt x="92" y="305"/>
                  <a:pt x="92" y="305"/>
                </a:cubicBezTo>
                <a:cubicBezTo>
                  <a:pt x="93" y="306"/>
                  <a:pt x="93" y="306"/>
                  <a:pt x="93" y="306"/>
                </a:cubicBezTo>
                <a:cubicBezTo>
                  <a:pt x="94" y="306"/>
                  <a:pt x="94" y="306"/>
                  <a:pt x="94" y="306"/>
                </a:cubicBezTo>
                <a:cubicBezTo>
                  <a:pt x="94" y="307"/>
                  <a:pt x="94" y="307"/>
                  <a:pt x="94" y="307"/>
                </a:cubicBezTo>
                <a:cubicBezTo>
                  <a:pt x="93" y="307"/>
                  <a:pt x="93" y="307"/>
                  <a:pt x="93" y="307"/>
                </a:cubicBezTo>
                <a:cubicBezTo>
                  <a:pt x="92" y="307"/>
                  <a:pt x="92" y="307"/>
                  <a:pt x="92" y="307"/>
                </a:cubicBezTo>
                <a:cubicBezTo>
                  <a:pt x="91" y="306"/>
                  <a:pt x="91" y="306"/>
                  <a:pt x="91" y="306"/>
                </a:cubicBezTo>
                <a:cubicBezTo>
                  <a:pt x="91" y="306"/>
                  <a:pt x="91" y="306"/>
                  <a:pt x="91" y="306"/>
                </a:cubicBezTo>
                <a:cubicBezTo>
                  <a:pt x="91" y="305"/>
                  <a:pt x="91" y="305"/>
                  <a:pt x="91" y="305"/>
                </a:cubicBezTo>
                <a:cubicBezTo>
                  <a:pt x="90" y="305"/>
                  <a:pt x="90" y="305"/>
                  <a:pt x="90" y="305"/>
                </a:cubicBezTo>
                <a:cubicBezTo>
                  <a:pt x="90" y="306"/>
                  <a:pt x="90" y="306"/>
                  <a:pt x="90" y="306"/>
                </a:cubicBezTo>
                <a:cubicBezTo>
                  <a:pt x="90" y="306"/>
                  <a:pt x="90" y="306"/>
                  <a:pt x="90" y="306"/>
                </a:cubicBezTo>
                <a:cubicBezTo>
                  <a:pt x="90" y="307"/>
                  <a:pt x="90" y="307"/>
                  <a:pt x="90" y="307"/>
                </a:cubicBezTo>
                <a:cubicBezTo>
                  <a:pt x="90" y="308"/>
                  <a:pt x="90" y="308"/>
                  <a:pt x="90" y="308"/>
                </a:cubicBezTo>
                <a:cubicBezTo>
                  <a:pt x="90" y="308"/>
                  <a:pt x="90" y="308"/>
                  <a:pt x="90" y="308"/>
                </a:cubicBezTo>
                <a:cubicBezTo>
                  <a:pt x="91" y="308"/>
                  <a:pt x="91" y="308"/>
                  <a:pt x="91" y="308"/>
                </a:cubicBezTo>
                <a:cubicBezTo>
                  <a:pt x="92" y="308"/>
                  <a:pt x="92" y="308"/>
                  <a:pt x="92" y="308"/>
                </a:cubicBezTo>
                <a:cubicBezTo>
                  <a:pt x="93" y="308"/>
                  <a:pt x="93" y="308"/>
                  <a:pt x="93" y="308"/>
                </a:cubicBezTo>
                <a:cubicBezTo>
                  <a:pt x="93" y="309"/>
                  <a:pt x="93" y="309"/>
                  <a:pt x="93" y="309"/>
                </a:cubicBezTo>
                <a:cubicBezTo>
                  <a:pt x="93" y="309"/>
                  <a:pt x="93" y="309"/>
                  <a:pt x="93" y="309"/>
                </a:cubicBezTo>
                <a:cubicBezTo>
                  <a:pt x="93" y="310"/>
                  <a:pt x="93" y="310"/>
                  <a:pt x="93" y="310"/>
                </a:cubicBezTo>
                <a:cubicBezTo>
                  <a:pt x="92" y="310"/>
                  <a:pt x="92" y="310"/>
                  <a:pt x="92" y="310"/>
                </a:cubicBezTo>
                <a:cubicBezTo>
                  <a:pt x="91" y="311"/>
                  <a:pt x="91" y="311"/>
                  <a:pt x="91" y="311"/>
                </a:cubicBezTo>
                <a:cubicBezTo>
                  <a:pt x="91" y="310"/>
                  <a:pt x="91" y="310"/>
                  <a:pt x="91" y="310"/>
                </a:cubicBezTo>
                <a:cubicBezTo>
                  <a:pt x="90" y="310"/>
                  <a:pt x="90" y="310"/>
                  <a:pt x="90" y="310"/>
                </a:cubicBezTo>
                <a:cubicBezTo>
                  <a:pt x="89" y="310"/>
                  <a:pt x="89" y="310"/>
                  <a:pt x="89" y="310"/>
                </a:cubicBezTo>
                <a:cubicBezTo>
                  <a:pt x="89" y="309"/>
                  <a:pt x="89" y="309"/>
                  <a:pt x="89" y="309"/>
                </a:cubicBezTo>
                <a:cubicBezTo>
                  <a:pt x="89" y="309"/>
                  <a:pt x="89" y="309"/>
                  <a:pt x="89" y="309"/>
                </a:cubicBezTo>
                <a:cubicBezTo>
                  <a:pt x="88" y="308"/>
                  <a:pt x="88" y="308"/>
                  <a:pt x="88" y="308"/>
                </a:cubicBezTo>
                <a:cubicBezTo>
                  <a:pt x="88" y="308"/>
                  <a:pt x="88" y="308"/>
                  <a:pt x="88" y="308"/>
                </a:cubicBezTo>
                <a:cubicBezTo>
                  <a:pt x="88" y="309"/>
                  <a:pt x="88" y="309"/>
                  <a:pt x="88" y="309"/>
                </a:cubicBezTo>
                <a:cubicBezTo>
                  <a:pt x="88" y="310"/>
                  <a:pt x="88" y="310"/>
                  <a:pt x="88" y="310"/>
                </a:cubicBezTo>
                <a:cubicBezTo>
                  <a:pt x="87" y="311"/>
                  <a:pt x="87" y="311"/>
                  <a:pt x="87" y="311"/>
                </a:cubicBezTo>
                <a:cubicBezTo>
                  <a:pt x="86" y="311"/>
                  <a:pt x="86" y="311"/>
                  <a:pt x="86" y="311"/>
                </a:cubicBezTo>
                <a:cubicBezTo>
                  <a:pt x="86" y="310"/>
                  <a:pt x="86" y="310"/>
                  <a:pt x="86" y="310"/>
                </a:cubicBezTo>
                <a:cubicBezTo>
                  <a:pt x="85" y="310"/>
                  <a:pt x="85" y="310"/>
                  <a:pt x="85" y="310"/>
                </a:cubicBezTo>
                <a:cubicBezTo>
                  <a:pt x="85" y="310"/>
                  <a:pt x="85" y="310"/>
                  <a:pt x="85" y="310"/>
                </a:cubicBezTo>
                <a:cubicBezTo>
                  <a:pt x="85" y="311"/>
                  <a:pt x="85" y="311"/>
                  <a:pt x="85" y="311"/>
                </a:cubicBezTo>
                <a:cubicBezTo>
                  <a:pt x="85" y="311"/>
                  <a:pt x="85" y="311"/>
                  <a:pt x="85" y="311"/>
                </a:cubicBezTo>
                <a:cubicBezTo>
                  <a:pt x="87" y="312"/>
                  <a:pt x="87" y="312"/>
                  <a:pt x="87" y="312"/>
                </a:cubicBezTo>
                <a:cubicBezTo>
                  <a:pt x="88" y="312"/>
                  <a:pt x="88" y="312"/>
                  <a:pt x="88" y="312"/>
                </a:cubicBezTo>
                <a:cubicBezTo>
                  <a:pt x="89" y="313"/>
                  <a:pt x="89" y="313"/>
                  <a:pt x="89" y="313"/>
                </a:cubicBezTo>
                <a:cubicBezTo>
                  <a:pt x="89" y="315"/>
                  <a:pt x="89" y="315"/>
                  <a:pt x="89" y="315"/>
                </a:cubicBezTo>
                <a:cubicBezTo>
                  <a:pt x="89" y="315"/>
                  <a:pt x="89" y="315"/>
                  <a:pt x="89" y="315"/>
                </a:cubicBezTo>
                <a:cubicBezTo>
                  <a:pt x="88" y="315"/>
                  <a:pt x="88" y="315"/>
                  <a:pt x="88" y="315"/>
                </a:cubicBezTo>
                <a:cubicBezTo>
                  <a:pt x="87" y="314"/>
                  <a:pt x="87" y="314"/>
                  <a:pt x="87" y="314"/>
                </a:cubicBezTo>
                <a:cubicBezTo>
                  <a:pt x="86" y="313"/>
                  <a:pt x="86" y="313"/>
                  <a:pt x="86" y="313"/>
                </a:cubicBezTo>
                <a:cubicBezTo>
                  <a:pt x="85" y="313"/>
                  <a:pt x="85" y="313"/>
                  <a:pt x="85" y="313"/>
                </a:cubicBezTo>
                <a:cubicBezTo>
                  <a:pt x="84" y="313"/>
                  <a:pt x="84" y="313"/>
                  <a:pt x="84" y="313"/>
                </a:cubicBezTo>
                <a:cubicBezTo>
                  <a:pt x="84" y="313"/>
                  <a:pt x="84" y="313"/>
                  <a:pt x="84" y="313"/>
                </a:cubicBezTo>
                <a:cubicBezTo>
                  <a:pt x="85" y="314"/>
                  <a:pt x="85" y="314"/>
                  <a:pt x="85" y="314"/>
                </a:cubicBezTo>
                <a:cubicBezTo>
                  <a:pt x="86" y="314"/>
                  <a:pt x="86" y="314"/>
                  <a:pt x="86" y="314"/>
                </a:cubicBezTo>
                <a:cubicBezTo>
                  <a:pt x="87" y="315"/>
                  <a:pt x="87" y="315"/>
                  <a:pt x="87" y="315"/>
                </a:cubicBezTo>
                <a:cubicBezTo>
                  <a:pt x="88" y="316"/>
                  <a:pt x="88" y="316"/>
                  <a:pt x="88" y="316"/>
                </a:cubicBezTo>
                <a:cubicBezTo>
                  <a:pt x="88" y="317"/>
                  <a:pt x="88" y="317"/>
                  <a:pt x="88" y="317"/>
                </a:cubicBezTo>
                <a:cubicBezTo>
                  <a:pt x="88" y="318"/>
                  <a:pt x="88" y="318"/>
                  <a:pt x="88" y="318"/>
                </a:cubicBezTo>
                <a:cubicBezTo>
                  <a:pt x="88" y="318"/>
                  <a:pt x="88" y="318"/>
                  <a:pt x="88" y="318"/>
                </a:cubicBezTo>
                <a:cubicBezTo>
                  <a:pt x="88" y="319"/>
                  <a:pt x="88" y="319"/>
                  <a:pt x="88" y="319"/>
                </a:cubicBezTo>
                <a:cubicBezTo>
                  <a:pt x="87" y="319"/>
                  <a:pt x="87" y="319"/>
                  <a:pt x="87" y="319"/>
                </a:cubicBezTo>
                <a:cubicBezTo>
                  <a:pt x="87" y="320"/>
                  <a:pt x="87" y="320"/>
                  <a:pt x="87" y="320"/>
                </a:cubicBezTo>
                <a:cubicBezTo>
                  <a:pt x="87" y="321"/>
                  <a:pt x="87" y="321"/>
                  <a:pt x="87" y="321"/>
                </a:cubicBezTo>
                <a:cubicBezTo>
                  <a:pt x="86" y="321"/>
                  <a:pt x="86" y="321"/>
                  <a:pt x="86" y="321"/>
                </a:cubicBezTo>
                <a:cubicBezTo>
                  <a:pt x="86" y="320"/>
                  <a:pt x="86" y="320"/>
                  <a:pt x="86" y="320"/>
                </a:cubicBezTo>
                <a:cubicBezTo>
                  <a:pt x="85" y="320"/>
                  <a:pt x="85" y="320"/>
                  <a:pt x="85" y="320"/>
                </a:cubicBezTo>
                <a:cubicBezTo>
                  <a:pt x="84" y="320"/>
                  <a:pt x="84" y="320"/>
                  <a:pt x="84" y="320"/>
                </a:cubicBezTo>
                <a:cubicBezTo>
                  <a:pt x="83" y="320"/>
                  <a:pt x="83" y="320"/>
                  <a:pt x="83" y="320"/>
                </a:cubicBezTo>
                <a:cubicBezTo>
                  <a:pt x="84" y="320"/>
                  <a:pt x="84" y="320"/>
                  <a:pt x="84" y="320"/>
                </a:cubicBezTo>
                <a:cubicBezTo>
                  <a:pt x="85" y="321"/>
                  <a:pt x="85" y="321"/>
                  <a:pt x="85" y="321"/>
                </a:cubicBezTo>
                <a:cubicBezTo>
                  <a:pt x="86" y="321"/>
                  <a:pt x="86" y="321"/>
                  <a:pt x="86" y="321"/>
                </a:cubicBezTo>
                <a:cubicBezTo>
                  <a:pt x="86" y="321"/>
                  <a:pt x="86" y="321"/>
                  <a:pt x="86" y="321"/>
                </a:cubicBezTo>
                <a:cubicBezTo>
                  <a:pt x="85" y="322"/>
                  <a:pt x="85" y="322"/>
                  <a:pt x="85" y="322"/>
                </a:cubicBezTo>
                <a:cubicBezTo>
                  <a:pt x="84" y="322"/>
                  <a:pt x="84" y="322"/>
                  <a:pt x="84" y="322"/>
                </a:cubicBezTo>
                <a:cubicBezTo>
                  <a:pt x="84" y="322"/>
                  <a:pt x="84" y="322"/>
                  <a:pt x="84" y="322"/>
                </a:cubicBezTo>
                <a:cubicBezTo>
                  <a:pt x="84" y="322"/>
                  <a:pt x="84" y="322"/>
                  <a:pt x="84" y="322"/>
                </a:cubicBezTo>
                <a:cubicBezTo>
                  <a:pt x="84" y="322"/>
                  <a:pt x="84" y="322"/>
                  <a:pt x="84" y="322"/>
                </a:cubicBezTo>
                <a:cubicBezTo>
                  <a:pt x="84" y="323"/>
                  <a:pt x="84" y="323"/>
                  <a:pt x="84" y="323"/>
                </a:cubicBezTo>
                <a:cubicBezTo>
                  <a:pt x="85" y="323"/>
                  <a:pt x="85" y="323"/>
                  <a:pt x="85" y="323"/>
                </a:cubicBezTo>
                <a:cubicBezTo>
                  <a:pt x="85" y="323"/>
                  <a:pt x="85" y="323"/>
                  <a:pt x="85" y="323"/>
                </a:cubicBezTo>
                <a:cubicBezTo>
                  <a:pt x="84" y="324"/>
                  <a:pt x="84" y="324"/>
                  <a:pt x="84" y="324"/>
                </a:cubicBezTo>
                <a:cubicBezTo>
                  <a:pt x="83" y="324"/>
                  <a:pt x="83" y="324"/>
                  <a:pt x="83" y="324"/>
                </a:cubicBezTo>
                <a:cubicBezTo>
                  <a:pt x="83" y="324"/>
                  <a:pt x="83" y="324"/>
                  <a:pt x="83" y="324"/>
                </a:cubicBezTo>
                <a:cubicBezTo>
                  <a:pt x="82" y="324"/>
                  <a:pt x="82" y="324"/>
                  <a:pt x="82" y="324"/>
                </a:cubicBezTo>
                <a:cubicBezTo>
                  <a:pt x="82" y="324"/>
                  <a:pt x="82" y="324"/>
                  <a:pt x="82" y="324"/>
                </a:cubicBezTo>
                <a:cubicBezTo>
                  <a:pt x="82" y="324"/>
                  <a:pt x="82" y="324"/>
                  <a:pt x="82" y="324"/>
                </a:cubicBezTo>
                <a:cubicBezTo>
                  <a:pt x="83" y="325"/>
                  <a:pt x="83" y="325"/>
                  <a:pt x="83" y="325"/>
                </a:cubicBezTo>
                <a:cubicBezTo>
                  <a:pt x="84" y="325"/>
                  <a:pt x="84" y="325"/>
                  <a:pt x="84" y="325"/>
                </a:cubicBezTo>
                <a:cubicBezTo>
                  <a:pt x="83" y="326"/>
                  <a:pt x="83" y="326"/>
                  <a:pt x="83" y="326"/>
                </a:cubicBezTo>
                <a:cubicBezTo>
                  <a:pt x="83" y="326"/>
                  <a:pt x="83" y="326"/>
                  <a:pt x="83" y="326"/>
                </a:cubicBezTo>
                <a:cubicBezTo>
                  <a:pt x="81" y="326"/>
                  <a:pt x="81" y="326"/>
                  <a:pt x="81" y="326"/>
                </a:cubicBezTo>
                <a:cubicBezTo>
                  <a:pt x="80" y="326"/>
                  <a:pt x="80" y="326"/>
                  <a:pt x="80" y="326"/>
                </a:cubicBezTo>
                <a:cubicBezTo>
                  <a:pt x="80" y="326"/>
                  <a:pt x="80" y="326"/>
                  <a:pt x="80" y="326"/>
                </a:cubicBezTo>
                <a:cubicBezTo>
                  <a:pt x="80" y="326"/>
                  <a:pt x="80" y="326"/>
                  <a:pt x="80" y="326"/>
                </a:cubicBezTo>
                <a:cubicBezTo>
                  <a:pt x="81" y="327"/>
                  <a:pt x="81" y="327"/>
                  <a:pt x="81" y="327"/>
                </a:cubicBezTo>
                <a:cubicBezTo>
                  <a:pt x="83" y="327"/>
                  <a:pt x="83" y="327"/>
                  <a:pt x="83" y="327"/>
                </a:cubicBezTo>
                <a:cubicBezTo>
                  <a:pt x="84" y="327"/>
                  <a:pt x="84" y="327"/>
                  <a:pt x="84" y="327"/>
                </a:cubicBezTo>
                <a:cubicBezTo>
                  <a:pt x="84" y="328"/>
                  <a:pt x="84" y="328"/>
                  <a:pt x="84" y="328"/>
                </a:cubicBezTo>
                <a:cubicBezTo>
                  <a:pt x="84" y="328"/>
                  <a:pt x="84" y="328"/>
                  <a:pt x="84" y="328"/>
                </a:cubicBezTo>
                <a:cubicBezTo>
                  <a:pt x="83" y="329"/>
                  <a:pt x="83" y="329"/>
                  <a:pt x="83" y="329"/>
                </a:cubicBezTo>
                <a:cubicBezTo>
                  <a:pt x="82" y="329"/>
                  <a:pt x="82" y="329"/>
                  <a:pt x="82" y="329"/>
                </a:cubicBezTo>
                <a:cubicBezTo>
                  <a:pt x="80" y="329"/>
                  <a:pt x="80" y="329"/>
                  <a:pt x="80" y="329"/>
                </a:cubicBezTo>
                <a:cubicBezTo>
                  <a:pt x="79" y="328"/>
                  <a:pt x="79" y="328"/>
                  <a:pt x="79" y="328"/>
                </a:cubicBezTo>
                <a:cubicBezTo>
                  <a:pt x="79" y="329"/>
                  <a:pt x="79" y="329"/>
                  <a:pt x="79" y="329"/>
                </a:cubicBezTo>
                <a:cubicBezTo>
                  <a:pt x="80" y="329"/>
                  <a:pt x="80" y="329"/>
                  <a:pt x="80" y="329"/>
                </a:cubicBezTo>
                <a:cubicBezTo>
                  <a:pt x="81" y="329"/>
                  <a:pt x="81" y="329"/>
                  <a:pt x="81" y="329"/>
                </a:cubicBezTo>
                <a:cubicBezTo>
                  <a:pt x="81" y="330"/>
                  <a:pt x="81" y="330"/>
                  <a:pt x="81" y="330"/>
                </a:cubicBezTo>
                <a:cubicBezTo>
                  <a:pt x="81" y="330"/>
                  <a:pt x="81" y="330"/>
                  <a:pt x="81" y="330"/>
                </a:cubicBezTo>
                <a:cubicBezTo>
                  <a:pt x="80" y="330"/>
                  <a:pt x="80" y="330"/>
                  <a:pt x="80" y="330"/>
                </a:cubicBezTo>
                <a:cubicBezTo>
                  <a:pt x="80" y="330"/>
                  <a:pt x="80" y="330"/>
                  <a:pt x="80" y="330"/>
                </a:cubicBezTo>
                <a:cubicBezTo>
                  <a:pt x="81" y="331"/>
                  <a:pt x="81" y="331"/>
                  <a:pt x="81" y="331"/>
                </a:cubicBezTo>
                <a:cubicBezTo>
                  <a:pt x="82" y="331"/>
                  <a:pt x="82" y="331"/>
                  <a:pt x="82" y="331"/>
                </a:cubicBezTo>
                <a:cubicBezTo>
                  <a:pt x="82" y="331"/>
                  <a:pt x="82" y="331"/>
                  <a:pt x="82" y="331"/>
                </a:cubicBezTo>
                <a:cubicBezTo>
                  <a:pt x="82" y="332"/>
                  <a:pt x="82" y="332"/>
                  <a:pt x="82" y="332"/>
                </a:cubicBezTo>
                <a:cubicBezTo>
                  <a:pt x="81" y="332"/>
                  <a:pt x="81" y="332"/>
                  <a:pt x="81" y="332"/>
                </a:cubicBezTo>
                <a:cubicBezTo>
                  <a:pt x="80" y="332"/>
                  <a:pt x="80" y="332"/>
                  <a:pt x="80" y="332"/>
                </a:cubicBezTo>
                <a:cubicBezTo>
                  <a:pt x="80" y="332"/>
                  <a:pt x="80" y="332"/>
                  <a:pt x="80" y="332"/>
                </a:cubicBezTo>
                <a:cubicBezTo>
                  <a:pt x="81" y="333"/>
                  <a:pt x="81" y="333"/>
                  <a:pt x="81" y="333"/>
                </a:cubicBezTo>
                <a:cubicBezTo>
                  <a:pt x="82" y="332"/>
                  <a:pt x="82" y="332"/>
                  <a:pt x="82" y="332"/>
                </a:cubicBezTo>
                <a:cubicBezTo>
                  <a:pt x="83" y="333"/>
                  <a:pt x="83" y="333"/>
                  <a:pt x="83" y="333"/>
                </a:cubicBezTo>
                <a:cubicBezTo>
                  <a:pt x="82" y="333"/>
                  <a:pt x="82" y="333"/>
                  <a:pt x="82" y="333"/>
                </a:cubicBezTo>
                <a:cubicBezTo>
                  <a:pt x="82" y="334"/>
                  <a:pt x="82" y="334"/>
                  <a:pt x="82" y="334"/>
                </a:cubicBezTo>
                <a:cubicBezTo>
                  <a:pt x="81" y="334"/>
                  <a:pt x="81" y="334"/>
                  <a:pt x="81" y="334"/>
                </a:cubicBezTo>
                <a:cubicBezTo>
                  <a:pt x="80" y="334"/>
                  <a:pt x="80" y="334"/>
                  <a:pt x="80" y="334"/>
                </a:cubicBezTo>
                <a:cubicBezTo>
                  <a:pt x="79" y="333"/>
                  <a:pt x="79" y="333"/>
                  <a:pt x="79" y="333"/>
                </a:cubicBezTo>
                <a:cubicBezTo>
                  <a:pt x="78" y="333"/>
                  <a:pt x="78" y="333"/>
                  <a:pt x="78" y="333"/>
                </a:cubicBezTo>
                <a:cubicBezTo>
                  <a:pt x="78" y="332"/>
                  <a:pt x="78" y="332"/>
                  <a:pt x="78" y="332"/>
                </a:cubicBezTo>
                <a:cubicBezTo>
                  <a:pt x="77" y="332"/>
                  <a:pt x="77" y="332"/>
                  <a:pt x="77" y="332"/>
                </a:cubicBezTo>
                <a:cubicBezTo>
                  <a:pt x="77" y="332"/>
                  <a:pt x="77" y="332"/>
                  <a:pt x="77" y="332"/>
                </a:cubicBezTo>
                <a:cubicBezTo>
                  <a:pt x="76" y="332"/>
                  <a:pt x="76" y="332"/>
                  <a:pt x="76" y="332"/>
                </a:cubicBezTo>
                <a:cubicBezTo>
                  <a:pt x="76" y="332"/>
                  <a:pt x="76" y="332"/>
                  <a:pt x="76" y="332"/>
                </a:cubicBezTo>
                <a:cubicBezTo>
                  <a:pt x="76" y="333"/>
                  <a:pt x="76" y="333"/>
                  <a:pt x="76" y="333"/>
                </a:cubicBezTo>
                <a:cubicBezTo>
                  <a:pt x="78" y="334"/>
                  <a:pt x="78" y="334"/>
                  <a:pt x="78" y="334"/>
                </a:cubicBezTo>
                <a:cubicBezTo>
                  <a:pt x="79" y="334"/>
                  <a:pt x="79" y="334"/>
                  <a:pt x="79" y="334"/>
                </a:cubicBezTo>
                <a:cubicBezTo>
                  <a:pt x="79" y="335"/>
                  <a:pt x="79" y="335"/>
                  <a:pt x="79" y="335"/>
                </a:cubicBezTo>
                <a:cubicBezTo>
                  <a:pt x="79" y="335"/>
                  <a:pt x="79" y="335"/>
                  <a:pt x="79" y="335"/>
                </a:cubicBezTo>
                <a:cubicBezTo>
                  <a:pt x="79" y="336"/>
                  <a:pt x="79" y="336"/>
                  <a:pt x="79" y="336"/>
                </a:cubicBezTo>
                <a:cubicBezTo>
                  <a:pt x="79" y="336"/>
                  <a:pt x="79" y="336"/>
                  <a:pt x="79" y="336"/>
                </a:cubicBezTo>
                <a:cubicBezTo>
                  <a:pt x="80" y="336"/>
                  <a:pt x="80" y="336"/>
                  <a:pt x="80" y="336"/>
                </a:cubicBezTo>
                <a:cubicBezTo>
                  <a:pt x="80" y="336"/>
                  <a:pt x="80" y="336"/>
                  <a:pt x="80" y="336"/>
                </a:cubicBezTo>
                <a:cubicBezTo>
                  <a:pt x="81" y="336"/>
                  <a:pt x="81" y="336"/>
                  <a:pt x="81" y="336"/>
                </a:cubicBezTo>
                <a:cubicBezTo>
                  <a:pt x="81" y="337"/>
                  <a:pt x="81" y="337"/>
                  <a:pt x="81" y="337"/>
                </a:cubicBezTo>
                <a:cubicBezTo>
                  <a:pt x="80" y="337"/>
                  <a:pt x="80" y="337"/>
                  <a:pt x="80" y="337"/>
                </a:cubicBezTo>
                <a:cubicBezTo>
                  <a:pt x="80" y="337"/>
                  <a:pt x="80" y="337"/>
                  <a:pt x="80" y="337"/>
                </a:cubicBezTo>
                <a:cubicBezTo>
                  <a:pt x="80" y="338"/>
                  <a:pt x="80" y="338"/>
                  <a:pt x="80" y="338"/>
                </a:cubicBezTo>
                <a:cubicBezTo>
                  <a:pt x="79" y="338"/>
                  <a:pt x="79" y="338"/>
                  <a:pt x="79" y="338"/>
                </a:cubicBezTo>
                <a:close/>
                <a:moveTo>
                  <a:pt x="78" y="338"/>
                </a:moveTo>
                <a:cubicBezTo>
                  <a:pt x="76" y="337"/>
                  <a:pt x="76" y="337"/>
                  <a:pt x="76" y="337"/>
                </a:cubicBezTo>
                <a:cubicBezTo>
                  <a:pt x="75" y="337"/>
                  <a:pt x="75" y="337"/>
                  <a:pt x="75" y="337"/>
                </a:cubicBezTo>
                <a:cubicBezTo>
                  <a:pt x="75" y="337"/>
                  <a:pt x="75" y="337"/>
                  <a:pt x="75" y="337"/>
                </a:cubicBezTo>
                <a:cubicBezTo>
                  <a:pt x="76" y="339"/>
                  <a:pt x="76" y="339"/>
                  <a:pt x="76" y="339"/>
                </a:cubicBezTo>
                <a:cubicBezTo>
                  <a:pt x="77" y="339"/>
                  <a:pt x="77" y="339"/>
                  <a:pt x="77" y="339"/>
                </a:cubicBezTo>
                <a:cubicBezTo>
                  <a:pt x="78" y="338"/>
                  <a:pt x="78" y="338"/>
                  <a:pt x="78" y="338"/>
                </a:cubicBezTo>
                <a:close/>
                <a:moveTo>
                  <a:pt x="176" y="228"/>
                </a:moveTo>
                <a:cubicBezTo>
                  <a:pt x="176" y="229"/>
                  <a:pt x="176" y="229"/>
                  <a:pt x="176" y="229"/>
                </a:cubicBezTo>
                <a:cubicBezTo>
                  <a:pt x="178" y="229"/>
                  <a:pt x="178" y="229"/>
                  <a:pt x="178" y="229"/>
                </a:cubicBezTo>
                <a:cubicBezTo>
                  <a:pt x="180" y="228"/>
                  <a:pt x="180" y="228"/>
                  <a:pt x="180" y="228"/>
                </a:cubicBezTo>
                <a:cubicBezTo>
                  <a:pt x="183" y="229"/>
                  <a:pt x="183" y="229"/>
                  <a:pt x="183" y="229"/>
                </a:cubicBezTo>
                <a:cubicBezTo>
                  <a:pt x="184" y="228"/>
                  <a:pt x="184" y="228"/>
                  <a:pt x="184" y="228"/>
                </a:cubicBezTo>
                <a:cubicBezTo>
                  <a:pt x="185" y="227"/>
                  <a:pt x="185" y="227"/>
                  <a:pt x="185" y="227"/>
                </a:cubicBezTo>
                <a:cubicBezTo>
                  <a:pt x="187" y="228"/>
                  <a:pt x="187" y="228"/>
                  <a:pt x="187" y="228"/>
                </a:cubicBezTo>
                <a:cubicBezTo>
                  <a:pt x="188" y="228"/>
                  <a:pt x="188" y="228"/>
                  <a:pt x="188" y="228"/>
                </a:cubicBezTo>
                <a:cubicBezTo>
                  <a:pt x="189" y="228"/>
                  <a:pt x="189" y="228"/>
                  <a:pt x="189" y="228"/>
                </a:cubicBezTo>
                <a:cubicBezTo>
                  <a:pt x="190" y="227"/>
                  <a:pt x="190" y="227"/>
                  <a:pt x="190" y="227"/>
                </a:cubicBezTo>
                <a:cubicBezTo>
                  <a:pt x="190" y="223"/>
                  <a:pt x="190" y="223"/>
                  <a:pt x="190" y="223"/>
                </a:cubicBezTo>
                <a:cubicBezTo>
                  <a:pt x="189" y="223"/>
                  <a:pt x="189" y="223"/>
                  <a:pt x="189" y="223"/>
                </a:cubicBezTo>
                <a:cubicBezTo>
                  <a:pt x="189" y="221"/>
                  <a:pt x="189" y="221"/>
                  <a:pt x="189" y="221"/>
                </a:cubicBezTo>
                <a:cubicBezTo>
                  <a:pt x="188" y="221"/>
                  <a:pt x="188" y="221"/>
                  <a:pt x="188" y="221"/>
                </a:cubicBezTo>
                <a:cubicBezTo>
                  <a:pt x="184" y="223"/>
                  <a:pt x="184" y="223"/>
                  <a:pt x="184" y="223"/>
                </a:cubicBezTo>
                <a:cubicBezTo>
                  <a:pt x="181" y="223"/>
                  <a:pt x="181" y="223"/>
                  <a:pt x="181" y="223"/>
                </a:cubicBezTo>
                <a:cubicBezTo>
                  <a:pt x="180" y="224"/>
                  <a:pt x="180" y="224"/>
                  <a:pt x="180" y="224"/>
                </a:cubicBezTo>
                <a:cubicBezTo>
                  <a:pt x="179" y="225"/>
                  <a:pt x="179" y="225"/>
                  <a:pt x="179" y="225"/>
                </a:cubicBezTo>
                <a:cubicBezTo>
                  <a:pt x="178" y="226"/>
                  <a:pt x="178" y="226"/>
                  <a:pt x="178" y="226"/>
                </a:cubicBezTo>
                <a:cubicBezTo>
                  <a:pt x="177" y="226"/>
                  <a:pt x="177" y="226"/>
                  <a:pt x="177" y="226"/>
                </a:cubicBezTo>
                <a:cubicBezTo>
                  <a:pt x="176" y="227"/>
                  <a:pt x="176" y="227"/>
                  <a:pt x="176" y="227"/>
                </a:cubicBezTo>
                <a:cubicBezTo>
                  <a:pt x="176" y="228"/>
                  <a:pt x="176" y="228"/>
                  <a:pt x="176" y="228"/>
                </a:cubicBezTo>
                <a:close/>
                <a:moveTo>
                  <a:pt x="82" y="330"/>
                </a:moveTo>
                <a:cubicBezTo>
                  <a:pt x="83" y="330"/>
                  <a:pt x="83" y="330"/>
                  <a:pt x="83" y="330"/>
                </a:cubicBezTo>
                <a:cubicBezTo>
                  <a:pt x="84" y="330"/>
                  <a:pt x="84" y="330"/>
                  <a:pt x="84" y="330"/>
                </a:cubicBezTo>
                <a:cubicBezTo>
                  <a:pt x="83" y="329"/>
                  <a:pt x="83" y="329"/>
                  <a:pt x="83" y="329"/>
                </a:cubicBezTo>
                <a:cubicBezTo>
                  <a:pt x="83" y="330"/>
                  <a:pt x="83" y="330"/>
                  <a:pt x="83" y="330"/>
                </a:cubicBezTo>
                <a:cubicBezTo>
                  <a:pt x="82" y="330"/>
                  <a:pt x="82" y="330"/>
                  <a:pt x="82" y="330"/>
                </a:cubicBezTo>
                <a:close/>
                <a:moveTo>
                  <a:pt x="88" y="317"/>
                </a:moveTo>
                <a:cubicBezTo>
                  <a:pt x="89" y="318"/>
                  <a:pt x="89" y="318"/>
                  <a:pt x="89" y="318"/>
                </a:cubicBezTo>
                <a:cubicBezTo>
                  <a:pt x="89" y="317"/>
                  <a:pt x="89" y="317"/>
                  <a:pt x="89" y="317"/>
                </a:cubicBezTo>
                <a:cubicBezTo>
                  <a:pt x="88" y="317"/>
                  <a:pt x="88" y="317"/>
                  <a:pt x="88" y="317"/>
                </a:cubicBezTo>
                <a:close/>
                <a:moveTo>
                  <a:pt x="89" y="316"/>
                </a:moveTo>
                <a:cubicBezTo>
                  <a:pt x="89" y="316"/>
                  <a:pt x="89" y="316"/>
                  <a:pt x="89" y="316"/>
                </a:cubicBezTo>
                <a:cubicBezTo>
                  <a:pt x="89" y="316"/>
                  <a:pt x="89" y="316"/>
                  <a:pt x="89" y="316"/>
                </a:cubicBezTo>
                <a:cubicBezTo>
                  <a:pt x="89" y="315"/>
                  <a:pt x="89" y="315"/>
                  <a:pt x="89" y="315"/>
                </a:cubicBezTo>
                <a:cubicBezTo>
                  <a:pt x="89" y="316"/>
                  <a:pt x="89" y="316"/>
                  <a:pt x="89" y="316"/>
                </a:cubicBezTo>
                <a:close/>
                <a:moveTo>
                  <a:pt x="90" y="313"/>
                </a:moveTo>
                <a:cubicBezTo>
                  <a:pt x="90" y="314"/>
                  <a:pt x="90" y="314"/>
                  <a:pt x="90" y="314"/>
                </a:cubicBezTo>
                <a:cubicBezTo>
                  <a:pt x="90" y="314"/>
                  <a:pt x="90" y="314"/>
                  <a:pt x="90" y="314"/>
                </a:cubicBezTo>
                <a:cubicBezTo>
                  <a:pt x="90" y="313"/>
                  <a:pt x="90" y="313"/>
                  <a:pt x="90" y="313"/>
                </a:cubicBezTo>
                <a:cubicBezTo>
                  <a:pt x="90" y="313"/>
                  <a:pt x="90" y="313"/>
                  <a:pt x="90" y="313"/>
                </a:cubicBezTo>
                <a:cubicBezTo>
                  <a:pt x="90" y="313"/>
                  <a:pt x="90" y="313"/>
                  <a:pt x="90" y="313"/>
                </a:cubicBezTo>
                <a:close/>
                <a:moveTo>
                  <a:pt x="89" y="311"/>
                </a:moveTo>
                <a:cubicBezTo>
                  <a:pt x="89" y="312"/>
                  <a:pt x="89" y="312"/>
                  <a:pt x="89" y="312"/>
                </a:cubicBezTo>
                <a:cubicBezTo>
                  <a:pt x="90" y="312"/>
                  <a:pt x="90" y="312"/>
                  <a:pt x="90" y="312"/>
                </a:cubicBezTo>
                <a:cubicBezTo>
                  <a:pt x="90" y="312"/>
                  <a:pt x="90" y="312"/>
                  <a:pt x="90" y="312"/>
                </a:cubicBezTo>
                <a:cubicBezTo>
                  <a:pt x="91" y="312"/>
                  <a:pt x="91" y="312"/>
                  <a:pt x="91" y="312"/>
                </a:cubicBezTo>
                <a:cubicBezTo>
                  <a:pt x="91" y="312"/>
                  <a:pt x="91" y="312"/>
                  <a:pt x="91" y="312"/>
                </a:cubicBezTo>
                <a:cubicBezTo>
                  <a:pt x="91" y="311"/>
                  <a:pt x="91" y="311"/>
                  <a:pt x="91" y="311"/>
                </a:cubicBezTo>
                <a:cubicBezTo>
                  <a:pt x="90" y="311"/>
                  <a:pt x="90" y="311"/>
                  <a:pt x="90" y="311"/>
                </a:cubicBezTo>
                <a:cubicBezTo>
                  <a:pt x="89" y="311"/>
                  <a:pt x="89" y="311"/>
                  <a:pt x="89" y="311"/>
                </a:cubicBezTo>
                <a:cubicBezTo>
                  <a:pt x="89" y="311"/>
                  <a:pt x="89" y="311"/>
                  <a:pt x="89" y="311"/>
                </a:cubicBezTo>
                <a:close/>
                <a:moveTo>
                  <a:pt x="94" y="310"/>
                </a:moveTo>
                <a:cubicBezTo>
                  <a:pt x="94" y="310"/>
                  <a:pt x="94" y="310"/>
                  <a:pt x="94" y="310"/>
                </a:cubicBezTo>
                <a:cubicBezTo>
                  <a:pt x="94" y="309"/>
                  <a:pt x="94" y="309"/>
                  <a:pt x="94" y="309"/>
                </a:cubicBezTo>
                <a:cubicBezTo>
                  <a:pt x="94" y="309"/>
                  <a:pt x="94" y="309"/>
                  <a:pt x="94" y="309"/>
                </a:cubicBezTo>
                <a:cubicBezTo>
                  <a:pt x="94" y="310"/>
                  <a:pt x="94" y="310"/>
                  <a:pt x="94" y="310"/>
                </a:cubicBezTo>
                <a:close/>
                <a:moveTo>
                  <a:pt x="93" y="302"/>
                </a:moveTo>
                <a:cubicBezTo>
                  <a:pt x="93" y="303"/>
                  <a:pt x="93" y="303"/>
                  <a:pt x="93" y="303"/>
                </a:cubicBezTo>
                <a:cubicBezTo>
                  <a:pt x="94" y="304"/>
                  <a:pt x="94" y="304"/>
                  <a:pt x="94" y="304"/>
                </a:cubicBezTo>
                <a:cubicBezTo>
                  <a:pt x="96" y="304"/>
                  <a:pt x="96" y="304"/>
                  <a:pt x="96" y="304"/>
                </a:cubicBezTo>
                <a:cubicBezTo>
                  <a:pt x="96" y="305"/>
                  <a:pt x="96" y="305"/>
                  <a:pt x="96" y="305"/>
                </a:cubicBezTo>
                <a:cubicBezTo>
                  <a:pt x="96" y="304"/>
                  <a:pt x="96" y="304"/>
                  <a:pt x="96" y="304"/>
                </a:cubicBezTo>
                <a:cubicBezTo>
                  <a:pt x="96" y="304"/>
                  <a:pt x="96" y="304"/>
                  <a:pt x="96" y="304"/>
                </a:cubicBezTo>
                <a:cubicBezTo>
                  <a:pt x="94" y="303"/>
                  <a:pt x="94" y="303"/>
                  <a:pt x="94" y="303"/>
                </a:cubicBezTo>
                <a:cubicBezTo>
                  <a:pt x="94" y="302"/>
                  <a:pt x="94" y="302"/>
                  <a:pt x="94" y="302"/>
                </a:cubicBezTo>
                <a:cubicBezTo>
                  <a:pt x="93" y="302"/>
                  <a:pt x="93" y="302"/>
                  <a:pt x="93" y="302"/>
                </a:cubicBezTo>
                <a:close/>
                <a:moveTo>
                  <a:pt x="101" y="288"/>
                </a:moveTo>
                <a:cubicBezTo>
                  <a:pt x="102" y="289"/>
                  <a:pt x="102" y="289"/>
                  <a:pt x="102" y="289"/>
                </a:cubicBezTo>
                <a:cubicBezTo>
                  <a:pt x="102" y="290"/>
                  <a:pt x="102" y="290"/>
                  <a:pt x="102" y="290"/>
                </a:cubicBezTo>
                <a:cubicBezTo>
                  <a:pt x="102" y="291"/>
                  <a:pt x="102" y="291"/>
                  <a:pt x="102" y="291"/>
                </a:cubicBezTo>
                <a:cubicBezTo>
                  <a:pt x="102" y="292"/>
                  <a:pt x="102" y="292"/>
                  <a:pt x="102" y="292"/>
                </a:cubicBezTo>
                <a:cubicBezTo>
                  <a:pt x="103" y="292"/>
                  <a:pt x="103" y="292"/>
                  <a:pt x="103" y="292"/>
                </a:cubicBezTo>
                <a:cubicBezTo>
                  <a:pt x="103" y="291"/>
                  <a:pt x="103" y="291"/>
                  <a:pt x="103" y="291"/>
                </a:cubicBezTo>
                <a:cubicBezTo>
                  <a:pt x="103" y="290"/>
                  <a:pt x="103" y="290"/>
                  <a:pt x="103" y="290"/>
                </a:cubicBezTo>
                <a:cubicBezTo>
                  <a:pt x="102" y="289"/>
                  <a:pt x="102" y="289"/>
                  <a:pt x="102" y="289"/>
                </a:cubicBezTo>
                <a:cubicBezTo>
                  <a:pt x="102" y="288"/>
                  <a:pt x="102" y="288"/>
                  <a:pt x="102" y="288"/>
                </a:cubicBezTo>
                <a:cubicBezTo>
                  <a:pt x="102" y="288"/>
                  <a:pt x="102" y="288"/>
                  <a:pt x="102" y="288"/>
                </a:cubicBezTo>
                <a:cubicBezTo>
                  <a:pt x="101" y="288"/>
                  <a:pt x="101" y="288"/>
                  <a:pt x="101" y="288"/>
                </a:cubicBezTo>
                <a:close/>
                <a:moveTo>
                  <a:pt x="107" y="284"/>
                </a:moveTo>
                <a:cubicBezTo>
                  <a:pt x="107" y="285"/>
                  <a:pt x="107" y="285"/>
                  <a:pt x="107" y="285"/>
                </a:cubicBezTo>
                <a:cubicBezTo>
                  <a:pt x="108" y="285"/>
                  <a:pt x="108" y="285"/>
                  <a:pt x="108" y="285"/>
                </a:cubicBezTo>
                <a:cubicBezTo>
                  <a:pt x="108" y="285"/>
                  <a:pt x="108" y="285"/>
                  <a:pt x="108" y="285"/>
                </a:cubicBezTo>
                <a:cubicBezTo>
                  <a:pt x="108" y="284"/>
                  <a:pt x="108" y="284"/>
                  <a:pt x="108" y="284"/>
                </a:cubicBezTo>
                <a:cubicBezTo>
                  <a:pt x="107" y="284"/>
                  <a:pt x="107" y="284"/>
                  <a:pt x="107" y="284"/>
                </a:cubicBezTo>
                <a:close/>
                <a:moveTo>
                  <a:pt x="109" y="283"/>
                </a:moveTo>
                <a:cubicBezTo>
                  <a:pt x="109" y="283"/>
                  <a:pt x="109" y="283"/>
                  <a:pt x="109" y="283"/>
                </a:cubicBezTo>
                <a:cubicBezTo>
                  <a:pt x="109" y="283"/>
                  <a:pt x="109" y="283"/>
                  <a:pt x="109" y="283"/>
                </a:cubicBezTo>
                <a:cubicBezTo>
                  <a:pt x="109" y="282"/>
                  <a:pt x="109" y="282"/>
                  <a:pt x="109" y="282"/>
                </a:cubicBezTo>
                <a:cubicBezTo>
                  <a:pt x="109" y="283"/>
                  <a:pt x="109" y="283"/>
                  <a:pt x="109" y="283"/>
                </a:cubicBezTo>
                <a:close/>
                <a:moveTo>
                  <a:pt x="119" y="282"/>
                </a:moveTo>
                <a:cubicBezTo>
                  <a:pt x="120" y="281"/>
                  <a:pt x="120" y="281"/>
                  <a:pt x="120" y="281"/>
                </a:cubicBezTo>
                <a:cubicBezTo>
                  <a:pt x="121" y="281"/>
                  <a:pt x="121" y="281"/>
                  <a:pt x="121" y="281"/>
                </a:cubicBezTo>
                <a:cubicBezTo>
                  <a:pt x="121" y="281"/>
                  <a:pt x="121" y="281"/>
                  <a:pt x="121" y="281"/>
                </a:cubicBezTo>
                <a:cubicBezTo>
                  <a:pt x="120" y="279"/>
                  <a:pt x="120" y="279"/>
                  <a:pt x="120" y="279"/>
                </a:cubicBezTo>
                <a:cubicBezTo>
                  <a:pt x="120" y="279"/>
                  <a:pt x="120" y="279"/>
                  <a:pt x="120" y="279"/>
                </a:cubicBezTo>
                <a:cubicBezTo>
                  <a:pt x="119" y="278"/>
                  <a:pt x="119" y="278"/>
                  <a:pt x="119" y="278"/>
                </a:cubicBezTo>
                <a:cubicBezTo>
                  <a:pt x="119" y="278"/>
                  <a:pt x="119" y="278"/>
                  <a:pt x="119" y="278"/>
                </a:cubicBezTo>
                <a:cubicBezTo>
                  <a:pt x="118" y="279"/>
                  <a:pt x="118" y="279"/>
                  <a:pt x="118" y="279"/>
                </a:cubicBezTo>
                <a:cubicBezTo>
                  <a:pt x="118" y="280"/>
                  <a:pt x="118" y="280"/>
                  <a:pt x="118" y="280"/>
                </a:cubicBezTo>
                <a:cubicBezTo>
                  <a:pt x="117" y="281"/>
                  <a:pt x="117" y="281"/>
                  <a:pt x="117" y="281"/>
                </a:cubicBezTo>
                <a:cubicBezTo>
                  <a:pt x="118" y="281"/>
                  <a:pt x="118" y="281"/>
                  <a:pt x="118" y="281"/>
                </a:cubicBezTo>
                <a:cubicBezTo>
                  <a:pt x="118" y="282"/>
                  <a:pt x="118" y="282"/>
                  <a:pt x="118" y="282"/>
                </a:cubicBezTo>
                <a:cubicBezTo>
                  <a:pt x="119" y="282"/>
                  <a:pt x="119" y="282"/>
                  <a:pt x="119" y="282"/>
                </a:cubicBezTo>
                <a:close/>
                <a:moveTo>
                  <a:pt x="123" y="281"/>
                </a:moveTo>
                <a:cubicBezTo>
                  <a:pt x="123" y="281"/>
                  <a:pt x="123" y="281"/>
                  <a:pt x="123" y="281"/>
                </a:cubicBezTo>
                <a:cubicBezTo>
                  <a:pt x="123" y="280"/>
                  <a:pt x="123" y="280"/>
                  <a:pt x="123" y="280"/>
                </a:cubicBezTo>
                <a:cubicBezTo>
                  <a:pt x="122" y="280"/>
                  <a:pt x="122" y="280"/>
                  <a:pt x="122" y="280"/>
                </a:cubicBezTo>
                <a:cubicBezTo>
                  <a:pt x="122" y="281"/>
                  <a:pt x="122" y="281"/>
                  <a:pt x="122" y="281"/>
                </a:cubicBezTo>
                <a:cubicBezTo>
                  <a:pt x="123" y="282"/>
                  <a:pt x="123" y="282"/>
                  <a:pt x="123" y="282"/>
                </a:cubicBezTo>
                <a:cubicBezTo>
                  <a:pt x="123" y="281"/>
                  <a:pt x="123" y="281"/>
                  <a:pt x="123" y="281"/>
                </a:cubicBezTo>
                <a:close/>
                <a:moveTo>
                  <a:pt x="197" y="240"/>
                </a:moveTo>
                <a:cubicBezTo>
                  <a:pt x="198" y="240"/>
                  <a:pt x="198" y="240"/>
                  <a:pt x="198" y="240"/>
                </a:cubicBezTo>
                <a:cubicBezTo>
                  <a:pt x="198" y="239"/>
                  <a:pt x="198" y="239"/>
                  <a:pt x="198" y="239"/>
                </a:cubicBezTo>
                <a:cubicBezTo>
                  <a:pt x="198" y="239"/>
                  <a:pt x="198" y="239"/>
                  <a:pt x="198" y="239"/>
                </a:cubicBezTo>
                <a:cubicBezTo>
                  <a:pt x="197" y="239"/>
                  <a:pt x="197" y="239"/>
                  <a:pt x="197" y="239"/>
                </a:cubicBezTo>
                <a:cubicBezTo>
                  <a:pt x="197" y="240"/>
                  <a:pt x="197" y="240"/>
                  <a:pt x="197" y="240"/>
                </a:cubicBezTo>
                <a:close/>
                <a:moveTo>
                  <a:pt x="184" y="229"/>
                </a:moveTo>
                <a:cubicBezTo>
                  <a:pt x="185" y="229"/>
                  <a:pt x="185" y="229"/>
                  <a:pt x="185" y="229"/>
                </a:cubicBezTo>
                <a:cubicBezTo>
                  <a:pt x="185" y="229"/>
                  <a:pt x="185" y="229"/>
                  <a:pt x="185" y="229"/>
                </a:cubicBezTo>
                <a:cubicBezTo>
                  <a:pt x="185" y="229"/>
                  <a:pt x="185" y="229"/>
                  <a:pt x="185" y="229"/>
                </a:cubicBezTo>
                <a:cubicBezTo>
                  <a:pt x="184" y="228"/>
                  <a:pt x="184" y="228"/>
                  <a:pt x="184" y="228"/>
                </a:cubicBezTo>
                <a:cubicBezTo>
                  <a:pt x="184" y="228"/>
                  <a:pt x="184" y="229"/>
                  <a:pt x="184" y="229"/>
                </a:cubicBezTo>
                <a:close/>
                <a:moveTo>
                  <a:pt x="178" y="224"/>
                </a:moveTo>
                <a:cubicBezTo>
                  <a:pt x="179" y="224"/>
                  <a:pt x="179" y="224"/>
                  <a:pt x="179" y="224"/>
                </a:cubicBezTo>
                <a:cubicBezTo>
                  <a:pt x="180" y="224"/>
                  <a:pt x="180" y="224"/>
                  <a:pt x="180" y="224"/>
                </a:cubicBezTo>
                <a:cubicBezTo>
                  <a:pt x="180" y="223"/>
                  <a:pt x="180" y="223"/>
                  <a:pt x="180" y="223"/>
                </a:cubicBezTo>
                <a:cubicBezTo>
                  <a:pt x="179" y="223"/>
                  <a:pt x="179" y="223"/>
                  <a:pt x="179" y="223"/>
                </a:cubicBezTo>
                <a:cubicBezTo>
                  <a:pt x="178" y="224"/>
                  <a:pt x="178" y="224"/>
                  <a:pt x="178" y="224"/>
                </a:cubicBezTo>
                <a:close/>
                <a:moveTo>
                  <a:pt x="190" y="221"/>
                </a:moveTo>
                <a:cubicBezTo>
                  <a:pt x="190" y="221"/>
                  <a:pt x="190" y="221"/>
                  <a:pt x="190" y="221"/>
                </a:cubicBezTo>
                <a:cubicBezTo>
                  <a:pt x="190" y="222"/>
                  <a:pt x="190" y="222"/>
                  <a:pt x="190" y="222"/>
                </a:cubicBezTo>
                <a:cubicBezTo>
                  <a:pt x="191" y="222"/>
                  <a:pt x="191" y="222"/>
                  <a:pt x="191" y="222"/>
                </a:cubicBezTo>
                <a:cubicBezTo>
                  <a:pt x="190" y="221"/>
                  <a:pt x="190" y="221"/>
                  <a:pt x="190" y="221"/>
                </a:cubicBezTo>
                <a:cubicBezTo>
                  <a:pt x="190" y="220"/>
                  <a:pt x="190" y="220"/>
                  <a:pt x="190" y="220"/>
                </a:cubicBezTo>
                <a:cubicBezTo>
                  <a:pt x="190" y="221"/>
                  <a:pt x="190" y="221"/>
                  <a:pt x="190" y="221"/>
                </a:cubicBezTo>
                <a:close/>
                <a:moveTo>
                  <a:pt x="197" y="197"/>
                </a:moveTo>
                <a:cubicBezTo>
                  <a:pt x="197" y="198"/>
                  <a:pt x="197" y="198"/>
                  <a:pt x="197" y="198"/>
                </a:cubicBezTo>
                <a:cubicBezTo>
                  <a:pt x="198" y="198"/>
                  <a:pt x="198" y="198"/>
                  <a:pt x="198" y="198"/>
                </a:cubicBezTo>
                <a:cubicBezTo>
                  <a:pt x="198" y="199"/>
                  <a:pt x="198" y="199"/>
                  <a:pt x="198" y="199"/>
                </a:cubicBezTo>
                <a:cubicBezTo>
                  <a:pt x="198" y="201"/>
                  <a:pt x="198" y="201"/>
                  <a:pt x="198" y="201"/>
                </a:cubicBezTo>
                <a:cubicBezTo>
                  <a:pt x="199" y="202"/>
                  <a:pt x="199" y="202"/>
                  <a:pt x="199" y="202"/>
                </a:cubicBezTo>
                <a:cubicBezTo>
                  <a:pt x="201" y="202"/>
                  <a:pt x="201" y="202"/>
                  <a:pt x="201" y="202"/>
                </a:cubicBezTo>
                <a:cubicBezTo>
                  <a:pt x="202" y="204"/>
                  <a:pt x="202" y="204"/>
                  <a:pt x="202" y="204"/>
                </a:cubicBezTo>
                <a:cubicBezTo>
                  <a:pt x="203" y="205"/>
                  <a:pt x="203" y="205"/>
                  <a:pt x="203" y="205"/>
                </a:cubicBezTo>
                <a:cubicBezTo>
                  <a:pt x="204" y="205"/>
                  <a:pt x="204" y="205"/>
                  <a:pt x="204" y="205"/>
                </a:cubicBezTo>
                <a:cubicBezTo>
                  <a:pt x="205" y="206"/>
                  <a:pt x="205" y="206"/>
                  <a:pt x="205" y="206"/>
                </a:cubicBezTo>
                <a:cubicBezTo>
                  <a:pt x="205" y="206"/>
                  <a:pt x="205" y="206"/>
                  <a:pt x="205" y="206"/>
                </a:cubicBezTo>
                <a:cubicBezTo>
                  <a:pt x="206" y="207"/>
                  <a:pt x="206" y="207"/>
                  <a:pt x="206" y="207"/>
                </a:cubicBezTo>
                <a:cubicBezTo>
                  <a:pt x="207" y="206"/>
                  <a:pt x="207" y="206"/>
                  <a:pt x="207" y="206"/>
                </a:cubicBezTo>
                <a:cubicBezTo>
                  <a:pt x="207" y="205"/>
                  <a:pt x="207" y="205"/>
                  <a:pt x="207" y="205"/>
                </a:cubicBezTo>
                <a:cubicBezTo>
                  <a:pt x="207" y="205"/>
                  <a:pt x="207" y="205"/>
                  <a:pt x="207" y="205"/>
                </a:cubicBezTo>
                <a:cubicBezTo>
                  <a:pt x="206" y="204"/>
                  <a:pt x="206" y="204"/>
                  <a:pt x="206" y="204"/>
                </a:cubicBezTo>
                <a:cubicBezTo>
                  <a:pt x="205" y="203"/>
                  <a:pt x="205" y="203"/>
                  <a:pt x="205" y="203"/>
                </a:cubicBezTo>
                <a:cubicBezTo>
                  <a:pt x="205" y="203"/>
                  <a:pt x="205" y="203"/>
                  <a:pt x="205" y="203"/>
                </a:cubicBezTo>
                <a:cubicBezTo>
                  <a:pt x="204" y="202"/>
                  <a:pt x="204" y="202"/>
                  <a:pt x="204" y="202"/>
                </a:cubicBezTo>
                <a:cubicBezTo>
                  <a:pt x="204" y="202"/>
                  <a:pt x="204" y="202"/>
                  <a:pt x="204" y="202"/>
                </a:cubicBezTo>
                <a:cubicBezTo>
                  <a:pt x="205" y="201"/>
                  <a:pt x="205" y="201"/>
                  <a:pt x="205" y="201"/>
                </a:cubicBezTo>
                <a:cubicBezTo>
                  <a:pt x="205" y="202"/>
                  <a:pt x="205" y="202"/>
                  <a:pt x="205" y="202"/>
                </a:cubicBezTo>
                <a:cubicBezTo>
                  <a:pt x="206" y="202"/>
                  <a:pt x="206" y="202"/>
                  <a:pt x="206" y="202"/>
                </a:cubicBezTo>
                <a:cubicBezTo>
                  <a:pt x="208" y="203"/>
                  <a:pt x="208" y="203"/>
                  <a:pt x="208" y="203"/>
                </a:cubicBezTo>
                <a:cubicBezTo>
                  <a:pt x="208" y="203"/>
                  <a:pt x="208" y="203"/>
                  <a:pt x="208" y="203"/>
                </a:cubicBezTo>
                <a:cubicBezTo>
                  <a:pt x="208" y="203"/>
                  <a:pt x="208" y="203"/>
                  <a:pt x="208" y="203"/>
                </a:cubicBezTo>
                <a:cubicBezTo>
                  <a:pt x="208" y="201"/>
                  <a:pt x="208" y="201"/>
                  <a:pt x="208" y="201"/>
                </a:cubicBezTo>
                <a:cubicBezTo>
                  <a:pt x="205" y="200"/>
                  <a:pt x="205" y="200"/>
                  <a:pt x="205" y="200"/>
                </a:cubicBezTo>
                <a:cubicBezTo>
                  <a:pt x="204" y="198"/>
                  <a:pt x="204" y="198"/>
                  <a:pt x="204" y="198"/>
                </a:cubicBezTo>
                <a:cubicBezTo>
                  <a:pt x="203" y="198"/>
                  <a:pt x="203" y="198"/>
                  <a:pt x="203" y="198"/>
                </a:cubicBezTo>
                <a:cubicBezTo>
                  <a:pt x="202" y="198"/>
                  <a:pt x="202" y="198"/>
                  <a:pt x="202" y="198"/>
                </a:cubicBezTo>
                <a:cubicBezTo>
                  <a:pt x="201" y="197"/>
                  <a:pt x="201" y="197"/>
                  <a:pt x="201" y="197"/>
                </a:cubicBezTo>
                <a:cubicBezTo>
                  <a:pt x="200" y="197"/>
                  <a:pt x="200" y="197"/>
                  <a:pt x="200" y="197"/>
                </a:cubicBezTo>
                <a:cubicBezTo>
                  <a:pt x="199" y="197"/>
                  <a:pt x="199" y="197"/>
                  <a:pt x="199" y="197"/>
                </a:cubicBezTo>
                <a:cubicBezTo>
                  <a:pt x="198" y="196"/>
                  <a:pt x="198" y="196"/>
                  <a:pt x="198" y="196"/>
                </a:cubicBezTo>
                <a:cubicBezTo>
                  <a:pt x="197" y="197"/>
                  <a:pt x="197" y="197"/>
                  <a:pt x="197" y="197"/>
                </a:cubicBezTo>
                <a:close/>
                <a:moveTo>
                  <a:pt x="194" y="198"/>
                </a:moveTo>
                <a:cubicBezTo>
                  <a:pt x="195" y="197"/>
                  <a:pt x="195" y="197"/>
                  <a:pt x="195" y="197"/>
                </a:cubicBezTo>
                <a:cubicBezTo>
                  <a:pt x="195" y="196"/>
                  <a:pt x="195" y="196"/>
                  <a:pt x="195" y="196"/>
                </a:cubicBezTo>
                <a:cubicBezTo>
                  <a:pt x="196" y="196"/>
                  <a:pt x="196" y="196"/>
                  <a:pt x="196" y="196"/>
                </a:cubicBezTo>
                <a:cubicBezTo>
                  <a:pt x="194" y="196"/>
                  <a:pt x="194" y="196"/>
                  <a:pt x="194" y="196"/>
                </a:cubicBezTo>
                <a:cubicBezTo>
                  <a:pt x="194" y="197"/>
                  <a:pt x="194" y="197"/>
                  <a:pt x="194" y="197"/>
                </a:cubicBezTo>
                <a:cubicBezTo>
                  <a:pt x="194" y="198"/>
                  <a:pt x="194" y="198"/>
                  <a:pt x="194" y="198"/>
                </a:cubicBezTo>
                <a:close/>
                <a:moveTo>
                  <a:pt x="197" y="195"/>
                </a:moveTo>
                <a:cubicBezTo>
                  <a:pt x="198" y="196"/>
                  <a:pt x="198" y="196"/>
                  <a:pt x="198" y="196"/>
                </a:cubicBezTo>
                <a:cubicBezTo>
                  <a:pt x="200" y="196"/>
                  <a:pt x="200" y="196"/>
                  <a:pt x="200" y="196"/>
                </a:cubicBezTo>
                <a:cubicBezTo>
                  <a:pt x="201" y="197"/>
                  <a:pt x="201" y="197"/>
                  <a:pt x="201" y="197"/>
                </a:cubicBezTo>
                <a:cubicBezTo>
                  <a:pt x="203" y="197"/>
                  <a:pt x="203" y="197"/>
                  <a:pt x="203" y="197"/>
                </a:cubicBezTo>
                <a:cubicBezTo>
                  <a:pt x="204" y="198"/>
                  <a:pt x="204" y="198"/>
                  <a:pt x="204" y="198"/>
                </a:cubicBezTo>
                <a:cubicBezTo>
                  <a:pt x="205" y="198"/>
                  <a:pt x="205" y="198"/>
                  <a:pt x="205" y="198"/>
                </a:cubicBezTo>
                <a:cubicBezTo>
                  <a:pt x="206" y="198"/>
                  <a:pt x="206" y="198"/>
                  <a:pt x="206" y="198"/>
                </a:cubicBezTo>
                <a:cubicBezTo>
                  <a:pt x="206" y="199"/>
                  <a:pt x="206" y="199"/>
                  <a:pt x="206" y="199"/>
                </a:cubicBezTo>
                <a:cubicBezTo>
                  <a:pt x="206" y="199"/>
                  <a:pt x="206" y="199"/>
                  <a:pt x="206" y="199"/>
                </a:cubicBezTo>
                <a:cubicBezTo>
                  <a:pt x="207" y="199"/>
                  <a:pt x="207" y="199"/>
                  <a:pt x="207" y="199"/>
                </a:cubicBezTo>
                <a:cubicBezTo>
                  <a:pt x="208" y="199"/>
                  <a:pt x="208" y="199"/>
                  <a:pt x="208" y="199"/>
                </a:cubicBezTo>
                <a:cubicBezTo>
                  <a:pt x="209" y="199"/>
                  <a:pt x="209" y="199"/>
                  <a:pt x="209" y="199"/>
                </a:cubicBezTo>
                <a:cubicBezTo>
                  <a:pt x="209" y="198"/>
                  <a:pt x="209" y="198"/>
                  <a:pt x="209" y="198"/>
                </a:cubicBezTo>
                <a:cubicBezTo>
                  <a:pt x="209" y="198"/>
                  <a:pt x="209" y="198"/>
                  <a:pt x="209" y="198"/>
                </a:cubicBezTo>
                <a:cubicBezTo>
                  <a:pt x="209" y="197"/>
                  <a:pt x="209" y="197"/>
                  <a:pt x="209" y="197"/>
                </a:cubicBezTo>
                <a:cubicBezTo>
                  <a:pt x="210" y="197"/>
                  <a:pt x="210" y="197"/>
                  <a:pt x="210" y="197"/>
                </a:cubicBezTo>
                <a:cubicBezTo>
                  <a:pt x="208" y="196"/>
                  <a:pt x="208" y="196"/>
                  <a:pt x="208" y="196"/>
                </a:cubicBezTo>
                <a:cubicBezTo>
                  <a:pt x="207" y="195"/>
                  <a:pt x="207" y="195"/>
                  <a:pt x="207" y="195"/>
                </a:cubicBezTo>
                <a:cubicBezTo>
                  <a:pt x="205" y="194"/>
                  <a:pt x="205" y="194"/>
                  <a:pt x="205" y="194"/>
                </a:cubicBezTo>
                <a:cubicBezTo>
                  <a:pt x="204" y="194"/>
                  <a:pt x="204" y="194"/>
                  <a:pt x="204" y="194"/>
                </a:cubicBezTo>
                <a:cubicBezTo>
                  <a:pt x="202" y="195"/>
                  <a:pt x="202" y="195"/>
                  <a:pt x="202" y="195"/>
                </a:cubicBezTo>
                <a:cubicBezTo>
                  <a:pt x="201" y="195"/>
                  <a:pt x="201" y="195"/>
                  <a:pt x="201" y="195"/>
                </a:cubicBezTo>
                <a:cubicBezTo>
                  <a:pt x="199" y="195"/>
                  <a:pt x="199" y="195"/>
                  <a:pt x="199" y="195"/>
                </a:cubicBezTo>
                <a:cubicBezTo>
                  <a:pt x="198" y="195"/>
                  <a:pt x="198" y="195"/>
                  <a:pt x="198" y="195"/>
                </a:cubicBezTo>
                <a:cubicBezTo>
                  <a:pt x="198" y="195"/>
                  <a:pt x="197" y="195"/>
                  <a:pt x="197" y="195"/>
                </a:cubicBezTo>
                <a:close/>
                <a:moveTo>
                  <a:pt x="192" y="191"/>
                </a:moveTo>
                <a:cubicBezTo>
                  <a:pt x="193" y="192"/>
                  <a:pt x="193" y="192"/>
                  <a:pt x="193" y="192"/>
                </a:cubicBezTo>
                <a:cubicBezTo>
                  <a:pt x="195" y="192"/>
                  <a:pt x="195" y="192"/>
                  <a:pt x="195" y="192"/>
                </a:cubicBezTo>
                <a:cubicBezTo>
                  <a:pt x="196" y="193"/>
                  <a:pt x="196" y="193"/>
                  <a:pt x="196" y="193"/>
                </a:cubicBezTo>
                <a:cubicBezTo>
                  <a:pt x="198" y="194"/>
                  <a:pt x="198" y="194"/>
                  <a:pt x="198" y="194"/>
                </a:cubicBezTo>
                <a:cubicBezTo>
                  <a:pt x="200" y="194"/>
                  <a:pt x="200" y="194"/>
                  <a:pt x="200" y="194"/>
                </a:cubicBezTo>
                <a:cubicBezTo>
                  <a:pt x="204" y="194"/>
                  <a:pt x="204" y="194"/>
                  <a:pt x="204" y="194"/>
                </a:cubicBezTo>
                <a:cubicBezTo>
                  <a:pt x="205" y="194"/>
                  <a:pt x="205" y="194"/>
                  <a:pt x="205" y="194"/>
                </a:cubicBezTo>
                <a:cubicBezTo>
                  <a:pt x="205" y="193"/>
                  <a:pt x="205" y="193"/>
                  <a:pt x="205" y="193"/>
                </a:cubicBezTo>
                <a:cubicBezTo>
                  <a:pt x="204" y="193"/>
                  <a:pt x="204" y="193"/>
                  <a:pt x="204" y="193"/>
                </a:cubicBezTo>
                <a:cubicBezTo>
                  <a:pt x="201" y="193"/>
                  <a:pt x="201" y="193"/>
                  <a:pt x="201" y="193"/>
                </a:cubicBezTo>
                <a:cubicBezTo>
                  <a:pt x="200" y="193"/>
                  <a:pt x="200" y="193"/>
                  <a:pt x="200" y="193"/>
                </a:cubicBezTo>
                <a:cubicBezTo>
                  <a:pt x="198" y="192"/>
                  <a:pt x="198" y="192"/>
                  <a:pt x="198" y="192"/>
                </a:cubicBezTo>
                <a:cubicBezTo>
                  <a:pt x="197" y="191"/>
                  <a:pt x="197" y="191"/>
                  <a:pt x="197" y="191"/>
                </a:cubicBezTo>
                <a:cubicBezTo>
                  <a:pt x="196" y="191"/>
                  <a:pt x="196" y="191"/>
                  <a:pt x="196" y="191"/>
                </a:cubicBezTo>
                <a:cubicBezTo>
                  <a:pt x="197" y="190"/>
                  <a:pt x="197" y="190"/>
                  <a:pt x="197" y="190"/>
                </a:cubicBezTo>
                <a:cubicBezTo>
                  <a:pt x="198" y="190"/>
                  <a:pt x="198" y="190"/>
                  <a:pt x="198" y="190"/>
                </a:cubicBezTo>
                <a:cubicBezTo>
                  <a:pt x="200" y="192"/>
                  <a:pt x="200" y="192"/>
                  <a:pt x="200" y="192"/>
                </a:cubicBezTo>
                <a:cubicBezTo>
                  <a:pt x="202" y="192"/>
                  <a:pt x="202" y="192"/>
                  <a:pt x="202" y="192"/>
                </a:cubicBezTo>
                <a:cubicBezTo>
                  <a:pt x="203" y="192"/>
                  <a:pt x="203" y="192"/>
                  <a:pt x="203" y="192"/>
                </a:cubicBezTo>
                <a:cubicBezTo>
                  <a:pt x="202" y="191"/>
                  <a:pt x="202" y="191"/>
                  <a:pt x="202" y="191"/>
                </a:cubicBezTo>
                <a:cubicBezTo>
                  <a:pt x="199" y="189"/>
                  <a:pt x="199" y="189"/>
                  <a:pt x="199" y="189"/>
                </a:cubicBezTo>
                <a:cubicBezTo>
                  <a:pt x="196" y="189"/>
                  <a:pt x="196" y="189"/>
                  <a:pt x="196" y="189"/>
                </a:cubicBezTo>
                <a:cubicBezTo>
                  <a:pt x="195" y="189"/>
                  <a:pt x="195" y="189"/>
                  <a:pt x="195" y="189"/>
                </a:cubicBezTo>
                <a:cubicBezTo>
                  <a:pt x="195" y="190"/>
                  <a:pt x="195" y="190"/>
                  <a:pt x="195" y="190"/>
                </a:cubicBezTo>
                <a:cubicBezTo>
                  <a:pt x="193" y="190"/>
                  <a:pt x="193" y="190"/>
                  <a:pt x="193" y="190"/>
                </a:cubicBezTo>
                <a:cubicBezTo>
                  <a:pt x="192" y="191"/>
                  <a:pt x="192" y="191"/>
                  <a:pt x="192" y="191"/>
                </a:cubicBezTo>
                <a:close/>
                <a:moveTo>
                  <a:pt x="211" y="194"/>
                </a:moveTo>
                <a:cubicBezTo>
                  <a:pt x="212" y="194"/>
                  <a:pt x="212" y="194"/>
                  <a:pt x="212" y="194"/>
                </a:cubicBezTo>
                <a:cubicBezTo>
                  <a:pt x="213" y="194"/>
                  <a:pt x="213" y="194"/>
                  <a:pt x="213" y="194"/>
                </a:cubicBezTo>
                <a:cubicBezTo>
                  <a:pt x="213" y="193"/>
                  <a:pt x="213" y="193"/>
                  <a:pt x="213" y="193"/>
                </a:cubicBezTo>
                <a:cubicBezTo>
                  <a:pt x="212" y="194"/>
                  <a:pt x="212" y="194"/>
                  <a:pt x="212" y="194"/>
                </a:cubicBezTo>
                <a:cubicBezTo>
                  <a:pt x="211" y="194"/>
                  <a:pt x="211" y="194"/>
                  <a:pt x="211" y="194"/>
                </a:cubicBezTo>
                <a:close/>
                <a:moveTo>
                  <a:pt x="213" y="175"/>
                </a:moveTo>
                <a:cubicBezTo>
                  <a:pt x="212" y="177"/>
                  <a:pt x="212" y="177"/>
                  <a:pt x="212" y="177"/>
                </a:cubicBezTo>
                <a:cubicBezTo>
                  <a:pt x="212" y="178"/>
                  <a:pt x="212" y="178"/>
                  <a:pt x="212" y="178"/>
                </a:cubicBezTo>
                <a:cubicBezTo>
                  <a:pt x="212" y="179"/>
                  <a:pt x="212" y="179"/>
                  <a:pt x="212" y="179"/>
                </a:cubicBezTo>
                <a:cubicBezTo>
                  <a:pt x="213" y="179"/>
                  <a:pt x="213" y="179"/>
                  <a:pt x="213" y="179"/>
                </a:cubicBezTo>
                <a:cubicBezTo>
                  <a:pt x="215" y="180"/>
                  <a:pt x="215" y="180"/>
                  <a:pt x="215" y="180"/>
                </a:cubicBezTo>
                <a:cubicBezTo>
                  <a:pt x="215" y="180"/>
                  <a:pt x="215" y="180"/>
                  <a:pt x="215" y="180"/>
                </a:cubicBezTo>
                <a:cubicBezTo>
                  <a:pt x="217" y="180"/>
                  <a:pt x="217" y="180"/>
                  <a:pt x="217" y="180"/>
                </a:cubicBezTo>
                <a:cubicBezTo>
                  <a:pt x="218" y="180"/>
                  <a:pt x="218" y="180"/>
                  <a:pt x="218" y="180"/>
                </a:cubicBezTo>
                <a:cubicBezTo>
                  <a:pt x="218" y="178"/>
                  <a:pt x="218" y="178"/>
                  <a:pt x="218" y="178"/>
                </a:cubicBezTo>
                <a:cubicBezTo>
                  <a:pt x="219" y="178"/>
                  <a:pt x="219" y="178"/>
                  <a:pt x="219" y="178"/>
                </a:cubicBezTo>
                <a:cubicBezTo>
                  <a:pt x="218" y="176"/>
                  <a:pt x="218" y="176"/>
                  <a:pt x="218" y="176"/>
                </a:cubicBezTo>
                <a:cubicBezTo>
                  <a:pt x="216" y="175"/>
                  <a:pt x="216" y="175"/>
                  <a:pt x="216" y="175"/>
                </a:cubicBezTo>
                <a:cubicBezTo>
                  <a:pt x="214" y="175"/>
                  <a:pt x="214" y="175"/>
                  <a:pt x="214" y="175"/>
                </a:cubicBezTo>
                <a:cubicBezTo>
                  <a:pt x="213" y="175"/>
                  <a:pt x="213" y="175"/>
                  <a:pt x="213" y="175"/>
                </a:cubicBezTo>
                <a:close/>
                <a:moveTo>
                  <a:pt x="224" y="174"/>
                </a:moveTo>
                <a:cubicBezTo>
                  <a:pt x="225" y="174"/>
                  <a:pt x="225" y="174"/>
                  <a:pt x="225" y="174"/>
                </a:cubicBezTo>
                <a:cubicBezTo>
                  <a:pt x="226" y="173"/>
                  <a:pt x="226" y="173"/>
                  <a:pt x="226" y="173"/>
                </a:cubicBezTo>
                <a:cubicBezTo>
                  <a:pt x="226" y="173"/>
                  <a:pt x="226" y="173"/>
                  <a:pt x="226" y="173"/>
                </a:cubicBezTo>
                <a:cubicBezTo>
                  <a:pt x="225" y="173"/>
                  <a:pt x="225" y="173"/>
                  <a:pt x="225" y="173"/>
                </a:cubicBezTo>
                <a:cubicBezTo>
                  <a:pt x="224" y="173"/>
                  <a:pt x="224" y="173"/>
                  <a:pt x="224" y="173"/>
                </a:cubicBezTo>
                <a:cubicBezTo>
                  <a:pt x="224" y="174"/>
                  <a:pt x="224" y="174"/>
                  <a:pt x="224" y="174"/>
                </a:cubicBezTo>
                <a:close/>
                <a:moveTo>
                  <a:pt x="219" y="167"/>
                </a:moveTo>
                <a:cubicBezTo>
                  <a:pt x="219" y="168"/>
                  <a:pt x="219" y="168"/>
                  <a:pt x="219" y="168"/>
                </a:cubicBezTo>
                <a:cubicBezTo>
                  <a:pt x="219" y="170"/>
                  <a:pt x="219" y="170"/>
                  <a:pt x="219" y="170"/>
                </a:cubicBezTo>
                <a:cubicBezTo>
                  <a:pt x="219" y="171"/>
                  <a:pt x="219" y="171"/>
                  <a:pt x="219" y="171"/>
                </a:cubicBezTo>
                <a:cubicBezTo>
                  <a:pt x="220" y="171"/>
                  <a:pt x="220" y="171"/>
                  <a:pt x="220" y="171"/>
                </a:cubicBezTo>
                <a:cubicBezTo>
                  <a:pt x="221" y="171"/>
                  <a:pt x="221" y="171"/>
                  <a:pt x="221" y="171"/>
                </a:cubicBezTo>
                <a:cubicBezTo>
                  <a:pt x="221" y="170"/>
                  <a:pt x="221" y="170"/>
                  <a:pt x="221" y="170"/>
                </a:cubicBezTo>
                <a:cubicBezTo>
                  <a:pt x="221" y="169"/>
                  <a:pt x="221" y="169"/>
                  <a:pt x="221" y="169"/>
                </a:cubicBezTo>
                <a:cubicBezTo>
                  <a:pt x="221" y="168"/>
                  <a:pt x="221" y="168"/>
                  <a:pt x="221" y="168"/>
                </a:cubicBezTo>
                <a:cubicBezTo>
                  <a:pt x="220" y="167"/>
                  <a:pt x="220" y="167"/>
                  <a:pt x="220" y="167"/>
                </a:cubicBezTo>
                <a:cubicBezTo>
                  <a:pt x="219" y="167"/>
                  <a:pt x="219" y="167"/>
                  <a:pt x="219" y="167"/>
                </a:cubicBezTo>
                <a:close/>
                <a:moveTo>
                  <a:pt x="227" y="162"/>
                </a:moveTo>
                <a:cubicBezTo>
                  <a:pt x="227" y="165"/>
                  <a:pt x="227" y="165"/>
                  <a:pt x="227" y="165"/>
                </a:cubicBezTo>
                <a:cubicBezTo>
                  <a:pt x="226" y="166"/>
                  <a:pt x="226" y="166"/>
                  <a:pt x="226" y="166"/>
                </a:cubicBezTo>
                <a:cubicBezTo>
                  <a:pt x="227" y="167"/>
                  <a:pt x="227" y="167"/>
                  <a:pt x="227" y="167"/>
                </a:cubicBezTo>
                <a:cubicBezTo>
                  <a:pt x="228" y="168"/>
                  <a:pt x="228" y="168"/>
                  <a:pt x="228" y="168"/>
                </a:cubicBezTo>
                <a:cubicBezTo>
                  <a:pt x="229" y="168"/>
                  <a:pt x="229" y="168"/>
                  <a:pt x="229" y="168"/>
                </a:cubicBezTo>
                <a:cubicBezTo>
                  <a:pt x="230" y="168"/>
                  <a:pt x="230" y="168"/>
                  <a:pt x="230" y="168"/>
                </a:cubicBezTo>
                <a:cubicBezTo>
                  <a:pt x="231" y="168"/>
                  <a:pt x="231" y="168"/>
                  <a:pt x="231" y="168"/>
                </a:cubicBezTo>
                <a:cubicBezTo>
                  <a:pt x="231" y="169"/>
                  <a:pt x="231" y="169"/>
                  <a:pt x="231" y="169"/>
                </a:cubicBezTo>
                <a:cubicBezTo>
                  <a:pt x="232" y="169"/>
                  <a:pt x="232" y="169"/>
                  <a:pt x="232" y="169"/>
                </a:cubicBezTo>
                <a:cubicBezTo>
                  <a:pt x="233" y="168"/>
                  <a:pt x="233" y="168"/>
                  <a:pt x="233" y="168"/>
                </a:cubicBezTo>
                <a:cubicBezTo>
                  <a:pt x="233" y="167"/>
                  <a:pt x="233" y="167"/>
                  <a:pt x="233" y="167"/>
                </a:cubicBezTo>
                <a:cubicBezTo>
                  <a:pt x="233" y="166"/>
                  <a:pt x="233" y="166"/>
                  <a:pt x="233" y="166"/>
                </a:cubicBezTo>
                <a:cubicBezTo>
                  <a:pt x="232" y="165"/>
                  <a:pt x="232" y="165"/>
                  <a:pt x="232" y="165"/>
                </a:cubicBezTo>
                <a:cubicBezTo>
                  <a:pt x="232" y="166"/>
                  <a:pt x="232" y="166"/>
                  <a:pt x="232" y="166"/>
                </a:cubicBezTo>
                <a:cubicBezTo>
                  <a:pt x="232" y="167"/>
                  <a:pt x="232" y="167"/>
                  <a:pt x="232" y="167"/>
                </a:cubicBezTo>
                <a:cubicBezTo>
                  <a:pt x="231" y="166"/>
                  <a:pt x="231" y="166"/>
                  <a:pt x="231" y="166"/>
                </a:cubicBezTo>
                <a:cubicBezTo>
                  <a:pt x="231" y="165"/>
                  <a:pt x="231" y="165"/>
                  <a:pt x="231" y="165"/>
                </a:cubicBezTo>
                <a:cubicBezTo>
                  <a:pt x="231" y="164"/>
                  <a:pt x="231" y="164"/>
                  <a:pt x="231" y="164"/>
                </a:cubicBezTo>
                <a:cubicBezTo>
                  <a:pt x="230" y="163"/>
                  <a:pt x="230" y="163"/>
                  <a:pt x="230" y="163"/>
                </a:cubicBezTo>
                <a:cubicBezTo>
                  <a:pt x="230" y="163"/>
                  <a:pt x="230" y="163"/>
                  <a:pt x="230" y="163"/>
                </a:cubicBezTo>
                <a:cubicBezTo>
                  <a:pt x="231" y="163"/>
                  <a:pt x="231" y="163"/>
                  <a:pt x="231" y="163"/>
                </a:cubicBezTo>
                <a:cubicBezTo>
                  <a:pt x="231" y="162"/>
                  <a:pt x="231" y="162"/>
                  <a:pt x="231" y="162"/>
                </a:cubicBezTo>
                <a:cubicBezTo>
                  <a:pt x="230" y="161"/>
                  <a:pt x="230" y="161"/>
                  <a:pt x="230" y="161"/>
                </a:cubicBezTo>
                <a:cubicBezTo>
                  <a:pt x="229" y="162"/>
                  <a:pt x="229" y="162"/>
                  <a:pt x="229" y="162"/>
                </a:cubicBezTo>
                <a:cubicBezTo>
                  <a:pt x="228" y="162"/>
                  <a:pt x="228" y="162"/>
                  <a:pt x="228" y="162"/>
                </a:cubicBezTo>
                <a:cubicBezTo>
                  <a:pt x="228" y="162"/>
                  <a:pt x="228" y="162"/>
                  <a:pt x="228" y="162"/>
                </a:cubicBezTo>
                <a:cubicBezTo>
                  <a:pt x="227" y="162"/>
                  <a:pt x="227" y="162"/>
                  <a:pt x="227" y="162"/>
                </a:cubicBezTo>
                <a:close/>
                <a:moveTo>
                  <a:pt x="228" y="142"/>
                </a:moveTo>
                <a:cubicBezTo>
                  <a:pt x="227" y="143"/>
                  <a:pt x="227" y="143"/>
                  <a:pt x="227" y="143"/>
                </a:cubicBezTo>
                <a:cubicBezTo>
                  <a:pt x="228" y="144"/>
                  <a:pt x="228" y="144"/>
                  <a:pt x="228" y="144"/>
                </a:cubicBezTo>
                <a:cubicBezTo>
                  <a:pt x="228" y="144"/>
                  <a:pt x="228" y="144"/>
                  <a:pt x="228" y="144"/>
                </a:cubicBezTo>
                <a:cubicBezTo>
                  <a:pt x="228" y="145"/>
                  <a:pt x="228" y="145"/>
                  <a:pt x="228" y="145"/>
                </a:cubicBezTo>
                <a:cubicBezTo>
                  <a:pt x="228" y="146"/>
                  <a:pt x="228" y="146"/>
                  <a:pt x="228" y="146"/>
                </a:cubicBezTo>
                <a:cubicBezTo>
                  <a:pt x="228" y="147"/>
                  <a:pt x="228" y="147"/>
                  <a:pt x="228" y="147"/>
                </a:cubicBezTo>
                <a:cubicBezTo>
                  <a:pt x="229" y="149"/>
                  <a:pt x="229" y="149"/>
                  <a:pt x="229" y="149"/>
                </a:cubicBezTo>
                <a:cubicBezTo>
                  <a:pt x="229" y="151"/>
                  <a:pt x="229" y="151"/>
                  <a:pt x="229" y="151"/>
                </a:cubicBezTo>
                <a:cubicBezTo>
                  <a:pt x="228" y="152"/>
                  <a:pt x="228" y="152"/>
                  <a:pt x="228" y="152"/>
                </a:cubicBezTo>
                <a:cubicBezTo>
                  <a:pt x="228" y="153"/>
                  <a:pt x="228" y="153"/>
                  <a:pt x="228" y="153"/>
                </a:cubicBezTo>
                <a:cubicBezTo>
                  <a:pt x="229" y="154"/>
                  <a:pt x="229" y="154"/>
                  <a:pt x="229" y="154"/>
                </a:cubicBezTo>
                <a:cubicBezTo>
                  <a:pt x="229" y="153"/>
                  <a:pt x="229" y="153"/>
                  <a:pt x="229" y="153"/>
                </a:cubicBezTo>
                <a:cubicBezTo>
                  <a:pt x="229" y="152"/>
                  <a:pt x="229" y="152"/>
                  <a:pt x="229" y="152"/>
                </a:cubicBezTo>
                <a:cubicBezTo>
                  <a:pt x="230" y="151"/>
                  <a:pt x="230" y="151"/>
                  <a:pt x="230" y="151"/>
                </a:cubicBezTo>
                <a:cubicBezTo>
                  <a:pt x="230" y="149"/>
                  <a:pt x="230" y="149"/>
                  <a:pt x="230" y="149"/>
                </a:cubicBezTo>
                <a:cubicBezTo>
                  <a:pt x="229" y="148"/>
                  <a:pt x="229" y="148"/>
                  <a:pt x="229" y="148"/>
                </a:cubicBezTo>
                <a:cubicBezTo>
                  <a:pt x="229" y="145"/>
                  <a:pt x="229" y="145"/>
                  <a:pt x="229" y="145"/>
                </a:cubicBezTo>
                <a:cubicBezTo>
                  <a:pt x="229" y="144"/>
                  <a:pt x="229" y="144"/>
                  <a:pt x="229" y="144"/>
                </a:cubicBezTo>
                <a:cubicBezTo>
                  <a:pt x="229" y="143"/>
                  <a:pt x="229" y="143"/>
                  <a:pt x="229" y="143"/>
                </a:cubicBezTo>
                <a:cubicBezTo>
                  <a:pt x="228" y="142"/>
                  <a:pt x="228" y="142"/>
                  <a:pt x="228" y="142"/>
                </a:cubicBezTo>
                <a:close/>
                <a:moveTo>
                  <a:pt x="219" y="146"/>
                </a:moveTo>
                <a:cubicBezTo>
                  <a:pt x="219" y="146"/>
                  <a:pt x="219" y="146"/>
                  <a:pt x="219" y="146"/>
                </a:cubicBezTo>
                <a:cubicBezTo>
                  <a:pt x="219" y="147"/>
                  <a:pt x="219" y="147"/>
                  <a:pt x="219" y="147"/>
                </a:cubicBezTo>
                <a:cubicBezTo>
                  <a:pt x="220" y="147"/>
                  <a:pt x="220" y="147"/>
                  <a:pt x="220" y="147"/>
                </a:cubicBezTo>
                <a:cubicBezTo>
                  <a:pt x="221" y="146"/>
                  <a:pt x="221" y="146"/>
                  <a:pt x="221" y="146"/>
                </a:cubicBezTo>
                <a:cubicBezTo>
                  <a:pt x="221" y="145"/>
                  <a:pt x="221" y="145"/>
                  <a:pt x="221" y="145"/>
                </a:cubicBezTo>
                <a:cubicBezTo>
                  <a:pt x="219" y="145"/>
                  <a:pt x="219" y="145"/>
                  <a:pt x="219" y="145"/>
                </a:cubicBezTo>
                <a:cubicBezTo>
                  <a:pt x="219" y="146"/>
                  <a:pt x="219" y="146"/>
                  <a:pt x="219" y="146"/>
                </a:cubicBezTo>
                <a:close/>
                <a:moveTo>
                  <a:pt x="217" y="143"/>
                </a:moveTo>
                <a:cubicBezTo>
                  <a:pt x="218" y="144"/>
                  <a:pt x="218" y="144"/>
                  <a:pt x="218" y="144"/>
                </a:cubicBezTo>
                <a:cubicBezTo>
                  <a:pt x="219" y="144"/>
                  <a:pt x="219" y="144"/>
                  <a:pt x="219" y="144"/>
                </a:cubicBezTo>
                <a:cubicBezTo>
                  <a:pt x="218" y="143"/>
                  <a:pt x="218" y="143"/>
                  <a:pt x="218" y="143"/>
                </a:cubicBezTo>
                <a:cubicBezTo>
                  <a:pt x="218" y="143"/>
                  <a:pt x="218" y="143"/>
                  <a:pt x="218" y="143"/>
                </a:cubicBezTo>
                <a:cubicBezTo>
                  <a:pt x="217" y="143"/>
                  <a:pt x="217" y="143"/>
                  <a:pt x="217" y="143"/>
                </a:cubicBezTo>
                <a:close/>
                <a:moveTo>
                  <a:pt x="226" y="123"/>
                </a:moveTo>
                <a:cubicBezTo>
                  <a:pt x="227" y="124"/>
                  <a:pt x="227" y="124"/>
                  <a:pt x="227" y="124"/>
                </a:cubicBezTo>
                <a:cubicBezTo>
                  <a:pt x="227" y="125"/>
                  <a:pt x="227" y="125"/>
                  <a:pt x="227" y="125"/>
                </a:cubicBezTo>
                <a:cubicBezTo>
                  <a:pt x="228" y="125"/>
                  <a:pt x="228" y="125"/>
                  <a:pt x="228" y="125"/>
                </a:cubicBezTo>
                <a:cubicBezTo>
                  <a:pt x="228" y="124"/>
                  <a:pt x="228" y="124"/>
                  <a:pt x="228" y="124"/>
                </a:cubicBezTo>
                <a:cubicBezTo>
                  <a:pt x="227" y="124"/>
                  <a:pt x="227" y="124"/>
                  <a:pt x="227" y="124"/>
                </a:cubicBezTo>
                <a:cubicBezTo>
                  <a:pt x="226" y="123"/>
                  <a:pt x="226" y="123"/>
                  <a:pt x="226" y="123"/>
                </a:cubicBezTo>
                <a:cubicBezTo>
                  <a:pt x="226" y="122"/>
                  <a:pt x="226" y="122"/>
                  <a:pt x="226" y="122"/>
                </a:cubicBezTo>
                <a:cubicBezTo>
                  <a:pt x="226" y="123"/>
                  <a:pt x="226" y="123"/>
                  <a:pt x="226" y="123"/>
                </a:cubicBezTo>
                <a:close/>
                <a:moveTo>
                  <a:pt x="234" y="128"/>
                </a:moveTo>
                <a:cubicBezTo>
                  <a:pt x="234" y="128"/>
                  <a:pt x="234" y="128"/>
                  <a:pt x="234" y="128"/>
                </a:cubicBezTo>
                <a:cubicBezTo>
                  <a:pt x="235" y="128"/>
                  <a:pt x="235" y="128"/>
                  <a:pt x="235" y="128"/>
                </a:cubicBezTo>
                <a:cubicBezTo>
                  <a:pt x="235" y="128"/>
                  <a:pt x="235" y="128"/>
                  <a:pt x="235" y="128"/>
                </a:cubicBezTo>
                <a:cubicBezTo>
                  <a:pt x="235" y="127"/>
                  <a:pt x="235" y="127"/>
                  <a:pt x="235" y="127"/>
                </a:cubicBezTo>
                <a:cubicBezTo>
                  <a:pt x="235" y="126"/>
                  <a:pt x="235" y="126"/>
                  <a:pt x="235" y="126"/>
                </a:cubicBezTo>
                <a:cubicBezTo>
                  <a:pt x="236" y="125"/>
                  <a:pt x="236" y="125"/>
                  <a:pt x="236" y="125"/>
                </a:cubicBezTo>
                <a:cubicBezTo>
                  <a:pt x="236" y="124"/>
                  <a:pt x="236" y="124"/>
                  <a:pt x="236" y="124"/>
                </a:cubicBezTo>
                <a:cubicBezTo>
                  <a:pt x="234" y="125"/>
                  <a:pt x="234" y="125"/>
                  <a:pt x="234" y="125"/>
                </a:cubicBezTo>
                <a:cubicBezTo>
                  <a:pt x="234" y="127"/>
                  <a:pt x="234" y="127"/>
                  <a:pt x="234" y="127"/>
                </a:cubicBezTo>
                <a:cubicBezTo>
                  <a:pt x="234" y="128"/>
                  <a:pt x="234" y="128"/>
                  <a:pt x="234" y="128"/>
                </a:cubicBezTo>
                <a:close/>
                <a:moveTo>
                  <a:pt x="230" y="120"/>
                </a:moveTo>
                <a:cubicBezTo>
                  <a:pt x="230" y="121"/>
                  <a:pt x="230" y="121"/>
                  <a:pt x="230" y="121"/>
                </a:cubicBezTo>
                <a:cubicBezTo>
                  <a:pt x="231" y="120"/>
                  <a:pt x="231" y="120"/>
                  <a:pt x="231" y="120"/>
                </a:cubicBezTo>
                <a:cubicBezTo>
                  <a:pt x="231" y="119"/>
                  <a:pt x="231" y="119"/>
                  <a:pt x="231" y="119"/>
                </a:cubicBezTo>
                <a:cubicBezTo>
                  <a:pt x="231" y="118"/>
                  <a:pt x="231" y="118"/>
                  <a:pt x="231" y="118"/>
                </a:cubicBezTo>
                <a:cubicBezTo>
                  <a:pt x="231" y="119"/>
                  <a:pt x="231" y="119"/>
                  <a:pt x="231" y="119"/>
                </a:cubicBezTo>
                <a:cubicBezTo>
                  <a:pt x="230" y="120"/>
                  <a:pt x="230" y="120"/>
                  <a:pt x="230" y="120"/>
                </a:cubicBezTo>
                <a:close/>
                <a:moveTo>
                  <a:pt x="231" y="116"/>
                </a:moveTo>
                <a:cubicBezTo>
                  <a:pt x="230" y="116"/>
                  <a:pt x="230" y="116"/>
                  <a:pt x="230" y="116"/>
                </a:cubicBezTo>
                <a:cubicBezTo>
                  <a:pt x="231" y="117"/>
                  <a:pt x="231" y="117"/>
                  <a:pt x="231" y="117"/>
                </a:cubicBezTo>
                <a:cubicBezTo>
                  <a:pt x="231" y="116"/>
                  <a:pt x="231" y="116"/>
                  <a:pt x="231" y="116"/>
                </a:cubicBezTo>
                <a:cubicBezTo>
                  <a:pt x="231" y="116"/>
                  <a:pt x="231" y="116"/>
                  <a:pt x="231" y="116"/>
                </a:cubicBezTo>
                <a:cubicBezTo>
                  <a:pt x="231" y="116"/>
                  <a:pt x="231" y="116"/>
                  <a:pt x="231" y="116"/>
                </a:cubicBezTo>
                <a:close/>
                <a:moveTo>
                  <a:pt x="236" y="102"/>
                </a:moveTo>
                <a:cubicBezTo>
                  <a:pt x="237" y="104"/>
                  <a:pt x="237" y="104"/>
                  <a:pt x="237" y="104"/>
                </a:cubicBezTo>
                <a:cubicBezTo>
                  <a:pt x="237" y="104"/>
                  <a:pt x="237" y="104"/>
                  <a:pt x="237" y="104"/>
                </a:cubicBezTo>
                <a:cubicBezTo>
                  <a:pt x="238" y="103"/>
                  <a:pt x="238" y="103"/>
                  <a:pt x="238" y="103"/>
                </a:cubicBezTo>
                <a:cubicBezTo>
                  <a:pt x="238" y="102"/>
                  <a:pt x="238" y="102"/>
                  <a:pt x="238" y="102"/>
                </a:cubicBezTo>
                <a:cubicBezTo>
                  <a:pt x="238" y="100"/>
                  <a:pt x="238" y="100"/>
                  <a:pt x="238" y="100"/>
                </a:cubicBezTo>
                <a:cubicBezTo>
                  <a:pt x="239" y="99"/>
                  <a:pt x="239" y="99"/>
                  <a:pt x="239" y="99"/>
                </a:cubicBezTo>
                <a:cubicBezTo>
                  <a:pt x="238" y="99"/>
                  <a:pt x="238" y="99"/>
                  <a:pt x="238" y="99"/>
                </a:cubicBezTo>
                <a:cubicBezTo>
                  <a:pt x="237" y="100"/>
                  <a:pt x="237" y="100"/>
                  <a:pt x="237" y="100"/>
                </a:cubicBezTo>
                <a:cubicBezTo>
                  <a:pt x="237" y="101"/>
                  <a:pt x="237" y="101"/>
                  <a:pt x="237" y="101"/>
                </a:cubicBezTo>
                <a:cubicBezTo>
                  <a:pt x="236" y="102"/>
                  <a:pt x="236" y="102"/>
                  <a:pt x="236" y="102"/>
                </a:cubicBezTo>
                <a:close/>
                <a:moveTo>
                  <a:pt x="233" y="84"/>
                </a:moveTo>
                <a:cubicBezTo>
                  <a:pt x="233" y="84"/>
                  <a:pt x="233" y="84"/>
                  <a:pt x="233" y="84"/>
                </a:cubicBezTo>
                <a:cubicBezTo>
                  <a:pt x="233" y="84"/>
                  <a:pt x="233" y="84"/>
                  <a:pt x="233" y="84"/>
                </a:cubicBezTo>
                <a:cubicBezTo>
                  <a:pt x="235" y="84"/>
                  <a:pt x="235" y="84"/>
                  <a:pt x="235" y="84"/>
                </a:cubicBezTo>
                <a:cubicBezTo>
                  <a:pt x="236" y="83"/>
                  <a:pt x="236" y="83"/>
                  <a:pt x="236" y="83"/>
                </a:cubicBezTo>
                <a:cubicBezTo>
                  <a:pt x="236" y="81"/>
                  <a:pt x="236" y="81"/>
                  <a:pt x="236" y="81"/>
                </a:cubicBezTo>
                <a:cubicBezTo>
                  <a:pt x="235" y="80"/>
                  <a:pt x="235" y="80"/>
                  <a:pt x="235" y="80"/>
                </a:cubicBezTo>
                <a:cubicBezTo>
                  <a:pt x="233" y="81"/>
                  <a:pt x="233" y="81"/>
                  <a:pt x="233" y="81"/>
                </a:cubicBezTo>
                <a:cubicBezTo>
                  <a:pt x="232" y="83"/>
                  <a:pt x="232" y="83"/>
                  <a:pt x="232" y="83"/>
                </a:cubicBezTo>
                <a:cubicBezTo>
                  <a:pt x="233" y="84"/>
                  <a:pt x="233" y="84"/>
                  <a:pt x="233" y="84"/>
                </a:cubicBezTo>
                <a:close/>
                <a:moveTo>
                  <a:pt x="245" y="49"/>
                </a:moveTo>
                <a:cubicBezTo>
                  <a:pt x="246" y="49"/>
                  <a:pt x="246" y="49"/>
                  <a:pt x="246" y="49"/>
                </a:cubicBezTo>
                <a:cubicBezTo>
                  <a:pt x="246" y="48"/>
                  <a:pt x="246" y="48"/>
                  <a:pt x="246" y="48"/>
                </a:cubicBezTo>
                <a:cubicBezTo>
                  <a:pt x="246" y="46"/>
                  <a:pt x="246" y="46"/>
                  <a:pt x="246" y="46"/>
                </a:cubicBezTo>
                <a:cubicBezTo>
                  <a:pt x="246" y="45"/>
                  <a:pt x="246" y="45"/>
                  <a:pt x="246" y="45"/>
                </a:cubicBezTo>
                <a:cubicBezTo>
                  <a:pt x="246" y="44"/>
                  <a:pt x="246" y="44"/>
                  <a:pt x="246" y="44"/>
                </a:cubicBezTo>
                <a:cubicBezTo>
                  <a:pt x="245" y="44"/>
                  <a:pt x="245" y="44"/>
                  <a:pt x="245" y="44"/>
                </a:cubicBezTo>
                <a:cubicBezTo>
                  <a:pt x="245" y="45"/>
                  <a:pt x="245" y="45"/>
                  <a:pt x="245" y="45"/>
                </a:cubicBezTo>
                <a:cubicBezTo>
                  <a:pt x="245" y="45"/>
                  <a:pt x="245" y="45"/>
                  <a:pt x="245" y="45"/>
                </a:cubicBezTo>
                <a:cubicBezTo>
                  <a:pt x="245" y="46"/>
                  <a:pt x="245" y="46"/>
                  <a:pt x="245" y="46"/>
                </a:cubicBezTo>
                <a:cubicBezTo>
                  <a:pt x="245" y="48"/>
                  <a:pt x="245" y="48"/>
                  <a:pt x="245" y="48"/>
                </a:cubicBezTo>
                <a:cubicBezTo>
                  <a:pt x="245" y="49"/>
                  <a:pt x="245" y="49"/>
                  <a:pt x="245" y="49"/>
                </a:cubicBezTo>
                <a:close/>
                <a:moveTo>
                  <a:pt x="242" y="53"/>
                </a:moveTo>
                <a:cubicBezTo>
                  <a:pt x="242" y="53"/>
                  <a:pt x="242" y="54"/>
                  <a:pt x="242" y="54"/>
                </a:cubicBezTo>
                <a:cubicBezTo>
                  <a:pt x="242" y="53"/>
                  <a:pt x="242" y="53"/>
                  <a:pt x="242" y="53"/>
                </a:cubicBezTo>
                <a:cubicBezTo>
                  <a:pt x="243" y="51"/>
                  <a:pt x="243" y="51"/>
                  <a:pt x="243" y="51"/>
                </a:cubicBezTo>
                <a:cubicBezTo>
                  <a:pt x="242" y="50"/>
                  <a:pt x="242" y="50"/>
                  <a:pt x="242" y="50"/>
                </a:cubicBezTo>
                <a:cubicBezTo>
                  <a:pt x="241" y="51"/>
                  <a:pt x="241" y="51"/>
                  <a:pt x="241" y="51"/>
                </a:cubicBezTo>
                <a:cubicBezTo>
                  <a:pt x="241" y="52"/>
                  <a:pt x="241" y="52"/>
                  <a:pt x="241" y="52"/>
                </a:cubicBezTo>
                <a:cubicBezTo>
                  <a:pt x="242" y="53"/>
                  <a:pt x="242" y="53"/>
                  <a:pt x="242" y="53"/>
                </a:cubicBezTo>
                <a:close/>
                <a:moveTo>
                  <a:pt x="239" y="50"/>
                </a:moveTo>
                <a:cubicBezTo>
                  <a:pt x="240" y="50"/>
                  <a:pt x="240" y="50"/>
                  <a:pt x="240" y="50"/>
                </a:cubicBezTo>
                <a:cubicBezTo>
                  <a:pt x="241" y="49"/>
                  <a:pt x="241" y="49"/>
                  <a:pt x="241" y="49"/>
                </a:cubicBezTo>
                <a:cubicBezTo>
                  <a:pt x="241" y="48"/>
                  <a:pt x="241" y="48"/>
                  <a:pt x="241" y="48"/>
                </a:cubicBezTo>
                <a:cubicBezTo>
                  <a:pt x="241" y="48"/>
                  <a:pt x="241" y="48"/>
                  <a:pt x="241" y="48"/>
                </a:cubicBezTo>
                <a:cubicBezTo>
                  <a:pt x="241" y="46"/>
                  <a:pt x="241" y="46"/>
                  <a:pt x="241" y="46"/>
                </a:cubicBezTo>
                <a:cubicBezTo>
                  <a:pt x="241" y="46"/>
                  <a:pt x="241" y="46"/>
                  <a:pt x="241" y="46"/>
                </a:cubicBezTo>
                <a:cubicBezTo>
                  <a:pt x="240" y="46"/>
                  <a:pt x="240" y="46"/>
                  <a:pt x="240" y="46"/>
                </a:cubicBezTo>
                <a:cubicBezTo>
                  <a:pt x="239" y="47"/>
                  <a:pt x="239" y="47"/>
                  <a:pt x="239" y="47"/>
                </a:cubicBezTo>
                <a:cubicBezTo>
                  <a:pt x="240" y="48"/>
                  <a:pt x="240" y="48"/>
                  <a:pt x="240" y="48"/>
                </a:cubicBezTo>
                <a:cubicBezTo>
                  <a:pt x="239" y="50"/>
                  <a:pt x="239" y="50"/>
                  <a:pt x="239" y="50"/>
                </a:cubicBezTo>
                <a:close/>
                <a:moveTo>
                  <a:pt x="174" y="4"/>
                </a:moveTo>
                <a:cubicBezTo>
                  <a:pt x="174" y="4"/>
                  <a:pt x="174" y="4"/>
                  <a:pt x="174" y="4"/>
                </a:cubicBezTo>
                <a:cubicBezTo>
                  <a:pt x="174" y="3"/>
                  <a:pt x="174" y="3"/>
                  <a:pt x="174" y="3"/>
                </a:cubicBezTo>
                <a:cubicBezTo>
                  <a:pt x="175" y="2"/>
                  <a:pt x="175" y="2"/>
                  <a:pt x="175" y="2"/>
                </a:cubicBezTo>
                <a:cubicBezTo>
                  <a:pt x="174" y="1"/>
                  <a:pt x="174" y="1"/>
                  <a:pt x="174" y="1"/>
                </a:cubicBezTo>
                <a:cubicBezTo>
                  <a:pt x="173" y="1"/>
                  <a:pt x="173" y="1"/>
                  <a:pt x="173" y="1"/>
                </a:cubicBezTo>
                <a:cubicBezTo>
                  <a:pt x="173" y="3"/>
                  <a:pt x="173" y="3"/>
                  <a:pt x="173" y="3"/>
                </a:cubicBezTo>
                <a:cubicBezTo>
                  <a:pt x="174" y="4"/>
                  <a:pt x="174" y="4"/>
                  <a:pt x="174" y="4"/>
                </a:cubicBezTo>
                <a:close/>
                <a:moveTo>
                  <a:pt x="174" y="6"/>
                </a:moveTo>
                <a:cubicBezTo>
                  <a:pt x="174" y="6"/>
                  <a:pt x="174" y="6"/>
                  <a:pt x="174" y="6"/>
                </a:cubicBezTo>
                <a:cubicBezTo>
                  <a:pt x="175" y="6"/>
                  <a:pt x="175" y="6"/>
                  <a:pt x="175" y="6"/>
                </a:cubicBezTo>
                <a:cubicBezTo>
                  <a:pt x="175" y="5"/>
                  <a:pt x="175" y="5"/>
                  <a:pt x="175" y="5"/>
                </a:cubicBezTo>
                <a:cubicBezTo>
                  <a:pt x="175" y="4"/>
                  <a:pt x="175" y="4"/>
                  <a:pt x="175" y="4"/>
                </a:cubicBezTo>
                <a:cubicBezTo>
                  <a:pt x="175" y="4"/>
                  <a:pt x="175" y="4"/>
                  <a:pt x="175" y="4"/>
                </a:cubicBezTo>
                <a:cubicBezTo>
                  <a:pt x="174" y="5"/>
                  <a:pt x="174" y="5"/>
                  <a:pt x="174" y="5"/>
                </a:cubicBezTo>
                <a:cubicBezTo>
                  <a:pt x="174" y="6"/>
                  <a:pt x="174" y="6"/>
                  <a:pt x="174" y="6"/>
                </a:cubicBezTo>
                <a:close/>
                <a:moveTo>
                  <a:pt x="168" y="6"/>
                </a:moveTo>
                <a:cubicBezTo>
                  <a:pt x="169" y="7"/>
                  <a:pt x="169" y="7"/>
                  <a:pt x="169" y="7"/>
                </a:cubicBezTo>
                <a:cubicBezTo>
                  <a:pt x="170" y="8"/>
                  <a:pt x="170" y="8"/>
                  <a:pt x="170" y="8"/>
                </a:cubicBezTo>
                <a:cubicBezTo>
                  <a:pt x="170" y="8"/>
                  <a:pt x="170" y="8"/>
                  <a:pt x="170" y="8"/>
                </a:cubicBezTo>
                <a:cubicBezTo>
                  <a:pt x="171" y="7"/>
                  <a:pt x="171" y="7"/>
                  <a:pt x="171" y="7"/>
                </a:cubicBezTo>
                <a:cubicBezTo>
                  <a:pt x="172" y="7"/>
                  <a:pt x="172" y="7"/>
                  <a:pt x="172" y="7"/>
                </a:cubicBezTo>
                <a:cubicBezTo>
                  <a:pt x="170" y="5"/>
                  <a:pt x="170" y="5"/>
                  <a:pt x="170" y="5"/>
                </a:cubicBezTo>
                <a:cubicBezTo>
                  <a:pt x="170" y="4"/>
                  <a:pt x="170" y="4"/>
                  <a:pt x="170" y="4"/>
                </a:cubicBezTo>
                <a:cubicBezTo>
                  <a:pt x="169" y="4"/>
                  <a:pt x="169" y="4"/>
                  <a:pt x="169" y="4"/>
                </a:cubicBezTo>
                <a:cubicBezTo>
                  <a:pt x="169" y="4"/>
                  <a:pt x="169" y="4"/>
                  <a:pt x="169" y="4"/>
                </a:cubicBezTo>
                <a:cubicBezTo>
                  <a:pt x="169" y="5"/>
                  <a:pt x="169" y="5"/>
                  <a:pt x="169" y="5"/>
                </a:cubicBezTo>
                <a:cubicBezTo>
                  <a:pt x="168" y="5"/>
                  <a:pt x="168" y="5"/>
                  <a:pt x="168" y="5"/>
                </a:cubicBezTo>
                <a:cubicBezTo>
                  <a:pt x="168" y="6"/>
                  <a:pt x="168" y="6"/>
                  <a:pt x="168" y="6"/>
                </a:cubicBezTo>
                <a:close/>
                <a:moveTo>
                  <a:pt x="165" y="7"/>
                </a:moveTo>
                <a:cubicBezTo>
                  <a:pt x="165" y="8"/>
                  <a:pt x="165" y="8"/>
                  <a:pt x="165" y="8"/>
                </a:cubicBezTo>
                <a:cubicBezTo>
                  <a:pt x="166" y="8"/>
                  <a:pt x="166" y="8"/>
                  <a:pt x="166" y="8"/>
                </a:cubicBezTo>
                <a:cubicBezTo>
                  <a:pt x="166" y="8"/>
                  <a:pt x="166" y="8"/>
                  <a:pt x="166" y="8"/>
                </a:cubicBezTo>
                <a:cubicBezTo>
                  <a:pt x="166" y="8"/>
                  <a:pt x="166" y="8"/>
                  <a:pt x="166" y="8"/>
                </a:cubicBezTo>
                <a:cubicBezTo>
                  <a:pt x="165" y="7"/>
                  <a:pt x="165" y="7"/>
                  <a:pt x="165" y="7"/>
                </a:cubicBezTo>
                <a:cubicBezTo>
                  <a:pt x="165" y="7"/>
                  <a:pt x="165" y="7"/>
                  <a:pt x="165" y="7"/>
                </a:cubicBezTo>
                <a:close/>
                <a:moveTo>
                  <a:pt x="146" y="12"/>
                </a:moveTo>
                <a:cubicBezTo>
                  <a:pt x="147" y="13"/>
                  <a:pt x="147" y="13"/>
                  <a:pt x="147" y="13"/>
                </a:cubicBezTo>
                <a:cubicBezTo>
                  <a:pt x="148" y="14"/>
                  <a:pt x="148" y="14"/>
                  <a:pt x="148" y="14"/>
                </a:cubicBezTo>
                <a:cubicBezTo>
                  <a:pt x="149" y="15"/>
                  <a:pt x="149" y="15"/>
                  <a:pt x="149" y="15"/>
                </a:cubicBezTo>
                <a:cubicBezTo>
                  <a:pt x="150" y="16"/>
                  <a:pt x="150" y="16"/>
                  <a:pt x="150" y="16"/>
                </a:cubicBezTo>
                <a:cubicBezTo>
                  <a:pt x="151" y="14"/>
                  <a:pt x="151" y="14"/>
                  <a:pt x="151" y="14"/>
                </a:cubicBezTo>
                <a:cubicBezTo>
                  <a:pt x="151" y="13"/>
                  <a:pt x="151" y="13"/>
                  <a:pt x="151" y="13"/>
                </a:cubicBezTo>
                <a:cubicBezTo>
                  <a:pt x="151" y="13"/>
                  <a:pt x="151" y="13"/>
                  <a:pt x="151" y="13"/>
                </a:cubicBezTo>
                <a:cubicBezTo>
                  <a:pt x="151" y="12"/>
                  <a:pt x="151" y="12"/>
                  <a:pt x="151" y="12"/>
                </a:cubicBezTo>
                <a:cubicBezTo>
                  <a:pt x="150" y="12"/>
                  <a:pt x="150" y="12"/>
                  <a:pt x="150" y="12"/>
                </a:cubicBezTo>
                <a:cubicBezTo>
                  <a:pt x="149" y="10"/>
                  <a:pt x="149" y="10"/>
                  <a:pt x="149" y="10"/>
                </a:cubicBezTo>
                <a:cubicBezTo>
                  <a:pt x="148" y="10"/>
                  <a:pt x="148" y="10"/>
                  <a:pt x="148" y="10"/>
                </a:cubicBezTo>
                <a:cubicBezTo>
                  <a:pt x="148" y="11"/>
                  <a:pt x="148" y="11"/>
                  <a:pt x="148" y="11"/>
                </a:cubicBezTo>
                <a:cubicBezTo>
                  <a:pt x="148" y="12"/>
                  <a:pt x="148" y="12"/>
                  <a:pt x="148" y="12"/>
                </a:cubicBezTo>
                <a:cubicBezTo>
                  <a:pt x="148" y="12"/>
                  <a:pt x="148" y="12"/>
                  <a:pt x="148" y="12"/>
                </a:cubicBezTo>
                <a:cubicBezTo>
                  <a:pt x="148" y="13"/>
                  <a:pt x="148" y="13"/>
                  <a:pt x="148" y="13"/>
                </a:cubicBezTo>
                <a:cubicBezTo>
                  <a:pt x="147" y="12"/>
                  <a:pt x="147" y="12"/>
                  <a:pt x="147" y="12"/>
                </a:cubicBezTo>
                <a:cubicBezTo>
                  <a:pt x="146" y="12"/>
                  <a:pt x="146" y="12"/>
                  <a:pt x="146" y="12"/>
                </a:cubicBezTo>
                <a:close/>
                <a:moveTo>
                  <a:pt x="145" y="13"/>
                </a:moveTo>
                <a:cubicBezTo>
                  <a:pt x="146" y="15"/>
                  <a:pt x="146" y="15"/>
                  <a:pt x="146" y="15"/>
                </a:cubicBezTo>
                <a:cubicBezTo>
                  <a:pt x="147" y="15"/>
                  <a:pt x="147" y="15"/>
                  <a:pt x="147" y="15"/>
                </a:cubicBezTo>
                <a:cubicBezTo>
                  <a:pt x="147" y="14"/>
                  <a:pt x="147" y="14"/>
                  <a:pt x="147" y="14"/>
                </a:cubicBezTo>
                <a:cubicBezTo>
                  <a:pt x="146" y="13"/>
                  <a:pt x="146" y="13"/>
                  <a:pt x="146" y="13"/>
                </a:cubicBezTo>
                <a:cubicBezTo>
                  <a:pt x="145" y="13"/>
                  <a:pt x="145" y="13"/>
                  <a:pt x="145" y="13"/>
                </a:cubicBezTo>
                <a:close/>
                <a:moveTo>
                  <a:pt x="139" y="13"/>
                </a:moveTo>
                <a:cubicBezTo>
                  <a:pt x="139" y="14"/>
                  <a:pt x="139" y="14"/>
                  <a:pt x="139" y="14"/>
                </a:cubicBezTo>
                <a:cubicBezTo>
                  <a:pt x="141" y="14"/>
                  <a:pt x="141" y="14"/>
                  <a:pt x="141" y="14"/>
                </a:cubicBezTo>
                <a:cubicBezTo>
                  <a:pt x="141" y="15"/>
                  <a:pt x="141" y="15"/>
                  <a:pt x="141" y="15"/>
                </a:cubicBezTo>
                <a:cubicBezTo>
                  <a:pt x="142" y="15"/>
                  <a:pt x="142" y="15"/>
                  <a:pt x="142" y="15"/>
                </a:cubicBezTo>
                <a:cubicBezTo>
                  <a:pt x="142" y="14"/>
                  <a:pt x="142" y="14"/>
                  <a:pt x="142" y="14"/>
                </a:cubicBezTo>
                <a:cubicBezTo>
                  <a:pt x="142" y="13"/>
                  <a:pt x="142" y="13"/>
                  <a:pt x="142" y="13"/>
                </a:cubicBezTo>
                <a:cubicBezTo>
                  <a:pt x="141" y="13"/>
                  <a:pt x="141" y="13"/>
                  <a:pt x="141" y="13"/>
                </a:cubicBezTo>
                <a:cubicBezTo>
                  <a:pt x="141" y="12"/>
                  <a:pt x="141" y="12"/>
                  <a:pt x="141" y="12"/>
                </a:cubicBezTo>
                <a:cubicBezTo>
                  <a:pt x="140" y="12"/>
                  <a:pt x="140" y="12"/>
                  <a:pt x="140" y="12"/>
                </a:cubicBezTo>
                <a:cubicBezTo>
                  <a:pt x="139" y="12"/>
                  <a:pt x="139" y="12"/>
                  <a:pt x="139" y="12"/>
                </a:cubicBezTo>
                <a:cubicBezTo>
                  <a:pt x="139" y="13"/>
                  <a:pt x="139" y="13"/>
                  <a:pt x="139" y="13"/>
                </a:cubicBezTo>
                <a:close/>
                <a:moveTo>
                  <a:pt x="135" y="25"/>
                </a:moveTo>
                <a:cubicBezTo>
                  <a:pt x="136" y="25"/>
                  <a:pt x="136" y="25"/>
                  <a:pt x="136" y="25"/>
                </a:cubicBezTo>
                <a:cubicBezTo>
                  <a:pt x="137" y="25"/>
                  <a:pt x="137" y="25"/>
                  <a:pt x="137" y="25"/>
                </a:cubicBezTo>
                <a:cubicBezTo>
                  <a:pt x="137" y="24"/>
                  <a:pt x="137" y="24"/>
                  <a:pt x="137" y="24"/>
                </a:cubicBezTo>
                <a:cubicBezTo>
                  <a:pt x="136" y="23"/>
                  <a:pt x="136" y="23"/>
                  <a:pt x="136" y="23"/>
                </a:cubicBezTo>
                <a:cubicBezTo>
                  <a:pt x="136" y="21"/>
                  <a:pt x="136" y="21"/>
                  <a:pt x="136" y="21"/>
                </a:cubicBezTo>
                <a:cubicBezTo>
                  <a:pt x="135" y="20"/>
                  <a:pt x="135" y="20"/>
                  <a:pt x="135" y="20"/>
                </a:cubicBezTo>
                <a:cubicBezTo>
                  <a:pt x="134" y="20"/>
                  <a:pt x="134" y="20"/>
                  <a:pt x="134" y="20"/>
                </a:cubicBezTo>
                <a:cubicBezTo>
                  <a:pt x="134" y="21"/>
                  <a:pt x="134" y="21"/>
                  <a:pt x="134" y="21"/>
                </a:cubicBezTo>
                <a:cubicBezTo>
                  <a:pt x="135" y="22"/>
                  <a:pt x="135" y="22"/>
                  <a:pt x="135" y="22"/>
                </a:cubicBezTo>
                <a:cubicBezTo>
                  <a:pt x="135" y="24"/>
                  <a:pt x="135" y="24"/>
                  <a:pt x="135" y="24"/>
                </a:cubicBezTo>
                <a:cubicBezTo>
                  <a:pt x="135" y="25"/>
                  <a:pt x="135" y="25"/>
                  <a:pt x="135" y="25"/>
                </a:cubicBezTo>
                <a:close/>
                <a:moveTo>
                  <a:pt x="137" y="37"/>
                </a:moveTo>
                <a:cubicBezTo>
                  <a:pt x="139" y="37"/>
                  <a:pt x="139" y="37"/>
                  <a:pt x="139" y="37"/>
                </a:cubicBezTo>
                <a:cubicBezTo>
                  <a:pt x="139" y="36"/>
                  <a:pt x="139" y="36"/>
                  <a:pt x="139" y="36"/>
                </a:cubicBezTo>
                <a:cubicBezTo>
                  <a:pt x="139" y="35"/>
                  <a:pt x="139" y="35"/>
                  <a:pt x="139" y="35"/>
                </a:cubicBezTo>
                <a:cubicBezTo>
                  <a:pt x="138" y="34"/>
                  <a:pt x="138" y="34"/>
                  <a:pt x="138" y="34"/>
                </a:cubicBezTo>
                <a:cubicBezTo>
                  <a:pt x="138" y="33"/>
                  <a:pt x="138" y="33"/>
                  <a:pt x="138" y="33"/>
                </a:cubicBezTo>
                <a:cubicBezTo>
                  <a:pt x="138" y="33"/>
                  <a:pt x="138" y="33"/>
                  <a:pt x="138" y="33"/>
                </a:cubicBezTo>
                <a:cubicBezTo>
                  <a:pt x="136" y="33"/>
                  <a:pt x="136" y="33"/>
                  <a:pt x="136" y="33"/>
                </a:cubicBezTo>
                <a:cubicBezTo>
                  <a:pt x="136" y="34"/>
                  <a:pt x="136" y="34"/>
                  <a:pt x="136" y="34"/>
                </a:cubicBezTo>
                <a:cubicBezTo>
                  <a:pt x="136" y="35"/>
                  <a:pt x="136" y="35"/>
                  <a:pt x="136" y="35"/>
                </a:cubicBezTo>
                <a:cubicBezTo>
                  <a:pt x="137" y="36"/>
                  <a:pt x="137" y="36"/>
                  <a:pt x="137" y="36"/>
                </a:cubicBezTo>
                <a:cubicBezTo>
                  <a:pt x="137" y="37"/>
                  <a:pt x="137" y="37"/>
                  <a:pt x="137" y="37"/>
                </a:cubicBezTo>
                <a:close/>
                <a:moveTo>
                  <a:pt x="137" y="38"/>
                </a:moveTo>
                <a:cubicBezTo>
                  <a:pt x="137" y="39"/>
                  <a:pt x="137" y="39"/>
                  <a:pt x="137" y="39"/>
                </a:cubicBezTo>
                <a:cubicBezTo>
                  <a:pt x="137" y="40"/>
                  <a:pt x="137" y="40"/>
                  <a:pt x="137" y="40"/>
                </a:cubicBezTo>
                <a:cubicBezTo>
                  <a:pt x="137" y="41"/>
                  <a:pt x="137" y="41"/>
                  <a:pt x="137" y="41"/>
                </a:cubicBezTo>
                <a:cubicBezTo>
                  <a:pt x="139" y="43"/>
                  <a:pt x="139" y="43"/>
                  <a:pt x="139" y="43"/>
                </a:cubicBezTo>
                <a:cubicBezTo>
                  <a:pt x="140" y="42"/>
                  <a:pt x="140" y="42"/>
                  <a:pt x="140" y="42"/>
                </a:cubicBezTo>
                <a:cubicBezTo>
                  <a:pt x="139" y="39"/>
                  <a:pt x="139" y="39"/>
                  <a:pt x="139" y="39"/>
                </a:cubicBezTo>
                <a:cubicBezTo>
                  <a:pt x="139" y="38"/>
                  <a:pt x="139" y="38"/>
                  <a:pt x="139" y="38"/>
                </a:cubicBezTo>
                <a:cubicBezTo>
                  <a:pt x="138" y="38"/>
                  <a:pt x="138" y="38"/>
                  <a:pt x="138" y="38"/>
                </a:cubicBezTo>
                <a:cubicBezTo>
                  <a:pt x="137" y="38"/>
                  <a:pt x="137" y="38"/>
                  <a:pt x="137" y="38"/>
                </a:cubicBezTo>
                <a:close/>
                <a:moveTo>
                  <a:pt x="120" y="26"/>
                </a:moveTo>
                <a:cubicBezTo>
                  <a:pt x="120" y="26"/>
                  <a:pt x="120" y="26"/>
                  <a:pt x="120" y="26"/>
                </a:cubicBezTo>
                <a:cubicBezTo>
                  <a:pt x="120" y="25"/>
                  <a:pt x="120" y="25"/>
                  <a:pt x="120" y="25"/>
                </a:cubicBezTo>
                <a:cubicBezTo>
                  <a:pt x="120" y="24"/>
                  <a:pt x="120" y="24"/>
                  <a:pt x="120" y="24"/>
                </a:cubicBezTo>
                <a:cubicBezTo>
                  <a:pt x="119" y="24"/>
                  <a:pt x="119" y="24"/>
                  <a:pt x="119" y="24"/>
                </a:cubicBezTo>
                <a:cubicBezTo>
                  <a:pt x="119" y="24"/>
                  <a:pt x="119" y="24"/>
                  <a:pt x="119" y="24"/>
                </a:cubicBezTo>
                <a:cubicBezTo>
                  <a:pt x="119" y="25"/>
                  <a:pt x="119" y="25"/>
                  <a:pt x="119" y="25"/>
                </a:cubicBezTo>
                <a:cubicBezTo>
                  <a:pt x="120" y="26"/>
                  <a:pt x="120" y="26"/>
                  <a:pt x="120" y="26"/>
                </a:cubicBezTo>
                <a:close/>
                <a:moveTo>
                  <a:pt x="117" y="34"/>
                </a:moveTo>
                <a:cubicBezTo>
                  <a:pt x="118" y="34"/>
                  <a:pt x="118" y="34"/>
                  <a:pt x="118" y="34"/>
                </a:cubicBezTo>
                <a:cubicBezTo>
                  <a:pt x="118" y="33"/>
                  <a:pt x="118" y="33"/>
                  <a:pt x="118" y="33"/>
                </a:cubicBezTo>
                <a:cubicBezTo>
                  <a:pt x="118" y="32"/>
                  <a:pt x="118" y="32"/>
                  <a:pt x="118" y="32"/>
                </a:cubicBezTo>
                <a:cubicBezTo>
                  <a:pt x="116" y="30"/>
                  <a:pt x="116" y="30"/>
                  <a:pt x="116" y="30"/>
                </a:cubicBezTo>
                <a:cubicBezTo>
                  <a:pt x="116" y="28"/>
                  <a:pt x="116" y="28"/>
                  <a:pt x="116" y="28"/>
                </a:cubicBezTo>
                <a:cubicBezTo>
                  <a:pt x="117" y="26"/>
                  <a:pt x="117" y="26"/>
                  <a:pt x="117" y="26"/>
                </a:cubicBezTo>
                <a:cubicBezTo>
                  <a:pt x="117" y="24"/>
                  <a:pt x="117" y="24"/>
                  <a:pt x="117" y="24"/>
                </a:cubicBezTo>
                <a:cubicBezTo>
                  <a:pt x="117" y="23"/>
                  <a:pt x="117" y="23"/>
                  <a:pt x="117" y="23"/>
                </a:cubicBezTo>
                <a:cubicBezTo>
                  <a:pt x="117" y="21"/>
                  <a:pt x="117" y="21"/>
                  <a:pt x="117" y="21"/>
                </a:cubicBezTo>
                <a:cubicBezTo>
                  <a:pt x="116" y="20"/>
                  <a:pt x="116" y="20"/>
                  <a:pt x="116" y="20"/>
                </a:cubicBezTo>
                <a:cubicBezTo>
                  <a:pt x="115" y="21"/>
                  <a:pt x="115" y="21"/>
                  <a:pt x="115" y="21"/>
                </a:cubicBezTo>
                <a:cubicBezTo>
                  <a:pt x="115" y="25"/>
                  <a:pt x="115" y="25"/>
                  <a:pt x="115" y="25"/>
                </a:cubicBezTo>
                <a:cubicBezTo>
                  <a:pt x="114" y="26"/>
                  <a:pt x="114" y="26"/>
                  <a:pt x="114" y="26"/>
                </a:cubicBezTo>
                <a:cubicBezTo>
                  <a:pt x="114" y="27"/>
                  <a:pt x="114" y="27"/>
                  <a:pt x="114" y="27"/>
                </a:cubicBezTo>
                <a:cubicBezTo>
                  <a:pt x="116" y="30"/>
                  <a:pt x="116" y="30"/>
                  <a:pt x="116" y="30"/>
                </a:cubicBezTo>
                <a:cubicBezTo>
                  <a:pt x="116" y="32"/>
                  <a:pt x="116" y="32"/>
                  <a:pt x="116" y="32"/>
                </a:cubicBezTo>
                <a:cubicBezTo>
                  <a:pt x="117" y="34"/>
                  <a:pt x="117" y="34"/>
                  <a:pt x="117" y="34"/>
                </a:cubicBezTo>
                <a:close/>
                <a:moveTo>
                  <a:pt x="49" y="44"/>
                </a:moveTo>
                <a:cubicBezTo>
                  <a:pt x="50" y="45"/>
                  <a:pt x="50" y="45"/>
                  <a:pt x="50" y="45"/>
                </a:cubicBezTo>
                <a:cubicBezTo>
                  <a:pt x="50" y="46"/>
                  <a:pt x="50" y="46"/>
                  <a:pt x="50" y="46"/>
                </a:cubicBezTo>
                <a:cubicBezTo>
                  <a:pt x="51" y="46"/>
                  <a:pt x="51" y="46"/>
                  <a:pt x="51" y="46"/>
                </a:cubicBezTo>
                <a:cubicBezTo>
                  <a:pt x="51" y="45"/>
                  <a:pt x="51" y="45"/>
                  <a:pt x="51" y="45"/>
                </a:cubicBezTo>
                <a:cubicBezTo>
                  <a:pt x="50" y="44"/>
                  <a:pt x="50" y="44"/>
                  <a:pt x="50" y="44"/>
                </a:cubicBezTo>
                <a:cubicBezTo>
                  <a:pt x="49" y="44"/>
                  <a:pt x="49" y="44"/>
                  <a:pt x="49" y="44"/>
                </a:cubicBezTo>
                <a:close/>
                <a:moveTo>
                  <a:pt x="6" y="99"/>
                </a:moveTo>
                <a:cubicBezTo>
                  <a:pt x="7" y="100"/>
                  <a:pt x="7" y="100"/>
                  <a:pt x="7" y="100"/>
                </a:cubicBezTo>
                <a:cubicBezTo>
                  <a:pt x="9" y="100"/>
                  <a:pt x="9" y="100"/>
                  <a:pt x="9" y="100"/>
                </a:cubicBezTo>
                <a:cubicBezTo>
                  <a:pt x="10" y="101"/>
                  <a:pt x="10" y="101"/>
                  <a:pt x="10" y="101"/>
                </a:cubicBezTo>
                <a:cubicBezTo>
                  <a:pt x="11" y="101"/>
                  <a:pt x="11" y="101"/>
                  <a:pt x="11" y="101"/>
                </a:cubicBezTo>
                <a:cubicBezTo>
                  <a:pt x="10" y="100"/>
                  <a:pt x="10" y="100"/>
                  <a:pt x="10" y="100"/>
                </a:cubicBezTo>
                <a:cubicBezTo>
                  <a:pt x="9" y="100"/>
                  <a:pt x="9" y="100"/>
                  <a:pt x="9" y="100"/>
                </a:cubicBezTo>
                <a:cubicBezTo>
                  <a:pt x="8" y="98"/>
                  <a:pt x="8" y="98"/>
                  <a:pt x="8" y="98"/>
                </a:cubicBezTo>
                <a:cubicBezTo>
                  <a:pt x="7" y="99"/>
                  <a:pt x="7" y="99"/>
                  <a:pt x="7" y="99"/>
                </a:cubicBezTo>
                <a:cubicBezTo>
                  <a:pt x="7" y="98"/>
                  <a:pt x="7" y="98"/>
                  <a:pt x="7" y="98"/>
                </a:cubicBezTo>
                <a:cubicBezTo>
                  <a:pt x="6" y="99"/>
                  <a:pt x="6" y="99"/>
                  <a:pt x="6" y="99"/>
                </a:cubicBezTo>
                <a:close/>
                <a:moveTo>
                  <a:pt x="0" y="99"/>
                </a:moveTo>
                <a:cubicBezTo>
                  <a:pt x="2" y="100"/>
                  <a:pt x="2" y="100"/>
                  <a:pt x="2" y="100"/>
                </a:cubicBezTo>
                <a:cubicBezTo>
                  <a:pt x="3" y="101"/>
                  <a:pt x="3" y="101"/>
                  <a:pt x="3" y="101"/>
                </a:cubicBezTo>
                <a:cubicBezTo>
                  <a:pt x="4" y="101"/>
                  <a:pt x="4" y="101"/>
                  <a:pt x="4" y="101"/>
                </a:cubicBezTo>
                <a:cubicBezTo>
                  <a:pt x="6" y="100"/>
                  <a:pt x="6" y="100"/>
                  <a:pt x="6" y="100"/>
                </a:cubicBezTo>
                <a:cubicBezTo>
                  <a:pt x="4" y="99"/>
                  <a:pt x="4" y="99"/>
                  <a:pt x="4" y="99"/>
                </a:cubicBezTo>
                <a:cubicBezTo>
                  <a:pt x="2" y="98"/>
                  <a:pt x="2" y="98"/>
                  <a:pt x="2" y="98"/>
                </a:cubicBezTo>
                <a:cubicBezTo>
                  <a:pt x="1" y="98"/>
                  <a:pt x="1" y="98"/>
                  <a:pt x="1" y="98"/>
                </a:cubicBezTo>
                <a:cubicBezTo>
                  <a:pt x="0" y="99"/>
                  <a:pt x="0" y="99"/>
                  <a:pt x="0" y="99"/>
                </a:cubicBezTo>
                <a:close/>
                <a:moveTo>
                  <a:pt x="48" y="151"/>
                </a:moveTo>
                <a:cubicBezTo>
                  <a:pt x="48" y="152"/>
                  <a:pt x="48" y="152"/>
                  <a:pt x="48" y="152"/>
                </a:cubicBezTo>
                <a:cubicBezTo>
                  <a:pt x="49" y="152"/>
                  <a:pt x="49" y="152"/>
                  <a:pt x="49" y="152"/>
                </a:cubicBezTo>
                <a:cubicBezTo>
                  <a:pt x="49" y="151"/>
                  <a:pt x="49" y="151"/>
                  <a:pt x="49" y="151"/>
                </a:cubicBezTo>
                <a:cubicBezTo>
                  <a:pt x="49" y="151"/>
                  <a:pt x="49" y="151"/>
                  <a:pt x="49" y="151"/>
                </a:cubicBezTo>
                <a:cubicBezTo>
                  <a:pt x="48" y="151"/>
                  <a:pt x="48" y="151"/>
                  <a:pt x="48" y="151"/>
                </a:cubicBezTo>
                <a:close/>
                <a:moveTo>
                  <a:pt x="49" y="157"/>
                </a:moveTo>
                <a:cubicBezTo>
                  <a:pt x="49" y="157"/>
                  <a:pt x="49" y="157"/>
                  <a:pt x="49" y="157"/>
                </a:cubicBezTo>
                <a:cubicBezTo>
                  <a:pt x="50" y="157"/>
                  <a:pt x="50" y="157"/>
                  <a:pt x="50" y="157"/>
                </a:cubicBezTo>
                <a:cubicBezTo>
                  <a:pt x="52" y="157"/>
                  <a:pt x="52" y="157"/>
                  <a:pt x="52" y="157"/>
                </a:cubicBezTo>
                <a:cubicBezTo>
                  <a:pt x="53" y="157"/>
                  <a:pt x="53" y="157"/>
                  <a:pt x="53" y="157"/>
                </a:cubicBezTo>
                <a:cubicBezTo>
                  <a:pt x="53" y="158"/>
                  <a:pt x="53" y="158"/>
                  <a:pt x="53" y="158"/>
                </a:cubicBezTo>
                <a:cubicBezTo>
                  <a:pt x="54" y="157"/>
                  <a:pt x="54" y="157"/>
                  <a:pt x="54" y="157"/>
                </a:cubicBezTo>
                <a:cubicBezTo>
                  <a:pt x="53" y="156"/>
                  <a:pt x="53" y="156"/>
                  <a:pt x="53" y="156"/>
                </a:cubicBezTo>
                <a:cubicBezTo>
                  <a:pt x="51" y="156"/>
                  <a:pt x="51" y="156"/>
                  <a:pt x="51" y="156"/>
                </a:cubicBezTo>
                <a:cubicBezTo>
                  <a:pt x="51" y="156"/>
                  <a:pt x="51" y="156"/>
                  <a:pt x="51" y="156"/>
                </a:cubicBezTo>
                <a:cubicBezTo>
                  <a:pt x="50" y="155"/>
                  <a:pt x="50" y="155"/>
                  <a:pt x="50" y="155"/>
                </a:cubicBezTo>
                <a:cubicBezTo>
                  <a:pt x="49" y="156"/>
                  <a:pt x="49" y="156"/>
                  <a:pt x="49" y="156"/>
                </a:cubicBezTo>
                <a:cubicBezTo>
                  <a:pt x="48" y="156"/>
                  <a:pt x="48" y="156"/>
                  <a:pt x="48" y="156"/>
                </a:cubicBezTo>
                <a:cubicBezTo>
                  <a:pt x="49" y="157"/>
                  <a:pt x="49" y="157"/>
                  <a:pt x="49" y="157"/>
                </a:cubicBezTo>
                <a:close/>
                <a:moveTo>
                  <a:pt x="50" y="158"/>
                </a:moveTo>
                <a:cubicBezTo>
                  <a:pt x="50" y="159"/>
                  <a:pt x="50" y="159"/>
                  <a:pt x="50" y="159"/>
                </a:cubicBezTo>
                <a:cubicBezTo>
                  <a:pt x="51" y="159"/>
                  <a:pt x="51" y="159"/>
                  <a:pt x="51" y="159"/>
                </a:cubicBezTo>
                <a:cubicBezTo>
                  <a:pt x="51" y="158"/>
                  <a:pt x="51" y="158"/>
                  <a:pt x="51" y="158"/>
                </a:cubicBezTo>
                <a:cubicBezTo>
                  <a:pt x="50" y="158"/>
                  <a:pt x="50" y="158"/>
                  <a:pt x="50" y="158"/>
                </a:cubicBezTo>
                <a:close/>
                <a:moveTo>
                  <a:pt x="50" y="166"/>
                </a:moveTo>
                <a:cubicBezTo>
                  <a:pt x="51" y="167"/>
                  <a:pt x="51" y="167"/>
                  <a:pt x="51" y="167"/>
                </a:cubicBezTo>
                <a:cubicBezTo>
                  <a:pt x="52" y="167"/>
                  <a:pt x="52" y="167"/>
                  <a:pt x="52" y="167"/>
                </a:cubicBezTo>
                <a:cubicBezTo>
                  <a:pt x="52" y="168"/>
                  <a:pt x="52" y="168"/>
                  <a:pt x="52" y="168"/>
                </a:cubicBezTo>
                <a:cubicBezTo>
                  <a:pt x="53" y="167"/>
                  <a:pt x="53" y="167"/>
                  <a:pt x="53" y="167"/>
                </a:cubicBezTo>
                <a:cubicBezTo>
                  <a:pt x="53" y="167"/>
                  <a:pt x="53" y="167"/>
                  <a:pt x="53" y="167"/>
                </a:cubicBezTo>
                <a:cubicBezTo>
                  <a:pt x="51" y="166"/>
                  <a:pt x="51" y="166"/>
                  <a:pt x="51" y="166"/>
                </a:cubicBezTo>
                <a:cubicBezTo>
                  <a:pt x="51" y="166"/>
                  <a:pt x="51" y="166"/>
                  <a:pt x="51" y="166"/>
                </a:cubicBezTo>
                <a:cubicBezTo>
                  <a:pt x="50" y="166"/>
                  <a:pt x="50" y="166"/>
                  <a:pt x="50" y="166"/>
                </a:cubicBezTo>
                <a:close/>
                <a:moveTo>
                  <a:pt x="49" y="169"/>
                </a:moveTo>
                <a:cubicBezTo>
                  <a:pt x="50" y="170"/>
                  <a:pt x="50" y="170"/>
                  <a:pt x="50" y="170"/>
                </a:cubicBezTo>
                <a:cubicBezTo>
                  <a:pt x="50" y="170"/>
                  <a:pt x="50" y="170"/>
                  <a:pt x="50" y="170"/>
                </a:cubicBezTo>
                <a:cubicBezTo>
                  <a:pt x="51" y="170"/>
                  <a:pt x="51" y="170"/>
                  <a:pt x="51" y="170"/>
                </a:cubicBezTo>
                <a:cubicBezTo>
                  <a:pt x="50" y="169"/>
                  <a:pt x="50" y="169"/>
                  <a:pt x="50" y="169"/>
                </a:cubicBezTo>
                <a:cubicBezTo>
                  <a:pt x="50" y="169"/>
                  <a:pt x="50" y="169"/>
                  <a:pt x="50" y="169"/>
                </a:cubicBezTo>
                <a:cubicBezTo>
                  <a:pt x="49" y="169"/>
                  <a:pt x="49" y="169"/>
                  <a:pt x="49" y="169"/>
                </a:cubicBezTo>
                <a:close/>
                <a:moveTo>
                  <a:pt x="51" y="174"/>
                </a:moveTo>
                <a:cubicBezTo>
                  <a:pt x="51" y="175"/>
                  <a:pt x="51" y="175"/>
                  <a:pt x="51" y="175"/>
                </a:cubicBezTo>
                <a:cubicBezTo>
                  <a:pt x="52" y="174"/>
                  <a:pt x="52" y="174"/>
                  <a:pt x="52" y="174"/>
                </a:cubicBezTo>
                <a:cubicBezTo>
                  <a:pt x="51" y="173"/>
                  <a:pt x="51" y="173"/>
                  <a:pt x="51" y="173"/>
                </a:cubicBezTo>
                <a:cubicBezTo>
                  <a:pt x="51" y="173"/>
                  <a:pt x="51" y="173"/>
                  <a:pt x="51" y="173"/>
                </a:cubicBezTo>
                <a:cubicBezTo>
                  <a:pt x="51" y="173"/>
                  <a:pt x="51" y="173"/>
                  <a:pt x="51" y="173"/>
                </a:cubicBezTo>
                <a:cubicBezTo>
                  <a:pt x="51" y="174"/>
                  <a:pt x="51" y="174"/>
                  <a:pt x="51" y="174"/>
                </a:cubicBezTo>
                <a:close/>
                <a:moveTo>
                  <a:pt x="53" y="176"/>
                </a:moveTo>
                <a:cubicBezTo>
                  <a:pt x="53" y="176"/>
                  <a:pt x="53" y="176"/>
                  <a:pt x="53" y="176"/>
                </a:cubicBezTo>
                <a:cubicBezTo>
                  <a:pt x="53" y="176"/>
                  <a:pt x="53" y="176"/>
                  <a:pt x="53" y="176"/>
                </a:cubicBezTo>
                <a:cubicBezTo>
                  <a:pt x="53" y="176"/>
                  <a:pt x="53" y="176"/>
                  <a:pt x="53" y="176"/>
                </a:cubicBezTo>
                <a:cubicBezTo>
                  <a:pt x="53" y="176"/>
                  <a:pt x="53" y="176"/>
                  <a:pt x="53" y="176"/>
                </a:cubicBezTo>
                <a:close/>
                <a:moveTo>
                  <a:pt x="49" y="177"/>
                </a:moveTo>
                <a:cubicBezTo>
                  <a:pt x="49" y="176"/>
                  <a:pt x="49" y="176"/>
                  <a:pt x="49" y="176"/>
                </a:cubicBezTo>
                <a:cubicBezTo>
                  <a:pt x="49" y="176"/>
                  <a:pt x="49" y="176"/>
                  <a:pt x="49" y="176"/>
                </a:cubicBezTo>
                <a:cubicBezTo>
                  <a:pt x="49" y="176"/>
                  <a:pt x="49" y="176"/>
                  <a:pt x="49" y="176"/>
                </a:cubicBezTo>
                <a:cubicBezTo>
                  <a:pt x="49" y="177"/>
                  <a:pt x="49" y="177"/>
                  <a:pt x="49" y="177"/>
                </a:cubicBezTo>
                <a:close/>
                <a:moveTo>
                  <a:pt x="51" y="176"/>
                </a:moveTo>
                <a:cubicBezTo>
                  <a:pt x="51" y="176"/>
                  <a:pt x="51" y="176"/>
                  <a:pt x="51" y="176"/>
                </a:cubicBezTo>
                <a:cubicBezTo>
                  <a:pt x="51" y="176"/>
                  <a:pt x="51" y="176"/>
                  <a:pt x="51" y="176"/>
                </a:cubicBezTo>
                <a:cubicBezTo>
                  <a:pt x="51" y="176"/>
                  <a:pt x="51" y="176"/>
                  <a:pt x="51" y="176"/>
                </a:cubicBezTo>
                <a:cubicBezTo>
                  <a:pt x="51" y="176"/>
                  <a:pt x="51" y="176"/>
                  <a:pt x="51" y="176"/>
                </a:cubicBezTo>
                <a:close/>
                <a:moveTo>
                  <a:pt x="50" y="178"/>
                </a:moveTo>
                <a:cubicBezTo>
                  <a:pt x="51" y="178"/>
                  <a:pt x="51" y="178"/>
                  <a:pt x="51" y="178"/>
                </a:cubicBezTo>
                <a:cubicBezTo>
                  <a:pt x="51" y="177"/>
                  <a:pt x="51" y="177"/>
                  <a:pt x="51" y="177"/>
                </a:cubicBezTo>
                <a:cubicBezTo>
                  <a:pt x="50" y="177"/>
                  <a:pt x="50" y="177"/>
                  <a:pt x="50" y="177"/>
                </a:cubicBezTo>
                <a:cubicBezTo>
                  <a:pt x="50" y="178"/>
                  <a:pt x="50" y="178"/>
                  <a:pt x="50" y="178"/>
                </a:cubicBezTo>
                <a:close/>
                <a:moveTo>
                  <a:pt x="51" y="180"/>
                </a:moveTo>
                <a:cubicBezTo>
                  <a:pt x="51" y="180"/>
                  <a:pt x="51" y="180"/>
                  <a:pt x="51" y="180"/>
                </a:cubicBezTo>
                <a:cubicBezTo>
                  <a:pt x="51" y="180"/>
                  <a:pt x="51" y="180"/>
                  <a:pt x="51" y="180"/>
                </a:cubicBezTo>
                <a:cubicBezTo>
                  <a:pt x="50" y="180"/>
                  <a:pt x="50" y="180"/>
                  <a:pt x="50" y="180"/>
                </a:cubicBezTo>
                <a:cubicBezTo>
                  <a:pt x="50" y="180"/>
                  <a:pt x="50" y="180"/>
                  <a:pt x="50" y="180"/>
                </a:cubicBezTo>
                <a:cubicBezTo>
                  <a:pt x="51" y="180"/>
                  <a:pt x="51" y="180"/>
                  <a:pt x="51" y="180"/>
                </a:cubicBezTo>
                <a:close/>
                <a:moveTo>
                  <a:pt x="52" y="181"/>
                </a:moveTo>
                <a:cubicBezTo>
                  <a:pt x="52" y="181"/>
                  <a:pt x="52" y="181"/>
                  <a:pt x="52" y="181"/>
                </a:cubicBezTo>
                <a:cubicBezTo>
                  <a:pt x="53" y="180"/>
                  <a:pt x="53" y="180"/>
                  <a:pt x="53" y="180"/>
                </a:cubicBezTo>
                <a:cubicBezTo>
                  <a:pt x="52" y="180"/>
                  <a:pt x="52" y="180"/>
                  <a:pt x="52" y="180"/>
                </a:cubicBezTo>
                <a:cubicBezTo>
                  <a:pt x="51" y="181"/>
                  <a:pt x="51" y="181"/>
                  <a:pt x="51" y="181"/>
                </a:cubicBezTo>
                <a:cubicBezTo>
                  <a:pt x="51" y="181"/>
                  <a:pt x="52" y="181"/>
                  <a:pt x="52" y="181"/>
                </a:cubicBezTo>
                <a:close/>
                <a:moveTo>
                  <a:pt x="48" y="184"/>
                </a:moveTo>
                <a:cubicBezTo>
                  <a:pt x="49" y="184"/>
                  <a:pt x="49" y="184"/>
                  <a:pt x="49" y="184"/>
                </a:cubicBezTo>
                <a:cubicBezTo>
                  <a:pt x="49" y="184"/>
                  <a:pt x="49" y="184"/>
                  <a:pt x="49" y="184"/>
                </a:cubicBezTo>
                <a:cubicBezTo>
                  <a:pt x="49" y="183"/>
                  <a:pt x="49" y="183"/>
                  <a:pt x="49" y="183"/>
                </a:cubicBezTo>
                <a:cubicBezTo>
                  <a:pt x="48" y="183"/>
                  <a:pt x="48" y="183"/>
                  <a:pt x="48" y="183"/>
                </a:cubicBezTo>
                <a:cubicBezTo>
                  <a:pt x="48" y="184"/>
                  <a:pt x="48" y="184"/>
                  <a:pt x="48" y="184"/>
                </a:cubicBezTo>
                <a:cubicBezTo>
                  <a:pt x="48" y="184"/>
                  <a:pt x="48" y="184"/>
                  <a:pt x="48" y="184"/>
                </a:cubicBezTo>
                <a:close/>
                <a:moveTo>
                  <a:pt x="50" y="186"/>
                </a:moveTo>
                <a:cubicBezTo>
                  <a:pt x="52" y="185"/>
                  <a:pt x="52" y="185"/>
                  <a:pt x="52" y="185"/>
                </a:cubicBezTo>
                <a:cubicBezTo>
                  <a:pt x="53" y="184"/>
                  <a:pt x="53" y="184"/>
                  <a:pt x="53" y="184"/>
                </a:cubicBezTo>
                <a:cubicBezTo>
                  <a:pt x="53" y="183"/>
                  <a:pt x="53" y="183"/>
                  <a:pt x="53" y="183"/>
                </a:cubicBezTo>
                <a:cubicBezTo>
                  <a:pt x="52" y="183"/>
                  <a:pt x="52" y="183"/>
                  <a:pt x="52" y="183"/>
                </a:cubicBezTo>
                <a:cubicBezTo>
                  <a:pt x="51" y="184"/>
                  <a:pt x="51" y="184"/>
                  <a:pt x="51" y="184"/>
                </a:cubicBezTo>
                <a:cubicBezTo>
                  <a:pt x="50" y="184"/>
                  <a:pt x="50" y="184"/>
                  <a:pt x="50" y="184"/>
                </a:cubicBezTo>
                <a:cubicBezTo>
                  <a:pt x="50" y="185"/>
                  <a:pt x="50" y="185"/>
                  <a:pt x="50" y="185"/>
                </a:cubicBezTo>
                <a:cubicBezTo>
                  <a:pt x="49" y="185"/>
                  <a:pt x="49" y="185"/>
                  <a:pt x="49" y="185"/>
                </a:cubicBezTo>
                <a:cubicBezTo>
                  <a:pt x="49" y="186"/>
                  <a:pt x="49" y="186"/>
                  <a:pt x="49" y="186"/>
                </a:cubicBezTo>
                <a:cubicBezTo>
                  <a:pt x="49" y="186"/>
                  <a:pt x="49" y="186"/>
                  <a:pt x="49" y="186"/>
                </a:cubicBezTo>
                <a:cubicBezTo>
                  <a:pt x="50" y="186"/>
                  <a:pt x="50" y="186"/>
                  <a:pt x="50" y="186"/>
                </a:cubicBezTo>
                <a:cubicBezTo>
                  <a:pt x="50" y="186"/>
                  <a:pt x="50" y="186"/>
                  <a:pt x="50" y="186"/>
                </a:cubicBezTo>
                <a:close/>
                <a:moveTo>
                  <a:pt x="52" y="186"/>
                </a:moveTo>
                <a:cubicBezTo>
                  <a:pt x="52" y="186"/>
                  <a:pt x="52" y="186"/>
                  <a:pt x="52" y="186"/>
                </a:cubicBezTo>
                <a:cubicBezTo>
                  <a:pt x="53" y="186"/>
                  <a:pt x="53" y="186"/>
                  <a:pt x="53" y="186"/>
                </a:cubicBezTo>
                <a:cubicBezTo>
                  <a:pt x="53" y="185"/>
                  <a:pt x="53" y="185"/>
                  <a:pt x="53" y="185"/>
                </a:cubicBezTo>
                <a:cubicBezTo>
                  <a:pt x="52" y="186"/>
                  <a:pt x="52" y="186"/>
                  <a:pt x="52" y="186"/>
                </a:cubicBezTo>
                <a:close/>
                <a:moveTo>
                  <a:pt x="51" y="187"/>
                </a:moveTo>
                <a:cubicBezTo>
                  <a:pt x="52" y="187"/>
                  <a:pt x="52" y="187"/>
                  <a:pt x="52" y="187"/>
                </a:cubicBezTo>
                <a:cubicBezTo>
                  <a:pt x="52" y="186"/>
                  <a:pt x="52" y="186"/>
                  <a:pt x="52" y="186"/>
                </a:cubicBezTo>
                <a:cubicBezTo>
                  <a:pt x="51" y="187"/>
                  <a:pt x="51" y="187"/>
                  <a:pt x="51" y="187"/>
                </a:cubicBezTo>
                <a:cubicBezTo>
                  <a:pt x="51" y="187"/>
                  <a:pt x="51" y="187"/>
                  <a:pt x="51" y="187"/>
                </a:cubicBezTo>
                <a:close/>
                <a:moveTo>
                  <a:pt x="49" y="188"/>
                </a:moveTo>
                <a:cubicBezTo>
                  <a:pt x="50" y="187"/>
                  <a:pt x="50" y="187"/>
                  <a:pt x="50" y="187"/>
                </a:cubicBezTo>
                <a:cubicBezTo>
                  <a:pt x="50" y="187"/>
                  <a:pt x="50" y="187"/>
                  <a:pt x="50" y="187"/>
                </a:cubicBezTo>
                <a:cubicBezTo>
                  <a:pt x="49" y="187"/>
                  <a:pt x="49" y="187"/>
                  <a:pt x="49" y="187"/>
                </a:cubicBezTo>
                <a:cubicBezTo>
                  <a:pt x="49" y="188"/>
                  <a:pt x="49" y="188"/>
                  <a:pt x="49" y="188"/>
                </a:cubicBezTo>
                <a:cubicBezTo>
                  <a:pt x="49" y="188"/>
                  <a:pt x="49" y="188"/>
                  <a:pt x="49" y="188"/>
                </a:cubicBezTo>
                <a:close/>
                <a:moveTo>
                  <a:pt x="47" y="192"/>
                </a:moveTo>
                <a:cubicBezTo>
                  <a:pt x="47" y="193"/>
                  <a:pt x="47" y="193"/>
                  <a:pt x="47" y="193"/>
                </a:cubicBezTo>
                <a:cubicBezTo>
                  <a:pt x="48" y="193"/>
                  <a:pt x="48" y="193"/>
                  <a:pt x="48" y="193"/>
                </a:cubicBezTo>
                <a:cubicBezTo>
                  <a:pt x="49" y="192"/>
                  <a:pt x="49" y="192"/>
                  <a:pt x="49" y="192"/>
                </a:cubicBezTo>
                <a:cubicBezTo>
                  <a:pt x="50" y="191"/>
                  <a:pt x="50" y="191"/>
                  <a:pt x="50" y="191"/>
                </a:cubicBezTo>
                <a:cubicBezTo>
                  <a:pt x="51" y="191"/>
                  <a:pt x="51" y="191"/>
                  <a:pt x="51" y="191"/>
                </a:cubicBezTo>
                <a:cubicBezTo>
                  <a:pt x="50" y="190"/>
                  <a:pt x="50" y="190"/>
                  <a:pt x="50" y="190"/>
                </a:cubicBezTo>
                <a:cubicBezTo>
                  <a:pt x="49" y="191"/>
                  <a:pt x="49" y="191"/>
                  <a:pt x="49" y="191"/>
                </a:cubicBezTo>
                <a:cubicBezTo>
                  <a:pt x="48" y="191"/>
                  <a:pt x="48" y="191"/>
                  <a:pt x="48" y="191"/>
                </a:cubicBezTo>
                <a:cubicBezTo>
                  <a:pt x="48" y="192"/>
                  <a:pt x="48" y="192"/>
                  <a:pt x="48" y="192"/>
                </a:cubicBezTo>
                <a:cubicBezTo>
                  <a:pt x="48" y="192"/>
                  <a:pt x="47" y="192"/>
                  <a:pt x="47" y="192"/>
                </a:cubicBezTo>
                <a:close/>
                <a:moveTo>
                  <a:pt x="46" y="196"/>
                </a:moveTo>
                <a:cubicBezTo>
                  <a:pt x="47" y="197"/>
                  <a:pt x="47" y="197"/>
                  <a:pt x="47" y="197"/>
                </a:cubicBezTo>
                <a:cubicBezTo>
                  <a:pt x="47" y="197"/>
                  <a:pt x="47" y="197"/>
                  <a:pt x="47" y="197"/>
                </a:cubicBezTo>
                <a:cubicBezTo>
                  <a:pt x="48" y="196"/>
                  <a:pt x="48" y="196"/>
                  <a:pt x="48" y="196"/>
                </a:cubicBezTo>
                <a:cubicBezTo>
                  <a:pt x="47" y="196"/>
                  <a:pt x="47" y="196"/>
                  <a:pt x="47" y="196"/>
                </a:cubicBezTo>
                <a:cubicBezTo>
                  <a:pt x="46" y="196"/>
                  <a:pt x="46" y="196"/>
                  <a:pt x="46" y="196"/>
                </a:cubicBezTo>
                <a:close/>
                <a:moveTo>
                  <a:pt x="74" y="341"/>
                </a:moveTo>
                <a:cubicBezTo>
                  <a:pt x="75" y="340"/>
                  <a:pt x="75" y="340"/>
                  <a:pt x="75" y="340"/>
                </a:cubicBezTo>
                <a:cubicBezTo>
                  <a:pt x="76" y="340"/>
                  <a:pt x="76" y="340"/>
                  <a:pt x="76" y="340"/>
                </a:cubicBezTo>
                <a:cubicBezTo>
                  <a:pt x="76" y="340"/>
                  <a:pt x="76" y="340"/>
                  <a:pt x="76" y="340"/>
                </a:cubicBezTo>
                <a:cubicBezTo>
                  <a:pt x="76" y="341"/>
                  <a:pt x="76" y="341"/>
                  <a:pt x="76" y="341"/>
                </a:cubicBezTo>
                <a:cubicBezTo>
                  <a:pt x="75" y="341"/>
                  <a:pt x="75" y="341"/>
                  <a:pt x="75" y="341"/>
                </a:cubicBezTo>
                <a:cubicBezTo>
                  <a:pt x="74" y="341"/>
                  <a:pt x="74" y="341"/>
                  <a:pt x="74" y="341"/>
                </a:cubicBezTo>
                <a:cubicBezTo>
                  <a:pt x="74" y="341"/>
                  <a:pt x="74" y="341"/>
                  <a:pt x="74" y="341"/>
                </a:cubicBezTo>
                <a:close/>
                <a:moveTo>
                  <a:pt x="67" y="337"/>
                </a:moveTo>
                <a:cubicBezTo>
                  <a:pt x="68" y="337"/>
                  <a:pt x="68" y="337"/>
                  <a:pt x="68" y="337"/>
                </a:cubicBezTo>
                <a:cubicBezTo>
                  <a:pt x="68" y="336"/>
                  <a:pt x="68" y="336"/>
                  <a:pt x="68" y="336"/>
                </a:cubicBezTo>
                <a:cubicBezTo>
                  <a:pt x="69" y="336"/>
                  <a:pt x="69" y="336"/>
                  <a:pt x="69" y="336"/>
                </a:cubicBezTo>
                <a:cubicBezTo>
                  <a:pt x="68" y="335"/>
                  <a:pt x="68" y="335"/>
                  <a:pt x="68" y="335"/>
                </a:cubicBezTo>
                <a:cubicBezTo>
                  <a:pt x="68" y="335"/>
                  <a:pt x="68" y="335"/>
                  <a:pt x="68" y="335"/>
                </a:cubicBezTo>
                <a:cubicBezTo>
                  <a:pt x="68" y="335"/>
                  <a:pt x="68" y="335"/>
                  <a:pt x="68" y="335"/>
                </a:cubicBezTo>
                <a:cubicBezTo>
                  <a:pt x="67" y="336"/>
                  <a:pt x="67" y="336"/>
                  <a:pt x="67" y="336"/>
                </a:cubicBezTo>
                <a:cubicBezTo>
                  <a:pt x="67" y="337"/>
                  <a:pt x="67" y="337"/>
                  <a:pt x="67" y="337"/>
                </a:cubicBezTo>
                <a:close/>
                <a:moveTo>
                  <a:pt x="63" y="329"/>
                </a:moveTo>
                <a:cubicBezTo>
                  <a:pt x="63" y="329"/>
                  <a:pt x="63" y="329"/>
                  <a:pt x="63" y="329"/>
                </a:cubicBezTo>
                <a:cubicBezTo>
                  <a:pt x="64" y="329"/>
                  <a:pt x="64" y="329"/>
                  <a:pt x="64" y="329"/>
                </a:cubicBezTo>
                <a:cubicBezTo>
                  <a:pt x="64" y="328"/>
                  <a:pt x="64" y="328"/>
                  <a:pt x="64" y="328"/>
                </a:cubicBezTo>
                <a:cubicBezTo>
                  <a:pt x="64" y="328"/>
                  <a:pt x="64" y="328"/>
                  <a:pt x="64" y="328"/>
                </a:cubicBezTo>
                <a:cubicBezTo>
                  <a:pt x="63" y="328"/>
                  <a:pt x="63" y="328"/>
                  <a:pt x="63" y="328"/>
                </a:cubicBezTo>
                <a:cubicBezTo>
                  <a:pt x="63" y="329"/>
                  <a:pt x="63" y="329"/>
                  <a:pt x="63" y="329"/>
                </a:cubicBezTo>
                <a:close/>
                <a:moveTo>
                  <a:pt x="60" y="328"/>
                </a:moveTo>
                <a:cubicBezTo>
                  <a:pt x="60" y="329"/>
                  <a:pt x="60" y="329"/>
                  <a:pt x="60" y="329"/>
                </a:cubicBezTo>
                <a:cubicBezTo>
                  <a:pt x="61" y="329"/>
                  <a:pt x="61" y="329"/>
                  <a:pt x="61" y="329"/>
                </a:cubicBezTo>
                <a:cubicBezTo>
                  <a:pt x="61" y="328"/>
                  <a:pt x="61" y="328"/>
                  <a:pt x="61" y="328"/>
                </a:cubicBezTo>
                <a:cubicBezTo>
                  <a:pt x="61" y="328"/>
                  <a:pt x="61" y="328"/>
                  <a:pt x="61" y="328"/>
                </a:cubicBezTo>
                <a:cubicBezTo>
                  <a:pt x="60" y="328"/>
                  <a:pt x="60" y="328"/>
                  <a:pt x="60" y="328"/>
                </a:cubicBezTo>
                <a:close/>
                <a:moveTo>
                  <a:pt x="54" y="329"/>
                </a:moveTo>
                <a:cubicBezTo>
                  <a:pt x="54" y="330"/>
                  <a:pt x="54" y="330"/>
                  <a:pt x="54" y="330"/>
                </a:cubicBezTo>
                <a:cubicBezTo>
                  <a:pt x="54" y="330"/>
                  <a:pt x="54" y="330"/>
                  <a:pt x="54" y="330"/>
                </a:cubicBezTo>
                <a:cubicBezTo>
                  <a:pt x="54" y="330"/>
                  <a:pt x="54" y="330"/>
                  <a:pt x="54" y="330"/>
                </a:cubicBezTo>
                <a:cubicBezTo>
                  <a:pt x="55" y="330"/>
                  <a:pt x="55" y="330"/>
                  <a:pt x="55" y="330"/>
                </a:cubicBezTo>
                <a:cubicBezTo>
                  <a:pt x="55" y="329"/>
                  <a:pt x="55" y="329"/>
                  <a:pt x="55" y="329"/>
                </a:cubicBezTo>
                <a:cubicBezTo>
                  <a:pt x="54" y="329"/>
                  <a:pt x="54" y="329"/>
                  <a:pt x="54" y="329"/>
                </a:cubicBezTo>
                <a:cubicBezTo>
                  <a:pt x="54" y="329"/>
                  <a:pt x="54" y="329"/>
                  <a:pt x="54" y="329"/>
                </a:cubicBezTo>
                <a:close/>
                <a:moveTo>
                  <a:pt x="45" y="291"/>
                </a:moveTo>
                <a:cubicBezTo>
                  <a:pt x="45" y="291"/>
                  <a:pt x="45" y="291"/>
                  <a:pt x="45" y="291"/>
                </a:cubicBezTo>
                <a:cubicBezTo>
                  <a:pt x="46" y="290"/>
                  <a:pt x="46" y="290"/>
                  <a:pt x="46" y="290"/>
                </a:cubicBezTo>
                <a:cubicBezTo>
                  <a:pt x="47" y="289"/>
                  <a:pt x="47" y="289"/>
                  <a:pt x="47" y="289"/>
                </a:cubicBezTo>
                <a:cubicBezTo>
                  <a:pt x="47" y="289"/>
                  <a:pt x="47" y="289"/>
                  <a:pt x="47" y="289"/>
                </a:cubicBezTo>
                <a:cubicBezTo>
                  <a:pt x="46" y="289"/>
                  <a:pt x="46" y="289"/>
                  <a:pt x="46" y="289"/>
                </a:cubicBezTo>
                <a:cubicBezTo>
                  <a:pt x="45" y="291"/>
                  <a:pt x="45" y="291"/>
                  <a:pt x="45" y="291"/>
                </a:cubicBezTo>
                <a:close/>
                <a:moveTo>
                  <a:pt x="45" y="289"/>
                </a:moveTo>
                <a:cubicBezTo>
                  <a:pt x="45" y="289"/>
                  <a:pt x="45" y="290"/>
                  <a:pt x="45" y="290"/>
                </a:cubicBezTo>
                <a:cubicBezTo>
                  <a:pt x="45" y="290"/>
                  <a:pt x="45" y="290"/>
                  <a:pt x="45" y="290"/>
                </a:cubicBezTo>
                <a:cubicBezTo>
                  <a:pt x="46" y="289"/>
                  <a:pt x="46" y="289"/>
                  <a:pt x="46" y="289"/>
                </a:cubicBezTo>
                <a:cubicBezTo>
                  <a:pt x="46" y="288"/>
                  <a:pt x="46" y="288"/>
                  <a:pt x="46" y="288"/>
                </a:cubicBezTo>
                <a:cubicBezTo>
                  <a:pt x="46" y="288"/>
                  <a:pt x="46" y="288"/>
                  <a:pt x="46" y="288"/>
                </a:cubicBezTo>
                <a:cubicBezTo>
                  <a:pt x="45" y="289"/>
                  <a:pt x="45" y="289"/>
                  <a:pt x="45" y="289"/>
                </a:cubicBezTo>
                <a:close/>
                <a:moveTo>
                  <a:pt x="40" y="276"/>
                </a:moveTo>
                <a:cubicBezTo>
                  <a:pt x="39" y="277"/>
                  <a:pt x="39" y="277"/>
                  <a:pt x="39" y="277"/>
                </a:cubicBezTo>
                <a:cubicBezTo>
                  <a:pt x="39" y="277"/>
                  <a:pt x="39" y="277"/>
                  <a:pt x="39" y="277"/>
                </a:cubicBezTo>
                <a:cubicBezTo>
                  <a:pt x="40" y="277"/>
                  <a:pt x="40" y="277"/>
                  <a:pt x="40" y="277"/>
                </a:cubicBezTo>
                <a:cubicBezTo>
                  <a:pt x="40" y="276"/>
                  <a:pt x="40" y="276"/>
                  <a:pt x="40" y="276"/>
                </a:cubicBezTo>
                <a:cubicBezTo>
                  <a:pt x="40" y="276"/>
                  <a:pt x="40" y="276"/>
                  <a:pt x="40" y="276"/>
                </a:cubicBezTo>
                <a:cubicBezTo>
                  <a:pt x="40" y="276"/>
                  <a:pt x="40" y="276"/>
                  <a:pt x="40" y="276"/>
                </a:cubicBezTo>
                <a:close/>
                <a:moveTo>
                  <a:pt x="39" y="275"/>
                </a:moveTo>
                <a:cubicBezTo>
                  <a:pt x="39" y="276"/>
                  <a:pt x="39" y="276"/>
                  <a:pt x="39" y="276"/>
                </a:cubicBezTo>
                <a:cubicBezTo>
                  <a:pt x="40" y="276"/>
                  <a:pt x="40" y="276"/>
                  <a:pt x="40" y="276"/>
                </a:cubicBezTo>
                <a:cubicBezTo>
                  <a:pt x="40" y="275"/>
                  <a:pt x="40" y="275"/>
                  <a:pt x="40" y="275"/>
                </a:cubicBezTo>
                <a:cubicBezTo>
                  <a:pt x="40" y="275"/>
                  <a:pt x="40" y="275"/>
                  <a:pt x="40" y="275"/>
                </a:cubicBezTo>
                <a:cubicBezTo>
                  <a:pt x="39" y="275"/>
                  <a:pt x="39" y="275"/>
                  <a:pt x="39" y="275"/>
                </a:cubicBezTo>
                <a:close/>
                <a:moveTo>
                  <a:pt x="40" y="263"/>
                </a:moveTo>
                <a:cubicBezTo>
                  <a:pt x="41" y="263"/>
                  <a:pt x="41" y="263"/>
                  <a:pt x="41" y="263"/>
                </a:cubicBezTo>
                <a:cubicBezTo>
                  <a:pt x="41" y="262"/>
                  <a:pt x="41" y="262"/>
                  <a:pt x="41" y="262"/>
                </a:cubicBezTo>
                <a:cubicBezTo>
                  <a:pt x="41" y="262"/>
                  <a:pt x="41" y="262"/>
                  <a:pt x="41" y="262"/>
                </a:cubicBezTo>
                <a:cubicBezTo>
                  <a:pt x="40" y="263"/>
                  <a:pt x="40" y="263"/>
                  <a:pt x="40" y="263"/>
                </a:cubicBezTo>
                <a:close/>
                <a:moveTo>
                  <a:pt x="40" y="261"/>
                </a:moveTo>
                <a:cubicBezTo>
                  <a:pt x="41" y="262"/>
                  <a:pt x="41" y="262"/>
                  <a:pt x="41" y="262"/>
                </a:cubicBezTo>
                <a:cubicBezTo>
                  <a:pt x="42" y="262"/>
                  <a:pt x="42" y="262"/>
                  <a:pt x="42" y="262"/>
                </a:cubicBezTo>
                <a:cubicBezTo>
                  <a:pt x="42" y="261"/>
                  <a:pt x="42" y="261"/>
                  <a:pt x="42" y="261"/>
                </a:cubicBezTo>
                <a:cubicBezTo>
                  <a:pt x="41" y="261"/>
                  <a:pt x="41" y="261"/>
                  <a:pt x="41" y="261"/>
                </a:cubicBezTo>
                <a:cubicBezTo>
                  <a:pt x="40" y="261"/>
                  <a:pt x="40" y="261"/>
                  <a:pt x="40" y="261"/>
                </a:cubicBezTo>
                <a:cubicBezTo>
                  <a:pt x="40" y="261"/>
                  <a:pt x="40" y="261"/>
                  <a:pt x="40" y="261"/>
                </a:cubicBezTo>
                <a:close/>
                <a:moveTo>
                  <a:pt x="38" y="261"/>
                </a:moveTo>
                <a:cubicBezTo>
                  <a:pt x="38" y="262"/>
                  <a:pt x="38" y="262"/>
                  <a:pt x="38" y="262"/>
                </a:cubicBezTo>
                <a:cubicBezTo>
                  <a:pt x="39" y="261"/>
                  <a:pt x="39" y="261"/>
                  <a:pt x="39" y="261"/>
                </a:cubicBezTo>
                <a:cubicBezTo>
                  <a:pt x="39" y="261"/>
                  <a:pt x="39" y="261"/>
                  <a:pt x="39" y="261"/>
                </a:cubicBezTo>
                <a:cubicBezTo>
                  <a:pt x="38" y="261"/>
                  <a:pt x="38" y="261"/>
                  <a:pt x="38" y="261"/>
                </a:cubicBezTo>
                <a:cubicBezTo>
                  <a:pt x="38" y="261"/>
                  <a:pt x="38" y="261"/>
                  <a:pt x="38" y="261"/>
                </a:cubicBezTo>
                <a:close/>
                <a:moveTo>
                  <a:pt x="41" y="250"/>
                </a:moveTo>
                <a:cubicBezTo>
                  <a:pt x="41" y="251"/>
                  <a:pt x="41" y="251"/>
                  <a:pt x="41" y="251"/>
                </a:cubicBezTo>
                <a:cubicBezTo>
                  <a:pt x="41" y="251"/>
                  <a:pt x="41" y="251"/>
                  <a:pt x="41" y="251"/>
                </a:cubicBezTo>
                <a:cubicBezTo>
                  <a:pt x="42" y="251"/>
                  <a:pt x="42" y="251"/>
                  <a:pt x="42" y="251"/>
                </a:cubicBezTo>
                <a:cubicBezTo>
                  <a:pt x="43" y="250"/>
                  <a:pt x="43" y="250"/>
                  <a:pt x="43" y="250"/>
                </a:cubicBezTo>
                <a:cubicBezTo>
                  <a:pt x="43" y="249"/>
                  <a:pt x="43" y="249"/>
                  <a:pt x="43" y="249"/>
                </a:cubicBezTo>
                <a:cubicBezTo>
                  <a:pt x="42" y="249"/>
                  <a:pt x="42" y="249"/>
                  <a:pt x="42" y="249"/>
                </a:cubicBezTo>
                <a:cubicBezTo>
                  <a:pt x="41" y="250"/>
                  <a:pt x="41" y="250"/>
                  <a:pt x="41" y="250"/>
                </a:cubicBezTo>
                <a:close/>
                <a:moveTo>
                  <a:pt x="51" y="246"/>
                </a:moveTo>
                <a:cubicBezTo>
                  <a:pt x="52" y="246"/>
                  <a:pt x="52" y="246"/>
                  <a:pt x="52" y="246"/>
                </a:cubicBezTo>
                <a:cubicBezTo>
                  <a:pt x="54" y="246"/>
                  <a:pt x="54" y="246"/>
                  <a:pt x="54" y="246"/>
                </a:cubicBezTo>
                <a:cubicBezTo>
                  <a:pt x="54" y="245"/>
                  <a:pt x="54" y="245"/>
                  <a:pt x="54" y="245"/>
                </a:cubicBezTo>
                <a:cubicBezTo>
                  <a:pt x="52" y="245"/>
                  <a:pt x="52" y="245"/>
                  <a:pt x="52" y="245"/>
                </a:cubicBezTo>
                <a:cubicBezTo>
                  <a:pt x="51" y="245"/>
                  <a:pt x="51" y="245"/>
                  <a:pt x="51" y="245"/>
                </a:cubicBezTo>
                <a:cubicBezTo>
                  <a:pt x="51" y="246"/>
                  <a:pt x="51" y="246"/>
                  <a:pt x="51" y="246"/>
                </a:cubicBezTo>
                <a:close/>
                <a:moveTo>
                  <a:pt x="47" y="240"/>
                </a:moveTo>
                <a:cubicBezTo>
                  <a:pt x="47" y="241"/>
                  <a:pt x="47" y="241"/>
                  <a:pt x="47" y="241"/>
                </a:cubicBezTo>
                <a:cubicBezTo>
                  <a:pt x="48" y="241"/>
                  <a:pt x="48" y="241"/>
                  <a:pt x="48" y="241"/>
                </a:cubicBezTo>
                <a:cubicBezTo>
                  <a:pt x="49" y="241"/>
                  <a:pt x="49" y="241"/>
                  <a:pt x="49" y="241"/>
                </a:cubicBezTo>
                <a:cubicBezTo>
                  <a:pt x="49" y="240"/>
                  <a:pt x="49" y="240"/>
                  <a:pt x="49" y="240"/>
                </a:cubicBezTo>
                <a:cubicBezTo>
                  <a:pt x="48" y="240"/>
                  <a:pt x="48" y="240"/>
                  <a:pt x="48" y="240"/>
                </a:cubicBezTo>
                <a:cubicBezTo>
                  <a:pt x="47" y="240"/>
                  <a:pt x="47" y="240"/>
                  <a:pt x="47" y="240"/>
                </a:cubicBezTo>
                <a:close/>
                <a:moveTo>
                  <a:pt x="52" y="240"/>
                </a:moveTo>
                <a:cubicBezTo>
                  <a:pt x="53" y="240"/>
                  <a:pt x="53" y="240"/>
                  <a:pt x="53" y="240"/>
                </a:cubicBezTo>
                <a:cubicBezTo>
                  <a:pt x="54" y="240"/>
                  <a:pt x="54" y="240"/>
                  <a:pt x="54" y="240"/>
                </a:cubicBezTo>
                <a:cubicBezTo>
                  <a:pt x="54" y="240"/>
                  <a:pt x="54" y="240"/>
                  <a:pt x="54" y="240"/>
                </a:cubicBezTo>
                <a:cubicBezTo>
                  <a:pt x="53" y="239"/>
                  <a:pt x="53" y="239"/>
                  <a:pt x="53" y="239"/>
                </a:cubicBezTo>
                <a:cubicBezTo>
                  <a:pt x="52" y="240"/>
                  <a:pt x="52" y="240"/>
                  <a:pt x="52" y="240"/>
                </a:cubicBezTo>
                <a:close/>
                <a:moveTo>
                  <a:pt x="49" y="239"/>
                </a:moveTo>
                <a:cubicBezTo>
                  <a:pt x="51" y="240"/>
                  <a:pt x="51" y="240"/>
                  <a:pt x="51" y="240"/>
                </a:cubicBezTo>
                <a:cubicBezTo>
                  <a:pt x="52" y="239"/>
                  <a:pt x="52" y="239"/>
                  <a:pt x="52" y="239"/>
                </a:cubicBezTo>
                <a:cubicBezTo>
                  <a:pt x="53" y="239"/>
                  <a:pt x="53" y="239"/>
                  <a:pt x="53" y="239"/>
                </a:cubicBezTo>
                <a:cubicBezTo>
                  <a:pt x="52" y="238"/>
                  <a:pt x="52" y="238"/>
                  <a:pt x="52" y="238"/>
                </a:cubicBezTo>
                <a:cubicBezTo>
                  <a:pt x="51" y="238"/>
                  <a:pt x="51" y="238"/>
                  <a:pt x="51" y="238"/>
                </a:cubicBezTo>
                <a:cubicBezTo>
                  <a:pt x="50" y="238"/>
                  <a:pt x="50" y="238"/>
                  <a:pt x="50" y="238"/>
                </a:cubicBezTo>
                <a:cubicBezTo>
                  <a:pt x="49" y="239"/>
                  <a:pt x="49" y="239"/>
                  <a:pt x="49" y="239"/>
                </a:cubicBezTo>
                <a:close/>
                <a:moveTo>
                  <a:pt x="60" y="214"/>
                </a:moveTo>
                <a:cubicBezTo>
                  <a:pt x="61" y="215"/>
                  <a:pt x="61" y="215"/>
                  <a:pt x="61" y="215"/>
                </a:cubicBezTo>
                <a:cubicBezTo>
                  <a:pt x="61" y="216"/>
                  <a:pt x="61" y="216"/>
                  <a:pt x="61" y="216"/>
                </a:cubicBezTo>
                <a:cubicBezTo>
                  <a:pt x="62" y="215"/>
                  <a:pt x="62" y="215"/>
                  <a:pt x="62" y="215"/>
                </a:cubicBezTo>
                <a:cubicBezTo>
                  <a:pt x="61" y="215"/>
                  <a:pt x="61" y="215"/>
                  <a:pt x="61" y="215"/>
                </a:cubicBezTo>
                <a:cubicBezTo>
                  <a:pt x="60" y="214"/>
                  <a:pt x="60" y="214"/>
                  <a:pt x="60" y="214"/>
                </a:cubicBezTo>
                <a:close/>
                <a:moveTo>
                  <a:pt x="60" y="211"/>
                </a:moveTo>
                <a:cubicBezTo>
                  <a:pt x="59" y="212"/>
                  <a:pt x="59" y="212"/>
                  <a:pt x="59" y="212"/>
                </a:cubicBezTo>
                <a:cubicBezTo>
                  <a:pt x="61" y="213"/>
                  <a:pt x="61" y="213"/>
                  <a:pt x="61" y="213"/>
                </a:cubicBezTo>
                <a:cubicBezTo>
                  <a:pt x="61" y="213"/>
                  <a:pt x="61" y="213"/>
                  <a:pt x="61" y="213"/>
                </a:cubicBezTo>
                <a:cubicBezTo>
                  <a:pt x="61" y="212"/>
                  <a:pt x="61" y="212"/>
                  <a:pt x="61" y="212"/>
                </a:cubicBezTo>
                <a:cubicBezTo>
                  <a:pt x="61" y="212"/>
                  <a:pt x="60" y="211"/>
                  <a:pt x="60" y="211"/>
                </a:cubicBezTo>
                <a:close/>
                <a:moveTo>
                  <a:pt x="56" y="203"/>
                </a:moveTo>
                <a:cubicBezTo>
                  <a:pt x="57" y="203"/>
                  <a:pt x="57" y="203"/>
                  <a:pt x="57" y="203"/>
                </a:cubicBezTo>
                <a:cubicBezTo>
                  <a:pt x="58" y="202"/>
                  <a:pt x="58" y="202"/>
                  <a:pt x="58" y="202"/>
                </a:cubicBezTo>
                <a:cubicBezTo>
                  <a:pt x="59" y="202"/>
                  <a:pt x="59" y="202"/>
                  <a:pt x="59" y="202"/>
                </a:cubicBezTo>
                <a:cubicBezTo>
                  <a:pt x="59" y="201"/>
                  <a:pt x="59" y="201"/>
                  <a:pt x="59" y="201"/>
                </a:cubicBezTo>
                <a:cubicBezTo>
                  <a:pt x="58" y="201"/>
                  <a:pt x="58" y="201"/>
                  <a:pt x="58" y="201"/>
                </a:cubicBezTo>
                <a:cubicBezTo>
                  <a:pt x="57" y="201"/>
                  <a:pt x="57" y="201"/>
                  <a:pt x="57" y="201"/>
                </a:cubicBezTo>
                <a:cubicBezTo>
                  <a:pt x="56" y="201"/>
                  <a:pt x="56" y="201"/>
                  <a:pt x="56" y="201"/>
                </a:cubicBezTo>
                <a:cubicBezTo>
                  <a:pt x="56" y="202"/>
                  <a:pt x="56" y="202"/>
                  <a:pt x="56" y="202"/>
                </a:cubicBezTo>
                <a:cubicBezTo>
                  <a:pt x="56" y="203"/>
                  <a:pt x="56" y="203"/>
                  <a:pt x="56" y="203"/>
                </a:cubicBezTo>
                <a:close/>
                <a:moveTo>
                  <a:pt x="56" y="208"/>
                </a:moveTo>
                <a:cubicBezTo>
                  <a:pt x="57" y="208"/>
                  <a:pt x="57" y="208"/>
                  <a:pt x="57" y="208"/>
                </a:cubicBezTo>
                <a:cubicBezTo>
                  <a:pt x="58" y="208"/>
                  <a:pt x="58" y="208"/>
                  <a:pt x="58" y="208"/>
                </a:cubicBezTo>
                <a:cubicBezTo>
                  <a:pt x="59" y="207"/>
                  <a:pt x="59" y="207"/>
                  <a:pt x="59" y="207"/>
                </a:cubicBezTo>
                <a:cubicBezTo>
                  <a:pt x="59" y="206"/>
                  <a:pt x="59" y="206"/>
                  <a:pt x="59" y="206"/>
                </a:cubicBezTo>
                <a:cubicBezTo>
                  <a:pt x="58" y="205"/>
                  <a:pt x="58" y="205"/>
                  <a:pt x="58" y="205"/>
                </a:cubicBezTo>
                <a:cubicBezTo>
                  <a:pt x="57" y="206"/>
                  <a:pt x="57" y="206"/>
                  <a:pt x="57" y="206"/>
                </a:cubicBezTo>
                <a:cubicBezTo>
                  <a:pt x="56" y="208"/>
                  <a:pt x="56" y="208"/>
                  <a:pt x="56" y="208"/>
                </a:cubicBezTo>
                <a:close/>
                <a:moveTo>
                  <a:pt x="52" y="208"/>
                </a:moveTo>
                <a:cubicBezTo>
                  <a:pt x="53" y="209"/>
                  <a:pt x="53" y="209"/>
                  <a:pt x="53" y="209"/>
                </a:cubicBezTo>
                <a:cubicBezTo>
                  <a:pt x="54" y="208"/>
                  <a:pt x="54" y="208"/>
                  <a:pt x="54" y="208"/>
                </a:cubicBezTo>
                <a:cubicBezTo>
                  <a:pt x="54" y="207"/>
                  <a:pt x="54" y="207"/>
                  <a:pt x="54" y="207"/>
                </a:cubicBezTo>
                <a:cubicBezTo>
                  <a:pt x="54" y="205"/>
                  <a:pt x="54" y="205"/>
                  <a:pt x="54" y="205"/>
                </a:cubicBezTo>
                <a:cubicBezTo>
                  <a:pt x="53" y="206"/>
                  <a:pt x="53" y="206"/>
                  <a:pt x="53" y="206"/>
                </a:cubicBezTo>
                <a:cubicBezTo>
                  <a:pt x="52" y="207"/>
                  <a:pt x="52" y="207"/>
                  <a:pt x="52" y="207"/>
                </a:cubicBezTo>
                <a:cubicBezTo>
                  <a:pt x="52" y="208"/>
                  <a:pt x="52" y="208"/>
                  <a:pt x="52" y="208"/>
                </a:cubicBezTo>
                <a:close/>
                <a:moveTo>
                  <a:pt x="45" y="214"/>
                </a:moveTo>
                <a:cubicBezTo>
                  <a:pt x="44" y="215"/>
                  <a:pt x="44" y="215"/>
                  <a:pt x="44" y="215"/>
                </a:cubicBezTo>
                <a:cubicBezTo>
                  <a:pt x="45" y="216"/>
                  <a:pt x="45" y="216"/>
                  <a:pt x="45" y="216"/>
                </a:cubicBezTo>
                <a:cubicBezTo>
                  <a:pt x="46" y="216"/>
                  <a:pt x="46" y="216"/>
                  <a:pt x="46" y="216"/>
                </a:cubicBezTo>
                <a:cubicBezTo>
                  <a:pt x="46" y="215"/>
                  <a:pt x="46" y="215"/>
                  <a:pt x="46" y="215"/>
                </a:cubicBezTo>
                <a:cubicBezTo>
                  <a:pt x="45" y="214"/>
                  <a:pt x="45" y="214"/>
                  <a:pt x="45" y="214"/>
                </a:cubicBezTo>
                <a:cubicBezTo>
                  <a:pt x="45" y="214"/>
                  <a:pt x="45" y="214"/>
                  <a:pt x="45" y="214"/>
                </a:cubicBezTo>
                <a:close/>
                <a:moveTo>
                  <a:pt x="60" y="226"/>
                </a:moveTo>
                <a:cubicBezTo>
                  <a:pt x="60" y="226"/>
                  <a:pt x="60" y="226"/>
                  <a:pt x="60" y="226"/>
                </a:cubicBezTo>
                <a:cubicBezTo>
                  <a:pt x="60" y="226"/>
                  <a:pt x="60" y="226"/>
                  <a:pt x="60" y="226"/>
                </a:cubicBezTo>
                <a:cubicBezTo>
                  <a:pt x="60" y="227"/>
                  <a:pt x="60" y="227"/>
                  <a:pt x="60" y="227"/>
                </a:cubicBezTo>
                <a:cubicBezTo>
                  <a:pt x="60" y="228"/>
                  <a:pt x="60" y="228"/>
                  <a:pt x="60" y="228"/>
                </a:cubicBezTo>
                <a:cubicBezTo>
                  <a:pt x="60" y="229"/>
                  <a:pt x="60" y="229"/>
                  <a:pt x="60" y="229"/>
                </a:cubicBezTo>
                <a:cubicBezTo>
                  <a:pt x="61" y="228"/>
                  <a:pt x="61" y="228"/>
                  <a:pt x="61" y="228"/>
                </a:cubicBezTo>
                <a:cubicBezTo>
                  <a:pt x="62" y="226"/>
                  <a:pt x="62" y="226"/>
                  <a:pt x="62" y="226"/>
                </a:cubicBezTo>
                <a:cubicBezTo>
                  <a:pt x="63" y="226"/>
                  <a:pt x="63" y="226"/>
                  <a:pt x="63" y="226"/>
                </a:cubicBezTo>
                <a:cubicBezTo>
                  <a:pt x="62" y="225"/>
                  <a:pt x="62" y="225"/>
                  <a:pt x="62" y="225"/>
                </a:cubicBezTo>
                <a:cubicBezTo>
                  <a:pt x="62" y="225"/>
                  <a:pt x="62" y="225"/>
                  <a:pt x="62" y="225"/>
                </a:cubicBezTo>
                <a:cubicBezTo>
                  <a:pt x="60" y="225"/>
                  <a:pt x="60" y="225"/>
                  <a:pt x="60" y="225"/>
                </a:cubicBezTo>
                <a:cubicBezTo>
                  <a:pt x="60" y="226"/>
                  <a:pt x="60" y="226"/>
                  <a:pt x="60" y="226"/>
                </a:cubicBezTo>
                <a:close/>
                <a:moveTo>
                  <a:pt x="45" y="230"/>
                </a:moveTo>
                <a:cubicBezTo>
                  <a:pt x="45" y="231"/>
                  <a:pt x="45" y="231"/>
                  <a:pt x="45" y="231"/>
                </a:cubicBezTo>
                <a:cubicBezTo>
                  <a:pt x="47" y="231"/>
                  <a:pt x="47" y="231"/>
                  <a:pt x="47" y="231"/>
                </a:cubicBezTo>
                <a:cubicBezTo>
                  <a:pt x="48" y="232"/>
                  <a:pt x="48" y="232"/>
                  <a:pt x="48" y="232"/>
                </a:cubicBezTo>
                <a:cubicBezTo>
                  <a:pt x="49" y="232"/>
                  <a:pt x="49" y="232"/>
                  <a:pt x="49" y="232"/>
                </a:cubicBezTo>
                <a:cubicBezTo>
                  <a:pt x="49" y="231"/>
                  <a:pt x="49" y="231"/>
                  <a:pt x="49" y="231"/>
                </a:cubicBezTo>
                <a:cubicBezTo>
                  <a:pt x="53" y="231"/>
                  <a:pt x="53" y="231"/>
                  <a:pt x="53" y="231"/>
                </a:cubicBezTo>
                <a:cubicBezTo>
                  <a:pt x="55" y="231"/>
                  <a:pt x="55" y="231"/>
                  <a:pt x="55" y="231"/>
                </a:cubicBezTo>
                <a:cubicBezTo>
                  <a:pt x="57" y="229"/>
                  <a:pt x="57" y="229"/>
                  <a:pt x="57" y="229"/>
                </a:cubicBezTo>
                <a:cubicBezTo>
                  <a:pt x="56" y="227"/>
                  <a:pt x="56" y="227"/>
                  <a:pt x="56" y="227"/>
                </a:cubicBezTo>
                <a:cubicBezTo>
                  <a:pt x="56" y="225"/>
                  <a:pt x="56" y="225"/>
                  <a:pt x="56" y="225"/>
                </a:cubicBezTo>
                <a:cubicBezTo>
                  <a:pt x="55" y="225"/>
                  <a:pt x="55" y="225"/>
                  <a:pt x="55" y="225"/>
                </a:cubicBezTo>
                <a:cubicBezTo>
                  <a:pt x="53" y="225"/>
                  <a:pt x="53" y="225"/>
                  <a:pt x="53" y="225"/>
                </a:cubicBezTo>
                <a:cubicBezTo>
                  <a:pt x="53" y="222"/>
                  <a:pt x="53" y="222"/>
                  <a:pt x="53" y="222"/>
                </a:cubicBezTo>
                <a:cubicBezTo>
                  <a:pt x="51" y="220"/>
                  <a:pt x="51" y="220"/>
                  <a:pt x="51" y="220"/>
                </a:cubicBezTo>
                <a:cubicBezTo>
                  <a:pt x="49" y="219"/>
                  <a:pt x="49" y="219"/>
                  <a:pt x="49" y="219"/>
                </a:cubicBezTo>
                <a:cubicBezTo>
                  <a:pt x="48" y="218"/>
                  <a:pt x="48" y="218"/>
                  <a:pt x="48" y="218"/>
                </a:cubicBezTo>
                <a:cubicBezTo>
                  <a:pt x="46" y="218"/>
                  <a:pt x="46" y="218"/>
                  <a:pt x="46" y="218"/>
                </a:cubicBezTo>
                <a:cubicBezTo>
                  <a:pt x="45" y="217"/>
                  <a:pt x="45" y="217"/>
                  <a:pt x="45" y="217"/>
                </a:cubicBezTo>
                <a:cubicBezTo>
                  <a:pt x="45" y="218"/>
                  <a:pt x="45" y="218"/>
                  <a:pt x="45" y="218"/>
                </a:cubicBezTo>
                <a:cubicBezTo>
                  <a:pt x="44" y="219"/>
                  <a:pt x="44" y="219"/>
                  <a:pt x="44" y="219"/>
                </a:cubicBezTo>
                <a:cubicBezTo>
                  <a:pt x="44" y="221"/>
                  <a:pt x="44" y="221"/>
                  <a:pt x="44" y="221"/>
                </a:cubicBezTo>
                <a:cubicBezTo>
                  <a:pt x="45" y="222"/>
                  <a:pt x="45" y="222"/>
                  <a:pt x="45" y="222"/>
                </a:cubicBezTo>
                <a:cubicBezTo>
                  <a:pt x="45" y="223"/>
                  <a:pt x="45" y="223"/>
                  <a:pt x="45" y="223"/>
                </a:cubicBezTo>
                <a:cubicBezTo>
                  <a:pt x="44" y="222"/>
                  <a:pt x="44" y="222"/>
                  <a:pt x="44" y="222"/>
                </a:cubicBezTo>
                <a:cubicBezTo>
                  <a:pt x="43" y="223"/>
                  <a:pt x="43" y="223"/>
                  <a:pt x="43" y="223"/>
                </a:cubicBezTo>
                <a:cubicBezTo>
                  <a:pt x="43" y="224"/>
                  <a:pt x="43" y="224"/>
                  <a:pt x="43" y="224"/>
                </a:cubicBezTo>
                <a:cubicBezTo>
                  <a:pt x="43" y="225"/>
                  <a:pt x="43" y="225"/>
                  <a:pt x="43" y="225"/>
                </a:cubicBezTo>
                <a:cubicBezTo>
                  <a:pt x="44" y="225"/>
                  <a:pt x="44" y="225"/>
                  <a:pt x="44" y="225"/>
                </a:cubicBezTo>
                <a:cubicBezTo>
                  <a:pt x="43" y="226"/>
                  <a:pt x="43" y="226"/>
                  <a:pt x="43" y="226"/>
                </a:cubicBezTo>
                <a:cubicBezTo>
                  <a:pt x="43" y="226"/>
                  <a:pt x="43" y="226"/>
                  <a:pt x="43" y="226"/>
                </a:cubicBezTo>
                <a:cubicBezTo>
                  <a:pt x="44" y="227"/>
                  <a:pt x="44" y="227"/>
                  <a:pt x="44" y="227"/>
                </a:cubicBezTo>
                <a:cubicBezTo>
                  <a:pt x="46" y="228"/>
                  <a:pt x="46" y="228"/>
                  <a:pt x="46" y="228"/>
                </a:cubicBezTo>
                <a:cubicBezTo>
                  <a:pt x="47" y="229"/>
                  <a:pt x="47" y="229"/>
                  <a:pt x="47" y="229"/>
                </a:cubicBezTo>
                <a:cubicBezTo>
                  <a:pt x="48" y="229"/>
                  <a:pt x="48" y="229"/>
                  <a:pt x="48" y="229"/>
                </a:cubicBezTo>
                <a:cubicBezTo>
                  <a:pt x="50" y="228"/>
                  <a:pt x="50" y="228"/>
                  <a:pt x="50" y="228"/>
                </a:cubicBezTo>
                <a:cubicBezTo>
                  <a:pt x="48" y="229"/>
                  <a:pt x="48" y="229"/>
                  <a:pt x="48" y="229"/>
                </a:cubicBezTo>
                <a:cubicBezTo>
                  <a:pt x="47" y="229"/>
                  <a:pt x="47" y="229"/>
                  <a:pt x="47" y="229"/>
                </a:cubicBezTo>
                <a:cubicBezTo>
                  <a:pt x="46" y="229"/>
                  <a:pt x="46" y="229"/>
                  <a:pt x="46" y="229"/>
                </a:cubicBezTo>
                <a:cubicBezTo>
                  <a:pt x="45" y="229"/>
                  <a:pt x="45" y="229"/>
                  <a:pt x="45" y="229"/>
                </a:cubicBezTo>
                <a:lnTo>
                  <a:pt x="45" y="230"/>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1" name="Freeform 169">
            <a:extLst>
              <a:ext uri="{FF2B5EF4-FFF2-40B4-BE49-F238E27FC236}">
                <a16:creationId xmlns:a16="http://schemas.microsoft.com/office/drawing/2014/main" id="{C9243F8C-5BE6-D476-5C7C-74E2FBD47DAD}"/>
              </a:ext>
            </a:extLst>
          </p:cNvPr>
          <p:cNvSpPr>
            <a:spLocks noEditPoints="1"/>
          </p:cNvSpPr>
          <p:nvPr userDrawn="1"/>
        </p:nvSpPr>
        <p:spPr bwMode="auto">
          <a:xfrm>
            <a:off x="5527319" y="1440735"/>
            <a:ext cx="5419373" cy="5026026"/>
          </a:xfrm>
          <a:custGeom>
            <a:avLst/>
            <a:gdLst>
              <a:gd name="T0" fmla="*/ 399 w 546"/>
              <a:gd name="T1" fmla="*/ 36 h 506"/>
              <a:gd name="T2" fmla="*/ 400 w 546"/>
              <a:gd name="T3" fmla="*/ 86 h 506"/>
              <a:gd name="T4" fmla="*/ 399 w 546"/>
              <a:gd name="T5" fmla="*/ 95 h 506"/>
              <a:gd name="T6" fmla="*/ 426 w 546"/>
              <a:gd name="T7" fmla="*/ 59 h 506"/>
              <a:gd name="T8" fmla="*/ 427 w 546"/>
              <a:gd name="T9" fmla="*/ 34 h 506"/>
              <a:gd name="T10" fmla="*/ 461 w 546"/>
              <a:gd name="T11" fmla="*/ 15 h 506"/>
              <a:gd name="T12" fmla="*/ 537 w 546"/>
              <a:gd name="T13" fmla="*/ 20 h 506"/>
              <a:gd name="T14" fmla="*/ 468 w 546"/>
              <a:gd name="T15" fmla="*/ 73 h 506"/>
              <a:gd name="T16" fmla="*/ 420 w 546"/>
              <a:gd name="T17" fmla="*/ 106 h 506"/>
              <a:gd name="T18" fmla="*/ 436 w 546"/>
              <a:gd name="T19" fmla="*/ 236 h 506"/>
              <a:gd name="T20" fmla="*/ 382 w 546"/>
              <a:gd name="T21" fmla="*/ 98 h 506"/>
              <a:gd name="T22" fmla="*/ 341 w 546"/>
              <a:gd name="T23" fmla="*/ 68 h 506"/>
              <a:gd name="T24" fmla="*/ 285 w 546"/>
              <a:gd name="T25" fmla="*/ 62 h 506"/>
              <a:gd name="T26" fmla="*/ 372 w 546"/>
              <a:gd name="T27" fmla="*/ 112 h 506"/>
              <a:gd name="T28" fmla="*/ 387 w 546"/>
              <a:gd name="T29" fmla="*/ 154 h 506"/>
              <a:gd name="T30" fmla="*/ 235 w 546"/>
              <a:gd name="T31" fmla="*/ 82 h 506"/>
              <a:gd name="T32" fmla="*/ 339 w 546"/>
              <a:gd name="T33" fmla="*/ 127 h 506"/>
              <a:gd name="T34" fmla="*/ 315 w 546"/>
              <a:gd name="T35" fmla="*/ 112 h 506"/>
              <a:gd name="T36" fmla="*/ 303 w 546"/>
              <a:gd name="T37" fmla="*/ 116 h 506"/>
              <a:gd name="T38" fmla="*/ 285 w 546"/>
              <a:gd name="T39" fmla="*/ 99 h 506"/>
              <a:gd name="T40" fmla="*/ 206 w 546"/>
              <a:gd name="T41" fmla="*/ 110 h 506"/>
              <a:gd name="T42" fmla="*/ 293 w 546"/>
              <a:gd name="T43" fmla="*/ 158 h 506"/>
              <a:gd name="T44" fmla="*/ 314 w 546"/>
              <a:gd name="T45" fmla="*/ 166 h 506"/>
              <a:gd name="T46" fmla="*/ 393 w 546"/>
              <a:gd name="T47" fmla="*/ 176 h 506"/>
              <a:gd name="T48" fmla="*/ 377 w 546"/>
              <a:gd name="T49" fmla="*/ 228 h 506"/>
              <a:gd name="T50" fmla="*/ 271 w 546"/>
              <a:gd name="T51" fmla="*/ 231 h 506"/>
              <a:gd name="T52" fmla="*/ 267 w 546"/>
              <a:gd name="T53" fmla="*/ 171 h 506"/>
              <a:gd name="T54" fmla="*/ 229 w 546"/>
              <a:gd name="T55" fmla="*/ 137 h 506"/>
              <a:gd name="T56" fmla="*/ 201 w 546"/>
              <a:gd name="T57" fmla="*/ 203 h 506"/>
              <a:gd name="T58" fmla="*/ 258 w 546"/>
              <a:gd name="T59" fmla="*/ 218 h 506"/>
              <a:gd name="T60" fmla="*/ 392 w 546"/>
              <a:gd name="T61" fmla="*/ 305 h 506"/>
              <a:gd name="T62" fmla="*/ 398 w 546"/>
              <a:gd name="T63" fmla="*/ 241 h 506"/>
              <a:gd name="T64" fmla="*/ 343 w 546"/>
              <a:gd name="T65" fmla="*/ 212 h 506"/>
              <a:gd name="T66" fmla="*/ 366 w 546"/>
              <a:gd name="T67" fmla="*/ 188 h 506"/>
              <a:gd name="T68" fmla="*/ 407 w 546"/>
              <a:gd name="T69" fmla="*/ 188 h 506"/>
              <a:gd name="T70" fmla="*/ 420 w 546"/>
              <a:gd name="T71" fmla="*/ 224 h 506"/>
              <a:gd name="T72" fmla="*/ 432 w 546"/>
              <a:gd name="T73" fmla="*/ 247 h 506"/>
              <a:gd name="T74" fmla="*/ 453 w 546"/>
              <a:gd name="T75" fmla="*/ 277 h 506"/>
              <a:gd name="T76" fmla="*/ 434 w 546"/>
              <a:gd name="T77" fmla="*/ 279 h 506"/>
              <a:gd name="T78" fmla="*/ 422 w 546"/>
              <a:gd name="T79" fmla="*/ 317 h 506"/>
              <a:gd name="T80" fmla="*/ 342 w 546"/>
              <a:gd name="T81" fmla="*/ 290 h 506"/>
              <a:gd name="T82" fmla="*/ 401 w 546"/>
              <a:gd name="T83" fmla="*/ 345 h 506"/>
              <a:gd name="T84" fmla="*/ 325 w 546"/>
              <a:gd name="T85" fmla="*/ 383 h 506"/>
              <a:gd name="T86" fmla="*/ 432 w 546"/>
              <a:gd name="T87" fmla="*/ 465 h 506"/>
              <a:gd name="T88" fmla="*/ 462 w 546"/>
              <a:gd name="T89" fmla="*/ 465 h 506"/>
              <a:gd name="T90" fmla="*/ 450 w 546"/>
              <a:gd name="T91" fmla="*/ 435 h 506"/>
              <a:gd name="T92" fmla="*/ 50 w 546"/>
              <a:gd name="T93" fmla="*/ 419 h 506"/>
              <a:gd name="T94" fmla="*/ 29 w 546"/>
              <a:gd name="T95" fmla="*/ 376 h 506"/>
              <a:gd name="T96" fmla="*/ 93 w 546"/>
              <a:gd name="T97" fmla="*/ 175 h 506"/>
              <a:gd name="T98" fmla="*/ 39 w 546"/>
              <a:gd name="T99" fmla="*/ 383 h 506"/>
              <a:gd name="T100" fmla="*/ 96 w 546"/>
              <a:gd name="T101" fmla="*/ 181 h 506"/>
              <a:gd name="T102" fmla="*/ 159 w 546"/>
              <a:gd name="T103" fmla="*/ 183 h 506"/>
              <a:gd name="T104" fmla="*/ 240 w 546"/>
              <a:gd name="T105" fmla="*/ 215 h 506"/>
              <a:gd name="T106" fmla="*/ 285 w 546"/>
              <a:gd name="T107" fmla="*/ 245 h 506"/>
              <a:gd name="T108" fmla="*/ 319 w 546"/>
              <a:gd name="T109" fmla="*/ 207 h 506"/>
              <a:gd name="T110" fmla="*/ 366 w 546"/>
              <a:gd name="T111" fmla="*/ 232 h 506"/>
              <a:gd name="T112" fmla="*/ 306 w 546"/>
              <a:gd name="T113" fmla="*/ 289 h 506"/>
              <a:gd name="T114" fmla="*/ 253 w 546"/>
              <a:gd name="T115" fmla="*/ 367 h 506"/>
              <a:gd name="T116" fmla="*/ 349 w 546"/>
              <a:gd name="T117" fmla="*/ 347 h 506"/>
              <a:gd name="T118" fmla="*/ 416 w 546"/>
              <a:gd name="T119" fmla="*/ 351 h 506"/>
              <a:gd name="T120" fmla="*/ 443 w 546"/>
              <a:gd name="T121" fmla="*/ 404 h 506"/>
              <a:gd name="T122" fmla="*/ 389 w 546"/>
              <a:gd name="T123" fmla="*/ 441 h 506"/>
              <a:gd name="T124" fmla="*/ 398 w 546"/>
              <a:gd name="T125" fmla="*/ 483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506">
                <a:moveTo>
                  <a:pt x="395" y="89"/>
                </a:moveTo>
                <a:cubicBezTo>
                  <a:pt x="395" y="89"/>
                  <a:pt x="395" y="89"/>
                  <a:pt x="395" y="89"/>
                </a:cubicBezTo>
                <a:cubicBezTo>
                  <a:pt x="396" y="87"/>
                  <a:pt x="396" y="87"/>
                  <a:pt x="396" y="87"/>
                </a:cubicBezTo>
                <a:cubicBezTo>
                  <a:pt x="398" y="85"/>
                  <a:pt x="398" y="85"/>
                  <a:pt x="398" y="85"/>
                </a:cubicBezTo>
                <a:cubicBezTo>
                  <a:pt x="399" y="82"/>
                  <a:pt x="399" y="82"/>
                  <a:pt x="399" y="82"/>
                </a:cubicBezTo>
                <a:cubicBezTo>
                  <a:pt x="400" y="82"/>
                  <a:pt x="400" y="82"/>
                  <a:pt x="400" y="82"/>
                </a:cubicBezTo>
                <a:cubicBezTo>
                  <a:pt x="400" y="83"/>
                  <a:pt x="400" y="83"/>
                  <a:pt x="400" y="83"/>
                </a:cubicBezTo>
                <a:cubicBezTo>
                  <a:pt x="399" y="84"/>
                  <a:pt x="399" y="84"/>
                  <a:pt x="399" y="84"/>
                </a:cubicBezTo>
                <a:cubicBezTo>
                  <a:pt x="399" y="85"/>
                  <a:pt x="399" y="85"/>
                  <a:pt x="399" y="85"/>
                </a:cubicBezTo>
                <a:cubicBezTo>
                  <a:pt x="400" y="85"/>
                  <a:pt x="400" y="85"/>
                  <a:pt x="400" y="85"/>
                </a:cubicBezTo>
                <a:cubicBezTo>
                  <a:pt x="402" y="84"/>
                  <a:pt x="402" y="84"/>
                  <a:pt x="402" y="84"/>
                </a:cubicBezTo>
                <a:cubicBezTo>
                  <a:pt x="403" y="83"/>
                  <a:pt x="403" y="83"/>
                  <a:pt x="403" y="83"/>
                </a:cubicBezTo>
                <a:cubicBezTo>
                  <a:pt x="403" y="82"/>
                  <a:pt x="403" y="82"/>
                  <a:pt x="403" y="82"/>
                </a:cubicBezTo>
                <a:cubicBezTo>
                  <a:pt x="402" y="82"/>
                  <a:pt x="402" y="82"/>
                  <a:pt x="402" y="82"/>
                </a:cubicBezTo>
                <a:cubicBezTo>
                  <a:pt x="402" y="81"/>
                  <a:pt x="402" y="81"/>
                  <a:pt x="402" y="81"/>
                </a:cubicBezTo>
                <a:cubicBezTo>
                  <a:pt x="403" y="81"/>
                  <a:pt x="403" y="81"/>
                  <a:pt x="403" y="81"/>
                </a:cubicBezTo>
                <a:cubicBezTo>
                  <a:pt x="403" y="79"/>
                  <a:pt x="403" y="79"/>
                  <a:pt x="403" y="79"/>
                </a:cubicBezTo>
                <a:cubicBezTo>
                  <a:pt x="402" y="78"/>
                  <a:pt x="402" y="78"/>
                  <a:pt x="402" y="78"/>
                </a:cubicBezTo>
                <a:cubicBezTo>
                  <a:pt x="402" y="77"/>
                  <a:pt x="402" y="77"/>
                  <a:pt x="402" y="77"/>
                </a:cubicBezTo>
                <a:cubicBezTo>
                  <a:pt x="404" y="76"/>
                  <a:pt x="404" y="76"/>
                  <a:pt x="404" y="76"/>
                </a:cubicBezTo>
                <a:cubicBezTo>
                  <a:pt x="405" y="74"/>
                  <a:pt x="405" y="74"/>
                  <a:pt x="405" y="74"/>
                </a:cubicBezTo>
                <a:cubicBezTo>
                  <a:pt x="406" y="73"/>
                  <a:pt x="406" y="73"/>
                  <a:pt x="406" y="73"/>
                </a:cubicBezTo>
                <a:cubicBezTo>
                  <a:pt x="406" y="72"/>
                  <a:pt x="406" y="72"/>
                  <a:pt x="406" y="72"/>
                </a:cubicBezTo>
                <a:cubicBezTo>
                  <a:pt x="406" y="73"/>
                  <a:pt x="406" y="73"/>
                  <a:pt x="406" y="73"/>
                </a:cubicBezTo>
                <a:cubicBezTo>
                  <a:pt x="407" y="74"/>
                  <a:pt x="407" y="74"/>
                  <a:pt x="407" y="74"/>
                </a:cubicBezTo>
                <a:cubicBezTo>
                  <a:pt x="406" y="74"/>
                  <a:pt x="406" y="74"/>
                  <a:pt x="406" y="74"/>
                </a:cubicBezTo>
                <a:cubicBezTo>
                  <a:pt x="405" y="76"/>
                  <a:pt x="405" y="76"/>
                  <a:pt x="405" y="76"/>
                </a:cubicBezTo>
                <a:cubicBezTo>
                  <a:pt x="404" y="78"/>
                  <a:pt x="404" y="78"/>
                  <a:pt x="404" y="78"/>
                </a:cubicBezTo>
                <a:cubicBezTo>
                  <a:pt x="404" y="80"/>
                  <a:pt x="404" y="80"/>
                  <a:pt x="404" y="80"/>
                </a:cubicBezTo>
                <a:cubicBezTo>
                  <a:pt x="404" y="81"/>
                  <a:pt x="404" y="81"/>
                  <a:pt x="404" y="81"/>
                </a:cubicBezTo>
                <a:cubicBezTo>
                  <a:pt x="404" y="82"/>
                  <a:pt x="404" y="82"/>
                  <a:pt x="404" y="82"/>
                </a:cubicBezTo>
                <a:cubicBezTo>
                  <a:pt x="405" y="81"/>
                  <a:pt x="405" y="81"/>
                  <a:pt x="405" y="81"/>
                </a:cubicBezTo>
                <a:cubicBezTo>
                  <a:pt x="406" y="79"/>
                  <a:pt x="406" y="79"/>
                  <a:pt x="406" y="79"/>
                </a:cubicBezTo>
                <a:cubicBezTo>
                  <a:pt x="408" y="77"/>
                  <a:pt x="408" y="77"/>
                  <a:pt x="408" y="77"/>
                </a:cubicBezTo>
                <a:cubicBezTo>
                  <a:pt x="409" y="76"/>
                  <a:pt x="409" y="76"/>
                  <a:pt x="409" y="76"/>
                </a:cubicBezTo>
                <a:cubicBezTo>
                  <a:pt x="409" y="74"/>
                  <a:pt x="409" y="74"/>
                  <a:pt x="409" y="74"/>
                </a:cubicBezTo>
                <a:cubicBezTo>
                  <a:pt x="410" y="73"/>
                  <a:pt x="410" y="73"/>
                  <a:pt x="410" y="73"/>
                </a:cubicBezTo>
                <a:cubicBezTo>
                  <a:pt x="411" y="73"/>
                  <a:pt x="411" y="73"/>
                  <a:pt x="411" y="73"/>
                </a:cubicBezTo>
                <a:cubicBezTo>
                  <a:pt x="411" y="74"/>
                  <a:pt x="411" y="74"/>
                  <a:pt x="411" y="74"/>
                </a:cubicBezTo>
                <a:cubicBezTo>
                  <a:pt x="411" y="74"/>
                  <a:pt x="411" y="74"/>
                  <a:pt x="411" y="74"/>
                </a:cubicBezTo>
                <a:cubicBezTo>
                  <a:pt x="411" y="75"/>
                  <a:pt x="411" y="75"/>
                  <a:pt x="411" y="75"/>
                </a:cubicBezTo>
                <a:cubicBezTo>
                  <a:pt x="412" y="75"/>
                  <a:pt x="412" y="75"/>
                  <a:pt x="412" y="75"/>
                </a:cubicBezTo>
                <a:cubicBezTo>
                  <a:pt x="413" y="73"/>
                  <a:pt x="413" y="73"/>
                  <a:pt x="413" y="73"/>
                </a:cubicBezTo>
                <a:cubicBezTo>
                  <a:pt x="414" y="73"/>
                  <a:pt x="414" y="73"/>
                  <a:pt x="414" y="73"/>
                </a:cubicBezTo>
                <a:cubicBezTo>
                  <a:pt x="416" y="73"/>
                  <a:pt x="416" y="73"/>
                  <a:pt x="416" y="73"/>
                </a:cubicBezTo>
                <a:cubicBezTo>
                  <a:pt x="418" y="73"/>
                  <a:pt x="418" y="73"/>
                  <a:pt x="418" y="73"/>
                </a:cubicBezTo>
                <a:cubicBezTo>
                  <a:pt x="419" y="73"/>
                  <a:pt x="419" y="73"/>
                  <a:pt x="419" y="73"/>
                </a:cubicBezTo>
                <a:cubicBezTo>
                  <a:pt x="420" y="72"/>
                  <a:pt x="420" y="72"/>
                  <a:pt x="420" y="72"/>
                </a:cubicBezTo>
                <a:cubicBezTo>
                  <a:pt x="421" y="71"/>
                  <a:pt x="421" y="71"/>
                  <a:pt x="421" y="71"/>
                </a:cubicBezTo>
                <a:cubicBezTo>
                  <a:pt x="422" y="70"/>
                  <a:pt x="422" y="70"/>
                  <a:pt x="422" y="70"/>
                </a:cubicBezTo>
                <a:cubicBezTo>
                  <a:pt x="422" y="69"/>
                  <a:pt x="422" y="69"/>
                  <a:pt x="422" y="69"/>
                </a:cubicBezTo>
                <a:cubicBezTo>
                  <a:pt x="422" y="69"/>
                  <a:pt x="422" y="69"/>
                  <a:pt x="422" y="69"/>
                </a:cubicBezTo>
                <a:cubicBezTo>
                  <a:pt x="421" y="68"/>
                  <a:pt x="421" y="68"/>
                  <a:pt x="421" y="68"/>
                </a:cubicBezTo>
                <a:cubicBezTo>
                  <a:pt x="422" y="66"/>
                  <a:pt x="422" y="66"/>
                  <a:pt x="422" y="66"/>
                </a:cubicBezTo>
                <a:cubicBezTo>
                  <a:pt x="421" y="63"/>
                  <a:pt x="421" y="63"/>
                  <a:pt x="421" y="63"/>
                </a:cubicBezTo>
                <a:cubicBezTo>
                  <a:pt x="421" y="63"/>
                  <a:pt x="421" y="63"/>
                  <a:pt x="421" y="63"/>
                </a:cubicBezTo>
                <a:cubicBezTo>
                  <a:pt x="420" y="65"/>
                  <a:pt x="420" y="65"/>
                  <a:pt x="420" y="65"/>
                </a:cubicBezTo>
                <a:cubicBezTo>
                  <a:pt x="419" y="67"/>
                  <a:pt x="419" y="67"/>
                  <a:pt x="419" y="67"/>
                </a:cubicBezTo>
                <a:cubicBezTo>
                  <a:pt x="418" y="67"/>
                  <a:pt x="418" y="67"/>
                  <a:pt x="418" y="67"/>
                </a:cubicBezTo>
                <a:cubicBezTo>
                  <a:pt x="418" y="66"/>
                  <a:pt x="418" y="66"/>
                  <a:pt x="418" y="66"/>
                </a:cubicBezTo>
                <a:cubicBezTo>
                  <a:pt x="419" y="65"/>
                  <a:pt x="419" y="65"/>
                  <a:pt x="419" y="65"/>
                </a:cubicBezTo>
                <a:cubicBezTo>
                  <a:pt x="420" y="64"/>
                  <a:pt x="420" y="64"/>
                  <a:pt x="420" y="64"/>
                </a:cubicBezTo>
                <a:cubicBezTo>
                  <a:pt x="420" y="63"/>
                  <a:pt x="420" y="63"/>
                  <a:pt x="420" y="63"/>
                </a:cubicBezTo>
                <a:cubicBezTo>
                  <a:pt x="419" y="62"/>
                  <a:pt x="419" y="62"/>
                  <a:pt x="419" y="62"/>
                </a:cubicBezTo>
                <a:cubicBezTo>
                  <a:pt x="419" y="61"/>
                  <a:pt x="419" y="61"/>
                  <a:pt x="419" y="61"/>
                </a:cubicBezTo>
                <a:cubicBezTo>
                  <a:pt x="418" y="61"/>
                  <a:pt x="418" y="61"/>
                  <a:pt x="418" y="61"/>
                </a:cubicBezTo>
                <a:cubicBezTo>
                  <a:pt x="417" y="61"/>
                  <a:pt x="417" y="61"/>
                  <a:pt x="417" y="61"/>
                </a:cubicBezTo>
                <a:cubicBezTo>
                  <a:pt x="417" y="62"/>
                  <a:pt x="417" y="62"/>
                  <a:pt x="417" y="62"/>
                </a:cubicBezTo>
                <a:cubicBezTo>
                  <a:pt x="416" y="61"/>
                  <a:pt x="416" y="61"/>
                  <a:pt x="416" y="61"/>
                </a:cubicBezTo>
                <a:cubicBezTo>
                  <a:pt x="415" y="61"/>
                  <a:pt x="415" y="61"/>
                  <a:pt x="415" y="61"/>
                </a:cubicBezTo>
                <a:cubicBezTo>
                  <a:pt x="414" y="62"/>
                  <a:pt x="414" y="62"/>
                  <a:pt x="414" y="62"/>
                </a:cubicBezTo>
                <a:cubicBezTo>
                  <a:pt x="413" y="62"/>
                  <a:pt x="413" y="62"/>
                  <a:pt x="413" y="62"/>
                </a:cubicBezTo>
                <a:cubicBezTo>
                  <a:pt x="414" y="61"/>
                  <a:pt x="414" y="61"/>
                  <a:pt x="414" y="61"/>
                </a:cubicBezTo>
                <a:cubicBezTo>
                  <a:pt x="417" y="60"/>
                  <a:pt x="417" y="60"/>
                  <a:pt x="417" y="60"/>
                </a:cubicBezTo>
                <a:cubicBezTo>
                  <a:pt x="418" y="60"/>
                  <a:pt x="418" y="60"/>
                  <a:pt x="418" y="60"/>
                </a:cubicBezTo>
                <a:cubicBezTo>
                  <a:pt x="420" y="58"/>
                  <a:pt x="420" y="58"/>
                  <a:pt x="420" y="58"/>
                </a:cubicBezTo>
                <a:cubicBezTo>
                  <a:pt x="421" y="57"/>
                  <a:pt x="421" y="57"/>
                  <a:pt x="421" y="57"/>
                </a:cubicBezTo>
                <a:cubicBezTo>
                  <a:pt x="422" y="55"/>
                  <a:pt x="422" y="55"/>
                  <a:pt x="422" y="55"/>
                </a:cubicBezTo>
                <a:cubicBezTo>
                  <a:pt x="423" y="53"/>
                  <a:pt x="423" y="53"/>
                  <a:pt x="423" y="53"/>
                </a:cubicBezTo>
                <a:cubicBezTo>
                  <a:pt x="422" y="52"/>
                  <a:pt x="422" y="52"/>
                  <a:pt x="422" y="52"/>
                </a:cubicBezTo>
                <a:cubicBezTo>
                  <a:pt x="421" y="52"/>
                  <a:pt x="421" y="52"/>
                  <a:pt x="421" y="52"/>
                </a:cubicBezTo>
                <a:cubicBezTo>
                  <a:pt x="421" y="53"/>
                  <a:pt x="421" y="53"/>
                  <a:pt x="421" y="53"/>
                </a:cubicBezTo>
                <a:cubicBezTo>
                  <a:pt x="420" y="52"/>
                  <a:pt x="420" y="52"/>
                  <a:pt x="420" y="52"/>
                </a:cubicBezTo>
                <a:cubicBezTo>
                  <a:pt x="421" y="52"/>
                  <a:pt x="421" y="52"/>
                  <a:pt x="421" y="52"/>
                </a:cubicBezTo>
                <a:cubicBezTo>
                  <a:pt x="421" y="51"/>
                  <a:pt x="421" y="51"/>
                  <a:pt x="421" y="51"/>
                </a:cubicBezTo>
                <a:cubicBezTo>
                  <a:pt x="422" y="51"/>
                  <a:pt x="422" y="51"/>
                  <a:pt x="422" y="51"/>
                </a:cubicBezTo>
                <a:cubicBezTo>
                  <a:pt x="423" y="50"/>
                  <a:pt x="423" y="50"/>
                  <a:pt x="423" y="50"/>
                </a:cubicBezTo>
                <a:cubicBezTo>
                  <a:pt x="423" y="49"/>
                  <a:pt x="423" y="49"/>
                  <a:pt x="423" y="49"/>
                </a:cubicBezTo>
                <a:cubicBezTo>
                  <a:pt x="424" y="48"/>
                  <a:pt x="424" y="48"/>
                  <a:pt x="424" y="48"/>
                </a:cubicBezTo>
                <a:cubicBezTo>
                  <a:pt x="424" y="46"/>
                  <a:pt x="424" y="46"/>
                  <a:pt x="424" y="46"/>
                </a:cubicBezTo>
                <a:cubicBezTo>
                  <a:pt x="424" y="46"/>
                  <a:pt x="424" y="46"/>
                  <a:pt x="424" y="46"/>
                </a:cubicBezTo>
                <a:cubicBezTo>
                  <a:pt x="424" y="45"/>
                  <a:pt x="424" y="45"/>
                  <a:pt x="424" y="45"/>
                </a:cubicBezTo>
                <a:cubicBezTo>
                  <a:pt x="422" y="45"/>
                  <a:pt x="422" y="45"/>
                  <a:pt x="422" y="45"/>
                </a:cubicBezTo>
                <a:cubicBezTo>
                  <a:pt x="421" y="45"/>
                  <a:pt x="421" y="45"/>
                  <a:pt x="421" y="45"/>
                </a:cubicBezTo>
                <a:cubicBezTo>
                  <a:pt x="420" y="48"/>
                  <a:pt x="420" y="48"/>
                  <a:pt x="420" y="48"/>
                </a:cubicBezTo>
                <a:cubicBezTo>
                  <a:pt x="420" y="49"/>
                  <a:pt x="420" y="49"/>
                  <a:pt x="420" y="49"/>
                </a:cubicBezTo>
                <a:cubicBezTo>
                  <a:pt x="420" y="50"/>
                  <a:pt x="420" y="50"/>
                  <a:pt x="420" y="50"/>
                </a:cubicBezTo>
                <a:cubicBezTo>
                  <a:pt x="420" y="51"/>
                  <a:pt x="420" y="51"/>
                  <a:pt x="420" y="51"/>
                </a:cubicBezTo>
                <a:cubicBezTo>
                  <a:pt x="419" y="52"/>
                  <a:pt x="419" y="52"/>
                  <a:pt x="419" y="52"/>
                </a:cubicBezTo>
                <a:cubicBezTo>
                  <a:pt x="419" y="51"/>
                  <a:pt x="419" y="51"/>
                  <a:pt x="419" y="51"/>
                </a:cubicBezTo>
                <a:cubicBezTo>
                  <a:pt x="419" y="51"/>
                  <a:pt x="419" y="51"/>
                  <a:pt x="419" y="51"/>
                </a:cubicBezTo>
                <a:cubicBezTo>
                  <a:pt x="418" y="50"/>
                  <a:pt x="418" y="50"/>
                  <a:pt x="418" y="50"/>
                </a:cubicBezTo>
                <a:cubicBezTo>
                  <a:pt x="418" y="49"/>
                  <a:pt x="418" y="49"/>
                  <a:pt x="418" y="49"/>
                </a:cubicBezTo>
                <a:cubicBezTo>
                  <a:pt x="419" y="47"/>
                  <a:pt x="419" y="47"/>
                  <a:pt x="419" y="47"/>
                </a:cubicBezTo>
                <a:cubicBezTo>
                  <a:pt x="419" y="46"/>
                  <a:pt x="419" y="46"/>
                  <a:pt x="419" y="46"/>
                </a:cubicBezTo>
                <a:cubicBezTo>
                  <a:pt x="419" y="45"/>
                  <a:pt x="419" y="45"/>
                  <a:pt x="419" y="45"/>
                </a:cubicBezTo>
                <a:cubicBezTo>
                  <a:pt x="420" y="45"/>
                  <a:pt x="420" y="45"/>
                  <a:pt x="420" y="45"/>
                </a:cubicBezTo>
                <a:cubicBezTo>
                  <a:pt x="420" y="45"/>
                  <a:pt x="420" y="45"/>
                  <a:pt x="420" y="45"/>
                </a:cubicBezTo>
                <a:cubicBezTo>
                  <a:pt x="420" y="43"/>
                  <a:pt x="420" y="43"/>
                  <a:pt x="420" y="43"/>
                </a:cubicBezTo>
                <a:cubicBezTo>
                  <a:pt x="419" y="42"/>
                  <a:pt x="419" y="42"/>
                  <a:pt x="419" y="42"/>
                </a:cubicBezTo>
                <a:cubicBezTo>
                  <a:pt x="418" y="42"/>
                  <a:pt x="418" y="42"/>
                  <a:pt x="418" y="42"/>
                </a:cubicBezTo>
                <a:cubicBezTo>
                  <a:pt x="417" y="43"/>
                  <a:pt x="417" y="43"/>
                  <a:pt x="417" y="43"/>
                </a:cubicBezTo>
                <a:cubicBezTo>
                  <a:pt x="416" y="44"/>
                  <a:pt x="416" y="44"/>
                  <a:pt x="416" y="44"/>
                </a:cubicBezTo>
                <a:cubicBezTo>
                  <a:pt x="416" y="43"/>
                  <a:pt x="416" y="43"/>
                  <a:pt x="416" y="43"/>
                </a:cubicBezTo>
                <a:cubicBezTo>
                  <a:pt x="416" y="43"/>
                  <a:pt x="416" y="43"/>
                  <a:pt x="416" y="43"/>
                </a:cubicBezTo>
                <a:cubicBezTo>
                  <a:pt x="416" y="41"/>
                  <a:pt x="416" y="41"/>
                  <a:pt x="416" y="41"/>
                </a:cubicBezTo>
                <a:cubicBezTo>
                  <a:pt x="415" y="39"/>
                  <a:pt x="415" y="39"/>
                  <a:pt x="415" y="39"/>
                </a:cubicBezTo>
                <a:cubicBezTo>
                  <a:pt x="415" y="36"/>
                  <a:pt x="415" y="36"/>
                  <a:pt x="415" y="36"/>
                </a:cubicBezTo>
                <a:cubicBezTo>
                  <a:pt x="415" y="34"/>
                  <a:pt x="415" y="34"/>
                  <a:pt x="415" y="34"/>
                </a:cubicBezTo>
                <a:cubicBezTo>
                  <a:pt x="416" y="33"/>
                  <a:pt x="416" y="33"/>
                  <a:pt x="416" y="33"/>
                </a:cubicBezTo>
                <a:cubicBezTo>
                  <a:pt x="416" y="31"/>
                  <a:pt x="416" y="31"/>
                  <a:pt x="416" y="31"/>
                </a:cubicBezTo>
                <a:cubicBezTo>
                  <a:pt x="416" y="29"/>
                  <a:pt x="416" y="29"/>
                  <a:pt x="416" y="29"/>
                </a:cubicBezTo>
                <a:cubicBezTo>
                  <a:pt x="417" y="27"/>
                  <a:pt x="417" y="27"/>
                  <a:pt x="417" y="27"/>
                </a:cubicBezTo>
                <a:cubicBezTo>
                  <a:pt x="417" y="26"/>
                  <a:pt x="417" y="26"/>
                  <a:pt x="417" y="26"/>
                </a:cubicBezTo>
                <a:cubicBezTo>
                  <a:pt x="416" y="24"/>
                  <a:pt x="416" y="24"/>
                  <a:pt x="416" y="24"/>
                </a:cubicBezTo>
                <a:cubicBezTo>
                  <a:pt x="416" y="23"/>
                  <a:pt x="416" y="23"/>
                  <a:pt x="416" y="23"/>
                </a:cubicBezTo>
                <a:cubicBezTo>
                  <a:pt x="414" y="22"/>
                  <a:pt x="414" y="22"/>
                  <a:pt x="414" y="22"/>
                </a:cubicBezTo>
                <a:cubicBezTo>
                  <a:pt x="413" y="21"/>
                  <a:pt x="413" y="21"/>
                  <a:pt x="413" y="21"/>
                </a:cubicBezTo>
                <a:cubicBezTo>
                  <a:pt x="412" y="20"/>
                  <a:pt x="412" y="20"/>
                  <a:pt x="412" y="20"/>
                </a:cubicBezTo>
                <a:cubicBezTo>
                  <a:pt x="411" y="20"/>
                  <a:pt x="411" y="20"/>
                  <a:pt x="411" y="20"/>
                </a:cubicBezTo>
                <a:cubicBezTo>
                  <a:pt x="411" y="21"/>
                  <a:pt x="411" y="21"/>
                  <a:pt x="411" y="21"/>
                </a:cubicBezTo>
                <a:cubicBezTo>
                  <a:pt x="411" y="21"/>
                  <a:pt x="411" y="21"/>
                  <a:pt x="411" y="21"/>
                </a:cubicBezTo>
                <a:cubicBezTo>
                  <a:pt x="409" y="20"/>
                  <a:pt x="409" y="20"/>
                  <a:pt x="409" y="20"/>
                </a:cubicBezTo>
                <a:cubicBezTo>
                  <a:pt x="408" y="20"/>
                  <a:pt x="408" y="20"/>
                  <a:pt x="408" y="20"/>
                </a:cubicBezTo>
                <a:cubicBezTo>
                  <a:pt x="408" y="21"/>
                  <a:pt x="408" y="21"/>
                  <a:pt x="408" y="21"/>
                </a:cubicBezTo>
                <a:cubicBezTo>
                  <a:pt x="407" y="23"/>
                  <a:pt x="407" y="23"/>
                  <a:pt x="407" y="23"/>
                </a:cubicBezTo>
                <a:cubicBezTo>
                  <a:pt x="408" y="24"/>
                  <a:pt x="408" y="24"/>
                  <a:pt x="408" y="24"/>
                </a:cubicBezTo>
                <a:cubicBezTo>
                  <a:pt x="409" y="24"/>
                  <a:pt x="409" y="24"/>
                  <a:pt x="409" y="24"/>
                </a:cubicBezTo>
                <a:cubicBezTo>
                  <a:pt x="410" y="23"/>
                  <a:pt x="410" y="23"/>
                  <a:pt x="410" y="23"/>
                </a:cubicBezTo>
                <a:cubicBezTo>
                  <a:pt x="411" y="24"/>
                  <a:pt x="411" y="24"/>
                  <a:pt x="411" y="24"/>
                </a:cubicBezTo>
                <a:cubicBezTo>
                  <a:pt x="412" y="25"/>
                  <a:pt x="412" y="25"/>
                  <a:pt x="412" y="25"/>
                </a:cubicBezTo>
                <a:cubicBezTo>
                  <a:pt x="413" y="25"/>
                  <a:pt x="413" y="25"/>
                  <a:pt x="413" y="25"/>
                </a:cubicBezTo>
                <a:cubicBezTo>
                  <a:pt x="413" y="26"/>
                  <a:pt x="413" y="26"/>
                  <a:pt x="413" y="26"/>
                </a:cubicBezTo>
                <a:cubicBezTo>
                  <a:pt x="411" y="28"/>
                  <a:pt x="411" y="28"/>
                  <a:pt x="411" y="28"/>
                </a:cubicBezTo>
                <a:cubicBezTo>
                  <a:pt x="410" y="28"/>
                  <a:pt x="410" y="28"/>
                  <a:pt x="410" y="28"/>
                </a:cubicBezTo>
                <a:cubicBezTo>
                  <a:pt x="409" y="27"/>
                  <a:pt x="409" y="27"/>
                  <a:pt x="409" y="27"/>
                </a:cubicBezTo>
                <a:cubicBezTo>
                  <a:pt x="408" y="27"/>
                  <a:pt x="408" y="27"/>
                  <a:pt x="408" y="27"/>
                </a:cubicBezTo>
                <a:cubicBezTo>
                  <a:pt x="406" y="27"/>
                  <a:pt x="406" y="27"/>
                  <a:pt x="406" y="27"/>
                </a:cubicBezTo>
                <a:cubicBezTo>
                  <a:pt x="407" y="28"/>
                  <a:pt x="407" y="28"/>
                  <a:pt x="407" y="28"/>
                </a:cubicBezTo>
                <a:cubicBezTo>
                  <a:pt x="408" y="28"/>
                  <a:pt x="408" y="28"/>
                  <a:pt x="408" y="28"/>
                </a:cubicBezTo>
                <a:cubicBezTo>
                  <a:pt x="407" y="29"/>
                  <a:pt x="407" y="29"/>
                  <a:pt x="407" y="29"/>
                </a:cubicBezTo>
                <a:cubicBezTo>
                  <a:pt x="406" y="29"/>
                  <a:pt x="406" y="29"/>
                  <a:pt x="406" y="29"/>
                </a:cubicBezTo>
                <a:cubicBezTo>
                  <a:pt x="404" y="28"/>
                  <a:pt x="404" y="28"/>
                  <a:pt x="404" y="28"/>
                </a:cubicBezTo>
                <a:cubicBezTo>
                  <a:pt x="402" y="29"/>
                  <a:pt x="402" y="29"/>
                  <a:pt x="402" y="29"/>
                </a:cubicBezTo>
                <a:cubicBezTo>
                  <a:pt x="402" y="30"/>
                  <a:pt x="402" y="30"/>
                  <a:pt x="402" y="30"/>
                </a:cubicBezTo>
                <a:cubicBezTo>
                  <a:pt x="401" y="31"/>
                  <a:pt x="401" y="31"/>
                  <a:pt x="401" y="31"/>
                </a:cubicBezTo>
                <a:cubicBezTo>
                  <a:pt x="401" y="32"/>
                  <a:pt x="401" y="32"/>
                  <a:pt x="401" y="32"/>
                </a:cubicBezTo>
                <a:cubicBezTo>
                  <a:pt x="402" y="32"/>
                  <a:pt x="402" y="32"/>
                  <a:pt x="402" y="32"/>
                </a:cubicBezTo>
                <a:cubicBezTo>
                  <a:pt x="402" y="34"/>
                  <a:pt x="402" y="34"/>
                  <a:pt x="402" y="34"/>
                </a:cubicBezTo>
                <a:cubicBezTo>
                  <a:pt x="404" y="34"/>
                  <a:pt x="404" y="34"/>
                  <a:pt x="404" y="34"/>
                </a:cubicBezTo>
                <a:cubicBezTo>
                  <a:pt x="404" y="35"/>
                  <a:pt x="404" y="35"/>
                  <a:pt x="404" y="35"/>
                </a:cubicBezTo>
                <a:cubicBezTo>
                  <a:pt x="403" y="35"/>
                  <a:pt x="403" y="35"/>
                  <a:pt x="403" y="35"/>
                </a:cubicBezTo>
                <a:cubicBezTo>
                  <a:pt x="403" y="36"/>
                  <a:pt x="403" y="36"/>
                  <a:pt x="403" y="36"/>
                </a:cubicBezTo>
                <a:cubicBezTo>
                  <a:pt x="403" y="37"/>
                  <a:pt x="403" y="37"/>
                  <a:pt x="403" y="37"/>
                </a:cubicBezTo>
                <a:cubicBezTo>
                  <a:pt x="403" y="37"/>
                  <a:pt x="403" y="37"/>
                  <a:pt x="403" y="37"/>
                </a:cubicBezTo>
                <a:cubicBezTo>
                  <a:pt x="402" y="37"/>
                  <a:pt x="402" y="37"/>
                  <a:pt x="402" y="37"/>
                </a:cubicBezTo>
                <a:cubicBezTo>
                  <a:pt x="402" y="37"/>
                  <a:pt x="402" y="37"/>
                  <a:pt x="402" y="37"/>
                </a:cubicBezTo>
                <a:cubicBezTo>
                  <a:pt x="400" y="37"/>
                  <a:pt x="400" y="37"/>
                  <a:pt x="400" y="37"/>
                </a:cubicBezTo>
                <a:cubicBezTo>
                  <a:pt x="399" y="36"/>
                  <a:pt x="399" y="36"/>
                  <a:pt x="399" y="36"/>
                </a:cubicBezTo>
                <a:cubicBezTo>
                  <a:pt x="398" y="35"/>
                  <a:pt x="398" y="35"/>
                  <a:pt x="398" y="35"/>
                </a:cubicBezTo>
                <a:cubicBezTo>
                  <a:pt x="397" y="36"/>
                  <a:pt x="397" y="36"/>
                  <a:pt x="397" y="36"/>
                </a:cubicBezTo>
                <a:cubicBezTo>
                  <a:pt x="397" y="37"/>
                  <a:pt x="397" y="37"/>
                  <a:pt x="397" y="37"/>
                </a:cubicBezTo>
                <a:cubicBezTo>
                  <a:pt x="398" y="38"/>
                  <a:pt x="398" y="38"/>
                  <a:pt x="398" y="38"/>
                </a:cubicBezTo>
                <a:cubicBezTo>
                  <a:pt x="397" y="39"/>
                  <a:pt x="397" y="39"/>
                  <a:pt x="397" y="39"/>
                </a:cubicBezTo>
                <a:cubicBezTo>
                  <a:pt x="396" y="39"/>
                  <a:pt x="396" y="39"/>
                  <a:pt x="396" y="39"/>
                </a:cubicBezTo>
                <a:cubicBezTo>
                  <a:pt x="396" y="38"/>
                  <a:pt x="396" y="38"/>
                  <a:pt x="396" y="38"/>
                </a:cubicBezTo>
                <a:cubicBezTo>
                  <a:pt x="396" y="37"/>
                  <a:pt x="396" y="37"/>
                  <a:pt x="396" y="37"/>
                </a:cubicBezTo>
                <a:cubicBezTo>
                  <a:pt x="394" y="37"/>
                  <a:pt x="394" y="37"/>
                  <a:pt x="394" y="37"/>
                </a:cubicBezTo>
                <a:cubicBezTo>
                  <a:pt x="394" y="37"/>
                  <a:pt x="394" y="37"/>
                  <a:pt x="394" y="37"/>
                </a:cubicBezTo>
                <a:cubicBezTo>
                  <a:pt x="393" y="36"/>
                  <a:pt x="393" y="36"/>
                  <a:pt x="393" y="36"/>
                </a:cubicBezTo>
                <a:cubicBezTo>
                  <a:pt x="392" y="36"/>
                  <a:pt x="392" y="36"/>
                  <a:pt x="392" y="36"/>
                </a:cubicBezTo>
                <a:cubicBezTo>
                  <a:pt x="392" y="37"/>
                  <a:pt x="392" y="37"/>
                  <a:pt x="392" y="37"/>
                </a:cubicBezTo>
                <a:cubicBezTo>
                  <a:pt x="392" y="38"/>
                  <a:pt x="392" y="38"/>
                  <a:pt x="392" y="38"/>
                </a:cubicBezTo>
                <a:cubicBezTo>
                  <a:pt x="392" y="40"/>
                  <a:pt x="392" y="40"/>
                  <a:pt x="392" y="40"/>
                </a:cubicBezTo>
                <a:cubicBezTo>
                  <a:pt x="393" y="41"/>
                  <a:pt x="393" y="41"/>
                  <a:pt x="393" y="41"/>
                </a:cubicBezTo>
                <a:cubicBezTo>
                  <a:pt x="394" y="42"/>
                  <a:pt x="394" y="42"/>
                  <a:pt x="394" y="42"/>
                </a:cubicBezTo>
                <a:cubicBezTo>
                  <a:pt x="395" y="42"/>
                  <a:pt x="395" y="42"/>
                  <a:pt x="395" y="42"/>
                </a:cubicBezTo>
                <a:cubicBezTo>
                  <a:pt x="396" y="43"/>
                  <a:pt x="396" y="43"/>
                  <a:pt x="396" y="43"/>
                </a:cubicBezTo>
                <a:cubicBezTo>
                  <a:pt x="395" y="43"/>
                  <a:pt x="395" y="43"/>
                  <a:pt x="395" y="43"/>
                </a:cubicBezTo>
                <a:cubicBezTo>
                  <a:pt x="394" y="43"/>
                  <a:pt x="394" y="43"/>
                  <a:pt x="394" y="43"/>
                </a:cubicBezTo>
                <a:cubicBezTo>
                  <a:pt x="395" y="44"/>
                  <a:pt x="395" y="44"/>
                  <a:pt x="395" y="44"/>
                </a:cubicBezTo>
                <a:cubicBezTo>
                  <a:pt x="396" y="45"/>
                  <a:pt x="396" y="45"/>
                  <a:pt x="396" y="45"/>
                </a:cubicBezTo>
                <a:cubicBezTo>
                  <a:pt x="397" y="46"/>
                  <a:pt x="397" y="46"/>
                  <a:pt x="397" y="46"/>
                </a:cubicBezTo>
                <a:cubicBezTo>
                  <a:pt x="399" y="46"/>
                  <a:pt x="399" y="46"/>
                  <a:pt x="399" y="46"/>
                </a:cubicBezTo>
                <a:cubicBezTo>
                  <a:pt x="399" y="45"/>
                  <a:pt x="399" y="45"/>
                  <a:pt x="399" y="45"/>
                </a:cubicBezTo>
                <a:cubicBezTo>
                  <a:pt x="400" y="45"/>
                  <a:pt x="400" y="45"/>
                  <a:pt x="400" y="45"/>
                </a:cubicBezTo>
                <a:cubicBezTo>
                  <a:pt x="400" y="46"/>
                  <a:pt x="400" y="46"/>
                  <a:pt x="400" y="46"/>
                </a:cubicBezTo>
                <a:cubicBezTo>
                  <a:pt x="399" y="46"/>
                  <a:pt x="399" y="46"/>
                  <a:pt x="399" y="46"/>
                </a:cubicBezTo>
                <a:cubicBezTo>
                  <a:pt x="399" y="48"/>
                  <a:pt x="399" y="48"/>
                  <a:pt x="399" y="48"/>
                </a:cubicBezTo>
                <a:cubicBezTo>
                  <a:pt x="398" y="48"/>
                  <a:pt x="398" y="48"/>
                  <a:pt x="398" y="48"/>
                </a:cubicBezTo>
                <a:cubicBezTo>
                  <a:pt x="396" y="47"/>
                  <a:pt x="396" y="47"/>
                  <a:pt x="396" y="47"/>
                </a:cubicBezTo>
                <a:cubicBezTo>
                  <a:pt x="393" y="46"/>
                  <a:pt x="393" y="46"/>
                  <a:pt x="393" y="46"/>
                </a:cubicBezTo>
                <a:cubicBezTo>
                  <a:pt x="392" y="45"/>
                  <a:pt x="392" y="45"/>
                  <a:pt x="392" y="45"/>
                </a:cubicBezTo>
                <a:cubicBezTo>
                  <a:pt x="391" y="44"/>
                  <a:pt x="391" y="44"/>
                  <a:pt x="391" y="44"/>
                </a:cubicBezTo>
                <a:cubicBezTo>
                  <a:pt x="390" y="44"/>
                  <a:pt x="390" y="44"/>
                  <a:pt x="390" y="44"/>
                </a:cubicBezTo>
                <a:cubicBezTo>
                  <a:pt x="390" y="44"/>
                  <a:pt x="390" y="44"/>
                  <a:pt x="390" y="44"/>
                </a:cubicBezTo>
                <a:cubicBezTo>
                  <a:pt x="389" y="45"/>
                  <a:pt x="389" y="45"/>
                  <a:pt x="389" y="45"/>
                </a:cubicBezTo>
                <a:cubicBezTo>
                  <a:pt x="389" y="46"/>
                  <a:pt x="389" y="46"/>
                  <a:pt x="389" y="46"/>
                </a:cubicBezTo>
                <a:cubicBezTo>
                  <a:pt x="389" y="46"/>
                  <a:pt x="389" y="46"/>
                  <a:pt x="389" y="46"/>
                </a:cubicBezTo>
                <a:cubicBezTo>
                  <a:pt x="389" y="48"/>
                  <a:pt x="389" y="48"/>
                  <a:pt x="389" y="48"/>
                </a:cubicBezTo>
                <a:cubicBezTo>
                  <a:pt x="388" y="49"/>
                  <a:pt x="388" y="49"/>
                  <a:pt x="388" y="49"/>
                </a:cubicBezTo>
                <a:cubicBezTo>
                  <a:pt x="388" y="48"/>
                  <a:pt x="388" y="48"/>
                  <a:pt x="388" y="48"/>
                </a:cubicBezTo>
                <a:cubicBezTo>
                  <a:pt x="388" y="50"/>
                  <a:pt x="388" y="50"/>
                  <a:pt x="388" y="50"/>
                </a:cubicBezTo>
                <a:cubicBezTo>
                  <a:pt x="387" y="50"/>
                  <a:pt x="387" y="50"/>
                  <a:pt x="387" y="50"/>
                </a:cubicBezTo>
                <a:cubicBezTo>
                  <a:pt x="387" y="53"/>
                  <a:pt x="387" y="53"/>
                  <a:pt x="387" y="53"/>
                </a:cubicBezTo>
                <a:cubicBezTo>
                  <a:pt x="388" y="54"/>
                  <a:pt x="388" y="54"/>
                  <a:pt x="388" y="54"/>
                </a:cubicBezTo>
                <a:cubicBezTo>
                  <a:pt x="390" y="54"/>
                  <a:pt x="390" y="54"/>
                  <a:pt x="390" y="54"/>
                </a:cubicBezTo>
                <a:cubicBezTo>
                  <a:pt x="391" y="55"/>
                  <a:pt x="391" y="55"/>
                  <a:pt x="391" y="55"/>
                </a:cubicBezTo>
                <a:cubicBezTo>
                  <a:pt x="392" y="54"/>
                  <a:pt x="392" y="54"/>
                  <a:pt x="392" y="54"/>
                </a:cubicBezTo>
                <a:cubicBezTo>
                  <a:pt x="392" y="55"/>
                  <a:pt x="392" y="55"/>
                  <a:pt x="392" y="55"/>
                </a:cubicBezTo>
                <a:cubicBezTo>
                  <a:pt x="391" y="55"/>
                  <a:pt x="391" y="55"/>
                  <a:pt x="391" y="55"/>
                </a:cubicBezTo>
                <a:cubicBezTo>
                  <a:pt x="390" y="55"/>
                  <a:pt x="390" y="55"/>
                  <a:pt x="390" y="55"/>
                </a:cubicBezTo>
                <a:cubicBezTo>
                  <a:pt x="388" y="55"/>
                  <a:pt x="388" y="55"/>
                  <a:pt x="388" y="55"/>
                </a:cubicBezTo>
                <a:cubicBezTo>
                  <a:pt x="387" y="54"/>
                  <a:pt x="387" y="54"/>
                  <a:pt x="387" y="54"/>
                </a:cubicBezTo>
                <a:cubicBezTo>
                  <a:pt x="386" y="55"/>
                  <a:pt x="386" y="55"/>
                  <a:pt x="386" y="55"/>
                </a:cubicBezTo>
                <a:cubicBezTo>
                  <a:pt x="384" y="57"/>
                  <a:pt x="384" y="57"/>
                  <a:pt x="384" y="57"/>
                </a:cubicBezTo>
                <a:cubicBezTo>
                  <a:pt x="384" y="58"/>
                  <a:pt x="384" y="58"/>
                  <a:pt x="384" y="58"/>
                </a:cubicBezTo>
                <a:cubicBezTo>
                  <a:pt x="385" y="59"/>
                  <a:pt x="385" y="59"/>
                  <a:pt x="385" y="59"/>
                </a:cubicBezTo>
                <a:cubicBezTo>
                  <a:pt x="385" y="59"/>
                  <a:pt x="385" y="59"/>
                  <a:pt x="385" y="59"/>
                </a:cubicBezTo>
                <a:cubicBezTo>
                  <a:pt x="384" y="60"/>
                  <a:pt x="384" y="60"/>
                  <a:pt x="384" y="60"/>
                </a:cubicBezTo>
                <a:cubicBezTo>
                  <a:pt x="384" y="61"/>
                  <a:pt x="384" y="61"/>
                  <a:pt x="384" y="61"/>
                </a:cubicBezTo>
                <a:cubicBezTo>
                  <a:pt x="385" y="61"/>
                  <a:pt x="385" y="61"/>
                  <a:pt x="385" y="61"/>
                </a:cubicBezTo>
                <a:cubicBezTo>
                  <a:pt x="385" y="61"/>
                  <a:pt x="385" y="61"/>
                  <a:pt x="385" y="61"/>
                </a:cubicBezTo>
                <a:cubicBezTo>
                  <a:pt x="387" y="61"/>
                  <a:pt x="387" y="61"/>
                  <a:pt x="387" y="61"/>
                </a:cubicBezTo>
                <a:cubicBezTo>
                  <a:pt x="388" y="60"/>
                  <a:pt x="388" y="60"/>
                  <a:pt x="388" y="60"/>
                </a:cubicBezTo>
                <a:cubicBezTo>
                  <a:pt x="389" y="60"/>
                  <a:pt x="389" y="60"/>
                  <a:pt x="389" y="60"/>
                </a:cubicBezTo>
                <a:cubicBezTo>
                  <a:pt x="388" y="61"/>
                  <a:pt x="388" y="61"/>
                  <a:pt x="388" y="61"/>
                </a:cubicBezTo>
                <a:cubicBezTo>
                  <a:pt x="387" y="61"/>
                  <a:pt x="387" y="61"/>
                  <a:pt x="387" y="61"/>
                </a:cubicBezTo>
                <a:cubicBezTo>
                  <a:pt x="387" y="63"/>
                  <a:pt x="387" y="63"/>
                  <a:pt x="387" y="63"/>
                </a:cubicBezTo>
                <a:cubicBezTo>
                  <a:pt x="387" y="63"/>
                  <a:pt x="387" y="63"/>
                  <a:pt x="387" y="63"/>
                </a:cubicBezTo>
                <a:cubicBezTo>
                  <a:pt x="388" y="63"/>
                  <a:pt x="388" y="63"/>
                  <a:pt x="388" y="63"/>
                </a:cubicBezTo>
                <a:cubicBezTo>
                  <a:pt x="389" y="62"/>
                  <a:pt x="389" y="62"/>
                  <a:pt x="389" y="62"/>
                </a:cubicBezTo>
                <a:cubicBezTo>
                  <a:pt x="390" y="62"/>
                  <a:pt x="390" y="62"/>
                  <a:pt x="390" y="62"/>
                </a:cubicBezTo>
                <a:cubicBezTo>
                  <a:pt x="391" y="61"/>
                  <a:pt x="391" y="61"/>
                  <a:pt x="391" y="61"/>
                </a:cubicBezTo>
                <a:cubicBezTo>
                  <a:pt x="391" y="62"/>
                  <a:pt x="391" y="62"/>
                  <a:pt x="391" y="62"/>
                </a:cubicBezTo>
                <a:cubicBezTo>
                  <a:pt x="390" y="63"/>
                  <a:pt x="390" y="63"/>
                  <a:pt x="390" y="63"/>
                </a:cubicBezTo>
                <a:cubicBezTo>
                  <a:pt x="391" y="63"/>
                  <a:pt x="391" y="63"/>
                  <a:pt x="391" y="63"/>
                </a:cubicBezTo>
                <a:cubicBezTo>
                  <a:pt x="393" y="63"/>
                  <a:pt x="393" y="63"/>
                  <a:pt x="393" y="63"/>
                </a:cubicBezTo>
                <a:cubicBezTo>
                  <a:pt x="393" y="64"/>
                  <a:pt x="393" y="64"/>
                  <a:pt x="393" y="64"/>
                </a:cubicBezTo>
                <a:cubicBezTo>
                  <a:pt x="392" y="64"/>
                  <a:pt x="392" y="64"/>
                  <a:pt x="392" y="64"/>
                </a:cubicBezTo>
                <a:cubicBezTo>
                  <a:pt x="392" y="65"/>
                  <a:pt x="392" y="65"/>
                  <a:pt x="392" y="65"/>
                </a:cubicBezTo>
                <a:cubicBezTo>
                  <a:pt x="393" y="65"/>
                  <a:pt x="393" y="65"/>
                  <a:pt x="393" y="65"/>
                </a:cubicBezTo>
                <a:cubicBezTo>
                  <a:pt x="395" y="65"/>
                  <a:pt x="395" y="65"/>
                  <a:pt x="395" y="65"/>
                </a:cubicBezTo>
                <a:cubicBezTo>
                  <a:pt x="396" y="66"/>
                  <a:pt x="396" y="66"/>
                  <a:pt x="396" y="66"/>
                </a:cubicBezTo>
                <a:cubicBezTo>
                  <a:pt x="399" y="67"/>
                  <a:pt x="399" y="67"/>
                  <a:pt x="399" y="67"/>
                </a:cubicBezTo>
                <a:cubicBezTo>
                  <a:pt x="399" y="67"/>
                  <a:pt x="399" y="67"/>
                  <a:pt x="399" y="67"/>
                </a:cubicBezTo>
                <a:cubicBezTo>
                  <a:pt x="397" y="67"/>
                  <a:pt x="397" y="67"/>
                  <a:pt x="397" y="67"/>
                </a:cubicBezTo>
                <a:cubicBezTo>
                  <a:pt x="396" y="67"/>
                  <a:pt x="396" y="67"/>
                  <a:pt x="396" y="67"/>
                </a:cubicBezTo>
                <a:cubicBezTo>
                  <a:pt x="394" y="66"/>
                  <a:pt x="394" y="66"/>
                  <a:pt x="394" y="66"/>
                </a:cubicBezTo>
                <a:cubicBezTo>
                  <a:pt x="392" y="67"/>
                  <a:pt x="392" y="67"/>
                  <a:pt x="392" y="67"/>
                </a:cubicBezTo>
                <a:cubicBezTo>
                  <a:pt x="392" y="67"/>
                  <a:pt x="392" y="67"/>
                  <a:pt x="392" y="67"/>
                </a:cubicBezTo>
                <a:cubicBezTo>
                  <a:pt x="394" y="68"/>
                  <a:pt x="394" y="68"/>
                  <a:pt x="394" y="68"/>
                </a:cubicBezTo>
                <a:cubicBezTo>
                  <a:pt x="396" y="68"/>
                  <a:pt x="396" y="68"/>
                  <a:pt x="396" y="68"/>
                </a:cubicBezTo>
                <a:cubicBezTo>
                  <a:pt x="399" y="68"/>
                  <a:pt x="399" y="68"/>
                  <a:pt x="399" y="68"/>
                </a:cubicBezTo>
                <a:cubicBezTo>
                  <a:pt x="400" y="69"/>
                  <a:pt x="400" y="69"/>
                  <a:pt x="400" y="69"/>
                </a:cubicBezTo>
                <a:cubicBezTo>
                  <a:pt x="397" y="70"/>
                  <a:pt x="397" y="70"/>
                  <a:pt x="397" y="70"/>
                </a:cubicBezTo>
                <a:cubicBezTo>
                  <a:pt x="396" y="69"/>
                  <a:pt x="396" y="69"/>
                  <a:pt x="396" y="69"/>
                </a:cubicBezTo>
                <a:cubicBezTo>
                  <a:pt x="394" y="69"/>
                  <a:pt x="394" y="69"/>
                  <a:pt x="394" y="69"/>
                </a:cubicBezTo>
                <a:cubicBezTo>
                  <a:pt x="392" y="69"/>
                  <a:pt x="392" y="69"/>
                  <a:pt x="392" y="69"/>
                </a:cubicBezTo>
                <a:cubicBezTo>
                  <a:pt x="391" y="68"/>
                  <a:pt x="391" y="68"/>
                  <a:pt x="391" y="68"/>
                </a:cubicBezTo>
                <a:cubicBezTo>
                  <a:pt x="390" y="67"/>
                  <a:pt x="390" y="67"/>
                  <a:pt x="390" y="67"/>
                </a:cubicBezTo>
                <a:cubicBezTo>
                  <a:pt x="388" y="66"/>
                  <a:pt x="388" y="66"/>
                  <a:pt x="388" y="66"/>
                </a:cubicBezTo>
                <a:cubicBezTo>
                  <a:pt x="388" y="66"/>
                  <a:pt x="388" y="66"/>
                  <a:pt x="388" y="66"/>
                </a:cubicBezTo>
                <a:cubicBezTo>
                  <a:pt x="387" y="67"/>
                  <a:pt x="387" y="67"/>
                  <a:pt x="387" y="67"/>
                </a:cubicBezTo>
                <a:cubicBezTo>
                  <a:pt x="385" y="67"/>
                  <a:pt x="385" y="67"/>
                  <a:pt x="385" y="67"/>
                </a:cubicBezTo>
                <a:cubicBezTo>
                  <a:pt x="384" y="68"/>
                  <a:pt x="384" y="68"/>
                  <a:pt x="384" y="68"/>
                </a:cubicBezTo>
                <a:cubicBezTo>
                  <a:pt x="384" y="70"/>
                  <a:pt x="384" y="70"/>
                  <a:pt x="384" y="70"/>
                </a:cubicBezTo>
                <a:cubicBezTo>
                  <a:pt x="385" y="72"/>
                  <a:pt x="385" y="72"/>
                  <a:pt x="385" y="72"/>
                </a:cubicBezTo>
                <a:cubicBezTo>
                  <a:pt x="385" y="73"/>
                  <a:pt x="385" y="73"/>
                  <a:pt x="385" y="73"/>
                </a:cubicBezTo>
                <a:cubicBezTo>
                  <a:pt x="385" y="74"/>
                  <a:pt x="385" y="74"/>
                  <a:pt x="385" y="74"/>
                </a:cubicBezTo>
                <a:cubicBezTo>
                  <a:pt x="384" y="72"/>
                  <a:pt x="384" y="72"/>
                  <a:pt x="384" y="72"/>
                </a:cubicBezTo>
                <a:cubicBezTo>
                  <a:pt x="383" y="72"/>
                  <a:pt x="383" y="72"/>
                  <a:pt x="383" y="72"/>
                </a:cubicBezTo>
                <a:cubicBezTo>
                  <a:pt x="382" y="74"/>
                  <a:pt x="382" y="74"/>
                  <a:pt x="382" y="74"/>
                </a:cubicBezTo>
                <a:cubicBezTo>
                  <a:pt x="382" y="76"/>
                  <a:pt x="382" y="76"/>
                  <a:pt x="382" y="76"/>
                </a:cubicBezTo>
                <a:cubicBezTo>
                  <a:pt x="383" y="76"/>
                  <a:pt x="383" y="76"/>
                  <a:pt x="383" y="76"/>
                </a:cubicBezTo>
                <a:cubicBezTo>
                  <a:pt x="384" y="76"/>
                  <a:pt x="384" y="76"/>
                  <a:pt x="384" y="76"/>
                </a:cubicBezTo>
                <a:cubicBezTo>
                  <a:pt x="385" y="76"/>
                  <a:pt x="385" y="76"/>
                  <a:pt x="385" y="76"/>
                </a:cubicBezTo>
                <a:cubicBezTo>
                  <a:pt x="385" y="77"/>
                  <a:pt x="385" y="77"/>
                  <a:pt x="385" y="77"/>
                </a:cubicBezTo>
                <a:cubicBezTo>
                  <a:pt x="386" y="77"/>
                  <a:pt x="386" y="77"/>
                  <a:pt x="386" y="77"/>
                </a:cubicBezTo>
                <a:cubicBezTo>
                  <a:pt x="385" y="78"/>
                  <a:pt x="385" y="78"/>
                  <a:pt x="385" y="78"/>
                </a:cubicBezTo>
                <a:cubicBezTo>
                  <a:pt x="385" y="78"/>
                  <a:pt x="385" y="78"/>
                  <a:pt x="385" y="78"/>
                </a:cubicBezTo>
                <a:cubicBezTo>
                  <a:pt x="384" y="77"/>
                  <a:pt x="384" y="77"/>
                  <a:pt x="384" y="77"/>
                </a:cubicBezTo>
                <a:cubicBezTo>
                  <a:pt x="382" y="77"/>
                  <a:pt x="382" y="77"/>
                  <a:pt x="382" y="77"/>
                </a:cubicBezTo>
                <a:cubicBezTo>
                  <a:pt x="382" y="79"/>
                  <a:pt x="382" y="79"/>
                  <a:pt x="382" y="79"/>
                </a:cubicBezTo>
                <a:cubicBezTo>
                  <a:pt x="382" y="80"/>
                  <a:pt x="382" y="80"/>
                  <a:pt x="382" y="80"/>
                </a:cubicBezTo>
                <a:cubicBezTo>
                  <a:pt x="383" y="80"/>
                  <a:pt x="383" y="80"/>
                  <a:pt x="383" y="80"/>
                </a:cubicBezTo>
                <a:cubicBezTo>
                  <a:pt x="383" y="81"/>
                  <a:pt x="383" y="81"/>
                  <a:pt x="383" y="81"/>
                </a:cubicBezTo>
                <a:cubicBezTo>
                  <a:pt x="383" y="83"/>
                  <a:pt x="383" y="83"/>
                  <a:pt x="383" y="83"/>
                </a:cubicBezTo>
                <a:cubicBezTo>
                  <a:pt x="383" y="83"/>
                  <a:pt x="383" y="83"/>
                  <a:pt x="383" y="83"/>
                </a:cubicBezTo>
                <a:cubicBezTo>
                  <a:pt x="384" y="83"/>
                  <a:pt x="384" y="83"/>
                  <a:pt x="384" y="83"/>
                </a:cubicBezTo>
                <a:cubicBezTo>
                  <a:pt x="384" y="85"/>
                  <a:pt x="384" y="85"/>
                  <a:pt x="384" y="85"/>
                </a:cubicBezTo>
                <a:cubicBezTo>
                  <a:pt x="386" y="85"/>
                  <a:pt x="386" y="85"/>
                  <a:pt x="386" y="85"/>
                </a:cubicBezTo>
                <a:cubicBezTo>
                  <a:pt x="389" y="87"/>
                  <a:pt x="389" y="87"/>
                  <a:pt x="389" y="87"/>
                </a:cubicBezTo>
                <a:cubicBezTo>
                  <a:pt x="390" y="87"/>
                  <a:pt x="390" y="87"/>
                  <a:pt x="390" y="87"/>
                </a:cubicBezTo>
                <a:cubicBezTo>
                  <a:pt x="390" y="86"/>
                  <a:pt x="390" y="86"/>
                  <a:pt x="390" y="86"/>
                </a:cubicBezTo>
                <a:cubicBezTo>
                  <a:pt x="390" y="84"/>
                  <a:pt x="390" y="84"/>
                  <a:pt x="390" y="84"/>
                </a:cubicBezTo>
                <a:cubicBezTo>
                  <a:pt x="392" y="85"/>
                  <a:pt x="392" y="85"/>
                  <a:pt x="392" y="85"/>
                </a:cubicBezTo>
                <a:cubicBezTo>
                  <a:pt x="392" y="86"/>
                  <a:pt x="392" y="86"/>
                  <a:pt x="392" y="86"/>
                </a:cubicBezTo>
                <a:cubicBezTo>
                  <a:pt x="392" y="87"/>
                  <a:pt x="392" y="87"/>
                  <a:pt x="392" y="87"/>
                </a:cubicBezTo>
                <a:cubicBezTo>
                  <a:pt x="392" y="88"/>
                  <a:pt x="392" y="88"/>
                  <a:pt x="392" y="88"/>
                </a:cubicBezTo>
                <a:cubicBezTo>
                  <a:pt x="392" y="88"/>
                  <a:pt x="392" y="88"/>
                  <a:pt x="392" y="88"/>
                </a:cubicBezTo>
                <a:cubicBezTo>
                  <a:pt x="393" y="85"/>
                  <a:pt x="393" y="85"/>
                  <a:pt x="393" y="85"/>
                </a:cubicBezTo>
                <a:cubicBezTo>
                  <a:pt x="393" y="82"/>
                  <a:pt x="393" y="82"/>
                  <a:pt x="393" y="82"/>
                </a:cubicBezTo>
                <a:cubicBezTo>
                  <a:pt x="394" y="81"/>
                  <a:pt x="394" y="81"/>
                  <a:pt x="394" y="81"/>
                </a:cubicBezTo>
                <a:cubicBezTo>
                  <a:pt x="395" y="79"/>
                  <a:pt x="395" y="79"/>
                  <a:pt x="395" y="79"/>
                </a:cubicBezTo>
                <a:cubicBezTo>
                  <a:pt x="396" y="78"/>
                  <a:pt x="396" y="78"/>
                  <a:pt x="396" y="78"/>
                </a:cubicBezTo>
                <a:cubicBezTo>
                  <a:pt x="396" y="79"/>
                  <a:pt x="396" y="79"/>
                  <a:pt x="396" y="79"/>
                </a:cubicBezTo>
                <a:cubicBezTo>
                  <a:pt x="394" y="82"/>
                  <a:pt x="394" y="82"/>
                  <a:pt x="394" y="82"/>
                </a:cubicBezTo>
                <a:cubicBezTo>
                  <a:pt x="394" y="83"/>
                  <a:pt x="394" y="83"/>
                  <a:pt x="394" y="83"/>
                </a:cubicBezTo>
                <a:cubicBezTo>
                  <a:pt x="394" y="85"/>
                  <a:pt x="394" y="85"/>
                  <a:pt x="394" y="85"/>
                </a:cubicBezTo>
                <a:cubicBezTo>
                  <a:pt x="394" y="87"/>
                  <a:pt x="394" y="87"/>
                  <a:pt x="394" y="87"/>
                </a:cubicBezTo>
                <a:cubicBezTo>
                  <a:pt x="395" y="88"/>
                  <a:pt x="395" y="88"/>
                  <a:pt x="395" y="88"/>
                </a:cubicBezTo>
                <a:cubicBezTo>
                  <a:pt x="394" y="89"/>
                  <a:pt x="394" y="89"/>
                  <a:pt x="394" y="89"/>
                </a:cubicBezTo>
                <a:cubicBezTo>
                  <a:pt x="395" y="89"/>
                  <a:pt x="395" y="89"/>
                  <a:pt x="395" y="89"/>
                </a:cubicBezTo>
                <a:close/>
                <a:moveTo>
                  <a:pt x="398" y="34"/>
                </a:moveTo>
                <a:cubicBezTo>
                  <a:pt x="398" y="34"/>
                  <a:pt x="398" y="34"/>
                  <a:pt x="398" y="34"/>
                </a:cubicBezTo>
                <a:cubicBezTo>
                  <a:pt x="399" y="34"/>
                  <a:pt x="399" y="34"/>
                  <a:pt x="399" y="34"/>
                </a:cubicBezTo>
                <a:cubicBezTo>
                  <a:pt x="399" y="34"/>
                  <a:pt x="399" y="34"/>
                  <a:pt x="399" y="34"/>
                </a:cubicBezTo>
                <a:cubicBezTo>
                  <a:pt x="400" y="34"/>
                  <a:pt x="400" y="34"/>
                  <a:pt x="400" y="34"/>
                </a:cubicBezTo>
                <a:cubicBezTo>
                  <a:pt x="400" y="35"/>
                  <a:pt x="400" y="35"/>
                  <a:pt x="400" y="35"/>
                </a:cubicBezTo>
                <a:cubicBezTo>
                  <a:pt x="400" y="35"/>
                  <a:pt x="400" y="35"/>
                  <a:pt x="400" y="35"/>
                </a:cubicBezTo>
                <a:cubicBezTo>
                  <a:pt x="399" y="35"/>
                  <a:pt x="399" y="35"/>
                  <a:pt x="399" y="35"/>
                </a:cubicBezTo>
                <a:cubicBezTo>
                  <a:pt x="398" y="34"/>
                  <a:pt x="398" y="34"/>
                  <a:pt x="398" y="34"/>
                </a:cubicBezTo>
                <a:cubicBezTo>
                  <a:pt x="398" y="34"/>
                  <a:pt x="398" y="34"/>
                  <a:pt x="398" y="34"/>
                </a:cubicBezTo>
                <a:close/>
                <a:moveTo>
                  <a:pt x="399" y="89"/>
                </a:moveTo>
                <a:cubicBezTo>
                  <a:pt x="399" y="88"/>
                  <a:pt x="399" y="88"/>
                  <a:pt x="399" y="88"/>
                </a:cubicBezTo>
                <a:cubicBezTo>
                  <a:pt x="400" y="87"/>
                  <a:pt x="400" y="87"/>
                  <a:pt x="400" y="87"/>
                </a:cubicBezTo>
                <a:cubicBezTo>
                  <a:pt x="400" y="86"/>
                  <a:pt x="400" y="86"/>
                  <a:pt x="400" y="86"/>
                </a:cubicBezTo>
                <a:cubicBezTo>
                  <a:pt x="401" y="86"/>
                  <a:pt x="401" y="86"/>
                  <a:pt x="401" y="86"/>
                </a:cubicBezTo>
                <a:cubicBezTo>
                  <a:pt x="401" y="86"/>
                  <a:pt x="401" y="86"/>
                  <a:pt x="401" y="86"/>
                </a:cubicBezTo>
                <a:cubicBezTo>
                  <a:pt x="401" y="87"/>
                  <a:pt x="401" y="87"/>
                  <a:pt x="401" y="87"/>
                </a:cubicBezTo>
                <a:cubicBezTo>
                  <a:pt x="400" y="87"/>
                  <a:pt x="400" y="87"/>
                  <a:pt x="400" y="87"/>
                </a:cubicBezTo>
                <a:cubicBezTo>
                  <a:pt x="399" y="89"/>
                  <a:pt x="399" y="89"/>
                  <a:pt x="399" y="89"/>
                </a:cubicBezTo>
                <a:cubicBezTo>
                  <a:pt x="399" y="89"/>
                  <a:pt x="399" y="89"/>
                  <a:pt x="399" y="89"/>
                </a:cubicBezTo>
                <a:close/>
                <a:moveTo>
                  <a:pt x="412" y="77"/>
                </a:moveTo>
                <a:cubicBezTo>
                  <a:pt x="413" y="75"/>
                  <a:pt x="413" y="75"/>
                  <a:pt x="413" y="75"/>
                </a:cubicBezTo>
                <a:cubicBezTo>
                  <a:pt x="414" y="75"/>
                  <a:pt x="414" y="75"/>
                  <a:pt x="414" y="75"/>
                </a:cubicBezTo>
                <a:cubicBezTo>
                  <a:pt x="415" y="74"/>
                  <a:pt x="415" y="74"/>
                  <a:pt x="415" y="74"/>
                </a:cubicBezTo>
                <a:cubicBezTo>
                  <a:pt x="416" y="75"/>
                  <a:pt x="416" y="75"/>
                  <a:pt x="416" y="75"/>
                </a:cubicBezTo>
                <a:cubicBezTo>
                  <a:pt x="418" y="76"/>
                  <a:pt x="418" y="76"/>
                  <a:pt x="418" y="76"/>
                </a:cubicBezTo>
                <a:cubicBezTo>
                  <a:pt x="417" y="77"/>
                  <a:pt x="417" y="77"/>
                  <a:pt x="417" y="77"/>
                </a:cubicBezTo>
                <a:cubicBezTo>
                  <a:pt x="415" y="76"/>
                  <a:pt x="415" y="76"/>
                  <a:pt x="415" y="76"/>
                </a:cubicBezTo>
                <a:cubicBezTo>
                  <a:pt x="414" y="77"/>
                  <a:pt x="414" y="77"/>
                  <a:pt x="414" y="77"/>
                </a:cubicBezTo>
                <a:cubicBezTo>
                  <a:pt x="413" y="78"/>
                  <a:pt x="413" y="78"/>
                  <a:pt x="413" y="78"/>
                </a:cubicBezTo>
                <a:cubicBezTo>
                  <a:pt x="412" y="77"/>
                  <a:pt x="412" y="77"/>
                  <a:pt x="412" y="77"/>
                </a:cubicBezTo>
                <a:cubicBezTo>
                  <a:pt x="412" y="77"/>
                  <a:pt x="412" y="77"/>
                  <a:pt x="412" y="77"/>
                </a:cubicBezTo>
                <a:close/>
                <a:moveTo>
                  <a:pt x="506" y="3"/>
                </a:moveTo>
                <a:cubicBezTo>
                  <a:pt x="507" y="2"/>
                  <a:pt x="507" y="2"/>
                  <a:pt x="507" y="2"/>
                </a:cubicBezTo>
                <a:cubicBezTo>
                  <a:pt x="507" y="2"/>
                  <a:pt x="507" y="2"/>
                  <a:pt x="507" y="2"/>
                </a:cubicBezTo>
                <a:cubicBezTo>
                  <a:pt x="508" y="3"/>
                  <a:pt x="508" y="3"/>
                  <a:pt x="508" y="3"/>
                </a:cubicBezTo>
                <a:cubicBezTo>
                  <a:pt x="507" y="3"/>
                  <a:pt x="507" y="3"/>
                  <a:pt x="507" y="3"/>
                </a:cubicBezTo>
                <a:cubicBezTo>
                  <a:pt x="506" y="3"/>
                  <a:pt x="506" y="3"/>
                  <a:pt x="506" y="3"/>
                </a:cubicBezTo>
                <a:close/>
                <a:moveTo>
                  <a:pt x="461" y="91"/>
                </a:moveTo>
                <a:cubicBezTo>
                  <a:pt x="460" y="92"/>
                  <a:pt x="460" y="92"/>
                  <a:pt x="460" y="92"/>
                </a:cubicBezTo>
                <a:cubicBezTo>
                  <a:pt x="461" y="93"/>
                  <a:pt x="461" y="93"/>
                  <a:pt x="461" y="93"/>
                </a:cubicBezTo>
                <a:cubicBezTo>
                  <a:pt x="462" y="93"/>
                  <a:pt x="462" y="93"/>
                  <a:pt x="462" y="93"/>
                </a:cubicBezTo>
                <a:cubicBezTo>
                  <a:pt x="462" y="92"/>
                  <a:pt x="462" y="92"/>
                  <a:pt x="462" y="92"/>
                </a:cubicBezTo>
                <a:cubicBezTo>
                  <a:pt x="461" y="91"/>
                  <a:pt x="461" y="91"/>
                  <a:pt x="461" y="91"/>
                </a:cubicBezTo>
                <a:cubicBezTo>
                  <a:pt x="461" y="91"/>
                  <a:pt x="461" y="91"/>
                  <a:pt x="461" y="91"/>
                </a:cubicBezTo>
                <a:close/>
                <a:moveTo>
                  <a:pt x="438" y="105"/>
                </a:moveTo>
                <a:cubicBezTo>
                  <a:pt x="439" y="106"/>
                  <a:pt x="439" y="106"/>
                  <a:pt x="439" y="106"/>
                </a:cubicBezTo>
                <a:cubicBezTo>
                  <a:pt x="440" y="106"/>
                  <a:pt x="440" y="106"/>
                  <a:pt x="440" y="106"/>
                </a:cubicBezTo>
                <a:cubicBezTo>
                  <a:pt x="439" y="105"/>
                  <a:pt x="439" y="105"/>
                  <a:pt x="439" y="105"/>
                </a:cubicBezTo>
                <a:cubicBezTo>
                  <a:pt x="438" y="105"/>
                  <a:pt x="438" y="105"/>
                  <a:pt x="438" y="105"/>
                </a:cubicBezTo>
                <a:close/>
                <a:moveTo>
                  <a:pt x="406" y="105"/>
                </a:moveTo>
                <a:cubicBezTo>
                  <a:pt x="406" y="103"/>
                  <a:pt x="406" y="103"/>
                  <a:pt x="406" y="103"/>
                </a:cubicBezTo>
                <a:cubicBezTo>
                  <a:pt x="406" y="103"/>
                  <a:pt x="406" y="103"/>
                  <a:pt x="406" y="103"/>
                </a:cubicBezTo>
                <a:cubicBezTo>
                  <a:pt x="406" y="102"/>
                  <a:pt x="406" y="102"/>
                  <a:pt x="406" y="102"/>
                </a:cubicBezTo>
                <a:cubicBezTo>
                  <a:pt x="407" y="103"/>
                  <a:pt x="407" y="103"/>
                  <a:pt x="407" y="103"/>
                </a:cubicBezTo>
                <a:cubicBezTo>
                  <a:pt x="407" y="104"/>
                  <a:pt x="407" y="104"/>
                  <a:pt x="407" y="104"/>
                </a:cubicBezTo>
                <a:cubicBezTo>
                  <a:pt x="407" y="105"/>
                  <a:pt x="407" y="105"/>
                  <a:pt x="407" y="105"/>
                </a:cubicBezTo>
                <a:cubicBezTo>
                  <a:pt x="406" y="105"/>
                  <a:pt x="406" y="105"/>
                  <a:pt x="406" y="105"/>
                </a:cubicBezTo>
                <a:close/>
                <a:moveTo>
                  <a:pt x="397" y="124"/>
                </a:moveTo>
                <a:cubicBezTo>
                  <a:pt x="397" y="123"/>
                  <a:pt x="397" y="123"/>
                  <a:pt x="397" y="123"/>
                </a:cubicBezTo>
                <a:cubicBezTo>
                  <a:pt x="397" y="122"/>
                  <a:pt x="397" y="122"/>
                  <a:pt x="397" y="122"/>
                </a:cubicBezTo>
                <a:cubicBezTo>
                  <a:pt x="397" y="120"/>
                  <a:pt x="397" y="120"/>
                  <a:pt x="397" y="120"/>
                </a:cubicBezTo>
                <a:cubicBezTo>
                  <a:pt x="396" y="120"/>
                  <a:pt x="396" y="120"/>
                  <a:pt x="396" y="120"/>
                </a:cubicBezTo>
                <a:cubicBezTo>
                  <a:pt x="396" y="120"/>
                  <a:pt x="396" y="120"/>
                  <a:pt x="396" y="120"/>
                </a:cubicBezTo>
                <a:cubicBezTo>
                  <a:pt x="395" y="122"/>
                  <a:pt x="395" y="122"/>
                  <a:pt x="395" y="122"/>
                </a:cubicBezTo>
                <a:cubicBezTo>
                  <a:pt x="396" y="124"/>
                  <a:pt x="396" y="124"/>
                  <a:pt x="396" y="124"/>
                </a:cubicBezTo>
                <a:cubicBezTo>
                  <a:pt x="397" y="125"/>
                  <a:pt x="397" y="125"/>
                  <a:pt x="397" y="125"/>
                </a:cubicBezTo>
                <a:cubicBezTo>
                  <a:pt x="396" y="126"/>
                  <a:pt x="396" y="126"/>
                  <a:pt x="396" y="126"/>
                </a:cubicBezTo>
                <a:cubicBezTo>
                  <a:pt x="396" y="126"/>
                  <a:pt x="396" y="126"/>
                  <a:pt x="396" y="126"/>
                </a:cubicBezTo>
                <a:cubicBezTo>
                  <a:pt x="395" y="126"/>
                  <a:pt x="395" y="126"/>
                  <a:pt x="395" y="126"/>
                </a:cubicBezTo>
                <a:cubicBezTo>
                  <a:pt x="393" y="126"/>
                  <a:pt x="393" y="126"/>
                  <a:pt x="393" y="126"/>
                </a:cubicBezTo>
                <a:cubicBezTo>
                  <a:pt x="392" y="125"/>
                  <a:pt x="392" y="125"/>
                  <a:pt x="392" y="125"/>
                </a:cubicBezTo>
                <a:cubicBezTo>
                  <a:pt x="392" y="125"/>
                  <a:pt x="392" y="125"/>
                  <a:pt x="392" y="125"/>
                </a:cubicBezTo>
                <a:cubicBezTo>
                  <a:pt x="390" y="124"/>
                  <a:pt x="390" y="124"/>
                  <a:pt x="390" y="124"/>
                </a:cubicBezTo>
                <a:cubicBezTo>
                  <a:pt x="389" y="124"/>
                  <a:pt x="389" y="124"/>
                  <a:pt x="389" y="124"/>
                </a:cubicBezTo>
                <a:cubicBezTo>
                  <a:pt x="389" y="123"/>
                  <a:pt x="389" y="123"/>
                  <a:pt x="389" y="123"/>
                </a:cubicBezTo>
                <a:cubicBezTo>
                  <a:pt x="388" y="123"/>
                  <a:pt x="388" y="123"/>
                  <a:pt x="388" y="123"/>
                </a:cubicBezTo>
                <a:cubicBezTo>
                  <a:pt x="388" y="123"/>
                  <a:pt x="388" y="123"/>
                  <a:pt x="388" y="123"/>
                </a:cubicBezTo>
                <a:cubicBezTo>
                  <a:pt x="388" y="122"/>
                  <a:pt x="388" y="122"/>
                  <a:pt x="388" y="122"/>
                </a:cubicBezTo>
                <a:cubicBezTo>
                  <a:pt x="388" y="121"/>
                  <a:pt x="388" y="121"/>
                  <a:pt x="388" y="121"/>
                </a:cubicBezTo>
                <a:cubicBezTo>
                  <a:pt x="389" y="121"/>
                  <a:pt x="389" y="121"/>
                  <a:pt x="389" y="121"/>
                </a:cubicBezTo>
                <a:cubicBezTo>
                  <a:pt x="389" y="120"/>
                  <a:pt x="389" y="120"/>
                  <a:pt x="389" y="120"/>
                </a:cubicBezTo>
                <a:cubicBezTo>
                  <a:pt x="389" y="119"/>
                  <a:pt x="389" y="119"/>
                  <a:pt x="389" y="119"/>
                </a:cubicBezTo>
                <a:cubicBezTo>
                  <a:pt x="389" y="117"/>
                  <a:pt x="389" y="117"/>
                  <a:pt x="389" y="117"/>
                </a:cubicBezTo>
                <a:cubicBezTo>
                  <a:pt x="388" y="117"/>
                  <a:pt x="388" y="117"/>
                  <a:pt x="388" y="117"/>
                </a:cubicBezTo>
                <a:cubicBezTo>
                  <a:pt x="388" y="118"/>
                  <a:pt x="388" y="118"/>
                  <a:pt x="388" y="118"/>
                </a:cubicBezTo>
                <a:cubicBezTo>
                  <a:pt x="389" y="119"/>
                  <a:pt x="389" y="119"/>
                  <a:pt x="389" y="119"/>
                </a:cubicBezTo>
                <a:cubicBezTo>
                  <a:pt x="389" y="120"/>
                  <a:pt x="389" y="120"/>
                  <a:pt x="389" y="120"/>
                </a:cubicBezTo>
                <a:cubicBezTo>
                  <a:pt x="388" y="120"/>
                  <a:pt x="388" y="120"/>
                  <a:pt x="388" y="120"/>
                </a:cubicBezTo>
                <a:cubicBezTo>
                  <a:pt x="387" y="120"/>
                  <a:pt x="387" y="120"/>
                  <a:pt x="387" y="120"/>
                </a:cubicBezTo>
                <a:cubicBezTo>
                  <a:pt x="387" y="121"/>
                  <a:pt x="387" y="121"/>
                  <a:pt x="387" y="121"/>
                </a:cubicBezTo>
                <a:cubicBezTo>
                  <a:pt x="387" y="121"/>
                  <a:pt x="387" y="121"/>
                  <a:pt x="387" y="121"/>
                </a:cubicBezTo>
                <a:cubicBezTo>
                  <a:pt x="387" y="122"/>
                  <a:pt x="387" y="122"/>
                  <a:pt x="387" y="122"/>
                </a:cubicBezTo>
                <a:cubicBezTo>
                  <a:pt x="387" y="122"/>
                  <a:pt x="387" y="122"/>
                  <a:pt x="387" y="122"/>
                </a:cubicBezTo>
                <a:cubicBezTo>
                  <a:pt x="386" y="122"/>
                  <a:pt x="386" y="122"/>
                  <a:pt x="386" y="122"/>
                </a:cubicBezTo>
                <a:cubicBezTo>
                  <a:pt x="385" y="121"/>
                  <a:pt x="385" y="121"/>
                  <a:pt x="385" y="121"/>
                </a:cubicBezTo>
                <a:cubicBezTo>
                  <a:pt x="385" y="120"/>
                  <a:pt x="385" y="120"/>
                  <a:pt x="385" y="120"/>
                </a:cubicBezTo>
                <a:cubicBezTo>
                  <a:pt x="385" y="119"/>
                  <a:pt x="385" y="119"/>
                  <a:pt x="385" y="119"/>
                </a:cubicBezTo>
                <a:cubicBezTo>
                  <a:pt x="386" y="118"/>
                  <a:pt x="386" y="118"/>
                  <a:pt x="386" y="118"/>
                </a:cubicBezTo>
                <a:cubicBezTo>
                  <a:pt x="385" y="117"/>
                  <a:pt x="385" y="117"/>
                  <a:pt x="385" y="117"/>
                </a:cubicBezTo>
                <a:cubicBezTo>
                  <a:pt x="385" y="117"/>
                  <a:pt x="385" y="117"/>
                  <a:pt x="385" y="117"/>
                </a:cubicBezTo>
                <a:cubicBezTo>
                  <a:pt x="385" y="117"/>
                  <a:pt x="385" y="117"/>
                  <a:pt x="385" y="117"/>
                </a:cubicBezTo>
                <a:cubicBezTo>
                  <a:pt x="385" y="118"/>
                  <a:pt x="385" y="118"/>
                  <a:pt x="385" y="118"/>
                </a:cubicBezTo>
                <a:cubicBezTo>
                  <a:pt x="384" y="119"/>
                  <a:pt x="384" y="119"/>
                  <a:pt x="384" y="119"/>
                </a:cubicBezTo>
                <a:cubicBezTo>
                  <a:pt x="384" y="120"/>
                  <a:pt x="384" y="120"/>
                  <a:pt x="384" y="120"/>
                </a:cubicBezTo>
                <a:cubicBezTo>
                  <a:pt x="384" y="121"/>
                  <a:pt x="384" y="121"/>
                  <a:pt x="384" y="121"/>
                </a:cubicBezTo>
                <a:cubicBezTo>
                  <a:pt x="383" y="121"/>
                  <a:pt x="383" y="121"/>
                  <a:pt x="383" y="121"/>
                </a:cubicBezTo>
                <a:cubicBezTo>
                  <a:pt x="382" y="120"/>
                  <a:pt x="382" y="120"/>
                  <a:pt x="382" y="120"/>
                </a:cubicBezTo>
                <a:cubicBezTo>
                  <a:pt x="381" y="120"/>
                  <a:pt x="381" y="120"/>
                  <a:pt x="381" y="120"/>
                </a:cubicBezTo>
                <a:cubicBezTo>
                  <a:pt x="381" y="119"/>
                  <a:pt x="381" y="119"/>
                  <a:pt x="381" y="119"/>
                </a:cubicBezTo>
                <a:cubicBezTo>
                  <a:pt x="381" y="118"/>
                  <a:pt x="381" y="118"/>
                  <a:pt x="381" y="118"/>
                </a:cubicBezTo>
                <a:cubicBezTo>
                  <a:pt x="382" y="117"/>
                  <a:pt x="382" y="117"/>
                  <a:pt x="382" y="117"/>
                </a:cubicBezTo>
                <a:cubicBezTo>
                  <a:pt x="382" y="116"/>
                  <a:pt x="382" y="116"/>
                  <a:pt x="382" y="116"/>
                </a:cubicBezTo>
                <a:cubicBezTo>
                  <a:pt x="382" y="115"/>
                  <a:pt x="382" y="115"/>
                  <a:pt x="382" y="115"/>
                </a:cubicBezTo>
                <a:cubicBezTo>
                  <a:pt x="383" y="113"/>
                  <a:pt x="383" y="113"/>
                  <a:pt x="383" y="113"/>
                </a:cubicBezTo>
                <a:cubicBezTo>
                  <a:pt x="382" y="113"/>
                  <a:pt x="382" y="113"/>
                  <a:pt x="382" y="113"/>
                </a:cubicBezTo>
                <a:cubicBezTo>
                  <a:pt x="382" y="114"/>
                  <a:pt x="382" y="114"/>
                  <a:pt x="382" y="114"/>
                </a:cubicBezTo>
                <a:cubicBezTo>
                  <a:pt x="381" y="116"/>
                  <a:pt x="381" y="116"/>
                  <a:pt x="381" y="116"/>
                </a:cubicBezTo>
                <a:cubicBezTo>
                  <a:pt x="381" y="118"/>
                  <a:pt x="381" y="118"/>
                  <a:pt x="381" y="118"/>
                </a:cubicBezTo>
                <a:cubicBezTo>
                  <a:pt x="380" y="119"/>
                  <a:pt x="380" y="119"/>
                  <a:pt x="380" y="119"/>
                </a:cubicBezTo>
                <a:cubicBezTo>
                  <a:pt x="380" y="119"/>
                  <a:pt x="380" y="119"/>
                  <a:pt x="380" y="119"/>
                </a:cubicBezTo>
                <a:cubicBezTo>
                  <a:pt x="380" y="117"/>
                  <a:pt x="380" y="117"/>
                  <a:pt x="380" y="117"/>
                </a:cubicBezTo>
                <a:cubicBezTo>
                  <a:pt x="380" y="117"/>
                  <a:pt x="380" y="117"/>
                  <a:pt x="380" y="117"/>
                </a:cubicBezTo>
                <a:cubicBezTo>
                  <a:pt x="380" y="117"/>
                  <a:pt x="380" y="117"/>
                  <a:pt x="380" y="117"/>
                </a:cubicBezTo>
                <a:cubicBezTo>
                  <a:pt x="379" y="119"/>
                  <a:pt x="379" y="119"/>
                  <a:pt x="379" y="119"/>
                </a:cubicBezTo>
                <a:cubicBezTo>
                  <a:pt x="378" y="119"/>
                  <a:pt x="378" y="119"/>
                  <a:pt x="378" y="119"/>
                </a:cubicBezTo>
                <a:cubicBezTo>
                  <a:pt x="378" y="118"/>
                  <a:pt x="378" y="118"/>
                  <a:pt x="378" y="118"/>
                </a:cubicBezTo>
                <a:cubicBezTo>
                  <a:pt x="378" y="116"/>
                  <a:pt x="378" y="116"/>
                  <a:pt x="378" y="116"/>
                </a:cubicBezTo>
                <a:cubicBezTo>
                  <a:pt x="377" y="116"/>
                  <a:pt x="377" y="116"/>
                  <a:pt x="377" y="116"/>
                </a:cubicBezTo>
                <a:cubicBezTo>
                  <a:pt x="377" y="115"/>
                  <a:pt x="377" y="115"/>
                  <a:pt x="377" y="115"/>
                </a:cubicBezTo>
                <a:cubicBezTo>
                  <a:pt x="379" y="114"/>
                  <a:pt x="379" y="114"/>
                  <a:pt x="379" y="114"/>
                </a:cubicBezTo>
                <a:cubicBezTo>
                  <a:pt x="379" y="113"/>
                  <a:pt x="379" y="113"/>
                  <a:pt x="379" y="113"/>
                </a:cubicBezTo>
                <a:cubicBezTo>
                  <a:pt x="379" y="112"/>
                  <a:pt x="379" y="112"/>
                  <a:pt x="379" y="112"/>
                </a:cubicBezTo>
                <a:cubicBezTo>
                  <a:pt x="379" y="111"/>
                  <a:pt x="379" y="111"/>
                  <a:pt x="379" y="111"/>
                </a:cubicBezTo>
                <a:cubicBezTo>
                  <a:pt x="380" y="111"/>
                  <a:pt x="380" y="111"/>
                  <a:pt x="380" y="111"/>
                </a:cubicBezTo>
                <a:cubicBezTo>
                  <a:pt x="381" y="110"/>
                  <a:pt x="381" y="110"/>
                  <a:pt x="381" y="110"/>
                </a:cubicBezTo>
                <a:cubicBezTo>
                  <a:pt x="382" y="110"/>
                  <a:pt x="382" y="110"/>
                  <a:pt x="382" y="110"/>
                </a:cubicBezTo>
                <a:cubicBezTo>
                  <a:pt x="384" y="110"/>
                  <a:pt x="384" y="110"/>
                  <a:pt x="384" y="110"/>
                </a:cubicBezTo>
                <a:cubicBezTo>
                  <a:pt x="384" y="109"/>
                  <a:pt x="384" y="109"/>
                  <a:pt x="384" y="109"/>
                </a:cubicBezTo>
                <a:cubicBezTo>
                  <a:pt x="385" y="108"/>
                  <a:pt x="385" y="108"/>
                  <a:pt x="385" y="108"/>
                </a:cubicBezTo>
                <a:cubicBezTo>
                  <a:pt x="386" y="108"/>
                  <a:pt x="386" y="108"/>
                  <a:pt x="386" y="108"/>
                </a:cubicBezTo>
                <a:cubicBezTo>
                  <a:pt x="386" y="107"/>
                  <a:pt x="386" y="107"/>
                  <a:pt x="386" y="107"/>
                </a:cubicBezTo>
                <a:cubicBezTo>
                  <a:pt x="387" y="107"/>
                  <a:pt x="387" y="107"/>
                  <a:pt x="387" y="107"/>
                </a:cubicBezTo>
                <a:cubicBezTo>
                  <a:pt x="388" y="107"/>
                  <a:pt x="388" y="107"/>
                  <a:pt x="388" y="107"/>
                </a:cubicBezTo>
                <a:cubicBezTo>
                  <a:pt x="389" y="108"/>
                  <a:pt x="389" y="108"/>
                  <a:pt x="389" y="108"/>
                </a:cubicBezTo>
                <a:cubicBezTo>
                  <a:pt x="391" y="108"/>
                  <a:pt x="391" y="108"/>
                  <a:pt x="391" y="108"/>
                </a:cubicBezTo>
                <a:cubicBezTo>
                  <a:pt x="392" y="107"/>
                  <a:pt x="392" y="107"/>
                  <a:pt x="392" y="107"/>
                </a:cubicBezTo>
                <a:cubicBezTo>
                  <a:pt x="393" y="107"/>
                  <a:pt x="393" y="107"/>
                  <a:pt x="393" y="107"/>
                </a:cubicBezTo>
                <a:cubicBezTo>
                  <a:pt x="394" y="109"/>
                  <a:pt x="394" y="109"/>
                  <a:pt x="394" y="109"/>
                </a:cubicBezTo>
                <a:cubicBezTo>
                  <a:pt x="395" y="109"/>
                  <a:pt x="395" y="109"/>
                  <a:pt x="395" y="109"/>
                </a:cubicBezTo>
                <a:cubicBezTo>
                  <a:pt x="395" y="108"/>
                  <a:pt x="395" y="108"/>
                  <a:pt x="395" y="108"/>
                </a:cubicBezTo>
                <a:cubicBezTo>
                  <a:pt x="395" y="108"/>
                  <a:pt x="395" y="108"/>
                  <a:pt x="395" y="108"/>
                </a:cubicBezTo>
                <a:cubicBezTo>
                  <a:pt x="397" y="109"/>
                  <a:pt x="397" y="109"/>
                  <a:pt x="397" y="109"/>
                </a:cubicBezTo>
                <a:cubicBezTo>
                  <a:pt x="397" y="108"/>
                  <a:pt x="397" y="108"/>
                  <a:pt x="397" y="108"/>
                </a:cubicBezTo>
                <a:cubicBezTo>
                  <a:pt x="398" y="109"/>
                  <a:pt x="398" y="109"/>
                  <a:pt x="398" y="109"/>
                </a:cubicBezTo>
                <a:cubicBezTo>
                  <a:pt x="399" y="108"/>
                  <a:pt x="399" y="108"/>
                  <a:pt x="399" y="108"/>
                </a:cubicBezTo>
                <a:cubicBezTo>
                  <a:pt x="398" y="108"/>
                  <a:pt x="398" y="108"/>
                  <a:pt x="398" y="108"/>
                </a:cubicBezTo>
                <a:cubicBezTo>
                  <a:pt x="397" y="108"/>
                  <a:pt x="397" y="108"/>
                  <a:pt x="397" y="108"/>
                </a:cubicBezTo>
                <a:cubicBezTo>
                  <a:pt x="397" y="107"/>
                  <a:pt x="397" y="107"/>
                  <a:pt x="397" y="107"/>
                </a:cubicBezTo>
                <a:cubicBezTo>
                  <a:pt x="396" y="107"/>
                  <a:pt x="396" y="107"/>
                  <a:pt x="396" y="107"/>
                </a:cubicBezTo>
                <a:cubicBezTo>
                  <a:pt x="396" y="107"/>
                  <a:pt x="396" y="107"/>
                  <a:pt x="396" y="107"/>
                </a:cubicBezTo>
                <a:cubicBezTo>
                  <a:pt x="397" y="106"/>
                  <a:pt x="397" y="106"/>
                  <a:pt x="397" y="106"/>
                </a:cubicBezTo>
                <a:cubicBezTo>
                  <a:pt x="397" y="105"/>
                  <a:pt x="397" y="105"/>
                  <a:pt x="397" y="105"/>
                </a:cubicBezTo>
                <a:cubicBezTo>
                  <a:pt x="396" y="105"/>
                  <a:pt x="396" y="105"/>
                  <a:pt x="396" y="105"/>
                </a:cubicBezTo>
                <a:cubicBezTo>
                  <a:pt x="396" y="105"/>
                  <a:pt x="396" y="105"/>
                  <a:pt x="396" y="105"/>
                </a:cubicBezTo>
                <a:cubicBezTo>
                  <a:pt x="397" y="105"/>
                  <a:pt x="397" y="105"/>
                  <a:pt x="397" y="105"/>
                </a:cubicBezTo>
                <a:cubicBezTo>
                  <a:pt x="398" y="104"/>
                  <a:pt x="398" y="104"/>
                  <a:pt x="398" y="104"/>
                </a:cubicBezTo>
                <a:cubicBezTo>
                  <a:pt x="396" y="104"/>
                  <a:pt x="396" y="104"/>
                  <a:pt x="396" y="104"/>
                </a:cubicBezTo>
                <a:cubicBezTo>
                  <a:pt x="396" y="104"/>
                  <a:pt x="396" y="104"/>
                  <a:pt x="396" y="104"/>
                </a:cubicBezTo>
                <a:cubicBezTo>
                  <a:pt x="395" y="104"/>
                  <a:pt x="395" y="104"/>
                  <a:pt x="395" y="104"/>
                </a:cubicBezTo>
                <a:cubicBezTo>
                  <a:pt x="395" y="103"/>
                  <a:pt x="395" y="103"/>
                  <a:pt x="395" y="103"/>
                </a:cubicBezTo>
                <a:cubicBezTo>
                  <a:pt x="395" y="103"/>
                  <a:pt x="395" y="103"/>
                  <a:pt x="395" y="103"/>
                </a:cubicBezTo>
                <a:cubicBezTo>
                  <a:pt x="396" y="102"/>
                  <a:pt x="396" y="102"/>
                  <a:pt x="396" y="102"/>
                </a:cubicBezTo>
                <a:cubicBezTo>
                  <a:pt x="396" y="101"/>
                  <a:pt x="396" y="101"/>
                  <a:pt x="396" y="101"/>
                </a:cubicBezTo>
                <a:cubicBezTo>
                  <a:pt x="395" y="101"/>
                  <a:pt x="395" y="101"/>
                  <a:pt x="395" y="101"/>
                </a:cubicBezTo>
                <a:cubicBezTo>
                  <a:pt x="395" y="100"/>
                  <a:pt x="395" y="100"/>
                  <a:pt x="395" y="100"/>
                </a:cubicBezTo>
                <a:cubicBezTo>
                  <a:pt x="395" y="98"/>
                  <a:pt x="395" y="98"/>
                  <a:pt x="395" y="98"/>
                </a:cubicBezTo>
                <a:cubicBezTo>
                  <a:pt x="395" y="97"/>
                  <a:pt x="395" y="97"/>
                  <a:pt x="395" y="97"/>
                </a:cubicBezTo>
                <a:cubicBezTo>
                  <a:pt x="395" y="96"/>
                  <a:pt x="395" y="96"/>
                  <a:pt x="395" y="96"/>
                </a:cubicBezTo>
                <a:cubicBezTo>
                  <a:pt x="395" y="95"/>
                  <a:pt x="395" y="95"/>
                  <a:pt x="395" y="95"/>
                </a:cubicBezTo>
                <a:cubicBezTo>
                  <a:pt x="396" y="95"/>
                  <a:pt x="396" y="95"/>
                  <a:pt x="396" y="95"/>
                </a:cubicBezTo>
                <a:cubicBezTo>
                  <a:pt x="397" y="95"/>
                  <a:pt x="397" y="95"/>
                  <a:pt x="397" y="95"/>
                </a:cubicBezTo>
                <a:cubicBezTo>
                  <a:pt x="399" y="95"/>
                  <a:pt x="399" y="95"/>
                  <a:pt x="399" y="95"/>
                </a:cubicBezTo>
                <a:cubicBezTo>
                  <a:pt x="399" y="95"/>
                  <a:pt x="399" y="95"/>
                  <a:pt x="399" y="95"/>
                </a:cubicBezTo>
                <a:cubicBezTo>
                  <a:pt x="401" y="95"/>
                  <a:pt x="401" y="95"/>
                  <a:pt x="401" y="95"/>
                </a:cubicBezTo>
                <a:cubicBezTo>
                  <a:pt x="402" y="95"/>
                  <a:pt x="402" y="95"/>
                  <a:pt x="402" y="95"/>
                </a:cubicBezTo>
                <a:cubicBezTo>
                  <a:pt x="403" y="97"/>
                  <a:pt x="403" y="97"/>
                  <a:pt x="403" y="97"/>
                </a:cubicBezTo>
                <a:cubicBezTo>
                  <a:pt x="404" y="99"/>
                  <a:pt x="404" y="99"/>
                  <a:pt x="404" y="99"/>
                </a:cubicBezTo>
                <a:cubicBezTo>
                  <a:pt x="404" y="103"/>
                  <a:pt x="404" y="103"/>
                  <a:pt x="404" y="103"/>
                </a:cubicBezTo>
                <a:cubicBezTo>
                  <a:pt x="403" y="104"/>
                  <a:pt x="403" y="104"/>
                  <a:pt x="403" y="104"/>
                </a:cubicBezTo>
                <a:cubicBezTo>
                  <a:pt x="404" y="105"/>
                  <a:pt x="404" y="105"/>
                  <a:pt x="404" y="105"/>
                </a:cubicBezTo>
                <a:cubicBezTo>
                  <a:pt x="404" y="105"/>
                  <a:pt x="404" y="105"/>
                  <a:pt x="404" y="105"/>
                </a:cubicBezTo>
                <a:cubicBezTo>
                  <a:pt x="407" y="106"/>
                  <a:pt x="407" y="106"/>
                  <a:pt x="407" y="106"/>
                </a:cubicBezTo>
                <a:cubicBezTo>
                  <a:pt x="407" y="107"/>
                  <a:pt x="407" y="107"/>
                  <a:pt x="407" y="107"/>
                </a:cubicBezTo>
                <a:cubicBezTo>
                  <a:pt x="408" y="107"/>
                  <a:pt x="408" y="107"/>
                  <a:pt x="408" y="107"/>
                </a:cubicBezTo>
                <a:cubicBezTo>
                  <a:pt x="408" y="107"/>
                  <a:pt x="408" y="107"/>
                  <a:pt x="408" y="107"/>
                </a:cubicBezTo>
                <a:cubicBezTo>
                  <a:pt x="411" y="107"/>
                  <a:pt x="411" y="107"/>
                  <a:pt x="411" y="107"/>
                </a:cubicBezTo>
                <a:cubicBezTo>
                  <a:pt x="412" y="108"/>
                  <a:pt x="412" y="108"/>
                  <a:pt x="412" y="108"/>
                </a:cubicBezTo>
                <a:cubicBezTo>
                  <a:pt x="413" y="108"/>
                  <a:pt x="413" y="108"/>
                  <a:pt x="413" y="108"/>
                </a:cubicBezTo>
                <a:cubicBezTo>
                  <a:pt x="412" y="107"/>
                  <a:pt x="412" y="107"/>
                  <a:pt x="412" y="107"/>
                </a:cubicBezTo>
                <a:cubicBezTo>
                  <a:pt x="413" y="106"/>
                  <a:pt x="413" y="106"/>
                  <a:pt x="413" y="106"/>
                </a:cubicBezTo>
                <a:cubicBezTo>
                  <a:pt x="415" y="105"/>
                  <a:pt x="415" y="105"/>
                  <a:pt x="415" y="105"/>
                </a:cubicBezTo>
                <a:cubicBezTo>
                  <a:pt x="416" y="103"/>
                  <a:pt x="416" y="103"/>
                  <a:pt x="416" y="103"/>
                </a:cubicBezTo>
                <a:cubicBezTo>
                  <a:pt x="419" y="102"/>
                  <a:pt x="419" y="102"/>
                  <a:pt x="419" y="102"/>
                </a:cubicBezTo>
                <a:cubicBezTo>
                  <a:pt x="421" y="100"/>
                  <a:pt x="421" y="100"/>
                  <a:pt x="421" y="100"/>
                </a:cubicBezTo>
                <a:cubicBezTo>
                  <a:pt x="421" y="99"/>
                  <a:pt x="421" y="99"/>
                  <a:pt x="421" y="99"/>
                </a:cubicBezTo>
                <a:cubicBezTo>
                  <a:pt x="422" y="98"/>
                  <a:pt x="422" y="98"/>
                  <a:pt x="422" y="98"/>
                </a:cubicBezTo>
                <a:cubicBezTo>
                  <a:pt x="421" y="98"/>
                  <a:pt x="421" y="98"/>
                  <a:pt x="421" y="98"/>
                </a:cubicBezTo>
                <a:cubicBezTo>
                  <a:pt x="420" y="99"/>
                  <a:pt x="420" y="99"/>
                  <a:pt x="420" y="99"/>
                </a:cubicBezTo>
                <a:cubicBezTo>
                  <a:pt x="420" y="100"/>
                  <a:pt x="420" y="100"/>
                  <a:pt x="420" y="100"/>
                </a:cubicBezTo>
                <a:cubicBezTo>
                  <a:pt x="418" y="102"/>
                  <a:pt x="418" y="102"/>
                  <a:pt x="418" y="102"/>
                </a:cubicBezTo>
                <a:cubicBezTo>
                  <a:pt x="417" y="103"/>
                  <a:pt x="417" y="103"/>
                  <a:pt x="417" y="103"/>
                </a:cubicBezTo>
                <a:cubicBezTo>
                  <a:pt x="417" y="103"/>
                  <a:pt x="417" y="103"/>
                  <a:pt x="417" y="103"/>
                </a:cubicBezTo>
                <a:cubicBezTo>
                  <a:pt x="415" y="105"/>
                  <a:pt x="415" y="105"/>
                  <a:pt x="415" y="105"/>
                </a:cubicBezTo>
                <a:cubicBezTo>
                  <a:pt x="413" y="105"/>
                  <a:pt x="413" y="105"/>
                  <a:pt x="413" y="105"/>
                </a:cubicBezTo>
                <a:cubicBezTo>
                  <a:pt x="412" y="105"/>
                  <a:pt x="412" y="105"/>
                  <a:pt x="412" y="105"/>
                </a:cubicBezTo>
                <a:cubicBezTo>
                  <a:pt x="411" y="105"/>
                  <a:pt x="411" y="105"/>
                  <a:pt x="411" y="105"/>
                </a:cubicBezTo>
                <a:cubicBezTo>
                  <a:pt x="411" y="105"/>
                  <a:pt x="411" y="105"/>
                  <a:pt x="411" y="105"/>
                </a:cubicBezTo>
                <a:cubicBezTo>
                  <a:pt x="410" y="105"/>
                  <a:pt x="410" y="105"/>
                  <a:pt x="410" y="105"/>
                </a:cubicBezTo>
                <a:cubicBezTo>
                  <a:pt x="408" y="104"/>
                  <a:pt x="408" y="104"/>
                  <a:pt x="408" y="104"/>
                </a:cubicBezTo>
                <a:cubicBezTo>
                  <a:pt x="408" y="103"/>
                  <a:pt x="408" y="103"/>
                  <a:pt x="408" y="103"/>
                </a:cubicBezTo>
                <a:cubicBezTo>
                  <a:pt x="409" y="103"/>
                  <a:pt x="409" y="103"/>
                  <a:pt x="409" y="103"/>
                </a:cubicBezTo>
                <a:cubicBezTo>
                  <a:pt x="410" y="102"/>
                  <a:pt x="410" y="102"/>
                  <a:pt x="410" y="102"/>
                </a:cubicBezTo>
                <a:cubicBezTo>
                  <a:pt x="410" y="101"/>
                  <a:pt x="410" y="101"/>
                  <a:pt x="410" y="101"/>
                </a:cubicBezTo>
                <a:cubicBezTo>
                  <a:pt x="409" y="102"/>
                  <a:pt x="409" y="102"/>
                  <a:pt x="409" y="102"/>
                </a:cubicBezTo>
                <a:cubicBezTo>
                  <a:pt x="408" y="103"/>
                  <a:pt x="408" y="103"/>
                  <a:pt x="408" y="103"/>
                </a:cubicBezTo>
                <a:cubicBezTo>
                  <a:pt x="407" y="102"/>
                  <a:pt x="407" y="102"/>
                  <a:pt x="407" y="102"/>
                </a:cubicBezTo>
                <a:cubicBezTo>
                  <a:pt x="407" y="101"/>
                  <a:pt x="407" y="101"/>
                  <a:pt x="407" y="101"/>
                </a:cubicBezTo>
                <a:cubicBezTo>
                  <a:pt x="407" y="100"/>
                  <a:pt x="407" y="100"/>
                  <a:pt x="407" y="100"/>
                </a:cubicBezTo>
                <a:cubicBezTo>
                  <a:pt x="407" y="100"/>
                  <a:pt x="407" y="100"/>
                  <a:pt x="407" y="100"/>
                </a:cubicBezTo>
                <a:cubicBezTo>
                  <a:pt x="409" y="100"/>
                  <a:pt x="409" y="100"/>
                  <a:pt x="409" y="100"/>
                </a:cubicBezTo>
                <a:cubicBezTo>
                  <a:pt x="409" y="99"/>
                  <a:pt x="409" y="99"/>
                  <a:pt x="409" y="99"/>
                </a:cubicBezTo>
                <a:cubicBezTo>
                  <a:pt x="408" y="99"/>
                  <a:pt x="408" y="99"/>
                  <a:pt x="408" y="99"/>
                </a:cubicBezTo>
                <a:cubicBezTo>
                  <a:pt x="408" y="99"/>
                  <a:pt x="408" y="99"/>
                  <a:pt x="408" y="99"/>
                </a:cubicBezTo>
                <a:cubicBezTo>
                  <a:pt x="408" y="98"/>
                  <a:pt x="408" y="98"/>
                  <a:pt x="408" y="98"/>
                </a:cubicBezTo>
                <a:cubicBezTo>
                  <a:pt x="409" y="99"/>
                  <a:pt x="409" y="99"/>
                  <a:pt x="409" y="99"/>
                </a:cubicBezTo>
                <a:cubicBezTo>
                  <a:pt x="410" y="99"/>
                  <a:pt x="410" y="99"/>
                  <a:pt x="410" y="99"/>
                </a:cubicBezTo>
                <a:cubicBezTo>
                  <a:pt x="410" y="98"/>
                  <a:pt x="410" y="98"/>
                  <a:pt x="410" y="98"/>
                </a:cubicBezTo>
                <a:cubicBezTo>
                  <a:pt x="409" y="98"/>
                  <a:pt x="409" y="98"/>
                  <a:pt x="409" y="98"/>
                </a:cubicBezTo>
                <a:cubicBezTo>
                  <a:pt x="408" y="97"/>
                  <a:pt x="408" y="97"/>
                  <a:pt x="408" y="97"/>
                </a:cubicBezTo>
                <a:cubicBezTo>
                  <a:pt x="408" y="98"/>
                  <a:pt x="408" y="98"/>
                  <a:pt x="408" y="98"/>
                </a:cubicBezTo>
                <a:cubicBezTo>
                  <a:pt x="407" y="98"/>
                  <a:pt x="407" y="98"/>
                  <a:pt x="407" y="98"/>
                </a:cubicBezTo>
                <a:cubicBezTo>
                  <a:pt x="406" y="97"/>
                  <a:pt x="406" y="97"/>
                  <a:pt x="406" y="97"/>
                </a:cubicBezTo>
                <a:cubicBezTo>
                  <a:pt x="407" y="96"/>
                  <a:pt x="407" y="96"/>
                  <a:pt x="407" y="96"/>
                </a:cubicBezTo>
                <a:cubicBezTo>
                  <a:pt x="408" y="96"/>
                  <a:pt x="408" y="96"/>
                  <a:pt x="408" y="96"/>
                </a:cubicBezTo>
                <a:cubicBezTo>
                  <a:pt x="409" y="95"/>
                  <a:pt x="409" y="95"/>
                  <a:pt x="409" y="95"/>
                </a:cubicBezTo>
                <a:cubicBezTo>
                  <a:pt x="410" y="96"/>
                  <a:pt x="410" y="96"/>
                  <a:pt x="410" y="96"/>
                </a:cubicBezTo>
                <a:cubicBezTo>
                  <a:pt x="411" y="96"/>
                  <a:pt x="411" y="96"/>
                  <a:pt x="411" y="96"/>
                </a:cubicBezTo>
                <a:cubicBezTo>
                  <a:pt x="412" y="95"/>
                  <a:pt x="412" y="95"/>
                  <a:pt x="412" y="95"/>
                </a:cubicBezTo>
                <a:cubicBezTo>
                  <a:pt x="411" y="95"/>
                  <a:pt x="411" y="95"/>
                  <a:pt x="411" y="95"/>
                </a:cubicBezTo>
                <a:cubicBezTo>
                  <a:pt x="411" y="95"/>
                  <a:pt x="411" y="95"/>
                  <a:pt x="411" y="95"/>
                </a:cubicBezTo>
                <a:cubicBezTo>
                  <a:pt x="412" y="94"/>
                  <a:pt x="412" y="94"/>
                  <a:pt x="412" y="94"/>
                </a:cubicBezTo>
                <a:cubicBezTo>
                  <a:pt x="413" y="94"/>
                  <a:pt x="413" y="94"/>
                  <a:pt x="413" y="94"/>
                </a:cubicBezTo>
                <a:cubicBezTo>
                  <a:pt x="413" y="93"/>
                  <a:pt x="413" y="93"/>
                  <a:pt x="413" y="93"/>
                </a:cubicBezTo>
                <a:cubicBezTo>
                  <a:pt x="412" y="93"/>
                  <a:pt x="412" y="93"/>
                  <a:pt x="412" y="93"/>
                </a:cubicBezTo>
                <a:cubicBezTo>
                  <a:pt x="412" y="92"/>
                  <a:pt x="412" y="92"/>
                  <a:pt x="412" y="92"/>
                </a:cubicBezTo>
                <a:cubicBezTo>
                  <a:pt x="413" y="91"/>
                  <a:pt x="413" y="91"/>
                  <a:pt x="413" y="91"/>
                </a:cubicBezTo>
                <a:cubicBezTo>
                  <a:pt x="414" y="91"/>
                  <a:pt x="414" y="91"/>
                  <a:pt x="414" y="91"/>
                </a:cubicBezTo>
                <a:cubicBezTo>
                  <a:pt x="413" y="90"/>
                  <a:pt x="413" y="90"/>
                  <a:pt x="413" y="90"/>
                </a:cubicBezTo>
                <a:cubicBezTo>
                  <a:pt x="415" y="88"/>
                  <a:pt x="415" y="88"/>
                  <a:pt x="415" y="88"/>
                </a:cubicBezTo>
                <a:cubicBezTo>
                  <a:pt x="416" y="87"/>
                  <a:pt x="416" y="87"/>
                  <a:pt x="416" y="87"/>
                </a:cubicBezTo>
                <a:cubicBezTo>
                  <a:pt x="416" y="86"/>
                  <a:pt x="416" y="86"/>
                  <a:pt x="416" y="86"/>
                </a:cubicBezTo>
                <a:cubicBezTo>
                  <a:pt x="415" y="87"/>
                  <a:pt x="415" y="87"/>
                  <a:pt x="415" y="87"/>
                </a:cubicBezTo>
                <a:cubicBezTo>
                  <a:pt x="413" y="89"/>
                  <a:pt x="413" y="89"/>
                  <a:pt x="413" y="89"/>
                </a:cubicBezTo>
                <a:cubicBezTo>
                  <a:pt x="412" y="91"/>
                  <a:pt x="412" y="91"/>
                  <a:pt x="412" y="91"/>
                </a:cubicBezTo>
                <a:cubicBezTo>
                  <a:pt x="410" y="93"/>
                  <a:pt x="410" y="93"/>
                  <a:pt x="410" y="93"/>
                </a:cubicBezTo>
                <a:cubicBezTo>
                  <a:pt x="409" y="94"/>
                  <a:pt x="409" y="94"/>
                  <a:pt x="409" y="94"/>
                </a:cubicBezTo>
                <a:cubicBezTo>
                  <a:pt x="408" y="94"/>
                  <a:pt x="408" y="94"/>
                  <a:pt x="408" y="94"/>
                </a:cubicBezTo>
                <a:cubicBezTo>
                  <a:pt x="406" y="94"/>
                  <a:pt x="406" y="94"/>
                  <a:pt x="406" y="94"/>
                </a:cubicBezTo>
                <a:cubicBezTo>
                  <a:pt x="406" y="93"/>
                  <a:pt x="406" y="93"/>
                  <a:pt x="406" y="93"/>
                </a:cubicBezTo>
                <a:cubicBezTo>
                  <a:pt x="407" y="92"/>
                  <a:pt x="407" y="92"/>
                  <a:pt x="407" y="92"/>
                </a:cubicBezTo>
                <a:cubicBezTo>
                  <a:pt x="408" y="91"/>
                  <a:pt x="408" y="91"/>
                  <a:pt x="408" y="91"/>
                </a:cubicBezTo>
                <a:cubicBezTo>
                  <a:pt x="408" y="90"/>
                  <a:pt x="408" y="90"/>
                  <a:pt x="408" y="90"/>
                </a:cubicBezTo>
                <a:cubicBezTo>
                  <a:pt x="406" y="91"/>
                  <a:pt x="406" y="91"/>
                  <a:pt x="406" y="91"/>
                </a:cubicBezTo>
                <a:cubicBezTo>
                  <a:pt x="405" y="91"/>
                  <a:pt x="405" y="91"/>
                  <a:pt x="405" y="91"/>
                </a:cubicBezTo>
                <a:cubicBezTo>
                  <a:pt x="405" y="92"/>
                  <a:pt x="405" y="92"/>
                  <a:pt x="405" y="92"/>
                </a:cubicBezTo>
                <a:cubicBezTo>
                  <a:pt x="404" y="93"/>
                  <a:pt x="404" y="93"/>
                  <a:pt x="404" y="93"/>
                </a:cubicBezTo>
                <a:cubicBezTo>
                  <a:pt x="402" y="93"/>
                  <a:pt x="402" y="93"/>
                  <a:pt x="402" y="93"/>
                </a:cubicBezTo>
                <a:cubicBezTo>
                  <a:pt x="400" y="91"/>
                  <a:pt x="400" y="91"/>
                  <a:pt x="400" y="91"/>
                </a:cubicBezTo>
                <a:cubicBezTo>
                  <a:pt x="401" y="91"/>
                  <a:pt x="401" y="91"/>
                  <a:pt x="401" y="91"/>
                </a:cubicBezTo>
                <a:cubicBezTo>
                  <a:pt x="402" y="90"/>
                  <a:pt x="402" y="90"/>
                  <a:pt x="402" y="90"/>
                </a:cubicBezTo>
                <a:cubicBezTo>
                  <a:pt x="402" y="90"/>
                  <a:pt x="402" y="90"/>
                  <a:pt x="402" y="90"/>
                </a:cubicBezTo>
                <a:cubicBezTo>
                  <a:pt x="401" y="90"/>
                  <a:pt x="401" y="90"/>
                  <a:pt x="401" y="90"/>
                </a:cubicBezTo>
                <a:cubicBezTo>
                  <a:pt x="401" y="88"/>
                  <a:pt x="401" y="88"/>
                  <a:pt x="401" y="88"/>
                </a:cubicBezTo>
                <a:cubicBezTo>
                  <a:pt x="403" y="87"/>
                  <a:pt x="403" y="87"/>
                  <a:pt x="403" y="87"/>
                </a:cubicBezTo>
                <a:cubicBezTo>
                  <a:pt x="403" y="86"/>
                  <a:pt x="403" y="86"/>
                  <a:pt x="403" y="86"/>
                </a:cubicBezTo>
                <a:cubicBezTo>
                  <a:pt x="404" y="86"/>
                  <a:pt x="404" y="86"/>
                  <a:pt x="404" y="86"/>
                </a:cubicBezTo>
                <a:cubicBezTo>
                  <a:pt x="406" y="85"/>
                  <a:pt x="406" y="85"/>
                  <a:pt x="406" y="85"/>
                </a:cubicBezTo>
                <a:cubicBezTo>
                  <a:pt x="407" y="85"/>
                  <a:pt x="407" y="85"/>
                  <a:pt x="407" y="85"/>
                </a:cubicBezTo>
                <a:cubicBezTo>
                  <a:pt x="407" y="83"/>
                  <a:pt x="407" y="83"/>
                  <a:pt x="407" y="83"/>
                </a:cubicBezTo>
                <a:cubicBezTo>
                  <a:pt x="408" y="82"/>
                  <a:pt x="408" y="82"/>
                  <a:pt x="408" y="82"/>
                </a:cubicBezTo>
                <a:cubicBezTo>
                  <a:pt x="409" y="80"/>
                  <a:pt x="409" y="80"/>
                  <a:pt x="409" y="80"/>
                </a:cubicBezTo>
                <a:cubicBezTo>
                  <a:pt x="410" y="80"/>
                  <a:pt x="410" y="80"/>
                  <a:pt x="410" y="80"/>
                </a:cubicBezTo>
                <a:cubicBezTo>
                  <a:pt x="413" y="79"/>
                  <a:pt x="413" y="79"/>
                  <a:pt x="413" y="79"/>
                </a:cubicBezTo>
                <a:cubicBezTo>
                  <a:pt x="415" y="80"/>
                  <a:pt x="415" y="80"/>
                  <a:pt x="415" y="80"/>
                </a:cubicBezTo>
                <a:cubicBezTo>
                  <a:pt x="416" y="79"/>
                  <a:pt x="416" y="79"/>
                  <a:pt x="416" y="79"/>
                </a:cubicBezTo>
                <a:cubicBezTo>
                  <a:pt x="417" y="79"/>
                  <a:pt x="417" y="79"/>
                  <a:pt x="417" y="79"/>
                </a:cubicBezTo>
                <a:cubicBezTo>
                  <a:pt x="418" y="78"/>
                  <a:pt x="418" y="78"/>
                  <a:pt x="418" y="78"/>
                </a:cubicBezTo>
                <a:cubicBezTo>
                  <a:pt x="419" y="78"/>
                  <a:pt x="419" y="78"/>
                  <a:pt x="419" y="78"/>
                </a:cubicBezTo>
                <a:cubicBezTo>
                  <a:pt x="419" y="79"/>
                  <a:pt x="419" y="79"/>
                  <a:pt x="419" y="79"/>
                </a:cubicBezTo>
                <a:cubicBezTo>
                  <a:pt x="421" y="80"/>
                  <a:pt x="421" y="80"/>
                  <a:pt x="421" y="80"/>
                </a:cubicBezTo>
                <a:cubicBezTo>
                  <a:pt x="421" y="80"/>
                  <a:pt x="421" y="80"/>
                  <a:pt x="421" y="80"/>
                </a:cubicBezTo>
                <a:cubicBezTo>
                  <a:pt x="424" y="82"/>
                  <a:pt x="424" y="82"/>
                  <a:pt x="424" y="82"/>
                </a:cubicBezTo>
                <a:cubicBezTo>
                  <a:pt x="425" y="83"/>
                  <a:pt x="425" y="83"/>
                  <a:pt x="425" y="83"/>
                </a:cubicBezTo>
                <a:cubicBezTo>
                  <a:pt x="425" y="84"/>
                  <a:pt x="425" y="84"/>
                  <a:pt x="425" y="84"/>
                </a:cubicBezTo>
                <a:cubicBezTo>
                  <a:pt x="426" y="84"/>
                  <a:pt x="426" y="84"/>
                  <a:pt x="426" y="84"/>
                </a:cubicBezTo>
                <a:cubicBezTo>
                  <a:pt x="428" y="87"/>
                  <a:pt x="428" y="87"/>
                  <a:pt x="428" y="87"/>
                </a:cubicBezTo>
                <a:cubicBezTo>
                  <a:pt x="428" y="85"/>
                  <a:pt x="428" y="85"/>
                  <a:pt x="428" y="85"/>
                </a:cubicBezTo>
                <a:cubicBezTo>
                  <a:pt x="429" y="85"/>
                  <a:pt x="429" y="85"/>
                  <a:pt x="429" y="85"/>
                </a:cubicBezTo>
                <a:cubicBezTo>
                  <a:pt x="429" y="84"/>
                  <a:pt x="429" y="84"/>
                  <a:pt x="429" y="84"/>
                </a:cubicBezTo>
                <a:cubicBezTo>
                  <a:pt x="427" y="84"/>
                  <a:pt x="427" y="84"/>
                  <a:pt x="427" y="84"/>
                </a:cubicBezTo>
                <a:cubicBezTo>
                  <a:pt x="427" y="84"/>
                  <a:pt x="427" y="84"/>
                  <a:pt x="427" y="84"/>
                </a:cubicBezTo>
                <a:cubicBezTo>
                  <a:pt x="427" y="83"/>
                  <a:pt x="427" y="83"/>
                  <a:pt x="427" y="83"/>
                </a:cubicBezTo>
                <a:cubicBezTo>
                  <a:pt x="428" y="82"/>
                  <a:pt x="428" y="82"/>
                  <a:pt x="428" y="82"/>
                </a:cubicBezTo>
                <a:cubicBezTo>
                  <a:pt x="430" y="82"/>
                  <a:pt x="430" y="82"/>
                  <a:pt x="430" y="82"/>
                </a:cubicBezTo>
                <a:cubicBezTo>
                  <a:pt x="432" y="83"/>
                  <a:pt x="432" y="83"/>
                  <a:pt x="432" y="83"/>
                </a:cubicBezTo>
                <a:cubicBezTo>
                  <a:pt x="432" y="82"/>
                  <a:pt x="432" y="82"/>
                  <a:pt x="432" y="82"/>
                </a:cubicBezTo>
                <a:cubicBezTo>
                  <a:pt x="432" y="81"/>
                  <a:pt x="432" y="81"/>
                  <a:pt x="432" y="81"/>
                </a:cubicBezTo>
                <a:cubicBezTo>
                  <a:pt x="433" y="80"/>
                  <a:pt x="433" y="80"/>
                  <a:pt x="433" y="80"/>
                </a:cubicBezTo>
                <a:cubicBezTo>
                  <a:pt x="433" y="79"/>
                  <a:pt x="433" y="79"/>
                  <a:pt x="433" y="79"/>
                </a:cubicBezTo>
                <a:cubicBezTo>
                  <a:pt x="432" y="79"/>
                  <a:pt x="432" y="79"/>
                  <a:pt x="432" y="79"/>
                </a:cubicBezTo>
                <a:cubicBezTo>
                  <a:pt x="432" y="80"/>
                  <a:pt x="432" y="80"/>
                  <a:pt x="432" y="80"/>
                </a:cubicBezTo>
                <a:cubicBezTo>
                  <a:pt x="430" y="81"/>
                  <a:pt x="430" y="81"/>
                  <a:pt x="430" y="81"/>
                </a:cubicBezTo>
                <a:cubicBezTo>
                  <a:pt x="430" y="82"/>
                  <a:pt x="430" y="82"/>
                  <a:pt x="430" y="82"/>
                </a:cubicBezTo>
                <a:cubicBezTo>
                  <a:pt x="427" y="81"/>
                  <a:pt x="427" y="81"/>
                  <a:pt x="427" y="81"/>
                </a:cubicBezTo>
                <a:cubicBezTo>
                  <a:pt x="425" y="81"/>
                  <a:pt x="425" y="81"/>
                  <a:pt x="425" y="81"/>
                </a:cubicBezTo>
                <a:cubicBezTo>
                  <a:pt x="425" y="80"/>
                  <a:pt x="425" y="80"/>
                  <a:pt x="425" y="80"/>
                </a:cubicBezTo>
                <a:cubicBezTo>
                  <a:pt x="424" y="80"/>
                  <a:pt x="424" y="80"/>
                  <a:pt x="424" y="80"/>
                </a:cubicBezTo>
                <a:cubicBezTo>
                  <a:pt x="422" y="80"/>
                  <a:pt x="422" y="80"/>
                  <a:pt x="422" y="80"/>
                </a:cubicBezTo>
                <a:cubicBezTo>
                  <a:pt x="420" y="77"/>
                  <a:pt x="420" y="77"/>
                  <a:pt x="420" y="77"/>
                </a:cubicBezTo>
                <a:cubicBezTo>
                  <a:pt x="420" y="75"/>
                  <a:pt x="420" y="75"/>
                  <a:pt x="420" y="75"/>
                </a:cubicBezTo>
                <a:cubicBezTo>
                  <a:pt x="421" y="74"/>
                  <a:pt x="421" y="74"/>
                  <a:pt x="421" y="74"/>
                </a:cubicBezTo>
                <a:cubicBezTo>
                  <a:pt x="422" y="75"/>
                  <a:pt x="422" y="75"/>
                  <a:pt x="422" y="75"/>
                </a:cubicBezTo>
                <a:cubicBezTo>
                  <a:pt x="422" y="76"/>
                  <a:pt x="422" y="76"/>
                  <a:pt x="422" y="76"/>
                </a:cubicBezTo>
                <a:cubicBezTo>
                  <a:pt x="423" y="77"/>
                  <a:pt x="423" y="77"/>
                  <a:pt x="423" y="77"/>
                </a:cubicBezTo>
                <a:cubicBezTo>
                  <a:pt x="424" y="75"/>
                  <a:pt x="424" y="75"/>
                  <a:pt x="424" y="75"/>
                </a:cubicBezTo>
                <a:cubicBezTo>
                  <a:pt x="424" y="74"/>
                  <a:pt x="424" y="74"/>
                  <a:pt x="424" y="74"/>
                </a:cubicBezTo>
                <a:cubicBezTo>
                  <a:pt x="423" y="74"/>
                  <a:pt x="423" y="74"/>
                  <a:pt x="423" y="74"/>
                </a:cubicBezTo>
                <a:cubicBezTo>
                  <a:pt x="423" y="74"/>
                  <a:pt x="423" y="74"/>
                  <a:pt x="423" y="74"/>
                </a:cubicBezTo>
                <a:cubicBezTo>
                  <a:pt x="423" y="72"/>
                  <a:pt x="423" y="72"/>
                  <a:pt x="423" y="72"/>
                </a:cubicBezTo>
                <a:cubicBezTo>
                  <a:pt x="424" y="70"/>
                  <a:pt x="424" y="70"/>
                  <a:pt x="424" y="70"/>
                </a:cubicBezTo>
                <a:cubicBezTo>
                  <a:pt x="424" y="69"/>
                  <a:pt x="424" y="69"/>
                  <a:pt x="424" y="69"/>
                </a:cubicBezTo>
                <a:cubicBezTo>
                  <a:pt x="425" y="67"/>
                  <a:pt x="425" y="67"/>
                  <a:pt x="425" y="67"/>
                </a:cubicBezTo>
                <a:cubicBezTo>
                  <a:pt x="424" y="63"/>
                  <a:pt x="424" y="63"/>
                  <a:pt x="424" y="63"/>
                </a:cubicBezTo>
                <a:cubicBezTo>
                  <a:pt x="424" y="62"/>
                  <a:pt x="424" y="62"/>
                  <a:pt x="424" y="62"/>
                </a:cubicBezTo>
                <a:cubicBezTo>
                  <a:pt x="423" y="61"/>
                  <a:pt x="423" y="61"/>
                  <a:pt x="423" y="61"/>
                </a:cubicBezTo>
                <a:cubicBezTo>
                  <a:pt x="423" y="60"/>
                  <a:pt x="423" y="60"/>
                  <a:pt x="423" y="60"/>
                </a:cubicBezTo>
                <a:cubicBezTo>
                  <a:pt x="423" y="59"/>
                  <a:pt x="423" y="59"/>
                  <a:pt x="423" y="59"/>
                </a:cubicBezTo>
                <a:cubicBezTo>
                  <a:pt x="424" y="59"/>
                  <a:pt x="424" y="59"/>
                  <a:pt x="424" y="59"/>
                </a:cubicBezTo>
                <a:cubicBezTo>
                  <a:pt x="424" y="58"/>
                  <a:pt x="424" y="58"/>
                  <a:pt x="424" y="58"/>
                </a:cubicBezTo>
                <a:cubicBezTo>
                  <a:pt x="425" y="59"/>
                  <a:pt x="425" y="59"/>
                  <a:pt x="425" y="59"/>
                </a:cubicBezTo>
                <a:cubicBezTo>
                  <a:pt x="426" y="59"/>
                  <a:pt x="426" y="59"/>
                  <a:pt x="426" y="59"/>
                </a:cubicBezTo>
                <a:cubicBezTo>
                  <a:pt x="427" y="61"/>
                  <a:pt x="427" y="61"/>
                  <a:pt x="427" y="61"/>
                </a:cubicBezTo>
                <a:cubicBezTo>
                  <a:pt x="427" y="60"/>
                  <a:pt x="427" y="60"/>
                  <a:pt x="427" y="60"/>
                </a:cubicBezTo>
                <a:cubicBezTo>
                  <a:pt x="427" y="59"/>
                  <a:pt x="427" y="59"/>
                  <a:pt x="427" y="59"/>
                </a:cubicBezTo>
                <a:cubicBezTo>
                  <a:pt x="426" y="58"/>
                  <a:pt x="426" y="58"/>
                  <a:pt x="426" y="58"/>
                </a:cubicBezTo>
                <a:cubicBezTo>
                  <a:pt x="425" y="58"/>
                  <a:pt x="425" y="58"/>
                  <a:pt x="425" y="58"/>
                </a:cubicBezTo>
                <a:cubicBezTo>
                  <a:pt x="424" y="57"/>
                  <a:pt x="424" y="57"/>
                  <a:pt x="424" y="57"/>
                </a:cubicBezTo>
                <a:cubicBezTo>
                  <a:pt x="424" y="56"/>
                  <a:pt x="424" y="56"/>
                  <a:pt x="424" y="56"/>
                </a:cubicBezTo>
                <a:cubicBezTo>
                  <a:pt x="425" y="54"/>
                  <a:pt x="425" y="54"/>
                  <a:pt x="425" y="54"/>
                </a:cubicBezTo>
                <a:cubicBezTo>
                  <a:pt x="429" y="50"/>
                  <a:pt x="429" y="50"/>
                  <a:pt x="429" y="50"/>
                </a:cubicBezTo>
                <a:cubicBezTo>
                  <a:pt x="430" y="50"/>
                  <a:pt x="430" y="50"/>
                  <a:pt x="430" y="50"/>
                </a:cubicBezTo>
                <a:cubicBezTo>
                  <a:pt x="431" y="50"/>
                  <a:pt x="431" y="50"/>
                  <a:pt x="431" y="50"/>
                </a:cubicBezTo>
                <a:cubicBezTo>
                  <a:pt x="432" y="51"/>
                  <a:pt x="432" y="51"/>
                  <a:pt x="432" y="51"/>
                </a:cubicBezTo>
                <a:cubicBezTo>
                  <a:pt x="433" y="53"/>
                  <a:pt x="433" y="53"/>
                  <a:pt x="433" y="53"/>
                </a:cubicBezTo>
                <a:cubicBezTo>
                  <a:pt x="434" y="53"/>
                  <a:pt x="434" y="53"/>
                  <a:pt x="434" y="53"/>
                </a:cubicBezTo>
                <a:cubicBezTo>
                  <a:pt x="437" y="54"/>
                  <a:pt x="437" y="54"/>
                  <a:pt x="437" y="54"/>
                </a:cubicBezTo>
                <a:cubicBezTo>
                  <a:pt x="437" y="56"/>
                  <a:pt x="437" y="56"/>
                  <a:pt x="437" y="56"/>
                </a:cubicBezTo>
                <a:cubicBezTo>
                  <a:pt x="439" y="57"/>
                  <a:pt x="439" y="57"/>
                  <a:pt x="439" y="57"/>
                </a:cubicBezTo>
                <a:cubicBezTo>
                  <a:pt x="439" y="60"/>
                  <a:pt x="439" y="60"/>
                  <a:pt x="439" y="60"/>
                </a:cubicBezTo>
                <a:cubicBezTo>
                  <a:pt x="439" y="63"/>
                  <a:pt x="439" y="63"/>
                  <a:pt x="439" y="63"/>
                </a:cubicBezTo>
                <a:cubicBezTo>
                  <a:pt x="439" y="65"/>
                  <a:pt x="439" y="65"/>
                  <a:pt x="439" y="65"/>
                </a:cubicBezTo>
                <a:cubicBezTo>
                  <a:pt x="440" y="66"/>
                  <a:pt x="440" y="66"/>
                  <a:pt x="440" y="66"/>
                </a:cubicBezTo>
                <a:cubicBezTo>
                  <a:pt x="441" y="65"/>
                  <a:pt x="441" y="65"/>
                  <a:pt x="441" y="65"/>
                </a:cubicBezTo>
                <a:cubicBezTo>
                  <a:pt x="441" y="65"/>
                  <a:pt x="441" y="65"/>
                  <a:pt x="441" y="65"/>
                </a:cubicBezTo>
                <a:cubicBezTo>
                  <a:pt x="442" y="66"/>
                  <a:pt x="442" y="66"/>
                  <a:pt x="442" y="66"/>
                </a:cubicBezTo>
                <a:cubicBezTo>
                  <a:pt x="443" y="67"/>
                  <a:pt x="443" y="67"/>
                  <a:pt x="443" y="67"/>
                </a:cubicBezTo>
                <a:cubicBezTo>
                  <a:pt x="443" y="67"/>
                  <a:pt x="443" y="67"/>
                  <a:pt x="443" y="67"/>
                </a:cubicBezTo>
                <a:cubicBezTo>
                  <a:pt x="444" y="66"/>
                  <a:pt x="444" y="66"/>
                  <a:pt x="444" y="66"/>
                </a:cubicBezTo>
                <a:cubicBezTo>
                  <a:pt x="445" y="66"/>
                  <a:pt x="445" y="66"/>
                  <a:pt x="445" y="66"/>
                </a:cubicBezTo>
                <a:cubicBezTo>
                  <a:pt x="444" y="66"/>
                  <a:pt x="444" y="66"/>
                  <a:pt x="444" y="66"/>
                </a:cubicBezTo>
                <a:cubicBezTo>
                  <a:pt x="443" y="65"/>
                  <a:pt x="443" y="65"/>
                  <a:pt x="443" y="65"/>
                </a:cubicBezTo>
                <a:cubicBezTo>
                  <a:pt x="442" y="64"/>
                  <a:pt x="442" y="64"/>
                  <a:pt x="442" y="64"/>
                </a:cubicBezTo>
                <a:cubicBezTo>
                  <a:pt x="441" y="64"/>
                  <a:pt x="441" y="64"/>
                  <a:pt x="441" y="64"/>
                </a:cubicBezTo>
                <a:cubicBezTo>
                  <a:pt x="441" y="63"/>
                  <a:pt x="441" y="63"/>
                  <a:pt x="441" y="63"/>
                </a:cubicBezTo>
                <a:cubicBezTo>
                  <a:pt x="442" y="62"/>
                  <a:pt x="442" y="62"/>
                  <a:pt x="442" y="62"/>
                </a:cubicBezTo>
                <a:cubicBezTo>
                  <a:pt x="442" y="61"/>
                  <a:pt x="442" y="61"/>
                  <a:pt x="442" y="61"/>
                </a:cubicBezTo>
                <a:cubicBezTo>
                  <a:pt x="442" y="56"/>
                  <a:pt x="442" y="56"/>
                  <a:pt x="442" y="56"/>
                </a:cubicBezTo>
                <a:cubicBezTo>
                  <a:pt x="441" y="55"/>
                  <a:pt x="441" y="55"/>
                  <a:pt x="441" y="55"/>
                </a:cubicBezTo>
                <a:cubicBezTo>
                  <a:pt x="442" y="54"/>
                  <a:pt x="442" y="54"/>
                  <a:pt x="442" y="54"/>
                </a:cubicBezTo>
                <a:cubicBezTo>
                  <a:pt x="444" y="54"/>
                  <a:pt x="444" y="54"/>
                  <a:pt x="444" y="54"/>
                </a:cubicBezTo>
                <a:cubicBezTo>
                  <a:pt x="445" y="54"/>
                  <a:pt x="445" y="54"/>
                  <a:pt x="445" y="54"/>
                </a:cubicBezTo>
                <a:cubicBezTo>
                  <a:pt x="447" y="55"/>
                  <a:pt x="447" y="55"/>
                  <a:pt x="447" y="55"/>
                </a:cubicBezTo>
                <a:cubicBezTo>
                  <a:pt x="448" y="55"/>
                  <a:pt x="448" y="55"/>
                  <a:pt x="448" y="55"/>
                </a:cubicBezTo>
                <a:cubicBezTo>
                  <a:pt x="450" y="55"/>
                  <a:pt x="450" y="55"/>
                  <a:pt x="450" y="55"/>
                </a:cubicBezTo>
                <a:cubicBezTo>
                  <a:pt x="453" y="55"/>
                  <a:pt x="453" y="55"/>
                  <a:pt x="453" y="55"/>
                </a:cubicBezTo>
                <a:cubicBezTo>
                  <a:pt x="455" y="54"/>
                  <a:pt x="455" y="54"/>
                  <a:pt x="455" y="54"/>
                </a:cubicBezTo>
                <a:cubicBezTo>
                  <a:pt x="456" y="55"/>
                  <a:pt x="456" y="55"/>
                  <a:pt x="456" y="55"/>
                </a:cubicBezTo>
                <a:cubicBezTo>
                  <a:pt x="457" y="56"/>
                  <a:pt x="457" y="56"/>
                  <a:pt x="457" y="56"/>
                </a:cubicBezTo>
                <a:cubicBezTo>
                  <a:pt x="460" y="56"/>
                  <a:pt x="460" y="56"/>
                  <a:pt x="460" y="56"/>
                </a:cubicBezTo>
                <a:cubicBezTo>
                  <a:pt x="461" y="57"/>
                  <a:pt x="461" y="57"/>
                  <a:pt x="461" y="57"/>
                </a:cubicBezTo>
                <a:cubicBezTo>
                  <a:pt x="462" y="56"/>
                  <a:pt x="462" y="56"/>
                  <a:pt x="462" y="56"/>
                </a:cubicBezTo>
                <a:cubicBezTo>
                  <a:pt x="462" y="56"/>
                  <a:pt x="462" y="56"/>
                  <a:pt x="462" y="56"/>
                </a:cubicBezTo>
                <a:cubicBezTo>
                  <a:pt x="461" y="55"/>
                  <a:pt x="461" y="55"/>
                  <a:pt x="461" y="55"/>
                </a:cubicBezTo>
                <a:cubicBezTo>
                  <a:pt x="459" y="55"/>
                  <a:pt x="459" y="55"/>
                  <a:pt x="459" y="55"/>
                </a:cubicBezTo>
                <a:cubicBezTo>
                  <a:pt x="457" y="54"/>
                  <a:pt x="457" y="54"/>
                  <a:pt x="457" y="54"/>
                </a:cubicBezTo>
                <a:cubicBezTo>
                  <a:pt x="457" y="54"/>
                  <a:pt x="457" y="54"/>
                  <a:pt x="457" y="54"/>
                </a:cubicBezTo>
                <a:cubicBezTo>
                  <a:pt x="457" y="53"/>
                  <a:pt x="457" y="53"/>
                  <a:pt x="457" y="53"/>
                </a:cubicBezTo>
                <a:cubicBezTo>
                  <a:pt x="458" y="53"/>
                  <a:pt x="458" y="53"/>
                  <a:pt x="458" y="53"/>
                </a:cubicBezTo>
                <a:cubicBezTo>
                  <a:pt x="460" y="53"/>
                  <a:pt x="460" y="53"/>
                  <a:pt x="460" y="53"/>
                </a:cubicBezTo>
                <a:cubicBezTo>
                  <a:pt x="464" y="52"/>
                  <a:pt x="464" y="52"/>
                  <a:pt x="464" y="52"/>
                </a:cubicBezTo>
                <a:cubicBezTo>
                  <a:pt x="467" y="52"/>
                  <a:pt x="467" y="52"/>
                  <a:pt x="467" y="52"/>
                </a:cubicBezTo>
                <a:cubicBezTo>
                  <a:pt x="469" y="53"/>
                  <a:pt x="469" y="53"/>
                  <a:pt x="469" y="53"/>
                </a:cubicBezTo>
                <a:cubicBezTo>
                  <a:pt x="471" y="54"/>
                  <a:pt x="471" y="54"/>
                  <a:pt x="471" y="54"/>
                </a:cubicBezTo>
                <a:cubicBezTo>
                  <a:pt x="472" y="53"/>
                  <a:pt x="472" y="53"/>
                  <a:pt x="472" y="53"/>
                </a:cubicBezTo>
                <a:cubicBezTo>
                  <a:pt x="473" y="53"/>
                  <a:pt x="473" y="53"/>
                  <a:pt x="473" y="53"/>
                </a:cubicBezTo>
                <a:cubicBezTo>
                  <a:pt x="472" y="52"/>
                  <a:pt x="472" y="52"/>
                  <a:pt x="472" y="52"/>
                </a:cubicBezTo>
                <a:cubicBezTo>
                  <a:pt x="472" y="52"/>
                  <a:pt x="472" y="52"/>
                  <a:pt x="472" y="52"/>
                </a:cubicBezTo>
                <a:cubicBezTo>
                  <a:pt x="471" y="52"/>
                  <a:pt x="471" y="52"/>
                  <a:pt x="471" y="52"/>
                </a:cubicBezTo>
                <a:cubicBezTo>
                  <a:pt x="471" y="51"/>
                  <a:pt x="471" y="51"/>
                  <a:pt x="471" y="51"/>
                </a:cubicBezTo>
                <a:cubicBezTo>
                  <a:pt x="470" y="50"/>
                  <a:pt x="470" y="50"/>
                  <a:pt x="470" y="50"/>
                </a:cubicBezTo>
                <a:cubicBezTo>
                  <a:pt x="468" y="50"/>
                  <a:pt x="468" y="50"/>
                  <a:pt x="468" y="50"/>
                </a:cubicBezTo>
                <a:cubicBezTo>
                  <a:pt x="467" y="50"/>
                  <a:pt x="467" y="50"/>
                  <a:pt x="467" y="50"/>
                </a:cubicBezTo>
                <a:cubicBezTo>
                  <a:pt x="464" y="50"/>
                  <a:pt x="464" y="50"/>
                  <a:pt x="464" y="50"/>
                </a:cubicBezTo>
                <a:cubicBezTo>
                  <a:pt x="464" y="50"/>
                  <a:pt x="464" y="50"/>
                  <a:pt x="464" y="50"/>
                </a:cubicBezTo>
                <a:cubicBezTo>
                  <a:pt x="465" y="49"/>
                  <a:pt x="465" y="49"/>
                  <a:pt x="465" y="49"/>
                </a:cubicBezTo>
                <a:cubicBezTo>
                  <a:pt x="465" y="47"/>
                  <a:pt x="465" y="47"/>
                  <a:pt x="465" y="47"/>
                </a:cubicBezTo>
                <a:cubicBezTo>
                  <a:pt x="467" y="47"/>
                  <a:pt x="467" y="47"/>
                  <a:pt x="467" y="47"/>
                </a:cubicBezTo>
                <a:cubicBezTo>
                  <a:pt x="468" y="46"/>
                  <a:pt x="468" y="46"/>
                  <a:pt x="468" y="46"/>
                </a:cubicBezTo>
                <a:cubicBezTo>
                  <a:pt x="469" y="44"/>
                  <a:pt x="469" y="44"/>
                  <a:pt x="469" y="44"/>
                </a:cubicBezTo>
                <a:cubicBezTo>
                  <a:pt x="472" y="42"/>
                  <a:pt x="472" y="42"/>
                  <a:pt x="472" y="42"/>
                </a:cubicBezTo>
                <a:cubicBezTo>
                  <a:pt x="474" y="42"/>
                  <a:pt x="474" y="42"/>
                  <a:pt x="474" y="42"/>
                </a:cubicBezTo>
                <a:cubicBezTo>
                  <a:pt x="477" y="41"/>
                  <a:pt x="477" y="41"/>
                  <a:pt x="477" y="41"/>
                </a:cubicBezTo>
                <a:cubicBezTo>
                  <a:pt x="477" y="40"/>
                  <a:pt x="477" y="40"/>
                  <a:pt x="477" y="40"/>
                </a:cubicBezTo>
                <a:cubicBezTo>
                  <a:pt x="473" y="42"/>
                  <a:pt x="473" y="42"/>
                  <a:pt x="473" y="42"/>
                </a:cubicBezTo>
                <a:cubicBezTo>
                  <a:pt x="471" y="42"/>
                  <a:pt x="471" y="42"/>
                  <a:pt x="471" y="42"/>
                </a:cubicBezTo>
                <a:cubicBezTo>
                  <a:pt x="468" y="44"/>
                  <a:pt x="468" y="44"/>
                  <a:pt x="468" y="44"/>
                </a:cubicBezTo>
                <a:cubicBezTo>
                  <a:pt x="467" y="46"/>
                  <a:pt x="467" y="46"/>
                  <a:pt x="467" y="46"/>
                </a:cubicBezTo>
                <a:cubicBezTo>
                  <a:pt x="467" y="46"/>
                  <a:pt x="467" y="46"/>
                  <a:pt x="467" y="46"/>
                </a:cubicBezTo>
                <a:cubicBezTo>
                  <a:pt x="466" y="44"/>
                  <a:pt x="466" y="44"/>
                  <a:pt x="466" y="44"/>
                </a:cubicBezTo>
                <a:cubicBezTo>
                  <a:pt x="466" y="44"/>
                  <a:pt x="466" y="44"/>
                  <a:pt x="466" y="44"/>
                </a:cubicBezTo>
                <a:cubicBezTo>
                  <a:pt x="465" y="45"/>
                  <a:pt x="465" y="45"/>
                  <a:pt x="465" y="45"/>
                </a:cubicBezTo>
                <a:cubicBezTo>
                  <a:pt x="464" y="46"/>
                  <a:pt x="464" y="46"/>
                  <a:pt x="464" y="46"/>
                </a:cubicBezTo>
                <a:cubicBezTo>
                  <a:pt x="462" y="48"/>
                  <a:pt x="462" y="48"/>
                  <a:pt x="462" y="48"/>
                </a:cubicBezTo>
                <a:cubicBezTo>
                  <a:pt x="463" y="48"/>
                  <a:pt x="463" y="48"/>
                  <a:pt x="463" y="48"/>
                </a:cubicBezTo>
                <a:cubicBezTo>
                  <a:pt x="463" y="48"/>
                  <a:pt x="463" y="48"/>
                  <a:pt x="463" y="48"/>
                </a:cubicBezTo>
                <a:cubicBezTo>
                  <a:pt x="461" y="50"/>
                  <a:pt x="461" y="50"/>
                  <a:pt x="461" y="50"/>
                </a:cubicBezTo>
                <a:cubicBezTo>
                  <a:pt x="460" y="50"/>
                  <a:pt x="460" y="50"/>
                  <a:pt x="460" y="50"/>
                </a:cubicBezTo>
                <a:cubicBezTo>
                  <a:pt x="455" y="52"/>
                  <a:pt x="455" y="52"/>
                  <a:pt x="455" y="52"/>
                </a:cubicBezTo>
                <a:cubicBezTo>
                  <a:pt x="454" y="52"/>
                  <a:pt x="454" y="52"/>
                  <a:pt x="454" y="52"/>
                </a:cubicBezTo>
                <a:cubicBezTo>
                  <a:pt x="453" y="52"/>
                  <a:pt x="453" y="52"/>
                  <a:pt x="453" y="52"/>
                </a:cubicBezTo>
                <a:cubicBezTo>
                  <a:pt x="449" y="52"/>
                  <a:pt x="449" y="52"/>
                  <a:pt x="449" y="52"/>
                </a:cubicBezTo>
                <a:cubicBezTo>
                  <a:pt x="447" y="50"/>
                  <a:pt x="447" y="50"/>
                  <a:pt x="447" y="50"/>
                </a:cubicBezTo>
                <a:cubicBezTo>
                  <a:pt x="446" y="51"/>
                  <a:pt x="446" y="51"/>
                  <a:pt x="446" y="51"/>
                </a:cubicBezTo>
                <a:cubicBezTo>
                  <a:pt x="445" y="51"/>
                  <a:pt x="445" y="51"/>
                  <a:pt x="445" y="51"/>
                </a:cubicBezTo>
                <a:cubicBezTo>
                  <a:pt x="444" y="49"/>
                  <a:pt x="444" y="49"/>
                  <a:pt x="444" y="49"/>
                </a:cubicBezTo>
                <a:cubicBezTo>
                  <a:pt x="446" y="48"/>
                  <a:pt x="446" y="48"/>
                  <a:pt x="446" y="48"/>
                </a:cubicBezTo>
                <a:cubicBezTo>
                  <a:pt x="448" y="48"/>
                  <a:pt x="448" y="48"/>
                  <a:pt x="448" y="48"/>
                </a:cubicBezTo>
                <a:cubicBezTo>
                  <a:pt x="449" y="47"/>
                  <a:pt x="449" y="47"/>
                  <a:pt x="449" y="47"/>
                </a:cubicBezTo>
                <a:cubicBezTo>
                  <a:pt x="451" y="47"/>
                  <a:pt x="451" y="47"/>
                  <a:pt x="451" y="47"/>
                </a:cubicBezTo>
                <a:cubicBezTo>
                  <a:pt x="452" y="46"/>
                  <a:pt x="452" y="46"/>
                  <a:pt x="452" y="46"/>
                </a:cubicBezTo>
                <a:cubicBezTo>
                  <a:pt x="451" y="46"/>
                  <a:pt x="451" y="46"/>
                  <a:pt x="451" y="46"/>
                </a:cubicBezTo>
                <a:cubicBezTo>
                  <a:pt x="450" y="47"/>
                  <a:pt x="450" y="47"/>
                  <a:pt x="450" y="47"/>
                </a:cubicBezTo>
                <a:cubicBezTo>
                  <a:pt x="448" y="46"/>
                  <a:pt x="448" y="46"/>
                  <a:pt x="448" y="46"/>
                </a:cubicBezTo>
                <a:cubicBezTo>
                  <a:pt x="447" y="47"/>
                  <a:pt x="447" y="47"/>
                  <a:pt x="447" y="47"/>
                </a:cubicBezTo>
                <a:cubicBezTo>
                  <a:pt x="446" y="47"/>
                  <a:pt x="446" y="47"/>
                  <a:pt x="446" y="47"/>
                </a:cubicBezTo>
                <a:cubicBezTo>
                  <a:pt x="446" y="46"/>
                  <a:pt x="446" y="46"/>
                  <a:pt x="446" y="46"/>
                </a:cubicBezTo>
                <a:cubicBezTo>
                  <a:pt x="447" y="45"/>
                  <a:pt x="447" y="45"/>
                  <a:pt x="447" y="45"/>
                </a:cubicBezTo>
                <a:cubicBezTo>
                  <a:pt x="446" y="45"/>
                  <a:pt x="446" y="45"/>
                  <a:pt x="446" y="45"/>
                </a:cubicBezTo>
                <a:cubicBezTo>
                  <a:pt x="444" y="45"/>
                  <a:pt x="444" y="45"/>
                  <a:pt x="444" y="45"/>
                </a:cubicBezTo>
                <a:cubicBezTo>
                  <a:pt x="444" y="47"/>
                  <a:pt x="444" y="47"/>
                  <a:pt x="444" y="47"/>
                </a:cubicBezTo>
                <a:cubicBezTo>
                  <a:pt x="442" y="49"/>
                  <a:pt x="442" y="49"/>
                  <a:pt x="442" y="49"/>
                </a:cubicBezTo>
                <a:cubicBezTo>
                  <a:pt x="440" y="49"/>
                  <a:pt x="440" y="49"/>
                  <a:pt x="440" y="49"/>
                </a:cubicBezTo>
                <a:cubicBezTo>
                  <a:pt x="437" y="48"/>
                  <a:pt x="437" y="48"/>
                  <a:pt x="437" y="48"/>
                </a:cubicBezTo>
                <a:cubicBezTo>
                  <a:pt x="435" y="48"/>
                  <a:pt x="435" y="48"/>
                  <a:pt x="435" y="48"/>
                </a:cubicBezTo>
                <a:cubicBezTo>
                  <a:pt x="434" y="47"/>
                  <a:pt x="434" y="47"/>
                  <a:pt x="434" y="47"/>
                </a:cubicBezTo>
                <a:cubicBezTo>
                  <a:pt x="434" y="46"/>
                  <a:pt x="434" y="46"/>
                  <a:pt x="434" y="46"/>
                </a:cubicBezTo>
                <a:cubicBezTo>
                  <a:pt x="432" y="46"/>
                  <a:pt x="432" y="46"/>
                  <a:pt x="432" y="46"/>
                </a:cubicBezTo>
                <a:cubicBezTo>
                  <a:pt x="431" y="45"/>
                  <a:pt x="431" y="45"/>
                  <a:pt x="431" y="45"/>
                </a:cubicBezTo>
                <a:cubicBezTo>
                  <a:pt x="431" y="44"/>
                  <a:pt x="431" y="44"/>
                  <a:pt x="431" y="44"/>
                </a:cubicBezTo>
                <a:cubicBezTo>
                  <a:pt x="432" y="43"/>
                  <a:pt x="432" y="43"/>
                  <a:pt x="432" y="43"/>
                </a:cubicBezTo>
                <a:cubicBezTo>
                  <a:pt x="433" y="42"/>
                  <a:pt x="433" y="42"/>
                  <a:pt x="433" y="42"/>
                </a:cubicBezTo>
                <a:cubicBezTo>
                  <a:pt x="435" y="41"/>
                  <a:pt x="435" y="41"/>
                  <a:pt x="435" y="41"/>
                </a:cubicBezTo>
                <a:cubicBezTo>
                  <a:pt x="436" y="39"/>
                  <a:pt x="436" y="39"/>
                  <a:pt x="436" y="39"/>
                </a:cubicBezTo>
                <a:cubicBezTo>
                  <a:pt x="438" y="38"/>
                  <a:pt x="438" y="38"/>
                  <a:pt x="438" y="38"/>
                </a:cubicBezTo>
                <a:cubicBezTo>
                  <a:pt x="438" y="38"/>
                  <a:pt x="438" y="38"/>
                  <a:pt x="438" y="38"/>
                </a:cubicBezTo>
                <a:cubicBezTo>
                  <a:pt x="440" y="38"/>
                  <a:pt x="440" y="38"/>
                  <a:pt x="440" y="38"/>
                </a:cubicBezTo>
                <a:cubicBezTo>
                  <a:pt x="442" y="38"/>
                  <a:pt x="442" y="38"/>
                  <a:pt x="442" y="38"/>
                </a:cubicBezTo>
                <a:cubicBezTo>
                  <a:pt x="443" y="38"/>
                  <a:pt x="443" y="38"/>
                  <a:pt x="443" y="38"/>
                </a:cubicBezTo>
                <a:cubicBezTo>
                  <a:pt x="444" y="38"/>
                  <a:pt x="444" y="38"/>
                  <a:pt x="444" y="38"/>
                </a:cubicBezTo>
                <a:cubicBezTo>
                  <a:pt x="447" y="39"/>
                  <a:pt x="447" y="39"/>
                  <a:pt x="447" y="39"/>
                </a:cubicBezTo>
                <a:cubicBezTo>
                  <a:pt x="449" y="39"/>
                  <a:pt x="449" y="39"/>
                  <a:pt x="449" y="39"/>
                </a:cubicBezTo>
                <a:cubicBezTo>
                  <a:pt x="450" y="40"/>
                  <a:pt x="450" y="40"/>
                  <a:pt x="450" y="40"/>
                </a:cubicBezTo>
                <a:cubicBezTo>
                  <a:pt x="452" y="39"/>
                  <a:pt x="452" y="39"/>
                  <a:pt x="452" y="39"/>
                </a:cubicBezTo>
                <a:cubicBezTo>
                  <a:pt x="452" y="39"/>
                  <a:pt x="452" y="39"/>
                  <a:pt x="452" y="39"/>
                </a:cubicBezTo>
                <a:cubicBezTo>
                  <a:pt x="451" y="38"/>
                  <a:pt x="451" y="38"/>
                  <a:pt x="451" y="38"/>
                </a:cubicBezTo>
                <a:cubicBezTo>
                  <a:pt x="449" y="39"/>
                  <a:pt x="449" y="39"/>
                  <a:pt x="449" y="39"/>
                </a:cubicBezTo>
                <a:cubicBezTo>
                  <a:pt x="446" y="38"/>
                  <a:pt x="446" y="38"/>
                  <a:pt x="446" y="38"/>
                </a:cubicBezTo>
                <a:cubicBezTo>
                  <a:pt x="445" y="37"/>
                  <a:pt x="445" y="37"/>
                  <a:pt x="445" y="37"/>
                </a:cubicBezTo>
                <a:cubicBezTo>
                  <a:pt x="443" y="37"/>
                  <a:pt x="443" y="37"/>
                  <a:pt x="443" y="37"/>
                </a:cubicBezTo>
                <a:cubicBezTo>
                  <a:pt x="441" y="37"/>
                  <a:pt x="441" y="37"/>
                  <a:pt x="441" y="37"/>
                </a:cubicBezTo>
                <a:cubicBezTo>
                  <a:pt x="438" y="37"/>
                  <a:pt x="438" y="37"/>
                  <a:pt x="438" y="37"/>
                </a:cubicBezTo>
                <a:cubicBezTo>
                  <a:pt x="437" y="37"/>
                  <a:pt x="437" y="37"/>
                  <a:pt x="437" y="37"/>
                </a:cubicBezTo>
                <a:cubicBezTo>
                  <a:pt x="437" y="37"/>
                  <a:pt x="437" y="37"/>
                  <a:pt x="437" y="37"/>
                </a:cubicBezTo>
                <a:cubicBezTo>
                  <a:pt x="435" y="39"/>
                  <a:pt x="435" y="39"/>
                  <a:pt x="435" y="39"/>
                </a:cubicBezTo>
                <a:cubicBezTo>
                  <a:pt x="433" y="40"/>
                  <a:pt x="433" y="40"/>
                  <a:pt x="433" y="40"/>
                </a:cubicBezTo>
                <a:cubicBezTo>
                  <a:pt x="431" y="41"/>
                  <a:pt x="431" y="41"/>
                  <a:pt x="431" y="41"/>
                </a:cubicBezTo>
                <a:cubicBezTo>
                  <a:pt x="429" y="43"/>
                  <a:pt x="429" y="43"/>
                  <a:pt x="429" y="43"/>
                </a:cubicBezTo>
                <a:cubicBezTo>
                  <a:pt x="429" y="43"/>
                  <a:pt x="429" y="43"/>
                  <a:pt x="429" y="43"/>
                </a:cubicBezTo>
                <a:cubicBezTo>
                  <a:pt x="428" y="43"/>
                  <a:pt x="428" y="43"/>
                  <a:pt x="428" y="43"/>
                </a:cubicBezTo>
                <a:cubicBezTo>
                  <a:pt x="426" y="41"/>
                  <a:pt x="426" y="41"/>
                  <a:pt x="426" y="41"/>
                </a:cubicBezTo>
                <a:cubicBezTo>
                  <a:pt x="425" y="41"/>
                  <a:pt x="425" y="41"/>
                  <a:pt x="425" y="41"/>
                </a:cubicBezTo>
                <a:cubicBezTo>
                  <a:pt x="425" y="40"/>
                  <a:pt x="425" y="40"/>
                  <a:pt x="425" y="40"/>
                </a:cubicBezTo>
                <a:cubicBezTo>
                  <a:pt x="424" y="38"/>
                  <a:pt x="424" y="38"/>
                  <a:pt x="424" y="38"/>
                </a:cubicBezTo>
                <a:cubicBezTo>
                  <a:pt x="424" y="37"/>
                  <a:pt x="424" y="37"/>
                  <a:pt x="424" y="37"/>
                </a:cubicBezTo>
                <a:cubicBezTo>
                  <a:pt x="423" y="36"/>
                  <a:pt x="423" y="36"/>
                  <a:pt x="423" y="36"/>
                </a:cubicBezTo>
                <a:cubicBezTo>
                  <a:pt x="423" y="34"/>
                  <a:pt x="423" y="34"/>
                  <a:pt x="423" y="34"/>
                </a:cubicBezTo>
                <a:cubicBezTo>
                  <a:pt x="424" y="34"/>
                  <a:pt x="424" y="34"/>
                  <a:pt x="424" y="34"/>
                </a:cubicBezTo>
                <a:cubicBezTo>
                  <a:pt x="425" y="34"/>
                  <a:pt x="425" y="34"/>
                  <a:pt x="425" y="34"/>
                </a:cubicBezTo>
                <a:cubicBezTo>
                  <a:pt x="426" y="34"/>
                  <a:pt x="426" y="34"/>
                  <a:pt x="426" y="34"/>
                </a:cubicBezTo>
                <a:cubicBezTo>
                  <a:pt x="427" y="34"/>
                  <a:pt x="427" y="34"/>
                  <a:pt x="427" y="34"/>
                </a:cubicBezTo>
                <a:cubicBezTo>
                  <a:pt x="431" y="34"/>
                  <a:pt x="431" y="34"/>
                  <a:pt x="431" y="34"/>
                </a:cubicBezTo>
                <a:cubicBezTo>
                  <a:pt x="433" y="35"/>
                  <a:pt x="433" y="35"/>
                  <a:pt x="433" y="35"/>
                </a:cubicBezTo>
                <a:cubicBezTo>
                  <a:pt x="434" y="35"/>
                  <a:pt x="434" y="35"/>
                  <a:pt x="434" y="35"/>
                </a:cubicBezTo>
                <a:cubicBezTo>
                  <a:pt x="434" y="36"/>
                  <a:pt x="434" y="36"/>
                  <a:pt x="434" y="36"/>
                </a:cubicBezTo>
                <a:cubicBezTo>
                  <a:pt x="436" y="36"/>
                  <a:pt x="436" y="36"/>
                  <a:pt x="436" y="36"/>
                </a:cubicBezTo>
                <a:cubicBezTo>
                  <a:pt x="437" y="35"/>
                  <a:pt x="437" y="35"/>
                  <a:pt x="437" y="35"/>
                </a:cubicBezTo>
                <a:cubicBezTo>
                  <a:pt x="439" y="36"/>
                  <a:pt x="439" y="36"/>
                  <a:pt x="439" y="36"/>
                </a:cubicBezTo>
                <a:cubicBezTo>
                  <a:pt x="439" y="35"/>
                  <a:pt x="439" y="35"/>
                  <a:pt x="439" y="35"/>
                </a:cubicBezTo>
                <a:cubicBezTo>
                  <a:pt x="440" y="35"/>
                  <a:pt x="440" y="35"/>
                  <a:pt x="440" y="35"/>
                </a:cubicBezTo>
                <a:cubicBezTo>
                  <a:pt x="441" y="34"/>
                  <a:pt x="441" y="34"/>
                  <a:pt x="441" y="34"/>
                </a:cubicBezTo>
                <a:cubicBezTo>
                  <a:pt x="443" y="34"/>
                  <a:pt x="443" y="34"/>
                  <a:pt x="443" y="34"/>
                </a:cubicBezTo>
                <a:cubicBezTo>
                  <a:pt x="446" y="34"/>
                  <a:pt x="446" y="34"/>
                  <a:pt x="446" y="34"/>
                </a:cubicBezTo>
                <a:cubicBezTo>
                  <a:pt x="446" y="33"/>
                  <a:pt x="446" y="33"/>
                  <a:pt x="446" y="33"/>
                </a:cubicBezTo>
                <a:cubicBezTo>
                  <a:pt x="446" y="32"/>
                  <a:pt x="446" y="32"/>
                  <a:pt x="446" y="32"/>
                </a:cubicBezTo>
                <a:cubicBezTo>
                  <a:pt x="445" y="32"/>
                  <a:pt x="445" y="32"/>
                  <a:pt x="445" y="32"/>
                </a:cubicBezTo>
                <a:cubicBezTo>
                  <a:pt x="445" y="33"/>
                  <a:pt x="445" y="33"/>
                  <a:pt x="445" y="33"/>
                </a:cubicBezTo>
                <a:cubicBezTo>
                  <a:pt x="444" y="33"/>
                  <a:pt x="444" y="33"/>
                  <a:pt x="444" y="33"/>
                </a:cubicBezTo>
                <a:cubicBezTo>
                  <a:pt x="442" y="33"/>
                  <a:pt x="442" y="33"/>
                  <a:pt x="442" y="33"/>
                </a:cubicBezTo>
                <a:cubicBezTo>
                  <a:pt x="440" y="33"/>
                  <a:pt x="440" y="33"/>
                  <a:pt x="440" y="33"/>
                </a:cubicBezTo>
                <a:cubicBezTo>
                  <a:pt x="438" y="34"/>
                  <a:pt x="438" y="34"/>
                  <a:pt x="438" y="34"/>
                </a:cubicBezTo>
                <a:cubicBezTo>
                  <a:pt x="437" y="35"/>
                  <a:pt x="437" y="35"/>
                  <a:pt x="437" y="35"/>
                </a:cubicBezTo>
                <a:cubicBezTo>
                  <a:pt x="435" y="34"/>
                  <a:pt x="435" y="34"/>
                  <a:pt x="435" y="34"/>
                </a:cubicBezTo>
                <a:cubicBezTo>
                  <a:pt x="434" y="35"/>
                  <a:pt x="434" y="35"/>
                  <a:pt x="434" y="35"/>
                </a:cubicBezTo>
                <a:cubicBezTo>
                  <a:pt x="433" y="35"/>
                  <a:pt x="433" y="35"/>
                  <a:pt x="433" y="35"/>
                </a:cubicBezTo>
                <a:cubicBezTo>
                  <a:pt x="432" y="33"/>
                  <a:pt x="432" y="33"/>
                  <a:pt x="432" y="33"/>
                </a:cubicBezTo>
                <a:cubicBezTo>
                  <a:pt x="431" y="33"/>
                  <a:pt x="431" y="33"/>
                  <a:pt x="431" y="33"/>
                </a:cubicBezTo>
                <a:cubicBezTo>
                  <a:pt x="431" y="33"/>
                  <a:pt x="431" y="33"/>
                  <a:pt x="431" y="33"/>
                </a:cubicBezTo>
                <a:cubicBezTo>
                  <a:pt x="429" y="33"/>
                  <a:pt x="429" y="33"/>
                  <a:pt x="429" y="33"/>
                </a:cubicBezTo>
                <a:cubicBezTo>
                  <a:pt x="427" y="32"/>
                  <a:pt x="427" y="32"/>
                  <a:pt x="427" y="32"/>
                </a:cubicBezTo>
                <a:cubicBezTo>
                  <a:pt x="426" y="32"/>
                  <a:pt x="426" y="32"/>
                  <a:pt x="426" y="32"/>
                </a:cubicBezTo>
                <a:cubicBezTo>
                  <a:pt x="424" y="32"/>
                  <a:pt x="424" y="32"/>
                  <a:pt x="424" y="32"/>
                </a:cubicBezTo>
                <a:cubicBezTo>
                  <a:pt x="424" y="31"/>
                  <a:pt x="424" y="31"/>
                  <a:pt x="424" y="31"/>
                </a:cubicBezTo>
                <a:cubicBezTo>
                  <a:pt x="425" y="30"/>
                  <a:pt x="425" y="30"/>
                  <a:pt x="425" y="30"/>
                </a:cubicBezTo>
                <a:cubicBezTo>
                  <a:pt x="425" y="29"/>
                  <a:pt x="425" y="29"/>
                  <a:pt x="425" y="29"/>
                </a:cubicBezTo>
                <a:cubicBezTo>
                  <a:pt x="425" y="28"/>
                  <a:pt x="425" y="28"/>
                  <a:pt x="425" y="28"/>
                </a:cubicBezTo>
                <a:cubicBezTo>
                  <a:pt x="426" y="28"/>
                  <a:pt x="426" y="28"/>
                  <a:pt x="426" y="28"/>
                </a:cubicBezTo>
                <a:cubicBezTo>
                  <a:pt x="427" y="29"/>
                  <a:pt x="427" y="29"/>
                  <a:pt x="427" y="29"/>
                </a:cubicBezTo>
                <a:cubicBezTo>
                  <a:pt x="429" y="29"/>
                  <a:pt x="429" y="29"/>
                  <a:pt x="429" y="29"/>
                </a:cubicBezTo>
                <a:cubicBezTo>
                  <a:pt x="430" y="29"/>
                  <a:pt x="430" y="29"/>
                  <a:pt x="430" y="29"/>
                </a:cubicBezTo>
                <a:cubicBezTo>
                  <a:pt x="429" y="28"/>
                  <a:pt x="429" y="28"/>
                  <a:pt x="429" y="28"/>
                </a:cubicBezTo>
                <a:cubicBezTo>
                  <a:pt x="428" y="28"/>
                  <a:pt x="428" y="28"/>
                  <a:pt x="428" y="28"/>
                </a:cubicBezTo>
                <a:cubicBezTo>
                  <a:pt x="427" y="27"/>
                  <a:pt x="427" y="27"/>
                  <a:pt x="427" y="27"/>
                </a:cubicBezTo>
                <a:cubicBezTo>
                  <a:pt x="427" y="26"/>
                  <a:pt x="427" y="26"/>
                  <a:pt x="427" y="26"/>
                </a:cubicBezTo>
                <a:cubicBezTo>
                  <a:pt x="429" y="26"/>
                  <a:pt x="429" y="26"/>
                  <a:pt x="429" y="26"/>
                </a:cubicBezTo>
                <a:cubicBezTo>
                  <a:pt x="430" y="25"/>
                  <a:pt x="430" y="25"/>
                  <a:pt x="430" y="25"/>
                </a:cubicBezTo>
                <a:cubicBezTo>
                  <a:pt x="433" y="25"/>
                  <a:pt x="433" y="25"/>
                  <a:pt x="433" y="25"/>
                </a:cubicBezTo>
                <a:cubicBezTo>
                  <a:pt x="433" y="24"/>
                  <a:pt x="433" y="24"/>
                  <a:pt x="433" y="24"/>
                </a:cubicBezTo>
                <a:cubicBezTo>
                  <a:pt x="435" y="24"/>
                  <a:pt x="435" y="24"/>
                  <a:pt x="435" y="24"/>
                </a:cubicBezTo>
                <a:cubicBezTo>
                  <a:pt x="435" y="24"/>
                  <a:pt x="435" y="24"/>
                  <a:pt x="435" y="24"/>
                </a:cubicBezTo>
                <a:cubicBezTo>
                  <a:pt x="436" y="24"/>
                  <a:pt x="436" y="24"/>
                  <a:pt x="436" y="24"/>
                </a:cubicBezTo>
                <a:cubicBezTo>
                  <a:pt x="436" y="23"/>
                  <a:pt x="436" y="23"/>
                  <a:pt x="436" y="23"/>
                </a:cubicBezTo>
                <a:cubicBezTo>
                  <a:pt x="436" y="23"/>
                  <a:pt x="436" y="23"/>
                  <a:pt x="436" y="23"/>
                </a:cubicBezTo>
                <a:cubicBezTo>
                  <a:pt x="433" y="23"/>
                  <a:pt x="433" y="23"/>
                  <a:pt x="433" y="23"/>
                </a:cubicBezTo>
                <a:cubicBezTo>
                  <a:pt x="431" y="24"/>
                  <a:pt x="431" y="24"/>
                  <a:pt x="431" y="24"/>
                </a:cubicBezTo>
                <a:cubicBezTo>
                  <a:pt x="429" y="24"/>
                  <a:pt x="429" y="24"/>
                  <a:pt x="429" y="24"/>
                </a:cubicBezTo>
                <a:cubicBezTo>
                  <a:pt x="428" y="24"/>
                  <a:pt x="428" y="24"/>
                  <a:pt x="428" y="24"/>
                </a:cubicBezTo>
                <a:cubicBezTo>
                  <a:pt x="427" y="25"/>
                  <a:pt x="427" y="25"/>
                  <a:pt x="427" y="25"/>
                </a:cubicBezTo>
                <a:cubicBezTo>
                  <a:pt x="426" y="25"/>
                  <a:pt x="426" y="25"/>
                  <a:pt x="426" y="25"/>
                </a:cubicBezTo>
                <a:cubicBezTo>
                  <a:pt x="426" y="24"/>
                  <a:pt x="426" y="24"/>
                  <a:pt x="426" y="24"/>
                </a:cubicBezTo>
                <a:cubicBezTo>
                  <a:pt x="426" y="23"/>
                  <a:pt x="426" y="23"/>
                  <a:pt x="426" y="23"/>
                </a:cubicBezTo>
                <a:cubicBezTo>
                  <a:pt x="428" y="22"/>
                  <a:pt x="428" y="22"/>
                  <a:pt x="428" y="22"/>
                </a:cubicBezTo>
                <a:cubicBezTo>
                  <a:pt x="429" y="21"/>
                  <a:pt x="429" y="21"/>
                  <a:pt x="429" y="21"/>
                </a:cubicBezTo>
                <a:cubicBezTo>
                  <a:pt x="431" y="21"/>
                  <a:pt x="431" y="21"/>
                  <a:pt x="431" y="21"/>
                </a:cubicBezTo>
                <a:cubicBezTo>
                  <a:pt x="432" y="20"/>
                  <a:pt x="432" y="20"/>
                  <a:pt x="432" y="20"/>
                </a:cubicBezTo>
                <a:cubicBezTo>
                  <a:pt x="431" y="20"/>
                  <a:pt x="431" y="20"/>
                  <a:pt x="431" y="20"/>
                </a:cubicBezTo>
                <a:cubicBezTo>
                  <a:pt x="430" y="20"/>
                  <a:pt x="430" y="20"/>
                  <a:pt x="430" y="20"/>
                </a:cubicBezTo>
                <a:cubicBezTo>
                  <a:pt x="431" y="18"/>
                  <a:pt x="431" y="18"/>
                  <a:pt x="431" y="18"/>
                </a:cubicBezTo>
                <a:cubicBezTo>
                  <a:pt x="430" y="18"/>
                  <a:pt x="430" y="18"/>
                  <a:pt x="430" y="18"/>
                </a:cubicBezTo>
                <a:cubicBezTo>
                  <a:pt x="430" y="19"/>
                  <a:pt x="430" y="19"/>
                  <a:pt x="430" y="19"/>
                </a:cubicBezTo>
                <a:cubicBezTo>
                  <a:pt x="429" y="20"/>
                  <a:pt x="429" y="20"/>
                  <a:pt x="429" y="20"/>
                </a:cubicBezTo>
                <a:cubicBezTo>
                  <a:pt x="429" y="19"/>
                  <a:pt x="429" y="19"/>
                  <a:pt x="429" y="19"/>
                </a:cubicBezTo>
                <a:cubicBezTo>
                  <a:pt x="428" y="19"/>
                  <a:pt x="428" y="19"/>
                  <a:pt x="428" y="19"/>
                </a:cubicBezTo>
                <a:cubicBezTo>
                  <a:pt x="427" y="19"/>
                  <a:pt x="427" y="19"/>
                  <a:pt x="427" y="19"/>
                </a:cubicBezTo>
                <a:cubicBezTo>
                  <a:pt x="426" y="20"/>
                  <a:pt x="426" y="20"/>
                  <a:pt x="426" y="20"/>
                </a:cubicBezTo>
                <a:cubicBezTo>
                  <a:pt x="426" y="21"/>
                  <a:pt x="426" y="21"/>
                  <a:pt x="426" y="21"/>
                </a:cubicBezTo>
                <a:cubicBezTo>
                  <a:pt x="426" y="21"/>
                  <a:pt x="426" y="21"/>
                  <a:pt x="426" y="21"/>
                </a:cubicBezTo>
                <a:cubicBezTo>
                  <a:pt x="424" y="22"/>
                  <a:pt x="424" y="22"/>
                  <a:pt x="424" y="22"/>
                </a:cubicBezTo>
                <a:cubicBezTo>
                  <a:pt x="424" y="21"/>
                  <a:pt x="424" y="21"/>
                  <a:pt x="424" y="21"/>
                </a:cubicBezTo>
                <a:cubicBezTo>
                  <a:pt x="424" y="19"/>
                  <a:pt x="424" y="19"/>
                  <a:pt x="424" y="19"/>
                </a:cubicBezTo>
                <a:cubicBezTo>
                  <a:pt x="424" y="19"/>
                  <a:pt x="424" y="19"/>
                  <a:pt x="424" y="19"/>
                </a:cubicBezTo>
                <a:cubicBezTo>
                  <a:pt x="423" y="18"/>
                  <a:pt x="423" y="18"/>
                  <a:pt x="423" y="18"/>
                </a:cubicBezTo>
                <a:cubicBezTo>
                  <a:pt x="424" y="18"/>
                  <a:pt x="424" y="18"/>
                  <a:pt x="424" y="18"/>
                </a:cubicBezTo>
                <a:cubicBezTo>
                  <a:pt x="425" y="18"/>
                  <a:pt x="425" y="18"/>
                  <a:pt x="425" y="18"/>
                </a:cubicBezTo>
                <a:cubicBezTo>
                  <a:pt x="425" y="17"/>
                  <a:pt x="425" y="17"/>
                  <a:pt x="425" y="17"/>
                </a:cubicBezTo>
                <a:cubicBezTo>
                  <a:pt x="426" y="16"/>
                  <a:pt x="426" y="16"/>
                  <a:pt x="426" y="16"/>
                </a:cubicBezTo>
                <a:cubicBezTo>
                  <a:pt x="427" y="16"/>
                  <a:pt x="427" y="16"/>
                  <a:pt x="427" y="16"/>
                </a:cubicBezTo>
                <a:cubicBezTo>
                  <a:pt x="428" y="15"/>
                  <a:pt x="428" y="15"/>
                  <a:pt x="428" y="15"/>
                </a:cubicBezTo>
                <a:cubicBezTo>
                  <a:pt x="429" y="14"/>
                  <a:pt x="429" y="14"/>
                  <a:pt x="429" y="14"/>
                </a:cubicBezTo>
                <a:cubicBezTo>
                  <a:pt x="430" y="15"/>
                  <a:pt x="430" y="15"/>
                  <a:pt x="430" y="15"/>
                </a:cubicBezTo>
                <a:cubicBezTo>
                  <a:pt x="432" y="14"/>
                  <a:pt x="432" y="14"/>
                  <a:pt x="432" y="14"/>
                </a:cubicBezTo>
                <a:cubicBezTo>
                  <a:pt x="435" y="13"/>
                  <a:pt x="435" y="13"/>
                  <a:pt x="435" y="13"/>
                </a:cubicBezTo>
                <a:cubicBezTo>
                  <a:pt x="435" y="13"/>
                  <a:pt x="435" y="13"/>
                  <a:pt x="435" y="13"/>
                </a:cubicBezTo>
                <a:cubicBezTo>
                  <a:pt x="436" y="13"/>
                  <a:pt x="436" y="13"/>
                  <a:pt x="436" y="13"/>
                </a:cubicBezTo>
                <a:cubicBezTo>
                  <a:pt x="436" y="14"/>
                  <a:pt x="436" y="14"/>
                  <a:pt x="436" y="14"/>
                </a:cubicBezTo>
                <a:cubicBezTo>
                  <a:pt x="436" y="15"/>
                  <a:pt x="436" y="15"/>
                  <a:pt x="436" y="15"/>
                </a:cubicBezTo>
                <a:cubicBezTo>
                  <a:pt x="436" y="18"/>
                  <a:pt x="436" y="18"/>
                  <a:pt x="436" y="18"/>
                </a:cubicBezTo>
                <a:cubicBezTo>
                  <a:pt x="437" y="17"/>
                  <a:pt x="437" y="17"/>
                  <a:pt x="437" y="17"/>
                </a:cubicBezTo>
                <a:cubicBezTo>
                  <a:pt x="437" y="16"/>
                  <a:pt x="437" y="16"/>
                  <a:pt x="437" y="16"/>
                </a:cubicBezTo>
                <a:cubicBezTo>
                  <a:pt x="438" y="15"/>
                  <a:pt x="438" y="15"/>
                  <a:pt x="438" y="15"/>
                </a:cubicBezTo>
                <a:cubicBezTo>
                  <a:pt x="439" y="15"/>
                  <a:pt x="439" y="15"/>
                  <a:pt x="439" y="15"/>
                </a:cubicBezTo>
                <a:cubicBezTo>
                  <a:pt x="438" y="16"/>
                  <a:pt x="438" y="16"/>
                  <a:pt x="438" y="16"/>
                </a:cubicBezTo>
                <a:cubicBezTo>
                  <a:pt x="438" y="17"/>
                  <a:pt x="438" y="17"/>
                  <a:pt x="438" y="17"/>
                </a:cubicBezTo>
                <a:cubicBezTo>
                  <a:pt x="439" y="16"/>
                  <a:pt x="439" y="16"/>
                  <a:pt x="439" y="16"/>
                </a:cubicBezTo>
                <a:cubicBezTo>
                  <a:pt x="439" y="15"/>
                  <a:pt x="439" y="15"/>
                  <a:pt x="439" y="15"/>
                </a:cubicBezTo>
                <a:cubicBezTo>
                  <a:pt x="440" y="15"/>
                  <a:pt x="440" y="15"/>
                  <a:pt x="440" y="15"/>
                </a:cubicBezTo>
                <a:cubicBezTo>
                  <a:pt x="439" y="14"/>
                  <a:pt x="439" y="14"/>
                  <a:pt x="439" y="14"/>
                </a:cubicBezTo>
                <a:cubicBezTo>
                  <a:pt x="440" y="12"/>
                  <a:pt x="440" y="12"/>
                  <a:pt x="440" y="12"/>
                </a:cubicBezTo>
                <a:cubicBezTo>
                  <a:pt x="440" y="12"/>
                  <a:pt x="440" y="12"/>
                  <a:pt x="440" y="12"/>
                </a:cubicBezTo>
                <a:cubicBezTo>
                  <a:pt x="442" y="11"/>
                  <a:pt x="442" y="11"/>
                  <a:pt x="442" y="11"/>
                </a:cubicBezTo>
                <a:cubicBezTo>
                  <a:pt x="443" y="11"/>
                  <a:pt x="443" y="11"/>
                  <a:pt x="443" y="11"/>
                </a:cubicBezTo>
                <a:cubicBezTo>
                  <a:pt x="443" y="12"/>
                  <a:pt x="443" y="12"/>
                  <a:pt x="443" y="12"/>
                </a:cubicBezTo>
                <a:cubicBezTo>
                  <a:pt x="443" y="14"/>
                  <a:pt x="443" y="14"/>
                  <a:pt x="443" y="14"/>
                </a:cubicBezTo>
                <a:cubicBezTo>
                  <a:pt x="444" y="14"/>
                  <a:pt x="444" y="14"/>
                  <a:pt x="444" y="14"/>
                </a:cubicBezTo>
                <a:cubicBezTo>
                  <a:pt x="444" y="16"/>
                  <a:pt x="444" y="16"/>
                  <a:pt x="444" y="16"/>
                </a:cubicBezTo>
                <a:cubicBezTo>
                  <a:pt x="444" y="17"/>
                  <a:pt x="444" y="17"/>
                  <a:pt x="444" y="17"/>
                </a:cubicBezTo>
                <a:cubicBezTo>
                  <a:pt x="444" y="18"/>
                  <a:pt x="444" y="18"/>
                  <a:pt x="444" y="18"/>
                </a:cubicBezTo>
                <a:cubicBezTo>
                  <a:pt x="444" y="19"/>
                  <a:pt x="444" y="19"/>
                  <a:pt x="444" y="19"/>
                </a:cubicBezTo>
                <a:cubicBezTo>
                  <a:pt x="445" y="19"/>
                  <a:pt x="445" y="19"/>
                  <a:pt x="445" y="19"/>
                </a:cubicBezTo>
                <a:cubicBezTo>
                  <a:pt x="445" y="19"/>
                  <a:pt x="445" y="19"/>
                  <a:pt x="445" y="19"/>
                </a:cubicBezTo>
                <a:cubicBezTo>
                  <a:pt x="445" y="18"/>
                  <a:pt x="445" y="18"/>
                  <a:pt x="445" y="18"/>
                </a:cubicBezTo>
                <a:cubicBezTo>
                  <a:pt x="445" y="17"/>
                  <a:pt x="445" y="17"/>
                  <a:pt x="445" y="17"/>
                </a:cubicBezTo>
                <a:cubicBezTo>
                  <a:pt x="446" y="16"/>
                  <a:pt x="446" y="16"/>
                  <a:pt x="446" y="16"/>
                </a:cubicBezTo>
                <a:cubicBezTo>
                  <a:pt x="447" y="14"/>
                  <a:pt x="447" y="14"/>
                  <a:pt x="447" y="14"/>
                </a:cubicBezTo>
                <a:cubicBezTo>
                  <a:pt x="448" y="14"/>
                  <a:pt x="448" y="14"/>
                  <a:pt x="448" y="14"/>
                </a:cubicBezTo>
                <a:cubicBezTo>
                  <a:pt x="449" y="16"/>
                  <a:pt x="449" y="16"/>
                  <a:pt x="449" y="16"/>
                </a:cubicBezTo>
                <a:cubicBezTo>
                  <a:pt x="449" y="17"/>
                  <a:pt x="449" y="17"/>
                  <a:pt x="449" y="17"/>
                </a:cubicBezTo>
                <a:cubicBezTo>
                  <a:pt x="448" y="19"/>
                  <a:pt x="448" y="19"/>
                  <a:pt x="448" y="19"/>
                </a:cubicBezTo>
                <a:cubicBezTo>
                  <a:pt x="449" y="19"/>
                  <a:pt x="449" y="19"/>
                  <a:pt x="449" y="19"/>
                </a:cubicBezTo>
                <a:cubicBezTo>
                  <a:pt x="449" y="20"/>
                  <a:pt x="449" y="20"/>
                  <a:pt x="449" y="20"/>
                </a:cubicBezTo>
                <a:cubicBezTo>
                  <a:pt x="450" y="19"/>
                  <a:pt x="450" y="19"/>
                  <a:pt x="450" y="19"/>
                </a:cubicBezTo>
                <a:cubicBezTo>
                  <a:pt x="450" y="18"/>
                  <a:pt x="450" y="18"/>
                  <a:pt x="450" y="18"/>
                </a:cubicBezTo>
                <a:cubicBezTo>
                  <a:pt x="451" y="18"/>
                  <a:pt x="451" y="18"/>
                  <a:pt x="451" y="18"/>
                </a:cubicBezTo>
                <a:cubicBezTo>
                  <a:pt x="451" y="17"/>
                  <a:pt x="451" y="17"/>
                  <a:pt x="451" y="17"/>
                </a:cubicBezTo>
                <a:cubicBezTo>
                  <a:pt x="452" y="18"/>
                  <a:pt x="452" y="18"/>
                  <a:pt x="452" y="18"/>
                </a:cubicBezTo>
                <a:cubicBezTo>
                  <a:pt x="451" y="18"/>
                  <a:pt x="451" y="18"/>
                  <a:pt x="451" y="18"/>
                </a:cubicBezTo>
                <a:cubicBezTo>
                  <a:pt x="451" y="19"/>
                  <a:pt x="451" y="19"/>
                  <a:pt x="451" y="19"/>
                </a:cubicBezTo>
                <a:cubicBezTo>
                  <a:pt x="452" y="20"/>
                  <a:pt x="452" y="20"/>
                  <a:pt x="452" y="20"/>
                </a:cubicBezTo>
                <a:cubicBezTo>
                  <a:pt x="453" y="19"/>
                  <a:pt x="453" y="19"/>
                  <a:pt x="453" y="19"/>
                </a:cubicBezTo>
                <a:cubicBezTo>
                  <a:pt x="453" y="19"/>
                  <a:pt x="453" y="19"/>
                  <a:pt x="453" y="19"/>
                </a:cubicBezTo>
                <a:cubicBezTo>
                  <a:pt x="453" y="20"/>
                  <a:pt x="453" y="20"/>
                  <a:pt x="453" y="20"/>
                </a:cubicBezTo>
                <a:cubicBezTo>
                  <a:pt x="454" y="20"/>
                  <a:pt x="454" y="20"/>
                  <a:pt x="454" y="20"/>
                </a:cubicBezTo>
                <a:cubicBezTo>
                  <a:pt x="454" y="18"/>
                  <a:pt x="454" y="18"/>
                  <a:pt x="454" y="18"/>
                </a:cubicBezTo>
                <a:cubicBezTo>
                  <a:pt x="453" y="16"/>
                  <a:pt x="453" y="16"/>
                  <a:pt x="453" y="16"/>
                </a:cubicBezTo>
                <a:cubicBezTo>
                  <a:pt x="452" y="16"/>
                  <a:pt x="452" y="16"/>
                  <a:pt x="452" y="16"/>
                </a:cubicBezTo>
                <a:cubicBezTo>
                  <a:pt x="452" y="15"/>
                  <a:pt x="452" y="15"/>
                  <a:pt x="452" y="15"/>
                </a:cubicBezTo>
                <a:cubicBezTo>
                  <a:pt x="452" y="14"/>
                  <a:pt x="452" y="14"/>
                  <a:pt x="452" y="14"/>
                </a:cubicBezTo>
                <a:cubicBezTo>
                  <a:pt x="451" y="13"/>
                  <a:pt x="451" y="13"/>
                  <a:pt x="451" y="13"/>
                </a:cubicBezTo>
                <a:cubicBezTo>
                  <a:pt x="450" y="12"/>
                  <a:pt x="450" y="12"/>
                  <a:pt x="450" y="12"/>
                </a:cubicBezTo>
                <a:cubicBezTo>
                  <a:pt x="450" y="11"/>
                  <a:pt x="450" y="11"/>
                  <a:pt x="450" y="11"/>
                </a:cubicBezTo>
                <a:cubicBezTo>
                  <a:pt x="450" y="10"/>
                  <a:pt x="450" y="10"/>
                  <a:pt x="450" y="10"/>
                </a:cubicBezTo>
                <a:cubicBezTo>
                  <a:pt x="451" y="10"/>
                  <a:pt x="451" y="10"/>
                  <a:pt x="451" y="10"/>
                </a:cubicBezTo>
                <a:cubicBezTo>
                  <a:pt x="452" y="11"/>
                  <a:pt x="452" y="11"/>
                  <a:pt x="452" y="11"/>
                </a:cubicBezTo>
                <a:cubicBezTo>
                  <a:pt x="453" y="10"/>
                  <a:pt x="453" y="10"/>
                  <a:pt x="453" y="10"/>
                </a:cubicBezTo>
                <a:cubicBezTo>
                  <a:pt x="454" y="11"/>
                  <a:pt x="454" y="11"/>
                  <a:pt x="454" y="11"/>
                </a:cubicBezTo>
                <a:cubicBezTo>
                  <a:pt x="455" y="10"/>
                  <a:pt x="455" y="10"/>
                  <a:pt x="455" y="10"/>
                </a:cubicBezTo>
                <a:cubicBezTo>
                  <a:pt x="455" y="8"/>
                  <a:pt x="455" y="8"/>
                  <a:pt x="455" y="8"/>
                </a:cubicBezTo>
                <a:cubicBezTo>
                  <a:pt x="454" y="7"/>
                  <a:pt x="454" y="7"/>
                  <a:pt x="454" y="7"/>
                </a:cubicBezTo>
                <a:cubicBezTo>
                  <a:pt x="454" y="6"/>
                  <a:pt x="454" y="6"/>
                  <a:pt x="454" y="6"/>
                </a:cubicBezTo>
                <a:cubicBezTo>
                  <a:pt x="456" y="6"/>
                  <a:pt x="456" y="6"/>
                  <a:pt x="456" y="6"/>
                </a:cubicBezTo>
                <a:cubicBezTo>
                  <a:pt x="456" y="6"/>
                  <a:pt x="456" y="6"/>
                  <a:pt x="456" y="6"/>
                </a:cubicBezTo>
                <a:cubicBezTo>
                  <a:pt x="459" y="6"/>
                  <a:pt x="459" y="6"/>
                  <a:pt x="459" y="6"/>
                </a:cubicBezTo>
                <a:cubicBezTo>
                  <a:pt x="460" y="7"/>
                  <a:pt x="460" y="7"/>
                  <a:pt x="460" y="7"/>
                </a:cubicBezTo>
                <a:cubicBezTo>
                  <a:pt x="460" y="8"/>
                  <a:pt x="460" y="8"/>
                  <a:pt x="460" y="8"/>
                </a:cubicBezTo>
                <a:cubicBezTo>
                  <a:pt x="459" y="9"/>
                  <a:pt x="459" y="9"/>
                  <a:pt x="459" y="9"/>
                </a:cubicBezTo>
                <a:cubicBezTo>
                  <a:pt x="459" y="9"/>
                  <a:pt x="459" y="9"/>
                  <a:pt x="459" y="9"/>
                </a:cubicBezTo>
                <a:cubicBezTo>
                  <a:pt x="461" y="10"/>
                  <a:pt x="461" y="10"/>
                  <a:pt x="461" y="10"/>
                </a:cubicBezTo>
                <a:cubicBezTo>
                  <a:pt x="461" y="11"/>
                  <a:pt x="461" y="11"/>
                  <a:pt x="461" y="11"/>
                </a:cubicBezTo>
                <a:cubicBezTo>
                  <a:pt x="461" y="13"/>
                  <a:pt x="461" y="13"/>
                  <a:pt x="461" y="13"/>
                </a:cubicBezTo>
                <a:cubicBezTo>
                  <a:pt x="461" y="15"/>
                  <a:pt x="461" y="15"/>
                  <a:pt x="461" y="15"/>
                </a:cubicBezTo>
                <a:cubicBezTo>
                  <a:pt x="462" y="15"/>
                  <a:pt x="462" y="15"/>
                  <a:pt x="462" y="15"/>
                </a:cubicBezTo>
                <a:cubicBezTo>
                  <a:pt x="463" y="13"/>
                  <a:pt x="463" y="13"/>
                  <a:pt x="463" y="13"/>
                </a:cubicBezTo>
                <a:cubicBezTo>
                  <a:pt x="463" y="14"/>
                  <a:pt x="463" y="14"/>
                  <a:pt x="463" y="14"/>
                </a:cubicBezTo>
                <a:cubicBezTo>
                  <a:pt x="463" y="15"/>
                  <a:pt x="463" y="15"/>
                  <a:pt x="463" y="15"/>
                </a:cubicBezTo>
                <a:cubicBezTo>
                  <a:pt x="464" y="15"/>
                  <a:pt x="464" y="15"/>
                  <a:pt x="464" y="15"/>
                </a:cubicBezTo>
                <a:cubicBezTo>
                  <a:pt x="465" y="15"/>
                  <a:pt x="465" y="15"/>
                  <a:pt x="465" y="15"/>
                </a:cubicBezTo>
                <a:cubicBezTo>
                  <a:pt x="465" y="14"/>
                  <a:pt x="465" y="14"/>
                  <a:pt x="465" y="14"/>
                </a:cubicBezTo>
                <a:cubicBezTo>
                  <a:pt x="467" y="13"/>
                  <a:pt x="467" y="13"/>
                  <a:pt x="467" y="13"/>
                </a:cubicBezTo>
                <a:cubicBezTo>
                  <a:pt x="467" y="13"/>
                  <a:pt x="467" y="13"/>
                  <a:pt x="467" y="13"/>
                </a:cubicBezTo>
                <a:cubicBezTo>
                  <a:pt x="466" y="10"/>
                  <a:pt x="466" y="10"/>
                  <a:pt x="466" y="10"/>
                </a:cubicBezTo>
                <a:cubicBezTo>
                  <a:pt x="467" y="9"/>
                  <a:pt x="467" y="9"/>
                  <a:pt x="467" y="9"/>
                </a:cubicBezTo>
                <a:cubicBezTo>
                  <a:pt x="468" y="9"/>
                  <a:pt x="468" y="9"/>
                  <a:pt x="468" y="9"/>
                </a:cubicBezTo>
                <a:cubicBezTo>
                  <a:pt x="469" y="10"/>
                  <a:pt x="469" y="10"/>
                  <a:pt x="469" y="10"/>
                </a:cubicBezTo>
                <a:cubicBezTo>
                  <a:pt x="471" y="10"/>
                  <a:pt x="471" y="10"/>
                  <a:pt x="471" y="10"/>
                </a:cubicBezTo>
                <a:cubicBezTo>
                  <a:pt x="471" y="9"/>
                  <a:pt x="471" y="9"/>
                  <a:pt x="471" y="9"/>
                </a:cubicBezTo>
                <a:cubicBezTo>
                  <a:pt x="469" y="8"/>
                  <a:pt x="469" y="8"/>
                  <a:pt x="469" y="8"/>
                </a:cubicBezTo>
                <a:cubicBezTo>
                  <a:pt x="468" y="6"/>
                  <a:pt x="468" y="6"/>
                  <a:pt x="468" y="6"/>
                </a:cubicBezTo>
                <a:cubicBezTo>
                  <a:pt x="469" y="5"/>
                  <a:pt x="469" y="5"/>
                  <a:pt x="469" y="5"/>
                </a:cubicBezTo>
                <a:cubicBezTo>
                  <a:pt x="469" y="4"/>
                  <a:pt x="469" y="4"/>
                  <a:pt x="469" y="4"/>
                </a:cubicBezTo>
                <a:cubicBezTo>
                  <a:pt x="470" y="4"/>
                  <a:pt x="470" y="4"/>
                  <a:pt x="470" y="4"/>
                </a:cubicBezTo>
                <a:cubicBezTo>
                  <a:pt x="472" y="5"/>
                  <a:pt x="472" y="5"/>
                  <a:pt x="472" y="5"/>
                </a:cubicBezTo>
                <a:cubicBezTo>
                  <a:pt x="472" y="7"/>
                  <a:pt x="472" y="7"/>
                  <a:pt x="472" y="7"/>
                </a:cubicBezTo>
                <a:cubicBezTo>
                  <a:pt x="473" y="8"/>
                  <a:pt x="473" y="8"/>
                  <a:pt x="473" y="8"/>
                </a:cubicBezTo>
                <a:cubicBezTo>
                  <a:pt x="473" y="10"/>
                  <a:pt x="473" y="10"/>
                  <a:pt x="473" y="10"/>
                </a:cubicBezTo>
                <a:cubicBezTo>
                  <a:pt x="473" y="11"/>
                  <a:pt x="473" y="11"/>
                  <a:pt x="473" y="11"/>
                </a:cubicBezTo>
                <a:cubicBezTo>
                  <a:pt x="473" y="13"/>
                  <a:pt x="473" y="13"/>
                  <a:pt x="473" y="13"/>
                </a:cubicBezTo>
                <a:cubicBezTo>
                  <a:pt x="474" y="14"/>
                  <a:pt x="474" y="14"/>
                  <a:pt x="474" y="14"/>
                </a:cubicBezTo>
                <a:cubicBezTo>
                  <a:pt x="475" y="13"/>
                  <a:pt x="475" y="13"/>
                  <a:pt x="475" y="13"/>
                </a:cubicBezTo>
                <a:cubicBezTo>
                  <a:pt x="475" y="12"/>
                  <a:pt x="475" y="12"/>
                  <a:pt x="475" y="12"/>
                </a:cubicBezTo>
                <a:cubicBezTo>
                  <a:pt x="474" y="11"/>
                  <a:pt x="474" y="11"/>
                  <a:pt x="474" y="11"/>
                </a:cubicBezTo>
                <a:cubicBezTo>
                  <a:pt x="474" y="9"/>
                  <a:pt x="474" y="9"/>
                  <a:pt x="474" y="9"/>
                </a:cubicBezTo>
                <a:cubicBezTo>
                  <a:pt x="474" y="7"/>
                  <a:pt x="474" y="7"/>
                  <a:pt x="474" y="7"/>
                </a:cubicBezTo>
                <a:cubicBezTo>
                  <a:pt x="474" y="5"/>
                  <a:pt x="474" y="5"/>
                  <a:pt x="474" y="5"/>
                </a:cubicBezTo>
                <a:cubicBezTo>
                  <a:pt x="474" y="3"/>
                  <a:pt x="474" y="3"/>
                  <a:pt x="474" y="3"/>
                </a:cubicBezTo>
                <a:cubicBezTo>
                  <a:pt x="474" y="2"/>
                  <a:pt x="474" y="2"/>
                  <a:pt x="474" y="2"/>
                </a:cubicBezTo>
                <a:cubicBezTo>
                  <a:pt x="475" y="2"/>
                  <a:pt x="475" y="2"/>
                  <a:pt x="475" y="2"/>
                </a:cubicBezTo>
                <a:cubicBezTo>
                  <a:pt x="476" y="3"/>
                  <a:pt x="476" y="3"/>
                  <a:pt x="476" y="3"/>
                </a:cubicBezTo>
                <a:cubicBezTo>
                  <a:pt x="477" y="3"/>
                  <a:pt x="477" y="3"/>
                  <a:pt x="477" y="3"/>
                </a:cubicBezTo>
                <a:cubicBezTo>
                  <a:pt x="477" y="3"/>
                  <a:pt x="477" y="3"/>
                  <a:pt x="477" y="3"/>
                </a:cubicBezTo>
                <a:cubicBezTo>
                  <a:pt x="477" y="5"/>
                  <a:pt x="477" y="5"/>
                  <a:pt x="477" y="5"/>
                </a:cubicBezTo>
                <a:cubicBezTo>
                  <a:pt x="478" y="6"/>
                  <a:pt x="478" y="6"/>
                  <a:pt x="478" y="6"/>
                </a:cubicBezTo>
                <a:cubicBezTo>
                  <a:pt x="478" y="8"/>
                  <a:pt x="478" y="8"/>
                  <a:pt x="478" y="8"/>
                </a:cubicBezTo>
                <a:cubicBezTo>
                  <a:pt x="478" y="10"/>
                  <a:pt x="478" y="10"/>
                  <a:pt x="478" y="10"/>
                </a:cubicBezTo>
                <a:cubicBezTo>
                  <a:pt x="479" y="10"/>
                  <a:pt x="479" y="10"/>
                  <a:pt x="479" y="10"/>
                </a:cubicBezTo>
                <a:cubicBezTo>
                  <a:pt x="479" y="9"/>
                  <a:pt x="479" y="9"/>
                  <a:pt x="479" y="9"/>
                </a:cubicBezTo>
                <a:cubicBezTo>
                  <a:pt x="479" y="8"/>
                  <a:pt x="479" y="8"/>
                  <a:pt x="479" y="8"/>
                </a:cubicBezTo>
                <a:cubicBezTo>
                  <a:pt x="480" y="8"/>
                  <a:pt x="480" y="8"/>
                  <a:pt x="480" y="8"/>
                </a:cubicBezTo>
                <a:cubicBezTo>
                  <a:pt x="482" y="10"/>
                  <a:pt x="482" y="10"/>
                  <a:pt x="482" y="10"/>
                </a:cubicBezTo>
                <a:cubicBezTo>
                  <a:pt x="482" y="10"/>
                  <a:pt x="482" y="10"/>
                  <a:pt x="482" y="10"/>
                </a:cubicBezTo>
                <a:cubicBezTo>
                  <a:pt x="483" y="10"/>
                  <a:pt x="483" y="10"/>
                  <a:pt x="483" y="10"/>
                </a:cubicBezTo>
                <a:cubicBezTo>
                  <a:pt x="483" y="9"/>
                  <a:pt x="483" y="9"/>
                  <a:pt x="483" y="9"/>
                </a:cubicBezTo>
                <a:cubicBezTo>
                  <a:pt x="482" y="9"/>
                  <a:pt x="482" y="9"/>
                  <a:pt x="482" y="9"/>
                </a:cubicBezTo>
                <a:cubicBezTo>
                  <a:pt x="481" y="8"/>
                  <a:pt x="481" y="8"/>
                  <a:pt x="481" y="8"/>
                </a:cubicBezTo>
                <a:cubicBezTo>
                  <a:pt x="482" y="7"/>
                  <a:pt x="482" y="7"/>
                  <a:pt x="482" y="7"/>
                </a:cubicBezTo>
                <a:cubicBezTo>
                  <a:pt x="482" y="6"/>
                  <a:pt x="482" y="6"/>
                  <a:pt x="482" y="6"/>
                </a:cubicBezTo>
                <a:cubicBezTo>
                  <a:pt x="480" y="5"/>
                  <a:pt x="480" y="5"/>
                  <a:pt x="480" y="5"/>
                </a:cubicBezTo>
                <a:cubicBezTo>
                  <a:pt x="480" y="4"/>
                  <a:pt x="480" y="4"/>
                  <a:pt x="480" y="4"/>
                </a:cubicBezTo>
                <a:cubicBezTo>
                  <a:pt x="480" y="4"/>
                  <a:pt x="480" y="4"/>
                  <a:pt x="480" y="4"/>
                </a:cubicBezTo>
                <a:cubicBezTo>
                  <a:pt x="482" y="4"/>
                  <a:pt x="482" y="4"/>
                  <a:pt x="482" y="4"/>
                </a:cubicBezTo>
                <a:cubicBezTo>
                  <a:pt x="481" y="3"/>
                  <a:pt x="481" y="3"/>
                  <a:pt x="481" y="3"/>
                </a:cubicBezTo>
                <a:cubicBezTo>
                  <a:pt x="480" y="3"/>
                  <a:pt x="480" y="3"/>
                  <a:pt x="480" y="3"/>
                </a:cubicBezTo>
                <a:cubicBezTo>
                  <a:pt x="479" y="2"/>
                  <a:pt x="479" y="2"/>
                  <a:pt x="479" y="2"/>
                </a:cubicBezTo>
                <a:cubicBezTo>
                  <a:pt x="480" y="2"/>
                  <a:pt x="480" y="2"/>
                  <a:pt x="480" y="2"/>
                </a:cubicBezTo>
                <a:cubicBezTo>
                  <a:pt x="481" y="2"/>
                  <a:pt x="481" y="2"/>
                  <a:pt x="481" y="2"/>
                </a:cubicBezTo>
                <a:cubicBezTo>
                  <a:pt x="482" y="0"/>
                  <a:pt x="482" y="0"/>
                  <a:pt x="482" y="0"/>
                </a:cubicBezTo>
                <a:cubicBezTo>
                  <a:pt x="485" y="1"/>
                  <a:pt x="485" y="1"/>
                  <a:pt x="485" y="1"/>
                </a:cubicBezTo>
                <a:cubicBezTo>
                  <a:pt x="485" y="1"/>
                  <a:pt x="485" y="1"/>
                  <a:pt x="485" y="1"/>
                </a:cubicBezTo>
                <a:cubicBezTo>
                  <a:pt x="485" y="3"/>
                  <a:pt x="485" y="3"/>
                  <a:pt x="485" y="3"/>
                </a:cubicBezTo>
                <a:cubicBezTo>
                  <a:pt x="485" y="4"/>
                  <a:pt x="485" y="4"/>
                  <a:pt x="485" y="4"/>
                </a:cubicBezTo>
                <a:cubicBezTo>
                  <a:pt x="485" y="5"/>
                  <a:pt x="485" y="5"/>
                  <a:pt x="485" y="5"/>
                </a:cubicBezTo>
                <a:cubicBezTo>
                  <a:pt x="486" y="4"/>
                  <a:pt x="486" y="4"/>
                  <a:pt x="486" y="4"/>
                </a:cubicBezTo>
                <a:cubicBezTo>
                  <a:pt x="487" y="3"/>
                  <a:pt x="487" y="3"/>
                  <a:pt x="487" y="3"/>
                </a:cubicBezTo>
                <a:cubicBezTo>
                  <a:pt x="487" y="2"/>
                  <a:pt x="487" y="2"/>
                  <a:pt x="487" y="2"/>
                </a:cubicBezTo>
                <a:cubicBezTo>
                  <a:pt x="488" y="3"/>
                  <a:pt x="488" y="3"/>
                  <a:pt x="488" y="3"/>
                </a:cubicBezTo>
                <a:cubicBezTo>
                  <a:pt x="487" y="5"/>
                  <a:pt x="487" y="5"/>
                  <a:pt x="487" y="5"/>
                </a:cubicBezTo>
                <a:cubicBezTo>
                  <a:pt x="488" y="5"/>
                  <a:pt x="488" y="5"/>
                  <a:pt x="488" y="5"/>
                </a:cubicBezTo>
                <a:cubicBezTo>
                  <a:pt x="489" y="5"/>
                  <a:pt x="489" y="5"/>
                  <a:pt x="489" y="5"/>
                </a:cubicBezTo>
                <a:cubicBezTo>
                  <a:pt x="489" y="5"/>
                  <a:pt x="489" y="5"/>
                  <a:pt x="489" y="5"/>
                </a:cubicBezTo>
                <a:cubicBezTo>
                  <a:pt x="490" y="3"/>
                  <a:pt x="490" y="3"/>
                  <a:pt x="490" y="3"/>
                </a:cubicBezTo>
                <a:cubicBezTo>
                  <a:pt x="491" y="4"/>
                  <a:pt x="491" y="4"/>
                  <a:pt x="491" y="4"/>
                </a:cubicBezTo>
                <a:cubicBezTo>
                  <a:pt x="491" y="5"/>
                  <a:pt x="491" y="5"/>
                  <a:pt x="491" y="5"/>
                </a:cubicBezTo>
                <a:cubicBezTo>
                  <a:pt x="490" y="6"/>
                  <a:pt x="490" y="6"/>
                  <a:pt x="490" y="6"/>
                </a:cubicBezTo>
                <a:cubicBezTo>
                  <a:pt x="491" y="8"/>
                  <a:pt x="491" y="8"/>
                  <a:pt x="491" y="8"/>
                </a:cubicBezTo>
                <a:cubicBezTo>
                  <a:pt x="490" y="9"/>
                  <a:pt x="490" y="9"/>
                  <a:pt x="490" y="9"/>
                </a:cubicBezTo>
                <a:cubicBezTo>
                  <a:pt x="491" y="10"/>
                  <a:pt x="491" y="10"/>
                  <a:pt x="491" y="10"/>
                </a:cubicBezTo>
                <a:cubicBezTo>
                  <a:pt x="492" y="9"/>
                  <a:pt x="492" y="9"/>
                  <a:pt x="492" y="9"/>
                </a:cubicBezTo>
                <a:cubicBezTo>
                  <a:pt x="493" y="10"/>
                  <a:pt x="493" y="10"/>
                  <a:pt x="493" y="10"/>
                </a:cubicBezTo>
                <a:cubicBezTo>
                  <a:pt x="493" y="9"/>
                  <a:pt x="493" y="9"/>
                  <a:pt x="493" y="9"/>
                </a:cubicBezTo>
                <a:cubicBezTo>
                  <a:pt x="493" y="7"/>
                  <a:pt x="493" y="7"/>
                  <a:pt x="493" y="7"/>
                </a:cubicBezTo>
                <a:cubicBezTo>
                  <a:pt x="494" y="5"/>
                  <a:pt x="494" y="5"/>
                  <a:pt x="494" y="5"/>
                </a:cubicBezTo>
                <a:cubicBezTo>
                  <a:pt x="493" y="2"/>
                  <a:pt x="493" y="2"/>
                  <a:pt x="493" y="2"/>
                </a:cubicBezTo>
                <a:cubicBezTo>
                  <a:pt x="493" y="1"/>
                  <a:pt x="493" y="1"/>
                  <a:pt x="493" y="1"/>
                </a:cubicBezTo>
                <a:cubicBezTo>
                  <a:pt x="494" y="0"/>
                  <a:pt x="494" y="0"/>
                  <a:pt x="494" y="0"/>
                </a:cubicBezTo>
                <a:cubicBezTo>
                  <a:pt x="495" y="1"/>
                  <a:pt x="495" y="1"/>
                  <a:pt x="495" y="1"/>
                </a:cubicBezTo>
                <a:cubicBezTo>
                  <a:pt x="496" y="1"/>
                  <a:pt x="496" y="1"/>
                  <a:pt x="496" y="1"/>
                </a:cubicBezTo>
                <a:cubicBezTo>
                  <a:pt x="497" y="1"/>
                  <a:pt x="497" y="1"/>
                  <a:pt x="497" y="1"/>
                </a:cubicBezTo>
                <a:cubicBezTo>
                  <a:pt x="499" y="1"/>
                  <a:pt x="499" y="1"/>
                  <a:pt x="499" y="1"/>
                </a:cubicBezTo>
                <a:cubicBezTo>
                  <a:pt x="500" y="1"/>
                  <a:pt x="500" y="1"/>
                  <a:pt x="500" y="1"/>
                </a:cubicBezTo>
                <a:cubicBezTo>
                  <a:pt x="501" y="2"/>
                  <a:pt x="501" y="2"/>
                  <a:pt x="501" y="2"/>
                </a:cubicBezTo>
                <a:cubicBezTo>
                  <a:pt x="502" y="3"/>
                  <a:pt x="502" y="3"/>
                  <a:pt x="502" y="3"/>
                </a:cubicBezTo>
                <a:cubicBezTo>
                  <a:pt x="504" y="2"/>
                  <a:pt x="504" y="2"/>
                  <a:pt x="504" y="2"/>
                </a:cubicBezTo>
                <a:cubicBezTo>
                  <a:pt x="505" y="3"/>
                  <a:pt x="505" y="3"/>
                  <a:pt x="505" y="3"/>
                </a:cubicBezTo>
                <a:cubicBezTo>
                  <a:pt x="506" y="4"/>
                  <a:pt x="506" y="4"/>
                  <a:pt x="506" y="4"/>
                </a:cubicBezTo>
                <a:cubicBezTo>
                  <a:pt x="506" y="5"/>
                  <a:pt x="506" y="5"/>
                  <a:pt x="506" y="5"/>
                </a:cubicBezTo>
                <a:cubicBezTo>
                  <a:pt x="506" y="6"/>
                  <a:pt x="506" y="6"/>
                  <a:pt x="506" y="6"/>
                </a:cubicBezTo>
                <a:cubicBezTo>
                  <a:pt x="506" y="8"/>
                  <a:pt x="506" y="8"/>
                  <a:pt x="506" y="8"/>
                </a:cubicBezTo>
                <a:cubicBezTo>
                  <a:pt x="506" y="9"/>
                  <a:pt x="506" y="9"/>
                  <a:pt x="506" y="9"/>
                </a:cubicBezTo>
                <a:cubicBezTo>
                  <a:pt x="507" y="8"/>
                  <a:pt x="507" y="8"/>
                  <a:pt x="507" y="8"/>
                </a:cubicBezTo>
                <a:cubicBezTo>
                  <a:pt x="508" y="7"/>
                  <a:pt x="508" y="7"/>
                  <a:pt x="508" y="7"/>
                </a:cubicBezTo>
                <a:cubicBezTo>
                  <a:pt x="510" y="5"/>
                  <a:pt x="510" y="5"/>
                  <a:pt x="510" y="5"/>
                </a:cubicBezTo>
                <a:cubicBezTo>
                  <a:pt x="511" y="4"/>
                  <a:pt x="511" y="4"/>
                  <a:pt x="511" y="4"/>
                </a:cubicBezTo>
                <a:cubicBezTo>
                  <a:pt x="512" y="4"/>
                  <a:pt x="512" y="4"/>
                  <a:pt x="512" y="4"/>
                </a:cubicBezTo>
                <a:cubicBezTo>
                  <a:pt x="514" y="5"/>
                  <a:pt x="514" y="5"/>
                  <a:pt x="514" y="5"/>
                </a:cubicBezTo>
                <a:cubicBezTo>
                  <a:pt x="515" y="5"/>
                  <a:pt x="515" y="5"/>
                  <a:pt x="515" y="5"/>
                </a:cubicBezTo>
                <a:cubicBezTo>
                  <a:pt x="515" y="6"/>
                  <a:pt x="515" y="6"/>
                  <a:pt x="515" y="6"/>
                </a:cubicBezTo>
                <a:cubicBezTo>
                  <a:pt x="514" y="7"/>
                  <a:pt x="514" y="7"/>
                  <a:pt x="514" y="7"/>
                </a:cubicBezTo>
                <a:cubicBezTo>
                  <a:pt x="514" y="9"/>
                  <a:pt x="514" y="9"/>
                  <a:pt x="514" y="9"/>
                </a:cubicBezTo>
                <a:cubicBezTo>
                  <a:pt x="515" y="8"/>
                  <a:pt x="515" y="8"/>
                  <a:pt x="515" y="8"/>
                </a:cubicBezTo>
                <a:cubicBezTo>
                  <a:pt x="515" y="7"/>
                  <a:pt x="515" y="7"/>
                  <a:pt x="515" y="7"/>
                </a:cubicBezTo>
                <a:cubicBezTo>
                  <a:pt x="517" y="6"/>
                  <a:pt x="517" y="6"/>
                  <a:pt x="517" y="6"/>
                </a:cubicBezTo>
                <a:cubicBezTo>
                  <a:pt x="518" y="6"/>
                  <a:pt x="518" y="6"/>
                  <a:pt x="518" y="6"/>
                </a:cubicBezTo>
                <a:cubicBezTo>
                  <a:pt x="520" y="6"/>
                  <a:pt x="520" y="6"/>
                  <a:pt x="520" y="6"/>
                </a:cubicBezTo>
                <a:cubicBezTo>
                  <a:pt x="522" y="7"/>
                  <a:pt x="522" y="7"/>
                  <a:pt x="522" y="7"/>
                </a:cubicBezTo>
                <a:cubicBezTo>
                  <a:pt x="523" y="8"/>
                  <a:pt x="523" y="8"/>
                  <a:pt x="523" y="8"/>
                </a:cubicBezTo>
                <a:cubicBezTo>
                  <a:pt x="522" y="8"/>
                  <a:pt x="522" y="8"/>
                  <a:pt x="522" y="8"/>
                </a:cubicBezTo>
                <a:cubicBezTo>
                  <a:pt x="522" y="9"/>
                  <a:pt x="522" y="9"/>
                  <a:pt x="522" y="9"/>
                </a:cubicBezTo>
                <a:cubicBezTo>
                  <a:pt x="522" y="9"/>
                  <a:pt x="522" y="9"/>
                  <a:pt x="522" y="9"/>
                </a:cubicBezTo>
                <a:cubicBezTo>
                  <a:pt x="521" y="10"/>
                  <a:pt x="521" y="10"/>
                  <a:pt x="521" y="10"/>
                </a:cubicBezTo>
                <a:cubicBezTo>
                  <a:pt x="522" y="11"/>
                  <a:pt x="522" y="11"/>
                  <a:pt x="522" y="11"/>
                </a:cubicBezTo>
                <a:cubicBezTo>
                  <a:pt x="523" y="10"/>
                  <a:pt x="523" y="10"/>
                  <a:pt x="523" y="10"/>
                </a:cubicBezTo>
                <a:cubicBezTo>
                  <a:pt x="524" y="10"/>
                  <a:pt x="524" y="10"/>
                  <a:pt x="524" y="10"/>
                </a:cubicBezTo>
                <a:cubicBezTo>
                  <a:pt x="524" y="11"/>
                  <a:pt x="524" y="11"/>
                  <a:pt x="524" y="11"/>
                </a:cubicBezTo>
                <a:cubicBezTo>
                  <a:pt x="525" y="12"/>
                  <a:pt x="525" y="12"/>
                  <a:pt x="525" y="12"/>
                </a:cubicBezTo>
                <a:cubicBezTo>
                  <a:pt x="525" y="11"/>
                  <a:pt x="525" y="11"/>
                  <a:pt x="525" y="11"/>
                </a:cubicBezTo>
                <a:cubicBezTo>
                  <a:pt x="527" y="10"/>
                  <a:pt x="527" y="10"/>
                  <a:pt x="527" y="10"/>
                </a:cubicBezTo>
                <a:cubicBezTo>
                  <a:pt x="527" y="11"/>
                  <a:pt x="527" y="11"/>
                  <a:pt x="527" y="11"/>
                </a:cubicBezTo>
                <a:cubicBezTo>
                  <a:pt x="527" y="12"/>
                  <a:pt x="527" y="12"/>
                  <a:pt x="527" y="12"/>
                </a:cubicBezTo>
                <a:cubicBezTo>
                  <a:pt x="527" y="13"/>
                  <a:pt x="527" y="13"/>
                  <a:pt x="527" y="13"/>
                </a:cubicBezTo>
                <a:cubicBezTo>
                  <a:pt x="528" y="13"/>
                  <a:pt x="528" y="13"/>
                  <a:pt x="528" y="13"/>
                </a:cubicBezTo>
                <a:cubicBezTo>
                  <a:pt x="528" y="13"/>
                  <a:pt x="528" y="13"/>
                  <a:pt x="528" y="13"/>
                </a:cubicBezTo>
                <a:cubicBezTo>
                  <a:pt x="529" y="12"/>
                  <a:pt x="529" y="12"/>
                  <a:pt x="529" y="12"/>
                </a:cubicBezTo>
                <a:cubicBezTo>
                  <a:pt x="530" y="12"/>
                  <a:pt x="530" y="12"/>
                  <a:pt x="530" y="12"/>
                </a:cubicBezTo>
                <a:cubicBezTo>
                  <a:pt x="530" y="13"/>
                  <a:pt x="530" y="13"/>
                  <a:pt x="530" y="13"/>
                </a:cubicBezTo>
                <a:cubicBezTo>
                  <a:pt x="533" y="14"/>
                  <a:pt x="533" y="14"/>
                  <a:pt x="533" y="14"/>
                </a:cubicBezTo>
                <a:cubicBezTo>
                  <a:pt x="534" y="14"/>
                  <a:pt x="534" y="14"/>
                  <a:pt x="534" y="14"/>
                </a:cubicBezTo>
                <a:cubicBezTo>
                  <a:pt x="534" y="15"/>
                  <a:pt x="534" y="15"/>
                  <a:pt x="534" y="15"/>
                </a:cubicBezTo>
                <a:cubicBezTo>
                  <a:pt x="534" y="15"/>
                  <a:pt x="534" y="15"/>
                  <a:pt x="534" y="15"/>
                </a:cubicBezTo>
                <a:cubicBezTo>
                  <a:pt x="531" y="16"/>
                  <a:pt x="531" y="16"/>
                  <a:pt x="531" y="16"/>
                </a:cubicBezTo>
                <a:cubicBezTo>
                  <a:pt x="530" y="18"/>
                  <a:pt x="530" y="18"/>
                  <a:pt x="530" y="18"/>
                </a:cubicBezTo>
                <a:cubicBezTo>
                  <a:pt x="529" y="18"/>
                  <a:pt x="529" y="18"/>
                  <a:pt x="529" y="18"/>
                </a:cubicBezTo>
                <a:cubicBezTo>
                  <a:pt x="527" y="19"/>
                  <a:pt x="527" y="19"/>
                  <a:pt x="527" y="19"/>
                </a:cubicBezTo>
                <a:cubicBezTo>
                  <a:pt x="526" y="19"/>
                  <a:pt x="526" y="19"/>
                  <a:pt x="526" y="19"/>
                </a:cubicBezTo>
                <a:cubicBezTo>
                  <a:pt x="525" y="19"/>
                  <a:pt x="525" y="19"/>
                  <a:pt x="525" y="19"/>
                </a:cubicBezTo>
                <a:cubicBezTo>
                  <a:pt x="524" y="19"/>
                  <a:pt x="524" y="19"/>
                  <a:pt x="524" y="19"/>
                </a:cubicBezTo>
                <a:cubicBezTo>
                  <a:pt x="523" y="20"/>
                  <a:pt x="523" y="20"/>
                  <a:pt x="523" y="20"/>
                </a:cubicBezTo>
                <a:cubicBezTo>
                  <a:pt x="525" y="20"/>
                  <a:pt x="525" y="20"/>
                  <a:pt x="525" y="20"/>
                </a:cubicBezTo>
                <a:cubicBezTo>
                  <a:pt x="528" y="20"/>
                  <a:pt x="528" y="20"/>
                  <a:pt x="528" y="20"/>
                </a:cubicBezTo>
                <a:cubicBezTo>
                  <a:pt x="529" y="21"/>
                  <a:pt x="529" y="21"/>
                  <a:pt x="529" y="21"/>
                </a:cubicBezTo>
                <a:cubicBezTo>
                  <a:pt x="529" y="21"/>
                  <a:pt x="529" y="21"/>
                  <a:pt x="529" y="21"/>
                </a:cubicBezTo>
                <a:cubicBezTo>
                  <a:pt x="530" y="20"/>
                  <a:pt x="530" y="20"/>
                  <a:pt x="530" y="20"/>
                </a:cubicBezTo>
                <a:cubicBezTo>
                  <a:pt x="531" y="19"/>
                  <a:pt x="531" y="19"/>
                  <a:pt x="531" y="19"/>
                </a:cubicBezTo>
                <a:cubicBezTo>
                  <a:pt x="532" y="19"/>
                  <a:pt x="532" y="19"/>
                  <a:pt x="532" y="19"/>
                </a:cubicBezTo>
                <a:cubicBezTo>
                  <a:pt x="533" y="18"/>
                  <a:pt x="533" y="18"/>
                  <a:pt x="533" y="18"/>
                </a:cubicBezTo>
                <a:cubicBezTo>
                  <a:pt x="534" y="17"/>
                  <a:pt x="534" y="17"/>
                  <a:pt x="534" y="17"/>
                </a:cubicBezTo>
                <a:cubicBezTo>
                  <a:pt x="536" y="17"/>
                  <a:pt x="536" y="17"/>
                  <a:pt x="536" y="17"/>
                </a:cubicBezTo>
                <a:cubicBezTo>
                  <a:pt x="536" y="18"/>
                  <a:pt x="536" y="18"/>
                  <a:pt x="536" y="18"/>
                </a:cubicBezTo>
                <a:cubicBezTo>
                  <a:pt x="536" y="19"/>
                  <a:pt x="536" y="19"/>
                  <a:pt x="536" y="19"/>
                </a:cubicBezTo>
                <a:cubicBezTo>
                  <a:pt x="536" y="20"/>
                  <a:pt x="536" y="20"/>
                  <a:pt x="536" y="20"/>
                </a:cubicBezTo>
                <a:cubicBezTo>
                  <a:pt x="537" y="20"/>
                  <a:pt x="537" y="20"/>
                  <a:pt x="537" y="20"/>
                </a:cubicBezTo>
                <a:cubicBezTo>
                  <a:pt x="537" y="18"/>
                  <a:pt x="537" y="18"/>
                  <a:pt x="537" y="18"/>
                </a:cubicBezTo>
                <a:cubicBezTo>
                  <a:pt x="539" y="17"/>
                  <a:pt x="539" y="17"/>
                  <a:pt x="539" y="17"/>
                </a:cubicBezTo>
                <a:cubicBezTo>
                  <a:pt x="539" y="18"/>
                  <a:pt x="539" y="18"/>
                  <a:pt x="539" y="18"/>
                </a:cubicBezTo>
                <a:cubicBezTo>
                  <a:pt x="538" y="19"/>
                  <a:pt x="538" y="19"/>
                  <a:pt x="538" y="19"/>
                </a:cubicBezTo>
                <a:cubicBezTo>
                  <a:pt x="538" y="20"/>
                  <a:pt x="538" y="20"/>
                  <a:pt x="538" y="20"/>
                </a:cubicBezTo>
                <a:cubicBezTo>
                  <a:pt x="538" y="20"/>
                  <a:pt x="538" y="20"/>
                  <a:pt x="538" y="20"/>
                </a:cubicBezTo>
                <a:cubicBezTo>
                  <a:pt x="538" y="21"/>
                  <a:pt x="538" y="21"/>
                  <a:pt x="538" y="21"/>
                </a:cubicBezTo>
                <a:cubicBezTo>
                  <a:pt x="539" y="21"/>
                  <a:pt x="539" y="21"/>
                  <a:pt x="539" y="21"/>
                </a:cubicBezTo>
                <a:cubicBezTo>
                  <a:pt x="540" y="20"/>
                  <a:pt x="540" y="20"/>
                  <a:pt x="540" y="20"/>
                </a:cubicBezTo>
                <a:cubicBezTo>
                  <a:pt x="540" y="19"/>
                  <a:pt x="540" y="19"/>
                  <a:pt x="540" y="19"/>
                </a:cubicBezTo>
                <a:cubicBezTo>
                  <a:pt x="541" y="19"/>
                  <a:pt x="541" y="19"/>
                  <a:pt x="541" y="19"/>
                </a:cubicBezTo>
                <a:cubicBezTo>
                  <a:pt x="543" y="19"/>
                  <a:pt x="543" y="19"/>
                  <a:pt x="543" y="19"/>
                </a:cubicBezTo>
                <a:cubicBezTo>
                  <a:pt x="542" y="22"/>
                  <a:pt x="542" y="22"/>
                  <a:pt x="542" y="22"/>
                </a:cubicBezTo>
                <a:cubicBezTo>
                  <a:pt x="541" y="22"/>
                  <a:pt x="541" y="22"/>
                  <a:pt x="541" y="22"/>
                </a:cubicBezTo>
                <a:cubicBezTo>
                  <a:pt x="542" y="22"/>
                  <a:pt x="542" y="22"/>
                  <a:pt x="542" y="22"/>
                </a:cubicBezTo>
                <a:cubicBezTo>
                  <a:pt x="542" y="24"/>
                  <a:pt x="542" y="24"/>
                  <a:pt x="542" y="24"/>
                </a:cubicBezTo>
                <a:cubicBezTo>
                  <a:pt x="542" y="25"/>
                  <a:pt x="542" y="25"/>
                  <a:pt x="542" y="25"/>
                </a:cubicBezTo>
                <a:cubicBezTo>
                  <a:pt x="541" y="26"/>
                  <a:pt x="541" y="26"/>
                  <a:pt x="541" y="26"/>
                </a:cubicBezTo>
                <a:cubicBezTo>
                  <a:pt x="540" y="27"/>
                  <a:pt x="540" y="27"/>
                  <a:pt x="540" y="27"/>
                </a:cubicBezTo>
                <a:cubicBezTo>
                  <a:pt x="539" y="29"/>
                  <a:pt x="539" y="29"/>
                  <a:pt x="539" y="29"/>
                </a:cubicBezTo>
                <a:cubicBezTo>
                  <a:pt x="539" y="30"/>
                  <a:pt x="539" y="30"/>
                  <a:pt x="539" y="30"/>
                </a:cubicBezTo>
                <a:cubicBezTo>
                  <a:pt x="540" y="29"/>
                  <a:pt x="540" y="29"/>
                  <a:pt x="540" y="29"/>
                </a:cubicBezTo>
                <a:cubicBezTo>
                  <a:pt x="541" y="28"/>
                  <a:pt x="541" y="28"/>
                  <a:pt x="541" y="28"/>
                </a:cubicBezTo>
                <a:cubicBezTo>
                  <a:pt x="542" y="28"/>
                  <a:pt x="542" y="28"/>
                  <a:pt x="542" y="28"/>
                </a:cubicBezTo>
                <a:cubicBezTo>
                  <a:pt x="542" y="28"/>
                  <a:pt x="542" y="28"/>
                  <a:pt x="542" y="28"/>
                </a:cubicBezTo>
                <a:cubicBezTo>
                  <a:pt x="543" y="28"/>
                  <a:pt x="543" y="28"/>
                  <a:pt x="543" y="28"/>
                </a:cubicBezTo>
                <a:cubicBezTo>
                  <a:pt x="545" y="29"/>
                  <a:pt x="545" y="29"/>
                  <a:pt x="545" y="29"/>
                </a:cubicBezTo>
                <a:cubicBezTo>
                  <a:pt x="545" y="30"/>
                  <a:pt x="545" y="30"/>
                  <a:pt x="545" y="30"/>
                </a:cubicBezTo>
                <a:cubicBezTo>
                  <a:pt x="546" y="32"/>
                  <a:pt x="546" y="32"/>
                  <a:pt x="546" y="32"/>
                </a:cubicBezTo>
                <a:cubicBezTo>
                  <a:pt x="545" y="35"/>
                  <a:pt x="545" y="35"/>
                  <a:pt x="545" y="35"/>
                </a:cubicBezTo>
                <a:cubicBezTo>
                  <a:pt x="544" y="38"/>
                  <a:pt x="544" y="38"/>
                  <a:pt x="544" y="38"/>
                </a:cubicBezTo>
                <a:cubicBezTo>
                  <a:pt x="541" y="39"/>
                  <a:pt x="541" y="39"/>
                  <a:pt x="541" y="39"/>
                </a:cubicBezTo>
                <a:cubicBezTo>
                  <a:pt x="541" y="40"/>
                  <a:pt x="541" y="40"/>
                  <a:pt x="541" y="40"/>
                </a:cubicBezTo>
                <a:cubicBezTo>
                  <a:pt x="540" y="39"/>
                  <a:pt x="540" y="39"/>
                  <a:pt x="540" y="39"/>
                </a:cubicBezTo>
                <a:cubicBezTo>
                  <a:pt x="538" y="40"/>
                  <a:pt x="538" y="40"/>
                  <a:pt x="538" y="40"/>
                </a:cubicBezTo>
                <a:cubicBezTo>
                  <a:pt x="538" y="40"/>
                  <a:pt x="538" y="40"/>
                  <a:pt x="538" y="40"/>
                </a:cubicBezTo>
                <a:cubicBezTo>
                  <a:pt x="538" y="41"/>
                  <a:pt x="538" y="41"/>
                  <a:pt x="538" y="41"/>
                </a:cubicBezTo>
                <a:cubicBezTo>
                  <a:pt x="534" y="43"/>
                  <a:pt x="534" y="43"/>
                  <a:pt x="534" y="43"/>
                </a:cubicBezTo>
                <a:cubicBezTo>
                  <a:pt x="532" y="44"/>
                  <a:pt x="532" y="44"/>
                  <a:pt x="532" y="44"/>
                </a:cubicBezTo>
                <a:cubicBezTo>
                  <a:pt x="531" y="44"/>
                  <a:pt x="531" y="44"/>
                  <a:pt x="531" y="44"/>
                </a:cubicBezTo>
                <a:cubicBezTo>
                  <a:pt x="530" y="45"/>
                  <a:pt x="530" y="45"/>
                  <a:pt x="530" y="45"/>
                </a:cubicBezTo>
                <a:cubicBezTo>
                  <a:pt x="528" y="45"/>
                  <a:pt x="528" y="45"/>
                  <a:pt x="528" y="45"/>
                </a:cubicBezTo>
                <a:cubicBezTo>
                  <a:pt x="527" y="44"/>
                  <a:pt x="527" y="44"/>
                  <a:pt x="527" y="44"/>
                </a:cubicBezTo>
                <a:cubicBezTo>
                  <a:pt x="526" y="45"/>
                  <a:pt x="526" y="45"/>
                  <a:pt x="526" y="45"/>
                </a:cubicBezTo>
                <a:cubicBezTo>
                  <a:pt x="526" y="46"/>
                  <a:pt x="526" y="46"/>
                  <a:pt x="526" y="46"/>
                </a:cubicBezTo>
                <a:cubicBezTo>
                  <a:pt x="524" y="45"/>
                  <a:pt x="524" y="45"/>
                  <a:pt x="524" y="45"/>
                </a:cubicBezTo>
                <a:cubicBezTo>
                  <a:pt x="523" y="44"/>
                  <a:pt x="523" y="44"/>
                  <a:pt x="523" y="44"/>
                </a:cubicBezTo>
                <a:cubicBezTo>
                  <a:pt x="521" y="44"/>
                  <a:pt x="521" y="44"/>
                  <a:pt x="521" y="44"/>
                </a:cubicBezTo>
                <a:cubicBezTo>
                  <a:pt x="521" y="44"/>
                  <a:pt x="521" y="44"/>
                  <a:pt x="521" y="44"/>
                </a:cubicBezTo>
                <a:cubicBezTo>
                  <a:pt x="522" y="45"/>
                  <a:pt x="522" y="45"/>
                  <a:pt x="522" y="45"/>
                </a:cubicBezTo>
                <a:cubicBezTo>
                  <a:pt x="523" y="45"/>
                  <a:pt x="523" y="45"/>
                  <a:pt x="523" y="45"/>
                </a:cubicBezTo>
                <a:cubicBezTo>
                  <a:pt x="522" y="46"/>
                  <a:pt x="522" y="46"/>
                  <a:pt x="522" y="46"/>
                </a:cubicBezTo>
                <a:cubicBezTo>
                  <a:pt x="520" y="45"/>
                  <a:pt x="520" y="45"/>
                  <a:pt x="520" y="45"/>
                </a:cubicBezTo>
                <a:cubicBezTo>
                  <a:pt x="520" y="45"/>
                  <a:pt x="520" y="45"/>
                  <a:pt x="520" y="45"/>
                </a:cubicBezTo>
                <a:cubicBezTo>
                  <a:pt x="519" y="45"/>
                  <a:pt x="519" y="45"/>
                  <a:pt x="519" y="45"/>
                </a:cubicBezTo>
                <a:cubicBezTo>
                  <a:pt x="517" y="45"/>
                  <a:pt x="517" y="45"/>
                  <a:pt x="517" y="45"/>
                </a:cubicBezTo>
                <a:cubicBezTo>
                  <a:pt x="516" y="44"/>
                  <a:pt x="516" y="44"/>
                  <a:pt x="516" y="44"/>
                </a:cubicBezTo>
                <a:cubicBezTo>
                  <a:pt x="515" y="44"/>
                  <a:pt x="515" y="44"/>
                  <a:pt x="515" y="44"/>
                </a:cubicBezTo>
                <a:cubicBezTo>
                  <a:pt x="514" y="44"/>
                  <a:pt x="514" y="44"/>
                  <a:pt x="514" y="44"/>
                </a:cubicBezTo>
                <a:cubicBezTo>
                  <a:pt x="513" y="42"/>
                  <a:pt x="513" y="42"/>
                  <a:pt x="513" y="42"/>
                </a:cubicBezTo>
                <a:cubicBezTo>
                  <a:pt x="511" y="41"/>
                  <a:pt x="511" y="41"/>
                  <a:pt x="511" y="41"/>
                </a:cubicBezTo>
                <a:cubicBezTo>
                  <a:pt x="512" y="42"/>
                  <a:pt x="512" y="42"/>
                  <a:pt x="512" y="42"/>
                </a:cubicBezTo>
                <a:cubicBezTo>
                  <a:pt x="513" y="44"/>
                  <a:pt x="513" y="44"/>
                  <a:pt x="513" y="44"/>
                </a:cubicBezTo>
                <a:cubicBezTo>
                  <a:pt x="513" y="44"/>
                  <a:pt x="513" y="44"/>
                  <a:pt x="513" y="44"/>
                </a:cubicBezTo>
                <a:cubicBezTo>
                  <a:pt x="512" y="44"/>
                  <a:pt x="512" y="44"/>
                  <a:pt x="512" y="44"/>
                </a:cubicBezTo>
                <a:cubicBezTo>
                  <a:pt x="510" y="44"/>
                  <a:pt x="510" y="44"/>
                  <a:pt x="510" y="44"/>
                </a:cubicBezTo>
                <a:cubicBezTo>
                  <a:pt x="511" y="45"/>
                  <a:pt x="511" y="45"/>
                  <a:pt x="511" y="45"/>
                </a:cubicBezTo>
                <a:cubicBezTo>
                  <a:pt x="515" y="45"/>
                  <a:pt x="515" y="45"/>
                  <a:pt x="515" y="45"/>
                </a:cubicBezTo>
                <a:cubicBezTo>
                  <a:pt x="517" y="46"/>
                  <a:pt x="517" y="46"/>
                  <a:pt x="517" y="46"/>
                </a:cubicBezTo>
                <a:cubicBezTo>
                  <a:pt x="518" y="47"/>
                  <a:pt x="518" y="47"/>
                  <a:pt x="518" y="47"/>
                </a:cubicBezTo>
                <a:cubicBezTo>
                  <a:pt x="517" y="47"/>
                  <a:pt x="517" y="47"/>
                  <a:pt x="517" y="47"/>
                </a:cubicBezTo>
                <a:cubicBezTo>
                  <a:pt x="512" y="50"/>
                  <a:pt x="512" y="50"/>
                  <a:pt x="512" y="50"/>
                </a:cubicBezTo>
                <a:cubicBezTo>
                  <a:pt x="508" y="50"/>
                  <a:pt x="508" y="50"/>
                  <a:pt x="508" y="50"/>
                </a:cubicBezTo>
                <a:cubicBezTo>
                  <a:pt x="507" y="50"/>
                  <a:pt x="507" y="50"/>
                  <a:pt x="507" y="50"/>
                </a:cubicBezTo>
                <a:cubicBezTo>
                  <a:pt x="505" y="51"/>
                  <a:pt x="505" y="51"/>
                  <a:pt x="505" y="51"/>
                </a:cubicBezTo>
                <a:cubicBezTo>
                  <a:pt x="503" y="50"/>
                  <a:pt x="503" y="50"/>
                  <a:pt x="503" y="50"/>
                </a:cubicBezTo>
                <a:cubicBezTo>
                  <a:pt x="503" y="50"/>
                  <a:pt x="503" y="50"/>
                  <a:pt x="503" y="50"/>
                </a:cubicBezTo>
                <a:cubicBezTo>
                  <a:pt x="502" y="50"/>
                  <a:pt x="502" y="50"/>
                  <a:pt x="502" y="50"/>
                </a:cubicBezTo>
                <a:cubicBezTo>
                  <a:pt x="501" y="50"/>
                  <a:pt x="501" y="50"/>
                  <a:pt x="501" y="50"/>
                </a:cubicBezTo>
                <a:cubicBezTo>
                  <a:pt x="500" y="50"/>
                  <a:pt x="500" y="50"/>
                  <a:pt x="500" y="50"/>
                </a:cubicBezTo>
                <a:cubicBezTo>
                  <a:pt x="499" y="51"/>
                  <a:pt x="499" y="51"/>
                  <a:pt x="499" y="51"/>
                </a:cubicBezTo>
                <a:cubicBezTo>
                  <a:pt x="500" y="51"/>
                  <a:pt x="500" y="51"/>
                  <a:pt x="500" y="51"/>
                </a:cubicBezTo>
                <a:cubicBezTo>
                  <a:pt x="501" y="52"/>
                  <a:pt x="501" y="52"/>
                  <a:pt x="501" y="52"/>
                </a:cubicBezTo>
                <a:cubicBezTo>
                  <a:pt x="502" y="51"/>
                  <a:pt x="502" y="51"/>
                  <a:pt x="502" y="51"/>
                </a:cubicBezTo>
                <a:cubicBezTo>
                  <a:pt x="506" y="51"/>
                  <a:pt x="506" y="51"/>
                  <a:pt x="506" y="51"/>
                </a:cubicBezTo>
                <a:cubicBezTo>
                  <a:pt x="507" y="51"/>
                  <a:pt x="507" y="51"/>
                  <a:pt x="507" y="51"/>
                </a:cubicBezTo>
                <a:cubicBezTo>
                  <a:pt x="512" y="51"/>
                  <a:pt x="512" y="51"/>
                  <a:pt x="512" y="51"/>
                </a:cubicBezTo>
                <a:cubicBezTo>
                  <a:pt x="515" y="51"/>
                  <a:pt x="515" y="51"/>
                  <a:pt x="515" y="51"/>
                </a:cubicBezTo>
                <a:cubicBezTo>
                  <a:pt x="517" y="49"/>
                  <a:pt x="517" y="49"/>
                  <a:pt x="517" y="49"/>
                </a:cubicBezTo>
                <a:cubicBezTo>
                  <a:pt x="519" y="49"/>
                  <a:pt x="519" y="49"/>
                  <a:pt x="519" y="49"/>
                </a:cubicBezTo>
                <a:cubicBezTo>
                  <a:pt x="520" y="49"/>
                  <a:pt x="520" y="49"/>
                  <a:pt x="520" y="49"/>
                </a:cubicBezTo>
                <a:cubicBezTo>
                  <a:pt x="521" y="49"/>
                  <a:pt x="521" y="49"/>
                  <a:pt x="521" y="49"/>
                </a:cubicBezTo>
                <a:cubicBezTo>
                  <a:pt x="523" y="49"/>
                  <a:pt x="523" y="49"/>
                  <a:pt x="523" y="49"/>
                </a:cubicBezTo>
                <a:cubicBezTo>
                  <a:pt x="522" y="50"/>
                  <a:pt x="522" y="50"/>
                  <a:pt x="522" y="50"/>
                </a:cubicBezTo>
                <a:cubicBezTo>
                  <a:pt x="521" y="52"/>
                  <a:pt x="521" y="52"/>
                  <a:pt x="521" y="52"/>
                </a:cubicBezTo>
                <a:cubicBezTo>
                  <a:pt x="519" y="53"/>
                  <a:pt x="519" y="53"/>
                  <a:pt x="519" y="53"/>
                </a:cubicBezTo>
                <a:cubicBezTo>
                  <a:pt x="519" y="54"/>
                  <a:pt x="519" y="54"/>
                  <a:pt x="519" y="54"/>
                </a:cubicBezTo>
                <a:cubicBezTo>
                  <a:pt x="516" y="54"/>
                  <a:pt x="516" y="54"/>
                  <a:pt x="516" y="54"/>
                </a:cubicBezTo>
                <a:cubicBezTo>
                  <a:pt x="515" y="56"/>
                  <a:pt x="515" y="56"/>
                  <a:pt x="515" y="56"/>
                </a:cubicBezTo>
                <a:cubicBezTo>
                  <a:pt x="514" y="56"/>
                  <a:pt x="514" y="56"/>
                  <a:pt x="514" y="56"/>
                </a:cubicBezTo>
                <a:cubicBezTo>
                  <a:pt x="513" y="57"/>
                  <a:pt x="513" y="57"/>
                  <a:pt x="513" y="57"/>
                </a:cubicBezTo>
                <a:cubicBezTo>
                  <a:pt x="511" y="58"/>
                  <a:pt x="511" y="58"/>
                  <a:pt x="511" y="58"/>
                </a:cubicBezTo>
                <a:cubicBezTo>
                  <a:pt x="510" y="58"/>
                  <a:pt x="510" y="58"/>
                  <a:pt x="510" y="58"/>
                </a:cubicBezTo>
                <a:cubicBezTo>
                  <a:pt x="509" y="58"/>
                  <a:pt x="509" y="58"/>
                  <a:pt x="509" y="58"/>
                </a:cubicBezTo>
                <a:cubicBezTo>
                  <a:pt x="507" y="58"/>
                  <a:pt x="507" y="58"/>
                  <a:pt x="507" y="58"/>
                </a:cubicBezTo>
                <a:cubicBezTo>
                  <a:pt x="506" y="59"/>
                  <a:pt x="506" y="59"/>
                  <a:pt x="506" y="59"/>
                </a:cubicBezTo>
                <a:cubicBezTo>
                  <a:pt x="504" y="60"/>
                  <a:pt x="504" y="60"/>
                  <a:pt x="504" y="60"/>
                </a:cubicBezTo>
                <a:cubicBezTo>
                  <a:pt x="503" y="61"/>
                  <a:pt x="503" y="61"/>
                  <a:pt x="503" y="61"/>
                </a:cubicBezTo>
                <a:cubicBezTo>
                  <a:pt x="501" y="62"/>
                  <a:pt x="501" y="62"/>
                  <a:pt x="501" y="62"/>
                </a:cubicBezTo>
                <a:cubicBezTo>
                  <a:pt x="500" y="62"/>
                  <a:pt x="500" y="62"/>
                  <a:pt x="500" y="62"/>
                </a:cubicBezTo>
                <a:cubicBezTo>
                  <a:pt x="499" y="62"/>
                  <a:pt x="499" y="62"/>
                  <a:pt x="499" y="62"/>
                </a:cubicBezTo>
                <a:cubicBezTo>
                  <a:pt x="498" y="63"/>
                  <a:pt x="498" y="63"/>
                  <a:pt x="498" y="63"/>
                </a:cubicBezTo>
                <a:cubicBezTo>
                  <a:pt x="496" y="63"/>
                  <a:pt x="496" y="63"/>
                  <a:pt x="496" y="63"/>
                </a:cubicBezTo>
                <a:cubicBezTo>
                  <a:pt x="496" y="63"/>
                  <a:pt x="496" y="63"/>
                  <a:pt x="496" y="63"/>
                </a:cubicBezTo>
                <a:cubicBezTo>
                  <a:pt x="496" y="65"/>
                  <a:pt x="496" y="65"/>
                  <a:pt x="496" y="65"/>
                </a:cubicBezTo>
                <a:cubicBezTo>
                  <a:pt x="495" y="66"/>
                  <a:pt x="495" y="66"/>
                  <a:pt x="495" y="66"/>
                </a:cubicBezTo>
                <a:cubicBezTo>
                  <a:pt x="494" y="67"/>
                  <a:pt x="494" y="67"/>
                  <a:pt x="494" y="67"/>
                </a:cubicBezTo>
                <a:cubicBezTo>
                  <a:pt x="491" y="67"/>
                  <a:pt x="491" y="67"/>
                  <a:pt x="491" y="67"/>
                </a:cubicBezTo>
                <a:cubicBezTo>
                  <a:pt x="490" y="67"/>
                  <a:pt x="490" y="67"/>
                  <a:pt x="490" y="67"/>
                </a:cubicBezTo>
                <a:cubicBezTo>
                  <a:pt x="489" y="67"/>
                  <a:pt x="489" y="67"/>
                  <a:pt x="489" y="67"/>
                </a:cubicBezTo>
                <a:cubicBezTo>
                  <a:pt x="489" y="66"/>
                  <a:pt x="489" y="66"/>
                  <a:pt x="489" y="66"/>
                </a:cubicBezTo>
                <a:cubicBezTo>
                  <a:pt x="490" y="66"/>
                  <a:pt x="490" y="66"/>
                  <a:pt x="490" y="66"/>
                </a:cubicBezTo>
                <a:cubicBezTo>
                  <a:pt x="490" y="65"/>
                  <a:pt x="490" y="65"/>
                  <a:pt x="490" y="65"/>
                </a:cubicBezTo>
                <a:cubicBezTo>
                  <a:pt x="489" y="64"/>
                  <a:pt x="489" y="64"/>
                  <a:pt x="489" y="64"/>
                </a:cubicBezTo>
                <a:cubicBezTo>
                  <a:pt x="489" y="66"/>
                  <a:pt x="489" y="66"/>
                  <a:pt x="489" y="66"/>
                </a:cubicBezTo>
                <a:cubicBezTo>
                  <a:pt x="488" y="66"/>
                  <a:pt x="488" y="66"/>
                  <a:pt x="488" y="66"/>
                </a:cubicBezTo>
                <a:cubicBezTo>
                  <a:pt x="488" y="67"/>
                  <a:pt x="488" y="67"/>
                  <a:pt x="488" y="67"/>
                </a:cubicBezTo>
                <a:cubicBezTo>
                  <a:pt x="489" y="68"/>
                  <a:pt x="489" y="68"/>
                  <a:pt x="489" y="68"/>
                </a:cubicBezTo>
                <a:cubicBezTo>
                  <a:pt x="490" y="69"/>
                  <a:pt x="490" y="69"/>
                  <a:pt x="490" y="69"/>
                </a:cubicBezTo>
                <a:cubicBezTo>
                  <a:pt x="489" y="70"/>
                  <a:pt x="489" y="70"/>
                  <a:pt x="489" y="70"/>
                </a:cubicBezTo>
                <a:cubicBezTo>
                  <a:pt x="488" y="70"/>
                  <a:pt x="488" y="70"/>
                  <a:pt x="488" y="70"/>
                </a:cubicBezTo>
                <a:cubicBezTo>
                  <a:pt x="487" y="69"/>
                  <a:pt x="487" y="69"/>
                  <a:pt x="487" y="69"/>
                </a:cubicBezTo>
                <a:cubicBezTo>
                  <a:pt x="486" y="70"/>
                  <a:pt x="486" y="70"/>
                  <a:pt x="486" y="70"/>
                </a:cubicBezTo>
                <a:cubicBezTo>
                  <a:pt x="484" y="69"/>
                  <a:pt x="484" y="69"/>
                  <a:pt x="484" y="69"/>
                </a:cubicBezTo>
                <a:cubicBezTo>
                  <a:pt x="483" y="70"/>
                  <a:pt x="483" y="70"/>
                  <a:pt x="483" y="70"/>
                </a:cubicBezTo>
                <a:cubicBezTo>
                  <a:pt x="482" y="70"/>
                  <a:pt x="482" y="70"/>
                  <a:pt x="482" y="70"/>
                </a:cubicBezTo>
                <a:cubicBezTo>
                  <a:pt x="482" y="69"/>
                  <a:pt x="482" y="69"/>
                  <a:pt x="482" y="69"/>
                </a:cubicBezTo>
                <a:cubicBezTo>
                  <a:pt x="482" y="68"/>
                  <a:pt x="482" y="68"/>
                  <a:pt x="482" y="68"/>
                </a:cubicBezTo>
                <a:cubicBezTo>
                  <a:pt x="481" y="69"/>
                  <a:pt x="481" y="69"/>
                  <a:pt x="481" y="69"/>
                </a:cubicBezTo>
                <a:cubicBezTo>
                  <a:pt x="480" y="70"/>
                  <a:pt x="480" y="70"/>
                  <a:pt x="480" y="70"/>
                </a:cubicBezTo>
                <a:cubicBezTo>
                  <a:pt x="480" y="70"/>
                  <a:pt x="480" y="70"/>
                  <a:pt x="480" y="70"/>
                </a:cubicBezTo>
                <a:cubicBezTo>
                  <a:pt x="482" y="71"/>
                  <a:pt x="482" y="71"/>
                  <a:pt x="482" y="71"/>
                </a:cubicBezTo>
                <a:cubicBezTo>
                  <a:pt x="485" y="71"/>
                  <a:pt x="485" y="71"/>
                  <a:pt x="485" y="71"/>
                </a:cubicBezTo>
                <a:cubicBezTo>
                  <a:pt x="486" y="72"/>
                  <a:pt x="486" y="72"/>
                  <a:pt x="486" y="72"/>
                </a:cubicBezTo>
                <a:cubicBezTo>
                  <a:pt x="486" y="73"/>
                  <a:pt x="486" y="73"/>
                  <a:pt x="486" y="73"/>
                </a:cubicBezTo>
                <a:cubicBezTo>
                  <a:pt x="485" y="74"/>
                  <a:pt x="485" y="74"/>
                  <a:pt x="485" y="74"/>
                </a:cubicBezTo>
                <a:cubicBezTo>
                  <a:pt x="483" y="73"/>
                  <a:pt x="483" y="73"/>
                  <a:pt x="483" y="73"/>
                </a:cubicBezTo>
                <a:cubicBezTo>
                  <a:pt x="481" y="74"/>
                  <a:pt x="481" y="74"/>
                  <a:pt x="481" y="74"/>
                </a:cubicBezTo>
                <a:cubicBezTo>
                  <a:pt x="481" y="74"/>
                  <a:pt x="481" y="74"/>
                  <a:pt x="481" y="74"/>
                </a:cubicBezTo>
                <a:cubicBezTo>
                  <a:pt x="482" y="75"/>
                  <a:pt x="482" y="75"/>
                  <a:pt x="482" y="75"/>
                </a:cubicBezTo>
                <a:cubicBezTo>
                  <a:pt x="482" y="74"/>
                  <a:pt x="482" y="74"/>
                  <a:pt x="482" y="74"/>
                </a:cubicBezTo>
                <a:cubicBezTo>
                  <a:pt x="483" y="75"/>
                  <a:pt x="483" y="75"/>
                  <a:pt x="483" y="75"/>
                </a:cubicBezTo>
                <a:cubicBezTo>
                  <a:pt x="483" y="76"/>
                  <a:pt x="483" y="76"/>
                  <a:pt x="483" y="76"/>
                </a:cubicBezTo>
                <a:cubicBezTo>
                  <a:pt x="481" y="78"/>
                  <a:pt x="481" y="78"/>
                  <a:pt x="481" y="78"/>
                </a:cubicBezTo>
                <a:cubicBezTo>
                  <a:pt x="479" y="78"/>
                  <a:pt x="479" y="78"/>
                  <a:pt x="479" y="78"/>
                </a:cubicBezTo>
                <a:cubicBezTo>
                  <a:pt x="476" y="78"/>
                  <a:pt x="476" y="78"/>
                  <a:pt x="476" y="78"/>
                </a:cubicBezTo>
                <a:cubicBezTo>
                  <a:pt x="476" y="77"/>
                  <a:pt x="476" y="77"/>
                  <a:pt x="476" y="77"/>
                </a:cubicBezTo>
                <a:cubicBezTo>
                  <a:pt x="474" y="77"/>
                  <a:pt x="474" y="77"/>
                  <a:pt x="474" y="77"/>
                </a:cubicBezTo>
                <a:cubicBezTo>
                  <a:pt x="474" y="76"/>
                  <a:pt x="474" y="76"/>
                  <a:pt x="474" y="76"/>
                </a:cubicBezTo>
                <a:cubicBezTo>
                  <a:pt x="474" y="74"/>
                  <a:pt x="474" y="74"/>
                  <a:pt x="474" y="74"/>
                </a:cubicBezTo>
                <a:cubicBezTo>
                  <a:pt x="472" y="74"/>
                  <a:pt x="472" y="74"/>
                  <a:pt x="472" y="74"/>
                </a:cubicBezTo>
                <a:cubicBezTo>
                  <a:pt x="471" y="73"/>
                  <a:pt x="471" y="73"/>
                  <a:pt x="471" y="73"/>
                </a:cubicBezTo>
                <a:cubicBezTo>
                  <a:pt x="471" y="72"/>
                  <a:pt x="471" y="72"/>
                  <a:pt x="471" y="72"/>
                </a:cubicBezTo>
                <a:cubicBezTo>
                  <a:pt x="471" y="71"/>
                  <a:pt x="471" y="71"/>
                  <a:pt x="471" y="71"/>
                </a:cubicBezTo>
                <a:cubicBezTo>
                  <a:pt x="470" y="72"/>
                  <a:pt x="470" y="72"/>
                  <a:pt x="470" y="72"/>
                </a:cubicBezTo>
                <a:cubicBezTo>
                  <a:pt x="469" y="71"/>
                  <a:pt x="469" y="71"/>
                  <a:pt x="469" y="71"/>
                </a:cubicBezTo>
                <a:cubicBezTo>
                  <a:pt x="467" y="72"/>
                  <a:pt x="467" y="72"/>
                  <a:pt x="467" y="72"/>
                </a:cubicBezTo>
                <a:cubicBezTo>
                  <a:pt x="467" y="72"/>
                  <a:pt x="467" y="72"/>
                  <a:pt x="467" y="72"/>
                </a:cubicBezTo>
                <a:cubicBezTo>
                  <a:pt x="468" y="73"/>
                  <a:pt x="468" y="73"/>
                  <a:pt x="468" y="73"/>
                </a:cubicBezTo>
                <a:cubicBezTo>
                  <a:pt x="468" y="72"/>
                  <a:pt x="468" y="72"/>
                  <a:pt x="468" y="72"/>
                </a:cubicBezTo>
                <a:cubicBezTo>
                  <a:pt x="469" y="72"/>
                  <a:pt x="469" y="72"/>
                  <a:pt x="469" y="72"/>
                </a:cubicBezTo>
                <a:cubicBezTo>
                  <a:pt x="472" y="75"/>
                  <a:pt x="472" y="75"/>
                  <a:pt x="472" y="75"/>
                </a:cubicBezTo>
                <a:cubicBezTo>
                  <a:pt x="472" y="79"/>
                  <a:pt x="472" y="79"/>
                  <a:pt x="472" y="79"/>
                </a:cubicBezTo>
                <a:cubicBezTo>
                  <a:pt x="471" y="79"/>
                  <a:pt x="471" y="79"/>
                  <a:pt x="471" y="79"/>
                </a:cubicBezTo>
                <a:cubicBezTo>
                  <a:pt x="470" y="79"/>
                  <a:pt x="470" y="79"/>
                  <a:pt x="470" y="79"/>
                </a:cubicBezTo>
                <a:cubicBezTo>
                  <a:pt x="469" y="78"/>
                  <a:pt x="469" y="78"/>
                  <a:pt x="469" y="78"/>
                </a:cubicBezTo>
                <a:cubicBezTo>
                  <a:pt x="468" y="78"/>
                  <a:pt x="468" y="78"/>
                  <a:pt x="468" y="78"/>
                </a:cubicBezTo>
                <a:cubicBezTo>
                  <a:pt x="468" y="79"/>
                  <a:pt x="468" y="79"/>
                  <a:pt x="468" y="79"/>
                </a:cubicBezTo>
                <a:cubicBezTo>
                  <a:pt x="468" y="80"/>
                  <a:pt x="468" y="80"/>
                  <a:pt x="468" y="80"/>
                </a:cubicBezTo>
                <a:cubicBezTo>
                  <a:pt x="467" y="78"/>
                  <a:pt x="467" y="78"/>
                  <a:pt x="467" y="78"/>
                </a:cubicBezTo>
                <a:cubicBezTo>
                  <a:pt x="466" y="78"/>
                  <a:pt x="466" y="78"/>
                  <a:pt x="466" y="78"/>
                </a:cubicBezTo>
                <a:cubicBezTo>
                  <a:pt x="465" y="79"/>
                  <a:pt x="465" y="79"/>
                  <a:pt x="465" y="79"/>
                </a:cubicBezTo>
                <a:cubicBezTo>
                  <a:pt x="464" y="79"/>
                  <a:pt x="464" y="79"/>
                  <a:pt x="464" y="79"/>
                </a:cubicBezTo>
                <a:cubicBezTo>
                  <a:pt x="464" y="79"/>
                  <a:pt x="464" y="79"/>
                  <a:pt x="464" y="79"/>
                </a:cubicBezTo>
                <a:cubicBezTo>
                  <a:pt x="462" y="78"/>
                  <a:pt x="462" y="78"/>
                  <a:pt x="462" y="78"/>
                </a:cubicBezTo>
                <a:cubicBezTo>
                  <a:pt x="461" y="77"/>
                  <a:pt x="461" y="77"/>
                  <a:pt x="461" y="77"/>
                </a:cubicBezTo>
                <a:cubicBezTo>
                  <a:pt x="461" y="77"/>
                  <a:pt x="461" y="77"/>
                  <a:pt x="461" y="77"/>
                </a:cubicBezTo>
                <a:cubicBezTo>
                  <a:pt x="460" y="76"/>
                  <a:pt x="460" y="76"/>
                  <a:pt x="460" y="76"/>
                </a:cubicBezTo>
                <a:cubicBezTo>
                  <a:pt x="460" y="76"/>
                  <a:pt x="460" y="76"/>
                  <a:pt x="460" y="76"/>
                </a:cubicBezTo>
                <a:cubicBezTo>
                  <a:pt x="458" y="75"/>
                  <a:pt x="458" y="75"/>
                  <a:pt x="458" y="75"/>
                </a:cubicBezTo>
                <a:cubicBezTo>
                  <a:pt x="457" y="74"/>
                  <a:pt x="457" y="74"/>
                  <a:pt x="457" y="74"/>
                </a:cubicBezTo>
                <a:cubicBezTo>
                  <a:pt x="457" y="75"/>
                  <a:pt x="457" y="75"/>
                  <a:pt x="457" y="75"/>
                </a:cubicBezTo>
                <a:cubicBezTo>
                  <a:pt x="457" y="76"/>
                  <a:pt x="457" y="76"/>
                  <a:pt x="457" y="76"/>
                </a:cubicBezTo>
                <a:cubicBezTo>
                  <a:pt x="458" y="76"/>
                  <a:pt x="458" y="76"/>
                  <a:pt x="458" y="76"/>
                </a:cubicBezTo>
                <a:cubicBezTo>
                  <a:pt x="460" y="77"/>
                  <a:pt x="460" y="77"/>
                  <a:pt x="460" y="77"/>
                </a:cubicBezTo>
                <a:cubicBezTo>
                  <a:pt x="461" y="79"/>
                  <a:pt x="461" y="79"/>
                  <a:pt x="461" y="79"/>
                </a:cubicBezTo>
                <a:cubicBezTo>
                  <a:pt x="460" y="80"/>
                  <a:pt x="460" y="80"/>
                  <a:pt x="460" y="80"/>
                </a:cubicBezTo>
                <a:cubicBezTo>
                  <a:pt x="457" y="79"/>
                  <a:pt x="457" y="79"/>
                  <a:pt x="457" y="79"/>
                </a:cubicBezTo>
                <a:cubicBezTo>
                  <a:pt x="456" y="78"/>
                  <a:pt x="456" y="78"/>
                  <a:pt x="456" y="78"/>
                </a:cubicBezTo>
                <a:cubicBezTo>
                  <a:pt x="456" y="77"/>
                  <a:pt x="456" y="77"/>
                  <a:pt x="456" y="77"/>
                </a:cubicBezTo>
                <a:cubicBezTo>
                  <a:pt x="455" y="76"/>
                  <a:pt x="455" y="76"/>
                  <a:pt x="455" y="76"/>
                </a:cubicBezTo>
                <a:cubicBezTo>
                  <a:pt x="455" y="77"/>
                  <a:pt x="455" y="77"/>
                  <a:pt x="455" y="77"/>
                </a:cubicBezTo>
                <a:cubicBezTo>
                  <a:pt x="455" y="77"/>
                  <a:pt x="455" y="77"/>
                  <a:pt x="455" y="77"/>
                </a:cubicBezTo>
                <a:cubicBezTo>
                  <a:pt x="455" y="78"/>
                  <a:pt x="455" y="78"/>
                  <a:pt x="455" y="78"/>
                </a:cubicBezTo>
                <a:cubicBezTo>
                  <a:pt x="454" y="78"/>
                  <a:pt x="454" y="78"/>
                  <a:pt x="454" y="78"/>
                </a:cubicBezTo>
                <a:cubicBezTo>
                  <a:pt x="453" y="77"/>
                  <a:pt x="453" y="77"/>
                  <a:pt x="453" y="77"/>
                </a:cubicBezTo>
                <a:cubicBezTo>
                  <a:pt x="452" y="77"/>
                  <a:pt x="452" y="77"/>
                  <a:pt x="452" y="77"/>
                </a:cubicBezTo>
                <a:cubicBezTo>
                  <a:pt x="452" y="78"/>
                  <a:pt x="452" y="78"/>
                  <a:pt x="452" y="78"/>
                </a:cubicBezTo>
                <a:cubicBezTo>
                  <a:pt x="454" y="79"/>
                  <a:pt x="454" y="79"/>
                  <a:pt x="454" y="79"/>
                </a:cubicBezTo>
                <a:cubicBezTo>
                  <a:pt x="454" y="80"/>
                  <a:pt x="454" y="80"/>
                  <a:pt x="454" y="80"/>
                </a:cubicBezTo>
                <a:cubicBezTo>
                  <a:pt x="454" y="80"/>
                  <a:pt x="454" y="80"/>
                  <a:pt x="454" y="80"/>
                </a:cubicBezTo>
                <a:cubicBezTo>
                  <a:pt x="455" y="80"/>
                  <a:pt x="455" y="80"/>
                  <a:pt x="455" y="80"/>
                </a:cubicBezTo>
                <a:cubicBezTo>
                  <a:pt x="456" y="80"/>
                  <a:pt x="456" y="80"/>
                  <a:pt x="456" y="80"/>
                </a:cubicBezTo>
                <a:cubicBezTo>
                  <a:pt x="457" y="80"/>
                  <a:pt x="457" y="80"/>
                  <a:pt x="457" y="80"/>
                </a:cubicBezTo>
                <a:cubicBezTo>
                  <a:pt x="458" y="81"/>
                  <a:pt x="458" y="81"/>
                  <a:pt x="458" y="81"/>
                </a:cubicBezTo>
                <a:cubicBezTo>
                  <a:pt x="459" y="82"/>
                  <a:pt x="459" y="82"/>
                  <a:pt x="459" y="82"/>
                </a:cubicBezTo>
                <a:cubicBezTo>
                  <a:pt x="460" y="82"/>
                  <a:pt x="460" y="82"/>
                  <a:pt x="460" y="82"/>
                </a:cubicBezTo>
                <a:cubicBezTo>
                  <a:pt x="461" y="82"/>
                  <a:pt x="461" y="82"/>
                  <a:pt x="461" y="82"/>
                </a:cubicBezTo>
                <a:cubicBezTo>
                  <a:pt x="464" y="82"/>
                  <a:pt x="464" y="82"/>
                  <a:pt x="464" y="82"/>
                </a:cubicBezTo>
                <a:cubicBezTo>
                  <a:pt x="465" y="83"/>
                  <a:pt x="465" y="83"/>
                  <a:pt x="465" y="83"/>
                </a:cubicBezTo>
                <a:cubicBezTo>
                  <a:pt x="464" y="84"/>
                  <a:pt x="464" y="84"/>
                  <a:pt x="464" y="84"/>
                </a:cubicBezTo>
                <a:cubicBezTo>
                  <a:pt x="464" y="85"/>
                  <a:pt x="464" y="85"/>
                  <a:pt x="464" y="85"/>
                </a:cubicBezTo>
                <a:cubicBezTo>
                  <a:pt x="464" y="86"/>
                  <a:pt x="464" y="86"/>
                  <a:pt x="464" y="86"/>
                </a:cubicBezTo>
                <a:cubicBezTo>
                  <a:pt x="464" y="87"/>
                  <a:pt x="464" y="87"/>
                  <a:pt x="464" y="87"/>
                </a:cubicBezTo>
                <a:cubicBezTo>
                  <a:pt x="464" y="88"/>
                  <a:pt x="464" y="88"/>
                  <a:pt x="464" y="88"/>
                </a:cubicBezTo>
                <a:cubicBezTo>
                  <a:pt x="463" y="88"/>
                  <a:pt x="463" y="88"/>
                  <a:pt x="463" y="88"/>
                </a:cubicBezTo>
                <a:cubicBezTo>
                  <a:pt x="462" y="87"/>
                  <a:pt x="462" y="87"/>
                  <a:pt x="462" y="87"/>
                </a:cubicBezTo>
                <a:cubicBezTo>
                  <a:pt x="461" y="86"/>
                  <a:pt x="461" y="86"/>
                  <a:pt x="461" y="86"/>
                </a:cubicBezTo>
                <a:cubicBezTo>
                  <a:pt x="459" y="85"/>
                  <a:pt x="459" y="85"/>
                  <a:pt x="459" y="85"/>
                </a:cubicBezTo>
                <a:cubicBezTo>
                  <a:pt x="458" y="84"/>
                  <a:pt x="458" y="84"/>
                  <a:pt x="458" y="84"/>
                </a:cubicBezTo>
                <a:cubicBezTo>
                  <a:pt x="459" y="83"/>
                  <a:pt x="459" y="83"/>
                  <a:pt x="459" y="83"/>
                </a:cubicBezTo>
                <a:cubicBezTo>
                  <a:pt x="458" y="82"/>
                  <a:pt x="458" y="82"/>
                  <a:pt x="458" y="82"/>
                </a:cubicBezTo>
                <a:cubicBezTo>
                  <a:pt x="456" y="82"/>
                  <a:pt x="456" y="82"/>
                  <a:pt x="456" y="82"/>
                </a:cubicBezTo>
                <a:cubicBezTo>
                  <a:pt x="453" y="81"/>
                  <a:pt x="453" y="81"/>
                  <a:pt x="453" y="81"/>
                </a:cubicBezTo>
                <a:cubicBezTo>
                  <a:pt x="452" y="80"/>
                  <a:pt x="452" y="80"/>
                  <a:pt x="452" y="80"/>
                </a:cubicBezTo>
                <a:cubicBezTo>
                  <a:pt x="451" y="81"/>
                  <a:pt x="451" y="81"/>
                  <a:pt x="451" y="81"/>
                </a:cubicBezTo>
                <a:cubicBezTo>
                  <a:pt x="451" y="81"/>
                  <a:pt x="451" y="81"/>
                  <a:pt x="451" y="81"/>
                </a:cubicBezTo>
                <a:cubicBezTo>
                  <a:pt x="453" y="82"/>
                  <a:pt x="453" y="82"/>
                  <a:pt x="453" y="82"/>
                </a:cubicBezTo>
                <a:cubicBezTo>
                  <a:pt x="455" y="82"/>
                  <a:pt x="455" y="82"/>
                  <a:pt x="455" y="82"/>
                </a:cubicBezTo>
                <a:cubicBezTo>
                  <a:pt x="458" y="83"/>
                  <a:pt x="458" y="83"/>
                  <a:pt x="458" y="83"/>
                </a:cubicBezTo>
                <a:cubicBezTo>
                  <a:pt x="458" y="84"/>
                  <a:pt x="458" y="84"/>
                  <a:pt x="458" y="84"/>
                </a:cubicBezTo>
                <a:cubicBezTo>
                  <a:pt x="457" y="84"/>
                  <a:pt x="457" y="84"/>
                  <a:pt x="457" y="84"/>
                </a:cubicBezTo>
                <a:cubicBezTo>
                  <a:pt x="456" y="84"/>
                  <a:pt x="456" y="84"/>
                  <a:pt x="456" y="84"/>
                </a:cubicBezTo>
                <a:cubicBezTo>
                  <a:pt x="453" y="83"/>
                  <a:pt x="453" y="83"/>
                  <a:pt x="453" y="83"/>
                </a:cubicBezTo>
                <a:cubicBezTo>
                  <a:pt x="452" y="84"/>
                  <a:pt x="452" y="84"/>
                  <a:pt x="452" y="84"/>
                </a:cubicBezTo>
                <a:cubicBezTo>
                  <a:pt x="452" y="83"/>
                  <a:pt x="452" y="83"/>
                  <a:pt x="452" y="83"/>
                </a:cubicBezTo>
                <a:cubicBezTo>
                  <a:pt x="451" y="83"/>
                  <a:pt x="451" y="83"/>
                  <a:pt x="451" y="83"/>
                </a:cubicBezTo>
                <a:cubicBezTo>
                  <a:pt x="449" y="82"/>
                  <a:pt x="449" y="82"/>
                  <a:pt x="449" y="82"/>
                </a:cubicBezTo>
                <a:cubicBezTo>
                  <a:pt x="448" y="82"/>
                  <a:pt x="448" y="82"/>
                  <a:pt x="448" y="82"/>
                </a:cubicBezTo>
                <a:cubicBezTo>
                  <a:pt x="448" y="82"/>
                  <a:pt x="448" y="82"/>
                  <a:pt x="448" y="82"/>
                </a:cubicBezTo>
                <a:cubicBezTo>
                  <a:pt x="450" y="83"/>
                  <a:pt x="450" y="83"/>
                  <a:pt x="450" y="83"/>
                </a:cubicBezTo>
                <a:cubicBezTo>
                  <a:pt x="450" y="84"/>
                  <a:pt x="450" y="84"/>
                  <a:pt x="450" y="84"/>
                </a:cubicBezTo>
                <a:cubicBezTo>
                  <a:pt x="450" y="85"/>
                  <a:pt x="450" y="85"/>
                  <a:pt x="450" y="85"/>
                </a:cubicBezTo>
                <a:cubicBezTo>
                  <a:pt x="451" y="85"/>
                  <a:pt x="451" y="85"/>
                  <a:pt x="451" y="85"/>
                </a:cubicBezTo>
                <a:cubicBezTo>
                  <a:pt x="451" y="85"/>
                  <a:pt x="451" y="85"/>
                  <a:pt x="451" y="85"/>
                </a:cubicBezTo>
                <a:cubicBezTo>
                  <a:pt x="452" y="85"/>
                  <a:pt x="452" y="85"/>
                  <a:pt x="452" y="85"/>
                </a:cubicBezTo>
                <a:cubicBezTo>
                  <a:pt x="453" y="85"/>
                  <a:pt x="453" y="85"/>
                  <a:pt x="453" y="85"/>
                </a:cubicBezTo>
                <a:cubicBezTo>
                  <a:pt x="453" y="84"/>
                  <a:pt x="453" y="84"/>
                  <a:pt x="453" y="84"/>
                </a:cubicBezTo>
                <a:cubicBezTo>
                  <a:pt x="454" y="85"/>
                  <a:pt x="454" y="85"/>
                  <a:pt x="454" y="85"/>
                </a:cubicBezTo>
                <a:cubicBezTo>
                  <a:pt x="455" y="85"/>
                  <a:pt x="455" y="85"/>
                  <a:pt x="455" y="85"/>
                </a:cubicBezTo>
                <a:cubicBezTo>
                  <a:pt x="456" y="85"/>
                  <a:pt x="456" y="85"/>
                  <a:pt x="456" y="85"/>
                </a:cubicBezTo>
                <a:cubicBezTo>
                  <a:pt x="458" y="87"/>
                  <a:pt x="458" y="87"/>
                  <a:pt x="458" y="87"/>
                </a:cubicBezTo>
                <a:cubicBezTo>
                  <a:pt x="458" y="87"/>
                  <a:pt x="458" y="87"/>
                  <a:pt x="458" y="87"/>
                </a:cubicBezTo>
                <a:cubicBezTo>
                  <a:pt x="456" y="87"/>
                  <a:pt x="456" y="87"/>
                  <a:pt x="456" y="87"/>
                </a:cubicBezTo>
                <a:cubicBezTo>
                  <a:pt x="455" y="88"/>
                  <a:pt x="455" y="88"/>
                  <a:pt x="455" y="88"/>
                </a:cubicBezTo>
                <a:cubicBezTo>
                  <a:pt x="455" y="88"/>
                  <a:pt x="455" y="88"/>
                  <a:pt x="455" y="88"/>
                </a:cubicBezTo>
                <a:cubicBezTo>
                  <a:pt x="456" y="88"/>
                  <a:pt x="456" y="88"/>
                  <a:pt x="456" y="88"/>
                </a:cubicBezTo>
                <a:cubicBezTo>
                  <a:pt x="457" y="88"/>
                  <a:pt x="457" y="88"/>
                  <a:pt x="457" y="88"/>
                </a:cubicBezTo>
                <a:cubicBezTo>
                  <a:pt x="458" y="88"/>
                  <a:pt x="458" y="88"/>
                  <a:pt x="458" y="88"/>
                </a:cubicBezTo>
                <a:cubicBezTo>
                  <a:pt x="459" y="89"/>
                  <a:pt x="459" y="89"/>
                  <a:pt x="459" y="89"/>
                </a:cubicBezTo>
                <a:cubicBezTo>
                  <a:pt x="460" y="90"/>
                  <a:pt x="460" y="90"/>
                  <a:pt x="460" y="90"/>
                </a:cubicBezTo>
                <a:cubicBezTo>
                  <a:pt x="460" y="91"/>
                  <a:pt x="460" y="91"/>
                  <a:pt x="460" y="91"/>
                </a:cubicBezTo>
                <a:cubicBezTo>
                  <a:pt x="459" y="93"/>
                  <a:pt x="459" y="93"/>
                  <a:pt x="459" y="93"/>
                </a:cubicBezTo>
                <a:cubicBezTo>
                  <a:pt x="458" y="95"/>
                  <a:pt x="458" y="95"/>
                  <a:pt x="458" y="95"/>
                </a:cubicBezTo>
                <a:cubicBezTo>
                  <a:pt x="458" y="95"/>
                  <a:pt x="458" y="95"/>
                  <a:pt x="458" y="95"/>
                </a:cubicBezTo>
                <a:cubicBezTo>
                  <a:pt x="456" y="97"/>
                  <a:pt x="456" y="97"/>
                  <a:pt x="456" y="97"/>
                </a:cubicBezTo>
                <a:cubicBezTo>
                  <a:pt x="455" y="96"/>
                  <a:pt x="455" y="96"/>
                  <a:pt x="455" y="96"/>
                </a:cubicBezTo>
                <a:cubicBezTo>
                  <a:pt x="454" y="96"/>
                  <a:pt x="454" y="96"/>
                  <a:pt x="454" y="96"/>
                </a:cubicBezTo>
                <a:cubicBezTo>
                  <a:pt x="453" y="96"/>
                  <a:pt x="453" y="96"/>
                  <a:pt x="453" y="96"/>
                </a:cubicBezTo>
                <a:cubicBezTo>
                  <a:pt x="453" y="95"/>
                  <a:pt x="453" y="95"/>
                  <a:pt x="453" y="95"/>
                </a:cubicBezTo>
                <a:cubicBezTo>
                  <a:pt x="452" y="94"/>
                  <a:pt x="452" y="94"/>
                  <a:pt x="452" y="94"/>
                </a:cubicBezTo>
                <a:cubicBezTo>
                  <a:pt x="450" y="94"/>
                  <a:pt x="450" y="94"/>
                  <a:pt x="450" y="94"/>
                </a:cubicBezTo>
                <a:cubicBezTo>
                  <a:pt x="451" y="95"/>
                  <a:pt x="451" y="95"/>
                  <a:pt x="451" y="95"/>
                </a:cubicBezTo>
                <a:cubicBezTo>
                  <a:pt x="452" y="96"/>
                  <a:pt x="452" y="96"/>
                  <a:pt x="452" y="96"/>
                </a:cubicBezTo>
                <a:cubicBezTo>
                  <a:pt x="452" y="96"/>
                  <a:pt x="452" y="96"/>
                  <a:pt x="452" y="96"/>
                </a:cubicBezTo>
                <a:cubicBezTo>
                  <a:pt x="453" y="96"/>
                  <a:pt x="453" y="96"/>
                  <a:pt x="453" y="96"/>
                </a:cubicBezTo>
                <a:cubicBezTo>
                  <a:pt x="455" y="97"/>
                  <a:pt x="455" y="97"/>
                  <a:pt x="455" y="97"/>
                </a:cubicBezTo>
                <a:cubicBezTo>
                  <a:pt x="455" y="99"/>
                  <a:pt x="455" y="99"/>
                  <a:pt x="455" y="99"/>
                </a:cubicBezTo>
                <a:cubicBezTo>
                  <a:pt x="454" y="100"/>
                  <a:pt x="454" y="100"/>
                  <a:pt x="454" y="100"/>
                </a:cubicBezTo>
                <a:cubicBezTo>
                  <a:pt x="453" y="100"/>
                  <a:pt x="453" y="100"/>
                  <a:pt x="453" y="100"/>
                </a:cubicBezTo>
                <a:cubicBezTo>
                  <a:pt x="452" y="101"/>
                  <a:pt x="452" y="101"/>
                  <a:pt x="452" y="101"/>
                </a:cubicBezTo>
                <a:cubicBezTo>
                  <a:pt x="451" y="101"/>
                  <a:pt x="451" y="101"/>
                  <a:pt x="451" y="101"/>
                </a:cubicBezTo>
                <a:cubicBezTo>
                  <a:pt x="449" y="100"/>
                  <a:pt x="449" y="100"/>
                  <a:pt x="449" y="100"/>
                </a:cubicBezTo>
                <a:cubicBezTo>
                  <a:pt x="448" y="100"/>
                  <a:pt x="448" y="100"/>
                  <a:pt x="448" y="100"/>
                </a:cubicBezTo>
                <a:cubicBezTo>
                  <a:pt x="448" y="99"/>
                  <a:pt x="448" y="99"/>
                  <a:pt x="448" y="99"/>
                </a:cubicBezTo>
                <a:cubicBezTo>
                  <a:pt x="446" y="99"/>
                  <a:pt x="446" y="99"/>
                  <a:pt x="446" y="99"/>
                </a:cubicBezTo>
                <a:cubicBezTo>
                  <a:pt x="446" y="100"/>
                  <a:pt x="446" y="100"/>
                  <a:pt x="446" y="100"/>
                </a:cubicBezTo>
                <a:cubicBezTo>
                  <a:pt x="446" y="101"/>
                  <a:pt x="446" y="101"/>
                  <a:pt x="446" y="101"/>
                </a:cubicBezTo>
                <a:cubicBezTo>
                  <a:pt x="450" y="103"/>
                  <a:pt x="450" y="103"/>
                  <a:pt x="450" y="103"/>
                </a:cubicBezTo>
                <a:cubicBezTo>
                  <a:pt x="451" y="103"/>
                  <a:pt x="451" y="103"/>
                  <a:pt x="451" y="103"/>
                </a:cubicBezTo>
                <a:cubicBezTo>
                  <a:pt x="451" y="103"/>
                  <a:pt x="451" y="103"/>
                  <a:pt x="451" y="103"/>
                </a:cubicBezTo>
                <a:cubicBezTo>
                  <a:pt x="450" y="104"/>
                  <a:pt x="450" y="104"/>
                  <a:pt x="450" y="104"/>
                </a:cubicBezTo>
                <a:cubicBezTo>
                  <a:pt x="449" y="105"/>
                  <a:pt x="449" y="105"/>
                  <a:pt x="449" y="105"/>
                </a:cubicBezTo>
                <a:cubicBezTo>
                  <a:pt x="448" y="105"/>
                  <a:pt x="448" y="105"/>
                  <a:pt x="448" y="105"/>
                </a:cubicBezTo>
                <a:cubicBezTo>
                  <a:pt x="447" y="104"/>
                  <a:pt x="447" y="104"/>
                  <a:pt x="447" y="104"/>
                </a:cubicBezTo>
                <a:cubicBezTo>
                  <a:pt x="446" y="104"/>
                  <a:pt x="446" y="104"/>
                  <a:pt x="446" y="104"/>
                </a:cubicBezTo>
                <a:cubicBezTo>
                  <a:pt x="445" y="105"/>
                  <a:pt x="445" y="105"/>
                  <a:pt x="445" y="105"/>
                </a:cubicBezTo>
                <a:cubicBezTo>
                  <a:pt x="443" y="105"/>
                  <a:pt x="443" y="105"/>
                  <a:pt x="443" y="105"/>
                </a:cubicBezTo>
                <a:cubicBezTo>
                  <a:pt x="442" y="104"/>
                  <a:pt x="442" y="104"/>
                  <a:pt x="442" y="104"/>
                </a:cubicBezTo>
                <a:cubicBezTo>
                  <a:pt x="439" y="104"/>
                  <a:pt x="439" y="104"/>
                  <a:pt x="439" y="104"/>
                </a:cubicBezTo>
                <a:cubicBezTo>
                  <a:pt x="438" y="104"/>
                  <a:pt x="438" y="104"/>
                  <a:pt x="438" y="104"/>
                </a:cubicBezTo>
                <a:cubicBezTo>
                  <a:pt x="438" y="106"/>
                  <a:pt x="438" y="106"/>
                  <a:pt x="438" y="106"/>
                </a:cubicBezTo>
                <a:cubicBezTo>
                  <a:pt x="436" y="107"/>
                  <a:pt x="436" y="107"/>
                  <a:pt x="436" y="107"/>
                </a:cubicBezTo>
                <a:cubicBezTo>
                  <a:pt x="437" y="107"/>
                  <a:pt x="437" y="107"/>
                  <a:pt x="437" y="107"/>
                </a:cubicBezTo>
                <a:cubicBezTo>
                  <a:pt x="438" y="108"/>
                  <a:pt x="438" y="108"/>
                  <a:pt x="438" y="108"/>
                </a:cubicBezTo>
                <a:cubicBezTo>
                  <a:pt x="438" y="109"/>
                  <a:pt x="438" y="109"/>
                  <a:pt x="438" y="109"/>
                </a:cubicBezTo>
                <a:cubicBezTo>
                  <a:pt x="436" y="110"/>
                  <a:pt x="436" y="110"/>
                  <a:pt x="436" y="110"/>
                </a:cubicBezTo>
                <a:cubicBezTo>
                  <a:pt x="436" y="111"/>
                  <a:pt x="436" y="111"/>
                  <a:pt x="436" y="111"/>
                </a:cubicBezTo>
                <a:cubicBezTo>
                  <a:pt x="435" y="112"/>
                  <a:pt x="435" y="112"/>
                  <a:pt x="435" y="112"/>
                </a:cubicBezTo>
                <a:cubicBezTo>
                  <a:pt x="434" y="112"/>
                  <a:pt x="434" y="112"/>
                  <a:pt x="434" y="112"/>
                </a:cubicBezTo>
                <a:cubicBezTo>
                  <a:pt x="434" y="112"/>
                  <a:pt x="434" y="112"/>
                  <a:pt x="434" y="112"/>
                </a:cubicBezTo>
                <a:cubicBezTo>
                  <a:pt x="434" y="113"/>
                  <a:pt x="434" y="113"/>
                  <a:pt x="434" y="113"/>
                </a:cubicBezTo>
                <a:cubicBezTo>
                  <a:pt x="432" y="113"/>
                  <a:pt x="432" y="113"/>
                  <a:pt x="432" y="113"/>
                </a:cubicBezTo>
                <a:cubicBezTo>
                  <a:pt x="431" y="113"/>
                  <a:pt x="431" y="113"/>
                  <a:pt x="431" y="113"/>
                </a:cubicBezTo>
                <a:cubicBezTo>
                  <a:pt x="432" y="112"/>
                  <a:pt x="432" y="112"/>
                  <a:pt x="432" y="112"/>
                </a:cubicBezTo>
                <a:cubicBezTo>
                  <a:pt x="431" y="112"/>
                  <a:pt x="431" y="112"/>
                  <a:pt x="431" y="112"/>
                </a:cubicBezTo>
                <a:cubicBezTo>
                  <a:pt x="431" y="113"/>
                  <a:pt x="431" y="113"/>
                  <a:pt x="431" y="113"/>
                </a:cubicBezTo>
                <a:cubicBezTo>
                  <a:pt x="430" y="115"/>
                  <a:pt x="430" y="115"/>
                  <a:pt x="430" y="115"/>
                </a:cubicBezTo>
                <a:cubicBezTo>
                  <a:pt x="429" y="115"/>
                  <a:pt x="429" y="115"/>
                  <a:pt x="429" y="115"/>
                </a:cubicBezTo>
                <a:cubicBezTo>
                  <a:pt x="426" y="114"/>
                  <a:pt x="426" y="114"/>
                  <a:pt x="426" y="114"/>
                </a:cubicBezTo>
                <a:cubicBezTo>
                  <a:pt x="425" y="114"/>
                  <a:pt x="425" y="114"/>
                  <a:pt x="425" y="114"/>
                </a:cubicBezTo>
                <a:cubicBezTo>
                  <a:pt x="424" y="114"/>
                  <a:pt x="424" y="114"/>
                  <a:pt x="424" y="114"/>
                </a:cubicBezTo>
                <a:cubicBezTo>
                  <a:pt x="423" y="114"/>
                  <a:pt x="423" y="114"/>
                  <a:pt x="423" y="114"/>
                </a:cubicBezTo>
                <a:cubicBezTo>
                  <a:pt x="420" y="111"/>
                  <a:pt x="420" y="111"/>
                  <a:pt x="420" y="111"/>
                </a:cubicBezTo>
                <a:cubicBezTo>
                  <a:pt x="420" y="108"/>
                  <a:pt x="420" y="108"/>
                  <a:pt x="420" y="108"/>
                </a:cubicBezTo>
                <a:cubicBezTo>
                  <a:pt x="420" y="107"/>
                  <a:pt x="420" y="107"/>
                  <a:pt x="420" y="107"/>
                </a:cubicBezTo>
                <a:cubicBezTo>
                  <a:pt x="420" y="106"/>
                  <a:pt x="420" y="106"/>
                  <a:pt x="420" y="106"/>
                </a:cubicBezTo>
                <a:cubicBezTo>
                  <a:pt x="420" y="106"/>
                  <a:pt x="420" y="106"/>
                  <a:pt x="420" y="106"/>
                </a:cubicBezTo>
                <a:cubicBezTo>
                  <a:pt x="420" y="105"/>
                  <a:pt x="420" y="105"/>
                  <a:pt x="420" y="105"/>
                </a:cubicBezTo>
                <a:cubicBezTo>
                  <a:pt x="419" y="106"/>
                  <a:pt x="419" y="106"/>
                  <a:pt x="419" y="106"/>
                </a:cubicBezTo>
                <a:cubicBezTo>
                  <a:pt x="419" y="107"/>
                  <a:pt x="419" y="107"/>
                  <a:pt x="419" y="107"/>
                </a:cubicBezTo>
                <a:cubicBezTo>
                  <a:pt x="419" y="109"/>
                  <a:pt x="419" y="109"/>
                  <a:pt x="419" y="109"/>
                </a:cubicBezTo>
                <a:cubicBezTo>
                  <a:pt x="418" y="110"/>
                  <a:pt x="418" y="110"/>
                  <a:pt x="418" y="110"/>
                </a:cubicBezTo>
                <a:cubicBezTo>
                  <a:pt x="419" y="111"/>
                  <a:pt x="419" y="111"/>
                  <a:pt x="419" y="111"/>
                </a:cubicBezTo>
                <a:cubicBezTo>
                  <a:pt x="419" y="112"/>
                  <a:pt x="419" y="112"/>
                  <a:pt x="419" y="112"/>
                </a:cubicBezTo>
                <a:cubicBezTo>
                  <a:pt x="418" y="112"/>
                  <a:pt x="418" y="112"/>
                  <a:pt x="418" y="112"/>
                </a:cubicBezTo>
                <a:cubicBezTo>
                  <a:pt x="416" y="112"/>
                  <a:pt x="416" y="112"/>
                  <a:pt x="416" y="112"/>
                </a:cubicBezTo>
                <a:cubicBezTo>
                  <a:pt x="416" y="112"/>
                  <a:pt x="416" y="112"/>
                  <a:pt x="416" y="112"/>
                </a:cubicBezTo>
                <a:cubicBezTo>
                  <a:pt x="415" y="112"/>
                  <a:pt x="415" y="112"/>
                  <a:pt x="415" y="112"/>
                </a:cubicBezTo>
                <a:cubicBezTo>
                  <a:pt x="416" y="113"/>
                  <a:pt x="416" y="113"/>
                  <a:pt x="416" y="113"/>
                </a:cubicBezTo>
                <a:cubicBezTo>
                  <a:pt x="415" y="115"/>
                  <a:pt x="415" y="115"/>
                  <a:pt x="415" y="115"/>
                </a:cubicBezTo>
                <a:cubicBezTo>
                  <a:pt x="416" y="115"/>
                  <a:pt x="416" y="115"/>
                  <a:pt x="416" y="115"/>
                </a:cubicBezTo>
                <a:cubicBezTo>
                  <a:pt x="418" y="113"/>
                  <a:pt x="418" y="113"/>
                  <a:pt x="418" y="113"/>
                </a:cubicBezTo>
                <a:cubicBezTo>
                  <a:pt x="418" y="113"/>
                  <a:pt x="418" y="113"/>
                  <a:pt x="418" y="113"/>
                </a:cubicBezTo>
                <a:cubicBezTo>
                  <a:pt x="419" y="113"/>
                  <a:pt x="419" y="113"/>
                  <a:pt x="419" y="113"/>
                </a:cubicBezTo>
                <a:cubicBezTo>
                  <a:pt x="420" y="112"/>
                  <a:pt x="420" y="112"/>
                  <a:pt x="420" y="112"/>
                </a:cubicBezTo>
                <a:cubicBezTo>
                  <a:pt x="421" y="113"/>
                  <a:pt x="421" y="113"/>
                  <a:pt x="421" y="113"/>
                </a:cubicBezTo>
                <a:cubicBezTo>
                  <a:pt x="422" y="115"/>
                  <a:pt x="422" y="115"/>
                  <a:pt x="422" y="115"/>
                </a:cubicBezTo>
                <a:cubicBezTo>
                  <a:pt x="422" y="116"/>
                  <a:pt x="422" y="116"/>
                  <a:pt x="422" y="116"/>
                </a:cubicBezTo>
                <a:cubicBezTo>
                  <a:pt x="423" y="115"/>
                  <a:pt x="423" y="115"/>
                  <a:pt x="423" y="115"/>
                </a:cubicBezTo>
                <a:cubicBezTo>
                  <a:pt x="425" y="114"/>
                  <a:pt x="425" y="114"/>
                  <a:pt x="425" y="114"/>
                </a:cubicBezTo>
                <a:cubicBezTo>
                  <a:pt x="427" y="115"/>
                  <a:pt x="427" y="115"/>
                  <a:pt x="427" y="115"/>
                </a:cubicBezTo>
                <a:cubicBezTo>
                  <a:pt x="427" y="116"/>
                  <a:pt x="427" y="116"/>
                  <a:pt x="427" y="116"/>
                </a:cubicBezTo>
                <a:cubicBezTo>
                  <a:pt x="426" y="117"/>
                  <a:pt x="426" y="117"/>
                  <a:pt x="426" y="117"/>
                </a:cubicBezTo>
                <a:cubicBezTo>
                  <a:pt x="426" y="119"/>
                  <a:pt x="426" y="119"/>
                  <a:pt x="426" y="119"/>
                </a:cubicBezTo>
                <a:cubicBezTo>
                  <a:pt x="425" y="119"/>
                  <a:pt x="425" y="119"/>
                  <a:pt x="425" y="119"/>
                </a:cubicBezTo>
                <a:cubicBezTo>
                  <a:pt x="425" y="120"/>
                  <a:pt x="425" y="120"/>
                  <a:pt x="425" y="120"/>
                </a:cubicBezTo>
                <a:cubicBezTo>
                  <a:pt x="425" y="120"/>
                  <a:pt x="425" y="120"/>
                  <a:pt x="425" y="120"/>
                </a:cubicBezTo>
                <a:cubicBezTo>
                  <a:pt x="426" y="120"/>
                  <a:pt x="426" y="120"/>
                  <a:pt x="426" y="120"/>
                </a:cubicBezTo>
                <a:cubicBezTo>
                  <a:pt x="426" y="121"/>
                  <a:pt x="426" y="121"/>
                  <a:pt x="426" y="121"/>
                </a:cubicBezTo>
                <a:cubicBezTo>
                  <a:pt x="425" y="122"/>
                  <a:pt x="425" y="122"/>
                  <a:pt x="425" y="122"/>
                </a:cubicBezTo>
                <a:cubicBezTo>
                  <a:pt x="426" y="122"/>
                  <a:pt x="426" y="122"/>
                  <a:pt x="426" y="122"/>
                </a:cubicBezTo>
                <a:cubicBezTo>
                  <a:pt x="427" y="121"/>
                  <a:pt x="427" y="121"/>
                  <a:pt x="427" y="121"/>
                </a:cubicBezTo>
                <a:cubicBezTo>
                  <a:pt x="428" y="121"/>
                  <a:pt x="428" y="121"/>
                  <a:pt x="428" y="121"/>
                </a:cubicBezTo>
                <a:cubicBezTo>
                  <a:pt x="429" y="120"/>
                  <a:pt x="429" y="120"/>
                  <a:pt x="429" y="120"/>
                </a:cubicBezTo>
                <a:cubicBezTo>
                  <a:pt x="430" y="120"/>
                  <a:pt x="430" y="120"/>
                  <a:pt x="430" y="120"/>
                </a:cubicBezTo>
                <a:cubicBezTo>
                  <a:pt x="430" y="121"/>
                  <a:pt x="430" y="121"/>
                  <a:pt x="430" y="121"/>
                </a:cubicBezTo>
                <a:cubicBezTo>
                  <a:pt x="430" y="122"/>
                  <a:pt x="430" y="122"/>
                  <a:pt x="430" y="122"/>
                </a:cubicBezTo>
                <a:cubicBezTo>
                  <a:pt x="430" y="123"/>
                  <a:pt x="430" y="123"/>
                  <a:pt x="430" y="123"/>
                </a:cubicBezTo>
                <a:cubicBezTo>
                  <a:pt x="430" y="125"/>
                  <a:pt x="430" y="125"/>
                  <a:pt x="430" y="125"/>
                </a:cubicBezTo>
                <a:cubicBezTo>
                  <a:pt x="429" y="127"/>
                  <a:pt x="429" y="127"/>
                  <a:pt x="429" y="127"/>
                </a:cubicBezTo>
                <a:cubicBezTo>
                  <a:pt x="427" y="127"/>
                  <a:pt x="427" y="127"/>
                  <a:pt x="427" y="127"/>
                </a:cubicBezTo>
                <a:cubicBezTo>
                  <a:pt x="426" y="128"/>
                  <a:pt x="426" y="128"/>
                  <a:pt x="426" y="128"/>
                </a:cubicBezTo>
                <a:cubicBezTo>
                  <a:pt x="425" y="129"/>
                  <a:pt x="425" y="129"/>
                  <a:pt x="425" y="129"/>
                </a:cubicBezTo>
                <a:cubicBezTo>
                  <a:pt x="424" y="130"/>
                  <a:pt x="424" y="130"/>
                  <a:pt x="424" y="130"/>
                </a:cubicBezTo>
                <a:cubicBezTo>
                  <a:pt x="424" y="130"/>
                  <a:pt x="424" y="130"/>
                  <a:pt x="424" y="130"/>
                </a:cubicBezTo>
                <a:cubicBezTo>
                  <a:pt x="424" y="128"/>
                  <a:pt x="424" y="128"/>
                  <a:pt x="424" y="128"/>
                </a:cubicBezTo>
                <a:cubicBezTo>
                  <a:pt x="424" y="127"/>
                  <a:pt x="424" y="127"/>
                  <a:pt x="424" y="127"/>
                </a:cubicBezTo>
                <a:cubicBezTo>
                  <a:pt x="424" y="127"/>
                  <a:pt x="424" y="127"/>
                  <a:pt x="424" y="127"/>
                </a:cubicBezTo>
                <a:cubicBezTo>
                  <a:pt x="423" y="127"/>
                  <a:pt x="423" y="127"/>
                  <a:pt x="423" y="127"/>
                </a:cubicBezTo>
                <a:cubicBezTo>
                  <a:pt x="422" y="129"/>
                  <a:pt x="422" y="129"/>
                  <a:pt x="422" y="129"/>
                </a:cubicBezTo>
                <a:cubicBezTo>
                  <a:pt x="421" y="129"/>
                  <a:pt x="421" y="129"/>
                  <a:pt x="421" y="129"/>
                </a:cubicBezTo>
                <a:cubicBezTo>
                  <a:pt x="419" y="131"/>
                  <a:pt x="419" y="131"/>
                  <a:pt x="419" y="131"/>
                </a:cubicBezTo>
                <a:cubicBezTo>
                  <a:pt x="419" y="130"/>
                  <a:pt x="419" y="130"/>
                  <a:pt x="419" y="130"/>
                </a:cubicBezTo>
                <a:cubicBezTo>
                  <a:pt x="418" y="130"/>
                  <a:pt x="418" y="130"/>
                  <a:pt x="418" y="130"/>
                </a:cubicBezTo>
                <a:cubicBezTo>
                  <a:pt x="416" y="132"/>
                  <a:pt x="416" y="132"/>
                  <a:pt x="416" y="132"/>
                </a:cubicBezTo>
                <a:cubicBezTo>
                  <a:pt x="415" y="132"/>
                  <a:pt x="415" y="132"/>
                  <a:pt x="415" y="132"/>
                </a:cubicBezTo>
                <a:cubicBezTo>
                  <a:pt x="414" y="132"/>
                  <a:pt x="414" y="132"/>
                  <a:pt x="414" y="132"/>
                </a:cubicBezTo>
                <a:cubicBezTo>
                  <a:pt x="413" y="132"/>
                  <a:pt x="413" y="132"/>
                  <a:pt x="413" y="132"/>
                </a:cubicBezTo>
                <a:cubicBezTo>
                  <a:pt x="413" y="131"/>
                  <a:pt x="413" y="131"/>
                  <a:pt x="413" y="131"/>
                </a:cubicBezTo>
                <a:cubicBezTo>
                  <a:pt x="412" y="131"/>
                  <a:pt x="412" y="131"/>
                  <a:pt x="412" y="131"/>
                </a:cubicBezTo>
                <a:cubicBezTo>
                  <a:pt x="413" y="130"/>
                  <a:pt x="413" y="130"/>
                  <a:pt x="413" y="130"/>
                </a:cubicBezTo>
                <a:cubicBezTo>
                  <a:pt x="414" y="129"/>
                  <a:pt x="414" y="129"/>
                  <a:pt x="414" y="129"/>
                </a:cubicBezTo>
                <a:cubicBezTo>
                  <a:pt x="414" y="128"/>
                  <a:pt x="414" y="128"/>
                  <a:pt x="414" y="128"/>
                </a:cubicBezTo>
                <a:cubicBezTo>
                  <a:pt x="413" y="126"/>
                  <a:pt x="413" y="126"/>
                  <a:pt x="413" y="126"/>
                </a:cubicBezTo>
                <a:cubicBezTo>
                  <a:pt x="412" y="127"/>
                  <a:pt x="412" y="127"/>
                  <a:pt x="412" y="127"/>
                </a:cubicBezTo>
                <a:cubicBezTo>
                  <a:pt x="410" y="126"/>
                  <a:pt x="410" y="126"/>
                  <a:pt x="410" y="126"/>
                </a:cubicBezTo>
                <a:cubicBezTo>
                  <a:pt x="410" y="125"/>
                  <a:pt x="410" y="125"/>
                  <a:pt x="410" y="125"/>
                </a:cubicBezTo>
                <a:cubicBezTo>
                  <a:pt x="410" y="124"/>
                  <a:pt x="410" y="124"/>
                  <a:pt x="410" y="124"/>
                </a:cubicBezTo>
                <a:cubicBezTo>
                  <a:pt x="411" y="123"/>
                  <a:pt x="411" y="123"/>
                  <a:pt x="411" y="123"/>
                </a:cubicBezTo>
                <a:cubicBezTo>
                  <a:pt x="411" y="123"/>
                  <a:pt x="411" y="123"/>
                  <a:pt x="411" y="123"/>
                </a:cubicBezTo>
                <a:cubicBezTo>
                  <a:pt x="410" y="123"/>
                  <a:pt x="410" y="123"/>
                  <a:pt x="410" y="123"/>
                </a:cubicBezTo>
                <a:cubicBezTo>
                  <a:pt x="409" y="121"/>
                  <a:pt x="409" y="121"/>
                  <a:pt x="409" y="121"/>
                </a:cubicBezTo>
                <a:cubicBezTo>
                  <a:pt x="409" y="120"/>
                  <a:pt x="409" y="120"/>
                  <a:pt x="409" y="120"/>
                </a:cubicBezTo>
                <a:cubicBezTo>
                  <a:pt x="409" y="119"/>
                  <a:pt x="409" y="119"/>
                  <a:pt x="409" y="119"/>
                </a:cubicBezTo>
                <a:cubicBezTo>
                  <a:pt x="409" y="118"/>
                  <a:pt x="409" y="118"/>
                  <a:pt x="409" y="118"/>
                </a:cubicBezTo>
                <a:cubicBezTo>
                  <a:pt x="409" y="119"/>
                  <a:pt x="409" y="119"/>
                  <a:pt x="409" y="119"/>
                </a:cubicBezTo>
                <a:cubicBezTo>
                  <a:pt x="408" y="121"/>
                  <a:pt x="408" y="121"/>
                  <a:pt x="408" y="121"/>
                </a:cubicBezTo>
                <a:cubicBezTo>
                  <a:pt x="409" y="123"/>
                  <a:pt x="409" y="123"/>
                  <a:pt x="409" y="123"/>
                </a:cubicBezTo>
                <a:cubicBezTo>
                  <a:pt x="409" y="124"/>
                  <a:pt x="409" y="124"/>
                  <a:pt x="409" y="124"/>
                </a:cubicBezTo>
                <a:cubicBezTo>
                  <a:pt x="409" y="125"/>
                  <a:pt x="409" y="125"/>
                  <a:pt x="409" y="125"/>
                </a:cubicBezTo>
                <a:cubicBezTo>
                  <a:pt x="409" y="126"/>
                  <a:pt x="409" y="126"/>
                  <a:pt x="409" y="126"/>
                </a:cubicBezTo>
                <a:cubicBezTo>
                  <a:pt x="408" y="127"/>
                  <a:pt x="408" y="127"/>
                  <a:pt x="408" y="127"/>
                </a:cubicBezTo>
                <a:cubicBezTo>
                  <a:pt x="407" y="126"/>
                  <a:pt x="407" y="126"/>
                  <a:pt x="407" y="126"/>
                </a:cubicBezTo>
                <a:cubicBezTo>
                  <a:pt x="406" y="127"/>
                  <a:pt x="406" y="127"/>
                  <a:pt x="406" y="127"/>
                </a:cubicBezTo>
                <a:cubicBezTo>
                  <a:pt x="405" y="126"/>
                  <a:pt x="405" y="126"/>
                  <a:pt x="405" y="126"/>
                </a:cubicBezTo>
                <a:cubicBezTo>
                  <a:pt x="405" y="125"/>
                  <a:pt x="405" y="125"/>
                  <a:pt x="405" y="125"/>
                </a:cubicBezTo>
                <a:cubicBezTo>
                  <a:pt x="405" y="123"/>
                  <a:pt x="405" y="123"/>
                  <a:pt x="405" y="123"/>
                </a:cubicBezTo>
                <a:cubicBezTo>
                  <a:pt x="405" y="121"/>
                  <a:pt x="405" y="121"/>
                  <a:pt x="405" y="121"/>
                </a:cubicBezTo>
                <a:cubicBezTo>
                  <a:pt x="405" y="120"/>
                  <a:pt x="405" y="120"/>
                  <a:pt x="405" y="120"/>
                </a:cubicBezTo>
                <a:cubicBezTo>
                  <a:pt x="406" y="119"/>
                  <a:pt x="406" y="119"/>
                  <a:pt x="406" y="119"/>
                </a:cubicBezTo>
                <a:cubicBezTo>
                  <a:pt x="405" y="119"/>
                  <a:pt x="405" y="119"/>
                  <a:pt x="405" y="119"/>
                </a:cubicBezTo>
                <a:cubicBezTo>
                  <a:pt x="404" y="120"/>
                  <a:pt x="404" y="120"/>
                  <a:pt x="404" y="120"/>
                </a:cubicBezTo>
                <a:cubicBezTo>
                  <a:pt x="404" y="122"/>
                  <a:pt x="404" y="122"/>
                  <a:pt x="404" y="122"/>
                </a:cubicBezTo>
                <a:cubicBezTo>
                  <a:pt x="404" y="123"/>
                  <a:pt x="404" y="123"/>
                  <a:pt x="404" y="123"/>
                </a:cubicBezTo>
                <a:cubicBezTo>
                  <a:pt x="403" y="125"/>
                  <a:pt x="403" y="125"/>
                  <a:pt x="403" y="125"/>
                </a:cubicBezTo>
                <a:cubicBezTo>
                  <a:pt x="402" y="125"/>
                  <a:pt x="402" y="125"/>
                  <a:pt x="402" y="125"/>
                </a:cubicBezTo>
                <a:cubicBezTo>
                  <a:pt x="401" y="125"/>
                  <a:pt x="401" y="125"/>
                  <a:pt x="401" y="125"/>
                </a:cubicBezTo>
                <a:cubicBezTo>
                  <a:pt x="401" y="124"/>
                  <a:pt x="401" y="124"/>
                  <a:pt x="401" y="124"/>
                </a:cubicBezTo>
                <a:cubicBezTo>
                  <a:pt x="401" y="123"/>
                  <a:pt x="401" y="123"/>
                  <a:pt x="401" y="123"/>
                </a:cubicBezTo>
                <a:cubicBezTo>
                  <a:pt x="401" y="122"/>
                  <a:pt x="401" y="122"/>
                  <a:pt x="401" y="122"/>
                </a:cubicBezTo>
                <a:cubicBezTo>
                  <a:pt x="402" y="121"/>
                  <a:pt x="402" y="121"/>
                  <a:pt x="402" y="121"/>
                </a:cubicBezTo>
                <a:cubicBezTo>
                  <a:pt x="402" y="121"/>
                  <a:pt x="402" y="121"/>
                  <a:pt x="402" y="121"/>
                </a:cubicBezTo>
                <a:cubicBezTo>
                  <a:pt x="401" y="119"/>
                  <a:pt x="401" y="119"/>
                  <a:pt x="401" y="119"/>
                </a:cubicBezTo>
                <a:cubicBezTo>
                  <a:pt x="401" y="119"/>
                  <a:pt x="401" y="119"/>
                  <a:pt x="401" y="119"/>
                </a:cubicBezTo>
                <a:cubicBezTo>
                  <a:pt x="401" y="120"/>
                  <a:pt x="401" y="120"/>
                  <a:pt x="401" y="120"/>
                </a:cubicBezTo>
                <a:cubicBezTo>
                  <a:pt x="401" y="121"/>
                  <a:pt x="401" y="121"/>
                  <a:pt x="401" y="121"/>
                </a:cubicBezTo>
                <a:cubicBezTo>
                  <a:pt x="400" y="122"/>
                  <a:pt x="400" y="122"/>
                  <a:pt x="400" y="122"/>
                </a:cubicBezTo>
                <a:cubicBezTo>
                  <a:pt x="400" y="123"/>
                  <a:pt x="400" y="123"/>
                  <a:pt x="400" y="123"/>
                </a:cubicBezTo>
                <a:cubicBezTo>
                  <a:pt x="399" y="123"/>
                  <a:pt x="399" y="123"/>
                  <a:pt x="399" y="123"/>
                </a:cubicBezTo>
                <a:cubicBezTo>
                  <a:pt x="398" y="123"/>
                  <a:pt x="398" y="123"/>
                  <a:pt x="398" y="123"/>
                </a:cubicBezTo>
                <a:cubicBezTo>
                  <a:pt x="398" y="124"/>
                  <a:pt x="398" y="124"/>
                  <a:pt x="398" y="124"/>
                </a:cubicBezTo>
                <a:cubicBezTo>
                  <a:pt x="397" y="124"/>
                  <a:pt x="397" y="124"/>
                  <a:pt x="397" y="124"/>
                </a:cubicBezTo>
                <a:close/>
                <a:moveTo>
                  <a:pt x="431" y="310"/>
                </a:moveTo>
                <a:cubicBezTo>
                  <a:pt x="431" y="312"/>
                  <a:pt x="431" y="312"/>
                  <a:pt x="431" y="312"/>
                </a:cubicBezTo>
                <a:cubicBezTo>
                  <a:pt x="431" y="313"/>
                  <a:pt x="431" y="313"/>
                  <a:pt x="431" y="313"/>
                </a:cubicBezTo>
                <a:cubicBezTo>
                  <a:pt x="431" y="314"/>
                  <a:pt x="431" y="314"/>
                  <a:pt x="431" y="314"/>
                </a:cubicBezTo>
                <a:cubicBezTo>
                  <a:pt x="432" y="314"/>
                  <a:pt x="432" y="314"/>
                  <a:pt x="432" y="314"/>
                </a:cubicBezTo>
                <a:cubicBezTo>
                  <a:pt x="431" y="313"/>
                  <a:pt x="431" y="313"/>
                  <a:pt x="431" y="313"/>
                </a:cubicBezTo>
                <a:cubicBezTo>
                  <a:pt x="432" y="312"/>
                  <a:pt x="432" y="312"/>
                  <a:pt x="432" y="312"/>
                </a:cubicBezTo>
                <a:cubicBezTo>
                  <a:pt x="432" y="310"/>
                  <a:pt x="432" y="310"/>
                  <a:pt x="432" y="310"/>
                </a:cubicBezTo>
                <a:cubicBezTo>
                  <a:pt x="431" y="310"/>
                  <a:pt x="431" y="310"/>
                  <a:pt x="431" y="310"/>
                </a:cubicBezTo>
                <a:close/>
                <a:moveTo>
                  <a:pt x="430" y="303"/>
                </a:moveTo>
                <a:cubicBezTo>
                  <a:pt x="430" y="303"/>
                  <a:pt x="430" y="303"/>
                  <a:pt x="430" y="303"/>
                </a:cubicBezTo>
                <a:cubicBezTo>
                  <a:pt x="430" y="302"/>
                  <a:pt x="430" y="302"/>
                  <a:pt x="430" y="302"/>
                </a:cubicBezTo>
                <a:cubicBezTo>
                  <a:pt x="431" y="303"/>
                  <a:pt x="431" y="303"/>
                  <a:pt x="431" y="303"/>
                </a:cubicBezTo>
                <a:cubicBezTo>
                  <a:pt x="431" y="303"/>
                  <a:pt x="431" y="303"/>
                  <a:pt x="431" y="303"/>
                </a:cubicBezTo>
                <a:cubicBezTo>
                  <a:pt x="430" y="303"/>
                  <a:pt x="430" y="303"/>
                  <a:pt x="430" y="303"/>
                </a:cubicBezTo>
                <a:close/>
                <a:moveTo>
                  <a:pt x="428" y="299"/>
                </a:moveTo>
                <a:cubicBezTo>
                  <a:pt x="429" y="298"/>
                  <a:pt x="429" y="298"/>
                  <a:pt x="429" y="298"/>
                </a:cubicBezTo>
                <a:cubicBezTo>
                  <a:pt x="430" y="298"/>
                  <a:pt x="430" y="298"/>
                  <a:pt x="430" y="298"/>
                </a:cubicBezTo>
                <a:cubicBezTo>
                  <a:pt x="430" y="298"/>
                  <a:pt x="430" y="298"/>
                  <a:pt x="430" y="298"/>
                </a:cubicBezTo>
                <a:cubicBezTo>
                  <a:pt x="429" y="299"/>
                  <a:pt x="429" y="299"/>
                  <a:pt x="429" y="299"/>
                </a:cubicBezTo>
                <a:cubicBezTo>
                  <a:pt x="429" y="299"/>
                  <a:pt x="429" y="299"/>
                  <a:pt x="429" y="299"/>
                </a:cubicBezTo>
                <a:cubicBezTo>
                  <a:pt x="428" y="299"/>
                  <a:pt x="428" y="299"/>
                  <a:pt x="428" y="299"/>
                </a:cubicBezTo>
                <a:close/>
                <a:moveTo>
                  <a:pt x="418" y="206"/>
                </a:moveTo>
                <a:cubicBezTo>
                  <a:pt x="418" y="205"/>
                  <a:pt x="418" y="205"/>
                  <a:pt x="418" y="205"/>
                </a:cubicBezTo>
                <a:cubicBezTo>
                  <a:pt x="419" y="204"/>
                  <a:pt x="419" y="204"/>
                  <a:pt x="419" y="204"/>
                </a:cubicBezTo>
                <a:cubicBezTo>
                  <a:pt x="419" y="205"/>
                  <a:pt x="419" y="205"/>
                  <a:pt x="419" y="205"/>
                </a:cubicBezTo>
                <a:cubicBezTo>
                  <a:pt x="418" y="206"/>
                  <a:pt x="418" y="206"/>
                  <a:pt x="418" y="206"/>
                </a:cubicBezTo>
                <a:close/>
                <a:moveTo>
                  <a:pt x="420" y="207"/>
                </a:moveTo>
                <a:cubicBezTo>
                  <a:pt x="420" y="206"/>
                  <a:pt x="420" y="206"/>
                  <a:pt x="420" y="206"/>
                </a:cubicBezTo>
                <a:cubicBezTo>
                  <a:pt x="420" y="205"/>
                  <a:pt x="420" y="205"/>
                  <a:pt x="420" y="205"/>
                </a:cubicBezTo>
                <a:cubicBezTo>
                  <a:pt x="420" y="205"/>
                  <a:pt x="420" y="205"/>
                  <a:pt x="420" y="205"/>
                </a:cubicBezTo>
                <a:cubicBezTo>
                  <a:pt x="421" y="206"/>
                  <a:pt x="421" y="206"/>
                  <a:pt x="421" y="206"/>
                </a:cubicBezTo>
                <a:cubicBezTo>
                  <a:pt x="421" y="207"/>
                  <a:pt x="421" y="207"/>
                  <a:pt x="421" y="207"/>
                </a:cubicBezTo>
                <a:cubicBezTo>
                  <a:pt x="420" y="207"/>
                  <a:pt x="420" y="207"/>
                  <a:pt x="420" y="207"/>
                </a:cubicBezTo>
                <a:close/>
                <a:moveTo>
                  <a:pt x="418" y="210"/>
                </a:moveTo>
                <a:cubicBezTo>
                  <a:pt x="417" y="209"/>
                  <a:pt x="417" y="209"/>
                  <a:pt x="417" y="209"/>
                </a:cubicBezTo>
                <a:cubicBezTo>
                  <a:pt x="418" y="208"/>
                  <a:pt x="418" y="208"/>
                  <a:pt x="418" y="208"/>
                </a:cubicBezTo>
                <a:cubicBezTo>
                  <a:pt x="418" y="207"/>
                  <a:pt x="418" y="207"/>
                  <a:pt x="418" y="207"/>
                </a:cubicBezTo>
                <a:cubicBezTo>
                  <a:pt x="418" y="207"/>
                  <a:pt x="418" y="207"/>
                  <a:pt x="418" y="207"/>
                </a:cubicBezTo>
                <a:cubicBezTo>
                  <a:pt x="419" y="208"/>
                  <a:pt x="419" y="208"/>
                  <a:pt x="419" y="208"/>
                </a:cubicBezTo>
                <a:cubicBezTo>
                  <a:pt x="419" y="207"/>
                  <a:pt x="419" y="207"/>
                  <a:pt x="419" y="207"/>
                </a:cubicBezTo>
                <a:cubicBezTo>
                  <a:pt x="420" y="208"/>
                  <a:pt x="420" y="208"/>
                  <a:pt x="420" y="208"/>
                </a:cubicBezTo>
                <a:cubicBezTo>
                  <a:pt x="419" y="209"/>
                  <a:pt x="419" y="209"/>
                  <a:pt x="419" y="209"/>
                </a:cubicBezTo>
                <a:cubicBezTo>
                  <a:pt x="418" y="210"/>
                  <a:pt x="418" y="210"/>
                  <a:pt x="418" y="210"/>
                </a:cubicBezTo>
                <a:cubicBezTo>
                  <a:pt x="418" y="210"/>
                  <a:pt x="418" y="210"/>
                  <a:pt x="418" y="210"/>
                </a:cubicBezTo>
                <a:close/>
                <a:moveTo>
                  <a:pt x="437" y="238"/>
                </a:moveTo>
                <a:cubicBezTo>
                  <a:pt x="437" y="237"/>
                  <a:pt x="437" y="237"/>
                  <a:pt x="437" y="237"/>
                </a:cubicBezTo>
                <a:cubicBezTo>
                  <a:pt x="438" y="237"/>
                  <a:pt x="438" y="237"/>
                  <a:pt x="438" y="237"/>
                </a:cubicBezTo>
                <a:cubicBezTo>
                  <a:pt x="438" y="238"/>
                  <a:pt x="438" y="238"/>
                  <a:pt x="438" y="238"/>
                </a:cubicBezTo>
                <a:cubicBezTo>
                  <a:pt x="437" y="238"/>
                  <a:pt x="437" y="238"/>
                  <a:pt x="437" y="238"/>
                </a:cubicBezTo>
                <a:cubicBezTo>
                  <a:pt x="437" y="238"/>
                  <a:pt x="437" y="238"/>
                  <a:pt x="437" y="238"/>
                </a:cubicBezTo>
                <a:close/>
                <a:moveTo>
                  <a:pt x="435" y="237"/>
                </a:moveTo>
                <a:cubicBezTo>
                  <a:pt x="435" y="237"/>
                  <a:pt x="435" y="237"/>
                  <a:pt x="435" y="237"/>
                </a:cubicBezTo>
                <a:cubicBezTo>
                  <a:pt x="436" y="236"/>
                  <a:pt x="436" y="236"/>
                  <a:pt x="436" y="236"/>
                </a:cubicBezTo>
                <a:cubicBezTo>
                  <a:pt x="436" y="236"/>
                  <a:pt x="436" y="236"/>
                  <a:pt x="436" y="236"/>
                </a:cubicBezTo>
                <a:cubicBezTo>
                  <a:pt x="437" y="237"/>
                  <a:pt x="437" y="237"/>
                  <a:pt x="437" y="237"/>
                </a:cubicBezTo>
                <a:cubicBezTo>
                  <a:pt x="436" y="238"/>
                  <a:pt x="436" y="238"/>
                  <a:pt x="436" y="238"/>
                </a:cubicBezTo>
                <a:cubicBezTo>
                  <a:pt x="435" y="238"/>
                  <a:pt x="435" y="238"/>
                  <a:pt x="435" y="238"/>
                </a:cubicBezTo>
                <a:cubicBezTo>
                  <a:pt x="435" y="237"/>
                  <a:pt x="435" y="237"/>
                  <a:pt x="435" y="237"/>
                </a:cubicBezTo>
                <a:close/>
                <a:moveTo>
                  <a:pt x="431" y="250"/>
                </a:moveTo>
                <a:cubicBezTo>
                  <a:pt x="432" y="251"/>
                  <a:pt x="432" y="251"/>
                  <a:pt x="432" y="251"/>
                </a:cubicBezTo>
                <a:cubicBezTo>
                  <a:pt x="432" y="251"/>
                  <a:pt x="432" y="251"/>
                  <a:pt x="432" y="251"/>
                </a:cubicBezTo>
                <a:cubicBezTo>
                  <a:pt x="432" y="250"/>
                  <a:pt x="432" y="250"/>
                  <a:pt x="432" y="250"/>
                </a:cubicBezTo>
                <a:cubicBezTo>
                  <a:pt x="431" y="250"/>
                  <a:pt x="431" y="250"/>
                  <a:pt x="431" y="250"/>
                </a:cubicBezTo>
                <a:close/>
                <a:moveTo>
                  <a:pt x="436" y="256"/>
                </a:moveTo>
                <a:cubicBezTo>
                  <a:pt x="437" y="257"/>
                  <a:pt x="437" y="257"/>
                  <a:pt x="437" y="257"/>
                </a:cubicBezTo>
                <a:cubicBezTo>
                  <a:pt x="438" y="256"/>
                  <a:pt x="438" y="256"/>
                  <a:pt x="438" y="256"/>
                </a:cubicBezTo>
                <a:cubicBezTo>
                  <a:pt x="437" y="256"/>
                  <a:pt x="437" y="256"/>
                  <a:pt x="437" y="256"/>
                </a:cubicBezTo>
                <a:cubicBezTo>
                  <a:pt x="437" y="256"/>
                  <a:pt x="437" y="256"/>
                  <a:pt x="437" y="256"/>
                </a:cubicBezTo>
                <a:cubicBezTo>
                  <a:pt x="437" y="256"/>
                  <a:pt x="436" y="256"/>
                  <a:pt x="436" y="256"/>
                </a:cubicBezTo>
                <a:close/>
                <a:moveTo>
                  <a:pt x="446" y="266"/>
                </a:moveTo>
                <a:cubicBezTo>
                  <a:pt x="445" y="264"/>
                  <a:pt x="445" y="264"/>
                  <a:pt x="445" y="264"/>
                </a:cubicBezTo>
                <a:cubicBezTo>
                  <a:pt x="446" y="263"/>
                  <a:pt x="446" y="263"/>
                  <a:pt x="446" y="263"/>
                </a:cubicBezTo>
                <a:cubicBezTo>
                  <a:pt x="447" y="264"/>
                  <a:pt x="447" y="264"/>
                  <a:pt x="447" y="264"/>
                </a:cubicBezTo>
                <a:cubicBezTo>
                  <a:pt x="447" y="265"/>
                  <a:pt x="447" y="265"/>
                  <a:pt x="447" y="265"/>
                </a:cubicBezTo>
                <a:cubicBezTo>
                  <a:pt x="446" y="266"/>
                  <a:pt x="446" y="266"/>
                  <a:pt x="446" y="266"/>
                </a:cubicBezTo>
                <a:cubicBezTo>
                  <a:pt x="446" y="266"/>
                  <a:pt x="446" y="266"/>
                  <a:pt x="446" y="266"/>
                </a:cubicBezTo>
                <a:close/>
                <a:moveTo>
                  <a:pt x="451" y="272"/>
                </a:moveTo>
                <a:cubicBezTo>
                  <a:pt x="451" y="270"/>
                  <a:pt x="451" y="270"/>
                  <a:pt x="451" y="270"/>
                </a:cubicBezTo>
                <a:cubicBezTo>
                  <a:pt x="452" y="270"/>
                  <a:pt x="452" y="270"/>
                  <a:pt x="452" y="270"/>
                </a:cubicBezTo>
                <a:cubicBezTo>
                  <a:pt x="452" y="270"/>
                  <a:pt x="452" y="270"/>
                  <a:pt x="452" y="270"/>
                </a:cubicBezTo>
                <a:cubicBezTo>
                  <a:pt x="453" y="270"/>
                  <a:pt x="453" y="270"/>
                  <a:pt x="453" y="270"/>
                </a:cubicBezTo>
                <a:cubicBezTo>
                  <a:pt x="452" y="271"/>
                  <a:pt x="452" y="271"/>
                  <a:pt x="452" y="271"/>
                </a:cubicBezTo>
                <a:cubicBezTo>
                  <a:pt x="451" y="271"/>
                  <a:pt x="451" y="271"/>
                  <a:pt x="451" y="271"/>
                </a:cubicBezTo>
                <a:cubicBezTo>
                  <a:pt x="451" y="271"/>
                  <a:pt x="451" y="272"/>
                  <a:pt x="451" y="272"/>
                </a:cubicBezTo>
                <a:close/>
                <a:moveTo>
                  <a:pt x="416" y="138"/>
                </a:moveTo>
                <a:cubicBezTo>
                  <a:pt x="416" y="136"/>
                  <a:pt x="416" y="136"/>
                  <a:pt x="416" y="136"/>
                </a:cubicBezTo>
                <a:cubicBezTo>
                  <a:pt x="416" y="136"/>
                  <a:pt x="416" y="136"/>
                  <a:pt x="416" y="136"/>
                </a:cubicBezTo>
                <a:cubicBezTo>
                  <a:pt x="417" y="135"/>
                  <a:pt x="417" y="135"/>
                  <a:pt x="417" y="135"/>
                </a:cubicBezTo>
                <a:cubicBezTo>
                  <a:pt x="420" y="133"/>
                  <a:pt x="420" y="133"/>
                  <a:pt x="420" y="133"/>
                </a:cubicBezTo>
                <a:cubicBezTo>
                  <a:pt x="421" y="133"/>
                  <a:pt x="421" y="133"/>
                  <a:pt x="421" y="133"/>
                </a:cubicBezTo>
                <a:cubicBezTo>
                  <a:pt x="420" y="134"/>
                  <a:pt x="420" y="134"/>
                  <a:pt x="420" y="134"/>
                </a:cubicBezTo>
                <a:cubicBezTo>
                  <a:pt x="419" y="135"/>
                  <a:pt x="419" y="135"/>
                  <a:pt x="419" y="135"/>
                </a:cubicBezTo>
                <a:cubicBezTo>
                  <a:pt x="418" y="136"/>
                  <a:pt x="418" y="136"/>
                  <a:pt x="418" y="136"/>
                </a:cubicBezTo>
                <a:cubicBezTo>
                  <a:pt x="419" y="137"/>
                  <a:pt x="419" y="137"/>
                  <a:pt x="419" y="137"/>
                </a:cubicBezTo>
                <a:cubicBezTo>
                  <a:pt x="419" y="138"/>
                  <a:pt x="419" y="138"/>
                  <a:pt x="419" y="138"/>
                </a:cubicBezTo>
                <a:cubicBezTo>
                  <a:pt x="418" y="137"/>
                  <a:pt x="418" y="137"/>
                  <a:pt x="418" y="137"/>
                </a:cubicBezTo>
                <a:cubicBezTo>
                  <a:pt x="417" y="137"/>
                  <a:pt x="417" y="137"/>
                  <a:pt x="417" y="137"/>
                </a:cubicBezTo>
                <a:cubicBezTo>
                  <a:pt x="417" y="137"/>
                  <a:pt x="417" y="137"/>
                  <a:pt x="417" y="137"/>
                </a:cubicBezTo>
                <a:cubicBezTo>
                  <a:pt x="416" y="138"/>
                  <a:pt x="416" y="138"/>
                  <a:pt x="416" y="138"/>
                </a:cubicBezTo>
                <a:cubicBezTo>
                  <a:pt x="416" y="138"/>
                  <a:pt x="416" y="138"/>
                  <a:pt x="416" y="138"/>
                </a:cubicBezTo>
                <a:close/>
                <a:moveTo>
                  <a:pt x="410" y="132"/>
                </a:moveTo>
                <a:cubicBezTo>
                  <a:pt x="410" y="132"/>
                  <a:pt x="410" y="132"/>
                  <a:pt x="410" y="132"/>
                </a:cubicBezTo>
                <a:cubicBezTo>
                  <a:pt x="411" y="132"/>
                  <a:pt x="411" y="132"/>
                  <a:pt x="411" y="132"/>
                </a:cubicBezTo>
                <a:cubicBezTo>
                  <a:pt x="411" y="132"/>
                  <a:pt x="411" y="132"/>
                  <a:pt x="411" y="132"/>
                </a:cubicBezTo>
                <a:cubicBezTo>
                  <a:pt x="411" y="131"/>
                  <a:pt x="411" y="131"/>
                  <a:pt x="411" y="131"/>
                </a:cubicBezTo>
                <a:cubicBezTo>
                  <a:pt x="410" y="132"/>
                  <a:pt x="410" y="132"/>
                  <a:pt x="410" y="132"/>
                </a:cubicBezTo>
                <a:close/>
                <a:moveTo>
                  <a:pt x="376" y="117"/>
                </a:moveTo>
                <a:cubicBezTo>
                  <a:pt x="374" y="116"/>
                  <a:pt x="374" y="116"/>
                  <a:pt x="374" y="116"/>
                </a:cubicBezTo>
                <a:cubicBezTo>
                  <a:pt x="374" y="115"/>
                  <a:pt x="374" y="115"/>
                  <a:pt x="374" y="115"/>
                </a:cubicBezTo>
                <a:cubicBezTo>
                  <a:pt x="374" y="113"/>
                  <a:pt x="374" y="113"/>
                  <a:pt x="374" y="113"/>
                </a:cubicBezTo>
                <a:cubicBezTo>
                  <a:pt x="374" y="112"/>
                  <a:pt x="374" y="112"/>
                  <a:pt x="374" y="112"/>
                </a:cubicBezTo>
                <a:cubicBezTo>
                  <a:pt x="374" y="111"/>
                  <a:pt x="374" y="111"/>
                  <a:pt x="374" y="111"/>
                </a:cubicBezTo>
                <a:cubicBezTo>
                  <a:pt x="374" y="110"/>
                  <a:pt x="374" y="110"/>
                  <a:pt x="374" y="110"/>
                </a:cubicBezTo>
                <a:cubicBezTo>
                  <a:pt x="375" y="110"/>
                  <a:pt x="375" y="110"/>
                  <a:pt x="375" y="110"/>
                </a:cubicBezTo>
                <a:cubicBezTo>
                  <a:pt x="377" y="110"/>
                  <a:pt x="377" y="110"/>
                  <a:pt x="377" y="110"/>
                </a:cubicBezTo>
                <a:cubicBezTo>
                  <a:pt x="377" y="112"/>
                  <a:pt x="377" y="112"/>
                  <a:pt x="377" y="112"/>
                </a:cubicBezTo>
                <a:cubicBezTo>
                  <a:pt x="376" y="114"/>
                  <a:pt x="376" y="114"/>
                  <a:pt x="376" y="114"/>
                </a:cubicBezTo>
                <a:cubicBezTo>
                  <a:pt x="376" y="115"/>
                  <a:pt x="376" y="115"/>
                  <a:pt x="376" y="115"/>
                </a:cubicBezTo>
                <a:cubicBezTo>
                  <a:pt x="376" y="116"/>
                  <a:pt x="376" y="116"/>
                  <a:pt x="376" y="116"/>
                </a:cubicBezTo>
                <a:cubicBezTo>
                  <a:pt x="376" y="117"/>
                  <a:pt x="376" y="117"/>
                  <a:pt x="376" y="117"/>
                </a:cubicBezTo>
                <a:cubicBezTo>
                  <a:pt x="376" y="117"/>
                  <a:pt x="376" y="117"/>
                  <a:pt x="376" y="117"/>
                </a:cubicBezTo>
                <a:close/>
                <a:moveTo>
                  <a:pt x="375" y="47"/>
                </a:moveTo>
                <a:cubicBezTo>
                  <a:pt x="377" y="46"/>
                  <a:pt x="377" y="46"/>
                  <a:pt x="377" y="46"/>
                </a:cubicBezTo>
                <a:cubicBezTo>
                  <a:pt x="378" y="44"/>
                  <a:pt x="378" y="44"/>
                  <a:pt x="378" y="44"/>
                </a:cubicBezTo>
                <a:cubicBezTo>
                  <a:pt x="378" y="43"/>
                  <a:pt x="378" y="43"/>
                  <a:pt x="378" y="43"/>
                </a:cubicBezTo>
                <a:cubicBezTo>
                  <a:pt x="379" y="42"/>
                  <a:pt x="379" y="42"/>
                  <a:pt x="379" y="42"/>
                </a:cubicBezTo>
                <a:cubicBezTo>
                  <a:pt x="380" y="40"/>
                  <a:pt x="380" y="40"/>
                  <a:pt x="380" y="40"/>
                </a:cubicBezTo>
                <a:cubicBezTo>
                  <a:pt x="380" y="39"/>
                  <a:pt x="380" y="39"/>
                  <a:pt x="380" y="39"/>
                </a:cubicBezTo>
                <a:cubicBezTo>
                  <a:pt x="378" y="39"/>
                  <a:pt x="378" y="39"/>
                  <a:pt x="378" y="39"/>
                </a:cubicBezTo>
                <a:cubicBezTo>
                  <a:pt x="377" y="39"/>
                  <a:pt x="377" y="39"/>
                  <a:pt x="377" y="39"/>
                </a:cubicBezTo>
                <a:cubicBezTo>
                  <a:pt x="378" y="38"/>
                  <a:pt x="378" y="38"/>
                  <a:pt x="378" y="38"/>
                </a:cubicBezTo>
                <a:cubicBezTo>
                  <a:pt x="377" y="38"/>
                  <a:pt x="377" y="38"/>
                  <a:pt x="377" y="38"/>
                </a:cubicBezTo>
                <a:cubicBezTo>
                  <a:pt x="376" y="39"/>
                  <a:pt x="376" y="39"/>
                  <a:pt x="376" y="39"/>
                </a:cubicBezTo>
                <a:cubicBezTo>
                  <a:pt x="374" y="40"/>
                  <a:pt x="374" y="40"/>
                  <a:pt x="374" y="40"/>
                </a:cubicBezTo>
                <a:cubicBezTo>
                  <a:pt x="374" y="41"/>
                  <a:pt x="374" y="41"/>
                  <a:pt x="374" y="41"/>
                </a:cubicBezTo>
                <a:cubicBezTo>
                  <a:pt x="373" y="41"/>
                  <a:pt x="373" y="41"/>
                  <a:pt x="373" y="41"/>
                </a:cubicBezTo>
                <a:cubicBezTo>
                  <a:pt x="373" y="42"/>
                  <a:pt x="373" y="42"/>
                  <a:pt x="373" y="42"/>
                </a:cubicBezTo>
                <a:cubicBezTo>
                  <a:pt x="375" y="43"/>
                  <a:pt x="375" y="43"/>
                  <a:pt x="375" y="43"/>
                </a:cubicBezTo>
                <a:cubicBezTo>
                  <a:pt x="376" y="42"/>
                  <a:pt x="376" y="42"/>
                  <a:pt x="376" y="42"/>
                </a:cubicBezTo>
                <a:cubicBezTo>
                  <a:pt x="376" y="44"/>
                  <a:pt x="376" y="44"/>
                  <a:pt x="376" y="44"/>
                </a:cubicBezTo>
                <a:cubicBezTo>
                  <a:pt x="375" y="45"/>
                  <a:pt x="375" y="45"/>
                  <a:pt x="375" y="45"/>
                </a:cubicBezTo>
                <a:cubicBezTo>
                  <a:pt x="375" y="46"/>
                  <a:pt x="375" y="46"/>
                  <a:pt x="375" y="46"/>
                </a:cubicBezTo>
                <a:cubicBezTo>
                  <a:pt x="375" y="46"/>
                  <a:pt x="375" y="46"/>
                  <a:pt x="375" y="46"/>
                </a:cubicBezTo>
                <a:cubicBezTo>
                  <a:pt x="375" y="47"/>
                  <a:pt x="375" y="47"/>
                  <a:pt x="375" y="47"/>
                </a:cubicBezTo>
                <a:close/>
                <a:moveTo>
                  <a:pt x="359" y="85"/>
                </a:moveTo>
                <a:cubicBezTo>
                  <a:pt x="359" y="83"/>
                  <a:pt x="359" y="83"/>
                  <a:pt x="359" y="83"/>
                </a:cubicBezTo>
                <a:cubicBezTo>
                  <a:pt x="360" y="82"/>
                  <a:pt x="360" y="82"/>
                  <a:pt x="360" y="82"/>
                </a:cubicBezTo>
                <a:cubicBezTo>
                  <a:pt x="359" y="82"/>
                  <a:pt x="359" y="82"/>
                  <a:pt x="359" y="82"/>
                </a:cubicBezTo>
                <a:cubicBezTo>
                  <a:pt x="359" y="80"/>
                  <a:pt x="359" y="80"/>
                  <a:pt x="359" y="80"/>
                </a:cubicBezTo>
                <a:cubicBezTo>
                  <a:pt x="358" y="80"/>
                  <a:pt x="358" y="80"/>
                  <a:pt x="358" y="80"/>
                </a:cubicBezTo>
                <a:cubicBezTo>
                  <a:pt x="359" y="79"/>
                  <a:pt x="359" y="79"/>
                  <a:pt x="359" y="79"/>
                </a:cubicBezTo>
                <a:cubicBezTo>
                  <a:pt x="359" y="78"/>
                  <a:pt x="359" y="78"/>
                  <a:pt x="359" y="78"/>
                </a:cubicBezTo>
                <a:cubicBezTo>
                  <a:pt x="360" y="78"/>
                  <a:pt x="360" y="78"/>
                  <a:pt x="360" y="78"/>
                </a:cubicBezTo>
                <a:cubicBezTo>
                  <a:pt x="362" y="79"/>
                  <a:pt x="362" y="79"/>
                  <a:pt x="362" y="79"/>
                </a:cubicBezTo>
                <a:cubicBezTo>
                  <a:pt x="362" y="79"/>
                  <a:pt x="362" y="79"/>
                  <a:pt x="362" y="79"/>
                </a:cubicBezTo>
                <a:cubicBezTo>
                  <a:pt x="362" y="78"/>
                  <a:pt x="362" y="78"/>
                  <a:pt x="362" y="78"/>
                </a:cubicBezTo>
                <a:cubicBezTo>
                  <a:pt x="361" y="76"/>
                  <a:pt x="361" y="76"/>
                  <a:pt x="361" y="76"/>
                </a:cubicBezTo>
                <a:cubicBezTo>
                  <a:pt x="360" y="76"/>
                  <a:pt x="360" y="76"/>
                  <a:pt x="360" y="76"/>
                </a:cubicBezTo>
                <a:cubicBezTo>
                  <a:pt x="360" y="75"/>
                  <a:pt x="360" y="75"/>
                  <a:pt x="360" y="75"/>
                </a:cubicBezTo>
                <a:cubicBezTo>
                  <a:pt x="361" y="75"/>
                  <a:pt x="361" y="75"/>
                  <a:pt x="361" y="75"/>
                </a:cubicBezTo>
                <a:cubicBezTo>
                  <a:pt x="360" y="74"/>
                  <a:pt x="360" y="74"/>
                  <a:pt x="360" y="74"/>
                </a:cubicBezTo>
                <a:cubicBezTo>
                  <a:pt x="361" y="72"/>
                  <a:pt x="361" y="72"/>
                  <a:pt x="361" y="72"/>
                </a:cubicBezTo>
                <a:cubicBezTo>
                  <a:pt x="361" y="70"/>
                  <a:pt x="361" y="70"/>
                  <a:pt x="361" y="70"/>
                </a:cubicBezTo>
                <a:cubicBezTo>
                  <a:pt x="362" y="69"/>
                  <a:pt x="362" y="69"/>
                  <a:pt x="362" y="69"/>
                </a:cubicBezTo>
                <a:cubicBezTo>
                  <a:pt x="362" y="69"/>
                  <a:pt x="362" y="69"/>
                  <a:pt x="362" y="69"/>
                </a:cubicBezTo>
                <a:cubicBezTo>
                  <a:pt x="363" y="68"/>
                  <a:pt x="363" y="68"/>
                  <a:pt x="363" y="68"/>
                </a:cubicBezTo>
                <a:cubicBezTo>
                  <a:pt x="363" y="66"/>
                  <a:pt x="363" y="66"/>
                  <a:pt x="363" y="66"/>
                </a:cubicBezTo>
                <a:cubicBezTo>
                  <a:pt x="364" y="66"/>
                  <a:pt x="364" y="66"/>
                  <a:pt x="364" y="66"/>
                </a:cubicBezTo>
                <a:cubicBezTo>
                  <a:pt x="366" y="64"/>
                  <a:pt x="366" y="64"/>
                  <a:pt x="366" y="64"/>
                </a:cubicBezTo>
                <a:cubicBezTo>
                  <a:pt x="367" y="64"/>
                  <a:pt x="367" y="64"/>
                  <a:pt x="367" y="64"/>
                </a:cubicBezTo>
                <a:cubicBezTo>
                  <a:pt x="369" y="66"/>
                  <a:pt x="369" y="66"/>
                  <a:pt x="369" y="66"/>
                </a:cubicBezTo>
                <a:cubicBezTo>
                  <a:pt x="369" y="68"/>
                  <a:pt x="369" y="68"/>
                  <a:pt x="369" y="68"/>
                </a:cubicBezTo>
                <a:cubicBezTo>
                  <a:pt x="369" y="69"/>
                  <a:pt x="369" y="69"/>
                  <a:pt x="369" y="69"/>
                </a:cubicBezTo>
                <a:cubicBezTo>
                  <a:pt x="369" y="69"/>
                  <a:pt x="369" y="69"/>
                  <a:pt x="369" y="69"/>
                </a:cubicBezTo>
                <a:cubicBezTo>
                  <a:pt x="370" y="70"/>
                  <a:pt x="370" y="70"/>
                  <a:pt x="370" y="70"/>
                </a:cubicBezTo>
                <a:cubicBezTo>
                  <a:pt x="370" y="71"/>
                  <a:pt x="370" y="71"/>
                  <a:pt x="370" y="71"/>
                </a:cubicBezTo>
                <a:cubicBezTo>
                  <a:pt x="371" y="71"/>
                  <a:pt x="371" y="71"/>
                  <a:pt x="371" y="71"/>
                </a:cubicBezTo>
                <a:cubicBezTo>
                  <a:pt x="371" y="72"/>
                  <a:pt x="371" y="72"/>
                  <a:pt x="371" y="72"/>
                </a:cubicBezTo>
                <a:cubicBezTo>
                  <a:pt x="372" y="73"/>
                  <a:pt x="372" y="73"/>
                  <a:pt x="372" y="73"/>
                </a:cubicBezTo>
                <a:cubicBezTo>
                  <a:pt x="373" y="74"/>
                  <a:pt x="373" y="74"/>
                  <a:pt x="373" y="74"/>
                </a:cubicBezTo>
                <a:cubicBezTo>
                  <a:pt x="373" y="74"/>
                  <a:pt x="373" y="74"/>
                  <a:pt x="373" y="74"/>
                </a:cubicBezTo>
                <a:cubicBezTo>
                  <a:pt x="373" y="75"/>
                  <a:pt x="373" y="75"/>
                  <a:pt x="373" y="75"/>
                </a:cubicBezTo>
                <a:cubicBezTo>
                  <a:pt x="374" y="78"/>
                  <a:pt x="374" y="78"/>
                  <a:pt x="374" y="78"/>
                </a:cubicBezTo>
                <a:cubicBezTo>
                  <a:pt x="373" y="79"/>
                  <a:pt x="373" y="79"/>
                  <a:pt x="373" y="79"/>
                </a:cubicBezTo>
                <a:cubicBezTo>
                  <a:pt x="372" y="79"/>
                  <a:pt x="372" y="79"/>
                  <a:pt x="372" y="79"/>
                </a:cubicBezTo>
                <a:cubicBezTo>
                  <a:pt x="371" y="79"/>
                  <a:pt x="371" y="79"/>
                  <a:pt x="371" y="79"/>
                </a:cubicBezTo>
                <a:cubicBezTo>
                  <a:pt x="370" y="80"/>
                  <a:pt x="370" y="80"/>
                  <a:pt x="370" y="80"/>
                </a:cubicBezTo>
                <a:cubicBezTo>
                  <a:pt x="371" y="80"/>
                  <a:pt x="371" y="80"/>
                  <a:pt x="371" y="80"/>
                </a:cubicBezTo>
                <a:cubicBezTo>
                  <a:pt x="371" y="80"/>
                  <a:pt x="371" y="80"/>
                  <a:pt x="371" y="80"/>
                </a:cubicBezTo>
                <a:cubicBezTo>
                  <a:pt x="372" y="82"/>
                  <a:pt x="372" y="82"/>
                  <a:pt x="372" y="82"/>
                </a:cubicBezTo>
                <a:cubicBezTo>
                  <a:pt x="371" y="83"/>
                  <a:pt x="371" y="83"/>
                  <a:pt x="371" y="83"/>
                </a:cubicBezTo>
                <a:cubicBezTo>
                  <a:pt x="369" y="85"/>
                  <a:pt x="369" y="85"/>
                  <a:pt x="369" y="85"/>
                </a:cubicBezTo>
                <a:cubicBezTo>
                  <a:pt x="369" y="85"/>
                  <a:pt x="369" y="85"/>
                  <a:pt x="369" y="85"/>
                </a:cubicBezTo>
                <a:cubicBezTo>
                  <a:pt x="368" y="85"/>
                  <a:pt x="368" y="85"/>
                  <a:pt x="368" y="85"/>
                </a:cubicBezTo>
                <a:cubicBezTo>
                  <a:pt x="368" y="84"/>
                  <a:pt x="368" y="84"/>
                  <a:pt x="368" y="84"/>
                </a:cubicBezTo>
                <a:cubicBezTo>
                  <a:pt x="367" y="84"/>
                  <a:pt x="367" y="84"/>
                  <a:pt x="367" y="84"/>
                </a:cubicBezTo>
                <a:cubicBezTo>
                  <a:pt x="366" y="85"/>
                  <a:pt x="366" y="85"/>
                  <a:pt x="366" y="85"/>
                </a:cubicBezTo>
                <a:cubicBezTo>
                  <a:pt x="365" y="84"/>
                  <a:pt x="365" y="84"/>
                  <a:pt x="365" y="84"/>
                </a:cubicBezTo>
                <a:cubicBezTo>
                  <a:pt x="363" y="85"/>
                  <a:pt x="363" y="85"/>
                  <a:pt x="363" y="85"/>
                </a:cubicBezTo>
                <a:cubicBezTo>
                  <a:pt x="362" y="85"/>
                  <a:pt x="362" y="85"/>
                  <a:pt x="362" y="85"/>
                </a:cubicBezTo>
                <a:cubicBezTo>
                  <a:pt x="362" y="84"/>
                  <a:pt x="362" y="84"/>
                  <a:pt x="362" y="84"/>
                </a:cubicBezTo>
                <a:cubicBezTo>
                  <a:pt x="361" y="83"/>
                  <a:pt x="361" y="83"/>
                  <a:pt x="361" y="83"/>
                </a:cubicBezTo>
                <a:cubicBezTo>
                  <a:pt x="361" y="84"/>
                  <a:pt x="361" y="84"/>
                  <a:pt x="361" y="84"/>
                </a:cubicBezTo>
                <a:cubicBezTo>
                  <a:pt x="359" y="85"/>
                  <a:pt x="359" y="85"/>
                  <a:pt x="359" y="85"/>
                </a:cubicBezTo>
                <a:close/>
                <a:moveTo>
                  <a:pt x="374" y="83"/>
                </a:moveTo>
                <a:cubicBezTo>
                  <a:pt x="374" y="83"/>
                  <a:pt x="374" y="83"/>
                  <a:pt x="374" y="83"/>
                </a:cubicBezTo>
                <a:cubicBezTo>
                  <a:pt x="375" y="82"/>
                  <a:pt x="375" y="82"/>
                  <a:pt x="375" y="82"/>
                </a:cubicBezTo>
                <a:cubicBezTo>
                  <a:pt x="374" y="80"/>
                  <a:pt x="374" y="80"/>
                  <a:pt x="374" y="80"/>
                </a:cubicBezTo>
                <a:cubicBezTo>
                  <a:pt x="374" y="80"/>
                  <a:pt x="374" y="80"/>
                  <a:pt x="374" y="80"/>
                </a:cubicBezTo>
                <a:cubicBezTo>
                  <a:pt x="373" y="80"/>
                  <a:pt x="373" y="80"/>
                  <a:pt x="373" y="80"/>
                </a:cubicBezTo>
                <a:cubicBezTo>
                  <a:pt x="373" y="82"/>
                  <a:pt x="373" y="82"/>
                  <a:pt x="373" y="82"/>
                </a:cubicBezTo>
                <a:cubicBezTo>
                  <a:pt x="374" y="83"/>
                  <a:pt x="374" y="83"/>
                  <a:pt x="374" y="83"/>
                </a:cubicBezTo>
                <a:close/>
                <a:moveTo>
                  <a:pt x="378" y="102"/>
                </a:moveTo>
                <a:cubicBezTo>
                  <a:pt x="378" y="103"/>
                  <a:pt x="378" y="103"/>
                  <a:pt x="378" y="103"/>
                </a:cubicBezTo>
                <a:cubicBezTo>
                  <a:pt x="379" y="104"/>
                  <a:pt x="379" y="104"/>
                  <a:pt x="379" y="104"/>
                </a:cubicBezTo>
                <a:cubicBezTo>
                  <a:pt x="381" y="104"/>
                  <a:pt x="381" y="104"/>
                  <a:pt x="381" y="104"/>
                </a:cubicBezTo>
                <a:cubicBezTo>
                  <a:pt x="382" y="103"/>
                  <a:pt x="382" y="103"/>
                  <a:pt x="382" y="103"/>
                </a:cubicBezTo>
                <a:cubicBezTo>
                  <a:pt x="383" y="101"/>
                  <a:pt x="383" y="101"/>
                  <a:pt x="383" y="101"/>
                </a:cubicBezTo>
                <a:cubicBezTo>
                  <a:pt x="383" y="100"/>
                  <a:pt x="383" y="100"/>
                  <a:pt x="383" y="100"/>
                </a:cubicBezTo>
                <a:cubicBezTo>
                  <a:pt x="383" y="100"/>
                  <a:pt x="383" y="100"/>
                  <a:pt x="383" y="100"/>
                </a:cubicBezTo>
                <a:cubicBezTo>
                  <a:pt x="383" y="99"/>
                  <a:pt x="383" y="99"/>
                  <a:pt x="383" y="99"/>
                </a:cubicBezTo>
                <a:cubicBezTo>
                  <a:pt x="382" y="98"/>
                  <a:pt x="382" y="98"/>
                  <a:pt x="382" y="98"/>
                </a:cubicBezTo>
                <a:cubicBezTo>
                  <a:pt x="381" y="98"/>
                  <a:pt x="381" y="98"/>
                  <a:pt x="381" y="98"/>
                </a:cubicBezTo>
                <a:cubicBezTo>
                  <a:pt x="381" y="97"/>
                  <a:pt x="381" y="97"/>
                  <a:pt x="381" y="97"/>
                </a:cubicBezTo>
                <a:cubicBezTo>
                  <a:pt x="380" y="97"/>
                  <a:pt x="380" y="97"/>
                  <a:pt x="380" y="97"/>
                </a:cubicBezTo>
                <a:cubicBezTo>
                  <a:pt x="379" y="98"/>
                  <a:pt x="379" y="98"/>
                  <a:pt x="379" y="98"/>
                </a:cubicBezTo>
                <a:cubicBezTo>
                  <a:pt x="378" y="99"/>
                  <a:pt x="378" y="99"/>
                  <a:pt x="378" y="99"/>
                </a:cubicBezTo>
                <a:cubicBezTo>
                  <a:pt x="378" y="101"/>
                  <a:pt x="378" y="101"/>
                  <a:pt x="378" y="101"/>
                </a:cubicBezTo>
                <a:cubicBezTo>
                  <a:pt x="378" y="102"/>
                  <a:pt x="378" y="102"/>
                  <a:pt x="378" y="102"/>
                </a:cubicBezTo>
                <a:close/>
                <a:moveTo>
                  <a:pt x="377" y="102"/>
                </a:moveTo>
                <a:cubicBezTo>
                  <a:pt x="377" y="103"/>
                  <a:pt x="377" y="103"/>
                  <a:pt x="377" y="103"/>
                </a:cubicBezTo>
                <a:cubicBezTo>
                  <a:pt x="377" y="104"/>
                  <a:pt x="377" y="104"/>
                  <a:pt x="377" y="104"/>
                </a:cubicBezTo>
                <a:cubicBezTo>
                  <a:pt x="377" y="105"/>
                  <a:pt x="377" y="105"/>
                  <a:pt x="377" y="105"/>
                </a:cubicBezTo>
                <a:cubicBezTo>
                  <a:pt x="378" y="104"/>
                  <a:pt x="378" y="104"/>
                  <a:pt x="378" y="104"/>
                </a:cubicBezTo>
                <a:cubicBezTo>
                  <a:pt x="378" y="103"/>
                  <a:pt x="378" y="103"/>
                  <a:pt x="378" y="103"/>
                </a:cubicBezTo>
                <a:cubicBezTo>
                  <a:pt x="377" y="103"/>
                  <a:pt x="377" y="103"/>
                  <a:pt x="377" y="103"/>
                </a:cubicBezTo>
                <a:cubicBezTo>
                  <a:pt x="377" y="102"/>
                  <a:pt x="377" y="102"/>
                  <a:pt x="377" y="102"/>
                </a:cubicBezTo>
                <a:cubicBezTo>
                  <a:pt x="377" y="102"/>
                  <a:pt x="377" y="102"/>
                  <a:pt x="377" y="102"/>
                </a:cubicBezTo>
                <a:close/>
                <a:moveTo>
                  <a:pt x="358" y="93"/>
                </a:moveTo>
                <a:cubicBezTo>
                  <a:pt x="358" y="91"/>
                  <a:pt x="358" y="91"/>
                  <a:pt x="358" y="91"/>
                </a:cubicBezTo>
                <a:cubicBezTo>
                  <a:pt x="359" y="89"/>
                  <a:pt x="359" y="89"/>
                  <a:pt x="359" y="89"/>
                </a:cubicBezTo>
                <a:cubicBezTo>
                  <a:pt x="360" y="88"/>
                  <a:pt x="360" y="88"/>
                  <a:pt x="360" y="88"/>
                </a:cubicBezTo>
                <a:cubicBezTo>
                  <a:pt x="361" y="88"/>
                  <a:pt x="361" y="88"/>
                  <a:pt x="361" y="88"/>
                </a:cubicBezTo>
                <a:cubicBezTo>
                  <a:pt x="362" y="88"/>
                  <a:pt x="362" y="88"/>
                  <a:pt x="362" y="88"/>
                </a:cubicBezTo>
                <a:cubicBezTo>
                  <a:pt x="363" y="88"/>
                  <a:pt x="363" y="88"/>
                  <a:pt x="363" y="88"/>
                </a:cubicBezTo>
                <a:cubicBezTo>
                  <a:pt x="364" y="88"/>
                  <a:pt x="364" y="88"/>
                  <a:pt x="364" y="88"/>
                </a:cubicBezTo>
                <a:cubicBezTo>
                  <a:pt x="364" y="88"/>
                  <a:pt x="364" y="88"/>
                  <a:pt x="364" y="88"/>
                </a:cubicBezTo>
                <a:cubicBezTo>
                  <a:pt x="365" y="89"/>
                  <a:pt x="365" y="89"/>
                  <a:pt x="365" y="89"/>
                </a:cubicBezTo>
                <a:cubicBezTo>
                  <a:pt x="366" y="89"/>
                  <a:pt x="366" y="89"/>
                  <a:pt x="366" y="89"/>
                </a:cubicBezTo>
                <a:cubicBezTo>
                  <a:pt x="366" y="88"/>
                  <a:pt x="366" y="88"/>
                  <a:pt x="366" y="88"/>
                </a:cubicBezTo>
                <a:cubicBezTo>
                  <a:pt x="367" y="89"/>
                  <a:pt x="367" y="89"/>
                  <a:pt x="367" y="89"/>
                </a:cubicBezTo>
                <a:cubicBezTo>
                  <a:pt x="368" y="89"/>
                  <a:pt x="368" y="89"/>
                  <a:pt x="368" y="89"/>
                </a:cubicBezTo>
                <a:cubicBezTo>
                  <a:pt x="369" y="91"/>
                  <a:pt x="369" y="91"/>
                  <a:pt x="369" y="91"/>
                </a:cubicBezTo>
                <a:cubicBezTo>
                  <a:pt x="370" y="91"/>
                  <a:pt x="370" y="91"/>
                  <a:pt x="370" y="91"/>
                </a:cubicBezTo>
                <a:cubicBezTo>
                  <a:pt x="370" y="92"/>
                  <a:pt x="370" y="92"/>
                  <a:pt x="370" y="92"/>
                </a:cubicBezTo>
                <a:cubicBezTo>
                  <a:pt x="370" y="92"/>
                  <a:pt x="370" y="92"/>
                  <a:pt x="370" y="92"/>
                </a:cubicBezTo>
                <a:cubicBezTo>
                  <a:pt x="371" y="92"/>
                  <a:pt x="371" y="92"/>
                  <a:pt x="371" y="92"/>
                </a:cubicBezTo>
                <a:cubicBezTo>
                  <a:pt x="372" y="92"/>
                  <a:pt x="372" y="92"/>
                  <a:pt x="372" y="92"/>
                </a:cubicBezTo>
                <a:cubicBezTo>
                  <a:pt x="373" y="93"/>
                  <a:pt x="373" y="93"/>
                  <a:pt x="373" y="93"/>
                </a:cubicBezTo>
                <a:cubicBezTo>
                  <a:pt x="373" y="93"/>
                  <a:pt x="373" y="93"/>
                  <a:pt x="373" y="93"/>
                </a:cubicBezTo>
                <a:cubicBezTo>
                  <a:pt x="373" y="94"/>
                  <a:pt x="373" y="94"/>
                  <a:pt x="373" y="94"/>
                </a:cubicBezTo>
                <a:cubicBezTo>
                  <a:pt x="373" y="95"/>
                  <a:pt x="373" y="95"/>
                  <a:pt x="373" y="95"/>
                </a:cubicBezTo>
                <a:cubicBezTo>
                  <a:pt x="373" y="95"/>
                  <a:pt x="373" y="95"/>
                  <a:pt x="373" y="95"/>
                </a:cubicBezTo>
                <a:cubicBezTo>
                  <a:pt x="372" y="95"/>
                  <a:pt x="372" y="95"/>
                  <a:pt x="372" y="95"/>
                </a:cubicBezTo>
                <a:cubicBezTo>
                  <a:pt x="370" y="96"/>
                  <a:pt x="370" y="96"/>
                  <a:pt x="370" y="96"/>
                </a:cubicBezTo>
                <a:cubicBezTo>
                  <a:pt x="369" y="97"/>
                  <a:pt x="369" y="97"/>
                  <a:pt x="369" y="97"/>
                </a:cubicBezTo>
                <a:cubicBezTo>
                  <a:pt x="367" y="96"/>
                  <a:pt x="367" y="96"/>
                  <a:pt x="367" y="96"/>
                </a:cubicBezTo>
                <a:cubicBezTo>
                  <a:pt x="365" y="96"/>
                  <a:pt x="365" y="96"/>
                  <a:pt x="365" y="96"/>
                </a:cubicBezTo>
                <a:cubicBezTo>
                  <a:pt x="364" y="94"/>
                  <a:pt x="364" y="94"/>
                  <a:pt x="364" y="94"/>
                </a:cubicBezTo>
                <a:cubicBezTo>
                  <a:pt x="362" y="94"/>
                  <a:pt x="362" y="94"/>
                  <a:pt x="362" y="94"/>
                </a:cubicBezTo>
                <a:cubicBezTo>
                  <a:pt x="361" y="94"/>
                  <a:pt x="361" y="94"/>
                  <a:pt x="361" y="94"/>
                </a:cubicBezTo>
                <a:cubicBezTo>
                  <a:pt x="360" y="93"/>
                  <a:pt x="360" y="93"/>
                  <a:pt x="360" y="93"/>
                </a:cubicBezTo>
                <a:cubicBezTo>
                  <a:pt x="359" y="93"/>
                  <a:pt x="359" y="93"/>
                  <a:pt x="359" y="93"/>
                </a:cubicBezTo>
                <a:cubicBezTo>
                  <a:pt x="358" y="93"/>
                  <a:pt x="358" y="93"/>
                  <a:pt x="358" y="93"/>
                </a:cubicBezTo>
                <a:close/>
                <a:moveTo>
                  <a:pt x="343" y="72"/>
                </a:moveTo>
                <a:cubicBezTo>
                  <a:pt x="343" y="71"/>
                  <a:pt x="343" y="71"/>
                  <a:pt x="343" y="71"/>
                </a:cubicBezTo>
                <a:cubicBezTo>
                  <a:pt x="344" y="71"/>
                  <a:pt x="344" y="71"/>
                  <a:pt x="344" y="71"/>
                </a:cubicBezTo>
                <a:cubicBezTo>
                  <a:pt x="344" y="71"/>
                  <a:pt x="344" y="71"/>
                  <a:pt x="344" y="71"/>
                </a:cubicBezTo>
                <a:cubicBezTo>
                  <a:pt x="344" y="72"/>
                  <a:pt x="344" y="72"/>
                  <a:pt x="344" y="72"/>
                </a:cubicBezTo>
                <a:cubicBezTo>
                  <a:pt x="343" y="72"/>
                  <a:pt x="343" y="72"/>
                  <a:pt x="343" y="72"/>
                </a:cubicBezTo>
                <a:cubicBezTo>
                  <a:pt x="343" y="72"/>
                  <a:pt x="343" y="72"/>
                  <a:pt x="343" y="72"/>
                </a:cubicBezTo>
                <a:close/>
                <a:moveTo>
                  <a:pt x="344" y="79"/>
                </a:moveTo>
                <a:cubicBezTo>
                  <a:pt x="345" y="81"/>
                  <a:pt x="345" y="81"/>
                  <a:pt x="345" y="81"/>
                </a:cubicBezTo>
                <a:cubicBezTo>
                  <a:pt x="345" y="82"/>
                  <a:pt x="345" y="82"/>
                  <a:pt x="345" y="82"/>
                </a:cubicBezTo>
                <a:cubicBezTo>
                  <a:pt x="346" y="82"/>
                  <a:pt x="346" y="82"/>
                  <a:pt x="346" y="82"/>
                </a:cubicBezTo>
                <a:cubicBezTo>
                  <a:pt x="347" y="82"/>
                  <a:pt x="347" y="82"/>
                  <a:pt x="347" y="82"/>
                </a:cubicBezTo>
                <a:cubicBezTo>
                  <a:pt x="348" y="82"/>
                  <a:pt x="348" y="82"/>
                  <a:pt x="348" y="82"/>
                </a:cubicBezTo>
                <a:cubicBezTo>
                  <a:pt x="349" y="82"/>
                  <a:pt x="349" y="82"/>
                  <a:pt x="349" y="82"/>
                </a:cubicBezTo>
                <a:cubicBezTo>
                  <a:pt x="350" y="81"/>
                  <a:pt x="350" y="81"/>
                  <a:pt x="350" y="81"/>
                </a:cubicBezTo>
                <a:cubicBezTo>
                  <a:pt x="350" y="80"/>
                  <a:pt x="350" y="80"/>
                  <a:pt x="350" y="80"/>
                </a:cubicBezTo>
                <a:cubicBezTo>
                  <a:pt x="351" y="80"/>
                  <a:pt x="351" y="80"/>
                  <a:pt x="351" y="80"/>
                </a:cubicBezTo>
                <a:cubicBezTo>
                  <a:pt x="352" y="78"/>
                  <a:pt x="352" y="78"/>
                  <a:pt x="352" y="78"/>
                </a:cubicBezTo>
                <a:cubicBezTo>
                  <a:pt x="352" y="77"/>
                  <a:pt x="352" y="77"/>
                  <a:pt x="352" y="77"/>
                </a:cubicBezTo>
                <a:cubicBezTo>
                  <a:pt x="353" y="75"/>
                  <a:pt x="353" y="75"/>
                  <a:pt x="353" y="75"/>
                </a:cubicBezTo>
                <a:cubicBezTo>
                  <a:pt x="354" y="73"/>
                  <a:pt x="354" y="73"/>
                  <a:pt x="354" y="73"/>
                </a:cubicBezTo>
                <a:cubicBezTo>
                  <a:pt x="353" y="73"/>
                  <a:pt x="353" y="73"/>
                  <a:pt x="353" y="73"/>
                </a:cubicBezTo>
                <a:cubicBezTo>
                  <a:pt x="353" y="72"/>
                  <a:pt x="353" y="72"/>
                  <a:pt x="353" y="72"/>
                </a:cubicBezTo>
                <a:cubicBezTo>
                  <a:pt x="354" y="72"/>
                  <a:pt x="354" y="72"/>
                  <a:pt x="354" y="72"/>
                </a:cubicBezTo>
                <a:cubicBezTo>
                  <a:pt x="355" y="70"/>
                  <a:pt x="355" y="70"/>
                  <a:pt x="355" y="70"/>
                </a:cubicBezTo>
                <a:cubicBezTo>
                  <a:pt x="356" y="70"/>
                  <a:pt x="356" y="70"/>
                  <a:pt x="356" y="70"/>
                </a:cubicBezTo>
                <a:cubicBezTo>
                  <a:pt x="357" y="69"/>
                  <a:pt x="357" y="69"/>
                  <a:pt x="357" y="69"/>
                </a:cubicBezTo>
                <a:cubicBezTo>
                  <a:pt x="358" y="68"/>
                  <a:pt x="358" y="68"/>
                  <a:pt x="358" y="68"/>
                </a:cubicBezTo>
                <a:cubicBezTo>
                  <a:pt x="358" y="66"/>
                  <a:pt x="358" y="66"/>
                  <a:pt x="358" y="66"/>
                </a:cubicBezTo>
                <a:cubicBezTo>
                  <a:pt x="358" y="65"/>
                  <a:pt x="358" y="65"/>
                  <a:pt x="358" y="65"/>
                </a:cubicBezTo>
                <a:cubicBezTo>
                  <a:pt x="359" y="64"/>
                  <a:pt x="359" y="64"/>
                  <a:pt x="359" y="64"/>
                </a:cubicBezTo>
                <a:cubicBezTo>
                  <a:pt x="359" y="63"/>
                  <a:pt x="359" y="63"/>
                  <a:pt x="359" y="63"/>
                </a:cubicBezTo>
                <a:cubicBezTo>
                  <a:pt x="359" y="62"/>
                  <a:pt x="359" y="62"/>
                  <a:pt x="359" y="62"/>
                </a:cubicBezTo>
                <a:cubicBezTo>
                  <a:pt x="359" y="61"/>
                  <a:pt x="359" y="61"/>
                  <a:pt x="359" y="61"/>
                </a:cubicBezTo>
                <a:cubicBezTo>
                  <a:pt x="358" y="61"/>
                  <a:pt x="358" y="61"/>
                  <a:pt x="358" y="61"/>
                </a:cubicBezTo>
                <a:cubicBezTo>
                  <a:pt x="357" y="60"/>
                  <a:pt x="357" y="60"/>
                  <a:pt x="357" y="60"/>
                </a:cubicBezTo>
                <a:cubicBezTo>
                  <a:pt x="355" y="60"/>
                  <a:pt x="355" y="60"/>
                  <a:pt x="355" y="60"/>
                </a:cubicBezTo>
                <a:cubicBezTo>
                  <a:pt x="355" y="60"/>
                  <a:pt x="355" y="60"/>
                  <a:pt x="355" y="60"/>
                </a:cubicBezTo>
                <a:cubicBezTo>
                  <a:pt x="356" y="59"/>
                  <a:pt x="356" y="59"/>
                  <a:pt x="356" y="59"/>
                </a:cubicBezTo>
                <a:cubicBezTo>
                  <a:pt x="357" y="58"/>
                  <a:pt x="357" y="58"/>
                  <a:pt x="357" y="58"/>
                </a:cubicBezTo>
                <a:cubicBezTo>
                  <a:pt x="357" y="57"/>
                  <a:pt x="357" y="57"/>
                  <a:pt x="357" y="57"/>
                </a:cubicBezTo>
                <a:cubicBezTo>
                  <a:pt x="357" y="56"/>
                  <a:pt x="357" y="56"/>
                  <a:pt x="357" y="56"/>
                </a:cubicBezTo>
                <a:cubicBezTo>
                  <a:pt x="357" y="55"/>
                  <a:pt x="357" y="55"/>
                  <a:pt x="357" y="55"/>
                </a:cubicBezTo>
                <a:cubicBezTo>
                  <a:pt x="357" y="54"/>
                  <a:pt x="357" y="54"/>
                  <a:pt x="357" y="54"/>
                </a:cubicBezTo>
                <a:cubicBezTo>
                  <a:pt x="356" y="52"/>
                  <a:pt x="356" y="52"/>
                  <a:pt x="356" y="52"/>
                </a:cubicBezTo>
                <a:cubicBezTo>
                  <a:pt x="355" y="52"/>
                  <a:pt x="355" y="52"/>
                  <a:pt x="355" y="52"/>
                </a:cubicBezTo>
                <a:cubicBezTo>
                  <a:pt x="354" y="53"/>
                  <a:pt x="354" y="53"/>
                  <a:pt x="354" y="53"/>
                </a:cubicBezTo>
                <a:cubicBezTo>
                  <a:pt x="352" y="54"/>
                  <a:pt x="352" y="54"/>
                  <a:pt x="352" y="54"/>
                </a:cubicBezTo>
                <a:cubicBezTo>
                  <a:pt x="352" y="55"/>
                  <a:pt x="352" y="55"/>
                  <a:pt x="352" y="55"/>
                </a:cubicBezTo>
                <a:cubicBezTo>
                  <a:pt x="351" y="56"/>
                  <a:pt x="351" y="56"/>
                  <a:pt x="351" y="56"/>
                </a:cubicBezTo>
                <a:cubicBezTo>
                  <a:pt x="350" y="56"/>
                  <a:pt x="350" y="56"/>
                  <a:pt x="350" y="56"/>
                </a:cubicBezTo>
                <a:cubicBezTo>
                  <a:pt x="350" y="54"/>
                  <a:pt x="350" y="54"/>
                  <a:pt x="350" y="54"/>
                </a:cubicBezTo>
                <a:cubicBezTo>
                  <a:pt x="351" y="54"/>
                  <a:pt x="351" y="54"/>
                  <a:pt x="351" y="54"/>
                </a:cubicBezTo>
                <a:cubicBezTo>
                  <a:pt x="351" y="53"/>
                  <a:pt x="351" y="53"/>
                  <a:pt x="351" y="53"/>
                </a:cubicBezTo>
                <a:cubicBezTo>
                  <a:pt x="351" y="51"/>
                  <a:pt x="351" y="51"/>
                  <a:pt x="351" y="51"/>
                </a:cubicBezTo>
                <a:cubicBezTo>
                  <a:pt x="352" y="49"/>
                  <a:pt x="352" y="49"/>
                  <a:pt x="352" y="49"/>
                </a:cubicBezTo>
                <a:cubicBezTo>
                  <a:pt x="352" y="48"/>
                  <a:pt x="352" y="48"/>
                  <a:pt x="352" y="48"/>
                </a:cubicBezTo>
                <a:cubicBezTo>
                  <a:pt x="351" y="47"/>
                  <a:pt x="351" y="47"/>
                  <a:pt x="351" y="47"/>
                </a:cubicBezTo>
                <a:cubicBezTo>
                  <a:pt x="350" y="46"/>
                  <a:pt x="350" y="46"/>
                  <a:pt x="350" y="46"/>
                </a:cubicBezTo>
                <a:cubicBezTo>
                  <a:pt x="349" y="45"/>
                  <a:pt x="349" y="45"/>
                  <a:pt x="349" y="45"/>
                </a:cubicBezTo>
                <a:cubicBezTo>
                  <a:pt x="348" y="45"/>
                  <a:pt x="348" y="45"/>
                  <a:pt x="348" y="45"/>
                </a:cubicBezTo>
                <a:cubicBezTo>
                  <a:pt x="346" y="45"/>
                  <a:pt x="346" y="45"/>
                  <a:pt x="346" y="45"/>
                </a:cubicBezTo>
                <a:cubicBezTo>
                  <a:pt x="345" y="46"/>
                  <a:pt x="345" y="46"/>
                  <a:pt x="345" y="46"/>
                </a:cubicBezTo>
                <a:cubicBezTo>
                  <a:pt x="344" y="46"/>
                  <a:pt x="344" y="46"/>
                  <a:pt x="344" y="46"/>
                </a:cubicBezTo>
                <a:cubicBezTo>
                  <a:pt x="344" y="44"/>
                  <a:pt x="344" y="44"/>
                  <a:pt x="344" y="44"/>
                </a:cubicBezTo>
                <a:cubicBezTo>
                  <a:pt x="343" y="44"/>
                  <a:pt x="343" y="44"/>
                  <a:pt x="343" y="44"/>
                </a:cubicBezTo>
                <a:cubicBezTo>
                  <a:pt x="342" y="45"/>
                  <a:pt x="342" y="45"/>
                  <a:pt x="342" y="45"/>
                </a:cubicBezTo>
                <a:cubicBezTo>
                  <a:pt x="342" y="46"/>
                  <a:pt x="342" y="46"/>
                  <a:pt x="342" y="46"/>
                </a:cubicBezTo>
                <a:cubicBezTo>
                  <a:pt x="341" y="46"/>
                  <a:pt x="341" y="46"/>
                  <a:pt x="341" y="46"/>
                </a:cubicBezTo>
                <a:cubicBezTo>
                  <a:pt x="340" y="48"/>
                  <a:pt x="340" y="48"/>
                  <a:pt x="340" y="48"/>
                </a:cubicBezTo>
                <a:cubicBezTo>
                  <a:pt x="339" y="49"/>
                  <a:pt x="339" y="49"/>
                  <a:pt x="339" y="49"/>
                </a:cubicBezTo>
                <a:cubicBezTo>
                  <a:pt x="339" y="50"/>
                  <a:pt x="339" y="50"/>
                  <a:pt x="339" y="50"/>
                </a:cubicBezTo>
                <a:cubicBezTo>
                  <a:pt x="340" y="51"/>
                  <a:pt x="340" y="51"/>
                  <a:pt x="340" y="51"/>
                </a:cubicBezTo>
                <a:cubicBezTo>
                  <a:pt x="341" y="51"/>
                  <a:pt x="341" y="51"/>
                  <a:pt x="341" y="51"/>
                </a:cubicBezTo>
                <a:cubicBezTo>
                  <a:pt x="342" y="50"/>
                  <a:pt x="342" y="50"/>
                  <a:pt x="342" y="50"/>
                </a:cubicBezTo>
                <a:cubicBezTo>
                  <a:pt x="342" y="51"/>
                  <a:pt x="342" y="51"/>
                  <a:pt x="342" y="51"/>
                </a:cubicBezTo>
                <a:cubicBezTo>
                  <a:pt x="341" y="52"/>
                  <a:pt x="341" y="52"/>
                  <a:pt x="341" y="52"/>
                </a:cubicBezTo>
                <a:cubicBezTo>
                  <a:pt x="339" y="53"/>
                  <a:pt x="339" y="53"/>
                  <a:pt x="339" y="53"/>
                </a:cubicBezTo>
                <a:cubicBezTo>
                  <a:pt x="338" y="55"/>
                  <a:pt x="338" y="55"/>
                  <a:pt x="338" y="55"/>
                </a:cubicBezTo>
                <a:cubicBezTo>
                  <a:pt x="338" y="55"/>
                  <a:pt x="338" y="55"/>
                  <a:pt x="338" y="55"/>
                </a:cubicBezTo>
                <a:cubicBezTo>
                  <a:pt x="340" y="54"/>
                  <a:pt x="340" y="54"/>
                  <a:pt x="340" y="54"/>
                </a:cubicBezTo>
                <a:cubicBezTo>
                  <a:pt x="342" y="53"/>
                  <a:pt x="342" y="53"/>
                  <a:pt x="342" y="53"/>
                </a:cubicBezTo>
                <a:cubicBezTo>
                  <a:pt x="342" y="53"/>
                  <a:pt x="342" y="53"/>
                  <a:pt x="342" y="53"/>
                </a:cubicBezTo>
                <a:cubicBezTo>
                  <a:pt x="343" y="52"/>
                  <a:pt x="343" y="52"/>
                  <a:pt x="343" y="52"/>
                </a:cubicBezTo>
                <a:cubicBezTo>
                  <a:pt x="344" y="53"/>
                  <a:pt x="344" y="53"/>
                  <a:pt x="344" y="53"/>
                </a:cubicBezTo>
                <a:cubicBezTo>
                  <a:pt x="344" y="55"/>
                  <a:pt x="344" y="55"/>
                  <a:pt x="344" y="55"/>
                </a:cubicBezTo>
                <a:cubicBezTo>
                  <a:pt x="343" y="55"/>
                  <a:pt x="343" y="55"/>
                  <a:pt x="343" y="55"/>
                </a:cubicBezTo>
                <a:cubicBezTo>
                  <a:pt x="341" y="56"/>
                  <a:pt x="341" y="56"/>
                  <a:pt x="341" y="56"/>
                </a:cubicBezTo>
                <a:cubicBezTo>
                  <a:pt x="341" y="57"/>
                  <a:pt x="341" y="57"/>
                  <a:pt x="341" y="57"/>
                </a:cubicBezTo>
                <a:cubicBezTo>
                  <a:pt x="342" y="58"/>
                  <a:pt x="342" y="58"/>
                  <a:pt x="342" y="58"/>
                </a:cubicBezTo>
                <a:cubicBezTo>
                  <a:pt x="343" y="58"/>
                  <a:pt x="343" y="58"/>
                  <a:pt x="343" y="58"/>
                </a:cubicBezTo>
                <a:cubicBezTo>
                  <a:pt x="344" y="58"/>
                  <a:pt x="344" y="58"/>
                  <a:pt x="344" y="58"/>
                </a:cubicBezTo>
                <a:cubicBezTo>
                  <a:pt x="343" y="59"/>
                  <a:pt x="343" y="59"/>
                  <a:pt x="343" y="59"/>
                </a:cubicBezTo>
                <a:cubicBezTo>
                  <a:pt x="341" y="60"/>
                  <a:pt x="341" y="60"/>
                  <a:pt x="341" y="60"/>
                </a:cubicBezTo>
                <a:cubicBezTo>
                  <a:pt x="340" y="59"/>
                  <a:pt x="340" y="59"/>
                  <a:pt x="340" y="59"/>
                </a:cubicBezTo>
                <a:cubicBezTo>
                  <a:pt x="340" y="60"/>
                  <a:pt x="340" y="60"/>
                  <a:pt x="340" y="60"/>
                </a:cubicBezTo>
                <a:cubicBezTo>
                  <a:pt x="341" y="61"/>
                  <a:pt x="341" y="61"/>
                  <a:pt x="341" y="61"/>
                </a:cubicBezTo>
                <a:cubicBezTo>
                  <a:pt x="341" y="61"/>
                  <a:pt x="341" y="61"/>
                  <a:pt x="341" y="61"/>
                </a:cubicBezTo>
                <a:cubicBezTo>
                  <a:pt x="339" y="63"/>
                  <a:pt x="339" y="63"/>
                  <a:pt x="339" y="63"/>
                </a:cubicBezTo>
                <a:cubicBezTo>
                  <a:pt x="339" y="63"/>
                  <a:pt x="339" y="63"/>
                  <a:pt x="339" y="63"/>
                </a:cubicBezTo>
                <a:cubicBezTo>
                  <a:pt x="338" y="61"/>
                  <a:pt x="338" y="61"/>
                  <a:pt x="338" y="61"/>
                </a:cubicBezTo>
                <a:cubicBezTo>
                  <a:pt x="337" y="61"/>
                  <a:pt x="337" y="61"/>
                  <a:pt x="337" y="61"/>
                </a:cubicBezTo>
                <a:cubicBezTo>
                  <a:pt x="336" y="59"/>
                  <a:pt x="336" y="59"/>
                  <a:pt x="336" y="59"/>
                </a:cubicBezTo>
                <a:cubicBezTo>
                  <a:pt x="334" y="61"/>
                  <a:pt x="334" y="61"/>
                  <a:pt x="334" y="61"/>
                </a:cubicBezTo>
                <a:cubicBezTo>
                  <a:pt x="334" y="61"/>
                  <a:pt x="334" y="61"/>
                  <a:pt x="334" y="61"/>
                </a:cubicBezTo>
                <a:cubicBezTo>
                  <a:pt x="332" y="63"/>
                  <a:pt x="332" y="63"/>
                  <a:pt x="332" y="63"/>
                </a:cubicBezTo>
                <a:cubicBezTo>
                  <a:pt x="334" y="65"/>
                  <a:pt x="334" y="65"/>
                  <a:pt x="334" y="65"/>
                </a:cubicBezTo>
                <a:cubicBezTo>
                  <a:pt x="334" y="66"/>
                  <a:pt x="334" y="66"/>
                  <a:pt x="334" y="66"/>
                </a:cubicBezTo>
                <a:cubicBezTo>
                  <a:pt x="334" y="67"/>
                  <a:pt x="334" y="67"/>
                  <a:pt x="334" y="67"/>
                </a:cubicBezTo>
                <a:cubicBezTo>
                  <a:pt x="335" y="66"/>
                  <a:pt x="335" y="66"/>
                  <a:pt x="335" y="66"/>
                </a:cubicBezTo>
                <a:cubicBezTo>
                  <a:pt x="336" y="66"/>
                  <a:pt x="336" y="66"/>
                  <a:pt x="336" y="66"/>
                </a:cubicBezTo>
                <a:cubicBezTo>
                  <a:pt x="338" y="66"/>
                  <a:pt x="338" y="66"/>
                  <a:pt x="338" y="66"/>
                </a:cubicBezTo>
                <a:cubicBezTo>
                  <a:pt x="340" y="66"/>
                  <a:pt x="340" y="66"/>
                  <a:pt x="340" y="66"/>
                </a:cubicBezTo>
                <a:cubicBezTo>
                  <a:pt x="341" y="67"/>
                  <a:pt x="341" y="67"/>
                  <a:pt x="341" y="67"/>
                </a:cubicBezTo>
                <a:cubicBezTo>
                  <a:pt x="343" y="66"/>
                  <a:pt x="343" y="66"/>
                  <a:pt x="343" y="66"/>
                </a:cubicBezTo>
                <a:cubicBezTo>
                  <a:pt x="343" y="67"/>
                  <a:pt x="343" y="67"/>
                  <a:pt x="343" y="67"/>
                </a:cubicBezTo>
                <a:cubicBezTo>
                  <a:pt x="341" y="68"/>
                  <a:pt x="341" y="68"/>
                  <a:pt x="341" y="68"/>
                </a:cubicBezTo>
                <a:cubicBezTo>
                  <a:pt x="341" y="68"/>
                  <a:pt x="341" y="68"/>
                  <a:pt x="341" y="68"/>
                </a:cubicBezTo>
                <a:cubicBezTo>
                  <a:pt x="341" y="70"/>
                  <a:pt x="341" y="70"/>
                  <a:pt x="341" y="70"/>
                </a:cubicBezTo>
                <a:cubicBezTo>
                  <a:pt x="343" y="69"/>
                  <a:pt x="343" y="69"/>
                  <a:pt x="343" y="69"/>
                </a:cubicBezTo>
                <a:cubicBezTo>
                  <a:pt x="344" y="70"/>
                  <a:pt x="344" y="70"/>
                  <a:pt x="344" y="70"/>
                </a:cubicBezTo>
                <a:cubicBezTo>
                  <a:pt x="345" y="72"/>
                  <a:pt x="345" y="72"/>
                  <a:pt x="345" y="72"/>
                </a:cubicBezTo>
                <a:cubicBezTo>
                  <a:pt x="346" y="72"/>
                  <a:pt x="346" y="72"/>
                  <a:pt x="346" y="72"/>
                </a:cubicBezTo>
                <a:cubicBezTo>
                  <a:pt x="347" y="73"/>
                  <a:pt x="347" y="73"/>
                  <a:pt x="347" y="73"/>
                </a:cubicBezTo>
                <a:cubicBezTo>
                  <a:pt x="346" y="74"/>
                  <a:pt x="346" y="74"/>
                  <a:pt x="346" y="74"/>
                </a:cubicBezTo>
                <a:cubicBezTo>
                  <a:pt x="346" y="75"/>
                  <a:pt x="346" y="75"/>
                  <a:pt x="346" y="75"/>
                </a:cubicBezTo>
                <a:cubicBezTo>
                  <a:pt x="344" y="79"/>
                  <a:pt x="344" y="79"/>
                  <a:pt x="344" y="79"/>
                </a:cubicBezTo>
                <a:close/>
                <a:moveTo>
                  <a:pt x="337" y="70"/>
                </a:moveTo>
                <a:cubicBezTo>
                  <a:pt x="338" y="69"/>
                  <a:pt x="338" y="69"/>
                  <a:pt x="338" y="69"/>
                </a:cubicBezTo>
                <a:cubicBezTo>
                  <a:pt x="339" y="68"/>
                  <a:pt x="339" y="68"/>
                  <a:pt x="339" y="68"/>
                </a:cubicBezTo>
                <a:cubicBezTo>
                  <a:pt x="340" y="68"/>
                  <a:pt x="340" y="68"/>
                  <a:pt x="340" y="68"/>
                </a:cubicBezTo>
                <a:cubicBezTo>
                  <a:pt x="340" y="68"/>
                  <a:pt x="340" y="68"/>
                  <a:pt x="340" y="68"/>
                </a:cubicBezTo>
                <a:cubicBezTo>
                  <a:pt x="339" y="69"/>
                  <a:pt x="339" y="69"/>
                  <a:pt x="339" y="69"/>
                </a:cubicBezTo>
                <a:cubicBezTo>
                  <a:pt x="338" y="70"/>
                  <a:pt x="338" y="70"/>
                  <a:pt x="338" y="70"/>
                </a:cubicBezTo>
                <a:cubicBezTo>
                  <a:pt x="337" y="70"/>
                  <a:pt x="337" y="70"/>
                  <a:pt x="337" y="70"/>
                </a:cubicBezTo>
                <a:close/>
                <a:moveTo>
                  <a:pt x="335" y="77"/>
                </a:moveTo>
                <a:cubicBezTo>
                  <a:pt x="335" y="75"/>
                  <a:pt x="335" y="75"/>
                  <a:pt x="335" y="75"/>
                </a:cubicBezTo>
                <a:cubicBezTo>
                  <a:pt x="337" y="75"/>
                  <a:pt x="337" y="75"/>
                  <a:pt x="337" y="75"/>
                </a:cubicBezTo>
                <a:cubicBezTo>
                  <a:pt x="339" y="76"/>
                  <a:pt x="339" y="76"/>
                  <a:pt x="339" y="76"/>
                </a:cubicBezTo>
                <a:cubicBezTo>
                  <a:pt x="341" y="78"/>
                  <a:pt x="341" y="78"/>
                  <a:pt x="341" y="78"/>
                </a:cubicBezTo>
                <a:cubicBezTo>
                  <a:pt x="341" y="79"/>
                  <a:pt x="341" y="79"/>
                  <a:pt x="341" y="79"/>
                </a:cubicBezTo>
                <a:cubicBezTo>
                  <a:pt x="341" y="81"/>
                  <a:pt x="341" y="81"/>
                  <a:pt x="341" y="81"/>
                </a:cubicBezTo>
                <a:cubicBezTo>
                  <a:pt x="340" y="81"/>
                  <a:pt x="340" y="81"/>
                  <a:pt x="340" y="81"/>
                </a:cubicBezTo>
                <a:cubicBezTo>
                  <a:pt x="339" y="81"/>
                  <a:pt x="339" y="81"/>
                  <a:pt x="339" y="81"/>
                </a:cubicBezTo>
                <a:cubicBezTo>
                  <a:pt x="338" y="81"/>
                  <a:pt x="338" y="81"/>
                  <a:pt x="338" y="81"/>
                </a:cubicBezTo>
                <a:cubicBezTo>
                  <a:pt x="337" y="81"/>
                  <a:pt x="337" y="81"/>
                  <a:pt x="337" y="81"/>
                </a:cubicBezTo>
                <a:cubicBezTo>
                  <a:pt x="336" y="80"/>
                  <a:pt x="336" y="80"/>
                  <a:pt x="336" y="80"/>
                </a:cubicBezTo>
                <a:cubicBezTo>
                  <a:pt x="335" y="78"/>
                  <a:pt x="335" y="78"/>
                  <a:pt x="335" y="78"/>
                </a:cubicBezTo>
                <a:cubicBezTo>
                  <a:pt x="335" y="77"/>
                  <a:pt x="335" y="77"/>
                  <a:pt x="335" y="77"/>
                </a:cubicBezTo>
                <a:close/>
                <a:moveTo>
                  <a:pt x="319" y="87"/>
                </a:moveTo>
                <a:cubicBezTo>
                  <a:pt x="320" y="87"/>
                  <a:pt x="320" y="87"/>
                  <a:pt x="320" y="87"/>
                </a:cubicBezTo>
                <a:cubicBezTo>
                  <a:pt x="322" y="87"/>
                  <a:pt x="322" y="87"/>
                  <a:pt x="322" y="87"/>
                </a:cubicBezTo>
                <a:cubicBezTo>
                  <a:pt x="321" y="88"/>
                  <a:pt x="321" y="88"/>
                  <a:pt x="321" y="88"/>
                </a:cubicBezTo>
                <a:cubicBezTo>
                  <a:pt x="320" y="88"/>
                  <a:pt x="320" y="88"/>
                  <a:pt x="320" y="88"/>
                </a:cubicBezTo>
                <a:cubicBezTo>
                  <a:pt x="319" y="87"/>
                  <a:pt x="319" y="87"/>
                  <a:pt x="319" y="87"/>
                </a:cubicBezTo>
                <a:close/>
                <a:moveTo>
                  <a:pt x="318" y="86"/>
                </a:moveTo>
                <a:cubicBezTo>
                  <a:pt x="317" y="84"/>
                  <a:pt x="317" y="84"/>
                  <a:pt x="317" y="84"/>
                </a:cubicBezTo>
                <a:cubicBezTo>
                  <a:pt x="318" y="83"/>
                  <a:pt x="318" y="83"/>
                  <a:pt x="318" y="83"/>
                </a:cubicBezTo>
                <a:cubicBezTo>
                  <a:pt x="318" y="81"/>
                  <a:pt x="318" y="81"/>
                  <a:pt x="318" y="81"/>
                </a:cubicBezTo>
                <a:cubicBezTo>
                  <a:pt x="318" y="80"/>
                  <a:pt x="318" y="80"/>
                  <a:pt x="318" y="80"/>
                </a:cubicBezTo>
                <a:cubicBezTo>
                  <a:pt x="320" y="79"/>
                  <a:pt x="320" y="79"/>
                  <a:pt x="320" y="79"/>
                </a:cubicBezTo>
                <a:cubicBezTo>
                  <a:pt x="320" y="78"/>
                  <a:pt x="320" y="78"/>
                  <a:pt x="320" y="78"/>
                </a:cubicBezTo>
                <a:cubicBezTo>
                  <a:pt x="320" y="78"/>
                  <a:pt x="320" y="78"/>
                  <a:pt x="320" y="78"/>
                </a:cubicBezTo>
                <a:cubicBezTo>
                  <a:pt x="320" y="77"/>
                  <a:pt x="320" y="77"/>
                  <a:pt x="320" y="77"/>
                </a:cubicBezTo>
                <a:cubicBezTo>
                  <a:pt x="321" y="75"/>
                  <a:pt x="321" y="75"/>
                  <a:pt x="321" y="75"/>
                </a:cubicBezTo>
                <a:cubicBezTo>
                  <a:pt x="321" y="74"/>
                  <a:pt x="321" y="74"/>
                  <a:pt x="321" y="74"/>
                </a:cubicBezTo>
                <a:cubicBezTo>
                  <a:pt x="322" y="73"/>
                  <a:pt x="322" y="73"/>
                  <a:pt x="322" y="73"/>
                </a:cubicBezTo>
                <a:cubicBezTo>
                  <a:pt x="322" y="74"/>
                  <a:pt x="322" y="74"/>
                  <a:pt x="322" y="74"/>
                </a:cubicBezTo>
                <a:cubicBezTo>
                  <a:pt x="323" y="76"/>
                  <a:pt x="323" y="76"/>
                  <a:pt x="323" y="76"/>
                </a:cubicBezTo>
                <a:cubicBezTo>
                  <a:pt x="323" y="76"/>
                  <a:pt x="323" y="76"/>
                  <a:pt x="323" y="76"/>
                </a:cubicBezTo>
                <a:cubicBezTo>
                  <a:pt x="322" y="79"/>
                  <a:pt x="322" y="79"/>
                  <a:pt x="322" y="79"/>
                </a:cubicBezTo>
                <a:cubicBezTo>
                  <a:pt x="322" y="80"/>
                  <a:pt x="322" y="80"/>
                  <a:pt x="322" y="80"/>
                </a:cubicBezTo>
                <a:cubicBezTo>
                  <a:pt x="321" y="81"/>
                  <a:pt x="321" y="81"/>
                  <a:pt x="321" y="81"/>
                </a:cubicBezTo>
                <a:cubicBezTo>
                  <a:pt x="322" y="82"/>
                  <a:pt x="322" y="82"/>
                  <a:pt x="322" y="82"/>
                </a:cubicBezTo>
                <a:cubicBezTo>
                  <a:pt x="321" y="85"/>
                  <a:pt x="321" y="85"/>
                  <a:pt x="321" y="85"/>
                </a:cubicBezTo>
                <a:cubicBezTo>
                  <a:pt x="320" y="86"/>
                  <a:pt x="320" y="86"/>
                  <a:pt x="320" y="86"/>
                </a:cubicBezTo>
                <a:cubicBezTo>
                  <a:pt x="318" y="86"/>
                  <a:pt x="318" y="86"/>
                  <a:pt x="318" y="86"/>
                </a:cubicBezTo>
                <a:close/>
                <a:moveTo>
                  <a:pt x="304" y="57"/>
                </a:moveTo>
                <a:cubicBezTo>
                  <a:pt x="303" y="56"/>
                  <a:pt x="303" y="56"/>
                  <a:pt x="303" y="56"/>
                </a:cubicBezTo>
                <a:cubicBezTo>
                  <a:pt x="303" y="54"/>
                  <a:pt x="303" y="54"/>
                  <a:pt x="303" y="54"/>
                </a:cubicBezTo>
                <a:cubicBezTo>
                  <a:pt x="303" y="54"/>
                  <a:pt x="303" y="54"/>
                  <a:pt x="303" y="54"/>
                </a:cubicBezTo>
                <a:cubicBezTo>
                  <a:pt x="302" y="53"/>
                  <a:pt x="302" y="53"/>
                  <a:pt x="302" y="53"/>
                </a:cubicBezTo>
                <a:cubicBezTo>
                  <a:pt x="301" y="53"/>
                  <a:pt x="301" y="53"/>
                  <a:pt x="301" y="53"/>
                </a:cubicBezTo>
                <a:cubicBezTo>
                  <a:pt x="300" y="53"/>
                  <a:pt x="300" y="53"/>
                  <a:pt x="300" y="53"/>
                </a:cubicBezTo>
                <a:cubicBezTo>
                  <a:pt x="300" y="53"/>
                  <a:pt x="300" y="53"/>
                  <a:pt x="300" y="53"/>
                </a:cubicBezTo>
                <a:cubicBezTo>
                  <a:pt x="298" y="53"/>
                  <a:pt x="298" y="53"/>
                  <a:pt x="298" y="53"/>
                </a:cubicBezTo>
                <a:cubicBezTo>
                  <a:pt x="297" y="53"/>
                  <a:pt x="297" y="53"/>
                  <a:pt x="297" y="53"/>
                </a:cubicBezTo>
                <a:cubicBezTo>
                  <a:pt x="297" y="52"/>
                  <a:pt x="297" y="52"/>
                  <a:pt x="297" y="52"/>
                </a:cubicBezTo>
                <a:cubicBezTo>
                  <a:pt x="298" y="51"/>
                  <a:pt x="298" y="51"/>
                  <a:pt x="298" y="51"/>
                </a:cubicBezTo>
                <a:cubicBezTo>
                  <a:pt x="298" y="50"/>
                  <a:pt x="298" y="50"/>
                  <a:pt x="298" y="50"/>
                </a:cubicBezTo>
                <a:cubicBezTo>
                  <a:pt x="300" y="50"/>
                  <a:pt x="300" y="50"/>
                  <a:pt x="300" y="50"/>
                </a:cubicBezTo>
                <a:cubicBezTo>
                  <a:pt x="301" y="50"/>
                  <a:pt x="301" y="50"/>
                  <a:pt x="301" y="50"/>
                </a:cubicBezTo>
                <a:cubicBezTo>
                  <a:pt x="305" y="49"/>
                  <a:pt x="305" y="49"/>
                  <a:pt x="305" y="49"/>
                </a:cubicBezTo>
                <a:cubicBezTo>
                  <a:pt x="306" y="49"/>
                  <a:pt x="306" y="49"/>
                  <a:pt x="306" y="49"/>
                </a:cubicBezTo>
                <a:cubicBezTo>
                  <a:pt x="307" y="50"/>
                  <a:pt x="307" y="50"/>
                  <a:pt x="307" y="50"/>
                </a:cubicBezTo>
                <a:cubicBezTo>
                  <a:pt x="308" y="50"/>
                  <a:pt x="308" y="50"/>
                  <a:pt x="308" y="50"/>
                </a:cubicBezTo>
                <a:cubicBezTo>
                  <a:pt x="309" y="50"/>
                  <a:pt x="309" y="50"/>
                  <a:pt x="309" y="50"/>
                </a:cubicBezTo>
                <a:cubicBezTo>
                  <a:pt x="311" y="49"/>
                  <a:pt x="311" y="49"/>
                  <a:pt x="311" y="49"/>
                </a:cubicBezTo>
                <a:cubicBezTo>
                  <a:pt x="313" y="49"/>
                  <a:pt x="313" y="49"/>
                  <a:pt x="313" y="49"/>
                </a:cubicBezTo>
                <a:cubicBezTo>
                  <a:pt x="313" y="49"/>
                  <a:pt x="313" y="49"/>
                  <a:pt x="313" y="49"/>
                </a:cubicBezTo>
                <a:cubicBezTo>
                  <a:pt x="314" y="48"/>
                  <a:pt x="314" y="48"/>
                  <a:pt x="314" y="48"/>
                </a:cubicBezTo>
                <a:cubicBezTo>
                  <a:pt x="315" y="49"/>
                  <a:pt x="315" y="49"/>
                  <a:pt x="315" y="49"/>
                </a:cubicBezTo>
                <a:cubicBezTo>
                  <a:pt x="315" y="49"/>
                  <a:pt x="315" y="49"/>
                  <a:pt x="315" y="49"/>
                </a:cubicBezTo>
                <a:cubicBezTo>
                  <a:pt x="316" y="51"/>
                  <a:pt x="316" y="51"/>
                  <a:pt x="316" y="51"/>
                </a:cubicBezTo>
                <a:cubicBezTo>
                  <a:pt x="316" y="52"/>
                  <a:pt x="316" y="52"/>
                  <a:pt x="316" y="52"/>
                </a:cubicBezTo>
                <a:cubicBezTo>
                  <a:pt x="314" y="54"/>
                  <a:pt x="314" y="54"/>
                  <a:pt x="314" y="54"/>
                </a:cubicBezTo>
                <a:cubicBezTo>
                  <a:pt x="315" y="55"/>
                  <a:pt x="315" y="55"/>
                  <a:pt x="315" y="55"/>
                </a:cubicBezTo>
                <a:cubicBezTo>
                  <a:pt x="314" y="58"/>
                  <a:pt x="314" y="58"/>
                  <a:pt x="314" y="58"/>
                </a:cubicBezTo>
                <a:cubicBezTo>
                  <a:pt x="313" y="58"/>
                  <a:pt x="313" y="58"/>
                  <a:pt x="313" y="58"/>
                </a:cubicBezTo>
                <a:cubicBezTo>
                  <a:pt x="312" y="60"/>
                  <a:pt x="312" y="60"/>
                  <a:pt x="312" y="60"/>
                </a:cubicBezTo>
                <a:cubicBezTo>
                  <a:pt x="311" y="59"/>
                  <a:pt x="311" y="59"/>
                  <a:pt x="311" y="59"/>
                </a:cubicBezTo>
                <a:cubicBezTo>
                  <a:pt x="310" y="59"/>
                  <a:pt x="310" y="59"/>
                  <a:pt x="310" y="59"/>
                </a:cubicBezTo>
                <a:cubicBezTo>
                  <a:pt x="309" y="59"/>
                  <a:pt x="309" y="59"/>
                  <a:pt x="309" y="59"/>
                </a:cubicBezTo>
                <a:cubicBezTo>
                  <a:pt x="308" y="59"/>
                  <a:pt x="308" y="59"/>
                  <a:pt x="308" y="59"/>
                </a:cubicBezTo>
                <a:cubicBezTo>
                  <a:pt x="306" y="57"/>
                  <a:pt x="306" y="57"/>
                  <a:pt x="306" y="57"/>
                </a:cubicBezTo>
                <a:cubicBezTo>
                  <a:pt x="306" y="56"/>
                  <a:pt x="306" y="56"/>
                  <a:pt x="306" y="56"/>
                </a:cubicBezTo>
                <a:cubicBezTo>
                  <a:pt x="305" y="54"/>
                  <a:pt x="305" y="54"/>
                  <a:pt x="305" y="54"/>
                </a:cubicBezTo>
                <a:cubicBezTo>
                  <a:pt x="305" y="55"/>
                  <a:pt x="305" y="55"/>
                  <a:pt x="305" y="55"/>
                </a:cubicBezTo>
                <a:cubicBezTo>
                  <a:pt x="305" y="56"/>
                  <a:pt x="305" y="56"/>
                  <a:pt x="305" y="56"/>
                </a:cubicBezTo>
                <a:cubicBezTo>
                  <a:pt x="304" y="57"/>
                  <a:pt x="304" y="57"/>
                  <a:pt x="304" y="57"/>
                </a:cubicBezTo>
                <a:close/>
                <a:moveTo>
                  <a:pt x="286" y="67"/>
                </a:moveTo>
                <a:cubicBezTo>
                  <a:pt x="287" y="65"/>
                  <a:pt x="287" y="65"/>
                  <a:pt x="287" y="65"/>
                </a:cubicBezTo>
                <a:cubicBezTo>
                  <a:pt x="287" y="64"/>
                  <a:pt x="287" y="64"/>
                  <a:pt x="287" y="64"/>
                </a:cubicBezTo>
                <a:cubicBezTo>
                  <a:pt x="289" y="63"/>
                  <a:pt x="289" y="63"/>
                  <a:pt x="289" y="63"/>
                </a:cubicBezTo>
                <a:cubicBezTo>
                  <a:pt x="289" y="62"/>
                  <a:pt x="289" y="62"/>
                  <a:pt x="289" y="62"/>
                </a:cubicBezTo>
                <a:cubicBezTo>
                  <a:pt x="290" y="61"/>
                  <a:pt x="290" y="61"/>
                  <a:pt x="290" y="61"/>
                </a:cubicBezTo>
                <a:cubicBezTo>
                  <a:pt x="291" y="60"/>
                  <a:pt x="291" y="60"/>
                  <a:pt x="291" y="60"/>
                </a:cubicBezTo>
                <a:cubicBezTo>
                  <a:pt x="292" y="60"/>
                  <a:pt x="292" y="60"/>
                  <a:pt x="292" y="60"/>
                </a:cubicBezTo>
                <a:cubicBezTo>
                  <a:pt x="295" y="60"/>
                  <a:pt x="295" y="60"/>
                  <a:pt x="295" y="60"/>
                </a:cubicBezTo>
                <a:cubicBezTo>
                  <a:pt x="296" y="60"/>
                  <a:pt x="296" y="60"/>
                  <a:pt x="296" y="60"/>
                </a:cubicBezTo>
                <a:cubicBezTo>
                  <a:pt x="297" y="60"/>
                  <a:pt x="297" y="60"/>
                  <a:pt x="297" y="60"/>
                </a:cubicBezTo>
                <a:cubicBezTo>
                  <a:pt x="298" y="61"/>
                  <a:pt x="298" y="61"/>
                  <a:pt x="298" y="61"/>
                </a:cubicBezTo>
                <a:cubicBezTo>
                  <a:pt x="299" y="61"/>
                  <a:pt x="299" y="61"/>
                  <a:pt x="299" y="61"/>
                </a:cubicBezTo>
                <a:cubicBezTo>
                  <a:pt x="300" y="60"/>
                  <a:pt x="300" y="60"/>
                  <a:pt x="300" y="60"/>
                </a:cubicBezTo>
                <a:cubicBezTo>
                  <a:pt x="302" y="61"/>
                  <a:pt x="302" y="61"/>
                  <a:pt x="302" y="61"/>
                </a:cubicBezTo>
                <a:cubicBezTo>
                  <a:pt x="302" y="61"/>
                  <a:pt x="302" y="61"/>
                  <a:pt x="302" y="61"/>
                </a:cubicBezTo>
                <a:cubicBezTo>
                  <a:pt x="304" y="61"/>
                  <a:pt x="304" y="61"/>
                  <a:pt x="304" y="61"/>
                </a:cubicBezTo>
                <a:cubicBezTo>
                  <a:pt x="305" y="62"/>
                  <a:pt x="305" y="62"/>
                  <a:pt x="305" y="62"/>
                </a:cubicBezTo>
                <a:cubicBezTo>
                  <a:pt x="306" y="62"/>
                  <a:pt x="306" y="62"/>
                  <a:pt x="306" y="62"/>
                </a:cubicBezTo>
                <a:cubicBezTo>
                  <a:pt x="307" y="62"/>
                  <a:pt x="307" y="62"/>
                  <a:pt x="307" y="62"/>
                </a:cubicBezTo>
                <a:cubicBezTo>
                  <a:pt x="308" y="63"/>
                  <a:pt x="308" y="63"/>
                  <a:pt x="308" y="63"/>
                </a:cubicBezTo>
                <a:cubicBezTo>
                  <a:pt x="306" y="65"/>
                  <a:pt x="306" y="65"/>
                  <a:pt x="306" y="65"/>
                </a:cubicBezTo>
                <a:cubicBezTo>
                  <a:pt x="305" y="65"/>
                  <a:pt x="305" y="65"/>
                  <a:pt x="305" y="65"/>
                </a:cubicBezTo>
                <a:cubicBezTo>
                  <a:pt x="302" y="66"/>
                  <a:pt x="302" y="66"/>
                  <a:pt x="302" y="66"/>
                </a:cubicBezTo>
                <a:cubicBezTo>
                  <a:pt x="301" y="66"/>
                  <a:pt x="301" y="66"/>
                  <a:pt x="301" y="66"/>
                </a:cubicBezTo>
                <a:cubicBezTo>
                  <a:pt x="300" y="67"/>
                  <a:pt x="300" y="67"/>
                  <a:pt x="300" y="67"/>
                </a:cubicBezTo>
                <a:cubicBezTo>
                  <a:pt x="300" y="68"/>
                  <a:pt x="300" y="68"/>
                  <a:pt x="300" y="68"/>
                </a:cubicBezTo>
                <a:cubicBezTo>
                  <a:pt x="301" y="68"/>
                  <a:pt x="301" y="68"/>
                  <a:pt x="301" y="68"/>
                </a:cubicBezTo>
                <a:cubicBezTo>
                  <a:pt x="302" y="68"/>
                  <a:pt x="302" y="68"/>
                  <a:pt x="302" y="68"/>
                </a:cubicBezTo>
                <a:cubicBezTo>
                  <a:pt x="302" y="69"/>
                  <a:pt x="302" y="69"/>
                  <a:pt x="302" y="69"/>
                </a:cubicBezTo>
                <a:cubicBezTo>
                  <a:pt x="300" y="71"/>
                  <a:pt x="300" y="71"/>
                  <a:pt x="300" y="71"/>
                </a:cubicBezTo>
                <a:cubicBezTo>
                  <a:pt x="300" y="71"/>
                  <a:pt x="300" y="71"/>
                  <a:pt x="300" y="71"/>
                </a:cubicBezTo>
                <a:cubicBezTo>
                  <a:pt x="299" y="72"/>
                  <a:pt x="299" y="72"/>
                  <a:pt x="299" y="72"/>
                </a:cubicBezTo>
                <a:cubicBezTo>
                  <a:pt x="299" y="72"/>
                  <a:pt x="299" y="72"/>
                  <a:pt x="299" y="72"/>
                </a:cubicBezTo>
                <a:cubicBezTo>
                  <a:pt x="298" y="73"/>
                  <a:pt x="298" y="73"/>
                  <a:pt x="298" y="73"/>
                </a:cubicBezTo>
                <a:cubicBezTo>
                  <a:pt x="297" y="73"/>
                  <a:pt x="297" y="73"/>
                  <a:pt x="297" y="73"/>
                </a:cubicBezTo>
                <a:cubicBezTo>
                  <a:pt x="295" y="74"/>
                  <a:pt x="295" y="74"/>
                  <a:pt x="295" y="74"/>
                </a:cubicBezTo>
                <a:cubicBezTo>
                  <a:pt x="294" y="74"/>
                  <a:pt x="294" y="74"/>
                  <a:pt x="294" y="74"/>
                </a:cubicBezTo>
                <a:cubicBezTo>
                  <a:pt x="293" y="73"/>
                  <a:pt x="293" y="73"/>
                  <a:pt x="293" y="73"/>
                </a:cubicBezTo>
                <a:cubicBezTo>
                  <a:pt x="292" y="73"/>
                  <a:pt x="292" y="73"/>
                  <a:pt x="292" y="73"/>
                </a:cubicBezTo>
                <a:cubicBezTo>
                  <a:pt x="291" y="73"/>
                  <a:pt x="291" y="73"/>
                  <a:pt x="291" y="73"/>
                </a:cubicBezTo>
                <a:cubicBezTo>
                  <a:pt x="289" y="73"/>
                  <a:pt x="289" y="73"/>
                  <a:pt x="289" y="73"/>
                </a:cubicBezTo>
                <a:cubicBezTo>
                  <a:pt x="289" y="73"/>
                  <a:pt x="289" y="73"/>
                  <a:pt x="289" y="73"/>
                </a:cubicBezTo>
                <a:cubicBezTo>
                  <a:pt x="290" y="72"/>
                  <a:pt x="290" y="72"/>
                  <a:pt x="290" y="72"/>
                </a:cubicBezTo>
                <a:cubicBezTo>
                  <a:pt x="289" y="71"/>
                  <a:pt x="289" y="71"/>
                  <a:pt x="289" y="71"/>
                </a:cubicBezTo>
                <a:cubicBezTo>
                  <a:pt x="288" y="70"/>
                  <a:pt x="288" y="70"/>
                  <a:pt x="288" y="70"/>
                </a:cubicBezTo>
                <a:cubicBezTo>
                  <a:pt x="287" y="70"/>
                  <a:pt x="287" y="70"/>
                  <a:pt x="287" y="70"/>
                </a:cubicBezTo>
                <a:cubicBezTo>
                  <a:pt x="287" y="68"/>
                  <a:pt x="287" y="68"/>
                  <a:pt x="287" y="68"/>
                </a:cubicBezTo>
                <a:cubicBezTo>
                  <a:pt x="286" y="67"/>
                  <a:pt x="286" y="67"/>
                  <a:pt x="286" y="67"/>
                </a:cubicBezTo>
                <a:close/>
                <a:moveTo>
                  <a:pt x="285" y="62"/>
                </a:moveTo>
                <a:cubicBezTo>
                  <a:pt x="286" y="63"/>
                  <a:pt x="286" y="63"/>
                  <a:pt x="286" y="63"/>
                </a:cubicBezTo>
                <a:cubicBezTo>
                  <a:pt x="287" y="62"/>
                  <a:pt x="287" y="62"/>
                  <a:pt x="287" y="62"/>
                </a:cubicBezTo>
                <a:cubicBezTo>
                  <a:pt x="288" y="61"/>
                  <a:pt x="288" y="61"/>
                  <a:pt x="288" y="61"/>
                </a:cubicBezTo>
                <a:cubicBezTo>
                  <a:pt x="288" y="59"/>
                  <a:pt x="288" y="59"/>
                  <a:pt x="288" y="59"/>
                </a:cubicBezTo>
                <a:cubicBezTo>
                  <a:pt x="289" y="58"/>
                  <a:pt x="289" y="58"/>
                  <a:pt x="289" y="58"/>
                </a:cubicBezTo>
                <a:cubicBezTo>
                  <a:pt x="288" y="57"/>
                  <a:pt x="288" y="57"/>
                  <a:pt x="288" y="57"/>
                </a:cubicBezTo>
                <a:cubicBezTo>
                  <a:pt x="289" y="56"/>
                  <a:pt x="289" y="56"/>
                  <a:pt x="289" y="56"/>
                </a:cubicBezTo>
                <a:cubicBezTo>
                  <a:pt x="288" y="56"/>
                  <a:pt x="288" y="56"/>
                  <a:pt x="288" y="56"/>
                </a:cubicBezTo>
                <a:cubicBezTo>
                  <a:pt x="287" y="56"/>
                  <a:pt x="287" y="56"/>
                  <a:pt x="287" y="56"/>
                </a:cubicBezTo>
                <a:cubicBezTo>
                  <a:pt x="286" y="56"/>
                  <a:pt x="286" y="56"/>
                  <a:pt x="286" y="56"/>
                </a:cubicBezTo>
                <a:cubicBezTo>
                  <a:pt x="285" y="56"/>
                  <a:pt x="285" y="56"/>
                  <a:pt x="285" y="56"/>
                </a:cubicBezTo>
                <a:cubicBezTo>
                  <a:pt x="285" y="56"/>
                  <a:pt x="285" y="56"/>
                  <a:pt x="285" y="56"/>
                </a:cubicBezTo>
                <a:cubicBezTo>
                  <a:pt x="284" y="58"/>
                  <a:pt x="284" y="58"/>
                  <a:pt x="284" y="58"/>
                </a:cubicBezTo>
                <a:cubicBezTo>
                  <a:pt x="284" y="59"/>
                  <a:pt x="284" y="59"/>
                  <a:pt x="284" y="59"/>
                </a:cubicBezTo>
                <a:cubicBezTo>
                  <a:pt x="284" y="60"/>
                  <a:pt x="284" y="60"/>
                  <a:pt x="284" y="60"/>
                </a:cubicBezTo>
                <a:cubicBezTo>
                  <a:pt x="285" y="62"/>
                  <a:pt x="285" y="62"/>
                  <a:pt x="285" y="62"/>
                </a:cubicBezTo>
                <a:close/>
                <a:moveTo>
                  <a:pt x="391" y="155"/>
                </a:moveTo>
                <a:cubicBezTo>
                  <a:pt x="391" y="155"/>
                  <a:pt x="392" y="155"/>
                  <a:pt x="392" y="155"/>
                </a:cubicBezTo>
                <a:cubicBezTo>
                  <a:pt x="393" y="155"/>
                  <a:pt x="393" y="155"/>
                  <a:pt x="393" y="155"/>
                </a:cubicBezTo>
                <a:cubicBezTo>
                  <a:pt x="393" y="156"/>
                  <a:pt x="393" y="156"/>
                  <a:pt x="393" y="156"/>
                </a:cubicBezTo>
                <a:cubicBezTo>
                  <a:pt x="395" y="156"/>
                  <a:pt x="395" y="156"/>
                  <a:pt x="395" y="156"/>
                </a:cubicBezTo>
                <a:cubicBezTo>
                  <a:pt x="395" y="156"/>
                  <a:pt x="395" y="156"/>
                  <a:pt x="395" y="156"/>
                </a:cubicBezTo>
                <a:cubicBezTo>
                  <a:pt x="396" y="156"/>
                  <a:pt x="396" y="156"/>
                  <a:pt x="396" y="156"/>
                </a:cubicBezTo>
                <a:cubicBezTo>
                  <a:pt x="398" y="155"/>
                  <a:pt x="398" y="155"/>
                  <a:pt x="398" y="155"/>
                </a:cubicBezTo>
                <a:cubicBezTo>
                  <a:pt x="399" y="155"/>
                  <a:pt x="399" y="155"/>
                  <a:pt x="399" y="155"/>
                </a:cubicBezTo>
                <a:cubicBezTo>
                  <a:pt x="401" y="156"/>
                  <a:pt x="401" y="156"/>
                  <a:pt x="401" y="156"/>
                </a:cubicBezTo>
                <a:cubicBezTo>
                  <a:pt x="402" y="156"/>
                  <a:pt x="402" y="156"/>
                  <a:pt x="402" y="156"/>
                </a:cubicBezTo>
                <a:cubicBezTo>
                  <a:pt x="403" y="156"/>
                  <a:pt x="403" y="156"/>
                  <a:pt x="403" y="156"/>
                </a:cubicBezTo>
                <a:cubicBezTo>
                  <a:pt x="404" y="155"/>
                  <a:pt x="404" y="155"/>
                  <a:pt x="404" y="155"/>
                </a:cubicBezTo>
                <a:cubicBezTo>
                  <a:pt x="404" y="155"/>
                  <a:pt x="404" y="155"/>
                  <a:pt x="404" y="155"/>
                </a:cubicBezTo>
                <a:cubicBezTo>
                  <a:pt x="404" y="153"/>
                  <a:pt x="404" y="153"/>
                  <a:pt x="404" y="153"/>
                </a:cubicBezTo>
                <a:cubicBezTo>
                  <a:pt x="405" y="153"/>
                  <a:pt x="405" y="153"/>
                  <a:pt x="405" y="153"/>
                </a:cubicBezTo>
                <a:cubicBezTo>
                  <a:pt x="405" y="152"/>
                  <a:pt x="405" y="152"/>
                  <a:pt x="405" y="152"/>
                </a:cubicBezTo>
                <a:cubicBezTo>
                  <a:pt x="405" y="151"/>
                  <a:pt x="405" y="151"/>
                  <a:pt x="405" y="151"/>
                </a:cubicBezTo>
                <a:cubicBezTo>
                  <a:pt x="405" y="150"/>
                  <a:pt x="405" y="150"/>
                  <a:pt x="405" y="150"/>
                </a:cubicBezTo>
                <a:cubicBezTo>
                  <a:pt x="405" y="150"/>
                  <a:pt x="405" y="150"/>
                  <a:pt x="405" y="150"/>
                </a:cubicBezTo>
                <a:cubicBezTo>
                  <a:pt x="405" y="151"/>
                  <a:pt x="405" y="151"/>
                  <a:pt x="405" y="151"/>
                </a:cubicBezTo>
                <a:cubicBezTo>
                  <a:pt x="406" y="153"/>
                  <a:pt x="406" y="153"/>
                  <a:pt x="406" y="153"/>
                </a:cubicBezTo>
                <a:cubicBezTo>
                  <a:pt x="407" y="152"/>
                  <a:pt x="407" y="152"/>
                  <a:pt x="407" y="152"/>
                </a:cubicBezTo>
                <a:cubicBezTo>
                  <a:pt x="408" y="152"/>
                  <a:pt x="408" y="152"/>
                  <a:pt x="408" y="152"/>
                </a:cubicBezTo>
                <a:cubicBezTo>
                  <a:pt x="408" y="152"/>
                  <a:pt x="408" y="152"/>
                  <a:pt x="408" y="152"/>
                </a:cubicBezTo>
                <a:cubicBezTo>
                  <a:pt x="409" y="152"/>
                  <a:pt x="409" y="152"/>
                  <a:pt x="409" y="152"/>
                </a:cubicBezTo>
                <a:cubicBezTo>
                  <a:pt x="409" y="151"/>
                  <a:pt x="409" y="151"/>
                  <a:pt x="409" y="151"/>
                </a:cubicBezTo>
                <a:cubicBezTo>
                  <a:pt x="409" y="150"/>
                  <a:pt x="409" y="150"/>
                  <a:pt x="409" y="150"/>
                </a:cubicBezTo>
                <a:cubicBezTo>
                  <a:pt x="409" y="149"/>
                  <a:pt x="409" y="149"/>
                  <a:pt x="409" y="149"/>
                </a:cubicBezTo>
                <a:cubicBezTo>
                  <a:pt x="408" y="149"/>
                  <a:pt x="408" y="149"/>
                  <a:pt x="408" y="149"/>
                </a:cubicBezTo>
                <a:cubicBezTo>
                  <a:pt x="407" y="149"/>
                  <a:pt x="407" y="149"/>
                  <a:pt x="407" y="149"/>
                </a:cubicBezTo>
                <a:cubicBezTo>
                  <a:pt x="406" y="149"/>
                  <a:pt x="406" y="149"/>
                  <a:pt x="406" y="149"/>
                </a:cubicBezTo>
                <a:cubicBezTo>
                  <a:pt x="405" y="148"/>
                  <a:pt x="405" y="148"/>
                  <a:pt x="405" y="148"/>
                </a:cubicBezTo>
                <a:cubicBezTo>
                  <a:pt x="406" y="148"/>
                  <a:pt x="406" y="148"/>
                  <a:pt x="406" y="148"/>
                </a:cubicBezTo>
                <a:cubicBezTo>
                  <a:pt x="407" y="148"/>
                  <a:pt x="407" y="148"/>
                  <a:pt x="407" y="148"/>
                </a:cubicBezTo>
                <a:cubicBezTo>
                  <a:pt x="408" y="148"/>
                  <a:pt x="408" y="148"/>
                  <a:pt x="408" y="148"/>
                </a:cubicBezTo>
                <a:cubicBezTo>
                  <a:pt x="409" y="147"/>
                  <a:pt x="409" y="147"/>
                  <a:pt x="409" y="147"/>
                </a:cubicBezTo>
                <a:cubicBezTo>
                  <a:pt x="409" y="147"/>
                  <a:pt x="409" y="147"/>
                  <a:pt x="409" y="147"/>
                </a:cubicBezTo>
                <a:cubicBezTo>
                  <a:pt x="410" y="147"/>
                  <a:pt x="410" y="147"/>
                  <a:pt x="410" y="147"/>
                </a:cubicBezTo>
                <a:cubicBezTo>
                  <a:pt x="411" y="146"/>
                  <a:pt x="411" y="146"/>
                  <a:pt x="411" y="146"/>
                </a:cubicBezTo>
                <a:cubicBezTo>
                  <a:pt x="411" y="145"/>
                  <a:pt x="411" y="145"/>
                  <a:pt x="411" y="145"/>
                </a:cubicBezTo>
                <a:cubicBezTo>
                  <a:pt x="411" y="144"/>
                  <a:pt x="411" y="144"/>
                  <a:pt x="411" y="144"/>
                </a:cubicBezTo>
                <a:cubicBezTo>
                  <a:pt x="411" y="143"/>
                  <a:pt x="411" y="143"/>
                  <a:pt x="411" y="143"/>
                </a:cubicBezTo>
                <a:cubicBezTo>
                  <a:pt x="412" y="143"/>
                  <a:pt x="412" y="143"/>
                  <a:pt x="412" y="143"/>
                </a:cubicBezTo>
                <a:cubicBezTo>
                  <a:pt x="412" y="142"/>
                  <a:pt x="412" y="142"/>
                  <a:pt x="412" y="142"/>
                </a:cubicBezTo>
                <a:cubicBezTo>
                  <a:pt x="410" y="142"/>
                  <a:pt x="410" y="142"/>
                  <a:pt x="410" y="142"/>
                </a:cubicBezTo>
                <a:cubicBezTo>
                  <a:pt x="409" y="142"/>
                  <a:pt x="409" y="142"/>
                  <a:pt x="409" y="142"/>
                </a:cubicBezTo>
                <a:cubicBezTo>
                  <a:pt x="410" y="141"/>
                  <a:pt x="410" y="141"/>
                  <a:pt x="410" y="141"/>
                </a:cubicBezTo>
                <a:cubicBezTo>
                  <a:pt x="410" y="141"/>
                  <a:pt x="410" y="141"/>
                  <a:pt x="410" y="141"/>
                </a:cubicBezTo>
                <a:cubicBezTo>
                  <a:pt x="410" y="140"/>
                  <a:pt x="410" y="140"/>
                  <a:pt x="410" y="140"/>
                </a:cubicBezTo>
                <a:cubicBezTo>
                  <a:pt x="409" y="139"/>
                  <a:pt x="409" y="139"/>
                  <a:pt x="409" y="139"/>
                </a:cubicBezTo>
                <a:cubicBezTo>
                  <a:pt x="407" y="139"/>
                  <a:pt x="407" y="139"/>
                  <a:pt x="407" y="139"/>
                </a:cubicBezTo>
                <a:cubicBezTo>
                  <a:pt x="406" y="138"/>
                  <a:pt x="406" y="138"/>
                  <a:pt x="406" y="138"/>
                </a:cubicBezTo>
                <a:cubicBezTo>
                  <a:pt x="407" y="138"/>
                  <a:pt x="407" y="138"/>
                  <a:pt x="407" y="138"/>
                </a:cubicBezTo>
                <a:cubicBezTo>
                  <a:pt x="407" y="137"/>
                  <a:pt x="407" y="137"/>
                  <a:pt x="407" y="137"/>
                </a:cubicBezTo>
                <a:cubicBezTo>
                  <a:pt x="407" y="136"/>
                  <a:pt x="407" y="136"/>
                  <a:pt x="407" y="136"/>
                </a:cubicBezTo>
                <a:cubicBezTo>
                  <a:pt x="405" y="135"/>
                  <a:pt x="405" y="135"/>
                  <a:pt x="405" y="135"/>
                </a:cubicBezTo>
                <a:cubicBezTo>
                  <a:pt x="404" y="135"/>
                  <a:pt x="404" y="135"/>
                  <a:pt x="404" y="135"/>
                </a:cubicBezTo>
                <a:cubicBezTo>
                  <a:pt x="403" y="135"/>
                  <a:pt x="403" y="135"/>
                  <a:pt x="403" y="135"/>
                </a:cubicBezTo>
                <a:cubicBezTo>
                  <a:pt x="401" y="135"/>
                  <a:pt x="401" y="135"/>
                  <a:pt x="401" y="135"/>
                </a:cubicBezTo>
                <a:cubicBezTo>
                  <a:pt x="399" y="136"/>
                  <a:pt x="399" y="136"/>
                  <a:pt x="399" y="136"/>
                </a:cubicBezTo>
                <a:cubicBezTo>
                  <a:pt x="397" y="134"/>
                  <a:pt x="397" y="134"/>
                  <a:pt x="397" y="134"/>
                </a:cubicBezTo>
                <a:cubicBezTo>
                  <a:pt x="397" y="133"/>
                  <a:pt x="397" y="133"/>
                  <a:pt x="397" y="133"/>
                </a:cubicBezTo>
                <a:cubicBezTo>
                  <a:pt x="396" y="133"/>
                  <a:pt x="396" y="133"/>
                  <a:pt x="396" y="133"/>
                </a:cubicBezTo>
                <a:cubicBezTo>
                  <a:pt x="395" y="134"/>
                  <a:pt x="395" y="134"/>
                  <a:pt x="395" y="134"/>
                </a:cubicBezTo>
                <a:cubicBezTo>
                  <a:pt x="394" y="134"/>
                  <a:pt x="394" y="134"/>
                  <a:pt x="394" y="134"/>
                </a:cubicBezTo>
                <a:cubicBezTo>
                  <a:pt x="393" y="134"/>
                  <a:pt x="393" y="134"/>
                  <a:pt x="393" y="134"/>
                </a:cubicBezTo>
                <a:cubicBezTo>
                  <a:pt x="392" y="134"/>
                  <a:pt x="392" y="134"/>
                  <a:pt x="392" y="134"/>
                </a:cubicBezTo>
                <a:cubicBezTo>
                  <a:pt x="392" y="135"/>
                  <a:pt x="392" y="135"/>
                  <a:pt x="392" y="135"/>
                </a:cubicBezTo>
                <a:cubicBezTo>
                  <a:pt x="391" y="134"/>
                  <a:pt x="391" y="134"/>
                  <a:pt x="391" y="134"/>
                </a:cubicBezTo>
                <a:cubicBezTo>
                  <a:pt x="390" y="134"/>
                  <a:pt x="390" y="134"/>
                  <a:pt x="390" y="134"/>
                </a:cubicBezTo>
                <a:cubicBezTo>
                  <a:pt x="389" y="134"/>
                  <a:pt x="389" y="134"/>
                  <a:pt x="389" y="134"/>
                </a:cubicBezTo>
                <a:cubicBezTo>
                  <a:pt x="387" y="134"/>
                  <a:pt x="387" y="134"/>
                  <a:pt x="387" y="134"/>
                </a:cubicBezTo>
                <a:cubicBezTo>
                  <a:pt x="387" y="135"/>
                  <a:pt x="387" y="135"/>
                  <a:pt x="387" y="135"/>
                </a:cubicBezTo>
                <a:cubicBezTo>
                  <a:pt x="387" y="136"/>
                  <a:pt x="387" y="136"/>
                  <a:pt x="387" y="136"/>
                </a:cubicBezTo>
                <a:cubicBezTo>
                  <a:pt x="387" y="135"/>
                  <a:pt x="387" y="135"/>
                  <a:pt x="387" y="135"/>
                </a:cubicBezTo>
                <a:cubicBezTo>
                  <a:pt x="386" y="134"/>
                  <a:pt x="386" y="134"/>
                  <a:pt x="386" y="134"/>
                </a:cubicBezTo>
                <a:cubicBezTo>
                  <a:pt x="385" y="135"/>
                  <a:pt x="385" y="135"/>
                  <a:pt x="385" y="135"/>
                </a:cubicBezTo>
                <a:cubicBezTo>
                  <a:pt x="382" y="134"/>
                  <a:pt x="382" y="134"/>
                  <a:pt x="382" y="134"/>
                </a:cubicBezTo>
                <a:cubicBezTo>
                  <a:pt x="382" y="135"/>
                  <a:pt x="382" y="135"/>
                  <a:pt x="382" y="135"/>
                </a:cubicBezTo>
                <a:cubicBezTo>
                  <a:pt x="383" y="135"/>
                  <a:pt x="383" y="135"/>
                  <a:pt x="383" y="135"/>
                </a:cubicBezTo>
                <a:cubicBezTo>
                  <a:pt x="383" y="136"/>
                  <a:pt x="383" y="136"/>
                  <a:pt x="383" y="136"/>
                </a:cubicBezTo>
                <a:cubicBezTo>
                  <a:pt x="384" y="137"/>
                  <a:pt x="384" y="137"/>
                  <a:pt x="384" y="137"/>
                </a:cubicBezTo>
                <a:cubicBezTo>
                  <a:pt x="383" y="137"/>
                  <a:pt x="383" y="137"/>
                  <a:pt x="383" y="137"/>
                </a:cubicBezTo>
                <a:cubicBezTo>
                  <a:pt x="382" y="136"/>
                  <a:pt x="382" y="136"/>
                  <a:pt x="382" y="136"/>
                </a:cubicBezTo>
                <a:cubicBezTo>
                  <a:pt x="381" y="136"/>
                  <a:pt x="381" y="136"/>
                  <a:pt x="381" y="136"/>
                </a:cubicBezTo>
                <a:cubicBezTo>
                  <a:pt x="380" y="136"/>
                  <a:pt x="380" y="136"/>
                  <a:pt x="380" y="136"/>
                </a:cubicBezTo>
                <a:cubicBezTo>
                  <a:pt x="379" y="136"/>
                  <a:pt x="379" y="136"/>
                  <a:pt x="379" y="136"/>
                </a:cubicBezTo>
                <a:cubicBezTo>
                  <a:pt x="380" y="135"/>
                  <a:pt x="380" y="135"/>
                  <a:pt x="380" y="135"/>
                </a:cubicBezTo>
                <a:cubicBezTo>
                  <a:pt x="380" y="134"/>
                  <a:pt x="380" y="134"/>
                  <a:pt x="380" y="134"/>
                </a:cubicBezTo>
                <a:cubicBezTo>
                  <a:pt x="379" y="133"/>
                  <a:pt x="379" y="133"/>
                  <a:pt x="379" y="133"/>
                </a:cubicBezTo>
                <a:cubicBezTo>
                  <a:pt x="379" y="132"/>
                  <a:pt x="379" y="132"/>
                  <a:pt x="379" y="132"/>
                </a:cubicBezTo>
                <a:cubicBezTo>
                  <a:pt x="379" y="132"/>
                  <a:pt x="379" y="132"/>
                  <a:pt x="379" y="132"/>
                </a:cubicBezTo>
                <a:cubicBezTo>
                  <a:pt x="377" y="132"/>
                  <a:pt x="377" y="132"/>
                  <a:pt x="377" y="132"/>
                </a:cubicBezTo>
                <a:cubicBezTo>
                  <a:pt x="377" y="133"/>
                  <a:pt x="377" y="133"/>
                  <a:pt x="377" y="133"/>
                </a:cubicBezTo>
                <a:cubicBezTo>
                  <a:pt x="377" y="134"/>
                  <a:pt x="377" y="134"/>
                  <a:pt x="377" y="134"/>
                </a:cubicBezTo>
                <a:cubicBezTo>
                  <a:pt x="376" y="134"/>
                  <a:pt x="376" y="134"/>
                  <a:pt x="376" y="134"/>
                </a:cubicBezTo>
                <a:cubicBezTo>
                  <a:pt x="377" y="133"/>
                  <a:pt x="377" y="133"/>
                  <a:pt x="377" y="133"/>
                </a:cubicBezTo>
                <a:cubicBezTo>
                  <a:pt x="376" y="132"/>
                  <a:pt x="376" y="132"/>
                  <a:pt x="376" y="132"/>
                </a:cubicBezTo>
                <a:cubicBezTo>
                  <a:pt x="375" y="132"/>
                  <a:pt x="375" y="132"/>
                  <a:pt x="375" y="132"/>
                </a:cubicBezTo>
                <a:cubicBezTo>
                  <a:pt x="374" y="132"/>
                  <a:pt x="374" y="132"/>
                  <a:pt x="374" y="132"/>
                </a:cubicBezTo>
                <a:cubicBezTo>
                  <a:pt x="374" y="132"/>
                  <a:pt x="374" y="132"/>
                  <a:pt x="374" y="132"/>
                </a:cubicBezTo>
                <a:cubicBezTo>
                  <a:pt x="374" y="131"/>
                  <a:pt x="374" y="131"/>
                  <a:pt x="374" y="131"/>
                </a:cubicBezTo>
                <a:cubicBezTo>
                  <a:pt x="374" y="131"/>
                  <a:pt x="374" y="131"/>
                  <a:pt x="374" y="131"/>
                </a:cubicBezTo>
                <a:cubicBezTo>
                  <a:pt x="374" y="129"/>
                  <a:pt x="374" y="129"/>
                  <a:pt x="374" y="129"/>
                </a:cubicBezTo>
                <a:cubicBezTo>
                  <a:pt x="372" y="130"/>
                  <a:pt x="372" y="130"/>
                  <a:pt x="372" y="130"/>
                </a:cubicBezTo>
                <a:cubicBezTo>
                  <a:pt x="371" y="131"/>
                  <a:pt x="371" y="131"/>
                  <a:pt x="371" y="131"/>
                </a:cubicBezTo>
                <a:cubicBezTo>
                  <a:pt x="371" y="133"/>
                  <a:pt x="371" y="133"/>
                  <a:pt x="371" y="133"/>
                </a:cubicBezTo>
                <a:cubicBezTo>
                  <a:pt x="370" y="133"/>
                  <a:pt x="370" y="133"/>
                  <a:pt x="370" y="133"/>
                </a:cubicBezTo>
                <a:cubicBezTo>
                  <a:pt x="370" y="131"/>
                  <a:pt x="370" y="131"/>
                  <a:pt x="370" y="131"/>
                </a:cubicBezTo>
                <a:cubicBezTo>
                  <a:pt x="370" y="130"/>
                  <a:pt x="370" y="130"/>
                  <a:pt x="370" y="130"/>
                </a:cubicBezTo>
                <a:cubicBezTo>
                  <a:pt x="370" y="130"/>
                  <a:pt x="370" y="130"/>
                  <a:pt x="370" y="130"/>
                </a:cubicBezTo>
                <a:cubicBezTo>
                  <a:pt x="371" y="128"/>
                  <a:pt x="371" y="128"/>
                  <a:pt x="371" y="128"/>
                </a:cubicBezTo>
                <a:cubicBezTo>
                  <a:pt x="370" y="127"/>
                  <a:pt x="370" y="127"/>
                  <a:pt x="370" y="127"/>
                </a:cubicBezTo>
                <a:cubicBezTo>
                  <a:pt x="369" y="127"/>
                  <a:pt x="369" y="127"/>
                  <a:pt x="369" y="127"/>
                </a:cubicBezTo>
                <a:cubicBezTo>
                  <a:pt x="369" y="127"/>
                  <a:pt x="369" y="127"/>
                  <a:pt x="369" y="127"/>
                </a:cubicBezTo>
                <a:cubicBezTo>
                  <a:pt x="370" y="126"/>
                  <a:pt x="370" y="126"/>
                  <a:pt x="370" y="126"/>
                </a:cubicBezTo>
                <a:cubicBezTo>
                  <a:pt x="370" y="125"/>
                  <a:pt x="370" y="125"/>
                  <a:pt x="370" y="125"/>
                </a:cubicBezTo>
                <a:cubicBezTo>
                  <a:pt x="370" y="124"/>
                  <a:pt x="370" y="124"/>
                  <a:pt x="370" y="124"/>
                </a:cubicBezTo>
                <a:cubicBezTo>
                  <a:pt x="369" y="124"/>
                  <a:pt x="369" y="124"/>
                  <a:pt x="369" y="124"/>
                </a:cubicBezTo>
                <a:cubicBezTo>
                  <a:pt x="368" y="124"/>
                  <a:pt x="368" y="124"/>
                  <a:pt x="368" y="124"/>
                </a:cubicBezTo>
                <a:cubicBezTo>
                  <a:pt x="368" y="124"/>
                  <a:pt x="368" y="124"/>
                  <a:pt x="368" y="124"/>
                </a:cubicBezTo>
                <a:cubicBezTo>
                  <a:pt x="367" y="124"/>
                  <a:pt x="367" y="124"/>
                  <a:pt x="367" y="124"/>
                </a:cubicBezTo>
                <a:cubicBezTo>
                  <a:pt x="368" y="124"/>
                  <a:pt x="368" y="124"/>
                  <a:pt x="368" y="124"/>
                </a:cubicBezTo>
                <a:cubicBezTo>
                  <a:pt x="367" y="123"/>
                  <a:pt x="367" y="123"/>
                  <a:pt x="367" y="123"/>
                </a:cubicBezTo>
                <a:cubicBezTo>
                  <a:pt x="366" y="123"/>
                  <a:pt x="366" y="123"/>
                  <a:pt x="366" y="123"/>
                </a:cubicBezTo>
                <a:cubicBezTo>
                  <a:pt x="366" y="124"/>
                  <a:pt x="366" y="124"/>
                  <a:pt x="366" y="124"/>
                </a:cubicBezTo>
                <a:cubicBezTo>
                  <a:pt x="364" y="124"/>
                  <a:pt x="364" y="124"/>
                  <a:pt x="364" y="124"/>
                </a:cubicBezTo>
                <a:cubicBezTo>
                  <a:pt x="364" y="124"/>
                  <a:pt x="364" y="124"/>
                  <a:pt x="364" y="124"/>
                </a:cubicBezTo>
                <a:cubicBezTo>
                  <a:pt x="365" y="123"/>
                  <a:pt x="365" y="123"/>
                  <a:pt x="365" y="123"/>
                </a:cubicBezTo>
                <a:cubicBezTo>
                  <a:pt x="365" y="122"/>
                  <a:pt x="365" y="122"/>
                  <a:pt x="365" y="122"/>
                </a:cubicBezTo>
                <a:cubicBezTo>
                  <a:pt x="366" y="121"/>
                  <a:pt x="366" y="121"/>
                  <a:pt x="366" y="121"/>
                </a:cubicBezTo>
                <a:cubicBezTo>
                  <a:pt x="367" y="121"/>
                  <a:pt x="367" y="121"/>
                  <a:pt x="367" y="121"/>
                </a:cubicBezTo>
                <a:cubicBezTo>
                  <a:pt x="368" y="123"/>
                  <a:pt x="368" y="123"/>
                  <a:pt x="368" y="123"/>
                </a:cubicBezTo>
                <a:cubicBezTo>
                  <a:pt x="369" y="123"/>
                  <a:pt x="369" y="123"/>
                  <a:pt x="369" y="123"/>
                </a:cubicBezTo>
                <a:cubicBezTo>
                  <a:pt x="369" y="122"/>
                  <a:pt x="369" y="122"/>
                  <a:pt x="369" y="122"/>
                </a:cubicBezTo>
                <a:cubicBezTo>
                  <a:pt x="368" y="121"/>
                  <a:pt x="368" y="121"/>
                  <a:pt x="368" y="121"/>
                </a:cubicBezTo>
                <a:cubicBezTo>
                  <a:pt x="367" y="120"/>
                  <a:pt x="367" y="120"/>
                  <a:pt x="367" y="120"/>
                </a:cubicBezTo>
                <a:cubicBezTo>
                  <a:pt x="368" y="120"/>
                  <a:pt x="368" y="120"/>
                  <a:pt x="368" y="120"/>
                </a:cubicBezTo>
                <a:cubicBezTo>
                  <a:pt x="366" y="119"/>
                  <a:pt x="366" y="119"/>
                  <a:pt x="366" y="119"/>
                </a:cubicBezTo>
                <a:cubicBezTo>
                  <a:pt x="365" y="118"/>
                  <a:pt x="365" y="118"/>
                  <a:pt x="365" y="118"/>
                </a:cubicBezTo>
                <a:cubicBezTo>
                  <a:pt x="366" y="118"/>
                  <a:pt x="366" y="118"/>
                  <a:pt x="366" y="118"/>
                </a:cubicBezTo>
                <a:cubicBezTo>
                  <a:pt x="366" y="117"/>
                  <a:pt x="366" y="117"/>
                  <a:pt x="366" y="117"/>
                </a:cubicBezTo>
                <a:cubicBezTo>
                  <a:pt x="366" y="117"/>
                  <a:pt x="366" y="117"/>
                  <a:pt x="366" y="117"/>
                </a:cubicBezTo>
                <a:cubicBezTo>
                  <a:pt x="367" y="118"/>
                  <a:pt x="367" y="118"/>
                  <a:pt x="367" y="118"/>
                </a:cubicBezTo>
                <a:cubicBezTo>
                  <a:pt x="368" y="119"/>
                  <a:pt x="368" y="119"/>
                  <a:pt x="368" y="119"/>
                </a:cubicBezTo>
                <a:cubicBezTo>
                  <a:pt x="370" y="120"/>
                  <a:pt x="370" y="120"/>
                  <a:pt x="370" y="120"/>
                </a:cubicBezTo>
                <a:cubicBezTo>
                  <a:pt x="371" y="121"/>
                  <a:pt x="371" y="121"/>
                  <a:pt x="371" y="121"/>
                </a:cubicBezTo>
                <a:cubicBezTo>
                  <a:pt x="371" y="120"/>
                  <a:pt x="371" y="120"/>
                  <a:pt x="371" y="120"/>
                </a:cubicBezTo>
                <a:cubicBezTo>
                  <a:pt x="372" y="121"/>
                  <a:pt x="372" y="121"/>
                  <a:pt x="372" y="121"/>
                </a:cubicBezTo>
                <a:cubicBezTo>
                  <a:pt x="374" y="121"/>
                  <a:pt x="374" y="121"/>
                  <a:pt x="374" y="121"/>
                </a:cubicBezTo>
                <a:cubicBezTo>
                  <a:pt x="375" y="121"/>
                  <a:pt x="375" y="121"/>
                  <a:pt x="375" y="121"/>
                </a:cubicBezTo>
                <a:cubicBezTo>
                  <a:pt x="376" y="120"/>
                  <a:pt x="376" y="120"/>
                  <a:pt x="376" y="120"/>
                </a:cubicBezTo>
                <a:cubicBezTo>
                  <a:pt x="375" y="119"/>
                  <a:pt x="375" y="119"/>
                  <a:pt x="375" y="119"/>
                </a:cubicBezTo>
                <a:cubicBezTo>
                  <a:pt x="373" y="117"/>
                  <a:pt x="373" y="117"/>
                  <a:pt x="373" y="117"/>
                </a:cubicBezTo>
                <a:cubicBezTo>
                  <a:pt x="372" y="116"/>
                  <a:pt x="372" y="116"/>
                  <a:pt x="372" y="116"/>
                </a:cubicBezTo>
                <a:cubicBezTo>
                  <a:pt x="371" y="116"/>
                  <a:pt x="371" y="116"/>
                  <a:pt x="371" y="116"/>
                </a:cubicBezTo>
                <a:cubicBezTo>
                  <a:pt x="371" y="115"/>
                  <a:pt x="371" y="115"/>
                  <a:pt x="371" y="115"/>
                </a:cubicBezTo>
                <a:cubicBezTo>
                  <a:pt x="369" y="114"/>
                  <a:pt x="369" y="114"/>
                  <a:pt x="369" y="114"/>
                </a:cubicBezTo>
                <a:cubicBezTo>
                  <a:pt x="369" y="114"/>
                  <a:pt x="369" y="114"/>
                  <a:pt x="369" y="114"/>
                </a:cubicBezTo>
                <a:cubicBezTo>
                  <a:pt x="368" y="113"/>
                  <a:pt x="368" y="113"/>
                  <a:pt x="368" y="113"/>
                </a:cubicBezTo>
                <a:cubicBezTo>
                  <a:pt x="369" y="112"/>
                  <a:pt x="369" y="112"/>
                  <a:pt x="369" y="112"/>
                </a:cubicBezTo>
                <a:cubicBezTo>
                  <a:pt x="370" y="113"/>
                  <a:pt x="370" y="113"/>
                  <a:pt x="370" y="113"/>
                </a:cubicBezTo>
                <a:cubicBezTo>
                  <a:pt x="371" y="114"/>
                  <a:pt x="371" y="114"/>
                  <a:pt x="371" y="114"/>
                </a:cubicBezTo>
                <a:cubicBezTo>
                  <a:pt x="371" y="114"/>
                  <a:pt x="371" y="114"/>
                  <a:pt x="371" y="114"/>
                </a:cubicBezTo>
                <a:cubicBezTo>
                  <a:pt x="372" y="115"/>
                  <a:pt x="372" y="115"/>
                  <a:pt x="372" y="115"/>
                </a:cubicBezTo>
                <a:cubicBezTo>
                  <a:pt x="372" y="115"/>
                  <a:pt x="372" y="115"/>
                  <a:pt x="372" y="115"/>
                </a:cubicBezTo>
                <a:cubicBezTo>
                  <a:pt x="373" y="114"/>
                  <a:pt x="373" y="114"/>
                  <a:pt x="373" y="114"/>
                </a:cubicBezTo>
                <a:cubicBezTo>
                  <a:pt x="372" y="112"/>
                  <a:pt x="372" y="112"/>
                  <a:pt x="372" y="112"/>
                </a:cubicBezTo>
                <a:cubicBezTo>
                  <a:pt x="371" y="110"/>
                  <a:pt x="371" y="110"/>
                  <a:pt x="371" y="110"/>
                </a:cubicBezTo>
                <a:cubicBezTo>
                  <a:pt x="370" y="110"/>
                  <a:pt x="370" y="110"/>
                  <a:pt x="370" y="110"/>
                </a:cubicBezTo>
                <a:cubicBezTo>
                  <a:pt x="370" y="110"/>
                  <a:pt x="370" y="110"/>
                  <a:pt x="370" y="110"/>
                </a:cubicBezTo>
                <a:cubicBezTo>
                  <a:pt x="368" y="110"/>
                  <a:pt x="368" y="110"/>
                  <a:pt x="368" y="110"/>
                </a:cubicBezTo>
                <a:cubicBezTo>
                  <a:pt x="367" y="111"/>
                  <a:pt x="367" y="111"/>
                  <a:pt x="367" y="111"/>
                </a:cubicBezTo>
                <a:cubicBezTo>
                  <a:pt x="366" y="111"/>
                  <a:pt x="366" y="111"/>
                  <a:pt x="366" y="111"/>
                </a:cubicBezTo>
                <a:cubicBezTo>
                  <a:pt x="365" y="110"/>
                  <a:pt x="365" y="110"/>
                  <a:pt x="365" y="110"/>
                </a:cubicBezTo>
                <a:cubicBezTo>
                  <a:pt x="364" y="110"/>
                  <a:pt x="364" y="110"/>
                  <a:pt x="364" y="110"/>
                </a:cubicBezTo>
                <a:cubicBezTo>
                  <a:pt x="363" y="109"/>
                  <a:pt x="363" y="109"/>
                  <a:pt x="363" y="109"/>
                </a:cubicBezTo>
                <a:cubicBezTo>
                  <a:pt x="362" y="111"/>
                  <a:pt x="362" y="111"/>
                  <a:pt x="362" y="111"/>
                </a:cubicBezTo>
                <a:cubicBezTo>
                  <a:pt x="360" y="112"/>
                  <a:pt x="360" y="112"/>
                  <a:pt x="360" y="112"/>
                </a:cubicBezTo>
                <a:cubicBezTo>
                  <a:pt x="360" y="113"/>
                  <a:pt x="360" y="113"/>
                  <a:pt x="360" y="113"/>
                </a:cubicBezTo>
                <a:cubicBezTo>
                  <a:pt x="359" y="114"/>
                  <a:pt x="359" y="114"/>
                  <a:pt x="359" y="114"/>
                </a:cubicBezTo>
                <a:cubicBezTo>
                  <a:pt x="359" y="113"/>
                  <a:pt x="359" y="113"/>
                  <a:pt x="359" y="113"/>
                </a:cubicBezTo>
                <a:cubicBezTo>
                  <a:pt x="360" y="112"/>
                  <a:pt x="360" y="112"/>
                  <a:pt x="360" y="112"/>
                </a:cubicBezTo>
                <a:cubicBezTo>
                  <a:pt x="360" y="111"/>
                  <a:pt x="360" y="111"/>
                  <a:pt x="360" y="111"/>
                </a:cubicBezTo>
                <a:cubicBezTo>
                  <a:pt x="363" y="109"/>
                  <a:pt x="363" y="109"/>
                  <a:pt x="363" y="109"/>
                </a:cubicBezTo>
                <a:cubicBezTo>
                  <a:pt x="363" y="108"/>
                  <a:pt x="363" y="108"/>
                  <a:pt x="363" y="108"/>
                </a:cubicBezTo>
                <a:cubicBezTo>
                  <a:pt x="363" y="107"/>
                  <a:pt x="363" y="107"/>
                  <a:pt x="363" y="107"/>
                </a:cubicBezTo>
                <a:cubicBezTo>
                  <a:pt x="363" y="104"/>
                  <a:pt x="363" y="104"/>
                  <a:pt x="363" y="104"/>
                </a:cubicBezTo>
                <a:cubicBezTo>
                  <a:pt x="363" y="104"/>
                  <a:pt x="363" y="104"/>
                  <a:pt x="363" y="104"/>
                </a:cubicBezTo>
                <a:cubicBezTo>
                  <a:pt x="362" y="103"/>
                  <a:pt x="362" y="103"/>
                  <a:pt x="362" y="103"/>
                </a:cubicBezTo>
                <a:cubicBezTo>
                  <a:pt x="362" y="103"/>
                  <a:pt x="362" y="103"/>
                  <a:pt x="362" y="103"/>
                </a:cubicBezTo>
                <a:cubicBezTo>
                  <a:pt x="360" y="103"/>
                  <a:pt x="360" y="103"/>
                  <a:pt x="360" y="103"/>
                </a:cubicBezTo>
                <a:cubicBezTo>
                  <a:pt x="360" y="103"/>
                  <a:pt x="360" y="103"/>
                  <a:pt x="360" y="103"/>
                </a:cubicBezTo>
                <a:cubicBezTo>
                  <a:pt x="360" y="101"/>
                  <a:pt x="360" y="101"/>
                  <a:pt x="360" y="101"/>
                </a:cubicBezTo>
                <a:cubicBezTo>
                  <a:pt x="359" y="101"/>
                  <a:pt x="359" y="101"/>
                  <a:pt x="359" y="101"/>
                </a:cubicBezTo>
                <a:cubicBezTo>
                  <a:pt x="357" y="100"/>
                  <a:pt x="357" y="100"/>
                  <a:pt x="357" y="100"/>
                </a:cubicBezTo>
                <a:cubicBezTo>
                  <a:pt x="356" y="99"/>
                  <a:pt x="356" y="99"/>
                  <a:pt x="356" y="99"/>
                </a:cubicBezTo>
                <a:cubicBezTo>
                  <a:pt x="355" y="99"/>
                  <a:pt x="355" y="99"/>
                  <a:pt x="355" y="99"/>
                </a:cubicBezTo>
                <a:cubicBezTo>
                  <a:pt x="354" y="98"/>
                  <a:pt x="354" y="98"/>
                  <a:pt x="354" y="98"/>
                </a:cubicBezTo>
                <a:cubicBezTo>
                  <a:pt x="353" y="99"/>
                  <a:pt x="353" y="99"/>
                  <a:pt x="353" y="99"/>
                </a:cubicBezTo>
                <a:cubicBezTo>
                  <a:pt x="351" y="99"/>
                  <a:pt x="351" y="99"/>
                  <a:pt x="351" y="99"/>
                </a:cubicBezTo>
                <a:cubicBezTo>
                  <a:pt x="351" y="99"/>
                  <a:pt x="351" y="99"/>
                  <a:pt x="351" y="99"/>
                </a:cubicBezTo>
                <a:cubicBezTo>
                  <a:pt x="350" y="100"/>
                  <a:pt x="350" y="100"/>
                  <a:pt x="350" y="100"/>
                </a:cubicBezTo>
                <a:cubicBezTo>
                  <a:pt x="349" y="101"/>
                  <a:pt x="349" y="101"/>
                  <a:pt x="349" y="101"/>
                </a:cubicBezTo>
                <a:cubicBezTo>
                  <a:pt x="350" y="102"/>
                  <a:pt x="350" y="102"/>
                  <a:pt x="350" y="102"/>
                </a:cubicBezTo>
                <a:cubicBezTo>
                  <a:pt x="351" y="103"/>
                  <a:pt x="351" y="103"/>
                  <a:pt x="351" y="103"/>
                </a:cubicBezTo>
                <a:cubicBezTo>
                  <a:pt x="350" y="103"/>
                  <a:pt x="350" y="103"/>
                  <a:pt x="350" y="103"/>
                </a:cubicBezTo>
                <a:cubicBezTo>
                  <a:pt x="349" y="101"/>
                  <a:pt x="349" y="101"/>
                  <a:pt x="349" y="101"/>
                </a:cubicBezTo>
                <a:cubicBezTo>
                  <a:pt x="348" y="102"/>
                  <a:pt x="348" y="102"/>
                  <a:pt x="348" y="102"/>
                </a:cubicBezTo>
                <a:cubicBezTo>
                  <a:pt x="349" y="103"/>
                  <a:pt x="349" y="103"/>
                  <a:pt x="349" y="103"/>
                </a:cubicBezTo>
                <a:cubicBezTo>
                  <a:pt x="350" y="104"/>
                  <a:pt x="350" y="104"/>
                  <a:pt x="350" y="104"/>
                </a:cubicBezTo>
                <a:cubicBezTo>
                  <a:pt x="351" y="106"/>
                  <a:pt x="351" y="106"/>
                  <a:pt x="351" y="106"/>
                </a:cubicBezTo>
                <a:cubicBezTo>
                  <a:pt x="352" y="106"/>
                  <a:pt x="352" y="106"/>
                  <a:pt x="352" y="106"/>
                </a:cubicBezTo>
                <a:cubicBezTo>
                  <a:pt x="352" y="107"/>
                  <a:pt x="352" y="107"/>
                  <a:pt x="352" y="107"/>
                </a:cubicBezTo>
                <a:cubicBezTo>
                  <a:pt x="350" y="107"/>
                  <a:pt x="350" y="107"/>
                  <a:pt x="350" y="107"/>
                </a:cubicBezTo>
                <a:cubicBezTo>
                  <a:pt x="350" y="108"/>
                  <a:pt x="350" y="108"/>
                  <a:pt x="350" y="108"/>
                </a:cubicBezTo>
                <a:cubicBezTo>
                  <a:pt x="352" y="110"/>
                  <a:pt x="352" y="110"/>
                  <a:pt x="352" y="110"/>
                </a:cubicBezTo>
                <a:cubicBezTo>
                  <a:pt x="353" y="110"/>
                  <a:pt x="353" y="110"/>
                  <a:pt x="353" y="110"/>
                </a:cubicBezTo>
                <a:cubicBezTo>
                  <a:pt x="353" y="111"/>
                  <a:pt x="353" y="111"/>
                  <a:pt x="353" y="111"/>
                </a:cubicBezTo>
                <a:cubicBezTo>
                  <a:pt x="353" y="111"/>
                  <a:pt x="353" y="111"/>
                  <a:pt x="353" y="111"/>
                </a:cubicBezTo>
                <a:cubicBezTo>
                  <a:pt x="351" y="111"/>
                  <a:pt x="351" y="111"/>
                  <a:pt x="351" y="111"/>
                </a:cubicBezTo>
                <a:cubicBezTo>
                  <a:pt x="351" y="111"/>
                  <a:pt x="351" y="111"/>
                  <a:pt x="351" y="111"/>
                </a:cubicBezTo>
                <a:cubicBezTo>
                  <a:pt x="350" y="112"/>
                  <a:pt x="350" y="112"/>
                  <a:pt x="350" y="112"/>
                </a:cubicBezTo>
                <a:cubicBezTo>
                  <a:pt x="350" y="113"/>
                  <a:pt x="350" y="113"/>
                  <a:pt x="350" y="113"/>
                </a:cubicBezTo>
                <a:cubicBezTo>
                  <a:pt x="351" y="112"/>
                  <a:pt x="351" y="112"/>
                  <a:pt x="351" y="112"/>
                </a:cubicBezTo>
                <a:cubicBezTo>
                  <a:pt x="352" y="113"/>
                  <a:pt x="352" y="113"/>
                  <a:pt x="352" y="113"/>
                </a:cubicBezTo>
                <a:cubicBezTo>
                  <a:pt x="354" y="112"/>
                  <a:pt x="354" y="112"/>
                  <a:pt x="354" y="112"/>
                </a:cubicBezTo>
                <a:cubicBezTo>
                  <a:pt x="354" y="113"/>
                  <a:pt x="354" y="113"/>
                  <a:pt x="354" y="113"/>
                </a:cubicBezTo>
                <a:cubicBezTo>
                  <a:pt x="356" y="113"/>
                  <a:pt x="356" y="113"/>
                  <a:pt x="356" y="113"/>
                </a:cubicBezTo>
                <a:cubicBezTo>
                  <a:pt x="356" y="114"/>
                  <a:pt x="356" y="114"/>
                  <a:pt x="356" y="114"/>
                </a:cubicBezTo>
                <a:cubicBezTo>
                  <a:pt x="357" y="115"/>
                  <a:pt x="357" y="115"/>
                  <a:pt x="357" y="115"/>
                </a:cubicBezTo>
                <a:cubicBezTo>
                  <a:pt x="358" y="115"/>
                  <a:pt x="358" y="115"/>
                  <a:pt x="358" y="115"/>
                </a:cubicBezTo>
                <a:cubicBezTo>
                  <a:pt x="358" y="114"/>
                  <a:pt x="358" y="114"/>
                  <a:pt x="358" y="114"/>
                </a:cubicBezTo>
                <a:cubicBezTo>
                  <a:pt x="359" y="115"/>
                  <a:pt x="359" y="115"/>
                  <a:pt x="359" y="115"/>
                </a:cubicBezTo>
                <a:cubicBezTo>
                  <a:pt x="360" y="114"/>
                  <a:pt x="360" y="114"/>
                  <a:pt x="360" y="114"/>
                </a:cubicBezTo>
                <a:cubicBezTo>
                  <a:pt x="361" y="114"/>
                  <a:pt x="361" y="114"/>
                  <a:pt x="361" y="114"/>
                </a:cubicBezTo>
                <a:cubicBezTo>
                  <a:pt x="361" y="115"/>
                  <a:pt x="361" y="115"/>
                  <a:pt x="361" y="115"/>
                </a:cubicBezTo>
                <a:cubicBezTo>
                  <a:pt x="360" y="116"/>
                  <a:pt x="360" y="116"/>
                  <a:pt x="360" y="116"/>
                </a:cubicBezTo>
                <a:cubicBezTo>
                  <a:pt x="360" y="119"/>
                  <a:pt x="360" y="119"/>
                  <a:pt x="360" y="119"/>
                </a:cubicBezTo>
                <a:cubicBezTo>
                  <a:pt x="360" y="120"/>
                  <a:pt x="360" y="120"/>
                  <a:pt x="360" y="120"/>
                </a:cubicBezTo>
                <a:cubicBezTo>
                  <a:pt x="360" y="121"/>
                  <a:pt x="360" y="121"/>
                  <a:pt x="360" y="121"/>
                </a:cubicBezTo>
                <a:cubicBezTo>
                  <a:pt x="361" y="122"/>
                  <a:pt x="361" y="122"/>
                  <a:pt x="361" y="122"/>
                </a:cubicBezTo>
                <a:cubicBezTo>
                  <a:pt x="360" y="124"/>
                  <a:pt x="360" y="124"/>
                  <a:pt x="360" y="124"/>
                </a:cubicBezTo>
                <a:cubicBezTo>
                  <a:pt x="360" y="125"/>
                  <a:pt x="360" y="125"/>
                  <a:pt x="360" y="125"/>
                </a:cubicBezTo>
                <a:cubicBezTo>
                  <a:pt x="360" y="126"/>
                  <a:pt x="360" y="126"/>
                  <a:pt x="360" y="126"/>
                </a:cubicBezTo>
                <a:cubicBezTo>
                  <a:pt x="358" y="127"/>
                  <a:pt x="358" y="127"/>
                  <a:pt x="358" y="127"/>
                </a:cubicBezTo>
                <a:cubicBezTo>
                  <a:pt x="357" y="128"/>
                  <a:pt x="357" y="128"/>
                  <a:pt x="357" y="128"/>
                </a:cubicBezTo>
                <a:cubicBezTo>
                  <a:pt x="356" y="129"/>
                  <a:pt x="356" y="129"/>
                  <a:pt x="356" y="129"/>
                </a:cubicBezTo>
                <a:cubicBezTo>
                  <a:pt x="355" y="130"/>
                  <a:pt x="355" y="130"/>
                  <a:pt x="355" y="130"/>
                </a:cubicBezTo>
                <a:cubicBezTo>
                  <a:pt x="355" y="131"/>
                  <a:pt x="355" y="131"/>
                  <a:pt x="355" y="131"/>
                </a:cubicBezTo>
                <a:cubicBezTo>
                  <a:pt x="354" y="132"/>
                  <a:pt x="354" y="132"/>
                  <a:pt x="354" y="132"/>
                </a:cubicBezTo>
                <a:cubicBezTo>
                  <a:pt x="353" y="133"/>
                  <a:pt x="353" y="133"/>
                  <a:pt x="353" y="133"/>
                </a:cubicBezTo>
                <a:cubicBezTo>
                  <a:pt x="353" y="134"/>
                  <a:pt x="353" y="134"/>
                  <a:pt x="353" y="134"/>
                </a:cubicBezTo>
                <a:cubicBezTo>
                  <a:pt x="354" y="135"/>
                  <a:pt x="354" y="135"/>
                  <a:pt x="354" y="135"/>
                </a:cubicBezTo>
                <a:cubicBezTo>
                  <a:pt x="354" y="136"/>
                  <a:pt x="354" y="136"/>
                  <a:pt x="354" y="136"/>
                </a:cubicBezTo>
                <a:cubicBezTo>
                  <a:pt x="353" y="136"/>
                  <a:pt x="353" y="136"/>
                  <a:pt x="353" y="136"/>
                </a:cubicBezTo>
                <a:cubicBezTo>
                  <a:pt x="353" y="137"/>
                  <a:pt x="353" y="137"/>
                  <a:pt x="353" y="137"/>
                </a:cubicBezTo>
                <a:cubicBezTo>
                  <a:pt x="354" y="138"/>
                  <a:pt x="354" y="138"/>
                  <a:pt x="354" y="138"/>
                </a:cubicBezTo>
                <a:cubicBezTo>
                  <a:pt x="353" y="139"/>
                  <a:pt x="353" y="139"/>
                  <a:pt x="353" y="139"/>
                </a:cubicBezTo>
                <a:cubicBezTo>
                  <a:pt x="352" y="140"/>
                  <a:pt x="352" y="140"/>
                  <a:pt x="352" y="140"/>
                </a:cubicBezTo>
                <a:cubicBezTo>
                  <a:pt x="353" y="141"/>
                  <a:pt x="353" y="141"/>
                  <a:pt x="353" y="141"/>
                </a:cubicBezTo>
                <a:cubicBezTo>
                  <a:pt x="354" y="141"/>
                  <a:pt x="354" y="141"/>
                  <a:pt x="354" y="141"/>
                </a:cubicBezTo>
                <a:cubicBezTo>
                  <a:pt x="354" y="142"/>
                  <a:pt x="354" y="142"/>
                  <a:pt x="354" y="142"/>
                </a:cubicBezTo>
                <a:cubicBezTo>
                  <a:pt x="355" y="143"/>
                  <a:pt x="355" y="143"/>
                  <a:pt x="355" y="143"/>
                </a:cubicBezTo>
                <a:cubicBezTo>
                  <a:pt x="355" y="143"/>
                  <a:pt x="355" y="143"/>
                  <a:pt x="355" y="143"/>
                </a:cubicBezTo>
                <a:cubicBezTo>
                  <a:pt x="355" y="142"/>
                  <a:pt x="355" y="142"/>
                  <a:pt x="355" y="142"/>
                </a:cubicBezTo>
                <a:cubicBezTo>
                  <a:pt x="356" y="141"/>
                  <a:pt x="356" y="141"/>
                  <a:pt x="356" y="141"/>
                </a:cubicBezTo>
                <a:cubicBezTo>
                  <a:pt x="356" y="142"/>
                  <a:pt x="356" y="142"/>
                  <a:pt x="356" y="142"/>
                </a:cubicBezTo>
                <a:cubicBezTo>
                  <a:pt x="357" y="142"/>
                  <a:pt x="357" y="142"/>
                  <a:pt x="357" y="142"/>
                </a:cubicBezTo>
                <a:cubicBezTo>
                  <a:pt x="358" y="140"/>
                  <a:pt x="358" y="140"/>
                  <a:pt x="358" y="140"/>
                </a:cubicBezTo>
                <a:cubicBezTo>
                  <a:pt x="359" y="141"/>
                  <a:pt x="359" y="141"/>
                  <a:pt x="359" y="141"/>
                </a:cubicBezTo>
                <a:cubicBezTo>
                  <a:pt x="358" y="142"/>
                  <a:pt x="358" y="142"/>
                  <a:pt x="358" y="142"/>
                </a:cubicBezTo>
                <a:cubicBezTo>
                  <a:pt x="357" y="142"/>
                  <a:pt x="357" y="142"/>
                  <a:pt x="357" y="142"/>
                </a:cubicBezTo>
                <a:cubicBezTo>
                  <a:pt x="357" y="143"/>
                  <a:pt x="357" y="143"/>
                  <a:pt x="357" y="143"/>
                </a:cubicBezTo>
                <a:cubicBezTo>
                  <a:pt x="357" y="144"/>
                  <a:pt x="357" y="144"/>
                  <a:pt x="357" y="144"/>
                </a:cubicBezTo>
                <a:cubicBezTo>
                  <a:pt x="357" y="144"/>
                  <a:pt x="357" y="144"/>
                  <a:pt x="357" y="144"/>
                </a:cubicBezTo>
                <a:cubicBezTo>
                  <a:pt x="358" y="146"/>
                  <a:pt x="358" y="146"/>
                  <a:pt x="358" y="146"/>
                </a:cubicBezTo>
                <a:cubicBezTo>
                  <a:pt x="360" y="145"/>
                  <a:pt x="360" y="145"/>
                  <a:pt x="360" y="145"/>
                </a:cubicBezTo>
                <a:cubicBezTo>
                  <a:pt x="360" y="146"/>
                  <a:pt x="360" y="146"/>
                  <a:pt x="360" y="146"/>
                </a:cubicBezTo>
                <a:cubicBezTo>
                  <a:pt x="361" y="146"/>
                  <a:pt x="361" y="146"/>
                  <a:pt x="361" y="146"/>
                </a:cubicBezTo>
                <a:cubicBezTo>
                  <a:pt x="362" y="145"/>
                  <a:pt x="362" y="145"/>
                  <a:pt x="362" y="145"/>
                </a:cubicBezTo>
                <a:cubicBezTo>
                  <a:pt x="364" y="145"/>
                  <a:pt x="364" y="145"/>
                  <a:pt x="364" y="145"/>
                </a:cubicBezTo>
                <a:cubicBezTo>
                  <a:pt x="363" y="143"/>
                  <a:pt x="363" y="143"/>
                  <a:pt x="363" y="143"/>
                </a:cubicBezTo>
                <a:cubicBezTo>
                  <a:pt x="364" y="143"/>
                  <a:pt x="364" y="143"/>
                  <a:pt x="364" y="143"/>
                </a:cubicBezTo>
                <a:cubicBezTo>
                  <a:pt x="365" y="143"/>
                  <a:pt x="365" y="143"/>
                  <a:pt x="365" y="143"/>
                </a:cubicBezTo>
                <a:cubicBezTo>
                  <a:pt x="365" y="144"/>
                  <a:pt x="365" y="144"/>
                  <a:pt x="365" y="144"/>
                </a:cubicBezTo>
                <a:cubicBezTo>
                  <a:pt x="365" y="144"/>
                  <a:pt x="365" y="144"/>
                  <a:pt x="365" y="144"/>
                </a:cubicBezTo>
                <a:cubicBezTo>
                  <a:pt x="365" y="145"/>
                  <a:pt x="365" y="145"/>
                  <a:pt x="365" y="145"/>
                </a:cubicBezTo>
                <a:cubicBezTo>
                  <a:pt x="365" y="145"/>
                  <a:pt x="365" y="145"/>
                  <a:pt x="365" y="145"/>
                </a:cubicBezTo>
                <a:cubicBezTo>
                  <a:pt x="366" y="143"/>
                  <a:pt x="366" y="143"/>
                  <a:pt x="366" y="143"/>
                </a:cubicBezTo>
                <a:cubicBezTo>
                  <a:pt x="367" y="143"/>
                  <a:pt x="367" y="143"/>
                  <a:pt x="367" y="143"/>
                </a:cubicBezTo>
                <a:cubicBezTo>
                  <a:pt x="367" y="143"/>
                  <a:pt x="367" y="143"/>
                  <a:pt x="367" y="143"/>
                </a:cubicBezTo>
                <a:cubicBezTo>
                  <a:pt x="367" y="145"/>
                  <a:pt x="367" y="145"/>
                  <a:pt x="367" y="145"/>
                </a:cubicBezTo>
                <a:cubicBezTo>
                  <a:pt x="365" y="147"/>
                  <a:pt x="365" y="147"/>
                  <a:pt x="365" y="147"/>
                </a:cubicBezTo>
                <a:cubicBezTo>
                  <a:pt x="365" y="147"/>
                  <a:pt x="365" y="147"/>
                  <a:pt x="365" y="147"/>
                </a:cubicBezTo>
                <a:cubicBezTo>
                  <a:pt x="365" y="148"/>
                  <a:pt x="365" y="148"/>
                  <a:pt x="365" y="148"/>
                </a:cubicBezTo>
                <a:cubicBezTo>
                  <a:pt x="366" y="149"/>
                  <a:pt x="366" y="149"/>
                  <a:pt x="366" y="149"/>
                </a:cubicBezTo>
                <a:cubicBezTo>
                  <a:pt x="367" y="150"/>
                  <a:pt x="367" y="150"/>
                  <a:pt x="367" y="150"/>
                </a:cubicBezTo>
                <a:cubicBezTo>
                  <a:pt x="368" y="150"/>
                  <a:pt x="368" y="150"/>
                  <a:pt x="368" y="150"/>
                </a:cubicBezTo>
                <a:cubicBezTo>
                  <a:pt x="368" y="150"/>
                  <a:pt x="368" y="150"/>
                  <a:pt x="368" y="150"/>
                </a:cubicBezTo>
                <a:cubicBezTo>
                  <a:pt x="370" y="150"/>
                  <a:pt x="370" y="150"/>
                  <a:pt x="370" y="150"/>
                </a:cubicBezTo>
                <a:cubicBezTo>
                  <a:pt x="370" y="149"/>
                  <a:pt x="370" y="149"/>
                  <a:pt x="370" y="149"/>
                </a:cubicBezTo>
                <a:cubicBezTo>
                  <a:pt x="371" y="149"/>
                  <a:pt x="371" y="149"/>
                  <a:pt x="371" y="149"/>
                </a:cubicBezTo>
                <a:cubicBezTo>
                  <a:pt x="371" y="150"/>
                  <a:pt x="371" y="150"/>
                  <a:pt x="371" y="150"/>
                </a:cubicBezTo>
                <a:cubicBezTo>
                  <a:pt x="371" y="151"/>
                  <a:pt x="371" y="151"/>
                  <a:pt x="371" y="151"/>
                </a:cubicBezTo>
                <a:cubicBezTo>
                  <a:pt x="372" y="151"/>
                  <a:pt x="372" y="151"/>
                  <a:pt x="372" y="151"/>
                </a:cubicBezTo>
                <a:cubicBezTo>
                  <a:pt x="373" y="151"/>
                  <a:pt x="373" y="151"/>
                  <a:pt x="373" y="151"/>
                </a:cubicBezTo>
                <a:cubicBezTo>
                  <a:pt x="374" y="151"/>
                  <a:pt x="374" y="151"/>
                  <a:pt x="374" y="151"/>
                </a:cubicBezTo>
                <a:cubicBezTo>
                  <a:pt x="373" y="150"/>
                  <a:pt x="373" y="150"/>
                  <a:pt x="373" y="150"/>
                </a:cubicBezTo>
                <a:cubicBezTo>
                  <a:pt x="373" y="149"/>
                  <a:pt x="373" y="149"/>
                  <a:pt x="373" y="149"/>
                </a:cubicBezTo>
                <a:cubicBezTo>
                  <a:pt x="374" y="148"/>
                  <a:pt x="374" y="148"/>
                  <a:pt x="374" y="148"/>
                </a:cubicBezTo>
                <a:cubicBezTo>
                  <a:pt x="374" y="149"/>
                  <a:pt x="374" y="149"/>
                  <a:pt x="374" y="149"/>
                </a:cubicBezTo>
                <a:cubicBezTo>
                  <a:pt x="374" y="150"/>
                  <a:pt x="374" y="150"/>
                  <a:pt x="374" y="150"/>
                </a:cubicBezTo>
                <a:cubicBezTo>
                  <a:pt x="374" y="151"/>
                  <a:pt x="374" y="151"/>
                  <a:pt x="374" y="151"/>
                </a:cubicBezTo>
                <a:cubicBezTo>
                  <a:pt x="375" y="151"/>
                  <a:pt x="375" y="151"/>
                  <a:pt x="375" y="151"/>
                </a:cubicBezTo>
                <a:cubicBezTo>
                  <a:pt x="375" y="150"/>
                  <a:pt x="375" y="150"/>
                  <a:pt x="375" y="150"/>
                </a:cubicBezTo>
                <a:cubicBezTo>
                  <a:pt x="376" y="150"/>
                  <a:pt x="376" y="150"/>
                  <a:pt x="376" y="150"/>
                </a:cubicBezTo>
                <a:cubicBezTo>
                  <a:pt x="377" y="149"/>
                  <a:pt x="377" y="149"/>
                  <a:pt x="377" y="149"/>
                </a:cubicBezTo>
                <a:cubicBezTo>
                  <a:pt x="377" y="150"/>
                  <a:pt x="377" y="150"/>
                  <a:pt x="377" y="150"/>
                </a:cubicBezTo>
                <a:cubicBezTo>
                  <a:pt x="376" y="151"/>
                  <a:pt x="376" y="151"/>
                  <a:pt x="376" y="151"/>
                </a:cubicBezTo>
                <a:cubicBezTo>
                  <a:pt x="376" y="152"/>
                  <a:pt x="376" y="152"/>
                  <a:pt x="376" y="152"/>
                </a:cubicBezTo>
                <a:cubicBezTo>
                  <a:pt x="378" y="152"/>
                  <a:pt x="378" y="152"/>
                  <a:pt x="378" y="152"/>
                </a:cubicBezTo>
                <a:cubicBezTo>
                  <a:pt x="379" y="151"/>
                  <a:pt x="379" y="151"/>
                  <a:pt x="379" y="151"/>
                </a:cubicBezTo>
                <a:cubicBezTo>
                  <a:pt x="380" y="149"/>
                  <a:pt x="380" y="149"/>
                  <a:pt x="380" y="149"/>
                </a:cubicBezTo>
                <a:cubicBezTo>
                  <a:pt x="380" y="150"/>
                  <a:pt x="380" y="150"/>
                  <a:pt x="380" y="150"/>
                </a:cubicBezTo>
                <a:cubicBezTo>
                  <a:pt x="379" y="151"/>
                  <a:pt x="379" y="151"/>
                  <a:pt x="379" y="151"/>
                </a:cubicBezTo>
                <a:cubicBezTo>
                  <a:pt x="379" y="152"/>
                  <a:pt x="379" y="152"/>
                  <a:pt x="379" y="152"/>
                </a:cubicBezTo>
                <a:cubicBezTo>
                  <a:pt x="381" y="151"/>
                  <a:pt x="381" y="151"/>
                  <a:pt x="381" y="151"/>
                </a:cubicBezTo>
                <a:cubicBezTo>
                  <a:pt x="381" y="150"/>
                  <a:pt x="381" y="150"/>
                  <a:pt x="381" y="150"/>
                </a:cubicBezTo>
                <a:cubicBezTo>
                  <a:pt x="382" y="149"/>
                  <a:pt x="382" y="149"/>
                  <a:pt x="382" y="149"/>
                </a:cubicBezTo>
                <a:cubicBezTo>
                  <a:pt x="381" y="152"/>
                  <a:pt x="381" y="152"/>
                  <a:pt x="381" y="152"/>
                </a:cubicBezTo>
                <a:cubicBezTo>
                  <a:pt x="382" y="152"/>
                  <a:pt x="382" y="152"/>
                  <a:pt x="382" y="152"/>
                </a:cubicBezTo>
                <a:cubicBezTo>
                  <a:pt x="383" y="153"/>
                  <a:pt x="383" y="153"/>
                  <a:pt x="383" y="153"/>
                </a:cubicBezTo>
                <a:cubicBezTo>
                  <a:pt x="385" y="154"/>
                  <a:pt x="385" y="154"/>
                  <a:pt x="385" y="154"/>
                </a:cubicBezTo>
                <a:cubicBezTo>
                  <a:pt x="386" y="153"/>
                  <a:pt x="386" y="153"/>
                  <a:pt x="386" y="153"/>
                </a:cubicBezTo>
                <a:cubicBezTo>
                  <a:pt x="386" y="153"/>
                  <a:pt x="386" y="153"/>
                  <a:pt x="386" y="153"/>
                </a:cubicBezTo>
                <a:cubicBezTo>
                  <a:pt x="387" y="154"/>
                  <a:pt x="387" y="154"/>
                  <a:pt x="387" y="154"/>
                </a:cubicBezTo>
                <a:cubicBezTo>
                  <a:pt x="388" y="153"/>
                  <a:pt x="388" y="153"/>
                  <a:pt x="388" y="153"/>
                </a:cubicBezTo>
                <a:cubicBezTo>
                  <a:pt x="389" y="153"/>
                  <a:pt x="389" y="153"/>
                  <a:pt x="389" y="153"/>
                </a:cubicBezTo>
                <a:cubicBezTo>
                  <a:pt x="389" y="151"/>
                  <a:pt x="389" y="151"/>
                  <a:pt x="389" y="151"/>
                </a:cubicBezTo>
                <a:cubicBezTo>
                  <a:pt x="390" y="150"/>
                  <a:pt x="390" y="150"/>
                  <a:pt x="390" y="150"/>
                </a:cubicBezTo>
                <a:cubicBezTo>
                  <a:pt x="391" y="149"/>
                  <a:pt x="391" y="149"/>
                  <a:pt x="391" y="149"/>
                </a:cubicBezTo>
                <a:cubicBezTo>
                  <a:pt x="390" y="148"/>
                  <a:pt x="390" y="148"/>
                  <a:pt x="390" y="148"/>
                </a:cubicBezTo>
                <a:cubicBezTo>
                  <a:pt x="391" y="147"/>
                  <a:pt x="391" y="147"/>
                  <a:pt x="391" y="147"/>
                </a:cubicBezTo>
                <a:cubicBezTo>
                  <a:pt x="391" y="147"/>
                  <a:pt x="391" y="147"/>
                  <a:pt x="391" y="147"/>
                </a:cubicBezTo>
                <a:cubicBezTo>
                  <a:pt x="391" y="149"/>
                  <a:pt x="391" y="149"/>
                  <a:pt x="391" y="149"/>
                </a:cubicBezTo>
                <a:cubicBezTo>
                  <a:pt x="392" y="149"/>
                  <a:pt x="392" y="149"/>
                  <a:pt x="392" y="149"/>
                </a:cubicBezTo>
                <a:cubicBezTo>
                  <a:pt x="392" y="150"/>
                  <a:pt x="392" y="150"/>
                  <a:pt x="392" y="150"/>
                </a:cubicBezTo>
                <a:cubicBezTo>
                  <a:pt x="391" y="150"/>
                  <a:pt x="391" y="150"/>
                  <a:pt x="391" y="150"/>
                </a:cubicBezTo>
                <a:cubicBezTo>
                  <a:pt x="390" y="152"/>
                  <a:pt x="390" y="152"/>
                  <a:pt x="390" y="152"/>
                </a:cubicBezTo>
                <a:cubicBezTo>
                  <a:pt x="391" y="155"/>
                  <a:pt x="391" y="155"/>
                  <a:pt x="391" y="155"/>
                </a:cubicBezTo>
                <a:close/>
                <a:moveTo>
                  <a:pt x="348" y="98"/>
                </a:moveTo>
                <a:cubicBezTo>
                  <a:pt x="349" y="98"/>
                  <a:pt x="349" y="98"/>
                  <a:pt x="349" y="98"/>
                </a:cubicBezTo>
                <a:cubicBezTo>
                  <a:pt x="349" y="97"/>
                  <a:pt x="349" y="97"/>
                  <a:pt x="349" y="97"/>
                </a:cubicBezTo>
                <a:cubicBezTo>
                  <a:pt x="348" y="97"/>
                  <a:pt x="348" y="97"/>
                  <a:pt x="348" y="97"/>
                </a:cubicBezTo>
                <a:cubicBezTo>
                  <a:pt x="347" y="97"/>
                  <a:pt x="347" y="97"/>
                  <a:pt x="347" y="97"/>
                </a:cubicBezTo>
                <a:cubicBezTo>
                  <a:pt x="348" y="98"/>
                  <a:pt x="348" y="98"/>
                  <a:pt x="348" y="98"/>
                </a:cubicBezTo>
                <a:close/>
                <a:moveTo>
                  <a:pt x="345" y="106"/>
                </a:moveTo>
                <a:cubicBezTo>
                  <a:pt x="346" y="105"/>
                  <a:pt x="346" y="105"/>
                  <a:pt x="346" y="105"/>
                </a:cubicBezTo>
                <a:cubicBezTo>
                  <a:pt x="347" y="104"/>
                  <a:pt x="347" y="104"/>
                  <a:pt x="347" y="104"/>
                </a:cubicBezTo>
                <a:cubicBezTo>
                  <a:pt x="347" y="105"/>
                  <a:pt x="347" y="105"/>
                  <a:pt x="347" y="105"/>
                </a:cubicBezTo>
                <a:cubicBezTo>
                  <a:pt x="346" y="105"/>
                  <a:pt x="346" y="105"/>
                  <a:pt x="346" y="105"/>
                </a:cubicBezTo>
                <a:cubicBezTo>
                  <a:pt x="345" y="106"/>
                  <a:pt x="345" y="106"/>
                  <a:pt x="345" y="106"/>
                </a:cubicBezTo>
                <a:close/>
                <a:moveTo>
                  <a:pt x="315" y="116"/>
                </a:moveTo>
                <a:cubicBezTo>
                  <a:pt x="315" y="117"/>
                  <a:pt x="315" y="117"/>
                  <a:pt x="315" y="117"/>
                </a:cubicBezTo>
                <a:cubicBezTo>
                  <a:pt x="315" y="118"/>
                  <a:pt x="315" y="118"/>
                  <a:pt x="315" y="118"/>
                </a:cubicBezTo>
                <a:cubicBezTo>
                  <a:pt x="316" y="117"/>
                  <a:pt x="316" y="117"/>
                  <a:pt x="316" y="117"/>
                </a:cubicBezTo>
                <a:cubicBezTo>
                  <a:pt x="315" y="116"/>
                  <a:pt x="315" y="116"/>
                  <a:pt x="315" y="116"/>
                </a:cubicBezTo>
                <a:close/>
                <a:moveTo>
                  <a:pt x="335" y="97"/>
                </a:moveTo>
                <a:cubicBezTo>
                  <a:pt x="335" y="98"/>
                  <a:pt x="335" y="98"/>
                  <a:pt x="335" y="98"/>
                </a:cubicBezTo>
                <a:cubicBezTo>
                  <a:pt x="336" y="99"/>
                  <a:pt x="336" y="99"/>
                  <a:pt x="336" y="99"/>
                </a:cubicBezTo>
                <a:cubicBezTo>
                  <a:pt x="336" y="100"/>
                  <a:pt x="336" y="100"/>
                  <a:pt x="336" y="100"/>
                </a:cubicBezTo>
                <a:cubicBezTo>
                  <a:pt x="336" y="99"/>
                  <a:pt x="336" y="99"/>
                  <a:pt x="336" y="99"/>
                </a:cubicBezTo>
                <a:cubicBezTo>
                  <a:pt x="336" y="98"/>
                  <a:pt x="336" y="98"/>
                  <a:pt x="336" y="98"/>
                </a:cubicBezTo>
                <a:cubicBezTo>
                  <a:pt x="335" y="97"/>
                  <a:pt x="335" y="97"/>
                  <a:pt x="335" y="97"/>
                </a:cubicBezTo>
                <a:cubicBezTo>
                  <a:pt x="335" y="97"/>
                  <a:pt x="335" y="97"/>
                  <a:pt x="335" y="97"/>
                </a:cubicBezTo>
                <a:close/>
                <a:moveTo>
                  <a:pt x="325" y="98"/>
                </a:moveTo>
                <a:cubicBezTo>
                  <a:pt x="325" y="99"/>
                  <a:pt x="325" y="99"/>
                  <a:pt x="325" y="99"/>
                </a:cubicBezTo>
                <a:cubicBezTo>
                  <a:pt x="326" y="99"/>
                  <a:pt x="326" y="99"/>
                  <a:pt x="326" y="99"/>
                </a:cubicBezTo>
                <a:cubicBezTo>
                  <a:pt x="327" y="99"/>
                  <a:pt x="327" y="99"/>
                  <a:pt x="327" y="99"/>
                </a:cubicBezTo>
                <a:cubicBezTo>
                  <a:pt x="328" y="98"/>
                  <a:pt x="328" y="98"/>
                  <a:pt x="328" y="98"/>
                </a:cubicBezTo>
                <a:cubicBezTo>
                  <a:pt x="329" y="99"/>
                  <a:pt x="329" y="99"/>
                  <a:pt x="329" y="99"/>
                </a:cubicBezTo>
                <a:cubicBezTo>
                  <a:pt x="331" y="97"/>
                  <a:pt x="331" y="97"/>
                  <a:pt x="331" y="97"/>
                </a:cubicBezTo>
                <a:cubicBezTo>
                  <a:pt x="332" y="97"/>
                  <a:pt x="332" y="97"/>
                  <a:pt x="332" y="97"/>
                </a:cubicBezTo>
                <a:cubicBezTo>
                  <a:pt x="333" y="97"/>
                  <a:pt x="333" y="97"/>
                  <a:pt x="333" y="97"/>
                </a:cubicBezTo>
                <a:cubicBezTo>
                  <a:pt x="333" y="97"/>
                  <a:pt x="333" y="97"/>
                  <a:pt x="333" y="97"/>
                </a:cubicBezTo>
                <a:cubicBezTo>
                  <a:pt x="331" y="96"/>
                  <a:pt x="331" y="96"/>
                  <a:pt x="331" y="96"/>
                </a:cubicBezTo>
                <a:cubicBezTo>
                  <a:pt x="329" y="97"/>
                  <a:pt x="329" y="97"/>
                  <a:pt x="329" y="97"/>
                </a:cubicBezTo>
                <a:cubicBezTo>
                  <a:pt x="329" y="97"/>
                  <a:pt x="328" y="97"/>
                  <a:pt x="328" y="97"/>
                </a:cubicBezTo>
                <a:cubicBezTo>
                  <a:pt x="328" y="97"/>
                  <a:pt x="327" y="97"/>
                  <a:pt x="327" y="97"/>
                </a:cubicBezTo>
                <a:cubicBezTo>
                  <a:pt x="326" y="97"/>
                  <a:pt x="326" y="97"/>
                  <a:pt x="326" y="97"/>
                </a:cubicBezTo>
                <a:cubicBezTo>
                  <a:pt x="325" y="98"/>
                  <a:pt x="325" y="98"/>
                  <a:pt x="325" y="98"/>
                </a:cubicBezTo>
                <a:close/>
                <a:moveTo>
                  <a:pt x="316" y="101"/>
                </a:moveTo>
                <a:cubicBezTo>
                  <a:pt x="315" y="100"/>
                  <a:pt x="315" y="100"/>
                  <a:pt x="315" y="100"/>
                </a:cubicBezTo>
                <a:cubicBezTo>
                  <a:pt x="313" y="100"/>
                  <a:pt x="313" y="100"/>
                  <a:pt x="313" y="100"/>
                </a:cubicBezTo>
                <a:cubicBezTo>
                  <a:pt x="312" y="100"/>
                  <a:pt x="312" y="100"/>
                  <a:pt x="312" y="100"/>
                </a:cubicBezTo>
                <a:cubicBezTo>
                  <a:pt x="312" y="98"/>
                  <a:pt x="312" y="98"/>
                  <a:pt x="312" y="98"/>
                </a:cubicBezTo>
                <a:cubicBezTo>
                  <a:pt x="313" y="97"/>
                  <a:pt x="313" y="97"/>
                  <a:pt x="313" y="97"/>
                </a:cubicBezTo>
                <a:cubicBezTo>
                  <a:pt x="313" y="96"/>
                  <a:pt x="313" y="96"/>
                  <a:pt x="313" y="96"/>
                </a:cubicBezTo>
                <a:cubicBezTo>
                  <a:pt x="313" y="96"/>
                  <a:pt x="313" y="96"/>
                  <a:pt x="313" y="96"/>
                </a:cubicBezTo>
                <a:cubicBezTo>
                  <a:pt x="313" y="95"/>
                  <a:pt x="313" y="95"/>
                  <a:pt x="313" y="95"/>
                </a:cubicBezTo>
                <a:cubicBezTo>
                  <a:pt x="314" y="94"/>
                  <a:pt x="314" y="94"/>
                  <a:pt x="314" y="94"/>
                </a:cubicBezTo>
                <a:cubicBezTo>
                  <a:pt x="315" y="94"/>
                  <a:pt x="315" y="94"/>
                  <a:pt x="315" y="94"/>
                </a:cubicBezTo>
                <a:cubicBezTo>
                  <a:pt x="316" y="94"/>
                  <a:pt x="316" y="94"/>
                  <a:pt x="316" y="94"/>
                </a:cubicBezTo>
                <a:cubicBezTo>
                  <a:pt x="316" y="95"/>
                  <a:pt x="316" y="95"/>
                  <a:pt x="316" y="95"/>
                </a:cubicBezTo>
                <a:cubicBezTo>
                  <a:pt x="316" y="95"/>
                  <a:pt x="316" y="95"/>
                  <a:pt x="316" y="95"/>
                </a:cubicBezTo>
                <a:cubicBezTo>
                  <a:pt x="316" y="96"/>
                  <a:pt x="316" y="96"/>
                  <a:pt x="316" y="96"/>
                </a:cubicBezTo>
                <a:cubicBezTo>
                  <a:pt x="315" y="96"/>
                  <a:pt x="315" y="96"/>
                  <a:pt x="315" y="96"/>
                </a:cubicBezTo>
                <a:cubicBezTo>
                  <a:pt x="316" y="96"/>
                  <a:pt x="316" y="96"/>
                  <a:pt x="316" y="96"/>
                </a:cubicBezTo>
                <a:cubicBezTo>
                  <a:pt x="317" y="96"/>
                  <a:pt x="317" y="96"/>
                  <a:pt x="317" y="96"/>
                </a:cubicBezTo>
                <a:cubicBezTo>
                  <a:pt x="317" y="97"/>
                  <a:pt x="317" y="97"/>
                  <a:pt x="317" y="97"/>
                </a:cubicBezTo>
                <a:cubicBezTo>
                  <a:pt x="317" y="98"/>
                  <a:pt x="317" y="98"/>
                  <a:pt x="317" y="98"/>
                </a:cubicBezTo>
                <a:cubicBezTo>
                  <a:pt x="317" y="99"/>
                  <a:pt x="317" y="99"/>
                  <a:pt x="317" y="99"/>
                </a:cubicBezTo>
                <a:cubicBezTo>
                  <a:pt x="317" y="100"/>
                  <a:pt x="317" y="100"/>
                  <a:pt x="317" y="100"/>
                </a:cubicBezTo>
                <a:cubicBezTo>
                  <a:pt x="317" y="101"/>
                  <a:pt x="317" y="101"/>
                  <a:pt x="317" y="101"/>
                </a:cubicBezTo>
                <a:cubicBezTo>
                  <a:pt x="316" y="101"/>
                  <a:pt x="316" y="101"/>
                  <a:pt x="316" y="101"/>
                </a:cubicBezTo>
                <a:close/>
                <a:moveTo>
                  <a:pt x="314" y="106"/>
                </a:moveTo>
                <a:cubicBezTo>
                  <a:pt x="317" y="106"/>
                  <a:pt x="317" y="106"/>
                  <a:pt x="317" y="106"/>
                </a:cubicBezTo>
                <a:cubicBezTo>
                  <a:pt x="317" y="105"/>
                  <a:pt x="317" y="105"/>
                  <a:pt x="317" y="105"/>
                </a:cubicBezTo>
                <a:cubicBezTo>
                  <a:pt x="318" y="103"/>
                  <a:pt x="318" y="103"/>
                  <a:pt x="318" y="103"/>
                </a:cubicBezTo>
                <a:cubicBezTo>
                  <a:pt x="317" y="102"/>
                  <a:pt x="317" y="102"/>
                  <a:pt x="317" y="102"/>
                </a:cubicBezTo>
                <a:cubicBezTo>
                  <a:pt x="316" y="103"/>
                  <a:pt x="316" y="103"/>
                  <a:pt x="316" y="103"/>
                </a:cubicBezTo>
                <a:cubicBezTo>
                  <a:pt x="315" y="102"/>
                  <a:pt x="315" y="102"/>
                  <a:pt x="315" y="102"/>
                </a:cubicBezTo>
                <a:cubicBezTo>
                  <a:pt x="313" y="102"/>
                  <a:pt x="313" y="102"/>
                  <a:pt x="313" y="102"/>
                </a:cubicBezTo>
                <a:cubicBezTo>
                  <a:pt x="312" y="102"/>
                  <a:pt x="312" y="102"/>
                  <a:pt x="312" y="102"/>
                </a:cubicBezTo>
                <a:cubicBezTo>
                  <a:pt x="311" y="102"/>
                  <a:pt x="311" y="102"/>
                  <a:pt x="311" y="102"/>
                </a:cubicBezTo>
                <a:cubicBezTo>
                  <a:pt x="311" y="102"/>
                  <a:pt x="311" y="102"/>
                  <a:pt x="311" y="102"/>
                </a:cubicBezTo>
                <a:cubicBezTo>
                  <a:pt x="310" y="103"/>
                  <a:pt x="310" y="103"/>
                  <a:pt x="310" y="103"/>
                </a:cubicBezTo>
                <a:cubicBezTo>
                  <a:pt x="310" y="103"/>
                  <a:pt x="310" y="103"/>
                  <a:pt x="310" y="103"/>
                </a:cubicBezTo>
                <a:cubicBezTo>
                  <a:pt x="310" y="104"/>
                  <a:pt x="310" y="104"/>
                  <a:pt x="310" y="104"/>
                </a:cubicBezTo>
                <a:cubicBezTo>
                  <a:pt x="310" y="104"/>
                  <a:pt x="310" y="104"/>
                  <a:pt x="310" y="104"/>
                </a:cubicBezTo>
                <a:cubicBezTo>
                  <a:pt x="311" y="105"/>
                  <a:pt x="311" y="105"/>
                  <a:pt x="311" y="105"/>
                </a:cubicBezTo>
                <a:cubicBezTo>
                  <a:pt x="312" y="105"/>
                  <a:pt x="312" y="105"/>
                  <a:pt x="312" y="105"/>
                </a:cubicBezTo>
                <a:cubicBezTo>
                  <a:pt x="313" y="106"/>
                  <a:pt x="313" y="106"/>
                  <a:pt x="313" y="106"/>
                </a:cubicBezTo>
                <a:cubicBezTo>
                  <a:pt x="314" y="106"/>
                  <a:pt x="314" y="106"/>
                  <a:pt x="314" y="106"/>
                </a:cubicBezTo>
                <a:close/>
                <a:moveTo>
                  <a:pt x="310" y="108"/>
                </a:moveTo>
                <a:cubicBezTo>
                  <a:pt x="312" y="108"/>
                  <a:pt x="312" y="108"/>
                  <a:pt x="312" y="108"/>
                </a:cubicBezTo>
                <a:cubicBezTo>
                  <a:pt x="314" y="108"/>
                  <a:pt x="314" y="108"/>
                  <a:pt x="314" y="108"/>
                </a:cubicBezTo>
                <a:cubicBezTo>
                  <a:pt x="315" y="108"/>
                  <a:pt x="315" y="108"/>
                  <a:pt x="315" y="108"/>
                </a:cubicBezTo>
                <a:cubicBezTo>
                  <a:pt x="315" y="108"/>
                  <a:pt x="315" y="108"/>
                  <a:pt x="315" y="108"/>
                </a:cubicBezTo>
                <a:cubicBezTo>
                  <a:pt x="316" y="108"/>
                  <a:pt x="316" y="108"/>
                  <a:pt x="316" y="108"/>
                </a:cubicBezTo>
                <a:cubicBezTo>
                  <a:pt x="317" y="108"/>
                  <a:pt x="317" y="108"/>
                  <a:pt x="317" y="108"/>
                </a:cubicBezTo>
                <a:cubicBezTo>
                  <a:pt x="317" y="107"/>
                  <a:pt x="317" y="107"/>
                  <a:pt x="317" y="107"/>
                </a:cubicBezTo>
                <a:cubicBezTo>
                  <a:pt x="316" y="107"/>
                  <a:pt x="316" y="107"/>
                  <a:pt x="316" y="107"/>
                </a:cubicBezTo>
                <a:cubicBezTo>
                  <a:pt x="313" y="107"/>
                  <a:pt x="313" y="107"/>
                  <a:pt x="313" y="107"/>
                </a:cubicBezTo>
                <a:cubicBezTo>
                  <a:pt x="312" y="107"/>
                  <a:pt x="312" y="107"/>
                  <a:pt x="312" y="107"/>
                </a:cubicBezTo>
                <a:cubicBezTo>
                  <a:pt x="312" y="107"/>
                  <a:pt x="312" y="107"/>
                  <a:pt x="312" y="107"/>
                </a:cubicBezTo>
                <a:cubicBezTo>
                  <a:pt x="310" y="107"/>
                  <a:pt x="310" y="107"/>
                  <a:pt x="310" y="107"/>
                </a:cubicBezTo>
                <a:cubicBezTo>
                  <a:pt x="309" y="107"/>
                  <a:pt x="309" y="107"/>
                  <a:pt x="309" y="107"/>
                </a:cubicBezTo>
                <a:cubicBezTo>
                  <a:pt x="310" y="108"/>
                  <a:pt x="310" y="108"/>
                  <a:pt x="310" y="108"/>
                </a:cubicBezTo>
                <a:close/>
                <a:moveTo>
                  <a:pt x="309" y="111"/>
                </a:moveTo>
                <a:cubicBezTo>
                  <a:pt x="310" y="110"/>
                  <a:pt x="310" y="110"/>
                  <a:pt x="310" y="110"/>
                </a:cubicBezTo>
                <a:cubicBezTo>
                  <a:pt x="311" y="110"/>
                  <a:pt x="311" y="110"/>
                  <a:pt x="311" y="110"/>
                </a:cubicBezTo>
                <a:cubicBezTo>
                  <a:pt x="312" y="109"/>
                  <a:pt x="312" y="109"/>
                  <a:pt x="312" y="109"/>
                </a:cubicBezTo>
                <a:cubicBezTo>
                  <a:pt x="315" y="109"/>
                  <a:pt x="315" y="109"/>
                  <a:pt x="315" y="109"/>
                </a:cubicBezTo>
                <a:cubicBezTo>
                  <a:pt x="316" y="109"/>
                  <a:pt x="316" y="109"/>
                  <a:pt x="316" y="109"/>
                </a:cubicBezTo>
                <a:cubicBezTo>
                  <a:pt x="316" y="109"/>
                  <a:pt x="316" y="109"/>
                  <a:pt x="316" y="109"/>
                </a:cubicBezTo>
                <a:cubicBezTo>
                  <a:pt x="317" y="109"/>
                  <a:pt x="317" y="109"/>
                  <a:pt x="317" y="109"/>
                </a:cubicBezTo>
                <a:cubicBezTo>
                  <a:pt x="317" y="109"/>
                  <a:pt x="317" y="109"/>
                  <a:pt x="317" y="109"/>
                </a:cubicBezTo>
                <a:cubicBezTo>
                  <a:pt x="316" y="110"/>
                  <a:pt x="316" y="110"/>
                  <a:pt x="316" y="110"/>
                </a:cubicBezTo>
                <a:cubicBezTo>
                  <a:pt x="315" y="110"/>
                  <a:pt x="315" y="110"/>
                  <a:pt x="315" y="110"/>
                </a:cubicBezTo>
                <a:cubicBezTo>
                  <a:pt x="314" y="110"/>
                  <a:pt x="314" y="110"/>
                  <a:pt x="314" y="110"/>
                </a:cubicBezTo>
                <a:cubicBezTo>
                  <a:pt x="314" y="111"/>
                  <a:pt x="314" y="111"/>
                  <a:pt x="314" y="111"/>
                </a:cubicBezTo>
                <a:cubicBezTo>
                  <a:pt x="312" y="112"/>
                  <a:pt x="312" y="112"/>
                  <a:pt x="312" y="112"/>
                </a:cubicBezTo>
                <a:cubicBezTo>
                  <a:pt x="311" y="111"/>
                  <a:pt x="311" y="111"/>
                  <a:pt x="311" y="111"/>
                </a:cubicBezTo>
                <a:cubicBezTo>
                  <a:pt x="310" y="111"/>
                  <a:pt x="310" y="111"/>
                  <a:pt x="310" y="111"/>
                </a:cubicBezTo>
                <a:cubicBezTo>
                  <a:pt x="309" y="112"/>
                  <a:pt x="309" y="112"/>
                  <a:pt x="309" y="112"/>
                </a:cubicBezTo>
                <a:cubicBezTo>
                  <a:pt x="309" y="111"/>
                  <a:pt x="309" y="111"/>
                  <a:pt x="309" y="111"/>
                </a:cubicBezTo>
                <a:cubicBezTo>
                  <a:pt x="309" y="111"/>
                  <a:pt x="309" y="111"/>
                  <a:pt x="309" y="111"/>
                </a:cubicBezTo>
                <a:close/>
                <a:moveTo>
                  <a:pt x="280" y="73"/>
                </a:moveTo>
                <a:cubicBezTo>
                  <a:pt x="279" y="73"/>
                  <a:pt x="279" y="73"/>
                  <a:pt x="279" y="73"/>
                </a:cubicBezTo>
                <a:cubicBezTo>
                  <a:pt x="279" y="72"/>
                  <a:pt x="279" y="72"/>
                  <a:pt x="279" y="72"/>
                </a:cubicBezTo>
                <a:cubicBezTo>
                  <a:pt x="281" y="72"/>
                  <a:pt x="281" y="72"/>
                  <a:pt x="281" y="72"/>
                </a:cubicBezTo>
                <a:cubicBezTo>
                  <a:pt x="280" y="73"/>
                  <a:pt x="280" y="73"/>
                  <a:pt x="280" y="73"/>
                </a:cubicBezTo>
                <a:cubicBezTo>
                  <a:pt x="280" y="73"/>
                  <a:pt x="280" y="73"/>
                  <a:pt x="280" y="73"/>
                </a:cubicBezTo>
                <a:close/>
                <a:moveTo>
                  <a:pt x="271" y="77"/>
                </a:moveTo>
                <a:cubicBezTo>
                  <a:pt x="272" y="76"/>
                  <a:pt x="272" y="76"/>
                  <a:pt x="272" y="76"/>
                </a:cubicBezTo>
                <a:cubicBezTo>
                  <a:pt x="273" y="76"/>
                  <a:pt x="273" y="76"/>
                  <a:pt x="273" y="76"/>
                </a:cubicBezTo>
                <a:cubicBezTo>
                  <a:pt x="275" y="77"/>
                  <a:pt x="275" y="77"/>
                  <a:pt x="275" y="77"/>
                </a:cubicBezTo>
                <a:cubicBezTo>
                  <a:pt x="276" y="77"/>
                  <a:pt x="276" y="77"/>
                  <a:pt x="276" y="77"/>
                </a:cubicBezTo>
                <a:cubicBezTo>
                  <a:pt x="276" y="77"/>
                  <a:pt x="276" y="77"/>
                  <a:pt x="276" y="77"/>
                </a:cubicBezTo>
                <a:cubicBezTo>
                  <a:pt x="277" y="78"/>
                  <a:pt x="277" y="78"/>
                  <a:pt x="277" y="78"/>
                </a:cubicBezTo>
                <a:cubicBezTo>
                  <a:pt x="277" y="78"/>
                  <a:pt x="277" y="78"/>
                  <a:pt x="277" y="78"/>
                </a:cubicBezTo>
                <a:cubicBezTo>
                  <a:pt x="276" y="79"/>
                  <a:pt x="276" y="79"/>
                  <a:pt x="276" y="79"/>
                </a:cubicBezTo>
                <a:cubicBezTo>
                  <a:pt x="275" y="80"/>
                  <a:pt x="275" y="80"/>
                  <a:pt x="275" y="80"/>
                </a:cubicBezTo>
                <a:cubicBezTo>
                  <a:pt x="274" y="80"/>
                  <a:pt x="274" y="80"/>
                  <a:pt x="274" y="80"/>
                </a:cubicBezTo>
                <a:cubicBezTo>
                  <a:pt x="273" y="79"/>
                  <a:pt x="273" y="79"/>
                  <a:pt x="273" y="79"/>
                </a:cubicBezTo>
                <a:cubicBezTo>
                  <a:pt x="273" y="78"/>
                  <a:pt x="273" y="78"/>
                  <a:pt x="273" y="78"/>
                </a:cubicBezTo>
                <a:cubicBezTo>
                  <a:pt x="272" y="77"/>
                  <a:pt x="272" y="77"/>
                  <a:pt x="272" y="77"/>
                </a:cubicBezTo>
                <a:cubicBezTo>
                  <a:pt x="271" y="77"/>
                  <a:pt x="271" y="77"/>
                  <a:pt x="271" y="77"/>
                </a:cubicBezTo>
                <a:cubicBezTo>
                  <a:pt x="271" y="77"/>
                  <a:pt x="271" y="77"/>
                  <a:pt x="271" y="77"/>
                </a:cubicBezTo>
                <a:close/>
                <a:moveTo>
                  <a:pt x="227" y="79"/>
                </a:moveTo>
                <a:cubicBezTo>
                  <a:pt x="226" y="79"/>
                  <a:pt x="226" y="79"/>
                  <a:pt x="226" y="79"/>
                </a:cubicBezTo>
                <a:cubicBezTo>
                  <a:pt x="226" y="78"/>
                  <a:pt x="226" y="78"/>
                  <a:pt x="226" y="78"/>
                </a:cubicBezTo>
                <a:cubicBezTo>
                  <a:pt x="226" y="78"/>
                  <a:pt x="226" y="78"/>
                  <a:pt x="226" y="78"/>
                </a:cubicBezTo>
                <a:cubicBezTo>
                  <a:pt x="227" y="78"/>
                  <a:pt x="227" y="78"/>
                  <a:pt x="227" y="78"/>
                </a:cubicBezTo>
                <a:cubicBezTo>
                  <a:pt x="228" y="79"/>
                  <a:pt x="228" y="79"/>
                  <a:pt x="228" y="79"/>
                </a:cubicBezTo>
                <a:cubicBezTo>
                  <a:pt x="227" y="79"/>
                  <a:pt x="227" y="79"/>
                  <a:pt x="227" y="79"/>
                </a:cubicBezTo>
                <a:close/>
                <a:moveTo>
                  <a:pt x="232" y="85"/>
                </a:moveTo>
                <a:cubicBezTo>
                  <a:pt x="233" y="84"/>
                  <a:pt x="233" y="84"/>
                  <a:pt x="233" y="84"/>
                </a:cubicBezTo>
                <a:cubicBezTo>
                  <a:pt x="233" y="85"/>
                  <a:pt x="233" y="85"/>
                  <a:pt x="233" y="85"/>
                </a:cubicBezTo>
                <a:cubicBezTo>
                  <a:pt x="232" y="86"/>
                  <a:pt x="232" y="86"/>
                  <a:pt x="232" y="86"/>
                </a:cubicBezTo>
                <a:cubicBezTo>
                  <a:pt x="232" y="86"/>
                  <a:pt x="232" y="85"/>
                  <a:pt x="232" y="85"/>
                </a:cubicBezTo>
                <a:close/>
                <a:moveTo>
                  <a:pt x="234" y="83"/>
                </a:moveTo>
                <a:cubicBezTo>
                  <a:pt x="235" y="83"/>
                  <a:pt x="235" y="83"/>
                  <a:pt x="235" y="83"/>
                </a:cubicBezTo>
                <a:cubicBezTo>
                  <a:pt x="235" y="82"/>
                  <a:pt x="235" y="82"/>
                  <a:pt x="235" y="82"/>
                </a:cubicBezTo>
                <a:cubicBezTo>
                  <a:pt x="235" y="82"/>
                  <a:pt x="235" y="82"/>
                  <a:pt x="235" y="82"/>
                </a:cubicBezTo>
                <a:cubicBezTo>
                  <a:pt x="235" y="80"/>
                  <a:pt x="235" y="80"/>
                  <a:pt x="235" y="80"/>
                </a:cubicBezTo>
                <a:cubicBezTo>
                  <a:pt x="236" y="80"/>
                  <a:pt x="236" y="80"/>
                  <a:pt x="236" y="80"/>
                </a:cubicBezTo>
                <a:cubicBezTo>
                  <a:pt x="238" y="79"/>
                  <a:pt x="238" y="79"/>
                  <a:pt x="238" y="79"/>
                </a:cubicBezTo>
                <a:cubicBezTo>
                  <a:pt x="238" y="79"/>
                  <a:pt x="238" y="79"/>
                  <a:pt x="238" y="79"/>
                </a:cubicBezTo>
                <a:cubicBezTo>
                  <a:pt x="238" y="80"/>
                  <a:pt x="238" y="80"/>
                  <a:pt x="238" y="80"/>
                </a:cubicBezTo>
                <a:cubicBezTo>
                  <a:pt x="237" y="81"/>
                  <a:pt x="237" y="81"/>
                  <a:pt x="237" y="81"/>
                </a:cubicBezTo>
                <a:cubicBezTo>
                  <a:pt x="236" y="83"/>
                  <a:pt x="236" y="83"/>
                  <a:pt x="236" y="83"/>
                </a:cubicBezTo>
                <a:cubicBezTo>
                  <a:pt x="237" y="83"/>
                  <a:pt x="237" y="83"/>
                  <a:pt x="237" y="83"/>
                </a:cubicBezTo>
                <a:cubicBezTo>
                  <a:pt x="236" y="84"/>
                  <a:pt x="236" y="84"/>
                  <a:pt x="236" y="84"/>
                </a:cubicBezTo>
                <a:cubicBezTo>
                  <a:pt x="236" y="85"/>
                  <a:pt x="236" y="85"/>
                  <a:pt x="236" y="85"/>
                </a:cubicBezTo>
                <a:cubicBezTo>
                  <a:pt x="236" y="86"/>
                  <a:pt x="236" y="86"/>
                  <a:pt x="236" y="86"/>
                </a:cubicBezTo>
                <a:cubicBezTo>
                  <a:pt x="237" y="85"/>
                  <a:pt x="237" y="85"/>
                  <a:pt x="237" y="85"/>
                </a:cubicBezTo>
                <a:cubicBezTo>
                  <a:pt x="238" y="85"/>
                  <a:pt x="238" y="85"/>
                  <a:pt x="238" y="85"/>
                </a:cubicBezTo>
                <a:cubicBezTo>
                  <a:pt x="238" y="86"/>
                  <a:pt x="238" y="86"/>
                  <a:pt x="238" y="86"/>
                </a:cubicBezTo>
                <a:cubicBezTo>
                  <a:pt x="238" y="86"/>
                  <a:pt x="238" y="86"/>
                  <a:pt x="238" y="86"/>
                </a:cubicBezTo>
                <a:cubicBezTo>
                  <a:pt x="240" y="85"/>
                  <a:pt x="240" y="85"/>
                  <a:pt x="240" y="85"/>
                </a:cubicBezTo>
                <a:cubicBezTo>
                  <a:pt x="241" y="84"/>
                  <a:pt x="241" y="84"/>
                  <a:pt x="241" y="84"/>
                </a:cubicBezTo>
                <a:cubicBezTo>
                  <a:pt x="242" y="84"/>
                  <a:pt x="242" y="84"/>
                  <a:pt x="242" y="84"/>
                </a:cubicBezTo>
                <a:cubicBezTo>
                  <a:pt x="242" y="83"/>
                  <a:pt x="242" y="83"/>
                  <a:pt x="242" y="83"/>
                </a:cubicBezTo>
                <a:cubicBezTo>
                  <a:pt x="242" y="82"/>
                  <a:pt x="242" y="82"/>
                  <a:pt x="242" y="82"/>
                </a:cubicBezTo>
                <a:cubicBezTo>
                  <a:pt x="243" y="82"/>
                  <a:pt x="243" y="82"/>
                  <a:pt x="243" y="82"/>
                </a:cubicBezTo>
                <a:cubicBezTo>
                  <a:pt x="244" y="81"/>
                  <a:pt x="244" y="81"/>
                  <a:pt x="244" y="81"/>
                </a:cubicBezTo>
                <a:cubicBezTo>
                  <a:pt x="244" y="79"/>
                  <a:pt x="244" y="79"/>
                  <a:pt x="244" y="79"/>
                </a:cubicBezTo>
                <a:cubicBezTo>
                  <a:pt x="245" y="79"/>
                  <a:pt x="245" y="79"/>
                  <a:pt x="245" y="79"/>
                </a:cubicBezTo>
                <a:cubicBezTo>
                  <a:pt x="245" y="79"/>
                  <a:pt x="245" y="79"/>
                  <a:pt x="245" y="79"/>
                </a:cubicBezTo>
                <a:cubicBezTo>
                  <a:pt x="245" y="80"/>
                  <a:pt x="245" y="80"/>
                  <a:pt x="245" y="80"/>
                </a:cubicBezTo>
                <a:cubicBezTo>
                  <a:pt x="245" y="81"/>
                  <a:pt x="245" y="81"/>
                  <a:pt x="245" y="81"/>
                </a:cubicBezTo>
                <a:cubicBezTo>
                  <a:pt x="245" y="82"/>
                  <a:pt x="245" y="82"/>
                  <a:pt x="245" y="82"/>
                </a:cubicBezTo>
                <a:cubicBezTo>
                  <a:pt x="245" y="84"/>
                  <a:pt x="245" y="84"/>
                  <a:pt x="245" y="84"/>
                </a:cubicBezTo>
                <a:cubicBezTo>
                  <a:pt x="246" y="84"/>
                  <a:pt x="246" y="84"/>
                  <a:pt x="246" y="84"/>
                </a:cubicBezTo>
                <a:cubicBezTo>
                  <a:pt x="247" y="82"/>
                  <a:pt x="247" y="82"/>
                  <a:pt x="247" y="82"/>
                </a:cubicBezTo>
                <a:cubicBezTo>
                  <a:pt x="247" y="81"/>
                  <a:pt x="247" y="81"/>
                  <a:pt x="247" y="81"/>
                </a:cubicBezTo>
                <a:cubicBezTo>
                  <a:pt x="247" y="80"/>
                  <a:pt x="247" y="80"/>
                  <a:pt x="247" y="80"/>
                </a:cubicBezTo>
                <a:cubicBezTo>
                  <a:pt x="248" y="80"/>
                  <a:pt x="248" y="80"/>
                  <a:pt x="248" y="80"/>
                </a:cubicBezTo>
                <a:cubicBezTo>
                  <a:pt x="249" y="78"/>
                  <a:pt x="249" y="78"/>
                  <a:pt x="249" y="78"/>
                </a:cubicBezTo>
                <a:cubicBezTo>
                  <a:pt x="250" y="77"/>
                  <a:pt x="250" y="77"/>
                  <a:pt x="250" y="77"/>
                </a:cubicBezTo>
                <a:cubicBezTo>
                  <a:pt x="249" y="76"/>
                  <a:pt x="249" y="76"/>
                  <a:pt x="249" y="76"/>
                </a:cubicBezTo>
                <a:cubicBezTo>
                  <a:pt x="250" y="75"/>
                  <a:pt x="250" y="75"/>
                  <a:pt x="250" y="75"/>
                </a:cubicBezTo>
                <a:cubicBezTo>
                  <a:pt x="251" y="76"/>
                  <a:pt x="251" y="76"/>
                  <a:pt x="251" y="76"/>
                </a:cubicBezTo>
                <a:cubicBezTo>
                  <a:pt x="253" y="75"/>
                  <a:pt x="253" y="75"/>
                  <a:pt x="253" y="75"/>
                </a:cubicBezTo>
                <a:cubicBezTo>
                  <a:pt x="254" y="73"/>
                  <a:pt x="254" y="73"/>
                  <a:pt x="254" y="73"/>
                </a:cubicBezTo>
                <a:cubicBezTo>
                  <a:pt x="254" y="72"/>
                  <a:pt x="254" y="72"/>
                  <a:pt x="254" y="72"/>
                </a:cubicBezTo>
                <a:cubicBezTo>
                  <a:pt x="255" y="72"/>
                  <a:pt x="255" y="72"/>
                  <a:pt x="255" y="72"/>
                </a:cubicBezTo>
                <a:cubicBezTo>
                  <a:pt x="255" y="71"/>
                  <a:pt x="255" y="71"/>
                  <a:pt x="255" y="71"/>
                </a:cubicBezTo>
                <a:cubicBezTo>
                  <a:pt x="256" y="72"/>
                  <a:pt x="256" y="72"/>
                  <a:pt x="256" y="72"/>
                </a:cubicBezTo>
                <a:cubicBezTo>
                  <a:pt x="257" y="71"/>
                  <a:pt x="257" y="71"/>
                  <a:pt x="257" y="71"/>
                </a:cubicBezTo>
                <a:cubicBezTo>
                  <a:pt x="258" y="71"/>
                  <a:pt x="258" y="71"/>
                  <a:pt x="258" y="71"/>
                </a:cubicBezTo>
                <a:cubicBezTo>
                  <a:pt x="257" y="73"/>
                  <a:pt x="257" y="73"/>
                  <a:pt x="257" y="73"/>
                </a:cubicBezTo>
                <a:cubicBezTo>
                  <a:pt x="256" y="75"/>
                  <a:pt x="256" y="75"/>
                  <a:pt x="256" y="75"/>
                </a:cubicBezTo>
                <a:cubicBezTo>
                  <a:pt x="255" y="76"/>
                  <a:pt x="255" y="76"/>
                  <a:pt x="255" y="76"/>
                </a:cubicBezTo>
                <a:cubicBezTo>
                  <a:pt x="255" y="77"/>
                  <a:pt x="255" y="77"/>
                  <a:pt x="255" y="77"/>
                </a:cubicBezTo>
                <a:cubicBezTo>
                  <a:pt x="255" y="78"/>
                  <a:pt x="255" y="78"/>
                  <a:pt x="255" y="78"/>
                </a:cubicBezTo>
                <a:cubicBezTo>
                  <a:pt x="254" y="78"/>
                  <a:pt x="254" y="78"/>
                  <a:pt x="254" y="78"/>
                </a:cubicBezTo>
                <a:cubicBezTo>
                  <a:pt x="252" y="81"/>
                  <a:pt x="252" y="81"/>
                  <a:pt x="252" y="81"/>
                </a:cubicBezTo>
                <a:cubicBezTo>
                  <a:pt x="252" y="82"/>
                  <a:pt x="252" y="82"/>
                  <a:pt x="252" y="82"/>
                </a:cubicBezTo>
                <a:cubicBezTo>
                  <a:pt x="252" y="83"/>
                  <a:pt x="252" y="83"/>
                  <a:pt x="252" y="83"/>
                </a:cubicBezTo>
                <a:cubicBezTo>
                  <a:pt x="252" y="84"/>
                  <a:pt x="252" y="84"/>
                  <a:pt x="252" y="84"/>
                </a:cubicBezTo>
                <a:cubicBezTo>
                  <a:pt x="253" y="84"/>
                  <a:pt x="253" y="84"/>
                  <a:pt x="253" y="84"/>
                </a:cubicBezTo>
                <a:cubicBezTo>
                  <a:pt x="254" y="84"/>
                  <a:pt x="254" y="84"/>
                  <a:pt x="254" y="84"/>
                </a:cubicBezTo>
                <a:cubicBezTo>
                  <a:pt x="255" y="84"/>
                  <a:pt x="255" y="84"/>
                  <a:pt x="255" y="84"/>
                </a:cubicBezTo>
                <a:cubicBezTo>
                  <a:pt x="256" y="83"/>
                  <a:pt x="256" y="83"/>
                  <a:pt x="256" y="83"/>
                </a:cubicBezTo>
                <a:cubicBezTo>
                  <a:pt x="257" y="82"/>
                  <a:pt x="257" y="82"/>
                  <a:pt x="257" y="82"/>
                </a:cubicBezTo>
                <a:cubicBezTo>
                  <a:pt x="256" y="81"/>
                  <a:pt x="256" y="81"/>
                  <a:pt x="256" y="81"/>
                </a:cubicBezTo>
                <a:cubicBezTo>
                  <a:pt x="257" y="80"/>
                  <a:pt x="257" y="80"/>
                  <a:pt x="257" y="80"/>
                </a:cubicBezTo>
                <a:cubicBezTo>
                  <a:pt x="258" y="79"/>
                  <a:pt x="258" y="79"/>
                  <a:pt x="258" y="79"/>
                </a:cubicBezTo>
                <a:cubicBezTo>
                  <a:pt x="259" y="79"/>
                  <a:pt x="259" y="79"/>
                  <a:pt x="259" y="79"/>
                </a:cubicBezTo>
                <a:cubicBezTo>
                  <a:pt x="260" y="79"/>
                  <a:pt x="260" y="79"/>
                  <a:pt x="260" y="79"/>
                </a:cubicBezTo>
                <a:cubicBezTo>
                  <a:pt x="260" y="79"/>
                  <a:pt x="260" y="79"/>
                  <a:pt x="260" y="79"/>
                </a:cubicBezTo>
                <a:cubicBezTo>
                  <a:pt x="261" y="79"/>
                  <a:pt x="261" y="79"/>
                  <a:pt x="261" y="79"/>
                </a:cubicBezTo>
                <a:cubicBezTo>
                  <a:pt x="262" y="79"/>
                  <a:pt x="262" y="79"/>
                  <a:pt x="262" y="79"/>
                </a:cubicBezTo>
                <a:cubicBezTo>
                  <a:pt x="264" y="79"/>
                  <a:pt x="264" y="79"/>
                  <a:pt x="264" y="79"/>
                </a:cubicBezTo>
                <a:cubicBezTo>
                  <a:pt x="265" y="77"/>
                  <a:pt x="265" y="77"/>
                  <a:pt x="265" y="77"/>
                </a:cubicBezTo>
                <a:cubicBezTo>
                  <a:pt x="265" y="75"/>
                  <a:pt x="265" y="75"/>
                  <a:pt x="265" y="75"/>
                </a:cubicBezTo>
                <a:cubicBezTo>
                  <a:pt x="266" y="73"/>
                  <a:pt x="266" y="73"/>
                  <a:pt x="266" y="73"/>
                </a:cubicBezTo>
                <a:cubicBezTo>
                  <a:pt x="267" y="72"/>
                  <a:pt x="267" y="72"/>
                  <a:pt x="267" y="72"/>
                </a:cubicBezTo>
                <a:cubicBezTo>
                  <a:pt x="267" y="72"/>
                  <a:pt x="267" y="72"/>
                  <a:pt x="267" y="72"/>
                </a:cubicBezTo>
                <a:cubicBezTo>
                  <a:pt x="268" y="73"/>
                  <a:pt x="268" y="73"/>
                  <a:pt x="268" y="73"/>
                </a:cubicBezTo>
                <a:cubicBezTo>
                  <a:pt x="269" y="73"/>
                  <a:pt x="269" y="73"/>
                  <a:pt x="269" y="73"/>
                </a:cubicBezTo>
                <a:cubicBezTo>
                  <a:pt x="269" y="73"/>
                  <a:pt x="269" y="73"/>
                  <a:pt x="269" y="73"/>
                </a:cubicBezTo>
                <a:cubicBezTo>
                  <a:pt x="269" y="72"/>
                  <a:pt x="269" y="72"/>
                  <a:pt x="269" y="72"/>
                </a:cubicBezTo>
                <a:cubicBezTo>
                  <a:pt x="268" y="70"/>
                  <a:pt x="268" y="70"/>
                  <a:pt x="268" y="70"/>
                </a:cubicBezTo>
                <a:cubicBezTo>
                  <a:pt x="268" y="69"/>
                  <a:pt x="268" y="69"/>
                  <a:pt x="268" y="69"/>
                </a:cubicBezTo>
                <a:cubicBezTo>
                  <a:pt x="269" y="68"/>
                  <a:pt x="269" y="68"/>
                  <a:pt x="269" y="68"/>
                </a:cubicBezTo>
                <a:cubicBezTo>
                  <a:pt x="271" y="68"/>
                  <a:pt x="271" y="68"/>
                  <a:pt x="271" y="68"/>
                </a:cubicBezTo>
                <a:cubicBezTo>
                  <a:pt x="272" y="67"/>
                  <a:pt x="272" y="67"/>
                  <a:pt x="272" y="67"/>
                </a:cubicBezTo>
                <a:cubicBezTo>
                  <a:pt x="273" y="68"/>
                  <a:pt x="273" y="68"/>
                  <a:pt x="273" y="68"/>
                </a:cubicBezTo>
                <a:cubicBezTo>
                  <a:pt x="273" y="68"/>
                  <a:pt x="273" y="68"/>
                  <a:pt x="273" y="68"/>
                </a:cubicBezTo>
                <a:cubicBezTo>
                  <a:pt x="274" y="66"/>
                  <a:pt x="274" y="66"/>
                  <a:pt x="274" y="66"/>
                </a:cubicBezTo>
                <a:cubicBezTo>
                  <a:pt x="274" y="65"/>
                  <a:pt x="274" y="65"/>
                  <a:pt x="274" y="65"/>
                </a:cubicBezTo>
                <a:cubicBezTo>
                  <a:pt x="274" y="63"/>
                  <a:pt x="274" y="63"/>
                  <a:pt x="274" y="63"/>
                </a:cubicBezTo>
                <a:cubicBezTo>
                  <a:pt x="274" y="62"/>
                  <a:pt x="274" y="62"/>
                  <a:pt x="274" y="62"/>
                </a:cubicBezTo>
                <a:cubicBezTo>
                  <a:pt x="274" y="62"/>
                  <a:pt x="274" y="62"/>
                  <a:pt x="274" y="62"/>
                </a:cubicBezTo>
                <a:cubicBezTo>
                  <a:pt x="274" y="60"/>
                  <a:pt x="274" y="60"/>
                  <a:pt x="274" y="60"/>
                </a:cubicBezTo>
                <a:cubicBezTo>
                  <a:pt x="273" y="60"/>
                  <a:pt x="273" y="60"/>
                  <a:pt x="273" y="60"/>
                </a:cubicBezTo>
                <a:cubicBezTo>
                  <a:pt x="272" y="60"/>
                  <a:pt x="272" y="60"/>
                  <a:pt x="272" y="60"/>
                </a:cubicBezTo>
                <a:cubicBezTo>
                  <a:pt x="271" y="61"/>
                  <a:pt x="271" y="61"/>
                  <a:pt x="271" y="61"/>
                </a:cubicBezTo>
                <a:cubicBezTo>
                  <a:pt x="271" y="63"/>
                  <a:pt x="271" y="63"/>
                  <a:pt x="271" y="63"/>
                </a:cubicBezTo>
                <a:cubicBezTo>
                  <a:pt x="271" y="63"/>
                  <a:pt x="271" y="63"/>
                  <a:pt x="271" y="63"/>
                </a:cubicBezTo>
                <a:cubicBezTo>
                  <a:pt x="271" y="64"/>
                  <a:pt x="271" y="64"/>
                  <a:pt x="271" y="64"/>
                </a:cubicBezTo>
                <a:cubicBezTo>
                  <a:pt x="270" y="64"/>
                  <a:pt x="270" y="64"/>
                  <a:pt x="270" y="64"/>
                </a:cubicBezTo>
                <a:cubicBezTo>
                  <a:pt x="269" y="63"/>
                  <a:pt x="269" y="63"/>
                  <a:pt x="269" y="63"/>
                </a:cubicBezTo>
                <a:cubicBezTo>
                  <a:pt x="269" y="63"/>
                  <a:pt x="269" y="63"/>
                  <a:pt x="269" y="63"/>
                </a:cubicBezTo>
                <a:cubicBezTo>
                  <a:pt x="269" y="64"/>
                  <a:pt x="269" y="64"/>
                  <a:pt x="269" y="64"/>
                </a:cubicBezTo>
                <a:cubicBezTo>
                  <a:pt x="268" y="65"/>
                  <a:pt x="268" y="65"/>
                  <a:pt x="268" y="65"/>
                </a:cubicBezTo>
                <a:cubicBezTo>
                  <a:pt x="268" y="64"/>
                  <a:pt x="268" y="64"/>
                  <a:pt x="268" y="64"/>
                </a:cubicBezTo>
                <a:cubicBezTo>
                  <a:pt x="268" y="62"/>
                  <a:pt x="268" y="62"/>
                  <a:pt x="268" y="62"/>
                </a:cubicBezTo>
                <a:cubicBezTo>
                  <a:pt x="266" y="61"/>
                  <a:pt x="266" y="61"/>
                  <a:pt x="266" y="61"/>
                </a:cubicBezTo>
                <a:cubicBezTo>
                  <a:pt x="266" y="61"/>
                  <a:pt x="266" y="61"/>
                  <a:pt x="266" y="61"/>
                </a:cubicBezTo>
                <a:cubicBezTo>
                  <a:pt x="265" y="61"/>
                  <a:pt x="265" y="61"/>
                  <a:pt x="265" y="61"/>
                </a:cubicBezTo>
                <a:cubicBezTo>
                  <a:pt x="264" y="61"/>
                  <a:pt x="264" y="61"/>
                  <a:pt x="264" y="61"/>
                </a:cubicBezTo>
                <a:cubicBezTo>
                  <a:pt x="263" y="61"/>
                  <a:pt x="263" y="61"/>
                  <a:pt x="263" y="61"/>
                </a:cubicBezTo>
                <a:cubicBezTo>
                  <a:pt x="262" y="61"/>
                  <a:pt x="262" y="61"/>
                  <a:pt x="262" y="61"/>
                </a:cubicBezTo>
                <a:cubicBezTo>
                  <a:pt x="259" y="61"/>
                  <a:pt x="259" y="61"/>
                  <a:pt x="259" y="61"/>
                </a:cubicBezTo>
                <a:cubicBezTo>
                  <a:pt x="258" y="61"/>
                  <a:pt x="258" y="61"/>
                  <a:pt x="258" y="61"/>
                </a:cubicBezTo>
                <a:cubicBezTo>
                  <a:pt x="257" y="62"/>
                  <a:pt x="257" y="62"/>
                  <a:pt x="257" y="62"/>
                </a:cubicBezTo>
                <a:cubicBezTo>
                  <a:pt x="257" y="63"/>
                  <a:pt x="257" y="63"/>
                  <a:pt x="257" y="63"/>
                </a:cubicBezTo>
                <a:cubicBezTo>
                  <a:pt x="256" y="63"/>
                  <a:pt x="256" y="63"/>
                  <a:pt x="256" y="63"/>
                </a:cubicBezTo>
                <a:cubicBezTo>
                  <a:pt x="255" y="63"/>
                  <a:pt x="255" y="63"/>
                  <a:pt x="255" y="63"/>
                </a:cubicBezTo>
                <a:cubicBezTo>
                  <a:pt x="252" y="65"/>
                  <a:pt x="252" y="65"/>
                  <a:pt x="252" y="65"/>
                </a:cubicBezTo>
                <a:cubicBezTo>
                  <a:pt x="252" y="66"/>
                  <a:pt x="252" y="66"/>
                  <a:pt x="252" y="66"/>
                </a:cubicBezTo>
                <a:cubicBezTo>
                  <a:pt x="250" y="66"/>
                  <a:pt x="250" y="66"/>
                  <a:pt x="250" y="66"/>
                </a:cubicBezTo>
                <a:cubicBezTo>
                  <a:pt x="249" y="67"/>
                  <a:pt x="249" y="67"/>
                  <a:pt x="249" y="67"/>
                </a:cubicBezTo>
                <a:cubicBezTo>
                  <a:pt x="248" y="67"/>
                  <a:pt x="248" y="67"/>
                  <a:pt x="248" y="67"/>
                </a:cubicBezTo>
                <a:cubicBezTo>
                  <a:pt x="247" y="68"/>
                  <a:pt x="247" y="68"/>
                  <a:pt x="247" y="68"/>
                </a:cubicBezTo>
                <a:cubicBezTo>
                  <a:pt x="247" y="69"/>
                  <a:pt x="247" y="69"/>
                  <a:pt x="247" y="69"/>
                </a:cubicBezTo>
                <a:cubicBezTo>
                  <a:pt x="245" y="69"/>
                  <a:pt x="245" y="69"/>
                  <a:pt x="245" y="69"/>
                </a:cubicBezTo>
                <a:cubicBezTo>
                  <a:pt x="244" y="70"/>
                  <a:pt x="244" y="70"/>
                  <a:pt x="244" y="70"/>
                </a:cubicBezTo>
                <a:cubicBezTo>
                  <a:pt x="243" y="69"/>
                  <a:pt x="243" y="69"/>
                  <a:pt x="243" y="69"/>
                </a:cubicBezTo>
                <a:cubicBezTo>
                  <a:pt x="242" y="70"/>
                  <a:pt x="242" y="70"/>
                  <a:pt x="242" y="70"/>
                </a:cubicBezTo>
                <a:cubicBezTo>
                  <a:pt x="241" y="70"/>
                  <a:pt x="241" y="70"/>
                  <a:pt x="241" y="70"/>
                </a:cubicBezTo>
                <a:cubicBezTo>
                  <a:pt x="239" y="72"/>
                  <a:pt x="239" y="72"/>
                  <a:pt x="239" y="72"/>
                </a:cubicBezTo>
                <a:cubicBezTo>
                  <a:pt x="238" y="72"/>
                  <a:pt x="238" y="72"/>
                  <a:pt x="238" y="72"/>
                </a:cubicBezTo>
                <a:cubicBezTo>
                  <a:pt x="236" y="72"/>
                  <a:pt x="236" y="72"/>
                  <a:pt x="236" y="72"/>
                </a:cubicBezTo>
                <a:cubicBezTo>
                  <a:pt x="235" y="72"/>
                  <a:pt x="235" y="72"/>
                  <a:pt x="235" y="72"/>
                </a:cubicBezTo>
                <a:cubicBezTo>
                  <a:pt x="232" y="73"/>
                  <a:pt x="232" y="73"/>
                  <a:pt x="232" y="73"/>
                </a:cubicBezTo>
                <a:cubicBezTo>
                  <a:pt x="231" y="75"/>
                  <a:pt x="231" y="75"/>
                  <a:pt x="231" y="75"/>
                </a:cubicBezTo>
                <a:cubicBezTo>
                  <a:pt x="230" y="75"/>
                  <a:pt x="230" y="75"/>
                  <a:pt x="230" y="75"/>
                </a:cubicBezTo>
                <a:cubicBezTo>
                  <a:pt x="228" y="75"/>
                  <a:pt x="228" y="75"/>
                  <a:pt x="228" y="75"/>
                </a:cubicBezTo>
                <a:cubicBezTo>
                  <a:pt x="228" y="77"/>
                  <a:pt x="228" y="77"/>
                  <a:pt x="228" y="77"/>
                </a:cubicBezTo>
                <a:cubicBezTo>
                  <a:pt x="229" y="77"/>
                  <a:pt x="229" y="77"/>
                  <a:pt x="229" y="77"/>
                </a:cubicBezTo>
                <a:cubicBezTo>
                  <a:pt x="229" y="77"/>
                  <a:pt x="229" y="77"/>
                  <a:pt x="229" y="77"/>
                </a:cubicBezTo>
                <a:cubicBezTo>
                  <a:pt x="228" y="77"/>
                  <a:pt x="228" y="77"/>
                  <a:pt x="228" y="77"/>
                </a:cubicBezTo>
                <a:cubicBezTo>
                  <a:pt x="228" y="78"/>
                  <a:pt x="228" y="78"/>
                  <a:pt x="228" y="78"/>
                </a:cubicBezTo>
                <a:cubicBezTo>
                  <a:pt x="229" y="79"/>
                  <a:pt x="229" y="79"/>
                  <a:pt x="229" y="79"/>
                </a:cubicBezTo>
                <a:cubicBezTo>
                  <a:pt x="229" y="79"/>
                  <a:pt x="229" y="79"/>
                  <a:pt x="229" y="79"/>
                </a:cubicBezTo>
                <a:cubicBezTo>
                  <a:pt x="227" y="80"/>
                  <a:pt x="227" y="80"/>
                  <a:pt x="227" y="80"/>
                </a:cubicBezTo>
                <a:cubicBezTo>
                  <a:pt x="227" y="81"/>
                  <a:pt x="227" y="81"/>
                  <a:pt x="227" y="81"/>
                </a:cubicBezTo>
                <a:cubicBezTo>
                  <a:pt x="228" y="81"/>
                  <a:pt x="228" y="81"/>
                  <a:pt x="228" y="81"/>
                </a:cubicBezTo>
                <a:cubicBezTo>
                  <a:pt x="229" y="81"/>
                  <a:pt x="229" y="81"/>
                  <a:pt x="229" y="81"/>
                </a:cubicBezTo>
                <a:cubicBezTo>
                  <a:pt x="230" y="80"/>
                  <a:pt x="230" y="80"/>
                  <a:pt x="230" y="80"/>
                </a:cubicBezTo>
                <a:cubicBezTo>
                  <a:pt x="231" y="79"/>
                  <a:pt x="231" y="79"/>
                  <a:pt x="231" y="79"/>
                </a:cubicBezTo>
                <a:cubicBezTo>
                  <a:pt x="232" y="80"/>
                  <a:pt x="232" y="80"/>
                  <a:pt x="232" y="80"/>
                </a:cubicBezTo>
                <a:cubicBezTo>
                  <a:pt x="233" y="82"/>
                  <a:pt x="233" y="82"/>
                  <a:pt x="233" y="82"/>
                </a:cubicBezTo>
                <a:cubicBezTo>
                  <a:pt x="233" y="83"/>
                  <a:pt x="233" y="83"/>
                  <a:pt x="233" y="83"/>
                </a:cubicBezTo>
                <a:cubicBezTo>
                  <a:pt x="234" y="83"/>
                  <a:pt x="234" y="83"/>
                  <a:pt x="234" y="83"/>
                </a:cubicBezTo>
                <a:close/>
                <a:moveTo>
                  <a:pt x="354" y="154"/>
                </a:moveTo>
                <a:cubicBezTo>
                  <a:pt x="354" y="153"/>
                  <a:pt x="354" y="153"/>
                  <a:pt x="354" y="153"/>
                </a:cubicBezTo>
                <a:cubicBezTo>
                  <a:pt x="356" y="154"/>
                  <a:pt x="356" y="154"/>
                  <a:pt x="356" y="154"/>
                </a:cubicBezTo>
                <a:cubicBezTo>
                  <a:pt x="356" y="154"/>
                  <a:pt x="356" y="154"/>
                  <a:pt x="356" y="154"/>
                </a:cubicBezTo>
                <a:cubicBezTo>
                  <a:pt x="355" y="155"/>
                  <a:pt x="355" y="155"/>
                  <a:pt x="355" y="155"/>
                </a:cubicBezTo>
                <a:cubicBezTo>
                  <a:pt x="354" y="155"/>
                  <a:pt x="354" y="155"/>
                  <a:pt x="354" y="155"/>
                </a:cubicBezTo>
                <a:cubicBezTo>
                  <a:pt x="354" y="154"/>
                  <a:pt x="354" y="154"/>
                  <a:pt x="354" y="154"/>
                </a:cubicBezTo>
                <a:close/>
                <a:moveTo>
                  <a:pt x="340" y="126"/>
                </a:moveTo>
                <a:cubicBezTo>
                  <a:pt x="339" y="126"/>
                  <a:pt x="339" y="126"/>
                  <a:pt x="339" y="126"/>
                </a:cubicBezTo>
                <a:cubicBezTo>
                  <a:pt x="338" y="125"/>
                  <a:pt x="338" y="125"/>
                  <a:pt x="338" y="125"/>
                </a:cubicBezTo>
                <a:cubicBezTo>
                  <a:pt x="337" y="126"/>
                  <a:pt x="337" y="126"/>
                  <a:pt x="337" y="126"/>
                </a:cubicBezTo>
                <a:cubicBezTo>
                  <a:pt x="338" y="126"/>
                  <a:pt x="338" y="126"/>
                  <a:pt x="338" y="126"/>
                </a:cubicBezTo>
                <a:cubicBezTo>
                  <a:pt x="339" y="127"/>
                  <a:pt x="339" y="127"/>
                  <a:pt x="339" y="127"/>
                </a:cubicBezTo>
                <a:cubicBezTo>
                  <a:pt x="339" y="127"/>
                  <a:pt x="339" y="127"/>
                  <a:pt x="339" y="127"/>
                </a:cubicBezTo>
                <a:cubicBezTo>
                  <a:pt x="337" y="127"/>
                  <a:pt x="337" y="127"/>
                  <a:pt x="337" y="127"/>
                </a:cubicBezTo>
                <a:cubicBezTo>
                  <a:pt x="337" y="128"/>
                  <a:pt x="337" y="128"/>
                  <a:pt x="337" y="128"/>
                </a:cubicBezTo>
                <a:cubicBezTo>
                  <a:pt x="337" y="129"/>
                  <a:pt x="337" y="129"/>
                  <a:pt x="337" y="129"/>
                </a:cubicBezTo>
                <a:cubicBezTo>
                  <a:pt x="337" y="129"/>
                  <a:pt x="337" y="129"/>
                  <a:pt x="337" y="129"/>
                </a:cubicBezTo>
                <a:cubicBezTo>
                  <a:pt x="337" y="129"/>
                  <a:pt x="337" y="129"/>
                  <a:pt x="337" y="129"/>
                </a:cubicBezTo>
                <a:cubicBezTo>
                  <a:pt x="336" y="129"/>
                  <a:pt x="336" y="129"/>
                  <a:pt x="336" y="129"/>
                </a:cubicBezTo>
                <a:cubicBezTo>
                  <a:pt x="335" y="129"/>
                  <a:pt x="335" y="129"/>
                  <a:pt x="335" y="129"/>
                </a:cubicBezTo>
                <a:cubicBezTo>
                  <a:pt x="334" y="130"/>
                  <a:pt x="334" y="130"/>
                  <a:pt x="334" y="130"/>
                </a:cubicBezTo>
                <a:cubicBezTo>
                  <a:pt x="333" y="131"/>
                  <a:pt x="333" y="131"/>
                  <a:pt x="333" y="131"/>
                </a:cubicBezTo>
                <a:cubicBezTo>
                  <a:pt x="333" y="132"/>
                  <a:pt x="333" y="132"/>
                  <a:pt x="333" y="132"/>
                </a:cubicBezTo>
                <a:cubicBezTo>
                  <a:pt x="333" y="132"/>
                  <a:pt x="333" y="132"/>
                  <a:pt x="333" y="132"/>
                </a:cubicBezTo>
                <a:cubicBezTo>
                  <a:pt x="334" y="132"/>
                  <a:pt x="334" y="132"/>
                  <a:pt x="334" y="132"/>
                </a:cubicBezTo>
                <a:cubicBezTo>
                  <a:pt x="333" y="133"/>
                  <a:pt x="333" y="133"/>
                  <a:pt x="333" y="133"/>
                </a:cubicBezTo>
                <a:cubicBezTo>
                  <a:pt x="333" y="134"/>
                  <a:pt x="333" y="134"/>
                  <a:pt x="333" y="134"/>
                </a:cubicBezTo>
                <a:cubicBezTo>
                  <a:pt x="334" y="134"/>
                  <a:pt x="334" y="134"/>
                  <a:pt x="334" y="134"/>
                </a:cubicBezTo>
                <a:cubicBezTo>
                  <a:pt x="334" y="133"/>
                  <a:pt x="334" y="133"/>
                  <a:pt x="334" y="133"/>
                </a:cubicBezTo>
                <a:cubicBezTo>
                  <a:pt x="335" y="133"/>
                  <a:pt x="335" y="133"/>
                  <a:pt x="335" y="133"/>
                </a:cubicBezTo>
                <a:cubicBezTo>
                  <a:pt x="334" y="134"/>
                  <a:pt x="334" y="134"/>
                  <a:pt x="334" y="134"/>
                </a:cubicBezTo>
                <a:cubicBezTo>
                  <a:pt x="334" y="135"/>
                  <a:pt x="334" y="135"/>
                  <a:pt x="334" y="135"/>
                </a:cubicBezTo>
                <a:cubicBezTo>
                  <a:pt x="335" y="135"/>
                  <a:pt x="335" y="135"/>
                  <a:pt x="335" y="135"/>
                </a:cubicBezTo>
                <a:cubicBezTo>
                  <a:pt x="336" y="135"/>
                  <a:pt x="336" y="135"/>
                  <a:pt x="336" y="135"/>
                </a:cubicBezTo>
                <a:cubicBezTo>
                  <a:pt x="336" y="136"/>
                  <a:pt x="336" y="136"/>
                  <a:pt x="336" y="136"/>
                </a:cubicBezTo>
                <a:cubicBezTo>
                  <a:pt x="336" y="137"/>
                  <a:pt x="336" y="137"/>
                  <a:pt x="336" y="137"/>
                </a:cubicBezTo>
                <a:cubicBezTo>
                  <a:pt x="337" y="137"/>
                  <a:pt x="337" y="137"/>
                  <a:pt x="337" y="137"/>
                </a:cubicBezTo>
                <a:cubicBezTo>
                  <a:pt x="337" y="136"/>
                  <a:pt x="337" y="136"/>
                  <a:pt x="337" y="136"/>
                </a:cubicBezTo>
                <a:cubicBezTo>
                  <a:pt x="338" y="136"/>
                  <a:pt x="338" y="136"/>
                  <a:pt x="338" y="136"/>
                </a:cubicBezTo>
                <a:cubicBezTo>
                  <a:pt x="338" y="138"/>
                  <a:pt x="338" y="138"/>
                  <a:pt x="338" y="138"/>
                </a:cubicBezTo>
                <a:cubicBezTo>
                  <a:pt x="338" y="138"/>
                  <a:pt x="338" y="138"/>
                  <a:pt x="338" y="138"/>
                </a:cubicBezTo>
                <a:cubicBezTo>
                  <a:pt x="339" y="138"/>
                  <a:pt x="339" y="138"/>
                  <a:pt x="339" y="138"/>
                </a:cubicBezTo>
                <a:cubicBezTo>
                  <a:pt x="339" y="139"/>
                  <a:pt x="339" y="139"/>
                  <a:pt x="339" y="139"/>
                </a:cubicBezTo>
                <a:cubicBezTo>
                  <a:pt x="341" y="139"/>
                  <a:pt x="341" y="139"/>
                  <a:pt x="341" y="139"/>
                </a:cubicBezTo>
                <a:cubicBezTo>
                  <a:pt x="342" y="140"/>
                  <a:pt x="342" y="140"/>
                  <a:pt x="342" y="140"/>
                </a:cubicBezTo>
                <a:cubicBezTo>
                  <a:pt x="343" y="140"/>
                  <a:pt x="343" y="140"/>
                  <a:pt x="343" y="140"/>
                </a:cubicBezTo>
                <a:cubicBezTo>
                  <a:pt x="344" y="141"/>
                  <a:pt x="344" y="141"/>
                  <a:pt x="344" y="141"/>
                </a:cubicBezTo>
                <a:cubicBezTo>
                  <a:pt x="344" y="140"/>
                  <a:pt x="344" y="140"/>
                  <a:pt x="344" y="140"/>
                </a:cubicBezTo>
                <a:cubicBezTo>
                  <a:pt x="344" y="139"/>
                  <a:pt x="344" y="139"/>
                  <a:pt x="344" y="139"/>
                </a:cubicBezTo>
                <a:cubicBezTo>
                  <a:pt x="345" y="139"/>
                  <a:pt x="345" y="139"/>
                  <a:pt x="345" y="139"/>
                </a:cubicBezTo>
                <a:cubicBezTo>
                  <a:pt x="345" y="137"/>
                  <a:pt x="345" y="137"/>
                  <a:pt x="345" y="137"/>
                </a:cubicBezTo>
                <a:cubicBezTo>
                  <a:pt x="345" y="136"/>
                  <a:pt x="345" y="136"/>
                  <a:pt x="345" y="136"/>
                </a:cubicBezTo>
                <a:cubicBezTo>
                  <a:pt x="346" y="134"/>
                  <a:pt x="346" y="134"/>
                  <a:pt x="346" y="134"/>
                </a:cubicBezTo>
                <a:cubicBezTo>
                  <a:pt x="346" y="134"/>
                  <a:pt x="346" y="134"/>
                  <a:pt x="346" y="134"/>
                </a:cubicBezTo>
                <a:cubicBezTo>
                  <a:pt x="347" y="132"/>
                  <a:pt x="347" y="132"/>
                  <a:pt x="347" y="132"/>
                </a:cubicBezTo>
                <a:cubicBezTo>
                  <a:pt x="347" y="130"/>
                  <a:pt x="347" y="130"/>
                  <a:pt x="347" y="130"/>
                </a:cubicBezTo>
                <a:cubicBezTo>
                  <a:pt x="348" y="130"/>
                  <a:pt x="348" y="130"/>
                  <a:pt x="348" y="130"/>
                </a:cubicBezTo>
                <a:cubicBezTo>
                  <a:pt x="347" y="128"/>
                  <a:pt x="347" y="128"/>
                  <a:pt x="347" y="128"/>
                </a:cubicBezTo>
                <a:cubicBezTo>
                  <a:pt x="346" y="128"/>
                  <a:pt x="346" y="128"/>
                  <a:pt x="346" y="128"/>
                </a:cubicBezTo>
                <a:cubicBezTo>
                  <a:pt x="346" y="126"/>
                  <a:pt x="346" y="126"/>
                  <a:pt x="346" y="126"/>
                </a:cubicBezTo>
                <a:cubicBezTo>
                  <a:pt x="346" y="126"/>
                  <a:pt x="346" y="126"/>
                  <a:pt x="346" y="126"/>
                </a:cubicBezTo>
                <a:cubicBezTo>
                  <a:pt x="345" y="125"/>
                  <a:pt x="345" y="125"/>
                  <a:pt x="345" y="125"/>
                </a:cubicBezTo>
                <a:cubicBezTo>
                  <a:pt x="344" y="124"/>
                  <a:pt x="344" y="124"/>
                  <a:pt x="344" y="124"/>
                </a:cubicBezTo>
                <a:cubicBezTo>
                  <a:pt x="343" y="124"/>
                  <a:pt x="343" y="124"/>
                  <a:pt x="343" y="124"/>
                </a:cubicBezTo>
                <a:cubicBezTo>
                  <a:pt x="341" y="124"/>
                  <a:pt x="341" y="124"/>
                  <a:pt x="341" y="124"/>
                </a:cubicBezTo>
                <a:cubicBezTo>
                  <a:pt x="340" y="124"/>
                  <a:pt x="340" y="124"/>
                  <a:pt x="340" y="124"/>
                </a:cubicBezTo>
                <a:cubicBezTo>
                  <a:pt x="340" y="125"/>
                  <a:pt x="340" y="125"/>
                  <a:pt x="340" y="125"/>
                </a:cubicBezTo>
                <a:cubicBezTo>
                  <a:pt x="340" y="126"/>
                  <a:pt x="340" y="126"/>
                  <a:pt x="340" y="126"/>
                </a:cubicBezTo>
                <a:cubicBezTo>
                  <a:pt x="340" y="126"/>
                  <a:pt x="340" y="126"/>
                  <a:pt x="340" y="126"/>
                </a:cubicBezTo>
                <a:cubicBezTo>
                  <a:pt x="340" y="126"/>
                  <a:pt x="340" y="126"/>
                  <a:pt x="340" y="126"/>
                </a:cubicBezTo>
                <a:close/>
                <a:moveTo>
                  <a:pt x="348" y="116"/>
                </a:moveTo>
                <a:cubicBezTo>
                  <a:pt x="347" y="116"/>
                  <a:pt x="347" y="116"/>
                  <a:pt x="347" y="116"/>
                </a:cubicBezTo>
                <a:cubicBezTo>
                  <a:pt x="347" y="115"/>
                  <a:pt x="347" y="115"/>
                  <a:pt x="347" y="115"/>
                </a:cubicBezTo>
                <a:cubicBezTo>
                  <a:pt x="348" y="115"/>
                  <a:pt x="348" y="115"/>
                  <a:pt x="348" y="115"/>
                </a:cubicBezTo>
                <a:cubicBezTo>
                  <a:pt x="348" y="115"/>
                  <a:pt x="348" y="116"/>
                  <a:pt x="348" y="116"/>
                </a:cubicBezTo>
                <a:close/>
                <a:moveTo>
                  <a:pt x="346" y="123"/>
                </a:moveTo>
                <a:cubicBezTo>
                  <a:pt x="346" y="122"/>
                  <a:pt x="346" y="122"/>
                  <a:pt x="346" y="122"/>
                </a:cubicBezTo>
                <a:cubicBezTo>
                  <a:pt x="346" y="122"/>
                  <a:pt x="346" y="122"/>
                  <a:pt x="346" y="122"/>
                </a:cubicBezTo>
                <a:cubicBezTo>
                  <a:pt x="346" y="121"/>
                  <a:pt x="346" y="121"/>
                  <a:pt x="346" y="121"/>
                </a:cubicBezTo>
                <a:cubicBezTo>
                  <a:pt x="346" y="120"/>
                  <a:pt x="346" y="120"/>
                  <a:pt x="346" y="120"/>
                </a:cubicBezTo>
                <a:cubicBezTo>
                  <a:pt x="346" y="119"/>
                  <a:pt x="346" y="119"/>
                  <a:pt x="346" y="119"/>
                </a:cubicBezTo>
                <a:cubicBezTo>
                  <a:pt x="347" y="119"/>
                  <a:pt x="347" y="119"/>
                  <a:pt x="347" y="119"/>
                </a:cubicBezTo>
                <a:cubicBezTo>
                  <a:pt x="348" y="119"/>
                  <a:pt x="348" y="119"/>
                  <a:pt x="348" y="119"/>
                </a:cubicBezTo>
                <a:cubicBezTo>
                  <a:pt x="347" y="121"/>
                  <a:pt x="347" y="121"/>
                  <a:pt x="347" y="121"/>
                </a:cubicBezTo>
                <a:cubicBezTo>
                  <a:pt x="347" y="122"/>
                  <a:pt x="347" y="122"/>
                  <a:pt x="347" y="122"/>
                </a:cubicBezTo>
                <a:cubicBezTo>
                  <a:pt x="347" y="122"/>
                  <a:pt x="346" y="123"/>
                  <a:pt x="346" y="123"/>
                </a:cubicBezTo>
                <a:close/>
                <a:moveTo>
                  <a:pt x="338" y="120"/>
                </a:moveTo>
                <a:cubicBezTo>
                  <a:pt x="337" y="120"/>
                  <a:pt x="337" y="120"/>
                  <a:pt x="337" y="120"/>
                </a:cubicBezTo>
                <a:cubicBezTo>
                  <a:pt x="338" y="119"/>
                  <a:pt x="338" y="119"/>
                  <a:pt x="338" y="119"/>
                </a:cubicBezTo>
                <a:cubicBezTo>
                  <a:pt x="339" y="119"/>
                  <a:pt x="339" y="119"/>
                  <a:pt x="339" y="119"/>
                </a:cubicBezTo>
                <a:cubicBezTo>
                  <a:pt x="339" y="119"/>
                  <a:pt x="339" y="119"/>
                  <a:pt x="339" y="119"/>
                </a:cubicBezTo>
                <a:cubicBezTo>
                  <a:pt x="339" y="119"/>
                  <a:pt x="339" y="119"/>
                  <a:pt x="339" y="119"/>
                </a:cubicBezTo>
                <a:cubicBezTo>
                  <a:pt x="338" y="120"/>
                  <a:pt x="338" y="120"/>
                  <a:pt x="338" y="120"/>
                </a:cubicBezTo>
                <a:cubicBezTo>
                  <a:pt x="338" y="120"/>
                  <a:pt x="338" y="120"/>
                  <a:pt x="338" y="120"/>
                </a:cubicBezTo>
                <a:close/>
                <a:moveTo>
                  <a:pt x="336" y="122"/>
                </a:moveTo>
                <a:cubicBezTo>
                  <a:pt x="335" y="121"/>
                  <a:pt x="335" y="121"/>
                  <a:pt x="335" y="121"/>
                </a:cubicBezTo>
                <a:cubicBezTo>
                  <a:pt x="336" y="121"/>
                  <a:pt x="336" y="121"/>
                  <a:pt x="336" y="121"/>
                </a:cubicBezTo>
                <a:cubicBezTo>
                  <a:pt x="337" y="121"/>
                  <a:pt x="337" y="121"/>
                  <a:pt x="337" y="121"/>
                </a:cubicBezTo>
                <a:cubicBezTo>
                  <a:pt x="336" y="121"/>
                  <a:pt x="336" y="121"/>
                  <a:pt x="336" y="121"/>
                </a:cubicBezTo>
                <a:cubicBezTo>
                  <a:pt x="336" y="122"/>
                  <a:pt x="336" y="122"/>
                  <a:pt x="336" y="122"/>
                </a:cubicBezTo>
                <a:close/>
                <a:moveTo>
                  <a:pt x="337" y="124"/>
                </a:moveTo>
                <a:cubicBezTo>
                  <a:pt x="337" y="124"/>
                  <a:pt x="337" y="124"/>
                  <a:pt x="337" y="124"/>
                </a:cubicBezTo>
                <a:cubicBezTo>
                  <a:pt x="337" y="123"/>
                  <a:pt x="337" y="123"/>
                  <a:pt x="337" y="123"/>
                </a:cubicBezTo>
                <a:cubicBezTo>
                  <a:pt x="337" y="122"/>
                  <a:pt x="337" y="122"/>
                  <a:pt x="337" y="122"/>
                </a:cubicBezTo>
                <a:cubicBezTo>
                  <a:pt x="338" y="122"/>
                  <a:pt x="338" y="122"/>
                  <a:pt x="338" y="122"/>
                </a:cubicBezTo>
                <a:cubicBezTo>
                  <a:pt x="338" y="123"/>
                  <a:pt x="338" y="123"/>
                  <a:pt x="338" y="123"/>
                </a:cubicBezTo>
                <a:cubicBezTo>
                  <a:pt x="339" y="123"/>
                  <a:pt x="339" y="123"/>
                  <a:pt x="339" y="123"/>
                </a:cubicBezTo>
                <a:cubicBezTo>
                  <a:pt x="338" y="124"/>
                  <a:pt x="338" y="124"/>
                  <a:pt x="338" y="124"/>
                </a:cubicBezTo>
                <a:cubicBezTo>
                  <a:pt x="337" y="124"/>
                  <a:pt x="337" y="124"/>
                  <a:pt x="337" y="124"/>
                </a:cubicBezTo>
                <a:close/>
                <a:moveTo>
                  <a:pt x="335" y="126"/>
                </a:moveTo>
                <a:cubicBezTo>
                  <a:pt x="334" y="125"/>
                  <a:pt x="334" y="125"/>
                  <a:pt x="334" y="125"/>
                </a:cubicBezTo>
                <a:cubicBezTo>
                  <a:pt x="334" y="123"/>
                  <a:pt x="334" y="123"/>
                  <a:pt x="334" y="123"/>
                </a:cubicBezTo>
                <a:cubicBezTo>
                  <a:pt x="334" y="123"/>
                  <a:pt x="334" y="123"/>
                  <a:pt x="334" y="123"/>
                </a:cubicBezTo>
                <a:cubicBezTo>
                  <a:pt x="335" y="123"/>
                  <a:pt x="335" y="123"/>
                  <a:pt x="335" y="123"/>
                </a:cubicBezTo>
                <a:cubicBezTo>
                  <a:pt x="336" y="123"/>
                  <a:pt x="336" y="123"/>
                  <a:pt x="336" y="123"/>
                </a:cubicBezTo>
                <a:cubicBezTo>
                  <a:pt x="336" y="123"/>
                  <a:pt x="336" y="123"/>
                  <a:pt x="336" y="123"/>
                </a:cubicBezTo>
                <a:cubicBezTo>
                  <a:pt x="337" y="123"/>
                  <a:pt x="337" y="123"/>
                  <a:pt x="337" y="123"/>
                </a:cubicBezTo>
                <a:cubicBezTo>
                  <a:pt x="336" y="124"/>
                  <a:pt x="336" y="124"/>
                  <a:pt x="336" y="124"/>
                </a:cubicBezTo>
                <a:cubicBezTo>
                  <a:pt x="336" y="125"/>
                  <a:pt x="336" y="125"/>
                  <a:pt x="336" y="125"/>
                </a:cubicBezTo>
                <a:cubicBezTo>
                  <a:pt x="336" y="125"/>
                  <a:pt x="336" y="125"/>
                  <a:pt x="336" y="125"/>
                </a:cubicBezTo>
                <a:cubicBezTo>
                  <a:pt x="335" y="125"/>
                  <a:pt x="335" y="125"/>
                  <a:pt x="335" y="125"/>
                </a:cubicBezTo>
                <a:cubicBezTo>
                  <a:pt x="335" y="126"/>
                  <a:pt x="335" y="126"/>
                  <a:pt x="335" y="126"/>
                </a:cubicBezTo>
                <a:close/>
                <a:moveTo>
                  <a:pt x="331" y="126"/>
                </a:moveTo>
                <a:cubicBezTo>
                  <a:pt x="331" y="125"/>
                  <a:pt x="331" y="125"/>
                  <a:pt x="331" y="125"/>
                </a:cubicBezTo>
                <a:cubicBezTo>
                  <a:pt x="332" y="125"/>
                  <a:pt x="332" y="125"/>
                  <a:pt x="332" y="125"/>
                </a:cubicBezTo>
                <a:cubicBezTo>
                  <a:pt x="332" y="125"/>
                  <a:pt x="332" y="125"/>
                  <a:pt x="332" y="125"/>
                </a:cubicBezTo>
                <a:cubicBezTo>
                  <a:pt x="332" y="126"/>
                  <a:pt x="332" y="126"/>
                  <a:pt x="332" y="126"/>
                </a:cubicBezTo>
                <a:cubicBezTo>
                  <a:pt x="331" y="126"/>
                  <a:pt x="331" y="126"/>
                  <a:pt x="331" y="126"/>
                </a:cubicBezTo>
                <a:close/>
                <a:moveTo>
                  <a:pt x="319" y="128"/>
                </a:moveTo>
                <a:cubicBezTo>
                  <a:pt x="318" y="127"/>
                  <a:pt x="318" y="127"/>
                  <a:pt x="318" y="127"/>
                </a:cubicBezTo>
                <a:cubicBezTo>
                  <a:pt x="317" y="127"/>
                  <a:pt x="317" y="127"/>
                  <a:pt x="317" y="127"/>
                </a:cubicBezTo>
                <a:cubicBezTo>
                  <a:pt x="316" y="127"/>
                  <a:pt x="316" y="127"/>
                  <a:pt x="316" y="127"/>
                </a:cubicBezTo>
                <a:cubicBezTo>
                  <a:pt x="316" y="125"/>
                  <a:pt x="316" y="125"/>
                  <a:pt x="316" y="125"/>
                </a:cubicBezTo>
                <a:cubicBezTo>
                  <a:pt x="316" y="125"/>
                  <a:pt x="316" y="125"/>
                  <a:pt x="316" y="125"/>
                </a:cubicBezTo>
                <a:cubicBezTo>
                  <a:pt x="316" y="124"/>
                  <a:pt x="316" y="124"/>
                  <a:pt x="316" y="124"/>
                </a:cubicBezTo>
                <a:cubicBezTo>
                  <a:pt x="317" y="123"/>
                  <a:pt x="317" y="123"/>
                  <a:pt x="317" y="123"/>
                </a:cubicBezTo>
                <a:cubicBezTo>
                  <a:pt x="317" y="123"/>
                  <a:pt x="317" y="123"/>
                  <a:pt x="317" y="123"/>
                </a:cubicBezTo>
                <a:cubicBezTo>
                  <a:pt x="318" y="124"/>
                  <a:pt x="318" y="124"/>
                  <a:pt x="318" y="124"/>
                </a:cubicBezTo>
                <a:cubicBezTo>
                  <a:pt x="318" y="124"/>
                  <a:pt x="318" y="124"/>
                  <a:pt x="318" y="124"/>
                </a:cubicBezTo>
                <a:cubicBezTo>
                  <a:pt x="318" y="123"/>
                  <a:pt x="318" y="123"/>
                  <a:pt x="318" y="123"/>
                </a:cubicBezTo>
                <a:cubicBezTo>
                  <a:pt x="318" y="122"/>
                  <a:pt x="318" y="122"/>
                  <a:pt x="318" y="122"/>
                </a:cubicBezTo>
                <a:cubicBezTo>
                  <a:pt x="317" y="122"/>
                  <a:pt x="317" y="122"/>
                  <a:pt x="317" y="122"/>
                </a:cubicBezTo>
                <a:cubicBezTo>
                  <a:pt x="316" y="121"/>
                  <a:pt x="316" y="121"/>
                  <a:pt x="316" y="121"/>
                </a:cubicBezTo>
                <a:cubicBezTo>
                  <a:pt x="316" y="121"/>
                  <a:pt x="316" y="121"/>
                  <a:pt x="316" y="121"/>
                </a:cubicBezTo>
                <a:cubicBezTo>
                  <a:pt x="316" y="120"/>
                  <a:pt x="316" y="120"/>
                  <a:pt x="316" y="120"/>
                </a:cubicBezTo>
                <a:cubicBezTo>
                  <a:pt x="317" y="120"/>
                  <a:pt x="317" y="120"/>
                  <a:pt x="317" y="120"/>
                </a:cubicBezTo>
                <a:cubicBezTo>
                  <a:pt x="317" y="121"/>
                  <a:pt x="317" y="121"/>
                  <a:pt x="317" y="121"/>
                </a:cubicBezTo>
                <a:cubicBezTo>
                  <a:pt x="318" y="120"/>
                  <a:pt x="318" y="120"/>
                  <a:pt x="318" y="120"/>
                </a:cubicBezTo>
                <a:cubicBezTo>
                  <a:pt x="318" y="120"/>
                  <a:pt x="318" y="120"/>
                  <a:pt x="318" y="120"/>
                </a:cubicBezTo>
                <a:cubicBezTo>
                  <a:pt x="318" y="119"/>
                  <a:pt x="318" y="119"/>
                  <a:pt x="318" y="119"/>
                </a:cubicBezTo>
                <a:cubicBezTo>
                  <a:pt x="319" y="120"/>
                  <a:pt x="319" y="120"/>
                  <a:pt x="319" y="120"/>
                </a:cubicBezTo>
                <a:cubicBezTo>
                  <a:pt x="321" y="120"/>
                  <a:pt x="321" y="120"/>
                  <a:pt x="321" y="120"/>
                </a:cubicBezTo>
                <a:cubicBezTo>
                  <a:pt x="322" y="120"/>
                  <a:pt x="322" y="120"/>
                  <a:pt x="322" y="120"/>
                </a:cubicBezTo>
                <a:cubicBezTo>
                  <a:pt x="321" y="119"/>
                  <a:pt x="321" y="119"/>
                  <a:pt x="321" y="119"/>
                </a:cubicBezTo>
                <a:cubicBezTo>
                  <a:pt x="320" y="119"/>
                  <a:pt x="320" y="119"/>
                  <a:pt x="320" y="119"/>
                </a:cubicBezTo>
                <a:cubicBezTo>
                  <a:pt x="321" y="119"/>
                  <a:pt x="321" y="119"/>
                  <a:pt x="321" y="119"/>
                </a:cubicBezTo>
                <a:cubicBezTo>
                  <a:pt x="323" y="119"/>
                  <a:pt x="323" y="119"/>
                  <a:pt x="323" y="119"/>
                </a:cubicBezTo>
                <a:cubicBezTo>
                  <a:pt x="324" y="118"/>
                  <a:pt x="324" y="118"/>
                  <a:pt x="324" y="118"/>
                </a:cubicBezTo>
                <a:cubicBezTo>
                  <a:pt x="325" y="118"/>
                  <a:pt x="325" y="118"/>
                  <a:pt x="325" y="118"/>
                </a:cubicBezTo>
                <a:cubicBezTo>
                  <a:pt x="327" y="118"/>
                  <a:pt x="327" y="118"/>
                  <a:pt x="327" y="118"/>
                </a:cubicBezTo>
                <a:cubicBezTo>
                  <a:pt x="328" y="118"/>
                  <a:pt x="328" y="118"/>
                  <a:pt x="328" y="118"/>
                </a:cubicBezTo>
                <a:cubicBezTo>
                  <a:pt x="327" y="117"/>
                  <a:pt x="327" y="117"/>
                  <a:pt x="327" y="117"/>
                </a:cubicBezTo>
                <a:cubicBezTo>
                  <a:pt x="322" y="116"/>
                  <a:pt x="322" y="116"/>
                  <a:pt x="322" y="116"/>
                </a:cubicBezTo>
                <a:cubicBezTo>
                  <a:pt x="321" y="116"/>
                  <a:pt x="321" y="116"/>
                  <a:pt x="321" y="116"/>
                </a:cubicBezTo>
                <a:cubicBezTo>
                  <a:pt x="320" y="116"/>
                  <a:pt x="320" y="116"/>
                  <a:pt x="320" y="116"/>
                </a:cubicBezTo>
                <a:cubicBezTo>
                  <a:pt x="318" y="116"/>
                  <a:pt x="318" y="116"/>
                  <a:pt x="318" y="116"/>
                </a:cubicBezTo>
                <a:cubicBezTo>
                  <a:pt x="317" y="115"/>
                  <a:pt x="317" y="115"/>
                  <a:pt x="317" y="115"/>
                </a:cubicBezTo>
                <a:cubicBezTo>
                  <a:pt x="316" y="116"/>
                  <a:pt x="316" y="116"/>
                  <a:pt x="316" y="116"/>
                </a:cubicBezTo>
                <a:cubicBezTo>
                  <a:pt x="315" y="115"/>
                  <a:pt x="315" y="115"/>
                  <a:pt x="315" y="115"/>
                </a:cubicBezTo>
                <a:cubicBezTo>
                  <a:pt x="314" y="115"/>
                  <a:pt x="314" y="115"/>
                  <a:pt x="314" y="115"/>
                </a:cubicBezTo>
                <a:cubicBezTo>
                  <a:pt x="313" y="116"/>
                  <a:pt x="313" y="116"/>
                  <a:pt x="313" y="116"/>
                </a:cubicBezTo>
                <a:cubicBezTo>
                  <a:pt x="313" y="115"/>
                  <a:pt x="313" y="115"/>
                  <a:pt x="313" y="115"/>
                </a:cubicBezTo>
                <a:cubicBezTo>
                  <a:pt x="312" y="115"/>
                  <a:pt x="312" y="115"/>
                  <a:pt x="312" y="115"/>
                </a:cubicBezTo>
                <a:cubicBezTo>
                  <a:pt x="312" y="115"/>
                  <a:pt x="312" y="115"/>
                  <a:pt x="312" y="115"/>
                </a:cubicBezTo>
                <a:cubicBezTo>
                  <a:pt x="312" y="114"/>
                  <a:pt x="312" y="114"/>
                  <a:pt x="312" y="114"/>
                </a:cubicBezTo>
                <a:cubicBezTo>
                  <a:pt x="313" y="114"/>
                  <a:pt x="313" y="114"/>
                  <a:pt x="313" y="114"/>
                </a:cubicBezTo>
                <a:cubicBezTo>
                  <a:pt x="313" y="113"/>
                  <a:pt x="313" y="113"/>
                  <a:pt x="313" y="113"/>
                </a:cubicBezTo>
                <a:cubicBezTo>
                  <a:pt x="314" y="113"/>
                  <a:pt x="314" y="113"/>
                  <a:pt x="314" y="113"/>
                </a:cubicBezTo>
                <a:cubicBezTo>
                  <a:pt x="315" y="113"/>
                  <a:pt x="315" y="113"/>
                  <a:pt x="315" y="113"/>
                </a:cubicBezTo>
                <a:cubicBezTo>
                  <a:pt x="314" y="113"/>
                  <a:pt x="314" y="113"/>
                  <a:pt x="314" y="113"/>
                </a:cubicBezTo>
                <a:cubicBezTo>
                  <a:pt x="315" y="112"/>
                  <a:pt x="315" y="112"/>
                  <a:pt x="315" y="112"/>
                </a:cubicBezTo>
                <a:cubicBezTo>
                  <a:pt x="315" y="111"/>
                  <a:pt x="315" y="111"/>
                  <a:pt x="315" y="111"/>
                </a:cubicBezTo>
                <a:cubicBezTo>
                  <a:pt x="316" y="111"/>
                  <a:pt x="316" y="111"/>
                  <a:pt x="316" y="111"/>
                </a:cubicBezTo>
                <a:cubicBezTo>
                  <a:pt x="317" y="111"/>
                  <a:pt x="317" y="111"/>
                  <a:pt x="317" y="111"/>
                </a:cubicBezTo>
                <a:cubicBezTo>
                  <a:pt x="317" y="112"/>
                  <a:pt x="317" y="112"/>
                  <a:pt x="317" y="112"/>
                </a:cubicBezTo>
                <a:cubicBezTo>
                  <a:pt x="318" y="112"/>
                  <a:pt x="318" y="112"/>
                  <a:pt x="318" y="112"/>
                </a:cubicBezTo>
                <a:cubicBezTo>
                  <a:pt x="318" y="114"/>
                  <a:pt x="318" y="114"/>
                  <a:pt x="318" y="114"/>
                </a:cubicBezTo>
                <a:cubicBezTo>
                  <a:pt x="318" y="114"/>
                  <a:pt x="318" y="114"/>
                  <a:pt x="318" y="114"/>
                </a:cubicBezTo>
                <a:cubicBezTo>
                  <a:pt x="319" y="114"/>
                  <a:pt x="319" y="114"/>
                  <a:pt x="319" y="114"/>
                </a:cubicBezTo>
                <a:cubicBezTo>
                  <a:pt x="319" y="112"/>
                  <a:pt x="319" y="112"/>
                  <a:pt x="319" y="112"/>
                </a:cubicBezTo>
                <a:cubicBezTo>
                  <a:pt x="318" y="112"/>
                  <a:pt x="318" y="112"/>
                  <a:pt x="318" y="112"/>
                </a:cubicBezTo>
                <a:cubicBezTo>
                  <a:pt x="318" y="111"/>
                  <a:pt x="318" y="111"/>
                  <a:pt x="318" y="111"/>
                </a:cubicBezTo>
                <a:cubicBezTo>
                  <a:pt x="320" y="110"/>
                  <a:pt x="320" y="110"/>
                  <a:pt x="320" y="110"/>
                </a:cubicBezTo>
                <a:cubicBezTo>
                  <a:pt x="320" y="109"/>
                  <a:pt x="320" y="109"/>
                  <a:pt x="320" y="109"/>
                </a:cubicBezTo>
                <a:cubicBezTo>
                  <a:pt x="319" y="109"/>
                  <a:pt x="319" y="109"/>
                  <a:pt x="319" y="109"/>
                </a:cubicBezTo>
                <a:cubicBezTo>
                  <a:pt x="319" y="107"/>
                  <a:pt x="319" y="107"/>
                  <a:pt x="319" y="107"/>
                </a:cubicBezTo>
                <a:cubicBezTo>
                  <a:pt x="320" y="107"/>
                  <a:pt x="320" y="107"/>
                  <a:pt x="320" y="107"/>
                </a:cubicBezTo>
                <a:cubicBezTo>
                  <a:pt x="321" y="106"/>
                  <a:pt x="321" y="106"/>
                  <a:pt x="321" y="106"/>
                </a:cubicBezTo>
                <a:cubicBezTo>
                  <a:pt x="322" y="106"/>
                  <a:pt x="322" y="106"/>
                  <a:pt x="322" y="106"/>
                </a:cubicBezTo>
                <a:cubicBezTo>
                  <a:pt x="321" y="105"/>
                  <a:pt x="321" y="105"/>
                  <a:pt x="321" y="105"/>
                </a:cubicBezTo>
                <a:cubicBezTo>
                  <a:pt x="321" y="105"/>
                  <a:pt x="321" y="105"/>
                  <a:pt x="321" y="105"/>
                </a:cubicBezTo>
                <a:cubicBezTo>
                  <a:pt x="320" y="105"/>
                  <a:pt x="320" y="105"/>
                  <a:pt x="320" y="105"/>
                </a:cubicBezTo>
                <a:cubicBezTo>
                  <a:pt x="320" y="104"/>
                  <a:pt x="320" y="104"/>
                  <a:pt x="320" y="104"/>
                </a:cubicBezTo>
                <a:cubicBezTo>
                  <a:pt x="321" y="103"/>
                  <a:pt x="321" y="103"/>
                  <a:pt x="321" y="103"/>
                </a:cubicBezTo>
                <a:cubicBezTo>
                  <a:pt x="322" y="102"/>
                  <a:pt x="322" y="102"/>
                  <a:pt x="322" y="102"/>
                </a:cubicBezTo>
                <a:cubicBezTo>
                  <a:pt x="323" y="102"/>
                  <a:pt x="323" y="102"/>
                  <a:pt x="323" y="102"/>
                </a:cubicBezTo>
                <a:cubicBezTo>
                  <a:pt x="323" y="102"/>
                  <a:pt x="323" y="102"/>
                  <a:pt x="323" y="102"/>
                </a:cubicBezTo>
                <a:cubicBezTo>
                  <a:pt x="324" y="103"/>
                  <a:pt x="324" y="103"/>
                  <a:pt x="324" y="103"/>
                </a:cubicBezTo>
                <a:cubicBezTo>
                  <a:pt x="324" y="104"/>
                  <a:pt x="324" y="104"/>
                  <a:pt x="324" y="104"/>
                </a:cubicBezTo>
                <a:cubicBezTo>
                  <a:pt x="324" y="105"/>
                  <a:pt x="324" y="105"/>
                  <a:pt x="324" y="105"/>
                </a:cubicBezTo>
                <a:cubicBezTo>
                  <a:pt x="324" y="105"/>
                  <a:pt x="324" y="105"/>
                  <a:pt x="324" y="105"/>
                </a:cubicBezTo>
                <a:cubicBezTo>
                  <a:pt x="324" y="106"/>
                  <a:pt x="324" y="106"/>
                  <a:pt x="324" y="106"/>
                </a:cubicBezTo>
                <a:cubicBezTo>
                  <a:pt x="325" y="107"/>
                  <a:pt x="325" y="107"/>
                  <a:pt x="325" y="107"/>
                </a:cubicBezTo>
                <a:cubicBezTo>
                  <a:pt x="325" y="111"/>
                  <a:pt x="325" y="111"/>
                  <a:pt x="325" y="111"/>
                </a:cubicBezTo>
                <a:cubicBezTo>
                  <a:pt x="325" y="112"/>
                  <a:pt x="325" y="112"/>
                  <a:pt x="325" y="112"/>
                </a:cubicBezTo>
                <a:cubicBezTo>
                  <a:pt x="325" y="112"/>
                  <a:pt x="325" y="112"/>
                  <a:pt x="325" y="112"/>
                </a:cubicBezTo>
                <a:cubicBezTo>
                  <a:pt x="326" y="113"/>
                  <a:pt x="326" y="113"/>
                  <a:pt x="326" y="113"/>
                </a:cubicBezTo>
                <a:cubicBezTo>
                  <a:pt x="328" y="112"/>
                  <a:pt x="328" y="112"/>
                  <a:pt x="328" y="112"/>
                </a:cubicBezTo>
                <a:cubicBezTo>
                  <a:pt x="327" y="111"/>
                  <a:pt x="327" y="111"/>
                  <a:pt x="327" y="111"/>
                </a:cubicBezTo>
                <a:cubicBezTo>
                  <a:pt x="327" y="109"/>
                  <a:pt x="327" y="109"/>
                  <a:pt x="327" y="109"/>
                </a:cubicBezTo>
                <a:cubicBezTo>
                  <a:pt x="328" y="109"/>
                  <a:pt x="328" y="109"/>
                  <a:pt x="328" y="109"/>
                </a:cubicBezTo>
                <a:cubicBezTo>
                  <a:pt x="328" y="108"/>
                  <a:pt x="328" y="108"/>
                  <a:pt x="328" y="108"/>
                </a:cubicBezTo>
                <a:cubicBezTo>
                  <a:pt x="326" y="107"/>
                  <a:pt x="326" y="107"/>
                  <a:pt x="326" y="107"/>
                </a:cubicBezTo>
                <a:cubicBezTo>
                  <a:pt x="327" y="106"/>
                  <a:pt x="327" y="106"/>
                  <a:pt x="327" y="106"/>
                </a:cubicBezTo>
                <a:cubicBezTo>
                  <a:pt x="328" y="106"/>
                  <a:pt x="328" y="106"/>
                  <a:pt x="328" y="106"/>
                </a:cubicBezTo>
                <a:cubicBezTo>
                  <a:pt x="329" y="107"/>
                  <a:pt x="329" y="107"/>
                  <a:pt x="329" y="107"/>
                </a:cubicBezTo>
                <a:cubicBezTo>
                  <a:pt x="329" y="106"/>
                  <a:pt x="329" y="106"/>
                  <a:pt x="329" y="106"/>
                </a:cubicBezTo>
                <a:cubicBezTo>
                  <a:pt x="327" y="105"/>
                  <a:pt x="327" y="105"/>
                  <a:pt x="327" y="105"/>
                </a:cubicBezTo>
                <a:cubicBezTo>
                  <a:pt x="327" y="103"/>
                  <a:pt x="327" y="103"/>
                  <a:pt x="327" y="103"/>
                </a:cubicBezTo>
                <a:cubicBezTo>
                  <a:pt x="327" y="103"/>
                  <a:pt x="327" y="103"/>
                  <a:pt x="327" y="103"/>
                </a:cubicBezTo>
                <a:cubicBezTo>
                  <a:pt x="327" y="101"/>
                  <a:pt x="327" y="101"/>
                  <a:pt x="327" y="101"/>
                </a:cubicBezTo>
                <a:cubicBezTo>
                  <a:pt x="328" y="101"/>
                  <a:pt x="328" y="101"/>
                  <a:pt x="328" y="101"/>
                </a:cubicBezTo>
                <a:cubicBezTo>
                  <a:pt x="329" y="100"/>
                  <a:pt x="329" y="100"/>
                  <a:pt x="329" y="100"/>
                </a:cubicBezTo>
                <a:cubicBezTo>
                  <a:pt x="330" y="100"/>
                  <a:pt x="330" y="100"/>
                  <a:pt x="330" y="100"/>
                </a:cubicBezTo>
                <a:cubicBezTo>
                  <a:pt x="331" y="100"/>
                  <a:pt x="331" y="100"/>
                  <a:pt x="331" y="100"/>
                </a:cubicBezTo>
                <a:cubicBezTo>
                  <a:pt x="331" y="100"/>
                  <a:pt x="332" y="99"/>
                  <a:pt x="332" y="99"/>
                </a:cubicBezTo>
                <a:cubicBezTo>
                  <a:pt x="332" y="99"/>
                  <a:pt x="333" y="99"/>
                  <a:pt x="333" y="99"/>
                </a:cubicBezTo>
                <a:cubicBezTo>
                  <a:pt x="333" y="100"/>
                  <a:pt x="333" y="100"/>
                  <a:pt x="333" y="100"/>
                </a:cubicBezTo>
                <a:cubicBezTo>
                  <a:pt x="334" y="101"/>
                  <a:pt x="334" y="101"/>
                  <a:pt x="334" y="101"/>
                </a:cubicBezTo>
                <a:cubicBezTo>
                  <a:pt x="335" y="100"/>
                  <a:pt x="335" y="100"/>
                  <a:pt x="335" y="100"/>
                </a:cubicBezTo>
                <a:cubicBezTo>
                  <a:pt x="336" y="101"/>
                  <a:pt x="336" y="101"/>
                  <a:pt x="336" y="101"/>
                </a:cubicBezTo>
                <a:cubicBezTo>
                  <a:pt x="335" y="103"/>
                  <a:pt x="335" y="103"/>
                  <a:pt x="335" y="103"/>
                </a:cubicBezTo>
                <a:cubicBezTo>
                  <a:pt x="334" y="104"/>
                  <a:pt x="334" y="104"/>
                  <a:pt x="334" y="104"/>
                </a:cubicBezTo>
                <a:cubicBezTo>
                  <a:pt x="335" y="105"/>
                  <a:pt x="335" y="105"/>
                  <a:pt x="335" y="105"/>
                </a:cubicBezTo>
                <a:cubicBezTo>
                  <a:pt x="335" y="105"/>
                  <a:pt x="335" y="105"/>
                  <a:pt x="335" y="105"/>
                </a:cubicBezTo>
                <a:cubicBezTo>
                  <a:pt x="336" y="105"/>
                  <a:pt x="336" y="105"/>
                  <a:pt x="336" y="105"/>
                </a:cubicBezTo>
                <a:cubicBezTo>
                  <a:pt x="336" y="105"/>
                  <a:pt x="336" y="105"/>
                  <a:pt x="336" y="105"/>
                </a:cubicBezTo>
                <a:cubicBezTo>
                  <a:pt x="337" y="104"/>
                  <a:pt x="337" y="104"/>
                  <a:pt x="337" y="104"/>
                </a:cubicBezTo>
                <a:cubicBezTo>
                  <a:pt x="337" y="102"/>
                  <a:pt x="337" y="102"/>
                  <a:pt x="337" y="102"/>
                </a:cubicBezTo>
                <a:cubicBezTo>
                  <a:pt x="338" y="101"/>
                  <a:pt x="338" y="101"/>
                  <a:pt x="338" y="101"/>
                </a:cubicBezTo>
                <a:cubicBezTo>
                  <a:pt x="339" y="102"/>
                  <a:pt x="339" y="102"/>
                  <a:pt x="339" y="102"/>
                </a:cubicBezTo>
                <a:cubicBezTo>
                  <a:pt x="340" y="102"/>
                  <a:pt x="340" y="102"/>
                  <a:pt x="340" y="102"/>
                </a:cubicBezTo>
                <a:cubicBezTo>
                  <a:pt x="340" y="101"/>
                  <a:pt x="340" y="101"/>
                  <a:pt x="340" y="101"/>
                </a:cubicBezTo>
                <a:cubicBezTo>
                  <a:pt x="339" y="100"/>
                  <a:pt x="339" y="100"/>
                  <a:pt x="339" y="100"/>
                </a:cubicBezTo>
                <a:cubicBezTo>
                  <a:pt x="340" y="100"/>
                  <a:pt x="340" y="100"/>
                  <a:pt x="340" y="100"/>
                </a:cubicBezTo>
                <a:cubicBezTo>
                  <a:pt x="341" y="101"/>
                  <a:pt x="341" y="101"/>
                  <a:pt x="341" y="101"/>
                </a:cubicBezTo>
                <a:cubicBezTo>
                  <a:pt x="341" y="102"/>
                  <a:pt x="341" y="102"/>
                  <a:pt x="341" y="102"/>
                </a:cubicBezTo>
                <a:cubicBezTo>
                  <a:pt x="341" y="103"/>
                  <a:pt x="341" y="103"/>
                  <a:pt x="341" y="103"/>
                </a:cubicBezTo>
                <a:cubicBezTo>
                  <a:pt x="340" y="103"/>
                  <a:pt x="340" y="103"/>
                  <a:pt x="340" y="103"/>
                </a:cubicBezTo>
                <a:cubicBezTo>
                  <a:pt x="340" y="103"/>
                  <a:pt x="340" y="103"/>
                  <a:pt x="340" y="103"/>
                </a:cubicBezTo>
                <a:cubicBezTo>
                  <a:pt x="340" y="104"/>
                  <a:pt x="340" y="104"/>
                  <a:pt x="340" y="104"/>
                </a:cubicBezTo>
                <a:cubicBezTo>
                  <a:pt x="342" y="105"/>
                  <a:pt x="342" y="105"/>
                  <a:pt x="342" y="105"/>
                </a:cubicBezTo>
                <a:cubicBezTo>
                  <a:pt x="342" y="106"/>
                  <a:pt x="342" y="106"/>
                  <a:pt x="342" y="106"/>
                </a:cubicBezTo>
                <a:cubicBezTo>
                  <a:pt x="342" y="107"/>
                  <a:pt x="342" y="107"/>
                  <a:pt x="342" y="107"/>
                </a:cubicBezTo>
                <a:cubicBezTo>
                  <a:pt x="341" y="108"/>
                  <a:pt x="341" y="108"/>
                  <a:pt x="341" y="108"/>
                </a:cubicBezTo>
                <a:cubicBezTo>
                  <a:pt x="340" y="110"/>
                  <a:pt x="340" y="110"/>
                  <a:pt x="340" y="110"/>
                </a:cubicBezTo>
                <a:cubicBezTo>
                  <a:pt x="340" y="111"/>
                  <a:pt x="340" y="111"/>
                  <a:pt x="340" y="111"/>
                </a:cubicBezTo>
                <a:cubicBezTo>
                  <a:pt x="339" y="112"/>
                  <a:pt x="339" y="112"/>
                  <a:pt x="339" y="112"/>
                </a:cubicBezTo>
                <a:cubicBezTo>
                  <a:pt x="338" y="113"/>
                  <a:pt x="338" y="113"/>
                  <a:pt x="338" y="113"/>
                </a:cubicBezTo>
                <a:cubicBezTo>
                  <a:pt x="337" y="114"/>
                  <a:pt x="337" y="114"/>
                  <a:pt x="337" y="114"/>
                </a:cubicBezTo>
                <a:cubicBezTo>
                  <a:pt x="336" y="115"/>
                  <a:pt x="336" y="115"/>
                  <a:pt x="336" y="115"/>
                </a:cubicBezTo>
                <a:cubicBezTo>
                  <a:pt x="335" y="116"/>
                  <a:pt x="335" y="116"/>
                  <a:pt x="335" y="116"/>
                </a:cubicBezTo>
                <a:cubicBezTo>
                  <a:pt x="335" y="117"/>
                  <a:pt x="335" y="117"/>
                  <a:pt x="335" y="117"/>
                </a:cubicBezTo>
                <a:cubicBezTo>
                  <a:pt x="335" y="118"/>
                  <a:pt x="335" y="118"/>
                  <a:pt x="335" y="118"/>
                </a:cubicBezTo>
                <a:cubicBezTo>
                  <a:pt x="334" y="118"/>
                  <a:pt x="334" y="118"/>
                  <a:pt x="334" y="118"/>
                </a:cubicBezTo>
                <a:cubicBezTo>
                  <a:pt x="333" y="118"/>
                  <a:pt x="333" y="118"/>
                  <a:pt x="333" y="118"/>
                </a:cubicBezTo>
                <a:cubicBezTo>
                  <a:pt x="333" y="118"/>
                  <a:pt x="333" y="118"/>
                  <a:pt x="333" y="118"/>
                </a:cubicBezTo>
                <a:cubicBezTo>
                  <a:pt x="333" y="119"/>
                  <a:pt x="333" y="119"/>
                  <a:pt x="333" y="119"/>
                </a:cubicBezTo>
                <a:cubicBezTo>
                  <a:pt x="334" y="119"/>
                  <a:pt x="334" y="119"/>
                  <a:pt x="334" y="119"/>
                </a:cubicBezTo>
                <a:cubicBezTo>
                  <a:pt x="334" y="120"/>
                  <a:pt x="334" y="120"/>
                  <a:pt x="334" y="120"/>
                </a:cubicBezTo>
                <a:cubicBezTo>
                  <a:pt x="333" y="122"/>
                  <a:pt x="333" y="122"/>
                  <a:pt x="333" y="122"/>
                </a:cubicBezTo>
                <a:cubicBezTo>
                  <a:pt x="332" y="123"/>
                  <a:pt x="332" y="123"/>
                  <a:pt x="332" y="123"/>
                </a:cubicBezTo>
                <a:cubicBezTo>
                  <a:pt x="332" y="122"/>
                  <a:pt x="332" y="122"/>
                  <a:pt x="332" y="122"/>
                </a:cubicBezTo>
                <a:cubicBezTo>
                  <a:pt x="332" y="121"/>
                  <a:pt x="332" y="121"/>
                  <a:pt x="332" y="121"/>
                </a:cubicBezTo>
                <a:cubicBezTo>
                  <a:pt x="331" y="121"/>
                  <a:pt x="331" y="121"/>
                  <a:pt x="331" y="121"/>
                </a:cubicBezTo>
                <a:cubicBezTo>
                  <a:pt x="331" y="121"/>
                  <a:pt x="331" y="121"/>
                  <a:pt x="331" y="121"/>
                </a:cubicBezTo>
                <a:cubicBezTo>
                  <a:pt x="331" y="122"/>
                  <a:pt x="331" y="122"/>
                  <a:pt x="331" y="122"/>
                </a:cubicBezTo>
                <a:cubicBezTo>
                  <a:pt x="330" y="123"/>
                  <a:pt x="330" y="123"/>
                  <a:pt x="330" y="123"/>
                </a:cubicBezTo>
                <a:cubicBezTo>
                  <a:pt x="329" y="123"/>
                  <a:pt x="329" y="123"/>
                  <a:pt x="329" y="123"/>
                </a:cubicBezTo>
                <a:cubicBezTo>
                  <a:pt x="328" y="124"/>
                  <a:pt x="328" y="124"/>
                  <a:pt x="328" y="124"/>
                </a:cubicBezTo>
                <a:cubicBezTo>
                  <a:pt x="328" y="125"/>
                  <a:pt x="328" y="125"/>
                  <a:pt x="328" y="125"/>
                </a:cubicBezTo>
                <a:cubicBezTo>
                  <a:pt x="328" y="125"/>
                  <a:pt x="328" y="125"/>
                  <a:pt x="328" y="125"/>
                </a:cubicBezTo>
                <a:cubicBezTo>
                  <a:pt x="329" y="125"/>
                  <a:pt x="329" y="125"/>
                  <a:pt x="329" y="125"/>
                </a:cubicBezTo>
                <a:cubicBezTo>
                  <a:pt x="329" y="126"/>
                  <a:pt x="329" y="126"/>
                  <a:pt x="329" y="126"/>
                </a:cubicBezTo>
                <a:cubicBezTo>
                  <a:pt x="329" y="126"/>
                  <a:pt x="329" y="126"/>
                  <a:pt x="329" y="126"/>
                </a:cubicBezTo>
                <a:cubicBezTo>
                  <a:pt x="329" y="127"/>
                  <a:pt x="329" y="127"/>
                  <a:pt x="329" y="127"/>
                </a:cubicBezTo>
                <a:cubicBezTo>
                  <a:pt x="329" y="128"/>
                  <a:pt x="329" y="128"/>
                  <a:pt x="329" y="128"/>
                </a:cubicBezTo>
                <a:cubicBezTo>
                  <a:pt x="328" y="129"/>
                  <a:pt x="328" y="129"/>
                  <a:pt x="328" y="129"/>
                </a:cubicBezTo>
                <a:cubicBezTo>
                  <a:pt x="328" y="127"/>
                  <a:pt x="328" y="127"/>
                  <a:pt x="328" y="127"/>
                </a:cubicBezTo>
                <a:cubicBezTo>
                  <a:pt x="327" y="126"/>
                  <a:pt x="327" y="126"/>
                  <a:pt x="327" y="126"/>
                </a:cubicBezTo>
                <a:cubicBezTo>
                  <a:pt x="327" y="125"/>
                  <a:pt x="327" y="125"/>
                  <a:pt x="327" y="125"/>
                </a:cubicBezTo>
                <a:cubicBezTo>
                  <a:pt x="327" y="126"/>
                  <a:pt x="327" y="126"/>
                  <a:pt x="327" y="126"/>
                </a:cubicBezTo>
                <a:cubicBezTo>
                  <a:pt x="327" y="127"/>
                  <a:pt x="327" y="127"/>
                  <a:pt x="327" y="127"/>
                </a:cubicBezTo>
                <a:cubicBezTo>
                  <a:pt x="327" y="128"/>
                  <a:pt x="327" y="128"/>
                  <a:pt x="327" y="128"/>
                </a:cubicBezTo>
                <a:cubicBezTo>
                  <a:pt x="326" y="129"/>
                  <a:pt x="326" y="129"/>
                  <a:pt x="326" y="129"/>
                </a:cubicBezTo>
                <a:cubicBezTo>
                  <a:pt x="323" y="129"/>
                  <a:pt x="323" y="129"/>
                  <a:pt x="323" y="129"/>
                </a:cubicBezTo>
                <a:cubicBezTo>
                  <a:pt x="322" y="128"/>
                  <a:pt x="322" y="128"/>
                  <a:pt x="322" y="128"/>
                </a:cubicBezTo>
                <a:cubicBezTo>
                  <a:pt x="322" y="127"/>
                  <a:pt x="322" y="127"/>
                  <a:pt x="322" y="127"/>
                </a:cubicBezTo>
                <a:cubicBezTo>
                  <a:pt x="321" y="128"/>
                  <a:pt x="321" y="128"/>
                  <a:pt x="321" y="128"/>
                </a:cubicBezTo>
                <a:cubicBezTo>
                  <a:pt x="320" y="128"/>
                  <a:pt x="320" y="128"/>
                  <a:pt x="320" y="128"/>
                </a:cubicBezTo>
                <a:cubicBezTo>
                  <a:pt x="320" y="127"/>
                  <a:pt x="320" y="127"/>
                  <a:pt x="320" y="127"/>
                </a:cubicBezTo>
                <a:cubicBezTo>
                  <a:pt x="321" y="126"/>
                  <a:pt x="321" y="126"/>
                  <a:pt x="321" y="126"/>
                </a:cubicBezTo>
                <a:cubicBezTo>
                  <a:pt x="320" y="127"/>
                  <a:pt x="320" y="127"/>
                  <a:pt x="320" y="127"/>
                </a:cubicBezTo>
                <a:cubicBezTo>
                  <a:pt x="319" y="128"/>
                  <a:pt x="319" y="128"/>
                  <a:pt x="319" y="128"/>
                </a:cubicBezTo>
                <a:cubicBezTo>
                  <a:pt x="319" y="128"/>
                  <a:pt x="319" y="128"/>
                  <a:pt x="319" y="128"/>
                </a:cubicBezTo>
                <a:close/>
                <a:moveTo>
                  <a:pt x="237" y="93"/>
                </a:moveTo>
                <a:cubicBezTo>
                  <a:pt x="236" y="93"/>
                  <a:pt x="236" y="93"/>
                  <a:pt x="236" y="93"/>
                </a:cubicBezTo>
                <a:cubicBezTo>
                  <a:pt x="237" y="92"/>
                  <a:pt x="237" y="92"/>
                  <a:pt x="237" y="92"/>
                </a:cubicBezTo>
                <a:cubicBezTo>
                  <a:pt x="240" y="90"/>
                  <a:pt x="240" y="90"/>
                  <a:pt x="240" y="90"/>
                </a:cubicBezTo>
                <a:cubicBezTo>
                  <a:pt x="241" y="89"/>
                  <a:pt x="241" y="89"/>
                  <a:pt x="241" y="89"/>
                </a:cubicBezTo>
                <a:cubicBezTo>
                  <a:pt x="242" y="88"/>
                  <a:pt x="242" y="88"/>
                  <a:pt x="242" y="88"/>
                </a:cubicBezTo>
                <a:cubicBezTo>
                  <a:pt x="243" y="88"/>
                  <a:pt x="243" y="88"/>
                  <a:pt x="243" y="88"/>
                </a:cubicBezTo>
                <a:cubicBezTo>
                  <a:pt x="245" y="87"/>
                  <a:pt x="245" y="87"/>
                  <a:pt x="245" y="87"/>
                </a:cubicBezTo>
                <a:cubicBezTo>
                  <a:pt x="247" y="87"/>
                  <a:pt x="247" y="87"/>
                  <a:pt x="247" y="87"/>
                </a:cubicBezTo>
                <a:cubicBezTo>
                  <a:pt x="248" y="86"/>
                  <a:pt x="248" y="86"/>
                  <a:pt x="248" y="86"/>
                </a:cubicBezTo>
                <a:cubicBezTo>
                  <a:pt x="248" y="86"/>
                  <a:pt x="248" y="86"/>
                  <a:pt x="248" y="86"/>
                </a:cubicBezTo>
                <a:cubicBezTo>
                  <a:pt x="250" y="86"/>
                  <a:pt x="250" y="86"/>
                  <a:pt x="250" y="86"/>
                </a:cubicBezTo>
                <a:cubicBezTo>
                  <a:pt x="251" y="86"/>
                  <a:pt x="251" y="86"/>
                  <a:pt x="251" y="86"/>
                </a:cubicBezTo>
                <a:cubicBezTo>
                  <a:pt x="250" y="87"/>
                  <a:pt x="250" y="87"/>
                  <a:pt x="250" y="87"/>
                </a:cubicBezTo>
                <a:cubicBezTo>
                  <a:pt x="249" y="88"/>
                  <a:pt x="249" y="88"/>
                  <a:pt x="249" y="88"/>
                </a:cubicBezTo>
                <a:cubicBezTo>
                  <a:pt x="247" y="89"/>
                  <a:pt x="247" y="89"/>
                  <a:pt x="247" y="89"/>
                </a:cubicBezTo>
                <a:cubicBezTo>
                  <a:pt x="243" y="92"/>
                  <a:pt x="243" y="92"/>
                  <a:pt x="243" y="92"/>
                </a:cubicBezTo>
                <a:cubicBezTo>
                  <a:pt x="242" y="94"/>
                  <a:pt x="242" y="94"/>
                  <a:pt x="242" y="94"/>
                </a:cubicBezTo>
                <a:cubicBezTo>
                  <a:pt x="241" y="94"/>
                  <a:pt x="241" y="94"/>
                  <a:pt x="241" y="94"/>
                </a:cubicBezTo>
                <a:cubicBezTo>
                  <a:pt x="240" y="94"/>
                  <a:pt x="240" y="94"/>
                  <a:pt x="240" y="94"/>
                </a:cubicBezTo>
                <a:cubicBezTo>
                  <a:pt x="239" y="95"/>
                  <a:pt x="239" y="95"/>
                  <a:pt x="239" y="95"/>
                </a:cubicBezTo>
                <a:cubicBezTo>
                  <a:pt x="239" y="95"/>
                  <a:pt x="239" y="95"/>
                  <a:pt x="239" y="95"/>
                </a:cubicBezTo>
                <a:cubicBezTo>
                  <a:pt x="238" y="94"/>
                  <a:pt x="238" y="94"/>
                  <a:pt x="238" y="94"/>
                </a:cubicBezTo>
                <a:cubicBezTo>
                  <a:pt x="238" y="93"/>
                  <a:pt x="238" y="93"/>
                  <a:pt x="238" y="93"/>
                </a:cubicBezTo>
                <a:cubicBezTo>
                  <a:pt x="237" y="93"/>
                  <a:pt x="237" y="93"/>
                  <a:pt x="237" y="93"/>
                </a:cubicBezTo>
                <a:close/>
                <a:moveTo>
                  <a:pt x="297" y="119"/>
                </a:moveTo>
                <a:cubicBezTo>
                  <a:pt x="297" y="119"/>
                  <a:pt x="297" y="119"/>
                  <a:pt x="297" y="119"/>
                </a:cubicBezTo>
                <a:cubicBezTo>
                  <a:pt x="297" y="118"/>
                  <a:pt x="297" y="118"/>
                  <a:pt x="297" y="118"/>
                </a:cubicBezTo>
                <a:cubicBezTo>
                  <a:pt x="299" y="118"/>
                  <a:pt x="299" y="118"/>
                  <a:pt x="299" y="118"/>
                </a:cubicBezTo>
                <a:cubicBezTo>
                  <a:pt x="299" y="117"/>
                  <a:pt x="299" y="117"/>
                  <a:pt x="299" y="117"/>
                </a:cubicBezTo>
                <a:cubicBezTo>
                  <a:pt x="299" y="116"/>
                  <a:pt x="299" y="116"/>
                  <a:pt x="299" y="116"/>
                </a:cubicBezTo>
                <a:cubicBezTo>
                  <a:pt x="301" y="115"/>
                  <a:pt x="301" y="115"/>
                  <a:pt x="301" y="115"/>
                </a:cubicBezTo>
                <a:cubicBezTo>
                  <a:pt x="301" y="115"/>
                  <a:pt x="301" y="115"/>
                  <a:pt x="301" y="115"/>
                </a:cubicBezTo>
                <a:cubicBezTo>
                  <a:pt x="303" y="115"/>
                  <a:pt x="303" y="115"/>
                  <a:pt x="303" y="115"/>
                </a:cubicBezTo>
                <a:cubicBezTo>
                  <a:pt x="303" y="116"/>
                  <a:pt x="303" y="116"/>
                  <a:pt x="303" y="116"/>
                </a:cubicBezTo>
                <a:cubicBezTo>
                  <a:pt x="303" y="117"/>
                  <a:pt x="303" y="117"/>
                  <a:pt x="303" y="117"/>
                </a:cubicBezTo>
                <a:cubicBezTo>
                  <a:pt x="303" y="118"/>
                  <a:pt x="303" y="118"/>
                  <a:pt x="303" y="118"/>
                </a:cubicBezTo>
                <a:cubicBezTo>
                  <a:pt x="302" y="119"/>
                  <a:pt x="302" y="119"/>
                  <a:pt x="302" y="119"/>
                </a:cubicBezTo>
                <a:cubicBezTo>
                  <a:pt x="301" y="120"/>
                  <a:pt x="301" y="120"/>
                  <a:pt x="301" y="120"/>
                </a:cubicBezTo>
                <a:cubicBezTo>
                  <a:pt x="300" y="120"/>
                  <a:pt x="300" y="120"/>
                  <a:pt x="300" y="120"/>
                </a:cubicBezTo>
                <a:cubicBezTo>
                  <a:pt x="300" y="121"/>
                  <a:pt x="300" y="121"/>
                  <a:pt x="300" y="121"/>
                </a:cubicBezTo>
                <a:cubicBezTo>
                  <a:pt x="299" y="121"/>
                  <a:pt x="299" y="121"/>
                  <a:pt x="299" y="121"/>
                </a:cubicBezTo>
                <a:cubicBezTo>
                  <a:pt x="298" y="120"/>
                  <a:pt x="298" y="120"/>
                  <a:pt x="298" y="120"/>
                </a:cubicBezTo>
                <a:cubicBezTo>
                  <a:pt x="297" y="119"/>
                  <a:pt x="297" y="119"/>
                  <a:pt x="297" y="119"/>
                </a:cubicBezTo>
                <a:close/>
                <a:moveTo>
                  <a:pt x="249" y="117"/>
                </a:moveTo>
                <a:cubicBezTo>
                  <a:pt x="249" y="116"/>
                  <a:pt x="249" y="116"/>
                  <a:pt x="249" y="116"/>
                </a:cubicBezTo>
                <a:cubicBezTo>
                  <a:pt x="249" y="115"/>
                  <a:pt x="249" y="115"/>
                  <a:pt x="249" y="115"/>
                </a:cubicBezTo>
                <a:cubicBezTo>
                  <a:pt x="249" y="113"/>
                  <a:pt x="249" y="113"/>
                  <a:pt x="249" y="113"/>
                </a:cubicBezTo>
                <a:cubicBezTo>
                  <a:pt x="251" y="113"/>
                  <a:pt x="251" y="113"/>
                  <a:pt x="251" y="113"/>
                </a:cubicBezTo>
                <a:cubicBezTo>
                  <a:pt x="253" y="113"/>
                  <a:pt x="253" y="113"/>
                  <a:pt x="253" y="113"/>
                </a:cubicBezTo>
                <a:cubicBezTo>
                  <a:pt x="254" y="113"/>
                  <a:pt x="254" y="113"/>
                  <a:pt x="254" y="113"/>
                </a:cubicBezTo>
                <a:cubicBezTo>
                  <a:pt x="256" y="113"/>
                  <a:pt x="256" y="113"/>
                  <a:pt x="256" y="113"/>
                </a:cubicBezTo>
                <a:cubicBezTo>
                  <a:pt x="257" y="113"/>
                  <a:pt x="257" y="113"/>
                  <a:pt x="257" y="113"/>
                </a:cubicBezTo>
                <a:cubicBezTo>
                  <a:pt x="258" y="112"/>
                  <a:pt x="258" y="112"/>
                  <a:pt x="258" y="112"/>
                </a:cubicBezTo>
                <a:cubicBezTo>
                  <a:pt x="260" y="112"/>
                  <a:pt x="260" y="112"/>
                  <a:pt x="260" y="112"/>
                </a:cubicBezTo>
                <a:cubicBezTo>
                  <a:pt x="262" y="113"/>
                  <a:pt x="262" y="113"/>
                  <a:pt x="262" y="113"/>
                </a:cubicBezTo>
                <a:cubicBezTo>
                  <a:pt x="264" y="113"/>
                  <a:pt x="264" y="113"/>
                  <a:pt x="264" y="113"/>
                </a:cubicBezTo>
                <a:cubicBezTo>
                  <a:pt x="265" y="113"/>
                  <a:pt x="265" y="113"/>
                  <a:pt x="265" y="113"/>
                </a:cubicBezTo>
                <a:cubicBezTo>
                  <a:pt x="266" y="112"/>
                  <a:pt x="266" y="112"/>
                  <a:pt x="266" y="112"/>
                </a:cubicBezTo>
                <a:cubicBezTo>
                  <a:pt x="269" y="112"/>
                  <a:pt x="269" y="112"/>
                  <a:pt x="269" y="112"/>
                </a:cubicBezTo>
                <a:cubicBezTo>
                  <a:pt x="269" y="111"/>
                  <a:pt x="269" y="111"/>
                  <a:pt x="269" y="111"/>
                </a:cubicBezTo>
                <a:cubicBezTo>
                  <a:pt x="270" y="111"/>
                  <a:pt x="270" y="111"/>
                  <a:pt x="270" y="111"/>
                </a:cubicBezTo>
                <a:cubicBezTo>
                  <a:pt x="269" y="110"/>
                  <a:pt x="269" y="110"/>
                  <a:pt x="269" y="110"/>
                </a:cubicBezTo>
                <a:cubicBezTo>
                  <a:pt x="268" y="111"/>
                  <a:pt x="268" y="111"/>
                  <a:pt x="268" y="111"/>
                </a:cubicBezTo>
                <a:cubicBezTo>
                  <a:pt x="267" y="111"/>
                  <a:pt x="267" y="111"/>
                  <a:pt x="267" y="111"/>
                </a:cubicBezTo>
                <a:cubicBezTo>
                  <a:pt x="267" y="110"/>
                  <a:pt x="267" y="110"/>
                  <a:pt x="267" y="110"/>
                </a:cubicBezTo>
                <a:cubicBezTo>
                  <a:pt x="265" y="111"/>
                  <a:pt x="265" y="111"/>
                  <a:pt x="265" y="111"/>
                </a:cubicBezTo>
                <a:cubicBezTo>
                  <a:pt x="263" y="111"/>
                  <a:pt x="263" y="111"/>
                  <a:pt x="263" y="111"/>
                </a:cubicBezTo>
                <a:cubicBezTo>
                  <a:pt x="263" y="110"/>
                  <a:pt x="263" y="110"/>
                  <a:pt x="263" y="110"/>
                </a:cubicBezTo>
                <a:cubicBezTo>
                  <a:pt x="262" y="109"/>
                  <a:pt x="262" y="109"/>
                  <a:pt x="262" y="109"/>
                </a:cubicBezTo>
                <a:cubicBezTo>
                  <a:pt x="261" y="110"/>
                  <a:pt x="261" y="110"/>
                  <a:pt x="261" y="110"/>
                </a:cubicBezTo>
                <a:cubicBezTo>
                  <a:pt x="260" y="110"/>
                  <a:pt x="260" y="110"/>
                  <a:pt x="260" y="110"/>
                </a:cubicBezTo>
                <a:cubicBezTo>
                  <a:pt x="259" y="110"/>
                  <a:pt x="259" y="110"/>
                  <a:pt x="259" y="110"/>
                </a:cubicBezTo>
                <a:cubicBezTo>
                  <a:pt x="259" y="110"/>
                  <a:pt x="259" y="110"/>
                  <a:pt x="259" y="110"/>
                </a:cubicBezTo>
                <a:cubicBezTo>
                  <a:pt x="257" y="110"/>
                  <a:pt x="257" y="110"/>
                  <a:pt x="257" y="110"/>
                </a:cubicBezTo>
                <a:cubicBezTo>
                  <a:pt x="256" y="110"/>
                  <a:pt x="256" y="110"/>
                  <a:pt x="256" y="110"/>
                </a:cubicBezTo>
                <a:cubicBezTo>
                  <a:pt x="256" y="109"/>
                  <a:pt x="256" y="109"/>
                  <a:pt x="256" y="109"/>
                </a:cubicBezTo>
                <a:cubicBezTo>
                  <a:pt x="257" y="108"/>
                  <a:pt x="257" y="108"/>
                  <a:pt x="257" y="108"/>
                </a:cubicBezTo>
                <a:cubicBezTo>
                  <a:pt x="259" y="107"/>
                  <a:pt x="259" y="107"/>
                  <a:pt x="259" y="107"/>
                </a:cubicBezTo>
                <a:cubicBezTo>
                  <a:pt x="258" y="107"/>
                  <a:pt x="258" y="107"/>
                  <a:pt x="258" y="107"/>
                </a:cubicBezTo>
                <a:cubicBezTo>
                  <a:pt x="256" y="107"/>
                  <a:pt x="256" y="107"/>
                  <a:pt x="256" y="107"/>
                </a:cubicBezTo>
                <a:cubicBezTo>
                  <a:pt x="256" y="108"/>
                  <a:pt x="256" y="108"/>
                  <a:pt x="256" y="108"/>
                </a:cubicBezTo>
                <a:cubicBezTo>
                  <a:pt x="255" y="106"/>
                  <a:pt x="255" y="106"/>
                  <a:pt x="255" y="106"/>
                </a:cubicBezTo>
                <a:cubicBezTo>
                  <a:pt x="255" y="107"/>
                  <a:pt x="255" y="107"/>
                  <a:pt x="255" y="107"/>
                </a:cubicBezTo>
                <a:cubicBezTo>
                  <a:pt x="254" y="108"/>
                  <a:pt x="254" y="108"/>
                  <a:pt x="254" y="108"/>
                </a:cubicBezTo>
                <a:cubicBezTo>
                  <a:pt x="252" y="109"/>
                  <a:pt x="252" y="109"/>
                  <a:pt x="252" y="109"/>
                </a:cubicBezTo>
                <a:cubicBezTo>
                  <a:pt x="252" y="110"/>
                  <a:pt x="252" y="110"/>
                  <a:pt x="252" y="110"/>
                </a:cubicBezTo>
                <a:cubicBezTo>
                  <a:pt x="251" y="110"/>
                  <a:pt x="251" y="110"/>
                  <a:pt x="251" y="110"/>
                </a:cubicBezTo>
                <a:cubicBezTo>
                  <a:pt x="249" y="109"/>
                  <a:pt x="249" y="109"/>
                  <a:pt x="249" y="109"/>
                </a:cubicBezTo>
                <a:cubicBezTo>
                  <a:pt x="249" y="108"/>
                  <a:pt x="249" y="108"/>
                  <a:pt x="249" y="108"/>
                </a:cubicBezTo>
                <a:cubicBezTo>
                  <a:pt x="250" y="107"/>
                  <a:pt x="250" y="107"/>
                  <a:pt x="250" y="107"/>
                </a:cubicBezTo>
                <a:cubicBezTo>
                  <a:pt x="249" y="108"/>
                  <a:pt x="249" y="108"/>
                  <a:pt x="249" y="108"/>
                </a:cubicBezTo>
                <a:cubicBezTo>
                  <a:pt x="248" y="107"/>
                  <a:pt x="248" y="107"/>
                  <a:pt x="248" y="107"/>
                </a:cubicBezTo>
                <a:cubicBezTo>
                  <a:pt x="248" y="109"/>
                  <a:pt x="248" y="109"/>
                  <a:pt x="248" y="109"/>
                </a:cubicBezTo>
                <a:cubicBezTo>
                  <a:pt x="247" y="109"/>
                  <a:pt x="247" y="109"/>
                  <a:pt x="247" y="109"/>
                </a:cubicBezTo>
                <a:cubicBezTo>
                  <a:pt x="246" y="109"/>
                  <a:pt x="246" y="109"/>
                  <a:pt x="246" y="109"/>
                </a:cubicBezTo>
                <a:cubicBezTo>
                  <a:pt x="246" y="107"/>
                  <a:pt x="246" y="107"/>
                  <a:pt x="246" y="107"/>
                </a:cubicBezTo>
                <a:cubicBezTo>
                  <a:pt x="245" y="106"/>
                  <a:pt x="245" y="106"/>
                  <a:pt x="245" y="106"/>
                </a:cubicBezTo>
                <a:cubicBezTo>
                  <a:pt x="245" y="105"/>
                  <a:pt x="245" y="105"/>
                  <a:pt x="245" y="105"/>
                </a:cubicBezTo>
                <a:cubicBezTo>
                  <a:pt x="245" y="105"/>
                  <a:pt x="245" y="105"/>
                  <a:pt x="245" y="105"/>
                </a:cubicBezTo>
                <a:cubicBezTo>
                  <a:pt x="244" y="106"/>
                  <a:pt x="244" y="106"/>
                  <a:pt x="244" y="106"/>
                </a:cubicBezTo>
                <a:cubicBezTo>
                  <a:pt x="244" y="106"/>
                  <a:pt x="244" y="106"/>
                  <a:pt x="244" y="106"/>
                </a:cubicBezTo>
                <a:cubicBezTo>
                  <a:pt x="242" y="104"/>
                  <a:pt x="242" y="104"/>
                  <a:pt x="242" y="104"/>
                </a:cubicBezTo>
                <a:cubicBezTo>
                  <a:pt x="240" y="103"/>
                  <a:pt x="240" y="103"/>
                  <a:pt x="240" y="103"/>
                </a:cubicBezTo>
                <a:cubicBezTo>
                  <a:pt x="240" y="103"/>
                  <a:pt x="240" y="103"/>
                  <a:pt x="240" y="103"/>
                </a:cubicBezTo>
                <a:cubicBezTo>
                  <a:pt x="242" y="102"/>
                  <a:pt x="242" y="102"/>
                  <a:pt x="242" y="102"/>
                </a:cubicBezTo>
                <a:cubicBezTo>
                  <a:pt x="242" y="101"/>
                  <a:pt x="242" y="101"/>
                  <a:pt x="242" y="101"/>
                </a:cubicBezTo>
                <a:cubicBezTo>
                  <a:pt x="241" y="100"/>
                  <a:pt x="241" y="100"/>
                  <a:pt x="241" y="100"/>
                </a:cubicBezTo>
                <a:cubicBezTo>
                  <a:pt x="244" y="99"/>
                  <a:pt x="244" y="99"/>
                  <a:pt x="244" y="99"/>
                </a:cubicBezTo>
                <a:cubicBezTo>
                  <a:pt x="245" y="98"/>
                  <a:pt x="245" y="98"/>
                  <a:pt x="245" y="98"/>
                </a:cubicBezTo>
                <a:cubicBezTo>
                  <a:pt x="246" y="99"/>
                  <a:pt x="246" y="99"/>
                  <a:pt x="246" y="99"/>
                </a:cubicBezTo>
                <a:cubicBezTo>
                  <a:pt x="248" y="99"/>
                  <a:pt x="248" y="99"/>
                  <a:pt x="248" y="99"/>
                </a:cubicBezTo>
                <a:cubicBezTo>
                  <a:pt x="249" y="100"/>
                  <a:pt x="249" y="100"/>
                  <a:pt x="249" y="100"/>
                </a:cubicBezTo>
                <a:cubicBezTo>
                  <a:pt x="251" y="100"/>
                  <a:pt x="251" y="100"/>
                  <a:pt x="251" y="100"/>
                </a:cubicBezTo>
                <a:cubicBezTo>
                  <a:pt x="252" y="99"/>
                  <a:pt x="252" y="99"/>
                  <a:pt x="252" y="99"/>
                </a:cubicBezTo>
                <a:cubicBezTo>
                  <a:pt x="253" y="99"/>
                  <a:pt x="253" y="99"/>
                  <a:pt x="253" y="99"/>
                </a:cubicBezTo>
                <a:cubicBezTo>
                  <a:pt x="255" y="98"/>
                  <a:pt x="255" y="98"/>
                  <a:pt x="255" y="98"/>
                </a:cubicBezTo>
                <a:cubicBezTo>
                  <a:pt x="254" y="97"/>
                  <a:pt x="254" y="97"/>
                  <a:pt x="254" y="97"/>
                </a:cubicBezTo>
                <a:cubicBezTo>
                  <a:pt x="253" y="97"/>
                  <a:pt x="253" y="97"/>
                  <a:pt x="253" y="97"/>
                </a:cubicBezTo>
                <a:cubicBezTo>
                  <a:pt x="252" y="97"/>
                  <a:pt x="252" y="97"/>
                  <a:pt x="252" y="97"/>
                </a:cubicBezTo>
                <a:cubicBezTo>
                  <a:pt x="251" y="97"/>
                  <a:pt x="251" y="97"/>
                  <a:pt x="251" y="97"/>
                </a:cubicBezTo>
                <a:cubicBezTo>
                  <a:pt x="249" y="96"/>
                  <a:pt x="249" y="96"/>
                  <a:pt x="249" y="96"/>
                </a:cubicBezTo>
                <a:cubicBezTo>
                  <a:pt x="247" y="96"/>
                  <a:pt x="247" y="96"/>
                  <a:pt x="247" y="96"/>
                </a:cubicBezTo>
                <a:cubicBezTo>
                  <a:pt x="247" y="96"/>
                  <a:pt x="247" y="96"/>
                  <a:pt x="247" y="96"/>
                </a:cubicBezTo>
                <a:cubicBezTo>
                  <a:pt x="249" y="94"/>
                  <a:pt x="249" y="94"/>
                  <a:pt x="249" y="94"/>
                </a:cubicBezTo>
                <a:cubicBezTo>
                  <a:pt x="250" y="93"/>
                  <a:pt x="250" y="93"/>
                  <a:pt x="250" y="93"/>
                </a:cubicBezTo>
                <a:cubicBezTo>
                  <a:pt x="251" y="92"/>
                  <a:pt x="251" y="92"/>
                  <a:pt x="251" y="92"/>
                </a:cubicBezTo>
                <a:cubicBezTo>
                  <a:pt x="252" y="93"/>
                  <a:pt x="252" y="93"/>
                  <a:pt x="252" y="93"/>
                </a:cubicBezTo>
                <a:cubicBezTo>
                  <a:pt x="255" y="92"/>
                  <a:pt x="255" y="92"/>
                  <a:pt x="255" y="92"/>
                </a:cubicBezTo>
                <a:cubicBezTo>
                  <a:pt x="257" y="92"/>
                  <a:pt x="257" y="92"/>
                  <a:pt x="257" y="92"/>
                </a:cubicBezTo>
                <a:cubicBezTo>
                  <a:pt x="259" y="93"/>
                  <a:pt x="259" y="93"/>
                  <a:pt x="259" y="93"/>
                </a:cubicBezTo>
                <a:cubicBezTo>
                  <a:pt x="260" y="93"/>
                  <a:pt x="260" y="93"/>
                  <a:pt x="260" y="93"/>
                </a:cubicBezTo>
                <a:cubicBezTo>
                  <a:pt x="259" y="92"/>
                  <a:pt x="259" y="92"/>
                  <a:pt x="259" y="92"/>
                </a:cubicBezTo>
                <a:cubicBezTo>
                  <a:pt x="258" y="92"/>
                  <a:pt x="258" y="92"/>
                  <a:pt x="258" y="92"/>
                </a:cubicBezTo>
                <a:cubicBezTo>
                  <a:pt x="257" y="91"/>
                  <a:pt x="257" y="91"/>
                  <a:pt x="257" y="91"/>
                </a:cubicBezTo>
                <a:cubicBezTo>
                  <a:pt x="256" y="91"/>
                  <a:pt x="256" y="91"/>
                  <a:pt x="256" y="91"/>
                </a:cubicBezTo>
                <a:cubicBezTo>
                  <a:pt x="253" y="91"/>
                  <a:pt x="253" y="91"/>
                  <a:pt x="253" y="91"/>
                </a:cubicBezTo>
                <a:cubicBezTo>
                  <a:pt x="253" y="89"/>
                  <a:pt x="253" y="89"/>
                  <a:pt x="253" y="89"/>
                </a:cubicBezTo>
                <a:cubicBezTo>
                  <a:pt x="254" y="88"/>
                  <a:pt x="254" y="88"/>
                  <a:pt x="254" y="88"/>
                </a:cubicBezTo>
                <a:cubicBezTo>
                  <a:pt x="255" y="87"/>
                  <a:pt x="255" y="87"/>
                  <a:pt x="255" y="87"/>
                </a:cubicBezTo>
                <a:cubicBezTo>
                  <a:pt x="256" y="87"/>
                  <a:pt x="256" y="87"/>
                  <a:pt x="256" y="87"/>
                </a:cubicBezTo>
                <a:cubicBezTo>
                  <a:pt x="256" y="87"/>
                  <a:pt x="256" y="87"/>
                  <a:pt x="256" y="87"/>
                </a:cubicBezTo>
                <a:cubicBezTo>
                  <a:pt x="258" y="86"/>
                  <a:pt x="258" y="86"/>
                  <a:pt x="258" y="86"/>
                </a:cubicBezTo>
                <a:cubicBezTo>
                  <a:pt x="259" y="86"/>
                  <a:pt x="259" y="86"/>
                  <a:pt x="259" y="86"/>
                </a:cubicBezTo>
                <a:cubicBezTo>
                  <a:pt x="259" y="87"/>
                  <a:pt x="259" y="87"/>
                  <a:pt x="259" y="87"/>
                </a:cubicBezTo>
                <a:cubicBezTo>
                  <a:pt x="260" y="87"/>
                  <a:pt x="260" y="87"/>
                  <a:pt x="260" y="87"/>
                </a:cubicBezTo>
                <a:cubicBezTo>
                  <a:pt x="262" y="88"/>
                  <a:pt x="262" y="88"/>
                  <a:pt x="262" y="88"/>
                </a:cubicBezTo>
                <a:cubicBezTo>
                  <a:pt x="263" y="88"/>
                  <a:pt x="263" y="88"/>
                  <a:pt x="263" y="88"/>
                </a:cubicBezTo>
                <a:cubicBezTo>
                  <a:pt x="262" y="87"/>
                  <a:pt x="262" y="87"/>
                  <a:pt x="262" y="87"/>
                </a:cubicBezTo>
                <a:cubicBezTo>
                  <a:pt x="261" y="86"/>
                  <a:pt x="261" y="86"/>
                  <a:pt x="261" y="86"/>
                </a:cubicBezTo>
                <a:cubicBezTo>
                  <a:pt x="260" y="85"/>
                  <a:pt x="260" y="85"/>
                  <a:pt x="260" y="85"/>
                </a:cubicBezTo>
                <a:cubicBezTo>
                  <a:pt x="260" y="84"/>
                  <a:pt x="260" y="84"/>
                  <a:pt x="260" y="84"/>
                </a:cubicBezTo>
                <a:cubicBezTo>
                  <a:pt x="261" y="84"/>
                  <a:pt x="261" y="84"/>
                  <a:pt x="261" y="84"/>
                </a:cubicBezTo>
                <a:cubicBezTo>
                  <a:pt x="264" y="83"/>
                  <a:pt x="264" y="83"/>
                  <a:pt x="264" y="83"/>
                </a:cubicBezTo>
                <a:cubicBezTo>
                  <a:pt x="265" y="83"/>
                  <a:pt x="265" y="83"/>
                  <a:pt x="265" y="83"/>
                </a:cubicBezTo>
                <a:cubicBezTo>
                  <a:pt x="267" y="83"/>
                  <a:pt x="267" y="83"/>
                  <a:pt x="267" y="83"/>
                </a:cubicBezTo>
                <a:cubicBezTo>
                  <a:pt x="268" y="84"/>
                  <a:pt x="268" y="84"/>
                  <a:pt x="268" y="84"/>
                </a:cubicBezTo>
                <a:cubicBezTo>
                  <a:pt x="269" y="86"/>
                  <a:pt x="269" y="86"/>
                  <a:pt x="269" y="86"/>
                </a:cubicBezTo>
                <a:cubicBezTo>
                  <a:pt x="268" y="87"/>
                  <a:pt x="268" y="87"/>
                  <a:pt x="268" y="87"/>
                </a:cubicBezTo>
                <a:cubicBezTo>
                  <a:pt x="267" y="88"/>
                  <a:pt x="267" y="88"/>
                  <a:pt x="267" y="88"/>
                </a:cubicBezTo>
                <a:cubicBezTo>
                  <a:pt x="267" y="89"/>
                  <a:pt x="267" y="89"/>
                  <a:pt x="267" y="89"/>
                </a:cubicBezTo>
                <a:cubicBezTo>
                  <a:pt x="270" y="89"/>
                  <a:pt x="270" y="89"/>
                  <a:pt x="270" y="89"/>
                </a:cubicBezTo>
                <a:cubicBezTo>
                  <a:pt x="270" y="89"/>
                  <a:pt x="270" y="89"/>
                  <a:pt x="270" y="89"/>
                </a:cubicBezTo>
                <a:cubicBezTo>
                  <a:pt x="271" y="89"/>
                  <a:pt x="271" y="89"/>
                  <a:pt x="271" y="89"/>
                </a:cubicBezTo>
                <a:cubicBezTo>
                  <a:pt x="272" y="89"/>
                  <a:pt x="272" y="89"/>
                  <a:pt x="272" y="89"/>
                </a:cubicBezTo>
                <a:cubicBezTo>
                  <a:pt x="272" y="90"/>
                  <a:pt x="272" y="90"/>
                  <a:pt x="272" y="90"/>
                </a:cubicBezTo>
                <a:cubicBezTo>
                  <a:pt x="273" y="91"/>
                  <a:pt x="273" y="91"/>
                  <a:pt x="273" y="91"/>
                </a:cubicBezTo>
                <a:cubicBezTo>
                  <a:pt x="273" y="91"/>
                  <a:pt x="273" y="91"/>
                  <a:pt x="273" y="91"/>
                </a:cubicBezTo>
                <a:cubicBezTo>
                  <a:pt x="273" y="92"/>
                  <a:pt x="273" y="92"/>
                  <a:pt x="273" y="92"/>
                </a:cubicBezTo>
                <a:cubicBezTo>
                  <a:pt x="272" y="93"/>
                  <a:pt x="272" y="93"/>
                  <a:pt x="272" y="93"/>
                </a:cubicBezTo>
                <a:cubicBezTo>
                  <a:pt x="272" y="94"/>
                  <a:pt x="272" y="94"/>
                  <a:pt x="272" y="94"/>
                </a:cubicBezTo>
                <a:cubicBezTo>
                  <a:pt x="273" y="95"/>
                  <a:pt x="273" y="95"/>
                  <a:pt x="273" y="95"/>
                </a:cubicBezTo>
                <a:cubicBezTo>
                  <a:pt x="273" y="98"/>
                  <a:pt x="273" y="98"/>
                  <a:pt x="273" y="98"/>
                </a:cubicBezTo>
                <a:cubicBezTo>
                  <a:pt x="273" y="98"/>
                  <a:pt x="273" y="98"/>
                  <a:pt x="273" y="98"/>
                </a:cubicBezTo>
                <a:cubicBezTo>
                  <a:pt x="272" y="98"/>
                  <a:pt x="272" y="98"/>
                  <a:pt x="272" y="98"/>
                </a:cubicBezTo>
                <a:cubicBezTo>
                  <a:pt x="270" y="98"/>
                  <a:pt x="270" y="98"/>
                  <a:pt x="270" y="98"/>
                </a:cubicBezTo>
                <a:cubicBezTo>
                  <a:pt x="271" y="99"/>
                  <a:pt x="271" y="99"/>
                  <a:pt x="271" y="99"/>
                </a:cubicBezTo>
                <a:cubicBezTo>
                  <a:pt x="272" y="99"/>
                  <a:pt x="272" y="99"/>
                  <a:pt x="272" y="99"/>
                </a:cubicBezTo>
                <a:cubicBezTo>
                  <a:pt x="273" y="100"/>
                  <a:pt x="273" y="100"/>
                  <a:pt x="273" y="100"/>
                </a:cubicBezTo>
                <a:cubicBezTo>
                  <a:pt x="274" y="100"/>
                  <a:pt x="274" y="100"/>
                  <a:pt x="274" y="100"/>
                </a:cubicBezTo>
                <a:cubicBezTo>
                  <a:pt x="273" y="102"/>
                  <a:pt x="273" y="102"/>
                  <a:pt x="273" y="102"/>
                </a:cubicBezTo>
                <a:cubicBezTo>
                  <a:pt x="272" y="103"/>
                  <a:pt x="272" y="103"/>
                  <a:pt x="272" y="103"/>
                </a:cubicBezTo>
                <a:cubicBezTo>
                  <a:pt x="272" y="105"/>
                  <a:pt x="272" y="105"/>
                  <a:pt x="272" y="105"/>
                </a:cubicBezTo>
                <a:cubicBezTo>
                  <a:pt x="273" y="106"/>
                  <a:pt x="273" y="106"/>
                  <a:pt x="273" y="106"/>
                </a:cubicBezTo>
                <a:cubicBezTo>
                  <a:pt x="274" y="105"/>
                  <a:pt x="274" y="105"/>
                  <a:pt x="274" y="105"/>
                </a:cubicBezTo>
                <a:cubicBezTo>
                  <a:pt x="275" y="104"/>
                  <a:pt x="275" y="104"/>
                  <a:pt x="275" y="104"/>
                </a:cubicBezTo>
                <a:cubicBezTo>
                  <a:pt x="276" y="105"/>
                  <a:pt x="276" y="105"/>
                  <a:pt x="276" y="105"/>
                </a:cubicBezTo>
                <a:cubicBezTo>
                  <a:pt x="276" y="106"/>
                  <a:pt x="276" y="106"/>
                  <a:pt x="276" y="106"/>
                </a:cubicBezTo>
                <a:cubicBezTo>
                  <a:pt x="277" y="106"/>
                  <a:pt x="277" y="106"/>
                  <a:pt x="277" y="106"/>
                </a:cubicBezTo>
                <a:cubicBezTo>
                  <a:pt x="278" y="106"/>
                  <a:pt x="278" y="106"/>
                  <a:pt x="278" y="106"/>
                </a:cubicBezTo>
                <a:cubicBezTo>
                  <a:pt x="280" y="106"/>
                  <a:pt x="280" y="106"/>
                  <a:pt x="280" y="106"/>
                </a:cubicBezTo>
                <a:cubicBezTo>
                  <a:pt x="281" y="108"/>
                  <a:pt x="281" y="108"/>
                  <a:pt x="281" y="108"/>
                </a:cubicBezTo>
                <a:cubicBezTo>
                  <a:pt x="282" y="108"/>
                  <a:pt x="282" y="108"/>
                  <a:pt x="282" y="108"/>
                </a:cubicBezTo>
                <a:cubicBezTo>
                  <a:pt x="282" y="107"/>
                  <a:pt x="282" y="107"/>
                  <a:pt x="282" y="107"/>
                </a:cubicBezTo>
                <a:cubicBezTo>
                  <a:pt x="281" y="106"/>
                  <a:pt x="281" y="106"/>
                  <a:pt x="281" y="106"/>
                </a:cubicBezTo>
                <a:cubicBezTo>
                  <a:pt x="283" y="105"/>
                  <a:pt x="283" y="105"/>
                  <a:pt x="283" y="105"/>
                </a:cubicBezTo>
                <a:cubicBezTo>
                  <a:pt x="283" y="103"/>
                  <a:pt x="283" y="103"/>
                  <a:pt x="283" y="103"/>
                </a:cubicBezTo>
                <a:cubicBezTo>
                  <a:pt x="282" y="102"/>
                  <a:pt x="282" y="102"/>
                  <a:pt x="282" y="102"/>
                </a:cubicBezTo>
                <a:cubicBezTo>
                  <a:pt x="282" y="101"/>
                  <a:pt x="282" y="101"/>
                  <a:pt x="282" y="101"/>
                </a:cubicBezTo>
                <a:cubicBezTo>
                  <a:pt x="281" y="100"/>
                  <a:pt x="281" y="100"/>
                  <a:pt x="281" y="100"/>
                </a:cubicBezTo>
                <a:cubicBezTo>
                  <a:pt x="282" y="99"/>
                  <a:pt x="282" y="99"/>
                  <a:pt x="282" y="99"/>
                </a:cubicBezTo>
                <a:cubicBezTo>
                  <a:pt x="282" y="99"/>
                  <a:pt x="282" y="99"/>
                  <a:pt x="282" y="99"/>
                </a:cubicBezTo>
                <a:cubicBezTo>
                  <a:pt x="284" y="99"/>
                  <a:pt x="284" y="99"/>
                  <a:pt x="284" y="99"/>
                </a:cubicBezTo>
                <a:cubicBezTo>
                  <a:pt x="285" y="99"/>
                  <a:pt x="285" y="99"/>
                  <a:pt x="285" y="99"/>
                </a:cubicBezTo>
                <a:cubicBezTo>
                  <a:pt x="286" y="97"/>
                  <a:pt x="286" y="97"/>
                  <a:pt x="286" y="97"/>
                </a:cubicBezTo>
                <a:cubicBezTo>
                  <a:pt x="285" y="95"/>
                  <a:pt x="285" y="95"/>
                  <a:pt x="285" y="95"/>
                </a:cubicBezTo>
                <a:cubicBezTo>
                  <a:pt x="285" y="95"/>
                  <a:pt x="285" y="95"/>
                  <a:pt x="285" y="95"/>
                </a:cubicBezTo>
                <a:cubicBezTo>
                  <a:pt x="285" y="93"/>
                  <a:pt x="285" y="93"/>
                  <a:pt x="285" y="93"/>
                </a:cubicBezTo>
                <a:cubicBezTo>
                  <a:pt x="284" y="92"/>
                  <a:pt x="284" y="92"/>
                  <a:pt x="284" y="92"/>
                </a:cubicBezTo>
                <a:cubicBezTo>
                  <a:pt x="285" y="90"/>
                  <a:pt x="285" y="90"/>
                  <a:pt x="285" y="90"/>
                </a:cubicBezTo>
                <a:cubicBezTo>
                  <a:pt x="286" y="90"/>
                  <a:pt x="286" y="90"/>
                  <a:pt x="286" y="90"/>
                </a:cubicBezTo>
                <a:cubicBezTo>
                  <a:pt x="287" y="90"/>
                  <a:pt x="287" y="90"/>
                  <a:pt x="287" y="90"/>
                </a:cubicBezTo>
                <a:cubicBezTo>
                  <a:pt x="288" y="90"/>
                  <a:pt x="288" y="90"/>
                  <a:pt x="288" y="90"/>
                </a:cubicBezTo>
                <a:cubicBezTo>
                  <a:pt x="288" y="89"/>
                  <a:pt x="288" y="89"/>
                  <a:pt x="288" y="89"/>
                </a:cubicBezTo>
                <a:cubicBezTo>
                  <a:pt x="288" y="88"/>
                  <a:pt x="288" y="88"/>
                  <a:pt x="288" y="88"/>
                </a:cubicBezTo>
                <a:cubicBezTo>
                  <a:pt x="290" y="87"/>
                  <a:pt x="290" y="87"/>
                  <a:pt x="290" y="87"/>
                </a:cubicBezTo>
                <a:cubicBezTo>
                  <a:pt x="293" y="85"/>
                  <a:pt x="293" y="85"/>
                  <a:pt x="293" y="85"/>
                </a:cubicBezTo>
                <a:cubicBezTo>
                  <a:pt x="294" y="85"/>
                  <a:pt x="294" y="85"/>
                  <a:pt x="294" y="85"/>
                </a:cubicBezTo>
                <a:cubicBezTo>
                  <a:pt x="295" y="86"/>
                  <a:pt x="295" y="86"/>
                  <a:pt x="295" y="86"/>
                </a:cubicBezTo>
                <a:cubicBezTo>
                  <a:pt x="295" y="87"/>
                  <a:pt x="295" y="87"/>
                  <a:pt x="295" y="87"/>
                </a:cubicBezTo>
                <a:cubicBezTo>
                  <a:pt x="296" y="88"/>
                  <a:pt x="296" y="88"/>
                  <a:pt x="296" y="88"/>
                </a:cubicBezTo>
                <a:cubicBezTo>
                  <a:pt x="295" y="88"/>
                  <a:pt x="295" y="88"/>
                  <a:pt x="295" y="88"/>
                </a:cubicBezTo>
                <a:cubicBezTo>
                  <a:pt x="294" y="88"/>
                  <a:pt x="294" y="88"/>
                  <a:pt x="294" y="88"/>
                </a:cubicBezTo>
                <a:cubicBezTo>
                  <a:pt x="293" y="89"/>
                  <a:pt x="293" y="89"/>
                  <a:pt x="293" y="89"/>
                </a:cubicBezTo>
                <a:cubicBezTo>
                  <a:pt x="293" y="90"/>
                  <a:pt x="293" y="90"/>
                  <a:pt x="293" y="90"/>
                </a:cubicBezTo>
                <a:cubicBezTo>
                  <a:pt x="293" y="91"/>
                  <a:pt x="293" y="91"/>
                  <a:pt x="293" y="91"/>
                </a:cubicBezTo>
                <a:cubicBezTo>
                  <a:pt x="293" y="93"/>
                  <a:pt x="293" y="93"/>
                  <a:pt x="293" y="93"/>
                </a:cubicBezTo>
                <a:cubicBezTo>
                  <a:pt x="293" y="93"/>
                  <a:pt x="293" y="93"/>
                  <a:pt x="293" y="93"/>
                </a:cubicBezTo>
                <a:cubicBezTo>
                  <a:pt x="293" y="96"/>
                  <a:pt x="293" y="96"/>
                  <a:pt x="293" y="96"/>
                </a:cubicBezTo>
                <a:cubicBezTo>
                  <a:pt x="293" y="97"/>
                  <a:pt x="293" y="97"/>
                  <a:pt x="293" y="97"/>
                </a:cubicBezTo>
                <a:cubicBezTo>
                  <a:pt x="292" y="97"/>
                  <a:pt x="292" y="97"/>
                  <a:pt x="292" y="97"/>
                </a:cubicBezTo>
                <a:cubicBezTo>
                  <a:pt x="290" y="98"/>
                  <a:pt x="290" y="98"/>
                  <a:pt x="290" y="98"/>
                </a:cubicBezTo>
                <a:cubicBezTo>
                  <a:pt x="289" y="99"/>
                  <a:pt x="289" y="99"/>
                  <a:pt x="289" y="99"/>
                </a:cubicBezTo>
                <a:cubicBezTo>
                  <a:pt x="289" y="100"/>
                  <a:pt x="289" y="100"/>
                  <a:pt x="289" y="100"/>
                </a:cubicBezTo>
                <a:cubicBezTo>
                  <a:pt x="290" y="100"/>
                  <a:pt x="290" y="100"/>
                  <a:pt x="290" y="100"/>
                </a:cubicBezTo>
                <a:cubicBezTo>
                  <a:pt x="291" y="99"/>
                  <a:pt x="291" y="99"/>
                  <a:pt x="291" y="99"/>
                </a:cubicBezTo>
                <a:cubicBezTo>
                  <a:pt x="293" y="99"/>
                  <a:pt x="293" y="99"/>
                  <a:pt x="293" y="99"/>
                </a:cubicBezTo>
                <a:cubicBezTo>
                  <a:pt x="293" y="100"/>
                  <a:pt x="293" y="100"/>
                  <a:pt x="293" y="100"/>
                </a:cubicBezTo>
                <a:cubicBezTo>
                  <a:pt x="292" y="101"/>
                  <a:pt x="292" y="101"/>
                  <a:pt x="292" y="101"/>
                </a:cubicBezTo>
                <a:cubicBezTo>
                  <a:pt x="290" y="103"/>
                  <a:pt x="290" y="103"/>
                  <a:pt x="290" y="103"/>
                </a:cubicBezTo>
                <a:cubicBezTo>
                  <a:pt x="289" y="104"/>
                  <a:pt x="289" y="104"/>
                  <a:pt x="289" y="104"/>
                </a:cubicBezTo>
                <a:cubicBezTo>
                  <a:pt x="288" y="105"/>
                  <a:pt x="288" y="105"/>
                  <a:pt x="288" y="105"/>
                </a:cubicBezTo>
                <a:cubicBezTo>
                  <a:pt x="289" y="106"/>
                  <a:pt x="289" y="106"/>
                  <a:pt x="289" y="106"/>
                </a:cubicBezTo>
                <a:cubicBezTo>
                  <a:pt x="289" y="105"/>
                  <a:pt x="289" y="105"/>
                  <a:pt x="289" y="105"/>
                </a:cubicBezTo>
                <a:cubicBezTo>
                  <a:pt x="291" y="104"/>
                  <a:pt x="291" y="104"/>
                  <a:pt x="291" y="104"/>
                </a:cubicBezTo>
                <a:cubicBezTo>
                  <a:pt x="292" y="103"/>
                  <a:pt x="292" y="103"/>
                  <a:pt x="292" y="103"/>
                </a:cubicBezTo>
                <a:cubicBezTo>
                  <a:pt x="293" y="103"/>
                  <a:pt x="293" y="103"/>
                  <a:pt x="293" y="103"/>
                </a:cubicBezTo>
                <a:cubicBezTo>
                  <a:pt x="295" y="103"/>
                  <a:pt x="295" y="103"/>
                  <a:pt x="295" y="103"/>
                </a:cubicBezTo>
                <a:cubicBezTo>
                  <a:pt x="294" y="105"/>
                  <a:pt x="294" y="105"/>
                  <a:pt x="294" y="105"/>
                </a:cubicBezTo>
                <a:cubicBezTo>
                  <a:pt x="294" y="107"/>
                  <a:pt x="294" y="107"/>
                  <a:pt x="294" y="107"/>
                </a:cubicBezTo>
                <a:cubicBezTo>
                  <a:pt x="294" y="107"/>
                  <a:pt x="294" y="107"/>
                  <a:pt x="294" y="107"/>
                </a:cubicBezTo>
                <a:cubicBezTo>
                  <a:pt x="295" y="106"/>
                  <a:pt x="295" y="106"/>
                  <a:pt x="295" y="106"/>
                </a:cubicBezTo>
                <a:cubicBezTo>
                  <a:pt x="296" y="106"/>
                  <a:pt x="296" y="106"/>
                  <a:pt x="296" y="106"/>
                </a:cubicBezTo>
                <a:cubicBezTo>
                  <a:pt x="296" y="106"/>
                  <a:pt x="296" y="106"/>
                  <a:pt x="296" y="106"/>
                </a:cubicBezTo>
                <a:cubicBezTo>
                  <a:pt x="296" y="105"/>
                  <a:pt x="296" y="105"/>
                  <a:pt x="296" y="105"/>
                </a:cubicBezTo>
                <a:cubicBezTo>
                  <a:pt x="297" y="104"/>
                  <a:pt x="297" y="104"/>
                  <a:pt x="297" y="104"/>
                </a:cubicBezTo>
                <a:cubicBezTo>
                  <a:pt x="297" y="103"/>
                  <a:pt x="297" y="103"/>
                  <a:pt x="297" y="103"/>
                </a:cubicBezTo>
                <a:cubicBezTo>
                  <a:pt x="299" y="101"/>
                  <a:pt x="299" y="101"/>
                  <a:pt x="299" y="101"/>
                </a:cubicBezTo>
                <a:cubicBezTo>
                  <a:pt x="300" y="101"/>
                  <a:pt x="300" y="101"/>
                  <a:pt x="300" y="101"/>
                </a:cubicBezTo>
                <a:cubicBezTo>
                  <a:pt x="301" y="102"/>
                  <a:pt x="301" y="102"/>
                  <a:pt x="301" y="102"/>
                </a:cubicBezTo>
                <a:cubicBezTo>
                  <a:pt x="302" y="104"/>
                  <a:pt x="302" y="104"/>
                  <a:pt x="302" y="104"/>
                </a:cubicBezTo>
                <a:cubicBezTo>
                  <a:pt x="302" y="105"/>
                  <a:pt x="302" y="105"/>
                  <a:pt x="302" y="105"/>
                </a:cubicBezTo>
                <a:cubicBezTo>
                  <a:pt x="302" y="107"/>
                  <a:pt x="302" y="107"/>
                  <a:pt x="302" y="107"/>
                </a:cubicBezTo>
                <a:cubicBezTo>
                  <a:pt x="300" y="110"/>
                  <a:pt x="300" y="110"/>
                  <a:pt x="300" y="110"/>
                </a:cubicBezTo>
                <a:cubicBezTo>
                  <a:pt x="299" y="111"/>
                  <a:pt x="299" y="111"/>
                  <a:pt x="299" y="111"/>
                </a:cubicBezTo>
                <a:cubicBezTo>
                  <a:pt x="298" y="112"/>
                  <a:pt x="298" y="112"/>
                  <a:pt x="298" y="112"/>
                </a:cubicBezTo>
                <a:cubicBezTo>
                  <a:pt x="297" y="112"/>
                  <a:pt x="297" y="112"/>
                  <a:pt x="297" y="112"/>
                </a:cubicBezTo>
                <a:cubicBezTo>
                  <a:pt x="297" y="112"/>
                  <a:pt x="297" y="112"/>
                  <a:pt x="297" y="112"/>
                </a:cubicBezTo>
                <a:cubicBezTo>
                  <a:pt x="297" y="113"/>
                  <a:pt x="297" y="113"/>
                  <a:pt x="297" y="113"/>
                </a:cubicBezTo>
                <a:cubicBezTo>
                  <a:pt x="295" y="115"/>
                  <a:pt x="295" y="115"/>
                  <a:pt x="295" y="115"/>
                </a:cubicBezTo>
                <a:cubicBezTo>
                  <a:pt x="294" y="115"/>
                  <a:pt x="294" y="115"/>
                  <a:pt x="294" y="115"/>
                </a:cubicBezTo>
                <a:cubicBezTo>
                  <a:pt x="293" y="116"/>
                  <a:pt x="293" y="116"/>
                  <a:pt x="293" y="116"/>
                </a:cubicBezTo>
                <a:cubicBezTo>
                  <a:pt x="293" y="117"/>
                  <a:pt x="293" y="117"/>
                  <a:pt x="293" y="117"/>
                </a:cubicBezTo>
                <a:cubicBezTo>
                  <a:pt x="293" y="118"/>
                  <a:pt x="293" y="118"/>
                  <a:pt x="293" y="118"/>
                </a:cubicBezTo>
                <a:cubicBezTo>
                  <a:pt x="292" y="118"/>
                  <a:pt x="292" y="118"/>
                  <a:pt x="292" y="118"/>
                </a:cubicBezTo>
                <a:cubicBezTo>
                  <a:pt x="292" y="118"/>
                  <a:pt x="292" y="118"/>
                  <a:pt x="292" y="118"/>
                </a:cubicBezTo>
                <a:cubicBezTo>
                  <a:pt x="292" y="119"/>
                  <a:pt x="292" y="119"/>
                  <a:pt x="292" y="119"/>
                </a:cubicBezTo>
                <a:cubicBezTo>
                  <a:pt x="291" y="119"/>
                  <a:pt x="291" y="119"/>
                  <a:pt x="291" y="119"/>
                </a:cubicBezTo>
                <a:cubicBezTo>
                  <a:pt x="290" y="118"/>
                  <a:pt x="290" y="118"/>
                  <a:pt x="290" y="118"/>
                </a:cubicBezTo>
                <a:cubicBezTo>
                  <a:pt x="289" y="119"/>
                  <a:pt x="289" y="119"/>
                  <a:pt x="289" y="119"/>
                </a:cubicBezTo>
                <a:cubicBezTo>
                  <a:pt x="288" y="119"/>
                  <a:pt x="288" y="119"/>
                  <a:pt x="288" y="119"/>
                </a:cubicBezTo>
                <a:cubicBezTo>
                  <a:pt x="286" y="120"/>
                  <a:pt x="286" y="120"/>
                  <a:pt x="286" y="120"/>
                </a:cubicBezTo>
                <a:cubicBezTo>
                  <a:pt x="284" y="120"/>
                  <a:pt x="284" y="120"/>
                  <a:pt x="284" y="120"/>
                </a:cubicBezTo>
                <a:cubicBezTo>
                  <a:pt x="283" y="119"/>
                  <a:pt x="283" y="119"/>
                  <a:pt x="283" y="119"/>
                </a:cubicBezTo>
                <a:cubicBezTo>
                  <a:pt x="282" y="119"/>
                  <a:pt x="282" y="119"/>
                  <a:pt x="282" y="119"/>
                </a:cubicBezTo>
                <a:cubicBezTo>
                  <a:pt x="283" y="118"/>
                  <a:pt x="283" y="118"/>
                  <a:pt x="283" y="118"/>
                </a:cubicBezTo>
                <a:cubicBezTo>
                  <a:pt x="283" y="117"/>
                  <a:pt x="283" y="117"/>
                  <a:pt x="283" y="117"/>
                </a:cubicBezTo>
                <a:cubicBezTo>
                  <a:pt x="283" y="117"/>
                  <a:pt x="283" y="117"/>
                  <a:pt x="283" y="117"/>
                </a:cubicBezTo>
                <a:cubicBezTo>
                  <a:pt x="281" y="117"/>
                  <a:pt x="281" y="117"/>
                  <a:pt x="281" y="117"/>
                </a:cubicBezTo>
                <a:cubicBezTo>
                  <a:pt x="281" y="118"/>
                  <a:pt x="281" y="118"/>
                  <a:pt x="281" y="118"/>
                </a:cubicBezTo>
                <a:cubicBezTo>
                  <a:pt x="280" y="118"/>
                  <a:pt x="280" y="118"/>
                  <a:pt x="280" y="118"/>
                </a:cubicBezTo>
                <a:cubicBezTo>
                  <a:pt x="279" y="118"/>
                  <a:pt x="279" y="118"/>
                  <a:pt x="279" y="118"/>
                </a:cubicBezTo>
                <a:cubicBezTo>
                  <a:pt x="279" y="117"/>
                  <a:pt x="279" y="117"/>
                  <a:pt x="279" y="117"/>
                </a:cubicBezTo>
                <a:cubicBezTo>
                  <a:pt x="279" y="117"/>
                  <a:pt x="279" y="117"/>
                  <a:pt x="279" y="117"/>
                </a:cubicBezTo>
                <a:cubicBezTo>
                  <a:pt x="279" y="116"/>
                  <a:pt x="279" y="116"/>
                  <a:pt x="279" y="116"/>
                </a:cubicBezTo>
                <a:cubicBezTo>
                  <a:pt x="278" y="115"/>
                  <a:pt x="278" y="115"/>
                  <a:pt x="278" y="115"/>
                </a:cubicBezTo>
                <a:cubicBezTo>
                  <a:pt x="278" y="116"/>
                  <a:pt x="278" y="116"/>
                  <a:pt x="278" y="116"/>
                </a:cubicBezTo>
                <a:cubicBezTo>
                  <a:pt x="277" y="117"/>
                  <a:pt x="277" y="117"/>
                  <a:pt x="277" y="117"/>
                </a:cubicBezTo>
                <a:cubicBezTo>
                  <a:pt x="276" y="117"/>
                  <a:pt x="276" y="117"/>
                  <a:pt x="276" y="117"/>
                </a:cubicBezTo>
                <a:cubicBezTo>
                  <a:pt x="274" y="117"/>
                  <a:pt x="274" y="117"/>
                  <a:pt x="274" y="117"/>
                </a:cubicBezTo>
                <a:cubicBezTo>
                  <a:pt x="274" y="118"/>
                  <a:pt x="274" y="118"/>
                  <a:pt x="274" y="118"/>
                </a:cubicBezTo>
                <a:cubicBezTo>
                  <a:pt x="272" y="118"/>
                  <a:pt x="272" y="118"/>
                  <a:pt x="272" y="118"/>
                </a:cubicBezTo>
                <a:cubicBezTo>
                  <a:pt x="272" y="118"/>
                  <a:pt x="272" y="118"/>
                  <a:pt x="272" y="118"/>
                </a:cubicBezTo>
                <a:cubicBezTo>
                  <a:pt x="270" y="118"/>
                  <a:pt x="270" y="118"/>
                  <a:pt x="270" y="118"/>
                </a:cubicBezTo>
                <a:cubicBezTo>
                  <a:pt x="269" y="117"/>
                  <a:pt x="269" y="117"/>
                  <a:pt x="269" y="117"/>
                </a:cubicBezTo>
                <a:cubicBezTo>
                  <a:pt x="269" y="118"/>
                  <a:pt x="269" y="118"/>
                  <a:pt x="269" y="118"/>
                </a:cubicBezTo>
                <a:cubicBezTo>
                  <a:pt x="268" y="118"/>
                  <a:pt x="268" y="118"/>
                  <a:pt x="268" y="118"/>
                </a:cubicBezTo>
                <a:cubicBezTo>
                  <a:pt x="267" y="118"/>
                  <a:pt x="267" y="118"/>
                  <a:pt x="267" y="118"/>
                </a:cubicBezTo>
                <a:cubicBezTo>
                  <a:pt x="267" y="119"/>
                  <a:pt x="267" y="119"/>
                  <a:pt x="267" y="119"/>
                </a:cubicBezTo>
                <a:cubicBezTo>
                  <a:pt x="266" y="120"/>
                  <a:pt x="266" y="120"/>
                  <a:pt x="266" y="120"/>
                </a:cubicBezTo>
                <a:cubicBezTo>
                  <a:pt x="265" y="120"/>
                  <a:pt x="265" y="120"/>
                  <a:pt x="265" y="120"/>
                </a:cubicBezTo>
                <a:cubicBezTo>
                  <a:pt x="265" y="120"/>
                  <a:pt x="265" y="120"/>
                  <a:pt x="265" y="120"/>
                </a:cubicBezTo>
                <a:cubicBezTo>
                  <a:pt x="263" y="121"/>
                  <a:pt x="263" y="121"/>
                  <a:pt x="263" y="121"/>
                </a:cubicBezTo>
                <a:cubicBezTo>
                  <a:pt x="263" y="121"/>
                  <a:pt x="263" y="121"/>
                  <a:pt x="263" y="121"/>
                </a:cubicBezTo>
                <a:cubicBezTo>
                  <a:pt x="262" y="121"/>
                  <a:pt x="262" y="121"/>
                  <a:pt x="262" y="121"/>
                </a:cubicBezTo>
                <a:cubicBezTo>
                  <a:pt x="260" y="121"/>
                  <a:pt x="260" y="121"/>
                  <a:pt x="260" y="121"/>
                </a:cubicBezTo>
                <a:cubicBezTo>
                  <a:pt x="260" y="121"/>
                  <a:pt x="260" y="121"/>
                  <a:pt x="260" y="121"/>
                </a:cubicBezTo>
                <a:cubicBezTo>
                  <a:pt x="258" y="121"/>
                  <a:pt x="258" y="121"/>
                  <a:pt x="258" y="121"/>
                </a:cubicBezTo>
                <a:cubicBezTo>
                  <a:pt x="256" y="121"/>
                  <a:pt x="256" y="121"/>
                  <a:pt x="256" y="121"/>
                </a:cubicBezTo>
                <a:cubicBezTo>
                  <a:pt x="254" y="121"/>
                  <a:pt x="254" y="121"/>
                  <a:pt x="254" y="121"/>
                </a:cubicBezTo>
                <a:cubicBezTo>
                  <a:pt x="253" y="120"/>
                  <a:pt x="253" y="120"/>
                  <a:pt x="253" y="120"/>
                </a:cubicBezTo>
                <a:cubicBezTo>
                  <a:pt x="251" y="120"/>
                  <a:pt x="251" y="120"/>
                  <a:pt x="251" y="120"/>
                </a:cubicBezTo>
                <a:cubicBezTo>
                  <a:pt x="250" y="119"/>
                  <a:pt x="250" y="119"/>
                  <a:pt x="250" y="119"/>
                </a:cubicBezTo>
                <a:cubicBezTo>
                  <a:pt x="249" y="117"/>
                  <a:pt x="249" y="117"/>
                  <a:pt x="249" y="117"/>
                </a:cubicBezTo>
                <a:close/>
                <a:moveTo>
                  <a:pt x="174" y="157"/>
                </a:moveTo>
                <a:cubicBezTo>
                  <a:pt x="174" y="154"/>
                  <a:pt x="174" y="154"/>
                  <a:pt x="174" y="154"/>
                </a:cubicBezTo>
                <a:cubicBezTo>
                  <a:pt x="175" y="152"/>
                  <a:pt x="175" y="152"/>
                  <a:pt x="175" y="152"/>
                </a:cubicBezTo>
                <a:cubicBezTo>
                  <a:pt x="175" y="151"/>
                  <a:pt x="175" y="151"/>
                  <a:pt x="175" y="151"/>
                </a:cubicBezTo>
                <a:cubicBezTo>
                  <a:pt x="175" y="149"/>
                  <a:pt x="175" y="149"/>
                  <a:pt x="175" y="149"/>
                </a:cubicBezTo>
                <a:cubicBezTo>
                  <a:pt x="175" y="148"/>
                  <a:pt x="175" y="148"/>
                  <a:pt x="175" y="148"/>
                </a:cubicBezTo>
                <a:cubicBezTo>
                  <a:pt x="175" y="147"/>
                  <a:pt x="175" y="147"/>
                  <a:pt x="175" y="147"/>
                </a:cubicBezTo>
                <a:cubicBezTo>
                  <a:pt x="174" y="143"/>
                  <a:pt x="174" y="143"/>
                  <a:pt x="174" y="143"/>
                </a:cubicBezTo>
                <a:cubicBezTo>
                  <a:pt x="175" y="144"/>
                  <a:pt x="175" y="144"/>
                  <a:pt x="175" y="144"/>
                </a:cubicBezTo>
                <a:cubicBezTo>
                  <a:pt x="175" y="143"/>
                  <a:pt x="175" y="143"/>
                  <a:pt x="175" y="143"/>
                </a:cubicBezTo>
                <a:cubicBezTo>
                  <a:pt x="173" y="143"/>
                  <a:pt x="173" y="143"/>
                  <a:pt x="173" y="143"/>
                </a:cubicBezTo>
                <a:cubicBezTo>
                  <a:pt x="171" y="142"/>
                  <a:pt x="171" y="142"/>
                  <a:pt x="171" y="142"/>
                </a:cubicBezTo>
                <a:cubicBezTo>
                  <a:pt x="171" y="141"/>
                  <a:pt x="171" y="141"/>
                  <a:pt x="171" y="141"/>
                </a:cubicBezTo>
                <a:cubicBezTo>
                  <a:pt x="172" y="141"/>
                  <a:pt x="172" y="141"/>
                  <a:pt x="172" y="141"/>
                </a:cubicBezTo>
                <a:cubicBezTo>
                  <a:pt x="173" y="140"/>
                  <a:pt x="173" y="140"/>
                  <a:pt x="173" y="140"/>
                </a:cubicBezTo>
                <a:cubicBezTo>
                  <a:pt x="175" y="140"/>
                  <a:pt x="175" y="140"/>
                  <a:pt x="175" y="140"/>
                </a:cubicBezTo>
                <a:cubicBezTo>
                  <a:pt x="175" y="139"/>
                  <a:pt x="175" y="139"/>
                  <a:pt x="175" y="139"/>
                </a:cubicBezTo>
                <a:cubicBezTo>
                  <a:pt x="176" y="139"/>
                  <a:pt x="176" y="139"/>
                  <a:pt x="176" y="139"/>
                </a:cubicBezTo>
                <a:cubicBezTo>
                  <a:pt x="177" y="137"/>
                  <a:pt x="177" y="137"/>
                  <a:pt x="177" y="137"/>
                </a:cubicBezTo>
                <a:cubicBezTo>
                  <a:pt x="178" y="137"/>
                  <a:pt x="178" y="137"/>
                  <a:pt x="178" y="137"/>
                </a:cubicBezTo>
                <a:cubicBezTo>
                  <a:pt x="178" y="135"/>
                  <a:pt x="178" y="135"/>
                  <a:pt x="178" y="135"/>
                </a:cubicBezTo>
                <a:cubicBezTo>
                  <a:pt x="181" y="135"/>
                  <a:pt x="181" y="135"/>
                  <a:pt x="181" y="135"/>
                </a:cubicBezTo>
                <a:cubicBezTo>
                  <a:pt x="181" y="134"/>
                  <a:pt x="181" y="134"/>
                  <a:pt x="181" y="134"/>
                </a:cubicBezTo>
                <a:cubicBezTo>
                  <a:pt x="182" y="134"/>
                  <a:pt x="182" y="134"/>
                  <a:pt x="182" y="134"/>
                </a:cubicBezTo>
                <a:cubicBezTo>
                  <a:pt x="183" y="132"/>
                  <a:pt x="183" y="132"/>
                  <a:pt x="183" y="132"/>
                </a:cubicBezTo>
                <a:cubicBezTo>
                  <a:pt x="183" y="130"/>
                  <a:pt x="183" y="130"/>
                  <a:pt x="183" y="130"/>
                </a:cubicBezTo>
                <a:cubicBezTo>
                  <a:pt x="183" y="131"/>
                  <a:pt x="183" y="131"/>
                  <a:pt x="183" y="131"/>
                </a:cubicBezTo>
                <a:cubicBezTo>
                  <a:pt x="187" y="131"/>
                  <a:pt x="187" y="131"/>
                  <a:pt x="187" y="131"/>
                </a:cubicBezTo>
                <a:cubicBezTo>
                  <a:pt x="187" y="130"/>
                  <a:pt x="187" y="130"/>
                  <a:pt x="187" y="130"/>
                </a:cubicBezTo>
                <a:cubicBezTo>
                  <a:pt x="186" y="128"/>
                  <a:pt x="186" y="128"/>
                  <a:pt x="186" y="128"/>
                </a:cubicBezTo>
                <a:cubicBezTo>
                  <a:pt x="186" y="127"/>
                  <a:pt x="186" y="127"/>
                  <a:pt x="186" y="127"/>
                </a:cubicBezTo>
                <a:cubicBezTo>
                  <a:pt x="187" y="127"/>
                  <a:pt x="187" y="127"/>
                  <a:pt x="187" y="127"/>
                </a:cubicBezTo>
                <a:cubicBezTo>
                  <a:pt x="190" y="124"/>
                  <a:pt x="190" y="124"/>
                  <a:pt x="190" y="124"/>
                </a:cubicBezTo>
                <a:cubicBezTo>
                  <a:pt x="191" y="123"/>
                  <a:pt x="191" y="123"/>
                  <a:pt x="191" y="123"/>
                </a:cubicBezTo>
                <a:cubicBezTo>
                  <a:pt x="194" y="122"/>
                  <a:pt x="194" y="122"/>
                  <a:pt x="194" y="122"/>
                </a:cubicBezTo>
                <a:cubicBezTo>
                  <a:pt x="194" y="121"/>
                  <a:pt x="194" y="121"/>
                  <a:pt x="194" y="121"/>
                </a:cubicBezTo>
                <a:cubicBezTo>
                  <a:pt x="196" y="119"/>
                  <a:pt x="196" y="119"/>
                  <a:pt x="196" y="119"/>
                </a:cubicBezTo>
                <a:cubicBezTo>
                  <a:pt x="198" y="119"/>
                  <a:pt x="198" y="119"/>
                  <a:pt x="198" y="119"/>
                </a:cubicBezTo>
                <a:cubicBezTo>
                  <a:pt x="198" y="118"/>
                  <a:pt x="198" y="118"/>
                  <a:pt x="198" y="118"/>
                </a:cubicBezTo>
                <a:cubicBezTo>
                  <a:pt x="197" y="117"/>
                  <a:pt x="197" y="117"/>
                  <a:pt x="197" y="117"/>
                </a:cubicBezTo>
                <a:cubicBezTo>
                  <a:pt x="198" y="114"/>
                  <a:pt x="198" y="114"/>
                  <a:pt x="198" y="114"/>
                </a:cubicBezTo>
                <a:cubicBezTo>
                  <a:pt x="198" y="113"/>
                  <a:pt x="198" y="113"/>
                  <a:pt x="198" y="113"/>
                </a:cubicBezTo>
                <a:cubicBezTo>
                  <a:pt x="198" y="111"/>
                  <a:pt x="198" y="111"/>
                  <a:pt x="198" y="111"/>
                </a:cubicBezTo>
                <a:cubicBezTo>
                  <a:pt x="198" y="111"/>
                  <a:pt x="198" y="111"/>
                  <a:pt x="198" y="111"/>
                </a:cubicBezTo>
                <a:cubicBezTo>
                  <a:pt x="198" y="110"/>
                  <a:pt x="198" y="110"/>
                  <a:pt x="198" y="110"/>
                </a:cubicBezTo>
                <a:cubicBezTo>
                  <a:pt x="200" y="109"/>
                  <a:pt x="200" y="109"/>
                  <a:pt x="200" y="109"/>
                </a:cubicBezTo>
                <a:cubicBezTo>
                  <a:pt x="201" y="110"/>
                  <a:pt x="201" y="110"/>
                  <a:pt x="201" y="110"/>
                </a:cubicBezTo>
                <a:cubicBezTo>
                  <a:pt x="205" y="109"/>
                  <a:pt x="205" y="109"/>
                  <a:pt x="205" y="109"/>
                </a:cubicBezTo>
                <a:cubicBezTo>
                  <a:pt x="206" y="110"/>
                  <a:pt x="206" y="110"/>
                  <a:pt x="206" y="110"/>
                </a:cubicBezTo>
                <a:cubicBezTo>
                  <a:pt x="210" y="110"/>
                  <a:pt x="210" y="110"/>
                  <a:pt x="210" y="110"/>
                </a:cubicBezTo>
                <a:cubicBezTo>
                  <a:pt x="213" y="109"/>
                  <a:pt x="213" y="109"/>
                  <a:pt x="213" y="109"/>
                </a:cubicBezTo>
                <a:cubicBezTo>
                  <a:pt x="216" y="110"/>
                  <a:pt x="216" y="110"/>
                  <a:pt x="216" y="110"/>
                </a:cubicBezTo>
                <a:cubicBezTo>
                  <a:pt x="216" y="111"/>
                  <a:pt x="216" y="111"/>
                  <a:pt x="216" y="111"/>
                </a:cubicBezTo>
                <a:cubicBezTo>
                  <a:pt x="217" y="112"/>
                  <a:pt x="217" y="112"/>
                  <a:pt x="217" y="112"/>
                </a:cubicBezTo>
                <a:cubicBezTo>
                  <a:pt x="218" y="113"/>
                  <a:pt x="218" y="113"/>
                  <a:pt x="218" y="113"/>
                </a:cubicBezTo>
                <a:cubicBezTo>
                  <a:pt x="221" y="115"/>
                  <a:pt x="221" y="115"/>
                  <a:pt x="221" y="115"/>
                </a:cubicBezTo>
                <a:cubicBezTo>
                  <a:pt x="221" y="116"/>
                  <a:pt x="221" y="116"/>
                  <a:pt x="221" y="116"/>
                </a:cubicBezTo>
                <a:cubicBezTo>
                  <a:pt x="220" y="116"/>
                  <a:pt x="220" y="116"/>
                  <a:pt x="220" y="116"/>
                </a:cubicBezTo>
                <a:cubicBezTo>
                  <a:pt x="221" y="116"/>
                  <a:pt x="221" y="116"/>
                  <a:pt x="221" y="116"/>
                </a:cubicBezTo>
                <a:cubicBezTo>
                  <a:pt x="222" y="116"/>
                  <a:pt x="222" y="116"/>
                  <a:pt x="222" y="116"/>
                </a:cubicBezTo>
                <a:cubicBezTo>
                  <a:pt x="224" y="116"/>
                  <a:pt x="224" y="116"/>
                  <a:pt x="224" y="116"/>
                </a:cubicBezTo>
                <a:cubicBezTo>
                  <a:pt x="223" y="118"/>
                  <a:pt x="223" y="118"/>
                  <a:pt x="223" y="118"/>
                </a:cubicBezTo>
                <a:cubicBezTo>
                  <a:pt x="222" y="120"/>
                  <a:pt x="222" y="120"/>
                  <a:pt x="222" y="120"/>
                </a:cubicBezTo>
                <a:cubicBezTo>
                  <a:pt x="222" y="121"/>
                  <a:pt x="222" y="121"/>
                  <a:pt x="222" y="121"/>
                </a:cubicBezTo>
                <a:cubicBezTo>
                  <a:pt x="224" y="119"/>
                  <a:pt x="224" y="119"/>
                  <a:pt x="224" y="119"/>
                </a:cubicBezTo>
                <a:cubicBezTo>
                  <a:pt x="224" y="118"/>
                  <a:pt x="224" y="118"/>
                  <a:pt x="224" y="118"/>
                </a:cubicBezTo>
                <a:cubicBezTo>
                  <a:pt x="225" y="117"/>
                  <a:pt x="225" y="117"/>
                  <a:pt x="225" y="117"/>
                </a:cubicBezTo>
                <a:cubicBezTo>
                  <a:pt x="227" y="117"/>
                  <a:pt x="227" y="117"/>
                  <a:pt x="227" y="117"/>
                </a:cubicBezTo>
                <a:cubicBezTo>
                  <a:pt x="228" y="116"/>
                  <a:pt x="228" y="116"/>
                  <a:pt x="228" y="116"/>
                </a:cubicBezTo>
                <a:cubicBezTo>
                  <a:pt x="229" y="117"/>
                  <a:pt x="229" y="117"/>
                  <a:pt x="229" y="117"/>
                </a:cubicBezTo>
                <a:cubicBezTo>
                  <a:pt x="229" y="118"/>
                  <a:pt x="229" y="118"/>
                  <a:pt x="229" y="118"/>
                </a:cubicBezTo>
                <a:cubicBezTo>
                  <a:pt x="232" y="120"/>
                  <a:pt x="232" y="120"/>
                  <a:pt x="232" y="120"/>
                </a:cubicBezTo>
                <a:cubicBezTo>
                  <a:pt x="232" y="123"/>
                  <a:pt x="232" y="123"/>
                  <a:pt x="232" y="123"/>
                </a:cubicBezTo>
                <a:cubicBezTo>
                  <a:pt x="232" y="125"/>
                  <a:pt x="232" y="125"/>
                  <a:pt x="232" y="125"/>
                </a:cubicBezTo>
                <a:cubicBezTo>
                  <a:pt x="232" y="127"/>
                  <a:pt x="232" y="127"/>
                  <a:pt x="232" y="127"/>
                </a:cubicBezTo>
                <a:cubicBezTo>
                  <a:pt x="232" y="128"/>
                  <a:pt x="232" y="128"/>
                  <a:pt x="232" y="128"/>
                </a:cubicBezTo>
                <a:cubicBezTo>
                  <a:pt x="232" y="129"/>
                  <a:pt x="232" y="129"/>
                  <a:pt x="232" y="129"/>
                </a:cubicBezTo>
                <a:cubicBezTo>
                  <a:pt x="233" y="130"/>
                  <a:pt x="233" y="130"/>
                  <a:pt x="233" y="130"/>
                </a:cubicBezTo>
                <a:cubicBezTo>
                  <a:pt x="233" y="131"/>
                  <a:pt x="233" y="131"/>
                  <a:pt x="233" y="131"/>
                </a:cubicBezTo>
                <a:cubicBezTo>
                  <a:pt x="233" y="132"/>
                  <a:pt x="233" y="132"/>
                  <a:pt x="233" y="132"/>
                </a:cubicBezTo>
                <a:cubicBezTo>
                  <a:pt x="232" y="134"/>
                  <a:pt x="232" y="134"/>
                  <a:pt x="232" y="134"/>
                </a:cubicBezTo>
                <a:cubicBezTo>
                  <a:pt x="229" y="134"/>
                  <a:pt x="229" y="134"/>
                  <a:pt x="229" y="134"/>
                </a:cubicBezTo>
                <a:cubicBezTo>
                  <a:pt x="228" y="135"/>
                  <a:pt x="228" y="135"/>
                  <a:pt x="228" y="135"/>
                </a:cubicBezTo>
                <a:cubicBezTo>
                  <a:pt x="226" y="135"/>
                  <a:pt x="226" y="135"/>
                  <a:pt x="226" y="135"/>
                </a:cubicBezTo>
                <a:cubicBezTo>
                  <a:pt x="224" y="135"/>
                  <a:pt x="224" y="135"/>
                  <a:pt x="224" y="135"/>
                </a:cubicBezTo>
                <a:cubicBezTo>
                  <a:pt x="220" y="137"/>
                  <a:pt x="220" y="137"/>
                  <a:pt x="220" y="137"/>
                </a:cubicBezTo>
                <a:cubicBezTo>
                  <a:pt x="218" y="137"/>
                  <a:pt x="218" y="137"/>
                  <a:pt x="218" y="137"/>
                </a:cubicBezTo>
                <a:cubicBezTo>
                  <a:pt x="216" y="138"/>
                  <a:pt x="216" y="138"/>
                  <a:pt x="216" y="138"/>
                </a:cubicBezTo>
                <a:cubicBezTo>
                  <a:pt x="214" y="138"/>
                  <a:pt x="214" y="138"/>
                  <a:pt x="214" y="138"/>
                </a:cubicBezTo>
                <a:cubicBezTo>
                  <a:pt x="213" y="139"/>
                  <a:pt x="213" y="139"/>
                  <a:pt x="213" y="139"/>
                </a:cubicBezTo>
                <a:cubicBezTo>
                  <a:pt x="211" y="139"/>
                  <a:pt x="211" y="139"/>
                  <a:pt x="211" y="139"/>
                </a:cubicBezTo>
                <a:cubicBezTo>
                  <a:pt x="210" y="140"/>
                  <a:pt x="210" y="140"/>
                  <a:pt x="210" y="140"/>
                </a:cubicBezTo>
                <a:cubicBezTo>
                  <a:pt x="209" y="139"/>
                  <a:pt x="209" y="139"/>
                  <a:pt x="209" y="139"/>
                </a:cubicBezTo>
                <a:cubicBezTo>
                  <a:pt x="209" y="139"/>
                  <a:pt x="209" y="139"/>
                  <a:pt x="209" y="139"/>
                </a:cubicBezTo>
                <a:cubicBezTo>
                  <a:pt x="207" y="140"/>
                  <a:pt x="207" y="140"/>
                  <a:pt x="207" y="140"/>
                </a:cubicBezTo>
                <a:cubicBezTo>
                  <a:pt x="206" y="141"/>
                  <a:pt x="206" y="141"/>
                  <a:pt x="206" y="141"/>
                </a:cubicBezTo>
                <a:cubicBezTo>
                  <a:pt x="205" y="143"/>
                  <a:pt x="205" y="143"/>
                  <a:pt x="205" y="143"/>
                </a:cubicBezTo>
                <a:cubicBezTo>
                  <a:pt x="204" y="143"/>
                  <a:pt x="204" y="143"/>
                  <a:pt x="204" y="143"/>
                </a:cubicBezTo>
                <a:cubicBezTo>
                  <a:pt x="204" y="145"/>
                  <a:pt x="204" y="145"/>
                  <a:pt x="204" y="145"/>
                </a:cubicBezTo>
                <a:cubicBezTo>
                  <a:pt x="202" y="145"/>
                  <a:pt x="202" y="145"/>
                  <a:pt x="202" y="145"/>
                </a:cubicBezTo>
                <a:cubicBezTo>
                  <a:pt x="201" y="146"/>
                  <a:pt x="201" y="146"/>
                  <a:pt x="201" y="146"/>
                </a:cubicBezTo>
                <a:cubicBezTo>
                  <a:pt x="199" y="146"/>
                  <a:pt x="199" y="146"/>
                  <a:pt x="199" y="146"/>
                </a:cubicBezTo>
                <a:cubicBezTo>
                  <a:pt x="198" y="144"/>
                  <a:pt x="198" y="144"/>
                  <a:pt x="198" y="144"/>
                </a:cubicBezTo>
                <a:cubicBezTo>
                  <a:pt x="197" y="146"/>
                  <a:pt x="197" y="146"/>
                  <a:pt x="197" y="146"/>
                </a:cubicBezTo>
                <a:cubicBezTo>
                  <a:pt x="197" y="147"/>
                  <a:pt x="197" y="147"/>
                  <a:pt x="197" y="147"/>
                </a:cubicBezTo>
                <a:cubicBezTo>
                  <a:pt x="195" y="148"/>
                  <a:pt x="195" y="148"/>
                  <a:pt x="195" y="148"/>
                </a:cubicBezTo>
                <a:cubicBezTo>
                  <a:pt x="194" y="149"/>
                  <a:pt x="194" y="149"/>
                  <a:pt x="194" y="149"/>
                </a:cubicBezTo>
                <a:cubicBezTo>
                  <a:pt x="194" y="150"/>
                  <a:pt x="194" y="150"/>
                  <a:pt x="194" y="150"/>
                </a:cubicBezTo>
                <a:cubicBezTo>
                  <a:pt x="192" y="152"/>
                  <a:pt x="192" y="152"/>
                  <a:pt x="192" y="152"/>
                </a:cubicBezTo>
                <a:cubicBezTo>
                  <a:pt x="192" y="153"/>
                  <a:pt x="192" y="153"/>
                  <a:pt x="192" y="153"/>
                </a:cubicBezTo>
                <a:cubicBezTo>
                  <a:pt x="191" y="155"/>
                  <a:pt x="191" y="155"/>
                  <a:pt x="191" y="155"/>
                </a:cubicBezTo>
                <a:cubicBezTo>
                  <a:pt x="189" y="156"/>
                  <a:pt x="189" y="156"/>
                  <a:pt x="189" y="156"/>
                </a:cubicBezTo>
                <a:cubicBezTo>
                  <a:pt x="188" y="156"/>
                  <a:pt x="188" y="156"/>
                  <a:pt x="188" y="156"/>
                </a:cubicBezTo>
                <a:cubicBezTo>
                  <a:pt x="186" y="157"/>
                  <a:pt x="186" y="157"/>
                  <a:pt x="186" y="157"/>
                </a:cubicBezTo>
                <a:cubicBezTo>
                  <a:pt x="185" y="157"/>
                  <a:pt x="185" y="157"/>
                  <a:pt x="185" y="157"/>
                </a:cubicBezTo>
                <a:cubicBezTo>
                  <a:pt x="184" y="155"/>
                  <a:pt x="184" y="155"/>
                  <a:pt x="184" y="155"/>
                </a:cubicBezTo>
                <a:cubicBezTo>
                  <a:pt x="185" y="155"/>
                  <a:pt x="185" y="155"/>
                  <a:pt x="185" y="155"/>
                </a:cubicBezTo>
                <a:cubicBezTo>
                  <a:pt x="185" y="153"/>
                  <a:pt x="185" y="153"/>
                  <a:pt x="185" y="153"/>
                </a:cubicBezTo>
                <a:cubicBezTo>
                  <a:pt x="184" y="152"/>
                  <a:pt x="184" y="152"/>
                  <a:pt x="184" y="152"/>
                </a:cubicBezTo>
                <a:cubicBezTo>
                  <a:pt x="183" y="153"/>
                  <a:pt x="183" y="153"/>
                  <a:pt x="183" y="153"/>
                </a:cubicBezTo>
                <a:cubicBezTo>
                  <a:pt x="183" y="154"/>
                  <a:pt x="183" y="154"/>
                  <a:pt x="183" y="154"/>
                </a:cubicBezTo>
                <a:cubicBezTo>
                  <a:pt x="183" y="154"/>
                  <a:pt x="183" y="154"/>
                  <a:pt x="183" y="154"/>
                </a:cubicBezTo>
                <a:cubicBezTo>
                  <a:pt x="181" y="156"/>
                  <a:pt x="181" y="156"/>
                  <a:pt x="181" y="156"/>
                </a:cubicBezTo>
                <a:cubicBezTo>
                  <a:pt x="179" y="156"/>
                  <a:pt x="179" y="156"/>
                  <a:pt x="179" y="156"/>
                </a:cubicBezTo>
                <a:cubicBezTo>
                  <a:pt x="178" y="156"/>
                  <a:pt x="178" y="156"/>
                  <a:pt x="178" y="156"/>
                </a:cubicBezTo>
                <a:cubicBezTo>
                  <a:pt x="177" y="157"/>
                  <a:pt x="177" y="157"/>
                  <a:pt x="177" y="157"/>
                </a:cubicBezTo>
                <a:cubicBezTo>
                  <a:pt x="176" y="157"/>
                  <a:pt x="176" y="157"/>
                  <a:pt x="176" y="157"/>
                </a:cubicBezTo>
                <a:cubicBezTo>
                  <a:pt x="175" y="157"/>
                  <a:pt x="175" y="157"/>
                  <a:pt x="175" y="157"/>
                </a:cubicBezTo>
                <a:cubicBezTo>
                  <a:pt x="174" y="157"/>
                  <a:pt x="174" y="157"/>
                  <a:pt x="174" y="157"/>
                </a:cubicBezTo>
                <a:cubicBezTo>
                  <a:pt x="174" y="157"/>
                  <a:pt x="174" y="157"/>
                  <a:pt x="174" y="157"/>
                </a:cubicBezTo>
                <a:close/>
                <a:moveTo>
                  <a:pt x="334" y="138"/>
                </a:moveTo>
                <a:cubicBezTo>
                  <a:pt x="335" y="138"/>
                  <a:pt x="335" y="138"/>
                  <a:pt x="335" y="138"/>
                </a:cubicBezTo>
                <a:cubicBezTo>
                  <a:pt x="335" y="139"/>
                  <a:pt x="335" y="139"/>
                  <a:pt x="335" y="139"/>
                </a:cubicBezTo>
                <a:cubicBezTo>
                  <a:pt x="335" y="140"/>
                  <a:pt x="335" y="140"/>
                  <a:pt x="335" y="140"/>
                </a:cubicBezTo>
                <a:cubicBezTo>
                  <a:pt x="334" y="140"/>
                  <a:pt x="334" y="140"/>
                  <a:pt x="334" y="140"/>
                </a:cubicBezTo>
                <a:cubicBezTo>
                  <a:pt x="334" y="140"/>
                  <a:pt x="334" y="140"/>
                  <a:pt x="334" y="140"/>
                </a:cubicBezTo>
                <a:cubicBezTo>
                  <a:pt x="333" y="138"/>
                  <a:pt x="333" y="138"/>
                  <a:pt x="333" y="138"/>
                </a:cubicBezTo>
                <a:cubicBezTo>
                  <a:pt x="334" y="138"/>
                  <a:pt x="334" y="138"/>
                  <a:pt x="334" y="138"/>
                </a:cubicBezTo>
                <a:close/>
                <a:moveTo>
                  <a:pt x="322" y="138"/>
                </a:moveTo>
                <a:cubicBezTo>
                  <a:pt x="322" y="137"/>
                  <a:pt x="322" y="137"/>
                  <a:pt x="322" y="137"/>
                </a:cubicBezTo>
                <a:cubicBezTo>
                  <a:pt x="324" y="136"/>
                  <a:pt x="324" y="136"/>
                  <a:pt x="324" y="136"/>
                </a:cubicBezTo>
                <a:cubicBezTo>
                  <a:pt x="325" y="137"/>
                  <a:pt x="325" y="137"/>
                  <a:pt x="325" y="137"/>
                </a:cubicBezTo>
                <a:cubicBezTo>
                  <a:pt x="324" y="137"/>
                  <a:pt x="324" y="137"/>
                  <a:pt x="324" y="137"/>
                </a:cubicBezTo>
                <a:cubicBezTo>
                  <a:pt x="324" y="137"/>
                  <a:pt x="324" y="137"/>
                  <a:pt x="324" y="137"/>
                </a:cubicBezTo>
                <a:cubicBezTo>
                  <a:pt x="323" y="138"/>
                  <a:pt x="323" y="138"/>
                  <a:pt x="323" y="138"/>
                </a:cubicBezTo>
                <a:cubicBezTo>
                  <a:pt x="322" y="138"/>
                  <a:pt x="322" y="138"/>
                  <a:pt x="322" y="138"/>
                </a:cubicBezTo>
                <a:close/>
                <a:moveTo>
                  <a:pt x="310" y="145"/>
                </a:moveTo>
                <a:cubicBezTo>
                  <a:pt x="310" y="146"/>
                  <a:pt x="310" y="146"/>
                  <a:pt x="310" y="146"/>
                </a:cubicBezTo>
                <a:cubicBezTo>
                  <a:pt x="312" y="146"/>
                  <a:pt x="312" y="146"/>
                  <a:pt x="312" y="146"/>
                </a:cubicBezTo>
                <a:cubicBezTo>
                  <a:pt x="313" y="147"/>
                  <a:pt x="313" y="147"/>
                  <a:pt x="313" y="147"/>
                </a:cubicBezTo>
                <a:cubicBezTo>
                  <a:pt x="314" y="147"/>
                  <a:pt x="314" y="147"/>
                  <a:pt x="314" y="147"/>
                </a:cubicBezTo>
                <a:cubicBezTo>
                  <a:pt x="315" y="147"/>
                  <a:pt x="315" y="147"/>
                  <a:pt x="315" y="147"/>
                </a:cubicBezTo>
                <a:cubicBezTo>
                  <a:pt x="317" y="146"/>
                  <a:pt x="317" y="146"/>
                  <a:pt x="317" y="146"/>
                </a:cubicBezTo>
                <a:cubicBezTo>
                  <a:pt x="318" y="147"/>
                  <a:pt x="318" y="147"/>
                  <a:pt x="318" y="147"/>
                </a:cubicBezTo>
                <a:cubicBezTo>
                  <a:pt x="318" y="146"/>
                  <a:pt x="318" y="146"/>
                  <a:pt x="318" y="146"/>
                </a:cubicBezTo>
                <a:cubicBezTo>
                  <a:pt x="319" y="146"/>
                  <a:pt x="319" y="146"/>
                  <a:pt x="319" y="146"/>
                </a:cubicBezTo>
                <a:cubicBezTo>
                  <a:pt x="321" y="146"/>
                  <a:pt x="321" y="146"/>
                  <a:pt x="321" y="146"/>
                </a:cubicBezTo>
                <a:cubicBezTo>
                  <a:pt x="321" y="145"/>
                  <a:pt x="321" y="145"/>
                  <a:pt x="321" y="145"/>
                </a:cubicBezTo>
                <a:cubicBezTo>
                  <a:pt x="319" y="144"/>
                  <a:pt x="319" y="144"/>
                  <a:pt x="319" y="144"/>
                </a:cubicBezTo>
                <a:cubicBezTo>
                  <a:pt x="318" y="144"/>
                  <a:pt x="318" y="144"/>
                  <a:pt x="318" y="144"/>
                </a:cubicBezTo>
                <a:cubicBezTo>
                  <a:pt x="316" y="144"/>
                  <a:pt x="316" y="144"/>
                  <a:pt x="316" y="144"/>
                </a:cubicBezTo>
                <a:cubicBezTo>
                  <a:pt x="316" y="144"/>
                  <a:pt x="316" y="144"/>
                  <a:pt x="316" y="144"/>
                </a:cubicBezTo>
                <a:cubicBezTo>
                  <a:pt x="315" y="145"/>
                  <a:pt x="315" y="145"/>
                  <a:pt x="315" y="145"/>
                </a:cubicBezTo>
                <a:cubicBezTo>
                  <a:pt x="313" y="144"/>
                  <a:pt x="313" y="144"/>
                  <a:pt x="313" y="144"/>
                </a:cubicBezTo>
                <a:cubicBezTo>
                  <a:pt x="312" y="145"/>
                  <a:pt x="312" y="145"/>
                  <a:pt x="312" y="145"/>
                </a:cubicBezTo>
                <a:cubicBezTo>
                  <a:pt x="310" y="145"/>
                  <a:pt x="310" y="145"/>
                  <a:pt x="310" y="145"/>
                </a:cubicBezTo>
                <a:cubicBezTo>
                  <a:pt x="310" y="145"/>
                  <a:pt x="310" y="145"/>
                  <a:pt x="310" y="145"/>
                </a:cubicBezTo>
                <a:close/>
                <a:moveTo>
                  <a:pt x="303" y="189"/>
                </a:moveTo>
                <a:cubicBezTo>
                  <a:pt x="302" y="188"/>
                  <a:pt x="302" y="188"/>
                  <a:pt x="302" y="188"/>
                </a:cubicBezTo>
                <a:cubicBezTo>
                  <a:pt x="303" y="188"/>
                  <a:pt x="303" y="188"/>
                  <a:pt x="303" y="188"/>
                </a:cubicBezTo>
                <a:cubicBezTo>
                  <a:pt x="303" y="187"/>
                  <a:pt x="303" y="187"/>
                  <a:pt x="303" y="187"/>
                </a:cubicBezTo>
                <a:cubicBezTo>
                  <a:pt x="303" y="188"/>
                  <a:pt x="303" y="188"/>
                  <a:pt x="303" y="188"/>
                </a:cubicBezTo>
                <a:cubicBezTo>
                  <a:pt x="303" y="189"/>
                  <a:pt x="303" y="189"/>
                  <a:pt x="303" y="189"/>
                </a:cubicBezTo>
                <a:close/>
                <a:moveTo>
                  <a:pt x="295" y="187"/>
                </a:moveTo>
                <a:cubicBezTo>
                  <a:pt x="294" y="187"/>
                  <a:pt x="294" y="187"/>
                  <a:pt x="294" y="187"/>
                </a:cubicBezTo>
                <a:cubicBezTo>
                  <a:pt x="294" y="185"/>
                  <a:pt x="294" y="185"/>
                  <a:pt x="294" y="185"/>
                </a:cubicBezTo>
                <a:cubicBezTo>
                  <a:pt x="294" y="185"/>
                  <a:pt x="294" y="185"/>
                  <a:pt x="294" y="185"/>
                </a:cubicBezTo>
                <a:cubicBezTo>
                  <a:pt x="293" y="186"/>
                  <a:pt x="293" y="186"/>
                  <a:pt x="293" y="186"/>
                </a:cubicBezTo>
                <a:cubicBezTo>
                  <a:pt x="293" y="185"/>
                  <a:pt x="293" y="185"/>
                  <a:pt x="293" y="185"/>
                </a:cubicBezTo>
                <a:cubicBezTo>
                  <a:pt x="293" y="184"/>
                  <a:pt x="293" y="184"/>
                  <a:pt x="293" y="184"/>
                </a:cubicBezTo>
                <a:cubicBezTo>
                  <a:pt x="293" y="182"/>
                  <a:pt x="293" y="182"/>
                  <a:pt x="293" y="182"/>
                </a:cubicBezTo>
                <a:cubicBezTo>
                  <a:pt x="292" y="181"/>
                  <a:pt x="292" y="181"/>
                  <a:pt x="292" y="181"/>
                </a:cubicBezTo>
                <a:cubicBezTo>
                  <a:pt x="293" y="180"/>
                  <a:pt x="293" y="180"/>
                  <a:pt x="293" y="180"/>
                </a:cubicBezTo>
                <a:cubicBezTo>
                  <a:pt x="293" y="178"/>
                  <a:pt x="293" y="178"/>
                  <a:pt x="293" y="178"/>
                </a:cubicBezTo>
                <a:cubicBezTo>
                  <a:pt x="293" y="177"/>
                  <a:pt x="293" y="177"/>
                  <a:pt x="293" y="177"/>
                </a:cubicBezTo>
                <a:cubicBezTo>
                  <a:pt x="292" y="177"/>
                  <a:pt x="292" y="177"/>
                  <a:pt x="292" y="177"/>
                </a:cubicBezTo>
                <a:cubicBezTo>
                  <a:pt x="292" y="176"/>
                  <a:pt x="292" y="176"/>
                  <a:pt x="292" y="176"/>
                </a:cubicBezTo>
                <a:cubicBezTo>
                  <a:pt x="292" y="175"/>
                  <a:pt x="292" y="175"/>
                  <a:pt x="292" y="175"/>
                </a:cubicBezTo>
                <a:cubicBezTo>
                  <a:pt x="290" y="174"/>
                  <a:pt x="290" y="174"/>
                  <a:pt x="290" y="174"/>
                </a:cubicBezTo>
                <a:cubicBezTo>
                  <a:pt x="291" y="172"/>
                  <a:pt x="291" y="172"/>
                  <a:pt x="291" y="172"/>
                </a:cubicBezTo>
                <a:cubicBezTo>
                  <a:pt x="290" y="170"/>
                  <a:pt x="290" y="170"/>
                  <a:pt x="290" y="170"/>
                </a:cubicBezTo>
                <a:cubicBezTo>
                  <a:pt x="289" y="170"/>
                  <a:pt x="289" y="170"/>
                  <a:pt x="289" y="170"/>
                </a:cubicBezTo>
                <a:cubicBezTo>
                  <a:pt x="289" y="170"/>
                  <a:pt x="289" y="170"/>
                  <a:pt x="289" y="170"/>
                </a:cubicBezTo>
                <a:cubicBezTo>
                  <a:pt x="289" y="168"/>
                  <a:pt x="289" y="168"/>
                  <a:pt x="289" y="168"/>
                </a:cubicBezTo>
                <a:cubicBezTo>
                  <a:pt x="288" y="168"/>
                  <a:pt x="288" y="168"/>
                  <a:pt x="288" y="168"/>
                </a:cubicBezTo>
                <a:cubicBezTo>
                  <a:pt x="287" y="168"/>
                  <a:pt x="287" y="168"/>
                  <a:pt x="287" y="168"/>
                </a:cubicBezTo>
                <a:cubicBezTo>
                  <a:pt x="287" y="168"/>
                  <a:pt x="287" y="168"/>
                  <a:pt x="287" y="168"/>
                </a:cubicBezTo>
                <a:cubicBezTo>
                  <a:pt x="286" y="168"/>
                  <a:pt x="286" y="168"/>
                  <a:pt x="286" y="168"/>
                </a:cubicBezTo>
                <a:cubicBezTo>
                  <a:pt x="285" y="168"/>
                  <a:pt x="285" y="168"/>
                  <a:pt x="285" y="168"/>
                </a:cubicBezTo>
                <a:cubicBezTo>
                  <a:pt x="285" y="166"/>
                  <a:pt x="285" y="166"/>
                  <a:pt x="285" y="166"/>
                </a:cubicBezTo>
                <a:cubicBezTo>
                  <a:pt x="286" y="165"/>
                  <a:pt x="286" y="165"/>
                  <a:pt x="286" y="165"/>
                </a:cubicBezTo>
                <a:cubicBezTo>
                  <a:pt x="287" y="164"/>
                  <a:pt x="287" y="164"/>
                  <a:pt x="287" y="164"/>
                </a:cubicBezTo>
                <a:cubicBezTo>
                  <a:pt x="286" y="163"/>
                  <a:pt x="286" y="163"/>
                  <a:pt x="286" y="163"/>
                </a:cubicBezTo>
                <a:cubicBezTo>
                  <a:pt x="286" y="162"/>
                  <a:pt x="286" y="162"/>
                  <a:pt x="286" y="162"/>
                </a:cubicBezTo>
                <a:cubicBezTo>
                  <a:pt x="286" y="160"/>
                  <a:pt x="286" y="160"/>
                  <a:pt x="286" y="160"/>
                </a:cubicBezTo>
                <a:cubicBezTo>
                  <a:pt x="286" y="159"/>
                  <a:pt x="286" y="159"/>
                  <a:pt x="286" y="159"/>
                </a:cubicBezTo>
                <a:cubicBezTo>
                  <a:pt x="287" y="157"/>
                  <a:pt x="287" y="157"/>
                  <a:pt x="287" y="157"/>
                </a:cubicBezTo>
                <a:cubicBezTo>
                  <a:pt x="289" y="157"/>
                  <a:pt x="289" y="157"/>
                  <a:pt x="289" y="157"/>
                </a:cubicBezTo>
                <a:cubicBezTo>
                  <a:pt x="289" y="156"/>
                  <a:pt x="289" y="156"/>
                  <a:pt x="289" y="156"/>
                </a:cubicBezTo>
                <a:cubicBezTo>
                  <a:pt x="290" y="156"/>
                  <a:pt x="290" y="156"/>
                  <a:pt x="290" y="156"/>
                </a:cubicBezTo>
                <a:cubicBezTo>
                  <a:pt x="290" y="156"/>
                  <a:pt x="290" y="156"/>
                  <a:pt x="290" y="156"/>
                </a:cubicBezTo>
                <a:cubicBezTo>
                  <a:pt x="292" y="156"/>
                  <a:pt x="292" y="156"/>
                  <a:pt x="292" y="156"/>
                </a:cubicBezTo>
                <a:cubicBezTo>
                  <a:pt x="293" y="156"/>
                  <a:pt x="293" y="156"/>
                  <a:pt x="293" y="156"/>
                </a:cubicBezTo>
                <a:cubicBezTo>
                  <a:pt x="294" y="157"/>
                  <a:pt x="294" y="157"/>
                  <a:pt x="294" y="157"/>
                </a:cubicBezTo>
                <a:cubicBezTo>
                  <a:pt x="293" y="157"/>
                  <a:pt x="293" y="157"/>
                  <a:pt x="293" y="157"/>
                </a:cubicBezTo>
                <a:cubicBezTo>
                  <a:pt x="293" y="158"/>
                  <a:pt x="293" y="158"/>
                  <a:pt x="293" y="158"/>
                </a:cubicBezTo>
                <a:cubicBezTo>
                  <a:pt x="292" y="158"/>
                  <a:pt x="292" y="158"/>
                  <a:pt x="292" y="158"/>
                </a:cubicBezTo>
                <a:cubicBezTo>
                  <a:pt x="293" y="158"/>
                  <a:pt x="293" y="158"/>
                  <a:pt x="293" y="158"/>
                </a:cubicBezTo>
                <a:cubicBezTo>
                  <a:pt x="294" y="159"/>
                  <a:pt x="294" y="159"/>
                  <a:pt x="294" y="159"/>
                </a:cubicBezTo>
                <a:cubicBezTo>
                  <a:pt x="294" y="160"/>
                  <a:pt x="294" y="160"/>
                  <a:pt x="294" y="160"/>
                </a:cubicBezTo>
                <a:cubicBezTo>
                  <a:pt x="295" y="162"/>
                  <a:pt x="295" y="162"/>
                  <a:pt x="295" y="162"/>
                </a:cubicBezTo>
                <a:cubicBezTo>
                  <a:pt x="295" y="163"/>
                  <a:pt x="295" y="163"/>
                  <a:pt x="295" y="163"/>
                </a:cubicBezTo>
                <a:cubicBezTo>
                  <a:pt x="296" y="164"/>
                  <a:pt x="296" y="164"/>
                  <a:pt x="296" y="164"/>
                </a:cubicBezTo>
                <a:cubicBezTo>
                  <a:pt x="297" y="164"/>
                  <a:pt x="297" y="164"/>
                  <a:pt x="297" y="164"/>
                </a:cubicBezTo>
                <a:cubicBezTo>
                  <a:pt x="298" y="164"/>
                  <a:pt x="298" y="164"/>
                  <a:pt x="298" y="164"/>
                </a:cubicBezTo>
                <a:cubicBezTo>
                  <a:pt x="297" y="163"/>
                  <a:pt x="297" y="163"/>
                  <a:pt x="297" y="163"/>
                </a:cubicBezTo>
                <a:cubicBezTo>
                  <a:pt x="298" y="162"/>
                  <a:pt x="298" y="162"/>
                  <a:pt x="298" y="162"/>
                </a:cubicBezTo>
                <a:cubicBezTo>
                  <a:pt x="299" y="161"/>
                  <a:pt x="299" y="161"/>
                  <a:pt x="299" y="161"/>
                </a:cubicBezTo>
                <a:cubicBezTo>
                  <a:pt x="299" y="160"/>
                  <a:pt x="299" y="160"/>
                  <a:pt x="299" y="160"/>
                </a:cubicBezTo>
                <a:cubicBezTo>
                  <a:pt x="300" y="159"/>
                  <a:pt x="300" y="159"/>
                  <a:pt x="300" y="159"/>
                </a:cubicBezTo>
                <a:cubicBezTo>
                  <a:pt x="300" y="158"/>
                  <a:pt x="300" y="158"/>
                  <a:pt x="300" y="158"/>
                </a:cubicBezTo>
                <a:cubicBezTo>
                  <a:pt x="299" y="157"/>
                  <a:pt x="299" y="157"/>
                  <a:pt x="299" y="157"/>
                </a:cubicBezTo>
                <a:cubicBezTo>
                  <a:pt x="300" y="157"/>
                  <a:pt x="300" y="157"/>
                  <a:pt x="300" y="157"/>
                </a:cubicBezTo>
                <a:cubicBezTo>
                  <a:pt x="301" y="156"/>
                  <a:pt x="301" y="156"/>
                  <a:pt x="301" y="156"/>
                </a:cubicBezTo>
                <a:cubicBezTo>
                  <a:pt x="302" y="157"/>
                  <a:pt x="302" y="157"/>
                  <a:pt x="302" y="157"/>
                </a:cubicBezTo>
                <a:cubicBezTo>
                  <a:pt x="302" y="158"/>
                  <a:pt x="302" y="158"/>
                  <a:pt x="302" y="158"/>
                </a:cubicBezTo>
                <a:cubicBezTo>
                  <a:pt x="303" y="158"/>
                  <a:pt x="303" y="158"/>
                  <a:pt x="303" y="158"/>
                </a:cubicBezTo>
                <a:cubicBezTo>
                  <a:pt x="303" y="157"/>
                  <a:pt x="303" y="157"/>
                  <a:pt x="303" y="157"/>
                </a:cubicBezTo>
                <a:cubicBezTo>
                  <a:pt x="302" y="156"/>
                  <a:pt x="302" y="156"/>
                  <a:pt x="302" y="156"/>
                </a:cubicBezTo>
                <a:cubicBezTo>
                  <a:pt x="302" y="155"/>
                  <a:pt x="302" y="155"/>
                  <a:pt x="302" y="155"/>
                </a:cubicBezTo>
                <a:cubicBezTo>
                  <a:pt x="301" y="155"/>
                  <a:pt x="301" y="155"/>
                  <a:pt x="301" y="155"/>
                </a:cubicBezTo>
                <a:cubicBezTo>
                  <a:pt x="301" y="156"/>
                  <a:pt x="301" y="156"/>
                  <a:pt x="301" y="156"/>
                </a:cubicBezTo>
                <a:cubicBezTo>
                  <a:pt x="299" y="156"/>
                  <a:pt x="299" y="156"/>
                  <a:pt x="299" y="156"/>
                </a:cubicBezTo>
                <a:cubicBezTo>
                  <a:pt x="298" y="154"/>
                  <a:pt x="298" y="154"/>
                  <a:pt x="298" y="154"/>
                </a:cubicBezTo>
                <a:cubicBezTo>
                  <a:pt x="298" y="154"/>
                  <a:pt x="298" y="154"/>
                  <a:pt x="298" y="154"/>
                </a:cubicBezTo>
                <a:cubicBezTo>
                  <a:pt x="297" y="152"/>
                  <a:pt x="297" y="152"/>
                  <a:pt x="297" y="152"/>
                </a:cubicBezTo>
                <a:cubicBezTo>
                  <a:pt x="297" y="151"/>
                  <a:pt x="297" y="151"/>
                  <a:pt x="297" y="151"/>
                </a:cubicBezTo>
                <a:cubicBezTo>
                  <a:pt x="298" y="150"/>
                  <a:pt x="298" y="150"/>
                  <a:pt x="298" y="150"/>
                </a:cubicBezTo>
                <a:cubicBezTo>
                  <a:pt x="299" y="150"/>
                  <a:pt x="299" y="150"/>
                  <a:pt x="299" y="150"/>
                </a:cubicBezTo>
                <a:cubicBezTo>
                  <a:pt x="299" y="149"/>
                  <a:pt x="299" y="149"/>
                  <a:pt x="299" y="149"/>
                </a:cubicBezTo>
                <a:cubicBezTo>
                  <a:pt x="300" y="150"/>
                  <a:pt x="300" y="150"/>
                  <a:pt x="300" y="150"/>
                </a:cubicBezTo>
                <a:cubicBezTo>
                  <a:pt x="301" y="151"/>
                  <a:pt x="301" y="151"/>
                  <a:pt x="301" y="151"/>
                </a:cubicBezTo>
                <a:cubicBezTo>
                  <a:pt x="301" y="153"/>
                  <a:pt x="301" y="153"/>
                  <a:pt x="301" y="153"/>
                </a:cubicBezTo>
                <a:cubicBezTo>
                  <a:pt x="302" y="153"/>
                  <a:pt x="302" y="153"/>
                  <a:pt x="302" y="153"/>
                </a:cubicBezTo>
                <a:cubicBezTo>
                  <a:pt x="302" y="152"/>
                  <a:pt x="302" y="152"/>
                  <a:pt x="302" y="152"/>
                </a:cubicBezTo>
                <a:cubicBezTo>
                  <a:pt x="302" y="151"/>
                  <a:pt x="302" y="151"/>
                  <a:pt x="302" y="151"/>
                </a:cubicBezTo>
                <a:cubicBezTo>
                  <a:pt x="302" y="150"/>
                  <a:pt x="302" y="150"/>
                  <a:pt x="302" y="150"/>
                </a:cubicBezTo>
                <a:cubicBezTo>
                  <a:pt x="301" y="150"/>
                  <a:pt x="301" y="150"/>
                  <a:pt x="301" y="150"/>
                </a:cubicBezTo>
                <a:cubicBezTo>
                  <a:pt x="301" y="148"/>
                  <a:pt x="301" y="148"/>
                  <a:pt x="301" y="148"/>
                </a:cubicBezTo>
                <a:cubicBezTo>
                  <a:pt x="301" y="147"/>
                  <a:pt x="301" y="147"/>
                  <a:pt x="301" y="147"/>
                </a:cubicBezTo>
                <a:cubicBezTo>
                  <a:pt x="301" y="147"/>
                  <a:pt x="301" y="147"/>
                  <a:pt x="301" y="147"/>
                </a:cubicBezTo>
                <a:cubicBezTo>
                  <a:pt x="302" y="146"/>
                  <a:pt x="302" y="146"/>
                  <a:pt x="302" y="146"/>
                </a:cubicBezTo>
                <a:cubicBezTo>
                  <a:pt x="303" y="145"/>
                  <a:pt x="303" y="145"/>
                  <a:pt x="303" y="145"/>
                </a:cubicBezTo>
                <a:cubicBezTo>
                  <a:pt x="304" y="145"/>
                  <a:pt x="304" y="145"/>
                  <a:pt x="304" y="145"/>
                </a:cubicBezTo>
                <a:cubicBezTo>
                  <a:pt x="304" y="145"/>
                  <a:pt x="304" y="145"/>
                  <a:pt x="304" y="145"/>
                </a:cubicBezTo>
                <a:cubicBezTo>
                  <a:pt x="305" y="147"/>
                  <a:pt x="305" y="147"/>
                  <a:pt x="305" y="147"/>
                </a:cubicBezTo>
                <a:cubicBezTo>
                  <a:pt x="307" y="147"/>
                  <a:pt x="307" y="147"/>
                  <a:pt x="307" y="147"/>
                </a:cubicBezTo>
                <a:cubicBezTo>
                  <a:pt x="307" y="146"/>
                  <a:pt x="307" y="146"/>
                  <a:pt x="307" y="146"/>
                </a:cubicBezTo>
                <a:cubicBezTo>
                  <a:pt x="306" y="146"/>
                  <a:pt x="306" y="146"/>
                  <a:pt x="306" y="146"/>
                </a:cubicBezTo>
                <a:cubicBezTo>
                  <a:pt x="305" y="145"/>
                  <a:pt x="305" y="145"/>
                  <a:pt x="305" y="145"/>
                </a:cubicBezTo>
                <a:cubicBezTo>
                  <a:pt x="306" y="145"/>
                  <a:pt x="306" y="145"/>
                  <a:pt x="306" y="145"/>
                </a:cubicBezTo>
                <a:cubicBezTo>
                  <a:pt x="307" y="144"/>
                  <a:pt x="307" y="144"/>
                  <a:pt x="307" y="144"/>
                </a:cubicBezTo>
                <a:cubicBezTo>
                  <a:pt x="309" y="145"/>
                  <a:pt x="309" y="145"/>
                  <a:pt x="309" y="145"/>
                </a:cubicBezTo>
                <a:cubicBezTo>
                  <a:pt x="309" y="145"/>
                  <a:pt x="309" y="145"/>
                  <a:pt x="309" y="145"/>
                </a:cubicBezTo>
                <a:cubicBezTo>
                  <a:pt x="308" y="146"/>
                  <a:pt x="308" y="146"/>
                  <a:pt x="308" y="146"/>
                </a:cubicBezTo>
                <a:cubicBezTo>
                  <a:pt x="308" y="146"/>
                  <a:pt x="308" y="146"/>
                  <a:pt x="308" y="146"/>
                </a:cubicBezTo>
                <a:cubicBezTo>
                  <a:pt x="309" y="147"/>
                  <a:pt x="309" y="147"/>
                  <a:pt x="309" y="147"/>
                </a:cubicBezTo>
                <a:cubicBezTo>
                  <a:pt x="310" y="148"/>
                  <a:pt x="310" y="148"/>
                  <a:pt x="310" y="148"/>
                </a:cubicBezTo>
                <a:cubicBezTo>
                  <a:pt x="311" y="148"/>
                  <a:pt x="311" y="148"/>
                  <a:pt x="311" y="148"/>
                </a:cubicBezTo>
                <a:cubicBezTo>
                  <a:pt x="312" y="148"/>
                  <a:pt x="312" y="148"/>
                  <a:pt x="312" y="148"/>
                </a:cubicBezTo>
                <a:cubicBezTo>
                  <a:pt x="314" y="148"/>
                  <a:pt x="314" y="148"/>
                  <a:pt x="314" y="148"/>
                </a:cubicBezTo>
                <a:cubicBezTo>
                  <a:pt x="315" y="148"/>
                  <a:pt x="315" y="148"/>
                  <a:pt x="315" y="148"/>
                </a:cubicBezTo>
                <a:cubicBezTo>
                  <a:pt x="315" y="148"/>
                  <a:pt x="315" y="148"/>
                  <a:pt x="315" y="148"/>
                </a:cubicBezTo>
                <a:cubicBezTo>
                  <a:pt x="318" y="148"/>
                  <a:pt x="318" y="148"/>
                  <a:pt x="318" y="148"/>
                </a:cubicBezTo>
                <a:cubicBezTo>
                  <a:pt x="319" y="149"/>
                  <a:pt x="319" y="149"/>
                  <a:pt x="319" y="149"/>
                </a:cubicBezTo>
                <a:cubicBezTo>
                  <a:pt x="320" y="149"/>
                  <a:pt x="320" y="149"/>
                  <a:pt x="320" y="149"/>
                </a:cubicBezTo>
                <a:cubicBezTo>
                  <a:pt x="320" y="150"/>
                  <a:pt x="320" y="150"/>
                  <a:pt x="320" y="150"/>
                </a:cubicBezTo>
                <a:cubicBezTo>
                  <a:pt x="320" y="150"/>
                  <a:pt x="320" y="150"/>
                  <a:pt x="320" y="150"/>
                </a:cubicBezTo>
                <a:cubicBezTo>
                  <a:pt x="321" y="151"/>
                  <a:pt x="321" y="151"/>
                  <a:pt x="321" y="151"/>
                </a:cubicBezTo>
                <a:cubicBezTo>
                  <a:pt x="320" y="152"/>
                  <a:pt x="320" y="152"/>
                  <a:pt x="320" y="152"/>
                </a:cubicBezTo>
                <a:cubicBezTo>
                  <a:pt x="318" y="153"/>
                  <a:pt x="318" y="153"/>
                  <a:pt x="318" y="153"/>
                </a:cubicBezTo>
                <a:cubicBezTo>
                  <a:pt x="317" y="153"/>
                  <a:pt x="317" y="153"/>
                  <a:pt x="317" y="153"/>
                </a:cubicBezTo>
                <a:cubicBezTo>
                  <a:pt x="317" y="152"/>
                  <a:pt x="317" y="152"/>
                  <a:pt x="317" y="152"/>
                </a:cubicBezTo>
                <a:cubicBezTo>
                  <a:pt x="317" y="153"/>
                  <a:pt x="317" y="153"/>
                  <a:pt x="317" y="153"/>
                </a:cubicBezTo>
                <a:cubicBezTo>
                  <a:pt x="316" y="153"/>
                  <a:pt x="316" y="153"/>
                  <a:pt x="316" y="153"/>
                </a:cubicBezTo>
                <a:cubicBezTo>
                  <a:pt x="316" y="154"/>
                  <a:pt x="316" y="154"/>
                  <a:pt x="316" y="154"/>
                </a:cubicBezTo>
                <a:cubicBezTo>
                  <a:pt x="317" y="155"/>
                  <a:pt x="317" y="155"/>
                  <a:pt x="317" y="155"/>
                </a:cubicBezTo>
                <a:cubicBezTo>
                  <a:pt x="317" y="155"/>
                  <a:pt x="317" y="155"/>
                  <a:pt x="317" y="155"/>
                </a:cubicBezTo>
                <a:cubicBezTo>
                  <a:pt x="317" y="157"/>
                  <a:pt x="317" y="157"/>
                  <a:pt x="317" y="157"/>
                </a:cubicBezTo>
                <a:cubicBezTo>
                  <a:pt x="316" y="157"/>
                  <a:pt x="316" y="157"/>
                  <a:pt x="316" y="157"/>
                </a:cubicBezTo>
                <a:cubicBezTo>
                  <a:pt x="316" y="157"/>
                  <a:pt x="316" y="157"/>
                  <a:pt x="316" y="157"/>
                </a:cubicBezTo>
                <a:cubicBezTo>
                  <a:pt x="315" y="157"/>
                  <a:pt x="315" y="157"/>
                  <a:pt x="315" y="157"/>
                </a:cubicBezTo>
                <a:cubicBezTo>
                  <a:pt x="313" y="157"/>
                  <a:pt x="313" y="157"/>
                  <a:pt x="313" y="157"/>
                </a:cubicBezTo>
                <a:cubicBezTo>
                  <a:pt x="313" y="158"/>
                  <a:pt x="313" y="158"/>
                  <a:pt x="313" y="158"/>
                </a:cubicBezTo>
                <a:cubicBezTo>
                  <a:pt x="311" y="159"/>
                  <a:pt x="311" y="159"/>
                  <a:pt x="311" y="159"/>
                </a:cubicBezTo>
                <a:cubicBezTo>
                  <a:pt x="309" y="160"/>
                  <a:pt x="309" y="160"/>
                  <a:pt x="309" y="160"/>
                </a:cubicBezTo>
                <a:cubicBezTo>
                  <a:pt x="308" y="160"/>
                  <a:pt x="308" y="160"/>
                  <a:pt x="308" y="160"/>
                </a:cubicBezTo>
                <a:cubicBezTo>
                  <a:pt x="307" y="161"/>
                  <a:pt x="307" y="161"/>
                  <a:pt x="307" y="161"/>
                </a:cubicBezTo>
                <a:cubicBezTo>
                  <a:pt x="307" y="162"/>
                  <a:pt x="307" y="162"/>
                  <a:pt x="307" y="162"/>
                </a:cubicBezTo>
                <a:cubicBezTo>
                  <a:pt x="308" y="162"/>
                  <a:pt x="308" y="162"/>
                  <a:pt x="308" y="162"/>
                </a:cubicBezTo>
                <a:cubicBezTo>
                  <a:pt x="309" y="161"/>
                  <a:pt x="309" y="161"/>
                  <a:pt x="309" y="161"/>
                </a:cubicBezTo>
                <a:cubicBezTo>
                  <a:pt x="310" y="161"/>
                  <a:pt x="310" y="161"/>
                  <a:pt x="310" y="161"/>
                </a:cubicBezTo>
                <a:cubicBezTo>
                  <a:pt x="311" y="161"/>
                  <a:pt x="311" y="161"/>
                  <a:pt x="311" y="161"/>
                </a:cubicBezTo>
                <a:cubicBezTo>
                  <a:pt x="313" y="162"/>
                  <a:pt x="313" y="162"/>
                  <a:pt x="313" y="162"/>
                </a:cubicBezTo>
                <a:cubicBezTo>
                  <a:pt x="313" y="163"/>
                  <a:pt x="313" y="163"/>
                  <a:pt x="313" y="163"/>
                </a:cubicBezTo>
                <a:cubicBezTo>
                  <a:pt x="313" y="164"/>
                  <a:pt x="313" y="164"/>
                  <a:pt x="313" y="164"/>
                </a:cubicBezTo>
                <a:cubicBezTo>
                  <a:pt x="312" y="164"/>
                  <a:pt x="312" y="164"/>
                  <a:pt x="312" y="164"/>
                </a:cubicBezTo>
                <a:cubicBezTo>
                  <a:pt x="313" y="164"/>
                  <a:pt x="313" y="164"/>
                  <a:pt x="313" y="164"/>
                </a:cubicBezTo>
                <a:cubicBezTo>
                  <a:pt x="313" y="165"/>
                  <a:pt x="313" y="165"/>
                  <a:pt x="313" y="165"/>
                </a:cubicBezTo>
                <a:cubicBezTo>
                  <a:pt x="313" y="166"/>
                  <a:pt x="313" y="166"/>
                  <a:pt x="313" y="166"/>
                </a:cubicBezTo>
                <a:cubicBezTo>
                  <a:pt x="312" y="167"/>
                  <a:pt x="312" y="167"/>
                  <a:pt x="312" y="167"/>
                </a:cubicBezTo>
                <a:cubicBezTo>
                  <a:pt x="312" y="168"/>
                  <a:pt x="312" y="168"/>
                  <a:pt x="312" y="168"/>
                </a:cubicBezTo>
                <a:cubicBezTo>
                  <a:pt x="312" y="169"/>
                  <a:pt x="312" y="169"/>
                  <a:pt x="312" y="169"/>
                </a:cubicBezTo>
                <a:cubicBezTo>
                  <a:pt x="313" y="167"/>
                  <a:pt x="313" y="167"/>
                  <a:pt x="313" y="167"/>
                </a:cubicBezTo>
                <a:cubicBezTo>
                  <a:pt x="315" y="167"/>
                  <a:pt x="315" y="167"/>
                  <a:pt x="315" y="167"/>
                </a:cubicBezTo>
                <a:cubicBezTo>
                  <a:pt x="315" y="166"/>
                  <a:pt x="315" y="166"/>
                  <a:pt x="315" y="166"/>
                </a:cubicBezTo>
                <a:cubicBezTo>
                  <a:pt x="316" y="166"/>
                  <a:pt x="316" y="166"/>
                  <a:pt x="316" y="166"/>
                </a:cubicBezTo>
                <a:cubicBezTo>
                  <a:pt x="315" y="167"/>
                  <a:pt x="315" y="167"/>
                  <a:pt x="315" y="167"/>
                </a:cubicBezTo>
                <a:cubicBezTo>
                  <a:pt x="315" y="169"/>
                  <a:pt x="315" y="169"/>
                  <a:pt x="315" y="169"/>
                </a:cubicBezTo>
                <a:cubicBezTo>
                  <a:pt x="314" y="171"/>
                  <a:pt x="314" y="171"/>
                  <a:pt x="314" y="171"/>
                </a:cubicBezTo>
                <a:cubicBezTo>
                  <a:pt x="314" y="172"/>
                  <a:pt x="314" y="172"/>
                  <a:pt x="314" y="172"/>
                </a:cubicBezTo>
                <a:cubicBezTo>
                  <a:pt x="312" y="173"/>
                  <a:pt x="312" y="173"/>
                  <a:pt x="312" y="173"/>
                </a:cubicBezTo>
                <a:cubicBezTo>
                  <a:pt x="311" y="173"/>
                  <a:pt x="311" y="173"/>
                  <a:pt x="311" y="173"/>
                </a:cubicBezTo>
                <a:cubicBezTo>
                  <a:pt x="311" y="174"/>
                  <a:pt x="311" y="174"/>
                  <a:pt x="311" y="174"/>
                </a:cubicBezTo>
                <a:cubicBezTo>
                  <a:pt x="311" y="174"/>
                  <a:pt x="311" y="174"/>
                  <a:pt x="311" y="174"/>
                </a:cubicBezTo>
                <a:cubicBezTo>
                  <a:pt x="311" y="176"/>
                  <a:pt x="311" y="176"/>
                  <a:pt x="311" y="176"/>
                </a:cubicBezTo>
                <a:cubicBezTo>
                  <a:pt x="310" y="176"/>
                  <a:pt x="310" y="176"/>
                  <a:pt x="310" y="176"/>
                </a:cubicBezTo>
                <a:cubicBezTo>
                  <a:pt x="310" y="176"/>
                  <a:pt x="310" y="176"/>
                  <a:pt x="310" y="176"/>
                </a:cubicBezTo>
                <a:cubicBezTo>
                  <a:pt x="309" y="176"/>
                  <a:pt x="309" y="176"/>
                  <a:pt x="309" y="176"/>
                </a:cubicBezTo>
                <a:cubicBezTo>
                  <a:pt x="309" y="177"/>
                  <a:pt x="309" y="177"/>
                  <a:pt x="309" y="177"/>
                </a:cubicBezTo>
                <a:cubicBezTo>
                  <a:pt x="311" y="178"/>
                  <a:pt x="311" y="178"/>
                  <a:pt x="311" y="178"/>
                </a:cubicBezTo>
                <a:cubicBezTo>
                  <a:pt x="310" y="178"/>
                  <a:pt x="310" y="178"/>
                  <a:pt x="310" y="178"/>
                </a:cubicBezTo>
                <a:cubicBezTo>
                  <a:pt x="309" y="178"/>
                  <a:pt x="309" y="178"/>
                  <a:pt x="309" y="178"/>
                </a:cubicBezTo>
                <a:cubicBezTo>
                  <a:pt x="310" y="179"/>
                  <a:pt x="310" y="179"/>
                  <a:pt x="310" y="179"/>
                </a:cubicBezTo>
                <a:cubicBezTo>
                  <a:pt x="309" y="181"/>
                  <a:pt x="309" y="181"/>
                  <a:pt x="309" y="181"/>
                </a:cubicBezTo>
                <a:cubicBezTo>
                  <a:pt x="308" y="180"/>
                  <a:pt x="308" y="180"/>
                  <a:pt x="308" y="180"/>
                </a:cubicBezTo>
                <a:cubicBezTo>
                  <a:pt x="307" y="181"/>
                  <a:pt x="307" y="181"/>
                  <a:pt x="307" y="181"/>
                </a:cubicBezTo>
                <a:cubicBezTo>
                  <a:pt x="306" y="181"/>
                  <a:pt x="306" y="181"/>
                  <a:pt x="306" y="181"/>
                </a:cubicBezTo>
                <a:cubicBezTo>
                  <a:pt x="305" y="181"/>
                  <a:pt x="305" y="181"/>
                  <a:pt x="305" y="181"/>
                </a:cubicBezTo>
                <a:cubicBezTo>
                  <a:pt x="305" y="182"/>
                  <a:pt x="305" y="182"/>
                  <a:pt x="305" y="182"/>
                </a:cubicBezTo>
                <a:cubicBezTo>
                  <a:pt x="303" y="183"/>
                  <a:pt x="303" y="183"/>
                  <a:pt x="303" y="183"/>
                </a:cubicBezTo>
                <a:cubicBezTo>
                  <a:pt x="301" y="182"/>
                  <a:pt x="301" y="182"/>
                  <a:pt x="301" y="182"/>
                </a:cubicBezTo>
                <a:cubicBezTo>
                  <a:pt x="300" y="183"/>
                  <a:pt x="300" y="183"/>
                  <a:pt x="300" y="183"/>
                </a:cubicBezTo>
                <a:cubicBezTo>
                  <a:pt x="299" y="182"/>
                  <a:pt x="299" y="182"/>
                  <a:pt x="299" y="182"/>
                </a:cubicBezTo>
                <a:cubicBezTo>
                  <a:pt x="299" y="180"/>
                  <a:pt x="299" y="180"/>
                  <a:pt x="299" y="180"/>
                </a:cubicBezTo>
                <a:cubicBezTo>
                  <a:pt x="300" y="178"/>
                  <a:pt x="300" y="178"/>
                  <a:pt x="300" y="178"/>
                </a:cubicBezTo>
                <a:cubicBezTo>
                  <a:pt x="300" y="177"/>
                  <a:pt x="300" y="177"/>
                  <a:pt x="300" y="177"/>
                </a:cubicBezTo>
                <a:cubicBezTo>
                  <a:pt x="298" y="179"/>
                  <a:pt x="298" y="179"/>
                  <a:pt x="298" y="179"/>
                </a:cubicBezTo>
                <a:cubicBezTo>
                  <a:pt x="298" y="181"/>
                  <a:pt x="298" y="181"/>
                  <a:pt x="298" y="181"/>
                </a:cubicBezTo>
                <a:cubicBezTo>
                  <a:pt x="299" y="183"/>
                  <a:pt x="299" y="183"/>
                  <a:pt x="299" y="183"/>
                </a:cubicBezTo>
                <a:cubicBezTo>
                  <a:pt x="299" y="184"/>
                  <a:pt x="299" y="184"/>
                  <a:pt x="299" y="184"/>
                </a:cubicBezTo>
                <a:cubicBezTo>
                  <a:pt x="299" y="185"/>
                  <a:pt x="299" y="185"/>
                  <a:pt x="299" y="185"/>
                </a:cubicBezTo>
                <a:cubicBezTo>
                  <a:pt x="298" y="186"/>
                  <a:pt x="298" y="186"/>
                  <a:pt x="298" y="186"/>
                </a:cubicBezTo>
                <a:cubicBezTo>
                  <a:pt x="297" y="187"/>
                  <a:pt x="297" y="187"/>
                  <a:pt x="297" y="187"/>
                </a:cubicBezTo>
                <a:cubicBezTo>
                  <a:pt x="297" y="187"/>
                  <a:pt x="295" y="187"/>
                  <a:pt x="295" y="187"/>
                </a:cubicBezTo>
                <a:close/>
                <a:moveTo>
                  <a:pt x="316" y="158"/>
                </a:moveTo>
                <a:cubicBezTo>
                  <a:pt x="316" y="159"/>
                  <a:pt x="316" y="159"/>
                  <a:pt x="316" y="159"/>
                </a:cubicBezTo>
                <a:cubicBezTo>
                  <a:pt x="317" y="159"/>
                  <a:pt x="317" y="159"/>
                  <a:pt x="317" y="159"/>
                </a:cubicBezTo>
                <a:cubicBezTo>
                  <a:pt x="317" y="158"/>
                  <a:pt x="317" y="158"/>
                  <a:pt x="317" y="158"/>
                </a:cubicBezTo>
                <a:cubicBezTo>
                  <a:pt x="316" y="158"/>
                  <a:pt x="316" y="158"/>
                  <a:pt x="316" y="158"/>
                </a:cubicBezTo>
                <a:close/>
                <a:moveTo>
                  <a:pt x="315" y="163"/>
                </a:moveTo>
                <a:cubicBezTo>
                  <a:pt x="316" y="163"/>
                  <a:pt x="316" y="163"/>
                  <a:pt x="316" y="163"/>
                </a:cubicBezTo>
                <a:cubicBezTo>
                  <a:pt x="317" y="162"/>
                  <a:pt x="317" y="162"/>
                  <a:pt x="317" y="162"/>
                </a:cubicBezTo>
                <a:cubicBezTo>
                  <a:pt x="317" y="161"/>
                  <a:pt x="317" y="161"/>
                  <a:pt x="317" y="161"/>
                </a:cubicBezTo>
                <a:cubicBezTo>
                  <a:pt x="317" y="160"/>
                  <a:pt x="317" y="160"/>
                  <a:pt x="317" y="160"/>
                </a:cubicBezTo>
                <a:cubicBezTo>
                  <a:pt x="316" y="159"/>
                  <a:pt x="316" y="159"/>
                  <a:pt x="316" y="159"/>
                </a:cubicBezTo>
                <a:cubicBezTo>
                  <a:pt x="316" y="160"/>
                  <a:pt x="316" y="160"/>
                  <a:pt x="316" y="160"/>
                </a:cubicBezTo>
                <a:cubicBezTo>
                  <a:pt x="315" y="161"/>
                  <a:pt x="315" y="161"/>
                  <a:pt x="315" y="161"/>
                </a:cubicBezTo>
                <a:cubicBezTo>
                  <a:pt x="315" y="161"/>
                  <a:pt x="315" y="161"/>
                  <a:pt x="315" y="161"/>
                </a:cubicBezTo>
                <a:cubicBezTo>
                  <a:pt x="315" y="163"/>
                  <a:pt x="315" y="163"/>
                  <a:pt x="315" y="163"/>
                </a:cubicBezTo>
                <a:cubicBezTo>
                  <a:pt x="315" y="163"/>
                  <a:pt x="315" y="163"/>
                  <a:pt x="315" y="163"/>
                </a:cubicBezTo>
                <a:close/>
                <a:moveTo>
                  <a:pt x="315" y="166"/>
                </a:moveTo>
                <a:cubicBezTo>
                  <a:pt x="315" y="166"/>
                  <a:pt x="315" y="166"/>
                  <a:pt x="315" y="166"/>
                </a:cubicBezTo>
                <a:cubicBezTo>
                  <a:pt x="316" y="164"/>
                  <a:pt x="316" y="164"/>
                  <a:pt x="316" y="164"/>
                </a:cubicBezTo>
                <a:cubicBezTo>
                  <a:pt x="315" y="164"/>
                  <a:pt x="315" y="164"/>
                  <a:pt x="315" y="164"/>
                </a:cubicBezTo>
                <a:cubicBezTo>
                  <a:pt x="314" y="165"/>
                  <a:pt x="314" y="165"/>
                  <a:pt x="314" y="165"/>
                </a:cubicBezTo>
                <a:cubicBezTo>
                  <a:pt x="314" y="166"/>
                  <a:pt x="314" y="166"/>
                  <a:pt x="314" y="166"/>
                </a:cubicBezTo>
                <a:cubicBezTo>
                  <a:pt x="315" y="166"/>
                  <a:pt x="315" y="166"/>
                  <a:pt x="315" y="166"/>
                </a:cubicBezTo>
                <a:close/>
                <a:moveTo>
                  <a:pt x="267" y="139"/>
                </a:moveTo>
                <a:cubicBezTo>
                  <a:pt x="267" y="140"/>
                  <a:pt x="267" y="140"/>
                  <a:pt x="267" y="140"/>
                </a:cubicBezTo>
                <a:cubicBezTo>
                  <a:pt x="267" y="140"/>
                  <a:pt x="267" y="140"/>
                  <a:pt x="267" y="140"/>
                </a:cubicBezTo>
                <a:cubicBezTo>
                  <a:pt x="268" y="140"/>
                  <a:pt x="268" y="140"/>
                  <a:pt x="268" y="140"/>
                </a:cubicBezTo>
                <a:cubicBezTo>
                  <a:pt x="269" y="140"/>
                  <a:pt x="269" y="140"/>
                  <a:pt x="269" y="140"/>
                </a:cubicBezTo>
                <a:cubicBezTo>
                  <a:pt x="269" y="140"/>
                  <a:pt x="269" y="140"/>
                  <a:pt x="269" y="140"/>
                </a:cubicBezTo>
                <a:cubicBezTo>
                  <a:pt x="269" y="139"/>
                  <a:pt x="269" y="139"/>
                  <a:pt x="269" y="139"/>
                </a:cubicBezTo>
                <a:cubicBezTo>
                  <a:pt x="267" y="139"/>
                  <a:pt x="267" y="139"/>
                  <a:pt x="267" y="139"/>
                </a:cubicBezTo>
                <a:cubicBezTo>
                  <a:pt x="267" y="139"/>
                  <a:pt x="267" y="139"/>
                  <a:pt x="267" y="139"/>
                </a:cubicBezTo>
                <a:close/>
                <a:moveTo>
                  <a:pt x="275" y="155"/>
                </a:moveTo>
                <a:cubicBezTo>
                  <a:pt x="274" y="154"/>
                  <a:pt x="274" y="154"/>
                  <a:pt x="274" y="154"/>
                </a:cubicBezTo>
                <a:cubicBezTo>
                  <a:pt x="274" y="151"/>
                  <a:pt x="274" y="151"/>
                  <a:pt x="274" y="151"/>
                </a:cubicBezTo>
                <a:cubicBezTo>
                  <a:pt x="273" y="150"/>
                  <a:pt x="273" y="150"/>
                  <a:pt x="273" y="150"/>
                </a:cubicBezTo>
                <a:cubicBezTo>
                  <a:pt x="273" y="149"/>
                  <a:pt x="273" y="149"/>
                  <a:pt x="273" y="149"/>
                </a:cubicBezTo>
                <a:cubicBezTo>
                  <a:pt x="273" y="148"/>
                  <a:pt x="273" y="148"/>
                  <a:pt x="273" y="148"/>
                </a:cubicBezTo>
                <a:cubicBezTo>
                  <a:pt x="273" y="147"/>
                  <a:pt x="273" y="147"/>
                  <a:pt x="273" y="147"/>
                </a:cubicBezTo>
                <a:cubicBezTo>
                  <a:pt x="273" y="145"/>
                  <a:pt x="273" y="145"/>
                  <a:pt x="273" y="145"/>
                </a:cubicBezTo>
                <a:cubicBezTo>
                  <a:pt x="272" y="144"/>
                  <a:pt x="272" y="144"/>
                  <a:pt x="272" y="144"/>
                </a:cubicBezTo>
                <a:cubicBezTo>
                  <a:pt x="271" y="143"/>
                  <a:pt x="271" y="143"/>
                  <a:pt x="271" y="143"/>
                </a:cubicBezTo>
                <a:cubicBezTo>
                  <a:pt x="271" y="142"/>
                  <a:pt x="271" y="142"/>
                  <a:pt x="271" y="142"/>
                </a:cubicBezTo>
                <a:cubicBezTo>
                  <a:pt x="273" y="141"/>
                  <a:pt x="273" y="141"/>
                  <a:pt x="273" y="141"/>
                </a:cubicBezTo>
                <a:cubicBezTo>
                  <a:pt x="274" y="140"/>
                  <a:pt x="274" y="140"/>
                  <a:pt x="274" y="140"/>
                </a:cubicBezTo>
                <a:cubicBezTo>
                  <a:pt x="275" y="139"/>
                  <a:pt x="275" y="139"/>
                  <a:pt x="275" y="139"/>
                </a:cubicBezTo>
                <a:cubicBezTo>
                  <a:pt x="277" y="139"/>
                  <a:pt x="277" y="139"/>
                  <a:pt x="277" y="139"/>
                </a:cubicBezTo>
                <a:cubicBezTo>
                  <a:pt x="278" y="140"/>
                  <a:pt x="278" y="140"/>
                  <a:pt x="278" y="140"/>
                </a:cubicBezTo>
                <a:cubicBezTo>
                  <a:pt x="278" y="140"/>
                  <a:pt x="278" y="140"/>
                  <a:pt x="278" y="140"/>
                </a:cubicBezTo>
                <a:cubicBezTo>
                  <a:pt x="279" y="141"/>
                  <a:pt x="279" y="141"/>
                  <a:pt x="279" y="141"/>
                </a:cubicBezTo>
                <a:cubicBezTo>
                  <a:pt x="280" y="140"/>
                  <a:pt x="280" y="140"/>
                  <a:pt x="280" y="140"/>
                </a:cubicBezTo>
                <a:cubicBezTo>
                  <a:pt x="281" y="141"/>
                  <a:pt x="281" y="141"/>
                  <a:pt x="281" y="141"/>
                </a:cubicBezTo>
                <a:cubicBezTo>
                  <a:pt x="282" y="141"/>
                  <a:pt x="282" y="141"/>
                  <a:pt x="282" y="141"/>
                </a:cubicBezTo>
                <a:cubicBezTo>
                  <a:pt x="283" y="141"/>
                  <a:pt x="283" y="141"/>
                  <a:pt x="283" y="141"/>
                </a:cubicBezTo>
                <a:cubicBezTo>
                  <a:pt x="284" y="142"/>
                  <a:pt x="284" y="142"/>
                  <a:pt x="284" y="142"/>
                </a:cubicBezTo>
                <a:cubicBezTo>
                  <a:pt x="284" y="143"/>
                  <a:pt x="284" y="143"/>
                  <a:pt x="284" y="143"/>
                </a:cubicBezTo>
                <a:cubicBezTo>
                  <a:pt x="284" y="144"/>
                  <a:pt x="284" y="144"/>
                  <a:pt x="284" y="144"/>
                </a:cubicBezTo>
                <a:cubicBezTo>
                  <a:pt x="285" y="145"/>
                  <a:pt x="285" y="145"/>
                  <a:pt x="285" y="145"/>
                </a:cubicBezTo>
                <a:cubicBezTo>
                  <a:pt x="285" y="146"/>
                  <a:pt x="285" y="146"/>
                  <a:pt x="285" y="146"/>
                </a:cubicBezTo>
                <a:cubicBezTo>
                  <a:pt x="284" y="146"/>
                  <a:pt x="284" y="146"/>
                  <a:pt x="284" y="146"/>
                </a:cubicBezTo>
                <a:cubicBezTo>
                  <a:pt x="284" y="147"/>
                  <a:pt x="284" y="147"/>
                  <a:pt x="284" y="147"/>
                </a:cubicBezTo>
                <a:cubicBezTo>
                  <a:pt x="283" y="149"/>
                  <a:pt x="283" y="149"/>
                  <a:pt x="283" y="149"/>
                </a:cubicBezTo>
                <a:cubicBezTo>
                  <a:pt x="282" y="149"/>
                  <a:pt x="282" y="149"/>
                  <a:pt x="282" y="149"/>
                </a:cubicBezTo>
                <a:cubicBezTo>
                  <a:pt x="280" y="150"/>
                  <a:pt x="280" y="150"/>
                  <a:pt x="280" y="150"/>
                </a:cubicBezTo>
                <a:cubicBezTo>
                  <a:pt x="279" y="151"/>
                  <a:pt x="279" y="151"/>
                  <a:pt x="279" y="151"/>
                </a:cubicBezTo>
                <a:cubicBezTo>
                  <a:pt x="277" y="153"/>
                  <a:pt x="277" y="153"/>
                  <a:pt x="277" y="153"/>
                </a:cubicBezTo>
                <a:cubicBezTo>
                  <a:pt x="276" y="153"/>
                  <a:pt x="276" y="153"/>
                  <a:pt x="276" y="153"/>
                </a:cubicBezTo>
                <a:cubicBezTo>
                  <a:pt x="275" y="154"/>
                  <a:pt x="275" y="154"/>
                  <a:pt x="275" y="154"/>
                </a:cubicBezTo>
                <a:cubicBezTo>
                  <a:pt x="275" y="155"/>
                  <a:pt x="275" y="155"/>
                  <a:pt x="275" y="155"/>
                </a:cubicBezTo>
                <a:cubicBezTo>
                  <a:pt x="275" y="155"/>
                  <a:pt x="275" y="155"/>
                  <a:pt x="275" y="155"/>
                </a:cubicBezTo>
                <a:close/>
                <a:moveTo>
                  <a:pt x="320" y="181"/>
                </a:moveTo>
                <a:cubicBezTo>
                  <a:pt x="318" y="179"/>
                  <a:pt x="318" y="179"/>
                  <a:pt x="318" y="179"/>
                </a:cubicBezTo>
                <a:cubicBezTo>
                  <a:pt x="317" y="179"/>
                  <a:pt x="317" y="179"/>
                  <a:pt x="317" y="179"/>
                </a:cubicBezTo>
                <a:cubicBezTo>
                  <a:pt x="315" y="179"/>
                  <a:pt x="315" y="179"/>
                  <a:pt x="315" y="179"/>
                </a:cubicBezTo>
                <a:cubicBezTo>
                  <a:pt x="316" y="178"/>
                  <a:pt x="316" y="178"/>
                  <a:pt x="316" y="178"/>
                </a:cubicBezTo>
                <a:cubicBezTo>
                  <a:pt x="317" y="177"/>
                  <a:pt x="317" y="177"/>
                  <a:pt x="317" y="177"/>
                </a:cubicBezTo>
                <a:cubicBezTo>
                  <a:pt x="317" y="178"/>
                  <a:pt x="317" y="178"/>
                  <a:pt x="317" y="178"/>
                </a:cubicBezTo>
                <a:cubicBezTo>
                  <a:pt x="318" y="177"/>
                  <a:pt x="318" y="177"/>
                  <a:pt x="318" y="177"/>
                </a:cubicBezTo>
                <a:cubicBezTo>
                  <a:pt x="318" y="177"/>
                  <a:pt x="318" y="177"/>
                  <a:pt x="318" y="177"/>
                </a:cubicBezTo>
                <a:cubicBezTo>
                  <a:pt x="317" y="177"/>
                  <a:pt x="317" y="177"/>
                  <a:pt x="317" y="177"/>
                </a:cubicBezTo>
                <a:cubicBezTo>
                  <a:pt x="316" y="176"/>
                  <a:pt x="316" y="176"/>
                  <a:pt x="316" y="176"/>
                </a:cubicBezTo>
                <a:cubicBezTo>
                  <a:pt x="318" y="174"/>
                  <a:pt x="318" y="174"/>
                  <a:pt x="318" y="174"/>
                </a:cubicBezTo>
                <a:cubicBezTo>
                  <a:pt x="318" y="172"/>
                  <a:pt x="318" y="172"/>
                  <a:pt x="318" y="172"/>
                </a:cubicBezTo>
                <a:cubicBezTo>
                  <a:pt x="318" y="171"/>
                  <a:pt x="318" y="171"/>
                  <a:pt x="318" y="171"/>
                </a:cubicBezTo>
                <a:cubicBezTo>
                  <a:pt x="319" y="171"/>
                  <a:pt x="319" y="171"/>
                  <a:pt x="319" y="171"/>
                </a:cubicBezTo>
                <a:cubicBezTo>
                  <a:pt x="319" y="170"/>
                  <a:pt x="319" y="170"/>
                  <a:pt x="319" y="170"/>
                </a:cubicBezTo>
                <a:cubicBezTo>
                  <a:pt x="318" y="169"/>
                  <a:pt x="318" y="169"/>
                  <a:pt x="318" y="169"/>
                </a:cubicBezTo>
                <a:cubicBezTo>
                  <a:pt x="319" y="168"/>
                  <a:pt x="319" y="168"/>
                  <a:pt x="319" y="168"/>
                </a:cubicBezTo>
                <a:cubicBezTo>
                  <a:pt x="319" y="167"/>
                  <a:pt x="319" y="167"/>
                  <a:pt x="319" y="167"/>
                </a:cubicBezTo>
                <a:cubicBezTo>
                  <a:pt x="320" y="164"/>
                  <a:pt x="320" y="164"/>
                  <a:pt x="320" y="164"/>
                </a:cubicBezTo>
                <a:cubicBezTo>
                  <a:pt x="321" y="164"/>
                  <a:pt x="321" y="164"/>
                  <a:pt x="321" y="164"/>
                </a:cubicBezTo>
                <a:cubicBezTo>
                  <a:pt x="321" y="163"/>
                  <a:pt x="321" y="163"/>
                  <a:pt x="321" y="163"/>
                </a:cubicBezTo>
                <a:cubicBezTo>
                  <a:pt x="322" y="162"/>
                  <a:pt x="322" y="162"/>
                  <a:pt x="322" y="162"/>
                </a:cubicBezTo>
                <a:cubicBezTo>
                  <a:pt x="322" y="160"/>
                  <a:pt x="322" y="160"/>
                  <a:pt x="322" y="160"/>
                </a:cubicBezTo>
                <a:cubicBezTo>
                  <a:pt x="323" y="160"/>
                  <a:pt x="323" y="160"/>
                  <a:pt x="323" y="160"/>
                </a:cubicBezTo>
                <a:cubicBezTo>
                  <a:pt x="323" y="158"/>
                  <a:pt x="323" y="158"/>
                  <a:pt x="323" y="158"/>
                </a:cubicBezTo>
                <a:cubicBezTo>
                  <a:pt x="325" y="157"/>
                  <a:pt x="325" y="157"/>
                  <a:pt x="325" y="157"/>
                </a:cubicBezTo>
                <a:cubicBezTo>
                  <a:pt x="325" y="155"/>
                  <a:pt x="325" y="155"/>
                  <a:pt x="325" y="155"/>
                </a:cubicBezTo>
                <a:cubicBezTo>
                  <a:pt x="326" y="155"/>
                  <a:pt x="326" y="155"/>
                  <a:pt x="326" y="155"/>
                </a:cubicBezTo>
                <a:cubicBezTo>
                  <a:pt x="326" y="154"/>
                  <a:pt x="326" y="154"/>
                  <a:pt x="326" y="154"/>
                </a:cubicBezTo>
                <a:cubicBezTo>
                  <a:pt x="326" y="153"/>
                  <a:pt x="326" y="153"/>
                  <a:pt x="326" y="153"/>
                </a:cubicBezTo>
                <a:cubicBezTo>
                  <a:pt x="327" y="152"/>
                  <a:pt x="327" y="152"/>
                  <a:pt x="327" y="152"/>
                </a:cubicBezTo>
                <a:cubicBezTo>
                  <a:pt x="327" y="152"/>
                  <a:pt x="327" y="152"/>
                  <a:pt x="327" y="152"/>
                </a:cubicBezTo>
                <a:cubicBezTo>
                  <a:pt x="328" y="154"/>
                  <a:pt x="328" y="154"/>
                  <a:pt x="328" y="154"/>
                </a:cubicBezTo>
                <a:cubicBezTo>
                  <a:pt x="329" y="155"/>
                  <a:pt x="329" y="155"/>
                  <a:pt x="329" y="155"/>
                </a:cubicBezTo>
                <a:cubicBezTo>
                  <a:pt x="330" y="155"/>
                  <a:pt x="330" y="155"/>
                  <a:pt x="330" y="155"/>
                </a:cubicBezTo>
                <a:cubicBezTo>
                  <a:pt x="330" y="154"/>
                  <a:pt x="330" y="154"/>
                  <a:pt x="330" y="154"/>
                </a:cubicBezTo>
                <a:cubicBezTo>
                  <a:pt x="329" y="152"/>
                  <a:pt x="329" y="152"/>
                  <a:pt x="329" y="152"/>
                </a:cubicBezTo>
                <a:cubicBezTo>
                  <a:pt x="329" y="152"/>
                  <a:pt x="329" y="152"/>
                  <a:pt x="329" y="152"/>
                </a:cubicBezTo>
                <a:cubicBezTo>
                  <a:pt x="330" y="152"/>
                  <a:pt x="330" y="152"/>
                  <a:pt x="330" y="152"/>
                </a:cubicBezTo>
                <a:cubicBezTo>
                  <a:pt x="329" y="150"/>
                  <a:pt x="329" y="150"/>
                  <a:pt x="329" y="150"/>
                </a:cubicBezTo>
                <a:cubicBezTo>
                  <a:pt x="330" y="149"/>
                  <a:pt x="330" y="149"/>
                  <a:pt x="330" y="149"/>
                </a:cubicBezTo>
                <a:cubicBezTo>
                  <a:pt x="333" y="148"/>
                  <a:pt x="333" y="148"/>
                  <a:pt x="333" y="148"/>
                </a:cubicBezTo>
                <a:cubicBezTo>
                  <a:pt x="335" y="148"/>
                  <a:pt x="335" y="148"/>
                  <a:pt x="335" y="148"/>
                </a:cubicBezTo>
                <a:cubicBezTo>
                  <a:pt x="336" y="148"/>
                  <a:pt x="336" y="148"/>
                  <a:pt x="336" y="148"/>
                </a:cubicBezTo>
                <a:cubicBezTo>
                  <a:pt x="336" y="148"/>
                  <a:pt x="336" y="148"/>
                  <a:pt x="336" y="148"/>
                </a:cubicBezTo>
                <a:cubicBezTo>
                  <a:pt x="337" y="148"/>
                  <a:pt x="337" y="148"/>
                  <a:pt x="337" y="148"/>
                </a:cubicBezTo>
                <a:cubicBezTo>
                  <a:pt x="338" y="149"/>
                  <a:pt x="338" y="149"/>
                  <a:pt x="338" y="149"/>
                </a:cubicBezTo>
                <a:cubicBezTo>
                  <a:pt x="339" y="148"/>
                  <a:pt x="339" y="148"/>
                  <a:pt x="339" y="148"/>
                </a:cubicBezTo>
                <a:cubicBezTo>
                  <a:pt x="340" y="148"/>
                  <a:pt x="340" y="148"/>
                  <a:pt x="340" y="148"/>
                </a:cubicBezTo>
                <a:cubicBezTo>
                  <a:pt x="341" y="150"/>
                  <a:pt x="341" y="150"/>
                  <a:pt x="341" y="150"/>
                </a:cubicBezTo>
                <a:cubicBezTo>
                  <a:pt x="342" y="150"/>
                  <a:pt x="342" y="150"/>
                  <a:pt x="342" y="150"/>
                </a:cubicBezTo>
                <a:cubicBezTo>
                  <a:pt x="342" y="150"/>
                  <a:pt x="342" y="150"/>
                  <a:pt x="342" y="150"/>
                </a:cubicBezTo>
                <a:cubicBezTo>
                  <a:pt x="343" y="150"/>
                  <a:pt x="343" y="150"/>
                  <a:pt x="343" y="150"/>
                </a:cubicBezTo>
                <a:cubicBezTo>
                  <a:pt x="344" y="152"/>
                  <a:pt x="344" y="152"/>
                  <a:pt x="344" y="152"/>
                </a:cubicBezTo>
                <a:cubicBezTo>
                  <a:pt x="344" y="153"/>
                  <a:pt x="344" y="153"/>
                  <a:pt x="344" y="153"/>
                </a:cubicBezTo>
                <a:cubicBezTo>
                  <a:pt x="344" y="153"/>
                  <a:pt x="344" y="153"/>
                  <a:pt x="344" y="153"/>
                </a:cubicBezTo>
                <a:cubicBezTo>
                  <a:pt x="345" y="153"/>
                  <a:pt x="345" y="153"/>
                  <a:pt x="345" y="153"/>
                </a:cubicBezTo>
                <a:cubicBezTo>
                  <a:pt x="347" y="153"/>
                  <a:pt x="347" y="153"/>
                  <a:pt x="347" y="153"/>
                </a:cubicBezTo>
                <a:cubicBezTo>
                  <a:pt x="350" y="153"/>
                  <a:pt x="350" y="153"/>
                  <a:pt x="350" y="153"/>
                </a:cubicBezTo>
                <a:cubicBezTo>
                  <a:pt x="351" y="154"/>
                  <a:pt x="351" y="154"/>
                  <a:pt x="351" y="154"/>
                </a:cubicBezTo>
                <a:cubicBezTo>
                  <a:pt x="351" y="155"/>
                  <a:pt x="351" y="155"/>
                  <a:pt x="351" y="155"/>
                </a:cubicBezTo>
                <a:cubicBezTo>
                  <a:pt x="352" y="156"/>
                  <a:pt x="352" y="156"/>
                  <a:pt x="352" y="156"/>
                </a:cubicBezTo>
                <a:cubicBezTo>
                  <a:pt x="352" y="157"/>
                  <a:pt x="352" y="157"/>
                  <a:pt x="352" y="157"/>
                </a:cubicBezTo>
                <a:cubicBezTo>
                  <a:pt x="352" y="156"/>
                  <a:pt x="352" y="156"/>
                  <a:pt x="352" y="156"/>
                </a:cubicBezTo>
                <a:cubicBezTo>
                  <a:pt x="351" y="156"/>
                  <a:pt x="351" y="156"/>
                  <a:pt x="351" y="156"/>
                </a:cubicBezTo>
                <a:cubicBezTo>
                  <a:pt x="351" y="158"/>
                  <a:pt x="351" y="158"/>
                  <a:pt x="351" y="158"/>
                </a:cubicBezTo>
                <a:cubicBezTo>
                  <a:pt x="349" y="159"/>
                  <a:pt x="349" y="159"/>
                  <a:pt x="349" y="159"/>
                </a:cubicBezTo>
                <a:cubicBezTo>
                  <a:pt x="348" y="161"/>
                  <a:pt x="348" y="161"/>
                  <a:pt x="348" y="161"/>
                </a:cubicBezTo>
                <a:cubicBezTo>
                  <a:pt x="347" y="161"/>
                  <a:pt x="347" y="161"/>
                  <a:pt x="347" y="161"/>
                </a:cubicBezTo>
                <a:cubicBezTo>
                  <a:pt x="347" y="162"/>
                  <a:pt x="347" y="162"/>
                  <a:pt x="347" y="162"/>
                </a:cubicBezTo>
                <a:cubicBezTo>
                  <a:pt x="344" y="164"/>
                  <a:pt x="344" y="164"/>
                  <a:pt x="344" y="164"/>
                </a:cubicBezTo>
                <a:cubicBezTo>
                  <a:pt x="343" y="165"/>
                  <a:pt x="343" y="165"/>
                  <a:pt x="343" y="165"/>
                </a:cubicBezTo>
                <a:cubicBezTo>
                  <a:pt x="342" y="165"/>
                  <a:pt x="342" y="165"/>
                  <a:pt x="342" y="165"/>
                </a:cubicBezTo>
                <a:cubicBezTo>
                  <a:pt x="341" y="166"/>
                  <a:pt x="341" y="166"/>
                  <a:pt x="341" y="166"/>
                </a:cubicBezTo>
                <a:cubicBezTo>
                  <a:pt x="342" y="166"/>
                  <a:pt x="342" y="166"/>
                  <a:pt x="342" y="166"/>
                </a:cubicBezTo>
                <a:cubicBezTo>
                  <a:pt x="341" y="167"/>
                  <a:pt x="341" y="167"/>
                  <a:pt x="341" y="167"/>
                </a:cubicBezTo>
                <a:cubicBezTo>
                  <a:pt x="339" y="169"/>
                  <a:pt x="339" y="169"/>
                  <a:pt x="339" y="169"/>
                </a:cubicBezTo>
                <a:cubicBezTo>
                  <a:pt x="338" y="170"/>
                  <a:pt x="338" y="170"/>
                  <a:pt x="338" y="170"/>
                </a:cubicBezTo>
                <a:cubicBezTo>
                  <a:pt x="336" y="172"/>
                  <a:pt x="336" y="172"/>
                  <a:pt x="336" y="172"/>
                </a:cubicBezTo>
                <a:cubicBezTo>
                  <a:pt x="334" y="173"/>
                  <a:pt x="334" y="173"/>
                  <a:pt x="334" y="173"/>
                </a:cubicBezTo>
                <a:cubicBezTo>
                  <a:pt x="333" y="172"/>
                  <a:pt x="333" y="172"/>
                  <a:pt x="333" y="172"/>
                </a:cubicBezTo>
                <a:cubicBezTo>
                  <a:pt x="333" y="172"/>
                  <a:pt x="333" y="172"/>
                  <a:pt x="333" y="172"/>
                </a:cubicBezTo>
                <a:cubicBezTo>
                  <a:pt x="332" y="172"/>
                  <a:pt x="332" y="172"/>
                  <a:pt x="332" y="172"/>
                </a:cubicBezTo>
                <a:cubicBezTo>
                  <a:pt x="331" y="170"/>
                  <a:pt x="331" y="170"/>
                  <a:pt x="331" y="170"/>
                </a:cubicBezTo>
                <a:cubicBezTo>
                  <a:pt x="330" y="169"/>
                  <a:pt x="330" y="169"/>
                  <a:pt x="330" y="169"/>
                </a:cubicBezTo>
                <a:cubicBezTo>
                  <a:pt x="330" y="169"/>
                  <a:pt x="330" y="169"/>
                  <a:pt x="330" y="169"/>
                </a:cubicBezTo>
                <a:cubicBezTo>
                  <a:pt x="329" y="169"/>
                  <a:pt x="329" y="169"/>
                  <a:pt x="329" y="169"/>
                </a:cubicBezTo>
                <a:cubicBezTo>
                  <a:pt x="328" y="169"/>
                  <a:pt x="328" y="169"/>
                  <a:pt x="328" y="169"/>
                </a:cubicBezTo>
                <a:cubicBezTo>
                  <a:pt x="326" y="169"/>
                  <a:pt x="326" y="169"/>
                  <a:pt x="326" y="169"/>
                </a:cubicBezTo>
                <a:cubicBezTo>
                  <a:pt x="326" y="169"/>
                  <a:pt x="326" y="169"/>
                  <a:pt x="326" y="169"/>
                </a:cubicBezTo>
                <a:cubicBezTo>
                  <a:pt x="325" y="169"/>
                  <a:pt x="325" y="169"/>
                  <a:pt x="325" y="169"/>
                </a:cubicBezTo>
                <a:cubicBezTo>
                  <a:pt x="324" y="169"/>
                  <a:pt x="324" y="169"/>
                  <a:pt x="324" y="169"/>
                </a:cubicBezTo>
                <a:cubicBezTo>
                  <a:pt x="325" y="170"/>
                  <a:pt x="325" y="170"/>
                  <a:pt x="325" y="170"/>
                </a:cubicBezTo>
                <a:cubicBezTo>
                  <a:pt x="327" y="170"/>
                  <a:pt x="327" y="170"/>
                  <a:pt x="327" y="170"/>
                </a:cubicBezTo>
                <a:cubicBezTo>
                  <a:pt x="327" y="171"/>
                  <a:pt x="327" y="171"/>
                  <a:pt x="327" y="171"/>
                </a:cubicBezTo>
                <a:cubicBezTo>
                  <a:pt x="326" y="172"/>
                  <a:pt x="326" y="172"/>
                  <a:pt x="326" y="172"/>
                </a:cubicBezTo>
                <a:cubicBezTo>
                  <a:pt x="327" y="173"/>
                  <a:pt x="327" y="173"/>
                  <a:pt x="327" y="173"/>
                </a:cubicBezTo>
                <a:cubicBezTo>
                  <a:pt x="327" y="174"/>
                  <a:pt x="327" y="174"/>
                  <a:pt x="327" y="174"/>
                </a:cubicBezTo>
                <a:cubicBezTo>
                  <a:pt x="326" y="175"/>
                  <a:pt x="326" y="175"/>
                  <a:pt x="326" y="175"/>
                </a:cubicBezTo>
                <a:cubicBezTo>
                  <a:pt x="325" y="176"/>
                  <a:pt x="325" y="176"/>
                  <a:pt x="325" y="176"/>
                </a:cubicBezTo>
                <a:cubicBezTo>
                  <a:pt x="325" y="176"/>
                  <a:pt x="325" y="176"/>
                  <a:pt x="325" y="176"/>
                </a:cubicBezTo>
                <a:cubicBezTo>
                  <a:pt x="323" y="176"/>
                  <a:pt x="323" y="176"/>
                  <a:pt x="323" y="176"/>
                </a:cubicBezTo>
                <a:cubicBezTo>
                  <a:pt x="323" y="177"/>
                  <a:pt x="323" y="177"/>
                  <a:pt x="323" y="177"/>
                </a:cubicBezTo>
                <a:cubicBezTo>
                  <a:pt x="322" y="178"/>
                  <a:pt x="322" y="178"/>
                  <a:pt x="322" y="178"/>
                </a:cubicBezTo>
                <a:cubicBezTo>
                  <a:pt x="321" y="179"/>
                  <a:pt x="321" y="179"/>
                  <a:pt x="321" y="179"/>
                </a:cubicBezTo>
                <a:cubicBezTo>
                  <a:pt x="320" y="179"/>
                  <a:pt x="320" y="179"/>
                  <a:pt x="320" y="179"/>
                </a:cubicBezTo>
                <a:cubicBezTo>
                  <a:pt x="320" y="180"/>
                  <a:pt x="320" y="180"/>
                  <a:pt x="320" y="180"/>
                </a:cubicBezTo>
                <a:cubicBezTo>
                  <a:pt x="320" y="180"/>
                  <a:pt x="320" y="181"/>
                  <a:pt x="320" y="181"/>
                </a:cubicBezTo>
                <a:close/>
                <a:moveTo>
                  <a:pt x="397" y="186"/>
                </a:moveTo>
                <a:cubicBezTo>
                  <a:pt x="395" y="185"/>
                  <a:pt x="395" y="185"/>
                  <a:pt x="395" y="185"/>
                </a:cubicBezTo>
                <a:cubicBezTo>
                  <a:pt x="394" y="185"/>
                  <a:pt x="394" y="185"/>
                  <a:pt x="394" y="185"/>
                </a:cubicBezTo>
                <a:cubicBezTo>
                  <a:pt x="394" y="183"/>
                  <a:pt x="394" y="183"/>
                  <a:pt x="394" y="183"/>
                </a:cubicBezTo>
                <a:cubicBezTo>
                  <a:pt x="393" y="183"/>
                  <a:pt x="393" y="183"/>
                  <a:pt x="393" y="183"/>
                </a:cubicBezTo>
                <a:cubicBezTo>
                  <a:pt x="392" y="182"/>
                  <a:pt x="392" y="182"/>
                  <a:pt x="392" y="182"/>
                </a:cubicBezTo>
                <a:cubicBezTo>
                  <a:pt x="393" y="180"/>
                  <a:pt x="393" y="180"/>
                  <a:pt x="393" y="180"/>
                </a:cubicBezTo>
                <a:cubicBezTo>
                  <a:pt x="394" y="179"/>
                  <a:pt x="394" y="179"/>
                  <a:pt x="394" y="179"/>
                </a:cubicBezTo>
                <a:cubicBezTo>
                  <a:pt x="394" y="178"/>
                  <a:pt x="394" y="178"/>
                  <a:pt x="394" y="178"/>
                </a:cubicBezTo>
                <a:cubicBezTo>
                  <a:pt x="394" y="177"/>
                  <a:pt x="394" y="177"/>
                  <a:pt x="394" y="177"/>
                </a:cubicBezTo>
                <a:cubicBezTo>
                  <a:pt x="394" y="176"/>
                  <a:pt x="394" y="176"/>
                  <a:pt x="394" y="176"/>
                </a:cubicBezTo>
                <a:cubicBezTo>
                  <a:pt x="393" y="176"/>
                  <a:pt x="393" y="176"/>
                  <a:pt x="393" y="176"/>
                </a:cubicBezTo>
                <a:cubicBezTo>
                  <a:pt x="392" y="175"/>
                  <a:pt x="392" y="175"/>
                  <a:pt x="392" y="175"/>
                </a:cubicBezTo>
                <a:cubicBezTo>
                  <a:pt x="393" y="173"/>
                  <a:pt x="393" y="173"/>
                  <a:pt x="393" y="173"/>
                </a:cubicBezTo>
                <a:cubicBezTo>
                  <a:pt x="394" y="173"/>
                  <a:pt x="394" y="173"/>
                  <a:pt x="394" y="173"/>
                </a:cubicBezTo>
                <a:cubicBezTo>
                  <a:pt x="394" y="172"/>
                  <a:pt x="394" y="172"/>
                  <a:pt x="394" y="172"/>
                </a:cubicBezTo>
                <a:cubicBezTo>
                  <a:pt x="394" y="171"/>
                  <a:pt x="394" y="171"/>
                  <a:pt x="394" y="171"/>
                </a:cubicBezTo>
                <a:cubicBezTo>
                  <a:pt x="395" y="170"/>
                  <a:pt x="395" y="170"/>
                  <a:pt x="395" y="170"/>
                </a:cubicBezTo>
                <a:cubicBezTo>
                  <a:pt x="395" y="168"/>
                  <a:pt x="395" y="168"/>
                  <a:pt x="395" y="168"/>
                </a:cubicBezTo>
                <a:cubicBezTo>
                  <a:pt x="396" y="168"/>
                  <a:pt x="396" y="168"/>
                  <a:pt x="396" y="168"/>
                </a:cubicBezTo>
                <a:cubicBezTo>
                  <a:pt x="397" y="169"/>
                  <a:pt x="397" y="169"/>
                  <a:pt x="397" y="169"/>
                </a:cubicBezTo>
                <a:cubicBezTo>
                  <a:pt x="397" y="170"/>
                  <a:pt x="397" y="170"/>
                  <a:pt x="397" y="170"/>
                </a:cubicBezTo>
                <a:cubicBezTo>
                  <a:pt x="400" y="170"/>
                  <a:pt x="400" y="170"/>
                  <a:pt x="400" y="170"/>
                </a:cubicBezTo>
                <a:cubicBezTo>
                  <a:pt x="401" y="171"/>
                  <a:pt x="401" y="171"/>
                  <a:pt x="401" y="171"/>
                </a:cubicBezTo>
                <a:cubicBezTo>
                  <a:pt x="402" y="172"/>
                  <a:pt x="402" y="172"/>
                  <a:pt x="402" y="172"/>
                </a:cubicBezTo>
                <a:cubicBezTo>
                  <a:pt x="403" y="171"/>
                  <a:pt x="403" y="171"/>
                  <a:pt x="403" y="171"/>
                </a:cubicBezTo>
                <a:cubicBezTo>
                  <a:pt x="405" y="172"/>
                  <a:pt x="405" y="172"/>
                  <a:pt x="405" y="172"/>
                </a:cubicBezTo>
                <a:cubicBezTo>
                  <a:pt x="407" y="172"/>
                  <a:pt x="407" y="172"/>
                  <a:pt x="407" y="172"/>
                </a:cubicBezTo>
                <a:cubicBezTo>
                  <a:pt x="407" y="173"/>
                  <a:pt x="407" y="173"/>
                  <a:pt x="407" y="173"/>
                </a:cubicBezTo>
                <a:cubicBezTo>
                  <a:pt x="408" y="174"/>
                  <a:pt x="408" y="174"/>
                  <a:pt x="408" y="174"/>
                </a:cubicBezTo>
                <a:cubicBezTo>
                  <a:pt x="410" y="175"/>
                  <a:pt x="410" y="175"/>
                  <a:pt x="410" y="175"/>
                </a:cubicBezTo>
                <a:cubicBezTo>
                  <a:pt x="410" y="176"/>
                  <a:pt x="410" y="176"/>
                  <a:pt x="410" y="176"/>
                </a:cubicBezTo>
                <a:cubicBezTo>
                  <a:pt x="410" y="177"/>
                  <a:pt x="410" y="177"/>
                  <a:pt x="410" y="177"/>
                </a:cubicBezTo>
                <a:cubicBezTo>
                  <a:pt x="410" y="178"/>
                  <a:pt x="410" y="178"/>
                  <a:pt x="410" y="178"/>
                </a:cubicBezTo>
                <a:cubicBezTo>
                  <a:pt x="411" y="179"/>
                  <a:pt x="411" y="179"/>
                  <a:pt x="411" y="179"/>
                </a:cubicBezTo>
                <a:cubicBezTo>
                  <a:pt x="410" y="180"/>
                  <a:pt x="410" y="180"/>
                  <a:pt x="410" y="180"/>
                </a:cubicBezTo>
                <a:cubicBezTo>
                  <a:pt x="411" y="181"/>
                  <a:pt x="411" y="181"/>
                  <a:pt x="411" y="181"/>
                </a:cubicBezTo>
                <a:cubicBezTo>
                  <a:pt x="411" y="182"/>
                  <a:pt x="411" y="182"/>
                  <a:pt x="411" y="182"/>
                </a:cubicBezTo>
                <a:cubicBezTo>
                  <a:pt x="411" y="183"/>
                  <a:pt x="411" y="183"/>
                  <a:pt x="411" y="183"/>
                </a:cubicBezTo>
                <a:cubicBezTo>
                  <a:pt x="411" y="184"/>
                  <a:pt x="411" y="184"/>
                  <a:pt x="411" y="184"/>
                </a:cubicBezTo>
                <a:cubicBezTo>
                  <a:pt x="410" y="185"/>
                  <a:pt x="410" y="185"/>
                  <a:pt x="410" y="185"/>
                </a:cubicBezTo>
                <a:cubicBezTo>
                  <a:pt x="412" y="185"/>
                  <a:pt x="412" y="185"/>
                  <a:pt x="412" y="185"/>
                </a:cubicBezTo>
                <a:cubicBezTo>
                  <a:pt x="412" y="186"/>
                  <a:pt x="412" y="186"/>
                  <a:pt x="412" y="186"/>
                </a:cubicBezTo>
                <a:cubicBezTo>
                  <a:pt x="411" y="186"/>
                  <a:pt x="411" y="186"/>
                  <a:pt x="411" y="186"/>
                </a:cubicBezTo>
                <a:cubicBezTo>
                  <a:pt x="411" y="187"/>
                  <a:pt x="411" y="187"/>
                  <a:pt x="411" y="187"/>
                </a:cubicBezTo>
                <a:cubicBezTo>
                  <a:pt x="408" y="187"/>
                  <a:pt x="408" y="187"/>
                  <a:pt x="408" y="187"/>
                </a:cubicBezTo>
                <a:cubicBezTo>
                  <a:pt x="408" y="186"/>
                  <a:pt x="408" y="186"/>
                  <a:pt x="408" y="186"/>
                </a:cubicBezTo>
                <a:cubicBezTo>
                  <a:pt x="406" y="186"/>
                  <a:pt x="406" y="186"/>
                  <a:pt x="406" y="186"/>
                </a:cubicBezTo>
                <a:cubicBezTo>
                  <a:pt x="405" y="185"/>
                  <a:pt x="405" y="185"/>
                  <a:pt x="405" y="185"/>
                </a:cubicBezTo>
                <a:cubicBezTo>
                  <a:pt x="403" y="185"/>
                  <a:pt x="403" y="185"/>
                  <a:pt x="403" y="185"/>
                </a:cubicBezTo>
                <a:cubicBezTo>
                  <a:pt x="403" y="185"/>
                  <a:pt x="403" y="185"/>
                  <a:pt x="403" y="185"/>
                </a:cubicBezTo>
                <a:cubicBezTo>
                  <a:pt x="402" y="184"/>
                  <a:pt x="402" y="184"/>
                  <a:pt x="402" y="184"/>
                </a:cubicBezTo>
                <a:cubicBezTo>
                  <a:pt x="400" y="185"/>
                  <a:pt x="400" y="185"/>
                  <a:pt x="400" y="185"/>
                </a:cubicBezTo>
                <a:cubicBezTo>
                  <a:pt x="399" y="185"/>
                  <a:pt x="399" y="185"/>
                  <a:pt x="399" y="185"/>
                </a:cubicBezTo>
                <a:cubicBezTo>
                  <a:pt x="398" y="186"/>
                  <a:pt x="398" y="186"/>
                  <a:pt x="398" y="186"/>
                </a:cubicBezTo>
                <a:cubicBezTo>
                  <a:pt x="397" y="186"/>
                  <a:pt x="397" y="186"/>
                  <a:pt x="397" y="186"/>
                </a:cubicBezTo>
                <a:close/>
                <a:moveTo>
                  <a:pt x="390" y="188"/>
                </a:moveTo>
                <a:cubicBezTo>
                  <a:pt x="390" y="187"/>
                  <a:pt x="390" y="187"/>
                  <a:pt x="390" y="187"/>
                </a:cubicBezTo>
                <a:cubicBezTo>
                  <a:pt x="390" y="186"/>
                  <a:pt x="390" y="186"/>
                  <a:pt x="390" y="186"/>
                </a:cubicBezTo>
                <a:cubicBezTo>
                  <a:pt x="391" y="186"/>
                  <a:pt x="391" y="186"/>
                  <a:pt x="391" y="186"/>
                </a:cubicBezTo>
                <a:cubicBezTo>
                  <a:pt x="391" y="187"/>
                  <a:pt x="391" y="187"/>
                  <a:pt x="391" y="187"/>
                </a:cubicBezTo>
                <a:cubicBezTo>
                  <a:pt x="390" y="188"/>
                  <a:pt x="390" y="188"/>
                  <a:pt x="390" y="188"/>
                </a:cubicBezTo>
                <a:close/>
                <a:moveTo>
                  <a:pt x="392" y="189"/>
                </a:moveTo>
                <a:cubicBezTo>
                  <a:pt x="391" y="188"/>
                  <a:pt x="391" y="188"/>
                  <a:pt x="391" y="188"/>
                </a:cubicBezTo>
                <a:cubicBezTo>
                  <a:pt x="392" y="188"/>
                  <a:pt x="392" y="188"/>
                  <a:pt x="392" y="188"/>
                </a:cubicBezTo>
                <a:cubicBezTo>
                  <a:pt x="392" y="188"/>
                  <a:pt x="392" y="188"/>
                  <a:pt x="392" y="188"/>
                </a:cubicBezTo>
                <a:cubicBezTo>
                  <a:pt x="392" y="189"/>
                  <a:pt x="392" y="189"/>
                  <a:pt x="392" y="189"/>
                </a:cubicBezTo>
                <a:cubicBezTo>
                  <a:pt x="392" y="189"/>
                  <a:pt x="392" y="189"/>
                  <a:pt x="392" y="189"/>
                </a:cubicBezTo>
                <a:close/>
                <a:moveTo>
                  <a:pt x="395" y="189"/>
                </a:moveTo>
                <a:cubicBezTo>
                  <a:pt x="394" y="189"/>
                  <a:pt x="394" y="189"/>
                  <a:pt x="394" y="189"/>
                </a:cubicBezTo>
                <a:cubicBezTo>
                  <a:pt x="394" y="188"/>
                  <a:pt x="394" y="188"/>
                  <a:pt x="394" y="188"/>
                </a:cubicBezTo>
                <a:cubicBezTo>
                  <a:pt x="395" y="188"/>
                  <a:pt x="395" y="188"/>
                  <a:pt x="395" y="188"/>
                </a:cubicBezTo>
                <a:cubicBezTo>
                  <a:pt x="395" y="189"/>
                  <a:pt x="395" y="189"/>
                  <a:pt x="395" y="189"/>
                </a:cubicBezTo>
                <a:cubicBezTo>
                  <a:pt x="395" y="189"/>
                  <a:pt x="395" y="189"/>
                  <a:pt x="395" y="189"/>
                </a:cubicBezTo>
                <a:close/>
                <a:moveTo>
                  <a:pt x="317" y="216"/>
                </a:moveTo>
                <a:cubicBezTo>
                  <a:pt x="317" y="215"/>
                  <a:pt x="317" y="215"/>
                  <a:pt x="317" y="215"/>
                </a:cubicBezTo>
                <a:cubicBezTo>
                  <a:pt x="317" y="214"/>
                  <a:pt x="317" y="214"/>
                  <a:pt x="317" y="214"/>
                </a:cubicBezTo>
                <a:cubicBezTo>
                  <a:pt x="318" y="214"/>
                  <a:pt x="318" y="214"/>
                  <a:pt x="318" y="214"/>
                </a:cubicBezTo>
                <a:cubicBezTo>
                  <a:pt x="319" y="215"/>
                  <a:pt x="319" y="215"/>
                  <a:pt x="319" y="215"/>
                </a:cubicBezTo>
                <a:cubicBezTo>
                  <a:pt x="318" y="215"/>
                  <a:pt x="318" y="215"/>
                  <a:pt x="318" y="215"/>
                </a:cubicBezTo>
                <a:cubicBezTo>
                  <a:pt x="318" y="215"/>
                  <a:pt x="318" y="215"/>
                  <a:pt x="318" y="215"/>
                </a:cubicBezTo>
                <a:cubicBezTo>
                  <a:pt x="317" y="216"/>
                  <a:pt x="317" y="216"/>
                  <a:pt x="317" y="216"/>
                </a:cubicBezTo>
                <a:close/>
                <a:moveTo>
                  <a:pt x="321" y="222"/>
                </a:moveTo>
                <a:cubicBezTo>
                  <a:pt x="321" y="223"/>
                  <a:pt x="321" y="223"/>
                  <a:pt x="321" y="223"/>
                </a:cubicBezTo>
                <a:cubicBezTo>
                  <a:pt x="322" y="223"/>
                  <a:pt x="322" y="223"/>
                  <a:pt x="322" y="223"/>
                </a:cubicBezTo>
                <a:cubicBezTo>
                  <a:pt x="322" y="223"/>
                  <a:pt x="322" y="223"/>
                  <a:pt x="322" y="223"/>
                </a:cubicBezTo>
                <a:cubicBezTo>
                  <a:pt x="322" y="222"/>
                  <a:pt x="322" y="222"/>
                  <a:pt x="322" y="222"/>
                </a:cubicBezTo>
                <a:cubicBezTo>
                  <a:pt x="322" y="221"/>
                  <a:pt x="322" y="221"/>
                  <a:pt x="322" y="221"/>
                </a:cubicBezTo>
                <a:cubicBezTo>
                  <a:pt x="321" y="222"/>
                  <a:pt x="321" y="222"/>
                  <a:pt x="321" y="222"/>
                </a:cubicBezTo>
                <a:close/>
                <a:moveTo>
                  <a:pt x="320" y="222"/>
                </a:moveTo>
                <a:cubicBezTo>
                  <a:pt x="319" y="223"/>
                  <a:pt x="319" y="223"/>
                  <a:pt x="319" y="223"/>
                </a:cubicBezTo>
                <a:cubicBezTo>
                  <a:pt x="320" y="223"/>
                  <a:pt x="320" y="223"/>
                  <a:pt x="320" y="223"/>
                </a:cubicBezTo>
                <a:cubicBezTo>
                  <a:pt x="320" y="224"/>
                  <a:pt x="320" y="224"/>
                  <a:pt x="320" y="224"/>
                </a:cubicBezTo>
                <a:cubicBezTo>
                  <a:pt x="320" y="224"/>
                  <a:pt x="320" y="224"/>
                  <a:pt x="320" y="224"/>
                </a:cubicBezTo>
                <a:cubicBezTo>
                  <a:pt x="321" y="224"/>
                  <a:pt x="321" y="224"/>
                  <a:pt x="321" y="224"/>
                </a:cubicBezTo>
                <a:cubicBezTo>
                  <a:pt x="320" y="222"/>
                  <a:pt x="320" y="222"/>
                  <a:pt x="320" y="222"/>
                </a:cubicBezTo>
                <a:cubicBezTo>
                  <a:pt x="320" y="222"/>
                  <a:pt x="320" y="222"/>
                  <a:pt x="320" y="222"/>
                </a:cubicBezTo>
                <a:cubicBezTo>
                  <a:pt x="320" y="222"/>
                  <a:pt x="320" y="222"/>
                  <a:pt x="320" y="222"/>
                </a:cubicBezTo>
                <a:close/>
                <a:moveTo>
                  <a:pt x="344" y="218"/>
                </a:moveTo>
                <a:cubicBezTo>
                  <a:pt x="344" y="217"/>
                  <a:pt x="344" y="217"/>
                  <a:pt x="344" y="217"/>
                </a:cubicBezTo>
                <a:cubicBezTo>
                  <a:pt x="343" y="217"/>
                  <a:pt x="343" y="217"/>
                  <a:pt x="343" y="217"/>
                </a:cubicBezTo>
                <a:cubicBezTo>
                  <a:pt x="342" y="216"/>
                  <a:pt x="342" y="216"/>
                  <a:pt x="342" y="216"/>
                </a:cubicBezTo>
                <a:cubicBezTo>
                  <a:pt x="342" y="217"/>
                  <a:pt x="342" y="217"/>
                  <a:pt x="342" y="217"/>
                </a:cubicBezTo>
                <a:cubicBezTo>
                  <a:pt x="341" y="217"/>
                  <a:pt x="341" y="217"/>
                  <a:pt x="341" y="217"/>
                </a:cubicBezTo>
                <a:cubicBezTo>
                  <a:pt x="341" y="216"/>
                  <a:pt x="341" y="216"/>
                  <a:pt x="341" y="216"/>
                </a:cubicBezTo>
                <a:cubicBezTo>
                  <a:pt x="340" y="215"/>
                  <a:pt x="340" y="215"/>
                  <a:pt x="340" y="215"/>
                </a:cubicBezTo>
                <a:cubicBezTo>
                  <a:pt x="342" y="215"/>
                  <a:pt x="342" y="215"/>
                  <a:pt x="342" y="215"/>
                </a:cubicBezTo>
                <a:cubicBezTo>
                  <a:pt x="342" y="214"/>
                  <a:pt x="342" y="214"/>
                  <a:pt x="342" y="214"/>
                </a:cubicBezTo>
                <a:cubicBezTo>
                  <a:pt x="343" y="215"/>
                  <a:pt x="343" y="215"/>
                  <a:pt x="343" y="215"/>
                </a:cubicBezTo>
                <a:cubicBezTo>
                  <a:pt x="344" y="215"/>
                  <a:pt x="344" y="215"/>
                  <a:pt x="344" y="215"/>
                </a:cubicBezTo>
                <a:cubicBezTo>
                  <a:pt x="345" y="216"/>
                  <a:pt x="345" y="216"/>
                  <a:pt x="345" y="216"/>
                </a:cubicBezTo>
                <a:cubicBezTo>
                  <a:pt x="345" y="217"/>
                  <a:pt x="345" y="217"/>
                  <a:pt x="345" y="217"/>
                </a:cubicBezTo>
                <a:cubicBezTo>
                  <a:pt x="345" y="217"/>
                  <a:pt x="345" y="217"/>
                  <a:pt x="345" y="217"/>
                </a:cubicBezTo>
                <a:cubicBezTo>
                  <a:pt x="345" y="217"/>
                  <a:pt x="344" y="218"/>
                  <a:pt x="344" y="218"/>
                </a:cubicBezTo>
                <a:close/>
                <a:moveTo>
                  <a:pt x="358" y="223"/>
                </a:moveTo>
                <a:cubicBezTo>
                  <a:pt x="357" y="223"/>
                  <a:pt x="357" y="223"/>
                  <a:pt x="357" y="223"/>
                </a:cubicBezTo>
                <a:cubicBezTo>
                  <a:pt x="356" y="222"/>
                  <a:pt x="356" y="222"/>
                  <a:pt x="356" y="222"/>
                </a:cubicBezTo>
                <a:cubicBezTo>
                  <a:pt x="357" y="222"/>
                  <a:pt x="357" y="222"/>
                  <a:pt x="357" y="222"/>
                </a:cubicBezTo>
                <a:cubicBezTo>
                  <a:pt x="358" y="222"/>
                  <a:pt x="358" y="222"/>
                  <a:pt x="358" y="222"/>
                </a:cubicBezTo>
                <a:cubicBezTo>
                  <a:pt x="358" y="223"/>
                  <a:pt x="358" y="223"/>
                  <a:pt x="358" y="223"/>
                </a:cubicBezTo>
                <a:cubicBezTo>
                  <a:pt x="358" y="223"/>
                  <a:pt x="358" y="223"/>
                  <a:pt x="358" y="223"/>
                </a:cubicBezTo>
                <a:close/>
                <a:moveTo>
                  <a:pt x="359" y="223"/>
                </a:moveTo>
                <a:cubicBezTo>
                  <a:pt x="360" y="224"/>
                  <a:pt x="360" y="224"/>
                  <a:pt x="360" y="224"/>
                </a:cubicBezTo>
                <a:cubicBezTo>
                  <a:pt x="360" y="223"/>
                  <a:pt x="360" y="223"/>
                  <a:pt x="360" y="223"/>
                </a:cubicBezTo>
                <a:cubicBezTo>
                  <a:pt x="359" y="223"/>
                  <a:pt x="359" y="223"/>
                  <a:pt x="359" y="223"/>
                </a:cubicBezTo>
                <a:close/>
                <a:moveTo>
                  <a:pt x="361" y="224"/>
                </a:moveTo>
                <a:cubicBezTo>
                  <a:pt x="362" y="224"/>
                  <a:pt x="362" y="224"/>
                  <a:pt x="362" y="224"/>
                </a:cubicBezTo>
                <a:cubicBezTo>
                  <a:pt x="362" y="225"/>
                  <a:pt x="362" y="225"/>
                  <a:pt x="362" y="225"/>
                </a:cubicBezTo>
                <a:cubicBezTo>
                  <a:pt x="363" y="224"/>
                  <a:pt x="363" y="224"/>
                  <a:pt x="363" y="224"/>
                </a:cubicBezTo>
                <a:cubicBezTo>
                  <a:pt x="363" y="224"/>
                  <a:pt x="363" y="224"/>
                  <a:pt x="363" y="224"/>
                </a:cubicBezTo>
                <a:cubicBezTo>
                  <a:pt x="362" y="223"/>
                  <a:pt x="362" y="223"/>
                  <a:pt x="362" y="223"/>
                </a:cubicBezTo>
                <a:cubicBezTo>
                  <a:pt x="362" y="223"/>
                  <a:pt x="362" y="223"/>
                  <a:pt x="362" y="223"/>
                </a:cubicBezTo>
                <a:cubicBezTo>
                  <a:pt x="361" y="223"/>
                  <a:pt x="361" y="223"/>
                  <a:pt x="361" y="223"/>
                </a:cubicBezTo>
                <a:cubicBezTo>
                  <a:pt x="361" y="224"/>
                  <a:pt x="361" y="224"/>
                  <a:pt x="361" y="224"/>
                </a:cubicBezTo>
                <a:cubicBezTo>
                  <a:pt x="361" y="224"/>
                  <a:pt x="361" y="224"/>
                  <a:pt x="361" y="224"/>
                </a:cubicBezTo>
                <a:close/>
                <a:moveTo>
                  <a:pt x="376" y="244"/>
                </a:moveTo>
                <a:cubicBezTo>
                  <a:pt x="376" y="243"/>
                  <a:pt x="376" y="243"/>
                  <a:pt x="376" y="243"/>
                </a:cubicBezTo>
                <a:cubicBezTo>
                  <a:pt x="376" y="242"/>
                  <a:pt x="376" y="242"/>
                  <a:pt x="376" y="242"/>
                </a:cubicBezTo>
                <a:cubicBezTo>
                  <a:pt x="376" y="241"/>
                  <a:pt x="376" y="241"/>
                  <a:pt x="376" y="241"/>
                </a:cubicBezTo>
                <a:cubicBezTo>
                  <a:pt x="376" y="241"/>
                  <a:pt x="376" y="241"/>
                  <a:pt x="376" y="241"/>
                </a:cubicBezTo>
                <a:cubicBezTo>
                  <a:pt x="377" y="242"/>
                  <a:pt x="377" y="242"/>
                  <a:pt x="377" y="242"/>
                </a:cubicBezTo>
                <a:cubicBezTo>
                  <a:pt x="377" y="243"/>
                  <a:pt x="377" y="243"/>
                  <a:pt x="377" y="243"/>
                </a:cubicBezTo>
                <a:cubicBezTo>
                  <a:pt x="377" y="243"/>
                  <a:pt x="377" y="243"/>
                  <a:pt x="377" y="243"/>
                </a:cubicBezTo>
                <a:cubicBezTo>
                  <a:pt x="376" y="244"/>
                  <a:pt x="376" y="244"/>
                  <a:pt x="376" y="244"/>
                </a:cubicBezTo>
                <a:close/>
                <a:moveTo>
                  <a:pt x="374" y="247"/>
                </a:moveTo>
                <a:cubicBezTo>
                  <a:pt x="374" y="246"/>
                  <a:pt x="374" y="246"/>
                  <a:pt x="374" y="246"/>
                </a:cubicBezTo>
                <a:cubicBezTo>
                  <a:pt x="374" y="245"/>
                  <a:pt x="374" y="245"/>
                  <a:pt x="374" y="245"/>
                </a:cubicBezTo>
                <a:cubicBezTo>
                  <a:pt x="375" y="245"/>
                  <a:pt x="375" y="245"/>
                  <a:pt x="375" y="245"/>
                </a:cubicBezTo>
                <a:cubicBezTo>
                  <a:pt x="376" y="245"/>
                  <a:pt x="376" y="245"/>
                  <a:pt x="376" y="245"/>
                </a:cubicBezTo>
                <a:cubicBezTo>
                  <a:pt x="376" y="246"/>
                  <a:pt x="376" y="246"/>
                  <a:pt x="376" y="246"/>
                </a:cubicBezTo>
                <a:cubicBezTo>
                  <a:pt x="375" y="246"/>
                  <a:pt x="375" y="246"/>
                  <a:pt x="375" y="246"/>
                </a:cubicBezTo>
                <a:cubicBezTo>
                  <a:pt x="375" y="247"/>
                  <a:pt x="375" y="247"/>
                  <a:pt x="375" y="247"/>
                </a:cubicBezTo>
                <a:cubicBezTo>
                  <a:pt x="374" y="247"/>
                  <a:pt x="374" y="247"/>
                  <a:pt x="374" y="247"/>
                </a:cubicBezTo>
                <a:close/>
                <a:moveTo>
                  <a:pt x="366" y="228"/>
                </a:moveTo>
                <a:cubicBezTo>
                  <a:pt x="365" y="228"/>
                  <a:pt x="365" y="228"/>
                  <a:pt x="365" y="228"/>
                </a:cubicBezTo>
                <a:cubicBezTo>
                  <a:pt x="366" y="228"/>
                  <a:pt x="366" y="228"/>
                  <a:pt x="366" y="228"/>
                </a:cubicBezTo>
                <a:cubicBezTo>
                  <a:pt x="366" y="228"/>
                  <a:pt x="366" y="228"/>
                  <a:pt x="366" y="228"/>
                </a:cubicBezTo>
                <a:close/>
                <a:moveTo>
                  <a:pt x="364" y="229"/>
                </a:moveTo>
                <a:cubicBezTo>
                  <a:pt x="363" y="227"/>
                  <a:pt x="363" y="227"/>
                  <a:pt x="363" y="227"/>
                </a:cubicBezTo>
                <a:cubicBezTo>
                  <a:pt x="364" y="228"/>
                  <a:pt x="364" y="228"/>
                  <a:pt x="364" y="228"/>
                </a:cubicBezTo>
                <a:cubicBezTo>
                  <a:pt x="364" y="228"/>
                  <a:pt x="364" y="228"/>
                  <a:pt x="364" y="228"/>
                </a:cubicBezTo>
                <a:cubicBezTo>
                  <a:pt x="364" y="229"/>
                  <a:pt x="364" y="229"/>
                  <a:pt x="364" y="229"/>
                </a:cubicBezTo>
                <a:close/>
                <a:moveTo>
                  <a:pt x="364" y="229"/>
                </a:moveTo>
                <a:cubicBezTo>
                  <a:pt x="365" y="230"/>
                  <a:pt x="365" y="230"/>
                  <a:pt x="365" y="230"/>
                </a:cubicBezTo>
                <a:cubicBezTo>
                  <a:pt x="365" y="230"/>
                  <a:pt x="365" y="230"/>
                  <a:pt x="365" y="230"/>
                </a:cubicBezTo>
                <a:cubicBezTo>
                  <a:pt x="366" y="230"/>
                  <a:pt x="366" y="230"/>
                  <a:pt x="366" y="230"/>
                </a:cubicBezTo>
                <a:cubicBezTo>
                  <a:pt x="366" y="230"/>
                  <a:pt x="366" y="230"/>
                  <a:pt x="366" y="230"/>
                </a:cubicBezTo>
                <a:cubicBezTo>
                  <a:pt x="366" y="229"/>
                  <a:pt x="366" y="229"/>
                  <a:pt x="366" y="229"/>
                </a:cubicBezTo>
                <a:cubicBezTo>
                  <a:pt x="365" y="229"/>
                  <a:pt x="365" y="229"/>
                  <a:pt x="365" y="229"/>
                </a:cubicBezTo>
                <a:cubicBezTo>
                  <a:pt x="364" y="229"/>
                  <a:pt x="364" y="229"/>
                  <a:pt x="364" y="229"/>
                </a:cubicBezTo>
                <a:close/>
                <a:moveTo>
                  <a:pt x="372" y="226"/>
                </a:moveTo>
                <a:cubicBezTo>
                  <a:pt x="373" y="226"/>
                  <a:pt x="373" y="226"/>
                  <a:pt x="373" y="226"/>
                </a:cubicBezTo>
                <a:cubicBezTo>
                  <a:pt x="374" y="227"/>
                  <a:pt x="374" y="227"/>
                  <a:pt x="374" y="227"/>
                </a:cubicBezTo>
                <a:cubicBezTo>
                  <a:pt x="374" y="227"/>
                  <a:pt x="374" y="227"/>
                  <a:pt x="374" y="227"/>
                </a:cubicBezTo>
                <a:cubicBezTo>
                  <a:pt x="374" y="228"/>
                  <a:pt x="374" y="228"/>
                  <a:pt x="374" y="228"/>
                </a:cubicBezTo>
                <a:cubicBezTo>
                  <a:pt x="374" y="229"/>
                  <a:pt x="374" y="229"/>
                  <a:pt x="374" y="229"/>
                </a:cubicBezTo>
                <a:cubicBezTo>
                  <a:pt x="375" y="228"/>
                  <a:pt x="375" y="228"/>
                  <a:pt x="375" y="228"/>
                </a:cubicBezTo>
                <a:cubicBezTo>
                  <a:pt x="375" y="227"/>
                  <a:pt x="375" y="227"/>
                  <a:pt x="375" y="227"/>
                </a:cubicBezTo>
                <a:cubicBezTo>
                  <a:pt x="376" y="228"/>
                  <a:pt x="376" y="228"/>
                  <a:pt x="376" y="228"/>
                </a:cubicBezTo>
                <a:cubicBezTo>
                  <a:pt x="377" y="227"/>
                  <a:pt x="377" y="227"/>
                  <a:pt x="377" y="227"/>
                </a:cubicBezTo>
                <a:cubicBezTo>
                  <a:pt x="377" y="228"/>
                  <a:pt x="377" y="228"/>
                  <a:pt x="377" y="228"/>
                </a:cubicBezTo>
                <a:cubicBezTo>
                  <a:pt x="378" y="227"/>
                  <a:pt x="378" y="227"/>
                  <a:pt x="378" y="227"/>
                </a:cubicBezTo>
                <a:cubicBezTo>
                  <a:pt x="377" y="226"/>
                  <a:pt x="377" y="226"/>
                  <a:pt x="377" y="226"/>
                </a:cubicBezTo>
                <a:cubicBezTo>
                  <a:pt x="376" y="226"/>
                  <a:pt x="376" y="226"/>
                  <a:pt x="376" y="226"/>
                </a:cubicBezTo>
                <a:cubicBezTo>
                  <a:pt x="375" y="225"/>
                  <a:pt x="375" y="225"/>
                  <a:pt x="375" y="225"/>
                </a:cubicBezTo>
                <a:cubicBezTo>
                  <a:pt x="373" y="225"/>
                  <a:pt x="373" y="225"/>
                  <a:pt x="373" y="225"/>
                </a:cubicBezTo>
                <a:cubicBezTo>
                  <a:pt x="373" y="225"/>
                  <a:pt x="373" y="225"/>
                  <a:pt x="373" y="225"/>
                </a:cubicBezTo>
                <a:cubicBezTo>
                  <a:pt x="373" y="225"/>
                  <a:pt x="372" y="226"/>
                  <a:pt x="372" y="226"/>
                </a:cubicBezTo>
                <a:close/>
                <a:moveTo>
                  <a:pt x="387" y="225"/>
                </a:moveTo>
                <a:cubicBezTo>
                  <a:pt x="387" y="224"/>
                  <a:pt x="387" y="224"/>
                  <a:pt x="387" y="224"/>
                </a:cubicBezTo>
                <a:cubicBezTo>
                  <a:pt x="387" y="224"/>
                  <a:pt x="387" y="224"/>
                  <a:pt x="387" y="224"/>
                </a:cubicBezTo>
                <a:cubicBezTo>
                  <a:pt x="387" y="225"/>
                  <a:pt x="387" y="225"/>
                  <a:pt x="387" y="225"/>
                </a:cubicBezTo>
                <a:cubicBezTo>
                  <a:pt x="387" y="225"/>
                  <a:pt x="387" y="225"/>
                  <a:pt x="387" y="225"/>
                </a:cubicBezTo>
                <a:close/>
                <a:moveTo>
                  <a:pt x="382" y="231"/>
                </a:moveTo>
                <a:cubicBezTo>
                  <a:pt x="382" y="230"/>
                  <a:pt x="382" y="230"/>
                  <a:pt x="382" y="230"/>
                </a:cubicBezTo>
                <a:cubicBezTo>
                  <a:pt x="383" y="229"/>
                  <a:pt x="383" y="229"/>
                  <a:pt x="383" y="229"/>
                </a:cubicBezTo>
                <a:cubicBezTo>
                  <a:pt x="384" y="229"/>
                  <a:pt x="384" y="229"/>
                  <a:pt x="384" y="229"/>
                </a:cubicBezTo>
                <a:cubicBezTo>
                  <a:pt x="384" y="228"/>
                  <a:pt x="384" y="228"/>
                  <a:pt x="384" y="228"/>
                </a:cubicBezTo>
                <a:cubicBezTo>
                  <a:pt x="385" y="228"/>
                  <a:pt x="385" y="228"/>
                  <a:pt x="385" y="228"/>
                </a:cubicBezTo>
                <a:cubicBezTo>
                  <a:pt x="385" y="229"/>
                  <a:pt x="385" y="229"/>
                  <a:pt x="385" y="229"/>
                </a:cubicBezTo>
                <a:cubicBezTo>
                  <a:pt x="385" y="229"/>
                  <a:pt x="385" y="229"/>
                  <a:pt x="385" y="229"/>
                </a:cubicBezTo>
                <a:cubicBezTo>
                  <a:pt x="384" y="230"/>
                  <a:pt x="384" y="230"/>
                  <a:pt x="384" y="230"/>
                </a:cubicBezTo>
                <a:cubicBezTo>
                  <a:pt x="383" y="231"/>
                  <a:pt x="383" y="231"/>
                  <a:pt x="383" y="231"/>
                </a:cubicBezTo>
                <a:cubicBezTo>
                  <a:pt x="382" y="231"/>
                  <a:pt x="382" y="231"/>
                  <a:pt x="382" y="231"/>
                </a:cubicBezTo>
                <a:cubicBezTo>
                  <a:pt x="382" y="231"/>
                  <a:pt x="382" y="231"/>
                  <a:pt x="382" y="231"/>
                </a:cubicBezTo>
                <a:close/>
                <a:moveTo>
                  <a:pt x="377" y="239"/>
                </a:moveTo>
                <a:cubicBezTo>
                  <a:pt x="379" y="237"/>
                  <a:pt x="379" y="237"/>
                  <a:pt x="379" y="237"/>
                </a:cubicBezTo>
                <a:cubicBezTo>
                  <a:pt x="380" y="236"/>
                  <a:pt x="380" y="236"/>
                  <a:pt x="380" y="236"/>
                </a:cubicBezTo>
                <a:cubicBezTo>
                  <a:pt x="380" y="236"/>
                  <a:pt x="380" y="236"/>
                  <a:pt x="380" y="236"/>
                </a:cubicBezTo>
                <a:cubicBezTo>
                  <a:pt x="382" y="235"/>
                  <a:pt x="382" y="235"/>
                  <a:pt x="382" y="235"/>
                </a:cubicBezTo>
                <a:cubicBezTo>
                  <a:pt x="383" y="234"/>
                  <a:pt x="383" y="234"/>
                  <a:pt x="383" y="234"/>
                </a:cubicBezTo>
                <a:cubicBezTo>
                  <a:pt x="382" y="233"/>
                  <a:pt x="382" y="233"/>
                  <a:pt x="382" y="233"/>
                </a:cubicBezTo>
                <a:cubicBezTo>
                  <a:pt x="382" y="232"/>
                  <a:pt x="382" y="232"/>
                  <a:pt x="382" y="232"/>
                </a:cubicBezTo>
                <a:cubicBezTo>
                  <a:pt x="381" y="233"/>
                  <a:pt x="381" y="233"/>
                  <a:pt x="381" y="233"/>
                </a:cubicBezTo>
                <a:cubicBezTo>
                  <a:pt x="381" y="234"/>
                  <a:pt x="381" y="234"/>
                  <a:pt x="381" y="234"/>
                </a:cubicBezTo>
                <a:cubicBezTo>
                  <a:pt x="380" y="234"/>
                  <a:pt x="380" y="234"/>
                  <a:pt x="380" y="234"/>
                </a:cubicBezTo>
                <a:cubicBezTo>
                  <a:pt x="379" y="235"/>
                  <a:pt x="379" y="235"/>
                  <a:pt x="379" y="235"/>
                </a:cubicBezTo>
                <a:cubicBezTo>
                  <a:pt x="378" y="235"/>
                  <a:pt x="378" y="235"/>
                  <a:pt x="378" y="235"/>
                </a:cubicBezTo>
                <a:cubicBezTo>
                  <a:pt x="376" y="235"/>
                  <a:pt x="376" y="235"/>
                  <a:pt x="376" y="235"/>
                </a:cubicBezTo>
                <a:cubicBezTo>
                  <a:pt x="376" y="236"/>
                  <a:pt x="376" y="236"/>
                  <a:pt x="376" y="236"/>
                </a:cubicBezTo>
                <a:cubicBezTo>
                  <a:pt x="375" y="237"/>
                  <a:pt x="375" y="237"/>
                  <a:pt x="375" y="237"/>
                </a:cubicBezTo>
                <a:cubicBezTo>
                  <a:pt x="374" y="237"/>
                  <a:pt x="374" y="237"/>
                  <a:pt x="374" y="237"/>
                </a:cubicBezTo>
                <a:cubicBezTo>
                  <a:pt x="375" y="239"/>
                  <a:pt x="375" y="239"/>
                  <a:pt x="375" y="239"/>
                </a:cubicBezTo>
                <a:cubicBezTo>
                  <a:pt x="375" y="238"/>
                  <a:pt x="375" y="238"/>
                  <a:pt x="375" y="238"/>
                </a:cubicBezTo>
                <a:cubicBezTo>
                  <a:pt x="376" y="239"/>
                  <a:pt x="376" y="239"/>
                  <a:pt x="376" y="239"/>
                </a:cubicBezTo>
                <a:cubicBezTo>
                  <a:pt x="377" y="239"/>
                  <a:pt x="377" y="239"/>
                  <a:pt x="377" y="239"/>
                </a:cubicBezTo>
                <a:close/>
                <a:moveTo>
                  <a:pt x="387" y="237"/>
                </a:moveTo>
                <a:cubicBezTo>
                  <a:pt x="387" y="236"/>
                  <a:pt x="387" y="236"/>
                  <a:pt x="387" y="236"/>
                </a:cubicBezTo>
                <a:cubicBezTo>
                  <a:pt x="387" y="235"/>
                  <a:pt x="387" y="235"/>
                  <a:pt x="387" y="235"/>
                </a:cubicBezTo>
                <a:cubicBezTo>
                  <a:pt x="388" y="234"/>
                  <a:pt x="388" y="234"/>
                  <a:pt x="388" y="234"/>
                </a:cubicBezTo>
                <a:cubicBezTo>
                  <a:pt x="389" y="234"/>
                  <a:pt x="389" y="234"/>
                  <a:pt x="389" y="234"/>
                </a:cubicBezTo>
                <a:cubicBezTo>
                  <a:pt x="390" y="234"/>
                  <a:pt x="390" y="234"/>
                  <a:pt x="390" y="234"/>
                </a:cubicBezTo>
                <a:cubicBezTo>
                  <a:pt x="390" y="235"/>
                  <a:pt x="390" y="235"/>
                  <a:pt x="390" y="235"/>
                </a:cubicBezTo>
                <a:cubicBezTo>
                  <a:pt x="390" y="236"/>
                  <a:pt x="390" y="236"/>
                  <a:pt x="390" y="236"/>
                </a:cubicBezTo>
                <a:cubicBezTo>
                  <a:pt x="389" y="237"/>
                  <a:pt x="389" y="237"/>
                  <a:pt x="389" y="237"/>
                </a:cubicBezTo>
                <a:cubicBezTo>
                  <a:pt x="388" y="238"/>
                  <a:pt x="388" y="238"/>
                  <a:pt x="388" y="238"/>
                </a:cubicBezTo>
                <a:cubicBezTo>
                  <a:pt x="387" y="237"/>
                  <a:pt x="387" y="237"/>
                  <a:pt x="387" y="237"/>
                </a:cubicBezTo>
                <a:close/>
                <a:moveTo>
                  <a:pt x="395" y="248"/>
                </a:moveTo>
                <a:cubicBezTo>
                  <a:pt x="395" y="246"/>
                  <a:pt x="395" y="246"/>
                  <a:pt x="395" y="246"/>
                </a:cubicBezTo>
                <a:cubicBezTo>
                  <a:pt x="395" y="244"/>
                  <a:pt x="395" y="244"/>
                  <a:pt x="395" y="244"/>
                </a:cubicBezTo>
                <a:cubicBezTo>
                  <a:pt x="395" y="243"/>
                  <a:pt x="395" y="243"/>
                  <a:pt x="395" y="243"/>
                </a:cubicBezTo>
                <a:cubicBezTo>
                  <a:pt x="394" y="243"/>
                  <a:pt x="394" y="243"/>
                  <a:pt x="394" y="243"/>
                </a:cubicBezTo>
                <a:cubicBezTo>
                  <a:pt x="394" y="244"/>
                  <a:pt x="394" y="244"/>
                  <a:pt x="394" y="244"/>
                </a:cubicBezTo>
                <a:cubicBezTo>
                  <a:pt x="393" y="246"/>
                  <a:pt x="393" y="246"/>
                  <a:pt x="393" y="246"/>
                </a:cubicBezTo>
                <a:cubicBezTo>
                  <a:pt x="394" y="247"/>
                  <a:pt x="394" y="247"/>
                  <a:pt x="394" y="247"/>
                </a:cubicBezTo>
                <a:cubicBezTo>
                  <a:pt x="394" y="247"/>
                  <a:pt x="394" y="247"/>
                  <a:pt x="394" y="247"/>
                </a:cubicBezTo>
                <a:cubicBezTo>
                  <a:pt x="394" y="248"/>
                  <a:pt x="394" y="248"/>
                  <a:pt x="394" y="248"/>
                </a:cubicBezTo>
                <a:cubicBezTo>
                  <a:pt x="395" y="248"/>
                  <a:pt x="395" y="248"/>
                  <a:pt x="395" y="248"/>
                </a:cubicBezTo>
                <a:cubicBezTo>
                  <a:pt x="395" y="248"/>
                  <a:pt x="395" y="248"/>
                  <a:pt x="395" y="248"/>
                </a:cubicBezTo>
                <a:close/>
                <a:moveTo>
                  <a:pt x="396" y="247"/>
                </a:moveTo>
                <a:cubicBezTo>
                  <a:pt x="396" y="246"/>
                  <a:pt x="396" y="246"/>
                  <a:pt x="396" y="246"/>
                </a:cubicBezTo>
                <a:cubicBezTo>
                  <a:pt x="396" y="244"/>
                  <a:pt x="396" y="244"/>
                  <a:pt x="396" y="244"/>
                </a:cubicBezTo>
                <a:cubicBezTo>
                  <a:pt x="397" y="246"/>
                  <a:pt x="397" y="246"/>
                  <a:pt x="397" y="246"/>
                </a:cubicBezTo>
                <a:cubicBezTo>
                  <a:pt x="397" y="246"/>
                  <a:pt x="397" y="246"/>
                  <a:pt x="397" y="246"/>
                </a:cubicBezTo>
                <a:cubicBezTo>
                  <a:pt x="397" y="247"/>
                  <a:pt x="397" y="247"/>
                  <a:pt x="397" y="247"/>
                </a:cubicBezTo>
                <a:cubicBezTo>
                  <a:pt x="396" y="247"/>
                  <a:pt x="396" y="247"/>
                  <a:pt x="396" y="247"/>
                </a:cubicBezTo>
                <a:close/>
                <a:moveTo>
                  <a:pt x="398" y="249"/>
                </a:moveTo>
                <a:cubicBezTo>
                  <a:pt x="398" y="249"/>
                  <a:pt x="398" y="249"/>
                  <a:pt x="398" y="249"/>
                </a:cubicBezTo>
                <a:cubicBezTo>
                  <a:pt x="398" y="248"/>
                  <a:pt x="398" y="248"/>
                  <a:pt x="398" y="248"/>
                </a:cubicBezTo>
                <a:cubicBezTo>
                  <a:pt x="398" y="248"/>
                  <a:pt x="398" y="248"/>
                  <a:pt x="398" y="248"/>
                </a:cubicBezTo>
                <a:cubicBezTo>
                  <a:pt x="398" y="249"/>
                  <a:pt x="398" y="249"/>
                  <a:pt x="398" y="249"/>
                </a:cubicBezTo>
                <a:cubicBezTo>
                  <a:pt x="398" y="249"/>
                  <a:pt x="398" y="249"/>
                  <a:pt x="398" y="249"/>
                </a:cubicBezTo>
                <a:close/>
                <a:moveTo>
                  <a:pt x="394" y="252"/>
                </a:moveTo>
                <a:cubicBezTo>
                  <a:pt x="394" y="252"/>
                  <a:pt x="394" y="252"/>
                  <a:pt x="394" y="252"/>
                </a:cubicBezTo>
                <a:cubicBezTo>
                  <a:pt x="394" y="254"/>
                  <a:pt x="394" y="254"/>
                  <a:pt x="394" y="254"/>
                </a:cubicBezTo>
                <a:cubicBezTo>
                  <a:pt x="394" y="255"/>
                  <a:pt x="394" y="255"/>
                  <a:pt x="394" y="255"/>
                </a:cubicBezTo>
                <a:cubicBezTo>
                  <a:pt x="395" y="255"/>
                  <a:pt x="395" y="255"/>
                  <a:pt x="395" y="255"/>
                </a:cubicBezTo>
                <a:cubicBezTo>
                  <a:pt x="395" y="255"/>
                  <a:pt x="395" y="255"/>
                  <a:pt x="395" y="255"/>
                </a:cubicBezTo>
                <a:cubicBezTo>
                  <a:pt x="397" y="255"/>
                  <a:pt x="397" y="255"/>
                  <a:pt x="397" y="255"/>
                </a:cubicBezTo>
                <a:cubicBezTo>
                  <a:pt x="397" y="256"/>
                  <a:pt x="397" y="256"/>
                  <a:pt x="397" y="256"/>
                </a:cubicBezTo>
                <a:cubicBezTo>
                  <a:pt x="398" y="256"/>
                  <a:pt x="398" y="256"/>
                  <a:pt x="398" y="256"/>
                </a:cubicBezTo>
                <a:cubicBezTo>
                  <a:pt x="399" y="256"/>
                  <a:pt x="399" y="256"/>
                  <a:pt x="399" y="256"/>
                </a:cubicBezTo>
                <a:cubicBezTo>
                  <a:pt x="400" y="255"/>
                  <a:pt x="400" y="255"/>
                  <a:pt x="400" y="255"/>
                </a:cubicBezTo>
                <a:cubicBezTo>
                  <a:pt x="399" y="254"/>
                  <a:pt x="399" y="254"/>
                  <a:pt x="399" y="254"/>
                </a:cubicBezTo>
                <a:cubicBezTo>
                  <a:pt x="399" y="253"/>
                  <a:pt x="399" y="253"/>
                  <a:pt x="399" y="253"/>
                </a:cubicBezTo>
                <a:cubicBezTo>
                  <a:pt x="398" y="253"/>
                  <a:pt x="398" y="253"/>
                  <a:pt x="398" y="253"/>
                </a:cubicBezTo>
                <a:cubicBezTo>
                  <a:pt x="398" y="252"/>
                  <a:pt x="398" y="252"/>
                  <a:pt x="398" y="252"/>
                </a:cubicBezTo>
                <a:cubicBezTo>
                  <a:pt x="397" y="252"/>
                  <a:pt x="397" y="252"/>
                  <a:pt x="397" y="252"/>
                </a:cubicBezTo>
                <a:cubicBezTo>
                  <a:pt x="396" y="252"/>
                  <a:pt x="396" y="252"/>
                  <a:pt x="396" y="252"/>
                </a:cubicBezTo>
                <a:cubicBezTo>
                  <a:pt x="396" y="252"/>
                  <a:pt x="396" y="252"/>
                  <a:pt x="396" y="252"/>
                </a:cubicBezTo>
                <a:cubicBezTo>
                  <a:pt x="396" y="251"/>
                  <a:pt x="396" y="251"/>
                  <a:pt x="396" y="251"/>
                </a:cubicBezTo>
                <a:cubicBezTo>
                  <a:pt x="396" y="251"/>
                  <a:pt x="396" y="251"/>
                  <a:pt x="396" y="251"/>
                </a:cubicBezTo>
                <a:cubicBezTo>
                  <a:pt x="395" y="252"/>
                  <a:pt x="395" y="252"/>
                  <a:pt x="395" y="252"/>
                </a:cubicBezTo>
                <a:cubicBezTo>
                  <a:pt x="395" y="252"/>
                  <a:pt x="395" y="252"/>
                  <a:pt x="395" y="252"/>
                </a:cubicBezTo>
                <a:cubicBezTo>
                  <a:pt x="394" y="252"/>
                  <a:pt x="394" y="252"/>
                  <a:pt x="394" y="252"/>
                </a:cubicBezTo>
                <a:close/>
                <a:moveTo>
                  <a:pt x="361" y="298"/>
                </a:moveTo>
                <a:cubicBezTo>
                  <a:pt x="362" y="298"/>
                  <a:pt x="362" y="298"/>
                  <a:pt x="362" y="298"/>
                </a:cubicBezTo>
                <a:cubicBezTo>
                  <a:pt x="363" y="298"/>
                  <a:pt x="363" y="298"/>
                  <a:pt x="363" y="298"/>
                </a:cubicBezTo>
                <a:cubicBezTo>
                  <a:pt x="362" y="297"/>
                  <a:pt x="362" y="297"/>
                  <a:pt x="362" y="297"/>
                </a:cubicBezTo>
                <a:cubicBezTo>
                  <a:pt x="361" y="297"/>
                  <a:pt x="361" y="297"/>
                  <a:pt x="361" y="297"/>
                </a:cubicBezTo>
                <a:cubicBezTo>
                  <a:pt x="361" y="298"/>
                  <a:pt x="361" y="298"/>
                  <a:pt x="361" y="298"/>
                </a:cubicBezTo>
                <a:close/>
                <a:moveTo>
                  <a:pt x="343" y="267"/>
                </a:moveTo>
                <a:cubicBezTo>
                  <a:pt x="343" y="268"/>
                  <a:pt x="343" y="268"/>
                  <a:pt x="343" y="268"/>
                </a:cubicBezTo>
                <a:cubicBezTo>
                  <a:pt x="344" y="268"/>
                  <a:pt x="344" y="268"/>
                  <a:pt x="344" y="268"/>
                </a:cubicBezTo>
                <a:cubicBezTo>
                  <a:pt x="344" y="268"/>
                  <a:pt x="344" y="268"/>
                  <a:pt x="344" y="268"/>
                </a:cubicBezTo>
                <a:cubicBezTo>
                  <a:pt x="343" y="267"/>
                  <a:pt x="343" y="267"/>
                  <a:pt x="343" y="267"/>
                </a:cubicBezTo>
                <a:cubicBezTo>
                  <a:pt x="343" y="267"/>
                  <a:pt x="343" y="267"/>
                  <a:pt x="343" y="267"/>
                </a:cubicBezTo>
                <a:cubicBezTo>
                  <a:pt x="343" y="267"/>
                  <a:pt x="343" y="267"/>
                  <a:pt x="343" y="267"/>
                </a:cubicBezTo>
                <a:close/>
                <a:moveTo>
                  <a:pt x="338" y="274"/>
                </a:moveTo>
                <a:cubicBezTo>
                  <a:pt x="338" y="274"/>
                  <a:pt x="338" y="274"/>
                  <a:pt x="338" y="274"/>
                </a:cubicBezTo>
                <a:cubicBezTo>
                  <a:pt x="338" y="273"/>
                  <a:pt x="338" y="273"/>
                  <a:pt x="338" y="273"/>
                </a:cubicBezTo>
                <a:cubicBezTo>
                  <a:pt x="337" y="272"/>
                  <a:pt x="337" y="272"/>
                  <a:pt x="337" y="272"/>
                </a:cubicBezTo>
                <a:cubicBezTo>
                  <a:pt x="337" y="271"/>
                  <a:pt x="337" y="271"/>
                  <a:pt x="337" y="271"/>
                </a:cubicBezTo>
                <a:cubicBezTo>
                  <a:pt x="336" y="270"/>
                  <a:pt x="336" y="270"/>
                  <a:pt x="336" y="270"/>
                </a:cubicBezTo>
                <a:cubicBezTo>
                  <a:pt x="336" y="270"/>
                  <a:pt x="336" y="270"/>
                  <a:pt x="336" y="270"/>
                </a:cubicBezTo>
                <a:cubicBezTo>
                  <a:pt x="336" y="268"/>
                  <a:pt x="336" y="268"/>
                  <a:pt x="336" y="268"/>
                </a:cubicBezTo>
                <a:cubicBezTo>
                  <a:pt x="336" y="268"/>
                  <a:pt x="336" y="268"/>
                  <a:pt x="336" y="268"/>
                </a:cubicBezTo>
                <a:cubicBezTo>
                  <a:pt x="336" y="269"/>
                  <a:pt x="336" y="269"/>
                  <a:pt x="336" y="269"/>
                </a:cubicBezTo>
                <a:cubicBezTo>
                  <a:pt x="338" y="269"/>
                  <a:pt x="338" y="269"/>
                  <a:pt x="338" y="269"/>
                </a:cubicBezTo>
                <a:cubicBezTo>
                  <a:pt x="338" y="270"/>
                  <a:pt x="338" y="270"/>
                  <a:pt x="338" y="270"/>
                </a:cubicBezTo>
                <a:cubicBezTo>
                  <a:pt x="339" y="271"/>
                  <a:pt x="339" y="271"/>
                  <a:pt x="339" y="271"/>
                </a:cubicBezTo>
                <a:cubicBezTo>
                  <a:pt x="339" y="273"/>
                  <a:pt x="339" y="273"/>
                  <a:pt x="339" y="273"/>
                </a:cubicBezTo>
                <a:cubicBezTo>
                  <a:pt x="340" y="273"/>
                  <a:pt x="340" y="273"/>
                  <a:pt x="340" y="273"/>
                </a:cubicBezTo>
                <a:cubicBezTo>
                  <a:pt x="341" y="273"/>
                  <a:pt x="341" y="273"/>
                  <a:pt x="341" y="273"/>
                </a:cubicBezTo>
                <a:cubicBezTo>
                  <a:pt x="341" y="274"/>
                  <a:pt x="341" y="274"/>
                  <a:pt x="341" y="274"/>
                </a:cubicBezTo>
                <a:cubicBezTo>
                  <a:pt x="339" y="274"/>
                  <a:pt x="339" y="274"/>
                  <a:pt x="339" y="274"/>
                </a:cubicBezTo>
                <a:cubicBezTo>
                  <a:pt x="338" y="274"/>
                  <a:pt x="338" y="274"/>
                  <a:pt x="338" y="274"/>
                </a:cubicBezTo>
                <a:close/>
                <a:moveTo>
                  <a:pt x="331" y="274"/>
                </a:moveTo>
                <a:cubicBezTo>
                  <a:pt x="331" y="273"/>
                  <a:pt x="331" y="273"/>
                  <a:pt x="331" y="273"/>
                </a:cubicBezTo>
                <a:cubicBezTo>
                  <a:pt x="331" y="272"/>
                  <a:pt x="331" y="272"/>
                  <a:pt x="331" y="272"/>
                </a:cubicBezTo>
                <a:cubicBezTo>
                  <a:pt x="331" y="271"/>
                  <a:pt x="331" y="271"/>
                  <a:pt x="331" y="271"/>
                </a:cubicBezTo>
                <a:cubicBezTo>
                  <a:pt x="331" y="270"/>
                  <a:pt x="331" y="270"/>
                  <a:pt x="331" y="270"/>
                </a:cubicBezTo>
                <a:cubicBezTo>
                  <a:pt x="332" y="269"/>
                  <a:pt x="332" y="269"/>
                  <a:pt x="332" y="269"/>
                </a:cubicBezTo>
                <a:cubicBezTo>
                  <a:pt x="332" y="269"/>
                  <a:pt x="332" y="269"/>
                  <a:pt x="332" y="269"/>
                </a:cubicBezTo>
                <a:cubicBezTo>
                  <a:pt x="333" y="270"/>
                  <a:pt x="333" y="270"/>
                  <a:pt x="333" y="270"/>
                </a:cubicBezTo>
                <a:cubicBezTo>
                  <a:pt x="332" y="270"/>
                  <a:pt x="332" y="270"/>
                  <a:pt x="332" y="270"/>
                </a:cubicBezTo>
                <a:cubicBezTo>
                  <a:pt x="332" y="271"/>
                  <a:pt x="332" y="271"/>
                  <a:pt x="332" y="271"/>
                </a:cubicBezTo>
                <a:cubicBezTo>
                  <a:pt x="333" y="272"/>
                  <a:pt x="333" y="272"/>
                  <a:pt x="333" y="272"/>
                </a:cubicBezTo>
                <a:cubicBezTo>
                  <a:pt x="332" y="274"/>
                  <a:pt x="332" y="274"/>
                  <a:pt x="332" y="274"/>
                </a:cubicBezTo>
                <a:cubicBezTo>
                  <a:pt x="331" y="274"/>
                  <a:pt x="331" y="274"/>
                  <a:pt x="331" y="274"/>
                </a:cubicBezTo>
                <a:close/>
                <a:moveTo>
                  <a:pt x="331" y="244"/>
                </a:moveTo>
                <a:cubicBezTo>
                  <a:pt x="331" y="245"/>
                  <a:pt x="331" y="245"/>
                  <a:pt x="331" y="245"/>
                </a:cubicBezTo>
                <a:cubicBezTo>
                  <a:pt x="331" y="246"/>
                  <a:pt x="331" y="246"/>
                  <a:pt x="331" y="246"/>
                </a:cubicBezTo>
                <a:cubicBezTo>
                  <a:pt x="332" y="246"/>
                  <a:pt x="332" y="246"/>
                  <a:pt x="332" y="246"/>
                </a:cubicBezTo>
                <a:cubicBezTo>
                  <a:pt x="333" y="245"/>
                  <a:pt x="333" y="245"/>
                  <a:pt x="333" y="245"/>
                </a:cubicBezTo>
                <a:cubicBezTo>
                  <a:pt x="333" y="244"/>
                  <a:pt x="333" y="244"/>
                  <a:pt x="333" y="244"/>
                </a:cubicBezTo>
                <a:cubicBezTo>
                  <a:pt x="332" y="244"/>
                  <a:pt x="332" y="244"/>
                  <a:pt x="332" y="244"/>
                </a:cubicBezTo>
                <a:cubicBezTo>
                  <a:pt x="331" y="244"/>
                  <a:pt x="331" y="244"/>
                  <a:pt x="331" y="244"/>
                </a:cubicBezTo>
                <a:close/>
                <a:moveTo>
                  <a:pt x="331" y="244"/>
                </a:moveTo>
                <a:cubicBezTo>
                  <a:pt x="331" y="243"/>
                  <a:pt x="331" y="243"/>
                  <a:pt x="331" y="243"/>
                </a:cubicBezTo>
                <a:cubicBezTo>
                  <a:pt x="331" y="241"/>
                  <a:pt x="331" y="241"/>
                  <a:pt x="331" y="241"/>
                </a:cubicBezTo>
                <a:cubicBezTo>
                  <a:pt x="333" y="240"/>
                  <a:pt x="333" y="240"/>
                  <a:pt x="333" y="240"/>
                </a:cubicBezTo>
                <a:cubicBezTo>
                  <a:pt x="334" y="239"/>
                  <a:pt x="334" y="239"/>
                  <a:pt x="334" y="239"/>
                </a:cubicBezTo>
                <a:cubicBezTo>
                  <a:pt x="334" y="240"/>
                  <a:pt x="334" y="240"/>
                  <a:pt x="334" y="240"/>
                </a:cubicBezTo>
                <a:cubicBezTo>
                  <a:pt x="334" y="241"/>
                  <a:pt x="334" y="241"/>
                  <a:pt x="334" y="241"/>
                </a:cubicBezTo>
                <a:cubicBezTo>
                  <a:pt x="334" y="242"/>
                  <a:pt x="334" y="242"/>
                  <a:pt x="334" y="242"/>
                </a:cubicBezTo>
                <a:cubicBezTo>
                  <a:pt x="334" y="244"/>
                  <a:pt x="334" y="244"/>
                  <a:pt x="334" y="244"/>
                </a:cubicBezTo>
                <a:cubicBezTo>
                  <a:pt x="333" y="244"/>
                  <a:pt x="333" y="244"/>
                  <a:pt x="333" y="244"/>
                </a:cubicBezTo>
                <a:cubicBezTo>
                  <a:pt x="331" y="244"/>
                  <a:pt x="331" y="244"/>
                  <a:pt x="331" y="244"/>
                </a:cubicBezTo>
                <a:close/>
                <a:moveTo>
                  <a:pt x="271" y="231"/>
                </a:moveTo>
                <a:cubicBezTo>
                  <a:pt x="271" y="231"/>
                  <a:pt x="271" y="231"/>
                  <a:pt x="271" y="231"/>
                </a:cubicBezTo>
                <a:cubicBezTo>
                  <a:pt x="271" y="230"/>
                  <a:pt x="271" y="230"/>
                  <a:pt x="271" y="230"/>
                </a:cubicBezTo>
                <a:cubicBezTo>
                  <a:pt x="270" y="230"/>
                  <a:pt x="270" y="230"/>
                  <a:pt x="270" y="230"/>
                </a:cubicBezTo>
                <a:cubicBezTo>
                  <a:pt x="270" y="231"/>
                  <a:pt x="270" y="231"/>
                  <a:pt x="270" y="231"/>
                </a:cubicBezTo>
                <a:cubicBezTo>
                  <a:pt x="271" y="231"/>
                  <a:pt x="271" y="231"/>
                  <a:pt x="271" y="231"/>
                </a:cubicBezTo>
                <a:close/>
                <a:moveTo>
                  <a:pt x="219" y="217"/>
                </a:moveTo>
                <a:cubicBezTo>
                  <a:pt x="220" y="216"/>
                  <a:pt x="220" y="216"/>
                  <a:pt x="220" y="216"/>
                </a:cubicBezTo>
                <a:cubicBezTo>
                  <a:pt x="221" y="216"/>
                  <a:pt x="221" y="216"/>
                  <a:pt x="221" y="216"/>
                </a:cubicBezTo>
                <a:cubicBezTo>
                  <a:pt x="220" y="217"/>
                  <a:pt x="220" y="217"/>
                  <a:pt x="220" y="217"/>
                </a:cubicBezTo>
                <a:cubicBezTo>
                  <a:pt x="220" y="217"/>
                  <a:pt x="219" y="217"/>
                  <a:pt x="219" y="217"/>
                </a:cubicBezTo>
                <a:close/>
                <a:moveTo>
                  <a:pt x="215" y="219"/>
                </a:moveTo>
                <a:cubicBezTo>
                  <a:pt x="216" y="219"/>
                  <a:pt x="216" y="219"/>
                  <a:pt x="216" y="219"/>
                </a:cubicBezTo>
                <a:cubicBezTo>
                  <a:pt x="216" y="218"/>
                  <a:pt x="216" y="218"/>
                  <a:pt x="216" y="218"/>
                </a:cubicBezTo>
                <a:cubicBezTo>
                  <a:pt x="215" y="218"/>
                  <a:pt x="215" y="218"/>
                  <a:pt x="215" y="218"/>
                </a:cubicBezTo>
                <a:cubicBezTo>
                  <a:pt x="215" y="219"/>
                  <a:pt x="215" y="219"/>
                  <a:pt x="215" y="219"/>
                </a:cubicBezTo>
                <a:close/>
                <a:moveTo>
                  <a:pt x="217" y="223"/>
                </a:moveTo>
                <a:cubicBezTo>
                  <a:pt x="217" y="223"/>
                  <a:pt x="217" y="223"/>
                  <a:pt x="217" y="223"/>
                </a:cubicBezTo>
                <a:cubicBezTo>
                  <a:pt x="217" y="222"/>
                  <a:pt x="217" y="222"/>
                  <a:pt x="217" y="222"/>
                </a:cubicBezTo>
                <a:cubicBezTo>
                  <a:pt x="217" y="223"/>
                  <a:pt x="217" y="223"/>
                  <a:pt x="217" y="223"/>
                </a:cubicBezTo>
                <a:cubicBezTo>
                  <a:pt x="217" y="223"/>
                  <a:pt x="217" y="223"/>
                  <a:pt x="217" y="223"/>
                </a:cubicBezTo>
                <a:close/>
                <a:moveTo>
                  <a:pt x="217" y="224"/>
                </a:moveTo>
                <a:cubicBezTo>
                  <a:pt x="216" y="222"/>
                  <a:pt x="216" y="222"/>
                  <a:pt x="216" y="222"/>
                </a:cubicBezTo>
                <a:cubicBezTo>
                  <a:pt x="216" y="223"/>
                  <a:pt x="216" y="223"/>
                  <a:pt x="216" y="223"/>
                </a:cubicBezTo>
                <a:cubicBezTo>
                  <a:pt x="216" y="223"/>
                  <a:pt x="216" y="223"/>
                  <a:pt x="216" y="223"/>
                </a:cubicBezTo>
                <a:cubicBezTo>
                  <a:pt x="217" y="224"/>
                  <a:pt x="217" y="224"/>
                  <a:pt x="217" y="224"/>
                </a:cubicBezTo>
                <a:close/>
                <a:moveTo>
                  <a:pt x="219" y="227"/>
                </a:moveTo>
                <a:cubicBezTo>
                  <a:pt x="219" y="228"/>
                  <a:pt x="219" y="228"/>
                  <a:pt x="219" y="228"/>
                </a:cubicBezTo>
                <a:cubicBezTo>
                  <a:pt x="220" y="228"/>
                  <a:pt x="220" y="228"/>
                  <a:pt x="220" y="228"/>
                </a:cubicBezTo>
                <a:cubicBezTo>
                  <a:pt x="221" y="227"/>
                  <a:pt x="221" y="227"/>
                  <a:pt x="221" y="227"/>
                </a:cubicBezTo>
                <a:cubicBezTo>
                  <a:pt x="220" y="227"/>
                  <a:pt x="220" y="227"/>
                  <a:pt x="220" y="227"/>
                </a:cubicBezTo>
                <a:cubicBezTo>
                  <a:pt x="221" y="226"/>
                  <a:pt x="221" y="226"/>
                  <a:pt x="221" y="226"/>
                </a:cubicBezTo>
                <a:cubicBezTo>
                  <a:pt x="220" y="226"/>
                  <a:pt x="220" y="226"/>
                  <a:pt x="220" y="226"/>
                </a:cubicBezTo>
                <a:cubicBezTo>
                  <a:pt x="220" y="227"/>
                  <a:pt x="220" y="227"/>
                  <a:pt x="220" y="227"/>
                </a:cubicBezTo>
                <a:cubicBezTo>
                  <a:pt x="220" y="226"/>
                  <a:pt x="220" y="226"/>
                  <a:pt x="220" y="226"/>
                </a:cubicBezTo>
                <a:cubicBezTo>
                  <a:pt x="219" y="227"/>
                  <a:pt x="219" y="227"/>
                  <a:pt x="219" y="227"/>
                </a:cubicBezTo>
                <a:close/>
                <a:moveTo>
                  <a:pt x="217" y="234"/>
                </a:moveTo>
                <a:cubicBezTo>
                  <a:pt x="217" y="232"/>
                  <a:pt x="217" y="232"/>
                  <a:pt x="217" y="232"/>
                </a:cubicBezTo>
                <a:cubicBezTo>
                  <a:pt x="217" y="232"/>
                  <a:pt x="217" y="232"/>
                  <a:pt x="217" y="232"/>
                </a:cubicBezTo>
                <a:cubicBezTo>
                  <a:pt x="217" y="231"/>
                  <a:pt x="217" y="231"/>
                  <a:pt x="217" y="231"/>
                </a:cubicBezTo>
                <a:cubicBezTo>
                  <a:pt x="218" y="229"/>
                  <a:pt x="218" y="229"/>
                  <a:pt x="218" y="229"/>
                </a:cubicBezTo>
                <a:cubicBezTo>
                  <a:pt x="219" y="230"/>
                  <a:pt x="219" y="230"/>
                  <a:pt x="219" y="230"/>
                </a:cubicBezTo>
                <a:cubicBezTo>
                  <a:pt x="218" y="231"/>
                  <a:pt x="218" y="231"/>
                  <a:pt x="218" y="231"/>
                </a:cubicBezTo>
                <a:cubicBezTo>
                  <a:pt x="219" y="231"/>
                  <a:pt x="219" y="231"/>
                  <a:pt x="219" y="231"/>
                </a:cubicBezTo>
                <a:cubicBezTo>
                  <a:pt x="219" y="232"/>
                  <a:pt x="219" y="232"/>
                  <a:pt x="219" y="232"/>
                </a:cubicBezTo>
                <a:cubicBezTo>
                  <a:pt x="219" y="233"/>
                  <a:pt x="219" y="233"/>
                  <a:pt x="219" y="233"/>
                </a:cubicBezTo>
                <a:cubicBezTo>
                  <a:pt x="218" y="233"/>
                  <a:pt x="218" y="233"/>
                  <a:pt x="218" y="233"/>
                </a:cubicBezTo>
                <a:cubicBezTo>
                  <a:pt x="218" y="234"/>
                  <a:pt x="218" y="234"/>
                  <a:pt x="218" y="234"/>
                </a:cubicBezTo>
                <a:cubicBezTo>
                  <a:pt x="217" y="234"/>
                  <a:pt x="217" y="234"/>
                  <a:pt x="217" y="234"/>
                </a:cubicBezTo>
                <a:close/>
                <a:moveTo>
                  <a:pt x="264" y="206"/>
                </a:moveTo>
                <a:cubicBezTo>
                  <a:pt x="264" y="205"/>
                  <a:pt x="264" y="205"/>
                  <a:pt x="264" y="205"/>
                </a:cubicBezTo>
                <a:cubicBezTo>
                  <a:pt x="264" y="205"/>
                  <a:pt x="264" y="205"/>
                  <a:pt x="264" y="205"/>
                </a:cubicBezTo>
                <a:cubicBezTo>
                  <a:pt x="264" y="205"/>
                  <a:pt x="264" y="205"/>
                  <a:pt x="264" y="205"/>
                </a:cubicBezTo>
                <a:cubicBezTo>
                  <a:pt x="264" y="206"/>
                  <a:pt x="264" y="206"/>
                  <a:pt x="264" y="206"/>
                </a:cubicBezTo>
                <a:cubicBezTo>
                  <a:pt x="264" y="206"/>
                  <a:pt x="264" y="206"/>
                  <a:pt x="264" y="206"/>
                </a:cubicBezTo>
                <a:close/>
                <a:moveTo>
                  <a:pt x="279" y="196"/>
                </a:moveTo>
                <a:cubicBezTo>
                  <a:pt x="279" y="195"/>
                  <a:pt x="279" y="195"/>
                  <a:pt x="279" y="195"/>
                </a:cubicBezTo>
                <a:cubicBezTo>
                  <a:pt x="279" y="194"/>
                  <a:pt x="279" y="194"/>
                  <a:pt x="279" y="194"/>
                </a:cubicBezTo>
                <a:cubicBezTo>
                  <a:pt x="279" y="193"/>
                  <a:pt x="279" y="193"/>
                  <a:pt x="279" y="193"/>
                </a:cubicBezTo>
                <a:cubicBezTo>
                  <a:pt x="280" y="192"/>
                  <a:pt x="280" y="192"/>
                  <a:pt x="280" y="192"/>
                </a:cubicBezTo>
                <a:cubicBezTo>
                  <a:pt x="280" y="193"/>
                  <a:pt x="280" y="193"/>
                  <a:pt x="280" y="193"/>
                </a:cubicBezTo>
                <a:cubicBezTo>
                  <a:pt x="280" y="193"/>
                  <a:pt x="280" y="193"/>
                  <a:pt x="280" y="193"/>
                </a:cubicBezTo>
                <a:cubicBezTo>
                  <a:pt x="281" y="194"/>
                  <a:pt x="281" y="194"/>
                  <a:pt x="281" y="194"/>
                </a:cubicBezTo>
                <a:cubicBezTo>
                  <a:pt x="280" y="195"/>
                  <a:pt x="280" y="195"/>
                  <a:pt x="280" y="195"/>
                </a:cubicBezTo>
                <a:cubicBezTo>
                  <a:pt x="280" y="196"/>
                  <a:pt x="280" y="196"/>
                  <a:pt x="280" y="196"/>
                </a:cubicBezTo>
                <a:cubicBezTo>
                  <a:pt x="279" y="196"/>
                  <a:pt x="279" y="196"/>
                  <a:pt x="279" y="196"/>
                </a:cubicBezTo>
                <a:close/>
                <a:moveTo>
                  <a:pt x="262" y="215"/>
                </a:moveTo>
                <a:cubicBezTo>
                  <a:pt x="262" y="215"/>
                  <a:pt x="262" y="215"/>
                  <a:pt x="262" y="215"/>
                </a:cubicBezTo>
                <a:cubicBezTo>
                  <a:pt x="262" y="214"/>
                  <a:pt x="262" y="214"/>
                  <a:pt x="262" y="214"/>
                </a:cubicBezTo>
                <a:cubicBezTo>
                  <a:pt x="263" y="213"/>
                  <a:pt x="263" y="213"/>
                  <a:pt x="263" y="213"/>
                </a:cubicBezTo>
                <a:cubicBezTo>
                  <a:pt x="263" y="213"/>
                  <a:pt x="263" y="213"/>
                  <a:pt x="263" y="213"/>
                </a:cubicBezTo>
                <a:cubicBezTo>
                  <a:pt x="263" y="212"/>
                  <a:pt x="263" y="212"/>
                  <a:pt x="263" y="212"/>
                </a:cubicBezTo>
                <a:cubicBezTo>
                  <a:pt x="263" y="211"/>
                  <a:pt x="263" y="211"/>
                  <a:pt x="263" y="211"/>
                </a:cubicBezTo>
                <a:cubicBezTo>
                  <a:pt x="262" y="211"/>
                  <a:pt x="262" y="211"/>
                  <a:pt x="262" y="211"/>
                </a:cubicBezTo>
                <a:cubicBezTo>
                  <a:pt x="262" y="210"/>
                  <a:pt x="262" y="210"/>
                  <a:pt x="262" y="210"/>
                </a:cubicBezTo>
                <a:cubicBezTo>
                  <a:pt x="262" y="209"/>
                  <a:pt x="262" y="209"/>
                  <a:pt x="262" y="209"/>
                </a:cubicBezTo>
                <a:cubicBezTo>
                  <a:pt x="263" y="209"/>
                  <a:pt x="263" y="209"/>
                  <a:pt x="263" y="209"/>
                </a:cubicBezTo>
                <a:cubicBezTo>
                  <a:pt x="263" y="208"/>
                  <a:pt x="263" y="208"/>
                  <a:pt x="263" y="208"/>
                </a:cubicBezTo>
                <a:cubicBezTo>
                  <a:pt x="262" y="207"/>
                  <a:pt x="262" y="207"/>
                  <a:pt x="262" y="207"/>
                </a:cubicBezTo>
                <a:cubicBezTo>
                  <a:pt x="261" y="207"/>
                  <a:pt x="261" y="207"/>
                  <a:pt x="261" y="207"/>
                </a:cubicBezTo>
                <a:cubicBezTo>
                  <a:pt x="261" y="208"/>
                  <a:pt x="261" y="208"/>
                  <a:pt x="261" y="208"/>
                </a:cubicBezTo>
                <a:cubicBezTo>
                  <a:pt x="261" y="209"/>
                  <a:pt x="261" y="209"/>
                  <a:pt x="261" y="209"/>
                </a:cubicBezTo>
                <a:cubicBezTo>
                  <a:pt x="260" y="208"/>
                  <a:pt x="260" y="208"/>
                  <a:pt x="260" y="208"/>
                </a:cubicBezTo>
                <a:cubicBezTo>
                  <a:pt x="259" y="208"/>
                  <a:pt x="259" y="208"/>
                  <a:pt x="259" y="208"/>
                </a:cubicBezTo>
                <a:cubicBezTo>
                  <a:pt x="257" y="210"/>
                  <a:pt x="257" y="210"/>
                  <a:pt x="257" y="210"/>
                </a:cubicBezTo>
                <a:cubicBezTo>
                  <a:pt x="256" y="210"/>
                  <a:pt x="256" y="210"/>
                  <a:pt x="256" y="210"/>
                </a:cubicBezTo>
                <a:cubicBezTo>
                  <a:pt x="256" y="210"/>
                  <a:pt x="256" y="210"/>
                  <a:pt x="256" y="210"/>
                </a:cubicBezTo>
                <a:cubicBezTo>
                  <a:pt x="257" y="209"/>
                  <a:pt x="257" y="209"/>
                  <a:pt x="257" y="209"/>
                </a:cubicBezTo>
                <a:cubicBezTo>
                  <a:pt x="258" y="208"/>
                  <a:pt x="258" y="208"/>
                  <a:pt x="258" y="208"/>
                </a:cubicBezTo>
                <a:cubicBezTo>
                  <a:pt x="258" y="207"/>
                  <a:pt x="258" y="207"/>
                  <a:pt x="258" y="207"/>
                </a:cubicBezTo>
                <a:cubicBezTo>
                  <a:pt x="257" y="208"/>
                  <a:pt x="257" y="208"/>
                  <a:pt x="257" y="208"/>
                </a:cubicBezTo>
                <a:cubicBezTo>
                  <a:pt x="257" y="207"/>
                  <a:pt x="257" y="207"/>
                  <a:pt x="257" y="207"/>
                </a:cubicBezTo>
                <a:cubicBezTo>
                  <a:pt x="257" y="206"/>
                  <a:pt x="257" y="206"/>
                  <a:pt x="257" y="206"/>
                </a:cubicBezTo>
                <a:cubicBezTo>
                  <a:pt x="258" y="206"/>
                  <a:pt x="258" y="206"/>
                  <a:pt x="258" y="206"/>
                </a:cubicBezTo>
                <a:cubicBezTo>
                  <a:pt x="257" y="204"/>
                  <a:pt x="257" y="204"/>
                  <a:pt x="257" y="204"/>
                </a:cubicBezTo>
                <a:cubicBezTo>
                  <a:pt x="258" y="203"/>
                  <a:pt x="258" y="203"/>
                  <a:pt x="258" y="203"/>
                </a:cubicBezTo>
                <a:cubicBezTo>
                  <a:pt x="259" y="203"/>
                  <a:pt x="259" y="203"/>
                  <a:pt x="259" y="203"/>
                </a:cubicBezTo>
                <a:cubicBezTo>
                  <a:pt x="258" y="204"/>
                  <a:pt x="258" y="204"/>
                  <a:pt x="258" y="204"/>
                </a:cubicBezTo>
                <a:cubicBezTo>
                  <a:pt x="259" y="205"/>
                  <a:pt x="259" y="205"/>
                  <a:pt x="259" y="205"/>
                </a:cubicBezTo>
                <a:cubicBezTo>
                  <a:pt x="260" y="206"/>
                  <a:pt x="260" y="206"/>
                  <a:pt x="260" y="206"/>
                </a:cubicBezTo>
                <a:cubicBezTo>
                  <a:pt x="260" y="206"/>
                  <a:pt x="260" y="206"/>
                  <a:pt x="260" y="206"/>
                </a:cubicBezTo>
                <a:cubicBezTo>
                  <a:pt x="262" y="206"/>
                  <a:pt x="262" y="206"/>
                  <a:pt x="262" y="206"/>
                </a:cubicBezTo>
                <a:cubicBezTo>
                  <a:pt x="262" y="205"/>
                  <a:pt x="262" y="205"/>
                  <a:pt x="262" y="205"/>
                </a:cubicBezTo>
                <a:cubicBezTo>
                  <a:pt x="262" y="204"/>
                  <a:pt x="262" y="204"/>
                  <a:pt x="262" y="204"/>
                </a:cubicBezTo>
                <a:cubicBezTo>
                  <a:pt x="262" y="203"/>
                  <a:pt x="262" y="203"/>
                  <a:pt x="262" y="203"/>
                </a:cubicBezTo>
                <a:cubicBezTo>
                  <a:pt x="262" y="203"/>
                  <a:pt x="262" y="203"/>
                  <a:pt x="262" y="203"/>
                </a:cubicBezTo>
                <a:cubicBezTo>
                  <a:pt x="263" y="204"/>
                  <a:pt x="263" y="204"/>
                  <a:pt x="263" y="204"/>
                </a:cubicBezTo>
                <a:cubicBezTo>
                  <a:pt x="264" y="204"/>
                  <a:pt x="264" y="204"/>
                  <a:pt x="264" y="204"/>
                </a:cubicBezTo>
                <a:cubicBezTo>
                  <a:pt x="264" y="203"/>
                  <a:pt x="264" y="203"/>
                  <a:pt x="264" y="203"/>
                </a:cubicBezTo>
                <a:cubicBezTo>
                  <a:pt x="265" y="201"/>
                  <a:pt x="265" y="201"/>
                  <a:pt x="265" y="201"/>
                </a:cubicBezTo>
                <a:cubicBezTo>
                  <a:pt x="265" y="203"/>
                  <a:pt x="265" y="203"/>
                  <a:pt x="265" y="203"/>
                </a:cubicBezTo>
                <a:cubicBezTo>
                  <a:pt x="266" y="203"/>
                  <a:pt x="266" y="203"/>
                  <a:pt x="266" y="203"/>
                </a:cubicBezTo>
                <a:cubicBezTo>
                  <a:pt x="267" y="202"/>
                  <a:pt x="267" y="202"/>
                  <a:pt x="267" y="202"/>
                </a:cubicBezTo>
                <a:cubicBezTo>
                  <a:pt x="266" y="204"/>
                  <a:pt x="266" y="204"/>
                  <a:pt x="266" y="204"/>
                </a:cubicBezTo>
                <a:cubicBezTo>
                  <a:pt x="266" y="205"/>
                  <a:pt x="266" y="205"/>
                  <a:pt x="266" y="205"/>
                </a:cubicBezTo>
                <a:cubicBezTo>
                  <a:pt x="266" y="205"/>
                  <a:pt x="266" y="205"/>
                  <a:pt x="266" y="205"/>
                </a:cubicBezTo>
                <a:cubicBezTo>
                  <a:pt x="267" y="205"/>
                  <a:pt x="267" y="205"/>
                  <a:pt x="267" y="205"/>
                </a:cubicBezTo>
                <a:cubicBezTo>
                  <a:pt x="266" y="206"/>
                  <a:pt x="266" y="206"/>
                  <a:pt x="266" y="206"/>
                </a:cubicBezTo>
                <a:cubicBezTo>
                  <a:pt x="267" y="206"/>
                  <a:pt x="267" y="206"/>
                  <a:pt x="267" y="206"/>
                </a:cubicBezTo>
                <a:cubicBezTo>
                  <a:pt x="268" y="205"/>
                  <a:pt x="268" y="205"/>
                  <a:pt x="268" y="205"/>
                </a:cubicBezTo>
                <a:cubicBezTo>
                  <a:pt x="268" y="204"/>
                  <a:pt x="268" y="204"/>
                  <a:pt x="268" y="204"/>
                </a:cubicBezTo>
                <a:cubicBezTo>
                  <a:pt x="269" y="203"/>
                  <a:pt x="269" y="203"/>
                  <a:pt x="269" y="203"/>
                </a:cubicBezTo>
                <a:cubicBezTo>
                  <a:pt x="270" y="202"/>
                  <a:pt x="270" y="202"/>
                  <a:pt x="270" y="202"/>
                </a:cubicBezTo>
                <a:cubicBezTo>
                  <a:pt x="270" y="204"/>
                  <a:pt x="270" y="204"/>
                  <a:pt x="270" y="204"/>
                </a:cubicBezTo>
                <a:cubicBezTo>
                  <a:pt x="269" y="205"/>
                  <a:pt x="269" y="205"/>
                  <a:pt x="269" y="205"/>
                </a:cubicBezTo>
                <a:cubicBezTo>
                  <a:pt x="269" y="207"/>
                  <a:pt x="269" y="207"/>
                  <a:pt x="269" y="207"/>
                </a:cubicBezTo>
                <a:cubicBezTo>
                  <a:pt x="270" y="207"/>
                  <a:pt x="270" y="207"/>
                  <a:pt x="270" y="207"/>
                </a:cubicBezTo>
                <a:cubicBezTo>
                  <a:pt x="271" y="207"/>
                  <a:pt x="271" y="207"/>
                  <a:pt x="271" y="207"/>
                </a:cubicBezTo>
                <a:cubicBezTo>
                  <a:pt x="271" y="206"/>
                  <a:pt x="271" y="206"/>
                  <a:pt x="271" y="206"/>
                </a:cubicBezTo>
                <a:cubicBezTo>
                  <a:pt x="273" y="205"/>
                  <a:pt x="273" y="205"/>
                  <a:pt x="273" y="205"/>
                </a:cubicBezTo>
                <a:cubicBezTo>
                  <a:pt x="273" y="203"/>
                  <a:pt x="273" y="203"/>
                  <a:pt x="273" y="203"/>
                </a:cubicBezTo>
                <a:cubicBezTo>
                  <a:pt x="274" y="202"/>
                  <a:pt x="274" y="202"/>
                  <a:pt x="274" y="202"/>
                </a:cubicBezTo>
                <a:cubicBezTo>
                  <a:pt x="273" y="201"/>
                  <a:pt x="273" y="201"/>
                  <a:pt x="273" y="201"/>
                </a:cubicBezTo>
                <a:cubicBezTo>
                  <a:pt x="274" y="200"/>
                  <a:pt x="274" y="200"/>
                  <a:pt x="274" y="200"/>
                </a:cubicBezTo>
                <a:cubicBezTo>
                  <a:pt x="274" y="199"/>
                  <a:pt x="274" y="199"/>
                  <a:pt x="274" y="199"/>
                </a:cubicBezTo>
                <a:cubicBezTo>
                  <a:pt x="273" y="200"/>
                  <a:pt x="273" y="200"/>
                  <a:pt x="273" y="200"/>
                </a:cubicBezTo>
                <a:cubicBezTo>
                  <a:pt x="272" y="199"/>
                  <a:pt x="272" y="199"/>
                  <a:pt x="272" y="199"/>
                </a:cubicBezTo>
                <a:cubicBezTo>
                  <a:pt x="271" y="200"/>
                  <a:pt x="271" y="200"/>
                  <a:pt x="271" y="200"/>
                </a:cubicBezTo>
                <a:cubicBezTo>
                  <a:pt x="271" y="198"/>
                  <a:pt x="271" y="198"/>
                  <a:pt x="271" y="198"/>
                </a:cubicBezTo>
                <a:cubicBezTo>
                  <a:pt x="272" y="198"/>
                  <a:pt x="272" y="198"/>
                  <a:pt x="272" y="198"/>
                </a:cubicBezTo>
                <a:cubicBezTo>
                  <a:pt x="272" y="197"/>
                  <a:pt x="272" y="197"/>
                  <a:pt x="272" y="197"/>
                </a:cubicBezTo>
                <a:cubicBezTo>
                  <a:pt x="270" y="198"/>
                  <a:pt x="270" y="198"/>
                  <a:pt x="270" y="198"/>
                </a:cubicBezTo>
                <a:cubicBezTo>
                  <a:pt x="270" y="197"/>
                  <a:pt x="270" y="197"/>
                  <a:pt x="270" y="197"/>
                </a:cubicBezTo>
                <a:cubicBezTo>
                  <a:pt x="269" y="196"/>
                  <a:pt x="269" y="196"/>
                  <a:pt x="269" y="196"/>
                </a:cubicBezTo>
                <a:cubicBezTo>
                  <a:pt x="269" y="195"/>
                  <a:pt x="269" y="195"/>
                  <a:pt x="269" y="195"/>
                </a:cubicBezTo>
                <a:cubicBezTo>
                  <a:pt x="268" y="193"/>
                  <a:pt x="268" y="193"/>
                  <a:pt x="268" y="193"/>
                </a:cubicBezTo>
                <a:cubicBezTo>
                  <a:pt x="268" y="192"/>
                  <a:pt x="268" y="192"/>
                  <a:pt x="268" y="192"/>
                </a:cubicBezTo>
                <a:cubicBezTo>
                  <a:pt x="269" y="190"/>
                  <a:pt x="269" y="190"/>
                  <a:pt x="269" y="190"/>
                </a:cubicBezTo>
                <a:cubicBezTo>
                  <a:pt x="268" y="189"/>
                  <a:pt x="268" y="189"/>
                  <a:pt x="268" y="189"/>
                </a:cubicBezTo>
                <a:cubicBezTo>
                  <a:pt x="267" y="190"/>
                  <a:pt x="267" y="190"/>
                  <a:pt x="267" y="190"/>
                </a:cubicBezTo>
                <a:cubicBezTo>
                  <a:pt x="267" y="191"/>
                  <a:pt x="267" y="191"/>
                  <a:pt x="267" y="191"/>
                </a:cubicBezTo>
                <a:cubicBezTo>
                  <a:pt x="267" y="190"/>
                  <a:pt x="267" y="190"/>
                  <a:pt x="267" y="190"/>
                </a:cubicBezTo>
                <a:cubicBezTo>
                  <a:pt x="265" y="189"/>
                  <a:pt x="265" y="189"/>
                  <a:pt x="265" y="189"/>
                </a:cubicBezTo>
                <a:cubicBezTo>
                  <a:pt x="265" y="187"/>
                  <a:pt x="265" y="187"/>
                  <a:pt x="265" y="187"/>
                </a:cubicBezTo>
                <a:cubicBezTo>
                  <a:pt x="264" y="186"/>
                  <a:pt x="264" y="186"/>
                  <a:pt x="264" y="186"/>
                </a:cubicBezTo>
                <a:cubicBezTo>
                  <a:pt x="264" y="184"/>
                  <a:pt x="264" y="184"/>
                  <a:pt x="264" y="184"/>
                </a:cubicBezTo>
                <a:cubicBezTo>
                  <a:pt x="263" y="183"/>
                  <a:pt x="263" y="183"/>
                  <a:pt x="263" y="183"/>
                </a:cubicBezTo>
                <a:cubicBezTo>
                  <a:pt x="263" y="182"/>
                  <a:pt x="263" y="182"/>
                  <a:pt x="263" y="182"/>
                </a:cubicBezTo>
                <a:cubicBezTo>
                  <a:pt x="263" y="181"/>
                  <a:pt x="263" y="181"/>
                  <a:pt x="263" y="181"/>
                </a:cubicBezTo>
                <a:cubicBezTo>
                  <a:pt x="263" y="180"/>
                  <a:pt x="263" y="180"/>
                  <a:pt x="263" y="180"/>
                </a:cubicBezTo>
                <a:cubicBezTo>
                  <a:pt x="264" y="180"/>
                  <a:pt x="264" y="180"/>
                  <a:pt x="264" y="180"/>
                </a:cubicBezTo>
                <a:cubicBezTo>
                  <a:pt x="264" y="179"/>
                  <a:pt x="264" y="179"/>
                  <a:pt x="264" y="179"/>
                </a:cubicBezTo>
                <a:cubicBezTo>
                  <a:pt x="265" y="179"/>
                  <a:pt x="265" y="179"/>
                  <a:pt x="265" y="179"/>
                </a:cubicBezTo>
                <a:cubicBezTo>
                  <a:pt x="265" y="179"/>
                  <a:pt x="265" y="179"/>
                  <a:pt x="265" y="179"/>
                </a:cubicBezTo>
                <a:cubicBezTo>
                  <a:pt x="266" y="178"/>
                  <a:pt x="266" y="178"/>
                  <a:pt x="266" y="178"/>
                </a:cubicBezTo>
                <a:cubicBezTo>
                  <a:pt x="266" y="177"/>
                  <a:pt x="266" y="177"/>
                  <a:pt x="266" y="177"/>
                </a:cubicBezTo>
                <a:cubicBezTo>
                  <a:pt x="267" y="175"/>
                  <a:pt x="267" y="175"/>
                  <a:pt x="267" y="175"/>
                </a:cubicBezTo>
                <a:cubicBezTo>
                  <a:pt x="267" y="173"/>
                  <a:pt x="267" y="173"/>
                  <a:pt x="267" y="173"/>
                </a:cubicBezTo>
                <a:cubicBezTo>
                  <a:pt x="267" y="173"/>
                  <a:pt x="267" y="173"/>
                  <a:pt x="267" y="173"/>
                </a:cubicBezTo>
                <a:cubicBezTo>
                  <a:pt x="267" y="171"/>
                  <a:pt x="267" y="171"/>
                  <a:pt x="267" y="171"/>
                </a:cubicBezTo>
                <a:cubicBezTo>
                  <a:pt x="267" y="169"/>
                  <a:pt x="267" y="169"/>
                  <a:pt x="267" y="169"/>
                </a:cubicBezTo>
                <a:cubicBezTo>
                  <a:pt x="268" y="169"/>
                  <a:pt x="268" y="169"/>
                  <a:pt x="268" y="169"/>
                </a:cubicBezTo>
                <a:cubicBezTo>
                  <a:pt x="268" y="167"/>
                  <a:pt x="268" y="167"/>
                  <a:pt x="268" y="167"/>
                </a:cubicBezTo>
                <a:cubicBezTo>
                  <a:pt x="269" y="166"/>
                  <a:pt x="269" y="166"/>
                  <a:pt x="269" y="166"/>
                </a:cubicBezTo>
                <a:cubicBezTo>
                  <a:pt x="269" y="164"/>
                  <a:pt x="269" y="164"/>
                  <a:pt x="269" y="164"/>
                </a:cubicBezTo>
                <a:cubicBezTo>
                  <a:pt x="270" y="164"/>
                  <a:pt x="270" y="164"/>
                  <a:pt x="270" y="164"/>
                </a:cubicBezTo>
                <a:cubicBezTo>
                  <a:pt x="270" y="161"/>
                  <a:pt x="270" y="161"/>
                  <a:pt x="270" y="161"/>
                </a:cubicBezTo>
                <a:cubicBezTo>
                  <a:pt x="271" y="161"/>
                  <a:pt x="271" y="161"/>
                  <a:pt x="271" y="161"/>
                </a:cubicBezTo>
                <a:cubicBezTo>
                  <a:pt x="271" y="160"/>
                  <a:pt x="271" y="160"/>
                  <a:pt x="271" y="160"/>
                </a:cubicBezTo>
                <a:cubicBezTo>
                  <a:pt x="272" y="158"/>
                  <a:pt x="272" y="158"/>
                  <a:pt x="272" y="158"/>
                </a:cubicBezTo>
                <a:cubicBezTo>
                  <a:pt x="272" y="157"/>
                  <a:pt x="272" y="157"/>
                  <a:pt x="272" y="157"/>
                </a:cubicBezTo>
                <a:cubicBezTo>
                  <a:pt x="272" y="156"/>
                  <a:pt x="272" y="156"/>
                  <a:pt x="272" y="156"/>
                </a:cubicBezTo>
                <a:cubicBezTo>
                  <a:pt x="273" y="156"/>
                  <a:pt x="273" y="156"/>
                  <a:pt x="273" y="156"/>
                </a:cubicBezTo>
                <a:cubicBezTo>
                  <a:pt x="273" y="155"/>
                  <a:pt x="273" y="155"/>
                  <a:pt x="273" y="155"/>
                </a:cubicBezTo>
                <a:cubicBezTo>
                  <a:pt x="272" y="153"/>
                  <a:pt x="272" y="153"/>
                  <a:pt x="272" y="153"/>
                </a:cubicBezTo>
                <a:cubicBezTo>
                  <a:pt x="273" y="152"/>
                  <a:pt x="273" y="152"/>
                  <a:pt x="273" y="152"/>
                </a:cubicBezTo>
                <a:cubicBezTo>
                  <a:pt x="273" y="152"/>
                  <a:pt x="273" y="152"/>
                  <a:pt x="273" y="152"/>
                </a:cubicBezTo>
                <a:cubicBezTo>
                  <a:pt x="271" y="151"/>
                  <a:pt x="271" y="151"/>
                  <a:pt x="271" y="151"/>
                </a:cubicBezTo>
                <a:cubicBezTo>
                  <a:pt x="271" y="149"/>
                  <a:pt x="271" y="149"/>
                  <a:pt x="271" y="149"/>
                </a:cubicBezTo>
                <a:cubicBezTo>
                  <a:pt x="271" y="149"/>
                  <a:pt x="271" y="149"/>
                  <a:pt x="271" y="149"/>
                </a:cubicBezTo>
                <a:cubicBezTo>
                  <a:pt x="270" y="146"/>
                  <a:pt x="270" y="146"/>
                  <a:pt x="270" y="146"/>
                </a:cubicBezTo>
                <a:cubicBezTo>
                  <a:pt x="269" y="146"/>
                  <a:pt x="269" y="146"/>
                  <a:pt x="269" y="146"/>
                </a:cubicBezTo>
                <a:cubicBezTo>
                  <a:pt x="269" y="146"/>
                  <a:pt x="269" y="146"/>
                  <a:pt x="269" y="146"/>
                </a:cubicBezTo>
                <a:cubicBezTo>
                  <a:pt x="268" y="146"/>
                  <a:pt x="268" y="146"/>
                  <a:pt x="268" y="146"/>
                </a:cubicBezTo>
                <a:cubicBezTo>
                  <a:pt x="268" y="147"/>
                  <a:pt x="268" y="147"/>
                  <a:pt x="268" y="147"/>
                </a:cubicBezTo>
                <a:cubicBezTo>
                  <a:pt x="268" y="147"/>
                  <a:pt x="268" y="147"/>
                  <a:pt x="268" y="147"/>
                </a:cubicBezTo>
                <a:cubicBezTo>
                  <a:pt x="266" y="145"/>
                  <a:pt x="266" y="145"/>
                  <a:pt x="266" y="145"/>
                </a:cubicBezTo>
                <a:cubicBezTo>
                  <a:pt x="265" y="145"/>
                  <a:pt x="265" y="145"/>
                  <a:pt x="265" y="145"/>
                </a:cubicBezTo>
                <a:cubicBezTo>
                  <a:pt x="265" y="144"/>
                  <a:pt x="265" y="144"/>
                  <a:pt x="265" y="144"/>
                </a:cubicBezTo>
                <a:cubicBezTo>
                  <a:pt x="264" y="144"/>
                  <a:pt x="264" y="144"/>
                  <a:pt x="264" y="144"/>
                </a:cubicBezTo>
                <a:cubicBezTo>
                  <a:pt x="264" y="146"/>
                  <a:pt x="264" y="146"/>
                  <a:pt x="264" y="146"/>
                </a:cubicBezTo>
                <a:cubicBezTo>
                  <a:pt x="264" y="146"/>
                  <a:pt x="264" y="146"/>
                  <a:pt x="264" y="146"/>
                </a:cubicBezTo>
                <a:cubicBezTo>
                  <a:pt x="263" y="146"/>
                  <a:pt x="263" y="146"/>
                  <a:pt x="263" y="146"/>
                </a:cubicBezTo>
                <a:cubicBezTo>
                  <a:pt x="262" y="147"/>
                  <a:pt x="262" y="147"/>
                  <a:pt x="262" y="147"/>
                </a:cubicBezTo>
                <a:cubicBezTo>
                  <a:pt x="262" y="148"/>
                  <a:pt x="262" y="148"/>
                  <a:pt x="262" y="148"/>
                </a:cubicBezTo>
                <a:cubicBezTo>
                  <a:pt x="261" y="149"/>
                  <a:pt x="261" y="149"/>
                  <a:pt x="261" y="149"/>
                </a:cubicBezTo>
                <a:cubicBezTo>
                  <a:pt x="260" y="152"/>
                  <a:pt x="260" y="152"/>
                  <a:pt x="260" y="152"/>
                </a:cubicBezTo>
                <a:cubicBezTo>
                  <a:pt x="260" y="153"/>
                  <a:pt x="260" y="153"/>
                  <a:pt x="260" y="153"/>
                </a:cubicBezTo>
                <a:cubicBezTo>
                  <a:pt x="260" y="154"/>
                  <a:pt x="260" y="154"/>
                  <a:pt x="260" y="154"/>
                </a:cubicBezTo>
                <a:cubicBezTo>
                  <a:pt x="259" y="155"/>
                  <a:pt x="259" y="155"/>
                  <a:pt x="259" y="155"/>
                </a:cubicBezTo>
                <a:cubicBezTo>
                  <a:pt x="259" y="156"/>
                  <a:pt x="259" y="156"/>
                  <a:pt x="259" y="156"/>
                </a:cubicBezTo>
                <a:cubicBezTo>
                  <a:pt x="259" y="157"/>
                  <a:pt x="259" y="157"/>
                  <a:pt x="259" y="157"/>
                </a:cubicBezTo>
                <a:cubicBezTo>
                  <a:pt x="258" y="157"/>
                  <a:pt x="258" y="157"/>
                  <a:pt x="258" y="157"/>
                </a:cubicBezTo>
                <a:cubicBezTo>
                  <a:pt x="258" y="160"/>
                  <a:pt x="258" y="160"/>
                  <a:pt x="258" y="160"/>
                </a:cubicBezTo>
                <a:cubicBezTo>
                  <a:pt x="257" y="161"/>
                  <a:pt x="257" y="161"/>
                  <a:pt x="257" y="161"/>
                </a:cubicBezTo>
                <a:cubicBezTo>
                  <a:pt x="256" y="160"/>
                  <a:pt x="256" y="160"/>
                  <a:pt x="256" y="160"/>
                </a:cubicBezTo>
                <a:cubicBezTo>
                  <a:pt x="256" y="162"/>
                  <a:pt x="256" y="162"/>
                  <a:pt x="256" y="162"/>
                </a:cubicBezTo>
                <a:cubicBezTo>
                  <a:pt x="256" y="163"/>
                  <a:pt x="256" y="163"/>
                  <a:pt x="256" y="163"/>
                </a:cubicBezTo>
                <a:cubicBezTo>
                  <a:pt x="256" y="164"/>
                  <a:pt x="256" y="164"/>
                  <a:pt x="256" y="164"/>
                </a:cubicBezTo>
                <a:cubicBezTo>
                  <a:pt x="255" y="166"/>
                  <a:pt x="255" y="166"/>
                  <a:pt x="255" y="166"/>
                </a:cubicBezTo>
                <a:cubicBezTo>
                  <a:pt x="255" y="167"/>
                  <a:pt x="255" y="167"/>
                  <a:pt x="255" y="167"/>
                </a:cubicBezTo>
                <a:cubicBezTo>
                  <a:pt x="255" y="168"/>
                  <a:pt x="255" y="168"/>
                  <a:pt x="255" y="168"/>
                </a:cubicBezTo>
                <a:cubicBezTo>
                  <a:pt x="255" y="169"/>
                  <a:pt x="255" y="169"/>
                  <a:pt x="255" y="169"/>
                </a:cubicBezTo>
                <a:cubicBezTo>
                  <a:pt x="254" y="169"/>
                  <a:pt x="254" y="169"/>
                  <a:pt x="254" y="169"/>
                </a:cubicBezTo>
                <a:cubicBezTo>
                  <a:pt x="254" y="169"/>
                  <a:pt x="254" y="169"/>
                  <a:pt x="254" y="169"/>
                </a:cubicBezTo>
                <a:cubicBezTo>
                  <a:pt x="255" y="170"/>
                  <a:pt x="255" y="170"/>
                  <a:pt x="255" y="170"/>
                </a:cubicBezTo>
                <a:cubicBezTo>
                  <a:pt x="255" y="171"/>
                  <a:pt x="255" y="171"/>
                  <a:pt x="255" y="171"/>
                </a:cubicBezTo>
                <a:cubicBezTo>
                  <a:pt x="255" y="170"/>
                  <a:pt x="255" y="170"/>
                  <a:pt x="255" y="170"/>
                </a:cubicBezTo>
                <a:cubicBezTo>
                  <a:pt x="254" y="171"/>
                  <a:pt x="254" y="171"/>
                  <a:pt x="254" y="171"/>
                </a:cubicBezTo>
                <a:cubicBezTo>
                  <a:pt x="253" y="171"/>
                  <a:pt x="253" y="171"/>
                  <a:pt x="253" y="171"/>
                </a:cubicBezTo>
                <a:cubicBezTo>
                  <a:pt x="252" y="171"/>
                  <a:pt x="252" y="171"/>
                  <a:pt x="252" y="171"/>
                </a:cubicBezTo>
                <a:cubicBezTo>
                  <a:pt x="251" y="172"/>
                  <a:pt x="251" y="172"/>
                  <a:pt x="251" y="172"/>
                </a:cubicBezTo>
                <a:cubicBezTo>
                  <a:pt x="252" y="173"/>
                  <a:pt x="252" y="173"/>
                  <a:pt x="252" y="173"/>
                </a:cubicBezTo>
                <a:cubicBezTo>
                  <a:pt x="251" y="173"/>
                  <a:pt x="251" y="173"/>
                  <a:pt x="251" y="173"/>
                </a:cubicBezTo>
                <a:cubicBezTo>
                  <a:pt x="250" y="173"/>
                  <a:pt x="250" y="173"/>
                  <a:pt x="250" y="173"/>
                </a:cubicBezTo>
                <a:cubicBezTo>
                  <a:pt x="250" y="172"/>
                  <a:pt x="250" y="172"/>
                  <a:pt x="250" y="172"/>
                </a:cubicBezTo>
                <a:cubicBezTo>
                  <a:pt x="250" y="171"/>
                  <a:pt x="250" y="171"/>
                  <a:pt x="250" y="171"/>
                </a:cubicBezTo>
                <a:cubicBezTo>
                  <a:pt x="250" y="170"/>
                  <a:pt x="250" y="170"/>
                  <a:pt x="250" y="170"/>
                </a:cubicBezTo>
                <a:cubicBezTo>
                  <a:pt x="250" y="168"/>
                  <a:pt x="250" y="168"/>
                  <a:pt x="250" y="168"/>
                </a:cubicBezTo>
                <a:cubicBezTo>
                  <a:pt x="251" y="166"/>
                  <a:pt x="251" y="166"/>
                  <a:pt x="251" y="166"/>
                </a:cubicBezTo>
                <a:cubicBezTo>
                  <a:pt x="251" y="165"/>
                  <a:pt x="251" y="165"/>
                  <a:pt x="251" y="165"/>
                </a:cubicBezTo>
                <a:cubicBezTo>
                  <a:pt x="252" y="164"/>
                  <a:pt x="252" y="164"/>
                  <a:pt x="252" y="164"/>
                </a:cubicBezTo>
                <a:cubicBezTo>
                  <a:pt x="252" y="163"/>
                  <a:pt x="252" y="163"/>
                  <a:pt x="252" y="163"/>
                </a:cubicBezTo>
                <a:cubicBezTo>
                  <a:pt x="252" y="162"/>
                  <a:pt x="252" y="162"/>
                  <a:pt x="252" y="162"/>
                </a:cubicBezTo>
                <a:cubicBezTo>
                  <a:pt x="253" y="159"/>
                  <a:pt x="253" y="159"/>
                  <a:pt x="253" y="159"/>
                </a:cubicBezTo>
                <a:cubicBezTo>
                  <a:pt x="254" y="158"/>
                  <a:pt x="254" y="158"/>
                  <a:pt x="254" y="158"/>
                </a:cubicBezTo>
                <a:cubicBezTo>
                  <a:pt x="254" y="157"/>
                  <a:pt x="254" y="157"/>
                  <a:pt x="254" y="157"/>
                </a:cubicBezTo>
                <a:cubicBezTo>
                  <a:pt x="254" y="157"/>
                  <a:pt x="254" y="157"/>
                  <a:pt x="254" y="157"/>
                </a:cubicBezTo>
                <a:cubicBezTo>
                  <a:pt x="253" y="157"/>
                  <a:pt x="253" y="157"/>
                  <a:pt x="253" y="157"/>
                </a:cubicBezTo>
                <a:cubicBezTo>
                  <a:pt x="253" y="156"/>
                  <a:pt x="253" y="156"/>
                  <a:pt x="253" y="156"/>
                </a:cubicBezTo>
                <a:cubicBezTo>
                  <a:pt x="254" y="155"/>
                  <a:pt x="254" y="155"/>
                  <a:pt x="254" y="155"/>
                </a:cubicBezTo>
                <a:cubicBezTo>
                  <a:pt x="254" y="153"/>
                  <a:pt x="254" y="153"/>
                  <a:pt x="254" y="153"/>
                </a:cubicBezTo>
                <a:cubicBezTo>
                  <a:pt x="253" y="152"/>
                  <a:pt x="253" y="152"/>
                  <a:pt x="253" y="152"/>
                </a:cubicBezTo>
                <a:cubicBezTo>
                  <a:pt x="253" y="151"/>
                  <a:pt x="253" y="151"/>
                  <a:pt x="253" y="151"/>
                </a:cubicBezTo>
                <a:cubicBezTo>
                  <a:pt x="253" y="150"/>
                  <a:pt x="253" y="150"/>
                  <a:pt x="253" y="150"/>
                </a:cubicBezTo>
                <a:cubicBezTo>
                  <a:pt x="253" y="149"/>
                  <a:pt x="253" y="149"/>
                  <a:pt x="253" y="149"/>
                </a:cubicBezTo>
                <a:cubicBezTo>
                  <a:pt x="252" y="149"/>
                  <a:pt x="252" y="149"/>
                  <a:pt x="252" y="149"/>
                </a:cubicBezTo>
                <a:cubicBezTo>
                  <a:pt x="251" y="147"/>
                  <a:pt x="251" y="147"/>
                  <a:pt x="251" y="147"/>
                </a:cubicBezTo>
                <a:cubicBezTo>
                  <a:pt x="250" y="148"/>
                  <a:pt x="250" y="148"/>
                  <a:pt x="250" y="148"/>
                </a:cubicBezTo>
                <a:cubicBezTo>
                  <a:pt x="249" y="149"/>
                  <a:pt x="249" y="149"/>
                  <a:pt x="249" y="149"/>
                </a:cubicBezTo>
                <a:cubicBezTo>
                  <a:pt x="250" y="150"/>
                  <a:pt x="250" y="150"/>
                  <a:pt x="250" y="150"/>
                </a:cubicBezTo>
                <a:cubicBezTo>
                  <a:pt x="250" y="151"/>
                  <a:pt x="250" y="151"/>
                  <a:pt x="250" y="151"/>
                </a:cubicBezTo>
                <a:cubicBezTo>
                  <a:pt x="251" y="152"/>
                  <a:pt x="251" y="152"/>
                  <a:pt x="251" y="152"/>
                </a:cubicBezTo>
                <a:cubicBezTo>
                  <a:pt x="251" y="153"/>
                  <a:pt x="251" y="153"/>
                  <a:pt x="251" y="153"/>
                </a:cubicBezTo>
                <a:cubicBezTo>
                  <a:pt x="250" y="153"/>
                  <a:pt x="250" y="153"/>
                  <a:pt x="250" y="153"/>
                </a:cubicBezTo>
                <a:cubicBezTo>
                  <a:pt x="250" y="151"/>
                  <a:pt x="250" y="151"/>
                  <a:pt x="250" y="151"/>
                </a:cubicBezTo>
                <a:cubicBezTo>
                  <a:pt x="249" y="151"/>
                  <a:pt x="249" y="151"/>
                  <a:pt x="249" y="151"/>
                </a:cubicBezTo>
                <a:cubicBezTo>
                  <a:pt x="248" y="153"/>
                  <a:pt x="248" y="153"/>
                  <a:pt x="248" y="153"/>
                </a:cubicBezTo>
                <a:cubicBezTo>
                  <a:pt x="249" y="153"/>
                  <a:pt x="249" y="153"/>
                  <a:pt x="249" y="153"/>
                </a:cubicBezTo>
                <a:cubicBezTo>
                  <a:pt x="249" y="154"/>
                  <a:pt x="249" y="154"/>
                  <a:pt x="249" y="154"/>
                </a:cubicBezTo>
                <a:cubicBezTo>
                  <a:pt x="250" y="156"/>
                  <a:pt x="250" y="156"/>
                  <a:pt x="250" y="156"/>
                </a:cubicBezTo>
                <a:cubicBezTo>
                  <a:pt x="249" y="156"/>
                  <a:pt x="249" y="156"/>
                  <a:pt x="249" y="156"/>
                </a:cubicBezTo>
                <a:cubicBezTo>
                  <a:pt x="249" y="156"/>
                  <a:pt x="249" y="156"/>
                  <a:pt x="249" y="156"/>
                </a:cubicBezTo>
                <a:cubicBezTo>
                  <a:pt x="248" y="155"/>
                  <a:pt x="248" y="155"/>
                  <a:pt x="248" y="155"/>
                </a:cubicBezTo>
                <a:cubicBezTo>
                  <a:pt x="248" y="157"/>
                  <a:pt x="248" y="157"/>
                  <a:pt x="248" y="157"/>
                </a:cubicBezTo>
                <a:cubicBezTo>
                  <a:pt x="247" y="156"/>
                  <a:pt x="247" y="156"/>
                  <a:pt x="247" y="156"/>
                </a:cubicBezTo>
                <a:cubicBezTo>
                  <a:pt x="247" y="155"/>
                  <a:pt x="247" y="155"/>
                  <a:pt x="247" y="155"/>
                </a:cubicBezTo>
                <a:cubicBezTo>
                  <a:pt x="246" y="155"/>
                  <a:pt x="246" y="155"/>
                  <a:pt x="246" y="155"/>
                </a:cubicBezTo>
                <a:cubicBezTo>
                  <a:pt x="246" y="156"/>
                  <a:pt x="246" y="156"/>
                  <a:pt x="246" y="156"/>
                </a:cubicBezTo>
                <a:cubicBezTo>
                  <a:pt x="245" y="156"/>
                  <a:pt x="245" y="156"/>
                  <a:pt x="245" y="156"/>
                </a:cubicBezTo>
                <a:cubicBezTo>
                  <a:pt x="245" y="155"/>
                  <a:pt x="245" y="155"/>
                  <a:pt x="245" y="155"/>
                </a:cubicBezTo>
                <a:cubicBezTo>
                  <a:pt x="246" y="154"/>
                  <a:pt x="246" y="154"/>
                  <a:pt x="246" y="154"/>
                </a:cubicBezTo>
                <a:cubicBezTo>
                  <a:pt x="245" y="154"/>
                  <a:pt x="245" y="154"/>
                  <a:pt x="245" y="154"/>
                </a:cubicBezTo>
                <a:cubicBezTo>
                  <a:pt x="244" y="154"/>
                  <a:pt x="244" y="154"/>
                  <a:pt x="244" y="154"/>
                </a:cubicBezTo>
                <a:cubicBezTo>
                  <a:pt x="242" y="156"/>
                  <a:pt x="242" y="156"/>
                  <a:pt x="242" y="156"/>
                </a:cubicBezTo>
                <a:cubicBezTo>
                  <a:pt x="242" y="154"/>
                  <a:pt x="242" y="154"/>
                  <a:pt x="242" y="154"/>
                </a:cubicBezTo>
                <a:cubicBezTo>
                  <a:pt x="241" y="154"/>
                  <a:pt x="241" y="154"/>
                  <a:pt x="241" y="154"/>
                </a:cubicBezTo>
                <a:cubicBezTo>
                  <a:pt x="240" y="155"/>
                  <a:pt x="240" y="155"/>
                  <a:pt x="240" y="155"/>
                </a:cubicBezTo>
                <a:cubicBezTo>
                  <a:pt x="239" y="155"/>
                  <a:pt x="239" y="155"/>
                  <a:pt x="239" y="155"/>
                </a:cubicBezTo>
                <a:cubicBezTo>
                  <a:pt x="238" y="154"/>
                  <a:pt x="238" y="154"/>
                  <a:pt x="238" y="154"/>
                </a:cubicBezTo>
                <a:cubicBezTo>
                  <a:pt x="237" y="154"/>
                  <a:pt x="237" y="154"/>
                  <a:pt x="237" y="154"/>
                </a:cubicBezTo>
                <a:cubicBezTo>
                  <a:pt x="236" y="154"/>
                  <a:pt x="236" y="154"/>
                  <a:pt x="236" y="154"/>
                </a:cubicBezTo>
                <a:cubicBezTo>
                  <a:pt x="237" y="153"/>
                  <a:pt x="237" y="153"/>
                  <a:pt x="237" y="153"/>
                </a:cubicBezTo>
                <a:cubicBezTo>
                  <a:pt x="239" y="153"/>
                  <a:pt x="239" y="153"/>
                  <a:pt x="239" y="153"/>
                </a:cubicBezTo>
                <a:cubicBezTo>
                  <a:pt x="240" y="153"/>
                  <a:pt x="240" y="153"/>
                  <a:pt x="240" y="153"/>
                </a:cubicBezTo>
                <a:cubicBezTo>
                  <a:pt x="241" y="153"/>
                  <a:pt x="241" y="153"/>
                  <a:pt x="241" y="153"/>
                </a:cubicBezTo>
                <a:cubicBezTo>
                  <a:pt x="241" y="152"/>
                  <a:pt x="241" y="152"/>
                  <a:pt x="241" y="152"/>
                </a:cubicBezTo>
                <a:cubicBezTo>
                  <a:pt x="242" y="152"/>
                  <a:pt x="242" y="152"/>
                  <a:pt x="242" y="152"/>
                </a:cubicBezTo>
                <a:cubicBezTo>
                  <a:pt x="243" y="152"/>
                  <a:pt x="243" y="152"/>
                  <a:pt x="243" y="152"/>
                </a:cubicBezTo>
                <a:cubicBezTo>
                  <a:pt x="244" y="151"/>
                  <a:pt x="244" y="151"/>
                  <a:pt x="244" y="151"/>
                </a:cubicBezTo>
                <a:cubicBezTo>
                  <a:pt x="244" y="150"/>
                  <a:pt x="244" y="150"/>
                  <a:pt x="244" y="150"/>
                </a:cubicBezTo>
                <a:cubicBezTo>
                  <a:pt x="244" y="149"/>
                  <a:pt x="244" y="149"/>
                  <a:pt x="244" y="149"/>
                </a:cubicBezTo>
                <a:cubicBezTo>
                  <a:pt x="244" y="148"/>
                  <a:pt x="244" y="148"/>
                  <a:pt x="244" y="148"/>
                </a:cubicBezTo>
                <a:cubicBezTo>
                  <a:pt x="242" y="146"/>
                  <a:pt x="242" y="146"/>
                  <a:pt x="242" y="146"/>
                </a:cubicBezTo>
                <a:cubicBezTo>
                  <a:pt x="241" y="146"/>
                  <a:pt x="241" y="146"/>
                  <a:pt x="241" y="146"/>
                </a:cubicBezTo>
                <a:cubicBezTo>
                  <a:pt x="241" y="145"/>
                  <a:pt x="241" y="145"/>
                  <a:pt x="241" y="145"/>
                </a:cubicBezTo>
                <a:cubicBezTo>
                  <a:pt x="239" y="143"/>
                  <a:pt x="239" y="143"/>
                  <a:pt x="239" y="143"/>
                </a:cubicBezTo>
                <a:cubicBezTo>
                  <a:pt x="239" y="143"/>
                  <a:pt x="239" y="143"/>
                  <a:pt x="239" y="143"/>
                </a:cubicBezTo>
                <a:cubicBezTo>
                  <a:pt x="238" y="143"/>
                  <a:pt x="238" y="143"/>
                  <a:pt x="238" y="143"/>
                </a:cubicBezTo>
                <a:cubicBezTo>
                  <a:pt x="236" y="144"/>
                  <a:pt x="236" y="144"/>
                  <a:pt x="236" y="144"/>
                </a:cubicBezTo>
                <a:cubicBezTo>
                  <a:pt x="236" y="144"/>
                  <a:pt x="236" y="144"/>
                  <a:pt x="236" y="144"/>
                </a:cubicBezTo>
                <a:cubicBezTo>
                  <a:pt x="234" y="146"/>
                  <a:pt x="234" y="146"/>
                  <a:pt x="234" y="146"/>
                </a:cubicBezTo>
                <a:cubicBezTo>
                  <a:pt x="234" y="146"/>
                  <a:pt x="234" y="146"/>
                  <a:pt x="234" y="146"/>
                </a:cubicBezTo>
                <a:cubicBezTo>
                  <a:pt x="234" y="147"/>
                  <a:pt x="234" y="147"/>
                  <a:pt x="234" y="147"/>
                </a:cubicBezTo>
                <a:cubicBezTo>
                  <a:pt x="233" y="147"/>
                  <a:pt x="233" y="147"/>
                  <a:pt x="233" y="147"/>
                </a:cubicBezTo>
                <a:cubicBezTo>
                  <a:pt x="232" y="148"/>
                  <a:pt x="232" y="148"/>
                  <a:pt x="232" y="148"/>
                </a:cubicBezTo>
                <a:cubicBezTo>
                  <a:pt x="232" y="147"/>
                  <a:pt x="232" y="147"/>
                  <a:pt x="232" y="147"/>
                </a:cubicBezTo>
                <a:cubicBezTo>
                  <a:pt x="231" y="147"/>
                  <a:pt x="231" y="147"/>
                  <a:pt x="231" y="147"/>
                </a:cubicBezTo>
                <a:cubicBezTo>
                  <a:pt x="230" y="147"/>
                  <a:pt x="230" y="147"/>
                  <a:pt x="230" y="147"/>
                </a:cubicBezTo>
                <a:cubicBezTo>
                  <a:pt x="229" y="147"/>
                  <a:pt x="229" y="147"/>
                  <a:pt x="229" y="147"/>
                </a:cubicBezTo>
                <a:cubicBezTo>
                  <a:pt x="229" y="147"/>
                  <a:pt x="229" y="147"/>
                  <a:pt x="229" y="147"/>
                </a:cubicBezTo>
                <a:cubicBezTo>
                  <a:pt x="227" y="147"/>
                  <a:pt x="227" y="147"/>
                  <a:pt x="227" y="147"/>
                </a:cubicBezTo>
                <a:cubicBezTo>
                  <a:pt x="227" y="147"/>
                  <a:pt x="227" y="147"/>
                  <a:pt x="227" y="147"/>
                </a:cubicBezTo>
                <a:cubicBezTo>
                  <a:pt x="227" y="146"/>
                  <a:pt x="227" y="146"/>
                  <a:pt x="227" y="146"/>
                </a:cubicBezTo>
                <a:cubicBezTo>
                  <a:pt x="229" y="146"/>
                  <a:pt x="229" y="146"/>
                  <a:pt x="229" y="146"/>
                </a:cubicBezTo>
                <a:cubicBezTo>
                  <a:pt x="230" y="145"/>
                  <a:pt x="230" y="145"/>
                  <a:pt x="230" y="145"/>
                </a:cubicBezTo>
                <a:cubicBezTo>
                  <a:pt x="231" y="144"/>
                  <a:pt x="231" y="144"/>
                  <a:pt x="231" y="144"/>
                </a:cubicBezTo>
                <a:cubicBezTo>
                  <a:pt x="231" y="145"/>
                  <a:pt x="231" y="145"/>
                  <a:pt x="231" y="145"/>
                </a:cubicBezTo>
                <a:cubicBezTo>
                  <a:pt x="232" y="143"/>
                  <a:pt x="232" y="143"/>
                  <a:pt x="232" y="143"/>
                </a:cubicBezTo>
                <a:cubicBezTo>
                  <a:pt x="232" y="142"/>
                  <a:pt x="232" y="142"/>
                  <a:pt x="232" y="142"/>
                </a:cubicBezTo>
                <a:cubicBezTo>
                  <a:pt x="233" y="141"/>
                  <a:pt x="233" y="141"/>
                  <a:pt x="233" y="141"/>
                </a:cubicBezTo>
                <a:cubicBezTo>
                  <a:pt x="234" y="141"/>
                  <a:pt x="234" y="141"/>
                  <a:pt x="234" y="141"/>
                </a:cubicBezTo>
                <a:cubicBezTo>
                  <a:pt x="235" y="139"/>
                  <a:pt x="235" y="139"/>
                  <a:pt x="235" y="139"/>
                </a:cubicBezTo>
                <a:cubicBezTo>
                  <a:pt x="235" y="138"/>
                  <a:pt x="235" y="138"/>
                  <a:pt x="235" y="138"/>
                </a:cubicBezTo>
                <a:cubicBezTo>
                  <a:pt x="235" y="137"/>
                  <a:pt x="235" y="137"/>
                  <a:pt x="235" y="137"/>
                </a:cubicBezTo>
                <a:cubicBezTo>
                  <a:pt x="235" y="135"/>
                  <a:pt x="235" y="135"/>
                  <a:pt x="235" y="135"/>
                </a:cubicBezTo>
                <a:cubicBezTo>
                  <a:pt x="234" y="135"/>
                  <a:pt x="234" y="135"/>
                  <a:pt x="234" y="135"/>
                </a:cubicBezTo>
                <a:cubicBezTo>
                  <a:pt x="232" y="136"/>
                  <a:pt x="232" y="136"/>
                  <a:pt x="232" y="136"/>
                </a:cubicBezTo>
                <a:cubicBezTo>
                  <a:pt x="229" y="137"/>
                  <a:pt x="229" y="137"/>
                  <a:pt x="229" y="137"/>
                </a:cubicBezTo>
                <a:cubicBezTo>
                  <a:pt x="227" y="137"/>
                  <a:pt x="227" y="137"/>
                  <a:pt x="227" y="137"/>
                </a:cubicBezTo>
                <a:cubicBezTo>
                  <a:pt x="222" y="138"/>
                  <a:pt x="222" y="138"/>
                  <a:pt x="222" y="138"/>
                </a:cubicBezTo>
                <a:cubicBezTo>
                  <a:pt x="217" y="140"/>
                  <a:pt x="217" y="140"/>
                  <a:pt x="217" y="140"/>
                </a:cubicBezTo>
                <a:cubicBezTo>
                  <a:pt x="215" y="142"/>
                  <a:pt x="215" y="142"/>
                  <a:pt x="215" y="142"/>
                </a:cubicBezTo>
                <a:cubicBezTo>
                  <a:pt x="212" y="142"/>
                  <a:pt x="212" y="142"/>
                  <a:pt x="212" y="142"/>
                </a:cubicBezTo>
                <a:cubicBezTo>
                  <a:pt x="207" y="145"/>
                  <a:pt x="207" y="145"/>
                  <a:pt x="207" y="145"/>
                </a:cubicBezTo>
                <a:cubicBezTo>
                  <a:pt x="206" y="146"/>
                  <a:pt x="206" y="146"/>
                  <a:pt x="206" y="146"/>
                </a:cubicBezTo>
                <a:cubicBezTo>
                  <a:pt x="206" y="147"/>
                  <a:pt x="206" y="147"/>
                  <a:pt x="206" y="147"/>
                </a:cubicBezTo>
                <a:cubicBezTo>
                  <a:pt x="207" y="147"/>
                  <a:pt x="207" y="147"/>
                  <a:pt x="207" y="147"/>
                </a:cubicBezTo>
                <a:cubicBezTo>
                  <a:pt x="207" y="148"/>
                  <a:pt x="207" y="148"/>
                  <a:pt x="207" y="148"/>
                </a:cubicBezTo>
                <a:cubicBezTo>
                  <a:pt x="206" y="148"/>
                  <a:pt x="206" y="148"/>
                  <a:pt x="206" y="148"/>
                </a:cubicBezTo>
                <a:cubicBezTo>
                  <a:pt x="205" y="148"/>
                  <a:pt x="205" y="148"/>
                  <a:pt x="205" y="148"/>
                </a:cubicBezTo>
                <a:cubicBezTo>
                  <a:pt x="203" y="150"/>
                  <a:pt x="203" y="150"/>
                  <a:pt x="203" y="150"/>
                </a:cubicBezTo>
                <a:cubicBezTo>
                  <a:pt x="201" y="150"/>
                  <a:pt x="201" y="150"/>
                  <a:pt x="201" y="150"/>
                </a:cubicBezTo>
                <a:cubicBezTo>
                  <a:pt x="200" y="151"/>
                  <a:pt x="200" y="151"/>
                  <a:pt x="200" y="151"/>
                </a:cubicBezTo>
                <a:cubicBezTo>
                  <a:pt x="200" y="152"/>
                  <a:pt x="200" y="152"/>
                  <a:pt x="200" y="152"/>
                </a:cubicBezTo>
                <a:cubicBezTo>
                  <a:pt x="198" y="153"/>
                  <a:pt x="198" y="153"/>
                  <a:pt x="198" y="153"/>
                </a:cubicBezTo>
                <a:cubicBezTo>
                  <a:pt x="198" y="154"/>
                  <a:pt x="198" y="154"/>
                  <a:pt x="198" y="154"/>
                </a:cubicBezTo>
                <a:cubicBezTo>
                  <a:pt x="198" y="156"/>
                  <a:pt x="198" y="156"/>
                  <a:pt x="198" y="156"/>
                </a:cubicBezTo>
                <a:cubicBezTo>
                  <a:pt x="198" y="156"/>
                  <a:pt x="198" y="156"/>
                  <a:pt x="198" y="156"/>
                </a:cubicBezTo>
                <a:cubicBezTo>
                  <a:pt x="199" y="156"/>
                  <a:pt x="199" y="156"/>
                  <a:pt x="199" y="156"/>
                </a:cubicBezTo>
                <a:cubicBezTo>
                  <a:pt x="199" y="157"/>
                  <a:pt x="199" y="157"/>
                  <a:pt x="199" y="157"/>
                </a:cubicBezTo>
                <a:cubicBezTo>
                  <a:pt x="199" y="157"/>
                  <a:pt x="199" y="157"/>
                  <a:pt x="199" y="157"/>
                </a:cubicBezTo>
                <a:cubicBezTo>
                  <a:pt x="200" y="157"/>
                  <a:pt x="200" y="157"/>
                  <a:pt x="200" y="157"/>
                </a:cubicBezTo>
                <a:cubicBezTo>
                  <a:pt x="201" y="157"/>
                  <a:pt x="201" y="157"/>
                  <a:pt x="201" y="157"/>
                </a:cubicBezTo>
                <a:cubicBezTo>
                  <a:pt x="202" y="157"/>
                  <a:pt x="202" y="157"/>
                  <a:pt x="202" y="157"/>
                </a:cubicBezTo>
                <a:cubicBezTo>
                  <a:pt x="203" y="157"/>
                  <a:pt x="203" y="157"/>
                  <a:pt x="203" y="157"/>
                </a:cubicBezTo>
                <a:cubicBezTo>
                  <a:pt x="203" y="158"/>
                  <a:pt x="203" y="158"/>
                  <a:pt x="203" y="158"/>
                </a:cubicBezTo>
                <a:cubicBezTo>
                  <a:pt x="201" y="159"/>
                  <a:pt x="201" y="159"/>
                  <a:pt x="201" y="159"/>
                </a:cubicBezTo>
                <a:cubicBezTo>
                  <a:pt x="200" y="158"/>
                  <a:pt x="200" y="158"/>
                  <a:pt x="200" y="158"/>
                </a:cubicBezTo>
                <a:cubicBezTo>
                  <a:pt x="199" y="159"/>
                  <a:pt x="199" y="159"/>
                  <a:pt x="199" y="159"/>
                </a:cubicBezTo>
                <a:cubicBezTo>
                  <a:pt x="199" y="160"/>
                  <a:pt x="199" y="160"/>
                  <a:pt x="199" y="160"/>
                </a:cubicBezTo>
                <a:cubicBezTo>
                  <a:pt x="201" y="161"/>
                  <a:pt x="201" y="161"/>
                  <a:pt x="201" y="161"/>
                </a:cubicBezTo>
                <a:cubicBezTo>
                  <a:pt x="202" y="160"/>
                  <a:pt x="202" y="160"/>
                  <a:pt x="202" y="160"/>
                </a:cubicBezTo>
                <a:cubicBezTo>
                  <a:pt x="202" y="159"/>
                  <a:pt x="202" y="159"/>
                  <a:pt x="202" y="159"/>
                </a:cubicBezTo>
                <a:cubicBezTo>
                  <a:pt x="203" y="159"/>
                  <a:pt x="203" y="159"/>
                  <a:pt x="203" y="159"/>
                </a:cubicBezTo>
                <a:cubicBezTo>
                  <a:pt x="204" y="160"/>
                  <a:pt x="204" y="160"/>
                  <a:pt x="204" y="160"/>
                </a:cubicBezTo>
                <a:cubicBezTo>
                  <a:pt x="203" y="161"/>
                  <a:pt x="203" y="161"/>
                  <a:pt x="203" y="161"/>
                </a:cubicBezTo>
                <a:cubicBezTo>
                  <a:pt x="204" y="161"/>
                  <a:pt x="204" y="161"/>
                  <a:pt x="204" y="161"/>
                </a:cubicBezTo>
                <a:cubicBezTo>
                  <a:pt x="206" y="161"/>
                  <a:pt x="206" y="161"/>
                  <a:pt x="206" y="161"/>
                </a:cubicBezTo>
                <a:cubicBezTo>
                  <a:pt x="208" y="161"/>
                  <a:pt x="208" y="161"/>
                  <a:pt x="208" y="161"/>
                </a:cubicBezTo>
                <a:cubicBezTo>
                  <a:pt x="209" y="161"/>
                  <a:pt x="209" y="161"/>
                  <a:pt x="209" y="161"/>
                </a:cubicBezTo>
                <a:cubicBezTo>
                  <a:pt x="211" y="161"/>
                  <a:pt x="211" y="161"/>
                  <a:pt x="211" y="161"/>
                </a:cubicBezTo>
                <a:cubicBezTo>
                  <a:pt x="212" y="161"/>
                  <a:pt x="212" y="161"/>
                  <a:pt x="212" y="161"/>
                </a:cubicBezTo>
                <a:cubicBezTo>
                  <a:pt x="214" y="162"/>
                  <a:pt x="214" y="162"/>
                  <a:pt x="214" y="162"/>
                </a:cubicBezTo>
                <a:cubicBezTo>
                  <a:pt x="214" y="163"/>
                  <a:pt x="214" y="163"/>
                  <a:pt x="214" y="163"/>
                </a:cubicBezTo>
                <a:cubicBezTo>
                  <a:pt x="215" y="163"/>
                  <a:pt x="215" y="163"/>
                  <a:pt x="215" y="163"/>
                </a:cubicBezTo>
                <a:cubicBezTo>
                  <a:pt x="215" y="163"/>
                  <a:pt x="215" y="163"/>
                  <a:pt x="215" y="163"/>
                </a:cubicBezTo>
                <a:cubicBezTo>
                  <a:pt x="214" y="163"/>
                  <a:pt x="214" y="163"/>
                  <a:pt x="214" y="163"/>
                </a:cubicBezTo>
                <a:cubicBezTo>
                  <a:pt x="212" y="162"/>
                  <a:pt x="212" y="162"/>
                  <a:pt x="212" y="162"/>
                </a:cubicBezTo>
                <a:cubicBezTo>
                  <a:pt x="210" y="162"/>
                  <a:pt x="210" y="162"/>
                  <a:pt x="210" y="162"/>
                </a:cubicBezTo>
                <a:cubicBezTo>
                  <a:pt x="209" y="163"/>
                  <a:pt x="209" y="163"/>
                  <a:pt x="209" y="163"/>
                </a:cubicBezTo>
                <a:cubicBezTo>
                  <a:pt x="211" y="163"/>
                  <a:pt x="211" y="163"/>
                  <a:pt x="211" y="163"/>
                </a:cubicBezTo>
                <a:cubicBezTo>
                  <a:pt x="211" y="164"/>
                  <a:pt x="211" y="164"/>
                  <a:pt x="211" y="164"/>
                </a:cubicBezTo>
                <a:cubicBezTo>
                  <a:pt x="209" y="164"/>
                  <a:pt x="209" y="164"/>
                  <a:pt x="209" y="164"/>
                </a:cubicBezTo>
                <a:cubicBezTo>
                  <a:pt x="208" y="163"/>
                  <a:pt x="208" y="163"/>
                  <a:pt x="208" y="163"/>
                </a:cubicBezTo>
                <a:cubicBezTo>
                  <a:pt x="206" y="164"/>
                  <a:pt x="206" y="164"/>
                  <a:pt x="206" y="164"/>
                </a:cubicBezTo>
                <a:cubicBezTo>
                  <a:pt x="205" y="164"/>
                  <a:pt x="205" y="164"/>
                  <a:pt x="205" y="164"/>
                </a:cubicBezTo>
                <a:cubicBezTo>
                  <a:pt x="204" y="164"/>
                  <a:pt x="204" y="164"/>
                  <a:pt x="204" y="164"/>
                </a:cubicBezTo>
                <a:cubicBezTo>
                  <a:pt x="203" y="164"/>
                  <a:pt x="203" y="164"/>
                  <a:pt x="203" y="164"/>
                </a:cubicBezTo>
                <a:cubicBezTo>
                  <a:pt x="202" y="164"/>
                  <a:pt x="202" y="164"/>
                  <a:pt x="202" y="164"/>
                </a:cubicBezTo>
                <a:cubicBezTo>
                  <a:pt x="201" y="164"/>
                  <a:pt x="201" y="164"/>
                  <a:pt x="201" y="164"/>
                </a:cubicBezTo>
                <a:cubicBezTo>
                  <a:pt x="198" y="164"/>
                  <a:pt x="198" y="164"/>
                  <a:pt x="198" y="164"/>
                </a:cubicBezTo>
                <a:cubicBezTo>
                  <a:pt x="198" y="164"/>
                  <a:pt x="198" y="164"/>
                  <a:pt x="198" y="164"/>
                </a:cubicBezTo>
                <a:cubicBezTo>
                  <a:pt x="196" y="165"/>
                  <a:pt x="196" y="165"/>
                  <a:pt x="196" y="165"/>
                </a:cubicBezTo>
                <a:cubicBezTo>
                  <a:pt x="195" y="166"/>
                  <a:pt x="195" y="166"/>
                  <a:pt x="195" y="166"/>
                </a:cubicBezTo>
                <a:cubicBezTo>
                  <a:pt x="196" y="170"/>
                  <a:pt x="196" y="170"/>
                  <a:pt x="196" y="170"/>
                </a:cubicBezTo>
                <a:cubicBezTo>
                  <a:pt x="196" y="170"/>
                  <a:pt x="196" y="170"/>
                  <a:pt x="196" y="170"/>
                </a:cubicBezTo>
                <a:cubicBezTo>
                  <a:pt x="196" y="172"/>
                  <a:pt x="196" y="172"/>
                  <a:pt x="196" y="172"/>
                </a:cubicBezTo>
                <a:cubicBezTo>
                  <a:pt x="195" y="172"/>
                  <a:pt x="195" y="172"/>
                  <a:pt x="195" y="172"/>
                </a:cubicBezTo>
                <a:cubicBezTo>
                  <a:pt x="195" y="173"/>
                  <a:pt x="195" y="173"/>
                  <a:pt x="195" y="173"/>
                </a:cubicBezTo>
                <a:cubicBezTo>
                  <a:pt x="196" y="173"/>
                  <a:pt x="196" y="173"/>
                  <a:pt x="196" y="173"/>
                </a:cubicBezTo>
                <a:cubicBezTo>
                  <a:pt x="197" y="173"/>
                  <a:pt x="197" y="173"/>
                  <a:pt x="197" y="173"/>
                </a:cubicBezTo>
                <a:cubicBezTo>
                  <a:pt x="198" y="173"/>
                  <a:pt x="198" y="173"/>
                  <a:pt x="198" y="173"/>
                </a:cubicBezTo>
                <a:cubicBezTo>
                  <a:pt x="198" y="174"/>
                  <a:pt x="198" y="174"/>
                  <a:pt x="198" y="174"/>
                </a:cubicBezTo>
                <a:cubicBezTo>
                  <a:pt x="200" y="174"/>
                  <a:pt x="200" y="174"/>
                  <a:pt x="200" y="174"/>
                </a:cubicBezTo>
                <a:cubicBezTo>
                  <a:pt x="200" y="173"/>
                  <a:pt x="200" y="173"/>
                  <a:pt x="200" y="173"/>
                </a:cubicBezTo>
                <a:cubicBezTo>
                  <a:pt x="200" y="173"/>
                  <a:pt x="200" y="173"/>
                  <a:pt x="200" y="173"/>
                </a:cubicBezTo>
                <a:cubicBezTo>
                  <a:pt x="201" y="174"/>
                  <a:pt x="201" y="174"/>
                  <a:pt x="201" y="174"/>
                </a:cubicBezTo>
                <a:cubicBezTo>
                  <a:pt x="201" y="174"/>
                  <a:pt x="201" y="174"/>
                  <a:pt x="201" y="174"/>
                </a:cubicBezTo>
                <a:cubicBezTo>
                  <a:pt x="202" y="174"/>
                  <a:pt x="202" y="174"/>
                  <a:pt x="202" y="174"/>
                </a:cubicBezTo>
                <a:cubicBezTo>
                  <a:pt x="203" y="174"/>
                  <a:pt x="203" y="174"/>
                  <a:pt x="203" y="174"/>
                </a:cubicBezTo>
                <a:cubicBezTo>
                  <a:pt x="203" y="175"/>
                  <a:pt x="203" y="175"/>
                  <a:pt x="203" y="175"/>
                </a:cubicBezTo>
                <a:cubicBezTo>
                  <a:pt x="204" y="175"/>
                  <a:pt x="204" y="175"/>
                  <a:pt x="204" y="175"/>
                </a:cubicBezTo>
                <a:cubicBezTo>
                  <a:pt x="205" y="175"/>
                  <a:pt x="205" y="175"/>
                  <a:pt x="205" y="175"/>
                </a:cubicBezTo>
                <a:cubicBezTo>
                  <a:pt x="205" y="175"/>
                  <a:pt x="205" y="175"/>
                  <a:pt x="205" y="175"/>
                </a:cubicBezTo>
                <a:cubicBezTo>
                  <a:pt x="206" y="176"/>
                  <a:pt x="206" y="176"/>
                  <a:pt x="206" y="176"/>
                </a:cubicBezTo>
                <a:cubicBezTo>
                  <a:pt x="207" y="176"/>
                  <a:pt x="207" y="176"/>
                  <a:pt x="207" y="176"/>
                </a:cubicBezTo>
                <a:cubicBezTo>
                  <a:pt x="208" y="176"/>
                  <a:pt x="208" y="176"/>
                  <a:pt x="208" y="176"/>
                </a:cubicBezTo>
                <a:cubicBezTo>
                  <a:pt x="209" y="176"/>
                  <a:pt x="209" y="176"/>
                  <a:pt x="209" y="176"/>
                </a:cubicBezTo>
                <a:cubicBezTo>
                  <a:pt x="210" y="175"/>
                  <a:pt x="210" y="175"/>
                  <a:pt x="210" y="175"/>
                </a:cubicBezTo>
                <a:cubicBezTo>
                  <a:pt x="211" y="176"/>
                  <a:pt x="211" y="176"/>
                  <a:pt x="211" y="176"/>
                </a:cubicBezTo>
                <a:cubicBezTo>
                  <a:pt x="213" y="176"/>
                  <a:pt x="213" y="176"/>
                  <a:pt x="213" y="176"/>
                </a:cubicBezTo>
                <a:cubicBezTo>
                  <a:pt x="214" y="176"/>
                  <a:pt x="214" y="176"/>
                  <a:pt x="214" y="176"/>
                </a:cubicBezTo>
                <a:cubicBezTo>
                  <a:pt x="215" y="176"/>
                  <a:pt x="215" y="176"/>
                  <a:pt x="215" y="176"/>
                </a:cubicBezTo>
                <a:cubicBezTo>
                  <a:pt x="215" y="177"/>
                  <a:pt x="215" y="177"/>
                  <a:pt x="215" y="177"/>
                </a:cubicBezTo>
                <a:cubicBezTo>
                  <a:pt x="216" y="176"/>
                  <a:pt x="216" y="176"/>
                  <a:pt x="216" y="176"/>
                </a:cubicBezTo>
                <a:cubicBezTo>
                  <a:pt x="216" y="177"/>
                  <a:pt x="216" y="177"/>
                  <a:pt x="216" y="177"/>
                </a:cubicBezTo>
                <a:cubicBezTo>
                  <a:pt x="217" y="178"/>
                  <a:pt x="217" y="178"/>
                  <a:pt x="217" y="178"/>
                </a:cubicBezTo>
                <a:cubicBezTo>
                  <a:pt x="217" y="179"/>
                  <a:pt x="217" y="179"/>
                  <a:pt x="217" y="179"/>
                </a:cubicBezTo>
                <a:cubicBezTo>
                  <a:pt x="218" y="179"/>
                  <a:pt x="218" y="179"/>
                  <a:pt x="218" y="179"/>
                </a:cubicBezTo>
                <a:cubicBezTo>
                  <a:pt x="219" y="179"/>
                  <a:pt x="219" y="179"/>
                  <a:pt x="219" y="179"/>
                </a:cubicBezTo>
                <a:cubicBezTo>
                  <a:pt x="220" y="180"/>
                  <a:pt x="220" y="180"/>
                  <a:pt x="220" y="180"/>
                </a:cubicBezTo>
                <a:cubicBezTo>
                  <a:pt x="220" y="181"/>
                  <a:pt x="220" y="181"/>
                  <a:pt x="220" y="181"/>
                </a:cubicBezTo>
                <a:cubicBezTo>
                  <a:pt x="221" y="181"/>
                  <a:pt x="221" y="181"/>
                  <a:pt x="221" y="181"/>
                </a:cubicBezTo>
                <a:cubicBezTo>
                  <a:pt x="221" y="182"/>
                  <a:pt x="221" y="182"/>
                  <a:pt x="221" y="182"/>
                </a:cubicBezTo>
                <a:cubicBezTo>
                  <a:pt x="221" y="182"/>
                  <a:pt x="221" y="182"/>
                  <a:pt x="221" y="182"/>
                </a:cubicBezTo>
                <a:cubicBezTo>
                  <a:pt x="221" y="183"/>
                  <a:pt x="221" y="183"/>
                  <a:pt x="221" y="183"/>
                </a:cubicBezTo>
                <a:cubicBezTo>
                  <a:pt x="222" y="184"/>
                  <a:pt x="222" y="184"/>
                  <a:pt x="222" y="184"/>
                </a:cubicBezTo>
                <a:cubicBezTo>
                  <a:pt x="224" y="185"/>
                  <a:pt x="224" y="185"/>
                  <a:pt x="224" y="185"/>
                </a:cubicBezTo>
                <a:cubicBezTo>
                  <a:pt x="224" y="186"/>
                  <a:pt x="224" y="186"/>
                  <a:pt x="224" y="186"/>
                </a:cubicBezTo>
                <a:cubicBezTo>
                  <a:pt x="223" y="186"/>
                  <a:pt x="223" y="186"/>
                  <a:pt x="223" y="186"/>
                </a:cubicBezTo>
                <a:cubicBezTo>
                  <a:pt x="224" y="187"/>
                  <a:pt x="224" y="187"/>
                  <a:pt x="224" y="187"/>
                </a:cubicBezTo>
                <a:cubicBezTo>
                  <a:pt x="223" y="187"/>
                  <a:pt x="223" y="187"/>
                  <a:pt x="223" y="187"/>
                </a:cubicBezTo>
                <a:cubicBezTo>
                  <a:pt x="221" y="186"/>
                  <a:pt x="221" y="186"/>
                  <a:pt x="221" y="186"/>
                </a:cubicBezTo>
                <a:cubicBezTo>
                  <a:pt x="219" y="185"/>
                  <a:pt x="219" y="185"/>
                  <a:pt x="219" y="185"/>
                </a:cubicBezTo>
                <a:cubicBezTo>
                  <a:pt x="218" y="186"/>
                  <a:pt x="218" y="186"/>
                  <a:pt x="218" y="186"/>
                </a:cubicBezTo>
                <a:cubicBezTo>
                  <a:pt x="217" y="185"/>
                  <a:pt x="217" y="185"/>
                  <a:pt x="217" y="185"/>
                </a:cubicBezTo>
                <a:cubicBezTo>
                  <a:pt x="217" y="186"/>
                  <a:pt x="217" y="186"/>
                  <a:pt x="217" y="186"/>
                </a:cubicBezTo>
                <a:cubicBezTo>
                  <a:pt x="216" y="186"/>
                  <a:pt x="216" y="186"/>
                  <a:pt x="216" y="186"/>
                </a:cubicBezTo>
                <a:cubicBezTo>
                  <a:pt x="215" y="185"/>
                  <a:pt x="215" y="185"/>
                  <a:pt x="215" y="185"/>
                </a:cubicBezTo>
                <a:cubicBezTo>
                  <a:pt x="214" y="185"/>
                  <a:pt x="214" y="185"/>
                  <a:pt x="214" y="185"/>
                </a:cubicBezTo>
                <a:cubicBezTo>
                  <a:pt x="214" y="184"/>
                  <a:pt x="214" y="184"/>
                  <a:pt x="214" y="184"/>
                </a:cubicBezTo>
                <a:cubicBezTo>
                  <a:pt x="213" y="183"/>
                  <a:pt x="213" y="183"/>
                  <a:pt x="213" y="183"/>
                </a:cubicBezTo>
                <a:cubicBezTo>
                  <a:pt x="212" y="184"/>
                  <a:pt x="212" y="184"/>
                  <a:pt x="212" y="184"/>
                </a:cubicBezTo>
                <a:cubicBezTo>
                  <a:pt x="211" y="183"/>
                  <a:pt x="211" y="183"/>
                  <a:pt x="211" y="183"/>
                </a:cubicBezTo>
                <a:cubicBezTo>
                  <a:pt x="210" y="183"/>
                  <a:pt x="210" y="183"/>
                  <a:pt x="210" y="183"/>
                </a:cubicBezTo>
                <a:cubicBezTo>
                  <a:pt x="209" y="182"/>
                  <a:pt x="209" y="182"/>
                  <a:pt x="209" y="182"/>
                </a:cubicBezTo>
                <a:cubicBezTo>
                  <a:pt x="209" y="181"/>
                  <a:pt x="209" y="181"/>
                  <a:pt x="209" y="181"/>
                </a:cubicBezTo>
                <a:cubicBezTo>
                  <a:pt x="208" y="181"/>
                  <a:pt x="208" y="181"/>
                  <a:pt x="208" y="181"/>
                </a:cubicBezTo>
                <a:cubicBezTo>
                  <a:pt x="208" y="181"/>
                  <a:pt x="208" y="181"/>
                  <a:pt x="208" y="181"/>
                </a:cubicBezTo>
                <a:cubicBezTo>
                  <a:pt x="206" y="181"/>
                  <a:pt x="206" y="181"/>
                  <a:pt x="206" y="181"/>
                </a:cubicBezTo>
                <a:cubicBezTo>
                  <a:pt x="206" y="181"/>
                  <a:pt x="206" y="181"/>
                  <a:pt x="206" y="181"/>
                </a:cubicBezTo>
                <a:cubicBezTo>
                  <a:pt x="203" y="181"/>
                  <a:pt x="203" y="181"/>
                  <a:pt x="203" y="181"/>
                </a:cubicBezTo>
                <a:cubicBezTo>
                  <a:pt x="201" y="181"/>
                  <a:pt x="201" y="181"/>
                  <a:pt x="201" y="181"/>
                </a:cubicBezTo>
                <a:cubicBezTo>
                  <a:pt x="200" y="180"/>
                  <a:pt x="200" y="180"/>
                  <a:pt x="200" y="180"/>
                </a:cubicBezTo>
                <a:cubicBezTo>
                  <a:pt x="195" y="180"/>
                  <a:pt x="195" y="180"/>
                  <a:pt x="195" y="180"/>
                </a:cubicBezTo>
                <a:cubicBezTo>
                  <a:pt x="194" y="181"/>
                  <a:pt x="194" y="181"/>
                  <a:pt x="194" y="181"/>
                </a:cubicBezTo>
                <a:cubicBezTo>
                  <a:pt x="193" y="181"/>
                  <a:pt x="193" y="181"/>
                  <a:pt x="193" y="181"/>
                </a:cubicBezTo>
                <a:cubicBezTo>
                  <a:pt x="192" y="182"/>
                  <a:pt x="192" y="182"/>
                  <a:pt x="192" y="182"/>
                </a:cubicBezTo>
                <a:cubicBezTo>
                  <a:pt x="192" y="184"/>
                  <a:pt x="192" y="184"/>
                  <a:pt x="192" y="184"/>
                </a:cubicBezTo>
                <a:cubicBezTo>
                  <a:pt x="191" y="186"/>
                  <a:pt x="191" y="186"/>
                  <a:pt x="191" y="186"/>
                </a:cubicBezTo>
                <a:cubicBezTo>
                  <a:pt x="191" y="188"/>
                  <a:pt x="191" y="188"/>
                  <a:pt x="191" y="188"/>
                </a:cubicBezTo>
                <a:cubicBezTo>
                  <a:pt x="191" y="188"/>
                  <a:pt x="191" y="188"/>
                  <a:pt x="191" y="188"/>
                </a:cubicBezTo>
                <a:cubicBezTo>
                  <a:pt x="191" y="189"/>
                  <a:pt x="191" y="189"/>
                  <a:pt x="191" y="189"/>
                </a:cubicBezTo>
                <a:cubicBezTo>
                  <a:pt x="192" y="189"/>
                  <a:pt x="192" y="189"/>
                  <a:pt x="192" y="189"/>
                </a:cubicBezTo>
                <a:cubicBezTo>
                  <a:pt x="192" y="190"/>
                  <a:pt x="192" y="190"/>
                  <a:pt x="192" y="190"/>
                </a:cubicBezTo>
                <a:cubicBezTo>
                  <a:pt x="191" y="190"/>
                  <a:pt x="191" y="190"/>
                  <a:pt x="191" y="190"/>
                </a:cubicBezTo>
                <a:cubicBezTo>
                  <a:pt x="192" y="193"/>
                  <a:pt x="192" y="193"/>
                  <a:pt x="192" y="193"/>
                </a:cubicBezTo>
                <a:cubicBezTo>
                  <a:pt x="193" y="194"/>
                  <a:pt x="193" y="194"/>
                  <a:pt x="193" y="194"/>
                </a:cubicBezTo>
                <a:cubicBezTo>
                  <a:pt x="194" y="194"/>
                  <a:pt x="194" y="194"/>
                  <a:pt x="194" y="194"/>
                </a:cubicBezTo>
                <a:cubicBezTo>
                  <a:pt x="195" y="195"/>
                  <a:pt x="195" y="195"/>
                  <a:pt x="195" y="195"/>
                </a:cubicBezTo>
                <a:cubicBezTo>
                  <a:pt x="196" y="196"/>
                  <a:pt x="196" y="196"/>
                  <a:pt x="196" y="196"/>
                </a:cubicBezTo>
                <a:cubicBezTo>
                  <a:pt x="197" y="196"/>
                  <a:pt x="197" y="196"/>
                  <a:pt x="197" y="196"/>
                </a:cubicBezTo>
                <a:cubicBezTo>
                  <a:pt x="198" y="196"/>
                  <a:pt x="198" y="196"/>
                  <a:pt x="198" y="196"/>
                </a:cubicBezTo>
                <a:cubicBezTo>
                  <a:pt x="198" y="197"/>
                  <a:pt x="198" y="197"/>
                  <a:pt x="198" y="197"/>
                </a:cubicBezTo>
                <a:cubicBezTo>
                  <a:pt x="200" y="196"/>
                  <a:pt x="200" y="196"/>
                  <a:pt x="200" y="196"/>
                </a:cubicBezTo>
                <a:cubicBezTo>
                  <a:pt x="200" y="196"/>
                  <a:pt x="200" y="196"/>
                  <a:pt x="200" y="196"/>
                </a:cubicBezTo>
                <a:cubicBezTo>
                  <a:pt x="201" y="197"/>
                  <a:pt x="201" y="197"/>
                  <a:pt x="201" y="197"/>
                </a:cubicBezTo>
                <a:cubicBezTo>
                  <a:pt x="203" y="197"/>
                  <a:pt x="203" y="197"/>
                  <a:pt x="203" y="197"/>
                </a:cubicBezTo>
                <a:cubicBezTo>
                  <a:pt x="203" y="198"/>
                  <a:pt x="203" y="198"/>
                  <a:pt x="203" y="198"/>
                </a:cubicBezTo>
                <a:cubicBezTo>
                  <a:pt x="204" y="199"/>
                  <a:pt x="204" y="199"/>
                  <a:pt x="204" y="199"/>
                </a:cubicBezTo>
                <a:cubicBezTo>
                  <a:pt x="204" y="199"/>
                  <a:pt x="204" y="199"/>
                  <a:pt x="204" y="199"/>
                </a:cubicBezTo>
                <a:cubicBezTo>
                  <a:pt x="203" y="200"/>
                  <a:pt x="203" y="200"/>
                  <a:pt x="203" y="200"/>
                </a:cubicBezTo>
                <a:cubicBezTo>
                  <a:pt x="203" y="201"/>
                  <a:pt x="203" y="201"/>
                  <a:pt x="203" y="201"/>
                </a:cubicBezTo>
                <a:cubicBezTo>
                  <a:pt x="203" y="201"/>
                  <a:pt x="203" y="201"/>
                  <a:pt x="203" y="201"/>
                </a:cubicBezTo>
                <a:cubicBezTo>
                  <a:pt x="203" y="202"/>
                  <a:pt x="203" y="202"/>
                  <a:pt x="203" y="202"/>
                </a:cubicBezTo>
                <a:cubicBezTo>
                  <a:pt x="202" y="203"/>
                  <a:pt x="202" y="203"/>
                  <a:pt x="202" y="203"/>
                </a:cubicBezTo>
                <a:cubicBezTo>
                  <a:pt x="201" y="203"/>
                  <a:pt x="201" y="203"/>
                  <a:pt x="201" y="203"/>
                </a:cubicBezTo>
                <a:cubicBezTo>
                  <a:pt x="201" y="204"/>
                  <a:pt x="201" y="204"/>
                  <a:pt x="201" y="204"/>
                </a:cubicBezTo>
                <a:cubicBezTo>
                  <a:pt x="200" y="205"/>
                  <a:pt x="200" y="205"/>
                  <a:pt x="200" y="205"/>
                </a:cubicBezTo>
                <a:cubicBezTo>
                  <a:pt x="201" y="205"/>
                  <a:pt x="201" y="205"/>
                  <a:pt x="201" y="205"/>
                </a:cubicBezTo>
                <a:cubicBezTo>
                  <a:pt x="201" y="207"/>
                  <a:pt x="201" y="207"/>
                  <a:pt x="201" y="207"/>
                </a:cubicBezTo>
                <a:cubicBezTo>
                  <a:pt x="202" y="208"/>
                  <a:pt x="202" y="208"/>
                  <a:pt x="202" y="208"/>
                </a:cubicBezTo>
                <a:cubicBezTo>
                  <a:pt x="202" y="209"/>
                  <a:pt x="202" y="209"/>
                  <a:pt x="202" y="209"/>
                </a:cubicBezTo>
                <a:cubicBezTo>
                  <a:pt x="200" y="209"/>
                  <a:pt x="200" y="209"/>
                  <a:pt x="200" y="209"/>
                </a:cubicBezTo>
                <a:cubicBezTo>
                  <a:pt x="201" y="210"/>
                  <a:pt x="201" y="210"/>
                  <a:pt x="201" y="210"/>
                </a:cubicBezTo>
                <a:cubicBezTo>
                  <a:pt x="203" y="210"/>
                  <a:pt x="203" y="210"/>
                  <a:pt x="203" y="210"/>
                </a:cubicBezTo>
                <a:cubicBezTo>
                  <a:pt x="204" y="210"/>
                  <a:pt x="204" y="210"/>
                  <a:pt x="204" y="210"/>
                </a:cubicBezTo>
                <a:cubicBezTo>
                  <a:pt x="204" y="210"/>
                  <a:pt x="204" y="210"/>
                  <a:pt x="204" y="210"/>
                </a:cubicBezTo>
                <a:cubicBezTo>
                  <a:pt x="205" y="211"/>
                  <a:pt x="205" y="211"/>
                  <a:pt x="205" y="211"/>
                </a:cubicBezTo>
                <a:cubicBezTo>
                  <a:pt x="205" y="210"/>
                  <a:pt x="205" y="210"/>
                  <a:pt x="205" y="210"/>
                </a:cubicBezTo>
                <a:cubicBezTo>
                  <a:pt x="206" y="210"/>
                  <a:pt x="206" y="210"/>
                  <a:pt x="206" y="210"/>
                </a:cubicBezTo>
                <a:cubicBezTo>
                  <a:pt x="206" y="210"/>
                  <a:pt x="206" y="210"/>
                  <a:pt x="206" y="210"/>
                </a:cubicBezTo>
                <a:cubicBezTo>
                  <a:pt x="208" y="210"/>
                  <a:pt x="208" y="210"/>
                  <a:pt x="208" y="210"/>
                </a:cubicBezTo>
                <a:cubicBezTo>
                  <a:pt x="210" y="211"/>
                  <a:pt x="210" y="211"/>
                  <a:pt x="210" y="211"/>
                </a:cubicBezTo>
                <a:cubicBezTo>
                  <a:pt x="211" y="210"/>
                  <a:pt x="211" y="210"/>
                  <a:pt x="211" y="210"/>
                </a:cubicBezTo>
                <a:cubicBezTo>
                  <a:pt x="212" y="210"/>
                  <a:pt x="212" y="210"/>
                  <a:pt x="212" y="210"/>
                </a:cubicBezTo>
                <a:cubicBezTo>
                  <a:pt x="213" y="211"/>
                  <a:pt x="213" y="211"/>
                  <a:pt x="213" y="211"/>
                </a:cubicBezTo>
                <a:cubicBezTo>
                  <a:pt x="213" y="211"/>
                  <a:pt x="213" y="211"/>
                  <a:pt x="213" y="211"/>
                </a:cubicBezTo>
                <a:cubicBezTo>
                  <a:pt x="213" y="211"/>
                  <a:pt x="213" y="211"/>
                  <a:pt x="213" y="211"/>
                </a:cubicBezTo>
                <a:cubicBezTo>
                  <a:pt x="214" y="210"/>
                  <a:pt x="214" y="210"/>
                  <a:pt x="214" y="210"/>
                </a:cubicBezTo>
                <a:cubicBezTo>
                  <a:pt x="215" y="211"/>
                  <a:pt x="215" y="211"/>
                  <a:pt x="215" y="211"/>
                </a:cubicBezTo>
                <a:cubicBezTo>
                  <a:pt x="215" y="211"/>
                  <a:pt x="215" y="211"/>
                  <a:pt x="215" y="211"/>
                </a:cubicBezTo>
                <a:cubicBezTo>
                  <a:pt x="216" y="211"/>
                  <a:pt x="216" y="211"/>
                  <a:pt x="216" y="211"/>
                </a:cubicBezTo>
                <a:cubicBezTo>
                  <a:pt x="216" y="211"/>
                  <a:pt x="216" y="211"/>
                  <a:pt x="216" y="211"/>
                </a:cubicBezTo>
                <a:cubicBezTo>
                  <a:pt x="217" y="211"/>
                  <a:pt x="217" y="211"/>
                  <a:pt x="217" y="211"/>
                </a:cubicBezTo>
                <a:cubicBezTo>
                  <a:pt x="217" y="212"/>
                  <a:pt x="217" y="212"/>
                  <a:pt x="217" y="212"/>
                </a:cubicBezTo>
                <a:cubicBezTo>
                  <a:pt x="218" y="212"/>
                  <a:pt x="218" y="212"/>
                  <a:pt x="218" y="212"/>
                </a:cubicBezTo>
                <a:cubicBezTo>
                  <a:pt x="218" y="212"/>
                  <a:pt x="218" y="212"/>
                  <a:pt x="218" y="212"/>
                </a:cubicBezTo>
                <a:cubicBezTo>
                  <a:pt x="220" y="212"/>
                  <a:pt x="220" y="212"/>
                  <a:pt x="220" y="212"/>
                </a:cubicBezTo>
                <a:cubicBezTo>
                  <a:pt x="220" y="211"/>
                  <a:pt x="220" y="211"/>
                  <a:pt x="220" y="211"/>
                </a:cubicBezTo>
                <a:cubicBezTo>
                  <a:pt x="222" y="210"/>
                  <a:pt x="222" y="210"/>
                  <a:pt x="222" y="210"/>
                </a:cubicBezTo>
                <a:cubicBezTo>
                  <a:pt x="222" y="210"/>
                  <a:pt x="222" y="210"/>
                  <a:pt x="222" y="210"/>
                </a:cubicBezTo>
                <a:cubicBezTo>
                  <a:pt x="224" y="209"/>
                  <a:pt x="224" y="209"/>
                  <a:pt x="224" y="209"/>
                </a:cubicBezTo>
                <a:cubicBezTo>
                  <a:pt x="225" y="209"/>
                  <a:pt x="225" y="209"/>
                  <a:pt x="225" y="209"/>
                </a:cubicBezTo>
                <a:cubicBezTo>
                  <a:pt x="226" y="208"/>
                  <a:pt x="226" y="208"/>
                  <a:pt x="226" y="208"/>
                </a:cubicBezTo>
                <a:cubicBezTo>
                  <a:pt x="227" y="208"/>
                  <a:pt x="227" y="208"/>
                  <a:pt x="227" y="208"/>
                </a:cubicBezTo>
                <a:cubicBezTo>
                  <a:pt x="227" y="208"/>
                  <a:pt x="227" y="208"/>
                  <a:pt x="227" y="208"/>
                </a:cubicBezTo>
                <a:cubicBezTo>
                  <a:pt x="229" y="208"/>
                  <a:pt x="229" y="208"/>
                  <a:pt x="229" y="208"/>
                </a:cubicBezTo>
                <a:cubicBezTo>
                  <a:pt x="229" y="208"/>
                  <a:pt x="229" y="208"/>
                  <a:pt x="229" y="208"/>
                </a:cubicBezTo>
                <a:cubicBezTo>
                  <a:pt x="230" y="208"/>
                  <a:pt x="230" y="208"/>
                  <a:pt x="230" y="208"/>
                </a:cubicBezTo>
                <a:cubicBezTo>
                  <a:pt x="233" y="208"/>
                  <a:pt x="233" y="208"/>
                  <a:pt x="233" y="208"/>
                </a:cubicBezTo>
                <a:cubicBezTo>
                  <a:pt x="235" y="207"/>
                  <a:pt x="235" y="207"/>
                  <a:pt x="235" y="207"/>
                </a:cubicBezTo>
                <a:cubicBezTo>
                  <a:pt x="236" y="206"/>
                  <a:pt x="236" y="206"/>
                  <a:pt x="236" y="206"/>
                </a:cubicBezTo>
                <a:cubicBezTo>
                  <a:pt x="236" y="206"/>
                  <a:pt x="236" y="206"/>
                  <a:pt x="236" y="206"/>
                </a:cubicBezTo>
                <a:cubicBezTo>
                  <a:pt x="236" y="206"/>
                  <a:pt x="236" y="206"/>
                  <a:pt x="236" y="206"/>
                </a:cubicBezTo>
                <a:cubicBezTo>
                  <a:pt x="237" y="206"/>
                  <a:pt x="237" y="206"/>
                  <a:pt x="237" y="206"/>
                </a:cubicBezTo>
                <a:cubicBezTo>
                  <a:pt x="238" y="205"/>
                  <a:pt x="238" y="205"/>
                  <a:pt x="238" y="205"/>
                </a:cubicBezTo>
                <a:cubicBezTo>
                  <a:pt x="238" y="204"/>
                  <a:pt x="238" y="204"/>
                  <a:pt x="238" y="204"/>
                </a:cubicBezTo>
                <a:cubicBezTo>
                  <a:pt x="238" y="204"/>
                  <a:pt x="238" y="204"/>
                  <a:pt x="238" y="204"/>
                </a:cubicBezTo>
                <a:cubicBezTo>
                  <a:pt x="239" y="204"/>
                  <a:pt x="239" y="204"/>
                  <a:pt x="239" y="204"/>
                </a:cubicBezTo>
                <a:cubicBezTo>
                  <a:pt x="239" y="204"/>
                  <a:pt x="239" y="204"/>
                  <a:pt x="239" y="204"/>
                </a:cubicBezTo>
                <a:cubicBezTo>
                  <a:pt x="240" y="203"/>
                  <a:pt x="240" y="203"/>
                  <a:pt x="240" y="203"/>
                </a:cubicBezTo>
                <a:cubicBezTo>
                  <a:pt x="240" y="203"/>
                  <a:pt x="240" y="203"/>
                  <a:pt x="240" y="203"/>
                </a:cubicBezTo>
                <a:cubicBezTo>
                  <a:pt x="240" y="203"/>
                  <a:pt x="240" y="203"/>
                  <a:pt x="240" y="203"/>
                </a:cubicBezTo>
                <a:cubicBezTo>
                  <a:pt x="241" y="203"/>
                  <a:pt x="241" y="203"/>
                  <a:pt x="241" y="203"/>
                </a:cubicBezTo>
                <a:cubicBezTo>
                  <a:pt x="241" y="203"/>
                  <a:pt x="241" y="203"/>
                  <a:pt x="241" y="203"/>
                </a:cubicBezTo>
                <a:cubicBezTo>
                  <a:pt x="241" y="204"/>
                  <a:pt x="241" y="204"/>
                  <a:pt x="241" y="204"/>
                </a:cubicBezTo>
                <a:cubicBezTo>
                  <a:pt x="242" y="205"/>
                  <a:pt x="242" y="205"/>
                  <a:pt x="242" y="205"/>
                </a:cubicBezTo>
                <a:cubicBezTo>
                  <a:pt x="241" y="205"/>
                  <a:pt x="241" y="205"/>
                  <a:pt x="241" y="205"/>
                </a:cubicBezTo>
                <a:cubicBezTo>
                  <a:pt x="241" y="206"/>
                  <a:pt x="241" y="206"/>
                  <a:pt x="241" y="206"/>
                </a:cubicBezTo>
                <a:cubicBezTo>
                  <a:pt x="240" y="207"/>
                  <a:pt x="240" y="207"/>
                  <a:pt x="240" y="207"/>
                </a:cubicBezTo>
                <a:cubicBezTo>
                  <a:pt x="240" y="207"/>
                  <a:pt x="240" y="207"/>
                  <a:pt x="240" y="207"/>
                </a:cubicBezTo>
                <a:cubicBezTo>
                  <a:pt x="240" y="208"/>
                  <a:pt x="240" y="208"/>
                  <a:pt x="240" y="208"/>
                </a:cubicBezTo>
                <a:cubicBezTo>
                  <a:pt x="240" y="208"/>
                  <a:pt x="240" y="208"/>
                  <a:pt x="240" y="208"/>
                </a:cubicBezTo>
                <a:cubicBezTo>
                  <a:pt x="241" y="209"/>
                  <a:pt x="241" y="209"/>
                  <a:pt x="241" y="209"/>
                </a:cubicBezTo>
                <a:cubicBezTo>
                  <a:pt x="242" y="208"/>
                  <a:pt x="242" y="208"/>
                  <a:pt x="242" y="208"/>
                </a:cubicBezTo>
                <a:cubicBezTo>
                  <a:pt x="243" y="208"/>
                  <a:pt x="243" y="208"/>
                  <a:pt x="243" y="208"/>
                </a:cubicBezTo>
                <a:cubicBezTo>
                  <a:pt x="244" y="209"/>
                  <a:pt x="244" y="209"/>
                  <a:pt x="244" y="209"/>
                </a:cubicBezTo>
                <a:cubicBezTo>
                  <a:pt x="244" y="210"/>
                  <a:pt x="244" y="210"/>
                  <a:pt x="244" y="210"/>
                </a:cubicBezTo>
                <a:cubicBezTo>
                  <a:pt x="244" y="210"/>
                  <a:pt x="244" y="210"/>
                  <a:pt x="244" y="210"/>
                </a:cubicBezTo>
                <a:cubicBezTo>
                  <a:pt x="245" y="210"/>
                  <a:pt x="245" y="210"/>
                  <a:pt x="245" y="210"/>
                </a:cubicBezTo>
                <a:cubicBezTo>
                  <a:pt x="245" y="209"/>
                  <a:pt x="245" y="209"/>
                  <a:pt x="245" y="209"/>
                </a:cubicBezTo>
                <a:cubicBezTo>
                  <a:pt x="246" y="210"/>
                  <a:pt x="246" y="210"/>
                  <a:pt x="246" y="210"/>
                </a:cubicBezTo>
                <a:cubicBezTo>
                  <a:pt x="246" y="211"/>
                  <a:pt x="246" y="211"/>
                  <a:pt x="246" y="211"/>
                </a:cubicBezTo>
                <a:cubicBezTo>
                  <a:pt x="245" y="211"/>
                  <a:pt x="245" y="211"/>
                  <a:pt x="245" y="211"/>
                </a:cubicBezTo>
                <a:cubicBezTo>
                  <a:pt x="244" y="211"/>
                  <a:pt x="244" y="211"/>
                  <a:pt x="244" y="211"/>
                </a:cubicBezTo>
                <a:cubicBezTo>
                  <a:pt x="243" y="212"/>
                  <a:pt x="243" y="212"/>
                  <a:pt x="243" y="212"/>
                </a:cubicBezTo>
                <a:cubicBezTo>
                  <a:pt x="243" y="213"/>
                  <a:pt x="243" y="213"/>
                  <a:pt x="243" y="213"/>
                </a:cubicBezTo>
                <a:cubicBezTo>
                  <a:pt x="244" y="213"/>
                  <a:pt x="244" y="213"/>
                  <a:pt x="244" y="213"/>
                </a:cubicBezTo>
                <a:cubicBezTo>
                  <a:pt x="245" y="213"/>
                  <a:pt x="245" y="213"/>
                  <a:pt x="245" y="213"/>
                </a:cubicBezTo>
                <a:cubicBezTo>
                  <a:pt x="246" y="214"/>
                  <a:pt x="246" y="214"/>
                  <a:pt x="246" y="214"/>
                </a:cubicBezTo>
                <a:cubicBezTo>
                  <a:pt x="247" y="213"/>
                  <a:pt x="247" y="213"/>
                  <a:pt x="247" y="213"/>
                </a:cubicBezTo>
                <a:cubicBezTo>
                  <a:pt x="248" y="212"/>
                  <a:pt x="248" y="212"/>
                  <a:pt x="248" y="212"/>
                </a:cubicBezTo>
                <a:cubicBezTo>
                  <a:pt x="248" y="212"/>
                  <a:pt x="248" y="212"/>
                  <a:pt x="248" y="212"/>
                </a:cubicBezTo>
                <a:cubicBezTo>
                  <a:pt x="248" y="213"/>
                  <a:pt x="248" y="213"/>
                  <a:pt x="248" y="213"/>
                </a:cubicBezTo>
                <a:cubicBezTo>
                  <a:pt x="249" y="214"/>
                  <a:pt x="249" y="214"/>
                  <a:pt x="249" y="214"/>
                </a:cubicBezTo>
                <a:cubicBezTo>
                  <a:pt x="249" y="215"/>
                  <a:pt x="249" y="215"/>
                  <a:pt x="249" y="215"/>
                </a:cubicBezTo>
                <a:cubicBezTo>
                  <a:pt x="250" y="214"/>
                  <a:pt x="250" y="214"/>
                  <a:pt x="250" y="214"/>
                </a:cubicBezTo>
                <a:cubicBezTo>
                  <a:pt x="251" y="214"/>
                  <a:pt x="251" y="214"/>
                  <a:pt x="251" y="214"/>
                </a:cubicBezTo>
                <a:cubicBezTo>
                  <a:pt x="251" y="215"/>
                  <a:pt x="251" y="215"/>
                  <a:pt x="251" y="215"/>
                </a:cubicBezTo>
                <a:cubicBezTo>
                  <a:pt x="252" y="215"/>
                  <a:pt x="252" y="215"/>
                  <a:pt x="252" y="215"/>
                </a:cubicBezTo>
                <a:cubicBezTo>
                  <a:pt x="253" y="216"/>
                  <a:pt x="253" y="216"/>
                  <a:pt x="253" y="216"/>
                </a:cubicBezTo>
                <a:cubicBezTo>
                  <a:pt x="253" y="216"/>
                  <a:pt x="253" y="216"/>
                  <a:pt x="253" y="216"/>
                </a:cubicBezTo>
                <a:cubicBezTo>
                  <a:pt x="253" y="215"/>
                  <a:pt x="253" y="215"/>
                  <a:pt x="253" y="215"/>
                </a:cubicBezTo>
                <a:cubicBezTo>
                  <a:pt x="254" y="215"/>
                  <a:pt x="254" y="215"/>
                  <a:pt x="254" y="215"/>
                </a:cubicBezTo>
                <a:cubicBezTo>
                  <a:pt x="255" y="215"/>
                  <a:pt x="255" y="215"/>
                  <a:pt x="255" y="215"/>
                </a:cubicBezTo>
                <a:cubicBezTo>
                  <a:pt x="255" y="215"/>
                  <a:pt x="255" y="215"/>
                  <a:pt x="255" y="215"/>
                </a:cubicBezTo>
                <a:cubicBezTo>
                  <a:pt x="255" y="216"/>
                  <a:pt x="255" y="216"/>
                  <a:pt x="255" y="216"/>
                </a:cubicBezTo>
                <a:cubicBezTo>
                  <a:pt x="256" y="216"/>
                  <a:pt x="256" y="216"/>
                  <a:pt x="256" y="216"/>
                </a:cubicBezTo>
                <a:cubicBezTo>
                  <a:pt x="257" y="216"/>
                  <a:pt x="257" y="216"/>
                  <a:pt x="257" y="216"/>
                </a:cubicBezTo>
                <a:cubicBezTo>
                  <a:pt x="257" y="215"/>
                  <a:pt x="257" y="215"/>
                  <a:pt x="257" y="215"/>
                </a:cubicBezTo>
                <a:cubicBezTo>
                  <a:pt x="258" y="215"/>
                  <a:pt x="258" y="215"/>
                  <a:pt x="258" y="215"/>
                </a:cubicBezTo>
                <a:cubicBezTo>
                  <a:pt x="258" y="216"/>
                  <a:pt x="258" y="216"/>
                  <a:pt x="258" y="216"/>
                </a:cubicBezTo>
                <a:cubicBezTo>
                  <a:pt x="258" y="216"/>
                  <a:pt x="258" y="216"/>
                  <a:pt x="258" y="216"/>
                </a:cubicBezTo>
                <a:cubicBezTo>
                  <a:pt x="259" y="215"/>
                  <a:pt x="259" y="215"/>
                  <a:pt x="259" y="215"/>
                </a:cubicBezTo>
                <a:cubicBezTo>
                  <a:pt x="259" y="215"/>
                  <a:pt x="259" y="215"/>
                  <a:pt x="259" y="215"/>
                </a:cubicBezTo>
                <a:cubicBezTo>
                  <a:pt x="260" y="215"/>
                  <a:pt x="260" y="215"/>
                  <a:pt x="260" y="215"/>
                </a:cubicBezTo>
                <a:cubicBezTo>
                  <a:pt x="261" y="215"/>
                  <a:pt x="261" y="215"/>
                  <a:pt x="261" y="215"/>
                </a:cubicBezTo>
                <a:cubicBezTo>
                  <a:pt x="261" y="215"/>
                  <a:pt x="261" y="215"/>
                  <a:pt x="261" y="215"/>
                </a:cubicBezTo>
                <a:cubicBezTo>
                  <a:pt x="261" y="215"/>
                  <a:pt x="261" y="215"/>
                  <a:pt x="261" y="215"/>
                </a:cubicBezTo>
                <a:cubicBezTo>
                  <a:pt x="262" y="215"/>
                  <a:pt x="262" y="215"/>
                  <a:pt x="262" y="215"/>
                </a:cubicBezTo>
                <a:close/>
                <a:moveTo>
                  <a:pt x="379" y="259"/>
                </a:moveTo>
                <a:cubicBezTo>
                  <a:pt x="380" y="258"/>
                  <a:pt x="380" y="258"/>
                  <a:pt x="380" y="258"/>
                </a:cubicBezTo>
                <a:cubicBezTo>
                  <a:pt x="379" y="257"/>
                  <a:pt x="379" y="257"/>
                  <a:pt x="379" y="257"/>
                </a:cubicBezTo>
                <a:cubicBezTo>
                  <a:pt x="379" y="256"/>
                  <a:pt x="379" y="256"/>
                  <a:pt x="379" y="256"/>
                </a:cubicBezTo>
                <a:cubicBezTo>
                  <a:pt x="379" y="255"/>
                  <a:pt x="379" y="255"/>
                  <a:pt x="379" y="255"/>
                </a:cubicBezTo>
                <a:cubicBezTo>
                  <a:pt x="381" y="253"/>
                  <a:pt x="381" y="253"/>
                  <a:pt x="381" y="253"/>
                </a:cubicBezTo>
                <a:cubicBezTo>
                  <a:pt x="382" y="252"/>
                  <a:pt x="382" y="252"/>
                  <a:pt x="382" y="252"/>
                </a:cubicBezTo>
                <a:cubicBezTo>
                  <a:pt x="383" y="251"/>
                  <a:pt x="383" y="251"/>
                  <a:pt x="383" y="251"/>
                </a:cubicBezTo>
                <a:cubicBezTo>
                  <a:pt x="385" y="248"/>
                  <a:pt x="385" y="248"/>
                  <a:pt x="385" y="248"/>
                </a:cubicBezTo>
                <a:cubicBezTo>
                  <a:pt x="386" y="248"/>
                  <a:pt x="386" y="248"/>
                  <a:pt x="386" y="248"/>
                </a:cubicBezTo>
                <a:cubicBezTo>
                  <a:pt x="386" y="248"/>
                  <a:pt x="386" y="248"/>
                  <a:pt x="386" y="248"/>
                </a:cubicBezTo>
                <a:cubicBezTo>
                  <a:pt x="387" y="247"/>
                  <a:pt x="387" y="247"/>
                  <a:pt x="387" y="247"/>
                </a:cubicBezTo>
                <a:cubicBezTo>
                  <a:pt x="388" y="247"/>
                  <a:pt x="388" y="247"/>
                  <a:pt x="388" y="247"/>
                </a:cubicBezTo>
                <a:cubicBezTo>
                  <a:pt x="389" y="247"/>
                  <a:pt x="389" y="247"/>
                  <a:pt x="389" y="247"/>
                </a:cubicBezTo>
                <a:cubicBezTo>
                  <a:pt x="390" y="247"/>
                  <a:pt x="390" y="247"/>
                  <a:pt x="390" y="247"/>
                </a:cubicBezTo>
                <a:cubicBezTo>
                  <a:pt x="391" y="248"/>
                  <a:pt x="391" y="248"/>
                  <a:pt x="391" y="248"/>
                </a:cubicBezTo>
                <a:cubicBezTo>
                  <a:pt x="391" y="248"/>
                  <a:pt x="391" y="248"/>
                  <a:pt x="391" y="248"/>
                </a:cubicBezTo>
                <a:cubicBezTo>
                  <a:pt x="392" y="249"/>
                  <a:pt x="392" y="249"/>
                  <a:pt x="392" y="249"/>
                </a:cubicBezTo>
                <a:cubicBezTo>
                  <a:pt x="393" y="250"/>
                  <a:pt x="393" y="250"/>
                  <a:pt x="393" y="250"/>
                </a:cubicBezTo>
                <a:cubicBezTo>
                  <a:pt x="393" y="251"/>
                  <a:pt x="393" y="251"/>
                  <a:pt x="393" y="251"/>
                </a:cubicBezTo>
                <a:cubicBezTo>
                  <a:pt x="392" y="252"/>
                  <a:pt x="392" y="252"/>
                  <a:pt x="392" y="252"/>
                </a:cubicBezTo>
                <a:cubicBezTo>
                  <a:pt x="391" y="253"/>
                  <a:pt x="391" y="253"/>
                  <a:pt x="391" y="253"/>
                </a:cubicBezTo>
                <a:cubicBezTo>
                  <a:pt x="391" y="254"/>
                  <a:pt x="391" y="254"/>
                  <a:pt x="391" y="254"/>
                </a:cubicBezTo>
                <a:cubicBezTo>
                  <a:pt x="389" y="257"/>
                  <a:pt x="389" y="257"/>
                  <a:pt x="389" y="257"/>
                </a:cubicBezTo>
                <a:cubicBezTo>
                  <a:pt x="389" y="258"/>
                  <a:pt x="389" y="258"/>
                  <a:pt x="389" y="258"/>
                </a:cubicBezTo>
                <a:cubicBezTo>
                  <a:pt x="388" y="258"/>
                  <a:pt x="388" y="258"/>
                  <a:pt x="388" y="258"/>
                </a:cubicBezTo>
                <a:cubicBezTo>
                  <a:pt x="386" y="259"/>
                  <a:pt x="386" y="259"/>
                  <a:pt x="386" y="259"/>
                </a:cubicBezTo>
                <a:cubicBezTo>
                  <a:pt x="386" y="259"/>
                  <a:pt x="386" y="259"/>
                  <a:pt x="386" y="259"/>
                </a:cubicBezTo>
                <a:cubicBezTo>
                  <a:pt x="385" y="260"/>
                  <a:pt x="385" y="260"/>
                  <a:pt x="385" y="260"/>
                </a:cubicBezTo>
                <a:cubicBezTo>
                  <a:pt x="384" y="260"/>
                  <a:pt x="384" y="260"/>
                  <a:pt x="384" y="260"/>
                </a:cubicBezTo>
                <a:cubicBezTo>
                  <a:pt x="383" y="260"/>
                  <a:pt x="383" y="260"/>
                  <a:pt x="383" y="260"/>
                </a:cubicBezTo>
                <a:cubicBezTo>
                  <a:pt x="381" y="260"/>
                  <a:pt x="381" y="260"/>
                  <a:pt x="381" y="260"/>
                </a:cubicBezTo>
                <a:cubicBezTo>
                  <a:pt x="380" y="260"/>
                  <a:pt x="380" y="260"/>
                  <a:pt x="380" y="260"/>
                </a:cubicBezTo>
                <a:cubicBezTo>
                  <a:pt x="379" y="260"/>
                  <a:pt x="379" y="260"/>
                  <a:pt x="379" y="260"/>
                </a:cubicBezTo>
                <a:cubicBezTo>
                  <a:pt x="379" y="259"/>
                  <a:pt x="379" y="259"/>
                  <a:pt x="379" y="259"/>
                </a:cubicBezTo>
                <a:close/>
                <a:moveTo>
                  <a:pt x="268" y="211"/>
                </a:moveTo>
                <a:cubicBezTo>
                  <a:pt x="268" y="211"/>
                  <a:pt x="268" y="211"/>
                  <a:pt x="268" y="211"/>
                </a:cubicBezTo>
                <a:cubicBezTo>
                  <a:pt x="268" y="210"/>
                  <a:pt x="268" y="210"/>
                  <a:pt x="268" y="210"/>
                </a:cubicBezTo>
                <a:cubicBezTo>
                  <a:pt x="269" y="210"/>
                  <a:pt x="269" y="210"/>
                  <a:pt x="269" y="210"/>
                </a:cubicBezTo>
                <a:cubicBezTo>
                  <a:pt x="268" y="209"/>
                  <a:pt x="268" y="209"/>
                  <a:pt x="268" y="209"/>
                </a:cubicBezTo>
                <a:cubicBezTo>
                  <a:pt x="268" y="208"/>
                  <a:pt x="268" y="208"/>
                  <a:pt x="268" y="208"/>
                </a:cubicBezTo>
                <a:cubicBezTo>
                  <a:pt x="269" y="208"/>
                  <a:pt x="269" y="208"/>
                  <a:pt x="269" y="208"/>
                </a:cubicBezTo>
                <a:cubicBezTo>
                  <a:pt x="269" y="209"/>
                  <a:pt x="269" y="209"/>
                  <a:pt x="269" y="209"/>
                </a:cubicBezTo>
                <a:cubicBezTo>
                  <a:pt x="270" y="209"/>
                  <a:pt x="270" y="209"/>
                  <a:pt x="270" y="209"/>
                </a:cubicBezTo>
                <a:cubicBezTo>
                  <a:pt x="270" y="210"/>
                  <a:pt x="270" y="210"/>
                  <a:pt x="270" y="210"/>
                </a:cubicBezTo>
                <a:cubicBezTo>
                  <a:pt x="269" y="211"/>
                  <a:pt x="269" y="211"/>
                  <a:pt x="269" y="211"/>
                </a:cubicBezTo>
                <a:cubicBezTo>
                  <a:pt x="269" y="211"/>
                  <a:pt x="269" y="211"/>
                  <a:pt x="269" y="211"/>
                </a:cubicBezTo>
                <a:cubicBezTo>
                  <a:pt x="268" y="211"/>
                  <a:pt x="268" y="211"/>
                  <a:pt x="268" y="211"/>
                </a:cubicBezTo>
                <a:cubicBezTo>
                  <a:pt x="268" y="211"/>
                  <a:pt x="268" y="211"/>
                  <a:pt x="268" y="211"/>
                </a:cubicBezTo>
                <a:close/>
                <a:moveTo>
                  <a:pt x="257" y="221"/>
                </a:moveTo>
                <a:cubicBezTo>
                  <a:pt x="258" y="220"/>
                  <a:pt x="258" y="220"/>
                  <a:pt x="258" y="220"/>
                </a:cubicBezTo>
                <a:cubicBezTo>
                  <a:pt x="258" y="220"/>
                  <a:pt x="258" y="220"/>
                  <a:pt x="258" y="220"/>
                </a:cubicBezTo>
                <a:cubicBezTo>
                  <a:pt x="258" y="219"/>
                  <a:pt x="258" y="219"/>
                  <a:pt x="258" y="219"/>
                </a:cubicBezTo>
                <a:cubicBezTo>
                  <a:pt x="259" y="218"/>
                  <a:pt x="259" y="218"/>
                  <a:pt x="259" y="218"/>
                </a:cubicBezTo>
                <a:cubicBezTo>
                  <a:pt x="258" y="218"/>
                  <a:pt x="258" y="218"/>
                  <a:pt x="258" y="218"/>
                </a:cubicBezTo>
                <a:cubicBezTo>
                  <a:pt x="257" y="219"/>
                  <a:pt x="257" y="219"/>
                  <a:pt x="257" y="219"/>
                </a:cubicBezTo>
                <a:cubicBezTo>
                  <a:pt x="257" y="219"/>
                  <a:pt x="257" y="219"/>
                  <a:pt x="257" y="219"/>
                </a:cubicBezTo>
                <a:cubicBezTo>
                  <a:pt x="256" y="219"/>
                  <a:pt x="256" y="219"/>
                  <a:pt x="256" y="219"/>
                </a:cubicBezTo>
                <a:cubicBezTo>
                  <a:pt x="256" y="219"/>
                  <a:pt x="256" y="219"/>
                  <a:pt x="256" y="219"/>
                </a:cubicBezTo>
                <a:cubicBezTo>
                  <a:pt x="257" y="221"/>
                  <a:pt x="257" y="221"/>
                  <a:pt x="257" y="221"/>
                </a:cubicBezTo>
                <a:cubicBezTo>
                  <a:pt x="257" y="221"/>
                  <a:pt x="257" y="221"/>
                  <a:pt x="257" y="221"/>
                </a:cubicBezTo>
                <a:close/>
                <a:moveTo>
                  <a:pt x="270" y="219"/>
                </a:moveTo>
                <a:cubicBezTo>
                  <a:pt x="269" y="219"/>
                  <a:pt x="269" y="219"/>
                  <a:pt x="269" y="219"/>
                </a:cubicBezTo>
                <a:cubicBezTo>
                  <a:pt x="268" y="220"/>
                  <a:pt x="268" y="220"/>
                  <a:pt x="268" y="220"/>
                </a:cubicBezTo>
                <a:cubicBezTo>
                  <a:pt x="268" y="221"/>
                  <a:pt x="268" y="221"/>
                  <a:pt x="268" y="221"/>
                </a:cubicBezTo>
                <a:cubicBezTo>
                  <a:pt x="267" y="220"/>
                  <a:pt x="267" y="220"/>
                  <a:pt x="267" y="220"/>
                </a:cubicBezTo>
                <a:cubicBezTo>
                  <a:pt x="267" y="219"/>
                  <a:pt x="267" y="219"/>
                  <a:pt x="267" y="219"/>
                </a:cubicBezTo>
                <a:cubicBezTo>
                  <a:pt x="268" y="217"/>
                  <a:pt x="268" y="217"/>
                  <a:pt x="268" y="217"/>
                </a:cubicBezTo>
                <a:cubicBezTo>
                  <a:pt x="268" y="216"/>
                  <a:pt x="268" y="216"/>
                  <a:pt x="268" y="216"/>
                </a:cubicBezTo>
                <a:cubicBezTo>
                  <a:pt x="269" y="216"/>
                  <a:pt x="269" y="216"/>
                  <a:pt x="269" y="216"/>
                </a:cubicBezTo>
                <a:cubicBezTo>
                  <a:pt x="270" y="216"/>
                  <a:pt x="270" y="216"/>
                  <a:pt x="270" y="216"/>
                </a:cubicBezTo>
                <a:cubicBezTo>
                  <a:pt x="270" y="216"/>
                  <a:pt x="270" y="216"/>
                  <a:pt x="270" y="216"/>
                </a:cubicBezTo>
                <a:cubicBezTo>
                  <a:pt x="270" y="217"/>
                  <a:pt x="270" y="217"/>
                  <a:pt x="270" y="217"/>
                </a:cubicBezTo>
                <a:cubicBezTo>
                  <a:pt x="270" y="219"/>
                  <a:pt x="270" y="219"/>
                  <a:pt x="270" y="219"/>
                </a:cubicBezTo>
                <a:close/>
                <a:moveTo>
                  <a:pt x="271" y="217"/>
                </a:moveTo>
                <a:cubicBezTo>
                  <a:pt x="271" y="216"/>
                  <a:pt x="271" y="216"/>
                  <a:pt x="271" y="216"/>
                </a:cubicBezTo>
                <a:cubicBezTo>
                  <a:pt x="271" y="216"/>
                  <a:pt x="271" y="216"/>
                  <a:pt x="271" y="216"/>
                </a:cubicBezTo>
                <a:cubicBezTo>
                  <a:pt x="271" y="214"/>
                  <a:pt x="271" y="214"/>
                  <a:pt x="271" y="214"/>
                </a:cubicBezTo>
                <a:cubicBezTo>
                  <a:pt x="272" y="214"/>
                  <a:pt x="272" y="214"/>
                  <a:pt x="272" y="214"/>
                </a:cubicBezTo>
                <a:cubicBezTo>
                  <a:pt x="273" y="215"/>
                  <a:pt x="273" y="215"/>
                  <a:pt x="273" y="215"/>
                </a:cubicBezTo>
                <a:cubicBezTo>
                  <a:pt x="272" y="216"/>
                  <a:pt x="272" y="216"/>
                  <a:pt x="272" y="216"/>
                </a:cubicBezTo>
                <a:cubicBezTo>
                  <a:pt x="272" y="217"/>
                  <a:pt x="272" y="217"/>
                  <a:pt x="272" y="217"/>
                </a:cubicBezTo>
                <a:cubicBezTo>
                  <a:pt x="272" y="217"/>
                  <a:pt x="271" y="217"/>
                  <a:pt x="271" y="217"/>
                </a:cubicBezTo>
                <a:close/>
                <a:moveTo>
                  <a:pt x="294" y="217"/>
                </a:moveTo>
                <a:cubicBezTo>
                  <a:pt x="295" y="215"/>
                  <a:pt x="295" y="215"/>
                  <a:pt x="295" y="215"/>
                </a:cubicBezTo>
                <a:cubicBezTo>
                  <a:pt x="296" y="214"/>
                  <a:pt x="296" y="214"/>
                  <a:pt x="296" y="214"/>
                </a:cubicBezTo>
                <a:cubicBezTo>
                  <a:pt x="298" y="215"/>
                  <a:pt x="298" y="215"/>
                  <a:pt x="298" y="215"/>
                </a:cubicBezTo>
                <a:cubicBezTo>
                  <a:pt x="298" y="216"/>
                  <a:pt x="298" y="216"/>
                  <a:pt x="298" y="216"/>
                </a:cubicBezTo>
                <a:cubicBezTo>
                  <a:pt x="297" y="218"/>
                  <a:pt x="297" y="218"/>
                  <a:pt x="297" y="218"/>
                </a:cubicBezTo>
                <a:cubicBezTo>
                  <a:pt x="296" y="218"/>
                  <a:pt x="296" y="218"/>
                  <a:pt x="296" y="218"/>
                </a:cubicBezTo>
                <a:cubicBezTo>
                  <a:pt x="296" y="217"/>
                  <a:pt x="296" y="217"/>
                  <a:pt x="296" y="217"/>
                </a:cubicBezTo>
                <a:cubicBezTo>
                  <a:pt x="296" y="216"/>
                  <a:pt x="296" y="216"/>
                  <a:pt x="296" y="216"/>
                </a:cubicBezTo>
                <a:cubicBezTo>
                  <a:pt x="295" y="217"/>
                  <a:pt x="295" y="217"/>
                  <a:pt x="295" y="217"/>
                </a:cubicBezTo>
                <a:cubicBezTo>
                  <a:pt x="295" y="217"/>
                  <a:pt x="295" y="217"/>
                  <a:pt x="295" y="217"/>
                </a:cubicBezTo>
                <a:cubicBezTo>
                  <a:pt x="295" y="217"/>
                  <a:pt x="294" y="217"/>
                  <a:pt x="294" y="217"/>
                </a:cubicBezTo>
                <a:close/>
                <a:moveTo>
                  <a:pt x="293" y="216"/>
                </a:moveTo>
                <a:cubicBezTo>
                  <a:pt x="294" y="216"/>
                  <a:pt x="294" y="216"/>
                  <a:pt x="294" y="216"/>
                </a:cubicBezTo>
                <a:cubicBezTo>
                  <a:pt x="295" y="215"/>
                  <a:pt x="295" y="215"/>
                  <a:pt x="295" y="215"/>
                </a:cubicBezTo>
                <a:cubicBezTo>
                  <a:pt x="294" y="213"/>
                  <a:pt x="294" y="213"/>
                  <a:pt x="294" y="213"/>
                </a:cubicBezTo>
                <a:cubicBezTo>
                  <a:pt x="293" y="214"/>
                  <a:pt x="293" y="214"/>
                  <a:pt x="293" y="214"/>
                </a:cubicBezTo>
                <a:cubicBezTo>
                  <a:pt x="293" y="216"/>
                  <a:pt x="293" y="216"/>
                  <a:pt x="293" y="216"/>
                </a:cubicBezTo>
                <a:close/>
                <a:moveTo>
                  <a:pt x="293" y="227"/>
                </a:moveTo>
                <a:cubicBezTo>
                  <a:pt x="293" y="226"/>
                  <a:pt x="293" y="226"/>
                  <a:pt x="293" y="226"/>
                </a:cubicBezTo>
                <a:cubicBezTo>
                  <a:pt x="295" y="225"/>
                  <a:pt x="295" y="225"/>
                  <a:pt x="295" y="225"/>
                </a:cubicBezTo>
                <a:cubicBezTo>
                  <a:pt x="295" y="224"/>
                  <a:pt x="295" y="224"/>
                  <a:pt x="295" y="224"/>
                </a:cubicBezTo>
                <a:cubicBezTo>
                  <a:pt x="293" y="225"/>
                  <a:pt x="293" y="225"/>
                  <a:pt x="293" y="225"/>
                </a:cubicBezTo>
                <a:cubicBezTo>
                  <a:pt x="293" y="224"/>
                  <a:pt x="293" y="224"/>
                  <a:pt x="293" y="224"/>
                </a:cubicBezTo>
                <a:cubicBezTo>
                  <a:pt x="294" y="221"/>
                  <a:pt x="294" y="221"/>
                  <a:pt x="294" y="221"/>
                </a:cubicBezTo>
                <a:cubicBezTo>
                  <a:pt x="294" y="220"/>
                  <a:pt x="294" y="220"/>
                  <a:pt x="294" y="220"/>
                </a:cubicBezTo>
                <a:cubicBezTo>
                  <a:pt x="293" y="221"/>
                  <a:pt x="293" y="221"/>
                  <a:pt x="293" y="221"/>
                </a:cubicBezTo>
                <a:cubicBezTo>
                  <a:pt x="292" y="222"/>
                  <a:pt x="292" y="222"/>
                  <a:pt x="292" y="222"/>
                </a:cubicBezTo>
                <a:cubicBezTo>
                  <a:pt x="292" y="221"/>
                  <a:pt x="292" y="221"/>
                  <a:pt x="292" y="221"/>
                </a:cubicBezTo>
                <a:cubicBezTo>
                  <a:pt x="293" y="218"/>
                  <a:pt x="293" y="218"/>
                  <a:pt x="293" y="218"/>
                </a:cubicBezTo>
                <a:cubicBezTo>
                  <a:pt x="292" y="214"/>
                  <a:pt x="292" y="214"/>
                  <a:pt x="292" y="214"/>
                </a:cubicBezTo>
                <a:cubicBezTo>
                  <a:pt x="291" y="213"/>
                  <a:pt x="291" y="213"/>
                  <a:pt x="291" y="213"/>
                </a:cubicBezTo>
                <a:cubicBezTo>
                  <a:pt x="291" y="212"/>
                  <a:pt x="291" y="212"/>
                  <a:pt x="291" y="212"/>
                </a:cubicBezTo>
                <a:cubicBezTo>
                  <a:pt x="290" y="212"/>
                  <a:pt x="290" y="212"/>
                  <a:pt x="290" y="212"/>
                </a:cubicBezTo>
                <a:cubicBezTo>
                  <a:pt x="289" y="213"/>
                  <a:pt x="289" y="213"/>
                  <a:pt x="289" y="213"/>
                </a:cubicBezTo>
                <a:cubicBezTo>
                  <a:pt x="289" y="211"/>
                  <a:pt x="289" y="211"/>
                  <a:pt x="289" y="211"/>
                </a:cubicBezTo>
                <a:cubicBezTo>
                  <a:pt x="290" y="211"/>
                  <a:pt x="290" y="211"/>
                  <a:pt x="290" y="211"/>
                </a:cubicBezTo>
                <a:cubicBezTo>
                  <a:pt x="289" y="209"/>
                  <a:pt x="289" y="209"/>
                  <a:pt x="289" y="209"/>
                </a:cubicBezTo>
                <a:cubicBezTo>
                  <a:pt x="289" y="208"/>
                  <a:pt x="289" y="208"/>
                  <a:pt x="289" y="208"/>
                </a:cubicBezTo>
                <a:cubicBezTo>
                  <a:pt x="289" y="207"/>
                  <a:pt x="289" y="207"/>
                  <a:pt x="289" y="207"/>
                </a:cubicBezTo>
                <a:cubicBezTo>
                  <a:pt x="288" y="208"/>
                  <a:pt x="288" y="208"/>
                  <a:pt x="288" y="208"/>
                </a:cubicBezTo>
                <a:cubicBezTo>
                  <a:pt x="286" y="209"/>
                  <a:pt x="286" y="209"/>
                  <a:pt x="286" y="209"/>
                </a:cubicBezTo>
                <a:cubicBezTo>
                  <a:pt x="285" y="211"/>
                  <a:pt x="285" y="211"/>
                  <a:pt x="285" y="211"/>
                </a:cubicBezTo>
                <a:cubicBezTo>
                  <a:pt x="285" y="213"/>
                  <a:pt x="285" y="213"/>
                  <a:pt x="285" y="213"/>
                </a:cubicBezTo>
                <a:cubicBezTo>
                  <a:pt x="284" y="213"/>
                  <a:pt x="284" y="213"/>
                  <a:pt x="284" y="213"/>
                </a:cubicBezTo>
                <a:cubicBezTo>
                  <a:pt x="284" y="211"/>
                  <a:pt x="284" y="211"/>
                  <a:pt x="284" y="211"/>
                </a:cubicBezTo>
                <a:cubicBezTo>
                  <a:pt x="283" y="211"/>
                  <a:pt x="283" y="211"/>
                  <a:pt x="283" y="211"/>
                </a:cubicBezTo>
                <a:cubicBezTo>
                  <a:pt x="283" y="213"/>
                  <a:pt x="283" y="213"/>
                  <a:pt x="283" y="213"/>
                </a:cubicBezTo>
                <a:cubicBezTo>
                  <a:pt x="282" y="213"/>
                  <a:pt x="282" y="213"/>
                  <a:pt x="282" y="213"/>
                </a:cubicBezTo>
                <a:cubicBezTo>
                  <a:pt x="283" y="214"/>
                  <a:pt x="283" y="214"/>
                  <a:pt x="283" y="214"/>
                </a:cubicBezTo>
                <a:cubicBezTo>
                  <a:pt x="282" y="215"/>
                  <a:pt x="282" y="215"/>
                  <a:pt x="282" y="215"/>
                </a:cubicBezTo>
                <a:cubicBezTo>
                  <a:pt x="281" y="215"/>
                  <a:pt x="281" y="215"/>
                  <a:pt x="281" y="215"/>
                </a:cubicBezTo>
                <a:cubicBezTo>
                  <a:pt x="280" y="216"/>
                  <a:pt x="280" y="216"/>
                  <a:pt x="280" y="216"/>
                </a:cubicBezTo>
                <a:cubicBezTo>
                  <a:pt x="278" y="216"/>
                  <a:pt x="278" y="216"/>
                  <a:pt x="278" y="216"/>
                </a:cubicBezTo>
                <a:cubicBezTo>
                  <a:pt x="278" y="216"/>
                  <a:pt x="278" y="216"/>
                  <a:pt x="278" y="216"/>
                </a:cubicBezTo>
                <a:cubicBezTo>
                  <a:pt x="277" y="216"/>
                  <a:pt x="277" y="216"/>
                  <a:pt x="277" y="216"/>
                </a:cubicBezTo>
                <a:cubicBezTo>
                  <a:pt x="274" y="218"/>
                  <a:pt x="274" y="218"/>
                  <a:pt x="274" y="218"/>
                </a:cubicBezTo>
                <a:cubicBezTo>
                  <a:pt x="274" y="219"/>
                  <a:pt x="274" y="219"/>
                  <a:pt x="274" y="219"/>
                </a:cubicBezTo>
                <a:cubicBezTo>
                  <a:pt x="276" y="221"/>
                  <a:pt x="276" y="221"/>
                  <a:pt x="276" y="221"/>
                </a:cubicBezTo>
                <a:cubicBezTo>
                  <a:pt x="277" y="220"/>
                  <a:pt x="277" y="220"/>
                  <a:pt x="277" y="220"/>
                </a:cubicBezTo>
                <a:cubicBezTo>
                  <a:pt x="276" y="219"/>
                  <a:pt x="276" y="219"/>
                  <a:pt x="276" y="219"/>
                </a:cubicBezTo>
                <a:cubicBezTo>
                  <a:pt x="277" y="218"/>
                  <a:pt x="277" y="218"/>
                  <a:pt x="277" y="218"/>
                </a:cubicBezTo>
                <a:cubicBezTo>
                  <a:pt x="278" y="219"/>
                  <a:pt x="278" y="219"/>
                  <a:pt x="278" y="219"/>
                </a:cubicBezTo>
                <a:cubicBezTo>
                  <a:pt x="277" y="221"/>
                  <a:pt x="277" y="221"/>
                  <a:pt x="277" y="221"/>
                </a:cubicBezTo>
                <a:cubicBezTo>
                  <a:pt x="279" y="222"/>
                  <a:pt x="279" y="222"/>
                  <a:pt x="279" y="222"/>
                </a:cubicBezTo>
                <a:cubicBezTo>
                  <a:pt x="280" y="221"/>
                  <a:pt x="280" y="221"/>
                  <a:pt x="280" y="221"/>
                </a:cubicBezTo>
                <a:cubicBezTo>
                  <a:pt x="280" y="222"/>
                  <a:pt x="280" y="222"/>
                  <a:pt x="280" y="222"/>
                </a:cubicBezTo>
                <a:cubicBezTo>
                  <a:pt x="280" y="223"/>
                  <a:pt x="280" y="223"/>
                  <a:pt x="280" y="223"/>
                </a:cubicBezTo>
                <a:cubicBezTo>
                  <a:pt x="281" y="224"/>
                  <a:pt x="281" y="224"/>
                  <a:pt x="281" y="224"/>
                </a:cubicBezTo>
                <a:cubicBezTo>
                  <a:pt x="282" y="225"/>
                  <a:pt x="282" y="225"/>
                  <a:pt x="282" y="225"/>
                </a:cubicBezTo>
                <a:cubicBezTo>
                  <a:pt x="283" y="226"/>
                  <a:pt x="283" y="226"/>
                  <a:pt x="283" y="226"/>
                </a:cubicBezTo>
                <a:cubicBezTo>
                  <a:pt x="284" y="227"/>
                  <a:pt x="284" y="227"/>
                  <a:pt x="284" y="227"/>
                </a:cubicBezTo>
                <a:cubicBezTo>
                  <a:pt x="285" y="226"/>
                  <a:pt x="285" y="226"/>
                  <a:pt x="285" y="226"/>
                </a:cubicBezTo>
                <a:cubicBezTo>
                  <a:pt x="285" y="227"/>
                  <a:pt x="285" y="227"/>
                  <a:pt x="285" y="227"/>
                </a:cubicBezTo>
                <a:cubicBezTo>
                  <a:pt x="286" y="228"/>
                  <a:pt x="286" y="228"/>
                  <a:pt x="286" y="228"/>
                </a:cubicBezTo>
                <a:cubicBezTo>
                  <a:pt x="287" y="228"/>
                  <a:pt x="287" y="228"/>
                  <a:pt x="287" y="228"/>
                </a:cubicBezTo>
                <a:cubicBezTo>
                  <a:pt x="288" y="228"/>
                  <a:pt x="288" y="228"/>
                  <a:pt x="288" y="228"/>
                </a:cubicBezTo>
                <a:cubicBezTo>
                  <a:pt x="290" y="227"/>
                  <a:pt x="290" y="227"/>
                  <a:pt x="290" y="227"/>
                </a:cubicBezTo>
                <a:cubicBezTo>
                  <a:pt x="291" y="227"/>
                  <a:pt x="291" y="227"/>
                  <a:pt x="291" y="227"/>
                </a:cubicBezTo>
                <a:cubicBezTo>
                  <a:pt x="292" y="226"/>
                  <a:pt x="292" y="226"/>
                  <a:pt x="292" y="226"/>
                </a:cubicBezTo>
                <a:cubicBezTo>
                  <a:pt x="293" y="227"/>
                  <a:pt x="293" y="227"/>
                  <a:pt x="293" y="227"/>
                </a:cubicBezTo>
                <a:close/>
                <a:moveTo>
                  <a:pt x="421" y="218"/>
                </a:moveTo>
                <a:cubicBezTo>
                  <a:pt x="421" y="217"/>
                  <a:pt x="421" y="217"/>
                  <a:pt x="421" y="217"/>
                </a:cubicBezTo>
                <a:cubicBezTo>
                  <a:pt x="420" y="216"/>
                  <a:pt x="420" y="216"/>
                  <a:pt x="420" y="216"/>
                </a:cubicBezTo>
                <a:cubicBezTo>
                  <a:pt x="421" y="215"/>
                  <a:pt x="421" y="215"/>
                  <a:pt x="421" y="215"/>
                </a:cubicBezTo>
                <a:cubicBezTo>
                  <a:pt x="422" y="215"/>
                  <a:pt x="422" y="215"/>
                  <a:pt x="422" y="215"/>
                </a:cubicBezTo>
                <a:cubicBezTo>
                  <a:pt x="423" y="215"/>
                  <a:pt x="423" y="215"/>
                  <a:pt x="423" y="215"/>
                </a:cubicBezTo>
                <a:cubicBezTo>
                  <a:pt x="423" y="216"/>
                  <a:pt x="423" y="216"/>
                  <a:pt x="423" y="216"/>
                </a:cubicBezTo>
                <a:cubicBezTo>
                  <a:pt x="424" y="216"/>
                  <a:pt x="424" y="216"/>
                  <a:pt x="424" y="216"/>
                </a:cubicBezTo>
                <a:cubicBezTo>
                  <a:pt x="425" y="216"/>
                  <a:pt x="425" y="216"/>
                  <a:pt x="425" y="216"/>
                </a:cubicBezTo>
                <a:cubicBezTo>
                  <a:pt x="424" y="217"/>
                  <a:pt x="424" y="217"/>
                  <a:pt x="424" y="217"/>
                </a:cubicBezTo>
                <a:cubicBezTo>
                  <a:pt x="423" y="218"/>
                  <a:pt x="423" y="218"/>
                  <a:pt x="423" y="218"/>
                </a:cubicBezTo>
                <a:cubicBezTo>
                  <a:pt x="422" y="217"/>
                  <a:pt x="422" y="217"/>
                  <a:pt x="422" y="217"/>
                </a:cubicBezTo>
                <a:cubicBezTo>
                  <a:pt x="422" y="218"/>
                  <a:pt x="422" y="218"/>
                  <a:pt x="422" y="218"/>
                </a:cubicBezTo>
                <a:cubicBezTo>
                  <a:pt x="421" y="218"/>
                  <a:pt x="421" y="218"/>
                  <a:pt x="421" y="218"/>
                </a:cubicBezTo>
                <a:cubicBezTo>
                  <a:pt x="421" y="218"/>
                  <a:pt x="421" y="218"/>
                  <a:pt x="421" y="218"/>
                </a:cubicBezTo>
                <a:close/>
                <a:moveTo>
                  <a:pt x="418" y="328"/>
                </a:moveTo>
                <a:cubicBezTo>
                  <a:pt x="417" y="328"/>
                  <a:pt x="417" y="328"/>
                  <a:pt x="417" y="328"/>
                </a:cubicBezTo>
                <a:cubicBezTo>
                  <a:pt x="416" y="327"/>
                  <a:pt x="416" y="327"/>
                  <a:pt x="416" y="327"/>
                </a:cubicBezTo>
                <a:cubicBezTo>
                  <a:pt x="414" y="327"/>
                  <a:pt x="414" y="327"/>
                  <a:pt x="414" y="327"/>
                </a:cubicBezTo>
                <a:cubicBezTo>
                  <a:pt x="413" y="326"/>
                  <a:pt x="413" y="326"/>
                  <a:pt x="413" y="326"/>
                </a:cubicBezTo>
                <a:cubicBezTo>
                  <a:pt x="412" y="326"/>
                  <a:pt x="412" y="326"/>
                  <a:pt x="412" y="326"/>
                </a:cubicBezTo>
                <a:cubicBezTo>
                  <a:pt x="411" y="325"/>
                  <a:pt x="411" y="325"/>
                  <a:pt x="411" y="325"/>
                </a:cubicBezTo>
                <a:cubicBezTo>
                  <a:pt x="410" y="324"/>
                  <a:pt x="410" y="324"/>
                  <a:pt x="410" y="324"/>
                </a:cubicBezTo>
                <a:cubicBezTo>
                  <a:pt x="409" y="323"/>
                  <a:pt x="409" y="323"/>
                  <a:pt x="409" y="323"/>
                </a:cubicBezTo>
                <a:cubicBezTo>
                  <a:pt x="409" y="323"/>
                  <a:pt x="409" y="323"/>
                  <a:pt x="409" y="323"/>
                </a:cubicBezTo>
                <a:cubicBezTo>
                  <a:pt x="408" y="323"/>
                  <a:pt x="408" y="323"/>
                  <a:pt x="408" y="323"/>
                </a:cubicBezTo>
                <a:cubicBezTo>
                  <a:pt x="407" y="323"/>
                  <a:pt x="407" y="323"/>
                  <a:pt x="407" y="323"/>
                </a:cubicBezTo>
                <a:cubicBezTo>
                  <a:pt x="406" y="323"/>
                  <a:pt x="406" y="323"/>
                  <a:pt x="406" y="323"/>
                </a:cubicBezTo>
                <a:cubicBezTo>
                  <a:pt x="405" y="322"/>
                  <a:pt x="405" y="322"/>
                  <a:pt x="405" y="322"/>
                </a:cubicBezTo>
                <a:cubicBezTo>
                  <a:pt x="405" y="321"/>
                  <a:pt x="405" y="321"/>
                  <a:pt x="405" y="321"/>
                </a:cubicBezTo>
                <a:cubicBezTo>
                  <a:pt x="404" y="321"/>
                  <a:pt x="404" y="321"/>
                  <a:pt x="404" y="321"/>
                </a:cubicBezTo>
                <a:cubicBezTo>
                  <a:pt x="402" y="320"/>
                  <a:pt x="402" y="320"/>
                  <a:pt x="402" y="320"/>
                </a:cubicBezTo>
                <a:cubicBezTo>
                  <a:pt x="403" y="319"/>
                  <a:pt x="403" y="319"/>
                  <a:pt x="403" y="319"/>
                </a:cubicBezTo>
                <a:cubicBezTo>
                  <a:pt x="402" y="319"/>
                  <a:pt x="402" y="319"/>
                  <a:pt x="402" y="319"/>
                </a:cubicBezTo>
                <a:cubicBezTo>
                  <a:pt x="401" y="319"/>
                  <a:pt x="401" y="319"/>
                  <a:pt x="401" y="319"/>
                </a:cubicBezTo>
                <a:cubicBezTo>
                  <a:pt x="401" y="318"/>
                  <a:pt x="401" y="318"/>
                  <a:pt x="401" y="318"/>
                </a:cubicBezTo>
                <a:cubicBezTo>
                  <a:pt x="401" y="317"/>
                  <a:pt x="401" y="317"/>
                  <a:pt x="401" y="317"/>
                </a:cubicBezTo>
                <a:cubicBezTo>
                  <a:pt x="402" y="317"/>
                  <a:pt x="402" y="317"/>
                  <a:pt x="402" y="317"/>
                </a:cubicBezTo>
                <a:cubicBezTo>
                  <a:pt x="401" y="316"/>
                  <a:pt x="401" y="316"/>
                  <a:pt x="401" y="316"/>
                </a:cubicBezTo>
                <a:cubicBezTo>
                  <a:pt x="400" y="316"/>
                  <a:pt x="400" y="316"/>
                  <a:pt x="400" y="316"/>
                </a:cubicBezTo>
                <a:cubicBezTo>
                  <a:pt x="400" y="317"/>
                  <a:pt x="400" y="317"/>
                  <a:pt x="400" y="317"/>
                </a:cubicBezTo>
                <a:cubicBezTo>
                  <a:pt x="399" y="316"/>
                  <a:pt x="399" y="316"/>
                  <a:pt x="399" y="316"/>
                </a:cubicBezTo>
                <a:cubicBezTo>
                  <a:pt x="399" y="316"/>
                  <a:pt x="399" y="316"/>
                  <a:pt x="399" y="316"/>
                </a:cubicBezTo>
                <a:cubicBezTo>
                  <a:pt x="398" y="316"/>
                  <a:pt x="398" y="316"/>
                  <a:pt x="398" y="316"/>
                </a:cubicBezTo>
                <a:cubicBezTo>
                  <a:pt x="396" y="315"/>
                  <a:pt x="396" y="315"/>
                  <a:pt x="396" y="315"/>
                </a:cubicBezTo>
                <a:cubicBezTo>
                  <a:pt x="396" y="315"/>
                  <a:pt x="396" y="315"/>
                  <a:pt x="396" y="315"/>
                </a:cubicBezTo>
                <a:cubicBezTo>
                  <a:pt x="395" y="314"/>
                  <a:pt x="395" y="314"/>
                  <a:pt x="395" y="314"/>
                </a:cubicBezTo>
                <a:cubicBezTo>
                  <a:pt x="394" y="313"/>
                  <a:pt x="394" y="313"/>
                  <a:pt x="394" y="313"/>
                </a:cubicBezTo>
                <a:cubicBezTo>
                  <a:pt x="394" y="312"/>
                  <a:pt x="394" y="312"/>
                  <a:pt x="394" y="312"/>
                </a:cubicBezTo>
                <a:cubicBezTo>
                  <a:pt x="393" y="312"/>
                  <a:pt x="393" y="312"/>
                  <a:pt x="393" y="312"/>
                </a:cubicBezTo>
                <a:cubicBezTo>
                  <a:pt x="392" y="311"/>
                  <a:pt x="392" y="311"/>
                  <a:pt x="392" y="311"/>
                </a:cubicBezTo>
                <a:cubicBezTo>
                  <a:pt x="392" y="310"/>
                  <a:pt x="392" y="310"/>
                  <a:pt x="392" y="310"/>
                </a:cubicBezTo>
                <a:cubicBezTo>
                  <a:pt x="391" y="309"/>
                  <a:pt x="391" y="309"/>
                  <a:pt x="391" y="309"/>
                </a:cubicBezTo>
                <a:cubicBezTo>
                  <a:pt x="390" y="308"/>
                  <a:pt x="390" y="308"/>
                  <a:pt x="390" y="308"/>
                </a:cubicBezTo>
                <a:cubicBezTo>
                  <a:pt x="391" y="308"/>
                  <a:pt x="391" y="308"/>
                  <a:pt x="391" y="308"/>
                </a:cubicBezTo>
                <a:cubicBezTo>
                  <a:pt x="392" y="308"/>
                  <a:pt x="392" y="308"/>
                  <a:pt x="392" y="308"/>
                </a:cubicBezTo>
                <a:cubicBezTo>
                  <a:pt x="395" y="306"/>
                  <a:pt x="395" y="306"/>
                  <a:pt x="395" y="306"/>
                </a:cubicBezTo>
                <a:cubicBezTo>
                  <a:pt x="395" y="306"/>
                  <a:pt x="395" y="306"/>
                  <a:pt x="395" y="306"/>
                </a:cubicBezTo>
                <a:cubicBezTo>
                  <a:pt x="393" y="306"/>
                  <a:pt x="393" y="306"/>
                  <a:pt x="393" y="306"/>
                </a:cubicBezTo>
                <a:cubicBezTo>
                  <a:pt x="392" y="305"/>
                  <a:pt x="392" y="305"/>
                  <a:pt x="392" y="305"/>
                </a:cubicBezTo>
                <a:cubicBezTo>
                  <a:pt x="392" y="303"/>
                  <a:pt x="392" y="303"/>
                  <a:pt x="392" y="303"/>
                </a:cubicBezTo>
                <a:cubicBezTo>
                  <a:pt x="392" y="303"/>
                  <a:pt x="392" y="303"/>
                  <a:pt x="392" y="303"/>
                </a:cubicBezTo>
                <a:cubicBezTo>
                  <a:pt x="392" y="303"/>
                  <a:pt x="392" y="303"/>
                  <a:pt x="392" y="303"/>
                </a:cubicBezTo>
                <a:cubicBezTo>
                  <a:pt x="391" y="304"/>
                  <a:pt x="391" y="304"/>
                  <a:pt x="391" y="304"/>
                </a:cubicBezTo>
                <a:cubicBezTo>
                  <a:pt x="391" y="305"/>
                  <a:pt x="391" y="305"/>
                  <a:pt x="391" y="305"/>
                </a:cubicBezTo>
                <a:cubicBezTo>
                  <a:pt x="390" y="304"/>
                  <a:pt x="390" y="304"/>
                  <a:pt x="390" y="304"/>
                </a:cubicBezTo>
                <a:cubicBezTo>
                  <a:pt x="391" y="303"/>
                  <a:pt x="391" y="303"/>
                  <a:pt x="391" y="303"/>
                </a:cubicBezTo>
                <a:cubicBezTo>
                  <a:pt x="391" y="301"/>
                  <a:pt x="391" y="301"/>
                  <a:pt x="391" y="301"/>
                </a:cubicBezTo>
                <a:cubicBezTo>
                  <a:pt x="390" y="303"/>
                  <a:pt x="390" y="303"/>
                  <a:pt x="390" y="303"/>
                </a:cubicBezTo>
                <a:cubicBezTo>
                  <a:pt x="389" y="302"/>
                  <a:pt x="389" y="302"/>
                  <a:pt x="389" y="302"/>
                </a:cubicBezTo>
                <a:cubicBezTo>
                  <a:pt x="389" y="301"/>
                  <a:pt x="389" y="301"/>
                  <a:pt x="389" y="301"/>
                </a:cubicBezTo>
                <a:cubicBezTo>
                  <a:pt x="388" y="301"/>
                  <a:pt x="388" y="301"/>
                  <a:pt x="388" y="301"/>
                </a:cubicBezTo>
                <a:cubicBezTo>
                  <a:pt x="388" y="300"/>
                  <a:pt x="388" y="300"/>
                  <a:pt x="388" y="300"/>
                </a:cubicBezTo>
                <a:cubicBezTo>
                  <a:pt x="388" y="299"/>
                  <a:pt x="388" y="299"/>
                  <a:pt x="388" y="299"/>
                </a:cubicBezTo>
                <a:cubicBezTo>
                  <a:pt x="388" y="297"/>
                  <a:pt x="388" y="297"/>
                  <a:pt x="388" y="297"/>
                </a:cubicBezTo>
                <a:cubicBezTo>
                  <a:pt x="387" y="297"/>
                  <a:pt x="387" y="297"/>
                  <a:pt x="387" y="297"/>
                </a:cubicBezTo>
                <a:cubicBezTo>
                  <a:pt x="387" y="296"/>
                  <a:pt x="387" y="296"/>
                  <a:pt x="387" y="296"/>
                </a:cubicBezTo>
                <a:cubicBezTo>
                  <a:pt x="388" y="294"/>
                  <a:pt x="388" y="294"/>
                  <a:pt x="388" y="294"/>
                </a:cubicBezTo>
                <a:cubicBezTo>
                  <a:pt x="388" y="294"/>
                  <a:pt x="388" y="294"/>
                  <a:pt x="388" y="294"/>
                </a:cubicBezTo>
                <a:cubicBezTo>
                  <a:pt x="386" y="296"/>
                  <a:pt x="386" y="296"/>
                  <a:pt x="386" y="296"/>
                </a:cubicBezTo>
                <a:cubicBezTo>
                  <a:pt x="386" y="297"/>
                  <a:pt x="386" y="297"/>
                  <a:pt x="386" y="297"/>
                </a:cubicBezTo>
                <a:cubicBezTo>
                  <a:pt x="385" y="296"/>
                  <a:pt x="385" y="296"/>
                  <a:pt x="385" y="296"/>
                </a:cubicBezTo>
                <a:cubicBezTo>
                  <a:pt x="386" y="294"/>
                  <a:pt x="386" y="294"/>
                  <a:pt x="386" y="294"/>
                </a:cubicBezTo>
                <a:cubicBezTo>
                  <a:pt x="385" y="294"/>
                  <a:pt x="385" y="294"/>
                  <a:pt x="385" y="294"/>
                </a:cubicBezTo>
                <a:cubicBezTo>
                  <a:pt x="384" y="294"/>
                  <a:pt x="384" y="294"/>
                  <a:pt x="384" y="294"/>
                </a:cubicBezTo>
                <a:cubicBezTo>
                  <a:pt x="384" y="294"/>
                  <a:pt x="384" y="294"/>
                  <a:pt x="384" y="294"/>
                </a:cubicBezTo>
                <a:cubicBezTo>
                  <a:pt x="383" y="296"/>
                  <a:pt x="383" y="296"/>
                  <a:pt x="383" y="296"/>
                </a:cubicBezTo>
                <a:cubicBezTo>
                  <a:pt x="382" y="297"/>
                  <a:pt x="382" y="297"/>
                  <a:pt x="382" y="297"/>
                </a:cubicBezTo>
                <a:cubicBezTo>
                  <a:pt x="382" y="295"/>
                  <a:pt x="382" y="295"/>
                  <a:pt x="382" y="295"/>
                </a:cubicBezTo>
                <a:cubicBezTo>
                  <a:pt x="383" y="294"/>
                  <a:pt x="383" y="294"/>
                  <a:pt x="383" y="294"/>
                </a:cubicBezTo>
                <a:cubicBezTo>
                  <a:pt x="383" y="293"/>
                  <a:pt x="383" y="293"/>
                  <a:pt x="383" y="293"/>
                </a:cubicBezTo>
                <a:cubicBezTo>
                  <a:pt x="383" y="292"/>
                  <a:pt x="383" y="292"/>
                  <a:pt x="383" y="292"/>
                </a:cubicBezTo>
                <a:cubicBezTo>
                  <a:pt x="382" y="293"/>
                  <a:pt x="382" y="293"/>
                  <a:pt x="382" y="293"/>
                </a:cubicBezTo>
                <a:cubicBezTo>
                  <a:pt x="381" y="294"/>
                  <a:pt x="381" y="294"/>
                  <a:pt x="381" y="294"/>
                </a:cubicBezTo>
                <a:cubicBezTo>
                  <a:pt x="381" y="294"/>
                  <a:pt x="381" y="294"/>
                  <a:pt x="381" y="294"/>
                </a:cubicBezTo>
                <a:cubicBezTo>
                  <a:pt x="380" y="295"/>
                  <a:pt x="380" y="295"/>
                  <a:pt x="380" y="295"/>
                </a:cubicBezTo>
                <a:cubicBezTo>
                  <a:pt x="380" y="296"/>
                  <a:pt x="380" y="296"/>
                  <a:pt x="380" y="296"/>
                </a:cubicBezTo>
                <a:cubicBezTo>
                  <a:pt x="378" y="295"/>
                  <a:pt x="378" y="295"/>
                  <a:pt x="378" y="295"/>
                </a:cubicBezTo>
                <a:cubicBezTo>
                  <a:pt x="377" y="294"/>
                  <a:pt x="377" y="294"/>
                  <a:pt x="377" y="294"/>
                </a:cubicBezTo>
                <a:cubicBezTo>
                  <a:pt x="376" y="294"/>
                  <a:pt x="376" y="294"/>
                  <a:pt x="376" y="294"/>
                </a:cubicBezTo>
                <a:cubicBezTo>
                  <a:pt x="375" y="292"/>
                  <a:pt x="375" y="292"/>
                  <a:pt x="375" y="292"/>
                </a:cubicBezTo>
                <a:cubicBezTo>
                  <a:pt x="375" y="292"/>
                  <a:pt x="375" y="292"/>
                  <a:pt x="375" y="292"/>
                </a:cubicBezTo>
                <a:cubicBezTo>
                  <a:pt x="374" y="293"/>
                  <a:pt x="374" y="293"/>
                  <a:pt x="374" y="293"/>
                </a:cubicBezTo>
                <a:cubicBezTo>
                  <a:pt x="374" y="294"/>
                  <a:pt x="374" y="294"/>
                  <a:pt x="374" y="294"/>
                </a:cubicBezTo>
                <a:cubicBezTo>
                  <a:pt x="374" y="295"/>
                  <a:pt x="374" y="295"/>
                  <a:pt x="374" y="295"/>
                </a:cubicBezTo>
                <a:cubicBezTo>
                  <a:pt x="373" y="295"/>
                  <a:pt x="373" y="295"/>
                  <a:pt x="373" y="295"/>
                </a:cubicBezTo>
                <a:cubicBezTo>
                  <a:pt x="372" y="295"/>
                  <a:pt x="372" y="295"/>
                  <a:pt x="372" y="295"/>
                </a:cubicBezTo>
                <a:cubicBezTo>
                  <a:pt x="371" y="295"/>
                  <a:pt x="371" y="295"/>
                  <a:pt x="371" y="295"/>
                </a:cubicBezTo>
                <a:cubicBezTo>
                  <a:pt x="370" y="296"/>
                  <a:pt x="370" y="296"/>
                  <a:pt x="370" y="296"/>
                </a:cubicBezTo>
                <a:cubicBezTo>
                  <a:pt x="369" y="295"/>
                  <a:pt x="369" y="295"/>
                  <a:pt x="369" y="295"/>
                </a:cubicBezTo>
                <a:cubicBezTo>
                  <a:pt x="368" y="296"/>
                  <a:pt x="368" y="296"/>
                  <a:pt x="368" y="296"/>
                </a:cubicBezTo>
                <a:cubicBezTo>
                  <a:pt x="367" y="296"/>
                  <a:pt x="367" y="296"/>
                  <a:pt x="367" y="296"/>
                </a:cubicBezTo>
                <a:cubicBezTo>
                  <a:pt x="365" y="296"/>
                  <a:pt x="365" y="296"/>
                  <a:pt x="365" y="296"/>
                </a:cubicBezTo>
                <a:cubicBezTo>
                  <a:pt x="366" y="295"/>
                  <a:pt x="366" y="295"/>
                  <a:pt x="366" y="295"/>
                </a:cubicBezTo>
                <a:cubicBezTo>
                  <a:pt x="364" y="293"/>
                  <a:pt x="364" y="293"/>
                  <a:pt x="364" y="293"/>
                </a:cubicBezTo>
                <a:cubicBezTo>
                  <a:pt x="364" y="294"/>
                  <a:pt x="364" y="294"/>
                  <a:pt x="364" y="294"/>
                </a:cubicBezTo>
                <a:cubicBezTo>
                  <a:pt x="363" y="293"/>
                  <a:pt x="363" y="293"/>
                  <a:pt x="363" y="293"/>
                </a:cubicBezTo>
                <a:cubicBezTo>
                  <a:pt x="362" y="290"/>
                  <a:pt x="362" y="290"/>
                  <a:pt x="362" y="290"/>
                </a:cubicBezTo>
                <a:cubicBezTo>
                  <a:pt x="362" y="289"/>
                  <a:pt x="362" y="289"/>
                  <a:pt x="362" y="289"/>
                </a:cubicBezTo>
                <a:cubicBezTo>
                  <a:pt x="363" y="288"/>
                  <a:pt x="363" y="288"/>
                  <a:pt x="363" y="288"/>
                </a:cubicBezTo>
                <a:cubicBezTo>
                  <a:pt x="363" y="287"/>
                  <a:pt x="363" y="287"/>
                  <a:pt x="363" y="287"/>
                </a:cubicBezTo>
                <a:cubicBezTo>
                  <a:pt x="364" y="286"/>
                  <a:pt x="364" y="286"/>
                  <a:pt x="364" y="286"/>
                </a:cubicBezTo>
                <a:cubicBezTo>
                  <a:pt x="366" y="286"/>
                  <a:pt x="366" y="286"/>
                  <a:pt x="366" y="286"/>
                </a:cubicBezTo>
                <a:cubicBezTo>
                  <a:pt x="366" y="285"/>
                  <a:pt x="366" y="285"/>
                  <a:pt x="366" y="285"/>
                </a:cubicBezTo>
                <a:cubicBezTo>
                  <a:pt x="367" y="285"/>
                  <a:pt x="367" y="285"/>
                  <a:pt x="367" y="285"/>
                </a:cubicBezTo>
                <a:cubicBezTo>
                  <a:pt x="368" y="285"/>
                  <a:pt x="368" y="285"/>
                  <a:pt x="368" y="285"/>
                </a:cubicBezTo>
                <a:cubicBezTo>
                  <a:pt x="368" y="284"/>
                  <a:pt x="368" y="284"/>
                  <a:pt x="368" y="284"/>
                </a:cubicBezTo>
                <a:cubicBezTo>
                  <a:pt x="368" y="283"/>
                  <a:pt x="368" y="283"/>
                  <a:pt x="368" y="283"/>
                </a:cubicBezTo>
                <a:cubicBezTo>
                  <a:pt x="368" y="282"/>
                  <a:pt x="368" y="282"/>
                  <a:pt x="368" y="282"/>
                </a:cubicBezTo>
                <a:cubicBezTo>
                  <a:pt x="368" y="282"/>
                  <a:pt x="368" y="282"/>
                  <a:pt x="368" y="282"/>
                </a:cubicBezTo>
                <a:cubicBezTo>
                  <a:pt x="369" y="282"/>
                  <a:pt x="369" y="282"/>
                  <a:pt x="369" y="282"/>
                </a:cubicBezTo>
                <a:cubicBezTo>
                  <a:pt x="369" y="282"/>
                  <a:pt x="369" y="282"/>
                  <a:pt x="369" y="282"/>
                </a:cubicBezTo>
                <a:cubicBezTo>
                  <a:pt x="369" y="281"/>
                  <a:pt x="369" y="281"/>
                  <a:pt x="369" y="281"/>
                </a:cubicBezTo>
                <a:cubicBezTo>
                  <a:pt x="369" y="281"/>
                  <a:pt x="369" y="281"/>
                  <a:pt x="369" y="281"/>
                </a:cubicBezTo>
                <a:cubicBezTo>
                  <a:pt x="370" y="283"/>
                  <a:pt x="370" y="283"/>
                  <a:pt x="370" y="283"/>
                </a:cubicBezTo>
                <a:cubicBezTo>
                  <a:pt x="372" y="283"/>
                  <a:pt x="372" y="283"/>
                  <a:pt x="372" y="283"/>
                </a:cubicBezTo>
                <a:cubicBezTo>
                  <a:pt x="373" y="284"/>
                  <a:pt x="373" y="284"/>
                  <a:pt x="373" y="284"/>
                </a:cubicBezTo>
                <a:cubicBezTo>
                  <a:pt x="374" y="285"/>
                  <a:pt x="374" y="285"/>
                  <a:pt x="374" y="285"/>
                </a:cubicBezTo>
                <a:cubicBezTo>
                  <a:pt x="375" y="285"/>
                  <a:pt x="375" y="285"/>
                  <a:pt x="375" y="285"/>
                </a:cubicBezTo>
                <a:cubicBezTo>
                  <a:pt x="376" y="286"/>
                  <a:pt x="376" y="286"/>
                  <a:pt x="376" y="286"/>
                </a:cubicBezTo>
                <a:cubicBezTo>
                  <a:pt x="377" y="285"/>
                  <a:pt x="377" y="285"/>
                  <a:pt x="377" y="285"/>
                </a:cubicBezTo>
                <a:cubicBezTo>
                  <a:pt x="378" y="285"/>
                  <a:pt x="378" y="285"/>
                  <a:pt x="378" y="285"/>
                </a:cubicBezTo>
                <a:cubicBezTo>
                  <a:pt x="378" y="286"/>
                  <a:pt x="378" y="286"/>
                  <a:pt x="378" y="286"/>
                </a:cubicBezTo>
                <a:cubicBezTo>
                  <a:pt x="379" y="286"/>
                  <a:pt x="379" y="286"/>
                  <a:pt x="379" y="286"/>
                </a:cubicBezTo>
                <a:cubicBezTo>
                  <a:pt x="380" y="286"/>
                  <a:pt x="380" y="286"/>
                  <a:pt x="380" y="286"/>
                </a:cubicBezTo>
                <a:cubicBezTo>
                  <a:pt x="381" y="285"/>
                  <a:pt x="381" y="285"/>
                  <a:pt x="381" y="285"/>
                </a:cubicBezTo>
                <a:cubicBezTo>
                  <a:pt x="382" y="284"/>
                  <a:pt x="382" y="284"/>
                  <a:pt x="382" y="284"/>
                </a:cubicBezTo>
                <a:cubicBezTo>
                  <a:pt x="383" y="284"/>
                  <a:pt x="383" y="284"/>
                  <a:pt x="383" y="284"/>
                </a:cubicBezTo>
                <a:cubicBezTo>
                  <a:pt x="383" y="284"/>
                  <a:pt x="383" y="284"/>
                  <a:pt x="383" y="284"/>
                </a:cubicBezTo>
                <a:cubicBezTo>
                  <a:pt x="383" y="285"/>
                  <a:pt x="383" y="285"/>
                  <a:pt x="383" y="285"/>
                </a:cubicBezTo>
                <a:cubicBezTo>
                  <a:pt x="384" y="285"/>
                  <a:pt x="384" y="285"/>
                  <a:pt x="384" y="285"/>
                </a:cubicBezTo>
                <a:cubicBezTo>
                  <a:pt x="385" y="284"/>
                  <a:pt x="385" y="284"/>
                  <a:pt x="385" y="284"/>
                </a:cubicBezTo>
                <a:cubicBezTo>
                  <a:pt x="386" y="283"/>
                  <a:pt x="386" y="283"/>
                  <a:pt x="386" y="283"/>
                </a:cubicBezTo>
                <a:cubicBezTo>
                  <a:pt x="387" y="283"/>
                  <a:pt x="387" y="283"/>
                  <a:pt x="387" y="283"/>
                </a:cubicBezTo>
                <a:cubicBezTo>
                  <a:pt x="387" y="283"/>
                  <a:pt x="387" y="283"/>
                  <a:pt x="387" y="283"/>
                </a:cubicBezTo>
                <a:cubicBezTo>
                  <a:pt x="387" y="285"/>
                  <a:pt x="387" y="285"/>
                  <a:pt x="387" y="285"/>
                </a:cubicBezTo>
                <a:cubicBezTo>
                  <a:pt x="388" y="286"/>
                  <a:pt x="388" y="286"/>
                  <a:pt x="388" y="286"/>
                </a:cubicBezTo>
                <a:cubicBezTo>
                  <a:pt x="388" y="285"/>
                  <a:pt x="388" y="285"/>
                  <a:pt x="388" y="285"/>
                </a:cubicBezTo>
                <a:cubicBezTo>
                  <a:pt x="388" y="284"/>
                  <a:pt x="388" y="284"/>
                  <a:pt x="388" y="284"/>
                </a:cubicBezTo>
                <a:cubicBezTo>
                  <a:pt x="389" y="284"/>
                  <a:pt x="389" y="284"/>
                  <a:pt x="389" y="284"/>
                </a:cubicBezTo>
                <a:cubicBezTo>
                  <a:pt x="390" y="284"/>
                  <a:pt x="390" y="284"/>
                  <a:pt x="390" y="284"/>
                </a:cubicBezTo>
                <a:cubicBezTo>
                  <a:pt x="389" y="281"/>
                  <a:pt x="389" y="281"/>
                  <a:pt x="389" y="281"/>
                </a:cubicBezTo>
                <a:cubicBezTo>
                  <a:pt x="388" y="279"/>
                  <a:pt x="388" y="279"/>
                  <a:pt x="388" y="279"/>
                </a:cubicBezTo>
                <a:cubicBezTo>
                  <a:pt x="388" y="278"/>
                  <a:pt x="388" y="278"/>
                  <a:pt x="388" y="278"/>
                </a:cubicBezTo>
                <a:cubicBezTo>
                  <a:pt x="387" y="277"/>
                  <a:pt x="387" y="277"/>
                  <a:pt x="387" y="277"/>
                </a:cubicBezTo>
                <a:cubicBezTo>
                  <a:pt x="388" y="276"/>
                  <a:pt x="388" y="276"/>
                  <a:pt x="388" y="276"/>
                </a:cubicBezTo>
                <a:cubicBezTo>
                  <a:pt x="388" y="275"/>
                  <a:pt x="388" y="275"/>
                  <a:pt x="388" y="275"/>
                </a:cubicBezTo>
                <a:cubicBezTo>
                  <a:pt x="389" y="275"/>
                  <a:pt x="389" y="275"/>
                  <a:pt x="389" y="275"/>
                </a:cubicBezTo>
                <a:cubicBezTo>
                  <a:pt x="391" y="273"/>
                  <a:pt x="391" y="273"/>
                  <a:pt x="391" y="273"/>
                </a:cubicBezTo>
                <a:cubicBezTo>
                  <a:pt x="393" y="272"/>
                  <a:pt x="393" y="272"/>
                  <a:pt x="393" y="272"/>
                </a:cubicBezTo>
                <a:cubicBezTo>
                  <a:pt x="394" y="272"/>
                  <a:pt x="394" y="272"/>
                  <a:pt x="394" y="272"/>
                </a:cubicBezTo>
                <a:cubicBezTo>
                  <a:pt x="395" y="270"/>
                  <a:pt x="395" y="270"/>
                  <a:pt x="395" y="270"/>
                </a:cubicBezTo>
                <a:cubicBezTo>
                  <a:pt x="396" y="270"/>
                  <a:pt x="396" y="270"/>
                  <a:pt x="396" y="270"/>
                </a:cubicBezTo>
                <a:cubicBezTo>
                  <a:pt x="397" y="271"/>
                  <a:pt x="397" y="271"/>
                  <a:pt x="397" y="271"/>
                </a:cubicBezTo>
                <a:cubicBezTo>
                  <a:pt x="398" y="270"/>
                  <a:pt x="398" y="270"/>
                  <a:pt x="398" y="270"/>
                </a:cubicBezTo>
                <a:cubicBezTo>
                  <a:pt x="398" y="270"/>
                  <a:pt x="398" y="270"/>
                  <a:pt x="398" y="270"/>
                </a:cubicBezTo>
                <a:cubicBezTo>
                  <a:pt x="397" y="269"/>
                  <a:pt x="397" y="269"/>
                  <a:pt x="397" y="269"/>
                </a:cubicBezTo>
                <a:cubicBezTo>
                  <a:pt x="397" y="268"/>
                  <a:pt x="397" y="268"/>
                  <a:pt x="397" y="268"/>
                </a:cubicBezTo>
                <a:cubicBezTo>
                  <a:pt x="399" y="267"/>
                  <a:pt x="399" y="267"/>
                  <a:pt x="399" y="267"/>
                </a:cubicBezTo>
                <a:cubicBezTo>
                  <a:pt x="399" y="266"/>
                  <a:pt x="399" y="266"/>
                  <a:pt x="399" y="266"/>
                </a:cubicBezTo>
                <a:cubicBezTo>
                  <a:pt x="400" y="265"/>
                  <a:pt x="400" y="265"/>
                  <a:pt x="400" y="265"/>
                </a:cubicBezTo>
                <a:cubicBezTo>
                  <a:pt x="402" y="266"/>
                  <a:pt x="402" y="266"/>
                  <a:pt x="402" y="266"/>
                </a:cubicBezTo>
                <a:cubicBezTo>
                  <a:pt x="403" y="265"/>
                  <a:pt x="403" y="265"/>
                  <a:pt x="403" y="265"/>
                </a:cubicBezTo>
                <a:cubicBezTo>
                  <a:pt x="404" y="264"/>
                  <a:pt x="404" y="264"/>
                  <a:pt x="404" y="264"/>
                </a:cubicBezTo>
                <a:cubicBezTo>
                  <a:pt x="403" y="263"/>
                  <a:pt x="403" y="263"/>
                  <a:pt x="403" y="263"/>
                </a:cubicBezTo>
                <a:cubicBezTo>
                  <a:pt x="404" y="262"/>
                  <a:pt x="404" y="262"/>
                  <a:pt x="404" y="262"/>
                </a:cubicBezTo>
                <a:cubicBezTo>
                  <a:pt x="404" y="260"/>
                  <a:pt x="404" y="260"/>
                  <a:pt x="404" y="260"/>
                </a:cubicBezTo>
                <a:cubicBezTo>
                  <a:pt x="404" y="260"/>
                  <a:pt x="404" y="260"/>
                  <a:pt x="404" y="260"/>
                </a:cubicBezTo>
                <a:cubicBezTo>
                  <a:pt x="404" y="259"/>
                  <a:pt x="404" y="259"/>
                  <a:pt x="404" y="259"/>
                </a:cubicBezTo>
                <a:cubicBezTo>
                  <a:pt x="404" y="258"/>
                  <a:pt x="404" y="258"/>
                  <a:pt x="404" y="258"/>
                </a:cubicBezTo>
                <a:cubicBezTo>
                  <a:pt x="404" y="257"/>
                  <a:pt x="404" y="257"/>
                  <a:pt x="404" y="257"/>
                </a:cubicBezTo>
                <a:cubicBezTo>
                  <a:pt x="404" y="256"/>
                  <a:pt x="404" y="256"/>
                  <a:pt x="404" y="256"/>
                </a:cubicBezTo>
                <a:cubicBezTo>
                  <a:pt x="403" y="256"/>
                  <a:pt x="403" y="256"/>
                  <a:pt x="403" y="256"/>
                </a:cubicBezTo>
                <a:cubicBezTo>
                  <a:pt x="403" y="255"/>
                  <a:pt x="403" y="255"/>
                  <a:pt x="403" y="255"/>
                </a:cubicBezTo>
                <a:cubicBezTo>
                  <a:pt x="404" y="253"/>
                  <a:pt x="404" y="253"/>
                  <a:pt x="404" y="253"/>
                </a:cubicBezTo>
                <a:cubicBezTo>
                  <a:pt x="405" y="253"/>
                  <a:pt x="405" y="253"/>
                  <a:pt x="405" y="253"/>
                </a:cubicBezTo>
                <a:cubicBezTo>
                  <a:pt x="405" y="252"/>
                  <a:pt x="405" y="252"/>
                  <a:pt x="405" y="252"/>
                </a:cubicBezTo>
                <a:cubicBezTo>
                  <a:pt x="406" y="251"/>
                  <a:pt x="406" y="251"/>
                  <a:pt x="406" y="251"/>
                </a:cubicBezTo>
                <a:cubicBezTo>
                  <a:pt x="405" y="251"/>
                  <a:pt x="405" y="251"/>
                  <a:pt x="405" y="251"/>
                </a:cubicBezTo>
                <a:cubicBezTo>
                  <a:pt x="405" y="251"/>
                  <a:pt x="405" y="251"/>
                  <a:pt x="405" y="251"/>
                </a:cubicBezTo>
                <a:cubicBezTo>
                  <a:pt x="404" y="251"/>
                  <a:pt x="404" y="251"/>
                  <a:pt x="404" y="251"/>
                </a:cubicBezTo>
                <a:cubicBezTo>
                  <a:pt x="404" y="252"/>
                  <a:pt x="404" y="252"/>
                  <a:pt x="404" y="252"/>
                </a:cubicBezTo>
                <a:cubicBezTo>
                  <a:pt x="404" y="252"/>
                  <a:pt x="404" y="252"/>
                  <a:pt x="404" y="252"/>
                </a:cubicBezTo>
                <a:cubicBezTo>
                  <a:pt x="404" y="252"/>
                  <a:pt x="404" y="252"/>
                  <a:pt x="404" y="252"/>
                </a:cubicBezTo>
                <a:cubicBezTo>
                  <a:pt x="404" y="250"/>
                  <a:pt x="404" y="250"/>
                  <a:pt x="404" y="250"/>
                </a:cubicBezTo>
                <a:cubicBezTo>
                  <a:pt x="403" y="250"/>
                  <a:pt x="403" y="250"/>
                  <a:pt x="403" y="250"/>
                </a:cubicBezTo>
                <a:cubicBezTo>
                  <a:pt x="401" y="250"/>
                  <a:pt x="401" y="250"/>
                  <a:pt x="401" y="250"/>
                </a:cubicBezTo>
                <a:cubicBezTo>
                  <a:pt x="400" y="249"/>
                  <a:pt x="400" y="249"/>
                  <a:pt x="400" y="249"/>
                </a:cubicBezTo>
                <a:cubicBezTo>
                  <a:pt x="400" y="249"/>
                  <a:pt x="400" y="249"/>
                  <a:pt x="400" y="249"/>
                </a:cubicBezTo>
                <a:cubicBezTo>
                  <a:pt x="402" y="248"/>
                  <a:pt x="402" y="248"/>
                  <a:pt x="402" y="248"/>
                </a:cubicBezTo>
                <a:cubicBezTo>
                  <a:pt x="402" y="247"/>
                  <a:pt x="402" y="247"/>
                  <a:pt x="402" y="247"/>
                </a:cubicBezTo>
                <a:cubicBezTo>
                  <a:pt x="401" y="247"/>
                  <a:pt x="401" y="247"/>
                  <a:pt x="401" y="247"/>
                </a:cubicBezTo>
                <a:cubicBezTo>
                  <a:pt x="401" y="246"/>
                  <a:pt x="401" y="246"/>
                  <a:pt x="401" y="246"/>
                </a:cubicBezTo>
                <a:cubicBezTo>
                  <a:pt x="401" y="245"/>
                  <a:pt x="401" y="245"/>
                  <a:pt x="401" y="245"/>
                </a:cubicBezTo>
                <a:cubicBezTo>
                  <a:pt x="400" y="244"/>
                  <a:pt x="400" y="244"/>
                  <a:pt x="400" y="244"/>
                </a:cubicBezTo>
                <a:cubicBezTo>
                  <a:pt x="400" y="244"/>
                  <a:pt x="400" y="244"/>
                  <a:pt x="400" y="244"/>
                </a:cubicBezTo>
                <a:cubicBezTo>
                  <a:pt x="400" y="245"/>
                  <a:pt x="400" y="245"/>
                  <a:pt x="400" y="245"/>
                </a:cubicBezTo>
                <a:cubicBezTo>
                  <a:pt x="400" y="246"/>
                  <a:pt x="400" y="246"/>
                  <a:pt x="400" y="246"/>
                </a:cubicBezTo>
                <a:cubicBezTo>
                  <a:pt x="400" y="246"/>
                  <a:pt x="400" y="246"/>
                  <a:pt x="400" y="246"/>
                </a:cubicBezTo>
                <a:cubicBezTo>
                  <a:pt x="398" y="247"/>
                  <a:pt x="398" y="247"/>
                  <a:pt x="398" y="247"/>
                </a:cubicBezTo>
                <a:cubicBezTo>
                  <a:pt x="398" y="246"/>
                  <a:pt x="398" y="246"/>
                  <a:pt x="398" y="246"/>
                </a:cubicBezTo>
                <a:cubicBezTo>
                  <a:pt x="397" y="245"/>
                  <a:pt x="397" y="245"/>
                  <a:pt x="397" y="245"/>
                </a:cubicBezTo>
                <a:cubicBezTo>
                  <a:pt x="397" y="244"/>
                  <a:pt x="397" y="244"/>
                  <a:pt x="397" y="244"/>
                </a:cubicBezTo>
                <a:cubicBezTo>
                  <a:pt x="398" y="243"/>
                  <a:pt x="398" y="243"/>
                  <a:pt x="398" y="243"/>
                </a:cubicBezTo>
                <a:cubicBezTo>
                  <a:pt x="398" y="242"/>
                  <a:pt x="398" y="242"/>
                  <a:pt x="398" y="242"/>
                </a:cubicBezTo>
                <a:cubicBezTo>
                  <a:pt x="396" y="242"/>
                  <a:pt x="396" y="242"/>
                  <a:pt x="396" y="242"/>
                </a:cubicBezTo>
                <a:cubicBezTo>
                  <a:pt x="396" y="242"/>
                  <a:pt x="396" y="242"/>
                  <a:pt x="396" y="242"/>
                </a:cubicBezTo>
                <a:cubicBezTo>
                  <a:pt x="397" y="242"/>
                  <a:pt x="397" y="242"/>
                  <a:pt x="397" y="242"/>
                </a:cubicBezTo>
                <a:cubicBezTo>
                  <a:pt x="398" y="241"/>
                  <a:pt x="398" y="241"/>
                  <a:pt x="398" y="241"/>
                </a:cubicBezTo>
                <a:cubicBezTo>
                  <a:pt x="397" y="241"/>
                  <a:pt x="397" y="241"/>
                  <a:pt x="397" y="241"/>
                </a:cubicBezTo>
                <a:cubicBezTo>
                  <a:pt x="397" y="240"/>
                  <a:pt x="397" y="240"/>
                  <a:pt x="397" y="240"/>
                </a:cubicBezTo>
                <a:cubicBezTo>
                  <a:pt x="398" y="240"/>
                  <a:pt x="398" y="240"/>
                  <a:pt x="398" y="240"/>
                </a:cubicBezTo>
                <a:cubicBezTo>
                  <a:pt x="398" y="239"/>
                  <a:pt x="398" y="239"/>
                  <a:pt x="398" y="239"/>
                </a:cubicBezTo>
                <a:cubicBezTo>
                  <a:pt x="398" y="239"/>
                  <a:pt x="398" y="239"/>
                  <a:pt x="398" y="239"/>
                </a:cubicBezTo>
                <a:cubicBezTo>
                  <a:pt x="397" y="240"/>
                  <a:pt x="397" y="240"/>
                  <a:pt x="397" y="240"/>
                </a:cubicBezTo>
                <a:cubicBezTo>
                  <a:pt x="396" y="241"/>
                  <a:pt x="396" y="241"/>
                  <a:pt x="396" y="241"/>
                </a:cubicBezTo>
                <a:cubicBezTo>
                  <a:pt x="395" y="241"/>
                  <a:pt x="395" y="241"/>
                  <a:pt x="395" y="241"/>
                </a:cubicBezTo>
                <a:cubicBezTo>
                  <a:pt x="395" y="241"/>
                  <a:pt x="395" y="241"/>
                  <a:pt x="395" y="241"/>
                </a:cubicBezTo>
                <a:cubicBezTo>
                  <a:pt x="394" y="240"/>
                  <a:pt x="394" y="240"/>
                  <a:pt x="394" y="240"/>
                </a:cubicBezTo>
                <a:cubicBezTo>
                  <a:pt x="394" y="240"/>
                  <a:pt x="394" y="240"/>
                  <a:pt x="394" y="240"/>
                </a:cubicBezTo>
                <a:cubicBezTo>
                  <a:pt x="393" y="241"/>
                  <a:pt x="393" y="241"/>
                  <a:pt x="393" y="241"/>
                </a:cubicBezTo>
                <a:cubicBezTo>
                  <a:pt x="392" y="241"/>
                  <a:pt x="392" y="241"/>
                  <a:pt x="392" y="241"/>
                </a:cubicBezTo>
                <a:cubicBezTo>
                  <a:pt x="391" y="242"/>
                  <a:pt x="391" y="242"/>
                  <a:pt x="391" y="242"/>
                </a:cubicBezTo>
                <a:cubicBezTo>
                  <a:pt x="390" y="242"/>
                  <a:pt x="390" y="242"/>
                  <a:pt x="390" y="242"/>
                </a:cubicBezTo>
                <a:cubicBezTo>
                  <a:pt x="390" y="242"/>
                  <a:pt x="390" y="242"/>
                  <a:pt x="390" y="242"/>
                </a:cubicBezTo>
                <a:cubicBezTo>
                  <a:pt x="389" y="242"/>
                  <a:pt x="389" y="242"/>
                  <a:pt x="389" y="242"/>
                </a:cubicBezTo>
                <a:cubicBezTo>
                  <a:pt x="389" y="242"/>
                  <a:pt x="389" y="242"/>
                  <a:pt x="389" y="242"/>
                </a:cubicBezTo>
                <a:cubicBezTo>
                  <a:pt x="389" y="242"/>
                  <a:pt x="389" y="242"/>
                  <a:pt x="389" y="242"/>
                </a:cubicBezTo>
                <a:cubicBezTo>
                  <a:pt x="389" y="241"/>
                  <a:pt x="389" y="241"/>
                  <a:pt x="389" y="241"/>
                </a:cubicBezTo>
                <a:cubicBezTo>
                  <a:pt x="389" y="240"/>
                  <a:pt x="389" y="240"/>
                  <a:pt x="389" y="240"/>
                </a:cubicBezTo>
                <a:cubicBezTo>
                  <a:pt x="389" y="240"/>
                  <a:pt x="389" y="240"/>
                  <a:pt x="389" y="240"/>
                </a:cubicBezTo>
                <a:cubicBezTo>
                  <a:pt x="390" y="239"/>
                  <a:pt x="390" y="239"/>
                  <a:pt x="390" y="239"/>
                </a:cubicBezTo>
                <a:cubicBezTo>
                  <a:pt x="390" y="239"/>
                  <a:pt x="390" y="239"/>
                  <a:pt x="390" y="239"/>
                </a:cubicBezTo>
                <a:cubicBezTo>
                  <a:pt x="391" y="239"/>
                  <a:pt x="391" y="239"/>
                  <a:pt x="391" y="239"/>
                </a:cubicBezTo>
                <a:cubicBezTo>
                  <a:pt x="392" y="239"/>
                  <a:pt x="392" y="239"/>
                  <a:pt x="392" y="239"/>
                </a:cubicBezTo>
                <a:cubicBezTo>
                  <a:pt x="392" y="239"/>
                  <a:pt x="392" y="239"/>
                  <a:pt x="392" y="239"/>
                </a:cubicBezTo>
                <a:cubicBezTo>
                  <a:pt x="393" y="239"/>
                  <a:pt x="393" y="239"/>
                  <a:pt x="393" y="239"/>
                </a:cubicBezTo>
                <a:cubicBezTo>
                  <a:pt x="394" y="238"/>
                  <a:pt x="394" y="238"/>
                  <a:pt x="394" y="238"/>
                </a:cubicBezTo>
                <a:cubicBezTo>
                  <a:pt x="394" y="237"/>
                  <a:pt x="394" y="237"/>
                  <a:pt x="394" y="237"/>
                </a:cubicBezTo>
                <a:cubicBezTo>
                  <a:pt x="394" y="236"/>
                  <a:pt x="394" y="236"/>
                  <a:pt x="394" y="236"/>
                </a:cubicBezTo>
                <a:cubicBezTo>
                  <a:pt x="393" y="235"/>
                  <a:pt x="393" y="235"/>
                  <a:pt x="393" y="235"/>
                </a:cubicBezTo>
                <a:cubicBezTo>
                  <a:pt x="392" y="235"/>
                  <a:pt x="392" y="235"/>
                  <a:pt x="392" y="235"/>
                </a:cubicBezTo>
                <a:cubicBezTo>
                  <a:pt x="391" y="234"/>
                  <a:pt x="391" y="234"/>
                  <a:pt x="391" y="234"/>
                </a:cubicBezTo>
                <a:cubicBezTo>
                  <a:pt x="391" y="233"/>
                  <a:pt x="391" y="233"/>
                  <a:pt x="391" y="233"/>
                </a:cubicBezTo>
                <a:cubicBezTo>
                  <a:pt x="391" y="233"/>
                  <a:pt x="391" y="233"/>
                  <a:pt x="391" y="233"/>
                </a:cubicBezTo>
                <a:cubicBezTo>
                  <a:pt x="391" y="232"/>
                  <a:pt x="391" y="232"/>
                  <a:pt x="391" y="232"/>
                </a:cubicBezTo>
                <a:cubicBezTo>
                  <a:pt x="390" y="232"/>
                  <a:pt x="390" y="232"/>
                  <a:pt x="390" y="232"/>
                </a:cubicBezTo>
                <a:cubicBezTo>
                  <a:pt x="390" y="232"/>
                  <a:pt x="390" y="232"/>
                  <a:pt x="390" y="232"/>
                </a:cubicBezTo>
                <a:cubicBezTo>
                  <a:pt x="389" y="231"/>
                  <a:pt x="389" y="231"/>
                  <a:pt x="389" y="231"/>
                </a:cubicBezTo>
                <a:cubicBezTo>
                  <a:pt x="389" y="230"/>
                  <a:pt x="389" y="230"/>
                  <a:pt x="389" y="230"/>
                </a:cubicBezTo>
                <a:cubicBezTo>
                  <a:pt x="390" y="230"/>
                  <a:pt x="390" y="230"/>
                  <a:pt x="390" y="230"/>
                </a:cubicBezTo>
                <a:cubicBezTo>
                  <a:pt x="390" y="231"/>
                  <a:pt x="390" y="231"/>
                  <a:pt x="390" y="231"/>
                </a:cubicBezTo>
                <a:cubicBezTo>
                  <a:pt x="391" y="230"/>
                  <a:pt x="391" y="230"/>
                  <a:pt x="391" y="230"/>
                </a:cubicBezTo>
                <a:cubicBezTo>
                  <a:pt x="391" y="230"/>
                  <a:pt x="391" y="230"/>
                  <a:pt x="391" y="230"/>
                </a:cubicBezTo>
                <a:cubicBezTo>
                  <a:pt x="392" y="229"/>
                  <a:pt x="392" y="229"/>
                  <a:pt x="392" y="229"/>
                </a:cubicBezTo>
                <a:cubicBezTo>
                  <a:pt x="390" y="229"/>
                  <a:pt x="390" y="229"/>
                  <a:pt x="390" y="229"/>
                </a:cubicBezTo>
                <a:cubicBezTo>
                  <a:pt x="390" y="228"/>
                  <a:pt x="390" y="228"/>
                  <a:pt x="390" y="228"/>
                </a:cubicBezTo>
                <a:cubicBezTo>
                  <a:pt x="389" y="228"/>
                  <a:pt x="389" y="228"/>
                  <a:pt x="389" y="228"/>
                </a:cubicBezTo>
                <a:cubicBezTo>
                  <a:pt x="389" y="228"/>
                  <a:pt x="389" y="228"/>
                  <a:pt x="389" y="228"/>
                </a:cubicBezTo>
                <a:cubicBezTo>
                  <a:pt x="388" y="227"/>
                  <a:pt x="388" y="227"/>
                  <a:pt x="388" y="227"/>
                </a:cubicBezTo>
                <a:cubicBezTo>
                  <a:pt x="387" y="228"/>
                  <a:pt x="387" y="228"/>
                  <a:pt x="387" y="228"/>
                </a:cubicBezTo>
                <a:cubicBezTo>
                  <a:pt x="387" y="228"/>
                  <a:pt x="387" y="228"/>
                  <a:pt x="387" y="228"/>
                </a:cubicBezTo>
                <a:cubicBezTo>
                  <a:pt x="387" y="228"/>
                  <a:pt x="387" y="228"/>
                  <a:pt x="387" y="228"/>
                </a:cubicBezTo>
                <a:cubicBezTo>
                  <a:pt x="388" y="226"/>
                  <a:pt x="388" y="226"/>
                  <a:pt x="388" y="226"/>
                </a:cubicBezTo>
                <a:cubicBezTo>
                  <a:pt x="389" y="224"/>
                  <a:pt x="389" y="224"/>
                  <a:pt x="389" y="224"/>
                </a:cubicBezTo>
                <a:cubicBezTo>
                  <a:pt x="389" y="224"/>
                  <a:pt x="389" y="224"/>
                  <a:pt x="389" y="224"/>
                </a:cubicBezTo>
                <a:cubicBezTo>
                  <a:pt x="389" y="222"/>
                  <a:pt x="389" y="222"/>
                  <a:pt x="389" y="222"/>
                </a:cubicBezTo>
                <a:cubicBezTo>
                  <a:pt x="389" y="221"/>
                  <a:pt x="389" y="221"/>
                  <a:pt x="389" y="221"/>
                </a:cubicBezTo>
                <a:cubicBezTo>
                  <a:pt x="390" y="220"/>
                  <a:pt x="390" y="220"/>
                  <a:pt x="390" y="220"/>
                </a:cubicBezTo>
                <a:cubicBezTo>
                  <a:pt x="389" y="219"/>
                  <a:pt x="389" y="219"/>
                  <a:pt x="389" y="219"/>
                </a:cubicBezTo>
                <a:cubicBezTo>
                  <a:pt x="388" y="220"/>
                  <a:pt x="388" y="220"/>
                  <a:pt x="388" y="220"/>
                </a:cubicBezTo>
                <a:cubicBezTo>
                  <a:pt x="388" y="220"/>
                  <a:pt x="388" y="220"/>
                  <a:pt x="388" y="220"/>
                </a:cubicBezTo>
                <a:cubicBezTo>
                  <a:pt x="387" y="220"/>
                  <a:pt x="387" y="220"/>
                  <a:pt x="387" y="220"/>
                </a:cubicBezTo>
                <a:cubicBezTo>
                  <a:pt x="387" y="221"/>
                  <a:pt x="387" y="221"/>
                  <a:pt x="387" y="221"/>
                </a:cubicBezTo>
                <a:cubicBezTo>
                  <a:pt x="386" y="220"/>
                  <a:pt x="386" y="220"/>
                  <a:pt x="386" y="220"/>
                </a:cubicBezTo>
                <a:cubicBezTo>
                  <a:pt x="385" y="219"/>
                  <a:pt x="385" y="219"/>
                  <a:pt x="385" y="219"/>
                </a:cubicBezTo>
                <a:cubicBezTo>
                  <a:pt x="385" y="218"/>
                  <a:pt x="385" y="218"/>
                  <a:pt x="385" y="218"/>
                </a:cubicBezTo>
                <a:cubicBezTo>
                  <a:pt x="384" y="217"/>
                  <a:pt x="384" y="217"/>
                  <a:pt x="384" y="217"/>
                </a:cubicBezTo>
                <a:cubicBezTo>
                  <a:pt x="384" y="217"/>
                  <a:pt x="384" y="217"/>
                  <a:pt x="384" y="217"/>
                </a:cubicBezTo>
                <a:cubicBezTo>
                  <a:pt x="384" y="215"/>
                  <a:pt x="384" y="215"/>
                  <a:pt x="384" y="215"/>
                </a:cubicBezTo>
                <a:cubicBezTo>
                  <a:pt x="385" y="215"/>
                  <a:pt x="385" y="215"/>
                  <a:pt x="385" y="215"/>
                </a:cubicBezTo>
                <a:cubicBezTo>
                  <a:pt x="385" y="214"/>
                  <a:pt x="385" y="214"/>
                  <a:pt x="385" y="214"/>
                </a:cubicBezTo>
                <a:cubicBezTo>
                  <a:pt x="385" y="214"/>
                  <a:pt x="385" y="214"/>
                  <a:pt x="385" y="214"/>
                </a:cubicBezTo>
                <a:cubicBezTo>
                  <a:pt x="385" y="212"/>
                  <a:pt x="385" y="212"/>
                  <a:pt x="385" y="212"/>
                </a:cubicBezTo>
                <a:cubicBezTo>
                  <a:pt x="384" y="213"/>
                  <a:pt x="384" y="213"/>
                  <a:pt x="384" y="213"/>
                </a:cubicBezTo>
                <a:cubicBezTo>
                  <a:pt x="384" y="213"/>
                  <a:pt x="384" y="213"/>
                  <a:pt x="384" y="213"/>
                </a:cubicBezTo>
                <a:cubicBezTo>
                  <a:pt x="383" y="215"/>
                  <a:pt x="383" y="215"/>
                  <a:pt x="383" y="215"/>
                </a:cubicBezTo>
                <a:cubicBezTo>
                  <a:pt x="383" y="216"/>
                  <a:pt x="383" y="216"/>
                  <a:pt x="383" y="216"/>
                </a:cubicBezTo>
                <a:cubicBezTo>
                  <a:pt x="382" y="215"/>
                  <a:pt x="382" y="215"/>
                  <a:pt x="382" y="215"/>
                </a:cubicBezTo>
                <a:cubicBezTo>
                  <a:pt x="382" y="215"/>
                  <a:pt x="382" y="215"/>
                  <a:pt x="382" y="215"/>
                </a:cubicBezTo>
                <a:cubicBezTo>
                  <a:pt x="382" y="215"/>
                  <a:pt x="382" y="215"/>
                  <a:pt x="382" y="215"/>
                </a:cubicBezTo>
                <a:cubicBezTo>
                  <a:pt x="381" y="216"/>
                  <a:pt x="381" y="216"/>
                  <a:pt x="381" y="216"/>
                </a:cubicBezTo>
                <a:cubicBezTo>
                  <a:pt x="381" y="216"/>
                  <a:pt x="381" y="216"/>
                  <a:pt x="381" y="216"/>
                </a:cubicBezTo>
                <a:cubicBezTo>
                  <a:pt x="381" y="217"/>
                  <a:pt x="381" y="217"/>
                  <a:pt x="381" y="217"/>
                </a:cubicBezTo>
                <a:cubicBezTo>
                  <a:pt x="382" y="218"/>
                  <a:pt x="382" y="218"/>
                  <a:pt x="382" y="218"/>
                </a:cubicBezTo>
                <a:cubicBezTo>
                  <a:pt x="382" y="218"/>
                  <a:pt x="382" y="218"/>
                  <a:pt x="382" y="218"/>
                </a:cubicBezTo>
                <a:cubicBezTo>
                  <a:pt x="383" y="221"/>
                  <a:pt x="383" y="221"/>
                  <a:pt x="383" y="221"/>
                </a:cubicBezTo>
                <a:cubicBezTo>
                  <a:pt x="384" y="221"/>
                  <a:pt x="384" y="221"/>
                  <a:pt x="384" y="221"/>
                </a:cubicBezTo>
                <a:cubicBezTo>
                  <a:pt x="384" y="222"/>
                  <a:pt x="384" y="222"/>
                  <a:pt x="384" y="222"/>
                </a:cubicBezTo>
                <a:cubicBezTo>
                  <a:pt x="384" y="223"/>
                  <a:pt x="384" y="223"/>
                  <a:pt x="384" y="223"/>
                </a:cubicBezTo>
                <a:cubicBezTo>
                  <a:pt x="383" y="225"/>
                  <a:pt x="383" y="225"/>
                  <a:pt x="383" y="225"/>
                </a:cubicBezTo>
                <a:cubicBezTo>
                  <a:pt x="382" y="225"/>
                  <a:pt x="382" y="225"/>
                  <a:pt x="382" y="225"/>
                </a:cubicBezTo>
                <a:cubicBezTo>
                  <a:pt x="379" y="225"/>
                  <a:pt x="379" y="225"/>
                  <a:pt x="379" y="225"/>
                </a:cubicBezTo>
                <a:cubicBezTo>
                  <a:pt x="379" y="225"/>
                  <a:pt x="379" y="225"/>
                  <a:pt x="379" y="225"/>
                </a:cubicBezTo>
                <a:cubicBezTo>
                  <a:pt x="378" y="225"/>
                  <a:pt x="378" y="225"/>
                  <a:pt x="378" y="225"/>
                </a:cubicBezTo>
                <a:cubicBezTo>
                  <a:pt x="376" y="224"/>
                  <a:pt x="376" y="224"/>
                  <a:pt x="376" y="224"/>
                </a:cubicBezTo>
                <a:cubicBezTo>
                  <a:pt x="377" y="224"/>
                  <a:pt x="377" y="224"/>
                  <a:pt x="377" y="224"/>
                </a:cubicBezTo>
                <a:cubicBezTo>
                  <a:pt x="377" y="223"/>
                  <a:pt x="377" y="223"/>
                  <a:pt x="377" y="223"/>
                </a:cubicBezTo>
                <a:cubicBezTo>
                  <a:pt x="375" y="223"/>
                  <a:pt x="375" y="223"/>
                  <a:pt x="375" y="223"/>
                </a:cubicBezTo>
                <a:cubicBezTo>
                  <a:pt x="373" y="222"/>
                  <a:pt x="373" y="222"/>
                  <a:pt x="373" y="222"/>
                </a:cubicBezTo>
                <a:cubicBezTo>
                  <a:pt x="371" y="221"/>
                  <a:pt x="371" y="221"/>
                  <a:pt x="371" y="221"/>
                </a:cubicBezTo>
                <a:cubicBezTo>
                  <a:pt x="372" y="224"/>
                  <a:pt x="372" y="224"/>
                  <a:pt x="372" y="224"/>
                </a:cubicBezTo>
                <a:cubicBezTo>
                  <a:pt x="372" y="225"/>
                  <a:pt x="372" y="225"/>
                  <a:pt x="372" y="225"/>
                </a:cubicBezTo>
                <a:cubicBezTo>
                  <a:pt x="372" y="225"/>
                  <a:pt x="372" y="225"/>
                  <a:pt x="372" y="225"/>
                </a:cubicBezTo>
                <a:cubicBezTo>
                  <a:pt x="371" y="225"/>
                  <a:pt x="371" y="225"/>
                  <a:pt x="371" y="225"/>
                </a:cubicBezTo>
                <a:cubicBezTo>
                  <a:pt x="370" y="224"/>
                  <a:pt x="370" y="224"/>
                  <a:pt x="370" y="224"/>
                </a:cubicBezTo>
                <a:cubicBezTo>
                  <a:pt x="369" y="223"/>
                  <a:pt x="369" y="223"/>
                  <a:pt x="369" y="223"/>
                </a:cubicBezTo>
                <a:cubicBezTo>
                  <a:pt x="369" y="223"/>
                  <a:pt x="369" y="223"/>
                  <a:pt x="369" y="223"/>
                </a:cubicBezTo>
                <a:cubicBezTo>
                  <a:pt x="369" y="222"/>
                  <a:pt x="369" y="222"/>
                  <a:pt x="369" y="222"/>
                </a:cubicBezTo>
                <a:cubicBezTo>
                  <a:pt x="368" y="221"/>
                  <a:pt x="368" y="221"/>
                  <a:pt x="368" y="221"/>
                </a:cubicBezTo>
                <a:cubicBezTo>
                  <a:pt x="367" y="220"/>
                  <a:pt x="367" y="220"/>
                  <a:pt x="367" y="220"/>
                </a:cubicBezTo>
                <a:cubicBezTo>
                  <a:pt x="366" y="219"/>
                  <a:pt x="366" y="219"/>
                  <a:pt x="366" y="219"/>
                </a:cubicBezTo>
                <a:cubicBezTo>
                  <a:pt x="366" y="219"/>
                  <a:pt x="366" y="219"/>
                  <a:pt x="366" y="219"/>
                </a:cubicBezTo>
                <a:cubicBezTo>
                  <a:pt x="365" y="217"/>
                  <a:pt x="365" y="217"/>
                  <a:pt x="365" y="217"/>
                </a:cubicBezTo>
                <a:cubicBezTo>
                  <a:pt x="364" y="217"/>
                  <a:pt x="364" y="217"/>
                  <a:pt x="364" y="217"/>
                </a:cubicBezTo>
                <a:cubicBezTo>
                  <a:pt x="363" y="217"/>
                  <a:pt x="363" y="217"/>
                  <a:pt x="363" y="217"/>
                </a:cubicBezTo>
                <a:cubicBezTo>
                  <a:pt x="362" y="216"/>
                  <a:pt x="362" y="216"/>
                  <a:pt x="362" y="216"/>
                </a:cubicBezTo>
                <a:cubicBezTo>
                  <a:pt x="363" y="217"/>
                  <a:pt x="363" y="217"/>
                  <a:pt x="363" y="217"/>
                </a:cubicBezTo>
                <a:cubicBezTo>
                  <a:pt x="365" y="219"/>
                  <a:pt x="365" y="219"/>
                  <a:pt x="365" y="219"/>
                </a:cubicBezTo>
                <a:cubicBezTo>
                  <a:pt x="366" y="220"/>
                  <a:pt x="366" y="220"/>
                  <a:pt x="366" y="220"/>
                </a:cubicBezTo>
                <a:cubicBezTo>
                  <a:pt x="366" y="221"/>
                  <a:pt x="366" y="221"/>
                  <a:pt x="366" y="221"/>
                </a:cubicBezTo>
                <a:cubicBezTo>
                  <a:pt x="367" y="222"/>
                  <a:pt x="367" y="222"/>
                  <a:pt x="367" y="222"/>
                </a:cubicBezTo>
                <a:cubicBezTo>
                  <a:pt x="368" y="222"/>
                  <a:pt x="368" y="222"/>
                  <a:pt x="368" y="222"/>
                </a:cubicBezTo>
                <a:cubicBezTo>
                  <a:pt x="367" y="223"/>
                  <a:pt x="367" y="223"/>
                  <a:pt x="367" y="223"/>
                </a:cubicBezTo>
                <a:cubicBezTo>
                  <a:pt x="367" y="223"/>
                  <a:pt x="367" y="223"/>
                  <a:pt x="367" y="223"/>
                </a:cubicBezTo>
                <a:cubicBezTo>
                  <a:pt x="366" y="223"/>
                  <a:pt x="366" y="223"/>
                  <a:pt x="366" y="223"/>
                </a:cubicBezTo>
                <a:cubicBezTo>
                  <a:pt x="364" y="222"/>
                  <a:pt x="364" y="222"/>
                  <a:pt x="364" y="222"/>
                </a:cubicBezTo>
                <a:cubicBezTo>
                  <a:pt x="364" y="223"/>
                  <a:pt x="364" y="223"/>
                  <a:pt x="364" y="223"/>
                </a:cubicBezTo>
                <a:cubicBezTo>
                  <a:pt x="363" y="222"/>
                  <a:pt x="363" y="222"/>
                  <a:pt x="363" y="222"/>
                </a:cubicBezTo>
                <a:cubicBezTo>
                  <a:pt x="362" y="221"/>
                  <a:pt x="362" y="221"/>
                  <a:pt x="362" y="221"/>
                </a:cubicBezTo>
                <a:cubicBezTo>
                  <a:pt x="361" y="220"/>
                  <a:pt x="361" y="220"/>
                  <a:pt x="361" y="220"/>
                </a:cubicBezTo>
                <a:cubicBezTo>
                  <a:pt x="359" y="220"/>
                  <a:pt x="359" y="220"/>
                  <a:pt x="359" y="220"/>
                </a:cubicBezTo>
                <a:cubicBezTo>
                  <a:pt x="358" y="221"/>
                  <a:pt x="358" y="221"/>
                  <a:pt x="358" y="221"/>
                </a:cubicBezTo>
                <a:cubicBezTo>
                  <a:pt x="357" y="220"/>
                  <a:pt x="357" y="220"/>
                  <a:pt x="357" y="220"/>
                </a:cubicBezTo>
                <a:cubicBezTo>
                  <a:pt x="356" y="220"/>
                  <a:pt x="356" y="220"/>
                  <a:pt x="356" y="220"/>
                </a:cubicBezTo>
                <a:cubicBezTo>
                  <a:pt x="355" y="220"/>
                  <a:pt x="355" y="220"/>
                  <a:pt x="355" y="220"/>
                </a:cubicBezTo>
                <a:cubicBezTo>
                  <a:pt x="354" y="219"/>
                  <a:pt x="354" y="219"/>
                  <a:pt x="354" y="219"/>
                </a:cubicBezTo>
                <a:cubicBezTo>
                  <a:pt x="353" y="218"/>
                  <a:pt x="353" y="218"/>
                  <a:pt x="353" y="218"/>
                </a:cubicBezTo>
                <a:cubicBezTo>
                  <a:pt x="353" y="217"/>
                  <a:pt x="353" y="217"/>
                  <a:pt x="353" y="217"/>
                </a:cubicBezTo>
                <a:cubicBezTo>
                  <a:pt x="355" y="216"/>
                  <a:pt x="355" y="216"/>
                  <a:pt x="355" y="216"/>
                </a:cubicBezTo>
                <a:cubicBezTo>
                  <a:pt x="355" y="215"/>
                  <a:pt x="355" y="215"/>
                  <a:pt x="355" y="215"/>
                </a:cubicBezTo>
                <a:cubicBezTo>
                  <a:pt x="355" y="215"/>
                  <a:pt x="355" y="215"/>
                  <a:pt x="355" y="215"/>
                </a:cubicBezTo>
                <a:cubicBezTo>
                  <a:pt x="354" y="215"/>
                  <a:pt x="354" y="215"/>
                  <a:pt x="354" y="215"/>
                </a:cubicBezTo>
                <a:cubicBezTo>
                  <a:pt x="353" y="216"/>
                  <a:pt x="353" y="216"/>
                  <a:pt x="353" y="216"/>
                </a:cubicBezTo>
                <a:cubicBezTo>
                  <a:pt x="352" y="217"/>
                  <a:pt x="352" y="217"/>
                  <a:pt x="352" y="217"/>
                </a:cubicBezTo>
                <a:cubicBezTo>
                  <a:pt x="352" y="217"/>
                  <a:pt x="352" y="217"/>
                  <a:pt x="352" y="217"/>
                </a:cubicBezTo>
                <a:cubicBezTo>
                  <a:pt x="351" y="217"/>
                  <a:pt x="351" y="217"/>
                  <a:pt x="351" y="217"/>
                </a:cubicBezTo>
                <a:cubicBezTo>
                  <a:pt x="350" y="216"/>
                  <a:pt x="350" y="216"/>
                  <a:pt x="350" y="216"/>
                </a:cubicBezTo>
                <a:cubicBezTo>
                  <a:pt x="349" y="216"/>
                  <a:pt x="349" y="216"/>
                  <a:pt x="349" y="216"/>
                </a:cubicBezTo>
                <a:cubicBezTo>
                  <a:pt x="350" y="217"/>
                  <a:pt x="350" y="217"/>
                  <a:pt x="350" y="217"/>
                </a:cubicBezTo>
                <a:cubicBezTo>
                  <a:pt x="350" y="218"/>
                  <a:pt x="350" y="218"/>
                  <a:pt x="350" y="218"/>
                </a:cubicBezTo>
                <a:cubicBezTo>
                  <a:pt x="348" y="218"/>
                  <a:pt x="348" y="218"/>
                  <a:pt x="348" y="218"/>
                </a:cubicBezTo>
                <a:cubicBezTo>
                  <a:pt x="346" y="216"/>
                  <a:pt x="346" y="216"/>
                  <a:pt x="346" y="216"/>
                </a:cubicBezTo>
                <a:cubicBezTo>
                  <a:pt x="346" y="215"/>
                  <a:pt x="346" y="215"/>
                  <a:pt x="346" y="215"/>
                </a:cubicBezTo>
                <a:cubicBezTo>
                  <a:pt x="345" y="214"/>
                  <a:pt x="345" y="214"/>
                  <a:pt x="345" y="214"/>
                </a:cubicBezTo>
                <a:cubicBezTo>
                  <a:pt x="345" y="213"/>
                  <a:pt x="345" y="213"/>
                  <a:pt x="345" y="213"/>
                </a:cubicBezTo>
                <a:cubicBezTo>
                  <a:pt x="347" y="212"/>
                  <a:pt x="347" y="212"/>
                  <a:pt x="347" y="212"/>
                </a:cubicBezTo>
                <a:cubicBezTo>
                  <a:pt x="348" y="211"/>
                  <a:pt x="348" y="211"/>
                  <a:pt x="348" y="211"/>
                </a:cubicBezTo>
                <a:cubicBezTo>
                  <a:pt x="348" y="211"/>
                  <a:pt x="348" y="211"/>
                  <a:pt x="348" y="211"/>
                </a:cubicBezTo>
                <a:cubicBezTo>
                  <a:pt x="347" y="211"/>
                  <a:pt x="347" y="211"/>
                  <a:pt x="347" y="211"/>
                </a:cubicBezTo>
                <a:cubicBezTo>
                  <a:pt x="345" y="212"/>
                  <a:pt x="345" y="212"/>
                  <a:pt x="345" y="212"/>
                </a:cubicBezTo>
                <a:cubicBezTo>
                  <a:pt x="345" y="213"/>
                  <a:pt x="345" y="213"/>
                  <a:pt x="345" y="213"/>
                </a:cubicBezTo>
                <a:cubicBezTo>
                  <a:pt x="344" y="213"/>
                  <a:pt x="344" y="213"/>
                  <a:pt x="344" y="213"/>
                </a:cubicBezTo>
                <a:cubicBezTo>
                  <a:pt x="344" y="212"/>
                  <a:pt x="344" y="212"/>
                  <a:pt x="344" y="212"/>
                </a:cubicBezTo>
                <a:cubicBezTo>
                  <a:pt x="344" y="211"/>
                  <a:pt x="344" y="211"/>
                  <a:pt x="344" y="211"/>
                </a:cubicBezTo>
                <a:cubicBezTo>
                  <a:pt x="343" y="211"/>
                  <a:pt x="343" y="211"/>
                  <a:pt x="343" y="211"/>
                </a:cubicBezTo>
                <a:cubicBezTo>
                  <a:pt x="343" y="211"/>
                  <a:pt x="343" y="211"/>
                  <a:pt x="343" y="211"/>
                </a:cubicBezTo>
                <a:cubicBezTo>
                  <a:pt x="343" y="212"/>
                  <a:pt x="343" y="212"/>
                  <a:pt x="343" y="212"/>
                </a:cubicBezTo>
                <a:cubicBezTo>
                  <a:pt x="343" y="212"/>
                  <a:pt x="343" y="212"/>
                  <a:pt x="343" y="212"/>
                </a:cubicBezTo>
                <a:cubicBezTo>
                  <a:pt x="343" y="213"/>
                  <a:pt x="343" y="213"/>
                  <a:pt x="343" y="213"/>
                </a:cubicBezTo>
                <a:cubicBezTo>
                  <a:pt x="342" y="213"/>
                  <a:pt x="342" y="213"/>
                  <a:pt x="342" y="213"/>
                </a:cubicBezTo>
                <a:cubicBezTo>
                  <a:pt x="341" y="212"/>
                  <a:pt x="341" y="212"/>
                  <a:pt x="341" y="212"/>
                </a:cubicBezTo>
                <a:cubicBezTo>
                  <a:pt x="340" y="212"/>
                  <a:pt x="340" y="212"/>
                  <a:pt x="340" y="212"/>
                </a:cubicBezTo>
                <a:cubicBezTo>
                  <a:pt x="339" y="212"/>
                  <a:pt x="339" y="212"/>
                  <a:pt x="339" y="212"/>
                </a:cubicBezTo>
                <a:cubicBezTo>
                  <a:pt x="339" y="213"/>
                  <a:pt x="339" y="213"/>
                  <a:pt x="339" y="213"/>
                </a:cubicBezTo>
                <a:cubicBezTo>
                  <a:pt x="338" y="213"/>
                  <a:pt x="338" y="213"/>
                  <a:pt x="338" y="213"/>
                </a:cubicBezTo>
                <a:cubicBezTo>
                  <a:pt x="337" y="212"/>
                  <a:pt x="337" y="212"/>
                  <a:pt x="337" y="212"/>
                </a:cubicBezTo>
                <a:cubicBezTo>
                  <a:pt x="337" y="211"/>
                  <a:pt x="337" y="211"/>
                  <a:pt x="337" y="211"/>
                </a:cubicBezTo>
                <a:cubicBezTo>
                  <a:pt x="337" y="211"/>
                  <a:pt x="337" y="211"/>
                  <a:pt x="337" y="211"/>
                </a:cubicBezTo>
                <a:cubicBezTo>
                  <a:pt x="338" y="211"/>
                  <a:pt x="338" y="211"/>
                  <a:pt x="338" y="211"/>
                </a:cubicBezTo>
                <a:cubicBezTo>
                  <a:pt x="338" y="211"/>
                  <a:pt x="338" y="211"/>
                  <a:pt x="338" y="211"/>
                </a:cubicBezTo>
                <a:cubicBezTo>
                  <a:pt x="337" y="210"/>
                  <a:pt x="337" y="210"/>
                  <a:pt x="337" y="210"/>
                </a:cubicBezTo>
                <a:cubicBezTo>
                  <a:pt x="335" y="209"/>
                  <a:pt x="335" y="209"/>
                  <a:pt x="335" y="209"/>
                </a:cubicBezTo>
                <a:cubicBezTo>
                  <a:pt x="335" y="208"/>
                  <a:pt x="335" y="208"/>
                  <a:pt x="335" y="208"/>
                </a:cubicBezTo>
                <a:cubicBezTo>
                  <a:pt x="335" y="206"/>
                  <a:pt x="335" y="206"/>
                  <a:pt x="335" y="206"/>
                </a:cubicBezTo>
                <a:cubicBezTo>
                  <a:pt x="335" y="205"/>
                  <a:pt x="335" y="205"/>
                  <a:pt x="335" y="205"/>
                </a:cubicBezTo>
                <a:cubicBezTo>
                  <a:pt x="335" y="203"/>
                  <a:pt x="335" y="203"/>
                  <a:pt x="335" y="203"/>
                </a:cubicBezTo>
                <a:cubicBezTo>
                  <a:pt x="335" y="202"/>
                  <a:pt x="335" y="202"/>
                  <a:pt x="335" y="202"/>
                </a:cubicBezTo>
                <a:cubicBezTo>
                  <a:pt x="336" y="202"/>
                  <a:pt x="336" y="202"/>
                  <a:pt x="336" y="202"/>
                </a:cubicBezTo>
                <a:cubicBezTo>
                  <a:pt x="336" y="201"/>
                  <a:pt x="336" y="201"/>
                  <a:pt x="336" y="201"/>
                </a:cubicBezTo>
                <a:cubicBezTo>
                  <a:pt x="335" y="200"/>
                  <a:pt x="335" y="200"/>
                  <a:pt x="335" y="200"/>
                </a:cubicBezTo>
                <a:cubicBezTo>
                  <a:pt x="336" y="199"/>
                  <a:pt x="336" y="199"/>
                  <a:pt x="336" y="199"/>
                </a:cubicBezTo>
                <a:cubicBezTo>
                  <a:pt x="337" y="200"/>
                  <a:pt x="337" y="200"/>
                  <a:pt x="337" y="200"/>
                </a:cubicBezTo>
                <a:cubicBezTo>
                  <a:pt x="337" y="200"/>
                  <a:pt x="337" y="200"/>
                  <a:pt x="337" y="200"/>
                </a:cubicBezTo>
                <a:cubicBezTo>
                  <a:pt x="339" y="200"/>
                  <a:pt x="339" y="200"/>
                  <a:pt x="339" y="200"/>
                </a:cubicBezTo>
                <a:cubicBezTo>
                  <a:pt x="340" y="201"/>
                  <a:pt x="340" y="201"/>
                  <a:pt x="340" y="201"/>
                </a:cubicBezTo>
                <a:cubicBezTo>
                  <a:pt x="341" y="202"/>
                  <a:pt x="341" y="202"/>
                  <a:pt x="341" y="202"/>
                </a:cubicBezTo>
                <a:cubicBezTo>
                  <a:pt x="343" y="203"/>
                  <a:pt x="343" y="203"/>
                  <a:pt x="343" y="203"/>
                </a:cubicBezTo>
                <a:cubicBezTo>
                  <a:pt x="345" y="203"/>
                  <a:pt x="345" y="203"/>
                  <a:pt x="345" y="203"/>
                </a:cubicBezTo>
                <a:cubicBezTo>
                  <a:pt x="345" y="203"/>
                  <a:pt x="345" y="203"/>
                  <a:pt x="345" y="203"/>
                </a:cubicBezTo>
                <a:cubicBezTo>
                  <a:pt x="347" y="203"/>
                  <a:pt x="347" y="203"/>
                  <a:pt x="347" y="203"/>
                </a:cubicBezTo>
                <a:cubicBezTo>
                  <a:pt x="346" y="202"/>
                  <a:pt x="346" y="202"/>
                  <a:pt x="346" y="202"/>
                </a:cubicBezTo>
                <a:cubicBezTo>
                  <a:pt x="346" y="201"/>
                  <a:pt x="346" y="201"/>
                  <a:pt x="346" y="201"/>
                </a:cubicBezTo>
                <a:cubicBezTo>
                  <a:pt x="345" y="200"/>
                  <a:pt x="345" y="200"/>
                  <a:pt x="345" y="200"/>
                </a:cubicBezTo>
                <a:cubicBezTo>
                  <a:pt x="344" y="199"/>
                  <a:pt x="344" y="199"/>
                  <a:pt x="344" y="199"/>
                </a:cubicBezTo>
                <a:cubicBezTo>
                  <a:pt x="343" y="199"/>
                  <a:pt x="343" y="199"/>
                  <a:pt x="343" y="199"/>
                </a:cubicBezTo>
                <a:cubicBezTo>
                  <a:pt x="341" y="198"/>
                  <a:pt x="341" y="198"/>
                  <a:pt x="341" y="198"/>
                </a:cubicBezTo>
                <a:cubicBezTo>
                  <a:pt x="341" y="198"/>
                  <a:pt x="341" y="198"/>
                  <a:pt x="341" y="198"/>
                </a:cubicBezTo>
                <a:cubicBezTo>
                  <a:pt x="339" y="197"/>
                  <a:pt x="339" y="197"/>
                  <a:pt x="339" y="197"/>
                </a:cubicBezTo>
                <a:cubicBezTo>
                  <a:pt x="338" y="197"/>
                  <a:pt x="338" y="197"/>
                  <a:pt x="338" y="197"/>
                </a:cubicBezTo>
                <a:cubicBezTo>
                  <a:pt x="336" y="196"/>
                  <a:pt x="336" y="196"/>
                  <a:pt x="336" y="196"/>
                </a:cubicBezTo>
                <a:cubicBezTo>
                  <a:pt x="335" y="195"/>
                  <a:pt x="335" y="195"/>
                  <a:pt x="335" y="195"/>
                </a:cubicBezTo>
                <a:cubicBezTo>
                  <a:pt x="335" y="193"/>
                  <a:pt x="335" y="193"/>
                  <a:pt x="335" y="193"/>
                </a:cubicBezTo>
                <a:cubicBezTo>
                  <a:pt x="337" y="192"/>
                  <a:pt x="337" y="192"/>
                  <a:pt x="337" y="192"/>
                </a:cubicBezTo>
                <a:cubicBezTo>
                  <a:pt x="336" y="191"/>
                  <a:pt x="336" y="191"/>
                  <a:pt x="336" y="191"/>
                </a:cubicBezTo>
                <a:cubicBezTo>
                  <a:pt x="337" y="190"/>
                  <a:pt x="337" y="190"/>
                  <a:pt x="337" y="190"/>
                </a:cubicBezTo>
                <a:cubicBezTo>
                  <a:pt x="338" y="190"/>
                  <a:pt x="338" y="190"/>
                  <a:pt x="338" y="190"/>
                </a:cubicBezTo>
                <a:cubicBezTo>
                  <a:pt x="338" y="188"/>
                  <a:pt x="338" y="188"/>
                  <a:pt x="338" y="188"/>
                </a:cubicBezTo>
                <a:cubicBezTo>
                  <a:pt x="338" y="186"/>
                  <a:pt x="338" y="186"/>
                  <a:pt x="338" y="186"/>
                </a:cubicBezTo>
                <a:cubicBezTo>
                  <a:pt x="339" y="185"/>
                  <a:pt x="339" y="185"/>
                  <a:pt x="339" y="185"/>
                </a:cubicBezTo>
                <a:cubicBezTo>
                  <a:pt x="340" y="185"/>
                  <a:pt x="340" y="185"/>
                  <a:pt x="340" y="185"/>
                </a:cubicBezTo>
                <a:cubicBezTo>
                  <a:pt x="340" y="184"/>
                  <a:pt x="340" y="184"/>
                  <a:pt x="340" y="184"/>
                </a:cubicBezTo>
                <a:cubicBezTo>
                  <a:pt x="342" y="183"/>
                  <a:pt x="342" y="183"/>
                  <a:pt x="342" y="183"/>
                </a:cubicBezTo>
                <a:cubicBezTo>
                  <a:pt x="343" y="183"/>
                  <a:pt x="343" y="183"/>
                  <a:pt x="343" y="183"/>
                </a:cubicBezTo>
                <a:cubicBezTo>
                  <a:pt x="343" y="182"/>
                  <a:pt x="343" y="182"/>
                  <a:pt x="343" y="182"/>
                </a:cubicBezTo>
                <a:cubicBezTo>
                  <a:pt x="343" y="182"/>
                  <a:pt x="343" y="182"/>
                  <a:pt x="343" y="182"/>
                </a:cubicBezTo>
                <a:cubicBezTo>
                  <a:pt x="342" y="182"/>
                  <a:pt x="342" y="182"/>
                  <a:pt x="342" y="182"/>
                </a:cubicBezTo>
                <a:cubicBezTo>
                  <a:pt x="342" y="181"/>
                  <a:pt x="342" y="181"/>
                  <a:pt x="342" y="181"/>
                </a:cubicBezTo>
                <a:cubicBezTo>
                  <a:pt x="343" y="179"/>
                  <a:pt x="343" y="179"/>
                  <a:pt x="343" y="179"/>
                </a:cubicBezTo>
                <a:cubicBezTo>
                  <a:pt x="344" y="178"/>
                  <a:pt x="344" y="178"/>
                  <a:pt x="344" y="178"/>
                </a:cubicBezTo>
                <a:cubicBezTo>
                  <a:pt x="345" y="177"/>
                  <a:pt x="345" y="177"/>
                  <a:pt x="345" y="177"/>
                </a:cubicBezTo>
                <a:cubicBezTo>
                  <a:pt x="346" y="176"/>
                  <a:pt x="346" y="176"/>
                  <a:pt x="346" y="176"/>
                </a:cubicBezTo>
                <a:cubicBezTo>
                  <a:pt x="346" y="176"/>
                  <a:pt x="346" y="176"/>
                  <a:pt x="346" y="176"/>
                </a:cubicBezTo>
                <a:cubicBezTo>
                  <a:pt x="347" y="176"/>
                  <a:pt x="347" y="176"/>
                  <a:pt x="347" y="176"/>
                </a:cubicBezTo>
                <a:cubicBezTo>
                  <a:pt x="347" y="174"/>
                  <a:pt x="347" y="174"/>
                  <a:pt x="347" y="174"/>
                </a:cubicBezTo>
                <a:cubicBezTo>
                  <a:pt x="348" y="174"/>
                  <a:pt x="348" y="174"/>
                  <a:pt x="348" y="174"/>
                </a:cubicBezTo>
                <a:cubicBezTo>
                  <a:pt x="348" y="175"/>
                  <a:pt x="348" y="175"/>
                  <a:pt x="348" y="175"/>
                </a:cubicBezTo>
                <a:cubicBezTo>
                  <a:pt x="349" y="174"/>
                  <a:pt x="349" y="174"/>
                  <a:pt x="349" y="174"/>
                </a:cubicBezTo>
                <a:cubicBezTo>
                  <a:pt x="349" y="173"/>
                  <a:pt x="349" y="173"/>
                  <a:pt x="349" y="173"/>
                </a:cubicBezTo>
                <a:cubicBezTo>
                  <a:pt x="350" y="171"/>
                  <a:pt x="350" y="171"/>
                  <a:pt x="350" y="171"/>
                </a:cubicBezTo>
                <a:cubicBezTo>
                  <a:pt x="351" y="171"/>
                  <a:pt x="351" y="171"/>
                  <a:pt x="351" y="171"/>
                </a:cubicBezTo>
                <a:cubicBezTo>
                  <a:pt x="351" y="170"/>
                  <a:pt x="351" y="170"/>
                  <a:pt x="351" y="170"/>
                </a:cubicBezTo>
                <a:cubicBezTo>
                  <a:pt x="352" y="169"/>
                  <a:pt x="352" y="169"/>
                  <a:pt x="352" y="169"/>
                </a:cubicBezTo>
                <a:cubicBezTo>
                  <a:pt x="353" y="169"/>
                  <a:pt x="353" y="169"/>
                  <a:pt x="353" y="169"/>
                </a:cubicBezTo>
                <a:cubicBezTo>
                  <a:pt x="354" y="168"/>
                  <a:pt x="354" y="168"/>
                  <a:pt x="354" y="168"/>
                </a:cubicBezTo>
                <a:cubicBezTo>
                  <a:pt x="355" y="168"/>
                  <a:pt x="355" y="168"/>
                  <a:pt x="355" y="168"/>
                </a:cubicBezTo>
                <a:cubicBezTo>
                  <a:pt x="356" y="168"/>
                  <a:pt x="356" y="168"/>
                  <a:pt x="356" y="168"/>
                </a:cubicBezTo>
                <a:cubicBezTo>
                  <a:pt x="355" y="167"/>
                  <a:pt x="355" y="167"/>
                  <a:pt x="355" y="167"/>
                </a:cubicBezTo>
                <a:cubicBezTo>
                  <a:pt x="356" y="166"/>
                  <a:pt x="356" y="166"/>
                  <a:pt x="356" y="166"/>
                </a:cubicBezTo>
                <a:cubicBezTo>
                  <a:pt x="358" y="165"/>
                  <a:pt x="358" y="165"/>
                  <a:pt x="358" y="165"/>
                </a:cubicBezTo>
                <a:cubicBezTo>
                  <a:pt x="360" y="163"/>
                  <a:pt x="360" y="163"/>
                  <a:pt x="360" y="163"/>
                </a:cubicBezTo>
                <a:cubicBezTo>
                  <a:pt x="363" y="162"/>
                  <a:pt x="363" y="162"/>
                  <a:pt x="363" y="162"/>
                </a:cubicBezTo>
                <a:cubicBezTo>
                  <a:pt x="366" y="162"/>
                  <a:pt x="366" y="162"/>
                  <a:pt x="366" y="162"/>
                </a:cubicBezTo>
                <a:cubicBezTo>
                  <a:pt x="367" y="161"/>
                  <a:pt x="367" y="161"/>
                  <a:pt x="367" y="161"/>
                </a:cubicBezTo>
                <a:cubicBezTo>
                  <a:pt x="368" y="161"/>
                  <a:pt x="368" y="161"/>
                  <a:pt x="368" y="161"/>
                </a:cubicBezTo>
                <a:cubicBezTo>
                  <a:pt x="369" y="161"/>
                  <a:pt x="369" y="161"/>
                  <a:pt x="369" y="161"/>
                </a:cubicBezTo>
                <a:cubicBezTo>
                  <a:pt x="370" y="161"/>
                  <a:pt x="370" y="161"/>
                  <a:pt x="370" y="161"/>
                </a:cubicBezTo>
                <a:cubicBezTo>
                  <a:pt x="372" y="161"/>
                  <a:pt x="372" y="161"/>
                  <a:pt x="372" y="161"/>
                </a:cubicBezTo>
                <a:cubicBezTo>
                  <a:pt x="373" y="162"/>
                  <a:pt x="373" y="162"/>
                  <a:pt x="373" y="162"/>
                </a:cubicBezTo>
                <a:cubicBezTo>
                  <a:pt x="376" y="164"/>
                  <a:pt x="376" y="164"/>
                  <a:pt x="376" y="164"/>
                </a:cubicBezTo>
                <a:cubicBezTo>
                  <a:pt x="376" y="164"/>
                  <a:pt x="376" y="164"/>
                  <a:pt x="376" y="164"/>
                </a:cubicBezTo>
                <a:cubicBezTo>
                  <a:pt x="376" y="165"/>
                  <a:pt x="376" y="165"/>
                  <a:pt x="376" y="165"/>
                </a:cubicBezTo>
                <a:cubicBezTo>
                  <a:pt x="374" y="166"/>
                  <a:pt x="374" y="166"/>
                  <a:pt x="374" y="166"/>
                </a:cubicBezTo>
                <a:cubicBezTo>
                  <a:pt x="372" y="167"/>
                  <a:pt x="372" y="167"/>
                  <a:pt x="372" y="167"/>
                </a:cubicBezTo>
                <a:cubicBezTo>
                  <a:pt x="371" y="167"/>
                  <a:pt x="371" y="167"/>
                  <a:pt x="371" y="167"/>
                </a:cubicBezTo>
                <a:cubicBezTo>
                  <a:pt x="370" y="168"/>
                  <a:pt x="370" y="168"/>
                  <a:pt x="370" y="168"/>
                </a:cubicBezTo>
                <a:cubicBezTo>
                  <a:pt x="369" y="169"/>
                  <a:pt x="369" y="169"/>
                  <a:pt x="369" y="169"/>
                </a:cubicBezTo>
                <a:cubicBezTo>
                  <a:pt x="368" y="169"/>
                  <a:pt x="368" y="169"/>
                  <a:pt x="368" y="169"/>
                </a:cubicBezTo>
                <a:cubicBezTo>
                  <a:pt x="366" y="172"/>
                  <a:pt x="366" y="172"/>
                  <a:pt x="366" y="172"/>
                </a:cubicBezTo>
                <a:cubicBezTo>
                  <a:pt x="363" y="174"/>
                  <a:pt x="363" y="174"/>
                  <a:pt x="363" y="174"/>
                </a:cubicBezTo>
                <a:cubicBezTo>
                  <a:pt x="362" y="176"/>
                  <a:pt x="362" y="176"/>
                  <a:pt x="362" y="176"/>
                </a:cubicBezTo>
                <a:cubicBezTo>
                  <a:pt x="361" y="176"/>
                  <a:pt x="361" y="176"/>
                  <a:pt x="361" y="176"/>
                </a:cubicBezTo>
                <a:cubicBezTo>
                  <a:pt x="360" y="178"/>
                  <a:pt x="360" y="178"/>
                  <a:pt x="360" y="178"/>
                </a:cubicBezTo>
                <a:cubicBezTo>
                  <a:pt x="359" y="180"/>
                  <a:pt x="359" y="180"/>
                  <a:pt x="359" y="180"/>
                </a:cubicBezTo>
                <a:cubicBezTo>
                  <a:pt x="360" y="181"/>
                  <a:pt x="360" y="181"/>
                  <a:pt x="360" y="181"/>
                </a:cubicBezTo>
                <a:cubicBezTo>
                  <a:pt x="361" y="182"/>
                  <a:pt x="361" y="182"/>
                  <a:pt x="361" y="182"/>
                </a:cubicBezTo>
                <a:cubicBezTo>
                  <a:pt x="361" y="183"/>
                  <a:pt x="361" y="183"/>
                  <a:pt x="361" y="183"/>
                </a:cubicBezTo>
                <a:cubicBezTo>
                  <a:pt x="360" y="184"/>
                  <a:pt x="360" y="184"/>
                  <a:pt x="360" y="184"/>
                </a:cubicBezTo>
                <a:cubicBezTo>
                  <a:pt x="359" y="185"/>
                  <a:pt x="359" y="185"/>
                  <a:pt x="359" y="185"/>
                </a:cubicBezTo>
                <a:cubicBezTo>
                  <a:pt x="358" y="186"/>
                  <a:pt x="358" y="186"/>
                  <a:pt x="358" y="186"/>
                </a:cubicBezTo>
                <a:cubicBezTo>
                  <a:pt x="357" y="187"/>
                  <a:pt x="357" y="187"/>
                  <a:pt x="357" y="187"/>
                </a:cubicBezTo>
                <a:cubicBezTo>
                  <a:pt x="357" y="189"/>
                  <a:pt x="357" y="189"/>
                  <a:pt x="357" y="189"/>
                </a:cubicBezTo>
                <a:cubicBezTo>
                  <a:pt x="356" y="189"/>
                  <a:pt x="356" y="189"/>
                  <a:pt x="356" y="189"/>
                </a:cubicBezTo>
                <a:cubicBezTo>
                  <a:pt x="356" y="190"/>
                  <a:pt x="356" y="190"/>
                  <a:pt x="356" y="190"/>
                </a:cubicBezTo>
                <a:cubicBezTo>
                  <a:pt x="357" y="191"/>
                  <a:pt x="357" y="191"/>
                  <a:pt x="357" y="191"/>
                </a:cubicBezTo>
                <a:cubicBezTo>
                  <a:pt x="357" y="193"/>
                  <a:pt x="357" y="193"/>
                  <a:pt x="357" y="193"/>
                </a:cubicBezTo>
                <a:cubicBezTo>
                  <a:pt x="357" y="194"/>
                  <a:pt x="357" y="194"/>
                  <a:pt x="357" y="194"/>
                </a:cubicBezTo>
                <a:cubicBezTo>
                  <a:pt x="357" y="196"/>
                  <a:pt x="357" y="196"/>
                  <a:pt x="357" y="196"/>
                </a:cubicBezTo>
                <a:cubicBezTo>
                  <a:pt x="358" y="197"/>
                  <a:pt x="358" y="197"/>
                  <a:pt x="358" y="197"/>
                </a:cubicBezTo>
                <a:cubicBezTo>
                  <a:pt x="359" y="198"/>
                  <a:pt x="359" y="198"/>
                  <a:pt x="359" y="198"/>
                </a:cubicBezTo>
                <a:cubicBezTo>
                  <a:pt x="360" y="198"/>
                  <a:pt x="360" y="198"/>
                  <a:pt x="360" y="198"/>
                </a:cubicBezTo>
                <a:cubicBezTo>
                  <a:pt x="360" y="200"/>
                  <a:pt x="360" y="200"/>
                  <a:pt x="360" y="200"/>
                </a:cubicBezTo>
                <a:cubicBezTo>
                  <a:pt x="359" y="201"/>
                  <a:pt x="359" y="201"/>
                  <a:pt x="359" y="201"/>
                </a:cubicBezTo>
                <a:cubicBezTo>
                  <a:pt x="359" y="200"/>
                  <a:pt x="359" y="200"/>
                  <a:pt x="359" y="200"/>
                </a:cubicBezTo>
                <a:cubicBezTo>
                  <a:pt x="358" y="200"/>
                  <a:pt x="358" y="200"/>
                  <a:pt x="358" y="200"/>
                </a:cubicBezTo>
                <a:cubicBezTo>
                  <a:pt x="358" y="200"/>
                  <a:pt x="358" y="200"/>
                  <a:pt x="358" y="200"/>
                </a:cubicBezTo>
                <a:cubicBezTo>
                  <a:pt x="357" y="200"/>
                  <a:pt x="357" y="200"/>
                  <a:pt x="357" y="200"/>
                </a:cubicBezTo>
                <a:cubicBezTo>
                  <a:pt x="357" y="201"/>
                  <a:pt x="357" y="201"/>
                  <a:pt x="357" y="201"/>
                </a:cubicBezTo>
                <a:cubicBezTo>
                  <a:pt x="356" y="201"/>
                  <a:pt x="356" y="201"/>
                  <a:pt x="356" y="201"/>
                </a:cubicBezTo>
                <a:cubicBezTo>
                  <a:pt x="356" y="201"/>
                  <a:pt x="356" y="201"/>
                  <a:pt x="356" y="201"/>
                </a:cubicBezTo>
                <a:cubicBezTo>
                  <a:pt x="357" y="202"/>
                  <a:pt x="357" y="202"/>
                  <a:pt x="357" y="202"/>
                </a:cubicBezTo>
                <a:cubicBezTo>
                  <a:pt x="358" y="202"/>
                  <a:pt x="358" y="202"/>
                  <a:pt x="358" y="202"/>
                </a:cubicBezTo>
                <a:cubicBezTo>
                  <a:pt x="358" y="202"/>
                  <a:pt x="358" y="202"/>
                  <a:pt x="358" y="202"/>
                </a:cubicBezTo>
                <a:cubicBezTo>
                  <a:pt x="359" y="202"/>
                  <a:pt x="359" y="202"/>
                  <a:pt x="359" y="202"/>
                </a:cubicBezTo>
                <a:cubicBezTo>
                  <a:pt x="358" y="203"/>
                  <a:pt x="358" y="203"/>
                  <a:pt x="358" y="203"/>
                </a:cubicBezTo>
                <a:cubicBezTo>
                  <a:pt x="357" y="205"/>
                  <a:pt x="357" y="205"/>
                  <a:pt x="357" y="205"/>
                </a:cubicBezTo>
                <a:cubicBezTo>
                  <a:pt x="357" y="206"/>
                  <a:pt x="357" y="206"/>
                  <a:pt x="357" y="206"/>
                </a:cubicBezTo>
                <a:cubicBezTo>
                  <a:pt x="357" y="207"/>
                  <a:pt x="357" y="207"/>
                  <a:pt x="357" y="207"/>
                </a:cubicBezTo>
                <a:cubicBezTo>
                  <a:pt x="359" y="205"/>
                  <a:pt x="359" y="205"/>
                  <a:pt x="359" y="205"/>
                </a:cubicBezTo>
                <a:cubicBezTo>
                  <a:pt x="359" y="205"/>
                  <a:pt x="359" y="205"/>
                  <a:pt x="359" y="205"/>
                </a:cubicBezTo>
                <a:cubicBezTo>
                  <a:pt x="360" y="202"/>
                  <a:pt x="360" y="202"/>
                  <a:pt x="360" y="202"/>
                </a:cubicBezTo>
                <a:cubicBezTo>
                  <a:pt x="360" y="202"/>
                  <a:pt x="360" y="202"/>
                  <a:pt x="360" y="202"/>
                </a:cubicBezTo>
                <a:cubicBezTo>
                  <a:pt x="361" y="199"/>
                  <a:pt x="361" y="199"/>
                  <a:pt x="361" y="199"/>
                </a:cubicBezTo>
                <a:cubicBezTo>
                  <a:pt x="361" y="199"/>
                  <a:pt x="361" y="199"/>
                  <a:pt x="361" y="199"/>
                </a:cubicBezTo>
                <a:cubicBezTo>
                  <a:pt x="362" y="198"/>
                  <a:pt x="362" y="198"/>
                  <a:pt x="362" y="198"/>
                </a:cubicBezTo>
                <a:cubicBezTo>
                  <a:pt x="362" y="197"/>
                  <a:pt x="362" y="197"/>
                  <a:pt x="362" y="197"/>
                </a:cubicBezTo>
                <a:cubicBezTo>
                  <a:pt x="362" y="196"/>
                  <a:pt x="362" y="196"/>
                  <a:pt x="362" y="196"/>
                </a:cubicBezTo>
                <a:cubicBezTo>
                  <a:pt x="362" y="195"/>
                  <a:pt x="362" y="195"/>
                  <a:pt x="362" y="195"/>
                </a:cubicBezTo>
                <a:cubicBezTo>
                  <a:pt x="361" y="195"/>
                  <a:pt x="361" y="195"/>
                  <a:pt x="361" y="195"/>
                </a:cubicBezTo>
                <a:cubicBezTo>
                  <a:pt x="361" y="194"/>
                  <a:pt x="361" y="194"/>
                  <a:pt x="361" y="194"/>
                </a:cubicBezTo>
                <a:cubicBezTo>
                  <a:pt x="361" y="193"/>
                  <a:pt x="361" y="193"/>
                  <a:pt x="361" y="193"/>
                </a:cubicBezTo>
                <a:cubicBezTo>
                  <a:pt x="360" y="193"/>
                  <a:pt x="360" y="193"/>
                  <a:pt x="360" y="193"/>
                </a:cubicBezTo>
                <a:cubicBezTo>
                  <a:pt x="360" y="191"/>
                  <a:pt x="360" y="191"/>
                  <a:pt x="360" y="191"/>
                </a:cubicBezTo>
                <a:cubicBezTo>
                  <a:pt x="360" y="190"/>
                  <a:pt x="360" y="190"/>
                  <a:pt x="360" y="190"/>
                </a:cubicBezTo>
                <a:cubicBezTo>
                  <a:pt x="359" y="188"/>
                  <a:pt x="359" y="188"/>
                  <a:pt x="359" y="188"/>
                </a:cubicBezTo>
                <a:cubicBezTo>
                  <a:pt x="360" y="188"/>
                  <a:pt x="360" y="188"/>
                  <a:pt x="360" y="188"/>
                </a:cubicBezTo>
                <a:cubicBezTo>
                  <a:pt x="360" y="189"/>
                  <a:pt x="360" y="189"/>
                  <a:pt x="360" y="189"/>
                </a:cubicBezTo>
                <a:cubicBezTo>
                  <a:pt x="361" y="189"/>
                  <a:pt x="361" y="189"/>
                  <a:pt x="361" y="189"/>
                </a:cubicBezTo>
                <a:cubicBezTo>
                  <a:pt x="362" y="188"/>
                  <a:pt x="362" y="188"/>
                  <a:pt x="362" y="188"/>
                </a:cubicBezTo>
                <a:cubicBezTo>
                  <a:pt x="363" y="187"/>
                  <a:pt x="363" y="187"/>
                  <a:pt x="363" y="187"/>
                </a:cubicBezTo>
                <a:cubicBezTo>
                  <a:pt x="363" y="186"/>
                  <a:pt x="363" y="186"/>
                  <a:pt x="363" y="186"/>
                </a:cubicBezTo>
                <a:cubicBezTo>
                  <a:pt x="363" y="185"/>
                  <a:pt x="363" y="185"/>
                  <a:pt x="363" y="185"/>
                </a:cubicBezTo>
                <a:cubicBezTo>
                  <a:pt x="364" y="186"/>
                  <a:pt x="364" y="186"/>
                  <a:pt x="364" y="186"/>
                </a:cubicBezTo>
                <a:cubicBezTo>
                  <a:pt x="365" y="187"/>
                  <a:pt x="365" y="187"/>
                  <a:pt x="365" y="187"/>
                </a:cubicBezTo>
                <a:cubicBezTo>
                  <a:pt x="365" y="188"/>
                  <a:pt x="365" y="188"/>
                  <a:pt x="365" y="188"/>
                </a:cubicBezTo>
                <a:cubicBezTo>
                  <a:pt x="365" y="189"/>
                  <a:pt x="365" y="189"/>
                  <a:pt x="365" y="189"/>
                </a:cubicBezTo>
                <a:cubicBezTo>
                  <a:pt x="366" y="188"/>
                  <a:pt x="366" y="188"/>
                  <a:pt x="366" y="188"/>
                </a:cubicBezTo>
                <a:cubicBezTo>
                  <a:pt x="366" y="186"/>
                  <a:pt x="366" y="186"/>
                  <a:pt x="366" y="186"/>
                </a:cubicBezTo>
                <a:cubicBezTo>
                  <a:pt x="367" y="185"/>
                  <a:pt x="367" y="185"/>
                  <a:pt x="367" y="185"/>
                </a:cubicBezTo>
                <a:cubicBezTo>
                  <a:pt x="368" y="185"/>
                  <a:pt x="368" y="185"/>
                  <a:pt x="368" y="185"/>
                </a:cubicBezTo>
                <a:cubicBezTo>
                  <a:pt x="368" y="185"/>
                  <a:pt x="368" y="185"/>
                  <a:pt x="368" y="185"/>
                </a:cubicBezTo>
                <a:cubicBezTo>
                  <a:pt x="368" y="184"/>
                  <a:pt x="368" y="184"/>
                  <a:pt x="368" y="184"/>
                </a:cubicBezTo>
                <a:cubicBezTo>
                  <a:pt x="369" y="184"/>
                  <a:pt x="369" y="184"/>
                  <a:pt x="369" y="184"/>
                </a:cubicBezTo>
                <a:cubicBezTo>
                  <a:pt x="369" y="183"/>
                  <a:pt x="369" y="183"/>
                  <a:pt x="369" y="183"/>
                </a:cubicBezTo>
                <a:cubicBezTo>
                  <a:pt x="368" y="183"/>
                  <a:pt x="368" y="183"/>
                  <a:pt x="368" y="183"/>
                </a:cubicBezTo>
                <a:cubicBezTo>
                  <a:pt x="366" y="185"/>
                  <a:pt x="366" y="185"/>
                  <a:pt x="366" y="185"/>
                </a:cubicBezTo>
                <a:cubicBezTo>
                  <a:pt x="365" y="185"/>
                  <a:pt x="365" y="185"/>
                  <a:pt x="365" y="185"/>
                </a:cubicBezTo>
                <a:cubicBezTo>
                  <a:pt x="365" y="183"/>
                  <a:pt x="365" y="183"/>
                  <a:pt x="365" y="183"/>
                </a:cubicBezTo>
                <a:cubicBezTo>
                  <a:pt x="364" y="183"/>
                  <a:pt x="364" y="183"/>
                  <a:pt x="364" y="183"/>
                </a:cubicBezTo>
                <a:cubicBezTo>
                  <a:pt x="364" y="182"/>
                  <a:pt x="364" y="182"/>
                  <a:pt x="364" y="182"/>
                </a:cubicBezTo>
                <a:cubicBezTo>
                  <a:pt x="366" y="181"/>
                  <a:pt x="366" y="181"/>
                  <a:pt x="366" y="181"/>
                </a:cubicBezTo>
                <a:cubicBezTo>
                  <a:pt x="365" y="180"/>
                  <a:pt x="365" y="180"/>
                  <a:pt x="365" y="180"/>
                </a:cubicBezTo>
                <a:cubicBezTo>
                  <a:pt x="365" y="179"/>
                  <a:pt x="365" y="179"/>
                  <a:pt x="365" y="179"/>
                </a:cubicBezTo>
                <a:cubicBezTo>
                  <a:pt x="366" y="177"/>
                  <a:pt x="366" y="177"/>
                  <a:pt x="366" y="177"/>
                </a:cubicBezTo>
                <a:cubicBezTo>
                  <a:pt x="366" y="176"/>
                  <a:pt x="366" y="176"/>
                  <a:pt x="366" y="176"/>
                </a:cubicBezTo>
                <a:cubicBezTo>
                  <a:pt x="367" y="175"/>
                  <a:pt x="367" y="175"/>
                  <a:pt x="367" y="175"/>
                </a:cubicBezTo>
                <a:cubicBezTo>
                  <a:pt x="369" y="175"/>
                  <a:pt x="369" y="175"/>
                  <a:pt x="369" y="175"/>
                </a:cubicBezTo>
                <a:cubicBezTo>
                  <a:pt x="370" y="176"/>
                  <a:pt x="370" y="176"/>
                  <a:pt x="370" y="176"/>
                </a:cubicBezTo>
                <a:cubicBezTo>
                  <a:pt x="370" y="177"/>
                  <a:pt x="370" y="177"/>
                  <a:pt x="370" y="177"/>
                </a:cubicBezTo>
                <a:cubicBezTo>
                  <a:pt x="372" y="178"/>
                  <a:pt x="372" y="178"/>
                  <a:pt x="372" y="178"/>
                </a:cubicBezTo>
                <a:cubicBezTo>
                  <a:pt x="372" y="179"/>
                  <a:pt x="372" y="179"/>
                  <a:pt x="372" y="179"/>
                </a:cubicBezTo>
                <a:cubicBezTo>
                  <a:pt x="373" y="179"/>
                  <a:pt x="373" y="179"/>
                  <a:pt x="373" y="179"/>
                </a:cubicBezTo>
                <a:cubicBezTo>
                  <a:pt x="373" y="179"/>
                  <a:pt x="373" y="179"/>
                  <a:pt x="373" y="179"/>
                </a:cubicBezTo>
                <a:cubicBezTo>
                  <a:pt x="372" y="178"/>
                  <a:pt x="372" y="178"/>
                  <a:pt x="372" y="178"/>
                </a:cubicBezTo>
                <a:cubicBezTo>
                  <a:pt x="371" y="177"/>
                  <a:pt x="371" y="177"/>
                  <a:pt x="371" y="177"/>
                </a:cubicBezTo>
                <a:cubicBezTo>
                  <a:pt x="370" y="175"/>
                  <a:pt x="370" y="175"/>
                  <a:pt x="370" y="175"/>
                </a:cubicBezTo>
                <a:cubicBezTo>
                  <a:pt x="370" y="175"/>
                  <a:pt x="370" y="175"/>
                  <a:pt x="370" y="175"/>
                </a:cubicBezTo>
                <a:cubicBezTo>
                  <a:pt x="369" y="175"/>
                  <a:pt x="369" y="175"/>
                  <a:pt x="369" y="175"/>
                </a:cubicBezTo>
                <a:cubicBezTo>
                  <a:pt x="368" y="174"/>
                  <a:pt x="368" y="174"/>
                  <a:pt x="368" y="174"/>
                </a:cubicBezTo>
                <a:cubicBezTo>
                  <a:pt x="368" y="174"/>
                  <a:pt x="368" y="174"/>
                  <a:pt x="368" y="174"/>
                </a:cubicBezTo>
                <a:cubicBezTo>
                  <a:pt x="371" y="174"/>
                  <a:pt x="371" y="174"/>
                  <a:pt x="371" y="174"/>
                </a:cubicBezTo>
                <a:cubicBezTo>
                  <a:pt x="371" y="173"/>
                  <a:pt x="371" y="173"/>
                  <a:pt x="371" y="173"/>
                </a:cubicBezTo>
                <a:cubicBezTo>
                  <a:pt x="371" y="173"/>
                  <a:pt x="371" y="173"/>
                  <a:pt x="371" y="173"/>
                </a:cubicBezTo>
                <a:cubicBezTo>
                  <a:pt x="373" y="175"/>
                  <a:pt x="373" y="175"/>
                  <a:pt x="373" y="175"/>
                </a:cubicBezTo>
                <a:cubicBezTo>
                  <a:pt x="375" y="176"/>
                  <a:pt x="375" y="176"/>
                  <a:pt x="375" y="176"/>
                </a:cubicBezTo>
                <a:cubicBezTo>
                  <a:pt x="376" y="176"/>
                  <a:pt x="376" y="176"/>
                  <a:pt x="376" y="176"/>
                </a:cubicBezTo>
                <a:cubicBezTo>
                  <a:pt x="374" y="175"/>
                  <a:pt x="374" y="175"/>
                  <a:pt x="374" y="175"/>
                </a:cubicBezTo>
                <a:cubicBezTo>
                  <a:pt x="373" y="173"/>
                  <a:pt x="373" y="173"/>
                  <a:pt x="373" y="173"/>
                </a:cubicBezTo>
                <a:cubicBezTo>
                  <a:pt x="372" y="172"/>
                  <a:pt x="372" y="172"/>
                  <a:pt x="372" y="172"/>
                </a:cubicBezTo>
                <a:cubicBezTo>
                  <a:pt x="372" y="172"/>
                  <a:pt x="372" y="172"/>
                  <a:pt x="372" y="172"/>
                </a:cubicBezTo>
                <a:cubicBezTo>
                  <a:pt x="372" y="170"/>
                  <a:pt x="372" y="170"/>
                  <a:pt x="372" y="170"/>
                </a:cubicBezTo>
                <a:cubicBezTo>
                  <a:pt x="374" y="170"/>
                  <a:pt x="374" y="170"/>
                  <a:pt x="374" y="170"/>
                </a:cubicBezTo>
                <a:cubicBezTo>
                  <a:pt x="375" y="170"/>
                  <a:pt x="375" y="170"/>
                  <a:pt x="375" y="170"/>
                </a:cubicBezTo>
                <a:cubicBezTo>
                  <a:pt x="374" y="171"/>
                  <a:pt x="374" y="171"/>
                  <a:pt x="374" y="171"/>
                </a:cubicBezTo>
                <a:cubicBezTo>
                  <a:pt x="375" y="172"/>
                  <a:pt x="375" y="172"/>
                  <a:pt x="375" y="172"/>
                </a:cubicBezTo>
                <a:cubicBezTo>
                  <a:pt x="375" y="172"/>
                  <a:pt x="375" y="172"/>
                  <a:pt x="375" y="172"/>
                </a:cubicBezTo>
                <a:cubicBezTo>
                  <a:pt x="375" y="171"/>
                  <a:pt x="375" y="171"/>
                  <a:pt x="375" y="171"/>
                </a:cubicBezTo>
                <a:cubicBezTo>
                  <a:pt x="376" y="170"/>
                  <a:pt x="376" y="170"/>
                  <a:pt x="376" y="170"/>
                </a:cubicBezTo>
                <a:cubicBezTo>
                  <a:pt x="377" y="170"/>
                  <a:pt x="377" y="170"/>
                  <a:pt x="377" y="170"/>
                </a:cubicBezTo>
                <a:cubicBezTo>
                  <a:pt x="378" y="171"/>
                  <a:pt x="378" y="171"/>
                  <a:pt x="378" y="171"/>
                </a:cubicBezTo>
                <a:cubicBezTo>
                  <a:pt x="378" y="172"/>
                  <a:pt x="378" y="172"/>
                  <a:pt x="378" y="172"/>
                </a:cubicBezTo>
                <a:cubicBezTo>
                  <a:pt x="379" y="173"/>
                  <a:pt x="379" y="173"/>
                  <a:pt x="379" y="173"/>
                </a:cubicBezTo>
                <a:cubicBezTo>
                  <a:pt x="379" y="173"/>
                  <a:pt x="379" y="173"/>
                  <a:pt x="379" y="173"/>
                </a:cubicBezTo>
                <a:cubicBezTo>
                  <a:pt x="379" y="172"/>
                  <a:pt x="379" y="172"/>
                  <a:pt x="379" y="172"/>
                </a:cubicBezTo>
                <a:cubicBezTo>
                  <a:pt x="378" y="170"/>
                  <a:pt x="378" y="170"/>
                  <a:pt x="378" y="170"/>
                </a:cubicBezTo>
                <a:cubicBezTo>
                  <a:pt x="379" y="170"/>
                  <a:pt x="379" y="170"/>
                  <a:pt x="379" y="170"/>
                </a:cubicBezTo>
                <a:cubicBezTo>
                  <a:pt x="382" y="169"/>
                  <a:pt x="382" y="169"/>
                  <a:pt x="382" y="169"/>
                </a:cubicBezTo>
                <a:cubicBezTo>
                  <a:pt x="384" y="168"/>
                  <a:pt x="384" y="168"/>
                  <a:pt x="384" y="168"/>
                </a:cubicBezTo>
                <a:cubicBezTo>
                  <a:pt x="385" y="168"/>
                  <a:pt x="385" y="168"/>
                  <a:pt x="385" y="168"/>
                </a:cubicBezTo>
                <a:cubicBezTo>
                  <a:pt x="386" y="167"/>
                  <a:pt x="386" y="167"/>
                  <a:pt x="386" y="167"/>
                </a:cubicBezTo>
                <a:cubicBezTo>
                  <a:pt x="388" y="168"/>
                  <a:pt x="388" y="168"/>
                  <a:pt x="388" y="168"/>
                </a:cubicBezTo>
                <a:cubicBezTo>
                  <a:pt x="390" y="168"/>
                  <a:pt x="390" y="168"/>
                  <a:pt x="390" y="168"/>
                </a:cubicBezTo>
                <a:cubicBezTo>
                  <a:pt x="392" y="168"/>
                  <a:pt x="392" y="168"/>
                  <a:pt x="392" y="168"/>
                </a:cubicBezTo>
                <a:cubicBezTo>
                  <a:pt x="392" y="169"/>
                  <a:pt x="392" y="169"/>
                  <a:pt x="392" y="169"/>
                </a:cubicBezTo>
                <a:cubicBezTo>
                  <a:pt x="392" y="169"/>
                  <a:pt x="392" y="169"/>
                  <a:pt x="392" y="169"/>
                </a:cubicBezTo>
                <a:cubicBezTo>
                  <a:pt x="392" y="172"/>
                  <a:pt x="392" y="172"/>
                  <a:pt x="392" y="172"/>
                </a:cubicBezTo>
                <a:cubicBezTo>
                  <a:pt x="391" y="173"/>
                  <a:pt x="391" y="173"/>
                  <a:pt x="391" y="173"/>
                </a:cubicBezTo>
                <a:cubicBezTo>
                  <a:pt x="391" y="174"/>
                  <a:pt x="391" y="174"/>
                  <a:pt x="391" y="174"/>
                </a:cubicBezTo>
                <a:cubicBezTo>
                  <a:pt x="390" y="175"/>
                  <a:pt x="390" y="175"/>
                  <a:pt x="390" y="175"/>
                </a:cubicBezTo>
                <a:cubicBezTo>
                  <a:pt x="390" y="176"/>
                  <a:pt x="390" y="176"/>
                  <a:pt x="390" y="176"/>
                </a:cubicBezTo>
                <a:cubicBezTo>
                  <a:pt x="391" y="177"/>
                  <a:pt x="391" y="177"/>
                  <a:pt x="391" y="177"/>
                </a:cubicBezTo>
                <a:cubicBezTo>
                  <a:pt x="392" y="178"/>
                  <a:pt x="392" y="178"/>
                  <a:pt x="392" y="178"/>
                </a:cubicBezTo>
                <a:cubicBezTo>
                  <a:pt x="391" y="178"/>
                  <a:pt x="391" y="178"/>
                  <a:pt x="391" y="178"/>
                </a:cubicBezTo>
                <a:cubicBezTo>
                  <a:pt x="390" y="180"/>
                  <a:pt x="390" y="180"/>
                  <a:pt x="390" y="180"/>
                </a:cubicBezTo>
                <a:cubicBezTo>
                  <a:pt x="389" y="181"/>
                  <a:pt x="389" y="181"/>
                  <a:pt x="389" y="181"/>
                </a:cubicBezTo>
                <a:cubicBezTo>
                  <a:pt x="389" y="182"/>
                  <a:pt x="389" y="182"/>
                  <a:pt x="389" y="182"/>
                </a:cubicBezTo>
                <a:cubicBezTo>
                  <a:pt x="390" y="183"/>
                  <a:pt x="390" y="183"/>
                  <a:pt x="390" y="183"/>
                </a:cubicBezTo>
                <a:cubicBezTo>
                  <a:pt x="390" y="184"/>
                  <a:pt x="390" y="184"/>
                  <a:pt x="390" y="184"/>
                </a:cubicBezTo>
                <a:cubicBezTo>
                  <a:pt x="389" y="185"/>
                  <a:pt x="389" y="185"/>
                  <a:pt x="389" y="185"/>
                </a:cubicBezTo>
                <a:cubicBezTo>
                  <a:pt x="388" y="185"/>
                  <a:pt x="388" y="185"/>
                  <a:pt x="388" y="185"/>
                </a:cubicBezTo>
                <a:cubicBezTo>
                  <a:pt x="388" y="186"/>
                  <a:pt x="388" y="186"/>
                  <a:pt x="388" y="186"/>
                </a:cubicBezTo>
                <a:cubicBezTo>
                  <a:pt x="387" y="186"/>
                  <a:pt x="387" y="186"/>
                  <a:pt x="387" y="186"/>
                </a:cubicBezTo>
                <a:cubicBezTo>
                  <a:pt x="386" y="187"/>
                  <a:pt x="386" y="187"/>
                  <a:pt x="386" y="187"/>
                </a:cubicBezTo>
                <a:cubicBezTo>
                  <a:pt x="385" y="188"/>
                  <a:pt x="385" y="188"/>
                  <a:pt x="385" y="188"/>
                </a:cubicBezTo>
                <a:cubicBezTo>
                  <a:pt x="384" y="189"/>
                  <a:pt x="384" y="189"/>
                  <a:pt x="384" y="189"/>
                </a:cubicBezTo>
                <a:cubicBezTo>
                  <a:pt x="385" y="189"/>
                  <a:pt x="385" y="189"/>
                  <a:pt x="385" y="189"/>
                </a:cubicBezTo>
                <a:cubicBezTo>
                  <a:pt x="386" y="188"/>
                  <a:pt x="386" y="188"/>
                  <a:pt x="386" y="188"/>
                </a:cubicBezTo>
                <a:cubicBezTo>
                  <a:pt x="388" y="187"/>
                  <a:pt x="388" y="187"/>
                  <a:pt x="388" y="187"/>
                </a:cubicBezTo>
                <a:cubicBezTo>
                  <a:pt x="388" y="187"/>
                  <a:pt x="388" y="187"/>
                  <a:pt x="388" y="187"/>
                </a:cubicBezTo>
                <a:cubicBezTo>
                  <a:pt x="389" y="186"/>
                  <a:pt x="389" y="186"/>
                  <a:pt x="389" y="186"/>
                </a:cubicBezTo>
                <a:cubicBezTo>
                  <a:pt x="388" y="187"/>
                  <a:pt x="388" y="187"/>
                  <a:pt x="388" y="187"/>
                </a:cubicBezTo>
                <a:cubicBezTo>
                  <a:pt x="388" y="188"/>
                  <a:pt x="388" y="188"/>
                  <a:pt x="388" y="188"/>
                </a:cubicBezTo>
                <a:cubicBezTo>
                  <a:pt x="386" y="190"/>
                  <a:pt x="386" y="190"/>
                  <a:pt x="386" y="190"/>
                </a:cubicBezTo>
                <a:cubicBezTo>
                  <a:pt x="385" y="190"/>
                  <a:pt x="385" y="190"/>
                  <a:pt x="385" y="190"/>
                </a:cubicBezTo>
                <a:cubicBezTo>
                  <a:pt x="385" y="191"/>
                  <a:pt x="385" y="191"/>
                  <a:pt x="385" y="191"/>
                </a:cubicBezTo>
                <a:cubicBezTo>
                  <a:pt x="385" y="192"/>
                  <a:pt x="385" y="192"/>
                  <a:pt x="385" y="192"/>
                </a:cubicBezTo>
                <a:cubicBezTo>
                  <a:pt x="385" y="192"/>
                  <a:pt x="385" y="192"/>
                  <a:pt x="385" y="192"/>
                </a:cubicBezTo>
                <a:cubicBezTo>
                  <a:pt x="384" y="192"/>
                  <a:pt x="384" y="192"/>
                  <a:pt x="384" y="192"/>
                </a:cubicBezTo>
                <a:cubicBezTo>
                  <a:pt x="383" y="192"/>
                  <a:pt x="383" y="192"/>
                  <a:pt x="383" y="192"/>
                </a:cubicBezTo>
                <a:cubicBezTo>
                  <a:pt x="383" y="193"/>
                  <a:pt x="383" y="193"/>
                  <a:pt x="383" y="193"/>
                </a:cubicBezTo>
                <a:cubicBezTo>
                  <a:pt x="384" y="193"/>
                  <a:pt x="384" y="193"/>
                  <a:pt x="384" y="193"/>
                </a:cubicBezTo>
                <a:cubicBezTo>
                  <a:pt x="384" y="193"/>
                  <a:pt x="384" y="193"/>
                  <a:pt x="384" y="193"/>
                </a:cubicBezTo>
                <a:cubicBezTo>
                  <a:pt x="384" y="194"/>
                  <a:pt x="384" y="194"/>
                  <a:pt x="384" y="194"/>
                </a:cubicBezTo>
                <a:cubicBezTo>
                  <a:pt x="383" y="195"/>
                  <a:pt x="383" y="195"/>
                  <a:pt x="383" y="195"/>
                </a:cubicBezTo>
                <a:cubicBezTo>
                  <a:pt x="384" y="195"/>
                  <a:pt x="384" y="195"/>
                  <a:pt x="384" y="195"/>
                </a:cubicBezTo>
                <a:cubicBezTo>
                  <a:pt x="385" y="194"/>
                  <a:pt x="385" y="194"/>
                  <a:pt x="385" y="194"/>
                </a:cubicBezTo>
                <a:cubicBezTo>
                  <a:pt x="386" y="194"/>
                  <a:pt x="386" y="194"/>
                  <a:pt x="386" y="194"/>
                </a:cubicBezTo>
                <a:cubicBezTo>
                  <a:pt x="387" y="193"/>
                  <a:pt x="387" y="193"/>
                  <a:pt x="387" y="193"/>
                </a:cubicBezTo>
                <a:cubicBezTo>
                  <a:pt x="387" y="192"/>
                  <a:pt x="387" y="192"/>
                  <a:pt x="387" y="192"/>
                </a:cubicBezTo>
                <a:cubicBezTo>
                  <a:pt x="388" y="191"/>
                  <a:pt x="388" y="191"/>
                  <a:pt x="388" y="191"/>
                </a:cubicBezTo>
                <a:cubicBezTo>
                  <a:pt x="388" y="190"/>
                  <a:pt x="388" y="190"/>
                  <a:pt x="388" y="190"/>
                </a:cubicBezTo>
                <a:cubicBezTo>
                  <a:pt x="389" y="191"/>
                  <a:pt x="389" y="191"/>
                  <a:pt x="389" y="191"/>
                </a:cubicBezTo>
                <a:cubicBezTo>
                  <a:pt x="389" y="192"/>
                  <a:pt x="389" y="192"/>
                  <a:pt x="389" y="192"/>
                </a:cubicBezTo>
                <a:cubicBezTo>
                  <a:pt x="389" y="193"/>
                  <a:pt x="389" y="193"/>
                  <a:pt x="389" y="193"/>
                </a:cubicBezTo>
                <a:cubicBezTo>
                  <a:pt x="389" y="191"/>
                  <a:pt x="389" y="191"/>
                  <a:pt x="389" y="191"/>
                </a:cubicBezTo>
                <a:cubicBezTo>
                  <a:pt x="389" y="190"/>
                  <a:pt x="389" y="190"/>
                  <a:pt x="389" y="190"/>
                </a:cubicBezTo>
                <a:cubicBezTo>
                  <a:pt x="389" y="189"/>
                  <a:pt x="389" y="189"/>
                  <a:pt x="389" y="189"/>
                </a:cubicBezTo>
                <a:cubicBezTo>
                  <a:pt x="390" y="189"/>
                  <a:pt x="390" y="189"/>
                  <a:pt x="390" y="189"/>
                </a:cubicBezTo>
                <a:cubicBezTo>
                  <a:pt x="391" y="189"/>
                  <a:pt x="391" y="189"/>
                  <a:pt x="391" y="189"/>
                </a:cubicBezTo>
                <a:cubicBezTo>
                  <a:pt x="391" y="190"/>
                  <a:pt x="391" y="190"/>
                  <a:pt x="391" y="190"/>
                </a:cubicBezTo>
                <a:cubicBezTo>
                  <a:pt x="391" y="191"/>
                  <a:pt x="391" y="191"/>
                  <a:pt x="391" y="191"/>
                </a:cubicBezTo>
                <a:cubicBezTo>
                  <a:pt x="392" y="190"/>
                  <a:pt x="392" y="190"/>
                  <a:pt x="392" y="190"/>
                </a:cubicBezTo>
                <a:cubicBezTo>
                  <a:pt x="393" y="189"/>
                  <a:pt x="393" y="189"/>
                  <a:pt x="393" y="189"/>
                </a:cubicBezTo>
                <a:cubicBezTo>
                  <a:pt x="393" y="190"/>
                  <a:pt x="393" y="190"/>
                  <a:pt x="393" y="190"/>
                </a:cubicBezTo>
                <a:cubicBezTo>
                  <a:pt x="394" y="191"/>
                  <a:pt x="394" y="191"/>
                  <a:pt x="394" y="191"/>
                </a:cubicBezTo>
                <a:cubicBezTo>
                  <a:pt x="394" y="192"/>
                  <a:pt x="394" y="192"/>
                  <a:pt x="394" y="192"/>
                </a:cubicBezTo>
                <a:cubicBezTo>
                  <a:pt x="392" y="194"/>
                  <a:pt x="392" y="194"/>
                  <a:pt x="392" y="194"/>
                </a:cubicBezTo>
                <a:cubicBezTo>
                  <a:pt x="391" y="195"/>
                  <a:pt x="391" y="195"/>
                  <a:pt x="391" y="195"/>
                </a:cubicBezTo>
                <a:cubicBezTo>
                  <a:pt x="391" y="196"/>
                  <a:pt x="391" y="196"/>
                  <a:pt x="391" y="196"/>
                </a:cubicBezTo>
                <a:cubicBezTo>
                  <a:pt x="392" y="196"/>
                  <a:pt x="392" y="196"/>
                  <a:pt x="392" y="196"/>
                </a:cubicBezTo>
                <a:cubicBezTo>
                  <a:pt x="393" y="197"/>
                  <a:pt x="393" y="197"/>
                  <a:pt x="393" y="197"/>
                </a:cubicBezTo>
                <a:cubicBezTo>
                  <a:pt x="394" y="196"/>
                  <a:pt x="394" y="196"/>
                  <a:pt x="394" y="196"/>
                </a:cubicBezTo>
                <a:cubicBezTo>
                  <a:pt x="393" y="195"/>
                  <a:pt x="393" y="195"/>
                  <a:pt x="393" y="195"/>
                </a:cubicBezTo>
                <a:cubicBezTo>
                  <a:pt x="394" y="194"/>
                  <a:pt x="394" y="194"/>
                  <a:pt x="394" y="194"/>
                </a:cubicBezTo>
                <a:cubicBezTo>
                  <a:pt x="395" y="193"/>
                  <a:pt x="395" y="193"/>
                  <a:pt x="395" y="193"/>
                </a:cubicBezTo>
                <a:cubicBezTo>
                  <a:pt x="395" y="195"/>
                  <a:pt x="395" y="195"/>
                  <a:pt x="395" y="195"/>
                </a:cubicBezTo>
                <a:cubicBezTo>
                  <a:pt x="395" y="196"/>
                  <a:pt x="395" y="196"/>
                  <a:pt x="395" y="196"/>
                </a:cubicBezTo>
                <a:cubicBezTo>
                  <a:pt x="396" y="195"/>
                  <a:pt x="396" y="195"/>
                  <a:pt x="396" y="195"/>
                </a:cubicBezTo>
                <a:cubicBezTo>
                  <a:pt x="396" y="193"/>
                  <a:pt x="396" y="193"/>
                  <a:pt x="396" y="193"/>
                </a:cubicBezTo>
                <a:cubicBezTo>
                  <a:pt x="395" y="192"/>
                  <a:pt x="395" y="192"/>
                  <a:pt x="395" y="192"/>
                </a:cubicBezTo>
                <a:cubicBezTo>
                  <a:pt x="395" y="190"/>
                  <a:pt x="395" y="190"/>
                  <a:pt x="395" y="190"/>
                </a:cubicBezTo>
                <a:cubicBezTo>
                  <a:pt x="395" y="190"/>
                  <a:pt x="395" y="190"/>
                  <a:pt x="395" y="190"/>
                </a:cubicBezTo>
                <a:cubicBezTo>
                  <a:pt x="397" y="190"/>
                  <a:pt x="397" y="190"/>
                  <a:pt x="397" y="190"/>
                </a:cubicBezTo>
                <a:cubicBezTo>
                  <a:pt x="396" y="191"/>
                  <a:pt x="396" y="191"/>
                  <a:pt x="396" y="191"/>
                </a:cubicBezTo>
                <a:cubicBezTo>
                  <a:pt x="396" y="192"/>
                  <a:pt x="396" y="192"/>
                  <a:pt x="396" y="192"/>
                </a:cubicBezTo>
                <a:cubicBezTo>
                  <a:pt x="397" y="192"/>
                  <a:pt x="397" y="192"/>
                  <a:pt x="397" y="192"/>
                </a:cubicBezTo>
                <a:cubicBezTo>
                  <a:pt x="398" y="192"/>
                  <a:pt x="398" y="192"/>
                  <a:pt x="398" y="192"/>
                </a:cubicBezTo>
                <a:cubicBezTo>
                  <a:pt x="400" y="194"/>
                  <a:pt x="400" y="194"/>
                  <a:pt x="400" y="194"/>
                </a:cubicBezTo>
                <a:cubicBezTo>
                  <a:pt x="400" y="195"/>
                  <a:pt x="400" y="195"/>
                  <a:pt x="400" y="195"/>
                </a:cubicBezTo>
                <a:cubicBezTo>
                  <a:pt x="401" y="195"/>
                  <a:pt x="401" y="195"/>
                  <a:pt x="401" y="195"/>
                </a:cubicBezTo>
                <a:cubicBezTo>
                  <a:pt x="402" y="195"/>
                  <a:pt x="402" y="195"/>
                  <a:pt x="402" y="195"/>
                </a:cubicBezTo>
                <a:cubicBezTo>
                  <a:pt x="403" y="195"/>
                  <a:pt x="403" y="195"/>
                  <a:pt x="403" y="195"/>
                </a:cubicBezTo>
                <a:cubicBezTo>
                  <a:pt x="402" y="194"/>
                  <a:pt x="402" y="194"/>
                  <a:pt x="402" y="194"/>
                </a:cubicBezTo>
                <a:cubicBezTo>
                  <a:pt x="401" y="194"/>
                  <a:pt x="401" y="194"/>
                  <a:pt x="401" y="194"/>
                </a:cubicBezTo>
                <a:cubicBezTo>
                  <a:pt x="401" y="193"/>
                  <a:pt x="401" y="193"/>
                  <a:pt x="401" y="193"/>
                </a:cubicBezTo>
                <a:cubicBezTo>
                  <a:pt x="399" y="191"/>
                  <a:pt x="399" y="191"/>
                  <a:pt x="399" y="191"/>
                </a:cubicBezTo>
                <a:cubicBezTo>
                  <a:pt x="398" y="191"/>
                  <a:pt x="398" y="191"/>
                  <a:pt x="398" y="191"/>
                </a:cubicBezTo>
                <a:cubicBezTo>
                  <a:pt x="397" y="190"/>
                  <a:pt x="397" y="190"/>
                  <a:pt x="397" y="190"/>
                </a:cubicBezTo>
                <a:cubicBezTo>
                  <a:pt x="399" y="188"/>
                  <a:pt x="399" y="188"/>
                  <a:pt x="399" y="188"/>
                </a:cubicBezTo>
                <a:cubicBezTo>
                  <a:pt x="400" y="188"/>
                  <a:pt x="400" y="188"/>
                  <a:pt x="400" y="188"/>
                </a:cubicBezTo>
                <a:cubicBezTo>
                  <a:pt x="401" y="187"/>
                  <a:pt x="401" y="187"/>
                  <a:pt x="401" y="187"/>
                </a:cubicBezTo>
                <a:cubicBezTo>
                  <a:pt x="403" y="187"/>
                  <a:pt x="403" y="187"/>
                  <a:pt x="403" y="187"/>
                </a:cubicBezTo>
                <a:cubicBezTo>
                  <a:pt x="405" y="187"/>
                  <a:pt x="405" y="187"/>
                  <a:pt x="405" y="187"/>
                </a:cubicBezTo>
                <a:cubicBezTo>
                  <a:pt x="405" y="188"/>
                  <a:pt x="405" y="188"/>
                  <a:pt x="405" y="188"/>
                </a:cubicBezTo>
                <a:cubicBezTo>
                  <a:pt x="406" y="188"/>
                  <a:pt x="406" y="188"/>
                  <a:pt x="406" y="188"/>
                </a:cubicBezTo>
                <a:cubicBezTo>
                  <a:pt x="407" y="188"/>
                  <a:pt x="407" y="188"/>
                  <a:pt x="407" y="188"/>
                </a:cubicBezTo>
                <a:cubicBezTo>
                  <a:pt x="407" y="189"/>
                  <a:pt x="407" y="189"/>
                  <a:pt x="407" y="189"/>
                </a:cubicBezTo>
                <a:cubicBezTo>
                  <a:pt x="408" y="190"/>
                  <a:pt x="408" y="190"/>
                  <a:pt x="408" y="190"/>
                </a:cubicBezTo>
                <a:cubicBezTo>
                  <a:pt x="409" y="190"/>
                  <a:pt x="409" y="190"/>
                  <a:pt x="409" y="190"/>
                </a:cubicBezTo>
                <a:cubicBezTo>
                  <a:pt x="409" y="191"/>
                  <a:pt x="409" y="191"/>
                  <a:pt x="409" y="191"/>
                </a:cubicBezTo>
                <a:cubicBezTo>
                  <a:pt x="410" y="191"/>
                  <a:pt x="410" y="191"/>
                  <a:pt x="410" y="191"/>
                </a:cubicBezTo>
                <a:cubicBezTo>
                  <a:pt x="410" y="191"/>
                  <a:pt x="410" y="191"/>
                  <a:pt x="410" y="191"/>
                </a:cubicBezTo>
                <a:cubicBezTo>
                  <a:pt x="411" y="191"/>
                  <a:pt x="411" y="191"/>
                  <a:pt x="411" y="191"/>
                </a:cubicBezTo>
                <a:cubicBezTo>
                  <a:pt x="412" y="192"/>
                  <a:pt x="412" y="192"/>
                  <a:pt x="412" y="192"/>
                </a:cubicBezTo>
                <a:cubicBezTo>
                  <a:pt x="413" y="193"/>
                  <a:pt x="413" y="193"/>
                  <a:pt x="413" y="193"/>
                </a:cubicBezTo>
                <a:cubicBezTo>
                  <a:pt x="413" y="193"/>
                  <a:pt x="413" y="193"/>
                  <a:pt x="413" y="193"/>
                </a:cubicBezTo>
                <a:cubicBezTo>
                  <a:pt x="413" y="194"/>
                  <a:pt x="413" y="194"/>
                  <a:pt x="413" y="194"/>
                </a:cubicBezTo>
                <a:cubicBezTo>
                  <a:pt x="413" y="195"/>
                  <a:pt x="413" y="195"/>
                  <a:pt x="413" y="195"/>
                </a:cubicBezTo>
                <a:cubicBezTo>
                  <a:pt x="413" y="196"/>
                  <a:pt x="413" y="196"/>
                  <a:pt x="413" y="196"/>
                </a:cubicBezTo>
                <a:cubicBezTo>
                  <a:pt x="412" y="197"/>
                  <a:pt x="412" y="197"/>
                  <a:pt x="412" y="197"/>
                </a:cubicBezTo>
                <a:cubicBezTo>
                  <a:pt x="411" y="197"/>
                  <a:pt x="411" y="197"/>
                  <a:pt x="411" y="197"/>
                </a:cubicBezTo>
                <a:cubicBezTo>
                  <a:pt x="410" y="197"/>
                  <a:pt x="410" y="197"/>
                  <a:pt x="410" y="197"/>
                </a:cubicBezTo>
                <a:cubicBezTo>
                  <a:pt x="408" y="197"/>
                  <a:pt x="408" y="197"/>
                  <a:pt x="408" y="197"/>
                </a:cubicBezTo>
                <a:cubicBezTo>
                  <a:pt x="407" y="199"/>
                  <a:pt x="407" y="199"/>
                  <a:pt x="407" y="199"/>
                </a:cubicBezTo>
                <a:cubicBezTo>
                  <a:pt x="409" y="197"/>
                  <a:pt x="409" y="197"/>
                  <a:pt x="409" y="197"/>
                </a:cubicBezTo>
                <a:cubicBezTo>
                  <a:pt x="411" y="197"/>
                  <a:pt x="411" y="197"/>
                  <a:pt x="411" y="197"/>
                </a:cubicBezTo>
                <a:cubicBezTo>
                  <a:pt x="411" y="198"/>
                  <a:pt x="411" y="198"/>
                  <a:pt x="411" y="198"/>
                </a:cubicBezTo>
                <a:cubicBezTo>
                  <a:pt x="410" y="199"/>
                  <a:pt x="410" y="199"/>
                  <a:pt x="410" y="199"/>
                </a:cubicBezTo>
                <a:cubicBezTo>
                  <a:pt x="409" y="200"/>
                  <a:pt x="409" y="200"/>
                  <a:pt x="409" y="200"/>
                </a:cubicBezTo>
                <a:cubicBezTo>
                  <a:pt x="408" y="202"/>
                  <a:pt x="408" y="202"/>
                  <a:pt x="408" y="202"/>
                </a:cubicBezTo>
                <a:cubicBezTo>
                  <a:pt x="407" y="202"/>
                  <a:pt x="407" y="202"/>
                  <a:pt x="407" y="202"/>
                </a:cubicBezTo>
                <a:cubicBezTo>
                  <a:pt x="406" y="203"/>
                  <a:pt x="406" y="203"/>
                  <a:pt x="406" y="203"/>
                </a:cubicBezTo>
                <a:cubicBezTo>
                  <a:pt x="406" y="203"/>
                  <a:pt x="406" y="203"/>
                  <a:pt x="406" y="203"/>
                </a:cubicBezTo>
                <a:cubicBezTo>
                  <a:pt x="406" y="204"/>
                  <a:pt x="406" y="204"/>
                  <a:pt x="406" y="204"/>
                </a:cubicBezTo>
                <a:cubicBezTo>
                  <a:pt x="409" y="201"/>
                  <a:pt x="409" y="201"/>
                  <a:pt x="409" y="201"/>
                </a:cubicBezTo>
                <a:cubicBezTo>
                  <a:pt x="410" y="200"/>
                  <a:pt x="410" y="200"/>
                  <a:pt x="410" y="200"/>
                </a:cubicBezTo>
                <a:cubicBezTo>
                  <a:pt x="411" y="199"/>
                  <a:pt x="411" y="199"/>
                  <a:pt x="411" y="199"/>
                </a:cubicBezTo>
                <a:cubicBezTo>
                  <a:pt x="412" y="198"/>
                  <a:pt x="412" y="198"/>
                  <a:pt x="412" y="198"/>
                </a:cubicBezTo>
                <a:cubicBezTo>
                  <a:pt x="414" y="198"/>
                  <a:pt x="414" y="198"/>
                  <a:pt x="414" y="198"/>
                </a:cubicBezTo>
                <a:cubicBezTo>
                  <a:pt x="414" y="199"/>
                  <a:pt x="414" y="199"/>
                  <a:pt x="414" y="199"/>
                </a:cubicBezTo>
                <a:cubicBezTo>
                  <a:pt x="415" y="199"/>
                  <a:pt x="415" y="199"/>
                  <a:pt x="415" y="199"/>
                </a:cubicBezTo>
                <a:cubicBezTo>
                  <a:pt x="415" y="200"/>
                  <a:pt x="415" y="200"/>
                  <a:pt x="415" y="200"/>
                </a:cubicBezTo>
                <a:cubicBezTo>
                  <a:pt x="415" y="201"/>
                  <a:pt x="415" y="201"/>
                  <a:pt x="415" y="201"/>
                </a:cubicBezTo>
                <a:cubicBezTo>
                  <a:pt x="415" y="202"/>
                  <a:pt x="415" y="202"/>
                  <a:pt x="415" y="202"/>
                </a:cubicBezTo>
                <a:cubicBezTo>
                  <a:pt x="413" y="202"/>
                  <a:pt x="413" y="202"/>
                  <a:pt x="413" y="202"/>
                </a:cubicBezTo>
                <a:cubicBezTo>
                  <a:pt x="413" y="203"/>
                  <a:pt x="413" y="203"/>
                  <a:pt x="413" y="203"/>
                </a:cubicBezTo>
                <a:cubicBezTo>
                  <a:pt x="411" y="204"/>
                  <a:pt x="411" y="204"/>
                  <a:pt x="411" y="204"/>
                </a:cubicBezTo>
                <a:cubicBezTo>
                  <a:pt x="411" y="203"/>
                  <a:pt x="411" y="203"/>
                  <a:pt x="411" y="203"/>
                </a:cubicBezTo>
                <a:cubicBezTo>
                  <a:pt x="410" y="203"/>
                  <a:pt x="410" y="203"/>
                  <a:pt x="410" y="203"/>
                </a:cubicBezTo>
                <a:cubicBezTo>
                  <a:pt x="409" y="204"/>
                  <a:pt x="409" y="204"/>
                  <a:pt x="409" y="204"/>
                </a:cubicBezTo>
                <a:cubicBezTo>
                  <a:pt x="410" y="204"/>
                  <a:pt x="410" y="204"/>
                  <a:pt x="410" y="204"/>
                </a:cubicBezTo>
                <a:cubicBezTo>
                  <a:pt x="411" y="205"/>
                  <a:pt x="411" y="205"/>
                  <a:pt x="411" y="205"/>
                </a:cubicBezTo>
                <a:cubicBezTo>
                  <a:pt x="408" y="206"/>
                  <a:pt x="408" y="206"/>
                  <a:pt x="408" y="206"/>
                </a:cubicBezTo>
                <a:cubicBezTo>
                  <a:pt x="409" y="206"/>
                  <a:pt x="409" y="206"/>
                  <a:pt x="409" y="206"/>
                </a:cubicBezTo>
                <a:cubicBezTo>
                  <a:pt x="410" y="205"/>
                  <a:pt x="410" y="205"/>
                  <a:pt x="410" y="205"/>
                </a:cubicBezTo>
                <a:cubicBezTo>
                  <a:pt x="411" y="205"/>
                  <a:pt x="411" y="205"/>
                  <a:pt x="411" y="205"/>
                </a:cubicBezTo>
                <a:cubicBezTo>
                  <a:pt x="412" y="204"/>
                  <a:pt x="412" y="204"/>
                  <a:pt x="412" y="204"/>
                </a:cubicBezTo>
                <a:cubicBezTo>
                  <a:pt x="412" y="205"/>
                  <a:pt x="412" y="205"/>
                  <a:pt x="412" y="205"/>
                </a:cubicBezTo>
                <a:cubicBezTo>
                  <a:pt x="412" y="206"/>
                  <a:pt x="412" y="206"/>
                  <a:pt x="412" y="206"/>
                </a:cubicBezTo>
                <a:cubicBezTo>
                  <a:pt x="410" y="206"/>
                  <a:pt x="410" y="206"/>
                  <a:pt x="410" y="206"/>
                </a:cubicBezTo>
                <a:cubicBezTo>
                  <a:pt x="409" y="207"/>
                  <a:pt x="409" y="207"/>
                  <a:pt x="409" y="207"/>
                </a:cubicBezTo>
                <a:cubicBezTo>
                  <a:pt x="410" y="207"/>
                  <a:pt x="410" y="207"/>
                  <a:pt x="410" y="207"/>
                </a:cubicBezTo>
                <a:cubicBezTo>
                  <a:pt x="411" y="207"/>
                  <a:pt x="411" y="207"/>
                  <a:pt x="411" y="207"/>
                </a:cubicBezTo>
                <a:cubicBezTo>
                  <a:pt x="410" y="208"/>
                  <a:pt x="410" y="208"/>
                  <a:pt x="410" y="208"/>
                </a:cubicBezTo>
                <a:cubicBezTo>
                  <a:pt x="409" y="209"/>
                  <a:pt x="409" y="209"/>
                  <a:pt x="409" y="209"/>
                </a:cubicBezTo>
                <a:cubicBezTo>
                  <a:pt x="408" y="210"/>
                  <a:pt x="408" y="210"/>
                  <a:pt x="408" y="210"/>
                </a:cubicBezTo>
                <a:cubicBezTo>
                  <a:pt x="408" y="210"/>
                  <a:pt x="408" y="210"/>
                  <a:pt x="408" y="210"/>
                </a:cubicBezTo>
                <a:cubicBezTo>
                  <a:pt x="410" y="209"/>
                  <a:pt x="410" y="209"/>
                  <a:pt x="410" y="209"/>
                </a:cubicBezTo>
                <a:cubicBezTo>
                  <a:pt x="411" y="207"/>
                  <a:pt x="411" y="207"/>
                  <a:pt x="411" y="207"/>
                </a:cubicBezTo>
                <a:cubicBezTo>
                  <a:pt x="412" y="206"/>
                  <a:pt x="412" y="206"/>
                  <a:pt x="412" y="206"/>
                </a:cubicBezTo>
                <a:cubicBezTo>
                  <a:pt x="414" y="205"/>
                  <a:pt x="414" y="205"/>
                  <a:pt x="414" y="205"/>
                </a:cubicBezTo>
                <a:cubicBezTo>
                  <a:pt x="414" y="205"/>
                  <a:pt x="414" y="205"/>
                  <a:pt x="414" y="205"/>
                </a:cubicBezTo>
                <a:cubicBezTo>
                  <a:pt x="414" y="206"/>
                  <a:pt x="414" y="206"/>
                  <a:pt x="414" y="206"/>
                </a:cubicBezTo>
                <a:cubicBezTo>
                  <a:pt x="415" y="205"/>
                  <a:pt x="415" y="205"/>
                  <a:pt x="415" y="205"/>
                </a:cubicBezTo>
                <a:cubicBezTo>
                  <a:pt x="415" y="205"/>
                  <a:pt x="415" y="205"/>
                  <a:pt x="415" y="205"/>
                </a:cubicBezTo>
                <a:cubicBezTo>
                  <a:pt x="417" y="204"/>
                  <a:pt x="417" y="204"/>
                  <a:pt x="417" y="204"/>
                </a:cubicBezTo>
                <a:cubicBezTo>
                  <a:pt x="417" y="204"/>
                  <a:pt x="417" y="204"/>
                  <a:pt x="417" y="204"/>
                </a:cubicBezTo>
                <a:cubicBezTo>
                  <a:pt x="417" y="204"/>
                  <a:pt x="417" y="204"/>
                  <a:pt x="417" y="204"/>
                </a:cubicBezTo>
                <a:cubicBezTo>
                  <a:pt x="416" y="206"/>
                  <a:pt x="416" y="206"/>
                  <a:pt x="416" y="206"/>
                </a:cubicBezTo>
                <a:cubicBezTo>
                  <a:pt x="413" y="207"/>
                  <a:pt x="413" y="207"/>
                  <a:pt x="413" y="207"/>
                </a:cubicBezTo>
                <a:cubicBezTo>
                  <a:pt x="413" y="208"/>
                  <a:pt x="413" y="208"/>
                  <a:pt x="413" y="208"/>
                </a:cubicBezTo>
                <a:cubicBezTo>
                  <a:pt x="413" y="208"/>
                  <a:pt x="413" y="208"/>
                  <a:pt x="413" y="208"/>
                </a:cubicBezTo>
                <a:cubicBezTo>
                  <a:pt x="413" y="209"/>
                  <a:pt x="413" y="209"/>
                  <a:pt x="413" y="209"/>
                </a:cubicBezTo>
                <a:cubicBezTo>
                  <a:pt x="412" y="210"/>
                  <a:pt x="412" y="210"/>
                  <a:pt x="412" y="210"/>
                </a:cubicBezTo>
                <a:cubicBezTo>
                  <a:pt x="412" y="211"/>
                  <a:pt x="412" y="211"/>
                  <a:pt x="412" y="211"/>
                </a:cubicBezTo>
                <a:cubicBezTo>
                  <a:pt x="413" y="211"/>
                  <a:pt x="413" y="211"/>
                  <a:pt x="413" y="211"/>
                </a:cubicBezTo>
                <a:cubicBezTo>
                  <a:pt x="413" y="210"/>
                  <a:pt x="413" y="210"/>
                  <a:pt x="413" y="210"/>
                </a:cubicBezTo>
                <a:cubicBezTo>
                  <a:pt x="414" y="209"/>
                  <a:pt x="414" y="209"/>
                  <a:pt x="414" y="209"/>
                </a:cubicBezTo>
                <a:cubicBezTo>
                  <a:pt x="415" y="207"/>
                  <a:pt x="415" y="207"/>
                  <a:pt x="415" y="207"/>
                </a:cubicBezTo>
                <a:cubicBezTo>
                  <a:pt x="417" y="207"/>
                  <a:pt x="417" y="207"/>
                  <a:pt x="417" y="207"/>
                </a:cubicBezTo>
                <a:cubicBezTo>
                  <a:pt x="417" y="207"/>
                  <a:pt x="417" y="207"/>
                  <a:pt x="417" y="207"/>
                </a:cubicBezTo>
                <a:cubicBezTo>
                  <a:pt x="417" y="208"/>
                  <a:pt x="417" y="208"/>
                  <a:pt x="417" y="208"/>
                </a:cubicBezTo>
                <a:cubicBezTo>
                  <a:pt x="416" y="209"/>
                  <a:pt x="416" y="209"/>
                  <a:pt x="416" y="209"/>
                </a:cubicBezTo>
                <a:cubicBezTo>
                  <a:pt x="415" y="210"/>
                  <a:pt x="415" y="210"/>
                  <a:pt x="415" y="210"/>
                </a:cubicBezTo>
                <a:cubicBezTo>
                  <a:pt x="414" y="211"/>
                  <a:pt x="414" y="211"/>
                  <a:pt x="414" y="211"/>
                </a:cubicBezTo>
                <a:cubicBezTo>
                  <a:pt x="413" y="213"/>
                  <a:pt x="413" y="213"/>
                  <a:pt x="413" y="213"/>
                </a:cubicBezTo>
                <a:cubicBezTo>
                  <a:pt x="413" y="213"/>
                  <a:pt x="413" y="213"/>
                  <a:pt x="413" y="213"/>
                </a:cubicBezTo>
                <a:cubicBezTo>
                  <a:pt x="413" y="214"/>
                  <a:pt x="413" y="214"/>
                  <a:pt x="413" y="214"/>
                </a:cubicBezTo>
                <a:cubicBezTo>
                  <a:pt x="414" y="213"/>
                  <a:pt x="414" y="213"/>
                  <a:pt x="414" y="213"/>
                </a:cubicBezTo>
                <a:cubicBezTo>
                  <a:pt x="414" y="212"/>
                  <a:pt x="414" y="212"/>
                  <a:pt x="414" y="212"/>
                </a:cubicBezTo>
                <a:cubicBezTo>
                  <a:pt x="416" y="210"/>
                  <a:pt x="416" y="210"/>
                  <a:pt x="416" y="210"/>
                </a:cubicBezTo>
                <a:cubicBezTo>
                  <a:pt x="417" y="210"/>
                  <a:pt x="417" y="210"/>
                  <a:pt x="417" y="210"/>
                </a:cubicBezTo>
                <a:cubicBezTo>
                  <a:pt x="417" y="211"/>
                  <a:pt x="417" y="211"/>
                  <a:pt x="417" y="211"/>
                </a:cubicBezTo>
                <a:cubicBezTo>
                  <a:pt x="418" y="211"/>
                  <a:pt x="418" y="211"/>
                  <a:pt x="418" y="211"/>
                </a:cubicBezTo>
                <a:cubicBezTo>
                  <a:pt x="418" y="212"/>
                  <a:pt x="418" y="212"/>
                  <a:pt x="418" y="212"/>
                </a:cubicBezTo>
                <a:cubicBezTo>
                  <a:pt x="417" y="212"/>
                  <a:pt x="417" y="212"/>
                  <a:pt x="417" y="212"/>
                </a:cubicBezTo>
                <a:cubicBezTo>
                  <a:pt x="416" y="214"/>
                  <a:pt x="416" y="214"/>
                  <a:pt x="416" y="214"/>
                </a:cubicBezTo>
                <a:cubicBezTo>
                  <a:pt x="415" y="215"/>
                  <a:pt x="415" y="215"/>
                  <a:pt x="415" y="215"/>
                </a:cubicBezTo>
                <a:cubicBezTo>
                  <a:pt x="416" y="215"/>
                  <a:pt x="416" y="215"/>
                  <a:pt x="416" y="215"/>
                </a:cubicBezTo>
                <a:cubicBezTo>
                  <a:pt x="416" y="214"/>
                  <a:pt x="416" y="214"/>
                  <a:pt x="416" y="214"/>
                </a:cubicBezTo>
                <a:cubicBezTo>
                  <a:pt x="417" y="213"/>
                  <a:pt x="417" y="213"/>
                  <a:pt x="417" y="213"/>
                </a:cubicBezTo>
                <a:cubicBezTo>
                  <a:pt x="417" y="212"/>
                  <a:pt x="417" y="212"/>
                  <a:pt x="417" y="212"/>
                </a:cubicBezTo>
                <a:cubicBezTo>
                  <a:pt x="419" y="212"/>
                  <a:pt x="419" y="212"/>
                  <a:pt x="419" y="212"/>
                </a:cubicBezTo>
                <a:cubicBezTo>
                  <a:pt x="419" y="210"/>
                  <a:pt x="419" y="210"/>
                  <a:pt x="419" y="210"/>
                </a:cubicBezTo>
                <a:cubicBezTo>
                  <a:pt x="419" y="210"/>
                  <a:pt x="419" y="210"/>
                  <a:pt x="419" y="210"/>
                </a:cubicBezTo>
                <a:cubicBezTo>
                  <a:pt x="420" y="209"/>
                  <a:pt x="420" y="209"/>
                  <a:pt x="420" y="209"/>
                </a:cubicBezTo>
                <a:cubicBezTo>
                  <a:pt x="420" y="208"/>
                  <a:pt x="420" y="208"/>
                  <a:pt x="420" y="208"/>
                </a:cubicBezTo>
                <a:cubicBezTo>
                  <a:pt x="421" y="207"/>
                  <a:pt x="421" y="207"/>
                  <a:pt x="421" y="207"/>
                </a:cubicBezTo>
                <a:cubicBezTo>
                  <a:pt x="421" y="207"/>
                  <a:pt x="421" y="207"/>
                  <a:pt x="421" y="207"/>
                </a:cubicBezTo>
                <a:cubicBezTo>
                  <a:pt x="422" y="206"/>
                  <a:pt x="422" y="206"/>
                  <a:pt x="422" y="206"/>
                </a:cubicBezTo>
                <a:cubicBezTo>
                  <a:pt x="422" y="205"/>
                  <a:pt x="422" y="205"/>
                  <a:pt x="422" y="205"/>
                </a:cubicBezTo>
                <a:cubicBezTo>
                  <a:pt x="422" y="205"/>
                  <a:pt x="422" y="205"/>
                  <a:pt x="422" y="205"/>
                </a:cubicBezTo>
                <a:cubicBezTo>
                  <a:pt x="423" y="207"/>
                  <a:pt x="423" y="207"/>
                  <a:pt x="423" y="207"/>
                </a:cubicBezTo>
                <a:cubicBezTo>
                  <a:pt x="424" y="208"/>
                  <a:pt x="424" y="208"/>
                  <a:pt x="424" y="208"/>
                </a:cubicBezTo>
                <a:cubicBezTo>
                  <a:pt x="425" y="209"/>
                  <a:pt x="425" y="209"/>
                  <a:pt x="425" y="209"/>
                </a:cubicBezTo>
                <a:cubicBezTo>
                  <a:pt x="426" y="210"/>
                  <a:pt x="426" y="210"/>
                  <a:pt x="426" y="210"/>
                </a:cubicBezTo>
                <a:cubicBezTo>
                  <a:pt x="426" y="211"/>
                  <a:pt x="426" y="211"/>
                  <a:pt x="426" y="211"/>
                </a:cubicBezTo>
                <a:cubicBezTo>
                  <a:pt x="427" y="212"/>
                  <a:pt x="427" y="212"/>
                  <a:pt x="427" y="212"/>
                </a:cubicBezTo>
                <a:cubicBezTo>
                  <a:pt x="427" y="213"/>
                  <a:pt x="427" y="213"/>
                  <a:pt x="427" y="213"/>
                </a:cubicBezTo>
                <a:cubicBezTo>
                  <a:pt x="426" y="214"/>
                  <a:pt x="426" y="214"/>
                  <a:pt x="426" y="214"/>
                </a:cubicBezTo>
                <a:cubicBezTo>
                  <a:pt x="425" y="215"/>
                  <a:pt x="425" y="215"/>
                  <a:pt x="425" y="215"/>
                </a:cubicBezTo>
                <a:cubicBezTo>
                  <a:pt x="424" y="215"/>
                  <a:pt x="424" y="215"/>
                  <a:pt x="424" y="215"/>
                </a:cubicBezTo>
                <a:cubicBezTo>
                  <a:pt x="424" y="215"/>
                  <a:pt x="424" y="215"/>
                  <a:pt x="424" y="215"/>
                </a:cubicBezTo>
                <a:cubicBezTo>
                  <a:pt x="422" y="214"/>
                  <a:pt x="422" y="214"/>
                  <a:pt x="422" y="214"/>
                </a:cubicBezTo>
                <a:cubicBezTo>
                  <a:pt x="422" y="214"/>
                  <a:pt x="422" y="214"/>
                  <a:pt x="422" y="214"/>
                </a:cubicBezTo>
                <a:cubicBezTo>
                  <a:pt x="421" y="214"/>
                  <a:pt x="421" y="214"/>
                  <a:pt x="421" y="214"/>
                </a:cubicBezTo>
                <a:cubicBezTo>
                  <a:pt x="421" y="215"/>
                  <a:pt x="421" y="215"/>
                  <a:pt x="421" y="215"/>
                </a:cubicBezTo>
                <a:cubicBezTo>
                  <a:pt x="420" y="216"/>
                  <a:pt x="420" y="216"/>
                  <a:pt x="420" y="216"/>
                </a:cubicBezTo>
                <a:cubicBezTo>
                  <a:pt x="419" y="216"/>
                  <a:pt x="419" y="216"/>
                  <a:pt x="419" y="216"/>
                </a:cubicBezTo>
                <a:cubicBezTo>
                  <a:pt x="418" y="216"/>
                  <a:pt x="418" y="216"/>
                  <a:pt x="418" y="216"/>
                </a:cubicBezTo>
                <a:cubicBezTo>
                  <a:pt x="418" y="217"/>
                  <a:pt x="418" y="217"/>
                  <a:pt x="418" y="217"/>
                </a:cubicBezTo>
                <a:cubicBezTo>
                  <a:pt x="419" y="217"/>
                  <a:pt x="419" y="217"/>
                  <a:pt x="419" y="217"/>
                </a:cubicBezTo>
                <a:cubicBezTo>
                  <a:pt x="420" y="217"/>
                  <a:pt x="420" y="217"/>
                  <a:pt x="420" y="217"/>
                </a:cubicBezTo>
                <a:cubicBezTo>
                  <a:pt x="420" y="218"/>
                  <a:pt x="420" y="218"/>
                  <a:pt x="420" y="218"/>
                </a:cubicBezTo>
                <a:cubicBezTo>
                  <a:pt x="419" y="219"/>
                  <a:pt x="419" y="219"/>
                  <a:pt x="419" y="219"/>
                </a:cubicBezTo>
                <a:cubicBezTo>
                  <a:pt x="418" y="219"/>
                  <a:pt x="418" y="219"/>
                  <a:pt x="418" y="219"/>
                </a:cubicBezTo>
                <a:cubicBezTo>
                  <a:pt x="417" y="220"/>
                  <a:pt x="417" y="220"/>
                  <a:pt x="417" y="220"/>
                </a:cubicBezTo>
                <a:cubicBezTo>
                  <a:pt x="418" y="220"/>
                  <a:pt x="418" y="220"/>
                  <a:pt x="418" y="220"/>
                </a:cubicBezTo>
                <a:cubicBezTo>
                  <a:pt x="419" y="219"/>
                  <a:pt x="419" y="219"/>
                  <a:pt x="419" y="219"/>
                </a:cubicBezTo>
                <a:cubicBezTo>
                  <a:pt x="421" y="219"/>
                  <a:pt x="421" y="219"/>
                  <a:pt x="421" y="219"/>
                </a:cubicBezTo>
                <a:cubicBezTo>
                  <a:pt x="422" y="219"/>
                  <a:pt x="422" y="219"/>
                  <a:pt x="422" y="219"/>
                </a:cubicBezTo>
                <a:cubicBezTo>
                  <a:pt x="423" y="218"/>
                  <a:pt x="423" y="218"/>
                  <a:pt x="423" y="218"/>
                </a:cubicBezTo>
                <a:cubicBezTo>
                  <a:pt x="424" y="218"/>
                  <a:pt x="424" y="218"/>
                  <a:pt x="424" y="218"/>
                </a:cubicBezTo>
                <a:cubicBezTo>
                  <a:pt x="425" y="219"/>
                  <a:pt x="425" y="219"/>
                  <a:pt x="425" y="219"/>
                </a:cubicBezTo>
                <a:cubicBezTo>
                  <a:pt x="425" y="219"/>
                  <a:pt x="425" y="219"/>
                  <a:pt x="425" y="219"/>
                </a:cubicBezTo>
                <a:cubicBezTo>
                  <a:pt x="425" y="220"/>
                  <a:pt x="425" y="220"/>
                  <a:pt x="425" y="220"/>
                </a:cubicBezTo>
                <a:cubicBezTo>
                  <a:pt x="425" y="219"/>
                  <a:pt x="425" y="219"/>
                  <a:pt x="425" y="219"/>
                </a:cubicBezTo>
                <a:cubicBezTo>
                  <a:pt x="425" y="218"/>
                  <a:pt x="425" y="218"/>
                  <a:pt x="425" y="218"/>
                </a:cubicBezTo>
                <a:cubicBezTo>
                  <a:pt x="425" y="217"/>
                  <a:pt x="425" y="217"/>
                  <a:pt x="425" y="217"/>
                </a:cubicBezTo>
                <a:cubicBezTo>
                  <a:pt x="426" y="216"/>
                  <a:pt x="426" y="216"/>
                  <a:pt x="426" y="216"/>
                </a:cubicBezTo>
                <a:cubicBezTo>
                  <a:pt x="428" y="215"/>
                  <a:pt x="428" y="215"/>
                  <a:pt x="428" y="215"/>
                </a:cubicBezTo>
                <a:cubicBezTo>
                  <a:pt x="428" y="216"/>
                  <a:pt x="428" y="216"/>
                  <a:pt x="428" y="216"/>
                </a:cubicBezTo>
                <a:cubicBezTo>
                  <a:pt x="428" y="216"/>
                  <a:pt x="428" y="216"/>
                  <a:pt x="428" y="216"/>
                </a:cubicBezTo>
                <a:cubicBezTo>
                  <a:pt x="428" y="217"/>
                  <a:pt x="428" y="217"/>
                  <a:pt x="428" y="217"/>
                </a:cubicBezTo>
                <a:cubicBezTo>
                  <a:pt x="428" y="218"/>
                  <a:pt x="428" y="218"/>
                  <a:pt x="428" y="218"/>
                </a:cubicBezTo>
                <a:cubicBezTo>
                  <a:pt x="427" y="220"/>
                  <a:pt x="427" y="220"/>
                  <a:pt x="427" y="220"/>
                </a:cubicBezTo>
                <a:cubicBezTo>
                  <a:pt x="425" y="220"/>
                  <a:pt x="425" y="220"/>
                  <a:pt x="425" y="220"/>
                </a:cubicBezTo>
                <a:cubicBezTo>
                  <a:pt x="425" y="221"/>
                  <a:pt x="425" y="221"/>
                  <a:pt x="425" y="221"/>
                </a:cubicBezTo>
                <a:cubicBezTo>
                  <a:pt x="424" y="222"/>
                  <a:pt x="424" y="222"/>
                  <a:pt x="424" y="222"/>
                </a:cubicBezTo>
                <a:cubicBezTo>
                  <a:pt x="423" y="222"/>
                  <a:pt x="423" y="222"/>
                  <a:pt x="423" y="222"/>
                </a:cubicBezTo>
                <a:cubicBezTo>
                  <a:pt x="422" y="221"/>
                  <a:pt x="422" y="221"/>
                  <a:pt x="422" y="221"/>
                </a:cubicBezTo>
                <a:cubicBezTo>
                  <a:pt x="422" y="221"/>
                  <a:pt x="422" y="221"/>
                  <a:pt x="422" y="221"/>
                </a:cubicBezTo>
                <a:cubicBezTo>
                  <a:pt x="421" y="222"/>
                  <a:pt x="421" y="222"/>
                  <a:pt x="421" y="222"/>
                </a:cubicBezTo>
                <a:cubicBezTo>
                  <a:pt x="421" y="223"/>
                  <a:pt x="421" y="223"/>
                  <a:pt x="421" y="223"/>
                </a:cubicBezTo>
                <a:cubicBezTo>
                  <a:pt x="420" y="224"/>
                  <a:pt x="420" y="224"/>
                  <a:pt x="420" y="224"/>
                </a:cubicBezTo>
                <a:cubicBezTo>
                  <a:pt x="420" y="225"/>
                  <a:pt x="420" y="225"/>
                  <a:pt x="420" y="225"/>
                </a:cubicBezTo>
                <a:cubicBezTo>
                  <a:pt x="419" y="226"/>
                  <a:pt x="419" y="226"/>
                  <a:pt x="419" y="226"/>
                </a:cubicBezTo>
                <a:cubicBezTo>
                  <a:pt x="420" y="226"/>
                  <a:pt x="420" y="226"/>
                  <a:pt x="420" y="226"/>
                </a:cubicBezTo>
                <a:cubicBezTo>
                  <a:pt x="421" y="224"/>
                  <a:pt x="421" y="224"/>
                  <a:pt x="421" y="224"/>
                </a:cubicBezTo>
                <a:cubicBezTo>
                  <a:pt x="422" y="222"/>
                  <a:pt x="422" y="222"/>
                  <a:pt x="422" y="222"/>
                </a:cubicBezTo>
                <a:cubicBezTo>
                  <a:pt x="423" y="222"/>
                  <a:pt x="423" y="222"/>
                  <a:pt x="423" y="222"/>
                </a:cubicBezTo>
                <a:cubicBezTo>
                  <a:pt x="423" y="222"/>
                  <a:pt x="423" y="222"/>
                  <a:pt x="423" y="222"/>
                </a:cubicBezTo>
                <a:cubicBezTo>
                  <a:pt x="424" y="223"/>
                  <a:pt x="424" y="223"/>
                  <a:pt x="424" y="223"/>
                </a:cubicBezTo>
                <a:cubicBezTo>
                  <a:pt x="424" y="223"/>
                  <a:pt x="424" y="223"/>
                  <a:pt x="424" y="223"/>
                </a:cubicBezTo>
                <a:cubicBezTo>
                  <a:pt x="423" y="224"/>
                  <a:pt x="423" y="224"/>
                  <a:pt x="423" y="224"/>
                </a:cubicBezTo>
                <a:cubicBezTo>
                  <a:pt x="423" y="225"/>
                  <a:pt x="423" y="225"/>
                  <a:pt x="423" y="225"/>
                </a:cubicBezTo>
                <a:cubicBezTo>
                  <a:pt x="421" y="227"/>
                  <a:pt x="421" y="227"/>
                  <a:pt x="421" y="227"/>
                </a:cubicBezTo>
                <a:cubicBezTo>
                  <a:pt x="420" y="227"/>
                  <a:pt x="420" y="227"/>
                  <a:pt x="420" y="227"/>
                </a:cubicBezTo>
                <a:cubicBezTo>
                  <a:pt x="420" y="228"/>
                  <a:pt x="420" y="228"/>
                  <a:pt x="420" y="228"/>
                </a:cubicBezTo>
                <a:cubicBezTo>
                  <a:pt x="422" y="227"/>
                  <a:pt x="422" y="227"/>
                  <a:pt x="422" y="227"/>
                </a:cubicBezTo>
                <a:cubicBezTo>
                  <a:pt x="424" y="224"/>
                  <a:pt x="424" y="224"/>
                  <a:pt x="424" y="224"/>
                </a:cubicBezTo>
                <a:cubicBezTo>
                  <a:pt x="425" y="222"/>
                  <a:pt x="425" y="222"/>
                  <a:pt x="425" y="222"/>
                </a:cubicBezTo>
                <a:cubicBezTo>
                  <a:pt x="425" y="222"/>
                  <a:pt x="425" y="222"/>
                  <a:pt x="425" y="222"/>
                </a:cubicBezTo>
                <a:cubicBezTo>
                  <a:pt x="426" y="221"/>
                  <a:pt x="426" y="221"/>
                  <a:pt x="426" y="221"/>
                </a:cubicBezTo>
                <a:cubicBezTo>
                  <a:pt x="426" y="221"/>
                  <a:pt x="426" y="221"/>
                  <a:pt x="426" y="221"/>
                </a:cubicBezTo>
                <a:cubicBezTo>
                  <a:pt x="428" y="220"/>
                  <a:pt x="428" y="220"/>
                  <a:pt x="428" y="220"/>
                </a:cubicBezTo>
                <a:cubicBezTo>
                  <a:pt x="430" y="219"/>
                  <a:pt x="430" y="219"/>
                  <a:pt x="430" y="219"/>
                </a:cubicBezTo>
                <a:cubicBezTo>
                  <a:pt x="431" y="219"/>
                  <a:pt x="431" y="219"/>
                  <a:pt x="431" y="219"/>
                </a:cubicBezTo>
                <a:cubicBezTo>
                  <a:pt x="431" y="219"/>
                  <a:pt x="431" y="219"/>
                  <a:pt x="431" y="219"/>
                </a:cubicBezTo>
                <a:cubicBezTo>
                  <a:pt x="430" y="220"/>
                  <a:pt x="430" y="220"/>
                  <a:pt x="430" y="220"/>
                </a:cubicBezTo>
                <a:cubicBezTo>
                  <a:pt x="429" y="221"/>
                  <a:pt x="429" y="221"/>
                  <a:pt x="429" y="221"/>
                </a:cubicBezTo>
                <a:cubicBezTo>
                  <a:pt x="428" y="221"/>
                  <a:pt x="428" y="221"/>
                  <a:pt x="428" y="221"/>
                </a:cubicBezTo>
                <a:cubicBezTo>
                  <a:pt x="427" y="222"/>
                  <a:pt x="427" y="222"/>
                  <a:pt x="427" y="222"/>
                </a:cubicBezTo>
                <a:cubicBezTo>
                  <a:pt x="427" y="223"/>
                  <a:pt x="427" y="223"/>
                  <a:pt x="427" y="223"/>
                </a:cubicBezTo>
                <a:cubicBezTo>
                  <a:pt x="427" y="223"/>
                  <a:pt x="427" y="223"/>
                  <a:pt x="427" y="223"/>
                </a:cubicBezTo>
                <a:cubicBezTo>
                  <a:pt x="428" y="222"/>
                  <a:pt x="428" y="222"/>
                  <a:pt x="428" y="222"/>
                </a:cubicBezTo>
                <a:cubicBezTo>
                  <a:pt x="429" y="222"/>
                  <a:pt x="429" y="222"/>
                  <a:pt x="429" y="222"/>
                </a:cubicBezTo>
                <a:cubicBezTo>
                  <a:pt x="430" y="221"/>
                  <a:pt x="430" y="221"/>
                  <a:pt x="430" y="221"/>
                </a:cubicBezTo>
                <a:cubicBezTo>
                  <a:pt x="431" y="221"/>
                  <a:pt x="431" y="221"/>
                  <a:pt x="431" y="221"/>
                </a:cubicBezTo>
                <a:cubicBezTo>
                  <a:pt x="432" y="220"/>
                  <a:pt x="432" y="220"/>
                  <a:pt x="432" y="220"/>
                </a:cubicBezTo>
                <a:cubicBezTo>
                  <a:pt x="433" y="220"/>
                  <a:pt x="433" y="220"/>
                  <a:pt x="433" y="220"/>
                </a:cubicBezTo>
                <a:cubicBezTo>
                  <a:pt x="434" y="220"/>
                  <a:pt x="434" y="220"/>
                  <a:pt x="434" y="220"/>
                </a:cubicBezTo>
                <a:cubicBezTo>
                  <a:pt x="434" y="221"/>
                  <a:pt x="434" y="221"/>
                  <a:pt x="434" y="221"/>
                </a:cubicBezTo>
                <a:cubicBezTo>
                  <a:pt x="435" y="223"/>
                  <a:pt x="435" y="223"/>
                  <a:pt x="435" y="223"/>
                </a:cubicBezTo>
                <a:cubicBezTo>
                  <a:pt x="436" y="224"/>
                  <a:pt x="436" y="224"/>
                  <a:pt x="436" y="224"/>
                </a:cubicBezTo>
                <a:cubicBezTo>
                  <a:pt x="437" y="224"/>
                  <a:pt x="437" y="224"/>
                  <a:pt x="437" y="224"/>
                </a:cubicBezTo>
                <a:cubicBezTo>
                  <a:pt x="437" y="225"/>
                  <a:pt x="437" y="225"/>
                  <a:pt x="437" y="225"/>
                </a:cubicBezTo>
                <a:cubicBezTo>
                  <a:pt x="437" y="226"/>
                  <a:pt x="437" y="226"/>
                  <a:pt x="437" y="226"/>
                </a:cubicBezTo>
                <a:cubicBezTo>
                  <a:pt x="436" y="227"/>
                  <a:pt x="436" y="227"/>
                  <a:pt x="436" y="227"/>
                </a:cubicBezTo>
                <a:cubicBezTo>
                  <a:pt x="435" y="227"/>
                  <a:pt x="435" y="227"/>
                  <a:pt x="435" y="227"/>
                </a:cubicBezTo>
                <a:cubicBezTo>
                  <a:pt x="436" y="226"/>
                  <a:pt x="436" y="226"/>
                  <a:pt x="436" y="226"/>
                </a:cubicBezTo>
                <a:cubicBezTo>
                  <a:pt x="435" y="226"/>
                  <a:pt x="435" y="226"/>
                  <a:pt x="435" y="226"/>
                </a:cubicBezTo>
                <a:cubicBezTo>
                  <a:pt x="435" y="226"/>
                  <a:pt x="435" y="226"/>
                  <a:pt x="435" y="226"/>
                </a:cubicBezTo>
                <a:cubicBezTo>
                  <a:pt x="434" y="227"/>
                  <a:pt x="434" y="227"/>
                  <a:pt x="434" y="227"/>
                </a:cubicBezTo>
                <a:cubicBezTo>
                  <a:pt x="433" y="228"/>
                  <a:pt x="433" y="228"/>
                  <a:pt x="433" y="228"/>
                </a:cubicBezTo>
                <a:cubicBezTo>
                  <a:pt x="431" y="228"/>
                  <a:pt x="431" y="228"/>
                  <a:pt x="431" y="228"/>
                </a:cubicBezTo>
                <a:cubicBezTo>
                  <a:pt x="430" y="228"/>
                  <a:pt x="430" y="228"/>
                  <a:pt x="430" y="228"/>
                </a:cubicBezTo>
                <a:cubicBezTo>
                  <a:pt x="429" y="228"/>
                  <a:pt x="429" y="228"/>
                  <a:pt x="429" y="228"/>
                </a:cubicBezTo>
                <a:cubicBezTo>
                  <a:pt x="427" y="229"/>
                  <a:pt x="427" y="229"/>
                  <a:pt x="427" y="229"/>
                </a:cubicBezTo>
                <a:cubicBezTo>
                  <a:pt x="426" y="230"/>
                  <a:pt x="426" y="230"/>
                  <a:pt x="426" y="230"/>
                </a:cubicBezTo>
                <a:cubicBezTo>
                  <a:pt x="425" y="230"/>
                  <a:pt x="425" y="230"/>
                  <a:pt x="425" y="230"/>
                </a:cubicBezTo>
                <a:cubicBezTo>
                  <a:pt x="426" y="230"/>
                  <a:pt x="426" y="230"/>
                  <a:pt x="426" y="230"/>
                </a:cubicBezTo>
                <a:cubicBezTo>
                  <a:pt x="426" y="231"/>
                  <a:pt x="426" y="231"/>
                  <a:pt x="426" y="231"/>
                </a:cubicBezTo>
                <a:cubicBezTo>
                  <a:pt x="426" y="231"/>
                  <a:pt x="426" y="231"/>
                  <a:pt x="426" y="231"/>
                </a:cubicBezTo>
                <a:cubicBezTo>
                  <a:pt x="424" y="232"/>
                  <a:pt x="424" y="232"/>
                  <a:pt x="424" y="232"/>
                </a:cubicBezTo>
                <a:cubicBezTo>
                  <a:pt x="424" y="232"/>
                  <a:pt x="424" y="232"/>
                  <a:pt x="424" y="232"/>
                </a:cubicBezTo>
                <a:cubicBezTo>
                  <a:pt x="426" y="232"/>
                  <a:pt x="426" y="232"/>
                  <a:pt x="426" y="232"/>
                </a:cubicBezTo>
                <a:cubicBezTo>
                  <a:pt x="427" y="231"/>
                  <a:pt x="427" y="231"/>
                  <a:pt x="427" y="231"/>
                </a:cubicBezTo>
                <a:cubicBezTo>
                  <a:pt x="429" y="229"/>
                  <a:pt x="429" y="229"/>
                  <a:pt x="429" y="229"/>
                </a:cubicBezTo>
                <a:cubicBezTo>
                  <a:pt x="430" y="229"/>
                  <a:pt x="430" y="229"/>
                  <a:pt x="430" y="229"/>
                </a:cubicBezTo>
                <a:cubicBezTo>
                  <a:pt x="431" y="229"/>
                  <a:pt x="431" y="229"/>
                  <a:pt x="431" y="229"/>
                </a:cubicBezTo>
                <a:cubicBezTo>
                  <a:pt x="432" y="229"/>
                  <a:pt x="432" y="229"/>
                  <a:pt x="432" y="229"/>
                </a:cubicBezTo>
                <a:cubicBezTo>
                  <a:pt x="433" y="229"/>
                  <a:pt x="433" y="229"/>
                  <a:pt x="433" y="229"/>
                </a:cubicBezTo>
                <a:cubicBezTo>
                  <a:pt x="433" y="230"/>
                  <a:pt x="433" y="230"/>
                  <a:pt x="433" y="230"/>
                </a:cubicBezTo>
                <a:cubicBezTo>
                  <a:pt x="433" y="231"/>
                  <a:pt x="433" y="231"/>
                  <a:pt x="433" y="231"/>
                </a:cubicBezTo>
                <a:cubicBezTo>
                  <a:pt x="432" y="231"/>
                  <a:pt x="432" y="231"/>
                  <a:pt x="432" y="231"/>
                </a:cubicBezTo>
                <a:cubicBezTo>
                  <a:pt x="431" y="232"/>
                  <a:pt x="431" y="232"/>
                  <a:pt x="431" y="232"/>
                </a:cubicBezTo>
                <a:cubicBezTo>
                  <a:pt x="430" y="232"/>
                  <a:pt x="430" y="232"/>
                  <a:pt x="430" y="232"/>
                </a:cubicBezTo>
                <a:cubicBezTo>
                  <a:pt x="429" y="232"/>
                  <a:pt x="429" y="232"/>
                  <a:pt x="429" y="232"/>
                </a:cubicBezTo>
                <a:cubicBezTo>
                  <a:pt x="429" y="234"/>
                  <a:pt x="429" y="234"/>
                  <a:pt x="429" y="234"/>
                </a:cubicBezTo>
                <a:cubicBezTo>
                  <a:pt x="428" y="234"/>
                  <a:pt x="428" y="234"/>
                  <a:pt x="428" y="234"/>
                </a:cubicBezTo>
                <a:cubicBezTo>
                  <a:pt x="427" y="233"/>
                  <a:pt x="427" y="233"/>
                  <a:pt x="427" y="233"/>
                </a:cubicBezTo>
                <a:cubicBezTo>
                  <a:pt x="426" y="234"/>
                  <a:pt x="426" y="234"/>
                  <a:pt x="426" y="234"/>
                </a:cubicBezTo>
                <a:cubicBezTo>
                  <a:pt x="425" y="235"/>
                  <a:pt x="425" y="235"/>
                  <a:pt x="425" y="235"/>
                </a:cubicBezTo>
                <a:cubicBezTo>
                  <a:pt x="426" y="235"/>
                  <a:pt x="426" y="235"/>
                  <a:pt x="426" y="235"/>
                </a:cubicBezTo>
                <a:cubicBezTo>
                  <a:pt x="427" y="234"/>
                  <a:pt x="427" y="234"/>
                  <a:pt x="427" y="234"/>
                </a:cubicBezTo>
                <a:cubicBezTo>
                  <a:pt x="428" y="234"/>
                  <a:pt x="428" y="234"/>
                  <a:pt x="428" y="234"/>
                </a:cubicBezTo>
                <a:cubicBezTo>
                  <a:pt x="428" y="235"/>
                  <a:pt x="428" y="235"/>
                  <a:pt x="428" y="235"/>
                </a:cubicBezTo>
                <a:cubicBezTo>
                  <a:pt x="429" y="234"/>
                  <a:pt x="429" y="234"/>
                  <a:pt x="429" y="234"/>
                </a:cubicBezTo>
                <a:cubicBezTo>
                  <a:pt x="430" y="233"/>
                  <a:pt x="430" y="233"/>
                  <a:pt x="430" y="233"/>
                </a:cubicBezTo>
                <a:cubicBezTo>
                  <a:pt x="431" y="232"/>
                  <a:pt x="431" y="232"/>
                  <a:pt x="431" y="232"/>
                </a:cubicBezTo>
                <a:cubicBezTo>
                  <a:pt x="432" y="233"/>
                  <a:pt x="432" y="233"/>
                  <a:pt x="432" y="233"/>
                </a:cubicBezTo>
                <a:cubicBezTo>
                  <a:pt x="433" y="233"/>
                  <a:pt x="433" y="233"/>
                  <a:pt x="433" y="233"/>
                </a:cubicBezTo>
                <a:cubicBezTo>
                  <a:pt x="434" y="232"/>
                  <a:pt x="434" y="232"/>
                  <a:pt x="434" y="232"/>
                </a:cubicBezTo>
                <a:cubicBezTo>
                  <a:pt x="435" y="231"/>
                  <a:pt x="435" y="231"/>
                  <a:pt x="435" y="231"/>
                </a:cubicBezTo>
                <a:cubicBezTo>
                  <a:pt x="436" y="231"/>
                  <a:pt x="436" y="231"/>
                  <a:pt x="436" y="231"/>
                </a:cubicBezTo>
                <a:cubicBezTo>
                  <a:pt x="436" y="230"/>
                  <a:pt x="436" y="230"/>
                  <a:pt x="436" y="230"/>
                </a:cubicBezTo>
                <a:cubicBezTo>
                  <a:pt x="435" y="230"/>
                  <a:pt x="435" y="230"/>
                  <a:pt x="435" y="230"/>
                </a:cubicBezTo>
                <a:cubicBezTo>
                  <a:pt x="436" y="229"/>
                  <a:pt x="436" y="229"/>
                  <a:pt x="436" y="229"/>
                </a:cubicBezTo>
                <a:cubicBezTo>
                  <a:pt x="436" y="228"/>
                  <a:pt x="436" y="228"/>
                  <a:pt x="436" y="228"/>
                </a:cubicBezTo>
                <a:cubicBezTo>
                  <a:pt x="437" y="228"/>
                  <a:pt x="437" y="228"/>
                  <a:pt x="437" y="228"/>
                </a:cubicBezTo>
                <a:cubicBezTo>
                  <a:pt x="437" y="228"/>
                  <a:pt x="437" y="228"/>
                  <a:pt x="437" y="228"/>
                </a:cubicBezTo>
                <a:cubicBezTo>
                  <a:pt x="438" y="228"/>
                  <a:pt x="438" y="228"/>
                  <a:pt x="438" y="228"/>
                </a:cubicBezTo>
                <a:cubicBezTo>
                  <a:pt x="438" y="229"/>
                  <a:pt x="438" y="229"/>
                  <a:pt x="438" y="229"/>
                </a:cubicBezTo>
                <a:cubicBezTo>
                  <a:pt x="439" y="232"/>
                  <a:pt x="439" y="232"/>
                  <a:pt x="439" y="232"/>
                </a:cubicBezTo>
                <a:cubicBezTo>
                  <a:pt x="439" y="233"/>
                  <a:pt x="439" y="233"/>
                  <a:pt x="439" y="233"/>
                </a:cubicBezTo>
                <a:cubicBezTo>
                  <a:pt x="440" y="234"/>
                  <a:pt x="440" y="234"/>
                  <a:pt x="440" y="234"/>
                </a:cubicBezTo>
                <a:cubicBezTo>
                  <a:pt x="440" y="235"/>
                  <a:pt x="440" y="235"/>
                  <a:pt x="440" y="235"/>
                </a:cubicBezTo>
                <a:cubicBezTo>
                  <a:pt x="439" y="236"/>
                  <a:pt x="439" y="236"/>
                  <a:pt x="439" y="236"/>
                </a:cubicBezTo>
                <a:cubicBezTo>
                  <a:pt x="438" y="236"/>
                  <a:pt x="438" y="236"/>
                  <a:pt x="438" y="236"/>
                </a:cubicBezTo>
                <a:cubicBezTo>
                  <a:pt x="437" y="235"/>
                  <a:pt x="437" y="235"/>
                  <a:pt x="437" y="235"/>
                </a:cubicBezTo>
                <a:cubicBezTo>
                  <a:pt x="435" y="235"/>
                  <a:pt x="435" y="235"/>
                  <a:pt x="435" y="235"/>
                </a:cubicBezTo>
                <a:cubicBezTo>
                  <a:pt x="434" y="236"/>
                  <a:pt x="434" y="236"/>
                  <a:pt x="434" y="236"/>
                </a:cubicBezTo>
                <a:cubicBezTo>
                  <a:pt x="434" y="236"/>
                  <a:pt x="434" y="236"/>
                  <a:pt x="434" y="236"/>
                </a:cubicBezTo>
                <a:cubicBezTo>
                  <a:pt x="433" y="236"/>
                  <a:pt x="433" y="236"/>
                  <a:pt x="433" y="236"/>
                </a:cubicBezTo>
                <a:cubicBezTo>
                  <a:pt x="432" y="236"/>
                  <a:pt x="432" y="236"/>
                  <a:pt x="432" y="236"/>
                </a:cubicBezTo>
                <a:cubicBezTo>
                  <a:pt x="431" y="236"/>
                  <a:pt x="431" y="236"/>
                  <a:pt x="431" y="236"/>
                </a:cubicBezTo>
                <a:cubicBezTo>
                  <a:pt x="431" y="237"/>
                  <a:pt x="431" y="237"/>
                  <a:pt x="431" y="237"/>
                </a:cubicBezTo>
                <a:cubicBezTo>
                  <a:pt x="429" y="237"/>
                  <a:pt x="429" y="237"/>
                  <a:pt x="429" y="237"/>
                </a:cubicBezTo>
                <a:cubicBezTo>
                  <a:pt x="430" y="238"/>
                  <a:pt x="430" y="238"/>
                  <a:pt x="430" y="238"/>
                </a:cubicBezTo>
                <a:cubicBezTo>
                  <a:pt x="432" y="237"/>
                  <a:pt x="432" y="237"/>
                  <a:pt x="432" y="237"/>
                </a:cubicBezTo>
                <a:cubicBezTo>
                  <a:pt x="433" y="238"/>
                  <a:pt x="433" y="238"/>
                  <a:pt x="433" y="238"/>
                </a:cubicBezTo>
                <a:cubicBezTo>
                  <a:pt x="435" y="239"/>
                  <a:pt x="435" y="239"/>
                  <a:pt x="435" y="239"/>
                </a:cubicBezTo>
                <a:cubicBezTo>
                  <a:pt x="435" y="240"/>
                  <a:pt x="435" y="240"/>
                  <a:pt x="435" y="240"/>
                </a:cubicBezTo>
                <a:cubicBezTo>
                  <a:pt x="436" y="239"/>
                  <a:pt x="436" y="239"/>
                  <a:pt x="436" y="239"/>
                </a:cubicBezTo>
                <a:cubicBezTo>
                  <a:pt x="437" y="239"/>
                  <a:pt x="437" y="239"/>
                  <a:pt x="437" y="239"/>
                </a:cubicBezTo>
                <a:cubicBezTo>
                  <a:pt x="437" y="240"/>
                  <a:pt x="437" y="240"/>
                  <a:pt x="437" y="240"/>
                </a:cubicBezTo>
                <a:cubicBezTo>
                  <a:pt x="438" y="240"/>
                  <a:pt x="438" y="240"/>
                  <a:pt x="438" y="240"/>
                </a:cubicBezTo>
                <a:cubicBezTo>
                  <a:pt x="440" y="241"/>
                  <a:pt x="440" y="241"/>
                  <a:pt x="440" y="241"/>
                </a:cubicBezTo>
                <a:cubicBezTo>
                  <a:pt x="440" y="242"/>
                  <a:pt x="440" y="242"/>
                  <a:pt x="440" y="242"/>
                </a:cubicBezTo>
                <a:cubicBezTo>
                  <a:pt x="440" y="243"/>
                  <a:pt x="440" y="243"/>
                  <a:pt x="440" y="243"/>
                </a:cubicBezTo>
                <a:cubicBezTo>
                  <a:pt x="440" y="244"/>
                  <a:pt x="440" y="244"/>
                  <a:pt x="440" y="244"/>
                </a:cubicBezTo>
                <a:cubicBezTo>
                  <a:pt x="440" y="244"/>
                  <a:pt x="440" y="244"/>
                  <a:pt x="440" y="244"/>
                </a:cubicBezTo>
                <a:cubicBezTo>
                  <a:pt x="439" y="244"/>
                  <a:pt x="439" y="244"/>
                  <a:pt x="439" y="244"/>
                </a:cubicBezTo>
                <a:cubicBezTo>
                  <a:pt x="438" y="243"/>
                  <a:pt x="438" y="243"/>
                  <a:pt x="438" y="243"/>
                </a:cubicBezTo>
                <a:cubicBezTo>
                  <a:pt x="438" y="243"/>
                  <a:pt x="438" y="243"/>
                  <a:pt x="438" y="243"/>
                </a:cubicBezTo>
                <a:cubicBezTo>
                  <a:pt x="437" y="244"/>
                  <a:pt x="437" y="244"/>
                  <a:pt x="437" y="244"/>
                </a:cubicBezTo>
                <a:cubicBezTo>
                  <a:pt x="437" y="244"/>
                  <a:pt x="437" y="244"/>
                  <a:pt x="437" y="244"/>
                </a:cubicBezTo>
                <a:cubicBezTo>
                  <a:pt x="436" y="243"/>
                  <a:pt x="436" y="243"/>
                  <a:pt x="436" y="243"/>
                </a:cubicBezTo>
                <a:cubicBezTo>
                  <a:pt x="436" y="243"/>
                  <a:pt x="436" y="243"/>
                  <a:pt x="436" y="243"/>
                </a:cubicBezTo>
                <a:cubicBezTo>
                  <a:pt x="435" y="243"/>
                  <a:pt x="435" y="243"/>
                  <a:pt x="435" y="243"/>
                </a:cubicBezTo>
                <a:cubicBezTo>
                  <a:pt x="434" y="242"/>
                  <a:pt x="434" y="242"/>
                  <a:pt x="434" y="242"/>
                </a:cubicBezTo>
                <a:cubicBezTo>
                  <a:pt x="433" y="241"/>
                  <a:pt x="433" y="241"/>
                  <a:pt x="433" y="241"/>
                </a:cubicBezTo>
                <a:cubicBezTo>
                  <a:pt x="432" y="241"/>
                  <a:pt x="432" y="241"/>
                  <a:pt x="432" y="241"/>
                </a:cubicBezTo>
                <a:cubicBezTo>
                  <a:pt x="431" y="242"/>
                  <a:pt x="431" y="242"/>
                  <a:pt x="431" y="242"/>
                </a:cubicBezTo>
                <a:cubicBezTo>
                  <a:pt x="430" y="241"/>
                  <a:pt x="430" y="241"/>
                  <a:pt x="430" y="241"/>
                </a:cubicBezTo>
                <a:cubicBezTo>
                  <a:pt x="431" y="242"/>
                  <a:pt x="431" y="242"/>
                  <a:pt x="431" y="242"/>
                </a:cubicBezTo>
                <a:cubicBezTo>
                  <a:pt x="432" y="242"/>
                  <a:pt x="432" y="242"/>
                  <a:pt x="432" y="242"/>
                </a:cubicBezTo>
                <a:cubicBezTo>
                  <a:pt x="433" y="242"/>
                  <a:pt x="433" y="242"/>
                  <a:pt x="433" y="242"/>
                </a:cubicBezTo>
                <a:cubicBezTo>
                  <a:pt x="432" y="243"/>
                  <a:pt x="432" y="243"/>
                  <a:pt x="432" y="243"/>
                </a:cubicBezTo>
                <a:cubicBezTo>
                  <a:pt x="431" y="243"/>
                  <a:pt x="431" y="243"/>
                  <a:pt x="431" y="243"/>
                </a:cubicBezTo>
                <a:cubicBezTo>
                  <a:pt x="430" y="243"/>
                  <a:pt x="430" y="243"/>
                  <a:pt x="430" y="243"/>
                </a:cubicBezTo>
                <a:cubicBezTo>
                  <a:pt x="429" y="243"/>
                  <a:pt x="429" y="243"/>
                  <a:pt x="429" y="243"/>
                </a:cubicBezTo>
                <a:cubicBezTo>
                  <a:pt x="428" y="244"/>
                  <a:pt x="428" y="244"/>
                  <a:pt x="428" y="244"/>
                </a:cubicBezTo>
                <a:cubicBezTo>
                  <a:pt x="428" y="245"/>
                  <a:pt x="428" y="245"/>
                  <a:pt x="428" y="245"/>
                </a:cubicBezTo>
                <a:cubicBezTo>
                  <a:pt x="429" y="245"/>
                  <a:pt x="429" y="245"/>
                  <a:pt x="429" y="245"/>
                </a:cubicBezTo>
                <a:cubicBezTo>
                  <a:pt x="429" y="244"/>
                  <a:pt x="429" y="244"/>
                  <a:pt x="429" y="244"/>
                </a:cubicBezTo>
                <a:cubicBezTo>
                  <a:pt x="431" y="244"/>
                  <a:pt x="431" y="244"/>
                  <a:pt x="431" y="244"/>
                </a:cubicBezTo>
                <a:cubicBezTo>
                  <a:pt x="432" y="243"/>
                  <a:pt x="432" y="243"/>
                  <a:pt x="432" y="243"/>
                </a:cubicBezTo>
                <a:cubicBezTo>
                  <a:pt x="432" y="243"/>
                  <a:pt x="432" y="243"/>
                  <a:pt x="432" y="243"/>
                </a:cubicBezTo>
                <a:cubicBezTo>
                  <a:pt x="433" y="244"/>
                  <a:pt x="433" y="244"/>
                  <a:pt x="433" y="244"/>
                </a:cubicBezTo>
                <a:cubicBezTo>
                  <a:pt x="433" y="245"/>
                  <a:pt x="433" y="245"/>
                  <a:pt x="433" y="245"/>
                </a:cubicBezTo>
                <a:cubicBezTo>
                  <a:pt x="434" y="245"/>
                  <a:pt x="434" y="245"/>
                  <a:pt x="434" y="245"/>
                </a:cubicBezTo>
                <a:cubicBezTo>
                  <a:pt x="434" y="245"/>
                  <a:pt x="434" y="245"/>
                  <a:pt x="434" y="245"/>
                </a:cubicBezTo>
                <a:cubicBezTo>
                  <a:pt x="434" y="246"/>
                  <a:pt x="434" y="246"/>
                  <a:pt x="434" y="246"/>
                </a:cubicBezTo>
                <a:cubicBezTo>
                  <a:pt x="433" y="246"/>
                  <a:pt x="433" y="246"/>
                  <a:pt x="433" y="246"/>
                </a:cubicBezTo>
                <a:cubicBezTo>
                  <a:pt x="432" y="246"/>
                  <a:pt x="432" y="246"/>
                  <a:pt x="432" y="246"/>
                </a:cubicBezTo>
                <a:cubicBezTo>
                  <a:pt x="431" y="246"/>
                  <a:pt x="431" y="246"/>
                  <a:pt x="431" y="246"/>
                </a:cubicBezTo>
                <a:cubicBezTo>
                  <a:pt x="431" y="245"/>
                  <a:pt x="431" y="245"/>
                  <a:pt x="431" y="245"/>
                </a:cubicBezTo>
                <a:cubicBezTo>
                  <a:pt x="430" y="245"/>
                  <a:pt x="430" y="245"/>
                  <a:pt x="430" y="245"/>
                </a:cubicBezTo>
                <a:cubicBezTo>
                  <a:pt x="430" y="246"/>
                  <a:pt x="430" y="246"/>
                  <a:pt x="430" y="246"/>
                </a:cubicBezTo>
                <a:cubicBezTo>
                  <a:pt x="431" y="246"/>
                  <a:pt x="431" y="246"/>
                  <a:pt x="431" y="246"/>
                </a:cubicBezTo>
                <a:cubicBezTo>
                  <a:pt x="432" y="247"/>
                  <a:pt x="432" y="247"/>
                  <a:pt x="432" y="247"/>
                </a:cubicBezTo>
                <a:cubicBezTo>
                  <a:pt x="432" y="247"/>
                  <a:pt x="432" y="247"/>
                  <a:pt x="432" y="247"/>
                </a:cubicBezTo>
                <a:cubicBezTo>
                  <a:pt x="432" y="248"/>
                  <a:pt x="432" y="248"/>
                  <a:pt x="432" y="248"/>
                </a:cubicBezTo>
                <a:cubicBezTo>
                  <a:pt x="433" y="248"/>
                  <a:pt x="433" y="248"/>
                  <a:pt x="433" y="248"/>
                </a:cubicBezTo>
                <a:cubicBezTo>
                  <a:pt x="432" y="249"/>
                  <a:pt x="432" y="249"/>
                  <a:pt x="432" y="249"/>
                </a:cubicBezTo>
                <a:cubicBezTo>
                  <a:pt x="430" y="248"/>
                  <a:pt x="430" y="248"/>
                  <a:pt x="430" y="248"/>
                </a:cubicBezTo>
                <a:cubicBezTo>
                  <a:pt x="428" y="248"/>
                  <a:pt x="428" y="248"/>
                  <a:pt x="428" y="248"/>
                </a:cubicBezTo>
                <a:cubicBezTo>
                  <a:pt x="426" y="247"/>
                  <a:pt x="426" y="247"/>
                  <a:pt x="426" y="247"/>
                </a:cubicBezTo>
                <a:cubicBezTo>
                  <a:pt x="425" y="247"/>
                  <a:pt x="425" y="247"/>
                  <a:pt x="425" y="247"/>
                </a:cubicBezTo>
                <a:cubicBezTo>
                  <a:pt x="425" y="247"/>
                  <a:pt x="425" y="247"/>
                  <a:pt x="425" y="247"/>
                </a:cubicBezTo>
                <a:cubicBezTo>
                  <a:pt x="427" y="248"/>
                  <a:pt x="427" y="248"/>
                  <a:pt x="427" y="248"/>
                </a:cubicBezTo>
                <a:cubicBezTo>
                  <a:pt x="430" y="249"/>
                  <a:pt x="430" y="249"/>
                  <a:pt x="430" y="249"/>
                </a:cubicBezTo>
                <a:cubicBezTo>
                  <a:pt x="430" y="250"/>
                  <a:pt x="430" y="250"/>
                  <a:pt x="430" y="250"/>
                </a:cubicBezTo>
                <a:cubicBezTo>
                  <a:pt x="430" y="250"/>
                  <a:pt x="430" y="250"/>
                  <a:pt x="430" y="250"/>
                </a:cubicBezTo>
                <a:cubicBezTo>
                  <a:pt x="428" y="249"/>
                  <a:pt x="428" y="249"/>
                  <a:pt x="428" y="249"/>
                </a:cubicBezTo>
                <a:cubicBezTo>
                  <a:pt x="427" y="249"/>
                  <a:pt x="427" y="249"/>
                  <a:pt x="427" y="249"/>
                </a:cubicBezTo>
                <a:cubicBezTo>
                  <a:pt x="426" y="250"/>
                  <a:pt x="426" y="250"/>
                  <a:pt x="426" y="250"/>
                </a:cubicBezTo>
                <a:cubicBezTo>
                  <a:pt x="427" y="250"/>
                  <a:pt x="427" y="250"/>
                  <a:pt x="427" y="250"/>
                </a:cubicBezTo>
                <a:cubicBezTo>
                  <a:pt x="428" y="250"/>
                  <a:pt x="428" y="250"/>
                  <a:pt x="428" y="250"/>
                </a:cubicBezTo>
                <a:cubicBezTo>
                  <a:pt x="428" y="251"/>
                  <a:pt x="428" y="251"/>
                  <a:pt x="428" y="251"/>
                </a:cubicBezTo>
                <a:cubicBezTo>
                  <a:pt x="429" y="251"/>
                  <a:pt x="429" y="251"/>
                  <a:pt x="429" y="251"/>
                </a:cubicBezTo>
                <a:cubicBezTo>
                  <a:pt x="429" y="251"/>
                  <a:pt x="429" y="251"/>
                  <a:pt x="429" y="251"/>
                </a:cubicBezTo>
                <a:cubicBezTo>
                  <a:pt x="429" y="252"/>
                  <a:pt x="429" y="252"/>
                  <a:pt x="429" y="252"/>
                </a:cubicBezTo>
                <a:cubicBezTo>
                  <a:pt x="430" y="253"/>
                  <a:pt x="430" y="253"/>
                  <a:pt x="430" y="253"/>
                </a:cubicBezTo>
                <a:cubicBezTo>
                  <a:pt x="430" y="252"/>
                  <a:pt x="430" y="252"/>
                  <a:pt x="430" y="252"/>
                </a:cubicBezTo>
                <a:cubicBezTo>
                  <a:pt x="430" y="252"/>
                  <a:pt x="430" y="252"/>
                  <a:pt x="430" y="252"/>
                </a:cubicBezTo>
                <a:cubicBezTo>
                  <a:pt x="431" y="252"/>
                  <a:pt x="431" y="252"/>
                  <a:pt x="431" y="252"/>
                </a:cubicBezTo>
                <a:cubicBezTo>
                  <a:pt x="431" y="252"/>
                  <a:pt x="431" y="252"/>
                  <a:pt x="431" y="252"/>
                </a:cubicBezTo>
                <a:cubicBezTo>
                  <a:pt x="431" y="253"/>
                  <a:pt x="431" y="253"/>
                  <a:pt x="431" y="253"/>
                </a:cubicBezTo>
                <a:cubicBezTo>
                  <a:pt x="431" y="253"/>
                  <a:pt x="431" y="253"/>
                  <a:pt x="431" y="253"/>
                </a:cubicBezTo>
                <a:cubicBezTo>
                  <a:pt x="432" y="253"/>
                  <a:pt x="432" y="253"/>
                  <a:pt x="432" y="253"/>
                </a:cubicBezTo>
                <a:cubicBezTo>
                  <a:pt x="432" y="252"/>
                  <a:pt x="432" y="252"/>
                  <a:pt x="432" y="252"/>
                </a:cubicBezTo>
                <a:cubicBezTo>
                  <a:pt x="433" y="252"/>
                  <a:pt x="433" y="252"/>
                  <a:pt x="433" y="252"/>
                </a:cubicBezTo>
                <a:cubicBezTo>
                  <a:pt x="434" y="253"/>
                  <a:pt x="434" y="253"/>
                  <a:pt x="434" y="253"/>
                </a:cubicBezTo>
                <a:cubicBezTo>
                  <a:pt x="435" y="253"/>
                  <a:pt x="435" y="253"/>
                  <a:pt x="435" y="253"/>
                </a:cubicBezTo>
                <a:cubicBezTo>
                  <a:pt x="436" y="253"/>
                  <a:pt x="436" y="253"/>
                  <a:pt x="436" y="253"/>
                </a:cubicBezTo>
                <a:cubicBezTo>
                  <a:pt x="435" y="254"/>
                  <a:pt x="435" y="254"/>
                  <a:pt x="435" y="254"/>
                </a:cubicBezTo>
                <a:cubicBezTo>
                  <a:pt x="435" y="255"/>
                  <a:pt x="435" y="255"/>
                  <a:pt x="435" y="255"/>
                </a:cubicBezTo>
                <a:cubicBezTo>
                  <a:pt x="434" y="254"/>
                  <a:pt x="434" y="254"/>
                  <a:pt x="434" y="254"/>
                </a:cubicBezTo>
                <a:cubicBezTo>
                  <a:pt x="434" y="254"/>
                  <a:pt x="434" y="254"/>
                  <a:pt x="434" y="254"/>
                </a:cubicBezTo>
                <a:cubicBezTo>
                  <a:pt x="432" y="254"/>
                  <a:pt x="432" y="254"/>
                  <a:pt x="432" y="254"/>
                </a:cubicBezTo>
                <a:cubicBezTo>
                  <a:pt x="430" y="255"/>
                  <a:pt x="430" y="255"/>
                  <a:pt x="430" y="255"/>
                </a:cubicBezTo>
                <a:cubicBezTo>
                  <a:pt x="430" y="256"/>
                  <a:pt x="430" y="256"/>
                  <a:pt x="430" y="256"/>
                </a:cubicBezTo>
                <a:cubicBezTo>
                  <a:pt x="431" y="255"/>
                  <a:pt x="431" y="255"/>
                  <a:pt x="431" y="255"/>
                </a:cubicBezTo>
                <a:cubicBezTo>
                  <a:pt x="432" y="255"/>
                  <a:pt x="432" y="255"/>
                  <a:pt x="432" y="255"/>
                </a:cubicBezTo>
                <a:cubicBezTo>
                  <a:pt x="434" y="255"/>
                  <a:pt x="434" y="255"/>
                  <a:pt x="434" y="255"/>
                </a:cubicBezTo>
                <a:cubicBezTo>
                  <a:pt x="433" y="255"/>
                  <a:pt x="433" y="255"/>
                  <a:pt x="433" y="255"/>
                </a:cubicBezTo>
                <a:cubicBezTo>
                  <a:pt x="432" y="256"/>
                  <a:pt x="432" y="256"/>
                  <a:pt x="432" y="256"/>
                </a:cubicBezTo>
                <a:cubicBezTo>
                  <a:pt x="433" y="256"/>
                  <a:pt x="433" y="256"/>
                  <a:pt x="433" y="256"/>
                </a:cubicBezTo>
                <a:cubicBezTo>
                  <a:pt x="435" y="256"/>
                  <a:pt x="435" y="256"/>
                  <a:pt x="435" y="256"/>
                </a:cubicBezTo>
                <a:cubicBezTo>
                  <a:pt x="435" y="256"/>
                  <a:pt x="435" y="256"/>
                  <a:pt x="435" y="256"/>
                </a:cubicBezTo>
                <a:cubicBezTo>
                  <a:pt x="435" y="257"/>
                  <a:pt x="435" y="257"/>
                  <a:pt x="435" y="257"/>
                </a:cubicBezTo>
                <a:cubicBezTo>
                  <a:pt x="436" y="257"/>
                  <a:pt x="436" y="257"/>
                  <a:pt x="436" y="257"/>
                </a:cubicBezTo>
                <a:cubicBezTo>
                  <a:pt x="436" y="258"/>
                  <a:pt x="436" y="258"/>
                  <a:pt x="436" y="258"/>
                </a:cubicBezTo>
                <a:cubicBezTo>
                  <a:pt x="436" y="259"/>
                  <a:pt x="436" y="259"/>
                  <a:pt x="436" y="259"/>
                </a:cubicBezTo>
                <a:cubicBezTo>
                  <a:pt x="435" y="260"/>
                  <a:pt x="435" y="260"/>
                  <a:pt x="435" y="260"/>
                </a:cubicBezTo>
                <a:cubicBezTo>
                  <a:pt x="435" y="261"/>
                  <a:pt x="435" y="261"/>
                  <a:pt x="435" y="261"/>
                </a:cubicBezTo>
                <a:cubicBezTo>
                  <a:pt x="436" y="260"/>
                  <a:pt x="436" y="260"/>
                  <a:pt x="436" y="260"/>
                </a:cubicBezTo>
                <a:cubicBezTo>
                  <a:pt x="436" y="260"/>
                  <a:pt x="436" y="260"/>
                  <a:pt x="436" y="260"/>
                </a:cubicBezTo>
                <a:cubicBezTo>
                  <a:pt x="437" y="259"/>
                  <a:pt x="437" y="259"/>
                  <a:pt x="437" y="259"/>
                </a:cubicBezTo>
                <a:cubicBezTo>
                  <a:pt x="438" y="259"/>
                  <a:pt x="438" y="259"/>
                  <a:pt x="438" y="259"/>
                </a:cubicBezTo>
                <a:cubicBezTo>
                  <a:pt x="438" y="260"/>
                  <a:pt x="438" y="260"/>
                  <a:pt x="438" y="260"/>
                </a:cubicBezTo>
                <a:cubicBezTo>
                  <a:pt x="437" y="260"/>
                  <a:pt x="437" y="260"/>
                  <a:pt x="437" y="260"/>
                </a:cubicBezTo>
                <a:cubicBezTo>
                  <a:pt x="436" y="262"/>
                  <a:pt x="436" y="262"/>
                  <a:pt x="436" y="262"/>
                </a:cubicBezTo>
                <a:cubicBezTo>
                  <a:pt x="436" y="263"/>
                  <a:pt x="436" y="263"/>
                  <a:pt x="436" y="263"/>
                </a:cubicBezTo>
                <a:cubicBezTo>
                  <a:pt x="436" y="264"/>
                  <a:pt x="436" y="264"/>
                  <a:pt x="436" y="264"/>
                </a:cubicBezTo>
                <a:cubicBezTo>
                  <a:pt x="436" y="264"/>
                  <a:pt x="436" y="264"/>
                  <a:pt x="436" y="264"/>
                </a:cubicBezTo>
                <a:cubicBezTo>
                  <a:pt x="437" y="262"/>
                  <a:pt x="437" y="262"/>
                  <a:pt x="437" y="262"/>
                </a:cubicBezTo>
                <a:cubicBezTo>
                  <a:pt x="437" y="262"/>
                  <a:pt x="437" y="262"/>
                  <a:pt x="437" y="262"/>
                </a:cubicBezTo>
                <a:cubicBezTo>
                  <a:pt x="438" y="261"/>
                  <a:pt x="438" y="261"/>
                  <a:pt x="438" y="261"/>
                </a:cubicBezTo>
                <a:cubicBezTo>
                  <a:pt x="439" y="260"/>
                  <a:pt x="439" y="260"/>
                  <a:pt x="439" y="260"/>
                </a:cubicBezTo>
                <a:cubicBezTo>
                  <a:pt x="439" y="260"/>
                  <a:pt x="439" y="260"/>
                  <a:pt x="439" y="260"/>
                </a:cubicBezTo>
                <a:cubicBezTo>
                  <a:pt x="439" y="259"/>
                  <a:pt x="439" y="259"/>
                  <a:pt x="439" y="259"/>
                </a:cubicBezTo>
                <a:cubicBezTo>
                  <a:pt x="440" y="259"/>
                  <a:pt x="440" y="259"/>
                  <a:pt x="440" y="259"/>
                </a:cubicBezTo>
                <a:cubicBezTo>
                  <a:pt x="440" y="259"/>
                  <a:pt x="440" y="259"/>
                  <a:pt x="440" y="259"/>
                </a:cubicBezTo>
                <a:cubicBezTo>
                  <a:pt x="440" y="260"/>
                  <a:pt x="440" y="260"/>
                  <a:pt x="440" y="260"/>
                </a:cubicBezTo>
                <a:cubicBezTo>
                  <a:pt x="439" y="261"/>
                  <a:pt x="439" y="261"/>
                  <a:pt x="439" y="261"/>
                </a:cubicBezTo>
                <a:cubicBezTo>
                  <a:pt x="438" y="262"/>
                  <a:pt x="438" y="262"/>
                  <a:pt x="438" y="262"/>
                </a:cubicBezTo>
                <a:cubicBezTo>
                  <a:pt x="438" y="263"/>
                  <a:pt x="438" y="263"/>
                  <a:pt x="438" y="263"/>
                </a:cubicBezTo>
                <a:cubicBezTo>
                  <a:pt x="439" y="264"/>
                  <a:pt x="439" y="264"/>
                  <a:pt x="439" y="264"/>
                </a:cubicBezTo>
                <a:cubicBezTo>
                  <a:pt x="439" y="264"/>
                  <a:pt x="439" y="264"/>
                  <a:pt x="439" y="264"/>
                </a:cubicBezTo>
                <a:cubicBezTo>
                  <a:pt x="439" y="263"/>
                  <a:pt x="439" y="263"/>
                  <a:pt x="439" y="263"/>
                </a:cubicBezTo>
                <a:cubicBezTo>
                  <a:pt x="439" y="262"/>
                  <a:pt x="439" y="262"/>
                  <a:pt x="439" y="262"/>
                </a:cubicBezTo>
                <a:cubicBezTo>
                  <a:pt x="440" y="261"/>
                  <a:pt x="440" y="261"/>
                  <a:pt x="440" y="261"/>
                </a:cubicBezTo>
                <a:cubicBezTo>
                  <a:pt x="441" y="261"/>
                  <a:pt x="441" y="261"/>
                  <a:pt x="441" y="261"/>
                </a:cubicBezTo>
                <a:cubicBezTo>
                  <a:pt x="442" y="259"/>
                  <a:pt x="442" y="259"/>
                  <a:pt x="442" y="259"/>
                </a:cubicBezTo>
                <a:cubicBezTo>
                  <a:pt x="443" y="259"/>
                  <a:pt x="443" y="259"/>
                  <a:pt x="443" y="259"/>
                </a:cubicBezTo>
                <a:cubicBezTo>
                  <a:pt x="443" y="259"/>
                  <a:pt x="443" y="259"/>
                  <a:pt x="443" y="259"/>
                </a:cubicBezTo>
                <a:cubicBezTo>
                  <a:pt x="443" y="260"/>
                  <a:pt x="443" y="260"/>
                  <a:pt x="443" y="260"/>
                </a:cubicBezTo>
                <a:cubicBezTo>
                  <a:pt x="443" y="261"/>
                  <a:pt x="443" y="261"/>
                  <a:pt x="443" y="261"/>
                </a:cubicBezTo>
                <a:cubicBezTo>
                  <a:pt x="441" y="261"/>
                  <a:pt x="441" y="261"/>
                  <a:pt x="441" y="261"/>
                </a:cubicBezTo>
                <a:cubicBezTo>
                  <a:pt x="441" y="262"/>
                  <a:pt x="441" y="262"/>
                  <a:pt x="441" y="262"/>
                </a:cubicBezTo>
                <a:cubicBezTo>
                  <a:pt x="441" y="263"/>
                  <a:pt x="441" y="263"/>
                  <a:pt x="441" y="263"/>
                </a:cubicBezTo>
                <a:cubicBezTo>
                  <a:pt x="441" y="264"/>
                  <a:pt x="441" y="264"/>
                  <a:pt x="441" y="264"/>
                </a:cubicBezTo>
                <a:cubicBezTo>
                  <a:pt x="441" y="263"/>
                  <a:pt x="441" y="263"/>
                  <a:pt x="441" y="263"/>
                </a:cubicBezTo>
                <a:cubicBezTo>
                  <a:pt x="442" y="264"/>
                  <a:pt x="442" y="264"/>
                  <a:pt x="442" y="264"/>
                </a:cubicBezTo>
                <a:cubicBezTo>
                  <a:pt x="443" y="263"/>
                  <a:pt x="443" y="263"/>
                  <a:pt x="443" y="263"/>
                </a:cubicBezTo>
                <a:cubicBezTo>
                  <a:pt x="444" y="263"/>
                  <a:pt x="444" y="263"/>
                  <a:pt x="444" y="263"/>
                </a:cubicBezTo>
                <a:cubicBezTo>
                  <a:pt x="444" y="263"/>
                  <a:pt x="444" y="263"/>
                  <a:pt x="444" y="263"/>
                </a:cubicBezTo>
                <a:cubicBezTo>
                  <a:pt x="445" y="265"/>
                  <a:pt x="445" y="265"/>
                  <a:pt x="445" y="265"/>
                </a:cubicBezTo>
                <a:cubicBezTo>
                  <a:pt x="445" y="265"/>
                  <a:pt x="445" y="265"/>
                  <a:pt x="445" y="265"/>
                </a:cubicBezTo>
                <a:cubicBezTo>
                  <a:pt x="444" y="266"/>
                  <a:pt x="444" y="266"/>
                  <a:pt x="444" y="266"/>
                </a:cubicBezTo>
                <a:cubicBezTo>
                  <a:pt x="444" y="266"/>
                  <a:pt x="444" y="266"/>
                  <a:pt x="444" y="266"/>
                </a:cubicBezTo>
                <a:cubicBezTo>
                  <a:pt x="444" y="266"/>
                  <a:pt x="444" y="266"/>
                  <a:pt x="444" y="266"/>
                </a:cubicBezTo>
                <a:cubicBezTo>
                  <a:pt x="445" y="267"/>
                  <a:pt x="445" y="267"/>
                  <a:pt x="445" y="267"/>
                </a:cubicBezTo>
                <a:cubicBezTo>
                  <a:pt x="444" y="268"/>
                  <a:pt x="444" y="268"/>
                  <a:pt x="444" y="268"/>
                </a:cubicBezTo>
                <a:cubicBezTo>
                  <a:pt x="443" y="268"/>
                  <a:pt x="443" y="268"/>
                  <a:pt x="443" y="268"/>
                </a:cubicBezTo>
                <a:cubicBezTo>
                  <a:pt x="444" y="268"/>
                  <a:pt x="444" y="268"/>
                  <a:pt x="444" y="268"/>
                </a:cubicBezTo>
                <a:cubicBezTo>
                  <a:pt x="445" y="269"/>
                  <a:pt x="445" y="269"/>
                  <a:pt x="445" y="269"/>
                </a:cubicBezTo>
                <a:cubicBezTo>
                  <a:pt x="443" y="269"/>
                  <a:pt x="443" y="269"/>
                  <a:pt x="443" y="269"/>
                </a:cubicBezTo>
                <a:cubicBezTo>
                  <a:pt x="442" y="269"/>
                  <a:pt x="442" y="269"/>
                  <a:pt x="442" y="269"/>
                </a:cubicBezTo>
                <a:cubicBezTo>
                  <a:pt x="442" y="270"/>
                  <a:pt x="442" y="270"/>
                  <a:pt x="442" y="270"/>
                </a:cubicBezTo>
                <a:cubicBezTo>
                  <a:pt x="443" y="269"/>
                  <a:pt x="443" y="269"/>
                  <a:pt x="443" y="269"/>
                </a:cubicBezTo>
                <a:cubicBezTo>
                  <a:pt x="445" y="270"/>
                  <a:pt x="445" y="270"/>
                  <a:pt x="445" y="270"/>
                </a:cubicBezTo>
                <a:cubicBezTo>
                  <a:pt x="445" y="269"/>
                  <a:pt x="445" y="269"/>
                  <a:pt x="445" y="269"/>
                </a:cubicBezTo>
                <a:cubicBezTo>
                  <a:pt x="447" y="269"/>
                  <a:pt x="447" y="269"/>
                  <a:pt x="447" y="269"/>
                </a:cubicBezTo>
                <a:cubicBezTo>
                  <a:pt x="447" y="269"/>
                  <a:pt x="447" y="269"/>
                  <a:pt x="447" y="269"/>
                </a:cubicBezTo>
                <a:cubicBezTo>
                  <a:pt x="446" y="270"/>
                  <a:pt x="446" y="270"/>
                  <a:pt x="446" y="270"/>
                </a:cubicBezTo>
                <a:cubicBezTo>
                  <a:pt x="445" y="272"/>
                  <a:pt x="445" y="272"/>
                  <a:pt x="445" y="272"/>
                </a:cubicBezTo>
                <a:cubicBezTo>
                  <a:pt x="447" y="271"/>
                  <a:pt x="447" y="271"/>
                  <a:pt x="447" y="271"/>
                </a:cubicBezTo>
                <a:cubicBezTo>
                  <a:pt x="447" y="270"/>
                  <a:pt x="447" y="270"/>
                  <a:pt x="447" y="270"/>
                </a:cubicBezTo>
                <a:cubicBezTo>
                  <a:pt x="448" y="269"/>
                  <a:pt x="448" y="269"/>
                  <a:pt x="448" y="269"/>
                </a:cubicBezTo>
                <a:cubicBezTo>
                  <a:pt x="449" y="269"/>
                  <a:pt x="449" y="269"/>
                  <a:pt x="449" y="269"/>
                </a:cubicBezTo>
                <a:cubicBezTo>
                  <a:pt x="450" y="269"/>
                  <a:pt x="450" y="269"/>
                  <a:pt x="450" y="269"/>
                </a:cubicBezTo>
                <a:cubicBezTo>
                  <a:pt x="450" y="269"/>
                  <a:pt x="450" y="269"/>
                  <a:pt x="450" y="269"/>
                </a:cubicBezTo>
                <a:cubicBezTo>
                  <a:pt x="449" y="270"/>
                  <a:pt x="449" y="270"/>
                  <a:pt x="449" y="270"/>
                </a:cubicBezTo>
                <a:cubicBezTo>
                  <a:pt x="449" y="270"/>
                  <a:pt x="449" y="270"/>
                  <a:pt x="449" y="270"/>
                </a:cubicBezTo>
                <a:cubicBezTo>
                  <a:pt x="448" y="271"/>
                  <a:pt x="448" y="271"/>
                  <a:pt x="448" y="271"/>
                </a:cubicBezTo>
                <a:cubicBezTo>
                  <a:pt x="448" y="272"/>
                  <a:pt x="448" y="272"/>
                  <a:pt x="448" y="272"/>
                </a:cubicBezTo>
                <a:cubicBezTo>
                  <a:pt x="446" y="273"/>
                  <a:pt x="446" y="273"/>
                  <a:pt x="446" y="273"/>
                </a:cubicBezTo>
                <a:cubicBezTo>
                  <a:pt x="446" y="274"/>
                  <a:pt x="446" y="274"/>
                  <a:pt x="446" y="274"/>
                </a:cubicBezTo>
                <a:cubicBezTo>
                  <a:pt x="446" y="275"/>
                  <a:pt x="446" y="275"/>
                  <a:pt x="446" y="275"/>
                </a:cubicBezTo>
                <a:cubicBezTo>
                  <a:pt x="447" y="275"/>
                  <a:pt x="447" y="275"/>
                  <a:pt x="447" y="275"/>
                </a:cubicBezTo>
                <a:cubicBezTo>
                  <a:pt x="447" y="274"/>
                  <a:pt x="447" y="274"/>
                  <a:pt x="447" y="274"/>
                </a:cubicBezTo>
                <a:cubicBezTo>
                  <a:pt x="447" y="273"/>
                  <a:pt x="447" y="273"/>
                  <a:pt x="447" y="273"/>
                </a:cubicBezTo>
                <a:cubicBezTo>
                  <a:pt x="449" y="272"/>
                  <a:pt x="449" y="272"/>
                  <a:pt x="449" y="272"/>
                </a:cubicBezTo>
                <a:cubicBezTo>
                  <a:pt x="450" y="272"/>
                  <a:pt x="450" y="272"/>
                  <a:pt x="450" y="272"/>
                </a:cubicBezTo>
                <a:cubicBezTo>
                  <a:pt x="450" y="272"/>
                  <a:pt x="450" y="272"/>
                  <a:pt x="450" y="272"/>
                </a:cubicBezTo>
                <a:cubicBezTo>
                  <a:pt x="449" y="274"/>
                  <a:pt x="449" y="274"/>
                  <a:pt x="449" y="274"/>
                </a:cubicBezTo>
                <a:cubicBezTo>
                  <a:pt x="449" y="275"/>
                  <a:pt x="449" y="275"/>
                  <a:pt x="449" y="275"/>
                </a:cubicBezTo>
                <a:cubicBezTo>
                  <a:pt x="448" y="276"/>
                  <a:pt x="448" y="276"/>
                  <a:pt x="448" y="276"/>
                </a:cubicBezTo>
                <a:cubicBezTo>
                  <a:pt x="449" y="275"/>
                  <a:pt x="449" y="275"/>
                  <a:pt x="449" y="275"/>
                </a:cubicBezTo>
                <a:cubicBezTo>
                  <a:pt x="450" y="274"/>
                  <a:pt x="450" y="274"/>
                  <a:pt x="450" y="274"/>
                </a:cubicBezTo>
                <a:cubicBezTo>
                  <a:pt x="450" y="273"/>
                  <a:pt x="450" y="273"/>
                  <a:pt x="450" y="273"/>
                </a:cubicBezTo>
                <a:cubicBezTo>
                  <a:pt x="450" y="273"/>
                  <a:pt x="450" y="273"/>
                  <a:pt x="450" y="273"/>
                </a:cubicBezTo>
                <a:cubicBezTo>
                  <a:pt x="451" y="273"/>
                  <a:pt x="451" y="273"/>
                  <a:pt x="451" y="273"/>
                </a:cubicBezTo>
                <a:cubicBezTo>
                  <a:pt x="451" y="275"/>
                  <a:pt x="451" y="275"/>
                  <a:pt x="451" y="275"/>
                </a:cubicBezTo>
                <a:cubicBezTo>
                  <a:pt x="452" y="275"/>
                  <a:pt x="452" y="275"/>
                  <a:pt x="452" y="275"/>
                </a:cubicBezTo>
                <a:cubicBezTo>
                  <a:pt x="452" y="275"/>
                  <a:pt x="452" y="275"/>
                  <a:pt x="452" y="275"/>
                </a:cubicBezTo>
                <a:cubicBezTo>
                  <a:pt x="452" y="274"/>
                  <a:pt x="452" y="274"/>
                  <a:pt x="452" y="274"/>
                </a:cubicBezTo>
                <a:cubicBezTo>
                  <a:pt x="452" y="273"/>
                  <a:pt x="452" y="273"/>
                  <a:pt x="452" y="273"/>
                </a:cubicBezTo>
                <a:cubicBezTo>
                  <a:pt x="454" y="273"/>
                  <a:pt x="454" y="273"/>
                  <a:pt x="454" y="273"/>
                </a:cubicBezTo>
                <a:cubicBezTo>
                  <a:pt x="454" y="273"/>
                  <a:pt x="454" y="273"/>
                  <a:pt x="454" y="273"/>
                </a:cubicBezTo>
                <a:cubicBezTo>
                  <a:pt x="454" y="274"/>
                  <a:pt x="454" y="274"/>
                  <a:pt x="454" y="274"/>
                </a:cubicBezTo>
                <a:cubicBezTo>
                  <a:pt x="454" y="274"/>
                  <a:pt x="454" y="274"/>
                  <a:pt x="454" y="274"/>
                </a:cubicBezTo>
                <a:cubicBezTo>
                  <a:pt x="455" y="274"/>
                  <a:pt x="455" y="274"/>
                  <a:pt x="455" y="274"/>
                </a:cubicBezTo>
                <a:cubicBezTo>
                  <a:pt x="455" y="274"/>
                  <a:pt x="455" y="274"/>
                  <a:pt x="455" y="274"/>
                </a:cubicBezTo>
                <a:cubicBezTo>
                  <a:pt x="455" y="276"/>
                  <a:pt x="455" y="276"/>
                  <a:pt x="455" y="276"/>
                </a:cubicBezTo>
                <a:cubicBezTo>
                  <a:pt x="456" y="276"/>
                  <a:pt x="456" y="276"/>
                  <a:pt x="456" y="276"/>
                </a:cubicBezTo>
                <a:cubicBezTo>
                  <a:pt x="456" y="276"/>
                  <a:pt x="456" y="276"/>
                  <a:pt x="456" y="276"/>
                </a:cubicBezTo>
                <a:cubicBezTo>
                  <a:pt x="457" y="277"/>
                  <a:pt x="457" y="277"/>
                  <a:pt x="457" y="277"/>
                </a:cubicBezTo>
                <a:cubicBezTo>
                  <a:pt x="457" y="278"/>
                  <a:pt x="457" y="278"/>
                  <a:pt x="457" y="278"/>
                </a:cubicBezTo>
                <a:cubicBezTo>
                  <a:pt x="457" y="278"/>
                  <a:pt x="457" y="278"/>
                  <a:pt x="457" y="278"/>
                </a:cubicBezTo>
                <a:cubicBezTo>
                  <a:pt x="457" y="279"/>
                  <a:pt x="457" y="279"/>
                  <a:pt x="457" y="279"/>
                </a:cubicBezTo>
                <a:cubicBezTo>
                  <a:pt x="457" y="279"/>
                  <a:pt x="457" y="279"/>
                  <a:pt x="457" y="279"/>
                </a:cubicBezTo>
                <a:cubicBezTo>
                  <a:pt x="455" y="279"/>
                  <a:pt x="455" y="279"/>
                  <a:pt x="455" y="279"/>
                </a:cubicBezTo>
                <a:cubicBezTo>
                  <a:pt x="455" y="278"/>
                  <a:pt x="455" y="278"/>
                  <a:pt x="455" y="278"/>
                </a:cubicBezTo>
                <a:cubicBezTo>
                  <a:pt x="455" y="278"/>
                  <a:pt x="455" y="278"/>
                  <a:pt x="455" y="278"/>
                </a:cubicBezTo>
                <a:cubicBezTo>
                  <a:pt x="454" y="277"/>
                  <a:pt x="454" y="277"/>
                  <a:pt x="454" y="277"/>
                </a:cubicBezTo>
                <a:cubicBezTo>
                  <a:pt x="454" y="277"/>
                  <a:pt x="454" y="277"/>
                  <a:pt x="454" y="277"/>
                </a:cubicBezTo>
                <a:cubicBezTo>
                  <a:pt x="453" y="277"/>
                  <a:pt x="453" y="277"/>
                  <a:pt x="453" y="277"/>
                </a:cubicBezTo>
                <a:cubicBezTo>
                  <a:pt x="453" y="278"/>
                  <a:pt x="453" y="278"/>
                  <a:pt x="453" y="278"/>
                </a:cubicBezTo>
                <a:cubicBezTo>
                  <a:pt x="453" y="278"/>
                  <a:pt x="453" y="278"/>
                  <a:pt x="453" y="278"/>
                </a:cubicBezTo>
                <a:cubicBezTo>
                  <a:pt x="454" y="278"/>
                  <a:pt x="454" y="278"/>
                  <a:pt x="454" y="278"/>
                </a:cubicBezTo>
                <a:cubicBezTo>
                  <a:pt x="454" y="279"/>
                  <a:pt x="454" y="279"/>
                  <a:pt x="454" y="279"/>
                </a:cubicBezTo>
                <a:cubicBezTo>
                  <a:pt x="454" y="279"/>
                  <a:pt x="454" y="279"/>
                  <a:pt x="454" y="279"/>
                </a:cubicBezTo>
                <a:cubicBezTo>
                  <a:pt x="455" y="279"/>
                  <a:pt x="455" y="279"/>
                  <a:pt x="455" y="279"/>
                </a:cubicBezTo>
                <a:cubicBezTo>
                  <a:pt x="455" y="280"/>
                  <a:pt x="455" y="280"/>
                  <a:pt x="455" y="280"/>
                </a:cubicBezTo>
                <a:cubicBezTo>
                  <a:pt x="454" y="280"/>
                  <a:pt x="454" y="280"/>
                  <a:pt x="454" y="280"/>
                </a:cubicBezTo>
                <a:cubicBezTo>
                  <a:pt x="453" y="280"/>
                  <a:pt x="453" y="280"/>
                  <a:pt x="453" y="280"/>
                </a:cubicBezTo>
                <a:cubicBezTo>
                  <a:pt x="453" y="280"/>
                  <a:pt x="453" y="280"/>
                  <a:pt x="453" y="280"/>
                </a:cubicBezTo>
                <a:cubicBezTo>
                  <a:pt x="453" y="281"/>
                  <a:pt x="453" y="281"/>
                  <a:pt x="453" y="281"/>
                </a:cubicBezTo>
                <a:cubicBezTo>
                  <a:pt x="455" y="281"/>
                  <a:pt x="455" y="281"/>
                  <a:pt x="455" y="281"/>
                </a:cubicBezTo>
                <a:cubicBezTo>
                  <a:pt x="455" y="281"/>
                  <a:pt x="455" y="281"/>
                  <a:pt x="455" y="281"/>
                </a:cubicBezTo>
                <a:cubicBezTo>
                  <a:pt x="455" y="281"/>
                  <a:pt x="455" y="281"/>
                  <a:pt x="455" y="281"/>
                </a:cubicBezTo>
                <a:cubicBezTo>
                  <a:pt x="455" y="282"/>
                  <a:pt x="455" y="282"/>
                  <a:pt x="455" y="282"/>
                </a:cubicBezTo>
                <a:cubicBezTo>
                  <a:pt x="454" y="282"/>
                  <a:pt x="454" y="282"/>
                  <a:pt x="454" y="282"/>
                </a:cubicBezTo>
                <a:cubicBezTo>
                  <a:pt x="453" y="282"/>
                  <a:pt x="453" y="282"/>
                  <a:pt x="453" y="282"/>
                </a:cubicBezTo>
                <a:cubicBezTo>
                  <a:pt x="452" y="282"/>
                  <a:pt x="452" y="282"/>
                  <a:pt x="452" y="282"/>
                </a:cubicBezTo>
                <a:cubicBezTo>
                  <a:pt x="451" y="282"/>
                  <a:pt x="451" y="282"/>
                  <a:pt x="451" y="282"/>
                </a:cubicBezTo>
                <a:cubicBezTo>
                  <a:pt x="451" y="281"/>
                  <a:pt x="451" y="281"/>
                  <a:pt x="451" y="281"/>
                </a:cubicBezTo>
                <a:cubicBezTo>
                  <a:pt x="451" y="280"/>
                  <a:pt x="451" y="280"/>
                  <a:pt x="451" y="280"/>
                </a:cubicBezTo>
                <a:cubicBezTo>
                  <a:pt x="450" y="280"/>
                  <a:pt x="450" y="280"/>
                  <a:pt x="450" y="280"/>
                </a:cubicBezTo>
                <a:cubicBezTo>
                  <a:pt x="450" y="279"/>
                  <a:pt x="450" y="279"/>
                  <a:pt x="450" y="279"/>
                </a:cubicBezTo>
                <a:cubicBezTo>
                  <a:pt x="449" y="279"/>
                  <a:pt x="449" y="279"/>
                  <a:pt x="449" y="279"/>
                </a:cubicBezTo>
                <a:cubicBezTo>
                  <a:pt x="449" y="280"/>
                  <a:pt x="449" y="280"/>
                  <a:pt x="449" y="280"/>
                </a:cubicBezTo>
                <a:cubicBezTo>
                  <a:pt x="450" y="281"/>
                  <a:pt x="450" y="281"/>
                  <a:pt x="450" y="281"/>
                </a:cubicBezTo>
                <a:cubicBezTo>
                  <a:pt x="450" y="281"/>
                  <a:pt x="450" y="281"/>
                  <a:pt x="450" y="281"/>
                </a:cubicBezTo>
                <a:cubicBezTo>
                  <a:pt x="450" y="282"/>
                  <a:pt x="450" y="282"/>
                  <a:pt x="450" y="282"/>
                </a:cubicBezTo>
                <a:cubicBezTo>
                  <a:pt x="449" y="282"/>
                  <a:pt x="449" y="282"/>
                  <a:pt x="449" y="282"/>
                </a:cubicBezTo>
                <a:cubicBezTo>
                  <a:pt x="448" y="281"/>
                  <a:pt x="448" y="281"/>
                  <a:pt x="448" y="281"/>
                </a:cubicBezTo>
                <a:cubicBezTo>
                  <a:pt x="448" y="281"/>
                  <a:pt x="448" y="281"/>
                  <a:pt x="448" y="281"/>
                </a:cubicBezTo>
                <a:cubicBezTo>
                  <a:pt x="448" y="282"/>
                  <a:pt x="448" y="282"/>
                  <a:pt x="448" y="282"/>
                </a:cubicBezTo>
                <a:cubicBezTo>
                  <a:pt x="449" y="283"/>
                  <a:pt x="449" y="283"/>
                  <a:pt x="449" y="283"/>
                </a:cubicBezTo>
                <a:cubicBezTo>
                  <a:pt x="450" y="283"/>
                  <a:pt x="450" y="283"/>
                  <a:pt x="450" y="283"/>
                </a:cubicBezTo>
                <a:cubicBezTo>
                  <a:pt x="450" y="283"/>
                  <a:pt x="450" y="283"/>
                  <a:pt x="450" y="283"/>
                </a:cubicBezTo>
                <a:cubicBezTo>
                  <a:pt x="451" y="283"/>
                  <a:pt x="451" y="283"/>
                  <a:pt x="451" y="283"/>
                </a:cubicBezTo>
                <a:cubicBezTo>
                  <a:pt x="451" y="284"/>
                  <a:pt x="451" y="284"/>
                  <a:pt x="451" y="284"/>
                </a:cubicBezTo>
                <a:cubicBezTo>
                  <a:pt x="451" y="285"/>
                  <a:pt x="451" y="285"/>
                  <a:pt x="451" y="285"/>
                </a:cubicBezTo>
                <a:cubicBezTo>
                  <a:pt x="449" y="285"/>
                  <a:pt x="449" y="285"/>
                  <a:pt x="449" y="285"/>
                </a:cubicBezTo>
                <a:cubicBezTo>
                  <a:pt x="449" y="284"/>
                  <a:pt x="449" y="284"/>
                  <a:pt x="449" y="284"/>
                </a:cubicBezTo>
                <a:cubicBezTo>
                  <a:pt x="448" y="283"/>
                  <a:pt x="448" y="283"/>
                  <a:pt x="448" y="283"/>
                </a:cubicBezTo>
                <a:cubicBezTo>
                  <a:pt x="447" y="283"/>
                  <a:pt x="447" y="283"/>
                  <a:pt x="447" y="283"/>
                </a:cubicBezTo>
                <a:cubicBezTo>
                  <a:pt x="447" y="283"/>
                  <a:pt x="447" y="283"/>
                  <a:pt x="447" y="283"/>
                </a:cubicBezTo>
                <a:cubicBezTo>
                  <a:pt x="447" y="283"/>
                  <a:pt x="447" y="283"/>
                  <a:pt x="447" y="283"/>
                </a:cubicBezTo>
                <a:cubicBezTo>
                  <a:pt x="448" y="284"/>
                  <a:pt x="448" y="284"/>
                  <a:pt x="448" y="284"/>
                </a:cubicBezTo>
                <a:cubicBezTo>
                  <a:pt x="449" y="285"/>
                  <a:pt x="449" y="285"/>
                  <a:pt x="449" y="285"/>
                </a:cubicBezTo>
                <a:cubicBezTo>
                  <a:pt x="449" y="287"/>
                  <a:pt x="449" y="287"/>
                  <a:pt x="449" y="287"/>
                </a:cubicBezTo>
                <a:cubicBezTo>
                  <a:pt x="448" y="287"/>
                  <a:pt x="448" y="287"/>
                  <a:pt x="448" y="287"/>
                </a:cubicBezTo>
                <a:cubicBezTo>
                  <a:pt x="448" y="287"/>
                  <a:pt x="448" y="287"/>
                  <a:pt x="448" y="287"/>
                </a:cubicBezTo>
                <a:cubicBezTo>
                  <a:pt x="447" y="286"/>
                  <a:pt x="447" y="286"/>
                  <a:pt x="447" y="286"/>
                </a:cubicBezTo>
                <a:cubicBezTo>
                  <a:pt x="447" y="286"/>
                  <a:pt x="447" y="286"/>
                  <a:pt x="447" y="286"/>
                </a:cubicBezTo>
                <a:cubicBezTo>
                  <a:pt x="446" y="286"/>
                  <a:pt x="446" y="286"/>
                  <a:pt x="446" y="286"/>
                </a:cubicBezTo>
                <a:cubicBezTo>
                  <a:pt x="446" y="286"/>
                  <a:pt x="446" y="286"/>
                  <a:pt x="446" y="286"/>
                </a:cubicBezTo>
                <a:cubicBezTo>
                  <a:pt x="446" y="286"/>
                  <a:pt x="446" y="286"/>
                  <a:pt x="446" y="286"/>
                </a:cubicBezTo>
                <a:cubicBezTo>
                  <a:pt x="446" y="287"/>
                  <a:pt x="446" y="287"/>
                  <a:pt x="446" y="287"/>
                </a:cubicBezTo>
                <a:cubicBezTo>
                  <a:pt x="446" y="289"/>
                  <a:pt x="446" y="289"/>
                  <a:pt x="446" y="289"/>
                </a:cubicBezTo>
                <a:cubicBezTo>
                  <a:pt x="446" y="289"/>
                  <a:pt x="446" y="289"/>
                  <a:pt x="446" y="289"/>
                </a:cubicBezTo>
                <a:cubicBezTo>
                  <a:pt x="445" y="289"/>
                  <a:pt x="445" y="289"/>
                  <a:pt x="445" y="289"/>
                </a:cubicBezTo>
                <a:cubicBezTo>
                  <a:pt x="445" y="289"/>
                  <a:pt x="445" y="289"/>
                  <a:pt x="445" y="289"/>
                </a:cubicBezTo>
                <a:cubicBezTo>
                  <a:pt x="445" y="288"/>
                  <a:pt x="445" y="288"/>
                  <a:pt x="445" y="288"/>
                </a:cubicBezTo>
                <a:cubicBezTo>
                  <a:pt x="445" y="288"/>
                  <a:pt x="445" y="288"/>
                  <a:pt x="445" y="288"/>
                </a:cubicBezTo>
                <a:cubicBezTo>
                  <a:pt x="444" y="288"/>
                  <a:pt x="444" y="288"/>
                  <a:pt x="444" y="288"/>
                </a:cubicBezTo>
                <a:cubicBezTo>
                  <a:pt x="444" y="289"/>
                  <a:pt x="444" y="289"/>
                  <a:pt x="444" y="289"/>
                </a:cubicBezTo>
                <a:cubicBezTo>
                  <a:pt x="443" y="288"/>
                  <a:pt x="443" y="288"/>
                  <a:pt x="443" y="288"/>
                </a:cubicBezTo>
                <a:cubicBezTo>
                  <a:pt x="443" y="288"/>
                  <a:pt x="443" y="288"/>
                  <a:pt x="443" y="288"/>
                </a:cubicBezTo>
                <a:cubicBezTo>
                  <a:pt x="443" y="287"/>
                  <a:pt x="443" y="287"/>
                  <a:pt x="443" y="287"/>
                </a:cubicBezTo>
                <a:cubicBezTo>
                  <a:pt x="443" y="286"/>
                  <a:pt x="443" y="286"/>
                  <a:pt x="443" y="286"/>
                </a:cubicBezTo>
                <a:cubicBezTo>
                  <a:pt x="443" y="285"/>
                  <a:pt x="443" y="285"/>
                  <a:pt x="443" y="285"/>
                </a:cubicBezTo>
                <a:cubicBezTo>
                  <a:pt x="442" y="286"/>
                  <a:pt x="442" y="286"/>
                  <a:pt x="442" y="286"/>
                </a:cubicBezTo>
                <a:cubicBezTo>
                  <a:pt x="442" y="288"/>
                  <a:pt x="442" y="288"/>
                  <a:pt x="442" y="288"/>
                </a:cubicBezTo>
                <a:cubicBezTo>
                  <a:pt x="442" y="288"/>
                  <a:pt x="442" y="288"/>
                  <a:pt x="442" y="288"/>
                </a:cubicBezTo>
                <a:cubicBezTo>
                  <a:pt x="441" y="288"/>
                  <a:pt x="441" y="288"/>
                  <a:pt x="441" y="288"/>
                </a:cubicBezTo>
                <a:cubicBezTo>
                  <a:pt x="441" y="288"/>
                  <a:pt x="441" y="288"/>
                  <a:pt x="441" y="288"/>
                </a:cubicBezTo>
                <a:cubicBezTo>
                  <a:pt x="442" y="289"/>
                  <a:pt x="442" y="289"/>
                  <a:pt x="442" y="289"/>
                </a:cubicBezTo>
                <a:cubicBezTo>
                  <a:pt x="442" y="289"/>
                  <a:pt x="442" y="289"/>
                  <a:pt x="442" y="289"/>
                </a:cubicBezTo>
                <a:cubicBezTo>
                  <a:pt x="442" y="290"/>
                  <a:pt x="442" y="290"/>
                  <a:pt x="442" y="290"/>
                </a:cubicBezTo>
                <a:cubicBezTo>
                  <a:pt x="441" y="290"/>
                  <a:pt x="441" y="290"/>
                  <a:pt x="441" y="290"/>
                </a:cubicBezTo>
                <a:cubicBezTo>
                  <a:pt x="441" y="289"/>
                  <a:pt x="441" y="289"/>
                  <a:pt x="441" y="289"/>
                </a:cubicBezTo>
                <a:cubicBezTo>
                  <a:pt x="440" y="290"/>
                  <a:pt x="440" y="290"/>
                  <a:pt x="440" y="290"/>
                </a:cubicBezTo>
                <a:cubicBezTo>
                  <a:pt x="441" y="290"/>
                  <a:pt x="441" y="290"/>
                  <a:pt x="441" y="290"/>
                </a:cubicBezTo>
                <a:cubicBezTo>
                  <a:pt x="442" y="290"/>
                  <a:pt x="442" y="290"/>
                  <a:pt x="442" y="290"/>
                </a:cubicBezTo>
                <a:cubicBezTo>
                  <a:pt x="442" y="291"/>
                  <a:pt x="442" y="291"/>
                  <a:pt x="442" y="291"/>
                </a:cubicBezTo>
                <a:cubicBezTo>
                  <a:pt x="442" y="292"/>
                  <a:pt x="442" y="292"/>
                  <a:pt x="442" y="292"/>
                </a:cubicBezTo>
                <a:cubicBezTo>
                  <a:pt x="441" y="292"/>
                  <a:pt x="441" y="292"/>
                  <a:pt x="441" y="292"/>
                </a:cubicBezTo>
                <a:cubicBezTo>
                  <a:pt x="441" y="292"/>
                  <a:pt x="441" y="292"/>
                  <a:pt x="441" y="292"/>
                </a:cubicBezTo>
                <a:cubicBezTo>
                  <a:pt x="441" y="293"/>
                  <a:pt x="441" y="293"/>
                  <a:pt x="441" y="293"/>
                </a:cubicBezTo>
                <a:cubicBezTo>
                  <a:pt x="441" y="294"/>
                  <a:pt x="441" y="294"/>
                  <a:pt x="441" y="294"/>
                </a:cubicBezTo>
                <a:cubicBezTo>
                  <a:pt x="441" y="294"/>
                  <a:pt x="441" y="294"/>
                  <a:pt x="441" y="294"/>
                </a:cubicBezTo>
                <a:cubicBezTo>
                  <a:pt x="441" y="293"/>
                  <a:pt x="441" y="293"/>
                  <a:pt x="441" y="293"/>
                </a:cubicBezTo>
                <a:cubicBezTo>
                  <a:pt x="440" y="294"/>
                  <a:pt x="440" y="294"/>
                  <a:pt x="440" y="294"/>
                </a:cubicBezTo>
                <a:cubicBezTo>
                  <a:pt x="441" y="294"/>
                  <a:pt x="441" y="294"/>
                  <a:pt x="441" y="294"/>
                </a:cubicBezTo>
                <a:cubicBezTo>
                  <a:pt x="441" y="295"/>
                  <a:pt x="441" y="295"/>
                  <a:pt x="441" y="295"/>
                </a:cubicBezTo>
                <a:cubicBezTo>
                  <a:pt x="441" y="296"/>
                  <a:pt x="441" y="296"/>
                  <a:pt x="441" y="296"/>
                </a:cubicBezTo>
                <a:cubicBezTo>
                  <a:pt x="440" y="296"/>
                  <a:pt x="440" y="296"/>
                  <a:pt x="440" y="296"/>
                </a:cubicBezTo>
                <a:cubicBezTo>
                  <a:pt x="440" y="297"/>
                  <a:pt x="440" y="297"/>
                  <a:pt x="440" y="297"/>
                </a:cubicBezTo>
                <a:cubicBezTo>
                  <a:pt x="439" y="297"/>
                  <a:pt x="439" y="297"/>
                  <a:pt x="439" y="297"/>
                </a:cubicBezTo>
                <a:cubicBezTo>
                  <a:pt x="439" y="296"/>
                  <a:pt x="439" y="296"/>
                  <a:pt x="439" y="296"/>
                </a:cubicBezTo>
                <a:cubicBezTo>
                  <a:pt x="439" y="296"/>
                  <a:pt x="439" y="296"/>
                  <a:pt x="439" y="296"/>
                </a:cubicBezTo>
                <a:cubicBezTo>
                  <a:pt x="439" y="295"/>
                  <a:pt x="439" y="295"/>
                  <a:pt x="439" y="295"/>
                </a:cubicBezTo>
                <a:cubicBezTo>
                  <a:pt x="438" y="295"/>
                  <a:pt x="438" y="295"/>
                  <a:pt x="438" y="295"/>
                </a:cubicBezTo>
                <a:cubicBezTo>
                  <a:pt x="438" y="295"/>
                  <a:pt x="438" y="295"/>
                  <a:pt x="438" y="295"/>
                </a:cubicBezTo>
                <a:cubicBezTo>
                  <a:pt x="438" y="294"/>
                  <a:pt x="438" y="294"/>
                  <a:pt x="438" y="294"/>
                </a:cubicBezTo>
                <a:cubicBezTo>
                  <a:pt x="438" y="294"/>
                  <a:pt x="438" y="294"/>
                  <a:pt x="438" y="294"/>
                </a:cubicBezTo>
                <a:cubicBezTo>
                  <a:pt x="438" y="294"/>
                  <a:pt x="438" y="294"/>
                  <a:pt x="438" y="294"/>
                </a:cubicBezTo>
                <a:cubicBezTo>
                  <a:pt x="437" y="294"/>
                  <a:pt x="437" y="294"/>
                  <a:pt x="437" y="294"/>
                </a:cubicBezTo>
                <a:cubicBezTo>
                  <a:pt x="437" y="295"/>
                  <a:pt x="437" y="295"/>
                  <a:pt x="437" y="295"/>
                </a:cubicBezTo>
                <a:cubicBezTo>
                  <a:pt x="436" y="295"/>
                  <a:pt x="436" y="295"/>
                  <a:pt x="436" y="295"/>
                </a:cubicBezTo>
                <a:cubicBezTo>
                  <a:pt x="436" y="294"/>
                  <a:pt x="436" y="294"/>
                  <a:pt x="436" y="294"/>
                </a:cubicBezTo>
                <a:cubicBezTo>
                  <a:pt x="436" y="293"/>
                  <a:pt x="436" y="293"/>
                  <a:pt x="436" y="293"/>
                </a:cubicBezTo>
                <a:cubicBezTo>
                  <a:pt x="436" y="293"/>
                  <a:pt x="436" y="293"/>
                  <a:pt x="436" y="293"/>
                </a:cubicBezTo>
                <a:cubicBezTo>
                  <a:pt x="436" y="292"/>
                  <a:pt x="436" y="292"/>
                  <a:pt x="436" y="292"/>
                </a:cubicBezTo>
                <a:cubicBezTo>
                  <a:pt x="436" y="292"/>
                  <a:pt x="436" y="292"/>
                  <a:pt x="436" y="292"/>
                </a:cubicBezTo>
                <a:cubicBezTo>
                  <a:pt x="436" y="292"/>
                  <a:pt x="436" y="292"/>
                  <a:pt x="436" y="292"/>
                </a:cubicBezTo>
                <a:cubicBezTo>
                  <a:pt x="436" y="291"/>
                  <a:pt x="436" y="291"/>
                  <a:pt x="436" y="291"/>
                </a:cubicBezTo>
                <a:cubicBezTo>
                  <a:pt x="436" y="291"/>
                  <a:pt x="436" y="291"/>
                  <a:pt x="436" y="291"/>
                </a:cubicBezTo>
                <a:cubicBezTo>
                  <a:pt x="436" y="292"/>
                  <a:pt x="436" y="292"/>
                  <a:pt x="436" y="292"/>
                </a:cubicBezTo>
                <a:cubicBezTo>
                  <a:pt x="435" y="293"/>
                  <a:pt x="435" y="293"/>
                  <a:pt x="435" y="293"/>
                </a:cubicBezTo>
                <a:cubicBezTo>
                  <a:pt x="434" y="294"/>
                  <a:pt x="434" y="294"/>
                  <a:pt x="434" y="294"/>
                </a:cubicBezTo>
                <a:cubicBezTo>
                  <a:pt x="434" y="293"/>
                  <a:pt x="434" y="293"/>
                  <a:pt x="434" y="293"/>
                </a:cubicBezTo>
                <a:cubicBezTo>
                  <a:pt x="434" y="293"/>
                  <a:pt x="434" y="293"/>
                  <a:pt x="434" y="293"/>
                </a:cubicBezTo>
                <a:cubicBezTo>
                  <a:pt x="434" y="292"/>
                  <a:pt x="434" y="292"/>
                  <a:pt x="434" y="292"/>
                </a:cubicBezTo>
                <a:cubicBezTo>
                  <a:pt x="434" y="291"/>
                  <a:pt x="434" y="291"/>
                  <a:pt x="434" y="291"/>
                </a:cubicBezTo>
                <a:cubicBezTo>
                  <a:pt x="434" y="291"/>
                  <a:pt x="434" y="291"/>
                  <a:pt x="434" y="291"/>
                </a:cubicBezTo>
                <a:cubicBezTo>
                  <a:pt x="435" y="290"/>
                  <a:pt x="435" y="290"/>
                  <a:pt x="435" y="290"/>
                </a:cubicBezTo>
                <a:cubicBezTo>
                  <a:pt x="435" y="290"/>
                  <a:pt x="435" y="290"/>
                  <a:pt x="435" y="290"/>
                </a:cubicBezTo>
                <a:cubicBezTo>
                  <a:pt x="436" y="290"/>
                  <a:pt x="436" y="290"/>
                  <a:pt x="436" y="290"/>
                </a:cubicBezTo>
                <a:cubicBezTo>
                  <a:pt x="435" y="289"/>
                  <a:pt x="435" y="289"/>
                  <a:pt x="435" y="289"/>
                </a:cubicBezTo>
                <a:cubicBezTo>
                  <a:pt x="435" y="289"/>
                  <a:pt x="435" y="289"/>
                  <a:pt x="435" y="289"/>
                </a:cubicBezTo>
                <a:cubicBezTo>
                  <a:pt x="434" y="289"/>
                  <a:pt x="434" y="289"/>
                  <a:pt x="434" y="289"/>
                </a:cubicBezTo>
                <a:cubicBezTo>
                  <a:pt x="433" y="289"/>
                  <a:pt x="433" y="289"/>
                  <a:pt x="433" y="289"/>
                </a:cubicBezTo>
                <a:cubicBezTo>
                  <a:pt x="433" y="289"/>
                  <a:pt x="433" y="289"/>
                  <a:pt x="433" y="289"/>
                </a:cubicBezTo>
                <a:cubicBezTo>
                  <a:pt x="433" y="288"/>
                  <a:pt x="433" y="288"/>
                  <a:pt x="433" y="288"/>
                </a:cubicBezTo>
                <a:cubicBezTo>
                  <a:pt x="434" y="288"/>
                  <a:pt x="434" y="288"/>
                  <a:pt x="434" y="288"/>
                </a:cubicBezTo>
                <a:cubicBezTo>
                  <a:pt x="435" y="287"/>
                  <a:pt x="435" y="287"/>
                  <a:pt x="435" y="287"/>
                </a:cubicBezTo>
                <a:cubicBezTo>
                  <a:pt x="434" y="287"/>
                  <a:pt x="434" y="287"/>
                  <a:pt x="434" y="287"/>
                </a:cubicBezTo>
                <a:cubicBezTo>
                  <a:pt x="434" y="287"/>
                  <a:pt x="434" y="287"/>
                  <a:pt x="434" y="287"/>
                </a:cubicBezTo>
                <a:cubicBezTo>
                  <a:pt x="433" y="287"/>
                  <a:pt x="433" y="287"/>
                  <a:pt x="433" y="287"/>
                </a:cubicBezTo>
                <a:cubicBezTo>
                  <a:pt x="433" y="287"/>
                  <a:pt x="433" y="287"/>
                  <a:pt x="433" y="287"/>
                </a:cubicBezTo>
                <a:cubicBezTo>
                  <a:pt x="434" y="286"/>
                  <a:pt x="434" y="286"/>
                  <a:pt x="434" y="286"/>
                </a:cubicBezTo>
                <a:cubicBezTo>
                  <a:pt x="434" y="286"/>
                  <a:pt x="434" y="286"/>
                  <a:pt x="434" y="286"/>
                </a:cubicBezTo>
                <a:cubicBezTo>
                  <a:pt x="435" y="286"/>
                  <a:pt x="435" y="286"/>
                  <a:pt x="435" y="286"/>
                </a:cubicBezTo>
                <a:cubicBezTo>
                  <a:pt x="434" y="285"/>
                  <a:pt x="434" y="285"/>
                  <a:pt x="434" y="285"/>
                </a:cubicBezTo>
                <a:cubicBezTo>
                  <a:pt x="434" y="285"/>
                  <a:pt x="434" y="285"/>
                  <a:pt x="434" y="285"/>
                </a:cubicBezTo>
                <a:cubicBezTo>
                  <a:pt x="433" y="286"/>
                  <a:pt x="433" y="286"/>
                  <a:pt x="433" y="286"/>
                </a:cubicBezTo>
                <a:cubicBezTo>
                  <a:pt x="433" y="286"/>
                  <a:pt x="433" y="286"/>
                  <a:pt x="433" y="286"/>
                </a:cubicBezTo>
                <a:cubicBezTo>
                  <a:pt x="433" y="285"/>
                  <a:pt x="433" y="285"/>
                  <a:pt x="433" y="285"/>
                </a:cubicBezTo>
                <a:cubicBezTo>
                  <a:pt x="434" y="284"/>
                  <a:pt x="434" y="284"/>
                  <a:pt x="434" y="284"/>
                </a:cubicBezTo>
                <a:cubicBezTo>
                  <a:pt x="434" y="283"/>
                  <a:pt x="434" y="283"/>
                  <a:pt x="434" y="283"/>
                </a:cubicBezTo>
                <a:cubicBezTo>
                  <a:pt x="435" y="283"/>
                  <a:pt x="435" y="283"/>
                  <a:pt x="435" y="283"/>
                </a:cubicBezTo>
                <a:cubicBezTo>
                  <a:pt x="436" y="282"/>
                  <a:pt x="436" y="282"/>
                  <a:pt x="436" y="282"/>
                </a:cubicBezTo>
                <a:cubicBezTo>
                  <a:pt x="437" y="282"/>
                  <a:pt x="437" y="282"/>
                  <a:pt x="437" y="282"/>
                </a:cubicBezTo>
                <a:cubicBezTo>
                  <a:pt x="438" y="281"/>
                  <a:pt x="438" y="281"/>
                  <a:pt x="438" y="281"/>
                </a:cubicBezTo>
                <a:cubicBezTo>
                  <a:pt x="439" y="280"/>
                  <a:pt x="439" y="280"/>
                  <a:pt x="439" y="280"/>
                </a:cubicBezTo>
                <a:cubicBezTo>
                  <a:pt x="439" y="280"/>
                  <a:pt x="439" y="280"/>
                  <a:pt x="439" y="280"/>
                </a:cubicBezTo>
                <a:cubicBezTo>
                  <a:pt x="439" y="279"/>
                  <a:pt x="439" y="279"/>
                  <a:pt x="439" y="279"/>
                </a:cubicBezTo>
                <a:cubicBezTo>
                  <a:pt x="438" y="279"/>
                  <a:pt x="438" y="279"/>
                  <a:pt x="438" y="279"/>
                </a:cubicBezTo>
                <a:cubicBezTo>
                  <a:pt x="437" y="280"/>
                  <a:pt x="437" y="280"/>
                  <a:pt x="437" y="280"/>
                </a:cubicBezTo>
                <a:cubicBezTo>
                  <a:pt x="437" y="280"/>
                  <a:pt x="437" y="280"/>
                  <a:pt x="437" y="280"/>
                </a:cubicBezTo>
                <a:cubicBezTo>
                  <a:pt x="436" y="281"/>
                  <a:pt x="436" y="281"/>
                  <a:pt x="436" y="281"/>
                </a:cubicBezTo>
                <a:cubicBezTo>
                  <a:pt x="435" y="282"/>
                  <a:pt x="435" y="282"/>
                  <a:pt x="435" y="282"/>
                </a:cubicBezTo>
                <a:cubicBezTo>
                  <a:pt x="434" y="282"/>
                  <a:pt x="434" y="282"/>
                  <a:pt x="434" y="282"/>
                </a:cubicBezTo>
                <a:cubicBezTo>
                  <a:pt x="432" y="283"/>
                  <a:pt x="432" y="283"/>
                  <a:pt x="432" y="283"/>
                </a:cubicBezTo>
                <a:cubicBezTo>
                  <a:pt x="431" y="283"/>
                  <a:pt x="431" y="283"/>
                  <a:pt x="431" y="283"/>
                </a:cubicBezTo>
                <a:cubicBezTo>
                  <a:pt x="430" y="283"/>
                  <a:pt x="430" y="283"/>
                  <a:pt x="430" y="283"/>
                </a:cubicBezTo>
                <a:cubicBezTo>
                  <a:pt x="430" y="283"/>
                  <a:pt x="430" y="283"/>
                  <a:pt x="430" y="283"/>
                </a:cubicBezTo>
                <a:cubicBezTo>
                  <a:pt x="432" y="281"/>
                  <a:pt x="432" y="281"/>
                  <a:pt x="432" y="281"/>
                </a:cubicBezTo>
                <a:cubicBezTo>
                  <a:pt x="433" y="280"/>
                  <a:pt x="433" y="280"/>
                  <a:pt x="433" y="280"/>
                </a:cubicBezTo>
                <a:cubicBezTo>
                  <a:pt x="434" y="280"/>
                  <a:pt x="434" y="280"/>
                  <a:pt x="434" y="280"/>
                </a:cubicBezTo>
                <a:cubicBezTo>
                  <a:pt x="434" y="279"/>
                  <a:pt x="434" y="279"/>
                  <a:pt x="434" y="279"/>
                </a:cubicBezTo>
                <a:cubicBezTo>
                  <a:pt x="434" y="278"/>
                  <a:pt x="434" y="278"/>
                  <a:pt x="434" y="278"/>
                </a:cubicBezTo>
                <a:cubicBezTo>
                  <a:pt x="433" y="279"/>
                  <a:pt x="433" y="279"/>
                  <a:pt x="433" y="279"/>
                </a:cubicBezTo>
                <a:cubicBezTo>
                  <a:pt x="431" y="281"/>
                  <a:pt x="431" y="281"/>
                  <a:pt x="431" y="281"/>
                </a:cubicBezTo>
                <a:cubicBezTo>
                  <a:pt x="430" y="281"/>
                  <a:pt x="430" y="281"/>
                  <a:pt x="430" y="281"/>
                </a:cubicBezTo>
                <a:cubicBezTo>
                  <a:pt x="429" y="281"/>
                  <a:pt x="429" y="281"/>
                  <a:pt x="429" y="281"/>
                </a:cubicBezTo>
                <a:cubicBezTo>
                  <a:pt x="429" y="281"/>
                  <a:pt x="429" y="281"/>
                  <a:pt x="429" y="281"/>
                </a:cubicBezTo>
                <a:cubicBezTo>
                  <a:pt x="429" y="280"/>
                  <a:pt x="429" y="280"/>
                  <a:pt x="429" y="280"/>
                </a:cubicBezTo>
                <a:cubicBezTo>
                  <a:pt x="429" y="279"/>
                  <a:pt x="429" y="279"/>
                  <a:pt x="429" y="279"/>
                </a:cubicBezTo>
                <a:cubicBezTo>
                  <a:pt x="428" y="280"/>
                  <a:pt x="428" y="280"/>
                  <a:pt x="428" y="280"/>
                </a:cubicBezTo>
                <a:cubicBezTo>
                  <a:pt x="428" y="279"/>
                  <a:pt x="428" y="279"/>
                  <a:pt x="428" y="279"/>
                </a:cubicBezTo>
                <a:cubicBezTo>
                  <a:pt x="428" y="279"/>
                  <a:pt x="428" y="279"/>
                  <a:pt x="428" y="279"/>
                </a:cubicBezTo>
                <a:cubicBezTo>
                  <a:pt x="429" y="279"/>
                  <a:pt x="429" y="279"/>
                  <a:pt x="429" y="279"/>
                </a:cubicBezTo>
                <a:cubicBezTo>
                  <a:pt x="429" y="278"/>
                  <a:pt x="429" y="278"/>
                  <a:pt x="429" y="278"/>
                </a:cubicBezTo>
                <a:cubicBezTo>
                  <a:pt x="428" y="278"/>
                  <a:pt x="428" y="278"/>
                  <a:pt x="428" y="278"/>
                </a:cubicBezTo>
                <a:cubicBezTo>
                  <a:pt x="428" y="278"/>
                  <a:pt x="428" y="278"/>
                  <a:pt x="428" y="278"/>
                </a:cubicBezTo>
                <a:cubicBezTo>
                  <a:pt x="427" y="277"/>
                  <a:pt x="427" y="277"/>
                  <a:pt x="427" y="277"/>
                </a:cubicBezTo>
                <a:cubicBezTo>
                  <a:pt x="428" y="276"/>
                  <a:pt x="428" y="276"/>
                  <a:pt x="428" y="276"/>
                </a:cubicBezTo>
                <a:cubicBezTo>
                  <a:pt x="428" y="276"/>
                  <a:pt x="428" y="276"/>
                  <a:pt x="428" y="276"/>
                </a:cubicBezTo>
                <a:cubicBezTo>
                  <a:pt x="428" y="275"/>
                  <a:pt x="428" y="275"/>
                  <a:pt x="428" y="275"/>
                </a:cubicBezTo>
                <a:cubicBezTo>
                  <a:pt x="427" y="275"/>
                  <a:pt x="427" y="275"/>
                  <a:pt x="427" y="275"/>
                </a:cubicBezTo>
                <a:cubicBezTo>
                  <a:pt x="427" y="274"/>
                  <a:pt x="427" y="274"/>
                  <a:pt x="427" y="274"/>
                </a:cubicBezTo>
                <a:cubicBezTo>
                  <a:pt x="427" y="274"/>
                  <a:pt x="427" y="274"/>
                  <a:pt x="427" y="274"/>
                </a:cubicBezTo>
                <a:cubicBezTo>
                  <a:pt x="427" y="275"/>
                  <a:pt x="427" y="275"/>
                  <a:pt x="427" y="275"/>
                </a:cubicBezTo>
                <a:cubicBezTo>
                  <a:pt x="427" y="276"/>
                  <a:pt x="427" y="276"/>
                  <a:pt x="427" y="276"/>
                </a:cubicBezTo>
                <a:cubicBezTo>
                  <a:pt x="426" y="276"/>
                  <a:pt x="426" y="276"/>
                  <a:pt x="426" y="276"/>
                </a:cubicBezTo>
                <a:cubicBezTo>
                  <a:pt x="425" y="276"/>
                  <a:pt x="425" y="276"/>
                  <a:pt x="425" y="276"/>
                </a:cubicBezTo>
                <a:cubicBezTo>
                  <a:pt x="425" y="275"/>
                  <a:pt x="425" y="275"/>
                  <a:pt x="425" y="275"/>
                </a:cubicBezTo>
                <a:cubicBezTo>
                  <a:pt x="424" y="275"/>
                  <a:pt x="424" y="275"/>
                  <a:pt x="424" y="275"/>
                </a:cubicBezTo>
                <a:cubicBezTo>
                  <a:pt x="425" y="276"/>
                  <a:pt x="425" y="276"/>
                  <a:pt x="425" y="276"/>
                </a:cubicBezTo>
                <a:cubicBezTo>
                  <a:pt x="426" y="277"/>
                  <a:pt x="426" y="277"/>
                  <a:pt x="426" y="277"/>
                </a:cubicBezTo>
                <a:cubicBezTo>
                  <a:pt x="426" y="278"/>
                  <a:pt x="426" y="278"/>
                  <a:pt x="426" y="278"/>
                </a:cubicBezTo>
                <a:cubicBezTo>
                  <a:pt x="425" y="278"/>
                  <a:pt x="425" y="278"/>
                  <a:pt x="425" y="278"/>
                </a:cubicBezTo>
                <a:cubicBezTo>
                  <a:pt x="425" y="278"/>
                  <a:pt x="425" y="278"/>
                  <a:pt x="425" y="278"/>
                </a:cubicBezTo>
                <a:cubicBezTo>
                  <a:pt x="425" y="278"/>
                  <a:pt x="425" y="278"/>
                  <a:pt x="425" y="278"/>
                </a:cubicBezTo>
                <a:cubicBezTo>
                  <a:pt x="424" y="279"/>
                  <a:pt x="424" y="279"/>
                  <a:pt x="424" y="279"/>
                </a:cubicBezTo>
                <a:cubicBezTo>
                  <a:pt x="423" y="278"/>
                  <a:pt x="423" y="278"/>
                  <a:pt x="423" y="278"/>
                </a:cubicBezTo>
                <a:cubicBezTo>
                  <a:pt x="423" y="277"/>
                  <a:pt x="423" y="277"/>
                  <a:pt x="423" y="277"/>
                </a:cubicBezTo>
                <a:cubicBezTo>
                  <a:pt x="423" y="276"/>
                  <a:pt x="423" y="276"/>
                  <a:pt x="423" y="276"/>
                </a:cubicBezTo>
                <a:cubicBezTo>
                  <a:pt x="422" y="277"/>
                  <a:pt x="422" y="277"/>
                  <a:pt x="422" y="277"/>
                </a:cubicBezTo>
                <a:cubicBezTo>
                  <a:pt x="423" y="277"/>
                  <a:pt x="423" y="277"/>
                  <a:pt x="423" y="277"/>
                </a:cubicBezTo>
                <a:cubicBezTo>
                  <a:pt x="423" y="278"/>
                  <a:pt x="423" y="278"/>
                  <a:pt x="423" y="278"/>
                </a:cubicBezTo>
                <a:cubicBezTo>
                  <a:pt x="423" y="279"/>
                  <a:pt x="423" y="279"/>
                  <a:pt x="423" y="279"/>
                </a:cubicBezTo>
                <a:cubicBezTo>
                  <a:pt x="423" y="279"/>
                  <a:pt x="423" y="279"/>
                  <a:pt x="423" y="279"/>
                </a:cubicBezTo>
                <a:cubicBezTo>
                  <a:pt x="424" y="280"/>
                  <a:pt x="424" y="280"/>
                  <a:pt x="424" y="280"/>
                </a:cubicBezTo>
                <a:cubicBezTo>
                  <a:pt x="425" y="281"/>
                  <a:pt x="425" y="281"/>
                  <a:pt x="425" y="281"/>
                </a:cubicBezTo>
                <a:cubicBezTo>
                  <a:pt x="424" y="282"/>
                  <a:pt x="424" y="282"/>
                  <a:pt x="424" y="282"/>
                </a:cubicBezTo>
                <a:cubicBezTo>
                  <a:pt x="425" y="282"/>
                  <a:pt x="425" y="282"/>
                  <a:pt x="425" y="282"/>
                </a:cubicBezTo>
                <a:cubicBezTo>
                  <a:pt x="425" y="283"/>
                  <a:pt x="425" y="283"/>
                  <a:pt x="425" y="283"/>
                </a:cubicBezTo>
                <a:cubicBezTo>
                  <a:pt x="424" y="283"/>
                  <a:pt x="424" y="283"/>
                  <a:pt x="424" y="283"/>
                </a:cubicBezTo>
                <a:cubicBezTo>
                  <a:pt x="423" y="283"/>
                  <a:pt x="423" y="283"/>
                  <a:pt x="423" y="283"/>
                </a:cubicBezTo>
                <a:cubicBezTo>
                  <a:pt x="422" y="282"/>
                  <a:pt x="422" y="282"/>
                  <a:pt x="422" y="282"/>
                </a:cubicBezTo>
                <a:cubicBezTo>
                  <a:pt x="422" y="283"/>
                  <a:pt x="422" y="283"/>
                  <a:pt x="422" y="283"/>
                </a:cubicBezTo>
                <a:cubicBezTo>
                  <a:pt x="422" y="283"/>
                  <a:pt x="422" y="283"/>
                  <a:pt x="422" y="283"/>
                </a:cubicBezTo>
                <a:cubicBezTo>
                  <a:pt x="420" y="282"/>
                  <a:pt x="420" y="282"/>
                  <a:pt x="420" y="282"/>
                </a:cubicBezTo>
                <a:cubicBezTo>
                  <a:pt x="420" y="281"/>
                  <a:pt x="420" y="281"/>
                  <a:pt x="420" y="281"/>
                </a:cubicBezTo>
                <a:cubicBezTo>
                  <a:pt x="421" y="280"/>
                  <a:pt x="421" y="280"/>
                  <a:pt x="421" y="280"/>
                </a:cubicBezTo>
                <a:cubicBezTo>
                  <a:pt x="420" y="279"/>
                  <a:pt x="420" y="279"/>
                  <a:pt x="420" y="279"/>
                </a:cubicBezTo>
                <a:cubicBezTo>
                  <a:pt x="419" y="279"/>
                  <a:pt x="419" y="279"/>
                  <a:pt x="419" y="279"/>
                </a:cubicBezTo>
                <a:cubicBezTo>
                  <a:pt x="418" y="279"/>
                  <a:pt x="418" y="279"/>
                  <a:pt x="418" y="279"/>
                </a:cubicBezTo>
                <a:cubicBezTo>
                  <a:pt x="418" y="278"/>
                  <a:pt x="418" y="278"/>
                  <a:pt x="418" y="278"/>
                </a:cubicBezTo>
                <a:cubicBezTo>
                  <a:pt x="418" y="277"/>
                  <a:pt x="418" y="277"/>
                  <a:pt x="418" y="277"/>
                </a:cubicBezTo>
                <a:cubicBezTo>
                  <a:pt x="417" y="278"/>
                  <a:pt x="417" y="278"/>
                  <a:pt x="417" y="278"/>
                </a:cubicBezTo>
                <a:cubicBezTo>
                  <a:pt x="416" y="278"/>
                  <a:pt x="416" y="278"/>
                  <a:pt x="416" y="278"/>
                </a:cubicBezTo>
                <a:cubicBezTo>
                  <a:pt x="415" y="278"/>
                  <a:pt x="415" y="278"/>
                  <a:pt x="415" y="278"/>
                </a:cubicBezTo>
                <a:cubicBezTo>
                  <a:pt x="415" y="279"/>
                  <a:pt x="415" y="279"/>
                  <a:pt x="415" y="279"/>
                </a:cubicBezTo>
                <a:cubicBezTo>
                  <a:pt x="417" y="279"/>
                  <a:pt x="417" y="279"/>
                  <a:pt x="417" y="279"/>
                </a:cubicBezTo>
                <a:cubicBezTo>
                  <a:pt x="418" y="279"/>
                  <a:pt x="418" y="279"/>
                  <a:pt x="418" y="279"/>
                </a:cubicBezTo>
                <a:cubicBezTo>
                  <a:pt x="419" y="280"/>
                  <a:pt x="419" y="280"/>
                  <a:pt x="419" y="280"/>
                </a:cubicBezTo>
                <a:cubicBezTo>
                  <a:pt x="419" y="281"/>
                  <a:pt x="419" y="281"/>
                  <a:pt x="419" y="281"/>
                </a:cubicBezTo>
                <a:cubicBezTo>
                  <a:pt x="418" y="282"/>
                  <a:pt x="418" y="282"/>
                  <a:pt x="418" y="282"/>
                </a:cubicBezTo>
                <a:cubicBezTo>
                  <a:pt x="418" y="282"/>
                  <a:pt x="418" y="282"/>
                  <a:pt x="418" y="282"/>
                </a:cubicBezTo>
                <a:cubicBezTo>
                  <a:pt x="419" y="282"/>
                  <a:pt x="419" y="282"/>
                  <a:pt x="419" y="282"/>
                </a:cubicBezTo>
                <a:cubicBezTo>
                  <a:pt x="419" y="283"/>
                  <a:pt x="419" y="283"/>
                  <a:pt x="419" y="283"/>
                </a:cubicBezTo>
                <a:cubicBezTo>
                  <a:pt x="419" y="283"/>
                  <a:pt x="419" y="283"/>
                  <a:pt x="419" y="283"/>
                </a:cubicBezTo>
                <a:cubicBezTo>
                  <a:pt x="419" y="284"/>
                  <a:pt x="419" y="284"/>
                  <a:pt x="419" y="284"/>
                </a:cubicBezTo>
                <a:cubicBezTo>
                  <a:pt x="421" y="284"/>
                  <a:pt x="421" y="284"/>
                  <a:pt x="421" y="284"/>
                </a:cubicBezTo>
                <a:cubicBezTo>
                  <a:pt x="421" y="284"/>
                  <a:pt x="421" y="284"/>
                  <a:pt x="421" y="284"/>
                </a:cubicBezTo>
                <a:cubicBezTo>
                  <a:pt x="420" y="285"/>
                  <a:pt x="420" y="285"/>
                  <a:pt x="420" y="285"/>
                </a:cubicBezTo>
                <a:cubicBezTo>
                  <a:pt x="418" y="287"/>
                  <a:pt x="418" y="287"/>
                  <a:pt x="418" y="287"/>
                </a:cubicBezTo>
                <a:cubicBezTo>
                  <a:pt x="417" y="288"/>
                  <a:pt x="417" y="288"/>
                  <a:pt x="417" y="288"/>
                </a:cubicBezTo>
                <a:cubicBezTo>
                  <a:pt x="419" y="287"/>
                  <a:pt x="419" y="287"/>
                  <a:pt x="419" y="287"/>
                </a:cubicBezTo>
                <a:cubicBezTo>
                  <a:pt x="420" y="286"/>
                  <a:pt x="420" y="286"/>
                  <a:pt x="420" y="286"/>
                </a:cubicBezTo>
                <a:cubicBezTo>
                  <a:pt x="420" y="286"/>
                  <a:pt x="420" y="286"/>
                  <a:pt x="420" y="286"/>
                </a:cubicBezTo>
                <a:cubicBezTo>
                  <a:pt x="422" y="286"/>
                  <a:pt x="422" y="286"/>
                  <a:pt x="422" y="286"/>
                </a:cubicBezTo>
                <a:cubicBezTo>
                  <a:pt x="423" y="286"/>
                  <a:pt x="423" y="286"/>
                  <a:pt x="423" y="286"/>
                </a:cubicBezTo>
                <a:cubicBezTo>
                  <a:pt x="423" y="287"/>
                  <a:pt x="423" y="287"/>
                  <a:pt x="423" y="287"/>
                </a:cubicBezTo>
                <a:cubicBezTo>
                  <a:pt x="422" y="287"/>
                  <a:pt x="422" y="287"/>
                  <a:pt x="422" y="287"/>
                </a:cubicBezTo>
                <a:cubicBezTo>
                  <a:pt x="421" y="288"/>
                  <a:pt x="421" y="288"/>
                  <a:pt x="421" y="288"/>
                </a:cubicBezTo>
                <a:cubicBezTo>
                  <a:pt x="421" y="288"/>
                  <a:pt x="421" y="288"/>
                  <a:pt x="421" y="288"/>
                </a:cubicBezTo>
                <a:cubicBezTo>
                  <a:pt x="422" y="289"/>
                  <a:pt x="422" y="289"/>
                  <a:pt x="422" y="289"/>
                </a:cubicBezTo>
                <a:cubicBezTo>
                  <a:pt x="423" y="289"/>
                  <a:pt x="423" y="289"/>
                  <a:pt x="423" y="289"/>
                </a:cubicBezTo>
                <a:cubicBezTo>
                  <a:pt x="423" y="290"/>
                  <a:pt x="423" y="290"/>
                  <a:pt x="423" y="290"/>
                </a:cubicBezTo>
                <a:cubicBezTo>
                  <a:pt x="421" y="290"/>
                  <a:pt x="421" y="290"/>
                  <a:pt x="421" y="290"/>
                </a:cubicBezTo>
                <a:cubicBezTo>
                  <a:pt x="421" y="290"/>
                  <a:pt x="421" y="290"/>
                  <a:pt x="421" y="290"/>
                </a:cubicBezTo>
                <a:cubicBezTo>
                  <a:pt x="422" y="291"/>
                  <a:pt x="422" y="291"/>
                  <a:pt x="422" y="291"/>
                </a:cubicBezTo>
                <a:cubicBezTo>
                  <a:pt x="422" y="291"/>
                  <a:pt x="422" y="291"/>
                  <a:pt x="422" y="291"/>
                </a:cubicBezTo>
                <a:cubicBezTo>
                  <a:pt x="422" y="291"/>
                  <a:pt x="422" y="291"/>
                  <a:pt x="422" y="291"/>
                </a:cubicBezTo>
                <a:cubicBezTo>
                  <a:pt x="422" y="292"/>
                  <a:pt x="422" y="292"/>
                  <a:pt x="422" y="292"/>
                </a:cubicBezTo>
                <a:cubicBezTo>
                  <a:pt x="422" y="292"/>
                  <a:pt x="422" y="292"/>
                  <a:pt x="422" y="292"/>
                </a:cubicBezTo>
                <a:cubicBezTo>
                  <a:pt x="422" y="293"/>
                  <a:pt x="422" y="293"/>
                  <a:pt x="422" y="293"/>
                </a:cubicBezTo>
                <a:cubicBezTo>
                  <a:pt x="423" y="293"/>
                  <a:pt x="423" y="293"/>
                  <a:pt x="423" y="293"/>
                </a:cubicBezTo>
                <a:cubicBezTo>
                  <a:pt x="423" y="294"/>
                  <a:pt x="423" y="294"/>
                  <a:pt x="423" y="294"/>
                </a:cubicBezTo>
                <a:cubicBezTo>
                  <a:pt x="423" y="295"/>
                  <a:pt x="423" y="295"/>
                  <a:pt x="423" y="295"/>
                </a:cubicBezTo>
                <a:cubicBezTo>
                  <a:pt x="423" y="295"/>
                  <a:pt x="423" y="295"/>
                  <a:pt x="423" y="295"/>
                </a:cubicBezTo>
                <a:cubicBezTo>
                  <a:pt x="424" y="295"/>
                  <a:pt x="424" y="295"/>
                  <a:pt x="424" y="295"/>
                </a:cubicBezTo>
                <a:cubicBezTo>
                  <a:pt x="424" y="294"/>
                  <a:pt x="424" y="294"/>
                  <a:pt x="424" y="294"/>
                </a:cubicBezTo>
                <a:cubicBezTo>
                  <a:pt x="424" y="293"/>
                  <a:pt x="424" y="293"/>
                  <a:pt x="424" y="293"/>
                </a:cubicBezTo>
                <a:cubicBezTo>
                  <a:pt x="425" y="294"/>
                  <a:pt x="425" y="294"/>
                  <a:pt x="425" y="294"/>
                </a:cubicBezTo>
                <a:cubicBezTo>
                  <a:pt x="425" y="295"/>
                  <a:pt x="425" y="295"/>
                  <a:pt x="425" y="295"/>
                </a:cubicBezTo>
                <a:cubicBezTo>
                  <a:pt x="426" y="296"/>
                  <a:pt x="426" y="296"/>
                  <a:pt x="426" y="296"/>
                </a:cubicBezTo>
                <a:cubicBezTo>
                  <a:pt x="425" y="296"/>
                  <a:pt x="425" y="296"/>
                  <a:pt x="425" y="296"/>
                </a:cubicBezTo>
                <a:cubicBezTo>
                  <a:pt x="425" y="297"/>
                  <a:pt x="425" y="297"/>
                  <a:pt x="425" y="297"/>
                </a:cubicBezTo>
                <a:cubicBezTo>
                  <a:pt x="425" y="297"/>
                  <a:pt x="425" y="297"/>
                  <a:pt x="425" y="297"/>
                </a:cubicBezTo>
                <a:cubicBezTo>
                  <a:pt x="426" y="297"/>
                  <a:pt x="426" y="297"/>
                  <a:pt x="426" y="297"/>
                </a:cubicBezTo>
                <a:cubicBezTo>
                  <a:pt x="427" y="297"/>
                  <a:pt x="427" y="297"/>
                  <a:pt x="427" y="297"/>
                </a:cubicBezTo>
                <a:cubicBezTo>
                  <a:pt x="427" y="298"/>
                  <a:pt x="427" y="298"/>
                  <a:pt x="427" y="298"/>
                </a:cubicBezTo>
                <a:cubicBezTo>
                  <a:pt x="427" y="297"/>
                  <a:pt x="427" y="297"/>
                  <a:pt x="427" y="297"/>
                </a:cubicBezTo>
                <a:cubicBezTo>
                  <a:pt x="427" y="296"/>
                  <a:pt x="427" y="296"/>
                  <a:pt x="427" y="296"/>
                </a:cubicBezTo>
                <a:cubicBezTo>
                  <a:pt x="428" y="296"/>
                  <a:pt x="428" y="296"/>
                  <a:pt x="428" y="296"/>
                </a:cubicBezTo>
                <a:cubicBezTo>
                  <a:pt x="428" y="297"/>
                  <a:pt x="428" y="297"/>
                  <a:pt x="428" y="297"/>
                </a:cubicBezTo>
                <a:cubicBezTo>
                  <a:pt x="428" y="298"/>
                  <a:pt x="428" y="298"/>
                  <a:pt x="428" y="298"/>
                </a:cubicBezTo>
                <a:cubicBezTo>
                  <a:pt x="427" y="299"/>
                  <a:pt x="427" y="299"/>
                  <a:pt x="427" y="299"/>
                </a:cubicBezTo>
                <a:cubicBezTo>
                  <a:pt x="427" y="300"/>
                  <a:pt x="427" y="300"/>
                  <a:pt x="427" y="300"/>
                </a:cubicBezTo>
                <a:cubicBezTo>
                  <a:pt x="427" y="300"/>
                  <a:pt x="427" y="300"/>
                  <a:pt x="427" y="300"/>
                </a:cubicBezTo>
                <a:cubicBezTo>
                  <a:pt x="428" y="301"/>
                  <a:pt x="428" y="301"/>
                  <a:pt x="428" y="301"/>
                </a:cubicBezTo>
                <a:cubicBezTo>
                  <a:pt x="429" y="300"/>
                  <a:pt x="429" y="300"/>
                  <a:pt x="429" y="300"/>
                </a:cubicBezTo>
                <a:cubicBezTo>
                  <a:pt x="430" y="300"/>
                  <a:pt x="430" y="300"/>
                  <a:pt x="430" y="300"/>
                </a:cubicBezTo>
                <a:cubicBezTo>
                  <a:pt x="430" y="300"/>
                  <a:pt x="430" y="300"/>
                  <a:pt x="430" y="300"/>
                </a:cubicBezTo>
                <a:cubicBezTo>
                  <a:pt x="429" y="301"/>
                  <a:pt x="429" y="301"/>
                  <a:pt x="429" y="301"/>
                </a:cubicBezTo>
                <a:cubicBezTo>
                  <a:pt x="429" y="302"/>
                  <a:pt x="429" y="302"/>
                  <a:pt x="429" y="302"/>
                </a:cubicBezTo>
                <a:cubicBezTo>
                  <a:pt x="428" y="302"/>
                  <a:pt x="428" y="302"/>
                  <a:pt x="428" y="302"/>
                </a:cubicBezTo>
                <a:cubicBezTo>
                  <a:pt x="428" y="303"/>
                  <a:pt x="428" y="303"/>
                  <a:pt x="428" y="303"/>
                </a:cubicBezTo>
                <a:cubicBezTo>
                  <a:pt x="429" y="304"/>
                  <a:pt x="429" y="304"/>
                  <a:pt x="429" y="304"/>
                </a:cubicBezTo>
                <a:cubicBezTo>
                  <a:pt x="429" y="305"/>
                  <a:pt x="429" y="305"/>
                  <a:pt x="429" y="305"/>
                </a:cubicBezTo>
                <a:cubicBezTo>
                  <a:pt x="430" y="305"/>
                  <a:pt x="430" y="305"/>
                  <a:pt x="430" y="305"/>
                </a:cubicBezTo>
                <a:cubicBezTo>
                  <a:pt x="430" y="307"/>
                  <a:pt x="430" y="307"/>
                  <a:pt x="430" y="307"/>
                </a:cubicBezTo>
                <a:cubicBezTo>
                  <a:pt x="431" y="309"/>
                  <a:pt x="431" y="309"/>
                  <a:pt x="431" y="309"/>
                </a:cubicBezTo>
                <a:cubicBezTo>
                  <a:pt x="432" y="309"/>
                  <a:pt x="432" y="309"/>
                  <a:pt x="432" y="309"/>
                </a:cubicBezTo>
                <a:cubicBezTo>
                  <a:pt x="431" y="310"/>
                  <a:pt x="431" y="310"/>
                  <a:pt x="431" y="310"/>
                </a:cubicBezTo>
                <a:cubicBezTo>
                  <a:pt x="431" y="311"/>
                  <a:pt x="431" y="311"/>
                  <a:pt x="431" y="311"/>
                </a:cubicBezTo>
                <a:cubicBezTo>
                  <a:pt x="430" y="313"/>
                  <a:pt x="430" y="313"/>
                  <a:pt x="430" y="313"/>
                </a:cubicBezTo>
                <a:cubicBezTo>
                  <a:pt x="430" y="314"/>
                  <a:pt x="430" y="314"/>
                  <a:pt x="430" y="314"/>
                </a:cubicBezTo>
                <a:cubicBezTo>
                  <a:pt x="430" y="314"/>
                  <a:pt x="430" y="314"/>
                  <a:pt x="430" y="314"/>
                </a:cubicBezTo>
                <a:cubicBezTo>
                  <a:pt x="428" y="312"/>
                  <a:pt x="428" y="312"/>
                  <a:pt x="428" y="312"/>
                </a:cubicBezTo>
                <a:cubicBezTo>
                  <a:pt x="428" y="311"/>
                  <a:pt x="428" y="311"/>
                  <a:pt x="428" y="311"/>
                </a:cubicBezTo>
                <a:cubicBezTo>
                  <a:pt x="428" y="310"/>
                  <a:pt x="428" y="310"/>
                  <a:pt x="428" y="310"/>
                </a:cubicBezTo>
                <a:cubicBezTo>
                  <a:pt x="428" y="308"/>
                  <a:pt x="428" y="308"/>
                  <a:pt x="428" y="308"/>
                </a:cubicBezTo>
                <a:cubicBezTo>
                  <a:pt x="428" y="310"/>
                  <a:pt x="428" y="310"/>
                  <a:pt x="428" y="310"/>
                </a:cubicBezTo>
                <a:cubicBezTo>
                  <a:pt x="427" y="311"/>
                  <a:pt x="427" y="311"/>
                  <a:pt x="427" y="311"/>
                </a:cubicBezTo>
                <a:cubicBezTo>
                  <a:pt x="428" y="313"/>
                  <a:pt x="428" y="313"/>
                  <a:pt x="428" y="313"/>
                </a:cubicBezTo>
                <a:cubicBezTo>
                  <a:pt x="428" y="315"/>
                  <a:pt x="428" y="315"/>
                  <a:pt x="428" y="315"/>
                </a:cubicBezTo>
                <a:cubicBezTo>
                  <a:pt x="428" y="316"/>
                  <a:pt x="428" y="316"/>
                  <a:pt x="428" y="316"/>
                </a:cubicBezTo>
                <a:cubicBezTo>
                  <a:pt x="428" y="318"/>
                  <a:pt x="428" y="318"/>
                  <a:pt x="428" y="318"/>
                </a:cubicBezTo>
                <a:cubicBezTo>
                  <a:pt x="428" y="318"/>
                  <a:pt x="428" y="318"/>
                  <a:pt x="428" y="318"/>
                </a:cubicBezTo>
                <a:cubicBezTo>
                  <a:pt x="427" y="318"/>
                  <a:pt x="427" y="318"/>
                  <a:pt x="427" y="318"/>
                </a:cubicBezTo>
                <a:cubicBezTo>
                  <a:pt x="426" y="317"/>
                  <a:pt x="426" y="317"/>
                  <a:pt x="426" y="317"/>
                </a:cubicBezTo>
                <a:cubicBezTo>
                  <a:pt x="425" y="317"/>
                  <a:pt x="425" y="317"/>
                  <a:pt x="425" y="317"/>
                </a:cubicBezTo>
                <a:cubicBezTo>
                  <a:pt x="426" y="319"/>
                  <a:pt x="426" y="319"/>
                  <a:pt x="426" y="319"/>
                </a:cubicBezTo>
                <a:cubicBezTo>
                  <a:pt x="426" y="321"/>
                  <a:pt x="426" y="321"/>
                  <a:pt x="426" y="321"/>
                </a:cubicBezTo>
                <a:cubicBezTo>
                  <a:pt x="426" y="321"/>
                  <a:pt x="426" y="321"/>
                  <a:pt x="426" y="321"/>
                </a:cubicBezTo>
                <a:cubicBezTo>
                  <a:pt x="426" y="322"/>
                  <a:pt x="426" y="322"/>
                  <a:pt x="426" y="322"/>
                </a:cubicBezTo>
                <a:cubicBezTo>
                  <a:pt x="425" y="322"/>
                  <a:pt x="425" y="322"/>
                  <a:pt x="425" y="322"/>
                </a:cubicBezTo>
                <a:cubicBezTo>
                  <a:pt x="424" y="321"/>
                  <a:pt x="424" y="321"/>
                  <a:pt x="424" y="321"/>
                </a:cubicBezTo>
                <a:cubicBezTo>
                  <a:pt x="424" y="319"/>
                  <a:pt x="424" y="319"/>
                  <a:pt x="424" y="319"/>
                </a:cubicBezTo>
                <a:cubicBezTo>
                  <a:pt x="424" y="318"/>
                  <a:pt x="424" y="318"/>
                  <a:pt x="424" y="318"/>
                </a:cubicBezTo>
                <a:cubicBezTo>
                  <a:pt x="424" y="317"/>
                  <a:pt x="424" y="317"/>
                  <a:pt x="424" y="317"/>
                </a:cubicBezTo>
                <a:cubicBezTo>
                  <a:pt x="424" y="318"/>
                  <a:pt x="424" y="318"/>
                  <a:pt x="424" y="318"/>
                </a:cubicBezTo>
                <a:cubicBezTo>
                  <a:pt x="423" y="318"/>
                  <a:pt x="423" y="318"/>
                  <a:pt x="423" y="318"/>
                </a:cubicBezTo>
                <a:cubicBezTo>
                  <a:pt x="422" y="317"/>
                  <a:pt x="422" y="317"/>
                  <a:pt x="422" y="317"/>
                </a:cubicBezTo>
                <a:cubicBezTo>
                  <a:pt x="422" y="315"/>
                  <a:pt x="422" y="315"/>
                  <a:pt x="422" y="315"/>
                </a:cubicBezTo>
                <a:cubicBezTo>
                  <a:pt x="422" y="316"/>
                  <a:pt x="422" y="316"/>
                  <a:pt x="422" y="316"/>
                </a:cubicBezTo>
                <a:cubicBezTo>
                  <a:pt x="422" y="317"/>
                  <a:pt x="422" y="317"/>
                  <a:pt x="422" y="317"/>
                </a:cubicBezTo>
                <a:cubicBezTo>
                  <a:pt x="421" y="316"/>
                  <a:pt x="421" y="316"/>
                  <a:pt x="421" y="316"/>
                </a:cubicBezTo>
                <a:cubicBezTo>
                  <a:pt x="421" y="316"/>
                  <a:pt x="421" y="316"/>
                  <a:pt x="421" y="316"/>
                </a:cubicBezTo>
                <a:cubicBezTo>
                  <a:pt x="421" y="314"/>
                  <a:pt x="421" y="314"/>
                  <a:pt x="421" y="314"/>
                </a:cubicBezTo>
                <a:cubicBezTo>
                  <a:pt x="420" y="314"/>
                  <a:pt x="420" y="314"/>
                  <a:pt x="420" y="314"/>
                </a:cubicBezTo>
                <a:cubicBezTo>
                  <a:pt x="420" y="315"/>
                  <a:pt x="420" y="315"/>
                  <a:pt x="420" y="315"/>
                </a:cubicBezTo>
                <a:cubicBezTo>
                  <a:pt x="421" y="315"/>
                  <a:pt x="421" y="315"/>
                  <a:pt x="421" y="315"/>
                </a:cubicBezTo>
                <a:cubicBezTo>
                  <a:pt x="420" y="316"/>
                  <a:pt x="420" y="316"/>
                  <a:pt x="420" y="316"/>
                </a:cubicBezTo>
                <a:cubicBezTo>
                  <a:pt x="420" y="316"/>
                  <a:pt x="420" y="316"/>
                  <a:pt x="420" y="316"/>
                </a:cubicBezTo>
                <a:cubicBezTo>
                  <a:pt x="419" y="315"/>
                  <a:pt x="419" y="315"/>
                  <a:pt x="419" y="315"/>
                </a:cubicBezTo>
                <a:cubicBezTo>
                  <a:pt x="419" y="314"/>
                  <a:pt x="419" y="314"/>
                  <a:pt x="419" y="314"/>
                </a:cubicBezTo>
                <a:cubicBezTo>
                  <a:pt x="419" y="313"/>
                  <a:pt x="419" y="313"/>
                  <a:pt x="419" y="313"/>
                </a:cubicBezTo>
                <a:cubicBezTo>
                  <a:pt x="418" y="311"/>
                  <a:pt x="418" y="311"/>
                  <a:pt x="418" y="311"/>
                </a:cubicBezTo>
                <a:cubicBezTo>
                  <a:pt x="418" y="311"/>
                  <a:pt x="418" y="311"/>
                  <a:pt x="418" y="311"/>
                </a:cubicBezTo>
                <a:cubicBezTo>
                  <a:pt x="418" y="312"/>
                  <a:pt x="418" y="312"/>
                  <a:pt x="418" y="312"/>
                </a:cubicBezTo>
                <a:cubicBezTo>
                  <a:pt x="418" y="314"/>
                  <a:pt x="418" y="314"/>
                  <a:pt x="418" y="314"/>
                </a:cubicBezTo>
                <a:cubicBezTo>
                  <a:pt x="418" y="315"/>
                  <a:pt x="418" y="315"/>
                  <a:pt x="418" y="315"/>
                </a:cubicBezTo>
                <a:cubicBezTo>
                  <a:pt x="418" y="315"/>
                  <a:pt x="418" y="315"/>
                  <a:pt x="418" y="315"/>
                </a:cubicBezTo>
                <a:cubicBezTo>
                  <a:pt x="417" y="313"/>
                  <a:pt x="417" y="313"/>
                  <a:pt x="417" y="313"/>
                </a:cubicBezTo>
                <a:cubicBezTo>
                  <a:pt x="416" y="313"/>
                  <a:pt x="416" y="313"/>
                  <a:pt x="416" y="313"/>
                </a:cubicBezTo>
                <a:cubicBezTo>
                  <a:pt x="416" y="312"/>
                  <a:pt x="416" y="312"/>
                  <a:pt x="416" y="312"/>
                </a:cubicBezTo>
                <a:cubicBezTo>
                  <a:pt x="415" y="312"/>
                  <a:pt x="415" y="312"/>
                  <a:pt x="415" y="312"/>
                </a:cubicBezTo>
                <a:cubicBezTo>
                  <a:pt x="415" y="310"/>
                  <a:pt x="415" y="310"/>
                  <a:pt x="415" y="310"/>
                </a:cubicBezTo>
                <a:cubicBezTo>
                  <a:pt x="414" y="309"/>
                  <a:pt x="414" y="309"/>
                  <a:pt x="414" y="309"/>
                </a:cubicBezTo>
                <a:cubicBezTo>
                  <a:pt x="414" y="309"/>
                  <a:pt x="414" y="309"/>
                  <a:pt x="414" y="309"/>
                </a:cubicBezTo>
                <a:cubicBezTo>
                  <a:pt x="414" y="308"/>
                  <a:pt x="414" y="308"/>
                  <a:pt x="414" y="308"/>
                </a:cubicBezTo>
                <a:cubicBezTo>
                  <a:pt x="413" y="308"/>
                  <a:pt x="413" y="308"/>
                  <a:pt x="413" y="308"/>
                </a:cubicBezTo>
                <a:cubicBezTo>
                  <a:pt x="413" y="309"/>
                  <a:pt x="413" y="309"/>
                  <a:pt x="413" y="309"/>
                </a:cubicBezTo>
                <a:cubicBezTo>
                  <a:pt x="413" y="310"/>
                  <a:pt x="413" y="310"/>
                  <a:pt x="413" y="310"/>
                </a:cubicBezTo>
                <a:cubicBezTo>
                  <a:pt x="413" y="311"/>
                  <a:pt x="413" y="311"/>
                  <a:pt x="413" y="311"/>
                </a:cubicBezTo>
                <a:cubicBezTo>
                  <a:pt x="413" y="311"/>
                  <a:pt x="413" y="311"/>
                  <a:pt x="413" y="311"/>
                </a:cubicBezTo>
                <a:cubicBezTo>
                  <a:pt x="413" y="310"/>
                  <a:pt x="413" y="310"/>
                  <a:pt x="413" y="310"/>
                </a:cubicBezTo>
                <a:cubicBezTo>
                  <a:pt x="412" y="309"/>
                  <a:pt x="412" y="309"/>
                  <a:pt x="412" y="309"/>
                </a:cubicBezTo>
                <a:cubicBezTo>
                  <a:pt x="411" y="309"/>
                  <a:pt x="411" y="309"/>
                  <a:pt x="411" y="309"/>
                </a:cubicBezTo>
                <a:cubicBezTo>
                  <a:pt x="410" y="307"/>
                  <a:pt x="410" y="307"/>
                  <a:pt x="410" y="307"/>
                </a:cubicBezTo>
                <a:cubicBezTo>
                  <a:pt x="410" y="306"/>
                  <a:pt x="410" y="306"/>
                  <a:pt x="410" y="306"/>
                </a:cubicBezTo>
                <a:cubicBezTo>
                  <a:pt x="409" y="306"/>
                  <a:pt x="409" y="306"/>
                  <a:pt x="409" y="306"/>
                </a:cubicBezTo>
                <a:cubicBezTo>
                  <a:pt x="408" y="306"/>
                  <a:pt x="408" y="306"/>
                  <a:pt x="408" y="306"/>
                </a:cubicBezTo>
                <a:cubicBezTo>
                  <a:pt x="407" y="306"/>
                  <a:pt x="407" y="306"/>
                  <a:pt x="407" y="306"/>
                </a:cubicBezTo>
                <a:cubicBezTo>
                  <a:pt x="407" y="307"/>
                  <a:pt x="407" y="307"/>
                  <a:pt x="407" y="307"/>
                </a:cubicBezTo>
                <a:cubicBezTo>
                  <a:pt x="408" y="309"/>
                  <a:pt x="408" y="309"/>
                  <a:pt x="408" y="309"/>
                </a:cubicBezTo>
                <a:cubicBezTo>
                  <a:pt x="409" y="310"/>
                  <a:pt x="409" y="310"/>
                  <a:pt x="409" y="310"/>
                </a:cubicBezTo>
                <a:cubicBezTo>
                  <a:pt x="409" y="311"/>
                  <a:pt x="409" y="311"/>
                  <a:pt x="409" y="311"/>
                </a:cubicBezTo>
                <a:cubicBezTo>
                  <a:pt x="409" y="311"/>
                  <a:pt x="409" y="311"/>
                  <a:pt x="409" y="311"/>
                </a:cubicBezTo>
                <a:cubicBezTo>
                  <a:pt x="410" y="313"/>
                  <a:pt x="410" y="313"/>
                  <a:pt x="410" y="313"/>
                </a:cubicBezTo>
                <a:cubicBezTo>
                  <a:pt x="410" y="313"/>
                  <a:pt x="410" y="313"/>
                  <a:pt x="410" y="313"/>
                </a:cubicBezTo>
                <a:cubicBezTo>
                  <a:pt x="412" y="313"/>
                  <a:pt x="412" y="313"/>
                  <a:pt x="412" y="313"/>
                </a:cubicBezTo>
                <a:cubicBezTo>
                  <a:pt x="412" y="314"/>
                  <a:pt x="412" y="314"/>
                  <a:pt x="412" y="314"/>
                </a:cubicBezTo>
                <a:cubicBezTo>
                  <a:pt x="412" y="315"/>
                  <a:pt x="412" y="315"/>
                  <a:pt x="412" y="315"/>
                </a:cubicBezTo>
                <a:cubicBezTo>
                  <a:pt x="413" y="315"/>
                  <a:pt x="413" y="315"/>
                  <a:pt x="413" y="315"/>
                </a:cubicBezTo>
                <a:cubicBezTo>
                  <a:pt x="413" y="315"/>
                  <a:pt x="413" y="315"/>
                  <a:pt x="413" y="315"/>
                </a:cubicBezTo>
                <a:cubicBezTo>
                  <a:pt x="413" y="316"/>
                  <a:pt x="413" y="316"/>
                  <a:pt x="413" y="316"/>
                </a:cubicBezTo>
                <a:cubicBezTo>
                  <a:pt x="414" y="316"/>
                  <a:pt x="414" y="316"/>
                  <a:pt x="414" y="316"/>
                </a:cubicBezTo>
                <a:cubicBezTo>
                  <a:pt x="414" y="317"/>
                  <a:pt x="414" y="317"/>
                  <a:pt x="414" y="317"/>
                </a:cubicBezTo>
                <a:cubicBezTo>
                  <a:pt x="415" y="318"/>
                  <a:pt x="415" y="318"/>
                  <a:pt x="415" y="318"/>
                </a:cubicBezTo>
                <a:cubicBezTo>
                  <a:pt x="415" y="319"/>
                  <a:pt x="415" y="319"/>
                  <a:pt x="415" y="319"/>
                </a:cubicBezTo>
                <a:cubicBezTo>
                  <a:pt x="416" y="319"/>
                  <a:pt x="416" y="319"/>
                  <a:pt x="416" y="319"/>
                </a:cubicBezTo>
                <a:cubicBezTo>
                  <a:pt x="416" y="319"/>
                  <a:pt x="416" y="319"/>
                  <a:pt x="416" y="319"/>
                </a:cubicBezTo>
                <a:cubicBezTo>
                  <a:pt x="417" y="320"/>
                  <a:pt x="417" y="320"/>
                  <a:pt x="417" y="320"/>
                </a:cubicBezTo>
                <a:cubicBezTo>
                  <a:pt x="416" y="322"/>
                  <a:pt x="416" y="322"/>
                  <a:pt x="416" y="322"/>
                </a:cubicBezTo>
                <a:cubicBezTo>
                  <a:pt x="416" y="322"/>
                  <a:pt x="416" y="322"/>
                  <a:pt x="416" y="322"/>
                </a:cubicBezTo>
                <a:cubicBezTo>
                  <a:pt x="417" y="322"/>
                  <a:pt x="417" y="322"/>
                  <a:pt x="417" y="322"/>
                </a:cubicBezTo>
                <a:cubicBezTo>
                  <a:pt x="417" y="323"/>
                  <a:pt x="417" y="323"/>
                  <a:pt x="417" y="323"/>
                </a:cubicBezTo>
                <a:cubicBezTo>
                  <a:pt x="418" y="322"/>
                  <a:pt x="418" y="322"/>
                  <a:pt x="418" y="322"/>
                </a:cubicBezTo>
                <a:cubicBezTo>
                  <a:pt x="418" y="322"/>
                  <a:pt x="418" y="322"/>
                  <a:pt x="418" y="322"/>
                </a:cubicBezTo>
                <a:cubicBezTo>
                  <a:pt x="418" y="324"/>
                  <a:pt x="418" y="324"/>
                  <a:pt x="418" y="324"/>
                </a:cubicBezTo>
                <a:cubicBezTo>
                  <a:pt x="418" y="324"/>
                  <a:pt x="418" y="324"/>
                  <a:pt x="418" y="324"/>
                </a:cubicBezTo>
                <a:cubicBezTo>
                  <a:pt x="419" y="324"/>
                  <a:pt x="419" y="324"/>
                  <a:pt x="419" y="324"/>
                </a:cubicBezTo>
                <a:cubicBezTo>
                  <a:pt x="419" y="324"/>
                  <a:pt x="419" y="324"/>
                  <a:pt x="419" y="324"/>
                </a:cubicBezTo>
                <a:cubicBezTo>
                  <a:pt x="419" y="325"/>
                  <a:pt x="419" y="325"/>
                  <a:pt x="419" y="325"/>
                </a:cubicBezTo>
                <a:cubicBezTo>
                  <a:pt x="418" y="325"/>
                  <a:pt x="418" y="325"/>
                  <a:pt x="418" y="325"/>
                </a:cubicBezTo>
                <a:cubicBezTo>
                  <a:pt x="417" y="325"/>
                  <a:pt x="417" y="325"/>
                  <a:pt x="417" y="325"/>
                </a:cubicBezTo>
                <a:cubicBezTo>
                  <a:pt x="418" y="326"/>
                  <a:pt x="418" y="326"/>
                  <a:pt x="418" y="326"/>
                </a:cubicBezTo>
                <a:cubicBezTo>
                  <a:pt x="418" y="327"/>
                  <a:pt x="418" y="327"/>
                  <a:pt x="418" y="327"/>
                </a:cubicBezTo>
                <a:cubicBezTo>
                  <a:pt x="418" y="328"/>
                  <a:pt x="418" y="328"/>
                  <a:pt x="418" y="328"/>
                </a:cubicBezTo>
                <a:cubicBezTo>
                  <a:pt x="418" y="328"/>
                  <a:pt x="418" y="328"/>
                  <a:pt x="418" y="328"/>
                </a:cubicBezTo>
                <a:close/>
                <a:moveTo>
                  <a:pt x="313" y="297"/>
                </a:moveTo>
                <a:cubicBezTo>
                  <a:pt x="313" y="297"/>
                  <a:pt x="314" y="297"/>
                  <a:pt x="314" y="297"/>
                </a:cubicBezTo>
                <a:cubicBezTo>
                  <a:pt x="314" y="296"/>
                  <a:pt x="314" y="296"/>
                  <a:pt x="314" y="296"/>
                </a:cubicBezTo>
                <a:cubicBezTo>
                  <a:pt x="315" y="296"/>
                  <a:pt x="315" y="296"/>
                  <a:pt x="315" y="296"/>
                </a:cubicBezTo>
                <a:cubicBezTo>
                  <a:pt x="315" y="296"/>
                  <a:pt x="315" y="296"/>
                  <a:pt x="315" y="296"/>
                </a:cubicBezTo>
                <a:cubicBezTo>
                  <a:pt x="316" y="297"/>
                  <a:pt x="316" y="297"/>
                  <a:pt x="316" y="297"/>
                </a:cubicBezTo>
                <a:cubicBezTo>
                  <a:pt x="317" y="297"/>
                  <a:pt x="317" y="297"/>
                  <a:pt x="317" y="297"/>
                </a:cubicBezTo>
                <a:cubicBezTo>
                  <a:pt x="317" y="296"/>
                  <a:pt x="317" y="296"/>
                  <a:pt x="317" y="296"/>
                </a:cubicBezTo>
                <a:cubicBezTo>
                  <a:pt x="318" y="296"/>
                  <a:pt x="318" y="296"/>
                  <a:pt x="318" y="296"/>
                </a:cubicBezTo>
                <a:cubicBezTo>
                  <a:pt x="319" y="297"/>
                  <a:pt x="319" y="297"/>
                  <a:pt x="319" y="297"/>
                </a:cubicBezTo>
                <a:cubicBezTo>
                  <a:pt x="319" y="298"/>
                  <a:pt x="319" y="298"/>
                  <a:pt x="319" y="298"/>
                </a:cubicBezTo>
                <a:cubicBezTo>
                  <a:pt x="318" y="299"/>
                  <a:pt x="318" y="299"/>
                  <a:pt x="318" y="299"/>
                </a:cubicBezTo>
                <a:cubicBezTo>
                  <a:pt x="318" y="300"/>
                  <a:pt x="318" y="300"/>
                  <a:pt x="318" y="300"/>
                </a:cubicBezTo>
                <a:cubicBezTo>
                  <a:pt x="317" y="301"/>
                  <a:pt x="317" y="301"/>
                  <a:pt x="317" y="301"/>
                </a:cubicBezTo>
                <a:cubicBezTo>
                  <a:pt x="317" y="302"/>
                  <a:pt x="317" y="302"/>
                  <a:pt x="317" y="302"/>
                </a:cubicBezTo>
                <a:cubicBezTo>
                  <a:pt x="318" y="303"/>
                  <a:pt x="318" y="303"/>
                  <a:pt x="318" y="303"/>
                </a:cubicBezTo>
                <a:cubicBezTo>
                  <a:pt x="318" y="303"/>
                  <a:pt x="318" y="303"/>
                  <a:pt x="318" y="303"/>
                </a:cubicBezTo>
                <a:cubicBezTo>
                  <a:pt x="319" y="303"/>
                  <a:pt x="319" y="303"/>
                  <a:pt x="319" y="303"/>
                </a:cubicBezTo>
                <a:cubicBezTo>
                  <a:pt x="320" y="303"/>
                  <a:pt x="320" y="303"/>
                  <a:pt x="320" y="303"/>
                </a:cubicBezTo>
                <a:cubicBezTo>
                  <a:pt x="320" y="302"/>
                  <a:pt x="320" y="302"/>
                  <a:pt x="320" y="302"/>
                </a:cubicBezTo>
                <a:cubicBezTo>
                  <a:pt x="321" y="303"/>
                  <a:pt x="321" y="303"/>
                  <a:pt x="321" y="303"/>
                </a:cubicBezTo>
                <a:cubicBezTo>
                  <a:pt x="322" y="302"/>
                  <a:pt x="322" y="302"/>
                  <a:pt x="322" y="302"/>
                </a:cubicBezTo>
                <a:cubicBezTo>
                  <a:pt x="323" y="301"/>
                  <a:pt x="323" y="301"/>
                  <a:pt x="323" y="301"/>
                </a:cubicBezTo>
                <a:cubicBezTo>
                  <a:pt x="323" y="302"/>
                  <a:pt x="323" y="302"/>
                  <a:pt x="323" y="302"/>
                </a:cubicBezTo>
                <a:cubicBezTo>
                  <a:pt x="324" y="301"/>
                  <a:pt x="324" y="301"/>
                  <a:pt x="324" y="301"/>
                </a:cubicBezTo>
                <a:cubicBezTo>
                  <a:pt x="325" y="299"/>
                  <a:pt x="325" y="299"/>
                  <a:pt x="325" y="299"/>
                </a:cubicBezTo>
                <a:cubicBezTo>
                  <a:pt x="326" y="298"/>
                  <a:pt x="326" y="298"/>
                  <a:pt x="326" y="298"/>
                </a:cubicBezTo>
                <a:cubicBezTo>
                  <a:pt x="326" y="298"/>
                  <a:pt x="326" y="298"/>
                  <a:pt x="326" y="298"/>
                </a:cubicBezTo>
                <a:cubicBezTo>
                  <a:pt x="327" y="298"/>
                  <a:pt x="327" y="298"/>
                  <a:pt x="327" y="298"/>
                </a:cubicBezTo>
                <a:cubicBezTo>
                  <a:pt x="327" y="298"/>
                  <a:pt x="327" y="298"/>
                  <a:pt x="327" y="298"/>
                </a:cubicBezTo>
                <a:cubicBezTo>
                  <a:pt x="328" y="297"/>
                  <a:pt x="328" y="297"/>
                  <a:pt x="328" y="297"/>
                </a:cubicBezTo>
                <a:cubicBezTo>
                  <a:pt x="329" y="297"/>
                  <a:pt x="329" y="297"/>
                  <a:pt x="329" y="297"/>
                </a:cubicBezTo>
                <a:cubicBezTo>
                  <a:pt x="330" y="297"/>
                  <a:pt x="330" y="297"/>
                  <a:pt x="330" y="297"/>
                </a:cubicBezTo>
                <a:cubicBezTo>
                  <a:pt x="330" y="296"/>
                  <a:pt x="330" y="296"/>
                  <a:pt x="330" y="296"/>
                </a:cubicBezTo>
                <a:cubicBezTo>
                  <a:pt x="330" y="294"/>
                  <a:pt x="330" y="294"/>
                  <a:pt x="330" y="294"/>
                </a:cubicBezTo>
                <a:cubicBezTo>
                  <a:pt x="331" y="293"/>
                  <a:pt x="331" y="293"/>
                  <a:pt x="331" y="293"/>
                </a:cubicBezTo>
                <a:cubicBezTo>
                  <a:pt x="331" y="292"/>
                  <a:pt x="331" y="292"/>
                  <a:pt x="331" y="292"/>
                </a:cubicBezTo>
                <a:cubicBezTo>
                  <a:pt x="332" y="292"/>
                  <a:pt x="332" y="292"/>
                  <a:pt x="332" y="292"/>
                </a:cubicBezTo>
                <a:cubicBezTo>
                  <a:pt x="333" y="293"/>
                  <a:pt x="333" y="293"/>
                  <a:pt x="333" y="293"/>
                </a:cubicBezTo>
                <a:cubicBezTo>
                  <a:pt x="333" y="292"/>
                  <a:pt x="333" y="292"/>
                  <a:pt x="333" y="292"/>
                </a:cubicBezTo>
                <a:cubicBezTo>
                  <a:pt x="334" y="292"/>
                  <a:pt x="334" y="292"/>
                  <a:pt x="334" y="292"/>
                </a:cubicBezTo>
                <a:cubicBezTo>
                  <a:pt x="335" y="292"/>
                  <a:pt x="335" y="292"/>
                  <a:pt x="335" y="292"/>
                </a:cubicBezTo>
                <a:cubicBezTo>
                  <a:pt x="335" y="293"/>
                  <a:pt x="335" y="293"/>
                  <a:pt x="335" y="293"/>
                </a:cubicBezTo>
                <a:cubicBezTo>
                  <a:pt x="334" y="294"/>
                  <a:pt x="334" y="294"/>
                  <a:pt x="334" y="294"/>
                </a:cubicBezTo>
                <a:cubicBezTo>
                  <a:pt x="333" y="295"/>
                  <a:pt x="333" y="295"/>
                  <a:pt x="333" y="295"/>
                </a:cubicBezTo>
                <a:cubicBezTo>
                  <a:pt x="334" y="295"/>
                  <a:pt x="334" y="295"/>
                  <a:pt x="334" y="295"/>
                </a:cubicBezTo>
                <a:cubicBezTo>
                  <a:pt x="336" y="295"/>
                  <a:pt x="336" y="295"/>
                  <a:pt x="336" y="295"/>
                </a:cubicBezTo>
                <a:cubicBezTo>
                  <a:pt x="337" y="296"/>
                  <a:pt x="337" y="296"/>
                  <a:pt x="337" y="296"/>
                </a:cubicBezTo>
                <a:cubicBezTo>
                  <a:pt x="337" y="297"/>
                  <a:pt x="337" y="297"/>
                  <a:pt x="337" y="297"/>
                </a:cubicBezTo>
                <a:cubicBezTo>
                  <a:pt x="337" y="298"/>
                  <a:pt x="337" y="298"/>
                  <a:pt x="337" y="298"/>
                </a:cubicBezTo>
                <a:cubicBezTo>
                  <a:pt x="336" y="298"/>
                  <a:pt x="336" y="298"/>
                  <a:pt x="336" y="298"/>
                </a:cubicBezTo>
                <a:cubicBezTo>
                  <a:pt x="336" y="299"/>
                  <a:pt x="336" y="299"/>
                  <a:pt x="336" y="299"/>
                </a:cubicBezTo>
                <a:cubicBezTo>
                  <a:pt x="336" y="300"/>
                  <a:pt x="336" y="300"/>
                  <a:pt x="336" y="300"/>
                </a:cubicBezTo>
                <a:cubicBezTo>
                  <a:pt x="337" y="299"/>
                  <a:pt x="337" y="299"/>
                  <a:pt x="337" y="299"/>
                </a:cubicBezTo>
                <a:cubicBezTo>
                  <a:pt x="338" y="299"/>
                  <a:pt x="338" y="299"/>
                  <a:pt x="338" y="299"/>
                </a:cubicBezTo>
                <a:cubicBezTo>
                  <a:pt x="338" y="300"/>
                  <a:pt x="338" y="300"/>
                  <a:pt x="338" y="300"/>
                </a:cubicBezTo>
                <a:cubicBezTo>
                  <a:pt x="339" y="300"/>
                  <a:pt x="339" y="300"/>
                  <a:pt x="339" y="300"/>
                </a:cubicBezTo>
                <a:cubicBezTo>
                  <a:pt x="339" y="300"/>
                  <a:pt x="339" y="300"/>
                  <a:pt x="339" y="300"/>
                </a:cubicBezTo>
                <a:cubicBezTo>
                  <a:pt x="340" y="300"/>
                  <a:pt x="340" y="300"/>
                  <a:pt x="340" y="300"/>
                </a:cubicBezTo>
                <a:cubicBezTo>
                  <a:pt x="341" y="301"/>
                  <a:pt x="341" y="301"/>
                  <a:pt x="341" y="301"/>
                </a:cubicBezTo>
                <a:cubicBezTo>
                  <a:pt x="342" y="301"/>
                  <a:pt x="342" y="301"/>
                  <a:pt x="342" y="301"/>
                </a:cubicBezTo>
                <a:cubicBezTo>
                  <a:pt x="343" y="302"/>
                  <a:pt x="343" y="302"/>
                  <a:pt x="343" y="302"/>
                </a:cubicBezTo>
                <a:cubicBezTo>
                  <a:pt x="344" y="302"/>
                  <a:pt x="344" y="302"/>
                  <a:pt x="344" y="302"/>
                </a:cubicBezTo>
                <a:cubicBezTo>
                  <a:pt x="345" y="300"/>
                  <a:pt x="345" y="300"/>
                  <a:pt x="345" y="300"/>
                </a:cubicBezTo>
                <a:cubicBezTo>
                  <a:pt x="345" y="300"/>
                  <a:pt x="345" y="300"/>
                  <a:pt x="345" y="300"/>
                </a:cubicBezTo>
                <a:cubicBezTo>
                  <a:pt x="346" y="299"/>
                  <a:pt x="346" y="299"/>
                  <a:pt x="346" y="299"/>
                </a:cubicBezTo>
                <a:cubicBezTo>
                  <a:pt x="347" y="299"/>
                  <a:pt x="347" y="299"/>
                  <a:pt x="347" y="299"/>
                </a:cubicBezTo>
                <a:cubicBezTo>
                  <a:pt x="348" y="298"/>
                  <a:pt x="348" y="298"/>
                  <a:pt x="348" y="298"/>
                </a:cubicBezTo>
                <a:cubicBezTo>
                  <a:pt x="347" y="298"/>
                  <a:pt x="347" y="298"/>
                  <a:pt x="347" y="298"/>
                </a:cubicBezTo>
                <a:cubicBezTo>
                  <a:pt x="346" y="297"/>
                  <a:pt x="346" y="297"/>
                  <a:pt x="346" y="297"/>
                </a:cubicBezTo>
                <a:cubicBezTo>
                  <a:pt x="347" y="297"/>
                  <a:pt x="347" y="297"/>
                  <a:pt x="347" y="297"/>
                </a:cubicBezTo>
                <a:cubicBezTo>
                  <a:pt x="347" y="296"/>
                  <a:pt x="347" y="296"/>
                  <a:pt x="347" y="296"/>
                </a:cubicBezTo>
                <a:cubicBezTo>
                  <a:pt x="347" y="296"/>
                  <a:pt x="347" y="296"/>
                  <a:pt x="347" y="296"/>
                </a:cubicBezTo>
                <a:cubicBezTo>
                  <a:pt x="346" y="295"/>
                  <a:pt x="346" y="295"/>
                  <a:pt x="346" y="295"/>
                </a:cubicBezTo>
                <a:cubicBezTo>
                  <a:pt x="346" y="295"/>
                  <a:pt x="346" y="295"/>
                  <a:pt x="346" y="295"/>
                </a:cubicBezTo>
                <a:cubicBezTo>
                  <a:pt x="346" y="296"/>
                  <a:pt x="346" y="296"/>
                  <a:pt x="346" y="296"/>
                </a:cubicBezTo>
                <a:cubicBezTo>
                  <a:pt x="345" y="296"/>
                  <a:pt x="345" y="296"/>
                  <a:pt x="345" y="296"/>
                </a:cubicBezTo>
                <a:cubicBezTo>
                  <a:pt x="345" y="296"/>
                  <a:pt x="345" y="296"/>
                  <a:pt x="345" y="296"/>
                </a:cubicBezTo>
                <a:cubicBezTo>
                  <a:pt x="344" y="295"/>
                  <a:pt x="344" y="295"/>
                  <a:pt x="344" y="295"/>
                </a:cubicBezTo>
                <a:cubicBezTo>
                  <a:pt x="344" y="295"/>
                  <a:pt x="344" y="295"/>
                  <a:pt x="344" y="295"/>
                </a:cubicBezTo>
                <a:cubicBezTo>
                  <a:pt x="343" y="295"/>
                  <a:pt x="343" y="295"/>
                  <a:pt x="343" y="295"/>
                </a:cubicBezTo>
                <a:cubicBezTo>
                  <a:pt x="342" y="296"/>
                  <a:pt x="342" y="296"/>
                  <a:pt x="342" y="296"/>
                </a:cubicBezTo>
                <a:cubicBezTo>
                  <a:pt x="340" y="296"/>
                  <a:pt x="340" y="296"/>
                  <a:pt x="340" y="296"/>
                </a:cubicBezTo>
                <a:cubicBezTo>
                  <a:pt x="340" y="295"/>
                  <a:pt x="340" y="295"/>
                  <a:pt x="340" y="295"/>
                </a:cubicBezTo>
                <a:cubicBezTo>
                  <a:pt x="341" y="294"/>
                  <a:pt x="341" y="294"/>
                  <a:pt x="341" y="294"/>
                </a:cubicBezTo>
                <a:cubicBezTo>
                  <a:pt x="341" y="294"/>
                  <a:pt x="341" y="294"/>
                  <a:pt x="341" y="294"/>
                </a:cubicBezTo>
                <a:cubicBezTo>
                  <a:pt x="342" y="294"/>
                  <a:pt x="342" y="294"/>
                  <a:pt x="342" y="294"/>
                </a:cubicBezTo>
                <a:cubicBezTo>
                  <a:pt x="342" y="293"/>
                  <a:pt x="342" y="293"/>
                  <a:pt x="342" y="293"/>
                </a:cubicBezTo>
                <a:cubicBezTo>
                  <a:pt x="342" y="292"/>
                  <a:pt x="342" y="292"/>
                  <a:pt x="342" y="292"/>
                </a:cubicBezTo>
                <a:cubicBezTo>
                  <a:pt x="342" y="291"/>
                  <a:pt x="342" y="291"/>
                  <a:pt x="342" y="291"/>
                </a:cubicBezTo>
                <a:cubicBezTo>
                  <a:pt x="342" y="290"/>
                  <a:pt x="342" y="290"/>
                  <a:pt x="342" y="290"/>
                </a:cubicBezTo>
                <a:cubicBezTo>
                  <a:pt x="342" y="290"/>
                  <a:pt x="342" y="290"/>
                  <a:pt x="342" y="290"/>
                </a:cubicBezTo>
                <a:cubicBezTo>
                  <a:pt x="342" y="289"/>
                  <a:pt x="342" y="289"/>
                  <a:pt x="342" y="289"/>
                </a:cubicBezTo>
                <a:cubicBezTo>
                  <a:pt x="342" y="288"/>
                  <a:pt x="342" y="288"/>
                  <a:pt x="342" y="288"/>
                </a:cubicBezTo>
                <a:cubicBezTo>
                  <a:pt x="340" y="286"/>
                  <a:pt x="340" y="286"/>
                  <a:pt x="340" y="286"/>
                </a:cubicBezTo>
                <a:cubicBezTo>
                  <a:pt x="338" y="286"/>
                  <a:pt x="338" y="286"/>
                  <a:pt x="338" y="286"/>
                </a:cubicBezTo>
                <a:cubicBezTo>
                  <a:pt x="338" y="285"/>
                  <a:pt x="338" y="285"/>
                  <a:pt x="338" y="285"/>
                </a:cubicBezTo>
                <a:cubicBezTo>
                  <a:pt x="338" y="284"/>
                  <a:pt x="338" y="284"/>
                  <a:pt x="338" y="284"/>
                </a:cubicBezTo>
                <a:cubicBezTo>
                  <a:pt x="337" y="284"/>
                  <a:pt x="337" y="284"/>
                  <a:pt x="337" y="284"/>
                </a:cubicBezTo>
                <a:cubicBezTo>
                  <a:pt x="337" y="283"/>
                  <a:pt x="337" y="283"/>
                  <a:pt x="337" y="283"/>
                </a:cubicBezTo>
                <a:cubicBezTo>
                  <a:pt x="337" y="282"/>
                  <a:pt x="337" y="282"/>
                  <a:pt x="337" y="282"/>
                </a:cubicBezTo>
                <a:cubicBezTo>
                  <a:pt x="337" y="281"/>
                  <a:pt x="337" y="281"/>
                  <a:pt x="337" y="281"/>
                </a:cubicBezTo>
                <a:cubicBezTo>
                  <a:pt x="335" y="281"/>
                  <a:pt x="335" y="281"/>
                  <a:pt x="335" y="281"/>
                </a:cubicBezTo>
                <a:cubicBezTo>
                  <a:pt x="333" y="280"/>
                  <a:pt x="333" y="280"/>
                  <a:pt x="333" y="280"/>
                </a:cubicBezTo>
                <a:cubicBezTo>
                  <a:pt x="332" y="279"/>
                  <a:pt x="332" y="279"/>
                  <a:pt x="332" y="279"/>
                </a:cubicBezTo>
                <a:cubicBezTo>
                  <a:pt x="333" y="278"/>
                  <a:pt x="333" y="278"/>
                  <a:pt x="333" y="278"/>
                </a:cubicBezTo>
                <a:cubicBezTo>
                  <a:pt x="333" y="277"/>
                  <a:pt x="333" y="277"/>
                  <a:pt x="333" y="277"/>
                </a:cubicBezTo>
                <a:cubicBezTo>
                  <a:pt x="332" y="277"/>
                  <a:pt x="332" y="277"/>
                  <a:pt x="332" y="277"/>
                </a:cubicBezTo>
                <a:cubicBezTo>
                  <a:pt x="332" y="276"/>
                  <a:pt x="332" y="276"/>
                  <a:pt x="332" y="276"/>
                </a:cubicBezTo>
                <a:cubicBezTo>
                  <a:pt x="331" y="276"/>
                  <a:pt x="331" y="276"/>
                  <a:pt x="331" y="276"/>
                </a:cubicBezTo>
                <a:cubicBezTo>
                  <a:pt x="330" y="277"/>
                  <a:pt x="330" y="277"/>
                  <a:pt x="330" y="277"/>
                </a:cubicBezTo>
                <a:cubicBezTo>
                  <a:pt x="330" y="278"/>
                  <a:pt x="330" y="278"/>
                  <a:pt x="330" y="278"/>
                </a:cubicBezTo>
                <a:cubicBezTo>
                  <a:pt x="329" y="279"/>
                  <a:pt x="329" y="279"/>
                  <a:pt x="329" y="279"/>
                </a:cubicBezTo>
                <a:cubicBezTo>
                  <a:pt x="329" y="278"/>
                  <a:pt x="329" y="278"/>
                  <a:pt x="329" y="278"/>
                </a:cubicBezTo>
                <a:cubicBezTo>
                  <a:pt x="329" y="277"/>
                  <a:pt x="329" y="277"/>
                  <a:pt x="329" y="277"/>
                </a:cubicBezTo>
                <a:cubicBezTo>
                  <a:pt x="328" y="276"/>
                  <a:pt x="328" y="276"/>
                  <a:pt x="328" y="276"/>
                </a:cubicBezTo>
                <a:cubicBezTo>
                  <a:pt x="328" y="275"/>
                  <a:pt x="328" y="275"/>
                  <a:pt x="328" y="275"/>
                </a:cubicBezTo>
                <a:cubicBezTo>
                  <a:pt x="329" y="275"/>
                  <a:pt x="329" y="275"/>
                  <a:pt x="329" y="275"/>
                </a:cubicBezTo>
                <a:cubicBezTo>
                  <a:pt x="330" y="275"/>
                  <a:pt x="330" y="275"/>
                  <a:pt x="330" y="275"/>
                </a:cubicBezTo>
                <a:cubicBezTo>
                  <a:pt x="330" y="274"/>
                  <a:pt x="330" y="274"/>
                  <a:pt x="330" y="274"/>
                </a:cubicBezTo>
                <a:cubicBezTo>
                  <a:pt x="330" y="273"/>
                  <a:pt x="330" y="273"/>
                  <a:pt x="330" y="273"/>
                </a:cubicBezTo>
                <a:cubicBezTo>
                  <a:pt x="330" y="272"/>
                  <a:pt x="330" y="272"/>
                  <a:pt x="330" y="272"/>
                </a:cubicBezTo>
                <a:cubicBezTo>
                  <a:pt x="328" y="272"/>
                  <a:pt x="328" y="272"/>
                  <a:pt x="328" y="272"/>
                </a:cubicBezTo>
                <a:cubicBezTo>
                  <a:pt x="328" y="271"/>
                  <a:pt x="328" y="271"/>
                  <a:pt x="328" y="271"/>
                </a:cubicBezTo>
                <a:cubicBezTo>
                  <a:pt x="329" y="270"/>
                  <a:pt x="329" y="270"/>
                  <a:pt x="329" y="270"/>
                </a:cubicBezTo>
                <a:cubicBezTo>
                  <a:pt x="329" y="270"/>
                  <a:pt x="329" y="270"/>
                  <a:pt x="329" y="270"/>
                </a:cubicBezTo>
                <a:cubicBezTo>
                  <a:pt x="326" y="271"/>
                  <a:pt x="326" y="271"/>
                  <a:pt x="326" y="271"/>
                </a:cubicBezTo>
                <a:cubicBezTo>
                  <a:pt x="325" y="272"/>
                  <a:pt x="325" y="272"/>
                  <a:pt x="325" y="272"/>
                </a:cubicBezTo>
                <a:cubicBezTo>
                  <a:pt x="324" y="274"/>
                  <a:pt x="324" y="274"/>
                  <a:pt x="324" y="274"/>
                </a:cubicBezTo>
                <a:cubicBezTo>
                  <a:pt x="323" y="276"/>
                  <a:pt x="323" y="276"/>
                  <a:pt x="323" y="276"/>
                </a:cubicBezTo>
                <a:cubicBezTo>
                  <a:pt x="323" y="277"/>
                  <a:pt x="323" y="277"/>
                  <a:pt x="323" y="277"/>
                </a:cubicBezTo>
                <a:cubicBezTo>
                  <a:pt x="322" y="278"/>
                  <a:pt x="322" y="278"/>
                  <a:pt x="322" y="278"/>
                </a:cubicBezTo>
                <a:cubicBezTo>
                  <a:pt x="322" y="279"/>
                  <a:pt x="322" y="279"/>
                  <a:pt x="322" y="279"/>
                </a:cubicBezTo>
                <a:cubicBezTo>
                  <a:pt x="321" y="281"/>
                  <a:pt x="321" y="281"/>
                  <a:pt x="321" y="281"/>
                </a:cubicBezTo>
                <a:cubicBezTo>
                  <a:pt x="321" y="282"/>
                  <a:pt x="321" y="282"/>
                  <a:pt x="321" y="282"/>
                </a:cubicBezTo>
                <a:cubicBezTo>
                  <a:pt x="321" y="282"/>
                  <a:pt x="321" y="282"/>
                  <a:pt x="321" y="282"/>
                </a:cubicBezTo>
                <a:cubicBezTo>
                  <a:pt x="320" y="283"/>
                  <a:pt x="320" y="283"/>
                  <a:pt x="320" y="283"/>
                </a:cubicBezTo>
                <a:cubicBezTo>
                  <a:pt x="320" y="284"/>
                  <a:pt x="320" y="284"/>
                  <a:pt x="320" y="284"/>
                </a:cubicBezTo>
                <a:cubicBezTo>
                  <a:pt x="319" y="286"/>
                  <a:pt x="319" y="286"/>
                  <a:pt x="319" y="286"/>
                </a:cubicBezTo>
                <a:cubicBezTo>
                  <a:pt x="318" y="287"/>
                  <a:pt x="318" y="287"/>
                  <a:pt x="318" y="287"/>
                </a:cubicBezTo>
                <a:cubicBezTo>
                  <a:pt x="318" y="288"/>
                  <a:pt x="318" y="288"/>
                  <a:pt x="318" y="288"/>
                </a:cubicBezTo>
                <a:cubicBezTo>
                  <a:pt x="318" y="289"/>
                  <a:pt x="318" y="289"/>
                  <a:pt x="318" y="289"/>
                </a:cubicBezTo>
                <a:cubicBezTo>
                  <a:pt x="318" y="291"/>
                  <a:pt x="318" y="291"/>
                  <a:pt x="318" y="291"/>
                </a:cubicBezTo>
                <a:cubicBezTo>
                  <a:pt x="317" y="292"/>
                  <a:pt x="317" y="292"/>
                  <a:pt x="317" y="292"/>
                </a:cubicBezTo>
                <a:cubicBezTo>
                  <a:pt x="316" y="292"/>
                  <a:pt x="316" y="292"/>
                  <a:pt x="316" y="292"/>
                </a:cubicBezTo>
                <a:cubicBezTo>
                  <a:pt x="314" y="293"/>
                  <a:pt x="314" y="293"/>
                  <a:pt x="314" y="293"/>
                </a:cubicBezTo>
                <a:cubicBezTo>
                  <a:pt x="314" y="294"/>
                  <a:pt x="314" y="294"/>
                  <a:pt x="314" y="294"/>
                </a:cubicBezTo>
                <a:cubicBezTo>
                  <a:pt x="313" y="296"/>
                  <a:pt x="313" y="296"/>
                  <a:pt x="313" y="296"/>
                </a:cubicBezTo>
                <a:cubicBezTo>
                  <a:pt x="313" y="297"/>
                  <a:pt x="313" y="297"/>
                  <a:pt x="313" y="297"/>
                </a:cubicBezTo>
                <a:close/>
                <a:moveTo>
                  <a:pt x="323" y="315"/>
                </a:moveTo>
                <a:cubicBezTo>
                  <a:pt x="323" y="315"/>
                  <a:pt x="324" y="316"/>
                  <a:pt x="324" y="316"/>
                </a:cubicBezTo>
                <a:cubicBezTo>
                  <a:pt x="324" y="316"/>
                  <a:pt x="324" y="316"/>
                  <a:pt x="324" y="316"/>
                </a:cubicBezTo>
                <a:cubicBezTo>
                  <a:pt x="325" y="314"/>
                  <a:pt x="325" y="314"/>
                  <a:pt x="325" y="314"/>
                </a:cubicBezTo>
                <a:cubicBezTo>
                  <a:pt x="326" y="314"/>
                  <a:pt x="326" y="314"/>
                  <a:pt x="326" y="314"/>
                </a:cubicBezTo>
                <a:cubicBezTo>
                  <a:pt x="327" y="314"/>
                  <a:pt x="327" y="314"/>
                  <a:pt x="327" y="314"/>
                </a:cubicBezTo>
                <a:cubicBezTo>
                  <a:pt x="327" y="315"/>
                  <a:pt x="327" y="315"/>
                  <a:pt x="327" y="315"/>
                </a:cubicBezTo>
                <a:cubicBezTo>
                  <a:pt x="328" y="315"/>
                  <a:pt x="328" y="315"/>
                  <a:pt x="328" y="315"/>
                </a:cubicBezTo>
                <a:cubicBezTo>
                  <a:pt x="329" y="313"/>
                  <a:pt x="329" y="313"/>
                  <a:pt x="329" y="313"/>
                </a:cubicBezTo>
                <a:cubicBezTo>
                  <a:pt x="330" y="313"/>
                  <a:pt x="330" y="313"/>
                  <a:pt x="330" y="313"/>
                </a:cubicBezTo>
                <a:cubicBezTo>
                  <a:pt x="331" y="312"/>
                  <a:pt x="331" y="312"/>
                  <a:pt x="331" y="312"/>
                </a:cubicBezTo>
                <a:cubicBezTo>
                  <a:pt x="332" y="311"/>
                  <a:pt x="332" y="311"/>
                  <a:pt x="332" y="311"/>
                </a:cubicBezTo>
                <a:cubicBezTo>
                  <a:pt x="333" y="311"/>
                  <a:pt x="333" y="311"/>
                  <a:pt x="333" y="311"/>
                </a:cubicBezTo>
                <a:cubicBezTo>
                  <a:pt x="335" y="310"/>
                  <a:pt x="335" y="310"/>
                  <a:pt x="335" y="310"/>
                </a:cubicBezTo>
                <a:cubicBezTo>
                  <a:pt x="335" y="309"/>
                  <a:pt x="335" y="309"/>
                  <a:pt x="335" y="309"/>
                </a:cubicBezTo>
                <a:cubicBezTo>
                  <a:pt x="336" y="308"/>
                  <a:pt x="336" y="308"/>
                  <a:pt x="336" y="308"/>
                </a:cubicBezTo>
                <a:cubicBezTo>
                  <a:pt x="336" y="308"/>
                  <a:pt x="336" y="308"/>
                  <a:pt x="336" y="308"/>
                </a:cubicBezTo>
                <a:cubicBezTo>
                  <a:pt x="334" y="308"/>
                  <a:pt x="334" y="308"/>
                  <a:pt x="334" y="308"/>
                </a:cubicBezTo>
                <a:cubicBezTo>
                  <a:pt x="334" y="307"/>
                  <a:pt x="334" y="307"/>
                  <a:pt x="334" y="307"/>
                </a:cubicBezTo>
                <a:cubicBezTo>
                  <a:pt x="333" y="307"/>
                  <a:pt x="333" y="307"/>
                  <a:pt x="333" y="307"/>
                </a:cubicBezTo>
                <a:cubicBezTo>
                  <a:pt x="332" y="308"/>
                  <a:pt x="332" y="308"/>
                  <a:pt x="332" y="308"/>
                </a:cubicBezTo>
                <a:cubicBezTo>
                  <a:pt x="332" y="307"/>
                  <a:pt x="332" y="307"/>
                  <a:pt x="332" y="307"/>
                </a:cubicBezTo>
                <a:cubicBezTo>
                  <a:pt x="331" y="308"/>
                  <a:pt x="331" y="308"/>
                  <a:pt x="331" y="308"/>
                </a:cubicBezTo>
                <a:cubicBezTo>
                  <a:pt x="330" y="308"/>
                  <a:pt x="330" y="308"/>
                  <a:pt x="330" y="308"/>
                </a:cubicBezTo>
                <a:cubicBezTo>
                  <a:pt x="329" y="308"/>
                  <a:pt x="329" y="308"/>
                  <a:pt x="329" y="308"/>
                </a:cubicBezTo>
                <a:cubicBezTo>
                  <a:pt x="329" y="307"/>
                  <a:pt x="329" y="307"/>
                  <a:pt x="329" y="307"/>
                </a:cubicBezTo>
                <a:cubicBezTo>
                  <a:pt x="328" y="307"/>
                  <a:pt x="328" y="307"/>
                  <a:pt x="328" y="307"/>
                </a:cubicBezTo>
                <a:cubicBezTo>
                  <a:pt x="327" y="307"/>
                  <a:pt x="327" y="307"/>
                  <a:pt x="327" y="307"/>
                </a:cubicBezTo>
                <a:cubicBezTo>
                  <a:pt x="326" y="309"/>
                  <a:pt x="326" y="309"/>
                  <a:pt x="326" y="309"/>
                </a:cubicBezTo>
                <a:cubicBezTo>
                  <a:pt x="326" y="310"/>
                  <a:pt x="326" y="310"/>
                  <a:pt x="326" y="310"/>
                </a:cubicBezTo>
                <a:cubicBezTo>
                  <a:pt x="325" y="310"/>
                  <a:pt x="325" y="310"/>
                  <a:pt x="325" y="310"/>
                </a:cubicBezTo>
                <a:cubicBezTo>
                  <a:pt x="323" y="311"/>
                  <a:pt x="323" y="311"/>
                  <a:pt x="323" y="311"/>
                </a:cubicBezTo>
                <a:cubicBezTo>
                  <a:pt x="323" y="312"/>
                  <a:pt x="323" y="312"/>
                  <a:pt x="323" y="312"/>
                </a:cubicBezTo>
                <a:cubicBezTo>
                  <a:pt x="323" y="312"/>
                  <a:pt x="323" y="312"/>
                  <a:pt x="323" y="312"/>
                </a:cubicBezTo>
                <a:cubicBezTo>
                  <a:pt x="324" y="313"/>
                  <a:pt x="324" y="313"/>
                  <a:pt x="324" y="313"/>
                </a:cubicBezTo>
                <a:cubicBezTo>
                  <a:pt x="323" y="314"/>
                  <a:pt x="323" y="314"/>
                  <a:pt x="323" y="314"/>
                </a:cubicBezTo>
                <a:cubicBezTo>
                  <a:pt x="323" y="315"/>
                  <a:pt x="323" y="315"/>
                  <a:pt x="323" y="315"/>
                </a:cubicBezTo>
                <a:close/>
                <a:moveTo>
                  <a:pt x="425" y="324"/>
                </a:moveTo>
                <a:cubicBezTo>
                  <a:pt x="425" y="324"/>
                  <a:pt x="425" y="324"/>
                  <a:pt x="425" y="324"/>
                </a:cubicBezTo>
                <a:cubicBezTo>
                  <a:pt x="426" y="324"/>
                  <a:pt x="426" y="324"/>
                  <a:pt x="426" y="324"/>
                </a:cubicBezTo>
                <a:cubicBezTo>
                  <a:pt x="427" y="325"/>
                  <a:pt x="427" y="325"/>
                  <a:pt x="427" y="325"/>
                </a:cubicBezTo>
                <a:cubicBezTo>
                  <a:pt x="428" y="324"/>
                  <a:pt x="428" y="324"/>
                  <a:pt x="428" y="324"/>
                </a:cubicBezTo>
                <a:cubicBezTo>
                  <a:pt x="428" y="324"/>
                  <a:pt x="428" y="324"/>
                  <a:pt x="428" y="324"/>
                </a:cubicBezTo>
                <a:cubicBezTo>
                  <a:pt x="428" y="323"/>
                  <a:pt x="428" y="323"/>
                  <a:pt x="428" y="323"/>
                </a:cubicBezTo>
                <a:cubicBezTo>
                  <a:pt x="428" y="323"/>
                  <a:pt x="428" y="323"/>
                  <a:pt x="428" y="323"/>
                </a:cubicBezTo>
                <a:cubicBezTo>
                  <a:pt x="428" y="322"/>
                  <a:pt x="428" y="322"/>
                  <a:pt x="428" y="322"/>
                </a:cubicBezTo>
                <a:cubicBezTo>
                  <a:pt x="427" y="323"/>
                  <a:pt x="427" y="323"/>
                  <a:pt x="427" y="323"/>
                </a:cubicBezTo>
                <a:cubicBezTo>
                  <a:pt x="426" y="323"/>
                  <a:pt x="426" y="323"/>
                  <a:pt x="426" y="323"/>
                </a:cubicBezTo>
                <a:cubicBezTo>
                  <a:pt x="425" y="324"/>
                  <a:pt x="425" y="324"/>
                  <a:pt x="425" y="324"/>
                </a:cubicBezTo>
                <a:close/>
                <a:moveTo>
                  <a:pt x="393" y="315"/>
                </a:moveTo>
                <a:cubicBezTo>
                  <a:pt x="393" y="316"/>
                  <a:pt x="393" y="316"/>
                  <a:pt x="393" y="316"/>
                </a:cubicBezTo>
                <a:cubicBezTo>
                  <a:pt x="395" y="316"/>
                  <a:pt x="395" y="316"/>
                  <a:pt x="395" y="316"/>
                </a:cubicBezTo>
                <a:cubicBezTo>
                  <a:pt x="395" y="317"/>
                  <a:pt x="395" y="317"/>
                  <a:pt x="395" y="317"/>
                </a:cubicBezTo>
                <a:cubicBezTo>
                  <a:pt x="395" y="317"/>
                  <a:pt x="395" y="317"/>
                  <a:pt x="395" y="317"/>
                </a:cubicBezTo>
                <a:cubicBezTo>
                  <a:pt x="395" y="318"/>
                  <a:pt x="395" y="318"/>
                  <a:pt x="395" y="318"/>
                </a:cubicBezTo>
                <a:cubicBezTo>
                  <a:pt x="396" y="318"/>
                  <a:pt x="396" y="318"/>
                  <a:pt x="396" y="318"/>
                </a:cubicBezTo>
                <a:cubicBezTo>
                  <a:pt x="396" y="318"/>
                  <a:pt x="396" y="318"/>
                  <a:pt x="396" y="318"/>
                </a:cubicBezTo>
                <a:cubicBezTo>
                  <a:pt x="397" y="318"/>
                  <a:pt x="397" y="318"/>
                  <a:pt x="397" y="318"/>
                </a:cubicBezTo>
                <a:cubicBezTo>
                  <a:pt x="397" y="318"/>
                  <a:pt x="397" y="318"/>
                  <a:pt x="397" y="318"/>
                </a:cubicBezTo>
                <a:cubicBezTo>
                  <a:pt x="397" y="318"/>
                  <a:pt x="397" y="318"/>
                  <a:pt x="397" y="318"/>
                </a:cubicBezTo>
                <a:cubicBezTo>
                  <a:pt x="397" y="317"/>
                  <a:pt x="397" y="317"/>
                  <a:pt x="397" y="317"/>
                </a:cubicBezTo>
                <a:cubicBezTo>
                  <a:pt x="396" y="316"/>
                  <a:pt x="396" y="316"/>
                  <a:pt x="396" y="316"/>
                </a:cubicBezTo>
                <a:cubicBezTo>
                  <a:pt x="396" y="316"/>
                  <a:pt x="396" y="316"/>
                  <a:pt x="396" y="316"/>
                </a:cubicBezTo>
                <a:cubicBezTo>
                  <a:pt x="395" y="316"/>
                  <a:pt x="395" y="316"/>
                  <a:pt x="395" y="316"/>
                </a:cubicBezTo>
                <a:cubicBezTo>
                  <a:pt x="394" y="315"/>
                  <a:pt x="394" y="315"/>
                  <a:pt x="394" y="315"/>
                </a:cubicBezTo>
                <a:cubicBezTo>
                  <a:pt x="393" y="315"/>
                  <a:pt x="393" y="315"/>
                  <a:pt x="393" y="315"/>
                </a:cubicBezTo>
                <a:cubicBezTo>
                  <a:pt x="393" y="315"/>
                  <a:pt x="393" y="315"/>
                  <a:pt x="393" y="315"/>
                </a:cubicBezTo>
                <a:close/>
                <a:moveTo>
                  <a:pt x="423" y="332"/>
                </a:moveTo>
                <a:cubicBezTo>
                  <a:pt x="422" y="331"/>
                  <a:pt x="422" y="331"/>
                  <a:pt x="422" y="331"/>
                </a:cubicBezTo>
                <a:cubicBezTo>
                  <a:pt x="422" y="330"/>
                  <a:pt x="422" y="330"/>
                  <a:pt x="422" y="330"/>
                </a:cubicBezTo>
                <a:cubicBezTo>
                  <a:pt x="422" y="330"/>
                  <a:pt x="422" y="330"/>
                  <a:pt x="422" y="330"/>
                </a:cubicBezTo>
                <a:cubicBezTo>
                  <a:pt x="422" y="329"/>
                  <a:pt x="422" y="329"/>
                  <a:pt x="422" y="329"/>
                </a:cubicBezTo>
                <a:cubicBezTo>
                  <a:pt x="422" y="328"/>
                  <a:pt x="422" y="328"/>
                  <a:pt x="422" y="328"/>
                </a:cubicBezTo>
                <a:cubicBezTo>
                  <a:pt x="423" y="329"/>
                  <a:pt x="423" y="329"/>
                  <a:pt x="423" y="329"/>
                </a:cubicBezTo>
                <a:cubicBezTo>
                  <a:pt x="423" y="330"/>
                  <a:pt x="423" y="330"/>
                  <a:pt x="423" y="330"/>
                </a:cubicBezTo>
                <a:cubicBezTo>
                  <a:pt x="424" y="330"/>
                  <a:pt x="424" y="330"/>
                  <a:pt x="424" y="330"/>
                </a:cubicBezTo>
                <a:cubicBezTo>
                  <a:pt x="424" y="331"/>
                  <a:pt x="424" y="331"/>
                  <a:pt x="424" y="331"/>
                </a:cubicBezTo>
                <a:cubicBezTo>
                  <a:pt x="423" y="332"/>
                  <a:pt x="423" y="332"/>
                  <a:pt x="423" y="332"/>
                </a:cubicBezTo>
                <a:close/>
                <a:moveTo>
                  <a:pt x="422" y="335"/>
                </a:moveTo>
                <a:cubicBezTo>
                  <a:pt x="422" y="335"/>
                  <a:pt x="422" y="335"/>
                  <a:pt x="422" y="335"/>
                </a:cubicBezTo>
                <a:cubicBezTo>
                  <a:pt x="422" y="334"/>
                  <a:pt x="422" y="334"/>
                  <a:pt x="422" y="334"/>
                </a:cubicBezTo>
                <a:cubicBezTo>
                  <a:pt x="421" y="334"/>
                  <a:pt x="421" y="334"/>
                  <a:pt x="421" y="334"/>
                </a:cubicBezTo>
                <a:cubicBezTo>
                  <a:pt x="420" y="334"/>
                  <a:pt x="420" y="334"/>
                  <a:pt x="420" y="334"/>
                </a:cubicBezTo>
                <a:cubicBezTo>
                  <a:pt x="420" y="333"/>
                  <a:pt x="420" y="333"/>
                  <a:pt x="420" y="333"/>
                </a:cubicBezTo>
                <a:cubicBezTo>
                  <a:pt x="420" y="332"/>
                  <a:pt x="420" y="332"/>
                  <a:pt x="420" y="332"/>
                </a:cubicBezTo>
                <a:cubicBezTo>
                  <a:pt x="420" y="332"/>
                  <a:pt x="420" y="332"/>
                  <a:pt x="420" y="332"/>
                </a:cubicBezTo>
                <a:cubicBezTo>
                  <a:pt x="421" y="332"/>
                  <a:pt x="421" y="332"/>
                  <a:pt x="421" y="332"/>
                </a:cubicBezTo>
                <a:cubicBezTo>
                  <a:pt x="423" y="332"/>
                  <a:pt x="423" y="332"/>
                  <a:pt x="423" y="332"/>
                </a:cubicBezTo>
                <a:cubicBezTo>
                  <a:pt x="424" y="333"/>
                  <a:pt x="424" y="333"/>
                  <a:pt x="424" y="333"/>
                </a:cubicBezTo>
                <a:cubicBezTo>
                  <a:pt x="424" y="333"/>
                  <a:pt x="424" y="333"/>
                  <a:pt x="424" y="333"/>
                </a:cubicBezTo>
                <a:cubicBezTo>
                  <a:pt x="423" y="334"/>
                  <a:pt x="423" y="334"/>
                  <a:pt x="423" y="334"/>
                </a:cubicBezTo>
                <a:cubicBezTo>
                  <a:pt x="423" y="334"/>
                  <a:pt x="423" y="334"/>
                  <a:pt x="423" y="334"/>
                </a:cubicBezTo>
                <a:cubicBezTo>
                  <a:pt x="423" y="335"/>
                  <a:pt x="423" y="335"/>
                  <a:pt x="423" y="335"/>
                </a:cubicBezTo>
                <a:cubicBezTo>
                  <a:pt x="423" y="335"/>
                  <a:pt x="423" y="335"/>
                  <a:pt x="423" y="335"/>
                </a:cubicBezTo>
                <a:cubicBezTo>
                  <a:pt x="422" y="335"/>
                  <a:pt x="422" y="335"/>
                  <a:pt x="422" y="335"/>
                </a:cubicBezTo>
                <a:close/>
                <a:moveTo>
                  <a:pt x="391" y="354"/>
                </a:moveTo>
                <a:cubicBezTo>
                  <a:pt x="391" y="355"/>
                  <a:pt x="391" y="355"/>
                  <a:pt x="391" y="355"/>
                </a:cubicBezTo>
                <a:cubicBezTo>
                  <a:pt x="391" y="355"/>
                  <a:pt x="391" y="355"/>
                  <a:pt x="391" y="355"/>
                </a:cubicBezTo>
                <a:cubicBezTo>
                  <a:pt x="391" y="354"/>
                  <a:pt x="391" y="354"/>
                  <a:pt x="391" y="354"/>
                </a:cubicBezTo>
                <a:close/>
                <a:moveTo>
                  <a:pt x="392" y="355"/>
                </a:moveTo>
                <a:cubicBezTo>
                  <a:pt x="391" y="355"/>
                  <a:pt x="391" y="355"/>
                  <a:pt x="391" y="355"/>
                </a:cubicBezTo>
                <a:cubicBezTo>
                  <a:pt x="392" y="355"/>
                  <a:pt x="392" y="355"/>
                  <a:pt x="392" y="355"/>
                </a:cubicBezTo>
                <a:cubicBezTo>
                  <a:pt x="392" y="355"/>
                  <a:pt x="392" y="355"/>
                  <a:pt x="392" y="355"/>
                </a:cubicBezTo>
                <a:close/>
                <a:moveTo>
                  <a:pt x="392" y="354"/>
                </a:moveTo>
                <a:cubicBezTo>
                  <a:pt x="392" y="355"/>
                  <a:pt x="392" y="355"/>
                  <a:pt x="392" y="355"/>
                </a:cubicBezTo>
                <a:cubicBezTo>
                  <a:pt x="392" y="356"/>
                  <a:pt x="392" y="356"/>
                  <a:pt x="392" y="356"/>
                </a:cubicBezTo>
                <a:cubicBezTo>
                  <a:pt x="392" y="357"/>
                  <a:pt x="392" y="357"/>
                  <a:pt x="392" y="357"/>
                </a:cubicBezTo>
                <a:cubicBezTo>
                  <a:pt x="393" y="356"/>
                  <a:pt x="393" y="356"/>
                  <a:pt x="393" y="356"/>
                </a:cubicBezTo>
                <a:cubicBezTo>
                  <a:pt x="393" y="355"/>
                  <a:pt x="393" y="355"/>
                  <a:pt x="393" y="355"/>
                </a:cubicBezTo>
                <a:cubicBezTo>
                  <a:pt x="392" y="354"/>
                  <a:pt x="392" y="354"/>
                  <a:pt x="392" y="354"/>
                </a:cubicBezTo>
                <a:close/>
                <a:moveTo>
                  <a:pt x="401" y="345"/>
                </a:moveTo>
                <a:cubicBezTo>
                  <a:pt x="401" y="344"/>
                  <a:pt x="401" y="344"/>
                  <a:pt x="401" y="344"/>
                </a:cubicBezTo>
                <a:cubicBezTo>
                  <a:pt x="401" y="343"/>
                  <a:pt x="401" y="343"/>
                  <a:pt x="401" y="343"/>
                </a:cubicBezTo>
                <a:cubicBezTo>
                  <a:pt x="401" y="343"/>
                  <a:pt x="401" y="343"/>
                  <a:pt x="401" y="343"/>
                </a:cubicBezTo>
                <a:cubicBezTo>
                  <a:pt x="402" y="342"/>
                  <a:pt x="402" y="342"/>
                  <a:pt x="402" y="342"/>
                </a:cubicBezTo>
                <a:cubicBezTo>
                  <a:pt x="403" y="341"/>
                  <a:pt x="403" y="341"/>
                  <a:pt x="403" y="341"/>
                </a:cubicBezTo>
                <a:cubicBezTo>
                  <a:pt x="404" y="341"/>
                  <a:pt x="404" y="341"/>
                  <a:pt x="404" y="341"/>
                </a:cubicBezTo>
                <a:cubicBezTo>
                  <a:pt x="404" y="341"/>
                  <a:pt x="404" y="341"/>
                  <a:pt x="404" y="341"/>
                </a:cubicBezTo>
                <a:cubicBezTo>
                  <a:pt x="404" y="342"/>
                  <a:pt x="404" y="342"/>
                  <a:pt x="404" y="342"/>
                </a:cubicBezTo>
                <a:cubicBezTo>
                  <a:pt x="405" y="342"/>
                  <a:pt x="405" y="342"/>
                  <a:pt x="405" y="342"/>
                </a:cubicBezTo>
                <a:cubicBezTo>
                  <a:pt x="405" y="343"/>
                  <a:pt x="405" y="343"/>
                  <a:pt x="405" y="343"/>
                </a:cubicBezTo>
                <a:cubicBezTo>
                  <a:pt x="404" y="343"/>
                  <a:pt x="404" y="343"/>
                  <a:pt x="404" y="343"/>
                </a:cubicBezTo>
                <a:cubicBezTo>
                  <a:pt x="403" y="344"/>
                  <a:pt x="403" y="344"/>
                  <a:pt x="403" y="344"/>
                </a:cubicBezTo>
                <a:cubicBezTo>
                  <a:pt x="402" y="344"/>
                  <a:pt x="402" y="344"/>
                  <a:pt x="402" y="344"/>
                </a:cubicBezTo>
                <a:cubicBezTo>
                  <a:pt x="401" y="345"/>
                  <a:pt x="401" y="345"/>
                  <a:pt x="401" y="345"/>
                </a:cubicBezTo>
                <a:cubicBezTo>
                  <a:pt x="401" y="345"/>
                  <a:pt x="401" y="345"/>
                  <a:pt x="401" y="345"/>
                </a:cubicBezTo>
                <a:close/>
                <a:moveTo>
                  <a:pt x="373" y="314"/>
                </a:moveTo>
                <a:cubicBezTo>
                  <a:pt x="374" y="315"/>
                  <a:pt x="374" y="315"/>
                  <a:pt x="374" y="315"/>
                </a:cubicBezTo>
                <a:cubicBezTo>
                  <a:pt x="375" y="316"/>
                  <a:pt x="375" y="316"/>
                  <a:pt x="375" y="316"/>
                </a:cubicBezTo>
                <a:cubicBezTo>
                  <a:pt x="376" y="316"/>
                  <a:pt x="376" y="316"/>
                  <a:pt x="376" y="316"/>
                </a:cubicBezTo>
                <a:cubicBezTo>
                  <a:pt x="377" y="316"/>
                  <a:pt x="377" y="316"/>
                  <a:pt x="377" y="316"/>
                </a:cubicBezTo>
                <a:cubicBezTo>
                  <a:pt x="377" y="316"/>
                  <a:pt x="377" y="316"/>
                  <a:pt x="377" y="316"/>
                </a:cubicBezTo>
                <a:cubicBezTo>
                  <a:pt x="376" y="315"/>
                  <a:pt x="376" y="315"/>
                  <a:pt x="376" y="315"/>
                </a:cubicBezTo>
                <a:cubicBezTo>
                  <a:pt x="375" y="314"/>
                  <a:pt x="375" y="314"/>
                  <a:pt x="375" y="314"/>
                </a:cubicBezTo>
                <a:cubicBezTo>
                  <a:pt x="374" y="314"/>
                  <a:pt x="374" y="314"/>
                  <a:pt x="374" y="314"/>
                </a:cubicBezTo>
                <a:cubicBezTo>
                  <a:pt x="373" y="314"/>
                  <a:pt x="373" y="314"/>
                  <a:pt x="373" y="314"/>
                </a:cubicBezTo>
                <a:close/>
                <a:moveTo>
                  <a:pt x="364" y="305"/>
                </a:moveTo>
                <a:cubicBezTo>
                  <a:pt x="364" y="306"/>
                  <a:pt x="364" y="306"/>
                  <a:pt x="364" y="306"/>
                </a:cubicBezTo>
                <a:cubicBezTo>
                  <a:pt x="365" y="306"/>
                  <a:pt x="365" y="306"/>
                  <a:pt x="365" y="306"/>
                </a:cubicBezTo>
                <a:cubicBezTo>
                  <a:pt x="365" y="306"/>
                  <a:pt x="365" y="306"/>
                  <a:pt x="365" y="306"/>
                </a:cubicBezTo>
                <a:cubicBezTo>
                  <a:pt x="366" y="306"/>
                  <a:pt x="366" y="306"/>
                  <a:pt x="366" y="306"/>
                </a:cubicBezTo>
                <a:cubicBezTo>
                  <a:pt x="366" y="305"/>
                  <a:pt x="366" y="305"/>
                  <a:pt x="366" y="305"/>
                </a:cubicBezTo>
                <a:cubicBezTo>
                  <a:pt x="366" y="305"/>
                  <a:pt x="366" y="305"/>
                  <a:pt x="366" y="305"/>
                </a:cubicBezTo>
                <a:cubicBezTo>
                  <a:pt x="367" y="305"/>
                  <a:pt x="367" y="305"/>
                  <a:pt x="367" y="305"/>
                </a:cubicBezTo>
                <a:cubicBezTo>
                  <a:pt x="366" y="304"/>
                  <a:pt x="366" y="304"/>
                  <a:pt x="366" y="304"/>
                </a:cubicBezTo>
                <a:cubicBezTo>
                  <a:pt x="366" y="304"/>
                  <a:pt x="366" y="304"/>
                  <a:pt x="366" y="304"/>
                </a:cubicBezTo>
                <a:cubicBezTo>
                  <a:pt x="366" y="304"/>
                  <a:pt x="366" y="304"/>
                  <a:pt x="366" y="304"/>
                </a:cubicBezTo>
                <a:cubicBezTo>
                  <a:pt x="365" y="303"/>
                  <a:pt x="365" y="303"/>
                  <a:pt x="365" y="303"/>
                </a:cubicBezTo>
                <a:cubicBezTo>
                  <a:pt x="364" y="303"/>
                  <a:pt x="364" y="303"/>
                  <a:pt x="364" y="303"/>
                </a:cubicBezTo>
                <a:cubicBezTo>
                  <a:pt x="364" y="302"/>
                  <a:pt x="364" y="302"/>
                  <a:pt x="364" y="302"/>
                </a:cubicBezTo>
                <a:cubicBezTo>
                  <a:pt x="364" y="302"/>
                  <a:pt x="364" y="302"/>
                  <a:pt x="364" y="302"/>
                </a:cubicBezTo>
                <a:cubicBezTo>
                  <a:pt x="363" y="302"/>
                  <a:pt x="363" y="302"/>
                  <a:pt x="363" y="302"/>
                </a:cubicBezTo>
                <a:cubicBezTo>
                  <a:pt x="363" y="302"/>
                  <a:pt x="363" y="302"/>
                  <a:pt x="363" y="302"/>
                </a:cubicBezTo>
                <a:cubicBezTo>
                  <a:pt x="362" y="302"/>
                  <a:pt x="362" y="302"/>
                  <a:pt x="362" y="302"/>
                </a:cubicBezTo>
                <a:cubicBezTo>
                  <a:pt x="362" y="302"/>
                  <a:pt x="362" y="302"/>
                  <a:pt x="362" y="302"/>
                </a:cubicBezTo>
                <a:cubicBezTo>
                  <a:pt x="362" y="303"/>
                  <a:pt x="362" y="303"/>
                  <a:pt x="362" y="303"/>
                </a:cubicBezTo>
                <a:cubicBezTo>
                  <a:pt x="362" y="303"/>
                  <a:pt x="362" y="303"/>
                  <a:pt x="362" y="303"/>
                </a:cubicBezTo>
                <a:cubicBezTo>
                  <a:pt x="363" y="303"/>
                  <a:pt x="363" y="303"/>
                  <a:pt x="363" y="303"/>
                </a:cubicBezTo>
                <a:cubicBezTo>
                  <a:pt x="363" y="304"/>
                  <a:pt x="363" y="304"/>
                  <a:pt x="363" y="304"/>
                </a:cubicBezTo>
                <a:cubicBezTo>
                  <a:pt x="364" y="305"/>
                  <a:pt x="364" y="305"/>
                  <a:pt x="364" y="305"/>
                </a:cubicBezTo>
                <a:cubicBezTo>
                  <a:pt x="364" y="305"/>
                  <a:pt x="364" y="305"/>
                  <a:pt x="364" y="305"/>
                </a:cubicBezTo>
                <a:close/>
                <a:moveTo>
                  <a:pt x="357" y="309"/>
                </a:moveTo>
                <a:cubicBezTo>
                  <a:pt x="358" y="308"/>
                  <a:pt x="358" y="308"/>
                  <a:pt x="358" y="308"/>
                </a:cubicBezTo>
                <a:cubicBezTo>
                  <a:pt x="359" y="308"/>
                  <a:pt x="359" y="308"/>
                  <a:pt x="359" y="308"/>
                </a:cubicBezTo>
                <a:cubicBezTo>
                  <a:pt x="360" y="308"/>
                  <a:pt x="360" y="308"/>
                  <a:pt x="360" y="308"/>
                </a:cubicBezTo>
                <a:cubicBezTo>
                  <a:pt x="360" y="307"/>
                  <a:pt x="360" y="307"/>
                  <a:pt x="360" y="307"/>
                </a:cubicBezTo>
                <a:cubicBezTo>
                  <a:pt x="360" y="307"/>
                  <a:pt x="360" y="307"/>
                  <a:pt x="360" y="307"/>
                </a:cubicBezTo>
                <a:cubicBezTo>
                  <a:pt x="360" y="306"/>
                  <a:pt x="360" y="306"/>
                  <a:pt x="360" y="306"/>
                </a:cubicBezTo>
                <a:cubicBezTo>
                  <a:pt x="360" y="305"/>
                  <a:pt x="360" y="305"/>
                  <a:pt x="360" y="305"/>
                </a:cubicBezTo>
                <a:cubicBezTo>
                  <a:pt x="360" y="304"/>
                  <a:pt x="360" y="304"/>
                  <a:pt x="360" y="304"/>
                </a:cubicBezTo>
                <a:cubicBezTo>
                  <a:pt x="358" y="304"/>
                  <a:pt x="358" y="304"/>
                  <a:pt x="358" y="304"/>
                </a:cubicBezTo>
                <a:cubicBezTo>
                  <a:pt x="358" y="304"/>
                  <a:pt x="358" y="304"/>
                  <a:pt x="358" y="304"/>
                </a:cubicBezTo>
                <a:cubicBezTo>
                  <a:pt x="357" y="303"/>
                  <a:pt x="357" y="303"/>
                  <a:pt x="357" y="303"/>
                </a:cubicBezTo>
                <a:cubicBezTo>
                  <a:pt x="357" y="303"/>
                  <a:pt x="357" y="303"/>
                  <a:pt x="357" y="303"/>
                </a:cubicBezTo>
                <a:cubicBezTo>
                  <a:pt x="355" y="303"/>
                  <a:pt x="355" y="303"/>
                  <a:pt x="355" y="303"/>
                </a:cubicBezTo>
                <a:cubicBezTo>
                  <a:pt x="355" y="303"/>
                  <a:pt x="355" y="303"/>
                  <a:pt x="355" y="303"/>
                </a:cubicBezTo>
                <a:cubicBezTo>
                  <a:pt x="355" y="304"/>
                  <a:pt x="355" y="304"/>
                  <a:pt x="355" y="304"/>
                </a:cubicBezTo>
                <a:cubicBezTo>
                  <a:pt x="355" y="305"/>
                  <a:pt x="355" y="305"/>
                  <a:pt x="355" y="305"/>
                </a:cubicBezTo>
                <a:cubicBezTo>
                  <a:pt x="356" y="306"/>
                  <a:pt x="356" y="306"/>
                  <a:pt x="356" y="306"/>
                </a:cubicBezTo>
                <a:cubicBezTo>
                  <a:pt x="356" y="307"/>
                  <a:pt x="356" y="307"/>
                  <a:pt x="356" y="307"/>
                </a:cubicBezTo>
                <a:cubicBezTo>
                  <a:pt x="357" y="307"/>
                  <a:pt x="357" y="307"/>
                  <a:pt x="357" y="307"/>
                </a:cubicBezTo>
                <a:cubicBezTo>
                  <a:pt x="357" y="308"/>
                  <a:pt x="357" y="308"/>
                  <a:pt x="357" y="308"/>
                </a:cubicBezTo>
                <a:cubicBezTo>
                  <a:pt x="357" y="309"/>
                  <a:pt x="357" y="309"/>
                  <a:pt x="357" y="309"/>
                </a:cubicBezTo>
                <a:close/>
                <a:moveTo>
                  <a:pt x="356" y="314"/>
                </a:moveTo>
                <a:cubicBezTo>
                  <a:pt x="356" y="314"/>
                  <a:pt x="357" y="314"/>
                  <a:pt x="357" y="314"/>
                </a:cubicBezTo>
                <a:cubicBezTo>
                  <a:pt x="355" y="313"/>
                  <a:pt x="355" y="313"/>
                  <a:pt x="355" y="313"/>
                </a:cubicBezTo>
                <a:cubicBezTo>
                  <a:pt x="355" y="313"/>
                  <a:pt x="355" y="313"/>
                  <a:pt x="355" y="313"/>
                </a:cubicBezTo>
                <a:cubicBezTo>
                  <a:pt x="355" y="314"/>
                  <a:pt x="355" y="314"/>
                  <a:pt x="355" y="314"/>
                </a:cubicBezTo>
                <a:cubicBezTo>
                  <a:pt x="356" y="314"/>
                  <a:pt x="356" y="314"/>
                  <a:pt x="356" y="314"/>
                </a:cubicBezTo>
                <a:close/>
                <a:moveTo>
                  <a:pt x="342" y="324"/>
                </a:moveTo>
                <a:cubicBezTo>
                  <a:pt x="343" y="324"/>
                  <a:pt x="343" y="324"/>
                  <a:pt x="343" y="324"/>
                </a:cubicBezTo>
                <a:cubicBezTo>
                  <a:pt x="343" y="323"/>
                  <a:pt x="343" y="323"/>
                  <a:pt x="343" y="323"/>
                </a:cubicBezTo>
                <a:cubicBezTo>
                  <a:pt x="343" y="323"/>
                  <a:pt x="343" y="323"/>
                  <a:pt x="343" y="323"/>
                </a:cubicBezTo>
                <a:cubicBezTo>
                  <a:pt x="344" y="322"/>
                  <a:pt x="344" y="322"/>
                  <a:pt x="344" y="322"/>
                </a:cubicBezTo>
                <a:cubicBezTo>
                  <a:pt x="344" y="322"/>
                  <a:pt x="344" y="322"/>
                  <a:pt x="344" y="322"/>
                </a:cubicBezTo>
                <a:cubicBezTo>
                  <a:pt x="344" y="321"/>
                  <a:pt x="344" y="321"/>
                  <a:pt x="344" y="321"/>
                </a:cubicBezTo>
                <a:cubicBezTo>
                  <a:pt x="344" y="321"/>
                  <a:pt x="344" y="321"/>
                  <a:pt x="344" y="321"/>
                </a:cubicBezTo>
                <a:cubicBezTo>
                  <a:pt x="345" y="320"/>
                  <a:pt x="345" y="320"/>
                  <a:pt x="345" y="320"/>
                </a:cubicBezTo>
                <a:cubicBezTo>
                  <a:pt x="346" y="319"/>
                  <a:pt x="346" y="319"/>
                  <a:pt x="346" y="319"/>
                </a:cubicBezTo>
                <a:cubicBezTo>
                  <a:pt x="346" y="319"/>
                  <a:pt x="346" y="319"/>
                  <a:pt x="346" y="319"/>
                </a:cubicBezTo>
                <a:cubicBezTo>
                  <a:pt x="346" y="318"/>
                  <a:pt x="346" y="318"/>
                  <a:pt x="346" y="318"/>
                </a:cubicBezTo>
                <a:cubicBezTo>
                  <a:pt x="346" y="318"/>
                  <a:pt x="346" y="318"/>
                  <a:pt x="346" y="318"/>
                </a:cubicBezTo>
                <a:cubicBezTo>
                  <a:pt x="346" y="317"/>
                  <a:pt x="346" y="317"/>
                  <a:pt x="346" y="317"/>
                </a:cubicBezTo>
                <a:cubicBezTo>
                  <a:pt x="347" y="317"/>
                  <a:pt x="347" y="317"/>
                  <a:pt x="347" y="317"/>
                </a:cubicBezTo>
                <a:cubicBezTo>
                  <a:pt x="347" y="316"/>
                  <a:pt x="347" y="316"/>
                  <a:pt x="347" y="316"/>
                </a:cubicBezTo>
                <a:cubicBezTo>
                  <a:pt x="347" y="315"/>
                  <a:pt x="347" y="315"/>
                  <a:pt x="347" y="315"/>
                </a:cubicBezTo>
                <a:cubicBezTo>
                  <a:pt x="347" y="314"/>
                  <a:pt x="347" y="314"/>
                  <a:pt x="347" y="314"/>
                </a:cubicBezTo>
                <a:cubicBezTo>
                  <a:pt x="347" y="314"/>
                  <a:pt x="347" y="314"/>
                  <a:pt x="347" y="314"/>
                </a:cubicBezTo>
                <a:cubicBezTo>
                  <a:pt x="346" y="314"/>
                  <a:pt x="346" y="314"/>
                  <a:pt x="346" y="314"/>
                </a:cubicBezTo>
                <a:cubicBezTo>
                  <a:pt x="346" y="314"/>
                  <a:pt x="346" y="314"/>
                  <a:pt x="346" y="314"/>
                </a:cubicBezTo>
                <a:cubicBezTo>
                  <a:pt x="345" y="314"/>
                  <a:pt x="345" y="314"/>
                  <a:pt x="345" y="314"/>
                </a:cubicBezTo>
                <a:cubicBezTo>
                  <a:pt x="345" y="313"/>
                  <a:pt x="345" y="313"/>
                  <a:pt x="345" y="313"/>
                </a:cubicBezTo>
                <a:cubicBezTo>
                  <a:pt x="344" y="314"/>
                  <a:pt x="344" y="314"/>
                  <a:pt x="344" y="314"/>
                </a:cubicBezTo>
                <a:cubicBezTo>
                  <a:pt x="343" y="315"/>
                  <a:pt x="343" y="315"/>
                  <a:pt x="343" y="315"/>
                </a:cubicBezTo>
                <a:cubicBezTo>
                  <a:pt x="342" y="315"/>
                  <a:pt x="342" y="315"/>
                  <a:pt x="342" y="315"/>
                </a:cubicBezTo>
                <a:cubicBezTo>
                  <a:pt x="342" y="316"/>
                  <a:pt x="342" y="316"/>
                  <a:pt x="342" y="316"/>
                </a:cubicBezTo>
                <a:cubicBezTo>
                  <a:pt x="341" y="317"/>
                  <a:pt x="341" y="317"/>
                  <a:pt x="341" y="317"/>
                </a:cubicBezTo>
                <a:cubicBezTo>
                  <a:pt x="342" y="318"/>
                  <a:pt x="342" y="318"/>
                  <a:pt x="342" y="318"/>
                </a:cubicBezTo>
                <a:cubicBezTo>
                  <a:pt x="341" y="318"/>
                  <a:pt x="341" y="318"/>
                  <a:pt x="341" y="318"/>
                </a:cubicBezTo>
                <a:cubicBezTo>
                  <a:pt x="341" y="319"/>
                  <a:pt x="341" y="319"/>
                  <a:pt x="341" y="319"/>
                </a:cubicBezTo>
                <a:cubicBezTo>
                  <a:pt x="341" y="320"/>
                  <a:pt x="341" y="320"/>
                  <a:pt x="341" y="320"/>
                </a:cubicBezTo>
                <a:cubicBezTo>
                  <a:pt x="340" y="321"/>
                  <a:pt x="340" y="321"/>
                  <a:pt x="340" y="321"/>
                </a:cubicBezTo>
                <a:cubicBezTo>
                  <a:pt x="341" y="321"/>
                  <a:pt x="341" y="321"/>
                  <a:pt x="341" y="321"/>
                </a:cubicBezTo>
                <a:cubicBezTo>
                  <a:pt x="341" y="322"/>
                  <a:pt x="341" y="322"/>
                  <a:pt x="341" y="322"/>
                </a:cubicBezTo>
                <a:cubicBezTo>
                  <a:pt x="342" y="322"/>
                  <a:pt x="342" y="322"/>
                  <a:pt x="342" y="322"/>
                </a:cubicBezTo>
                <a:cubicBezTo>
                  <a:pt x="342" y="323"/>
                  <a:pt x="342" y="323"/>
                  <a:pt x="342" y="323"/>
                </a:cubicBezTo>
                <a:cubicBezTo>
                  <a:pt x="342" y="324"/>
                  <a:pt x="342" y="324"/>
                  <a:pt x="342" y="324"/>
                </a:cubicBezTo>
                <a:close/>
                <a:moveTo>
                  <a:pt x="330" y="376"/>
                </a:moveTo>
                <a:cubicBezTo>
                  <a:pt x="330" y="377"/>
                  <a:pt x="330" y="377"/>
                  <a:pt x="330" y="377"/>
                </a:cubicBezTo>
                <a:cubicBezTo>
                  <a:pt x="330" y="376"/>
                  <a:pt x="330" y="376"/>
                  <a:pt x="330" y="376"/>
                </a:cubicBezTo>
                <a:cubicBezTo>
                  <a:pt x="330" y="376"/>
                  <a:pt x="330" y="376"/>
                  <a:pt x="330" y="376"/>
                </a:cubicBezTo>
                <a:cubicBezTo>
                  <a:pt x="330" y="376"/>
                  <a:pt x="330" y="376"/>
                  <a:pt x="330" y="376"/>
                </a:cubicBezTo>
                <a:close/>
                <a:moveTo>
                  <a:pt x="331" y="381"/>
                </a:moveTo>
                <a:cubicBezTo>
                  <a:pt x="331" y="380"/>
                  <a:pt x="331" y="380"/>
                  <a:pt x="331" y="380"/>
                </a:cubicBezTo>
                <a:cubicBezTo>
                  <a:pt x="332" y="379"/>
                  <a:pt x="332" y="379"/>
                  <a:pt x="332" y="379"/>
                </a:cubicBezTo>
                <a:cubicBezTo>
                  <a:pt x="332" y="379"/>
                  <a:pt x="332" y="379"/>
                  <a:pt x="332" y="379"/>
                </a:cubicBezTo>
                <a:cubicBezTo>
                  <a:pt x="332" y="381"/>
                  <a:pt x="332" y="381"/>
                  <a:pt x="332" y="381"/>
                </a:cubicBezTo>
                <a:cubicBezTo>
                  <a:pt x="331" y="382"/>
                  <a:pt x="331" y="382"/>
                  <a:pt x="331" y="382"/>
                </a:cubicBezTo>
                <a:cubicBezTo>
                  <a:pt x="331" y="382"/>
                  <a:pt x="331" y="382"/>
                  <a:pt x="331" y="381"/>
                </a:cubicBezTo>
                <a:close/>
                <a:moveTo>
                  <a:pt x="323" y="380"/>
                </a:moveTo>
                <a:cubicBezTo>
                  <a:pt x="324" y="379"/>
                  <a:pt x="324" y="379"/>
                  <a:pt x="324" y="379"/>
                </a:cubicBezTo>
                <a:cubicBezTo>
                  <a:pt x="325" y="379"/>
                  <a:pt x="325" y="379"/>
                  <a:pt x="325" y="379"/>
                </a:cubicBezTo>
                <a:cubicBezTo>
                  <a:pt x="325" y="378"/>
                  <a:pt x="325" y="378"/>
                  <a:pt x="325" y="378"/>
                </a:cubicBezTo>
                <a:cubicBezTo>
                  <a:pt x="325" y="378"/>
                  <a:pt x="325" y="378"/>
                  <a:pt x="325" y="378"/>
                </a:cubicBezTo>
                <a:cubicBezTo>
                  <a:pt x="326" y="378"/>
                  <a:pt x="326" y="378"/>
                  <a:pt x="326" y="378"/>
                </a:cubicBezTo>
                <a:cubicBezTo>
                  <a:pt x="327" y="377"/>
                  <a:pt x="327" y="377"/>
                  <a:pt x="327" y="377"/>
                </a:cubicBezTo>
                <a:cubicBezTo>
                  <a:pt x="326" y="379"/>
                  <a:pt x="326" y="379"/>
                  <a:pt x="326" y="379"/>
                </a:cubicBezTo>
                <a:cubicBezTo>
                  <a:pt x="325" y="380"/>
                  <a:pt x="325" y="380"/>
                  <a:pt x="325" y="380"/>
                </a:cubicBezTo>
                <a:cubicBezTo>
                  <a:pt x="324" y="380"/>
                  <a:pt x="324" y="380"/>
                  <a:pt x="324" y="380"/>
                </a:cubicBezTo>
                <a:cubicBezTo>
                  <a:pt x="323" y="380"/>
                  <a:pt x="323" y="380"/>
                  <a:pt x="323" y="380"/>
                </a:cubicBezTo>
                <a:close/>
                <a:moveTo>
                  <a:pt x="328" y="382"/>
                </a:moveTo>
                <a:cubicBezTo>
                  <a:pt x="330" y="380"/>
                  <a:pt x="330" y="380"/>
                  <a:pt x="330" y="380"/>
                </a:cubicBezTo>
                <a:cubicBezTo>
                  <a:pt x="330" y="379"/>
                  <a:pt x="330" y="379"/>
                  <a:pt x="330" y="379"/>
                </a:cubicBezTo>
                <a:cubicBezTo>
                  <a:pt x="330" y="379"/>
                  <a:pt x="330" y="379"/>
                  <a:pt x="330" y="379"/>
                </a:cubicBezTo>
                <a:cubicBezTo>
                  <a:pt x="330" y="380"/>
                  <a:pt x="330" y="380"/>
                  <a:pt x="330" y="380"/>
                </a:cubicBezTo>
                <a:cubicBezTo>
                  <a:pt x="329" y="382"/>
                  <a:pt x="329" y="382"/>
                  <a:pt x="329" y="382"/>
                </a:cubicBezTo>
                <a:cubicBezTo>
                  <a:pt x="328" y="383"/>
                  <a:pt x="328" y="383"/>
                  <a:pt x="328" y="383"/>
                </a:cubicBezTo>
                <a:cubicBezTo>
                  <a:pt x="329" y="382"/>
                  <a:pt x="329" y="382"/>
                  <a:pt x="329" y="382"/>
                </a:cubicBezTo>
                <a:cubicBezTo>
                  <a:pt x="331" y="381"/>
                  <a:pt x="331" y="381"/>
                  <a:pt x="331" y="381"/>
                </a:cubicBezTo>
                <a:cubicBezTo>
                  <a:pt x="331" y="380"/>
                  <a:pt x="331" y="380"/>
                  <a:pt x="331" y="380"/>
                </a:cubicBezTo>
                <a:cubicBezTo>
                  <a:pt x="331" y="379"/>
                  <a:pt x="331" y="379"/>
                  <a:pt x="331" y="379"/>
                </a:cubicBezTo>
                <a:cubicBezTo>
                  <a:pt x="331" y="378"/>
                  <a:pt x="331" y="378"/>
                  <a:pt x="331" y="378"/>
                </a:cubicBezTo>
                <a:cubicBezTo>
                  <a:pt x="330" y="378"/>
                  <a:pt x="330" y="378"/>
                  <a:pt x="330" y="378"/>
                </a:cubicBezTo>
                <a:cubicBezTo>
                  <a:pt x="330" y="377"/>
                  <a:pt x="330" y="377"/>
                  <a:pt x="330" y="377"/>
                </a:cubicBezTo>
                <a:cubicBezTo>
                  <a:pt x="329" y="377"/>
                  <a:pt x="329" y="377"/>
                  <a:pt x="329" y="377"/>
                </a:cubicBezTo>
                <a:cubicBezTo>
                  <a:pt x="329" y="377"/>
                  <a:pt x="329" y="377"/>
                  <a:pt x="329" y="377"/>
                </a:cubicBezTo>
                <a:cubicBezTo>
                  <a:pt x="329" y="379"/>
                  <a:pt x="329" y="379"/>
                  <a:pt x="329" y="379"/>
                </a:cubicBezTo>
                <a:cubicBezTo>
                  <a:pt x="328" y="380"/>
                  <a:pt x="328" y="380"/>
                  <a:pt x="328" y="380"/>
                </a:cubicBezTo>
                <a:cubicBezTo>
                  <a:pt x="327" y="381"/>
                  <a:pt x="327" y="381"/>
                  <a:pt x="327" y="381"/>
                </a:cubicBezTo>
                <a:cubicBezTo>
                  <a:pt x="327" y="380"/>
                  <a:pt x="327" y="380"/>
                  <a:pt x="327" y="380"/>
                </a:cubicBezTo>
                <a:cubicBezTo>
                  <a:pt x="328" y="379"/>
                  <a:pt x="328" y="379"/>
                  <a:pt x="328" y="379"/>
                </a:cubicBezTo>
                <a:cubicBezTo>
                  <a:pt x="328" y="378"/>
                  <a:pt x="328" y="378"/>
                  <a:pt x="328" y="378"/>
                </a:cubicBezTo>
                <a:cubicBezTo>
                  <a:pt x="328" y="378"/>
                  <a:pt x="328" y="378"/>
                  <a:pt x="328" y="378"/>
                </a:cubicBezTo>
                <a:cubicBezTo>
                  <a:pt x="327" y="378"/>
                  <a:pt x="327" y="378"/>
                  <a:pt x="327" y="378"/>
                </a:cubicBezTo>
                <a:cubicBezTo>
                  <a:pt x="326" y="380"/>
                  <a:pt x="326" y="380"/>
                  <a:pt x="326" y="380"/>
                </a:cubicBezTo>
                <a:cubicBezTo>
                  <a:pt x="325" y="381"/>
                  <a:pt x="325" y="381"/>
                  <a:pt x="325" y="381"/>
                </a:cubicBezTo>
                <a:cubicBezTo>
                  <a:pt x="325" y="382"/>
                  <a:pt x="325" y="382"/>
                  <a:pt x="325" y="382"/>
                </a:cubicBezTo>
                <a:cubicBezTo>
                  <a:pt x="324" y="383"/>
                  <a:pt x="324" y="383"/>
                  <a:pt x="324" y="383"/>
                </a:cubicBezTo>
                <a:cubicBezTo>
                  <a:pt x="324" y="384"/>
                  <a:pt x="324" y="384"/>
                  <a:pt x="324" y="384"/>
                </a:cubicBezTo>
                <a:cubicBezTo>
                  <a:pt x="325" y="383"/>
                  <a:pt x="325" y="383"/>
                  <a:pt x="325" y="383"/>
                </a:cubicBezTo>
                <a:cubicBezTo>
                  <a:pt x="326" y="382"/>
                  <a:pt x="326" y="382"/>
                  <a:pt x="326" y="382"/>
                </a:cubicBezTo>
                <a:cubicBezTo>
                  <a:pt x="327" y="382"/>
                  <a:pt x="327" y="382"/>
                  <a:pt x="327" y="382"/>
                </a:cubicBezTo>
                <a:cubicBezTo>
                  <a:pt x="326" y="382"/>
                  <a:pt x="326" y="382"/>
                  <a:pt x="326" y="382"/>
                </a:cubicBezTo>
                <a:cubicBezTo>
                  <a:pt x="325" y="384"/>
                  <a:pt x="325" y="384"/>
                  <a:pt x="325" y="384"/>
                </a:cubicBezTo>
                <a:cubicBezTo>
                  <a:pt x="326" y="384"/>
                  <a:pt x="326" y="384"/>
                  <a:pt x="326" y="384"/>
                </a:cubicBezTo>
                <a:cubicBezTo>
                  <a:pt x="327" y="383"/>
                  <a:pt x="327" y="383"/>
                  <a:pt x="327" y="383"/>
                </a:cubicBezTo>
                <a:cubicBezTo>
                  <a:pt x="327" y="383"/>
                  <a:pt x="327" y="383"/>
                  <a:pt x="327" y="383"/>
                </a:cubicBezTo>
                <a:cubicBezTo>
                  <a:pt x="327" y="383"/>
                  <a:pt x="328" y="382"/>
                  <a:pt x="328" y="382"/>
                </a:cubicBezTo>
                <a:close/>
                <a:moveTo>
                  <a:pt x="327" y="382"/>
                </a:moveTo>
                <a:cubicBezTo>
                  <a:pt x="327" y="381"/>
                  <a:pt x="327" y="381"/>
                  <a:pt x="327" y="381"/>
                </a:cubicBezTo>
                <a:cubicBezTo>
                  <a:pt x="329" y="380"/>
                  <a:pt x="329" y="380"/>
                  <a:pt x="329" y="380"/>
                </a:cubicBezTo>
                <a:cubicBezTo>
                  <a:pt x="328" y="381"/>
                  <a:pt x="328" y="381"/>
                  <a:pt x="328" y="381"/>
                </a:cubicBezTo>
                <a:cubicBezTo>
                  <a:pt x="328" y="382"/>
                  <a:pt x="328" y="382"/>
                  <a:pt x="328" y="382"/>
                </a:cubicBezTo>
                <a:cubicBezTo>
                  <a:pt x="327" y="382"/>
                  <a:pt x="327" y="382"/>
                  <a:pt x="327" y="382"/>
                </a:cubicBezTo>
                <a:close/>
                <a:moveTo>
                  <a:pt x="412" y="468"/>
                </a:moveTo>
                <a:cubicBezTo>
                  <a:pt x="411" y="468"/>
                  <a:pt x="411" y="468"/>
                  <a:pt x="411" y="468"/>
                </a:cubicBezTo>
                <a:cubicBezTo>
                  <a:pt x="411" y="468"/>
                  <a:pt x="411" y="468"/>
                  <a:pt x="411" y="468"/>
                </a:cubicBezTo>
                <a:cubicBezTo>
                  <a:pt x="411" y="467"/>
                  <a:pt x="411" y="467"/>
                  <a:pt x="411" y="467"/>
                </a:cubicBezTo>
                <a:cubicBezTo>
                  <a:pt x="412" y="467"/>
                  <a:pt x="412" y="467"/>
                  <a:pt x="412" y="467"/>
                </a:cubicBezTo>
                <a:cubicBezTo>
                  <a:pt x="413" y="466"/>
                  <a:pt x="413" y="466"/>
                  <a:pt x="413" y="466"/>
                </a:cubicBezTo>
                <a:cubicBezTo>
                  <a:pt x="413" y="466"/>
                  <a:pt x="413" y="466"/>
                  <a:pt x="413" y="466"/>
                </a:cubicBezTo>
                <a:cubicBezTo>
                  <a:pt x="413" y="466"/>
                  <a:pt x="413" y="466"/>
                  <a:pt x="413" y="466"/>
                </a:cubicBezTo>
                <a:cubicBezTo>
                  <a:pt x="413" y="466"/>
                  <a:pt x="413" y="466"/>
                  <a:pt x="413" y="466"/>
                </a:cubicBezTo>
                <a:cubicBezTo>
                  <a:pt x="411" y="467"/>
                  <a:pt x="411" y="467"/>
                  <a:pt x="411" y="467"/>
                </a:cubicBezTo>
                <a:cubicBezTo>
                  <a:pt x="411" y="468"/>
                  <a:pt x="411" y="468"/>
                  <a:pt x="411" y="468"/>
                </a:cubicBezTo>
                <a:cubicBezTo>
                  <a:pt x="411" y="468"/>
                  <a:pt x="411" y="468"/>
                  <a:pt x="411" y="468"/>
                </a:cubicBezTo>
                <a:cubicBezTo>
                  <a:pt x="412" y="468"/>
                  <a:pt x="412" y="468"/>
                  <a:pt x="412" y="468"/>
                </a:cubicBezTo>
                <a:cubicBezTo>
                  <a:pt x="412" y="468"/>
                  <a:pt x="412" y="468"/>
                  <a:pt x="412" y="468"/>
                </a:cubicBezTo>
                <a:close/>
                <a:moveTo>
                  <a:pt x="443" y="474"/>
                </a:moveTo>
                <a:cubicBezTo>
                  <a:pt x="442" y="473"/>
                  <a:pt x="442" y="473"/>
                  <a:pt x="442" y="473"/>
                </a:cubicBezTo>
                <a:cubicBezTo>
                  <a:pt x="443" y="472"/>
                  <a:pt x="443" y="472"/>
                  <a:pt x="443" y="472"/>
                </a:cubicBezTo>
                <a:cubicBezTo>
                  <a:pt x="443" y="471"/>
                  <a:pt x="443" y="471"/>
                  <a:pt x="443" y="471"/>
                </a:cubicBezTo>
                <a:cubicBezTo>
                  <a:pt x="442" y="470"/>
                  <a:pt x="442" y="470"/>
                  <a:pt x="442" y="470"/>
                </a:cubicBezTo>
                <a:cubicBezTo>
                  <a:pt x="443" y="470"/>
                  <a:pt x="443" y="470"/>
                  <a:pt x="443" y="470"/>
                </a:cubicBezTo>
                <a:cubicBezTo>
                  <a:pt x="443" y="469"/>
                  <a:pt x="443" y="469"/>
                  <a:pt x="443" y="469"/>
                </a:cubicBezTo>
                <a:cubicBezTo>
                  <a:pt x="443" y="470"/>
                  <a:pt x="443" y="470"/>
                  <a:pt x="443" y="470"/>
                </a:cubicBezTo>
                <a:cubicBezTo>
                  <a:pt x="443" y="470"/>
                  <a:pt x="443" y="470"/>
                  <a:pt x="443" y="470"/>
                </a:cubicBezTo>
                <a:cubicBezTo>
                  <a:pt x="443" y="471"/>
                  <a:pt x="443" y="471"/>
                  <a:pt x="443" y="471"/>
                </a:cubicBezTo>
                <a:cubicBezTo>
                  <a:pt x="443" y="472"/>
                  <a:pt x="443" y="472"/>
                  <a:pt x="443" y="472"/>
                </a:cubicBezTo>
                <a:cubicBezTo>
                  <a:pt x="443" y="472"/>
                  <a:pt x="443" y="472"/>
                  <a:pt x="443" y="472"/>
                </a:cubicBezTo>
                <a:cubicBezTo>
                  <a:pt x="443" y="472"/>
                  <a:pt x="443" y="472"/>
                  <a:pt x="443" y="472"/>
                </a:cubicBezTo>
                <a:cubicBezTo>
                  <a:pt x="443" y="473"/>
                  <a:pt x="443" y="473"/>
                  <a:pt x="443" y="473"/>
                </a:cubicBezTo>
                <a:cubicBezTo>
                  <a:pt x="443" y="474"/>
                  <a:pt x="443" y="474"/>
                  <a:pt x="443" y="474"/>
                </a:cubicBezTo>
                <a:cubicBezTo>
                  <a:pt x="443" y="474"/>
                  <a:pt x="443" y="474"/>
                  <a:pt x="443" y="474"/>
                </a:cubicBezTo>
                <a:close/>
                <a:moveTo>
                  <a:pt x="444" y="474"/>
                </a:moveTo>
                <a:cubicBezTo>
                  <a:pt x="444" y="474"/>
                  <a:pt x="444" y="474"/>
                  <a:pt x="444" y="474"/>
                </a:cubicBezTo>
                <a:cubicBezTo>
                  <a:pt x="444" y="474"/>
                  <a:pt x="444" y="474"/>
                  <a:pt x="444" y="474"/>
                </a:cubicBezTo>
                <a:cubicBezTo>
                  <a:pt x="445" y="474"/>
                  <a:pt x="445" y="474"/>
                  <a:pt x="445" y="474"/>
                </a:cubicBezTo>
                <a:cubicBezTo>
                  <a:pt x="444" y="475"/>
                  <a:pt x="444" y="475"/>
                  <a:pt x="444" y="475"/>
                </a:cubicBezTo>
                <a:cubicBezTo>
                  <a:pt x="444" y="474"/>
                  <a:pt x="444" y="474"/>
                  <a:pt x="444" y="474"/>
                </a:cubicBezTo>
                <a:close/>
                <a:moveTo>
                  <a:pt x="456" y="430"/>
                </a:moveTo>
                <a:cubicBezTo>
                  <a:pt x="457" y="429"/>
                  <a:pt x="457" y="429"/>
                  <a:pt x="457" y="429"/>
                </a:cubicBezTo>
                <a:cubicBezTo>
                  <a:pt x="457" y="429"/>
                  <a:pt x="457" y="429"/>
                  <a:pt x="457" y="429"/>
                </a:cubicBezTo>
                <a:cubicBezTo>
                  <a:pt x="457" y="429"/>
                  <a:pt x="457" y="429"/>
                  <a:pt x="457" y="429"/>
                </a:cubicBezTo>
                <a:cubicBezTo>
                  <a:pt x="457" y="430"/>
                  <a:pt x="457" y="430"/>
                  <a:pt x="457" y="430"/>
                </a:cubicBezTo>
                <a:cubicBezTo>
                  <a:pt x="456" y="431"/>
                  <a:pt x="456" y="431"/>
                  <a:pt x="456" y="431"/>
                </a:cubicBezTo>
                <a:cubicBezTo>
                  <a:pt x="456" y="431"/>
                  <a:pt x="456" y="430"/>
                  <a:pt x="456" y="430"/>
                </a:cubicBezTo>
                <a:close/>
                <a:moveTo>
                  <a:pt x="452" y="439"/>
                </a:moveTo>
                <a:cubicBezTo>
                  <a:pt x="452" y="440"/>
                  <a:pt x="452" y="440"/>
                  <a:pt x="452" y="440"/>
                </a:cubicBezTo>
                <a:cubicBezTo>
                  <a:pt x="453" y="440"/>
                  <a:pt x="453" y="440"/>
                  <a:pt x="453" y="440"/>
                </a:cubicBezTo>
                <a:cubicBezTo>
                  <a:pt x="453" y="440"/>
                  <a:pt x="453" y="440"/>
                  <a:pt x="453" y="440"/>
                </a:cubicBezTo>
                <a:cubicBezTo>
                  <a:pt x="453" y="440"/>
                  <a:pt x="453" y="440"/>
                  <a:pt x="453" y="440"/>
                </a:cubicBezTo>
                <a:cubicBezTo>
                  <a:pt x="453" y="439"/>
                  <a:pt x="453" y="439"/>
                  <a:pt x="453" y="439"/>
                </a:cubicBezTo>
                <a:cubicBezTo>
                  <a:pt x="453" y="439"/>
                  <a:pt x="453" y="439"/>
                  <a:pt x="453" y="439"/>
                </a:cubicBezTo>
                <a:cubicBezTo>
                  <a:pt x="452" y="439"/>
                  <a:pt x="452" y="439"/>
                  <a:pt x="452" y="439"/>
                </a:cubicBezTo>
                <a:close/>
                <a:moveTo>
                  <a:pt x="459" y="450"/>
                </a:moveTo>
                <a:cubicBezTo>
                  <a:pt x="459" y="449"/>
                  <a:pt x="459" y="449"/>
                  <a:pt x="459" y="449"/>
                </a:cubicBezTo>
                <a:cubicBezTo>
                  <a:pt x="459" y="448"/>
                  <a:pt x="459" y="448"/>
                  <a:pt x="459" y="448"/>
                </a:cubicBezTo>
                <a:cubicBezTo>
                  <a:pt x="459" y="448"/>
                  <a:pt x="459" y="448"/>
                  <a:pt x="459" y="448"/>
                </a:cubicBezTo>
                <a:cubicBezTo>
                  <a:pt x="459" y="449"/>
                  <a:pt x="459" y="449"/>
                  <a:pt x="459" y="449"/>
                </a:cubicBezTo>
                <a:cubicBezTo>
                  <a:pt x="460" y="449"/>
                  <a:pt x="460" y="449"/>
                  <a:pt x="460" y="449"/>
                </a:cubicBezTo>
                <a:cubicBezTo>
                  <a:pt x="460" y="449"/>
                  <a:pt x="460" y="449"/>
                  <a:pt x="460" y="449"/>
                </a:cubicBezTo>
                <a:cubicBezTo>
                  <a:pt x="460" y="450"/>
                  <a:pt x="460" y="450"/>
                  <a:pt x="460" y="450"/>
                </a:cubicBezTo>
                <a:cubicBezTo>
                  <a:pt x="459" y="450"/>
                  <a:pt x="459" y="450"/>
                  <a:pt x="459" y="450"/>
                </a:cubicBezTo>
                <a:cubicBezTo>
                  <a:pt x="459" y="450"/>
                  <a:pt x="459" y="450"/>
                  <a:pt x="459" y="450"/>
                </a:cubicBezTo>
                <a:close/>
                <a:moveTo>
                  <a:pt x="456" y="450"/>
                </a:moveTo>
                <a:cubicBezTo>
                  <a:pt x="456" y="450"/>
                  <a:pt x="456" y="450"/>
                  <a:pt x="456" y="450"/>
                </a:cubicBezTo>
                <a:cubicBezTo>
                  <a:pt x="457" y="450"/>
                  <a:pt x="457" y="450"/>
                  <a:pt x="457" y="450"/>
                </a:cubicBezTo>
                <a:cubicBezTo>
                  <a:pt x="457" y="449"/>
                  <a:pt x="457" y="449"/>
                  <a:pt x="457" y="449"/>
                </a:cubicBezTo>
                <a:cubicBezTo>
                  <a:pt x="457" y="449"/>
                  <a:pt x="457" y="449"/>
                  <a:pt x="457" y="449"/>
                </a:cubicBezTo>
                <a:cubicBezTo>
                  <a:pt x="457" y="449"/>
                  <a:pt x="457" y="449"/>
                  <a:pt x="457" y="449"/>
                </a:cubicBezTo>
                <a:cubicBezTo>
                  <a:pt x="457" y="450"/>
                  <a:pt x="457" y="450"/>
                  <a:pt x="457" y="450"/>
                </a:cubicBezTo>
                <a:cubicBezTo>
                  <a:pt x="457" y="450"/>
                  <a:pt x="457" y="450"/>
                  <a:pt x="457" y="450"/>
                </a:cubicBezTo>
                <a:cubicBezTo>
                  <a:pt x="456" y="451"/>
                  <a:pt x="456" y="451"/>
                  <a:pt x="456" y="451"/>
                </a:cubicBezTo>
                <a:cubicBezTo>
                  <a:pt x="455" y="451"/>
                  <a:pt x="455" y="451"/>
                  <a:pt x="455" y="451"/>
                </a:cubicBezTo>
                <a:cubicBezTo>
                  <a:pt x="456" y="450"/>
                  <a:pt x="456" y="450"/>
                  <a:pt x="456" y="450"/>
                </a:cubicBezTo>
                <a:cubicBezTo>
                  <a:pt x="456" y="450"/>
                  <a:pt x="456" y="450"/>
                  <a:pt x="456" y="450"/>
                </a:cubicBezTo>
                <a:close/>
                <a:moveTo>
                  <a:pt x="446" y="466"/>
                </a:moveTo>
                <a:cubicBezTo>
                  <a:pt x="446" y="465"/>
                  <a:pt x="446" y="465"/>
                  <a:pt x="446" y="465"/>
                </a:cubicBezTo>
                <a:cubicBezTo>
                  <a:pt x="446" y="466"/>
                  <a:pt x="446" y="466"/>
                  <a:pt x="446" y="466"/>
                </a:cubicBezTo>
                <a:cubicBezTo>
                  <a:pt x="446" y="466"/>
                  <a:pt x="446" y="466"/>
                  <a:pt x="446" y="466"/>
                </a:cubicBezTo>
                <a:cubicBezTo>
                  <a:pt x="446" y="466"/>
                  <a:pt x="446" y="466"/>
                  <a:pt x="446" y="466"/>
                </a:cubicBezTo>
                <a:close/>
                <a:moveTo>
                  <a:pt x="459" y="462"/>
                </a:moveTo>
                <a:cubicBezTo>
                  <a:pt x="459" y="463"/>
                  <a:pt x="459" y="463"/>
                  <a:pt x="459" y="463"/>
                </a:cubicBezTo>
                <a:cubicBezTo>
                  <a:pt x="460" y="463"/>
                  <a:pt x="460" y="463"/>
                  <a:pt x="460" y="463"/>
                </a:cubicBezTo>
                <a:cubicBezTo>
                  <a:pt x="460" y="463"/>
                  <a:pt x="460" y="463"/>
                  <a:pt x="460" y="463"/>
                </a:cubicBezTo>
                <a:cubicBezTo>
                  <a:pt x="461" y="463"/>
                  <a:pt x="461" y="463"/>
                  <a:pt x="461" y="463"/>
                </a:cubicBezTo>
                <a:cubicBezTo>
                  <a:pt x="459" y="462"/>
                  <a:pt x="459" y="462"/>
                  <a:pt x="459" y="462"/>
                </a:cubicBezTo>
                <a:cubicBezTo>
                  <a:pt x="459" y="462"/>
                  <a:pt x="459" y="462"/>
                  <a:pt x="459" y="462"/>
                </a:cubicBezTo>
                <a:close/>
                <a:moveTo>
                  <a:pt x="445" y="438"/>
                </a:moveTo>
                <a:cubicBezTo>
                  <a:pt x="444" y="439"/>
                  <a:pt x="444" y="439"/>
                  <a:pt x="444" y="439"/>
                </a:cubicBezTo>
                <a:cubicBezTo>
                  <a:pt x="443" y="440"/>
                  <a:pt x="443" y="440"/>
                  <a:pt x="443" y="440"/>
                </a:cubicBezTo>
                <a:cubicBezTo>
                  <a:pt x="443" y="440"/>
                  <a:pt x="443" y="440"/>
                  <a:pt x="443" y="440"/>
                </a:cubicBezTo>
                <a:cubicBezTo>
                  <a:pt x="443" y="440"/>
                  <a:pt x="443" y="440"/>
                  <a:pt x="443" y="440"/>
                </a:cubicBezTo>
                <a:cubicBezTo>
                  <a:pt x="442" y="441"/>
                  <a:pt x="442" y="441"/>
                  <a:pt x="442" y="441"/>
                </a:cubicBezTo>
                <a:cubicBezTo>
                  <a:pt x="442" y="441"/>
                  <a:pt x="442" y="441"/>
                  <a:pt x="442" y="441"/>
                </a:cubicBezTo>
                <a:cubicBezTo>
                  <a:pt x="442" y="442"/>
                  <a:pt x="442" y="442"/>
                  <a:pt x="442" y="442"/>
                </a:cubicBezTo>
                <a:cubicBezTo>
                  <a:pt x="442" y="442"/>
                  <a:pt x="442" y="442"/>
                  <a:pt x="442" y="442"/>
                </a:cubicBezTo>
                <a:cubicBezTo>
                  <a:pt x="442" y="442"/>
                  <a:pt x="442" y="442"/>
                  <a:pt x="442" y="442"/>
                </a:cubicBezTo>
                <a:cubicBezTo>
                  <a:pt x="441" y="442"/>
                  <a:pt x="441" y="442"/>
                  <a:pt x="441" y="442"/>
                </a:cubicBezTo>
                <a:cubicBezTo>
                  <a:pt x="441" y="443"/>
                  <a:pt x="441" y="443"/>
                  <a:pt x="441" y="443"/>
                </a:cubicBezTo>
                <a:cubicBezTo>
                  <a:pt x="440" y="444"/>
                  <a:pt x="440" y="444"/>
                  <a:pt x="440" y="444"/>
                </a:cubicBezTo>
                <a:cubicBezTo>
                  <a:pt x="441" y="444"/>
                  <a:pt x="441" y="444"/>
                  <a:pt x="441" y="444"/>
                </a:cubicBezTo>
                <a:cubicBezTo>
                  <a:pt x="441" y="444"/>
                  <a:pt x="441" y="444"/>
                  <a:pt x="441" y="444"/>
                </a:cubicBezTo>
                <a:cubicBezTo>
                  <a:pt x="441" y="444"/>
                  <a:pt x="441" y="444"/>
                  <a:pt x="441" y="444"/>
                </a:cubicBezTo>
                <a:cubicBezTo>
                  <a:pt x="440" y="444"/>
                  <a:pt x="440" y="444"/>
                  <a:pt x="440" y="444"/>
                </a:cubicBezTo>
                <a:cubicBezTo>
                  <a:pt x="439" y="446"/>
                  <a:pt x="439" y="446"/>
                  <a:pt x="439" y="446"/>
                </a:cubicBezTo>
                <a:cubicBezTo>
                  <a:pt x="439" y="446"/>
                  <a:pt x="439" y="446"/>
                  <a:pt x="439" y="446"/>
                </a:cubicBezTo>
                <a:cubicBezTo>
                  <a:pt x="438" y="448"/>
                  <a:pt x="438" y="448"/>
                  <a:pt x="438" y="448"/>
                </a:cubicBezTo>
                <a:cubicBezTo>
                  <a:pt x="438" y="449"/>
                  <a:pt x="438" y="449"/>
                  <a:pt x="438" y="449"/>
                </a:cubicBezTo>
                <a:cubicBezTo>
                  <a:pt x="438" y="449"/>
                  <a:pt x="438" y="449"/>
                  <a:pt x="438" y="449"/>
                </a:cubicBezTo>
                <a:cubicBezTo>
                  <a:pt x="438" y="450"/>
                  <a:pt x="438" y="450"/>
                  <a:pt x="438" y="450"/>
                </a:cubicBezTo>
                <a:cubicBezTo>
                  <a:pt x="438" y="450"/>
                  <a:pt x="438" y="450"/>
                  <a:pt x="438" y="450"/>
                </a:cubicBezTo>
                <a:cubicBezTo>
                  <a:pt x="437" y="450"/>
                  <a:pt x="437" y="450"/>
                  <a:pt x="437" y="450"/>
                </a:cubicBezTo>
                <a:cubicBezTo>
                  <a:pt x="437" y="450"/>
                  <a:pt x="437" y="450"/>
                  <a:pt x="437" y="450"/>
                </a:cubicBezTo>
                <a:cubicBezTo>
                  <a:pt x="436" y="450"/>
                  <a:pt x="436" y="450"/>
                  <a:pt x="436" y="450"/>
                </a:cubicBezTo>
                <a:cubicBezTo>
                  <a:pt x="436" y="451"/>
                  <a:pt x="436" y="451"/>
                  <a:pt x="436" y="451"/>
                </a:cubicBezTo>
                <a:cubicBezTo>
                  <a:pt x="436" y="452"/>
                  <a:pt x="436" y="452"/>
                  <a:pt x="436" y="452"/>
                </a:cubicBezTo>
                <a:cubicBezTo>
                  <a:pt x="436" y="452"/>
                  <a:pt x="436" y="452"/>
                  <a:pt x="436" y="452"/>
                </a:cubicBezTo>
                <a:cubicBezTo>
                  <a:pt x="437" y="452"/>
                  <a:pt x="437" y="452"/>
                  <a:pt x="437" y="452"/>
                </a:cubicBezTo>
                <a:cubicBezTo>
                  <a:pt x="436" y="452"/>
                  <a:pt x="436" y="452"/>
                  <a:pt x="436" y="452"/>
                </a:cubicBezTo>
                <a:cubicBezTo>
                  <a:pt x="436" y="453"/>
                  <a:pt x="436" y="453"/>
                  <a:pt x="436" y="453"/>
                </a:cubicBezTo>
                <a:cubicBezTo>
                  <a:pt x="435" y="454"/>
                  <a:pt x="435" y="454"/>
                  <a:pt x="435" y="454"/>
                </a:cubicBezTo>
                <a:cubicBezTo>
                  <a:pt x="434" y="453"/>
                  <a:pt x="434" y="453"/>
                  <a:pt x="434" y="453"/>
                </a:cubicBezTo>
                <a:cubicBezTo>
                  <a:pt x="434" y="454"/>
                  <a:pt x="434" y="454"/>
                  <a:pt x="434" y="454"/>
                </a:cubicBezTo>
                <a:cubicBezTo>
                  <a:pt x="434" y="454"/>
                  <a:pt x="434" y="454"/>
                  <a:pt x="434" y="454"/>
                </a:cubicBezTo>
                <a:cubicBezTo>
                  <a:pt x="433" y="455"/>
                  <a:pt x="433" y="455"/>
                  <a:pt x="433" y="455"/>
                </a:cubicBezTo>
                <a:cubicBezTo>
                  <a:pt x="432" y="456"/>
                  <a:pt x="432" y="456"/>
                  <a:pt x="432" y="456"/>
                </a:cubicBezTo>
                <a:cubicBezTo>
                  <a:pt x="432" y="457"/>
                  <a:pt x="432" y="457"/>
                  <a:pt x="432" y="457"/>
                </a:cubicBezTo>
                <a:cubicBezTo>
                  <a:pt x="431" y="457"/>
                  <a:pt x="431" y="457"/>
                  <a:pt x="431" y="457"/>
                </a:cubicBezTo>
                <a:cubicBezTo>
                  <a:pt x="431" y="456"/>
                  <a:pt x="431" y="456"/>
                  <a:pt x="431" y="456"/>
                </a:cubicBezTo>
                <a:cubicBezTo>
                  <a:pt x="431" y="457"/>
                  <a:pt x="431" y="457"/>
                  <a:pt x="431" y="457"/>
                </a:cubicBezTo>
                <a:cubicBezTo>
                  <a:pt x="430" y="456"/>
                  <a:pt x="430" y="456"/>
                  <a:pt x="430" y="456"/>
                </a:cubicBezTo>
                <a:cubicBezTo>
                  <a:pt x="431" y="456"/>
                  <a:pt x="431" y="456"/>
                  <a:pt x="431" y="456"/>
                </a:cubicBezTo>
                <a:cubicBezTo>
                  <a:pt x="431" y="455"/>
                  <a:pt x="431" y="455"/>
                  <a:pt x="431" y="455"/>
                </a:cubicBezTo>
                <a:cubicBezTo>
                  <a:pt x="432" y="455"/>
                  <a:pt x="432" y="455"/>
                  <a:pt x="432" y="455"/>
                </a:cubicBezTo>
                <a:cubicBezTo>
                  <a:pt x="431" y="455"/>
                  <a:pt x="431" y="455"/>
                  <a:pt x="431" y="455"/>
                </a:cubicBezTo>
                <a:cubicBezTo>
                  <a:pt x="430" y="456"/>
                  <a:pt x="430" y="456"/>
                  <a:pt x="430" y="456"/>
                </a:cubicBezTo>
                <a:cubicBezTo>
                  <a:pt x="429" y="456"/>
                  <a:pt x="429" y="456"/>
                  <a:pt x="429" y="456"/>
                </a:cubicBezTo>
                <a:cubicBezTo>
                  <a:pt x="428" y="458"/>
                  <a:pt x="428" y="458"/>
                  <a:pt x="428" y="458"/>
                </a:cubicBezTo>
                <a:cubicBezTo>
                  <a:pt x="429" y="458"/>
                  <a:pt x="429" y="458"/>
                  <a:pt x="429" y="458"/>
                </a:cubicBezTo>
                <a:cubicBezTo>
                  <a:pt x="430" y="458"/>
                  <a:pt x="430" y="458"/>
                  <a:pt x="430" y="458"/>
                </a:cubicBezTo>
                <a:cubicBezTo>
                  <a:pt x="431" y="457"/>
                  <a:pt x="431" y="457"/>
                  <a:pt x="431" y="457"/>
                </a:cubicBezTo>
                <a:cubicBezTo>
                  <a:pt x="433" y="457"/>
                  <a:pt x="433" y="457"/>
                  <a:pt x="433" y="457"/>
                </a:cubicBezTo>
                <a:cubicBezTo>
                  <a:pt x="432" y="458"/>
                  <a:pt x="432" y="458"/>
                  <a:pt x="432" y="458"/>
                </a:cubicBezTo>
                <a:cubicBezTo>
                  <a:pt x="431" y="460"/>
                  <a:pt x="431" y="460"/>
                  <a:pt x="431" y="460"/>
                </a:cubicBezTo>
                <a:cubicBezTo>
                  <a:pt x="430" y="461"/>
                  <a:pt x="430" y="461"/>
                  <a:pt x="430" y="461"/>
                </a:cubicBezTo>
                <a:cubicBezTo>
                  <a:pt x="429" y="462"/>
                  <a:pt x="429" y="462"/>
                  <a:pt x="429" y="462"/>
                </a:cubicBezTo>
                <a:cubicBezTo>
                  <a:pt x="427" y="463"/>
                  <a:pt x="427" y="463"/>
                  <a:pt x="427" y="463"/>
                </a:cubicBezTo>
                <a:cubicBezTo>
                  <a:pt x="427" y="463"/>
                  <a:pt x="427" y="463"/>
                  <a:pt x="427" y="463"/>
                </a:cubicBezTo>
                <a:cubicBezTo>
                  <a:pt x="427" y="463"/>
                  <a:pt x="427" y="463"/>
                  <a:pt x="427" y="463"/>
                </a:cubicBezTo>
                <a:cubicBezTo>
                  <a:pt x="427" y="464"/>
                  <a:pt x="427" y="464"/>
                  <a:pt x="427" y="464"/>
                </a:cubicBezTo>
                <a:cubicBezTo>
                  <a:pt x="427" y="465"/>
                  <a:pt x="427" y="465"/>
                  <a:pt x="427" y="465"/>
                </a:cubicBezTo>
                <a:cubicBezTo>
                  <a:pt x="427" y="465"/>
                  <a:pt x="427" y="465"/>
                  <a:pt x="427" y="465"/>
                </a:cubicBezTo>
                <a:cubicBezTo>
                  <a:pt x="427" y="465"/>
                  <a:pt x="427" y="465"/>
                  <a:pt x="427" y="465"/>
                </a:cubicBezTo>
                <a:cubicBezTo>
                  <a:pt x="429" y="466"/>
                  <a:pt x="429" y="466"/>
                  <a:pt x="429" y="466"/>
                </a:cubicBezTo>
                <a:cubicBezTo>
                  <a:pt x="430" y="466"/>
                  <a:pt x="430" y="466"/>
                  <a:pt x="430" y="466"/>
                </a:cubicBezTo>
                <a:cubicBezTo>
                  <a:pt x="431" y="465"/>
                  <a:pt x="431" y="465"/>
                  <a:pt x="431" y="465"/>
                </a:cubicBezTo>
                <a:cubicBezTo>
                  <a:pt x="432" y="465"/>
                  <a:pt x="432" y="465"/>
                  <a:pt x="432" y="465"/>
                </a:cubicBezTo>
                <a:cubicBezTo>
                  <a:pt x="433" y="464"/>
                  <a:pt x="433" y="464"/>
                  <a:pt x="433" y="464"/>
                </a:cubicBezTo>
                <a:cubicBezTo>
                  <a:pt x="433" y="464"/>
                  <a:pt x="433" y="464"/>
                  <a:pt x="433" y="464"/>
                </a:cubicBezTo>
                <a:cubicBezTo>
                  <a:pt x="433" y="464"/>
                  <a:pt x="433" y="464"/>
                  <a:pt x="433" y="464"/>
                </a:cubicBezTo>
                <a:cubicBezTo>
                  <a:pt x="432" y="465"/>
                  <a:pt x="432" y="465"/>
                  <a:pt x="432" y="465"/>
                </a:cubicBezTo>
                <a:cubicBezTo>
                  <a:pt x="434" y="465"/>
                  <a:pt x="434" y="465"/>
                  <a:pt x="434" y="465"/>
                </a:cubicBezTo>
                <a:cubicBezTo>
                  <a:pt x="435" y="465"/>
                  <a:pt x="435" y="465"/>
                  <a:pt x="435" y="465"/>
                </a:cubicBezTo>
                <a:cubicBezTo>
                  <a:pt x="435" y="465"/>
                  <a:pt x="435" y="465"/>
                  <a:pt x="435" y="465"/>
                </a:cubicBezTo>
                <a:cubicBezTo>
                  <a:pt x="437" y="465"/>
                  <a:pt x="437" y="465"/>
                  <a:pt x="437" y="465"/>
                </a:cubicBezTo>
                <a:cubicBezTo>
                  <a:pt x="438" y="465"/>
                  <a:pt x="438" y="465"/>
                  <a:pt x="438" y="465"/>
                </a:cubicBezTo>
                <a:cubicBezTo>
                  <a:pt x="438" y="466"/>
                  <a:pt x="438" y="466"/>
                  <a:pt x="438" y="466"/>
                </a:cubicBezTo>
                <a:cubicBezTo>
                  <a:pt x="438" y="466"/>
                  <a:pt x="438" y="466"/>
                  <a:pt x="438" y="466"/>
                </a:cubicBezTo>
                <a:cubicBezTo>
                  <a:pt x="440" y="466"/>
                  <a:pt x="440" y="466"/>
                  <a:pt x="440" y="466"/>
                </a:cubicBezTo>
                <a:cubicBezTo>
                  <a:pt x="440" y="466"/>
                  <a:pt x="440" y="466"/>
                  <a:pt x="440" y="466"/>
                </a:cubicBezTo>
                <a:cubicBezTo>
                  <a:pt x="440" y="466"/>
                  <a:pt x="440" y="466"/>
                  <a:pt x="440" y="466"/>
                </a:cubicBezTo>
                <a:cubicBezTo>
                  <a:pt x="441" y="466"/>
                  <a:pt x="441" y="466"/>
                  <a:pt x="441" y="466"/>
                </a:cubicBezTo>
                <a:cubicBezTo>
                  <a:pt x="441" y="466"/>
                  <a:pt x="441" y="466"/>
                  <a:pt x="441" y="466"/>
                </a:cubicBezTo>
                <a:cubicBezTo>
                  <a:pt x="441" y="466"/>
                  <a:pt x="441" y="466"/>
                  <a:pt x="441" y="466"/>
                </a:cubicBezTo>
                <a:cubicBezTo>
                  <a:pt x="442" y="466"/>
                  <a:pt x="442" y="466"/>
                  <a:pt x="442" y="466"/>
                </a:cubicBezTo>
                <a:cubicBezTo>
                  <a:pt x="443" y="466"/>
                  <a:pt x="443" y="466"/>
                  <a:pt x="443" y="466"/>
                </a:cubicBezTo>
                <a:cubicBezTo>
                  <a:pt x="443" y="466"/>
                  <a:pt x="443" y="466"/>
                  <a:pt x="443" y="466"/>
                </a:cubicBezTo>
                <a:cubicBezTo>
                  <a:pt x="444" y="466"/>
                  <a:pt x="444" y="466"/>
                  <a:pt x="444" y="466"/>
                </a:cubicBezTo>
                <a:cubicBezTo>
                  <a:pt x="444" y="466"/>
                  <a:pt x="444" y="466"/>
                  <a:pt x="444" y="466"/>
                </a:cubicBezTo>
                <a:cubicBezTo>
                  <a:pt x="445" y="466"/>
                  <a:pt x="445" y="466"/>
                  <a:pt x="445" y="466"/>
                </a:cubicBezTo>
                <a:cubicBezTo>
                  <a:pt x="445" y="465"/>
                  <a:pt x="445" y="465"/>
                  <a:pt x="445" y="465"/>
                </a:cubicBezTo>
                <a:cubicBezTo>
                  <a:pt x="445" y="465"/>
                  <a:pt x="445" y="465"/>
                  <a:pt x="445" y="465"/>
                </a:cubicBezTo>
                <a:cubicBezTo>
                  <a:pt x="445" y="464"/>
                  <a:pt x="445" y="464"/>
                  <a:pt x="445" y="464"/>
                </a:cubicBezTo>
                <a:cubicBezTo>
                  <a:pt x="445" y="464"/>
                  <a:pt x="445" y="464"/>
                  <a:pt x="445" y="464"/>
                </a:cubicBezTo>
                <a:cubicBezTo>
                  <a:pt x="446" y="463"/>
                  <a:pt x="446" y="463"/>
                  <a:pt x="446" y="463"/>
                </a:cubicBezTo>
                <a:cubicBezTo>
                  <a:pt x="446" y="463"/>
                  <a:pt x="446" y="463"/>
                  <a:pt x="446" y="463"/>
                </a:cubicBezTo>
                <a:cubicBezTo>
                  <a:pt x="446" y="464"/>
                  <a:pt x="446" y="464"/>
                  <a:pt x="446" y="464"/>
                </a:cubicBezTo>
                <a:cubicBezTo>
                  <a:pt x="446" y="465"/>
                  <a:pt x="446" y="465"/>
                  <a:pt x="446" y="465"/>
                </a:cubicBezTo>
                <a:cubicBezTo>
                  <a:pt x="446" y="465"/>
                  <a:pt x="446" y="465"/>
                  <a:pt x="446" y="465"/>
                </a:cubicBezTo>
                <a:cubicBezTo>
                  <a:pt x="446" y="464"/>
                  <a:pt x="446" y="464"/>
                  <a:pt x="446" y="464"/>
                </a:cubicBezTo>
                <a:cubicBezTo>
                  <a:pt x="447" y="464"/>
                  <a:pt x="447" y="464"/>
                  <a:pt x="447" y="464"/>
                </a:cubicBezTo>
                <a:cubicBezTo>
                  <a:pt x="447" y="464"/>
                  <a:pt x="447" y="464"/>
                  <a:pt x="447" y="464"/>
                </a:cubicBezTo>
                <a:cubicBezTo>
                  <a:pt x="447" y="464"/>
                  <a:pt x="447" y="464"/>
                  <a:pt x="447" y="464"/>
                </a:cubicBezTo>
                <a:cubicBezTo>
                  <a:pt x="447" y="465"/>
                  <a:pt x="447" y="465"/>
                  <a:pt x="447" y="465"/>
                </a:cubicBezTo>
                <a:cubicBezTo>
                  <a:pt x="447" y="466"/>
                  <a:pt x="447" y="466"/>
                  <a:pt x="447" y="466"/>
                </a:cubicBezTo>
                <a:cubicBezTo>
                  <a:pt x="447" y="465"/>
                  <a:pt x="447" y="465"/>
                  <a:pt x="447" y="465"/>
                </a:cubicBezTo>
                <a:cubicBezTo>
                  <a:pt x="448" y="465"/>
                  <a:pt x="448" y="465"/>
                  <a:pt x="448" y="465"/>
                </a:cubicBezTo>
                <a:cubicBezTo>
                  <a:pt x="448" y="466"/>
                  <a:pt x="448" y="466"/>
                  <a:pt x="448" y="466"/>
                </a:cubicBezTo>
                <a:cubicBezTo>
                  <a:pt x="446" y="466"/>
                  <a:pt x="446" y="466"/>
                  <a:pt x="446" y="466"/>
                </a:cubicBezTo>
                <a:cubicBezTo>
                  <a:pt x="445" y="467"/>
                  <a:pt x="445" y="467"/>
                  <a:pt x="445" y="467"/>
                </a:cubicBezTo>
                <a:cubicBezTo>
                  <a:pt x="446" y="467"/>
                  <a:pt x="446" y="467"/>
                  <a:pt x="446" y="467"/>
                </a:cubicBezTo>
                <a:cubicBezTo>
                  <a:pt x="446" y="467"/>
                  <a:pt x="446" y="467"/>
                  <a:pt x="446" y="467"/>
                </a:cubicBezTo>
                <a:cubicBezTo>
                  <a:pt x="447" y="467"/>
                  <a:pt x="447" y="467"/>
                  <a:pt x="447" y="467"/>
                </a:cubicBezTo>
                <a:cubicBezTo>
                  <a:pt x="447" y="467"/>
                  <a:pt x="447" y="467"/>
                  <a:pt x="447" y="467"/>
                </a:cubicBezTo>
                <a:cubicBezTo>
                  <a:pt x="448" y="467"/>
                  <a:pt x="448" y="467"/>
                  <a:pt x="448" y="467"/>
                </a:cubicBezTo>
                <a:cubicBezTo>
                  <a:pt x="448" y="468"/>
                  <a:pt x="448" y="468"/>
                  <a:pt x="448" y="468"/>
                </a:cubicBezTo>
                <a:cubicBezTo>
                  <a:pt x="448" y="467"/>
                  <a:pt x="448" y="467"/>
                  <a:pt x="448" y="467"/>
                </a:cubicBezTo>
                <a:cubicBezTo>
                  <a:pt x="449" y="467"/>
                  <a:pt x="449" y="467"/>
                  <a:pt x="449" y="467"/>
                </a:cubicBezTo>
                <a:cubicBezTo>
                  <a:pt x="449" y="466"/>
                  <a:pt x="449" y="466"/>
                  <a:pt x="449" y="466"/>
                </a:cubicBezTo>
                <a:cubicBezTo>
                  <a:pt x="449" y="466"/>
                  <a:pt x="449" y="466"/>
                  <a:pt x="449" y="466"/>
                </a:cubicBezTo>
                <a:cubicBezTo>
                  <a:pt x="450" y="466"/>
                  <a:pt x="450" y="466"/>
                  <a:pt x="450" y="466"/>
                </a:cubicBezTo>
                <a:cubicBezTo>
                  <a:pt x="451" y="466"/>
                  <a:pt x="451" y="466"/>
                  <a:pt x="451" y="466"/>
                </a:cubicBezTo>
                <a:cubicBezTo>
                  <a:pt x="451" y="467"/>
                  <a:pt x="451" y="467"/>
                  <a:pt x="451" y="467"/>
                </a:cubicBezTo>
                <a:cubicBezTo>
                  <a:pt x="452" y="466"/>
                  <a:pt x="452" y="466"/>
                  <a:pt x="452" y="466"/>
                </a:cubicBezTo>
                <a:cubicBezTo>
                  <a:pt x="453" y="466"/>
                  <a:pt x="453" y="466"/>
                  <a:pt x="453" y="466"/>
                </a:cubicBezTo>
                <a:cubicBezTo>
                  <a:pt x="453" y="466"/>
                  <a:pt x="453" y="466"/>
                  <a:pt x="453" y="466"/>
                </a:cubicBezTo>
                <a:cubicBezTo>
                  <a:pt x="453" y="467"/>
                  <a:pt x="453" y="467"/>
                  <a:pt x="453" y="467"/>
                </a:cubicBezTo>
                <a:cubicBezTo>
                  <a:pt x="453" y="467"/>
                  <a:pt x="453" y="467"/>
                  <a:pt x="453" y="467"/>
                </a:cubicBezTo>
                <a:cubicBezTo>
                  <a:pt x="452" y="467"/>
                  <a:pt x="452" y="467"/>
                  <a:pt x="452" y="467"/>
                </a:cubicBezTo>
                <a:cubicBezTo>
                  <a:pt x="451" y="468"/>
                  <a:pt x="451" y="468"/>
                  <a:pt x="451" y="468"/>
                </a:cubicBezTo>
                <a:cubicBezTo>
                  <a:pt x="450" y="468"/>
                  <a:pt x="450" y="468"/>
                  <a:pt x="450" y="468"/>
                </a:cubicBezTo>
                <a:cubicBezTo>
                  <a:pt x="450" y="469"/>
                  <a:pt x="450" y="469"/>
                  <a:pt x="450" y="469"/>
                </a:cubicBezTo>
                <a:cubicBezTo>
                  <a:pt x="450" y="469"/>
                  <a:pt x="450" y="469"/>
                  <a:pt x="450" y="469"/>
                </a:cubicBezTo>
                <a:cubicBezTo>
                  <a:pt x="449" y="469"/>
                  <a:pt x="449" y="469"/>
                  <a:pt x="449" y="469"/>
                </a:cubicBezTo>
                <a:cubicBezTo>
                  <a:pt x="449" y="469"/>
                  <a:pt x="449" y="469"/>
                  <a:pt x="449" y="469"/>
                </a:cubicBezTo>
                <a:cubicBezTo>
                  <a:pt x="448" y="470"/>
                  <a:pt x="448" y="470"/>
                  <a:pt x="448" y="470"/>
                </a:cubicBezTo>
                <a:cubicBezTo>
                  <a:pt x="448" y="470"/>
                  <a:pt x="448" y="470"/>
                  <a:pt x="448" y="470"/>
                </a:cubicBezTo>
                <a:cubicBezTo>
                  <a:pt x="447" y="470"/>
                  <a:pt x="447" y="470"/>
                  <a:pt x="447" y="470"/>
                </a:cubicBezTo>
                <a:cubicBezTo>
                  <a:pt x="446" y="471"/>
                  <a:pt x="446" y="471"/>
                  <a:pt x="446" y="471"/>
                </a:cubicBezTo>
                <a:cubicBezTo>
                  <a:pt x="445" y="471"/>
                  <a:pt x="445" y="471"/>
                  <a:pt x="445" y="471"/>
                </a:cubicBezTo>
                <a:cubicBezTo>
                  <a:pt x="445" y="472"/>
                  <a:pt x="445" y="472"/>
                  <a:pt x="445" y="472"/>
                </a:cubicBezTo>
                <a:cubicBezTo>
                  <a:pt x="446" y="472"/>
                  <a:pt x="446" y="472"/>
                  <a:pt x="446" y="472"/>
                </a:cubicBezTo>
                <a:cubicBezTo>
                  <a:pt x="446" y="473"/>
                  <a:pt x="446" y="473"/>
                  <a:pt x="446" y="473"/>
                </a:cubicBezTo>
                <a:cubicBezTo>
                  <a:pt x="447" y="473"/>
                  <a:pt x="447" y="473"/>
                  <a:pt x="447" y="473"/>
                </a:cubicBezTo>
                <a:cubicBezTo>
                  <a:pt x="447" y="472"/>
                  <a:pt x="447" y="472"/>
                  <a:pt x="447" y="472"/>
                </a:cubicBezTo>
                <a:cubicBezTo>
                  <a:pt x="447" y="472"/>
                  <a:pt x="447" y="472"/>
                  <a:pt x="447" y="472"/>
                </a:cubicBezTo>
                <a:cubicBezTo>
                  <a:pt x="448" y="472"/>
                  <a:pt x="448" y="472"/>
                  <a:pt x="448" y="472"/>
                </a:cubicBezTo>
                <a:cubicBezTo>
                  <a:pt x="448" y="472"/>
                  <a:pt x="448" y="472"/>
                  <a:pt x="448" y="472"/>
                </a:cubicBezTo>
                <a:cubicBezTo>
                  <a:pt x="448" y="473"/>
                  <a:pt x="448" y="473"/>
                  <a:pt x="448" y="473"/>
                </a:cubicBezTo>
                <a:cubicBezTo>
                  <a:pt x="449" y="472"/>
                  <a:pt x="449" y="472"/>
                  <a:pt x="449" y="472"/>
                </a:cubicBezTo>
                <a:cubicBezTo>
                  <a:pt x="450" y="472"/>
                  <a:pt x="450" y="472"/>
                  <a:pt x="450" y="472"/>
                </a:cubicBezTo>
                <a:cubicBezTo>
                  <a:pt x="450" y="471"/>
                  <a:pt x="450" y="471"/>
                  <a:pt x="450" y="471"/>
                </a:cubicBezTo>
                <a:cubicBezTo>
                  <a:pt x="450" y="471"/>
                  <a:pt x="450" y="471"/>
                  <a:pt x="450" y="471"/>
                </a:cubicBezTo>
                <a:cubicBezTo>
                  <a:pt x="451" y="470"/>
                  <a:pt x="451" y="470"/>
                  <a:pt x="451" y="470"/>
                </a:cubicBezTo>
                <a:cubicBezTo>
                  <a:pt x="451" y="470"/>
                  <a:pt x="451" y="470"/>
                  <a:pt x="451" y="470"/>
                </a:cubicBezTo>
                <a:cubicBezTo>
                  <a:pt x="451" y="469"/>
                  <a:pt x="451" y="469"/>
                  <a:pt x="451" y="469"/>
                </a:cubicBezTo>
                <a:cubicBezTo>
                  <a:pt x="452" y="468"/>
                  <a:pt x="452" y="468"/>
                  <a:pt x="452" y="468"/>
                </a:cubicBezTo>
                <a:cubicBezTo>
                  <a:pt x="453" y="468"/>
                  <a:pt x="453" y="468"/>
                  <a:pt x="453" y="468"/>
                </a:cubicBezTo>
                <a:cubicBezTo>
                  <a:pt x="453" y="468"/>
                  <a:pt x="453" y="468"/>
                  <a:pt x="453" y="468"/>
                </a:cubicBezTo>
                <a:cubicBezTo>
                  <a:pt x="454" y="468"/>
                  <a:pt x="454" y="468"/>
                  <a:pt x="454" y="468"/>
                </a:cubicBezTo>
                <a:cubicBezTo>
                  <a:pt x="453" y="469"/>
                  <a:pt x="453" y="469"/>
                  <a:pt x="453" y="469"/>
                </a:cubicBezTo>
                <a:cubicBezTo>
                  <a:pt x="454" y="469"/>
                  <a:pt x="454" y="469"/>
                  <a:pt x="454" y="469"/>
                </a:cubicBezTo>
                <a:cubicBezTo>
                  <a:pt x="455" y="468"/>
                  <a:pt x="455" y="468"/>
                  <a:pt x="455" y="468"/>
                </a:cubicBezTo>
                <a:cubicBezTo>
                  <a:pt x="455" y="467"/>
                  <a:pt x="455" y="467"/>
                  <a:pt x="455" y="467"/>
                </a:cubicBezTo>
                <a:cubicBezTo>
                  <a:pt x="456" y="466"/>
                  <a:pt x="456" y="466"/>
                  <a:pt x="456" y="466"/>
                </a:cubicBezTo>
                <a:cubicBezTo>
                  <a:pt x="456" y="464"/>
                  <a:pt x="456" y="464"/>
                  <a:pt x="456" y="464"/>
                </a:cubicBezTo>
                <a:cubicBezTo>
                  <a:pt x="456" y="464"/>
                  <a:pt x="456" y="464"/>
                  <a:pt x="456" y="464"/>
                </a:cubicBezTo>
                <a:cubicBezTo>
                  <a:pt x="456" y="464"/>
                  <a:pt x="456" y="464"/>
                  <a:pt x="456" y="464"/>
                </a:cubicBezTo>
                <a:cubicBezTo>
                  <a:pt x="457" y="464"/>
                  <a:pt x="457" y="464"/>
                  <a:pt x="457" y="464"/>
                </a:cubicBezTo>
                <a:cubicBezTo>
                  <a:pt x="457" y="465"/>
                  <a:pt x="457" y="465"/>
                  <a:pt x="457" y="465"/>
                </a:cubicBezTo>
                <a:cubicBezTo>
                  <a:pt x="458" y="465"/>
                  <a:pt x="458" y="465"/>
                  <a:pt x="458" y="465"/>
                </a:cubicBezTo>
                <a:cubicBezTo>
                  <a:pt x="458" y="466"/>
                  <a:pt x="458" y="466"/>
                  <a:pt x="458" y="466"/>
                </a:cubicBezTo>
                <a:cubicBezTo>
                  <a:pt x="458" y="467"/>
                  <a:pt x="458" y="467"/>
                  <a:pt x="458" y="467"/>
                </a:cubicBezTo>
                <a:cubicBezTo>
                  <a:pt x="457" y="468"/>
                  <a:pt x="457" y="468"/>
                  <a:pt x="457" y="468"/>
                </a:cubicBezTo>
                <a:cubicBezTo>
                  <a:pt x="458" y="468"/>
                  <a:pt x="458" y="468"/>
                  <a:pt x="458" y="468"/>
                </a:cubicBezTo>
                <a:cubicBezTo>
                  <a:pt x="457" y="469"/>
                  <a:pt x="457" y="469"/>
                  <a:pt x="457" y="469"/>
                </a:cubicBezTo>
                <a:cubicBezTo>
                  <a:pt x="456" y="470"/>
                  <a:pt x="456" y="470"/>
                  <a:pt x="456" y="470"/>
                </a:cubicBezTo>
                <a:cubicBezTo>
                  <a:pt x="456" y="472"/>
                  <a:pt x="456" y="472"/>
                  <a:pt x="456" y="472"/>
                </a:cubicBezTo>
                <a:cubicBezTo>
                  <a:pt x="456" y="472"/>
                  <a:pt x="456" y="472"/>
                  <a:pt x="456" y="472"/>
                </a:cubicBezTo>
                <a:cubicBezTo>
                  <a:pt x="455" y="473"/>
                  <a:pt x="455" y="473"/>
                  <a:pt x="455" y="473"/>
                </a:cubicBezTo>
                <a:cubicBezTo>
                  <a:pt x="455" y="474"/>
                  <a:pt x="455" y="474"/>
                  <a:pt x="455" y="474"/>
                </a:cubicBezTo>
                <a:cubicBezTo>
                  <a:pt x="456" y="474"/>
                  <a:pt x="456" y="474"/>
                  <a:pt x="456" y="474"/>
                </a:cubicBezTo>
                <a:cubicBezTo>
                  <a:pt x="457" y="473"/>
                  <a:pt x="457" y="473"/>
                  <a:pt x="457" y="473"/>
                </a:cubicBezTo>
                <a:cubicBezTo>
                  <a:pt x="458" y="472"/>
                  <a:pt x="458" y="472"/>
                  <a:pt x="458" y="472"/>
                </a:cubicBezTo>
                <a:cubicBezTo>
                  <a:pt x="458" y="472"/>
                  <a:pt x="458" y="472"/>
                  <a:pt x="458" y="472"/>
                </a:cubicBezTo>
                <a:cubicBezTo>
                  <a:pt x="459" y="470"/>
                  <a:pt x="459" y="470"/>
                  <a:pt x="459" y="470"/>
                </a:cubicBezTo>
                <a:cubicBezTo>
                  <a:pt x="460" y="470"/>
                  <a:pt x="460" y="470"/>
                  <a:pt x="460" y="470"/>
                </a:cubicBezTo>
                <a:cubicBezTo>
                  <a:pt x="460" y="470"/>
                  <a:pt x="460" y="470"/>
                  <a:pt x="460" y="470"/>
                </a:cubicBezTo>
                <a:cubicBezTo>
                  <a:pt x="461" y="470"/>
                  <a:pt x="461" y="470"/>
                  <a:pt x="461" y="470"/>
                </a:cubicBezTo>
                <a:cubicBezTo>
                  <a:pt x="461" y="471"/>
                  <a:pt x="461" y="471"/>
                  <a:pt x="461" y="471"/>
                </a:cubicBezTo>
                <a:cubicBezTo>
                  <a:pt x="460" y="471"/>
                  <a:pt x="460" y="471"/>
                  <a:pt x="460" y="471"/>
                </a:cubicBezTo>
                <a:cubicBezTo>
                  <a:pt x="459" y="472"/>
                  <a:pt x="459" y="472"/>
                  <a:pt x="459" y="472"/>
                </a:cubicBezTo>
                <a:cubicBezTo>
                  <a:pt x="459" y="473"/>
                  <a:pt x="459" y="473"/>
                  <a:pt x="459" y="473"/>
                </a:cubicBezTo>
                <a:cubicBezTo>
                  <a:pt x="459" y="473"/>
                  <a:pt x="459" y="473"/>
                  <a:pt x="459" y="473"/>
                </a:cubicBezTo>
                <a:cubicBezTo>
                  <a:pt x="459" y="474"/>
                  <a:pt x="459" y="474"/>
                  <a:pt x="459" y="474"/>
                </a:cubicBezTo>
                <a:cubicBezTo>
                  <a:pt x="459" y="475"/>
                  <a:pt x="459" y="475"/>
                  <a:pt x="459" y="475"/>
                </a:cubicBezTo>
                <a:cubicBezTo>
                  <a:pt x="460" y="476"/>
                  <a:pt x="460" y="476"/>
                  <a:pt x="460" y="476"/>
                </a:cubicBezTo>
                <a:cubicBezTo>
                  <a:pt x="460" y="475"/>
                  <a:pt x="460" y="475"/>
                  <a:pt x="460" y="475"/>
                </a:cubicBezTo>
                <a:cubicBezTo>
                  <a:pt x="460" y="474"/>
                  <a:pt x="460" y="474"/>
                  <a:pt x="460" y="474"/>
                </a:cubicBezTo>
                <a:cubicBezTo>
                  <a:pt x="460" y="474"/>
                  <a:pt x="461" y="474"/>
                  <a:pt x="461" y="474"/>
                </a:cubicBezTo>
                <a:cubicBezTo>
                  <a:pt x="461" y="474"/>
                  <a:pt x="462" y="475"/>
                  <a:pt x="462" y="475"/>
                </a:cubicBezTo>
                <a:cubicBezTo>
                  <a:pt x="462" y="475"/>
                  <a:pt x="462" y="475"/>
                  <a:pt x="462" y="475"/>
                </a:cubicBezTo>
                <a:cubicBezTo>
                  <a:pt x="463" y="475"/>
                  <a:pt x="463" y="475"/>
                  <a:pt x="463" y="475"/>
                </a:cubicBezTo>
                <a:cubicBezTo>
                  <a:pt x="463" y="474"/>
                  <a:pt x="463" y="474"/>
                  <a:pt x="463" y="474"/>
                </a:cubicBezTo>
                <a:cubicBezTo>
                  <a:pt x="463" y="474"/>
                  <a:pt x="463" y="474"/>
                  <a:pt x="463" y="474"/>
                </a:cubicBezTo>
                <a:cubicBezTo>
                  <a:pt x="463" y="473"/>
                  <a:pt x="463" y="473"/>
                  <a:pt x="463" y="473"/>
                </a:cubicBezTo>
                <a:cubicBezTo>
                  <a:pt x="463" y="472"/>
                  <a:pt x="463" y="472"/>
                  <a:pt x="463" y="472"/>
                </a:cubicBezTo>
                <a:cubicBezTo>
                  <a:pt x="464" y="472"/>
                  <a:pt x="464" y="472"/>
                  <a:pt x="464" y="472"/>
                </a:cubicBezTo>
                <a:cubicBezTo>
                  <a:pt x="464" y="472"/>
                  <a:pt x="464" y="472"/>
                  <a:pt x="464" y="472"/>
                </a:cubicBezTo>
                <a:cubicBezTo>
                  <a:pt x="464" y="471"/>
                  <a:pt x="464" y="471"/>
                  <a:pt x="464" y="471"/>
                </a:cubicBezTo>
                <a:cubicBezTo>
                  <a:pt x="464" y="470"/>
                  <a:pt x="464" y="470"/>
                  <a:pt x="464" y="470"/>
                </a:cubicBezTo>
                <a:cubicBezTo>
                  <a:pt x="465" y="469"/>
                  <a:pt x="465" y="469"/>
                  <a:pt x="465" y="469"/>
                </a:cubicBezTo>
                <a:cubicBezTo>
                  <a:pt x="466" y="468"/>
                  <a:pt x="466" y="468"/>
                  <a:pt x="466" y="468"/>
                </a:cubicBezTo>
                <a:cubicBezTo>
                  <a:pt x="465" y="466"/>
                  <a:pt x="465" y="466"/>
                  <a:pt x="465" y="466"/>
                </a:cubicBezTo>
                <a:cubicBezTo>
                  <a:pt x="465" y="465"/>
                  <a:pt x="465" y="465"/>
                  <a:pt x="465" y="465"/>
                </a:cubicBezTo>
                <a:cubicBezTo>
                  <a:pt x="465" y="465"/>
                  <a:pt x="465" y="465"/>
                  <a:pt x="465" y="465"/>
                </a:cubicBezTo>
                <a:cubicBezTo>
                  <a:pt x="465" y="466"/>
                  <a:pt x="465" y="466"/>
                  <a:pt x="465" y="466"/>
                </a:cubicBezTo>
                <a:cubicBezTo>
                  <a:pt x="465" y="467"/>
                  <a:pt x="465" y="467"/>
                  <a:pt x="465" y="467"/>
                </a:cubicBezTo>
                <a:cubicBezTo>
                  <a:pt x="464" y="467"/>
                  <a:pt x="464" y="467"/>
                  <a:pt x="464" y="467"/>
                </a:cubicBezTo>
                <a:cubicBezTo>
                  <a:pt x="463" y="468"/>
                  <a:pt x="463" y="468"/>
                  <a:pt x="463" y="468"/>
                </a:cubicBezTo>
                <a:cubicBezTo>
                  <a:pt x="462" y="468"/>
                  <a:pt x="462" y="468"/>
                  <a:pt x="462" y="468"/>
                </a:cubicBezTo>
                <a:cubicBezTo>
                  <a:pt x="462" y="467"/>
                  <a:pt x="462" y="467"/>
                  <a:pt x="462" y="467"/>
                </a:cubicBezTo>
                <a:cubicBezTo>
                  <a:pt x="462" y="467"/>
                  <a:pt x="462" y="467"/>
                  <a:pt x="462" y="467"/>
                </a:cubicBezTo>
                <a:cubicBezTo>
                  <a:pt x="462" y="466"/>
                  <a:pt x="462" y="466"/>
                  <a:pt x="462" y="466"/>
                </a:cubicBezTo>
                <a:cubicBezTo>
                  <a:pt x="463" y="465"/>
                  <a:pt x="463" y="465"/>
                  <a:pt x="463" y="465"/>
                </a:cubicBezTo>
                <a:cubicBezTo>
                  <a:pt x="464" y="464"/>
                  <a:pt x="464" y="464"/>
                  <a:pt x="464" y="464"/>
                </a:cubicBezTo>
                <a:cubicBezTo>
                  <a:pt x="464" y="464"/>
                  <a:pt x="464" y="464"/>
                  <a:pt x="464" y="464"/>
                </a:cubicBezTo>
                <a:cubicBezTo>
                  <a:pt x="465" y="464"/>
                  <a:pt x="465" y="464"/>
                  <a:pt x="465" y="464"/>
                </a:cubicBezTo>
                <a:cubicBezTo>
                  <a:pt x="465" y="463"/>
                  <a:pt x="465" y="463"/>
                  <a:pt x="465" y="463"/>
                </a:cubicBezTo>
                <a:cubicBezTo>
                  <a:pt x="465" y="463"/>
                  <a:pt x="465" y="463"/>
                  <a:pt x="465" y="463"/>
                </a:cubicBezTo>
                <a:cubicBezTo>
                  <a:pt x="464" y="463"/>
                  <a:pt x="464" y="463"/>
                  <a:pt x="464" y="463"/>
                </a:cubicBezTo>
                <a:cubicBezTo>
                  <a:pt x="464" y="463"/>
                  <a:pt x="464" y="463"/>
                  <a:pt x="464" y="463"/>
                </a:cubicBezTo>
                <a:cubicBezTo>
                  <a:pt x="463" y="464"/>
                  <a:pt x="463" y="464"/>
                  <a:pt x="463" y="464"/>
                </a:cubicBezTo>
                <a:cubicBezTo>
                  <a:pt x="463" y="464"/>
                  <a:pt x="463" y="464"/>
                  <a:pt x="463" y="464"/>
                </a:cubicBezTo>
                <a:cubicBezTo>
                  <a:pt x="462" y="464"/>
                  <a:pt x="462" y="464"/>
                  <a:pt x="462" y="464"/>
                </a:cubicBezTo>
                <a:cubicBezTo>
                  <a:pt x="462" y="465"/>
                  <a:pt x="462" y="465"/>
                  <a:pt x="462" y="465"/>
                </a:cubicBezTo>
                <a:cubicBezTo>
                  <a:pt x="460" y="466"/>
                  <a:pt x="460" y="466"/>
                  <a:pt x="460" y="466"/>
                </a:cubicBezTo>
                <a:cubicBezTo>
                  <a:pt x="460" y="467"/>
                  <a:pt x="460" y="467"/>
                  <a:pt x="460" y="467"/>
                </a:cubicBezTo>
                <a:cubicBezTo>
                  <a:pt x="460" y="467"/>
                  <a:pt x="460" y="467"/>
                  <a:pt x="460" y="467"/>
                </a:cubicBezTo>
                <a:cubicBezTo>
                  <a:pt x="459" y="466"/>
                  <a:pt x="459" y="466"/>
                  <a:pt x="459" y="466"/>
                </a:cubicBezTo>
                <a:cubicBezTo>
                  <a:pt x="459" y="466"/>
                  <a:pt x="459" y="466"/>
                  <a:pt x="459" y="466"/>
                </a:cubicBezTo>
                <a:cubicBezTo>
                  <a:pt x="458" y="465"/>
                  <a:pt x="458" y="465"/>
                  <a:pt x="458" y="465"/>
                </a:cubicBezTo>
                <a:cubicBezTo>
                  <a:pt x="458" y="464"/>
                  <a:pt x="458" y="464"/>
                  <a:pt x="458" y="464"/>
                </a:cubicBezTo>
                <a:cubicBezTo>
                  <a:pt x="459" y="465"/>
                  <a:pt x="459" y="465"/>
                  <a:pt x="459" y="465"/>
                </a:cubicBezTo>
                <a:cubicBezTo>
                  <a:pt x="459" y="465"/>
                  <a:pt x="459" y="465"/>
                  <a:pt x="459" y="465"/>
                </a:cubicBezTo>
                <a:cubicBezTo>
                  <a:pt x="460" y="464"/>
                  <a:pt x="460" y="464"/>
                  <a:pt x="460" y="464"/>
                </a:cubicBezTo>
                <a:cubicBezTo>
                  <a:pt x="459" y="464"/>
                  <a:pt x="459" y="464"/>
                  <a:pt x="459" y="464"/>
                </a:cubicBezTo>
                <a:cubicBezTo>
                  <a:pt x="458" y="463"/>
                  <a:pt x="458" y="463"/>
                  <a:pt x="458" y="463"/>
                </a:cubicBezTo>
                <a:cubicBezTo>
                  <a:pt x="459" y="463"/>
                  <a:pt x="459" y="463"/>
                  <a:pt x="459" y="463"/>
                </a:cubicBezTo>
                <a:cubicBezTo>
                  <a:pt x="460" y="463"/>
                  <a:pt x="460" y="463"/>
                  <a:pt x="460" y="463"/>
                </a:cubicBezTo>
                <a:cubicBezTo>
                  <a:pt x="459" y="463"/>
                  <a:pt x="459" y="463"/>
                  <a:pt x="459" y="463"/>
                </a:cubicBezTo>
                <a:cubicBezTo>
                  <a:pt x="459" y="463"/>
                  <a:pt x="459" y="463"/>
                  <a:pt x="459" y="463"/>
                </a:cubicBezTo>
                <a:cubicBezTo>
                  <a:pt x="459" y="462"/>
                  <a:pt x="459" y="462"/>
                  <a:pt x="459" y="462"/>
                </a:cubicBezTo>
                <a:cubicBezTo>
                  <a:pt x="459" y="462"/>
                  <a:pt x="459" y="462"/>
                  <a:pt x="459" y="462"/>
                </a:cubicBezTo>
                <a:cubicBezTo>
                  <a:pt x="460" y="462"/>
                  <a:pt x="460" y="462"/>
                  <a:pt x="460" y="462"/>
                </a:cubicBezTo>
                <a:cubicBezTo>
                  <a:pt x="460" y="462"/>
                  <a:pt x="460" y="462"/>
                  <a:pt x="460" y="462"/>
                </a:cubicBezTo>
                <a:cubicBezTo>
                  <a:pt x="461" y="461"/>
                  <a:pt x="461" y="461"/>
                  <a:pt x="461" y="461"/>
                </a:cubicBezTo>
                <a:cubicBezTo>
                  <a:pt x="462" y="460"/>
                  <a:pt x="462" y="460"/>
                  <a:pt x="462" y="460"/>
                </a:cubicBezTo>
                <a:cubicBezTo>
                  <a:pt x="463" y="460"/>
                  <a:pt x="463" y="460"/>
                  <a:pt x="463" y="460"/>
                </a:cubicBezTo>
                <a:cubicBezTo>
                  <a:pt x="463" y="460"/>
                  <a:pt x="463" y="460"/>
                  <a:pt x="463" y="460"/>
                </a:cubicBezTo>
                <a:cubicBezTo>
                  <a:pt x="464" y="459"/>
                  <a:pt x="464" y="459"/>
                  <a:pt x="464" y="459"/>
                </a:cubicBezTo>
                <a:cubicBezTo>
                  <a:pt x="464" y="459"/>
                  <a:pt x="464" y="459"/>
                  <a:pt x="464" y="459"/>
                </a:cubicBezTo>
                <a:cubicBezTo>
                  <a:pt x="464" y="458"/>
                  <a:pt x="464" y="458"/>
                  <a:pt x="464" y="458"/>
                </a:cubicBezTo>
                <a:cubicBezTo>
                  <a:pt x="464" y="457"/>
                  <a:pt x="464" y="457"/>
                  <a:pt x="464" y="457"/>
                </a:cubicBezTo>
                <a:cubicBezTo>
                  <a:pt x="463" y="458"/>
                  <a:pt x="463" y="458"/>
                  <a:pt x="463" y="458"/>
                </a:cubicBezTo>
                <a:cubicBezTo>
                  <a:pt x="463" y="458"/>
                  <a:pt x="463" y="458"/>
                  <a:pt x="463" y="458"/>
                </a:cubicBezTo>
                <a:cubicBezTo>
                  <a:pt x="462" y="458"/>
                  <a:pt x="462" y="458"/>
                  <a:pt x="462" y="458"/>
                </a:cubicBezTo>
                <a:cubicBezTo>
                  <a:pt x="462" y="458"/>
                  <a:pt x="462" y="458"/>
                  <a:pt x="462" y="458"/>
                </a:cubicBezTo>
                <a:cubicBezTo>
                  <a:pt x="462" y="458"/>
                  <a:pt x="462" y="458"/>
                  <a:pt x="462" y="458"/>
                </a:cubicBezTo>
                <a:cubicBezTo>
                  <a:pt x="462" y="459"/>
                  <a:pt x="462" y="459"/>
                  <a:pt x="462" y="459"/>
                </a:cubicBezTo>
                <a:cubicBezTo>
                  <a:pt x="461" y="459"/>
                  <a:pt x="461" y="459"/>
                  <a:pt x="461" y="459"/>
                </a:cubicBezTo>
                <a:cubicBezTo>
                  <a:pt x="461" y="459"/>
                  <a:pt x="461" y="459"/>
                  <a:pt x="461" y="459"/>
                </a:cubicBezTo>
                <a:cubicBezTo>
                  <a:pt x="460" y="460"/>
                  <a:pt x="460" y="460"/>
                  <a:pt x="460" y="460"/>
                </a:cubicBezTo>
                <a:cubicBezTo>
                  <a:pt x="459" y="460"/>
                  <a:pt x="459" y="460"/>
                  <a:pt x="459" y="460"/>
                </a:cubicBezTo>
                <a:cubicBezTo>
                  <a:pt x="459" y="461"/>
                  <a:pt x="459" y="461"/>
                  <a:pt x="459" y="461"/>
                </a:cubicBezTo>
                <a:cubicBezTo>
                  <a:pt x="459" y="461"/>
                  <a:pt x="459" y="461"/>
                  <a:pt x="459" y="461"/>
                </a:cubicBezTo>
                <a:cubicBezTo>
                  <a:pt x="459" y="461"/>
                  <a:pt x="459" y="461"/>
                  <a:pt x="459" y="461"/>
                </a:cubicBezTo>
                <a:cubicBezTo>
                  <a:pt x="459" y="460"/>
                  <a:pt x="459" y="460"/>
                  <a:pt x="459" y="460"/>
                </a:cubicBezTo>
                <a:cubicBezTo>
                  <a:pt x="459" y="460"/>
                  <a:pt x="459" y="460"/>
                  <a:pt x="459" y="460"/>
                </a:cubicBezTo>
                <a:cubicBezTo>
                  <a:pt x="458" y="460"/>
                  <a:pt x="458" y="460"/>
                  <a:pt x="458" y="460"/>
                </a:cubicBezTo>
                <a:cubicBezTo>
                  <a:pt x="459" y="460"/>
                  <a:pt x="459" y="460"/>
                  <a:pt x="459" y="460"/>
                </a:cubicBezTo>
                <a:cubicBezTo>
                  <a:pt x="459" y="459"/>
                  <a:pt x="459" y="459"/>
                  <a:pt x="459" y="459"/>
                </a:cubicBezTo>
                <a:cubicBezTo>
                  <a:pt x="460" y="459"/>
                  <a:pt x="460" y="459"/>
                  <a:pt x="460" y="459"/>
                </a:cubicBezTo>
                <a:cubicBezTo>
                  <a:pt x="459" y="459"/>
                  <a:pt x="459" y="459"/>
                  <a:pt x="459" y="459"/>
                </a:cubicBezTo>
                <a:cubicBezTo>
                  <a:pt x="460" y="458"/>
                  <a:pt x="460" y="458"/>
                  <a:pt x="460" y="458"/>
                </a:cubicBezTo>
                <a:cubicBezTo>
                  <a:pt x="460" y="457"/>
                  <a:pt x="460" y="457"/>
                  <a:pt x="460" y="457"/>
                </a:cubicBezTo>
                <a:cubicBezTo>
                  <a:pt x="460" y="457"/>
                  <a:pt x="460" y="457"/>
                  <a:pt x="460" y="457"/>
                </a:cubicBezTo>
                <a:cubicBezTo>
                  <a:pt x="459" y="458"/>
                  <a:pt x="459" y="458"/>
                  <a:pt x="459" y="458"/>
                </a:cubicBezTo>
                <a:cubicBezTo>
                  <a:pt x="459" y="457"/>
                  <a:pt x="459" y="457"/>
                  <a:pt x="459" y="457"/>
                </a:cubicBezTo>
                <a:cubicBezTo>
                  <a:pt x="459" y="456"/>
                  <a:pt x="459" y="456"/>
                  <a:pt x="459" y="456"/>
                </a:cubicBezTo>
                <a:cubicBezTo>
                  <a:pt x="459" y="456"/>
                  <a:pt x="459" y="456"/>
                  <a:pt x="459" y="456"/>
                </a:cubicBezTo>
                <a:cubicBezTo>
                  <a:pt x="458" y="456"/>
                  <a:pt x="458" y="456"/>
                  <a:pt x="458" y="456"/>
                </a:cubicBezTo>
                <a:cubicBezTo>
                  <a:pt x="457" y="456"/>
                  <a:pt x="457" y="456"/>
                  <a:pt x="457" y="456"/>
                </a:cubicBezTo>
                <a:cubicBezTo>
                  <a:pt x="458" y="456"/>
                  <a:pt x="458" y="456"/>
                  <a:pt x="458" y="456"/>
                </a:cubicBezTo>
                <a:cubicBezTo>
                  <a:pt x="459" y="456"/>
                  <a:pt x="459" y="456"/>
                  <a:pt x="459" y="456"/>
                </a:cubicBezTo>
                <a:cubicBezTo>
                  <a:pt x="460" y="456"/>
                  <a:pt x="460" y="456"/>
                  <a:pt x="460" y="456"/>
                </a:cubicBezTo>
                <a:cubicBezTo>
                  <a:pt x="460" y="455"/>
                  <a:pt x="460" y="455"/>
                  <a:pt x="460" y="455"/>
                </a:cubicBezTo>
                <a:cubicBezTo>
                  <a:pt x="461" y="455"/>
                  <a:pt x="461" y="455"/>
                  <a:pt x="461" y="455"/>
                </a:cubicBezTo>
                <a:cubicBezTo>
                  <a:pt x="461" y="455"/>
                  <a:pt x="461" y="455"/>
                  <a:pt x="461" y="455"/>
                </a:cubicBezTo>
                <a:cubicBezTo>
                  <a:pt x="462" y="454"/>
                  <a:pt x="462" y="454"/>
                  <a:pt x="462" y="454"/>
                </a:cubicBezTo>
                <a:cubicBezTo>
                  <a:pt x="462" y="454"/>
                  <a:pt x="462" y="454"/>
                  <a:pt x="462" y="454"/>
                </a:cubicBezTo>
                <a:cubicBezTo>
                  <a:pt x="463" y="453"/>
                  <a:pt x="463" y="453"/>
                  <a:pt x="463" y="453"/>
                </a:cubicBezTo>
                <a:cubicBezTo>
                  <a:pt x="463" y="452"/>
                  <a:pt x="463" y="452"/>
                  <a:pt x="463" y="452"/>
                </a:cubicBezTo>
                <a:cubicBezTo>
                  <a:pt x="462" y="452"/>
                  <a:pt x="462" y="452"/>
                  <a:pt x="462" y="452"/>
                </a:cubicBezTo>
                <a:cubicBezTo>
                  <a:pt x="461" y="451"/>
                  <a:pt x="461" y="451"/>
                  <a:pt x="461" y="451"/>
                </a:cubicBezTo>
                <a:cubicBezTo>
                  <a:pt x="460" y="451"/>
                  <a:pt x="460" y="451"/>
                  <a:pt x="460" y="451"/>
                </a:cubicBezTo>
                <a:cubicBezTo>
                  <a:pt x="459" y="451"/>
                  <a:pt x="459" y="451"/>
                  <a:pt x="459" y="451"/>
                </a:cubicBezTo>
                <a:cubicBezTo>
                  <a:pt x="458" y="451"/>
                  <a:pt x="458" y="451"/>
                  <a:pt x="458" y="451"/>
                </a:cubicBezTo>
                <a:cubicBezTo>
                  <a:pt x="458" y="452"/>
                  <a:pt x="458" y="452"/>
                  <a:pt x="458" y="452"/>
                </a:cubicBezTo>
                <a:cubicBezTo>
                  <a:pt x="458" y="453"/>
                  <a:pt x="458" y="453"/>
                  <a:pt x="458" y="453"/>
                </a:cubicBezTo>
                <a:cubicBezTo>
                  <a:pt x="458" y="454"/>
                  <a:pt x="458" y="454"/>
                  <a:pt x="458" y="454"/>
                </a:cubicBezTo>
                <a:cubicBezTo>
                  <a:pt x="457" y="454"/>
                  <a:pt x="457" y="454"/>
                  <a:pt x="457" y="454"/>
                </a:cubicBezTo>
                <a:cubicBezTo>
                  <a:pt x="457" y="454"/>
                  <a:pt x="457" y="454"/>
                  <a:pt x="457" y="454"/>
                </a:cubicBezTo>
                <a:cubicBezTo>
                  <a:pt x="458" y="453"/>
                  <a:pt x="458" y="453"/>
                  <a:pt x="458" y="453"/>
                </a:cubicBezTo>
                <a:cubicBezTo>
                  <a:pt x="457" y="452"/>
                  <a:pt x="457" y="452"/>
                  <a:pt x="457" y="452"/>
                </a:cubicBezTo>
                <a:cubicBezTo>
                  <a:pt x="458" y="452"/>
                  <a:pt x="458" y="452"/>
                  <a:pt x="458" y="452"/>
                </a:cubicBezTo>
                <a:cubicBezTo>
                  <a:pt x="458" y="451"/>
                  <a:pt x="458" y="451"/>
                  <a:pt x="458" y="451"/>
                </a:cubicBezTo>
                <a:cubicBezTo>
                  <a:pt x="458" y="451"/>
                  <a:pt x="458" y="451"/>
                  <a:pt x="458" y="451"/>
                </a:cubicBezTo>
                <a:cubicBezTo>
                  <a:pt x="457" y="451"/>
                  <a:pt x="457" y="451"/>
                  <a:pt x="457" y="451"/>
                </a:cubicBezTo>
                <a:cubicBezTo>
                  <a:pt x="456" y="452"/>
                  <a:pt x="456" y="452"/>
                  <a:pt x="456" y="452"/>
                </a:cubicBezTo>
                <a:cubicBezTo>
                  <a:pt x="456" y="452"/>
                  <a:pt x="456" y="452"/>
                  <a:pt x="456" y="452"/>
                </a:cubicBezTo>
                <a:cubicBezTo>
                  <a:pt x="455" y="452"/>
                  <a:pt x="455" y="452"/>
                  <a:pt x="455" y="452"/>
                </a:cubicBezTo>
                <a:cubicBezTo>
                  <a:pt x="455" y="452"/>
                  <a:pt x="455" y="452"/>
                  <a:pt x="455" y="452"/>
                </a:cubicBezTo>
                <a:cubicBezTo>
                  <a:pt x="454" y="453"/>
                  <a:pt x="454" y="453"/>
                  <a:pt x="454" y="453"/>
                </a:cubicBezTo>
                <a:cubicBezTo>
                  <a:pt x="454" y="452"/>
                  <a:pt x="454" y="452"/>
                  <a:pt x="454" y="452"/>
                </a:cubicBezTo>
                <a:cubicBezTo>
                  <a:pt x="453" y="453"/>
                  <a:pt x="453" y="453"/>
                  <a:pt x="453" y="453"/>
                </a:cubicBezTo>
                <a:cubicBezTo>
                  <a:pt x="453" y="454"/>
                  <a:pt x="453" y="454"/>
                  <a:pt x="453" y="454"/>
                </a:cubicBezTo>
                <a:cubicBezTo>
                  <a:pt x="452" y="455"/>
                  <a:pt x="452" y="455"/>
                  <a:pt x="452" y="455"/>
                </a:cubicBezTo>
                <a:cubicBezTo>
                  <a:pt x="453" y="454"/>
                  <a:pt x="453" y="454"/>
                  <a:pt x="453" y="454"/>
                </a:cubicBezTo>
                <a:cubicBezTo>
                  <a:pt x="453" y="452"/>
                  <a:pt x="453" y="452"/>
                  <a:pt x="453" y="452"/>
                </a:cubicBezTo>
                <a:cubicBezTo>
                  <a:pt x="454" y="451"/>
                  <a:pt x="454" y="451"/>
                  <a:pt x="454" y="451"/>
                </a:cubicBezTo>
                <a:cubicBezTo>
                  <a:pt x="453" y="451"/>
                  <a:pt x="453" y="451"/>
                  <a:pt x="453" y="451"/>
                </a:cubicBezTo>
                <a:cubicBezTo>
                  <a:pt x="453" y="451"/>
                  <a:pt x="453" y="451"/>
                  <a:pt x="453" y="451"/>
                </a:cubicBezTo>
                <a:cubicBezTo>
                  <a:pt x="452" y="452"/>
                  <a:pt x="452" y="452"/>
                  <a:pt x="452" y="452"/>
                </a:cubicBezTo>
                <a:cubicBezTo>
                  <a:pt x="452" y="453"/>
                  <a:pt x="452" y="453"/>
                  <a:pt x="452" y="453"/>
                </a:cubicBezTo>
                <a:cubicBezTo>
                  <a:pt x="451" y="452"/>
                  <a:pt x="451" y="452"/>
                  <a:pt x="451" y="452"/>
                </a:cubicBezTo>
                <a:cubicBezTo>
                  <a:pt x="452" y="452"/>
                  <a:pt x="452" y="452"/>
                  <a:pt x="452" y="452"/>
                </a:cubicBezTo>
                <a:cubicBezTo>
                  <a:pt x="452" y="451"/>
                  <a:pt x="452" y="451"/>
                  <a:pt x="452" y="451"/>
                </a:cubicBezTo>
                <a:cubicBezTo>
                  <a:pt x="452" y="451"/>
                  <a:pt x="452" y="451"/>
                  <a:pt x="452" y="451"/>
                </a:cubicBezTo>
                <a:cubicBezTo>
                  <a:pt x="451" y="451"/>
                  <a:pt x="451" y="451"/>
                  <a:pt x="451" y="451"/>
                </a:cubicBezTo>
                <a:cubicBezTo>
                  <a:pt x="450" y="452"/>
                  <a:pt x="450" y="452"/>
                  <a:pt x="450" y="452"/>
                </a:cubicBezTo>
                <a:cubicBezTo>
                  <a:pt x="450" y="452"/>
                  <a:pt x="450" y="452"/>
                  <a:pt x="450" y="452"/>
                </a:cubicBezTo>
                <a:cubicBezTo>
                  <a:pt x="449" y="451"/>
                  <a:pt x="449" y="451"/>
                  <a:pt x="449" y="451"/>
                </a:cubicBezTo>
                <a:cubicBezTo>
                  <a:pt x="449" y="451"/>
                  <a:pt x="449" y="451"/>
                  <a:pt x="449" y="451"/>
                </a:cubicBezTo>
                <a:cubicBezTo>
                  <a:pt x="448" y="452"/>
                  <a:pt x="448" y="452"/>
                  <a:pt x="448" y="452"/>
                </a:cubicBezTo>
                <a:cubicBezTo>
                  <a:pt x="448" y="452"/>
                  <a:pt x="448" y="452"/>
                  <a:pt x="448" y="452"/>
                </a:cubicBezTo>
                <a:cubicBezTo>
                  <a:pt x="448" y="451"/>
                  <a:pt x="448" y="451"/>
                  <a:pt x="448" y="451"/>
                </a:cubicBezTo>
                <a:cubicBezTo>
                  <a:pt x="449" y="451"/>
                  <a:pt x="449" y="451"/>
                  <a:pt x="449" y="451"/>
                </a:cubicBezTo>
                <a:cubicBezTo>
                  <a:pt x="449" y="450"/>
                  <a:pt x="449" y="450"/>
                  <a:pt x="449" y="450"/>
                </a:cubicBezTo>
                <a:cubicBezTo>
                  <a:pt x="449" y="449"/>
                  <a:pt x="449" y="449"/>
                  <a:pt x="449" y="449"/>
                </a:cubicBezTo>
                <a:cubicBezTo>
                  <a:pt x="449" y="449"/>
                  <a:pt x="449" y="449"/>
                  <a:pt x="449" y="449"/>
                </a:cubicBezTo>
                <a:cubicBezTo>
                  <a:pt x="449" y="449"/>
                  <a:pt x="449" y="449"/>
                  <a:pt x="449" y="449"/>
                </a:cubicBezTo>
                <a:cubicBezTo>
                  <a:pt x="448" y="450"/>
                  <a:pt x="448" y="450"/>
                  <a:pt x="448" y="450"/>
                </a:cubicBezTo>
                <a:cubicBezTo>
                  <a:pt x="448" y="449"/>
                  <a:pt x="448" y="449"/>
                  <a:pt x="448" y="449"/>
                </a:cubicBezTo>
                <a:cubicBezTo>
                  <a:pt x="449" y="448"/>
                  <a:pt x="449" y="448"/>
                  <a:pt x="449" y="448"/>
                </a:cubicBezTo>
                <a:cubicBezTo>
                  <a:pt x="450" y="448"/>
                  <a:pt x="450" y="448"/>
                  <a:pt x="450" y="448"/>
                </a:cubicBezTo>
                <a:cubicBezTo>
                  <a:pt x="451" y="448"/>
                  <a:pt x="451" y="448"/>
                  <a:pt x="451" y="448"/>
                </a:cubicBezTo>
                <a:cubicBezTo>
                  <a:pt x="452" y="447"/>
                  <a:pt x="452" y="447"/>
                  <a:pt x="452" y="447"/>
                </a:cubicBezTo>
                <a:cubicBezTo>
                  <a:pt x="452" y="447"/>
                  <a:pt x="452" y="447"/>
                  <a:pt x="452" y="447"/>
                </a:cubicBezTo>
                <a:cubicBezTo>
                  <a:pt x="452" y="446"/>
                  <a:pt x="452" y="446"/>
                  <a:pt x="452" y="446"/>
                </a:cubicBezTo>
                <a:cubicBezTo>
                  <a:pt x="452" y="446"/>
                  <a:pt x="452" y="446"/>
                  <a:pt x="452" y="446"/>
                </a:cubicBezTo>
                <a:cubicBezTo>
                  <a:pt x="451" y="447"/>
                  <a:pt x="451" y="447"/>
                  <a:pt x="451" y="447"/>
                </a:cubicBezTo>
                <a:cubicBezTo>
                  <a:pt x="450" y="447"/>
                  <a:pt x="450" y="447"/>
                  <a:pt x="450" y="447"/>
                </a:cubicBezTo>
                <a:cubicBezTo>
                  <a:pt x="449" y="446"/>
                  <a:pt x="449" y="446"/>
                  <a:pt x="449" y="446"/>
                </a:cubicBezTo>
                <a:cubicBezTo>
                  <a:pt x="449" y="446"/>
                  <a:pt x="449" y="446"/>
                  <a:pt x="449" y="446"/>
                </a:cubicBezTo>
                <a:cubicBezTo>
                  <a:pt x="448" y="446"/>
                  <a:pt x="448" y="446"/>
                  <a:pt x="448" y="446"/>
                </a:cubicBezTo>
                <a:cubicBezTo>
                  <a:pt x="449" y="445"/>
                  <a:pt x="449" y="445"/>
                  <a:pt x="449" y="445"/>
                </a:cubicBezTo>
                <a:cubicBezTo>
                  <a:pt x="449" y="445"/>
                  <a:pt x="449" y="445"/>
                  <a:pt x="449" y="445"/>
                </a:cubicBezTo>
                <a:cubicBezTo>
                  <a:pt x="449" y="445"/>
                  <a:pt x="449" y="445"/>
                  <a:pt x="449" y="445"/>
                </a:cubicBezTo>
                <a:cubicBezTo>
                  <a:pt x="448" y="445"/>
                  <a:pt x="448" y="445"/>
                  <a:pt x="448" y="445"/>
                </a:cubicBezTo>
                <a:cubicBezTo>
                  <a:pt x="447" y="445"/>
                  <a:pt x="447" y="445"/>
                  <a:pt x="447" y="445"/>
                </a:cubicBezTo>
                <a:cubicBezTo>
                  <a:pt x="447" y="446"/>
                  <a:pt x="447" y="446"/>
                  <a:pt x="447" y="446"/>
                </a:cubicBezTo>
                <a:cubicBezTo>
                  <a:pt x="446" y="447"/>
                  <a:pt x="446" y="447"/>
                  <a:pt x="446" y="447"/>
                </a:cubicBezTo>
                <a:cubicBezTo>
                  <a:pt x="446" y="447"/>
                  <a:pt x="446" y="447"/>
                  <a:pt x="446" y="447"/>
                </a:cubicBezTo>
                <a:cubicBezTo>
                  <a:pt x="445" y="448"/>
                  <a:pt x="445" y="448"/>
                  <a:pt x="445" y="448"/>
                </a:cubicBezTo>
                <a:cubicBezTo>
                  <a:pt x="444" y="449"/>
                  <a:pt x="444" y="449"/>
                  <a:pt x="444" y="449"/>
                </a:cubicBezTo>
                <a:cubicBezTo>
                  <a:pt x="444" y="449"/>
                  <a:pt x="444" y="449"/>
                  <a:pt x="444" y="449"/>
                </a:cubicBezTo>
                <a:cubicBezTo>
                  <a:pt x="444" y="448"/>
                  <a:pt x="444" y="448"/>
                  <a:pt x="444" y="448"/>
                </a:cubicBezTo>
                <a:cubicBezTo>
                  <a:pt x="444" y="448"/>
                  <a:pt x="444" y="448"/>
                  <a:pt x="444" y="448"/>
                </a:cubicBezTo>
                <a:cubicBezTo>
                  <a:pt x="445" y="447"/>
                  <a:pt x="445" y="447"/>
                  <a:pt x="445" y="447"/>
                </a:cubicBezTo>
                <a:cubicBezTo>
                  <a:pt x="445" y="446"/>
                  <a:pt x="445" y="446"/>
                  <a:pt x="445" y="446"/>
                </a:cubicBezTo>
                <a:cubicBezTo>
                  <a:pt x="445" y="445"/>
                  <a:pt x="445" y="445"/>
                  <a:pt x="445" y="445"/>
                </a:cubicBezTo>
                <a:cubicBezTo>
                  <a:pt x="446" y="444"/>
                  <a:pt x="446" y="444"/>
                  <a:pt x="446" y="444"/>
                </a:cubicBezTo>
                <a:cubicBezTo>
                  <a:pt x="446" y="444"/>
                  <a:pt x="446" y="444"/>
                  <a:pt x="446" y="444"/>
                </a:cubicBezTo>
                <a:cubicBezTo>
                  <a:pt x="447" y="443"/>
                  <a:pt x="447" y="443"/>
                  <a:pt x="447" y="443"/>
                </a:cubicBezTo>
                <a:cubicBezTo>
                  <a:pt x="447" y="443"/>
                  <a:pt x="447" y="443"/>
                  <a:pt x="447" y="443"/>
                </a:cubicBezTo>
                <a:cubicBezTo>
                  <a:pt x="447" y="442"/>
                  <a:pt x="447" y="442"/>
                  <a:pt x="447" y="442"/>
                </a:cubicBezTo>
                <a:cubicBezTo>
                  <a:pt x="448" y="441"/>
                  <a:pt x="448" y="441"/>
                  <a:pt x="448" y="441"/>
                </a:cubicBezTo>
                <a:cubicBezTo>
                  <a:pt x="449" y="441"/>
                  <a:pt x="449" y="441"/>
                  <a:pt x="449" y="441"/>
                </a:cubicBezTo>
                <a:cubicBezTo>
                  <a:pt x="449" y="440"/>
                  <a:pt x="449" y="440"/>
                  <a:pt x="449" y="440"/>
                </a:cubicBezTo>
                <a:cubicBezTo>
                  <a:pt x="449" y="440"/>
                  <a:pt x="449" y="440"/>
                  <a:pt x="449" y="440"/>
                </a:cubicBezTo>
                <a:cubicBezTo>
                  <a:pt x="449" y="439"/>
                  <a:pt x="449" y="439"/>
                  <a:pt x="449" y="439"/>
                </a:cubicBezTo>
                <a:cubicBezTo>
                  <a:pt x="450" y="439"/>
                  <a:pt x="450" y="439"/>
                  <a:pt x="450" y="439"/>
                </a:cubicBezTo>
                <a:cubicBezTo>
                  <a:pt x="450" y="438"/>
                  <a:pt x="450" y="438"/>
                  <a:pt x="450" y="438"/>
                </a:cubicBezTo>
                <a:cubicBezTo>
                  <a:pt x="450" y="439"/>
                  <a:pt x="450" y="439"/>
                  <a:pt x="450" y="439"/>
                </a:cubicBezTo>
                <a:cubicBezTo>
                  <a:pt x="450" y="439"/>
                  <a:pt x="450" y="439"/>
                  <a:pt x="450" y="439"/>
                </a:cubicBezTo>
                <a:cubicBezTo>
                  <a:pt x="450" y="440"/>
                  <a:pt x="450" y="440"/>
                  <a:pt x="450" y="440"/>
                </a:cubicBezTo>
                <a:cubicBezTo>
                  <a:pt x="451" y="439"/>
                  <a:pt x="451" y="439"/>
                  <a:pt x="451" y="439"/>
                </a:cubicBezTo>
                <a:cubicBezTo>
                  <a:pt x="452" y="437"/>
                  <a:pt x="452" y="437"/>
                  <a:pt x="452" y="437"/>
                </a:cubicBezTo>
                <a:cubicBezTo>
                  <a:pt x="452" y="437"/>
                  <a:pt x="452" y="437"/>
                  <a:pt x="452" y="437"/>
                </a:cubicBezTo>
                <a:cubicBezTo>
                  <a:pt x="452" y="436"/>
                  <a:pt x="452" y="436"/>
                  <a:pt x="452" y="436"/>
                </a:cubicBezTo>
                <a:cubicBezTo>
                  <a:pt x="452" y="436"/>
                  <a:pt x="452" y="436"/>
                  <a:pt x="452" y="436"/>
                </a:cubicBezTo>
                <a:cubicBezTo>
                  <a:pt x="451" y="437"/>
                  <a:pt x="451" y="437"/>
                  <a:pt x="451" y="437"/>
                </a:cubicBezTo>
                <a:cubicBezTo>
                  <a:pt x="451" y="436"/>
                  <a:pt x="451" y="436"/>
                  <a:pt x="451" y="436"/>
                </a:cubicBezTo>
                <a:cubicBezTo>
                  <a:pt x="450" y="435"/>
                  <a:pt x="450" y="435"/>
                  <a:pt x="450" y="435"/>
                </a:cubicBezTo>
                <a:cubicBezTo>
                  <a:pt x="451" y="435"/>
                  <a:pt x="451" y="435"/>
                  <a:pt x="451" y="435"/>
                </a:cubicBezTo>
                <a:cubicBezTo>
                  <a:pt x="451" y="435"/>
                  <a:pt x="451" y="435"/>
                  <a:pt x="451" y="435"/>
                </a:cubicBezTo>
                <a:cubicBezTo>
                  <a:pt x="452" y="435"/>
                  <a:pt x="452" y="435"/>
                  <a:pt x="452" y="435"/>
                </a:cubicBezTo>
                <a:cubicBezTo>
                  <a:pt x="453" y="435"/>
                  <a:pt x="453" y="435"/>
                  <a:pt x="453" y="435"/>
                </a:cubicBezTo>
                <a:cubicBezTo>
                  <a:pt x="454" y="435"/>
                  <a:pt x="454" y="435"/>
                  <a:pt x="454" y="435"/>
                </a:cubicBezTo>
                <a:cubicBezTo>
                  <a:pt x="454" y="434"/>
                  <a:pt x="454" y="434"/>
                  <a:pt x="454" y="434"/>
                </a:cubicBezTo>
                <a:cubicBezTo>
                  <a:pt x="454" y="433"/>
                  <a:pt x="454" y="433"/>
                  <a:pt x="454" y="433"/>
                </a:cubicBezTo>
                <a:cubicBezTo>
                  <a:pt x="453" y="433"/>
                  <a:pt x="453" y="433"/>
                  <a:pt x="453" y="433"/>
                </a:cubicBezTo>
                <a:cubicBezTo>
                  <a:pt x="453" y="433"/>
                  <a:pt x="453" y="433"/>
                  <a:pt x="453" y="433"/>
                </a:cubicBezTo>
                <a:cubicBezTo>
                  <a:pt x="453" y="434"/>
                  <a:pt x="453" y="434"/>
                  <a:pt x="453" y="434"/>
                </a:cubicBezTo>
                <a:cubicBezTo>
                  <a:pt x="452" y="434"/>
                  <a:pt x="452" y="434"/>
                  <a:pt x="452" y="434"/>
                </a:cubicBezTo>
                <a:cubicBezTo>
                  <a:pt x="452" y="433"/>
                  <a:pt x="452" y="433"/>
                  <a:pt x="452" y="433"/>
                </a:cubicBezTo>
                <a:cubicBezTo>
                  <a:pt x="452" y="433"/>
                  <a:pt x="452" y="433"/>
                  <a:pt x="452" y="433"/>
                </a:cubicBezTo>
                <a:cubicBezTo>
                  <a:pt x="452" y="433"/>
                  <a:pt x="452" y="433"/>
                  <a:pt x="452" y="433"/>
                </a:cubicBezTo>
                <a:cubicBezTo>
                  <a:pt x="451" y="434"/>
                  <a:pt x="451" y="434"/>
                  <a:pt x="451" y="434"/>
                </a:cubicBezTo>
                <a:cubicBezTo>
                  <a:pt x="450" y="434"/>
                  <a:pt x="450" y="434"/>
                  <a:pt x="450" y="434"/>
                </a:cubicBezTo>
                <a:cubicBezTo>
                  <a:pt x="450" y="434"/>
                  <a:pt x="450" y="434"/>
                  <a:pt x="450" y="434"/>
                </a:cubicBezTo>
                <a:cubicBezTo>
                  <a:pt x="449" y="435"/>
                  <a:pt x="449" y="435"/>
                  <a:pt x="449" y="435"/>
                </a:cubicBezTo>
                <a:cubicBezTo>
                  <a:pt x="448" y="435"/>
                  <a:pt x="448" y="435"/>
                  <a:pt x="448" y="435"/>
                </a:cubicBezTo>
                <a:cubicBezTo>
                  <a:pt x="447" y="435"/>
                  <a:pt x="447" y="435"/>
                  <a:pt x="447" y="435"/>
                </a:cubicBezTo>
                <a:cubicBezTo>
                  <a:pt x="446" y="436"/>
                  <a:pt x="446" y="436"/>
                  <a:pt x="446" y="436"/>
                </a:cubicBezTo>
                <a:cubicBezTo>
                  <a:pt x="446" y="437"/>
                  <a:pt x="446" y="437"/>
                  <a:pt x="446" y="437"/>
                </a:cubicBezTo>
                <a:cubicBezTo>
                  <a:pt x="445" y="437"/>
                  <a:pt x="445" y="437"/>
                  <a:pt x="445" y="437"/>
                </a:cubicBezTo>
                <a:cubicBezTo>
                  <a:pt x="445" y="437"/>
                  <a:pt x="445" y="437"/>
                  <a:pt x="445" y="437"/>
                </a:cubicBezTo>
                <a:cubicBezTo>
                  <a:pt x="445" y="437"/>
                  <a:pt x="445" y="437"/>
                  <a:pt x="445" y="437"/>
                </a:cubicBezTo>
                <a:cubicBezTo>
                  <a:pt x="445" y="438"/>
                  <a:pt x="445" y="438"/>
                  <a:pt x="445" y="438"/>
                </a:cubicBezTo>
                <a:cubicBezTo>
                  <a:pt x="445" y="438"/>
                  <a:pt x="445" y="438"/>
                  <a:pt x="445" y="438"/>
                </a:cubicBezTo>
                <a:close/>
                <a:moveTo>
                  <a:pt x="405" y="450"/>
                </a:moveTo>
                <a:cubicBezTo>
                  <a:pt x="405" y="450"/>
                  <a:pt x="405" y="450"/>
                  <a:pt x="405" y="450"/>
                </a:cubicBezTo>
                <a:cubicBezTo>
                  <a:pt x="408" y="452"/>
                  <a:pt x="408" y="452"/>
                  <a:pt x="408" y="452"/>
                </a:cubicBezTo>
                <a:cubicBezTo>
                  <a:pt x="409" y="452"/>
                  <a:pt x="409" y="452"/>
                  <a:pt x="409" y="452"/>
                </a:cubicBezTo>
                <a:cubicBezTo>
                  <a:pt x="411" y="452"/>
                  <a:pt x="411" y="452"/>
                  <a:pt x="411" y="452"/>
                </a:cubicBezTo>
                <a:cubicBezTo>
                  <a:pt x="412" y="453"/>
                  <a:pt x="412" y="453"/>
                  <a:pt x="412" y="453"/>
                </a:cubicBezTo>
                <a:cubicBezTo>
                  <a:pt x="412" y="453"/>
                  <a:pt x="412" y="453"/>
                  <a:pt x="412" y="453"/>
                </a:cubicBezTo>
                <a:cubicBezTo>
                  <a:pt x="414" y="453"/>
                  <a:pt x="414" y="453"/>
                  <a:pt x="414" y="453"/>
                </a:cubicBezTo>
                <a:cubicBezTo>
                  <a:pt x="415" y="453"/>
                  <a:pt x="415" y="453"/>
                  <a:pt x="415" y="453"/>
                </a:cubicBezTo>
                <a:cubicBezTo>
                  <a:pt x="415" y="452"/>
                  <a:pt x="415" y="452"/>
                  <a:pt x="415" y="452"/>
                </a:cubicBezTo>
                <a:cubicBezTo>
                  <a:pt x="414" y="451"/>
                  <a:pt x="414" y="451"/>
                  <a:pt x="414" y="451"/>
                </a:cubicBezTo>
                <a:cubicBezTo>
                  <a:pt x="414" y="451"/>
                  <a:pt x="414" y="451"/>
                  <a:pt x="414" y="451"/>
                </a:cubicBezTo>
                <a:cubicBezTo>
                  <a:pt x="414" y="450"/>
                  <a:pt x="414" y="450"/>
                  <a:pt x="414" y="450"/>
                </a:cubicBezTo>
                <a:cubicBezTo>
                  <a:pt x="413" y="450"/>
                  <a:pt x="413" y="450"/>
                  <a:pt x="413" y="450"/>
                </a:cubicBezTo>
                <a:cubicBezTo>
                  <a:pt x="412" y="449"/>
                  <a:pt x="412" y="449"/>
                  <a:pt x="412" y="449"/>
                </a:cubicBezTo>
                <a:cubicBezTo>
                  <a:pt x="410" y="448"/>
                  <a:pt x="410" y="448"/>
                  <a:pt x="410" y="448"/>
                </a:cubicBezTo>
                <a:cubicBezTo>
                  <a:pt x="410" y="448"/>
                  <a:pt x="410" y="448"/>
                  <a:pt x="410" y="448"/>
                </a:cubicBezTo>
                <a:cubicBezTo>
                  <a:pt x="409" y="446"/>
                  <a:pt x="409" y="446"/>
                  <a:pt x="409" y="446"/>
                </a:cubicBezTo>
                <a:cubicBezTo>
                  <a:pt x="407" y="446"/>
                  <a:pt x="407" y="446"/>
                  <a:pt x="407" y="446"/>
                </a:cubicBezTo>
                <a:cubicBezTo>
                  <a:pt x="405" y="446"/>
                  <a:pt x="405" y="446"/>
                  <a:pt x="405" y="446"/>
                </a:cubicBezTo>
                <a:cubicBezTo>
                  <a:pt x="402" y="445"/>
                  <a:pt x="402" y="445"/>
                  <a:pt x="402" y="445"/>
                </a:cubicBezTo>
                <a:cubicBezTo>
                  <a:pt x="401" y="444"/>
                  <a:pt x="401" y="444"/>
                  <a:pt x="401" y="444"/>
                </a:cubicBezTo>
                <a:cubicBezTo>
                  <a:pt x="400" y="445"/>
                  <a:pt x="400" y="445"/>
                  <a:pt x="400" y="445"/>
                </a:cubicBezTo>
                <a:cubicBezTo>
                  <a:pt x="401" y="446"/>
                  <a:pt x="401" y="446"/>
                  <a:pt x="401" y="446"/>
                </a:cubicBezTo>
                <a:cubicBezTo>
                  <a:pt x="402" y="447"/>
                  <a:pt x="402" y="447"/>
                  <a:pt x="402" y="447"/>
                </a:cubicBezTo>
                <a:cubicBezTo>
                  <a:pt x="404" y="448"/>
                  <a:pt x="404" y="448"/>
                  <a:pt x="404" y="448"/>
                </a:cubicBezTo>
                <a:cubicBezTo>
                  <a:pt x="404" y="449"/>
                  <a:pt x="404" y="449"/>
                  <a:pt x="404" y="449"/>
                </a:cubicBezTo>
                <a:cubicBezTo>
                  <a:pt x="405" y="450"/>
                  <a:pt x="405" y="450"/>
                  <a:pt x="405" y="450"/>
                </a:cubicBezTo>
                <a:close/>
                <a:moveTo>
                  <a:pt x="405" y="479"/>
                </a:moveTo>
                <a:cubicBezTo>
                  <a:pt x="404" y="478"/>
                  <a:pt x="404" y="478"/>
                  <a:pt x="404" y="478"/>
                </a:cubicBezTo>
                <a:cubicBezTo>
                  <a:pt x="403" y="477"/>
                  <a:pt x="403" y="477"/>
                  <a:pt x="403" y="477"/>
                </a:cubicBezTo>
                <a:cubicBezTo>
                  <a:pt x="400" y="476"/>
                  <a:pt x="400" y="476"/>
                  <a:pt x="400" y="476"/>
                </a:cubicBezTo>
                <a:cubicBezTo>
                  <a:pt x="400" y="476"/>
                  <a:pt x="400" y="476"/>
                  <a:pt x="400" y="476"/>
                </a:cubicBezTo>
                <a:cubicBezTo>
                  <a:pt x="399" y="475"/>
                  <a:pt x="399" y="475"/>
                  <a:pt x="399" y="475"/>
                </a:cubicBezTo>
                <a:cubicBezTo>
                  <a:pt x="399" y="474"/>
                  <a:pt x="399" y="474"/>
                  <a:pt x="399" y="474"/>
                </a:cubicBezTo>
                <a:cubicBezTo>
                  <a:pt x="398" y="474"/>
                  <a:pt x="398" y="474"/>
                  <a:pt x="398" y="474"/>
                </a:cubicBezTo>
                <a:cubicBezTo>
                  <a:pt x="398" y="474"/>
                  <a:pt x="398" y="474"/>
                  <a:pt x="398" y="474"/>
                </a:cubicBezTo>
                <a:cubicBezTo>
                  <a:pt x="397" y="473"/>
                  <a:pt x="397" y="473"/>
                  <a:pt x="397" y="473"/>
                </a:cubicBezTo>
                <a:cubicBezTo>
                  <a:pt x="397" y="472"/>
                  <a:pt x="397" y="472"/>
                  <a:pt x="397" y="472"/>
                </a:cubicBezTo>
                <a:cubicBezTo>
                  <a:pt x="397" y="472"/>
                  <a:pt x="397" y="472"/>
                  <a:pt x="397" y="472"/>
                </a:cubicBezTo>
                <a:cubicBezTo>
                  <a:pt x="396" y="472"/>
                  <a:pt x="396" y="472"/>
                  <a:pt x="396" y="472"/>
                </a:cubicBezTo>
                <a:cubicBezTo>
                  <a:pt x="396" y="472"/>
                  <a:pt x="396" y="472"/>
                  <a:pt x="396" y="472"/>
                </a:cubicBezTo>
                <a:cubicBezTo>
                  <a:pt x="396" y="471"/>
                  <a:pt x="396" y="471"/>
                  <a:pt x="396" y="471"/>
                </a:cubicBezTo>
                <a:cubicBezTo>
                  <a:pt x="398" y="469"/>
                  <a:pt x="398" y="469"/>
                  <a:pt x="398" y="469"/>
                </a:cubicBezTo>
                <a:cubicBezTo>
                  <a:pt x="399" y="470"/>
                  <a:pt x="399" y="470"/>
                  <a:pt x="399" y="470"/>
                </a:cubicBezTo>
                <a:cubicBezTo>
                  <a:pt x="398" y="471"/>
                  <a:pt x="398" y="471"/>
                  <a:pt x="398" y="471"/>
                </a:cubicBezTo>
                <a:cubicBezTo>
                  <a:pt x="398" y="471"/>
                  <a:pt x="398" y="471"/>
                  <a:pt x="398" y="471"/>
                </a:cubicBezTo>
                <a:cubicBezTo>
                  <a:pt x="398" y="472"/>
                  <a:pt x="398" y="472"/>
                  <a:pt x="398" y="472"/>
                </a:cubicBezTo>
                <a:cubicBezTo>
                  <a:pt x="398" y="473"/>
                  <a:pt x="398" y="473"/>
                  <a:pt x="398" y="473"/>
                </a:cubicBezTo>
                <a:cubicBezTo>
                  <a:pt x="399" y="474"/>
                  <a:pt x="399" y="474"/>
                  <a:pt x="399" y="474"/>
                </a:cubicBezTo>
                <a:cubicBezTo>
                  <a:pt x="400" y="473"/>
                  <a:pt x="400" y="473"/>
                  <a:pt x="400" y="473"/>
                </a:cubicBezTo>
                <a:cubicBezTo>
                  <a:pt x="400" y="473"/>
                  <a:pt x="400" y="473"/>
                  <a:pt x="400" y="473"/>
                </a:cubicBezTo>
                <a:cubicBezTo>
                  <a:pt x="402" y="474"/>
                  <a:pt x="402" y="474"/>
                  <a:pt x="402" y="474"/>
                </a:cubicBezTo>
                <a:cubicBezTo>
                  <a:pt x="403" y="474"/>
                  <a:pt x="403" y="474"/>
                  <a:pt x="403" y="474"/>
                </a:cubicBezTo>
                <a:cubicBezTo>
                  <a:pt x="403" y="475"/>
                  <a:pt x="403" y="475"/>
                  <a:pt x="403" y="475"/>
                </a:cubicBezTo>
                <a:cubicBezTo>
                  <a:pt x="405" y="475"/>
                  <a:pt x="405" y="475"/>
                  <a:pt x="405" y="475"/>
                </a:cubicBezTo>
                <a:cubicBezTo>
                  <a:pt x="406" y="474"/>
                  <a:pt x="406" y="474"/>
                  <a:pt x="406" y="474"/>
                </a:cubicBezTo>
                <a:cubicBezTo>
                  <a:pt x="407" y="474"/>
                  <a:pt x="407" y="474"/>
                  <a:pt x="407" y="474"/>
                </a:cubicBezTo>
                <a:cubicBezTo>
                  <a:pt x="408" y="474"/>
                  <a:pt x="408" y="474"/>
                  <a:pt x="408" y="474"/>
                </a:cubicBezTo>
                <a:cubicBezTo>
                  <a:pt x="408" y="475"/>
                  <a:pt x="408" y="475"/>
                  <a:pt x="408" y="475"/>
                </a:cubicBezTo>
                <a:cubicBezTo>
                  <a:pt x="407" y="475"/>
                  <a:pt x="407" y="475"/>
                  <a:pt x="407" y="475"/>
                </a:cubicBezTo>
                <a:cubicBezTo>
                  <a:pt x="406" y="476"/>
                  <a:pt x="406" y="476"/>
                  <a:pt x="406" y="476"/>
                </a:cubicBezTo>
                <a:cubicBezTo>
                  <a:pt x="406" y="477"/>
                  <a:pt x="406" y="477"/>
                  <a:pt x="406" y="477"/>
                </a:cubicBezTo>
                <a:cubicBezTo>
                  <a:pt x="406" y="478"/>
                  <a:pt x="406" y="478"/>
                  <a:pt x="406" y="478"/>
                </a:cubicBezTo>
                <a:cubicBezTo>
                  <a:pt x="405" y="479"/>
                  <a:pt x="405" y="479"/>
                  <a:pt x="405" y="479"/>
                </a:cubicBezTo>
                <a:close/>
                <a:moveTo>
                  <a:pt x="414" y="483"/>
                </a:moveTo>
                <a:cubicBezTo>
                  <a:pt x="414" y="482"/>
                  <a:pt x="414" y="482"/>
                  <a:pt x="414" y="482"/>
                </a:cubicBezTo>
                <a:cubicBezTo>
                  <a:pt x="412" y="481"/>
                  <a:pt x="412" y="481"/>
                  <a:pt x="412" y="481"/>
                </a:cubicBezTo>
                <a:cubicBezTo>
                  <a:pt x="412" y="479"/>
                  <a:pt x="412" y="479"/>
                  <a:pt x="412" y="479"/>
                </a:cubicBezTo>
                <a:cubicBezTo>
                  <a:pt x="411" y="478"/>
                  <a:pt x="411" y="478"/>
                  <a:pt x="411" y="478"/>
                </a:cubicBezTo>
                <a:cubicBezTo>
                  <a:pt x="412" y="478"/>
                  <a:pt x="412" y="478"/>
                  <a:pt x="412" y="478"/>
                </a:cubicBezTo>
                <a:cubicBezTo>
                  <a:pt x="413" y="477"/>
                  <a:pt x="413" y="477"/>
                  <a:pt x="413" y="477"/>
                </a:cubicBezTo>
                <a:cubicBezTo>
                  <a:pt x="415" y="475"/>
                  <a:pt x="415" y="475"/>
                  <a:pt x="415" y="475"/>
                </a:cubicBezTo>
                <a:cubicBezTo>
                  <a:pt x="415" y="474"/>
                  <a:pt x="415" y="474"/>
                  <a:pt x="415" y="474"/>
                </a:cubicBezTo>
                <a:cubicBezTo>
                  <a:pt x="416" y="473"/>
                  <a:pt x="416" y="473"/>
                  <a:pt x="416" y="473"/>
                </a:cubicBezTo>
                <a:cubicBezTo>
                  <a:pt x="417" y="471"/>
                  <a:pt x="417" y="471"/>
                  <a:pt x="417" y="471"/>
                </a:cubicBezTo>
                <a:cubicBezTo>
                  <a:pt x="418" y="470"/>
                  <a:pt x="418" y="470"/>
                  <a:pt x="418" y="470"/>
                </a:cubicBezTo>
                <a:cubicBezTo>
                  <a:pt x="419" y="470"/>
                  <a:pt x="419" y="470"/>
                  <a:pt x="419" y="470"/>
                </a:cubicBezTo>
                <a:cubicBezTo>
                  <a:pt x="419" y="471"/>
                  <a:pt x="419" y="471"/>
                  <a:pt x="419" y="471"/>
                </a:cubicBezTo>
                <a:cubicBezTo>
                  <a:pt x="418" y="472"/>
                  <a:pt x="418" y="472"/>
                  <a:pt x="418" y="472"/>
                </a:cubicBezTo>
                <a:cubicBezTo>
                  <a:pt x="419" y="472"/>
                  <a:pt x="419" y="472"/>
                  <a:pt x="419" y="472"/>
                </a:cubicBezTo>
                <a:cubicBezTo>
                  <a:pt x="419" y="473"/>
                  <a:pt x="419" y="473"/>
                  <a:pt x="419" y="473"/>
                </a:cubicBezTo>
                <a:cubicBezTo>
                  <a:pt x="418" y="475"/>
                  <a:pt x="418" y="475"/>
                  <a:pt x="418" y="475"/>
                </a:cubicBezTo>
                <a:cubicBezTo>
                  <a:pt x="417" y="476"/>
                  <a:pt x="417" y="476"/>
                  <a:pt x="417" y="476"/>
                </a:cubicBezTo>
                <a:cubicBezTo>
                  <a:pt x="419" y="476"/>
                  <a:pt x="419" y="476"/>
                  <a:pt x="419" y="476"/>
                </a:cubicBezTo>
                <a:cubicBezTo>
                  <a:pt x="419" y="477"/>
                  <a:pt x="419" y="477"/>
                  <a:pt x="419" y="477"/>
                </a:cubicBezTo>
                <a:cubicBezTo>
                  <a:pt x="419" y="478"/>
                  <a:pt x="419" y="478"/>
                  <a:pt x="419" y="478"/>
                </a:cubicBezTo>
                <a:cubicBezTo>
                  <a:pt x="419" y="478"/>
                  <a:pt x="419" y="478"/>
                  <a:pt x="419" y="478"/>
                </a:cubicBezTo>
                <a:cubicBezTo>
                  <a:pt x="420" y="478"/>
                  <a:pt x="420" y="478"/>
                  <a:pt x="420" y="478"/>
                </a:cubicBezTo>
                <a:cubicBezTo>
                  <a:pt x="420" y="477"/>
                  <a:pt x="420" y="477"/>
                  <a:pt x="420" y="477"/>
                </a:cubicBezTo>
                <a:cubicBezTo>
                  <a:pt x="420" y="477"/>
                  <a:pt x="420" y="477"/>
                  <a:pt x="420" y="477"/>
                </a:cubicBezTo>
                <a:cubicBezTo>
                  <a:pt x="422" y="477"/>
                  <a:pt x="422" y="477"/>
                  <a:pt x="422" y="477"/>
                </a:cubicBezTo>
                <a:cubicBezTo>
                  <a:pt x="422" y="479"/>
                  <a:pt x="422" y="479"/>
                  <a:pt x="422" y="479"/>
                </a:cubicBezTo>
                <a:cubicBezTo>
                  <a:pt x="422" y="479"/>
                  <a:pt x="422" y="479"/>
                  <a:pt x="422" y="479"/>
                </a:cubicBezTo>
                <a:cubicBezTo>
                  <a:pt x="421" y="480"/>
                  <a:pt x="421" y="480"/>
                  <a:pt x="421" y="480"/>
                </a:cubicBezTo>
                <a:cubicBezTo>
                  <a:pt x="420" y="480"/>
                  <a:pt x="420" y="480"/>
                  <a:pt x="420" y="480"/>
                </a:cubicBezTo>
                <a:cubicBezTo>
                  <a:pt x="419" y="480"/>
                  <a:pt x="419" y="480"/>
                  <a:pt x="419" y="480"/>
                </a:cubicBezTo>
                <a:cubicBezTo>
                  <a:pt x="417" y="482"/>
                  <a:pt x="417" y="482"/>
                  <a:pt x="417" y="482"/>
                </a:cubicBezTo>
                <a:cubicBezTo>
                  <a:pt x="416" y="482"/>
                  <a:pt x="416" y="482"/>
                  <a:pt x="416" y="482"/>
                </a:cubicBezTo>
                <a:cubicBezTo>
                  <a:pt x="415" y="481"/>
                  <a:pt x="415" y="481"/>
                  <a:pt x="415" y="481"/>
                </a:cubicBezTo>
                <a:cubicBezTo>
                  <a:pt x="415" y="481"/>
                  <a:pt x="415" y="481"/>
                  <a:pt x="415" y="481"/>
                </a:cubicBezTo>
                <a:cubicBezTo>
                  <a:pt x="414" y="482"/>
                  <a:pt x="414" y="482"/>
                  <a:pt x="414" y="482"/>
                </a:cubicBezTo>
                <a:cubicBezTo>
                  <a:pt x="414" y="483"/>
                  <a:pt x="414" y="483"/>
                  <a:pt x="414" y="483"/>
                </a:cubicBezTo>
                <a:close/>
                <a:moveTo>
                  <a:pt x="317" y="407"/>
                </a:moveTo>
                <a:cubicBezTo>
                  <a:pt x="317" y="408"/>
                  <a:pt x="317" y="408"/>
                  <a:pt x="317" y="408"/>
                </a:cubicBezTo>
                <a:cubicBezTo>
                  <a:pt x="317" y="409"/>
                  <a:pt x="317" y="409"/>
                  <a:pt x="317" y="409"/>
                </a:cubicBezTo>
                <a:cubicBezTo>
                  <a:pt x="318" y="408"/>
                  <a:pt x="318" y="408"/>
                  <a:pt x="318" y="408"/>
                </a:cubicBezTo>
                <a:cubicBezTo>
                  <a:pt x="318" y="407"/>
                  <a:pt x="318" y="407"/>
                  <a:pt x="318" y="407"/>
                </a:cubicBezTo>
                <a:cubicBezTo>
                  <a:pt x="317" y="407"/>
                  <a:pt x="317" y="407"/>
                  <a:pt x="317" y="407"/>
                </a:cubicBezTo>
                <a:cubicBezTo>
                  <a:pt x="317" y="407"/>
                  <a:pt x="317" y="407"/>
                  <a:pt x="317" y="407"/>
                </a:cubicBezTo>
                <a:close/>
                <a:moveTo>
                  <a:pt x="317" y="421"/>
                </a:moveTo>
                <a:cubicBezTo>
                  <a:pt x="317" y="420"/>
                  <a:pt x="317" y="420"/>
                  <a:pt x="317" y="420"/>
                </a:cubicBezTo>
                <a:cubicBezTo>
                  <a:pt x="318" y="420"/>
                  <a:pt x="318" y="420"/>
                  <a:pt x="318" y="420"/>
                </a:cubicBezTo>
                <a:cubicBezTo>
                  <a:pt x="318" y="419"/>
                  <a:pt x="318" y="419"/>
                  <a:pt x="318" y="419"/>
                </a:cubicBezTo>
                <a:cubicBezTo>
                  <a:pt x="319" y="420"/>
                  <a:pt x="319" y="420"/>
                  <a:pt x="319" y="420"/>
                </a:cubicBezTo>
                <a:cubicBezTo>
                  <a:pt x="317" y="421"/>
                  <a:pt x="317" y="421"/>
                  <a:pt x="317" y="421"/>
                </a:cubicBezTo>
                <a:cubicBezTo>
                  <a:pt x="317" y="421"/>
                  <a:pt x="317" y="421"/>
                  <a:pt x="317" y="421"/>
                </a:cubicBezTo>
                <a:close/>
                <a:moveTo>
                  <a:pt x="305" y="411"/>
                </a:moveTo>
                <a:cubicBezTo>
                  <a:pt x="306" y="410"/>
                  <a:pt x="306" y="410"/>
                  <a:pt x="306" y="410"/>
                </a:cubicBezTo>
                <a:cubicBezTo>
                  <a:pt x="307" y="410"/>
                  <a:pt x="307" y="410"/>
                  <a:pt x="307" y="410"/>
                </a:cubicBezTo>
                <a:cubicBezTo>
                  <a:pt x="307" y="409"/>
                  <a:pt x="307" y="409"/>
                  <a:pt x="307" y="409"/>
                </a:cubicBezTo>
                <a:cubicBezTo>
                  <a:pt x="308" y="408"/>
                  <a:pt x="308" y="408"/>
                  <a:pt x="308" y="408"/>
                </a:cubicBezTo>
                <a:cubicBezTo>
                  <a:pt x="309" y="408"/>
                  <a:pt x="309" y="408"/>
                  <a:pt x="309" y="408"/>
                </a:cubicBezTo>
                <a:cubicBezTo>
                  <a:pt x="309" y="409"/>
                  <a:pt x="309" y="409"/>
                  <a:pt x="309" y="409"/>
                </a:cubicBezTo>
                <a:cubicBezTo>
                  <a:pt x="311" y="409"/>
                  <a:pt x="311" y="409"/>
                  <a:pt x="311" y="409"/>
                </a:cubicBezTo>
                <a:cubicBezTo>
                  <a:pt x="312" y="410"/>
                  <a:pt x="312" y="410"/>
                  <a:pt x="312" y="410"/>
                </a:cubicBezTo>
                <a:cubicBezTo>
                  <a:pt x="312" y="411"/>
                  <a:pt x="312" y="411"/>
                  <a:pt x="312" y="411"/>
                </a:cubicBezTo>
                <a:cubicBezTo>
                  <a:pt x="313" y="412"/>
                  <a:pt x="313" y="412"/>
                  <a:pt x="313" y="412"/>
                </a:cubicBezTo>
                <a:cubicBezTo>
                  <a:pt x="312" y="413"/>
                  <a:pt x="312" y="413"/>
                  <a:pt x="312" y="413"/>
                </a:cubicBezTo>
                <a:cubicBezTo>
                  <a:pt x="309" y="412"/>
                  <a:pt x="309" y="412"/>
                  <a:pt x="309" y="412"/>
                </a:cubicBezTo>
                <a:cubicBezTo>
                  <a:pt x="308" y="412"/>
                  <a:pt x="308" y="412"/>
                  <a:pt x="308" y="412"/>
                </a:cubicBezTo>
                <a:cubicBezTo>
                  <a:pt x="307" y="411"/>
                  <a:pt x="307" y="411"/>
                  <a:pt x="307" y="411"/>
                </a:cubicBezTo>
                <a:cubicBezTo>
                  <a:pt x="307" y="412"/>
                  <a:pt x="307" y="412"/>
                  <a:pt x="307" y="412"/>
                </a:cubicBezTo>
                <a:cubicBezTo>
                  <a:pt x="307" y="413"/>
                  <a:pt x="307" y="413"/>
                  <a:pt x="307" y="413"/>
                </a:cubicBezTo>
                <a:cubicBezTo>
                  <a:pt x="307" y="412"/>
                  <a:pt x="307" y="412"/>
                  <a:pt x="307" y="412"/>
                </a:cubicBezTo>
                <a:cubicBezTo>
                  <a:pt x="306" y="411"/>
                  <a:pt x="306" y="411"/>
                  <a:pt x="306" y="411"/>
                </a:cubicBezTo>
                <a:cubicBezTo>
                  <a:pt x="305" y="412"/>
                  <a:pt x="305" y="412"/>
                  <a:pt x="305" y="412"/>
                </a:cubicBezTo>
                <a:cubicBezTo>
                  <a:pt x="305" y="411"/>
                  <a:pt x="305" y="411"/>
                  <a:pt x="305" y="411"/>
                </a:cubicBezTo>
                <a:close/>
                <a:moveTo>
                  <a:pt x="48" y="416"/>
                </a:moveTo>
                <a:cubicBezTo>
                  <a:pt x="49" y="417"/>
                  <a:pt x="49" y="417"/>
                  <a:pt x="49" y="417"/>
                </a:cubicBezTo>
                <a:cubicBezTo>
                  <a:pt x="51" y="419"/>
                  <a:pt x="51" y="419"/>
                  <a:pt x="51" y="419"/>
                </a:cubicBezTo>
                <a:cubicBezTo>
                  <a:pt x="50" y="419"/>
                  <a:pt x="50" y="419"/>
                  <a:pt x="50" y="419"/>
                </a:cubicBezTo>
                <a:cubicBezTo>
                  <a:pt x="48" y="418"/>
                  <a:pt x="48" y="418"/>
                  <a:pt x="48" y="418"/>
                </a:cubicBezTo>
                <a:cubicBezTo>
                  <a:pt x="48" y="416"/>
                  <a:pt x="48" y="416"/>
                  <a:pt x="48" y="416"/>
                </a:cubicBezTo>
                <a:close/>
                <a:moveTo>
                  <a:pt x="46" y="413"/>
                </a:moveTo>
                <a:cubicBezTo>
                  <a:pt x="45" y="411"/>
                  <a:pt x="45" y="411"/>
                  <a:pt x="45" y="411"/>
                </a:cubicBezTo>
                <a:cubicBezTo>
                  <a:pt x="46" y="411"/>
                  <a:pt x="46" y="411"/>
                  <a:pt x="46" y="411"/>
                </a:cubicBezTo>
                <a:cubicBezTo>
                  <a:pt x="46" y="413"/>
                  <a:pt x="46" y="413"/>
                  <a:pt x="46" y="413"/>
                </a:cubicBezTo>
                <a:close/>
                <a:moveTo>
                  <a:pt x="39" y="407"/>
                </a:moveTo>
                <a:cubicBezTo>
                  <a:pt x="41" y="408"/>
                  <a:pt x="41" y="408"/>
                  <a:pt x="41" y="408"/>
                </a:cubicBezTo>
                <a:cubicBezTo>
                  <a:pt x="41" y="407"/>
                  <a:pt x="41" y="407"/>
                  <a:pt x="41" y="407"/>
                </a:cubicBezTo>
                <a:cubicBezTo>
                  <a:pt x="39" y="407"/>
                  <a:pt x="39" y="407"/>
                  <a:pt x="39" y="407"/>
                </a:cubicBezTo>
                <a:close/>
                <a:moveTo>
                  <a:pt x="28" y="403"/>
                </a:moveTo>
                <a:cubicBezTo>
                  <a:pt x="29" y="404"/>
                  <a:pt x="29" y="404"/>
                  <a:pt x="29" y="404"/>
                </a:cubicBezTo>
                <a:cubicBezTo>
                  <a:pt x="29" y="405"/>
                  <a:pt x="29" y="405"/>
                  <a:pt x="29" y="405"/>
                </a:cubicBezTo>
                <a:cubicBezTo>
                  <a:pt x="30" y="406"/>
                  <a:pt x="30" y="406"/>
                  <a:pt x="30" y="406"/>
                </a:cubicBezTo>
                <a:cubicBezTo>
                  <a:pt x="33" y="406"/>
                  <a:pt x="33" y="406"/>
                  <a:pt x="33" y="406"/>
                </a:cubicBezTo>
                <a:cubicBezTo>
                  <a:pt x="32" y="407"/>
                  <a:pt x="32" y="407"/>
                  <a:pt x="32" y="407"/>
                </a:cubicBezTo>
                <a:cubicBezTo>
                  <a:pt x="30" y="407"/>
                  <a:pt x="30" y="407"/>
                  <a:pt x="30" y="407"/>
                </a:cubicBezTo>
                <a:cubicBezTo>
                  <a:pt x="29" y="408"/>
                  <a:pt x="29" y="408"/>
                  <a:pt x="29" y="408"/>
                </a:cubicBezTo>
                <a:cubicBezTo>
                  <a:pt x="30" y="409"/>
                  <a:pt x="30" y="409"/>
                  <a:pt x="30" y="409"/>
                </a:cubicBezTo>
                <a:cubicBezTo>
                  <a:pt x="29" y="410"/>
                  <a:pt x="29" y="410"/>
                  <a:pt x="29" y="410"/>
                </a:cubicBezTo>
                <a:cubicBezTo>
                  <a:pt x="30" y="411"/>
                  <a:pt x="30" y="411"/>
                  <a:pt x="30" y="411"/>
                </a:cubicBezTo>
                <a:cubicBezTo>
                  <a:pt x="31" y="410"/>
                  <a:pt x="31" y="410"/>
                  <a:pt x="31" y="410"/>
                </a:cubicBezTo>
                <a:cubicBezTo>
                  <a:pt x="31" y="411"/>
                  <a:pt x="31" y="411"/>
                  <a:pt x="31" y="411"/>
                </a:cubicBezTo>
                <a:cubicBezTo>
                  <a:pt x="33" y="411"/>
                  <a:pt x="33" y="411"/>
                  <a:pt x="33" y="411"/>
                </a:cubicBezTo>
                <a:cubicBezTo>
                  <a:pt x="33" y="413"/>
                  <a:pt x="33" y="413"/>
                  <a:pt x="33" y="413"/>
                </a:cubicBezTo>
                <a:cubicBezTo>
                  <a:pt x="34" y="413"/>
                  <a:pt x="34" y="413"/>
                  <a:pt x="34" y="413"/>
                </a:cubicBezTo>
                <a:cubicBezTo>
                  <a:pt x="35" y="413"/>
                  <a:pt x="35" y="413"/>
                  <a:pt x="35" y="413"/>
                </a:cubicBezTo>
                <a:cubicBezTo>
                  <a:pt x="34" y="415"/>
                  <a:pt x="34" y="415"/>
                  <a:pt x="34" y="415"/>
                </a:cubicBezTo>
                <a:cubicBezTo>
                  <a:pt x="34" y="416"/>
                  <a:pt x="34" y="416"/>
                  <a:pt x="34" y="416"/>
                </a:cubicBezTo>
                <a:cubicBezTo>
                  <a:pt x="35" y="416"/>
                  <a:pt x="35" y="416"/>
                  <a:pt x="35" y="416"/>
                </a:cubicBezTo>
                <a:cubicBezTo>
                  <a:pt x="35" y="415"/>
                  <a:pt x="35" y="415"/>
                  <a:pt x="35" y="415"/>
                </a:cubicBezTo>
                <a:cubicBezTo>
                  <a:pt x="37" y="414"/>
                  <a:pt x="37" y="414"/>
                  <a:pt x="37" y="414"/>
                </a:cubicBezTo>
                <a:cubicBezTo>
                  <a:pt x="37" y="416"/>
                  <a:pt x="37" y="416"/>
                  <a:pt x="37" y="416"/>
                </a:cubicBezTo>
                <a:cubicBezTo>
                  <a:pt x="36" y="417"/>
                  <a:pt x="36" y="417"/>
                  <a:pt x="36" y="417"/>
                </a:cubicBezTo>
                <a:cubicBezTo>
                  <a:pt x="36" y="418"/>
                  <a:pt x="36" y="418"/>
                  <a:pt x="36" y="418"/>
                </a:cubicBezTo>
                <a:cubicBezTo>
                  <a:pt x="36" y="418"/>
                  <a:pt x="36" y="418"/>
                  <a:pt x="36" y="418"/>
                </a:cubicBezTo>
                <a:cubicBezTo>
                  <a:pt x="37" y="419"/>
                  <a:pt x="37" y="419"/>
                  <a:pt x="37" y="419"/>
                </a:cubicBezTo>
                <a:cubicBezTo>
                  <a:pt x="39" y="419"/>
                  <a:pt x="39" y="419"/>
                  <a:pt x="39" y="419"/>
                </a:cubicBezTo>
                <a:cubicBezTo>
                  <a:pt x="39" y="420"/>
                  <a:pt x="39" y="420"/>
                  <a:pt x="39" y="420"/>
                </a:cubicBezTo>
                <a:cubicBezTo>
                  <a:pt x="40" y="420"/>
                  <a:pt x="40" y="420"/>
                  <a:pt x="40" y="420"/>
                </a:cubicBezTo>
                <a:cubicBezTo>
                  <a:pt x="40" y="421"/>
                  <a:pt x="40" y="421"/>
                  <a:pt x="40" y="421"/>
                </a:cubicBezTo>
                <a:cubicBezTo>
                  <a:pt x="40" y="422"/>
                  <a:pt x="40" y="422"/>
                  <a:pt x="40" y="422"/>
                </a:cubicBezTo>
                <a:cubicBezTo>
                  <a:pt x="41" y="424"/>
                  <a:pt x="41" y="424"/>
                  <a:pt x="41" y="424"/>
                </a:cubicBezTo>
                <a:cubicBezTo>
                  <a:pt x="42" y="423"/>
                  <a:pt x="42" y="423"/>
                  <a:pt x="42" y="423"/>
                </a:cubicBezTo>
                <a:cubicBezTo>
                  <a:pt x="43" y="423"/>
                  <a:pt x="43" y="423"/>
                  <a:pt x="43" y="423"/>
                </a:cubicBezTo>
                <a:cubicBezTo>
                  <a:pt x="44" y="423"/>
                  <a:pt x="44" y="423"/>
                  <a:pt x="44" y="423"/>
                </a:cubicBezTo>
                <a:cubicBezTo>
                  <a:pt x="42" y="425"/>
                  <a:pt x="42" y="425"/>
                  <a:pt x="42" y="425"/>
                </a:cubicBezTo>
                <a:cubicBezTo>
                  <a:pt x="44" y="428"/>
                  <a:pt x="44" y="428"/>
                  <a:pt x="44" y="428"/>
                </a:cubicBezTo>
                <a:cubicBezTo>
                  <a:pt x="45" y="428"/>
                  <a:pt x="45" y="428"/>
                  <a:pt x="45" y="428"/>
                </a:cubicBezTo>
                <a:cubicBezTo>
                  <a:pt x="46" y="429"/>
                  <a:pt x="46" y="429"/>
                  <a:pt x="46" y="429"/>
                </a:cubicBezTo>
                <a:cubicBezTo>
                  <a:pt x="49" y="431"/>
                  <a:pt x="49" y="431"/>
                  <a:pt x="49" y="431"/>
                </a:cubicBezTo>
                <a:cubicBezTo>
                  <a:pt x="50" y="431"/>
                  <a:pt x="50" y="431"/>
                  <a:pt x="50" y="431"/>
                </a:cubicBezTo>
                <a:cubicBezTo>
                  <a:pt x="51" y="431"/>
                  <a:pt x="51" y="431"/>
                  <a:pt x="51" y="431"/>
                </a:cubicBezTo>
                <a:cubicBezTo>
                  <a:pt x="50" y="427"/>
                  <a:pt x="50" y="427"/>
                  <a:pt x="50" y="427"/>
                </a:cubicBezTo>
                <a:cubicBezTo>
                  <a:pt x="51" y="426"/>
                  <a:pt x="51" y="426"/>
                  <a:pt x="51" y="426"/>
                </a:cubicBezTo>
                <a:cubicBezTo>
                  <a:pt x="50" y="425"/>
                  <a:pt x="50" y="425"/>
                  <a:pt x="50" y="425"/>
                </a:cubicBezTo>
                <a:cubicBezTo>
                  <a:pt x="50" y="422"/>
                  <a:pt x="50" y="422"/>
                  <a:pt x="50" y="422"/>
                </a:cubicBezTo>
                <a:cubicBezTo>
                  <a:pt x="49" y="421"/>
                  <a:pt x="49" y="421"/>
                  <a:pt x="49" y="421"/>
                </a:cubicBezTo>
                <a:cubicBezTo>
                  <a:pt x="47" y="419"/>
                  <a:pt x="47" y="419"/>
                  <a:pt x="47" y="419"/>
                </a:cubicBezTo>
                <a:cubicBezTo>
                  <a:pt x="46" y="415"/>
                  <a:pt x="46" y="415"/>
                  <a:pt x="46" y="415"/>
                </a:cubicBezTo>
                <a:cubicBezTo>
                  <a:pt x="45" y="413"/>
                  <a:pt x="45" y="413"/>
                  <a:pt x="45" y="413"/>
                </a:cubicBezTo>
                <a:cubicBezTo>
                  <a:pt x="45" y="411"/>
                  <a:pt x="45" y="411"/>
                  <a:pt x="45" y="411"/>
                </a:cubicBezTo>
                <a:cubicBezTo>
                  <a:pt x="44" y="410"/>
                  <a:pt x="44" y="410"/>
                  <a:pt x="44" y="410"/>
                </a:cubicBezTo>
                <a:cubicBezTo>
                  <a:pt x="43" y="410"/>
                  <a:pt x="43" y="410"/>
                  <a:pt x="43" y="410"/>
                </a:cubicBezTo>
                <a:cubicBezTo>
                  <a:pt x="41" y="409"/>
                  <a:pt x="41" y="409"/>
                  <a:pt x="41" y="409"/>
                </a:cubicBezTo>
                <a:cubicBezTo>
                  <a:pt x="39" y="409"/>
                  <a:pt x="39" y="409"/>
                  <a:pt x="39" y="409"/>
                </a:cubicBezTo>
                <a:cubicBezTo>
                  <a:pt x="38" y="408"/>
                  <a:pt x="38" y="408"/>
                  <a:pt x="38" y="408"/>
                </a:cubicBezTo>
                <a:cubicBezTo>
                  <a:pt x="37" y="407"/>
                  <a:pt x="37" y="407"/>
                  <a:pt x="37" y="407"/>
                </a:cubicBezTo>
                <a:cubicBezTo>
                  <a:pt x="35" y="406"/>
                  <a:pt x="35" y="406"/>
                  <a:pt x="35" y="406"/>
                </a:cubicBezTo>
                <a:cubicBezTo>
                  <a:pt x="34" y="405"/>
                  <a:pt x="34" y="405"/>
                  <a:pt x="34" y="405"/>
                </a:cubicBezTo>
                <a:cubicBezTo>
                  <a:pt x="34" y="404"/>
                  <a:pt x="34" y="404"/>
                  <a:pt x="34" y="404"/>
                </a:cubicBezTo>
                <a:cubicBezTo>
                  <a:pt x="33" y="404"/>
                  <a:pt x="33" y="404"/>
                  <a:pt x="33" y="404"/>
                </a:cubicBezTo>
                <a:cubicBezTo>
                  <a:pt x="32" y="403"/>
                  <a:pt x="32" y="403"/>
                  <a:pt x="32" y="403"/>
                </a:cubicBezTo>
                <a:cubicBezTo>
                  <a:pt x="31" y="402"/>
                  <a:pt x="31" y="402"/>
                  <a:pt x="31" y="402"/>
                </a:cubicBezTo>
                <a:cubicBezTo>
                  <a:pt x="30" y="403"/>
                  <a:pt x="30" y="403"/>
                  <a:pt x="30" y="403"/>
                </a:cubicBezTo>
                <a:cubicBezTo>
                  <a:pt x="28" y="403"/>
                  <a:pt x="28" y="403"/>
                  <a:pt x="28" y="403"/>
                </a:cubicBezTo>
                <a:close/>
                <a:moveTo>
                  <a:pt x="40" y="405"/>
                </a:moveTo>
                <a:cubicBezTo>
                  <a:pt x="41" y="405"/>
                  <a:pt x="41" y="405"/>
                  <a:pt x="41" y="405"/>
                </a:cubicBezTo>
                <a:cubicBezTo>
                  <a:pt x="41" y="405"/>
                  <a:pt x="41" y="405"/>
                  <a:pt x="41" y="405"/>
                </a:cubicBezTo>
                <a:cubicBezTo>
                  <a:pt x="42" y="405"/>
                  <a:pt x="42" y="405"/>
                  <a:pt x="42" y="405"/>
                </a:cubicBezTo>
                <a:cubicBezTo>
                  <a:pt x="41" y="406"/>
                  <a:pt x="41" y="406"/>
                  <a:pt x="41" y="406"/>
                </a:cubicBezTo>
                <a:cubicBezTo>
                  <a:pt x="40" y="406"/>
                  <a:pt x="40" y="406"/>
                  <a:pt x="40" y="406"/>
                </a:cubicBezTo>
                <a:cubicBezTo>
                  <a:pt x="40" y="405"/>
                  <a:pt x="40" y="405"/>
                  <a:pt x="40" y="405"/>
                </a:cubicBezTo>
                <a:close/>
                <a:moveTo>
                  <a:pt x="39" y="404"/>
                </a:moveTo>
                <a:cubicBezTo>
                  <a:pt x="39" y="404"/>
                  <a:pt x="39" y="404"/>
                  <a:pt x="39" y="404"/>
                </a:cubicBezTo>
                <a:cubicBezTo>
                  <a:pt x="40" y="405"/>
                  <a:pt x="40" y="405"/>
                  <a:pt x="40" y="405"/>
                </a:cubicBezTo>
                <a:cubicBezTo>
                  <a:pt x="39" y="404"/>
                  <a:pt x="39" y="404"/>
                  <a:pt x="39" y="404"/>
                </a:cubicBezTo>
                <a:close/>
                <a:moveTo>
                  <a:pt x="31" y="377"/>
                </a:moveTo>
                <a:cubicBezTo>
                  <a:pt x="31" y="378"/>
                  <a:pt x="31" y="378"/>
                  <a:pt x="31" y="378"/>
                </a:cubicBezTo>
                <a:cubicBezTo>
                  <a:pt x="32" y="378"/>
                  <a:pt x="32" y="378"/>
                  <a:pt x="32" y="378"/>
                </a:cubicBezTo>
                <a:cubicBezTo>
                  <a:pt x="31" y="377"/>
                  <a:pt x="31" y="377"/>
                  <a:pt x="31" y="377"/>
                </a:cubicBezTo>
                <a:close/>
                <a:moveTo>
                  <a:pt x="35" y="390"/>
                </a:moveTo>
                <a:cubicBezTo>
                  <a:pt x="35" y="389"/>
                  <a:pt x="35" y="389"/>
                  <a:pt x="35" y="389"/>
                </a:cubicBezTo>
                <a:cubicBezTo>
                  <a:pt x="35" y="388"/>
                  <a:pt x="35" y="388"/>
                  <a:pt x="35" y="388"/>
                </a:cubicBezTo>
                <a:cubicBezTo>
                  <a:pt x="36" y="389"/>
                  <a:pt x="36" y="389"/>
                  <a:pt x="36" y="389"/>
                </a:cubicBezTo>
                <a:cubicBezTo>
                  <a:pt x="35" y="390"/>
                  <a:pt x="35" y="390"/>
                  <a:pt x="35" y="390"/>
                </a:cubicBezTo>
                <a:cubicBezTo>
                  <a:pt x="35" y="390"/>
                  <a:pt x="35" y="390"/>
                  <a:pt x="35" y="390"/>
                </a:cubicBezTo>
                <a:close/>
                <a:moveTo>
                  <a:pt x="34" y="394"/>
                </a:moveTo>
                <a:cubicBezTo>
                  <a:pt x="34" y="395"/>
                  <a:pt x="34" y="395"/>
                  <a:pt x="34" y="395"/>
                </a:cubicBezTo>
                <a:cubicBezTo>
                  <a:pt x="34" y="396"/>
                  <a:pt x="34" y="396"/>
                  <a:pt x="34" y="396"/>
                </a:cubicBezTo>
                <a:cubicBezTo>
                  <a:pt x="34" y="396"/>
                  <a:pt x="34" y="396"/>
                  <a:pt x="34" y="396"/>
                </a:cubicBezTo>
                <a:cubicBezTo>
                  <a:pt x="35" y="395"/>
                  <a:pt x="35" y="395"/>
                  <a:pt x="35" y="395"/>
                </a:cubicBezTo>
                <a:cubicBezTo>
                  <a:pt x="34" y="394"/>
                  <a:pt x="34" y="394"/>
                  <a:pt x="34" y="394"/>
                </a:cubicBezTo>
                <a:close/>
                <a:moveTo>
                  <a:pt x="35" y="392"/>
                </a:moveTo>
                <a:cubicBezTo>
                  <a:pt x="36" y="391"/>
                  <a:pt x="36" y="391"/>
                  <a:pt x="36" y="391"/>
                </a:cubicBezTo>
                <a:cubicBezTo>
                  <a:pt x="36" y="390"/>
                  <a:pt x="36" y="390"/>
                  <a:pt x="36" y="390"/>
                </a:cubicBezTo>
                <a:cubicBezTo>
                  <a:pt x="34" y="391"/>
                  <a:pt x="34" y="391"/>
                  <a:pt x="34" y="391"/>
                </a:cubicBezTo>
                <a:cubicBezTo>
                  <a:pt x="34" y="392"/>
                  <a:pt x="34" y="392"/>
                  <a:pt x="34" y="392"/>
                </a:cubicBezTo>
                <a:cubicBezTo>
                  <a:pt x="35" y="392"/>
                  <a:pt x="35" y="392"/>
                  <a:pt x="35" y="392"/>
                </a:cubicBezTo>
                <a:cubicBezTo>
                  <a:pt x="35" y="392"/>
                  <a:pt x="35" y="392"/>
                  <a:pt x="35" y="392"/>
                </a:cubicBezTo>
                <a:close/>
                <a:moveTo>
                  <a:pt x="37" y="391"/>
                </a:moveTo>
                <a:cubicBezTo>
                  <a:pt x="38" y="389"/>
                  <a:pt x="38" y="389"/>
                  <a:pt x="38" y="389"/>
                </a:cubicBezTo>
                <a:cubicBezTo>
                  <a:pt x="39" y="389"/>
                  <a:pt x="39" y="389"/>
                  <a:pt x="39" y="389"/>
                </a:cubicBezTo>
                <a:cubicBezTo>
                  <a:pt x="40" y="388"/>
                  <a:pt x="40" y="388"/>
                  <a:pt x="40" y="388"/>
                </a:cubicBezTo>
                <a:cubicBezTo>
                  <a:pt x="42" y="387"/>
                  <a:pt x="42" y="387"/>
                  <a:pt x="42" y="387"/>
                </a:cubicBezTo>
                <a:cubicBezTo>
                  <a:pt x="42" y="388"/>
                  <a:pt x="42" y="388"/>
                  <a:pt x="42" y="388"/>
                </a:cubicBezTo>
                <a:cubicBezTo>
                  <a:pt x="40" y="389"/>
                  <a:pt x="40" y="389"/>
                  <a:pt x="40" y="389"/>
                </a:cubicBezTo>
                <a:cubicBezTo>
                  <a:pt x="39" y="390"/>
                  <a:pt x="39" y="390"/>
                  <a:pt x="39" y="390"/>
                </a:cubicBezTo>
                <a:cubicBezTo>
                  <a:pt x="37" y="391"/>
                  <a:pt x="37" y="391"/>
                  <a:pt x="37" y="391"/>
                </a:cubicBezTo>
                <a:cubicBezTo>
                  <a:pt x="37" y="391"/>
                  <a:pt x="37" y="391"/>
                  <a:pt x="37" y="391"/>
                </a:cubicBezTo>
                <a:close/>
                <a:moveTo>
                  <a:pt x="36" y="384"/>
                </a:moveTo>
                <a:cubicBezTo>
                  <a:pt x="36" y="383"/>
                  <a:pt x="36" y="383"/>
                  <a:pt x="36" y="383"/>
                </a:cubicBezTo>
                <a:cubicBezTo>
                  <a:pt x="36" y="382"/>
                  <a:pt x="36" y="382"/>
                  <a:pt x="36" y="382"/>
                </a:cubicBezTo>
                <a:cubicBezTo>
                  <a:pt x="37" y="383"/>
                  <a:pt x="37" y="383"/>
                  <a:pt x="37" y="383"/>
                </a:cubicBezTo>
                <a:cubicBezTo>
                  <a:pt x="36" y="383"/>
                  <a:pt x="36" y="383"/>
                  <a:pt x="36" y="383"/>
                </a:cubicBezTo>
                <a:cubicBezTo>
                  <a:pt x="36" y="384"/>
                  <a:pt x="36" y="384"/>
                  <a:pt x="36" y="384"/>
                </a:cubicBezTo>
                <a:cubicBezTo>
                  <a:pt x="36" y="384"/>
                  <a:pt x="36" y="384"/>
                  <a:pt x="36" y="384"/>
                </a:cubicBezTo>
                <a:close/>
                <a:moveTo>
                  <a:pt x="33" y="384"/>
                </a:moveTo>
                <a:cubicBezTo>
                  <a:pt x="34" y="385"/>
                  <a:pt x="34" y="385"/>
                  <a:pt x="34" y="385"/>
                </a:cubicBezTo>
                <a:cubicBezTo>
                  <a:pt x="35" y="384"/>
                  <a:pt x="35" y="384"/>
                  <a:pt x="35" y="384"/>
                </a:cubicBezTo>
                <a:cubicBezTo>
                  <a:pt x="35" y="383"/>
                  <a:pt x="35" y="383"/>
                  <a:pt x="35" y="383"/>
                </a:cubicBezTo>
                <a:cubicBezTo>
                  <a:pt x="33" y="384"/>
                  <a:pt x="33" y="384"/>
                  <a:pt x="33" y="384"/>
                </a:cubicBezTo>
                <a:close/>
                <a:moveTo>
                  <a:pt x="31" y="380"/>
                </a:moveTo>
                <a:cubicBezTo>
                  <a:pt x="31" y="382"/>
                  <a:pt x="31" y="382"/>
                  <a:pt x="31" y="382"/>
                </a:cubicBezTo>
                <a:cubicBezTo>
                  <a:pt x="32" y="383"/>
                  <a:pt x="32" y="383"/>
                  <a:pt x="32" y="383"/>
                </a:cubicBezTo>
                <a:cubicBezTo>
                  <a:pt x="32" y="384"/>
                  <a:pt x="32" y="384"/>
                  <a:pt x="32" y="384"/>
                </a:cubicBezTo>
                <a:cubicBezTo>
                  <a:pt x="33" y="383"/>
                  <a:pt x="33" y="383"/>
                  <a:pt x="33" y="383"/>
                </a:cubicBezTo>
                <a:cubicBezTo>
                  <a:pt x="32" y="381"/>
                  <a:pt x="32" y="381"/>
                  <a:pt x="32" y="381"/>
                </a:cubicBezTo>
                <a:cubicBezTo>
                  <a:pt x="31" y="380"/>
                  <a:pt x="31" y="380"/>
                  <a:pt x="31" y="380"/>
                </a:cubicBezTo>
                <a:close/>
                <a:moveTo>
                  <a:pt x="32" y="379"/>
                </a:moveTo>
                <a:cubicBezTo>
                  <a:pt x="33" y="379"/>
                  <a:pt x="33" y="379"/>
                  <a:pt x="33" y="379"/>
                </a:cubicBezTo>
                <a:cubicBezTo>
                  <a:pt x="33" y="380"/>
                  <a:pt x="33" y="380"/>
                  <a:pt x="33" y="380"/>
                </a:cubicBezTo>
                <a:cubicBezTo>
                  <a:pt x="33" y="381"/>
                  <a:pt x="33" y="381"/>
                  <a:pt x="33" y="381"/>
                </a:cubicBezTo>
                <a:cubicBezTo>
                  <a:pt x="34" y="381"/>
                  <a:pt x="34" y="381"/>
                  <a:pt x="34" y="381"/>
                </a:cubicBezTo>
                <a:cubicBezTo>
                  <a:pt x="35" y="380"/>
                  <a:pt x="35" y="380"/>
                  <a:pt x="35" y="380"/>
                </a:cubicBezTo>
                <a:cubicBezTo>
                  <a:pt x="34" y="381"/>
                  <a:pt x="34" y="381"/>
                  <a:pt x="34" y="381"/>
                </a:cubicBezTo>
                <a:cubicBezTo>
                  <a:pt x="35" y="383"/>
                  <a:pt x="35" y="383"/>
                  <a:pt x="35" y="383"/>
                </a:cubicBezTo>
                <a:cubicBezTo>
                  <a:pt x="36" y="381"/>
                  <a:pt x="36" y="381"/>
                  <a:pt x="36" y="381"/>
                </a:cubicBezTo>
                <a:cubicBezTo>
                  <a:pt x="36" y="378"/>
                  <a:pt x="36" y="378"/>
                  <a:pt x="36" y="378"/>
                </a:cubicBezTo>
                <a:cubicBezTo>
                  <a:pt x="35" y="377"/>
                  <a:pt x="35" y="377"/>
                  <a:pt x="35" y="377"/>
                </a:cubicBezTo>
                <a:cubicBezTo>
                  <a:pt x="33" y="378"/>
                  <a:pt x="33" y="378"/>
                  <a:pt x="33" y="378"/>
                </a:cubicBezTo>
                <a:cubicBezTo>
                  <a:pt x="32" y="379"/>
                  <a:pt x="32" y="379"/>
                  <a:pt x="32" y="379"/>
                </a:cubicBezTo>
                <a:close/>
                <a:moveTo>
                  <a:pt x="32" y="376"/>
                </a:moveTo>
                <a:cubicBezTo>
                  <a:pt x="33" y="377"/>
                  <a:pt x="33" y="377"/>
                  <a:pt x="33" y="377"/>
                </a:cubicBezTo>
                <a:cubicBezTo>
                  <a:pt x="33" y="376"/>
                  <a:pt x="33" y="376"/>
                  <a:pt x="33" y="376"/>
                </a:cubicBezTo>
                <a:cubicBezTo>
                  <a:pt x="33" y="376"/>
                  <a:pt x="33" y="376"/>
                  <a:pt x="33" y="376"/>
                </a:cubicBezTo>
                <a:cubicBezTo>
                  <a:pt x="32" y="376"/>
                  <a:pt x="32" y="376"/>
                  <a:pt x="32" y="376"/>
                </a:cubicBezTo>
                <a:close/>
                <a:moveTo>
                  <a:pt x="35" y="374"/>
                </a:moveTo>
                <a:cubicBezTo>
                  <a:pt x="35" y="373"/>
                  <a:pt x="35" y="373"/>
                  <a:pt x="35" y="373"/>
                </a:cubicBezTo>
                <a:cubicBezTo>
                  <a:pt x="36" y="372"/>
                  <a:pt x="36" y="372"/>
                  <a:pt x="36" y="372"/>
                </a:cubicBezTo>
                <a:cubicBezTo>
                  <a:pt x="37" y="372"/>
                  <a:pt x="37" y="372"/>
                  <a:pt x="37" y="372"/>
                </a:cubicBezTo>
                <a:cubicBezTo>
                  <a:pt x="37" y="373"/>
                  <a:pt x="37" y="373"/>
                  <a:pt x="37" y="373"/>
                </a:cubicBezTo>
                <a:cubicBezTo>
                  <a:pt x="35" y="374"/>
                  <a:pt x="35" y="374"/>
                  <a:pt x="35" y="374"/>
                </a:cubicBezTo>
                <a:cubicBezTo>
                  <a:pt x="35" y="374"/>
                  <a:pt x="35" y="374"/>
                  <a:pt x="35" y="374"/>
                </a:cubicBezTo>
                <a:close/>
                <a:moveTo>
                  <a:pt x="27" y="371"/>
                </a:moveTo>
                <a:cubicBezTo>
                  <a:pt x="30" y="374"/>
                  <a:pt x="30" y="374"/>
                  <a:pt x="30" y="374"/>
                </a:cubicBezTo>
                <a:cubicBezTo>
                  <a:pt x="30" y="375"/>
                  <a:pt x="30" y="375"/>
                  <a:pt x="30" y="375"/>
                </a:cubicBezTo>
                <a:cubicBezTo>
                  <a:pt x="30" y="376"/>
                  <a:pt x="30" y="376"/>
                  <a:pt x="30" y="376"/>
                </a:cubicBezTo>
                <a:cubicBezTo>
                  <a:pt x="29" y="376"/>
                  <a:pt x="29" y="376"/>
                  <a:pt x="29" y="376"/>
                </a:cubicBezTo>
                <a:cubicBezTo>
                  <a:pt x="29" y="375"/>
                  <a:pt x="29" y="375"/>
                  <a:pt x="29" y="375"/>
                </a:cubicBezTo>
                <a:cubicBezTo>
                  <a:pt x="27" y="373"/>
                  <a:pt x="27" y="373"/>
                  <a:pt x="27" y="373"/>
                </a:cubicBezTo>
                <a:cubicBezTo>
                  <a:pt x="27" y="371"/>
                  <a:pt x="27" y="371"/>
                  <a:pt x="27" y="371"/>
                </a:cubicBezTo>
                <a:cubicBezTo>
                  <a:pt x="27" y="371"/>
                  <a:pt x="27" y="370"/>
                  <a:pt x="27" y="371"/>
                </a:cubicBezTo>
                <a:close/>
                <a:moveTo>
                  <a:pt x="29" y="369"/>
                </a:moveTo>
                <a:cubicBezTo>
                  <a:pt x="30" y="371"/>
                  <a:pt x="30" y="371"/>
                  <a:pt x="30" y="371"/>
                </a:cubicBezTo>
                <a:cubicBezTo>
                  <a:pt x="30" y="372"/>
                  <a:pt x="30" y="372"/>
                  <a:pt x="30" y="372"/>
                </a:cubicBezTo>
                <a:cubicBezTo>
                  <a:pt x="31" y="374"/>
                  <a:pt x="31" y="374"/>
                  <a:pt x="31" y="374"/>
                </a:cubicBezTo>
                <a:cubicBezTo>
                  <a:pt x="32" y="375"/>
                  <a:pt x="32" y="375"/>
                  <a:pt x="32" y="375"/>
                </a:cubicBezTo>
                <a:cubicBezTo>
                  <a:pt x="32" y="373"/>
                  <a:pt x="32" y="373"/>
                  <a:pt x="32" y="373"/>
                </a:cubicBezTo>
                <a:cubicBezTo>
                  <a:pt x="31" y="371"/>
                  <a:pt x="31" y="371"/>
                  <a:pt x="31" y="371"/>
                </a:cubicBezTo>
                <a:cubicBezTo>
                  <a:pt x="30" y="369"/>
                  <a:pt x="30" y="369"/>
                  <a:pt x="30" y="369"/>
                </a:cubicBezTo>
                <a:cubicBezTo>
                  <a:pt x="30" y="369"/>
                  <a:pt x="30" y="369"/>
                  <a:pt x="30" y="369"/>
                </a:cubicBezTo>
                <a:cubicBezTo>
                  <a:pt x="29" y="369"/>
                  <a:pt x="29" y="369"/>
                  <a:pt x="29" y="369"/>
                </a:cubicBezTo>
                <a:close/>
                <a:moveTo>
                  <a:pt x="27" y="368"/>
                </a:moveTo>
                <a:cubicBezTo>
                  <a:pt x="29" y="368"/>
                  <a:pt x="29" y="368"/>
                  <a:pt x="29" y="368"/>
                </a:cubicBezTo>
                <a:cubicBezTo>
                  <a:pt x="29" y="368"/>
                  <a:pt x="29" y="368"/>
                  <a:pt x="29" y="368"/>
                </a:cubicBezTo>
                <a:cubicBezTo>
                  <a:pt x="30" y="368"/>
                  <a:pt x="30" y="368"/>
                  <a:pt x="30" y="368"/>
                </a:cubicBezTo>
                <a:cubicBezTo>
                  <a:pt x="31" y="367"/>
                  <a:pt x="31" y="367"/>
                  <a:pt x="31" y="367"/>
                </a:cubicBezTo>
                <a:cubicBezTo>
                  <a:pt x="29" y="366"/>
                  <a:pt x="29" y="366"/>
                  <a:pt x="29" y="366"/>
                </a:cubicBezTo>
                <a:cubicBezTo>
                  <a:pt x="28" y="367"/>
                  <a:pt x="28" y="367"/>
                  <a:pt x="28" y="367"/>
                </a:cubicBezTo>
                <a:cubicBezTo>
                  <a:pt x="27" y="368"/>
                  <a:pt x="27" y="368"/>
                  <a:pt x="27" y="368"/>
                </a:cubicBezTo>
                <a:close/>
                <a:moveTo>
                  <a:pt x="14" y="368"/>
                </a:moveTo>
                <a:cubicBezTo>
                  <a:pt x="14" y="366"/>
                  <a:pt x="14" y="366"/>
                  <a:pt x="14" y="366"/>
                </a:cubicBezTo>
                <a:cubicBezTo>
                  <a:pt x="16" y="363"/>
                  <a:pt x="16" y="363"/>
                  <a:pt x="16" y="363"/>
                </a:cubicBezTo>
                <a:cubicBezTo>
                  <a:pt x="18" y="363"/>
                  <a:pt x="18" y="363"/>
                  <a:pt x="18" y="363"/>
                </a:cubicBezTo>
                <a:cubicBezTo>
                  <a:pt x="17" y="365"/>
                  <a:pt x="17" y="365"/>
                  <a:pt x="17" y="365"/>
                </a:cubicBezTo>
                <a:cubicBezTo>
                  <a:pt x="18" y="365"/>
                  <a:pt x="18" y="365"/>
                  <a:pt x="18" y="365"/>
                </a:cubicBezTo>
                <a:cubicBezTo>
                  <a:pt x="19" y="364"/>
                  <a:pt x="19" y="364"/>
                  <a:pt x="19" y="364"/>
                </a:cubicBezTo>
                <a:cubicBezTo>
                  <a:pt x="20" y="364"/>
                  <a:pt x="20" y="364"/>
                  <a:pt x="20" y="364"/>
                </a:cubicBezTo>
                <a:cubicBezTo>
                  <a:pt x="20" y="365"/>
                  <a:pt x="20" y="365"/>
                  <a:pt x="20" y="365"/>
                </a:cubicBezTo>
                <a:cubicBezTo>
                  <a:pt x="20" y="367"/>
                  <a:pt x="20" y="367"/>
                  <a:pt x="20" y="367"/>
                </a:cubicBezTo>
                <a:cubicBezTo>
                  <a:pt x="18" y="368"/>
                  <a:pt x="18" y="368"/>
                  <a:pt x="18" y="368"/>
                </a:cubicBezTo>
                <a:cubicBezTo>
                  <a:pt x="16" y="369"/>
                  <a:pt x="16" y="369"/>
                  <a:pt x="16" y="369"/>
                </a:cubicBezTo>
                <a:cubicBezTo>
                  <a:pt x="17" y="369"/>
                  <a:pt x="17" y="369"/>
                  <a:pt x="17" y="369"/>
                </a:cubicBezTo>
                <a:cubicBezTo>
                  <a:pt x="17" y="370"/>
                  <a:pt x="17" y="370"/>
                  <a:pt x="17" y="370"/>
                </a:cubicBezTo>
                <a:cubicBezTo>
                  <a:pt x="18" y="369"/>
                  <a:pt x="18" y="369"/>
                  <a:pt x="18" y="369"/>
                </a:cubicBezTo>
                <a:cubicBezTo>
                  <a:pt x="19" y="368"/>
                  <a:pt x="19" y="368"/>
                  <a:pt x="19" y="368"/>
                </a:cubicBezTo>
                <a:cubicBezTo>
                  <a:pt x="21" y="366"/>
                  <a:pt x="21" y="366"/>
                  <a:pt x="21" y="366"/>
                </a:cubicBezTo>
                <a:cubicBezTo>
                  <a:pt x="23" y="365"/>
                  <a:pt x="23" y="365"/>
                  <a:pt x="23" y="365"/>
                </a:cubicBezTo>
                <a:cubicBezTo>
                  <a:pt x="23" y="365"/>
                  <a:pt x="23" y="365"/>
                  <a:pt x="23" y="365"/>
                </a:cubicBezTo>
                <a:cubicBezTo>
                  <a:pt x="21" y="367"/>
                  <a:pt x="21" y="367"/>
                  <a:pt x="21" y="367"/>
                </a:cubicBezTo>
                <a:cubicBezTo>
                  <a:pt x="21" y="369"/>
                  <a:pt x="21" y="369"/>
                  <a:pt x="21" y="369"/>
                </a:cubicBezTo>
                <a:cubicBezTo>
                  <a:pt x="19" y="371"/>
                  <a:pt x="19" y="371"/>
                  <a:pt x="19" y="371"/>
                </a:cubicBezTo>
                <a:cubicBezTo>
                  <a:pt x="19" y="373"/>
                  <a:pt x="19" y="373"/>
                  <a:pt x="19" y="373"/>
                </a:cubicBezTo>
                <a:cubicBezTo>
                  <a:pt x="18" y="374"/>
                  <a:pt x="18" y="374"/>
                  <a:pt x="18" y="374"/>
                </a:cubicBezTo>
                <a:cubicBezTo>
                  <a:pt x="17" y="374"/>
                  <a:pt x="17" y="374"/>
                  <a:pt x="17" y="374"/>
                </a:cubicBezTo>
                <a:cubicBezTo>
                  <a:pt x="16" y="375"/>
                  <a:pt x="16" y="375"/>
                  <a:pt x="16" y="375"/>
                </a:cubicBezTo>
                <a:cubicBezTo>
                  <a:pt x="17" y="375"/>
                  <a:pt x="17" y="375"/>
                  <a:pt x="17" y="375"/>
                </a:cubicBezTo>
                <a:cubicBezTo>
                  <a:pt x="18" y="375"/>
                  <a:pt x="18" y="375"/>
                  <a:pt x="18" y="375"/>
                </a:cubicBezTo>
                <a:cubicBezTo>
                  <a:pt x="19" y="375"/>
                  <a:pt x="19" y="375"/>
                  <a:pt x="19" y="375"/>
                </a:cubicBezTo>
                <a:cubicBezTo>
                  <a:pt x="19" y="376"/>
                  <a:pt x="19" y="376"/>
                  <a:pt x="19" y="376"/>
                </a:cubicBezTo>
                <a:cubicBezTo>
                  <a:pt x="18" y="376"/>
                  <a:pt x="18" y="376"/>
                  <a:pt x="18" y="376"/>
                </a:cubicBezTo>
                <a:cubicBezTo>
                  <a:pt x="17" y="378"/>
                  <a:pt x="17" y="378"/>
                  <a:pt x="17" y="378"/>
                </a:cubicBezTo>
                <a:cubicBezTo>
                  <a:pt x="17" y="379"/>
                  <a:pt x="17" y="379"/>
                  <a:pt x="17" y="379"/>
                </a:cubicBezTo>
                <a:cubicBezTo>
                  <a:pt x="17" y="381"/>
                  <a:pt x="17" y="381"/>
                  <a:pt x="17" y="381"/>
                </a:cubicBezTo>
                <a:cubicBezTo>
                  <a:pt x="18" y="383"/>
                  <a:pt x="18" y="383"/>
                  <a:pt x="18" y="383"/>
                </a:cubicBezTo>
                <a:cubicBezTo>
                  <a:pt x="18" y="385"/>
                  <a:pt x="18" y="385"/>
                  <a:pt x="18" y="385"/>
                </a:cubicBezTo>
                <a:cubicBezTo>
                  <a:pt x="19" y="384"/>
                  <a:pt x="19" y="384"/>
                  <a:pt x="19" y="384"/>
                </a:cubicBezTo>
                <a:cubicBezTo>
                  <a:pt x="19" y="385"/>
                  <a:pt x="19" y="385"/>
                  <a:pt x="19" y="385"/>
                </a:cubicBezTo>
                <a:cubicBezTo>
                  <a:pt x="19" y="386"/>
                  <a:pt x="19" y="386"/>
                  <a:pt x="19" y="386"/>
                </a:cubicBezTo>
                <a:cubicBezTo>
                  <a:pt x="17" y="386"/>
                  <a:pt x="17" y="386"/>
                  <a:pt x="17" y="386"/>
                </a:cubicBezTo>
                <a:cubicBezTo>
                  <a:pt x="15" y="382"/>
                  <a:pt x="15" y="382"/>
                  <a:pt x="15" y="382"/>
                </a:cubicBezTo>
                <a:cubicBezTo>
                  <a:pt x="15" y="380"/>
                  <a:pt x="15" y="380"/>
                  <a:pt x="15" y="380"/>
                </a:cubicBezTo>
                <a:cubicBezTo>
                  <a:pt x="15" y="379"/>
                  <a:pt x="15" y="379"/>
                  <a:pt x="15" y="379"/>
                </a:cubicBezTo>
                <a:cubicBezTo>
                  <a:pt x="14" y="379"/>
                  <a:pt x="14" y="379"/>
                  <a:pt x="14" y="379"/>
                </a:cubicBezTo>
                <a:cubicBezTo>
                  <a:pt x="14" y="378"/>
                  <a:pt x="14" y="378"/>
                  <a:pt x="14" y="378"/>
                </a:cubicBezTo>
                <a:cubicBezTo>
                  <a:pt x="14" y="377"/>
                  <a:pt x="14" y="377"/>
                  <a:pt x="14" y="377"/>
                </a:cubicBezTo>
                <a:cubicBezTo>
                  <a:pt x="16" y="377"/>
                  <a:pt x="16" y="377"/>
                  <a:pt x="16" y="377"/>
                </a:cubicBezTo>
                <a:cubicBezTo>
                  <a:pt x="14" y="376"/>
                  <a:pt x="14" y="376"/>
                  <a:pt x="14" y="376"/>
                </a:cubicBezTo>
                <a:cubicBezTo>
                  <a:pt x="14" y="376"/>
                  <a:pt x="14" y="376"/>
                  <a:pt x="14" y="376"/>
                </a:cubicBezTo>
                <a:cubicBezTo>
                  <a:pt x="14" y="374"/>
                  <a:pt x="14" y="374"/>
                  <a:pt x="14" y="374"/>
                </a:cubicBezTo>
                <a:cubicBezTo>
                  <a:pt x="13" y="373"/>
                  <a:pt x="13" y="373"/>
                  <a:pt x="13" y="373"/>
                </a:cubicBezTo>
                <a:cubicBezTo>
                  <a:pt x="14" y="372"/>
                  <a:pt x="14" y="372"/>
                  <a:pt x="14" y="372"/>
                </a:cubicBezTo>
                <a:cubicBezTo>
                  <a:pt x="15" y="373"/>
                  <a:pt x="15" y="373"/>
                  <a:pt x="15" y="373"/>
                </a:cubicBezTo>
                <a:cubicBezTo>
                  <a:pt x="15" y="373"/>
                  <a:pt x="15" y="373"/>
                  <a:pt x="15" y="373"/>
                </a:cubicBezTo>
                <a:cubicBezTo>
                  <a:pt x="15" y="372"/>
                  <a:pt x="15" y="372"/>
                  <a:pt x="15" y="372"/>
                </a:cubicBezTo>
                <a:cubicBezTo>
                  <a:pt x="14" y="371"/>
                  <a:pt x="14" y="371"/>
                  <a:pt x="14" y="371"/>
                </a:cubicBezTo>
                <a:cubicBezTo>
                  <a:pt x="13" y="371"/>
                  <a:pt x="13" y="371"/>
                  <a:pt x="13" y="371"/>
                </a:cubicBezTo>
                <a:cubicBezTo>
                  <a:pt x="13" y="370"/>
                  <a:pt x="13" y="370"/>
                  <a:pt x="13" y="370"/>
                </a:cubicBezTo>
                <a:cubicBezTo>
                  <a:pt x="14" y="368"/>
                  <a:pt x="14" y="368"/>
                  <a:pt x="14" y="368"/>
                </a:cubicBezTo>
                <a:close/>
                <a:moveTo>
                  <a:pt x="29" y="362"/>
                </a:moveTo>
                <a:cubicBezTo>
                  <a:pt x="29" y="361"/>
                  <a:pt x="29" y="361"/>
                  <a:pt x="29" y="361"/>
                </a:cubicBezTo>
                <a:cubicBezTo>
                  <a:pt x="30" y="360"/>
                  <a:pt x="30" y="360"/>
                  <a:pt x="30" y="360"/>
                </a:cubicBezTo>
                <a:cubicBezTo>
                  <a:pt x="30" y="361"/>
                  <a:pt x="30" y="361"/>
                  <a:pt x="30" y="361"/>
                </a:cubicBezTo>
                <a:cubicBezTo>
                  <a:pt x="29" y="362"/>
                  <a:pt x="29" y="362"/>
                  <a:pt x="29" y="362"/>
                </a:cubicBezTo>
                <a:close/>
                <a:moveTo>
                  <a:pt x="157" y="170"/>
                </a:moveTo>
                <a:cubicBezTo>
                  <a:pt x="158" y="171"/>
                  <a:pt x="158" y="171"/>
                  <a:pt x="158" y="171"/>
                </a:cubicBezTo>
                <a:cubicBezTo>
                  <a:pt x="158" y="171"/>
                  <a:pt x="158" y="171"/>
                  <a:pt x="158" y="171"/>
                </a:cubicBezTo>
                <a:cubicBezTo>
                  <a:pt x="158" y="170"/>
                  <a:pt x="158" y="170"/>
                  <a:pt x="158" y="170"/>
                </a:cubicBezTo>
                <a:cubicBezTo>
                  <a:pt x="159" y="170"/>
                  <a:pt x="159" y="170"/>
                  <a:pt x="159" y="170"/>
                </a:cubicBezTo>
                <a:cubicBezTo>
                  <a:pt x="157" y="170"/>
                  <a:pt x="157" y="170"/>
                  <a:pt x="157" y="170"/>
                </a:cubicBezTo>
                <a:cubicBezTo>
                  <a:pt x="157" y="170"/>
                  <a:pt x="157" y="170"/>
                  <a:pt x="157" y="170"/>
                </a:cubicBezTo>
                <a:close/>
                <a:moveTo>
                  <a:pt x="145" y="158"/>
                </a:moveTo>
                <a:cubicBezTo>
                  <a:pt x="146" y="159"/>
                  <a:pt x="146" y="159"/>
                  <a:pt x="146" y="159"/>
                </a:cubicBezTo>
                <a:cubicBezTo>
                  <a:pt x="147" y="158"/>
                  <a:pt x="147" y="158"/>
                  <a:pt x="147" y="158"/>
                </a:cubicBezTo>
                <a:cubicBezTo>
                  <a:pt x="147" y="157"/>
                  <a:pt x="147" y="157"/>
                  <a:pt x="147" y="157"/>
                </a:cubicBezTo>
                <a:cubicBezTo>
                  <a:pt x="145" y="157"/>
                  <a:pt x="145" y="157"/>
                  <a:pt x="145" y="157"/>
                </a:cubicBezTo>
                <a:cubicBezTo>
                  <a:pt x="145" y="158"/>
                  <a:pt x="145" y="158"/>
                  <a:pt x="145" y="158"/>
                </a:cubicBezTo>
                <a:close/>
                <a:moveTo>
                  <a:pt x="101" y="162"/>
                </a:moveTo>
                <a:cubicBezTo>
                  <a:pt x="101" y="162"/>
                  <a:pt x="101" y="162"/>
                  <a:pt x="101" y="162"/>
                </a:cubicBezTo>
                <a:cubicBezTo>
                  <a:pt x="102" y="161"/>
                  <a:pt x="102" y="161"/>
                  <a:pt x="102" y="161"/>
                </a:cubicBezTo>
                <a:cubicBezTo>
                  <a:pt x="101" y="161"/>
                  <a:pt x="101" y="161"/>
                  <a:pt x="101" y="161"/>
                </a:cubicBezTo>
                <a:cubicBezTo>
                  <a:pt x="101" y="161"/>
                  <a:pt x="101" y="162"/>
                  <a:pt x="101" y="162"/>
                </a:cubicBezTo>
                <a:close/>
                <a:moveTo>
                  <a:pt x="100" y="164"/>
                </a:moveTo>
                <a:cubicBezTo>
                  <a:pt x="100" y="164"/>
                  <a:pt x="100" y="164"/>
                  <a:pt x="100" y="164"/>
                </a:cubicBezTo>
                <a:cubicBezTo>
                  <a:pt x="101" y="163"/>
                  <a:pt x="101" y="163"/>
                  <a:pt x="101" y="163"/>
                </a:cubicBezTo>
                <a:cubicBezTo>
                  <a:pt x="101" y="164"/>
                  <a:pt x="101" y="164"/>
                  <a:pt x="101" y="164"/>
                </a:cubicBezTo>
                <a:cubicBezTo>
                  <a:pt x="100" y="164"/>
                  <a:pt x="100" y="164"/>
                  <a:pt x="100" y="164"/>
                </a:cubicBezTo>
                <a:close/>
                <a:moveTo>
                  <a:pt x="98" y="168"/>
                </a:moveTo>
                <a:cubicBezTo>
                  <a:pt x="98" y="170"/>
                  <a:pt x="98" y="170"/>
                  <a:pt x="98" y="170"/>
                </a:cubicBezTo>
                <a:cubicBezTo>
                  <a:pt x="98" y="171"/>
                  <a:pt x="98" y="171"/>
                  <a:pt x="98" y="171"/>
                </a:cubicBezTo>
                <a:cubicBezTo>
                  <a:pt x="98" y="172"/>
                  <a:pt x="98" y="172"/>
                  <a:pt x="98" y="172"/>
                </a:cubicBezTo>
                <a:cubicBezTo>
                  <a:pt x="99" y="172"/>
                  <a:pt x="99" y="172"/>
                  <a:pt x="99" y="172"/>
                </a:cubicBezTo>
                <a:cubicBezTo>
                  <a:pt x="100" y="171"/>
                  <a:pt x="100" y="171"/>
                  <a:pt x="100" y="171"/>
                </a:cubicBezTo>
                <a:cubicBezTo>
                  <a:pt x="101" y="171"/>
                  <a:pt x="101" y="171"/>
                  <a:pt x="101" y="171"/>
                </a:cubicBezTo>
                <a:cubicBezTo>
                  <a:pt x="105" y="168"/>
                  <a:pt x="105" y="168"/>
                  <a:pt x="105" y="168"/>
                </a:cubicBezTo>
                <a:cubicBezTo>
                  <a:pt x="107" y="167"/>
                  <a:pt x="107" y="167"/>
                  <a:pt x="107" y="167"/>
                </a:cubicBezTo>
                <a:cubicBezTo>
                  <a:pt x="108" y="165"/>
                  <a:pt x="108" y="165"/>
                  <a:pt x="108" y="165"/>
                </a:cubicBezTo>
                <a:cubicBezTo>
                  <a:pt x="107" y="166"/>
                  <a:pt x="107" y="166"/>
                  <a:pt x="107" y="166"/>
                </a:cubicBezTo>
                <a:cubicBezTo>
                  <a:pt x="106" y="165"/>
                  <a:pt x="106" y="165"/>
                  <a:pt x="106" y="165"/>
                </a:cubicBezTo>
                <a:cubicBezTo>
                  <a:pt x="106" y="163"/>
                  <a:pt x="106" y="163"/>
                  <a:pt x="106" y="163"/>
                </a:cubicBezTo>
                <a:cubicBezTo>
                  <a:pt x="105" y="163"/>
                  <a:pt x="105" y="163"/>
                  <a:pt x="105" y="163"/>
                </a:cubicBezTo>
                <a:cubicBezTo>
                  <a:pt x="104" y="165"/>
                  <a:pt x="104" y="165"/>
                  <a:pt x="104" y="165"/>
                </a:cubicBezTo>
                <a:cubicBezTo>
                  <a:pt x="103" y="165"/>
                  <a:pt x="103" y="165"/>
                  <a:pt x="103" y="165"/>
                </a:cubicBezTo>
                <a:cubicBezTo>
                  <a:pt x="103" y="166"/>
                  <a:pt x="103" y="166"/>
                  <a:pt x="103" y="166"/>
                </a:cubicBezTo>
                <a:cubicBezTo>
                  <a:pt x="102" y="166"/>
                  <a:pt x="102" y="166"/>
                  <a:pt x="102" y="166"/>
                </a:cubicBezTo>
                <a:cubicBezTo>
                  <a:pt x="102" y="167"/>
                  <a:pt x="102" y="167"/>
                  <a:pt x="102" y="167"/>
                </a:cubicBezTo>
                <a:cubicBezTo>
                  <a:pt x="102" y="168"/>
                  <a:pt x="102" y="168"/>
                  <a:pt x="102" y="168"/>
                </a:cubicBezTo>
                <a:cubicBezTo>
                  <a:pt x="101" y="167"/>
                  <a:pt x="101" y="167"/>
                  <a:pt x="101" y="167"/>
                </a:cubicBezTo>
                <a:cubicBezTo>
                  <a:pt x="101" y="166"/>
                  <a:pt x="101" y="166"/>
                  <a:pt x="101" y="166"/>
                </a:cubicBezTo>
                <a:cubicBezTo>
                  <a:pt x="101" y="165"/>
                  <a:pt x="101" y="165"/>
                  <a:pt x="101" y="165"/>
                </a:cubicBezTo>
                <a:cubicBezTo>
                  <a:pt x="100" y="166"/>
                  <a:pt x="100" y="166"/>
                  <a:pt x="100" y="166"/>
                </a:cubicBezTo>
                <a:cubicBezTo>
                  <a:pt x="99" y="166"/>
                  <a:pt x="99" y="166"/>
                  <a:pt x="99" y="166"/>
                </a:cubicBezTo>
                <a:cubicBezTo>
                  <a:pt x="99" y="167"/>
                  <a:pt x="99" y="167"/>
                  <a:pt x="99" y="167"/>
                </a:cubicBezTo>
                <a:cubicBezTo>
                  <a:pt x="98" y="168"/>
                  <a:pt x="98" y="168"/>
                  <a:pt x="98" y="168"/>
                </a:cubicBezTo>
                <a:close/>
                <a:moveTo>
                  <a:pt x="94" y="172"/>
                </a:moveTo>
                <a:cubicBezTo>
                  <a:pt x="94" y="171"/>
                  <a:pt x="94" y="171"/>
                  <a:pt x="94" y="171"/>
                </a:cubicBezTo>
                <a:cubicBezTo>
                  <a:pt x="94" y="168"/>
                  <a:pt x="94" y="168"/>
                  <a:pt x="94" y="168"/>
                </a:cubicBezTo>
                <a:cubicBezTo>
                  <a:pt x="93" y="169"/>
                  <a:pt x="93" y="169"/>
                  <a:pt x="93" y="169"/>
                </a:cubicBezTo>
                <a:cubicBezTo>
                  <a:pt x="93" y="171"/>
                  <a:pt x="93" y="171"/>
                  <a:pt x="93" y="171"/>
                </a:cubicBezTo>
                <a:cubicBezTo>
                  <a:pt x="92" y="171"/>
                  <a:pt x="92" y="171"/>
                  <a:pt x="92" y="171"/>
                </a:cubicBezTo>
                <a:cubicBezTo>
                  <a:pt x="93" y="171"/>
                  <a:pt x="93" y="171"/>
                  <a:pt x="93" y="171"/>
                </a:cubicBezTo>
                <a:cubicBezTo>
                  <a:pt x="93" y="171"/>
                  <a:pt x="94" y="172"/>
                  <a:pt x="94" y="172"/>
                </a:cubicBezTo>
                <a:close/>
                <a:moveTo>
                  <a:pt x="94" y="173"/>
                </a:moveTo>
                <a:cubicBezTo>
                  <a:pt x="95" y="172"/>
                  <a:pt x="95" y="172"/>
                  <a:pt x="95" y="172"/>
                </a:cubicBezTo>
                <a:cubicBezTo>
                  <a:pt x="95" y="171"/>
                  <a:pt x="95" y="171"/>
                  <a:pt x="95" y="171"/>
                </a:cubicBezTo>
                <a:cubicBezTo>
                  <a:pt x="95" y="170"/>
                  <a:pt x="95" y="170"/>
                  <a:pt x="95" y="170"/>
                </a:cubicBezTo>
                <a:cubicBezTo>
                  <a:pt x="95" y="168"/>
                  <a:pt x="95" y="168"/>
                  <a:pt x="95" y="168"/>
                </a:cubicBezTo>
                <a:cubicBezTo>
                  <a:pt x="95" y="167"/>
                  <a:pt x="95" y="167"/>
                  <a:pt x="95" y="167"/>
                </a:cubicBezTo>
                <a:cubicBezTo>
                  <a:pt x="96" y="167"/>
                  <a:pt x="96" y="167"/>
                  <a:pt x="96" y="167"/>
                </a:cubicBezTo>
                <a:cubicBezTo>
                  <a:pt x="96" y="167"/>
                  <a:pt x="96" y="167"/>
                  <a:pt x="96" y="167"/>
                </a:cubicBezTo>
                <a:cubicBezTo>
                  <a:pt x="97" y="166"/>
                  <a:pt x="97" y="166"/>
                  <a:pt x="97" y="166"/>
                </a:cubicBezTo>
                <a:cubicBezTo>
                  <a:pt x="97" y="168"/>
                  <a:pt x="97" y="168"/>
                  <a:pt x="97" y="168"/>
                </a:cubicBezTo>
                <a:cubicBezTo>
                  <a:pt x="97" y="171"/>
                  <a:pt x="97" y="171"/>
                  <a:pt x="97" y="171"/>
                </a:cubicBezTo>
                <a:cubicBezTo>
                  <a:pt x="97" y="172"/>
                  <a:pt x="97" y="172"/>
                  <a:pt x="97" y="172"/>
                </a:cubicBezTo>
                <a:cubicBezTo>
                  <a:pt x="97" y="173"/>
                  <a:pt x="97" y="173"/>
                  <a:pt x="97" y="173"/>
                </a:cubicBezTo>
                <a:cubicBezTo>
                  <a:pt x="96" y="174"/>
                  <a:pt x="96" y="174"/>
                  <a:pt x="96" y="174"/>
                </a:cubicBezTo>
                <a:cubicBezTo>
                  <a:pt x="94" y="173"/>
                  <a:pt x="94" y="173"/>
                  <a:pt x="94" y="173"/>
                </a:cubicBezTo>
                <a:close/>
                <a:moveTo>
                  <a:pt x="96" y="179"/>
                </a:moveTo>
                <a:cubicBezTo>
                  <a:pt x="97" y="178"/>
                  <a:pt x="97" y="178"/>
                  <a:pt x="97" y="178"/>
                </a:cubicBezTo>
                <a:cubicBezTo>
                  <a:pt x="96" y="176"/>
                  <a:pt x="96" y="176"/>
                  <a:pt x="96" y="176"/>
                </a:cubicBezTo>
                <a:cubicBezTo>
                  <a:pt x="96" y="174"/>
                  <a:pt x="96" y="174"/>
                  <a:pt x="96" y="174"/>
                </a:cubicBezTo>
                <a:cubicBezTo>
                  <a:pt x="95" y="174"/>
                  <a:pt x="95" y="174"/>
                  <a:pt x="95" y="174"/>
                </a:cubicBezTo>
                <a:cubicBezTo>
                  <a:pt x="93" y="172"/>
                  <a:pt x="93" y="172"/>
                  <a:pt x="93" y="172"/>
                </a:cubicBezTo>
                <a:cubicBezTo>
                  <a:pt x="92" y="173"/>
                  <a:pt x="92" y="173"/>
                  <a:pt x="92" y="173"/>
                </a:cubicBezTo>
                <a:cubicBezTo>
                  <a:pt x="92" y="173"/>
                  <a:pt x="92" y="173"/>
                  <a:pt x="92" y="173"/>
                </a:cubicBezTo>
                <a:cubicBezTo>
                  <a:pt x="94" y="175"/>
                  <a:pt x="94" y="175"/>
                  <a:pt x="94" y="175"/>
                </a:cubicBezTo>
                <a:cubicBezTo>
                  <a:pt x="93" y="175"/>
                  <a:pt x="93" y="175"/>
                  <a:pt x="93" y="175"/>
                </a:cubicBezTo>
                <a:cubicBezTo>
                  <a:pt x="93" y="176"/>
                  <a:pt x="93" y="176"/>
                  <a:pt x="93" y="176"/>
                </a:cubicBezTo>
                <a:cubicBezTo>
                  <a:pt x="94" y="177"/>
                  <a:pt x="94" y="177"/>
                  <a:pt x="94" y="177"/>
                </a:cubicBezTo>
                <a:cubicBezTo>
                  <a:pt x="96" y="179"/>
                  <a:pt x="96" y="179"/>
                  <a:pt x="96" y="179"/>
                </a:cubicBezTo>
                <a:close/>
                <a:moveTo>
                  <a:pt x="82" y="156"/>
                </a:moveTo>
                <a:cubicBezTo>
                  <a:pt x="83" y="158"/>
                  <a:pt x="83" y="158"/>
                  <a:pt x="83" y="158"/>
                </a:cubicBezTo>
                <a:cubicBezTo>
                  <a:pt x="84" y="158"/>
                  <a:pt x="84" y="158"/>
                  <a:pt x="84" y="158"/>
                </a:cubicBezTo>
                <a:cubicBezTo>
                  <a:pt x="85" y="158"/>
                  <a:pt x="85" y="158"/>
                  <a:pt x="85" y="158"/>
                </a:cubicBezTo>
                <a:cubicBezTo>
                  <a:pt x="85" y="158"/>
                  <a:pt x="85" y="158"/>
                  <a:pt x="85" y="158"/>
                </a:cubicBezTo>
                <a:cubicBezTo>
                  <a:pt x="84" y="156"/>
                  <a:pt x="84" y="156"/>
                  <a:pt x="84" y="156"/>
                </a:cubicBezTo>
                <a:cubicBezTo>
                  <a:pt x="83" y="156"/>
                  <a:pt x="83" y="156"/>
                  <a:pt x="83" y="156"/>
                </a:cubicBezTo>
                <a:cubicBezTo>
                  <a:pt x="82" y="156"/>
                  <a:pt x="82" y="156"/>
                  <a:pt x="82" y="156"/>
                </a:cubicBezTo>
                <a:close/>
                <a:moveTo>
                  <a:pt x="56" y="425"/>
                </a:moveTo>
                <a:cubicBezTo>
                  <a:pt x="56" y="425"/>
                  <a:pt x="56" y="425"/>
                  <a:pt x="56" y="425"/>
                </a:cubicBezTo>
                <a:cubicBezTo>
                  <a:pt x="55" y="424"/>
                  <a:pt x="55" y="424"/>
                  <a:pt x="55" y="424"/>
                </a:cubicBezTo>
                <a:cubicBezTo>
                  <a:pt x="54" y="422"/>
                  <a:pt x="54" y="422"/>
                  <a:pt x="54" y="422"/>
                </a:cubicBezTo>
                <a:cubicBezTo>
                  <a:pt x="56" y="420"/>
                  <a:pt x="56" y="420"/>
                  <a:pt x="56" y="420"/>
                </a:cubicBezTo>
                <a:cubicBezTo>
                  <a:pt x="56" y="418"/>
                  <a:pt x="56" y="418"/>
                  <a:pt x="56" y="418"/>
                </a:cubicBezTo>
                <a:cubicBezTo>
                  <a:pt x="55" y="419"/>
                  <a:pt x="55" y="419"/>
                  <a:pt x="55" y="419"/>
                </a:cubicBezTo>
                <a:cubicBezTo>
                  <a:pt x="54" y="419"/>
                  <a:pt x="54" y="419"/>
                  <a:pt x="54" y="419"/>
                </a:cubicBezTo>
                <a:cubicBezTo>
                  <a:pt x="52" y="420"/>
                  <a:pt x="52" y="420"/>
                  <a:pt x="52" y="420"/>
                </a:cubicBezTo>
                <a:cubicBezTo>
                  <a:pt x="51" y="419"/>
                  <a:pt x="51" y="419"/>
                  <a:pt x="51" y="419"/>
                </a:cubicBezTo>
                <a:cubicBezTo>
                  <a:pt x="51" y="417"/>
                  <a:pt x="51" y="417"/>
                  <a:pt x="51" y="417"/>
                </a:cubicBezTo>
                <a:cubicBezTo>
                  <a:pt x="52" y="417"/>
                  <a:pt x="52" y="417"/>
                  <a:pt x="52" y="417"/>
                </a:cubicBezTo>
                <a:cubicBezTo>
                  <a:pt x="52" y="418"/>
                  <a:pt x="52" y="418"/>
                  <a:pt x="52" y="418"/>
                </a:cubicBezTo>
                <a:cubicBezTo>
                  <a:pt x="53" y="419"/>
                  <a:pt x="53" y="419"/>
                  <a:pt x="53" y="419"/>
                </a:cubicBezTo>
                <a:cubicBezTo>
                  <a:pt x="53" y="418"/>
                  <a:pt x="53" y="418"/>
                  <a:pt x="53" y="418"/>
                </a:cubicBezTo>
                <a:cubicBezTo>
                  <a:pt x="52" y="417"/>
                  <a:pt x="52" y="417"/>
                  <a:pt x="52" y="417"/>
                </a:cubicBezTo>
                <a:cubicBezTo>
                  <a:pt x="52" y="416"/>
                  <a:pt x="52" y="416"/>
                  <a:pt x="52" y="416"/>
                </a:cubicBezTo>
                <a:cubicBezTo>
                  <a:pt x="51" y="416"/>
                  <a:pt x="51" y="416"/>
                  <a:pt x="51" y="416"/>
                </a:cubicBezTo>
                <a:cubicBezTo>
                  <a:pt x="50" y="416"/>
                  <a:pt x="50" y="416"/>
                  <a:pt x="50" y="416"/>
                </a:cubicBezTo>
                <a:cubicBezTo>
                  <a:pt x="49" y="416"/>
                  <a:pt x="49" y="416"/>
                  <a:pt x="49" y="416"/>
                </a:cubicBezTo>
                <a:cubicBezTo>
                  <a:pt x="48" y="414"/>
                  <a:pt x="48" y="414"/>
                  <a:pt x="48" y="414"/>
                </a:cubicBezTo>
                <a:cubicBezTo>
                  <a:pt x="48" y="413"/>
                  <a:pt x="48" y="413"/>
                  <a:pt x="48" y="413"/>
                </a:cubicBezTo>
                <a:cubicBezTo>
                  <a:pt x="50" y="412"/>
                  <a:pt x="50" y="412"/>
                  <a:pt x="50" y="412"/>
                </a:cubicBezTo>
                <a:cubicBezTo>
                  <a:pt x="50" y="411"/>
                  <a:pt x="50" y="411"/>
                  <a:pt x="50" y="411"/>
                </a:cubicBezTo>
                <a:cubicBezTo>
                  <a:pt x="51" y="410"/>
                  <a:pt x="51" y="410"/>
                  <a:pt x="51" y="410"/>
                </a:cubicBezTo>
                <a:cubicBezTo>
                  <a:pt x="51" y="410"/>
                  <a:pt x="51" y="410"/>
                  <a:pt x="51" y="410"/>
                </a:cubicBezTo>
                <a:cubicBezTo>
                  <a:pt x="50" y="410"/>
                  <a:pt x="50" y="410"/>
                  <a:pt x="50" y="410"/>
                </a:cubicBezTo>
                <a:cubicBezTo>
                  <a:pt x="48" y="410"/>
                  <a:pt x="48" y="410"/>
                  <a:pt x="48" y="410"/>
                </a:cubicBezTo>
                <a:cubicBezTo>
                  <a:pt x="48" y="410"/>
                  <a:pt x="48" y="410"/>
                  <a:pt x="48" y="410"/>
                </a:cubicBezTo>
                <a:cubicBezTo>
                  <a:pt x="49" y="409"/>
                  <a:pt x="49" y="409"/>
                  <a:pt x="49" y="409"/>
                </a:cubicBezTo>
                <a:cubicBezTo>
                  <a:pt x="50" y="407"/>
                  <a:pt x="50" y="407"/>
                  <a:pt x="50" y="407"/>
                </a:cubicBezTo>
                <a:cubicBezTo>
                  <a:pt x="50" y="405"/>
                  <a:pt x="50" y="405"/>
                  <a:pt x="50" y="405"/>
                </a:cubicBezTo>
                <a:cubicBezTo>
                  <a:pt x="50" y="405"/>
                  <a:pt x="50" y="405"/>
                  <a:pt x="50" y="405"/>
                </a:cubicBezTo>
                <a:cubicBezTo>
                  <a:pt x="50" y="404"/>
                  <a:pt x="50" y="404"/>
                  <a:pt x="50" y="404"/>
                </a:cubicBezTo>
                <a:cubicBezTo>
                  <a:pt x="50" y="404"/>
                  <a:pt x="50" y="404"/>
                  <a:pt x="50" y="404"/>
                </a:cubicBezTo>
                <a:cubicBezTo>
                  <a:pt x="49" y="405"/>
                  <a:pt x="49" y="405"/>
                  <a:pt x="49" y="405"/>
                </a:cubicBezTo>
                <a:cubicBezTo>
                  <a:pt x="49" y="407"/>
                  <a:pt x="49" y="407"/>
                  <a:pt x="49" y="407"/>
                </a:cubicBezTo>
                <a:cubicBezTo>
                  <a:pt x="48" y="409"/>
                  <a:pt x="48" y="409"/>
                  <a:pt x="48" y="409"/>
                </a:cubicBezTo>
                <a:cubicBezTo>
                  <a:pt x="47" y="409"/>
                  <a:pt x="47" y="409"/>
                  <a:pt x="47" y="409"/>
                </a:cubicBezTo>
                <a:cubicBezTo>
                  <a:pt x="46" y="409"/>
                  <a:pt x="46" y="409"/>
                  <a:pt x="46" y="409"/>
                </a:cubicBezTo>
                <a:cubicBezTo>
                  <a:pt x="45" y="409"/>
                  <a:pt x="45" y="409"/>
                  <a:pt x="45" y="409"/>
                </a:cubicBezTo>
                <a:cubicBezTo>
                  <a:pt x="45" y="408"/>
                  <a:pt x="45" y="408"/>
                  <a:pt x="45" y="408"/>
                </a:cubicBezTo>
                <a:cubicBezTo>
                  <a:pt x="46" y="407"/>
                  <a:pt x="46" y="407"/>
                  <a:pt x="46" y="407"/>
                </a:cubicBezTo>
                <a:cubicBezTo>
                  <a:pt x="46" y="407"/>
                  <a:pt x="46" y="407"/>
                  <a:pt x="46" y="407"/>
                </a:cubicBezTo>
                <a:cubicBezTo>
                  <a:pt x="45" y="407"/>
                  <a:pt x="45" y="407"/>
                  <a:pt x="45" y="407"/>
                </a:cubicBezTo>
                <a:cubicBezTo>
                  <a:pt x="44" y="408"/>
                  <a:pt x="44" y="408"/>
                  <a:pt x="44" y="408"/>
                </a:cubicBezTo>
                <a:cubicBezTo>
                  <a:pt x="44" y="408"/>
                  <a:pt x="44" y="408"/>
                  <a:pt x="44" y="408"/>
                </a:cubicBezTo>
                <a:cubicBezTo>
                  <a:pt x="44" y="408"/>
                  <a:pt x="44" y="408"/>
                  <a:pt x="44" y="408"/>
                </a:cubicBezTo>
                <a:cubicBezTo>
                  <a:pt x="43" y="408"/>
                  <a:pt x="43" y="408"/>
                  <a:pt x="43" y="408"/>
                </a:cubicBezTo>
                <a:cubicBezTo>
                  <a:pt x="42" y="408"/>
                  <a:pt x="42" y="408"/>
                  <a:pt x="42" y="408"/>
                </a:cubicBezTo>
                <a:cubicBezTo>
                  <a:pt x="41" y="408"/>
                  <a:pt x="41" y="408"/>
                  <a:pt x="41" y="408"/>
                </a:cubicBezTo>
                <a:cubicBezTo>
                  <a:pt x="41" y="407"/>
                  <a:pt x="41" y="407"/>
                  <a:pt x="41" y="407"/>
                </a:cubicBezTo>
                <a:cubicBezTo>
                  <a:pt x="42" y="406"/>
                  <a:pt x="42" y="406"/>
                  <a:pt x="42" y="406"/>
                </a:cubicBezTo>
                <a:cubicBezTo>
                  <a:pt x="43" y="406"/>
                  <a:pt x="43" y="406"/>
                  <a:pt x="43" y="406"/>
                </a:cubicBezTo>
                <a:cubicBezTo>
                  <a:pt x="45" y="406"/>
                  <a:pt x="45" y="406"/>
                  <a:pt x="45" y="406"/>
                </a:cubicBezTo>
                <a:cubicBezTo>
                  <a:pt x="46" y="405"/>
                  <a:pt x="46" y="405"/>
                  <a:pt x="46" y="405"/>
                </a:cubicBezTo>
                <a:cubicBezTo>
                  <a:pt x="47" y="404"/>
                  <a:pt x="47" y="404"/>
                  <a:pt x="47" y="404"/>
                </a:cubicBezTo>
                <a:cubicBezTo>
                  <a:pt x="47" y="402"/>
                  <a:pt x="47" y="402"/>
                  <a:pt x="47" y="402"/>
                </a:cubicBezTo>
                <a:cubicBezTo>
                  <a:pt x="47" y="403"/>
                  <a:pt x="47" y="403"/>
                  <a:pt x="47" y="403"/>
                </a:cubicBezTo>
                <a:cubicBezTo>
                  <a:pt x="46" y="404"/>
                  <a:pt x="46" y="404"/>
                  <a:pt x="46" y="404"/>
                </a:cubicBezTo>
                <a:cubicBezTo>
                  <a:pt x="45" y="405"/>
                  <a:pt x="45" y="405"/>
                  <a:pt x="45" y="405"/>
                </a:cubicBezTo>
                <a:cubicBezTo>
                  <a:pt x="44" y="406"/>
                  <a:pt x="44" y="406"/>
                  <a:pt x="44" y="406"/>
                </a:cubicBezTo>
                <a:cubicBezTo>
                  <a:pt x="42" y="405"/>
                  <a:pt x="42" y="405"/>
                  <a:pt x="42" y="405"/>
                </a:cubicBezTo>
                <a:cubicBezTo>
                  <a:pt x="42" y="404"/>
                  <a:pt x="42" y="404"/>
                  <a:pt x="42" y="404"/>
                </a:cubicBezTo>
                <a:cubicBezTo>
                  <a:pt x="41" y="404"/>
                  <a:pt x="41" y="404"/>
                  <a:pt x="41" y="404"/>
                </a:cubicBezTo>
                <a:cubicBezTo>
                  <a:pt x="41" y="404"/>
                  <a:pt x="41" y="404"/>
                  <a:pt x="41" y="404"/>
                </a:cubicBezTo>
                <a:cubicBezTo>
                  <a:pt x="42" y="403"/>
                  <a:pt x="42" y="403"/>
                  <a:pt x="42" y="403"/>
                </a:cubicBezTo>
                <a:cubicBezTo>
                  <a:pt x="41" y="403"/>
                  <a:pt x="41" y="403"/>
                  <a:pt x="41" y="403"/>
                </a:cubicBezTo>
                <a:cubicBezTo>
                  <a:pt x="40" y="403"/>
                  <a:pt x="40" y="403"/>
                  <a:pt x="40" y="403"/>
                </a:cubicBezTo>
                <a:cubicBezTo>
                  <a:pt x="39" y="403"/>
                  <a:pt x="39" y="403"/>
                  <a:pt x="39" y="403"/>
                </a:cubicBezTo>
                <a:cubicBezTo>
                  <a:pt x="38" y="403"/>
                  <a:pt x="38" y="403"/>
                  <a:pt x="38" y="403"/>
                </a:cubicBezTo>
                <a:cubicBezTo>
                  <a:pt x="38" y="404"/>
                  <a:pt x="38" y="404"/>
                  <a:pt x="38" y="404"/>
                </a:cubicBezTo>
                <a:cubicBezTo>
                  <a:pt x="36" y="403"/>
                  <a:pt x="36" y="403"/>
                  <a:pt x="36" y="403"/>
                </a:cubicBezTo>
                <a:cubicBezTo>
                  <a:pt x="36" y="402"/>
                  <a:pt x="36" y="402"/>
                  <a:pt x="36" y="402"/>
                </a:cubicBezTo>
                <a:cubicBezTo>
                  <a:pt x="36" y="401"/>
                  <a:pt x="36" y="401"/>
                  <a:pt x="36" y="401"/>
                </a:cubicBezTo>
                <a:cubicBezTo>
                  <a:pt x="37" y="402"/>
                  <a:pt x="37" y="402"/>
                  <a:pt x="37" y="402"/>
                </a:cubicBezTo>
                <a:cubicBezTo>
                  <a:pt x="38" y="402"/>
                  <a:pt x="38" y="402"/>
                  <a:pt x="38" y="402"/>
                </a:cubicBezTo>
                <a:cubicBezTo>
                  <a:pt x="40" y="402"/>
                  <a:pt x="40" y="402"/>
                  <a:pt x="40" y="402"/>
                </a:cubicBezTo>
                <a:cubicBezTo>
                  <a:pt x="40" y="401"/>
                  <a:pt x="40" y="401"/>
                  <a:pt x="40" y="401"/>
                </a:cubicBezTo>
                <a:cubicBezTo>
                  <a:pt x="39" y="401"/>
                  <a:pt x="39" y="401"/>
                  <a:pt x="39" y="401"/>
                </a:cubicBezTo>
                <a:cubicBezTo>
                  <a:pt x="38" y="401"/>
                  <a:pt x="38" y="401"/>
                  <a:pt x="38" y="401"/>
                </a:cubicBezTo>
                <a:cubicBezTo>
                  <a:pt x="37" y="401"/>
                  <a:pt x="37" y="401"/>
                  <a:pt x="37" y="401"/>
                </a:cubicBezTo>
                <a:cubicBezTo>
                  <a:pt x="37" y="401"/>
                  <a:pt x="37" y="401"/>
                  <a:pt x="37" y="401"/>
                </a:cubicBezTo>
                <a:cubicBezTo>
                  <a:pt x="39" y="401"/>
                  <a:pt x="39" y="401"/>
                  <a:pt x="39" y="401"/>
                </a:cubicBezTo>
                <a:cubicBezTo>
                  <a:pt x="40" y="401"/>
                  <a:pt x="40" y="401"/>
                  <a:pt x="40" y="401"/>
                </a:cubicBezTo>
                <a:cubicBezTo>
                  <a:pt x="40" y="400"/>
                  <a:pt x="40" y="400"/>
                  <a:pt x="40" y="400"/>
                </a:cubicBezTo>
                <a:cubicBezTo>
                  <a:pt x="38" y="400"/>
                  <a:pt x="38" y="400"/>
                  <a:pt x="38" y="400"/>
                </a:cubicBezTo>
                <a:cubicBezTo>
                  <a:pt x="38" y="400"/>
                  <a:pt x="38" y="400"/>
                  <a:pt x="38" y="400"/>
                </a:cubicBezTo>
                <a:cubicBezTo>
                  <a:pt x="36" y="400"/>
                  <a:pt x="36" y="400"/>
                  <a:pt x="36" y="400"/>
                </a:cubicBezTo>
                <a:cubicBezTo>
                  <a:pt x="35" y="400"/>
                  <a:pt x="35" y="400"/>
                  <a:pt x="35" y="400"/>
                </a:cubicBezTo>
                <a:cubicBezTo>
                  <a:pt x="35" y="399"/>
                  <a:pt x="35" y="399"/>
                  <a:pt x="35" y="399"/>
                </a:cubicBezTo>
                <a:cubicBezTo>
                  <a:pt x="35" y="398"/>
                  <a:pt x="35" y="398"/>
                  <a:pt x="35" y="398"/>
                </a:cubicBezTo>
                <a:cubicBezTo>
                  <a:pt x="36" y="398"/>
                  <a:pt x="36" y="398"/>
                  <a:pt x="36" y="398"/>
                </a:cubicBezTo>
                <a:cubicBezTo>
                  <a:pt x="37" y="399"/>
                  <a:pt x="37" y="399"/>
                  <a:pt x="37" y="399"/>
                </a:cubicBezTo>
                <a:cubicBezTo>
                  <a:pt x="38" y="399"/>
                  <a:pt x="38" y="399"/>
                  <a:pt x="38" y="399"/>
                </a:cubicBezTo>
                <a:cubicBezTo>
                  <a:pt x="39" y="398"/>
                  <a:pt x="39" y="398"/>
                  <a:pt x="39" y="398"/>
                </a:cubicBezTo>
                <a:cubicBezTo>
                  <a:pt x="38" y="398"/>
                  <a:pt x="38" y="398"/>
                  <a:pt x="38" y="398"/>
                </a:cubicBezTo>
                <a:cubicBezTo>
                  <a:pt x="37" y="398"/>
                  <a:pt x="37" y="398"/>
                  <a:pt x="37" y="398"/>
                </a:cubicBezTo>
                <a:cubicBezTo>
                  <a:pt x="35" y="397"/>
                  <a:pt x="35" y="397"/>
                  <a:pt x="35" y="397"/>
                </a:cubicBezTo>
                <a:cubicBezTo>
                  <a:pt x="35" y="397"/>
                  <a:pt x="35" y="397"/>
                  <a:pt x="35" y="397"/>
                </a:cubicBezTo>
                <a:cubicBezTo>
                  <a:pt x="37" y="397"/>
                  <a:pt x="37" y="397"/>
                  <a:pt x="37" y="397"/>
                </a:cubicBezTo>
                <a:cubicBezTo>
                  <a:pt x="38" y="397"/>
                  <a:pt x="38" y="397"/>
                  <a:pt x="38" y="397"/>
                </a:cubicBezTo>
                <a:cubicBezTo>
                  <a:pt x="39" y="397"/>
                  <a:pt x="39" y="397"/>
                  <a:pt x="39" y="397"/>
                </a:cubicBezTo>
                <a:cubicBezTo>
                  <a:pt x="38" y="396"/>
                  <a:pt x="38" y="396"/>
                  <a:pt x="38" y="396"/>
                </a:cubicBezTo>
                <a:cubicBezTo>
                  <a:pt x="38" y="395"/>
                  <a:pt x="38" y="395"/>
                  <a:pt x="38" y="395"/>
                </a:cubicBezTo>
                <a:cubicBezTo>
                  <a:pt x="39" y="395"/>
                  <a:pt x="39" y="395"/>
                  <a:pt x="39" y="395"/>
                </a:cubicBezTo>
                <a:cubicBezTo>
                  <a:pt x="41" y="395"/>
                  <a:pt x="41" y="395"/>
                  <a:pt x="41" y="395"/>
                </a:cubicBezTo>
                <a:cubicBezTo>
                  <a:pt x="42" y="395"/>
                  <a:pt x="42" y="395"/>
                  <a:pt x="42" y="395"/>
                </a:cubicBezTo>
                <a:cubicBezTo>
                  <a:pt x="42" y="395"/>
                  <a:pt x="42" y="395"/>
                  <a:pt x="42" y="395"/>
                </a:cubicBezTo>
                <a:cubicBezTo>
                  <a:pt x="40" y="394"/>
                  <a:pt x="40" y="394"/>
                  <a:pt x="40" y="394"/>
                </a:cubicBezTo>
                <a:cubicBezTo>
                  <a:pt x="40" y="394"/>
                  <a:pt x="40" y="394"/>
                  <a:pt x="40" y="394"/>
                </a:cubicBezTo>
                <a:cubicBezTo>
                  <a:pt x="39" y="394"/>
                  <a:pt x="39" y="394"/>
                  <a:pt x="39" y="394"/>
                </a:cubicBezTo>
                <a:cubicBezTo>
                  <a:pt x="38" y="395"/>
                  <a:pt x="38" y="395"/>
                  <a:pt x="38" y="395"/>
                </a:cubicBezTo>
                <a:cubicBezTo>
                  <a:pt x="37" y="395"/>
                  <a:pt x="37" y="395"/>
                  <a:pt x="37" y="395"/>
                </a:cubicBezTo>
                <a:cubicBezTo>
                  <a:pt x="36" y="396"/>
                  <a:pt x="36" y="396"/>
                  <a:pt x="36" y="396"/>
                </a:cubicBezTo>
                <a:cubicBezTo>
                  <a:pt x="36" y="395"/>
                  <a:pt x="36" y="395"/>
                  <a:pt x="36" y="395"/>
                </a:cubicBezTo>
                <a:cubicBezTo>
                  <a:pt x="36" y="394"/>
                  <a:pt x="36" y="394"/>
                  <a:pt x="36" y="394"/>
                </a:cubicBezTo>
                <a:cubicBezTo>
                  <a:pt x="36" y="394"/>
                  <a:pt x="36" y="394"/>
                  <a:pt x="36" y="394"/>
                </a:cubicBezTo>
                <a:cubicBezTo>
                  <a:pt x="36" y="393"/>
                  <a:pt x="36" y="393"/>
                  <a:pt x="36" y="393"/>
                </a:cubicBezTo>
                <a:cubicBezTo>
                  <a:pt x="38" y="392"/>
                  <a:pt x="38" y="392"/>
                  <a:pt x="38" y="392"/>
                </a:cubicBezTo>
                <a:cubicBezTo>
                  <a:pt x="39" y="391"/>
                  <a:pt x="39" y="391"/>
                  <a:pt x="39" y="391"/>
                </a:cubicBezTo>
                <a:cubicBezTo>
                  <a:pt x="42" y="389"/>
                  <a:pt x="42" y="389"/>
                  <a:pt x="42" y="389"/>
                </a:cubicBezTo>
                <a:cubicBezTo>
                  <a:pt x="42" y="388"/>
                  <a:pt x="42" y="388"/>
                  <a:pt x="42" y="388"/>
                </a:cubicBezTo>
                <a:cubicBezTo>
                  <a:pt x="43" y="389"/>
                  <a:pt x="43" y="389"/>
                  <a:pt x="43" y="389"/>
                </a:cubicBezTo>
                <a:cubicBezTo>
                  <a:pt x="43" y="391"/>
                  <a:pt x="43" y="391"/>
                  <a:pt x="43" y="391"/>
                </a:cubicBezTo>
                <a:cubicBezTo>
                  <a:pt x="44" y="392"/>
                  <a:pt x="44" y="392"/>
                  <a:pt x="44" y="392"/>
                </a:cubicBezTo>
                <a:cubicBezTo>
                  <a:pt x="44" y="391"/>
                  <a:pt x="44" y="391"/>
                  <a:pt x="44" y="391"/>
                </a:cubicBezTo>
                <a:cubicBezTo>
                  <a:pt x="44" y="390"/>
                  <a:pt x="44" y="390"/>
                  <a:pt x="44" y="390"/>
                </a:cubicBezTo>
                <a:cubicBezTo>
                  <a:pt x="44" y="388"/>
                  <a:pt x="44" y="388"/>
                  <a:pt x="44" y="388"/>
                </a:cubicBezTo>
                <a:cubicBezTo>
                  <a:pt x="45" y="388"/>
                  <a:pt x="45" y="388"/>
                  <a:pt x="45" y="388"/>
                </a:cubicBezTo>
                <a:cubicBezTo>
                  <a:pt x="46" y="388"/>
                  <a:pt x="46" y="388"/>
                  <a:pt x="46" y="388"/>
                </a:cubicBezTo>
                <a:cubicBezTo>
                  <a:pt x="45" y="387"/>
                  <a:pt x="45" y="387"/>
                  <a:pt x="45" y="387"/>
                </a:cubicBezTo>
                <a:cubicBezTo>
                  <a:pt x="44" y="387"/>
                  <a:pt x="44" y="387"/>
                  <a:pt x="44" y="387"/>
                </a:cubicBezTo>
                <a:cubicBezTo>
                  <a:pt x="43" y="388"/>
                  <a:pt x="43" y="388"/>
                  <a:pt x="43" y="388"/>
                </a:cubicBezTo>
                <a:cubicBezTo>
                  <a:pt x="42" y="387"/>
                  <a:pt x="42" y="387"/>
                  <a:pt x="42" y="387"/>
                </a:cubicBezTo>
                <a:cubicBezTo>
                  <a:pt x="42" y="386"/>
                  <a:pt x="42" y="386"/>
                  <a:pt x="42" y="386"/>
                </a:cubicBezTo>
                <a:cubicBezTo>
                  <a:pt x="44" y="385"/>
                  <a:pt x="44" y="385"/>
                  <a:pt x="44" y="385"/>
                </a:cubicBezTo>
                <a:cubicBezTo>
                  <a:pt x="45" y="385"/>
                  <a:pt x="45" y="385"/>
                  <a:pt x="45" y="385"/>
                </a:cubicBezTo>
                <a:cubicBezTo>
                  <a:pt x="46" y="383"/>
                  <a:pt x="46" y="383"/>
                  <a:pt x="46" y="383"/>
                </a:cubicBezTo>
                <a:cubicBezTo>
                  <a:pt x="46" y="382"/>
                  <a:pt x="46" y="382"/>
                  <a:pt x="46" y="382"/>
                </a:cubicBezTo>
                <a:cubicBezTo>
                  <a:pt x="45" y="382"/>
                  <a:pt x="45" y="382"/>
                  <a:pt x="45" y="382"/>
                </a:cubicBezTo>
                <a:cubicBezTo>
                  <a:pt x="45" y="383"/>
                  <a:pt x="45" y="383"/>
                  <a:pt x="45" y="383"/>
                </a:cubicBezTo>
                <a:cubicBezTo>
                  <a:pt x="44" y="384"/>
                  <a:pt x="44" y="384"/>
                  <a:pt x="44" y="384"/>
                </a:cubicBezTo>
                <a:cubicBezTo>
                  <a:pt x="43" y="384"/>
                  <a:pt x="43" y="384"/>
                  <a:pt x="43" y="384"/>
                </a:cubicBezTo>
                <a:cubicBezTo>
                  <a:pt x="41" y="386"/>
                  <a:pt x="41" y="386"/>
                  <a:pt x="41" y="386"/>
                </a:cubicBezTo>
                <a:cubicBezTo>
                  <a:pt x="40" y="387"/>
                  <a:pt x="40" y="387"/>
                  <a:pt x="40" y="387"/>
                </a:cubicBezTo>
                <a:cubicBezTo>
                  <a:pt x="38" y="388"/>
                  <a:pt x="38" y="388"/>
                  <a:pt x="38" y="388"/>
                </a:cubicBezTo>
                <a:cubicBezTo>
                  <a:pt x="37" y="387"/>
                  <a:pt x="37" y="387"/>
                  <a:pt x="37" y="387"/>
                </a:cubicBezTo>
                <a:cubicBezTo>
                  <a:pt x="37" y="386"/>
                  <a:pt x="37" y="386"/>
                  <a:pt x="37" y="386"/>
                </a:cubicBezTo>
                <a:cubicBezTo>
                  <a:pt x="38" y="386"/>
                  <a:pt x="38" y="386"/>
                  <a:pt x="38" y="386"/>
                </a:cubicBezTo>
                <a:cubicBezTo>
                  <a:pt x="37" y="386"/>
                  <a:pt x="37" y="386"/>
                  <a:pt x="37" y="386"/>
                </a:cubicBezTo>
                <a:cubicBezTo>
                  <a:pt x="36" y="386"/>
                  <a:pt x="36" y="386"/>
                  <a:pt x="36" y="386"/>
                </a:cubicBezTo>
                <a:cubicBezTo>
                  <a:pt x="35" y="386"/>
                  <a:pt x="35" y="386"/>
                  <a:pt x="35" y="386"/>
                </a:cubicBezTo>
                <a:cubicBezTo>
                  <a:pt x="35" y="385"/>
                  <a:pt x="35" y="385"/>
                  <a:pt x="35" y="385"/>
                </a:cubicBezTo>
                <a:cubicBezTo>
                  <a:pt x="37" y="384"/>
                  <a:pt x="37" y="384"/>
                  <a:pt x="37" y="384"/>
                </a:cubicBezTo>
                <a:cubicBezTo>
                  <a:pt x="38" y="384"/>
                  <a:pt x="38" y="384"/>
                  <a:pt x="38" y="384"/>
                </a:cubicBezTo>
                <a:cubicBezTo>
                  <a:pt x="39" y="384"/>
                  <a:pt x="39" y="384"/>
                  <a:pt x="39" y="384"/>
                </a:cubicBezTo>
                <a:cubicBezTo>
                  <a:pt x="39" y="383"/>
                  <a:pt x="39" y="383"/>
                  <a:pt x="39" y="383"/>
                </a:cubicBezTo>
                <a:cubicBezTo>
                  <a:pt x="39" y="383"/>
                  <a:pt x="39" y="383"/>
                  <a:pt x="39" y="383"/>
                </a:cubicBezTo>
                <a:cubicBezTo>
                  <a:pt x="39" y="382"/>
                  <a:pt x="39" y="382"/>
                  <a:pt x="39" y="382"/>
                </a:cubicBezTo>
                <a:cubicBezTo>
                  <a:pt x="39" y="382"/>
                  <a:pt x="39" y="382"/>
                  <a:pt x="39" y="382"/>
                </a:cubicBezTo>
                <a:cubicBezTo>
                  <a:pt x="39" y="381"/>
                  <a:pt x="39" y="381"/>
                  <a:pt x="39" y="381"/>
                </a:cubicBezTo>
                <a:cubicBezTo>
                  <a:pt x="39" y="381"/>
                  <a:pt x="39" y="381"/>
                  <a:pt x="39" y="381"/>
                </a:cubicBezTo>
                <a:cubicBezTo>
                  <a:pt x="38" y="381"/>
                  <a:pt x="38" y="381"/>
                  <a:pt x="38" y="381"/>
                </a:cubicBezTo>
                <a:cubicBezTo>
                  <a:pt x="37" y="381"/>
                  <a:pt x="37" y="381"/>
                  <a:pt x="37" y="381"/>
                </a:cubicBezTo>
                <a:cubicBezTo>
                  <a:pt x="37" y="380"/>
                  <a:pt x="37" y="380"/>
                  <a:pt x="37" y="380"/>
                </a:cubicBezTo>
                <a:cubicBezTo>
                  <a:pt x="37" y="378"/>
                  <a:pt x="37" y="378"/>
                  <a:pt x="37" y="378"/>
                </a:cubicBezTo>
                <a:cubicBezTo>
                  <a:pt x="36" y="377"/>
                  <a:pt x="36" y="377"/>
                  <a:pt x="36" y="377"/>
                </a:cubicBezTo>
                <a:cubicBezTo>
                  <a:pt x="36" y="376"/>
                  <a:pt x="36" y="376"/>
                  <a:pt x="36" y="376"/>
                </a:cubicBezTo>
                <a:cubicBezTo>
                  <a:pt x="36" y="375"/>
                  <a:pt x="36" y="375"/>
                  <a:pt x="36" y="375"/>
                </a:cubicBezTo>
                <a:cubicBezTo>
                  <a:pt x="38" y="375"/>
                  <a:pt x="38" y="375"/>
                  <a:pt x="38" y="375"/>
                </a:cubicBezTo>
                <a:cubicBezTo>
                  <a:pt x="39" y="376"/>
                  <a:pt x="39" y="376"/>
                  <a:pt x="39" y="376"/>
                </a:cubicBezTo>
                <a:cubicBezTo>
                  <a:pt x="41" y="375"/>
                  <a:pt x="41" y="375"/>
                  <a:pt x="41" y="375"/>
                </a:cubicBezTo>
                <a:cubicBezTo>
                  <a:pt x="42" y="376"/>
                  <a:pt x="42" y="376"/>
                  <a:pt x="42" y="376"/>
                </a:cubicBezTo>
                <a:cubicBezTo>
                  <a:pt x="42" y="375"/>
                  <a:pt x="42" y="375"/>
                  <a:pt x="42" y="375"/>
                </a:cubicBezTo>
                <a:cubicBezTo>
                  <a:pt x="41" y="375"/>
                  <a:pt x="41" y="375"/>
                  <a:pt x="41" y="375"/>
                </a:cubicBezTo>
                <a:cubicBezTo>
                  <a:pt x="40" y="375"/>
                  <a:pt x="40" y="375"/>
                  <a:pt x="40" y="375"/>
                </a:cubicBezTo>
                <a:cubicBezTo>
                  <a:pt x="39" y="374"/>
                  <a:pt x="39" y="374"/>
                  <a:pt x="39" y="374"/>
                </a:cubicBezTo>
                <a:cubicBezTo>
                  <a:pt x="38" y="373"/>
                  <a:pt x="38" y="373"/>
                  <a:pt x="38" y="373"/>
                </a:cubicBezTo>
                <a:cubicBezTo>
                  <a:pt x="38" y="373"/>
                  <a:pt x="38" y="373"/>
                  <a:pt x="38" y="373"/>
                </a:cubicBezTo>
                <a:cubicBezTo>
                  <a:pt x="38" y="372"/>
                  <a:pt x="38" y="372"/>
                  <a:pt x="38" y="372"/>
                </a:cubicBezTo>
                <a:cubicBezTo>
                  <a:pt x="39" y="371"/>
                  <a:pt x="39" y="371"/>
                  <a:pt x="39" y="371"/>
                </a:cubicBezTo>
                <a:cubicBezTo>
                  <a:pt x="40" y="370"/>
                  <a:pt x="40" y="370"/>
                  <a:pt x="40" y="370"/>
                </a:cubicBezTo>
                <a:cubicBezTo>
                  <a:pt x="40" y="369"/>
                  <a:pt x="40" y="369"/>
                  <a:pt x="40" y="369"/>
                </a:cubicBezTo>
                <a:cubicBezTo>
                  <a:pt x="39" y="369"/>
                  <a:pt x="39" y="369"/>
                  <a:pt x="39" y="369"/>
                </a:cubicBezTo>
                <a:cubicBezTo>
                  <a:pt x="38" y="370"/>
                  <a:pt x="38" y="370"/>
                  <a:pt x="38" y="370"/>
                </a:cubicBezTo>
                <a:cubicBezTo>
                  <a:pt x="37" y="371"/>
                  <a:pt x="37" y="371"/>
                  <a:pt x="37" y="371"/>
                </a:cubicBezTo>
                <a:cubicBezTo>
                  <a:pt x="35" y="372"/>
                  <a:pt x="35" y="372"/>
                  <a:pt x="35" y="372"/>
                </a:cubicBezTo>
                <a:cubicBezTo>
                  <a:pt x="34" y="373"/>
                  <a:pt x="34" y="373"/>
                  <a:pt x="34" y="373"/>
                </a:cubicBezTo>
                <a:cubicBezTo>
                  <a:pt x="34" y="374"/>
                  <a:pt x="34" y="374"/>
                  <a:pt x="34" y="374"/>
                </a:cubicBezTo>
                <a:cubicBezTo>
                  <a:pt x="33" y="374"/>
                  <a:pt x="33" y="374"/>
                  <a:pt x="33" y="374"/>
                </a:cubicBezTo>
                <a:cubicBezTo>
                  <a:pt x="32" y="372"/>
                  <a:pt x="32" y="372"/>
                  <a:pt x="32" y="372"/>
                </a:cubicBezTo>
                <a:cubicBezTo>
                  <a:pt x="32" y="370"/>
                  <a:pt x="32" y="370"/>
                  <a:pt x="32" y="370"/>
                </a:cubicBezTo>
                <a:cubicBezTo>
                  <a:pt x="32" y="367"/>
                  <a:pt x="32" y="367"/>
                  <a:pt x="32" y="367"/>
                </a:cubicBezTo>
                <a:cubicBezTo>
                  <a:pt x="32" y="365"/>
                  <a:pt x="32" y="365"/>
                  <a:pt x="32" y="365"/>
                </a:cubicBezTo>
                <a:cubicBezTo>
                  <a:pt x="32" y="364"/>
                  <a:pt x="32" y="364"/>
                  <a:pt x="32" y="364"/>
                </a:cubicBezTo>
                <a:cubicBezTo>
                  <a:pt x="31" y="364"/>
                  <a:pt x="31" y="364"/>
                  <a:pt x="31" y="364"/>
                </a:cubicBezTo>
                <a:cubicBezTo>
                  <a:pt x="31" y="362"/>
                  <a:pt x="31" y="362"/>
                  <a:pt x="31" y="362"/>
                </a:cubicBezTo>
                <a:cubicBezTo>
                  <a:pt x="32" y="361"/>
                  <a:pt x="32" y="361"/>
                  <a:pt x="32" y="361"/>
                </a:cubicBezTo>
                <a:cubicBezTo>
                  <a:pt x="32" y="362"/>
                  <a:pt x="32" y="362"/>
                  <a:pt x="32" y="362"/>
                </a:cubicBezTo>
                <a:cubicBezTo>
                  <a:pt x="33" y="362"/>
                  <a:pt x="33" y="362"/>
                  <a:pt x="33" y="362"/>
                </a:cubicBezTo>
                <a:cubicBezTo>
                  <a:pt x="33" y="361"/>
                  <a:pt x="33" y="361"/>
                  <a:pt x="33" y="361"/>
                </a:cubicBezTo>
                <a:cubicBezTo>
                  <a:pt x="34" y="360"/>
                  <a:pt x="34" y="360"/>
                  <a:pt x="34" y="360"/>
                </a:cubicBezTo>
                <a:cubicBezTo>
                  <a:pt x="35" y="358"/>
                  <a:pt x="35" y="358"/>
                  <a:pt x="35" y="358"/>
                </a:cubicBezTo>
                <a:cubicBezTo>
                  <a:pt x="36" y="358"/>
                  <a:pt x="36" y="358"/>
                  <a:pt x="36" y="358"/>
                </a:cubicBezTo>
                <a:cubicBezTo>
                  <a:pt x="37" y="358"/>
                  <a:pt x="37" y="358"/>
                  <a:pt x="37" y="358"/>
                </a:cubicBezTo>
                <a:cubicBezTo>
                  <a:pt x="38" y="358"/>
                  <a:pt x="38" y="358"/>
                  <a:pt x="38" y="358"/>
                </a:cubicBezTo>
                <a:cubicBezTo>
                  <a:pt x="37" y="357"/>
                  <a:pt x="37" y="357"/>
                  <a:pt x="37" y="357"/>
                </a:cubicBezTo>
                <a:cubicBezTo>
                  <a:pt x="37" y="357"/>
                  <a:pt x="37" y="357"/>
                  <a:pt x="37" y="357"/>
                </a:cubicBezTo>
                <a:cubicBezTo>
                  <a:pt x="39" y="355"/>
                  <a:pt x="39" y="355"/>
                  <a:pt x="39" y="355"/>
                </a:cubicBezTo>
                <a:cubicBezTo>
                  <a:pt x="39" y="354"/>
                  <a:pt x="39" y="354"/>
                  <a:pt x="39" y="354"/>
                </a:cubicBezTo>
                <a:cubicBezTo>
                  <a:pt x="41" y="353"/>
                  <a:pt x="41" y="353"/>
                  <a:pt x="41" y="353"/>
                </a:cubicBezTo>
                <a:cubicBezTo>
                  <a:pt x="41" y="352"/>
                  <a:pt x="41" y="352"/>
                  <a:pt x="41" y="352"/>
                </a:cubicBezTo>
                <a:cubicBezTo>
                  <a:pt x="40" y="352"/>
                  <a:pt x="40" y="352"/>
                  <a:pt x="40" y="352"/>
                </a:cubicBezTo>
                <a:cubicBezTo>
                  <a:pt x="40" y="352"/>
                  <a:pt x="40" y="352"/>
                  <a:pt x="40" y="352"/>
                </a:cubicBezTo>
                <a:cubicBezTo>
                  <a:pt x="38" y="353"/>
                  <a:pt x="38" y="353"/>
                  <a:pt x="38" y="353"/>
                </a:cubicBezTo>
                <a:cubicBezTo>
                  <a:pt x="38" y="354"/>
                  <a:pt x="38" y="354"/>
                  <a:pt x="38" y="354"/>
                </a:cubicBezTo>
                <a:cubicBezTo>
                  <a:pt x="36" y="357"/>
                  <a:pt x="36" y="357"/>
                  <a:pt x="36" y="357"/>
                </a:cubicBezTo>
                <a:cubicBezTo>
                  <a:pt x="36" y="357"/>
                  <a:pt x="36" y="357"/>
                  <a:pt x="36" y="357"/>
                </a:cubicBezTo>
                <a:cubicBezTo>
                  <a:pt x="36" y="356"/>
                  <a:pt x="36" y="356"/>
                  <a:pt x="36" y="356"/>
                </a:cubicBezTo>
                <a:cubicBezTo>
                  <a:pt x="37" y="354"/>
                  <a:pt x="37" y="354"/>
                  <a:pt x="37" y="354"/>
                </a:cubicBezTo>
                <a:cubicBezTo>
                  <a:pt x="37" y="352"/>
                  <a:pt x="37" y="352"/>
                  <a:pt x="37" y="352"/>
                </a:cubicBezTo>
                <a:cubicBezTo>
                  <a:pt x="39" y="349"/>
                  <a:pt x="39" y="349"/>
                  <a:pt x="39" y="349"/>
                </a:cubicBezTo>
                <a:cubicBezTo>
                  <a:pt x="40" y="347"/>
                  <a:pt x="40" y="347"/>
                  <a:pt x="40" y="347"/>
                </a:cubicBezTo>
                <a:cubicBezTo>
                  <a:pt x="39" y="347"/>
                  <a:pt x="39" y="347"/>
                  <a:pt x="39" y="347"/>
                </a:cubicBezTo>
                <a:cubicBezTo>
                  <a:pt x="39" y="347"/>
                  <a:pt x="39" y="347"/>
                  <a:pt x="39" y="347"/>
                </a:cubicBezTo>
                <a:cubicBezTo>
                  <a:pt x="39" y="346"/>
                  <a:pt x="39" y="346"/>
                  <a:pt x="39" y="346"/>
                </a:cubicBezTo>
                <a:cubicBezTo>
                  <a:pt x="40" y="346"/>
                  <a:pt x="40" y="346"/>
                  <a:pt x="40" y="346"/>
                </a:cubicBezTo>
                <a:cubicBezTo>
                  <a:pt x="40" y="345"/>
                  <a:pt x="40" y="345"/>
                  <a:pt x="40" y="345"/>
                </a:cubicBezTo>
                <a:cubicBezTo>
                  <a:pt x="40" y="345"/>
                  <a:pt x="40" y="345"/>
                  <a:pt x="40" y="345"/>
                </a:cubicBezTo>
                <a:cubicBezTo>
                  <a:pt x="40" y="344"/>
                  <a:pt x="40" y="344"/>
                  <a:pt x="40" y="344"/>
                </a:cubicBezTo>
                <a:cubicBezTo>
                  <a:pt x="39" y="344"/>
                  <a:pt x="39" y="344"/>
                  <a:pt x="39" y="344"/>
                </a:cubicBezTo>
                <a:cubicBezTo>
                  <a:pt x="39" y="342"/>
                  <a:pt x="39" y="342"/>
                  <a:pt x="39" y="342"/>
                </a:cubicBezTo>
                <a:cubicBezTo>
                  <a:pt x="38" y="341"/>
                  <a:pt x="38" y="341"/>
                  <a:pt x="38" y="341"/>
                </a:cubicBezTo>
                <a:cubicBezTo>
                  <a:pt x="37" y="340"/>
                  <a:pt x="37" y="340"/>
                  <a:pt x="37" y="340"/>
                </a:cubicBezTo>
                <a:cubicBezTo>
                  <a:pt x="36" y="340"/>
                  <a:pt x="36" y="340"/>
                  <a:pt x="36" y="340"/>
                </a:cubicBezTo>
                <a:cubicBezTo>
                  <a:pt x="36" y="339"/>
                  <a:pt x="36" y="339"/>
                  <a:pt x="36" y="339"/>
                </a:cubicBezTo>
                <a:cubicBezTo>
                  <a:pt x="35" y="337"/>
                  <a:pt x="35" y="337"/>
                  <a:pt x="35" y="337"/>
                </a:cubicBezTo>
                <a:cubicBezTo>
                  <a:pt x="34" y="337"/>
                  <a:pt x="34" y="337"/>
                  <a:pt x="34" y="337"/>
                </a:cubicBezTo>
                <a:cubicBezTo>
                  <a:pt x="33" y="337"/>
                  <a:pt x="33" y="337"/>
                  <a:pt x="33" y="337"/>
                </a:cubicBezTo>
                <a:cubicBezTo>
                  <a:pt x="33" y="336"/>
                  <a:pt x="33" y="336"/>
                  <a:pt x="33" y="336"/>
                </a:cubicBezTo>
                <a:cubicBezTo>
                  <a:pt x="33" y="336"/>
                  <a:pt x="33" y="336"/>
                  <a:pt x="33" y="336"/>
                </a:cubicBezTo>
                <a:cubicBezTo>
                  <a:pt x="33" y="335"/>
                  <a:pt x="33" y="335"/>
                  <a:pt x="33" y="335"/>
                </a:cubicBezTo>
                <a:cubicBezTo>
                  <a:pt x="33" y="334"/>
                  <a:pt x="33" y="334"/>
                  <a:pt x="33" y="334"/>
                </a:cubicBezTo>
                <a:cubicBezTo>
                  <a:pt x="32" y="334"/>
                  <a:pt x="32" y="334"/>
                  <a:pt x="32" y="334"/>
                </a:cubicBezTo>
                <a:cubicBezTo>
                  <a:pt x="33" y="333"/>
                  <a:pt x="33" y="333"/>
                  <a:pt x="33" y="333"/>
                </a:cubicBezTo>
                <a:cubicBezTo>
                  <a:pt x="33" y="333"/>
                  <a:pt x="33" y="333"/>
                  <a:pt x="33" y="333"/>
                </a:cubicBezTo>
                <a:cubicBezTo>
                  <a:pt x="33" y="332"/>
                  <a:pt x="33" y="332"/>
                  <a:pt x="33" y="332"/>
                </a:cubicBezTo>
                <a:cubicBezTo>
                  <a:pt x="32" y="332"/>
                  <a:pt x="32" y="332"/>
                  <a:pt x="32" y="332"/>
                </a:cubicBezTo>
                <a:cubicBezTo>
                  <a:pt x="32" y="332"/>
                  <a:pt x="32" y="332"/>
                  <a:pt x="32" y="332"/>
                </a:cubicBezTo>
                <a:cubicBezTo>
                  <a:pt x="32" y="331"/>
                  <a:pt x="32" y="331"/>
                  <a:pt x="32" y="331"/>
                </a:cubicBezTo>
                <a:cubicBezTo>
                  <a:pt x="33" y="330"/>
                  <a:pt x="33" y="330"/>
                  <a:pt x="33" y="330"/>
                </a:cubicBezTo>
                <a:cubicBezTo>
                  <a:pt x="33" y="326"/>
                  <a:pt x="33" y="326"/>
                  <a:pt x="33" y="326"/>
                </a:cubicBezTo>
                <a:cubicBezTo>
                  <a:pt x="33" y="321"/>
                  <a:pt x="33" y="321"/>
                  <a:pt x="33" y="321"/>
                </a:cubicBezTo>
                <a:cubicBezTo>
                  <a:pt x="33" y="318"/>
                  <a:pt x="33" y="318"/>
                  <a:pt x="33" y="318"/>
                </a:cubicBezTo>
                <a:cubicBezTo>
                  <a:pt x="33" y="317"/>
                  <a:pt x="33" y="317"/>
                  <a:pt x="33" y="317"/>
                </a:cubicBezTo>
                <a:cubicBezTo>
                  <a:pt x="33" y="316"/>
                  <a:pt x="33" y="316"/>
                  <a:pt x="33" y="316"/>
                </a:cubicBezTo>
                <a:cubicBezTo>
                  <a:pt x="33" y="314"/>
                  <a:pt x="33" y="314"/>
                  <a:pt x="33" y="314"/>
                </a:cubicBezTo>
                <a:cubicBezTo>
                  <a:pt x="33" y="313"/>
                  <a:pt x="33" y="313"/>
                  <a:pt x="33" y="313"/>
                </a:cubicBezTo>
                <a:cubicBezTo>
                  <a:pt x="32" y="312"/>
                  <a:pt x="32" y="312"/>
                  <a:pt x="32" y="312"/>
                </a:cubicBezTo>
                <a:cubicBezTo>
                  <a:pt x="32" y="310"/>
                  <a:pt x="32" y="310"/>
                  <a:pt x="32" y="310"/>
                </a:cubicBezTo>
                <a:cubicBezTo>
                  <a:pt x="31" y="308"/>
                  <a:pt x="31" y="308"/>
                  <a:pt x="31" y="308"/>
                </a:cubicBezTo>
                <a:cubicBezTo>
                  <a:pt x="30" y="306"/>
                  <a:pt x="30" y="306"/>
                  <a:pt x="30" y="306"/>
                </a:cubicBezTo>
                <a:cubicBezTo>
                  <a:pt x="31" y="305"/>
                  <a:pt x="31" y="305"/>
                  <a:pt x="31" y="305"/>
                </a:cubicBezTo>
                <a:cubicBezTo>
                  <a:pt x="29" y="301"/>
                  <a:pt x="29" y="301"/>
                  <a:pt x="29" y="301"/>
                </a:cubicBezTo>
                <a:cubicBezTo>
                  <a:pt x="30" y="301"/>
                  <a:pt x="30" y="301"/>
                  <a:pt x="30" y="301"/>
                </a:cubicBezTo>
                <a:cubicBezTo>
                  <a:pt x="31" y="299"/>
                  <a:pt x="31" y="299"/>
                  <a:pt x="31" y="299"/>
                </a:cubicBezTo>
                <a:cubicBezTo>
                  <a:pt x="30" y="298"/>
                  <a:pt x="30" y="298"/>
                  <a:pt x="30" y="298"/>
                </a:cubicBezTo>
                <a:cubicBezTo>
                  <a:pt x="30" y="297"/>
                  <a:pt x="30" y="297"/>
                  <a:pt x="30" y="297"/>
                </a:cubicBezTo>
                <a:cubicBezTo>
                  <a:pt x="29" y="296"/>
                  <a:pt x="29" y="296"/>
                  <a:pt x="29" y="296"/>
                </a:cubicBezTo>
                <a:cubicBezTo>
                  <a:pt x="27" y="296"/>
                  <a:pt x="27" y="296"/>
                  <a:pt x="27" y="296"/>
                </a:cubicBezTo>
                <a:cubicBezTo>
                  <a:pt x="25" y="296"/>
                  <a:pt x="25" y="296"/>
                  <a:pt x="25" y="296"/>
                </a:cubicBezTo>
                <a:cubicBezTo>
                  <a:pt x="24" y="297"/>
                  <a:pt x="24" y="297"/>
                  <a:pt x="24" y="297"/>
                </a:cubicBezTo>
                <a:cubicBezTo>
                  <a:pt x="22" y="297"/>
                  <a:pt x="22" y="297"/>
                  <a:pt x="22" y="297"/>
                </a:cubicBezTo>
                <a:cubicBezTo>
                  <a:pt x="21" y="299"/>
                  <a:pt x="21" y="299"/>
                  <a:pt x="21" y="299"/>
                </a:cubicBezTo>
                <a:cubicBezTo>
                  <a:pt x="19" y="301"/>
                  <a:pt x="19" y="301"/>
                  <a:pt x="19" y="301"/>
                </a:cubicBezTo>
                <a:cubicBezTo>
                  <a:pt x="17" y="302"/>
                  <a:pt x="17" y="302"/>
                  <a:pt x="17" y="302"/>
                </a:cubicBezTo>
                <a:cubicBezTo>
                  <a:pt x="15" y="303"/>
                  <a:pt x="15" y="303"/>
                  <a:pt x="15" y="303"/>
                </a:cubicBezTo>
                <a:cubicBezTo>
                  <a:pt x="13" y="303"/>
                  <a:pt x="13" y="303"/>
                  <a:pt x="13" y="303"/>
                </a:cubicBezTo>
                <a:cubicBezTo>
                  <a:pt x="13" y="303"/>
                  <a:pt x="13" y="303"/>
                  <a:pt x="13" y="303"/>
                </a:cubicBezTo>
                <a:cubicBezTo>
                  <a:pt x="13" y="302"/>
                  <a:pt x="13" y="302"/>
                  <a:pt x="13" y="302"/>
                </a:cubicBezTo>
                <a:cubicBezTo>
                  <a:pt x="14" y="300"/>
                  <a:pt x="14" y="300"/>
                  <a:pt x="14" y="300"/>
                </a:cubicBezTo>
                <a:cubicBezTo>
                  <a:pt x="13" y="299"/>
                  <a:pt x="13" y="299"/>
                  <a:pt x="13" y="299"/>
                </a:cubicBezTo>
                <a:cubicBezTo>
                  <a:pt x="11" y="292"/>
                  <a:pt x="11" y="292"/>
                  <a:pt x="11" y="292"/>
                </a:cubicBezTo>
                <a:cubicBezTo>
                  <a:pt x="10" y="288"/>
                  <a:pt x="10" y="288"/>
                  <a:pt x="10" y="288"/>
                </a:cubicBezTo>
                <a:cubicBezTo>
                  <a:pt x="10" y="287"/>
                  <a:pt x="10" y="287"/>
                  <a:pt x="10" y="287"/>
                </a:cubicBezTo>
                <a:cubicBezTo>
                  <a:pt x="11" y="284"/>
                  <a:pt x="11" y="284"/>
                  <a:pt x="11" y="284"/>
                </a:cubicBezTo>
                <a:cubicBezTo>
                  <a:pt x="8" y="284"/>
                  <a:pt x="8" y="284"/>
                  <a:pt x="8" y="284"/>
                </a:cubicBezTo>
                <a:cubicBezTo>
                  <a:pt x="5" y="285"/>
                  <a:pt x="5" y="285"/>
                  <a:pt x="5" y="285"/>
                </a:cubicBezTo>
                <a:cubicBezTo>
                  <a:pt x="4" y="284"/>
                  <a:pt x="4" y="284"/>
                  <a:pt x="4" y="284"/>
                </a:cubicBezTo>
                <a:cubicBezTo>
                  <a:pt x="0" y="284"/>
                  <a:pt x="0" y="284"/>
                  <a:pt x="0" y="284"/>
                </a:cubicBezTo>
                <a:cubicBezTo>
                  <a:pt x="73" y="151"/>
                  <a:pt x="73" y="151"/>
                  <a:pt x="73" y="151"/>
                </a:cubicBezTo>
                <a:cubicBezTo>
                  <a:pt x="73" y="152"/>
                  <a:pt x="73" y="152"/>
                  <a:pt x="73" y="152"/>
                </a:cubicBezTo>
                <a:cubicBezTo>
                  <a:pt x="74" y="152"/>
                  <a:pt x="74" y="152"/>
                  <a:pt x="74" y="152"/>
                </a:cubicBezTo>
                <a:cubicBezTo>
                  <a:pt x="77" y="155"/>
                  <a:pt x="77" y="155"/>
                  <a:pt x="77" y="155"/>
                </a:cubicBezTo>
                <a:cubicBezTo>
                  <a:pt x="78" y="155"/>
                  <a:pt x="78" y="155"/>
                  <a:pt x="78" y="155"/>
                </a:cubicBezTo>
                <a:cubicBezTo>
                  <a:pt x="80" y="156"/>
                  <a:pt x="80" y="156"/>
                  <a:pt x="80" y="156"/>
                </a:cubicBezTo>
                <a:cubicBezTo>
                  <a:pt x="80" y="157"/>
                  <a:pt x="80" y="157"/>
                  <a:pt x="80" y="157"/>
                </a:cubicBezTo>
                <a:cubicBezTo>
                  <a:pt x="80" y="157"/>
                  <a:pt x="80" y="157"/>
                  <a:pt x="80" y="157"/>
                </a:cubicBezTo>
                <a:cubicBezTo>
                  <a:pt x="82" y="158"/>
                  <a:pt x="82" y="158"/>
                  <a:pt x="82" y="158"/>
                </a:cubicBezTo>
                <a:cubicBezTo>
                  <a:pt x="82" y="159"/>
                  <a:pt x="82" y="159"/>
                  <a:pt x="82" y="159"/>
                </a:cubicBezTo>
                <a:cubicBezTo>
                  <a:pt x="83" y="160"/>
                  <a:pt x="83" y="160"/>
                  <a:pt x="83" y="160"/>
                </a:cubicBezTo>
                <a:cubicBezTo>
                  <a:pt x="83" y="161"/>
                  <a:pt x="83" y="161"/>
                  <a:pt x="83" y="161"/>
                </a:cubicBezTo>
                <a:cubicBezTo>
                  <a:pt x="83" y="161"/>
                  <a:pt x="83" y="161"/>
                  <a:pt x="83" y="161"/>
                </a:cubicBezTo>
                <a:cubicBezTo>
                  <a:pt x="82" y="163"/>
                  <a:pt x="82" y="163"/>
                  <a:pt x="82" y="163"/>
                </a:cubicBezTo>
                <a:cubicBezTo>
                  <a:pt x="83" y="164"/>
                  <a:pt x="83" y="164"/>
                  <a:pt x="83" y="164"/>
                </a:cubicBezTo>
                <a:cubicBezTo>
                  <a:pt x="83" y="164"/>
                  <a:pt x="83" y="164"/>
                  <a:pt x="83" y="164"/>
                </a:cubicBezTo>
                <a:cubicBezTo>
                  <a:pt x="84" y="164"/>
                  <a:pt x="84" y="164"/>
                  <a:pt x="84" y="164"/>
                </a:cubicBezTo>
                <a:cubicBezTo>
                  <a:pt x="84" y="164"/>
                  <a:pt x="84" y="164"/>
                  <a:pt x="84" y="164"/>
                </a:cubicBezTo>
                <a:cubicBezTo>
                  <a:pt x="84" y="166"/>
                  <a:pt x="84" y="166"/>
                  <a:pt x="84" y="166"/>
                </a:cubicBezTo>
                <a:cubicBezTo>
                  <a:pt x="85" y="168"/>
                  <a:pt x="85" y="168"/>
                  <a:pt x="85" y="168"/>
                </a:cubicBezTo>
                <a:cubicBezTo>
                  <a:pt x="87" y="170"/>
                  <a:pt x="87" y="170"/>
                  <a:pt x="87" y="170"/>
                </a:cubicBezTo>
                <a:cubicBezTo>
                  <a:pt x="88" y="171"/>
                  <a:pt x="88" y="171"/>
                  <a:pt x="88" y="171"/>
                </a:cubicBezTo>
                <a:cubicBezTo>
                  <a:pt x="88" y="171"/>
                  <a:pt x="88" y="171"/>
                  <a:pt x="88" y="171"/>
                </a:cubicBezTo>
                <a:cubicBezTo>
                  <a:pt x="89" y="171"/>
                  <a:pt x="89" y="171"/>
                  <a:pt x="89" y="171"/>
                </a:cubicBezTo>
                <a:cubicBezTo>
                  <a:pt x="89" y="172"/>
                  <a:pt x="89" y="172"/>
                  <a:pt x="89" y="172"/>
                </a:cubicBezTo>
                <a:cubicBezTo>
                  <a:pt x="90" y="172"/>
                  <a:pt x="90" y="172"/>
                  <a:pt x="90" y="172"/>
                </a:cubicBezTo>
                <a:cubicBezTo>
                  <a:pt x="91" y="172"/>
                  <a:pt x="91" y="172"/>
                  <a:pt x="91" y="172"/>
                </a:cubicBezTo>
                <a:cubicBezTo>
                  <a:pt x="92" y="174"/>
                  <a:pt x="92" y="174"/>
                  <a:pt x="92" y="174"/>
                </a:cubicBezTo>
                <a:cubicBezTo>
                  <a:pt x="92" y="176"/>
                  <a:pt x="92" y="176"/>
                  <a:pt x="92" y="176"/>
                </a:cubicBezTo>
                <a:cubicBezTo>
                  <a:pt x="93" y="176"/>
                  <a:pt x="93" y="176"/>
                  <a:pt x="93" y="176"/>
                </a:cubicBezTo>
                <a:cubicBezTo>
                  <a:pt x="93" y="177"/>
                  <a:pt x="93" y="177"/>
                  <a:pt x="93" y="177"/>
                </a:cubicBezTo>
                <a:cubicBezTo>
                  <a:pt x="94" y="177"/>
                  <a:pt x="94" y="177"/>
                  <a:pt x="94" y="177"/>
                </a:cubicBezTo>
                <a:cubicBezTo>
                  <a:pt x="96" y="179"/>
                  <a:pt x="96" y="179"/>
                  <a:pt x="96" y="179"/>
                </a:cubicBezTo>
                <a:cubicBezTo>
                  <a:pt x="96" y="180"/>
                  <a:pt x="96" y="180"/>
                  <a:pt x="96" y="180"/>
                </a:cubicBezTo>
                <a:cubicBezTo>
                  <a:pt x="96" y="180"/>
                  <a:pt x="96" y="180"/>
                  <a:pt x="96" y="180"/>
                </a:cubicBezTo>
                <a:cubicBezTo>
                  <a:pt x="96" y="181"/>
                  <a:pt x="96" y="181"/>
                  <a:pt x="96" y="181"/>
                </a:cubicBezTo>
                <a:cubicBezTo>
                  <a:pt x="95" y="183"/>
                  <a:pt x="95" y="183"/>
                  <a:pt x="95" y="183"/>
                </a:cubicBezTo>
                <a:cubicBezTo>
                  <a:pt x="94" y="184"/>
                  <a:pt x="94" y="184"/>
                  <a:pt x="94" y="184"/>
                </a:cubicBezTo>
                <a:cubicBezTo>
                  <a:pt x="97" y="182"/>
                  <a:pt x="97" y="182"/>
                  <a:pt x="97" y="182"/>
                </a:cubicBezTo>
                <a:cubicBezTo>
                  <a:pt x="98" y="181"/>
                  <a:pt x="98" y="181"/>
                  <a:pt x="98" y="181"/>
                </a:cubicBezTo>
                <a:cubicBezTo>
                  <a:pt x="98" y="181"/>
                  <a:pt x="98" y="181"/>
                  <a:pt x="98" y="181"/>
                </a:cubicBezTo>
                <a:cubicBezTo>
                  <a:pt x="98" y="180"/>
                  <a:pt x="98" y="180"/>
                  <a:pt x="98" y="180"/>
                </a:cubicBezTo>
                <a:cubicBezTo>
                  <a:pt x="98" y="176"/>
                  <a:pt x="98" y="176"/>
                  <a:pt x="98" y="176"/>
                </a:cubicBezTo>
                <a:cubicBezTo>
                  <a:pt x="98" y="174"/>
                  <a:pt x="98" y="174"/>
                  <a:pt x="98" y="174"/>
                </a:cubicBezTo>
                <a:cubicBezTo>
                  <a:pt x="99" y="173"/>
                  <a:pt x="99" y="173"/>
                  <a:pt x="99" y="173"/>
                </a:cubicBezTo>
                <a:cubicBezTo>
                  <a:pt x="101" y="172"/>
                  <a:pt x="101" y="172"/>
                  <a:pt x="101" y="172"/>
                </a:cubicBezTo>
                <a:cubicBezTo>
                  <a:pt x="103" y="171"/>
                  <a:pt x="103" y="171"/>
                  <a:pt x="103" y="171"/>
                </a:cubicBezTo>
                <a:cubicBezTo>
                  <a:pt x="104" y="170"/>
                  <a:pt x="104" y="170"/>
                  <a:pt x="104" y="170"/>
                </a:cubicBezTo>
                <a:cubicBezTo>
                  <a:pt x="105" y="170"/>
                  <a:pt x="105" y="170"/>
                  <a:pt x="105" y="170"/>
                </a:cubicBezTo>
                <a:cubicBezTo>
                  <a:pt x="106" y="169"/>
                  <a:pt x="106" y="169"/>
                  <a:pt x="106" y="169"/>
                </a:cubicBezTo>
                <a:cubicBezTo>
                  <a:pt x="106" y="169"/>
                  <a:pt x="106" y="169"/>
                  <a:pt x="106" y="169"/>
                </a:cubicBezTo>
                <a:cubicBezTo>
                  <a:pt x="107" y="169"/>
                  <a:pt x="107" y="169"/>
                  <a:pt x="107" y="169"/>
                </a:cubicBezTo>
                <a:cubicBezTo>
                  <a:pt x="109" y="169"/>
                  <a:pt x="109" y="169"/>
                  <a:pt x="109" y="169"/>
                </a:cubicBezTo>
                <a:cubicBezTo>
                  <a:pt x="109" y="169"/>
                  <a:pt x="109" y="169"/>
                  <a:pt x="109" y="169"/>
                </a:cubicBezTo>
                <a:cubicBezTo>
                  <a:pt x="110" y="169"/>
                  <a:pt x="110" y="169"/>
                  <a:pt x="110" y="169"/>
                </a:cubicBezTo>
                <a:cubicBezTo>
                  <a:pt x="111" y="169"/>
                  <a:pt x="111" y="169"/>
                  <a:pt x="111" y="169"/>
                </a:cubicBezTo>
                <a:cubicBezTo>
                  <a:pt x="112" y="168"/>
                  <a:pt x="112" y="168"/>
                  <a:pt x="112" y="168"/>
                </a:cubicBezTo>
                <a:cubicBezTo>
                  <a:pt x="113" y="166"/>
                  <a:pt x="113" y="166"/>
                  <a:pt x="113" y="166"/>
                </a:cubicBezTo>
                <a:cubicBezTo>
                  <a:pt x="114" y="166"/>
                  <a:pt x="114" y="166"/>
                  <a:pt x="114" y="166"/>
                </a:cubicBezTo>
                <a:cubicBezTo>
                  <a:pt x="115" y="166"/>
                  <a:pt x="115" y="166"/>
                  <a:pt x="115" y="166"/>
                </a:cubicBezTo>
                <a:cubicBezTo>
                  <a:pt x="116" y="166"/>
                  <a:pt x="116" y="166"/>
                  <a:pt x="116" y="166"/>
                </a:cubicBezTo>
                <a:cubicBezTo>
                  <a:pt x="115" y="165"/>
                  <a:pt x="115" y="165"/>
                  <a:pt x="115" y="165"/>
                </a:cubicBezTo>
                <a:cubicBezTo>
                  <a:pt x="116" y="165"/>
                  <a:pt x="116" y="165"/>
                  <a:pt x="116" y="165"/>
                </a:cubicBezTo>
                <a:cubicBezTo>
                  <a:pt x="117" y="166"/>
                  <a:pt x="117" y="166"/>
                  <a:pt x="117" y="166"/>
                </a:cubicBezTo>
                <a:cubicBezTo>
                  <a:pt x="120" y="166"/>
                  <a:pt x="120" y="166"/>
                  <a:pt x="120" y="166"/>
                </a:cubicBezTo>
                <a:cubicBezTo>
                  <a:pt x="123" y="165"/>
                  <a:pt x="123" y="165"/>
                  <a:pt x="123" y="165"/>
                </a:cubicBezTo>
                <a:cubicBezTo>
                  <a:pt x="125" y="164"/>
                  <a:pt x="125" y="164"/>
                  <a:pt x="125" y="164"/>
                </a:cubicBezTo>
                <a:cubicBezTo>
                  <a:pt x="125" y="164"/>
                  <a:pt x="125" y="164"/>
                  <a:pt x="125" y="164"/>
                </a:cubicBezTo>
                <a:cubicBezTo>
                  <a:pt x="126" y="165"/>
                  <a:pt x="126" y="165"/>
                  <a:pt x="126" y="165"/>
                </a:cubicBezTo>
                <a:cubicBezTo>
                  <a:pt x="127" y="165"/>
                  <a:pt x="127" y="165"/>
                  <a:pt x="127" y="165"/>
                </a:cubicBezTo>
                <a:cubicBezTo>
                  <a:pt x="127" y="163"/>
                  <a:pt x="127" y="163"/>
                  <a:pt x="127" y="163"/>
                </a:cubicBezTo>
                <a:cubicBezTo>
                  <a:pt x="129" y="162"/>
                  <a:pt x="129" y="162"/>
                  <a:pt x="129" y="162"/>
                </a:cubicBezTo>
                <a:cubicBezTo>
                  <a:pt x="130" y="162"/>
                  <a:pt x="130" y="162"/>
                  <a:pt x="130" y="162"/>
                </a:cubicBezTo>
                <a:cubicBezTo>
                  <a:pt x="131" y="163"/>
                  <a:pt x="131" y="163"/>
                  <a:pt x="131" y="163"/>
                </a:cubicBezTo>
                <a:cubicBezTo>
                  <a:pt x="131" y="163"/>
                  <a:pt x="131" y="163"/>
                  <a:pt x="131" y="163"/>
                </a:cubicBezTo>
                <a:cubicBezTo>
                  <a:pt x="132" y="164"/>
                  <a:pt x="132" y="164"/>
                  <a:pt x="132" y="164"/>
                </a:cubicBezTo>
                <a:cubicBezTo>
                  <a:pt x="133" y="163"/>
                  <a:pt x="133" y="163"/>
                  <a:pt x="133" y="163"/>
                </a:cubicBezTo>
                <a:cubicBezTo>
                  <a:pt x="133" y="162"/>
                  <a:pt x="133" y="162"/>
                  <a:pt x="133" y="162"/>
                </a:cubicBezTo>
                <a:cubicBezTo>
                  <a:pt x="133" y="162"/>
                  <a:pt x="133" y="162"/>
                  <a:pt x="133" y="162"/>
                </a:cubicBezTo>
                <a:cubicBezTo>
                  <a:pt x="134" y="162"/>
                  <a:pt x="134" y="162"/>
                  <a:pt x="134" y="162"/>
                </a:cubicBezTo>
                <a:cubicBezTo>
                  <a:pt x="134" y="164"/>
                  <a:pt x="134" y="164"/>
                  <a:pt x="134" y="164"/>
                </a:cubicBezTo>
                <a:cubicBezTo>
                  <a:pt x="135" y="164"/>
                  <a:pt x="135" y="164"/>
                  <a:pt x="135" y="164"/>
                </a:cubicBezTo>
                <a:cubicBezTo>
                  <a:pt x="134" y="165"/>
                  <a:pt x="134" y="165"/>
                  <a:pt x="134" y="165"/>
                </a:cubicBezTo>
                <a:cubicBezTo>
                  <a:pt x="134" y="165"/>
                  <a:pt x="134" y="165"/>
                  <a:pt x="134" y="165"/>
                </a:cubicBezTo>
                <a:cubicBezTo>
                  <a:pt x="133" y="166"/>
                  <a:pt x="133" y="166"/>
                  <a:pt x="133" y="166"/>
                </a:cubicBezTo>
                <a:cubicBezTo>
                  <a:pt x="131" y="167"/>
                  <a:pt x="131" y="167"/>
                  <a:pt x="131" y="167"/>
                </a:cubicBezTo>
                <a:cubicBezTo>
                  <a:pt x="128" y="167"/>
                  <a:pt x="128" y="167"/>
                  <a:pt x="128" y="167"/>
                </a:cubicBezTo>
                <a:cubicBezTo>
                  <a:pt x="127" y="168"/>
                  <a:pt x="127" y="168"/>
                  <a:pt x="127" y="168"/>
                </a:cubicBezTo>
                <a:cubicBezTo>
                  <a:pt x="126" y="169"/>
                  <a:pt x="126" y="169"/>
                  <a:pt x="126" y="169"/>
                </a:cubicBezTo>
                <a:cubicBezTo>
                  <a:pt x="125" y="169"/>
                  <a:pt x="125" y="169"/>
                  <a:pt x="125" y="169"/>
                </a:cubicBezTo>
                <a:cubicBezTo>
                  <a:pt x="124" y="169"/>
                  <a:pt x="124" y="169"/>
                  <a:pt x="124" y="169"/>
                </a:cubicBezTo>
                <a:cubicBezTo>
                  <a:pt x="123" y="169"/>
                  <a:pt x="123" y="169"/>
                  <a:pt x="123" y="169"/>
                </a:cubicBezTo>
                <a:cubicBezTo>
                  <a:pt x="123" y="169"/>
                  <a:pt x="123" y="169"/>
                  <a:pt x="123" y="169"/>
                </a:cubicBezTo>
                <a:cubicBezTo>
                  <a:pt x="121" y="169"/>
                  <a:pt x="121" y="169"/>
                  <a:pt x="121" y="169"/>
                </a:cubicBezTo>
                <a:cubicBezTo>
                  <a:pt x="119" y="169"/>
                  <a:pt x="119" y="169"/>
                  <a:pt x="119" y="169"/>
                </a:cubicBezTo>
                <a:cubicBezTo>
                  <a:pt x="119" y="170"/>
                  <a:pt x="119" y="170"/>
                  <a:pt x="119" y="170"/>
                </a:cubicBezTo>
                <a:cubicBezTo>
                  <a:pt x="116" y="170"/>
                  <a:pt x="116" y="170"/>
                  <a:pt x="116" y="170"/>
                </a:cubicBezTo>
                <a:cubicBezTo>
                  <a:pt x="115" y="170"/>
                  <a:pt x="115" y="170"/>
                  <a:pt x="115" y="170"/>
                </a:cubicBezTo>
                <a:cubicBezTo>
                  <a:pt x="114" y="172"/>
                  <a:pt x="114" y="172"/>
                  <a:pt x="114" y="172"/>
                </a:cubicBezTo>
                <a:cubicBezTo>
                  <a:pt x="111" y="173"/>
                  <a:pt x="111" y="173"/>
                  <a:pt x="111" y="173"/>
                </a:cubicBezTo>
                <a:cubicBezTo>
                  <a:pt x="111" y="172"/>
                  <a:pt x="111" y="172"/>
                  <a:pt x="111" y="172"/>
                </a:cubicBezTo>
                <a:cubicBezTo>
                  <a:pt x="109" y="173"/>
                  <a:pt x="109" y="173"/>
                  <a:pt x="109" y="173"/>
                </a:cubicBezTo>
                <a:cubicBezTo>
                  <a:pt x="109" y="174"/>
                  <a:pt x="109" y="174"/>
                  <a:pt x="109" y="174"/>
                </a:cubicBezTo>
                <a:cubicBezTo>
                  <a:pt x="108" y="175"/>
                  <a:pt x="108" y="175"/>
                  <a:pt x="108" y="175"/>
                </a:cubicBezTo>
                <a:cubicBezTo>
                  <a:pt x="108" y="174"/>
                  <a:pt x="108" y="174"/>
                  <a:pt x="108" y="174"/>
                </a:cubicBezTo>
                <a:cubicBezTo>
                  <a:pt x="107" y="175"/>
                  <a:pt x="107" y="175"/>
                  <a:pt x="107" y="175"/>
                </a:cubicBezTo>
                <a:cubicBezTo>
                  <a:pt x="106" y="176"/>
                  <a:pt x="106" y="176"/>
                  <a:pt x="106" y="176"/>
                </a:cubicBezTo>
                <a:cubicBezTo>
                  <a:pt x="105" y="176"/>
                  <a:pt x="105" y="176"/>
                  <a:pt x="105" y="176"/>
                </a:cubicBezTo>
                <a:cubicBezTo>
                  <a:pt x="104" y="177"/>
                  <a:pt x="104" y="177"/>
                  <a:pt x="104" y="177"/>
                </a:cubicBezTo>
                <a:cubicBezTo>
                  <a:pt x="105" y="179"/>
                  <a:pt x="105" y="179"/>
                  <a:pt x="105" y="179"/>
                </a:cubicBezTo>
                <a:cubicBezTo>
                  <a:pt x="107" y="180"/>
                  <a:pt x="107" y="180"/>
                  <a:pt x="107" y="180"/>
                </a:cubicBezTo>
                <a:cubicBezTo>
                  <a:pt x="105" y="178"/>
                  <a:pt x="105" y="178"/>
                  <a:pt x="105" y="178"/>
                </a:cubicBezTo>
                <a:cubicBezTo>
                  <a:pt x="105" y="178"/>
                  <a:pt x="105" y="178"/>
                  <a:pt x="105" y="178"/>
                </a:cubicBezTo>
                <a:cubicBezTo>
                  <a:pt x="107" y="178"/>
                  <a:pt x="107" y="178"/>
                  <a:pt x="107" y="178"/>
                </a:cubicBezTo>
                <a:cubicBezTo>
                  <a:pt x="107" y="178"/>
                  <a:pt x="107" y="178"/>
                  <a:pt x="107" y="178"/>
                </a:cubicBezTo>
                <a:cubicBezTo>
                  <a:pt x="108" y="178"/>
                  <a:pt x="108" y="178"/>
                  <a:pt x="108" y="178"/>
                </a:cubicBezTo>
                <a:cubicBezTo>
                  <a:pt x="108" y="177"/>
                  <a:pt x="108" y="177"/>
                  <a:pt x="108" y="177"/>
                </a:cubicBezTo>
                <a:cubicBezTo>
                  <a:pt x="109" y="175"/>
                  <a:pt x="109" y="175"/>
                  <a:pt x="109" y="175"/>
                </a:cubicBezTo>
                <a:cubicBezTo>
                  <a:pt x="112" y="175"/>
                  <a:pt x="112" y="175"/>
                  <a:pt x="112" y="175"/>
                </a:cubicBezTo>
                <a:cubicBezTo>
                  <a:pt x="113" y="175"/>
                  <a:pt x="113" y="175"/>
                  <a:pt x="113" y="175"/>
                </a:cubicBezTo>
                <a:cubicBezTo>
                  <a:pt x="116" y="173"/>
                  <a:pt x="116" y="173"/>
                  <a:pt x="116" y="173"/>
                </a:cubicBezTo>
                <a:cubicBezTo>
                  <a:pt x="116" y="172"/>
                  <a:pt x="116" y="172"/>
                  <a:pt x="116" y="172"/>
                </a:cubicBezTo>
                <a:cubicBezTo>
                  <a:pt x="117" y="171"/>
                  <a:pt x="117" y="171"/>
                  <a:pt x="117" y="171"/>
                </a:cubicBezTo>
                <a:cubicBezTo>
                  <a:pt x="118" y="172"/>
                  <a:pt x="118" y="172"/>
                  <a:pt x="118" y="172"/>
                </a:cubicBezTo>
                <a:cubicBezTo>
                  <a:pt x="119" y="172"/>
                  <a:pt x="119" y="172"/>
                  <a:pt x="119" y="172"/>
                </a:cubicBezTo>
                <a:cubicBezTo>
                  <a:pt x="120" y="171"/>
                  <a:pt x="120" y="171"/>
                  <a:pt x="120" y="171"/>
                </a:cubicBezTo>
                <a:cubicBezTo>
                  <a:pt x="120" y="172"/>
                  <a:pt x="120" y="172"/>
                  <a:pt x="120" y="172"/>
                </a:cubicBezTo>
                <a:cubicBezTo>
                  <a:pt x="122" y="171"/>
                  <a:pt x="122" y="171"/>
                  <a:pt x="122" y="171"/>
                </a:cubicBezTo>
                <a:cubicBezTo>
                  <a:pt x="122" y="171"/>
                  <a:pt x="122" y="171"/>
                  <a:pt x="122" y="171"/>
                </a:cubicBezTo>
                <a:cubicBezTo>
                  <a:pt x="121" y="173"/>
                  <a:pt x="121" y="173"/>
                  <a:pt x="121" y="173"/>
                </a:cubicBezTo>
                <a:cubicBezTo>
                  <a:pt x="121" y="174"/>
                  <a:pt x="121" y="174"/>
                  <a:pt x="121" y="174"/>
                </a:cubicBezTo>
                <a:cubicBezTo>
                  <a:pt x="122" y="172"/>
                  <a:pt x="122" y="172"/>
                  <a:pt x="122" y="172"/>
                </a:cubicBezTo>
                <a:cubicBezTo>
                  <a:pt x="124" y="172"/>
                  <a:pt x="124" y="172"/>
                  <a:pt x="124" y="172"/>
                </a:cubicBezTo>
                <a:cubicBezTo>
                  <a:pt x="128" y="169"/>
                  <a:pt x="128" y="169"/>
                  <a:pt x="128" y="169"/>
                </a:cubicBezTo>
                <a:cubicBezTo>
                  <a:pt x="130" y="169"/>
                  <a:pt x="130" y="169"/>
                  <a:pt x="130" y="169"/>
                </a:cubicBezTo>
                <a:cubicBezTo>
                  <a:pt x="131" y="168"/>
                  <a:pt x="131" y="168"/>
                  <a:pt x="131" y="168"/>
                </a:cubicBezTo>
                <a:cubicBezTo>
                  <a:pt x="134" y="168"/>
                  <a:pt x="134" y="168"/>
                  <a:pt x="134" y="168"/>
                </a:cubicBezTo>
                <a:cubicBezTo>
                  <a:pt x="135" y="167"/>
                  <a:pt x="135" y="167"/>
                  <a:pt x="135" y="167"/>
                </a:cubicBezTo>
                <a:cubicBezTo>
                  <a:pt x="136" y="167"/>
                  <a:pt x="136" y="167"/>
                  <a:pt x="136" y="167"/>
                </a:cubicBezTo>
                <a:cubicBezTo>
                  <a:pt x="135" y="169"/>
                  <a:pt x="135" y="169"/>
                  <a:pt x="135" y="169"/>
                </a:cubicBezTo>
                <a:cubicBezTo>
                  <a:pt x="134" y="169"/>
                  <a:pt x="134" y="169"/>
                  <a:pt x="134" y="169"/>
                </a:cubicBezTo>
                <a:cubicBezTo>
                  <a:pt x="134" y="170"/>
                  <a:pt x="134" y="170"/>
                  <a:pt x="134" y="170"/>
                </a:cubicBezTo>
                <a:cubicBezTo>
                  <a:pt x="135" y="171"/>
                  <a:pt x="135" y="171"/>
                  <a:pt x="135" y="171"/>
                </a:cubicBezTo>
                <a:cubicBezTo>
                  <a:pt x="136" y="169"/>
                  <a:pt x="136" y="169"/>
                  <a:pt x="136" y="169"/>
                </a:cubicBezTo>
                <a:cubicBezTo>
                  <a:pt x="139" y="168"/>
                  <a:pt x="139" y="168"/>
                  <a:pt x="139" y="168"/>
                </a:cubicBezTo>
                <a:cubicBezTo>
                  <a:pt x="140" y="168"/>
                  <a:pt x="140" y="168"/>
                  <a:pt x="140" y="168"/>
                </a:cubicBezTo>
                <a:cubicBezTo>
                  <a:pt x="140" y="167"/>
                  <a:pt x="140" y="167"/>
                  <a:pt x="140" y="167"/>
                </a:cubicBezTo>
                <a:cubicBezTo>
                  <a:pt x="141" y="166"/>
                  <a:pt x="141" y="166"/>
                  <a:pt x="141" y="166"/>
                </a:cubicBezTo>
                <a:cubicBezTo>
                  <a:pt x="142" y="167"/>
                  <a:pt x="142" y="167"/>
                  <a:pt x="142" y="167"/>
                </a:cubicBezTo>
                <a:cubicBezTo>
                  <a:pt x="142" y="166"/>
                  <a:pt x="142" y="166"/>
                  <a:pt x="142" y="166"/>
                </a:cubicBezTo>
                <a:cubicBezTo>
                  <a:pt x="142" y="165"/>
                  <a:pt x="142" y="165"/>
                  <a:pt x="142" y="165"/>
                </a:cubicBezTo>
                <a:cubicBezTo>
                  <a:pt x="143" y="166"/>
                  <a:pt x="143" y="166"/>
                  <a:pt x="143" y="166"/>
                </a:cubicBezTo>
                <a:cubicBezTo>
                  <a:pt x="144" y="166"/>
                  <a:pt x="144" y="166"/>
                  <a:pt x="144" y="166"/>
                </a:cubicBezTo>
                <a:cubicBezTo>
                  <a:pt x="144" y="164"/>
                  <a:pt x="144" y="164"/>
                  <a:pt x="144" y="164"/>
                </a:cubicBezTo>
                <a:cubicBezTo>
                  <a:pt x="144" y="163"/>
                  <a:pt x="144" y="163"/>
                  <a:pt x="144" y="163"/>
                </a:cubicBezTo>
                <a:cubicBezTo>
                  <a:pt x="145" y="162"/>
                  <a:pt x="145" y="162"/>
                  <a:pt x="145" y="162"/>
                </a:cubicBezTo>
                <a:cubicBezTo>
                  <a:pt x="144" y="161"/>
                  <a:pt x="144" y="161"/>
                  <a:pt x="144" y="161"/>
                </a:cubicBezTo>
                <a:cubicBezTo>
                  <a:pt x="145" y="160"/>
                  <a:pt x="145" y="160"/>
                  <a:pt x="145" y="160"/>
                </a:cubicBezTo>
                <a:cubicBezTo>
                  <a:pt x="147" y="159"/>
                  <a:pt x="147" y="159"/>
                  <a:pt x="147" y="159"/>
                </a:cubicBezTo>
                <a:cubicBezTo>
                  <a:pt x="147" y="160"/>
                  <a:pt x="147" y="160"/>
                  <a:pt x="147" y="160"/>
                </a:cubicBezTo>
                <a:cubicBezTo>
                  <a:pt x="147" y="165"/>
                  <a:pt x="147" y="165"/>
                  <a:pt x="147" y="165"/>
                </a:cubicBezTo>
                <a:cubicBezTo>
                  <a:pt x="146" y="167"/>
                  <a:pt x="146" y="167"/>
                  <a:pt x="146" y="167"/>
                </a:cubicBezTo>
                <a:cubicBezTo>
                  <a:pt x="147" y="171"/>
                  <a:pt x="147" y="171"/>
                  <a:pt x="147" y="171"/>
                </a:cubicBezTo>
                <a:cubicBezTo>
                  <a:pt x="145" y="173"/>
                  <a:pt x="145" y="173"/>
                  <a:pt x="145" y="173"/>
                </a:cubicBezTo>
                <a:cubicBezTo>
                  <a:pt x="145" y="178"/>
                  <a:pt x="145" y="178"/>
                  <a:pt x="145" y="178"/>
                </a:cubicBezTo>
                <a:cubicBezTo>
                  <a:pt x="146" y="180"/>
                  <a:pt x="146" y="180"/>
                  <a:pt x="146" y="180"/>
                </a:cubicBezTo>
                <a:cubicBezTo>
                  <a:pt x="147" y="180"/>
                  <a:pt x="147" y="180"/>
                  <a:pt x="147" y="180"/>
                </a:cubicBezTo>
                <a:cubicBezTo>
                  <a:pt x="148" y="182"/>
                  <a:pt x="148" y="182"/>
                  <a:pt x="148" y="182"/>
                </a:cubicBezTo>
                <a:cubicBezTo>
                  <a:pt x="150" y="181"/>
                  <a:pt x="150" y="181"/>
                  <a:pt x="150" y="181"/>
                </a:cubicBezTo>
                <a:cubicBezTo>
                  <a:pt x="149" y="180"/>
                  <a:pt x="149" y="180"/>
                  <a:pt x="149" y="180"/>
                </a:cubicBezTo>
                <a:cubicBezTo>
                  <a:pt x="148" y="180"/>
                  <a:pt x="148" y="180"/>
                  <a:pt x="148" y="180"/>
                </a:cubicBezTo>
                <a:cubicBezTo>
                  <a:pt x="148" y="179"/>
                  <a:pt x="148" y="179"/>
                  <a:pt x="148" y="179"/>
                </a:cubicBezTo>
                <a:cubicBezTo>
                  <a:pt x="149" y="179"/>
                  <a:pt x="149" y="179"/>
                  <a:pt x="149" y="179"/>
                </a:cubicBezTo>
                <a:cubicBezTo>
                  <a:pt x="150" y="179"/>
                  <a:pt x="150" y="179"/>
                  <a:pt x="150" y="179"/>
                </a:cubicBezTo>
                <a:cubicBezTo>
                  <a:pt x="151" y="178"/>
                  <a:pt x="151" y="178"/>
                  <a:pt x="151" y="178"/>
                </a:cubicBezTo>
                <a:cubicBezTo>
                  <a:pt x="150" y="178"/>
                  <a:pt x="150" y="178"/>
                  <a:pt x="150" y="178"/>
                </a:cubicBezTo>
                <a:cubicBezTo>
                  <a:pt x="151" y="176"/>
                  <a:pt x="151" y="176"/>
                  <a:pt x="151" y="176"/>
                </a:cubicBezTo>
                <a:cubicBezTo>
                  <a:pt x="153" y="177"/>
                  <a:pt x="153" y="177"/>
                  <a:pt x="153" y="177"/>
                </a:cubicBezTo>
                <a:cubicBezTo>
                  <a:pt x="153" y="178"/>
                  <a:pt x="153" y="178"/>
                  <a:pt x="153" y="178"/>
                </a:cubicBezTo>
                <a:cubicBezTo>
                  <a:pt x="154" y="177"/>
                  <a:pt x="154" y="177"/>
                  <a:pt x="154" y="177"/>
                </a:cubicBezTo>
                <a:cubicBezTo>
                  <a:pt x="153" y="174"/>
                  <a:pt x="153" y="174"/>
                  <a:pt x="153" y="174"/>
                </a:cubicBezTo>
                <a:cubicBezTo>
                  <a:pt x="154" y="174"/>
                  <a:pt x="154" y="174"/>
                  <a:pt x="154" y="174"/>
                </a:cubicBezTo>
                <a:cubicBezTo>
                  <a:pt x="156" y="173"/>
                  <a:pt x="156" y="173"/>
                  <a:pt x="156" y="173"/>
                </a:cubicBezTo>
                <a:cubicBezTo>
                  <a:pt x="156" y="172"/>
                  <a:pt x="156" y="172"/>
                  <a:pt x="156" y="172"/>
                </a:cubicBezTo>
                <a:cubicBezTo>
                  <a:pt x="158" y="172"/>
                  <a:pt x="158" y="172"/>
                  <a:pt x="158" y="172"/>
                </a:cubicBezTo>
                <a:cubicBezTo>
                  <a:pt x="158" y="173"/>
                  <a:pt x="158" y="173"/>
                  <a:pt x="158" y="173"/>
                </a:cubicBezTo>
                <a:cubicBezTo>
                  <a:pt x="158" y="174"/>
                  <a:pt x="158" y="174"/>
                  <a:pt x="158" y="174"/>
                </a:cubicBezTo>
                <a:cubicBezTo>
                  <a:pt x="157" y="175"/>
                  <a:pt x="157" y="175"/>
                  <a:pt x="157" y="175"/>
                </a:cubicBezTo>
                <a:cubicBezTo>
                  <a:pt x="157" y="176"/>
                  <a:pt x="157" y="176"/>
                  <a:pt x="157" y="176"/>
                </a:cubicBezTo>
                <a:cubicBezTo>
                  <a:pt x="156" y="177"/>
                  <a:pt x="156" y="177"/>
                  <a:pt x="156" y="177"/>
                </a:cubicBezTo>
                <a:cubicBezTo>
                  <a:pt x="156" y="178"/>
                  <a:pt x="156" y="178"/>
                  <a:pt x="156" y="178"/>
                </a:cubicBezTo>
                <a:cubicBezTo>
                  <a:pt x="156" y="178"/>
                  <a:pt x="156" y="178"/>
                  <a:pt x="156" y="178"/>
                </a:cubicBezTo>
                <a:cubicBezTo>
                  <a:pt x="157" y="178"/>
                  <a:pt x="157" y="178"/>
                  <a:pt x="157" y="178"/>
                </a:cubicBezTo>
                <a:cubicBezTo>
                  <a:pt x="157" y="178"/>
                  <a:pt x="157" y="178"/>
                  <a:pt x="157" y="178"/>
                </a:cubicBezTo>
                <a:cubicBezTo>
                  <a:pt x="157" y="179"/>
                  <a:pt x="157" y="179"/>
                  <a:pt x="157" y="179"/>
                </a:cubicBezTo>
                <a:cubicBezTo>
                  <a:pt x="156" y="179"/>
                  <a:pt x="156" y="179"/>
                  <a:pt x="156" y="179"/>
                </a:cubicBezTo>
                <a:cubicBezTo>
                  <a:pt x="155" y="181"/>
                  <a:pt x="155" y="181"/>
                  <a:pt x="155" y="181"/>
                </a:cubicBezTo>
                <a:cubicBezTo>
                  <a:pt x="154" y="180"/>
                  <a:pt x="154" y="180"/>
                  <a:pt x="154" y="180"/>
                </a:cubicBezTo>
                <a:cubicBezTo>
                  <a:pt x="154" y="181"/>
                  <a:pt x="154" y="181"/>
                  <a:pt x="154" y="181"/>
                </a:cubicBezTo>
                <a:cubicBezTo>
                  <a:pt x="153" y="182"/>
                  <a:pt x="153" y="182"/>
                  <a:pt x="153" y="182"/>
                </a:cubicBezTo>
                <a:cubicBezTo>
                  <a:pt x="154" y="183"/>
                  <a:pt x="154" y="183"/>
                  <a:pt x="154" y="183"/>
                </a:cubicBezTo>
                <a:cubicBezTo>
                  <a:pt x="155" y="183"/>
                  <a:pt x="155" y="183"/>
                  <a:pt x="155" y="183"/>
                </a:cubicBezTo>
                <a:cubicBezTo>
                  <a:pt x="156" y="184"/>
                  <a:pt x="156" y="184"/>
                  <a:pt x="156" y="184"/>
                </a:cubicBezTo>
                <a:cubicBezTo>
                  <a:pt x="157" y="184"/>
                  <a:pt x="157" y="184"/>
                  <a:pt x="157" y="184"/>
                </a:cubicBezTo>
                <a:cubicBezTo>
                  <a:pt x="159" y="183"/>
                  <a:pt x="159" y="183"/>
                  <a:pt x="159" y="183"/>
                </a:cubicBezTo>
                <a:cubicBezTo>
                  <a:pt x="160" y="183"/>
                  <a:pt x="160" y="183"/>
                  <a:pt x="160" y="183"/>
                </a:cubicBezTo>
                <a:cubicBezTo>
                  <a:pt x="161" y="180"/>
                  <a:pt x="161" y="180"/>
                  <a:pt x="161" y="180"/>
                </a:cubicBezTo>
                <a:cubicBezTo>
                  <a:pt x="163" y="179"/>
                  <a:pt x="163" y="179"/>
                  <a:pt x="163" y="179"/>
                </a:cubicBezTo>
                <a:cubicBezTo>
                  <a:pt x="164" y="178"/>
                  <a:pt x="164" y="178"/>
                  <a:pt x="164" y="178"/>
                </a:cubicBezTo>
                <a:cubicBezTo>
                  <a:pt x="165" y="179"/>
                  <a:pt x="165" y="179"/>
                  <a:pt x="165" y="179"/>
                </a:cubicBezTo>
                <a:cubicBezTo>
                  <a:pt x="166" y="179"/>
                  <a:pt x="166" y="179"/>
                  <a:pt x="166" y="179"/>
                </a:cubicBezTo>
                <a:cubicBezTo>
                  <a:pt x="167" y="180"/>
                  <a:pt x="167" y="180"/>
                  <a:pt x="167" y="180"/>
                </a:cubicBezTo>
                <a:cubicBezTo>
                  <a:pt x="168" y="180"/>
                  <a:pt x="168" y="180"/>
                  <a:pt x="168" y="180"/>
                </a:cubicBezTo>
                <a:cubicBezTo>
                  <a:pt x="170" y="181"/>
                  <a:pt x="170" y="181"/>
                  <a:pt x="170" y="181"/>
                </a:cubicBezTo>
                <a:cubicBezTo>
                  <a:pt x="171" y="181"/>
                  <a:pt x="171" y="181"/>
                  <a:pt x="171" y="181"/>
                </a:cubicBezTo>
                <a:cubicBezTo>
                  <a:pt x="171" y="183"/>
                  <a:pt x="171" y="183"/>
                  <a:pt x="171" y="183"/>
                </a:cubicBezTo>
                <a:cubicBezTo>
                  <a:pt x="172" y="186"/>
                  <a:pt x="172" y="186"/>
                  <a:pt x="172" y="186"/>
                </a:cubicBezTo>
                <a:cubicBezTo>
                  <a:pt x="172" y="187"/>
                  <a:pt x="172" y="187"/>
                  <a:pt x="172" y="187"/>
                </a:cubicBezTo>
                <a:cubicBezTo>
                  <a:pt x="173" y="189"/>
                  <a:pt x="173" y="189"/>
                  <a:pt x="173" y="189"/>
                </a:cubicBezTo>
                <a:cubicBezTo>
                  <a:pt x="178" y="193"/>
                  <a:pt x="178" y="193"/>
                  <a:pt x="178" y="193"/>
                </a:cubicBezTo>
                <a:cubicBezTo>
                  <a:pt x="179" y="194"/>
                  <a:pt x="179" y="194"/>
                  <a:pt x="179" y="194"/>
                </a:cubicBezTo>
                <a:cubicBezTo>
                  <a:pt x="180" y="195"/>
                  <a:pt x="180" y="195"/>
                  <a:pt x="180" y="195"/>
                </a:cubicBezTo>
                <a:cubicBezTo>
                  <a:pt x="182" y="197"/>
                  <a:pt x="182" y="197"/>
                  <a:pt x="182" y="197"/>
                </a:cubicBezTo>
                <a:cubicBezTo>
                  <a:pt x="183" y="197"/>
                  <a:pt x="183" y="197"/>
                  <a:pt x="183" y="197"/>
                </a:cubicBezTo>
                <a:cubicBezTo>
                  <a:pt x="184" y="197"/>
                  <a:pt x="184" y="197"/>
                  <a:pt x="184" y="197"/>
                </a:cubicBezTo>
                <a:cubicBezTo>
                  <a:pt x="185" y="199"/>
                  <a:pt x="185" y="199"/>
                  <a:pt x="185" y="199"/>
                </a:cubicBezTo>
                <a:cubicBezTo>
                  <a:pt x="185" y="199"/>
                  <a:pt x="185" y="199"/>
                  <a:pt x="185" y="199"/>
                </a:cubicBezTo>
                <a:cubicBezTo>
                  <a:pt x="186" y="198"/>
                  <a:pt x="186" y="198"/>
                  <a:pt x="186" y="198"/>
                </a:cubicBezTo>
                <a:cubicBezTo>
                  <a:pt x="186" y="199"/>
                  <a:pt x="186" y="199"/>
                  <a:pt x="186" y="199"/>
                </a:cubicBezTo>
                <a:cubicBezTo>
                  <a:pt x="188" y="200"/>
                  <a:pt x="188" y="200"/>
                  <a:pt x="188" y="200"/>
                </a:cubicBezTo>
                <a:cubicBezTo>
                  <a:pt x="189" y="200"/>
                  <a:pt x="189" y="200"/>
                  <a:pt x="189" y="200"/>
                </a:cubicBezTo>
                <a:cubicBezTo>
                  <a:pt x="189" y="202"/>
                  <a:pt x="189" y="202"/>
                  <a:pt x="189" y="202"/>
                </a:cubicBezTo>
                <a:cubicBezTo>
                  <a:pt x="190" y="203"/>
                  <a:pt x="190" y="203"/>
                  <a:pt x="190" y="203"/>
                </a:cubicBezTo>
                <a:cubicBezTo>
                  <a:pt x="191" y="202"/>
                  <a:pt x="191" y="202"/>
                  <a:pt x="191" y="202"/>
                </a:cubicBezTo>
                <a:cubicBezTo>
                  <a:pt x="190" y="201"/>
                  <a:pt x="190" y="201"/>
                  <a:pt x="190" y="201"/>
                </a:cubicBezTo>
                <a:cubicBezTo>
                  <a:pt x="190" y="200"/>
                  <a:pt x="190" y="200"/>
                  <a:pt x="190" y="200"/>
                </a:cubicBezTo>
                <a:cubicBezTo>
                  <a:pt x="189" y="199"/>
                  <a:pt x="189" y="199"/>
                  <a:pt x="189" y="199"/>
                </a:cubicBezTo>
                <a:cubicBezTo>
                  <a:pt x="189" y="199"/>
                  <a:pt x="189" y="199"/>
                  <a:pt x="189" y="199"/>
                </a:cubicBezTo>
                <a:cubicBezTo>
                  <a:pt x="191" y="200"/>
                  <a:pt x="191" y="200"/>
                  <a:pt x="191" y="200"/>
                </a:cubicBezTo>
                <a:cubicBezTo>
                  <a:pt x="191" y="200"/>
                  <a:pt x="191" y="200"/>
                  <a:pt x="191" y="200"/>
                </a:cubicBezTo>
                <a:cubicBezTo>
                  <a:pt x="192" y="200"/>
                  <a:pt x="192" y="200"/>
                  <a:pt x="192" y="200"/>
                </a:cubicBezTo>
                <a:cubicBezTo>
                  <a:pt x="192" y="199"/>
                  <a:pt x="192" y="199"/>
                  <a:pt x="192" y="199"/>
                </a:cubicBezTo>
                <a:cubicBezTo>
                  <a:pt x="193" y="199"/>
                  <a:pt x="193" y="199"/>
                  <a:pt x="193" y="199"/>
                </a:cubicBezTo>
                <a:cubicBezTo>
                  <a:pt x="195" y="201"/>
                  <a:pt x="195" y="201"/>
                  <a:pt x="195" y="201"/>
                </a:cubicBezTo>
                <a:cubicBezTo>
                  <a:pt x="195" y="202"/>
                  <a:pt x="195" y="202"/>
                  <a:pt x="195" y="202"/>
                </a:cubicBezTo>
                <a:cubicBezTo>
                  <a:pt x="196" y="202"/>
                  <a:pt x="196" y="202"/>
                  <a:pt x="196" y="202"/>
                </a:cubicBezTo>
                <a:cubicBezTo>
                  <a:pt x="196" y="204"/>
                  <a:pt x="196" y="204"/>
                  <a:pt x="196" y="204"/>
                </a:cubicBezTo>
                <a:cubicBezTo>
                  <a:pt x="197" y="205"/>
                  <a:pt x="197" y="205"/>
                  <a:pt x="197" y="205"/>
                </a:cubicBezTo>
                <a:cubicBezTo>
                  <a:pt x="197" y="206"/>
                  <a:pt x="197" y="206"/>
                  <a:pt x="197" y="206"/>
                </a:cubicBezTo>
                <a:cubicBezTo>
                  <a:pt x="198" y="208"/>
                  <a:pt x="198" y="208"/>
                  <a:pt x="198" y="208"/>
                </a:cubicBezTo>
                <a:cubicBezTo>
                  <a:pt x="197" y="209"/>
                  <a:pt x="197" y="209"/>
                  <a:pt x="197" y="209"/>
                </a:cubicBezTo>
                <a:cubicBezTo>
                  <a:pt x="197" y="210"/>
                  <a:pt x="197" y="210"/>
                  <a:pt x="197" y="210"/>
                </a:cubicBezTo>
                <a:cubicBezTo>
                  <a:pt x="196" y="212"/>
                  <a:pt x="196" y="212"/>
                  <a:pt x="196" y="212"/>
                </a:cubicBezTo>
                <a:cubicBezTo>
                  <a:pt x="193" y="211"/>
                  <a:pt x="193" y="211"/>
                  <a:pt x="193" y="211"/>
                </a:cubicBezTo>
                <a:cubicBezTo>
                  <a:pt x="192" y="211"/>
                  <a:pt x="192" y="211"/>
                  <a:pt x="192" y="211"/>
                </a:cubicBezTo>
                <a:cubicBezTo>
                  <a:pt x="192" y="211"/>
                  <a:pt x="192" y="211"/>
                  <a:pt x="192" y="211"/>
                </a:cubicBezTo>
                <a:cubicBezTo>
                  <a:pt x="191" y="212"/>
                  <a:pt x="191" y="212"/>
                  <a:pt x="191" y="212"/>
                </a:cubicBezTo>
                <a:cubicBezTo>
                  <a:pt x="189" y="211"/>
                  <a:pt x="189" y="211"/>
                  <a:pt x="189" y="211"/>
                </a:cubicBezTo>
                <a:cubicBezTo>
                  <a:pt x="188" y="211"/>
                  <a:pt x="188" y="211"/>
                  <a:pt x="188" y="211"/>
                </a:cubicBezTo>
                <a:cubicBezTo>
                  <a:pt x="189" y="212"/>
                  <a:pt x="189" y="212"/>
                  <a:pt x="189" y="212"/>
                </a:cubicBezTo>
                <a:cubicBezTo>
                  <a:pt x="188" y="213"/>
                  <a:pt x="188" y="213"/>
                  <a:pt x="188" y="213"/>
                </a:cubicBezTo>
                <a:cubicBezTo>
                  <a:pt x="188" y="214"/>
                  <a:pt x="188" y="214"/>
                  <a:pt x="188" y="214"/>
                </a:cubicBezTo>
                <a:cubicBezTo>
                  <a:pt x="186" y="214"/>
                  <a:pt x="186" y="214"/>
                  <a:pt x="186" y="214"/>
                </a:cubicBezTo>
                <a:cubicBezTo>
                  <a:pt x="185" y="214"/>
                  <a:pt x="185" y="214"/>
                  <a:pt x="185" y="214"/>
                </a:cubicBezTo>
                <a:cubicBezTo>
                  <a:pt x="186" y="215"/>
                  <a:pt x="186" y="215"/>
                  <a:pt x="186" y="215"/>
                </a:cubicBezTo>
                <a:cubicBezTo>
                  <a:pt x="187" y="215"/>
                  <a:pt x="187" y="215"/>
                  <a:pt x="187" y="215"/>
                </a:cubicBezTo>
                <a:cubicBezTo>
                  <a:pt x="187" y="217"/>
                  <a:pt x="187" y="217"/>
                  <a:pt x="187" y="217"/>
                </a:cubicBezTo>
                <a:cubicBezTo>
                  <a:pt x="188" y="218"/>
                  <a:pt x="188" y="218"/>
                  <a:pt x="188" y="218"/>
                </a:cubicBezTo>
                <a:cubicBezTo>
                  <a:pt x="189" y="217"/>
                  <a:pt x="189" y="217"/>
                  <a:pt x="189" y="217"/>
                </a:cubicBezTo>
                <a:cubicBezTo>
                  <a:pt x="190" y="218"/>
                  <a:pt x="190" y="218"/>
                  <a:pt x="190" y="218"/>
                </a:cubicBezTo>
                <a:cubicBezTo>
                  <a:pt x="190" y="219"/>
                  <a:pt x="190" y="219"/>
                  <a:pt x="190" y="219"/>
                </a:cubicBezTo>
                <a:cubicBezTo>
                  <a:pt x="192" y="219"/>
                  <a:pt x="192" y="219"/>
                  <a:pt x="192" y="219"/>
                </a:cubicBezTo>
                <a:cubicBezTo>
                  <a:pt x="194" y="220"/>
                  <a:pt x="194" y="220"/>
                  <a:pt x="194" y="220"/>
                </a:cubicBezTo>
                <a:cubicBezTo>
                  <a:pt x="196" y="221"/>
                  <a:pt x="196" y="221"/>
                  <a:pt x="196" y="221"/>
                </a:cubicBezTo>
                <a:cubicBezTo>
                  <a:pt x="199" y="222"/>
                  <a:pt x="199" y="222"/>
                  <a:pt x="199" y="222"/>
                </a:cubicBezTo>
                <a:cubicBezTo>
                  <a:pt x="200" y="222"/>
                  <a:pt x="200" y="222"/>
                  <a:pt x="200" y="222"/>
                </a:cubicBezTo>
                <a:cubicBezTo>
                  <a:pt x="200" y="221"/>
                  <a:pt x="200" y="221"/>
                  <a:pt x="200" y="221"/>
                </a:cubicBezTo>
                <a:cubicBezTo>
                  <a:pt x="201" y="221"/>
                  <a:pt x="201" y="221"/>
                  <a:pt x="201" y="221"/>
                </a:cubicBezTo>
                <a:cubicBezTo>
                  <a:pt x="202" y="222"/>
                  <a:pt x="202" y="222"/>
                  <a:pt x="202" y="222"/>
                </a:cubicBezTo>
                <a:cubicBezTo>
                  <a:pt x="202" y="223"/>
                  <a:pt x="202" y="223"/>
                  <a:pt x="202" y="223"/>
                </a:cubicBezTo>
                <a:cubicBezTo>
                  <a:pt x="204" y="221"/>
                  <a:pt x="204" y="221"/>
                  <a:pt x="204" y="221"/>
                </a:cubicBezTo>
                <a:cubicBezTo>
                  <a:pt x="205" y="222"/>
                  <a:pt x="205" y="222"/>
                  <a:pt x="205" y="222"/>
                </a:cubicBezTo>
                <a:cubicBezTo>
                  <a:pt x="205" y="222"/>
                  <a:pt x="205" y="222"/>
                  <a:pt x="205" y="222"/>
                </a:cubicBezTo>
                <a:cubicBezTo>
                  <a:pt x="206" y="221"/>
                  <a:pt x="206" y="221"/>
                  <a:pt x="206" y="221"/>
                </a:cubicBezTo>
                <a:cubicBezTo>
                  <a:pt x="207" y="221"/>
                  <a:pt x="207" y="221"/>
                  <a:pt x="207" y="221"/>
                </a:cubicBezTo>
                <a:cubicBezTo>
                  <a:pt x="207" y="222"/>
                  <a:pt x="207" y="222"/>
                  <a:pt x="207" y="222"/>
                </a:cubicBezTo>
                <a:cubicBezTo>
                  <a:pt x="207" y="222"/>
                  <a:pt x="207" y="222"/>
                  <a:pt x="207" y="222"/>
                </a:cubicBezTo>
                <a:cubicBezTo>
                  <a:pt x="209" y="221"/>
                  <a:pt x="209" y="221"/>
                  <a:pt x="209" y="221"/>
                </a:cubicBezTo>
                <a:cubicBezTo>
                  <a:pt x="213" y="220"/>
                  <a:pt x="213" y="220"/>
                  <a:pt x="213" y="220"/>
                </a:cubicBezTo>
                <a:cubicBezTo>
                  <a:pt x="214" y="219"/>
                  <a:pt x="214" y="219"/>
                  <a:pt x="214" y="219"/>
                </a:cubicBezTo>
                <a:cubicBezTo>
                  <a:pt x="214" y="220"/>
                  <a:pt x="214" y="220"/>
                  <a:pt x="214" y="220"/>
                </a:cubicBezTo>
                <a:cubicBezTo>
                  <a:pt x="213" y="221"/>
                  <a:pt x="213" y="221"/>
                  <a:pt x="213" y="221"/>
                </a:cubicBezTo>
                <a:cubicBezTo>
                  <a:pt x="213" y="222"/>
                  <a:pt x="213" y="222"/>
                  <a:pt x="213" y="222"/>
                </a:cubicBezTo>
                <a:cubicBezTo>
                  <a:pt x="214" y="222"/>
                  <a:pt x="214" y="222"/>
                  <a:pt x="214" y="222"/>
                </a:cubicBezTo>
                <a:cubicBezTo>
                  <a:pt x="214" y="223"/>
                  <a:pt x="214" y="223"/>
                  <a:pt x="214" y="223"/>
                </a:cubicBezTo>
                <a:cubicBezTo>
                  <a:pt x="214" y="224"/>
                  <a:pt x="214" y="224"/>
                  <a:pt x="214" y="224"/>
                </a:cubicBezTo>
                <a:cubicBezTo>
                  <a:pt x="214" y="225"/>
                  <a:pt x="214" y="225"/>
                  <a:pt x="214" y="225"/>
                </a:cubicBezTo>
                <a:cubicBezTo>
                  <a:pt x="215" y="225"/>
                  <a:pt x="215" y="225"/>
                  <a:pt x="215" y="225"/>
                </a:cubicBezTo>
                <a:cubicBezTo>
                  <a:pt x="215" y="224"/>
                  <a:pt x="215" y="224"/>
                  <a:pt x="215" y="224"/>
                </a:cubicBezTo>
                <a:cubicBezTo>
                  <a:pt x="216" y="225"/>
                  <a:pt x="216" y="225"/>
                  <a:pt x="216" y="225"/>
                </a:cubicBezTo>
                <a:cubicBezTo>
                  <a:pt x="216" y="226"/>
                  <a:pt x="216" y="226"/>
                  <a:pt x="216" y="226"/>
                </a:cubicBezTo>
                <a:cubicBezTo>
                  <a:pt x="215" y="228"/>
                  <a:pt x="215" y="228"/>
                  <a:pt x="215" y="228"/>
                </a:cubicBezTo>
                <a:cubicBezTo>
                  <a:pt x="215" y="229"/>
                  <a:pt x="215" y="229"/>
                  <a:pt x="215" y="229"/>
                </a:cubicBezTo>
                <a:cubicBezTo>
                  <a:pt x="216" y="229"/>
                  <a:pt x="216" y="229"/>
                  <a:pt x="216" y="229"/>
                </a:cubicBezTo>
                <a:cubicBezTo>
                  <a:pt x="217" y="228"/>
                  <a:pt x="217" y="228"/>
                  <a:pt x="217" y="228"/>
                </a:cubicBezTo>
                <a:cubicBezTo>
                  <a:pt x="217" y="227"/>
                  <a:pt x="217" y="227"/>
                  <a:pt x="217" y="227"/>
                </a:cubicBezTo>
                <a:cubicBezTo>
                  <a:pt x="217" y="226"/>
                  <a:pt x="217" y="226"/>
                  <a:pt x="217" y="226"/>
                </a:cubicBezTo>
                <a:cubicBezTo>
                  <a:pt x="218" y="226"/>
                  <a:pt x="218" y="226"/>
                  <a:pt x="218" y="226"/>
                </a:cubicBezTo>
                <a:cubicBezTo>
                  <a:pt x="218" y="228"/>
                  <a:pt x="218" y="228"/>
                  <a:pt x="218" y="228"/>
                </a:cubicBezTo>
                <a:cubicBezTo>
                  <a:pt x="217" y="230"/>
                  <a:pt x="217" y="230"/>
                  <a:pt x="217" y="230"/>
                </a:cubicBezTo>
                <a:cubicBezTo>
                  <a:pt x="216" y="231"/>
                  <a:pt x="216" y="231"/>
                  <a:pt x="216" y="231"/>
                </a:cubicBezTo>
                <a:cubicBezTo>
                  <a:pt x="216" y="233"/>
                  <a:pt x="216" y="233"/>
                  <a:pt x="216" y="233"/>
                </a:cubicBezTo>
                <a:cubicBezTo>
                  <a:pt x="217" y="235"/>
                  <a:pt x="217" y="235"/>
                  <a:pt x="217" y="235"/>
                </a:cubicBezTo>
                <a:cubicBezTo>
                  <a:pt x="217" y="237"/>
                  <a:pt x="217" y="237"/>
                  <a:pt x="217" y="237"/>
                </a:cubicBezTo>
                <a:cubicBezTo>
                  <a:pt x="216" y="239"/>
                  <a:pt x="216" y="239"/>
                  <a:pt x="216" y="239"/>
                </a:cubicBezTo>
                <a:cubicBezTo>
                  <a:pt x="217" y="239"/>
                  <a:pt x="217" y="239"/>
                  <a:pt x="217" y="239"/>
                </a:cubicBezTo>
                <a:cubicBezTo>
                  <a:pt x="217" y="240"/>
                  <a:pt x="217" y="240"/>
                  <a:pt x="217" y="240"/>
                </a:cubicBezTo>
                <a:cubicBezTo>
                  <a:pt x="217" y="241"/>
                  <a:pt x="217" y="241"/>
                  <a:pt x="217" y="241"/>
                </a:cubicBezTo>
                <a:cubicBezTo>
                  <a:pt x="217" y="242"/>
                  <a:pt x="217" y="242"/>
                  <a:pt x="217" y="242"/>
                </a:cubicBezTo>
                <a:cubicBezTo>
                  <a:pt x="218" y="244"/>
                  <a:pt x="218" y="244"/>
                  <a:pt x="218" y="244"/>
                </a:cubicBezTo>
                <a:cubicBezTo>
                  <a:pt x="218" y="248"/>
                  <a:pt x="218" y="248"/>
                  <a:pt x="218" y="248"/>
                </a:cubicBezTo>
                <a:cubicBezTo>
                  <a:pt x="218" y="244"/>
                  <a:pt x="218" y="244"/>
                  <a:pt x="218" y="244"/>
                </a:cubicBezTo>
                <a:cubicBezTo>
                  <a:pt x="218" y="241"/>
                  <a:pt x="218" y="241"/>
                  <a:pt x="218" y="241"/>
                </a:cubicBezTo>
                <a:cubicBezTo>
                  <a:pt x="218" y="238"/>
                  <a:pt x="218" y="238"/>
                  <a:pt x="218" y="238"/>
                </a:cubicBezTo>
                <a:cubicBezTo>
                  <a:pt x="220" y="235"/>
                  <a:pt x="220" y="235"/>
                  <a:pt x="220" y="235"/>
                </a:cubicBezTo>
                <a:cubicBezTo>
                  <a:pt x="220" y="235"/>
                  <a:pt x="220" y="235"/>
                  <a:pt x="220" y="235"/>
                </a:cubicBezTo>
                <a:cubicBezTo>
                  <a:pt x="220" y="237"/>
                  <a:pt x="220" y="237"/>
                  <a:pt x="220" y="237"/>
                </a:cubicBezTo>
                <a:cubicBezTo>
                  <a:pt x="220" y="237"/>
                  <a:pt x="220" y="237"/>
                  <a:pt x="220" y="237"/>
                </a:cubicBezTo>
                <a:cubicBezTo>
                  <a:pt x="220" y="238"/>
                  <a:pt x="220" y="238"/>
                  <a:pt x="220" y="238"/>
                </a:cubicBezTo>
                <a:cubicBezTo>
                  <a:pt x="220" y="238"/>
                  <a:pt x="220" y="238"/>
                  <a:pt x="220" y="238"/>
                </a:cubicBezTo>
                <a:cubicBezTo>
                  <a:pt x="221" y="237"/>
                  <a:pt x="221" y="237"/>
                  <a:pt x="221" y="237"/>
                </a:cubicBezTo>
                <a:cubicBezTo>
                  <a:pt x="221" y="238"/>
                  <a:pt x="221" y="238"/>
                  <a:pt x="221" y="238"/>
                </a:cubicBezTo>
                <a:cubicBezTo>
                  <a:pt x="222" y="237"/>
                  <a:pt x="222" y="237"/>
                  <a:pt x="222" y="237"/>
                </a:cubicBezTo>
                <a:cubicBezTo>
                  <a:pt x="222" y="236"/>
                  <a:pt x="222" y="236"/>
                  <a:pt x="222" y="236"/>
                </a:cubicBezTo>
                <a:cubicBezTo>
                  <a:pt x="221" y="235"/>
                  <a:pt x="221" y="235"/>
                  <a:pt x="221" y="235"/>
                </a:cubicBezTo>
                <a:cubicBezTo>
                  <a:pt x="221" y="234"/>
                  <a:pt x="221" y="234"/>
                  <a:pt x="221" y="234"/>
                </a:cubicBezTo>
                <a:cubicBezTo>
                  <a:pt x="222" y="234"/>
                  <a:pt x="222" y="234"/>
                  <a:pt x="222" y="234"/>
                </a:cubicBezTo>
                <a:cubicBezTo>
                  <a:pt x="223" y="233"/>
                  <a:pt x="223" y="233"/>
                  <a:pt x="223" y="233"/>
                </a:cubicBezTo>
                <a:cubicBezTo>
                  <a:pt x="222" y="232"/>
                  <a:pt x="222" y="232"/>
                  <a:pt x="222" y="232"/>
                </a:cubicBezTo>
                <a:cubicBezTo>
                  <a:pt x="222" y="232"/>
                  <a:pt x="222" y="232"/>
                  <a:pt x="222" y="232"/>
                </a:cubicBezTo>
                <a:cubicBezTo>
                  <a:pt x="222" y="229"/>
                  <a:pt x="222" y="229"/>
                  <a:pt x="222" y="229"/>
                </a:cubicBezTo>
                <a:cubicBezTo>
                  <a:pt x="223" y="226"/>
                  <a:pt x="223" y="226"/>
                  <a:pt x="223" y="226"/>
                </a:cubicBezTo>
                <a:cubicBezTo>
                  <a:pt x="223" y="225"/>
                  <a:pt x="223" y="225"/>
                  <a:pt x="223" y="225"/>
                </a:cubicBezTo>
                <a:cubicBezTo>
                  <a:pt x="223" y="224"/>
                  <a:pt x="223" y="224"/>
                  <a:pt x="223" y="224"/>
                </a:cubicBezTo>
                <a:cubicBezTo>
                  <a:pt x="224" y="223"/>
                  <a:pt x="224" y="223"/>
                  <a:pt x="224" y="223"/>
                </a:cubicBezTo>
                <a:cubicBezTo>
                  <a:pt x="226" y="223"/>
                  <a:pt x="226" y="223"/>
                  <a:pt x="226" y="223"/>
                </a:cubicBezTo>
                <a:cubicBezTo>
                  <a:pt x="226" y="223"/>
                  <a:pt x="226" y="223"/>
                  <a:pt x="226" y="223"/>
                </a:cubicBezTo>
                <a:cubicBezTo>
                  <a:pt x="226" y="222"/>
                  <a:pt x="226" y="222"/>
                  <a:pt x="226" y="222"/>
                </a:cubicBezTo>
                <a:cubicBezTo>
                  <a:pt x="227" y="222"/>
                  <a:pt x="227" y="222"/>
                  <a:pt x="227" y="222"/>
                </a:cubicBezTo>
                <a:cubicBezTo>
                  <a:pt x="228" y="223"/>
                  <a:pt x="228" y="223"/>
                  <a:pt x="228" y="223"/>
                </a:cubicBezTo>
                <a:cubicBezTo>
                  <a:pt x="229" y="222"/>
                  <a:pt x="229" y="222"/>
                  <a:pt x="229" y="222"/>
                </a:cubicBezTo>
                <a:cubicBezTo>
                  <a:pt x="229" y="221"/>
                  <a:pt x="229" y="221"/>
                  <a:pt x="229" y="221"/>
                </a:cubicBezTo>
                <a:cubicBezTo>
                  <a:pt x="230" y="221"/>
                  <a:pt x="230" y="221"/>
                  <a:pt x="230" y="221"/>
                </a:cubicBezTo>
                <a:cubicBezTo>
                  <a:pt x="230" y="222"/>
                  <a:pt x="230" y="222"/>
                  <a:pt x="230" y="222"/>
                </a:cubicBezTo>
                <a:cubicBezTo>
                  <a:pt x="231" y="222"/>
                  <a:pt x="231" y="222"/>
                  <a:pt x="231" y="222"/>
                </a:cubicBezTo>
                <a:cubicBezTo>
                  <a:pt x="232" y="221"/>
                  <a:pt x="232" y="221"/>
                  <a:pt x="232" y="221"/>
                </a:cubicBezTo>
                <a:cubicBezTo>
                  <a:pt x="233" y="220"/>
                  <a:pt x="233" y="220"/>
                  <a:pt x="233" y="220"/>
                </a:cubicBezTo>
                <a:cubicBezTo>
                  <a:pt x="233" y="220"/>
                  <a:pt x="233" y="220"/>
                  <a:pt x="233" y="220"/>
                </a:cubicBezTo>
                <a:cubicBezTo>
                  <a:pt x="234" y="221"/>
                  <a:pt x="234" y="221"/>
                  <a:pt x="234" y="221"/>
                </a:cubicBezTo>
                <a:cubicBezTo>
                  <a:pt x="234" y="221"/>
                  <a:pt x="234" y="221"/>
                  <a:pt x="234" y="221"/>
                </a:cubicBezTo>
                <a:cubicBezTo>
                  <a:pt x="235" y="223"/>
                  <a:pt x="235" y="223"/>
                  <a:pt x="235" y="223"/>
                </a:cubicBezTo>
                <a:cubicBezTo>
                  <a:pt x="235" y="221"/>
                  <a:pt x="235" y="221"/>
                  <a:pt x="235" y="221"/>
                </a:cubicBezTo>
                <a:cubicBezTo>
                  <a:pt x="234" y="220"/>
                  <a:pt x="234" y="220"/>
                  <a:pt x="234" y="220"/>
                </a:cubicBezTo>
                <a:cubicBezTo>
                  <a:pt x="235" y="218"/>
                  <a:pt x="235" y="218"/>
                  <a:pt x="235" y="218"/>
                </a:cubicBezTo>
                <a:cubicBezTo>
                  <a:pt x="236" y="218"/>
                  <a:pt x="236" y="218"/>
                  <a:pt x="236" y="218"/>
                </a:cubicBezTo>
                <a:cubicBezTo>
                  <a:pt x="237" y="218"/>
                  <a:pt x="237" y="218"/>
                  <a:pt x="237" y="218"/>
                </a:cubicBezTo>
                <a:cubicBezTo>
                  <a:pt x="238" y="218"/>
                  <a:pt x="238" y="218"/>
                  <a:pt x="238" y="218"/>
                </a:cubicBezTo>
                <a:cubicBezTo>
                  <a:pt x="238" y="218"/>
                  <a:pt x="238" y="218"/>
                  <a:pt x="238" y="218"/>
                </a:cubicBezTo>
                <a:cubicBezTo>
                  <a:pt x="239" y="218"/>
                  <a:pt x="239" y="218"/>
                  <a:pt x="239" y="218"/>
                </a:cubicBezTo>
                <a:cubicBezTo>
                  <a:pt x="240" y="217"/>
                  <a:pt x="240" y="217"/>
                  <a:pt x="240" y="217"/>
                </a:cubicBezTo>
                <a:cubicBezTo>
                  <a:pt x="240" y="216"/>
                  <a:pt x="240" y="216"/>
                  <a:pt x="240" y="216"/>
                </a:cubicBezTo>
                <a:cubicBezTo>
                  <a:pt x="241" y="215"/>
                  <a:pt x="241" y="215"/>
                  <a:pt x="241" y="215"/>
                </a:cubicBezTo>
                <a:cubicBezTo>
                  <a:pt x="240" y="215"/>
                  <a:pt x="240" y="215"/>
                  <a:pt x="240" y="215"/>
                </a:cubicBezTo>
                <a:cubicBezTo>
                  <a:pt x="240" y="215"/>
                  <a:pt x="240" y="215"/>
                  <a:pt x="240" y="215"/>
                </a:cubicBezTo>
                <a:cubicBezTo>
                  <a:pt x="239" y="215"/>
                  <a:pt x="239" y="215"/>
                  <a:pt x="239" y="215"/>
                </a:cubicBezTo>
                <a:cubicBezTo>
                  <a:pt x="236" y="216"/>
                  <a:pt x="236" y="216"/>
                  <a:pt x="236" y="216"/>
                </a:cubicBezTo>
                <a:cubicBezTo>
                  <a:pt x="235" y="216"/>
                  <a:pt x="235" y="216"/>
                  <a:pt x="235" y="216"/>
                </a:cubicBezTo>
                <a:cubicBezTo>
                  <a:pt x="235" y="217"/>
                  <a:pt x="235" y="217"/>
                  <a:pt x="235" y="217"/>
                </a:cubicBezTo>
                <a:cubicBezTo>
                  <a:pt x="234" y="217"/>
                  <a:pt x="234" y="217"/>
                  <a:pt x="234" y="217"/>
                </a:cubicBezTo>
                <a:cubicBezTo>
                  <a:pt x="234" y="217"/>
                  <a:pt x="234" y="217"/>
                  <a:pt x="234" y="217"/>
                </a:cubicBezTo>
                <a:cubicBezTo>
                  <a:pt x="234" y="218"/>
                  <a:pt x="234" y="218"/>
                  <a:pt x="234" y="218"/>
                </a:cubicBezTo>
                <a:cubicBezTo>
                  <a:pt x="233" y="217"/>
                  <a:pt x="233" y="217"/>
                  <a:pt x="233" y="217"/>
                </a:cubicBezTo>
                <a:cubicBezTo>
                  <a:pt x="233" y="216"/>
                  <a:pt x="233" y="216"/>
                  <a:pt x="233" y="216"/>
                </a:cubicBezTo>
                <a:cubicBezTo>
                  <a:pt x="232" y="216"/>
                  <a:pt x="232" y="216"/>
                  <a:pt x="232" y="216"/>
                </a:cubicBezTo>
                <a:cubicBezTo>
                  <a:pt x="232" y="217"/>
                  <a:pt x="232" y="217"/>
                  <a:pt x="232" y="217"/>
                </a:cubicBezTo>
                <a:cubicBezTo>
                  <a:pt x="231" y="218"/>
                  <a:pt x="231" y="218"/>
                  <a:pt x="231" y="218"/>
                </a:cubicBezTo>
                <a:cubicBezTo>
                  <a:pt x="230" y="217"/>
                  <a:pt x="230" y="217"/>
                  <a:pt x="230" y="217"/>
                </a:cubicBezTo>
                <a:cubicBezTo>
                  <a:pt x="229" y="217"/>
                  <a:pt x="229" y="217"/>
                  <a:pt x="229" y="217"/>
                </a:cubicBezTo>
                <a:cubicBezTo>
                  <a:pt x="229" y="216"/>
                  <a:pt x="229" y="216"/>
                  <a:pt x="229" y="216"/>
                </a:cubicBezTo>
                <a:cubicBezTo>
                  <a:pt x="228" y="217"/>
                  <a:pt x="228" y="217"/>
                  <a:pt x="228" y="217"/>
                </a:cubicBezTo>
                <a:cubicBezTo>
                  <a:pt x="228" y="217"/>
                  <a:pt x="228" y="217"/>
                  <a:pt x="228" y="217"/>
                </a:cubicBezTo>
                <a:cubicBezTo>
                  <a:pt x="228" y="218"/>
                  <a:pt x="228" y="218"/>
                  <a:pt x="228" y="218"/>
                </a:cubicBezTo>
                <a:cubicBezTo>
                  <a:pt x="228" y="219"/>
                  <a:pt x="228" y="219"/>
                  <a:pt x="228" y="219"/>
                </a:cubicBezTo>
                <a:cubicBezTo>
                  <a:pt x="227" y="219"/>
                  <a:pt x="227" y="219"/>
                  <a:pt x="227" y="219"/>
                </a:cubicBezTo>
                <a:cubicBezTo>
                  <a:pt x="227" y="219"/>
                  <a:pt x="227" y="219"/>
                  <a:pt x="227" y="219"/>
                </a:cubicBezTo>
                <a:cubicBezTo>
                  <a:pt x="225" y="219"/>
                  <a:pt x="225" y="219"/>
                  <a:pt x="225" y="219"/>
                </a:cubicBezTo>
                <a:cubicBezTo>
                  <a:pt x="225" y="218"/>
                  <a:pt x="225" y="218"/>
                  <a:pt x="225" y="218"/>
                </a:cubicBezTo>
                <a:cubicBezTo>
                  <a:pt x="226" y="217"/>
                  <a:pt x="226" y="217"/>
                  <a:pt x="226" y="217"/>
                </a:cubicBezTo>
                <a:cubicBezTo>
                  <a:pt x="226" y="216"/>
                  <a:pt x="226" y="216"/>
                  <a:pt x="226" y="216"/>
                </a:cubicBezTo>
                <a:cubicBezTo>
                  <a:pt x="226" y="216"/>
                  <a:pt x="226" y="216"/>
                  <a:pt x="226" y="216"/>
                </a:cubicBezTo>
                <a:cubicBezTo>
                  <a:pt x="225" y="217"/>
                  <a:pt x="225" y="217"/>
                  <a:pt x="225" y="217"/>
                </a:cubicBezTo>
                <a:cubicBezTo>
                  <a:pt x="224" y="216"/>
                  <a:pt x="224" y="216"/>
                  <a:pt x="224" y="216"/>
                </a:cubicBezTo>
                <a:cubicBezTo>
                  <a:pt x="224" y="215"/>
                  <a:pt x="224" y="215"/>
                  <a:pt x="224" y="215"/>
                </a:cubicBezTo>
                <a:cubicBezTo>
                  <a:pt x="225" y="214"/>
                  <a:pt x="225" y="214"/>
                  <a:pt x="225" y="214"/>
                </a:cubicBezTo>
                <a:cubicBezTo>
                  <a:pt x="227" y="212"/>
                  <a:pt x="227" y="212"/>
                  <a:pt x="227" y="212"/>
                </a:cubicBezTo>
                <a:cubicBezTo>
                  <a:pt x="228" y="212"/>
                  <a:pt x="228" y="212"/>
                  <a:pt x="228" y="212"/>
                </a:cubicBezTo>
                <a:cubicBezTo>
                  <a:pt x="230" y="212"/>
                  <a:pt x="230" y="212"/>
                  <a:pt x="230" y="212"/>
                </a:cubicBezTo>
                <a:cubicBezTo>
                  <a:pt x="234" y="212"/>
                  <a:pt x="234" y="212"/>
                  <a:pt x="234" y="212"/>
                </a:cubicBezTo>
                <a:cubicBezTo>
                  <a:pt x="237" y="211"/>
                  <a:pt x="237" y="211"/>
                  <a:pt x="237" y="211"/>
                </a:cubicBezTo>
                <a:cubicBezTo>
                  <a:pt x="238" y="211"/>
                  <a:pt x="238" y="211"/>
                  <a:pt x="238" y="211"/>
                </a:cubicBezTo>
                <a:cubicBezTo>
                  <a:pt x="240" y="211"/>
                  <a:pt x="240" y="211"/>
                  <a:pt x="240" y="211"/>
                </a:cubicBezTo>
                <a:cubicBezTo>
                  <a:pt x="240" y="212"/>
                  <a:pt x="240" y="212"/>
                  <a:pt x="240" y="212"/>
                </a:cubicBezTo>
                <a:cubicBezTo>
                  <a:pt x="241" y="213"/>
                  <a:pt x="241" y="213"/>
                  <a:pt x="241" y="213"/>
                </a:cubicBezTo>
                <a:cubicBezTo>
                  <a:pt x="242" y="213"/>
                  <a:pt x="242" y="213"/>
                  <a:pt x="242" y="213"/>
                </a:cubicBezTo>
                <a:cubicBezTo>
                  <a:pt x="242" y="214"/>
                  <a:pt x="242" y="214"/>
                  <a:pt x="242" y="214"/>
                </a:cubicBezTo>
                <a:cubicBezTo>
                  <a:pt x="242" y="216"/>
                  <a:pt x="242" y="216"/>
                  <a:pt x="242" y="216"/>
                </a:cubicBezTo>
                <a:cubicBezTo>
                  <a:pt x="242" y="217"/>
                  <a:pt x="242" y="217"/>
                  <a:pt x="242" y="217"/>
                </a:cubicBezTo>
                <a:cubicBezTo>
                  <a:pt x="242" y="217"/>
                  <a:pt x="242" y="217"/>
                  <a:pt x="242" y="217"/>
                </a:cubicBezTo>
                <a:cubicBezTo>
                  <a:pt x="242" y="218"/>
                  <a:pt x="242" y="218"/>
                  <a:pt x="242" y="218"/>
                </a:cubicBezTo>
                <a:cubicBezTo>
                  <a:pt x="241" y="218"/>
                  <a:pt x="241" y="218"/>
                  <a:pt x="241" y="218"/>
                </a:cubicBezTo>
                <a:cubicBezTo>
                  <a:pt x="241" y="219"/>
                  <a:pt x="241" y="219"/>
                  <a:pt x="241" y="219"/>
                </a:cubicBezTo>
                <a:cubicBezTo>
                  <a:pt x="242" y="219"/>
                  <a:pt x="242" y="219"/>
                  <a:pt x="242" y="219"/>
                </a:cubicBezTo>
                <a:cubicBezTo>
                  <a:pt x="242" y="222"/>
                  <a:pt x="242" y="222"/>
                  <a:pt x="242" y="222"/>
                </a:cubicBezTo>
                <a:cubicBezTo>
                  <a:pt x="243" y="222"/>
                  <a:pt x="243" y="222"/>
                  <a:pt x="243" y="222"/>
                </a:cubicBezTo>
                <a:cubicBezTo>
                  <a:pt x="244" y="222"/>
                  <a:pt x="244" y="222"/>
                  <a:pt x="244" y="222"/>
                </a:cubicBezTo>
                <a:cubicBezTo>
                  <a:pt x="244" y="223"/>
                  <a:pt x="244" y="223"/>
                  <a:pt x="244" y="223"/>
                </a:cubicBezTo>
                <a:cubicBezTo>
                  <a:pt x="243" y="223"/>
                  <a:pt x="243" y="223"/>
                  <a:pt x="243" y="223"/>
                </a:cubicBezTo>
                <a:cubicBezTo>
                  <a:pt x="242" y="224"/>
                  <a:pt x="242" y="224"/>
                  <a:pt x="242" y="224"/>
                </a:cubicBezTo>
                <a:cubicBezTo>
                  <a:pt x="242" y="225"/>
                  <a:pt x="242" y="225"/>
                  <a:pt x="242" y="225"/>
                </a:cubicBezTo>
                <a:cubicBezTo>
                  <a:pt x="243" y="225"/>
                  <a:pt x="243" y="225"/>
                  <a:pt x="243" y="225"/>
                </a:cubicBezTo>
                <a:cubicBezTo>
                  <a:pt x="244" y="226"/>
                  <a:pt x="244" y="226"/>
                  <a:pt x="244" y="226"/>
                </a:cubicBezTo>
                <a:cubicBezTo>
                  <a:pt x="245" y="226"/>
                  <a:pt x="245" y="226"/>
                  <a:pt x="245" y="226"/>
                </a:cubicBezTo>
                <a:cubicBezTo>
                  <a:pt x="245" y="226"/>
                  <a:pt x="245" y="226"/>
                  <a:pt x="245" y="226"/>
                </a:cubicBezTo>
                <a:cubicBezTo>
                  <a:pt x="246" y="227"/>
                  <a:pt x="246" y="227"/>
                  <a:pt x="246" y="227"/>
                </a:cubicBezTo>
                <a:cubicBezTo>
                  <a:pt x="247" y="227"/>
                  <a:pt x="247" y="227"/>
                  <a:pt x="247" y="227"/>
                </a:cubicBezTo>
                <a:cubicBezTo>
                  <a:pt x="248" y="226"/>
                  <a:pt x="248" y="226"/>
                  <a:pt x="248" y="226"/>
                </a:cubicBezTo>
                <a:cubicBezTo>
                  <a:pt x="249" y="227"/>
                  <a:pt x="249" y="227"/>
                  <a:pt x="249" y="227"/>
                </a:cubicBezTo>
                <a:cubicBezTo>
                  <a:pt x="249" y="227"/>
                  <a:pt x="249" y="227"/>
                  <a:pt x="249" y="227"/>
                </a:cubicBezTo>
                <a:cubicBezTo>
                  <a:pt x="249" y="228"/>
                  <a:pt x="249" y="228"/>
                  <a:pt x="249" y="228"/>
                </a:cubicBezTo>
                <a:cubicBezTo>
                  <a:pt x="250" y="228"/>
                  <a:pt x="250" y="228"/>
                  <a:pt x="250" y="228"/>
                </a:cubicBezTo>
                <a:cubicBezTo>
                  <a:pt x="250" y="228"/>
                  <a:pt x="250" y="228"/>
                  <a:pt x="250" y="228"/>
                </a:cubicBezTo>
                <a:cubicBezTo>
                  <a:pt x="250" y="229"/>
                  <a:pt x="250" y="229"/>
                  <a:pt x="250" y="229"/>
                </a:cubicBezTo>
                <a:cubicBezTo>
                  <a:pt x="250" y="230"/>
                  <a:pt x="250" y="230"/>
                  <a:pt x="250" y="230"/>
                </a:cubicBezTo>
                <a:cubicBezTo>
                  <a:pt x="250" y="230"/>
                  <a:pt x="250" y="230"/>
                  <a:pt x="250" y="230"/>
                </a:cubicBezTo>
                <a:cubicBezTo>
                  <a:pt x="251" y="231"/>
                  <a:pt x="251" y="231"/>
                  <a:pt x="251" y="231"/>
                </a:cubicBezTo>
                <a:cubicBezTo>
                  <a:pt x="252" y="232"/>
                  <a:pt x="252" y="232"/>
                  <a:pt x="252" y="232"/>
                </a:cubicBezTo>
                <a:cubicBezTo>
                  <a:pt x="252" y="233"/>
                  <a:pt x="252" y="233"/>
                  <a:pt x="252" y="233"/>
                </a:cubicBezTo>
                <a:cubicBezTo>
                  <a:pt x="254" y="232"/>
                  <a:pt x="254" y="232"/>
                  <a:pt x="254" y="232"/>
                </a:cubicBezTo>
                <a:cubicBezTo>
                  <a:pt x="254" y="233"/>
                  <a:pt x="254" y="233"/>
                  <a:pt x="254" y="233"/>
                </a:cubicBezTo>
                <a:cubicBezTo>
                  <a:pt x="254" y="234"/>
                  <a:pt x="254" y="234"/>
                  <a:pt x="254" y="234"/>
                </a:cubicBezTo>
                <a:cubicBezTo>
                  <a:pt x="255" y="234"/>
                  <a:pt x="255" y="234"/>
                  <a:pt x="255" y="234"/>
                </a:cubicBezTo>
                <a:cubicBezTo>
                  <a:pt x="256" y="235"/>
                  <a:pt x="256" y="235"/>
                  <a:pt x="256" y="235"/>
                </a:cubicBezTo>
                <a:cubicBezTo>
                  <a:pt x="257" y="234"/>
                  <a:pt x="257" y="234"/>
                  <a:pt x="257" y="234"/>
                </a:cubicBezTo>
                <a:cubicBezTo>
                  <a:pt x="260" y="234"/>
                  <a:pt x="260" y="234"/>
                  <a:pt x="260" y="234"/>
                </a:cubicBezTo>
                <a:cubicBezTo>
                  <a:pt x="260" y="233"/>
                  <a:pt x="260" y="233"/>
                  <a:pt x="260" y="233"/>
                </a:cubicBezTo>
                <a:cubicBezTo>
                  <a:pt x="262" y="232"/>
                  <a:pt x="262" y="232"/>
                  <a:pt x="262" y="232"/>
                </a:cubicBezTo>
                <a:cubicBezTo>
                  <a:pt x="262" y="232"/>
                  <a:pt x="262" y="232"/>
                  <a:pt x="262" y="232"/>
                </a:cubicBezTo>
                <a:cubicBezTo>
                  <a:pt x="263" y="233"/>
                  <a:pt x="263" y="233"/>
                  <a:pt x="263" y="233"/>
                </a:cubicBezTo>
                <a:cubicBezTo>
                  <a:pt x="265" y="233"/>
                  <a:pt x="265" y="233"/>
                  <a:pt x="265" y="233"/>
                </a:cubicBezTo>
                <a:cubicBezTo>
                  <a:pt x="267" y="235"/>
                  <a:pt x="267" y="235"/>
                  <a:pt x="267" y="235"/>
                </a:cubicBezTo>
                <a:cubicBezTo>
                  <a:pt x="268" y="235"/>
                  <a:pt x="268" y="235"/>
                  <a:pt x="268" y="235"/>
                </a:cubicBezTo>
                <a:cubicBezTo>
                  <a:pt x="269" y="236"/>
                  <a:pt x="269" y="236"/>
                  <a:pt x="269" y="236"/>
                </a:cubicBezTo>
                <a:cubicBezTo>
                  <a:pt x="270" y="235"/>
                  <a:pt x="270" y="235"/>
                  <a:pt x="270" y="235"/>
                </a:cubicBezTo>
                <a:cubicBezTo>
                  <a:pt x="272" y="235"/>
                  <a:pt x="272" y="235"/>
                  <a:pt x="272" y="235"/>
                </a:cubicBezTo>
                <a:cubicBezTo>
                  <a:pt x="273" y="236"/>
                  <a:pt x="273" y="236"/>
                  <a:pt x="273" y="236"/>
                </a:cubicBezTo>
                <a:cubicBezTo>
                  <a:pt x="273" y="236"/>
                  <a:pt x="273" y="236"/>
                  <a:pt x="273" y="236"/>
                </a:cubicBezTo>
                <a:cubicBezTo>
                  <a:pt x="273" y="234"/>
                  <a:pt x="273" y="234"/>
                  <a:pt x="273" y="234"/>
                </a:cubicBezTo>
                <a:cubicBezTo>
                  <a:pt x="272" y="233"/>
                  <a:pt x="272" y="233"/>
                  <a:pt x="272" y="233"/>
                </a:cubicBezTo>
                <a:cubicBezTo>
                  <a:pt x="272" y="231"/>
                  <a:pt x="272" y="231"/>
                  <a:pt x="272" y="231"/>
                </a:cubicBezTo>
                <a:cubicBezTo>
                  <a:pt x="272" y="231"/>
                  <a:pt x="272" y="231"/>
                  <a:pt x="272" y="231"/>
                </a:cubicBezTo>
                <a:cubicBezTo>
                  <a:pt x="273" y="231"/>
                  <a:pt x="273" y="231"/>
                  <a:pt x="273" y="231"/>
                </a:cubicBezTo>
                <a:cubicBezTo>
                  <a:pt x="274" y="233"/>
                  <a:pt x="274" y="233"/>
                  <a:pt x="274" y="233"/>
                </a:cubicBezTo>
                <a:cubicBezTo>
                  <a:pt x="274" y="235"/>
                  <a:pt x="274" y="235"/>
                  <a:pt x="274" y="235"/>
                </a:cubicBezTo>
                <a:cubicBezTo>
                  <a:pt x="276" y="237"/>
                  <a:pt x="276" y="237"/>
                  <a:pt x="276" y="237"/>
                </a:cubicBezTo>
                <a:cubicBezTo>
                  <a:pt x="276" y="237"/>
                  <a:pt x="276" y="237"/>
                  <a:pt x="276" y="237"/>
                </a:cubicBezTo>
                <a:cubicBezTo>
                  <a:pt x="277" y="239"/>
                  <a:pt x="277" y="239"/>
                  <a:pt x="277" y="239"/>
                </a:cubicBezTo>
                <a:cubicBezTo>
                  <a:pt x="277" y="236"/>
                  <a:pt x="277" y="236"/>
                  <a:pt x="277" y="236"/>
                </a:cubicBezTo>
                <a:cubicBezTo>
                  <a:pt x="276" y="235"/>
                  <a:pt x="276" y="235"/>
                  <a:pt x="276" y="235"/>
                </a:cubicBezTo>
                <a:cubicBezTo>
                  <a:pt x="275" y="235"/>
                  <a:pt x="275" y="235"/>
                  <a:pt x="275" y="235"/>
                </a:cubicBezTo>
                <a:cubicBezTo>
                  <a:pt x="274" y="233"/>
                  <a:pt x="274" y="233"/>
                  <a:pt x="274" y="233"/>
                </a:cubicBezTo>
                <a:cubicBezTo>
                  <a:pt x="274" y="230"/>
                  <a:pt x="274" y="230"/>
                  <a:pt x="274" y="230"/>
                </a:cubicBezTo>
                <a:cubicBezTo>
                  <a:pt x="274" y="229"/>
                  <a:pt x="274" y="229"/>
                  <a:pt x="274" y="229"/>
                </a:cubicBezTo>
                <a:cubicBezTo>
                  <a:pt x="274" y="230"/>
                  <a:pt x="274" y="230"/>
                  <a:pt x="274" y="230"/>
                </a:cubicBezTo>
                <a:cubicBezTo>
                  <a:pt x="274" y="230"/>
                  <a:pt x="274" y="230"/>
                  <a:pt x="274" y="230"/>
                </a:cubicBezTo>
                <a:cubicBezTo>
                  <a:pt x="275" y="231"/>
                  <a:pt x="275" y="231"/>
                  <a:pt x="275" y="231"/>
                </a:cubicBezTo>
                <a:cubicBezTo>
                  <a:pt x="276" y="230"/>
                  <a:pt x="276" y="230"/>
                  <a:pt x="276" y="230"/>
                </a:cubicBezTo>
                <a:cubicBezTo>
                  <a:pt x="276" y="230"/>
                  <a:pt x="276" y="230"/>
                  <a:pt x="276" y="230"/>
                </a:cubicBezTo>
                <a:cubicBezTo>
                  <a:pt x="275" y="228"/>
                  <a:pt x="275" y="228"/>
                  <a:pt x="275" y="228"/>
                </a:cubicBezTo>
                <a:cubicBezTo>
                  <a:pt x="275" y="228"/>
                  <a:pt x="275" y="228"/>
                  <a:pt x="275" y="228"/>
                </a:cubicBezTo>
                <a:cubicBezTo>
                  <a:pt x="275" y="227"/>
                  <a:pt x="275" y="227"/>
                  <a:pt x="275" y="227"/>
                </a:cubicBezTo>
                <a:cubicBezTo>
                  <a:pt x="275" y="226"/>
                  <a:pt x="275" y="226"/>
                  <a:pt x="275" y="226"/>
                </a:cubicBezTo>
                <a:cubicBezTo>
                  <a:pt x="276" y="226"/>
                  <a:pt x="276" y="226"/>
                  <a:pt x="276" y="226"/>
                </a:cubicBezTo>
                <a:cubicBezTo>
                  <a:pt x="277" y="227"/>
                  <a:pt x="277" y="227"/>
                  <a:pt x="277" y="227"/>
                </a:cubicBezTo>
                <a:cubicBezTo>
                  <a:pt x="277" y="228"/>
                  <a:pt x="277" y="228"/>
                  <a:pt x="277" y="228"/>
                </a:cubicBezTo>
                <a:cubicBezTo>
                  <a:pt x="277" y="228"/>
                  <a:pt x="277" y="228"/>
                  <a:pt x="277" y="228"/>
                </a:cubicBezTo>
                <a:cubicBezTo>
                  <a:pt x="278" y="228"/>
                  <a:pt x="278" y="228"/>
                  <a:pt x="278" y="228"/>
                </a:cubicBezTo>
                <a:cubicBezTo>
                  <a:pt x="279" y="227"/>
                  <a:pt x="279" y="227"/>
                  <a:pt x="279" y="227"/>
                </a:cubicBezTo>
                <a:cubicBezTo>
                  <a:pt x="279" y="226"/>
                  <a:pt x="279" y="226"/>
                  <a:pt x="279" y="226"/>
                </a:cubicBezTo>
                <a:cubicBezTo>
                  <a:pt x="280" y="226"/>
                  <a:pt x="280" y="226"/>
                  <a:pt x="280" y="226"/>
                </a:cubicBezTo>
                <a:cubicBezTo>
                  <a:pt x="281" y="227"/>
                  <a:pt x="281" y="227"/>
                  <a:pt x="281" y="227"/>
                </a:cubicBezTo>
                <a:cubicBezTo>
                  <a:pt x="281" y="228"/>
                  <a:pt x="281" y="228"/>
                  <a:pt x="281" y="228"/>
                </a:cubicBezTo>
                <a:cubicBezTo>
                  <a:pt x="281" y="228"/>
                  <a:pt x="281" y="228"/>
                  <a:pt x="281" y="228"/>
                </a:cubicBezTo>
                <a:cubicBezTo>
                  <a:pt x="281" y="228"/>
                  <a:pt x="281" y="228"/>
                  <a:pt x="281" y="228"/>
                </a:cubicBezTo>
                <a:cubicBezTo>
                  <a:pt x="282" y="227"/>
                  <a:pt x="282" y="227"/>
                  <a:pt x="282" y="227"/>
                </a:cubicBezTo>
                <a:cubicBezTo>
                  <a:pt x="283" y="228"/>
                  <a:pt x="283" y="228"/>
                  <a:pt x="283" y="228"/>
                </a:cubicBezTo>
                <a:cubicBezTo>
                  <a:pt x="282" y="230"/>
                  <a:pt x="282" y="230"/>
                  <a:pt x="282" y="230"/>
                </a:cubicBezTo>
                <a:cubicBezTo>
                  <a:pt x="282" y="231"/>
                  <a:pt x="282" y="231"/>
                  <a:pt x="282" y="231"/>
                </a:cubicBezTo>
                <a:cubicBezTo>
                  <a:pt x="283" y="231"/>
                  <a:pt x="283" y="231"/>
                  <a:pt x="283" y="231"/>
                </a:cubicBezTo>
                <a:cubicBezTo>
                  <a:pt x="284" y="231"/>
                  <a:pt x="284" y="231"/>
                  <a:pt x="284" y="231"/>
                </a:cubicBezTo>
                <a:cubicBezTo>
                  <a:pt x="285" y="232"/>
                  <a:pt x="285" y="232"/>
                  <a:pt x="285" y="232"/>
                </a:cubicBezTo>
                <a:cubicBezTo>
                  <a:pt x="284" y="233"/>
                  <a:pt x="284" y="233"/>
                  <a:pt x="284" y="233"/>
                </a:cubicBezTo>
                <a:cubicBezTo>
                  <a:pt x="283" y="233"/>
                  <a:pt x="283" y="233"/>
                  <a:pt x="283" y="233"/>
                </a:cubicBezTo>
                <a:cubicBezTo>
                  <a:pt x="283" y="234"/>
                  <a:pt x="283" y="234"/>
                  <a:pt x="283" y="234"/>
                </a:cubicBezTo>
                <a:cubicBezTo>
                  <a:pt x="283" y="234"/>
                  <a:pt x="283" y="234"/>
                  <a:pt x="283" y="234"/>
                </a:cubicBezTo>
                <a:cubicBezTo>
                  <a:pt x="285" y="233"/>
                  <a:pt x="285" y="233"/>
                  <a:pt x="285" y="233"/>
                </a:cubicBezTo>
                <a:cubicBezTo>
                  <a:pt x="286" y="232"/>
                  <a:pt x="286" y="232"/>
                  <a:pt x="286" y="232"/>
                </a:cubicBezTo>
                <a:cubicBezTo>
                  <a:pt x="287" y="231"/>
                  <a:pt x="287" y="231"/>
                  <a:pt x="287" y="231"/>
                </a:cubicBezTo>
                <a:cubicBezTo>
                  <a:pt x="288" y="232"/>
                  <a:pt x="288" y="232"/>
                  <a:pt x="288" y="232"/>
                </a:cubicBezTo>
                <a:cubicBezTo>
                  <a:pt x="288" y="232"/>
                  <a:pt x="288" y="232"/>
                  <a:pt x="288" y="232"/>
                </a:cubicBezTo>
                <a:cubicBezTo>
                  <a:pt x="287" y="232"/>
                  <a:pt x="287" y="232"/>
                  <a:pt x="287" y="232"/>
                </a:cubicBezTo>
                <a:cubicBezTo>
                  <a:pt x="287" y="233"/>
                  <a:pt x="287" y="233"/>
                  <a:pt x="287" y="233"/>
                </a:cubicBezTo>
                <a:cubicBezTo>
                  <a:pt x="287" y="234"/>
                  <a:pt x="287" y="234"/>
                  <a:pt x="287" y="234"/>
                </a:cubicBezTo>
                <a:cubicBezTo>
                  <a:pt x="285" y="236"/>
                  <a:pt x="285" y="236"/>
                  <a:pt x="285" y="236"/>
                </a:cubicBezTo>
                <a:cubicBezTo>
                  <a:pt x="285" y="236"/>
                  <a:pt x="285" y="236"/>
                  <a:pt x="285" y="236"/>
                </a:cubicBezTo>
                <a:cubicBezTo>
                  <a:pt x="283" y="238"/>
                  <a:pt x="283" y="238"/>
                  <a:pt x="283" y="238"/>
                </a:cubicBezTo>
                <a:cubicBezTo>
                  <a:pt x="283" y="239"/>
                  <a:pt x="283" y="239"/>
                  <a:pt x="283" y="239"/>
                </a:cubicBezTo>
                <a:cubicBezTo>
                  <a:pt x="282" y="240"/>
                  <a:pt x="282" y="240"/>
                  <a:pt x="282" y="240"/>
                </a:cubicBezTo>
                <a:cubicBezTo>
                  <a:pt x="282" y="238"/>
                  <a:pt x="282" y="238"/>
                  <a:pt x="282" y="238"/>
                </a:cubicBezTo>
                <a:cubicBezTo>
                  <a:pt x="281" y="240"/>
                  <a:pt x="281" y="240"/>
                  <a:pt x="281" y="240"/>
                </a:cubicBezTo>
                <a:cubicBezTo>
                  <a:pt x="281" y="242"/>
                  <a:pt x="281" y="242"/>
                  <a:pt x="281" y="242"/>
                </a:cubicBezTo>
                <a:cubicBezTo>
                  <a:pt x="281" y="242"/>
                  <a:pt x="281" y="242"/>
                  <a:pt x="281" y="242"/>
                </a:cubicBezTo>
                <a:cubicBezTo>
                  <a:pt x="282" y="242"/>
                  <a:pt x="282" y="242"/>
                  <a:pt x="282" y="242"/>
                </a:cubicBezTo>
                <a:cubicBezTo>
                  <a:pt x="283" y="242"/>
                  <a:pt x="283" y="242"/>
                  <a:pt x="283" y="242"/>
                </a:cubicBezTo>
                <a:cubicBezTo>
                  <a:pt x="283" y="243"/>
                  <a:pt x="283" y="243"/>
                  <a:pt x="283" y="243"/>
                </a:cubicBezTo>
                <a:cubicBezTo>
                  <a:pt x="281" y="244"/>
                  <a:pt x="281" y="244"/>
                  <a:pt x="281" y="244"/>
                </a:cubicBezTo>
                <a:cubicBezTo>
                  <a:pt x="281" y="245"/>
                  <a:pt x="281" y="245"/>
                  <a:pt x="281" y="245"/>
                </a:cubicBezTo>
                <a:cubicBezTo>
                  <a:pt x="283" y="244"/>
                  <a:pt x="283" y="244"/>
                  <a:pt x="283" y="244"/>
                </a:cubicBezTo>
                <a:cubicBezTo>
                  <a:pt x="284" y="243"/>
                  <a:pt x="284" y="243"/>
                  <a:pt x="284" y="243"/>
                </a:cubicBezTo>
                <a:cubicBezTo>
                  <a:pt x="285" y="243"/>
                  <a:pt x="285" y="243"/>
                  <a:pt x="285" y="243"/>
                </a:cubicBezTo>
                <a:cubicBezTo>
                  <a:pt x="284" y="245"/>
                  <a:pt x="284" y="245"/>
                  <a:pt x="284" y="245"/>
                </a:cubicBezTo>
                <a:cubicBezTo>
                  <a:pt x="283" y="245"/>
                  <a:pt x="283" y="245"/>
                  <a:pt x="283" y="245"/>
                </a:cubicBezTo>
                <a:cubicBezTo>
                  <a:pt x="284" y="246"/>
                  <a:pt x="284" y="246"/>
                  <a:pt x="284" y="246"/>
                </a:cubicBezTo>
                <a:cubicBezTo>
                  <a:pt x="285" y="245"/>
                  <a:pt x="285" y="245"/>
                  <a:pt x="285" y="245"/>
                </a:cubicBezTo>
                <a:cubicBezTo>
                  <a:pt x="284" y="247"/>
                  <a:pt x="284" y="247"/>
                  <a:pt x="284" y="247"/>
                </a:cubicBezTo>
                <a:cubicBezTo>
                  <a:pt x="284" y="248"/>
                  <a:pt x="284" y="248"/>
                  <a:pt x="284" y="248"/>
                </a:cubicBezTo>
                <a:cubicBezTo>
                  <a:pt x="283" y="248"/>
                  <a:pt x="283" y="248"/>
                  <a:pt x="283" y="248"/>
                </a:cubicBezTo>
                <a:cubicBezTo>
                  <a:pt x="282" y="248"/>
                  <a:pt x="282" y="248"/>
                  <a:pt x="282" y="248"/>
                </a:cubicBezTo>
                <a:cubicBezTo>
                  <a:pt x="281" y="247"/>
                  <a:pt x="281" y="247"/>
                  <a:pt x="281" y="247"/>
                </a:cubicBezTo>
                <a:cubicBezTo>
                  <a:pt x="280" y="248"/>
                  <a:pt x="280" y="248"/>
                  <a:pt x="280" y="248"/>
                </a:cubicBezTo>
                <a:cubicBezTo>
                  <a:pt x="279" y="246"/>
                  <a:pt x="279" y="246"/>
                  <a:pt x="279" y="246"/>
                </a:cubicBezTo>
                <a:cubicBezTo>
                  <a:pt x="279" y="246"/>
                  <a:pt x="279" y="246"/>
                  <a:pt x="279" y="246"/>
                </a:cubicBezTo>
                <a:cubicBezTo>
                  <a:pt x="278" y="248"/>
                  <a:pt x="278" y="248"/>
                  <a:pt x="278" y="248"/>
                </a:cubicBezTo>
                <a:cubicBezTo>
                  <a:pt x="279" y="249"/>
                  <a:pt x="279" y="249"/>
                  <a:pt x="279" y="249"/>
                </a:cubicBezTo>
                <a:cubicBezTo>
                  <a:pt x="280" y="250"/>
                  <a:pt x="280" y="250"/>
                  <a:pt x="280" y="250"/>
                </a:cubicBezTo>
                <a:cubicBezTo>
                  <a:pt x="279" y="253"/>
                  <a:pt x="279" y="253"/>
                  <a:pt x="279" y="253"/>
                </a:cubicBezTo>
                <a:cubicBezTo>
                  <a:pt x="280" y="251"/>
                  <a:pt x="280" y="251"/>
                  <a:pt x="280" y="251"/>
                </a:cubicBezTo>
                <a:cubicBezTo>
                  <a:pt x="280" y="249"/>
                  <a:pt x="280" y="249"/>
                  <a:pt x="280" y="249"/>
                </a:cubicBezTo>
                <a:cubicBezTo>
                  <a:pt x="281" y="248"/>
                  <a:pt x="281" y="248"/>
                  <a:pt x="281" y="248"/>
                </a:cubicBezTo>
                <a:cubicBezTo>
                  <a:pt x="281" y="249"/>
                  <a:pt x="281" y="249"/>
                  <a:pt x="281" y="249"/>
                </a:cubicBezTo>
                <a:cubicBezTo>
                  <a:pt x="283" y="249"/>
                  <a:pt x="283" y="249"/>
                  <a:pt x="283" y="249"/>
                </a:cubicBezTo>
                <a:cubicBezTo>
                  <a:pt x="284" y="250"/>
                  <a:pt x="284" y="250"/>
                  <a:pt x="284" y="250"/>
                </a:cubicBezTo>
                <a:cubicBezTo>
                  <a:pt x="285" y="249"/>
                  <a:pt x="285" y="249"/>
                  <a:pt x="285" y="249"/>
                </a:cubicBezTo>
                <a:cubicBezTo>
                  <a:pt x="285" y="248"/>
                  <a:pt x="285" y="248"/>
                  <a:pt x="285" y="248"/>
                </a:cubicBezTo>
                <a:cubicBezTo>
                  <a:pt x="286" y="247"/>
                  <a:pt x="286" y="247"/>
                  <a:pt x="286" y="247"/>
                </a:cubicBezTo>
                <a:cubicBezTo>
                  <a:pt x="287" y="246"/>
                  <a:pt x="287" y="246"/>
                  <a:pt x="287" y="246"/>
                </a:cubicBezTo>
                <a:cubicBezTo>
                  <a:pt x="289" y="246"/>
                  <a:pt x="289" y="246"/>
                  <a:pt x="289" y="246"/>
                </a:cubicBezTo>
                <a:cubicBezTo>
                  <a:pt x="290" y="245"/>
                  <a:pt x="290" y="245"/>
                  <a:pt x="290" y="245"/>
                </a:cubicBezTo>
                <a:cubicBezTo>
                  <a:pt x="289" y="245"/>
                  <a:pt x="289" y="245"/>
                  <a:pt x="289" y="245"/>
                </a:cubicBezTo>
                <a:cubicBezTo>
                  <a:pt x="287" y="245"/>
                  <a:pt x="287" y="245"/>
                  <a:pt x="287" y="245"/>
                </a:cubicBezTo>
                <a:cubicBezTo>
                  <a:pt x="287" y="246"/>
                  <a:pt x="287" y="246"/>
                  <a:pt x="287" y="246"/>
                </a:cubicBezTo>
                <a:cubicBezTo>
                  <a:pt x="286" y="246"/>
                  <a:pt x="286" y="246"/>
                  <a:pt x="286" y="246"/>
                </a:cubicBezTo>
                <a:cubicBezTo>
                  <a:pt x="285" y="246"/>
                  <a:pt x="285" y="246"/>
                  <a:pt x="285" y="246"/>
                </a:cubicBezTo>
                <a:cubicBezTo>
                  <a:pt x="286" y="245"/>
                  <a:pt x="286" y="245"/>
                  <a:pt x="286" y="245"/>
                </a:cubicBezTo>
                <a:cubicBezTo>
                  <a:pt x="287" y="244"/>
                  <a:pt x="287" y="244"/>
                  <a:pt x="287" y="244"/>
                </a:cubicBezTo>
                <a:cubicBezTo>
                  <a:pt x="286" y="244"/>
                  <a:pt x="286" y="244"/>
                  <a:pt x="286" y="244"/>
                </a:cubicBezTo>
                <a:cubicBezTo>
                  <a:pt x="286" y="243"/>
                  <a:pt x="286" y="243"/>
                  <a:pt x="286" y="243"/>
                </a:cubicBezTo>
                <a:cubicBezTo>
                  <a:pt x="287" y="241"/>
                  <a:pt x="287" y="241"/>
                  <a:pt x="287" y="241"/>
                </a:cubicBezTo>
                <a:cubicBezTo>
                  <a:pt x="287" y="240"/>
                  <a:pt x="287" y="240"/>
                  <a:pt x="287" y="240"/>
                </a:cubicBezTo>
                <a:cubicBezTo>
                  <a:pt x="286" y="239"/>
                  <a:pt x="286" y="239"/>
                  <a:pt x="286" y="239"/>
                </a:cubicBezTo>
                <a:cubicBezTo>
                  <a:pt x="287" y="239"/>
                  <a:pt x="287" y="239"/>
                  <a:pt x="287" y="239"/>
                </a:cubicBezTo>
                <a:cubicBezTo>
                  <a:pt x="288" y="237"/>
                  <a:pt x="288" y="237"/>
                  <a:pt x="288" y="237"/>
                </a:cubicBezTo>
                <a:cubicBezTo>
                  <a:pt x="288" y="236"/>
                  <a:pt x="288" y="236"/>
                  <a:pt x="288" y="236"/>
                </a:cubicBezTo>
                <a:cubicBezTo>
                  <a:pt x="290" y="235"/>
                  <a:pt x="290" y="235"/>
                  <a:pt x="290" y="235"/>
                </a:cubicBezTo>
                <a:cubicBezTo>
                  <a:pt x="290" y="235"/>
                  <a:pt x="290" y="235"/>
                  <a:pt x="290" y="235"/>
                </a:cubicBezTo>
                <a:cubicBezTo>
                  <a:pt x="290" y="236"/>
                  <a:pt x="290" y="236"/>
                  <a:pt x="290" y="236"/>
                </a:cubicBezTo>
                <a:cubicBezTo>
                  <a:pt x="290" y="235"/>
                  <a:pt x="290" y="235"/>
                  <a:pt x="290" y="235"/>
                </a:cubicBezTo>
                <a:cubicBezTo>
                  <a:pt x="291" y="234"/>
                  <a:pt x="291" y="234"/>
                  <a:pt x="291" y="234"/>
                </a:cubicBezTo>
                <a:cubicBezTo>
                  <a:pt x="291" y="235"/>
                  <a:pt x="291" y="235"/>
                  <a:pt x="291" y="235"/>
                </a:cubicBezTo>
                <a:cubicBezTo>
                  <a:pt x="292" y="235"/>
                  <a:pt x="292" y="235"/>
                  <a:pt x="292" y="235"/>
                </a:cubicBezTo>
                <a:cubicBezTo>
                  <a:pt x="292" y="236"/>
                  <a:pt x="292" y="236"/>
                  <a:pt x="292" y="236"/>
                </a:cubicBezTo>
                <a:cubicBezTo>
                  <a:pt x="293" y="235"/>
                  <a:pt x="293" y="235"/>
                  <a:pt x="293" y="235"/>
                </a:cubicBezTo>
                <a:cubicBezTo>
                  <a:pt x="294" y="234"/>
                  <a:pt x="294" y="234"/>
                  <a:pt x="294" y="234"/>
                </a:cubicBezTo>
                <a:cubicBezTo>
                  <a:pt x="297" y="233"/>
                  <a:pt x="297" y="233"/>
                  <a:pt x="297" y="233"/>
                </a:cubicBezTo>
                <a:cubicBezTo>
                  <a:pt x="298" y="232"/>
                  <a:pt x="298" y="232"/>
                  <a:pt x="298" y="232"/>
                </a:cubicBezTo>
                <a:cubicBezTo>
                  <a:pt x="297" y="232"/>
                  <a:pt x="297" y="232"/>
                  <a:pt x="297" y="232"/>
                </a:cubicBezTo>
                <a:cubicBezTo>
                  <a:pt x="298" y="231"/>
                  <a:pt x="298" y="231"/>
                  <a:pt x="298" y="231"/>
                </a:cubicBezTo>
                <a:cubicBezTo>
                  <a:pt x="299" y="230"/>
                  <a:pt x="299" y="230"/>
                  <a:pt x="299" y="230"/>
                </a:cubicBezTo>
                <a:cubicBezTo>
                  <a:pt x="301" y="230"/>
                  <a:pt x="301" y="230"/>
                  <a:pt x="301" y="230"/>
                </a:cubicBezTo>
                <a:cubicBezTo>
                  <a:pt x="302" y="229"/>
                  <a:pt x="302" y="229"/>
                  <a:pt x="302" y="229"/>
                </a:cubicBezTo>
                <a:cubicBezTo>
                  <a:pt x="302" y="228"/>
                  <a:pt x="302" y="228"/>
                  <a:pt x="302" y="228"/>
                </a:cubicBezTo>
                <a:cubicBezTo>
                  <a:pt x="302" y="226"/>
                  <a:pt x="302" y="226"/>
                  <a:pt x="302" y="226"/>
                </a:cubicBezTo>
                <a:cubicBezTo>
                  <a:pt x="303" y="225"/>
                  <a:pt x="303" y="225"/>
                  <a:pt x="303" y="225"/>
                </a:cubicBezTo>
                <a:cubicBezTo>
                  <a:pt x="303" y="224"/>
                  <a:pt x="303" y="224"/>
                  <a:pt x="303" y="224"/>
                </a:cubicBezTo>
                <a:cubicBezTo>
                  <a:pt x="303" y="223"/>
                  <a:pt x="303" y="223"/>
                  <a:pt x="303" y="223"/>
                </a:cubicBezTo>
                <a:cubicBezTo>
                  <a:pt x="302" y="224"/>
                  <a:pt x="302" y="224"/>
                  <a:pt x="302" y="224"/>
                </a:cubicBezTo>
                <a:cubicBezTo>
                  <a:pt x="301" y="224"/>
                  <a:pt x="301" y="224"/>
                  <a:pt x="301" y="224"/>
                </a:cubicBezTo>
                <a:cubicBezTo>
                  <a:pt x="301" y="224"/>
                  <a:pt x="301" y="224"/>
                  <a:pt x="301" y="224"/>
                </a:cubicBezTo>
                <a:cubicBezTo>
                  <a:pt x="301" y="225"/>
                  <a:pt x="301" y="225"/>
                  <a:pt x="301" y="225"/>
                </a:cubicBezTo>
                <a:cubicBezTo>
                  <a:pt x="300" y="226"/>
                  <a:pt x="300" y="226"/>
                  <a:pt x="300" y="226"/>
                </a:cubicBezTo>
                <a:cubicBezTo>
                  <a:pt x="299" y="225"/>
                  <a:pt x="299" y="225"/>
                  <a:pt x="299" y="225"/>
                </a:cubicBezTo>
                <a:cubicBezTo>
                  <a:pt x="298" y="225"/>
                  <a:pt x="298" y="225"/>
                  <a:pt x="298" y="225"/>
                </a:cubicBezTo>
                <a:cubicBezTo>
                  <a:pt x="298" y="225"/>
                  <a:pt x="298" y="225"/>
                  <a:pt x="298" y="225"/>
                </a:cubicBezTo>
                <a:cubicBezTo>
                  <a:pt x="299" y="223"/>
                  <a:pt x="299" y="223"/>
                  <a:pt x="299" y="223"/>
                </a:cubicBezTo>
                <a:cubicBezTo>
                  <a:pt x="300" y="223"/>
                  <a:pt x="300" y="223"/>
                  <a:pt x="300" y="223"/>
                </a:cubicBezTo>
                <a:cubicBezTo>
                  <a:pt x="300" y="222"/>
                  <a:pt x="300" y="222"/>
                  <a:pt x="300" y="222"/>
                </a:cubicBezTo>
                <a:cubicBezTo>
                  <a:pt x="302" y="222"/>
                  <a:pt x="302" y="222"/>
                  <a:pt x="302" y="222"/>
                </a:cubicBezTo>
                <a:cubicBezTo>
                  <a:pt x="302" y="221"/>
                  <a:pt x="302" y="221"/>
                  <a:pt x="302" y="221"/>
                </a:cubicBezTo>
                <a:cubicBezTo>
                  <a:pt x="301" y="220"/>
                  <a:pt x="301" y="220"/>
                  <a:pt x="301" y="220"/>
                </a:cubicBezTo>
                <a:cubicBezTo>
                  <a:pt x="302" y="219"/>
                  <a:pt x="302" y="219"/>
                  <a:pt x="302" y="219"/>
                </a:cubicBezTo>
                <a:cubicBezTo>
                  <a:pt x="304" y="218"/>
                  <a:pt x="304" y="218"/>
                  <a:pt x="304" y="218"/>
                </a:cubicBezTo>
                <a:cubicBezTo>
                  <a:pt x="305" y="219"/>
                  <a:pt x="305" y="219"/>
                  <a:pt x="305" y="219"/>
                </a:cubicBezTo>
                <a:cubicBezTo>
                  <a:pt x="304" y="220"/>
                  <a:pt x="304" y="220"/>
                  <a:pt x="304" y="220"/>
                </a:cubicBezTo>
                <a:cubicBezTo>
                  <a:pt x="304" y="221"/>
                  <a:pt x="304" y="221"/>
                  <a:pt x="304" y="221"/>
                </a:cubicBezTo>
                <a:cubicBezTo>
                  <a:pt x="304" y="221"/>
                  <a:pt x="304" y="221"/>
                  <a:pt x="304" y="221"/>
                </a:cubicBezTo>
                <a:cubicBezTo>
                  <a:pt x="306" y="220"/>
                  <a:pt x="306" y="220"/>
                  <a:pt x="306" y="220"/>
                </a:cubicBezTo>
                <a:cubicBezTo>
                  <a:pt x="307" y="218"/>
                  <a:pt x="307" y="218"/>
                  <a:pt x="307" y="218"/>
                </a:cubicBezTo>
                <a:cubicBezTo>
                  <a:pt x="307" y="217"/>
                  <a:pt x="307" y="217"/>
                  <a:pt x="307" y="217"/>
                </a:cubicBezTo>
                <a:cubicBezTo>
                  <a:pt x="305" y="217"/>
                  <a:pt x="305" y="217"/>
                  <a:pt x="305" y="217"/>
                </a:cubicBezTo>
                <a:cubicBezTo>
                  <a:pt x="304" y="217"/>
                  <a:pt x="304" y="217"/>
                  <a:pt x="304" y="217"/>
                </a:cubicBezTo>
                <a:cubicBezTo>
                  <a:pt x="304" y="216"/>
                  <a:pt x="304" y="216"/>
                  <a:pt x="304" y="216"/>
                </a:cubicBezTo>
                <a:cubicBezTo>
                  <a:pt x="302" y="216"/>
                  <a:pt x="302" y="216"/>
                  <a:pt x="302" y="216"/>
                </a:cubicBezTo>
                <a:cubicBezTo>
                  <a:pt x="301" y="214"/>
                  <a:pt x="301" y="214"/>
                  <a:pt x="301" y="214"/>
                </a:cubicBezTo>
                <a:cubicBezTo>
                  <a:pt x="301" y="213"/>
                  <a:pt x="301" y="213"/>
                  <a:pt x="301" y="213"/>
                </a:cubicBezTo>
                <a:cubicBezTo>
                  <a:pt x="301" y="214"/>
                  <a:pt x="301" y="214"/>
                  <a:pt x="301" y="214"/>
                </a:cubicBezTo>
                <a:cubicBezTo>
                  <a:pt x="300" y="214"/>
                  <a:pt x="300" y="214"/>
                  <a:pt x="300" y="214"/>
                </a:cubicBezTo>
                <a:cubicBezTo>
                  <a:pt x="299" y="213"/>
                  <a:pt x="299" y="213"/>
                  <a:pt x="299" y="213"/>
                </a:cubicBezTo>
                <a:cubicBezTo>
                  <a:pt x="298" y="212"/>
                  <a:pt x="298" y="212"/>
                  <a:pt x="298" y="212"/>
                </a:cubicBezTo>
                <a:cubicBezTo>
                  <a:pt x="298" y="211"/>
                  <a:pt x="298" y="211"/>
                  <a:pt x="298" y="211"/>
                </a:cubicBezTo>
                <a:cubicBezTo>
                  <a:pt x="297" y="211"/>
                  <a:pt x="297" y="211"/>
                  <a:pt x="297" y="211"/>
                </a:cubicBezTo>
                <a:cubicBezTo>
                  <a:pt x="296" y="211"/>
                  <a:pt x="296" y="211"/>
                  <a:pt x="296" y="211"/>
                </a:cubicBezTo>
                <a:cubicBezTo>
                  <a:pt x="296" y="210"/>
                  <a:pt x="296" y="210"/>
                  <a:pt x="296" y="210"/>
                </a:cubicBezTo>
                <a:cubicBezTo>
                  <a:pt x="296" y="209"/>
                  <a:pt x="296" y="209"/>
                  <a:pt x="296" y="209"/>
                </a:cubicBezTo>
                <a:cubicBezTo>
                  <a:pt x="296" y="208"/>
                  <a:pt x="296" y="208"/>
                  <a:pt x="296" y="208"/>
                </a:cubicBezTo>
                <a:cubicBezTo>
                  <a:pt x="296" y="207"/>
                  <a:pt x="296" y="207"/>
                  <a:pt x="296" y="207"/>
                </a:cubicBezTo>
                <a:cubicBezTo>
                  <a:pt x="296" y="206"/>
                  <a:pt x="296" y="206"/>
                  <a:pt x="296" y="206"/>
                </a:cubicBezTo>
                <a:cubicBezTo>
                  <a:pt x="296" y="203"/>
                  <a:pt x="296" y="203"/>
                  <a:pt x="296" y="203"/>
                </a:cubicBezTo>
                <a:cubicBezTo>
                  <a:pt x="297" y="202"/>
                  <a:pt x="297" y="202"/>
                  <a:pt x="297" y="202"/>
                </a:cubicBezTo>
                <a:cubicBezTo>
                  <a:pt x="299" y="200"/>
                  <a:pt x="299" y="200"/>
                  <a:pt x="299" y="200"/>
                </a:cubicBezTo>
                <a:cubicBezTo>
                  <a:pt x="300" y="200"/>
                  <a:pt x="300" y="200"/>
                  <a:pt x="300" y="200"/>
                </a:cubicBezTo>
                <a:cubicBezTo>
                  <a:pt x="301" y="200"/>
                  <a:pt x="301" y="200"/>
                  <a:pt x="301" y="200"/>
                </a:cubicBezTo>
                <a:cubicBezTo>
                  <a:pt x="301" y="199"/>
                  <a:pt x="301" y="199"/>
                  <a:pt x="301" y="199"/>
                </a:cubicBezTo>
                <a:cubicBezTo>
                  <a:pt x="302" y="198"/>
                  <a:pt x="302" y="198"/>
                  <a:pt x="302" y="198"/>
                </a:cubicBezTo>
                <a:cubicBezTo>
                  <a:pt x="302" y="198"/>
                  <a:pt x="302" y="198"/>
                  <a:pt x="302" y="198"/>
                </a:cubicBezTo>
                <a:cubicBezTo>
                  <a:pt x="302" y="198"/>
                  <a:pt x="302" y="198"/>
                  <a:pt x="302" y="198"/>
                </a:cubicBezTo>
                <a:cubicBezTo>
                  <a:pt x="301" y="198"/>
                  <a:pt x="301" y="198"/>
                  <a:pt x="301" y="198"/>
                </a:cubicBezTo>
                <a:cubicBezTo>
                  <a:pt x="300" y="198"/>
                  <a:pt x="300" y="198"/>
                  <a:pt x="300" y="198"/>
                </a:cubicBezTo>
                <a:cubicBezTo>
                  <a:pt x="300" y="197"/>
                  <a:pt x="300" y="197"/>
                  <a:pt x="300" y="197"/>
                </a:cubicBezTo>
                <a:cubicBezTo>
                  <a:pt x="300" y="196"/>
                  <a:pt x="300" y="196"/>
                  <a:pt x="300" y="196"/>
                </a:cubicBezTo>
                <a:cubicBezTo>
                  <a:pt x="300" y="194"/>
                  <a:pt x="300" y="194"/>
                  <a:pt x="300" y="194"/>
                </a:cubicBezTo>
                <a:cubicBezTo>
                  <a:pt x="301" y="193"/>
                  <a:pt x="301" y="193"/>
                  <a:pt x="301" y="193"/>
                </a:cubicBezTo>
                <a:cubicBezTo>
                  <a:pt x="302" y="191"/>
                  <a:pt x="302" y="191"/>
                  <a:pt x="302" y="191"/>
                </a:cubicBezTo>
                <a:cubicBezTo>
                  <a:pt x="303" y="190"/>
                  <a:pt x="303" y="190"/>
                  <a:pt x="303" y="190"/>
                </a:cubicBezTo>
                <a:cubicBezTo>
                  <a:pt x="304" y="189"/>
                  <a:pt x="304" y="189"/>
                  <a:pt x="304" y="189"/>
                </a:cubicBezTo>
                <a:cubicBezTo>
                  <a:pt x="305" y="189"/>
                  <a:pt x="305" y="189"/>
                  <a:pt x="305" y="189"/>
                </a:cubicBezTo>
                <a:cubicBezTo>
                  <a:pt x="306" y="187"/>
                  <a:pt x="306" y="187"/>
                  <a:pt x="306" y="187"/>
                </a:cubicBezTo>
                <a:cubicBezTo>
                  <a:pt x="307" y="186"/>
                  <a:pt x="307" y="186"/>
                  <a:pt x="307" y="186"/>
                </a:cubicBezTo>
                <a:cubicBezTo>
                  <a:pt x="308" y="187"/>
                  <a:pt x="308" y="187"/>
                  <a:pt x="308" y="187"/>
                </a:cubicBezTo>
                <a:cubicBezTo>
                  <a:pt x="308" y="189"/>
                  <a:pt x="308" y="189"/>
                  <a:pt x="308" y="189"/>
                </a:cubicBezTo>
                <a:cubicBezTo>
                  <a:pt x="308" y="189"/>
                  <a:pt x="308" y="189"/>
                  <a:pt x="308" y="189"/>
                </a:cubicBezTo>
                <a:cubicBezTo>
                  <a:pt x="308" y="190"/>
                  <a:pt x="308" y="190"/>
                  <a:pt x="308" y="190"/>
                </a:cubicBezTo>
                <a:cubicBezTo>
                  <a:pt x="309" y="189"/>
                  <a:pt x="309" y="189"/>
                  <a:pt x="309" y="189"/>
                </a:cubicBezTo>
                <a:cubicBezTo>
                  <a:pt x="309" y="189"/>
                  <a:pt x="309" y="189"/>
                  <a:pt x="309" y="189"/>
                </a:cubicBezTo>
                <a:cubicBezTo>
                  <a:pt x="311" y="186"/>
                  <a:pt x="311" y="186"/>
                  <a:pt x="311" y="186"/>
                </a:cubicBezTo>
                <a:cubicBezTo>
                  <a:pt x="311" y="186"/>
                  <a:pt x="311" y="186"/>
                  <a:pt x="311" y="186"/>
                </a:cubicBezTo>
                <a:cubicBezTo>
                  <a:pt x="310" y="186"/>
                  <a:pt x="310" y="186"/>
                  <a:pt x="310" y="186"/>
                </a:cubicBezTo>
                <a:cubicBezTo>
                  <a:pt x="309" y="185"/>
                  <a:pt x="309" y="185"/>
                  <a:pt x="309" y="185"/>
                </a:cubicBezTo>
                <a:cubicBezTo>
                  <a:pt x="308" y="184"/>
                  <a:pt x="308" y="184"/>
                  <a:pt x="308" y="184"/>
                </a:cubicBezTo>
                <a:cubicBezTo>
                  <a:pt x="309" y="183"/>
                  <a:pt x="309" y="183"/>
                  <a:pt x="309" y="183"/>
                </a:cubicBezTo>
                <a:cubicBezTo>
                  <a:pt x="311" y="183"/>
                  <a:pt x="311" y="183"/>
                  <a:pt x="311" y="183"/>
                </a:cubicBezTo>
                <a:cubicBezTo>
                  <a:pt x="311" y="183"/>
                  <a:pt x="311" y="183"/>
                  <a:pt x="311" y="183"/>
                </a:cubicBezTo>
                <a:cubicBezTo>
                  <a:pt x="313" y="181"/>
                  <a:pt x="313" y="181"/>
                  <a:pt x="313" y="181"/>
                </a:cubicBezTo>
                <a:cubicBezTo>
                  <a:pt x="313" y="180"/>
                  <a:pt x="313" y="180"/>
                  <a:pt x="313" y="180"/>
                </a:cubicBezTo>
                <a:cubicBezTo>
                  <a:pt x="314" y="180"/>
                  <a:pt x="314" y="180"/>
                  <a:pt x="314" y="180"/>
                </a:cubicBezTo>
                <a:cubicBezTo>
                  <a:pt x="315" y="180"/>
                  <a:pt x="315" y="180"/>
                  <a:pt x="315" y="180"/>
                </a:cubicBezTo>
                <a:cubicBezTo>
                  <a:pt x="317" y="181"/>
                  <a:pt x="317" y="181"/>
                  <a:pt x="317" y="181"/>
                </a:cubicBezTo>
                <a:cubicBezTo>
                  <a:pt x="317" y="182"/>
                  <a:pt x="317" y="182"/>
                  <a:pt x="317" y="182"/>
                </a:cubicBezTo>
                <a:cubicBezTo>
                  <a:pt x="317" y="183"/>
                  <a:pt x="317" y="183"/>
                  <a:pt x="317" y="183"/>
                </a:cubicBezTo>
                <a:cubicBezTo>
                  <a:pt x="318" y="183"/>
                  <a:pt x="318" y="183"/>
                  <a:pt x="318" y="183"/>
                </a:cubicBezTo>
                <a:cubicBezTo>
                  <a:pt x="319" y="184"/>
                  <a:pt x="319" y="184"/>
                  <a:pt x="319" y="184"/>
                </a:cubicBezTo>
                <a:cubicBezTo>
                  <a:pt x="320" y="184"/>
                  <a:pt x="320" y="184"/>
                  <a:pt x="320" y="184"/>
                </a:cubicBezTo>
                <a:cubicBezTo>
                  <a:pt x="319" y="186"/>
                  <a:pt x="319" y="186"/>
                  <a:pt x="319" y="186"/>
                </a:cubicBezTo>
                <a:cubicBezTo>
                  <a:pt x="319" y="186"/>
                  <a:pt x="319" y="186"/>
                  <a:pt x="319" y="186"/>
                </a:cubicBezTo>
                <a:cubicBezTo>
                  <a:pt x="319" y="187"/>
                  <a:pt x="319" y="187"/>
                  <a:pt x="319" y="187"/>
                </a:cubicBezTo>
                <a:cubicBezTo>
                  <a:pt x="319" y="188"/>
                  <a:pt x="319" y="188"/>
                  <a:pt x="319" y="188"/>
                </a:cubicBezTo>
                <a:cubicBezTo>
                  <a:pt x="320" y="189"/>
                  <a:pt x="320" y="189"/>
                  <a:pt x="320" y="189"/>
                </a:cubicBezTo>
                <a:cubicBezTo>
                  <a:pt x="320" y="190"/>
                  <a:pt x="320" y="190"/>
                  <a:pt x="320" y="190"/>
                </a:cubicBezTo>
                <a:cubicBezTo>
                  <a:pt x="320" y="192"/>
                  <a:pt x="320" y="192"/>
                  <a:pt x="320" y="192"/>
                </a:cubicBezTo>
                <a:cubicBezTo>
                  <a:pt x="321" y="193"/>
                  <a:pt x="321" y="193"/>
                  <a:pt x="321" y="193"/>
                </a:cubicBezTo>
                <a:cubicBezTo>
                  <a:pt x="321" y="193"/>
                  <a:pt x="321" y="193"/>
                  <a:pt x="321" y="193"/>
                </a:cubicBezTo>
                <a:cubicBezTo>
                  <a:pt x="320" y="195"/>
                  <a:pt x="320" y="195"/>
                  <a:pt x="320" y="195"/>
                </a:cubicBezTo>
                <a:cubicBezTo>
                  <a:pt x="320" y="195"/>
                  <a:pt x="320" y="195"/>
                  <a:pt x="320" y="195"/>
                </a:cubicBezTo>
                <a:cubicBezTo>
                  <a:pt x="319" y="197"/>
                  <a:pt x="319" y="197"/>
                  <a:pt x="319" y="197"/>
                </a:cubicBezTo>
                <a:cubicBezTo>
                  <a:pt x="319" y="199"/>
                  <a:pt x="319" y="199"/>
                  <a:pt x="319" y="199"/>
                </a:cubicBezTo>
                <a:cubicBezTo>
                  <a:pt x="318" y="199"/>
                  <a:pt x="318" y="199"/>
                  <a:pt x="318" y="199"/>
                </a:cubicBezTo>
                <a:cubicBezTo>
                  <a:pt x="319" y="200"/>
                  <a:pt x="319" y="200"/>
                  <a:pt x="319" y="200"/>
                </a:cubicBezTo>
                <a:cubicBezTo>
                  <a:pt x="318" y="201"/>
                  <a:pt x="318" y="201"/>
                  <a:pt x="318" y="201"/>
                </a:cubicBezTo>
                <a:cubicBezTo>
                  <a:pt x="320" y="203"/>
                  <a:pt x="320" y="203"/>
                  <a:pt x="320" y="203"/>
                </a:cubicBezTo>
                <a:cubicBezTo>
                  <a:pt x="320" y="204"/>
                  <a:pt x="320" y="204"/>
                  <a:pt x="320" y="204"/>
                </a:cubicBezTo>
                <a:cubicBezTo>
                  <a:pt x="319" y="204"/>
                  <a:pt x="319" y="204"/>
                  <a:pt x="319" y="204"/>
                </a:cubicBezTo>
                <a:cubicBezTo>
                  <a:pt x="320" y="205"/>
                  <a:pt x="320" y="205"/>
                  <a:pt x="320" y="205"/>
                </a:cubicBezTo>
                <a:cubicBezTo>
                  <a:pt x="319" y="206"/>
                  <a:pt x="319" y="206"/>
                  <a:pt x="319" y="206"/>
                </a:cubicBezTo>
                <a:cubicBezTo>
                  <a:pt x="319" y="207"/>
                  <a:pt x="319" y="207"/>
                  <a:pt x="319" y="207"/>
                </a:cubicBezTo>
                <a:cubicBezTo>
                  <a:pt x="320" y="208"/>
                  <a:pt x="320" y="208"/>
                  <a:pt x="320" y="208"/>
                </a:cubicBezTo>
                <a:cubicBezTo>
                  <a:pt x="321" y="209"/>
                  <a:pt x="321" y="209"/>
                  <a:pt x="321" y="209"/>
                </a:cubicBezTo>
                <a:cubicBezTo>
                  <a:pt x="321" y="210"/>
                  <a:pt x="321" y="210"/>
                  <a:pt x="321" y="210"/>
                </a:cubicBezTo>
                <a:cubicBezTo>
                  <a:pt x="320" y="211"/>
                  <a:pt x="320" y="211"/>
                  <a:pt x="320" y="211"/>
                </a:cubicBezTo>
                <a:cubicBezTo>
                  <a:pt x="319" y="210"/>
                  <a:pt x="319" y="210"/>
                  <a:pt x="319" y="210"/>
                </a:cubicBezTo>
                <a:cubicBezTo>
                  <a:pt x="318" y="210"/>
                  <a:pt x="318" y="210"/>
                  <a:pt x="318" y="210"/>
                </a:cubicBezTo>
                <a:cubicBezTo>
                  <a:pt x="317" y="209"/>
                  <a:pt x="317" y="209"/>
                  <a:pt x="317" y="209"/>
                </a:cubicBezTo>
                <a:cubicBezTo>
                  <a:pt x="318" y="208"/>
                  <a:pt x="318" y="208"/>
                  <a:pt x="318" y="208"/>
                </a:cubicBezTo>
                <a:cubicBezTo>
                  <a:pt x="316" y="208"/>
                  <a:pt x="316" y="208"/>
                  <a:pt x="316" y="208"/>
                </a:cubicBezTo>
                <a:cubicBezTo>
                  <a:pt x="316" y="210"/>
                  <a:pt x="316" y="210"/>
                  <a:pt x="316" y="210"/>
                </a:cubicBezTo>
                <a:cubicBezTo>
                  <a:pt x="315" y="210"/>
                  <a:pt x="315" y="210"/>
                  <a:pt x="315" y="210"/>
                </a:cubicBezTo>
                <a:cubicBezTo>
                  <a:pt x="315" y="211"/>
                  <a:pt x="315" y="211"/>
                  <a:pt x="315" y="211"/>
                </a:cubicBezTo>
                <a:cubicBezTo>
                  <a:pt x="316" y="210"/>
                  <a:pt x="316" y="210"/>
                  <a:pt x="316" y="210"/>
                </a:cubicBezTo>
                <a:cubicBezTo>
                  <a:pt x="317" y="211"/>
                  <a:pt x="317" y="211"/>
                  <a:pt x="317" y="211"/>
                </a:cubicBezTo>
                <a:cubicBezTo>
                  <a:pt x="317" y="212"/>
                  <a:pt x="317" y="212"/>
                  <a:pt x="317" y="212"/>
                </a:cubicBezTo>
                <a:cubicBezTo>
                  <a:pt x="314" y="214"/>
                  <a:pt x="314" y="214"/>
                  <a:pt x="314" y="214"/>
                </a:cubicBezTo>
                <a:cubicBezTo>
                  <a:pt x="313" y="214"/>
                  <a:pt x="313" y="214"/>
                  <a:pt x="313" y="214"/>
                </a:cubicBezTo>
                <a:cubicBezTo>
                  <a:pt x="312" y="215"/>
                  <a:pt x="312" y="215"/>
                  <a:pt x="312" y="215"/>
                </a:cubicBezTo>
                <a:cubicBezTo>
                  <a:pt x="312" y="215"/>
                  <a:pt x="312" y="215"/>
                  <a:pt x="312" y="215"/>
                </a:cubicBezTo>
                <a:cubicBezTo>
                  <a:pt x="311" y="217"/>
                  <a:pt x="311" y="217"/>
                  <a:pt x="311" y="217"/>
                </a:cubicBezTo>
                <a:cubicBezTo>
                  <a:pt x="312" y="217"/>
                  <a:pt x="312" y="217"/>
                  <a:pt x="312" y="217"/>
                </a:cubicBezTo>
                <a:cubicBezTo>
                  <a:pt x="313" y="217"/>
                  <a:pt x="313" y="217"/>
                  <a:pt x="313" y="217"/>
                </a:cubicBezTo>
                <a:cubicBezTo>
                  <a:pt x="314" y="217"/>
                  <a:pt x="314" y="217"/>
                  <a:pt x="314" y="217"/>
                </a:cubicBezTo>
                <a:cubicBezTo>
                  <a:pt x="314" y="218"/>
                  <a:pt x="314" y="218"/>
                  <a:pt x="314" y="218"/>
                </a:cubicBezTo>
                <a:cubicBezTo>
                  <a:pt x="315" y="219"/>
                  <a:pt x="315" y="219"/>
                  <a:pt x="315" y="219"/>
                </a:cubicBezTo>
                <a:cubicBezTo>
                  <a:pt x="317" y="219"/>
                  <a:pt x="317" y="219"/>
                  <a:pt x="317" y="219"/>
                </a:cubicBezTo>
                <a:cubicBezTo>
                  <a:pt x="317" y="218"/>
                  <a:pt x="317" y="218"/>
                  <a:pt x="317" y="218"/>
                </a:cubicBezTo>
                <a:cubicBezTo>
                  <a:pt x="318" y="218"/>
                  <a:pt x="318" y="218"/>
                  <a:pt x="318" y="218"/>
                </a:cubicBezTo>
                <a:cubicBezTo>
                  <a:pt x="318" y="218"/>
                  <a:pt x="318" y="218"/>
                  <a:pt x="318" y="218"/>
                </a:cubicBezTo>
                <a:cubicBezTo>
                  <a:pt x="318" y="219"/>
                  <a:pt x="318" y="219"/>
                  <a:pt x="318" y="219"/>
                </a:cubicBezTo>
                <a:cubicBezTo>
                  <a:pt x="318" y="219"/>
                  <a:pt x="318" y="219"/>
                  <a:pt x="318" y="219"/>
                </a:cubicBezTo>
                <a:cubicBezTo>
                  <a:pt x="319" y="220"/>
                  <a:pt x="319" y="220"/>
                  <a:pt x="319" y="220"/>
                </a:cubicBezTo>
                <a:cubicBezTo>
                  <a:pt x="320" y="220"/>
                  <a:pt x="320" y="220"/>
                  <a:pt x="320" y="220"/>
                </a:cubicBezTo>
                <a:cubicBezTo>
                  <a:pt x="321" y="220"/>
                  <a:pt x="321" y="220"/>
                  <a:pt x="321" y="220"/>
                </a:cubicBezTo>
                <a:cubicBezTo>
                  <a:pt x="322" y="220"/>
                  <a:pt x="322" y="220"/>
                  <a:pt x="322" y="220"/>
                </a:cubicBezTo>
                <a:cubicBezTo>
                  <a:pt x="321" y="221"/>
                  <a:pt x="321" y="221"/>
                  <a:pt x="321" y="221"/>
                </a:cubicBezTo>
                <a:cubicBezTo>
                  <a:pt x="320" y="221"/>
                  <a:pt x="320" y="221"/>
                  <a:pt x="320" y="221"/>
                </a:cubicBezTo>
                <a:cubicBezTo>
                  <a:pt x="318" y="222"/>
                  <a:pt x="318" y="222"/>
                  <a:pt x="318" y="222"/>
                </a:cubicBezTo>
                <a:cubicBezTo>
                  <a:pt x="318" y="223"/>
                  <a:pt x="318" y="223"/>
                  <a:pt x="318" y="223"/>
                </a:cubicBezTo>
                <a:cubicBezTo>
                  <a:pt x="318" y="221"/>
                  <a:pt x="318" y="221"/>
                  <a:pt x="318" y="221"/>
                </a:cubicBezTo>
                <a:cubicBezTo>
                  <a:pt x="317" y="221"/>
                  <a:pt x="317" y="221"/>
                  <a:pt x="317" y="221"/>
                </a:cubicBezTo>
                <a:cubicBezTo>
                  <a:pt x="317" y="221"/>
                  <a:pt x="317" y="221"/>
                  <a:pt x="317" y="221"/>
                </a:cubicBezTo>
                <a:cubicBezTo>
                  <a:pt x="317" y="222"/>
                  <a:pt x="317" y="222"/>
                  <a:pt x="317" y="222"/>
                </a:cubicBezTo>
                <a:cubicBezTo>
                  <a:pt x="317" y="223"/>
                  <a:pt x="317" y="223"/>
                  <a:pt x="317" y="223"/>
                </a:cubicBezTo>
                <a:cubicBezTo>
                  <a:pt x="317" y="224"/>
                  <a:pt x="317" y="224"/>
                  <a:pt x="317" y="224"/>
                </a:cubicBezTo>
                <a:cubicBezTo>
                  <a:pt x="318" y="226"/>
                  <a:pt x="318" y="226"/>
                  <a:pt x="318" y="226"/>
                </a:cubicBezTo>
                <a:cubicBezTo>
                  <a:pt x="318" y="227"/>
                  <a:pt x="318" y="227"/>
                  <a:pt x="318" y="227"/>
                </a:cubicBezTo>
                <a:cubicBezTo>
                  <a:pt x="319" y="227"/>
                  <a:pt x="319" y="227"/>
                  <a:pt x="319" y="227"/>
                </a:cubicBezTo>
                <a:cubicBezTo>
                  <a:pt x="318" y="229"/>
                  <a:pt x="318" y="229"/>
                  <a:pt x="318" y="229"/>
                </a:cubicBezTo>
                <a:cubicBezTo>
                  <a:pt x="318" y="229"/>
                  <a:pt x="318" y="229"/>
                  <a:pt x="318" y="229"/>
                </a:cubicBezTo>
                <a:cubicBezTo>
                  <a:pt x="317" y="230"/>
                  <a:pt x="317" y="230"/>
                  <a:pt x="317" y="230"/>
                </a:cubicBezTo>
                <a:cubicBezTo>
                  <a:pt x="317" y="232"/>
                  <a:pt x="317" y="232"/>
                  <a:pt x="317" y="232"/>
                </a:cubicBezTo>
                <a:cubicBezTo>
                  <a:pt x="316" y="233"/>
                  <a:pt x="316" y="233"/>
                  <a:pt x="316" y="233"/>
                </a:cubicBezTo>
                <a:cubicBezTo>
                  <a:pt x="316" y="234"/>
                  <a:pt x="316" y="234"/>
                  <a:pt x="316" y="234"/>
                </a:cubicBezTo>
                <a:cubicBezTo>
                  <a:pt x="316" y="235"/>
                  <a:pt x="316" y="235"/>
                  <a:pt x="316" y="235"/>
                </a:cubicBezTo>
                <a:cubicBezTo>
                  <a:pt x="316" y="236"/>
                  <a:pt x="316" y="236"/>
                  <a:pt x="316" y="236"/>
                </a:cubicBezTo>
                <a:cubicBezTo>
                  <a:pt x="316" y="236"/>
                  <a:pt x="316" y="236"/>
                  <a:pt x="316" y="236"/>
                </a:cubicBezTo>
                <a:cubicBezTo>
                  <a:pt x="317" y="236"/>
                  <a:pt x="317" y="236"/>
                  <a:pt x="317" y="236"/>
                </a:cubicBezTo>
                <a:cubicBezTo>
                  <a:pt x="318" y="235"/>
                  <a:pt x="318" y="235"/>
                  <a:pt x="318" y="235"/>
                </a:cubicBezTo>
                <a:cubicBezTo>
                  <a:pt x="318" y="234"/>
                  <a:pt x="318" y="234"/>
                  <a:pt x="318" y="234"/>
                </a:cubicBezTo>
                <a:cubicBezTo>
                  <a:pt x="320" y="234"/>
                  <a:pt x="320" y="234"/>
                  <a:pt x="320" y="234"/>
                </a:cubicBezTo>
                <a:cubicBezTo>
                  <a:pt x="320" y="233"/>
                  <a:pt x="320" y="233"/>
                  <a:pt x="320" y="233"/>
                </a:cubicBezTo>
                <a:cubicBezTo>
                  <a:pt x="320" y="233"/>
                  <a:pt x="320" y="233"/>
                  <a:pt x="320" y="233"/>
                </a:cubicBezTo>
                <a:cubicBezTo>
                  <a:pt x="320" y="232"/>
                  <a:pt x="320" y="232"/>
                  <a:pt x="320" y="232"/>
                </a:cubicBezTo>
                <a:cubicBezTo>
                  <a:pt x="321" y="232"/>
                  <a:pt x="321" y="232"/>
                  <a:pt x="321" y="232"/>
                </a:cubicBezTo>
                <a:cubicBezTo>
                  <a:pt x="322" y="232"/>
                  <a:pt x="322" y="232"/>
                  <a:pt x="322" y="232"/>
                </a:cubicBezTo>
                <a:cubicBezTo>
                  <a:pt x="322" y="230"/>
                  <a:pt x="322" y="230"/>
                  <a:pt x="322" y="230"/>
                </a:cubicBezTo>
                <a:cubicBezTo>
                  <a:pt x="322" y="228"/>
                  <a:pt x="322" y="228"/>
                  <a:pt x="322" y="228"/>
                </a:cubicBezTo>
                <a:cubicBezTo>
                  <a:pt x="324" y="227"/>
                  <a:pt x="324" y="227"/>
                  <a:pt x="324" y="227"/>
                </a:cubicBezTo>
                <a:cubicBezTo>
                  <a:pt x="325" y="225"/>
                  <a:pt x="325" y="225"/>
                  <a:pt x="325" y="225"/>
                </a:cubicBezTo>
                <a:cubicBezTo>
                  <a:pt x="325" y="224"/>
                  <a:pt x="325" y="224"/>
                  <a:pt x="325" y="224"/>
                </a:cubicBezTo>
                <a:cubicBezTo>
                  <a:pt x="326" y="223"/>
                  <a:pt x="326" y="223"/>
                  <a:pt x="326" y="223"/>
                </a:cubicBezTo>
                <a:cubicBezTo>
                  <a:pt x="327" y="224"/>
                  <a:pt x="327" y="224"/>
                  <a:pt x="327" y="224"/>
                </a:cubicBezTo>
                <a:cubicBezTo>
                  <a:pt x="327" y="225"/>
                  <a:pt x="327" y="225"/>
                  <a:pt x="327" y="225"/>
                </a:cubicBezTo>
                <a:cubicBezTo>
                  <a:pt x="328" y="227"/>
                  <a:pt x="328" y="227"/>
                  <a:pt x="328" y="227"/>
                </a:cubicBezTo>
                <a:cubicBezTo>
                  <a:pt x="328" y="229"/>
                  <a:pt x="328" y="229"/>
                  <a:pt x="328" y="229"/>
                </a:cubicBezTo>
                <a:cubicBezTo>
                  <a:pt x="329" y="230"/>
                  <a:pt x="329" y="230"/>
                  <a:pt x="329" y="230"/>
                </a:cubicBezTo>
                <a:cubicBezTo>
                  <a:pt x="329" y="232"/>
                  <a:pt x="329" y="232"/>
                  <a:pt x="329" y="232"/>
                </a:cubicBezTo>
                <a:cubicBezTo>
                  <a:pt x="329" y="233"/>
                  <a:pt x="329" y="233"/>
                  <a:pt x="329" y="233"/>
                </a:cubicBezTo>
                <a:cubicBezTo>
                  <a:pt x="329" y="235"/>
                  <a:pt x="329" y="235"/>
                  <a:pt x="329" y="235"/>
                </a:cubicBezTo>
                <a:cubicBezTo>
                  <a:pt x="328" y="237"/>
                  <a:pt x="328" y="237"/>
                  <a:pt x="328" y="237"/>
                </a:cubicBezTo>
                <a:cubicBezTo>
                  <a:pt x="327" y="237"/>
                  <a:pt x="327" y="237"/>
                  <a:pt x="327" y="237"/>
                </a:cubicBezTo>
                <a:cubicBezTo>
                  <a:pt x="327" y="236"/>
                  <a:pt x="327" y="236"/>
                  <a:pt x="327" y="236"/>
                </a:cubicBezTo>
                <a:cubicBezTo>
                  <a:pt x="326" y="237"/>
                  <a:pt x="326" y="237"/>
                  <a:pt x="326" y="237"/>
                </a:cubicBezTo>
                <a:cubicBezTo>
                  <a:pt x="325" y="238"/>
                  <a:pt x="325" y="238"/>
                  <a:pt x="325" y="238"/>
                </a:cubicBezTo>
                <a:cubicBezTo>
                  <a:pt x="326" y="239"/>
                  <a:pt x="326" y="239"/>
                  <a:pt x="326" y="239"/>
                </a:cubicBezTo>
                <a:cubicBezTo>
                  <a:pt x="325" y="241"/>
                  <a:pt x="325" y="241"/>
                  <a:pt x="325" y="241"/>
                </a:cubicBezTo>
                <a:cubicBezTo>
                  <a:pt x="324" y="242"/>
                  <a:pt x="324" y="242"/>
                  <a:pt x="324" y="242"/>
                </a:cubicBezTo>
                <a:cubicBezTo>
                  <a:pt x="325" y="243"/>
                  <a:pt x="325" y="243"/>
                  <a:pt x="325" y="243"/>
                </a:cubicBezTo>
                <a:cubicBezTo>
                  <a:pt x="325" y="245"/>
                  <a:pt x="325" y="245"/>
                  <a:pt x="325" y="245"/>
                </a:cubicBezTo>
                <a:cubicBezTo>
                  <a:pt x="326" y="249"/>
                  <a:pt x="326" y="249"/>
                  <a:pt x="326" y="249"/>
                </a:cubicBezTo>
                <a:cubicBezTo>
                  <a:pt x="327" y="251"/>
                  <a:pt x="327" y="251"/>
                  <a:pt x="327" y="251"/>
                </a:cubicBezTo>
                <a:cubicBezTo>
                  <a:pt x="326" y="252"/>
                  <a:pt x="326" y="252"/>
                  <a:pt x="326" y="252"/>
                </a:cubicBezTo>
                <a:cubicBezTo>
                  <a:pt x="327" y="253"/>
                  <a:pt x="327" y="253"/>
                  <a:pt x="327" y="253"/>
                </a:cubicBezTo>
                <a:cubicBezTo>
                  <a:pt x="328" y="253"/>
                  <a:pt x="328" y="253"/>
                  <a:pt x="328" y="253"/>
                </a:cubicBezTo>
                <a:cubicBezTo>
                  <a:pt x="328" y="252"/>
                  <a:pt x="328" y="252"/>
                  <a:pt x="328" y="252"/>
                </a:cubicBezTo>
                <a:cubicBezTo>
                  <a:pt x="327" y="251"/>
                  <a:pt x="327" y="251"/>
                  <a:pt x="327" y="251"/>
                </a:cubicBezTo>
                <a:cubicBezTo>
                  <a:pt x="328" y="250"/>
                  <a:pt x="328" y="250"/>
                  <a:pt x="328" y="250"/>
                </a:cubicBezTo>
                <a:cubicBezTo>
                  <a:pt x="329" y="250"/>
                  <a:pt x="329" y="250"/>
                  <a:pt x="329" y="250"/>
                </a:cubicBezTo>
                <a:cubicBezTo>
                  <a:pt x="330" y="252"/>
                  <a:pt x="330" y="252"/>
                  <a:pt x="330" y="252"/>
                </a:cubicBezTo>
                <a:cubicBezTo>
                  <a:pt x="330" y="252"/>
                  <a:pt x="330" y="252"/>
                  <a:pt x="330" y="252"/>
                </a:cubicBezTo>
                <a:cubicBezTo>
                  <a:pt x="331" y="250"/>
                  <a:pt x="331" y="250"/>
                  <a:pt x="331" y="250"/>
                </a:cubicBezTo>
                <a:cubicBezTo>
                  <a:pt x="332" y="249"/>
                  <a:pt x="332" y="249"/>
                  <a:pt x="332" y="249"/>
                </a:cubicBezTo>
                <a:cubicBezTo>
                  <a:pt x="332" y="247"/>
                  <a:pt x="332" y="247"/>
                  <a:pt x="332" y="247"/>
                </a:cubicBezTo>
                <a:cubicBezTo>
                  <a:pt x="333" y="247"/>
                  <a:pt x="333" y="247"/>
                  <a:pt x="333" y="247"/>
                </a:cubicBezTo>
                <a:cubicBezTo>
                  <a:pt x="334" y="245"/>
                  <a:pt x="334" y="245"/>
                  <a:pt x="334" y="245"/>
                </a:cubicBezTo>
                <a:cubicBezTo>
                  <a:pt x="334" y="245"/>
                  <a:pt x="334" y="245"/>
                  <a:pt x="334" y="245"/>
                </a:cubicBezTo>
                <a:cubicBezTo>
                  <a:pt x="335" y="244"/>
                  <a:pt x="335" y="244"/>
                  <a:pt x="335" y="244"/>
                </a:cubicBezTo>
                <a:cubicBezTo>
                  <a:pt x="337" y="242"/>
                  <a:pt x="337" y="242"/>
                  <a:pt x="337" y="242"/>
                </a:cubicBezTo>
                <a:cubicBezTo>
                  <a:pt x="339" y="240"/>
                  <a:pt x="339" y="240"/>
                  <a:pt x="339" y="240"/>
                </a:cubicBezTo>
                <a:cubicBezTo>
                  <a:pt x="340" y="237"/>
                  <a:pt x="340" y="237"/>
                  <a:pt x="340" y="237"/>
                </a:cubicBezTo>
                <a:cubicBezTo>
                  <a:pt x="341" y="235"/>
                  <a:pt x="341" y="235"/>
                  <a:pt x="341" y="235"/>
                </a:cubicBezTo>
                <a:cubicBezTo>
                  <a:pt x="342" y="234"/>
                  <a:pt x="342" y="234"/>
                  <a:pt x="342" y="234"/>
                </a:cubicBezTo>
                <a:cubicBezTo>
                  <a:pt x="343" y="236"/>
                  <a:pt x="343" y="236"/>
                  <a:pt x="343" y="236"/>
                </a:cubicBezTo>
                <a:cubicBezTo>
                  <a:pt x="344" y="235"/>
                  <a:pt x="344" y="235"/>
                  <a:pt x="344" y="235"/>
                </a:cubicBezTo>
                <a:cubicBezTo>
                  <a:pt x="344" y="235"/>
                  <a:pt x="344" y="235"/>
                  <a:pt x="344" y="235"/>
                </a:cubicBezTo>
                <a:cubicBezTo>
                  <a:pt x="346" y="235"/>
                  <a:pt x="346" y="235"/>
                  <a:pt x="346" y="235"/>
                </a:cubicBezTo>
                <a:cubicBezTo>
                  <a:pt x="346" y="234"/>
                  <a:pt x="346" y="234"/>
                  <a:pt x="346" y="234"/>
                </a:cubicBezTo>
                <a:cubicBezTo>
                  <a:pt x="345" y="234"/>
                  <a:pt x="345" y="234"/>
                  <a:pt x="345" y="234"/>
                </a:cubicBezTo>
                <a:cubicBezTo>
                  <a:pt x="344" y="233"/>
                  <a:pt x="344" y="233"/>
                  <a:pt x="344" y="233"/>
                </a:cubicBezTo>
                <a:cubicBezTo>
                  <a:pt x="344" y="233"/>
                  <a:pt x="344" y="233"/>
                  <a:pt x="344" y="233"/>
                </a:cubicBezTo>
                <a:cubicBezTo>
                  <a:pt x="346" y="232"/>
                  <a:pt x="346" y="232"/>
                  <a:pt x="346" y="232"/>
                </a:cubicBezTo>
                <a:cubicBezTo>
                  <a:pt x="346" y="233"/>
                  <a:pt x="346" y="233"/>
                  <a:pt x="346" y="233"/>
                </a:cubicBezTo>
                <a:cubicBezTo>
                  <a:pt x="347" y="233"/>
                  <a:pt x="347" y="233"/>
                  <a:pt x="347" y="233"/>
                </a:cubicBezTo>
                <a:cubicBezTo>
                  <a:pt x="348" y="233"/>
                  <a:pt x="348" y="233"/>
                  <a:pt x="348" y="233"/>
                </a:cubicBezTo>
                <a:cubicBezTo>
                  <a:pt x="348" y="232"/>
                  <a:pt x="348" y="232"/>
                  <a:pt x="348" y="232"/>
                </a:cubicBezTo>
                <a:cubicBezTo>
                  <a:pt x="348" y="231"/>
                  <a:pt x="348" y="231"/>
                  <a:pt x="348" y="231"/>
                </a:cubicBezTo>
                <a:cubicBezTo>
                  <a:pt x="347" y="231"/>
                  <a:pt x="347" y="231"/>
                  <a:pt x="347" y="231"/>
                </a:cubicBezTo>
                <a:cubicBezTo>
                  <a:pt x="347" y="230"/>
                  <a:pt x="347" y="230"/>
                  <a:pt x="347" y="230"/>
                </a:cubicBezTo>
                <a:cubicBezTo>
                  <a:pt x="346" y="230"/>
                  <a:pt x="346" y="230"/>
                  <a:pt x="346" y="230"/>
                </a:cubicBezTo>
                <a:cubicBezTo>
                  <a:pt x="346" y="228"/>
                  <a:pt x="346" y="228"/>
                  <a:pt x="346" y="228"/>
                </a:cubicBezTo>
                <a:cubicBezTo>
                  <a:pt x="347" y="227"/>
                  <a:pt x="347" y="227"/>
                  <a:pt x="347" y="227"/>
                </a:cubicBezTo>
                <a:cubicBezTo>
                  <a:pt x="347" y="226"/>
                  <a:pt x="347" y="226"/>
                  <a:pt x="347" y="226"/>
                </a:cubicBezTo>
                <a:cubicBezTo>
                  <a:pt x="348" y="226"/>
                  <a:pt x="348" y="226"/>
                  <a:pt x="348" y="226"/>
                </a:cubicBezTo>
                <a:cubicBezTo>
                  <a:pt x="347" y="225"/>
                  <a:pt x="347" y="225"/>
                  <a:pt x="347" y="225"/>
                </a:cubicBezTo>
                <a:cubicBezTo>
                  <a:pt x="347" y="224"/>
                  <a:pt x="347" y="224"/>
                  <a:pt x="347" y="224"/>
                </a:cubicBezTo>
                <a:cubicBezTo>
                  <a:pt x="348" y="223"/>
                  <a:pt x="348" y="223"/>
                  <a:pt x="348" y="223"/>
                </a:cubicBezTo>
                <a:cubicBezTo>
                  <a:pt x="348" y="223"/>
                  <a:pt x="348" y="223"/>
                  <a:pt x="348" y="223"/>
                </a:cubicBezTo>
                <a:cubicBezTo>
                  <a:pt x="348" y="222"/>
                  <a:pt x="348" y="222"/>
                  <a:pt x="348" y="222"/>
                </a:cubicBezTo>
                <a:cubicBezTo>
                  <a:pt x="349" y="222"/>
                  <a:pt x="349" y="222"/>
                  <a:pt x="349" y="222"/>
                </a:cubicBezTo>
                <a:cubicBezTo>
                  <a:pt x="349" y="221"/>
                  <a:pt x="349" y="221"/>
                  <a:pt x="349" y="221"/>
                </a:cubicBezTo>
                <a:cubicBezTo>
                  <a:pt x="348" y="221"/>
                  <a:pt x="348" y="221"/>
                  <a:pt x="348" y="221"/>
                </a:cubicBezTo>
                <a:cubicBezTo>
                  <a:pt x="348" y="220"/>
                  <a:pt x="348" y="220"/>
                  <a:pt x="348" y="220"/>
                </a:cubicBezTo>
                <a:cubicBezTo>
                  <a:pt x="349" y="220"/>
                  <a:pt x="349" y="220"/>
                  <a:pt x="349" y="220"/>
                </a:cubicBezTo>
                <a:cubicBezTo>
                  <a:pt x="350" y="221"/>
                  <a:pt x="350" y="221"/>
                  <a:pt x="350" y="221"/>
                </a:cubicBezTo>
                <a:cubicBezTo>
                  <a:pt x="351" y="221"/>
                  <a:pt x="351" y="221"/>
                  <a:pt x="351" y="221"/>
                </a:cubicBezTo>
                <a:cubicBezTo>
                  <a:pt x="352" y="221"/>
                  <a:pt x="352" y="221"/>
                  <a:pt x="352" y="221"/>
                </a:cubicBezTo>
                <a:cubicBezTo>
                  <a:pt x="354" y="221"/>
                  <a:pt x="354" y="221"/>
                  <a:pt x="354" y="221"/>
                </a:cubicBezTo>
                <a:cubicBezTo>
                  <a:pt x="355" y="222"/>
                  <a:pt x="355" y="222"/>
                  <a:pt x="355" y="222"/>
                </a:cubicBezTo>
                <a:cubicBezTo>
                  <a:pt x="355" y="223"/>
                  <a:pt x="355" y="223"/>
                  <a:pt x="355" y="223"/>
                </a:cubicBezTo>
                <a:cubicBezTo>
                  <a:pt x="356" y="224"/>
                  <a:pt x="356" y="224"/>
                  <a:pt x="356" y="224"/>
                </a:cubicBezTo>
                <a:cubicBezTo>
                  <a:pt x="358" y="225"/>
                  <a:pt x="358" y="225"/>
                  <a:pt x="358" y="225"/>
                </a:cubicBezTo>
                <a:cubicBezTo>
                  <a:pt x="359" y="224"/>
                  <a:pt x="359" y="224"/>
                  <a:pt x="359" y="224"/>
                </a:cubicBezTo>
                <a:cubicBezTo>
                  <a:pt x="361" y="225"/>
                  <a:pt x="361" y="225"/>
                  <a:pt x="361" y="225"/>
                </a:cubicBezTo>
                <a:cubicBezTo>
                  <a:pt x="362" y="226"/>
                  <a:pt x="362" y="226"/>
                  <a:pt x="362" y="226"/>
                </a:cubicBezTo>
                <a:cubicBezTo>
                  <a:pt x="362" y="226"/>
                  <a:pt x="362" y="226"/>
                  <a:pt x="362" y="226"/>
                </a:cubicBezTo>
                <a:cubicBezTo>
                  <a:pt x="362" y="227"/>
                  <a:pt x="362" y="227"/>
                  <a:pt x="362" y="227"/>
                </a:cubicBezTo>
                <a:cubicBezTo>
                  <a:pt x="362" y="227"/>
                  <a:pt x="362" y="227"/>
                  <a:pt x="362" y="227"/>
                </a:cubicBezTo>
                <a:cubicBezTo>
                  <a:pt x="361" y="228"/>
                  <a:pt x="361" y="228"/>
                  <a:pt x="361" y="228"/>
                </a:cubicBezTo>
                <a:cubicBezTo>
                  <a:pt x="361" y="227"/>
                  <a:pt x="361" y="227"/>
                  <a:pt x="361" y="227"/>
                </a:cubicBezTo>
                <a:cubicBezTo>
                  <a:pt x="360" y="227"/>
                  <a:pt x="360" y="227"/>
                  <a:pt x="360" y="227"/>
                </a:cubicBezTo>
                <a:cubicBezTo>
                  <a:pt x="360" y="228"/>
                  <a:pt x="360" y="228"/>
                  <a:pt x="360" y="228"/>
                </a:cubicBezTo>
                <a:cubicBezTo>
                  <a:pt x="363" y="229"/>
                  <a:pt x="363" y="229"/>
                  <a:pt x="363" y="229"/>
                </a:cubicBezTo>
                <a:cubicBezTo>
                  <a:pt x="363" y="231"/>
                  <a:pt x="363" y="231"/>
                  <a:pt x="363" y="231"/>
                </a:cubicBezTo>
                <a:cubicBezTo>
                  <a:pt x="362" y="231"/>
                  <a:pt x="362" y="231"/>
                  <a:pt x="362" y="231"/>
                </a:cubicBezTo>
                <a:cubicBezTo>
                  <a:pt x="362" y="231"/>
                  <a:pt x="362" y="231"/>
                  <a:pt x="362" y="231"/>
                </a:cubicBezTo>
                <a:cubicBezTo>
                  <a:pt x="363" y="231"/>
                  <a:pt x="363" y="231"/>
                  <a:pt x="363" y="231"/>
                </a:cubicBezTo>
                <a:cubicBezTo>
                  <a:pt x="365" y="231"/>
                  <a:pt x="365" y="231"/>
                  <a:pt x="365" y="231"/>
                </a:cubicBezTo>
                <a:cubicBezTo>
                  <a:pt x="366" y="232"/>
                  <a:pt x="366" y="232"/>
                  <a:pt x="366" y="232"/>
                </a:cubicBezTo>
                <a:cubicBezTo>
                  <a:pt x="366" y="232"/>
                  <a:pt x="366" y="232"/>
                  <a:pt x="366" y="232"/>
                </a:cubicBezTo>
                <a:cubicBezTo>
                  <a:pt x="366" y="233"/>
                  <a:pt x="366" y="233"/>
                  <a:pt x="366" y="233"/>
                </a:cubicBezTo>
                <a:cubicBezTo>
                  <a:pt x="366" y="234"/>
                  <a:pt x="366" y="234"/>
                  <a:pt x="366" y="234"/>
                </a:cubicBezTo>
                <a:cubicBezTo>
                  <a:pt x="364" y="236"/>
                  <a:pt x="364" y="236"/>
                  <a:pt x="364" y="236"/>
                </a:cubicBezTo>
                <a:cubicBezTo>
                  <a:pt x="363" y="236"/>
                  <a:pt x="363" y="236"/>
                  <a:pt x="363" y="236"/>
                </a:cubicBezTo>
                <a:cubicBezTo>
                  <a:pt x="362" y="236"/>
                  <a:pt x="362" y="236"/>
                  <a:pt x="362" y="236"/>
                </a:cubicBezTo>
                <a:cubicBezTo>
                  <a:pt x="363" y="236"/>
                  <a:pt x="363" y="236"/>
                  <a:pt x="363" y="236"/>
                </a:cubicBezTo>
                <a:cubicBezTo>
                  <a:pt x="364" y="237"/>
                  <a:pt x="364" y="237"/>
                  <a:pt x="364" y="237"/>
                </a:cubicBezTo>
                <a:cubicBezTo>
                  <a:pt x="364" y="238"/>
                  <a:pt x="364" y="238"/>
                  <a:pt x="364" y="238"/>
                </a:cubicBezTo>
                <a:cubicBezTo>
                  <a:pt x="365" y="238"/>
                  <a:pt x="365" y="238"/>
                  <a:pt x="365" y="238"/>
                </a:cubicBezTo>
                <a:cubicBezTo>
                  <a:pt x="365" y="238"/>
                  <a:pt x="365" y="238"/>
                  <a:pt x="365" y="238"/>
                </a:cubicBezTo>
                <a:cubicBezTo>
                  <a:pt x="364" y="239"/>
                  <a:pt x="364" y="239"/>
                  <a:pt x="364" y="239"/>
                </a:cubicBezTo>
                <a:cubicBezTo>
                  <a:pt x="365" y="240"/>
                  <a:pt x="365" y="240"/>
                  <a:pt x="365" y="240"/>
                </a:cubicBezTo>
                <a:cubicBezTo>
                  <a:pt x="363" y="241"/>
                  <a:pt x="363" y="241"/>
                  <a:pt x="363" y="241"/>
                </a:cubicBezTo>
                <a:cubicBezTo>
                  <a:pt x="361" y="241"/>
                  <a:pt x="361" y="241"/>
                  <a:pt x="361" y="241"/>
                </a:cubicBezTo>
                <a:cubicBezTo>
                  <a:pt x="361" y="241"/>
                  <a:pt x="361" y="241"/>
                  <a:pt x="361" y="241"/>
                </a:cubicBezTo>
                <a:cubicBezTo>
                  <a:pt x="360" y="242"/>
                  <a:pt x="360" y="242"/>
                  <a:pt x="360" y="242"/>
                </a:cubicBezTo>
                <a:cubicBezTo>
                  <a:pt x="359" y="242"/>
                  <a:pt x="359" y="242"/>
                  <a:pt x="359" y="242"/>
                </a:cubicBezTo>
                <a:cubicBezTo>
                  <a:pt x="358" y="240"/>
                  <a:pt x="358" y="240"/>
                  <a:pt x="358" y="240"/>
                </a:cubicBezTo>
                <a:cubicBezTo>
                  <a:pt x="357" y="240"/>
                  <a:pt x="357" y="240"/>
                  <a:pt x="357" y="240"/>
                </a:cubicBezTo>
                <a:cubicBezTo>
                  <a:pt x="357" y="240"/>
                  <a:pt x="357" y="240"/>
                  <a:pt x="357" y="240"/>
                </a:cubicBezTo>
                <a:cubicBezTo>
                  <a:pt x="356" y="240"/>
                  <a:pt x="356" y="240"/>
                  <a:pt x="356" y="240"/>
                </a:cubicBezTo>
                <a:cubicBezTo>
                  <a:pt x="356" y="241"/>
                  <a:pt x="356" y="241"/>
                  <a:pt x="356" y="241"/>
                </a:cubicBezTo>
                <a:cubicBezTo>
                  <a:pt x="355" y="241"/>
                  <a:pt x="355" y="241"/>
                  <a:pt x="355" y="241"/>
                </a:cubicBezTo>
                <a:cubicBezTo>
                  <a:pt x="356" y="241"/>
                  <a:pt x="356" y="241"/>
                  <a:pt x="356" y="241"/>
                </a:cubicBezTo>
                <a:cubicBezTo>
                  <a:pt x="357" y="242"/>
                  <a:pt x="357" y="242"/>
                  <a:pt x="357" y="242"/>
                </a:cubicBezTo>
                <a:cubicBezTo>
                  <a:pt x="357" y="243"/>
                  <a:pt x="357" y="243"/>
                  <a:pt x="357" y="243"/>
                </a:cubicBezTo>
                <a:cubicBezTo>
                  <a:pt x="356" y="244"/>
                  <a:pt x="356" y="244"/>
                  <a:pt x="356" y="244"/>
                </a:cubicBezTo>
                <a:cubicBezTo>
                  <a:pt x="357" y="244"/>
                  <a:pt x="357" y="244"/>
                  <a:pt x="357" y="244"/>
                </a:cubicBezTo>
                <a:cubicBezTo>
                  <a:pt x="356" y="245"/>
                  <a:pt x="356" y="245"/>
                  <a:pt x="356" y="245"/>
                </a:cubicBezTo>
                <a:cubicBezTo>
                  <a:pt x="356" y="246"/>
                  <a:pt x="356" y="246"/>
                  <a:pt x="356" y="246"/>
                </a:cubicBezTo>
                <a:cubicBezTo>
                  <a:pt x="357" y="246"/>
                  <a:pt x="357" y="246"/>
                  <a:pt x="357" y="246"/>
                </a:cubicBezTo>
                <a:cubicBezTo>
                  <a:pt x="357" y="245"/>
                  <a:pt x="357" y="245"/>
                  <a:pt x="357" y="245"/>
                </a:cubicBezTo>
                <a:cubicBezTo>
                  <a:pt x="358" y="245"/>
                  <a:pt x="358" y="245"/>
                  <a:pt x="358" y="245"/>
                </a:cubicBezTo>
                <a:cubicBezTo>
                  <a:pt x="358" y="246"/>
                  <a:pt x="358" y="246"/>
                  <a:pt x="358" y="246"/>
                </a:cubicBezTo>
                <a:cubicBezTo>
                  <a:pt x="356" y="246"/>
                  <a:pt x="356" y="246"/>
                  <a:pt x="356" y="246"/>
                </a:cubicBezTo>
                <a:cubicBezTo>
                  <a:pt x="356" y="248"/>
                  <a:pt x="356" y="248"/>
                  <a:pt x="356" y="248"/>
                </a:cubicBezTo>
                <a:cubicBezTo>
                  <a:pt x="356" y="249"/>
                  <a:pt x="356" y="249"/>
                  <a:pt x="356" y="249"/>
                </a:cubicBezTo>
                <a:cubicBezTo>
                  <a:pt x="357" y="250"/>
                  <a:pt x="357" y="250"/>
                  <a:pt x="357" y="250"/>
                </a:cubicBezTo>
                <a:cubicBezTo>
                  <a:pt x="357" y="251"/>
                  <a:pt x="357" y="251"/>
                  <a:pt x="357" y="251"/>
                </a:cubicBezTo>
                <a:cubicBezTo>
                  <a:pt x="358" y="254"/>
                  <a:pt x="358" y="254"/>
                  <a:pt x="358" y="254"/>
                </a:cubicBezTo>
                <a:cubicBezTo>
                  <a:pt x="358" y="255"/>
                  <a:pt x="358" y="255"/>
                  <a:pt x="358" y="255"/>
                </a:cubicBezTo>
                <a:cubicBezTo>
                  <a:pt x="358" y="255"/>
                  <a:pt x="358" y="255"/>
                  <a:pt x="358" y="255"/>
                </a:cubicBezTo>
                <a:cubicBezTo>
                  <a:pt x="358" y="256"/>
                  <a:pt x="358" y="256"/>
                  <a:pt x="358" y="256"/>
                </a:cubicBezTo>
                <a:cubicBezTo>
                  <a:pt x="356" y="258"/>
                  <a:pt x="356" y="258"/>
                  <a:pt x="356" y="258"/>
                </a:cubicBezTo>
                <a:cubicBezTo>
                  <a:pt x="356" y="259"/>
                  <a:pt x="356" y="259"/>
                  <a:pt x="356" y="259"/>
                </a:cubicBezTo>
                <a:cubicBezTo>
                  <a:pt x="356" y="260"/>
                  <a:pt x="356" y="260"/>
                  <a:pt x="356" y="260"/>
                </a:cubicBezTo>
                <a:cubicBezTo>
                  <a:pt x="355" y="259"/>
                  <a:pt x="355" y="259"/>
                  <a:pt x="355" y="259"/>
                </a:cubicBezTo>
                <a:cubicBezTo>
                  <a:pt x="353" y="259"/>
                  <a:pt x="353" y="259"/>
                  <a:pt x="353" y="259"/>
                </a:cubicBezTo>
                <a:cubicBezTo>
                  <a:pt x="352" y="260"/>
                  <a:pt x="352" y="260"/>
                  <a:pt x="352" y="260"/>
                </a:cubicBezTo>
                <a:cubicBezTo>
                  <a:pt x="351" y="261"/>
                  <a:pt x="351" y="261"/>
                  <a:pt x="351" y="261"/>
                </a:cubicBezTo>
                <a:cubicBezTo>
                  <a:pt x="350" y="262"/>
                  <a:pt x="350" y="262"/>
                  <a:pt x="350" y="262"/>
                </a:cubicBezTo>
                <a:cubicBezTo>
                  <a:pt x="350" y="263"/>
                  <a:pt x="350" y="263"/>
                  <a:pt x="350" y="263"/>
                </a:cubicBezTo>
                <a:cubicBezTo>
                  <a:pt x="349" y="263"/>
                  <a:pt x="349" y="263"/>
                  <a:pt x="349" y="263"/>
                </a:cubicBezTo>
                <a:cubicBezTo>
                  <a:pt x="347" y="265"/>
                  <a:pt x="347" y="265"/>
                  <a:pt x="347" y="265"/>
                </a:cubicBezTo>
                <a:cubicBezTo>
                  <a:pt x="346" y="265"/>
                  <a:pt x="346" y="265"/>
                  <a:pt x="346" y="265"/>
                </a:cubicBezTo>
                <a:cubicBezTo>
                  <a:pt x="345" y="265"/>
                  <a:pt x="345" y="265"/>
                  <a:pt x="345" y="265"/>
                </a:cubicBezTo>
                <a:cubicBezTo>
                  <a:pt x="345" y="266"/>
                  <a:pt x="345" y="266"/>
                  <a:pt x="345" y="266"/>
                </a:cubicBezTo>
                <a:cubicBezTo>
                  <a:pt x="341" y="267"/>
                  <a:pt x="341" y="267"/>
                  <a:pt x="341" y="267"/>
                </a:cubicBezTo>
                <a:cubicBezTo>
                  <a:pt x="341" y="266"/>
                  <a:pt x="341" y="266"/>
                  <a:pt x="341" y="266"/>
                </a:cubicBezTo>
                <a:cubicBezTo>
                  <a:pt x="341" y="265"/>
                  <a:pt x="341" y="265"/>
                  <a:pt x="341" y="265"/>
                </a:cubicBezTo>
                <a:cubicBezTo>
                  <a:pt x="341" y="264"/>
                  <a:pt x="341" y="264"/>
                  <a:pt x="341" y="264"/>
                </a:cubicBezTo>
                <a:cubicBezTo>
                  <a:pt x="340" y="263"/>
                  <a:pt x="340" y="263"/>
                  <a:pt x="340" y="263"/>
                </a:cubicBezTo>
                <a:cubicBezTo>
                  <a:pt x="340" y="262"/>
                  <a:pt x="340" y="262"/>
                  <a:pt x="340" y="262"/>
                </a:cubicBezTo>
                <a:cubicBezTo>
                  <a:pt x="341" y="262"/>
                  <a:pt x="341" y="262"/>
                  <a:pt x="341" y="262"/>
                </a:cubicBezTo>
                <a:cubicBezTo>
                  <a:pt x="341" y="261"/>
                  <a:pt x="341" y="261"/>
                  <a:pt x="341" y="261"/>
                </a:cubicBezTo>
                <a:cubicBezTo>
                  <a:pt x="342" y="259"/>
                  <a:pt x="342" y="259"/>
                  <a:pt x="342" y="259"/>
                </a:cubicBezTo>
                <a:cubicBezTo>
                  <a:pt x="341" y="261"/>
                  <a:pt x="341" y="261"/>
                  <a:pt x="341" y="261"/>
                </a:cubicBezTo>
                <a:cubicBezTo>
                  <a:pt x="340" y="261"/>
                  <a:pt x="340" y="261"/>
                  <a:pt x="340" y="261"/>
                </a:cubicBezTo>
                <a:cubicBezTo>
                  <a:pt x="340" y="258"/>
                  <a:pt x="340" y="258"/>
                  <a:pt x="340" y="258"/>
                </a:cubicBezTo>
                <a:cubicBezTo>
                  <a:pt x="339" y="258"/>
                  <a:pt x="339" y="258"/>
                  <a:pt x="339" y="258"/>
                </a:cubicBezTo>
                <a:cubicBezTo>
                  <a:pt x="339" y="257"/>
                  <a:pt x="339" y="257"/>
                  <a:pt x="339" y="257"/>
                </a:cubicBezTo>
                <a:cubicBezTo>
                  <a:pt x="337" y="257"/>
                  <a:pt x="337" y="257"/>
                  <a:pt x="337" y="257"/>
                </a:cubicBezTo>
                <a:cubicBezTo>
                  <a:pt x="337" y="257"/>
                  <a:pt x="337" y="257"/>
                  <a:pt x="337" y="257"/>
                </a:cubicBezTo>
                <a:cubicBezTo>
                  <a:pt x="336" y="257"/>
                  <a:pt x="336" y="257"/>
                  <a:pt x="336" y="257"/>
                </a:cubicBezTo>
                <a:cubicBezTo>
                  <a:pt x="335" y="259"/>
                  <a:pt x="335" y="259"/>
                  <a:pt x="335" y="259"/>
                </a:cubicBezTo>
                <a:cubicBezTo>
                  <a:pt x="335" y="259"/>
                  <a:pt x="335" y="259"/>
                  <a:pt x="335" y="259"/>
                </a:cubicBezTo>
                <a:cubicBezTo>
                  <a:pt x="337" y="258"/>
                  <a:pt x="337" y="258"/>
                  <a:pt x="337" y="258"/>
                </a:cubicBezTo>
                <a:cubicBezTo>
                  <a:pt x="338" y="258"/>
                  <a:pt x="338" y="258"/>
                  <a:pt x="338" y="258"/>
                </a:cubicBezTo>
                <a:cubicBezTo>
                  <a:pt x="338" y="259"/>
                  <a:pt x="338" y="259"/>
                  <a:pt x="338" y="259"/>
                </a:cubicBezTo>
                <a:cubicBezTo>
                  <a:pt x="339" y="260"/>
                  <a:pt x="339" y="260"/>
                  <a:pt x="339" y="260"/>
                </a:cubicBezTo>
                <a:cubicBezTo>
                  <a:pt x="339" y="262"/>
                  <a:pt x="339" y="262"/>
                  <a:pt x="339" y="262"/>
                </a:cubicBezTo>
                <a:cubicBezTo>
                  <a:pt x="339" y="263"/>
                  <a:pt x="339" y="263"/>
                  <a:pt x="339" y="263"/>
                </a:cubicBezTo>
                <a:cubicBezTo>
                  <a:pt x="340" y="264"/>
                  <a:pt x="340" y="264"/>
                  <a:pt x="340" y="264"/>
                </a:cubicBezTo>
                <a:cubicBezTo>
                  <a:pt x="340" y="266"/>
                  <a:pt x="340" y="266"/>
                  <a:pt x="340" y="266"/>
                </a:cubicBezTo>
                <a:cubicBezTo>
                  <a:pt x="339" y="266"/>
                  <a:pt x="339" y="266"/>
                  <a:pt x="339" y="266"/>
                </a:cubicBezTo>
                <a:cubicBezTo>
                  <a:pt x="340" y="267"/>
                  <a:pt x="340" y="267"/>
                  <a:pt x="340" y="267"/>
                </a:cubicBezTo>
                <a:cubicBezTo>
                  <a:pt x="340" y="268"/>
                  <a:pt x="340" y="268"/>
                  <a:pt x="340" y="268"/>
                </a:cubicBezTo>
                <a:cubicBezTo>
                  <a:pt x="339" y="268"/>
                  <a:pt x="339" y="268"/>
                  <a:pt x="339" y="268"/>
                </a:cubicBezTo>
                <a:cubicBezTo>
                  <a:pt x="337" y="266"/>
                  <a:pt x="337" y="266"/>
                  <a:pt x="337" y="266"/>
                </a:cubicBezTo>
                <a:cubicBezTo>
                  <a:pt x="337" y="265"/>
                  <a:pt x="337" y="265"/>
                  <a:pt x="337" y="265"/>
                </a:cubicBezTo>
                <a:cubicBezTo>
                  <a:pt x="336" y="265"/>
                  <a:pt x="336" y="265"/>
                  <a:pt x="336" y="265"/>
                </a:cubicBezTo>
                <a:cubicBezTo>
                  <a:pt x="336" y="264"/>
                  <a:pt x="336" y="264"/>
                  <a:pt x="336" y="264"/>
                </a:cubicBezTo>
                <a:cubicBezTo>
                  <a:pt x="335" y="265"/>
                  <a:pt x="335" y="265"/>
                  <a:pt x="335" y="265"/>
                </a:cubicBezTo>
                <a:cubicBezTo>
                  <a:pt x="336" y="266"/>
                  <a:pt x="336" y="266"/>
                  <a:pt x="336" y="266"/>
                </a:cubicBezTo>
                <a:cubicBezTo>
                  <a:pt x="336" y="267"/>
                  <a:pt x="336" y="267"/>
                  <a:pt x="336" y="267"/>
                </a:cubicBezTo>
                <a:cubicBezTo>
                  <a:pt x="335" y="266"/>
                  <a:pt x="335" y="266"/>
                  <a:pt x="335" y="266"/>
                </a:cubicBezTo>
                <a:cubicBezTo>
                  <a:pt x="334" y="266"/>
                  <a:pt x="334" y="266"/>
                  <a:pt x="334" y="266"/>
                </a:cubicBezTo>
                <a:cubicBezTo>
                  <a:pt x="333" y="265"/>
                  <a:pt x="333" y="265"/>
                  <a:pt x="333" y="265"/>
                </a:cubicBezTo>
                <a:cubicBezTo>
                  <a:pt x="333" y="266"/>
                  <a:pt x="333" y="266"/>
                  <a:pt x="333" y="266"/>
                </a:cubicBezTo>
                <a:cubicBezTo>
                  <a:pt x="333" y="265"/>
                  <a:pt x="333" y="265"/>
                  <a:pt x="333" y="265"/>
                </a:cubicBezTo>
                <a:cubicBezTo>
                  <a:pt x="333" y="263"/>
                  <a:pt x="333" y="263"/>
                  <a:pt x="333" y="263"/>
                </a:cubicBezTo>
                <a:cubicBezTo>
                  <a:pt x="333" y="263"/>
                  <a:pt x="333" y="263"/>
                  <a:pt x="333" y="263"/>
                </a:cubicBezTo>
                <a:cubicBezTo>
                  <a:pt x="333" y="262"/>
                  <a:pt x="333" y="262"/>
                  <a:pt x="333" y="262"/>
                </a:cubicBezTo>
                <a:cubicBezTo>
                  <a:pt x="333" y="262"/>
                  <a:pt x="333" y="262"/>
                  <a:pt x="333" y="262"/>
                </a:cubicBezTo>
                <a:cubicBezTo>
                  <a:pt x="331" y="262"/>
                  <a:pt x="331" y="262"/>
                  <a:pt x="331" y="262"/>
                </a:cubicBezTo>
                <a:cubicBezTo>
                  <a:pt x="329" y="262"/>
                  <a:pt x="329" y="262"/>
                  <a:pt x="329" y="262"/>
                </a:cubicBezTo>
                <a:cubicBezTo>
                  <a:pt x="328" y="262"/>
                  <a:pt x="328" y="262"/>
                  <a:pt x="328" y="262"/>
                </a:cubicBezTo>
                <a:cubicBezTo>
                  <a:pt x="327" y="262"/>
                  <a:pt x="327" y="262"/>
                  <a:pt x="327" y="262"/>
                </a:cubicBezTo>
                <a:cubicBezTo>
                  <a:pt x="326" y="261"/>
                  <a:pt x="326" y="261"/>
                  <a:pt x="326" y="261"/>
                </a:cubicBezTo>
                <a:cubicBezTo>
                  <a:pt x="326" y="262"/>
                  <a:pt x="326" y="262"/>
                  <a:pt x="326" y="262"/>
                </a:cubicBezTo>
                <a:cubicBezTo>
                  <a:pt x="326" y="263"/>
                  <a:pt x="326" y="263"/>
                  <a:pt x="326" y="263"/>
                </a:cubicBezTo>
                <a:cubicBezTo>
                  <a:pt x="326" y="263"/>
                  <a:pt x="326" y="263"/>
                  <a:pt x="326" y="263"/>
                </a:cubicBezTo>
                <a:cubicBezTo>
                  <a:pt x="326" y="264"/>
                  <a:pt x="326" y="264"/>
                  <a:pt x="326" y="264"/>
                </a:cubicBezTo>
                <a:cubicBezTo>
                  <a:pt x="326" y="265"/>
                  <a:pt x="326" y="265"/>
                  <a:pt x="326" y="265"/>
                </a:cubicBezTo>
                <a:cubicBezTo>
                  <a:pt x="328" y="266"/>
                  <a:pt x="328" y="266"/>
                  <a:pt x="328" y="266"/>
                </a:cubicBezTo>
                <a:cubicBezTo>
                  <a:pt x="328" y="267"/>
                  <a:pt x="328" y="267"/>
                  <a:pt x="328" y="267"/>
                </a:cubicBezTo>
                <a:cubicBezTo>
                  <a:pt x="327" y="268"/>
                  <a:pt x="327" y="268"/>
                  <a:pt x="327" y="268"/>
                </a:cubicBezTo>
                <a:cubicBezTo>
                  <a:pt x="327" y="269"/>
                  <a:pt x="327" y="269"/>
                  <a:pt x="327" y="269"/>
                </a:cubicBezTo>
                <a:cubicBezTo>
                  <a:pt x="324" y="271"/>
                  <a:pt x="324" y="271"/>
                  <a:pt x="324" y="271"/>
                </a:cubicBezTo>
                <a:cubicBezTo>
                  <a:pt x="322" y="272"/>
                  <a:pt x="322" y="272"/>
                  <a:pt x="322" y="272"/>
                </a:cubicBezTo>
                <a:cubicBezTo>
                  <a:pt x="321" y="274"/>
                  <a:pt x="321" y="274"/>
                  <a:pt x="321" y="274"/>
                </a:cubicBezTo>
                <a:cubicBezTo>
                  <a:pt x="320" y="274"/>
                  <a:pt x="320" y="274"/>
                  <a:pt x="320" y="274"/>
                </a:cubicBezTo>
                <a:cubicBezTo>
                  <a:pt x="319" y="274"/>
                  <a:pt x="319" y="274"/>
                  <a:pt x="319" y="274"/>
                </a:cubicBezTo>
                <a:cubicBezTo>
                  <a:pt x="319" y="276"/>
                  <a:pt x="319" y="276"/>
                  <a:pt x="319" y="276"/>
                </a:cubicBezTo>
                <a:cubicBezTo>
                  <a:pt x="317" y="276"/>
                  <a:pt x="317" y="276"/>
                  <a:pt x="317" y="276"/>
                </a:cubicBezTo>
                <a:cubicBezTo>
                  <a:pt x="314" y="276"/>
                  <a:pt x="314" y="276"/>
                  <a:pt x="314" y="276"/>
                </a:cubicBezTo>
                <a:cubicBezTo>
                  <a:pt x="313" y="274"/>
                  <a:pt x="313" y="274"/>
                  <a:pt x="313" y="274"/>
                </a:cubicBezTo>
                <a:cubicBezTo>
                  <a:pt x="312" y="273"/>
                  <a:pt x="312" y="273"/>
                  <a:pt x="312" y="273"/>
                </a:cubicBezTo>
                <a:cubicBezTo>
                  <a:pt x="310" y="272"/>
                  <a:pt x="310" y="272"/>
                  <a:pt x="310" y="272"/>
                </a:cubicBezTo>
                <a:cubicBezTo>
                  <a:pt x="310" y="272"/>
                  <a:pt x="310" y="272"/>
                  <a:pt x="310" y="272"/>
                </a:cubicBezTo>
                <a:cubicBezTo>
                  <a:pt x="311" y="271"/>
                  <a:pt x="311" y="271"/>
                  <a:pt x="311" y="271"/>
                </a:cubicBezTo>
                <a:cubicBezTo>
                  <a:pt x="311" y="271"/>
                  <a:pt x="311" y="271"/>
                  <a:pt x="311" y="271"/>
                </a:cubicBezTo>
                <a:cubicBezTo>
                  <a:pt x="311" y="270"/>
                  <a:pt x="311" y="270"/>
                  <a:pt x="311" y="270"/>
                </a:cubicBezTo>
                <a:cubicBezTo>
                  <a:pt x="310" y="270"/>
                  <a:pt x="310" y="270"/>
                  <a:pt x="310" y="270"/>
                </a:cubicBezTo>
                <a:cubicBezTo>
                  <a:pt x="308" y="268"/>
                  <a:pt x="308" y="268"/>
                  <a:pt x="308" y="268"/>
                </a:cubicBezTo>
                <a:cubicBezTo>
                  <a:pt x="307" y="266"/>
                  <a:pt x="307" y="266"/>
                  <a:pt x="307" y="266"/>
                </a:cubicBezTo>
                <a:cubicBezTo>
                  <a:pt x="304" y="266"/>
                  <a:pt x="304" y="266"/>
                  <a:pt x="304" y="266"/>
                </a:cubicBezTo>
                <a:cubicBezTo>
                  <a:pt x="302" y="265"/>
                  <a:pt x="302" y="265"/>
                  <a:pt x="302" y="265"/>
                </a:cubicBezTo>
                <a:cubicBezTo>
                  <a:pt x="299" y="265"/>
                  <a:pt x="299" y="265"/>
                  <a:pt x="299" y="265"/>
                </a:cubicBezTo>
                <a:cubicBezTo>
                  <a:pt x="298" y="265"/>
                  <a:pt x="298" y="265"/>
                  <a:pt x="298" y="265"/>
                </a:cubicBezTo>
                <a:cubicBezTo>
                  <a:pt x="298" y="266"/>
                  <a:pt x="298" y="266"/>
                  <a:pt x="298" y="266"/>
                </a:cubicBezTo>
                <a:cubicBezTo>
                  <a:pt x="299" y="266"/>
                  <a:pt x="299" y="266"/>
                  <a:pt x="299" y="266"/>
                </a:cubicBezTo>
                <a:cubicBezTo>
                  <a:pt x="299" y="266"/>
                  <a:pt x="299" y="266"/>
                  <a:pt x="299" y="266"/>
                </a:cubicBezTo>
                <a:cubicBezTo>
                  <a:pt x="300" y="266"/>
                  <a:pt x="300" y="266"/>
                  <a:pt x="300" y="266"/>
                </a:cubicBezTo>
                <a:cubicBezTo>
                  <a:pt x="303" y="267"/>
                  <a:pt x="303" y="267"/>
                  <a:pt x="303" y="267"/>
                </a:cubicBezTo>
                <a:cubicBezTo>
                  <a:pt x="306" y="267"/>
                  <a:pt x="306" y="267"/>
                  <a:pt x="306" y="267"/>
                </a:cubicBezTo>
                <a:cubicBezTo>
                  <a:pt x="306" y="267"/>
                  <a:pt x="306" y="267"/>
                  <a:pt x="306" y="267"/>
                </a:cubicBezTo>
                <a:cubicBezTo>
                  <a:pt x="306" y="268"/>
                  <a:pt x="306" y="268"/>
                  <a:pt x="306" y="268"/>
                </a:cubicBezTo>
                <a:cubicBezTo>
                  <a:pt x="306" y="268"/>
                  <a:pt x="306" y="268"/>
                  <a:pt x="306" y="268"/>
                </a:cubicBezTo>
                <a:cubicBezTo>
                  <a:pt x="305" y="268"/>
                  <a:pt x="305" y="268"/>
                  <a:pt x="305" y="268"/>
                </a:cubicBezTo>
                <a:cubicBezTo>
                  <a:pt x="306" y="269"/>
                  <a:pt x="306" y="269"/>
                  <a:pt x="306" y="269"/>
                </a:cubicBezTo>
                <a:cubicBezTo>
                  <a:pt x="306" y="271"/>
                  <a:pt x="306" y="271"/>
                  <a:pt x="306" y="271"/>
                </a:cubicBezTo>
                <a:cubicBezTo>
                  <a:pt x="306" y="271"/>
                  <a:pt x="306" y="271"/>
                  <a:pt x="306" y="271"/>
                </a:cubicBezTo>
                <a:cubicBezTo>
                  <a:pt x="308" y="274"/>
                  <a:pt x="308" y="274"/>
                  <a:pt x="308" y="274"/>
                </a:cubicBezTo>
                <a:cubicBezTo>
                  <a:pt x="309" y="275"/>
                  <a:pt x="309" y="275"/>
                  <a:pt x="309" y="275"/>
                </a:cubicBezTo>
                <a:cubicBezTo>
                  <a:pt x="311" y="276"/>
                  <a:pt x="311" y="276"/>
                  <a:pt x="311" y="276"/>
                </a:cubicBezTo>
                <a:cubicBezTo>
                  <a:pt x="313" y="277"/>
                  <a:pt x="313" y="277"/>
                  <a:pt x="313" y="277"/>
                </a:cubicBezTo>
                <a:cubicBezTo>
                  <a:pt x="318" y="278"/>
                  <a:pt x="318" y="278"/>
                  <a:pt x="318" y="278"/>
                </a:cubicBezTo>
                <a:cubicBezTo>
                  <a:pt x="318" y="279"/>
                  <a:pt x="318" y="279"/>
                  <a:pt x="318" y="279"/>
                </a:cubicBezTo>
                <a:cubicBezTo>
                  <a:pt x="317" y="280"/>
                  <a:pt x="317" y="280"/>
                  <a:pt x="317" y="280"/>
                </a:cubicBezTo>
                <a:cubicBezTo>
                  <a:pt x="316" y="281"/>
                  <a:pt x="316" y="281"/>
                  <a:pt x="316" y="281"/>
                </a:cubicBezTo>
                <a:cubicBezTo>
                  <a:pt x="315" y="281"/>
                  <a:pt x="315" y="281"/>
                  <a:pt x="315" y="281"/>
                </a:cubicBezTo>
                <a:cubicBezTo>
                  <a:pt x="313" y="284"/>
                  <a:pt x="313" y="284"/>
                  <a:pt x="313" y="284"/>
                </a:cubicBezTo>
                <a:cubicBezTo>
                  <a:pt x="313" y="283"/>
                  <a:pt x="313" y="283"/>
                  <a:pt x="313" y="283"/>
                </a:cubicBezTo>
                <a:cubicBezTo>
                  <a:pt x="312" y="284"/>
                  <a:pt x="312" y="284"/>
                  <a:pt x="312" y="284"/>
                </a:cubicBezTo>
                <a:cubicBezTo>
                  <a:pt x="312" y="284"/>
                  <a:pt x="312" y="284"/>
                  <a:pt x="312" y="284"/>
                </a:cubicBezTo>
                <a:cubicBezTo>
                  <a:pt x="308" y="289"/>
                  <a:pt x="308" y="289"/>
                  <a:pt x="308" y="289"/>
                </a:cubicBezTo>
                <a:cubicBezTo>
                  <a:pt x="306" y="289"/>
                  <a:pt x="306" y="289"/>
                  <a:pt x="306" y="289"/>
                </a:cubicBezTo>
                <a:cubicBezTo>
                  <a:pt x="305" y="291"/>
                  <a:pt x="305" y="291"/>
                  <a:pt x="305" y="291"/>
                </a:cubicBezTo>
                <a:cubicBezTo>
                  <a:pt x="304" y="291"/>
                  <a:pt x="304" y="291"/>
                  <a:pt x="304" y="291"/>
                </a:cubicBezTo>
                <a:cubicBezTo>
                  <a:pt x="304" y="291"/>
                  <a:pt x="304" y="291"/>
                  <a:pt x="304" y="291"/>
                </a:cubicBezTo>
                <a:cubicBezTo>
                  <a:pt x="303" y="291"/>
                  <a:pt x="303" y="291"/>
                  <a:pt x="303" y="291"/>
                </a:cubicBezTo>
                <a:cubicBezTo>
                  <a:pt x="303" y="292"/>
                  <a:pt x="303" y="292"/>
                  <a:pt x="303" y="292"/>
                </a:cubicBezTo>
                <a:cubicBezTo>
                  <a:pt x="301" y="290"/>
                  <a:pt x="301" y="290"/>
                  <a:pt x="301" y="290"/>
                </a:cubicBezTo>
                <a:cubicBezTo>
                  <a:pt x="300" y="289"/>
                  <a:pt x="300" y="289"/>
                  <a:pt x="300" y="289"/>
                </a:cubicBezTo>
                <a:cubicBezTo>
                  <a:pt x="299" y="290"/>
                  <a:pt x="299" y="290"/>
                  <a:pt x="299" y="290"/>
                </a:cubicBezTo>
                <a:cubicBezTo>
                  <a:pt x="299" y="289"/>
                  <a:pt x="299" y="289"/>
                  <a:pt x="299" y="289"/>
                </a:cubicBezTo>
                <a:cubicBezTo>
                  <a:pt x="299" y="289"/>
                  <a:pt x="299" y="289"/>
                  <a:pt x="299" y="289"/>
                </a:cubicBezTo>
                <a:cubicBezTo>
                  <a:pt x="300" y="288"/>
                  <a:pt x="300" y="288"/>
                  <a:pt x="300" y="288"/>
                </a:cubicBezTo>
                <a:cubicBezTo>
                  <a:pt x="299" y="288"/>
                  <a:pt x="299" y="288"/>
                  <a:pt x="299" y="288"/>
                </a:cubicBezTo>
                <a:cubicBezTo>
                  <a:pt x="299" y="287"/>
                  <a:pt x="299" y="287"/>
                  <a:pt x="299" y="287"/>
                </a:cubicBezTo>
                <a:cubicBezTo>
                  <a:pt x="298" y="288"/>
                  <a:pt x="298" y="288"/>
                  <a:pt x="298" y="288"/>
                </a:cubicBezTo>
                <a:cubicBezTo>
                  <a:pt x="297" y="290"/>
                  <a:pt x="297" y="290"/>
                  <a:pt x="297" y="290"/>
                </a:cubicBezTo>
                <a:cubicBezTo>
                  <a:pt x="297" y="289"/>
                  <a:pt x="297" y="289"/>
                  <a:pt x="297" y="289"/>
                </a:cubicBezTo>
                <a:cubicBezTo>
                  <a:pt x="296" y="287"/>
                  <a:pt x="296" y="287"/>
                  <a:pt x="296" y="287"/>
                </a:cubicBezTo>
                <a:cubicBezTo>
                  <a:pt x="295" y="289"/>
                  <a:pt x="295" y="289"/>
                  <a:pt x="295" y="289"/>
                </a:cubicBezTo>
                <a:cubicBezTo>
                  <a:pt x="296" y="290"/>
                  <a:pt x="296" y="290"/>
                  <a:pt x="296" y="290"/>
                </a:cubicBezTo>
                <a:cubicBezTo>
                  <a:pt x="296" y="292"/>
                  <a:pt x="296" y="292"/>
                  <a:pt x="296" y="292"/>
                </a:cubicBezTo>
                <a:cubicBezTo>
                  <a:pt x="294" y="294"/>
                  <a:pt x="294" y="294"/>
                  <a:pt x="294" y="294"/>
                </a:cubicBezTo>
                <a:cubicBezTo>
                  <a:pt x="294" y="294"/>
                  <a:pt x="294" y="294"/>
                  <a:pt x="294" y="294"/>
                </a:cubicBezTo>
                <a:cubicBezTo>
                  <a:pt x="293" y="293"/>
                  <a:pt x="293" y="293"/>
                  <a:pt x="293" y="293"/>
                </a:cubicBezTo>
                <a:cubicBezTo>
                  <a:pt x="292" y="292"/>
                  <a:pt x="292" y="292"/>
                  <a:pt x="292" y="292"/>
                </a:cubicBezTo>
                <a:cubicBezTo>
                  <a:pt x="292" y="293"/>
                  <a:pt x="292" y="293"/>
                  <a:pt x="292" y="293"/>
                </a:cubicBezTo>
                <a:cubicBezTo>
                  <a:pt x="293" y="293"/>
                  <a:pt x="293" y="293"/>
                  <a:pt x="293" y="293"/>
                </a:cubicBezTo>
                <a:cubicBezTo>
                  <a:pt x="292" y="294"/>
                  <a:pt x="292" y="294"/>
                  <a:pt x="292" y="294"/>
                </a:cubicBezTo>
                <a:cubicBezTo>
                  <a:pt x="292" y="295"/>
                  <a:pt x="292" y="295"/>
                  <a:pt x="292" y="295"/>
                </a:cubicBezTo>
                <a:cubicBezTo>
                  <a:pt x="291" y="295"/>
                  <a:pt x="291" y="295"/>
                  <a:pt x="291" y="295"/>
                </a:cubicBezTo>
                <a:cubicBezTo>
                  <a:pt x="290" y="295"/>
                  <a:pt x="290" y="295"/>
                  <a:pt x="290" y="295"/>
                </a:cubicBezTo>
                <a:cubicBezTo>
                  <a:pt x="290" y="294"/>
                  <a:pt x="290" y="294"/>
                  <a:pt x="290" y="294"/>
                </a:cubicBezTo>
                <a:cubicBezTo>
                  <a:pt x="289" y="293"/>
                  <a:pt x="289" y="293"/>
                  <a:pt x="289" y="293"/>
                </a:cubicBezTo>
                <a:cubicBezTo>
                  <a:pt x="287" y="291"/>
                  <a:pt x="287" y="291"/>
                  <a:pt x="287" y="291"/>
                </a:cubicBezTo>
                <a:cubicBezTo>
                  <a:pt x="285" y="290"/>
                  <a:pt x="285" y="290"/>
                  <a:pt x="285" y="290"/>
                </a:cubicBezTo>
                <a:cubicBezTo>
                  <a:pt x="282" y="289"/>
                  <a:pt x="282" y="289"/>
                  <a:pt x="282" y="289"/>
                </a:cubicBezTo>
                <a:cubicBezTo>
                  <a:pt x="282" y="287"/>
                  <a:pt x="282" y="287"/>
                  <a:pt x="282" y="287"/>
                </a:cubicBezTo>
                <a:cubicBezTo>
                  <a:pt x="281" y="287"/>
                  <a:pt x="281" y="287"/>
                  <a:pt x="281" y="287"/>
                </a:cubicBezTo>
                <a:cubicBezTo>
                  <a:pt x="279" y="286"/>
                  <a:pt x="279" y="286"/>
                  <a:pt x="279" y="286"/>
                </a:cubicBezTo>
                <a:cubicBezTo>
                  <a:pt x="278" y="285"/>
                  <a:pt x="278" y="285"/>
                  <a:pt x="278" y="285"/>
                </a:cubicBezTo>
                <a:cubicBezTo>
                  <a:pt x="278" y="286"/>
                  <a:pt x="278" y="286"/>
                  <a:pt x="278" y="286"/>
                </a:cubicBezTo>
                <a:cubicBezTo>
                  <a:pt x="277" y="286"/>
                  <a:pt x="277" y="286"/>
                  <a:pt x="277" y="286"/>
                </a:cubicBezTo>
                <a:cubicBezTo>
                  <a:pt x="278" y="288"/>
                  <a:pt x="278" y="288"/>
                  <a:pt x="278" y="288"/>
                </a:cubicBezTo>
                <a:cubicBezTo>
                  <a:pt x="279" y="289"/>
                  <a:pt x="279" y="289"/>
                  <a:pt x="279" y="289"/>
                </a:cubicBezTo>
                <a:cubicBezTo>
                  <a:pt x="279" y="288"/>
                  <a:pt x="279" y="288"/>
                  <a:pt x="279" y="288"/>
                </a:cubicBezTo>
                <a:cubicBezTo>
                  <a:pt x="279" y="288"/>
                  <a:pt x="279" y="288"/>
                  <a:pt x="279" y="288"/>
                </a:cubicBezTo>
                <a:cubicBezTo>
                  <a:pt x="279" y="287"/>
                  <a:pt x="279" y="287"/>
                  <a:pt x="279" y="287"/>
                </a:cubicBezTo>
                <a:cubicBezTo>
                  <a:pt x="280" y="287"/>
                  <a:pt x="280" y="287"/>
                  <a:pt x="280" y="287"/>
                </a:cubicBezTo>
                <a:cubicBezTo>
                  <a:pt x="282" y="290"/>
                  <a:pt x="282" y="290"/>
                  <a:pt x="282" y="290"/>
                </a:cubicBezTo>
                <a:cubicBezTo>
                  <a:pt x="284" y="291"/>
                  <a:pt x="284" y="291"/>
                  <a:pt x="284" y="291"/>
                </a:cubicBezTo>
                <a:cubicBezTo>
                  <a:pt x="285" y="292"/>
                  <a:pt x="285" y="292"/>
                  <a:pt x="285" y="292"/>
                </a:cubicBezTo>
                <a:cubicBezTo>
                  <a:pt x="283" y="293"/>
                  <a:pt x="283" y="293"/>
                  <a:pt x="283" y="293"/>
                </a:cubicBezTo>
                <a:cubicBezTo>
                  <a:pt x="282" y="293"/>
                  <a:pt x="282" y="293"/>
                  <a:pt x="282" y="293"/>
                </a:cubicBezTo>
                <a:cubicBezTo>
                  <a:pt x="281" y="293"/>
                  <a:pt x="281" y="293"/>
                  <a:pt x="281" y="293"/>
                </a:cubicBezTo>
                <a:cubicBezTo>
                  <a:pt x="281" y="293"/>
                  <a:pt x="281" y="293"/>
                  <a:pt x="281" y="293"/>
                </a:cubicBezTo>
                <a:cubicBezTo>
                  <a:pt x="281" y="294"/>
                  <a:pt x="281" y="294"/>
                  <a:pt x="281" y="294"/>
                </a:cubicBezTo>
                <a:cubicBezTo>
                  <a:pt x="282" y="293"/>
                  <a:pt x="282" y="293"/>
                  <a:pt x="282" y="293"/>
                </a:cubicBezTo>
                <a:cubicBezTo>
                  <a:pt x="284" y="293"/>
                  <a:pt x="284" y="293"/>
                  <a:pt x="284" y="293"/>
                </a:cubicBezTo>
                <a:cubicBezTo>
                  <a:pt x="286" y="292"/>
                  <a:pt x="286" y="292"/>
                  <a:pt x="286" y="292"/>
                </a:cubicBezTo>
                <a:cubicBezTo>
                  <a:pt x="286" y="292"/>
                  <a:pt x="286" y="292"/>
                  <a:pt x="286" y="292"/>
                </a:cubicBezTo>
                <a:cubicBezTo>
                  <a:pt x="287" y="293"/>
                  <a:pt x="287" y="293"/>
                  <a:pt x="287" y="293"/>
                </a:cubicBezTo>
                <a:cubicBezTo>
                  <a:pt x="287" y="294"/>
                  <a:pt x="287" y="294"/>
                  <a:pt x="287" y="294"/>
                </a:cubicBezTo>
                <a:cubicBezTo>
                  <a:pt x="290" y="297"/>
                  <a:pt x="290" y="297"/>
                  <a:pt x="290" y="297"/>
                </a:cubicBezTo>
                <a:cubicBezTo>
                  <a:pt x="289" y="300"/>
                  <a:pt x="289" y="300"/>
                  <a:pt x="289" y="300"/>
                </a:cubicBezTo>
                <a:cubicBezTo>
                  <a:pt x="288" y="302"/>
                  <a:pt x="288" y="302"/>
                  <a:pt x="288" y="302"/>
                </a:cubicBezTo>
                <a:cubicBezTo>
                  <a:pt x="287" y="302"/>
                  <a:pt x="287" y="302"/>
                  <a:pt x="287" y="302"/>
                </a:cubicBezTo>
                <a:cubicBezTo>
                  <a:pt x="286" y="302"/>
                  <a:pt x="286" y="302"/>
                  <a:pt x="286" y="302"/>
                </a:cubicBezTo>
                <a:cubicBezTo>
                  <a:pt x="284" y="302"/>
                  <a:pt x="284" y="302"/>
                  <a:pt x="284" y="302"/>
                </a:cubicBezTo>
                <a:cubicBezTo>
                  <a:pt x="283" y="301"/>
                  <a:pt x="283" y="301"/>
                  <a:pt x="283" y="301"/>
                </a:cubicBezTo>
                <a:cubicBezTo>
                  <a:pt x="281" y="301"/>
                  <a:pt x="281" y="301"/>
                  <a:pt x="281" y="301"/>
                </a:cubicBezTo>
                <a:cubicBezTo>
                  <a:pt x="279" y="299"/>
                  <a:pt x="279" y="299"/>
                  <a:pt x="279" y="299"/>
                </a:cubicBezTo>
                <a:cubicBezTo>
                  <a:pt x="278" y="297"/>
                  <a:pt x="278" y="297"/>
                  <a:pt x="278" y="297"/>
                </a:cubicBezTo>
                <a:cubicBezTo>
                  <a:pt x="277" y="296"/>
                  <a:pt x="277" y="296"/>
                  <a:pt x="277" y="296"/>
                </a:cubicBezTo>
                <a:cubicBezTo>
                  <a:pt x="277" y="296"/>
                  <a:pt x="277" y="296"/>
                  <a:pt x="277" y="296"/>
                </a:cubicBezTo>
                <a:cubicBezTo>
                  <a:pt x="277" y="297"/>
                  <a:pt x="277" y="297"/>
                  <a:pt x="277" y="297"/>
                </a:cubicBezTo>
                <a:cubicBezTo>
                  <a:pt x="277" y="298"/>
                  <a:pt x="277" y="298"/>
                  <a:pt x="277" y="298"/>
                </a:cubicBezTo>
                <a:cubicBezTo>
                  <a:pt x="278" y="300"/>
                  <a:pt x="278" y="300"/>
                  <a:pt x="278" y="300"/>
                </a:cubicBezTo>
                <a:cubicBezTo>
                  <a:pt x="279" y="302"/>
                  <a:pt x="279" y="302"/>
                  <a:pt x="279" y="302"/>
                </a:cubicBezTo>
                <a:cubicBezTo>
                  <a:pt x="281" y="305"/>
                  <a:pt x="281" y="305"/>
                  <a:pt x="281" y="305"/>
                </a:cubicBezTo>
                <a:cubicBezTo>
                  <a:pt x="280" y="305"/>
                  <a:pt x="280" y="305"/>
                  <a:pt x="280" y="305"/>
                </a:cubicBezTo>
                <a:cubicBezTo>
                  <a:pt x="279" y="305"/>
                  <a:pt x="279" y="305"/>
                  <a:pt x="279" y="305"/>
                </a:cubicBezTo>
                <a:cubicBezTo>
                  <a:pt x="278" y="305"/>
                  <a:pt x="278" y="305"/>
                  <a:pt x="278" y="305"/>
                </a:cubicBezTo>
                <a:cubicBezTo>
                  <a:pt x="278" y="303"/>
                  <a:pt x="278" y="303"/>
                  <a:pt x="278" y="303"/>
                </a:cubicBezTo>
                <a:cubicBezTo>
                  <a:pt x="277" y="304"/>
                  <a:pt x="277" y="304"/>
                  <a:pt x="277" y="304"/>
                </a:cubicBezTo>
                <a:cubicBezTo>
                  <a:pt x="277" y="305"/>
                  <a:pt x="277" y="305"/>
                  <a:pt x="277" y="305"/>
                </a:cubicBezTo>
                <a:cubicBezTo>
                  <a:pt x="277" y="305"/>
                  <a:pt x="277" y="305"/>
                  <a:pt x="277" y="305"/>
                </a:cubicBezTo>
                <a:cubicBezTo>
                  <a:pt x="278" y="306"/>
                  <a:pt x="278" y="306"/>
                  <a:pt x="278" y="306"/>
                </a:cubicBezTo>
                <a:cubicBezTo>
                  <a:pt x="279" y="307"/>
                  <a:pt x="279" y="307"/>
                  <a:pt x="279" y="307"/>
                </a:cubicBezTo>
                <a:cubicBezTo>
                  <a:pt x="276" y="306"/>
                  <a:pt x="276" y="306"/>
                  <a:pt x="276" y="306"/>
                </a:cubicBezTo>
                <a:cubicBezTo>
                  <a:pt x="276" y="306"/>
                  <a:pt x="276" y="306"/>
                  <a:pt x="276" y="306"/>
                </a:cubicBezTo>
                <a:cubicBezTo>
                  <a:pt x="276" y="307"/>
                  <a:pt x="276" y="307"/>
                  <a:pt x="276" y="307"/>
                </a:cubicBezTo>
                <a:cubicBezTo>
                  <a:pt x="276" y="307"/>
                  <a:pt x="276" y="307"/>
                  <a:pt x="276" y="307"/>
                </a:cubicBezTo>
                <a:cubicBezTo>
                  <a:pt x="276" y="308"/>
                  <a:pt x="276" y="308"/>
                  <a:pt x="276" y="308"/>
                </a:cubicBezTo>
                <a:cubicBezTo>
                  <a:pt x="276" y="309"/>
                  <a:pt x="276" y="309"/>
                  <a:pt x="276" y="309"/>
                </a:cubicBezTo>
                <a:cubicBezTo>
                  <a:pt x="275" y="308"/>
                  <a:pt x="275" y="308"/>
                  <a:pt x="275" y="308"/>
                </a:cubicBezTo>
                <a:cubicBezTo>
                  <a:pt x="275" y="308"/>
                  <a:pt x="275" y="308"/>
                  <a:pt x="275" y="308"/>
                </a:cubicBezTo>
                <a:cubicBezTo>
                  <a:pt x="275" y="308"/>
                  <a:pt x="275" y="308"/>
                  <a:pt x="275" y="308"/>
                </a:cubicBezTo>
                <a:cubicBezTo>
                  <a:pt x="275" y="309"/>
                  <a:pt x="275" y="309"/>
                  <a:pt x="275" y="309"/>
                </a:cubicBezTo>
                <a:cubicBezTo>
                  <a:pt x="274" y="309"/>
                  <a:pt x="274" y="309"/>
                  <a:pt x="274" y="309"/>
                </a:cubicBezTo>
                <a:cubicBezTo>
                  <a:pt x="273" y="309"/>
                  <a:pt x="273" y="309"/>
                  <a:pt x="273" y="309"/>
                </a:cubicBezTo>
                <a:cubicBezTo>
                  <a:pt x="272" y="310"/>
                  <a:pt x="272" y="310"/>
                  <a:pt x="272" y="310"/>
                </a:cubicBezTo>
                <a:cubicBezTo>
                  <a:pt x="270" y="310"/>
                  <a:pt x="270" y="310"/>
                  <a:pt x="270" y="310"/>
                </a:cubicBezTo>
                <a:cubicBezTo>
                  <a:pt x="271" y="311"/>
                  <a:pt x="271" y="311"/>
                  <a:pt x="271" y="311"/>
                </a:cubicBezTo>
                <a:cubicBezTo>
                  <a:pt x="272" y="312"/>
                  <a:pt x="272" y="312"/>
                  <a:pt x="272" y="312"/>
                </a:cubicBezTo>
                <a:cubicBezTo>
                  <a:pt x="271" y="312"/>
                  <a:pt x="271" y="312"/>
                  <a:pt x="271" y="312"/>
                </a:cubicBezTo>
                <a:cubicBezTo>
                  <a:pt x="271" y="312"/>
                  <a:pt x="271" y="312"/>
                  <a:pt x="271" y="312"/>
                </a:cubicBezTo>
                <a:cubicBezTo>
                  <a:pt x="269" y="311"/>
                  <a:pt x="269" y="311"/>
                  <a:pt x="269" y="311"/>
                </a:cubicBezTo>
                <a:cubicBezTo>
                  <a:pt x="268" y="310"/>
                  <a:pt x="268" y="310"/>
                  <a:pt x="268" y="310"/>
                </a:cubicBezTo>
                <a:cubicBezTo>
                  <a:pt x="268" y="311"/>
                  <a:pt x="268" y="311"/>
                  <a:pt x="268" y="311"/>
                </a:cubicBezTo>
                <a:cubicBezTo>
                  <a:pt x="268" y="312"/>
                  <a:pt x="268" y="312"/>
                  <a:pt x="268" y="312"/>
                </a:cubicBezTo>
                <a:cubicBezTo>
                  <a:pt x="269" y="313"/>
                  <a:pt x="269" y="313"/>
                  <a:pt x="269" y="313"/>
                </a:cubicBezTo>
                <a:cubicBezTo>
                  <a:pt x="269" y="313"/>
                  <a:pt x="269" y="313"/>
                  <a:pt x="269" y="313"/>
                </a:cubicBezTo>
                <a:cubicBezTo>
                  <a:pt x="269" y="314"/>
                  <a:pt x="269" y="314"/>
                  <a:pt x="269" y="314"/>
                </a:cubicBezTo>
                <a:cubicBezTo>
                  <a:pt x="267" y="314"/>
                  <a:pt x="267" y="314"/>
                  <a:pt x="267" y="314"/>
                </a:cubicBezTo>
                <a:cubicBezTo>
                  <a:pt x="266" y="316"/>
                  <a:pt x="266" y="316"/>
                  <a:pt x="266" y="316"/>
                </a:cubicBezTo>
                <a:cubicBezTo>
                  <a:pt x="265" y="316"/>
                  <a:pt x="265" y="316"/>
                  <a:pt x="265" y="316"/>
                </a:cubicBezTo>
                <a:cubicBezTo>
                  <a:pt x="266" y="317"/>
                  <a:pt x="266" y="317"/>
                  <a:pt x="266" y="317"/>
                </a:cubicBezTo>
                <a:cubicBezTo>
                  <a:pt x="265" y="318"/>
                  <a:pt x="265" y="318"/>
                  <a:pt x="265" y="318"/>
                </a:cubicBezTo>
                <a:cubicBezTo>
                  <a:pt x="264" y="318"/>
                  <a:pt x="264" y="318"/>
                  <a:pt x="264" y="318"/>
                </a:cubicBezTo>
                <a:cubicBezTo>
                  <a:pt x="264" y="319"/>
                  <a:pt x="264" y="319"/>
                  <a:pt x="264" y="319"/>
                </a:cubicBezTo>
                <a:cubicBezTo>
                  <a:pt x="264" y="320"/>
                  <a:pt x="264" y="320"/>
                  <a:pt x="264" y="320"/>
                </a:cubicBezTo>
                <a:cubicBezTo>
                  <a:pt x="263" y="320"/>
                  <a:pt x="263" y="320"/>
                  <a:pt x="263" y="320"/>
                </a:cubicBezTo>
                <a:cubicBezTo>
                  <a:pt x="261" y="323"/>
                  <a:pt x="261" y="323"/>
                  <a:pt x="261" y="323"/>
                </a:cubicBezTo>
                <a:cubicBezTo>
                  <a:pt x="260" y="323"/>
                  <a:pt x="260" y="323"/>
                  <a:pt x="260" y="323"/>
                </a:cubicBezTo>
                <a:cubicBezTo>
                  <a:pt x="260" y="324"/>
                  <a:pt x="260" y="324"/>
                  <a:pt x="260" y="324"/>
                </a:cubicBezTo>
                <a:cubicBezTo>
                  <a:pt x="258" y="325"/>
                  <a:pt x="258" y="325"/>
                  <a:pt x="258" y="325"/>
                </a:cubicBezTo>
                <a:cubicBezTo>
                  <a:pt x="257" y="324"/>
                  <a:pt x="257" y="324"/>
                  <a:pt x="257" y="324"/>
                </a:cubicBezTo>
                <a:cubicBezTo>
                  <a:pt x="257" y="325"/>
                  <a:pt x="257" y="325"/>
                  <a:pt x="257" y="325"/>
                </a:cubicBezTo>
                <a:cubicBezTo>
                  <a:pt x="257" y="326"/>
                  <a:pt x="257" y="326"/>
                  <a:pt x="257" y="326"/>
                </a:cubicBezTo>
                <a:cubicBezTo>
                  <a:pt x="256" y="328"/>
                  <a:pt x="256" y="328"/>
                  <a:pt x="256" y="328"/>
                </a:cubicBezTo>
                <a:cubicBezTo>
                  <a:pt x="256" y="330"/>
                  <a:pt x="256" y="330"/>
                  <a:pt x="256" y="330"/>
                </a:cubicBezTo>
                <a:cubicBezTo>
                  <a:pt x="255" y="331"/>
                  <a:pt x="255" y="331"/>
                  <a:pt x="255" y="331"/>
                </a:cubicBezTo>
                <a:cubicBezTo>
                  <a:pt x="255" y="333"/>
                  <a:pt x="255" y="333"/>
                  <a:pt x="255" y="333"/>
                </a:cubicBezTo>
                <a:cubicBezTo>
                  <a:pt x="254" y="333"/>
                  <a:pt x="254" y="333"/>
                  <a:pt x="254" y="333"/>
                </a:cubicBezTo>
                <a:cubicBezTo>
                  <a:pt x="253" y="336"/>
                  <a:pt x="253" y="336"/>
                  <a:pt x="253" y="336"/>
                </a:cubicBezTo>
                <a:cubicBezTo>
                  <a:pt x="253" y="336"/>
                  <a:pt x="253" y="336"/>
                  <a:pt x="253" y="336"/>
                </a:cubicBezTo>
                <a:cubicBezTo>
                  <a:pt x="253" y="338"/>
                  <a:pt x="253" y="338"/>
                  <a:pt x="253" y="338"/>
                </a:cubicBezTo>
                <a:cubicBezTo>
                  <a:pt x="252" y="340"/>
                  <a:pt x="252" y="340"/>
                  <a:pt x="252" y="340"/>
                </a:cubicBezTo>
                <a:cubicBezTo>
                  <a:pt x="252" y="341"/>
                  <a:pt x="252" y="341"/>
                  <a:pt x="252" y="341"/>
                </a:cubicBezTo>
                <a:cubicBezTo>
                  <a:pt x="250" y="341"/>
                  <a:pt x="250" y="341"/>
                  <a:pt x="250" y="341"/>
                </a:cubicBezTo>
                <a:cubicBezTo>
                  <a:pt x="250" y="342"/>
                  <a:pt x="250" y="342"/>
                  <a:pt x="250" y="342"/>
                </a:cubicBezTo>
                <a:cubicBezTo>
                  <a:pt x="251" y="342"/>
                  <a:pt x="251" y="342"/>
                  <a:pt x="251" y="342"/>
                </a:cubicBezTo>
                <a:cubicBezTo>
                  <a:pt x="252" y="343"/>
                  <a:pt x="252" y="343"/>
                  <a:pt x="252" y="343"/>
                </a:cubicBezTo>
                <a:cubicBezTo>
                  <a:pt x="251" y="344"/>
                  <a:pt x="251" y="344"/>
                  <a:pt x="251" y="344"/>
                </a:cubicBezTo>
                <a:cubicBezTo>
                  <a:pt x="252" y="345"/>
                  <a:pt x="252" y="345"/>
                  <a:pt x="252" y="345"/>
                </a:cubicBezTo>
                <a:cubicBezTo>
                  <a:pt x="252" y="347"/>
                  <a:pt x="252" y="347"/>
                  <a:pt x="252" y="347"/>
                </a:cubicBezTo>
                <a:cubicBezTo>
                  <a:pt x="252" y="347"/>
                  <a:pt x="252" y="347"/>
                  <a:pt x="252" y="347"/>
                </a:cubicBezTo>
                <a:cubicBezTo>
                  <a:pt x="251" y="350"/>
                  <a:pt x="251" y="350"/>
                  <a:pt x="251" y="350"/>
                </a:cubicBezTo>
                <a:cubicBezTo>
                  <a:pt x="249" y="352"/>
                  <a:pt x="249" y="352"/>
                  <a:pt x="249" y="352"/>
                </a:cubicBezTo>
                <a:cubicBezTo>
                  <a:pt x="246" y="352"/>
                  <a:pt x="246" y="352"/>
                  <a:pt x="246" y="352"/>
                </a:cubicBezTo>
                <a:cubicBezTo>
                  <a:pt x="246" y="354"/>
                  <a:pt x="246" y="354"/>
                  <a:pt x="246" y="354"/>
                </a:cubicBezTo>
                <a:cubicBezTo>
                  <a:pt x="247" y="352"/>
                  <a:pt x="247" y="352"/>
                  <a:pt x="247" y="352"/>
                </a:cubicBezTo>
                <a:cubicBezTo>
                  <a:pt x="250" y="352"/>
                  <a:pt x="250" y="352"/>
                  <a:pt x="250" y="352"/>
                </a:cubicBezTo>
                <a:cubicBezTo>
                  <a:pt x="252" y="349"/>
                  <a:pt x="252" y="349"/>
                  <a:pt x="252" y="349"/>
                </a:cubicBezTo>
                <a:cubicBezTo>
                  <a:pt x="254" y="346"/>
                  <a:pt x="254" y="346"/>
                  <a:pt x="254" y="346"/>
                </a:cubicBezTo>
                <a:cubicBezTo>
                  <a:pt x="258" y="346"/>
                  <a:pt x="258" y="346"/>
                  <a:pt x="258" y="346"/>
                </a:cubicBezTo>
                <a:cubicBezTo>
                  <a:pt x="259" y="346"/>
                  <a:pt x="259" y="346"/>
                  <a:pt x="259" y="346"/>
                </a:cubicBezTo>
                <a:cubicBezTo>
                  <a:pt x="259" y="348"/>
                  <a:pt x="259" y="348"/>
                  <a:pt x="259" y="348"/>
                </a:cubicBezTo>
                <a:cubicBezTo>
                  <a:pt x="258" y="349"/>
                  <a:pt x="258" y="349"/>
                  <a:pt x="258" y="349"/>
                </a:cubicBezTo>
                <a:cubicBezTo>
                  <a:pt x="258" y="350"/>
                  <a:pt x="258" y="350"/>
                  <a:pt x="258" y="350"/>
                </a:cubicBezTo>
                <a:cubicBezTo>
                  <a:pt x="259" y="352"/>
                  <a:pt x="259" y="352"/>
                  <a:pt x="259" y="352"/>
                </a:cubicBezTo>
                <a:cubicBezTo>
                  <a:pt x="259" y="355"/>
                  <a:pt x="259" y="355"/>
                  <a:pt x="259" y="355"/>
                </a:cubicBezTo>
                <a:cubicBezTo>
                  <a:pt x="258" y="357"/>
                  <a:pt x="258" y="357"/>
                  <a:pt x="258" y="357"/>
                </a:cubicBezTo>
                <a:cubicBezTo>
                  <a:pt x="259" y="358"/>
                  <a:pt x="259" y="358"/>
                  <a:pt x="259" y="358"/>
                </a:cubicBezTo>
                <a:cubicBezTo>
                  <a:pt x="259" y="361"/>
                  <a:pt x="259" y="361"/>
                  <a:pt x="259" y="361"/>
                </a:cubicBezTo>
                <a:cubicBezTo>
                  <a:pt x="259" y="362"/>
                  <a:pt x="259" y="362"/>
                  <a:pt x="259" y="362"/>
                </a:cubicBezTo>
                <a:cubicBezTo>
                  <a:pt x="255" y="366"/>
                  <a:pt x="255" y="366"/>
                  <a:pt x="255" y="366"/>
                </a:cubicBezTo>
                <a:cubicBezTo>
                  <a:pt x="253" y="366"/>
                  <a:pt x="253" y="366"/>
                  <a:pt x="253" y="366"/>
                </a:cubicBezTo>
                <a:cubicBezTo>
                  <a:pt x="252" y="366"/>
                  <a:pt x="252" y="366"/>
                  <a:pt x="252" y="366"/>
                </a:cubicBezTo>
                <a:cubicBezTo>
                  <a:pt x="253" y="367"/>
                  <a:pt x="253" y="367"/>
                  <a:pt x="253" y="367"/>
                </a:cubicBezTo>
                <a:cubicBezTo>
                  <a:pt x="255" y="367"/>
                  <a:pt x="255" y="367"/>
                  <a:pt x="255" y="367"/>
                </a:cubicBezTo>
                <a:cubicBezTo>
                  <a:pt x="259" y="365"/>
                  <a:pt x="259" y="365"/>
                  <a:pt x="259" y="365"/>
                </a:cubicBezTo>
                <a:cubicBezTo>
                  <a:pt x="264" y="364"/>
                  <a:pt x="264" y="364"/>
                  <a:pt x="264" y="364"/>
                </a:cubicBezTo>
                <a:cubicBezTo>
                  <a:pt x="266" y="363"/>
                  <a:pt x="266" y="363"/>
                  <a:pt x="266" y="363"/>
                </a:cubicBezTo>
                <a:cubicBezTo>
                  <a:pt x="269" y="365"/>
                  <a:pt x="269" y="365"/>
                  <a:pt x="269" y="365"/>
                </a:cubicBezTo>
                <a:cubicBezTo>
                  <a:pt x="271" y="367"/>
                  <a:pt x="271" y="367"/>
                  <a:pt x="271" y="367"/>
                </a:cubicBezTo>
                <a:cubicBezTo>
                  <a:pt x="273" y="368"/>
                  <a:pt x="273" y="368"/>
                  <a:pt x="273" y="368"/>
                </a:cubicBezTo>
                <a:cubicBezTo>
                  <a:pt x="274" y="368"/>
                  <a:pt x="274" y="368"/>
                  <a:pt x="274" y="368"/>
                </a:cubicBezTo>
                <a:cubicBezTo>
                  <a:pt x="275" y="369"/>
                  <a:pt x="275" y="369"/>
                  <a:pt x="275" y="369"/>
                </a:cubicBezTo>
                <a:cubicBezTo>
                  <a:pt x="277" y="371"/>
                  <a:pt x="277" y="371"/>
                  <a:pt x="277" y="371"/>
                </a:cubicBezTo>
                <a:cubicBezTo>
                  <a:pt x="278" y="371"/>
                  <a:pt x="278" y="371"/>
                  <a:pt x="278" y="371"/>
                </a:cubicBezTo>
                <a:cubicBezTo>
                  <a:pt x="279" y="373"/>
                  <a:pt x="279" y="373"/>
                  <a:pt x="279" y="373"/>
                </a:cubicBezTo>
                <a:cubicBezTo>
                  <a:pt x="280" y="374"/>
                  <a:pt x="280" y="374"/>
                  <a:pt x="280" y="374"/>
                </a:cubicBezTo>
                <a:cubicBezTo>
                  <a:pt x="280" y="375"/>
                  <a:pt x="280" y="375"/>
                  <a:pt x="280" y="375"/>
                </a:cubicBezTo>
                <a:cubicBezTo>
                  <a:pt x="281" y="376"/>
                  <a:pt x="281" y="376"/>
                  <a:pt x="281" y="376"/>
                </a:cubicBezTo>
                <a:cubicBezTo>
                  <a:pt x="282" y="378"/>
                  <a:pt x="282" y="378"/>
                  <a:pt x="282" y="378"/>
                </a:cubicBezTo>
                <a:cubicBezTo>
                  <a:pt x="282" y="378"/>
                  <a:pt x="282" y="378"/>
                  <a:pt x="282" y="378"/>
                </a:cubicBezTo>
                <a:cubicBezTo>
                  <a:pt x="283" y="378"/>
                  <a:pt x="283" y="378"/>
                  <a:pt x="283" y="378"/>
                </a:cubicBezTo>
                <a:cubicBezTo>
                  <a:pt x="283" y="379"/>
                  <a:pt x="283" y="379"/>
                  <a:pt x="283" y="379"/>
                </a:cubicBezTo>
                <a:cubicBezTo>
                  <a:pt x="286" y="380"/>
                  <a:pt x="286" y="380"/>
                  <a:pt x="286" y="380"/>
                </a:cubicBezTo>
                <a:cubicBezTo>
                  <a:pt x="287" y="381"/>
                  <a:pt x="287" y="381"/>
                  <a:pt x="287" y="381"/>
                </a:cubicBezTo>
                <a:cubicBezTo>
                  <a:pt x="289" y="382"/>
                  <a:pt x="289" y="382"/>
                  <a:pt x="289" y="382"/>
                </a:cubicBezTo>
                <a:cubicBezTo>
                  <a:pt x="290" y="382"/>
                  <a:pt x="290" y="382"/>
                  <a:pt x="290" y="382"/>
                </a:cubicBezTo>
                <a:cubicBezTo>
                  <a:pt x="292" y="384"/>
                  <a:pt x="292" y="384"/>
                  <a:pt x="292" y="384"/>
                </a:cubicBezTo>
                <a:cubicBezTo>
                  <a:pt x="292" y="385"/>
                  <a:pt x="292" y="385"/>
                  <a:pt x="292" y="385"/>
                </a:cubicBezTo>
                <a:cubicBezTo>
                  <a:pt x="294" y="387"/>
                  <a:pt x="294" y="387"/>
                  <a:pt x="294" y="387"/>
                </a:cubicBezTo>
                <a:cubicBezTo>
                  <a:pt x="293" y="387"/>
                  <a:pt x="293" y="387"/>
                  <a:pt x="293" y="387"/>
                </a:cubicBezTo>
                <a:cubicBezTo>
                  <a:pt x="294" y="388"/>
                  <a:pt x="294" y="388"/>
                  <a:pt x="294" y="388"/>
                </a:cubicBezTo>
                <a:cubicBezTo>
                  <a:pt x="296" y="388"/>
                  <a:pt x="296" y="388"/>
                  <a:pt x="296" y="388"/>
                </a:cubicBezTo>
                <a:cubicBezTo>
                  <a:pt x="296" y="388"/>
                  <a:pt x="296" y="388"/>
                  <a:pt x="296" y="388"/>
                </a:cubicBezTo>
                <a:cubicBezTo>
                  <a:pt x="298" y="388"/>
                  <a:pt x="298" y="388"/>
                  <a:pt x="298" y="388"/>
                </a:cubicBezTo>
                <a:cubicBezTo>
                  <a:pt x="301" y="388"/>
                  <a:pt x="301" y="388"/>
                  <a:pt x="301" y="388"/>
                </a:cubicBezTo>
                <a:cubicBezTo>
                  <a:pt x="301" y="388"/>
                  <a:pt x="301" y="388"/>
                  <a:pt x="301" y="388"/>
                </a:cubicBezTo>
                <a:cubicBezTo>
                  <a:pt x="302" y="388"/>
                  <a:pt x="302" y="388"/>
                  <a:pt x="302" y="388"/>
                </a:cubicBezTo>
                <a:cubicBezTo>
                  <a:pt x="304" y="389"/>
                  <a:pt x="304" y="389"/>
                  <a:pt x="304" y="389"/>
                </a:cubicBezTo>
                <a:cubicBezTo>
                  <a:pt x="306" y="389"/>
                  <a:pt x="306" y="389"/>
                  <a:pt x="306" y="389"/>
                </a:cubicBezTo>
                <a:cubicBezTo>
                  <a:pt x="307" y="389"/>
                  <a:pt x="307" y="389"/>
                  <a:pt x="307" y="389"/>
                </a:cubicBezTo>
                <a:cubicBezTo>
                  <a:pt x="308" y="389"/>
                  <a:pt x="308" y="389"/>
                  <a:pt x="308" y="389"/>
                </a:cubicBezTo>
                <a:cubicBezTo>
                  <a:pt x="308" y="389"/>
                  <a:pt x="308" y="389"/>
                  <a:pt x="308" y="389"/>
                </a:cubicBezTo>
                <a:cubicBezTo>
                  <a:pt x="309" y="389"/>
                  <a:pt x="309" y="389"/>
                  <a:pt x="309" y="389"/>
                </a:cubicBezTo>
                <a:cubicBezTo>
                  <a:pt x="309" y="389"/>
                  <a:pt x="309" y="389"/>
                  <a:pt x="309" y="389"/>
                </a:cubicBezTo>
                <a:cubicBezTo>
                  <a:pt x="309" y="391"/>
                  <a:pt x="309" y="391"/>
                  <a:pt x="309" y="391"/>
                </a:cubicBezTo>
                <a:cubicBezTo>
                  <a:pt x="308" y="394"/>
                  <a:pt x="308" y="394"/>
                  <a:pt x="308" y="394"/>
                </a:cubicBezTo>
                <a:cubicBezTo>
                  <a:pt x="308" y="395"/>
                  <a:pt x="308" y="395"/>
                  <a:pt x="308" y="395"/>
                </a:cubicBezTo>
                <a:cubicBezTo>
                  <a:pt x="307" y="396"/>
                  <a:pt x="307" y="396"/>
                  <a:pt x="307" y="396"/>
                </a:cubicBezTo>
                <a:cubicBezTo>
                  <a:pt x="306" y="398"/>
                  <a:pt x="306" y="398"/>
                  <a:pt x="306" y="398"/>
                </a:cubicBezTo>
                <a:cubicBezTo>
                  <a:pt x="306" y="399"/>
                  <a:pt x="306" y="399"/>
                  <a:pt x="306" y="399"/>
                </a:cubicBezTo>
                <a:cubicBezTo>
                  <a:pt x="307" y="400"/>
                  <a:pt x="307" y="400"/>
                  <a:pt x="307" y="400"/>
                </a:cubicBezTo>
                <a:cubicBezTo>
                  <a:pt x="307" y="402"/>
                  <a:pt x="307" y="402"/>
                  <a:pt x="307" y="402"/>
                </a:cubicBezTo>
                <a:cubicBezTo>
                  <a:pt x="305" y="405"/>
                  <a:pt x="305" y="405"/>
                  <a:pt x="305" y="405"/>
                </a:cubicBezTo>
                <a:cubicBezTo>
                  <a:pt x="305" y="406"/>
                  <a:pt x="305" y="406"/>
                  <a:pt x="305" y="406"/>
                </a:cubicBezTo>
                <a:cubicBezTo>
                  <a:pt x="305" y="408"/>
                  <a:pt x="305" y="408"/>
                  <a:pt x="305" y="408"/>
                </a:cubicBezTo>
                <a:cubicBezTo>
                  <a:pt x="303" y="409"/>
                  <a:pt x="303" y="409"/>
                  <a:pt x="303" y="409"/>
                </a:cubicBezTo>
                <a:cubicBezTo>
                  <a:pt x="303" y="411"/>
                  <a:pt x="303" y="411"/>
                  <a:pt x="303" y="411"/>
                </a:cubicBezTo>
                <a:cubicBezTo>
                  <a:pt x="303" y="412"/>
                  <a:pt x="303" y="412"/>
                  <a:pt x="303" y="412"/>
                </a:cubicBezTo>
                <a:cubicBezTo>
                  <a:pt x="304" y="413"/>
                  <a:pt x="304" y="413"/>
                  <a:pt x="304" y="413"/>
                </a:cubicBezTo>
                <a:cubicBezTo>
                  <a:pt x="304" y="415"/>
                  <a:pt x="304" y="415"/>
                  <a:pt x="304" y="415"/>
                </a:cubicBezTo>
                <a:cubicBezTo>
                  <a:pt x="305" y="415"/>
                  <a:pt x="305" y="415"/>
                  <a:pt x="305" y="415"/>
                </a:cubicBezTo>
                <a:cubicBezTo>
                  <a:pt x="306" y="416"/>
                  <a:pt x="306" y="416"/>
                  <a:pt x="306" y="416"/>
                </a:cubicBezTo>
                <a:cubicBezTo>
                  <a:pt x="306" y="417"/>
                  <a:pt x="306" y="417"/>
                  <a:pt x="306" y="417"/>
                </a:cubicBezTo>
                <a:cubicBezTo>
                  <a:pt x="306" y="418"/>
                  <a:pt x="306" y="418"/>
                  <a:pt x="306" y="418"/>
                </a:cubicBezTo>
                <a:cubicBezTo>
                  <a:pt x="306" y="419"/>
                  <a:pt x="306" y="419"/>
                  <a:pt x="306" y="419"/>
                </a:cubicBezTo>
                <a:cubicBezTo>
                  <a:pt x="307" y="419"/>
                  <a:pt x="307" y="419"/>
                  <a:pt x="307" y="419"/>
                </a:cubicBezTo>
                <a:cubicBezTo>
                  <a:pt x="309" y="420"/>
                  <a:pt x="309" y="420"/>
                  <a:pt x="309" y="420"/>
                </a:cubicBezTo>
                <a:cubicBezTo>
                  <a:pt x="309" y="420"/>
                  <a:pt x="309" y="420"/>
                  <a:pt x="309" y="420"/>
                </a:cubicBezTo>
                <a:cubicBezTo>
                  <a:pt x="309" y="421"/>
                  <a:pt x="309" y="421"/>
                  <a:pt x="309" y="421"/>
                </a:cubicBezTo>
                <a:cubicBezTo>
                  <a:pt x="310" y="422"/>
                  <a:pt x="310" y="422"/>
                  <a:pt x="310" y="422"/>
                </a:cubicBezTo>
                <a:cubicBezTo>
                  <a:pt x="310" y="424"/>
                  <a:pt x="310" y="424"/>
                  <a:pt x="310" y="424"/>
                </a:cubicBezTo>
                <a:cubicBezTo>
                  <a:pt x="310" y="425"/>
                  <a:pt x="310" y="425"/>
                  <a:pt x="310" y="425"/>
                </a:cubicBezTo>
                <a:cubicBezTo>
                  <a:pt x="310" y="426"/>
                  <a:pt x="310" y="426"/>
                  <a:pt x="310" y="426"/>
                </a:cubicBezTo>
                <a:cubicBezTo>
                  <a:pt x="308" y="429"/>
                  <a:pt x="308" y="429"/>
                  <a:pt x="308" y="429"/>
                </a:cubicBezTo>
                <a:cubicBezTo>
                  <a:pt x="309" y="428"/>
                  <a:pt x="309" y="428"/>
                  <a:pt x="309" y="428"/>
                </a:cubicBezTo>
                <a:cubicBezTo>
                  <a:pt x="311" y="427"/>
                  <a:pt x="311" y="427"/>
                  <a:pt x="311" y="427"/>
                </a:cubicBezTo>
                <a:cubicBezTo>
                  <a:pt x="313" y="427"/>
                  <a:pt x="313" y="427"/>
                  <a:pt x="313" y="427"/>
                </a:cubicBezTo>
                <a:cubicBezTo>
                  <a:pt x="314" y="428"/>
                  <a:pt x="314" y="428"/>
                  <a:pt x="314" y="428"/>
                </a:cubicBezTo>
                <a:cubicBezTo>
                  <a:pt x="315" y="428"/>
                  <a:pt x="315" y="428"/>
                  <a:pt x="315" y="428"/>
                </a:cubicBezTo>
                <a:cubicBezTo>
                  <a:pt x="315" y="427"/>
                  <a:pt x="315" y="427"/>
                  <a:pt x="315" y="427"/>
                </a:cubicBezTo>
                <a:cubicBezTo>
                  <a:pt x="315" y="426"/>
                  <a:pt x="315" y="426"/>
                  <a:pt x="315" y="426"/>
                </a:cubicBezTo>
                <a:cubicBezTo>
                  <a:pt x="317" y="423"/>
                  <a:pt x="317" y="423"/>
                  <a:pt x="317" y="423"/>
                </a:cubicBezTo>
                <a:cubicBezTo>
                  <a:pt x="318" y="423"/>
                  <a:pt x="318" y="423"/>
                  <a:pt x="318" y="423"/>
                </a:cubicBezTo>
                <a:cubicBezTo>
                  <a:pt x="317" y="424"/>
                  <a:pt x="317" y="424"/>
                  <a:pt x="317" y="424"/>
                </a:cubicBezTo>
                <a:cubicBezTo>
                  <a:pt x="318" y="425"/>
                  <a:pt x="318" y="425"/>
                  <a:pt x="318" y="425"/>
                </a:cubicBezTo>
                <a:cubicBezTo>
                  <a:pt x="318" y="425"/>
                  <a:pt x="318" y="425"/>
                  <a:pt x="318" y="425"/>
                </a:cubicBezTo>
                <a:cubicBezTo>
                  <a:pt x="319" y="428"/>
                  <a:pt x="319" y="428"/>
                  <a:pt x="319" y="428"/>
                </a:cubicBezTo>
                <a:cubicBezTo>
                  <a:pt x="318" y="429"/>
                  <a:pt x="318" y="429"/>
                  <a:pt x="318" y="429"/>
                </a:cubicBezTo>
                <a:cubicBezTo>
                  <a:pt x="320" y="430"/>
                  <a:pt x="320" y="430"/>
                  <a:pt x="320" y="430"/>
                </a:cubicBezTo>
                <a:cubicBezTo>
                  <a:pt x="322" y="431"/>
                  <a:pt x="322" y="431"/>
                  <a:pt x="322" y="431"/>
                </a:cubicBezTo>
                <a:cubicBezTo>
                  <a:pt x="321" y="430"/>
                  <a:pt x="321" y="430"/>
                  <a:pt x="321" y="430"/>
                </a:cubicBezTo>
                <a:cubicBezTo>
                  <a:pt x="320" y="429"/>
                  <a:pt x="320" y="429"/>
                  <a:pt x="320" y="429"/>
                </a:cubicBezTo>
                <a:cubicBezTo>
                  <a:pt x="319" y="427"/>
                  <a:pt x="319" y="427"/>
                  <a:pt x="319" y="427"/>
                </a:cubicBezTo>
                <a:cubicBezTo>
                  <a:pt x="320" y="425"/>
                  <a:pt x="320" y="425"/>
                  <a:pt x="320" y="425"/>
                </a:cubicBezTo>
                <a:cubicBezTo>
                  <a:pt x="320" y="424"/>
                  <a:pt x="320" y="424"/>
                  <a:pt x="320" y="424"/>
                </a:cubicBezTo>
                <a:cubicBezTo>
                  <a:pt x="320" y="424"/>
                  <a:pt x="320" y="424"/>
                  <a:pt x="320" y="424"/>
                </a:cubicBezTo>
                <a:cubicBezTo>
                  <a:pt x="320" y="422"/>
                  <a:pt x="320" y="422"/>
                  <a:pt x="320" y="422"/>
                </a:cubicBezTo>
                <a:cubicBezTo>
                  <a:pt x="320" y="423"/>
                  <a:pt x="320" y="423"/>
                  <a:pt x="320" y="423"/>
                </a:cubicBezTo>
                <a:cubicBezTo>
                  <a:pt x="321" y="423"/>
                  <a:pt x="321" y="423"/>
                  <a:pt x="321" y="423"/>
                </a:cubicBezTo>
                <a:cubicBezTo>
                  <a:pt x="321" y="421"/>
                  <a:pt x="321" y="421"/>
                  <a:pt x="321" y="421"/>
                </a:cubicBezTo>
                <a:cubicBezTo>
                  <a:pt x="323" y="419"/>
                  <a:pt x="323" y="419"/>
                  <a:pt x="323" y="419"/>
                </a:cubicBezTo>
                <a:cubicBezTo>
                  <a:pt x="322" y="419"/>
                  <a:pt x="322" y="419"/>
                  <a:pt x="322" y="419"/>
                </a:cubicBezTo>
                <a:cubicBezTo>
                  <a:pt x="322" y="417"/>
                  <a:pt x="322" y="417"/>
                  <a:pt x="322" y="417"/>
                </a:cubicBezTo>
                <a:cubicBezTo>
                  <a:pt x="322" y="416"/>
                  <a:pt x="322" y="416"/>
                  <a:pt x="322" y="416"/>
                </a:cubicBezTo>
                <a:cubicBezTo>
                  <a:pt x="322" y="415"/>
                  <a:pt x="322" y="415"/>
                  <a:pt x="322" y="415"/>
                </a:cubicBezTo>
                <a:cubicBezTo>
                  <a:pt x="323" y="414"/>
                  <a:pt x="323" y="414"/>
                  <a:pt x="323" y="414"/>
                </a:cubicBezTo>
                <a:cubicBezTo>
                  <a:pt x="322" y="413"/>
                  <a:pt x="322" y="413"/>
                  <a:pt x="322" y="413"/>
                </a:cubicBezTo>
                <a:cubicBezTo>
                  <a:pt x="322" y="412"/>
                  <a:pt x="322" y="412"/>
                  <a:pt x="322" y="412"/>
                </a:cubicBezTo>
                <a:cubicBezTo>
                  <a:pt x="322" y="412"/>
                  <a:pt x="322" y="412"/>
                  <a:pt x="322" y="412"/>
                </a:cubicBezTo>
                <a:cubicBezTo>
                  <a:pt x="321" y="411"/>
                  <a:pt x="321" y="411"/>
                  <a:pt x="321" y="411"/>
                </a:cubicBezTo>
                <a:cubicBezTo>
                  <a:pt x="322" y="408"/>
                  <a:pt x="322" y="408"/>
                  <a:pt x="322" y="408"/>
                </a:cubicBezTo>
                <a:cubicBezTo>
                  <a:pt x="322" y="407"/>
                  <a:pt x="322" y="407"/>
                  <a:pt x="322" y="407"/>
                </a:cubicBezTo>
                <a:cubicBezTo>
                  <a:pt x="322" y="405"/>
                  <a:pt x="322" y="405"/>
                  <a:pt x="322" y="405"/>
                </a:cubicBezTo>
                <a:cubicBezTo>
                  <a:pt x="323" y="404"/>
                  <a:pt x="323" y="404"/>
                  <a:pt x="323" y="404"/>
                </a:cubicBezTo>
                <a:cubicBezTo>
                  <a:pt x="323" y="403"/>
                  <a:pt x="323" y="403"/>
                  <a:pt x="323" y="403"/>
                </a:cubicBezTo>
                <a:cubicBezTo>
                  <a:pt x="323" y="403"/>
                  <a:pt x="323" y="403"/>
                  <a:pt x="323" y="403"/>
                </a:cubicBezTo>
                <a:cubicBezTo>
                  <a:pt x="323" y="402"/>
                  <a:pt x="323" y="402"/>
                  <a:pt x="323" y="402"/>
                </a:cubicBezTo>
                <a:cubicBezTo>
                  <a:pt x="324" y="401"/>
                  <a:pt x="324" y="401"/>
                  <a:pt x="324" y="401"/>
                </a:cubicBezTo>
                <a:cubicBezTo>
                  <a:pt x="323" y="401"/>
                  <a:pt x="323" y="401"/>
                  <a:pt x="323" y="401"/>
                </a:cubicBezTo>
                <a:cubicBezTo>
                  <a:pt x="323" y="400"/>
                  <a:pt x="323" y="400"/>
                  <a:pt x="323" y="400"/>
                </a:cubicBezTo>
                <a:cubicBezTo>
                  <a:pt x="323" y="400"/>
                  <a:pt x="323" y="400"/>
                  <a:pt x="323" y="400"/>
                </a:cubicBezTo>
                <a:cubicBezTo>
                  <a:pt x="323" y="399"/>
                  <a:pt x="323" y="399"/>
                  <a:pt x="323" y="399"/>
                </a:cubicBezTo>
                <a:cubicBezTo>
                  <a:pt x="323" y="398"/>
                  <a:pt x="323" y="398"/>
                  <a:pt x="323" y="398"/>
                </a:cubicBezTo>
                <a:cubicBezTo>
                  <a:pt x="322" y="397"/>
                  <a:pt x="322" y="397"/>
                  <a:pt x="322" y="397"/>
                </a:cubicBezTo>
                <a:cubicBezTo>
                  <a:pt x="322" y="395"/>
                  <a:pt x="322" y="395"/>
                  <a:pt x="322" y="395"/>
                </a:cubicBezTo>
                <a:cubicBezTo>
                  <a:pt x="322" y="395"/>
                  <a:pt x="322" y="395"/>
                  <a:pt x="322" y="395"/>
                </a:cubicBezTo>
                <a:cubicBezTo>
                  <a:pt x="323" y="394"/>
                  <a:pt x="323" y="394"/>
                  <a:pt x="323" y="394"/>
                </a:cubicBezTo>
                <a:cubicBezTo>
                  <a:pt x="326" y="394"/>
                  <a:pt x="326" y="394"/>
                  <a:pt x="326" y="394"/>
                </a:cubicBezTo>
                <a:cubicBezTo>
                  <a:pt x="327" y="393"/>
                  <a:pt x="327" y="393"/>
                  <a:pt x="327" y="393"/>
                </a:cubicBezTo>
                <a:cubicBezTo>
                  <a:pt x="329" y="393"/>
                  <a:pt x="329" y="393"/>
                  <a:pt x="329" y="393"/>
                </a:cubicBezTo>
                <a:cubicBezTo>
                  <a:pt x="329" y="392"/>
                  <a:pt x="329" y="392"/>
                  <a:pt x="329" y="392"/>
                </a:cubicBezTo>
                <a:cubicBezTo>
                  <a:pt x="332" y="391"/>
                  <a:pt x="332" y="391"/>
                  <a:pt x="332" y="391"/>
                </a:cubicBezTo>
                <a:cubicBezTo>
                  <a:pt x="336" y="389"/>
                  <a:pt x="336" y="389"/>
                  <a:pt x="336" y="389"/>
                </a:cubicBezTo>
                <a:cubicBezTo>
                  <a:pt x="336" y="389"/>
                  <a:pt x="336" y="389"/>
                  <a:pt x="336" y="389"/>
                </a:cubicBezTo>
                <a:cubicBezTo>
                  <a:pt x="336" y="388"/>
                  <a:pt x="336" y="388"/>
                  <a:pt x="336" y="388"/>
                </a:cubicBezTo>
                <a:cubicBezTo>
                  <a:pt x="339" y="387"/>
                  <a:pt x="339" y="387"/>
                  <a:pt x="339" y="387"/>
                </a:cubicBezTo>
                <a:cubicBezTo>
                  <a:pt x="340" y="386"/>
                  <a:pt x="340" y="386"/>
                  <a:pt x="340" y="386"/>
                </a:cubicBezTo>
                <a:cubicBezTo>
                  <a:pt x="341" y="385"/>
                  <a:pt x="341" y="385"/>
                  <a:pt x="341" y="385"/>
                </a:cubicBezTo>
                <a:cubicBezTo>
                  <a:pt x="343" y="382"/>
                  <a:pt x="343" y="382"/>
                  <a:pt x="343" y="382"/>
                </a:cubicBezTo>
                <a:cubicBezTo>
                  <a:pt x="344" y="383"/>
                  <a:pt x="344" y="383"/>
                  <a:pt x="344" y="383"/>
                </a:cubicBezTo>
                <a:cubicBezTo>
                  <a:pt x="344" y="383"/>
                  <a:pt x="344" y="383"/>
                  <a:pt x="344" y="383"/>
                </a:cubicBezTo>
                <a:cubicBezTo>
                  <a:pt x="345" y="383"/>
                  <a:pt x="345" y="383"/>
                  <a:pt x="345" y="383"/>
                </a:cubicBezTo>
                <a:cubicBezTo>
                  <a:pt x="346" y="382"/>
                  <a:pt x="346" y="382"/>
                  <a:pt x="346" y="382"/>
                </a:cubicBezTo>
                <a:cubicBezTo>
                  <a:pt x="345" y="381"/>
                  <a:pt x="345" y="381"/>
                  <a:pt x="345" y="381"/>
                </a:cubicBezTo>
                <a:cubicBezTo>
                  <a:pt x="345" y="379"/>
                  <a:pt x="345" y="379"/>
                  <a:pt x="345" y="379"/>
                </a:cubicBezTo>
                <a:cubicBezTo>
                  <a:pt x="344" y="380"/>
                  <a:pt x="344" y="380"/>
                  <a:pt x="344" y="380"/>
                </a:cubicBezTo>
                <a:cubicBezTo>
                  <a:pt x="344" y="381"/>
                  <a:pt x="344" y="381"/>
                  <a:pt x="344" y="381"/>
                </a:cubicBezTo>
                <a:cubicBezTo>
                  <a:pt x="344" y="381"/>
                  <a:pt x="344" y="381"/>
                  <a:pt x="344" y="381"/>
                </a:cubicBezTo>
                <a:cubicBezTo>
                  <a:pt x="344" y="379"/>
                  <a:pt x="344" y="379"/>
                  <a:pt x="344" y="379"/>
                </a:cubicBezTo>
                <a:cubicBezTo>
                  <a:pt x="345" y="376"/>
                  <a:pt x="345" y="376"/>
                  <a:pt x="345" y="376"/>
                </a:cubicBezTo>
                <a:cubicBezTo>
                  <a:pt x="346" y="376"/>
                  <a:pt x="346" y="376"/>
                  <a:pt x="346" y="376"/>
                </a:cubicBezTo>
                <a:cubicBezTo>
                  <a:pt x="346" y="374"/>
                  <a:pt x="346" y="374"/>
                  <a:pt x="346" y="374"/>
                </a:cubicBezTo>
                <a:cubicBezTo>
                  <a:pt x="346" y="372"/>
                  <a:pt x="346" y="372"/>
                  <a:pt x="346" y="372"/>
                </a:cubicBezTo>
                <a:cubicBezTo>
                  <a:pt x="345" y="370"/>
                  <a:pt x="345" y="370"/>
                  <a:pt x="345" y="370"/>
                </a:cubicBezTo>
                <a:cubicBezTo>
                  <a:pt x="345" y="366"/>
                  <a:pt x="345" y="366"/>
                  <a:pt x="345" y="366"/>
                </a:cubicBezTo>
                <a:cubicBezTo>
                  <a:pt x="345" y="363"/>
                  <a:pt x="345" y="363"/>
                  <a:pt x="345" y="363"/>
                </a:cubicBezTo>
                <a:cubicBezTo>
                  <a:pt x="343" y="360"/>
                  <a:pt x="343" y="360"/>
                  <a:pt x="343" y="360"/>
                </a:cubicBezTo>
                <a:cubicBezTo>
                  <a:pt x="341" y="359"/>
                  <a:pt x="341" y="359"/>
                  <a:pt x="341" y="359"/>
                </a:cubicBezTo>
                <a:cubicBezTo>
                  <a:pt x="341" y="358"/>
                  <a:pt x="341" y="358"/>
                  <a:pt x="341" y="358"/>
                </a:cubicBezTo>
                <a:cubicBezTo>
                  <a:pt x="340" y="358"/>
                  <a:pt x="340" y="358"/>
                  <a:pt x="340" y="358"/>
                </a:cubicBezTo>
                <a:cubicBezTo>
                  <a:pt x="339" y="357"/>
                  <a:pt x="339" y="357"/>
                  <a:pt x="339" y="357"/>
                </a:cubicBezTo>
                <a:cubicBezTo>
                  <a:pt x="340" y="354"/>
                  <a:pt x="340" y="354"/>
                  <a:pt x="340" y="354"/>
                </a:cubicBezTo>
                <a:cubicBezTo>
                  <a:pt x="341" y="354"/>
                  <a:pt x="341" y="354"/>
                  <a:pt x="341" y="354"/>
                </a:cubicBezTo>
                <a:cubicBezTo>
                  <a:pt x="345" y="350"/>
                  <a:pt x="345" y="350"/>
                  <a:pt x="345" y="350"/>
                </a:cubicBezTo>
                <a:cubicBezTo>
                  <a:pt x="346" y="350"/>
                  <a:pt x="346" y="350"/>
                  <a:pt x="346" y="350"/>
                </a:cubicBezTo>
                <a:cubicBezTo>
                  <a:pt x="346" y="349"/>
                  <a:pt x="346" y="349"/>
                  <a:pt x="346" y="349"/>
                </a:cubicBezTo>
                <a:cubicBezTo>
                  <a:pt x="346" y="348"/>
                  <a:pt x="346" y="348"/>
                  <a:pt x="346" y="348"/>
                </a:cubicBezTo>
                <a:cubicBezTo>
                  <a:pt x="346" y="348"/>
                  <a:pt x="346" y="348"/>
                  <a:pt x="346" y="348"/>
                </a:cubicBezTo>
                <a:cubicBezTo>
                  <a:pt x="346" y="347"/>
                  <a:pt x="346" y="347"/>
                  <a:pt x="346" y="347"/>
                </a:cubicBezTo>
                <a:cubicBezTo>
                  <a:pt x="347" y="346"/>
                  <a:pt x="347" y="346"/>
                  <a:pt x="347" y="346"/>
                </a:cubicBezTo>
                <a:cubicBezTo>
                  <a:pt x="348" y="346"/>
                  <a:pt x="348" y="346"/>
                  <a:pt x="348" y="346"/>
                </a:cubicBezTo>
                <a:cubicBezTo>
                  <a:pt x="349" y="347"/>
                  <a:pt x="349" y="347"/>
                  <a:pt x="349" y="347"/>
                </a:cubicBezTo>
                <a:cubicBezTo>
                  <a:pt x="349" y="348"/>
                  <a:pt x="349" y="348"/>
                  <a:pt x="349" y="348"/>
                </a:cubicBezTo>
                <a:cubicBezTo>
                  <a:pt x="349" y="347"/>
                  <a:pt x="349" y="347"/>
                  <a:pt x="349" y="347"/>
                </a:cubicBezTo>
                <a:cubicBezTo>
                  <a:pt x="349" y="346"/>
                  <a:pt x="349" y="346"/>
                  <a:pt x="349" y="346"/>
                </a:cubicBezTo>
                <a:cubicBezTo>
                  <a:pt x="350" y="345"/>
                  <a:pt x="350" y="345"/>
                  <a:pt x="350" y="345"/>
                </a:cubicBezTo>
                <a:cubicBezTo>
                  <a:pt x="352" y="343"/>
                  <a:pt x="352" y="343"/>
                  <a:pt x="352" y="343"/>
                </a:cubicBezTo>
                <a:cubicBezTo>
                  <a:pt x="351" y="342"/>
                  <a:pt x="351" y="342"/>
                  <a:pt x="351" y="342"/>
                </a:cubicBezTo>
                <a:cubicBezTo>
                  <a:pt x="350" y="342"/>
                  <a:pt x="350" y="342"/>
                  <a:pt x="350" y="342"/>
                </a:cubicBezTo>
                <a:cubicBezTo>
                  <a:pt x="350" y="341"/>
                  <a:pt x="350" y="341"/>
                  <a:pt x="350" y="341"/>
                </a:cubicBezTo>
                <a:cubicBezTo>
                  <a:pt x="351" y="340"/>
                  <a:pt x="351" y="340"/>
                  <a:pt x="351" y="340"/>
                </a:cubicBezTo>
                <a:cubicBezTo>
                  <a:pt x="350" y="339"/>
                  <a:pt x="350" y="339"/>
                  <a:pt x="350" y="339"/>
                </a:cubicBezTo>
                <a:cubicBezTo>
                  <a:pt x="350" y="338"/>
                  <a:pt x="350" y="338"/>
                  <a:pt x="350" y="338"/>
                </a:cubicBezTo>
                <a:cubicBezTo>
                  <a:pt x="351" y="337"/>
                  <a:pt x="351" y="337"/>
                  <a:pt x="351" y="337"/>
                </a:cubicBezTo>
                <a:cubicBezTo>
                  <a:pt x="352" y="337"/>
                  <a:pt x="352" y="337"/>
                  <a:pt x="352" y="337"/>
                </a:cubicBezTo>
                <a:cubicBezTo>
                  <a:pt x="350" y="337"/>
                  <a:pt x="350" y="337"/>
                  <a:pt x="350" y="337"/>
                </a:cubicBezTo>
                <a:cubicBezTo>
                  <a:pt x="350" y="336"/>
                  <a:pt x="350" y="336"/>
                  <a:pt x="350" y="336"/>
                </a:cubicBezTo>
                <a:cubicBezTo>
                  <a:pt x="351" y="334"/>
                  <a:pt x="351" y="334"/>
                  <a:pt x="351" y="334"/>
                </a:cubicBezTo>
                <a:cubicBezTo>
                  <a:pt x="352" y="334"/>
                  <a:pt x="352" y="334"/>
                  <a:pt x="352" y="334"/>
                </a:cubicBezTo>
                <a:cubicBezTo>
                  <a:pt x="351" y="333"/>
                  <a:pt x="351" y="333"/>
                  <a:pt x="351" y="333"/>
                </a:cubicBezTo>
                <a:cubicBezTo>
                  <a:pt x="349" y="334"/>
                  <a:pt x="349" y="334"/>
                  <a:pt x="349" y="334"/>
                </a:cubicBezTo>
                <a:cubicBezTo>
                  <a:pt x="348" y="333"/>
                  <a:pt x="348" y="333"/>
                  <a:pt x="348" y="333"/>
                </a:cubicBezTo>
                <a:cubicBezTo>
                  <a:pt x="348" y="332"/>
                  <a:pt x="348" y="332"/>
                  <a:pt x="348" y="332"/>
                </a:cubicBezTo>
                <a:cubicBezTo>
                  <a:pt x="351" y="330"/>
                  <a:pt x="351" y="330"/>
                  <a:pt x="351" y="330"/>
                </a:cubicBezTo>
                <a:cubicBezTo>
                  <a:pt x="353" y="328"/>
                  <a:pt x="353" y="328"/>
                  <a:pt x="353" y="328"/>
                </a:cubicBezTo>
                <a:cubicBezTo>
                  <a:pt x="353" y="326"/>
                  <a:pt x="353" y="326"/>
                  <a:pt x="353" y="326"/>
                </a:cubicBezTo>
                <a:cubicBezTo>
                  <a:pt x="354" y="327"/>
                  <a:pt x="354" y="327"/>
                  <a:pt x="354" y="327"/>
                </a:cubicBezTo>
                <a:cubicBezTo>
                  <a:pt x="354" y="326"/>
                  <a:pt x="354" y="326"/>
                  <a:pt x="354" y="326"/>
                </a:cubicBezTo>
                <a:cubicBezTo>
                  <a:pt x="354" y="324"/>
                  <a:pt x="354" y="324"/>
                  <a:pt x="354" y="324"/>
                </a:cubicBezTo>
                <a:cubicBezTo>
                  <a:pt x="354" y="324"/>
                  <a:pt x="354" y="324"/>
                  <a:pt x="354" y="324"/>
                </a:cubicBezTo>
                <a:cubicBezTo>
                  <a:pt x="354" y="324"/>
                  <a:pt x="354" y="324"/>
                  <a:pt x="354" y="324"/>
                </a:cubicBezTo>
                <a:cubicBezTo>
                  <a:pt x="353" y="324"/>
                  <a:pt x="353" y="324"/>
                  <a:pt x="353" y="324"/>
                </a:cubicBezTo>
                <a:cubicBezTo>
                  <a:pt x="352" y="322"/>
                  <a:pt x="352" y="322"/>
                  <a:pt x="352" y="322"/>
                </a:cubicBezTo>
                <a:cubicBezTo>
                  <a:pt x="352" y="320"/>
                  <a:pt x="352" y="320"/>
                  <a:pt x="352" y="320"/>
                </a:cubicBezTo>
                <a:cubicBezTo>
                  <a:pt x="353" y="318"/>
                  <a:pt x="353" y="318"/>
                  <a:pt x="353" y="318"/>
                </a:cubicBezTo>
                <a:cubicBezTo>
                  <a:pt x="353" y="316"/>
                  <a:pt x="353" y="316"/>
                  <a:pt x="353" y="316"/>
                </a:cubicBezTo>
                <a:cubicBezTo>
                  <a:pt x="354" y="316"/>
                  <a:pt x="354" y="316"/>
                  <a:pt x="354" y="316"/>
                </a:cubicBezTo>
                <a:cubicBezTo>
                  <a:pt x="355" y="316"/>
                  <a:pt x="355" y="316"/>
                  <a:pt x="355" y="316"/>
                </a:cubicBezTo>
                <a:cubicBezTo>
                  <a:pt x="355" y="316"/>
                  <a:pt x="355" y="316"/>
                  <a:pt x="355" y="316"/>
                </a:cubicBezTo>
                <a:cubicBezTo>
                  <a:pt x="355" y="315"/>
                  <a:pt x="355" y="315"/>
                  <a:pt x="355" y="315"/>
                </a:cubicBezTo>
                <a:cubicBezTo>
                  <a:pt x="356" y="315"/>
                  <a:pt x="356" y="315"/>
                  <a:pt x="356" y="315"/>
                </a:cubicBezTo>
                <a:cubicBezTo>
                  <a:pt x="357" y="315"/>
                  <a:pt x="357" y="315"/>
                  <a:pt x="357" y="315"/>
                </a:cubicBezTo>
                <a:cubicBezTo>
                  <a:pt x="358" y="314"/>
                  <a:pt x="358" y="314"/>
                  <a:pt x="358" y="314"/>
                </a:cubicBezTo>
                <a:cubicBezTo>
                  <a:pt x="359" y="315"/>
                  <a:pt x="359" y="315"/>
                  <a:pt x="359" y="315"/>
                </a:cubicBezTo>
                <a:cubicBezTo>
                  <a:pt x="361" y="315"/>
                  <a:pt x="361" y="315"/>
                  <a:pt x="361" y="315"/>
                </a:cubicBezTo>
                <a:cubicBezTo>
                  <a:pt x="363" y="316"/>
                  <a:pt x="363" y="316"/>
                  <a:pt x="363" y="316"/>
                </a:cubicBezTo>
                <a:cubicBezTo>
                  <a:pt x="366" y="318"/>
                  <a:pt x="366" y="318"/>
                  <a:pt x="366" y="318"/>
                </a:cubicBezTo>
                <a:cubicBezTo>
                  <a:pt x="367" y="318"/>
                  <a:pt x="367" y="318"/>
                  <a:pt x="367" y="318"/>
                </a:cubicBezTo>
                <a:cubicBezTo>
                  <a:pt x="367" y="319"/>
                  <a:pt x="367" y="319"/>
                  <a:pt x="367" y="319"/>
                </a:cubicBezTo>
                <a:cubicBezTo>
                  <a:pt x="365" y="319"/>
                  <a:pt x="365" y="319"/>
                  <a:pt x="365" y="319"/>
                </a:cubicBezTo>
                <a:cubicBezTo>
                  <a:pt x="367" y="319"/>
                  <a:pt x="367" y="319"/>
                  <a:pt x="367" y="319"/>
                </a:cubicBezTo>
                <a:cubicBezTo>
                  <a:pt x="369" y="318"/>
                  <a:pt x="369" y="318"/>
                  <a:pt x="369" y="318"/>
                </a:cubicBezTo>
                <a:cubicBezTo>
                  <a:pt x="370" y="318"/>
                  <a:pt x="370" y="318"/>
                  <a:pt x="370" y="318"/>
                </a:cubicBezTo>
                <a:cubicBezTo>
                  <a:pt x="371" y="319"/>
                  <a:pt x="371" y="319"/>
                  <a:pt x="371" y="319"/>
                </a:cubicBezTo>
                <a:cubicBezTo>
                  <a:pt x="372" y="319"/>
                  <a:pt x="372" y="319"/>
                  <a:pt x="372" y="319"/>
                </a:cubicBezTo>
                <a:cubicBezTo>
                  <a:pt x="373" y="320"/>
                  <a:pt x="373" y="320"/>
                  <a:pt x="373" y="320"/>
                </a:cubicBezTo>
                <a:cubicBezTo>
                  <a:pt x="373" y="319"/>
                  <a:pt x="373" y="319"/>
                  <a:pt x="373" y="319"/>
                </a:cubicBezTo>
                <a:cubicBezTo>
                  <a:pt x="374" y="319"/>
                  <a:pt x="374" y="319"/>
                  <a:pt x="374" y="319"/>
                </a:cubicBezTo>
                <a:cubicBezTo>
                  <a:pt x="375" y="319"/>
                  <a:pt x="375" y="319"/>
                  <a:pt x="375" y="319"/>
                </a:cubicBezTo>
                <a:cubicBezTo>
                  <a:pt x="376" y="319"/>
                  <a:pt x="376" y="319"/>
                  <a:pt x="376" y="319"/>
                </a:cubicBezTo>
                <a:cubicBezTo>
                  <a:pt x="377" y="318"/>
                  <a:pt x="377" y="318"/>
                  <a:pt x="377" y="318"/>
                </a:cubicBezTo>
                <a:cubicBezTo>
                  <a:pt x="379" y="319"/>
                  <a:pt x="379" y="319"/>
                  <a:pt x="379" y="319"/>
                </a:cubicBezTo>
                <a:cubicBezTo>
                  <a:pt x="379" y="321"/>
                  <a:pt x="379" y="321"/>
                  <a:pt x="379" y="321"/>
                </a:cubicBezTo>
                <a:cubicBezTo>
                  <a:pt x="381" y="322"/>
                  <a:pt x="381" y="322"/>
                  <a:pt x="381" y="322"/>
                </a:cubicBezTo>
                <a:cubicBezTo>
                  <a:pt x="382" y="322"/>
                  <a:pt x="382" y="322"/>
                  <a:pt x="382" y="322"/>
                </a:cubicBezTo>
                <a:cubicBezTo>
                  <a:pt x="382" y="324"/>
                  <a:pt x="382" y="324"/>
                  <a:pt x="382" y="324"/>
                </a:cubicBezTo>
                <a:cubicBezTo>
                  <a:pt x="381" y="325"/>
                  <a:pt x="381" y="325"/>
                  <a:pt x="381" y="325"/>
                </a:cubicBezTo>
                <a:cubicBezTo>
                  <a:pt x="381" y="326"/>
                  <a:pt x="381" y="326"/>
                  <a:pt x="381" y="326"/>
                </a:cubicBezTo>
                <a:cubicBezTo>
                  <a:pt x="382" y="325"/>
                  <a:pt x="382" y="325"/>
                  <a:pt x="382" y="325"/>
                </a:cubicBezTo>
                <a:cubicBezTo>
                  <a:pt x="383" y="326"/>
                  <a:pt x="383" y="326"/>
                  <a:pt x="383" y="326"/>
                </a:cubicBezTo>
                <a:cubicBezTo>
                  <a:pt x="384" y="328"/>
                  <a:pt x="384" y="328"/>
                  <a:pt x="384" y="328"/>
                </a:cubicBezTo>
                <a:cubicBezTo>
                  <a:pt x="383" y="328"/>
                  <a:pt x="383" y="328"/>
                  <a:pt x="383" y="328"/>
                </a:cubicBezTo>
                <a:cubicBezTo>
                  <a:pt x="384" y="329"/>
                  <a:pt x="384" y="329"/>
                  <a:pt x="384" y="329"/>
                </a:cubicBezTo>
                <a:cubicBezTo>
                  <a:pt x="385" y="328"/>
                  <a:pt x="385" y="328"/>
                  <a:pt x="385" y="328"/>
                </a:cubicBezTo>
                <a:cubicBezTo>
                  <a:pt x="386" y="329"/>
                  <a:pt x="386" y="329"/>
                  <a:pt x="386" y="329"/>
                </a:cubicBezTo>
                <a:cubicBezTo>
                  <a:pt x="386" y="330"/>
                  <a:pt x="386" y="330"/>
                  <a:pt x="386" y="330"/>
                </a:cubicBezTo>
                <a:cubicBezTo>
                  <a:pt x="385" y="329"/>
                  <a:pt x="385" y="329"/>
                  <a:pt x="385" y="329"/>
                </a:cubicBezTo>
                <a:cubicBezTo>
                  <a:pt x="384" y="331"/>
                  <a:pt x="384" y="331"/>
                  <a:pt x="384" y="331"/>
                </a:cubicBezTo>
                <a:cubicBezTo>
                  <a:pt x="383" y="331"/>
                  <a:pt x="383" y="331"/>
                  <a:pt x="383" y="331"/>
                </a:cubicBezTo>
                <a:cubicBezTo>
                  <a:pt x="385" y="332"/>
                  <a:pt x="385" y="332"/>
                  <a:pt x="385" y="332"/>
                </a:cubicBezTo>
                <a:cubicBezTo>
                  <a:pt x="385" y="333"/>
                  <a:pt x="385" y="333"/>
                  <a:pt x="385" y="333"/>
                </a:cubicBezTo>
                <a:cubicBezTo>
                  <a:pt x="386" y="332"/>
                  <a:pt x="386" y="332"/>
                  <a:pt x="386" y="332"/>
                </a:cubicBezTo>
                <a:cubicBezTo>
                  <a:pt x="386" y="333"/>
                  <a:pt x="386" y="333"/>
                  <a:pt x="386" y="333"/>
                </a:cubicBezTo>
                <a:cubicBezTo>
                  <a:pt x="387" y="333"/>
                  <a:pt x="387" y="333"/>
                  <a:pt x="387" y="333"/>
                </a:cubicBezTo>
                <a:cubicBezTo>
                  <a:pt x="389" y="334"/>
                  <a:pt x="389" y="334"/>
                  <a:pt x="389" y="334"/>
                </a:cubicBezTo>
                <a:cubicBezTo>
                  <a:pt x="390" y="334"/>
                  <a:pt x="390" y="334"/>
                  <a:pt x="390" y="334"/>
                </a:cubicBezTo>
                <a:cubicBezTo>
                  <a:pt x="390" y="335"/>
                  <a:pt x="390" y="335"/>
                  <a:pt x="390" y="335"/>
                </a:cubicBezTo>
                <a:cubicBezTo>
                  <a:pt x="391" y="334"/>
                  <a:pt x="391" y="334"/>
                  <a:pt x="391" y="334"/>
                </a:cubicBezTo>
                <a:cubicBezTo>
                  <a:pt x="393" y="335"/>
                  <a:pt x="393" y="335"/>
                  <a:pt x="393" y="335"/>
                </a:cubicBezTo>
                <a:cubicBezTo>
                  <a:pt x="393" y="337"/>
                  <a:pt x="393" y="337"/>
                  <a:pt x="393" y="337"/>
                </a:cubicBezTo>
                <a:cubicBezTo>
                  <a:pt x="393" y="338"/>
                  <a:pt x="393" y="338"/>
                  <a:pt x="393" y="338"/>
                </a:cubicBezTo>
                <a:cubicBezTo>
                  <a:pt x="395" y="337"/>
                  <a:pt x="395" y="337"/>
                  <a:pt x="395" y="337"/>
                </a:cubicBezTo>
                <a:cubicBezTo>
                  <a:pt x="395" y="335"/>
                  <a:pt x="395" y="335"/>
                  <a:pt x="395" y="335"/>
                </a:cubicBezTo>
                <a:cubicBezTo>
                  <a:pt x="396" y="335"/>
                  <a:pt x="396" y="335"/>
                  <a:pt x="396" y="335"/>
                </a:cubicBezTo>
                <a:cubicBezTo>
                  <a:pt x="396" y="337"/>
                  <a:pt x="396" y="337"/>
                  <a:pt x="396" y="337"/>
                </a:cubicBezTo>
                <a:cubicBezTo>
                  <a:pt x="396" y="339"/>
                  <a:pt x="396" y="339"/>
                  <a:pt x="396" y="339"/>
                </a:cubicBezTo>
                <a:cubicBezTo>
                  <a:pt x="394" y="339"/>
                  <a:pt x="394" y="339"/>
                  <a:pt x="394" y="339"/>
                </a:cubicBezTo>
                <a:cubicBezTo>
                  <a:pt x="393" y="341"/>
                  <a:pt x="393" y="341"/>
                  <a:pt x="393" y="341"/>
                </a:cubicBezTo>
                <a:cubicBezTo>
                  <a:pt x="393" y="344"/>
                  <a:pt x="393" y="344"/>
                  <a:pt x="393" y="344"/>
                </a:cubicBezTo>
                <a:cubicBezTo>
                  <a:pt x="393" y="345"/>
                  <a:pt x="393" y="345"/>
                  <a:pt x="393" y="345"/>
                </a:cubicBezTo>
                <a:cubicBezTo>
                  <a:pt x="393" y="344"/>
                  <a:pt x="393" y="344"/>
                  <a:pt x="393" y="344"/>
                </a:cubicBezTo>
                <a:cubicBezTo>
                  <a:pt x="392" y="345"/>
                  <a:pt x="392" y="345"/>
                  <a:pt x="392" y="345"/>
                </a:cubicBezTo>
                <a:cubicBezTo>
                  <a:pt x="392" y="346"/>
                  <a:pt x="392" y="346"/>
                  <a:pt x="392" y="346"/>
                </a:cubicBezTo>
                <a:cubicBezTo>
                  <a:pt x="389" y="346"/>
                  <a:pt x="389" y="346"/>
                  <a:pt x="389" y="346"/>
                </a:cubicBezTo>
                <a:cubicBezTo>
                  <a:pt x="386" y="345"/>
                  <a:pt x="386" y="345"/>
                  <a:pt x="386" y="345"/>
                </a:cubicBezTo>
                <a:cubicBezTo>
                  <a:pt x="389" y="347"/>
                  <a:pt x="389" y="347"/>
                  <a:pt x="389" y="347"/>
                </a:cubicBezTo>
                <a:cubicBezTo>
                  <a:pt x="391" y="347"/>
                  <a:pt x="391" y="347"/>
                  <a:pt x="391" y="347"/>
                </a:cubicBezTo>
                <a:cubicBezTo>
                  <a:pt x="393" y="348"/>
                  <a:pt x="393" y="348"/>
                  <a:pt x="393" y="348"/>
                </a:cubicBezTo>
                <a:cubicBezTo>
                  <a:pt x="392" y="351"/>
                  <a:pt x="392" y="351"/>
                  <a:pt x="392" y="351"/>
                </a:cubicBezTo>
                <a:cubicBezTo>
                  <a:pt x="391" y="352"/>
                  <a:pt x="391" y="352"/>
                  <a:pt x="391" y="352"/>
                </a:cubicBezTo>
                <a:cubicBezTo>
                  <a:pt x="391" y="353"/>
                  <a:pt x="391" y="353"/>
                  <a:pt x="391" y="353"/>
                </a:cubicBezTo>
                <a:cubicBezTo>
                  <a:pt x="390" y="355"/>
                  <a:pt x="390" y="355"/>
                  <a:pt x="390" y="355"/>
                </a:cubicBezTo>
                <a:cubicBezTo>
                  <a:pt x="390" y="355"/>
                  <a:pt x="390" y="355"/>
                  <a:pt x="390" y="355"/>
                </a:cubicBezTo>
                <a:cubicBezTo>
                  <a:pt x="392" y="357"/>
                  <a:pt x="392" y="357"/>
                  <a:pt x="392" y="357"/>
                </a:cubicBezTo>
                <a:cubicBezTo>
                  <a:pt x="393" y="358"/>
                  <a:pt x="393" y="358"/>
                  <a:pt x="393" y="358"/>
                </a:cubicBezTo>
                <a:cubicBezTo>
                  <a:pt x="392" y="358"/>
                  <a:pt x="392" y="358"/>
                  <a:pt x="392" y="358"/>
                </a:cubicBezTo>
                <a:cubicBezTo>
                  <a:pt x="390" y="357"/>
                  <a:pt x="390" y="357"/>
                  <a:pt x="390" y="357"/>
                </a:cubicBezTo>
                <a:cubicBezTo>
                  <a:pt x="391" y="359"/>
                  <a:pt x="391" y="359"/>
                  <a:pt x="391" y="359"/>
                </a:cubicBezTo>
                <a:cubicBezTo>
                  <a:pt x="393" y="360"/>
                  <a:pt x="393" y="360"/>
                  <a:pt x="393" y="360"/>
                </a:cubicBezTo>
                <a:cubicBezTo>
                  <a:pt x="393" y="360"/>
                  <a:pt x="393" y="360"/>
                  <a:pt x="393" y="360"/>
                </a:cubicBezTo>
                <a:cubicBezTo>
                  <a:pt x="393" y="358"/>
                  <a:pt x="393" y="358"/>
                  <a:pt x="393" y="358"/>
                </a:cubicBezTo>
                <a:cubicBezTo>
                  <a:pt x="394" y="358"/>
                  <a:pt x="394" y="358"/>
                  <a:pt x="394" y="358"/>
                </a:cubicBezTo>
                <a:cubicBezTo>
                  <a:pt x="395" y="360"/>
                  <a:pt x="395" y="360"/>
                  <a:pt x="395" y="360"/>
                </a:cubicBezTo>
                <a:cubicBezTo>
                  <a:pt x="396" y="361"/>
                  <a:pt x="396" y="361"/>
                  <a:pt x="396" y="361"/>
                </a:cubicBezTo>
                <a:cubicBezTo>
                  <a:pt x="395" y="362"/>
                  <a:pt x="395" y="362"/>
                  <a:pt x="395" y="362"/>
                </a:cubicBezTo>
                <a:cubicBezTo>
                  <a:pt x="395" y="364"/>
                  <a:pt x="395" y="364"/>
                  <a:pt x="395" y="364"/>
                </a:cubicBezTo>
                <a:cubicBezTo>
                  <a:pt x="394" y="366"/>
                  <a:pt x="394" y="366"/>
                  <a:pt x="394" y="366"/>
                </a:cubicBezTo>
                <a:cubicBezTo>
                  <a:pt x="394" y="367"/>
                  <a:pt x="394" y="367"/>
                  <a:pt x="394" y="367"/>
                </a:cubicBezTo>
                <a:cubicBezTo>
                  <a:pt x="393" y="368"/>
                  <a:pt x="393" y="368"/>
                  <a:pt x="393" y="368"/>
                </a:cubicBezTo>
                <a:cubicBezTo>
                  <a:pt x="394" y="368"/>
                  <a:pt x="394" y="368"/>
                  <a:pt x="394" y="368"/>
                </a:cubicBezTo>
                <a:cubicBezTo>
                  <a:pt x="396" y="364"/>
                  <a:pt x="396" y="364"/>
                  <a:pt x="396" y="364"/>
                </a:cubicBezTo>
                <a:cubicBezTo>
                  <a:pt x="398" y="363"/>
                  <a:pt x="398" y="363"/>
                  <a:pt x="398" y="363"/>
                </a:cubicBezTo>
                <a:cubicBezTo>
                  <a:pt x="398" y="363"/>
                  <a:pt x="398" y="363"/>
                  <a:pt x="398" y="363"/>
                </a:cubicBezTo>
                <a:cubicBezTo>
                  <a:pt x="398" y="364"/>
                  <a:pt x="398" y="364"/>
                  <a:pt x="398" y="364"/>
                </a:cubicBezTo>
                <a:cubicBezTo>
                  <a:pt x="398" y="366"/>
                  <a:pt x="398" y="366"/>
                  <a:pt x="398" y="366"/>
                </a:cubicBezTo>
                <a:cubicBezTo>
                  <a:pt x="397" y="367"/>
                  <a:pt x="397" y="367"/>
                  <a:pt x="397" y="367"/>
                </a:cubicBezTo>
                <a:cubicBezTo>
                  <a:pt x="398" y="368"/>
                  <a:pt x="398" y="368"/>
                  <a:pt x="398" y="368"/>
                </a:cubicBezTo>
                <a:cubicBezTo>
                  <a:pt x="397" y="369"/>
                  <a:pt x="397" y="369"/>
                  <a:pt x="397" y="369"/>
                </a:cubicBezTo>
                <a:cubicBezTo>
                  <a:pt x="398" y="368"/>
                  <a:pt x="398" y="368"/>
                  <a:pt x="398" y="368"/>
                </a:cubicBezTo>
                <a:cubicBezTo>
                  <a:pt x="399" y="366"/>
                  <a:pt x="399" y="366"/>
                  <a:pt x="399" y="366"/>
                </a:cubicBezTo>
                <a:cubicBezTo>
                  <a:pt x="400" y="365"/>
                  <a:pt x="400" y="365"/>
                  <a:pt x="400" y="365"/>
                </a:cubicBezTo>
                <a:cubicBezTo>
                  <a:pt x="401" y="365"/>
                  <a:pt x="401" y="365"/>
                  <a:pt x="401" y="365"/>
                </a:cubicBezTo>
                <a:cubicBezTo>
                  <a:pt x="402" y="364"/>
                  <a:pt x="402" y="364"/>
                  <a:pt x="402" y="364"/>
                </a:cubicBezTo>
                <a:cubicBezTo>
                  <a:pt x="403" y="364"/>
                  <a:pt x="403" y="364"/>
                  <a:pt x="403" y="364"/>
                </a:cubicBezTo>
                <a:cubicBezTo>
                  <a:pt x="403" y="365"/>
                  <a:pt x="403" y="365"/>
                  <a:pt x="403" y="365"/>
                </a:cubicBezTo>
                <a:cubicBezTo>
                  <a:pt x="404" y="364"/>
                  <a:pt x="404" y="364"/>
                  <a:pt x="404" y="364"/>
                </a:cubicBezTo>
                <a:cubicBezTo>
                  <a:pt x="405" y="364"/>
                  <a:pt x="405" y="364"/>
                  <a:pt x="405" y="364"/>
                </a:cubicBezTo>
                <a:cubicBezTo>
                  <a:pt x="405" y="363"/>
                  <a:pt x="405" y="363"/>
                  <a:pt x="405" y="363"/>
                </a:cubicBezTo>
                <a:cubicBezTo>
                  <a:pt x="406" y="362"/>
                  <a:pt x="406" y="362"/>
                  <a:pt x="406" y="362"/>
                </a:cubicBezTo>
                <a:cubicBezTo>
                  <a:pt x="408" y="360"/>
                  <a:pt x="408" y="360"/>
                  <a:pt x="408" y="360"/>
                </a:cubicBezTo>
                <a:cubicBezTo>
                  <a:pt x="408" y="361"/>
                  <a:pt x="408" y="361"/>
                  <a:pt x="408" y="361"/>
                </a:cubicBezTo>
                <a:cubicBezTo>
                  <a:pt x="409" y="363"/>
                  <a:pt x="409" y="363"/>
                  <a:pt x="409" y="363"/>
                </a:cubicBezTo>
                <a:cubicBezTo>
                  <a:pt x="409" y="364"/>
                  <a:pt x="409" y="364"/>
                  <a:pt x="409" y="364"/>
                </a:cubicBezTo>
                <a:cubicBezTo>
                  <a:pt x="409" y="362"/>
                  <a:pt x="409" y="362"/>
                  <a:pt x="409" y="362"/>
                </a:cubicBezTo>
                <a:cubicBezTo>
                  <a:pt x="409" y="361"/>
                  <a:pt x="409" y="361"/>
                  <a:pt x="409" y="361"/>
                </a:cubicBezTo>
                <a:cubicBezTo>
                  <a:pt x="410" y="360"/>
                  <a:pt x="410" y="360"/>
                  <a:pt x="410" y="360"/>
                </a:cubicBezTo>
                <a:cubicBezTo>
                  <a:pt x="410" y="360"/>
                  <a:pt x="410" y="360"/>
                  <a:pt x="410" y="360"/>
                </a:cubicBezTo>
                <a:cubicBezTo>
                  <a:pt x="411" y="359"/>
                  <a:pt x="411" y="359"/>
                  <a:pt x="411" y="359"/>
                </a:cubicBezTo>
                <a:cubicBezTo>
                  <a:pt x="412" y="358"/>
                  <a:pt x="412" y="358"/>
                  <a:pt x="412" y="358"/>
                </a:cubicBezTo>
                <a:cubicBezTo>
                  <a:pt x="412" y="357"/>
                  <a:pt x="412" y="357"/>
                  <a:pt x="412" y="357"/>
                </a:cubicBezTo>
                <a:cubicBezTo>
                  <a:pt x="413" y="356"/>
                  <a:pt x="413" y="356"/>
                  <a:pt x="413" y="356"/>
                </a:cubicBezTo>
                <a:cubicBezTo>
                  <a:pt x="414" y="355"/>
                  <a:pt x="414" y="355"/>
                  <a:pt x="414" y="355"/>
                </a:cubicBezTo>
                <a:cubicBezTo>
                  <a:pt x="414" y="354"/>
                  <a:pt x="414" y="354"/>
                  <a:pt x="414" y="354"/>
                </a:cubicBezTo>
                <a:cubicBezTo>
                  <a:pt x="415" y="354"/>
                  <a:pt x="415" y="354"/>
                  <a:pt x="415" y="354"/>
                </a:cubicBezTo>
                <a:cubicBezTo>
                  <a:pt x="416" y="355"/>
                  <a:pt x="416" y="355"/>
                  <a:pt x="416" y="355"/>
                </a:cubicBezTo>
                <a:cubicBezTo>
                  <a:pt x="416" y="355"/>
                  <a:pt x="416" y="355"/>
                  <a:pt x="416" y="355"/>
                </a:cubicBezTo>
                <a:cubicBezTo>
                  <a:pt x="415" y="354"/>
                  <a:pt x="415" y="354"/>
                  <a:pt x="415" y="354"/>
                </a:cubicBezTo>
                <a:cubicBezTo>
                  <a:pt x="414" y="354"/>
                  <a:pt x="414" y="354"/>
                  <a:pt x="414" y="354"/>
                </a:cubicBezTo>
                <a:cubicBezTo>
                  <a:pt x="414" y="353"/>
                  <a:pt x="414" y="353"/>
                  <a:pt x="414" y="353"/>
                </a:cubicBezTo>
                <a:cubicBezTo>
                  <a:pt x="415" y="351"/>
                  <a:pt x="415" y="351"/>
                  <a:pt x="415" y="351"/>
                </a:cubicBezTo>
                <a:cubicBezTo>
                  <a:pt x="416" y="351"/>
                  <a:pt x="416" y="351"/>
                  <a:pt x="416" y="351"/>
                </a:cubicBezTo>
                <a:cubicBezTo>
                  <a:pt x="416" y="351"/>
                  <a:pt x="416" y="351"/>
                  <a:pt x="416" y="351"/>
                </a:cubicBezTo>
                <a:cubicBezTo>
                  <a:pt x="416" y="350"/>
                  <a:pt x="416" y="350"/>
                  <a:pt x="416" y="350"/>
                </a:cubicBezTo>
                <a:cubicBezTo>
                  <a:pt x="417" y="350"/>
                  <a:pt x="417" y="350"/>
                  <a:pt x="417" y="350"/>
                </a:cubicBezTo>
                <a:cubicBezTo>
                  <a:pt x="417" y="349"/>
                  <a:pt x="417" y="349"/>
                  <a:pt x="417" y="349"/>
                </a:cubicBezTo>
                <a:cubicBezTo>
                  <a:pt x="418" y="347"/>
                  <a:pt x="418" y="347"/>
                  <a:pt x="418" y="347"/>
                </a:cubicBezTo>
                <a:cubicBezTo>
                  <a:pt x="419" y="346"/>
                  <a:pt x="419" y="346"/>
                  <a:pt x="419" y="346"/>
                </a:cubicBezTo>
                <a:cubicBezTo>
                  <a:pt x="419" y="345"/>
                  <a:pt x="419" y="345"/>
                  <a:pt x="419" y="345"/>
                </a:cubicBezTo>
                <a:cubicBezTo>
                  <a:pt x="420" y="344"/>
                  <a:pt x="420" y="344"/>
                  <a:pt x="420" y="344"/>
                </a:cubicBezTo>
                <a:cubicBezTo>
                  <a:pt x="421" y="343"/>
                  <a:pt x="421" y="343"/>
                  <a:pt x="421" y="343"/>
                </a:cubicBezTo>
                <a:cubicBezTo>
                  <a:pt x="422" y="344"/>
                  <a:pt x="422" y="344"/>
                  <a:pt x="422" y="344"/>
                </a:cubicBezTo>
                <a:cubicBezTo>
                  <a:pt x="421" y="345"/>
                  <a:pt x="421" y="345"/>
                  <a:pt x="421" y="345"/>
                </a:cubicBezTo>
                <a:cubicBezTo>
                  <a:pt x="422" y="344"/>
                  <a:pt x="422" y="344"/>
                  <a:pt x="422" y="344"/>
                </a:cubicBezTo>
                <a:cubicBezTo>
                  <a:pt x="422" y="345"/>
                  <a:pt x="422" y="345"/>
                  <a:pt x="422" y="345"/>
                </a:cubicBezTo>
                <a:cubicBezTo>
                  <a:pt x="421" y="345"/>
                  <a:pt x="421" y="345"/>
                  <a:pt x="421" y="345"/>
                </a:cubicBezTo>
                <a:cubicBezTo>
                  <a:pt x="421" y="346"/>
                  <a:pt x="421" y="346"/>
                  <a:pt x="421" y="346"/>
                </a:cubicBezTo>
                <a:cubicBezTo>
                  <a:pt x="422" y="347"/>
                  <a:pt x="422" y="347"/>
                  <a:pt x="422" y="347"/>
                </a:cubicBezTo>
                <a:cubicBezTo>
                  <a:pt x="421" y="348"/>
                  <a:pt x="421" y="348"/>
                  <a:pt x="421" y="348"/>
                </a:cubicBezTo>
                <a:cubicBezTo>
                  <a:pt x="421" y="348"/>
                  <a:pt x="421" y="348"/>
                  <a:pt x="421" y="348"/>
                </a:cubicBezTo>
                <a:cubicBezTo>
                  <a:pt x="421" y="348"/>
                  <a:pt x="421" y="348"/>
                  <a:pt x="421" y="348"/>
                </a:cubicBezTo>
                <a:cubicBezTo>
                  <a:pt x="421" y="348"/>
                  <a:pt x="421" y="348"/>
                  <a:pt x="421" y="348"/>
                </a:cubicBezTo>
                <a:cubicBezTo>
                  <a:pt x="422" y="348"/>
                  <a:pt x="422" y="348"/>
                  <a:pt x="422" y="348"/>
                </a:cubicBezTo>
                <a:cubicBezTo>
                  <a:pt x="422" y="350"/>
                  <a:pt x="422" y="350"/>
                  <a:pt x="422" y="350"/>
                </a:cubicBezTo>
                <a:cubicBezTo>
                  <a:pt x="421" y="350"/>
                  <a:pt x="421" y="350"/>
                  <a:pt x="421" y="350"/>
                </a:cubicBezTo>
                <a:cubicBezTo>
                  <a:pt x="422" y="350"/>
                  <a:pt x="422" y="350"/>
                  <a:pt x="422" y="350"/>
                </a:cubicBezTo>
                <a:cubicBezTo>
                  <a:pt x="422" y="351"/>
                  <a:pt x="422" y="351"/>
                  <a:pt x="422" y="351"/>
                </a:cubicBezTo>
                <a:cubicBezTo>
                  <a:pt x="422" y="352"/>
                  <a:pt x="422" y="352"/>
                  <a:pt x="422" y="352"/>
                </a:cubicBezTo>
                <a:cubicBezTo>
                  <a:pt x="422" y="353"/>
                  <a:pt x="422" y="353"/>
                  <a:pt x="422" y="353"/>
                </a:cubicBezTo>
                <a:cubicBezTo>
                  <a:pt x="423" y="354"/>
                  <a:pt x="423" y="354"/>
                  <a:pt x="423" y="354"/>
                </a:cubicBezTo>
                <a:cubicBezTo>
                  <a:pt x="423" y="355"/>
                  <a:pt x="423" y="355"/>
                  <a:pt x="423" y="355"/>
                </a:cubicBezTo>
                <a:cubicBezTo>
                  <a:pt x="423" y="356"/>
                  <a:pt x="423" y="356"/>
                  <a:pt x="423" y="356"/>
                </a:cubicBezTo>
                <a:cubicBezTo>
                  <a:pt x="422" y="355"/>
                  <a:pt x="422" y="355"/>
                  <a:pt x="422" y="355"/>
                </a:cubicBezTo>
                <a:cubicBezTo>
                  <a:pt x="421" y="356"/>
                  <a:pt x="421" y="356"/>
                  <a:pt x="421" y="356"/>
                </a:cubicBezTo>
                <a:cubicBezTo>
                  <a:pt x="422" y="357"/>
                  <a:pt x="422" y="357"/>
                  <a:pt x="422" y="357"/>
                </a:cubicBezTo>
                <a:cubicBezTo>
                  <a:pt x="422" y="357"/>
                  <a:pt x="422" y="357"/>
                  <a:pt x="422" y="357"/>
                </a:cubicBezTo>
                <a:cubicBezTo>
                  <a:pt x="423" y="357"/>
                  <a:pt x="423" y="357"/>
                  <a:pt x="423" y="357"/>
                </a:cubicBezTo>
                <a:cubicBezTo>
                  <a:pt x="424" y="356"/>
                  <a:pt x="424" y="356"/>
                  <a:pt x="424" y="356"/>
                </a:cubicBezTo>
                <a:cubicBezTo>
                  <a:pt x="424" y="357"/>
                  <a:pt x="424" y="357"/>
                  <a:pt x="424" y="357"/>
                </a:cubicBezTo>
                <a:cubicBezTo>
                  <a:pt x="425" y="358"/>
                  <a:pt x="425" y="358"/>
                  <a:pt x="425" y="358"/>
                </a:cubicBezTo>
                <a:cubicBezTo>
                  <a:pt x="424" y="359"/>
                  <a:pt x="424" y="359"/>
                  <a:pt x="424" y="359"/>
                </a:cubicBezTo>
                <a:cubicBezTo>
                  <a:pt x="423" y="360"/>
                  <a:pt x="423" y="360"/>
                  <a:pt x="423" y="360"/>
                </a:cubicBezTo>
                <a:cubicBezTo>
                  <a:pt x="421" y="359"/>
                  <a:pt x="421" y="359"/>
                  <a:pt x="421" y="359"/>
                </a:cubicBezTo>
                <a:cubicBezTo>
                  <a:pt x="421" y="360"/>
                  <a:pt x="421" y="360"/>
                  <a:pt x="421" y="360"/>
                </a:cubicBezTo>
                <a:cubicBezTo>
                  <a:pt x="422" y="361"/>
                  <a:pt x="422" y="361"/>
                  <a:pt x="422" y="361"/>
                </a:cubicBezTo>
                <a:cubicBezTo>
                  <a:pt x="424" y="360"/>
                  <a:pt x="424" y="360"/>
                  <a:pt x="424" y="360"/>
                </a:cubicBezTo>
                <a:cubicBezTo>
                  <a:pt x="425" y="360"/>
                  <a:pt x="425" y="360"/>
                  <a:pt x="425" y="360"/>
                </a:cubicBezTo>
                <a:cubicBezTo>
                  <a:pt x="425" y="361"/>
                  <a:pt x="425" y="361"/>
                  <a:pt x="425" y="361"/>
                </a:cubicBezTo>
                <a:cubicBezTo>
                  <a:pt x="424" y="363"/>
                  <a:pt x="424" y="363"/>
                  <a:pt x="424" y="363"/>
                </a:cubicBezTo>
                <a:cubicBezTo>
                  <a:pt x="425" y="363"/>
                  <a:pt x="425" y="363"/>
                  <a:pt x="425" y="363"/>
                </a:cubicBezTo>
                <a:cubicBezTo>
                  <a:pt x="426" y="362"/>
                  <a:pt x="426" y="362"/>
                  <a:pt x="426" y="362"/>
                </a:cubicBezTo>
                <a:cubicBezTo>
                  <a:pt x="426" y="364"/>
                  <a:pt x="426" y="364"/>
                  <a:pt x="426" y="364"/>
                </a:cubicBezTo>
                <a:cubicBezTo>
                  <a:pt x="425" y="365"/>
                  <a:pt x="425" y="365"/>
                  <a:pt x="425" y="365"/>
                </a:cubicBezTo>
                <a:cubicBezTo>
                  <a:pt x="423" y="365"/>
                  <a:pt x="423" y="365"/>
                  <a:pt x="423" y="365"/>
                </a:cubicBezTo>
                <a:cubicBezTo>
                  <a:pt x="422" y="365"/>
                  <a:pt x="422" y="365"/>
                  <a:pt x="422" y="365"/>
                </a:cubicBezTo>
                <a:cubicBezTo>
                  <a:pt x="422" y="365"/>
                  <a:pt x="422" y="365"/>
                  <a:pt x="422" y="365"/>
                </a:cubicBezTo>
                <a:cubicBezTo>
                  <a:pt x="422" y="366"/>
                  <a:pt x="422" y="366"/>
                  <a:pt x="422" y="366"/>
                </a:cubicBezTo>
                <a:cubicBezTo>
                  <a:pt x="421" y="367"/>
                  <a:pt x="421" y="367"/>
                  <a:pt x="421" y="367"/>
                </a:cubicBezTo>
                <a:cubicBezTo>
                  <a:pt x="423" y="367"/>
                  <a:pt x="423" y="367"/>
                  <a:pt x="423" y="367"/>
                </a:cubicBezTo>
                <a:cubicBezTo>
                  <a:pt x="425" y="367"/>
                  <a:pt x="425" y="367"/>
                  <a:pt x="425" y="367"/>
                </a:cubicBezTo>
                <a:cubicBezTo>
                  <a:pt x="426" y="366"/>
                  <a:pt x="426" y="366"/>
                  <a:pt x="426" y="366"/>
                </a:cubicBezTo>
                <a:cubicBezTo>
                  <a:pt x="427" y="366"/>
                  <a:pt x="427" y="366"/>
                  <a:pt x="427" y="366"/>
                </a:cubicBezTo>
                <a:cubicBezTo>
                  <a:pt x="426" y="367"/>
                  <a:pt x="426" y="367"/>
                  <a:pt x="426" y="367"/>
                </a:cubicBezTo>
                <a:cubicBezTo>
                  <a:pt x="426" y="368"/>
                  <a:pt x="426" y="368"/>
                  <a:pt x="426" y="368"/>
                </a:cubicBezTo>
                <a:cubicBezTo>
                  <a:pt x="425" y="368"/>
                  <a:pt x="425" y="368"/>
                  <a:pt x="425" y="368"/>
                </a:cubicBezTo>
                <a:cubicBezTo>
                  <a:pt x="424" y="368"/>
                  <a:pt x="424" y="368"/>
                  <a:pt x="424" y="368"/>
                </a:cubicBezTo>
                <a:cubicBezTo>
                  <a:pt x="422" y="371"/>
                  <a:pt x="422" y="371"/>
                  <a:pt x="422" y="371"/>
                </a:cubicBezTo>
                <a:cubicBezTo>
                  <a:pt x="424" y="370"/>
                  <a:pt x="424" y="370"/>
                  <a:pt x="424" y="370"/>
                </a:cubicBezTo>
                <a:cubicBezTo>
                  <a:pt x="425" y="370"/>
                  <a:pt x="425" y="370"/>
                  <a:pt x="425" y="370"/>
                </a:cubicBezTo>
                <a:cubicBezTo>
                  <a:pt x="426" y="369"/>
                  <a:pt x="426" y="369"/>
                  <a:pt x="426" y="369"/>
                </a:cubicBezTo>
                <a:cubicBezTo>
                  <a:pt x="427" y="370"/>
                  <a:pt x="427" y="370"/>
                  <a:pt x="427" y="370"/>
                </a:cubicBezTo>
                <a:cubicBezTo>
                  <a:pt x="427" y="371"/>
                  <a:pt x="427" y="371"/>
                  <a:pt x="427" y="371"/>
                </a:cubicBezTo>
                <a:cubicBezTo>
                  <a:pt x="426" y="371"/>
                  <a:pt x="426" y="371"/>
                  <a:pt x="426" y="371"/>
                </a:cubicBezTo>
                <a:cubicBezTo>
                  <a:pt x="425" y="372"/>
                  <a:pt x="425" y="372"/>
                  <a:pt x="425" y="372"/>
                </a:cubicBezTo>
                <a:cubicBezTo>
                  <a:pt x="425" y="373"/>
                  <a:pt x="425" y="373"/>
                  <a:pt x="425" y="373"/>
                </a:cubicBezTo>
                <a:cubicBezTo>
                  <a:pt x="425" y="372"/>
                  <a:pt x="425" y="372"/>
                  <a:pt x="425" y="372"/>
                </a:cubicBezTo>
                <a:cubicBezTo>
                  <a:pt x="427" y="373"/>
                  <a:pt x="427" y="373"/>
                  <a:pt x="427" y="373"/>
                </a:cubicBezTo>
                <a:cubicBezTo>
                  <a:pt x="427" y="372"/>
                  <a:pt x="427" y="372"/>
                  <a:pt x="427" y="372"/>
                </a:cubicBezTo>
                <a:cubicBezTo>
                  <a:pt x="428" y="373"/>
                  <a:pt x="428" y="373"/>
                  <a:pt x="428" y="373"/>
                </a:cubicBezTo>
                <a:cubicBezTo>
                  <a:pt x="429" y="375"/>
                  <a:pt x="429" y="375"/>
                  <a:pt x="429" y="375"/>
                </a:cubicBezTo>
                <a:cubicBezTo>
                  <a:pt x="428" y="376"/>
                  <a:pt x="428" y="376"/>
                  <a:pt x="428" y="376"/>
                </a:cubicBezTo>
                <a:cubicBezTo>
                  <a:pt x="427" y="376"/>
                  <a:pt x="427" y="376"/>
                  <a:pt x="427" y="376"/>
                </a:cubicBezTo>
                <a:cubicBezTo>
                  <a:pt x="426" y="376"/>
                  <a:pt x="426" y="376"/>
                  <a:pt x="426" y="376"/>
                </a:cubicBezTo>
                <a:cubicBezTo>
                  <a:pt x="425" y="376"/>
                  <a:pt x="425" y="376"/>
                  <a:pt x="425" y="376"/>
                </a:cubicBezTo>
                <a:cubicBezTo>
                  <a:pt x="426" y="377"/>
                  <a:pt x="426" y="377"/>
                  <a:pt x="426" y="377"/>
                </a:cubicBezTo>
                <a:cubicBezTo>
                  <a:pt x="427" y="377"/>
                  <a:pt x="427" y="377"/>
                  <a:pt x="427" y="377"/>
                </a:cubicBezTo>
                <a:cubicBezTo>
                  <a:pt x="427" y="377"/>
                  <a:pt x="427" y="377"/>
                  <a:pt x="427" y="377"/>
                </a:cubicBezTo>
                <a:cubicBezTo>
                  <a:pt x="429" y="377"/>
                  <a:pt x="429" y="377"/>
                  <a:pt x="429" y="377"/>
                </a:cubicBezTo>
                <a:cubicBezTo>
                  <a:pt x="429" y="378"/>
                  <a:pt x="429" y="378"/>
                  <a:pt x="429" y="378"/>
                </a:cubicBezTo>
                <a:cubicBezTo>
                  <a:pt x="429" y="379"/>
                  <a:pt x="429" y="379"/>
                  <a:pt x="429" y="379"/>
                </a:cubicBezTo>
                <a:cubicBezTo>
                  <a:pt x="428" y="379"/>
                  <a:pt x="428" y="379"/>
                  <a:pt x="428" y="379"/>
                </a:cubicBezTo>
                <a:cubicBezTo>
                  <a:pt x="429" y="380"/>
                  <a:pt x="429" y="380"/>
                  <a:pt x="429" y="380"/>
                </a:cubicBezTo>
                <a:cubicBezTo>
                  <a:pt x="430" y="380"/>
                  <a:pt x="430" y="380"/>
                  <a:pt x="430" y="380"/>
                </a:cubicBezTo>
                <a:cubicBezTo>
                  <a:pt x="431" y="381"/>
                  <a:pt x="431" y="381"/>
                  <a:pt x="431" y="381"/>
                </a:cubicBezTo>
                <a:cubicBezTo>
                  <a:pt x="431" y="382"/>
                  <a:pt x="431" y="382"/>
                  <a:pt x="431" y="382"/>
                </a:cubicBezTo>
                <a:cubicBezTo>
                  <a:pt x="430" y="382"/>
                  <a:pt x="430" y="382"/>
                  <a:pt x="430" y="382"/>
                </a:cubicBezTo>
                <a:cubicBezTo>
                  <a:pt x="428" y="384"/>
                  <a:pt x="428" y="384"/>
                  <a:pt x="428" y="384"/>
                </a:cubicBezTo>
                <a:cubicBezTo>
                  <a:pt x="428" y="383"/>
                  <a:pt x="428" y="383"/>
                  <a:pt x="428" y="383"/>
                </a:cubicBezTo>
                <a:cubicBezTo>
                  <a:pt x="427" y="384"/>
                  <a:pt x="427" y="384"/>
                  <a:pt x="427" y="384"/>
                </a:cubicBezTo>
                <a:cubicBezTo>
                  <a:pt x="428" y="384"/>
                  <a:pt x="428" y="384"/>
                  <a:pt x="428" y="384"/>
                </a:cubicBezTo>
                <a:cubicBezTo>
                  <a:pt x="428" y="385"/>
                  <a:pt x="428" y="385"/>
                  <a:pt x="428" y="385"/>
                </a:cubicBezTo>
                <a:cubicBezTo>
                  <a:pt x="427" y="385"/>
                  <a:pt x="427" y="385"/>
                  <a:pt x="427" y="385"/>
                </a:cubicBezTo>
                <a:cubicBezTo>
                  <a:pt x="425" y="384"/>
                  <a:pt x="425" y="384"/>
                  <a:pt x="425" y="384"/>
                </a:cubicBezTo>
                <a:cubicBezTo>
                  <a:pt x="424" y="384"/>
                  <a:pt x="424" y="384"/>
                  <a:pt x="424" y="384"/>
                </a:cubicBezTo>
                <a:cubicBezTo>
                  <a:pt x="425" y="385"/>
                  <a:pt x="425" y="385"/>
                  <a:pt x="425" y="385"/>
                </a:cubicBezTo>
                <a:cubicBezTo>
                  <a:pt x="425" y="386"/>
                  <a:pt x="425" y="386"/>
                  <a:pt x="425" y="386"/>
                </a:cubicBezTo>
                <a:cubicBezTo>
                  <a:pt x="427" y="387"/>
                  <a:pt x="427" y="387"/>
                  <a:pt x="427" y="387"/>
                </a:cubicBezTo>
                <a:cubicBezTo>
                  <a:pt x="427" y="388"/>
                  <a:pt x="427" y="388"/>
                  <a:pt x="427" y="388"/>
                </a:cubicBezTo>
                <a:cubicBezTo>
                  <a:pt x="427" y="389"/>
                  <a:pt x="427" y="389"/>
                  <a:pt x="427" y="389"/>
                </a:cubicBezTo>
                <a:cubicBezTo>
                  <a:pt x="426" y="389"/>
                  <a:pt x="426" y="389"/>
                  <a:pt x="426" y="389"/>
                </a:cubicBezTo>
                <a:cubicBezTo>
                  <a:pt x="425" y="390"/>
                  <a:pt x="425" y="390"/>
                  <a:pt x="425" y="390"/>
                </a:cubicBezTo>
                <a:cubicBezTo>
                  <a:pt x="423" y="390"/>
                  <a:pt x="423" y="390"/>
                  <a:pt x="423" y="390"/>
                </a:cubicBezTo>
                <a:cubicBezTo>
                  <a:pt x="426" y="390"/>
                  <a:pt x="426" y="390"/>
                  <a:pt x="426" y="390"/>
                </a:cubicBezTo>
                <a:cubicBezTo>
                  <a:pt x="426" y="390"/>
                  <a:pt x="426" y="390"/>
                  <a:pt x="426" y="390"/>
                </a:cubicBezTo>
                <a:cubicBezTo>
                  <a:pt x="427" y="390"/>
                  <a:pt x="427" y="390"/>
                  <a:pt x="427" y="390"/>
                </a:cubicBezTo>
                <a:cubicBezTo>
                  <a:pt x="428" y="389"/>
                  <a:pt x="428" y="389"/>
                  <a:pt x="428" y="389"/>
                </a:cubicBezTo>
                <a:cubicBezTo>
                  <a:pt x="429" y="389"/>
                  <a:pt x="429" y="389"/>
                  <a:pt x="429" y="389"/>
                </a:cubicBezTo>
                <a:cubicBezTo>
                  <a:pt x="429" y="390"/>
                  <a:pt x="429" y="390"/>
                  <a:pt x="429" y="390"/>
                </a:cubicBezTo>
                <a:cubicBezTo>
                  <a:pt x="429" y="391"/>
                  <a:pt x="429" y="391"/>
                  <a:pt x="429" y="391"/>
                </a:cubicBezTo>
                <a:cubicBezTo>
                  <a:pt x="429" y="391"/>
                  <a:pt x="429" y="391"/>
                  <a:pt x="429" y="391"/>
                </a:cubicBezTo>
                <a:cubicBezTo>
                  <a:pt x="430" y="391"/>
                  <a:pt x="430" y="391"/>
                  <a:pt x="430" y="391"/>
                </a:cubicBezTo>
                <a:cubicBezTo>
                  <a:pt x="430" y="392"/>
                  <a:pt x="430" y="392"/>
                  <a:pt x="430" y="392"/>
                </a:cubicBezTo>
                <a:cubicBezTo>
                  <a:pt x="430" y="393"/>
                  <a:pt x="430" y="393"/>
                  <a:pt x="430" y="393"/>
                </a:cubicBezTo>
                <a:cubicBezTo>
                  <a:pt x="430" y="393"/>
                  <a:pt x="430" y="393"/>
                  <a:pt x="430" y="393"/>
                </a:cubicBezTo>
                <a:cubicBezTo>
                  <a:pt x="431" y="392"/>
                  <a:pt x="431" y="392"/>
                  <a:pt x="431" y="392"/>
                </a:cubicBezTo>
                <a:cubicBezTo>
                  <a:pt x="432" y="393"/>
                  <a:pt x="432" y="393"/>
                  <a:pt x="432" y="393"/>
                </a:cubicBezTo>
                <a:cubicBezTo>
                  <a:pt x="432" y="393"/>
                  <a:pt x="432" y="393"/>
                  <a:pt x="432" y="393"/>
                </a:cubicBezTo>
                <a:cubicBezTo>
                  <a:pt x="432" y="394"/>
                  <a:pt x="432" y="394"/>
                  <a:pt x="432" y="394"/>
                </a:cubicBezTo>
                <a:cubicBezTo>
                  <a:pt x="432" y="395"/>
                  <a:pt x="432" y="395"/>
                  <a:pt x="432" y="395"/>
                </a:cubicBezTo>
                <a:cubicBezTo>
                  <a:pt x="432" y="396"/>
                  <a:pt x="432" y="396"/>
                  <a:pt x="432" y="396"/>
                </a:cubicBezTo>
                <a:cubicBezTo>
                  <a:pt x="432" y="396"/>
                  <a:pt x="432" y="396"/>
                  <a:pt x="432" y="396"/>
                </a:cubicBezTo>
                <a:cubicBezTo>
                  <a:pt x="434" y="394"/>
                  <a:pt x="434" y="394"/>
                  <a:pt x="434" y="394"/>
                </a:cubicBezTo>
                <a:cubicBezTo>
                  <a:pt x="434" y="394"/>
                  <a:pt x="434" y="394"/>
                  <a:pt x="434" y="394"/>
                </a:cubicBezTo>
                <a:cubicBezTo>
                  <a:pt x="434" y="395"/>
                  <a:pt x="434" y="395"/>
                  <a:pt x="434" y="395"/>
                </a:cubicBezTo>
                <a:cubicBezTo>
                  <a:pt x="434" y="396"/>
                  <a:pt x="434" y="396"/>
                  <a:pt x="434" y="396"/>
                </a:cubicBezTo>
                <a:cubicBezTo>
                  <a:pt x="433" y="397"/>
                  <a:pt x="433" y="397"/>
                  <a:pt x="433" y="397"/>
                </a:cubicBezTo>
                <a:cubicBezTo>
                  <a:pt x="431" y="399"/>
                  <a:pt x="431" y="399"/>
                  <a:pt x="431" y="399"/>
                </a:cubicBezTo>
                <a:cubicBezTo>
                  <a:pt x="430" y="400"/>
                  <a:pt x="430" y="400"/>
                  <a:pt x="430" y="400"/>
                </a:cubicBezTo>
                <a:cubicBezTo>
                  <a:pt x="429" y="400"/>
                  <a:pt x="429" y="400"/>
                  <a:pt x="429" y="400"/>
                </a:cubicBezTo>
                <a:cubicBezTo>
                  <a:pt x="430" y="401"/>
                  <a:pt x="430" y="401"/>
                  <a:pt x="430" y="401"/>
                </a:cubicBezTo>
                <a:cubicBezTo>
                  <a:pt x="431" y="400"/>
                  <a:pt x="431" y="400"/>
                  <a:pt x="431" y="400"/>
                </a:cubicBezTo>
                <a:cubicBezTo>
                  <a:pt x="433" y="398"/>
                  <a:pt x="433" y="398"/>
                  <a:pt x="433" y="398"/>
                </a:cubicBezTo>
                <a:cubicBezTo>
                  <a:pt x="434" y="398"/>
                  <a:pt x="434" y="398"/>
                  <a:pt x="434" y="398"/>
                </a:cubicBezTo>
                <a:cubicBezTo>
                  <a:pt x="434" y="399"/>
                  <a:pt x="434" y="399"/>
                  <a:pt x="434" y="399"/>
                </a:cubicBezTo>
                <a:cubicBezTo>
                  <a:pt x="433" y="400"/>
                  <a:pt x="433" y="400"/>
                  <a:pt x="433" y="400"/>
                </a:cubicBezTo>
                <a:cubicBezTo>
                  <a:pt x="433" y="401"/>
                  <a:pt x="433" y="401"/>
                  <a:pt x="433" y="401"/>
                </a:cubicBezTo>
                <a:cubicBezTo>
                  <a:pt x="433" y="401"/>
                  <a:pt x="433" y="401"/>
                  <a:pt x="433" y="401"/>
                </a:cubicBezTo>
                <a:cubicBezTo>
                  <a:pt x="434" y="400"/>
                  <a:pt x="434" y="400"/>
                  <a:pt x="434" y="400"/>
                </a:cubicBezTo>
                <a:cubicBezTo>
                  <a:pt x="436" y="398"/>
                  <a:pt x="436" y="398"/>
                  <a:pt x="436" y="398"/>
                </a:cubicBezTo>
                <a:cubicBezTo>
                  <a:pt x="437" y="398"/>
                  <a:pt x="437" y="398"/>
                  <a:pt x="437" y="398"/>
                </a:cubicBezTo>
                <a:cubicBezTo>
                  <a:pt x="437" y="399"/>
                  <a:pt x="437" y="399"/>
                  <a:pt x="437" y="399"/>
                </a:cubicBezTo>
                <a:cubicBezTo>
                  <a:pt x="436" y="399"/>
                  <a:pt x="436" y="399"/>
                  <a:pt x="436" y="399"/>
                </a:cubicBezTo>
                <a:cubicBezTo>
                  <a:pt x="435" y="400"/>
                  <a:pt x="435" y="400"/>
                  <a:pt x="435" y="400"/>
                </a:cubicBezTo>
                <a:cubicBezTo>
                  <a:pt x="436" y="400"/>
                  <a:pt x="436" y="400"/>
                  <a:pt x="436" y="400"/>
                </a:cubicBezTo>
                <a:cubicBezTo>
                  <a:pt x="438" y="399"/>
                  <a:pt x="438" y="399"/>
                  <a:pt x="438" y="399"/>
                </a:cubicBezTo>
                <a:cubicBezTo>
                  <a:pt x="438" y="400"/>
                  <a:pt x="438" y="400"/>
                  <a:pt x="438" y="400"/>
                </a:cubicBezTo>
                <a:cubicBezTo>
                  <a:pt x="436" y="401"/>
                  <a:pt x="436" y="401"/>
                  <a:pt x="436" y="401"/>
                </a:cubicBezTo>
                <a:cubicBezTo>
                  <a:pt x="435" y="402"/>
                  <a:pt x="435" y="402"/>
                  <a:pt x="435" y="402"/>
                </a:cubicBezTo>
                <a:cubicBezTo>
                  <a:pt x="436" y="402"/>
                  <a:pt x="436" y="402"/>
                  <a:pt x="436" y="402"/>
                </a:cubicBezTo>
                <a:cubicBezTo>
                  <a:pt x="437" y="401"/>
                  <a:pt x="437" y="401"/>
                  <a:pt x="437" y="401"/>
                </a:cubicBezTo>
                <a:cubicBezTo>
                  <a:pt x="439" y="399"/>
                  <a:pt x="439" y="399"/>
                  <a:pt x="439" y="399"/>
                </a:cubicBezTo>
                <a:cubicBezTo>
                  <a:pt x="440" y="399"/>
                  <a:pt x="440" y="399"/>
                  <a:pt x="440" y="399"/>
                </a:cubicBezTo>
                <a:cubicBezTo>
                  <a:pt x="439" y="400"/>
                  <a:pt x="439" y="400"/>
                  <a:pt x="439" y="400"/>
                </a:cubicBezTo>
                <a:cubicBezTo>
                  <a:pt x="439" y="401"/>
                  <a:pt x="439" y="401"/>
                  <a:pt x="439" y="401"/>
                </a:cubicBezTo>
                <a:cubicBezTo>
                  <a:pt x="441" y="399"/>
                  <a:pt x="441" y="399"/>
                  <a:pt x="441" y="399"/>
                </a:cubicBezTo>
                <a:cubicBezTo>
                  <a:pt x="441" y="400"/>
                  <a:pt x="441" y="400"/>
                  <a:pt x="441" y="400"/>
                </a:cubicBezTo>
                <a:cubicBezTo>
                  <a:pt x="441" y="402"/>
                  <a:pt x="441" y="402"/>
                  <a:pt x="441" y="402"/>
                </a:cubicBezTo>
                <a:cubicBezTo>
                  <a:pt x="440" y="402"/>
                  <a:pt x="440" y="402"/>
                  <a:pt x="440" y="402"/>
                </a:cubicBezTo>
                <a:cubicBezTo>
                  <a:pt x="440" y="403"/>
                  <a:pt x="440" y="403"/>
                  <a:pt x="440" y="403"/>
                </a:cubicBezTo>
                <a:cubicBezTo>
                  <a:pt x="441" y="403"/>
                  <a:pt x="441" y="403"/>
                  <a:pt x="441" y="403"/>
                </a:cubicBezTo>
                <a:cubicBezTo>
                  <a:pt x="443" y="404"/>
                  <a:pt x="443" y="404"/>
                  <a:pt x="443" y="404"/>
                </a:cubicBezTo>
                <a:cubicBezTo>
                  <a:pt x="444" y="403"/>
                  <a:pt x="444" y="403"/>
                  <a:pt x="444" y="403"/>
                </a:cubicBezTo>
                <a:cubicBezTo>
                  <a:pt x="446" y="402"/>
                  <a:pt x="446" y="402"/>
                  <a:pt x="446" y="402"/>
                </a:cubicBezTo>
                <a:cubicBezTo>
                  <a:pt x="446" y="403"/>
                  <a:pt x="446" y="403"/>
                  <a:pt x="446" y="403"/>
                </a:cubicBezTo>
                <a:cubicBezTo>
                  <a:pt x="446" y="404"/>
                  <a:pt x="446" y="404"/>
                  <a:pt x="446" y="404"/>
                </a:cubicBezTo>
                <a:cubicBezTo>
                  <a:pt x="445" y="404"/>
                  <a:pt x="445" y="404"/>
                  <a:pt x="445" y="404"/>
                </a:cubicBezTo>
                <a:cubicBezTo>
                  <a:pt x="445" y="404"/>
                  <a:pt x="445" y="404"/>
                  <a:pt x="445" y="404"/>
                </a:cubicBezTo>
                <a:cubicBezTo>
                  <a:pt x="448" y="405"/>
                  <a:pt x="448" y="405"/>
                  <a:pt x="448" y="405"/>
                </a:cubicBezTo>
                <a:cubicBezTo>
                  <a:pt x="449" y="406"/>
                  <a:pt x="449" y="406"/>
                  <a:pt x="449" y="406"/>
                </a:cubicBezTo>
                <a:cubicBezTo>
                  <a:pt x="447" y="406"/>
                  <a:pt x="447" y="406"/>
                  <a:pt x="447" y="406"/>
                </a:cubicBezTo>
                <a:cubicBezTo>
                  <a:pt x="447" y="407"/>
                  <a:pt x="447" y="407"/>
                  <a:pt x="447" y="407"/>
                </a:cubicBezTo>
                <a:cubicBezTo>
                  <a:pt x="444" y="407"/>
                  <a:pt x="444" y="407"/>
                  <a:pt x="444" y="407"/>
                </a:cubicBezTo>
                <a:cubicBezTo>
                  <a:pt x="444" y="407"/>
                  <a:pt x="444" y="407"/>
                  <a:pt x="444" y="407"/>
                </a:cubicBezTo>
                <a:cubicBezTo>
                  <a:pt x="442" y="408"/>
                  <a:pt x="442" y="408"/>
                  <a:pt x="442" y="408"/>
                </a:cubicBezTo>
                <a:cubicBezTo>
                  <a:pt x="441" y="409"/>
                  <a:pt x="441" y="409"/>
                  <a:pt x="441" y="409"/>
                </a:cubicBezTo>
                <a:cubicBezTo>
                  <a:pt x="438" y="409"/>
                  <a:pt x="438" y="409"/>
                  <a:pt x="438" y="409"/>
                </a:cubicBezTo>
                <a:cubicBezTo>
                  <a:pt x="435" y="409"/>
                  <a:pt x="435" y="409"/>
                  <a:pt x="435" y="409"/>
                </a:cubicBezTo>
                <a:cubicBezTo>
                  <a:pt x="435" y="410"/>
                  <a:pt x="435" y="410"/>
                  <a:pt x="435" y="410"/>
                </a:cubicBezTo>
                <a:cubicBezTo>
                  <a:pt x="437" y="410"/>
                  <a:pt x="437" y="410"/>
                  <a:pt x="437" y="410"/>
                </a:cubicBezTo>
                <a:cubicBezTo>
                  <a:pt x="440" y="409"/>
                  <a:pt x="440" y="409"/>
                  <a:pt x="440" y="409"/>
                </a:cubicBezTo>
                <a:cubicBezTo>
                  <a:pt x="441" y="409"/>
                  <a:pt x="441" y="409"/>
                  <a:pt x="441" y="409"/>
                </a:cubicBezTo>
                <a:cubicBezTo>
                  <a:pt x="441" y="410"/>
                  <a:pt x="441" y="410"/>
                  <a:pt x="441" y="410"/>
                </a:cubicBezTo>
                <a:cubicBezTo>
                  <a:pt x="438" y="410"/>
                  <a:pt x="438" y="410"/>
                  <a:pt x="438" y="410"/>
                </a:cubicBezTo>
                <a:cubicBezTo>
                  <a:pt x="436" y="411"/>
                  <a:pt x="436" y="411"/>
                  <a:pt x="436" y="411"/>
                </a:cubicBezTo>
                <a:cubicBezTo>
                  <a:pt x="434" y="412"/>
                  <a:pt x="434" y="412"/>
                  <a:pt x="434" y="412"/>
                </a:cubicBezTo>
                <a:cubicBezTo>
                  <a:pt x="433" y="412"/>
                  <a:pt x="433" y="412"/>
                  <a:pt x="433" y="412"/>
                </a:cubicBezTo>
                <a:cubicBezTo>
                  <a:pt x="432" y="412"/>
                  <a:pt x="432" y="412"/>
                  <a:pt x="432" y="412"/>
                </a:cubicBezTo>
                <a:cubicBezTo>
                  <a:pt x="432" y="414"/>
                  <a:pt x="432" y="414"/>
                  <a:pt x="432" y="414"/>
                </a:cubicBezTo>
                <a:cubicBezTo>
                  <a:pt x="431" y="414"/>
                  <a:pt x="431" y="414"/>
                  <a:pt x="431" y="414"/>
                </a:cubicBezTo>
                <a:cubicBezTo>
                  <a:pt x="429" y="413"/>
                  <a:pt x="429" y="413"/>
                  <a:pt x="429" y="413"/>
                </a:cubicBezTo>
                <a:cubicBezTo>
                  <a:pt x="428" y="410"/>
                  <a:pt x="428" y="410"/>
                  <a:pt x="428" y="410"/>
                </a:cubicBezTo>
                <a:cubicBezTo>
                  <a:pt x="428" y="412"/>
                  <a:pt x="428" y="412"/>
                  <a:pt x="428" y="412"/>
                </a:cubicBezTo>
                <a:cubicBezTo>
                  <a:pt x="427" y="412"/>
                  <a:pt x="427" y="412"/>
                  <a:pt x="427" y="412"/>
                </a:cubicBezTo>
                <a:cubicBezTo>
                  <a:pt x="428" y="413"/>
                  <a:pt x="428" y="413"/>
                  <a:pt x="428" y="413"/>
                </a:cubicBezTo>
                <a:cubicBezTo>
                  <a:pt x="428" y="413"/>
                  <a:pt x="428" y="413"/>
                  <a:pt x="428" y="413"/>
                </a:cubicBezTo>
                <a:cubicBezTo>
                  <a:pt x="431" y="415"/>
                  <a:pt x="431" y="415"/>
                  <a:pt x="431" y="415"/>
                </a:cubicBezTo>
                <a:cubicBezTo>
                  <a:pt x="431" y="416"/>
                  <a:pt x="431" y="416"/>
                  <a:pt x="431" y="416"/>
                </a:cubicBezTo>
                <a:cubicBezTo>
                  <a:pt x="430" y="416"/>
                  <a:pt x="430" y="416"/>
                  <a:pt x="430" y="416"/>
                </a:cubicBezTo>
                <a:cubicBezTo>
                  <a:pt x="429" y="416"/>
                  <a:pt x="429" y="416"/>
                  <a:pt x="429" y="416"/>
                </a:cubicBezTo>
                <a:cubicBezTo>
                  <a:pt x="430" y="417"/>
                  <a:pt x="430" y="417"/>
                  <a:pt x="430" y="417"/>
                </a:cubicBezTo>
                <a:cubicBezTo>
                  <a:pt x="430" y="418"/>
                  <a:pt x="430" y="418"/>
                  <a:pt x="430" y="418"/>
                </a:cubicBezTo>
                <a:cubicBezTo>
                  <a:pt x="431" y="417"/>
                  <a:pt x="431" y="417"/>
                  <a:pt x="431" y="417"/>
                </a:cubicBezTo>
                <a:cubicBezTo>
                  <a:pt x="431" y="417"/>
                  <a:pt x="431" y="417"/>
                  <a:pt x="431" y="417"/>
                </a:cubicBezTo>
                <a:cubicBezTo>
                  <a:pt x="432" y="415"/>
                  <a:pt x="432" y="415"/>
                  <a:pt x="432" y="415"/>
                </a:cubicBezTo>
                <a:cubicBezTo>
                  <a:pt x="434" y="415"/>
                  <a:pt x="434" y="415"/>
                  <a:pt x="434" y="415"/>
                </a:cubicBezTo>
                <a:cubicBezTo>
                  <a:pt x="436" y="414"/>
                  <a:pt x="436" y="414"/>
                  <a:pt x="436" y="414"/>
                </a:cubicBezTo>
                <a:cubicBezTo>
                  <a:pt x="437" y="414"/>
                  <a:pt x="437" y="414"/>
                  <a:pt x="437" y="414"/>
                </a:cubicBezTo>
                <a:cubicBezTo>
                  <a:pt x="437" y="413"/>
                  <a:pt x="437" y="413"/>
                  <a:pt x="437" y="413"/>
                </a:cubicBezTo>
                <a:cubicBezTo>
                  <a:pt x="438" y="411"/>
                  <a:pt x="438" y="411"/>
                  <a:pt x="438" y="411"/>
                </a:cubicBezTo>
                <a:cubicBezTo>
                  <a:pt x="440" y="411"/>
                  <a:pt x="440" y="411"/>
                  <a:pt x="440" y="411"/>
                </a:cubicBezTo>
                <a:cubicBezTo>
                  <a:pt x="442" y="410"/>
                  <a:pt x="442" y="410"/>
                  <a:pt x="442" y="410"/>
                </a:cubicBezTo>
                <a:cubicBezTo>
                  <a:pt x="443" y="410"/>
                  <a:pt x="443" y="410"/>
                  <a:pt x="443" y="410"/>
                </a:cubicBezTo>
                <a:cubicBezTo>
                  <a:pt x="445" y="410"/>
                  <a:pt x="445" y="410"/>
                  <a:pt x="445" y="410"/>
                </a:cubicBezTo>
                <a:cubicBezTo>
                  <a:pt x="444" y="410"/>
                  <a:pt x="444" y="410"/>
                  <a:pt x="444" y="410"/>
                </a:cubicBezTo>
                <a:cubicBezTo>
                  <a:pt x="443" y="410"/>
                  <a:pt x="443" y="410"/>
                  <a:pt x="443" y="410"/>
                </a:cubicBezTo>
                <a:cubicBezTo>
                  <a:pt x="442" y="410"/>
                  <a:pt x="442" y="410"/>
                  <a:pt x="442" y="410"/>
                </a:cubicBezTo>
                <a:cubicBezTo>
                  <a:pt x="443" y="409"/>
                  <a:pt x="443" y="409"/>
                  <a:pt x="443" y="409"/>
                </a:cubicBezTo>
                <a:cubicBezTo>
                  <a:pt x="446" y="409"/>
                  <a:pt x="446" y="409"/>
                  <a:pt x="446" y="409"/>
                </a:cubicBezTo>
                <a:cubicBezTo>
                  <a:pt x="448" y="409"/>
                  <a:pt x="448" y="409"/>
                  <a:pt x="448" y="409"/>
                </a:cubicBezTo>
                <a:cubicBezTo>
                  <a:pt x="449" y="411"/>
                  <a:pt x="449" y="411"/>
                  <a:pt x="449" y="411"/>
                </a:cubicBezTo>
                <a:cubicBezTo>
                  <a:pt x="449" y="413"/>
                  <a:pt x="449" y="413"/>
                  <a:pt x="449" y="413"/>
                </a:cubicBezTo>
                <a:cubicBezTo>
                  <a:pt x="447" y="414"/>
                  <a:pt x="447" y="414"/>
                  <a:pt x="447" y="414"/>
                </a:cubicBezTo>
                <a:cubicBezTo>
                  <a:pt x="447" y="414"/>
                  <a:pt x="447" y="414"/>
                  <a:pt x="447" y="414"/>
                </a:cubicBezTo>
                <a:cubicBezTo>
                  <a:pt x="446" y="415"/>
                  <a:pt x="446" y="415"/>
                  <a:pt x="446" y="415"/>
                </a:cubicBezTo>
                <a:cubicBezTo>
                  <a:pt x="447" y="415"/>
                  <a:pt x="447" y="415"/>
                  <a:pt x="447" y="415"/>
                </a:cubicBezTo>
                <a:cubicBezTo>
                  <a:pt x="448" y="416"/>
                  <a:pt x="448" y="416"/>
                  <a:pt x="448" y="416"/>
                </a:cubicBezTo>
                <a:cubicBezTo>
                  <a:pt x="448" y="415"/>
                  <a:pt x="448" y="415"/>
                  <a:pt x="448" y="415"/>
                </a:cubicBezTo>
                <a:cubicBezTo>
                  <a:pt x="449" y="414"/>
                  <a:pt x="449" y="414"/>
                  <a:pt x="449" y="414"/>
                </a:cubicBezTo>
                <a:cubicBezTo>
                  <a:pt x="451" y="413"/>
                  <a:pt x="451" y="413"/>
                  <a:pt x="451" y="413"/>
                </a:cubicBezTo>
                <a:cubicBezTo>
                  <a:pt x="452" y="413"/>
                  <a:pt x="452" y="413"/>
                  <a:pt x="452" y="413"/>
                </a:cubicBezTo>
                <a:cubicBezTo>
                  <a:pt x="452" y="414"/>
                  <a:pt x="452" y="414"/>
                  <a:pt x="452" y="414"/>
                </a:cubicBezTo>
                <a:cubicBezTo>
                  <a:pt x="452" y="414"/>
                  <a:pt x="452" y="414"/>
                  <a:pt x="452" y="414"/>
                </a:cubicBezTo>
                <a:cubicBezTo>
                  <a:pt x="452" y="415"/>
                  <a:pt x="452" y="415"/>
                  <a:pt x="452" y="415"/>
                </a:cubicBezTo>
                <a:cubicBezTo>
                  <a:pt x="453" y="415"/>
                  <a:pt x="453" y="415"/>
                  <a:pt x="453" y="415"/>
                </a:cubicBezTo>
                <a:cubicBezTo>
                  <a:pt x="455" y="416"/>
                  <a:pt x="455" y="416"/>
                  <a:pt x="455" y="416"/>
                </a:cubicBezTo>
                <a:cubicBezTo>
                  <a:pt x="455" y="416"/>
                  <a:pt x="455" y="416"/>
                  <a:pt x="455" y="416"/>
                </a:cubicBezTo>
                <a:cubicBezTo>
                  <a:pt x="454" y="416"/>
                  <a:pt x="454" y="416"/>
                  <a:pt x="454" y="416"/>
                </a:cubicBezTo>
                <a:cubicBezTo>
                  <a:pt x="453" y="416"/>
                  <a:pt x="453" y="416"/>
                  <a:pt x="453" y="416"/>
                </a:cubicBezTo>
                <a:cubicBezTo>
                  <a:pt x="454" y="417"/>
                  <a:pt x="454" y="417"/>
                  <a:pt x="454" y="417"/>
                </a:cubicBezTo>
                <a:cubicBezTo>
                  <a:pt x="455" y="418"/>
                  <a:pt x="455" y="418"/>
                  <a:pt x="455" y="418"/>
                </a:cubicBezTo>
                <a:cubicBezTo>
                  <a:pt x="456" y="419"/>
                  <a:pt x="456" y="419"/>
                  <a:pt x="456" y="419"/>
                </a:cubicBezTo>
                <a:cubicBezTo>
                  <a:pt x="455" y="419"/>
                  <a:pt x="455" y="419"/>
                  <a:pt x="455" y="419"/>
                </a:cubicBezTo>
                <a:cubicBezTo>
                  <a:pt x="454" y="419"/>
                  <a:pt x="454" y="419"/>
                  <a:pt x="454" y="419"/>
                </a:cubicBezTo>
                <a:cubicBezTo>
                  <a:pt x="453" y="420"/>
                  <a:pt x="453" y="420"/>
                  <a:pt x="453" y="420"/>
                </a:cubicBezTo>
                <a:cubicBezTo>
                  <a:pt x="455" y="421"/>
                  <a:pt x="455" y="421"/>
                  <a:pt x="455" y="421"/>
                </a:cubicBezTo>
                <a:cubicBezTo>
                  <a:pt x="454" y="422"/>
                  <a:pt x="454" y="422"/>
                  <a:pt x="454" y="422"/>
                </a:cubicBezTo>
                <a:cubicBezTo>
                  <a:pt x="453" y="422"/>
                  <a:pt x="453" y="422"/>
                  <a:pt x="453" y="422"/>
                </a:cubicBezTo>
                <a:cubicBezTo>
                  <a:pt x="453" y="423"/>
                  <a:pt x="453" y="423"/>
                  <a:pt x="453" y="423"/>
                </a:cubicBezTo>
                <a:cubicBezTo>
                  <a:pt x="452" y="424"/>
                  <a:pt x="452" y="424"/>
                  <a:pt x="452" y="424"/>
                </a:cubicBezTo>
                <a:cubicBezTo>
                  <a:pt x="450" y="423"/>
                  <a:pt x="450" y="423"/>
                  <a:pt x="450" y="423"/>
                </a:cubicBezTo>
                <a:cubicBezTo>
                  <a:pt x="451" y="424"/>
                  <a:pt x="451" y="424"/>
                  <a:pt x="451" y="424"/>
                </a:cubicBezTo>
                <a:cubicBezTo>
                  <a:pt x="453" y="425"/>
                  <a:pt x="453" y="425"/>
                  <a:pt x="453" y="425"/>
                </a:cubicBezTo>
                <a:cubicBezTo>
                  <a:pt x="454" y="424"/>
                  <a:pt x="454" y="424"/>
                  <a:pt x="454" y="424"/>
                </a:cubicBezTo>
                <a:cubicBezTo>
                  <a:pt x="455" y="425"/>
                  <a:pt x="455" y="425"/>
                  <a:pt x="455" y="425"/>
                </a:cubicBezTo>
                <a:cubicBezTo>
                  <a:pt x="454" y="426"/>
                  <a:pt x="454" y="426"/>
                  <a:pt x="454" y="426"/>
                </a:cubicBezTo>
                <a:cubicBezTo>
                  <a:pt x="453" y="426"/>
                  <a:pt x="453" y="426"/>
                  <a:pt x="453" y="426"/>
                </a:cubicBezTo>
                <a:cubicBezTo>
                  <a:pt x="452" y="426"/>
                  <a:pt x="452" y="426"/>
                  <a:pt x="452" y="426"/>
                </a:cubicBezTo>
                <a:cubicBezTo>
                  <a:pt x="453" y="426"/>
                  <a:pt x="453" y="426"/>
                  <a:pt x="453" y="426"/>
                </a:cubicBezTo>
                <a:cubicBezTo>
                  <a:pt x="454" y="426"/>
                  <a:pt x="454" y="426"/>
                  <a:pt x="454" y="426"/>
                </a:cubicBezTo>
                <a:cubicBezTo>
                  <a:pt x="455" y="426"/>
                  <a:pt x="455" y="426"/>
                  <a:pt x="455" y="426"/>
                </a:cubicBezTo>
                <a:cubicBezTo>
                  <a:pt x="454" y="428"/>
                  <a:pt x="454" y="428"/>
                  <a:pt x="454" y="428"/>
                </a:cubicBezTo>
                <a:cubicBezTo>
                  <a:pt x="454" y="429"/>
                  <a:pt x="454" y="429"/>
                  <a:pt x="454" y="429"/>
                </a:cubicBezTo>
                <a:cubicBezTo>
                  <a:pt x="453" y="429"/>
                  <a:pt x="453" y="429"/>
                  <a:pt x="453" y="429"/>
                </a:cubicBezTo>
                <a:cubicBezTo>
                  <a:pt x="452" y="430"/>
                  <a:pt x="452" y="430"/>
                  <a:pt x="452" y="430"/>
                </a:cubicBezTo>
                <a:cubicBezTo>
                  <a:pt x="451" y="431"/>
                  <a:pt x="451" y="431"/>
                  <a:pt x="451" y="431"/>
                </a:cubicBezTo>
                <a:cubicBezTo>
                  <a:pt x="449" y="431"/>
                  <a:pt x="449" y="431"/>
                  <a:pt x="449" y="431"/>
                </a:cubicBezTo>
                <a:cubicBezTo>
                  <a:pt x="448" y="432"/>
                  <a:pt x="448" y="432"/>
                  <a:pt x="448" y="432"/>
                </a:cubicBezTo>
                <a:cubicBezTo>
                  <a:pt x="448" y="432"/>
                  <a:pt x="448" y="432"/>
                  <a:pt x="448" y="432"/>
                </a:cubicBezTo>
                <a:cubicBezTo>
                  <a:pt x="447" y="433"/>
                  <a:pt x="447" y="433"/>
                  <a:pt x="447" y="433"/>
                </a:cubicBezTo>
                <a:cubicBezTo>
                  <a:pt x="446" y="433"/>
                  <a:pt x="446" y="433"/>
                  <a:pt x="446" y="433"/>
                </a:cubicBezTo>
                <a:cubicBezTo>
                  <a:pt x="446" y="434"/>
                  <a:pt x="446" y="434"/>
                  <a:pt x="446" y="434"/>
                </a:cubicBezTo>
                <a:cubicBezTo>
                  <a:pt x="445" y="434"/>
                  <a:pt x="445" y="434"/>
                  <a:pt x="445" y="434"/>
                </a:cubicBezTo>
                <a:cubicBezTo>
                  <a:pt x="444" y="433"/>
                  <a:pt x="444" y="433"/>
                  <a:pt x="444" y="433"/>
                </a:cubicBezTo>
                <a:cubicBezTo>
                  <a:pt x="443" y="434"/>
                  <a:pt x="443" y="434"/>
                  <a:pt x="443" y="434"/>
                </a:cubicBezTo>
                <a:cubicBezTo>
                  <a:pt x="442" y="434"/>
                  <a:pt x="442" y="434"/>
                  <a:pt x="442" y="434"/>
                </a:cubicBezTo>
                <a:cubicBezTo>
                  <a:pt x="442" y="433"/>
                  <a:pt x="442" y="433"/>
                  <a:pt x="442" y="433"/>
                </a:cubicBezTo>
                <a:cubicBezTo>
                  <a:pt x="440" y="434"/>
                  <a:pt x="440" y="434"/>
                  <a:pt x="440" y="434"/>
                </a:cubicBezTo>
                <a:cubicBezTo>
                  <a:pt x="439" y="434"/>
                  <a:pt x="439" y="434"/>
                  <a:pt x="439" y="434"/>
                </a:cubicBezTo>
                <a:cubicBezTo>
                  <a:pt x="438" y="433"/>
                  <a:pt x="438" y="433"/>
                  <a:pt x="438" y="433"/>
                </a:cubicBezTo>
                <a:cubicBezTo>
                  <a:pt x="438" y="433"/>
                  <a:pt x="438" y="433"/>
                  <a:pt x="438" y="433"/>
                </a:cubicBezTo>
                <a:cubicBezTo>
                  <a:pt x="438" y="434"/>
                  <a:pt x="438" y="434"/>
                  <a:pt x="438" y="434"/>
                </a:cubicBezTo>
                <a:cubicBezTo>
                  <a:pt x="437" y="435"/>
                  <a:pt x="437" y="435"/>
                  <a:pt x="437" y="435"/>
                </a:cubicBezTo>
                <a:cubicBezTo>
                  <a:pt x="436" y="434"/>
                  <a:pt x="436" y="434"/>
                  <a:pt x="436" y="434"/>
                </a:cubicBezTo>
                <a:cubicBezTo>
                  <a:pt x="435" y="435"/>
                  <a:pt x="435" y="435"/>
                  <a:pt x="435" y="435"/>
                </a:cubicBezTo>
                <a:cubicBezTo>
                  <a:pt x="436" y="435"/>
                  <a:pt x="436" y="435"/>
                  <a:pt x="436" y="435"/>
                </a:cubicBezTo>
                <a:cubicBezTo>
                  <a:pt x="436" y="436"/>
                  <a:pt x="436" y="436"/>
                  <a:pt x="436" y="436"/>
                </a:cubicBezTo>
                <a:cubicBezTo>
                  <a:pt x="435" y="437"/>
                  <a:pt x="435" y="437"/>
                  <a:pt x="435" y="437"/>
                </a:cubicBezTo>
                <a:cubicBezTo>
                  <a:pt x="434" y="437"/>
                  <a:pt x="434" y="437"/>
                  <a:pt x="434" y="437"/>
                </a:cubicBezTo>
                <a:cubicBezTo>
                  <a:pt x="434" y="438"/>
                  <a:pt x="434" y="438"/>
                  <a:pt x="434" y="438"/>
                </a:cubicBezTo>
                <a:cubicBezTo>
                  <a:pt x="433" y="439"/>
                  <a:pt x="433" y="439"/>
                  <a:pt x="433" y="439"/>
                </a:cubicBezTo>
                <a:cubicBezTo>
                  <a:pt x="432" y="439"/>
                  <a:pt x="432" y="439"/>
                  <a:pt x="432" y="439"/>
                </a:cubicBezTo>
                <a:cubicBezTo>
                  <a:pt x="432" y="440"/>
                  <a:pt x="432" y="440"/>
                  <a:pt x="432" y="440"/>
                </a:cubicBezTo>
                <a:cubicBezTo>
                  <a:pt x="431" y="440"/>
                  <a:pt x="431" y="440"/>
                  <a:pt x="431" y="440"/>
                </a:cubicBezTo>
                <a:cubicBezTo>
                  <a:pt x="430" y="442"/>
                  <a:pt x="430" y="442"/>
                  <a:pt x="430" y="442"/>
                </a:cubicBezTo>
                <a:cubicBezTo>
                  <a:pt x="429" y="441"/>
                  <a:pt x="429" y="441"/>
                  <a:pt x="429" y="441"/>
                </a:cubicBezTo>
                <a:cubicBezTo>
                  <a:pt x="429" y="442"/>
                  <a:pt x="429" y="442"/>
                  <a:pt x="429" y="442"/>
                </a:cubicBezTo>
                <a:cubicBezTo>
                  <a:pt x="427" y="442"/>
                  <a:pt x="427" y="442"/>
                  <a:pt x="427" y="442"/>
                </a:cubicBezTo>
                <a:cubicBezTo>
                  <a:pt x="427" y="443"/>
                  <a:pt x="427" y="443"/>
                  <a:pt x="427" y="443"/>
                </a:cubicBezTo>
                <a:cubicBezTo>
                  <a:pt x="426" y="443"/>
                  <a:pt x="426" y="443"/>
                  <a:pt x="426" y="443"/>
                </a:cubicBezTo>
                <a:cubicBezTo>
                  <a:pt x="425" y="443"/>
                  <a:pt x="425" y="443"/>
                  <a:pt x="425" y="443"/>
                </a:cubicBezTo>
                <a:cubicBezTo>
                  <a:pt x="423" y="443"/>
                  <a:pt x="423" y="443"/>
                  <a:pt x="423" y="443"/>
                </a:cubicBezTo>
                <a:cubicBezTo>
                  <a:pt x="423" y="442"/>
                  <a:pt x="423" y="442"/>
                  <a:pt x="423" y="442"/>
                </a:cubicBezTo>
                <a:cubicBezTo>
                  <a:pt x="421" y="443"/>
                  <a:pt x="421" y="443"/>
                  <a:pt x="421" y="443"/>
                </a:cubicBezTo>
                <a:cubicBezTo>
                  <a:pt x="420" y="443"/>
                  <a:pt x="420" y="443"/>
                  <a:pt x="420" y="443"/>
                </a:cubicBezTo>
                <a:cubicBezTo>
                  <a:pt x="418" y="444"/>
                  <a:pt x="418" y="444"/>
                  <a:pt x="418" y="444"/>
                </a:cubicBezTo>
                <a:cubicBezTo>
                  <a:pt x="416" y="443"/>
                  <a:pt x="416" y="443"/>
                  <a:pt x="416" y="443"/>
                </a:cubicBezTo>
                <a:cubicBezTo>
                  <a:pt x="417" y="443"/>
                  <a:pt x="417" y="443"/>
                  <a:pt x="417" y="443"/>
                </a:cubicBezTo>
                <a:cubicBezTo>
                  <a:pt x="416" y="442"/>
                  <a:pt x="416" y="442"/>
                  <a:pt x="416" y="442"/>
                </a:cubicBezTo>
                <a:cubicBezTo>
                  <a:pt x="415" y="443"/>
                  <a:pt x="415" y="443"/>
                  <a:pt x="415" y="443"/>
                </a:cubicBezTo>
                <a:cubicBezTo>
                  <a:pt x="414" y="443"/>
                  <a:pt x="414" y="443"/>
                  <a:pt x="414" y="443"/>
                </a:cubicBezTo>
                <a:cubicBezTo>
                  <a:pt x="412" y="442"/>
                  <a:pt x="412" y="442"/>
                  <a:pt x="412" y="442"/>
                </a:cubicBezTo>
                <a:cubicBezTo>
                  <a:pt x="411" y="442"/>
                  <a:pt x="411" y="442"/>
                  <a:pt x="411" y="442"/>
                </a:cubicBezTo>
                <a:cubicBezTo>
                  <a:pt x="410" y="442"/>
                  <a:pt x="410" y="442"/>
                  <a:pt x="410" y="442"/>
                </a:cubicBezTo>
                <a:cubicBezTo>
                  <a:pt x="409" y="441"/>
                  <a:pt x="409" y="441"/>
                  <a:pt x="409" y="441"/>
                </a:cubicBezTo>
                <a:cubicBezTo>
                  <a:pt x="408" y="441"/>
                  <a:pt x="408" y="441"/>
                  <a:pt x="408" y="441"/>
                </a:cubicBezTo>
                <a:cubicBezTo>
                  <a:pt x="407" y="442"/>
                  <a:pt x="407" y="442"/>
                  <a:pt x="407" y="442"/>
                </a:cubicBezTo>
                <a:cubicBezTo>
                  <a:pt x="405" y="442"/>
                  <a:pt x="405" y="442"/>
                  <a:pt x="405" y="442"/>
                </a:cubicBezTo>
                <a:cubicBezTo>
                  <a:pt x="404" y="441"/>
                  <a:pt x="404" y="441"/>
                  <a:pt x="404" y="441"/>
                </a:cubicBezTo>
                <a:cubicBezTo>
                  <a:pt x="403" y="442"/>
                  <a:pt x="403" y="442"/>
                  <a:pt x="403" y="442"/>
                </a:cubicBezTo>
                <a:cubicBezTo>
                  <a:pt x="402" y="442"/>
                  <a:pt x="402" y="442"/>
                  <a:pt x="402" y="442"/>
                </a:cubicBezTo>
                <a:cubicBezTo>
                  <a:pt x="401" y="441"/>
                  <a:pt x="401" y="441"/>
                  <a:pt x="401" y="441"/>
                </a:cubicBezTo>
                <a:cubicBezTo>
                  <a:pt x="400" y="442"/>
                  <a:pt x="400" y="442"/>
                  <a:pt x="400" y="442"/>
                </a:cubicBezTo>
                <a:cubicBezTo>
                  <a:pt x="399" y="441"/>
                  <a:pt x="399" y="441"/>
                  <a:pt x="399" y="441"/>
                </a:cubicBezTo>
                <a:cubicBezTo>
                  <a:pt x="398" y="441"/>
                  <a:pt x="398" y="441"/>
                  <a:pt x="398" y="441"/>
                </a:cubicBezTo>
                <a:cubicBezTo>
                  <a:pt x="396" y="441"/>
                  <a:pt x="396" y="441"/>
                  <a:pt x="396" y="441"/>
                </a:cubicBezTo>
                <a:cubicBezTo>
                  <a:pt x="394" y="441"/>
                  <a:pt x="394" y="441"/>
                  <a:pt x="394" y="441"/>
                </a:cubicBezTo>
                <a:cubicBezTo>
                  <a:pt x="392" y="441"/>
                  <a:pt x="392" y="441"/>
                  <a:pt x="392" y="441"/>
                </a:cubicBezTo>
                <a:cubicBezTo>
                  <a:pt x="391" y="439"/>
                  <a:pt x="391" y="439"/>
                  <a:pt x="391" y="439"/>
                </a:cubicBezTo>
                <a:cubicBezTo>
                  <a:pt x="390" y="440"/>
                  <a:pt x="390" y="440"/>
                  <a:pt x="390" y="440"/>
                </a:cubicBezTo>
                <a:cubicBezTo>
                  <a:pt x="389" y="441"/>
                  <a:pt x="389" y="441"/>
                  <a:pt x="389" y="441"/>
                </a:cubicBezTo>
                <a:cubicBezTo>
                  <a:pt x="390" y="441"/>
                  <a:pt x="390" y="441"/>
                  <a:pt x="390" y="441"/>
                </a:cubicBezTo>
                <a:cubicBezTo>
                  <a:pt x="389" y="442"/>
                  <a:pt x="389" y="442"/>
                  <a:pt x="389" y="442"/>
                </a:cubicBezTo>
                <a:cubicBezTo>
                  <a:pt x="388" y="442"/>
                  <a:pt x="388" y="442"/>
                  <a:pt x="388" y="442"/>
                </a:cubicBezTo>
                <a:cubicBezTo>
                  <a:pt x="386" y="444"/>
                  <a:pt x="386" y="444"/>
                  <a:pt x="386" y="444"/>
                </a:cubicBezTo>
                <a:cubicBezTo>
                  <a:pt x="384" y="445"/>
                  <a:pt x="384" y="445"/>
                  <a:pt x="384" y="445"/>
                </a:cubicBezTo>
                <a:cubicBezTo>
                  <a:pt x="384" y="446"/>
                  <a:pt x="384" y="446"/>
                  <a:pt x="384" y="446"/>
                </a:cubicBezTo>
                <a:cubicBezTo>
                  <a:pt x="384" y="446"/>
                  <a:pt x="384" y="446"/>
                  <a:pt x="384" y="446"/>
                </a:cubicBezTo>
                <a:cubicBezTo>
                  <a:pt x="384" y="448"/>
                  <a:pt x="384" y="448"/>
                  <a:pt x="384" y="448"/>
                </a:cubicBezTo>
                <a:cubicBezTo>
                  <a:pt x="383" y="449"/>
                  <a:pt x="383" y="449"/>
                  <a:pt x="383" y="449"/>
                </a:cubicBezTo>
                <a:cubicBezTo>
                  <a:pt x="381" y="449"/>
                  <a:pt x="381" y="449"/>
                  <a:pt x="381" y="449"/>
                </a:cubicBezTo>
                <a:cubicBezTo>
                  <a:pt x="380" y="449"/>
                  <a:pt x="380" y="449"/>
                  <a:pt x="380" y="449"/>
                </a:cubicBezTo>
                <a:cubicBezTo>
                  <a:pt x="378" y="450"/>
                  <a:pt x="378" y="450"/>
                  <a:pt x="378" y="450"/>
                </a:cubicBezTo>
                <a:cubicBezTo>
                  <a:pt x="377" y="451"/>
                  <a:pt x="377" y="451"/>
                  <a:pt x="377" y="451"/>
                </a:cubicBezTo>
                <a:cubicBezTo>
                  <a:pt x="376" y="451"/>
                  <a:pt x="376" y="451"/>
                  <a:pt x="376" y="451"/>
                </a:cubicBezTo>
                <a:cubicBezTo>
                  <a:pt x="376" y="451"/>
                  <a:pt x="376" y="451"/>
                  <a:pt x="376" y="451"/>
                </a:cubicBezTo>
                <a:cubicBezTo>
                  <a:pt x="375" y="451"/>
                  <a:pt x="375" y="451"/>
                  <a:pt x="375" y="451"/>
                </a:cubicBezTo>
                <a:cubicBezTo>
                  <a:pt x="374" y="453"/>
                  <a:pt x="374" y="453"/>
                  <a:pt x="374" y="453"/>
                </a:cubicBezTo>
                <a:cubicBezTo>
                  <a:pt x="373" y="453"/>
                  <a:pt x="373" y="453"/>
                  <a:pt x="373" y="453"/>
                </a:cubicBezTo>
                <a:cubicBezTo>
                  <a:pt x="371" y="454"/>
                  <a:pt x="371" y="454"/>
                  <a:pt x="371" y="454"/>
                </a:cubicBezTo>
                <a:cubicBezTo>
                  <a:pt x="371" y="454"/>
                  <a:pt x="371" y="454"/>
                  <a:pt x="371" y="454"/>
                </a:cubicBezTo>
                <a:cubicBezTo>
                  <a:pt x="370" y="455"/>
                  <a:pt x="370" y="455"/>
                  <a:pt x="370" y="455"/>
                </a:cubicBezTo>
                <a:cubicBezTo>
                  <a:pt x="369" y="457"/>
                  <a:pt x="369" y="457"/>
                  <a:pt x="369" y="457"/>
                </a:cubicBezTo>
                <a:cubicBezTo>
                  <a:pt x="366" y="458"/>
                  <a:pt x="366" y="458"/>
                  <a:pt x="366" y="458"/>
                </a:cubicBezTo>
                <a:cubicBezTo>
                  <a:pt x="366" y="460"/>
                  <a:pt x="366" y="460"/>
                  <a:pt x="366" y="460"/>
                </a:cubicBezTo>
                <a:cubicBezTo>
                  <a:pt x="364" y="461"/>
                  <a:pt x="364" y="461"/>
                  <a:pt x="364" y="461"/>
                </a:cubicBezTo>
                <a:cubicBezTo>
                  <a:pt x="363" y="463"/>
                  <a:pt x="363" y="463"/>
                  <a:pt x="363" y="463"/>
                </a:cubicBezTo>
                <a:cubicBezTo>
                  <a:pt x="362" y="463"/>
                  <a:pt x="362" y="463"/>
                  <a:pt x="362" y="463"/>
                </a:cubicBezTo>
                <a:cubicBezTo>
                  <a:pt x="361" y="465"/>
                  <a:pt x="361" y="465"/>
                  <a:pt x="361" y="465"/>
                </a:cubicBezTo>
                <a:cubicBezTo>
                  <a:pt x="360" y="466"/>
                  <a:pt x="360" y="466"/>
                  <a:pt x="360" y="466"/>
                </a:cubicBezTo>
                <a:cubicBezTo>
                  <a:pt x="357" y="468"/>
                  <a:pt x="357" y="468"/>
                  <a:pt x="357" y="468"/>
                </a:cubicBezTo>
                <a:cubicBezTo>
                  <a:pt x="357" y="469"/>
                  <a:pt x="357" y="469"/>
                  <a:pt x="357" y="469"/>
                </a:cubicBezTo>
                <a:cubicBezTo>
                  <a:pt x="354" y="470"/>
                  <a:pt x="354" y="470"/>
                  <a:pt x="354" y="470"/>
                </a:cubicBezTo>
                <a:cubicBezTo>
                  <a:pt x="352" y="470"/>
                  <a:pt x="352" y="470"/>
                  <a:pt x="352" y="470"/>
                </a:cubicBezTo>
                <a:cubicBezTo>
                  <a:pt x="353" y="471"/>
                  <a:pt x="353" y="471"/>
                  <a:pt x="353" y="471"/>
                </a:cubicBezTo>
                <a:cubicBezTo>
                  <a:pt x="357" y="469"/>
                  <a:pt x="357" y="469"/>
                  <a:pt x="357" y="469"/>
                </a:cubicBezTo>
                <a:cubicBezTo>
                  <a:pt x="359" y="468"/>
                  <a:pt x="359" y="468"/>
                  <a:pt x="359" y="468"/>
                </a:cubicBezTo>
                <a:cubicBezTo>
                  <a:pt x="362" y="466"/>
                  <a:pt x="362" y="466"/>
                  <a:pt x="362" y="466"/>
                </a:cubicBezTo>
                <a:cubicBezTo>
                  <a:pt x="363" y="464"/>
                  <a:pt x="363" y="464"/>
                  <a:pt x="363" y="464"/>
                </a:cubicBezTo>
                <a:cubicBezTo>
                  <a:pt x="365" y="463"/>
                  <a:pt x="365" y="463"/>
                  <a:pt x="365" y="463"/>
                </a:cubicBezTo>
                <a:cubicBezTo>
                  <a:pt x="366" y="462"/>
                  <a:pt x="366" y="462"/>
                  <a:pt x="366" y="462"/>
                </a:cubicBezTo>
                <a:cubicBezTo>
                  <a:pt x="369" y="459"/>
                  <a:pt x="369" y="459"/>
                  <a:pt x="369" y="459"/>
                </a:cubicBezTo>
                <a:cubicBezTo>
                  <a:pt x="373" y="457"/>
                  <a:pt x="373" y="457"/>
                  <a:pt x="373" y="457"/>
                </a:cubicBezTo>
                <a:cubicBezTo>
                  <a:pt x="376" y="455"/>
                  <a:pt x="376" y="455"/>
                  <a:pt x="376" y="455"/>
                </a:cubicBezTo>
                <a:cubicBezTo>
                  <a:pt x="378" y="454"/>
                  <a:pt x="378" y="454"/>
                  <a:pt x="378" y="454"/>
                </a:cubicBezTo>
                <a:cubicBezTo>
                  <a:pt x="379" y="454"/>
                  <a:pt x="379" y="454"/>
                  <a:pt x="379" y="454"/>
                </a:cubicBezTo>
                <a:cubicBezTo>
                  <a:pt x="383" y="453"/>
                  <a:pt x="383" y="453"/>
                  <a:pt x="383" y="453"/>
                </a:cubicBezTo>
                <a:cubicBezTo>
                  <a:pt x="386" y="452"/>
                  <a:pt x="386" y="452"/>
                  <a:pt x="386" y="452"/>
                </a:cubicBezTo>
                <a:cubicBezTo>
                  <a:pt x="388" y="452"/>
                  <a:pt x="388" y="452"/>
                  <a:pt x="388" y="452"/>
                </a:cubicBezTo>
                <a:cubicBezTo>
                  <a:pt x="389" y="451"/>
                  <a:pt x="389" y="451"/>
                  <a:pt x="389" y="451"/>
                </a:cubicBezTo>
                <a:cubicBezTo>
                  <a:pt x="393" y="451"/>
                  <a:pt x="393" y="451"/>
                  <a:pt x="393" y="451"/>
                </a:cubicBezTo>
                <a:cubicBezTo>
                  <a:pt x="396" y="452"/>
                  <a:pt x="396" y="452"/>
                  <a:pt x="396" y="452"/>
                </a:cubicBezTo>
                <a:cubicBezTo>
                  <a:pt x="398" y="453"/>
                  <a:pt x="398" y="453"/>
                  <a:pt x="398" y="453"/>
                </a:cubicBezTo>
                <a:cubicBezTo>
                  <a:pt x="398" y="454"/>
                  <a:pt x="398" y="454"/>
                  <a:pt x="398" y="454"/>
                </a:cubicBezTo>
                <a:cubicBezTo>
                  <a:pt x="396" y="454"/>
                  <a:pt x="396" y="454"/>
                  <a:pt x="396" y="454"/>
                </a:cubicBezTo>
                <a:cubicBezTo>
                  <a:pt x="396" y="454"/>
                  <a:pt x="396" y="454"/>
                  <a:pt x="396" y="454"/>
                </a:cubicBezTo>
                <a:cubicBezTo>
                  <a:pt x="396" y="454"/>
                  <a:pt x="396" y="454"/>
                  <a:pt x="396" y="454"/>
                </a:cubicBezTo>
                <a:cubicBezTo>
                  <a:pt x="397" y="454"/>
                  <a:pt x="397" y="454"/>
                  <a:pt x="397" y="454"/>
                </a:cubicBezTo>
                <a:cubicBezTo>
                  <a:pt x="398" y="455"/>
                  <a:pt x="398" y="455"/>
                  <a:pt x="398" y="455"/>
                </a:cubicBezTo>
                <a:cubicBezTo>
                  <a:pt x="399" y="455"/>
                  <a:pt x="399" y="455"/>
                  <a:pt x="399" y="455"/>
                </a:cubicBezTo>
                <a:cubicBezTo>
                  <a:pt x="398" y="456"/>
                  <a:pt x="398" y="456"/>
                  <a:pt x="398" y="456"/>
                </a:cubicBezTo>
                <a:cubicBezTo>
                  <a:pt x="399" y="456"/>
                  <a:pt x="399" y="456"/>
                  <a:pt x="399" y="456"/>
                </a:cubicBezTo>
                <a:cubicBezTo>
                  <a:pt x="398" y="458"/>
                  <a:pt x="398" y="458"/>
                  <a:pt x="398" y="458"/>
                </a:cubicBezTo>
                <a:cubicBezTo>
                  <a:pt x="396" y="459"/>
                  <a:pt x="396" y="459"/>
                  <a:pt x="396" y="459"/>
                </a:cubicBezTo>
                <a:cubicBezTo>
                  <a:pt x="395" y="460"/>
                  <a:pt x="395" y="460"/>
                  <a:pt x="395" y="460"/>
                </a:cubicBezTo>
                <a:cubicBezTo>
                  <a:pt x="394" y="460"/>
                  <a:pt x="394" y="460"/>
                  <a:pt x="394" y="460"/>
                </a:cubicBezTo>
                <a:cubicBezTo>
                  <a:pt x="393" y="461"/>
                  <a:pt x="393" y="461"/>
                  <a:pt x="393" y="461"/>
                </a:cubicBezTo>
                <a:cubicBezTo>
                  <a:pt x="391" y="461"/>
                  <a:pt x="391" y="461"/>
                  <a:pt x="391" y="461"/>
                </a:cubicBezTo>
                <a:cubicBezTo>
                  <a:pt x="390" y="460"/>
                  <a:pt x="390" y="460"/>
                  <a:pt x="390" y="460"/>
                </a:cubicBezTo>
                <a:cubicBezTo>
                  <a:pt x="389" y="460"/>
                  <a:pt x="389" y="460"/>
                  <a:pt x="389" y="460"/>
                </a:cubicBezTo>
                <a:cubicBezTo>
                  <a:pt x="388" y="460"/>
                  <a:pt x="388" y="460"/>
                  <a:pt x="388" y="460"/>
                </a:cubicBezTo>
                <a:cubicBezTo>
                  <a:pt x="386" y="461"/>
                  <a:pt x="386" y="461"/>
                  <a:pt x="386" y="461"/>
                </a:cubicBezTo>
                <a:cubicBezTo>
                  <a:pt x="385" y="460"/>
                  <a:pt x="385" y="460"/>
                  <a:pt x="385" y="460"/>
                </a:cubicBezTo>
                <a:cubicBezTo>
                  <a:pt x="383" y="461"/>
                  <a:pt x="383" y="461"/>
                  <a:pt x="383" y="461"/>
                </a:cubicBezTo>
                <a:cubicBezTo>
                  <a:pt x="385" y="461"/>
                  <a:pt x="385" y="461"/>
                  <a:pt x="385" y="461"/>
                </a:cubicBezTo>
                <a:cubicBezTo>
                  <a:pt x="387" y="461"/>
                  <a:pt x="387" y="461"/>
                  <a:pt x="387" y="461"/>
                </a:cubicBezTo>
                <a:cubicBezTo>
                  <a:pt x="389" y="462"/>
                  <a:pt x="389" y="462"/>
                  <a:pt x="389" y="462"/>
                </a:cubicBezTo>
                <a:cubicBezTo>
                  <a:pt x="390" y="463"/>
                  <a:pt x="390" y="463"/>
                  <a:pt x="390" y="463"/>
                </a:cubicBezTo>
                <a:cubicBezTo>
                  <a:pt x="390" y="464"/>
                  <a:pt x="390" y="464"/>
                  <a:pt x="390" y="464"/>
                </a:cubicBezTo>
                <a:cubicBezTo>
                  <a:pt x="392" y="463"/>
                  <a:pt x="392" y="463"/>
                  <a:pt x="392" y="463"/>
                </a:cubicBezTo>
                <a:cubicBezTo>
                  <a:pt x="393" y="462"/>
                  <a:pt x="393" y="462"/>
                  <a:pt x="393" y="462"/>
                </a:cubicBezTo>
                <a:cubicBezTo>
                  <a:pt x="394" y="462"/>
                  <a:pt x="394" y="462"/>
                  <a:pt x="394" y="462"/>
                </a:cubicBezTo>
                <a:cubicBezTo>
                  <a:pt x="394" y="463"/>
                  <a:pt x="394" y="463"/>
                  <a:pt x="394" y="463"/>
                </a:cubicBezTo>
                <a:cubicBezTo>
                  <a:pt x="395" y="463"/>
                  <a:pt x="395" y="463"/>
                  <a:pt x="395" y="463"/>
                </a:cubicBezTo>
                <a:cubicBezTo>
                  <a:pt x="396" y="463"/>
                  <a:pt x="396" y="463"/>
                  <a:pt x="396" y="463"/>
                </a:cubicBezTo>
                <a:cubicBezTo>
                  <a:pt x="394" y="464"/>
                  <a:pt x="394" y="464"/>
                  <a:pt x="394" y="464"/>
                </a:cubicBezTo>
                <a:cubicBezTo>
                  <a:pt x="393" y="468"/>
                  <a:pt x="393" y="468"/>
                  <a:pt x="393" y="468"/>
                </a:cubicBezTo>
                <a:cubicBezTo>
                  <a:pt x="392" y="468"/>
                  <a:pt x="392" y="468"/>
                  <a:pt x="392" y="468"/>
                </a:cubicBezTo>
                <a:cubicBezTo>
                  <a:pt x="391" y="469"/>
                  <a:pt x="391" y="469"/>
                  <a:pt x="391" y="469"/>
                </a:cubicBezTo>
                <a:cubicBezTo>
                  <a:pt x="394" y="469"/>
                  <a:pt x="394" y="469"/>
                  <a:pt x="394" y="469"/>
                </a:cubicBezTo>
                <a:cubicBezTo>
                  <a:pt x="394" y="469"/>
                  <a:pt x="394" y="469"/>
                  <a:pt x="394" y="469"/>
                </a:cubicBezTo>
                <a:cubicBezTo>
                  <a:pt x="393" y="470"/>
                  <a:pt x="393" y="470"/>
                  <a:pt x="393" y="470"/>
                </a:cubicBezTo>
                <a:cubicBezTo>
                  <a:pt x="394" y="471"/>
                  <a:pt x="394" y="471"/>
                  <a:pt x="394" y="471"/>
                </a:cubicBezTo>
                <a:cubicBezTo>
                  <a:pt x="394" y="472"/>
                  <a:pt x="394" y="472"/>
                  <a:pt x="394" y="472"/>
                </a:cubicBezTo>
                <a:cubicBezTo>
                  <a:pt x="394" y="474"/>
                  <a:pt x="394" y="474"/>
                  <a:pt x="394" y="474"/>
                </a:cubicBezTo>
                <a:cubicBezTo>
                  <a:pt x="394" y="474"/>
                  <a:pt x="394" y="474"/>
                  <a:pt x="394" y="474"/>
                </a:cubicBezTo>
                <a:cubicBezTo>
                  <a:pt x="395" y="476"/>
                  <a:pt x="395" y="476"/>
                  <a:pt x="395" y="476"/>
                </a:cubicBezTo>
                <a:cubicBezTo>
                  <a:pt x="396" y="476"/>
                  <a:pt x="396" y="476"/>
                  <a:pt x="396" y="476"/>
                </a:cubicBezTo>
                <a:cubicBezTo>
                  <a:pt x="397" y="477"/>
                  <a:pt x="397" y="477"/>
                  <a:pt x="397" y="477"/>
                </a:cubicBezTo>
                <a:cubicBezTo>
                  <a:pt x="399" y="477"/>
                  <a:pt x="399" y="477"/>
                  <a:pt x="399" y="477"/>
                </a:cubicBezTo>
                <a:cubicBezTo>
                  <a:pt x="398" y="478"/>
                  <a:pt x="398" y="478"/>
                  <a:pt x="398" y="478"/>
                </a:cubicBezTo>
                <a:cubicBezTo>
                  <a:pt x="397" y="478"/>
                  <a:pt x="397" y="478"/>
                  <a:pt x="397" y="478"/>
                </a:cubicBezTo>
                <a:cubicBezTo>
                  <a:pt x="399" y="479"/>
                  <a:pt x="399" y="479"/>
                  <a:pt x="399" y="479"/>
                </a:cubicBezTo>
                <a:cubicBezTo>
                  <a:pt x="401" y="479"/>
                  <a:pt x="401" y="479"/>
                  <a:pt x="401" y="479"/>
                </a:cubicBezTo>
                <a:cubicBezTo>
                  <a:pt x="402" y="480"/>
                  <a:pt x="402" y="480"/>
                  <a:pt x="402" y="480"/>
                </a:cubicBezTo>
                <a:cubicBezTo>
                  <a:pt x="402" y="479"/>
                  <a:pt x="402" y="479"/>
                  <a:pt x="402" y="479"/>
                </a:cubicBezTo>
                <a:cubicBezTo>
                  <a:pt x="404" y="480"/>
                  <a:pt x="404" y="480"/>
                  <a:pt x="404" y="480"/>
                </a:cubicBezTo>
                <a:cubicBezTo>
                  <a:pt x="404" y="481"/>
                  <a:pt x="404" y="481"/>
                  <a:pt x="404" y="481"/>
                </a:cubicBezTo>
                <a:cubicBezTo>
                  <a:pt x="406" y="481"/>
                  <a:pt x="406" y="481"/>
                  <a:pt x="406" y="481"/>
                </a:cubicBezTo>
                <a:cubicBezTo>
                  <a:pt x="407" y="480"/>
                  <a:pt x="407" y="480"/>
                  <a:pt x="407" y="480"/>
                </a:cubicBezTo>
                <a:cubicBezTo>
                  <a:pt x="409" y="479"/>
                  <a:pt x="409" y="479"/>
                  <a:pt x="409" y="479"/>
                </a:cubicBezTo>
                <a:cubicBezTo>
                  <a:pt x="409" y="480"/>
                  <a:pt x="409" y="480"/>
                  <a:pt x="409" y="480"/>
                </a:cubicBezTo>
                <a:cubicBezTo>
                  <a:pt x="408" y="481"/>
                  <a:pt x="408" y="481"/>
                  <a:pt x="408" y="481"/>
                </a:cubicBezTo>
                <a:cubicBezTo>
                  <a:pt x="410" y="481"/>
                  <a:pt x="410" y="481"/>
                  <a:pt x="410" y="481"/>
                </a:cubicBezTo>
                <a:cubicBezTo>
                  <a:pt x="412" y="482"/>
                  <a:pt x="412" y="482"/>
                  <a:pt x="412" y="482"/>
                </a:cubicBezTo>
                <a:cubicBezTo>
                  <a:pt x="412" y="483"/>
                  <a:pt x="412" y="483"/>
                  <a:pt x="412" y="483"/>
                </a:cubicBezTo>
                <a:cubicBezTo>
                  <a:pt x="411" y="483"/>
                  <a:pt x="411" y="483"/>
                  <a:pt x="411" y="483"/>
                </a:cubicBezTo>
                <a:cubicBezTo>
                  <a:pt x="411" y="483"/>
                  <a:pt x="411" y="483"/>
                  <a:pt x="411" y="483"/>
                </a:cubicBezTo>
                <a:cubicBezTo>
                  <a:pt x="412" y="484"/>
                  <a:pt x="412" y="484"/>
                  <a:pt x="412" y="484"/>
                </a:cubicBezTo>
                <a:cubicBezTo>
                  <a:pt x="413" y="484"/>
                  <a:pt x="413" y="484"/>
                  <a:pt x="413" y="484"/>
                </a:cubicBezTo>
                <a:cubicBezTo>
                  <a:pt x="414" y="484"/>
                  <a:pt x="414" y="484"/>
                  <a:pt x="414" y="484"/>
                </a:cubicBezTo>
                <a:cubicBezTo>
                  <a:pt x="413" y="485"/>
                  <a:pt x="413" y="485"/>
                  <a:pt x="413" y="485"/>
                </a:cubicBezTo>
                <a:cubicBezTo>
                  <a:pt x="412" y="484"/>
                  <a:pt x="412" y="484"/>
                  <a:pt x="412" y="484"/>
                </a:cubicBezTo>
                <a:cubicBezTo>
                  <a:pt x="411" y="485"/>
                  <a:pt x="411" y="485"/>
                  <a:pt x="411" y="485"/>
                </a:cubicBezTo>
                <a:cubicBezTo>
                  <a:pt x="409" y="485"/>
                  <a:pt x="409" y="485"/>
                  <a:pt x="409" y="485"/>
                </a:cubicBezTo>
                <a:cubicBezTo>
                  <a:pt x="406" y="487"/>
                  <a:pt x="406" y="487"/>
                  <a:pt x="406" y="487"/>
                </a:cubicBezTo>
                <a:cubicBezTo>
                  <a:pt x="405" y="487"/>
                  <a:pt x="405" y="487"/>
                  <a:pt x="405" y="487"/>
                </a:cubicBezTo>
                <a:cubicBezTo>
                  <a:pt x="403" y="487"/>
                  <a:pt x="403" y="487"/>
                  <a:pt x="403" y="487"/>
                </a:cubicBezTo>
                <a:cubicBezTo>
                  <a:pt x="401" y="488"/>
                  <a:pt x="401" y="488"/>
                  <a:pt x="401" y="488"/>
                </a:cubicBezTo>
                <a:cubicBezTo>
                  <a:pt x="399" y="489"/>
                  <a:pt x="399" y="489"/>
                  <a:pt x="399" y="489"/>
                </a:cubicBezTo>
                <a:cubicBezTo>
                  <a:pt x="398" y="489"/>
                  <a:pt x="398" y="489"/>
                  <a:pt x="398" y="489"/>
                </a:cubicBezTo>
                <a:cubicBezTo>
                  <a:pt x="398" y="489"/>
                  <a:pt x="398" y="489"/>
                  <a:pt x="398" y="489"/>
                </a:cubicBezTo>
                <a:cubicBezTo>
                  <a:pt x="396" y="489"/>
                  <a:pt x="396" y="489"/>
                  <a:pt x="396" y="489"/>
                </a:cubicBezTo>
                <a:cubicBezTo>
                  <a:pt x="396" y="488"/>
                  <a:pt x="396" y="488"/>
                  <a:pt x="396" y="488"/>
                </a:cubicBezTo>
                <a:cubicBezTo>
                  <a:pt x="395" y="488"/>
                  <a:pt x="395" y="488"/>
                  <a:pt x="395" y="488"/>
                </a:cubicBezTo>
                <a:cubicBezTo>
                  <a:pt x="395" y="489"/>
                  <a:pt x="395" y="489"/>
                  <a:pt x="395" y="489"/>
                </a:cubicBezTo>
                <a:cubicBezTo>
                  <a:pt x="394" y="488"/>
                  <a:pt x="394" y="488"/>
                  <a:pt x="394" y="488"/>
                </a:cubicBezTo>
                <a:cubicBezTo>
                  <a:pt x="393" y="490"/>
                  <a:pt x="393" y="490"/>
                  <a:pt x="393" y="490"/>
                </a:cubicBezTo>
                <a:cubicBezTo>
                  <a:pt x="394" y="491"/>
                  <a:pt x="394" y="491"/>
                  <a:pt x="394" y="491"/>
                </a:cubicBezTo>
                <a:cubicBezTo>
                  <a:pt x="392" y="492"/>
                  <a:pt x="392" y="492"/>
                  <a:pt x="392" y="492"/>
                </a:cubicBezTo>
                <a:cubicBezTo>
                  <a:pt x="390" y="494"/>
                  <a:pt x="390" y="494"/>
                  <a:pt x="390" y="494"/>
                </a:cubicBezTo>
                <a:cubicBezTo>
                  <a:pt x="389" y="495"/>
                  <a:pt x="389" y="495"/>
                  <a:pt x="389" y="495"/>
                </a:cubicBezTo>
                <a:cubicBezTo>
                  <a:pt x="387" y="496"/>
                  <a:pt x="387" y="496"/>
                  <a:pt x="387" y="496"/>
                </a:cubicBezTo>
                <a:cubicBezTo>
                  <a:pt x="387" y="496"/>
                  <a:pt x="387" y="496"/>
                  <a:pt x="387" y="496"/>
                </a:cubicBezTo>
                <a:cubicBezTo>
                  <a:pt x="386" y="496"/>
                  <a:pt x="386" y="496"/>
                  <a:pt x="386" y="496"/>
                </a:cubicBezTo>
                <a:cubicBezTo>
                  <a:pt x="386" y="497"/>
                  <a:pt x="386" y="497"/>
                  <a:pt x="386" y="497"/>
                </a:cubicBezTo>
                <a:cubicBezTo>
                  <a:pt x="386" y="497"/>
                  <a:pt x="386" y="497"/>
                  <a:pt x="386" y="497"/>
                </a:cubicBezTo>
                <a:cubicBezTo>
                  <a:pt x="385" y="497"/>
                  <a:pt x="385" y="497"/>
                  <a:pt x="385" y="497"/>
                </a:cubicBezTo>
                <a:cubicBezTo>
                  <a:pt x="384" y="497"/>
                  <a:pt x="384" y="497"/>
                  <a:pt x="384" y="497"/>
                </a:cubicBezTo>
                <a:cubicBezTo>
                  <a:pt x="383" y="497"/>
                  <a:pt x="383" y="497"/>
                  <a:pt x="383" y="497"/>
                </a:cubicBezTo>
                <a:cubicBezTo>
                  <a:pt x="383" y="495"/>
                  <a:pt x="383" y="495"/>
                  <a:pt x="383" y="495"/>
                </a:cubicBezTo>
                <a:cubicBezTo>
                  <a:pt x="382" y="495"/>
                  <a:pt x="382" y="495"/>
                  <a:pt x="382" y="495"/>
                </a:cubicBezTo>
                <a:cubicBezTo>
                  <a:pt x="382" y="495"/>
                  <a:pt x="382" y="495"/>
                  <a:pt x="382" y="495"/>
                </a:cubicBezTo>
                <a:cubicBezTo>
                  <a:pt x="382" y="494"/>
                  <a:pt x="382" y="494"/>
                  <a:pt x="382" y="494"/>
                </a:cubicBezTo>
                <a:cubicBezTo>
                  <a:pt x="381" y="493"/>
                  <a:pt x="381" y="493"/>
                  <a:pt x="381" y="493"/>
                </a:cubicBezTo>
                <a:cubicBezTo>
                  <a:pt x="381" y="491"/>
                  <a:pt x="381" y="491"/>
                  <a:pt x="381" y="491"/>
                </a:cubicBezTo>
                <a:cubicBezTo>
                  <a:pt x="382" y="489"/>
                  <a:pt x="382" y="489"/>
                  <a:pt x="382" y="489"/>
                </a:cubicBezTo>
                <a:cubicBezTo>
                  <a:pt x="384" y="488"/>
                  <a:pt x="384" y="488"/>
                  <a:pt x="384" y="488"/>
                </a:cubicBezTo>
                <a:cubicBezTo>
                  <a:pt x="384" y="487"/>
                  <a:pt x="384" y="487"/>
                  <a:pt x="384" y="487"/>
                </a:cubicBezTo>
                <a:cubicBezTo>
                  <a:pt x="386" y="486"/>
                  <a:pt x="386" y="486"/>
                  <a:pt x="386" y="486"/>
                </a:cubicBezTo>
                <a:cubicBezTo>
                  <a:pt x="389" y="485"/>
                  <a:pt x="389" y="485"/>
                  <a:pt x="389" y="485"/>
                </a:cubicBezTo>
                <a:cubicBezTo>
                  <a:pt x="391" y="484"/>
                  <a:pt x="391" y="484"/>
                  <a:pt x="391" y="484"/>
                </a:cubicBezTo>
                <a:cubicBezTo>
                  <a:pt x="393" y="483"/>
                  <a:pt x="393" y="483"/>
                  <a:pt x="393" y="483"/>
                </a:cubicBezTo>
                <a:cubicBezTo>
                  <a:pt x="394" y="484"/>
                  <a:pt x="394" y="484"/>
                  <a:pt x="394" y="484"/>
                </a:cubicBezTo>
                <a:cubicBezTo>
                  <a:pt x="394" y="485"/>
                  <a:pt x="394" y="485"/>
                  <a:pt x="394" y="485"/>
                </a:cubicBezTo>
                <a:cubicBezTo>
                  <a:pt x="395" y="485"/>
                  <a:pt x="395" y="485"/>
                  <a:pt x="395" y="485"/>
                </a:cubicBezTo>
                <a:cubicBezTo>
                  <a:pt x="395" y="485"/>
                  <a:pt x="395" y="485"/>
                  <a:pt x="395" y="485"/>
                </a:cubicBezTo>
                <a:cubicBezTo>
                  <a:pt x="395" y="484"/>
                  <a:pt x="395" y="484"/>
                  <a:pt x="395" y="484"/>
                </a:cubicBezTo>
                <a:cubicBezTo>
                  <a:pt x="396" y="484"/>
                  <a:pt x="396" y="484"/>
                  <a:pt x="396" y="484"/>
                </a:cubicBezTo>
                <a:cubicBezTo>
                  <a:pt x="398" y="483"/>
                  <a:pt x="398" y="483"/>
                  <a:pt x="398" y="483"/>
                </a:cubicBezTo>
                <a:cubicBezTo>
                  <a:pt x="399" y="483"/>
                  <a:pt x="399" y="483"/>
                  <a:pt x="399" y="483"/>
                </a:cubicBezTo>
                <a:cubicBezTo>
                  <a:pt x="397" y="483"/>
                  <a:pt x="397" y="483"/>
                  <a:pt x="397" y="483"/>
                </a:cubicBezTo>
                <a:cubicBezTo>
                  <a:pt x="395" y="483"/>
                  <a:pt x="395" y="483"/>
                  <a:pt x="395" y="483"/>
                </a:cubicBezTo>
                <a:cubicBezTo>
                  <a:pt x="394" y="482"/>
                  <a:pt x="394" y="482"/>
                  <a:pt x="394" y="482"/>
                </a:cubicBezTo>
                <a:cubicBezTo>
                  <a:pt x="393" y="482"/>
                  <a:pt x="393" y="482"/>
                  <a:pt x="393" y="482"/>
                </a:cubicBezTo>
                <a:cubicBezTo>
                  <a:pt x="392" y="483"/>
                  <a:pt x="392" y="483"/>
                  <a:pt x="392" y="483"/>
                </a:cubicBezTo>
                <a:cubicBezTo>
                  <a:pt x="390" y="483"/>
                  <a:pt x="390" y="483"/>
                  <a:pt x="390" y="483"/>
                </a:cubicBezTo>
                <a:cubicBezTo>
                  <a:pt x="392" y="481"/>
                  <a:pt x="392" y="481"/>
                  <a:pt x="392" y="481"/>
                </a:cubicBezTo>
                <a:cubicBezTo>
                  <a:pt x="393" y="481"/>
                  <a:pt x="393" y="481"/>
                  <a:pt x="393" y="481"/>
                </a:cubicBezTo>
                <a:cubicBezTo>
                  <a:pt x="394" y="480"/>
                  <a:pt x="394" y="480"/>
                  <a:pt x="394" y="480"/>
                </a:cubicBezTo>
                <a:cubicBezTo>
                  <a:pt x="394" y="479"/>
                  <a:pt x="394" y="479"/>
                  <a:pt x="394" y="479"/>
                </a:cubicBezTo>
                <a:cubicBezTo>
                  <a:pt x="393" y="479"/>
                  <a:pt x="393" y="479"/>
                  <a:pt x="393" y="479"/>
                </a:cubicBezTo>
                <a:cubicBezTo>
                  <a:pt x="393" y="479"/>
                  <a:pt x="393" y="479"/>
                  <a:pt x="393" y="479"/>
                </a:cubicBezTo>
                <a:cubicBezTo>
                  <a:pt x="392" y="480"/>
                  <a:pt x="392" y="480"/>
                  <a:pt x="392" y="480"/>
                </a:cubicBezTo>
                <a:cubicBezTo>
                  <a:pt x="391" y="481"/>
                  <a:pt x="391" y="481"/>
                  <a:pt x="391" y="481"/>
                </a:cubicBezTo>
                <a:cubicBezTo>
                  <a:pt x="390" y="482"/>
                  <a:pt x="390" y="482"/>
                  <a:pt x="390" y="482"/>
                </a:cubicBezTo>
                <a:cubicBezTo>
                  <a:pt x="388" y="482"/>
                  <a:pt x="388" y="482"/>
                  <a:pt x="388" y="482"/>
                </a:cubicBezTo>
                <a:cubicBezTo>
                  <a:pt x="388" y="483"/>
                  <a:pt x="388" y="483"/>
                  <a:pt x="388" y="483"/>
                </a:cubicBezTo>
                <a:cubicBezTo>
                  <a:pt x="385" y="484"/>
                  <a:pt x="385" y="484"/>
                  <a:pt x="385" y="484"/>
                </a:cubicBezTo>
                <a:cubicBezTo>
                  <a:pt x="384" y="483"/>
                  <a:pt x="384" y="483"/>
                  <a:pt x="384" y="483"/>
                </a:cubicBezTo>
                <a:cubicBezTo>
                  <a:pt x="385" y="483"/>
                  <a:pt x="385" y="483"/>
                  <a:pt x="385" y="483"/>
                </a:cubicBezTo>
                <a:cubicBezTo>
                  <a:pt x="384" y="483"/>
                  <a:pt x="384" y="483"/>
                  <a:pt x="384" y="483"/>
                </a:cubicBezTo>
                <a:cubicBezTo>
                  <a:pt x="385" y="481"/>
                  <a:pt x="385" y="481"/>
                  <a:pt x="385" y="481"/>
                </a:cubicBezTo>
                <a:cubicBezTo>
                  <a:pt x="384" y="483"/>
                  <a:pt x="384" y="483"/>
                  <a:pt x="384" y="483"/>
                </a:cubicBezTo>
                <a:cubicBezTo>
                  <a:pt x="383" y="484"/>
                  <a:pt x="383" y="484"/>
                  <a:pt x="383" y="484"/>
                </a:cubicBezTo>
                <a:cubicBezTo>
                  <a:pt x="382" y="484"/>
                  <a:pt x="382" y="484"/>
                  <a:pt x="382" y="484"/>
                </a:cubicBezTo>
                <a:cubicBezTo>
                  <a:pt x="381" y="484"/>
                  <a:pt x="381" y="484"/>
                  <a:pt x="381" y="484"/>
                </a:cubicBezTo>
                <a:cubicBezTo>
                  <a:pt x="380" y="485"/>
                  <a:pt x="380" y="485"/>
                  <a:pt x="380" y="485"/>
                </a:cubicBezTo>
                <a:cubicBezTo>
                  <a:pt x="379" y="484"/>
                  <a:pt x="379" y="484"/>
                  <a:pt x="379" y="484"/>
                </a:cubicBezTo>
                <a:cubicBezTo>
                  <a:pt x="379" y="483"/>
                  <a:pt x="379" y="483"/>
                  <a:pt x="379" y="483"/>
                </a:cubicBezTo>
                <a:cubicBezTo>
                  <a:pt x="378" y="484"/>
                  <a:pt x="378" y="484"/>
                  <a:pt x="378" y="484"/>
                </a:cubicBezTo>
                <a:cubicBezTo>
                  <a:pt x="376" y="483"/>
                  <a:pt x="376" y="483"/>
                  <a:pt x="376" y="483"/>
                </a:cubicBezTo>
                <a:cubicBezTo>
                  <a:pt x="376" y="483"/>
                  <a:pt x="376" y="483"/>
                  <a:pt x="376" y="483"/>
                </a:cubicBezTo>
                <a:cubicBezTo>
                  <a:pt x="375" y="483"/>
                  <a:pt x="375" y="483"/>
                  <a:pt x="375" y="483"/>
                </a:cubicBezTo>
                <a:cubicBezTo>
                  <a:pt x="376" y="482"/>
                  <a:pt x="376" y="482"/>
                  <a:pt x="376" y="482"/>
                </a:cubicBezTo>
                <a:cubicBezTo>
                  <a:pt x="376" y="482"/>
                  <a:pt x="376" y="482"/>
                  <a:pt x="376" y="482"/>
                </a:cubicBezTo>
                <a:cubicBezTo>
                  <a:pt x="376" y="481"/>
                  <a:pt x="376" y="481"/>
                  <a:pt x="376" y="481"/>
                </a:cubicBezTo>
                <a:cubicBezTo>
                  <a:pt x="376" y="480"/>
                  <a:pt x="376" y="480"/>
                  <a:pt x="376" y="480"/>
                </a:cubicBezTo>
                <a:cubicBezTo>
                  <a:pt x="375" y="479"/>
                  <a:pt x="375" y="479"/>
                  <a:pt x="375" y="479"/>
                </a:cubicBezTo>
                <a:cubicBezTo>
                  <a:pt x="375" y="479"/>
                  <a:pt x="375" y="479"/>
                  <a:pt x="375" y="479"/>
                </a:cubicBezTo>
                <a:cubicBezTo>
                  <a:pt x="374" y="478"/>
                  <a:pt x="374" y="478"/>
                  <a:pt x="374" y="478"/>
                </a:cubicBezTo>
                <a:cubicBezTo>
                  <a:pt x="375" y="478"/>
                  <a:pt x="375" y="478"/>
                  <a:pt x="375" y="478"/>
                </a:cubicBezTo>
                <a:cubicBezTo>
                  <a:pt x="376" y="470"/>
                  <a:pt x="376" y="470"/>
                  <a:pt x="376" y="470"/>
                </a:cubicBezTo>
                <a:cubicBezTo>
                  <a:pt x="376" y="468"/>
                  <a:pt x="376" y="468"/>
                  <a:pt x="376" y="468"/>
                </a:cubicBezTo>
                <a:cubicBezTo>
                  <a:pt x="373" y="465"/>
                  <a:pt x="373" y="465"/>
                  <a:pt x="373" y="465"/>
                </a:cubicBezTo>
                <a:cubicBezTo>
                  <a:pt x="373" y="466"/>
                  <a:pt x="373" y="466"/>
                  <a:pt x="373" y="466"/>
                </a:cubicBezTo>
                <a:cubicBezTo>
                  <a:pt x="371" y="465"/>
                  <a:pt x="371" y="465"/>
                  <a:pt x="371" y="465"/>
                </a:cubicBezTo>
                <a:cubicBezTo>
                  <a:pt x="370" y="466"/>
                  <a:pt x="370" y="466"/>
                  <a:pt x="370" y="466"/>
                </a:cubicBezTo>
                <a:cubicBezTo>
                  <a:pt x="369" y="465"/>
                  <a:pt x="369" y="465"/>
                  <a:pt x="369" y="465"/>
                </a:cubicBezTo>
                <a:cubicBezTo>
                  <a:pt x="368" y="464"/>
                  <a:pt x="368" y="464"/>
                  <a:pt x="368" y="464"/>
                </a:cubicBezTo>
                <a:cubicBezTo>
                  <a:pt x="368" y="464"/>
                  <a:pt x="368" y="464"/>
                  <a:pt x="368" y="464"/>
                </a:cubicBezTo>
                <a:cubicBezTo>
                  <a:pt x="367" y="465"/>
                  <a:pt x="367" y="465"/>
                  <a:pt x="367" y="465"/>
                </a:cubicBezTo>
                <a:cubicBezTo>
                  <a:pt x="366" y="466"/>
                  <a:pt x="366" y="466"/>
                  <a:pt x="366" y="466"/>
                </a:cubicBezTo>
                <a:cubicBezTo>
                  <a:pt x="364" y="469"/>
                  <a:pt x="364" y="469"/>
                  <a:pt x="364" y="469"/>
                </a:cubicBezTo>
                <a:cubicBezTo>
                  <a:pt x="363" y="470"/>
                  <a:pt x="363" y="470"/>
                  <a:pt x="363" y="470"/>
                </a:cubicBezTo>
                <a:cubicBezTo>
                  <a:pt x="363" y="471"/>
                  <a:pt x="363" y="471"/>
                  <a:pt x="363" y="471"/>
                </a:cubicBezTo>
                <a:cubicBezTo>
                  <a:pt x="362" y="472"/>
                  <a:pt x="362" y="472"/>
                  <a:pt x="362" y="472"/>
                </a:cubicBezTo>
                <a:cubicBezTo>
                  <a:pt x="361" y="474"/>
                  <a:pt x="361" y="474"/>
                  <a:pt x="361" y="474"/>
                </a:cubicBezTo>
                <a:cubicBezTo>
                  <a:pt x="361" y="475"/>
                  <a:pt x="361" y="475"/>
                  <a:pt x="361" y="475"/>
                </a:cubicBezTo>
                <a:cubicBezTo>
                  <a:pt x="359" y="477"/>
                  <a:pt x="359" y="477"/>
                  <a:pt x="359" y="477"/>
                </a:cubicBezTo>
                <a:cubicBezTo>
                  <a:pt x="358" y="477"/>
                  <a:pt x="358" y="477"/>
                  <a:pt x="358" y="477"/>
                </a:cubicBezTo>
                <a:cubicBezTo>
                  <a:pt x="356" y="480"/>
                  <a:pt x="356" y="480"/>
                  <a:pt x="356" y="480"/>
                </a:cubicBezTo>
                <a:cubicBezTo>
                  <a:pt x="356" y="480"/>
                  <a:pt x="356" y="480"/>
                  <a:pt x="356" y="480"/>
                </a:cubicBezTo>
                <a:cubicBezTo>
                  <a:pt x="355" y="481"/>
                  <a:pt x="355" y="481"/>
                  <a:pt x="355" y="481"/>
                </a:cubicBezTo>
                <a:cubicBezTo>
                  <a:pt x="354" y="481"/>
                  <a:pt x="354" y="481"/>
                  <a:pt x="354" y="481"/>
                </a:cubicBezTo>
                <a:cubicBezTo>
                  <a:pt x="353" y="481"/>
                  <a:pt x="353" y="481"/>
                  <a:pt x="353" y="481"/>
                </a:cubicBezTo>
                <a:cubicBezTo>
                  <a:pt x="353" y="481"/>
                  <a:pt x="353" y="481"/>
                  <a:pt x="353" y="481"/>
                </a:cubicBezTo>
                <a:cubicBezTo>
                  <a:pt x="352" y="481"/>
                  <a:pt x="352" y="481"/>
                  <a:pt x="352" y="481"/>
                </a:cubicBezTo>
                <a:cubicBezTo>
                  <a:pt x="351" y="483"/>
                  <a:pt x="351" y="483"/>
                  <a:pt x="351" y="483"/>
                </a:cubicBezTo>
                <a:cubicBezTo>
                  <a:pt x="333" y="482"/>
                  <a:pt x="333" y="482"/>
                  <a:pt x="333" y="482"/>
                </a:cubicBezTo>
                <a:cubicBezTo>
                  <a:pt x="330" y="483"/>
                  <a:pt x="330" y="483"/>
                  <a:pt x="330" y="483"/>
                </a:cubicBezTo>
                <a:cubicBezTo>
                  <a:pt x="329" y="484"/>
                  <a:pt x="329" y="484"/>
                  <a:pt x="329" y="484"/>
                </a:cubicBezTo>
                <a:cubicBezTo>
                  <a:pt x="328" y="484"/>
                  <a:pt x="328" y="484"/>
                  <a:pt x="328" y="484"/>
                </a:cubicBezTo>
                <a:cubicBezTo>
                  <a:pt x="326" y="485"/>
                  <a:pt x="326" y="485"/>
                  <a:pt x="326" y="485"/>
                </a:cubicBezTo>
                <a:cubicBezTo>
                  <a:pt x="324" y="488"/>
                  <a:pt x="324" y="488"/>
                  <a:pt x="324" y="488"/>
                </a:cubicBezTo>
                <a:cubicBezTo>
                  <a:pt x="322" y="488"/>
                  <a:pt x="322" y="488"/>
                  <a:pt x="322" y="488"/>
                </a:cubicBezTo>
                <a:cubicBezTo>
                  <a:pt x="321" y="489"/>
                  <a:pt x="321" y="489"/>
                  <a:pt x="321" y="489"/>
                </a:cubicBezTo>
                <a:cubicBezTo>
                  <a:pt x="316" y="493"/>
                  <a:pt x="316" y="493"/>
                  <a:pt x="316" y="493"/>
                </a:cubicBezTo>
                <a:cubicBezTo>
                  <a:pt x="304" y="497"/>
                  <a:pt x="304" y="497"/>
                  <a:pt x="304" y="497"/>
                </a:cubicBezTo>
                <a:cubicBezTo>
                  <a:pt x="303" y="500"/>
                  <a:pt x="303" y="500"/>
                  <a:pt x="303" y="500"/>
                </a:cubicBezTo>
                <a:cubicBezTo>
                  <a:pt x="300" y="501"/>
                  <a:pt x="300" y="501"/>
                  <a:pt x="300" y="501"/>
                </a:cubicBezTo>
                <a:cubicBezTo>
                  <a:pt x="279" y="506"/>
                  <a:pt x="279" y="506"/>
                  <a:pt x="279" y="506"/>
                </a:cubicBezTo>
                <a:cubicBezTo>
                  <a:pt x="278" y="504"/>
                  <a:pt x="278" y="504"/>
                  <a:pt x="278" y="504"/>
                </a:cubicBezTo>
                <a:cubicBezTo>
                  <a:pt x="279" y="503"/>
                  <a:pt x="279" y="503"/>
                  <a:pt x="279" y="503"/>
                </a:cubicBezTo>
                <a:cubicBezTo>
                  <a:pt x="281" y="502"/>
                  <a:pt x="281" y="502"/>
                  <a:pt x="281" y="502"/>
                </a:cubicBezTo>
                <a:cubicBezTo>
                  <a:pt x="282" y="500"/>
                  <a:pt x="282" y="500"/>
                  <a:pt x="282" y="500"/>
                </a:cubicBezTo>
                <a:cubicBezTo>
                  <a:pt x="283" y="499"/>
                  <a:pt x="283" y="499"/>
                  <a:pt x="283" y="499"/>
                </a:cubicBezTo>
                <a:cubicBezTo>
                  <a:pt x="284" y="498"/>
                  <a:pt x="284" y="498"/>
                  <a:pt x="284" y="498"/>
                </a:cubicBezTo>
                <a:cubicBezTo>
                  <a:pt x="284" y="489"/>
                  <a:pt x="284" y="489"/>
                  <a:pt x="284" y="489"/>
                </a:cubicBezTo>
                <a:cubicBezTo>
                  <a:pt x="280" y="470"/>
                  <a:pt x="280" y="470"/>
                  <a:pt x="280" y="470"/>
                </a:cubicBezTo>
                <a:cubicBezTo>
                  <a:pt x="276" y="467"/>
                  <a:pt x="276" y="467"/>
                  <a:pt x="276" y="467"/>
                </a:cubicBezTo>
                <a:cubicBezTo>
                  <a:pt x="275" y="465"/>
                  <a:pt x="275" y="465"/>
                  <a:pt x="275" y="465"/>
                </a:cubicBezTo>
                <a:cubicBezTo>
                  <a:pt x="250" y="453"/>
                  <a:pt x="250" y="453"/>
                  <a:pt x="250" y="453"/>
                </a:cubicBezTo>
                <a:cubicBezTo>
                  <a:pt x="249" y="452"/>
                  <a:pt x="249" y="452"/>
                  <a:pt x="249" y="452"/>
                </a:cubicBezTo>
                <a:cubicBezTo>
                  <a:pt x="247" y="452"/>
                  <a:pt x="247" y="452"/>
                  <a:pt x="247" y="452"/>
                </a:cubicBezTo>
                <a:cubicBezTo>
                  <a:pt x="247" y="451"/>
                  <a:pt x="247" y="451"/>
                  <a:pt x="247" y="451"/>
                </a:cubicBezTo>
                <a:cubicBezTo>
                  <a:pt x="244" y="451"/>
                  <a:pt x="244" y="451"/>
                  <a:pt x="244" y="451"/>
                </a:cubicBezTo>
                <a:cubicBezTo>
                  <a:pt x="243" y="450"/>
                  <a:pt x="243" y="450"/>
                  <a:pt x="243" y="450"/>
                </a:cubicBezTo>
                <a:cubicBezTo>
                  <a:pt x="242" y="450"/>
                  <a:pt x="242" y="450"/>
                  <a:pt x="242" y="450"/>
                </a:cubicBezTo>
                <a:cubicBezTo>
                  <a:pt x="241" y="450"/>
                  <a:pt x="241" y="450"/>
                  <a:pt x="241" y="450"/>
                </a:cubicBezTo>
                <a:cubicBezTo>
                  <a:pt x="239" y="450"/>
                  <a:pt x="239" y="450"/>
                  <a:pt x="239" y="450"/>
                </a:cubicBezTo>
                <a:cubicBezTo>
                  <a:pt x="238" y="450"/>
                  <a:pt x="238" y="450"/>
                  <a:pt x="238" y="450"/>
                </a:cubicBezTo>
                <a:cubicBezTo>
                  <a:pt x="238" y="449"/>
                  <a:pt x="238" y="449"/>
                  <a:pt x="238" y="449"/>
                </a:cubicBezTo>
                <a:cubicBezTo>
                  <a:pt x="236" y="449"/>
                  <a:pt x="236" y="449"/>
                  <a:pt x="236" y="449"/>
                </a:cubicBezTo>
                <a:cubicBezTo>
                  <a:pt x="234" y="448"/>
                  <a:pt x="234" y="448"/>
                  <a:pt x="234" y="448"/>
                </a:cubicBezTo>
                <a:cubicBezTo>
                  <a:pt x="234" y="446"/>
                  <a:pt x="234" y="446"/>
                  <a:pt x="234" y="446"/>
                </a:cubicBezTo>
                <a:cubicBezTo>
                  <a:pt x="233" y="446"/>
                  <a:pt x="233" y="446"/>
                  <a:pt x="233" y="446"/>
                </a:cubicBezTo>
                <a:cubicBezTo>
                  <a:pt x="231" y="445"/>
                  <a:pt x="231" y="445"/>
                  <a:pt x="231" y="445"/>
                </a:cubicBezTo>
                <a:cubicBezTo>
                  <a:pt x="230" y="445"/>
                  <a:pt x="230" y="445"/>
                  <a:pt x="230" y="445"/>
                </a:cubicBezTo>
                <a:cubicBezTo>
                  <a:pt x="229" y="445"/>
                  <a:pt x="229" y="445"/>
                  <a:pt x="229" y="445"/>
                </a:cubicBezTo>
                <a:cubicBezTo>
                  <a:pt x="228" y="445"/>
                  <a:pt x="228" y="445"/>
                  <a:pt x="228" y="445"/>
                </a:cubicBezTo>
                <a:cubicBezTo>
                  <a:pt x="227" y="446"/>
                  <a:pt x="227" y="446"/>
                  <a:pt x="227" y="446"/>
                </a:cubicBezTo>
                <a:cubicBezTo>
                  <a:pt x="227" y="445"/>
                  <a:pt x="227" y="445"/>
                  <a:pt x="227" y="445"/>
                </a:cubicBezTo>
                <a:cubicBezTo>
                  <a:pt x="225" y="444"/>
                  <a:pt x="225" y="444"/>
                  <a:pt x="225" y="444"/>
                </a:cubicBezTo>
                <a:cubicBezTo>
                  <a:pt x="225" y="444"/>
                  <a:pt x="225" y="444"/>
                  <a:pt x="225" y="444"/>
                </a:cubicBezTo>
                <a:cubicBezTo>
                  <a:pt x="224" y="444"/>
                  <a:pt x="224" y="444"/>
                  <a:pt x="224" y="444"/>
                </a:cubicBezTo>
                <a:cubicBezTo>
                  <a:pt x="224" y="443"/>
                  <a:pt x="224" y="443"/>
                  <a:pt x="224" y="443"/>
                </a:cubicBezTo>
                <a:cubicBezTo>
                  <a:pt x="223" y="443"/>
                  <a:pt x="223" y="443"/>
                  <a:pt x="223" y="443"/>
                </a:cubicBezTo>
                <a:cubicBezTo>
                  <a:pt x="223" y="442"/>
                  <a:pt x="223" y="442"/>
                  <a:pt x="223" y="442"/>
                </a:cubicBezTo>
                <a:cubicBezTo>
                  <a:pt x="221" y="441"/>
                  <a:pt x="221" y="441"/>
                  <a:pt x="221" y="441"/>
                </a:cubicBezTo>
                <a:cubicBezTo>
                  <a:pt x="220" y="441"/>
                  <a:pt x="220" y="441"/>
                  <a:pt x="220" y="441"/>
                </a:cubicBezTo>
                <a:cubicBezTo>
                  <a:pt x="219" y="441"/>
                  <a:pt x="219" y="441"/>
                  <a:pt x="219" y="441"/>
                </a:cubicBezTo>
                <a:lnTo>
                  <a:pt x="56" y="425"/>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2" name="Freeform 170">
            <a:extLst>
              <a:ext uri="{FF2B5EF4-FFF2-40B4-BE49-F238E27FC236}">
                <a16:creationId xmlns:a16="http://schemas.microsoft.com/office/drawing/2014/main" id="{626C8DC7-A7DB-26E2-5246-0096D74C27AA}"/>
              </a:ext>
            </a:extLst>
          </p:cNvPr>
          <p:cNvSpPr>
            <a:spLocks noEditPoints="1"/>
          </p:cNvSpPr>
          <p:nvPr userDrawn="1"/>
        </p:nvSpPr>
        <p:spPr bwMode="auto">
          <a:xfrm>
            <a:off x="2898581" y="2444039"/>
            <a:ext cx="3352582" cy="2562226"/>
          </a:xfrm>
          <a:custGeom>
            <a:avLst/>
            <a:gdLst>
              <a:gd name="T0" fmla="*/ 296 w 338"/>
              <a:gd name="T1" fmla="*/ 207 h 258"/>
              <a:gd name="T2" fmla="*/ 332 w 338"/>
              <a:gd name="T3" fmla="*/ 43 h 258"/>
              <a:gd name="T4" fmla="*/ 311 w 338"/>
              <a:gd name="T5" fmla="*/ 33 h 258"/>
              <a:gd name="T6" fmla="*/ 296 w 338"/>
              <a:gd name="T7" fmla="*/ 16 h 258"/>
              <a:gd name="T8" fmla="*/ 280 w 338"/>
              <a:gd name="T9" fmla="*/ 10 h 258"/>
              <a:gd name="T10" fmla="*/ 265 w 338"/>
              <a:gd name="T11" fmla="*/ 3 h 258"/>
              <a:gd name="T12" fmla="*/ 238 w 338"/>
              <a:gd name="T13" fmla="*/ 13 h 258"/>
              <a:gd name="T14" fmla="*/ 206 w 338"/>
              <a:gd name="T15" fmla="*/ 57 h 258"/>
              <a:gd name="T16" fmla="*/ 202 w 338"/>
              <a:gd name="T17" fmla="*/ 69 h 258"/>
              <a:gd name="T18" fmla="*/ 192 w 338"/>
              <a:gd name="T19" fmla="*/ 62 h 258"/>
              <a:gd name="T20" fmla="*/ 170 w 338"/>
              <a:gd name="T21" fmla="*/ 79 h 258"/>
              <a:gd name="T22" fmla="*/ 180 w 338"/>
              <a:gd name="T23" fmla="*/ 93 h 258"/>
              <a:gd name="T24" fmla="*/ 184 w 338"/>
              <a:gd name="T25" fmla="*/ 110 h 258"/>
              <a:gd name="T26" fmla="*/ 148 w 338"/>
              <a:gd name="T27" fmla="*/ 122 h 258"/>
              <a:gd name="T28" fmla="*/ 148 w 338"/>
              <a:gd name="T29" fmla="*/ 139 h 258"/>
              <a:gd name="T30" fmla="*/ 143 w 338"/>
              <a:gd name="T31" fmla="*/ 158 h 258"/>
              <a:gd name="T32" fmla="*/ 147 w 338"/>
              <a:gd name="T33" fmla="*/ 171 h 258"/>
              <a:gd name="T34" fmla="*/ 159 w 338"/>
              <a:gd name="T35" fmla="*/ 177 h 258"/>
              <a:gd name="T36" fmla="*/ 156 w 338"/>
              <a:gd name="T37" fmla="*/ 195 h 258"/>
              <a:gd name="T38" fmla="*/ 127 w 338"/>
              <a:gd name="T39" fmla="*/ 211 h 258"/>
              <a:gd name="T40" fmla="*/ 120 w 338"/>
              <a:gd name="T41" fmla="*/ 220 h 258"/>
              <a:gd name="T42" fmla="*/ 138 w 338"/>
              <a:gd name="T43" fmla="*/ 214 h 258"/>
              <a:gd name="T44" fmla="*/ 157 w 338"/>
              <a:gd name="T45" fmla="*/ 205 h 258"/>
              <a:gd name="T46" fmla="*/ 180 w 338"/>
              <a:gd name="T47" fmla="*/ 191 h 258"/>
              <a:gd name="T48" fmla="*/ 196 w 338"/>
              <a:gd name="T49" fmla="*/ 174 h 258"/>
              <a:gd name="T50" fmla="*/ 226 w 338"/>
              <a:gd name="T51" fmla="*/ 156 h 258"/>
              <a:gd name="T52" fmla="*/ 203 w 338"/>
              <a:gd name="T53" fmla="*/ 179 h 258"/>
              <a:gd name="T54" fmla="*/ 218 w 338"/>
              <a:gd name="T55" fmla="*/ 176 h 258"/>
              <a:gd name="T56" fmla="*/ 233 w 338"/>
              <a:gd name="T57" fmla="*/ 168 h 258"/>
              <a:gd name="T58" fmla="*/ 240 w 338"/>
              <a:gd name="T59" fmla="*/ 173 h 258"/>
              <a:gd name="T60" fmla="*/ 261 w 338"/>
              <a:gd name="T61" fmla="*/ 185 h 258"/>
              <a:gd name="T62" fmla="*/ 276 w 338"/>
              <a:gd name="T63" fmla="*/ 197 h 258"/>
              <a:gd name="T64" fmla="*/ 282 w 338"/>
              <a:gd name="T65" fmla="*/ 203 h 258"/>
              <a:gd name="T66" fmla="*/ 291 w 338"/>
              <a:gd name="T67" fmla="*/ 206 h 258"/>
              <a:gd name="T68" fmla="*/ 293 w 338"/>
              <a:gd name="T69" fmla="*/ 229 h 258"/>
              <a:gd name="T70" fmla="*/ 299 w 338"/>
              <a:gd name="T71" fmla="*/ 244 h 258"/>
              <a:gd name="T72" fmla="*/ 286 w 338"/>
              <a:gd name="T73" fmla="*/ 253 h 258"/>
              <a:gd name="T74" fmla="*/ 283 w 338"/>
              <a:gd name="T75" fmla="*/ 253 h 258"/>
              <a:gd name="T76" fmla="*/ 286 w 338"/>
              <a:gd name="T77" fmla="*/ 241 h 258"/>
              <a:gd name="T78" fmla="*/ 287 w 338"/>
              <a:gd name="T79" fmla="*/ 256 h 258"/>
              <a:gd name="T80" fmla="*/ 293 w 338"/>
              <a:gd name="T81" fmla="*/ 243 h 258"/>
              <a:gd name="T82" fmla="*/ 291 w 338"/>
              <a:gd name="T83" fmla="*/ 235 h 258"/>
              <a:gd name="T84" fmla="*/ 285 w 338"/>
              <a:gd name="T85" fmla="*/ 236 h 258"/>
              <a:gd name="T86" fmla="*/ 282 w 338"/>
              <a:gd name="T87" fmla="*/ 226 h 258"/>
              <a:gd name="T88" fmla="*/ 289 w 338"/>
              <a:gd name="T89" fmla="*/ 225 h 258"/>
              <a:gd name="T90" fmla="*/ 279 w 338"/>
              <a:gd name="T91" fmla="*/ 222 h 258"/>
              <a:gd name="T92" fmla="*/ 156 w 338"/>
              <a:gd name="T93" fmla="*/ 117 h 258"/>
              <a:gd name="T94" fmla="*/ 245 w 338"/>
              <a:gd name="T95" fmla="*/ 182 h 258"/>
              <a:gd name="T96" fmla="*/ 227 w 338"/>
              <a:gd name="T97" fmla="*/ 180 h 258"/>
              <a:gd name="T98" fmla="*/ 128 w 338"/>
              <a:gd name="T99" fmla="*/ 97 h 258"/>
              <a:gd name="T100" fmla="*/ 130 w 338"/>
              <a:gd name="T101" fmla="*/ 148 h 258"/>
              <a:gd name="T102" fmla="*/ 190 w 338"/>
              <a:gd name="T103" fmla="*/ 189 h 258"/>
              <a:gd name="T104" fmla="*/ 180 w 338"/>
              <a:gd name="T105" fmla="*/ 197 h 258"/>
              <a:gd name="T106" fmla="*/ 184 w 338"/>
              <a:gd name="T107" fmla="*/ 200 h 258"/>
              <a:gd name="T108" fmla="*/ 171 w 338"/>
              <a:gd name="T109" fmla="*/ 211 h 258"/>
              <a:gd name="T110" fmla="*/ 132 w 338"/>
              <a:gd name="T111" fmla="*/ 222 h 258"/>
              <a:gd name="T112" fmla="*/ 4 w 338"/>
              <a:gd name="T113" fmla="*/ 243 h 258"/>
              <a:gd name="T114" fmla="*/ 31 w 338"/>
              <a:gd name="T115" fmla="*/ 243 h 258"/>
              <a:gd name="T116" fmla="*/ 59 w 338"/>
              <a:gd name="T117" fmla="*/ 241 h 258"/>
              <a:gd name="T118" fmla="*/ 85 w 338"/>
              <a:gd name="T119" fmla="*/ 232 h 258"/>
              <a:gd name="T120" fmla="*/ 97 w 338"/>
              <a:gd name="T121" fmla="*/ 230 h 258"/>
              <a:gd name="T122" fmla="*/ 102 w 338"/>
              <a:gd name="T123" fmla="*/ 22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8" h="258">
                <a:moveTo>
                  <a:pt x="304" y="246"/>
                </a:moveTo>
                <a:cubicBezTo>
                  <a:pt x="304" y="246"/>
                  <a:pt x="304" y="246"/>
                  <a:pt x="304" y="246"/>
                </a:cubicBezTo>
                <a:cubicBezTo>
                  <a:pt x="304" y="245"/>
                  <a:pt x="304" y="245"/>
                  <a:pt x="304" y="245"/>
                </a:cubicBezTo>
                <a:cubicBezTo>
                  <a:pt x="305" y="245"/>
                  <a:pt x="305" y="245"/>
                  <a:pt x="305" y="245"/>
                </a:cubicBezTo>
                <a:cubicBezTo>
                  <a:pt x="305" y="244"/>
                  <a:pt x="305" y="244"/>
                  <a:pt x="305" y="244"/>
                </a:cubicBezTo>
                <a:cubicBezTo>
                  <a:pt x="305" y="244"/>
                  <a:pt x="305" y="244"/>
                  <a:pt x="305" y="244"/>
                </a:cubicBezTo>
                <a:cubicBezTo>
                  <a:pt x="305" y="243"/>
                  <a:pt x="305" y="243"/>
                  <a:pt x="305" y="243"/>
                </a:cubicBezTo>
                <a:cubicBezTo>
                  <a:pt x="304" y="243"/>
                  <a:pt x="304" y="243"/>
                  <a:pt x="304" y="243"/>
                </a:cubicBezTo>
                <a:cubicBezTo>
                  <a:pt x="304" y="241"/>
                  <a:pt x="304" y="241"/>
                  <a:pt x="304" y="241"/>
                </a:cubicBezTo>
                <a:cubicBezTo>
                  <a:pt x="303" y="240"/>
                  <a:pt x="303" y="240"/>
                  <a:pt x="303" y="240"/>
                </a:cubicBezTo>
                <a:cubicBezTo>
                  <a:pt x="302" y="239"/>
                  <a:pt x="302" y="239"/>
                  <a:pt x="302" y="239"/>
                </a:cubicBezTo>
                <a:cubicBezTo>
                  <a:pt x="301" y="239"/>
                  <a:pt x="301" y="239"/>
                  <a:pt x="301" y="239"/>
                </a:cubicBezTo>
                <a:cubicBezTo>
                  <a:pt x="301" y="238"/>
                  <a:pt x="301" y="238"/>
                  <a:pt x="301" y="238"/>
                </a:cubicBezTo>
                <a:cubicBezTo>
                  <a:pt x="300" y="236"/>
                  <a:pt x="300" y="236"/>
                  <a:pt x="300" y="236"/>
                </a:cubicBezTo>
                <a:cubicBezTo>
                  <a:pt x="299" y="236"/>
                  <a:pt x="299" y="236"/>
                  <a:pt x="299" y="236"/>
                </a:cubicBezTo>
                <a:cubicBezTo>
                  <a:pt x="298" y="236"/>
                  <a:pt x="298" y="236"/>
                  <a:pt x="298" y="236"/>
                </a:cubicBezTo>
                <a:cubicBezTo>
                  <a:pt x="298" y="235"/>
                  <a:pt x="298" y="235"/>
                  <a:pt x="298" y="235"/>
                </a:cubicBezTo>
                <a:cubicBezTo>
                  <a:pt x="298" y="235"/>
                  <a:pt x="298" y="235"/>
                  <a:pt x="298" y="235"/>
                </a:cubicBezTo>
                <a:cubicBezTo>
                  <a:pt x="298" y="234"/>
                  <a:pt x="298" y="234"/>
                  <a:pt x="298" y="234"/>
                </a:cubicBezTo>
                <a:cubicBezTo>
                  <a:pt x="298" y="233"/>
                  <a:pt x="298" y="233"/>
                  <a:pt x="298" y="233"/>
                </a:cubicBezTo>
                <a:cubicBezTo>
                  <a:pt x="297" y="233"/>
                  <a:pt x="297" y="233"/>
                  <a:pt x="297" y="233"/>
                </a:cubicBezTo>
                <a:cubicBezTo>
                  <a:pt x="298" y="232"/>
                  <a:pt x="298" y="232"/>
                  <a:pt x="298" y="232"/>
                </a:cubicBezTo>
                <a:cubicBezTo>
                  <a:pt x="298" y="232"/>
                  <a:pt x="298" y="232"/>
                  <a:pt x="298" y="232"/>
                </a:cubicBezTo>
                <a:cubicBezTo>
                  <a:pt x="298" y="231"/>
                  <a:pt x="298" y="231"/>
                  <a:pt x="298" y="231"/>
                </a:cubicBezTo>
                <a:cubicBezTo>
                  <a:pt x="297" y="231"/>
                  <a:pt x="297" y="231"/>
                  <a:pt x="297" y="231"/>
                </a:cubicBezTo>
                <a:cubicBezTo>
                  <a:pt x="297" y="231"/>
                  <a:pt x="297" y="231"/>
                  <a:pt x="297" y="231"/>
                </a:cubicBezTo>
                <a:cubicBezTo>
                  <a:pt x="297" y="230"/>
                  <a:pt x="297" y="230"/>
                  <a:pt x="297" y="230"/>
                </a:cubicBezTo>
                <a:cubicBezTo>
                  <a:pt x="298" y="229"/>
                  <a:pt x="298" y="229"/>
                  <a:pt x="298" y="229"/>
                </a:cubicBezTo>
                <a:cubicBezTo>
                  <a:pt x="298" y="225"/>
                  <a:pt x="298" y="225"/>
                  <a:pt x="298" y="225"/>
                </a:cubicBezTo>
                <a:cubicBezTo>
                  <a:pt x="298" y="220"/>
                  <a:pt x="298" y="220"/>
                  <a:pt x="298" y="220"/>
                </a:cubicBezTo>
                <a:cubicBezTo>
                  <a:pt x="298" y="217"/>
                  <a:pt x="298" y="217"/>
                  <a:pt x="298" y="217"/>
                </a:cubicBezTo>
                <a:cubicBezTo>
                  <a:pt x="298" y="216"/>
                  <a:pt x="298" y="216"/>
                  <a:pt x="298" y="216"/>
                </a:cubicBezTo>
                <a:cubicBezTo>
                  <a:pt x="298" y="215"/>
                  <a:pt x="298" y="215"/>
                  <a:pt x="298" y="215"/>
                </a:cubicBezTo>
                <a:cubicBezTo>
                  <a:pt x="298" y="213"/>
                  <a:pt x="298" y="213"/>
                  <a:pt x="298" y="213"/>
                </a:cubicBezTo>
                <a:cubicBezTo>
                  <a:pt x="298" y="212"/>
                  <a:pt x="298" y="212"/>
                  <a:pt x="298" y="212"/>
                </a:cubicBezTo>
                <a:cubicBezTo>
                  <a:pt x="297" y="211"/>
                  <a:pt x="297" y="211"/>
                  <a:pt x="297" y="211"/>
                </a:cubicBezTo>
                <a:cubicBezTo>
                  <a:pt x="297" y="209"/>
                  <a:pt x="297" y="209"/>
                  <a:pt x="297" y="209"/>
                </a:cubicBezTo>
                <a:cubicBezTo>
                  <a:pt x="296" y="207"/>
                  <a:pt x="296" y="207"/>
                  <a:pt x="296" y="207"/>
                </a:cubicBezTo>
                <a:cubicBezTo>
                  <a:pt x="295" y="205"/>
                  <a:pt x="295" y="205"/>
                  <a:pt x="295" y="205"/>
                </a:cubicBezTo>
                <a:cubicBezTo>
                  <a:pt x="296" y="204"/>
                  <a:pt x="296" y="204"/>
                  <a:pt x="296" y="204"/>
                </a:cubicBezTo>
                <a:cubicBezTo>
                  <a:pt x="294" y="200"/>
                  <a:pt x="294" y="200"/>
                  <a:pt x="294" y="200"/>
                </a:cubicBezTo>
                <a:cubicBezTo>
                  <a:pt x="295" y="200"/>
                  <a:pt x="295" y="200"/>
                  <a:pt x="295" y="200"/>
                </a:cubicBezTo>
                <a:cubicBezTo>
                  <a:pt x="296" y="198"/>
                  <a:pt x="296" y="198"/>
                  <a:pt x="296" y="198"/>
                </a:cubicBezTo>
                <a:cubicBezTo>
                  <a:pt x="295" y="197"/>
                  <a:pt x="295" y="197"/>
                  <a:pt x="295" y="197"/>
                </a:cubicBezTo>
                <a:cubicBezTo>
                  <a:pt x="295" y="196"/>
                  <a:pt x="295" y="196"/>
                  <a:pt x="295" y="196"/>
                </a:cubicBezTo>
                <a:cubicBezTo>
                  <a:pt x="294" y="195"/>
                  <a:pt x="294" y="195"/>
                  <a:pt x="294" y="195"/>
                </a:cubicBezTo>
                <a:cubicBezTo>
                  <a:pt x="292" y="195"/>
                  <a:pt x="292" y="195"/>
                  <a:pt x="292" y="195"/>
                </a:cubicBezTo>
                <a:cubicBezTo>
                  <a:pt x="290" y="195"/>
                  <a:pt x="290" y="195"/>
                  <a:pt x="290" y="195"/>
                </a:cubicBezTo>
                <a:cubicBezTo>
                  <a:pt x="289" y="196"/>
                  <a:pt x="289" y="196"/>
                  <a:pt x="289" y="196"/>
                </a:cubicBezTo>
                <a:cubicBezTo>
                  <a:pt x="287" y="196"/>
                  <a:pt x="287" y="196"/>
                  <a:pt x="287" y="196"/>
                </a:cubicBezTo>
                <a:cubicBezTo>
                  <a:pt x="286" y="198"/>
                  <a:pt x="286" y="198"/>
                  <a:pt x="286" y="198"/>
                </a:cubicBezTo>
                <a:cubicBezTo>
                  <a:pt x="284" y="200"/>
                  <a:pt x="284" y="200"/>
                  <a:pt x="284" y="200"/>
                </a:cubicBezTo>
                <a:cubicBezTo>
                  <a:pt x="282" y="201"/>
                  <a:pt x="282" y="201"/>
                  <a:pt x="282" y="201"/>
                </a:cubicBezTo>
                <a:cubicBezTo>
                  <a:pt x="280" y="202"/>
                  <a:pt x="280" y="202"/>
                  <a:pt x="280" y="202"/>
                </a:cubicBezTo>
                <a:cubicBezTo>
                  <a:pt x="278" y="202"/>
                  <a:pt x="278" y="202"/>
                  <a:pt x="278" y="202"/>
                </a:cubicBezTo>
                <a:cubicBezTo>
                  <a:pt x="278" y="202"/>
                  <a:pt x="278" y="202"/>
                  <a:pt x="278" y="202"/>
                </a:cubicBezTo>
                <a:cubicBezTo>
                  <a:pt x="278" y="201"/>
                  <a:pt x="278" y="201"/>
                  <a:pt x="278" y="201"/>
                </a:cubicBezTo>
                <a:cubicBezTo>
                  <a:pt x="279" y="199"/>
                  <a:pt x="279" y="199"/>
                  <a:pt x="279" y="199"/>
                </a:cubicBezTo>
                <a:cubicBezTo>
                  <a:pt x="278" y="198"/>
                  <a:pt x="278" y="198"/>
                  <a:pt x="278" y="198"/>
                </a:cubicBezTo>
                <a:cubicBezTo>
                  <a:pt x="276" y="191"/>
                  <a:pt x="276" y="191"/>
                  <a:pt x="276" y="191"/>
                </a:cubicBezTo>
                <a:cubicBezTo>
                  <a:pt x="275" y="187"/>
                  <a:pt x="275" y="187"/>
                  <a:pt x="275" y="187"/>
                </a:cubicBezTo>
                <a:cubicBezTo>
                  <a:pt x="275" y="186"/>
                  <a:pt x="275" y="186"/>
                  <a:pt x="275" y="186"/>
                </a:cubicBezTo>
                <a:cubicBezTo>
                  <a:pt x="276" y="183"/>
                  <a:pt x="276" y="183"/>
                  <a:pt x="276" y="183"/>
                </a:cubicBezTo>
                <a:cubicBezTo>
                  <a:pt x="273" y="183"/>
                  <a:pt x="273" y="183"/>
                  <a:pt x="273" y="183"/>
                </a:cubicBezTo>
                <a:cubicBezTo>
                  <a:pt x="270" y="184"/>
                  <a:pt x="270" y="184"/>
                  <a:pt x="270" y="184"/>
                </a:cubicBezTo>
                <a:cubicBezTo>
                  <a:pt x="269" y="183"/>
                  <a:pt x="269" y="183"/>
                  <a:pt x="269" y="183"/>
                </a:cubicBezTo>
                <a:cubicBezTo>
                  <a:pt x="265" y="183"/>
                  <a:pt x="265" y="183"/>
                  <a:pt x="265" y="183"/>
                </a:cubicBezTo>
                <a:cubicBezTo>
                  <a:pt x="338" y="50"/>
                  <a:pt x="338" y="50"/>
                  <a:pt x="338" y="50"/>
                </a:cubicBezTo>
                <a:cubicBezTo>
                  <a:pt x="338" y="50"/>
                  <a:pt x="338" y="50"/>
                  <a:pt x="338" y="50"/>
                </a:cubicBezTo>
                <a:cubicBezTo>
                  <a:pt x="336" y="50"/>
                  <a:pt x="336" y="50"/>
                  <a:pt x="336" y="50"/>
                </a:cubicBezTo>
                <a:cubicBezTo>
                  <a:pt x="335" y="50"/>
                  <a:pt x="335" y="50"/>
                  <a:pt x="335" y="50"/>
                </a:cubicBezTo>
                <a:cubicBezTo>
                  <a:pt x="335" y="49"/>
                  <a:pt x="335" y="49"/>
                  <a:pt x="335" y="49"/>
                </a:cubicBezTo>
                <a:cubicBezTo>
                  <a:pt x="334" y="46"/>
                  <a:pt x="334" y="46"/>
                  <a:pt x="334" y="46"/>
                </a:cubicBezTo>
                <a:cubicBezTo>
                  <a:pt x="333" y="45"/>
                  <a:pt x="333" y="45"/>
                  <a:pt x="333" y="45"/>
                </a:cubicBezTo>
                <a:cubicBezTo>
                  <a:pt x="333" y="45"/>
                  <a:pt x="333" y="45"/>
                  <a:pt x="333" y="45"/>
                </a:cubicBezTo>
                <a:cubicBezTo>
                  <a:pt x="332" y="43"/>
                  <a:pt x="332" y="43"/>
                  <a:pt x="332" y="43"/>
                </a:cubicBezTo>
                <a:cubicBezTo>
                  <a:pt x="332" y="42"/>
                  <a:pt x="332" y="42"/>
                  <a:pt x="332" y="42"/>
                </a:cubicBezTo>
                <a:cubicBezTo>
                  <a:pt x="331" y="41"/>
                  <a:pt x="331" y="41"/>
                  <a:pt x="331" y="41"/>
                </a:cubicBezTo>
                <a:cubicBezTo>
                  <a:pt x="329" y="41"/>
                  <a:pt x="329" y="41"/>
                  <a:pt x="329" y="41"/>
                </a:cubicBezTo>
                <a:cubicBezTo>
                  <a:pt x="328" y="41"/>
                  <a:pt x="328" y="41"/>
                  <a:pt x="328" y="41"/>
                </a:cubicBezTo>
                <a:cubicBezTo>
                  <a:pt x="327" y="41"/>
                  <a:pt x="327" y="41"/>
                  <a:pt x="327" y="41"/>
                </a:cubicBezTo>
                <a:cubicBezTo>
                  <a:pt x="325" y="42"/>
                  <a:pt x="325" y="42"/>
                  <a:pt x="325" y="42"/>
                </a:cubicBezTo>
                <a:cubicBezTo>
                  <a:pt x="324" y="41"/>
                  <a:pt x="324" y="41"/>
                  <a:pt x="324" y="41"/>
                </a:cubicBezTo>
                <a:cubicBezTo>
                  <a:pt x="324" y="41"/>
                  <a:pt x="324" y="41"/>
                  <a:pt x="324" y="41"/>
                </a:cubicBezTo>
                <a:cubicBezTo>
                  <a:pt x="323" y="41"/>
                  <a:pt x="323" y="41"/>
                  <a:pt x="323" y="41"/>
                </a:cubicBezTo>
                <a:cubicBezTo>
                  <a:pt x="323" y="41"/>
                  <a:pt x="323" y="41"/>
                  <a:pt x="323" y="41"/>
                </a:cubicBezTo>
                <a:cubicBezTo>
                  <a:pt x="322" y="41"/>
                  <a:pt x="322" y="41"/>
                  <a:pt x="322" y="41"/>
                </a:cubicBezTo>
                <a:cubicBezTo>
                  <a:pt x="322" y="41"/>
                  <a:pt x="322" y="41"/>
                  <a:pt x="322" y="41"/>
                </a:cubicBezTo>
                <a:cubicBezTo>
                  <a:pt x="323" y="41"/>
                  <a:pt x="323" y="41"/>
                  <a:pt x="323" y="41"/>
                </a:cubicBezTo>
                <a:cubicBezTo>
                  <a:pt x="323" y="40"/>
                  <a:pt x="323" y="40"/>
                  <a:pt x="323" y="40"/>
                </a:cubicBezTo>
                <a:cubicBezTo>
                  <a:pt x="322" y="39"/>
                  <a:pt x="322" y="39"/>
                  <a:pt x="322" y="39"/>
                </a:cubicBezTo>
                <a:cubicBezTo>
                  <a:pt x="321" y="40"/>
                  <a:pt x="321" y="40"/>
                  <a:pt x="321" y="40"/>
                </a:cubicBezTo>
                <a:cubicBezTo>
                  <a:pt x="320" y="39"/>
                  <a:pt x="320" y="39"/>
                  <a:pt x="320" y="39"/>
                </a:cubicBezTo>
                <a:cubicBezTo>
                  <a:pt x="320" y="39"/>
                  <a:pt x="320" y="39"/>
                  <a:pt x="320" y="39"/>
                </a:cubicBezTo>
                <a:cubicBezTo>
                  <a:pt x="321" y="39"/>
                  <a:pt x="321" y="39"/>
                  <a:pt x="321" y="39"/>
                </a:cubicBezTo>
                <a:cubicBezTo>
                  <a:pt x="320" y="38"/>
                  <a:pt x="320" y="38"/>
                  <a:pt x="320" y="38"/>
                </a:cubicBezTo>
                <a:cubicBezTo>
                  <a:pt x="320" y="38"/>
                  <a:pt x="320" y="38"/>
                  <a:pt x="320" y="38"/>
                </a:cubicBezTo>
                <a:cubicBezTo>
                  <a:pt x="319" y="38"/>
                  <a:pt x="319" y="38"/>
                  <a:pt x="319" y="38"/>
                </a:cubicBezTo>
                <a:cubicBezTo>
                  <a:pt x="319" y="37"/>
                  <a:pt x="319" y="37"/>
                  <a:pt x="319" y="37"/>
                </a:cubicBezTo>
                <a:cubicBezTo>
                  <a:pt x="318" y="36"/>
                  <a:pt x="318" y="36"/>
                  <a:pt x="318" y="36"/>
                </a:cubicBezTo>
                <a:cubicBezTo>
                  <a:pt x="316" y="35"/>
                  <a:pt x="316" y="35"/>
                  <a:pt x="316" y="35"/>
                </a:cubicBezTo>
                <a:cubicBezTo>
                  <a:pt x="316" y="35"/>
                  <a:pt x="316" y="35"/>
                  <a:pt x="316" y="35"/>
                </a:cubicBezTo>
                <a:cubicBezTo>
                  <a:pt x="315" y="35"/>
                  <a:pt x="315" y="35"/>
                  <a:pt x="315" y="35"/>
                </a:cubicBezTo>
                <a:cubicBezTo>
                  <a:pt x="315" y="35"/>
                  <a:pt x="315" y="35"/>
                  <a:pt x="315" y="35"/>
                </a:cubicBezTo>
                <a:cubicBezTo>
                  <a:pt x="314" y="35"/>
                  <a:pt x="314" y="35"/>
                  <a:pt x="314" y="35"/>
                </a:cubicBezTo>
                <a:cubicBezTo>
                  <a:pt x="314" y="35"/>
                  <a:pt x="314" y="35"/>
                  <a:pt x="314" y="35"/>
                </a:cubicBezTo>
                <a:cubicBezTo>
                  <a:pt x="314" y="35"/>
                  <a:pt x="314" y="35"/>
                  <a:pt x="314" y="35"/>
                </a:cubicBezTo>
                <a:cubicBezTo>
                  <a:pt x="313" y="34"/>
                  <a:pt x="313" y="34"/>
                  <a:pt x="313" y="34"/>
                </a:cubicBezTo>
                <a:cubicBezTo>
                  <a:pt x="312" y="35"/>
                  <a:pt x="312" y="35"/>
                  <a:pt x="312" y="35"/>
                </a:cubicBezTo>
                <a:cubicBezTo>
                  <a:pt x="312" y="35"/>
                  <a:pt x="312" y="35"/>
                  <a:pt x="312" y="35"/>
                </a:cubicBezTo>
                <a:cubicBezTo>
                  <a:pt x="312" y="34"/>
                  <a:pt x="312" y="34"/>
                  <a:pt x="312" y="34"/>
                </a:cubicBezTo>
                <a:cubicBezTo>
                  <a:pt x="312" y="34"/>
                  <a:pt x="312" y="34"/>
                  <a:pt x="312" y="34"/>
                </a:cubicBezTo>
                <a:cubicBezTo>
                  <a:pt x="312" y="33"/>
                  <a:pt x="312" y="33"/>
                  <a:pt x="312" y="33"/>
                </a:cubicBezTo>
                <a:cubicBezTo>
                  <a:pt x="311" y="33"/>
                  <a:pt x="311" y="33"/>
                  <a:pt x="311" y="33"/>
                </a:cubicBezTo>
                <a:cubicBezTo>
                  <a:pt x="310" y="33"/>
                  <a:pt x="310" y="33"/>
                  <a:pt x="310" y="33"/>
                </a:cubicBezTo>
                <a:cubicBezTo>
                  <a:pt x="310" y="32"/>
                  <a:pt x="310" y="32"/>
                  <a:pt x="310" y="32"/>
                </a:cubicBezTo>
                <a:cubicBezTo>
                  <a:pt x="310" y="32"/>
                  <a:pt x="310" y="32"/>
                  <a:pt x="310" y="32"/>
                </a:cubicBezTo>
                <a:cubicBezTo>
                  <a:pt x="309" y="31"/>
                  <a:pt x="309" y="31"/>
                  <a:pt x="309" y="31"/>
                </a:cubicBezTo>
                <a:cubicBezTo>
                  <a:pt x="308" y="30"/>
                  <a:pt x="308" y="30"/>
                  <a:pt x="308" y="30"/>
                </a:cubicBezTo>
                <a:cubicBezTo>
                  <a:pt x="308" y="30"/>
                  <a:pt x="308" y="30"/>
                  <a:pt x="308" y="30"/>
                </a:cubicBezTo>
                <a:cubicBezTo>
                  <a:pt x="308" y="29"/>
                  <a:pt x="308" y="29"/>
                  <a:pt x="308" y="29"/>
                </a:cubicBezTo>
                <a:cubicBezTo>
                  <a:pt x="307" y="29"/>
                  <a:pt x="307" y="29"/>
                  <a:pt x="307" y="29"/>
                </a:cubicBezTo>
                <a:cubicBezTo>
                  <a:pt x="307" y="30"/>
                  <a:pt x="307" y="30"/>
                  <a:pt x="307" y="30"/>
                </a:cubicBezTo>
                <a:cubicBezTo>
                  <a:pt x="304" y="32"/>
                  <a:pt x="304" y="32"/>
                  <a:pt x="304" y="32"/>
                </a:cubicBezTo>
                <a:cubicBezTo>
                  <a:pt x="302" y="33"/>
                  <a:pt x="302" y="33"/>
                  <a:pt x="302" y="33"/>
                </a:cubicBezTo>
                <a:cubicBezTo>
                  <a:pt x="304" y="32"/>
                  <a:pt x="304" y="32"/>
                  <a:pt x="304" y="32"/>
                </a:cubicBezTo>
                <a:cubicBezTo>
                  <a:pt x="305" y="29"/>
                  <a:pt x="305" y="29"/>
                  <a:pt x="305" y="29"/>
                </a:cubicBezTo>
                <a:cubicBezTo>
                  <a:pt x="307" y="28"/>
                  <a:pt x="307" y="28"/>
                  <a:pt x="307" y="28"/>
                </a:cubicBezTo>
                <a:cubicBezTo>
                  <a:pt x="307" y="26"/>
                  <a:pt x="307" y="26"/>
                  <a:pt x="307" y="26"/>
                </a:cubicBezTo>
                <a:cubicBezTo>
                  <a:pt x="306" y="26"/>
                  <a:pt x="306" y="26"/>
                  <a:pt x="306" y="26"/>
                </a:cubicBezTo>
                <a:cubicBezTo>
                  <a:pt x="305" y="25"/>
                  <a:pt x="305" y="25"/>
                  <a:pt x="305" y="25"/>
                </a:cubicBezTo>
                <a:cubicBezTo>
                  <a:pt x="303" y="25"/>
                  <a:pt x="303" y="25"/>
                  <a:pt x="303" y="25"/>
                </a:cubicBezTo>
                <a:cubicBezTo>
                  <a:pt x="301" y="25"/>
                  <a:pt x="301" y="25"/>
                  <a:pt x="301" y="25"/>
                </a:cubicBezTo>
                <a:cubicBezTo>
                  <a:pt x="300" y="25"/>
                  <a:pt x="300" y="25"/>
                  <a:pt x="300" y="25"/>
                </a:cubicBezTo>
                <a:cubicBezTo>
                  <a:pt x="300" y="26"/>
                  <a:pt x="300" y="26"/>
                  <a:pt x="300" y="26"/>
                </a:cubicBezTo>
                <a:cubicBezTo>
                  <a:pt x="298" y="26"/>
                  <a:pt x="298" y="26"/>
                  <a:pt x="298" y="26"/>
                </a:cubicBezTo>
                <a:cubicBezTo>
                  <a:pt x="297" y="28"/>
                  <a:pt x="297" y="28"/>
                  <a:pt x="297" y="28"/>
                </a:cubicBezTo>
                <a:cubicBezTo>
                  <a:pt x="295" y="29"/>
                  <a:pt x="295" y="29"/>
                  <a:pt x="295" y="29"/>
                </a:cubicBezTo>
                <a:cubicBezTo>
                  <a:pt x="296" y="28"/>
                  <a:pt x="296" y="28"/>
                  <a:pt x="296" y="28"/>
                </a:cubicBezTo>
                <a:cubicBezTo>
                  <a:pt x="296" y="26"/>
                  <a:pt x="296" y="26"/>
                  <a:pt x="296" y="26"/>
                </a:cubicBezTo>
                <a:cubicBezTo>
                  <a:pt x="296" y="24"/>
                  <a:pt x="296" y="24"/>
                  <a:pt x="296" y="24"/>
                </a:cubicBezTo>
                <a:cubicBezTo>
                  <a:pt x="296" y="23"/>
                  <a:pt x="296" y="23"/>
                  <a:pt x="296" y="23"/>
                </a:cubicBezTo>
                <a:cubicBezTo>
                  <a:pt x="294" y="22"/>
                  <a:pt x="294" y="22"/>
                  <a:pt x="294" y="22"/>
                </a:cubicBezTo>
                <a:cubicBezTo>
                  <a:pt x="294" y="22"/>
                  <a:pt x="294" y="22"/>
                  <a:pt x="294" y="22"/>
                </a:cubicBezTo>
                <a:cubicBezTo>
                  <a:pt x="295" y="21"/>
                  <a:pt x="295" y="21"/>
                  <a:pt x="295" y="21"/>
                </a:cubicBezTo>
                <a:cubicBezTo>
                  <a:pt x="296" y="21"/>
                  <a:pt x="296" y="21"/>
                  <a:pt x="296" y="21"/>
                </a:cubicBezTo>
                <a:cubicBezTo>
                  <a:pt x="296" y="21"/>
                  <a:pt x="296" y="21"/>
                  <a:pt x="296" y="21"/>
                </a:cubicBezTo>
                <a:cubicBezTo>
                  <a:pt x="293" y="19"/>
                  <a:pt x="293" y="19"/>
                  <a:pt x="293" y="19"/>
                </a:cubicBezTo>
                <a:cubicBezTo>
                  <a:pt x="293" y="18"/>
                  <a:pt x="293" y="18"/>
                  <a:pt x="293" y="18"/>
                </a:cubicBezTo>
                <a:cubicBezTo>
                  <a:pt x="294" y="17"/>
                  <a:pt x="294" y="17"/>
                  <a:pt x="294" y="17"/>
                </a:cubicBezTo>
                <a:cubicBezTo>
                  <a:pt x="295" y="16"/>
                  <a:pt x="295" y="16"/>
                  <a:pt x="295" y="16"/>
                </a:cubicBezTo>
                <a:cubicBezTo>
                  <a:pt x="296" y="16"/>
                  <a:pt x="296" y="16"/>
                  <a:pt x="296" y="16"/>
                </a:cubicBezTo>
                <a:cubicBezTo>
                  <a:pt x="296" y="15"/>
                  <a:pt x="296" y="15"/>
                  <a:pt x="296" y="15"/>
                </a:cubicBezTo>
                <a:cubicBezTo>
                  <a:pt x="295" y="13"/>
                  <a:pt x="295" y="13"/>
                  <a:pt x="295" y="13"/>
                </a:cubicBezTo>
                <a:cubicBezTo>
                  <a:pt x="294" y="13"/>
                  <a:pt x="294" y="13"/>
                  <a:pt x="294" y="13"/>
                </a:cubicBezTo>
                <a:cubicBezTo>
                  <a:pt x="294" y="14"/>
                  <a:pt x="294" y="14"/>
                  <a:pt x="294" y="14"/>
                </a:cubicBezTo>
                <a:cubicBezTo>
                  <a:pt x="293" y="13"/>
                  <a:pt x="293" y="13"/>
                  <a:pt x="293" y="13"/>
                </a:cubicBezTo>
                <a:cubicBezTo>
                  <a:pt x="292" y="12"/>
                  <a:pt x="292" y="12"/>
                  <a:pt x="292" y="12"/>
                </a:cubicBezTo>
                <a:cubicBezTo>
                  <a:pt x="291" y="13"/>
                  <a:pt x="291" y="13"/>
                  <a:pt x="291" y="13"/>
                </a:cubicBezTo>
                <a:cubicBezTo>
                  <a:pt x="290" y="12"/>
                  <a:pt x="290" y="12"/>
                  <a:pt x="290" y="12"/>
                </a:cubicBezTo>
                <a:cubicBezTo>
                  <a:pt x="289" y="12"/>
                  <a:pt x="289" y="12"/>
                  <a:pt x="289" y="12"/>
                </a:cubicBezTo>
                <a:cubicBezTo>
                  <a:pt x="288" y="12"/>
                  <a:pt x="288" y="12"/>
                  <a:pt x="288" y="12"/>
                </a:cubicBezTo>
                <a:cubicBezTo>
                  <a:pt x="287" y="12"/>
                  <a:pt x="287" y="12"/>
                  <a:pt x="287" y="12"/>
                </a:cubicBezTo>
                <a:cubicBezTo>
                  <a:pt x="286" y="13"/>
                  <a:pt x="286" y="13"/>
                  <a:pt x="286" y="13"/>
                </a:cubicBezTo>
                <a:cubicBezTo>
                  <a:pt x="286" y="14"/>
                  <a:pt x="286" y="14"/>
                  <a:pt x="286" y="14"/>
                </a:cubicBezTo>
                <a:cubicBezTo>
                  <a:pt x="285" y="13"/>
                  <a:pt x="285" y="13"/>
                  <a:pt x="285" y="13"/>
                </a:cubicBezTo>
                <a:cubicBezTo>
                  <a:pt x="286" y="12"/>
                  <a:pt x="286" y="12"/>
                  <a:pt x="286" y="12"/>
                </a:cubicBezTo>
                <a:cubicBezTo>
                  <a:pt x="286" y="11"/>
                  <a:pt x="286" y="11"/>
                  <a:pt x="286" y="11"/>
                </a:cubicBezTo>
                <a:cubicBezTo>
                  <a:pt x="286" y="10"/>
                  <a:pt x="286" y="10"/>
                  <a:pt x="286" y="10"/>
                </a:cubicBezTo>
                <a:cubicBezTo>
                  <a:pt x="286" y="9"/>
                  <a:pt x="286" y="9"/>
                  <a:pt x="286" y="9"/>
                </a:cubicBezTo>
                <a:cubicBezTo>
                  <a:pt x="287" y="9"/>
                  <a:pt x="287" y="9"/>
                  <a:pt x="287" y="9"/>
                </a:cubicBezTo>
                <a:cubicBezTo>
                  <a:pt x="287" y="8"/>
                  <a:pt x="287" y="8"/>
                  <a:pt x="287" y="8"/>
                </a:cubicBezTo>
                <a:cubicBezTo>
                  <a:pt x="288" y="7"/>
                  <a:pt x="288" y="7"/>
                  <a:pt x="288" y="7"/>
                </a:cubicBezTo>
                <a:cubicBezTo>
                  <a:pt x="287" y="6"/>
                  <a:pt x="287" y="6"/>
                  <a:pt x="287" y="6"/>
                </a:cubicBezTo>
                <a:cubicBezTo>
                  <a:pt x="287" y="6"/>
                  <a:pt x="287" y="6"/>
                  <a:pt x="287" y="6"/>
                </a:cubicBezTo>
                <a:cubicBezTo>
                  <a:pt x="285" y="7"/>
                  <a:pt x="285" y="7"/>
                  <a:pt x="285" y="7"/>
                </a:cubicBezTo>
                <a:cubicBezTo>
                  <a:pt x="285" y="8"/>
                  <a:pt x="285" y="8"/>
                  <a:pt x="285" y="8"/>
                </a:cubicBezTo>
                <a:cubicBezTo>
                  <a:pt x="285" y="8"/>
                  <a:pt x="285" y="8"/>
                  <a:pt x="285" y="8"/>
                </a:cubicBezTo>
                <a:cubicBezTo>
                  <a:pt x="284" y="8"/>
                  <a:pt x="284" y="8"/>
                  <a:pt x="284" y="8"/>
                </a:cubicBezTo>
                <a:cubicBezTo>
                  <a:pt x="283" y="8"/>
                  <a:pt x="283" y="8"/>
                  <a:pt x="283" y="8"/>
                </a:cubicBezTo>
                <a:cubicBezTo>
                  <a:pt x="282" y="9"/>
                  <a:pt x="282" y="9"/>
                  <a:pt x="282" y="9"/>
                </a:cubicBezTo>
                <a:cubicBezTo>
                  <a:pt x="283" y="10"/>
                  <a:pt x="283" y="10"/>
                  <a:pt x="283" y="10"/>
                </a:cubicBezTo>
                <a:cubicBezTo>
                  <a:pt x="282" y="11"/>
                  <a:pt x="282" y="11"/>
                  <a:pt x="282" y="11"/>
                </a:cubicBezTo>
                <a:cubicBezTo>
                  <a:pt x="281" y="11"/>
                  <a:pt x="281" y="11"/>
                  <a:pt x="281" y="11"/>
                </a:cubicBezTo>
                <a:cubicBezTo>
                  <a:pt x="281" y="11"/>
                  <a:pt x="281" y="11"/>
                  <a:pt x="281" y="11"/>
                </a:cubicBezTo>
                <a:cubicBezTo>
                  <a:pt x="280" y="12"/>
                  <a:pt x="280" y="12"/>
                  <a:pt x="280" y="12"/>
                </a:cubicBezTo>
                <a:cubicBezTo>
                  <a:pt x="280" y="13"/>
                  <a:pt x="280" y="13"/>
                  <a:pt x="280" y="13"/>
                </a:cubicBezTo>
                <a:cubicBezTo>
                  <a:pt x="280" y="12"/>
                  <a:pt x="280" y="12"/>
                  <a:pt x="280" y="12"/>
                </a:cubicBezTo>
                <a:cubicBezTo>
                  <a:pt x="280" y="11"/>
                  <a:pt x="280" y="11"/>
                  <a:pt x="280" y="11"/>
                </a:cubicBezTo>
                <a:cubicBezTo>
                  <a:pt x="280" y="10"/>
                  <a:pt x="280" y="10"/>
                  <a:pt x="280" y="10"/>
                </a:cubicBezTo>
                <a:cubicBezTo>
                  <a:pt x="280" y="10"/>
                  <a:pt x="280" y="10"/>
                  <a:pt x="280" y="10"/>
                </a:cubicBezTo>
                <a:cubicBezTo>
                  <a:pt x="279" y="11"/>
                  <a:pt x="279" y="11"/>
                  <a:pt x="279" y="11"/>
                </a:cubicBezTo>
                <a:cubicBezTo>
                  <a:pt x="279" y="11"/>
                  <a:pt x="279" y="11"/>
                  <a:pt x="279" y="11"/>
                </a:cubicBezTo>
                <a:cubicBezTo>
                  <a:pt x="278" y="12"/>
                  <a:pt x="278" y="12"/>
                  <a:pt x="278" y="12"/>
                </a:cubicBezTo>
                <a:cubicBezTo>
                  <a:pt x="278" y="10"/>
                  <a:pt x="278" y="10"/>
                  <a:pt x="278" y="10"/>
                </a:cubicBezTo>
                <a:cubicBezTo>
                  <a:pt x="278" y="9"/>
                  <a:pt x="278" y="9"/>
                  <a:pt x="278" y="9"/>
                </a:cubicBezTo>
                <a:cubicBezTo>
                  <a:pt x="276" y="9"/>
                  <a:pt x="276" y="9"/>
                  <a:pt x="276" y="9"/>
                </a:cubicBezTo>
                <a:cubicBezTo>
                  <a:pt x="277" y="8"/>
                  <a:pt x="277" y="8"/>
                  <a:pt x="277" y="8"/>
                </a:cubicBezTo>
                <a:cubicBezTo>
                  <a:pt x="278" y="7"/>
                  <a:pt x="278" y="7"/>
                  <a:pt x="278" y="7"/>
                </a:cubicBezTo>
                <a:cubicBezTo>
                  <a:pt x="279" y="6"/>
                  <a:pt x="279" y="6"/>
                  <a:pt x="279" y="6"/>
                </a:cubicBezTo>
                <a:cubicBezTo>
                  <a:pt x="281" y="7"/>
                  <a:pt x="281" y="7"/>
                  <a:pt x="281" y="7"/>
                </a:cubicBezTo>
                <a:cubicBezTo>
                  <a:pt x="282" y="7"/>
                  <a:pt x="282" y="7"/>
                  <a:pt x="282" y="7"/>
                </a:cubicBezTo>
                <a:cubicBezTo>
                  <a:pt x="284" y="6"/>
                  <a:pt x="284" y="6"/>
                  <a:pt x="284" y="6"/>
                </a:cubicBezTo>
                <a:cubicBezTo>
                  <a:pt x="285" y="5"/>
                  <a:pt x="285" y="5"/>
                  <a:pt x="285" y="5"/>
                </a:cubicBezTo>
                <a:cubicBezTo>
                  <a:pt x="285" y="5"/>
                  <a:pt x="285" y="5"/>
                  <a:pt x="285" y="5"/>
                </a:cubicBezTo>
                <a:cubicBezTo>
                  <a:pt x="285" y="4"/>
                  <a:pt x="285" y="4"/>
                  <a:pt x="285" y="4"/>
                </a:cubicBezTo>
                <a:cubicBezTo>
                  <a:pt x="285" y="4"/>
                  <a:pt x="285" y="4"/>
                  <a:pt x="285" y="4"/>
                </a:cubicBezTo>
                <a:cubicBezTo>
                  <a:pt x="284" y="3"/>
                  <a:pt x="284" y="3"/>
                  <a:pt x="284" y="3"/>
                </a:cubicBezTo>
                <a:cubicBezTo>
                  <a:pt x="283" y="3"/>
                  <a:pt x="283" y="3"/>
                  <a:pt x="283" y="3"/>
                </a:cubicBezTo>
                <a:cubicBezTo>
                  <a:pt x="283" y="2"/>
                  <a:pt x="283" y="2"/>
                  <a:pt x="283" y="2"/>
                </a:cubicBezTo>
                <a:cubicBezTo>
                  <a:pt x="282" y="1"/>
                  <a:pt x="282" y="1"/>
                  <a:pt x="282" y="1"/>
                </a:cubicBezTo>
                <a:cubicBezTo>
                  <a:pt x="282" y="1"/>
                  <a:pt x="282" y="1"/>
                  <a:pt x="282" y="1"/>
                </a:cubicBezTo>
                <a:cubicBezTo>
                  <a:pt x="282" y="1"/>
                  <a:pt x="282" y="1"/>
                  <a:pt x="282" y="1"/>
                </a:cubicBezTo>
                <a:cubicBezTo>
                  <a:pt x="283" y="0"/>
                  <a:pt x="283" y="0"/>
                  <a:pt x="283" y="0"/>
                </a:cubicBezTo>
                <a:cubicBezTo>
                  <a:pt x="283" y="0"/>
                  <a:pt x="283" y="0"/>
                  <a:pt x="283" y="0"/>
                </a:cubicBezTo>
                <a:cubicBezTo>
                  <a:pt x="283" y="0"/>
                  <a:pt x="283" y="0"/>
                  <a:pt x="283" y="0"/>
                </a:cubicBezTo>
                <a:cubicBezTo>
                  <a:pt x="280" y="1"/>
                  <a:pt x="280" y="1"/>
                  <a:pt x="280" y="1"/>
                </a:cubicBezTo>
                <a:cubicBezTo>
                  <a:pt x="280" y="2"/>
                  <a:pt x="280" y="2"/>
                  <a:pt x="280" y="2"/>
                </a:cubicBezTo>
                <a:cubicBezTo>
                  <a:pt x="278" y="2"/>
                  <a:pt x="278" y="2"/>
                  <a:pt x="278" y="2"/>
                </a:cubicBezTo>
                <a:cubicBezTo>
                  <a:pt x="277" y="2"/>
                  <a:pt x="277" y="2"/>
                  <a:pt x="277" y="2"/>
                </a:cubicBezTo>
                <a:cubicBezTo>
                  <a:pt x="274" y="5"/>
                  <a:pt x="274" y="5"/>
                  <a:pt x="274" y="5"/>
                </a:cubicBezTo>
                <a:cubicBezTo>
                  <a:pt x="272" y="5"/>
                  <a:pt x="272" y="5"/>
                  <a:pt x="272" y="5"/>
                </a:cubicBezTo>
                <a:cubicBezTo>
                  <a:pt x="270" y="5"/>
                  <a:pt x="270" y="5"/>
                  <a:pt x="270" y="5"/>
                </a:cubicBezTo>
                <a:cubicBezTo>
                  <a:pt x="268" y="4"/>
                  <a:pt x="268" y="4"/>
                  <a:pt x="268" y="4"/>
                </a:cubicBezTo>
                <a:cubicBezTo>
                  <a:pt x="267" y="4"/>
                  <a:pt x="267" y="4"/>
                  <a:pt x="267" y="4"/>
                </a:cubicBezTo>
                <a:cubicBezTo>
                  <a:pt x="267" y="4"/>
                  <a:pt x="267" y="4"/>
                  <a:pt x="267" y="4"/>
                </a:cubicBezTo>
                <a:cubicBezTo>
                  <a:pt x="266" y="4"/>
                  <a:pt x="266" y="4"/>
                  <a:pt x="266" y="4"/>
                </a:cubicBezTo>
                <a:cubicBezTo>
                  <a:pt x="265" y="3"/>
                  <a:pt x="265" y="3"/>
                  <a:pt x="265" y="3"/>
                </a:cubicBezTo>
                <a:cubicBezTo>
                  <a:pt x="264" y="4"/>
                  <a:pt x="264" y="4"/>
                  <a:pt x="264" y="4"/>
                </a:cubicBezTo>
                <a:cubicBezTo>
                  <a:pt x="264" y="5"/>
                  <a:pt x="264" y="5"/>
                  <a:pt x="264" y="5"/>
                </a:cubicBezTo>
                <a:cubicBezTo>
                  <a:pt x="263" y="5"/>
                  <a:pt x="263" y="5"/>
                  <a:pt x="263" y="5"/>
                </a:cubicBezTo>
                <a:cubicBezTo>
                  <a:pt x="263" y="4"/>
                  <a:pt x="263" y="4"/>
                  <a:pt x="263" y="4"/>
                </a:cubicBezTo>
                <a:cubicBezTo>
                  <a:pt x="263" y="3"/>
                  <a:pt x="263" y="3"/>
                  <a:pt x="263" y="3"/>
                </a:cubicBezTo>
                <a:cubicBezTo>
                  <a:pt x="264" y="3"/>
                  <a:pt x="264" y="3"/>
                  <a:pt x="264" y="3"/>
                </a:cubicBezTo>
                <a:cubicBezTo>
                  <a:pt x="263" y="2"/>
                  <a:pt x="263" y="2"/>
                  <a:pt x="263" y="2"/>
                </a:cubicBezTo>
                <a:cubicBezTo>
                  <a:pt x="262" y="3"/>
                  <a:pt x="262" y="3"/>
                  <a:pt x="262" y="3"/>
                </a:cubicBezTo>
                <a:cubicBezTo>
                  <a:pt x="259" y="4"/>
                  <a:pt x="259" y="4"/>
                  <a:pt x="259" y="4"/>
                </a:cubicBezTo>
                <a:cubicBezTo>
                  <a:pt x="258" y="5"/>
                  <a:pt x="258" y="5"/>
                  <a:pt x="258" y="5"/>
                </a:cubicBezTo>
                <a:cubicBezTo>
                  <a:pt x="257" y="6"/>
                  <a:pt x="257" y="6"/>
                  <a:pt x="257" y="6"/>
                </a:cubicBezTo>
                <a:cubicBezTo>
                  <a:pt x="257" y="7"/>
                  <a:pt x="257" y="7"/>
                  <a:pt x="257" y="7"/>
                </a:cubicBezTo>
                <a:cubicBezTo>
                  <a:pt x="259" y="7"/>
                  <a:pt x="259" y="7"/>
                  <a:pt x="259" y="7"/>
                </a:cubicBezTo>
                <a:cubicBezTo>
                  <a:pt x="258" y="8"/>
                  <a:pt x="258" y="8"/>
                  <a:pt x="258" y="8"/>
                </a:cubicBezTo>
                <a:cubicBezTo>
                  <a:pt x="256" y="8"/>
                  <a:pt x="256" y="8"/>
                  <a:pt x="256" y="8"/>
                </a:cubicBezTo>
                <a:cubicBezTo>
                  <a:pt x="255" y="9"/>
                  <a:pt x="255" y="9"/>
                  <a:pt x="255" y="9"/>
                </a:cubicBezTo>
                <a:cubicBezTo>
                  <a:pt x="254" y="12"/>
                  <a:pt x="254" y="12"/>
                  <a:pt x="254" y="12"/>
                </a:cubicBezTo>
                <a:cubicBezTo>
                  <a:pt x="253" y="14"/>
                  <a:pt x="253" y="14"/>
                  <a:pt x="253" y="14"/>
                </a:cubicBezTo>
                <a:cubicBezTo>
                  <a:pt x="252" y="14"/>
                  <a:pt x="252" y="14"/>
                  <a:pt x="252" y="14"/>
                </a:cubicBezTo>
                <a:cubicBezTo>
                  <a:pt x="252" y="14"/>
                  <a:pt x="252" y="14"/>
                  <a:pt x="252" y="14"/>
                </a:cubicBezTo>
                <a:cubicBezTo>
                  <a:pt x="252" y="12"/>
                  <a:pt x="252" y="12"/>
                  <a:pt x="252" y="12"/>
                </a:cubicBezTo>
                <a:cubicBezTo>
                  <a:pt x="254" y="9"/>
                  <a:pt x="254" y="9"/>
                  <a:pt x="254" y="9"/>
                </a:cubicBezTo>
                <a:cubicBezTo>
                  <a:pt x="254" y="8"/>
                  <a:pt x="254" y="8"/>
                  <a:pt x="254" y="8"/>
                </a:cubicBezTo>
                <a:cubicBezTo>
                  <a:pt x="254" y="8"/>
                  <a:pt x="254" y="8"/>
                  <a:pt x="254" y="8"/>
                </a:cubicBezTo>
                <a:cubicBezTo>
                  <a:pt x="251" y="10"/>
                  <a:pt x="251" y="10"/>
                  <a:pt x="251" y="10"/>
                </a:cubicBezTo>
                <a:cubicBezTo>
                  <a:pt x="249" y="10"/>
                  <a:pt x="249" y="10"/>
                  <a:pt x="249" y="10"/>
                </a:cubicBezTo>
                <a:cubicBezTo>
                  <a:pt x="249" y="9"/>
                  <a:pt x="249" y="9"/>
                  <a:pt x="249" y="9"/>
                </a:cubicBezTo>
                <a:cubicBezTo>
                  <a:pt x="248" y="8"/>
                  <a:pt x="248" y="8"/>
                  <a:pt x="248" y="8"/>
                </a:cubicBezTo>
                <a:cubicBezTo>
                  <a:pt x="246" y="8"/>
                  <a:pt x="246" y="8"/>
                  <a:pt x="246" y="8"/>
                </a:cubicBezTo>
                <a:cubicBezTo>
                  <a:pt x="245" y="8"/>
                  <a:pt x="245" y="8"/>
                  <a:pt x="245" y="8"/>
                </a:cubicBezTo>
                <a:cubicBezTo>
                  <a:pt x="245" y="8"/>
                  <a:pt x="245" y="8"/>
                  <a:pt x="245" y="8"/>
                </a:cubicBezTo>
                <a:cubicBezTo>
                  <a:pt x="247" y="9"/>
                  <a:pt x="247" y="9"/>
                  <a:pt x="247" y="9"/>
                </a:cubicBezTo>
                <a:cubicBezTo>
                  <a:pt x="248" y="10"/>
                  <a:pt x="248" y="10"/>
                  <a:pt x="248" y="10"/>
                </a:cubicBezTo>
                <a:cubicBezTo>
                  <a:pt x="247" y="10"/>
                  <a:pt x="247" y="10"/>
                  <a:pt x="247" y="10"/>
                </a:cubicBezTo>
                <a:cubicBezTo>
                  <a:pt x="246" y="10"/>
                  <a:pt x="246" y="10"/>
                  <a:pt x="246" y="10"/>
                </a:cubicBezTo>
                <a:cubicBezTo>
                  <a:pt x="243" y="9"/>
                  <a:pt x="243" y="9"/>
                  <a:pt x="243" y="9"/>
                </a:cubicBezTo>
                <a:cubicBezTo>
                  <a:pt x="241" y="11"/>
                  <a:pt x="241" y="11"/>
                  <a:pt x="241" y="11"/>
                </a:cubicBezTo>
                <a:cubicBezTo>
                  <a:pt x="238" y="13"/>
                  <a:pt x="238" y="13"/>
                  <a:pt x="238" y="13"/>
                </a:cubicBezTo>
                <a:cubicBezTo>
                  <a:pt x="234" y="15"/>
                  <a:pt x="234" y="15"/>
                  <a:pt x="234" y="15"/>
                </a:cubicBezTo>
                <a:cubicBezTo>
                  <a:pt x="231" y="17"/>
                  <a:pt x="231" y="17"/>
                  <a:pt x="231" y="17"/>
                </a:cubicBezTo>
                <a:cubicBezTo>
                  <a:pt x="229" y="19"/>
                  <a:pt x="229" y="19"/>
                  <a:pt x="229" y="19"/>
                </a:cubicBezTo>
                <a:cubicBezTo>
                  <a:pt x="226" y="22"/>
                  <a:pt x="226" y="22"/>
                  <a:pt x="226" y="22"/>
                </a:cubicBezTo>
                <a:cubicBezTo>
                  <a:pt x="224" y="23"/>
                  <a:pt x="224" y="23"/>
                  <a:pt x="224" y="23"/>
                </a:cubicBezTo>
                <a:cubicBezTo>
                  <a:pt x="222" y="23"/>
                  <a:pt x="222" y="23"/>
                  <a:pt x="222" y="23"/>
                </a:cubicBezTo>
                <a:cubicBezTo>
                  <a:pt x="221" y="24"/>
                  <a:pt x="221" y="24"/>
                  <a:pt x="221" y="24"/>
                </a:cubicBezTo>
                <a:cubicBezTo>
                  <a:pt x="219" y="24"/>
                  <a:pt x="219" y="24"/>
                  <a:pt x="219" y="24"/>
                </a:cubicBezTo>
                <a:cubicBezTo>
                  <a:pt x="217" y="26"/>
                  <a:pt x="217" y="26"/>
                  <a:pt x="217" y="26"/>
                </a:cubicBezTo>
                <a:cubicBezTo>
                  <a:pt x="215" y="26"/>
                  <a:pt x="215" y="26"/>
                  <a:pt x="215" y="26"/>
                </a:cubicBezTo>
                <a:cubicBezTo>
                  <a:pt x="214" y="25"/>
                  <a:pt x="214" y="25"/>
                  <a:pt x="214" y="25"/>
                </a:cubicBezTo>
                <a:cubicBezTo>
                  <a:pt x="213" y="25"/>
                  <a:pt x="213" y="25"/>
                  <a:pt x="213" y="25"/>
                </a:cubicBezTo>
                <a:cubicBezTo>
                  <a:pt x="211" y="24"/>
                  <a:pt x="211" y="24"/>
                  <a:pt x="211" y="24"/>
                </a:cubicBezTo>
                <a:cubicBezTo>
                  <a:pt x="210" y="23"/>
                  <a:pt x="210" y="23"/>
                  <a:pt x="210" y="23"/>
                </a:cubicBezTo>
                <a:cubicBezTo>
                  <a:pt x="208" y="22"/>
                  <a:pt x="208" y="22"/>
                  <a:pt x="208" y="22"/>
                </a:cubicBezTo>
                <a:cubicBezTo>
                  <a:pt x="207" y="22"/>
                  <a:pt x="207" y="22"/>
                  <a:pt x="207" y="22"/>
                </a:cubicBezTo>
                <a:cubicBezTo>
                  <a:pt x="205" y="24"/>
                  <a:pt x="205" y="24"/>
                  <a:pt x="205" y="24"/>
                </a:cubicBezTo>
                <a:cubicBezTo>
                  <a:pt x="203" y="26"/>
                  <a:pt x="203" y="26"/>
                  <a:pt x="203" y="26"/>
                </a:cubicBezTo>
                <a:cubicBezTo>
                  <a:pt x="203" y="27"/>
                  <a:pt x="203" y="27"/>
                  <a:pt x="203" y="27"/>
                </a:cubicBezTo>
                <a:cubicBezTo>
                  <a:pt x="201" y="29"/>
                  <a:pt x="201" y="29"/>
                  <a:pt x="201" y="29"/>
                </a:cubicBezTo>
                <a:cubicBezTo>
                  <a:pt x="201" y="30"/>
                  <a:pt x="201" y="30"/>
                  <a:pt x="201" y="30"/>
                </a:cubicBezTo>
                <a:cubicBezTo>
                  <a:pt x="200" y="30"/>
                  <a:pt x="200" y="30"/>
                  <a:pt x="200" y="30"/>
                </a:cubicBezTo>
                <a:cubicBezTo>
                  <a:pt x="199" y="29"/>
                  <a:pt x="199" y="29"/>
                  <a:pt x="199" y="29"/>
                </a:cubicBezTo>
                <a:cubicBezTo>
                  <a:pt x="198" y="30"/>
                  <a:pt x="198" y="30"/>
                  <a:pt x="198" y="30"/>
                </a:cubicBezTo>
                <a:cubicBezTo>
                  <a:pt x="199" y="33"/>
                  <a:pt x="199" y="33"/>
                  <a:pt x="199" y="33"/>
                </a:cubicBezTo>
                <a:cubicBezTo>
                  <a:pt x="201" y="38"/>
                  <a:pt x="201" y="38"/>
                  <a:pt x="201" y="38"/>
                </a:cubicBezTo>
                <a:cubicBezTo>
                  <a:pt x="202" y="42"/>
                  <a:pt x="202" y="42"/>
                  <a:pt x="202" y="42"/>
                </a:cubicBezTo>
                <a:cubicBezTo>
                  <a:pt x="203" y="46"/>
                  <a:pt x="203" y="46"/>
                  <a:pt x="203" y="46"/>
                </a:cubicBezTo>
                <a:cubicBezTo>
                  <a:pt x="203" y="50"/>
                  <a:pt x="203" y="50"/>
                  <a:pt x="203" y="50"/>
                </a:cubicBezTo>
                <a:cubicBezTo>
                  <a:pt x="201" y="52"/>
                  <a:pt x="201" y="52"/>
                  <a:pt x="201" y="52"/>
                </a:cubicBezTo>
                <a:cubicBezTo>
                  <a:pt x="200" y="54"/>
                  <a:pt x="200" y="54"/>
                  <a:pt x="200" y="54"/>
                </a:cubicBezTo>
                <a:cubicBezTo>
                  <a:pt x="200" y="54"/>
                  <a:pt x="200" y="54"/>
                  <a:pt x="200" y="54"/>
                </a:cubicBezTo>
                <a:cubicBezTo>
                  <a:pt x="203" y="57"/>
                  <a:pt x="203" y="57"/>
                  <a:pt x="203" y="57"/>
                </a:cubicBezTo>
                <a:cubicBezTo>
                  <a:pt x="204" y="58"/>
                  <a:pt x="204" y="58"/>
                  <a:pt x="204" y="58"/>
                </a:cubicBezTo>
                <a:cubicBezTo>
                  <a:pt x="204" y="57"/>
                  <a:pt x="204" y="57"/>
                  <a:pt x="204" y="57"/>
                </a:cubicBezTo>
                <a:cubicBezTo>
                  <a:pt x="204" y="57"/>
                  <a:pt x="204" y="57"/>
                  <a:pt x="204" y="57"/>
                </a:cubicBezTo>
                <a:cubicBezTo>
                  <a:pt x="205" y="57"/>
                  <a:pt x="205" y="57"/>
                  <a:pt x="205" y="57"/>
                </a:cubicBezTo>
                <a:cubicBezTo>
                  <a:pt x="206" y="57"/>
                  <a:pt x="206" y="57"/>
                  <a:pt x="206" y="57"/>
                </a:cubicBezTo>
                <a:cubicBezTo>
                  <a:pt x="205" y="57"/>
                  <a:pt x="205" y="57"/>
                  <a:pt x="205" y="57"/>
                </a:cubicBezTo>
                <a:cubicBezTo>
                  <a:pt x="205" y="58"/>
                  <a:pt x="205" y="58"/>
                  <a:pt x="205" y="58"/>
                </a:cubicBezTo>
                <a:cubicBezTo>
                  <a:pt x="208" y="61"/>
                  <a:pt x="208" y="61"/>
                  <a:pt x="208" y="61"/>
                </a:cubicBezTo>
                <a:cubicBezTo>
                  <a:pt x="208" y="61"/>
                  <a:pt x="208" y="61"/>
                  <a:pt x="208" y="61"/>
                </a:cubicBezTo>
                <a:cubicBezTo>
                  <a:pt x="206" y="61"/>
                  <a:pt x="206" y="61"/>
                  <a:pt x="206" y="61"/>
                </a:cubicBezTo>
                <a:cubicBezTo>
                  <a:pt x="206" y="62"/>
                  <a:pt x="206" y="62"/>
                  <a:pt x="206" y="62"/>
                </a:cubicBezTo>
                <a:cubicBezTo>
                  <a:pt x="206" y="65"/>
                  <a:pt x="206" y="65"/>
                  <a:pt x="206" y="65"/>
                </a:cubicBezTo>
                <a:cubicBezTo>
                  <a:pt x="206" y="66"/>
                  <a:pt x="206" y="66"/>
                  <a:pt x="206" y="66"/>
                </a:cubicBezTo>
                <a:cubicBezTo>
                  <a:pt x="207" y="67"/>
                  <a:pt x="207" y="67"/>
                  <a:pt x="207" y="67"/>
                </a:cubicBezTo>
                <a:cubicBezTo>
                  <a:pt x="208" y="66"/>
                  <a:pt x="208" y="66"/>
                  <a:pt x="208" y="66"/>
                </a:cubicBezTo>
                <a:cubicBezTo>
                  <a:pt x="209" y="66"/>
                  <a:pt x="209" y="66"/>
                  <a:pt x="209" y="66"/>
                </a:cubicBezTo>
                <a:cubicBezTo>
                  <a:pt x="210" y="66"/>
                  <a:pt x="210" y="66"/>
                  <a:pt x="210" y="66"/>
                </a:cubicBezTo>
                <a:cubicBezTo>
                  <a:pt x="210" y="67"/>
                  <a:pt x="210" y="67"/>
                  <a:pt x="210" y="67"/>
                </a:cubicBezTo>
                <a:cubicBezTo>
                  <a:pt x="212" y="67"/>
                  <a:pt x="212" y="67"/>
                  <a:pt x="212" y="67"/>
                </a:cubicBezTo>
                <a:cubicBezTo>
                  <a:pt x="214" y="67"/>
                  <a:pt x="214" y="67"/>
                  <a:pt x="214" y="67"/>
                </a:cubicBezTo>
                <a:cubicBezTo>
                  <a:pt x="216" y="68"/>
                  <a:pt x="216" y="68"/>
                  <a:pt x="216" y="68"/>
                </a:cubicBezTo>
                <a:cubicBezTo>
                  <a:pt x="214" y="69"/>
                  <a:pt x="214" y="69"/>
                  <a:pt x="214" y="69"/>
                </a:cubicBezTo>
                <a:cubicBezTo>
                  <a:pt x="214" y="70"/>
                  <a:pt x="214" y="70"/>
                  <a:pt x="214" y="70"/>
                </a:cubicBezTo>
                <a:cubicBezTo>
                  <a:pt x="214" y="72"/>
                  <a:pt x="214" y="72"/>
                  <a:pt x="214" y="72"/>
                </a:cubicBezTo>
                <a:cubicBezTo>
                  <a:pt x="212" y="72"/>
                  <a:pt x="212" y="72"/>
                  <a:pt x="212" y="72"/>
                </a:cubicBezTo>
                <a:cubicBezTo>
                  <a:pt x="212" y="71"/>
                  <a:pt x="212" y="71"/>
                  <a:pt x="212" y="71"/>
                </a:cubicBezTo>
                <a:cubicBezTo>
                  <a:pt x="211" y="70"/>
                  <a:pt x="211" y="70"/>
                  <a:pt x="211" y="70"/>
                </a:cubicBezTo>
                <a:cubicBezTo>
                  <a:pt x="210" y="71"/>
                  <a:pt x="210" y="71"/>
                  <a:pt x="210" y="71"/>
                </a:cubicBezTo>
                <a:cubicBezTo>
                  <a:pt x="208" y="71"/>
                  <a:pt x="208" y="71"/>
                  <a:pt x="208" y="71"/>
                </a:cubicBezTo>
                <a:cubicBezTo>
                  <a:pt x="208" y="70"/>
                  <a:pt x="208" y="70"/>
                  <a:pt x="208" y="70"/>
                </a:cubicBezTo>
                <a:cubicBezTo>
                  <a:pt x="207" y="68"/>
                  <a:pt x="207" y="68"/>
                  <a:pt x="207" y="68"/>
                </a:cubicBezTo>
                <a:cubicBezTo>
                  <a:pt x="206" y="68"/>
                  <a:pt x="206" y="68"/>
                  <a:pt x="206" y="68"/>
                </a:cubicBezTo>
                <a:cubicBezTo>
                  <a:pt x="205" y="68"/>
                  <a:pt x="205" y="68"/>
                  <a:pt x="205" y="68"/>
                </a:cubicBezTo>
                <a:cubicBezTo>
                  <a:pt x="204" y="67"/>
                  <a:pt x="204" y="67"/>
                  <a:pt x="204" y="67"/>
                </a:cubicBezTo>
                <a:cubicBezTo>
                  <a:pt x="204" y="65"/>
                  <a:pt x="204" y="65"/>
                  <a:pt x="204" y="65"/>
                </a:cubicBezTo>
                <a:cubicBezTo>
                  <a:pt x="206" y="61"/>
                  <a:pt x="206" y="61"/>
                  <a:pt x="206" y="61"/>
                </a:cubicBezTo>
                <a:cubicBezTo>
                  <a:pt x="205" y="60"/>
                  <a:pt x="205" y="60"/>
                  <a:pt x="205" y="60"/>
                </a:cubicBezTo>
                <a:cubicBezTo>
                  <a:pt x="205" y="60"/>
                  <a:pt x="205" y="60"/>
                  <a:pt x="205" y="60"/>
                </a:cubicBezTo>
                <a:cubicBezTo>
                  <a:pt x="204" y="61"/>
                  <a:pt x="204" y="61"/>
                  <a:pt x="204" y="61"/>
                </a:cubicBezTo>
                <a:cubicBezTo>
                  <a:pt x="204" y="65"/>
                  <a:pt x="204" y="65"/>
                  <a:pt x="204" y="65"/>
                </a:cubicBezTo>
                <a:cubicBezTo>
                  <a:pt x="203" y="67"/>
                  <a:pt x="203" y="67"/>
                  <a:pt x="203" y="67"/>
                </a:cubicBezTo>
                <a:cubicBezTo>
                  <a:pt x="202" y="68"/>
                  <a:pt x="202" y="68"/>
                  <a:pt x="202" y="68"/>
                </a:cubicBezTo>
                <a:cubicBezTo>
                  <a:pt x="202" y="69"/>
                  <a:pt x="202" y="69"/>
                  <a:pt x="202" y="69"/>
                </a:cubicBezTo>
                <a:cubicBezTo>
                  <a:pt x="203" y="68"/>
                  <a:pt x="203" y="68"/>
                  <a:pt x="203" y="68"/>
                </a:cubicBezTo>
                <a:cubicBezTo>
                  <a:pt x="204" y="68"/>
                  <a:pt x="204" y="68"/>
                  <a:pt x="204" y="68"/>
                </a:cubicBezTo>
                <a:cubicBezTo>
                  <a:pt x="204" y="69"/>
                  <a:pt x="204" y="69"/>
                  <a:pt x="204" y="69"/>
                </a:cubicBezTo>
                <a:cubicBezTo>
                  <a:pt x="206" y="69"/>
                  <a:pt x="206" y="69"/>
                  <a:pt x="206" y="69"/>
                </a:cubicBezTo>
                <a:cubicBezTo>
                  <a:pt x="206" y="70"/>
                  <a:pt x="206" y="70"/>
                  <a:pt x="206" y="70"/>
                </a:cubicBezTo>
                <a:cubicBezTo>
                  <a:pt x="206" y="72"/>
                  <a:pt x="206" y="72"/>
                  <a:pt x="206" y="72"/>
                </a:cubicBezTo>
                <a:cubicBezTo>
                  <a:pt x="205" y="74"/>
                  <a:pt x="205" y="74"/>
                  <a:pt x="205" y="74"/>
                </a:cubicBezTo>
                <a:cubicBezTo>
                  <a:pt x="203" y="74"/>
                  <a:pt x="203" y="74"/>
                  <a:pt x="203" y="74"/>
                </a:cubicBezTo>
                <a:cubicBezTo>
                  <a:pt x="205" y="72"/>
                  <a:pt x="205" y="72"/>
                  <a:pt x="205" y="72"/>
                </a:cubicBezTo>
                <a:cubicBezTo>
                  <a:pt x="205" y="71"/>
                  <a:pt x="205" y="71"/>
                  <a:pt x="205" y="71"/>
                </a:cubicBezTo>
                <a:cubicBezTo>
                  <a:pt x="204" y="71"/>
                  <a:pt x="204" y="71"/>
                  <a:pt x="204" y="71"/>
                </a:cubicBezTo>
                <a:cubicBezTo>
                  <a:pt x="203" y="71"/>
                  <a:pt x="203" y="71"/>
                  <a:pt x="203" y="71"/>
                </a:cubicBezTo>
                <a:cubicBezTo>
                  <a:pt x="203" y="71"/>
                  <a:pt x="203" y="71"/>
                  <a:pt x="203" y="71"/>
                </a:cubicBezTo>
                <a:cubicBezTo>
                  <a:pt x="201" y="73"/>
                  <a:pt x="201" y="73"/>
                  <a:pt x="201" y="73"/>
                </a:cubicBezTo>
                <a:cubicBezTo>
                  <a:pt x="201" y="74"/>
                  <a:pt x="201" y="74"/>
                  <a:pt x="201" y="74"/>
                </a:cubicBezTo>
                <a:cubicBezTo>
                  <a:pt x="200" y="74"/>
                  <a:pt x="200" y="74"/>
                  <a:pt x="200" y="74"/>
                </a:cubicBezTo>
                <a:cubicBezTo>
                  <a:pt x="198" y="75"/>
                  <a:pt x="198" y="75"/>
                  <a:pt x="198" y="75"/>
                </a:cubicBezTo>
                <a:cubicBezTo>
                  <a:pt x="198" y="74"/>
                  <a:pt x="198" y="74"/>
                  <a:pt x="198" y="74"/>
                </a:cubicBezTo>
                <a:cubicBezTo>
                  <a:pt x="198" y="73"/>
                  <a:pt x="198" y="73"/>
                  <a:pt x="198" y="73"/>
                </a:cubicBezTo>
                <a:cubicBezTo>
                  <a:pt x="196" y="73"/>
                  <a:pt x="196" y="73"/>
                  <a:pt x="196" y="73"/>
                </a:cubicBezTo>
                <a:cubicBezTo>
                  <a:pt x="195" y="73"/>
                  <a:pt x="195" y="73"/>
                  <a:pt x="195" y="73"/>
                </a:cubicBezTo>
                <a:cubicBezTo>
                  <a:pt x="195" y="72"/>
                  <a:pt x="195" y="72"/>
                  <a:pt x="195" y="72"/>
                </a:cubicBezTo>
                <a:cubicBezTo>
                  <a:pt x="194" y="72"/>
                  <a:pt x="194" y="72"/>
                  <a:pt x="194" y="72"/>
                </a:cubicBezTo>
                <a:cubicBezTo>
                  <a:pt x="193" y="72"/>
                  <a:pt x="193" y="72"/>
                  <a:pt x="193" y="72"/>
                </a:cubicBezTo>
                <a:cubicBezTo>
                  <a:pt x="192" y="72"/>
                  <a:pt x="192" y="72"/>
                  <a:pt x="192" y="72"/>
                </a:cubicBezTo>
                <a:cubicBezTo>
                  <a:pt x="192" y="71"/>
                  <a:pt x="192" y="71"/>
                  <a:pt x="192" y="71"/>
                </a:cubicBezTo>
                <a:cubicBezTo>
                  <a:pt x="191" y="70"/>
                  <a:pt x="191" y="70"/>
                  <a:pt x="191" y="70"/>
                </a:cubicBezTo>
                <a:cubicBezTo>
                  <a:pt x="191" y="71"/>
                  <a:pt x="191" y="71"/>
                  <a:pt x="191" y="71"/>
                </a:cubicBezTo>
                <a:cubicBezTo>
                  <a:pt x="190" y="71"/>
                  <a:pt x="190" y="71"/>
                  <a:pt x="190" y="71"/>
                </a:cubicBezTo>
                <a:cubicBezTo>
                  <a:pt x="190" y="69"/>
                  <a:pt x="190" y="69"/>
                  <a:pt x="190" y="69"/>
                </a:cubicBezTo>
                <a:cubicBezTo>
                  <a:pt x="189" y="68"/>
                  <a:pt x="189" y="68"/>
                  <a:pt x="189" y="68"/>
                </a:cubicBezTo>
                <a:cubicBezTo>
                  <a:pt x="189" y="67"/>
                  <a:pt x="189" y="67"/>
                  <a:pt x="189" y="67"/>
                </a:cubicBezTo>
                <a:cubicBezTo>
                  <a:pt x="191" y="67"/>
                  <a:pt x="191" y="67"/>
                  <a:pt x="191" y="67"/>
                </a:cubicBezTo>
                <a:cubicBezTo>
                  <a:pt x="192" y="65"/>
                  <a:pt x="192" y="65"/>
                  <a:pt x="192" y="65"/>
                </a:cubicBezTo>
                <a:cubicBezTo>
                  <a:pt x="193" y="65"/>
                  <a:pt x="193" y="65"/>
                  <a:pt x="193" y="65"/>
                </a:cubicBezTo>
                <a:cubicBezTo>
                  <a:pt x="193" y="64"/>
                  <a:pt x="193" y="64"/>
                  <a:pt x="193" y="64"/>
                </a:cubicBezTo>
                <a:cubicBezTo>
                  <a:pt x="193" y="63"/>
                  <a:pt x="193" y="63"/>
                  <a:pt x="193" y="63"/>
                </a:cubicBezTo>
                <a:cubicBezTo>
                  <a:pt x="192" y="62"/>
                  <a:pt x="192" y="62"/>
                  <a:pt x="192" y="62"/>
                </a:cubicBezTo>
                <a:cubicBezTo>
                  <a:pt x="191" y="61"/>
                  <a:pt x="191" y="61"/>
                  <a:pt x="191" y="61"/>
                </a:cubicBezTo>
                <a:cubicBezTo>
                  <a:pt x="189" y="61"/>
                  <a:pt x="189" y="61"/>
                  <a:pt x="189" y="61"/>
                </a:cubicBezTo>
                <a:cubicBezTo>
                  <a:pt x="187" y="62"/>
                  <a:pt x="187" y="62"/>
                  <a:pt x="187" y="62"/>
                </a:cubicBezTo>
                <a:cubicBezTo>
                  <a:pt x="186" y="62"/>
                  <a:pt x="186" y="62"/>
                  <a:pt x="186" y="62"/>
                </a:cubicBezTo>
                <a:cubicBezTo>
                  <a:pt x="185" y="62"/>
                  <a:pt x="185" y="62"/>
                  <a:pt x="185" y="62"/>
                </a:cubicBezTo>
                <a:cubicBezTo>
                  <a:pt x="184" y="62"/>
                  <a:pt x="184" y="62"/>
                  <a:pt x="184" y="62"/>
                </a:cubicBezTo>
                <a:cubicBezTo>
                  <a:pt x="180" y="63"/>
                  <a:pt x="180" y="63"/>
                  <a:pt x="180" y="63"/>
                </a:cubicBezTo>
                <a:cubicBezTo>
                  <a:pt x="180" y="64"/>
                  <a:pt x="180" y="64"/>
                  <a:pt x="180" y="64"/>
                </a:cubicBezTo>
                <a:cubicBezTo>
                  <a:pt x="181" y="64"/>
                  <a:pt x="181" y="64"/>
                  <a:pt x="181" y="64"/>
                </a:cubicBezTo>
                <a:cubicBezTo>
                  <a:pt x="182" y="66"/>
                  <a:pt x="182" y="66"/>
                  <a:pt x="182" y="66"/>
                </a:cubicBezTo>
                <a:cubicBezTo>
                  <a:pt x="182" y="66"/>
                  <a:pt x="182" y="66"/>
                  <a:pt x="182" y="66"/>
                </a:cubicBezTo>
                <a:cubicBezTo>
                  <a:pt x="181" y="66"/>
                  <a:pt x="181" y="66"/>
                  <a:pt x="181" y="66"/>
                </a:cubicBezTo>
                <a:cubicBezTo>
                  <a:pt x="180" y="66"/>
                  <a:pt x="180" y="66"/>
                  <a:pt x="180" y="66"/>
                </a:cubicBezTo>
                <a:cubicBezTo>
                  <a:pt x="179" y="65"/>
                  <a:pt x="179" y="65"/>
                  <a:pt x="179" y="65"/>
                </a:cubicBezTo>
                <a:cubicBezTo>
                  <a:pt x="178" y="65"/>
                  <a:pt x="178" y="65"/>
                  <a:pt x="178" y="65"/>
                </a:cubicBezTo>
                <a:cubicBezTo>
                  <a:pt x="176" y="64"/>
                  <a:pt x="176" y="64"/>
                  <a:pt x="176" y="64"/>
                </a:cubicBezTo>
                <a:cubicBezTo>
                  <a:pt x="174" y="65"/>
                  <a:pt x="174" y="65"/>
                  <a:pt x="174" y="65"/>
                </a:cubicBezTo>
                <a:cubicBezTo>
                  <a:pt x="173" y="66"/>
                  <a:pt x="173" y="66"/>
                  <a:pt x="173" y="66"/>
                </a:cubicBezTo>
                <a:cubicBezTo>
                  <a:pt x="173" y="66"/>
                  <a:pt x="173" y="66"/>
                  <a:pt x="173" y="66"/>
                </a:cubicBezTo>
                <a:cubicBezTo>
                  <a:pt x="171" y="66"/>
                  <a:pt x="171" y="66"/>
                  <a:pt x="171" y="66"/>
                </a:cubicBezTo>
                <a:cubicBezTo>
                  <a:pt x="171" y="66"/>
                  <a:pt x="171" y="66"/>
                  <a:pt x="171" y="66"/>
                </a:cubicBezTo>
                <a:cubicBezTo>
                  <a:pt x="170" y="66"/>
                  <a:pt x="170" y="66"/>
                  <a:pt x="170" y="66"/>
                </a:cubicBezTo>
                <a:cubicBezTo>
                  <a:pt x="168" y="67"/>
                  <a:pt x="168" y="67"/>
                  <a:pt x="168" y="67"/>
                </a:cubicBezTo>
                <a:cubicBezTo>
                  <a:pt x="168" y="68"/>
                  <a:pt x="168" y="68"/>
                  <a:pt x="168" y="68"/>
                </a:cubicBezTo>
                <a:cubicBezTo>
                  <a:pt x="167" y="68"/>
                  <a:pt x="167" y="68"/>
                  <a:pt x="167" y="68"/>
                </a:cubicBezTo>
                <a:cubicBezTo>
                  <a:pt x="166" y="69"/>
                  <a:pt x="166" y="69"/>
                  <a:pt x="166" y="69"/>
                </a:cubicBezTo>
                <a:cubicBezTo>
                  <a:pt x="164" y="70"/>
                  <a:pt x="164" y="70"/>
                  <a:pt x="164" y="70"/>
                </a:cubicBezTo>
                <a:cubicBezTo>
                  <a:pt x="163" y="70"/>
                  <a:pt x="163" y="70"/>
                  <a:pt x="163" y="70"/>
                </a:cubicBezTo>
                <a:cubicBezTo>
                  <a:pt x="164" y="69"/>
                  <a:pt x="164" y="69"/>
                  <a:pt x="164" y="69"/>
                </a:cubicBezTo>
                <a:cubicBezTo>
                  <a:pt x="164" y="69"/>
                  <a:pt x="164" y="69"/>
                  <a:pt x="164" y="69"/>
                </a:cubicBezTo>
                <a:cubicBezTo>
                  <a:pt x="163" y="69"/>
                  <a:pt x="163" y="69"/>
                  <a:pt x="163" y="69"/>
                </a:cubicBezTo>
                <a:cubicBezTo>
                  <a:pt x="162" y="70"/>
                  <a:pt x="162" y="70"/>
                  <a:pt x="162" y="70"/>
                </a:cubicBezTo>
                <a:cubicBezTo>
                  <a:pt x="162" y="71"/>
                  <a:pt x="162" y="71"/>
                  <a:pt x="162" y="71"/>
                </a:cubicBezTo>
                <a:cubicBezTo>
                  <a:pt x="164" y="73"/>
                  <a:pt x="164" y="73"/>
                  <a:pt x="164" y="73"/>
                </a:cubicBezTo>
                <a:cubicBezTo>
                  <a:pt x="165" y="76"/>
                  <a:pt x="165" y="76"/>
                  <a:pt x="165" y="76"/>
                </a:cubicBezTo>
                <a:cubicBezTo>
                  <a:pt x="167" y="76"/>
                  <a:pt x="167" y="76"/>
                  <a:pt x="167" y="76"/>
                </a:cubicBezTo>
                <a:cubicBezTo>
                  <a:pt x="168" y="78"/>
                  <a:pt x="168" y="78"/>
                  <a:pt x="168" y="78"/>
                </a:cubicBezTo>
                <a:cubicBezTo>
                  <a:pt x="170" y="79"/>
                  <a:pt x="170" y="79"/>
                  <a:pt x="170" y="79"/>
                </a:cubicBezTo>
                <a:cubicBezTo>
                  <a:pt x="170" y="80"/>
                  <a:pt x="170" y="80"/>
                  <a:pt x="170" y="80"/>
                </a:cubicBezTo>
                <a:cubicBezTo>
                  <a:pt x="172" y="80"/>
                  <a:pt x="172" y="80"/>
                  <a:pt x="172" y="80"/>
                </a:cubicBezTo>
                <a:cubicBezTo>
                  <a:pt x="173" y="81"/>
                  <a:pt x="173" y="81"/>
                  <a:pt x="173" y="81"/>
                </a:cubicBezTo>
                <a:cubicBezTo>
                  <a:pt x="173" y="82"/>
                  <a:pt x="173" y="82"/>
                  <a:pt x="173" y="82"/>
                </a:cubicBezTo>
                <a:cubicBezTo>
                  <a:pt x="170" y="82"/>
                  <a:pt x="170" y="82"/>
                  <a:pt x="170" y="82"/>
                </a:cubicBezTo>
                <a:cubicBezTo>
                  <a:pt x="170" y="80"/>
                  <a:pt x="170" y="80"/>
                  <a:pt x="170" y="80"/>
                </a:cubicBezTo>
                <a:cubicBezTo>
                  <a:pt x="169" y="79"/>
                  <a:pt x="169" y="79"/>
                  <a:pt x="169" y="79"/>
                </a:cubicBezTo>
                <a:cubicBezTo>
                  <a:pt x="168" y="79"/>
                  <a:pt x="168" y="79"/>
                  <a:pt x="168" y="79"/>
                </a:cubicBezTo>
                <a:cubicBezTo>
                  <a:pt x="167" y="79"/>
                  <a:pt x="167" y="79"/>
                  <a:pt x="167" y="79"/>
                </a:cubicBezTo>
                <a:cubicBezTo>
                  <a:pt x="166" y="80"/>
                  <a:pt x="166" y="80"/>
                  <a:pt x="166" y="80"/>
                </a:cubicBezTo>
                <a:cubicBezTo>
                  <a:pt x="165" y="80"/>
                  <a:pt x="165" y="80"/>
                  <a:pt x="165" y="80"/>
                </a:cubicBezTo>
                <a:cubicBezTo>
                  <a:pt x="164" y="79"/>
                  <a:pt x="164" y="79"/>
                  <a:pt x="164" y="79"/>
                </a:cubicBezTo>
                <a:cubicBezTo>
                  <a:pt x="165" y="78"/>
                  <a:pt x="165" y="78"/>
                  <a:pt x="165" y="78"/>
                </a:cubicBezTo>
                <a:cubicBezTo>
                  <a:pt x="165" y="77"/>
                  <a:pt x="165" y="77"/>
                  <a:pt x="165" y="77"/>
                </a:cubicBezTo>
                <a:cubicBezTo>
                  <a:pt x="164" y="77"/>
                  <a:pt x="164" y="77"/>
                  <a:pt x="164" y="77"/>
                </a:cubicBezTo>
                <a:cubicBezTo>
                  <a:pt x="163" y="79"/>
                  <a:pt x="163" y="79"/>
                  <a:pt x="163" y="79"/>
                </a:cubicBezTo>
                <a:cubicBezTo>
                  <a:pt x="164" y="81"/>
                  <a:pt x="164" y="81"/>
                  <a:pt x="164" y="81"/>
                </a:cubicBezTo>
                <a:cubicBezTo>
                  <a:pt x="164" y="82"/>
                  <a:pt x="164" y="82"/>
                  <a:pt x="164" y="82"/>
                </a:cubicBezTo>
                <a:cubicBezTo>
                  <a:pt x="164" y="83"/>
                  <a:pt x="164" y="83"/>
                  <a:pt x="164" y="83"/>
                </a:cubicBezTo>
                <a:cubicBezTo>
                  <a:pt x="163" y="84"/>
                  <a:pt x="163" y="84"/>
                  <a:pt x="163" y="84"/>
                </a:cubicBezTo>
                <a:cubicBezTo>
                  <a:pt x="162" y="85"/>
                  <a:pt x="162" y="85"/>
                  <a:pt x="162" y="85"/>
                </a:cubicBezTo>
                <a:cubicBezTo>
                  <a:pt x="161" y="87"/>
                  <a:pt x="161" y="87"/>
                  <a:pt x="161" y="87"/>
                </a:cubicBezTo>
                <a:cubicBezTo>
                  <a:pt x="162" y="89"/>
                  <a:pt x="162" y="89"/>
                  <a:pt x="162" y="89"/>
                </a:cubicBezTo>
                <a:cubicBezTo>
                  <a:pt x="164" y="91"/>
                  <a:pt x="164" y="91"/>
                  <a:pt x="164" y="91"/>
                </a:cubicBezTo>
                <a:cubicBezTo>
                  <a:pt x="166" y="92"/>
                  <a:pt x="166" y="92"/>
                  <a:pt x="166" y="92"/>
                </a:cubicBezTo>
                <a:cubicBezTo>
                  <a:pt x="167" y="94"/>
                  <a:pt x="167" y="94"/>
                  <a:pt x="167" y="94"/>
                </a:cubicBezTo>
                <a:cubicBezTo>
                  <a:pt x="168" y="94"/>
                  <a:pt x="168" y="94"/>
                  <a:pt x="168" y="94"/>
                </a:cubicBezTo>
                <a:cubicBezTo>
                  <a:pt x="170" y="93"/>
                  <a:pt x="170" y="93"/>
                  <a:pt x="170" y="93"/>
                </a:cubicBezTo>
                <a:cubicBezTo>
                  <a:pt x="171" y="92"/>
                  <a:pt x="171" y="92"/>
                  <a:pt x="171" y="92"/>
                </a:cubicBezTo>
                <a:cubicBezTo>
                  <a:pt x="173" y="93"/>
                  <a:pt x="173" y="93"/>
                  <a:pt x="173" y="93"/>
                </a:cubicBezTo>
                <a:cubicBezTo>
                  <a:pt x="176" y="93"/>
                  <a:pt x="176" y="93"/>
                  <a:pt x="176" y="93"/>
                </a:cubicBezTo>
                <a:cubicBezTo>
                  <a:pt x="177" y="94"/>
                  <a:pt x="177" y="94"/>
                  <a:pt x="177" y="94"/>
                </a:cubicBezTo>
                <a:cubicBezTo>
                  <a:pt x="177" y="95"/>
                  <a:pt x="177" y="95"/>
                  <a:pt x="177" y="95"/>
                </a:cubicBezTo>
                <a:cubicBezTo>
                  <a:pt x="178" y="96"/>
                  <a:pt x="178" y="96"/>
                  <a:pt x="178" y="96"/>
                </a:cubicBezTo>
                <a:cubicBezTo>
                  <a:pt x="178" y="95"/>
                  <a:pt x="178" y="95"/>
                  <a:pt x="178" y="95"/>
                </a:cubicBezTo>
                <a:cubicBezTo>
                  <a:pt x="178" y="93"/>
                  <a:pt x="178" y="93"/>
                  <a:pt x="178" y="93"/>
                </a:cubicBezTo>
                <a:cubicBezTo>
                  <a:pt x="179" y="93"/>
                  <a:pt x="179" y="93"/>
                  <a:pt x="179" y="93"/>
                </a:cubicBezTo>
                <a:cubicBezTo>
                  <a:pt x="180" y="93"/>
                  <a:pt x="180" y="93"/>
                  <a:pt x="180" y="93"/>
                </a:cubicBezTo>
                <a:cubicBezTo>
                  <a:pt x="180" y="94"/>
                  <a:pt x="180" y="94"/>
                  <a:pt x="180" y="94"/>
                </a:cubicBezTo>
                <a:cubicBezTo>
                  <a:pt x="179" y="95"/>
                  <a:pt x="179" y="95"/>
                  <a:pt x="179" y="95"/>
                </a:cubicBezTo>
                <a:cubicBezTo>
                  <a:pt x="179" y="97"/>
                  <a:pt x="179" y="97"/>
                  <a:pt x="179" y="97"/>
                </a:cubicBezTo>
                <a:cubicBezTo>
                  <a:pt x="179" y="97"/>
                  <a:pt x="179" y="97"/>
                  <a:pt x="179" y="97"/>
                </a:cubicBezTo>
                <a:cubicBezTo>
                  <a:pt x="181" y="95"/>
                  <a:pt x="181" y="95"/>
                  <a:pt x="181" y="95"/>
                </a:cubicBezTo>
                <a:cubicBezTo>
                  <a:pt x="181" y="95"/>
                  <a:pt x="181" y="95"/>
                  <a:pt x="181" y="95"/>
                </a:cubicBezTo>
                <a:cubicBezTo>
                  <a:pt x="183" y="94"/>
                  <a:pt x="183" y="94"/>
                  <a:pt x="183" y="94"/>
                </a:cubicBezTo>
                <a:cubicBezTo>
                  <a:pt x="186" y="93"/>
                  <a:pt x="186" y="93"/>
                  <a:pt x="186" y="93"/>
                </a:cubicBezTo>
                <a:cubicBezTo>
                  <a:pt x="188" y="92"/>
                  <a:pt x="188" y="92"/>
                  <a:pt x="188" y="92"/>
                </a:cubicBezTo>
                <a:cubicBezTo>
                  <a:pt x="189" y="91"/>
                  <a:pt x="189" y="91"/>
                  <a:pt x="189" y="91"/>
                </a:cubicBezTo>
                <a:cubicBezTo>
                  <a:pt x="189" y="91"/>
                  <a:pt x="189" y="91"/>
                  <a:pt x="189" y="91"/>
                </a:cubicBezTo>
                <a:cubicBezTo>
                  <a:pt x="189" y="92"/>
                  <a:pt x="189" y="92"/>
                  <a:pt x="189" y="92"/>
                </a:cubicBezTo>
                <a:cubicBezTo>
                  <a:pt x="190" y="92"/>
                  <a:pt x="190" y="92"/>
                  <a:pt x="190" y="92"/>
                </a:cubicBezTo>
                <a:cubicBezTo>
                  <a:pt x="192" y="91"/>
                  <a:pt x="192" y="91"/>
                  <a:pt x="192" y="91"/>
                </a:cubicBezTo>
                <a:cubicBezTo>
                  <a:pt x="194" y="91"/>
                  <a:pt x="194" y="91"/>
                  <a:pt x="194" y="91"/>
                </a:cubicBezTo>
                <a:cubicBezTo>
                  <a:pt x="194" y="90"/>
                  <a:pt x="194" y="90"/>
                  <a:pt x="194" y="90"/>
                </a:cubicBezTo>
                <a:cubicBezTo>
                  <a:pt x="194" y="91"/>
                  <a:pt x="194" y="91"/>
                  <a:pt x="194" y="91"/>
                </a:cubicBezTo>
                <a:cubicBezTo>
                  <a:pt x="192" y="92"/>
                  <a:pt x="192" y="92"/>
                  <a:pt x="192" y="92"/>
                </a:cubicBezTo>
                <a:cubicBezTo>
                  <a:pt x="193" y="93"/>
                  <a:pt x="193" y="93"/>
                  <a:pt x="193" y="93"/>
                </a:cubicBezTo>
                <a:cubicBezTo>
                  <a:pt x="193" y="93"/>
                  <a:pt x="193" y="93"/>
                  <a:pt x="193" y="93"/>
                </a:cubicBezTo>
                <a:cubicBezTo>
                  <a:pt x="192" y="95"/>
                  <a:pt x="192" y="95"/>
                  <a:pt x="192" y="95"/>
                </a:cubicBezTo>
                <a:cubicBezTo>
                  <a:pt x="190" y="95"/>
                  <a:pt x="190" y="95"/>
                  <a:pt x="190" y="95"/>
                </a:cubicBezTo>
                <a:cubicBezTo>
                  <a:pt x="190" y="95"/>
                  <a:pt x="190" y="95"/>
                  <a:pt x="190" y="95"/>
                </a:cubicBezTo>
                <a:cubicBezTo>
                  <a:pt x="189" y="95"/>
                  <a:pt x="189" y="95"/>
                  <a:pt x="189" y="95"/>
                </a:cubicBezTo>
                <a:cubicBezTo>
                  <a:pt x="187" y="96"/>
                  <a:pt x="187" y="96"/>
                  <a:pt x="187" y="96"/>
                </a:cubicBezTo>
                <a:cubicBezTo>
                  <a:pt x="187" y="96"/>
                  <a:pt x="187" y="96"/>
                  <a:pt x="187" y="96"/>
                </a:cubicBezTo>
                <a:cubicBezTo>
                  <a:pt x="189" y="96"/>
                  <a:pt x="189" y="96"/>
                  <a:pt x="189" y="96"/>
                </a:cubicBezTo>
                <a:cubicBezTo>
                  <a:pt x="190" y="97"/>
                  <a:pt x="190" y="97"/>
                  <a:pt x="190" y="97"/>
                </a:cubicBezTo>
                <a:cubicBezTo>
                  <a:pt x="189" y="99"/>
                  <a:pt x="189" y="99"/>
                  <a:pt x="189" y="99"/>
                </a:cubicBezTo>
                <a:cubicBezTo>
                  <a:pt x="187" y="101"/>
                  <a:pt x="187" y="101"/>
                  <a:pt x="187" y="101"/>
                </a:cubicBezTo>
                <a:cubicBezTo>
                  <a:pt x="187" y="103"/>
                  <a:pt x="187" y="103"/>
                  <a:pt x="187" y="103"/>
                </a:cubicBezTo>
                <a:cubicBezTo>
                  <a:pt x="186" y="104"/>
                  <a:pt x="186" y="104"/>
                  <a:pt x="186" y="104"/>
                </a:cubicBezTo>
                <a:cubicBezTo>
                  <a:pt x="186" y="104"/>
                  <a:pt x="186" y="104"/>
                  <a:pt x="186" y="104"/>
                </a:cubicBezTo>
                <a:cubicBezTo>
                  <a:pt x="186" y="105"/>
                  <a:pt x="186" y="105"/>
                  <a:pt x="186" y="105"/>
                </a:cubicBezTo>
                <a:cubicBezTo>
                  <a:pt x="187" y="106"/>
                  <a:pt x="187" y="106"/>
                  <a:pt x="187" y="106"/>
                </a:cubicBezTo>
                <a:cubicBezTo>
                  <a:pt x="186" y="107"/>
                  <a:pt x="186" y="107"/>
                  <a:pt x="186" y="107"/>
                </a:cubicBezTo>
                <a:cubicBezTo>
                  <a:pt x="185" y="109"/>
                  <a:pt x="185" y="109"/>
                  <a:pt x="185" y="109"/>
                </a:cubicBezTo>
                <a:cubicBezTo>
                  <a:pt x="184" y="110"/>
                  <a:pt x="184" y="110"/>
                  <a:pt x="184" y="110"/>
                </a:cubicBezTo>
                <a:cubicBezTo>
                  <a:pt x="183" y="109"/>
                  <a:pt x="183" y="109"/>
                  <a:pt x="183" y="109"/>
                </a:cubicBezTo>
                <a:cubicBezTo>
                  <a:pt x="182" y="110"/>
                  <a:pt x="182" y="110"/>
                  <a:pt x="182" y="110"/>
                </a:cubicBezTo>
                <a:cubicBezTo>
                  <a:pt x="181" y="111"/>
                  <a:pt x="181" y="111"/>
                  <a:pt x="181" y="111"/>
                </a:cubicBezTo>
                <a:cubicBezTo>
                  <a:pt x="180" y="111"/>
                  <a:pt x="180" y="111"/>
                  <a:pt x="180" y="111"/>
                </a:cubicBezTo>
                <a:cubicBezTo>
                  <a:pt x="178" y="111"/>
                  <a:pt x="178" y="111"/>
                  <a:pt x="178" y="111"/>
                </a:cubicBezTo>
                <a:cubicBezTo>
                  <a:pt x="177" y="110"/>
                  <a:pt x="177" y="110"/>
                  <a:pt x="177" y="110"/>
                </a:cubicBezTo>
                <a:cubicBezTo>
                  <a:pt x="176" y="110"/>
                  <a:pt x="176" y="110"/>
                  <a:pt x="176" y="110"/>
                </a:cubicBezTo>
                <a:cubicBezTo>
                  <a:pt x="176" y="110"/>
                  <a:pt x="176" y="110"/>
                  <a:pt x="176" y="110"/>
                </a:cubicBezTo>
                <a:cubicBezTo>
                  <a:pt x="175" y="109"/>
                  <a:pt x="175" y="109"/>
                  <a:pt x="175" y="109"/>
                </a:cubicBezTo>
                <a:cubicBezTo>
                  <a:pt x="174" y="109"/>
                  <a:pt x="174" y="109"/>
                  <a:pt x="174" y="109"/>
                </a:cubicBezTo>
                <a:cubicBezTo>
                  <a:pt x="173" y="110"/>
                  <a:pt x="173" y="110"/>
                  <a:pt x="173" y="110"/>
                </a:cubicBezTo>
                <a:cubicBezTo>
                  <a:pt x="172" y="111"/>
                  <a:pt x="172" y="111"/>
                  <a:pt x="172" y="111"/>
                </a:cubicBezTo>
                <a:cubicBezTo>
                  <a:pt x="171" y="113"/>
                  <a:pt x="171" y="113"/>
                  <a:pt x="171" y="113"/>
                </a:cubicBezTo>
                <a:cubicBezTo>
                  <a:pt x="168" y="113"/>
                  <a:pt x="168" y="113"/>
                  <a:pt x="168" y="113"/>
                </a:cubicBezTo>
                <a:cubicBezTo>
                  <a:pt x="167" y="114"/>
                  <a:pt x="167" y="114"/>
                  <a:pt x="167" y="114"/>
                </a:cubicBezTo>
                <a:cubicBezTo>
                  <a:pt x="166" y="114"/>
                  <a:pt x="166" y="114"/>
                  <a:pt x="166" y="114"/>
                </a:cubicBezTo>
                <a:cubicBezTo>
                  <a:pt x="165" y="114"/>
                  <a:pt x="165" y="114"/>
                  <a:pt x="165" y="114"/>
                </a:cubicBezTo>
                <a:cubicBezTo>
                  <a:pt x="163" y="114"/>
                  <a:pt x="163" y="114"/>
                  <a:pt x="163" y="114"/>
                </a:cubicBezTo>
                <a:cubicBezTo>
                  <a:pt x="162" y="115"/>
                  <a:pt x="162" y="115"/>
                  <a:pt x="162" y="115"/>
                </a:cubicBezTo>
                <a:cubicBezTo>
                  <a:pt x="160" y="115"/>
                  <a:pt x="160" y="115"/>
                  <a:pt x="160" y="115"/>
                </a:cubicBezTo>
                <a:cubicBezTo>
                  <a:pt x="159" y="116"/>
                  <a:pt x="159" y="116"/>
                  <a:pt x="159" y="116"/>
                </a:cubicBezTo>
                <a:cubicBezTo>
                  <a:pt x="159" y="117"/>
                  <a:pt x="159" y="117"/>
                  <a:pt x="159" y="117"/>
                </a:cubicBezTo>
                <a:cubicBezTo>
                  <a:pt x="158" y="119"/>
                  <a:pt x="158" y="119"/>
                  <a:pt x="158" y="119"/>
                </a:cubicBezTo>
                <a:cubicBezTo>
                  <a:pt x="158" y="120"/>
                  <a:pt x="158" y="120"/>
                  <a:pt x="158" y="120"/>
                </a:cubicBezTo>
                <a:cubicBezTo>
                  <a:pt x="157" y="120"/>
                  <a:pt x="157" y="120"/>
                  <a:pt x="157" y="120"/>
                </a:cubicBezTo>
                <a:cubicBezTo>
                  <a:pt x="156" y="118"/>
                  <a:pt x="156" y="118"/>
                  <a:pt x="156" y="118"/>
                </a:cubicBezTo>
                <a:cubicBezTo>
                  <a:pt x="154" y="118"/>
                  <a:pt x="154" y="118"/>
                  <a:pt x="154" y="118"/>
                </a:cubicBezTo>
                <a:cubicBezTo>
                  <a:pt x="153" y="118"/>
                  <a:pt x="153" y="118"/>
                  <a:pt x="153" y="118"/>
                </a:cubicBezTo>
                <a:cubicBezTo>
                  <a:pt x="154" y="119"/>
                  <a:pt x="154" y="119"/>
                  <a:pt x="154" y="119"/>
                </a:cubicBezTo>
                <a:cubicBezTo>
                  <a:pt x="154" y="120"/>
                  <a:pt x="154" y="120"/>
                  <a:pt x="154" y="120"/>
                </a:cubicBezTo>
                <a:cubicBezTo>
                  <a:pt x="154" y="121"/>
                  <a:pt x="154" y="121"/>
                  <a:pt x="154" y="121"/>
                </a:cubicBezTo>
                <a:cubicBezTo>
                  <a:pt x="153" y="121"/>
                  <a:pt x="153" y="121"/>
                  <a:pt x="153" y="121"/>
                </a:cubicBezTo>
                <a:cubicBezTo>
                  <a:pt x="153" y="120"/>
                  <a:pt x="153" y="120"/>
                  <a:pt x="153" y="120"/>
                </a:cubicBezTo>
                <a:cubicBezTo>
                  <a:pt x="152" y="118"/>
                  <a:pt x="152" y="118"/>
                  <a:pt x="152" y="118"/>
                </a:cubicBezTo>
                <a:cubicBezTo>
                  <a:pt x="151" y="119"/>
                  <a:pt x="151" y="119"/>
                  <a:pt x="151" y="119"/>
                </a:cubicBezTo>
                <a:cubicBezTo>
                  <a:pt x="149" y="120"/>
                  <a:pt x="149" y="120"/>
                  <a:pt x="149" y="120"/>
                </a:cubicBezTo>
                <a:cubicBezTo>
                  <a:pt x="149" y="122"/>
                  <a:pt x="149" y="122"/>
                  <a:pt x="149" y="122"/>
                </a:cubicBezTo>
                <a:cubicBezTo>
                  <a:pt x="148" y="122"/>
                  <a:pt x="148" y="122"/>
                  <a:pt x="148" y="122"/>
                </a:cubicBezTo>
                <a:cubicBezTo>
                  <a:pt x="147" y="122"/>
                  <a:pt x="147" y="122"/>
                  <a:pt x="147" y="122"/>
                </a:cubicBezTo>
                <a:cubicBezTo>
                  <a:pt x="144" y="125"/>
                  <a:pt x="144" y="125"/>
                  <a:pt x="144" y="125"/>
                </a:cubicBezTo>
                <a:cubicBezTo>
                  <a:pt x="144" y="127"/>
                  <a:pt x="144" y="127"/>
                  <a:pt x="144" y="127"/>
                </a:cubicBezTo>
                <a:cubicBezTo>
                  <a:pt x="143" y="127"/>
                  <a:pt x="143" y="127"/>
                  <a:pt x="143" y="127"/>
                </a:cubicBezTo>
                <a:cubicBezTo>
                  <a:pt x="142" y="127"/>
                  <a:pt x="142" y="127"/>
                  <a:pt x="142" y="127"/>
                </a:cubicBezTo>
                <a:cubicBezTo>
                  <a:pt x="141" y="127"/>
                  <a:pt x="141" y="127"/>
                  <a:pt x="141" y="127"/>
                </a:cubicBezTo>
                <a:cubicBezTo>
                  <a:pt x="140" y="127"/>
                  <a:pt x="140" y="127"/>
                  <a:pt x="140" y="127"/>
                </a:cubicBezTo>
                <a:cubicBezTo>
                  <a:pt x="142" y="129"/>
                  <a:pt x="142" y="129"/>
                  <a:pt x="142" y="129"/>
                </a:cubicBezTo>
                <a:cubicBezTo>
                  <a:pt x="141" y="130"/>
                  <a:pt x="141" y="130"/>
                  <a:pt x="141" y="130"/>
                </a:cubicBezTo>
                <a:cubicBezTo>
                  <a:pt x="141" y="130"/>
                  <a:pt x="141" y="130"/>
                  <a:pt x="141" y="130"/>
                </a:cubicBezTo>
                <a:cubicBezTo>
                  <a:pt x="140" y="129"/>
                  <a:pt x="140" y="129"/>
                  <a:pt x="140" y="129"/>
                </a:cubicBezTo>
                <a:cubicBezTo>
                  <a:pt x="139" y="129"/>
                  <a:pt x="139" y="129"/>
                  <a:pt x="139" y="129"/>
                </a:cubicBezTo>
                <a:cubicBezTo>
                  <a:pt x="139" y="130"/>
                  <a:pt x="139" y="130"/>
                  <a:pt x="139" y="130"/>
                </a:cubicBezTo>
                <a:cubicBezTo>
                  <a:pt x="137" y="132"/>
                  <a:pt x="137" y="132"/>
                  <a:pt x="137" y="132"/>
                </a:cubicBezTo>
                <a:cubicBezTo>
                  <a:pt x="137" y="132"/>
                  <a:pt x="137" y="132"/>
                  <a:pt x="137" y="132"/>
                </a:cubicBezTo>
                <a:cubicBezTo>
                  <a:pt x="138" y="134"/>
                  <a:pt x="138" y="134"/>
                  <a:pt x="138" y="134"/>
                </a:cubicBezTo>
                <a:cubicBezTo>
                  <a:pt x="139" y="136"/>
                  <a:pt x="139" y="136"/>
                  <a:pt x="139" y="136"/>
                </a:cubicBezTo>
                <a:cubicBezTo>
                  <a:pt x="138" y="137"/>
                  <a:pt x="138" y="137"/>
                  <a:pt x="138" y="137"/>
                </a:cubicBezTo>
                <a:cubicBezTo>
                  <a:pt x="138" y="138"/>
                  <a:pt x="138" y="138"/>
                  <a:pt x="138" y="138"/>
                </a:cubicBezTo>
                <a:cubicBezTo>
                  <a:pt x="138" y="139"/>
                  <a:pt x="138" y="139"/>
                  <a:pt x="138" y="139"/>
                </a:cubicBezTo>
                <a:cubicBezTo>
                  <a:pt x="139" y="139"/>
                  <a:pt x="139" y="139"/>
                  <a:pt x="139" y="139"/>
                </a:cubicBezTo>
                <a:cubicBezTo>
                  <a:pt x="140" y="138"/>
                  <a:pt x="140" y="138"/>
                  <a:pt x="140" y="138"/>
                </a:cubicBezTo>
                <a:cubicBezTo>
                  <a:pt x="140" y="138"/>
                  <a:pt x="140" y="138"/>
                  <a:pt x="140" y="138"/>
                </a:cubicBezTo>
                <a:cubicBezTo>
                  <a:pt x="140" y="140"/>
                  <a:pt x="140" y="140"/>
                  <a:pt x="140" y="140"/>
                </a:cubicBezTo>
                <a:cubicBezTo>
                  <a:pt x="139" y="140"/>
                  <a:pt x="139" y="140"/>
                  <a:pt x="139" y="140"/>
                </a:cubicBezTo>
                <a:cubicBezTo>
                  <a:pt x="139" y="141"/>
                  <a:pt x="139" y="141"/>
                  <a:pt x="139" y="141"/>
                </a:cubicBezTo>
                <a:cubicBezTo>
                  <a:pt x="139" y="141"/>
                  <a:pt x="139" y="141"/>
                  <a:pt x="139" y="141"/>
                </a:cubicBezTo>
                <a:cubicBezTo>
                  <a:pt x="140" y="141"/>
                  <a:pt x="140" y="141"/>
                  <a:pt x="140" y="141"/>
                </a:cubicBezTo>
                <a:cubicBezTo>
                  <a:pt x="141" y="141"/>
                  <a:pt x="141" y="141"/>
                  <a:pt x="141" y="141"/>
                </a:cubicBezTo>
                <a:cubicBezTo>
                  <a:pt x="142" y="141"/>
                  <a:pt x="142" y="141"/>
                  <a:pt x="142" y="141"/>
                </a:cubicBezTo>
                <a:cubicBezTo>
                  <a:pt x="142" y="141"/>
                  <a:pt x="142" y="141"/>
                  <a:pt x="142" y="141"/>
                </a:cubicBezTo>
                <a:cubicBezTo>
                  <a:pt x="142" y="142"/>
                  <a:pt x="142" y="142"/>
                  <a:pt x="142" y="142"/>
                </a:cubicBezTo>
                <a:cubicBezTo>
                  <a:pt x="143" y="142"/>
                  <a:pt x="143" y="142"/>
                  <a:pt x="143" y="142"/>
                </a:cubicBezTo>
                <a:cubicBezTo>
                  <a:pt x="144" y="143"/>
                  <a:pt x="144" y="143"/>
                  <a:pt x="144" y="143"/>
                </a:cubicBezTo>
                <a:cubicBezTo>
                  <a:pt x="146" y="143"/>
                  <a:pt x="146" y="143"/>
                  <a:pt x="146" y="143"/>
                </a:cubicBezTo>
                <a:cubicBezTo>
                  <a:pt x="147" y="142"/>
                  <a:pt x="147" y="142"/>
                  <a:pt x="147" y="142"/>
                </a:cubicBezTo>
                <a:cubicBezTo>
                  <a:pt x="147" y="140"/>
                  <a:pt x="147" y="140"/>
                  <a:pt x="147" y="140"/>
                </a:cubicBezTo>
                <a:cubicBezTo>
                  <a:pt x="148" y="139"/>
                  <a:pt x="148" y="139"/>
                  <a:pt x="148" y="139"/>
                </a:cubicBezTo>
                <a:cubicBezTo>
                  <a:pt x="150" y="139"/>
                  <a:pt x="150" y="139"/>
                  <a:pt x="150" y="139"/>
                </a:cubicBezTo>
                <a:cubicBezTo>
                  <a:pt x="151" y="138"/>
                  <a:pt x="151" y="138"/>
                  <a:pt x="151" y="138"/>
                </a:cubicBezTo>
                <a:cubicBezTo>
                  <a:pt x="150" y="139"/>
                  <a:pt x="150" y="139"/>
                  <a:pt x="150" y="139"/>
                </a:cubicBezTo>
                <a:cubicBezTo>
                  <a:pt x="149" y="139"/>
                  <a:pt x="149" y="139"/>
                  <a:pt x="149" y="139"/>
                </a:cubicBezTo>
                <a:cubicBezTo>
                  <a:pt x="147" y="141"/>
                  <a:pt x="147" y="141"/>
                  <a:pt x="147" y="141"/>
                </a:cubicBezTo>
                <a:cubicBezTo>
                  <a:pt x="147" y="143"/>
                  <a:pt x="147" y="143"/>
                  <a:pt x="147" y="143"/>
                </a:cubicBezTo>
                <a:cubicBezTo>
                  <a:pt x="146" y="143"/>
                  <a:pt x="146" y="143"/>
                  <a:pt x="146" y="143"/>
                </a:cubicBezTo>
                <a:cubicBezTo>
                  <a:pt x="147" y="145"/>
                  <a:pt x="147" y="145"/>
                  <a:pt x="147" y="145"/>
                </a:cubicBezTo>
                <a:cubicBezTo>
                  <a:pt x="147" y="146"/>
                  <a:pt x="147" y="146"/>
                  <a:pt x="147" y="146"/>
                </a:cubicBezTo>
                <a:cubicBezTo>
                  <a:pt x="146" y="146"/>
                  <a:pt x="146" y="146"/>
                  <a:pt x="146" y="146"/>
                </a:cubicBezTo>
                <a:cubicBezTo>
                  <a:pt x="145" y="145"/>
                  <a:pt x="145" y="145"/>
                  <a:pt x="145" y="145"/>
                </a:cubicBezTo>
                <a:cubicBezTo>
                  <a:pt x="145" y="145"/>
                  <a:pt x="145" y="145"/>
                  <a:pt x="145" y="145"/>
                </a:cubicBezTo>
                <a:cubicBezTo>
                  <a:pt x="145" y="144"/>
                  <a:pt x="145" y="144"/>
                  <a:pt x="145" y="144"/>
                </a:cubicBezTo>
                <a:cubicBezTo>
                  <a:pt x="144" y="144"/>
                  <a:pt x="144" y="144"/>
                  <a:pt x="144" y="144"/>
                </a:cubicBezTo>
                <a:cubicBezTo>
                  <a:pt x="143" y="143"/>
                  <a:pt x="143" y="143"/>
                  <a:pt x="143" y="143"/>
                </a:cubicBezTo>
                <a:cubicBezTo>
                  <a:pt x="141" y="143"/>
                  <a:pt x="141" y="143"/>
                  <a:pt x="141" y="143"/>
                </a:cubicBezTo>
                <a:cubicBezTo>
                  <a:pt x="141" y="142"/>
                  <a:pt x="141" y="142"/>
                  <a:pt x="141" y="142"/>
                </a:cubicBezTo>
                <a:cubicBezTo>
                  <a:pt x="140" y="143"/>
                  <a:pt x="140" y="143"/>
                  <a:pt x="140" y="143"/>
                </a:cubicBezTo>
                <a:cubicBezTo>
                  <a:pt x="139" y="143"/>
                  <a:pt x="139" y="143"/>
                  <a:pt x="139" y="143"/>
                </a:cubicBezTo>
                <a:cubicBezTo>
                  <a:pt x="138" y="144"/>
                  <a:pt x="138" y="144"/>
                  <a:pt x="138" y="144"/>
                </a:cubicBezTo>
                <a:cubicBezTo>
                  <a:pt x="137" y="145"/>
                  <a:pt x="137" y="145"/>
                  <a:pt x="137" y="145"/>
                </a:cubicBezTo>
                <a:cubicBezTo>
                  <a:pt x="136" y="144"/>
                  <a:pt x="136" y="144"/>
                  <a:pt x="136" y="144"/>
                </a:cubicBezTo>
                <a:cubicBezTo>
                  <a:pt x="136" y="145"/>
                  <a:pt x="136" y="145"/>
                  <a:pt x="136" y="145"/>
                </a:cubicBezTo>
                <a:cubicBezTo>
                  <a:pt x="136" y="146"/>
                  <a:pt x="136" y="146"/>
                  <a:pt x="136" y="146"/>
                </a:cubicBezTo>
                <a:cubicBezTo>
                  <a:pt x="137" y="146"/>
                  <a:pt x="137" y="146"/>
                  <a:pt x="137" y="146"/>
                </a:cubicBezTo>
                <a:cubicBezTo>
                  <a:pt x="136" y="147"/>
                  <a:pt x="136" y="147"/>
                  <a:pt x="136" y="147"/>
                </a:cubicBezTo>
                <a:cubicBezTo>
                  <a:pt x="136" y="149"/>
                  <a:pt x="136" y="149"/>
                  <a:pt x="136" y="149"/>
                </a:cubicBezTo>
                <a:cubicBezTo>
                  <a:pt x="136" y="150"/>
                  <a:pt x="136" y="150"/>
                  <a:pt x="136" y="150"/>
                </a:cubicBezTo>
                <a:cubicBezTo>
                  <a:pt x="137" y="150"/>
                  <a:pt x="137" y="150"/>
                  <a:pt x="137" y="150"/>
                </a:cubicBezTo>
                <a:cubicBezTo>
                  <a:pt x="137" y="152"/>
                  <a:pt x="137" y="152"/>
                  <a:pt x="137" y="152"/>
                </a:cubicBezTo>
                <a:cubicBezTo>
                  <a:pt x="138" y="153"/>
                  <a:pt x="138" y="153"/>
                  <a:pt x="138" y="153"/>
                </a:cubicBezTo>
                <a:cubicBezTo>
                  <a:pt x="138" y="154"/>
                  <a:pt x="138" y="154"/>
                  <a:pt x="138" y="154"/>
                </a:cubicBezTo>
                <a:cubicBezTo>
                  <a:pt x="139" y="155"/>
                  <a:pt x="139" y="155"/>
                  <a:pt x="139" y="155"/>
                </a:cubicBezTo>
                <a:cubicBezTo>
                  <a:pt x="139" y="155"/>
                  <a:pt x="139" y="155"/>
                  <a:pt x="139" y="155"/>
                </a:cubicBezTo>
                <a:cubicBezTo>
                  <a:pt x="137" y="155"/>
                  <a:pt x="137" y="155"/>
                  <a:pt x="137" y="155"/>
                </a:cubicBezTo>
                <a:cubicBezTo>
                  <a:pt x="137" y="156"/>
                  <a:pt x="137" y="156"/>
                  <a:pt x="137" y="156"/>
                </a:cubicBezTo>
                <a:cubicBezTo>
                  <a:pt x="141" y="158"/>
                  <a:pt x="141" y="158"/>
                  <a:pt x="141" y="158"/>
                </a:cubicBezTo>
                <a:cubicBezTo>
                  <a:pt x="143" y="158"/>
                  <a:pt x="143" y="158"/>
                  <a:pt x="143" y="158"/>
                </a:cubicBezTo>
                <a:cubicBezTo>
                  <a:pt x="145" y="157"/>
                  <a:pt x="145" y="157"/>
                  <a:pt x="145" y="157"/>
                </a:cubicBezTo>
                <a:cubicBezTo>
                  <a:pt x="146" y="157"/>
                  <a:pt x="146" y="157"/>
                  <a:pt x="146" y="157"/>
                </a:cubicBezTo>
                <a:cubicBezTo>
                  <a:pt x="146" y="157"/>
                  <a:pt x="146" y="157"/>
                  <a:pt x="146" y="157"/>
                </a:cubicBezTo>
                <a:cubicBezTo>
                  <a:pt x="147" y="157"/>
                  <a:pt x="147" y="157"/>
                  <a:pt x="147" y="157"/>
                </a:cubicBezTo>
                <a:cubicBezTo>
                  <a:pt x="149" y="155"/>
                  <a:pt x="149" y="155"/>
                  <a:pt x="149" y="155"/>
                </a:cubicBezTo>
                <a:cubicBezTo>
                  <a:pt x="149" y="154"/>
                  <a:pt x="149" y="154"/>
                  <a:pt x="149" y="154"/>
                </a:cubicBezTo>
                <a:cubicBezTo>
                  <a:pt x="148" y="153"/>
                  <a:pt x="148" y="153"/>
                  <a:pt x="148" y="153"/>
                </a:cubicBezTo>
                <a:cubicBezTo>
                  <a:pt x="148" y="152"/>
                  <a:pt x="148" y="152"/>
                  <a:pt x="148" y="152"/>
                </a:cubicBezTo>
                <a:cubicBezTo>
                  <a:pt x="150" y="152"/>
                  <a:pt x="150" y="152"/>
                  <a:pt x="150" y="152"/>
                </a:cubicBezTo>
                <a:cubicBezTo>
                  <a:pt x="152" y="150"/>
                  <a:pt x="152" y="150"/>
                  <a:pt x="152" y="150"/>
                </a:cubicBezTo>
                <a:cubicBezTo>
                  <a:pt x="154" y="148"/>
                  <a:pt x="154" y="148"/>
                  <a:pt x="154" y="148"/>
                </a:cubicBezTo>
                <a:cubicBezTo>
                  <a:pt x="155" y="149"/>
                  <a:pt x="155" y="149"/>
                  <a:pt x="155" y="149"/>
                </a:cubicBezTo>
                <a:cubicBezTo>
                  <a:pt x="154" y="149"/>
                  <a:pt x="154" y="149"/>
                  <a:pt x="154" y="149"/>
                </a:cubicBezTo>
                <a:cubicBezTo>
                  <a:pt x="152" y="151"/>
                  <a:pt x="152" y="151"/>
                  <a:pt x="152" y="151"/>
                </a:cubicBezTo>
                <a:cubicBezTo>
                  <a:pt x="150" y="152"/>
                  <a:pt x="150" y="152"/>
                  <a:pt x="150" y="152"/>
                </a:cubicBezTo>
                <a:cubicBezTo>
                  <a:pt x="150" y="153"/>
                  <a:pt x="150" y="153"/>
                  <a:pt x="150" y="153"/>
                </a:cubicBezTo>
                <a:cubicBezTo>
                  <a:pt x="151" y="154"/>
                  <a:pt x="151" y="154"/>
                  <a:pt x="151" y="154"/>
                </a:cubicBezTo>
                <a:cubicBezTo>
                  <a:pt x="151" y="155"/>
                  <a:pt x="151" y="155"/>
                  <a:pt x="151" y="155"/>
                </a:cubicBezTo>
                <a:cubicBezTo>
                  <a:pt x="150" y="156"/>
                  <a:pt x="150" y="156"/>
                  <a:pt x="150" y="156"/>
                </a:cubicBezTo>
                <a:cubicBezTo>
                  <a:pt x="149" y="157"/>
                  <a:pt x="149" y="157"/>
                  <a:pt x="149" y="157"/>
                </a:cubicBezTo>
                <a:cubicBezTo>
                  <a:pt x="148" y="159"/>
                  <a:pt x="148" y="159"/>
                  <a:pt x="148" y="159"/>
                </a:cubicBezTo>
                <a:cubicBezTo>
                  <a:pt x="149" y="160"/>
                  <a:pt x="149" y="160"/>
                  <a:pt x="149" y="160"/>
                </a:cubicBezTo>
                <a:cubicBezTo>
                  <a:pt x="148" y="161"/>
                  <a:pt x="148" y="161"/>
                  <a:pt x="148" y="161"/>
                </a:cubicBezTo>
                <a:cubicBezTo>
                  <a:pt x="148" y="162"/>
                  <a:pt x="148" y="162"/>
                  <a:pt x="148" y="162"/>
                </a:cubicBezTo>
                <a:cubicBezTo>
                  <a:pt x="148" y="163"/>
                  <a:pt x="148" y="163"/>
                  <a:pt x="148" y="163"/>
                </a:cubicBezTo>
                <a:cubicBezTo>
                  <a:pt x="148" y="164"/>
                  <a:pt x="148" y="164"/>
                  <a:pt x="148" y="164"/>
                </a:cubicBezTo>
                <a:cubicBezTo>
                  <a:pt x="147" y="165"/>
                  <a:pt x="147" y="165"/>
                  <a:pt x="147" y="165"/>
                </a:cubicBezTo>
                <a:cubicBezTo>
                  <a:pt x="146" y="166"/>
                  <a:pt x="146" y="166"/>
                  <a:pt x="146" y="166"/>
                </a:cubicBezTo>
                <a:cubicBezTo>
                  <a:pt x="146" y="167"/>
                  <a:pt x="146" y="167"/>
                  <a:pt x="146" y="167"/>
                </a:cubicBezTo>
                <a:cubicBezTo>
                  <a:pt x="145" y="166"/>
                  <a:pt x="145" y="166"/>
                  <a:pt x="145" y="166"/>
                </a:cubicBezTo>
                <a:cubicBezTo>
                  <a:pt x="145" y="167"/>
                  <a:pt x="145" y="167"/>
                  <a:pt x="145" y="167"/>
                </a:cubicBezTo>
                <a:cubicBezTo>
                  <a:pt x="145" y="168"/>
                  <a:pt x="145" y="168"/>
                  <a:pt x="145" y="168"/>
                </a:cubicBezTo>
                <a:cubicBezTo>
                  <a:pt x="145" y="169"/>
                  <a:pt x="145" y="169"/>
                  <a:pt x="145" y="169"/>
                </a:cubicBezTo>
                <a:cubicBezTo>
                  <a:pt x="146" y="170"/>
                  <a:pt x="146" y="170"/>
                  <a:pt x="146" y="170"/>
                </a:cubicBezTo>
                <a:cubicBezTo>
                  <a:pt x="147" y="169"/>
                  <a:pt x="147" y="169"/>
                  <a:pt x="147" y="169"/>
                </a:cubicBezTo>
                <a:cubicBezTo>
                  <a:pt x="148" y="169"/>
                  <a:pt x="148" y="169"/>
                  <a:pt x="148" y="169"/>
                </a:cubicBezTo>
                <a:cubicBezTo>
                  <a:pt x="148" y="170"/>
                  <a:pt x="148" y="170"/>
                  <a:pt x="148" y="170"/>
                </a:cubicBezTo>
                <a:cubicBezTo>
                  <a:pt x="147" y="171"/>
                  <a:pt x="147" y="171"/>
                  <a:pt x="147" y="171"/>
                </a:cubicBezTo>
                <a:cubicBezTo>
                  <a:pt x="146" y="171"/>
                  <a:pt x="146" y="171"/>
                  <a:pt x="146" y="171"/>
                </a:cubicBezTo>
                <a:cubicBezTo>
                  <a:pt x="145" y="171"/>
                  <a:pt x="145" y="171"/>
                  <a:pt x="145" y="171"/>
                </a:cubicBezTo>
                <a:cubicBezTo>
                  <a:pt x="146" y="172"/>
                  <a:pt x="146" y="172"/>
                  <a:pt x="146" y="172"/>
                </a:cubicBezTo>
                <a:cubicBezTo>
                  <a:pt x="145" y="172"/>
                  <a:pt x="145" y="172"/>
                  <a:pt x="145" y="172"/>
                </a:cubicBezTo>
                <a:cubicBezTo>
                  <a:pt x="146" y="173"/>
                  <a:pt x="146" y="173"/>
                  <a:pt x="146" y="173"/>
                </a:cubicBezTo>
                <a:cubicBezTo>
                  <a:pt x="145" y="174"/>
                  <a:pt x="145" y="174"/>
                  <a:pt x="145" y="174"/>
                </a:cubicBezTo>
                <a:cubicBezTo>
                  <a:pt x="144" y="174"/>
                  <a:pt x="144" y="174"/>
                  <a:pt x="144" y="174"/>
                </a:cubicBezTo>
                <a:cubicBezTo>
                  <a:pt x="143" y="175"/>
                  <a:pt x="143" y="175"/>
                  <a:pt x="143" y="175"/>
                </a:cubicBezTo>
                <a:cubicBezTo>
                  <a:pt x="142" y="174"/>
                  <a:pt x="142" y="174"/>
                  <a:pt x="142" y="174"/>
                </a:cubicBezTo>
                <a:cubicBezTo>
                  <a:pt x="142" y="175"/>
                  <a:pt x="142" y="175"/>
                  <a:pt x="142" y="175"/>
                </a:cubicBezTo>
                <a:cubicBezTo>
                  <a:pt x="142" y="175"/>
                  <a:pt x="142" y="175"/>
                  <a:pt x="142" y="175"/>
                </a:cubicBezTo>
                <a:cubicBezTo>
                  <a:pt x="144" y="175"/>
                  <a:pt x="144" y="175"/>
                  <a:pt x="144" y="175"/>
                </a:cubicBezTo>
                <a:cubicBezTo>
                  <a:pt x="144" y="176"/>
                  <a:pt x="144" y="176"/>
                  <a:pt x="144" y="176"/>
                </a:cubicBezTo>
                <a:cubicBezTo>
                  <a:pt x="146" y="175"/>
                  <a:pt x="146" y="175"/>
                  <a:pt x="146" y="175"/>
                </a:cubicBezTo>
                <a:cubicBezTo>
                  <a:pt x="148" y="173"/>
                  <a:pt x="148" y="173"/>
                  <a:pt x="148" y="173"/>
                </a:cubicBezTo>
                <a:cubicBezTo>
                  <a:pt x="149" y="173"/>
                  <a:pt x="149" y="173"/>
                  <a:pt x="149" y="173"/>
                </a:cubicBezTo>
                <a:cubicBezTo>
                  <a:pt x="150" y="173"/>
                  <a:pt x="150" y="173"/>
                  <a:pt x="150" y="173"/>
                </a:cubicBezTo>
                <a:cubicBezTo>
                  <a:pt x="151" y="172"/>
                  <a:pt x="151" y="172"/>
                  <a:pt x="151" y="172"/>
                </a:cubicBezTo>
                <a:cubicBezTo>
                  <a:pt x="153" y="172"/>
                  <a:pt x="153" y="172"/>
                  <a:pt x="153" y="172"/>
                </a:cubicBezTo>
                <a:cubicBezTo>
                  <a:pt x="152" y="173"/>
                  <a:pt x="152" y="173"/>
                  <a:pt x="152" y="173"/>
                </a:cubicBezTo>
                <a:cubicBezTo>
                  <a:pt x="151" y="173"/>
                  <a:pt x="151" y="173"/>
                  <a:pt x="151" y="173"/>
                </a:cubicBezTo>
                <a:cubicBezTo>
                  <a:pt x="151" y="174"/>
                  <a:pt x="151" y="174"/>
                  <a:pt x="151" y="174"/>
                </a:cubicBezTo>
                <a:cubicBezTo>
                  <a:pt x="152" y="174"/>
                  <a:pt x="152" y="174"/>
                  <a:pt x="152" y="174"/>
                </a:cubicBezTo>
                <a:cubicBezTo>
                  <a:pt x="153" y="175"/>
                  <a:pt x="153" y="175"/>
                  <a:pt x="153" y="175"/>
                </a:cubicBezTo>
                <a:cubicBezTo>
                  <a:pt x="152" y="176"/>
                  <a:pt x="152" y="176"/>
                  <a:pt x="152" y="176"/>
                </a:cubicBezTo>
                <a:cubicBezTo>
                  <a:pt x="153" y="176"/>
                  <a:pt x="153" y="176"/>
                  <a:pt x="153" y="176"/>
                </a:cubicBezTo>
                <a:cubicBezTo>
                  <a:pt x="154" y="176"/>
                  <a:pt x="154" y="176"/>
                  <a:pt x="154" y="176"/>
                </a:cubicBezTo>
                <a:cubicBezTo>
                  <a:pt x="155" y="175"/>
                  <a:pt x="155" y="175"/>
                  <a:pt x="155" y="175"/>
                </a:cubicBezTo>
                <a:cubicBezTo>
                  <a:pt x="155" y="175"/>
                  <a:pt x="155" y="175"/>
                  <a:pt x="155" y="175"/>
                </a:cubicBezTo>
                <a:cubicBezTo>
                  <a:pt x="155" y="176"/>
                  <a:pt x="155" y="176"/>
                  <a:pt x="155" y="176"/>
                </a:cubicBezTo>
                <a:cubicBezTo>
                  <a:pt x="156" y="177"/>
                  <a:pt x="156" y="177"/>
                  <a:pt x="156" y="177"/>
                </a:cubicBezTo>
                <a:cubicBezTo>
                  <a:pt x="156" y="179"/>
                  <a:pt x="156" y="179"/>
                  <a:pt x="156" y="179"/>
                </a:cubicBezTo>
                <a:cubicBezTo>
                  <a:pt x="156" y="180"/>
                  <a:pt x="156" y="180"/>
                  <a:pt x="156" y="180"/>
                </a:cubicBezTo>
                <a:cubicBezTo>
                  <a:pt x="157" y="182"/>
                  <a:pt x="157" y="182"/>
                  <a:pt x="157" y="182"/>
                </a:cubicBezTo>
                <a:cubicBezTo>
                  <a:pt x="157" y="182"/>
                  <a:pt x="157" y="182"/>
                  <a:pt x="157" y="182"/>
                </a:cubicBezTo>
                <a:cubicBezTo>
                  <a:pt x="158" y="181"/>
                  <a:pt x="158" y="181"/>
                  <a:pt x="158" y="181"/>
                </a:cubicBezTo>
                <a:cubicBezTo>
                  <a:pt x="158" y="179"/>
                  <a:pt x="158" y="179"/>
                  <a:pt x="158" y="179"/>
                </a:cubicBezTo>
                <a:cubicBezTo>
                  <a:pt x="159" y="177"/>
                  <a:pt x="159" y="177"/>
                  <a:pt x="159" y="177"/>
                </a:cubicBezTo>
                <a:cubicBezTo>
                  <a:pt x="159" y="176"/>
                  <a:pt x="159" y="176"/>
                  <a:pt x="159" y="176"/>
                </a:cubicBezTo>
                <a:cubicBezTo>
                  <a:pt x="160" y="175"/>
                  <a:pt x="160" y="175"/>
                  <a:pt x="160" y="175"/>
                </a:cubicBezTo>
                <a:cubicBezTo>
                  <a:pt x="161" y="175"/>
                  <a:pt x="161" y="175"/>
                  <a:pt x="161" y="175"/>
                </a:cubicBezTo>
                <a:cubicBezTo>
                  <a:pt x="162" y="174"/>
                  <a:pt x="162" y="174"/>
                  <a:pt x="162" y="174"/>
                </a:cubicBezTo>
                <a:cubicBezTo>
                  <a:pt x="164" y="174"/>
                  <a:pt x="164" y="174"/>
                  <a:pt x="164" y="174"/>
                </a:cubicBezTo>
                <a:cubicBezTo>
                  <a:pt x="162" y="175"/>
                  <a:pt x="162" y="175"/>
                  <a:pt x="162" y="175"/>
                </a:cubicBezTo>
                <a:cubicBezTo>
                  <a:pt x="161" y="177"/>
                  <a:pt x="161" y="177"/>
                  <a:pt x="161" y="177"/>
                </a:cubicBezTo>
                <a:cubicBezTo>
                  <a:pt x="160" y="178"/>
                  <a:pt x="160" y="178"/>
                  <a:pt x="160" y="178"/>
                </a:cubicBezTo>
                <a:cubicBezTo>
                  <a:pt x="162" y="179"/>
                  <a:pt x="162" y="179"/>
                  <a:pt x="162" y="179"/>
                </a:cubicBezTo>
                <a:cubicBezTo>
                  <a:pt x="163" y="180"/>
                  <a:pt x="163" y="180"/>
                  <a:pt x="163" y="180"/>
                </a:cubicBezTo>
                <a:cubicBezTo>
                  <a:pt x="165" y="179"/>
                  <a:pt x="165" y="179"/>
                  <a:pt x="165" y="179"/>
                </a:cubicBezTo>
                <a:cubicBezTo>
                  <a:pt x="167" y="178"/>
                  <a:pt x="167" y="178"/>
                  <a:pt x="167" y="178"/>
                </a:cubicBezTo>
                <a:cubicBezTo>
                  <a:pt x="168" y="177"/>
                  <a:pt x="168" y="177"/>
                  <a:pt x="168" y="177"/>
                </a:cubicBezTo>
                <a:cubicBezTo>
                  <a:pt x="169" y="177"/>
                  <a:pt x="169" y="177"/>
                  <a:pt x="169" y="177"/>
                </a:cubicBezTo>
                <a:cubicBezTo>
                  <a:pt x="171" y="176"/>
                  <a:pt x="171" y="176"/>
                  <a:pt x="171" y="176"/>
                </a:cubicBezTo>
                <a:cubicBezTo>
                  <a:pt x="172" y="176"/>
                  <a:pt x="172" y="176"/>
                  <a:pt x="172" y="176"/>
                </a:cubicBezTo>
                <a:cubicBezTo>
                  <a:pt x="171" y="177"/>
                  <a:pt x="171" y="177"/>
                  <a:pt x="171" y="177"/>
                </a:cubicBezTo>
                <a:cubicBezTo>
                  <a:pt x="170" y="178"/>
                  <a:pt x="170" y="178"/>
                  <a:pt x="170" y="178"/>
                </a:cubicBezTo>
                <a:cubicBezTo>
                  <a:pt x="170" y="179"/>
                  <a:pt x="170" y="179"/>
                  <a:pt x="170" y="179"/>
                </a:cubicBezTo>
                <a:cubicBezTo>
                  <a:pt x="169" y="180"/>
                  <a:pt x="169" y="180"/>
                  <a:pt x="169" y="180"/>
                </a:cubicBezTo>
                <a:cubicBezTo>
                  <a:pt x="165" y="182"/>
                  <a:pt x="165" y="182"/>
                  <a:pt x="165" y="182"/>
                </a:cubicBezTo>
                <a:cubicBezTo>
                  <a:pt x="164" y="183"/>
                  <a:pt x="164" y="183"/>
                  <a:pt x="164" y="183"/>
                </a:cubicBezTo>
                <a:cubicBezTo>
                  <a:pt x="163" y="185"/>
                  <a:pt x="163" y="185"/>
                  <a:pt x="163" y="185"/>
                </a:cubicBezTo>
                <a:cubicBezTo>
                  <a:pt x="163" y="186"/>
                  <a:pt x="163" y="186"/>
                  <a:pt x="163" y="186"/>
                </a:cubicBezTo>
                <a:cubicBezTo>
                  <a:pt x="163" y="187"/>
                  <a:pt x="163" y="187"/>
                  <a:pt x="163" y="187"/>
                </a:cubicBezTo>
                <a:cubicBezTo>
                  <a:pt x="164" y="188"/>
                  <a:pt x="164" y="188"/>
                  <a:pt x="164" y="188"/>
                </a:cubicBezTo>
                <a:cubicBezTo>
                  <a:pt x="162" y="188"/>
                  <a:pt x="162" y="188"/>
                  <a:pt x="162" y="188"/>
                </a:cubicBezTo>
                <a:cubicBezTo>
                  <a:pt x="161" y="188"/>
                  <a:pt x="161" y="188"/>
                  <a:pt x="161" y="188"/>
                </a:cubicBezTo>
                <a:cubicBezTo>
                  <a:pt x="160" y="189"/>
                  <a:pt x="160" y="189"/>
                  <a:pt x="160" y="189"/>
                </a:cubicBezTo>
                <a:cubicBezTo>
                  <a:pt x="160" y="191"/>
                  <a:pt x="160" y="191"/>
                  <a:pt x="160" y="191"/>
                </a:cubicBezTo>
                <a:cubicBezTo>
                  <a:pt x="158" y="193"/>
                  <a:pt x="158" y="193"/>
                  <a:pt x="158" y="193"/>
                </a:cubicBezTo>
                <a:cubicBezTo>
                  <a:pt x="158" y="194"/>
                  <a:pt x="158" y="194"/>
                  <a:pt x="158" y="194"/>
                </a:cubicBezTo>
                <a:cubicBezTo>
                  <a:pt x="158" y="194"/>
                  <a:pt x="158" y="194"/>
                  <a:pt x="158" y="194"/>
                </a:cubicBezTo>
                <a:cubicBezTo>
                  <a:pt x="158" y="195"/>
                  <a:pt x="158" y="195"/>
                  <a:pt x="158" y="195"/>
                </a:cubicBezTo>
                <a:cubicBezTo>
                  <a:pt x="158" y="196"/>
                  <a:pt x="158" y="196"/>
                  <a:pt x="158" y="196"/>
                </a:cubicBezTo>
                <a:cubicBezTo>
                  <a:pt x="157" y="196"/>
                  <a:pt x="157" y="196"/>
                  <a:pt x="157" y="196"/>
                </a:cubicBezTo>
                <a:cubicBezTo>
                  <a:pt x="157" y="195"/>
                  <a:pt x="157" y="195"/>
                  <a:pt x="157" y="195"/>
                </a:cubicBezTo>
                <a:cubicBezTo>
                  <a:pt x="156" y="195"/>
                  <a:pt x="156" y="195"/>
                  <a:pt x="156" y="195"/>
                </a:cubicBezTo>
                <a:cubicBezTo>
                  <a:pt x="155" y="196"/>
                  <a:pt x="155" y="196"/>
                  <a:pt x="155" y="196"/>
                </a:cubicBezTo>
                <a:cubicBezTo>
                  <a:pt x="154" y="197"/>
                  <a:pt x="154" y="197"/>
                  <a:pt x="154" y="197"/>
                </a:cubicBezTo>
                <a:cubicBezTo>
                  <a:pt x="154" y="198"/>
                  <a:pt x="154" y="198"/>
                  <a:pt x="154" y="198"/>
                </a:cubicBezTo>
                <a:cubicBezTo>
                  <a:pt x="154" y="198"/>
                  <a:pt x="154" y="198"/>
                  <a:pt x="154" y="198"/>
                </a:cubicBezTo>
                <a:cubicBezTo>
                  <a:pt x="153" y="198"/>
                  <a:pt x="153" y="198"/>
                  <a:pt x="153" y="198"/>
                </a:cubicBezTo>
                <a:cubicBezTo>
                  <a:pt x="152" y="198"/>
                  <a:pt x="152" y="198"/>
                  <a:pt x="152" y="198"/>
                </a:cubicBezTo>
                <a:cubicBezTo>
                  <a:pt x="152" y="198"/>
                  <a:pt x="152" y="198"/>
                  <a:pt x="152" y="198"/>
                </a:cubicBezTo>
                <a:cubicBezTo>
                  <a:pt x="149" y="200"/>
                  <a:pt x="149" y="200"/>
                  <a:pt x="149" y="200"/>
                </a:cubicBezTo>
                <a:cubicBezTo>
                  <a:pt x="148" y="202"/>
                  <a:pt x="148" y="202"/>
                  <a:pt x="148" y="202"/>
                </a:cubicBezTo>
                <a:cubicBezTo>
                  <a:pt x="148" y="202"/>
                  <a:pt x="148" y="202"/>
                  <a:pt x="148" y="202"/>
                </a:cubicBezTo>
                <a:cubicBezTo>
                  <a:pt x="148" y="203"/>
                  <a:pt x="148" y="203"/>
                  <a:pt x="148" y="203"/>
                </a:cubicBezTo>
                <a:cubicBezTo>
                  <a:pt x="147" y="202"/>
                  <a:pt x="147" y="202"/>
                  <a:pt x="147" y="202"/>
                </a:cubicBezTo>
                <a:cubicBezTo>
                  <a:pt x="147" y="201"/>
                  <a:pt x="147" y="201"/>
                  <a:pt x="147" y="201"/>
                </a:cubicBezTo>
                <a:cubicBezTo>
                  <a:pt x="145" y="202"/>
                  <a:pt x="145" y="202"/>
                  <a:pt x="145" y="202"/>
                </a:cubicBezTo>
                <a:cubicBezTo>
                  <a:pt x="144" y="203"/>
                  <a:pt x="144" y="203"/>
                  <a:pt x="144" y="203"/>
                </a:cubicBezTo>
                <a:cubicBezTo>
                  <a:pt x="143" y="203"/>
                  <a:pt x="143" y="203"/>
                  <a:pt x="143" y="203"/>
                </a:cubicBezTo>
                <a:cubicBezTo>
                  <a:pt x="143" y="204"/>
                  <a:pt x="143" y="204"/>
                  <a:pt x="143" y="204"/>
                </a:cubicBezTo>
                <a:cubicBezTo>
                  <a:pt x="141" y="205"/>
                  <a:pt x="141" y="205"/>
                  <a:pt x="141" y="205"/>
                </a:cubicBezTo>
                <a:cubicBezTo>
                  <a:pt x="140" y="205"/>
                  <a:pt x="140" y="205"/>
                  <a:pt x="140" y="205"/>
                </a:cubicBezTo>
                <a:cubicBezTo>
                  <a:pt x="138" y="206"/>
                  <a:pt x="138" y="206"/>
                  <a:pt x="138" y="206"/>
                </a:cubicBezTo>
                <a:cubicBezTo>
                  <a:pt x="135" y="207"/>
                  <a:pt x="135" y="207"/>
                  <a:pt x="135" y="207"/>
                </a:cubicBezTo>
                <a:cubicBezTo>
                  <a:pt x="133" y="209"/>
                  <a:pt x="133" y="209"/>
                  <a:pt x="133" y="209"/>
                </a:cubicBezTo>
                <a:cubicBezTo>
                  <a:pt x="132" y="211"/>
                  <a:pt x="132" y="211"/>
                  <a:pt x="132" y="211"/>
                </a:cubicBezTo>
                <a:cubicBezTo>
                  <a:pt x="132" y="211"/>
                  <a:pt x="132" y="211"/>
                  <a:pt x="132" y="211"/>
                </a:cubicBezTo>
                <a:cubicBezTo>
                  <a:pt x="133" y="212"/>
                  <a:pt x="133" y="212"/>
                  <a:pt x="133" y="212"/>
                </a:cubicBezTo>
                <a:cubicBezTo>
                  <a:pt x="133" y="213"/>
                  <a:pt x="133" y="213"/>
                  <a:pt x="133" y="213"/>
                </a:cubicBezTo>
                <a:cubicBezTo>
                  <a:pt x="132" y="214"/>
                  <a:pt x="132" y="214"/>
                  <a:pt x="132" y="214"/>
                </a:cubicBezTo>
                <a:cubicBezTo>
                  <a:pt x="132" y="213"/>
                  <a:pt x="132" y="213"/>
                  <a:pt x="132" y="213"/>
                </a:cubicBezTo>
                <a:cubicBezTo>
                  <a:pt x="131" y="213"/>
                  <a:pt x="131" y="213"/>
                  <a:pt x="131" y="213"/>
                </a:cubicBezTo>
                <a:cubicBezTo>
                  <a:pt x="131" y="213"/>
                  <a:pt x="131" y="213"/>
                  <a:pt x="131" y="213"/>
                </a:cubicBezTo>
                <a:cubicBezTo>
                  <a:pt x="131" y="214"/>
                  <a:pt x="131" y="214"/>
                  <a:pt x="131" y="214"/>
                </a:cubicBezTo>
                <a:cubicBezTo>
                  <a:pt x="130" y="214"/>
                  <a:pt x="130" y="214"/>
                  <a:pt x="130" y="214"/>
                </a:cubicBezTo>
                <a:cubicBezTo>
                  <a:pt x="130" y="214"/>
                  <a:pt x="130" y="214"/>
                  <a:pt x="130" y="214"/>
                </a:cubicBezTo>
                <a:cubicBezTo>
                  <a:pt x="130" y="212"/>
                  <a:pt x="130" y="212"/>
                  <a:pt x="130" y="212"/>
                </a:cubicBezTo>
                <a:cubicBezTo>
                  <a:pt x="130" y="212"/>
                  <a:pt x="130" y="212"/>
                  <a:pt x="130" y="212"/>
                </a:cubicBezTo>
                <a:cubicBezTo>
                  <a:pt x="129" y="211"/>
                  <a:pt x="129" y="211"/>
                  <a:pt x="129" y="211"/>
                </a:cubicBezTo>
                <a:cubicBezTo>
                  <a:pt x="128" y="211"/>
                  <a:pt x="128" y="211"/>
                  <a:pt x="128" y="211"/>
                </a:cubicBezTo>
                <a:cubicBezTo>
                  <a:pt x="127" y="211"/>
                  <a:pt x="127" y="211"/>
                  <a:pt x="127" y="211"/>
                </a:cubicBezTo>
                <a:cubicBezTo>
                  <a:pt x="126" y="211"/>
                  <a:pt x="126" y="211"/>
                  <a:pt x="126" y="211"/>
                </a:cubicBezTo>
                <a:cubicBezTo>
                  <a:pt x="124" y="212"/>
                  <a:pt x="124" y="212"/>
                  <a:pt x="124" y="212"/>
                </a:cubicBezTo>
                <a:cubicBezTo>
                  <a:pt x="123" y="212"/>
                  <a:pt x="123" y="212"/>
                  <a:pt x="123" y="212"/>
                </a:cubicBezTo>
                <a:cubicBezTo>
                  <a:pt x="122" y="213"/>
                  <a:pt x="122" y="213"/>
                  <a:pt x="122" y="213"/>
                </a:cubicBezTo>
                <a:cubicBezTo>
                  <a:pt x="121" y="214"/>
                  <a:pt x="121" y="214"/>
                  <a:pt x="121" y="214"/>
                </a:cubicBezTo>
                <a:cubicBezTo>
                  <a:pt x="119" y="215"/>
                  <a:pt x="119" y="215"/>
                  <a:pt x="119" y="215"/>
                </a:cubicBezTo>
                <a:cubicBezTo>
                  <a:pt x="118" y="216"/>
                  <a:pt x="118" y="216"/>
                  <a:pt x="118" y="216"/>
                </a:cubicBezTo>
                <a:cubicBezTo>
                  <a:pt x="118" y="217"/>
                  <a:pt x="118" y="217"/>
                  <a:pt x="118" y="217"/>
                </a:cubicBezTo>
                <a:cubicBezTo>
                  <a:pt x="118" y="217"/>
                  <a:pt x="118" y="217"/>
                  <a:pt x="118" y="217"/>
                </a:cubicBezTo>
                <a:cubicBezTo>
                  <a:pt x="117" y="217"/>
                  <a:pt x="117" y="217"/>
                  <a:pt x="117" y="217"/>
                </a:cubicBezTo>
                <a:cubicBezTo>
                  <a:pt x="115" y="218"/>
                  <a:pt x="115" y="218"/>
                  <a:pt x="115" y="218"/>
                </a:cubicBezTo>
                <a:cubicBezTo>
                  <a:pt x="115" y="218"/>
                  <a:pt x="115" y="218"/>
                  <a:pt x="115" y="218"/>
                </a:cubicBezTo>
                <a:cubicBezTo>
                  <a:pt x="114" y="219"/>
                  <a:pt x="114" y="219"/>
                  <a:pt x="114" y="219"/>
                </a:cubicBezTo>
                <a:cubicBezTo>
                  <a:pt x="114" y="219"/>
                  <a:pt x="114" y="219"/>
                  <a:pt x="114" y="219"/>
                </a:cubicBezTo>
                <a:cubicBezTo>
                  <a:pt x="113" y="219"/>
                  <a:pt x="113" y="219"/>
                  <a:pt x="113" y="219"/>
                </a:cubicBezTo>
                <a:cubicBezTo>
                  <a:pt x="112" y="219"/>
                  <a:pt x="112" y="219"/>
                  <a:pt x="112" y="219"/>
                </a:cubicBezTo>
                <a:cubicBezTo>
                  <a:pt x="111" y="220"/>
                  <a:pt x="111" y="220"/>
                  <a:pt x="111" y="220"/>
                </a:cubicBezTo>
                <a:cubicBezTo>
                  <a:pt x="111" y="221"/>
                  <a:pt x="111" y="221"/>
                  <a:pt x="111" y="221"/>
                </a:cubicBezTo>
                <a:cubicBezTo>
                  <a:pt x="111" y="222"/>
                  <a:pt x="111" y="222"/>
                  <a:pt x="111" y="222"/>
                </a:cubicBezTo>
                <a:cubicBezTo>
                  <a:pt x="112" y="222"/>
                  <a:pt x="112" y="222"/>
                  <a:pt x="112" y="222"/>
                </a:cubicBezTo>
                <a:cubicBezTo>
                  <a:pt x="112" y="221"/>
                  <a:pt x="112" y="221"/>
                  <a:pt x="112" y="221"/>
                </a:cubicBezTo>
                <a:cubicBezTo>
                  <a:pt x="112" y="220"/>
                  <a:pt x="112" y="220"/>
                  <a:pt x="112" y="220"/>
                </a:cubicBezTo>
                <a:cubicBezTo>
                  <a:pt x="113" y="220"/>
                  <a:pt x="113" y="220"/>
                  <a:pt x="113" y="220"/>
                </a:cubicBezTo>
                <a:cubicBezTo>
                  <a:pt x="113" y="220"/>
                  <a:pt x="113" y="220"/>
                  <a:pt x="113" y="220"/>
                </a:cubicBezTo>
                <a:cubicBezTo>
                  <a:pt x="113" y="221"/>
                  <a:pt x="113" y="221"/>
                  <a:pt x="113" y="221"/>
                </a:cubicBezTo>
                <a:cubicBezTo>
                  <a:pt x="113" y="222"/>
                  <a:pt x="113" y="222"/>
                  <a:pt x="113" y="222"/>
                </a:cubicBezTo>
                <a:cubicBezTo>
                  <a:pt x="115" y="222"/>
                  <a:pt x="115" y="222"/>
                  <a:pt x="115" y="222"/>
                </a:cubicBezTo>
                <a:cubicBezTo>
                  <a:pt x="116" y="220"/>
                  <a:pt x="116" y="220"/>
                  <a:pt x="116" y="220"/>
                </a:cubicBezTo>
                <a:cubicBezTo>
                  <a:pt x="116" y="219"/>
                  <a:pt x="116" y="219"/>
                  <a:pt x="116" y="219"/>
                </a:cubicBezTo>
                <a:cubicBezTo>
                  <a:pt x="117" y="220"/>
                  <a:pt x="117" y="220"/>
                  <a:pt x="117" y="220"/>
                </a:cubicBezTo>
                <a:cubicBezTo>
                  <a:pt x="116" y="221"/>
                  <a:pt x="116" y="221"/>
                  <a:pt x="116" y="221"/>
                </a:cubicBezTo>
                <a:cubicBezTo>
                  <a:pt x="117" y="221"/>
                  <a:pt x="117" y="221"/>
                  <a:pt x="117" y="221"/>
                </a:cubicBezTo>
                <a:cubicBezTo>
                  <a:pt x="118" y="221"/>
                  <a:pt x="118" y="221"/>
                  <a:pt x="118" y="221"/>
                </a:cubicBezTo>
                <a:cubicBezTo>
                  <a:pt x="118" y="220"/>
                  <a:pt x="118" y="220"/>
                  <a:pt x="118" y="220"/>
                </a:cubicBezTo>
                <a:cubicBezTo>
                  <a:pt x="119" y="221"/>
                  <a:pt x="119" y="221"/>
                  <a:pt x="119" y="221"/>
                </a:cubicBezTo>
                <a:cubicBezTo>
                  <a:pt x="119" y="221"/>
                  <a:pt x="119" y="221"/>
                  <a:pt x="119" y="221"/>
                </a:cubicBezTo>
                <a:cubicBezTo>
                  <a:pt x="119" y="220"/>
                  <a:pt x="119" y="220"/>
                  <a:pt x="119" y="220"/>
                </a:cubicBezTo>
                <a:cubicBezTo>
                  <a:pt x="120" y="220"/>
                  <a:pt x="120" y="220"/>
                  <a:pt x="120" y="220"/>
                </a:cubicBezTo>
                <a:cubicBezTo>
                  <a:pt x="121" y="220"/>
                  <a:pt x="121" y="220"/>
                  <a:pt x="121" y="220"/>
                </a:cubicBezTo>
                <a:cubicBezTo>
                  <a:pt x="122" y="219"/>
                  <a:pt x="122" y="219"/>
                  <a:pt x="122" y="219"/>
                </a:cubicBezTo>
                <a:cubicBezTo>
                  <a:pt x="123" y="218"/>
                  <a:pt x="123" y="218"/>
                  <a:pt x="123" y="218"/>
                </a:cubicBezTo>
                <a:cubicBezTo>
                  <a:pt x="123" y="217"/>
                  <a:pt x="123" y="217"/>
                  <a:pt x="123" y="217"/>
                </a:cubicBezTo>
                <a:cubicBezTo>
                  <a:pt x="124" y="216"/>
                  <a:pt x="124" y="216"/>
                  <a:pt x="124" y="216"/>
                </a:cubicBezTo>
                <a:cubicBezTo>
                  <a:pt x="125" y="215"/>
                  <a:pt x="125" y="215"/>
                  <a:pt x="125" y="215"/>
                </a:cubicBezTo>
                <a:cubicBezTo>
                  <a:pt x="125" y="215"/>
                  <a:pt x="125" y="215"/>
                  <a:pt x="125" y="215"/>
                </a:cubicBezTo>
                <a:cubicBezTo>
                  <a:pt x="127" y="216"/>
                  <a:pt x="127" y="216"/>
                  <a:pt x="127" y="216"/>
                </a:cubicBezTo>
                <a:cubicBezTo>
                  <a:pt x="126" y="216"/>
                  <a:pt x="126" y="216"/>
                  <a:pt x="126" y="216"/>
                </a:cubicBezTo>
                <a:cubicBezTo>
                  <a:pt x="125" y="216"/>
                  <a:pt x="125" y="216"/>
                  <a:pt x="125" y="216"/>
                </a:cubicBezTo>
                <a:cubicBezTo>
                  <a:pt x="125" y="217"/>
                  <a:pt x="125" y="217"/>
                  <a:pt x="125" y="217"/>
                </a:cubicBezTo>
                <a:cubicBezTo>
                  <a:pt x="125" y="219"/>
                  <a:pt x="125" y="219"/>
                  <a:pt x="125" y="219"/>
                </a:cubicBezTo>
                <a:cubicBezTo>
                  <a:pt x="125" y="219"/>
                  <a:pt x="125" y="219"/>
                  <a:pt x="125" y="219"/>
                </a:cubicBezTo>
                <a:cubicBezTo>
                  <a:pt x="127" y="218"/>
                  <a:pt x="127" y="218"/>
                  <a:pt x="127" y="218"/>
                </a:cubicBezTo>
                <a:cubicBezTo>
                  <a:pt x="127" y="217"/>
                  <a:pt x="127" y="217"/>
                  <a:pt x="127" y="217"/>
                </a:cubicBezTo>
                <a:cubicBezTo>
                  <a:pt x="128" y="216"/>
                  <a:pt x="128" y="216"/>
                  <a:pt x="128" y="216"/>
                </a:cubicBezTo>
                <a:cubicBezTo>
                  <a:pt x="128" y="217"/>
                  <a:pt x="128" y="217"/>
                  <a:pt x="128" y="217"/>
                </a:cubicBezTo>
                <a:cubicBezTo>
                  <a:pt x="129" y="216"/>
                  <a:pt x="129" y="216"/>
                  <a:pt x="129" y="216"/>
                </a:cubicBezTo>
                <a:cubicBezTo>
                  <a:pt x="129" y="216"/>
                  <a:pt x="129" y="216"/>
                  <a:pt x="129" y="216"/>
                </a:cubicBezTo>
                <a:cubicBezTo>
                  <a:pt x="129" y="217"/>
                  <a:pt x="129" y="217"/>
                  <a:pt x="129" y="217"/>
                </a:cubicBezTo>
                <a:cubicBezTo>
                  <a:pt x="129" y="218"/>
                  <a:pt x="129" y="218"/>
                  <a:pt x="129" y="218"/>
                </a:cubicBezTo>
                <a:cubicBezTo>
                  <a:pt x="129" y="218"/>
                  <a:pt x="129" y="218"/>
                  <a:pt x="129" y="218"/>
                </a:cubicBezTo>
                <a:cubicBezTo>
                  <a:pt x="130" y="217"/>
                  <a:pt x="130" y="217"/>
                  <a:pt x="130" y="217"/>
                </a:cubicBezTo>
                <a:cubicBezTo>
                  <a:pt x="131" y="217"/>
                  <a:pt x="131" y="217"/>
                  <a:pt x="131" y="217"/>
                </a:cubicBezTo>
                <a:cubicBezTo>
                  <a:pt x="132" y="216"/>
                  <a:pt x="132" y="216"/>
                  <a:pt x="132" y="216"/>
                </a:cubicBezTo>
                <a:cubicBezTo>
                  <a:pt x="133" y="216"/>
                  <a:pt x="133" y="216"/>
                  <a:pt x="133" y="216"/>
                </a:cubicBezTo>
                <a:cubicBezTo>
                  <a:pt x="135" y="214"/>
                  <a:pt x="135" y="214"/>
                  <a:pt x="135" y="214"/>
                </a:cubicBezTo>
                <a:cubicBezTo>
                  <a:pt x="136" y="214"/>
                  <a:pt x="136" y="214"/>
                  <a:pt x="136" y="214"/>
                </a:cubicBezTo>
                <a:cubicBezTo>
                  <a:pt x="136" y="214"/>
                  <a:pt x="136" y="214"/>
                  <a:pt x="136" y="214"/>
                </a:cubicBezTo>
                <a:cubicBezTo>
                  <a:pt x="136" y="215"/>
                  <a:pt x="136" y="215"/>
                  <a:pt x="136" y="215"/>
                </a:cubicBezTo>
                <a:cubicBezTo>
                  <a:pt x="136" y="216"/>
                  <a:pt x="136" y="216"/>
                  <a:pt x="136" y="216"/>
                </a:cubicBezTo>
                <a:cubicBezTo>
                  <a:pt x="135" y="217"/>
                  <a:pt x="135" y="217"/>
                  <a:pt x="135" y="217"/>
                </a:cubicBezTo>
                <a:cubicBezTo>
                  <a:pt x="135" y="218"/>
                  <a:pt x="135" y="218"/>
                  <a:pt x="135" y="218"/>
                </a:cubicBezTo>
                <a:cubicBezTo>
                  <a:pt x="135" y="218"/>
                  <a:pt x="135" y="218"/>
                  <a:pt x="135" y="218"/>
                </a:cubicBezTo>
                <a:cubicBezTo>
                  <a:pt x="137" y="216"/>
                  <a:pt x="137" y="216"/>
                  <a:pt x="137" y="216"/>
                </a:cubicBezTo>
                <a:cubicBezTo>
                  <a:pt x="137" y="214"/>
                  <a:pt x="137" y="214"/>
                  <a:pt x="137" y="214"/>
                </a:cubicBezTo>
                <a:cubicBezTo>
                  <a:pt x="137" y="214"/>
                  <a:pt x="137" y="214"/>
                  <a:pt x="137" y="214"/>
                </a:cubicBezTo>
                <a:cubicBezTo>
                  <a:pt x="138" y="214"/>
                  <a:pt x="138" y="214"/>
                  <a:pt x="138" y="214"/>
                </a:cubicBezTo>
                <a:cubicBezTo>
                  <a:pt x="139" y="214"/>
                  <a:pt x="139" y="214"/>
                  <a:pt x="139" y="214"/>
                </a:cubicBezTo>
                <a:cubicBezTo>
                  <a:pt x="140" y="214"/>
                  <a:pt x="140" y="214"/>
                  <a:pt x="140" y="214"/>
                </a:cubicBezTo>
                <a:cubicBezTo>
                  <a:pt x="141" y="214"/>
                  <a:pt x="141" y="214"/>
                  <a:pt x="141" y="214"/>
                </a:cubicBezTo>
                <a:cubicBezTo>
                  <a:pt x="142" y="213"/>
                  <a:pt x="142" y="213"/>
                  <a:pt x="142" y="213"/>
                </a:cubicBezTo>
                <a:cubicBezTo>
                  <a:pt x="143" y="213"/>
                  <a:pt x="143" y="213"/>
                  <a:pt x="143" y="213"/>
                </a:cubicBezTo>
                <a:cubicBezTo>
                  <a:pt x="143" y="213"/>
                  <a:pt x="143" y="213"/>
                  <a:pt x="143" y="213"/>
                </a:cubicBezTo>
                <a:cubicBezTo>
                  <a:pt x="144" y="212"/>
                  <a:pt x="144" y="212"/>
                  <a:pt x="144" y="212"/>
                </a:cubicBezTo>
                <a:cubicBezTo>
                  <a:pt x="144" y="211"/>
                  <a:pt x="144" y="211"/>
                  <a:pt x="144" y="211"/>
                </a:cubicBezTo>
                <a:cubicBezTo>
                  <a:pt x="144" y="211"/>
                  <a:pt x="144" y="211"/>
                  <a:pt x="144" y="211"/>
                </a:cubicBezTo>
                <a:cubicBezTo>
                  <a:pt x="144" y="212"/>
                  <a:pt x="144" y="212"/>
                  <a:pt x="144" y="212"/>
                </a:cubicBezTo>
                <a:cubicBezTo>
                  <a:pt x="144" y="213"/>
                  <a:pt x="144" y="213"/>
                  <a:pt x="144" y="213"/>
                </a:cubicBezTo>
                <a:cubicBezTo>
                  <a:pt x="145" y="213"/>
                  <a:pt x="145" y="213"/>
                  <a:pt x="145" y="213"/>
                </a:cubicBezTo>
                <a:cubicBezTo>
                  <a:pt x="146" y="212"/>
                  <a:pt x="146" y="212"/>
                  <a:pt x="146" y="212"/>
                </a:cubicBezTo>
                <a:cubicBezTo>
                  <a:pt x="145" y="212"/>
                  <a:pt x="145" y="212"/>
                  <a:pt x="145" y="212"/>
                </a:cubicBezTo>
                <a:cubicBezTo>
                  <a:pt x="146" y="211"/>
                  <a:pt x="146" y="211"/>
                  <a:pt x="146" y="211"/>
                </a:cubicBezTo>
                <a:cubicBezTo>
                  <a:pt x="146" y="210"/>
                  <a:pt x="146" y="210"/>
                  <a:pt x="146" y="210"/>
                </a:cubicBezTo>
                <a:cubicBezTo>
                  <a:pt x="144" y="210"/>
                  <a:pt x="144" y="210"/>
                  <a:pt x="144" y="210"/>
                </a:cubicBezTo>
                <a:cubicBezTo>
                  <a:pt x="144" y="210"/>
                  <a:pt x="144" y="210"/>
                  <a:pt x="144" y="210"/>
                </a:cubicBezTo>
                <a:cubicBezTo>
                  <a:pt x="146" y="210"/>
                  <a:pt x="146" y="210"/>
                  <a:pt x="146" y="210"/>
                </a:cubicBezTo>
                <a:cubicBezTo>
                  <a:pt x="148" y="209"/>
                  <a:pt x="148" y="209"/>
                  <a:pt x="148" y="209"/>
                </a:cubicBezTo>
                <a:cubicBezTo>
                  <a:pt x="150" y="209"/>
                  <a:pt x="150" y="209"/>
                  <a:pt x="150" y="209"/>
                </a:cubicBezTo>
                <a:cubicBezTo>
                  <a:pt x="151" y="208"/>
                  <a:pt x="151" y="208"/>
                  <a:pt x="151" y="208"/>
                </a:cubicBezTo>
                <a:cubicBezTo>
                  <a:pt x="150" y="207"/>
                  <a:pt x="150" y="207"/>
                  <a:pt x="150" y="207"/>
                </a:cubicBezTo>
                <a:cubicBezTo>
                  <a:pt x="150" y="207"/>
                  <a:pt x="150" y="207"/>
                  <a:pt x="150" y="207"/>
                </a:cubicBezTo>
                <a:cubicBezTo>
                  <a:pt x="151" y="207"/>
                  <a:pt x="151" y="207"/>
                  <a:pt x="151" y="207"/>
                </a:cubicBezTo>
                <a:cubicBezTo>
                  <a:pt x="151" y="207"/>
                  <a:pt x="151" y="207"/>
                  <a:pt x="151" y="207"/>
                </a:cubicBezTo>
                <a:cubicBezTo>
                  <a:pt x="152" y="206"/>
                  <a:pt x="152" y="206"/>
                  <a:pt x="152" y="206"/>
                </a:cubicBezTo>
                <a:cubicBezTo>
                  <a:pt x="153" y="206"/>
                  <a:pt x="153" y="206"/>
                  <a:pt x="153" y="206"/>
                </a:cubicBezTo>
                <a:cubicBezTo>
                  <a:pt x="153" y="207"/>
                  <a:pt x="153" y="207"/>
                  <a:pt x="153" y="207"/>
                </a:cubicBezTo>
                <a:cubicBezTo>
                  <a:pt x="154" y="207"/>
                  <a:pt x="154" y="207"/>
                  <a:pt x="154" y="207"/>
                </a:cubicBezTo>
                <a:cubicBezTo>
                  <a:pt x="154" y="206"/>
                  <a:pt x="154" y="206"/>
                  <a:pt x="154" y="206"/>
                </a:cubicBezTo>
                <a:cubicBezTo>
                  <a:pt x="154" y="206"/>
                  <a:pt x="154" y="206"/>
                  <a:pt x="154" y="206"/>
                </a:cubicBezTo>
                <a:cubicBezTo>
                  <a:pt x="155" y="205"/>
                  <a:pt x="155" y="205"/>
                  <a:pt x="155" y="205"/>
                </a:cubicBezTo>
                <a:cubicBezTo>
                  <a:pt x="155" y="204"/>
                  <a:pt x="155" y="204"/>
                  <a:pt x="155" y="204"/>
                </a:cubicBezTo>
                <a:cubicBezTo>
                  <a:pt x="155" y="204"/>
                  <a:pt x="155" y="204"/>
                  <a:pt x="155" y="204"/>
                </a:cubicBezTo>
                <a:cubicBezTo>
                  <a:pt x="156" y="204"/>
                  <a:pt x="156" y="204"/>
                  <a:pt x="156" y="204"/>
                </a:cubicBezTo>
                <a:cubicBezTo>
                  <a:pt x="156" y="205"/>
                  <a:pt x="156" y="205"/>
                  <a:pt x="156" y="205"/>
                </a:cubicBezTo>
                <a:cubicBezTo>
                  <a:pt x="157" y="205"/>
                  <a:pt x="157" y="205"/>
                  <a:pt x="157" y="205"/>
                </a:cubicBezTo>
                <a:cubicBezTo>
                  <a:pt x="158" y="204"/>
                  <a:pt x="158" y="204"/>
                  <a:pt x="158" y="204"/>
                </a:cubicBezTo>
                <a:cubicBezTo>
                  <a:pt x="159" y="203"/>
                  <a:pt x="159" y="203"/>
                  <a:pt x="159" y="203"/>
                </a:cubicBezTo>
                <a:cubicBezTo>
                  <a:pt x="160" y="204"/>
                  <a:pt x="160" y="204"/>
                  <a:pt x="160" y="204"/>
                </a:cubicBezTo>
                <a:cubicBezTo>
                  <a:pt x="160" y="202"/>
                  <a:pt x="160" y="202"/>
                  <a:pt x="160" y="202"/>
                </a:cubicBezTo>
                <a:cubicBezTo>
                  <a:pt x="161" y="202"/>
                  <a:pt x="161" y="202"/>
                  <a:pt x="161" y="202"/>
                </a:cubicBezTo>
                <a:cubicBezTo>
                  <a:pt x="161" y="203"/>
                  <a:pt x="161" y="203"/>
                  <a:pt x="161" y="203"/>
                </a:cubicBezTo>
                <a:cubicBezTo>
                  <a:pt x="162" y="203"/>
                  <a:pt x="162" y="203"/>
                  <a:pt x="162" y="203"/>
                </a:cubicBezTo>
                <a:cubicBezTo>
                  <a:pt x="164" y="201"/>
                  <a:pt x="164" y="201"/>
                  <a:pt x="164" y="201"/>
                </a:cubicBezTo>
                <a:cubicBezTo>
                  <a:pt x="164" y="200"/>
                  <a:pt x="164" y="200"/>
                  <a:pt x="164" y="200"/>
                </a:cubicBezTo>
                <a:cubicBezTo>
                  <a:pt x="163" y="200"/>
                  <a:pt x="163" y="200"/>
                  <a:pt x="163" y="200"/>
                </a:cubicBezTo>
                <a:cubicBezTo>
                  <a:pt x="162" y="200"/>
                  <a:pt x="162" y="200"/>
                  <a:pt x="162" y="200"/>
                </a:cubicBezTo>
                <a:cubicBezTo>
                  <a:pt x="162" y="200"/>
                  <a:pt x="162" y="200"/>
                  <a:pt x="162" y="200"/>
                </a:cubicBezTo>
                <a:cubicBezTo>
                  <a:pt x="164" y="199"/>
                  <a:pt x="164" y="199"/>
                  <a:pt x="164" y="199"/>
                </a:cubicBezTo>
                <a:cubicBezTo>
                  <a:pt x="165" y="198"/>
                  <a:pt x="165" y="198"/>
                  <a:pt x="165" y="198"/>
                </a:cubicBezTo>
                <a:cubicBezTo>
                  <a:pt x="166" y="197"/>
                  <a:pt x="166" y="197"/>
                  <a:pt x="166" y="197"/>
                </a:cubicBezTo>
                <a:cubicBezTo>
                  <a:pt x="166" y="197"/>
                  <a:pt x="166" y="197"/>
                  <a:pt x="166" y="197"/>
                </a:cubicBezTo>
                <a:cubicBezTo>
                  <a:pt x="167" y="198"/>
                  <a:pt x="167" y="198"/>
                  <a:pt x="167" y="198"/>
                </a:cubicBezTo>
                <a:cubicBezTo>
                  <a:pt x="168" y="196"/>
                  <a:pt x="168" y="196"/>
                  <a:pt x="168" y="196"/>
                </a:cubicBezTo>
                <a:cubicBezTo>
                  <a:pt x="169" y="196"/>
                  <a:pt x="169" y="196"/>
                  <a:pt x="169" y="196"/>
                </a:cubicBezTo>
                <a:cubicBezTo>
                  <a:pt x="170" y="195"/>
                  <a:pt x="170" y="195"/>
                  <a:pt x="170" y="195"/>
                </a:cubicBezTo>
                <a:cubicBezTo>
                  <a:pt x="170" y="195"/>
                  <a:pt x="170" y="195"/>
                  <a:pt x="170" y="195"/>
                </a:cubicBezTo>
                <a:cubicBezTo>
                  <a:pt x="171" y="194"/>
                  <a:pt x="171" y="194"/>
                  <a:pt x="171" y="194"/>
                </a:cubicBezTo>
                <a:cubicBezTo>
                  <a:pt x="172" y="194"/>
                  <a:pt x="172" y="194"/>
                  <a:pt x="172" y="194"/>
                </a:cubicBezTo>
                <a:cubicBezTo>
                  <a:pt x="172" y="195"/>
                  <a:pt x="172" y="195"/>
                  <a:pt x="172" y="195"/>
                </a:cubicBezTo>
                <a:cubicBezTo>
                  <a:pt x="173" y="195"/>
                  <a:pt x="173" y="195"/>
                  <a:pt x="173" y="195"/>
                </a:cubicBezTo>
                <a:cubicBezTo>
                  <a:pt x="173" y="194"/>
                  <a:pt x="173" y="194"/>
                  <a:pt x="173" y="194"/>
                </a:cubicBezTo>
                <a:cubicBezTo>
                  <a:pt x="174" y="194"/>
                  <a:pt x="174" y="194"/>
                  <a:pt x="174" y="194"/>
                </a:cubicBezTo>
                <a:cubicBezTo>
                  <a:pt x="174" y="194"/>
                  <a:pt x="174" y="194"/>
                  <a:pt x="174" y="194"/>
                </a:cubicBezTo>
                <a:cubicBezTo>
                  <a:pt x="174" y="193"/>
                  <a:pt x="174" y="193"/>
                  <a:pt x="174" y="193"/>
                </a:cubicBezTo>
                <a:cubicBezTo>
                  <a:pt x="175" y="193"/>
                  <a:pt x="175" y="193"/>
                  <a:pt x="175" y="193"/>
                </a:cubicBezTo>
                <a:cubicBezTo>
                  <a:pt x="176" y="192"/>
                  <a:pt x="176" y="192"/>
                  <a:pt x="176" y="192"/>
                </a:cubicBezTo>
                <a:cubicBezTo>
                  <a:pt x="176" y="192"/>
                  <a:pt x="176" y="192"/>
                  <a:pt x="176" y="192"/>
                </a:cubicBezTo>
                <a:cubicBezTo>
                  <a:pt x="178" y="193"/>
                  <a:pt x="178" y="193"/>
                  <a:pt x="178" y="193"/>
                </a:cubicBezTo>
                <a:cubicBezTo>
                  <a:pt x="178" y="191"/>
                  <a:pt x="178" y="191"/>
                  <a:pt x="178" y="191"/>
                </a:cubicBezTo>
                <a:cubicBezTo>
                  <a:pt x="179" y="191"/>
                  <a:pt x="179" y="191"/>
                  <a:pt x="179" y="191"/>
                </a:cubicBezTo>
                <a:cubicBezTo>
                  <a:pt x="179" y="192"/>
                  <a:pt x="179" y="192"/>
                  <a:pt x="179" y="192"/>
                </a:cubicBezTo>
                <a:cubicBezTo>
                  <a:pt x="179" y="192"/>
                  <a:pt x="179" y="192"/>
                  <a:pt x="179" y="192"/>
                </a:cubicBezTo>
                <a:cubicBezTo>
                  <a:pt x="180" y="191"/>
                  <a:pt x="180" y="191"/>
                  <a:pt x="180" y="191"/>
                </a:cubicBezTo>
                <a:cubicBezTo>
                  <a:pt x="181" y="192"/>
                  <a:pt x="181" y="192"/>
                  <a:pt x="181" y="192"/>
                </a:cubicBezTo>
                <a:cubicBezTo>
                  <a:pt x="181" y="192"/>
                  <a:pt x="181" y="192"/>
                  <a:pt x="181" y="192"/>
                </a:cubicBezTo>
                <a:cubicBezTo>
                  <a:pt x="182" y="190"/>
                  <a:pt x="182" y="190"/>
                  <a:pt x="182" y="190"/>
                </a:cubicBezTo>
                <a:cubicBezTo>
                  <a:pt x="181" y="190"/>
                  <a:pt x="181" y="190"/>
                  <a:pt x="181" y="190"/>
                </a:cubicBezTo>
                <a:cubicBezTo>
                  <a:pt x="180" y="190"/>
                  <a:pt x="180" y="190"/>
                  <a:pt x="180" y="190"/>
                </a:cubicBezTo>
                <a:cubicBezTo>
                  <a:pt x="181" y="189"/>
                  <a:pt x="181" y="189"/>
                  <a:pt x="181" y="189"/>
                </a:cubicBezTo>
                <a:cubicBezTo>
                  <a:pt x="182" y="188"/>
                  <a:pt x="182" y="188"/>
                  <a:pt x="182" y="188"/>
                </a:cubicBezTo>
                <a:cubicBezTo>
                  <a:pt x="183" y="188"/>
                  <a:pt x="183" y="188"/>
                  <a:pt x="183" y="188"/>
                </a:cubicBezTo>
                <a:cubicBezTo>
                  <a:pt x="183" y="189"/>
                  <a:pt x="183" y="189"/>
                  <a:pt x="183" y="189"/>
                </a:cubicBezTo>
                <a:cubicBezTo>
                  <a:pt x="183" y="188"/>
                  <a:pt x="183" y="188"/>
                  <a:pt x="183" y="188"/>
                </a:cubicBezTo>
                <a:cubicBezTo>
                  <a:pt x="183" y="188"/>
                  <a:pt x="183" y="188"/>
                  <a:pt x="183" y="188"/>
                </a:cubicBezTo>
                <a:cubicBezTo>
                  <a:pt x="182" y="187"/>
                  <a:pt x="182" y="187"/>
                  <a:pt x="182" y="187"/>
                </a:cubicBezTo>
                <a:cubicBezTo>
                  <a:pt x="183" y="187"/>
                  <a:pt x="183" y="187"/>
                  <a:pt x="183" y="187"/>
                </a:cubicBezTo>
                <a:cubicBezTo>
                  <a:pt x="184" y="187"/>
                  <a:pt x="184" y="187"/>
                  <a:pt x="184" y="187"/>
                </a:cubicBezTo>
                <a:cubicBezTo>
                  <a:pt x="185" y="186"/>
                  <a:pt x="185" y="186"/>
                  <a:pt x="185" y="186"/>
                </a:cubicBezTo>
                <a:cubicBezTo>
                  <a:pt x="187" y="186"/>
                  <a:pt x="187" y="186"/>
                  <a:pt x="187" y="186"/>
                </a:cubicBezTo>
                <a:cubicBezTo>
                  <a:pt x="188" y="185"/>
                  <a:pt x="188" y="185"/>
                  <a:pt x="188" y="185"/>
                </a:cubicBezTo>
                <a:cubicBezTo>
                  <a:pt x="189" y="185"/>
                  <a:pt x="189" y="185"/>
                  <a:pt x="189" y="185"/>
                </a:cubicBezTo>
                <a:cubicBezTo>
                  <a:pt x="190" y="183"/>
                  <a:pt x="190" y="183"/>
                  <a:pt x="190" y="183"/>
                </a:cubicBezTo>
                <a:cubicBezTo>
                  <a:pt x="190" y="181"/>
                  <a:pt x="190" y="181"/>
                  <a:pt x="190" y="181"/>
                </a:cubicBezTo>
                <a:cubicBezTo>
                  <a:pt x="190" y="181"/>
                  <a:pt x="190" y="181"/>
                  <a:pt x="190" y="181"/>
                </a:cubicBezTo>
                <a:cubicBezTo>
                  <a:pt x="190" y="181"/>
                  <a:pt x="190" y="181"/>
                  <a:pt x="190" y="181"/>
                </a:cubicBezTo>
                <a:cubicBezTo>
                  <a:pt x="189" y="180"/>
                  <a:pt x="189" y="180"/>
                  <a:pt x="189" y="180"/>
                </a:cubicBezTo>
                <a:cubicBezTo>
                  <a:pt x="188" y="179"/>
                  <a:pt x="188" y="179"/>
                  <a:pt x="188" y="179"/>
                </a:cubicBezTo>
                <a:cubicBezTo>
                  <a:pt x="187" y="179"/>
                  <a:pt x="187" y="179"/>
                  <a:pt x="187" y="179"/>
                </a:cubicBezTo>
                <a:cubicBezTo>
                  <a:pt x="187" y="178"/>
                  <a:pt x="187" y="178"/>
                  <a:pt x="187" y="178"/>
                </a:cubicBezTo>
                <a:cubicBezTo>
                  <a:pt x="187" y="177"/>
                  <a:pt x="187" y="177"/>
                  <a:pt x="187" y="177"/>
                </a:cubicBezTo>
                <a:cubicBezTo>
                  <a:pt x="189" y="176"/>
                  <a:pt x="189" y="176"/>
                  <a:pt x="189" y="176"/>
                </a:cubicBezTo>
                <a:cubicBezTo>
                  <a:pt x="189" y="176"/>
                  <a:pt x="189" y="176"/>
                  <a:pt x="189" y="176"/>
                </a:cubicBezTo>
                <a:cubicBezTo>
                  <a:pt x="190" y="175"/>
                  <a:pt x="190" y="175"/>
                  <a:pt x="190" y="175"/>
                </a:cubicBezTo>
                <a:cubicBezTo>
                  <a:pt x="190" y="175"/>
                  <a:pt x="190" y="175"/>
                  <a:pt x="190" y="175"/>
                </a:cubicBezTo>
                <a:cubicBezTo>
                  <a:pt x="190" y="175"/>
                  <a:pt x="190" y="175"/>
                  <a:pt x="190" y="175"/>
                </a:cubicBezTo>
                <a:cubicBezTo>
                  <a:pt x="190" y="174"/>
                  <a:pt x="190" y="174"/>
                  <a:pt x="190" y="174"/>
                </a:cubicBezTo>
                <a:cubicBezTo>
                  <a:pt x="192" y="174"/>
                  <a:pt x="192" y="174"/>
                  <a:pt x="192" y="174"/>
                </a:cubicBezTo>
                <a:cubicBezTo>
                  <a:pt x="193" y="173"/>
                  <a:pt x="193" y="173"/>
                  <a:pt x="193" y="173"/>
                </a:cubicBezTo>
                <a:cubicBezTo>
                  <a:pt x="194" y="174"/>
                  <a:pt x="194" y="174"/>
                  <a:pt x="194" y="174"/>
                </a:cubicBezTo>
                <a:cubicBezTo>
                  <a:pt x="196" y="173"/>
                  <a:pt x="196" y="173"/>
                  <a:pt x="196" y="173"/>
                </a:cubicBezTo>
                <a:cubicBezTo>
                  <a:pt x="196" y="174"/>
                  <a:pt x="196" y="174"/>
                  <a:pt x="196" y="174"/>
                </a:cubicBezTo>
                <a:cubicBezTo>
                  <a:pt x="196" y="175"/>
                  <a:pt x="196" y="175"/>
                  <a:pt x="196" y="175"/>
                </a:cubicBezTo>
                <a:cubicBezTo>
                  <a:pt x="197" y="175"/>
                  <a:pt x="197" y="175"/>
                  <a:pt x="197" y="175"/>
                </a:cubicBezTo>
                <a:cubicBezTo>
                  <a:pt x="198" y="173"/>
                  <a:pt x="198" y="173"/>
                  <a:pt x="198" y="173"/>
                </a:cubicBezTo>
                <a:cubicBezTo>
                  <a:pt x="198" y="173"/>
                  <a:pt x="198" y="173"/>
                  <a:pt x="198" y="173"/>
                </a:cubicBezTo>
                <a:cubicBezTo>
                  <a:pt x="197" y="173"/>
                  <a:pt x="197" y="173"/>
                  <a:pt x="197" y="173"/>
                </a:cubicBezTo>
                <a:cubicBezTo>
                  <a:pt x="197" y="172"/>
                  <a:pt x="197" y="172"/>
                  <a:pt x="197" y="172"/>
                </a:cubicBezTo>
                <a:cubicBezTo>
                  <a:pt x="198" y="172"/>
                  <a:pt x="198" y="172"/>
                  <a:pt x="198" y="172"/>
                </a:cubicBezTo>
                <a:cubicBezTo>
                  <a:pt x="199" y="172"/>
                  <a:pt x="199" y="172"/>
                  <a:pt x="199" y="172"/>
                </a:cubicBezTo>
                <a:cubicBezTo>
                  <a:pt x="201" y="172"/>
                  <a:pt x="201" y="172"/>
                  <a:pt x="201" y="172"/>
                </a:cubicBezTo>
                <a:cubicBezTo>
                  <a:pt x="201" y="170"/>
                  <a:pt x="201" y="170"/>
                  <a:pt x="201" y="170"/>
                </a:cubicBezTo>
                <a:cubicBezTo>
                  <a:pt x="201" y="168"/>
                  <a:pt x="201" y="168"/>
                  <a:pt x="201" y="168"/>
                </a:cubicBezTo>
                <a:cubicBezTo>
                  <a:pt x="199" y="167"/>
                  <a:pt x="199" y="167"/>
                  <a:pt x="199" y="167"/>
                </a:cubicBezTo>
                <a:cubicBezTo>
                  <a:pt x="198" y="167"/>
                  <a:pt x="198" y="167"/>
                  <a:pt x="198" y="167"/>
                </a:cubicBezTo>
                <a:cubicBezTo>
                  <a:pt x="198" y="168"/>
                  <a:pt x="198" y="168"/>
                  <a:pt x="198" y="168"/>
                </a:cubicBezTo>
                <a:cubicBezTo>
                  <a:pt x="198" y="168"/>
                  <a:pt x="198" y="168"/>
                  <a:pt x="198" y="168"/>
                </a:cubicBezTo>
                <a:cubicBezTo>
                  <a:pt x="199" y="167"/>
                  <a:pt x="199" y="167"/>
                  <a:pt x="199" y="167"/>
                </a:cubicBezTo>
                <a:cubicBezTo>
                  <a:pt x="200" y="167"/>
                  <a:pt x="200" y="167"/>
                  <a:pt x="200" y="167"/>
                </a:cubicBezTo>
                <a:cubicBezTo>
                  <a:pt x="201" y="168"/>
                  <a:pt x="201" y="168"/>
                  <a:pt x="201" y="168"/>
                </a:cubicBezTo>
                <a:cubicBezTo>
                  <a:pt x="203" y="167"/>
                  <a:pt x="203" y="167"/>
                  <a:pt x="203" y="167"/>
                </a:cubicBezTo>
                <a:cubicBezTo>
                  <a:pt x="204" y="166"/>
                  <a:pt x="204" y="166"/>
                  <a:pt x="204" y="166"/>
                </a:cubicBezTo>
                <a:cubicBezTo>
                  <a:pt x="204" y="166"/>
                  <a:pt x="204" y="166"/>
                  <a:pt x="204" y="166"/>
                </a:cubicBezTo>
                <a:cubicBezTo>
                  <a:pt x="207" y="164"/>
                  <a:pt x="207" y="164"/>
                  <a:pt x="207" y="164"/>
                </a:cubicBezTo>
                <a:cubicBezTo>
                  <a:pt x="208" y="163"/>
                  <a:pt x="208" y="163"/>
                  <a:pt x="208" y="163"/>
                </a:cubicBezTo>
                <a:cubicBezTo>
                  <a:pt x="210" y="163"/>
                  <a:pt x="210" y="163"/>
                  <a:pt x="210" y="163"/>
                </a:cubicBezTo>
                <a:cubicBezTo>
                  <a:pt x="210" y="162"/>
                  <a:pt x="210" y="162"/>
                  <a:pt x="210" y="162"/>
                </a:cubicBezTo>
                <a:cubicBezTo>
                  <a:pt x="210" y="161"/>
                  <a:pt x="210" y="161"/>
                  <a:pt x="210" y="161"/>
                </a:cubicBezTo>
                <a:cubicBezTo>
                  <a:pt x="213" y="159"/>
                  <a:pt x="213" y="159"/>
                  <a:pt x="213" y="159"/>
                </a:cubicBezTo>
                <a:cubicBezTo>
                  <a:pt x="215" y="159"/>
                  <a:pt x="215" y="159"/>
                  <a:pt x="215" y="159"/>
                </a:cubicBezTo>
                <a:cubicBezTo>
                  <a:pt x="218" y="157"/>
                  <a:pt x="218" y="157"/>
                  <a:pt x="218" y="157"/>
                </a:cubicBezTo>
                <a:cubicBezTo>
                  <a:pt x="220" y="157"/>
                  <a:pt x="220" y="157"/>
                  <a:pt x="220" y="157"/>
                </a:cubicBezTo>
                <a:cubicBezTo>
                  <a:pt x="222" y="154"/>
                  <a:pt x="222" y="154"/>
                  <a:pt x="222" y="154"/>
                </a:cubicBezTo>
                <a:cubicBezTo>
                  <a:pt x="221" y="156"/>
                  <a:pt x="221" y="156"/>
                  <a:pt x="221" y="156"/>
                </a:cubicBezTo>
                <a:cubicBezTo>
                  <a:pt x="221" y="157"/>
                  <a:pt x="221" y="157"/>
                  <a:pt x="221" y="157"/>
                </a:cubicBezTo>
                <a:cubicBezTo>
                  <a:pt x="222" y="157"/>
                  <a:pt x="222" y="157"/>
                  <a:pt x="222" y="157"/>
                </a:cubicBezTo>
                <a:cubicBezTo>
                  <a:pt x="223" y="158"/>
                  <a:pt x="223" y="158"/>
                  <a:pt x="223" y="158"/>
                </a:cubicBezTo>
                <a:cubicBezTo>
                  <a:pt x="223" y="158"/>
                  <a:pt x="223" y="158"/>
                  <a:pt x="223" y="158"/>
                </a:cubicBezTo>
                <a:cubicBezTo>
                  <a:pt x="225" y="156"/>
                  <a:pt x="225" y="156"/>
                  <a:pt x="225" y="156"/>
                </a:cubicBezTo>
                <a:cubicBezTo>
                  <a:pt x="226" y="156"/>
                  <a:pt x="226" y="156"/>
                  <a:pt x="226" y="156"/>
                </a:cubicBezTo>
                <a:cubicBezTo>
                  <a:pt x="228" y="155"/>
                  <a:pt x="228" y="155"/>
                  <a:pt x="228" y="155"/>
                </a:cubicBezTo>
                <a:cubicBezTo>
                  <a:pt x="229" y="154"/>
                  <a:pt x="229" y="154"/>
                  <a:pt x="229" y="154"/>
                </a:cubicBezTo>
                <a:cubicBezTo>
                  <a:pt x="229" y="156"/>
                  <a:pt x="229" y="156"/>
                  <a:pt x="229" y="156"/>
                </a:cubicBezTo>
                <a:cubicBezTo>
                  <a:pt x="227" y="157"/>
                  <a:pt x="227" y="157"/>
                  <a:pt x="227" y="157"/>
                </a:cubicBezTo>
                <a:cubicBezTo>
                  <a:pt x="225" y="157"/>
                  <a:pt x="225" y="157"/>
                  <a:pt x="225" y="157"/>
                </a:cubicBezTo>
                <a:cubicBezTo>
                  <a:pt x="222" y="160"/>
                  <a:pt x="222" y="160"/>
                  <a:pt x="222" y="160"/>
                </a:cubicBezTo>
                <a:cubicBezTo>
                  <a:pt x="222" y="161"/>
                  <a:pt x="222" y="161"/>
                  <a:pt x="222" y="161"/>
                </a:cubicBezTo>
                <a:cubicBezTo>
                  <a:pt x="224" y="163"/>
                  <a:pt x="224" y="163"/>
                  <a:pt x="224" y="163"/>
                </a:cubicBezTo>
                <a:cubicBezTo>
                  <a:pt x="224" y="164"/>
                  <a:pt x="224" y="164"/>
                  <a:pt x="224" y="164"/>
                </a:cubicBezTo>
                <a:cubicBezTo>
                  <a:pt x="223" y="163"/>
                  <a:pt x="223" y="163"/>
                  <a:pt x="223" y="163"/>
                </a:cubicBezTo>
                <a:cubicBezTo>
                  <a:pt x="222" y="163"/>
                  <a:pt x="222" y="163"/>
                  <a:pt x="222" y="163"/>
                </a:cubicBezTo>
                <a:cubicBezTo>
                  <a:pt x="221" y="163"/>
                  <a:pt x="221" y="163"/>
                  <a:pt x="221" y="163"/>
                </a:cubicBezTo>
                <a:cubicBezTo>
                  <a:pt x="220" y="163"/>
                  <a:pt x="220" y="163"/>
                  <a:pt x="220" y="163"/>
                </a:cubicBezTo>
                <a:cubicBezTo>
                  <a:pt x="219" y="162"/>
                  <a:pt x="219" y="162"/>
                  <a:pt x="219" y="162"/>
                </a:cubicBezTo>
                <a:cubicBezTo>
                  <a:pt x="219" y="161"/>
                  <a:pt x="219" y="161"/>
                  <a:pt x="219" y="161"/>
                </a:cubicBezTo>
                <a:cubicBezTo>
                  <a:pt x="217" y="162"/>
                  <a:pt x="217" y="162"/>
                  <a:pt x="217" y="162"/>
                </a:cubicBezTo>
                <a:cubicBezTo>
                  <a:pt x="216" y="162"/>
                  <a:pt x="216" y="162"/>
                  <a:pt x="216" y="162"/>
                </a:cubicBezTo>
                <a:cubicBezTo>
                  <a:pt x="214" y="163"/>
                  <a:pt x="214" y="163"/>
                  <a:pt x="214" y="163"/>
                </a:cubicBezTo>
                <a:cubicBezTo>
                  <a:pt x="212" y="163"/>
                  <a:pt x="212" y="163"/>
                  <a:pt x="212" y="163"/>
                </a:cubicBezTo>
                <a:cubicBezTo>
                  <a:pt x="211" y="164"/>
                  <a:pt x="211" y="164"/>
                  <a:pt x="211" y="164"/>
                </a:cubicBezTo>
                <a:cubicBezTo>
                  <a:pt x="211" y="166"/>
                  <a:pt x="211" y="166"/>
                  <a:pt x="211" y="166"/>
                </a:cubicBezTo>
                <a:cubicBezTo>
                  <a:pt x="211" y="166"/>
                  <a:pt x="211" y="166"/>
                  <a:pt x="211" y="166"/>
                </a:cubicBezTo>
                <a:cubicBezTo>
                  <a:pt x="210" y="168"/>
                  <a:pt x="210" y="168"/>
                  <a:pt x="210" y="168"/>
                </a:cubicBezTo>
                <a:cubicBezTo>
                  <a:pt x="209" y="169"/>
                  <a:pt x="209" y="169"/>
                  <a:pt x="209" y="169"/>
                </a:cubicBezTo>
                <a:cubicBezTo>
                  <a:pt x="208" y="171"/>
                  <a:pt x="208" y="171"/>
                  <a:pt x="208" y="171"/>
                </a:cubicBezTo>
                <a:cubicBezTo>
                  <a:pt x="204" y="174"/>
                  <a:pt x="204" y="174"/>
                  <a:pt x="204" y="174"/>
                </a:cubicBezTo>
                <a:cubicBezTo>
                  <a:pt x="203" y="175"/>
                  <a:pt x="203" y="175"/>
                  <a:pt x="203" y="175"/>
                </a:cubicBezTo>
                <a:cubicBezTo>
                  <a:pt x="203" y="176"/>
                  <a:pt x="203" y="176"/>
                  <a:pt x="203" y="176"/>
                </a:cubicBezTo>
                <a:cubicBezTo>
                  <a:pt x="205" y="178"/>
                  <a:pt x="205" y="178"/>
                  <a:pt x="205" y="178"/>
                </a:cubicBezTo>
                <a:cubicBezTo>
                  <a:pt x="205" y="177"/>
                  <a:pt x="205" y="177"/>
                  <a:pt x="205" y="177"/>
                </a:cubicBezTo>
                <a:cubicBezTo>
                  <a:pt x="206" y="177"/>
                  <a:pt x="206" y="177"/>
                  <a:pt x="206" y="177"/>
                </a:cubicBezTo>
                <a:cubicBezTo>
                  <a:pt x="207" y="176"/>
                  <a:pt x="207" y="176"/>
                  <a:pt x="207" y="176"/>
                </a:cubicBezTo>
                <a:cubicBezTo>
                  <a:pt x="208" y="176"/>
                  <a:pt x="208" y="176"/>
                  <a:pt x="208" y="176"/>
                </a:cubicBezTo>
                <a:cubicBezTo>
                  <a:pt x="208" y="177"/>
                  <a:pt x="208" y="177"/>
                  <a:pt x="208" y="177"/>
                </a:cubicBezTo>
                <a:cubicBezTo>
                  <a:pt x="206" y="178"/>
                  <a:pt x="206" y="178"/>
                  <a:pt x="206" y="178"/>
                </a:cubicBezTo>
                <a:cubicBezTo>
                  <a:pt x="205" y="179"/>
                  <a:pt x="205" y="179"/>
                  <a:pt x="205" y="179"/>
                </a:cubicBezTo>
                <a:cubicBezTo>
                  <a:pt x="204" y="180"/>
                  <a:pt x="204" y="180"/>
                  <a:pt x="204" y="180"/>
                </a:cubicBezTo>
                <a:cubicBezTo>
                  <a:pt x="203" y="179"/>
                  <a:pt x="203" y="179"/>
                  <a:pt x="203" y="179"/>
                </a:cubicBezTo>
                <a:cubicBezTo>
                  <a:pt x="202" y="179"/>
                  <a:pt x="202" y="179"/>
                  <a:pt x="202" y="179"/>
                </a:cubicBezTo>
                <a:cubicBezTo>
                  <a:pt x="201" y="180"/>
                  <a:pt x="201" y="180"/>
                  <a:pt x="201" y="180"/>
                </a:cubicBezTo>
                <a:cubicBezTo>
                  <a:pt x="201" y="181"/>
                  <a:pt x="201" y="181"/>
                  <a:pt x="201" y="181"/>
                </a:cubicBezTo>
                <a:cubicBezTo>
                  <a:pt x="200" y="180"/>
                  <a:pt x="200" y="180"/>
                  <a:pt x="200" y="180"/>
                </a:cubicBezTo>
                <a:cubicBezTo>
                  <a:pt x="199" y="181"/>
                  <a:pt x="199" y="181"/>
                  <a:pt x="199" y="181"/>
                </a:cubicBezTo>
                <a:cubicBezTo>
                  <a:pt x="200" y="182"/>
                  <a:pt x="200" y="182"/>
                  <a:pt x="200" y="182"/>
                </a:cubicBezTo>
                <a:cubicBezTo>
                  <a:pt x="201" y="184"/>
                  <a:pt x="201" y="184"/>
                  <a:pt x="201" y="184"/>
                </a:cubicBezTo>
                <a:cubicBezTo>
                  <a:pt x="202" y="184"/>
                  <a:pt x="202" y="184"/>
                  <a:pt x="202" y="184"/>
                </a:cubicBezTo>
                <a:cubicBezTo>
                  <a:pt x="202" y="183"/>
                  <a:pt x="202" y="183"/>
                  <a:pt x="202" y="183"/>
                </a:cubicBezTo>
                <a:cubicBezTo>
                  <a:pt x="203" y="184"/>
                  <a:pt x="203" y="184"/>
                  <a:pt x="203" y="184"/>
                </a:cubicBezTo>
                <a:cubicBezTo>
                  <a:pt x="203" y="182"/>
                  <a:pt x="203" y="182"/>
                  <a:pt x="203" y="182"/>
                </a:cubicBezTo>
                <a:cubicBezTo>
                  <a:pt x="204" y="182"/>
                  <a:pt x="204" y="182"/>
                  <a:pt x="204" y="182"/>
                </a:cubicBezTo>
                <a:cubicBezTo>
                  <a:pt x="204" y="183"/>
                  <a:pt x="204" y="183"/>
                  <a:pt x="204" y="183"/>
                </a:cubicBezTo>
                <a:cubicBezTo>
                  <a:pt x="205" y="183"/>
                  <a:pt x="205" y="183"/>
                  <a:pt x="205" y="183"/>
                </a:cubicBezTo>
                <a:cubicBezTo>
                  <a:pt x="205" y="182"/>
                  <a:pt x="205" y="182"/>
                  <a:pt x="205" y="182"/>
                </a:cubicBezTo>
                <a:cubicBezTo>
                  <a:pt x="206" y="182"/>
                  <a:pt x="206" y="182"/>
                  <a:pt x="206" y="182"/>
                </a:cubicBezTo>
                <a:cubicBezTo>
                  <a:pt x="208" y="181"/>
                  <a:pt x="208" y="181"/>
                  <a:pt x="208" y="181"/>
                </a:cubicBezTo>
                <a:cubicBezTo>
                  <a:pt x="208" y="179"/>
                  <a:pt x="208" y="179"/>
                  <a:pt x="208" y="179"/>
                </a:cubicBezTo>
                <a:cubicBezTo>
                  <a:pt x="209" y="179"/>
                  <a:pt x="209" y="179"/>
                  <a:pt x="209" y="179"/>
                </a:cubicBezTo>
                <a:cubicBezTo>
                  <a:pt x="209" y="179"/>
                  <a:pt x="209" y="179"/>
                  <a:pt x="209" y="179"/>
                </a:cubicBezTo>
                <a:cubicBezTo>
                  <a:pt x="208" y="180"/>
                  <a:pt x="208" y="180"/>
                  <a:pt x="208" y="180"/>
                </a:cubicBezTo>
                <a:cubicBezTo>
                  <a:pt x="209" y="181"/>
                  <a:pt x="209" y="181"/>
                  <a:pt x="209" y="181"/>
                </a:cubicBezTo>
                <a:cubicBezTo>
                  <a:pt x="210" y="181"/>
                  <a:pt x="210" y="181"/>
                  <a:pt x="210" y="181"/>
                </a:cubicBezTo>
                <a:cubicBezTo>
                  <a:pt x="212" y="179"/>
                  <a:pt x="212" y="179"/>
                  <a:pt x="212" y="179"/>
                </a:cubicBezTo>
                <a:cubicBezTo>
                  <a:pt x="213" y="179"/>
                  <a:pt x="213" y="179"/>
                  <a:pt x="213" y="179"/>
                </a:cubicBezTo>
                <a:cubicBezTo>
                  <a:pt x="214" y="180"/>
                  <a:pt x="214" y="180"/>
                  <a:pt x="214" y="180"/>
                </a:cubicBezTo>
                <a:cubicBezTo>
                  <a:pt x="214" y="179"/>
                  <a:pt x="214" y="179"/>
                  <a:pt x="214" y="179"/>
                </a:cubicBezTo>
                <a:cubicBezTo>
                  <a:pt x="215" y="177"/>
                  <a:pt x="215" y="177"/>
                  <a:pt x="215" y="177"/>
                </a:cubicBezTo>
                <a:cubicBezTo>
                  <a:pt x="216" y="176"/>
                  <a:pt x="216" y="176"/>
                  <a:pt x="216" y="176"/>
                </a:cubicBezTo>
                <a:cubicBezTo>
                  <a:pt x="217" y="176"/>
                  <a:pt x="217" y="176"/>
                  <a:pt x="217" y="176"/>
                </a:cubicBezTo>
                <a:cubicBezTo>
                  <a:pt x="216" y="178"/>
                  <a:pt x="216" y="178"/>
                  <a:pt x="216" y="178"/>
                </a:cubicBezTo>
                <a:cubicBezTo>
                  <a:pt x="216" y="179"/>
                  <a:pt x="216" y="179"/>
                  <a:pt x="216" y="179"/>
                </a:cubicBezTo>
                <a:cubicBezTo>
                  <a:pt x="216" y="178"/>
                  <a:pt x="216" y="178"/>
                  <a:pt x="216" y="178"/>
                </a:cubicBezTo>
                <a:cubicBezTo>
                  <a:pt x="218" y="176"/>
                  <a:pt x="218" y="176"/>
                  <a:pt x="218" y="176"/>
                </a:cubicBezTo>
                <a:cubicBezTo>
                  <a:pt x="218" y="174"/>
                  <a:pt x="218" y="174"/>
                  <a:pt x="218" y="174"/>
                </a:cubicBezTo>
                <a:cubicBezTo>
                  <a:pt x="219" y="174"/>
                  <a:pt x="219" y="174"/>
                  <a:pt x="219" y="174"/>
                </a:cubicBezTo>
                <a:cubicBezTo>
                  <a:pt x="219" y="175"/>
                  <a:pt x="219" y="175"/>
                  <a:pt x="219" y="175"/>
                </a:cubicBezTo>
                <a:cubicBezTo>
                  <a:pt x="218" y="176"/>
                  <a:pt x="218" y="176"/>
                  <a:pt x="218" y="176"/>
                </a:cubicBezTo>
                <a:cubicBezTo>
                  <a:pt x="219" y="177"/>
                  <a:pt x="219" y="177"/>
                  <a:pt x="219" y="177"/>
                </a:cubicBezTo>
                <a:cubicBezTo>
                  <a:pt x="220" y="175"/>
                  <a:pt x="220" y="175"/>
                  <a:pt x="220" y="175"/>
                </a:cubicBezTo>
                <a:cubicBezTo>
                  <a:pt x="221" y="176"/>
                  <a:pt x="221" y="176"/>
                  <a:pt x="221" y="176"/>
                </a:cubicBezTo>
                <a:cubicBezTo>
                  <a:pt x="221" y="177"/>
                  <a:pt x="221" y="177"/>
                  <a:pt x="221" y="177"/>
                </a:cubicBezTo>
                <a:cubicBezTo>
                  <a:pt x="222" y="177"/>
                  <a:pt x="222" y="177"/>
                  <a:pt x="222" y="177"/>
                </a:cubicBezTo>
                <a:cubicBezTo>
                  <a:pt x="222" y="177"/>
                  <a:pt x="222" y="177"/>
                  <a:pt x="222" y="177"/>
                </a:cubicBezTo>
                <a:cubicBezTo>
                  <a:pt x="223" y="177"/>
                  <a:pt x="223" y="177"/>
                  <a:pt x="223" y="177"/>
                </a:cubicBezTo>
                <a:cubicBezTo>
                  <a:pt x="224" y="175"/>
                  <a:pt x="224" y="175"/>
                  <a:pt x="224" y="175"/>
                </a:cubicBezTo>
                <a:cubicBezTo>
                  <a:pt x="226" y="175"/>
                  <a:pt x="226" y="175"/>
                  <a:pt x="226" y="175"/>
                </a:cubicBezTo>
                <a:cubicBezTo>
                  <a:pt x="227" y="174"/>
                  <a:pt x="227" y="174"/>
                  <a:pt x="227" y="174"/>
                </a:cubicBezTo>
                <a:cubicBezTo>
                  <a:pt x="226" y="174"/>
                  <a:pt x="226" y="174"/>
                  <a:pt x="226" y="174"/>
                </a:cubicBezTo>
                <a:cubicBezTo>
                  <a:pt x="226" y="173"/>
                  <a:pt x="226" y="173"/>
                  <a:pt x="226" y="173"/>
                </a:cubicBezTo>
                <a:cubicBezTo>
                  <a:pt x="229" y="172"/>
                  <a:pt x="229" y="172"/>
                  <a:pt x="229" y="172"/>
                </a:cubicBezTo>
                <a:cubicBezTo>
                  <a:pt x="229" y="171"/>
                  <a:pt x="229" y="171"/>
                  <a:pt x="229" y="171"/>
                </a:cubicBezTo>
                <a:cubicBezTo>
                  <a:pt x="229" y="170"/>
                  <a:pt x="229" y="170"/>
                  <a:pt x="229" y="170"/>
                </a:cubicBezTo>
                <a:cubicBezTo>
                  <a:pt x="228" y="170"/>
                  <a:pt x="228" y="170"/>
                  <a:pt x="228" y="170"/>
                </a:cubicBezTo>
                <a:cubicBezTo>
                  <a:pt x="227" y="169"/>
                  <a:pt x="227" y="169"/>
                  <a:pt x="227" y="169"/>
                </a:cubicBezTo>
                <a:cubicBezTo>
                  <a:pt x="226" y="169"/>
                  <a:pt x="226" y="169"/>
                  <a:pt x="226" y="169"/>
                </a:cubicBezTo>
                <a:cubicBezTo>
                  <a:pt x="226" y="168"/>
                  <a:pt x="226" y="168"/>
                  <a:pt x="226" y="168"/>
                </a:cubicBezTo>
                <a:cubicBezTo>
                  <a:pt x="227" y="168"/>
                  <a:pt x="227" y="168"/>
                  <a:pt x="227" y="168"/>
                </a:cubicBezTo>
                <a:cubicBezTo>
                  <a:pt x="228" y="169"/>
                  <a:pt x="228" y="169"/>
                  <a:pt x="228" y="169"/>
                </a:cubicBezTo>
                <a:cubicBezTo>
                  <a:pt x="229" y="168"/>
                  <a:pt x="229" y="168"/>
                  <a:pt x="229" y="168"/>
                </a:cubicBezTo>
                <a:cubicBezTo>
                  <a:pt x="229" y="167"/>
                  <a:pt x="229" y="167"/>
                  <a:pt x="229" y="167"/>
                </a:cubicBezTo>
                <a:cubicBezTo>
                  <a:pt x="228" y="167"/>
                  <a:pt x="228" y="167"/>
                  <a:pt x="228" y="167"/>
                </a:cubicBezTo>
                <a:cubicBezTo>
                  <a:pt x="226" y="166"/>
                  <a:pt x="226" y="166"/>
                  <a:pt x="226" y="166"/>
                </a:cubicBezTo>
                <a:cubicBezTo>
                  <a:pt x="226" y="165"/>
                  <a:pt x="226" y="165"/>
                  <a:pt x="226" y="165"/>
                </a:cubicBezTo>
                <a:cubicBezTo>
                  <a:pt x="228" y="165"/>
                  <a:pt x="228" y="165"/>
                  <a:pt x="228" y="165"/>
                </a:cubicBezTo>
                <a:cubicBezTo>
                  <a:pt x="229" y="165"/>
                  <a:pt x="229" y="165"/>
                  <a:pt x="229" y="165"/>
                </a:cubicBezTo>
                <a:cubicBezTo>
                  <a:pt x="229" y="165"/>
                  <a:pt x="229" y="165"/>
                  <a:pt x="229" y="165"/>
                </a:cubicBezTo>
                <a:cubicBezTo>
                  <a:pt x="229" y="165"/>
                  <a:pt x="229" y="165"/>
                  <a:pt x="229" y="165"/>
                </a:cubicBezTo>
                <a:cubicBezTo>
                  <a:pt x="229" y="163"/>
                  <a:pt x="229" y="163"/>
                  <a:pt x="229" y="163"/>
                </a:cubicBezTo>
                <a:cubicBezTo>
                  <a:pt x="231" y="162"/>
                  <a:pt x="231" y="162"/>
                  <a:pt x="231" y="162"/>
                </a:cubicBezTo>
                <a:cubicBezTo>
                  <a:pt x="232" y="163"/>
                  <a:pt x="232" y="163"/>
                  <a:pt x="232" y="163"/>
                </a:cubicBezTo>
                <a:cubicBezTo>
                  <a:pt x="233" y="163"/>
                  <a:pt x="233" y="163"/>
                  <a:pt x="233" y="163"/>
                </a:cubicBezTo>
                <a:cubicBezTo>
                  <a:pt x="235" y="163"/>
                  <a:pt x="235" y="163"/>
                  <a:pt x="235" y="163"/>
                </a:cubicBezTo>
                <a:cubicBezTo>
                  <a:pt x="232" y="164"/>
                  <a:pt x="232" y="164"/>
                  <a:pt x="232" y="164"/>
                </a:cubicBezTo>
                <a:cubicBezTo>
                  <a:pt x="232" y="165"/>
                  <a:pt x="232" y="165"/>
                  <a:pt x="232" y="165"/>
                </a:cubicBezTo>
                <a:cubicBezTo>
                  <a:pt x="233" y="168"/>
                  <a:pt x="233" y="168"/>
                  <a:pt x="233" y="168"/>
                </a:cubicBezTo>
                <a:cubicBezTo>
                  <a:pt x="233" y="167"/>
                  <a:pt x="233" y="167"/>
                  <a:pt x="233" y="167"/>
                </a:cubicBezTo>
                <a:cubicBezTo>
                  <a:pt x="234" y="165"/>
                  <a:pt x="234" y="165"/>
                  <a:pt x="234" y="165"/>
                </a:cubicBezTo>
                <a:cubicBezTo>
                  <a:pt x="235" y="164"/>
                  <a:pt x="235" y="164"/>
                  <a:pt x="235" y="164"/>
                </a:cubicBezTo>
                <a:cubicBezTo>
                  <a:pt x="236" y="164"/>
                  <a:pt x="236" y="164"/>
                  <a:pt x="236" y="164"/>
                </a:cubicBezTo>
                <a:cubicBezTo>
                  <a:pt x="235" y="165"/>
                  <a:pt x="235" y="165"/>
                  <a:pt x="235" y="165"/>
                </a:cubicBezTo>
                <a:cubicBezTo>
                  <a:pt x="235" y="166"/>
                  <a:pt x="235" y="166"/>
                  <a:pt x="235" y="166"/>
                </a:cubicBezTo>
                <a:cubicBezTo>
                  <a:pt x="235" y="167"/>
                  <a:pt x="235" y="167"/>
                  <a:pt x="235" y="167"/>
                </a:cubicBezTo>
                <a:cubicBezTo>
                  <a:pt x="236" y="166"/>
                  <a:pt x="236" y="166"/>
                  <a:pt x="236" y="166"/>
                </a:cubicBezTo>
                <a:cubicBezTo>
                  <a:pt x="237" y="165"/>
                  <a:pt x="237" y="165"/>
                  <a:pt x="237" y="165"/>
                </a:cubicBezTo>
                <a:cubicBezTo>
                  <a:pt x="238" y="166"/>
                  <a:pt x="238" y="166"/>
                  <a:pt x="238" y="166"/>
                </a:cubicBezTo>
                <a:cubicBezTo>
                  <a:pt x="239" y="165"/>
                  <a:pt x="239" y="165"/>
                  <a:pt x="239" y="165"/>
                </a:cubicBezTo>
                <a:cubicBezTo>
                  <a:pt x="239" y="165"/>
                  <a:pt x="239" y="165"/>
                  <a:pt x="239" y="165"/>
                </a:cubicBezTo>
                <a:cubicBezTo>
                  <a:pt x="241" y="164"/>
                  <a:pt x="241" y="164"/>
                  <a:pt x="241" y="164"/>
                </a:cubicBezTo>
                <a:cubicBezTo>
                  <a:pt x="242" y="164"/>
                  <a:pt x="242" y="164"/>
                  <a:pt x="242" y="164"/>
                </a:cubicBezTo>
                <a:cubicBezTo>
                  <a:pt x="243" y="164"/>
                  <a:pt x="243" y="164"/>
                  <a:pt x="243" y="164"/>
                </a:cubicBezTo>
                <a:cubicBezTo>
                  <a:pt x="243" y="165"/>
                  <a:pt x="243" y="165"/>
                  <a:pt x="243" y="165"/>
                </a:cubicBezTo>
                <a:cubicBezTo>
                  <a:pt x="241" y="165"/>
                  <a:pt x="241" y="165"/>
                  <a:pt x="241" y="165"/>
                </a:cubicBezTo>
                <a:cubicBezTo>
                  <a:pt x="240" y="166"/>
                  <a:pt x="240" y="166"/>
                  <a:pt x="240" y="166"/>
                </a:cubicBezTo>
                <a:cubicBezTo>
                  <a:pt x="239" y="166"/>
                  <a:pt x="239" y="166"/>
                  <a:pt x="239" y="166"/>
                </a:cubicBezTo>
                <a:cubicBezTo>
                  <a:pt x="239" y="167"/>
                  <a:pt x="239" y="167"/>
                  <a:pt x="239" y="167"/>
                </a:cubicBezTo>
                <a:cubicBezTo>
                  <a:pt x="239" y="168"/>
                  <a:pt x="239" y="168"/>
                  <a:pt x="239" y="168"/>
                </a:cubicBezTo>
                <a:cubicBezTo>
                  <a:pt x="242" y="168"/>
                  <a:pt x="242" y="168"/>
                  <a:pt x="242" y="168"/>
                </a:cubicBezTo>
                <a:cubicBezTo>
                  <a:pt x="242" y="169"/>
                  <a:pt x="242" y="169"/>
                  <a:pt x="242" y="169"/>
                </a:cubicBezTo>
                <a:cubicBezTo>
                  <a:pt x="242" y="169"/>
                  <a:pt x="242" y="169"/>
                  <a:pt x="242" y="169"/>
                </a:cubicBezTo>
                <a:cubicBezTo>
                  <a:pt x="241" y="168"/>
                  <a:pt x="241" y="168"/>
                  <a:pt x="241" y="168"/>
                </a:cubicBezTo>
                <a:cubicBezTo>
                  <a:pt x="239" y="168"/>
                  <a:pt x="239" y="168"/>
                  <a:pt x="239" y="168"/>
                </a:cubicBezTo>
                <a:cubicBezTo>
                  <a:pt x="238" y="169"/>
                  <a:pt x="238" y="169"/>
                  <a:pt x="238" y="169"/>
                </a:cubicBezTo>
                <a:cubicBezTo>
                  <a:pt x="238" y="170"/>
                  <a:pt x="238" y="170"/>
                  <a:pt x="238" y="170"/>
                </a:cubicBezTo>
                <a:cubicBezTo>
                  <a:pt x="239" y="170"/>
                  <a:pt x="239" y="170"/>
                  <a:pt x="239" y="170"/>
                </a:cubicBezTo>
                <a:cubicBezTo>
                  <a:pt x="240" y="169"/>
                  <a:pt x="240" y="169"/>
                  <a:pt x="240" y="169"/>
                </a:cubicBezTo>
                <a:cubicBezTo>
                  <a:pt x="241" y="170"/>
                  <a:pt x="241" y="170"/>
                  <a:pt x="241" y="170"/>
                </a:cubicBezTo>
                <a:cubicBezTo>
                  <a:pt x="240" y="170"/>
                  <a:pt x="240" y="170"/>
                  <a:pt x="240" y="170"/>
                </a:cubicBezTo>
                <a:cubicBezTo>
                  <a:pt x="239" y="170"/>
                  <a:pt x="239" y="170"/>
                  <a:pt x="239" y="170"/>
                </a:cubicBezTo>
                <a:cubicBezTo>
                  <a:pt x="239" y="171"/>
                  <a:pt x="239" y="171"/>
                  <a:pt x="239" y="171"/>
                </a:cubicBezTo>
                <a:cubicBezTo>
                  <a:pt x="241" y="172"/>
                  <a:pt x="241" y="172"/>
                  <a:pt x="241" y="172"/>
                </a:cubicBezTo>
                <a:cubicBezTo>
                  <a:pt x="241" y="173"/>
                  <a:pt x="241" y="173"/>
                  <a:pt x="241" y="173"/>
                </a:cubicBezTo>
                <a:cubicBezTo>
                  <a:pt x="241" y="173"/>
                  <a:pt x="241" y="173"/>
                  <a:pt x="241" y="173"/>
                </a:cubicBezTo>
                <a:cubicBezTo>
                  <a:pt x="240" y="173"/>
                  <a:pt x="240" y="173"/>
                  <a:pt x="240" y="173"/>
                </a:cubicBezTo>
                <a:cubicBezTo>
                  <a:pt x="240" y="174"/>
                  <a:pt x="240" y="174"/>
                  <a:pt x="240" y="174"/>
                </a:cubicBezTo>
                <a:cubicBezTo>
                  <a:pt x="241" y="174"/>
                  <a:pt x="241" y="174"/>
                  <a:pt x="241" y="174"/>
                </a:cubicBezTo>
                <a:cubicBezTo>
                  <a:pt x="242" y="173"/>
                  <a:pt x="242" y="173"/>
                  <a:pt x="242" y="173"/>
                </a:cubicBezTo>
                <a:cubicBezTo>
                  <a:pt x="243" y="174"/>
                  <a:pt x="243" y="174"/>
                  <a:pt x="243" y="174"/>
                </a:cubicBezTo>
                <a:cubicBezTo>
                  <a:pt x="244" y="175"/>
                  <a:pt x="244" y="175"/>
                  <a:pt x="244" y="175"/>
                </a:cubicBezTo>
                <a:cubicBezTo>
                  <a:pt x="246" y="174"/>
                  <a:pt x="246" y="174"/>
                  <a:pt x="246" y="174"/>
                </a:cubicBezTo>
                <a:cubicBezTo>
                  <a:pt x="247" y="175"/>
                  <a:pt x="247" y="175"/>
                  <a:pt x="247" y="175"/>
                </a:cubicBezTo>
                <a:cubicBezTo>
                  <a:pt x="247" y="176"/>
                  <a:pt x="247" y="176"/>
                  <a:pt x="247" y="176"/>
                </a:cubicBezTo>
                <a:cubicBezTo>
                  <a:pt x="246" y="176"/>
                  <a:pt x="246" y="176"/>
                  <a:pt x="246" y="176"/>
                </a:cubicBezTo>
                <a:cubicBezTo>
                  <a:pt x="246" y="177"/>
                  <a:pt x="246" y="177"/>
                  <a:pt x="246" y="177"/>
                </a:cubicBezTo>
                <a:cubicBezTo>
                  <a:pt x="247" y="177"/>
                  <a:pt x="247" y="177"/>
                  <a:pt x="247" y="177"/>
                </a:cubicBezTo>
                <a:cubicBezTo>
                  <a:pt x="247" y="178"/>
                  <a:pt x="247" y="178"/>
                  <a:pt x="247" y="178"/>
                </a:cubicBezTo>
                <a:cubicBezTo>
                  <a:pt x="248" y="178"/>
                  <a:pt x="248" y="178"/>
                  <a:pt x="248" y="178"/>
                </a:cubicBezTo>
                <a:cubicBezTo>
                  <a:pt x="249" y="177"/>
                  <a:pt x="249" y="177"/>
                  <a:pt x="249" y="177"/>
                </a:cubicBezTo>
                <a:cubicBezTo>
                  <a:pt x="248" y="176"/>
                  <a:pt x="248" y="176"/>
                  <a:pt x="248" y="176"/>
                </a:cubicBezTo>
                <a:cubicBezTo>
                  <a:pt x="249" y="176"/>
                  <a:pt x="249" y="176"/>
                  <a:pt x="249" y="176"/>
                </a:cubicBezTo>
                <a:cubicBezTo>
                  <a:pt x="250" y="176"/>
                  <a:pt x="250" y="176"/>
                  <a:pt x="250" y="176"/>
                </a:cubicBezTo>
                <a:cubicBezTo>
                  <a:pt x="249" y="177"/>
                  <a:pt x="249" y="177"/>
                  <a:pt x="249" y="177"/>
                </a:cubicBezTo>
                <a:cubicBezTo>
                  <a:pt x="249" y="178"/>
                  <a:pt x="249" y="178"/>
                  <a:pt x="249" y="178"/>
                </a:cubicBezTo>
                <a:cubicBezTo>
                  <a:pt x="248" y="179"/>
                  <a:pt x="248" y="179"/>
                  <a:pt x="248" y="179"/>
                </a:cubicBezTo>
                <a:cubicBezTo>
                  <a:pt x="249" y="181"/>
                  <a:pt x="249" y="181"/>
                  <a:pt x="249" y="181"/>
                </a:cubicBezTo>
                <a:cubicBezTo>
                  <a:pt x="248" y="181"/>
                  <a:pt x="248" y="181"/>
                  <a:pt x="248" y="181"/>
                </a:cubicBezTo>
                <a:cubicBezTo>
                  <a:pt x="248" y="181"/>
                  <a:pt x="248" y="181"/>
                  <a:pt x="248" y="181"/>
                </a:cubicBezTo>
                <a:cubicBezTo>
                  <a:pt x="247" y="181"/>
                  <a:pt x="247" y="181"/>
                  <a:pt x="247" y="181"/>
                </a:cubicBezTo>
                <a:cubicBezTo>
                  <a:pt x="247" y="182"/>
                  <a:pt x="247" y="182"/>
                  <a:pt x="247" y="182"/>
                </a:cubicBezTo>
                <a:cubicBezTo>
                  <a:pt x="250" y="182"/>
                  <a:pt x="250" y="182"/>
                  <a:pt x="250" y="182"/>
                </a:cubicBezTo>
                <a:cubicBezTo>
                  <a:pt x="251" y="182"/>
                  <a:pt x="251" y="182"/>
                  <a:pt x="251" y="182"/>
                </a:cubicBezTo>
                <a:cubicBezTo>
                  <a:pt x="252" y="182"/>
                  <a:pt x="252" y="182"/>
                  <a:pt x="252" y="182"/>
                </a:cubicBezTo>
                <a:cubicBezTo>
                  <a:pt x="253" y="182"/>
                  <a:pt x="253" y="182"/>
                  <a:pt x="253" y="182"/>
                </a:cubicBezTo>
                <a:cubicBezTo>
                  <a:pt x="255" y="182"/>
                  <a:pt x="255" y="182"/>
                  <a:pt x="255" y="182"/>
                </a:cubicBezTo>
                <a:cubicBezTo>
                  <a:pt x="256" y="182"/>
                  <a:pt x="256" y="182"/>
                  <a:pt x="256" y="182"/>
                </a:cubicBezTo>
                <a:cubicBezTo>
                  <a:pt x="257" y="182"/>
                  <a:pt x="257" y="182"/>
                  <a:pt x="257" y="182"/>
                </a:cubicBezTo>
                <a:cubicBezTo>
                  <a:pt x="257" y="183"/>
                  <a:pt x="257" y="183"/>
                  <a:pt x="257" y="183"/>
                </a:cubicBezTo>
                <a:cubicBezTo>
                  <a:pt x="258" y="183"/>
                  <a:pt x="258" y="183"/>
                  <a:pt x="258" y="183"/>
                </a:cubicBezTo>
                <a:cubicBezTo>
                  <a:pt x="259" y="184"/>
                  <a:pt x="259" y="184"/>
                  <a:pt x="259" y="184"/>
                </a:cubicBezTo>
                <a:cubicBezTo>
                  <a:pt x="259" y="185"/>
                  <a:pt x="259" y="185"/>
                  <a:pt x="259" y="185"/>
                </a:cubicBezTo>
                <a:cubicBezTo>
                  <a:pt x="260" y="185"/>
                  <a:pt x="260" y="185"/>
                  <a:pt x="260" y="185"/>
                </a:cubicBezTo>
                <a:cubicBezTo>
                  <a:pt x="261" y="185"/>
                  <a:pt x="261" y="185"/>
                  <a:pt x="261" y="185"/>
                </a:cubicBezTo>
                <a:cubicBezTo>
                  <a:pt x="263" y="185"/>
                  <a:pt x="263" y="185"/>
                  <a:pt x="263" y="185"/>
                </a:cubicBezTo>
                <a:cubicBezTo>
                  <a:pt x="263" y="184"/>
                  <a:pt x="263" y="184"/>
                  <a:pt x="263" y="184"/>
                </a:cubicBezTo>
                <a:cubicBezTo>
                  <a:pt x="264" y="184"/>
                  <a:pt x="264" y="184"/>
                  <a:pt x="264" y="184"/>
                </a:cubicBezTo>
                <a:cubicBezTo>
                  <a:pt x="263" y="185"/>
                  <a:pt x="263" y="185"/>
                  <a:pt x="263" y="185"/>
                </a:cubicBezTo>
                <a:cubicBezTo>
                  <a:pt x="263" y="186"/>
                  <a:pt x="263" y="186"/>
                  <a:pt x="263" y="186"/>
                </a:cubicBezTo>
                <a:cubicBezTo>
                  <a:pt x="261" y="186"/>
                  <a:pt x="261" y="186"/>
                  <a:pt x="261" y="186"/>
                </a:cubicBezTo>
                <a:cubicBezTo>
                  <a:pt x="262" y="187"/>
                  <a:pt x="262" y="187"/>
                  <a:pt x="262" y="187"/>
                </a:cubicBezTo>
                <a:cubicBezTo>
                  <a:pt x="263" y="188"/>
                  <a:pt x="263" y="188"/>
                  <a:pt x="263" y="188"/>
                </a:cubicBezTo>
                <a:cubicBezTo>
                  <a:pt x="264" y="189"/>
                  <a:pt x="264" y="189"/>
                  <a:pt x="264" y="189"/>
                </a:cubicBezTo>
                <a:cubicBezTo>
                  <a:pt x="265" y="189"/>
                  <a:pt x="265" y="189"/>
                  <a:pt x="265" y="189"/>
                </a:cubicBezTo>
                <a:cubicBezTo>
                  <a:pt x="266" y="190"/>
                  <a:pt x="266" y="190"/>
                  <a:pt x="266" y="190"/>
                </a:cubicBezTo>
                <a:cubicBezTo>
                  <a:pt x="269" y="189"/>
                  <a:pt x="269" y="189"/>
                  <a:pt x="269" y="189"/>
                </a:cubicBezTo>
                <a:cubicBezTo>
                  <a:pt x="270" y="189"/>
                  <a:pt x="270" y="189"/>
                  <a:pt x="270" y="189"/>
                </a:cubicBezTo>
                <a:cubicBezTo>
                  <a:pt x="270" y="190"/>
                  <a:pt x="270" y="190"/>
                  <a:pt x="270" y="190"/>
                </a:cubicBezTo>
                <a:cubicBezTo>
                  <a:pt x="271" y="189"/>
                  <a:pt x="271" y="189"/>
                  <a:pt x="271" y="189"/>
                </a:cubicBezTo>
                <a:cubicBezTo>
                  <a:pt x="272" y="188"/>
                  <a:pt x="272" y="188"/>
                  <a:pt x="272" y="188"/>
                </a:cubicBezTo>
                <a:cubicBezTo>
                  <a:pt x="273" y="188"/>
                  <a:pt x="273" y="188"/>
                  <a:pt x="273" y="188"/>
                </a:cubicBezTo>
                <a:cubicBezTo>
                  <a:pt x="272" y="188"/>
                  <a:pt x="272" y="188"/>
                  <a:pt x="272" y="188"/>
                </a:cubicBezTo>
                <a:cubicBezTo>
                  <a:pt x="271" y="189"/>
                  <a:pt x="271" y="189"/>
                  <a:pt x="271" y="189"/>
                </a:cubicBezTo>
                <a:cubicBezTo>
                  <a:pt x="271" y="191"/>
                  <a:pt x="271" y="191"/>
                  <a:pt x="271" y="191"/>
                </a:cubicBezTo>
                <a:cubicBezTo>
                  <a:pt x="271" y="193"/>
                  <a:pt x="271" y="193"/>
                  <a:pt x="271" y="193"/>
                </a:cubicBezTo>
                <a:cubicBezTo>
                  <a:pt x="270" y="193"/>
                  <a:pt x="270" y="193"/>
                  <a:pt x="270" y="193"/>
                </a:cubicBezTo>
                <a:cubicBezTo>
                  <a:pt x="268" y="192"/>
                  <a:pt x="268" y="192"/>
                  <a:pt x="268" y="192"/>
                </a:cubicBezTo>
                <a:cubicBezTo>
                  <a:pt x="268" y="192"/>
                  <a:pt x="268" y="192"/>
                  <a:pt x="268" y="192"/>
                </a:cubicBezTo>
                <a:cubicBezTo>
                  <a:pt x="269" y="194"/>
                  <a:pt x="269" y="194"/>
                  <a:pt x="269" y="194"/>
                </a:cubicBezTo>
                <a:cubicBezTo>
                  <a:pt x="269" y="195"/>
                  <a:pt x="269" y="195"/>
                  <a:pt x="269" y="195"/>
                </a:cubicBezTo>
                <a:cubicBezTo>
                  <a:pt x="270" y="196"/>
                  <a:pt x="270" y="196"/>
                  <a:pt x="270" y="196"/>
                </a:cubicBezTo>
                <a:cubicBezTo>
                  <a:pt x="271" y="195"/>
                  <a:pt x="271" y="195"/>
                  <a:pt x="271" y="195"/>
                </a:cubicBezTo>
                <a:cubicBezTo>
                  <a:pt x="272" y="196"/>
                  <a:pt x="272" y="196"/>
                  <a:pt x="272" y="196"/>
                </a:cubicBezTo>
                <a:cubicBezTo>
                  <a:pt x="271" y="197"/>
                  <a:pt x="271" y="197"/>
                  <a:pt x="271" y="197"/>
                </a:cubicBezTo>
                <a:cubicBezTo>
                  <a:pt x="271" y="197"/>
                  <a:pt x="271" y="197"/>
                  <a:pt x="271" y="197"/>
                </a:cubicBezTo>
                <a:cubicBezTo>
                  <a:pt x="271" y="197"/>
                  <a:pt x="271" y="197"/>
                  <a:pt x="271" y="197"/>
                </a:cubicBezTo>
                <a:cubicBezTo>
                  <a:pt x="272" y="199"/>
                  <a:pt x="272" y="199"/>
                  <a:pt x="272" y="199"/>
                </a:cubicBezTo>
                <a:cubicBezTo>
                  <a:pt x="273" y="198"/>
                  <a:pt x="273" y="198"/>
                  <a:pt x="273" y="198"/>
                </a:cubicBezTo>
                <a:cubicBezTo>
                  <a:pt x="274" y="199"/>
                  <a:pt x="274" y="199"/>
                  <a:pt x="274" y="199"/>
                </a:cubicBezTo>
                <a:cubicBezTo>
                  <a:pt x="275" y="197"/>
                  <a:pt x="275" y="197"/>
                  <a:pt x="275" y="197"/>
                </a:cubicBezTo>
                <a:cubicBezTo>
                  <a:pt x="276" y="195"/>
                  <a:pt x="276" y="195"/>
                  <a:pt x="276" y="195"/>
                </a:cubicBezTo>
                <a:cubicBezTo>
                  <a:pt x="276" y="197"/>
                  <a:pt x="276" y="197"/>
                  <a:pt x="276" y="197"/>
                </a:cubicBezTo>
                <a:cubicBezTo>
                  <a:pt x="276" y="198"/>
                  <a:pt x="276" y="198"/>
                  <a:pt x="276" y="198"/>
                </a:cubicBezTo>
                <a:cubicBezTo>
                  <a:pt x="275" y="199"/>
                  <a:pt x="275" y="199"/>
                  <a:pt x="275" y="199"/>
                </a:cubicBezTo>
                <a:cubicBezTo>
                  <a:pt x="275" y="199"/>
                  <a:pt x="275" y="199"/>
                  <a:pt x="275" y="199"/>
                </a:cubicBezTo>
                <a:cubicBezTo>
                  <a:pt x="274" y="200"/>
                  <a:pt x="274" y="200"/>
                  <a:pt x="274" y="200"/>
                </a:cubicBezTo>
                <a:cubicBezTo>
                  <a:pt x="274" y="201"/>
                  <a:pt x="274" y="201"/>
                  <a:pt x="274" y="201"/>
                </a:cubicBezTo>
                <a:cubicBezTo>
                  <a:pt x="275" y="202"/>
                  <a:pt x="275" y="202"/>
                  <a:pt x="275" y="202"/>
                </a:cubicBezTo>
                <a:cubicBezTo>
                  <a:pt x="275" y="202"/>
                  <a:pt x="275" y="202"/>
                  <a:pt x="275" y="202"/>
                </a:cubicBezTo>
                <a:cubicBezTo>
                  <a:pt x="275" y="205"/>
                  <a:pt x="275" y="205"/>
                  <a:pt x="275" y="205"/>
                </a:cubicBezTo>
                <a:cubicBezTo>
                  <a:pt x="275" y="206"/>
                  <a:pt x="275" y="206"/>
                  <a:pt x="275" y="206"/>
                </a:cubicBezTo>
                <a:cubicBezTo>
                  <a:pt x="276" y="206"/>
                  <a:pt x="276" y="206"/>
                  <a:pt x="276" y="206"/>
                </a:cubicBezTo>
                <a:cubicBezTo>
                  <a:pt x="276" y="207"/>
                  <a:pt x="276" y="207"/>
                  <a:pt x="276" y="207"/>
                </a:cubicBezTo>
                <a:cubicBezTo>
                  <a:pt x="276" y="208"/>
                  <a:pt x="276" y="208"/>
                  <a:pt x="276" y="208"/>
                </a:cubicBezTo>
                <a:cubicBezTo>
                  <a:pt x="278" y="210"/>
                  <a:pt x="278" y="210"/>
                  <a:pt x="278" y="210"/>
                </a:cubicBezTo>
                <a:cubicBezTo>
                  <a:pt x="279" y="211"/>
                  <a:pt x="279" y="211"/>
                  <a:pt x="279" y="211"/>
                </a:cubicBezTo>
                <a:cubicBezTo>
                  <a:pt x="279" y="211"/>
                  <a:pt x="279" y="211"/>
                  <a:pt x="279" y="211"/>
                </a:cubicBezTo>
                <a:cubicBezTo>
                  <a:pt x="279" y="211"/>
                  <a:pt x="279" y="211"/>
                  <a:pt x="279" y="211"/>
                </a:cubicBezTo>
                <a:cubicBezTo>
                  <a:pt x="280" y="212"/>
                  <a:pt x="280" y="212"/>
                  <a:pt x="280" y="212"/>
                </a:cubicBezTo>
                <a:cubicBezTo>
                  <a:pt x="281" y="211"/>
                  <a:pt x="281" y="211"/>
                  <a:pt x="281" y="211"/>
                </a:cubicBezTo>
                <a:cubicBezTo>
                  <a:pt x="281" y="211"/>
                  <a:pt x="281" y="211"/>
                  <a:pt x="281" y="211"/>
                </a:cubicBezTo>
                <a:cubicBezTo>
                  <a:pt x="281" y="210"/>
                  <a:pt x="281" y="210"/>
                  <a:pt x="281" y="210"/>
                </a:cubicBezTo>
                <a:cubicBezTo>
                  <a:pt x="281" y="211"/>
                  <a:pt x="281" y="211"/>
                  <a:pt x="281" y="211"/>
                </a:cubicBezTo>
                <a:cubicBezTo>
                  <a:pt x="282" y="211"/>
                  <a:pt x="282" y="211"/>
                  <a:pt x="282" y="211"/>
                </a:cubicBezTo>
                <a:cubicBezTo>
                  <a:pt x="283" y="210"/>
                  <a:pt x="283" y="210"/>
                  <a:pt x="283" y="210"/>
                </a:cubicBezTo>
                <a:cubicBezTo>
                  <a:pt x="282" y="208"/>
                  <a:pt x="282" y="208"/>
                  <a:pt x="282" y="208"/>
                </a:cubicBezTo>
                <a:cubicBezTo>
                  <a:pt x="281" y="208"/>
                  <a:pt x="281" y="208"/>
                  <a:pt x="281" y="208"/>
                </a:cubicBezTo>
                <a:cubicBezTo>
                  <a:pt x="281" y="208"/>
                  <a:pt x="281" y="208"/>
                  <a:pt x="281" y="208"/>
                </a:cubicBezTo>
                <a:cubicBezTo>
                  <a:pt x="280" y="208"/>
                  <a:pt x="280" y="208"/>
                  <a:pt x="280" y="208"/>
                </a:cubicBezTo>
                <a:cubicBezTo>
                  <a:pt x="281" y="207"/>
                  <a:pt x="281" y="207"/>
                  <a:pt x="281" y="207"/>
                </a:cubicBezTo>
                <a:cubicBezTo>
                  <a:pt x="281" y="206"/>
                  <a:pt x="281" y="206"/>
                  <a:pt x="281" y="206"/>
                </a:cubicBezTo>
                <a:cubicBezTo>
                  <a:pt x="281" y="205"/>
                  <a:pt x="281" y="205"/>
                  <a:pt x="281" y="205"/>
                </a:cubicBezTo>
                <a:cubicBezTo>
                  <a:pt x="280" y="205"/>
                  <a:pt x="280" y="205"/>
                  <a:pt x="280" y="205"/>
                </a:cubicBezTo>
                <a:cubicBezTo>
                  <a:pt x="280" y="204"/>
                  <a:pt x="280" y="204"/>
                  <a:pt x="280" y="204"/>
                </a:cubicBezTo>
                <a:cubicBezTo>
                  <a:pt x="280" y="204"/>
                  <a:pt x="280" y="204"/>
                  <a:pt x="280" y="204"/>
                </a:cubicBezTo>
                <a:cubicBezTo>
                  <a:pt x="280" y="202"/>
                  <a:pt x="280" y="202"/>
                  <a:pt x="280" y="202"/>
                </a:cubicBezTo>
                <a:cubicBezTo>
                  <a:pt x="281" y="202"/>
                  <a:pt x="281" y="202"/>
                  <a:pt x="281" y="202"/>
                </a:cubicBezTo>
                <a:cubicBezTo>
                  <a:pt x="281" y="204"/>
                  <a:pt x="281" y="204"/>
                  <a:pt x="281" y="204"/>
                </a:cubicBezTo>
                <a:cubicBezTo>
                  <a:pt x="282" y="204"/>
                  <a:pt x="282" y="204"/>
                  <a:pt x="282" y="204"/>
                </a:cubicBezTo>
                <a:cubicBezTo>
                  <a:pt x="282" y="203"/>
                  <a:pt x="282" y="203"/>
                  <a:pt x="282" y="203"/>
                </a:cubicBezTo>
                <a:cubicBezTo>
                  <a:pt x="283" y="204"/>
                  <a:pt x="283" y="204"/>
                  <a:pt x="283" y="204"/>
                </a:cubicBezTo>
                <a:cubicBezTo>
                  <a:pt x="283" y="205"/>
                  <a:pt x="283" y="205"/>
                  <a:pt x="283" y="205"/>
                </a:cubicBezTo>
                <a:cubicBezTo>
                  <a:pt x="283" y="206"/>
                  <a:pt x="283" y="206"/>
                  <a:pt x="283" y="206"/>
                </a:cubicBezTo>
                <a:cubicBezTo>
                  <a:pt x="283" y="207"/>
                  <a:pt x="283" y="207"/>
                  <a:pt x="283" y="207"/>
                </a:cubicBezTo>
                <a:cubicBezTo>
                  <a:pt x="284" y="207"/>
                  <a:pt x="284" y="207"/>
                  <a:pt x="284" y="207"/>
                </a:cubicBezTo>
                <a:cubicBezTo>
                  <a:pt x="285" y="206"/>
                  <a:pt x="285" y="206"/>
                  <a:pt x="285" y="206"/>
                </a:cubicBezTo>
                <a:cubicBezTo>
                  <a:pt x="285" y="206"/>
                  <a:pt x="285" y="206"/>
                  <a:pt x="285" y="206"/>
                </a:cubicBezTo>
                <a:cubicBezTo>
                  <a:pt x="285" y="207"/>
                  <a:pt x="285" y="207"/>
                  <a:pt x="285" y="207"/>
                </a:cubicBezTo>
                <a:cubicBezTo>
                  <a:pt x="284" y="208"/>
                  <a:pt x="284" y="208"/>
                  <a:pt x="284" y="208"/>
                </a:cubicBezTo>
                <a:cubicBezTo>
                  <a:pt x="284" y="209"/>
                  <a:pt x="284" y="209"/>
                  <a:pt x="284" y="209"/>
                </a:cubicBezTo>
                <a:cubicBezTo>
                  <a:pt x="284" y="210"/>
                  <a:pt x="284" y="210"/>
                  <a:pt x="284" y="210"/>
                </a:cubicBezTo>
                <a:cubicBezTo>
                  <a:pt x="284" y="211"/>
                  <a:pt x="284" y="211"/>
                  <a:pt x="284" y="211"/>
                </a:cubicBezTo>
                <a:cubicBezTo>
                  <a:pt x="284" y="212"/>
                  <a:pt x="284" y="212"/>
                  <a:pt x="284" y="212"/>
                </a:cubicBezTo>
                <a:cubicBezTo>
                  <a:pt x="286" y="212"/>
                  <a:pt x="286" y="212"/>
                  <a:pt x="286" y="212"/>
                </a:cubicBezTo>
                <a:cubicBezTo>
                  <a:pt x="286" y="212"/>
                  <a:pt x="286" y="212"/>
                  <a:pt x="286" y="212"/>
                </a:cubicBezTo>
                <a:cubicBezTo>
                  <a:pt x="287" y="211"/>
                  <a:pt x="287" y="211"/>
                  <a:pt x="287" y="211"/>
                </a:cubicBezTo>
                <a:cubicBezTo>
                  <a:pt x="287" y="212"/>
                  <a:pt x="287" y="212"/>
                  <a:pt x="287" y="212"/>
                </a:cubicBezTo>
                <a:cubicBezTo>
                  <a:pt x="286" y="212"/>
                  <a:pt x="286" y="212"/>
                  <a:pt x="286" y="212"/>
                </a:cubicBezTo>
                <a:cubicBezTo>
                  <a:pt x="287" y="214"/>
                  <a:pt x="287" y="214"/>
                  <a:pt x="287" y="214"/>
                </a:cubicBezTo>
                <a:cubicBezTo>
                  <a:pt x="287" y="214"/>
                  <a:pt x="287" y="214"/>
                  <a:pt x="287" y="214"/>
                </a:cubicBezTo>
                <a:cubicBezTo>
                  <a:pt x="289" y="212"/>
                  <a:pt x="289" y="212"/>
                  <a:pt x="289" y="212"/>
                </a:cubicBezTo>
                <a:cubicBezTo>
                  <a:pt x="289" y="211"/>
                  <a:pt x="289" y="211"/>
                  <a:pt x="289" y="211"/>
                </a:cubicBezTo>
                <a:cubicBezTo>
                  <a:pt x="289" y="210"/>
                  <a:pt x="289" y="210"/>
                  <a:pt x="289" y="210"/>
                </a:cubicBezTo>
                <a:cubicBezTo>
                  <a:pt x="289" y="207"/>
                  <a:pt x="289" y="207"/>
                  <a:pt x="289" y="207"/>
                </a:cubicBezTo>
                <a:cubicBezTo>
                  <a:pt x="290" y="204"/>
                  <a:pt x="290" y="204"/>
                  <a:pt x="290" y="204"/>
                </a:cubicBezTo>
                <a:cubicBezTo>
                  <a:pt x="290" y="201"/>
                  <a:pt x="290" y="201"/>
                  <a:pt x="290" y="201"/>
                </a:cubicBezTo>
                <a:cubicBezTo>
                  <a:pt x="290" y="200"/>
                  <a:pt x="290" y="200"/>
                  <a:pt x="290" y="200"/>
                </a:cubicBezTo>
                <a:cubicBezTo>
                  <a:pt x="290" y="199"/>
                  <a:pt x="290" y="199"/>
                  <a:pt x="290" y="199"/>
                </a:cubicBezTo>
                <a:cubicBezTo>
                  <a:pt x="290" y="198"/>
                  <a:pt x="290" y="198"/>
                  <a:pt x="290" y="198"/>
                </a:cubicBezTo>
                <a:cubicBezTo>
                  <a:pt x="290" y="199"/>
                  <a:pt x="290" y="199"/>
                  <a:pt x="290" y="199"/>
                </a:cubicBezTo>
                <a:cubicBezTo>
                  <a:pt x="291" y="200"/>
                  <a:pt x="291" y="200"/>
                  <a:pt x="291" y="200"/>
                </a:cubicBezTo>
                <a:cubicBezTo>
                  <a:pt x="291" y="200"/>
                  <a:pt x="291" y="200"/>
                  <a:pt x="291" y="200"/>
                </a:cubicBezTo>
                <a:cubicBezTo>
                  <a:pt x="292" y="199"/>
                  <a:pt x="292" y="199"/>
                  <a:pt x="292" y="199"/>
                </a:cubicBezTo>
                <a:cubicBezTo>
                  <a:pt x="293" y="198"/>
                  <a:pt x="293" y="198"/>
                  <a:pt x="293" y="198"/>
                </a:cubicBezTo>
                <a:cubicBezTo>
                  <a:pt x="292" y="200"/>
                  <a:pt x="292" y="200"/>
                  <a:pt x="292" y="200"/>
                </a:cubicBezTo>
                <a:cubicBezTo>
                  <a:pt x="292" y="202"/>
                  <a:pt x="292" y="202"/>
                  <a:pt x="292" y="202"/>
                </a:cubicBezTo>
                <a:cubicBezTo>
                  <a:pt x="292" y="204"/>
                  <a:pt x="292" y="204"/>
                  <a:pt x="292" y="204"/>
                </a:cubicBezTo>
                <a:cubicBezTo>
                  <a:pt x="291" y="206"/>
                  <a:pt x="291" y="206"/>
                  <a:pt x="291" y="206"/>
                </a:cubicBezTo>
                <a:cubicBezTo>
                  <a:pt x="291" y="207"/>
                  <a:pt x="291" y="207"/>
                  <a:pt x="291" y="207"/>
                </a:cubicBezTo>
                <a:cubicBezTo>
                  <a:pt x="291" y="208"/>
                  <a:pt x="291" y="208"/>
                  <a:pt x="291" y="208"/>
                </a:cubicBezTo>
                <a:cubicBezTo>
                  <a:pt x="291" y="209"/>
                  <a:pt x="291" y="209"/>
                  <a:pt x="291" y="209"/>
                </a:cubicBezTo>
                <a:cubicBezTo>
                  <a:pt x="290" y="211"/>
                  <a:pt x="290" y="211"/>
                  <a:pt x="290" y="211"/>
                </a:cubicBezTo>
                <a:cubicBezTo>
                  <a:pt x="291" y="212"/>
                  <a:pt x="291" y="212"/>
                  <a:pt x="291" y="212"/>
                </a:cubicBezTo>
                <a:cubicBezTo>
                  <a:pt x="291" y="213"/>
                  <a:pt x="291" y="213"/>
                  <a:pt x="291" y="213"/>
                </a:cubicBezTo>
                <a:cubicBezTo>
                  <a:pt x="292" y="214"/>
                  <a:pt x="292" y="214"/>
                  <a:pt x="292" y="214"/>
                </a:cubicBezTo>
                <a:cubicBezTo>
                  <a:pt x="292" y="216"/>
                  <a:pt x="292" y="216"/>
                  <a:pt x="292" y="216"/>
                </a:cubicBezTo>
                <a:cubicBezTo>
                  <a:pt x="293" y="216"/>
                  <a:pt x="293" y="216"/>
                  <a:pt x="293" y="216"/>
                </a:cubicBezTo>
                <a:cubicBezTo>
                  <a:pt x="293" y="217"/>
                  <a:pt x="293" y="217"/>
                  <a:pt x="293" y="217"/>
                </a:cubicBezTo>
                <a:cubicBezTo>
                  <a:pt x="294" y="218"/>
                  <a:pt x="294" y="218"/>
                  <a:pt x="294" y="218"/>
                </a:cubicBezTo>
                <a:cubicBezTo>
                  <a:pt x="295" y="217"/>
                  <a:pt x="295" y="217"/>
                  <a:pt x="295" y="217"/>
                </a:cubicBezTo>
                <a:cubicBezTo>
                  <a:pt x="295" y="218"/>
                  <a:pt x="295" y="218"/>
                  <a:pt x="295" y="218"/>
                </a:cubicBezTo>
                <a:cubicBezTo>
                  <a:pt x="296" y="217"/>
                  <a:pt x="296" y="217"/>
                  <a:pt x="296" y="217"/>
                </a:cubicBezTo>
                <a:cubicBezTo>
                  <a:pt x="298" y="217"/>
                  <a:pt x="298" y="217"/>
                  <a:pt x="298" y="217"/>
                </a:cubicBezTo>
                <a:cubicBezTo>
                  <a:pt x="298" y="217"/>
                  <a:pt x="298" y="217"/>
                  <a:pt x="298" y="217"/>
                </a:cubicBezTo>
                <a:cubicBezTo>
                  <a:pt x="296" y="218"/>
                  <a:pt x="296" y="218"/>
                  <a:pt x="296" y="218"/>
                </a:cubicBezTo>
                <a:cubicBezTo>
                  <a:pt x="295" y="219"/>
                  <a:pt x="295" y="219"/>
                  <a:pt x="295" y="219"/>
                </a:cubicBezTo>
                <a:cubicBezTo>
                  <a:pt x="295" y="219"/>
                  <a:pt x="295" y="219"/>
                  <a:pt x="295" y="219"/>
                </a:cubicBezTo>
                <a:cubicBezTo>
                  <a:pt x="296" y="220"/>
                  <a:pt x="296" y="220"/>
                  <a:pt x="296" y="220"/>
                </a:cubicBezTo>
                <a:cubicBezTo>
                  <a:pt x="296" y="220"/>
                  <a:pt x="296" y="220"/>
                  <a:pt x="296" y="220"/>
                </a:cubicBezTo>
                <a:cubicBezTo>
                  <a:pt x="295" y="221"/>
                  <a:pt x="295" y="221"/>
                  <a:pt x="295" y="221"/>
                </a:cubicBezTo>
                <a:cubicBezTo>
                  <a:pt x="295" y="221"/>
                  <a:pt x="295" y="221"/>
                  <a:pt x="295" y="221"/>
                </a:cubicBezTo>
                <a:cubicBezTo>
                  <a:pt x="296" y="223"/>
                  <a:pt x="296" y="223"/>
                  <a:pt x="296" y="223"/>
                </a:cubicBezTo>
                <a:cubicBezTo>
                  <a:pt x="296" y="224"/>
                  <a:pt x="296" y="224"/>
                  <a:pt x="296" y="224"/>
                </a:cubicBezTo>
                <a:cubicBezTo>
                  <a:pt x="295" y="224"/>
                  <a:pt x="295" y="224"/>
                  <a:pt x="295" y="224"/>
                </a:cubicBezTo>
                <a:cubicBezTo>
                  <a:pt x="294" y="223"/>
                  <a:pt x="294" y="223"/>
                  <a:pt x="294" y="223"/>
                </a:cubicBezTo>
                <a:cubicBezTo>
                  <a:pt x="294" y="222"/>
                  <a:pt x="294" y="222"/>
                  <a:pt x="294" y="222"/>
                </a:cubicBezTo>
                <a:cubicBezTo>
                  <a:pt x="293" y="223"/>
                  <a:pt x="293" y="223"/>
                  <a:pt x="293" y="223"/>
                </a:cubicBezTo>
                <a:cubicBezTo>
                  <a:pt x="294" y="224"/>
                  <a:pt x="294" y="224"/>
                  <a:pt x="294" y="224"/>
                </a:cubicBezTo>
                <a:cubicBezTo>
                  <a:pt x="293" y="225"/>
                  <a:pt x="293" y="225"/>
                  <a:pt x="293" y="225"/>
                </a:cubicBezTo>
                <a:cubicBezTo>
                  <a:pt x="293" y="226"/>
                  <a:pt x="293" y="226"/>
                  <a:pt x="293" y="226"/>
                </a:cubicBezTo>
                <a:cubicBezTo>
                  <a:pt x="294" y="226"/>
                  <a:pt x="294" y="226"/>
                  <a:pt x="294" y="226"/>
                </a:cubicBezTo>
                <a:cubicBezTo>
                  <a:pt x="293" y="227"/>
                  <a:pt x="293" y="227"/>
                  <a:pt x="293" y="227"/>
                </a:cubicBezTo>
                <a:cubicBezTo>
                  <a:pt x="292" y="227"/>
                  <a:pt x="292" y="227"/>
                  <a:pt x="292" y="227"/>
                </a:cubicBezTo>
                <a:cubicBezTo>
                  <a:pt x="292" y="228"/>
                  <a:pt x="292" y="228"/>
                  <a:pt x="292" y="228"/>
                </a:cubicBezTo>
                <a:cubicBezTo>
                  <a:pt x="292" y="229"/>
                  <a:pt x="292" y="229"/>
                  <a:pt x="292" y="229"/>
                </a:cubicBezTo>
                <a:cubicBezTo>
                  <a:pt x="293" y="229"/>
                  <a:pt x="293" y="229"/>
                  <a:pt x="293" y="229"/>
                </a:cubicBezTo>
                <a:cubicBezTo>
                  <a:pt x="293" y="229"/>
                  <a:pt x="293" y="229"/>
                  <a:pt x="293" y="229"/>
                </a:cubicBezTo>
                <a:cubicBezTo>
                  <a:pt x="294" y="230"/>
                  <a:pt x="294" y="230"/>
                  <a:pt x="294" y="230"/>
                </a:cubicBezTo>
                <a:cubicBezTo>
                  <a:pt x="295" y="230"/>
                  <a:pt x="295" y="230"/>
                  <a:pt x="295" y="230"/>
                </a:cubicBezTo>
                <a:cubicBezTo>
                  <a:pt x="295" y="230"/>
                  <a:pt x="295" y="230"/>
                  <a:pt x="295" y="230"/>
                </a:cubicBezTo>
                <a:cubicBezTo>
                  <a:pt x="296" y="231"/>
                  <a:pt x="296" y="231"/>
                  <a:pt x="296" y="231"/>
                </a:cubicBezTo>
                <a:cubicBezTo>
                  <a:pt x="296" y="231"/>
                  <a:pt x="296" y="231"/>
                  <a:pt x="296" y="231"/>
                </a:cubicBezTo>
                <a:cubicBezTo>
                  <a:pt x="295" y="231"/>
                  <a:pt x="295" y="231"/>
                  <a:pt x="295" y="231"/>
                </a:cubicBezTo>
                <a:cubicBezTo>
                  <a:pt x="294" y="231"/>
                  <a:pt x="294" y="231"/>
                  <a:pt x="294" y="231"/>
                </a:cubicBezTo>
                <a:cubicBezTo>
                  <a:pt x="295" y="232"/>
                  <a:pt x="295" y="232"/>
                  <a:pt x="295" y="232"/>
                </a:cubicBezTo>
                <a:cubicBezTo>
                  <a:pt x="296" y="233"/>
                  <a:pt x="296" y="233"/>
                  <a:pt x="296" y="233"/>
                </a:cubicBezTo>
                <a:cubicBezTo>
                  <a:pt x="296" y="234"/>
                  <a:pt x="296" y="234"/>
                  <a:pt x="296" y="234"/>
                </a:cubicBezTo>
                <a:cubicBezTo>
                  <a:pt x="297" y="235"/>
                  <a:pt x="297" y="235"/>
                  <a:pt x="297" y="235"/>
                </a:cubicBezTo>
                <a:cubicBezTo>
                  <a:pt x="298" y="235"/>
                  <a:pt x="298" y="235"/>
                  <a:pt x="298" y="235"/>
                </a:cubicBezTo>
                <a:cubicBezTo>
                  <a:pt x="297" y="235"/>
                  <a:pt x="297" y="235"/>
                  <a:pt x="297" y="235"/>
                </a:cubicBezTo>
                <a:cubicBezTo>
                  <a:pt x="296" y="235"/>
                  <a:pt x="296" y="235"/>
                  <a:pt x="296" y="235"/>
                </a:cubicBezTo>
                <a:cubicBezTo>
                  <a:pt x="295" y="236"/>
                  <a:pt x="295" y="236"/>
                  <a:pt x="295" y="236"/>
                </a:cubicBezTo>
                <a:cubicBezTo>
                  <a:pt x="296" y="237"/>
                  <a:pt x="296" y="237"/>
                  <a:pt x="296" y="237"/>
                </a:cubicBezTo>
                <a:cubicBezTo>
                  <a:pt x="297" y="239"/>
                  <a:pt x="297" y="239"/>
                  <a:pt x="297" y="239"/>
                </a:cubicBezTo>
                <a:cubicBezTo>
                  <a:pt x="298" y="240"/>
                  <a:pt x="298" y="240"/>
                  <a:pt x="298" y="240"/>
                </a:cubicBezTo>
                <a:cubicBezTo>
                  <a:pt x="299" y="240"/>
                  <a:pt x="299" y="240"/>
                  <a:pt x="299" y="240"/>
                </a:cubicBezTo>
                <a:cubicBezTo>
                  <a:pt x="300" y="240"/>
                  <a:pt x="300" y="240"/>
                  <a:pt x="300" y="240"/>
                </a:cubicBezTo>
                <a:cubicBezTo>
                  <a:pt x="298" y="241"/>
                  <a:pt x="298" y="241"/>
                  <a:pt x="298" y="241"/>
                </a:cubicBezTo>
                <a:cubicBezTo>
                  <a:pt x="297" y="241"/>
                  <a:pt x="297" y="241"/>
                  <a:pt x="297" y="241"/>
                </a:cubicBezTo>
                <a:cubicBezTo>
                  <a:pt x="296" y="241"/>
                  <a:pt x="296" y="241"/>
                  <a:pt x="296" y="241"/>
                </a:cubicBezTo>
                <a:cubicBezTo>
                  <a:pt x="295" y="242"/>
                  <a:pt x="295" y="242"/>
                  <a:pt x="295" y="242"/>
                </a:cubicBezTo>
                <a:cubicBezTo>
                  <a:pt x="293" y="245"/>
                  <a:pt x="293" y="245"/>
                  <a:pt x="293" y="245"/>
                </a:cubicBezTo>
                <a:cubicBezTo>
                  <a:pt x="292" y="246"/>
                  <a:pt x="292" y="246"/>
                  <a:pt x="292" y="246"/>
                </a:cubicBezTo>
                <a:cubicBezTo>
                  <a:pt x="292" y="247"/>
                  <a:pt x="292" y="247"/>
                  <a:pt x="292" y="247"/>
                </a:cubicBezTo>
                <a:cubicBezTo>
                  <a:pt x="293" y="248"/>
                  <a:pt x="293" y="248"/>
                  <a:pt x="293" y="248"/>
                </a:cubicBezTo>
                <a:cubicBezTo>
                  <a:pt x="294" y="247"/>
                  <a:pt x="294" y="247"/>
                  <a:pt x="294" y="247"/>
                </a:cubicBezTo>
                <a:cubicBezTo>
                  <a:pt x="295" y="245"/>
                  <a:pt x="295" y="245"/>
                  <a:pt x="295" y="245"/>
                </a:cubicBezTo>
                <a:cubicBezTo>
                  <a:pt x="295" y="245"/>
                  <a:pt x="295" y="245"/>
                  <a:pt x="295" y="245"/>
                </a:cubicBezTo>
                <a:cubicBezTo>
                  <a:pt x="296" y="244"/>
                  <a:pt x="296" y="244"/>
                  <a:pt x="296" y="244"/>
                </a:cubicBezTo>
                <a:cubicBezTo>
                  <a:pt x="297" y="243"/>
                  <a:pt x="297" y="243"/>
                  <a:pt x="297" y="243"/>
                </a:cubicBezTo>
                <a:cubicBezTo>
                  <a:pt x="297" y="243"/>
                  <a:pt x="297" y="243"/>
                  <a:pt x="297" y="243"/>
                </a:cubicBezTo>
                <a:cubicBezTo>
                  <a:pt x="298" y="243"/>
                  <a:pt x="298" y="243"/>
                  <a:pt x="298" y="243"/>
                </a:cubicBezTo>
                <a:cubicBezTo>
                  <a:pt x="300" y="243"/>
                  <a:pt x="300" y="243"/>
                  <a:pt x="300" y="243"/>
                </a:cubicBezTo>
                <a:cubicBezTo>
                  <a:pt x="299" y="244"/>
                  <a:pt x="299" y="244"/>
                  <a:pt x="299" y="244"/>
                </a:cubicBezTo>
                <a:cubicBezTo>
                  <a:pt x="299" y="245"/>
                  <a:pt x="299" y="245"/>
                  <a:pt x="299" y="245"/>
                </a:cubicBezTo>
                <a:cubicBezTo>
                  <a:pt x="301" y="245"/>
                  <a:pt x="301" y="245"/>
                  <a:pt x="301" y="245"/>
                </a:cubicBezTo>
                <a:cubicBezTo>
                  <a:pt x="301" y="245"/>
                  <a:pt x="301" y="245"/>
                  <a:pt x="301" y="245"/>
                </a:cubicBezTo>
                <a:cubicBezTo>
                  <a:pt x="299" y="246"/>
                  <a:pt x="299" y="246"/>
                  <a:pt x="299" y="246"/>
                </a:cubicBezTo>
                <a:cubicBezTo>
                  <a:pt x="299" y="247"/>
                  <a:pt x="299" y="247"/>
                  <a:pt x="299" y="247"/>
                </a:cubicBezTo>
                <a:cubicBezTo>
                  <a:pt x="300" y="248"/>
                  <a:pt x="300" y="248"/>
                  <a:pt x="300" y="248"/>
                </a:cubicBezTo>
                <a:cubicBezTo>
                  <a:pt x="299" y="250"/>
                  <a:pt x="299" y="250"/>
                  <a:pt x="299" y="250"/>
                </a:cubicBezTo>
                <a:cubicBezTo>
                  <a:pt x="298" y="251"/>
                  <a:pt x="298" y="251"/>
                  <a:pt x="298" y="251"/>
                </a:cubicBezTo>
                <a:cubicBezTo>
                  <a:pt x="299" y="251"/>
                  <a:pt x="299" y="251"/>
                  <a:pt x="299" y="251"/>
                </a:cubicBezTo>
                <a:cubicBezTo>
                  <a:pt x="299" y="252"/>
                  <a:pt x="299" y="252"/>
                  <a:pt x="299" y="252"/>
                </a:cubicBezTo>
                <a:cubicBezTo>
                  <a:pt x="298" y="252"/>
                  <a:pt x="298" y="252"/>
                  <a:pt x="298" y="252"/>
                </a:cubicBezTo>
                <a:cubicBezTo>
                  <a:pt x="297" y="252"/>
                  <a:pt x="297" y="252"/>
                  <a:pt x="297" y="252"/>
                </a:cubicBezTo>
                <a:cubicBezTo>
                  <a:pt x="296" y="253"/>
                  <a:pt x="296" y="253"/>
                  <a:pt x="296" y="253"/>
                </a:cubicBezTo>
                <a:cubicBezTo>
                  <a:pt x="296" y="253"/>
                  <a:pt x="296" y="253"/>
                  <a:pt x="296" y="253"/>
                </a:cubicBezTo>
                <a:cubicBezTo>
                  <a:pt x="297" y="253"/>
                  <a:pt x="297" y="253"/>
                  <a:pt x="297" y="253"/>
                </a:cubicBezTo>
                <a:cubicBezTo>
                  <a:pt x="298" y="253"/>
                  <a:pt x="298" y="253"/>
                  <a:pt x="298" y="253"/>
                </a:cubicBezTo>
                <a:cubicBezTo>
                  <a:pt x="299" y="253"/>
                  <a:pt x="299" y="253"/>
                  <a:pt x="299" y="253"/>
                </a:cubicBezTo>
                <a:cubicBezTo>
                  <a:pt x="299" y="254"/>
                  <a:pt x="299" y="254"/>
                  <a:pt x="299" y="254"/>
                </a:cubicBezTo>
                <a:cubicBezTo>
                  <a:pt x="298" y="254"/>
                  <a:pt x="298" y="254"/>
                  <a:pt x="298" y="254"/>
                </a:cubicBezTo>
                <a:cubicBezTo>
                  <a:pt x="297" y="254"/>
                  <a:pt x="297" y="254"/>
                  <a:pt x="297" y="254"/>
                </a:cubicBezTo>
                <a:cubicBezTo>
                  <a:pt x="296" y="254"/>
                  <a:pt x="296" y="254"/>
                  <a:pt x="296" y="254"/>
                </a:cubicBezTo>
                <a:cubicBezTo>
                  <a:pt x="296" y="255"/>
                  <a:pt x="296" y="255"/>
                  <a:pt x="296" y="255"/>
                </a:cubicBezTo>
                <a:cubicBezTo>
                  <a:pt x="295" y="256"/>
                  <a:pt x="295" y="256"/>
                  <a:pt x="295" y="256"/>
                </a:cubicBezTo>
                <a:cubicBezTo>
                  <a:pt x="296" y="258"/>
                  <a:pt x="296" y="258"/>
                  <a:pt x="296" y="258"/>
                </a:cubicBezTo>
                <a:cubicBezTo>
                  <a:pt x="297" y="257"/>
                  <a:pt x="297" y="257"/>
                  <a:pt x="297" y="257"/>
                </a:cubicBezTo>
                <a:cubicBezTo>
                  <a:pt x="297" y="256"/>
                  <a:pt x="297" y="256"/>
                  <a:pt x="297" y="256"/>
                </a:cubicBezTo>
                <a:cubicBezTo>
                  <a:pt x="298" y="256"/>
                  <a:pt x="298" y="256"/>
                  <a:pt x="298" y="256"/>
                </a:cubicBezTo>
                <a:cubicBezTo>
                  <a:pt x="299" y="256"/>
                  <a:pt x="299" y="256"/>
                  <a:pt x="299" y="256"/>
                </a:cubicBezTo>
                <a:cubicBezTo>
                  <a:pt x="301" y="254"/>
                  <a:pt x="301" y="254"/>
                  <a:pt x="301" y="254"/>
                </a:cubicBezTo>
                <a:cubicBezTo>
                  <a:pt x="302" y="252"/>
                  <a:pt x="302" y="252"/>
                  <a:pt x="302" y="252"/>
                </a:cubicBezTo>
                <a:cubicBezTo>
                  <a:pt x="302" y="250"/>
                  <a:pt x="302" y="250"/>
                  <a:pt x="302" y="250"/>
                </a:cubicBezTo>
                <a:cubicBezTo>
                  <a:pt x="304" y="247"/>
                  <a:pt x="304" y="247"/>
                  <a:pt x="304" y="247"/>
                </a:cubicBezTo>
                <a:cubicBezTo>
                  <a:pt x="304" y="246"/>
                  <a:pt x="304" y="246"/>
                  <a:pt x="304" y="246"/>
                </a:cubicBezTo>
                <a:cubicBezTo>
                  <a:pt x="304" y="246"/>
                  <a:pt x="304" y="246"/>
                  <a:pt x="304" y="246"/>
                </a:cubicBezTo>
                <a:close/>
                <a:moveTo>
                  <a:pt x="286" y="253"/>
                </a:moveTo>
                <a:cubicBezTo>
                  <a:pt x="285" y="253"/>
                  <a:pt x="285" y="253"/>
                  <a:pt x="285" y="253"/>
                </a:cubicBezTo>
                <a:cubicBezTo>
                  <a:pt x="286" y="252"/>
                  <a:pt x="286" y="252"/>
                  <a:pt x="286" y="252"/>
                </a:cubicBezTo>
                <a:cubicBezTo>
                  <a:pt x="286" y="253"/>
                  <a:pt x="286" y="253"/>
                  <a:pt x="286" y="253"/>
                </a:cubicBezTo>
                <a:cubicBezTo>
                  <a:pt x="286" y="253"/>
                  <a:pt x="286" y="253"/>
                  <a:pt x="286" y="253"/>
                </a:cubicBezTo>
                <a:close/>
                <a:moveTo>
                  <a:pt x="293" y="255"/>
                </a:moveTo>
                <a:cubicBezTo>
                  <a:pt x="294" y="255"/>
                  <a:pt x="294" y="255"/>
                  <a:pt x="294" y="255"/>
                </a:cubicBezTo>
                <a:cubicBezTo>
                  <a:pt x="295" y="255"/>
                  <a:pt x="295" y="255"/>
                  <a:pt x="295" y="255"/>
                </a:cubicBezTo>
                <a:cubicBezTo>
                  <a:pt x="294" y="256"/>
                  <a:pt x="294" y="256"/>
                  <a:pt x="294" y="256"/>
                </a:cubicBezTo>
                <a:cubicBezTo>
                  <a:pt x="293" y="255"/>
                  <a:pt x="293" y="255"/>
                  <a:pt x="293" y="255"/>
                </a:cubicBezTo>
                <a:close/>
                <a:moveTo>
                  <a:pt x="293" y="252"/>
                </a:moveTo>
                <a:cubicBezTo>
                  <a:pt x="294" y="252"/>
                  <a:pt x="294" y="252"/>
                  <a:pt x="294" y="252"/>
                </a:cubicBezTo>
                <a:cubicBezTo>
                  <a:pt x="295" y="253"/>
                  <a:pt x="295" y="253"/>
                  <a:pt x="295" y="253"/>
                </a:cubicBezTo>
                <a:cubicBezTo>
                  <a:pt x="294" y="254"/>
                  <a:pt x="294" y="254"/>
                  <a:pt x="294" y="254"/>
                </a:cubicBezTo>
                <a:cubicBezTo>
                  <a:pt x="293" y="254"/>
                  <a:pt x="293" y="254"/>
                  <a:pt x="293" y="254"/>
                </a:cubicBezTo>
                <a:cubicBezTo>
                  <a:pt x="293" y="253"/>
                  <a:pt x="293" y="253"/>
                  <a:pt x="293" y="253"/>
                </a:cubicBezTo>
                <a:cubicBezTo>
                  <a:pt x="293" y="252"/>
                  <a:pt x="293" y="252"/>
                  <a:pt x="293" y="252"/>
                </a:cubicBezTo>
                <a:close/>
                <a:moveTo>
                  <a:pt x="293" y="249"/>
                </a:moveTo>
                <a:cubicBezTo>
                  <a:pt x="294" y="251"/>
                  <a:pt x="294" y="251"/>
                  <a:pt x="294" y="251"/>
                </a:cubicBezTo>
                <a:cubicBezTo>
                  <a:pt x="293" y="252"/>
                  <a:pt x="293" y="252"/>
                  <a:pt x="293" y="252"/>
                </a:cubicBezTo>
                <a:cubicBezTo>
                  <a:pt x="293" y="251"/>
                  <a:pt x="293" y="251"/>
                  <a:pt x="293" y="251"/>
                </a:cubicBezTo>
                <a:cubicBezTo>
                  <a:pt x="292" y="250"/>
                  <a:pt x="292" y="250"/>
                  <a:pt x="292" y="250"/>
                </a:cubicBezTo>
                <a:cubicBezTo>
                  <a:pt x="293" y="249"/>
                  <a:pt x="293" y="249"/>
                  <a:pt x="293" y="249"/>
                </a:cubicBezTo>
                <a:close/>
                <a:moveTo>
                  <a:pt x="294" y="249"/>
                </a:moveTo>
                <a:cubicBezTo>
                  <a:pt x="295" y="248"/>
                  <a:pt x="295" y="248"/>
                  <a:pt x="295" y="248"/>
                </a:cubicBezTo>
                <a:cubicBezTo>
                  <a:pt x="295" y="247"/>
                  <a:pt x="295" y="247"/>
                  <a:pt x="295" y="247"/>
                </a:cubicBezTo>
                <a:cubicBezTo>
                  <a:pt x="296" y="246"/>
                  <a:pt x="296" y="246"/>
                  <a:pt x="296" y="246"/>
                </a:cubicBezTo>
                <a:cubicBezTo>
                  <a:pt x="297" y="245"/>
                  <a:pt x="297" y="245"/>
                  <a:pt x="297" y="245"/>
                </a:cubicBezTo>
                <a:cubicBezTo>
                  <a:pt x="297" y="245"/>
                  <a:pt x="297" y="245"/>
                  <a:pt x="297" y="245"/>
                </a:cubicBezTo>
                <a:cubicBezTo>
                  <a:pt x="298" y="245"/>
                  <a:pt x="298" y="245"/>
                  <a:pt x="298" y="245"/>
                </a:cubicBezTo>
                <a:cubicBezTo>
                  <a:pt x="299" y="246"/>
                  <a:pt x="299" y="246"/>
                  <a:pt x="299" y="246"/>
                </a:cubicBezTo>
                <a:cubicBezTo>
                  <a:pt x="298" y="247"/>
                  <a:pt x="298" y="247"/>
                  <a:pt x="298" y="247"/>
                </a:cubicBezTo>
                <a:cubicBezTo>
                  <a:pt x="299" y="248"/>
                  <a:pt x="299" y="248"/>
                  <a:pt x="299" y="248"/>
                </a:cubicBezTo>
                <a:cubicBezTo>
                  <a:pt x="297" y="251"/>
                  <a:pt x="297" y="251"/>
                  <a:pt x="297" y="251"/>
                </a:cubicBezTo>
                <a:cubicBezTo>
                  <a:pt x="295" y="252"/>
                  <a:pt x="295" y="252"/>
                  <a:pt x="295" y="252"/>
                </a:cubicBezTo>
                <a:cubicBezTo>
                  <a:pt x="295" y="252"/>
                  <a:pt x="295" y="252"/>
                  <a:pt x="295" y="252"/>
                </a:cubicBezTo>
                <a:cubicBezTo>
                  <a:pt x="295" y="250"/>
                  <a:pt x="295" y="250"/>
                  <a:pt x="295" y="250"/>
                </a:cubicBezTo>
                <a:cubicBezTo>
                  <a:pt x="297" y="249"/>
                  <a:pt x="297" y="249"/>
                  <a:pt x="297" y="249"/>
                </a:cubicBezTo>
                <a:cubicBezTo>
                  <a:pt x="297" y="249"/>
                  <a:pt x="297" y="249"/>
                  <a:pt x="297" y="249"/>
                </a:cubicBezTo>
                <a:cubicBezTo>
                  <a:pt x="294" y="250"/>
                  <a:pt x="294" y="250"/>
                  <a:pt x="294" y="250"/>
                </a:cubicBezTo>
                <a:cubicBezTo>
                  <a:pt x="294" y="249"/>
                  <a:pt x="294" y="249"/>
                  <a:pt x="294" y="249"/>
                </a:cubicBezTo>
                <a:close/>
                <a:moveTo>
                  <a:pt x="283" y="253"/>
                </a:moveTo>
                <a:cubicBezTo>
                  <a:pt x="283" y="253"/>
                  <a:pt x="283" y="253"/>
                  <a:pt x="283" y="253"/>
                </a:cubicBezTo>
                <a:cubicBezTo>
                  <a:pt x="284" y="253"/>
                  <a:pt x="284" y="253"/>
                  <a:pt x="284" y="253"/>
                </a:cubicBezTo>
                <a:cubicBezTo>
                  <a:pt x="284" y="254"/>
                  <a:pt x="284" y="254"/>
                  <a:pt x="284" y="254"/>
                </a:cubicBezTo>
                <a:cubicBezTo>
                  <a:pt x="285" y="256"/>
                  <a:pt x="285" y="256"/>
                  <a:pt x="285" y="256"/>
                </a:cubicBezTo>
                <a:cubicBezTo>
                  <a:pt x="284" y="257"/>
                  <a:pt x="284" y="257"/>
                  <a:pt x="284" y="257"/>
                </a:cubicBezTo>
                <a:cubicBezTo>
                  <a:pt x="284" y="257"/>
                  <a:pt x="284" y="257"/>
                  <a:pt x="284" y="257"/>
                </a:cubicBezTo>
                <a:cubicBezTo>
                  <a:pt x="283" y="255"/>
                  <a:pt x="283" y="255"/>
                  <a:pt x="283" y="255"/>
                </a:cubicBezTo>
                <a:cubicBezTo>
                  <a:pt x="283" y="254"/>
                  <a:pt x="283" y="254"/>
                  <a:pt x="283" y="254"/>
                </a:cubicBezTo>
                <a:cubicBezTo>
                  <a:pt x="283" y="253"/>
                  <a:pt x="283" y="253"/>
                  <a:pt x="283" y="253"/>
                </a:cubicBezTo>
                <a:close/>
                <a:moveTo>
                  <a:pt x="283" y="251"/>
                </a:moveTo>
                <a:cubicBezTo>
                  <a:pt x="284" y="251"/>
                  <a:pt x="284" y="251"/>
                  <a:pt x="284" y="251"/>
                </a:cubicBezTo>
                <a:cubicBezTo>
                  <a:pt x="284" y="251"/>
                  <a:pt x="284" y="251"/>
                  <a:pt x="284" y="251"/>
                </a:cubicBezTo>
                <a:cubicBezTo>
                  <a:pt x="285" y="252"/>
                  <a:pt x="285" y="252"/>
                  <a:pt x="285" y="252"/>
                </a:cubicBezTo>
                <a:cubicBezTo>
                  <a:pt x="284" y="252"/>
                  <a:pt x="284" y="252"/>
                  <a:pt x="284" y="252"/>
                </a:cubicBezTo>
                <a:cubicBezTo>
                  <a:pt x="283" y="251"/>
                  <a:pt x="283" y="251"/>
                  <a:pt x="283" y="251"/>
                </a:cubicBezTo>
                <a:close/>
                <a:moveTo>
                  <a:pt x="283" y="250"/>
                </a:moveTo>
                <a:cubicBezTo>
                  <a:pt x="283" y="249"/>
                  <a:pt x="283" y="249"/>
                  <a:pt x="283" y="249"/>
                </a:cubicBezTo>
                <a:cubicBezTo>
                  <a:pt x="283" y="250"/>
                  <a:pt x="283" y="250"/>
                  <a:pt x="283" y="250"/>
                </a:cubicBezTo>
                <a:cubicBezTo>
                  <a:pt x="283" y="250"/>
                  <a:pt x="283" y="250"/>
                  <a:pt x="283" y="250"/>
                </a:cubicBezTo>
                <a:close/>
                <a:moveTo>
                  <a:pt x="282" y="248"/>
                </a:moveTo>
                <a:cubicBezTo>
                  <a:pt x="283" y="248"/>
                  <a:pt x="283" y="248"/>
                  <a:pt x="283" y="248"/>
                </a:cubicBezTo>
                <a:cubicBezTo>
                  <a:pt x="281" y="250"/>
                  <a:pt x="281" y="250"/>
                  <a:pt x="281" y="250"/>
                </a:cubicBezTo>
                <a:cubicBezTo>
                  <a:pt x="282" y="248"/>
                  <a:pt x="282" y="248"/>
                  <a:pt x="282" y="248"/>
                </a:cubicBezTo>
                <a:close/>
                <a:moveTo>
                  <a:pt x="281" y="242"/>
                </a:moveTo>
                <a:cubicBezTo>
                  <a:pt x="281" y="241"/>
                  <a:pt x="281" y="241"/>
                  <a:pt x="281" y="241"/>
                </a:cubicBezTo>
                <a:cubicBezTo>
                  <a:pt x="282" y="242"/>
                  <a:pt x="282" y="242"/>
                  <a:pt x="282" y="242"/>
                </a:cubicBezTo>
                <a:cubicBezTo>
                  <a:pt x="281" y="242"/>
                  <a:pt x="281" y="242"/>
                  <a:pt x="281" y="242"/>
                </a:cubicBezTo>
                <a:close/>
                <a:moveTo>
                  <a:pt x="284" y="244"/>
                </a:moveTo>
                <a:cubicBezTo>
                  <a:pt x="285" y="243"/>
                  <a:pt x="285" y="243"/>
                  <a:pt x="285" y="243"/>
                </a:cubicBezTo>
                <a:cubicBezTo>
                  <a:pt x="285" y="244"/>
                  <a:pt x="285" y="244"/>
                  <a:pt x="285" y="244"/>
                </a:cubicBezTo>
                <a:cubicBezTo>
                  <a:pt x="285" y="245"/>
                  <a:pt x="285" y="245"/>
                  <a:pt x="285" y="245"/>
                </a:cubicBezTo>
                <a:cubicBezTo>
                  <a:pt x="284" y="244"/>
                  <a:pt x="284" y="244"/>
                  <a:pt x="284" y="244"/>
                </a:cubicBezTo>
                <a:close/>
                <a:moveTo>
                  <a:pt x="285" y="242"/>
                </a:moveTo>
                <a:cubicBezTo>
                  <a:pt x="285" y="240"/>
                  <a:pt x="285" y="240"/>
                  <a:pt x="285" y="240"/>
                </a:cubicBezTo>
                <a:cubicBezTo>
                  <a:pt x="287" y="240"/>
                  <a:pt x="287" y="240"/>
                  <a:pt x="287" y="240"/>
                </a:cubicBezTo>
                <a:cubicBezTo>
                  <a:pt x="287" y="241"/>
                  <a:pt x="287" y="241"/>
                  <a:pt x="287" y="241"/>
                </a:cubicBezTo>
                <a:cubicBezTo>
                  <a:pt x="287" y="241"/>
                  <a:pt x="287" y="241"/>
                  <a:pt x="287" y="241"/>
                </a:cubicBezTo>
                <a:cubicBezTo>
                  <a:pt x="286" y="241"/>
                  <a:pt x="286" y="241"/>
                  <a:pt x="286" y="241"/>
                </a:cubicBezTo>
                <a:cubicBezTo>
                  <a:pt x="285" y="242"/>
                  <a:pt x="285" y="242"/>
                  <a:pt x="285" y="242"/>
                </a:cubicBezTo>
                <a:cubicBezTo>
                  <a:pt x="285" y="242"/>
                  <a:pt x="285" y="242"/>
                  <a:pt x="285" y="242"/>
                </a:cubicBezTo>
                <a:close/>
                <a:moveTo>
                  <a:pt x="287" y="243"/>
                </a:moveTo>
                <a:cubicBezTo>
                  <a:pt x="288" y="241"/>
                  <a:pt x="288" y="241"/>
                  <a:pt x="288" y="241"/>
                </a:cubicBezTo>
                <a:cubicBezTo>
                  <a:pt x="288" y="240"/>
                  <a:pt x="288" y="240"/>
                  <a:pt x="288" y="240"/>
                </a:cubicBezTo>
                <a:cubicBezTo>
                  <a:pt x="287" y="239"/>
                  <a:pt x="287" y="239"/>
                  <a:pt x="287" y="239"/>
                </a:cubicBezTo>
                <a:cubicBezTo>
                  <a:pt x="287" y="238"/>
                  <a:pt x="287" y="238"/>
                  <a:pt x="287" y="238"/>
                </a:cubicBezTo>
                <a:cubicBezTo>
                  <a:pt x="289" y="238"/>
                  <a:pt x="289" y="238"/>
                  <a:pt x="289" y="238"/>
                </a:cubicBezTo>
                <a:cubicBezTo>
                  <a:pt x="289" y="240"/>
                  <a:pt x="289" y="240"/>
                  <a:pt x="289" y="240"/>
                </a:cubicBezTo>
                <a:cubicBezTo>
                  <a:pt x="289" y="241"/>
                  <a:pt x="289" y="241"/>
                  <a:pt x="289" y="241"/>
                </a:cubicBezTo>
                <a:cubicBezTo>
                  <a:pt x="288" y="242"/>
                  <a:pt x="288" y="242"/>
                  <a:pt x="288" y="242"/>
                </a:cubicBezTo>
                <a:cubicBezTo>
                  <a:pt x="289" y="242"/>
                  <a:pt x="289" y="242"/>
                  <a:pt x="289" y="242"/>
                </a:cubicBezTo>
                <a:cubicBezTo>
                  <a:pt x="289" y="242"/>
                  <a:pt x="289" y="242"/>
                  <a:pt x="289" y="242"/>
                </a:cubicBezTo>
                <a:cubicBezTo>
                  <a:pt x="291" y="243"/>
                  <a:pt x="291" y="243"/>
                  <a:pt x="291" y="243"/>
                </a:cubicBezTo>
                <a:cubicBezTo>
                  <a:pt x="291" y="245"/>
                  <a:pt x="291" y="245"/>
                  <a:pt x="291" y="245"/>
                </a:cubicBezTo>
                <a:cubicBezTo>
                  <a:pt x="290" y="245"/>
                  <a:pt x="290" y="245"/>
                  <a:pt x="290" y="245"/>
                </a:cubicBezTo>
                <a:cubicBezTo>
                  <a:pt x="291" y="246"/>
                  <a:pt x="291" y="246"/>
                  <a:pt x="291" y="246"/>
                </a:cubicBezTo>
                <a:cubicBezTo>
                  <a:pt x="291" y="247"/>
                  <a:pt x="291" y="247"/>
                  <a:pt x="291" y="247"/>
                </a:cubicBezTo>
                <a:cubicBezTo>
                  <a:pt x="290" y="247"/>
                  <a:pt x="290" y="247"/>
                  <a:pt x="290" y="247"/>
                </a:cubicBezTo>
                <a:cubicBezTo>
                  <a:pt x="290" y="247"/>
                  <a:pt x="290" y="247"/>
                  <a:pt x="290" y="247"/>
                </a:cubicBezTo>
                <a:cubicBezTo>
                  <a:pt x="289" y="248"/>
                  <a:pt x="289" y="248"/>
                  <a:pt x="289" y="248"/>
                </a:cubicBezTo>
                <a:cubicBezTo>
                  <a:pt x="291" y="249"/>
                  <a:pt x="291" y="249"/>
                  <a:pt x="291" y="249"/>
                </a:cubicBezTo>
                <a:cubicBezTo>
                  <a:pt x="291" y="250"/>
                  <a:pt x="291" y="250"/>
                  <a:pt x="291" y="250"/>
                </a:cubicBezTo>
                <a:cubicBezTo>
                  <a:pt x="290" y="251"/>
                  <a:pt x="290" y="251"/>
                  <a:pt x="290" y="251"/>
                </a:cubicBezTo>
                <a:cubicBezTo>
                  <a:pt x="290" y="251"/>
                  <a:pt x="290" y="251"/>
                  <a:pt x="290" y="251"/>
                </a:cubicBezTo>
                <a:cubicBezTo>
                  <a:pt x="291" y="251"/>
                  <a:pt x="291" y="251"/>
                  <a:pt x="291" y="251"/>
                </a:cubicBezTo>
                <a:cubicBezTo>
                  <a:pt x="291" y="251"/>
                  <a:pt x="291" y="251"/>
                  <a:pt x="291" y="251"/>
                </a:cubicBezTo>
                <a:cubicBezTo>
                  <a:pt x="291" y="252"/>
                  <a:pt x="291" y="252"/>
                  <a:pt x="291" y="252"/>
                </a:cubicBezTo>
                <a:cubicBezTo>
                  <a:pt x="290" y="253"/>
                  <a:pt x="290" y="253"/>
                  <a:pt x="290" y="253"/>
                </a:cubicBezTo>
                <a:cubicBezTo>
                  <a:pt x="289" y="253"/>
                  <a:pt x="289" y="253"/>
                  <a:pt x="289" y="253"/>
                </a:cubicBezTo>
                <a:cubicBezTo>
                  <a:pt x="289" y="254"/>
                  <a:pt x="289" y="254"/>
                  <a:pt x="289" y="254"/>
                </a:cubicBezTo>
                <a:cubicBezTo>
                  <a:pt x="289" y="254"/>
                  <a:pt x="289" y="254"/>
                  <a:pt x="289" y="254"/>
                </a:cubicBezTo>
                <a:cubicBezTo>
                  <a:pt x="290" y="255"/>
                  <a:pt x="290" y="255"/>
                  <a:pt x="290" y="255"/>
                </a:cubicBezTo>
                <a:cubicBezTo>
                  <a:pt x="289" y="255"/>
                  <a:pt x="289" y="255"/>
                  <a:pt x="289" y="255"/>
                </a:cubicBezTo>
                <a:cubicBezTo>
                  <a:pt x="290" y="256"/>
                  <a:pt x="290" y="256"/>
                  <a:pt x="290" y="256"/>
                </a:cubicBezTo>
                <a:cubicBezTo>
                  <a:pt x="289" y="257"/>
                  <a:pt x="289" y="257"/>
                  <a:pt x="289" y="257"/>
                </a:cubicBezTo>
                <a:cubicBezTo>
                  <a:pt x="288" y="257"/>
                  <a:pt x="288" y="257"/>
                  <a:pt x="288" y="257"/>
                </a:cubicBezTo>
                <a:cubicBezTo>
                  <a:pt x="287" y="256"/>
                  <a:pt x="287" y="256"/>
                  <a:pt x="287" y="256"/>
                </a:cubicBezTo>
                <a:cubicBezTo>
                  <a:pt x="288" y="255"/>
                  <a:pt x="288" y="255"/>
                  <a:pt x="288" y="255"/>
                </a:cubicBezTo>
                <a:cubicBezTo>
                  <a:pt x="287" y="254"/>
                  <a:pt x="287" y="254"/>
                  <a:pt x="287" y="254"/>
                </a:cubicBezTo>
                <a:cubicBezTo>
                  <a:pt x="287" y="254"/>
                  <a:pt x="287" y="254"/>
                  <a:pt x="287" y="254"/>
                </a:cubicBezTo>
                <a:cubicBezTo>
                  <a:pt x="288" y="253"/>
                  <a:pt x="288" y="253"/>
                  <a:pt x="288" y="253"/>
                </a:cubicBezTo>
                <a:cubicBezTo>
                  <a:pt x="287" y="252"/>
                  <a:pt x="287" y="252"/>
                  <a:pt x="287" y="252"/>
                </a:cubicBezTo>
                <a:cubicBezTo>
                  <a:pt x="287" y="251"/>
                  <a:pt x="287" y="251"/>
                  <a:pt x="287" y="251"/>
                </a:cubicBezTo>
                <a:cubicBezTo>
                  <a:pt x="288" y="251"/>
                  <a:pt x="288" y="251"/>
                  <a:pt x="288" y="251"/>
                </a:cubicBezTo>
                <a:cubicBezTo>
                  <a:pt x="288" y="250"/>
                  <a:pt x="288" y="250"/>
                  <a:pt x="288" y="250"/>
                </a:cubicBezTo>
                <a:cubicBezTo>
                  <a:pt x="287" y="250"/>
                  <a:pt x="287" y="250"/>
                  <a:pt x="287" y="250"/>
                </a:cubicBezTo>
                <a:cubicBezTo>
                  <a:pt x="286" y="251"/>
                  <a:pt x="286" y="251"/>
                  <a:pt x="286" y="251"/>
                </a:cubicBezTo>
                <a:cubicBezTo>
                  <a:pt x="286" y="250"/>
                  <a:pt x="286" y="250"/>
                  <a:pt x="286" y="250"/>
                </a:cubicBezTo>
                <a:cubicBezTo>
                  <a:pt x="285" y="250"/>
                  <a:pt x="285" y="250"/>
                  <a:pt x="285" y="250"/>
                </a:cubicBezTo>
                <a:cubicBezTo>
                  <a:pt x="285" y="250"/>
                  <a:pt x="285" y="250"/>
                  <a:pt x="285" y="250"/>
                </a:cubicBezTo>
                <a:cubicBezTo>
                  <a:pt x="285" y="249"/>
                  <a:pt x="285" y="249"/>
                  <a:pt x="285" y="249"/>
                </a:cubicBezTo>
                <a:cubicBezTo>
                  <a:pt x="286" y="249"/>
                  <a:pt x="286" y="249"/>
                  <a:pt x="286" y="249"/>
                </a:cubicBezTo>
                <a:cubicBezTo>
                  <a:pt x="286" y="248"/>
                  <a:pt x="286" y="248"/>
                  <a:pt x="286" y="248"/>
                </a:cubicBezTo>
                <a:cubicBezTo>
                  <a:pt x="286" y="248"/>
                  <a:pt x="286" y="248"/>
                  <a:pt x="286" y="248"/>
                </a:cubicBezTo>
                <a:cubicBezTo>
                  <a:pt x="287" y="247"/>
                  <a:pt x="287" y="247"/>
                  <a:pt x="287" y="247"/>
                </a:cubicBezTo>
                <a:cubicBezTo>
                  <a:pt x="287" y="246"/>
                  <a:pt x="287" y="246"/>
                  <a:pt x="287" y="246"/>
                </a:cubicBezTo>
                <a:cubicBezTo>
                  <a:pt x="287" y="246"/>
                  <a:pt x="287" y="246"/>
                  <a:pt x="287" y="246"/>
                </a:cubicBezTo>
                <a:cubicBezTo>
                  <a:pt x="286" y="246"/>
                  <a:pt x="286" y="246"/>
                  <a:pt x="286" y="246"/>
                </a:cubicBezTo>
                <a:cubicBezTo>
                  <a:pt x="286" y="246"/>
                  <a:pt x="286" y="246"/>
                  <a:pt x="286" y="246"/>
                </a:cubicBezTo>
                <a:cubicBezTo>
                  <a:pt x="286" y="245"/>
                  <a:pt x="286" y="245"/>
                  <a:pt x="286" y="245"/>
                </a:cubicBezTo>
                <a:cubicBezTo>
                  <a:pt x="287" y="245"/>
                  <a:pt x="287" y="245"/>
                  <a:pt x="287" y="245"/>
                </a:cubicBezTo>
                <a:cubicBezTo>
                  <a:pt x="287" y="244"/>
                  <a:pt x="287" y="244"/>
                  <a:pt x="287" y="244"/>
                </a:cubicBezTo>
                <a:cubicBezTo>
                  <a:pt x="287" y="243"/>
                  <a:pt x="287" y="243"/>
                  <a:pt x="287" y="243"/>
                </a:cubicBezTo>
                <a:close/>
                <a:moveTo>
                  <a:pt x="295" y="242"/>
                </a:moveTo>
                <a:cubicBezTo>
                  <a:pt x="294" y="241"/>
                  <a:pt x="294" y="241"/>
                  <a:pt x="294" y="241"/>
                </a:cubicBezTo>
                <a:cubicBezTo>
                  <a:pt x="295" y="240"/>
                  <a:pt x="295" y="240"/>
                  <a:pt x="295" y="240"/>
                </a:cubicBezTo>
                <a:cubicBezTo>
                  <a:pt x="295" y="239"/>
                  <a:pt x="295" y="239"/>
                  <a:pt x="295" y="239"/>
                </a:cubicBezTo>
                <a:cubicBezTo>
                  <a:pt x="296" y="239"/>
                  <a:pt x="296" y="239"/>
                  <a:pt x="296" y="239"/>
                </a:cubicBezTo>
                <a:cubicBezTo>
                  <a:pt x="296" y="241"/>
                  <a:pt x="296" y="241"/>
                  <a:pt x="296" y="241"/>
                </a:cubicBezTo>
                <a:cubicBezTo>
                  <a:pt x="295" y="242"/>
                  <a:pt x="295" y="242"/>
                  <a:pt x="295" y="242"/>
                </a:cubicBezTo>
                <a:close/>
                <a:moveTo>
                  <a:pt x="292" y="243"/>
                </a:moveTo>
                <a:cubicBezTo>
                  <a:pt x="293" y="241"/>
                  <a:pt x="293" y="241"/>
                  <a:pt x="293" y="241"/>
                </a:cubicBezTo>
                <a:cubicBezTo>
                  <a:pt x="294" y="241"/>
                  <a:pt x="294" y="241"/>
                  <a:pt x="294" y="241"/>
                </a:cubicBezTo>
                <a:cubicBezTo>
                  <a:pt x="294" y="243"/>
                  <a:pt x="294" y="243"/>
                  <a:pt x="294" y="243"/>
                </a:cubicBezTo>
                <a:cubicBezTo>
                  <a:pt x="293" y="243"/>
                  <a:pt x="293" y="243"/>
                  <a:pt x="293" y="243"/>
                </a:cubicBezTo>
                <a:cubicBezTo>
                  <a:pt x="292" y="243"/>
                  <a:pt x="292" y="243"/>
                  <a:pt x="292" y="243"/>
                </a:cubicBezTo>
                <a:close/>
                <a:moveTo>
                  <a:pt x="292" y="242"/>
                </a:moveTo>
                <a:cubicBezTo>
                  <a:pt x="292" y="241"/>
                  <a:pt x="292" y="241"/>
                  <a:pt x="292" y="241"/>
                </a:cubicBezTo>
                <a:cubicBezTo>
                  <a:pt x="294" y="239"/>
                  <a:pt x="294" y="239"/>
                  <a:pt x="294" y="239"/>
                </a:cubicBezTo>
                <a:cubicBezTo>
                  <a:pt x="294" y="240"/>
                  <a:pt x="294" y="240"/>
                  <a:pt x="294" y="240"/>
                </a:cubicBezTo>
                <a:cubicBezTo>
                  <a:pt x="293" y="241"/>
                  <a:pt x="293" y="241"/>
                  <a:pt x="293" y="241"/>
                </a:cubicBezTo>
                <a:cubicBezTo>
                  <a:pt x="292" y="242"/>
                  <a:pt x="292" y="242"/>
                  <a:pt x="292" y="242"/>
                </a:cubicBezTo>
                <a:cubicBezTo>
                  <a:pt x="292" y="242"/>
                  <a:pt x="292" y="242"/>
                  <a:pt x="292" y="242"/>
                </a:cubicBezTo>
                <a:close/>
                <a:moveTo>
                  <a:pt x="290" y="239"/>
                </a:moveTo>
                <a:cubicBezTo>
                  <a:pt x="291" y="238"/>
                  <a:pt x="291" y="238"/>
                  <a:pt x="291" y="238"/>
                </a:cubicBezTo>
                <a:cubicBezTo>
                  <a:pt x="293" y="238"/>
                  <a:pt x="293" y="238"/>
                  <a:pt x="293" y="238"/>
                </a:cubicBezTo>
                <a:cubicBezTo>
                  <a:pt x="293" y="239"/>
                  <a:pt x="293" y="239"/>
                  <a:pt x="293" y="239"/>
                </a:cubicBezTo>
                <a:cubicBezTo>
                  <a:pt x="292" y="240"/>
                  <a:pt x="292" y="240"/>
                  <a:pt x="292" y="240"/>
                </a:cubicBezTo>
                <a:cubicBezTo>
                  <a:pt x="291" y="240"/>
                  <a:pt x="291" y="240"/>
                  <a:pt x="291" y="240"/>
                </a:cubicBezTo>
                <a:cubicBezTo>
                  <a:pt x="290" y="239"/>
                  <a:pt x="290" y="239"/>
                  <a:pt x="290" y="239"/>
                </a:cubicBezTo>
                <a:close/>
                <a:moveTo>
                  <a:pt x="292" y="236"/>
                </a:moveTo>
                <a:cubicBezTo>
                  <a:pt x="293" y="234"/>
                  <a:pt x="293" y="234"/>
                  <a:pt x="293" y="234"/>
                </a:cubicBezTo>
                <a:cubicBezTo>
                  <a:pt x="294" y="233"/>
                  <a:pt x="294" y="233"/>
                  <a:pt x="294" y="233"/>
                </a:cubicBezTo>
                <a:cubicBezTo>
                  <a:pt x="295" y="235"/>
                  <a:pt x="295" y="235"/>
                  <a:pt x="295" y="235"/>
                </a:cubicBezTo>
                <a:cubicBezTo>
                  <a:pt x="294" y="236"/>
                  <a:pt x="294" y="236"/>
                  <a:pt x="294" y="236"/>
                </a:cubicBezTo>
                <a:cubicBezTo>
                  <a:pt x="292" y="237"/>
                  <a:pt x="292" y="237"/>
                  <a:pt x="292" y="237"/>
                </a:cubicBezTo>
                <a:cubicBezTo>
                  <a:pt x="292" y="236"/>
                  <a:pt x="292" y="236"/>
                  <a:pt x="292" y="236"/>
                </a:cubicBezTo>
                <a:cubicBezTo>
                  <a:pt x="292" y="236"/>
                  <a:pt x="292" y="236"/>
                  <a:pt x="292" y="236"/>
                </a:cubicBezTo>
                <a:close/>
                <a:moveTo>
                  <a:pt x="288" y="237"/>
                </a:moveTo>
                <a:cubicBezTo>
                  <a:pt x="288" y="236"/>
                  <a:pt x="288" y="236"/>
                  <a:pt x="288" y="236"/>
                </a:cubicBezTo>
                <a:cubicBezTo>
                  <a:pt x="289" y="233"/>
                  <a:pt x="289" y="233"/>
                  <a:pt x="289" y="233"/>
                </a:cubicBezTo>
                <a:cubicBezTo>
                  <a:pt x="289" y="232"/>
                  <a:pt x="289" y="232"/>
                  <a:pt x="289" y="232"/>
                </a:cubicBezTo>
                <a:cubicBezTo>
                  <a:pt x="288" y="231"/>
                  <a:pt x="288" y="231"/>
                  <a:pt x="288" y="231"/>
                </a:cubicBezTo>
                <a:cubicBezTo>
                  <a:pt x="288" y="230"/>
                  <a:pt x="288" y="230"/>
                  <a:pt x="288" y="230"/>
                </a:cubicBezTo>
                <a:cubicBezTo>
                  <a:pt x="288" y="230"/>
                  <a:pt x="288" y="230"/>
                  <a:pt x="288" y="230"/>
                </a:cubicBezTo>
                <a:cubicBezTo>
                  <a:pt x="288" y="229"/>
                  <a:pt x="288" y="229"/>
                  <a:pt x="288" y="229"/>
                </a:cubicBezTo>
                <a:cubicBezTo>
                  <a:pt x="290" y="229"/>
                  <a:pt x="290" y="229"/>
                  <a:pt x="290" y="229"/>
                </a:cubicBezTo>
                <a:cubicBezTo>
                  <a:pt x="291" y="230"/>
                  <a:pt x="291" y="230"/>
                  <a:pt x="291" y="230"/>
                </a:cubicBezTo>
                <a:cubicBezTo>
                  <a:pt x="292" y="230"/>
                  <a:pt x="292" y="230"/>
                  <a:pt x="292" y="230"/>
                </a:cubicBezTo>
                <a:cubicBezTo>
                  <a:pt x="293" y="231"/>
                  <a:pt x="293" y="231"/>
                  <a:pt x="293" y="231"/>
                </a:cubicBezTo>
                <a:cubicBezTo>
                  <a:pt x="293" y="233"/>
                  <a:pt x="293" y="233"/>
                  <a:pt x="293" y="233"/>
                </a:cubicBezTo>
                <a:cubicBezTo>
                  <a:pt x="292" y="235"/>
                  <a:pt x="292" y="235"/>
                  <a:pt x="292" y="235"/>
                </a:cubicBezTo>
                <a:cubicBezTo>
                  <a:pt x="291" y="235"/>
                  <a:pt x="291" y="235"/>
                  <a:pt x="291" y="235"/>
                </a:cubicBezTo>
                <a:cubicBezTo>
                  <a:pt x="291" y="233"/>
                  <a:pt x="291" y="233"/>
                  <a:pt x="291" y="233"/>
                </a:cubicBezTo>
                <a:cubicBezTo>
                  <a:pt x="291" y="233"/>
                  <a:pt x="291" y="233"/>
                  <a:pt x="291" y="233"/>
                </a:cubicBezTo>
                <a:cubicBezTo>
                  <a:pt x="291" y="235"/>
                  <a:pt x="291" y="235"/>
                  <a:pt x="291" y="235"/>
                </a:cubicBezTo>
                <a:cubicBezTo>
                  <a:pt x="290" y="235"/>
                  <a:pt x="290" y="235"/>
                  <a:pt x="290" y="235"/>
                </a:cubicBezTo>
                <a:cubicBezTo>
                  <a:pt x="291" y="236"/>
                  <a:pt x="291" y="236"/>
                  <a:pt x="291" y="236"/>
                </a:cubicBezTo>
                <a:cubicBezTo>
                  <a:pt x="290" y="237"/>
                  <a:pt x="290" y="237"/>
                  <a:pt x="290" y="237"/>
                </a:cubicBezTo>
                <a:cubicBezTo>
                  <a:pt x="289" y="236"/>
                  <a:pt x="289" y="236"/>
                  <a:pt x="289" y="236"/>
                </a:cubicBezTo>
                <a:cubicBezTo>
                  <a:pt x="289" y="237"/>
                  <a:pt x="289" y="237"/>
                  <a:pt x="289" y="237"/>
                </a:cubicBezTo>
                <a:cubicBezTo>
                  <a:pt x="288" y="237"/>
                  <a:pt x="288" y="237"/>
                  <a:pt x="288" y="237"/>
                </a:cubicBezTo>
                <a:close/>
                <a:moveTo>
                  <a:pt x="285" y="235"/>
                </a:moveTo>
                <a:cubicBezTo>
                  <a:pt x="284" y="235"/>
                  <a:pt x="284" y="235"/>
                  <a:pt x="284" y="235"/>
                </a:cubicBezTo>
                <a:cubicBezTo>
                  <a:pt x="285" y="233"/>
                  <a:pt x="285" y="233"/>
                  <a:pt x="285" y="233"/>
                </a:cubicBezTo>
                <a:cubicBezTo>
                  <a:pt x="284" y="233"/>
                  <a:pt x="284" y="233"/>
                  <a:pt x="284" y="233"/>
                </a:cubicBezTo>
                <a:cubicBezTo>
                  <a:pt x="284" y="232"/>
                  <a:pt x="284" y="232"/>
                  <a:pt x="284" y="232"/>
                </a:cubicBezTo>
                <a:cubicBezTo>
                  <a:pt x="285" y="231"/>
                  <a:pt x="285" y="231"/>
                  <a:pt x="285" y="231"/>
                </a:cubicBezTo>
                <a:cubicBezTo>
                  <a:pt x="286" y="231"/>
                  <a:pt x="286" y="231"/>
                  <a:pt x="286" y="231"/>
                </a:cubicBezTo>
                <a:cubicBezTo>
                  <a:pt x="286" y="230"/>
                  <a:pt x="286" y="230"/>
                  <a:pt x="286" y="230"/>
                </a:cubicBezTo>
                <a:cubicBezTo>
                  <a:pt x="286" y="230"/>
                  <a:pt x="286" y="230"/>
                  <a:pt x="286" y="230"/>
                </a:cubicBezTo>
                <a:cubicBezTo>
                  <a:pt x="287" y="231"/>
                  <a:pt x="287" y="231"/>
                  <a:pt x="287" y="231"/>
                </a:cubicBezTo>
                <a:cubicBezTo>
                  <a:pt x="287" y="232"/>
                  <a:pt x="287" y="232"/>
                  <a:pt x="287" y="232"/>
                </a:cubicBezTo>
                <a:cubicBezTo>
                  <a:pt x="287" y="233"/>
                  <a:pt x="287" y="233"/>
                  <a:pt x="287" y="233"/>
                </a:cubicBezTo>
                <a:cubicBezTo>
                  <a:pt x="288" y="233"/>
                  <a:pt x="288" y="233"/>
                  <a:pt x="288" y="233"/>
                </a:cubicBezTo>
                <a:cubicBezTo>
                  <a:pt x="288" y="233"/>
                  <a:pt x="288" y="233"/>
                  <a:pt x="288" y="233"/>
                </a:cubicBezTo>
                <a:cubicBezTo>
                  <a:pt x="287" y="236"/>
                  <a:pt x="287" y="236"/>
                  <a:pt x="287" y="236"/>
                </a:cubicBezTo>
                <a:cubicBezTo>
                  <a:pt x="285" y="238"/>
                  <a:pt x="285" y="238"/>
                  <a:pt x="285" y="238"/>
                </a:cubicBezTo>
                <a:cubicBezTo>
                  <a:pt x="285" y="239"/>
                  <a:pt x="285" y="239"/>
                  <a:pt x="285" y="239"/>
                </a:cubicBezTo>
                <a:cubicBezTo>
                  <a:pt x="285" y="240"/>
                  <a:pt x="285" y="240"/>
                  <a:pt x="285" y="240"/>
                </a:cubicBezTo>
                <a:cubicBezTo>
                  <a:pt x="283" y="240"/>
                  <a:pt x="283" y="240"/>
                  <a:pt x="283" y="240"/>
                </a:cubicBezTo>
                <a:cubicBezTo>
                  <a:pt x="284" y="239"/>
                  <a:pt x="284" y="239"/>
                  <a:pt x="284" y="239"/>
                </a:cubicBezTo>
                <a:cubicBezTo>
                  <a:pt x="283" y="238"/>
                  <a:pt x="283" y="238"/>
                  <a:pt x="283" y="238"/>
                </a:cubicBezTo>
                <a:cubicBezTo>
                  <a:pt x="283" y="240"/>
                  <a:pt x="283" y="240"/>
                  <a:pt x="283" y="240"/>
                </a:cubicBezTo>
                <a:cubicBezTo>
                  <a:pt x="282" y="240"/>
                  <a:pt x="282" y="240"/>
                  <a:pt x="282" y="240"/>
                </a:cubicBezTo>
                <a:cubicBezTo>
                  <a:pt x="282" y="239"/>
                  <a:pt x="282" y="239"/>
                  <a:pt x="282" y="239"/>
                </a:cubicBezTo>
                <a:cubicBezTo>
                  <a:pt x="283" y="238"/>
                  <a:pt x="283" y="238"/>
                  <a:pt x="283" y="238"/>
                </a:cubicBezTo>
                <a:cubicBezTo>
                  <a:pt x="283" y="237"/>
                  <a:pt x="283" y="237"/>
                  <a:pt x="283" y="237"/>
                </a:cubicBezTo>
                <a:cubicBezTo>
                  <a:pt x="283" y="236"/>
                  <a:pt x="283" y="236"/>
                  <a:pt x="283" y="236"/>
                </a:cubicBezTo>
                <a:cubicBezTo>
                  <a:pt x="284" y="237"/>
                  <a:pt x="284" y="237"/>
                  <a:pt x="284" y="237"/>
                </a:cubicBezTo>
                <a:cubicBezTo>
                  <a:pt x="285" y="236"/>
                  <a:pt x="285" y="236"/>
                  <a:pt x="285" y="236"/>
                </a:cubicBezTo>
                <a:cubicBezTo>
                  <a:pt x="285" y="235"/>
                  <a:pt x="285" y="235"/>
                  <a:pt x="285" y="235"/>
                </a:cubicBezTo>
                <a:close/>
                <a:moveTo>
                  <a:pt x="284" y="224"/>
                </a:moveTo>
                <a:cubicBezTo>
                  <a:pt x="285" y="225"/>
                  <a:pt x="285" y="225"/>
                  <a:pt x="285" y="225"/>
                </a:cubicBezTo>
                <a:cubicBezTo>
                  <a:pt x="284" y="225"/>
                  <a:pt x="284" y="225"/>
                  <a:pt x="284" y="225"/>
                </a:cubicBezTo>
                <a:cubicBezTo>
                  <a:pt x="284" y="224"/>
                  <a:pt x="284" y="224"/>
                  <a:pt x="284" y="224"/>
                </a:cubicBezTo>
                <a:close/>
                <a:moveTo>
                  <a:pt x="281" y="225"/>
                </a:moveTo>
                <a:cubicBezTo>
                  <a:pt x="282" y="224"/>
                  <a:pt x="282" y="224"/>
                  <a:pt x="282" y="224"/>
                </a:cubicBezTo>
                <a:cubicBezTo>
                  <a:pt x="283" y="224"/>
                  <a:pt x="283" y="224"/>
                  <a:pt x="283" y="224"/>
                </a:cubicBezTo>
                <a:cubicBezTo>
                  <a:pt x="283" y="224"/>
                  <a:pt x="283" y="224"/>
                  <a:pt x="283" y="224"/>
                </a:cubicBezTo>
                <a:cubicBezTo>
                  <a:pt x="284" y="226"/>
                  <a:pt x="284" y="226"/>
                  <a:pt x="284" y="226"/>
                </a:cubicBezTo>
                <a:cubicBezTo>
                  <a:pt x="284" y="228"/>
                  <a:pt x="284" y="228"/>
                  <a:pt x="284" y="228"/>
                </a:cubicBezTo>
                <a:cubicBezTo>
                  <a:pt x="283" y="230"/>
                  <a:pt x="283" y="230"/>
                  <a:pt x="283" y="230"/>
                </a:cubicBezTo>
                <a:cubicBezTo>
                  <a:pt x="283" y="230"/>
                  <a:pt x="283" y="230"/>
                  <a:pt x="283" y="230"/>
                </a:cubicBezTo>
                <a:cubicBezTo>
                  <a:pt x="283" y="233"/>
                  <a:pt x="283" y="233"/>
                  <a:pt x="283" y="233"/>
                </a:cubicBezTo>
                <a:cubicBezTo>
                  <a:pt x="282" y="233"/>
                  <a:pt x="282" y="233"/>
                  <a:pt x="282" y="233"/>
                </a:cubicBezTo>
                <a:cubicBezTo>
                  <a:pt x="281" y="235"/>
                  <a:pt x="281" y="235"/>
                  <a:pt x="281" y="235"/>
                </a:cubicBezTo>
                <a:cubicBezTo>
                  <a:pt x="281" y="237"/>
                  <a:pt x="281" y="237"/>
                  <a:pt x="281" y="237"/>
                </a:cubicBezTo>
                <a:cubicBezTo>
                  <a:pt x="281" y="238"/>
                  <a:pt x="281" y="238"/>
                  <a:pt x="281" y="238"/>
                </a:cubicBezTo>
                <a:cubicBezTo>
                  <a:pt x="280" y="238"/>
                  <a:pt x="280" y="238"/>
                  <a:pt x="280" y="238"/>
                </a:cubicBezTo>
                <a:cubicBezTo>
                  <a:pt x="280" y="237"/>
                  <a:pt x="280" y="237"/>
                  <a:pt x="280" y="237"/>
                </a:cubicBezTo>
                <a:cubicBezTo>
                  <a:pt x="280" y="236"/>
                  <a:pt x="280" y="236"/>
                  <a:pt x="280" y="236"/>
                </a:cubicBezTo>
                <a:cubicBezTo>
                  <a:pt x="280" y="236"/>
                  <a:pt x="280" y="236"/>
                  <a:pt x="280" y="236"/>
                </a:cubicBezTo>
                <a:cubicBezTo>
                  <a:pt x="279" y="234"/>
                  <a:pt x="279" y="234"/>
                  <a:pt x="279" y="234"/>
                </a:cubicBezTo>
                <a:cubicBezTo>
                  <a:pt x="280" y="233"/>
                  <a:pt x="280" y="233"/>
                  <a:pt x="280" y="233"/>
                </a:cubicBezTo>
                <a:cubicBezTo>
                  <a:pt x="281" y="233"/>
                  <a:pt x="281" y="233"/>
                  <a:pt x="281" y="233"/>
                </a:cubicBezTo>
                <a:cubicBezTo>
                  <a:pt x="281" y="232"/>
                  <a:pt x="281" y="232"/>
                  <a:pt x="281" y="232"/>
                </a:cubicBezTo>
                <a:cubicBezTo>
                  <a:pt x="281" y="232"/>
                  <a:pt x="281" y="232"/>
                  <a:pt x="281" y="232"/>
                </a:cubicBezTo>
                <a:cubicBezTo>
                  <a:pt x="281" y="232"/>
                  <a:pt x="281" y="232"/>
                  <a:pt x="281" y="232"/>
                </a:cubicBezTo>
                <a:cubicBezTo>
                  <a:pt x="280" y="232"/>
                  <a:pt x="280" y="232"/>
                  <a:pt x="280" y="232"/>
                </a:cubicBezTo>
                <a:cubicBezTo>
                  <a:pt x="280" y="231"/>
                  <a:pt x="280" y="231"/>
                  <a:pt x="280" y="231"/>
                </a:cubicBezTo>
                <a:cubicBezTo>
                  <a:pt x="280" y="231"/>
                  <a:pt x="280" y="231"/>
                  <a:pt x="280" y="231"/>
                </a:cubicBezTo>
                <a:cubicBezTo>
                  <a:pt x="281" y="230"/>
                  <a:pt x="281" y="230"/>
                  <a:pt x="281" y="230"/>
                </a:cubicBezTo>
                <a:cubicBezTo>
                  <a:pt x="279" y="230"/>
                  <a:pt x="279" y="230"/>
                  <a:pt x="279" y="230"/>
                </a:cubicBezTo>
                <a:cubicBezTo>
                  <a:pt x="279" y="229"/>
                  <a:pt x="279" y="229"/>
                  <a:pt x="279" y="229"/>
                </a:cubicBezTo>
                <a:cubicBezTo>
                  <a:pt x="280" y="229"/>
                  <a:pt x="280" y="229"/>
                  <a:pt x="280" y="229"/>
                </a:cubicBezTo>
                <a:cubicBezTo>
                  <a:pt x="281" y="228"/>
                  <a:pt x="281" y="228"/>
                  <a:pt x="281" y="228"/>
                </a:cubicBezTo>
                <a:cubicBezTo>
                  <a:pt x="281" y="227"/>
                  <a:pt x="281" y="227"/>
                  <a:pt x="281" y="227"/>
                </a:cubicBezTo>
                <a:cubicBezTo>
                  <a:pt x="282" y="226"/>
                  <a:pt x="282" y="226"/>
                  <a:pt x="282" y="226"/>
                </a:cubicBezTo>
                <a:cubicBezTo>
                  <a:pt x="281" y="226"/>
                  <a:pt x="281" y="226"/>
                  <a:pt x="281" y="226"/>
                </a:cubicBezTo>
                <a:cubicBezTo>
                  <a:pt x="281" y="225"/>
                  <a:pt x="281" y="225"/>
                  <a:pt x="281" y="225"/>
                </a:cubicBezTo>
                <a:close/>
                <a:moveTo>
                  <a:pt x="279" y="225"/>
                </a:moveTo>
                <a:cubicBezTo>
                  <a:pt x="279" y="224"/>
                  <a:pt x="279" y="224"/>
                  <a:pt x="279" y="224"/>
                </a:cubicBezTo>
                <a:cubicBezTo>
                  <a:pt x="280" y="225"/>
                  <a:pt x="280" y="225"/>
                  <a:pt x="280" y="225"/>
                </a:cubicBezTo>
                <a:cubicBezTo>
                  <a:pt x="279" y="226"/>
                  <a:pt x="279" y="226"/>
                  <a:pt x="279" y="226"/>
                </a:cubicBezTo>
                <a:cubicBezTo>
                  <a:pt x="279" y="228"/>
                  <a:pt x="279" y="228"/>
                  <a:pt x="279" y="228"/>
                </a:cubicBezTo>
                <a:cubicBezTo>
                  <a:pt x="278" y="228"/>
                  <a:pt x="278" y="228"/>
                  <a:pt x="278" y="228"/>
                </a:cubicBezTo>
                <a:cubicBezTo>
                  <a:pt x="278" y="227"/>
                  <a:pt x="278" y="227"/>
                  <a:pt x="278" y="227"/>
                </a:cubicBezTo>
                <a:cubicBezTo>
                  <a:pt x="279" y="226"/>
                  <a:pt x="279" y="226"/>
                  <a:pt x="279" y="226"/>
                </a:cubicBezTo>
                <a:cubicBezTo>
                  <a:pt x="278" y="226"/>
                  <a:pt x="278" y="226"/>
                  <a:pt x="278" y="226"/>
                </a:cubicBezTo>
                <a:cubicBezTo>
                  <a:pt x="279" y="225"/>
                  <a:pt x="279" y="225"/>
                  <a:pt x="279" y="225"/>
                </a:cubicBezTo>
                <a:close/>
                <a:moveTo>
                  <a:pt x="285" y="228"/>
                </a:moveTo>
                <a:cubicBezTo>
                  <a:pt x="285" y="227"/>
                  <a:pt x="285" y="227"/>
                  <a:pt x="285" y="227"/>
                </a:cubicBezTo>
                <a:cubicBezTo>
                  <a:pt x="285" y="225"/>
                  <a:pt x="285" y="225"/>
                  <a:pt x="285" y="225"/>
                </a:cubicBezTo>
                <a:cubicBezTo>
                  <a:pt x="286" y="225"/>
                  <a:pt x="286" y="225"/>
                  <a:pt x="286" y="225"/>
                </a:cubicBezTo>
                <a:cubicBezTo>
                  <a:pt x="288" y="225"/>
                  <a:pt x="288" y="225"/>
                  <a:pt x="288" y="225"/>
                </a:cubicBezTo>
                <a:cubicBezTo>
                  <a:pt x="287" y="224"/>
                  <a:pt x="287" y="224"/>
                  <a:pt x="287" y="224"/>
                </a:cubicBezTo>
                <a:cubicBezTo>
                  <a:pt x="288" y="223"/>
                  <a:pt x="288" y="223"/>
                  <a:pt x="288" y="223"/>
                </a:cubicBezTo>
                <a:cubicBezTo>
                  <a:pt x="287" y="222"/>
                  <a:pt x="287" y="222"/>
                  <a:pt x="287" y="222"/>
                </a:cubicBezTo>
                <a:cubicBezTo>
                  <a:pt x="287" y="220"/>
                  <a:pt x="287" y="220"/>
                  <a:pt x="287" y="220"/>
                </a:cubicBezTo>
                <a:cubicBezTo>
                  <a:pt x="288" y="219"/>
                  <a:pt x="288" y="219"/>
                  <a:pt x="288" y="219"/>
                </a:cubicBezTo>
                <a:cubicBezTo>
                  <a:pt x="288" y="215"/>
                  <a:pt x="288" y="215"/>
                  <a:pt x="288" y="215"/>
                </a:cubicBezTo>
                <a:cubicBezTo>
                  <a:pt x="289" y="213"/>
                  <a:pt x="289" y="213"/>
                  <a:pt x="289" y="213"/>
                </a:cubicBezTo>
                <a:cubicBezTo>
                  <a:pt x="290" y="214"/>
                  <a:pt x="290" y="214"/>
                  <a:pt x="290" y="214"/>
                </a:cubicBezTo>
                <a:cubicBezTo>
                  <a:pt x="290" y="215"/>
                  <a:pt x="290" y="215"/>
                  <a:pt x="290" y="215"/>
                </a:cubicBezTo>
                <a:cubicBezTo>
                  <a:pt x="291" y="216"/>
                  <a:pt x="291" y="216"/>
                  <a:pt x="291" y="216"/>
                </a:cubicBezTo>
                <a:cubicBezTo>
                  <a:pt x="292" y="217"/>
                  <a:pt x="292" y="217"/>
                  <a:pt x="292" y="217"/>
                </a:cubicBezTo>
                <a:cubicBezTo>
                  <a:pt x="292" y="222"/>
                  <a:pt x="292" y="222"/>
                  <a:pt x="292" y="222"/>
                </a:cubicBezTo>
                <a:cubicBezTo>
                  <a:pt x="292" y="223"/>
                  <a:pt x="292" y="223"/>
                  <a:pt x="292" y="223"/>
                </a:cubicBezTo>
                <a:cubicBezTo>
                  <a:pt x="291" y="223"/>
                  <a:pt x="291" y="223"/>
                  <a:pt x="291" y="223"/>
                </a:cubicBezTo>
                <a:cubicBezTo>
                  <a:pt x="291" y="220"/>
                  <a:pt x="291" y="220"/>
                  <a:pt x="291" y="220"/>
                </a:cubicBezTo>
                <a:cubicBezTo>
                  <a:pt x="291" y="218"/>
                  <a:pt x="291" y="218"/>
                  <a:pt x="291" y="218"/>
                </a:cubicBezTo>
                <a:cubicBezTo>
                  <a:pt x="290" y="219"/>
                  <a:pt x="290" y="219"/>
                  <a:pt x="290" y="219"/>
                </a:cubicBezTo>
                <a:cubicBezTo>
                  <a:pt x="290" y="223"/>
                  <a:pt x="290" y="223"/>
                  <a:pt x="290" y="223"/>
                </a:cubicBezTo>
                <a:cubicBezTo>
                  <a:pt x="290" y="224"/>
                  <a:pt x="290" y="224"/>
                  <a:pt x="290" y="224"/>
                </a:cubicBezTo>
                <a:cubicBezTo>
                  <a:pt x="290" y="225"/>
                  <a:pt x="290" y="225"/>
                  <a:pt x="290" y="225"/>
                </a:cubicBezTo>
                <a:cubicBezTo>
                  <a:pt x="289" y="225"/>
                  <a:pt x="289" y="225"/>
                  <a:pt x="289" y="225"/>
                </a:cubicBezTo>
                <a:cubicBezTo>
                  <a:pt x="288" y="225"/>
                  <a:pt x="288" y="225"/>
                  <a:pt x="288" y="225"/>
                </a:cubicBezTo>
                <a:cubicBezTo>
                  <a:pt x="288" y="227"/>
                  <a:pt x="288" y="227"/>
                  <a:pt x="288" y="227"/>
                </a:cubicBezTo>
                <a:cubicBezTo>
                  <a:pt x="286" y="228"/>
                  <a:pt x="286" y="228"/>
                  <a:pt x="286" y="228"/>
                </a:cubicBezTo>
                <a:cubicBezTo>
                  <a:pt x="285" y="229"/>
                  <a:pt x="285" y="229"/>
                  <a:pt x="285" y="229"/>
                </a:cubicBezTo>
                <a:cubicBezTo>
                  <a:pt x="285" y="228"/>
                  <a:pt x="285" y="228"/>
                  <a:pt x="285" y="228"/>
                </a:cubicBezTo>
                <a:close/>
                <a:moveTo>
                  <a:pt x="281" y="214"/>
                </a:moveTo>
                <a:cubicBezTo>
                  <a:pt x="283" y="213"/>
                  <a:pt x="283" y="213"/>
                  <a:pt x="283" y="213"/>
                </a:cubicBezTo>
                <a:cubicBezTo>
                  <a:pt x="284" y="214"/>
                  <a:pt x="284" y="214"/>
                  <a:pt x="284" y="214"/>
                </a:cubicBezTo>
                <a:cubicBezTo>
                  <a:pt x="284" y="215"/>
                  <a:pt x="284" y="215"/>
                  <a:pt x="284" y="215"/>
                </a:cubicBezTo>
                <a:cubicBezTo>
                  <a:pt x="284" y="216"/>
                  <a:pt x="284" y="216"/>
                  <a:pt x="284" y="216"/>
                </a:cubicBezTo>
                <a:cubicBezTo>
                  <a:pt x="284" y="217"/>
                  <a:pt x="284" y="217"/>
                  <a:pt x="284" y="217"/>
                </a:cubicBezTo>
                <a:cubicBezTo>
                  <a:pt x="285" y="216"/>
                  <a:pt x="285" y="216"/>
                  <a:pt x="285" y="216"/>
                </a:cubicBezTo>
                <a:cubicBezTo>
                  <a:pt x="286" y="215"/>
                  <a:pt x="286" y="215"/>
                  <a:pt x="286" y="215"/>
                </a:cubicBezTo>
                <a:cubicBezTo>
                  <a:pt x="287" y="217"/>
                  <a:pt x="287" y="217"/>
                  <a:pt x="287" y="217"/>
                </a:cubicBezTo>
                <a:cubicBezTo>
                  <a:pt x="287" y="217"/>
                  <a:pt x="287" y="217"/>
                  <a:pt x="287" y="217"/>
                </a:cubicBezTo>
                <a:cubicBezTo>
                  <a:pt x="286" y="218"/>
                  <a:pt x="286" y="218"/>
                  <a:pt x="286" y="218"/>
                </a:cubicBezTo>
                <a:cubicBezTo>
                  <a:pt x="286" y="219"/>
                  <a:pt x="286" y="219"/>
                  <a:pt x="286" y="219"/>
                </a:cubicBezTo>
                <a:cubicBezTo>
                  <a:pt x="286" y="219"/>
                  <a:pt x="286" y="219"/>
                  <a:pt x="286" y="219"/>
                </a:cubicBezTo>
                <a:cubicBezTo>
                  <a:pt x="285" y="219"/>
                  <a:pt x="285" y="219"/>
                  <a:pt x="285" y="219"/>
                </a:cubicBezTo>
                <a:cubicBezTo>
                  <a:pt x="284" y="218"/>
                  <a:pt x="284" y="218"/>
                  <a:pt x="284" y="218"/>
                </a:cubicBezTo>
                <a:cubicBezTo>
                  <a:pt x="282" y="216"/>
                  <a:pt x="282" y="216"/>
                  <a:pt x="282" y="216"/>
                </a:cubicBezTo>
                <a:cubicBezTo>
                  <a:pt x="282" y="217"/>
                  <a:pt x="282" y="217"/>
                  <a:pt x="282" y="217"/>
                </a:cubicBezTo>
                <a:cubicBezTo>
                  <a:pt x="284" y="219"/>
                  <a:pt x="284" y="219"/>
                  <a:pt x="284" y="219"/>
                </a:cubicBezTo>
                <a:cubicBezTo>
                  <a:pt x="284" y="220"/>
                  <a:pt x="284" y="220"/>
                  <a:pt x="284" y="220"/>
                </a:cubicBezTo>
                <a:cubicBezTo>
                  <a:pt x="285" y="220"/>
                  <a:pt x="285" y="220"/>
                  <a:pt x="285" y="220"/>
                </a:cubicBezTo>
                <a:cubicBezTo>
                  <a:pt x="286" y="221"/>
                  <a:pt x="286" y="221"/>
                  <a:pt x="286" y="221"/>
                </a:cubicBezTo>
                <a:cubicBezTo>
                  <a:pt x="285" y="222"/>
                  <a:pt x="285" y="222"/>
                  <a:pt x="285" y="222"/>
                </a:cubicBezTo>
                <a:cubicBezTo>
                  <a:pt x="285" y="224"/>
                  <a:pt x="285" y="224"/>
                  <a:pt x="285" y="224"/>
                </a:cubicBezTo>
                <a:cubicBezTo>
                  <a:pt x="284" y="224"/>
                  <a:pt x="284" y="224"/>
                  <a:pt x="284" y="224"/>
                </a:cubicBezTo>
                <a:cubicBezTo>
                  <a:pt x="283" y="222"/>
                  <a:pt x="283" y="222"/>
                  <a:pt x="283" y="222"/>
                </a:cubicBezTo>
                <a:cubicBezTo>
                  <a:pt x="283" y="221"/>
                  <a:pt x="283" y="221"/>
                  <a:pt x="283" y="221"/>
                </a:cubicBezTo>
                <a:cubicBezTo>
                  <a:pt x="281" y="218"/>
                  <a:pt x="281" y="218"/>
                  <a:pt x="281" y="218"/>
                </a:cubicBezTo>
                <a:cubicBezTo>
                  <a:pt x="281" y="220"/>
                  <a:pt x="281" y="220"/>
                  <a:pt x="281" y="220"/>
                </a:cubicBezTo>
                <a:cubicBezTo>
                  <a:pt x="282" y="221"/>
                  <a:pt x="282" y="221"/>
                  <a:pt x="282" y="221"/>
                </a:cubicBezTo>
                <a:cubicBezTo>
                  <a:pt x="282" y="223"/>
                  <a:pt x="282" y="223"/>
                  <a:pt x="282" y="223"/>
                </a:cubicBezTo>
                <a:cubicBezTo>
                  <a:pt x="281" y="224"/>
                  <a:pt x="281" y="224"/>
                  <a:pt x="281" y="224"/>
                </a:cubicBezTo>
                <a:cubicBezTo>
                  <a:pt x="280" y="224"/>
                  <a:pt x="280" y="224"/>
                  <a:pt x="280" y="224"/>
                </a:cubicBezTo>
                <a:cubicBezTo>
                  <a:pt x="279" y="222"/>
                  <a:pt x="279" y="222"/>
                  <a:pt x="279" y="222"/>
                </a:cubicBezTo>
                <a:cubicBezTo>
                  <a:pt x="280" y="221"/>
                  <a:pt x="280" y="221"/>
                  <a:pt x="280" y="221"/>
                </a:cubicBezTo>
                <a:cubicBezTo>
                  <a:pt x="279" y="221"/>
                  <a:pt x="279" y="221"/>
                  <a:pt x="279" y="221"/>
                </a:cubicBezTo>
                <a:cubicBezTo>
                  <a:pt x="279" y="220"/>
                  <a:pt x="279" y="220"/>
                  <a:pt x="279" y="220"/>
                </a:cubicBezTo>
                <a:cubicBezTo>
                  <a:pt x="278" y="218"/>
                  <a:pt x="278" y="218"/>
                  <a:pt x="278" y="218"/>
                </a:cubicBezTo>
                <a:cubicBezTo>
                  <a:pt x="279" y="217"/>
                  <a:pt x="279" y="217"/>
                  <a:pt x="279" y="217"/>
                </a:cubicBezTo>
                <a:cubicBezTo>
                  <a:pt x="280" y="217"/>
                  <a:pt x="280" y="217"/>
                  <a:pt x="280" y="217"/>
                </a:cubicBezTo>
                <a:cubicBezTo>
                  <a:pt x="280" y="217"/>
                  <a:pt x="280" y="217"/>
                  <a:pt x="280" y="217"/>
                </a:cubicBezTo>
                <a:cubicBezTo>
                  <a:pt x="280" y="216"/>
                  <a:pt x="280" y="216"/>
                  <a:pt x="280" y="216"/>
                </a:cubicBezTo>
                <a:cubicBezTo>
                  <a:pt x="279" y="215"/>
                  <a:pt x="279" y="215"/>
                  <a:pt x="279" y="215"/>
                </a:cubicBezTo>
                <a:cubicBezTo>
                  <a:pt x="280" y="213"/>
                  <a:pt x="280" y="213"/>
                  <a:pt x="280" y="213"/>
                </a:cubicBezTo>
                <a:cubicBezTo>
                  <a:pt x="281" y="215"/>
                  <a:pt x="281" y="215"/>
                  <a:pt x="281" y="215"/>
                </a:cubicBezTo>
                <a:cubicBezTo>
                  <a:pt x="281" y="214"/>
                  <a:pt x="281" y="214"/>
                  <a:pt x="281" y="214"/>
                </a:cubicBezTo>
                <a:cubicBezTo>
                  <a:pt x="281" y="214"/>
                  <a:pt x="281" y="214"/>
                  <a:pt x="281" y="214"/>
                </a:cubicBezTo>
                <a:close/>
                <a:moveTo>
                  <a:pt x="282" y="212"/>
                </a:moveTo>
                <a:cubicBezTo>
                  <a:pt x="283" y="211"/>
                  <a:pt x="283" y="211"/>
                  <a:pt x="283" y="211"/>
                </a:cubicBezTo>
                <a:cubicBezTo>
                  <a:pt x="283" y="212"/>
                  <a:pt x="283" y="212"/>
                  <a:pt x="283" y="212"/>
                </a:cubicBezTo>
                <a:cubicBezTo>
                  <a:pt x="282" y="213"/>
                  <a:pt x="282" y="213"/>
                  <a:pt x="282" y="213"/>
                </a:cubicBezTo>
                <a:cubicBezTo>
                  <a:pt x="282" y="212"/>
                  <a:pt x="282" y="212"/>
                  <a:pt x="282" y="212"/>
                </a:cubicBezTo>
                <a:close/>
                <a:moveTo>
                  <a:pt x="94" y="135"/>
                </a:moveTo>
                <a:cubicBezTo>
                  <a:pt x="94" y="134"/>
                  <a:pt x="94" y="134"/>
                  <a:pt x="94" y="134"/>
                </a:cubicBezTo>
                <a:cubicBezTo>
                  <a:pt x="94" y="134"/>
                  <a:pt x="94" y="134"/>
                  <a:pt x="94" y="134"/>
                </a:cubicBezTo>
                <a:cubicBezTo>
                  <a:pt x="95" y="135"/>
                  <a:pt x="95" y="135"/>
                  <a:pt x="95" y="135"/>
                </a:cubicBezTo>
                <a:cubicBezTo>
                  <a:pt x="94" y="135"/>
                  <a:pt x="94" y="135"/>
                  <a:pt x="94" y="135"/>
                </a:cubicBezTo>
                <a:close/>
                <a:moveTo>
                  <a:pt x="94" y="136"/>
                </a:moveTo>
                <a:cubicBezTo>
                  <a:pt x="94" y="136"/>
                  <a:pt x="94" y="136"/>
                  <a:pt x="94" y="136"/>
                </a:cubicBezTo>
                <a:cubicBezTo>
                  <a:pt x="94" y="137"/>
                  <a:pt x="94" y="137"/>
                  <a:pt x="94" y="137"/>
                </a:cubicBezTo>
                <a:cubicBezTo>
                  <a:pt x="96" y="139"/>
                  <a:pt x="96" y="139"/>
                  <a:pt x="96" y="139"/>
                </a:cubicBezTo>
                <a:cubicBezTo>
                  <a:pt x="96" y="140"/>
                  <a:pt x="96" y="140"/>
                  <a:pt x="96" y="140"/>
                </a:cubicBezTo>
                <a:cubicBezTo>
                  <a:pt x="94" y="138"/>
                  <a:pt x="94" y="138"/>
                  <a:pt x="94" y="138"/>
                </a:cubicBezTo>
                <a:cubicBezTo>
                  <a:pt x="93" y="137"/>
                  <a:pt x="93" y="137"/>
                  <a:pt x="93" y="137"/>
                </a:cubicBezTo>
                <a:cubicBezTo>
                  <a:pt x="93" y="136"/>
                  <a:pt x="93" y="136"/>
                  <a:pt x="93" y="136"/>
                </a:cubicBezTo>
                <a:cubicBezTo>
                  <a:pt x="93" y="136"/>
                  <a:pt x="94" y="136"/>
                  <a:pt x="94" y="136"/>
                </a:cubicBezTo>
                <a:close/>
                <a:moveTo>
                  <a:pt x="159" y="114"/>
                </a:moveTo>
                <a:cubicBezTo>
                  <a:pt x="158" y="116"/>
                  <a:pt x="158" y="116"/>
                  <a:pt x="158" y="116"/>
                </a:cubicBezTo>
                <a:cubicBezTo>
                  <a:pt x="158" y="119"/>
                  <a:pt x="158" y="119"/>
                  <a:pt x="158" y="119"/>
                </a:cubicBezTo>
                <a:cubicBezTo>
                  <a:pt x="157" y="118"/>
                  <a:pt x="157" y="118"/>
                  <a:pt x="157" y="118"/>
                </a:cubicBezTo>
                <a:cubicBezTo>
                  <a:pt x="157" y="117"/>
                  <a:pt x="157" y="117"/>
                  <a:pt x="157" y="117"/>
                </a:cubicBezTo>
                <a:cubicBezTo>
                  <a:pt x="156" y="117"/>
                  <a:pt x="156" y="117"/>
                  <a:pt x="156" y="117"/>
                </a:cubicBezTo>
                <a:cubicBezTo>
                  <a:pt x="155" y="117"/>
                  <a:pt x="155" y="117"/>
                  <a:pt x="155" y="117"/>
                </a:cubicBezTo>
                <a:cubicBezTo>
                  <a:pt x="154" y="116"/>
                  <a:pt x="154" y="116"/>
                  <a:pt x="154" y="116"/>
                </a:cubicBezTo>
                <a:cubicBezTo>
                  <a:pt x="154" y="116"/>
                  <a:pt x="154" y="116"/>
                  <a:pt x="154" y="116"/>
                </a:cubicBezTo>
                <a:cubicBezTo>
                  <a:pt x="157" y="112"/>
                  <a:pt x="157" y="112"/>
                  <a:pt x="157" y="112"/>
                </a:cubicBezTo>
                <a:cubicBezTo>
                  <a:pt x="158" y="111"/>
                  <a:pt x="158" y="111"/>
                  <a:pt x="158" y="111"/>
                </a:cubicBezTo>
                <a:cubicBezTo>
                  <a:pt x="159" y="112"/>
                  <a:pt x="159" y="112"/>
                  <a:pt x="159" y="112"/>
                </a:cubicBezTo>
                <a:cubicBezTo>
                  <a:pt x="159" y="114"/>
                  <a:pt x="159" y="114"/>
                  <a:pt x="159" y="114"/>
                </a:cubicBezTo>
                <a:close/>
                <a:moveTo>
                  <a:pt x="160" y="114"/>
                </a:moveTo>
                <a:cubicBezTo>
                  <a:pt x="160" y="114"/>
                  <a:pt x="161" y="114"/>
                  <a:pt x="161" y="114"/>
                </a:cubicBezTo>
                <a:cubicBezTo>
                  <a:pt x="161" y="113"/>
                  <a:pt x="161" y="113"/>
                  <a:pt x="161" y="113"/>
                </a:cubicBezTo>
                <a:cubicBezTo>
                  <a:pt x="160" y="112"/>
                  <a:pt x="160" y="112"/>
                  <a:pt x="160" y="112"/>
                </a:cubicBezTo>
                <a:cubicBezTo>
                  <a:pt x="160" y="111"/>
                  <a:pt x="160" y="111"/>
                  <a:pt x="160" y="111"/>
                </a:cubicBezTo>
                <a:cubicBezTo>
                  <a:pt x="159" y="110"/>
                  <a:pt x="159" y="110"/>
                  <a:pt x="159" y="110"/>
                </a:cubicBezTo>
                <a:cubicBezTo>
                  <a:pt x="160" y="110"/>
                  <a:pt x="160" y="110"/>
                  <a:pt x="160" y="110"/>
                </a:cubicBezTo>
                <a:cubicBezTo>
                  <a:pt x="162" y="110"/>
                  <a:pt x="162" y="110"/>
                  <a:pt x="162" y="110"/>
                </a:cubicBezTo>
                <a:cubicBezTo>
                  <a:pt x="165" y="111"/>
                  <a:pt x="165" y="111"/>
                  <a:pt x="165" y="111"/>
                </a:cubicBezTo>
                <a:cubicBezTo>
                  <a:pt x="165" y="112"/>
                  <a:pt x="165" y="112"/>
                  <a:pt x="165" y="112"/>
                </a:cubicBezTo>
                <a:cubicBezTo>
                  <a:pt x="163" y="112"/>
                  <a:pt x="163" y="112"/>
                  <a:pt x="163" y="112"/>
                </a:cubicBezTo>
                <a:cubicBezTo>
                  <a:pt x="161" y="115"/>
                  <a:pt x="161" y="115"/>
                  <a:pt x="161" y="115"/>
                </a:cubicBezTo>
                <a:cubicBezTo>
                  <a:pt x="160" y="114"/>
                  <a:pt x="160" y="114"/>
                  <a:pt x="160" y="114"/>
                </a:cubicBezTo>
                <a:close/>
                <a:moveTo>
                  <a:pt x="172" y="106"/>
                </a:moveTo>
                <a:cubicBezTo>
                  <a:pt x="173" y="106"/>
                  <a:pt x="173" y="106"/>
                  <a:pt x="173" y="106"/>
                </a:cubicBezTo>
                <a:cubicBezTo>
                  <a:pt x="174" y="106"/>
                  <a:pt x="174" y="106"/>
                  <a:pt x="174" y="106"/>
                </a:cubicBezTo>
                <a:cubicBezTo>
                  <a:pt x="175" y="107"/>
                  <a:pt x="175" y="107"/>
                  <a:pt x="175" y="107"/>
                </a:cubicBezTo>
                <a:cubicBezTo>
                  <a:pt x="174" y="108"/>
                  <a:pt x="174" y="108"/>
                  <a:pt x="174" y="108"/>
                </a:cubicBezTo>
                <a:cubicBezTo>
                  <a:pt x="174" y="108"/>
                  <a:pt x="174" y="108"/>
                  <a:pt x="174" y="108"/>
                </a:cubicBezTo>
                <a:cubicBezTo>
                  <a:pt x="172" y="106"/>
                  <a:pt x="172" y="106"/>
                  <a:pt x="172" y="106"/>
                </a:cubicBezTo>
                <a:close/>
                <a:moveTo>
                  <a:pt x="236" y="167"/>
                </a:moveTo>
                <a:cubicBezTo>
                  <a:pt x="237" y="166"/>
                  <a:pt x="237" y="166"/>
                  <a:pt x="237" y="166"/>
                </a:cubicBezTo>
                <a:cubicBezTo>
                  <a:pt x="238" y="167"/>
                  <a:pt x="238" y="167"/>
                  <a:pt x="238" y="167"/>
                </a:cubicBezTo>
                <a:cubicBezTo>
                  <a:pt x="237" y="167"/>
                  <a:pt x="237" y="167"/>
                  <a:pt x="237" y="167"/>
                </a:cubicBezTo>
                <a:cubicBezTo>
                  <a:pt x="236" y="167"/>
                  <a:pt x="236" y="167"/>
                  <a:pt x="236" y="167"/>
                </a:cubicBezTo>
                <a:close/>
                <a:moveTo>
                  <a:pt x="230" y="186"/>
                </a:moveTo>
                <a:cubicBezTo>
                  <a:pt x="231" y="185"/>
                  <a:pt x="231" y="185"/>
                  <a:pt x="231" y="185"/>
                </a:cubicBezTo>
                <a:cubicBezTo>
                  <a:pt x="232" y="186"/>
                  <a:pt x="232" y="186"/>
                  <a:pt x="232" y="186"/>
                </a:cubicBezTo>
                <a:cubicBezTo>
                  <a:pt x="230" y="186"/>
                  <a:pt x="230" y="186"/>
                  <a:pt x="230" y="186"/>
                </a:cubicBezTo>
                <a:close/>
                <a:moveTo>
                  <a:pt x="244" y="182"/>
                </a:moveTo>
                <a:cubicBezTo>
                  <a:pt x="245" y="182"/>
                  <a:pt x="245" y="182"/>
                  <a:pt x="245" y="182"/>
                </a:cubicBezTo>
                <a:cubicBezTo>
                  <a:pt x="246" y="182"/>
                  <a:pt x="246" y="182"/>
                  <a:pt x="246" y="182"/>
                </a:cubicBezTo>
                <a:cubicBezTo>
                  <a:pt x="245" y="183"/>
                  <a:pt x="245" y="183"/>
                  <a:pt x="245" y="183"/>
                </a:cubicBezTo>
                <a:cubicBezTo>
                  <a:pt x="244" y="183"/>
                  <a:pt x="244" y="183"/>
                  <a:pt x="244" y="183"/>
                </a:cubicBezTo>
                <a:cubicBezTo>
                  <a:pt x="244" y="182"/>
                  <a:pt x="244" y="182"/>
                  <a:pt x="244" y="182"/>
                </a:cubicBezTo>
                <a:close/>
                <a:moveTo>
                  <a:pt x="234" y="170"/>
                </a:moveTo>
                <a:cubicBezTo>
                  <a:pt x="234" y="169"/>
                  <a:pt x="234" y="169"/>
                  <a:pt x="234" y="169"/>
                </a:cubicBezTo>
                <a:cubicBezTo>
                  <a:pt x="235" y="169"/>
                  <a:pt x="235" y="169"/>
                  <a:pt x="235" y="169"/>
                </a:cubicBezTo>
                <a:cubicBezTo>
                  <a:pt x="235" y="170"/>
                  <a:pt x="235" y="170"/>
                  <a:pt x="235" y="170"/>
                </a:cubicBezTo>
                <a:cubicBezTo>
                  <a:pt x="234" y="170"/>
                  <a:pt x="234" y="170"/>
                  <a:pt x="234" y="170"/>
                </a:cubicBezTo>
                <a:close/>
                <a:moveTo>
                  <a:pt x="235" y="175"/>
                </a:moveTo>
                <a:cubicBezTo>
                  <a:pt x="235" y="173"/>
                  <a:pt x="235" y="173"/>
                  <a:pt x="235" y="173"/>
                </a:cubicBezTo>
                <a:cubicBezTo>
                  <a:pt x="236" y="172"/>
                  <a:pt x="236" y="172"/>
                  <a:pt x="236" y="172"/>
                </a:cubicBezTo>
                <a:cubicBezTo>
                  <a:pt x="237" y="172"/>
                  <a:pt x="237" y="172"/>
                  <a:pt x="237" y="172"/>
                </a:cubicBezTo>
                <a:cubicBezTo>
                  <a:pt x="237" y="174"/>
                  <a:pt x="237" y="174"/>
                  <a:pt x="237" y="174"/>
                </a:cubicBezTo>
                <a:cubicBezTo>
                  <a:pt x="238" y="174"/>
                  <a:pt x="238" y="174"/>
                  <a:pt x="238" y="174"/>
                </a:cubicBezTo>
                <a:cubicBezTo>
                  <a:pt x="238" y="174"/>
                  <a:pt x="238" y="174"/>
                  <a:pt x="238" y="174"/>
                </a:cubicBezTo>
                <a:cubicBezTo>
                  <a:pt x="237" y="175"/>
                  <a:pt x="237" y="175"/>
                  <a:pt x="237" y="175"/>
                </a:cubicBezTo>
                <a:cubicBezTo>
                  <a:pt x="235" y="175"/>
                  <a:pt x="235" y="175"/>
                  <a:pt x="235" y="175"/>
                </a:cubicBezTo>
                <a:close/>
                <a:moveTo>
                  <a:pt x="225" y="180"/>
                </a:moveTo>
                <a:cubicBezTo>
                  <a:pt x="226" y="179"/>
                  <a:pt x="226" y="179"/>
                  <a:pt x="226" y="179"/>
                </a:cubicBezTo>
                <a:cubicBezTo>
                  <a:pt x="227" y="179"/>
                  <a:pt x="227" y="179"/>
                  <a:pt x="227" y="179"/>
                </a:cubicBezTo>
                <a:cubicBezTo>
                  <a:pt x="227" y="178"/>
                  <a:pt x="227" y="178"/>
                  <a:pt x="227" y="178"/>
                </a:cubicBezTo>
                <a:cubicBezTo>
                  <a:pt x="229" y="177"/>
                  <a:pt x="229" y="177"/>
                  <a:pt x="229" y="177"/>
                </a:cubicBezTo>
                <a:cubicBezTo>
                  <a:pt x="230" y="176"/>
                  <a:pt x="230" y="176"/>
                  <a:pt x="230" y="176"/>
                </a:cubicBezTo>
                <a:cubicBezTo>
                  <a:pt x="232" y="175"/>
                  <a:pt x="232" y="175"/>
                  <a:pt x="232" y="175"/>
                </a:cubicBezTo>
                <a:cubicBezTo>
                  <a:pt x="232" y="175"/>
                  <a:pt x="232" y="175"/>
                  <a:pt x="232" y="175"/>
                </a:cubicBezTo>
                <a:cubicBezTo>
                  <a:pt x="233" y="173"/>
                  <a:pt x="233" y="173"/>
                  <a:pt x="233" y="173"/>
                </a:cubicBezTo>
                <a:cubicBezTo>
                  <a:pt x="234" y="174"/>
                  <a:pt x="234" y="174"/>
                  <a:pt x="234" y="174"/>
                </a:cubicBezTo>
                <a:cubicBezTo>
                  <a:pt x="233" y="174"/>
                  <a:pt x="233" y="174"/>
                  <a:pt x="233" y="174"/>
                </a:cubicBezTo>
                <a:cubicBezTo>
                  <a:pt x="234" y="175"/>
                  <a:pt x="234" y="175"/>
                  <a:pt x="234" y="175"/>
                </a:cubicBezTo>
                <a:cubicBezTo>
                  <a:pt x="233" y="176"/>
                  <a:pt x="233" y="176"/>
                  <a:pt x="233" y="176"/>
                </a:cubicBezTo>
                <a:cubicBezTo>
                  <a:pt x="232" y="176"/>
                  <a:pt x="232" y="176"/>
                  <a:pt x="232" y="176"/>
                </a:cubicBezTo>
                <a:cubicBezTo>
                  <a:pt x="230" y="178"/>
                  <a:pt x="230" y="178"/>
                  <a:pt x="230" y="178"/>
                </a:cubicBezTo>
                <a:cubicBezTo>
                  <a:pt x="229" y="179"/>
                  <a:pt x="229" y="179"/>
                  <a:pt x="229" y="179"/>
                </a:cubicBezTo>
                <a:cubicBezTo>
                  <a:pt x="229" y="179"/>
                  <a:pt x="229" y="179"/>
                  <a:pt x="229" y="179"/>
                </a:cubicBezTo>
                <a:cubicBezTo>
                  <a:pt x="229" y="180"/>
                  <a:pt x="229" y="180"/>
                  <a:pt x="229" y="180"/>
                </a:cubicBezTo>
                <a:cubicBezTo>
                  <a:pt x="227" y="180"/>
                  <a:pt x="227" y="180"/>
                  <a:pt x="227" y="180"/>
                </a:cubicBezTo>
                <a:cubicBezTo>
                  <a:pt x="227" y="180"/>
                  <a:pt x="227" y="180"/>
                  <a:pt x="227" y="180"/>
                </a:cubicBezTo>
                <a:cubicBezTo>
                  <a:pt x="225" y="180"/>
                  <a:pt x="225" y="180"/>
                  <a:pt x="225" y="180"/>
                </a:cubicBezTo>
                <a:cubicBezTo>
                  <a:pt x="225" y="180"/>
                  <a:pt x="225" y="180"/>
                  <a:pt x="225" y="180"/>
                </a:cubicBezTo>
                <a:close/>
                <a:moveTo>
                  <a:pt x="225" y="177"/>
                </a:moveTo>
                <a:cubicBezTo>
                  <a:pt x="227" y="176"/>
                  <a:pt x="227" y="176"/>
                  <a:pt x="227" y="176"/>
                </a:cubicBezTo>
                <a:cubicBezTo>
                  <a:pt x="227" y="177"/>
                  <a:pt x="227" y="177"/>
                  <a:pt x="227" y="177"/>
                </a:cubicBezTo>
                <a:cubicBezTo>
                  <a:pt x="226" y="178"/>
                  <a:pt x="226" y="178"/>
                  <a:pt x="226" y="178"/>
                </a:cubicBezTo>
                <a:cubicBezTo>
                  <a:pt x="226" y="178"/>
                  <a:pt x="225" y="177"/>
                  <a:pt x="225" y="177"/>
                </a:cubicBezTo>
                <a:close/>
                <a:moveTo>
                  <a:pt x="228" y="174"/>
                </a:moveTo>
                <a:cubicBezTo>
                  <a:pt x="230" y="173"/>
                  <a:pt x="230" y="173"/>
                  <a:pt x="230" y="173"/>
                </a:cubicBezTo>
                <a:cubicBezTo>
                  <a:pt x="230" y="172"/>
                  <a:pt x="230" y="172"/>
                  <a:pt x="230" y="172"/>
                </a:cubicBezTo>
                <a:cubicBezTo>
                  <a:pt x="231" y="171"/>
                  <a:pt x="231" y="171"/>
                  <a:pt x="231" y="171"/>
                </a:cubicBezTo>
                <a:cubicBezTo>
                  <a:pt x="232" y="171"/>
                  <a:pt x="232" y="171"/>
                  <a:pt x="232" y="171"/>
                </a:cubicBezTo>
                <a:cubicBezTo>
                  <a:pt x="232" y="171"/>
                  <a:pt x="232" y="171"/>
                  <a:pt x="232" y="171"/>
                </a:cubicBezTo>
                <a:cubicBezTo>
                  <a:pt x="231" y="172"/>
                  <a:pt x="231" y="172"/>
                  <a:pt x="231" y="172"/>
                </a:cubicBezTo>
                <a:cubicBezTo>
                  <a:pt x="230" y="173"/>
                  <a:pt x="230" y="173"/>
                  <a:pt x="230" y="173"/>
                </a:cubicBezTo>
                <a:cubicBezTo>
                  <a:pt x="229" y="174"/>
                  <a:pt x="229" y="174"/>
                  <a:pt x="229" y="174"/>
                </a:cubicBezTo>
                <a:cubicBezTo>
                  <a:pt x="229" y="175"/>
                  <a:pt x="229" y="175"/>
                  <a:pt x="229" y="175"/>
                </a:cubicBezTo>
                <a:cubicBezTo>
                  <a:pt x="228" y="175"/>
                  <a:pt x="228" y="175"/>
                  <a:pt x="228" y="175"/>
                </a:cubicBezTo>
                <a:cubicBezTo>
                  <a:pt x="228" y="174"/>
                  <a:pt x="228" y="174"/>
                  <a:pt x="228" y="174"/>
                </a:cubicBezTo>
                <a:close/>
                <a:moveTo>
                  <a:pt x="230" y="166"/>
                </a:moveTo>
                <a:cubicBezTo>
                  <a:pt x="231" y="165"/>
                  <a:pt x="231" y="165"/>
                  <a:pt x="231" y="165"/>
                </a:cubicBezTo>
                <a:cubicBezTo>
                  <a:pt x="232" y="166"/>
                  <a:pt x="232" y="166"/>
                  <a:pt x="232" y="166"/>
                </a:cubicBezTo>
                <a:cubicBezTo>
                  <a:pt x="231" y="166"/>
                  <a:pt x="231" y="166"/>
                  <a:pt x="231" y="166"/>
                </a:cubicBezTo>
                <a:cubicBezTo>
                  <a:pt x="232" y="167"/>
                  <a:pt x="232" y="167"/>
                  <a:pt x="232" y="167"/>
                </a:cubicBezTo>
                <a:cubicBezTo>
                  <a:pt x="231" y="168"/>
                  <a:pt x="231" y="168"/>
                  <a:pt x="231" y="168"/>
                </a:cubicBezTo>
                <a:cubicBezTo>
                  <a:pt x="230" y="166"/>
                  <a:pt x="230" y="166"/>
                  <a:pt x="230" y="166"/>
                </a:cubicBezTo>
                <a:close/>
                <a:moveTo>
                  <a:pt x="154" y="79"/>
                </a:moveTo>
                <a:cubicBezTo>
                  <a:pt x="154" y="79"/>
                  <a:pt x="155" y="79"/>
                  <a:pt x="155" y="79"/>
                </a:cubicBezTo>
                <a:cubicBezTo>
                  <a:pt x="156" y="79"/>
                  <a:pt x="156" y="79"/>
                  <a:pt x="156" y="79"/>
                </a:cubicBezTo>
                <a:cubicBezTo>
                  <a:pt x="155" y="80"/>
                  <a:pt x="155" y="80"/>
                  <a:pt x="155" y="80"/>
                </a:cubicBezTo>
                <a:cubicBezTo>
                  <a:pt x="154" y="79"/>
                  <a:pt x="154" y="79"/>
                  <a:pt x="154" y="79"/>
                </a:cubicBezTo>
                <a:close/>
                <a:moveTo>
                  <a:pt x="130" y="105"/>
                </a:moveTo>
                <a:cubicBezTo>
                  <a:pt x="131" y="103"/>
                  <a:pt x="131" y="103"/>
                  <a:pt x="131" y="103"/>
                </a:cubicBezTo>
                <a:cubicBezTo>
                  <a:pt x="131" y="102"/>
                  <a:pt x="131" y="102"/>
                  <a:pt x="131" y="102"/>
                </a:cubicBezTo>
                <a:cubicBezTo>
                  <a:pt x="129" y="101"/>
                  <a:pt x="129" y="101"/>
                  <a:pt x="129" y="101"/>
                </a:cubicBezTo>
                <a:cubicBezTo>
                  <a:pt x="130" y="100"/>
                  <a:pt x="130" y="100"/>
                  <a:pt x="130" y="100"/>
                </a:cubicBezTo>
                <a:cubicBezTo>
                  <a:pt x="129" y="98"/>
                  <a:pt x="129" y="98"/>
                  <a:pt x="129" y="98"/>
                </a:cubicBezTo>
                <a:cubicBezTo>
                  <a:pt x="128" y="97"/>
                  <a:pt x="128" y="97"/>
                  <a:pt x="128" y="97"/>
                </a:cubicBezTo>
                <a:cubicBezTo>
                  <a:pt x="126" y="96"/>
                  <a:pt x="126" y="96"/>
                  <a:pt x="126" y="96"/>
                </a:cubicBezTo>
                <a:cubicBezTo>
                  <a:pt x="125" y="98"/>
                  <a:pt x="125" y="98"/>
                  <a:pt x="125" y="98"/>
                </a:cubicBezTo>
                <a:cubicBezTo>
                  <a:pt x="124" y="98"/>
                  <a:pt x="124" y="98"/>
                  <a:pt x="124" y="98"/>
                </a:cubicBezTo>
                <a:cubicBezTo>
                  <a:pt x="123" y="96"/>
                  <a:pt x="123" y="96"/>
                  <a:pt x="123" y="96"/>
                </a:cubicBezTo>
                <a:cubicBezTo>
                  <a:pt x="123" y="94"/>
                  <a:pt x="123" y="94"/>
                  <a:pt x="123" y="94"/>
                </a:cubicBezTo>
                <a:cubicBezTo>
                  <a:pt x="126" y="92"/>
                  <a:pt x="126" y="92"/>
                  <a:pt x="126" y="92"/>
                </a:cubicBezTo>
                <a:cubicBezTo>
                  <a:pt x="127" y="89"/>
                  <a:pt x="127" y="89"/>
                  <a:pt x="127" y="89"/>
                </a:cubicBezTo>
                <a:cubicBezTo>
                  <a:pt x="127" y="89"/>
                  <a:pt x="127" y="89"/>
                  <a:pt x="127" y="89"/>
                </a:cubicBezTo>
                <a:cubicBezTo>
                  <a:pt x="127" y="92"/>
                  <a:pt x="127" y="92"/>
                  <a:pt x="127" y="92"/>
                </a:cubicBezTo>
                <a:cubicBezTo>
                  <a:pt x="127" y="93"/>
                  <a:pt x="127" y="93"/>
                  <a:pt x="127" y="93"/>
                </a:cubicBezTo>
                <a:cubicBezTo>
                  <a:pt x="129" y="93"/>
                  <a:pt x="129" y="93"/>
                  <a:pt x="129" y="93"/>
                </a:cubicBezTo>
                <a:cubicBezTo>
                  <a:pt x="129" y="94"/>
                  <a:pt x="129" y="94"/>
                  <a:pt x="129" y="94"/>
                </a:cubicBezTo>
                <a:cubicBezTo>
                  <a:pt x="130" y="94"/>
                  <a:pt x="130" y="94"/>
                  <a:pt x="130" y="94"/>
                </a:cubicBezTo>
                <a:cubicBezTo>
                  <a:pt x="131" y="94"/>
                  <a:pt x="131" y="94"/>
                  <a:pt x="131" y="94"/>
                </a:cubicBezTo>
                <a:cubicBezTo>
                  <a:pt x="133" y="94"/>
                  <a:pt x="133" y="94"/>
                  <a:pt x="133" y="94"/>
                </a:cubicBezTo>
                <a:cubicBezTo>
                  <a:pt x="134" y="95"/>
                  <a:pt x="134" y="95"/>
                  <a:pt x="134" y="95"/>
                </a:cubicBezTo>
                <a:cubicBezTo>
                  <a:pt x="134" y="96"/>
                  <a:pt x="134" y="96"/>
                  <a:pt x="134" y="96"/>
                </a:cubicBezTo>
                <a:cubicBezTo>
                  <a:pt x="133" y="96"/>
                  <a:pt x="133" y="96"/>
                  <a:pt x="133" y="96"/>
                </a:cubicBezTo>
                <a:cubicBezTo>
                  <a:pt x="134" y="98"/>
                  <a:pt x="134" y="98"/>
                  <a:pt x="134" y="98"/>
                </a:cubicBezTo>
                <a:cubicBezTo>
                  <a:pt x="135" y="99"/>
                  <a:pt x="135" y="99"/>
                  <a:pt x="135" y="99"/>
                </a:cubicBezTo>
                <a:cubicBezTo>
                  <a:pt x="135" y="100"/>
                  <a:pt x="135" y="100"/>
                  <a:pt x="135" y="100"/>
                </a:cubicBezTo>
                <a:cubicBezTo>
                  <a:pt x="138" y="102"/>
                  <a:pt x="138" y="102"/>
                  <a:pt x="138" y="102"/>
                </a:cubicBezTo>
                <a:cubicBezTo>
                  <a:pt x="138" y="104"/>
                  <a:pt x="138" y="104"/>
                  <a:pt x="138" y="104"/>
                </a:cubicBezTo>
                <a:cubicBezTo>
                  <a:pt x="137" y="104"/>
                  <a:pt x="137" y="104"/>
                  <a:pt x="137" y="104"/>
                </a:cubicBezTo>
                <a:cubicBezTo>
                  <a:pt x="135" y="103"/>
                  <a:pt x="135" y="103"/>
                  <a:pt x="135" y="103"/>
                </a:cubicBezTo>
                <a:cubicBezTo>
                  <a:pt x="135" y="103"/>
                  <a:pt x="135" y="103"/>
                  <a:pt x="135" y="103"/>
                </a:cubicBezTo>
                <a:cubicBezTo>
                  <a:pt x="134" y="104"/>
                  <a:pt x="134" y="104"/>
                  <a:pt x="134" y="104"/>
                </a:cubicBezTo>
                <a:cubicBezTo>
                  <a:pt x="133" y="104"/>
                  <a:pt x="133" y="104"/>
                  <a:pt x="133" y="104"/>
                </a:cubicBezTo>
                <a:cubicBezTo>
                  <a:pt x="131" y="106"/>
                  <a:pt x="131" y="106"/>
                  <a:pt x="131" y="106"/>
                </a:cubicBezTo>
                <a:cubicBezTo>
                  <a:pt x="130" y="105"/>
                  <a:pt x="130" y="105"/>
                  <a:pt x="130" y="105"/>
                </a:cubicBezTo>
                <a:close/>
                <a:moveTo>
                  <a:pt x="122" y="148"/>
                </a:moveTo>
                <a:cubicBezTo>
                  <a:pt x="123" y="148"/>
                  <a:pt x="123" y="148"/>
                  <a:pt x="123" y="148"/>
                </a:cubicBezTo>
                <a:cubicBezTo>
                  <a:pt x="125" y="148"/>
                  <a:pt x="125" y="148"/>
                  <a:pt x="125" y="148"/>
                </a:cubicBezTo>
                <a:cubicBezTo>
                  <a:pt x="126" y="148"/>
                  <a:pt x="126" y="148"/>
                  <a:pt x="126" y="148"/>
                </a:cubicBezTo>
                <a:cubicBezTo>
                  <a:pt x="127" y="148"/>
                  <a:pt x="127" y="148"/>
                  <a:pt x="127" y="148"/>
                </a:cubicBezTo>
                <a:cubicBezTo>
                  <a:pt x="128" y="147"/>
                  <a:pt x="128" y="147"/>
                  <a:pt x="128" y="147"/>
                </a:cubicBezTo>
                <a:cubicBezTo>
                  <a:pt x="130" y="147"/>
                  <a:pt x="130" y="147"/>
                  <a:pt x="130" y="147"/>
                </a:cubicBezTo>
                <a:cubicBezTo>
                  <a:pt x="130" y="148"/>
                  <a:pt x="130" y="148"/>
                  <a:pt x="130" y="148"/>
                </a:cubicBezTo>
                <a:cubicBezTo>
                  <a:pt x="131" y="149"/>
                  <a:pt x="131" y="149"/>
                  <a:pt x="131" y="149"/>
                </a:cubicBezTo>
                <a:cubicBezTo>
                  <a:pt x="131" y="150"/>
                  <a:pt x="131" y="150"/>
                  <a:pt x="131" y="150"/>
                </a:cubicBezTo>
                <a:cubicBezTo>
                  <a:pt x="130" y="152"/>
                  <a:pt x="130" y="152"/>
                  <a:pt x="130" y="152"/>
                </a:cubicBezTo>
                <a:cubicBezTo>
                  <a:pt x="130" y="153"/>
                  <a:pt x="130" y="153"/>
                  <a:pt x="130" y="153"/>
                </a:cubicBezTo>
                <a:cubicBezTo>
                  <a:pt x="128" y="153"/>
                  <a:pt x="128" y="153"/>
                  <a:pt x="128" y="153"/>
                </a:cubicBezTo>
                <a:cubicBezTo>
                  <a:pt x="127" y="153"/>
                  <a:pt x="127" y="153"/>
                  <a:pt x="127" y="153"/>
                </a:cubicBezTo>
                <a:cubicBezTo>
                  <a:pt x="126" y="153"/>
                  <a:pt x="126" y="153"/>
                  <a:pt x="126" y="153"/>
                </a:cubicBezTo>
                <a:cubicBezTo>
                  <a:pt x="125" y="153"/>
                  <a:pt x="125" y="153"/>
                  <a:pt x="125" y="153"/>
                </a:cubicBezTo>
                <a:cubicBezTo>
                  <a:pt x="124" y="152"/>
                  <a:pt x="124" y="152"/>
                  <a:pt x="124" y="152"/>
                </a:cubicBezTo>
                <a:cubicBezTo>
                  <a:pt x="122" y="150"/>
                  <a:pt x="122" y="150"/>
                  <a:pt x="122" y="150"/>
                </a:cubicBezTo>
                <a:cubicBezTo>
                  <a:pt x="122" y="148"/>
                  <a:pt x="122" y="148"/>
                  <a:pt x="122" y="148"/>
                </a:cubicBezTo>
                <a:close/>
                <a:moveTo>
                  <a:pt x="205" y="167"/>
                </a:moveTo>
                <a:cubicBezTo>
                  <a:pt x="207" y="165"/>
                  <a:pt x="207" y="165"/>
                  <a:pt x="207" y="165"/>
                </a:cubicBezTo>
                <a:cubicBezTo>
                  <a:pt x="208" y="165"/>
                  <a:pt x="208" y="165"/>
                  <a:pt x="208" y="165"/>
                </a:cubicBezTo>
                <a:cubicBezTo>
                  <a:pt x="208" y="166"/>
                  <a:pt x="208" y="166"/>
                  <a:pt x="208" y="166"/>
                </a:cubicBezTo>
                <a:cubicBezTo>
                  <a:pt x="206" y="167"/>
                  <a:pt x="206" y="167"/>
                  <a:pt x="206" y="167"/>
                </a:cubicBezTo>
                <a:cubicBezTo>
                  <a:pt x="205" y="167"/>
                  <a:pt x="205" y="167"/>
                  <a:pt x="205" y="167"/>
                </a:cubicBezTo>
                <a:close/>
                <a:moveTo>
                  <a:pt x="192" y="176"/>
                </a:moveTo>
                <a:cubicBezTo>
                  <a:pt x="193" y="176"/>
                  <a:pt x="193" y="176"/>
                  <a:pt x="193" y="176"/>
                </a:cubicBezTo>
                <a:cubicBezTo>
                  <a:pt x="194" y="176"/>
                  <a:pt x="194" y="176"/>
                  <a:pt x="194" y="176"/>
                </a:cubicBezTo>
                <a:cubicBezTo>
                  <a:pt x="193" y="177"/>
                  <a:pt x="193" y="177"/>
                  <a:pt x="193" y="177"/>
                </a:cubicBezTo>
                <a:cubicBezTo>
                  <a:pt x="192" y="176"/>
                  <a:pt x="192" y="176"/>
                  <a:pt x="192" y="176"/>
                </a:cubicBezTo>
                <a:close/>
                <a:moveTo>
                  <a:pt x="192" y="187"/>
                </a:moveTo>
                <a:cubicBezTo>
                  <a:pt x="192" y="186"/>
                  <a:pt x="192" y="186"/>
                  <a:pt x="192" y="186"/>
                </a:cubicBezTo>
                <a:cubicBezTo>
                  <a:pt x="193" y="187"/>
                  <a:pt x="193" y="187"/>
                  <a:pt x="193" y="187"/>
                </a:cubicBezTo>
                <a:cubicBezTo>
                  <a:pt x="193" y="188"/>
                  <a:pt x="193" y="188"/>
                  <a:pt x="193" y="188"/>
                </a:cubicBezTo>
                <a:cubicBezTo>
                  <a:pt x="192" y="188"/>
                  <a:pt x="192" y="188"/>
                  <a:pt x="192" y="188"/>
                </a:cubicBezTo>
                <a:cubicBezTo>
                  <a:pt x="191" y="188"/>
                  <a:pt x="191" y="188"/>
                  <a:pt x="191" y="188"/>
                </a:cubicBezTo>
                <a:cubicBezTo>
                  <a:pt x="192" y="187"/>
                  <a:pt x="192" y="187"/>
                  <a:pt x="192" y="187"/>
                </a:cubicBezTo>
                <a:close/>
                <a:moveTo>
                  <a:pt x="187" y="193"/>
                </a:moveTo>
                <a:cubicBezTo>
                  <a:pt x="186" y="192"/>
                  <a:pt x="186" y="192"/>
                  <a:pt x="186" y="192"/>
                </a:cubicBezTo>
                <a:cubicBezTo>
                  <a:pt x="187" y="192"/>
                  <a:pt x="187" y="192"/>
                  <a:pt x="187" y="192"/>
                </a:cubicBezTo>
                <a:cubicBezTo>
                  <a:pt x="188" y="192"/>
                  <a:pt x="188" y="192"/>
                  <a:pt x="188" y="192"/>
                </a:cubicBezTo>
                <a:cubicBezTo>
                  <a:pt x="188" y="191"/>
                  <a:pt x="188" y="191"/>
                  <a:pt x="188" y="191"/>
                </a:cubicBezTo>
                <a:cubicBezTo>
                  <a:pt x="189" y="192"/>
                  <a:pt x="189" y="192"/>
                  <a:pt x="189" y="192"/>
                </a:cubicBezTo>
                <a:cubicBezTo>
                  <a:pt x="190" y="191"/>
                  <a:pt x="190" y="191"/>
                  <a:pt x="190" y="191"/>
                </a:cubicBezTo>
                <a:cubicBezTo>
                  <a:pt x="189" y="190"/>
                  <a:pt x="189" y="190"/>
                  <a:pt x="189" y="190"/>
                </a:cubicBezTo>
                <a:cubicBezTo>
                  <a:pt x="190" y="189"/>
                  <a:pt x="190" y="189"/>
                  <a:pt x="190" y="189"/>
                </a:cubicBezTo>
                <a:cubicBezTo>
                  <a:pt x="191" y="189"/>
                  <a:pt x="191" y="189"/>
                  <a:pt x="191" y="189"/>
                </a:cubicBezTo>
                <a:cubicBezTo>
                  <a:pt x="192" y="189"/>
                  <a:pt x="192" y="189"/>
                  <a:pt x="192" y="189"/>
                </a:cubicBezTo>
                <a:cubicBezTo>
                  <a:pt x="191" y="190"/>
                  <a:pt x="191" y="190"/>
                  <a:pt x="191" y="190"/>
                </a:cubicBezTo>
                <a:cubicBezTo>
                  <a:pt x="192" y="190"/>
                  <a:pt x="192" y="190"/>
                  <a:pt x="192" y="190"/>
                </a:cubicBezTo>
                <a:cubicBezTo>
                  <a:pt x="192" y="190"/>
                  <a:pt x="192" y="190"/>
                  <a:pt x="192" y="190"/>
                </a:cubicBezTo>
                <a:cubicBezTo>
                  <a:pt x="193" y="190"/>
                  <a:pt x="193" y="190"/>
                  <a:pt x="193" y="190"/>
                </a:cubicBezTo>
                <a:cubicBezTo>
                  <a:pt x="194" y="191"/>
                  <a:pt x="194" y="191"/>
                  <a:pt x="194" y="191"/>
                </a:cubicBezTo>
                <a:cubicBezTo>
                  <a:pt x="193" y="191"/>
                  <a:pt x="193" y="191"/>
                  <a:pt x="193" y="191"/>
                </a:cubicBezTo>
                <a:cubicBezTo>
                  <a:pt x="193" y="192"/>
                  <a:pt x="193" y="192"/>
                  <a:pt x="193" y="192"/>
                </a:cubicBezTo>
                <a:cubicBezTo>
                  <a:pt x="193" y="192"/>
                  <a:pt x="193" y="192"/>
                  <a:pt x="193" y="192"/>
                </a:cubicBezTo>
                <a:cubicBezTo>
                  <a:pt x="194" y="193"/>
                  <a:pt x="194" y="193"/>
                  <a:pt x="194" y="193"/>
                </a:cubicBezTo>
                <a:cubicBezTo>
                  <a:pt x="193" y="193"/>
                  <a:pt x="193" y="193"/>
                  <a:pt x="193" y="193"/>
                </a:cubicBezTo>
                <a:cubicBezTo>
                  <a:pt x="192" y="193"/>
                  <a:pt x="192" y="193"/>
                  <a:pt x="192" y="193"/>
                </a:cubicBezTo>
                <a:cubicBezTo>
                  <a:pt x="191" y="194"/>
                  <a:pt x="191" y="194"/>
                  <a:pt x="191" y="194"/>
                </a:cubicBezTo>
                <a:cubicBezTo>
                  <a:pt x="190" y="194"/>
                  <a:pt x="190" y="194"/>
                  <a:pt x="190" y="194"/>
                </a:cubicBezTo>
                <a:cubicBezTo>
                  <a:pt x="190" y="193"/>
                  <a:pt x="190" y="193"/>
                  <a:pt x="190" y="193"/>
                </a:cubicBezTo>
                <a:cubicBezTo>
                  <a:pt x="189" y="194"/>
                  <a:pt x="189" y="194"/>
                  <a:pt x="189" y="194"/>
                </a:cubicBezTo>
                <a:cubicBezTo>
                  <a:pt x="188" y="194"/>
                  <a:pt x="188" y="194"/>
                  <a:pt x="188" y="194"/>
                </a:cubicBezTo>
                <a:cubicBezTo>
                  <a:pt x="187" y="193"/>
                  <a:pt x="187" y="193"/>
                  <a:pt x="187" y="193"/>
                </a:cubicBezTo>
                <a:close/>
                <a:moveTo>
                  <a:pt x="174" y="206"/>
                </a:moveTo>
                <a:cubicBezTo>
                  <a:pt x="173" y="206"/>
                  <a:pt x="173" y="206"/>
                  <a:pt x="173" y="206"/>
                </a:cubicBezTo>
                <a:cubicBezTo>
                  <a:pt x="173" y="207"/>
                  <a:pt x="173" y="207"/>
                  <a:pt x="173" y="207"/>
                </a:cubicBezTo>
                <a:cubicBezTo>
                  <a:pt x="172" y="206"/>
                  <a:pt x="172" y="206"/>
                  <a:pt x="172" y="206"/>
                </a:cubicBezTo>
                <a:cubicBezTo>
                  <a:pt x="172" y="205"/>
                  <a:pt x="172" y="205"/>
                  <a:pt x="172" y="205"/>
                </a:cubicBezTo>
                <a:cubicBezTo>
                  <a:pt x="172" y="204"/>
                  <a:pt x="172" y="204"/>
                  <a:pt x="172" y="204"/>
                </a:cubicBezTo>
                <a:cubicBezTo>
                  <a:pt x="173" y="203"/>
                  <a:pt x="173" y="203"/>
                  <a:pt x="173" y="203"/>
                </a:cubicBezTo>
                <a:cubicBezTo>
                  <a:pt x="173" y="201"/>
                  <a:pt x="173" y="201"/>
                  <a:pt x="173" y="201"/>
                </a:cubicBezTo>
                <a:cubicBezTo>
                  <a:pt x="172" y="201"/>
                  <a:pt x="172" y="201"/>
                  <a:pt x="172" y="201"/>
                </a:cubicBezTo>
                <a:cubicBezTo>
                  <a:pt x="172" y="200"/>
                  <a:pt x="172" y="200"/>
                  <a:pt x="172" y="200"/>
                </a:cubicBezTo>
                <a:cubicBezTo>
                  <a:pt x="174" y="199"/>
                  <a:pt x="174" y="199"/>
                  <a:pt x="174" y="199"/>
                </a:cubicBezTo>
                <a:cubicBezTo>
                  <a:pt x="177" y="197"/>
                  <a:pt x="177" y="197"/>
                  <a:pt x="177" y="197"/>
                </a:cubicBezTo>
                <a:cubicBezTo>
                  <a:pt x="178" y="197"/>
                  <a:pt x="178" y="197"/>
                  <a:pt x="178" y="197"/>
                </a:cubicBezTo>
                <a:cubicBezTo>
                  <a:pt x="179" y="197"/>
                  <a:pt x="179" y="197"/>
                  <a:pt x="179" y="197"/>
                </a:cubicBezTo>
                <a:cubicBezTo>
                  <a:pt x="179" y="200"/>
                  <a:pt x="179" y="200"/>
                  <a:pt x="179" y="200"/>
                </a:cubicBezTo>
                <a:cubicBezTo>
                  <a:pt x="179" y="200"/>
                  <a:pt x="179" y="200"/>
                  <a:pt x="179" y="200"/>
                </a:cubicBezTo>
                <a:cubicBezTo>
                  <a:pt x="180" y="199"/>
                  <a:pt x="180" y="199"/>
                  <a:pt x="180" y="199"/>
                </a:cubicBezTo>
                <a:cubicBezTo>
                  <a:pt x="180" y="198"/>
                  <a:pt x="180" y="198"/>
                  <a:pt x="180" y="198"/>
                </a:cubicBezTo>
                <a:cubicBezTo>
                  <a:pt x="180" y="197"/>
                  <a:pt x="180" y="197"/>
                  <a:pt x="180" y="197"/>
                </a:cubicBezTo>
                <a:cubicBezTo>
                  <a:pt x="181" y="198"/>
                  <a:pt x="181" y="198"/>
                  <a:pt x="181" y="198"/>
                </a:cubicBezTo>
                <a:cubicBezTo>
                  <a:pt x="182" y="197"/>
                  <a:pt x="182" y="197"/>
                  <a:pt x="182" y="197"/>
                </a:cubicBezTo>
                <a:cubicBezTo>
                  <a:pt x="180" y="196"/>
                  <a:pt x="180" y="196"/>
                  <a:pt x="180" y="196"/>
                </a:cubicBezTo>
                <a:cubicBezTo>
                  <a:pt x="180" y="196"/>
                  <a:pt x="180" y="196"/>
                  <a:pt x="180" y="196"/>
                </a:cubicBezTo>
                <a:cubicBezTo>
                  <a:pt x="181" y="194"/>
                  <a:pt x="181" y="194"/>
                  <a:pt x="181" y="194"/>
                </a:cubicBezTo>
                <a:cubicBezTo>
                  <a:pt x="182" y="194"/>
                  <a:pt x="182" y="194"/>
                  <a:pt x="182" y="194"/>
                </a:cubicBezTo>
                <a:cubicBezTo>
                  <a:pt x="183" y="195"/>
                  <a:pt x="183" y="195"/>
                  <a:pt x="183" y="195"/>
                </a:cubicBezTo>
                <a:cubicBezTo>
                  <a:pt x="183" y="196"/>
                  <a:pt x="183" y="196"/>
                  <a:pt x="183" y="196"/>
                </a:cubicBezTo>
                <a:cubicBezTo>
                  <a:pt x="182" y="197"/>
                  <a:pt x="182" y="197"/>
                  <a:pt x="182" y="197"/>
                </a:cubicBezTo>
                <a:cubicBezTo>
                  <a:pt x="182" y="198"/>
                  <a:pt x="182" y="198"/>
                  <a:pt x="182" y="198"/>
                </a:cubicBezTo>
                <a:cubicBezTo>
                  <a:pt x="183" y="197"/>
                  <a:pt x="183" y="197"/>
                  <a:pt x="183" y="197"/>
                </a:cubicBezTo>
                <a:cubicBezTo>
                  <a:pt x="184" y="196"/>
                  <a:pt x="184" y="196"/>
                  <a:pt x="184" y="196"/>
                </a:cubicBezTo>
                <a:cubicBezTo>
                  <a:pt x="184" y="196"/>
                  <a:pt x="184" y="196"/>
                  <a:pt x="184" y="196"/>
                </a:cubicBezTo>
                <a:cubicBezTo>
                  <a:pt x="185" y="197"/>
                  <a:pt x="185" y="197"/>
                  <a:pt x="185" y="197"/>
                </a:cubicBezTo>
                <a:cubicBezTo>
                  <a:pt x="185" y="195"/>
                  <a:pt x="185" y="195"/>
                  <a:pt x="185" y="195"/>
                </a:cubicBezTo>
                <a:cubicBezTo>
                  <a:pt x="185" y="195"/>
                  <a:pt x="185" y="195"/>
                  <a:pt x="185" y="195"/>
                </a:cubicBezTo>
                <a:cubicBezTo>
                  <a:pt x="185" y="194"/>
                  <a:pt x="185" y="194"/>
                  <a:pt x="185" y="194"/>
                </a:cubicBezTo>
                <a:cubicBezTo>
                  <a:pt x="186" y="195"/>
                  <a:pt x="186" y="195"/>
                  <a:pt x="186" y="195"/>
                </a:cubicBezTo>
                <a:cubicBezTo>
                  <a:pt x="186" y="196"/>
                  <a:pt x="186" y="196"/>
                  <a:pt x="186" y="196"/>
                </a:cubicBezTo>
                <a:cubicBezTo>
                  <a:pt x="186" y="196"/>
                  <a:pt x="186" y="196"/>
                  <a:pt x="186" y="196"/>
                </a:cubicBezTo>
                <a:cubicBezTo>
                  <a:pt x="186" y="197"/>
                  <a:pt x="186" y="197"/>
                  <a:pt x="186" y="197"/>
                </a:cubicBezTo>
                <a:cubicBezTo>
                  <a:pt x="187" y="197"/>
                  <a:pt x="187" y="197"/>
                  <a:pt x="187" y="197"/>
                </a:cubicBezTo>
                <a:cubicBezTo>
                  <a:pt x="188" y="196"/>
                  <a:pt x="188" y="196"/>
                  <a:pt x="188" y="196"/>
                </a:cubicBezTo>
                <a:cubicBezTo>
                  <a:pt x="189" y="195"/>
                  <a:pt x="189" y="195"/>
                  <a:pt x="189" y="195"/>
                </a:cubicBezTo>
                <a:cubicBezTo>
                  <a:pt x="190" y="196"/>
                  <a:pt x="190" y="196"/>
                  <a:pt x="190" y="196"/>
                </a:cubicBezTo>
                <a:cubicBezTo>
                  <a:pt x="190" y="197"/>
                  <a:pt x="190" y="197"/>
                  <a:pt x="190" y="197"/>
                </a:cubicBezTo>
                <a:cubicBezTo>
                  <a:pt x="189" y="197"/>
                  <a:pt x="189" y="197"/>
                  <a:pt x="189" y="197"/>
                </a:cubicBezTo>
                <a:cubicBezTo>
                  <a:pt x="188" y="197"/>
                  <a:pt x="188" y="197"/>
                  <a:pt x="188" y="197"/>
                </a:cubicBezTo>
                <a:cubicBezTo>
                  <a:pt x="188" y="198"/>
                  <a:pt x="188" y="198"/>
                  <a:pt x="188" y="198"/>
                </a:cubicBezTo>
                <a:cubicBezTo>
                  <a:pt x="189" y="198"/>
                  <a:pt x="189" y="198"/>
                  <a:pt x="189" y="198"/>
                </a:cubicBezTo>
                <a:cubicBezTo>
                  <a:pt x="189" y="199"/>
                  <a:pt x="189" y="199"/>
                  <a:pt x="189" y="199"/>
                </a:cubicBezTo>
                <a:cubicBezTo>
                  <a:pt x="188" y="201"/>
                  <a:pt x="188" y="201"/>
                  <a:pt x="188" y="201"/>
                </a:cubicBezTo>
                <a:cubicBezTo>
                  <a:pt x="187" y="200"/>
                  <a:pt x="187" y="200"/>
                  <a:pt x="187" y="200"/>
                </a:cubicBezTo>
                <a:cubicBezTo>
                  <a:pt x="187" y="200"/>
                  <a:pt x="187" y="200"/>
                  <a:pt x="187" y="200"/>
                </a:cubicBezTo>
                <a:cubicBezTo>
                  <a:pt x="186" y="200"/>
                  <a:pt x="186" y="200"/>
                  <a:pt x="186" y="200"/>
                </a:cubicBezTo>
                <a:cubicBezTo>
                  <a:pt x="185" y="200"/>
                  <a:pt x="185" y="200"/>
                  <a:pt x="185" y="200"/>
                </a:cubicBezTo>
                <a:cubicBezTo>
                  <a:pt x="184" y="200"/>
                  <a:pt x="184" y="200"/>
                  <a:pt x="184" y="200"/>
                </a:cubicBezTo>
                <a:cubicBezTo>
                  <a:pt x="184" y="200"/>
                  <a:pt x="184" y="200"/>
                  <a:pt x="184" y="200"/>
                </a:cubicBezTo>
                <a:cubicBezTo>
                  <a:pt x="185" y="201"/>
                  <a:pt x="185" y="201"/>
                  <a:pt x="185" y="201"/>
                </a:cubicBezTo>
                <a:cubicBezTo>
                  <a:pt x="185" y="202"/>
                  <a:pt x="185" y="202"/>
                  <a:pt x="185" y="202"/>
                </a:cubicBezTo>
                <a:cubicBezTo>
                  <a:pt x="185" y="203"/>
                  <a:pt x="185" y="203"/>
                  <a:pt x="185" y="203"/>
                </a:cubicBezTo>
                <a:cubicBezTo>
                  <a:pt x="184" y="203"/>
                  <a:pt x="184" y="203"/>
                  <a:pt x="184" y="203"/>
                </a:cubicBezTo>
                <a:cubicBezTo>
                  <a:pt x="183" y="202"/>
                  <a:pt x="183" y="202"/>
                  <a:pt x="183" y="202"/>
                </a:cubicBezTo>
                <a:cubicBezTo>
                  <a:pt x="181" y="202"/>
                  <a:pt x="181" y="202"/>
                  <a:pt x="181" y="202"/>
                </a:cubicBezTo>
                <a:cubicBezTo>
                  <a:pt x="181" y="202"/>
                  <a:pt x="181" y="202"/>
                  <a:pt x="181" y="202"/>
                </a:cubicBezTo>
                <a:cubicBezTo>
                  <a:pt x="182" y="203"/>
                  <a:pt x="182" y="203"/>
                  <a:pt x="182" y="203"/>
                </a:cubicBezTo>
                <a:cubicBezTo>
                  <a:pt x="182" y="203"/>
                  <a:pt x="182" y="203"/>
                  <a:pt x="182" y="203"/>
                </a:cubicBezTo>
                <a:cubicBezTo>
                  <a:pt x="181" y="204"/>
                  <a:pt x="181" y="204"/>
                  <a:pt x="181" y="204"/>
                </a:cubicBezTo>
                <a:cubicBezTo>
                  <a:pt x="180" y="204"/>
                  <a:pt x="180" y="204"/>
                  <a:pt x="180" y="204"/>
                </a:cubicBezTo>
                <a:cubicBezTo>
                  <a:pt x="179" y="204"/>
                  <a:pt x="179" y="204"/>
                  <a:pt x="179" y="204"/>
                </a:cubicBezTo>
                <a:cubicBezTo>
                  <a:pt x="179" y="204"/>
                  <a:pt x="179" y="204"/>
                  <a:pt x="179" y="204"/>
                </a:cubicBezTo>
                <a:cubicBezTo>
                  <a:pt x="178" y="205"/>
                  <a:pt x="178" y="205"/>
                  <a:pt x="178" y="205"/>
                </a:cubicBezTo>
                <a:cubicBezTo>
                  <a:pt x="177" y="205"/>
                  <a:pt x="177" y="205"/>
                  <a:pt x="177" y="205"/>
                </a:cubicBezTo>
                <a:cubicBezTo>
                  <a:pt x="177" y="206"/>
                  <a:pt x="177" y="206"/>
                  <a:pt x="177" y="206"/>
                </a:cubicBezTo>
                <a:cubicBezTo>
                  <a:pt x="177" y="206"/>
                  <a:pt x="177" y="206"/>
                  <a:pt x="177" y="206"/>
                </a:cubicBezTo>
                <a:cubicBezTo>
                  <a:pt x="176" y="207"/>
                  <a:pt x="176" y="207"/>
                  <a:pt x="176" y="207"/>
                </a:cubicBezTo>
                <a:cubicBezTo>
                  <a:pt x="176" y="208"/>
                  <a:pt x="176" y="208"/>
                  <a:pt x="176" y="208"/>
                </a:cubicBezTo>
                <a:cubicBezTo>
                  <a:pt x="175" y="209"/>
                  <a:pt x="175" y="209"/>
                  <a:pt x="175" y="209"/>
                </a:cubicBezTo>
                <a:cubicBezTo>
                  <a:pt x="174" y="209"/>
                  <a:pt x="174" y="209"/>
                  <a:pt x="174" y="209"/>
                </a:cubicBezTo>
                <a:cubicBezTo>
                  <a:pt x="173" y="209"/>
                  <a:pt x="173" y="209"/>
                  <a:pt x="173" y="209"/>
                </a:cubicBezTo>
                <a:cubicBezTo>
                  <a:pt x="173" y="208"/>
                  <a:pt x="173" y="208"/>
                  <a:pt x="173" y="208"/>
                </a:cubicBezTo>
                <a:cubicBezTo>
                  <a:pt x="176" y="207"/>
                  <a:pt x="176" y="207"/>
                  <a:pt x="176" y="207"/>
                </a:cubicBezTo>
                <a:cubicBezTo>
                  <a:pt x="176" y="206"/>
                  <a:pt x="176" y="206"/>
                  <a:pt x="176" y="206"/>
                </a:cubicBezTo>
                <a:cubicBezTo>
                  <a:pt x="176" y="205"/>
                  <a:pt x="176" y="205"/>
                  <a:pt x="176" y="205"/>
                </a:cubicBezTo>
                <a:cubicBezTo>
                  <a:pt x="176" y="205"/>
                  <a:pt x="176" y="205"/>
                  <a:pt x="176" y="205"/>
                </a:cubicBezTo>
                <a:cubicBezTo>
                  <a:pt x="175" y="206"/>
                  <a:pt x="175" y="206"/>
                  <a:pt x="175" y="206"/>
                </a:cubicBezTo>
                <a:cubicBezTo>
                  <a:pt x="174" y="205"/>
                  <a:pt x="174" y="205"/>
                  <a:pt x="174" y="205"/>
                </a:cubicBezTo>
                <a:cubicBezTo>
                  <a:pt x="175" y="205"/>
                  <a:pt x="175" y="205"/>
                  <a:pt x="175" y="205"/>
                </a:cubicBezTo>
                <a:cubicBezTo>
                  <a:pt x="173" y="205"/>
                  <a:pt x="173" y="205"/>
                  <a:pt x="173" y="205"/>
                </a:cubicBezTo>
                <a:cubicBezTo>
                  <a:pt x="173" y="205"/>
                  <a:pt x="173" y="205"/>
                  <a:pt x="173" y="205"/>
                </a:cubicBezTo>
                <a:cubicBezTo>
                  <a:pt x="173" y="205"/>
                  <a:pt x="173" y="205"/>
                  <a:pt x="173" y="205"/>
                </a:cubicBezTo>
                <a:cubicBezTo>
                  <a:pt x="174" y="206"/>
                  <a:pt x="174" y="206"/>
                  <a:pt x="174" y="206"/>
                </a:cubicBezTo>
                <a:close/>
                <a:moveTo>
                  <a:pt x="171" y="211"/>
                </a:moveTo>
                <a:cubicBezTo>
                  <a:pt x="172" y="210"/>
                  <a:pt x="172" y="210"/>
                  <a:pt x="172" y="210"/>
                </a:cubicBezTo>
                <a:cubicBezTo>
                  <a:pt x="172" y="211"/>
                  <a:pt x="172" y="211"/>
                  <a:pt x="172" y="211"/>
                </a:cubicBezTo>
                <a:cubicBezTo>
                  <a:pt x="171" y="211"/>
                  <a:pt x="171" y="211"/>
                  <a:pt x="171" y="211"/>
                </a:cubicBezTo>
                <a:close/>
                <a:moveTo>
                  <a:pt x="168" y="212"/>
                </a:moveTo>
                <a:cubicBezTo>
                  <a:pt x="169" y="210"/>
                  <a:pt x="169" y="210"/>
                  <a:pt x="169" y="210"/>
                </a:cubicBezTo>
                <a:cubicBezTo>
                  <a:pt x="171" y="209"/>
                  <a:pt x="171" y="209"/>
                  <a:pt x="171" y="209"/>
                </a:cubicBezTo>
                <a:cubicBezTo>
                  <a:pt x="169" y="212"/>
                  <a:pt x="169" y="212"/>
                  <a:pt x="169" y="212"/>
                </a:cubicBezTo>
                <a:cubicBezTo>
                  <a:pt x="168" y="212"/>
                  <a:pt x="168" y="212"/>
                  <a:pt x="168" y="212"/>
                </a:cubicBezTo>
                <a:close/>
                <a:moveTo>
                  <a:pt x="159" y="219"/>
                </a:moveTo>
                <a:cubicBezTo>
                  <a:pt x="159" y="219"/>
                  <a:pt x="159" y="219"/>
                  <a:pt x="159" y="219"/>
                </a:cubicBezTo>
                <a:cubicBezTo>
                  <a:pt x="159" y="218"/>
                  <a:pt x="159" y="218"/>
                  <a:pt x="159" y="218"/>
                </a:cubicBezTo>
                <a:cubicBezTo>
                  <a:pt x="160" y="218"/>
                  <a:pt x="160" y="218"/>
                  <a:pt x="160" y="218"/>
                </a:cubicBezTo>
                <a:cubicBezTo>
                  <a:pt x="160" y="219"/>
                  <a:pt x="160" y="219"/>
                  <a:pt x="160" y="219"/>
                </a:cubicBezTo>
                <a:cubicBezTo>
                  <a:pt x="159" y="219"/>
                  <a:pt x="159" y="219"/>
                  <a:pt x="159" y="219"/>
                </a:cubicBezTo>
                <a:close/>
                <a:moveTo>
                  <a:pt x="154" y="208"/>
                </a:moveTo>
                <a:cubicBezTo>
                  <a:pt x="156" y="208"/>
                  <a:pt x="156" y="208"/>
                  <a:pt x="156" y="208"/>
                </a:cubicBezTo>
                <a:cubicBezTo>
                  <a:pt x="156" y="209"/>
                  <a:pt x="156" y="209"/>
                  <a:pt x="156" y="209"/>
                </a:cubicBezTo>
                <a:cubicBezTo>
                  <a:pt x="155" y="209"/>
                  <a:pt x="155" y="209"/>
                  <a:pt x="155" y="209"/>
                </a:cubicBezTo>
                <a:cubicBezTo>
                  <a:pt x="154" y="208"/>
                  <a:pt x="154" y="208"/>
                  <a:pt x="154" y="208"/>
                </a:cubicBezTo>
                <a:close/>
                <a:moveTo>
                  <a:pt x="130" y="219"/>
                </a:moveTo>
                <a:cubicBezTo>
                  <a:pt x="130" y="219"/>
                  <a:pt x="131" y="219"/>
                  <a:pt x="131" y="219"/>
                </a:cubicBezTo>
                <a:cubicBezTo>
                  <a:pt x="131" y="219"/>
                  <a:pt x="131" y="219"/>
                  <a:pt x="131" y="219"/>
                </a:cubicBezTo>
                <a:cubicBezTo>
                  <a:pt x="130" y="219"/>
                  <a:pt x="130" y="219"/>
                  <a:pt x="130" y="219"/>
                </a:cubicBezTo>
                <a:close/>
                <a:moveTo>
                  <a:pt x="129" y="219"/>
                </a:moveTo>
                <a:cubicBezTo>
                  <a:pt x="129" y="220"/>
                  <a:pt x="129" y="220"/>
                  <a:pt x="129" y="220"/>
                </a:cubicBezTo>
                <a:cubicBezTo>
                  <a:pt x="129" y="220"/>
                  <a:pt x="129" y="220"/>
                  <a:pt x="129" y="220"/>
                </a:cubicBezTo>
                <a:cubicBezTo>
                  <a:pt x="129" y="219"/>
                  <a:pt x="129" y="219"/>
                  <a:pt x="129" y="219"/>
                </a:cubicBezTo>
                <a:close/>
                <a:moveTo>
                  <a:pt x="134" y="224"/>
                </a:moveTo>
                <a:cubicBezTo>
                  <a:pt x="134" y="225"/>
                  <a:pt x="134" y="225"/>
                  <a:pt x="134" y="225"/>
                </a:cubicBezTo>
                <a:cubicBezTo>
                  <a:pt x="134" y="225"/>
                  <a:pt x="134" y="225"/>
                  <a:pt x="134" y="225"/>
                </a:cubicBezTo>
                <a:cubicBezTo>
                  <a:pt x="134" y="225"/>
                  <a:pt x="134" y="225"/>
                  <a:pt x="134" y="225"/>
                </a:cubicBezTo>
                <a:cubicBezTo>
                  <a:pt x="134" y="224"/>
                  <a:pt x="134" y="224"/>
                  <a:pt x="134" y="224"/>
                </a:cubicBezTo>
                <a:close/>
                <a:moveTo>
                  <a:pt x="133" y="224"/>
                </a:moveTo>
                <a:cubicBezTo>
                  <a:pt x="134" y="222"/>
                  <a:pt x="134" y="222"/>
                  <a:pt x="134" y="222"/>
                </a:cubicBezTo>
                <a:cubicBezTo>
                  <a:pt x="134" y="223"/>
                  <a:pt x="134" y="223"/>
                  <a:pt x="134" y="223"/>
                </a:cubicBezTo>
                <a:cubicBezTo>
                  <a:pt x="134" y="223"/>
                  <a:pt x="133" y="224"/>
                  <a:pt x="133" y="224"/>
                </a:cubicBezTo>
                <a:close/>
                <a:moveTo>
                  <a:pt x="128" y="225"/>
                </a:moveTo>
                <a:cubicBezTo>
                  <a:pt x="129" y="223"/>
                  <a:pt x="129" y="223"/>
                  <a:pt x="129" y="223"/>
                </a:cubicBezTo>
                <a:cubicBezTo>
                  <a:pt x="130" y="222"/>
                  <a:pt x="130" y="222"/>
                  <a:pt x="130" y="222"/>
                </a:cubicBezTo>
                <a:cubicBezTo>
                  <a:pt x="130" y="222"/>
                  <a:pt x="130" y="222"/>
                  <a:pt x="130" y="222"/>
                </a:cubicBezTo>
                <a:cubicBezTo>
                  <a:pt x="132" y="222"/>
                  <a:pt x="132" y="222"/>
                  <a:pt x="132" y="222"/>
                </a:cubicBezTo>
                <a:cubicBezTo>
                  <a:pt x="131" y="223"/>
                  <a:pt x="131" y="223"/>
                  <a:pt x="131" y="223"/>
                </a:cubicBezTo>
                <a:cubicBezTo>
                  <a:pt x="131" y="223"/>
                  <a:pt x="131" y="223"/>
                  <a:pt x="131" y="223"/>
                </a:cubicBezTo>
                <a:cubicBezTo>
                  <a:pt x="129" y="224"/>
                  <a:pt x="129" y="224"/>
                  <a:pt x="129" y="224"/>
                </a:cubicBezTo>
                <a:cubicBezTo>
                  <a:pt x="128" y="225"/>
                  <a:pt x="128" y="225"/>
                  <a:pt x="128" y="225"/>
                </a:cubicBezTo>
                <a:close/>
                <a:moveTo>
                  <a:pt x="126" y="221"/>
                </a:moveTo>
                <a:cubicBezTo>
                  <a:pt x="126" y="221"/>
                  <a:pt x="126" y="221"/>
                  <a:pt x="126" y="221"/>
                </a:cubicBezTo>
                <a:cubicBezTo>
                  <a:pt x="126" y="219"/>
                  <a:pt x="126" y="219"/>
                  <a:pt x="126" y="219"/>
                </a:cubicBezTo>
                <a:cubicBezTo>
                  <a:pt x="127" y="219"/>
                  <a:pt x="127" y="219"/>
                  <a:pt x="127" y="219"/>
                </a:cubicBezTo>
                <a:cubicBezTo>
                  <a:pt x="128" y="220"/>
                  <a:pt x="128" y="220"/>
                  <a:pt x="128" y="220"/>
                </a:cubicBezTo>
                <a:cubicBezTo>
                  <a:pt x="127" y="221"/>
                  <a:pt x="127" y="221"/>
                  <a:pt x="127" y="221"/>
                </a:cubicBezTo>
                <a:cubicBezTo>
                  <a:pt x="127" y="221"/>
                  <a:pt x="127" y="221"/>
                  <a:pt x="127" y="221"/>
                </a:cubicBezTo>
                <a:cubicBezTo>
                  <a:pt x="126" y="221"/>
                  <a:pt x="126" y="221"/>
                  <a:pt x="126" y="221"/>
                </a:cubicBezTo>
                <a:close/>
                <a:moveTo>
                  <a:pt x="120" y="221"/>
                </a:moveTo>
                <a:cubicBezTo>
                  <a:pt x="121" y="220"/>
                  <a:pt x="121" y="220"/>
                  <a:pt x="121" y="220"/>
                </a:cubicBezTo>
                <a:cubicBezTo>
                  <a:pt x="121" y="221"/>
                  <a:pt x="121" y="221"/>
                  <a:pt x="121" y="221"/>
                </a:cubicBezTo>
                <a:cubicBezTo>
                  <a:pt x="121" y="222"/>
                  <a:pt x="121" y="222"/>
                  <a:pt x="121" y="222"/>
                </a:cubicBezTo>
                <a:cubicBezTo>
                  <a:pt x="120" y="221"/>
                  <a:pt x="120" y="221"/>
                  <a:pt x="120" y="221"/>
                </a:cubicBezTo>
                <a:close/>
                <a:moveTo>
                  <a:pt x="116" y="224"/>
                </a:moveTo>
                <a:cubicBezTo>
                  <a:pt x="116" y="223"/>
                  <a:pt x="116" y="223"/>
                  <a:pt x="116" y="223"/>
                </a:cubicBezTo>
                <a:cubicBezTo>
                  <a:pt x="117" y="222"/>
                  <a:pt x="117" y="222"/>
                  <a:pt x="117" y="222"/>
                </a:cubicBezTo>
                <a:cubicBezTo>
                  <a:pt x="117" y="223"/>
                  <a:pt x="117" y="223"/>
                  <a:pt x="117" y="223"/>
                </a:cubicBezTo>
                <a:cubicBezTo>
                  <a:pt x="116" y="224"/>
                  <a:pt x="116" y="224"/>
                  <a:pt x="116" y="224"/>
                </a:cubicBezTo>
                <a:close/>
                <a:moveTo>
                  <a:pt x="112" y="227"/>
                </a:moveTo>
                <a:cubicBezTo>
                  <a:pt x="113" y="228"/>
                  <a:pt x="113" y="228"/>
                  <a:pt x="113" y="228"/>
                </a:cubicBezTo>
                <a:cubicBezTo>
                  <a:pt x="112" y="228"/>
                  <a:pt x="112" y="228"/>
                  <a:pt x="112" y="228"/>
                </a:cubicBezTo>
                <a:cubicBezTo>
                  <a:pt x="111" y="227"/>
                  <a:pt x="111" y="227"/>
                  <a:pt x="111" y="227"/>
                </a:cubicBezTo>
                <a:cubicBezTo>
                  <a:pt x="112" y="227"/>
                  <a:pt x="112" y="227"/>
                  <a:pt x="112" y="227"/>
                </a:cubicBezTo>
                <a:close/>
                <a:moveTo>
                  <a:pt x="1" y="248"/>
                </a:moveTo>
                <a:cubicBezTo>
                  <a:pt x="0" y="249"/>
                  <a:pt x="0" y="249"/>
                  <a:pt x="0" y="249"/>
                </a:cubicBezTo>
                <a:cubicBezTo>
                  <a:pt x="1" y="249"/>
                  <a:pt x="1" y="249"/>
                  <a:pt x="1" y="249"/>
                </a:cubicBezTo>
                <a:cubicBezTo>
                  <a:pt x="1" y="248"/>
                  <a:pt x="1" y="248"/>
                  <a:pt x="1" y="248"/>
                </a:cubicBezTo>
                <a:close/>
                <a:moveTo>
                  <a:pt x="2" y="245"/>
                </a:moveTo>
                <a:cubicBezTo>
                  <a:pt x="1" y="246"/>
                  <a:pt x="1" y="246"/>
                  <a:pt x="1" y="246"/>
                </a:cubicBezTo>
                <a:cubicBezTo>
                  <a:pt x="2" y="247"/>
                  <a:pt x="2" y="247"/>
                  <a:pt x="2" y="247"/>
                </a:cubicBezTo>
                <a:cubicBezTo>
                  <a:pt x="3" y="246"/>
                  <a:pt x="3" y="246"/>
                  <a:pt x="3" y="246"/>
                </a:cubicBezTo>
                <a:cubicBezTo>
                  <a:pt x="2" y="245"/>
                  <a:pt x="2" y="245"/>
                  <a:pt x="2" y="245"/>
                </a:cubicBezTo>
                <a:close/>
                <a:moveTo>
                  <a:pt x="3" y="243"/>
                </a:moveTo>
                <a:cubicBezTo>
                  <a:pt x="4" y="243"/>
                  <a:pt x="4" y="243"/>
                  <a:pt x="4" y="243"/>
                </a:cubicBezTo>
                <a:cubicBezTo>
                  <a:pt x="4" y="242"/>
                  <a:pt x="4" y="242"/>
                  <a:pt x="4" y="242"/>
                </a:cubicBezTo>
                <a:cubicBezTo>
                  <a:pt x="3" y="243"/>
                  <a:pt x="3" y="243"/>
                  <a:pt x="3" y="243"/>
                </a:cubicBezTo>
                <a:close/>
                <a:moveTo>
                  <a:pt x="11" y="244"/>
                </a:moveTo>
                <a:cubicBezTo>
                  <a:pt x="10" y="242"/>
                  <a:pt x="10" y="242"/>
                  <a:pt x="10" y="242"/>
                </a:cubicBezTo>
                <a:cubicBezTo>
                  <a:pt x="9" y="242"/>
                  <a:pt x="9" y="242"/>
                  <a:pt x="9" y="242"/>
                </a:cubicBezTo>
                <a:cubicBezTo>
                  <a:pt x="8" y="243"/>
                  <a:pt x="8" y="243"/>
                  <a:pt x="8" y="243"/>
                </a:cubicBezTo>
                <a:cubicBezTo>
                  <a:pt x="8" y="243"/>
                  <a:pt x="8" y="243"/>
                  <a:pt x="8" y="243"/>
                </a:cubicBezTo>
                <a:cubicBezTo>
                  <a:pt x="9" y="244"/>
                  <a:pt x="9" y="244"/>
                  <a:pt x="9" y="244"/>
                </a:cubicBezTo>
                <a:cubicBezTo>
                  <a:pt x="8" y="244"/>
                  <a:pt x="8" y="244"/>
                  <a:pt x="8" y="244"/>
                </a:cubicBezTo>
                <a:cubicBezTo>
                  <a:pt x="9" y="245"/>
                  <a:pt x="9" y="245"/>
                  <a:pt x="9" y="245"/>
                </a:cubicBezTo>
                <a:cubicBezTo>
                  <a:pt x="10" y="245"/>
                  <a:pt x="10" y="245"/>
                  <a:pt x="10" y="245"/>
                </a:cubicBezTo>
                <a:cubicBezTo>
                  <a:pt x="10" y="244"/>
                  <a:pt x="10" y="244"/>
                  <a:pt x="10" y="244"/>
                </a:cubicBezTo>
                <a:cubicBezTo>
                  <a:pt x="11" y="244"/>
                  <a:pt x="11" y="244"/>
                  <a:pt x="11" y="244"/>
                </a:cubicBezTo>
                <a:close/>
                <a:moveTo>
                  <a:pt x="12" y="246"/>
                </a:moveTo>
                <a:cubicBezTo>
                  <a:pt x="13" y="246"/>
                  <a:pt x="13" y="246"/>
                  <a:pt x="13" y="246"/>
                </a:cubicBezTo>
                <a:cubicBezTo>
                  <a:pt x="14" y="245"/>
                  <a:pt x="14" y="245"/>
                  <a:pt x="14" y="245"/>
                </a:cubicBezTo>
                <a:cubicBezTo>
                  <a:pt x="14" y="244"/>
                  <a:pt x="14" y="244"/>
                  <a:pt x="14" y="244"/>
                </a:cubicBezTo>
                <a:cubicBezTo>
                  <a:pt x="15" y="243"/>
                  <a:pt x="15" y="243"/>
                  <a:pt x="15" y="243"/>
                </a:cubicBezTo>
                <a:cubicBezTo>
                  <a:pt x="14" y="243"/>
                  <a:pt x="14" y="243"/>
                  <a:pt x="14" y="243"/>
                </a:cubicBezTo>
                <a:cubicBezTo>
                  <a:pt x="13" y="244"/>
                  <a:pt x="13" y="244"/>
                  <a:pt x="13" y="244"/>
                </a:cubicBezTo>
                <a:cubicBezTo>
                  <a:pt x="13" y="245"/>
                  <a:pt x="13" y="245"/>
                  <a:pt x="13" y="245"/>
                </a:cubicBezTo>
                <a:cubicBezTo>
                  <a:pt x="12" y="246"/>
                  <a:pt x="12" y="246"/>
                  <a:pt x="12" y="246"/>
                </a:cubicBezTo>
                <a:close/>
                <a:moveTo>
                  <a:pt x="18" y="245"/>
                </a:moveTo>
                <a:cubicBezTo>
                  <a:pt x="18" y="243"/>
                  <a:pt x="18" y="243"/>
                  <a:pt x="18" y="243"/>
                </a:cubicBezTo>
                <a:cubicBezTo>
                  <a:pt x="17" y="243"/>
                  <a:pt x="17" y="243"/>
                  <a:pt x="17" y="243"/>
                </a:cubicBezTo>
                <a:cubicBezTo>
                  <a:pt x="17" y="245"/>
                  <a:pt x="17" y="245"/>
                  <a:pt x="17" y="245"/>
                </a:cubicBezTo>
                <a:cubicBezTo>
                  <a:pt x="16" y="245"/>
                  <a:pt x="16" y="245"/>
                  <a:pt x="16" y="245"/>
                </a:cubicBezTo>
                <a:cubicBezTo>
                  <a:pt x="16" y="246"/>
                  <a:pt x="16" y="246"/>
                  <a:pt x="16" y="246"/>
                </a:cubicBezTo>
                <a:cubicBezTo>
                  <a:pt x="17" y="246"/>
                  <a:pt x="17" y="246"/>
                  <a:pt x="17" y="246"/>
                </a:cubicBezTo>
                <a:cubicBezTo>
                  <a:pt x="18" y="245"/>
                  <a:pt x="18" y="245"/>
                  <a:pt x="18" y="245"/>
                </a:cubicBezTo>
                <a:close/>
                <a:moveTo>
                  <a:pt x="33" y="245"/>
                </a:moveTo>
                <a:cubicBezTo>
                  <a:pt x="33" y="244"/>
                  <a:pt x="33" y="244"/>
                  <a:pt x="33" y="244"/>
                </a:cubicBezTo>
                <a:cubicBezTo>
                  <a:pt x="34" y="243"/>
                  <a:pt x="34" y="243"/>
                  <a:pt x="34" y="243"/>
                </a:cubicBezTo>
                <a:cubicBezTo>
                  <a:pt x="34" y="242"/>
                  <a:pt x="34" y="242"/>
                  <a:pt x="34" y="242"/>
                </a:cubicBezTo>
                <a:cubicBezTo>
                  <a:pt x="33" y="241"/>
                  <a:pt x="33" y="241"/>
                  <a:pt x="33" y="241"/>
                </a:cubicBezTo>
                <a:cubicBezTo>
                  <a:pt x="32" y="242"/>
                  <a:pt x="32" y="242"/>
                  <a:pt x="32" y="242"/>
                </a:cubicBezTo>
                <a:cubicBezTo>
                  <a:pt x="32" y="243"/>
                  <a:pt x="32" y="243"/>
                  <a:pt x="32" y="243"/>
                </a:cubicBezTo>
                <a:cubicBezTo>
                  <a:pt x="31" y="243"/>
                  <a:pt x="31" y="243"/>
                  <a:pt x="31" y="243"/>
                </a:cubicBezTo>
                <a:cubicBezTo>
                  <a:pt x="31" y="243"/>
                  <a:pt x="31" y="243"/>
                  <a:pt x="31" y="243"/>
                </a:cubicBezTo>
                <a:cubicBezTo>
                  <a:pt x="30" y="244"/>
                  <a:pt x="30" y="244"/>
                  <a:pt x="30" y="244"/>
                </a:cubicBezTo>
                <a:cubicBezTo>
                  <a:pt x="29" y="244"/>
                  <a:pt x="29" y="244"/>
                  <a:pt x="29" y="244"/>
                </a:cubicBezTo>
                <a:cubicBezTo>
                  <a:pt x="28" y="244"/>
                  <a:pt x="28" y="244"/>
                  <a:pt x="28" y="244"/>
                </a:cubicBezTo>
                <a:cubicBezTo>
                  <a:pt x="28" y="244"/>
                  <a:pt x="28" y="244"/>
                  <a:pt x="28" y="244"/>
                </a:cubicBezTo>
                <a:cubicBezTo>
                  <a:pt x="28" y="245"/>
                  <a:pt x="28" y="245"/>
                  <a:pt x="28" y="245"/>
                </a:cubicBezTo>
                <a:cubicBezTo>
                  <a:pt x="29" y="245"/>
                  <a:pt x="29" y="245"/>
                  <a:pt x="29" y="245"/>
                </a:cubicBezTo>
                <a:cubicBezTo>
                  <a:pt x="30" y="245"/>
                  <a:pt x="30" y="245"/>
                  <a:pt x="30" y="245"/>
                </a:cubicBezTo>
                <a:cubicBezTo>
                  <a:pt x="32" y="244"/>
                  <a:pt x="32" y="244"/>
                  <a:pt x="32" y="244"/>
                </a:cubicBezTo>
                <a:cubicBezTo>
                  <a:pt x="33" y="245"/>
                  <a:pt x="33" y="245"/>
                  <a:pt x="33" y="245"/>
                </a:cubicBezTo>
                <a:close/>
                <a:moveTo>
                  <a:pt x="36" y="245"/>
                </a:moveTo>
                <a:cubicBezTo>
                  <a:pt x="39" y="246"/>
                  <a:pt x="39" y="246"/>
                  <a:pt x="39" y="246"/>
                </a:cubicBezTo>
                <a:cubicBezTo>
                  <a:pt x="39" y="245"/>
                  <a:pt x="39" y="245"/>
                  <a:pt x="39" y="245"/>
                </a:cubicBezTo>
                <a:cubicBezTo>
                  <a:pt x="40" y="246"/>
                  <a:pt x="40" y="246"/>
                  <a:pt x="40" y="246"/>
                </a:cubicBezTo>
                <a:cubicBezTo>
                  <a:pt x="39" y="247"/>
                  <a:pt x="39" y="247"/>
                  <a:pt x="39" y="247"/>
                </a:cubicBezTo>
                <a:cubicBezTo>
                  <a:pt x="36" y="246"/>
                  <a:pt x="36" y="246"/>
                  <a:pt x="36" y="246"/>
                </a:cubicBezTo>
                <a:cubicBezTo>
                  <a:pt x="35" y="246"/>
                  <a:pt x="35" y="246"/>
                  <a:pt x="35" y="246"/>
                </a:cubicBezTo>
                <a:cubicBezTo>
                  <a:pt x="34" y="245"/>
                  <a:pt x="34" y="245"/>
                  <a:pt x="34" y="245"/>
                </a:cubicBezTo>
                <a:cubicBezTo>
                  <a:pt x="34" y="245"/>
                  <a:pt x="36" y="245"/>
                  <a:pt x="36" y="245"/>
                </a:cubicBezTo>
                <a:close/>
                <a:moveTo>
                  <a:pt x="46" y="244"/>
                </a:moveTo>
                <a:cubicBezTo>
                  <a:pt x="45" y="243"/>
                  <a:pt x="45" y="243"/>
                  <a:pt x="45" y="243"/>
                </a:cubicBezTo>
                <a:cubicBezTo>
                  <a:pt x="43" y="243"/>
                  <a:pt x="43" y="243"/>
                  <a:pt x="43" y="243"/>
                </a:cubicBezTo>
                <a:cubicBezTo>
                  <a:pt x="43" y="244"/>
                  <a:pt x="43" y="244"/>
                  <a:pt x="43" y="244"/>
                </a:cubicBezTo>
                <a:cubicBezTo>
                  <a:pt x="45" y="244"/>
                  <a:pt x="45" y="244"/>
                  <a:pt x="45" y="244"/>
                </a:cubicBezTo>
                <a:cubicBezTo>
                  <a:pt x="46" y="244"/>
                  <a:pt x="46" y="244"/>
                  <a:pt x="46" y="244"/>
                </a:cubicBezTo>
                <a:close/>
                <a:moveTo>
                  <a:pt x="53" y="243"/>
                </a:moveTo>
                <a:cubicBezTo>
                  <a:pt x="52" y="241"/>
                  <a:pt x="52" y="241"/>
                  <a:pt x="52" y="241"/>
                </a:cubicBezTo>
                <a:cubicBezTo>
                  <a:pt x="52" y="243"/>
                  <a:pt x="52" y="243"/>
                  <a:pt x="52" y="243"/>
                </a:cubicBezTo>
                <a:cubicBezTo>
                  <a:pt x="53" y="243"/>
                  <a:pt x="53" y="243"/>
                  <a:pt x="53" y="243"/>
                </a:cubicBezTo>
                <a:close/>
                <a:moveTo>
                  <a:pt x="58" y="241"/>
                </a:moveTo>
                <a:cubicBezTo>
                  <a:pt x="56" y="240"/>
                  <a:pt x="56" y="240"/>
                  <a:pt x="56" y="240"/>
                </a:cubicBezTo>
                <a:cubicBezTo>
                  <a:pt x="55" y="241"/>
                  <a:pt x="55" y="241"/>
                  <a:pt x="55" y="241"/>
                </a:cubicBezTo>
                <a:cubicBezTo>
                  <a:pt x="55" y="242"/>
                  <a:pt x="55" y="242"/>
                  <a:pt x="55" y="242"/>
                </a:cubicBezTo>
                <a:cubicBezTo>
                  <a:pt x="57" y="241"/>
                  <a:pt x="57" y="241"/>
                  <a:pt x="57" y="241"/>
                </a:cubicBezTo>
                <a:cubicBezTo>
                  <a:pt x="58" y="241"/>
                  <a:pt x="58" y="241"/>
                  <a:pt x="58" y="241"/>
                </a:cubicBezTo>
                <a:close/>
                <a:moveTo>
                  <a:pt x="61" y="241"/>
                </a:moveTo>
                <a:cubicBezTo>
                  <a:pt x="60" y="240"/>
                  <a:pt x="60" y="240"/>
                  <a:pt x="60" y="240"/>
                </a:cubicBezTo>
                <a:cubicBezTo>
                  <a:pt x="59" y="241"/>
                  <a:pt x="59" y="241"/>
                  <a:pt x="59" y="241"/>
                </a:cubicBezTo>
                <a:cubicBezTo>
                  <a:pt x="60" y="241"/>
                  <a:pt x="60" y="241"/>
                  <a:pt x="60" y="241"/>
                </a:cubicBezTo>
                <a:cubicBezTo>
                  <a:pt x="61" y="241"/>
                  <a:pt x="61" y="241"/>
                  <a:pt x="61" y="241"/>
                </a:cubicBezTo>
                <a:close/>
                <a:moveTo>
                  <a:pt x="61" y="239"/>
                </a:moveTo>
                <a:cubicBezTo>
                  <a:pt x="61" y="238"/>
                  <a:pt x="61" y="238"/>
                  <a:pt x="61" y="238"/>
                </a:cubicBezTo>
                <a:cubicBezTo>
                  <a:pt x="60" y="239"/>
                  <a:pt x="60" y="239"/>
                  <a:pt x="60" y="239"/>
                </a:cubicBezTo>
                <a:cubicBezTo>
                  <a:pt x="61" y="239"/>
                  <a:pt x="61" y="239"/>
                  <a:pt x="61" y="239"/>
                </a:cubicBezTo>
                <a:close/>
                <a:moveTo>
                  <a:pt x="61" y="240"/>
                </a:moveTo>
                <a:cubicBezTo>
                  <a:pt x="62" y="240"/>
                  <a:pt x="62" y="240"/>
                  <a:pt x="62" y="240"/>
                </a:cubicBezTo>
                <a:cubicBezTo>
                  <a:pt x="63" y="240"/>
                  <a:pt x="63" y="240"/>
                  <a:pt x="63" y="240"/>
                </a:cubicBezTo>
                <a:cubicBezTo>
                  <a:pt x="63" y="239"/>
                  <a:pt x="63" y="239"/>
                  <a:pt x="63" y="239"/>
                </a:cubicBezTo>
                <a:cubicBezTo>
                  <a:pt x="61" y="240"/>
                  <a:pt x="61" y="240"/>
                  <a:pt x="61" y="240"/>
                </a:cubicBezTo>
                <a:close/>
                <a:moveTo>
                  <a:pt x="76" y="233"/>
                </a:moveTo>
                <a:cubicBezTo>
                  <a:pt x="76" y="234"/>
                  <a:pt x="76" y="234"/>
                  <a:pt x="76" y="234"/>
                </a:cubicBezTo>
                <a:cubicBezTo>
                  <a:pt x="77" y="234"/>
                  <a:pt x="77" y="234"/>
                  <a:pt x="77" y="234"/>
                </a:cubicBezTo>
                <a:cubicBezTo>
                  <a:pt x="76" y="235"/>
                  <a:pt x="76" y="235"/>
                  <a:pt x="76" y="235"/>
                </a:cubicBezTo>
                <a:cubicBezTo>
                  <a:pt x="75" y="236"/>
                  <a:pt x="75" y="236"/>
                  <a:pt x="75" y="236"/>
                </a:cubicBezTo>
                <a:cubicBezTo>
                  <a:pt x="74" y="237"/>
                  <a:pt x="74" y="237"/>
                  <a:pt x="74" y="237"/>
                </a:cubicBezTo>
                <a:cubicBezTo>
                  <a:pt x="72" y="239"/>
                  <a:pt x="72" y="239"/>
                  <a:pt x="72" y="239"/>
                </a:cubicBezTo>
                <a:cubicBezTo>
                  <a:pt x="70" y="239"/>
                  <a:pt x="70" y="239"/>
                  <a:pt x="70" y="239"/>
                </a:cubicBezTo>
                <a:cubicBezTo>
                  <a:pt x="69" y="241"/>
                  <a:pt x="69" y="241"/>
                  <a:pt x="69" y="241"/>
                </a:cubicBezTo>
                <a:cubicBezTo>
                  <a:pt x="66" y="241"/>
                  <a:pt x="66" y="241"/>
                  <a:pt x="66" y="241"/>
                </a:cubicBezTo>
                <a:cubicBezTo>
                  <a:pt x="67" y="240"/>
                  <a:pt x="67" y="240"/>
                  <a:pt x="67" y="240"/>
                </a:cubicBezTo>
                <a:cubicBezTo>
                  <a:pt x="68" y="240"/>
                  <a:pt x="68" y="240"/>
                  <a:pt x="68" y="240"/>
                </a:cubicBezTo>
                <a:cubicBezTo>
                  <a:pt x="69" y="238"/>
                  <a:pt x="69" y="238"/>
                  <a:pt x="69" y="238"/>
                </a:cubicBezTo>
                <a:cubicBezTo>
                  <a:pt x="70" y="238"/>
                  <a:pt x="70" y="238"/>
                  <a:pt x="70" y="238"/>
                </a:cubicBezTo>
                <a:cubicBezTo>
                  <a:pt x="70" y="237"/>
                  <a:pt x="70" y="237"/>
                  <a:pt x="70" y="237"/>
                </a:cubicBezTo>
                <a:cubicBezTo>
                  <a:pt x="71" y="236"/>
                  <a:pt x="71" y="236"/>
                  <a:pt x="71" y="236"/>
                </a:cubicBezTo>
                <a:cubicBezTo>
                  <a:pt x="73" y="236"/>
                  <a:pt x="73" y="236"/>
                  <a:pt x="73" y="236"/>
                </a:cubicBezTo>
                <a:cubicBezTo>
                  <a:pt x="73" y="234"/>
                  <a:pt x="73" y="234"/>
                  <a:pt x="73" y="234"/>
                </a:cubicBezTo>
                <a:cubicBezTo>
                  <a:pt x="73" y="234"/>
                  <a:pt x="73" y="234"/>
                  <a:pt x="73" y="234"/>
                </a:cubicBezTo>
                <a:cubicBezTo>
                  <a:pt x="75" y="234"/>
                  <a:pt x="75" y="234"/>
                  <a:pt x="75" y="234"/>
                </a:cubicBezTo>
                <a:cubicBezTo>
                  <a:pt x="75" y="234"/>
                  <a:pt x="76" y="233"/>
                  <a:pt x="76" y="233"/>
                </a:cubicBezTo>
                <a:close/>
                <a:moveTo>
                  <a:pt x="86" y="229"/>
                </a:moveTo>
                <a:cubicBezTo>
                  <a:pt x="85" y="229"/>
                  <a:pt x="85" y="229"/>
                  <a:pt x="85" y="229"/>
                </a:cubicBezTo>
                <a:cubicBezTo>
                  <a:pt x="84" y="230"/>
                  <a:pt x="84" y="230"/>
                  <a:pt x="84" y="230"/>
                </a:cubicBezTo>
                <a:cubicBezTo>
                  <a:pt x="84" y="231"/>
                  <a:pt x="84" y="231"/>
                  <a:pt x="84" y="231"/>
                </a:cubicBezTo>
                <a:cubicBezTo>
                  <a:pt x="85" y="232"/>
                  <a:pt x="85" y="232"/>
                  <a:pt x="85" y="232"/>
                </a:cubicBezTo>
                <a:cubicBezTo>
                  <a:pt x="85" y="232"/>
                  <a:pt x="85" y="232"/>
                  <a:pt x="85" y="232"/>
                </a:cubicBezTo>
                <a:cubicBezTo>
                  <a:pt x="83" y="232"/>
                  <a:pt x="83" y="232"/>
                  <a:pt x="83" y="232"/>
                </a:cubicBezTo>
                <a:cubicBezTo>
                  <a:pt x="82" y="232"/>
                  <a:pt x="82" y="232"/>
                  <a:pt x="82" y="232"/>
                </a:cubicBezTo>
                <a:cubicBezTo>
                  <a:pt x="82" y="233"/>
                  <a:pt x="82" y="233"/>
                  <a:pt x="82" y="233"/>
                </a:cubicBezTo>
                <a:cubicBezTo>
                  <a:pt x="82" y="233"/>
                  <a:pt x="82" y="233"/>
                  <a:pt x="82" y="233"/>
                </a:cubicBezTo>
                <a:cubicBezTo>
                  <a:pt x="81" y="235"/>
                  <a:pt x="81" y="235"/>
                  <a:pt x="81" y="235"/>
                </a:cubicBezTo>
                <a:cubicBezTo>
                  <a:pt x="80" y="235"/>
                  <a:pt x="80" y="235"/>
                  <a:pt x="80" y="235"/>
                </a:cubicBezTo>
                <a:cubicBezTo>
                  <a:pt x="78" y="236"/>
                  <a:pt x="78" y="236"/>
                  <a:pt x="78" y="236"/>
                </a:cubicBezTo>
                <a:cubicBezTo>
                  <a:pt x="77" y="236"/>
                  <a:pt x="77" y="236"/>
                  <a:pt x="77" y="236"/>
                </a:cubicBezTo>
                <a:cubicBezTo>
                  <a:pt x="77" y="236"/>
                  <a:pt x="77" y="236"/>
                  <a:pt x="77" y="236"/>
                </a:cubicBezTo>
                <a:cubicBezTo>
                  <a:pt x="77" y="237"/>
                  <a:pt x="77" y="237"/>
                  <a:pt x="77" y="237"/>
                </a:cubicBezTo>
                <a:cubicBezTo>
                  <a:pt x="79" y="237"/>
                  <a:pt x="79" y="237"/>
                  <a:pt x="79" y="237"/>
                </a:cubicBezTo>
                <a:cubicBezTo>
                  <a:pt x="81" y="236"/>
                  <a:pt x="81" y="236"/>
                  <a:pt x="81" y="236"/>
                </a:cubicBezTo>
                <a:cubicBezTo>
                  <a:pt x="82" y="235"/>
                  <a:pt x="82" y="235"/>
                  <a:pt x="82" y="235"/>
                </a:cubicBezTo>
                <a:cubicBezTo>
                  <a:pt x="83" y="236"/>
                  <a:pt x="83" y="236"/>
                  <a:pt x="83" y="236"/>
                </a:cubicBezTo>
                <a:cubicBezTo>
                  <a:pt x="83" y="236"/>
                  <a:pt x="83" y="236"/>
                  <a:pt x="83" y="236"/>
                </a:cubicBezTo>
                <a:cubicBezTo>
                  <a:pt x="84" y="235"/>
                  <a:pt x="84" y="235"/>
                  <a:pt x="84" y="235"/>
                </a:cubicBezTo>
                <a:cubicBezTo>
                  <a:pt x="84" y="234"/>
                  <a:pt x="84" y="234"/>
                  <a:pt x="84" y="234"/>
                </a:cubicBezTo>
                <a:cubicBezTo>
                  <a:pt x="85" y="234"/>
                  <a:pt x="85" y="234"/>
                  <a:pt x="85" y="234"/>
                </a:cubicBezTo>
                <a:cubicBezTo>
                  <a:pt x="85" y="235"/>
                  <a:pt x="85" y="235"/>
                  <a:pt x="85" y="235"/>
                </a:cubicBezTo>
                <a:cubicBezTo>
                  <a:pt x="86" y="235"/>
                  <a:pt x="86" y="235"/>
                  <a:pt x="86" y="235"/>
                </a:cubicBezTo>
                <a:cubicBezTo>
                  <a:pt x="87" y="233"/>
                  <a:pt x="87" y="233"/>
                  <a:pt x="87" y="233"/>
                </a:cubicBezTo>
                <a:cubicBezTo>
                  <a:pt x="88" y="233"/>
                  <a:pt x="88" y="233"/>
                  <a:pt x="88" y="233"/>
                </a:cubicBezTo>
                <a:cubicBezTo>
                  <a:pt x="88" y="232"/>
                  <a:pt x="88" y="232"/>
                  <a:pt x="88" y="232"/>
                </a:cubicBezTo>
                <a:cubicBezTo>
                  <a:pt x="87" y="232"/>
                  <a:pt x="87" y="232"/>
                  <a:pt x="87" y="232"/>
                </a:cubicBezTo>
                <a:cubicBezTo>
                  <a:pt x="89" y="231"/>
                  <a:pt x="89" y="231"/>
                  <a:pt x="89" y="231"/>
                </a:cubicBezTo>
                <a:cubicBezTo>
                  <a:pt x="88" y="230"/>
                  <a:pt x="88" y="230"/>
                  <a:pt x="88" y="230"/>
                </a:cubicBezTo>
                <a:cubicBezTo>
                  <a:pt x="87" y="229"/>
                  <a:pt x="87" y="229"/>
                  <a:pt x="87" y="229"/>
                </a:cubicBezTo>
                <a:cubicBezTo>
                  <a:pt x="86" y="229"/>
                  <a:pt x="86" y="229"/>
                  <a:pt x="86" y="229"/>
                </a:cubicBezTo>
                <a:close/>
                <a:moveTo>
                  <a:pt x="90" y="230"/>
                </a:moveTo>
                <a:cubicBezTo>
                  <a:pt x="90" y="230"/>
                  <a:pt x="90" y="230"/>
                  <a:pt x="90" y="230"/>
                </a:cubicBezTo>
                <a:cubicBezTo>
                  <a:pt x="89" y="229"/>
                  <a:pt x="89" y="229"/>
                  <a:pt x="89" y="229"/>
                </a:cubicBezTo>
                <a:cubicBezTo>
                  <a:pt x="89" y="230"/>
                  <a:pt x="89" y="230"/>
                  <a:pt x="89" y="230"/>
                </a:cubicBezTo>
                <a:cubicBezTo>
                  <a:pt x="90" y="230"/>
                  <a:pt x="90" y="230"/>
                  <a:pt x="90" y="230"/>
                </a:cubicBezTo>
                <a:close/>
                <a:moveTo>
                  <a:pt x="97" y="229"/>
                </a:moveTo>
                <a:cubicBezTo>
                  <a:pt x="97" y="229"/>
                  <a:pt x="97" y="229"/>
                  <a:pt x="97" y="229"/>
                </a:cubicBezTo>
                <a:cubicBezTo>
                  <a:pt x="98" y="229"/>
                  <a:pt x="98" y="229"/>
                  <a:pt x="98" y="229"/>
                </a:cubicBezTo>
                <a:cubicBezTo>
                  <a:pt x="98" y="230"/>
                  <a:pt x="98" y="230"/>
                  <a:pt x="98" y="230"/>
                </a:cubicBezTo>
                <a:cubicBezTo>
                  <a:pt x="97" y="230"/>
                  <a:pt x="97" y="230"/>
                  <a:pt x="97" y="230"/>
                </a:cubicBezTo>
                <a:cubicBezTo>
                  <a:pt x="97" y="229"/>
                  <a:pt x="97" y="229"/>
                  <a:pt x="97" y="229"/>
                </a:cubicBezTo>
                <a:close/>
                <a:moveTo>
                  <a:pt x="95" y="230"/>
                </a:moveTo>
                <a:cubicBezTo>
                  <a:pt x="95" y="229"/>
                  <a:pt x="95" y="229"/>
                  <a:pt x="95" y="229"/>
                </a:cubicBezTo>
                <a:cubicBezTo>
                  <a:pt x="96" y="230"/>
                  <a:pt x="96" y="230"/>
                  <a:pt x="96" y="230"/>
                </a:cubicBezTo>
                <a:cubicBezTo>
                  <a:pt x="95" y="230"/>
                  <a:pt x="95" y="230"/>
                  <a:pt x="95" y="230"/>
                </a:cubicBezTo>
                <a:close/>
                <a:moveTo>
                  <a:pt x="94" y="229"/>
                </a:moveTo>
                <a:cubicBezTo>
                  <a:pt x="94" y="228"/>
                  <a:pt x="94" y="228"/>
                  <a:pt x="94" y="228"/>
                </a:cubicBezTo>
                <a:cubicBezTo>
                  <a:pt x="94" y="227"/>
                  <a:pt x="94" y="227"/>
                  <a:pt x="94" y="227"/>
                </a:cubicBezTo>
                <a:cubicBezTo>
                  <a:pt x="95" y="227"/>
                  <a:pt x="95" y="227"/>
                  <a:pt x="95" y="227"/>
                </a:cubicBezTo>
                <a:cubicBezTo>
                  <a:pt x="95" y="228"/>
                  <a:pt x="95" y="228"/>
                  <a:pt x="95" y="228"/>
                </a:cubicBezTo>
                <a:cubicBezTo>
                  <a:pt x="94" y="229"/>
                  <a:pt x="94" y="229"/>
                  <a:pt x="94" y="229"/>
                </a:cubicBezTo>
                <a:close/>
                <a:moveTo>
                  <a:pt x="92" y="227"/>
                </a:moveTo>
                <a:cubicBezTo>
                  <a:pt x="91" y="228"/>
                  <a:pt x="91" y="228"/>
                  <a:pt x="91" y="228"/>
                </a:cubicBezTo>
                <a:cubicBezTo>
                  <a:pt x="91" y="229"/>
                  <a:pt x="91" y="229"/>
                  <a:pt x="91" y="229"/>
                </a:cubicBezTo>
                <a:cubicBezTo>
                  <a:pt x="92" y="230"/>
                  <a:pt x="92" y="230"/>
                  <a:pt x="92" y="230"/>
                </a:cubicBezTo>
                <a:cubicBezTo>
                  <a:pt x="93" y="229"/>
                  <a:pt x="93" y="229"/>
                  <a:pt x="93" y="229"/>
                </a:cubicBezTo>
                <a:cubicBezTo>
                  <a:pt x="93" y="228"/>
                  <a:pt x="93" y="228"/>
                  <a:pt x="93" y="228"/>
                </a:cubicBezTo>
                <a:cubicBezTo>
                  <a:pt x="92" y="228"/>
                  <a:pt x="92" y="228"/>
                  <a:pt x="92" y="228"/>
                </a:cubicBezTo>
                <a:cubicBezTo>
                  <a:pt x="92" y="227"/>
                  <a:pt x="92" y="227"/>
                  <a:pt x="92" y="227"/>
                </a:cubicBezTo>
                <a:close/>
                <a:moveTo>
                  <a:pt x="150" y="176"/>
                </a:moveTo>
                <a:cubicBezTo>
                  <a:pt x="149" y="176"/>
                  <a:pt x="149" y="176"/>
                  <a:pt x="149" y="176"/>
                </a:cubicBezTo>
                <a:cubicBezTo>
                  <a:pt x="151" y="175"/>
                  <a:pt x="151" y="175"/>
                  <a:pt x="151" y="175"/>
                </a:cubicBezTo>
                <a:cubicBezTo>
                  <a:pt x="150" y="176"/>
                  <a:pt x="150" y="176"/>
                  <a:pt x="150" y="176"/>
                </a:cubicBezTo>
                <a:cubicBezTo>
                  <a:pt x="150" y="176"/>
                  <a:pt x="150" y="176"/>
                  <a:pt x="150" y="176"/>
                </a:cubicBezTo>
                <a:close/>
                <a:moveTo>
                  <a:pt x="147" y="177"/>
                </a:moveTo>
                <a:cubicBezTo>
                  <a:pt x="147" y="177"/>
                  <a:pt x="147" y="177"/>
                  <a:pt x="147" y="177"/>
                </a:cubicBezTo>
                <a:cubicBezTo>
                  <a:pt x="147" y="176"/>
                  <a:pt x="147" y="176"/>
                  <a:pt x="147" y="176"/>
                </a:cubicBezTo>
                <a:cubicBezTo>
                  <a:pt x="148" y="175"/>
                  <a:pt x="148" y="175"/>
                  <a:pt x="148" y="175"/>
                </a:cubicBezTo>
                <a:cubicBezTo>
                  <a:pt x="149" y="174"/>
                  <a:pt x="149" y="174"/>
                  <a:pt x="149" y="174"/>
                </a:cubicBezTo>
                <a:cubicBezTo>
                  <a:pt x="149" y="175"/>
                  <a:pt x="149" y="175"/>
                  <a:pt x="149" y="175"/>
                </a:cubicBezTo>
                <a:cubicBezTo>
                  <a:pt x="148" y="176"/>
                  <a:pt x="148" y="176"/>
                  <a:pt x="148" y="176"/>
                </a:cubicBezTo>
                <a:cubicBezTo>
                  <a:pt x="147" y="177"/>
                  <a:pt x="147" y="177"/>
                  <a:pt x="147" y="177"/>
                </a:cubicBezTo>
                <a:close/>
                <a:moveTo>
                  <a:pt x="99" y="225"/>
                </a:moveTo>
                <a:cubicBezTo>
                  <a:pt x="100" y="223"/>
                  <a:pt x="100" y="223"/>
                  <a:pt x="100" y="223"/>
                </a:cubicBezTo>
                <a:cubicBezTo>
                  <a:pt x="100" y="223"/>
                  <a:pt x="100" y="223"/>
                  <a:pt x="100" y="223"/>
                </a:cubicBezTo>
                <a:cubicBezTo>
                  <a:pt x="101" y="223"/>
                  <a:pt x="101" y="223"/>
                  <a:pt x="101" y="223"/>
                </a:cubicBezTo>
                <a:cubicBezTo>
                  <a:pt x="102" y="222"/>
                  <a:pt x="102" y="222"/>
                  <a:pt x="102" y="222"/>
                </a:cubicBezTo>
                <a:cubicBezTo>
                  <a:pt x="102" y="222"/>
                  <a:pt x="102" y="222"/>
                  <a:pt x="102" y="222"/>
                </a:cubicBezTo>
                <a:cubicBezTo>
                  <a:pt x="103" y="220"/>
                  <a:pt x="103" y="220"/>
                  <a:pt x="103" y="220"/>
                </a:cubicBezTo>
                <a:cubicBezTo>
                  <a:pt x="104" y="220"/>
                  <a:pt x="104" y="220"/>
                  <a:pt x="104" y="220"/>
                </a:cubicBezTo>
                <a:cubicBezTo>
                  <a:pt x="105" y="221"/>
                  <a:pt x="105" y="221"/>
                  <a:pt x="105" y="221"/>
                </a:cubicBezTo>
                <a:cubicBezTo>
                  <a:pt x="105" y="220"/>
                  <a:pt x="105" y="220"/>
                  <a:pt x="105" y="220"/>
                </a:cubicBezTo>
                <a:cubicBezTo>
                  <a:pt x="107" y="221"/>
                  <a:pt x="107" y="221"/>
                  <a:pt x="107" y="221"/>
                </a:cubicBezTo>
                <a:cubicBezTo>
                  <a:pt x="108" y="220"/>
                  <a:pt x="108" y="220"/>
                  <a:pt x="108" y="220"/>
                </a:cubicBezTo>
                <a:cubicBezTo>
                  <a:pt x="108" y="220"/>
                  <a:pt x="108" y="220"/>
                  <a:pt x="108" y="220"/>
                </a:cubicBezTo>
                <a:cubicBezTo>
                  <a:pt x="110" y="220"/>
                  <a:pt x="110" y="220"/>
                  <a:pt x="110" y="220"/>
                </a:cubicBezTo>
                <a:cubicBezTo>
                  <a:pt x="110" y="221"/>
                  <a:pt x="110" y="221"/>
                  <a:pt x="110" y="221"/>
                </a:cubicBezTo>
                <a:cubicBezTo>
                  <a:pt x="110" y="222"/>
                  <a:pt x="110" y="222"/>
                  <a:pt x="110" y="222"/>
                </a:cubicBezTo>
                <a:cubicBezTo>
                  <a:pt x="112" y="223"/>
                  <a:pt x="112" y="223"/>
                  <a:pt x="112" y="223"/>
                </a:cubicBezTo>
                <a:cubicBezTo>
                  <a:pt x="112" y="224"/>
                  <a:pt x="112" y="224"/>
                  <a:pt x="112" y="224"/>
                </a:cubicBezTo>
                <a:cubicBezTo>
                  <a:pt x="110" y="224"/>
                  <a:pt x="110" y="224"/>
                  <a:pt x="110" y="224"/>
                </a:cubicBezTo>
                <a:cubicBezTo>
                  <a:pt x="109" y="225"/>
                  <a:pt x="109" y="225"/>
                  <a:pt x="109" y="225"/>
                </a:cubicBezTo>
                <a:cubicBezTo>
                  <a:pt x="107" y="225"/>
                  <a:pt x="107" y="225"/>
                  <a:pt x="107" y="225"/>
                </a:cubicBezTo>
                <a:cubicBezTo>
                  <a:pt x="106" y="224"/>
                  <a:pt x="106" y="224"/>
                  <a:pt x="106" y="224"/>
                </a:cubicBezTo>
                <a:cubicBezTo>
                  <a:pt x="103" y="224"/>
                  <a:pt x="103" y="224"/>
                  <a:pt x="103" y="224"/>
                </a:cubicBezTo>
                <a:cubicBezTo>
                  <a:pt x="102" y="226"/>
                  <a:pt x="102" y="226"/>
                  <a:pt x="102" y="226"/>
                </a:cubicBezTo>
                <a:cubicBezTo>
                  <a:pt x="102" y="226"/>
                  <a:pt x="102" y="226"/>
                  <a:pt x="102" y="226"/>
                </a:cubicBezTo>
                <a:cubicBezTo>
                  <a:pt x="101" y="226"/>
                  <a:pt x="101" y="226"/>
                  <a:pt x="101" y="226"/>
                </a:cubicBezTo>
                <a:cubicBezTo>
                  <a:pt x="100" y="226"/>
                  <a:pt x="100" y="226"/>
                  <a:pt x="100" y="226"/>
                </a:cubicBezTo>
                <a:lnTo>
                  <a:pt x="99" y="225"/>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3" name="Freeform 171">
            <a:extLst>
              <a:ext uri="{FF2B5EF4-FFF2-40B4-BE49-F238E27FC236}">
                <a16:creationId xmlns:a16="http://schemas.microsoft.com/office/drawing/2014/main" id="{6E1BCBA6-4DC1-3C57-70CD-9D13C7A8245A}"/>
              </a:ext>
            </a:extLst>
          </p:cNvPr>
          <p:cNvSpPr>
            <a:spLocks/>
          </p:cNvSpPr>
          <p:nvPr userDrawn="1"/>
        </p:nvSpPr>
        <p:spPr bwMode="auto">
          <a:xfrm>
            <a:off x="8168745" y="8133635"/>
            <a:ext cx="19049" cy="12702"/>
          </a:xfrm>
          <a:custGeom>
            <a:avLst/>
            <a:gdLst>
              <a:gd name="T0" fmla="*/ 6 w 6"/>
              <a:gd name="T1" fmla="*/ 0 h 4"/>
              <a:gd name="T2" fmla="*/ 3 w 6"/>
              <a:gd name="T3" fmla="*/ 0 h 4"/>
              <a:gd name="T4" fmla="*/ 0 w 6"/>
              <a:gd name="T5" fmla="*/ 4 h 4"/>
              <a:gd name="T6" fmla="*/ 3 w 6"/>
              <a:gd name="T7" fmla="*/ 4 h 4"/>
              <a:gd name="T8" fmla="*/ 6 w 6"/>
              <a:gd name="T9" fmla="*/ 0 h 4"/>
            </a:gdLst>
            <a:ahLst/>
            <a:cxnLst>
              <a:cxn ang="0">
                <a:pos x="T0" y="T1"/>
              </a:cxn>
              <a:cxn ang="0">
                <a:pos x="T2" y="T3"/>
              </a:cxn>
              <a:cxn ang="0">
                <a:pos x="T4" y="T5"/>
              </a:cxn>
              <a:cxn ang="0">
                <a:pos x="T6" y="T7"/>
              </a:cxn>
              <a:cxn ang="0">
                <a:pos x="T8" y="T9"/>
              </a:cxn>
            </a:cxnLst>
            <a:rect l="0" t="0" r="r" b="b"/>
            <a:pathLst>
              <a:path w="6" h="4">
                <a:moveTo>
                  <a:pt x="6" y="0"/>
                </a:moveTo>
                <a:lnTo>
                  <a:pt x="3" y="0"/>
                </a:lnTo>
                <a:lnTo>
                  <a:pt x="0" y="4"/>
                </a:lnTo>
                <a:lnTo>
                  <a:pt x="3" y="4"/>
                </a:lnTo>
                <a:lnTo>
                  <a:pt x="6" y="0"/>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4" name="Freeform 172">
            <a:extLst>
              <a:ext uri="{FF2B5EF4-FFF2-40B4-BE49-F238E27FC236}">
                <a16:creationId xmlns:a16="http://schemas.microsoft.com/office/drawing/2014/main" id="{B30FBD93-DEBC-EF1E-658A-A3FB3C890D7B}"/>
              </a:ext>
            </a:extLst>
          </p:cNvPr>
          <p:cNvSpPr>
            <a:spLocks/>
          </p:cNvSpPr>
          <p:nvPr userDrawn="1"/>
        </p:nvSpPr>
        <p:spPr bwMode="auto">
          <a:xfrm>
            <a:off x="8356055" y="8193961"/>
            <a:ext cx="139693" cy="60326"/>
          </a:xfrm>
          <a:custGeom>
            <a:avLst/>
            <a:gdLst>
              <a:gd name="T0" fmla="*/ 6 w 44"/>
              <a:gd name="T1" fmla="*/ 0 h 19"/>
              <a:gd name="T2" fmla="*/ 9 w 44"/>
              <a:gd name="T3" fmla="*/ 0 h 19"/>
              <a:gd name="T4" fmla="*/ 16 w 44"/>
              <a:gd name="T5" fmla="*/ 0 h 19"/>
              <a:gd name="T6" fmla="*/ 31 w 44"/>
              <a:gd name="T7" fmla="*/ 0 h 19"/>
              <a:gd name="T8" fmla="*/ 34 w 44"/>
              <a:gd name="T9" fmla="*/ 6 h 19"/>
              <a:gd name="T10" fmla="*/ 41 w 44"/>
              <a:gd name="T11" fmla="*/ 6 h 19"/>
              <a:gd name="T12" fmla="*/ 44 w 44"/>
              <a:gd name="T13" fmla="*/ 10 h 19"/>
              <a:gd name="T14" fmla="*/ 44 w 44"/>
              <a:gd name="T15" fmla="*/ 13 h 19"/>
              <a:gd name="T16" fmla="*/ 38 w 44"/>
              <a:gd name="T17" fmla="*/ 13 h 19"/>
              <a:gd name="T18" fmla="*/ 34 w 44"/>
              <a:gd name="T19" fmla="*/ 13 h 19"/>
              <a:gd name="T20" fmla="*/ 31 w 44"/>
              <a:gd name="T21" fmla="*/ 16 h 19"/>
              <a:gd name="T22" fmla="*/ 31 w 44"/>
              <a:gd name="T23" fmla="*/ 16 h 19"/>
              <a:gd name="T24" fmla="*/ 28 w 44"/>
              <a:gd name="T25" fmla="*/ 13 h 19"/>
              <a:gd name="T26" fmla="*/ 25 w 44"/>
              <a:gd name="T27" fmla="*/ 13 h 19"/>
              <a:gd name="T28" fmla="*/ 25 w 44"/>
              <a:gd name="T29" fmla="*/ 19 h 19"/>
              <a:gd name="T30" fmla="*/ 22 w 44"/>
              <a:gd name="T31" fmla="*/ 16 h 19"/>
              <a:gd name="T32" fmla="*/ 19 w 44"/>
              <a:gd name="T33" fmla="*/ 16 h 19"/>
              <a:gd name="T34" fmla="*/ 13 w 44"/>
              <a:gd name="T35" fmla="*/ 16 h 19"/>
              <a:gd name="T36" fmla="*/ 9 w 44"/>
              <a:gd name="T37" fmla="*/ 13 h 19"/>
              <a:gd name="T38" fmla="*/ 9 w 44"/>
              <a:gd name="T39" fmla="*/ 6 h 19"/>
              <a:gd name="T40" fmla="*/ 6 w 44"/>
              <a:gd name="T41" fmla="*/ 6 h 19"/>
              <a:gd name="T42" fmla="*/ 3 w 44"/>
              <a:gd name="T43" fmla="*/ 6 h 19"/>
              <a:gd name="T44" fmla="*/ 0 w 44"/>
              <a:gd name="T45" fmla="*/ 3 h 19"/>
              <a:gd name="T46" fmla="*/ 3 w 44"/>
              <a:gd name="T47" fmla="*/ 0 h 19"/>
              <a:gd name="T48" fmla="*/ 6 w 44"/>
              <a:gd name="T4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19">
                <a:moveTo>
                  <a:pt x="6" y="0"/>
                </a:moveTo>
                <a:lnTo>
                  <a:pt x="9" y="0"/>
                </a:lnTo>
                <a:lnTo>
                  <a:pt x="16" y="0"/>
                </a:lnTo>
                <a:lnTo>
                  <a:pt x="31" y="0"/>
                </a:lnTo>
                <a:lnTo>
                  <a:pt x="34" y="6"/>
                </a:lnTo>
                <a:lnTo>
                  <a:pt x="41" y="6"/>
                </a:lnTo>
                <a:lnTo>
                  <a:pt x="44" y="10"/>
                </a:lnTo>
                <a:lnTo>
                  <a:pt x="44" y="13"/>
                </a:lnTo>
                <a:lnTo>
                  <a:pt x="38" y="13"/>
                </a:lnTo>
                <a:lnTo>
                  <a:pt x="34" y="13"/>
                </a:lnTo>
                <a:lnTo>
                  <a:pt x="31" y="16"/>
                </a:lnTo>
                <a:lnTo>
                  <a:pt x="31" y="16"/>
                </a:lnTo>
                <a:lnTo>
                  <a:pt x="28" y="13"/>
                </a:lnTo>
                <a:lnTo>
                  <a:pt x="25" y="13"/>
                </a:lnTo>
                <a:lnTo>
                  <a:pt x="25" y="19"/>
                </a:lnTo>
                <a:lnTo>
                  <a:pt x="22" y="16"/>
                </a:lnTo>
                <a:lnTo>
                  <a:pt x="19" y="16"/>
                </a:lnTo>
                <a:lnTo>
                  <a:pt x="13" y="16"/>
                </a:lnTo>
                <a:lnTo>
                  <a:pt x="9" y="13"/>
                </a:lnTo>
                <a:lnTo>
                  <a:pt x="9" y="6"/>
                </a:lnTo>
                <a:lnTo>
                  <a:pt x="6" y="6"/>
                </a:lnTo>
                <a:lnTo>
                  <a:pt x="3" y="6"/>
                </a:lnTo>
                <a:lnTo>
                  <a:pt x="0" y="3"/>
                </a:lnTo>
                <a:lnTo>
                  <a:pt x="3" y="0"/>
                </a:lnTo>
                <a:lnTo>
                  <a:pt x="6" y="0"/>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5" name="Freeform 173">
            <a:extLst>
              <a:ext uri="{FF2B5EF4-FFF2-40B4-BE49-F238E27FC236}">
                <a16:creationId xmlns:a16="http://schemas.microsoft.com/office/drawing/2014/main" id="{583C1B08-E6C0-599B-A719-1F568E64D1BC}"/>
              </a:ext>
            </a:extLst>
          </p:cNvPr>
          <p:cNvSpPr>
            <a:spLocks noEditPoints="1"/>
          </p:cNvSpPr>
          <p:nvPr userDrawn="1"/>
        </p:nvSpPr>
        <p:spPr bwMode="auto">
          <a:xfrm>
            <a:off x="8603691" y="8086009"/>
            <a:ext cx="168267" cy="139702"/>
          </a:xfrm>
          <a:custGeom>
            <a:avLst/>
            <a:gdLst>
              <a:gd name="T0" fmla="*/ 15 w 17"/>
              <a:gd name="T1" fmla="*/ 13 h 14"/>
              <a:gd name="T2" fmla="*/ 16 w 17"/>
              <a:gd name="T3" fmla="*/ 10 h 14"/>
              <a:gd name="T4" fmla="*/ 16 w 17"/>
              <a:gd name="T5" fmla="*/ 8 h 14"/>
              <a:gd name="T6" fmla="*/ 17 w 17"/>
              <a:gd name="T7" fmla="*/ 7 h 14"/>
              <a:gd name="T8" fmla="*/ 17 w 17"/>
              <a:gd name="T9" fmla="*/ 5 h 14"/>
              <a:gd name="T10" fmla="*/ 17 w 17"/>
              <a:gd name="T11" fmla="*/ 3 h 14"/>
              <a:gd name="T12" fmla="*/ 16 w 17"/>
              <a:gd name="T13" fmla="*/ 3 h 14"/>
              <a:gd name="T14" fmla="*/ 14 w 17"/>
              <a:gd name="T15" fmla="*/ 2 h 14"/>
              <a:gd name="T16" fmla="*/ 10 w 17"/>
              <a:gd name="T17" fmla="*/ 2 h 14"/>
              <a:gd name="T18" fmla="*/ 7 w 17"/>
              <a:gd name="T19" fmla="*/ 2 h 14"/>
              <a:gd name="T20" fmla="*/ 8 w 17"/>
              <a:gd name="T21" fmla="*/ 3 h 14"/>
              <a:gd name="T22" fmla="*/ 11 w 17"/>
              <a:gd name="T23" fmla="*/ 5 h 14"/>
              <a:gd name="T24" fmla="*/ 11 w 17"/>
              <a:gd name="T25" fmla="*/ 7 h 14"/>
              <a:gd name="T26" fmla="*/ 13 w 17"/>
              <a:gd name="T27" fmla="*/ 9 h 14"/>
              <a:gd name="T28" fmla="*/ 14 w 17"/>
              <a:gd name="T29" fmla="*/ 11 h 14"/>
              <a:gd name="T30" fmla="*/ 11 w 17"/>
              <a:gd name="T31" fmla="*/ 11 h 14"/>
              <a:gd name="T32" fmla="*/ 8 w 17"/>
              <a:gd name="T33" fmla="*/ 11 h 14"/>
              <a:gd name="T34" fmla="*/ 5 w 17"/>
              <a:gd name="T35" fmla="*/ 11 h 14"/>
              <a:gd name="T36" fmla="*/ 5 w 17"/>
              <a:gd name="T37" fmla="*/ 10 h 14"/>
              <a:gd name="T38" fmla="*/ 2 w 17"/>
              <a:gd name="T39" fmla="*/ 10 h 14"/>
              <a:gd name="T40" fmla="*/ 0 w 17"/>
              <a:gd name="T41" fmla="*/ 11 h 14"/>
              <a:gd name="T42" fmla="*/ 2 w 17"/>
              <a:gd name="T43" fmla="*/ 12 h 14"/>
              <a:gd name="T44" fmla="*/ 4 w 17"/>
              <a:gd name="T45" fmla="*/ 14 h 14"/>
              <a:gd name="T46" fmla="*/ 5 w 17"/>
              <a:gd name="T47" fmla="*/ 13 h 14"/>
              <a:gd name="T48" fmla="*/ 9 w 17"/>
              <a:gd name="T49" fmla="*/ 13 h 14"/>
              <a:gd name="T50" fmla="*/ 13 w 17"/>
              <a:gd name="T51" fmla="*/ 13 h 14"/>
              <a:gd name="T52" fmla="*/ 15 w 17"/>
              <a:gd name="T53" fmla="*/ 14 h 14"/>
              <a:gd name="T54" fmla="*/ 11 w 17"/>
              <a:gd name="T55" fmla="*/ 0 h 14"/>
              <a:gd name="T56" fmla="*/ 11 w 17"/>
              <a:gd name="T57" fmla="*/ 1 h 14"/>
              <a:gd name="T58" fmla="*/ 7 w 17"/>
              <a:gd name="T59" fmla="*/ 8 h 14"/>
              <a:gd name="T60" fmla="*/ 10 w 17"/>
              <a:gd name="T61" fmla="*/ 8 h 14"/>
              <a:gd name="T62" fmla="*/ 8 w 17"/>
              <a:gd name="T63"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14">
                <a:moveTo>
                  <a:pt x="15" y="14"/>
                </a:moveTo>
                <a:cubicBezTo>
                  <a:pt x="15" y="13"/>
                  <a:pt x="15" y="13"/>
                  <a:pt x="15" y="13"/>
                </a:cubicBezTo>
                <a:cubicBezTo>
                  <a:pt x="16" y="11"/>
                  <a:pt x="16" y="11"/>
                  <a:pt x="16" y="11"/>
                </a:cubicBezTo>
                <a:cubicBezTo>
                  <a:pt x="16" y="10"/>
                  <a:pt x="16" y="10"/>
                  <a:pt x="16" y="10"/>
                </a:cubicBezTo>
                <a:cubicBezTo>
                  <a:pt x="16" y="9"/>
                  <a:pt x="16" y="9"/>
                  <a:pt x="16" y="9"/>
                </a:cubicBezTo>
                <a:cubicBezTo>
                  <a:pt x="16" y="8"/>
                  <a:pt x="16" y="8"/>
                  <a:pt x="16" y="8"/>
                </a:cubicBezTo>
                <a:cubicBezTo>
                  <a:pt x="16" y="8"/>
                  <a:pt x="16" y="8"/>
                  <a:pt x="16" y="8"/>
                </a:cubicBezTo>
                <a:cubicBezTo>
                  <a:pt x="17" y="7"/>
                  <a:pt x="17" y="7"/>
                  <a:pt x="17" y="7"/>
                </a:cubicBezTo>
                <a:cubicBezTo>
                  <a:pt x="17" y="6"/>
                  <a:pt x="17" y="6"/>
                  <a:pt x="17" y="6"/>
                </a:cubicBezTo>
                <a:cubicBezTo>
                  <a:pt x="17" y="5"/>
                  <a:pt x="17" y="5"/>
                  <a:pt x="17" y="5"/>
                </a:cubicBezTo>
                <a:cubicBezTo>
                  <a:pt x="17" y="4"/>
                  <a:pt x="17" y="4"/>
                  <a:pt x="17" y="4"/>
                </a:cubicBezTo>
                <a:cubicBezTo>
                  <a:pt x="17" y="3"/>
                  <a:pt x="17" y="3"/>
                  <a:pt x="17" y="3"/>
                </a:cubicBezTo>
                <a:cubicBezTo>
                  <a:pt x="17" y="3"/>
                  <a:pt x="17" y="3"/>
                  <a:pt x="17" y="3"/>
                </a:cubicBezTo>
                <a:cubicBezTo>
                  <a:pt x="16" y="3"/>
                  <a:pt x="16" y="3"/>
                  <a:pt x="16" y="3"/>
                </a:cubicBezTo>
                <a:cubicBezTo>
                  <a:pt x="15" y="3"/>
                  <a:pt x="15" y="3"/>
                  <a:pt x="15" y="3"/>
                </a:cubicBezTo>
                <a:cubicBezTo>
                  <a:pt x="14" y="2"/>
                  <a:pt x="14" y="2"/>
                  <a:pt x="14" y="2"/>
                </a:cubicBezTo>
                <a:cubicBezTo>
                  <a:pt x="11" y="2"/>
                  <a:pt x="11" y="2"/>
                  <a:pt x="11" y="2"/>
                </a:cubicBezTo>
                <a:cubicBezTo>
                  <a:pt x="10" y="2"/>
                  <a:pt x="10" y="2"/>
                  <a:pt x="10" y="2"/>
                </a:cubicBezTo>
                <a:cubicBezTo>
                  <a:pt x="9" y="2"/>
                  <a:pt x="9" y="2"/>
                  <a:pt x="9" y="2"/>
                </a:cubicBezTo>
                <a:cubicBezTo>
                  <a:pt x="7" y="2"/>
                  <a:pt x="7" y="2"/>
                  <a:pt x="7" y="2"/>
                </a:cubicBezTo>
                <a:cubicBezTo>
                  <a:pt x="7" y="2"/>
                  <a:pt x="7" y="2"/>
                  <a:pt x="7" y="2"/>
                </a:cubicBezTo>
                <a:cubicBezTo>
                  <a:pt x="7" y="2"/>
                  <a:pt x="8" y="3"/>
                  <a:pt x="8" y="3"/>
                </a:cubicBezTo>
                <a:cubicBezTo>
                  <a:pt x="11" y="4"/>
                  <a:pt x="11" y="4"/>
                  <a:pt x="11" y="4"/>
                </a:cubicBezTo>
                <a:cubicBezTo>
                  <a:pt x="11" y="5"/>
                  <a:pt x="11" y="5"/>
                  <a:pt x="11" y="5"/>
                </a:cubicBezTo>
                <a:cubicBezTo>
                  <a:pt x="11" y="6"/>
                  <a:pt x="11" y="6"/>
                  <a:pt x="11" y="6"/>
                </a:cubicBezTo>
                <a:cubicBezTo>
                  <a:pt x="11" y="7"/>
                  <a:pt x="11" y="7"/>
                  <a:pt x="11" y="7"/>
                </a:cubicBezTo>
                <a:cubicBezTo>
                  <a:pt x="11" y="8"/>
                  <a:pt x="11" y="8"/>
                  <a:pt x="11" y="8"/>
                </a:cubicBezTo>
                <a:cubicBezTo>
                  <a:pt x="13" y="9"/>
                  <a:pt x="13" y="9"/>
                  <a:pt x="13" y="9"/>
                </a:cubicBezTo>
                <a:cubicBezTo>
                  <a:pt x="14" y="10"/>
                  <a:pt x="14" y="10"/>
                  <a:pt x="14" y="10"/>
                </a:cubicBezTo>
                <a:cubicBezTo>
                  <a:pt x="14" y="11"/>
                  <a:pt x="14" y="11"/>
                  <a:pt x="14" y="11"/>
                </a:cubicBezTo>
                <a:cubicBezTo>
                  <a:pt x="11" y="11"/>
                  <a:pt x="11" y="11"/>
                  <a:pt x="11" y="11"/>
                </a:cubicBezTo>
                <a:cubicBezTo>
                  <a:pt x="11" y="11"/>
                  <a:pt x="11" y="11"/>
                  <a:pt x="11" y="11"/>
                </a:cubicBezTo>
                <a:cubicBezTo>
                  <a:pt x="9" y="11"/>
                  <a:pt x="9" y="11"/>
                  <a:pt x="9" y="11"/>
                </a:cubicBezTo>
                <a:cubicBezTo>
                  <a:pt x="8" y="11"/>
                  <a:pt x="8" y="11"/>
                  <a:pt x="8" y="11"/>
                </a:cubicBezTo>
                <a:cubicBezTo>
                  <a:pt x="7" y="10"/>
                  <a:pt x="7" y="10"/>
                  <a:pt x="7" y="10"/>
                </a:cubicBezTo>
                <a:cubicBezTo>
                  <a:pt x="5" y="11"/>
                  <a:pt x="5" y="11"/>
                  <a:pt x="5" y="11"/>
                </a:cubicBezTo>
                <a:cubicBezTo>
                  <a:pt x="5" y="10"/>
                  <a:pt x="5" y="10"/>
                  <a:pt x="5" y="10"/>
                </a:cubicBezTo>
                <a:cubicBezTo>
                  <a:pt x="5" y="10"/>
                  <a:pt x="5" y="10"/>
                  <a:pt x="5" y="10"/>
                </a:cubicBezTo>
                <a:cubicBezTo>
                  <a:pt x="3" y="11"/>
                  <a:pt x="3" y="11"/>
                  <a:pt x="3" y="11"/>
                </a:cubicBezTo>
                <a:cubicBezTo>
                  <a:pt x="2" y="10"/>
                  <a:pt x="2" y="10"/>
                  <a:pt x="2" y="10"/>
                </a:cubicBezTo>
                <a:cubicBezTo>
                  <a:pt x="0" y="10"/>
                  <a:pt x="0" y="10"/>
                  <a:pt x="0" y="10"/>
                </a:cubicBezTo>
                <a:cubicBezTo>
                  <a:pt x="0" y="11"/>
                  <a:pt x="0" y="11"/>
                  <a:pt x="0" y="11"/>
                </a:cubicBezTo>
                <a:cubicBezTo>
                  <a:pt x="0" y="12"/>
                  <a:pt x="0" y="12"/>
                  <a:pt x="0" y="12"/>
                </a:cubicBezTo>
                <a:cubicBezTo>
                  <a:pt x="2" y="12"/>
                  <a:pt x="2" y="12"/>
                  <a:pt x="2" y="12"/>
                </a:cubicBezTo>
                <a:cubicBezTo>
                  <a:pt x="3" y="14"/>
                  <a:pt x="3" y="14"/>
                  <a:pt x="3" y="14"/>
                </a:cubicBezTo>
                <a:cubicBezTo>
                  <a:pt x="4" y="14"/>
                  <a:pt x="4" y="14"/>
                  <a:pt x="4" y="14"/>
                </a:cubicBezTo>
                <a:cubicBezTo>
                  <a:pt x="4" y="13"/>
                  <a:pt x="4" y="13"/>
                  <a:pt x="4" y="13"/>
                </a:cubicBezTo>
                <a:cubicBezTo>
                  <a:pt x="5" y="13"/>
                  <a:pt x="5" y="13"/>
                  <a:pt x="5" y="13"/>
                </a:cubicBezTo>
                <a:cubicBezTo>
                  <a:pt x="7" y="13"/>
                  <a:pt x="7" y="13"/>
                  <a:pt x="7" y="13"/>
                </a:cubicBezTo>
                <a:cubicBezTo>
                  <a:pt x="9" y="13"/>
                  <a:pt x="9" y="13"/>
                  <a:pt x="9" y="13"/>
                </a:cubicBezTo>
                <a:cubicBezTo>
                  <a:pt x="12" y="13"/>
                  <a:pt x="12" y="13"/>
                  <a:pt x="12" y="13"/>
                </a:cubicBezTo>
                <a:cubicBezTo>
                  <a:pt x="13" y="13"/>
                  <a:pt x="13" y="13"/>
                  <a:pt x="13" y="13"/>
                </a:cubicBezTo>
                <a:cubicBezTo>
                  <a:pt x="14" y="13"/>
                  <a:pt x="14" y="13"/>
                  <a:pt x="14" y="13"/>
                </a:cubicBezTo>
                <a:cubicBezTo>
                  <a:pt x="15" y="14"/>
                  <a:pt x="15" y="14"/>
                  <a:pt x="15" y="14"/>
                </a:cubicBezTo>
                <a:close/>
                <a:moveTo>
                  <a:pt x="10" y="0"/>
                </a:moveTo>
                <a:cubicBezTo>
                  <a:pt x="11" y="0"/>
                  <a:pt x="11" y="0"/>
                  <a:pt x="11" y="0"/>
                </a:cubicBezTo>
                <a:cubicBezTo>
                  <a:pt x="13" y="1"/>
                  <a:pt x="13" y="1"/>
                  <a:pt x="13" y="1"/>
                </a:cubicBezTo>
                <a:cubicBezTo>
                  <a:pt x="11" y="1"/>
                  <a:pt x="11" y="1"/>
                  <a:pt x="11" y="1"/>
                </a:cubicBezTo>
                <a:cubicBezTo>
                  <a:pt x="10" y="0"/>
                  <a:pt x="10" y="0"/>
                  <a:pt x="10" y="0"/>
                </a:cubicBezTo>
                <a:close/>
                <a:moveTo>
                  <a:pt x="7" y="8"/>
                </a:moveTo>
                <a:cubicBezTo>
                  <a:pt x="9" y="7"/>
                  <a:pt x="9" y="7"/>
                  <a:pt x="9" y="7"/>
                </a:cubicBezTo>
                <a:cubicBezTo>
                  <a:pt x="10" y="8"/>
                  <a:pt x="10" y="8"/>
                  <a:pt x="10" y="8"/>
                </a:cubicBezTo>
                <a:cubicBezTo>
                  <a:pt x="10" y="9"/>
                  <a:pt x="10" y="9"/>
                  <a:pt x="10" y="9"/>
                </a:cubicBezTo>
                <a:cubicBezTo>
                  <a:pt x="8" y="9"/>
                  <a:pt x="8" y="9"/>
                  <a:pt x="8" y="9"/>
                </a:cubicBezTo>
                <a:lnTo>
                  <a:pt x="7" y="8"/>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6" name="Freeform 174">
            <a:extLst>
              <a:ext uri="{FF2B5EF4-FFF2-40B4-BE49-F238E27FC236}">
                <a16:creationId xmlns:a16="http://schemas.microsoft.com/office/drawing/2014/main" id="{68F24B00-3D21-7270-2EA8-68ACA1209A96}"/>
              </a:ext>
            </a:extLst>
          </p:cNvPr>
          <p:cNvSpPr>
            <a:spLocks noEditPoints="1"/>
          </p:cNvSpPr>
          <p:nvPr userDrawn="1"/>
        </p:nvSpPr>
        <p:spPr bwMode="auto">
          <a:xfrm>
            <a:off x="7959204" y="7876461"/>
            <a:ext cx="663533" cy="238126"/>
          </a:xfrm>
          <a:custGeom>
            <a:avLst/>
            <a:gdLst>
              <a:gd name="T0" fmla="*/ 44 w 209"/>
              <a:gd name="T1" fmla="*/ 28 h 75"/>
              <a:gd name="T2" fmla="*/ 44 w 209"/>
              <a:gd name="T3" fmla="*/ 38 h 75"/>
              <a:gd name="T4" fmla="*/ 41 w 209"/>
              <a:gd name="T5" fmla="*/ 34 h 75"/>
              <a:gd name="T6" fmla="*/ 41 w 209"/>
              <a:gd name="T7" fmla="*/ 31 h 75"/>
              <a:gd name="T8" fmla="*/ 13 w 209"/>
              <a:gd name="T9" fmla="*/ 19 h 75"/>
              <a:gd name="T10" fmla="*/ 9 w 209"/>
              <a:gd name="T11" fmla="*/ 22 h 75"/>
              <a:gd name="T12" fmla="*/ 0 w 209"/>
              <a:gd name="T13" fmla="*/ 28 h 75"/>
              <a:gd name="T14" fmla="*/ 9 w 209"/>
              <a:gd name="T15" fmla="*/ 25 h 75"/>
              <a:gd name="T16" fmla="*/ 19 w 209"/>
              <a:gd name="T17" fmla="*/ 25 h 75"/>
              <a:gd name="T18" fmla="*/ 28 w 209"/>
              <a:gd name="T19" fmla="*/ 19 h 75"/>
              <a:gd name="T20" fmla="*/ 41 w 209"/>
              <a:gd name="T21" fmla="*/ 13 h 75"/>
              <a:gd name="T22" fmla="*/ 53 w 209"/>
              <a:gd name="T23" fmla="*/ 13 h 75"/>
              <a:gd name="T24" fmla="*/ 69 w 209"/>
              <a:gd name="T25" fmla="*/ 16 h 75"/>
              <a:gd name="T26" fmla="*/ 56 w 209"/>
              <a:gd name="T27" fmla="*/ 19 h 75"/>
              <a:gd name="T28" fmla="*/ 75 w 209"/>
              <a:gd name="T29" fmla="*/ 22 h 75"/>
              <a:gd name="T30" fmla="*/ 88 w 209"/>
              <a:gd name="T31" fmla="*/ 25 h 75"/>
              <a:gd name="T32" fmla="*/ 94 w 209"/>
              <a:gd name="T33" fmla="*/ 25 h 75"/>
              <a:gd name="T34" fmla="*/ 106 w 209"/>
              <a:gd name="T35" fmla="*/ 31 h 75"/>
              <a:gd name="T36" fmla="*/ 116 w 209"/>
              <a:gd name="T37" fmla="*/ 34 h 75"/>
              <a:gd name="T38" fmla="*/ 125 w 209"/>
              <a:gd name="T39" fmla="*/ 34 h 75"/>
              <a:gd name="T40" fmla="*/ 138 w 209"/>
              <a:gd name="T41" fmla="*/ 53 h 75"/>
              <a:gd name="T42" fmla="*/ 150 w 209"/>
              <a:gd name="T43" fmla="*/ 53 h 75"/>
              <a:gd name="T44" fmla="*/ 153 w 209"/>
              <a:gd name="T45" fmla="*/ 63 h 75"/>
              <a:gd name="T46" fmla="*/ 144 w 209"/>
              <a:gd name="T47" fmla="*/ 72 h 75"/>
              <a:gd name="T48" fmla="*/ 156 w 209"/>
              <a:gd name="T49" fmla="*/ 72 h 75"/>
              <a:gd name="T50" fmla="*/ 178 w 209"/>
              <a:gd name="T51" fmla="*/ 75 h 75"/>
              <a:gd name="T52" fmla="*/ 194 w 209"/>
              <a:gd name="T53" fmla="*/ 69 h 75"/>
              <a:gd name="T54" fmla="*/ 206 w 209"/>
              <a:gd name="T55" fmla="*/ 66 h 75"/>
              <a:gd name="T56" fmla="*/ 203 w 209"/>
              <a:gd name="T57" fmla="*/ 60 h 75"/>
              <a:gd name="T58" fmla="*/ 184 w 209"/>
              <a:gd name="T59" fmla="*/ 53 h 75"/>
              <a:gd name="T60" fmla="*/ 184 w 209"/>
              <a:gd name="T61" fmla="*/ 44 h 75"/>
              <a:gd name="T62" fmla="*/ 175 w 209"/>
              <a:gd name="T63" fmla="*/ 44 h 75"/>
              <a:gd name="T64" fmla="*/ 163 w 209"/>
              <a:gd name="T65" fmla="*/ 38 h 75"/>
              <a:gd name="T66" fmla="*/ 153 w 209"/>
              <a:gd name="T67" fmla="*/ 34 h 75"/>
              <a:gd name="T68" fmla="*/ 150 w 209"/>
              <a:gd name="T69" fmla="*/ 34 h 75"/>
              <a:gd name="T70" fmla="*/ 134 w 209"/>
              <a:gd name="T71" fmla="*/ 25 h 75"/>
              <a:gd name="T72" fmla="*/ 116 w 209"/>
              <a:gd name="T73" fmla="*/ 19 h 75"/>
              <a:gd name="T74" fmla="*/ 106 w 209"/>
              <a:gd name="T75" fmla="*/ 6 h 75"/>
              <a:gd name="T76" fmla="*/ 84 w 209"/>
              <a:gd name="T77" fmla="*/ 3 h 75"/>
              <a:gd name="T78" fmla="*/ 72 w 209"/>
              <a:gd name="T79" fmla="*/ 0 h 75"/>
              <a:gd name="T80" fmla="*/ 50 w 209"/>
              <a:gd name="T81" fmla="*/ 3 h 75"/>
              <a:gd name="T82" fmla="*/ 28 w 209"/>
              <a:gd name="T83" fmla="*/ 6 h 75"/>
              <a:gd name="T84" fmla="*/ 13 w 209"/>
              <a:gd name="T85" fmla="*/ 1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9" h="75">
                <a:moveTo>
                  <a:pt x="41" y="28"/>
                </a:moveTo>
                <a:lnTo>
                  <a:pt x="41" y="25"/>
                </a:lnTo>
                <a:lnTo>
                  <a:pt x="44" y="28"/>
                </a:lnTo>
                <a:lnTo>
                  <a:pt x="50" y="31"/>
                </a:lnTo>
                <a:lnTo>
                  <a:pt x="47" y="34"/>
                </a:lnTo>
                <a:lnTo>
                  <a:pt x="44" y="38"/>
                </a:lnTo>
                <a:lnTo>
                  <a:pt x="38" y="34"/>
                </a:lnTo>
                <a:lnTo>
                  <a:pt x="38" y="31"/>
                </a:lnTo>
                <a:lnTo>
                  <a:pt x="41" y="34"/>
                </a:lnTo>
                <a:lnTo>
                  <a:pt x="41" y="34"/>
                </a:lnTo>
                <a:lnTo>
                  <a:pt x="44" y="31"/>
                </a:lnTo>
                <a:lnTo>
                  <a:pt x="41" y="31"/>
                </a:lnTo>
                <a:lnTo>
                  <a:pt x="41" y="28"/>
                </a:lnTo>
                <a:lnTo>
                  <a:pt x="41" y="28"/>
                </a:lnTo>
                <a:close/>
                <a:moveTo>
                  <a:pt x="13" y="19"/>
                </a:moveTo>
                <a:lnTo>
                  <a:pt x="16" y="22"/>
                </a:lnTo>
                <a:lnTo>
                  <a:pt x="13" y="25"/>
                </a:lnTo>
                <a:lnTo>
                  <a:pt x="9" y="22"/>
                </a:lnTo>
                <a:lnTo>
                  <a:pt x="3" y="28"/>
                </a:lnTo>
                <a:lnTo>
                  <a:pt x="0" y="25"/>
                </a:lnTo>
                <a:lnTo>
                  <a:pt x="0" y="28"/>
                </a:lnTo>
                <a:lnTo>
                  <a:pt x="3" y="31"/>
                </a:lnTo>
                <a:lnTo>
                  <a:pt x="9" y="25"/>
                </a:lnTo>
                <a:lnTo>
                  <a:pt x="9" y="25"/>
                </a:lnTo>
                <a:lnTo>
                  <a:pt x="9" y="28"/>
                </a:lnTo>
                <a:lnTo>
                  <a:pt x="16" y="28"/>
                </a:lnTo>
                <a:lnTo>
                  <a:pt x="19" y="25"/>
                </a:lnTo>
                <a:lnTo>
                  <a:pt x="22" y="22"/>
                </a:lnTo>
                <a:lnTo>
                  <a:pt x="28" y="22"/>
                </a:lnTo>
                <a:lnTo>
                  <a:pt x="28" y="19"/>
                </a:lnTo>
                <a:lnTo>
                  <a:pt x="31" y="22"/>
                </a:lnTo>
                <a:lnTo>
                  <a:pt x="34" y="22"/>
                </a:lnTo>
                <a:lnTo>
                  <a:pt x="41" y="13"/>
                </a:lnTo>
                <a:lnTo>
                  <a:pt x="44" y="13"/>
                </a:lnTo>
                <a:lnTo>
                  <a:pt x="47" y="9"/>
                </a:lnTo>
                <a:lnTo>
                  <a:pt x="53" y="13"/>
                </a:lnTo>
                <a:lnTo>
                  <a:pt x="56" y="13"/>
                </a:lnTo>
                <a:lnTo>
                  <a:pt x="66" y="13"/>
                </a:lnTo>
                <a:lnTo>
                  <a:pt x="69" y="16"/>
                </a:lnTo>
                <a:lnTo>
                  <a:pt x="66" y="16"/>
                </a:lnTo>
                <a:lnTo>
                  <a:pt x="59" y="16"/>
                </a:lnTo>
                <a:lnTo>
                  <a:pt x="56" y="19"/>
                </a:lnTo>
                <a:lnTo>
                  <a:pt x="59" y="22"/>
                </a:lnTo>
                <a:lnTo>
                  <a:pt x="72" y="22"/>
                </a:lnTo>
                <a:lnTo>
                  <a:pt x="75" y="22"/>
                </a:lnTo>
                <a:lnTo>
                  <a:pt x="78" y="22"/>
                </a:lnTo>
                <a:lnTo>
                  <a:pt x="81" y="25"/>
                </a:lnTo>
                <a:lnTo>
                  <a:pt x="88" y="25"/>
                </a:lnTo>
                <a:lnTo>
                  <a:pt x="91" y="25"/>
                </a:lnTo>
                <a:lnTo>
                  <a:pt x="91" y="22"/>
                </a:lnTo>
                <a:lnTo>
                  <a:pt x="94" y="25"/>
                </a:lnTo>
                <a:lnTo>
                  <a:pt x="94" y="25"/>
                </a:lnTo>
                <a:lnTo>
                  <a:pt x="100" y="31"/>
                </a:lnTo>
                <a:lnTo>
                  <a:pt x="106" y="31"/>
                </a:lnTo>
                <a:lnTo>
                  <a:pt x="106" y="31"/>
                </a:lnTo>
                <a:lnTo>
                  <a:pt x="109" y="34"/>
                </a:lnTo>
                <a:lnTo>
                  <a:pt x="116" y="34"/>
                </a:lnTo>
                <a:lnTo>
                  <a:pt x="119" y="34"/>
                </a:lnTo>
                <a:lnTo>
                  <a:pt x="122" y="31"/>
                </a:lnTo>
                <a:lnTo>
                  <a:pt x="125" y="34"/>
                </a:lnTo>
                <a:lnTo>
                  <a:pt x="128" y="44"/>
                </a:lnTo>
                <a:lnTo>
                  <a:pt x="134" y="53"/>
                </a:lnTo>
                <a:lnTo>
                  <a:pt x="138" y="53"/>
                </a:lnTo>
                <a:lnTo>
                  <a:pt x="141" y="50"/>
                </a:lnTo>
                <a:lnTo>
                  <a:pt x="144" y="53"/>
                </a:lnTo>
                <a:lnTo>
                  <a:pt x="150" y="53"/>
                </a:lnTo>
                <a:lnTo>
                  <a:pt x="153" y="56"/>
                </a:lnTo>
                <a:lnTo>
                  <a:pt x="156" y="56"/>
                </a:lnTo>
                <a:lnTo>
                  <a:pt x="153" y="63"/>
                </a:lnTo>
                <a:lnTo>
                  <a:pt x="150" y="63"/>
                </a:lnTo>
                <a:lnTo>
                  <a:pt x="144" y="69"/>
                </a:lnTo>
                <a:lnTo>
                  <a:pt x="144" y="72"/>
                </a:lnTo>
                <a:lnTo>
                  <a:pt x="150" y="72"/>
                </a:lnTo>
                <a:lnTo>
                  <a:pt x="153" y="72"/>
                </a:lnTo>
                <a:lnTo>
                  <a:pt x="156" y="72"/>
                </a:lnTo>
                <a:lnTo>
                  <a:pt x="166" y="69"/>
                </a:lnTo>
                <a:lnTo>
                  <a:pt x="172" y="72"/>
                </a:lnTo>
                <a:lnTo>
                  <a:pt x="178" y="75"/>
                </a:lnTo>
                <a:lnTo>
                  <a:pt x="191" y="72"/>
                </a:lnTo>
                <a:lnTo>
                  <a:pt x="191" y="69"/>
                </a:lnTo>
                <a:lnTo>
                  <a:pt x="194" y="69"/>
                </a:lnTo>
                <a:lnTo>
                  <a:pt x="197" y="66"/>
                </a:lnTo>
                <a:lnTo>
                  <a:pt x="203" y="69"/>
                </a:lnTo>
                <a:lnTo>
                  <a:pt x="206" y="66"/>
                </a:lnTo>
                <a:lnTo>
                  <a:pt x="209" y="63"/>
                </a:lnTo>
                <a:lnTo>
                  <a:pt x="209" y="60"/>
                </a:lnTo>
                <a:lnTo>
                  <a:pt x="203" y="60"/>
                </a:lnTo>
                <a:lnTo>
                  <a:pt x="203" y="56"/>
                </a:lnTo>
                <a:lnTo>
                  <a:pt x="194" y="53"/>
                </a:lnTo>
                <a:lnTo>
                  <a:pt x="184" y="53"/>
                </a:lnTo>
                <a:lnTo>
                  <a:pt x="181" y="50"/>
                </a:lnTo>
                <a:lnTo>
                  <a:pt x="181" y="50"/>
                </a:lnTo>
                <a:lnTo>
                  <a:pt x="184" y="44"/>
                </a:lnTo>
                <a:lnTo>
                  <a:pt x="181" y="44"/>
                </a:lnTo>
                <a:lnTo>
                  <a:pt x="178" y="44"/>
                </a:lnTo>
                <a:lnTo>
                  <a:pt x="175" y="44"/>
                </a:lnTo>
                <a:lnTo>
                  <a:pt x="169" y="38"/>
                </a:lnTo>
                <a:lnTo>
                  <a:pt x="166" y="41"/>
                </a:lnTo>
                <a:lnTo>
                  <a:pt x="163" y="38"/>
                </a:lnTo>
                <a:lnTo>
                  <a:pt x="156" y="34"/>
                </a:lnTo>
                <a:lnTo>
                  <a:pt x="153" y="38"/>
                </a:lnTo>
                <a:lnTo>
                  <a:pt x="153" y="34"/>
                </a:lnTo>
                <a:lnTo>
                  <a:pt x="153" y="31"/>
                </a:lnTo>
                <a:lnTo>
                  <a:pt x="150" y="31"/>
                </a:lnTo>
                <a:lnTo>
                  <a:pt x="150" y="34"/>
                </a:lnTo>
                <a:lnTo>
                  <a:pt x="147" y="31"/>
                </a:lnTo>
                <a:lnTo>
                  <a:pt x="141" y="31"/>
                </a:lnTo>
                <a:lnTo>
                  <a:pt x="134" y="25"/>
                </a:lnTo>
                <a:lnTo>
                  <a:pt x="131" y="22"/>
                </a:lnTo>
                <a:lnTo>
                  <a:pt x="125" y="19"/>
                </a:lnTo>
                <a:lnTo>
                  <a:pt x="116" y="19"/>
                </a:lnTo>
                <a:lnTo>
                  <a:pt x="113" y="16"/>
                </a:lnTo>
                <a:lnTo>
                  <a:pt x="109" y="13"/>
                </a:lnTo>
                <a:lnTo>
                  <a:pt x="106" y="6"/>
                </a:lnTo>
                <a:lnTo>
                  <a:pt x="100" y="9"/>
                </a:lnTo>
                <a:lnTo>
                  <a:pt x="100" y="6"/>
                </a:lnTo>
                <a:lnTo>
                  <a:pt x="84" y="3"/>
                </a:lnTo>
                <a:lnTo>
                  <a:pt x="81" y="6"/>
                </a:lnTo>
                <a:lnTo>
                  <a:pt x="75" y="3"/>
                </a:lnTo>
                <a:lnTo>
                  <a:pt x="72" y="0"/>
                </a:lnTo>
                <a:lnTo>
                  <a:pt x="63" y="0"/>
                </a:lnTo>
                <a:lnTo>
                  <a:pt x="53" y="0"/>
                </a:lnTo>
                <a:lnTo>
                  <a:pt x="50" y="3"/>
                </a:lnTo>
                <a:lnTo>
                  <a:pt x="38" y="3"/>
                </a:lnTo>
                <a:lnTo>
                  <a:pt x="31" y="3"/>
                </a:lnTo>
                <a:lnTo>
                  <a:pt x="28" y="6"/>
                </a:lnTo>
                <a:lnTo>
                  <a:pt x="19" y="9"/>
                </a:lnTo>
                <a:lnTo>
                  <a:pt x="16" y="13"/>
                </a:lnTo>
                <a:lnTo>
                  <a:pt x="13" y="16"/>
                </a:lnTo>
                <a:lnTo>
                  <a:pt x="13" y="19"/>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7" name="Freeform 175">
            <a:extLst>
              <a:ext uri="{FF2B5EF4-FFF2-40B4-BE49-F238E27FC236}">
                <a16:creationId xmlns:a16="http://schemas.microsoft.com/office/drawing/2014/main" id="{F6F02A16-5D98-A7A9-926E-EDF41F9E6314}"/>
              </a:ext>
            </a:extLst>
          </p:cNvPr>
          <p:cNvSpPr>
            <a:spLocks noEditPoints="1"/>
          </p:cNvSpPr>
          <p:nvPr userDrawn="1"/>
        </p:nvSpPr>
        <p:spPr bwMode="auto">
          <a:xfrm>
            <a:off x="8365577" y="7619287"/>
            <a:ext cx="358753" cy="415926"/>
          </a:xfrm>
          <a:custGeom>
            <a:avLst/>
            <a:gdLst>
              <a:gd name="T0" fmla="*/ 106 w 113"/>
              <a:gd name="T1" fmla="*/ 115 h 131"/>
              <a:gd name="T2" fmla="*/ 91 w 113"/>
              <a:gd name="T3" fmla="*/ 131 h 131"/>
              <a:gd name="T4" fmla="*/ 106 w 113"/>
              <a:gd name="T5" fmla="*/ 122 h 131"/>
              <a:gd name="T6" fmla="*/ 97 w 113"/>
              <a:gd name="T7" fmla="*/ 122 h 131"/>
              <a:gd name="T8" fmla="*/ 91 w 113"/>
              <a:gd name="T9" fmla="*/ 131 h 131"/>
              <a:gd name="T10" fmla="*/ 113 w 113"/>
              <a:gd name="T11" fmla="*/ 100 h 131"/>
              <a:gd name="T12" fmla="*/ 106 w 113"/>
              <a:gd name="T13" fmla="*/ 100 h 131"/>
              <a:gd name="T14" fmla="*/ 94 w 113"/>
              <a:gd name="T15" fmla="*/ 90 h 131"/>
              <a:gd name="T16" fmla="*/ 85 w 113"/>
              <a:gd name="T17" fmla="*/ 97 h 131"/>
              <a:gd name="T18" fmla="*/ 85 w 113"/>
              <a:gd name="T19" fmla="*/ 100 h 131"/>
              <a:gd name="T20" fmla="*/ 94 w 113"/>
              <a:gd name="T21" fmla="*/ 90 h 131"/>
              <a:gd name="T22" fmla="*/ 85 w 113"/>
              <a:gd name="T23" fmla="*/ 87 h 131"/>
              <a:gd name="T24" fmla="*/ 81 w 113"/>
              <a:gd name="T25" fmla="*/ 87 h 131"/>
              <a:gd name="T26" fmla="*/ 66 w 113"/>
              <a:gd name="T27" fmla="*/ 72 h 131"/>
              <a:gd name="T28" fmla="*/ 75 w 113"/>
              <a:gd name="T29" fmla="*/ 87 h 131"/>
              <a:gd name="T30" fmla="*/ 66 w 113"/>
              <a:gd name="T31" fmla="*/ 78 h 131"/>
              <a:gd name="T32" fmla="*/ 66 w 113"/>
              <a:gd name="T33" fmla="*/ 72 h 131"/>
              <a:gd name="T34" fmla="*/ 50 w 113"/>
              <a:gd name="T35" fmla="*/ 72 h 131"/>
              <a:gd name="T36" fmla="*/ 53 w 113"/>
              <a:gd name="T37" fmla="*/ 69 h 131"/>
              <a:gd name="T38" fmla="*/ 81 w 113"/>
              <a:gd name="T39" fmla="*/ 65 h 131"/>
              <a:gd name="T40" fmla="*/ 81 w 113"/>
              <a:gd name="T41" fmla="*/ 59 h 131"/>
              <a:gd name="T42" fmla="*/ 63 w 113"/>
              <a:gd name="T43" fmla="*/ 56 h 131"/>
              <a:gd name="T44" fmla="*/ 66 w 113"/>
              <a:gd name="T45" fmla="*/ 65 h 131"/>
              <a:gd name="T46" fmla="*/ 66 w 113"/>
              <a:gd name="T47" fmla="*/ 56 h 131"/>
              <a:gd name="T48" fmla="*/ 63 w 113"/>
              <a:gd name="T49" fmla="*/ 50 h 131"/>
              <a:gd name="T50" fmla="*/ 53 w 113"/>
              <a:gd name="T51" fmla="*/ 40 h 131"/>
              <a:gd name="T52" fmla="*/ 50 w 113"/>
              <a:gd name="T53" fmla="*/ 47 h 131"/>
              <a:gd name="T54" fmla="*/ 50 w 113"/>
              <a:gd name="T55" fmla="*/ 37 h 131"/>
              <a:gd name="T56" fmla="*/ 44 w 113"/>
              <a:gd name="T57" fmla="*/ 34 h 131"/>
              <a:gd name="T58" fmla="*/ 38 w 113"/>
              <a:gd name="T59" fmla="*/ 3 h 131"/>
              <a:gd name="T60" fmla="*/ 41 w 113"/>
              <a:gd name="T61" fmla="*/ 15 h 131"/>
              <a:gd name="T62" fmla="*/ 35 w 113"/>
              <a:gd name="T63" fmla="*/ 22 h 131"/>
              <a:gd name="T64" fmla="*/ 35 w 113"/>
              <a:gd name="T65" fmla="*/ 9 h 131"/>
              <a:gd name="T66" fmla="*/ 25 w 113"/>
              <a:gd name="T67" fmla="*/ 0 h 131"/>
              <a:gd name="T68" fmla="*/ 6 w 113"/>
              <a:gd name="T69" fmla="*/ 3 h 131"/>
              <a:gd name="T70" fmla="*/ 19 w 113"/>
              <a:gd name="T71" fmla="*/ 0 h 131"/>
              <a:gd name="T72" fmla="*/ 19 w 113"/>
              <a:gd name="T73" fmla="*/ 3 h 131"/>
              <a:gd name="T74" fmla="*/ 0 w 113"/>
              <a:gd name="T75" fmla="*/ 3 h 131"/>
              <a:gd name="T76" fmla="*/ 31 w 113"/>
              <a:gd name="T77" fmla="*/ 37 h 131"/>
              <a:gd name="T78" fmla="*/ 28 w 113"/>
              <a:gd name="T79" fmla="*/ 40 h 131"/>
              <a:gd name="T80" fmla="*/ 19 w 113"/>
              <a:gd name="T81" fmla="*/ 59 h 131"/>
              <a:gd name="T82" fmla="*/ 19 w 113"/>
              <a:gd name="T83" fmla="*/ 59 h 131"/>
              <a:gd name="T84" fmla="*/ 19 w 113"/>
              <a:gd name="T85" fmla="*/ 59 h 131"/>
              <a:gd name="T86" fmla="*/ 16 w 113"/>
              <a:gd name="T87" fmla="*/ 59 h 131"/>
              <a:gd name="T88" fmla="*/ 19 w 113"/>
              <a:gd name="T89" fmla="*/ 47 h 131"/>
              <a:gd name="T90" fmla="*/ 13 w 113"/>
              <a:gd name="T91" fmla="*/ 44 h 131"/>
              <a:gd name="T92" fmla="*/ 16 w 113"/>
              <a:gd name="T93" fmla="*/ 50 h 131"/>
              <a:gd name="T94" fmla="*/ 22 w 113"/>
              <a:gd name="T95" fmla="*/ 59 h 131"/>
              <a:gd name="T96" fmla="*/ 19 w 113"/>
              <a:gd name="T97" fmla="*/ 72 h 131"/>
              <a:gd name="T98" fmla="*/ 25 w 113"/>
              <a:gd name="T99" fmla="*/ 6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 h="131">
                <a:moveTo>
                  <a:pt x="106" y="119"/>
                </a:moveTo>
                <a:lnTo>
                  <a:pt x="106" y="119"/>
                </a:lnTo>
                <a:lnTo>
                  <a:pt x="106" y="115"/>
                </a:lnTo>
                <a:lnTo>
                  <a:pt x="106" y="119"/>
                </a:lnTo>
                <a:lnTo>
                  <a:pt x="106" y="119"/>
                </a:lnTo>
                <a:close/>
                <a:moveTo>
                  <a:pt x="91" y="131"/>
                </a:moveTo>
                <a:lnTo>
                  <a:pt x="103" y="131"/>
                </a:lnTo>
                <a:lnTo>
                  <a:pt x="106" y="125"/>
                </a:lnTo>
                <a:lnTo>
                  <a:pt x="106" y="122"/>
                </a:lnTo>
                <a:lnTo>
                  <a:pt x="103" y="122"/>
                </a:lnTo>
                <a:lnTo>
                  <a:pt x="103" y="125"/>
                </a:lnTo>
                <a:lnTo>
                  <a:pt x="97" y="122"/>
                </a:lnTo>
                <a:lnTo>
                  <a:pt x="94" y="125"/>
                </a:lnTo>
                <a:lnTo>
                  <a:pt x="91" y="131"/>
                </a:lnTo>
                <a:lnTo>
                  <a:pt x="91" y="131"/>
                </a:lnTo>
                <a:close/>
                <a:moveTo>
                  <a:pt x="103" y="100"/>
                </a:moveTo>
                <a:lnTo>
                  <a:pt x="106" y="97"/>
                </a:lnTo>
                <a:lnTo>
                  <a:pt x="113" y="100"/>
                </a:lnTo>
                <a:lnTo>
                  <a:pt x="113" y="103"/>
                </a:lnTo>
                <a:lnTo>
                  <a:pt x="110" y="100"/>
                </a:lnTo>
                <a:lnTo>
                  <a:pt x="106" y="100"/>
                </a:lnTo>
                <a:lnTo>
                  <a:pt x="103" y="100"/>
                </a:lnTo>
                <a:lnTo>
                  <a:pt x="103" y="100"/>
                </a:lnTo>
                <a:close/>
                <a:moveTo>
                  <a:pt x="94" y="90"/>
                </a:moveTo>
                <a:lnTo>
                  <a:pt x="88" y="90"/>
                </a:lnTo>
                <a:lnTo>
                  <a:pt x="88" y="94"/>
                </a:lnTo>
                <a:lnTo>
                  <a:pt x="85" y="97"/>
                </a:lnTo>
                <a:lnTo>
                  <a:pt x="85" y="100"/>
                </a:lnTo>
                <a:lnTo>
                  <a:pt x="81" y="100"/>
                </a:lnTo>
                <a:lnTo>
                  <a:pt x="85" y="100"/>
                </a:lnTo>
                <a:lnTo>
                  <a:pt x="94" y="97"/>
                </a:lnTo>
                <a:lnTo>
                  <a:pt x="94" y="90"/>
                </a:lnTo>
                <a:lnTo>
                  <a:pt x="94" y="90"/>
                </a:lnTo>
                <a:lnTo>
                  <a:pt x="94" y="90"/>
                </a:lnTo>
                <a:close/>
                <a:moveTo>
                  <a:pt x="81" y="87"/>
                </a:moveTo>
                <a:lnTo>
                  <a:pt x="85" y="87"/>
                </a:lnTo>
                <a:lnTo>
                  <a:pt x="88" y="90"/>
                </a:lnTo>
                <a:lnTo>
                  <a:pt x="85" y="90"/>
                </a:lnTo>
                <a:lnTo>
                  <a:pt x="81" y="87"/>
                </a:lnTo>
                <a:lnTo>
                  <a:pt x="81" y="87"/>
                </a:lnTo>
                <a:lnTo>
                  <a:pt x="81" y="87"/>
                </a:lnTo>
                <a:close/>
                <a:moveTo>
                  <a:pt x="66" y="72"/>
                </a:moveTo>
                <a:lnTo>
                  <a:pt x="69" y="78"/>
                </a:lnTo>
                <a:lnTo>
                  <a:pt x="72" y="81"/>
                </a:lnTo>
                <a:lnTo>
                  <a:pt x="75" y="87"/>
                </a:lnTo>
                <a:lnTo>
                  <a:pt x="72" y="87"/>
                </a:lnTo>
                <a:lnTo>
                  <a:pt x="69" y="84"/>
                </a:lnTo>
                <a:lnTo>
                  <a:pt x="66" y="78"/>
                </a:lnTo>
                <a:lnTo>
                  <a:pt x="69" y="78"/>
                </a:lnTo>
                <a:lnTo>
                  <a:pt x="66" y="72"/>
                </a:lnTo>
                <a:lnTo>
                  <a:pt x="66" y="72"/>
                </a:lnTo>
                <a:lnTo>
                  <a:pt x="66" y="72"/>
                </a:lnTo>
                <a:close/>
                <a:moveTo>
                  <a:pt x="53" y="69"/>
                </a:moveTo>
                <a:lnTo>
                  <a:pt x="50" y="72"/>
                </a:lnTo>
                <a:lnTo>
                  <a:pt x="53" y="72"/>
                </a:lnTo>
                <a:lnTo>
                  <a:pt x="53" y="69"/>
                </a:lnTo>
                <a:lnTo>
                  <a:pt x="53" y="69"/>
                </a:lnTo>
                <a:close/>
                <a:moveTo>
                  <a:pt x="81" y="59"/>
                </a:moveTo>
                <a:lnTo>
                  <a:pt x="81" y="65"/>
                </a:lnTo>
                <a:lnTo>
                  <a:pt x="81" y="65"/>
                </a:lnTo>
                <a:lnTo>
                  <a:pt x="85" y="62"/>
                </a:lnTo>
                <a:lnTo>
                  <a:pt x="81" y="59"/>
                </a:lnTo>
                <a:lnTo>
                  <a:pt x="81" y="59"/>
                </a:lnTo>
                <a:close/>
                <a:moveTo>
                  <a:pt x="63" y="50"/>
                </a:moveTo>
                <a:lnTo>
                  <a:pt x="60" y="53"/>
                </a:lnTo>
                <a:lnTo>
                  <a:pt x="63" y="56"/>
                </a:lnTo>
                <a:lnTo>
                  <a:pt x="66" y="62"/>
                </a:lnTo>
                <a:lnTo>
                  <a:pt x="63" y="62"/>
                </a:lnTo>
                <a:lnTo>
                  <a:pt x="66" y="65"/>
                </a:lnTo>
                <a:lnTo>
                  <a:pt x="69" y="65"/>
                </a:lnTo>
                <a:lnTo>
                  <a:pt x="69" y="62"/>
                </a:lnTo>
                <a:lnTo>
                  <a:pt x="66" y="56"/>
                </a:lnTo>
                <a:lnTo>
                  <a:pt x="66" y="53"/>
                </a:lnTo>
                <a:lnTo>
                  <a:pt x="63" y="50"/>
                </a:lnTo>
                <a:lnTo>
                  <a:pt x="63" y="50"/>
                </a:lnTo>
                <a:close/>
                <a:moveTo>
                  <a:pt x="44" y="34"/>
                </a:moveTo>
                <a:lnTo>
                  <a:pt x="50" y="37"/>
                </a:lnTo>
                <a:lnTo>
                  <a:pt x="53" y="40"/>
                </a:lnTo>
                <a:lnTo>
                  <a:pt x="53" y="47"/>
                </a:lnTo>
                <a:lnTo>
                  <a:pt x="50" y="47"/>
                </a:lnTo>
                <a:lnTo>
                  <a:pt x="50" y="47"/>
                </a:lnTo>
                <a:lnTo>
                  <a:pt x="50" y="44"/>
                </a:lnTo>
                <a:lnTo>
                  <a:pt x="53" y="40"/>
                </a:lnTo>
                <a:lnTo>
                  <a:pt x="50" y="37"/>
                </a:lnTo>
                <a:lnTo>
                  <a:pt x="44" y="37"/>
                </a:lnTo>
                <a:lnTo>
                  <a:pt x="44" y="34"/>
                </a:lnTo>
                <a:lnTo>
                  <a:pt x="44" y="34"/>
                </a:lnTo>
                <a:close/>
                <a:moveTo>
                  <a:pt x="25" y="0"/>
                </a:moveTo>
                <a:lnTo>
                  <a:pt x="31" y="0"/>
                </a:lnTo>
                <a:lnTo>
                  <a:pt x="38" y="3"/>
                </a:lnTo>
                <a:lnTo>
                  <a:pt x="38" y="6"/>
                </a:lnTo>
                <a:lnTo>
                  <a:pt x="41" y="9"/>
                </a:lnTo>
                <a:lnTo>
                  <a:pt x="41" y="15"/>
                </a:lnTo>
                <a:lnTo>
                  <a:pt x="38" y="15"/>
                </a:lnTo>
                <a:lnTo>
                  <a:pt x="38" y="19"/>
                </a:lnTo>
                <a:lnTo>
                  <a:pt x="35" y="22"/>
                </a:lnTo>
                <a:lnTo>
                  <a:pt x="35" y="15"/>
                </a:lnTo>
                <a:lnTo>
                  <a:pt x="35" y="12"/>
                </a:lnTo>
                <a:lnTo>
                  <a:pt x="35" y="9"/>
                </a:lnTo>
                <a:lnTo>
                  <a:pt x="31" y="6"/>
                </a:lnTo>
                <a:lnTo>
                  <a:pt x="31" y="0"/>
                </a:lnTo>
                <a:lnTo>
                  <a:pt x="25" y="0"/>
                </a:lnTo>
                <a:lnTo>
                  <a:pt x="25" y="0"/>
                </a:lnTo>
                <a:close/>
                <a:moveTo>
                  <a:pt x="0" y="3"/>
                </a:moveTo>
                <a:lnTo>
                  <a:pt x="6" y="3"/>
                </a:lnTo>
                <a:lnTo>
                  <a:pt x="10" y="6"/>
                </a:lnTo>
                <a:lnTo>
                  <a:pt x="16" y="0"/>
                </a:lnTo>
                <a:lnTo>
                  <a:pt x="19" y="0"/>
                </a:lnTo>
                <a:lnTo>
                  <a:pt x="25" y="6"/>
                </a:lnTo>
                <a:lnTo>
                  <a:pt x="22" y="6"/>
                </a:lnTo>
                <a:lnTo>
                  <a:pt x="19" y="3"/>
                </a:lnTo>
                <a:lnTo>
                  <a:pt x="10" y="9"/>
                </a:lnTo>
                <a:lnTo>
                  <a:pt x="6" y="9"/>
                </a:lnTo>
                <a:lnTo>
                  <a:pt x="0" y="3"/>
                </a:lnTo>
                <a:lnTo>
                  <a:pt x="0" y="3"/>
                </a:lnTo>
                <a:close/>
                <a:moveTo>
                  <a:pt x="25" y="40"/>
                </a:moveTo>
                <a:lnTo>
                  <a:pt x="31" y="37"/>
                </a:lnTo>
                <a:lnTo>
                  <a:pt x="35" y="37"/>
                </a:lnTo>
                <a:lnTo>
                  <a:pt x="35" y="40"/>
                </a:lnTo>
                <a:lnTo>
                  <a:pt x="28" y="40"/>
                </a:lnTo>
                <a:lnTo>
                  <a:pt x="25" y="40"/>
                </a:lnTo>
                <a:lnTo>
                  <a:pt x="25" y="40"/>
                </a:lnTo>
                <a:close/>
                <a:moveTo>
                  <a:pt x="19" y="59"/>
                </a:moveTo>
                <a:lnTo>
                  <a:pt x="19" y="56"/>
                </a:lnTo>
                <a:lnTo>
                  <a:pt x="22" y="56"/>
                </a:lnTo>
                <a:lnTo>
                  <a:pt x="19" y="59"/>
                </a:lnTo>
                <a:lnTo>
                  <a:pt x="19" y="59"/>
                </a:lnTo>
                <a:close/>
                <a:moveTo>
                  <a:pt x="16" y="59"/>
                </a:moveTo>
                <a:lnTo>
                  <a:pt x="19" y="59"/>
                </a:lnTo>
                <a:lnTo>
                  <a:pt x="19" y="62"/>
                </a:lnTo>
                <a:lnTo>
                  <a:pt x="16" y="59"/>
                </a:lnTo>
                <a:lnTo>
                  <a:pt x="16" y="59"/>
                </a:lnTo>
                <a:close/>
                <a:moveTo>
                  <a:pt x="16" y="56"/>
                </a:moveTo>
                <a:lnTo>
                  <a:pt x="22" y="53"/>
                </a:lnTo>
                <a:lnTo>
                  <a:pt x="19" y="47"/>
                </a:lnTo>
                <a:lnTo>
                  <a:pt x="19" y="40"/>
                </a:lnTo>
                <a:lnTo>
                  <a:pt x="16" y="40"/>
                </a:lnTo>
                <a:lnTo>
                  <a:pt x="13" y="44"/>
                </a:lnTo>
                <a:lnTo>
                  <a:pt x="10" y="50"/>
                </a:lnTo>
                <a:lnTo>
                  <a:pt x="13" y="53"/>
                </a:lnTo>
                <a:lnTo>
                  <a:pt x="16" y="50"/>
                </a:lnTo>
                <a:lnTo>
                  <a:pt x="16" y="56"/>
                </a:lnTo>
                <a:lnTo>
                  <a:pt x="16" y="56"/>
                </a:lnTo>
                <a:close/>
                <a:moveTo>
                  <a:pt x="22" y="59"/>
                </a:moveTo>
                <a:lnTo>
                  <a:pt x="19" y="62"/>
                </a:lnTo>
                <a:lnTo>
                  <a:pt x="19" y="65"/>
                </a:lnTo>
                <a:lnTo>
                  <a:pt x="19" y="72"/>
                </a:lnTo>
                <a:lnTo>
                  <a:pt x="22" y="72"/>
                </a:lnTo>
                <a:lnTo>
                  <a:pt x="25" y="65"/>
                </a:lnTo>
                <a:lnTo>
                  <a:pt x="25" y="65"/>
                </a:lnTo>
                <a:lnTo>
                  <a:pt x="25" y="62"/>
                </a:lnTo>
                <a:lnTo>
                  <a:pt x="22" y="59"/>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8" name="Freeform 176">
            <a:extLst>
              <a:ext uri="{FF2B5EF4-FFF2-40B4-BE49-F238E27FC236}">
                <a16:creationId xmlns:a16="http://schemas.microsoft.com/office/drawing/2014/main" id="{2B5C1226-5034-C0ED-C1B7-C042AA27001C}"/>
              </a:ext>
            </a:extLst>
          </p:cNvPr>
          <p:cNvSpPr>
            <a:spLocks noEditPoints="1"/>
          </p:cNvSpPr>
          <p:nvPr userDrawn="1"/>
        </p:nvSpPr>
        <p:spPr bwMode="auto">
          <a:xfrm>
            <a:off x="5774949" y="5660313"/>
            <a:ext cx="3524021" cy="2076450"/>
          </a:xfrm>
          <a:custGeom>
            <a:avLst/>
            <a:gdLst>
              <a:gd name="T0" fmla="*/ 206 w 355"/>
              <a:gd name="T1" fmla="*/ 20 h 209"/>
              <a:gd name="T2" fmla="*/ 250 w 355"/>
              <a:gd name="T3" fmla="*/ 40 h 209"/>
              <a:gd name="T4" fmla="*/ 297 w 355"/>
              <a:gd name="T5" fmla="*/ 63 h 209"/>
              <a:gd name="T6" fmla="*/ 334 w 355"/>
              <a:gd name="T7" fmla="*/ 52 h 209"/>
              <a:gd name="T8" fmla="*/ 351 w 355"/>
              <a:gd name="T9" fmla="*/ 43 h 209"/>
              <a:gd name="T10" fmla="*/ 354 w 355"/>
              <a:gd name="T11" fmla="*/ 62 h 209"/>
              <a:gd name="T12" fmla="*/ 342 w 355"/>
              <a:gd name="T13" fmla="*/ 65 h 209"/>
              <a:gd name="T14" fmla="*/ 332 w 355"/>
              <a:gd name="T15" fmla="*/ 71 h 209"/>
              <a:gd name="T16" fmla="*/ 330 w 355"/>
              <a:gd name="T17" fmla="*/ 83 h 209"/>
              <a:gd name="T18" fmla="*/ 323 w 355"/>
              <a:gd name="T19" fmla="*/ 89 h 209"/>
              <a:gd name="T20" fmla="*/ 305 w 355"/>
              <a:gd name="T21" fmla="*/ 96 h 209"/>
              <a:gd name="T22" fmla="*/ 298 w 355"/>
              <a:gd name="T23" fmla="*/ 107 h 209"/>
              <a:gd name="T24" fmla="*/ 296 w 355"/>
              <a:gd name="T25" fmla="*/ 110 h 209"/>
              <a:gd name="T26" fmla="*/ 290 w 355"/>
              <a:gd name="T27" fmla="*/ 117 h 209"/>
              <a:gd name="T28" fmla="*/ 289 w 355"/>
              <a:gd name="T29" fmla="*/ 105 h 209"/>
              <a:gd name="T30" fmla="*/ 287 w 355"/>
              <a:gd name="T31" fmla="*/ 114 h 209"/>
              <a:gd name="T32" fmla="*/ 287 w 355"/>
              <a:gd name="T33" fmla="*/ 118 h 209"/>
              <a:gd name="T34" fmla="*/ 284 w 355"/>
              <a:gd name="T35" fmla="*/ 122 h 209"/>
              <a:gd name="T36" fmla="*/ 285 w 355"/>
              <a:gd name="T37" fmla="*/ 130 h 209"/>
              <a:gd name="T38" fmla="*/ 289 w 355"/>
              <a:gd name="T39" fmla="*/ 134 h 209"/>
              <a:gd name="T40" fmla="*/ 284 w 355"/>
              <a:gd name="T41" fmla="*/ 138 h 209"/>
              <a:gd name="T42" fmla="*/ 273 w 355"/>
              <a:gd name="T43" fmla="*/ 147 h 209"/>
              <a:gd name="T44" fmla="*/ 258 w 355"/>
              <a:gd name="T45" fmla="*/ 156 h 209"/>
              <a:gd name="T46" fmla="*/ 249 w 355"/>
              <a:gd name="T47" fmla="*/ 173 h 209"/>
              <a:gd name="T48" fmla="*/ 254 w 355"/>
              <a:gd name="T49" fmla="*/ 200 h 209"/>
              <a:gd name="T50" fmla="*/ 244 w 355"/>
              <a:gd name="T51" fmla="*/ 204 h 209"/>
              <a:gd name="T52" fmla="*/ 239 w 355"/>
              <a:gd name="T53" fmla="*/ 195 h 209"/>
              <a:gd name="T54" fmla="*/ 238 w 355"/>
              <a:gd name="T55" fmla="*/ 181 h 209"/>
              <a:gd name="T56" fmla="*/ 227 w 355"/>
              <a:gd name="T57" fmla="*/ 176 h 209"/>
              <a:gd name="T58" fmla="*/ 221 w 355"/>
              <a:gd name="T59" fmla="*/ 172 h 209"/>
              <a:gd name="T60" fmla="*/ 210 w 355"/>
              <a:gd name="T61" fmla="*/ 171 h 209"/>
              <a:gd name="T62" fmla="*/ 196 w 355"/>
              <a:gd name="T63" fmla="*/ 175 h 209"/>
              <a:gd name="T64" fmla="*/ 197 w 355"/>
              <a:gd name="T65" fmla="*/ 181 h 209"/>
              <a:gd name="T66" fmla="*/ 187 w 355"/>
              <a:gd name="T67" fmla="*/ 179 h 209"/>
              <a:gd name="T68" fmla="*/ 177 w 355"/>
              <a:gd name="T69" fmla="*/ 176 h 209"/>
              <a:gd name="T70" fmla="*/ 164 w 355"/>
              <a:gd name="T71" fmla="*/ 177 h 209"/>
              <a:gd name="T72" fmla="*/ 153 w 355"/>
              <a:gd name="T73" fmla="*/ 184 h 209"/>
              <a:gd name="T74" fmla="*/ 146 w 355"/>
              <a:gd name="T75" fmla="*/ 202 h 209"/>
              <a:gd name="T76" fmla="*/ 135 w 355"/>
              <a:gd name="T77" fmla="*/ 193 h 209"/>
              <a:gd name="T78" fmla="*/ 128 w 355"/>
              <a:gd name="T79" fmla="*/ 176 h 209"/>
              <a:gd name="T80" fmla="*/ 116 w 355"/>
              <a:gd name="T81" fmla="*/ 177 h 209"/>
              <a:gd name="T82" fmla="*/ 108 w 355"/>
              <a:gd name="T83" fmla="*/ 176 h 209"/>
              <a:gd name="T84" fmla="*/ 103 w 355"/>
              <a:gd name="T85" fmla="*/ 168 h 209"/>
              <a:gd name="T86" fmla="*/ 95 w 355"/>
              <a:gd name="T87" fmla="*/ 158 h 209"/>
              <a:gd name="T88" fmla="*/ 25 w 355"/>
              <a:gd name="T89" fmla="*/ 138 h 209"/>
              <a:gd name="T90" fmla="*/ 13 w 355"/>
              <a:gd name="T91" fmla="*/ 129 h 209"/>
              <a:gd name="T92" fmla="*/ 8 w 355"/>
              <a:gd name="T93" fmla="*/ 112 h 209"/>
              <a:gd name="T94" fmla="*/ 8 w 355"/>
              <a:gd name="T95" fmla="*/ 104 h 209"/>
              <a:gd name="T96" fmla="*/ 6 w 355"/>
              <a:gd name="T97" fmla="*/ 103 h 209"/>
              <a:gd name="T98" fmla="*/ 1 w 355"/>
              <a:gd name="T99" fmla="*/ 82 h 209"/>
              <a:gd name="T100" fmla="*/ 4 w 355"/>
              <a:gd name="T101" fmla="*/ 60 h 209"/>
              <a:gd name="T102" fmla="*/ 15 w 355"/>
              <a:gd name="T103" fmla="*/ 30 h 209"/>
              <a:gd name="T104" fmla="*/ 16 w 355"/>
              <a:gd name="T105" fmla="*/ 25 h 209"/>
              <a:gd name="T106" fmla="*/ 18 w 355"/>
              <a:gd name="T107" fmla="*/ 11 h 209"/>
              <a:gd name="T108" fmla="*/ 26 w 355"/>
              <a:gd name="T109" fmla="*/ 12 h 209"/>
              <a:gd name="T110" fmla="*/ 27 w 355"/>
              <a:gd name="T111" fmla="*/ 18 h 209"/>
              <a:gd name="T112" fmla="*/ 32 w 355"/>
              <a:gd name="T113" fmla="*/ 4 h 209"/>
              <a:gd name="T114" fmla="*/ 308 w 355"/>
              <a:gd name="T115" fmla="*/ 94 h 209"/>
              <a:gd name="T116" fmla="*/ 315 w 355"/>
              <a:gd name="T117" fmla="*/ 91 h 209"/>
              <a:gd name="T118" fmla="*/ 31 w 355"/>
              <a:gd name="T119" fmla="*/ 6 h 209"/>
              <a:gd name="T120" fmla="*/ 148 w 355"/>
              <a:gd name="T121" fmla="*/ 193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5" h="209">
                <a:moveTo>
                  <a:pt x="31" y="0"/>
                </a:moveTo>
                <a:cubicBezTo>
                  <a:pt x="194" y="16"/>
                  <a:pt x="194" y="16"/>
                  <a:pt x="194" y="16"/>
                </a:cubicBezTo>
                <a:cubicBezTo>
                  <a:pt x="195" y="16"/>
                  <a:pt x="195" y="16"/>
                  <a:pt x="195" y="16"/>
                </a:cubicBezTo>
                <a:cubicBezTo>
                  <a:pt x="196" y="16"/>
                  <a:pt x="196" y="16"/>
                  <a:pt x="196" y="16"/>
                </a:cubicBezTo>
                <a:cubicBezTo>
                  <a:pt x="198" y="17"/>
                  <a:pt x="198" y="17"/>
                  <a:pt x="198" y="17"/>
                </a:cubicBezTo>
                <a:cubicBezTo>
                  <a:pt x="198" y="18"/>
                  <a:pt x="198" y="18"/>
                  <a:pt x="198" y="18"/>
                </a:cubicBezTo>
                <a:cubicBezTo>
                  <a:pt x="199" y="18"/>
                  <a:pt x="199" y="18"/>
                  <a:pt x="199" y="18"/>
                </a:cubicBezTo>
                <a:cubicBezTo>
                  <a:pt x="199" y="19"/>
                  <a:pt x="199" y="19"/>
                  <a:pt x="199" y="19"/>
                </a:cubicBezTo>
                <a:cubicBezTo>
                  <a:pt x="200" y="19"/>
                  <a:pt x="200" y="19"/>
                  <a:pt x="200" y="19"/>
                </a:cubicBezTo>
                <a:cubicBezTo>
                  <a:pt x="200" y="19"/>
                  <a:pt x="200" y="19"/>
                  <a:pt x="200" y="19"/>
                </a:cubicBezTo>
                <a:cubicBezTo>
                  <a:pt x="202" y="20"/>
                  <a:pt x="202" y="20"/>
                  <a:pt x="202" y="20"/>
                </a:cubicBezTo>
                <a:cubicBezTo>
                  <a:pt x="202" y="21"/>
                  <a:pt x="202" y="21"/>
                  <a:pt x="202" y="21"/>
                </a:cubicBezTo>
                <a:cubicBezTo>
                  <a:pt x="203" y="20"/>
                  <a:pt x="203" y="20"/>
                  <a:pt x="203" y="20"/>
                </a:cubicBezTo>
                <a:cubicBezTo>
                  <a:pt x="204" y="20"/>
                  <a:pt x="204" y="20"/>
                  <a:pt x="204" y="20"/>
                </a:cubicBezTo>
                <a:cubicBezTo>
                  <a:pt x="205" y="20"/>
                  <a:pt x="205" y="20"/>
                  <a:pt x="205" y="20"/>
                </a:cubicBezTo>
                <a:cubicBezTo>
                  <a:pt x="206" y="20"/>
                  <a:pt x="206" y="20"/>
                  <a:pt x="206" y="20"/>
                </a:cubicBezTo>
                <a:cubicBezTo>
                  <a:pt x="208" y="21"/>
                  <a:pt x="208" y="21"/>
                  <a:pt x="208" y="21"/>
                </a:cubicBezTo>
                <a:cubicBezTo>
                  <a:pt x="209" y="21"/>
                  <a:pt x="209" y="21"/>
                  <a:pt x="209" y="21"/>
                </a:cubicBezTo>
                <a:cubicBezTo>
                  <a:pt x="209" y="23"/>
                  <a:pt x="209" y="23"/>
                  <a:pt x="209" y="23"/>
                </a:cubicBezTo>
                <a:cubicBezTo>
                  <a:pt x="211" y="24"/>
                  <a:pt x="211" y="24"/>
                  <a:pt x="211" y="24"/>
                </a:cubicBezTo>
                <a:cubicBezTo>
                  <a:pt x="213" y="24"/>
                  <a:pt x="213" y="24"/>
                  <a:pt x="213" y="24"/>
                </a:cubicBezTo>
                <a:cubicBezTo>
                  <a:pt x="213" y="25"/>
                  <a:pt x="213" y="25"/>
                  <a:pt x="213" y="25"/>
                </a:cubicBezTo>
                <a:cubicBezTo>
                  <a:pt x="214" y="25"/>
                  <a:pt x="214" y="25"/>
                  <a:pt x="214" y="25"/>
                </a:cubicBezTo>
                <a:cubicBezTo>
                  <a:pt x="216" y="25"/>
                  <a:pt x="216" y="25"/>
                  <a:pt x="216" y="25"/>
                </a:cubicBezTo>
                <a:cubicBezTo>
                  <a:pt x="217" y="25"/>
                  <a:pt x="217" y="25"/>
                  <a:pt x="217" y="25"/>
                </a:cubicBezTo>
                <a:cubicBezTo>
                  <a:pt x="218" y="25"/>
                  <a:pt x="218" y="25"/>
                  <a:pt x="218" y="25"/>
                </a:cubicBezTo>
                <a:cubicBezTo>
                  <a:pt x="219" y="26"/>
                  <a:pt x="219" y="26"/>
                  <a:pt x="219" y="26"/>
                </a:cubicBezTo>
                <a:cubicBezTo>
                  <a:pt x="222" y="26"/>
                  <a:pt x="222" y="26"/>
                  <a:pt x="222" y="26"/>
                </a:cubicBezTo>
                <a:cubicBezTo>
                  <a:pt x="222" y="27"/>
                  <a:pt x="222" y="27"/>
                  <a:pt x="222" y="27"/>
                </a:cubicBezTo>
                <a:cubicBezTo>
                  <a:pt x="224" y="27"/>
                  <a:pt x="224" y="27"/>
                  <a:pt x="224" y="27"/>
                </a:cubicBezTo>
                <a:cubicBezTo>
                  <a:pt x="225" y="28"/>
                  <a:pt x="225" y="28"/>
                  <a:pt x="225" y="28"/>
                </a:cubicBezTo>
                <a:cubicBezTo>
                  <a:pt x="250" y="40"/>
                  <a:pt x="250" y="40"/>
                  <a:pt x="250" y="40"/>
                </a:cubicBezTo>
                <a:cubicBezTo>
                  <a:pt x="251" y="42"/>
                  <a:pt x="251" y="42"/>
                  <a:pt x="251" y="42"/>
                </a:cubicBezTo>
                <a:cubicBezTo>
                  <a:pt x="255" y="45"/>
                  <a:pt x="255" y="45"/>
                  <a:pt x="255" y="45"/>
                </a:cubicBezTo>
                <a:cubicBezTo>
                  <a:pt x="259" y="64"/>
                  <a:pt x="259" y="64"/>
                  <a:pt x="259" y="64"/>
                </a:cubicBezTo>
                <a:cubicBezTo>
                  <a:pt x="259" y="73"/>
                  <a:pt x="259" y="73"/>
                  <a:pt x="259" y="73"/>
                </a:cubicBezTo>
                <a:cubicBezTo>
                  <a:pt x="258" y="74"/>
                  <a:pt x="258" y="74"/>
                  <a:pt x="258" y="74"/>
                </a:cubicBezTo>
                <a:cubicBezTo>
                  <a:pt x="257" y="75"/>
                  <a:pt x="257" y="75"/>
                  <a:pt x="257" y="75"/>
                </a:cubicBezTo>
                <a:cubicBezTo>
                  <a:pt x="256" y="77"/>
                  <a:pt x="256" y="77"/>
                  <a:pt x="256" y="77"/>
                </a:cubicBezTo>
                <a:cubicBezTo>
                  <a:pt x="254" y="78"/>
                  <a:pt x="254" y="78"/>
                  <a:pt x="254" y="78"/>
                </a:cubicBezTo>
                <a:cubicBezTo>
                  <a:pt x="253" y="79"/>
                  <a:pt x="253" y="79"/>
                  <a:pt x="253" y="79"/>
                </a:cubicBezTo>
                <a:cubicBezTo>
                  <a:pt x="254" y="81"/>
                  <a:pt x="254" y="81"/>
                  <a:pt x="254" y="81"/>
                </a:cubicBezTo>
                <a:cubicBezTo>
                  <a:pt x="275" y="76"/>
                  <a:pt x="275" y="76"/>
                  <a:pt x="275" y="76"/>
                </a:cubicBezTo>
                <a:cubicBezTo>
                  <a:pt x="278" y="75"/>
                  <a:pt x="278" y="75"/>
                  <a:pt x="278" y="75"/>
                </a:cubicBezTo>
                <a:cubicBezTo>
                  <a:pt x="279" y="72"/>
                  <a:pt x="279" y="72"/>
                  <a:pt x="279" y="72"/>
                </a:cubicBezTo>
                <a:cubicBezTo>
                  <a:pt x="291" y="68"/>
                  <a:pt x="291" y="68"/>
                  <a:pt x="291" y="68"/>
                </a:cubicBezTo>
                <a:cubicBezTo>
                  <a:pt x="296" y="64"/>
                  <a:pt x="296" y="64"/>
                  <a:pt x="296" y="64"/>
                </a:cubicBezTo>
                <a:cubicBezTo>
                  <a:pt x="297" y="63"/>
                  <a:pt x="297" y="63"/>
                  <a:pt x="297" y="63"/>
                </a:cubicBezTo>
                <a:cubicBezTo>
                  <a:pt x="299" y="63"/>
                  <a:pt x="299" y="63"/>
                  <a:pt x="299" y="63"/>
                </a:cubicBezTo>
                <a:cubicBezTo>
                  <a:pt x="301" y="60"/>
                  <a:pt x="301" y="60"/>
                  <a:pt x="301" y="60"/>
                </a:cubicBezTo>
                <a:cubicBezTo>
                  <a:pt x="303" y="59"/>
                  <a:pt x="303" y="59"/>
                  <a:pt x="303" y="59"/>
                </a:cubicBezTo>
                <a:cubicBezTo>
                  <a:pt x="304" y="59"/>
                  <a:pt x="304" y="59"/>
                  <a:pt x="304" y="59"/>
                </a:cubicBezTo>
                <a:cubicBezTo>
                  <a:pt x="305" y="58"/>
                  <a:pt x="305" y="58"/>
                  <a:pt x="305" y="58"/>
                </a:cubicBezTo>
                <a:cubicBezTo>
                  <a:pt x="308" y="57"/>
                  <a:pt x="308" y="57"/>
                  <a:pt x="308" y="57"/>
                </a:cubicBezTo>
                <a:cubicBezTo>
                  <a:pt x="326" y="58"/>
                  <a:pt x="326" y="58"/>
                  <a:pt x="326" y="58"/>
                </a:cubicBezTo>
                <a:cubicBezTo>
                  <a:pt x="327" y="56"/>
                  <a:pt x="327" y="56"/>
                  <a:pt x="327" y="56"/>
                </a:cubicBezTo>
                <a:cubicBezTo>
                  <a:pt x="328" y="56"/>
                  <a:pt x="328" y="56"/>
                  <a:pt x="328" y="56"/>
                </a:cubicBezTo>
                <a:cubicBezTo>
                  <a:pt x="328" y="56"/>
                  <a:pt x="328" y="56"/>
                  <a:pt x="328" y="56"/>
                </a:cubicBezTo>
                <a:cubicBezTo>
                  <a:pt x="329" y="56"/>
                  <a:pt x="329" y="56"/>
                  <a:pt x="329" y="56"/>
                </a:cubicBezTo>
                <a:cubicBezTo>
                  <a:pt x="330" y="56"/>
                  <a:pt x="330" y="56"/>
                  <a:pt x="330" y="56"/>
                </a:cubicBezTo>
                <a:cubicBezTo>
                  <a:pt x="331" y="55"/>
                  <a:pt x="331" y="55"/>
                  <a:pt x="331" y="55"/>
                </a:cubicBezTo>
                <a:cubicBezTo>
                  <a:pt x="331" y="55"/>
                  <a:pt x="331" y="55"/>
                  <a:pt x="331" y="55"/>
                </a:cubicBezTo>
                <a:cubicBezTo>
                  <a:pt x="333" y="52"/>
                  <a:pt x="333" y="52"/>
                  <a:pt x="333" y="52"/>
                </a:cubicBezTo>
                <a:cubicBezTo>
                  <a:pt x="334" y="52"/>
                  <a:pt x="334" y="52"/>
                  <a:pt x="334" y="52"/>
                </a:cubicBezTo>
                <a:cubicBezTo>
                  <a:pt x="336" y="50"/>
                  <a:pt x="336" y="50"/>
                  <a:pt x="336" y="50"/>
                </a:cubicBezTo>
                <a:cubicBezTo>
                  <a:pt x="336" y="49"/>
                  <a:pt x="336" y="49"/>
                  <a:pt x="336" y="49"/>
                </a:cubicBezTo>
                <a:cubicBezTo>
                  <a:pt x="337" y="47"/>
                  <a:pt x="337" y="47"/>
                  <a:pt x="337" y="47"/>
                </a:cubicBezTo>
                <a:cubicBezTo>
                  <a:pt x="338" y="46"/>
                  <a:pt x="338" y="46"/>
                  <a:pt x="338" y="46"/>
                </a:cubicBezTo>
                <a:cubicBezTo>
                  <a:pt x="338" y="45"/>
                  <a:pt x="338" y="45"/>
                  <a:pt x="338" y="45"/>
                </a:cubicBezTo>
                <a:cubicBezTo>
                  <a:pt x="339" y="44"/>
                  <a:pt x="339" y="44"/>
                  <a:pt x="339" y="44"/>
                </a:cubicBezTo>
                <a:cubicBezTo>
                  <a:pt x="341" y="41"/>
                  <a:pt x="341" y="41"/>
                  <a:pt x="341" y="41"/>
                </a:cubicBezTo>
                <a:cubicBezTo>
                  <a:pt x="342" y="40"/>
                  <a:pt x="342" y="40"/>
                  <a:pt x="342" y="40"/>
                </a:cubicBezTo>
                <a:cubicBezTo>
                  <a:pt x="343" y="39"/>
                  <a:pt x="343" y="39"/>
                  <a:pt x="343" y="39"/>
                </a:cubicBezTo>
                <a:cubicBezTo>
                  <a:pt x="343" y="39"/>
                  <a:pt x="343" y="39"/>
                  <a:pt x="343" y="39"/>
                </a:cubicBezTo>
                <a:cubicBezTo>
                  <a:pt x="344" y="40"/>
                  <a:pt x="344" y="40"/>
                  <a:pt x="344" y="40"/>
                </a:cubicBezTo>
                <a:cubicBezTo>
                  <a:pt x="345" y="41"/>
                  <a:pt x="345" y="41"/>
                  <a:pt x="345" y="41"/>
                </a:cubicBezTo>
                <a:cubicBezTo>
                  <a:pt x="346" y="40"/>
                  <a:pt x="346" y="40"/>
                  <a:pt x="346" y="40"/>
                </a:cubicBezTo>
                <a:cubicBezTo>
                  <a:pt x="348" y="41"/>
                  <a:pt x="348" y="41"/>
                  <a:pt x="348" y="41"/>
                </a:cubicBezTo>
                <a:cubicBezTo>
                  <a:pt x="348" y="40"/>
                  <a:pt x="348" y="40"/>
                  <a:pt x="348" y="40"/>
                </a:cubicBezTo>
                <a:cubicBezTo>
                  <a:pt x="351" y="43"/>
                  <a:pt x="351" y="43"/>
                  <a:pt x="351" y="43"/>
                </a:cubicBezTo>
                <a:cubicBezTo>
                  <a:pt x="351" y="45"/>
                  <a:pt x="351" y="45"/>
                  <a:pt x="351" y="45"/>
                </a:cubicBezTo>
                <a:cubicBezTo>
                  <a:pt x="350" y="53"/>
                  <a:pt x="350" y="53"/>
                  <a:pt x="350" y="53"/>
                </a:cubicBezTo>
                <a:cubicBezTo>
                  <a:pt x="349" y="53"/>
                  <a:pt x="349" y="53"/>
                  <a:pt x="349" y="53"/>
                </a:cubicBezTo>
                <a:cubicBezTo>
                  <a:pt x="350" y="54"/>
                  <a:pt x="350" y="54"/>
                  <a:pt x="350" y="54"/>
                </a:cubicBezTo>
                <a:cubicBezTo>
                  <a:pt x="350" y="54"/>
                  <a:pt x="350" y="54"/>
                  <a:pt x="350" y="54"/>
                </a:cubicBezTo>
                <a:cubicBezTo>
                  <a:pt x="351" y="55"/>
                  <a:pt x="351" y="55"/>
                  <a:pt x="351" y="55"/>
                </a:cubicBezTo>
                <a:cubicBezTo>
                  <a:pt x="351" y="56"/>
                  <a:pt x="351" y="56"/>
                  <a:pt x="351" y="56"/>
                </a:cubicBezTo>
                <a:cubicBezTo>
                  <a:pt x="351" y="57"/>
                  <a:pt x="351" y="57"/>
                  <a:pt x="351" y="57"/>
                </a:cubicBezTo>
                <a:cubicBezTo>
                  <a:pt x="351" y="57"/>
                  <a:pt x="351" y="57"/>
                  <a:pt x="351" y="57"/>
                </a:cubicBezTo>
                <a:cubicBezTo>
                  <a:pt x="350" y="58"/>
                  <a:pt x="350" y="58"/>
                  <a:pt x="350" y="58"/>
                </a:cubicBezTo>
                <a:cubicBezTo>
                  <a:pt x="351" y="58"/>
                  <a:pt x="351" y="58"/>
                  <a:pt x="351" y="58"/>
                </a:cubicBezTo>
                <a:cubicBezTo>
                  <a:pt x="351" y="58"/>
                  <a:pt x="351" y="58"/>
                  <a:pt x="351" y="58"/>
                </a:cubicBezTo>
                <a:cubicBezTo>
                  <a:pt x="351" y="58"/>
                  <a:pt x="351" y="58"/>
                  <a:pt x="351" y="58"/>
                </a:cubicBezTo>
                <a:cubicBezTo>
                  <a:pt x="353" y="60"/>
                  <a:pt x="353" y="60"/>
                  <a:pt x="353" y="60"/>
                </a:cubicBezTo>
                <a:cubicBezTo>
                  <a:pt x="353" y="61"/>
                  <a:pt x="353" y="61"/>
                  <a:pt x="353" y="61"/>
                </a:cubicBezTo>
                <a:cubicBezTo>
                  <a:pt x="354" y="62"/>
                  <a:pt x="354" y="62"/>
                  <a:pt x="354" y="62"/>
                </a:cubicBezTo>
                <a:cubicBezTo>
                  <a:pt x="354" y="61"/>
                  <a:pt x="354" y="61"/>
                  <a:pt x="354" y="61"/>
                </a:cubicBezTo>
                <a:cubicBezTo>
                  <a:pt x="355" y="62"/>
                  <a:pt x="355" y="62"/>
                  <a:pt x="355" y="62"/>
                </a:cubicBezTo>
                <a:cubicBezTo>
                  <a:pt x="355" y="63"/>
                  <a:pt x="355" y="63"/>
                  <a:pt x="355" y="63"/>
                </a:cubicBezTo>
                <a:cubicBezTo>
                  <a:pt x="353" y="63"/>
                  <a:pt x="353" y="63"/>
                  <a:pt x="353" y="63"/>
                </a:cubicBezTo>
                <a:cubicBezTo>
                  <a:pt x="353" y="62"/>
                  <a:pt x="353" y="62"/>
                  <a:pt x="353" y="62"/>
                </a:cubicBezTo>
                <a:cubicBezTo>
                  <a:pt x="351" y="63"/>
                  <a:pt x="351" y="63"/>
                  <a:pt x="351" y="63"/>
                </a:cubicBezTo>
                <a:cubicBezTo>
                  <a:pt x="350" y="63"/>
                  <a:pt x="350" y="63"/>
                  <a:pt x="350" y="63"/>
                </a:cubicBezTo>
                <a:cubicBezTo>
                  <a:pt x="349" y="64"/>
                  <a:pt x="349" y="64"/>
                  <a:pt x="349" y="64"/>
                </a:cubicBezTo>
                <a:cubicBezTo>
                  <a:pt x="349" y="64"/>
                  <a:pt x="349" y="64"/>
                  <a:pt x="349" y="64"/>
                </a:cubicBezTo>
                <a:cubicBezTo>
                  <a:pt x="348" y="64"/>
                  <a:pt x="348" y="64"/>
                  <a:pt x="348" y="64"/>
                </a:cubicBezTo>
                <a:cubicBezTo>
                  <a:pt x="347" y="65"/>
                  <a:pt x="347" y="65"/>
                  <a:pt x="347" y="65"/>
                </a:cubicBezTo>
                <a:cubicBezTo>
                  <a:pt x="346" y="65"/>
                  <a:pt x="346" y="65"/>
                  <a:pt x="346" y="65"/>
                </a:cubicBezTo>
                <a:cubicBezTo>
                  <a:pt x="345" y="64"/>
                  <a:pt x="345" y="64"/>
                  <a:pt x="345" y="64"/>
                </a:cubicBezTo>
                <a:cubicBezTo>
                  <a:pt x="344" y="64"/>
                  <a:pt x="344" y="64"/>
                  <a:pt x="344" y="64"/>
                </a:cubicBezTo>
                <a:cubicBezTo>
                  <a:pt x="343" y="65"/>
                  <a:pt x="343" y="65"/>
                  <a:pt x="343" y="65"/>
                </a:cubicBezTo>
                <a:cubicBezTo>
                  <a:pt x="342" y="65"/>
                  <a:pt x="342" y="65"/>
                  <a:pt x="342" y="65"/>
                </a:cubicBezTo>
                <a:cubicBezTo>
                  <a:pt x="341" y="64"/>
                  <a:pt x="341" y="64"/>
                  <a:pt x="341" y="64"/>
                </a:cubicBezTo>
                <a:cubicBezTo>
                  <a:pt x="342" y="63"/>
                  <a:pt x="342" y="63"/>
                  <a:pt x="342" y="63"/>
                </a:cubicBezTo>
                <a:cubicBezTo>
                  <a:pt x="340" y="65"/>
                  <a:pt x="340" y="65"/>
                  <a:pt x="340" y="65"/>
                </a:cubicBezTo>
                <a:cubicBezTo>
                  <a:pt x="339" y="67"/>
                  <a:pt x="339" y="67"/>
                  <a:pt x="339" y="67"/>
                </a:cubicBezTo>
                <a:cubicBezTo>
                  <a:pt x="338" y="67"/>
                  <a:pt x="338" y="67"/>
                  <a:pt x="338" y="67"/>
                </a:cubicBezTo>
                <a:cubicBezTo>
                  <a:pt x="338" y="67"/>
                  <a:pt x="338" y="67"/>
                  <a:pt x="338" y="67"/>
                </a:cubicBezTo>
                <a:cubicBezTo>
                  <a:pt x="337" y="68"/>
                  <a:pt x="337" y="68"/>
                  <a:pt x="337" y="68"/>
                </a:cubicBezTo>
                <a:cubicBezTo>
                  <a:pt x="337" y="68"/>
                  <a:pt x="337" y="68"/>
                  <a:pt x="337" y="68"/>
                </a:cubicBezTo>
                <a:cubicBezTo>
                  <a:pt x="336" y="67"/>
                  <a:pt x="336" y="67"/>
                  <a:pt x="336" y="67"/>
                </a:cubicBezTo>
                <a:cubicBezTo>
                  <a:pt x="336" y="68"/>
                  <a:pt x="336" y="68"/>
                  <a:pt x="336" y="68"/>
                </a:cubicBezTo>
                <a:cubicBezTo>
                  <a:pt x="335" y="69"/>
                  <a:pt x="335" y="69"/>
                  <a:pt x="335" y="69"/>
                </a:cubicBezTo>
                <a:cubicBezTo>
                  <a:pt x="334" y="69"/>
                  <a:pt x="334" y="69"/>
                  <a:pt x="334" y="69"/>
                </a:cubicBezTo>
                <a:cubicBezTo>
                  <a:pt x="334" y="68"/>
                  <a:pt x="334" y="68"/>
                  <a:pt x="334" y="68"/>
                </a:cubicBezTo>
                <a:cubicBezTo>
                  <a:pt x="333" y="69"/>
                  <a:pt x="333" y="69"/>
                  <a:pt x="333" y="69"/>
                </a:cubicBezTo>
                <a:cubicBezTo>
                  <a:pt x="333" y="69"/>
                  <a:pt x="333" y="69"/>
                  <a:pt x="333" y="69"/>
                </a:cubicBezTo>
                <a:cubicBezTo>
                  <a:pt x="332" y="71"/>
                  <a:pt x="332" y="71"/>
                  <a:pt x="332" y="71"/>
                </a:cubicBezTo>
                <a:cubicBezTo>
                  <a:pt x="330" y="72"/>
                  <a:pt x="330" y="72"/>
                  <a:pt x="330" y="72"/>
                </a:cubicBezTo>
                <a:cubicBezTo>
                  <a:pt x="329" y="75"/>
                  <a:pt x="329" y="75"/>
                  <a:pt x="329" y="75"/>
                </a:cubicBezTo>
                <a:cubicBezTo>
                  <a:pt x="328" y="76"/>
                  <a:pt x="328" y="76"/>
                  <a:pt x="328" y="76"/>
                </a:cubicBezTo>
                <a:cubicBezTo>
                  <a:pt x="328" y="77"/>
                  <a:pt x="328" y="77"/>
                  <a:pt x="328" y="77"/>
                </a:cubicBezTo>
                <a:cubicBezTo>
                  <a:pt x="327" y="77"/>
                  <a:pt x="327" y="77"/>
                  <a:pt x="327" y="77"/>
                </a:cubicBezTo>
                <a:cubicBezTo>
                  <a:pt x="327" y="78"/>
                  <a:pt x="327" y="78"/>
                  <a:pt x="327" y="78"/>
                </a:cubicBezTo>
                <a:cubicBezTo>
                  <a:pt x="328" y="78"/>
                  <a:pt x="328" y="78"/>
                  <a:pt x="328" y="78"/>
                </a:cubicBezTo>
                <a:cubicBezTo>
                  <a:pt x="328" y="79"/>
                  <a:pt x="328" y="79"/>
                  <a:pt x="328" y="79"/>
                </a:cubicBezTo>
                <a:cubicBezTo>
                  <a:pt x="326" y="81"/>
                  <a:pt x="326" y="81"/>
                  <a:pt x="326" y="81"/>
                </a:cubicBezTo>
                <a:cubicBezTo>
                  <a:pt x="326" y="81"/>
                  <a:pt x="326" y="81"/>
                  <a:pt x="326" y="81"/>
                </a:cubicBezTo>
                <a:cubicBezTo>
                  <a:pt x="327" y="82"/>
                  <a:pt x="327" y="82"/>
                  <a:pt x="327" y="82"/>
                </a:cubicBezTo>
                <a:cubicBezTo>
                  <a:pt x="328" y="84"/>
                  <a:pt x="328" y="84"/>
                  <a:pt x="328" y="84"/>
                </a:cubicBezTo>
                <a:cubicBezTo>
                  <a:pt x="328" y="85"/>
                  <a:pt x="328" y="85"/>
                  <a:pt x="328" y="85"/>
                </a:cubicBezTo>
                <a:cubicBezTo>
                  <a:pt x="330" y="85"/>
                  <a:pt x="330" y="85"/>
                  <a:pt x="330" y="85"/>
                </a:cubicBezTo>
                <a:cubicBezTo>
                  <a:pt x="330" y="84"/>
                  <a:pt x="330" y="84"/>
                  <a:pt x="330" y="84"/>
                </a:cubicBezTo>
                <a:cubicBezTo>
                  <a:pt x="330" y="83"/>
                  <a:pt x="330" y="83"/>
                  <a:pt x="330" y="83"/>
                </a:cubicBezTo>
                <a:cubicBezTo>
                  <a:pt x="331" y="83"/>
                  <a:pt x="331" y="83"/>
                  <a:pt x="331" y="83"/>
                </a:cubicBezTo>
                <a:cubicBezTo>
                  <a:pt x="331" y="85"/>
                  <a:pt x="331" y="85"/>
                  <a:pt x="331" y="85"/>
                </a:cubicBezTo>
                <a:cubicBezTo>
                  <a:pt x="331" y="86"/>
                  <a:pt x="331" y="86"/>
                  <a:pt x="331" y="86"/>
                </a:cubicBezTo>
                <a:cubicBezTo>
                  <a:pt x="328" y="87"/>
                  <a:pt x="328" y="87"/>
                  <a:pt x="328" y="87"/>
                </a:cubicBezTo>
                <a:cubicBezTo>
                  <a:pt x="327" y="87"/>
                  <a:pt x="327" y="87"/>
                  <a:pt x="327" y="87"/>
                </a:cubicBezTo>
                <a:cubicBezTo>
                  <a:pt x="327" y="86"/>
                  <a:pt x="327" y="86"/>
                  <a:pt x="327" y="86"/>
                </a:cubicBezTo>
                <a:cubicBezTo>
                  <a:pt x="326" y="85"/>
                  <a:pt x="326" y="85"/>
                  <a:pt x="326" y="85"/>
                </a:cubicBezTo>
                <a:cubicBezTo>
                  <a:pt x="325" y="87"/>
                  <a:pt x="325" y="87"/>
                  <a:pt x="325" y="87"/>
                </a:cubicBezTo>
                <a:cubicBezTo>
                  <a:pt x="324" y="89"/>
                  <a:pt x="324" y="89"/>
                  <a:pt x="324" y="89"/>
                </a:cubicBezTo>
                <a:cubicBezTo>
                  <a:pt x="323" y="88"/>
                  <a:pt x="323" y="88"/>
                  <a:pt x="323" y="88"/>
                </a:cubicBezTo>
                <a:cubicBezTo>
                  <a:pt x="323" y="88"/>
                  <a:pt x="323" y="88"/>
                  <a:pt x="323" y="88"/>
                </a:cubicBezTo>
                <a:cubicBezTo>
                  <a:pt x="323" y="86"/>
                  <a:pt x="323" y="86"/>
                  <a:pt x="323" y="86"/>
                </a:cubicBezTo>
                <a:cubicBezTo>
                  <a:pt x="322" y="85"/>
                  <a:pt x="322" y="85"/>
                  <a:pt x="322" y="85"/>
                </a:cubicBezTo>
                <a:cubicBezTo>
                  <a:pt x="322" y="86"/>
                  <a:pt x="322" y="86"/>
                  <a:pt x="322" y="86"/>
                </a:cubicBezTo>
                <a:cubicBezTo>
                  <a:pt x="322" y="88"/>
                  <a:pt x="322" y="88"/>
                  <a:pt x="322" y="88"/>
                </a:cubicBezTo>
                <a:cubicBezTo>
                  <a:pt x="323" y="89"/>
                  <a:pt x="323" y="89"/>
                  <a:pt x="323" y="89"/>
                </a:cubicBezTo>
                <a:cubicBezTo>
                  <a:pt x="322" y="89"/>
                  <a:pt x="322" y="89"/>
                  <a:pt x="322" y="89"/>
                </a:cubicBezTo>
                <a:cubicBezTo>
                  <a:pt x="319" y="89"/>
                  <a:pt x="319" y="89"/>
                  <a:pt x="319" y="89"/>
                </a:cubicBezTo>
                <a:cubicBezTo>
                  <a:pt x="318" y="89"/>
                  <a:pt x="318" y="89"/>
                  <a:pt x="318" y="89"/>
                </a:cubicBezTo>
                <a:cubicBezTo>
                  <a:pt x="316" y="89"/>
                  <a:pt x="316" y="89"/>
                  <a:pt x="316" y="89"/>
                </a:cubicBezTo>
                <a:cubicBezTo>
                  <a:pt x="314" y="89"/>
                  <a:pt x="314" y="89"/>
                  <a:pt x="314" y="89"/>
                </a:cubicBezTo>
                <a:cubicBezTo>
                  <a:pt x="313" y="89"/>
                  <a:pt x="313" y="89"/>
                  <a:pt x="313" y="89"/>
                </a:cubicBezTo>
                <a:cubicBezTo>
                  <a:pt x="313" y="89"/>
                  <a:pt x="313" y="89"/>
                  <a:pt x="313" y="89"/>
                </a:cubicBezTo>
                <a:cubicBezTo>
                  <a:pt x="311" y="90"/>
                  <a:pt x="311" y="90"/>
                  <a:pt x="311" y="90"/>
                </a:cubicBezTo>
                <a:cubicBezTo>
                  <a:pt x="309" y="90"/>
                  <a:pt x="309" y="90"/>
                  <a:pt x="309" y="90"/>
                </a:cubicBezTo>
                <a:cubicBezTo>
                  <a:pt x="307" y="91"/>
                  <a:pt x="307" y="91"/>
                  <a:pt x="307" y="91"/>
                </a:cubicBezTo>
                <a:cubicBezTo>
                  <a:pt x="306" y="92"/>
                  <a:pt x="306" y="92"/>
                  <a:pt x="306" y="92"/>
                </a:cubicBezTo>
                <a:cubicBezTo>
                  <a:pt x="305" y="93"/>
                  <a:pt x="305" y="93"/>
                  <a:pt x="305" y="93"/>
                </a:cubicBezTo>
                <a:cubicBezTo>
                  <a:pt x="305" y="94"/>
                  <a:pt x="305" y="94"/>
                  <a:pt x="305" y="94"/>
                </a:cubicBezTo>
                <a:cubicBezTo>
                  <a:pt x="304" y="94"/>
                  <a:pt x="304" y="94"/>
                  <a:pt x="304" y="94"/>
                </a:cubicBezTo>
                <a:cubicBezTo>
                  <a:pt x="304" y="95"/>
                  <a:pt x="304" y="95"/>
                  <a:pt x="304" y="95"/>
                </a:cubicBezTo>
                <a:cubicBezTo>
                  <a:pt x="305" y="96"/>
                  <a:pt x="305" y="96"/>
                  <a:pt x="305" y="96"/>
                </a:cubicBezTo>
                <a:cubicBezTo>
                  <a:pt x="305" y="97"/>
                  <a:pt x="305" y="97"/>
                  <a:pt x="305" y="97"/>
                </a:cubicBezTo>
                <a:cubicBezTo>
                  <a:pt x="304" y="98"/>
                  <a:pt x="304" y="98"/>
                  <a:pt x="304" y="98"/>
                </a:cubicBezTo>
                <a:cubicBezTo>
                  <a:pt x="304" y="98"/>
                  <a:pt x="304" y="98"/>
                  <a:pt x="304" y="98"/>
                </a:cubicBezTo>
                <a:cubicBezTo>
                  <a:pt x="304" y="99"/>
                  <a:pt x="304" y="99"/>
                  <a:pt x="304" y="99"/>
                </a:cubicBezTo>
                <a:cubicBezTo>
                  <a:pt x="304" y="100"/>
                  <a:pt x="304" y="100"/>
                  <a:pt x="304" y="100"/>
                </a:cubicBezTo>
                <a:cubicBezTo>
                  <a:pt x="304" y="101"/>
                  <a:pt x="304" y="101"/>
                  <a:pt x="304" y="101"/>
                </a:cubicBezTo>
                <a:cubicBezTo>
                  <a:pt x="303" y="102"/>
                  <a:pt x="303" y="102"/>
                  <a:pt x="303" y="102"/>
                </a:cubicBezTo>
                <a:cubicBezTo>
                  <a:pt x="303" y="102"/>
                  <a:pt x="303" y="102"/>
                  <a:pt x="303" y="102"/>
                </a:cubicBezTo>
                <a:cubicBezTo>
                  <a:pt x="302" y="103"/>
                  <a:pt x="302" y="103"/>
                  <a:pt x="302" y="103"/>
                </a:cubicBezTo>
                <a:cubicBezTo>
                  <a:pt x="301" y="105"/>
                  <a:pt x="301" y="105"/>
                  <a:pt x="301" y="105"/>
                </a:cubicBezTo>
                <a:cubicBezTo>
                  <a:pt x="301" y="105"/>
                  <a:pt x="301" y="105"/>
                  <a:pt x="301" y="105"/>
                </a:cubicBezTo>
                <a:cubicBezTo>
                  <a:pt x="300" y="106"/>
                  <a:pt x="300" y="106"/>
                  <a:pt x="300" y="106"/>
                </a:cubicBezTo>
                <a:cubicBezTo>
                  <a:pt x="300" y="105"/>
                  <a:pt x="300" y="105"/>
                  <a:pt x="300" y="105"/>
                </a:cubicBezTo>
                <a:cubicBezTo>
                  <a:pt x="299" y="106"/>
                  <a:pt x="299" y="106"/>
                  <a:pt x="299" y="106"/>
                </a:cubicBezTo>
                <a:cubicBezTo>
                  <a:pt x="298" y="108"/>
                  <a:pt x="298" y="108"/>
                  <a:pt x="298" y="108"/>
                </a:cubicBezTo>
                <a:cubicBezTo>
                  <a:pt x="298" y="107"/>
                  <a:pt x="298" y="107"/>
                  <a:pt x="298" y="107"/>
                </a:cubicBezTo>
                <a:cubicBezTo>
                  <a:pt x="297" y="108"/>
                  <a:pt x="297" y="108"/>
                  <a:pt x="297" y="108"/>
                </a:cubicBezTo>
                <a:cubicBezTo>
                  <a:pt x="298" y="106"/>
                  <a:pt x="298" y="106"/>
                  <a:pt x="298" y="106"/>
                </a:cubicBezTo>
                <a:cubicBezTo>
                  <a:pt x="298" y="106"/>
                  <a:pt x="298" y="106"/>
                  <a:pt x="298" y="106"/>
                </a:cubicBezTo>
                <a:cubicBezTo>
                  <a:pt x="297" y="106"/>
                  <a:pt x="297" y="106"/>
                  <a:pt x="297" y="106"/>
                </a:cubicBezTo>
                <a:cubicBezTo>
                  <a:pt x="295" y="104"/>
                  <a:pt x="295" y="104"/>
                  <a:pt x="295" y="104"/>
                </a:cubicBezTo>
                <a:cubicBezTo>
                  <a:pt x="295" y="103"/>
                  <a:pt x="295" y="103"/>
                  <a:pt x="295" y="103"/>
                </a:cubicBezTo>
                <a:cubicBezTo>
                  <a:pt x="295" y="103"/>
                  <a:pt x="295" y="103"/>
                  <a:pt x="295" y="103"/>
                </a:cubicBezTo>
                <a:cubicBezTo>
                  <a:pt x="297" y="100"/>
                  <a:pt x="297" y="100"/>
                  <a:pt x="297" y="100"/>
                </a:cubicBezTo>
                <a:cubicBezTo>
                  <a:pt x="296" y="101"/>
                  <a:pt x="296" y="101"/>
                  <a:pt x="296" y="101"/>
                </a:cubicBezTo>
                <a:cubicBezTo>
                  <a:pt x="295" y="102"/>
                  <a:pt x="295" y="102"/>
                  <a:pt x="295" y="102"/>
                </a:cubicBezTo>
                <a:cubicBezTo>
                  <a:pt x="294" y="103"/>
                  <a:pt x="294" y="103"/>
                  <a:pt x="294" y="103"/>
                </a:cubicBezTo>
                <a:cubicBezTo>
                  <a:pt x="294" y="105"/>
                  <a:pt x="294" y="105"/>
                  <a:pt x="294" y="105"/>
                </a:cubicBezTo>
                <a:cubicBezTo>
                  <a:pt x="295" y="105"/>
                  <a:pt x="295" y="105"/>
                  <a:pt x="295" y="105"/>
                </a:cubicBezTo>
                <a:cubicBezTo>
                  <a:pt x="295" y="107"/>
                  <a:pt x="295" y="107"/>
                  <a:pt x="295" y="107"/>
                </a:cubicBezTo>
                <a:cubicBezTo>
                  <a:pt x="295" y="108"/>
                  <a:pt x="295" y="108"/>
                  <a:pt x="295" y="108"/>
                </a:cubicBezTo>
                <a:cubicBezTo>
                  <a:pt x="296" y="110"/>
                  <a:pt x="296" y="110"/>
                  <a:pt x="296" y="110"/>
                </a:cubicBezTo>
                <a:cubicBezTo>
                  <a:pt x="296" y="111"/>
                  <a:pt x="296" y="111"/>
                  <a:pt x="296" y="111"/>
                </a:cubicBezTo>
                <a:cubicBezTo>
                  <a:pt x="295" y="114"/>
                  <a:pt x="295" y="114"/>
                  <a:pt x="295" y="114"/>
                </a:cubicBezTo>
                <a:cubicBezTo>
                  <a:pt x="294" y="114"/>
                  <a:pt x="294" y="114"/>
                  <a:pt x="294" y="114"/>
                </a:cubicBezTo>
                <a:cubicBezTo>
                  <a:pt x="293" y="117"/>
                  <a:pt x="293" y="117"/>
                  <a:pt x="293" y="117"/>
                </a:cubicBezTo>
                <a:cubicBezTo>
                  <a:pt x="292" y="118"/>
                  <a:pt x="292" y="118"/>
                  <a:pt x="292" y="118"/>
                </a:cubicBezTo>
                <a:cubicBezTo>
                  <a:pt x="292" y="119"/>
                  <a:pt x="292" y="119"/>
                  <a:pt x="292" y="119"/>
                </a:cubicBezTo>
                <a:cubicBezTo>
                  <a:pt x="292" y="119"/>
                  <a:pt x="292" y="119"/>
                  <a:pt x="292" y="119"/>
                </a:cubicBezTo>
                <a:cubicBezTo>
                  <a:pt x="292" y="119"/>
                  <a:pt x="292" y="119"/>
                  <a:pt x="292" y="119"/>
                </a:cubicBezTo>
                <a:cubicBezTo>
                  <a:pt x="291" y="118"/>
                  <a:pt x="291" y="118"/>
                  <a:pt x="291" y="118"/>
                </a:cubicBezTo>
                <a:cubicBezTo>
                  <a:pt x="290" y="121"/>
                  <a:pt x="290" y="121"/>
                  <a:pt x="290" y="121"/>
                </a:cubicBezTo>
                <a:cubicBezTo>
                  <a:pt x="290" y="121"/>
                  <a:pt x="290" y="121"/>
                  <a:pt x="290" y="121"/>
                </a:cubicBezTo>
                <a:cubicBezTo>
                  <a:pt x="290" y="122"/>
                  <a:pt x="290" y="122"/>
                  <a:pt x="290" y="122"/>
                </a:cubicBezTo>
                <a:cubicBezTo>
                  <a:pt x="290" y="121"/>
                  <a:pt x="290" y="121"/>
                  <a:pt x="290" y="121"/>
                </a:cubicBezTo>
                <a:cubicBezTo>
                  <a:pt x="290" y="119"/>
                  <a:pt x="290" y="119"/>
                  <a:pt x="290" y="119"/>
                </a:cubicBezTo>
                <a:cubicBezTo>
                  <a:pt x="291" y="118"/>
                  <a:pt x="291" y="118"/>
                  <a:pt x="291" y="118"/>
                </a:cubicBezTo>
                <a:cubicBezTo>
                  <a:pt x="290" y="117"/>
                  <a:pt x="290" y="117"/>
                  <a:pt x="290" y="117"/>
                </a:cubicBezTo>
                <a:cubicBezTo>
                  <a:pt x="291" y="116"/>
                  <a:pt x="291" y="116"/>
                  <a:pt x="291" y="116"/>
                </a:cubicBezTo>
                <a:cubicBezTo>
                  <a:pt x="291" y="116"/>
                  <a:pt x="291" y="116"/>
                  <a:pt x="291" y="116"/>
                </a:cubicBezTo>
                <a:cubicBezTo>
                  <a:pt x="292" y="115"/>
                  <a:pt x="292" y="115"/>
                  <a:pt x="292" y="115"/>
                </a:cubicBezTo>
                <a:cubicBezTo>
                  <a:pt x="291" y="115"/>
                  <a:pt x="291" y="115"/>
                  <a:pt x="291" y="115"/>
                </a:cubicBezTo>
                <a:cubicBezTo>
                  <a:pt x="290" y="114"/>
                  <a:pt x="290" y="114"/>
                  <a:pt x="290" y="114"/>
                </a:cubicBezTo>
                <a:cubicBezTo>
                  <a:pt x="291" y="114"/>
                  <a:pt x="291" y="114"/>
                  <a:pt x="291" y="114"/>
                </a:cubicBezTo>
                <a:cubicBezTo>
                  <a:pt x="291" y="114"/>
                  <a:pt x="291" y="114"/>
                  <a:pt x="291" y="114"/>
                </a:cubicBezTo>
                <a:cubicBezTo>
                  <a:pt x="290" y="114"/>
                  <a:pt x="290" y="114"/>
                  <a:pt x="290" y="114"/>
                </a:cubicBezTo>
                <a:cubicBezTo>
                  <a:pt x="290" y="113"/>
                  <a:pt x="290" y="113"/>
                  <a:pt x="290" y="113"/>
                </a:cubicBezTo>
                <a:cubicBezTo>
                  <a:pt x="289" y="114"/>
                  <a:pt x="289" y="114"/>
                  <a:pt x="289" y="114"/>
                </a:cubicBezTo>
                <a:cubicBezTo>
                  <a:pt x="288" y="112"/>
                  <a:pt x="288" y="112"/>
                  <a:pt x="288" y="112"/>
                </a:cubicBezTo>
                <a:cubicBezTo>
                  <a:pt x="288" y="111"/>
                  <a:pt x="288" y="111"/>
                  <a:pt x="288" y="111"/>
                </a:cubicBezTo>
                <a:cubicBezTo>
                  <a:pt x="289" y="110"/>
                  <a:pt x="289" y="110"/>
                  <a:pt x="289" y="110"/>
                </a:cubicBezTo>
                <a:cubicBezTo>
                  <a:pt x="290" y="108"/>
                  <a:pt x="290" y="108"/>
                  <a:pt x="290" y="108"/>
                </a:cubicBezTo>
                <a:cubicBezTo>
                  <a:pt x="289" y="106"/>
                  <a:pt x="289" y="106"/>
                  <a:pt x="289" y="106"/>
                </a:cubicBezTo>
                <a:cubicBezTo>
                  <a:pt x="289" y="105"/>
                  <a:pt x="289" y="105"/>
                  <a:pt x="289" y="105"/>
                </a:cubicBezTo>
                <a:cubicBezTo>
                  <a:pt x="290" y="104"/>
                  <a:pt x="290" y="104"/>
                  <a:pt x="290" y="104"/>
                </a:cubicBezTo>
                <a:cubicBezTo>
                  <a:pt x="290" y="104"/>
                  <a:pt x="290" y="104"/>
                  <a:pt x="290" y="104"/>
                </a:cubicBezTo>
                <a:cubicBezTo>
                  <a:pt x="290" y="103"/>
                  <a:pt x="290" y="103"/>
                  <a:pt x="290" y="103"/>
                </a:cubicBezTo>
                <a:cubicBezTo>
                  <a:pt x="290" y="102"/>
                  <a:pt x="290" y="102"/>
                  <a:pt x="290" y="102"/>
                </a:cubicBezTo>
                <a:cubicBezTo>
                  <a:pt x="290" y="103"/>
                  <a:pt x="290" y="103"/>
                  <a:pt x="290" y="103"/>
                </a:cubicBezTo>
                <a:cubicBezTo>
                  <a:pt x="290" y="104"/>
                  <a:pt x="290" y="104"/>
                  <a:pt x="290" y="104"/>
                </a:cubicBezTo>
                <a:cubicBezTo>
                  <a:pt x="288" y="105"/>
                  <a:pt x="288" y="105"/>
                  <a:pt x="288" y="105"/>
                </a:cubicBezTo>
                <a:cubicBezTo>
                  <a:pt x="288" y="105"/>
                  <a:pt x="288" y="105"/>
                  <a:pt x="288" y="105"/>
                </a:cubicBezTo>
                <a:cubicBezTo>
                  <a:pt x="287" y="105"/>
                  <a:pt x="287" y="105"/>
                  <a:pt x="287" y="105"/>
                </a:cubicBezTo>
                <a:cubicBezTo>
                  <a:pt x="288" y="106"/>
                  <a:pt x="288" y="106"/>
                  <a:pt x="288" y="106"/>
                </a:cubicBezTo>
                <a:cubicBezTo>
                  <a:pt x="287" y="107"/>
                  <a:pt x="287" y="107"/>
                  <a:pt x="287" y="107"/>
                </a:cubicBezTo>
                <a:cubicBezTo>
                  <a:pt x="287" y="109"/>
                  <a:pt x="287" y="109"/>
                  <a:pt x="287" y="109"/>
                </a:cubicBezTo>
                <a:cubicBezTo>
                  <a:pt x="287" y="110"/>
                  <a:pt x="287" y="110"/>
                  <a:pt x="287" y="110"/>
                </a:cubicBezTo>
                <a:cubicBezTo>
                  <a:pt x="287" y="110"/>
                  <a:pt x="287" y="110"/>
                  <a:pt x="287" y="110"/>
                </a:cubicBezTo>
                <a:cubicBezTo>
                  <a:pt x="287" y="112"/>
                  <a:pt x="287" y="112"/>
                  <a:pt x="287" y="112"/>
                </a:cubicBezTo>
                <a:cubicBezTo>
                  <a:pt x="287" y="114"/>
                  <a:pt x="287" y="114"/>
                  <a:pt x="287" y="114"/>
                </a:cubicBezTo>
                <a:cubicBezTo>
                  <a:pt x="287" y="114"/>
                  <a:pt x="287" y="114"/>
                  <a:pt x="287" y="114"/>
                </a:cubicBezTo>
                <a:cubicBezTo>
                  <a:pt x="285" y="112"/>
                  <a:pt x="285" y="112"/>
                  <a:pt x="285" y="112"/>
                </a:cubicBezTo>
                <a:cubicBezTo>
                  <a:pt x="284" y="112"/>
                  <a:pt x="284" y="112"/>
                  <a:pt x="284" y="112"/>
                </a:cubicBezTo>
                <a:cubicBezTo>
                  <a:pt x="283" y="111"/>
                  <a:pt x="283" y="111"/>
                  <a:pt x="283" y="111"/>
                </a:cubicBezTo>
                <a:cubicBezTo>
                  <a:pt x="283" y="111"/>
                  <a:pt x="283" y="111"/>
                  <a:pt x="283" y="111"/>
                </a:cubicBezTo>
                <a:cubicBezTo>
                  <a:pt x="283" y="110"/>
                  <a:pt x="283" y="110"/>
                  <a:pt x="283" y="110"/>
                </a:cubicBezTo>
                <a:cubicBezTo>
                  <a:pt x="283" y="109"/>
                  <a:pt x="283" y="109"/>
                  <a:pt x="283" y="109"/>
                </a:cubicBezTo>
                <a:cubicBezTo>
                  <a:pt x="282" y="110"/>
                  <a:pt x="282" y="110"/>
                  <a:pt x="282" y="110"/>
                </a:cubicBezTo>
                <a:cubicBezTo>
                  <a:pt x="282" y="111"/>
                  <a:pt x="282" y="111"/>
                  <a:pt x="282" y="111"/>
                </a:cubicBezTo>
                <a:cubicBezTo>
                  <a:pt x="283" y="112"/>
                  <a:pt x="283" y="112"/>
                  <a:pt x="283" y="112"/>
                </a:cubicBezTo>
                <a:cubicBezTo>
                  <a:pt x="284" y="113"/>
                  <a:pt x="284" y="113"/>
                  <a:pt x="284" y="113"/>
                </a:cubicBezTo>
                <a:cubicBezTo>
                  <a:pt x="285" y="113"/>
                  <a:pt x="285" y="113"/>
                  <a:pt x="285" y="113"/>
                </a:cubicBezTo>
                <a:cubicBezTo>
                  <a:pt x="287" y="115"/>
                  <a:pt x="287" y="115"/>
                  <a:pt x="287" y="115"/>
                </a:cubicBezTo>
                <a:cubicBezTo>
                  <a:pt x="288" y="116"/>
                  <a:pt x="288" y="116"/>
                  <a:pt x="288" y="116"/>
                </a:cubicBezTo>
                <a:cubicBezTo>
                  <a:pt x="288" y="117"/>
                  <a:pt x="288" y="117"/>
                  <a:pt x="288" y="117"/>
                </a:cubicBezTo>
                <a:cubicBezTo>
                  <a:pt x="287" y="118"/>
                  <a:pt x="287" y="118"/>
                  <a:pt x="287" y="118"/>
                </a:cubicBezTo>
                <a:cubicBezTo>
                  <a:pt x="286" y="118"/>
                  <a:pt x="286" y="118"/>
                  <a:pt x="286" y="118"/>
                </a:cubicBezTo>
                <a:cubicBezTo>
                  <a:pt x="286" y="117"/>
                  <a:pt x="286" y="117"/>
                  <a:pt x="286" y="117"/>
                </a:cubicBezTo>
                <a:cubicBezTo>
                  <a:pt x="285" y="116"/>
                  <a:pt x="285" y="116"/>
                  <a:pt x="285" y="116"/>
                </a:cubicBezTo>
                <a:cubicBezTo>
                  <a:pt x="286" y="118"/>
                  <a:pt x="286" y="118"/>
                  <a:pt x="286" y="118"/>
                </a:cubicBezTo>
                <a:cubicBezTo>
                  <a:pt x="287" y="119"/>
                  <a:pt x="287" y="119"/>
                  <a:pt x="287" y="119"/>
                </a:cubicBezTo>
                <a:cubicBezTo>
                  <a:pt x="288" y="120"/>
                  <a:pt x="288" y="120"/>
                  <a:pt x="288" y="120"/>
                </a:cubicBezTo>
                <a:cubicBezTo>
                  <a:pt x="287" y="120"/>
                  <a:pt x="287" y="120"/>
                  <a:pt x="287" y="120"/>
                </a:cubicBezTo>
                <a:cubicBezTo>
                  <a:pt x="287" y="121"/>
                  <a:pt x="287" y="121"/>
                  <a:pt x="287" y="121"/>
                </a:cubicBezTo>
                <a:cubicBezTo>
                  <a:pt x="286" y="120"/>
                  <a:pt x="286" y="120"/>
                  <a:pt x="286" y="120"/>
                </a:cubicBezTo>
                <a:cubicBezTo>
                  <a:pt x="288" y="122"/>
                  <a:pt x="288" y="122"/>
                  <a:pt x="288" y="122"/>
                </a:cubicBezTo>
                <a:cubicBezTo>
                  <a:pt x="287" y="123"/>
                  <a:pt x="287" y="123"/>
                  <a:pt x="287" y="123"/>
                </a:cubicBezTo>
                <a:cubicBezTo>
                  <a:pt x="286" y="122"/>
                  <a:pt x="286" y="122"/>
                  <a:pt x="286" y="122"/>
                </a:cubicBezTo>
                <a:cubicBezTo>
                  <a:pt x="286" y="121"/>
                  <a:pt x="286" y="121"/>
                  <a:pt x="286" y="121"/>
                </a:cubicBezTo>
                <a:cubicBezTo>
                  <a:pt x="284" y="121"/>
                  <a:pt x="284" y="121"/>
                  <a:pt x="284" y="121"/>
                </a:cubicBezTo>
                <a:cubicBezTo>
                  <a:pt x="283" y="121"/>
                  <a:pt x="283" y="121"/>
                  <a:pt x="283" y="121"/>
                </a:cubicBezTo>
                <a:cubicBezTo>
                  <a:pt x="284" y="122"/>
                  <a:pt x="284" y="122"/>
                  <a:pt x="284" y="122"/>
                </a:cubicBezTo>
                <a:cubicBezTo>
                  <a:pt x="285" y="122"/>
                  <a:pt x="285" y="122"/>
                  <a:pt x="285" y="122"/>
                </a:cubicBezTo>
                <a:cubicBezTo>
                  <a:pt x="286" y="122"/>
                  <a:pt x="286" y="122"/>
                  <a:pt x="286" y="122"/>
                </a:cubicBezTo>
                <a:cubicBezTo>
                  <a:pt x="286" y="124"/>
                  <a:pt x="286" y="124"/>
                  <a:pt x="286" y="124"/>
                </a:cubicBezTo>
                <a:cubicBezTo>
                  <a:pt x="287" y="124"/>
                  <a:pt x="287" y="124"/>
                  <a:pt x="287" y="124"/>
                </a:cubicBezTo>
                <a:cubicBezTo>
                  <a:pt x="288" y="124"/>
                  <a:pt x="288" y="124"/>
                  <a:pt x="288" y="124"/>
                </a:cubicBezTo>
                <a:cubicBezTo>
                  <a:pt x="289" y="124"/>
                  <a:pt x="289" y="124"/>
                  <a:pt x="289" y="124"/>
                </a:cubicBezTo>
                <a:cubicBezTo>
                  <a:pt x="289" y="125"/>
                  <a:pt x="289" y="125"/>
                  <a:pt x="289" y="125"/>
                </a:cubicBezTo>
                <a:cubicBezTo>
                  <a:pt x="289" y="126"/>
                  <a:pt x="289" y="126"/>
                  <a:pt x="289" y="126"/>
                </a:cubicBezTo>
                <a:cubicBezTo>
                  <a:pt x="288" y="126"/>
                  <a:pt x="288" y="126"/>
                  <a:pt x="288" y="126"/>
                </a:cubicBezTo>
                <a:cubicBezTo>
                  <a:pt x="288" y="127"/>
                  <a:pt x="288" y="127"/>
                  <a:pt x="288" y="127"/>
                </a:cubicBezTo>
                <a:cubicBezTo>
                  <a:pt x="288" y="127"/>
                  <a:pt x="288" y="127"/>
                  <a:pt x="288" y="127"/>
                </a:cubicBezTo>
                <a:cubicBezTo>
                  <a:pt x="289" y="129"/>
                  <a:pt x="289" y="129"/>
                  <a:pt x="289" y="129"/>
                </a:cubicBezTo>
                <a:cubicBezTo>
                  <a:pt x="288" y="129"/>
                  <a:pt x="288" y="129"/>
                  <a:pt x="288" y="129"/>
                </a:cubicBezTo>
                <a:cubicBezTo>
                  <a:pt x="287" y="129"/>
                  <a:pt x="287" y="129"/>
                  <a:pt x="287" y="129"/>
                </a:cubicBezTo>
                <a:cubicBezTo>
                  <a:pt x="287" y="130"/>
                  <a:pt x="287" y="130"/>
                  <a:pt x="287" y="130"/>
                </a:cubicBezTo>
                <a:cubicBezTo>
                  <a:pt x="285" y="130"/>
                  <a:pt x="285" y="130"/>
                  <a:pt x="285" y="130"/>
                </a:cubicBezTo>
                <a:cubicBezTo>
                  <a:pt x="285" y="131"/>
                  <a:pt x="285" y="131"/>
                  <a:pt x="285" y="131"/>
                </a:cubicBezTo>
                <a:cubicBezTo>
                  <a:pt x="284" y="130"/>
                  <a:pt x="284" y="130"/>
                  <a:pt x="284" y="130"/>
                </a:cubicBezTo>
                <a:cubicBezTo>
                  <a:pt x="283" y="129"/>
                  <a:pt x="283" y="129"/>
                  <a:pt x="283" y="129"/>
                </a:cubicBezTo>
                <a:cubicBezTo>
                  <a:pt x="283" y="129"/>
                  <a:pt x="283" y="129"/>
                  <a:pt x="283" y="129"/>
                </a:cubicBezTo>
                <a:cubicBezTo>
                  <a:pt x="283" y="131"/>
                  <a:pt x="283" y="131"/>
                  <a:pt x="283" y="131"/>
                </a:cubicBezTo>
                <a:cubicBezTo>
                  <a:pt x="283" y="132"/>
                  <a:pt x="283" y="132"/>
                  <a:pt x="283" y="132"/>
                </a:cubicBezTo>
                <a:cubicBezTo>
                  <a:pt x="284" y="132"/>
                  <a:pt x="284" y="132"/>
                  <a:pt x="284" y="132"/>
                </a:cubicBezTo>
                <a:cubicBezTo>
                  <a:pt x="286" y="131"/>
                  <a:pt x="286" y="131"/>
                  <a:pt x="286" y="131"/>
                </a:cubicBezTo>
                <a:cubicBezTo>
                  <a:pt x="287" y="131"/>
                  <a:pt x="287" y="131"/>
                  <a:pt x="287" y="131"/>
                </a:cubicBezTo>
                <a:cubicBezTo>
                  <a:pt x="287" y="133"/>
                  <a:pt x="287" y="133"/>
                  <a:pt x="287" y="133"/>
                </a:cubicBezTo>
                <a:cubicBezTo>
                  <a:pt x="288" y="134"/>
                  <a:pt x="288" y="134"/>
                  <a:pt x="288" y="134"/>
                </a:cubicBezTo>
                <a:cubicBezTo>
                  <a:pt x="288" y="133"/>
                  <a:pt x="288" y="133"/>
                  <a:pt x="288" y="133"/>
                </a:cubicBezTo>
                <a:cubicBezTo>
                  <a:pt x="288" y="132"/>
                  <a:pt x="288" y="132"/>
                  <a:pt x="288" y="132"/>
                </a:cubicBezTo>
                <a:cubicBezTo>
                  <a:pt x="289" y="131"/>
                  <a:pt x="289" y="131"/>
                  <a:pt x="289" y="131"/>
                </a:cubicBezTo>
                <a:cubicBezTo>
                  <a:pt x="289" y="132"/>
                  <a:pt x="289" y="132"/>
                  <a:pt x="289" y="132"/>
                </a:cubicBezTo>
                <a:cubicBezTo>
                  <a:pt x="289" y="134"/>
                  <a:pt x="289" y="134"/>
                  <a:pt x="289" y="134"/>
                </a:cubicBezTo>
                <a:cubicBezTo>
                  <a:pt x="289" y="134"/>
                  <a:pt x="289" y="134"/>
                  <a:pt x="289" y="134"/>
                </a:cubicBezTo>
                <a:cubicBezTo>
                  <a:pt x="287" y="135"/>
                  <a:pt x="287" y="135"/>
                  <a:pt x="287" y="135"/>
                </a:cubicBezTo>
                <a:cubicBezTo>
                  <a:pt x="287" y="136"/>
                  <a:pt x="287" y="136"/>
                  <a:pt x="287" y="136"/>
                </a:cubicBezTo>
                <a:cubicBezTo>
                  <a:pt x="286" y="136"/>
                  <a:pt x="286" y="136"/>
                  <a:pt x="286" y="136"/>
                </a:cubicBezTo>
                <a:cubicBezTo>
                  <a:pt x="285" y="136"/>
                  <a:pt x="285" y="136"/>
                  <a:pt x="285" y="136"/>
                </a:cubicBezTo>
                <a:cubicBezTo>
                  <a:pt x="285" y="136"/>
                  <a:pt x="285" y="136"/>
                  <a:pt x="285" y="136"/>
                </a:cubicBezTo>
                <a:cubicBezTo>
                  <a:pt x="284" y="135"/>
                  <a:pt x="284" y="135"/>
                  <a:pt x="284" y="135"/>
                </a:cubicBezTo>
                <a:cubicBezTo>
                  <a:pt x="284" y="135"/>
                  <a:pt x="284" y="135"/>
                  <a:pt x="284" y="135"/>
                </a:cubicBezTo>
                <a:cubicBezTo>
                  <a:pt x="283" y="136"/>
                  <a:pt x="283" y="136"/>
                  <a:pt x="283" y="136"/>
                </a:cubicBezTo>
                <a:cubicBezTo>
                  <a:pt x="282" y="135"/>
                  <a:pt x="282" y="135"/>
                  <a:pt x="282" y="135"/>
                </a:cubicBezTo>
                <a:cubicBezTo>
                  <a:pt x="281" y="135"/>
                  <a:pt x="281" y="135"/>
                  <a:pt x="281" y="135"/>
                </a:cubicBezTo>
                <a:cubicBezTo>
                  <a:pt x="282" y="136"/>
                  <a:pt x="282" y="136"/>
                  <a:pt x="282" y="136"/>
                </a:cubicBezTo>
                <a:cubicBezTo>
                  <a:pt x="284" y="136"/>
                  <a:pt x="284" y="136"/>
                  <a:pt x="284" y="136"/>
                </a:cubicBezTo>
                <a:cubicBezTo>
                  <a:pt x="284" y="137"/>
                  <a:pt x="284" y="137"/>
                  <a:pt x="284" y="137"/>
                </a:cubicBezTo>
                <a:cubicBezTo>
                  <a:pt x="283" y="138"/>
                  <a:pt x="283" y="138"/>
                  <a:pt x="283" y="138"/>
                </a:cubicBezTo>
                <a:cubicBezTo>
                  <a:pt x="284" y="138"/>
                  <a:pt x="284" y="138"/>
                  <a:pt x="284" y="138"/>
                </a:cubicBezTo>
                <a:cubicBezTo>
                  <a:pt x="282" y="139"/>
                  <a:pt x="282" y="139"/>
                  <a:pt x="282" y="139"/>
                </a:cubicBezTo>
                <a:cubicBezTo>
                  <a:pt x="281" y="138"/>
                  <a:pt x="281" y="138"/>
                  <a:pt x="281" y="138"/>
                </a:cubicBezTo>
                <a:cubicBezTo>
                  <a:pt x="282" y="139"/>
                  <a:pt x="282" y="139"/>
                  <a:pt x="282" y="139"/>
                </a:cubicBezTo>
                <a:cubicBezTo>
                  <a:pt x="283" y="139"/>
                  <a:pt x="283" y="139"/>
                  <a:pt x="283" y="139"/>
                </a:cubicBezTo>
                <a:cubicBezTo>
                  <a:pt x="284" y="138"/>
                  <a:pt x="284" y="138"/>
                  <a:pt x="284" y="138"/>
                </a:cubicBezTo>
                <a:cubicBezTo>
                  <a:pt x="285" y="139"/>
                  <a:pt x="285" y="139"/>
                  <a:pt x="285" y="139"/>
                </a:cubicBezTo>
                <a:cubicBezTo>
                  <a:pt x="285" y="139"/>
                  <a:pt x="285" y="139"/>
                  <a:pt x="285" y="139"/>
                </a:cubicBezTo>
                <a:cubicBezTo>
                  <a:pt x="284" y="140"/>
                  <a:pt x="284" y="140"/>
                  <a:pt x="284" y="140"/>
                </a:cubicBezTo>
                <a:cubicBezTo>
                  <a:pt x="283" y="140"/>
                  <a:pt x="283" y="140"/>
                  <a:pt x="283" y="140"/>
                </a:cubicBezTo>
                <a:cubicBezTo>
                  <a:pt x="283" y="140"/>
                  <a:pt x="283" y="140"/>
                  <a:pt x="283" y="140"/>
                </a:cubicBezTo>
                <a:cubicBezTo>
                  <a:pt x="282" y="140"/>
                  <a:pt x="282" y="140"/>
                  <a:pt x="282" y="140"/>
                </a:cubicBezTo>
                <a:cubicBezTo>
                  <a:pt x="282" y="140"/>
                  <a:pt x="282" y="140"/>
                  <a:pt x="282" y="140"/>
                </a:cubicBezTo>
                <a:cubicBezTo>
                  <a:pt x="280" y="141"/>
                  <a:pt x="280" y="141"/>
                  <a:pt x="280" y="141"/>
                </a:cubicBezTo>
                <a:cubicBezTo>
                  <a:pt x="277" y="142"/>
                  <a:pt x="277" y="142"/>
                  <a:pt x="277" y="142"/>
                </a:cubicBezTo>
                <a:cubicBezTo>
                  <a:pt x="274" y="145"/>
                  <a:pt x="274" y="145"/>
                  <a:pt x="274" y="145"/>
                </a:cubicBezTo>
                <a:cubicBezTo>
                  <a:pt x="273" y="147"/>
                  <a:pt x="273" y="147"/>
                  <a:pt x="273" y="147"/>
                </a:cubicBezTo>
                <a:cubicBezTo>
                  <a:pt x="272" y="147"/>
                  <a:pt x="272" y="147"/>
                  <a:pt x="272" y="147"/>
                </a:cubicBezTo>
                <a:cubicBezTo>
                  <a:pt x="272" y="146"/>
                  <a:pt x="272" y="146"/>
                  <a:pt x="272" y="146"/>
                </a:cubicBezTo>
                <a:cubicBezTo>
                  <a:pt x="270" y="147"/>
                  <a:pt x="270" y="147"/>
                  <a:pt x="270" y="147"/>
                </a:cubicBezTo>
                <a:cubicBezTo>
                  <a:pt x="269" y="148"/>
                  <a:pt x="269" y="148"/>
                  <a:pt x="269" y="148"/>
                </a:cubicBezTo>
                <a:cubicBezTo>
                  <a:pt x="266" y="151"/>
                  <a:pt x="266" y="151"/>
                  <a:pt x="266" y="151"/>
                </a:cubicBezTo>
                <a:cubicBezTo>
                  <a:pt x="266" y="152"/>
                  <a:pt x="266" y="152"/>
                  <a:pt x="266" y="152"/>
                </a:cubicBezTo>
                <a:cubicBezTo>
                  <a:pt x="265" y="152"/>
                  <a:pt x="265" y="152"/>
                  <a:pt x="265" y="152"/>
                </a:cubicBezTo>
                <a:cubicBezTo>
                  <a:pt x="265" y="152"/>
                  <a:pt x="265" y="152"/>
                  <a:pt x="265" y="152"/>
                </a:cubicBezTo>
                <a:cubicBezTo>
                  <a:pt x="265" y="153"/>
                  <a:pt x="265" y="153"/>
                  <a:pt x="265" y="153"/>
                </a:cubicBezTo>
                <a:cubicBezTo>
                  <a:pt x="264" y="154"/>
                  <a:pt x="264" y="154"/>
                  <a:pt x="264" y="154"/>
                </a:cubicBezTo>
                <a:cubicBezTo>
                  <a:pt x="263" y="154"/>
                  <a:pt x="263" y="154"/>
                  <a:pt x="263" y="154"/>
                </a:cubicBezTo>
                <a:cubicBezTo>
                  <a:pt x="262" y="154"/>
                  <a:pt x="262" y="154"/>
                  <a:pt x="262" y="154"/>
                </a:cubicBezTo>
                <a:cubicBezTo>
                  <a:pt x="262" y="155"/>
                  <a:pt x="262" y="155"/>
                  <a:pt x="262" y="155"/>
                </a:cubicBezTo>
                <a:cubicBezTo>
                  <a:pt x="260" y="155"/>
                  <a:pt x="260" y="155"/>
                  <a:pt x="260" y="155"/>
                </a:cubicBezTo>
                <a:cubicBezTo>
                  <a:pt x="260" y="156"/>
                  <a:pt x="260" y="156"/>
                  <a:pt x="260" y="156"/>
                </a:cubicBezTo>
                <a:cubicBezTo>
                  <a:pt x="258" y="156"/>
                  <a:pt x="258" y="156"/>
                  <a:pt x="258" y="156"/>
                </a:cubicBezTo>
                <a:cubicBezTo>
                  <a:pt x="258" y="157"/>
                  <a:pt x="258" y="157"/>
                  <a:pt x="258" y="157"/>
                </a:cubicBezTo>
                <a:cubicBezTo>
                  <a:pt x="256" y="157"/>
                  <a:pt x="256" y="157"/>
                  <a:pt x="256" y="157"/>
                </a:cubicBezTo>
                <a:cubicBezTo>
                  <a:pt x="256" y="157"/>
                  <a:pt x="256" y="157"/>
                  <a:pt x="256" y="157"/>
                </a:cubicBezTo>
                <a:cubicBezTo>
                  <a:pt x="255" y="157"/>
                  <a:pt x="255" y="157"/>
                  <a:pt x="255" y="157"/>
                </a:cubicBezTo>
                <a:cubicBezTo>
                  <a:pt x="254" y="158"/>
                  <a:pt x="254" y="158"/>
                  <a:pt x="254" y="158"/>
                </a:cubicBezTo>
                <a:cubicBezTo>
                  <a:pt x="255" y="158"/>
                  <a:pt x="255" y="158"/>
                  <a:pt x="255" y="158"/>
                </a:cubicBezTo>
                <a:cubicBezTo>
                  <a:pt x="255" y="159"/>
                  <a:pt x="255" y="159"/>
                  <a:pt x="255" y="159"/>
                </a:cubicBezTo>
                <a:cubicBezTo>
                  <a:pt x="254" y="160"/>
                  <a:pt x="254" y="160"/>
                  <a:pt x="254" y="160"/>
                </a:cubicBezTo>
                <a:cubicBezTo>
                  <a:pt x="253" y="160"/>
                  <a:pt x="253" y="160"/>
                  <a:pt x="253" y="160"/>
                </a:cubicBezTo>
                <a:cubicBezTo>
                  <a:pt x="253" y="161"/>
                  <a:pt x="253" y="161"/>
                  <a:pt x="253" y="161"/>
                </a:cubicBezTo>
                <a:cubicBezTo>
                  <a:pt x="252" y="161"/>
                  <a:pt x="252" y="161"/>
                  <a:pt x="252" y="161"/>
                </a:cubicBezTo>
                <a:cubicBezTo>
                  <a:pt x="251" y="163"/>
                  <a:pt x="251" y="163"/>
                  <a:pt x="251" y="163"/>
                </a:cubicBezTo>
                <a:cubicBezTo>
                  <a:pt x="250" y="165"/>
                  <a:pt x="250" y="165"/>
                  <a:pt x="250" y="165"/>
                </a:cubicBezTo>
                <a:cubicBezTo>
                  <a:pt x="250" y="167"/>
                  <a:pt x="250" y="167"/>
                  <a:pt x="250" y="167"/>
                </a:cubicBezTo>
                <a:cubicBezTo>
                  <a:pt x="249" y="171"/>
                  <a:pt x="249" y="171"/>
                  <a:pt x="249" y="171"/>
                </a:cubicBezTo>
                <a:cubicBezTo>
                  <a:pt x="249" y="173"/>
                  <a:pt x="249" y="173"/>
                  <a:pt x="249" y="173"/>
                </a:cubicBezTo>
                <a:cubicBezTo>
                  <a:pt x="249" y="175"/>
                  <a:pt x="249" y="175"/>
                  <a:pt x="249" y="175"/>
                </a:cubicBezTo>
                <a:cubicBezTo>
                  <a:pt x="250" y="177"/>
                  <a:pt x="250" y="177"/>
                  <a:pt x="250" y="177"/>
                </a:cubicBezTo>
                <a:cubicBezTo>
                  <a:pt x="250" y="180"/>
                  <a:pt x="250" y="180"/>
                  <a:pt x="250" y="180"/>
                </a:cubicBezTo>
                <a:cubicBezTo>
                  <a:pt x="251" y="181"/>
                  <a:pt x="251" y="181"/>
                  <a:pt x="251" y="181"/>
                </a:cubicBezTo>
                <a:cubicBezTo>
                  <a:pt x="251" y="184"/>
                  <a:pt x="251" y="184"/>
                  <a:pt x="251" y="184"/>
                </a:cubicBezTo>
                <a:cubicBezTo>
                  <a:pt x="252" y="185"/>
                  <a:pt x="252" y="185"/>
                  <a:pt x="252" y="185"/>
                </a:cubicBezTo>
                <a:cubicBezTo>
                  <a:pt x="253" y="186"/>
                  <a:pt x="253" y="186"/>
                  <a:pt x="253" y="186"/>
                </a:cubicBezTo>
                <a:cubicBezTo>
                  <a:pt x="252" y="188"/>
                  <a:pt x="252" y="188"/>
                  <a:pt x="252" y="188"/>
                </a:cubicBezTo>
                <a:cubicBezTo>
                  <a:pt x="252" y="190"/>
                  <a:pt x="252" y="190"/>
                  <a:pt x="252" y="190"/>
                </a:cubicBezTo>
                <a:cubicBezTo>
                  <a:pt x="252" y="190"/>
                  <a:pt x="252" y="190"/>
                  <a:pt x="252" y="190"/>
                </a:cubicBezTo>
                <a:cubicBezTo>
                  <a:pt x="253" y="194"/>
                  <a:pt x="253" y="194"/>
                  <a:pt x="253" y="194"/>
                </a:cubicBezTo>
                <a:cubicBezTo>
                  <a:pt x="254" y="195"/>
                  <a:pt x="254" y="195"/>
                  <a:pt x="254" y="195"/>
                </a:cubicBezTo>
                <a:cubicBezTo>
                  <a:pt x="255" y="197"/>
                  <a:pt x="255" y="197"/>
                  <a:pt x="255" y="197"/>
                </a:cubicBezTo>
                <a:cubicBezTo>
                  <a:pt x="254" y="198"/>
                  <a:pt x="254" y="198"/>
                  <a:pt x="254" y="198"/>
                </a:cubicBezTo>
                <a:cubicBezTo>
                  <a:pt x="254" y="198"/>
                  <a:pt x="254" y="198"/>
                  <a:pt x="254" y="198"/>
                </a:cubicBezTo>
                <a:cubicBezTo>
                  <a:pt x="254" y="200"/>
                  <a:pt x="254" y="200"/>
                  <a:pt x="254" y="200"/>
                </a:cubicBezTo>
                <a:cubicBezTo>
                  <a:pt x="254" y="201"/>
                  <a:pt x="254" y="201"/>
                  <a:pt x="254" y="201"/>
                </a:cubicBezTo>
                <a:cubicBezTo>
                  <a:pt x="254" y="202"/>
                  <a:pt x="254" y="202"/>
                  <a:pt x="254" y="202"/>
                </a:cubicBezTo>
                <a:cubicBezTo>
                  <a:pt x="253" y="204"/>
                  <a:pt x="253" y="204"/>
                  <a:pt x="253" y="204"/>
                </a:cubicBezTo>
                <a:cubicBezTo>
                  <a:pt x="252" y="206"/>
                  <a:pt x="252" y="206"/>
                  <a:pt x="252" y="206"/>
                </a:cubicBezTo>
                <a:cubicBezTo>
                  <a:pt x="251" y="207"/>
                  <a:pt x="251" y="207"/>
                  <a:pt x="251" y="207"/>
                </a:cubicBezTo>
                <a:cubicBezTo>
                  <a:pt x="251" y="208"/>
                  <a:pt x="251" y="208"/>
                  <a:pt x="251" y="208"/>
                </a:cubicBezTo>
                <a:cubicBezTo>
                  <a:pt x="250" y="209"/>
                  <a:pt x="250" y="209"/>
                  <a:pt x="250" y="209"/>
                </a:cubicBezTo>
                <a:cubicBezTo>
                  <a:pt x="249" y="209"/>
                  <a:pt x="249" y="209"/>
                  <a:pt x="249" y="209"/>
                </a:cubicBezTo>
                <a:cubicBezTo>
                  <a:pt x="248" y="209"/>
                  <a:pt x="248" y="209"/>
                  <a:pt x="248" y="209"/>
                </a:cubicBezTo>
                <a:cubicBezTo>
                  <a:pt x="247" y="208"/>
                  <a:pt x="247" y="208"/>
                  <a:pt x="247" y="208"/>
                </a:cubicBezTo>
                <a:cubicBezTo>
                  <a:pt x="246" y="208"/>
                  <a:pt x="246" y="208"/>
                  <a:pt x="246" y="208"/>
                </a:cubicBezTo>
                <a:cubicBezTo>
                  <a:pt x="247" y="207"/>
                  <a:pt x="247" y="207"/>
                  <a:pt x="247" y="207"/>
                </a:cubicBezTo>
                <a:cubicBezTo>
                  <a:pt x="245" y="206"/>
                  <a:pt x="245" y="206"/>
                  <a:pt x="245" y="206"/>
                </a:cubicBezTo>
                <a:cubicBezTo>
                  <a:pt x="245" y="205"/>
                  <a:pt x="245" y="205"/>
                  <a:pt x="245" y="205"/>
                </a:cubicBezTo>
                <a:cubicBezTo>
                  <a:pt x="245" y="204"/>
                  <a:pt x="245" y="204"/>
                  <a:pt x="245" y="204"/>
                </a:cubicBezTo>
                <a:cubicBezTo>
                  <a:pt x="244" y="204"/>
                  <a:pt x="244" y="204"/>
                  <a:pt x="244" y="204"/>
                </a:cubicBezTo>
                <a:cubicBezTo>
                  <a:pt x="243" y="204"/>
                  <a:pt x="243" y="204"/>
                  <a:pt x="243" y="204"/>
                </a:cubicBezTo>
                <a:cubicBezTo>
                  <a:pt x="243" y="202"/>
                  <a:pt x="243" y="202"/>
                  <a:pt x="243" y="202"/>
                </a:cubicBezTo>
                <a:cubicBezTo>
                  <a:pt x="243" y="201"/>
                  <a:pt x="243" y="201"/>
                  <a:pt x="243" y="201"/>
                </a:cubicBezTo>
                <a:cubicBezTo>
                  <a:pt x="242" y="200"/>
                  <a:pt x="242" y="200"/>
                  <a:pt x="242" y="200"/>
                </a:cubicBezTo>
                <a:cubicBezTo>
                  <a:pt x="241" y="199"/>
                  <a:pt x="241" y="199"/>
                  <a:pt x="241" y="199"/>
                </a:cubicBezTo>
                <a:cubicBezTo>
                  <a:pt x="242" y="198"/>
                  <a:pt x="242" y="198"/>
                  <a:pt x="242" y="198"/>
                </a:cubicBezTo>
                <a:cubicBezTo>
                  <a:pt x="242" y="197"/>
                  <a:pt x="242" y="197"/>
                  <a:pt x="242" y="197"/>
                </a:cubicBezTo>
                <a:cubicBezTo>
                  <a:pt x="243" y="196"/>
                  <a:pt x="243" y="196"/>
                  <a:pt x="243" y="196"/>
                </a:cubicBezTo>
                <a:cubicBezTo>
                  <a:pt x="242" y="197"/>
                  <a:pt x="242" y="197"/>
                  <a:pt x="242" y="197"/>
                </a:cubicBezTo>
                <a:cubicBezTo>
                  <a:pt x="241" y="196"/>
                  <a:pt x="241" y="196"/>
                  <a:pt x="241" y="196"/>
                </a:cubicBezTo>
                <a:cubicBezTo>
                  <a:pt x="241" y="197"/>
                  <a:pt x="241" y="197"/>
                  <a:pt x="241" y="197"/>
                </a:cubicBezTo>
                <a:cubicBezTo>
                  <a:pt x="241" y="197"/>
                  <a:pt x="241" y="197"/>
                  <a:pt x="241" y="197"/>
                </a:cubicBezTo>
                <a:cubicBezTo>
                  <a:pt x="241" y="196"/>
                  <a:pt x="241" y="196"/>
                  <a:pt x="241" y="196"/>
                </a:cubicBezTo>
                <a:cubicBezTo>
                  <a:pt x="240" y="196"/>
                  <a:pt x="240" y="196"/>
                  <a:pt x="240" y="196"/>
                </a:cubicBezTo>
                <a:cubicBezTo>
                  <a:pt x="240" y="196"/>
                  <a:pt x="240" y="196"/>
                  <a:pt x="240" y="196"/>
                </a:cubicBezTo>
                <a:cubicBezTo>
                  <a:pt x="239" y="195"/>
                  <a:pt x="239" y="195"/>
                  <a:pt x="239" y="195"/>
                </a:cubicBezTo>
                <a:cubicBezTo>
                  <a:pt x="239" y="194"/>
                  <a:pt x="239" y="194"/>
                  <a:pt x="239" y="194"/>
                </a:cubicBezTo>
                <a:cubicBezTo>
                  <a:pt x="239" y="193"/>
                  <a:pt x="239" y="193"/>
                  <a:pt x="239" y="193"/>
                </a:cubicBezTo>
                <a:cubicBezTo>
                  <a:pt x="240" y="191"/>
                  <a:pt x="240" y="191"/>
                  <a:pt x="240" y="191"/>
                </a:cubicBezTo>
                <a:cubicBezTo>
                  <a:pt x="240" y="190"/>
                  <a:pt x="240" y="190"/>
                  <a:pt x="240" y="190"/>
                </a:cubicBezTo>
                <a:cubicBezTo>
                  <a:pt x="239" y="189"/>
                  <a:pt x="239" y="189"/>
                  <a:pt x="239" y="189"/>
                </a:cubicBezTo>
                <a:cubicBezTo>
                  <a:pt x="239" y="190"/>
                  <a:pt x="239" y="190"/>
                  <a:pt x="239" y="190"/>
                </a:cubicBezTo>
                <a:cubicBezTo>
                  <a:pt x="239" y="190"/>
                  <a:pt x="239" y="190"/>
                  <a:pt x="239" y="190"/>
                </a:cubicBezTo>
                <a:cubicBezTo>
                  <a:pt x="238" y="191"/>
                  <a:pt x="238" y="191"/>
                  <a:pt x="238" y="191"/>
                </a:cubicBezTo>
                <a:cubicBezTo>
                  <a:pt x="238" y="191"/>
                  <a:pt x="238" y="191"/>
                  <a:pt x="238" y="191"/>
                </a:cubicBezTo>
                <a:cubicBezTo>
                  <a:pt x="237" y="190"/>
                  <a:pt x="237" y="190"/>
                  <a:pt x="237" y="190"/>
                </a:cubicBezTo>
                <a:cubicBezTo>
                  <a:pt x="237" y="189"/>
                  <a:pt x="237" y="189"/>
                  <a:pt x="237" y="189"/>
                </a:cubicBezTo>
                <a:cubicBezTo>
                  <a:pt x="239" y="187"/>
                  <a:pt x="239" y="187"/>
                  <a:pt x="239" y="187"/>
                </a:cubicBezTo>
                <a:cubicBezTo>
                  <a:pt x="239" y="184"/>
                  <a:pt x="239" y="184"/>
                  <a:pt x="239" y="184"/>
                </a:cubicBezTo>
                <a:cubicBezTo>
                  <a:pt x="239" y="183"/>
                  <a:pt x="239" y="183"/>
                  <a:pt x="239" y="183"/>
                </a:cubicBezTo>
                <a:cubicBezTo>
                  <a:pt x="239" y="181"/>
                  <a:pt x="239" y="181"/>
                  <a:pt x="239" y="181"/>
                </a:cubicBezTo>
                <a:cubicBezTo>
                  <a:pt x="238" y="181"/>
                  <a:pt x="238" y="181"/>
                  <a:pt x="238" y="181"/>
                </a:cubicBezTo>
                <a:cubicBezTo>
                  <a:pt x="237" y="180"/>
                  <a:pt x="237" y="180"/>
                  <a:pt x="237" y="180"/>
                </a:cubicBezTo>
                <a:cubicBezTo>
                  <a:pt x="237" y="179"/>
                  <a:pt x="237" y="179"/>
                  <a:pt x="237" y="179"/>
                </a:cubicBezTo>
                <a:cubicBezTo>
                  <a:pt x="237" y="179"/>
                  <a:pt x="237" y="179"/>
                  <a:pt x="237" y="179"/>
                </a:cubicBezTo>
                <a:cubicBezTo>
                  <a:pt x="236" y="179"/>
                  <a:pt x="236" y="179"/>
                  <a:pt x="236" y="179"/>
                </a:cubicBezTo>
                <a:cubicBezTo>
                  <a:pt x="236" y="177"/>
                  <a:pt x="236" y="177"/>
                  <a:pt x="236" y="177"/>
                </a:cubicBezTo>
                <a:cubicBezTo>
                  <a:pt x="235" y="177"/>
                  <a:pt x="235" y="177"/>
                  <a:pt x="235" y="177"/>
                </a:cubicBezTo>
                <a:cubicBezTo>
                  <a:pt x="235" y="177"/>
                  <a:pt x="235" y="177"/>
                  <a:pt x="235" y="177"/>
                </a:cubicBezTo>
                <a:cubicBezTo>
                  <a:pt x="234" y="174"/>
                  <a:pt x="234" y="174"/>
                  <a:pt x="234" y="174"/>
                </a:cubicBezTo>
                <a:cubicBezTo>
                  <a:pt x="232" y="174"/>
                  <a:pt x="232" y="174"/>
                  <a:pt x="232" y="174"/>
                </a:cubicBezTo>
                <a:cubicBezTo>
                  <a:pt x="232" y="174"/>
                  <a:pt x="232" y="174"/>
                  <a:pt x="232" y="174"/>
                </a:cubicBezTo>
                <a:cubicBezTo>
                  <a:pt x="230" y="174"/>
                  <a:pt x="230" y="174"/>
                  <a:pt x="230" y="174"/>
                </a:cubicBezTo>
                <a:cubicBezTo>
                  <a:pt x="230" y="174"/>
                  <a:pt x="230" y="174"/>
                  <a:pt x="230" y="174"/>
                </a:cubicBezTo>
                <a:cubicBezTo>
                  <a:pt x="230" y="175"/>
                  <a:pt x="230" y="175"/>
                  <a:pt x="230" y="175"/>
                </a:cubicBezTo>
                <a:cubicBezTo>
                  <a:pt x="229" y="175"/>
                  <a:pt x="229" y="175"/>
                  <a:pt x="229" y="175"/>
                </a:cubicBezTo>
                <a:cubicBezTo>
                  <a:pt x="229" y="175"/>
                  <a:pt x="229" y="175"/>
                  <a:pt x="229" y="175"/>
                </a:cubicBezTo>
                <a:cubicBezTo>
                  <a:pt x="227" y="176"/>
                  <a:pt x="227" y="176"/>
                  <a:pt x="227" y="176"/>
                </a:cubicBezTo>
                <a:cubicBezTo>
                  <a:pt x="226" y="176"/>
                  <a:pt x="226" y="176"/>
                  <a:pt x="226" y="176"/>
                </a:cubicBezTo>
                <a:cubicBezTo>
                  <a:pt x="224" y="177"/>
                  <a:pt x="224" y="177"/>
                  <a:pt x="224" y="177"/>
                </a:cubicBezTo>
                <a:cubicBezTo>
                  <a:pt x="224" y="176"/>
                  <a:pt x="224" y="176"/>
                  <a:pt x="224" y="176"/>
                </a:cubicBezTo>
                <a:cubicBezTo>
                  <a:pt x="224" y="176"/>
                  <a:pt x="224" y="176"/>
                  <a:pt x="224" y="176"/>
                </a:cubicBezTo>
                <a:cubicBezTo>
                  <a:pt x="224" y="176"/>
                  <a:pt x="224" y="176"/>
                  <a:pt x="224" y="176"/>
                </a:cubicBezTo>
                <a:cubicBezTo>
                  <a:pt x="225" y="176"/>
                  <a:pt x="225" y="176"/>
                  <a:pt x="225" y="176"/>
                </a:cubicBezTo>
                <a:cubicBezTo>
                  <a:pt x="224" y="175"/>
                  <a:pt x="224" y="175"/>
                  <a:pt x="224" y="175"/>
                </a:cubicBezTo>
                <a:cubicBezTo>
                  <a:pt x="224" y="175"/>
                  <a:pt x="224" y="175"/>
                  <a:pt x="224" y="175"/>
                </a:cubicBezTo>
                <a:cubicBezTo>
                  <a:pt x="222" y="174"/>
                  <a:pt x="222" y="174"/>
                  <a:pt x="222" y="174"/>
                </a:cubicBezTo>
                <a:cubicBezTo>
                  <a:pt x="222" y="173"/>
                  <a:pt x="222" y="173"/>
                  <a:pt x="222" y="173"/>
                </a:cubicBezTo>
                <a:cubicBezTo>
                  <a:pt x="223" y="174"/>
                  <a:pt x="223" y="174"/>
                  <a:pt x="223" y="174"/>
                </a:cubicBezTo>
                <a:cubicBezTo>
                  <a:pt x="223" y="173"/>
                  <a:pt x="223" y="173"/>
                  <a:pt x="223" y="173"/>
                </a:cubicBezTo>
                <a:cubicBezTo>
                  <a:pt x="222" y="173"/>
                  <a:pt x="222" y="173"/>
                  <a:pt x="222" y="173"/>
                </a:cubicBezTo>
                <a:cubicBezTo>
                  <a:pt x="222" y="172"/>
                  <a:pt x="222" y="172"/>
                  <a:pt x="222" y="172"/>
                </a:cubicBezTo>
                <a:cubicBezTo>
                  <a:pt x="221" y="172"/>
                  <a:pt x="221" y="172"/>
                  <a:pt x="221" y="172"/>
                </a:cubicBezTo>
                <a:cubicBezTo>
                  <a:pt x="221" y="172"/>
                  <a:pt x="221" y="172"/>
                  <a:pt x="221" y="172"/>
                </a:cubicBezTo>
                <a:cubicBezTo>
                  <a:pt x="222" y="173"/>
                  <a:pt x="222" y="173"/>
                  <a:pt x="222" y="173"/>
                </a:cubicBezTo>
                <a:cubicBezTo>
                  <a:pt x="221" y="173"/>
                  <a:pt x="221" y="173"/>
                  <a:pt x="221" y="173"/>
                </a:cubicBezTo>
                <a:cubicBezTo>
                  <a:pt x="220" y="172"/>
                  <a:pt x="220" y="172"/>
                  <a:pt x="220" y="172"/>
                </a:cubicBezTo>
                <a:cubicBezTo>
                  <a:pt x="218" y="172"/>
                  <a:pt x="218" y="172"/>
                  <a:pt x="218" y="172"/>
                </a:cubicBezTo>
                <a:cubicBezTo>
                  <a:pt x="217" y="172"/>
                  <a:pt x="217" y="172"/>
                  <a:pt x="217" y="172"/>
                </a:cubicBezTo>
                <a:cubicBezTo>
                  <a:pt x="217" y="171"/>
                  <a:pt x="217" y="171"/>
                  <a:pt x="217" y="171"/>
                </a:cubicBezTo>
                <a:cubicBezTo>
                  <a:pt x="218" y="171"/>
                  <a:pt x="218" y="171"/>
                  <a:pt x="218" y="171"/>
                </a:cubicBezTo>
                <a:cubicBezTo>
                  <a:pt x="219" y="171"/>
                  <a:pt x="219" y="171"/>
                  <a:pt x="219" y="171"/>
                </a:cubicBezTo>
                <a:cubicBezTo>
                  <a:pt x="219" y="171"/>
                  <a:pt x="219" y="171"/>
                  <a:pt x="219" y="171"/>
                </a:cubicBezTo>
                <a:cubicBezTo>
                  <a:pt x="217" y="171"/>
                  <a:pt x="217" y="171"/>
                  <a:pt x="217" y="171"/>
                </a:cubicBezTo>
                <a:cubicBezTo>
                  <a:pt x="216" y="172"/>
                  <a:pt x="216" y="172"/>
                  <a:pt x="216" y="172"/>
                </a:cubicBezTo>
                <a:cubicBezTo>
                  <a:pt x="216" y="171"/>
                  <a:pt x="216" y="171"/>
                  <a:pt x="216" y="171"/>
                </a:cubicBezTo>
                <a:cubicBezTo>
                  <a:pt x="214" y="172"/>
                  <a:pt x="214" y="172"/>
                  <a:pt x="214" y="172"/>
                </a:cubicBezTo>
                <a:cubicBezTo>
                  <a:pt x="213" y="171"/>
                  <a:pt x="213" y="171"/>
                  <a:pt x="213" y="171"/>
                </a:cubicBezTo>
                <a:cubicBezTo>
                  <a:pt x="212" y="171"/>
                  <a:pt x="212" y="171"/>
                  <a:pt x="212" y="171"/>
                </a:cubicBezTo>
                <a:cubicBezTo>
                  <a:pt x="210" y="171"/>
                  <a:pt x="210" y="171"/>
                  <a:pt x="210" y="171"/>
                </a:cubicBezTo>
                <a:cubicBezTo>
                  <a:pt x="209" y="172"/>
                  <a:pt x="209" y="172"/>
                  <a:pt x="209" y="172"/>
                </a:cubicBezTo>
                <a:cubicBezTo>
                  <a:pt x="208" y="171"/>
                  <a:pt x="208" y="171"/>
                  <a:pt x="208" y="171"/>
                </a:cubicBezTo>
                <a:cubicBezTo>
                  <a:pt x="208" y="170"/>
                  <a:pt x="208" y="170"/>
                  <a:pt x="208" y="170"/>
                </a:cubicBezTo>
                <a:cubicBezTo>
                  <a:pt x="208" y="169"/>
                  <a:pt x="208" y="169"/>
                  <a:pt x="208" y="169"/>
                </a:cubicBezTo>
                <a:cubicBezTo>
                  <a:pt x="207" y="169"/>
                  <a:pt x="207" y="169"/>
                  <a:pt x="207" y="169"/>
                </a:cubicBezTo>
                <a:cubicBezTo>
                  <a:pt x="207" y="170"/>
                  <a:pt x="207" y="170"/>
                  <a:pt x="207" y="170"/>
                </a:cubicBezTo>
                <a:cubicBezTo>
                  <a:pt x="206" y="171"/>
                  <a:pt x="206" y="171"/>
                  <a:pt x="206" y="171"/>
                </a:cubicBezTo>
                <a:cubicBezTo>
                  <a:pt x="205" y="171"/>
                  <a:pt x="205" y="171"/>
                  <a:pt x="205" y="171"/>
                </a:cubicBezTo>
                <a:cubicBezTo>
                  <a:pt x="205" y="171"/>
                  <a:pt x="205" y="171"/>
                  <a:pt x="205" y="171"/>
                </a:cubicBezTo>
                <a:cubicBezTo>
                  <a:pt x="203" y="171"/>
                  <a:pt x="203" y="171"/>
                  <a:pt x="203" y="171"/>
                </a:cubicBezTo>
                <a:cubicBezTo>
                  <a:pt x="199" y="172"/>
                  <a:pt x="199" y="172"/>
                  <a:pt x="199" y="172"/>
                </a:cubicBezTo>
                <a:cubicBezTo>
                  <a:pt x="198" y="173"/>
                  <a:pt x="198" y="173"/>
                  <a:pt x="198" y="173"/>
                </a:cubicBezTo>
                <a:cubicBezTo>
                  <a:pt x="196" y="173"/>
                  <a:pt x="196" y="173"/>
                  <a:pt x="196" y="173"/>
                </a:cubicBezTo>
                <a:cubicBezTo>
                  <a:pt x="195" y="175"/>
                  <a:pt x="195" y="175"/>
                  <a:pt x="195" y="175"/>
                </a:cubicBezTo>
                <a:cubicBezTo>
                  <a:pt x="195" y="176"/>
                  <a:pt x="195" y="176"/>
                  <a:pt x="195" y="176"/>
                </a:cubicBezTo>
                <a:cubicBezTo>
                  <a:pt x="196" y="175"/>
                  <a:pt x="196" y="175"/>
                  <a:pt x="196" y="175"/>
                </a:cubicBezTo>
                <a:cubicBezTo>
                  <a:pt x="197" y="174"/>
                  <a:pt x="197" y="174"/>
                  <a:pt x="197" y="174"/>
                </a:cubicBezTo>
                <a:cubicBezTo>
                  <a:pt x="197" y="175"/>
                  <a:pt x="197" y="175"/>
                  <a:pt x="197" y="175"/>
                </a:cubicBezTo>
                <a:cubicBezTo>
                  <a:pt x="198" y="175"/>
                  <a:pt x="198" y="175"/>
                  <a:pt x="198" y="175"/>
                </a:cubicBezTo>
                <a:cubicBezTo>
                  <a:pt x="199" y="176"/>
                  <a:pt x="199" y="176"/>
                  <a:pt x="199" y="176"/>
                </a:cubicBezTo>
                <a:cubicBezTo>
                  <a:pt x="198" y="176"/>
                  <a:pt x="198" y="176"/>
                  <a:pt x="198" y="176"/>
                </a:cubicBezTo>
                <a:cubicBezTo>
                  <a:pt x="196" y="177"/>
                  <a:pt x="196" y="177"/>
                  <a:pt x="196" y="177"/>
                </a:cubicBezTo>
                <a:cubicBezTo>
                  <a:pt x="196" y="178"/>
                  <a:pt x="196" y="178"/>
                  <a:pt x="196" y="178"/>
                </a:cubicBezTo>
                <a:cubicBezTo>
                  <a:pt x="197" y="179"/>
                  <a:pt x="197" y="179"/>
                  <a:pt x="197" y="179"/>
                </a:cubicBezTo>
                <a:cubicBezTo>
                  <a:pt x="199" y="179"/>
                  <a:pt x="199" y="179"/>
                  <a:pt x="199" y="179"/>
                </a:cubicBezTo>
                <a:cubicBezTo>
                  <a:pt x="200" y="181"/>
                  <a:pt x="200" y="181"/>
                  <a:pt x="200" y="181"/>
                </a:cubicBezTo>
                <a:cubicBezTo>
                  <a:pt x="200" y="181"/>
                  <a:pt x="200" y="181"/>
                  <a:pt x="200" y="181"/>
                </a:cubicBezTo>
                <a:cubicBezTo>
                  <a:pt x="199" y="181"/>
                  <a:pt x="199" y="181"/>
                  <a:pt x="199" y="181"/>
                </a:cubicBezTo>
                <a:cubicBezTo>
                  <a:pt x="199" y="182"/>
                  <a:pt x="199" y="182"/>
                  <a:pt x="199" y="182"/>
                </a:cubicBezTo>
                <a:cubicBezTo>
                  <a:pt x="199" y="181"/>
                  <a:pt x="199" y="181"/>
                  <a:pt x="199" y="181"/>
                </a:cubicBezTo>
                <a:cubicBezTo>
                  <a:pt x="198" y="180"/>
                  <a:pt x="198" y="180"/>
                  <a:pt x="198" y="180"/>
                </a:cubicBezTo>
                <a:cubicBezTo>
                  <a:pt x="197" y="181"/>
                  <a:pt x="197" y="181"/>
                  <a:pt x="197" y="181"/>
                </a:cubicBezTo>
                <a:cubicBezTo>
                  <a:pt x="197" y="180"/>
                  <a:pt x="197" y="180"/>
                  <a:pt x="197" y="180"/>
                </a:cubicBezTo>
                <a:cubicBezTo>
                  <a:pt x="196" y="179"/>
                  <a:pt x="196" y="179"/>
                  <a:pt x="196" y="179"/>
                </a:cubicBezTo>
                <a:cubicBezTo>
                  <a:pt x="195" y="178"/>
                  <a:pt x="195" y="178"/>
                  <a:pt x="195" y="178"/>
                </a:cubicBezTo>
                <a:cubicBezTo>
                  <a:pt x="194" y="178"/>
                  <a:pt x="194" y="178"/>
                  <a:pt x="194" y="178"/>
                </a:cubicBezTo>
                <a:cubicBezTo>
                  <a:pt x="194" y="179"/>
                  <a:pt x="194" y="179"/>
                  <a:pt x="194" y="179"/>
                </a:cubicBezTo>
                <a:cubicBezTo>
                  <a:pt x="194" y="181"/>
                  <a:pt x="194" y="181"/>
                  <a:pt x="194" y="181"/>
                </a:cubicBezTo>
                <a:cubicBezTo>
                  <a:pt x="193" y="181"/>
                  <a:pt x="193" y="181"/>
                  <a:pt x="193" y="181"/>
                </a:cubicBezTo>
                <a:cubicBezTo>
                  <a:pt x="193" y="180"/>
                  <a:pt x="193" y="180"/>
                  <a:pt x="193" y="180"/>
                </a:cubicBezTo>
                <a:cubicBezTo>
                  <a:pt x="192" y="180"/>
                  <a:pt x="192" y="180"/>
                  <a:pt x="192" y="180"/>
                </a:cubicBezTo>
                <a:cubicBezTo>
                  <a:pt x="191" y="180"/>
                  <a:pt x="191" y="180"/>
                  <a:pt x="191" y="180"/>
                </a:cubicBezTo>
                <a:cubicBezTo>
                  <a:pt x="190" y="181"/>
                  <a:pt x="190" y="181"/>
                  <a:pt x="190" y="181"/>
                </a:cubicBezTo>
                <a:cubicBezTo>
                  <a:pt x="189" y="181"/>
                  <a:pt x="189" y="181"/>
                  <a:pt x="189" y="181"/>
                </a:cubicBezTo>
                <a:cubicBezTo>
                  <a:pt x="188" y="180"/>
                  <a:pt x="188" y="180"/>
                  <a:pt x="188" y="180"/>
                </a:cubicBezTo>
                <a:cubicBezTo>
                  <a:pt x="187" y="180"/>
                  <a:pt x="187" y="180"/>
                  <a:pt x="187" y="180"/>
                </a:cubicBezTo>
                <a:cubicBezTo>
                  <a:pt x="186" y="180"/>
                  <a:pt x="186" y="180"/>
                  <a:pt x="186" y="180"/>
                </a:cubicBezTo>
                <a:cubicBezTo>
                  <a:pt x="187" y="179"/>
                  <a:pt x="187" y="179"/>
                  <a:pt x="187" y="179"/>
                </a:cubicBezTo>
                <a:cubicBezTo>
                  <a:pt x="187" y="179"/>
                  <a:pt x="187" y="179"/>
                  <a:pt x="187" y="179"/>
                </a:cubicBezTo>
                <a:cubicBezTo>
                  <a:pt x="187" y="178"/>
                  <a:pt x="187" y="178"/>
                  <a:pt x="187" y="178"/>
                </a:cubicBezTo>
                <a:cubicBezTo>
                  <a:pt x="186" y="178"/>
                  <a:pt x="186" y="178"/>
                  <a:pt x="186" y="178"/>
                </a:cubicBezTo>
                <a:cubicBezTo>
                  <a:pt x="185" y="178"/>
                  <a:pt x="185" y="178"/>
                  <a:pt x="185" y="178"/>
                </a:cubicBezTo>
                <a:cubicBezTo>
                  <a:pt x="185" y="177"/>
                  <a:pt x="185" y="177"/>
                  <a:pt x="185" y="177"/>
                </a:cubicBezTo>
                <a:cubicBezTo>
                  <a:pt x="185" y="176"/>
                  <a:pt x="185" y="176"/>
                  <a:pt x="185" y="176"/>
                </a:cubicBezTo>
                <a:cubicBezTo>
                  <a:pt x="184" y="177"/>
                  <a:pt x="184" y="177"/>
                  <a:pt x="184" y="177"/>
                </a:cubicBezTo>
                <a:cubicBezTo>
                  <a:pt x="183" y="176"/>
                  <a:pt x="183" y="176"/>
                  <a:pt x="183" y="176"/>
                </a:cubicBezTo>
                <a:cubicBezTo>
                  <a:pt x="184" y="176"/>
                  <a:pt x="184" y="176"/>
                  <a:pt x="184" y="176"/>
                </a:cubicBezTo>
                <a:cubicBezTo>
                  <a:pt x="183" y="175"/>
                  <a:pt x="183" y="175"/>
                  <a:pt x="183" y="175"/>
                </a:cubicBezTo>
                <a:cubicBezTo>
                  <a:pt x="182" y="176"/>
                  <a:pt x="182" y="176"/>
                  <a:pt x="182" y="176"/>
                </a:cubicBezTo>
                <a:cubicBezTo>
                  <a:pt x="182" y="176"/>
                  <a:pt x="182" y="176"/>
                  <a:pt x="182" y="176"/>
                </a:cubicBezTo>
                <a:cubicBezTo>
                  <a:pt x="182" y="177"/>
                  <a:pt x="182" y="177"/>
                  <a:pt x="182" y="177"/>
                </a:cubicBezTo>
                <a:cubicBezTo>
                  <a:pt x="181" y="177"/>
                  <a:pt x="181" y="177"/>
                  <a:pt x="181" y="177"/>
                </a:cubicBezTo>
                <a:cubicBezTo>
                  <a:pt x="177" y="177"/>
                  <a:pt x="177" y="177"/>
                  <a:pt x="177" y="177"/>
                </a:cubicBezTo>
                <a:cubicBezTo>
                  <a:pt x="177" y="176"/>
                  <a:pt x="177" y="176"/>
                  <a:pt x="177" y="176"/>
                </a:cubicBezTo>
                <a:cubicBezTo>
                  <a:pt x="174" y="176"/>
                  <a:pt x="174" y="176"/>
                  <a:pt x="174" y="176"/>
                </a:cubicBezTo>
                <a:cubicBezTo>
                  <a:pt x="172" y="176"/>
                  <a:pt x="172" y="176"/>
                  <a:pt x="172" y="176"/>
                </a:cubicBezTo>
                <a:cubicBezTo>
                  <a:pt x="170" y="176"/>
                  <a:pt x="170" y="176"/>
                  <a:pt x="170" y="176"/>
                </a:cubicBezTo>
                <a:cubicBezTo>
                  <a:pt x="169" y="177"/>
                  <a:pt x="169" y="177"/>
                  <a:pt x="169" y="177"/>
                </a:cubicBezTo>
                <a:cubicBezTo>
                  <a:pt x="168" y="177"/>
                  <a:pt x="168" y="177"/>
                  <a:pt x="168" y="177"/>
                </a:cubicBezTo>
                <a:cubicBezTo>
                  <a:pt x="167" y="178"/>
                  <a:pt x="167" y="178"/>
                  <a:pt x="167" y="178"/>
                </a:cubicBezTo>
                <a:cubicBezTo>
                  <a:pt x="166" y="178"/>
                  <a:pt x="166" y="178"/>
                  <a:pt x="166" y="178"/>
                </a:cubicBezTo>
                <a:cubicBezTo>
                  <a:pt x="166" y="177"/>
                  <a:pt x="166" y="177"/>
                  <a:pt x="166" y="177"/>
                </a:cubicBezTo>
                <a:cubicBezTo>
                  <a:pt x="166" y="176"/>
                  <a:pt x="166" y="176"/>
                  <a:pt x="166" y="176"/>
                </a:cubicBezTo>
                <a:cubicBezTo>
                  <a:pt x="167" y="175"/>
                  <a:pt x="167" y="175"/>
                  <a:pt x="167" y="175"/>
                </a:cubicBezTo>
                <a:cubicBezTo>
                  <a:pt x="166" y="174"/>
                  <a:pt x="166" y="174"/>
                  <a:pt x="166" y="174"/>
                </a:cubicBezTo>
                <a:cubicBezTo>
                  <a:pt x="166" y="175"/>
                  <a:pt x="166" y="175"/>
                  <a:pt x="166" y="175"/>
                </a:cubicBezTo>
                <a:cubicBezTo>
                  <a:pt x="165" y="176"/>
                  <a:pt x="165" y="176"/>
                  <a:pt x="165" y="176"/>
                </a:cubicBezTo>
                <a:cubicBezTo>
                  <a:pt x="164" y="176"/>
                  <a:pt x="164" y="176"/>
                  <a:pt x="164" y="176"/>
                </a:cubicBezTo>
                <a:cubicBezTo>
                  <a:pt x="163" y="175"/>
                  <a:pt x="163" y="175"/>
                  <a:pt x="163" y="175"/>
                </a:cubicBezTo>
                <a:cubicBezTo>
                  <a:pt x="164" y="177"/>
                  <a:pt x="164" y="177"/>
                  <a:pt x="164" y="177"/>
                </a:cubicBezTo>
                <a:cubicBezTo>
                  <a:pt x="164" y="178"/>
                  <a:pt x="164" y="178"/>
                  <a:pt x="164" y="178"/>
                </a:cubicBezTo>
                <a:cubicBezTo>
                  <a:pt x="164" y="179"/>
                  <a:pt x="164" y="179"/>
                  <a:pt x="164" y="179"/>
                </a:cubicBezTo>
                <a:cubicBezTo>
                  <a:pt x="164" y="180"/>
                  <a:pt x="164" y="180"/>
                  <a:pt x="164" y="180"/>
                </a:cubicBezTo>
                <a:cubicBezTo>
                  <a:pt x="163" y="180"/>
                  <a:pt x="163" y="180"/>
                  <a:pt x="163" y="180"/>
                </a:cubicBezTo>
                <a:cubicBezTo>
                  <a:pt x="161" y="182"/>
                  <a:pt x="161" y="182"/>
                  <a:pt x="161" y="182"/>
                </a:cubicBezTo>
                <a:cubicBezTo>
                  <a:pt x="158" y="183"/>
                  <a:pt x="158" y="183"/>
                  <a:pt x="158" y="183"/>
                </a:cubicBezTo>
                <a:cubicBezTo>
                  <a:pt x="157" y="183"/>
                  <a:pt x="157" y="183"/>
                  <a:pt x="157" y="183"/>
                </a:cubicBezTo>
                <a:cubicBezTo>
                  <a:pt x="156" y="184"/>
                  <a:pt x="156" y="184"/>
                  <a:pt x="156" y="184"/>
                </a:cubicBezTo>
                <a:cubicBezTo>
                  <a:pt x="155" y="184"/>
                  <a:pt x="155" y="184"/>
                  <a:pt x="155" y="184"/>
                </a:cubicBezTo>
                <a:cubicBezTo>
                  <a:pt x="156" y="183"/>
                  <a:pt x="156" y="183"/>
                  <a:pt x="156" y="183"/>
                </a:cubicBezTo>
                <a:cubicBezTo>
                  <a:pt x="155" y="183"/>
                  <a:pt x="155" y="183"/>
                  <a:pt x="155" y="183"/>
                </a:cubicBezTo>
                <a:cubicBezTo>
                  <a:pt x="155" y="183"/>
                  <a:pt x="155" y="183"/>
                  <a:pt x="155" y="183"/>
                </a:cubicBezTo>
                <a:cubicBezTo>
                  <a:pt x="154" y="183"/>
                  <a:pt x="154" y="183"/>
                  <a:pt x="154" y="183"/>
                </a:cubicBezTo>
                <a:cubicBezTo>
                  <a:pt x="153" y="183"/>
                  <a:pt x="153" y="183"/>
                  <a:pt x="153" y="183"/>
                </a:cubicBezTo>
                <a:cubicBezTo>
                  <a:pt x="154" y="184"/>
                  <a:pt x="154" y="184"/>
                  <a:pt x="154" y="184"/>
                </a:cubicBezTo>
                <a:cubicBezTo>
                  <a:pt x="153" y="184"/>
                  <a:pt x="153" y="184"/>
                  <a:pt x="153" y="184"/>
                </a:cubicBezTo>
                <a:cubicBezTo>
                  <a:pt x="152" y="184"/>
                  <a:pt x="152" y="184"/>
                  <a:pt x="152" y="184"/>
                </a:cubicBezTo>
                <a:cubicBezTo>
                  <a:pt x="152" y="185"/>
                  <a:pt x="152" y="185"/>
                  <a:pt x="152" y="185"/>
                </a:cubicBezTo>
                <a:cubicBezTo>
                  <a:pt x="151" y="186"/>
                  <a:pt x="151" y="186"/>
                  <a:pt x="151" y="186"/>
                </a:cubicBezTo>
                <a:cubicBezTo>
                  <a:pt x="150" y="186"/>
                  <a:pt x="150" y="186"/>
                  <a:pt x="150" y="186"/>
                </a:cubicBezTo>
                <a:cubicBezTo>
                  <a:pt x="149" y="187"/>
                  <a:pt x="149" y="187"/>
                  <a:pt x="149" y="187"/>
                </a:cubicBezTo>
                <a:cubicBezTo>
                  <a:pt x="150" y="188"/>
                  <a:pt x="150" y="188"/>
                  <a:pt x="150" y="188"/>
                </a:cubicBezTo>
                <a:cubicBezTo>
                  <a:pt x="149" y="189"/>
                  <a:pt x="149" y="189"/>
                  <a:pt x="149" y="189"/>
                </a:cubicBezTo>
                <a:cubicBezTo>
                  <a:pt x="148" y="189"/>
                  <a:pt x="148" y="189"/>
                  <a:pt x="148" y="189"/>
                </a:cubicBezTo>
                <a:cubicBezTo>
                  <a:pt x="148" y="192"/>
                  <a:pt x="148" y="192"/>
                  <a:pt x="148" y="192"/>
                </a:cubicBezTo>
                <a:cubicBezTo>
                  <a:pt x="147" y="193"/>
                  <a:pt x="147" y="193"/>
                  <a:pt x="147" y="193"/>
                </a:cubicBezTo>
                <a:cubicBezTo>
                  <a:pt x="147" y="195"/>
                  <a:pt x="147" y="195"/>
                  <a:pt x="147" y="195"/>
                </a:cubicBezTo>
                <a:cubicBezTo>
                  <a:pt x="146" y="196"/>
                  <a:pt x="146" y="196"/>
                  <a:pt x="146" y="196"/>
                </a:cubicBezTo>
                <a:cubicBezTo>
                  <a:pt x="146" y="197"/>
                  <a:pt x="146" y="197"/>
                  <a:pt x="146" y="197"/>
                </a:cubicBezTo>
                <a:cubicBezTo>
                  <a:pt x="146" y="200"/>
                  <a:pt x="146" y="200"/>
                  <a:pt x="146" y="200"/>
                </a:cubicBezTo>
                <a:cubicBezTo>
                  <a:pt x="147" y="201"/>
                  <a:pt x="147" y="201"/>
                  <a:pt x="147" y="201"/>
                </a:cubicBezTo>
                <a:cubicBezTo>
                  <a:pt x="146" y="202"/>
                  <a:pt x="146" y="202"/>
                  <a:pt x="146" y="202"/>
                </a:cubicBezTo>
                <a:cubicBezTo>
                  <a:pt x="146" y="204"/>
                  <a:pt x="146" y="204"/>
                  <a:pt x="146" y="204"/>
                </a:cubicBezTo>
                <a:cubicBezTo>
                  <a:pt x="145" y="204"/>
                  <a:pt x="145" y="204"/>
                  <a:pt x="145" y="204"/>
                </a:cubicBezTo>
                <a:cubicBezTo>
                  <a:pt x="145" y="203"/>
                  <a:pt x="145" y="203"/>
                  <a:pt x="145" y="203"/>
                </a:cubicBezTo>
                <a:cubicBezTo>
                  <a:pt x="144" y="203"/>
                  <a:pt x="144" y="203"/>
                  <a:pt x="144" y="203"/>
                </a:cubicBezTo>
                <a:cubicBezTo>
                  <a:pt x="142" y="202"/>
                  <a:pt x="142" y="202"/>
                  <a:pt x="142" y="202"/>
                </a:cubicBezTo>
                <a:cubicBezTo>
                  <a:pt x="140" y="201"/>
                  <a:pt x="140" y="201"/>
                  <a:pt x="140" y="201"/>
                </a:cubicBezTo>
                <a:cubicBezTo>
                  <a:pt x="139" y="200"/>
                  <a:pt x="139" y="200"/>
                  <a:pt x="139" y="200"/>
                </a:cubicBezTo>
                <a:cubicBezTo>
                  <a:pt x="138" y="200"/>
                  <a:pt x="138" y="200"/>
                  <a:pt x="138" y="200"/>
                </a:cubicBezTo>
                <a:cubicBezTo>
                  <a:pt x="138" y="200"/>
                  <a:pt x="138" y="200"/>
                  <a:pt x="138" y="200"/>
                </a:cubicBezTo>
                <a:cubicBezTo>
                  <a:pt x="137" y="200"/>
                  <a:pt x="137" y="200"/>
                  <a:pt x="137" y="200"/>
                </a:cubicBezTo>
                <a:cubicBezTo>
                  <a:pt x="137" y="200"/>
                  <a:pt x="137" y="200"/>
                  <a:pt x="137" y="200"/>
                </a:cubicBezTo>
                <a:cubicBezTo>
                  <a:pt x="136" y="199"/>
                  <a:pt x="136" y="199"/>
                  <a:pt x="136" y="199"/>
                </a:cubicBezTo>
                <a:cubicBezTo>
                  <a:pt x="136" y="197"/>
                  <a:pt x="136" y="197"/>
                  <a:pt x="136" y="197"/>
                </a:cubicBezTo>
                <a:cubicBezTo>
                  <a:pt x="135" y="194"/>
                  <a:pt x="135" y="194"/>
                  <a:pt x="135" y="194"/>
                </a:cubicBezTo>
                <a:cubicBezTo>
                  <a:pt x="135" y="193"/>
                  <a:pt x="135" y="193"/>
                  <a:pt x="135" y="193"/>
                </a:cubicBezTo>
                <a:cubicBezTo>
                  <a:pt x="135" y="193"/>
                  <a:pt x="135" y="193"/>
                  <a:pt x="135" y="193"/>
                </a:cubicBezTo>
                <a:cubicBezTo>
                  <a:pt x="135" y="192"/>
                  <a:pt x="135" y="192"/>
                  <a:pt x="135" y="192"/>
                </a:cubicBezTo>
                <a:cubicBezTo>
                  <a:pt x="135" y="191"/>
                  <a:pt x="135" y="191"/>
                  <a:pt x="135" y="191"/>
                </a:cubicBezTo>
                <a:cubicBezTo>
                  <a:pt x="134" y="189"/>
                  <a:pt x="134" y="189"/>
                  <a:pt x="134" y="189"/>
                </a:cubicBezTo>
                <a:cubicBezTo>
                  <a:pt x="134" y="188"/>
                  <a:pt x="134" y="188"/>
                  <a:pt x="134" y="188"/>
                </a:cubicBezTo>
                <a:cubicBezTo>
                  <a:pt x="133" y="187"/>
                  <a:pt x="133" y="187"/>
                  <a:pt x="133" y="187"/>
                </a:cubicBezTo>
                <a:cubicBezTo>
                  <a:pt x="132" y="187"/>
                  <a:pt x="132" y="187"/>
                  <a:pt x="132" y="187"/>
                </a:cubicBezTo>
                <a:cubicBezTo>
                  <a:pt x="132" y="186"/>
                  <a:pt x="132" y="186"/>
                  <a:pt x="132" y="186"/>
                </a:cubicBezTo>
                <a:cubicBezTo>
                  <a:pt x="132" y="186"/>
                  <a:pt x="132" y="186"/>
                  <a:pt x="132" y="186"/>
                </a:cubicBezTo>
                <a:cubicBezTo>
                  <a:pt x="131" y="183"/>
                  <a:pt x="131" y="183"/>
                  <a:pt x="131" y="183"/>
                </a:cubicBezTo>
                <a:cubicBezTo>
                  <a:pt x="130" y="182"/>
                  <a:pt x="130" y="182"/>
                  <a:pt x="130" y="182"/>
                </a:cubicBezTo>
                <a:cubicBezTo>
                  <a:pt x="130" y="182"/>
                  <a:pt x="130" y="182"/>
                  <a:pt x="130" y="182"/>
                </a:cubicBezTo>
                <a:cubicBezTo>
                  <a:pt x="130" y="181"/>
                  <a:pt x="130" y="181"/>
                  <a:pt x="130" y="181"/>
                </a:cubicBezTo>
                <a:cubicBezTo>
                  <a:pt x="129" y="180"/>
                  <a:pt x="129" y="180"/>
                  <a:pt x="129" y="180"/>
                </a:cubicBezTo>
                <a:cubicBezTo>
                  <a:pt x="129" y="179"/>
                  <a:pt x="129" y="179"/>
                  <a:pt x="129" y="179"/>
                </a:cubicBezTo>
                <a:cubicBezTo>
                  <a:pt x="129" y="178"/>
                  <a:pt x="129" y="178"/>
                  <a:pt x="129" y="178"/>
                </a:cubicBezTo>
                <a:cubicBezTo>
                  <a:pt x="128" y="176"/>
                  <a:pt x="128" y="176"/>
                  <a:pt x="128" y="176"/>
                </a:cubicBezTo>
                <a:cubicBezTo>
                  <a:pt x="126" y="175"/>
                  <a:pt x="126" y="175"/>
                  <a:pt x="126" y="175"/>
                </a:cubicBezTo>
                <a:cubicBezTo>
                  <a:pt x="126" y="174"/>
                  <a:pt x="126" y="174"/>
                  <a:pt x="126" y="174"/>
                </a:cubicBezTo>
                <a:cubicBezTo>
                  <a:pt x="125" y="174"/>
                  <a:pt x="125" y="174"/>
                  <a:pt x="125" y="174"/>
                </a:cubicBezTo>
                <a:cubicBezTo>
                  <a:pt x="124" y="174"/>
                  <a:pt x="124" y="174"/>
                  <a:pt x="124" y="174"/>
                </a:cubicBezTo>
                <a:cubicBezTo>
                  <a:pt x="124" y="174"/>
                  <a:pt x="124" y="174"/>
                  <a:pt x="124" y="174"/>
                </a:cubicBezTo>
                <a:cubicBezTo>
                  <a:pt x="123" y="173"/>
                  <a:pt x="123" y="173"/>
                  <a:pt x="123" y="173"/>
                </a:cubicBezTo>
                <a:cubicBezTo>
                  <a:pt x="122" y="174"/>
                  <a:pt x="122" y="174"/>
                  <a:pt x="122" y="174"/>
                </a:cubicBezTo>
                <a:cubicBezTo>
                  <a:pt x="121" y="173"/>
                  <a:pt x="121" y="173"/>
                  <a:pt x="121" y="173"/>
                </a:cubicBezTo>
                <a:cubicBezTo>
                  <a:pt x="120" y="173"/>
                  <a:pt x="120" y="173"/>
                  <a:pt x="120" y="173"/>
                </a:cubicBezTo>
                <a:cubicBezTo>
                  <a:pt x="120" y="174"/>
                  <a:pt x="120" y="174"/>
                  <a:pt x="120" y="174"/>
                </a:cubicBezTo>
                <a:cubicBezTo>
                  <a:pt x="119" y="174"/>
                  <a:pt x="119" y="174"/>
                  <a:pt x="119" y="174"/>
                </a:cubicBezTo>
                <a:cubicBezTo>
                  <a:pt x="119" y="174"/>
                  <a:pt x="119" y="174"/>
                  <a:pt x="119" y="174"/>
                </a:cubicBezTo>
                <a:cubicBezTo>
                  <a:pt x="119" y="174"/>
                  <a:pt x="119" y="174"/>
                  <a:pt x="119" y="174"/>
                </a:cubicBezTo>
                <a:cubicBezTo>
                  <a:pt x="118" y="174"/>
                  <a:pt x="118" y="174"/>
                  <a:pt x="118" y="174"/>
                </a:cubicBezTo>
                <a:cubicBezTo>
                  <a:pt x="117" y="175"/>
                  <a:pt x="117" y="175"/>
                  <a:pt x="117" y="175"/>
                </a:cubicBezTo>
                <a:cubicBezTo>
                  <a:pt x="116" y="177"/>
                  <a:pt x="116" y="177"/>
                  <a:pt x="116" y="177"/>
                </a:cubicBezTo>
                <a:cubicBezTo>
                  <a:pt x="116" y="177"/>
                  <a:pt x="116" y="177"/>
                  <a:pt x="116" y="177"/>
                </a:cubicBezTo>
                <a:cubicBezTo>
                  <a:pt x="116" y="178"/>
                  <a:pt x="116" y="178"/>
                  <a:pt x="116" y="178"/>
                </a:cubicBezTo>
                <a:cubicBezTo>
                  <a:pt x="116" y="178"/>
                  <a:pt x="116" y="178"/>
                  <a:pt x="116" y="178"/>
                </a:cubicBezTo>
                <a:cubicBezTo>
                  <a:pt x="115" y="178"/>
                  <a:pt x="115" y="178"/>
                  <a:pt x="115" y="178"/>
                </a:cubicBezTo>
                <a:cubicBezTo>
                  <a:pt x="114" y="179"/>
                  <a:pt x="114" y="179"/>
                  <a:pt x="114" y="179"/>
                </a:cubicBezTo>
                <a:cubicBezTo>
                  <a:pt x="114" y="179"/>
                  <a:pt x="114" y="179"/>
                  <a:pt x="114" y="179"/>
                </a:cubicBezTo>
                <a:cubicBezTo>
                  <a:pt x="114" y="180"/>
                  <a:pt x="114" y="180"/>
                  <a:pt x="114" y="180"/>
                </a:cubicBezTo>
                <a:cubicBezTo>
                  <a:pt x="113" y="180"/>
                  <a:pt x="113" y="180"/>
                  <a:pt x="113" y="180"/>
                </a:cubicBezTo>
                <a:cubicBezTo>
                  <a:pt x="113" y="179"/>
                  <a:pt x="113" y="179"/>
                  <a:pt x="113" y="179"/>
                </a:cubicBezTo>
                <a:cubicBezTo>
                  <a:pt x="111" y="178"/>
                  <a:pt x="111" y="178"/>
                  <a:pt x="111" y="178"/>
                </a:cubicBezTo>
                <a:cubicBezTo>
                  <a:pt x="110" y="178"/>
                  <a:pt x="110" y="178"/>
                  <a:pt x="110" y="178"/>
                </a:cubicBezTo>
                <a:cubicBezTo>
                  <a:pt x="110" y="178"/>
                  <a:pt x="110" y="178"/>
                  <a:pt x="110" y="178"/>
                </a:cubicBezTo>
                <a:cubicBezTo>
                  <a:pt x="109" y="177"/>
                  <a:pt x="109" y="177"/>
                  <a:pt x="109" y="177"/>
                </a:cubicBezTo>
                <a:cubicBezTo>
                  <a:pt x="108" y="177"/>
                  <a:pt x="108" y="177"/>
                  <a:pt x="108" y="177"/>
                </a:cubicBezTo>
                <a:cubicBezTo>
                  <a:pt x="108" y="177"/>
                  <a:pt x="108" y="177"/>
                  <a:pt x="108" y="177"/>
                </a:cubicBezTo>
                <a:cubicBezTo>
                  <a:pt x="108" y="176"/>
                  <a:pt x="108" y="176"/>
                  <a:pt x="108" y="176"/>
                </a:cubicBezTo>
                <a:cubicBezTo>
                  <a:pt x="107" y="176"/>
                  <a:pt x="107" y="176"/>
                  <a:pt x="107" y="176"/>
                </a:cubicBezTo>
                <a:cubicBezTo>
                  <a:pt x="107" y="175"/>
                  <a:pt x="107" y="175"/>
                  <a:pt x="107" y="175"/>
                </a:cubicBezTo>
                <a:cubicBezTo>
                  <a:pt x="106" y="175"/>
                  <a:pt x="106" y="175"/>
                  <a:pt x="106" y="175"/>
                </a:cubicBezTo>
                <a:cubicBezTo>
                  <a:pt x="106" y="175"/>
                  <a:pt x="106" y="175"/>
                  <a:pt x="106" y="175"/>
                </a:cubicBezTo>
                <a:cubicBezTo>
                  <a:pt x="106" y="175"/>
                  <a:pt x="106" y="175"/>
                  <a:pt x="106" y="175"/>
                </a:cubicBezTo>
                <a:cubicBezTo>
                  <a:pt x="106" y="175"/>
                  <a:pt x="106" y="175"/>
                  <a:pt x="106" y="175"/>
                </a:cubicBezTo>
                <a:cubicBezTo>
                  <a:pt x="105" y="174"/>
                  <a:pt x="105" y="174"/>
                  <a:pt x="105" y="174"/>
                </a:cubicBezTo>
                <a:cubicBezTo>
                  <a:pt x="104" y="173"/>
                  <a:pt x="104" y="173"/>
                  <a:pt x="104" y="173"/>
                </a:cubicBezTo>
                <a:cubicBezTo>
                  <a:pt x="103" y="171"/>
                  <a:pt x="103" y="171"/>
                  <a:pt x="103" y="171"/>
                </a:cubicBezTo>
                <a:cubicBezTo>
                  <a:pt x="103" y="171"/>
                  <a:pt x="103" y="171"/>
                  <a:pt x="103" y="171"/>
                </a:cubicBezTo>
                <a:cubicBezTo>
                  <a:pt x="104" y="171"/>
                  <a:pt x="104" y="171"/>
                  <a:pt x="104" y="171"/>
                </a:cubicBezTo>
                <a:cubicBezTo>
                  <a:pt x="104" y="171"/>
                  <a:pt x="104" y="171"/>
                  <a:pt x="104" y="171"/>
                </a:cubicBezTo>
                <a:cubicBezTo>
                  <a:pt x="104" y="170"/>
                  <a:pt x="104" y="170"/>
                  <a:pt x="104" y="170"/>
                </a:cubicBezTo>
                <a:cubicBezTo>
                  <a:pt x="104" y="169"/>
                  <a:pt x="104" y="169"/>
                  <a:pt x="104" y="169"/>
                </a:cubicBezTo>
                <a:cubicBezTo>
                  <a:pt x="103" y="168"/>
                  <a:pt x="103" y="168"/>
                  <a:pt x="103" y="168"/>
                </a:cubicBezTo>
                <a:cubicBezTo>
                  <a:pt x="103" y="168"/>
                  <a:pt x="103" y="168"/>
                  <a:pt x="103" y="168"/>
                </a:cubicBezTo>
                <a:cubicBezTo>
                  <a:pt x="103" y="168"/>
                  <a:pt x="103" y="168"/>
                  <a:pt x="103" y="168"/>
                </a:cubicBezTo>
                <a:cubicBezTo>
                  <a:pt x="103" y="166"/>
                  <a:pt x="103" y="166"/>
                  <a:pt x="103" y="166"/>
                </a:cubicBezTo>
                <a:cubicBezTo>
                  <a:pt x="102" y="166"/>
                  <a:pt x="102" y="166"/>
                  <a:pt x="102" y="166"/>
                </a:cubicBezTo>
                <a:cubicBezTo>
                  <a:pt x="101" y="165"/>
                  <a:pt x="101" y="165"/>
                  <a:pt x="101" y="165"/>
                </a:cubicBezTo>
                <a:cubicBezTo>
                  <a:pt x="100" y="165"/>
                  <a:pt x="100" y="165"/>
                  <a:pt x="100" y="165"/>
                </a:cubicBezTo>
                <a:cubicBezTo>
                  <a:pt x="101" y="164"/>
                  <a:pt x="101" y="164"/>
                  <a:pt x="101" y="164"/>
                </a:cubicBezTo>
                <a:cubicBezTo>
                  <a:pt x="101" y="164"/>
                  <a:pt x="101" y="164"/>
                  <a:pt x="101" y="164"/>
                </a:cubicBezTo>
                <a:cubicBezTo>
                  <a:pt x="100" y="163"/>
                  <a:pt x="100" y="163"/>
                  <a:pt x="100" y="163"/>
                </a:cubicBezTo>
                <a:cubicBezTo>
                  <a:pt x="99" y="163"/>
                  <a:pt x="99" y="163"/>
                  <a:pt x="99" y="163"/>
                </a:cubicBezTo>
                <a:cubicBezTo>
                  <a:pt x="99" y="162"/>
                  <a:pt x="99" y="162"/>
                  <a:pt x="99" y="162"/>
                </a:cubicBezTo>
                <a:cubicBezTo>
                  <a:pt x="98" y="161"/>
                  <a:pt x="98" y="161"/>
                  <a:pt x="98" y="161"/>
                </a:cubicBezTo>
                <a:cubicBezTo>
                  <a:pt x="98" y="161"/>
                  <a:pt x="98" y="161"/>
                  <a:pt x="98" y="161"/>
                </a:cubicBezTo>
                <a:cubicBezTo>
                  <a:pt x="98" y="161"/>
                  <a:pt x="98" y="161"/>
                  <a:pt x="98" y="161"/>
                </a:cubicBezTo>
                <a:cubicBezTo>
                  <a:pt x="97" y="160"/>
                  <a:pt x="97" y="160"/>
                  <a:pt x="97" y="160"/>
                </a:cubicBezTo>
                <a:cubicBezTo>
                  <a:pt x="96" y="158"/>
                  <a:pt x="96" y="158"/>
                  <a:pt x="96" y="158"/>
                </a:cubicBezTo>
                <a:cubicBezTo>
                  <a:pt x="95" y="158"/>
                  <a:pt x="95" y="158"/>
                  <a:pt x="95" y="158"/>
                </a:cubicBezTo>
                <a:cubicBezTo>
                  <a:pt x="85" y="157"/>
                  <a:pt x="85" y="157"/>
                  <a:pt x="85" y="157"/>
                </a:cubicBezTo>
                <a:cubicBezTo>
                  <a:pt x="85" y="160"/>
                  <a:pt x="85" y="160"/>
                  <a:pt x="85" y="160"/>
                </a:cubicBezTo>
                <a:cubicBezTo>
                  <a:pt x="67" y="159"/>
                  <a:pt x="67" y="159"/>
                  <a:pt x="67" y="159"/>
                </a:cubicBezTo>
                <a:cubicBezTo>
                  <a:pt x="45" y="149"/>
                  <a:pt x="45" y="149"/>
                  <a:pt x="45" y="149"/>
                </a:cubicBezTo>
                <a:cubicBezTo>
                  <a:pt x="46" y="149"/>
                  <a:pt x="46" y="149"/>
                  <a:pt x="46" y="149"/>
                </a:cubicBezTo>
                <a:cubicBezTo>
                  <a:pt x="45" y="148"/>
                  <a:pt x="45" y="148"/>
                  <a:pt x="45" y="148"/>
                </a:cubicBezTo>
                <a:cubicBezTo>
                  <a:pt x="30" y="149"/>
                  <a:pt x="30" y="149"/>
                  <a:pt x="30" y="149"/>
                </a:cubicBezTo>
                <a:cubicBezTo>
                  <a:pt x="30" y="148"/>
                  <a:pt x="30" y="148"/>
                  <a:pt x="30" y="148"/>
                </a:cubicBezTo>
                <a:cubicBezTo>
                  <a:pt x="30" y="146"/>
                  <a:pt x="30" y="146"/>
                  <a:pt x="30" y="146"/>
                </a:cubicBezTo>
                <a:cubicBezTo>
                  <a:pt x="30" y="144"/>
                  <a:pt x="30" y="144"/>
                  <a:pt x="30" y="144"/>
                </a:cubicBezTo>
                <a:cubicBezTo>
                  <a:pt x="28" y="141"/>
                  <a:pt x="28" y="141"/>
                  <a:pt x="28" y="141"/>
                </a:cubicBezTo>
                <a:cubicBezTo>
                  <a:pt x="27" y="139"/>
                  <a:pt x="27" y="139"/>
                  <a:pt x="27" y="139"/>
                </a:cubicBezTo>
                <a:cubicBezTo>
                  <a:pt x="26" y="140"/>
                  <a:pt x="26" y="140"/>
                  <a:pt x="26" y="140"/>
                </a:cubicBezTo>
                <a:cubicBezTo>
                  <a:pt x="25" y="140"/>
                  <a:pt x="25" y="140"/>
                  <a:pt x="25" y="140"/>
                </a:cubicBezTo>
                <a:cubicBezTo>
                  <a:pt x="25" y="139"/>
                  <a:pt x="25" y="139"/>
                  <a:pt x="25" y="139"/>
                </a:cubicBezTo>
                <a:cubicBezTo>
                  <a:pt x="25" y="138"/>
                  <a:pt x="25" y="138"/>
                  <a:pt x="25" y="138"/>
                </a:cubicBezTo>
                <a:cubicBezTo>
                  <a:pt x="25" y="138"/>
                  <a:pt x="25" y="138"/>
                  <a:pt x="25" y="138"/>
                </a:cubicBezTo>
                <a:cubicBezTo>
                  <a:pt x="23" y="137"/>
                  <a:pt x="23" y="137"/>
                  <a:pt x="23" y="137"/>
                </a:cubicBezTo>
                <a:cubicBezTo>
                  <a:pt x="22" y="137"/>
                  <a:pt x="22" y="137"/>
                  <a:pt x="22" y="137"/>
                </a:cubicBezTo>
                <a:cubicBezTo>
                  <a:pt x="20" y="136"/>
                  <a:pt x="20" y="136"/>
                  <a:pt x="20" y="136"/>
                </a:cubicBezTo>
                <a:cubicBezTo>
                  <a:pt x="20" y="135"/>
                  <a:pt x="20" y="135"/>
                  <a:pt x="20" y="135"/>
                </a:cubicBezTo>
                <a:cubicBezTo>
                  <a:pt x="19" y="134"/>
                  <a:pt x="19" y="134"/>
                  <a:pt x="19" y="134"/>
                </a:cubicBezTo>
                <a:cubicBezTo>
                  <a:pt x="18" y="134"/>
                  <a:pt x="18" y="134"/>
                  <a:pt x="18" y="134"/>
                </a:cubicBezTo>
                <a:cubicBezTo>
                  <a:pt x="17" y="134"/>
                  <a:pt x="17" y="134"/>
                  <a:pt x="17" y="134"/>
                </a:cubicBezTo>
                <a:cubicBezTo>
                  <a:pt x="16" y="133"/>
                  <a:pt x="16" y="133"/>
                  <a:pt x="16" y="133"/>
                </a:cubicBezTo>
                <a:cubicBezTo>
                  <a:pt x="15" y="133"/>
                  <a:pt x="15" y="133"/>
                  <a:pt x="15" y="133"/>
                </a:cubicBezTo>
                <a:cubicBezTo>
                  <a:pt x="12" y="133"/>
                  <a:pt x="12" y="133"/>
                  <a:pt x="12" y="133"/>
                </a:cubicBezTo>
                <a:cubicBezTo>
                  <a:pt x="12" y="133"/>
                  <a:pt x="12" y="133"/>
                  <a:pt x="12" y="133"/>
                </a:cubicBezTo>
                <a:cubicBezTo>
                  <a:pt x="11" y="132"/>
                  <a:pt x="11" y="132"/>
                  <a:pt x="11" y="132"/>
                </a:cubicBezTo>
                <a:cubicBezTo>
                  <a:pt x="12" y="131"/>
                  <a:pt x="12" y="131"/>
                  <a:pt x="12" y="131"/>
                </a:cubicBezTo>
                <a:cubicBezTo>
                  <a:pt x="12" y="130"/>
                  <a:pt x="12" y="130"/>
                  <a:pt x="12" y="130"/>
                </a:cubicBezTo>
                <a:cubicBezTo>
                  <a:pt x="13" y="129"/>
                  <a:pt x="13" y="129"/>
                  <a:pt x="13" y="129"/>
                </a:cubicBezTo>
                <a:cubicBezTo>
                  <a:pt x="12" y="127"/>
                  <a:pt x="12" y="127"/>
                  <a:pt x="12" y="127"/>
                </a:cubicBezTo>
                <a:cubicBezTo>
                  <a:pt x="11" y="126"/>
                  <a:pt x="11" y="126"/>
                  <a:pt x="11" y="126"/>
                </a:cubicBezTo>
                <a:cubicBezTo>
                  <a:pt x="11" y="126"/>
                  <a:pt x="11" y="126"/>
                  <a:pt x="11" y="126"/>
                </a:cubicBezTo>
                <a:cubicBezTo>
                  <a:pt x="11" y="125"/>
                  <a:pt x="11" y="125"/>
                  <a:pt x="11" y="125"/>
                </a:cubicBezTo>
                <a:cubicBezTo>
                  <a:pt x="11" y="125"/>
                  <a:pt x="11" y="125"/>
                  <a:pt x="11" y="125"/>
                </a:cubicBezTo>
                <a:cubicBezTo>
                  <a:pt x="10" y="124"/>
                  <a:pt x="10" y="124"/>
                  <a:pt x="10" y="124"/>
                </a:cubicBezTo>
                <a:cubicBezTo>
                  <a:pt x="8" y="121"/>
                  <a:pt x="8" y="121"/>
                  <a:pt x="8" y="121"/>
                </a:cubicBezTo>
                <a:cubicBezTo>
                  <a:pt x="8" y="119"/>
                  <a:pt x="8" y="119"/>
                  <a:pt x="8" y="119"/>
                </a:cubicBezTo>
                <a:cubicBezTo>
                  <a:pt x="7" y="118"/>
                  <a:pt x="7" y="118"/>
                  <a:pt x="7" y="118"/>
                </a:cubicBezTo>
                <a:cubicBezTo>
                  <a:pt x="7" y="117"/>
                  <a:pt x="7" y="117"/>
                  <a:pt x="7" y="117"/>
                </a:cubicBezTo>
                <a:cubicBezTo>
                  <a:pt x="7" y="116"/>
                  <a:pt x="7" y="116"/>
                  <a:pt x="7" y="116"/>
                </a:cubicBezTo>
                <a:cubicBezTo>
                  <a:pt x="7" y="115"/>
                  <a:pt x="7" y="115"/>
                  <a:pt x="7" y="115"/>
                </a:cubicBezTo>
                <a:cubicBezTo>
                  <a:pt x="7" y="114"/>
                  <a:pt x="7" y="114"/>
                  <a:pt x="7" y="114"/>
                </a:cubicBezTo>
                <a:cubicBezTo>
                  <a:pt x="7" y="114"/>
                  <a:pt x="7" y="114"/>
                  <a:pt x="7" y="114"/>
                </a:cubicBezTo>
                <a:cubicBezTo>
                  <a:pt x="8" y="113"/>
                  <a:pt x="8" y="113"/>
                  <a:pt x="8" y="113"/>
                </a:cubicBezTo>
                <a:cubicBezTo>
                  <a:pt x="8" y="112"/>
                  <a:pt x="8" y="112"/>
                  <a:pt x="8" y="112"/>
                </a:cubicBezTo>
                <a:cubicBezTo>
                  <a:pt x="7" y="112"/>
                  <a:pt x="7" y="112"/>
                  <a:pt x="7" y="112"/>
                </a:cubicBezTo>
                <a:cubicBezTo>
                  <a:pt x="7" y="111"/>
                  <a:pt x="7" y="111"/>
                  <a:pt x="7" y="111"/>
                </a:cubicBezTo>
                <a:cubicBezTo>
                  <a:pt x="6" y="110"/>
                  <a:pt x="6" y="110"/>
                  <a:pt x="6" y="110"/>
                </a:cubicBezTo>
                <a:cubicBezTo>
                  <a:pt x="6" y="109"/>
                  <a:pt x="6" y="109"/>
                  <a:pt x="6" y="109"/>
                </a:cubicBezTo>
                <a:cubicBezTo>
                  <a:pt x="6" y="108"/>
                  <a:pt x="6" y="108"/>
                  <a:pt x="6" y="108"/>
                </a:cubicBezTo>
                <a:cubicBezTo>
                  <a:pt x="6" y="107"/>
                  <a:pt x="6" y="107"/>
                  <a:pt x="6" y="107"/>
                </a:cubicBezTo>
                <a:cubicBezTo>
                  <a:pt x="6" y="107"/>
                  <a:pt x="6" y="107"/>
                  <a:pt x="6" y="107"/>
                </a:cubicBezTo>
                <a:cubicBezTo>
                  <a:pt x="6" y="106"/>
                  <a:pt x="6" y="106"/>
                  <a:pt x="6" y="106"/>
                </a:cubicBezTo>
                <a:cubicBezTo>
                  <a:pt x="6" y="105"/>
                  <a:pt x="6" y="105"/>
                  <a:pt x="6" y="105"/>
                </a:cubicBezTo>
                <a:cubicBezTo>
                  <a:pt x="7" y="105"/>
                  <a:pt x="7" y="105"/>
                  <a:pt x="7" y="105"/>
                </a:cubicBezTo>
                <a:cubicBezTo>
                  <a:pt x="7" y="105"/>
                  <a:pt x="7" y="105"/>
                  <a:pt x="7" y="105"/>
                </a:cubicBezTo>
                <a:cubicBezTo>
                  <a:pt x="8" y="106"/>
                  <a:pt x="8" y="106"/>
                  <a:pt x="8" y="106"/>
                </a:cubicBezTo>
                <a:cubicBezTo>
                  <a:pt x="9" y="107"/>
                  <a:pt x="9" y="107"/>
                  <a:pt x="9" y="107"/>
                </a:cubicBezTo>
                <a:cubicBezTo>
                  <a:pt x="8" y="106"/>
                  <a:pt x="8" y="106"/>
                  <a:pt x="8" y="106"/>
                </a:cubicBezTo>
                <a:cubicBezTo>
                  <a:pt x="8" y="105"/>
                  <a:pt x="8" y="105"/>
                  <a:pt x="8" y="105"/>
                </a:cubicBezTo>
                <a:cubicBezTo>
                  <a:pt x="8" y="104"/>
                  <a:pt x="8" y="104"/>
                  <a:pt x="8" y="104"/>
                </a:cubicBezTo>
                <a:cubicBezTo>
                  <a:pt x="7" y="103"/>
                  <a:pt x="7" y="103"/>
                  <a:pt x="7" y="103"/>
                </a:cubicBezTo>
                <a:cubicBezTo>
                  <a:pt x="7" y="102"/>
                  <a:pt x="7" y="102"/>
                  <a:pt x="7" y="102"/>
                </a:cubicBezTo>
                <a:cubicBezTo>
                  <a:pt x="8" y="102"/>
                  <a:pt x="8" y="102"/>
                  <a:pt x="8" y="102"/>
                </a:cubicBezTo>
                <a:cubicBezTo>
                  <a:pt x="8" y="103"/>
                  <a:pt x="8" y="103"/>
                  <a:pt x="8" y="103"/>
                </a:cubicBezTo>
                <a:cubicBezTo>
                  <a:pt x="9" y="103"/>
                  <a:pt x="9" y="103"/>
                  <a:pt x="9" y="103"/>
                </a:cubicBezTo>
                <a:cubicBezTo>
                  <a:pt x="11" y="102"/>
                  <a:pt x="11" y="102"/>
                  <a:pt x="11" y="102"/>
                </a:cubicBezTo>
                <a:cubicBezTo>
                  <a:pt x="9" y="102"/>
                  <a:pt x="9" y="102"/>
                  <a:pt x="9" y="102"/>
                </a:cubicBezTo>
                <a:cubicBezTo>
                  <a:pt x="9" y="102"/>
                  <a:pt x="9" y="102"/>
                  <a:pt x="9" y="102"/>
                </a:cubicBezTo>
                <a:cubicBezTo>
                  <a:pt x="8" y="102"/>
                  <a:pt x="8" y="102"/>
                  <a:pt x="8" y="102"/>
                </a:cubicBezTo>
                <a:cubicBezTo>
                  <a:pt x="8" y="101"/>
                  <a:pt x="8" y="101"/>
                  <a:pt x="8" y="101"/>
                </a:cubicBezTo>
                <a:cubicBezTo>
                  <a:pt x="7" y="101"/>
                  <a:pt x="7" y="101"/>
                  <a:pt x="7" y="101"/>
                </a:cubicBezTo>
                <a:cubicBezTo>
                  <a:pt x="6" y="101"/>
                  <a:pt x="6" y="101"/>
                  <a:pt x="6" y="101"/>
                </a:cubicBezTo>
                <a:cubicBezTo>
                  <a:pt x="6" y="102"/>
                  <a:pt x="6" y="102"/>
                  <a:pt x="6" y="102"/>
                </a:cubicBezTo>
                <a:cubicBezTo>
                  <a:pt x="6" y="104"/>
                  <a:pt x="6" y="104"/>
                  <a:pt x="6" y="104"/>
                </a:cubicBezTo>
                <a:cubicBezTo>
                  <a:pt x="6" y="103"/>
                  <a:pt x="6" y="103"/>
                  <a:pt x="6" y="103"/>
                </a:cubicBezTo>
                <a:cubicBezTo>
                  <a:pt x="6" y="103"/>
                  <a:pt x="6" y="103"/>
                  <a:pt x="6" y="103"/>
                </a:cubicBezTo>
                <a:cubicBezTo>
                  <a:pt x="5" y="103"/>
                  <a:pt x="5" y="103"/>
                  <a:pt x="5" y="103"/>
                </a:cubicBezTo>
                <a:cubicBezTo>
                  <a:pt x="4" y="102"/>
                  <a:pt x="4" y="102"/>
                  <a:pt x="4" y="102"/>
                </a:cubicBezTo>
                <a:cubicBezTo>
                  <a:pt x="4" y="101"/>
                  <a:pt x="4" y="101"/>
                  <a:pt x="4" y="101"/>
                </a:cubicBezTo>
                <a:cubicBezTo>
                  <a:pt x="4" y="100"/>
                  <a:pt x="4" y="100"/>
                  <a:pt x="4" y="100"/>
                </a:cubicBezTo>
                <a:cubicBezTo>
                  <a:pt x="4" y="99"/>
                  <a:pt x="4" y="99"/>
                  <a:pt x="4" y="99"/>
                </a:cubicBezTo>
                <a:cubicBezTo>
                  <a:pt x="1" y="95"/>
                  <a:pt x="1" y="95"/>
                  <a:pt x="1" y="95"/>
                </a:cubicBezTo>
                <a:cubicBezTo>
                  <a:pt x="1" y="94"/>
                  <a:pt x="1" y="94"/>
                  <a:pt x="1" y="94"/>
                </a:cubicBezTo>
                <a:cubicBezTo>
                  <a:pt x="1" y="93"/>
                  <a:pt x="1" y="93"/>
                  <a:pt x="1" y="93"/>
                </a:cubicBezTo>
                <a:cubicBezTo>
                  <a:pt x="2" y="92"/>
                  <a:pt x="2" y="92"/>
                  <a:pt x="2" y="92"/>
                </a:cubicBezTo>
                <a:cubicBezTo>
                  <a:pt x="1" y="91"/>
                  <a:pt x="1" y="91"/>
                  <a:pt x="1" y="91"/>
                </a:cubicBezTo>
                <a:cubicBezTo>
                  <a:pt x="1" y="90"/>
                  <a:pt x="1" y="90"/>
                  <a:pt x="1" y="90"/>
                </a:cubicBezTo>
                <a:cubicBezTo>
                  <a:pt x="1" y="89"/>
                  <a:pt x="1" y="89"/>
                  <a:pt x="1" y="89"/>
                </a:cubicBezTo>
                <a:cubicBezTo>
                  <a:pt x="2" y="88"/>
                  <a:pt x="2" y="88"/>
                  <a:pt x="2" y="88"/>
                </a:cubicBezTo>
                <a:cubicBezTo>
                  <a:pt x="2" y="87"/>
                  <a:pt x="2" y="87"/>
                  <a:pt x="2" y="87"/>
                </a:cubicBezTo>
                <a:cubicBezTo>
                  <a:pt x="2" y="84"/>
                  <a:pt x="2" y="84"/>
                  <a:pt x="2" y="84"/>
                </a:cubicBezTo>
                <a:cubicBezTo>
                  <a:pt x="1" y="82"/>
                  <a:pt x="1" y="82"/>
                  <a:pt x="1" y="82"/>
                </a:cubicBezTo>
                <a:cubicBezTo>
                  <a:pt x="0" y="80"/>
                  <a:pt x="0" y="80"/>
                  <a:pt x="0" y="80"/>
                </a:cubicBezTo>
                <a:cubicBezTo>
                  <a:pt x="0" y="79"/>
                  <a:pt x="0" y="79"/>
                  <a:pt x="0" y="79"/>
                </a:cubicBezTo>
                <a:cubicBezTo>
                  <a:pt x="0" y="77"/>
                  <a:pt x="0" y="77"/>
                  <a:pt x="0" y="77"/>
                </a:cubicBezTo>
                <a:cubicBezTo>
                  <a:pt x="2" y="76"/>
                  <a:pt x="2" y="76"/>
                  <a:pt x="2" y="76"/>
                </a:cubicBezTo>
                <a:cubicBezTo>
                  <a:pt x="3" y="74"/>
                  <a:pt x="3" y="74"/>
                  <a:pt x="3" y="74"/>
                </a:cubicBezTo>
                <a:cubicBezTo>
                  <a:pt x="2" y="74"/>
                  <a:pt x="2" y="74"/>
                  <a:pt x="2" y="74"/>
                </a:cubicBezTo>
                <a:cubicBezTo>
                  <a:pt x="2" y="73"/>
                  <a:pt x="2" y="73"/>
                  <a:pt x="2" y="73"/>
                </a:cubicBezTo>
                <a:cubicBezTo>
                  <a:pt x="3" y="73"/>
                  <a:pt x="3" y="73"/>
                  <a:pt x="3" y="73"/>
                </a:cubicBezTo>
                <a:cubicBezTo>
                  <a:pt x="4" y="71"/>
                  <a:pt x="4" y="71"/>
                  <a:pt x="4" y="71"/>
                </a:cubicBezTo>
                <a:cubicBezTo>
                  <a:pt x="4" y="69"/>
                  <a:pt x="4" y="69"/>
                  <a:pt x="4" y="69"/>
                </a:cubicBezTo>
                <a:cubicBezTo>
                  <a:pt x="3" y="67"/>
                  <a:pt x="3" y="67"/>
                  <a:pt x="3" y="67"/>
                </a:cubicBezTo>
                <a:cubicBezTo>
                  <a:pt x="4" y="66"/>
                  <a:pt x="4" y="66"/>
                  <a:pt x="4" y="66"/>
                </a:cubicBezTo>
                <a:cubicBezTo>
                  <a:pt x="4" y="65"/>
                  <a:pt x="4" y="65"/>
                  <a:pt x="4" y="65"/>
                </a:cubicBezTo>
                <a:cubicBezTo>
                  <a:pt x="3" y="64"/>
                  <a:pt x="3" y="64"/>
                  <a:pt x="3" y="64"/>
                </a:cubicBezTo>
                <a:cubicBezTo>
                  <a:pt x="3" y="63"/>
                  <a:pt x="3" y="63"/>
                  <a:pt x="3" y="63"/>
                </a:cubicBezTo>
                <a:cubicBezTo>
                  <a:pt x="4" y="60"/>
                  <a:pt x="4" y="60"/>
                  <a:pt x="4" y="60"/>
                </a:cubicBezTo>
                <a:cubicBezTo>
                  <a:pt x="4" y="58"/>
                  <a:pt x="4" y="58"/>
                  <a:pt x="4" y="58"/>
                </a:cubicBezTo>
                <a:cubicBezTo>
                  <a:pt x="4" y="57"/>
                  <a:pt x="4" y="57"/>
                  <a:pt x="4" y="57"/>
                </a:cubicBezTo>
                <a:cubicBezTo>
                  <a:pt x="6" y="55"/>
                  <a:pt x="6" y="55"/>
                  <a:pt x="6" y="55"/>
                </a:cubicBezTo>
                <a:cubicBezTo>
                  <a:pt x="6" y="53"/>
                  <a:pt x="6" y="53"/>
                  <a:pt x="6" y="53"/>
                </a:cubicBezTo>
                <a:cubicBezTo>
                  <a:pt x="7" y="53"/>
                  <a:pt x="7" y="53"/>
                  <a:pt x="7" y="53"/>
                </a:cubicBezTo>
                <a:cubicBezTo>
                  <a:pt x="8" y="51"/>
                  <a:pt x="8" y="51"/>
                  <a:pt x="8" y="51"/>
                </a:cubicBezTo>
                <a:cubicBezTo>
                  <a:pt x="9" y="49"/>
                  <a:pt x="9" y="49"/>
                  <a:pt x="9" y="49"/>
                </a:cubicBezTo>
                <a:cubicBezTo>
                  <a:pt x="10" y="48"/>
                  <a:pt x="10" y="48"/>
                  <a:pt x="10" y="48"/>
                </a:cubicBezTo>
                <a:cubicBezTo>
                  <a:pt x="10" y="44"/>
                  <a:pt x="10" y="44"/>
                  <a:pt x="10" y="44"/>
                </a:cubicBezTo>
                <a:cubicBezTo>
                  <a:pt x="12" y="41"/>
                  <a:pt x="12" y="41"/>
                  <a:pt x="12" y="41"/>
                </a:cubicBezTo>
                <a:cubicBezTo>
                  <a:pt x="12" y="38"/>
                  <a:pt x="12" y="38"/>
                  <a:pt x="12" y="38"/>
                </a:cubicBezTo>
                <a:cubicBezTo>
                  <a:pt x="14" y="35"/>
                  <a:pt x="14" y="35"/>
                  <a:pt x="14" y="35"/>
                </a:cubicBezTo>
                <a:cubicBezTo>
                  <a:pt x="14" y="33"/>
                  <a:pt x="14" y="33"/>
                  <a:pt x="14" y="33"/>
                </a:cubicBezTo>
                <a:cubicBezTo>
                  <a:pt x="15" y="32"/>
                  <a:pt x="15" y="32"/>
                  <a:pt x="15" y="32"/>
                </a:cubicBezTo>
                <a:cubicBezTo>
                  <a:pt x="15" y="31"/>
                  <a:pt x="15" y="31"/>
                  <a:pt x="15" y="31"/>
                </a:cubicBezTo>
                <a:cubicBezTo>
                  <a:pt x="15" y="30"/>
                  <a:pt x="15" y="30"/>
                  <a:pt x="15" y="30"/>
                </a:cubicBezTo>
                <a:cubicBezTo>
                  <a:pt x="16" y="28"/>
                  <a:pt x="16" y="28"/>
                  <a:pt x="16" y="28"/>
                </a:cubicBezTo>
                <a:cubicBezTo>
                  <a:pt x="16" y="27"/>
                  <a:pt x="16" y="27"/>
                  <a:pt x="16" y="27"/>
                </a:cubicBezTo>
                <a:cubicBezTo>
                  <a:pt x="17" y="27"/>
                  <a:pt x="17" y="27"/>
                  <a:pt x="17" y="27"/>
                </a:cubicBezTo>
                <a:cubicBezTo>
                  <a:pt x="17" y="27"/>
                  <a:pt x="17" y="27"/>
                  <a:pt x="17" y="27"/>
                </a:cubicBezTo>
                <a:cubicBezTo>
                  <a:pt x="19" y="27"/>
                  <a:pt x="19" y="27"/>
                  <a:pt x="19" y="27"/>
                </a:cubicBezTo>
                <a:cubicBezTo>
                  <a:pt x="20" y="28"/>
                  <a:pt x="20" y="28"/>
                  <a:pt x="20" y="28"/>
                </a:cubicBezTo>
                <a:cubicBezTo>
                  <a:pt x="21" y="28"/>
                  <a:pt x="21" y="28"/>
                  <a:pt x="21" y="28"/>
                </a:cubicBezTo>
                <a:cubicBezTo>
                  <a:pt x="22" y="29"/>
                  <a:pt x="22" y="29"/>
                  <a:pt x="22" y="29"/>
                </a:cubicBezTo>
                <a:cubicBezTo>
                  <a:pt x="23" y="30"/>
                  <a:pt x="23" y="30"/>
                  <a:pt x="23" y="30"/>
                </a:cubicBezTo>
                <a:cubicBezTo>
                  <a:pt x="23" y="28"/>
                  <a:pt x="23" y="28"/>
                  <a:pt x="23" y="28"/>
                </a:cubicBezTo>
                <a:cubicBezTo>
                  <a:pt x="22" y="28"/>
                  <a:pt x="22" y="28"/>
                  <a:pt x="22" y="28"/>
                </a:cubicBezTo>
                <a:cubicBezTo>
                  <a:pt x="21" y="27"/>
                  <a:pt x="21" y="27"/>
                  <a:pt x="21" y="27"/>
                </a:cubicBezTo>
                <a:cubicBezTo>
                  <a:pt x="20" y="26"/>
                  <a:pt x="20" y="26"/>
                  <a:pt x="20" y="26"/>
                </a:cubicBezTo>
                <a:cubicBezTo>
                  <a:pt x="18" y="26"/>
                  <a:pt x="18" y="26"/>
                  <a:pt x="18" y="26"/>
                </a:cubicBezTo>
                <a:cubicBezTo>
                  <a:pt x="16" y="26"/>
                  <a:pt x="16" y="26"/>
                  <a:pt x="16" y="26"/>
                </a:cubicBezTo>
                <a:cubicBezTo>
                  <a:pt x="16" y="25"/>
                  <a:pt x="16" y="25"/>
                  <a:pt x="16" y="25"/>
                </a:cubicBezTo>
                <a:cubicBezTo>
                  <a:pt x="17" y="25"/>
                  <a:pt x="17" y="25"/>
                  <a:pt x="17" y="25"/>
                </a:cubicBezTo>
                <a:cubicBezTo>
                  <a:pt x="17" y="25"/>
                  <a:pt x="17" y="25"/>
                  <a:pt x="17" y="25"/>
                </a:cubicBezTo>
                <a:cubicBezTo>
                  <a:pt x="18" y="24"/>
                  <a:pt x="18" y="24"/>
                  <a:pt x="18" y="24"/>
                </a:cubicBezTo>
                <a:cubicBezTo>
                  <a:pt x="18" y="23"/>
                  <a:pt x="18" y="23"/>
                  <a:pt x="18" y="23"/>
                </a:cubicBezTo>
                <a:cubicBezTo>
                  <a:pt x="18" y="22"/>
                  <a:pt x="18" y="22"/>
                  <a:pt x="18" y="22"/>
                </a:cubicBezTo>
                <a:cubicBezTo>
                  <a:pt x="17" y="21"/>
                  <a:pt x="17" y="21"/>
                  <a:pt x="17" y="21"/>
                </a:cubicBezTo>
                <a:cubicBezTo>
                  <a:pt x="17" y="21"/>
                  <a:pt x="17" y="21"/>
                  <a:pt x="17" y="21"/>
                </a:cubicBezTo>
                <a:cubicBezTo>
                  <a:pt x="17" y="20"/>
                  <a:pt x="17" y="20"/>
                  <a:pt x="17" y="20"/>
                </a:cubicBezTo>
                <a:cubicBezTo>
                  <a:pt x="18" y="20"/>
                  <a:pt x="18" y="20"/>
                  <a:pt x="18" y="20"/>
                </a:cubicBezTo>
                <a:cubicBezTo>
                  <a:pt x="18" y="19"/>
                  <a:pt x="18" y="19"/>
                  <a:pt x="18" y="19"/>
                </a:cubicBezTo>
                <a:cubicBezTo>
                  <a:pt x="18" y="19"/>
                  <a:pt x="18" y="19"/>
                  <a:pt x="18" y="19"/>
                </a:cubicBezTo>
                <a:cubicBezTo>
                  <a:pt x="17" y="19"/>
                  <a:pt x="17" y="19"/>
                  <a:pt x="17" y="19"/>
                </a:cubicBezTo>
                <a:cubicBezTo>
                  <a:pt x="17" y="18"/>
                  <a:pt x="17" y="18"/>
                  <a:pt x="17" y="18"/>
                </a:cubicBezTo>
                <a:cubicBezTo>
                  <a:pt x="17" y="16"/>
                  <a:pt x="17" y="16"/>
                  <a:pt x="17" y="16"/>
                </a:cubicBezTo>
                <a:cubicBezTo>
                  <a:pt x="17" y="15"/>
                  <a:pt x="17" y="15"/>
                  <a:pt x="17" y="15"/>
                </a:cubicBezTo>
                <a:cubicBezTo>
                  <a:pt x="18" y="11"/>
                  <a:pt x="18" y="11"/>
                  <a:pt x="18" y="11"/>
                </a:cubicBezTo>
                <a:cubicBezTo>
                  <a:pt x="17" y="9"/>
                  <a:pt x="17" y="9"/>
                  <a:pt x="17" y="9"/>
                </a:cubicBezTo>
                <a:cubicBezTo>
                  <a:pt x="17" y="8"/>
                  <a:pt x="17" y="8"/>
                  <a:pt x="17" y="8"/>
                </a:cubicBezTo>
                <a:cubicBezTo>
                  <a:pt x="18" y="6"/>
                  <a:pt x="18" y="6"/>
                  <a:pt x="18" y="6"/>
                </a:cubicBezTo>
                <a:cubicBezTo>
                  <a:pt x="18" y="4"/>
                  <a:pt x="18" y="4"/>
                  <a:pt x="18" y="4"/>
                </a:cubicBezTo>
                <a:cubicBezTo>
                  <a:pt x="19" y="4"/>
                  <a:pt x="19" y="4"/>
                  <a:pt x="19" y="4"/>
                </a:cubicBezTo>
                <a:cubicBezTo>
                  <a:pt x="21" y="7"/>
                  <a:pt x="21" y="7"/>
                  <a:pt x="21" y="7"/>
                </a:cubicBezTo>
                <a:cubicBezTo>
                  <a:pt x="23" y="8"/>
                  <a:pt x="23" y="8"/>
                  <a:pt x="23" y="8"/>
                </a:cubicBezTo>
                <a:cubicBezTo>
                  <a:pt x="26" y="8"/>
                  <a:pt x="26" y="8"/>
                  <a:pt x="26" y="8"/>
                </a:cubicBezTo>
                <a:cubicBezTo>
                  <a:pt x="27" y="8"/>
                  <a:pt x="27" y="8"/>
                  <a:pt x="27" y="8"/>
                </a:cubicBezTo>
                <a:cubicBezTo>
                  <a:pt x="27" y="9"/>
                  <a:pt x="27" y="9"/>
                  <a:pt x="27" y="9"/>
                </a:cubicBezTo>
                <a:cubicBezTo>
                  <a:pt x="28" y="9"/>
                  <a:pt x="28" y="9"/>
                  <a:pt x="28" y="9"/>
                </a:cubicBezTo>
                <a:cubicBezTo>
                  <a:pt x="29" y="9"/>
                  <a:pt x="29" y="9"/>
                  <a:pt x="29" y="9"/>
                </a:cubicBezTo>
                <a:cubicBezTo>
                  <a:pt x="29" y="10"/>
                  <a:pt x="29" y="10"/>
                  <a:pt x="29" y="10"/>
                </a:cubicBezTo>
                <a:cubicBezTo>
                  <a:pt x="29" y="11"/>
                  <a:pt x="29" y="11"/>
                  <a:pt x="29" y="11"/>
                </a:cubicBezTo>
                <a:cubicBezTo>
                  <a:pt x="27" y="11"/>
                  <a:pt x="27" y="11"/>
                  <a:pt x="27" y="11"/>
                </a:cubicBezTo>
                <a:cubicBezTo>
                  <a:pt x="26" y="12"/>
                  <a:pt x="26" y="12"/>
                  <a:pt x="26" y="12"/>
                </a:cubicBezTo>
                <a:cubicBezTo>
                  <a:pt x="26" y="13"/>
                  <a:pt x="26" y="13"/>
                  <a:pt x="26" y="13"/>
                </a:cubicBezTo>
                <a:cubicBezTo>
                  <a:pt x="27" y="13"/>
                  <a:pt x="27" y="13"/>
                  <a:pt x="27" y="13"/>
                </a:cubicBezTo>
                <a:cubicBezTo>
                  <a:pt x="28" y="12"/>
                  <a:pt x="28" y="12"/>
                  <a:pt x="28" y="12"/>
                </a:cubicBezTo>
                <a:cubicBezTo>
                  <a:pt x="29" y="11"/>
                  <a:pt x="29" y="11"/>
                  <a:pt x="29" y="11"/>
                </a:cubicBezTo>
                <a:cubicBezTo>
                  <a:pt x="29" y="11"/>
                  <a:pt x="29" y="11"/>
                  <a:pt x="29" y="11"/>
                </a:cubicBezTo>
                <a:cubicBezTo>
                  <a:pt x="30" y="12"/>
                  <a:pt x="30" y="12"/>
                  <a:pt x="30" y="12"/>
                </a:cubicBezTo>
                <a:cubicBezTo>
                  <a:pt x="29" y="13"/>
                  <a:pt x="29" y="13"/>
                  <a:pt x="29" y="13"/>
                </a:cubicBezTo>
                <a:cubicBezTo>
                  <a:pt x="28" y="14"/>
                  <a:pt x="28" y="14"/>
                  <a:pt x="28" y="14"/>
                </a:cubicBezTo>
                <a:cubicBezTo>
                  <a:pt x="28" y="16"/>
                  <a:pt x="28" y="16"/>
                  <a:pt x="28" y="16"/>
                </a:cubicBezTo>
                <a:cubicBezTo>
                  <a:pt x="27" y="16"/>
                  <a:pt x="27" y="16"/>
                  <a:pt x="27" y="16"/>
                </a:cubicBezTo>
                <a:cubicBezTo>
                  <a:pt x="27" y="15"/>
                  <a:pt x="27" y="15"/>
                  <a:pt x="27" y="15"/>
                </a:cubicBezTo>
                <a:cubicBezTo>
                  <a:pt x="26" y="16"/>
                  <a:pt x="26" y="16"/>
                  <a:pt x="26" y="16"/>
                </a:cubicBezTo>
                <a:cubicBezTo>
                  <a:pt x="26" y="16"/>
                  <a:pt x="26" y="16"/>
                  <a:pt x="26" y="16"/>
                </a:cubicBezTo>
                <a:cubicBezTo>
                  <a:pt x="25" y="17"/>
                  <a:pt x="25" y="17"/>
                  <a:pt x="25" y="17"/>
                </a:cubicBezTo>
                <a:cubicBezTo>
                  <a:pt x="26" y="17"/>
                  <a:pt x="26" y="17"/>
                  <a:pt x="26" y="17"/>
                </a:cubicBezTo>
                <a:cubicBezTo>
                  <a:pt x="27" y="18"/>
                  <a:pt x="27" y="18"/>
                  <a:pt x="27" y="18"/>
                </a:cubicBezTo>
                <a:cubicBezTo>
                  <a:pt x="28" y="17"/>
                  <a:pt x="28" y="17"/>
                  <a:pt x="28" y="17"/>
                </a:cubicBezTo>
                <a:cubicBezTo>
                  <a:pt x="28" y="16"/>
                  <a:pt x="28" y="16"/>
                  <a:pt x="28" y="16"/>
                </a:cubicBezTo>
                <a:cubicBezTo>
                  <a:pt x="29" y="15"/>
                  <a:pt x="29" y="15"/>
                  <a:pt x="29" y="15"/>
                </a:cubicBezTo>
                <a:cubicBezTo>
                  <a:pt x="29" y="14"/>
                  <a:pt x="29" y="14"/>
                  <a:pt x="29" y="14"/>
                </a:cubicBezTo>
                <a:cubicBezTo>
                  <a:pt x="30" y="13"/>
                  <a:pt x="30" y="13"/>
                  <a:pt x="30" y="13"/>
                </a:cubicBezTo>
                <a:cubicBezTo>
                  <a:pt x="30" y="12"/>
                  <a:pt x="30" y="12"/>
                  <a:pt x="30" y="12"/>
                </a:cubicBezTo>
                <a:cubicBezTo>
                  <a:pt x="31" y="11"/>
                  <a:pt x="31" y="11"/>
                  <a:pt x="31" y="11"/>
                </a:cubicBezTo>
                <a:cubicBezTo>
                  <a:pt x="32" y="10"/>
                  <a:pt x="32" y="10"/>
                  <a:pt x="32" y="10"/>
                </a:cubicBezTo>
                <a:cubicBezTo>
                  <a:pt x="32" y="9"/>
                  <a:pt x="32" y="9"/>
                  <a:pt x="32" y="9"/>
                </a:cubicBezTo>
                <a:cubicBezTo>
                  <a:pt x="32" y="8"/>
                  <a:pt x="32" y="8"/>
                  <a:pt x="32" y="8"/>
                </a:cubicBezTo>
                <a:cubicBezTo>
                  <a:pt x="31" y="8"/>
                  <a:pt x="31" y="8"/>
                  <a:pt x="31" y="8"/>
                </a:cubicBezTo>
                <a:cubicBezTo>
                  <a:pt x="32" y="7"/>
                  <a:pt x="32" y="7"/>
                  <a:pt x="32" y="7"/>
                </a:cubicBezTo>
                <a:cubicBezTo>
                  <a:pt x="32" y="6"/>
                  <a:pt x="32" y="6"/>
                  <a:pt x="32" y="6"/>
                </a:cubicBezTo>
                <a:cubicBezTo>
                  <a:pt x="32" y="6"/>
                  <a:pt x="32" y="6"/>
                  <a:pt x="32" y="6"/>
                </a:cubicBezTo>
                <a:cubicBezTo>
                  <a:pt x="31" y="4"/>
                  <a:pt x="31" y="4"/>
                  <a:pt x="31" y="4"/>
                </a:cubicBezTo>
                <a:cubicBezTo>
                  <a:pt x="32" y="4"/>
                  <a:pt x="32" y="4"/>
                  <a:pt x="32" y="4"/>
                </a:cubicBezTo>
                <a:cubicBezTo>
                  <a:pt x="33" y="3"/>
                  <a:pt x="33" y="3"/>
                  <a:pt x="33" y="3"/>
                </a:cubicBezTo>
                <a:cubicBezTo>
                  <a:pt x="31" y="2"/>
                  <a:pt x="31" y="2"/>
                  <a:pt x="31" y="2"/>
                </a:cubicBezTo>
                <a:cubicBezTo>
                  <a:pt x="31" y="0"/>
                  <a:pt x="31" y="0"/>
                  <a:pt x="31" y="0"/>
                </a:cubicBezTo>
                <a:close/>
                <a:moveTo>
                  <a:pt x="326" y="89"/>
                </a:moveTo>
                <a:cubicBezTo>
                  <a:pt x="326" y="89"/>
                  <a:pt x="326" y="89"/>
                  <a:pt x="326" y="89"/>
                </a:cubicBezTo>
                <a:cubicBezTo>
                  <a:pt x="327" y="89"/>
                  <a:pt x="327" y="89"/>
                  <a:pt x="327" y="89"/>
                </a:cubicBezTo>
                <a:cubicBezTo>
                  <a:pt x="327" y="89"/>
                  <a:pt x="327" y="89"/>
                  <a:pt x="327" y="89"/>
                </a:cubicBezTo>
                <a:cubicBezTo>
                  <a:pt x="328" y="89"/>
                  <a:pt x="328" y="89"/>
                  <a:pt x="328" y="89"/>
                </a:cubicBezTo>
                <a:cubicBezTo>
                  <a:pt x="328" y="88"/>
                  <a:pt x="328" y="88"/>
                  <a:pt x="328" y="88"/>
                </a:cubicBezTo>
                <a:cubicBezTo>
                  <a:pt x="327" y="88"/>
                  <a:pt x="327" y="88"/>
                  <a:pt x="327" y="88"/>
                </a:cubicBezTo>
                <a:cubicBezTo>
                  <a:pt x="326" y="88"/>
                  <a:pt x="326" y="88"/>
                  <a:pt x="326" y="88"/>
                </a:cubicBezTo>
                <a:cubicBezTo>
                  <a:pt x="326" y="89"/>
                  <a:pt x="326" y="89"/>
                  <a:pt x="326" y="89"/>
                </a:cubicBezTo>
                <a:close/>
                <a:moveTo>
                  <a:pt x="307" y="94"/>
                </a:moveTo>
                <a:cubicBezTo>
                  <a:pt x="306" y="94"/>
                  <a:pt x="306" y="94"/>
                  <a:pt x="306" y="94"/>
                </a:cubicBezTo>
                <a:cubicBezTo>
                  <a:pt x="307" y="94"/>
                  <a:pt x="307" y="94"/>
                  <a:pt x="307" y="94"/>
                </a:cubicBezTo>
                <a:cubicBezTo>
                  <a:pt x="308" y="94"/>
                  <a:pt x="308" y="94"/>
                  <a:pt x="308" y="94"/>
                </a:cubicBezTo>
                <a:cubicBezTo>
                  <a:pt x="309" y="94"/>
                  <a:pt x="309" y="94"/>
                  <a:pt x="309" y="94"/>
                </a:cubicBezTo>
                <a:cubicBezTo>
                  <a:pt x="310" y="93"/>
                  <a:pt x="310" y="93"/>
                  <a:pt x="310" y="93"/>
                </a:cubicBezTo>
                <a:cubicBezTo>
                  <a:pt x="312" y="93"/>
                  <a:pt x="312" y="93"/>
                  <a:pt x="312" y="93"/>
                </a:cubicBezTo>
                <a:cubicBezTo>
                  <a:pt x="313" y="93"/>
                  <a:pt x="313" y="93"/>
                  <a:pt x="313" y="93"/>
                </a:cubicBezTo>
                <a:cubicBezTo>
                  <a:pt x="315" y="93"/>
                  <a:pt x="315" y="93"/>
                  <a:pt x="315" y="93"/>
                </a:cubicBezTo>
                <a:cubicBezTo>
                  <a:pt x="316" y="92"/>
                  <a:pt x="316" y="92"/>
                  <a:pt x="316" y="92"/>
                </a:cubicBezTo>
                <a:cubicBezTo>
                  <a:pt x="316" y="92"/>
                  <a:pt x="316" y="92"/>
                  <a:pt x="316" y="92"/>
                </a:cubicBezTo>
                <a:cubicBezTo>
                  <a:pt x="318" y="92"/>
                  <a:pt x="318" y="92"/>
                  <a:pt x="318" y="92"/>
                </a:cubicBezTo>
                <a:cubicBezTo>
                  <a:pt x="318" y="91"/>
                  <a:pt x="318" y="91"/>
                  <a:pt x="318" y="91"/>
                </a:cubicBezTo>
                <a:cubicBezTo>
                  <a:pt x="317" y="92"/>
                  <a:pt x="317" y="92"/>
                  <a:pt x="317" y="92"/>
                </a:cubicBezTo>
                <a:cubicBezTo>
                  <a:pt x="317" y="91"/>
                  <a:pt x="317" y="91"/>
                  <a:pt x="317" y="91"/>
                </a:cubicBezTo>
                <a:cubicBezTo>
                  <a:pt x="316" y="92"/>
                  <a:pt x="316" y="92"/>
                  <a:pt x="316" y="92"/>
                </a:cubicBezTo>
                <a:cubicBezTo>
                  <a:pt x="316" y="91"/>
                  <a:pt x="316" y="91"/>
                  <a:pt x="316" y="91"/>
                </a:cubicBezTo>
                <a:cubicBezTo>
                  <a:pt x="316" y="91"/>
                  <a:pt x="316" y="91"/>
                  <a:pt x="316" y="91"/>
                </a:cubicBezTo>
                <a:cubicBezTo>
                  <a:pt x="316" y="90"/>
                  <a:pt x="316" y="90"/>
                  <a:pt x="316" y="90"/>
                </a:cubicBezTo>
                <a:cubicBezTo>
                  <a:pt x="315" y="91"/>
                  <a:pt x="315" y="91"/>
                  <a:pt x="315" y="91"/>
                </a:cubicBezTo>
                <a:cubicBezTo>
                  <a:pt x="313" y="91"/>
                  <a:pt x="313" y="91"/>
                  <a:pt x="313" y="91"/>
                </a:cubicBezTo>
                <a:cubicBezTo>
                  <a:pt x="311" y="92"/>
                  <a:pt x="311" y="92"/>
                  <a:pt x="311" y="92"/>
                </a:cubicBezTo>
                <a:cubicBezTo>
                  <a:pt x="310" y="92"/>
                  <a:pt x="310" y="92"/>
                  <a:pt x="310" y="92"/>
                </a:cubicBezTo>
                <a:cubicBezTo>
                  <a:pt x="308" y="92"/>
                  <a:pt x="308" y="92"/>
                  <a:pt x="308" y="92"/>
                </a:cubicBezTo>
                <a:cubicBezTo>
                  <a:pt x="307" y="93"/>
                  <a:pt x="307" y="93"/>
                  <a:pt x="307" y="93"/>
                </a:cubicBezTo>
                <a:cubicBezTo>
                  <a:pt x="306" y="93"/>
                  <a:pt x="306" y="93"/>
                  <a:pt x="306" y="93"/>
                </a:cubicBezTo>
                <a:cubicBezTo>
                  <a:pt x="306" y="94"/>
                  <a:pt x="306" y="94"/>
                  <a:pt x="306" y="94"/>
                </a:cubicBezTo>
                <a:cubicBezTo>
                  <a:pt x="307" y="94"/>
                  <a:pt x="307" y="94"/>
                  <a:pt x="307" y="94"/>
                </a:cubicBezTo>
                <a:close/>
                <a:moveTo>
                  <a:pt x="31" y="6"/>
                </a:moveTo>
                <a:cubicBezTo>
                  <a:pt x="30" y="7"/>
                  <a:pt x="30" y="7"/>
                  <a:pt x="30" y="7"/>
                </a:cubicBezTo>
                <a:cubicBezTo>
                  <a:pt x="30" y="9"/>
                  <a:pt x="30" y="9"/>
                  <a:pt x="30" y="9"/>
                </a:cubicBezTo>
                <a:cubicBezTo>
                  <a:pt x="30" y="10"/>
                  <a:pt x="30" y="10"/>
                  <a:pt x="30" y="10"/>
                </a:cubicBezTo>
                <a:cubicBezTo>
                  <a:pt x="31" y="10"/>
                  <a:pt x="31" y="10"/>
                  <a:pt x="31" y="10"/>
                </a:cubicBezTo>
                <a:cubicBezTo>
                  <a:pt x="30" y="8"/>
                  <a:pt x="30" y="8"/>
                  <a:pt x="30" y="8"/>
                </a:cubicBezTo>
                <a:cubicBezTo>
                  <a:pt x="30" y="7"/>
                  <a:pt x="30" y="7"/>
                  <a:pt x="30" y="7"/>
                </a:cubicBezTo>
                <a:cubicBezTo>
                  <a:pt x="31" y="6"/>
                  <a:pt x="31" y="6"/>
                  <a:pt x="31" y="6"/>
                </a:cubicBezTo>
                <a:cubicBezTo>
                  <a:pt x="31" y="6"/>
                  <a:pt x="31" y="6"/>
                  <a:pt x="31" y="6"/>
                </a:cubicBezTo>
                <a:close/>
                <a:moveTo>
                  <a:pt x="150" y="189"/>
                </a:moveTo>
                <a:cubicBezTo>
                  <a:pt x="150" y="189"/>
                  <a:pt x="150" y="189"/>
                  <a:pt x="150" y="189"/>
                </a:cubicBezTo>
                <a:cubicBezTo>
                  <a:pt x="152" y="187"/>
                  <a:pt x="152" y="187"/>
                  <a:pt x="152" y="187"/>
                </a:cubicBezTo>
                <a:cubicBezTo>
                  <a:pt x="153" y="186"/>
                  <a:pt x="153" y="186"/>
                  <a:pt x="153" y="186"/>
                </a:cubicBezTo>
                <a:cubicBezTo>
                  <a:pt x="151" y="187"/>
                  <a:pt x="151" y="187"/>
                  <a:pt x="151" y="187"/>
                </a:cubicBezTo>
                <a:cubicBezTo>
                  <a:pt x="150" y="189"/>
                  <a:pt x="150" y="189"/>
                  <a:pt x="150" y="189"/>
                </a:cubicBezTo>
                <a:close/>
                <a:moveTo>
                  <a:pt x="148" y="192"/>
                </a:moveTo>
                <a:cubicBezTo>
                  <a:pt x="149" y="192"/>
                  <a:pt x="149" y="192"/>
                  <a:pt x="149" y="192"/>
                </a:cubicBezTo>
                <a:cubicBezTo>
                  <a:pt x="149" y="190"/>
                  <a:pt x="149" y="190"/>
                  <a:pt x="149" y="190"/>
                </a:cubicBezTo>
                <a:cubicBezTo>
                  <a:pt x="149" y="190"/>
                  <a:pt x="149" y="190"/>
                  <a:pt x="149" y="190"/>
                </a:cubicBezTo>
                <a:cubicBezTo>
                  <a:pt x="148" y="192"/>
                  <a:pt x="148" y="192"/>
                  <a:pt x="148" y="192"/>
                </a:cubicBezTo>
                <a:close/>
                <a:moveTo>
                  <a:pt x="148" y="201"/>
                </a:moveTo>
                <a:cubicBezTo>
                  <a:pt x="147" y="199"/>
                  <a:pt x="147" y="199"/>
                  <a:pt x="147" y="199"/>
                </a:cubicBezTo>
                <a:cubicBezTo>
                  <a:pt x="147" y="196"/>
                  <a:pt x="147" y="196"/>
                  <a:pt x="147" y="196"/>
                </a:cubicBezTo>
                <a:cubicBezTo>
                  <a:pt x="148" y="193"/>
                  <a:pt x="148" y="193"/>
                  <a:pt x="148" y="193"/>
                </a:cubicBezTo>
                <a:cubicBezTo>
                  <a:pt x="147" y="196"/>
                  <a:pt x="147" y="196"/>
                  <a:pt x="147" y="196"/>
                </a:cubicBezTo>
                <a:cubicBezTo>
                  <a:pt x="147" y="199"/>
                  <a:pt x="147" y="199"/>
                  <a:pt x="147" y="199"/>
                </a:cubicBezTo>
                <a:cubicBezTo>
                  <a:pt x="147" y="199"/>
                  <a:pt x="148" y="201"/>
                  <a:pt x="148" y="201"/>
                </a:cubicBez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9" name="Freeform 177">
            <a:extLst>
              <a:ext uri="{FF2B5EF4-FFF2-40B4-BE49-F238E27FC236}">
                <a16:creationId xmlns:a16="http://schemas.microsoft.com/office/drawing/2014/main" id="{CFF70BC5-D379-357D-B8DF-61A944CA94A3}"/>
              </a:ext>
            </a:extLst>
          </p:cNvPr>
          <p:cNvSpPr>
            <a:spLocks noEditPoints="1"/>
          </p:cNvSpPr>
          <p:nvPr userDrawn="1"/>
        </p:nvSpPr>
        <p:spPr bwMode="auto">
          <a:xfrm>
            <a:off x="9737087" y="13010437"/>
            <a:ext cx="1438184" cy="260350"/>
          </a:xfrm>
          <a:custGeom>
            <a:avLst/>
            <a:gdLst>
              <a:gd name="T0" fmla="*/ 142 w 145"/>
              <a:gd name="T1" fmla="*/ 24 h 26"/>
              <a:gd name="T2" fmla="*/ 141 w 145"/>
              <a:gd name="T3" fmla="*/ 22 h 26"/>
              <a:gd name="T4" fmla="*/ 139 w 145"/>
              <a:gd name="T5" fmla="*/ 21 h 26"/>
              <a:gd name="T6" fmla="*/ 138 w 145"/>
              <a:gd name="T7" fmla="*/ 20 h 26"/>
              <a:gd name="T8" fmla="*/ 141 w 145"/>
              <a:gd name="T9" fmla="*/ 21 h 26"/>
              <a:gd name="T10" fmla="*/ 141 w 145"/>
              <a:gd name="T11" fmla="*/ 21 h 26"/>
              <a:gd name="T12" fmla="*/ 143 w 145"/>
              <a:gd name="T13" fmla="*/ 23 h 26"/>
              <a:gd name="T14" fmla="*/ 144 w 145"/>
              <a:gd name="T15" fmla="*/ 24 h 26"/>
              <a:gd name="T16" fmla="*/ 145 w 145"/>
              <a:gd name="T17" fmla="*/ 25 h 26"/>
              <a:gd name="T18" fmla="*/ 143 w 145"/>
              <a:gd name="T19" fmla="*/ 26 h 26"/>
              <a:gd name="T20" fmla="*/ 142 w 145"/>
              <a:gd name="T21" fmla="*/ 25 h 26"/>
              <a:gd name="T22" fmla="*/ 8 w 145"/>
              <a:gd name="T23" fmla="*/ 0 h 26"/>
              <a:gd name="T24" fmla="*/ 7 w 145"/>
              <a:gd name="T25" fmla="*/ 0 h 26"/>
              <a:gd name="T26" fmla="*/ 5 w 145"/>
              <a:gd name="T27" fmla="*/ 1 h 26"/>
              <a:gd name="T28" fmla="*/ 5 w 145"/>
              <a:gd name="T29" fmla="*/ 0 h 26"/>
              <a:gd name="T30" fmla="*/ 1 w 145"/>
              <a:gd name="T31" fmla="*/ 5 h 26"/>
              <a:gd name="T32" fmla="*/ 2 w 145"/>
              <a:gd name="T33" fmla="*/ 6 h 26"/>
              <a:gd name="T34" fmla="*/ 0 w 145"/>
              <a:gd name="T35" fmla="*/ 6 h 26"/>
              <a:gd name="T36" fmla="*/ 10 w 145"/>
              <a:gd name="T37" fmla="*/ 8 h 26"/>
              <a:gd name="T38" fmla="*/ 12 w 145"/>
              <a:gd name="T39" fmla="*/ 9 h 26"/>
              <a:gd name="T40" fmla="*/ 11 w 145"/>
              <a:gd name="T41" fmla="*/ 8 h 26"/>
              <a:gd name="T42" fmla="*/ 13 w 145"/>
              <a:gd name="T43" fmla="*/ 8 h 26"/>
              <a:gd name="T44" fmla="*/ 13 w 145"/>
              <a:gd name="T45" fmla="*/ 7 h 26"/>
              <a:gd name="T46" fmla="*/ 14 w 145"/>
              <a:gd name="T47" fmla="*/ 7 h 26"/>
              <a:gd name="T48" fmla="*/ 15 w 145"/>
              <a:gd name="T49" fmla="*/ 6 h 26"/>
              <a:gd name="T50" fmla="*/ 13 w 145"/>
              <a:gd name="T51" fmla="*/ 6 h 26"/>
              <a:gd name="T52" fmla="*/ 15 w 145"/>
              <a:gd name="T53" fmla="*/ 5 h 26"/>
              <a:gd name="T54" fmla="*/ 18 w 145"/>
              <a:gd name="T55" fmla="*/ 4 h 26"/>
              <a:gd name="T56" fmla="*/ 19 w 145"/>
              <a:gd name="T57" fmla="*/ 3 h 26"/>
              <a:gd name="T58" fmla="*/ 18 w 145"/>
              <a:gd name="T59" fmla="*/ 3 h 26"/>
              <a:gd name="T60" fmla="*/ 19 w 145"/>
              <a:gd name="T61" fmla="*/ 2 h 26"/>
              <a:gd name="T62" fmla="*/ 17 w 145"/>
              <a:gd name="T63" fmla="*/ 1 h 26"/>
              <a:gd name="T64" fmla="*/ 17 w 145"/>
              <a:gd name="T65" fmla="*/ 2 h 26"/>
              <a:gd name="T66" fmla="*/ 15 w 145"/>
              <a:gd name="T67" fmla="*/ 1 h 26"/>
              <a:gd name="T68" fmla="*/ 13 w 145"/>
              <a:gd name="T69" fmla="*/ 0 h 26"/>
              <a:gd name="T70" fmla="*/ 12 w 145"/>
              <a:gd name="T71" fmla="*/ 1 h 26"/>
              <a:gd name="T72" fmla="*/ 12 w 145"/>
              <a:gd name="T73" fmla="*/ 3 h 26"/>
              <a:gd name="T74" fmla="*/ 13 w 145"/>
              <a:gd name="T75" fmla="*/ 5 h 26"/>
              <a:gd name="T76" fmla="*/ 11 w 145"/>
              <a:gd name="T77" fmla="*/ 5 h 26"/>
              <a:gd name="T78" fmla="*/ 8 w 145"/>
              <a:gd name="T79" fmla="*/ 1 h 26"/>
              <a:gd name="T80" fmla="*/ 9 w 145"/>
              <a:gd name="T81" fmla="*/ 2 h 26"/>
              <a:gd name="T82" fmla="*/ 10 w 145"/>
              <a:gd name="T83" fmla="*/ 1 h 26"/>
              <a:gd name="T84" fmla="*/ 10 w 145"/>
              <a:gd name="T85" fmla="*/ 3 h 26"/>
              <a:gd name="T86" fmla="*/ 9 w 145"/>
              <a:gd name="T87" fmla="*/ 6 h 26"/>
              <a:gd name="T88" fmla="*/ 6 w 145"/>
              <a:gd name="T89" fmla="*/ 6 h 26"/>
              <a:gd name="T90" fmla="*/ 6 w 145"/>
              <a:gd name="T91" fmla="*/ 8 h 26"/>
              <a:gd name="T92" fmla="*/ 4 w 145"/>
              <a:gd name="T93" fmla="*/ 8 h 26"/>
              <a:gd name="T94" fmla="*/ 2 w 145"/>
              <a:gd name="T95" fmla="*/ 8 h 26"/>
              <a:gd name="T96" fmla="*/ 3 w 145"/>
              <a:gd name="T97" fmla="*/ 7 h 26"/>
              <a:gd name="T98" fmla="*/ 4 w 145"/>
              <a:gd name="T99" fmla="*/ 5 h 26"/>
              <a:gd name="T100" fmla="*/ 6 w 145"/>
              <a:gd name="T101" fmla="*/ 5 h 26"/>
              <a:gd name="T102" fmla="*/ 5 w 145"/>
              <a:gd name="T103" fmla="*/ 4 h 26"/>
              <a:gd name="T104" fmla="*/ 4 w 145"/>
              <a:gd name="T105" fmla="*/ 2 h 26"/>
              <a:gd name="T106" fmla="*/ 6 w 145"/>
              <a:gd name="T107" fmla="*/ 3 h 26"/>
              <a:gd name="T108" fmla="*/ 8 w 145"/>
              <a:gd name="T109"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5" h="26">
                <a:moveTo>
                  <a:pt x="142" y="25"/>
                </a:moveTo>
                <a:cubicBezTo>
                  <a:pt x="142" y="24"/>
                  <a:pt x="142" y="24"/>
                  <a:pt x="142" y="24"/>
                </a:cubicBezTo>
                <a:cubicBezTo>
                  <a:pt x="141" y="23"/>
                  <a:pt x="141" y="23"/>
                  <a:pt x="141" y="23"/>
                </a:cubicBezTo>
                <a:cubicBezTo>
                  <a:pt x="141" y="22"/>
                  <a:pt x="141" y="22"/>
                  <a:pt x="141" y="22"/>
                </a:cubicBezTo>
                <a:cubicBezTo>
                  <a:pt x="140" y="22"/>
                  <a:pt x="140" y="22"/>
                  <a:pt x="140" y="22"/>
                </a:cubicBezTo>
                <a:cubicBezTo>
                  <a:pt x="139" y="21"/>
                  <a:pt x="139" y="21"/>
                  <a:pt x="139" y="21"/>
                </a:cubicBezTo>
                <a:cubicBezTo>
                  <a:pt x="138" y="21"/>
                  <a:pt x="138" y="21"/>
                  <a:pt x="138" y="21"/>
                </a:cubicBezTo>
                <a:cubicBezTo>
                  <a:pt x="138" y="20"/>
                  <a:pt x="138" y="20"/>
                  <a:pt x="138" y="20"/>
                </a:cubicBezTo>
                <a:cubicBezTo>
                  <a:pt x="139" y="20"/>
                  <a:pt x="139" y="20"/>
                  <a:pt x="139" y="20"/>
                </a:cubicBezTo>
                <a:cubicBezTo>
                  <a:pt x="141" y="21"/>
                  <a:pt x="141" y="21"/>
                  <a:pt x="141" y="21"/>
                </a:cubicBezTo>
                <a:cubicBezTo>
                  <a:pt x="141" y="21"/>
                  <a:pt x="141" y="21"/>
                  <a:pt x="141" y="21"/>
                </a:cubicBezTo>
                <a:cubicBezTo>
                  <a:pt x="141" y="21"/>
                  <a:pt x="141" y="21"/>
                  <a:pt x="141" y="21"/>
                </a:cubicBezTo>
                <a:cubicBezTo>
                  <a:pt x="142" y="22"/>
                  <a:pt x="143" y="22"/>
                  <a:pt x="143" y="22"/>
                </a:cubicBezTo>
                <a:cubicBezTo>
                  <a:pt x="143" y="23"/>
                  <a:pt x="143" y="23"/>
                  <a:pt x="143" y="23"/>
                </a:cubicBezTo>
                <a:cubicBezTo>
                  <a:pt x="143" y="24"/>
                  <a:pt x="143" y="24"/>
                  <a:pt x="143" y="24"/>
                </a:cubicBezTo>
                <a:cubicBezTo>
                  <a:pt x="144" y="24"/>
                  <a:pt x="144" y="24"/>
                  <a:pt x="144" y="24"/>
                </a:cubicBezTo>
                <a:cubicBezTo>
                  <a:pt x="145" y="24"/>
                  <a:pt x="145" y="24"/>
                  <a:pt x="145" y="24"/>
                </a:cubicBezTo>
                <a:cubicBezTo>
                  <a:pt x="145" y="25"/>
                  <a:pt x="145" y="25"/>
                  <a:pt x="145" y="25"/>
                </a:cubicBezTo>
                <a:cubicBezTo>
                  <a:pt x="144" y="25"/>
                  <a:pt x="144" y="25"/>
                  <a:pt x="144" y="25"/>
                </a:cubicBezTo>
                <a:cubicBezTo>
                  <a:pt x="143" y="26"/>
                  <a:pt x="143" y="26"/>
                  <a:pt x="143" y="26"/>
                </a:cubicBezTo>
                <a:cubicBezTo>
                  <a:pt x="142" y="26"/>
                  <a:pt x="142" y="26"/>
                  <a:pt x="142" y="26"/>
                </a:cubicBezTo>
                <a:cubicBezTo>
                  <a:pt x="142" y="25"/>
                  <a:pt x="142" y="25"/>
                  <a:pt x="142" y="25"/>
                </a:cubicBezTo>
                <a:close/>
                <a:moveTo>
                  <a:pt x="7" y="0"/>
                </a:moveTo>
                <a:cubicBezTo>
                  <a:pt x="8" y="0"/>
                  <a:pt x="8" y="0"/>
                  <a:pt x="8" y="0"/>
                </a:cubicBezTo>
                <a:cubicBezTo>
                  <a:pt x="9" y="0"/>
                  <a:pt x="9" y="0"/>
                  <a:pt x="9" y="0"/>
                </a:cubicBezTo>
                <a:cubicBezTo>
                  <a:pt x="7" y="0"/>
                  <a:pt x="7" y="0"/>
                  <a:pt x="7" y="0"/>
                </a:cubicBezTo>
                <a:close/>
                <a:moveTo>
                  <a:pt x="5" y="0"/>
                </a:moveTo>
                <a:cubicBezTo>
                  <a:pt x="5" y="1"/>
                  <a:pt x="5" y="1"/>
                  <a:pt x="5" y="1"/>
                </a:cubicBezTo>
                <a:cubicBezTo>
                  <a:pt x="6" y="1"/>
                  <a:pt x="6" y="1"/>
                  <a:pt x="6" y="1"/>
                </a:cubicBezTo>
                <a:cubicBezTo>
                  <a:pt x="5" y="0"/>
                  <a:pt x="5" y="0"/>
                  <a:pt x="5" y="0"/>
                </a:cubicBezTo>
                <a:close/>
                <a:moveTo>
                  <a:pt x="0" y="6"/>
                </a:moveTo>
                <a:cubicBezTo>
                  <a:pt x="1" y="5"/>
                  <a:pt x="1" y="5"/>
                  <a:pt x="1" y="5"/>
                </a:cubicBezTo>
                <a:cubicBezTo>
                  <a:pt x="2" y="6"/>
                  <a:pt x="2" y="6"/>
                  <a:pt x="2" y="6"/>
                </a:cubicBezTo>
                <a:cubicBezTo>
                  <a:pt x="2" y="6"/>
                  <a:pt x="2" y="6"/>
                  <a:pt x="2" y="6"/>
                </a:cubicBezTo>
                <a:cubicBezTo>
                  <a:pt x="1" y="6"/>
                  <a:pt x="1" y="6"/>
                  <a:pt x="1" y="6"/>
                </a:cubicBezTo>
                <a:cubicBezTo>
                  <a:pt x="0" y="6"/>
                  <a:pt x="0" y="6"/>
                  <a:pt x="0" y="6"/>
                </a:cubicBezTo>
                <a:close/>
                <a:moveTo>
                  <a:pt x="9" y="8"/>
                </a:moveTo>
                <a:cubicBezTo>
                  <a:pt x="10" y="8"/>
                  <a:pt x="10" y="8"/>
                  <a:pt x="10" y="8"/>
                </a:cubicBezTo>
                <a:cubicBezTo>
                  <a:pt x="11" y="9"/>
                  <a:pt x="11" y="9"/>
                  <a:pt x="11" y="9"/>
                </a:cubicBezTo>
                <a:cubicBezTo>
                  <a:pt x="12" y="9"/>
                  <a:pt x="12" y="9"/>
                  <a:pt x="12" y="9"/>
                </a:cubicBezTo>
                <a:cubicBezTo>
                  <a:pt x="12" y="9"/>
                  <a:pt x="12" y="9"/>
                  <a:pt x="12" y="9"/>
                </a:cubicBezTo>
                <a:cubicBezTo>
                  <a:pt x="11" y="8"/>
                  <a:pt x="11" y="8"/>
                  <a:pt x="11" y="8"/>
                </a:cubicBezTo>
                <a:cubicBezTo>
                  <a:pt x="12" y="7"/>
                  <a:pt x="12" y="7"/>
                  <a:pt x="12" y="7"/>
                </a:cubicBezTo>
                <a:cubicBezTo>
                  <a:pt x="13" y="8"/>
                  <a:pt x="13" y="8"/>
                  <a:pt x="13" y="8"/>
                </a:cubicBezTo>
                <a:cubicBezTo>
                  <a:pt x="13" y="8"/>
                  <a:pt x="13" y="8"/>
                  <a:pt x="13" y="8"/>
                </a:cubicBezTo>
                <a:cubicBezTo>
                  <a:pt x="13" y="7"/>
                  <a:pt x="13" y="7"/>
                  <a:pt x="13" y="7"/>
                </a:cubicBezTo>
                <a:cubicBezTo>
                  <a:pt x="13" y="6"/>
                  <a:pt x="13" y="6"/>
                  <a:pt x="13" y="6"/>
                </a:cubicBezTo>
                <a:cubicBezTo>
                  <a:pt x="14" y="7"/>
                  <a:pt x="14" y="7"/>
                  <a:pt x="14" y="7"/>
                </a:cubicBezTo>
                <a:cubicBezTo>
                  <a:pt x="15" y="6"/>
                  <a:pt x="15" y="6"/>
                  <a:pt x="15" y="6"/>
                </a:cubicBezTo>
                <a:cubicBezTo>
                  <a:pt x="15" y="6"/>
                  <a:pt x="15" y="6"/>
                  <a:pt x="15" y="6"/>
                </a:cubicBezTo>
                <a:cubicBezTo>
                  <a:pt x="14" y="6"/>
                  <a:pt x="14" y="6"/>
                  <a:pt x="14" y="6"/>
                </a:cubicBezTo>
                <a:cubicBezTo>
                  <a:pt x="13" y="6"/>
                  <a:pt x="13" y="6"/>
                  <a:pt x="13" y="6"/>
                </a:cubicBezTo>
                <a:cubicBezTo>
                  <a:pt x="14" y="5"/>
                  <a:pt x="14" y="5"/>
                  <a:pt x="14" y="5"/>
                </a:cubicBezTo>
                <a:cubicBezTo>
                  <a:pt x="15" y="5"/>
                  <a:pt x="15" y="5"/>
                  <a:pt x="15" y="5"/>
                </a:cubicBezTo>
                <a:cubicBezTo>
                  <a:pt x="17" y="5"/>
                  <a:pt x="17" y="5"/>
                  <a:pt x="17" y="5"/>
                </a:cubicBezTo>
                <a:cubicBezTo>
                  <a:pt x="18" y="4"/>
                  <a:pt x="18" y="4"/>
                  <a:pt x="18" y="4"/>
                </a:cubicBezTo>
                <a:cubicBezTo>
                  <a:pt x="19" y="4"/>
                  <a:pt x="19" y="4"/>
                  <a:pt x="19" y="4"/>
                </a:cubicBezTo>
                <a:cubicBezTo>
                  <a:pt x="19" y="3"/>
                  <a:pt x="19" y="3"/>
                  <a:pt x="19" y="3"/>
                </a:cubicBezTo>
                <a:cubicBezTo>
                  <a:pt x="18" y="3"/>
                  <a:pt x="18" y="3"/>
                  <a:pt x="18" y="3"/>
                </a:cubicBezTo>
                <a:cubicBezTo>
                  <a:pt x="18" y="3"/>
                  <a:pt x="18" y="3"/>
                  <a:pt x="18" y="3"/>
                </a:cubicBezTo>
                <a:cubicBezTo>
                  <a:pt x="18" y="2"/>
                  <a:pt x="18" y="2"/>
                  <a:pt x="18" y="2"/>
                </a:cubicBezTo>
                <a:cubicBezTo>
                  <a:pt x="19" y="2"/>
                  <a:pt x="19" y="2"/>
                  <a:pt x="19" y="2"/>
                </a:cubicBezTo>
                <a:cubicBezTo>
                  <a:pt x="19" y="2"/>
                  <a:pt x="19" y="2"/>
                  <a:pt x="19" y="2"/>
                </a:cubicBezTo>
                <a:cubicBezTo>
                  <a:pt x="17" y="1"/>
                  <a:pt x="17" y="1"/>
                  <a:pt x="17" y="1"/>
                </a:cubicBezTo>
                <a:cubicBezTo>
                  <a:pt x="16" y="1"/>
                  <a:pt x="16" y="1"/>
                  <a:pt x="16" y="1"/>
                </a:cubicBezTo>
                <a:cubicBezTo>
                  <a:pt x="17" y="2"/>
                  <a:pt x="17" y="2"/>
                  <a:pt x="17" y="2"/>
                </a:cubicBezTo>
                <a:cubicBezTo>
                  <a:pt x="16" y="3"/>
                  <a:pt x="16" y="3"/>
                  <a:pt x="16" y="3"/>
                </a:cubicBezTo>
                <a:cubicBezTo>
                  <a:pt x="15" y="1"/>
                  <a:pt x="15" y="1"/>
                  <a:pt x="15" y="1"/>
                </a:cubicBezTo>
                <a:cubicBezTo>
                  <a:pt x="15" y="0"/>
                  <a:pt x="15" y="0"/>
                  <a:pt x="15" y="0"/>
                </a:cubicBezTo>
                <a:cubicBezTo>
                  <a:pt x="13" y="0"/>
                  <a:pt x="13" y="0"/>
                  <a:pt x="13" y="0"/>
                </a:cubicBezTo>
                <a:cubicBezTo>
                  <a:pt x="13" y="1"/>
                  <a:pt x="13" y="1"/>
                  <a:pt x="13" y="1"/>
                </a:cubicBezTo>
                <a:cubicBezTo>
                  <a:pt x="12" y="1"/>
                  <a:pt x="12" y="1"/>
                  <a:pt x="12" y="1"/>
                </a:cubicBezTo>
                <a:cubicBezTo>
                  <a:pt x="12" y="2"/>
                  <a:pt x="12" y="2"/>
                  <a:pt x="12" y="2"/>
                </a:cubicBezTo>
                <a:cubicBezTo>
                  <a:pt x="12" y="3"/>
                  <a:pt x="12" y="3"/>
                  <a:pt x="12" y="3"/>
                </a:cubicBezTo>
                <a:cubicBezTo>
                  <a:pt x="13" y="4"/>
                  <a:pt x="13" y="4"/>
                  <a:pt x="13" y="4"/>
                </a:cubicBezTo>
                <a:cubicBezTo>
                  <a:pt x="13" y="5"/>
                  <a:pt x="13" y="5"/>
                  <a:pt x="13" y="5"/>
                </a:cubicBezTo>
                <a:cubicBezTo>
                  <a:pt x="12" y="4"/>
                  <a:pt x="12" y="4"/>
                  <a:pt x="12" y="4"/>
                </a:cubicBezTo>
                <a:cubicBezTo>
                  <a:pt x="11" y="5"/>
                  <a:pt x="11" y="5"/>
                  <a:pt x="11" y="5"/>
                </a:cubicBezTo>
                <a:cubicBezTo>
                  <a:pt x="9" y="8"/>
                  <a:pt x="9" y="8"/>
                  <a:pt x="9" y="8"/>
                </a:cubicBezTo>
                <a:close/>
                <a:moveTo>
                  <a:pt x="8" y="1"/>
                </a:moveTo>
                <a:cubicBezTo>
                  <a:pt x="9" y="2"/>
                  <a:pt x="9" y="2"/>
                  <a:pt x="9" y="2"/>
                </a:cubicBezTo>
                <a:cubicBezTo>
                  <a:pt x="9" y="2"/>
                  <a:pt x="9" y="2"/>
                  <a:pt x="9" y="2"/>
                </a:cubicBezTo>
                <a:cubicBezTo>
                  <a:pt x="10" y="1"/>
                  <a:pt x="10" y="1"/>
                  <a:pt x="10" y="1"/>
                </a:cubicBezTo>
                <a:cubicBezTo>
                  <a:pt x="10" y="1"/>
                  <a:pt x="10" y="1"/>
                  <a:pt x="10" y="1"/>
                </a:cubicBezTo>
                <a:cubicBezTo>
                  <a:pt x="11" y="2"/>
                  <a:pt x="11" y="2"/>
                  <a:pt x="11" y="2"/>
                </a:cubicBezTo>
                <a:cubicBezTo>
                  <a:pt x="10" y="3"/>
                  <a:pt x="10" y="3"/>
                  <a:pt x="10" y="3"/>
                </a:cubicBezTo>
                <a:cubicBezTo>
                  <a:pt x="9" y="5"/>
                  <a:pt x="9" y="5"/>
                  <a:pt x="9" y="5"/>
                </a:cubicBezTo>
                <a:cubicBezTo>
                  <a:pt x="9" y="6"/>
                  <a:pt x="9" y="6"/>
                  <a:pt x="9" y="6"/>
                </a:cubicBezTo>
                <a:cubicBezTo>
                  <a:pt x="7" y="7"/>
                  <a:pt x="7" y="7"/>
                  <a:pt x="7" y="7"/>
                </a:cubicBezTo>
                <a:cubicBezTo>
                  <a:pt x="6" y="6"/>
                  <a:pt x="6" y="6"/>
                  <a:pt x="6" y="6"/>
                </a:cubicBezTo>
                <a:cubicBezTo>
                  <a:pt x="5" y="7"/>
                  <a:pt x="5" y="7"/>
                  <a:pt x="5" y="7"/>
                </a:cubicBezTo>
                <a:cubicBezTo>
                  <a:pt x="6" y="8"/>
                  <a:pt x="6" y="8"/>
                  <a:pt x="6" y="8"/>
                </a:cubicBezTo>
                <a:cubicBezTo>
                  <a:pt x="5" y="9"/>
                  <a:pt x="5" y="9"/>
                  <a:pt x="5" y="9"/>
                </a:cubicBezTo>
                <a:cubicBezTo>
                  <a:pt x="4" y="8"/>
                  <a:pt x="4" y="8"/>
                  <a:pt x="4" y="8"/>
                </a:cubicBezTo>
                <a:cubicBezTo>
                  <a:pt x="3" y="9"/>
                  <a:pt x="3" y="9"/>
                  <a:pt x="3" y="9"/>
                </a:cubicBezTo>
                <a:cubicBezTo>
                  <a:pt x="2" y="8"/>
                  <a:pt x="2" y="8"/>
                  <a:pt x="2" y="8"/>
                </a:cubicBezTo>
                <a:cubicBezTo>
                  <a:pt x="2" y="7"/>
                  <a:pt x="2" y="7"/>
                  <a:pt x="2" y="7"/>
                </a:cubicBezTo>
                <a:cubicBezTo>
                  <a:pt x="3" y="7"/>
                  <a:pt x="3" y="7"/>
                  <a:pt x="3" y="7"/>
                </a:cubicBezTo>
                <a:cubicBezTo>
                  <a:pt x="4" y="6"/>
                  <a:pt x="4" y="6"/>
                  <a:pt x="4" y="6"/>
                </a:cubicBezTo>
                <a:cubicBezTo>
                  <a:pt x="4" y="5"/>
                  <a:pt x="4" y="5"/>
                  <a:pt x="4" y="5"/>
                </a:cubicBezTo>
                <a:cubicBezTo>
                  <a:pt x="5" y="5"/>
                  <a:pt x="5" y="5"/>
                  <a:pt x="5" y="5"/>
                </a:cubicBezTo>
                <a:cubicBezTo>
                  <a:pt x="6" y="5"/>
                  <a:pt x="6" y="5"/>
                  <a:pt x="6" y="5"/>
                </a:cubicBezTo>
                <a:cubicBezTo>
                  <a:pt x="6" y="4"/>
                  <a:pt x="6" y="4"/>
                  <a:pt x="6" y="4"/>
                </a:cubicBezTo>
                <a:cubicBezTo>
                  <a:pt x="5" y="4"/>
                  <a:pt x="5" y="4"/>
                  <a:pt x="5" y="4"/>
                </a:cubicBezTo>
                <a:cubicBezTo>
                  <a:pt x="3" y="2"/>
                  <a:pt x="3" y="2"/>
                  <a:pt x="3" y="2"/>
                </a:cubicBezTo>
                <a:cubicBezTo>
                  <a:pt x="4" y="2"/>
                  <a:pt x="4" y="2"/>
                  <a:pt x="4" y="2"/>
                </a:cubicBezTo>
                <a:cubicBezTo>
                  <a:pt x="5" y="3"/>
                  <a:pt x="5" y="3"/>
                  <a:pt x="5" y="3"/>
                </a:cubicBezTo>
                <a:cubicBezTo>
                  <a:pt x="6" y="3"/>
                  <a:pt x="6" y="3"/>
                  <a:pt x="6" y="3"/>
                </a:cubicBezTo>
                <a:cubicBezTo>
                  <a:pt x="7" y="1"/>
                  <a:pt x="7" y="1"/>
                  <a:pt x="7" y="1"/>
                </a:cubicBezTo>
                <a:lnTo>
                  <a:pt x="8" y="1"/>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0" name="Freeform 178">
            <a:extLst>
              <a:ext uri="{FF2B5EF4-FFF2-40B4-BE49-F238E27FC236}">
                <a16:creationId xmlns:a16="http://schemas.microsoft.com/office/drawing/2014/main" id="{C9036A10-C271-105B-72A7-E19633EBB030}"/>
              </a:ext>
            </a:extLst>
          </p:cNvPr>
          <p:cNvSpPr>
            <a:spLocks/>
          </p:cNvSpPr>
          <p:nvPr userDrawn="1"/>
        </p:nvSpPr>
        <p:spPr bwMode="auto">
          <a:xfrm>
            <a:off x="8048105" y="8771813"/>
            <a:ext cx="349227" cy="158750"/>
          </a:xfrm>
          <a:custGeom>
            <a:avLst/>
            <a:gdLst>
              <a:gd name="T0" fmla="*/ 94 w 110"/>
              <a:gd name="T1" fmla="*/ 43 h 50"/>
              <a:gd name="T2" fmla="*/ 88 w 110"/>
              <a:gd name="T3" fmla="*/ 31 h 50"/>
              <a:gd name="T4" fmla="*/ 94 w 110"/>
              <a:gd name="T5" fmla="*/ 25 h 50"/>
              <a:gd name="T6" fmla="*/ 97 w 110"/>
              <a:gd name="T7" fmla="*/ 25 h 50"/>
              <a:gd name="T8" fmla="*/ 94 w 110"/>
              <a:gd name="T9" fmla="*/ 22 h 50"/>
              <a:gd name="T10" fmla="*/ 91 w 110"/>
              <a:gd name="T11" fmla="*/ 25 h 50"/>
              <a:gd name="T12" fmla="*/ 88 w 110"/>
              <a:gd name="T13" fmla="*/ 18 h 50"/>
              <a:gd name="T14" fmla="*/ 81 w 110"/>
              <a:gd name="T15" fmla="*/ 15 h 50"/>
              <a:gd name="T16" fmla="*/ 75 w 110"/>
              <a:gd name="T17" fmla="*/ 9 h 50"/>
              <a:gd name="T18" fmla="*/ 66 w 110"/>
              <a:gd name="T19" fmla="*/ 12 h 50"/>
              <a:gd name="T20" fmla="*/ 66 w 110"/>
              <a:gd name="T21" fmla="*/ 18 h 50"/>
              <a:gd name="T22" fmla="*/ 60 w 110"/>
              <a:gd name="T23" fmla="*/ 25 h 50"/>
              <a:gd name="T24" fmla="*/ 50 w 110"/>
              <a:gd name="T25" fmla="*/ 28 h 50"/>
              <a:gd name="T26" fmla="*/ 50 w 110"/>
              <a:gd name="T27" fmla="*/ 34 h 50"/>
              <a:gd name="T28" fmla="*/ 56 w 110"/>
              <a:gd name="T29" fmla="*/ 37 h 50"/>
              <a:gd name="T30" fmla="*/ 56 w 110"/>
              <a:gd name="T31" fmla="*/ 43 h 50"/>
              <a:gd name="T32" fmla="*/ 50 w 110"/>
              <a:gd name="T33" fmla="*/ 47 h 50"/>
              <a:gd name="T34" fmla="*/ 41 w 110"/>
              <a:gd name="T35" fmla="*/ 47 h 50"/>
              <a:gd name="T36" fmla="*/ 41 w 110"/>
              <a:gd name="T37" fmla="*/ 43 h 50"/>
              <a:gd name="T38" fmla="*/ 41 w 110"/>
              <a:gd name="T39" fmla="*/ 37 h 50"/>
              <a:gd name="T40" fmla="*/ 38 w 110"/>
              <a:gd name="T41" fmla="*/ 34 h 50"/>
              <a:gd name="T42" fmla="*/ 38 w 110"/>
              <a:gd name="T43" fmla="*/ 37 h 50"/>
              <a:gd name="T44" fmla="*/ 31 w 110"/>
              <a:gd name="T45" fmla="*/ 40 h 50"/>
              <a:gd name="T46" fmla="*/ 25 w 110"/>
              <a:gd name="T47" fmla="*/ 34 h 50"/>
              <a:gd name="T48" fmla="*/ 19 w 110"/>
              <a:gd name="T49" fmla="*/ 28 h 50"/>
              <a:gd name="T50" fmla="*/ 16 w 110"/>
              <a:gd name="T51" fmla="*/ 25 h 50"/>
              <a:gd name="T52" fmla="*/ 13 w 110"/>
              <a:gd name="T53" fmla="*/ 25 h 50"/>
              <a:gd name="T54" fmla="*/ 6 w 110"/>
              <a:gd name="T55" fmla="*/ 25 h 50"/>
              <a:gd name="T56" fmla="*/ 3 w 110"/>
              <a:gd name="T57" fmla="*/ 25 h 50"/>
              <a:gd name="T58" fmla="*/ 3 w 110"/>
              <a:gd name="T59" fmla="*/ 18 h 50"/>
              <a:gd name="T60" fmla="*/ 3 w 110"/>
              <a:gd name="T61" fmla="*/ 12 h 50"/>
              <a:gd name="T62" fmla="*/ 3 w 110"/>
              <a:gd name="T63" fmla="*/ 9 h 50"/>
              <a:gd name="T64" fmla="*/ 3 w 110"/>
              <a:gd name="T65" fmla="*/ 3 h 50"/>
              <a:gd name="T66" fmla="*/ 10 w 110"/>
              <a:gd name="T67" fmla="*/ 3 h 50"/>
              <a:gd name="T68" fmla="*/ 13 w 110"/>
              <a:gd name="T69" fmla="*/ 6 h 50"/>
              <a:gd name="T70" fmla="*/ 16 w 110"/>
              <a:gd name="T71" fmla="*/ 6 h 50"/>
              <a:gd name="T72" fmla="*/ 16 w 110"/>
              <a:gd name="T73" fmla="*/ 9 h 50"/>
              <a:gd name="T74" fmla="*/ 16 w 110"/>
              <a:gd name="T75" fmla="*/ 12 h 50"/>
              <a:gd name="T76" fmla="*/ 22 w 110"/>
              <a:gd name="T77" fmla="*/ 12 h 50"/>
              <a:gd name="T78" fmla="*/ 19 w 110"/>
              <a:gd name="T79" fmla="*/ 9 h 50"/>
              <a:gd name="T80" fmla="*/ 25 w 110"/>
              <a:gd name="T81" fmla="*/ 9 h 50"/>
              <a:gd name="T82" fmla="*/ 38 w 110"/>
              <a:gd name="T83" fmla="*/ 15 h 50"/>
              <a:gd name="T84" fmla="*/ 47 w 110"/>
              <a:gd name="T85" fmla="*/ 12 h 50"/>
              <a:gd name="T86" fmla="*/ 63 w 110"/>
              <a:gd name="T87" fmla="*/ 3 h 50"/>
              <a:gd name="T88" fmla="*/ 72 w 110"/>
              <a:gd name="T89" fmla="*/ 0 h 50"/>
              <a:gd name="T90" fmla="*/ 75 w 110"/>
              <a:gd name="T91" fmla="*/ 3 h 50"/>
              <a:gd name="T92" fmla="*/ 88 w 110"/>
              <a:gd name="T93" fmla="*/ 3 h 50"/>
              <a:gd name="T94" fmla="*/ 100 w 110"/>
              <a:gd name="T95" fmla="*/ 9 h 50"/>
              <a:gd name="T96" fmla="*/ 103 w 110"/>
              <a:gd name="T97" fmla="*/ 15 h 50"/>
              <a:gd name="T98" fmla="*/ 110 w 110"/>
              <a:gd name="T99" fmla="*/ 18 h 50"/>
              <a:gd name="T100" fmla="*/ 110 w 110"/>
              <a:gd name="T101" fmla="*/ 25 h 50"/>
              <a:gd name="T102" fmla="*/ 106 w 110"/>
              <a:gd name="T103" fmla="*/ 34 h 50"/>
              <a:gd name="T104" fmla="*/ 103 w 110"/>
              <a:gd name="T105" fmla="*/ 40 h 50"/>
              <a:gd name="T106" fmla="*/ 100 w 110"/>
              <a:gd name="T107" fmla="*/ 4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 h="50">
                <a:moveTo>
                  <a:pt x="100" y="47"/>
                </a:moveTo>
                <a:lnTo>
                  <a:pt x="94" y="43"/>
                </a:lnTo>
                <a:lnTo>
                  <a:pt x="91" y="37"/>
                </a:lnTo>
                <a:lnTo>
                  <a:pt x="88" y="31"/>
                </a:lnTo>
                <a:lnTo>
                  <a:pt x="91" y="31"/>
                </a:lnTo>
                <a:lnTo>
                  <a:pt x="94" y="25"/>
                </a:lnTo>
                <a:lnTo>
                  <a:pt x="97" y="25"/>
                </a:lnTo>
                <a:lnTo>
                  <a:pt x="97" y="25"/>
                </a:lnTo>
                <a:lnTo>
                  <a:pt x="97" y="22"/>
                </a:lnTo>
                <a:lnTo>
                  <a:pt x="94" y="22"/>
                </a:lnTo>
                <a:lnTo>
                  <a:pt x="91" y="25"/>
                </a:lnTo>
                <a:lnTo>
                  <a:pt x="91" y="25"/>
                </a:lnTo>
                <a:lnTo>
                  <a:pt x="88" y="25"/>
                </a:lnTo>
                <a:lnTo>
                  <a:pt x="88" y="18"/>
                </a:lnTo>
                <a:lnTo>
                  <a:pt x="85" y="15"/>
                </a:lnTo>
                <a:lnTo>
                  <a:pt x="81" y="15"/>
                </a:lnTo>
                <a:lnTo>
                  <a:pt x="78" y="12"/>
                </a:lnTo>
                <a:lnTo>
                  <a:pt x="75" y="9"/>
                </a:lnTo>
                <a:lnTo>
                  <a:pt x="69" y="9"/>
                </a:lnTo>
                <a:lnTo>
                  <a:pt x="66" y="12"/>
                </a:lnTo>
                <a:lnTo>
                  <a:pt x="63" y="18"/>
                </a:lnTo>
                <a:lnTo>
                  <a:pt x="66" y="18"/>
                </a:lnTo>
                <a:lnTo>
                  <a:pt x="66" y="18"/>
                </a:lnTo>
                <a:lnTo>
                  <a:pt x="60" y="25"/>
                </a:lnTo>
                <a:lnTo>
                  <a:pt x="53" y="25"/>
                </a:lnTo>
                <a:lnTo>
                  <a:pt x="50" y="28"/>
                </a:lnTo>
                <a:lnTo>
                  <a:pt x="50" y="31"/>
                </a:lnTo>
                <a:lnTo>
                  <a:pt x="50" y="34"/>
                </a:lnTo>
                <a:lnTo>
                  <a:pt x="53" y="34"/>
                </a:lnTo>
                <a:lnTo>
                  <a:pt x="56" y="37"/>
                </a:lnTo>
                <a:lnTo>
                  <a:pt x="56" y="43"/>
                </a:lnTo>
                <a:lnTo>
                  <a:pt x="56" y="43"/>
                </a:lnTo>
                <a:lnTo>
                  <a:pt x="53" y="43"/>
                </a:lnTo>
                <a:lnTo>
                  <a:pt x="50" y="47"/>
                </a:lnTo>
                <a:lnTo>
                  <a:pt x="47" y="50"/>
                </a:lnTo>
                <a:lnTo>
                  <a:pt x="41" y="47"/>
                </a:lnTo>
                <a:lnTo>
                  <a:pt x="41" y="47"/>
                </a:lnTo>
                <a:lnTo>
                  <a:pt x="41" y="43"/>
                </a:lnTo>
                <a:lnTo>
                  <a:pt x="41" y="40"/>
                </a:lnTo>
                <a:lnTo>
                  <a:pt x="41" y="37"/>
                </a:lnTo>
                <a:lnTo>
                  <a:pt x="38" y="34"/>
                </a:lnTo>
                <a:lnTo>
                  <a:pt x="38" y="34"/>
                </a:lnTo>
                <a:lnTo>
                  <a:pt x="35" y="37"/>
                </a:lnTo>
                <a:lnTo>
                  <a:pt x="38" y="37"/>
                </a:lnTo>
                <a:lnTo>
                  <a:pt x="35" y="40"/>
                </a:lnTo>
                <a:lnTo>
                  <a:pt x="31" y="40"/>
                </a:lnTo>
                <a:lnTo>
                  <a:pt x="28" y="40"/>
                </a:lnTo>
                <a:lnTo>
                  <a:pt x="25" y="34"/>
                </a:lnTo>
                <a:lnTo>
                  <a:pt x="25" y="28"/>
                </a:lnTo>
                <a:lnTo>
                  <a:pt x="19" y="28"/>
                </a:lnTo>
                <a:lnTo>
                  <a:pt x="16" y="28"/>
                </a:lnTo>
                <a:lnTo>
                  <a:pt x="16" y="25"/>
                </a:lnTo>
                <a:lnTo>
                  <a:pt x="16" y="25"/>
                </a:lnTo>
                <a:lnTo>
                  <a:pt x="13" y="25"/>
                </a:lnTo>
                <a:lnTo>
                  <a:pt x="10" y="25"/>
                </a:lnTo>
                <a:lnTo>
                  <a:pt x="6" y="25"/>
                </a:lnTo>
                <a:lnTo>
                  <a:pt x="3" y="25"/>
                </a:lnTo>
                <a:lnTo>
                  <a:pt x="3" y="25"/>
                </a:lnTo>
                <a:lnTo>
                  <a:pt x="3" y="22"/>
                </a:lnTo>
                <a:lnTo>
                  <a:pt x="3" y="18"/>
                </a:lnTo>
                <a:lnTo>
                  <a:pt x="6" y="15"/>
                </a:lnTo>
                <a:lnTo>
                  <a:pt x="3" y="12"/>
                </a:lnTo>
                <a:lnTo>
                  <a:pt x="0" y="12"/>
                </a:lnTo>
                <a:lnTo>
                  <a:pt x="3" y="9"/>
                </a:lnTo>
                <a:lnTo>
                  <a:pt x="3" y="6"/>
                </a:lnTo>
                <a:lnTo>
                  <a:pt x="3" y="3"/>
                </a:lnTo>
                <a:lnTo>
                  <a:pt x="6" y="3"/>
                </a:lnTo>
                <a:lnTo>
                  <a:pt x="10" y="3"/>
                </a:lnTo>
                <a:lnTo>
                  <a:pt x="10" y="3"/>
                </a:lnTo>
                <a:lnTo>
                  <a:pt x="13" y="6"/>
                </a:lnTo>
                <a:lnTo>
                  <a:pt x="16" y="6"/>
                </a:lnTo>
                <a:lnTo>
                  <a:pt x="16" y="6"/>
                </a:lnTo>
                <a:lnTo>
                  <a:pt x="16" y="9"/>
                </a:lnTo>
                <a:lnTo>
                  <a:pt x="16" y="9"/>
                </a:lnTo>
                <a:lnTo>
                  <a:pt x="16" y="9"/>
                </a:lnTo>
                <a:lnTo>
                  <a:pt x="16" y="12"/>
                </a:lnTo>
                <a:lnTo>
                  <a:pt x="19" y="12"/>
                </a:lnTo>
                <a:lnTo>
                  <a:pt x="22" y="12"/>
                </a:lnTo>
                <a:lnTo>
                  <a:pt x="22" y="9"/>
                </a:lnTo>
                <a:lnTo>
                  <a:pt x="19" y="9"/>
                </a:lnTo>
                <a:lnTo>
                  <a:pt x="22" y="9"/>
                </a:lnTo>
                <a:lnTo>
                  <a:pt x="25" y="9"/>
                </a:lnTo>
                <a:lnTo>
                  <a:pt x="31" y="15"/>
                </a:lnTo>
                <a:lnTo>
                  <a:pt x="38" y="15"/>
                </a:lnTo>
                <a:lnTo>
                  <a:pt x="44" y="15"/>
                </a:lnTo>
                <a:lnTo>
                  <a:pt x="47" y="12"/>
                </a:lnTo>
                <a:lnTo>
                  <a:pt x="56" y="6"/>
                </a:lnTo>
                <a:lnTo>
                  <a:pt x="63" y="3"/>
                </a:lnTo>
                <a:lnTo>
                  <a:pt x="69" y="0"/>
                </a:lnTo>
                <a:lnTo>
                  <a:pt x="72" y="0"/>
                </a:lnTo>
                <a:lnTo>
                  <a:pt x="75" y="0"/>
                </a:lnTo>
                <a:lnTo>
                  <a:pt x="75" y="3"/>
                </a:lnTo>
                <a:lnTo>
                  <a:pt x="78" y="3"/>
                </a:lnTo>
                <a:lnTo>
                  <a:pt x="88" y="3"/>
                </a:lnTo>
                <a:lnTo>
                  <a:pt x="91" y="3"/>
                </a:lnTo>
                <a:lnTo>
                  <a:pt x="100" y="9"/>
                </a:lnTo>
                <a:lnTo>
                  <a:pt x="103" y="12"/>
                </a:lnTo>
                <a:lnTo>
                  <a:pt x="103" y="15"/>
                </a:lnTo>
                <a:lnTo>
                  <a:pt x="106" y="15"/>
                </a:lnTo>
                <a:lnTo>
                  <a:pt x="110" y="18"/>
                </a:lnTo>
                <a:lnTo>
                  <a:pt x="106" y="22"/>
                </a:lnTo>
                <a:lnTo>
                  <a:pt x="110" y="25"/>
                </a:lnTo>
                <a:lnTo>
                  <a:pt x="110" y="28"/>
                </a:lnTo>
                <a:lnTo>
                  <a:pt x="106" y="34"/>
                </a:lnTo>
                <a:lnTo>
                  <a:pt x="106" y="37"/>
                </a:lnTo>
                <a:lnTo>
                  <a:pt x="103" y="40"/>
                </a:lnTo>
                <a:lnTo>
                  <a:pt x="100" y="40"/>
                </a:lnTo>
                <a:lnTo>
                  <a:pt x="100" y="47"/>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1" name="Freeform 179">
            <a:extLst>
              <a:ext uri="{FF2B5EF4-FFF2-40B4-BE49-F238E27FC236}">
                <a16:creationId xmlns:a16="http://schemas.microsoft.com/office/drawing/2014/main" id="{0AF6BB0E-7B6A-5016-6E7B-AA9B7488B2CC}"/>
              </a:ext>
            </a:extLst>
          </p:cNvPr>
          <p:cNvSpPr>
            <a:spLocks/>
          </p:cNvSpPr>
          <p:nvPr userDrawn="1"/>
        </p:nvSpPr>
        <p:spPr bwMode="auto">
          <a:xfrm>
            <a:off x="7870315" y="8670213"/>
            <a:ext cx="209536" cy="200026"/>
          </a:xfrm>
          <a:custGeom>
            <a:avLst/>
            <a:gdLst>
              <a:gd name="T0" fmla="*/ 59 w 66"/>
              <a:gd name="T1" fmla="*/ 57 h 63"/>
              <a:gd name="T2" fmla="*/ 59 w 66"/>
              <a:gd name="T3" fmla="*/ 57 h 63"/>
              <a:gd name="T4" fmla="*/ 59 w 66"/>
              <a:gd name="T5" fmla="*/ 63 h 63"/>
              <a:gd name="T6" fmla="*/ 53 w 66"/>
              <a:gd name="T7" fmla="*/ 60 h 63"/>
              <a:gd name="T8" fmla="*/ 53 w 66"/>
              <a:gd name="T9" fmla="*/ 60 h 63"/>
              <a:gd name="T10" fmla="*/ 50 w 66"/>
              <a:gd name="T11" fmla="*/ 50 h 63"/>
              <a:gd name="T12" fmla="*/ 47 w 66"/>
              <a:gd name="T13" fmla="*/ 50 h 63"/>
              <a:gd name="T14" fmla="*/ 50 w 66"/>
              <a:gd name="T15" fmla="*/ 54 h 63"/>
              <a:gd name="T16" fmla="*/ 50 w 66"/>
              <a:gd name="T17" fmla="*/ 60 h 63"/>
              <a:gd name="T18" fmla="*/ 47 w 66"/>
              <a:gd name="T19" fmla="*/ 57 h 63"/>
              <a:gd name="T20" fmla="*/ 41 w 66"/>
              <a:gd name="T21" fmla="*/ 54 h 63"/>
              <a:gd name="T22" fmla="*/ 41 w 66"/>
              <a:gd name="T23" fmla="*/ 47 h 63"/>
              <a:gd name="T24" fmla="*/ 37 w 66"/>
              <a:gd name="T25" fmla="*/ 41 h 63"/>
              <a:gd name="T26" fmla="*/ 31 w 66"/>
              <a:gd name="T27" fmla="*/ 35 h 63"/>
              <a:gd name="T28" fmla="*/ 25 w 66"/>
              <a:gd name="T29" fmla="*/ 28 h 63"/>
              <a:gd name="T30" fmla="*/ 22 w 66"/>
              <a:gd name="T31" fmla="*/ 22 h 63"/>
              <a:gd name="T32" fmla="*/ 12 w 66"/>
              <a:gd name="T33" fmla="*/ 19 h 63"/>
              <a:gd name="T34" fmla="*/ 12 w 66"/>
              <a:gd name="T35" fmla="*/ 22 h 63"/>
              <a:gd name="T36" fmla="*/ 19 w 66"/>
              <a:gd name="T37" fmla="*/ 28 h 63"/>
              <a:gd name="T38" fmla="*/ 16 w 66"/>
              <a:gd name="T39" fmla="*/ 35 h 63"/>
              <a:gd name="T40" fmla="*/ 9 w 66"/>
              <a:gd name="T41" fmla="*/ 28 h 63"/>
              <a:gd name="T42" fmla="*/ 0 w 66"/>
              <a:gd name="T43" fmla="*/ 22 h 63"/>
              <a:gd name="T44" fmla="*/ 0 w 66"/>
              <a:gd name="T45" fmla="*/ 16 h 63"/>
              <a:gd name="T46" fmla="*/ 3 w 66"/>
              <a:gd name="T47" fmla="*/ 10 h 63"/>
              <a:gd name="T48" fmla="*/ 0 w 66"/>
              <a:gd name="T49" fmla="*/ 7 h 63"/>
              <a:gd name="T50" fmla="*/ 3 w 66"/>
              <a:gd name="T51" fmla="*/ 3 h 63"/>
              <a:gd name="T52" fmla="*/ 3 w 66"/>
              <a:gd name="T53" fmla="*/ 0 h 63"/>
              <a:gd name="T54" fmla="*/ 9 w 66"/>
              <a:gd name="T55" fmla="*/ 0 h 63"/>
              <a:gd name="T56" fmla="*/ 25 w 66"/>
              <a:gd name="T57" fmla="*/ 0 h 63"/>
              <a:gd name="T58" fmla="*/ 31 w 66"/>
              <a:gd name="T59" fmla="*/ 3 h 63"/>
              <a:gd name="T60" fmla="*/ 34 w 66"/>
              <a:gd name="T61" fmla="*/ 7 h 63"/>
              <a:gd name="T62" fmla="*/ 41 w 66"/>
              <a:gd name="T63" fmla="*/ 10 h 63"/>
              <a:gd name="T64" fmla="*/ 41 w 66"/>
              <a:gd name="T65" fmla="*/ 10 h 63"/>
              <a:gd name="T66" fmla="*/ 47 w 66"/>
              <a:gd name="T67" fmla="*/ 10 h 63"/>
              <a:gd name="T68" fmla="*/ 50 w 66"/>
              <a:gd name="T69" fmla="*/ 13 h 63"/>
              <a:gd name="T70" fmla="*/ 53 w 66"/>
              <a:gd name="T71" fmla="*/ 19 h 63"/>
              <a:gd name="T72" fmla="*/ 56 w 66"/>
              <a:gd name="T73" fmla="*/ 28 h 63"/>
              <a:gd name="T74" fmla="*/ 62 w 66"/>
              <a:gd name="T75" fmla="*/ 32 h 63"/>
              <a:gd name="T76" fmla="*/ 66 w 66"/>
              <a:gd name="T77" fmla="*/ 35 h 63"/>
              <a:gd name="T78" fmla="*/ 59 w 66"/>
              <a:gd name="T79" fmla="*/ 35 h 63"/>
              <a:gd name="T80" fmla="*/ 59 w 66"/>
              <a:gd name="T81" fmla="*/ 41 h 63"/>
              <a:gd name="T82" fmla="*/ 59 w 66"/>
              <a:gd name="T83" fmla="*/ 44 h 63"/>
              <a:gd name="T84" fmla="*/ 59 w 66"/>
              <a:gd name="T85" fmla="*/ 50 h 63"/>
              <a:gd name="T86" fmla="*/ 59 w 66"/>
              <a:gd name="T87" fmla="*/ 57 h 63"/>
              <a:gd name="T88" fmla="*/ 59 w 66"/>
              <a:gd name="T89" fmla="*/ 5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 h="63">
                <a:moveTo>
                  <a:pt x="59" y="57"/>
                </a:moveTo>
                <a:lnTo>
                  <a:pt x="59" y="57"/>
                </a:lnTo>
                <a:lnTo>
                  <a:pt x="59" y="57"/>
                </a:lnTo>
                <a:lnTo>
                  <a:pt x="59" y="57"/>
                </a:lnTo>
                <a:lnTo>
                  <a:pt x="59" y="60"/>
                </a:lnTo>
                <a:lnTo>
                  <a:pt x="59" y="63"/>
                </a:lnTo>
                <a:lnTo>
                  <a:pt x="56" y="63"/>
                </a:lnTo>
                <a:lnTo>
                  <a:pt x="53" y="60"/>
                </a:lnTo>
                <a:lnTo>
                  <a:pt x="53" y="60"/>
                </a:lnTo>
                <a:lnTo>
                  <a:pt x="53" y="60"/>
                </a:lnTo>
                <a:lnTo>
                  <a:pt x="53" y="57"/>
                </a:lnTo>
                <a:lnTo>
                  <a:pt x="50" y="50"/>
                </a:lnTo>
                <a:lnTo>
                  <a:pt x="47" y="50"/>
                </a:lnTo>
                <a:lnTo>
                  <a:pt x="47" y="50"/>
                </a:lnTo>
                <a:lnTo>
                  <a:pt x="47" y="50"/>
                </a:lnTo>
                <a:lnTo>
                  <a:pt x="50" y="54"/>
                </a:lnTo>
                <a:lnTo>
                  <a:pt x="50" y="57"/>
                </a:lnTo>
                <a:lnTo>
                  <a:pt x="50" y="60"/>
                </a:lnTo>
                <a:lnTo>
                  <a:pt x="50" y="60"/>
                </a:lnTo>
                <a:lnTo>
                  <a:pt x="47" y="57"/>
                </a:lnTo>
                <a:lnTo>
                  <a:pt x="41" y="57"/>
                </a:lnTo>
                <a:lnTo>
                  <a:pt x="41" y="54"/>
                </a:lnTo>
                <a:lnTo>
                  <a:pt x="41" y="50"/>
                </a:lnTo>
                <a:lnTo>
                  <a:pt x="41" y="47"/>
                </a:lnTo>
                <a:lnTo>
                  <a:pt x="41" y="44"/>
                </a:lnTo>
                <a:lnTo>
                  <a:pt x="37" y="41"/>
                </a:lnTo>
                <a:lnTo>
                  <a:pt x="34" y="38"/>
                </a:lnTo>
                <a:lnTo>
                  <a:pt x="31" y="35"/>
                </a:lnTo>
                <a:lnTo>
                  <a:pt x="25" y="32"/>
                </a:lnTo>
                <a:lnTo>
                  <a:pt x="25" y="28"/>
                </a:lnTo>
                <a:lnTo>
                  <a:pt x="22" y="25"/>
                </a:lnTo>
                <a:lnTo>
                  <a:pt x="22" y="22"/>
                </a:lnTo>
                <a:lnTo>
                  <a:pt x="19" y="22"/>
                </a:lnTo>
                <a:lnTo>
                  <a:pt x="12" y="19"/>
                </a:lnTo>
                <a:lnTo>
                  <a:pt x="12" y="19"/>
                </a:lnTo>
                <a:lnTo>
                  <a:pt x="12" y="22"/>
                </a:lnTo>
                <a:lnTo>
                  <a:pt x="19" y="25"/>
                </a:lnTo>
                <a:lnTo>
                  <a:pt x="19" y="28"/>
                </a:lnTo>
                <a:lnTo>
                  <a:pt x="19" y="35"/>
                </a:lnTo>
                <a:lnTo>
                  <a:pt x="16" y="35"/>
                </a:lnTo>
                <a:lnTo>
                  <a:pt x="12" y="32"/>
                </a:lnTo>
                <a:lnTo>
                  <a:pt x="9" y="28"/>
                </a:lnTo>
                <a:lnTo>
                  <a:pt x="6" y="28"/>
                </a:lnTo>
                <a:lnTo>
                  <a:pt x="0" y="22"/>
                </a:lnTo>
                <a:lnTo>
                  <a:pt x="0" y="19"/>
                </a:lnTo>
                <a:lnTo>
                  <a:pt x="0" y="16"/>
                </a:lnTo>
                <a:lnTo>
                  <a:pt x="3" y="13"/>
                </a:lnTo>
                <a:lnTo>
                  <a:pt x="3" y="10"/>
                </a:lnTo>
                <a:lnTo>
                  <a:pt x="0" y="10"/>
                </a:lnTo>
                <a:lnTo>
                  <a:pt x="0" y="7"/>
                </a:lnTo>
                <a:lnTo>
                  <a:pt x="0" y="7"/>
                </a:lnTo>
                <a:lnTo>
                  <a:pt x="3" y="3"/>
                </a:lnTo>
                <a:lnTo>
                  <a:pt x="0" y="0"/>
                </a:lnTo>
                <a:lnTo>
                  <a:pt x="3" y="0"/>
                </a:lnTo>
                <a:lnTo>
                  <a:pt x="3" y="0"/>
                </a:lnTo>
                <a:lnTo>
                  <a:pt x="9" y="0"/>
                </a:lnTo>
                <a:lnTo>
                  <a:pt x="19" y="3"/>
                </a:lnTo>
                <a:lnTo>
                  <a:pt x="25" y="0"/>
                </a:lnTo>
                <a:lnTo>
                  <a:pt x="28" y="0"/>
                </a:lnTo>
                <a:lnTo>
                  <a:pt x="31" y="3"/>
                </a:lnTo>
                <a:lnTo>
                  <a:pt x="34" y="7"/>
                </a:lnTo>
                <a:lnTo>
                  <a:pt x="34" y="7"/>
                </a:lnTo>
                <a:lnTo>
                  <a:pt x="37" y="10"/>
                </a:lnTo>
                <a:lnTo>
                  <a:pt x="41" y="10"/>
                </a:lnTo>
                <a:lnTo>
                  <a:pt x="41" y="10"/>
                </a:lnTo>
                <a:lnTo>
                  <a:pt x="41" y="10"/>
                </a:lnTo>
                <a:lnTo>
                  <a:pt x="44" y="10"/>
                </a:lnTo>
                <a:lnTo>
                  <a:pt x="47" y="10"/>
                </a:lnTo>
                <a:lnTo>
                  <a:pt x="47" y="10"/>
                </a:lnTo>
                <a:lnTo>
                  <a:pt x="50" y="13"/>
                </a:lnTo>
                <a:lnTo>
                  <a:pt x="50" y="16"/>
                </a:lnTo>
                <a:lnTo>
                  <a:pt x="53" y="19"/>
                </a:lnTo>
                <a:lnTo>
                  <a:pt x="56" y="25"/>
                </a:lnTo>
                <a:lnTo>
                  <a:pt x="56" y="28"/>
                </a:lnTo>
                <a:lnTo>
                  <a:pt x="59" y="28"/>
                </a:lnTo>
                <a:lnTo>
                  <a:pt x="62" y="32"/>
                </a:lnTo>
                <a:lnTo>
                  <a:pt x="66" y="32"/>
                </a:lnTo>
                <a:lnTo>
                  <a:pt x="66" y="35"/>
                </a:lnTo>
                <a:lnTo>
                  <a:pt x="62" y="35"/>
                </a:lnTo>
                <a:lnTo>
                  <a:pt x="59" y="35"/>
                </a:lnTo>
                <a:lnTo>
                  <a:pt x="59" y="38"/>
                </a:lnTo>
                <a:lnTo>
                  <a:pt x="59" y="41"/>
                </a:lnTo>
                <a:lnTo>
                  <a:pt x="56" y="44"/>
                </a:lnTo>
                <a:lnTo>
                  <a:pt x="59" y="44"/>
                </a:lnTo>
                <a:lnTo>
                  <a:pt x="62" y="47"/>
                </a:lnTo>
                <a:lnTo>
                  <a:pt x="59" y="50"/>
                </a:lnTo>
                <a:lnTo>
                  <a:pt x="59" y="54"/>
                </a:lnTo>
                <a:lnTo>
                  <a:pt x="59" y="57"/>
                </a:lnTo>
                <a:lnTo>
                  <a:pt x="59" y="57"/>
                </a:lnTo>
                <a:lnTo>
                  <a:pt x="59" y="57"/>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2" name="Freeform 180">
            <a:extLst>
              <a:ext uri="{FF2B5EF4-FFF2-40B4-BE49-F238E27FC236}">
                <a16:creationId xmlns:a16="http://schemas.microsoft.com/office/drawing/2014/main" id="{754DBB29-E5B2-DD9D-8970-4F521F668BAA}"/>
              </a:ext>
            </a:extLst>
          </p:cNvPr>
          <p:cNvSpPr>
            <a:spLocks/>
          </p:cNvSpPr>
          <p:nvPr userDrawn="1"/>
        </p:nvSpPr>
        <p:spPr bwMode="auto">
          <a:xfrm>
            <a:off x="7771897" y="8422558"/>
            <a:ext cx="285731" cy="279400"/>
          </a:xfrm>
          <a:custGeom>
            <a:avLst/>
            <a:gdLst>
              <a:gd name="T0" fmla="*/ 11 w 29"/>
              <a:gd name="T1" fmla="*/ 25 h 28"/>
              <a:gd name="T2" fmla="*/ 13 w 29"/>
              <a:gd name="T3" fmla="*/ 25 h 28"/>
              <a:gd name="T4" fmla="*/ 18 w 29"/>
              <a:gd name="T5" fmla="*/ 25 h 28"/>
              <a:gd name="T6" fmla="*/ 20 w 29"/>
              <a:gd name="T7" fmla="*/ 26 h 28"/>
              <a:gd name="T8" fmla="*/ 21 w 29"/>
              <a:gd name="T9" fmla="*/ 27 h 28"/>
              <a:gd name="T10" fmla="*/ 23 w 29"/>
              <a:gd name="T11" fmla="*/ 28 h 28"/>
              <a:gd name="T12" fmla="*/ 23 w 29"/>
              <a:gd name="T13" fmla="*/ 28 h 28"/>
              <a:gd name="T14" fmla="*/ 24 w 29"/>
              <a:gd name="T15" fmla="*/ 26 h 28"/>
              <a:gd name="T16" fmla="*/ 23 w 29"/>
              <a:gd name="T17" fmla="*/ 24 h 28"/>
              <a:gd name="T18" fmla="*/ 24 w 29"/>
              <a:gd name="T19" fmla="*/ 22 h 28"/>
              <a:gd name="T20" fmla="*/ 24 w 29"/>
              <a:gd name="T21" fmla="*/ 21 h 28"/>
              <a:gd name="T22" fmla="*/ 23 w 29"/>
              <a:gd name="T23" fmla="*/ 22 h 28"/>
              <a:gd name="T24" fmla="*/ 23 w 29"/>
              <a:gd name="T25" fmla="*/ 20 h 28"/>
              <a:gd name="T26" fmla="*/ 24 w 29"/>
              <a:gd name="T27" fmla="*/ 18 h 28"/>
              <a:gd name="T28" fmla="*/ 24 w 29"/>
              <a:gd name="T29" fmla="*/ 15 h 28"/>
              <a:gd name="T30" fmla="*/ 25 w 29"/>
              <a:gd name="T31" fmla="*/ 16 h 28"/>
              <a:gd name="T32" fmla="*/ 25 w 29"/>
              <a:gd name="T33" fmla="*/ 18 h 28"/>
              <a:gd name="T34" fmla="*/ 26 w 29"/>
              <a:gd name="T35" fmla="*/ 18 h 28"/>
              <a:gd name="T36" fmla="*/ 26 w 29"/>
              <a:gd name="T37" fmla="*/ 12 h 28"/>
              <a:gd name="T38" fmla="*/ 26 w 29"/>
              <a:gd name="T39" fmla="*/ 11 h 28"/>
              <a:gd name="T40" fmla="*/ 25 w 29"/>
              <a:gd name="T41" fmla="*/ 10 h 28"/>
              <a:gd name="T42" fmla="*/ 26 w 29"/>
              <a:gd name="T43" fmla="*/ 10 h 28"/>
              <a:gd name="T44" fmla="*/ 27 w 29"/>
              <a:gd name="T45" fmla="*/ 8 h 28"/>
              <a:gd name="T46" fmla="*/ 28 w 29"/>
              <a:gd name="T47" fmla="*/ 6 h 28"/>
              <a:gd name="T48" fmla="*/ 28 w 29"/>
              <a:gd name="T49" fmla="*/ 5 h 28"/>
              <a:gd name="T50" fmla="*/ 28 w 29"/>
              <a:gd name="T51" fmla="*/ 4 h 28"/>
              <a:gd name="T52" fmla="*/ 28 w 29"/>
              <a:gd name="T53" fmla="*/ 1 h 28"/>
              <a:gd name="T54" fmla="*/ 29 w 29"/>
              <a:gd name="T55" fmla="*/ 0 h 28"/>
              <a:gd name="T56" fmla="*/ 27 w 29"/>
              <a:gd name="T57" fmla="*/ 0 h 28"/>
              <a:gd name="T58" fmla="*/ 26 w 29"/>
              <a:gd name="T59" fmla="*/ 0 h 28"/>
              <a:gd name="T60" fmla="*/ 25 w 29"/>
              <a:gd name="T61" fmla="*/ 1 h 28"/>
              <a:gd name="T62" fmla="*/ 23 w 29"/>
              <a:gd name="T63" fmla="*/ 2 h 28"/>
              <a:gd name="T64" fmla="*/ 22 w 29"/>
              <a:gd name="T65" fmla="*/ 3 h 28"/>
              <a:gd name="T66" fmla="*/ 20 w 29"/>
              <a:gd name="T67" fmla="*/ 3 h 28"/>
              <a:gd name="T68" fmla="*/ 19 w 29"/>
              <a:gd name="T69" fmla="*/ 2 h 28"/>
              <a:gd name="T70" fmla="*/ 18 w 29"/>
              <a:gd name="T71" fmla="*/ 3 h 28"/>
              <a:gd name="T72" fmla="*/ 16 w 29"/>
              <a:gd name="T73" fmla="*/ 4 h 28"/>
              <a:gd name="T74" fmla="*/ 15 w 29"/>
              <a:gd name="T75" fmla="*/ 5 h 28"/>
              <a:gd name="T76" fmla="*/ 13 w 29"/>
              <a:gd name="T77" fmla="*/ 7 h 28"/>
              <a:gd name="T78" fmla="*/ 11 w 29"/>
              <a:gd name="T79" fmla="*/ 8 h 28"/>
              <a:gd name="T80" fmla="*/ 10 w 29"/>
              <a:gd name="T81" fmla="*/ 7 h 28"/>
              <a:gd name="T82" fmla="*/ 7 w 29"/>
              <a:gd name="T83" fmla="*/ 8 h 28"/>
              <a:gd name="T84" fmla="*/ 5 w 29"/>
              <a:gd name="T85" fmla="*/ 9 h 28"/>
              <a:gd name="T86" fmla="*/ 5 w 29"/>
              <a:gd name="T87" fmla="*/ 12 h 28"/>
              <a:gd name="T88" fmla="*/ 3 w 29"/>
              <a:gd name="T89" fmla="*/ 13 h 28"/>
              <a:gd name="T90" fmla="*/ 1 w 29"/>
              <a:gd name="T91" fmla="*/ 14 h 28"/>
              <a:gd name="T92" fmla="*/ 0 w 29"/>
              <a:gd name="T93" fmla="*/ 13 h 28"/>
              <a:gd name="T94" fmla="*/ 2 w 29"/>
              <a:gd name="T95" fmla="*/ 17 h 28"/>
              <a:gd name="T96" fmla="*/ 3 w 29"/>
              <a:gd name="T97" fmla="*/ 18 h 28"/>
              <a:gd name="T98" fmla="*/ 6 w 29"/>
              <a:gd name="T99" fmla="*/ 22 h 28"/>
              <a:gd name="T100" fmla="*/ 10 w 29"/>
              <a:gd name="T10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 h="28">
                <a:moveTo>
                  <a:pt x="10" y="25"/>
                </a:moveTo>
                <a:cubicBezTo>
                  <a:pt x="11" y="25"/>
                  <a:pt x="11" y="25"/>
                  <a:pt x="11" y="25"/>
                </a:cubicBezTo>
                <a:cubicBezTo>
                  <a:pt x="11" y="25"/>
                  <a:pt x="11" y="25"/>
                  <a:pt x="11" y="25"/>
                </a:cubicBezTo>
                <a:cubicBezTo>
                  <a:pt x="13" y="25"/>
                  <a:pt x="13" y="25"/>
                  <a:pt x="13" y="25"/>
                </a:cubicBezTo>
                <a:cubicBezTo>
                  <a:pt x="16" y="26"/>
                  <a:pt x="16" y="26"/>
                  <a:pt x="16" y="26"/>
                </a:cubicBezTo>
                <a:cubicBezTo>
                  <a:pt x="18" y="25"/>
                  <a:pt x="18" y="25"/>
                  <a:pt x="18" y="25"/>
                </a:cubicBezTo>
                <a:cubicBezTo>
                  <a:pt x="19" y="25"/>
                  <a:pt x="19" y="25"/>
                  <a:pt x="19" y="25"/>
                </a:cubicBezTo>
                <a:cubicBezTo>
                  <a:pt x="20" y="26"/>
                  <a:pt x="20" y="26"/>
                  <a:pt x="20" y="26"/>
                </a:cubicBezTo>
                <a:cubicBezTo>
                  <a:pt x="21" y="27"/>
                  <a:pt x="21" y="27"/>
                  <a:pt x="21" y="27"/>
                </a:cubicBezTo>
                <a:cubicBezTo>
                  <a:pt x="21" y="27"/>
                  <a:pt x="21" y="27"/>
                  <a:pt x="21" y="27"/>
                </a:cubicBezTo>
                <a:cubicBezTo>
                  <a:pt x="22" y="28"/>
                  <a:pt x="22" y="28"/>
                  <a:pt x="22" y="28"/>
                </a:cubicBezTo>
                <a:cubicBezTo>
                  <a:pt x="23" y="28"/>
                  <a:pt x="23" y="28"/>
                  <a:pt x="23" y="28"/>
                </a:cubicBezTo>
                <a:cubicBezTo>
                  <a:pt x="23" y="28"/>
                  <a:pt x="23" y="28"/>
                  <a:pt x="23" y="28"/>
                </a:cubicBezTo>
                <a:cubicBezTo>
                  <a:pt x="23" y="28"/>
                  <a:pt x="23" y="28"/>
                  <a:pt x="23" y="28"/>
                </a:cubicBezTo>
                <a:cubicBezTo>
                  <a:pt x="24" y="27"/>
                  <a:pt x="24" y="27"/>
                  <a:pt x="24" y="27"/>
                </a:cubicBezTo>
                <a:cubicBezTo>
                  <a:pt x="24" y="26"/>
                  <a:pt x="24" y="26"/>
                  <a:pt x="24" y="26"/>
                </a:cubicBezTo>
                <a:cubicBezTo>
                  <a:pt x="23" y="26"/>
                  <a:pt x="23" y="26"/>
                  <a:pt x="23" y="26"/>
                </a:cubicBezTo>
                <a:cubicBezTo>
                  <a:pt x="23" y="24"/>
                  <a:pt x="23" y="24"/>
                  <a:pt x="23" y="24"/>
                </a:cubicBezTo>
                <a:cubicBezTo>
                  <a:pt x="24" y="23"/>
                  <a:pt x="24" y="23"/>
                  <a:pt x="24" y="23"/>
                </a:cubicBezTo>
                <a:cubicBezTo>
                  <a:pt x="24" y="22"/>
                  <a:pt x="24" y="22"/>
                  <a:pt x="24" y="22"/>
                </a:cubicBezTo>
                <a:cubicBezTo>
                  <a:pt x="24" y="20"/>
                  <a:pt x="24" y="20"/>
                  <a:pt x="24" y="20"/>
                </a:cubicBezTo>
                <a:cubicBezTo>
                  <a:pt x="24" y="21"/>
                  <a:pt x="24" y="21"/>
                  <a:pt x="24" y="21"/>
                </a:cubicBezTo>
                <a:cubicBezTo>
                  <a:pt x="24" y="22"/>
                  <a:pt x="24" y="22"/>
                  <a:pt x="24" y="22"/>
                </a:cubicBezTo>
                <a:cubicBezTo>
                  <a:pt x="23" y="22"/>
                  <a:pt x="23" y="22"/>
                  <a:pt x="23" y="22"/>
                </a:cubicBezTo>
                <a:cubicBezTo>
                  <a:pt x="23" y="21"/>
                  <a:pt x="23" y="21"/>
                  <a:pt x="23" y="21"/>
                </a:cubicBezTo>
                <a:cubicBezTo>
                  <a:pt x="23" y="20"/>
                  <a:pt x="23" y="20"/>
                  <a:pt x="23" y="20"/>
                </a:cubicBezTo>
                <a:cubicBezTo>
                  <a:pt x="24" y="19"/>
                  <a:pt x="24" y="19"/>
                  <a:pt x="24" y="19"/>
                </a:cubicBezTo>
                <a:cubicBezTo>
                  <a:pt x="24" y="18"/>
                  <a:pt x="24" y="18"/>
                  <a:pt x="24" y="18"/>
                </a:cubicBezTo>
                <a:cubicBezTo>
                  <a:pt x="24" y="17"/>
                  <a:pt x="24" y="17"/>
                  <a:pt x="24" y="17"/>
                </a:cubicBezTo>
                <a:cubicBezTo>
                  <a:pt x="24" y="15"/>
                  <a:pt x="24" y="15"/>
                  <a:pt x="24" y="15"/>
                </a:cubicBezTo>
                <a:cubicBezTo>
                  <a:pt x="25" y="15"/>
                  <a:pt x="25" y="15"/>
                  <a:pt x="25" y="15"/>
                </a:cubicBezTo>
                <a:cubicBezTo>
                  <a:pt x="25" y="16"/>
                  <a:pt x="25" y="16"/>
                  <a:pt x="25" y="16"/>
                </a:cubicBezTo>
                <a:cubicBezTo>
                  <a:pt x="25" y="16"/>
                  <a:pt x="25" y="17"/>
                  <a:pt x="25" y="17"/>
                </a:cubicBezTo>
                <a:cubicBezTo>
                  <a:pt x="25" y="17"/>
                  <a:pt x="25" y="18"/>
                  <a:pt x="25" y="18"/>
                </a:cubicBezTo>
                <a:cubicBezTo>
                  <a:pt x="25" y="18"/>
                  <a:pt x="25" y="18"/>
                  <a:pt x="25" y="18"/>
                </a:cubicBezTo>
                <a:cubicBezTo>
                  <a:pt x="26" y="18"/>
                  <a:pt x="26" y="18"/>
                  <a:pt x="26" y="18"/>
                </a:cubicBezTo>
                <a:cubicBezTo>
                  <a:pt x="26" y="15"/>
                  <a:pt x="26" y="15"/>
                  <a:pt x="26" y="15"/>
                </a:cubicBezTo>
                <a:cubicBezTo>
                  <a:pt x="26" y="12"/>
                  <a:pt x="26" y="12"/>
                  <a:pt x="26" y="12"/>
                </a:cubicBezTo>
                <a:cubicBezTo>
                  <a:pt x="26" y="12"/>
                  <a:pt x="26" y="12"/>
                  <a:pt x="26" y="12"/>
                </a:cubicBezTo>
                <a:cubicBezTo>
                  <a:pt x="26" y="11"/>
                  <a:pt x="26" y="11"/>
                  <a:pt x="26" y="11"/>
                </a:cubicBezTo>
                <a:cubicBezTo>
                  <a:pt x="25" y="11"/>
                  <a:pt x="25" y="11"/>
                  <a:pt x="25" y="11"/>
                </a:cubicBezTo>
                <a:cubicBezTo>
                  <a:pt x="25" y="10"/>
                  <a:pt x="25" y="10"/>
                  <a:pt x="25" y="10"/>
                </a:cubicBezTo>
                <a:cubicBezTo>
                  <a:pt x="26" y="10"/>
                  <a:pt x="26" y="10"/>
                  <a:pt x="26" y="10"/>
                </a:cubicBezTo>
                <a:cubicBezTo>
                  <a:pt x="26" y="10"/>
                  <a:pt x="26" y="10"/>
                  <a:pt x="26" y="10"/>
                </a:cubicBezTo>
                <a:cubicBezTo>
                  <a:pt x="26" y="10"/>
                  <a:pt x="26" y="10"/>
                  <a:pt x="26" y="10"/>
                </a:cubicBezTo>
                <a:cubicBezTo>
                  <a:pt x="27" y="8"/>
                  <a:pt x="27" y="8"/>
                  <a:pt x="27" y="8"/>
                </a:cubicBezTo>
                <a:cubicBezTo>
                  <a:pt x="28" y="7"/>
                  <a:pt x="28" y="7"/>
                  <a:pt x="28" y="7"/>
                </a:cubicBezTo>
                <a:cubicBezTo>
                  <a:pt x="28" y="6"/>
                  <a:pt x="28" y="6"/>
                  <a:pt x="28" y="6"/>
                </a:cubicBezTo>
                <a:cubicBezTo>
                  <a:pt x="28" y="6"/>
                  <a:pt x="28" y="6"/>
                  <a:pt x="28" y="6"/>
                </a:cubicBezTo>
                <a:cubicBezTo>
                  <a:pt x="28" y="5"/>
                  <a:pt x="28" y="5"/>
                  <a:pt x="28" y="5"/>
                </a:cubicBezTo>
                <a:cubicBezTo>
                  <a:pt x="28" y="5"/>
                  <a:pt x="28" y="5"/>
                  <a:pt x="28" y="5"/>
                </a:cubicBezTo>
                <a:cubicBezTo>
                  <a:pt x="28" y="4"/>
                  <a:pt x="28" y="4"/>
                  <a:pt x="28" y="4"/>
                </a:cubicBezTo>
                <a:cubicBezTo>
                  <a:pt x="28" y="3"/>
                  <a:pt x="28" y="3"/>
                  <a:pt x="28" y="3"/>
                </a:cubicBezTo>
                <a:cubicBezTo>
                  <a:pt x="28" y="1"/>
                  <a:pt x="28" y="1"/>
                  <a:pt x="28" y="1"/>
                </a:cubicBezTo>
                <a:cubicBezTo>
                  <a:pt x="28" y="0"/>
                  <a:pt x="28" y="0"/>
                  <a:pt x="28" y="0"/>
                </a:cubicBezTo>
                <a:cubicBezTo>
                  <a:pt x="29" y="0"/>
                  <a:pt x="29" y="0"/>
                  <a:pt x="29" y="0"/>
                </a:cubicBezTo>
                <a:cubicBezTo>
                  <a:pt x="28" y="0"/>
                  <a:pt x="28" y="0"/>
                  <a:pt x="28" y="0"/>
                </a:cubicBezTo>
                <a:cubicBezTo>
                  <a:pt x="27" y="0"/>
                  <a:pt x="27" y="0"/>
                  <a:pt x="27" y="0"/>
                </a:cubicBezTo>
                <a:cubicBezTo>
                  <a:pt x="27" y="0"/>
                  <a:pt x="27" y="0"/>
                  <a:pt x="27" y="0"/>
                </a:cubicBezTo>
                <a:cubicBezTo>
                  <a:pt x="26" y="0"/>
                  <a:pt x="26" y="0"/>
                  <a:pt x="26" y="0"/>
                </a:cubicBezTo>
                <a:cubicBezTo>
                  <a:pt x="25" y="0"/>
                  <a:pt x="25" y="0"/>
                  <a:pt x="25" y="0"/>
                </a:cubicBezTo>
                <a:cubicBezTo>
                  <a:pt x="25" y="1"/>
                  <a:pt x="25" y="1"/>
                  <a:pt x="25" y="1"/>
                </a:cubicBezTo>
                <a:cubicBezTo>
                  <a:pt x="24" y="1"/>
                  <a:pt x="24" y="1"/>
                  <a:pt x="24" y="1"/>
                </a:cubicBezTo>
                <a:cubicBezTo>
                  <a:pt x="23" y="2"/>
                  <a:pt x="23" y="2"/>
                  <a:pt x="23" y="2"/>
                </a:cubicBezTo>
                <a:cubicBezTo>
                  <a:pt x="22" y="2"/>
                  <a:pt x="22" y="2"/>
                  <a:pt x="22" y="2"/>
                </a:cubicBezTo>
                <a:cubicBezTo>
                  <a:pt x="22" y="3"/>
                  <a:pt x="22" y="3"/>
                  <a:pt x="22" y="3"/>
                </a:cubicBezTo>
                <a:cubicBezTo>
                  <a:pt x="21" y="3"/>
                  <a:pt x="21" y="3"/>
                  <a:pt x="21" y="3"/>
                </a:cubicBezTo>
                <a:cubicBezTo>
                  <a:pt x="20" y="3"/>
                  <a:pt x="20" y="3"/>
                  <a:pt x="20" y="3"/>
                </a:cubicBezTo>
                <a:cubicBezTo>
                  <a:pt x="20" y="2"/>
                  <a:pt x="20" y="2"/>
                  <a:pt x="20" y="2"/>
                </a:cubicBezTo>
                <a:cubicBezTo>
                  <a:pt x="19" y="2"/>
                  <a:pt x="19" y="2"/>
                  <a:pt x="19" y="2"/>
                </a:cubicBezTo>
                <a:cubicBezTo>
                  <a:pt x="18" y="2"/>
                  <a:pt x="18" y="2"/>
                  <a:pt x="18" y="2"/>
                </a:cubicBezTo>
                <a:cubicBezTo>
                  <a:pt x="18" y="3"/>
                  <a:pt x="18" y="3"/>
                  <a:pt x="18" y="3"/>
                </a:cubicBezTo>
                <a:cubicBezTo>
                  <a:pt x="17" y="3"/>
                  <a:pt x="17" y="3"/>
                  <a:pt x="17" y="3"/>
                </a:cubicBezTo>
                <a:cubicBezTo>
                  <a:pt x="16" y="4"/>
                  <a:pt x="16" y="4"/>
                  <a:pt x="16" y="4"/>
                </a:cubicBezTo>
                <a:cubicBezTo>
                  <a:pt x="16" y="5"/>
                  <a:pt x="16" y="5"/>
                  <a:pt x="16" y="5"/>
                </a:cubicBezTo>
                <a:cubicBezTo>
                  <a:pt x="15" y="5"/>
                  <a:pt x="15" y="5"/>
                  <a:pt x="15" y="5"/>
                </a:cubicBezTo>
                <a:cubicBezTo>
                  <a:pt x="14" y="7"/>
                  <a:pt x="14" y="7"/>
                  <a:pt x="14" y="7"/>
                </a:cubicBezTo>
                <a:cubicBezTo>
                  <a:pt x="13" y="7"/>
                  <a:pt x="13" y="7"/>
                  <a:pt x="13" y="7"/>
                </a:cubicBezTo>
                <a:cubicBezTo>
                  <a:pt x="12" y="8"/>
                  <a:pt x="12" y="8"/>
                  <a:pt x="12" y="8"/>
                </a:cubicBezTo>
                <a:cubicBezTo>
                  <a:pt x="11" y="8"/>
                  <a:pt x="11" y="8"/>
                  <a:pt x="11" y="8"/>
                </a:cubicBezTo>
                <a:cubicBezTo>
                  <a:pt x="11" y="8"/>
                  <a:pt x="11" y="8"/>
                  <a:pt x="11" y="8"/>
                </a:cubicBezTo>
                <a:cubicBezTo>
                  <a:pt x="10" y="7"/>
                  <a:pt x="10" y="7"/>
                  <a:pt x="10" y="7"/>
                </a:cubicBezTo>
                <a:cubicBezTo>
                  <a:pt x="9" y="7"/>
                  <a:pt x="9" y="7"/>
                  <a:pt x="9" y="7"/>
                </a:cubicBezTo>
                <a:cubicBezTo>
                  <a:pt x="7" y="8"/>
                  <a:pt x="7" y="8"/>
                  <a:pt x="7" y="8"/>
                </a:cubicBezTo>
                <a:cubicBezTo>
                  <a:pt x="5" y="8"/>
                  <a:pt x="5" y="8"/>
                  <a:pt x="5" y="8"/>
                </a:cubicBezTo>
                <a:cubicBezTo>
                  <a:pt x="5" y="9"/>
                  <a:pt x="5" y="9"/>
                  <a:pt x="5" y="9"/>
                </a:cubicBezTo>
                <a:cubicBezTo>
                  <a:pt x="5" y="10"/>
                  <a:pt x="5" y="10"/>
                  <a:pt x="5" y="10"/>
                </a:cubicBezTo>
                <a:cubicBezTo>
                  <a:pt x="5" y="12"/>
                  <a:pt x="5" y="12"/>
                  <a:pt x="5" y="12"/>
                </a:cubicBezTo>
                <a:cubicBezTo>
                  <a:pt x="4" y="13"/>
                  <a:pt x="4" y="13"/>
                  <a:pt x="4" y="13"/>
                </a:cubicBezTo>
                <a:cubicBezTo>
                  <a:pt x="3" y="13"/>
                  <a:pt x="3" y="13"/>
                  <a:pt x="3" y="13"/>
                </a:cubicBezTo>
                <a:cubicBezTo>
                  <a:pt x="2" y="13"/>
                  <a:pt x="2" y="13"/>
                  <a:pt x="2" y="13"/>
                </a:cubicBezTo>
                <a:cubicBezTo>
                  <a:pt x="1" y="14"/>
                  <a:pt x="1" y="14"/>
                  <a:pt x="1" y="14"/>
                </a:cubicBezTo>
                <a:cubicBezTo>
                  <a:pt x="1" y="14"/>
                  <a:pt x="1" y="14"/>
                  <a:pt x="1" y="14"/>
                </a:cubicBezTo>
                <a:cubicBezTo>
                  <a:pt x="0" y="13"/>
                  <a:pt x="0" y="13"/>
                  <a:pt x="0" y="13"/>
                </a:cubicBezTo>
                <a:cubicBezTo>
                  <a:pt x="0" y="14"/>
                  <a:pt x="0" y="14"/>
                  <a:pt x="0" y="14"/>
                </a:cubicBezTo>
                <a:cubicBezTo>
                  <a:pt x="2" y="17"/>
                  <a:pt x="2" y="17"/>
                  <a:pt x="2" y="17"/>
                </a:cubicBezTo>
                <a:cubicBezTo>
                  <a:pt x="3" y="17"/>
                  <a:pt x="3" y="17"/>
                  <a:pt x="3" y="17"/>
                </a:cubicBezTo>
                <a:cubicBezTo>
                  <a:pt x="3" y="18"/>
                  <a:pt x="3" y="18"/>
                  <a:pt x="3" y="18"/>
                </a:cubicBezTo>
                <a:cubicBezTo>
                  <a:pt x="5" y="20"/>
                  <a:pt x="5" y="20"/>
                  <a:pt x="5" y="20"/>
                </a:cubicBezTo>
                <a:cubicBezTo>
                  <a:pt x="6" y="22"/>
                  <a:pt x="6" y="22"/>
                  <a:pt x="6" y="22"/>
                </a:cubicBezTo>
                <a:cubicBezTo>
                  <a:pt x="9" y="25"/>
                  <a:pt x="9" y="25"/>
                  <a:pt x="9" y="25"/>
                </a:cubicBezTo>
                <a:cubicBezTo>
                  <a:pt x="10" y="25"/>
                  <a:pt x="10" y="25"/>
                  <a:pt x="10" y="25"/>
                </a:cubicBez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3" name="Freeform 181">
            <a:extLst>
              <a:ext uri="{FF2B5EF4-FFF2-40B4-BE49-F238E27FC236}">
                <a16:creationId xmlns:a16="http://schemas.microsoft.com/office/drawing/2014/main" id="{F1C238C5-1AD8-4C15-E7A1-86C875AC8613}"/>
              </a:ext>
            </a:extLst>
          </p:cNvPr>
          <p:cNvSpPr>
            <a:spLocks/>
          </p:cNvSpPr>
          <p:nvPr userDrawn="1"/>
        </p:nvSpPr>
        <p:spPr bwMode="auto">
          <a:xfrm>
            <a:off x="7641730" y="8352711"/>
            <a:ext cx="415899" cy="200026"/>
          </a:xfrm>
          <a:custGeom>
            <a:avLst/>
            <a:gdLst>
              <a:gd name="T0" fmla="*/ 50 w 131"/>
              <a:gd name="T1" fmla="*/ 63 h 63"/>
              <a:gd name="T2" fmla="*/ 56 w 131"/>
              <a:gd name="T3" fmla="*/ 60 h 63"/>
              <a:gd name="T4" fmla="*/ 56 w 131"/>
              <a:gd name="T5" fmla="*/ 50 h 63"/>
              <a:gd name="T6" fmla="*/ 63 w 131"/>
              <a:gd name="T7" fmla="*/ 47 h 63"/>
              <a:gd name="T8" fmla="*/ 72 w 131"/>
              <a:gd name="T9" fmla="*/ 44 h 63"/>
              <a:gd name="T10" fmla="*/ 75 w 131"/>
              <a:gd name="T11" fmla="*/ 47 h 63"/>
              <a:gd name="T12" fmla="*/ 81 w 131"/>
              <a:gd name="T13" fmla="*/ 44 h 63"/>
              <a:gd name="T14" fmla="*/ 88 w 131"/>
              <a:gd name="T15" fmla="*/ 38 h 63"/>
              <a:gd name="T16" fmla="*/ 91 w 131"/>
              <a:gd name="T17" fmla="*/ 35 h 63"/>
              <a:gd name="T18" fmla="*/ 97 w 131"/>
              <a:gd name="T19" fmla="*/ 32 h 63"/>
              <a:gd name="T20" fmla="*/ 100 w 131"/>
              <a:gd name="T21" fmla="*/ 28 h 63"/>
              <a:gd name="T22" fmla="*/ 103 w 131"/>
              <a:gd name="T23" fmla="*/ 32 h 63"/>
              <a:gd name="T24" fmla="*/ 109 w 131"/>
              <a:gd name="T25" fmla="*/ 32 h 63"/>
              <a:gd name="T26" fmla="*/ 113 w 131"/>
              <a:gd name="T27" fmla="*/ 28 h 63"/>
              <a:gd name="T28" fmla="*/ 119 w 131"/>
              <a:gd name="T29" fmla="*/ 25 h 63"/>
              <a:gd name="T30" fmla="*/ 122 w 131"/>
              <a:gd name="T31" fmla="*/ 22 h 63"/>
              <a:gd name="T32" fmla="*/ 125 w 131"/>
              <a:gd name="T33" fmla="*/ 22 h 63"/>
              <a:gd name="T34" fmla="*/ 131 w 131"/>
              <a:gd name="T35" fmla="*/ 22 h 63"/>
              <a:gd name="T36" fmla="*/ 131 w 131"/>
              <a:gd name="T37" fmla="*/ 19 h 63"/>
              <a:gd name="T38" fmla="*/ 122 w 131"/>
              <a:gd name="T39" fmla="*/ 13 h 63"/>
              <a:gd name="T40" fmla="*/ 122 w 131"/>
              <a:gd name="T41" fmla="*/ 19 h 63"/>
              <a:gd name="T42" fmla="*/ 113 w 131"/>
              <a:gd name="T43" fmla="*/ 16 h 63"/>
              <a:gd name="T44" fmla="*/ 106 w 131"/>
              <a:gd name="T45" fmla="*/ 16 h 63"/>
              <a:gd name="T46" fmla="*/ 106 w 131"/>
              <a:gd name="T47" fmla="*/ 13 h 63"/>
              <a:gd name="T48" fmla="*/ 106 w 131"/>
              <a:gd name="T49" fmla="*/ 10 h 63"/>
              <a:gd name="T50" fmla="*/ 113 w 131"/>
              <a:gd name="T51" fmla="*/ 10 h 63"/>
              <a:gd name="T52" fmla="*/ 119 w 131"/>
              <a:gd name="T53" fmla="*/ 13 h 63"/>
              <a:gd name="T54" fmla="*/ 109 w 131"/>
              <a:gd name="T55" fmla="*/ 6 h 63"/>
              <a:gd name="T56" fmla="*/ 103 w 131"/>
              <a:gd name="T57" fmla="*/ 6 h 63"/>
              <a:gd name="T58" fmla="*/ 100 w 131"/>
              <a:gd name="T59" fmla="*/ 10 h 63"/>
              <a:gd name="T60" fmla="*/ 91 w 131"/>
              <a:gd name="T61" fmla="*/ 6 h 63"/>
              <a:gd name="T62" fmla="*/ 75 w 131"/>
              <a:gd name="T63" fmla="*/ 0 h 63"/>
              <a:gd name="T64" fmla="*/ 72 w 131"/>
              <a:gd name="T65" fmla="*/ 3 h 63"/>
              <a:gd name="T66" fmla="*/ 69 w 131"/>
              <a:gd name="T67" fmla="*/ 3 h 63"/>
              <a:gd name="T68" fmla="*/ 66 w 131"/>
              <a:gd name="T69" fmla="*/ 3 h 63"/>
              <a:gd name="T70" fmla="*/ 50 w 131"/>
              <a:gd name="T71" fmla="*/ 6 h 63"/>
              <a:gd name="T72" fmla="*/ 34 w 131"/>
              <a:gd name="T73" fmla="*/ 10 h 63"/>
              <a:gd name="T74" fmla="*/ 31 w 131"/>
              <a:gd name="T75" fmla="*/ 10 h 63"/>
              <a:gd name="T76" fmla="*/ 25 w 131"/>
              <a:gd name="T77" fmla="*/ 13 h 63"/>
              <a:gd name="T78" fmla="*/ 19 w 131"/>
              <a:gd name="T79" fmla="*/ 16 h 63"/>
              <a:gd name="T80" fmla="*/ 9 w 131"/>
              <a:gd name="T81" fmla="*/ 25 h 63"/>
              <a:gd name="T82" fmla="*/ 9 w 131"/>
              <a:gd name="T83" fmla="*/ 35 h 63"/>
              <a:gd name="T84" fmla="*/ 3 w 131"/>
              <a:gd name="T85" fmla="*/ 38 h 63"/>
              <a:gd name="T86" fmla="*/ 3 w 131"/>
              <a:gd name="T87" fmla="*/ 41 h 63"/>
              <a:gd name="T88" fmla="*/ 3 w 131"/>
              <a:gd name="T89" fmla="*/ 53 h 63"/>
              <a:gd name="T90" fmla="*/ 12 w 131"/>
              <a:gd name="T91" fmla="*/ 57 h 63"/>
              <a:gd name="T92" fmla="*/ 19 w 131"/>
              <a:gd name="T93" fmla="*/ 60 h 63"/>
              <a:gd name="T94" fmla="*/ 16 w 131"/>
              <a:gd name="T95" fmla="*/ 57 h 63"/>
              <a:gd name="T96" fmla="*/ 25 w 131"/>
              <a:gd name="T97" fmla="*/ 60 h 63"/>
              <a:gd name="T98" fmla="*/ 34 w 131"/>
              <a:gd name="T99" fmla="*/ 63 h 63"/>
              <a:gd name="T100" fmla="*/ 38 w 131"/>
              <a:gd name="T101" fmla="*/ 57 h 63"/>
              <a:gd name="T102" fmla="*/ 41 w 131"/>
              <a:gd name="T103" fmla="*/ 57 h 63"/>
              <a:gd name="T104" fmla="*/ 41 w 131"/>
              <a:gd name="T105" fmla="*/ 60 h 63"/>
              <a:gd name="T106" fmla="*/ 44 w 131"/>
              <a:gd name="T107" fmla="*/ 60 h 63"/>
              <a:gd name="T108" fmla="*/ 47 w 131"/>
              <a:gd name="T109"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1" h="63">
                <a:moveTo>
                  <a:pt x="47" y="63"/>
                </a:moveTo>
                <a:lnTo>
                  <a:pt x="50" y="63"/>
                </a:lnTo>
                <a:lnTo>
                  <a:pt x="53" y="63"/>
                </a:lnTo>
                <a:lnTo>
                  <a:pt x="56" y="60"/>
                </a:lnTo>
                <a:lnTo>
                  <a:pt x="56" y="53"/>
                </a:lnTo>
                <a:lnTo>
                  <a:pt x="56" y="50"/>
                </a:lnTo>
                <a:lnTo>
                  <a:pt x="56" y="47"/>
                </a:lnTo>
                <a:lnTo>
                  <a:pt x="63" y="47"/>
                </a:lnTo>
                <a:lnTo>
                  <a:pt x="69" y="44"/>
                </a:lnTo>
                <a:lnTo>
                  <a:pt x="72" y="44"/>
                </a:lnTo>
                <a:lnTo>
                  <a:pt x="75" y="47"/>
                </a:lnTo>
                <a:lnTo>
                  <a:pt x="75" y="47"/>
                </a:lnTo>
                <a:lnTo>
                  <a:pt x="78" y="47"/>
                </a:lnTo>
                <a:lnTo>
                  <a:pt x="81" y="44"/>
                </a:lnTo>
                <a:lnTo>
                  <a:pt x="84" y="44"/>
                </a:lnTo>
                <a:lnTo>
                  <a:pt x="88" y="38"/>
                </a:lnTo>
                <a:lnTo>
                  <a:pt x="91" y="38"/>
                </a:lnTo>
                <a:lnTo>
                  <a:pt x="91" y="35"/>
                </a:lnTo>
                <a:lnTo>
                  <a:pt x="94" y="32"/>
                </a:lnTo>
                <a:lnTo>
                  <a:pt x="97" y="32"/>
                </a:lnTo>
                <a:lnTo>
                  <a:pt x="97" y="28"/>
                </a:lnTo>
                <a:lnTo>
                  <a:pt x="100" y="28"/>
                </a:lnTo>
                <a:lnTo>
                  <a:pt x="103" y="28"/>
                </a:lnTo>
                <a:lnTo>
                  <a:pt x="103" y="32"/>
                </a:lnTo>
                <a:lnTo>
                  <a:pt x="106" y="32"/>
                </a:lnTo>
                <a:lnTo>
                  <a:pt x="109" y="32"/>
                </a:lnTo>
                <a:lnTo>
                  <a:pt x="109" y="28"/>
                </a:lnTo>
                <a:lnTo>
                  <a:pt x="113" y="28"/>
                </a:lnTo>
                <a:lnTo>
                  <a:pt x="116" y="25"/>
                </a:lnTo>
                <a:lnTo>
                  <a:pt x="119" y="25"/>
                </a:lnTo>
                <a:lnTo>
                  <a:pt x="119" y="22"/>
                </a:lnTo>
                <a:lnTo>
                  <a:pt x="122" y="22"/>
                </a:lnTo>
                <a:lnTo>
                  <a:pt x="125" y="22"/>
                </a:lnTo>
                <a:lnTo>
                  <a:pt x="125" y="22"/>
                </a:lnTo>
                <a:lnTo>
                  <a:pt x="128" y="22"/>
                </a:lnTo>
                <a:lnTo>
                  <a:pt x="131" y="22"/>
                </a:lnTo>
                <a:lnTo>
                  <a:pt x="131" y="22"/>
                </a:lnTo>
                <a:lnTo>
                  <a:pt x="131" y="19"/>
                </a:lnTo>
                <a:lnTo>
                  <a:pt x="125" y="16"/>
                </a:lnTo>
                <a:lnTo>
                  <a:pt x="122" y="13"/>
                </a:lnTo>
                <a:lnTo>
                  <a:pt x="122" y="13"/>
                </a:lnTo>
                <a:lnTo>
                  <a:pt x="122" y="19"/>
                </a:lnTo>
                <a:lnTo>
                  <a:pt x="119" y="16"/>
                </a:lnTo>
                <a:lnTo>
                  <a:pt x="113" y="16"/>
                </a:lnTo>
                <a:lnTo>
                  <a:pt x="113" y="16"/>
                </a:lnTo>
                <a:lnTo>
                  <a:pt x="106" y="16"/>
                </a:lnTo>
                <a:lnTo>
                  <a:pt x="103" y="16"/>
                </a:lnTo>
                <a:lnTo>
                  <a:pt x="106" y="13"/>
                </a:lnTo>
                <a:lnTo>
                  <a:pt x="106" y="13"/>
                </a:lnTo>
                <a:lnTo>
                  <a:pt x="106" y="10"/>
                </a:lnTo>
                <a:lnTo>
                  <a:pt x="109" y="10"/>
                </a:lnTo>
                <a:lnTo>
                  <a:pt x="113" y="10"/>
                </a:lnTo>
                <a:lnTo>
                  <a:pt x="119" y="13"/>
                </a:lnTo>
                <a:lnTo>
                  <a:pt x="119" y="13"/>
                </a:lnTo>
                <a:lnTo>
                  <a:pt x="116" y="10"/>
                </a:lnTo>
                <a:lnTo>
                  <a:pt x="109" y="6"/>
                </a:lnTo>
                <a:lnTo>
                  <a:pt x="106" y="6"/>
                </a:lnTo>
                <a:lnTo>
                  <a:pt x="103" y="6"/>
                </a:lnTo>
                <a:lnTo>
                  <a:pt x="100" y="6"/>
                </a:lnTo>
                <a:lnTo>
                  <a:pt x="100" y="10"/>
                </a:lnTo>
                <a:lnTo>
                  <a:pt x="97" y="6"/>
                </a:lnTo>
                <a:lnTo>
                  <a:pt x="91" y="6"/>
                </a:lnTo>
                <a:lnTo>
                  <a:pt x="81" y="6"/>
                </a:lnTo>
                <a:lnTo>
                  <a:pt x="75" y="0"/>
                </a:lnTo>
                <a:lnTo>
                  <a:pt x="72" y="0"/>
                </a:lnTo>
                <a:lnTo>
                  <a:pt x="72" y="3"/>
                </a:lnTo>
                <a:lnTo>
                  <a:pt x="72" y="3"/>
                </a:lnTo>
                <a:lnTo>
                  <a:pt x="69" y="3"/>
                </a:lnTo>
                <a:lnTo>
                  <a:pt x="69" y="6"/>
                </a:lnTo>
                <a:lnTo>
                  <a:pt x="66" y="3"/>
                </a:lnTo>
                <a:lnTo>
                  <a:pt x="59" y="6"/>
                </a:lnTo>
                <a:lnTo>
                  <a:pt x="50" y="6"/>
                </a:lnTo>
                <a:lnTo>
                  <a:pt x="38" y="6"/>
                </a:lnTo>
                <a:lnTo>
                  <a:pt x="34" y="10"/>
                </a:lnTo>
                <a:lnTo>
                  <a:pt x="31" y="6"/>
                </a:lnTo>
                <a:lnTo>
                  <a:pt x="31" y="10"/>
                </a:lnTo>
                <a:lnTo>
                  <a:pt x="28" y="10"/>
                </a:lnTo>
                <a:lnTo>
                  <a:pt x="25" y="13"/>
                </a:lnTo>
                <a:lnTo>
                  <a:pt x="22" y="16"/>
                </a:lnTo>
                <a:lnTo>
                  <a:pt x="19" y="16"/>
                </a:lnTo>
                <a:lnTo>
                  <a:pt x="12" y="22"/>
                </a:lnTo>
                <a:lnTo>
                  <a:pt x="9" y="25"/>
                </a:lnTo>
                <a:lnTo>
                  <a:pt x="9" y="28"/>
                </a:lnTo>
                <a:lnTo>
                  <a:pt x="9" y="35"/>
                </a:lnTo>
                <a:lnTo>
                  <a:pt x="3" y="38"/>
                </a:lnTo>
                <a:lnTo>
                  <a:pt x="3" y="38"/>
                </a:lnTo>
                <a:lnTo>
                  <a:pt x="3" y="41"/>
                </a:lnTo>
                <a:lnTo>
                  <a:pt x="3" y="41"/>
                </a:lnTo>
                <a:lnTo>
                  <a:pt x="0" y="50"/>
                </a:lnTo>
                <a:lnTo>
                  <a:pt x="3" y="53"/>
                </a:lnTo>
                <a:lnTo>
                  <a:pt x="3" y="53"/>
                </a:lnTo>
                <a:lnTo>
                  <a:pt x="12" y="57"/>
                </a:lnTo>
                <a:lnTo>
                  <a:pt x="19" y="60"/>
                </a:lnTo>
                <a:lnTo>
                  <a:pt x="19" y="60"/>
                </a:lnTo>
                <a:lnTo>
                  <a:pt x="16" y="57"/>
                </a:lnTo>
                <a:lnTo>
                  <a:pt x="16" y="57"/>
                </a:lnTo>
                <a:lnTo>
                  <a:pt x="22" y="57"/>
                </a:lnTo>
                <a:lnTo>
                  <a:pt x="25" y="60"/>
                </a:lnTo>
                <a:lnTo>
                  <a:pt x="25" y="63"/>
                </a:lnTo>
                <a:lnTo>
                  <a:pt x="34" y="63"/>
                </a:lnTo>
                <a:lnTo>
                  <a:pt x="38" y="60"/>
                </a:lnTo>
                <a:lnTo>
                  <a:pt x="38" y="57"/>
                </a:lnTo>
                <a:lnTo>
                  <a:pt x="38" y="57"/>
                </a:lnTo>
                <a:lnTo>
                  <a:pt x="41" y="57"/>
                </a:lnTo>
                <a:lnTo>
                  <a:pt x="41" y="60"/>
                </a:lnTo>
                <a:lnTo>
                  <a:pt x="41" y="60"/>
                </a:lnTo>
                <a:lnTo>
                  <a:pt x="44" y="57"/>
                </a:lnTo>
                <a:lnTo>
                  <a:pt x="44" y="60"/>
                </a:lnTo>
                <a:lnTo>
                  <a:pt x="44" y="60"/>
                </a:lnTo>
                <a:lnTo>
                  <a:pt x="47" y="63"/>
                </a:lnTo>
                <a:lnTo>
                  <a:pt x="47" y="63"/>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4" name="Freeform 182">
            <a:extLst>
              <a:ext uri="{FF2B5EF4-FFF2-40B4-BE49-F238E27FC236}">
                <a16:creationId xmlns:a16="http://schemas.microsoft.com/office/drawing/2014/main" id="{136970D4-DDC5-8DE8-F723-3FC854B763D5}"/>
              </a:ext>
            </a:extLst>
          </p:cNvPr>
          <p:cNvSpPr>
            <a:spLocks/>
          </p:cNvSpPr>
          <p:nvPr userDrawn="1"/>
        </p:nvSpPr>
        <p:spPr bwMode="auto">
          <a:xfrm>
            <a:off x="7613158" y="8463833"/>
            <a:ext cx="149216" cy="88902"/>
          </a:xfrm>
          <a:custGeom>
            <a:avLst/>
            <a:gdLst>
              <a:gd name="T0" fmla="*/ 15 w 47"/>
              <a:gd name="T1" fmla="*/ 0 h 28"/>
              <a:gd name="T2" fmla="*/ 18 w 47"/>
              <a:gd name="T3" fmla="*/ 0 h 28"/>
              <a:gd name="T4" fmla="*/ 21 w 47"/>
              <a:gd name="T5" fmla="*/ 0 h 28"/>
              <a:gd name="T6" fmla="*/ 21 w 47"/>
              <a:gd name="T7" fmla="*/ 3 h 28"/>
              <a:gd name="T8" fmla="*/ 25 w 47"/>
              <a:gd name="T9" fmla="*/ 3 h 28"/>
              <a:gd name="T10" fmla="*/ 28 w 47"/>
              <a:gd name="T11" fmla="*/ 3 h 28"/>
              <a:gd name="T12" fmla="*/ 31 w 47"/>
              <a:gd name="T13" fmla="*/ 3 h 28"/>
              <a:gd name="T14" fmla="*/ 34 w 47"/>
              <a:gd name="T15" fmla="*/ 6 h 28"/>
              <a:gd name="T16" fmla="*/ 34 w 47"/>
              <a:gd name="T17" fmla="*/ 9 h 28"/>
              <a:gd name="T18" fmla="*/ 37 w 47"/>
              <a:gd name="T19" fmla="*/ 12 h 28"/>
              <a:gd name="T20" fmla="*/ 37 w 47"/>
              <a:gd name="T21" fmla="*/ 9 h 28"/>
              <a:gd name="T22" fmla="*/ 40 w 47"/>
              <a:gd name="T23" fmla="*/ 6 h 28"/>
              <a:gd name="T24" fmla="*/ 43 w 47"/>
              <a:gd name="T25" fmla="*/ 6 h 28"/>
              <a:gd name="T26" fmla="*/ 43 w 47"/>
              <a:gd name="T27" fmla="*/ 6 h 28"/>
              <a:gd name="T28" fmla="*/ 47 w 47"/>
              <a:gd name="T29" fmla="*/ 9 h 28"/>
              <a:gd name="T30" fmla="*/ 47 w 47"/>
              <a:gd name="T31" fmla="*/ 12 h 28"/>
              <a:gd name="T32" fmla="*/ 47 w 47"/>
              <a:gd name="T33" fmla="*/ 15 h 28"/>
              <a:gd name="T34" fmla="*/ 47 w 47"/>
              <a:gd name="T35" fmla="*/ 15 h 28"/>
              <a:gd name="T36" fmla="*/ 47 w 47"/>
              <a:gd name="T37" fmla="*/ 18 h 28"/>
              <a:gd name="T38" fmla="*/ 47 w 47"/>
              <a:gd name="T39" fmla="*/ 22 h 28"/>
              <a:gd name="T40" fmla="*/ 47 w 47"/>
              <a:gd name="T41" fmla="*/ 22 h 28"/>
              <a:gd name="T42" fmla="*/ 47 w 47"/>
              <a:gd name="T43" fmla="*/ 25 h 28"/>
              <a:gd name="T44" fmla="*/ 43 w 47"/>
              <a:gd name="T45" fmla="*/ 28 h 28"/>
              <a:gd name="T46" fmla="*/ 34 w 47"/>
              <a:gd name="T47" fmla="*/ 28 h 28"/>
              <a:gd name="T48" fmla="*/ 34 w 47"/>
              <a:gd name="T49" fmla="*/ 25 h 28"/>
              <a:gd name="T50" fmla="*/ 31 w 47"/>
              <a:gd name="T51" fmla="*/ 22 h 28"/>
              <a:gd name="T52" fmla="*/ 25 w 47"/>
              <a:gd name="T53" fmla="*/ 22 h 28"/>
              <a:gd name="T54" fmla="*/ 25 w 47"/>
              <a:gd name="T55" fmla="*/ 22 h 28"/>
              <a:gd name="T56" fmla="*/ 28 w 47"/>
              <a:gd name="T57" fmla="*/ 25 h 28"/>
              <a:gd name="T58" fmla="*/ 28 w 47"/>
              <a:gd name="T59" fmla="*/ 25 h 28"/>
              <a:gd name="T60" fmla="*/ 21 w 47"/>
              <a:gd name="T61" fmla="*/ 22 h 28"/>
              <a:gd name="T62" fmla="*/ 12 w 47"/>
              <a:gd name="T63" fmla="*/ 18 h 28"/>
              <a:gd name="T64" fmla="*/ 12 w 47"/>
              <a:gd name="T65" fmla="*/ 18 h 28"/>
              <a:gd name="T66" fmla="*/ 6 w 47"/>
              <a:gd name="T67" fmla="*/ 18 h 28"/>
              <a:gd name="T68" fmla="*/ 3 w 47"/>
              <a:gd name="T69" fmla="*/ 15 h 28"/>
              <a:gd name="T70" fmla="*/ 0 w 47"/>
              <a:gd name="T71" fmla="*/ 15 h 28"/>
              <a:gd name="T72" fmla="*/ 0 w 47"/>
              <a:gd name="T73" fmla="*/ 15 h 28"/>
              <a:gd name="T74" fmla="*/ 0 w 47"/>
              <a:gd name="T75" fmla="*/ 12 h 28"/>
              <a:gd name="T76" fmla="*/ 0 w 47"/>
              <a:gd name="T77" fmla="*/ 12 h 28"/>
              <a:gd name="T78" fmla="*/ 3 w 47"/>
              <a:gd name="T79" fmla="*/ 6 h 28"/>
              <a:gd name="T80" fmla="*/ 9 w 47"/>
              <a:gd name="T81" fmla="*/ 6 h 28"/>
              <a:gd name="T82" fmla="*/ 12 w 47"/>
              <a:gd name="T83" fmla="*/ 6 h 28"/>
              <a:gd name="T84" fmla="*/ 12 w 47"/>
              <a:gd name="T85" fmla="*/ 3 h 28"/>
              <a:gd name="T86" fmla="*/ 15 w 47"/>
              <a:gd name="T8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 h="28">
                <a:moveTo>
                  <a:pt x="15" y="0"/>
                </a:moveTo>
                <a:lnTo>
                  <a:pt x="18" y="0"/>
                </a:lnTo>
                <a:lnTo>
                  <a:pt x="21" y="0"/>
                </a:lnTo>
                <a:lnTo>
                  <a:pt x="21" y="3"/>
                </a:lnTo>
                <a:lnTo>
                  <a:pt x="25" y="3"/>
                </a:lnTo>
                <a:lnTo>
                  <a:pt x="28" y="3"/>
                </a:lnTo>
                <a:lnTo>
                  <a:pt x="31" y="3"/>
                </a:lnTo>
                <a:lnTo>
                  <a:pt x="34" y="6"/>
                </a:lnTo>
                <a:lnTo>
                  <a:pt x="34" y="9"/>
                </a:lnTo>
                <a:lnTo>
                  <a:pt x="37" y="12"/>
                </a:lnTo>
                <a:lnTo>
                  <a:pt x="37" y="9"/>
                </a:lnTo>
                <a:lnTo>
                  <a:pt x="40" y="6"/>
                </a:lnTo>
                <a:lnTo>
                  <a:pt x="43" y="6"/>
                </a:lnTo>
                <a:lnTo>
                  <a:pt x="43" y="6"/>
                </a:lnTo>
                <a:lnTo>
                  <a:pt x="47" y="9"/>
                </a:lnTo>
                <a:lnTo>
                  <a:pt x="47" y="12"/>
                </a:lnTo>
                <a:lnTo>
                  <a:pt x="47" y="15"/>
                </a:lnTo>
                <a:lnTo>
                  <a:pt x="47" y="15"/>
                </a:lnTo>
                <a:lnTo>
                  <a:pt x="47" y="18"/>
                </a:lnTo>
                <a:lnTo>
                  <a:pt x="47" y="22"/>
                </a:lnTo>
                <a:lnTo>
                  <a:pt x="47" y="22"/>
                </a:lnTo>
                <a:lnTo>
                  <a:pt x="47" y="25"/>
                </a:lnTo>
                <a:lnTo>
                  <a:pt x="43" y="28"/>
                </a:lnTo>
                <a:lnTo>
                  <a:pt x="34" y="28"/>
                </a:lnTo>
                <a:lnTo>
                  <a:pt x="34" y="25"/>
                </a:lnTo>
                <a:lnTo>
                  <a:pt x="31" y="22"/>
                </a:lnTo>
                <a:lnTo>
                  <a:pt x="25" y="22"/>
                </a:lnTo>
                <a:lnTo>
                  <a:pt x="25" y="22"/>
                </a:lnTo>
                <a:lnTo>
                  <a:pt x="28" y="25"/>
                </a:lnTo>
                <a:lnTo>
                  <a:pt x="28" y="25"/>
                </a:lnTo>
                <a:lnTo>
                  <a:pt x="21" y="22"/>
                </a:lnTo>
                <a:lnTo>
                  <a:pt x="12" y="18"/>
                </a:lnTo>
                <a:lnTo>
                  <a:pt x="12" y="18"/>
                </a:lnTo>
                <a:lnTo>
                  <a:pt x="6" y="18"/>
                </a:lnTo>
                <a:lnTo>
                  <a:pt x="3" y="15"/>
                </a:lnTo>
                <a:lnTo>
                  <a:pt x="0" y="15"/>
                </a:lnTo>
                <a:lnTo>
                  <a:pt x="0" y="15"/>
                </a:lnTo>
                <a:lnTo>
                  <a:pt x="0" y="12"/>
                </a:lnTo>
                <a:lnTo>
                  <a:pt x="0" y="12"/>
                </a:lnTo>
                <a:lnTo>
                  <a:pt x="3" y="6"/>
                </a:lnTo>
                <a:lnTo>
                  <a:pt x="9" y="6"/>
                </a:lnTo>
                <a:lnTo>
                  <a:pt x="12" y="6"/>
                </a:lnTo>
                <a:lnTo>
                  <a:pt x="12" y="3"/>
                </a:lnTo>
                <a:lnTo>
                  <a:pt x="15" y="0"/>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5" name="Freeform 183">
            <a:extLst>
              <a:ext uri="{FF2B5EF4-FFF2-40B4-BE49-F238E27FC236}">
                <a16:creationId xmlns:a16="http://schemas.microsoft.com/office/drawing/2014/main" id="{842829A1-0C84-FE0B-C144-7F4FC36884E2}"/>
              </a:ext>
            </a:extLst>
          </p:cNvPr>
          <p:cNvSpPr>
            <a:spLocks/>
          </p:cNvSpPr>
          <p:nvPr userDrawn="1"/>
        </p:nvSpPr>
        <p:spPr bwMode="auto">
          <a:xfrm>
            <a:off x="7679825" y="8203489"/>
            <a:ext cx="69845" cy="158750"/>
          </a:xfrm>
          <a:custGeom>
            <a:avLst/>
            <a:gdLst>
              <a:gd name="T0" fmla="*/ 0 w 22"/>
              <a:gd name="T1" fmla="*/ 13 h 50"/>
              <a:gd name="T2" fmla="*/ 0 w 22"/>
              <a:gd name="T3" fmla="*/ 13 h 50"/>
              <a:gd name="T4" fmla="*/ 0 w 22"/>
              <a:gd name="T5" fmla="*/ 10 h 50"/>
              <a:gd name="T6" fmla="*/ 4 w 22"/>
              <a:gd name="T7" fmla="*/ 10 h 50"/>
              <a:gd name="T8" fmla="*/ 4 w 22"/>
              <a:gd name="T9" fmla="*/ 10 h 50"/>
              <a:gd name="T10" fmla="*/ 4 w 22"/>
              <a:gd name="T11" fmla="*/ 10 h 50"/>
              <a:gd name="T12" fmla="*/ 7 w 22"/>
              <a:gd name="T13" fmla="*/ 10 h 50"/>
              <a:gd name="T14" fmla="*/ 7 w 22"/>
              <a:gd name="T15" fmla="*/ 10 h 50"/>
              <a:gd name="T16" fmla="*/ 7 w 22"/>
              <a:gd name="T17" fmla="*/ 10 h 50"/>
              <a:gd name="T18" fmla="*/ 10 w 22"/>
              <a:gd name="T19" fmla="*/ 10 h 50"/>
              <a:gd name="T20" fmla="*/ 10 w 22"/>
              <a:gd name="T21" fmla="*/ 7 h 50"/>
              <a:gd name="T22" fmla="*/ 13 w 22"/>
              <a:gd name="T23" fmla="*/ 3 h 50"/>
              <a:gd name="T24" fmla="*/ 13 w 22"/>
              <a:gd name="T25" fmla="*/ 0 h 50"/>
              <a:gd name="T26" fmla="*/ 16 w 22"/>
              <a:gd name="T27" fmla="*/ 0 h 50"/>
              <a:gd name="T28" fmla="*/ 16 w 22"/>
              <a:gd name="T29" fmla="*/ 0 h 50"/>
              <a:gd name="T30" fmla="*/ 16 w 22"/>
              <a:gd name="T31" fmla="*/ 0 h 50"/>
              <a:gd name="T32" fmla="*/ 19 w 22"/>
              <a:gd name="T33" fmla="*/ 0 h 50"/>
              <a:gd name="T34" fmla="*/ 22 w 22"/>
              <a:gd name="T35" fmla="*/ 0 h 50"/>
              <a:gd name="T36" fmla="*/ 22 w 22"/>
              <a:gd name="T37" fmla="*/ 3 h 50"/>
              <a:gd name="T38" fmla="*/ 22 w 22"/>
              <a:gd name="T39" fmla="*/ 3 h 50"/>
              <a:gd name="T40" fmla="*/ 22 w 22"/>
              <a:gd name="T41" fmla="*/ 13 h 50"/>
              <a:gd name="T42" fmla="*/ 19 w 22"/>
              <a:gd name="T43" fmla="*/ 16 h 50"/>
              <a:gd name="T44" fmla="*/ 19 w 22"/>
              <a:gd name="T45" fmla="*/ 22 h 50"/>
              <a:gd name="T46" fmla="*/ 19 w 22"/>
              <a:gd name="T47" fmla="*/ 25 h 50"/>
              <a:gd name="T48" fmla="*/ 19 w 22"/>
              <a:gd name="T49" fmla="*/ 32 h 50"/>
              <a:gd name="T50" fmla="*/ 19 w 22"/>
              <a:gd name="T51" fmla="*/ 38 h 50"/>
              <a:gd name="T52" fmla="*/ 13 w 22"/>
              <a:gd name="T53" fmla="*/ 44 h 50"/>
              <a:gd name="T54" fmla="*/ 10 w 22"/>
              <a:gd name="T55" fmla="*/ 44 h 50"/>
              <a:gd name="T56" fmla="*/ 7 w 22"/>
              <a:gd name="T57" fmla="*/ 47 h 50"/>
              <a:gd name="T58" fmla="*/ 7 w 22"/>
              <a:gd name="T59" fmla="*/ 50 h 50"/>
              <a:gd name="T60" fmla="*/ 7 w 22"/>
              <a:gd name="T61" fmla="*/ 50 h 50"/>
              <a:gd name="T62" fmla="*/ 4 w 22"/>
              <a:gd name="T63" fmla="*/ 50 h 50"/>
              <a:gd name="T64" fmla="*/ 0 w 22"/>
              <a:gd name="T65" fmla="*/ 50 h 50"/>
              <a:gd name="T66" fmla="*/ 0 w 22"/>
              <a:gd name="T67" fmla="*/ 50 h 50"/>
              <a:gd name="T68" fmla="*/ 0 w 22"/>
              <a:gd name="T69" fmla="*/ 13 h 50"/>
              <a:gd name="T70" fmla="*/ 0 w 22"/>
              <a:gd name="T71" fmla="*/ 1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 h="50">
                <a:moveTo>
                  <a:pt x="0" y="13"/>
                </a:moveTo>
                <a:lnTo>
                  <a:pt x="0" y="13"/>
                </a:lnTo>
                <a:lnTo>
                  <a:pt x="0" y="10"/>
                </a:lnTo>
                <a:lnTo>
                  <a:pt x="4" y="10"/>
                </a:lnTo>
                <a:lnTo>
                  <a:pt x="4" y="10"/>
                </a:lnTo>
                <a:lnTo>
                  <a:pt x="4" y="10"/>
                </a:lnTo>
                <a:lnTo>
                  <a:pt x="7" y="10"/>
                </a:lnTo>
                <a:lnTo>
                  <a:pt x="7" y="10"/>
                </a:lnTo>
                <a:lnTo>
                  <a:pt x="7" y="10"/>
                </a:lnTo>
                <a:lnTo>
                  <a:pt x="10" y="10"/>
                </a:lnTo>
                <a:lnTo>
                  <a:pt x="10" y="7"/>
                </a:lnTo>
                <a:lnTo>
                  <a:pt x="13" y="3"/>
                </a:lnTo>
                <a:lnTo>
                  <a:pt x="13" y="0"/>
                </a:lnTo>
                <a:lnTo>
                  <a:pt x="16" y="0"/>
                </a:lnTo>
                <a:lnTo>
                  <a:pt x="16" y="0"/>
                </a:lnTo>
                <a:lnTo>
                  <a:pt x="16" y="0"/>
                </a:lnTo>
                <a:lnTo>
                  <a:pt x="19" y="0"/>
                </a:lnTo>
                <a:lnTo>
                  <a:pt x="22" y="0"/>
                </a:lnTo>
                <a:lnTo>
                  <a:pt x="22" y="3"/>
                </a:lnTo>
                <a:lnTo>
                  <a:pt x="22" y="3"/>
                </a:lnTo>
                <a:lnTo>
                  <a:pt x="22" y="13"/>
                </a:lnTo>
                <a:lnTo>
                  <a:pt x="19" y="16"/>
                </a:lnTo>
                <a:lnTo>
                  <a:pt x="19" y="22"/>
                </a:lnTo>
                <a:lnTo>
                  <a:pt x="19" y="25"/>
                </a:lnTo>
                <a:lnTo>
                  <a:pt x="19" y="32"/>
                </a:lnTo>
                <a:lnTo>
                  <a:pt x="19" y="38"/>
                </a:lnTo>
                <a:lnTo>
                  <a:pt x="13" y="44"/>
                </a:lnTo>
                <a:lnTo>
                  <a:pt x="10" y="44"/>
                </a:lnTo>
                <a:lnTo>
                  <a:pt x="7" y="47"/>
                </a:lnTo>
                <a:lnTo>
                  <a:pt x="7" y="50"/>
                </a:lnTo>
                <a:lnTo>
                  <a:pt x="7" y="50"/>
                </a:lnTo>
                <a:lnTo>
                  <a:pt x="4" y="50"/>
                </a:lnTo>
                <a:lnTo>
                  <a:pt x="0" y="50"/>
                </a:lnTo>
                <a:lnTo>
                  <a:pt x="0" y="50"/>
                </a:lnTo>
                <a:lnTo>
                  <a:pt x="0" y="13"/>
                </a:lnTo>
                <a:lnTo>
                  <a:pt x="0" y="13"/>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6" name="Freeform 184">
            <a:extLst>
              <a:ext uri="{FF2B5EF4-FFF2-40B4-BE49-F238E27FC236}">
                <a16:creationId xmlns:a16="http://schemas.microsoft.com/office/drawing/2014/main" id="{093E5B98-960C-44A8-A13C-9269B6DFAD16}"/>
              </a:ext>
            </a:extLst>
          </p:cNvPr>
          <p:cNvSpPr>
            <a:spLocks/>
          </p:cNvSpPr>
          <p:nvPr userDrawn="1"/>
        </p:nvSpPr>
        <p:spPr bwMode="auto">
          <a:xfrm>
            <a:off x="7482983" y="8244763"/>
            <a:ext cx="257159" cy="266702"/>
          </a:xfrm>
          <a:custGeom>
            <a:avLst/>
            <a:gdLst>
              <a:gd name="T0" fmla="*/ 41 w 81"/>
              <a:gd name="T1" fmla="*/ 84 h 84"/>
              <a:gd name="T2" fmla="*/ 41 w 81"/>
              <a:gd name="T3" fmla="*/ 81 h 84"/>
              <a:gd name="T4" fmla="*/ 41 w 81"/>
              <a:gd name="T5" fmla="*/ 81 h 84"/>
              <a:gd name="T6" fmla="*/ 44 w 81"/>
              <a:gd name="T7" fmla="*/ 75 h 84"/>
              <a:gd name="T8" fmla="*/ 50 w 81"/>
              <a:gd name="T9" fmla="*/ 75 h 84"/>
              <a:gd name="T10" fmla="*/ 53 w 81"/>
              <a:gd name="T11" fmla="*/ 75 h 84"/>
              <a:gd name="T12" fmla="*/ 53 w 81"/>
              <a:gd name="T13" fmla="*/ 72 h 84"/>
              <a:gd name="T14" fmla="*/ 59 w 81"/>
              <a:gd name="T15" fmla="*/ 69 h 84"/>
              <a:gd name="T16" fmla="*/ 59 w 81"/>
              <a:gd name="T17" fmla="*/ 62 h 84"/>
              <a:gd name="T18" fmla="*/ 59 w 81"/>
              <a:gd name="T19" fmla="*/ 59 h 84"/>
              <a:gd name="T20" fmla="*/ 62 w 81"/>
              <a:gd name="T21" fmla="*/ 56 h 84"/>
              <a:gd name="T22" fmla="*/ 69 w 81"/>
              <a:gd name="T23" fmla="*/ 50 h 84"/>
              <a:gd name="T24" fmla="*/ 72 w 81"/>
              <a:gd name="T25" fmla="*/ 50 h 84"/>
              <a:gd name="T26" fmla="*/ 75 w 81"/>
              <a:gd name="T27" fmla="*/ 47 h 84"/>
              <a:gd name="T28" fmla="*/ 78 w 81"/>
              <a:gd name="T29" fmla="*/ 44 h 84"/>
              <a:gd name="T30" fmla="*/ 81 w 81"/>
              <a:gd name="T31" fmla="*/ 44 h 84"/>
              <a:gd name="T32" fmla="*/ 81 w 81"/>
              <a:gd name="T33" fmla="*/ 40 h 84"/>
              <a:gd name="T34" fmla="*/ 78 w 81"/>
              <a:gd name="T35" fmla="*/ 40 h 84"/>
              <a:gd name="T36" fmla="*/ 75 w 81"/>
              <a:gd name="T37" fmla="*/ 40 h 84"/>
              <a:gd name="T38" fmla="*/ 75 w 81"/>
              <a:gd name="T39" fmla="*/ 40 h 84"/>
              <a:gd name="T40" fmla="*/ 72 w 81"/>
              <a:gd name="T41" fmla="*/ 40 h 84"/>
              <a:gd name="T42" fmla="*/ 69 w 81"/>
              <a:gd name="T43" fmla="*/ 40 h 84"/>
              <a:gd name="T44" fmla="*/ 69 w 81"/>
              <a:gd name="T45" fmla="*/ 37 h 84"/>
              <a:gd name="T46" fmla="*/ 66 w 81"/>
              <a:gd name="T47" fmla="*/ 37 h 84"/>
              <a:gd name="T48" fmla="*/ 62 w 81"/>
              <a:gd name="T49" fmla="*/ 37 h 84"/>
              <a:gd name="T50" fmla="*/ 62 w 81"/>
              <a:gd name="T51" fmla="*/ 37 h 84"/>
              <a:gd name="T52" fmla="*/ 62 w 81"/>
              <a:gd name="T53" fmla="*/ 0 h 84"/>
              <a:gd name="T54" fmla="*/ 62 w 81"/>
              <a:gd name="T55" fmla="*/ 0 h 84"/>
              <a:gd name="T56" fmla="*/ 28 w 81"/>
              <a:gd name="T57" fmla="*/ 0 h 84"/>
              <a:gd name="T58" fmla="*/ 28 w 81"/>
              <a:gd name="T59" fmla="*/ 9 h 84"/>
              <a:gd name="T60" fmla="*/ 19 w 81"/>
              <a:gd name="T61" fmla="*/ 9 h 84"/>
              <a:gd name="T62" fmla="*/ 22 w 81"/>
              <a:gd name="T63" fmla="*/ 12 h 84"/>
              <a:gd name="T64" fmla="*/ 22 w 81"/>
              <a:gd name="T65" fmla="*/ 15 h 84"/>
              <a:gd name="T66" fmla="*/ 25 w 81"/>
              <a:gd name="T67" fmla="*/ 19 h 84"/>
              <a:gd name="T68" fmla="*/ 28 w 81"/>
              <a:gd name="T69" fmla="*/ 22 h 84"/>
              <a:gd name="T70" fmla="*/ 31 w 81"/>
              <a:gd name="T71" fmla="*/ 22 h 84"/>
              <a:gd name="T72" fmla="*/ 31 w 81"/>
              <a:gd name="T73" fmla="*/ 25 h 84"/>
              <a:gd name="T74" fmla="*/ 34 w 81"/>
              <a:gd name="T75" fmla="*/ 25 h 84"/>
              <a:gd name="T76" fmla="*/ 34 w 81"/>
              <a:gd name="T77" fmla="*/ 28 h 84"/>
              <a:gd name="T78" fmla="*/ 37 w 81"/>
              <a:gd name="T79" fmla="*/ 28 h 84"/>
              <a:gd name="T80" fmla="*/ 41 w 81"/>
              <a:gd name="T81" fmla="*/ 28 h 84"/>
              <a:gd name="T82" fmla="*/ 41 w 81"/>
              <a:gd name="T83" fmla="*/ 31 h 84"/>
              <a:gd name="T84" fmla="*/ 37 w 81"/>
              <a:gd name="T85" fmla="*/ 34 h 84"/>
              <a:gd name="T86" fmla="*/ 12 w 81"/>
              <a:gd name="T87" fmla="*/ 34 h 84"/>
              <a:gd name="T88" fmla="*/ 0 w 81"/>
              <a:gd name="T89" fmla="*/ 53 h 84"/>
              <a:gd name="T90" fmla="*/ 0 w 81"/>
              <a:gd name="T91" fmla="*/ 56 h 84"/>
              <a:gd name="T92" fmla="*/ 3 w 81"/>
              <a:gd name="T93" fmla="*/ 56 h 84"/>
              <a:gd name="T94" fmla="*/ 0 w 81"/>
              <a:gd name="T95" fmla="*/ 59 h 84"/>
              <a:gd name="T96" fmla="*/ 3 w 81"/>
              <a:gd name="T97" fmla="*/ 59 h 84"/>
              <a:gd name="T98" fmla="*/ 3 w 81"/>
              <a:gd name="T99" fmla="*/ 62 h 84"/>
              <a:gd name="T100" fmla="*/ 3 w 81"/>
              <a:gd name="T101" fmla="*/ 62 h 84"/>
              <a:gd name="T102" fmla="*/ 0 w 81"/>
              <a:gd name="T103" fmla="*/ 66 h 84"/>
              <a:gd name="T104" fmla="*/ 0 w 81"/>
              <a:gd name="T105" fmla="*/ 66 h 84"/>
              <a:gd name="T106" fmla="*/ 0 w 81"/>
              <a:gd name="T107" fmla="*/ 66 h 84"/>
              <a:gd name="T108" fmla="*/ 3 w 81"/>
              <a:gd name="T109" fmla="*/ 72 h 84"/>
              <a:gd name="T110" fmla="*/ 6 w 81"/>
              <a:gd name="T111" fmla="*/ 75 h 84"/>
              <a:gd name="T112" fmla="*/ 9 w 81"/>
              <a:gd name="T113" fmla="*/ 75 h 84"/>
              <a:gd name="T114" fmla="*/ 9 w 81"/>
              <a:gd name="T115" fmla="*/ 78 h 84"/>
              <a:gd name="T116" fmla="*/ 22 w 81"/>
              <a:gd name="T117" fmla="*/ 81 h 84"/>
              <a:gd name="T118" fmla="*/ 28 w 81"/>
              <a:gd name="T119" fmla="*/ 81 h 84"/>
              <a:gd name="T120" fmla="*/ 31 w 81"/>
              <a:gd name="T121" fmla="*/ 81 h 84"/>
              <a:gd name="T122" fmla="*/ 41 w 81"/>
              <a:gd name="T12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 h="84">
                <a:moveTo>
                  <a:pt x="41" y="84"/>
                </a:moveTo>
                <a:lnTo>
                  <a:pt x="41" y="81"/>
                </a:lnTo>
                <a:lnTo>
                  <a:pt x="41" y="81"/>
                </a:lnTo>
                <a:lnTo>
                  <a:pt x="44" y="75"/>
                </a:lnTo>
                <a:lnTo>
                  <a:pt x="50" y="75"/>
                </a:lnTo>
                <a:lnTo>
                  <a:pt x="53" y="75"/>
                </a:lnTo>
                <a:lnTo>
                  <a:pt x="53" y="72"/>
                </a:lnTo>
                <a:lnTo>
                  <a:pt x="59" y="69"/>
                </a:lnTo>
                <a:lnTo>
                  <a:pt x="59" y="62"/>
                </a:lnTo>
                <a:lnTo>
                  <a:pt x="59" y="59"/>
                </a:lnTo>
                <a:lnTo>
                  <a:pt x="62" y="56"/>
                </a:lnTo>
                <a:lnTo>
                  <a:pt x="69" y="50"/>
                </a:lnTo>
                <a:lnTo>
                  <a:pt x="72" y="50"/>
                </a:lnTo>
                <a:lnTo>
                  <a:pt x="75" y="47"/>
                </a:lnTo>
                <a:lnTo>
                  <a:pt x="78" y="44"/>
                </a:lnTo>
                <a:lnTo>
                  <a:pt x="81" y="44"/>
                </a:lnTo>
                <a:lnTo>
                  <a:pt x="81" y="40"/>
                </a:lnTo>
                <a:lnTo>
                  <a:pt x="78" y="40"/>
                </a:lnTo>
                <a:lnTo>
                  <a:pt x="75" y="40"/>
                </a:lnTo>
                <a:lnTo>
                  <a:pt x="75" y="40"/>
                </a:lnTo>
                <a:lnTo>
                  <a:pt x="72" y="40"/>
                </a:lnTo>
                <a:lnTo>
                  <a:pt x="69" y="40"/>
                </a:lnTo>
                <a:lnTo>
                  <a:pt x="69" y="37"/>
                </a:lnTo>
                <a:lnTo>
                  <a:pt x="66" y="37"/>
                </a:lnTo>
                <a:lnTo>
                  <a:pt x="62" y="37"/>
                </a:lnTo>
                <a:lnTo>
                  <a:pt x="62" y="37"/>
                </a:lnTo>
                <a:lnTo>
                  <a:pt x="62" y="0"/>
                </a:lnTo>
                <a:lnTo>
                  <a:pt x="62" y="0"/>
                </a:lnTo>
                <a:lnTo>
                  <a:pt x="28" y="0"/>
                </a:lnTo>
                <a:lnTo>
                  <a:pt x="28" y="9"/>
                </a:lnTo>
                <a:lnTo>
                  <a:pt x="19" y="9"/>
                </a:lnTo>
                <a:lnTo>
                  <a:pt x="22" y="12"/>
                </a:lnTo>
                <a:lnTo>
                  <a:pt x="22" y="15"/>
                </a:lnTo>
                <a:lnTo>
                  <a:pt x="25" y="19"/>
                </a:lnTo>
                <a:lnTo>
                  <a:pt x="28" y="22"/>
                </a:lnTo>
                <a:lnTo>
                  <a:pt x="31" y="22"/>
                </a:lnTo>
                <a:lnTo>
                  <a:pt x="31" y="25"/>
                </a:lnTo>
                <a:lnTo>
                  <a:pt x="34" y="25"/>
                </a:lnTo>
                <a:lnTo>
                  <a:pt x="34" y="28"/>
                </a:lnTo>
                <a:lnTo>
                  <a:pt x="37" y="28"/>
                </a:lnTo>
                <a:lnTo>
                  <a:pt x="41" y="28"/>
                </a:lnTo>
                <a:lnTo>
                  <a:pt x="41" y="31"/>
                </a:lnTo>
                <a:lnTo>
                  <a:pt x="37" y="34"/>
                </a:lnTo>
                <a:lnTo>
                  <a:pt x="12" y="34"/>
                </a:lnTo>
                <a:lnTo>
                  <a:pt x="0" y="53"/>
                </a:lnTo>
                <a:lnTo>
                  <a:pt x="0" y="56"/>
                </a:lnTo>
                <a:lnTo>
                  <a:pt x="3" y="56"/>
                </a:lnTo>
                <a:lnTo>
                  <a:pt x="0" y="59"/>
                </a:lnTo>
                <a:lnTo>
                  <a:pt x="3" y="59"/>
                </a:lnTo>
                <a:lnTo>
                  <a:pt x="3" y="62"/>
                </a:lnTo>
                <a:lnTo>
                  <a:pt x="3" y="62"/>
                </a:lnTo>
                <a:lnTo>
                  <a:pt x="0" y="66"/>
                </a:lnTo>
                <a:lnTo>
                  <a:pt x="0" y="66"/>
                </a:lnTo>
                <a:lnTo>
                  <a:pt x="0" y="66"/>
                </a:lnTo>
                <a:lnTo>
                  <a:pt x="3" y="72"/>
                </a:lnTo>
                <a:lnTo>
                  <a:pt x="6" y="75"/>
                </a:lnTo>
                <a:lnTo>
                  <a:pt x="9" y="75"/>
                </a:lnTo>
                <a:lnTo>
                  <a:pt x="9" y="78"/>
                </a:lnTo>
                <a:lnTo>
                  <a:pt x="22" y="81"/>
                </a:lnTo>
                <a:lnTo>
                  <a:pt x="28" y="81"/>
                </a:lnTo>
                <a:lnTo>
                  <a:pt x="31" y="81"/>
                </a:lnTo>
                <a:lnTo>
                  <a:pt x="41" y="84"/>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7" name="Freeform 185">
            <a:extLst>
              <a:ext uri="{FF2B5EF4-FFF2-40B4-BE49-F238E27FC236}">
                <a16:creationId xmlns:a16="http://schemas.microsoft.com/office/drawing/2014/main" id="{2FA0F238-30F0-6052-AD94-219AC3ED2BDC}"/>
              </a:ext>
            </a:extLst>
          </p:cNvPr>
          <p:cNvSpPr>
            <a:spLocks noEditPoints="1"/>
          </p:cNvSpPr>
          <p:nvPr userDrawn="1"/>
        </p:nvSpPr>
        <p:spPr bwMode="auto">
          <a:xfrm>
            <a:off x="6073380" y="7130332"/>
            <a:ext cx="1787410" cy="1323976"/>
          </a:xfrm>
          <a:custGeom>
            <a:avLst/>
            <a:gdLst>
              <a:gd name="T0" fmla="*/ 213 w 563"/>
              <a:gd name="T1" fmla="*/ 41 h 417"/>
              <a:gd name="T2" fmla="*/ 228 w 563"/>
              <a:gd name="T3" fmla="*/ 57 h 417"/>
              <a:gd name="T4" fmla="*/ 235 w 563"/>
              <a:gd name="T5" fmla="*/ 82 h 417"/>
              <a:gd name="T6" fmla="*/ 250 w 563"/>
              <a:gd name="T7" fmla="*/ 94 h 417"/>
              <a:gd name="T8" fmla="*/ 269 w 563"/>
              <a:gd name="T9" fmla="*/ 91 h 417"/>
              <a:gd name="T10" fmla="*/ 291 w 563"/>
              <a:gd name="T11" fmla="*/ 79 h 417"/>
              <a:gd name="T12" fmla="*/ 313 w 563"/>
              <a:gd name="T13" fmla="*/ 107 h 417"/>
              <a:gd name="T14" fmla="*/ 328 w 563"/>
              <a:gd name="T15" fmla="*/ 141 h 417"/>
              <a:gd name="T16" fmla="*/ 350 w 563"/>
              <a:gd name="T17" fmla="*/ 169 h 417"/>
              <a:gd name="T18" fmla="*/ 366 w 563"/>
              <a:gd name="T19" fmla="*/ 176 h 417"/>
              <a:gd name="T20" fmla="*/ 356 w 563"/>
              <a:gd name="T21" fmla="*/ 194 h 417"/>
              <a:gd name="T22" fmla="*/ 347 w 563"/>
              <a:gd name="T23" fmla="*/ 248 h 417"/>
              <a:gd name="T24" fmla="*/ 353 w 563"/>
              <a:gd name="T25" fmla="*/ 279 h 417"/>
              <a:gd name="T26" fmla="*/ 385 w 563"/>
              <a:gd name="T27" fmla="*/ 329 h 417"/>
              <a:gd name="T28" fmla="*/ 428 w 563"/>
              <a:gd name="T29" fmla="*/ 335 h 417"/>
              <a:gd name="T30" fmla="*/ 463 w 563"/>
              <a:gd name="T31" fmla="*/ 341 h 417"/>
              <a:gd name="T32" fmla="*/ 481 w 563"/>
              <a:gd name="T33" fmla="*/ 310 h 417"/>
              <a:gd name="T34" fmla="*/ 532 w 563"/>
              <a:gd name="T35" fmla="*/ 273 h 417"/>
              <a:gd name="T36" fmla="*/ 557 w 563"/>
              <a:gd name="T37" fmla="*/ 291 h 417"/>
              <a:gd name="T38" fmla="*/ 541 w 563"/>
              <a:gd name="T39" fmla="*/ 323 h 417"/>
              <a:gd name="T40" fmla="*/ 532 w 563"/>
              <a:gd name="T41" fmla="*/ 329 h 417"/>
              <a:gd name="T42" fmla="*/ 513 w 563"/>
              <a:gd name="T43" fmla="*/ 348 h 417"/>
              <a:gd name="T44" fmla="*/ 466 w 563"/>
              <a:gd name="T45" fmla="*/ 366 h 417"/>
              <a:gd name="T46" fmla="*/ 456 w 563"/>
              <a:gd name="T47" fmla="*/ 385 h 417"/>
              <a:gd name="T48" fmla="*/ 441 w 563"/>
              <a:gd name="T49" fmla="*/ 413 h 417"/>
              <a:gd name="T50" fmla="*/ 403 w 563"/>
              <a:gd name="T51" fmla="*/ 382 h 417"/>
              <a:gd name="T52" fmla="*/ 400 w 563"/>
              <a:gd name="T53" fmla="*/ 382 h 417"/>
              <a:gd name="T54" fmla="*/ 394 w 563"/>
              <a:gd name="T55" fmla="*/ 385 h 417"/>
              <a:gd name="T56" fmla="*/ 328 w 563"/>
              <a:gd name="T57" fmla="*/ 382 h 417"/>
              <a:gd name="T58" fmla="*/ 285 w 563"/>
              <a:gd name="T59" fmla="*/ 366 h 417"/>
              <a:gd name="T60" fmla="*/ 238 w 563"/>
              <a:gd name="T61" fmla="*/ 341 h 417"/>
              <a:gd name="T62" fmla="*/ 203 w 563"/>
              <a:gd name="T63" fmla="*/ 320 h 417"/>
              <a:gd name="T64" fmla="*/ 194 w 563"/>
              <a:gd name="T65" fmla="*/ 291 h 417"/>
              <a:gd name="T66" fmla="*/ 194 w 563"/>
              <a:gd name="T67" fmla="*/ 251 h 417"/>
              <a:gd name="T68" fmla="*/ 150 w 563"/>
              <a:gd name="T69" fmla="*/ 198 h 417"/>
              <a:gd name="T70" fmla="*/ 131 w 563"/>
              <a:gd name="T71" fmla="*/ 176 h 417"/>
              <a:gd name="T72" fmla="*/ 131 w 563"/>
              <a:gd name="T73" fmla="*/ 154 h 417"/>
              <a:gd name="T74" fmla="*/ 110 w 563"/>
              <a:gd name="T75" fmla="*/ 126 h 417"/>
              <a:gd name="T76" fmla="*/ 91 w 563"/>
              <a:gd name="T77" fmla="*/ 104 h 417"/>
              <a:gd name="T78" fmla="*/ 75 w 563"/>
              <a:gd name="T79" fmla="*/ 69 h 417"/>
              <a:gd name="T80" fmla="*/ 66 w 563"/>
              <a:gd name="T81" fmla="*/ 35 h 417"/>
              <a:gd name="T82" fmla="*/ 41 w 563"/>
              <a:gd name="T83" fmla="*/ 38 h 417"/>
              <a:gd name="T84" fmla="*/ 56 w 563"/>
              <a:gd name="T85" fmla="*/ 91 h 417"/>
              <a:gd name="T86" fmla="*/ 75 w 563"/>
              <a:gd name="T87" fmla="*/ 122 h 417"/>
              <a:gd name="T88" fmla="*/ 88 w 563"/>
              <a:gd name="T89" fmla="*/ 144 h 417"/>
              <a:gd name="T90" fmla="*/ 97 w 563"/>
              <a:gd name="T91" fmla="*/ 182 h 417"/>
              <a:gd name="T92" fmla="*/ 106 w 563"/>
              <a:gd name="T93" fmla="*/ 204 h 417"/>
              <a:gd name="T94" fmla="*/ 113 w 563"/>
              <a:gd name="T95" fmla="*/ 235 h 417"/>
              <a:gd name="T96" fmla="*/ 85 w 563"/>
              <a:gd name="T97" fmla="*/ 201 h 417"/>
              <a:gd name="T98" fmla="*/ 72 w 563"/>
              <a:gd name="T99" fmla="*/ 157 h 417"/>
              <a:gd name="T100" fmla="*/ 47 w 563"/>
              <a:gd name="T101" fmla="*/ 141 h 417"/>
              <a:gd name="T102" fmla="*/ 31 w 563"/>
              <a:gd name="T103" fmla="*/ 119 h 417"/>
              <a:gd name="T104" fmla="*/ 44 w 563"/>
              <a:gd name="T105" fmla="*/ 110 h 417"/>
              <a:gd name="T106" fmla="*/ 22 w 563"/>
              <a:gd name="T107" fmla="*/ 72 h 417"/>
              <a:gd name="T108" fmla="*/ 13 w 563"/>
              <a:gd name="T109" fmla="*/ 38 h 417"/>
              <a:gd name="T110" fmla="*/ 103 w 563"/>
              <a:gd name="T111" fmla="*/ 188 h 417"/>
              <a:gd name="T112" fmla="*/ 106 w 563"/>
              <a:gd name="T113" fmla="*/ 201 h 417"/>
              <a:gd name="T114" fmla="*/ 356 w 563"/>
              <a:gd name="T115" fmla="*/ 194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63" h="417">
                <a:moveTo>
                  <a:pt x="0" y="4"/>
                </a:moveTo>
                <a:lnTo>
                  <a:pt x="47" y="0"/>
                </a:lnTo>
                <a:lnTo>
                  <a:pt x="50" y="4"/>
                </a:lnTo>
                <a:lnTo>
                  <a:pt x="47" y="4"/>
                </a:lnTo>
                <a:lnTo>
                  <a:pt x="116" y="35"/>
                </a:lnTo>
                <a:lnTo>
                  <a:pt x="172" y="38"/>
                </a:lnTo>
                <a:lnTo>
                  <a:pt x="172" y="29"/>
                </a:lnTo>
                <a:lnTo>
                  <a:pt x="203" y="32"/>
                </a:lnTo>
                <a:lnTo>
                  <a:pt x="206" y="32"/>
                </a:lnTo>
                <a:lnTo>
                  <a:pt x="210" y="38"/>
                </a:lnTo>
                <a:lnTo>
                  <a:pt x="213" y="41"/>
                </a:lnTo>
                <a:lnTo>
                  <a:pt x="213" y="41"/>
                </a:lnTo>
                <a:lnTo>
                  <a:pt x="213" y="41"/>
                </a:lnTo>
                <a:lnTo>
                  <a:pt x="216" y="44"/>
                </a:lnTo>
                <a:lnTo>
                  <a:pt x="216" y="47"/>
                </a:lnTo>
                <a:lnTo>
                  <a:pt x="219" y="47"/>
                </a:lnTo>
                <a:lnTo>
                  <a:pt x="222" y="51"/>
                </a:lnTo>
                <a:lnTo>
                  <a:pt x="222" y="51"/>
                </a:lnTo>
                <a:lnTo>
                  <a:pt x="219" y="54"/>
                </a:lnTo>
                <a:lnTo>
                  <a:pt x="222" y="54"/>
                </a:lnTo>
                <a:lnTo>
                  <a:pt x="225" y="57"/>
                </a:lnTo>
                <a:lnTo>
                  <a:pt x="228" y="57"/>
                </a:lnTo>
                <a:lnTo>
                  <a:pt x="228" y="63"/>
                </a:lnTo>
                <a:lnTo>
                  <a:pt x="228" y="63"/>
                </a:lnTo>
                <a:lnTo>
                  <a:pt x="228" y="63"/>
                </a:lnTo>
                <a:lnTo>
                  <a:pt x="231" y="66"/>
                </a:lnTo>
                <a:lnTo>
                  <a:pt x="231" y="69"/>
                </a:lnTo>
                <a:lnTo>
                  <a:pt x="231" y="72"/>
                </a:lnTo>
                <a:lnTo>
                  <a:pt x="231" y="72"/>
                </a:lnTo>
                <a:lnTo>
                  <a:pt x="228" y="72"/>
                </a:lnTo>
                <a:lnTo>
                  <a:pt x="228" y="72"/>
                </a:lnTo>
                <a:lnTo>
                  <a:pt x="231" y="79"/>
                </a:lnTo>
                <a:lnTo>
                  <a:pt x="235" y="82"/>
                </a:lnTo>
                <a:lnTo>
                  <a:pt x="238" y="85"/>
                </a:lnTo>
                <a:lnTo>
                  <a:pt x="238" y="85"/>
                </a:lnTo>
                <a:lnTo>
                  <a:pt x="238" y="85"/>
                </a:lnTo>
                <a:lnTo>
                  <a:pt x="238" y="85"/>
                </a:lnTo>
                <a:lnTo>
                  <a:pt x="241" y="85"/>
                </a:lnTo>
                <a:lnTo>
                  <a:pt x="241" y="88"/>
                </a:lnTo>
                <a:lnTo>
                  <a:pt x="244" y="88"/>
                </a:lnTo>
                <a:lnTo>
                  <a:pt x="244" y="91"/>
                </a:lnTo>
                <a:lnTo>
                  <a:pt x="244" y="91"/>
                </a:lnTo>
                <a:lnTo>
                  <a:pt x="247" y="91"/>
                </a:lnTo>
                <a:lnTo>
                  <a:pt x="250" y="94"/>
                </a:lnTo>
                <a:lnTo>
                  <a:pt x="250" y="94"/>
                </a:lnTo>
                <a:lnTo>
                  <a:pt x="253" y="94"/>
                </a:lnTo>
                <a:lnTo>
                  <a:pt x="260" y="97"/>
                </a:lnTo>
                <a:lnTo>
                  <a:pt x="260" y="101"/>
                </a:lnTo>
                <a:lnTo>
                  <a:pt x="263" y="101"/>
                </a:lnTo>
                <a:lnTo>
                  <a:pt x="263" y="97"/>
                </a:lnTo>
                <a:lnTo>
                  <a:pt x="263" y="97"/>
                </a:lnTo>
                <a:lnTo>
                  <a:pt x="266" y="94"/>
                </a:lnTo>
                <a:lnTo>
                  <a:pt x="269" y="94"/>
                </a:lnTo>
                <a:lnTo>
                  <a:pt x="269" y="94"/>
                </a:lnTo>
                <a:lnTo>
                  <a:pt x="269" y="91"/>
                </a:lnTo>
                <a:lnTo>
                  <a:pt x="269" y="91"/>
                </a:lnTo>
                <a:lnTo>
                  <a:pt x="272" y="85"/>
                </a:lnTo>
                <a:lnTo>
                  <a:pt x="275" y="82"/>
                </a:lnTo>
                <a:lnTo>
                  <a:pt x="278" y="82"/>
                </a:lnTo>
                <a:lnTo>
                  <a:pt x="278" y="82"/>
                </a:lnTo>
                <a:lnTo>
                  <a:pt x="278" y="82"/>
                </a:lnTo>
                <a:lnTo>
                  <a:pt x="281" y="82"/>
                </a:lnTo>
                <a:lnTo>
                  <a:pt x="281" y="79"/>
                </a:lnTo>
                <a:lnTo>
                  <a:pt x="285" y="79"/>
                </a:lnTo>
                <a:lnTo>
                  <a:pt x="288" y="82"/>
                </a:lnTo>
                <a:lnTo>
                  <a:pt x="291" y="79"/>
                </a:lnTo>
                <a:lnTo>
                  <a:pt x="294" y="82"/>
                </a:lnTo>
                <a:lnTo>
                  <a:pt x="294" y="82"/>
                </a:lnTo>
                <a:lnTo>
                  <a:pt x="297" y="82"/>
                </a:lnTo>
                <a:lnTo>
                  <a:pt x="300" y="82"/>
                </a:lnTo>
                <a:lnTo>
                  <a:pt x="300" y="85"/>
                </a:lnTo>
                <a:lnTo>
                  <a:pt x="306" y="88"/>
                </a:lnTo>
                <a:lnTo>
                  <a:pt x="310" y="94"/>
                </a:lnTo>
                <a:lnTo>
                  <a:pt x="310" y="97"/>
                </a:lnTo>
                <a:lnTo>
                  <a:pt x="310" y="101"/>
                </a:lnTo>
                <a:lnTo>
                  <a:pt x="313" y="104"/>
                </a:lnTo>
                <a:lnTo>
                  <a:pt x="313" y="107"/>
                </a:lnTo>
                <a:lnTo>
                  <a:pt x="313" y="107"/>
                </a:lnTo>
                <a:lnTo>
                  <a:pt x="316" y="110"/>
                </a:lnTo>
                <a:lnTo>
                  <a:pt x="319" y="119"/>
                </a:lnTo>
                <a:lnTo>
                  <a:pt x="319" y="119"/>
                </a:lnTo>
                <a:lnTo>
                  <a:pt x="319" y="122"/>
                </a:lnTo>
                <a:lnTo>
                  <a:pt x="322" y="122"/>
                </a:lnTo>
                <a:lnTo>
                  <a:pt x="325" y="126"/>
                </a:lnTo>
                <a:lnTo>
                  <a:pt x="325" y="129"/>
                </a:lnTo>
                <a:lnTo>
                  <a:pt x="328" y="135"/>
                </a:lnTo>
                <a:lnTo>
                  <a:pt x="328" y="138"/>
                </a:lnTo>
                <a:lnTo>
                  <a:pt x="328" y="141"/>
                </a:lnTo>
                <a:lnTo>
                  <a:pt x="328" y="141"/>
                </a:lnTo>
                <a:lnTo>
                  <a:pt x="328" y="144"/>
                </a:lnTo>
                <a:lnTo>
                  <a:pt x="331" y="154"/>
                </a:lnTo>
                <a:lnTo>
                  <a:pt x="331" y="160"/>
                </a:lnTo>
                <a:lnTo>
                  <a:pt x="335" y="163"/>
                </a:lnTo>
                <a:lnTo>
                  <a:pt x="335" y="163"/>
                </a:lnTo>
                <a:lnTo>
                  <a:pt x="338" y="163"/>
                </a:lnTo>
                <a:lnTo>
                  <a:pt x="338" y="163"/>
                </a:lnTo>
                <a:lnTo>
                  <a:pt x="341" y="163"/>
                </a:lnTo>
                <a:lnTo>
                  <a:pt x="344" y="166"/>
                </a:lnTo>
                <a:lnTo>
                  <a:pt x="350" y="169"/>
                </a:lnTo>
                <a:lnTo>
                  <a:pt x="356" y="173"/>
                </a:lnTo>
                <a:lnTo>
                  <a:pt x="360" y="173"/>
                </a:lnTo>
                <a:lnTo>
                  <a:pt x="360" y="176"/>
                </a:lnTo>
                <a:lnTo>
                  <a:pt x="363" y="176"/>
                </a:lnTo>
                <a:lnTo>
                  <a:pt x="360" y="179"/>
                </a:lnTo>
                <a:lnTo>
                  <a:pt x="363" y="176"/>
                </a:lnTo>
                <a:lnTo>
                  <a:pt x="366" y="169"/>
                </a:lnTo>
                <a:lnTo>
                  <a:pt x="369" y="169"/>
                </a:lnTo>
                <a:lnTo>
                  <a:pt x="366" y="169"/>
                </a:lnTo>
                <a:lnTo>
                  <a:pt x="366" y="176"/>
                </a:lnTo>
                <a:lnTo>
                  <a:pt x="366" y="176"/>
                </a:lnTo>
                <a:lnTo>
                  <a:pt x="363" y="182"/>
                </a:lnTo>
                <a:lnTo>
                  <a:pt x="360" y="185"/>
                </a:lnTo>
                <a:lnTo>
                  <a:pt x="360" y="188"/>
                </a:lnTo>
                <a:lnTo>
                  <a:pt x="360" y="188"/>
                </a:lnTo>
                <a:lnTo>
                  <a:pt x="360" y="188"/>
                </a:lnTo>
                <a:lnTo>
                  <a:pt x="360" y="185"/>
                </a:lnTo>
                <a:lnTo>
                  <a:pt x="356" y="182"/>
                </a:lnTo>
                <a:lnTo>
                  <a:pt x="356" y="188"/>
                </a:lnTo>
                <a:lnTo>
                  <a:pt x="353" y="191"/>
                </a:lnTo>
                <a:lnTo>
                  <a:pt x="356" y="194"/>
                </a:lnTo>
                <a:lnTo>
                  <a:pt x="356" y="194"/>
                </a:lnTo>
                <a:lnTo>
                  <a:pt x="353" y="201"/>
                </a:lnTo>
                <a:lnTo>
                  <a:pt x="353" y="204"/>
                </a:lnTo>
                <a:lnTo>
                  <a:pt x="353" y="207"/>
                </a:lnTo>
                <a:lnTo>
                  <a:pt x="353" y="210"/>
                </a:lnTo>
                <a:lnTo>
                  <a:pt x="353" y="213"/>
                </a:lnTo>
                <a:lnTo>
                  <a:pt x="353" y="216"/>
                </a:lnTo>
                <a:lnTo>
                  <a:pt x="350" y="226"/>
                </a:lnTo>
                <a:lnTo>
                  <a:pt x="350" y="232"/>
                </a:lnTo>
                <a:lnTo>
                  <a:pt x="350" y="241"/>
                </a:lnTo>
                <a:lnTo>
                  <a:pt x="347" y="244"/>
                </a:lnTo>
                <a:lnTo>
                  <a:pt x="347" y="248"/>
                </a:lnTo>
                <a:lnTo>
                  <a:pt x="350" y="254"/>
                </a:lnTo>
                <a:lnTo>
                  <a:pt x="347" y="260"/>
                </a:lnTo>
                <a:lnTo>
                  <a:pt x="353" y="266"/>
                </a:lnTo>
                <a:lnTo>
                  <a:pt x="353" y="273"/>
                </a:lnTo>
                <a:lnTo>
                  <a:pt x="353" y="273"/>
                </a:lnTo>
                <a:lnTo>
                  <a:pt x="353" y="266"/>
                </a:lnTo>
                <a:lnTo>
                  <a:pt x="347" y="260"/>
                </a:lnTo>
                <a:lnTo>
                  <a:pt x="347" y="266"/>
                </a:lnTo>
                <a:lnTo>
                  <a:pt x="350" y="269"/>
                </a:lnTo>
                <a:lnTo>
                  <a:pt x="353" y="276"/>
                </a:lnTo>
                <a:lnTo>
                  <a:pt x="353" y="279"/>
                </a:lnTo>
                <a:lnTo>
                  <a:pt x="353" y="282"/>
                </a:lnTo>
                <a:lnTo>
                  <a:pt x="353" y="285"/>
                </a:lnTo>
                <a:lnTo>
                  <a:pt x="356" y="288"/>
                </a:lnTo>
                <a:lnTo>
                  <a:pt x="366" y="301"/>
                </a:lnTo>
                <a:lnTo>
                  <a:pt x="369" y="304"/>
                </a:lnTo>
                <a:lnTo>
                  <a:pt x="372" y="310"/>
                </a:lnTo>
                <a:lnTo>
                  <a:pt x="372" y="313"/>
                </a:lnTo>
                <a:lnTo>
                  <a:pt x="372" y="316"/>
                </a:lnTo>
                <a:lnTo>
                  <a:pt x="381" y="326"/>
                </a:lnTo>
                <a:lnTo>
                  <a:pt x="381" y="329"/>
                </a:lnTo>
                <a:lnTo>
                  <a:pt x="385" y="329"/>
                </a:lnTo>
                <a:lnTo>
                  <a:pt x="391" y="329"/>
                </a:lnTo>
                <a:lnTo>
                  <a:pt x="391" y="329"/>
                </a:lnTo>
                <a:lnTo>
                  <a:pt x="397" y="332"/>
                </a:lnTo>
                <a:lnTo>
                  <a:pt x="400" y="338"/>
                </a:lnTo>
                <a:lnTo>
                  <a:pt x="403" y="345"/>
                </a:lnTo>
                <a:lnTo>
                  <a:pt x="406" y="341"/>
                </a:lnTo>
                <a:lnTo>
                  <a:pt x="413" y="341"/>
                </a:lnTo>
                <a:lnTo>
                  <a:pt x="416" y="341"/>
                </a:lnTo>
                <a:lnTo>
                  <a:pt x="419" y="341"/>
                </a:lnTo>
                <a:lnTo>
                  <a:pt x="425" y="338"/>
                </a:lnTo>
                <a:lnTo>
                  <a:pt x="428" y="335"/>
                </a:lnTo>
                <a:lnTo>
                  <a:pt x="435" y="335"/>
                </a:lnTo>
                <a:lnTo>
                  <a:pt x="438" y="335"/>
                </a:lnTo>
                <a:lnTo>
                  <a:pt x="444" y="332"/>
                </a:lnTo>
                <a:lnTo>
                  <a:pt x="447" y="332"/>
                </a:lnTo>
                <a:lnTo>
                  <a:pt x="453" y="332"/>
                </a:lnTo>
                <a:lnTo>
                  <a:pt x="453" y="332"/>
                </a:lnTo>
                <a:lnTo>
                  <a:pt x="460" y="332"/>
                </a:lnTo>
                <a:lnTo>
                  <a:pt x="456" y="335"/>
                </a:lnTo>
                <a:lnTo>
                  <a:pt x="453" y="338"/>
                </a:lnTo>
                <a:lnTo>
                  <a:pt x="460" y="338"/>
                </a:lnTo>
                <a:lnTo>
                  <a:pt x="463" y="341"/>
                </a:lnTo>
                <a:lnTo>
                  <a:pt x="463" y="338"/>
                </a:lnTo>
                <a:lnTo>
                  <a:pt x="466" y="338"/>
                </a:lnTo>
                <a:lnTo>
                  <a:pt x="469" y="335"/>
                </a:lnTo>
                <a:lnTo>
                  <a:pt x="469" y="329"/>
                </a:lnTo>
                <a:lnTo>
                  <a:pt x="469" y="326"/>
                </a:lnTo>
                <a:lnTo>
                  <a:pt x="466" y="329"/>
                </a:lnTo>
                <a:lnTo>
                  <a:pt x="466" y="326"/>
                </a:lnTo>
                <a:lnTo>
                  <a:pt x="472" y="323"/>
                </a:lnTo>
                <a:lnTo>
                  <a:pt x="475" y="323"/>
                </a:lnTo>
                <a:lnTo>
                  <a:pt x="481" y="316"/>
                </a:lnTo>
                <a:lnTo>
                  <a:pt x="481" y="310"/>
                </a:lnTo>
                <a:lnTo>
                  <a:pt x="488" y="304"/>
                </a:lnTo>
                <a:lnTo>
                  <a:pt x="488" y="301"/>
                </a:lnTo>
                <a:lnTo>
                  <a:pt x="488" y="288"/>
                </a:lnTo>
                <a:lnTo>
                  <a:pt x="494" y="282"/>
                </a:lnTo>
                <a:lnTo>
                  <a:pt x="491" y="282"/>
                </a:lnTo>
                <a:lnTo>
                  <a:pt x="491" y="279"/>
                </a:lnTo>
                <a:lnTo>
                  <a:pt x="503" y="276"/>
                </a:lnTo>
                <a:lnTo>
                  <a:pt x="522" y="276"/>
                </a:lnTo>
                <a:lnTo>
                  <a:pt x="525" y="269"/>
                </a:lnTo>
                <a:lnTo>
                  <a:pt x="528" y="269"/>
                </a:lnTo>
                <a:lnTo>
                  <a:pt x="532" y="273"/>
                </a:lnTo>
                <a:lnTo>
                  <a:pt x="535" y="269"/>
                </a:lnTo>
                <a:lnTo>
                  <a:pt x="535" y="266"/>
                </a:lnTo>
                <a:lnTo>
                  <a:pt x="544" y="266"/>
                </a:lnTo>
                <a:lnTo>
                  <a:pt x="550" y="269"/>
                </a:lnTo>
                <a:lnTo>
                  <a:pt x="553" y="269"/>
                </a:lnTo>
                <a:lnTo>
                  <a:pt x="553" y="266"/>
                </a:lnTo>
                <a:lnTo>
                  <a:pt x="557" y="266"/>
                </a:lnTo>
                <a:lnTo>
                  <a:pt x="563" y="273"/>
                </a:lnTo>
                <a:lnTo>
                  <a:pt x="563" y="279"/>
                </a:lnTo>
                <a:lnTo>
                  <a:pt x="560" y="282"/>
                </a:lnTo>
                <a:lnTo>
                  <a:pt x="557" y="291"/>
                </a:lnTo>
                <a:lnTo>
                  <a:pt x="547" y="298"/>
                </a:lnTo>
                <a:lnTo>
                  <a:pt x="544" y="301"/>
                </a:lnTo>
                <a:lnTo>
                  <a:pt x="544" y="307"/>
                </a:lnTo>
                <a:lnTo>
                  <a:pt x="541" y="307"/>
                </a:lnTo>
                <a:lnTo>
                  <a:pt x="541" y="310"/>
                </a:lnTo>
                <a:lnTo>
                  <a:pt x="541" y="313"/>
                </a:lnTo>
                <a:lnTo>
                  <a:pt x="544" y="313"/>
                </a:lnTo>
                <a:lnTo>
                  <a:pt x="544" y="316"/>
                </a:lnTo>
                <a:lnTo>
                  <a:pt x="541" y="320"/>
                </a:lnTo>
                <a:lnTo>
                  <a:pt x="541" y="323"/>
                </a:lnTo>
                <a:lnTo>
                  <a:pt x="541" y="323"/>
                </a:lnTo>
                <a:lnTo>
                  <a:pt x="544" y="320"/>
                </a:lnTo>
                <a:lnTo>
                  <a:pt x="547" y="320"/>
                </a:lnTo>
                <a:lnTo>
                  <a:pt x="544" y="323"/>
                </a:lnTo>
                <a:lnTo>
                  <a:pt x="541" y="335"/>
                </a:lnTo>
                <a:lnTo>
                  <a:pt x="538" y="341"/>
                </a:lnTo>
                <a:lnTo>
                  <a:pt x="535" y="341"/>
                </a:lnTo>
                <a:lnTo>
                  <a:pt x="535" y="338"/>
                </a:lnTo>
                <a:lnTo>
                  <a:pt x="532" y="335"/>
                </a:lnTo>
                <a:lnTo>
                  <a:pt x="528" y="335"/>
                </a:lnTo>
                <a:lnTo>
                  <a:pt x="532" y="332"/>
                </a:lnTo>
                <a:lnTo>
                  <a:pt x="532" y="329"/>
                </a:lnTo>
                <a:lnTo>
                  <a:pt x="528" y="329"/>
                </a:lnTo>
                <a:lnTo>
                  <a:pt x="525" y="335"/>
                </a:lnTo>
                <a:lnTo>
                  <a:pt x="522" y="338"/>
                </a:lnTo>
                <a:lnTo>
                  <a:pt x="522" y="338"/>
                </a:lnTo>
                <a:lnTo>
                  <a:pt x="522" y="338"/>
                </a:lnTo>
                <a:lnTo>
                  <a:pt x="519" y="338"/>
                </a:lnTo>
                <a:lnTo>
                  <a:pt x="519" y="341"/>
                </a:lnTo>
                <a:lnTo>
                  <a:pt x="516" y="345"/>
                </a:lnTo>
                <a:lnTo>
                  <a:pt x="516" y="348"/>
                </a:lnTo>
                <a:lnTo>
                  <a:pt x="513" y="348"/>
                </a:lnTo>
                <a:lnTo>
                  <a:pt x="513" y="348"/>
                </a:lnTo>
                <a:lnTo>
                  <a:pt x="513" y="348"/>
                </a:lnTo>
                <a:lnTo>
                  <a:pt x="510" y="348"/>
                </a:lnTo>
                <a:lnTo>
                  <a:pt x="510" y="348"/>
                </a:lnTo>
                <a:lnTo>
                  <a:pt x="510" y="348"/>
                </a:lnTo>
                <a:lnTo>
                  <a:pt x="506" y="348"/>
                </a:lnTo>
                <a:lnTo>
                  <a:pt x="506" y="351"/>
                </a:lnTo>
                <a:lnTo>
                  <a:pt x="472" y="351"/>
                </a:lnTo>
                <a:lnTo>
                  <a:pt x="472" y="360"/>
                </a:lnTo>
                <a:lnTo>
                  <a:pt x="463" y="360"/>
                </a:lnTo>
                <a:lnTo>
                  <a:pt x="466" y="363"/>
                </a:lnTo>
                <a:lnTo>
                  <a:pt x="466" y="366"/>
                </a:lnTo>
                <a:lnTo>
                  <a:pt x="469" y="370"/>
                </a:lnTo>
                <a:lnTo>
                  <a:pt x="472" y="373"/>
                </a:lnTo>
                <a:lnTo>
                  <a:pt x="475" y="373"/>
                </a:lnTo>
                <a:lnTo>
                  <a:pt x="475" y="376"/>
                </a:lnTo>
                <a:lnTo>
                  <a:pt x="478" y="376"/>
                </a:lnTo>
                <a:lnTo>
                  <a:pt x="478" y="379"/>
                </a:lnTo>
                <a:lnTo>
                  <a:pt x="481" y="379"/>
                </a:lnTo>
                <a:lnTo>
                  <a:pt x="485" y="379"/>
                </a:lnTo>
                <a:lnTo>
                  <a:pt x="485" y="382"/>
                </a:lnTo>
                <a:lnTo>
                  <a:pt x="481" y="385"/>
                </a:lnTo>
                <a:lnTo>
                  <a:pt x="456" y="385"/>
                </a:lnTo>
                <a:lnTo>
                  <a:pt x="444" y="404"/>
                </a:lnTo>
                <a:lnTo>
                  <a:pt x="444" y="407"/>
                </a:lnTo>
                <a:lnTo>
                  <a:pt x="447" y="407"/>
                </a:lnTo>
                <a:lnTo>
                  <a:pt x="444" y="410"/>
                </a:lnTo>
                <a:lnTo>
                  <a:pt x="447" y="410"/>
                </a:lnTo>
                <a:lnTo>
                  <a:pt x="447" y="413"/>
                </a:lnTo>
                <a:lnTo>
                  <a:pt x="447" y="413"/>
                </a:lnTo>
                <a:lnTo>
                  <a:pt x="444" y="417"/>
                </a:lnTo>
                <a:lnTo>
                  <a:pt x="444" y="417"/>
                </a:lnTo>
                <a:lnTo>
                  <a:pt x="444" y="417"/>
                </a:lnTo>
                <a:lnTo>
                  <a:pt x="441" y="413"/>
                </a:lnTo>
                <a:lnTo>
                  <a:pt x="435" y="410"/>
                </a:lnTo>
                <a:lnTo>
                  <a:pt x="435" y="407"/>
                </a:lnTo>
                <a:lnTo>
                  <a:pt x="431" y="407"/>
                </a:lnTo>
                <a:lnTo>
                  <a:pt x="416" y="395"/>
                </a:lnTo>
                <a:lnTo>
                  <a:pt x="416" y="391"/>
                </a:lnTo>
                <a:lnTo>
                  <a:pt x="416" y="391"/>
                </a:lnTo>
                <a:lnTo>
                  <a:pt x="413" y="385"/>
                </a:lnTo>
                <a:lnTo>
                  <a:pt x="406" y="382"/>
                </a:lnTo>
                <a:lnTo>
                  <a:pt x="403" y="382"/>
                </a:lnTo>
                <a:lnTo>
                  <a:pt x="403" y="382"/>
                </a:lnTo>
                <a:lnTo>
                  <a:pt x="403" y="382"/>
                </a:lnTo>
                <a:lnTo>
                  <a:pt x="403" y="382"/>
                </a:lnTo>
                <a:lnTo>
                  <a:pt x="410" y="385"/>
                </a:lnTo>
                <a:lnTo>
                  <a:pt x="413" y="391"/>
                </a:lnTo>
                <a:lnTo>
                  <a:pt x="413" y="391"/>
                </a:lnTo>
                <a:lnTo>
                  <a:pt x="410" y="388"/>
                </a:lnTo>
                <a:lnTo>
                  <a:pt x="403" y="385"/>
                </a:lnTo>
                <a:lnTo>
                  <a:pt x="400" y="385"/>
                </a:lnTo>
                <a:lnTo>
                  <a:pt x="397" y="385"/>
                </a:lnTo>
                <a:lnTo>
                  <a:pt x="397" y="385"/>
                </a:lnTo>
                <a:lnTo>
                  <a:pt x="397" y="382"/>
                </a:lnTo>
                <a:lnTo>
                  <a:pt x="400" y="382"/>
                </a:lnTo>
                <a:lnTo>
                  <a:pt x="400" y="382"/>
                </a:lnTo>
                <a:lnTo>
                  <a:pt x="397" y="382"/>
                </a:lnTo>
                <a:lnTo>
                  <a:pt x="394" y="382"/>
                </a:lnTo>
                <a:lnTo>
                  <a:pt x="394" y="379"/>
                </a:lnTo>
                <a:lnTo>
                  <a:pt x="394" y="379"/>
                </a:lnTo>
                <a:lnTo>
                  <a:pt x="388" y="382"/>
                </a:lnTo>
                <a:lnTo>
                  <a:pt x="388" y="385"/>
                </a:lnTo>
                <a:lnTo>
                  <a:pt x="391" y="385"/>
                </a:lnTo>
                <a:lnTo>
                  <a:pt x="397" y="385"/>
                </a:lnTo>
                <a:lnTo>
                  <a:pt x="397" y="385"/>
                </a:lnTo>
                <a:lnTo>
                  <a:pt x="394" y="385"/>
                </a:lnTo>
                <a:lnTo>
                  <a:pt x="388" y="385"/>
                </a:lnTo>
                <a:lnTo>
                  <a:pt x="385" y="385"/>
                </a:lnTo>
                <a:lnTo>
                  <a:pt x="378" y="391"/>
                </a:lnTo>
                <a:lnTo>
                  <a:pt x="375" y="391"/>
                </a:lnTo>
                <a:lnTo>
                  <a:pt x="366" y="395"/>
                </a:lnTo>
                <a:lnTo>
                  <a:pt x="363" y="395"/>
                </a:lnTo>
                <a:lnTo>
                  <a:pt x="350" y="391"/>
                </a:lnTo>
                <a:lnTo>
                  <a:pt x="347" y="388"/>
                </a:lnTo>
                <a:lnTo>
                  <a:pt x="341" y="388"/>
                </a:lnTo>
                <a:lnTo>
                  <a:pt x="331" y="385"/>
                </a:lnTo>
                <a:lnTo>
                  <a:pt x="328" y="382"/>
                </a:lnTo>
                <a:lnTo>
                  <a:pt x="328" y="385"/>
                </a:lnTo>
                <a:lnTo>
                  <a:pt x="325" y="382"/>
                </a:lnTo>
                <a:lnTo>
                  <a:pt x="319" y="382"/>
                </a:lnTo>
                <a:lnTo>
                  <a:pt x="316" y="376"/>
                </a:lnTo>
                <a:lnTo>
                  <a:pt x="316" y="376"/>
                </a:lnTo>
                <a:lnTo>
                  <a:pt x="313" y="376"/>
                </a:lnTo>
                <a:lnTo>
                  <a:pt x="306" y="376"/>
                </a:lnTo>
                <a:lnTo>
                  <a:pt x="300" y="376"/>
                </a:lnTo>
                <a:lnTo>
                  <a:pt x="300" y="370"/>
                </a:lnTo>
                <a:lnTo>
                  <a:pt x="294" y="366"/>
                </a:lnTo>
                <a:lnTo>
                  <a:pt x="285" y="366"/>
                </a:lnTo>
                <a:lnTo>
                  <a:pt x="275" y="363"/>
                </a:lnTo>
                <a:lnTo>
                  <a:pt x="272" y="357"/>
                </a:lnTo>
                <a:lnTo>
                  <a:pt x="269" y="357"/>
                </a:lnTo>
                <a:lnTo>
                  <a:pt x="260" y="348"/>
                </a:lnTo>
                <a:lnTo>
                  <a:pt x="256" y="345"/>
                </a:lnTo>
                <a:lnTo>
                  <a:pt x="253" y="345"/>
                </a:lnTo>
                <a:lnTo>
                  <a:pt x="253" y="348"/>
                </a:lnTo>
                <a:lnTo>
                  <a:pt x="250" y="348"/>
                </a:lnTo>
                <a:lnTo>
                  <a:pt x="244" y="345"/>
                </a:lnTo>
                <a:lnTo>
                  <a:pt x="241" y="345"/>
                </a:lnTo>
                <a:lnTo>
                  <a:pt x="238" y="341"/>
                </a:lnTo>
                <a:lnTo>
                  <a:pt x="235" y="341"/>
                </a:lnTo>
                <a:lnTo>
                  <a:pt x="231" y="341"/>
                </a:lnTo>
                <a:lnTo>
                  <a:pt x="228" y="335"/>
                </a:lnTo>
                <a:lnTo>
                  <a:pt x="225" y="332"/>
                </a:lnTo>
                <a:lnTo>
                  <a:pt x="219" y="326"/>
                </a:lnTo>
                <a:lnTo>
                  <a:pt x="216" y="326"/>
                </a:lnTo>
                <a:lnTo>
                  <a:pt x="216" y="323"/>
                </a:lnTo>
                <a:lnTo>
                  <a:pt x="216" y="320"/>
                </a:lnTo>
                <a:lnTo>
                  <a:pt x="216" y="320"/>
                </a:lnTo>
                <a:lnTo>
                  <a:pt x="210" y="323"/>
                </a:lnTo>
                <a:lnTo>
                  <a:pt x="203" y="320"/>
                </a:lnTo>
                <a:lnTo>
                  <a:pt x="203" y="316"/>
                </a:lnTo>
                <a:lnTo>
                  <a:pt x="200" y="316"/>
                </a:lnTo>
                <a:lnTo>
                  <a:pt x="197" y="316"/>
                </a:lnTo>
                <a:lnTo>
                  <a:pt x="197" y="310"/>
                </a:lnTo>
                <a:lnTo>
                  <a:pt x="194" y="307"/>
                </a:lnTo>
                <a:lnTo>
                  <a:pt x="194" y="304"/>
                </a:lnTo>
                <a:lnTo>
                  <a:pt x="191" y="301"/>
                </a:lnTo>
                <a:lnTo>
                  <a:pt x="188" y="295"/>
                </a:lnTo>
                <a:lnTo>
                  <a:pt x="188" y="291"/>
                </a:lnTo>
                <a:lnTo>
                  <a:pt x="191" y="291"/>
                </a:lnTo>
                <a:lnTo>
                  <a:pt x="194" y="291"/>
                </a:lnTo>
                <a:lnTo>
                  <a:pt x="197" y="288"/>
                </a:lnTo>
                <a:lnTo>
                  <a:pt x="194" y="288"/>
                </a:lnTo>
                <a:lnTo>
                  <a:pt x="191" y="285"/>
                </a:lnTo>
                <a:lnTo>
                  <a:pt x="194" y="285"/>
                </a:lnTo>
                <a:lnTo>
                  <a:pt x="197" y="279"/>
                </a:lnTo>
                <a:lnTo>
                  <a:pt x="200" y="276"/>
                </a:lnTo>
                <a:lnTo>
                  <a:pt x="200" y="273"/>
                </a:lnTo>
                <a:lnTo>
                  <a:pt x="194" y="260"/>
                </a:lnTo>
                <a:lnTo>
                  <a:pt x="194" y="257"/>
                </a:lnTo>
                <a:lnTo>
                  <a:pt x="191" y="254"/>
                </a:lnTo>
                <a:lnTo>
                  <a:pt x="194" y="251"/>
                </a:lnTo>
                <a:lnTo>
                  <a:pt x="191" y="244"/>
                </a:lnTo>
                <a:lnTo>
                  <a:pt x="185" y="238"/>
                </a:lnTo>
                <a:lnTo>
                  <a:pt x="185" y="232"/>
                </a:lnTo>
                <a:lnTo>
                  <a:pt x="178" y="226"/>
                </a:lnTo>
                <a:lnTo>
                  <a:pt x="175" y="219"/>
                </a:lnTo>
                <a:lnTo>
                  <a:pt x="169" y="210"/>
                </a:lnTo>
                <a:lnTo>
                  <a:pt x="163" y="207"/>
                </a:lnTo>
                <a:lnTo>
                  <a:pt x="160" y="204"/>
                </a:lnTo>
                <a:lnTo>
                  <a:pt x="160" y="201"/>
                </a:lnTo>
                <a:lnTo>
                  <a:pt x="153" y="201"/>
                </a:lnTo>
                <a:lnTo>
                  <a:pt x="150" y="198"/>
                </a:lnTo>
                <a:lnTo>
                  <a:pt x="150" y="198"/>
                </a:lnTo>
                <a:lnTo>
                  <a:pt x="153" y="194"/>
                </a:lnTo>
                <a:lnTo>
                  <a:pt x="156" y="191"/>
                </a:lnTo>
                <a:lnTo>
                  <a:pt x="153" y="188"/>
                </a:lnTo>
                <a:lnTo>
                  <a:pt x="153" y="185"/>
                </a:lnTo>
                <a:lnTo>
                  <a:pt x="150" y="185"/>
                </a:lnTo>
                <a:lnTo>
                  <a:pt x="150" y="185"/>
                </a:lnTo>
                <a:lnTo>
                  <a:pt x="144" y="182"/>
                </a:lnTo>
                <a:lnTo>
                  <a:pt x="138" y="176"/>
                </a:lnTo>
                <a:lnTo>
                  <a:pt x="135" y="176"/>
                </a:lnTo>
                <a:lnTo>
                  <a:pt x="131" y="176"/>
                </a:lnTo>
                <a:lnTo>
                  <a:pt x="128" y="173"/>
                </a:lnTo>
                <a:lnTo>
                  <a:pt x="128" y="169"/>
                </a:lnTo>
                <a:lnTo>
                  <a:pt x="128" y="163"/>
                </a:lnTo>
                <a:lnTo>
                  <a:pt x="131" y="160"/>
                </a:lnTo>
                <a:lnTo>
                  <a:pt x="135" y="157"/>
                </a:lnTo>
                <a:lnTo>
                  <a:pt x="138" y="160"/>
                </a:lnTo>
                <a:lnTo>
                  <a:pt x="138" y="157"/>
                </a:lnTo>
                <a:lnTo>
                  <a:pt x="138" y="157"/>
                </a:lnTo>
                <a:lnTo>
                  <a:pt x="138" y="154"/>
                </a:lnTo>
                <a:lnTo>
                  <a:pt x="135" y="157"/>
                </a:lnTo>
                <a:lnTo>
                  <a:pt x="131" y="154"/>
                </a:lnTo>
                <a:lnTo>
                  <a:pt x="131" y="151"/>
                </a:lnTo>
                <a:lnTo>
                  <a:pt x="128" y="147"/>
                </a:lnTo>
                <a:lnTo>
                  <a:pt x="125" y="147"/>
                </a:lnTo>
                <a:lnTo>
                  <a:pt x="122" y="147"/>
                </a:lnTo>
                <a:lnTo>
                  <a:pt x="122" y="144"/>
                </a:lnTo>
                <a:lnTo>
                  <a:pt x="122" y="141"/>
                </a:lnTo>
                <a:lnTo>
                  <a:pt x="119" y="138"/>
                </a:lnTo>
                <a:lnTo>
                  <a:pt x="116" y="138"/>
                </a:lnTo>
                <a:lnTo>
                  <a:pt x="110" y="132"/>
                </a:lnTo>
                <a:lnTo>
                  <a:pt x="110" y="129"/>
                </a:lnTo>
                <a:lnTo>
                  <a:pt x="110" y="126"/>
                </a:lnTo>
                <a:lnTo>
                  <a:pt x="110" y="122"/>
                </a:lnTo>
                <a:lnTo>
                  <a:pt x="110" y="119"/>
                </a:lnTo>
                <a:lnTo>
                  <a:pt x="106" y="119"/>
                </a:lnTo>
                <a:lnTo>
                  <a:pt x="103" y="119"/>
                </a:lnTo>
                <a:lnTo>
                  <a:pt x="103" y="119"/>
                </a:lnTo>
                <a:lnTo>
                  <a:pt x="100" y="116"/>
                </a:lnTo>
                <a:lnTo>
                  <a:pt x="100" y="116"/>
                </a:lnTo>
                <a:lnTo>
                  <a:pt x="97" y="113"/>
                </a:lnTo>
                <a:lnTo>
                  <a:pt x="97" y="107"/>
                </a:lnTo>
                <a:lnTo>
                  <a:pt x="94" y="107"/>
                </a:lnTo>
                <a:lnTo>
                  <a:pt x="91" y="104"/>
                </a:lnTo>
                <a:lnTo>
                  <a:pt x="91" y="101"/>
                </a:lnTo>
                <a:lnTo>
                  <a:pt x="91" y="97"/>
                </a:lnTo>
                <a:lnTo>
                  <a:pt x="88" y="97"/>
                </a:lnTo>
                <a:lnTo>
                  <a:pt x="85" y="88"/>
                </a:lnTo>
                <a:lnTo>
                  <a:pt x="85" y="88"/>
                </a:lnTo>
                <a:lnTo>
                  <a:pt x="81" y="88"/>
                </a:lnTo>
                <a:lnTo>
                  <a:pt x="81" y="85"/>
                </a:lnTo>
                <a:lnTo>
                  <a:pt x="81" y="82"/>
                </a:lnTo>
                <a:lnTo>
                  <a:pt x="81" y="82"/>
                </a:lnTo>
                <a:lnTo>
                  <a:pt x="78" y="76"/>
                </a:lnTo>
                <a:lnTo>
                  <a:pt x="75" y="69"/>
                </a:lnTo>
                <a:lnTo>
                  <a:pt x="78" y="69"/>
                </a:lnTo>
                <a:lnTo>
                  <a:pt x="75" y="63"/>
                </a:lnTo>
                <a:lnTo>
                  <a:pt x="75" y="60"/>
                </a:lnTo>
                <a:lnTo>
                  <a:pt x="75" y="54"/>
                </a:lnTo>
                <a:lnTo>
                  <a:pt x="72" y="47"/>
                </a:lnTo>
                <a:lnTo>
                  <a:pt x="72" y="44"/>
                </a:lnTo>
                <a:lnTo>
                  <a:pt x="75" y="41"/>
                </a:lnTo>
                <a:lnTo>
                  <a:pt x="75" y="41"/>
                </a:lnTo>
                <a:lnTo>
                  <a:pt x="69" y="38"/>
                </a:lnTo>
                <a:lnTo>
                  <a:pt x="66" y="38"/>
                </a:lnTo>
                <a:lnTo>
                  <a:pt x="66" y="35"/>
                </a:lnTo>
                <a:lnTo>
                  <a:pt x="63" y="32"/>
                </a:lnTo>
                <a:lnTo>
                  <a:pt x="60" y="35"/>
                </a:lnTo>
                <a:lnTo>
                  <a:pt x="56" y="35"/>
                </a:lnTo>
                <a:lnTo>
                  <a:pt x="53" y="32"/>
                </a:lnTo>
                <a:lnTo>
                  <a:pt x="50" y="29"/>
                </a:lnTo>
                <a:lnTo>
                  <a:pt x="47" y="25"/>
                </a:lnTo>
                <a:lnTo>
                  <a:pt x="44" y="19"/>
                </a:lnTo>
                <a:lnTo>
                  <a:pt x="44" y="25"/>
                </a:lnTo>
                <a:lnTo>
                  <a:pt x="44" y="29"/>
                </a:lnTo>
                <a:lnTo>
                  <a:pt x="44" y="35"/>
                </a:lnTo>
                <a:lnTo>
                  <a:pt x="41" y="38"/>
                </a:lnTo>
                <a:lnTo>
                  <a:pt x="44" y="47"/>
                </a:lnTo>
                <a:lnTo>
                  <a:pt x="44" y="63"/>
                </a:lnTo>
                <a:lnTo>
                  <a:pt x="41" y="66"/>
                </a:lnTo>
                <a:lnTo>
                  <a:pt x="44" y="66"/>
                </a:lnTo>
                <a:lnTo>
                  <a:pt x="47" y="72"/>
                </a:lnTo>
                <a:lnTo>
                  <a:pt x="47" y="76"/>
                </a:lnTo>
                <a:lnTo>
                  <a:pt x="47" y="76"/>
                </a:lnTo>
                <a:lnTo>
                  <a:pt x="50" y="79"/>
                </a:lnTo>
                <a:lnTo>
                  <a:pt x="56" y="82"/>
                </a:lnTo>
                <a:lnTo>
                  <a:pt x="56" y="88"/>
                </a:lnTo>
                <a:lnTo>
                  <a:pt x="56" y="91"/>
                </a:lnTo>
                <a:lnTo>
                  <a:pt x="56" y="94"/>
                </a:lnTo>
                <a:lnTo>
                  <a:pt x="60" y="97"/>
                </a:lnTo>
                <a:lnTo>
                  <a:pt x="63" y="97"/>
                </a:lnTo>
                <a:lnTo>
                  <a:pt x="63" y="104"/>
                </a:lnTo>
                <a:lnTo>
                  <a:pt x="66" y="104"/>
                </a:lnTo>
                <a:lnTo>
                  <a:pt x="66" y="107"/>
                </a:lnTo>
                <a:lnTo>
                  <a:pt x="72" y="110"/>
                </a:lnTo>
                <a:lnTo>
                  <a:pt x="69" y="113"/>
                </a:lnTo>
                <a:lnTo>
                  <a:pt x="69" y="119"/>
                </a:lnTo>
                <a:lnTo>
                  <a:pt x="75" y="122"/>
                </a:lnTo>
                <a:lnTo>
                  <a:pt x="75" y="122"/>
                </a:lnTo>
                <a:lnTo>
                  <a:pt x="78" y="129"/>
                </a:lnTo>
                <a:lnTo>
                  <a:pt x="78" y="135"/>
                </a:lnTo>
                <a:lnTo>
                  <a:pt x="81" y="135"/>
                </a:lnTo>
                <a:lnTo>
                  <a:pt x="81" y="138"/>
                </a:lnTo>
                <a:lnTo>
                  <a:pt x="81" y="141"/>
                </a:lnTo>
                <a:lnTo>
                  <a:pt x="81" y="144"/>
                </a:lnTo>
                <a:lnTo>
                  <a:pt x="85" y="151"/>
                </a:lnTo>
                <a:lnTo>
                  <a:pt x="88" y="147"/>
                </a:lnTo>
                <a:lnTo>
                  <a:pt x="88" y="144"/>
                </a:lnTo>
                <a:lnTo>
                  <a:pt x="88" y="144"/>
                </a:lnTo>
                <a:lnTo>
                  <a:pt x="88" y="144"/>
                </a:lnTo>
                <a:lnTo>
                  <a:pt x="88" y="147"/>
                </a:lnTo>
                <a:lnTo>
                  <a:pt x="91" y="151"/>
                </a:lnTo>
                <a:lnTo>
                  <a:pt x="94" y="157"/>
                </a:lnTo>
                <a:lnTo>
                  <a:pt x="91" y="160"/>
                </a:lnTo>
                <a:lnTo>
                  <a:pt x="91" y="166"/>
                </a:lnTo>
                <a:lnTo>
                  <a:pt x="94" y="169"/>
                </a:lnTo>
                <a:lnTo>
                  <a:pt x="94" y="173"/>
                </a:lnTo>
                <a:lnTo>
                  <a:pt x="97" y="176"/>
                </a:lnTo>
                <a:lnTo>
                  <a:pt x="97" y="179"/>
                </a:lnTo>
                <a:lnTo>
                  <a:pt x="97" y="179"/>
                </a:lnTo>
                <a:lnTo>
                  <a:pt x="97" y="182"/>
                </a:lnTo>
                <a:lnTo>
                  <a:pt x="97" y="185"/>
                </a:lnTo>
                <a:lnTo>
                  <a:pt x="100" y="188"/>
                </a:lnTo>
                <a:lnTo>
                  <a:pt x="100" y="191"/>
                </a:lnTo>
                <a:lnTo>
                  <a:pt x="97" y="198"/>
                </a:lnTo>
                <a:lnTo>
                  <a:pt x="97" y="201"/>
                </a:lnTo>
                <a:lnTo>
                  <a:pt x="100" y="204"/>
                </a:lnTo>
                <a:lnTo>
                  <a:pt x="103" y="207"/>
                </a:lnTo>
                <a:lnTo>
                  <a:pt x="106" y="207"/>
                </a:lnTo>
                <a:lnTo>
                  <a:pt x="106" y="207"/>
                </a:lnTo>
                <a:lnTo>
                  <a:pt x="106" y="204"/>
                </a:lnTo>
                <a:lnTo>
                  <a:pt x="106" y="204"/>
                </a:lnTo>
                <a:lnTo>
                  <a:pt x="110" y="204"/>
                </a:lnTo>
                <a:lnTo>
                  <a:pt x="113" y="207"/>
                </a:lnTo>
                <a:lnTo>
                  <a:pt x="113" y="210"/>
                </a:lnTo>
                <a:lnTo>
                  <a:pt x="116" y="210"/>
                </a:lnTo>
                <a:lnTo>
                  <a:pt x="116" y="216"/>
                </a:lnTo>
                <a:lnTo>
                  <a:pt x="119" y="216"/>
                </a:lnTo>
                <a:lnTo>
                  <a:pt x="119" y="219"/>
                </a:lnTo>
                <a:lnTo>
                  <a:pt x="122" y="223"/>
                </a:lnTo>
                <a:lnTo>
                  <a:pt x="122" y="226"/>
                </a:lnTo>
                <a:lnTo>
                  <a:pt x="119" y="232"/>
                </a:lnTo>
                <a:lnTo>
                  <a:pt x="113" y="235"/>
                </a:lnTo>
                <a:lnTo>
                  <a:pt x="110" y="235"/>
                </a:lnTo>
                <a:lnTo>
                  <a:pt x="110" y="229"/>
                </a:lnTo>
                <a:lnTo>
                  <a:pt x="110" y="229"/>
                </a:lnTo>
                <a:lnTo>
                  <a:pt x="106" y="226"/>
                </a:lnTo>
                <a:lnTo>
                  <a:pt x="106" y="219"/>
                </a:lnTo>
                <a:lnTo>
                  <a:pt x="103" y="216"/>
                </a:lnTo>
                <a:lnTo>
                  <a:pt x="100" y="216"/>
                </a:lnTo>
                <a:lnTo>
                  <a:pt x="97" y="213"/>
                </a:lnTo>
                <a:lnTo>
                  <a:pt x="94" y="210"/>
                </a:lnTo>
                <a:lnTo>
                  <a:pt x="91" y="210"/>
                </a:lnTo>
                <a:lnTo>
                  <a:pt x="85" y="201"/>
                </a:lnTo>
                <a:lnTo>
                  <a:pt x="81" y="198"/>
                </a:lnTo>
                <a:lnTo>
                  <a:pt x="78" y="198"/>
                </a:lnTo>
                <a:lnTo>
                  <a:pt x="78" y="194"/>
                </a:lnTo>
                <a:lnTo>
                  <a:pt x="75" y="194"/>
                </a:lnTo>
                <a:lnTo>
                  <a:pt x="72" y="191"/>
                </a:lnTo>
                <a:lnTo>
                  <a:pt x="72" y="188"/>
                </a:lnTo>
                <a:lnTo>
                  <a:pt x="75" y="182"/>
                </a:lnTo>
                <a:lnTo>
                  <a:pt x="75" y="176"/>
                </a:lnTo>
                <a:lnTo>
                  <a:pt x="75" y="166"/>
                </a:lnTo>
                <a:lnTo>
                  <a:pt x="72" y="160"/>
                </a:lnTo>
                <a:lnTo>
                  <a:pt x="72" y="157"/>
                </a:lnTo>
                <a:lnTo>
                  <a:pt x="69" y="157"/>
                </a:lnTo>
                <a:lnTo>
                  <a:pt x="66" y="157"/>
                </a:lnTo>
                <a:lnTo>
                  <a:pt x="60" y="151"/>
                </a:lnTo>
                <a:lnTo>
                  <a:pt x="60" y="144"/>
                </a:lnTo>
                <a:lnTo>
                  <a:pt x="60" y="141"/>
                </a:lnTo>
                <a:lnTo>
                  <a:pt x="56" y="141"/>
                </a:lnTo>
                <a:lnTo>
                  <a:pt x="53" y="144"/>
                </a:lnTo>
                <a:lnTo>
                  <a:pt x="53" y="144"/>
                </a:lnTo>
                <a:lnTo>
                  <a:pt x="50" y="144"/>
                </a:lnTo>
                <a:lnTo>
                  <a:pt x="47" y="141"/>
                </a:lnTo>
                <a:lnTo>
                  <a:pt x="47" y="141"/>
                </a:lnTo>
                <a:lnTo>
                  <a:pt x="47" y="141"/>
                </a:lnTo>
                <a:lnTo>
                  <a:pt x="44" y="141"/>
                </a:lnTo>
                <a:lnTo>
                  <a:pt x="44" y="138"/>
                </a:lnTo>
                <a:lnTo>
                  <a:pt x="38" y="135"/>
                </a:lnTo>
                <a:lnTo>
                  <a:pt x="35" y="135"/>
                </a:lnTo>
                <a:lnTo>
                  <a:pt x="35" y="132"/>
                </a:lnTo>
                <a:lnTo>
                  <a:pt x="35" y="129"/>
                </a:lnTo>
                <a:lnTo>
                  <a:pt x="28" y="126"/>
                </a:lnTo>
                <a:lnTo>
                  <a:pt x="25" y="119"/>
                </a:lnTo>
                <a:lnTo>
                  <a:pt x="28" y="119"/>
                </a:lnTo>
                <a:lnTo>
                  <a:pt x="31" y="119"/>
                </a:lnTo>
                <a:lnTo>
                  <a:pt x="35" y="119"/>
                </a:lnTo>
                <a:lnTo>
                  <a:pt x="41" y="122"/>
                </a:lnTo>
                <a:lnTo>
                  <a:pt x="44" y="122"/>
                </a:lnTo>
                <a:lnTo>
                  <a:pt x="44" y="122"/>
                </a:lnTo>
                <a:lnTo>
                  <a:pt x="44" y="119"/>
                </a:lnTo>
                <a:lnTo>
                  <a:pt x="41" y="119"/>
                </a:lnTo>
                <a:lnTo>
                  <a:pt x="41" y="116"/>
                </a:lnTo>
                <a:lnTo>
                  <a:pt x="44" y="116"/>
                </a:lnTo>
                <a:lnTo>
                  <a:pt x="44" y="116"/>
                </a:lnTo>
                <a:lnTo>
                  <a:pt x="47" y="113"/>
                </a:lnTo>
                <a:lnTo>
                  <a:pt x="44" y="110"/>
                </a:lnTo>
                <a:lnTo>
                  <a:pt x="44" y="107"/>
                </a:lnTo>
                <a:lnTo>
                  <a:pt x="47" y="107"/>
                </a:lnTo>
                <a:lnTo>
                  <a:pt x="44" y="101"/>
                </a:lnTo>
                <a:lnTo>
                  <a:pt x="44" y="101"/>
                </a:lnTo>
                <a:lnTo>
                  <a:pt x="41" y="94"/>
                </a:lnTo>
                <a:lnTo>
                  <a:pt x="35" y="91"/>
                </a:lnTo>
                <a:lnTo>
                  <a:pt x="35" y="88"/>
                </a:lnTo>
                <a:lnTo>
                  <a:pt x="31" y="82"/>
                </a:lnTo>
                <a:lnTo>
                  <a:pt x="25" y="76"/>
                </a:lnTo>
                <a:lnTo>
                  <a:pt x="25" y="79"/>
                </a:lnTo>
                <a:lnTo>
                  <a:pt x="22" y="72"/>
                </a:lnTo>
                <a:lnTo>
                  <a:pt x="19" y="69"/>
                </a:lnTo>
                <a:lnTo>
                  <a:pt x="19" y="63"/>
                </a:lnTo>
                <a:lnTo>
                  <a:pt x="19" y="60"/>
                </a:lnTo>
                <a:lnTo>
                  <a:pt x="16" y="57"/>
                </a:lnTo>
                <a:lnTo>
                  <a:pt x="16" y="54"/>
                </a:lnTo>
                <a:lnTo>
                  <a:pt x="16" y="51"/>
                </a:lnTo>
                <a:lnTo>
                  <a:pt x="16" y="47"/>
                </a:lnTo>
                <a:lnTo>
                  <a:pt x="13" y="44"/>
                </a:lnTo>
                <a:lnTo>
                  <a:pt x="13" y="41"/>
                </a:lnTo>
                <a:lnTo>
                  <a:pt x="13" y="41"/>
                </a:lnTo>
                <a:lnTo>
                  <a:pt x="13" y="38"/>
                </a:lnTo>
                <a:lnTo>
                  <a:pt x="6" y="32"/>
                </a:lnTo>
                <a:lnTo>
                  <a:pt x="6" y="29"/>
                </a:lnTo>
                <a:lnTo>
                  <a:pt x="6" y="25"/>
                </a:lnTo>
                <a:lnTo>
                  <a:pt x="10" y="25"/>
                </a:lnTo>
                <a:lnTo>
                  <a:pt x="6" y="22"/>
                </a:lnTo>
                <a:lnTo>
                  <a:pt x="3" y="16"/>
                </a:lnTo>
                <a:lnTo>
                  <a:pt x="0" y="7"/>
                </a:lnTo>
                <a:lnTo>
                  <a:pt x="0" y="4"/>
                </a:lnTo>
                <a:lnTo>
                  <a:pt x="0" y="4"/>
                </a:lnTo>
                <a:close/>
                <a:moveTo>
                  <a:pt x="103" y="191"/>
                </a:moveTo>
                <a:lnTo>
                  <a:pt x="103" y="188"/>
                </a:lnTo>
                <a:lnTo>
                  <a:pt x="103" y="188"/>
                </a:lnTo>
                <a:lnTo>
                  <a:pt x="103" y="185"/>
                </a:lnTo>
                <a:lnTo>
                  <a:pt x="100" y="185"/>
                </a:lnTo>
                <a:lnTo>
                  <a:pt x="103" y="188"/>
                </a:lnTo>
                <a:lnTo>
                  <a:pt x="103" y="191"/>
                </a:lnTo>
                <a:lnTo>
                  <a:pt x="103" y="191"/>
                </a:lnTo>
                <a:close/>
                <a:moveTo>
                  <a:pt x="106" y="201"/>
                </a:moveTo>
                <a:lnTo>
                  <a:pt x="106" y="201"/>
                </a:lnTo>
                <a:lnTo>
                  <a:pt x="106" y="201"/>
                </a:lnTo>
                <a:lnTo>
                  <a:pt x="110" y="201"/>
                </a:lnTo>
                <a:lnTo>
                  <a:pt x="106" y="201"/>
                </a:lnTo>
                <a:lnTo>
                  <a:pt x="106" y="201"/>
                </a:lnTo>
                <a:close/>
                <a:moveTo>
                  <a:pt x="356" y="194"/>
                </a:moveTo>
                <a:lnTo>
                  <a:pt x="360" y="194"/>
                </a:lnTo>
                <a:lnTo>
                  <a:pt x="360" y="191"/>
                </a:lnTo>
                <a:lnTo>
                  <a:pt x="356" y="191"/>
                </a:lnTo>
                <a:lnTo>
                  <a:pt x="356" y="194"/>
                </a:lnTo>
                <a:lnTo>
                  <a:pt x="356" y="194"/>
                </a:lnTo>
                <a:close/>
                <a:moveTo>
                  <a:pt x="356" y="198"/>
                </a:moveTo>
                <a:lnTo>
                  <a:pt x="356" y="198"/>
                </a:lnTo>
                <a:lnTo>
                  <a:pt x="356" y="194"/>
                </a:lnTo>
                <a:lnTo>
                  <a:pt x="356" y="194"/>
                </a:lnTo>
                <a:lnTo>
                  <a:pt x="356" y="198"/>
                </a:lnTo>
                <a:lnTo>
                  <a:pt x="356" y="198"/>
                </a:lnTo>
                <a:close/>
                <a:moveTo>
                  <a:pt x="353" y="207"/>
                </a:moveTo>
                <a:lnTo>
                  <a:pt x="356" y="204"/>
                </a:lnTo>
                <a:lnTo>
                  <a:pt x="356" y="201"/>
                </a:lnTo>
                <a:lnTo>
                  <a:pt x="353" y="207"/>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8" name="Freeform 186">
            <a:extLst>
              <a:ext uri="{FF2B5EF4-FFF2-40B4-BE49-F238E27FC236}">
                <a16:creationId xmlns:a16="http://schemas.microsoft.com/office/drawing/2014/main" id="{99A70323-1BE6-74D2-CAFB-2866B1FDE2E7}"/>
              </a:ext>
            </a:extLst>
          </p:cNvPr>
          <p:cNvSpPr>
            <a:spLocks noEditPoints="1"/>
          </p:cNvSpPr>
          <p:nvPr userDrawn="1"/>
        </p:nvSpPr>
        <p:spPr bwMode="auto">
          <a:xfrm>
            <a:off x="8613212" y="9048039"/>
            <a:ext cx="2431892" cy="2562226"/>
          </a:xfrm>
          <a:custGeom>
            <a:avLst/>
            <a:gdLst>
              <a:gd name="T0" fmla="*/ 146 w 245"/>
              <a:gd name="T1" fmla="*/ 35 h 258"/>
              <a:gd name="T2" fmla="*/ 148 w 245"/>
              <a:gd name="T3" fmla="*/ 34 h 258"/>
              <a:gd name="T4" fmla="*/ 150 w 245"/>
              <a:gd name="T5" fmla="*/ 34 h 258"/>
              <a:gd name="T6" fmla="*/ 154 w 245"/>
              <a:gd name="T7" fmla="*/ 35 h 258"/>
              <a:gd name="T8" fmla="*/ 141 w 245"/>
              <a:gd name="T9" fmla="*/ 7 h 258"/>
              <a:gd name="T10" fmla="*/ 133 w 245"/>
              <a:gd name="T11" fmla="*/ 19 h 258"/>
              <a:gd name="T12" fmla="*/ 124 w 245"/>
              <a:gd name="T13" fmla="*/ 21 h 258"/>
              <a:gd name="T14" fmla="*/ 112 w 245"/>
              <a:gd name="T15" fmla="*/ 19 h 258"/>
              <a:gd name="T16" fmla="*/ 106 w 245"/>
              <a:gd name="T17" fmla="*/ 21 h 258"/>
              <a:gd name="T18" fmla="*/ 91 w 245"/>
              <a:gd name="T19" fmla="*/ 24 h 258"/>
              <a:gd name="T20" fmla="*/ 90 w 245"/>
              <a:gd name="T21" fmla="*/ 8 h 258"/>
              <a:gd name="T22" fmla="*/ 83 w 245"/>
              <a:gd name="T23" fmla="*/ 0 h 258"/>
              <a:gd name="T24" fmla="*/ 62 w 245"/>
              <a:gd name="T25" fmla="*/ 9 h 258"/>
              <a:gd name="T26" fmla="*/ 65 w 245"/>
              <a:gd name="T27" fmla="*/ 18 h 258"/>
              <a:gd name="T28" fmla="*/ 43 w 245"/>
              <a:gd name="T29" fmla="*/ 26 h 258"/>
              <a:gd name="T30" fmla="*/ 25 w 245"/>
              <a:gd name="T31" fmla="*/ 25 h 258"/>
              <a:gd name="T32" fmla="*/ 28 w 245"/>
              <a:gd name="T33" fmla="*/ 44 h 258"/>
              <a:gd name="T34" fmla="*/ 14 w 245"/>
              <a:gd name="T35" fmla="*/ 63 h 258"/>
              <a:gd name="T36" fmla="*/ 3 w 245"/>
              <a:gd name="T37" fmla="*/ 77 h 258"/>
              <a:gd name="T38" fmla="*/ 7 w 245"/>
              <a:gd name="T39" fmla="*/ 94 h 258"/>
              <a:gd name="T40" fmla="*/ 22 w 245"/>
              <a:gd name="T41" fmla="*/ 105 h 258"/>
              <a:gd name="T42" fmla="*/ 38 w 245"/>
              <a:gd name="T43" fmla="*/ 103 h 258"/>
              <a:gd name="T44" fmla="*/ 53 w 245"/>
              <a:gd name="T45" fmla="*/ 103 h 258"/>
              <a:gd name="T46" fmla="*/ 71 w 245"/>
              <a:gd name="T47" fmla="*/ 118 h 258"/>
              <a:gd name="T48" fmla="*/ 88 w 245"/>
              <a:gd name="T49" fmla="*/ 135 h 258"/>
              <a:gd name="T50" fmla="*/ 104 w 245"/>
              <a:gd name="T51" fmla="*/ 166 h 258"/>
              <a:gd name="T52" fmla="*/ 119 w 245"/>
              <a:gd name="T53" fmla="*/ 179 h 258"/>
              <a:gd name="T54" fmla="*/ 127 w 245"/>
              <a:gd name="T55" fmla="*/ 199 h 258"/>
              <a:gd name="T56" fmla="*/ 130 w 245"/>
              <a:gd name="T57" fmla="*/ 213 h 258"/>
              <a:gd name="T58" fmla="*/ 117 w 245"/>
              <a:gd name="T59" fmla="*/ 225 h 258"/>
              <a:gd name="T60" fmla="*/ 119 w 245"/>
              <a:gd name="T61" fmla="*/ 235 h 258"/>
              <a:gd name="T62" fmla="*/ 135 w 245"/>
              <a:gd name="T63" fmla="*/ 246 h 258"/>
              <a:gd name="T64" fmla="*/ 144 w 245"/>
              <a:gd name="T65" fmla="*/ 250 h 258"/>
              <a:gd name="T66" fmla="*/ 149 w 245"/>
              <a:gd name="T67" fmla="*/ 238 h 258"/>
              <a:gd name="T68" fmla="*/ 153 w 245"/>
              <a:gd name="T69" fmla="*/ 233 h 258"/>
              <a:gd name="T70" fmla="*/ 147 w 245"/>
              <a:gd name="T71" fmla="*/ 244 h 258"/>
              <a:gd name="T72" fmla="*/ 164 w 245"/>
              <a:gd name="T73" fmla="*/ 219 h 258"/>
              <a:gd name="T74" fmla="*/ 164 w 245"/>
              <a:gd name="T75" fmla="*/ 208 h 258"/>
              <a:gd name="T76" fmla="*/ 168 w 245"/>
              <a:gd name="T77" fmla="*/ 197 h 258"/>
              <a:gd name="T78" fmla="*/ 184 w 245"/>
              <a:gd name="T79" fmla="*/ 186 h 258"/>
              <a:gd name="T80" fmla="*/ 193 w 245"/>
              <a:gd name="T81" fmla="*/ 181 h 258"/>
              <a:gd name="T82" fmla="*/ 199 w 245"/>
              <a:gd name="T83" fmla="*/ 181 h 258"/>
              <a:gd name="T84" fmla="*/ 210 w 245"/>
              <a:gd name="T85" fmla="*/ 170 h 258"/>
              <a:gd name="T86" fmla="*/ 217 w 245"/>
              <a:gd name="T87" fmla="*/ 150 h 258"/>
              <a:gd name="T88" fmla="*/ 221 w 245"/>
              <a:gd name="T89" fmla="*/ 123 h 258"/>
              <a:gd name="T90" fmla="*/ 219 w 245"/>
              <a:gd name="T91" fmla="*/ 114 h 258"/>
              <a:gd name="T92" fmla="*/ 227 w 245"/>
              <a:gd name="T93" fmla="*/ 112 h 258"/>
              <a:gd name="T94" fmla="*/ 244 w 245"/>
              <a:gd name="T95" fmla="*/ 88 h 258"/>
              <a:gd name="T96" fmla="*/ 238 w 245"/>
              <a:gd name="T97" fmla="*/ 66 h 258"/>
              <a:gd name="T98" fmla="*/ 214 w 245"/>
              <a:gd name="T99" fmla="*/ 52 h 258"/>
              <a:gd name="T100" fmla="*/ 201 w 245"/>
              <a:gd name="T101" fmla="*/ 52 h 258"/>
              <a:gd name="T102" fmla="*/ 190 w 245"/>
              <a:gd name="T103" fmla="*/ 50 h 258"/>
              <a:gd name="T104" fmla="*/ 184 w 245"/>
              <a:gd name="T105" fmla="*/ 55 h 258"/>
              <a:gd name="T106" fmla="*/ 178 w 245"/>
              <a:gd name="T107" fmla="*/ 45 h 258"/>
              <a:gd name="T108" fmla="*/ 170 w 245"/>
              <a:gd name="T109" fmla="*/ 40 h 258"/>
              <a:gd name="T110" fmla="*/ 160 w 245"/>
              <a:gd name="T111" fmla="*/ 43 h 258"/>
              <a:gd name="T112" fmla="*/ 151 w 245"/>
              <a:gd name="T113" fmla="*/ 52 h 258"/>
              <a:gd name="T114" fmla="*/ 148 w 245"/>
              <a:gd name="T115" fmla="*/ 46 h 258"/>
              <a:gd name="T116" fmla="*/ 160 w 245"/>
              <a:gd name="T117" fmla="*/ 37 h 258"/>
              <a:gd name="T118" fmla="*/ 146 w 245"/>
              <a:gd name="T119" fmla="*/ 39 h 258"/>
              <a:gd name="T120" fmla="*/ 139 w 245"/>
              <a:gd name="T121" fmla="*/ 40 h 258"/>
              <a:gd name="T122" fmla="*/ 149 w 245"/>
              <a:gd name="T123" fmla="*/ 28 h 258"/>
              <a:gd name="T124" fmla="*/ 143 w 245"/>
              <a:gd name="T125" fmla="*/ 1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5" h="258">
                <a:moveTo>
                  <a:pt x="143" y="38"/>
                </a:moveTo>
                <a:cubicBezTo>
                  <a:pt x="144" y="37"/>
                  <a:pt x="144" y="37"/>
                  <a:pt x="144" y="37"/>
                </a:cubicBezTo>
                <a:cubicBezTo>
                  <a:pt x="145" y="37"/>
                  <a:pt x="145" y="37"/>
                  <a:pt x="145" y="37"/>
                </a:cubicBezTo>
                <a:cubicBezTo>
                  <a:pt x="145" y="37"/>
                  <a:pt x="145" y="37"/>
                  <a:pt x="145" y="37"/>
                </a:cubicBezTo>
                <a:cubicBezTo>
                  <a:pt x="145" y="38"/>
                  <a:pt x="145" y="38"/>
                  <a:pt x="145" y="38"/>
                </a:cubicBezTo>
                <a:cubicBezTo>
                  <a:pt x="144" y="38"/>
                  <a:pt x="144" y="38"/>
                  <a:pt x="144" y="38"/>
                </a:cubicBezTo>
                <a:cubicBezTo>
                  <a:pt x="143" y="38"/>
                  <a:pt x="143" y="38"/>
                  <a:pt x="143" y="38"/>
                </a:cubicBezTo>
                <a:close/>
                <a:moveTo>
                  <a:pt x="142" y="38"/>
                </a:moveTo>
                <a:cubicBezTo>
                  <a:pt x="143" y="38"/>
                  <a:pt x="143" y="38"/>
                  <a:pt x="143" y="38"/>
                </a:cubicBezTo>
                <a:cubicBezTo>
                  <a:pt x="143" y="37"/>
                  <a:pt x="143" y="37"/>
                  <a:pt x="143" y="37"/>
                </a:cubicBezTo>
                <a:cubicBezTo>
                  <a:pt x="144" y="36"/>
                  <a:pt x="144" y="36"/>
                  <a:pt x="144" y="36"/>
                </a:cubicBezTo>
                <a:cubicBezTo>
                  <a:pt x="145" y="36"/>
                  <a:pt x="145" y="36"/>
                  <a:pt x="145" y="36"/>
                </a:cubicBezTo>
                <a:cubicBezTo>
                  <a:pt x="146" y="35"/>
                  <a:pt x="146" y="35"/>
                  <a:pt x="146" y="35"/>
                </a:cubicBezTo>
                <a:cubicBezTo>
                  <a:pt x="146" y="35"/>
                  <a:pt x="146" y="35"/>
                  <a:pt x="146" y="35"/>
                </a:cubicBezTo>
                <a:cubicBezTo>
                  <a:pt x="145" y="35"/>
                  <a:pt x="145" y="35"/>
                  <a:pt x="145" y="35"/>
                </a:cubicBezTo>
                <a:cubicBezTo>
                  <a:pt x="145" y="35"/>
                  <a:pt x="145" y="35"/>
                  <a:pt x="145" y="35"/>
                </a:cubicBezTo>
                <a:cubicBezTo>
                  <a:pt x="144" y="35"/>
                  <a:pt x="144" y="35"/>
                  <a:pt x="144" y="35"/>
                </a:cubicBezTo>
                <a:cubicBezTo>
                  <a:pt x="143" y="36"/>
                  <a:pt x="143" y="36"/>
                  <a:pt x="143" y="36"/>
                </a:cubicBezTo>
                <a:cubicBezTo>
                  <a:pt x="142" y="38"/>
                  <a:pt x="142" y="38"/>
                  <a:pt x="142" y="38"/>
                </a:cubicBezTo>
                <a:close/>
                <a:moveTo>
                  <a:pt x="148" y="34"/>
                </a:moveTo>
                <a:cubicBezTo>
                  <a:pt x="147" y="33"/>
                  <a:pt x="147" y="33"/>
                  <a:pt x="147" y="33"/>
                </a:cubicBezTo>
                <a:cubicBezTo>
                  <a:pt x="147" y="33"/>
                  <a:pt x="147" y="33"/>
                  <a:pt x="147" y="33"/>
                </a:cubicBezTo>
                <a:cubicBezTo>
                  <a:pt x="147" y="33"/>
                  <a:pt x="147" y="33"/>
                  <a:pt x="147" y="33"/>
                </a:cubicBezTo>
                <a:cubicBezTo>
                  <a:pt x="147" y="34"/>
                  <a:pt x="147" y="34"/>
                  <a:pt x="147" y="34"/>
                </a:cubicBezTo>
                <a:cubicBezTo>
                  <a:pt x="148" y="34"/>
                  <a:pt x="148" y="34"/>
                  <a:pt x="148" y="34"/>
                </a:cubicBezTo>
                <a:cubicBezTo>
                  <a:pt x="148" y="34"/>
                  <a:pt x="148" y="34"/>
                  <a:pt x="148" y="34"/>
                </a:cubicBezTo>
                <a:close/>
                <a:moveTo>
                  <a:pt x="148" y="32"/>
                </a:moveTo>
                <a:cubicBezTo>
                  <a:pt x="147" y="31"/>
                  <a:pt x="147" y="31"/>
                  <a:pt x="147" y="31"/>
                </a:cubicBezTo>
                <a:cubicBezTo>
                  <a:pt x="148" y="30"/>
                  <a:pt x="148" y="30"/>
                  <a:pt x="148" y="30"/>
                </a:cubicBezTo>
                <a:cubicBezTo>
                  <a:pt x="149" y="30"/>
                  <a:pt x="149" y="30"/>
                  <a:pt x="149" y="30"/>
                </a:cubicBezTo>
                <a:cubicBezTo>
                  <a:pt x="150" y="29"/>
                  <a:pt x="150" y="29"/>
                  <a:pt x="150" y="29"/>
                </a:cubicBezTo>
                <a:cubicBezTo>
                  <a:pt x="150" y="30"/>
                  <a:pt x="150" y="30"/>
                  <a:pt x="150" y="30"/>
                </a:cubicBezTo>
                <a:cubicBezTo>
                  <a:pt x="150" y="30"/>
                  <a:pt x="150" y="30"/>
                  <a:pt x="150" y="30"/>
                </a:cubicBezTo>
                <a:cubicBezTo>
                  <a:pt x="149" y="31"/>
                  <a:pt x="149" y="31"/>
                  <a:pt x="149" y="31"/>
                </a:cubicBezTo>
                <a:cubicBezTo>
                  <a:pt x="148" y="32"/>
                  <a:pt x="148" y="32"/>
                  <a:pt x="148" y="32"/>
                </a:cubicBezTo>
                <a:cubicBezTo>
                  <a:pt x="148" y="32"/>
                  <a:pt x="148" y="32"/>
                  <a:pt x="148" y="32"/>
                </a:cubicBezTo>
                <a:close/>
                <a:moveTo>
                  <a:pt x="148" y="33"/>
                </a:moveTo>
                <a:cubicBezTo>
                  <a:pt x="149" y="33"/>
                  <a:pt x="149" y="33"/>
                  <a:pt x="149" y="33"/>
                </a:cubicBezTo>
                <a:cubicBezTo>
                  <a:pt x="150" y="34"/>
                  <a:pt x="150" y="34"/>
                  <a:pt x="150" y="34"/>
                </a:cubicBezTo>
                <a:cubicBezTo>
                  <a:pt x="151" y="34"/>
                  <a:pt x="151" y="34"/>
                  <a:pt x="151" y="34"/>
                </a:cubicBezTo>
                <a:cubicBezTo>
                  <a:pt x="151" y="33"/>
                  <a:pt x="151" y="33"/>
                  <a:pt x="151" y="33"/>
                </a:cubicBezTo>
                <a:cubicBezTo>
                  <a:pt x="152" y="33"/>
                  <a:pt x="152" y="33"/>
                  <a:pt x="152" y="33"/>
                </a:cubicBezTo>
                <a:cubicBezTo>
                  <a:pt x="151" y="32"/>
                  <a:pt x="151" y="32"/>
                  <a:pt x="151" y="32"/>
                </a:cubicBezTo>
                <a:cubicBezTo>
                  <a:pt x="149" y="33"/>
                  <a:pt x="149" y="33"/>
                  <a:pt x="149" y="33"/>
                </a:cubicBezTo>
                <a:cubicBezTo>
                  <a:pt x="148" y="33"/>
                  <a:pt x="148" y="33"/>
                  <a:pt x="148" y="33"/>
                </a:cubicBezTo>
                <a:cubicBezTo>
                  <a:pt x="148" y="33"/>
                  <a:pt x="148" y="33"/>
                  <a:pt x="148" y="33"/>
                </a:cubicBezTo>
                <a:close/>
                <a:moveTo>
                  <a:pt x="152" y="35"/>
                </a:moveTo>
                <a:cubicBezTo>
                  <a:pt x="153" y="34"/>
                  <a:pt x="153" y="34"/>
                  <a:pt x="153" y="34"/>
                </a:cubicBezTo>
                <a:cubicBezTo>
                  <a:pt x="153" y="34"/>
                  <a:pt x="153" y="34"/>
                  <a:pt x="153" y="34"/>
                </a:cubicBezTo>
                <a:cubicBezTo>
                  <a:pt x="154" y="34"/>
                  <a:pt x="154" y="34"/>
                  <a:pt x="154" y="34"/>
                </a:cubicBezTo>
                <a:cubicBezTo>
                  <a:pt x="154" y="34"/>
                  <a:pt x="154" y="34"/>
                  <a:pt x="154" y="34"/>
                </a:cubicBezTo>
                <a:cubicBezTo>
                  <a:pt x="154" y="35"/>
                  <a:pt x="154" y="35"/>
                  <a:pt x="154" y="35"/>
                </a:cubicBezTo>
                <a:cubicBezTo>
                  <a:pt x="153" y="35"/>
                  <a:pt x="153" y="35"/>
                  <a:pt x="153" y="35"/>
                </a:cubicBezTo>
                <a:cubicBezTo>
                  <a:pt x="152" y="35"/>
                  <a:pt x="152" y="35"/>
                  <a:pt x="152" y="35"/>
                </a:cubicBezTo>
                <a:close/>
                <a:moveTo>
                  <a:pt x="148" y="22"/>
                </a:moveTo>
                <a:cubicBezTo>
                  <a:pt x="147" y="21"/>
                  <a:pt x="147" y="21"/>
                  <a:pt x="147" y="21"/>
                </a:cubicBezTo>
                <a:cubicBezTo>
                  <a:pt x="147" y="19"/>
                  <a:pt x="147" y="19"/>
                  <a:pt x="147" y="19"/>
                </a:cubicBezTo>
                <a:cubicBezTo>
                  <a:pt x="147" y="19"/>
                  <a:pt x="147" y="19"/>
                  <a:pt x="147" y="19"/>
                </a:cubicBezTo>
                <a:cubicBezTo>
                  <a:pt x="148" y="19"/>
                  <a:pt x="148" y="19"/>
                  <a:pt x="148" y="19"/>
                </a:cubicBezTo>
                <a:cubicBezTo>
                  <a:pt x="149" y="21"/>
                  <a:pt x="149" y="21"/>
                  <a:pt x="149" y="21"/>
                </a:cubicBezTo>
                <a:cubicBezTo>
                  <a:pt x="148" y="22"/>
                  <a:pt x="148" y="22"/>
                  <a:pt x="148" y="22"/>
                </a:cubicBezTo>
                <a:cubicBezTo>
                  <a:pt x="148" y="22"/>
                  <a:pt x="148" y="22"/>
                  <a:pt x="148" y="22"/>
                </a:cubicBezTo>
                <a:close/>
                <a:moveTo>
                  <a:pt x="142" y="9"/>
                </a:moveTo>
                <a:cubicBezTo>
                  <a:pt x="142" y="9"/>
                  <a:pt x="142" y="9"/>
                  <a:pt x="142" y="9"/>
                </a:cubicBezTo>
                <a:cubicBezTo>
                  <a:pt x="141" y="7"/>
                  <a:pt x="141" y="7"/>
                  <a:pt x="141" y="7"/>
                </a:cubicBezTo>
                <a:cubicBezTo>
                  <a:pt x="141" y="6"/>
                  <a:pt x="141" y="6"/>
                  <a:pt x="141" y="6"/>
                </a:cubicBezTo>
                <a:cubicBezTo>
                  <a:pt x="140" y="6"/>
                  <a:pt x="140" y="6"/>
                  <a:pt x="140" y="6"/>
                </a:cubicBezTo>
                <a:cubicBezTo>
                  <a:pt x="140" y="7"/>
                  <a:pt x="140" y="7"/>
                  <a:pt x="140" y="7"/>
                </a:cubicBezTo>
                <a:cubicBezTo>
                  <a:pt x="140" y="8"/>
                  <a:pt x="140" y="8"/>
                  <a:pt x="140" y="8"/>
                </a:cubicBezTo>
                <a:cubicBezTo>
                  <a:pt x="138" y="9"/>
                  <a:pt x="138" y="9"/>
                  <a:pt x="138" y="9"/>
                </a:cubicBezTo>
                <a:cubicBezTo>
                  <a:pt x="138" y="9"/>
                  <a:pt x="138" y="9"/>
                  <a:pt x="138" y="9"/>
                </a:cubicBezTo>
                <a:cubicBezTo>
                  <a:pt x="138" y="9"/>
                  <a:pt x="138" y="9"/>
                  <a:pt x="138" y="9"/>
                </a:cubicBezTo>
                <a:cubicBezTo>
                  <a:pt x="138" y="10"/>
                  <a:pt x="138" y="10"/>
                  <a:pt x="138" y="10"/>
                </a:cubicBezTo>
                <a:cubicBezTo>
                  <a:pt x="136" y="12"/>
                  <a:pt x="136" y="12"/>
                  <a:pt x="136" y="12"/>
                </a:cubicBezTo>
                <a:cubicBezTo>
                  <a:pt x="135" y="14"/>
                  <a:pt x="135" y="14"/>
                  <a:pt x="135" y="14"/>
                </a:cubicBezTo>
                <a:cubicBezTo>
                  <a:pt x="135" y="15"/>
                  <a:pt x="135" y="15"/>
                  <a:pt x="135" y="15"/>
                </a:cubicBezTo>
                <a:cubicBezTo>
                  <a:pt x="134" y="17"/>
                  <a:pt x="134" y="17"/>
                  <a:pt x="134" y="17"/>
                </a:cubicBezTo>
                <a:cubicBezTo>
                  <a:pt x="133" y="19"/>
                  <a:pt x="133" y="19"/>
                  <a:pt x="133" y="19"/>
                </a:cubicBezTo>
                <a:cubicBezTo>
                  <a:pt x="132" y="21"/>
                  <a:pt x="132" y="21"/>
                  <a:pt x="132" y="21"/>
                </a:cubicBezTo>
                <a:cubicBezTo>
                  <a:pt x="131" y="21"/>
                  <a:pt x="131" y="21"/>
                  <a:pt x="131" y="21"/>
                </a:cubicBezTo>
                <a:cubicBezTo>
                  <a:pt x="130" y="21"/>
                  <a:pt x="130" y="21"/>
                  <a:pt x="130" y="21"/>
                </a:cubicBezTo>
                <a:cubicBezTo>
                  <a:pt x="130" y="22"/>
                  <a:pt x="130" y="22"/>
                  <a:pt x="130" y="22"/>
                </a:cubicBezTo>
                <a:cubicBezTo>
                  <a:pt x="129" y="23"/>
                  <a:pt x="129" y="23"/>
                  <a:pt x="129" y="23"/>
                </a:cubicBezTo>
                <a:cubicBezTo>
                  <a:pt x="128" y="23"/>
                  <a:pt x="128" y="23"/>
                  <a:pt x="128" y="23"/>
                </a:cubicBezTo>
                <a:cubicBezTo>
                  <a:pt x="128" y="21"/>
                  <a:pt x="128" y="21"/>
                  <a:pt x="128" y="21"/>
                </a:cubicBezTo>
                <a:cubicBezTo>
                  <a:pt x="127" y="21"/>
                  <a:pt x="127" y="21"/>
                  <a:pt x="127" y="21"/>
                </a:cubicBezTo>
                <a:cubicBezTo>
                  <a:pt x="127" y="20"/>
                  <a:pt x="127" y="20"/>
                  <a:pt x="127" y="20"/>
                </a:cubicBezTo>
                <a:cubicBezTo>
                  <a:pt x="127" y="20"/>
                  <a:pt x="127" y="20"/>
                  <a:pt x="127" y="20"/>
                </a:cubicBezTo>
                <a:cubicBezTo>
                  <a:pt x="126" y="21"/>
                  <a:pt x="126" y="21"/>
                  <a:pt x="126" y="21"/>
                </a:cubicBezTo>
                <a:cubicBezTo>
                  <a:pt x="125" y="21"/>
                  <a:pt x="125" y="21"/>
                  <a:pt x="125" y="21"/>
                </a:cubicBezTo>
                <a:cubicBezTo>
                  <a:pt x="124" y="21"/>
                  <a:pt x="124" y="21"/>
                  <a:pt x="124" y="21"/>
                </a:cubicBezTo>
                <a:cubicBezTo>
                  <a:pt x="123" y="20"/>
                  <a:pt x="123" y="20"/>
                  <a:pt x="123" y="20"/>
                </a:cubicBezTo>
                <a:cubicBezTo>
                  <a:pt x="123" y="20"/>
                  <a:pt x="123" y="20"/>
                  <a:pt x="123" y="20"/>
                </a:cubicBezTo>
                <a:cubicBezTo>
                  <a:pt x="123" y="19"/>
                  <a:pt x="123" y="19"/>
                  <a:pt x="123" y="19"/>
                </a:cubicBezTo>
                <a:cubicBezTo>
                  <a:pt x="122" y="18"/>
                  <a:pt x="122" y="18"/>
                  <a:pt x="122" y="18"/>
                </a:cubicBezTo>
                <a:cubicBezTo>
                  <a:pt x="122" y="18"/>
                  <a:pt x="122" y="18"/>
                  <a:pt x="122" y="18"/>
                </a:cubicBezTo>
                <a:cubicBezTo>
                  <a:pt x="121" y="18"/>
                  <a:pt x="121" y="18"/>
                  <a:pt x="121" y="18"/>
                </a:cubicBezTo>
                <a:cubicBezTo>
                  <a:pt x="120" y="16"/>
                  <a:pt x="120" y="16"/>
                  <a:pt x="120" y="16"/>
                </a:cubicBezTo>
                <a:cubicBezTo>
                  <a:pt x="118" y="16"/>
                  <a:pt x="118" y="16"/>
                  <a:pt x="118" y="16"/>
                </a:cubicBezTo>
                <a:cubicBezTo>
                  <a:pt x="117" y="17"/>
                  <a:pt x="117" y="17"/>
                  <a:pt x="117" y="17"/>
                </a:cubicBezTo>
                <a:cubicBezTo>
                  <a:pt x="115" y="17"/>
                  <a:pt x="115" y="17"/>
                  <a:pt x="115" y="17"/>
                </a:cubicBezTo>
                <a:cubicBezTo>
                  <a:pt x="113" y="17"/>
                  <a:pt x="113" y="17"/>
                  <a:pt x="113" y="17"/>
                </a:cubicBezTo>
                <a:cubicBezTo>
                  <a:pt x="112" y="17"/>
                  <a:pt x="112" y="17"/>
                  <a:pt x="112" y="17"/>
                </a:cubicBezTo>
                <a:cubicBezTo>
                  <a:pt x="112" y="19"/>
                  <a:pt x="112" y="19"/>
                  <a:pt x="112" y="19"/>
                </a:cubicBezTo>
                <a:cubicBezTo>
                  <a:pt x="113" y="20"/>
                  <a:pt x="113" y="20"/>
                  <a:pt x="113" y="20"/>
                </a:cubicBezTo>
                <a:cubicBezTo>
                  <a:pt x="113" y="20"/>
                  <a:pt x="113" y="20"/>
                  <a:pt x="113" y="20"/>
                </a:cubicBezTo>
                <a:cubicBezTo>
                  <a:pt x="114" y="22"/>
                  <a:pt x="114" y="22"/>
                  <a:pt x="114" y="22"/>
                </a:cubicBezTo>
                <a:cubicBezTo>
                  <a:pt x="114" y="22"/>
                  <a:pt x="114" y="22"/>
                  <a:pt x="114" y="22"/>
                </a:cubicBezTo>
                <a:cubicBezTo>
                  <a:pt x="112" y="22"/>
                  <a:pt x="112" y="22"/>
                  <a:pt x="112" y="22"/>
                </a:cubicBezTo>
                <a:cubicBezTo>
                  <a:pt x="111" y="22"/>
                  <a:pt x="111" y="22"/>
                  <a:pt x="111" y="22"/>
                </a:cubicBezTo>
                <a:cubicBezTo>
                  <a:pt x="111" y="22"/>
                  <a:pt x="111" y="22"/>
                  <a:pt x="111" y="22"/>
                </a:cubicBezTo>
                <a:cubicBezTo>
                  <a:pt x="110" y="22"/>
                  <a:pt x="110" y="22"/>
                  <a:pt x="110" y="22"/>
                </a:cubicBezTo>
                <a:cubicBezTo>
                  <a:pt x="110" y="22"/>
                  <a:pt x="110" y="22"/>
                  <a:pt x="110" y="22"/>
                </a:cubicBezTo>
                <a:cubicBezTo>
                  <a:pt x="110" y="22"/>
                  <a:pt x="110" y="22"/>
                  <a:pt x="110" y="22"/>
                </a:cubicBezTo>
                <a:cubicBezTo>
                  <a:pt x="108" y="22"/>
                  <a:pt x="108" y="22"/>
                  <a:pt x="108" y="22"/>
                </a:cubicBezTo>
                <a:cubicBezTo>
                  <a:pt x="107" y="22"/>
                  <a:pt x="107" y="22"/>
                  <a:pt x="107" y="22"/>
                </a:cubicBezTo>
                <a:cubicBezTo>
                  <a:pt x="106" y="21"/>
                  <a:pt x="106" y="21"/>
                  <a:pt x="106" y="21"/>
                </a:cubicBezTo>
                <a:cubicBezTo>
                  <a:pt x="104" y="21"/>
                  <a:pt x="104" y="21"/>
                  <a:pt x="104" y="21"/>
                </a:cubicBezTo>
                <a:cubicBezTo>
                  <a:pt x="103" y="22"/>
                  <a:pt x="103" y="22"/>
                  <a:pt x="103" y="22"/>
                </a:cubicBezTo>
                <a:cubicBezTo>
                  <a:pt x="102" y="24"/>
                  <a:pt x="102" y="24"/>
                  <a:pt x="102" y="24"/>
                </a:cubicBezTo>
                <a:cubicBezTo>
                  <a:pt x="100" y="24"/>
                  <a:pt x="100" y="24"/>
                  <a:pt x="100" y="24"/>
                </a:cubicBezTo>
                <a:cubicBezTo>
                  <a:pt x="98" y="24"/>
                  <a:pt x="98" y="24"/>
                  <a:pt x="98" y="24"/>
                </a:cubicBezTo>
                <a:cubicBezTo>
                  <a:pt x="98" y="25"/>
                  <a:pt x="98" y="25"/>
                  <a:pt x="98" y="25"/>
                </a:cubicBezTo>
                <a:cubicBezTo>
                  <a:pt x="97" y="26"/>
                  <a:pt x="97" y="26"/>
                  <a:pt x="97" y="26"/>
                </a:cubicBezTo>
                <a:cubicBezTo>
                  <a:pt x="96" y="26"/>
                  <a:pt x="96" y="26"/>
                  <a:pt x="96" y="26"/>
                </a:cubicBezTo>
                <a:cubicBezTo>
                  <a:pt x="96" y="26"/>
                  <a:pt x="96" y="26"/>
                  <a:pt x="96" y="26"/>
                </a:cubicBezTo>
                <a:cubicBezTo>
                  <a:pt x="95" y="26"/>
                  <a:pt x="95" y="26"/>
                  <a:pt x="95" y="26"/>
                </a:cubicBezTo>
                <a:cubicBezTo>
                  <a:pt x="94" y="27"/>
                  <a:pt x="94" y="27"/>
                  <a:pt x="94" y="27"/>
                </a:cubicBezTo>
                <a:cubicBezTo>
                  <a:pt x="93" y="26"/>
                  <a:pt x="93" y="26"/>
                  <a:pt x="93" y="26"/>
                </a:cubicBezTo>
                <a:cubicBezTo>
                  <a:pt x="91" y="24"/>
                  <a:pt x="91" y="24"/>
                  <a:pt x="91" y="24"/>
                </a:cubicBezTo>
                <a:cubicBezTo>
                  <a:pt x="90" y="23"/>
                  <a:pt x="90" y="23"/>
                  <a:pt x="90" y="23"/>
                </a:cubicBezTo>
                <a:cubicBezTo>
                  <a:pt x="90" y="22"/>
                  <a:pt x="90" y="22"/>
                  <a:pt x="90" y="22"/>
                </a:cubicBezTo>
                <a:cubicBezTo>
                  <a:pt x="88" y="21"/>
                  <a:pt x="88" y="21"/>
                  <a:pt x="88" y="21"/>
                </a:cubicBezTo>
                <a:cubicBezTo>
                  <a:pt x="87" y="20"/>
                  <a:pt x="87" y="20"/>
                  <a:pt x="87" y="20"/>
                </a:cubicBezTo>
                <a:cubicBezTo>
                  <a:pt x="87" y="18"/>
                  <a:pt x="87" y="18"/>
                  <a:pt x="87" y="18"/>
                </a:cubicBezTo>
                <a:cubicBezTo>
                  <a:pt x="87" y="18"/>
                  <a:pt x="87" y="18"/>
                  <a:pt x="87" y="18"/>
                </a:cubicBezTo>
                <a:cubicBezTo>
                  <a:pt x="87" y="17"/>
                  <a:pt x="87" y="17"/>
                  <a:pt x="87" y="17"/>
                </a:cubicBezTo>
                <a:cubicBezTo>
                  <a:pt x="87" y="16"/>
                  <a:pt x="87" y="16"/>
                  <a:pt x="87" y="16"/>
                </a:cubicBezTo>
                <a:cubicBezTo>
                  <a:pt x="88" y="15"/>
                  <a:pt x="88" y="15"/>
                  <a:pt x="88" y="15"/>
                </a:cubicBezTo>
                <a:cubicBezTo>
                  <a:pt x="88" y="13"/>
                  <a:pt x="88" y="13"/>
                  <a:pt x="88" y="13"/>
                </a:cubicBezTo>
                <a:cubicBezTo>
                  <a:pt x="89" y="11"/>
                  <a:pt x="89" y="11"/>
                  <a:pt x="89" y="11"/>
                </a:cubicBezTo>
                <a:cubicBezTo>
                  <a:pt x="89" y="10"/>
                  <a:pt x="89" y="10"/>
                  <a:pt x="89" y="10"/>
                </a:cubicBezTo>
                <a:cubicBezTo>
                  <a:pt x="90" y="8"/>
                  <a:pt x="90" y="8"/>
                  <a:pt x="90" y="8"/>
                </a:cubicBezTo>
                <a:cubicBezTo>
                  <a:pt x="90" y="8"/>
                  <a:pt x="90" y="8"/>
                  <a:pt x="90" y="8"/>
                </a:cubicBezTo>
                <a:cubicBezTo>
                  <a:pt x="89" y="8"/>
                  <a:pt x="89" y="8"/>
                  <a:pt x="89" y="8"/>
                </a:cubicBezTo>
                <a:cubicBezTo>
                  <a:pt x="89" y="7"/>
                  <a:pt x="89" y="7"/>
                  <a:pt x="89" y="7"/>
                </a:cubicBezTo>
                <a:cubicBezTo>
                  <a:pt x="88" y="6"/>
                  <a:pt x="88" y="6"/>
                  <a:pt x="88" y="6"/>
                </a:cubicBezTo>
                <a:cubicBezTo>
                  <a:pt x="87" y="6"/>
                  <a:pt x="87" y="6"/>
                  <a:pt x="87" y="6"/>
                </a:cubicBezTo>
                <a:cubicBezTo>
                  <a:pt x="86" y="5"/>
                  <a:pt x="86" y="5"/>
                  <a:pt x="86" y="5"/>
                </a:cubicBezTo>
                <a:cubicBezTo>
                  <a:pt x="86" y="5"/>
                  <a:pt x="86" y="5"/>
                  <a:pt x="86" y="5"/>
                </a:cubicBezTo>
                <a:cubicBezTo>
                  <a:pt x="87" y="3"/>
                  <a:pt x="87" y="3"/>
                  <a:pt x="87" y="3"/>
                </a:cubicBezTo>
                <a:cubicBezTo>
                  <a:pt x="87" y="2"/>
                  <a:pt x="87" y="2"/>
                  <a:pt x="87" y="2"/>
                </a:cubicBezTo>
                <a:cubicBezTo>
                  <a:pt x="86" y="0"/>
                  <a:pt x="86" y="0"/>
                  <a:pt x="86" y="0"/>
                </a:cubicBezTo>
                <a:cubicBezTo>
                  <a:pt x="85" y="0"/>
                  <a:pt x="85" y="0"/>
                  <a:pt x="85" y="0"/>
                </a:cubicBezTo>
                <a:cubicBezTo>
                  <a:pt x="84" y="1"/>
                  <a:pt x="84" y="1"/>
                  <a:pt x="84" y="1"/>
                </a:cubicBezTo>
                <a:cubicBezTo>
                  <a:pt x="83" y="0"/>
                  <a:pt x="83" y="0"/>
                  <a:pt x="83" y="0"/>
                </a:cubicBezTo>
                <a:cubicBezTo>
                  <a:pt x="83" y="0"/>
                  <a:pt x="83" y="0"/>
                  <a:pt x="83" y="0"/>
                </a:cubicBezTo>
                <a:cubicBezTo>
                  <a:pt x="83" y="1"/>
                  <a:pt x="83" y="1"/>
                  <a:pt x="83" y="1"/>
                </a:cubicBezTo>
                <a:cubicBezTo>
                  <a:pt x="82" y="3"/>
                  <a:pt x="82" y="3"/>
                  <a:pt x="82" y="3"/>
                </a:cubicBezTo>
                <a:cubicBezTo>
                  <a:pt x="79" y="5"/>
                  <a:pt x="79" y="5"/>
                  <a:pt x="79" y="5"/>
                </a:cubicBezTo>
                <a:cubicBezTo>
                  <a:pt x="77" y="5"/>
                  <a:pt x="77" y="5"/>
                  <a:pt x="77" y="5"/>
                </a:cubicBezTo>
                <a:cubicBezTo>
                  <a:pt x="74" y="7"/>
                  <a:pt x="74" y="7"/>
                  <a:pt x="74" y="7"/>
                </a:cubicBezTo>
                <a:cubicBezTo>
                  <a:pt x="73" y="6"/>
                  <a:pt x="73" y="6"/>
                  <a:pt x="73" y="6"/>
                </a:cubicBezTo>
                <a:cubicBezTo>
                  <a:pt x="71" y="6"/>
                  <a:pt x="71" y="6"/>
                  <a:pt x="71" y="6"/>
                </a:cubicBezTo>
                <a:cubicBezTo>
                  <a:pt x="69" y="8"/>
                  <a:pt x="69" y="8"/>
                  <a:pt x="69" y="8"/>
                </a:cubicBezTo>
                <a:cubicBezTo>
                  <a:pt x="67" y="9"/>
                  <a:pt x="67" y="9"/>
                  <a:pt x="67" y="9"/>
                </a:cubicBezTo>
                <a:cubicBezTo>
                  <a:pt x="67" y="8"/>
                  <a:pt x="67" y="8"/>
                  <a:pt x="67" y="8"/>
                </a:cubicBezTo>
                <a:cubicBezTo>
                  <a:pt x="64" y="9"/>
                  <a:pt x="64" y="9"/>
                  <a:pt x="64" y="9"/>
                </a:cubicBezTo>
                <a:cubicBezTo>
                  <a:pt x="62" y="9"/>
                  <a:pt x="62" y="9"/>
                  <a:pt x="62" y="9"/>
                </a:cubicBezTo>
                <a:cubicBezTo>
                  <a:pt x="60" y="8"/>
                  <a:pt x="60" y="8"/>
                  <a:pt x="60" y="8"/>
                </a:cubicBezTo>
                <a:cubicBezTo>
                  <a:pt x="58" y="7"/>
                  <a:pt x="58" y="7"/>
                  <a:pt x="58" y="7"/>
                </a:cubicBezTo>
                <a:cubicBezTo>
                  <a:pt x="56" y="7"/>
                  <a:pt x="56" y="7"/>
                  <a:pt x="56" y="7"/>
                </a:cubicBezTo>
                <a:cubicBezTo>
                  <a:pt x="57" y="8"/>
                  <a:pt x="57" y="8"/>
                  <a:pt x="57" y="8"/>
                </a:cubicBezTo>
                <a:cubicBezTo>
                  <a:pt x="58" y="9"/>
                  <a:pt x="58" y="9"/>
                  <a:pt x="58" y="9"/>
                </a:cubicBezTo>
                <a:cubicBezTo>
                  <a:pt x="60" y="10"/>
                  <a:pt x="60" y="10"/>
                  <a:pt x="60" y="10"/>
                </a:cubicBezTo>
                <a:cubicBezTo>
                  <a:pt x="60" y="11"/>
                  <a:pt x="60" y="11"/>
                  <a:pt x="60" y="11"/>
                </a:cubicBezTo>
                <a:cubicBezTo>
                  <a:pt x="58" y="14"/>
                  <a:pt x="58" y="14"/>
                  <a:pt x="58" y="14"/>
                </a:cubicBezTo>
                <a:cubicBezTo>
                  <a:pt x="59" y="15"/>
                  <a:pt x="59" y="15"/>
                  <a:pt x="59" y="15"/>
                </a:cubicBezTo>
                <a:cubicBezTo>
                  <a:pt x="59" y="17"/>
                  <a:pt x="59" y="17"/>
                  <a:pt x="59" y="17"/>
                </a:cubicBezTo>
                <a:cubicBezTo>
                  <a:pt x="61" y="18"/>
                  <a:pt x="61" y="18"/>
                  <a:pt x="61" y="18"/>
                </a:cubicBezTo>
                <a:cubicBezTo>
                  <a:pt x="63" y="18"/>
                  <a:pt x="63" y="18"/>
                  <a:pt x="63" y="18"/>
                </a:cubicBezTo>
                <a:cubicBezTo>
                  <a:pt x="65" y="18"/>
                  <a:pt x="65" y="18"/>
                  <a:pt x="65" y="18"/>
                </a:cubicBezTo>
                <a:cubicBezTo>
                  <a:pt x="65" y="20"/>
                  <a:pt x="65" y="20"/>
                  <a:pt x="65" y="20"/>
                </a:cubicBezTo>
                <a:cubicBezTo>
                  <a:pt x="64" y="20"/>
                  <a:pt x="64" y="20"/>
                  <a:pt x="64" y="20"/>
                </a:cubicBezTo>
                <a:cubicBezTo>
                  <a:pt x="61" y="21"/>
                  <a:pt x="61" y="21"/>
                  <a:pt x="61" y="21"/>
                </a:cubicBezTo>
                <a:cubicBezTo>
                  <a:pt x="60" y="22"/>
                  <a:pt x="60" y="22"/>
                  <a:pt x="60" y="22"/>
                </a:cubicBezTo>
                <a:cubicBezTo>
                  <a:pt x="59" y="24"/>
                  <a:pt x="59" y="24"/>
                  <a:pt x="59" y="24"/>
                </a:cubicBezTo>
                <a:cubicBezTo>
                  <a:pt x="56" y="25"/>
                  <a:pt x="56" y="25"/>
                  <a:pt x="56" y="25"/>
                </a:cubicBezTo>
                <a:cubicBezTo>
                  <a:pt x="55" y="27"/>
                  <a:pt x="55" y="27"/>
                  <a:pt x="55" y="27"/>
                </a:cubicBezTo>
                <a:cubicBezTo>
                  <a:pt x="53" y="28"/>
                  <a:pt x="53" y="28"/>
                  <a:pt x="53" y="28"/>
                </a:cubicBezTo>
                <a:cubicBezTo>
                  <a:pt x="52" y="30"/>
                  <a:pt x="52" y="30"/>
                  <a:pt x="52" y="30"/>
                </a:cubicBezTo>
                <a:cubicBezTo>
                  <a:pt x="49" y="30"/>
                  <a:pt x="49" y="30"/>
                  <a:pt x="49" y="30"/>
                </a:cubicBezTo>
                <a:cubicBezTo>
                  <a:pt x="48" y="30"/>
                  <a:pt x="48" y="30"/>
                  <a:pt x="48" y="30"/>
                </a:cubicBezTo>
                <a:cubicBezTo>
                  <a:pt x="45" y="28"/>
                  <a:pt x="45" y="28"/>
                  <a:pt x="45" y="28"/>
                </a:cubicBezTo>
                <a:cubicBezTo>
                  <a:pt x="43" y="26"/>
                  <a:pt x="43" y="26"/>
                  <a:pt x="43" y="26"/>
                </a:cubicBezTo>
                <a:cubicBezTo>
                  <a:pt x="41" y="26"/>
                  <a:pt x="41" y="26"/>
                  <a:pt x="41" y="26"/>
                </a:cubicBezTo>
                <a:cubicBezTo>
                  <a:pt x="41" y="25"/>
                  <a:pt x="41" y="25"/>
                  <a:pt x="41" y="25"/>
                </a:cubicBezTo>
                <a:cubicBezTo>
                  <a:pt x="41" y="23"/>
                  <a:pt x="41" y="23"/>
                  <a:pt x="41" y="23"/>
                </a:cubicBezTo>
                <a:cubicBezTo>
                  <a:pt x="40" y="22"/>
                  <a:pt x="40" y="22"/>
                  <a:pt x="40" y="22"/>
                </a:cubicBezTo>
                <a:cubicBezTo>
                  <a:pt x="39" y="21"/>
                  <a:pt x="39" y="21"/>
                  <a:pt x="39" y="21"/>
                </a:cubicBezTo>
                <a:cubicBezTo>
                  <a:pt x="38" y="22"/>
                  <a:pt x="38" y="22"/>
                  <a:pt x="38" y="22"/>
                </a:cubicBezTo>
                <a:cubicBezTo>
                  <a:pt x="36" y="23"/>
                  <a:pt x="36" y="23"/>
                  <a:pt x="36" y="23"/>
                </a:cubicBezTo>
                <a:cubicBezTo>
                  <a:pt x="36" y="23"/>
                  <a:pt x="36" y="23"/>
                  <a:pt x="36" y="23"/>
                </a:cubicBezTo>
                <a:cubicBezTo>
                  <a:pt x="35" y="22"/>
                  <a:pt x="35" y="22"/>
                  <a:pt x="35" y="22"/>
                </a:cubicBezTo>
                <a:cubicBezTo>
                  <a:pt x="34" y="22"/>
                  <a:pt x="34" y="22"/>
                  <a:pt x="34" y="22"/>
                </a:cubicBezTo>
                <a:cubicBezTo>
                  <a:pt x="33" y="23"/>
                  <a:pt x="33" y="23"/>
                  <a:pt x="33" y="23"/>
                </a:cubicBezTo>
                <a:cubicBezTo>
                  <a:pt x="26" y="23"/>
                  <a:pt x="26" y="23"/>
                  <a:pt x="26" y="23"/>
                </a:cubicBezTo>
                <a:cubicBezTo>
                  <a:pt x="25" y="25"/>
                  <a:pt x="25" y="25"/>
                  <a:pt x="25" y="25"/>
                </a:cubicBezTo>
                <a:cubicBezTo>
                  <a:pt x="26" y="27"/>
                  <a:pt x="26" y="27"/>
                  <a:pt x="26" y="27"/>
                </a:cubicBezTo>
                <a:cubicBezTo>
                  <a:pt x="28" y="27"/>
                  <a:pt x="28" y="27"/>
                  <a:pt x="28" y="27"/>
                </a:cubicBezTo>
                <a:cubicBezTo>
                  <a:pt x="29" y="29"/>
                  <a:pt x="29" y="29"/>
                  <a:pt x="29" y="29"/>
                </a:cubicBezTo>
                <a:cubicBezTo>
                  <a:pt x="29" y="30"/>
                  <a:pt x="29" y="30"/>
                  <a:pt x="29" y="30"/>
                </a:cubicBezTo>
                <a:cubicBezTo>
                  <a:pt x="29" y="31"/>
                  <a:pt x="29" y="31"/>
                  <a:pt x="29" y="31"/>
                </a:cubicBezTo>
                <a:cubicBezTo>
                  <a:pt x="29" y="32"/>
                  <a:pt x="29" y="32"/>
                  <a:pt x="29" y="32"/>
                </a:cubicBezTo>
                <a:cubicBezTo>
                  <a:pt x="28" y="31"/>
                  <a:pt x="28" y="31"/>
                  <a:pt x="28" y="31"/>
                </a:cubicBezTo>
                <a:cubicBezTo>
                  <a:pt x="23" y="32"/>
                  <a:pt x="23" y="32"/>
                  <a:pt x="23" y="32"/>
                </a:cubicBezTo>
                <a:cubicBezTo>
                  <a:pt x="24" y="36"/>
                  <a:pt x="24" y="36"/>
                  <a:pt x="24" y="36"/>
                </a:cubicBezTo>
                <a:cubicBezTo>
                  <a:pt x="25" y="37"/>
                  <a:pt x="25" y="37"/>
                  <a:pt x="25" y="37"/>
                </a:cubicBezTo>
                <a:cubicBezTo>
                  <a:pt x="27" y="39"/>
                  <a:pt x="27" y="39"/>
                  <a:pt x="27" y="39"/>
                </a:cubicBezTo>
                <a:cubicBezTo>
                  <a:pt x="29" y="42"/>
                  <a:pt x="29" y="42"/>
                  <a:pt x="29" y="42"/>
                </a:cubicBezTo>
                <a:cubicBezTo>
                  <a:pt x="28" y="44"/>
                  <a:pt x="28" y="44"/>
                  <a:pt x="28" y="44"/>
                </a:cubicBezTo>
                <a:cubicBezTo>
                  <a:pt x="28" y="45"/>
                  <a:pt x="28" y="45"/>
                  <a:pt x="28" y="45"/>
                </a:cubicBezTo>
                <a:cubicBezTo>
                  <a:pt x="25" y="58"/>
                  <a:pt x="25" y="58"/>
                  <a:pt x="25" y="58"/>
                </a:cubicBezTo>
                <a:cubicBezTo>
                  <a:pt x="24" y="61"/>
                  <a:pt x="24" y="61"/>
                  <a:pt x="24" y="61"/>
                </a:cubicBezTo>
                <a:cubicBezTo>
                  <a:pt x="24" y="62"/>
                  <a:pt x="24" y="62"/>
                  <a:pt x="24" y="62"/>
                </a:cubicBezTo>
                <a:cubicBezTo>
                  <a:pt x="23" y="63"/>
                  <a:pt x="23" y="63"/>
                  <a:pt x="23" y="63"/>
                </a:cubicBezTo>
                <a:cubicBezTo>
                  <a:pt x="22" y="62"/>
                  <a:pt x="22" y="62"/>
                  <a:pt x="22" y="62"/>
                </a:cubicBezTo>
                <a:cubicBezTo>
                  <a:pt x="22" y="62"/>
                  <a:pt x="22" y="62"/>
                  <a:pt x="22" y="62"/>
                </a:cubicBezTo>
                <a:cubicBezTo>
                  <a:pt x="21" y="61"/>
                  <a:pt x="21" y="61"/>
                  <a:pt x="21" y="61"/>
                </a:cubicBezTo>
                <a:cubicBezTo>
                  <a:pt x="20" y="61"/>
                  <a:pt x="20" y="61"/>
                  <a:pt x="20" y="61"/>
                </a:cubicBezTo>
                <a:cubicBezTo>
                  <a:pt x="19" y="61"/>
                  <a:pt x="19" y="61"/>
                  <a:pt x="19" y="61"/>
                </a:cubicBezTo>
                <a:cubicBezTo>
                  <a:pt x="19" y="61"/>
                  <a:pt x="19" y="61"/>
                  <a:pt x="19" y="61"/>
                </a:cubicBezTo>
                <a:cubicBezTo>
                  <a:pt x="18" y="62"/>
                  <a:pt x="18" y="62"/>
                  <a:pt x="18" y="62"/>
                </a:cubicBezTo>
                <a:cubicBezTo>
                  <a:pt x="14" y="63"/>
                  <a:pt x="14" y="63"/>
                  <a:pt x="14" y="63"/>
                </a:cubicBezTo>
                <a:cubicBezTo>
                  <a:pt x="11" y="64"/>
                  <a:pt x="11" y="64"/>
                  <a:pt x="11" y="64"/>
                </a:cubicBezTo>
                <a:cubicBezTo>
                  <a:pt x="10" y="65"/>
                  <a:pt x="10" y="65"/>
                  <a:pt x="10" y="65"/>
                </a:cubicBezTo>
                <a:cubicBezTo>
                  <a:pt x="9" y="65"/>
                  <a:pt x="9" y="65"/>
                  <a:pt x="9" y="65"/>
                </a:cubicBezTo>
                <a:cubicBezTo>
                  <a:pt x="8" y="66"/>
                  <a:pt x="8" y="66"/>
                  <a:pt x="8" y="66"/>
                </a:cubicBezTo>
                <a:cubicBezTo>
                  <a:pt x="6" y="67"/>
                  <a:pt x="6" y="67"/>
                  <a:pt x="6" y="67"/>
                </a:cubicBezTo>
                <a:cubicBezTo>
                  <a:pt x="5" y="68"/>
                  <a:pt x="5" y="68"/>
                  <a:pt x="5" y="68"/>
                </a:cubicBezTo>
                <a:cubicBezTo>
                  <a:pt x="5" y="69"/>
                  <a:pt x="5" y="69"/>
                  <a:pt x="5" y="69"/>
                </a:cubicBezTo>
                <a:cubicBezTo>
                  <a:pt x="5" y="70"/>
                  <a:pt x="5" y="70"/>
                  <a:pt x="5" y="70"/>
                </a:cubicBezTo>
                <a:cubicBezTo>
                  <a:pt x="5" y="71"/>
                  <a:pt x="5" y="71"/>
                  <a:pt x="5" y="71"/>
                </a:cubicBezTo>
                <a:cubicBezTo>
                  <a:pt x="3" y="73"/>
                  <a:pt x="3" y="73"/>
                  <a:pt x="3" y="73"/>
                </a:cubicBezTo>
                <a:cubicBezTo>
                  <a:pt x="4" y="75"/>
                  <a:pt x="4" y="75"/>
                  <a:pt x="4" y="75"/>
                </a:cubicBezTo>
                <a:cubicBezTo>
                  <a:pt x="4" y="76"/>
                  <a:pt x="4" y="76"/>
                  <a:pt x="4" y="76"/>
                </a:cubicBezTo>
                <a:cubicBezTo>
                  <a:pt x="3" y="77"/>
                  <a:pt x="3" y="77"/>
                  <a:pt x="3" y="77"/>
                </a:cubicBezTo>
                <a:cubicBezTo>
                  <a:pt x="2" y="77"/>
                  <a:pt x="2" y="77"/>
                  <a:pt x="2" y="77"/>
                </a:cubicBezTo>
                <a:cubicBezTo>
                  <a:pt x="1" y="78"/>
                  <a:pt x="1" y="78"/>
                  <a:pt x="1" y="78"/>
                </a:cubicBezTo>
                <a:cubicBezTo>
                  <a:pt x="1" y="80"/>
                  <a:pt x="1" y="80"/>
                  <a:pt x="1" y="80"/>
                </a:cubicBezTo>
                <a:cubicBezTo>
                  <a:pt x="0" y="80"/>
                  <a:pt x="0" y="80"/>
                  <a:pt x="0" y="80"/>
                </a:cubicBezTo>
                <a:cubicBezTo>
                  <a:pt x="0" y="81"/>
                  <a:pt x="0" y="81"/>
                  <a:pt x="0" y="81"/>
                </a:cubicBezTo>
                <a:cubicBezTo>
                  <a:pt x="0" y="83"/>
                  <a:pt x="0" y="83"/>
                  <a:pt x="0" y="83"/>
                </a:cubicBezTo>
                <a:cubicBezTo>
                  <a:pt x="0" y="84"/>
                  <a:pt x="0" y="84"/>
                  <a:pt x="0" y="84"/>
                </a:cubicBezTo>
                <a:cubicBezTo>
                  <a:pt x="0" y="85"/>
                  <a:pt x="0" y="85"/>
                  <a:pt x="0" y="85"/>
                </a:cubicBezTo>
                <a:cubicBezTo>
                  <a:pt x="0" y="86"/>
                  <a:pt x="0" y="86"/>
                  <a:pt x="0" y="86"/>
                </a:cubicBezTo>
                <a:cubicBezTo>
                  <a:pt x="2" y="87"/>
                  <a:pt x="2" y="87"/>
                  <a:pt x="2" y="87"/>
                </a:cubicBezTo>
                <a:cubicBezTo>
                  <a:pt x="5" y="92"/>
                  <a:pt x="5" y="92"/>
                  <a:pt x="5" y="92"/>
                </a:cubicBezTo>
                <a:cubicBezTo>
                  <a:pt x="3" y="94"/>
                  <a:pt x="3" y="94"/>
                  <a:pt x="3" y="94"/>
                </a:cubicBezTo>
                <a:cubicBezTo>
                  <a:pt x="7" y="94"/>
                  <a:pt x="7" y="94"/>
                  <a:pt x="7" y="94"/>
                </a:cubicBezTo>
                <a:cubicBezTo>
                  <a:pt x="9" y="94"/>
                  <a:pt x="9" y="94"/>
                  <a:pt x="9" y="94"/>
                </a:cubicBezTo>
                <a:cubicBezTo>
                  <a:pt x="10" y="96"/>
                  <a:pt x="10" y="96"/>
                  <a:pt x="10" y="96"/>
                </a:cubicBezTo>
                <a:cubicBezTo>
                  <a:pt x="11" y="98"/>
                  <a:pt x="11" y="98"/>
                  <a:pt x="11" y="98"/>
                </a:cubicBezTo>
                <a:cubicBezTo>
                  <a:pt x="13" y="98"/>
                  <a:pt x="13" y="98"/>
                  <a:pt x="13" y="98"/>
                </a:cubicBezTo>
                <a:cubicBezTo>
                  <a:pt x="16" y="98"/>
                  <a:pt x="16" y="98"/>
                  <a:pt x="16" y="98"/>
                </a:cubicBezTo>
                <a:cubicBezTo>
                  <a:pt x="19" y="96"/>
                  <a:pt x="19" y="96"/>
                  <a:pt x="19" y="96"/>
                </a:cubicBezTo>
                <a:cubicBezTo>
                  <a:pt x="21" y="95"/>
                  <a:pt x="21" y="95"/>
                  <a:pt x="21" y="95"/>
                </a:cubicBezTo>
                <a:cubicBezTo>
                  <a:pt x="22" y="95"/>
                  <a:pt x="22" y="95"/>
                  <a:pt x="22" y="95"/>
                </a:cubicBezTo>
                <a:cubicBezTo>
                  <a:pt x="22" y="97"/>
                  <a:pt x="22" y="97"/>
                  <a:pt x="22" y="97"/>
                </a:cubicBezTo>
                <a:cubicBezTo>
                  <a:pt x="21" y="97"/>
                  <a:pt x="21" y="97"/>
                  <a:pt x="21" y="97"/>
                </a:cubicBezTo>
                <a:cubicBezTo>
                  <a:pt x="21" y="99"/>
                  <a:pt x="21" y="99"/>
                  <a:pt x="21" y="99"/>
                </a:cubicBezTo>
                <a:cubicBezTo>
                  <a:pt x="21" y="103"/>
                  <a:pt x="21" y="103"/>
                  <a:pt x="21" y="103"/>
                </a:cubicBezTo>
                <a:cubicBezTo>
                  <a:pt x="22" y="105"/>
                  <a:pt x="22" y="105"/>
                  <a:pt x="22" y="105"/>
                </a:cubicBezTo>
                <a:cubicBezTo>
                  <a:pt x="22" y="105"/>
                  <a:pt x="22" y="105"/>
                  <a:pt x="22" y="105"/>
                </a:cubicBezTo>
                <a:cubicBezTo>
                  <a:pt x="24" y="105"/>
                  <a:pt x="24" y="105"/>
                  <a:pt x="24" y="105"/>
                </a:cubicBezTo>
                <a:cubicBezTo>
                  <a:pt x="25" y="105"/>
                  <a:pt x="25" y="105"/>
                  <a:pt x="25" y="105"/>
                </a:cubicBezTo>
                <a:cubicBezTo>
                  <a:pt x="26" y="105"/>
                  <a:pt x="26" y="105"/>
                  <a:pt x="26" y="105"/>
                </a:cubicBezTo>
                <a:cubicBezTo>
                  <a:pt x="27" y="105"/>
                  <a:pt x="27" y="105"/>
                  <a:pt x="27" y="105"/>
                </a:cubicBezTo>
                <a:cubicBezTo>
                  <a:pt x="27" y="105"/>
                  <a:pt x="27" y="105"/>
                  <a:pt x="27" y="105"/>
                </a:cubicBezTo>
                <a:cubicBezTo>
                  <a:pt x="28" y="105"/>
                  <a:pt x="28" y="105"/>
                  <a:pt x="28" y="105"/>
                </a:cubicBezTo>
                <a:cubicBezTo>
                  <a:pt x="28" y="105"/>
                  <a:pt x="28" y="105"/>
                  <a:pt x="28" y="105"/>
                </a:cubicBezTo>
                <a:cubicBezTo>
                  <a:pt x="32" y="105"/>
                  <a:pt x="32" y="105"/>
                  <a:pt x="32" y="105"/>
                </a:cubicBezTo>
                <a:cubicBezTo>
                  <a:pt x="33" y="105"/>
                  <a:pt x="33" y="105"/>
                  <a:pt x="33" y="105"/>
                </a:cubicBezTo>
                <a:cubicBezTo>
                  <a:pt x="35" y="104"/>
                  <a:pt x="35" y="104"/>
                  <a:pt x="35" y="104"/>
                </a:cubicBezTo>
                <a:cubicBezTo>
                  <a:pt x="36" y="104"/>
                  <a:pt x="36" y="104"/>
                  <a:pt x="36" y="104"/>
                </a:cubicBezTo>
                <a:cubicBezTo>
                  <a:pt x="38" y="103"/>
                  <a:pt x="38" y="103"/>
                  <a:pt x="38" y="103"/>
                </a:cubicBezTo>
                <a:cubicBezTo>
                  <a:pt x="39" y="103"/>
                  <a:pt x="39" y="103"/>
                  <a:pt x="39" y="103"/>
                </a:cubicBezTo>
                <a:cubicBezTo>
                  <a:pt x="41" y="103"/>
                  <a:pt x="41" y="103"/>
                  <a:pt x="41" y="103"/>
                </a:cubicBezTo>
                <a:cubicBezTo>
                  <a:pt x="42" y="100"/>
                  <a:pt x="42" y="100"/>
                  <a:pt x="42" y="100"/>
                </a:cubicBezTo>
                <a:cubicBezTo>
                  <a:pt x="45" y="98"/>
                  <a:pt x="45" y="98"/>
                  <a:pt x="45" y="98"/>
                </a:cubicBezTo>
                <a:cubicBezTo>
                  <a:pt x="47" y="97"/>
                  <a:pt x="47" y="97"/>
                  <a:pt x="47" y="97"/>
                </a:cubicBezTo>
                <a:cubicBezTo>
                  <a:pt x="49" y="96"/>
                  <a:pt x="49" y="96"/>
                  <a:pt x="49" y="96"/>
                </a:cubicBezTo>
                <a:cubicBezTo>
                  <a:pt x="50" y="96"/>
                  <a:pt x="50" y="96"/>
                  <a:pt x="50" y="96"/>
                </a:cubicBezTo>
                <a:cubicBezTo>
                  <a:pt x="52" y="97"/>
                  <a:pt x="52" y="97"/>
                  <a:pt x="52" y="97"/>
                </a:cubicBezTo>
                <a:cubicBezTo>
                  <a:pt x="53" y="96"/>
                  <a:pt x="53" y="96"/>
                  <a:pt x="53" y="96"/>
                </a:cubicBezTo>
                <a:cubicBezTo>
                  <a:pt x="54" y="97"/>
                  <a:pt x="54" y="97"/>
                  <a:pt x="54" y="97"/>
                </a:cubicBezTo>
                <a:cubicBezTo>
                  <a:pt x="54" y="99"/>
                  <a:pt x="54" y="99"/>
                  <a:pt x="54" y="99"/>
                </a:cubicBezTo>
                <a:cubicBezTo>
                  <a:pt x="54" y="101"/>
                  <a:pt x="54" y="101"/>
                  <a:pt x="54" y="101"/>
                </a:cubicBezTo>
                <a:cubicBezTo>
                  <a:pt x="53" y="103"/>
                  <a:pt x="53" y="103"/>
                  <a:pt x="53" y="103"/>
                </a:cubicBezTo>
                <a:cubicBezTo>
                  <a:pt x="54" y="105"/>
                  <a:pt x="54" y="105"/>
                  <a:pt x="54" y="105"/>
                </a:cubicBezTo>
                <a:cubicBezTo>
                  <a:pt x="54" y="107"/>
                  <a:pt x="54" y="107"/>
                  <a:pt x="54" y="107"/>
                </a:cubicBezTo>
                <a:cubicBezTo>
                  <a:pt x="55" y="109"/>
                  <a:pt x="55" y="109"/>
                  <a:pt x="55" y="109"/>
                </a:cubicBezTo>
                <a:cubicBezTo>
                  <a:pt x="56" y="110"/>
                  <a:pt x="56" y="110"/>
                  <a:pt x="56" y="110"/>
                </a:cubicBezTo>
                <a:cubicBezTo>
                  <a:pt x="57" y="112"/>
                  <a:pt x="57" y="112"/>
                  <a:pt x="57" y="112"/>
                </a:cubicBezTo>
                <a:cubicBezTo>
                  <a:pt x="58" y="112"/>
                  <a:pt x="58" y="112"/>
                  <a:pt x="58" y="112"/>
                </a:cubicBezTo>
                <a:cubicBezTo>
                  <a:pt x="60" y="114"/>
                  <a:pt x="60" y="114"/>
                  <a:pt x="60" y="114"/>
                </a:cubicBezTo>
                <a:cubicBezTo>
                  <a:pt x="62" y="115"/>
                  <a:pt x="62" y="115"/>
                  <a:pt x="62" y="115"/>
                </a:cubicBezTo>
                <a:cubicBezTo>
                  <a:pt x="62" y="114"/>
                  <a:pt x="62" y="114"/>
                  <a:pt x="62" y="114"/>
                </a:cubicBezTo>
                <a:cubicBezTo>
                  <a:pt x="65" y="114"/>
                  <a:pt x="65" y="114"/>
                  <a:pt x="65" y="114"/>
                </a:cubicBezTo>
                <a:cubicBezTo>
                  <a:pt x="67" y="116"/>
                  <a:pt x="67" y="116"/>
                  <a:pt x="67" y="116"/>
                </a:cubicBezTo>
                <a:cubicBezTo>
                  <a:pt x="68" y="115"/>
                  <a:pt x="68" y="115"/>
                  <a:pt x="68" y="115"/>
                </a:cubicBezTo>
                <a:cubicBezTo>
                  <a:pt x="71" y="118"/>
                  <a:pt x="71" y="118"/>
                  <a:pt x="71" y="118"/>
                </a:cubicBezTo>
                <a:cubicBezTo>
                  <a:pt x="72" y="118"/>
                  <a:pt x="72" y="118"/>
                  <a:pt x="72" y="118"/>
                </a:cubicBezTo>
                <a:cubicBezTo>
                  <a:pt x="74" y="119"/>
                  <a:pt x="74" y="119"/>
                  <a:pt x="74" y="119"/>
                </a:cubicBezTo>
                <a:cubicBezTo>
                  <a:pt x="76" y="119"/>
                  <a:pt x="76" y="119"/>
                  <a:pt x="76" y="119"/>
                </a:cubicBezTo>
                <a:cubicBezTo>
                  <a:pt x="77" y="121"/>
                  <a:pt x="77" y="121"/>
                  <a:pt x="77" y="121"/>
                </a:cubicBezTo>
                <a:cubicBezTo>
                  <a:pt x="78" y="121"/>
                  <a:pt x="78" y="121"/>
                  <a:pt x="78" y="121"/>
                </a:cubicBezTo>
                <a:cubicBezTo>
                  <a:pt x="79" y="122"/>
                  <a:pt x="79" y="122"/>
                  <a:pt x="79" y="122"/>
                </a:cubicBezTo>
                <a:cubicBezTo>
                  <a:pt x="83" y="122"/>
                  <a:pt x="83" y="122"/>
                  <a:pt x="83" y="122"/>
                </a:cubicBezTo>
                <a:cubicBezTo>
                  <a:pt x="86" y="123"/>
                  <a:pt x="86" y="123"/>
                  <a:pt x="86" y="123"/>
                </a:cubicBezTo>
                <a:cubicBezTo>
                  <a:pt x="86" y="125"/>
                  <a:pt x="86" y="125"/>
                  <a:pt x="86" y="125"/>
                </a:cubicBezTo>
                <a:cubicBezTo>
                  <a:pt x="86" y="127"/>
                  <a:pt x="86" y="127"/>
                  <a:pt x="86" y="127"/>
                </a:cubicBezTo>
                <a:cubicBezTo>
                  <a:pt x="86" y="130"/>
                  <a:pt x="86" y="130"/>
                  <a:pt x="86" y="130"/>
                </a:cubicBezTo>
                <a:cubicBezTo>
                  <a:pt x="86" y="131"/>
                  <a:pt x="86" y="131"/>
                  <a:pt x="86" y="131"/>
                </a:cubicBezTo>
                <a:cubicBezTo>
                  <a:pt x="88" y="135"/>
                  <a:pt x="88" y="135"/>
                  <a:pt x="88" y="135"/>
                </a:cubicBezTo>
                <a:cubicBezTo>
                  <a:pt x="88" y="138"/>
                  <a:pt x="88" y="138"/>
                  <a:pt x="88" y="138"/>
                </a:cubicBezTo>
                <a:cubicBezTo>
                  <a:pt x="99" y="138"/>
                  <a:pt x="99" y="138"/>
                  <a:pt x="99" y="138"/>
                </a:cubicBezTo>
                <a:cubicBezTo>
                  <a:pt x="99" y="142"/>
                  <a:pt x="99" y="142"/>
                  <a:pt x="99" y="142"/>
                </a:cubicBezTo>
                <a:cubicBezTo>
                  <a:pt x="99" y="145"/>
                  <a:pt x="99" y="145"/>
                  <a:pt x="99" y="145"/>
                </a:cubicBezTo>
                <a:cubicBezTo>
                  <a:pt x="102" y="146"/>
                  <a:pt x="102" y="146"/>
                  <a:pt x="102" y="146"/>
                </a:cubicBezTo>
                <a:cubicBezTo>
                  <a:pt x="106" y="151"/>
                  <a:pt x="106" y="151"/>
                  <a:pt x="106" y="151"/>
                </a:cubicBezTo>
                <a:cubicBezTo>
                  <a:pt x="106" y="154"/>
                  <a:pt x="106" y="154"/>
                  <a:pt x="106" y="154"/>
                </a:cubicBezTo>
                <a:cubicBezTo>
                  <a:pt x="103" y="161"/>
                  <a:pt x="103" y="161"/>
                  <a:pt x="103" y="161"/>
                </a:cubicBezTo>
                <a:cubicBezTo>
                  <a:pt x="103" y="161"/>
                  <a:pt x="103" y="161"/>
                  <a:pt x="103" y="161"/>
                </a:cubicBezTo>
                <a:cubicBezTo>
                  <a:pt x="102" y="163"/>
                  <a:pt x="102" y="163"/>
                  <a:pt x="102" y="163"/>
                </a:cubicBezTo>
                <a:cubicBezTo>
                  <a:pt x="103" y="163"/>
                  <a:pt x="103" y="163"/>
                  <a:pt x="103" y="163"/>
                </a:cubicBezTo>
                <a:cubicBezTo>
                  <a:pt x="102" y="165"/>
                  <a:pt x="102" y="165"/>
                  <a:pt x="102" y="165"/>
                </a:cubicBezTo>
                <a:cubicBezTo>
                  <a:pt x="104" y="166"/>
                  <a:pt x="104" y="166"/>
                  <a:pt x="104" y="166"/>
                </a:cubicBezTo>
                <a:cubicBezTo>
                  <a:pt x="104" y="168"/>
                  <a:pt x="104" y="168"/>
                  <a:pt x="104" y="168"/>
                </a:cubicBezTo>
                <a:cubicBezTo>
                  <a:pt x="105" y="170"/>
                  <a:pt x="105" y="170"/>
                  <a:pt x="105" y="170"/>
                </a:cubicBezTo>
                <a:cubicBezTo>
                  <a:pt x="105" y="173"/>
                  <a:pt x="105" y="173"/>
                  <a:pt x="105" y="173"/>
                </a:cubicBezTo>
                <a:cubicBezTo>
                  <a:pt x="105" y="175"/>
                  <a:pt x="105" y="175"/>
                  <a:pt x="105" y="175"/>
                </a:cubicBezTo>
                <a:cubicBezTo>
                  <a:pt x="105" y="176"/>
                  <a:pt x="105" y="176"/>
                  <a:pt x="105" y="176"/>
                </a:cubicBezTo>
                <a:cubicBezTo>
                  <a:pt x="105" y="178"/>
                  <a:pt x="105" y="178"/>
                  <a:pt x="105" y="178"/>
                </a:cubicBezTo>
                <a:cubicBezTo>
                  <a:pt x="107" y="178"/>
                  <a:pt x="107" y="178"/>
                  <a:pt x="107" y="178"/>
                </a:cubicBezTo>
                <a:cubicBezTo>
                  <a:pt x="108" y="178"/>
                  <a:pt x="108" y="178"/>
                  <a:pt x="108" y="178"/>
                </a:cubicBezTo>
                <a:cubicBezTo>
                  <a:pt x="111" y="178"/>
                  <a:pt x="111" y="178"/>
                  <a:pt x="111" y="178"/>
                </a:cubicBezTo>
                <a:cubicBezTo>
                  <a:pt x="113" y="178"/>
                  <a:pt x="113" y="178"/>
                  <a:pt x="113" y="178"/>
                </a:cubicBezTo>
                <a:cubicBezTo>
                  <a:pt x="116" y="177"/>
                  <a:pt x="116" y="177"/>
                  <a:pt x="116" y="177"/>
                </a:cubicBezTo>
                <a:cubicBezTo>
                  <a:pt x="118" y="178"/>
                  <a:pt x="118" y="178"/>
                  <a:pt x="118" y="178"/>
                </a:cubicBezTo>
                <a:cubicBezTo>
                  <a:pt x="119" y="179"/>
                  <a:pt x="119" y="179"/>
                  <a:pt x="119" y="179"/>
                </a:cubicBezTo>
                <a:cubicBezTo>
                  <a:pt x="119" y="180"/>
                  <a:pt x="119" y="180"/>
                  <a:pt x="119" y="180"/>
                </a:cubicBezTo>
                <a:cubicBezTo>
                  <a:pt x="121" y="187"/>
                  <a:pt x="121" y="187"/>
                  <a:pt x="121" y="187"/>
                </a:cubicBezTo>
                <a:cubicBezTo>
                  <a:pt x="122" y="189"/>
                  <a:pt x="122" y="189"/>
                  <a:pt x="122" y="189"/>
                </a:cubicBezTo>
                <a:cubicBezTo>
                  <a:pt x="123" y="190"/>
                  <a:pt x="123" y="190"/>
                  <a:pt x="123" y="190"/>
                </a:cubicBezTo>
                <a:cubicBezTo>
                  <a:pt x="125" y="188"/>
                  <a:pt x="125" y="188"/>
                  <a:pt x="125" y="188"/>
                </a:cubicBezTo>
                <a:cubicBezTo>
                  <a:pt x="127" y="189"/>
                  <a:pt x="127" y="189"/>
                  <a:pt x="127" y="189"/>
                </a:cubicBezTo>
                <a:cubicBezTo>
                  <a:pt x="128" y="190"/>
                  <a:pt x="128" y="190"/>
                  <a:pt x="128" y="190"/>
                </a:cubicBezTo>
                <a:cubicBezTo>
                  <a:pt x="129" y="190"/>
                  <a:pt x="129" y="190"/>
                  <a:pt x="129" y="190"/>
                </a:cubicBezTo>
                <a:cubicBezTo>
                  <a:pt x="128" y="191"/>
                  <a:pt x="128" y="191"/>
                  <a:pt x="128" y="191"/>
                </a:cubicBezTo>
                <a:cubicBezTo>
                  <a:pt x="128" y="197"/>
                  <a:pt x="128" y="197"/>
                  <a:pt x="128" y="197"/>
                </a:cubicBezTo>
                <a:cubicBezTo>
                  <a:pt x="128" y="198"/>
                  <a:pt x="128" y="198"/>
                  <a:pt x="128" y="198"/>
                </a:cubicBezTo>
                <a:cubicBezTo>
                  <a:pt x="127" y="198"/>
                  <a:pt x="127" y="198"/>
                  <a:pt x="127" y="198"/>
                </a:cubicBezTo>
                <a:cubicBezTo>
                  <a:pt x="127" y="199"/>
                  <a:pt x="127" y="199"/>
                  <a:pt x="127" y="199"/>
                </a:cubicBezTo>
                <a:cubicBezTo>
                  <a:pt x="127" y="199"/>
                  <a:pt x="127" y="199"/>
                  <a:pt x="127" y="199"/>
                </a:cubicBezTo>
                <a:cubicBezTo>
                  <a:pt x="127" y="200"/>
                  <a:pt x="127" y="200"/>
                  <a:pt x="127" y="200"/>
                </a:cubicBezTo>
                <a:cubicBezTo>
                  <a:pt x="128" y="199"/>
                  <a:pt x="128" y="199"/>
                  <a:pt x="128" y="199"/>
                </a:cubicBezTo>
                <a:cubicBezTo>
                  <a:pt x="131" y="200"/>
                  <a:pt x="131" y="200"/>
                  <a:pt x="131" y="200"/>
                </a:cubicBezTo>
                <a:cubicBezTo>
                  <a:pt x="131" y="201"/>
                  <a:pt x="131" y="201"/>
                  <a:pt x="131" y="201"/>
                </a:cubicBezTo>
                <a:cubicBezTo>
                  <a:pt x="133" y="204"/>
                  <a:pt x="133" y="204"/>
                  <a:pt x="133" y="204"/>
                </a:cubicBezTo>
                <a:cubicBezTo>
                  <a:pt x="132" y="206"/>
                  <a:pt x="132" y="206"/>
                  <a:pt x="132" y="206"/>
                </a:cubicBezTo>
                <a:cubicBezTo>
                  <a:pt x="133" y="208"/>
                  <a:pt x="133" y="208"/>
                  <a:pt x="133" y="208"/>
                </a:cubicBezTo>
                <a:cubicBezTo>
                  <a:pt x="133" y="210"/>
                  <a:pt x="133" y="210"/>
                  <a:pt x="133" y="210"/>
                </a:cubicBezTo>
                <a:cubicBezTo>
                  <a:pt x="133" y="211"/>
                  <a:pt x="133" y="211"/>
                  <a:pt x="133" y="211"/>
                </a:cubicBezTo>
                <a:cubicBezTo>
                  <a:pt x="131" y="211"/>
                  <a:pt x="131" y="211"/>
                  <a:pt x="131" y="211"/>
                </a:cubicBezTo>
                <a:cubicBezTo>
                  <a:pt x="130" y="212"/>
                  <a:pt x="130" y="212"/>
                  <a:pt x="130" y="212"/>
                </a:cubicBezTo>
                <a:cubicBezTo>
                  <a:pt x="130" y="213"/>
                  <a:pt x="130" y="213"/>
                  <a:pt x="130" y="213"/>
                </a:cubicBezTo>
                <a:cubicBezTo>
                  <a:pt x="129" y="213"/>
                  <a:pt x="129" y="213"/>
                  <a:pt x="129" y="213"/>
                </a:cubicBezTo>
                <a:cubicBezTo>
                  <a:pt x="128" y="213"/>
                  <a:pt x="128" y="213"/>
                  <a:pt x="128" y="213"/>
                </a:cubicBezTo>
                <a:cubicBezTo>
                  <a:pt x="126" y="215"/>
                  <a:pt x="126" y="215"/>
                  <a:pt x="126" y="215"/>
                </a:cubicBezTo>
                <a:cubicBezTo>
                  <a:pt x="125" y="216"/>
                  <a:pt x="125" y="216"/>
                  <a:pt x="125" y="216"/>
                </a:cubicBezTo>
                <a:cubicBezTo>
                  <a:pt x="124" y="216"/>
                  <a:pt x="124" y="216"/>
                  <a:pt x="124" y="216"/>
                </a:cubicBezTo>
                <a:cubicBezTo>
                  <a:pt x="122" y="218"/>
                  <a:pt x="122" y="218"/>
                  <a:pt x="122" y="218"/>
                </a:cubicBezTo>
                <a:cubicBezTo>
                  <a:pt x="121" y="218"/>
                  <a:pt x="121" y="218"/>
                  <a:pt x="121" y="218"/>
                </a:cubicBezTo>
                <a:cubicBezTo>
                  <a:pt x="121" y="220"/>
                  <a:pt x="121" y="220"/>
                  <a:pt x="121" y="220"/>
                </a:cubicBezTo>
                <a:cubicBezTo>
                  <a:pt x="120" y="220"/>
                  <a:pt x="120" y="220"/>
                  <a:pt x="120" y="220"/>
                </a:cubicBezTo>
                <a:cubicBezTo>
                  <a:pt x="119" y="220"/>
                  <a:pt x="119" y="220"/>
                  <a:pt x="119" y="220"/>
                </a:cubicBezTo>
                <a:cubicBezTo>
                  <a:pt x="117" y="222"/>
                  <a:pt x="117" y="222"/>
                  <a:pt x="117" y="222"/>
                </a:cubicBezTo>
                <a:cubicBezTo>
                  <a:pt x="117" y="223"/>
                  <a:pt x="117" y="223"/>
                  <a:pt x="117" y="223"/>
                </a:cubicBezTo>
                <a:cubicBezTo>
                  <a:pt x="117" y="225"/>
                  <a:pt x="117" y="225"/>
                  <a:pt x="117" y="225"/>
                </a:cubicBezTo>
                <a:cubicBezTo>
                  <a:pt x="116" y="225"/>
                  <a:pt x="116" y="225"/>
                  <a:pt x="116" y="225"/>
                </a:cubicBezTo>
                <a:cubicBezTo>
                  <a:pt x="116" y="226"/>
                  <a:pt x="116" y="226"/>
                  <a:pt x="116" y="226"/>
                </a:cubicBezTo>
                <a:cubicBezTo>
                  <a:pt x="114" y="228"/>
                  <a:pt x="114" y="228"/>
                  <a:pt x="114" y="228"/>
                </a:cubicBezTo>
                <a:cubicBezTo>
                  <a:pt x="113" y="229"/>
                  <a:pt x="113" y="229"/>
                  <a:pt x="113" y="229"/>
                </a:cubicBezTo>
                <a:cubicBezTo>
                  <a:pt x="112" y="231"/>
                  <a:pt x="112" y="231"/>
                  <a:pt x="112" y="231"/>
                </a:cubicBezTo>
                <a:cubicBezTo>
                  <a:pt x="112" y="231"/>
                  <a:pt x="112" y="231"/>
                  <a:pt x="112" y="231"/>
                </a:cubicBezTo>
                <a:cubicBezTo>
                  <a:pt x="111" y="232"/>
                  <a:pt x="111" y="232"/>
                  <a:pt x="111" y="232"/>
                </a:cubicBezTo>
                <a:cubicBezTo>
                  <a:pt x="111" y="233"/>
                  <a:pt x="111" y="233"/>
                  <a:pt x="111" y="233"/>
                </a:cubicBezTo>
                <a:cubicBezTo>
                  <a:pt x="112" y="233"/>
                  <a:pt x="112" y="233"/>
                  <a:pt x="112" y="233"/>
                </a:cubicBezTo>
                <a:cubicBezTo>
                  <a:pt x="113" y="233"/>
                  <a:pt x="113" y="233"/>
                  <a:pt x="113" y="233"/>
                </a:cubicBezTo>
                <a:cubicBezTo>
                  <a:pt x="116" y="232"/>
                  <a:pt x="116" y="232"/>
                  <a:pt x="116" y="232"/>
                </a:cubicBezTo>
                <a:cubicBezTo>
                  <a:pt x="117" y="233"/>
                  <a:pt x="117" y="233"/>
                  <a:pt x="117" y="233"/>
                </a:cubicBezTo>
                <a:cubicBezTo>
                  <a:pt x="119" y="235"/>
                  <a:pt x="119" y="235"/>
                  <a:pt x="119" y="235"/>
                </a:cubicBezTo>
                <a:cubicBezTo>
                  <a:pt x="120" y="235"/>
                  <a:pt x="120" y="235"/>
                  <a:pt x="120" y="235"/>
                </a:cubicBezTo>
                <a:cubicBezTo>
                  <a:pt x="121" y="237"/>
                  <a:pt x="121" y="237"/>
                  <a:pt x="121" y="237"/>
                </a:cubicBezTo>
                <a:cubicBezTo>
                  <a:pt x="122" y="240"/>
                  <a:pt x="122" y="240"/>
                  <a:pt x="122" y="240"/>
                </a:cubicBezTo>
                <a:cubicBezTo>
                  <a:pt x="123" y="240"/>
                  <a:pt x="123" y="240"/>
                  <a:pt x="123" y="240"/>
                </a:cubicBezTo>
                <a:cubicBezTo>
                  <a:pt x="124" y="238"/>
                  <a:pt x="124" y="238"/>
                  <a:pt x="124" y="238"/>
                </a:cubicBezTo>
                <a:cubicBezTo>
                  <a:pt x="125" y="238"/>
                  <a:pt x="125" y="238"/>
                  <a:pt x="125" y="238"/>
                </a:cubicBezTo>
                <a:cubicBezTo>
                  <a:pt x="126" y="241"/>
                  <a:pt x="126" y="241"/>
                  <a:pt x="126" y="241"/>
                </a:cubicBezTo>
                <a:cubicBezTo>
                  <a:pt x="128" y="241"/>
                  <a:pt x="128" y="241"/>
                  <a:pt x="128" y="241"/>
                </a:cubicBezTo>
                <a:cubicBezTo>
                  <a:pt x="129" y="242"/>
                  <a:pt x="129" y="242"/>
                  <a:pt x="129" y="242"/>
                </a:cubicBezTo>
                <a:cubicBezTo>
                  <a:pt x="131" y="243"/>
                  <a:pt x="131" y="243"/>
                  <a:pt x="131" y="243"/>
                </a:cubicBezTo>
                <a:cubicBezTo>
                  <a:pt x="131" y="245"/>
                  <a:pt x="131" y="245"/>
                  <a:pt x="131" y="245"/>
                </a:cubicBezTo>
                <a:cubicBezTo>
                  <a:pt x="132" y="245"/>
                  <a:pt x="132" y="245"/>
                  <a:pt x="132" y="245"/>
                </a:cubicBezTo>
                <a:cubicBezTo>
                  <a:pt x="135" y="246"/>
                  <a:pt x="135" y="246"/>
                  <a:pt x="135" y="246"/>
                </a:cubicBezTo>
                <a:cubicBezTo>
                  <a:pt x="136" y="248"/>
                  <a:pt x="136" y="248"/>
                  <a:pt x="136" y="248"/>
                </a:cubicBezTo>
                <a:cubicBezTo>
                  <a:pt x="138" y="250"/>
                  <a:pt x="138" y="250"/>
                  <a:pt x="138" y="250"/>
                </a:cubicBezTo>
                <a:cubicBezTo>
                  <a:pt x="139" y="251"/>
                  <a:pt x="139" y="251"/>
                  <a:pt x="139" y="251"/>
                </a:cubicBezTo>
                <a:cubicBezTo>
                  <a:pt x="139" y="253"/>
                  <a:pt x="139" y="253"/>
                  <a:pt x="139" y="253"/>
                </a:cubicBezTo>
                <a:cubicBezTo>
                  <a:pt x="138" y="254"/>
                  <a:pt x="138" y="254"/>
                  <a:pt x="138" y="254"/>
                </a:cubicBezTo>
                <a:cubicBezTo>
                  <a:pt x="138" y="256"/>
                  <a:pt x="138" y="256"/>
                  <a:pt x="138" y="256"/>
                </a:cubicBezTo>
                <a:cubicBezTo>
                  <a:pt x="138" y="257"/>
                  <a:pt x="138" y="257"/>
                  <a:pt x="138" y="257"/>
                </a:cubicBezTo>
                <a:cubicBezTo>
                  <a:pt x="138" y="257"/>
                  <a:pt x="138" y="257"/>
                  <a:pt x="138" y="257"/>
                </a:cubicBezTo>
                <a:cubicBezTo>
                  <a:pt x="139" y="258"/>
                  <a:pt x="139" y="258"/>
                  <a:pt x="139" y="258"/>
                </a:cubicBezTo>
                <a:cubicBezTo>
                  <a:pt x="140" y="258"/>
                  <a:pt x="140" y="258"/>
                  <a:pt x="140" y="258"/>
                </a:cubicBezTo>
                <a:cubicBezTo>
                  <a:pt x="142" y="256"/>
                  <a:pt x="142" y="256"/>
                  <a:pt x="142" y="256"/>
                </a:cubicBezTo>
                <a:cubicBezTo>
                  <a:pt x="143" y="254"/>
                  <a:pt x="143" y="254"/>
                  <a:pt x="143" y="254"/>
                </a:cubicBezTo>
                <a:cubicBezTo>
                  <a:pt x="144" y="250"/>
                  <a:pt x="144" y="250"/>
                  <a:pt x="144" y="250"/>
                </a:cubicBezTo>
                <a:cubicBezTo>
                  <a:pt x="145" y="247"/>
                  <a:pt x="145" y="247"/>
                  <a:pt x="145" y="247"/>
                </a:cubicBezTo>
                <a:cubicBezTo>
                  <a:pt x="145" y="246"/>
                  <a:pt x="145" y="246"/>
                  <a:pt x="145" y="246"/>
                </a:cubicBezTo>
                <a:cubicBezTo>
                  <a:pt x="145" y="246"/>
                  <a:pt x="145" y="246"/>
                  <a:pt x="145" y="246"/>
                </a:cubicBezTo>
                <a:cubicBezTo>
                  <a:pt x="144" y="244"/>
                  <a:pt x="144" y="244"/>
                  <a:pt x="144" y="244"/>
                </a:cubicBezTo>
                <a:cubicBezTo>
                  <a:pt x="144" y="243"/>
                  <a:pt x="144" y="243"/>
                  <a:pt x="144" y="243"/>
                </a:cubicBezTo>
                <a:cubicBezTo>
                  <a:pt x="145" y="243"/>
                  <a:pt x="145" y="243"/>
                  <a:pt x="145" y="243"/>
                </a:cubicBezTo>
                <a:cubicBezTo>
                  <a:pt x="145" y="242"/>
                  <a:pt x="145" y="242"/>
                  <a:pt x="145" y="242"/>
                </a:cubicBezTo>
                <a:cubicBezTo>
                  <a:pt x="146" y="241"/>
                  <a:pt x="146" y="241"/>
                  <a:pt x="146" y="241"/>
                </a:cubicBezTo>
                <a:cubicBezTo>
                  <a:pt x="146" y="240"/>
                  <a:pt x="146" y="240"/>
                  <a:pt x="146" y="240"/>
                </a:cubicBezTo>
                <a:cubicBezTo>
                  <a:pt x="147" y="240"/>
                  <a:pt x="147" y="240"/>
                  <a:pt x="147" y="240"/>
                </a:cubicBezTo>
                <a:cubicBezTo>
                  <a:pt x="148" y="240"/>
                  <a:pt x="148" y="240"/>
                  <a:pt x="148" y="240"/>
                </a:cubicBezTo>
                <a:cubicBezTo>
                  <a:pt x="149" y="239"/>
                  <a:pt x="149" y="239"/>
                  <a:pt x="149" y="239"/>
                </a:cubicBezTo>
                <a:cubicBezTo>
                  <a:pt x="149" y="238"/>
                  <a:pt x="149" y="238"/>
                  <a:pt x="149" y="238"/>
                </a:cubicBezTo>
                <a:cubicBezTo>
                  <a:pt x="149" y="237"/>
                  <a:pt x="149" y="237"/>
                  <a:pt x="149" y="237"/>
                </a:cubicBezTo>
                <a:cubicBezTo>
                  <a:pt x="149" y="236"/>
                  <a:pt x="149" y="236"/>
                  <a:pt x="149" y="236"/>
                </a:cubicBezTo>
                <a:cubicBezTo>
                  <a:pt x="150" y="235"/>
                  <a:pt x="150" y="235"/>
                  <a:pt x="150" y="235"/>
                </a:cubicBezTo>
                <a:cubicBezTo>
                  <a:pt x="150" y="235"/>
                  <a:pt x="150" y="235"/>
                  <a:pt x="150" y="235"/>
                </a:cubicBezTo>
                <a:cubicBezTo>
                  <a:pt x="151" y="234"/>
                  <a:pt x="151" y="234"/>
                  <a:pt x="151" y="234"/>
                </a:cubicBezTo>
                <a:cubicBezTo>
                  <a:pt x="151" y="233"/>
                  <a:pt x="151" y="233"/>
                  <a:pt x="151" y="233"/>
                </a:cubicBezTo>
                <a:cubicBezTo>
                  <a:pt x="150" y="232"/>
                  <a:pt x="150" y="232"/>
                  <a:pt x="150" y="232"/>
                </a:cubicBezTo>
                <a:cubicBezTo>
                  <a:pt x="150" y="231"/>
                  <a:pt x="150" y="231"/>
                  <a:pt x="150" y="231"/>
                </a:cubicBezTo>
                <a:cubicBezTo>
                  <a:pt x="149" y="230"/>
                  <a:pt x="149" y="230"/>
                  <a:pt x="149" y="230"/>
                </a:cubicBezTo>
                <a:cubicBezTo>
                  <a:pt x="150" y="230"/>
                  <a:pt x="150" y="230"/>
                  <a:pt x="150" y="230"/>
                </a:cubicBezTo>
                <a:cubicBezTo>
                  <a:pt x="151" y="232"/>
                  <a:pt x="151" y="232"/>
                  <a:pt x="151" y="232"/>
                </a:cubicBezTo>
                <a:cubicBezTo>
                  <a:pt x="152" y="233"/>
                  <a:pt x="152" y="233"/>
                  <a:pt x="152" y="233"/>
                </a:cubicBezTo>
                <a:cubicBezTo>
                  <a:pt x="153" y="233"/>
                  <a:pt x="153" y="233"/>
                  <a:pt x="153" y="233"/>
                </a:cubicBezTo>
                <a:cubicBezTo>
                  <a:pt x="153" y="233"/>
                  <a:pt x="153" y="233"/>
                  <a:pt x="153" y="233"/>
                </a:cubicBezTo>
                <a:cubicBezTo>
                  <a:pt x="154" y="233"/>
                  <a:pt x="154" y="233"/>
                  <a:pt x="154" y="233"/>
                </a:cubicBezTo>
                <a:cubicBezTo>
                  <a:pt x="154" y="235"/>
                  <a:pt x="154" y="235"/>
                  <a:pt x="154" y="235"/>
                </a:cubicBezTo>
                <a:cubicBezTo>
                  <a:pt x="154" y="235"/>
                  <a:pt x="154" y="235"/>
                  <a:pt x="154" y="235"/>
                </a:cubicBezTo>
                <a:cubicBezTo>
                  <a:pt x="153" y="237"/>
                  <a:pt x="153" y="237"/>
                  <a:pt x="153" y="237"/>
                </a:cubicBezTo>
                <a:cubicBezTo>
                  <a:pt x="151" y="239"/>
                  <a:pt x="151" y="239"/>
                  <a:pt x="151" y="239"/>
                </a:cubicBezTo>
                <a:cubicBezTo>
                  <a:pt x="150" y="239"/>
                  <a:pt x="150" y="239"/>
                  <a:pt x="150" y="239"/>
                </a:cubicBezTo>
                <a:cubicBezTo>
                  <a:pt x="150" y="241"/>
                  <a:pt x="150" y="241"/>
                  <a:pt x="150" y="241"/>
                </a:cubicBezTo>
                <a:cubicBezTo>
                  <a:pt x="150" y="242"/>
                  <a:pt x="150" y="242"/>
                  <a:pt x="150" y="242"/>
                </a:cubicBezTo>
                <a:cubicBezTo>
                  <a:pt x="149" y="242"/>
                  <a:pt x="149" y="242"/>
                  <a:pt x="149" y="242"/>
                </a:cubicBezTo>
                <a:cubicBezTo>
                  <a:pt x="148" y="242"/>
                  <a:pt x="148" y="242"/>
                  <a:pt x="148" y="242"/>
                </a:cubicBezTo>
                <a:cubicBezTo>
                  <a:pt x="147" y="243"/>
                  <a:pt x="147" y="243"/>
                  <a:pt x="147" y="243"/>
                </a:cubicBezTo>
                <a:cubicBezTo>
                  <a:pt x="147" y="244"/>
                  <a:pt x="147" y="244"/>
                  <a:pt x="147" y="244"/>
                </a:cubicBezTo>
                <a:cubicBezTo>
                  <a:pt x="146" y="244"/>
                  <a:pt x="146" y="244"/>
                  <a:pt x="146" y="244"/>
                </a:cubicBezTo>
                <a:cubicBezTo>
                  <a:pt x="145" y="245"/>
                  <a:pt x="145" y="245"/>
                  <a:pt x="145" y="245"/>
                </a:cubicBezTo>
                <a:cubicBezTo>
                  <a:pt x="145" y="245"/>
                  <a:pt x="145" y="245"/>
                  <a:pt x="145" y="245"/>
                </a:cubicBezTo>
                <a:cubicBezTo>
                  <a:pt x="147" y="246"/>
                  <a:pt x="147" y="246"/>
                  <a:pt x="147" y="246"/>
                </a:cubicBezTo>
                <a:cubicBezTo>
                  <a:pt x="150" y="242"/>
                  <a:pt x="150" y="242"/>
                  <a:pt x="150" y="242"/>
                </a:cubicBezTo>
                <a:cubicBezTo>
                  <a:pt x="153" y="240"/>
                  <a:pt x="153" y="240"/>
                  <a:pt x="153" y="240"/>
                </a:cubicBezTo>
                <a:cubicBezTo>
                  <a:pt x="155" y="235"/>
                  <a:pt x="155" y="235"/>
                  <a:pt x="155" y="235"/>
                </a:cubicBezTo>
                <a:cubicBezTo>
                  <a:pt x="157" y="233"/>
                  <a:pt x="157" y="233"/>
                  <a:pt x="157" y="233"/>
                </a:cubicBezTo>
                <a:cubicBezTo>
                  <a:pt x="158" y="229"/>
                  <a:pt x="158" y="229"/>
                  <a:pt x="158" y="229"/>
                </a:cubicBezTo>
                <a:cubicBezTo>
                  <a:pt x="161" y="224"/>
                  <a:pt x="161" y="224"/>
                  <a:pt x="161" y="224"/>
                </a:cubicBezTo>
                <a:cubicBezTo>
                  <a:pt x="163" y="221"/>
                  <a:pt x="163" y="221"/>
                  <a:pt x="163" y="221"/>
                </a:cubicBezTo>
                <a:cubicBezTo>
                  <a:pt x="164" y="220"/>
                  <a:pt x="164" y="220"/>
                  <a:pt x="164" y="220"/>
                </a:cubicBezTo>
                <a:cubicBezTo>
                  <a:pt x="164" y="219"/>
                  <a:pt x="164" y="219"/>
                  <a:pt x="164" y="219"/>
                </a:cubicBezTo>
                <a:cubicBezTo>
                  <a:pt x="164" y="218"/>
                  <a:pt x="164" y="218"/>
                  <a:pt x="164" y="218"/>
                </a:cubicBezTo>
                <a:cubicBezTo>
                  <a:pt x="164" y="218"/>
                  <a:pt x="164" y="218"/>
                  <a:pt x="164" y="218"/>
                </a:cubicBezTo>
                <a:cubicBezTo>
                  <a:pt x="165" y="217"/>
                  <a:pt x="165" y="217"/>
                  <a:pt x="165" y="217"/>
                </a:cubicBezTo>
                <a:cubicBezTo>
                  <a:pt x="166" y="216"/>
                  <a:pt x="166" y="216"/>
                  <a:pt x="166" y="216"/>
                </a:cubicBezTo>
                <a:cubicBezTo>
                  <a:pt x="165" y="215"/>
                  <a:pt x="165" y="215"/>
                  <a:pt x="165" y="215"/>
                </a:cubicBezTo>
                <a:cubicBezTo>
                  <a:pt x="166" y="214"/>
                  <a:pt x="166" y="214"/>
                  <a:pt x="166" y="214"/>
                </a:cubicBezTo>
                <a:cubicBezTo>
                  <a:pt x="165" y="214"/>
                  <a:pt x="165" y="214"/>
                  <a:pt x="165" y="214"/>
                </a:cubicBezTo>
                <a:cubicBezTo>
                  <a:pt x="165" y="214"/>
                  <a:pt x="165" y="214"/>
                  <a:pt x="165" y="214"/>
                </a:cubicBezTo>
                <a:cubicBezTo>
                  <a:pt x="165" y="212"/>
                  <a:pt x="165" y="212"/>
                  <a:pt x="165" y="212"/>
                </a:cubicBezTo>
                <a:cubicBezTo>
                  <a:pt x="164" y="211"/>
                  <a:pt x="164" y="211"/>
                  <a:pt x="164" y="211"/>
                </a:cubicBezTo>
                <a:cubicBezTo>
                  <a:pt x="164" y="210"/>
                  <a:pt x="164" y="210"/>
                  <a:pt x="164" y="210"/>
                </a:cubicBezTo>
                <a:cubicBezTo>
                  <a:pt x="164" y="209"/>
                  <a:pt x="164" y="209"/>
                  <a:pt x="164" y="209"/>
                </a:cubicBezTo>
                <a:cubicBezTo>
                  <a:pt x="164" y="208"/>
                  <a:pt x="164" y="208"/>
                  <a:pt x="164" y="208"/>
                </a:cubicBezTo>
                <a:cubicBezTo>
                  <a:pt x="163" y="206"/>
                  <a:pt x="163" y="206"/>
                  <a:pt x="163" y="206"/>
                </a:cubicBezTo>
                <a:cubicBezTo>
                  <a:pt x="163" y="205"/>
                  <a:pt x="163" y="205"/>
                  <a:pt x="163" y="205"/>
                </a:cubicBezTo>
                <a:cubicBezTo>
                  <a:pt x="163" y="204"/>
                  <a:pt x="163" y="204"/>
                  <a:pt x="163" y="204"/>
                </a:cubicBezTo>
                <a:cubicBezTo>
                  <a:pt x="165" y="204"/>
                  <a:pt x="165" y="204"/>
                  <a:pt x="165" y="204"/>
                </a:cubicBezTo>
                <a:cubicBezTo>
                  <a:pt x="164" y="203"/>
                  <a:pt x="164" y="203"/>
                  <a:pt x="164" y="203"/>
                </a:cubicBezTo>
                <a:cubicBezTo>
                  <a:pt x="164" y="202"/>
                  <a:pt x="164" y="202"/>
                  <a:pt x="164" y="202"/>
                </a:cubicBezTo>
                <a:cubicBezTo>
                  <a:pt x="165" y="202"/>
                  <a:pt x="165" y="202"/>
                  <a:pt x="165" y="202"/>
                </a:cubicBezTo>
                <a:cubicBezTo>
                  <a:pt x="165" y="201"/>
                  <a:pt x="165" y="201"/>
                  <a:pt x="165" y="201"/>
                </a:cubicBezTo>
                <a:cubicBezTo>
                  <a:pt x="164" y="200"/>
                  <a:pt x="164" y="200"/>
                  <a:pt x="164" y="200"/>
                </a:cubicBezTo>
                <a:cubicBezTo>
                  <a:pt x="165" y="200"/>
                  <a:pt x="165" y="200"/>
                  <a:pt x="165" y="200"/>
                </a:cubicBezTo>
                <a:cubicBezTo>
                  <a:pt x="166" y="198"/>
                  <a:pt x="166" y="198"/>
                  <a:pt x="166" y="198"/>
                </a:cubicBezTo>
                <a:cubicBezTo>
                  <a:pt x="166" y="199"/>
                  <a:pt x="166" y="199"/>
                  <a:pt x="166" y="199"/>
                </a:cubicBezTo>
                <a:cubicBezTo>
                  <a:pt x="168" y="197"/>
                  <a:pt x="168" y="197"/>
                  <a:pt x="168" y="197"/>
                </a:cubicBezTo>
                <a:cubicBezTo>
                  <a:pt x="169" y="196"/>
                  <a:pt x="169" y="196"/>
                  <a:pt x="169" y="196"/>
                </a:cubicBezTo>
                <a:cubicBezTo>
                  <a:pt x="169" y="196"/>
                  <a:pt x="169" y="196"/>
                  <a:pt x="169" y="196"/>
                </a:cubicBezTo>
                <a:cubicBezTo>
                  <a:pt x="171" y="194"/>
                  <a:pt x="171" y="194"/>
                  <a:pt x="171" y="194"/>
                </a:cubicBezTo>
                <a:cubicBezTo>
                  <a:pt x="173" y="193"/>
                  <a:pt x="173" y="193"/>
                  <a:pt x="173" y="193"/>
                </a:cubicBezTo>
                <a:cubicBezTo>
                  <a:pt x="176" y="190"/>
                  <a:pt x="176" y="190"/>
                  <a:pt x="176" y="190"/>
                </a:cubicBezTo>
                <a:cubicBezTo>
                  <a:pt x="178" y="190"/>
                  <a:pt x="178" y="190"/>
                  <a:pt x="178" y="190"/>
                </a:cubicBezTo>
                <a:cubicBezTo>
                  <a:pt x="179" y="189"/>
                  <a:pt x="179" y="189"/>
                  <a:pt x="179" y="189"/>
                </a:cubicBezTo>
                <a:cubicBezTo>
                  <a:pt x="180" y="188"/>
                  <a:pt x="180" y="188"/>
                  <a:pt x="180" y="188"/>
                </a:cubicBezTo>
                <a:cubicBezTo>
                  <a:pt x="182" y="188"/>
                  <a:pt x="182" y="188"/>
                  <a:pt x="182" y="188"/>
                </a:cubicBezTo>
                <a:cubicBezTo>
                  <a:pt x="182" y="188"/>
                  <a:pt x="182" y="188"/>
                  <a:pt x="182" y="188"/>
                </a:cubicBezTo>
                <a:cubicBezTo>
                  <a:pt x="183" y="188"/>
                  <a:pt x="183" y="188"/>
                  <a:pt x="183" y="188"/>
                </a:cubicBezTo>
                <a:cubicBezTo>
                  <a:pt x="183" y="188"/>
                  <a:pt x="183" y="188"/>
                  <a:pt x="183" y="188"/>
                </a:cubicBezTo>
                <a:cubicBezTo>
                  <a:pt x="184" y="186"/>
                  <a:pt x="184" y="186"/>
                  <a:pt x="184" y="186"/>
                </a:cubicBezTo>
                <a:cubicBezTo>
                  <a:pt x="187" y="184"/>
                  <a:pt x="187" y="184"/>
                  <a:pt x="187" y="184"/>
                </a:cubicBezTo>
                <a:cubicBezTo>
                  <a:pt x="188" y="184"/>
                  <a:pt x="188" y="184"/>
                  <a:pt x="188" y="184"/>
                </a:cubicBezTo>
                <a:cubicBezTo>
                  <a:pt x="188" y="183"/>
                  <a:pt x="188" y="183"/>
                  <a:pt x="188" y="183"/>
                </a:cubicBezTo>
                <a:cubicBezTo>
                  <a:pt x="188" y="183"/>
                  <a:pt x="188" y="183"/>
                  <a:pt x="188" y="183"/>
                </a:cubicBezTo>
                <a:cubicBezTo>
                  <a:pt x="187" y="183"/>
                  <a:pt x="187" y="183"/>
                  <a:pt x="187" y="183"/>
                </a:cubicBezTo>
                <a:cubicBezTo>
                  <a:pt x="186" y="182"/>
                  <a:pt x="186" y="182"/>
                  <a:pt x="186" y="182"/>
                </a:cubicBezTo>
                <a:cubicBezTo>
                  <a:pt x="187" y="182"/>
                  <a:pt x="187" y="182"/>
                  <a:pt x="187" y="182"/>
                </a:cubicBezTo>
                <a:cubicBezTo>
                  <a:pt x="189" y="181"/>
                  <a:pt x="189" y="181"/>
                  <a:pt x="189" y="181"/>
                </a:cubicBezTo>
                <a:cubicBezTo>
                  <a:pt x="190" y="181"/>
                  <a:pt x="190" y="181"/>
                  <a:pt x="190" y="181"/>
                </a:cubicBezTo>
                <a:cubicBezTo>
                  <a:pt x="191" y="181"/>
                  <a:pt x="191" y="181"/>
                  <a:pt x="191" y="181"/>
                </a:cubicBezTo>
                <a:cubicBezTo>
                  <a:pt x="192" y="180"/>
                  <a:pt x="192" y="180"/>
                  <a:pt x="192" y="180"/>
                </a:cubicBezTo>
                <a:cubicBezTo>
                  <a:pt x="193" y="180"/>
                  <a:pt x="193" y="180"/>
                  <a:pt x="193" y="180"/>
                </a:cubicBezTo>
                <a:cubicBezTo>
                  <a:pt x="193" y="181"/>
                  <a:pt x="193" y="181"/>
                  <a:pt x="193" y="181"/>
                </a:cubicBezTo>
                <a:cubicBezTo>
                  <a:pt x="191" y="182"/>
                  <a:pt x="191" y="182"/>
                  <a:pt x="191" y="182"/>
                </a:cubicBezTo>
                <a:cubicBezTo>
                  <a:pt x="189" y="182"/>
                  <a:pt x="189" y="182"/>
                  <a:pt x="189" y="182"/>
                </a:cubicBezTo>
                <a:cubicBezTo>
                  <a:pt x="189" y="182"/>
                  <a:pt x="189" y="182"/>
                  <a:pt x="189" y="182"/>
                </a:cubicBezTo>
                <a:cubicBezTo>
                  <a:pt x="190" y="183"/>
                  <a:pt x="190" y="183"/>
                  <a:pt x="190" y="183"/>
                </a:cubicBezTo>
                <a:cubicBezTo>
                  <a:pt x="192" y="182"/>
                  <a:pt x="192" y="182"/>
                  <a:pt x="192" y="182"/>
                </a:cubicBezTo>
                <a:cubicBezTo>
                  <a:pt x="195" y="181"/>
                  <a:pt x="195" y="181"/>
                  <a:pt x="195" y="181"/>
                </a:cubicBezTo>
                <a:cubicBezTo>
                  <a:pt x="195" y="180"/>
                  <a:pt x="195" y="180"/>
                  <a:pt x="195" y="180"/>
                </a:cubicBezTo>
                <a:cubicBezTo>
                  <a:pt x="196" y="180"/>
                  <a:pt x="196" y="180"/>
                  <a:pt x="196" y="180"/>
                </a:cubicBezTo>
                <a:cubicBezTo>
                  <a:pt x="196" y="180"/>
                  <a:pt x="196" y="180"/>
                  <a:pt x="196" y="180"/>
                </a:cubicBezTo>
                <a:cubicBezTo>
                  <a:pt x="196" y="180"/>
                  <a:pt x="196" y="180"/>
                  <a:pt x="196" y="180"/>
                </a:cubicBezTo>
                <a:cubicBezTo>
                  <a:pt x="196" y="180"/>
                  <a:pt x="196" y="182"/>
                  <a:pt x="196" y="182"/>
                </a:cubicBezTo>
                <a:cubicBezTo>
                  <a:pt x="196" y="182"/>
                  <a:pt x="198" y="182"/>
                  <a:pt x="198" y="182"/>
                </a:cubicBezTo>
                <a:cubicBezTo>
                  <a:pt x="199" y="181"/>
                  <a:pt x="199" y="181"/>
                  <a:pt x="199" y="181"/>
                </a:cubicBezTo>
                <a:cubicBezTo>
                  <a:pt x="201" y="181"/>
                  <a:pt x="201" y="181"/>
                  <a:pt x="201" y="181"/>
                </a:cubicBezTo>
                <a:cubicBezTo>
                  <a:pt x="203" y="182"/>
                  <a:pt x="203" y="182"/>
                  <a:pt x="203" y="182"/>
                </a:cubicBezTo>
                <a:cubicBezTo>
                  <a:pt x="204" y="181"/>
                  <a:pt x="204" y="181"/>
                  <a:pt x="204" y="181"/>
                </a:cubicBezTo>
                <a:cubicBezTo>
                  <a:pt x="204" y="180"/>
                  <a:pt x="204" y="180"/>
                  <a:pt x="204" y="180"/>
                </a:cubicBezTo>
                <a:cubicBezTo>
                  <a:pt x="204" y="180"/>
                  <a:pt x="204" y="180"/>
                  <a:pt x="204" y="180"/>
                </a:cubicBezTo>
                <a:cubicBezTo>
                  <a:pt x="204" y="179"/>
                  <a:pt x="204" y="179"/>
                  <a:pt x="204" y="179"/>
                </a:cubicBezTo>
                <a:cubicBezTo>
                  <a:pt x="207" y="177"/>
                  <a:pt x="207" y="177"/>
                  <a:pt x="207" y="177"/>
                </a:cubicBezTo>
                <a:cubicBezTo>
                  <a:pt x="209" y="176"/>
                  <a:pt x="209" y="176"/>
                  <a:pt x="209" y="176"/>
                </a:cubicBezTo>
                <a:cubicBezTo>
                  <a:pt x="210" y="176"/>
                  <a:pt x="210" y="176"/>
                  <a:pt x="210" y="176"/>
                </a:cubicBezTo>
                <a:cubicBezTo>
                  <a:pt x="211" y="175"/>
                  <a:pt x="211" y="175"/>
                  <a:pt x="211" y="175"/>
                </a:cubicBezTo>
                <a:cubicBezTo>
                  <a:pt x="211" y="174"/>
                  <a:pt x="211" y="174"/>
                  <a:pt x="211" y="174"/>
                </a:cubicBezTo>
                <a:cubicBezTo>
                  <a:pt x="209" y="172"/>
                  <a:pt x="209" y="172"/>
                  <a:pt x="209" y="172"/>
                </a:cubicBezTo>
                <a:cubicBezTo>
                  <a:pt x="210" y="170"/>
                  <a:pt x="210" y="170"/>
                  <a:pt x="210" y="170"/>
                </a:cubicBezTo>
                <a:cubicBezTo>
                  <a:pt x="211" y="169"/>
                  <a:pt x="211" y="169"/>
                  <a:pt x="211" y="169"/>
                </a:cubicBezTo>
                <a:cubicBezTo>
                  <a:pt x="211" y="168"/>
                  <a:pt x="211" y="168"/>
                  <a:pt x="211" y="168"/>
                </a:cubicBezTo>
                <a:cubicBezTo>
                  <a:pt x="212" y="167"/>
                  <a:pt x="212" y="167"/>
                  <a:pt x="212" y="167"/>
                </a:cubicBezTo>
                <a:cubicBezTo>
                  <a:pt x="213" y="167"/>
                  <a:pt x="213" y="167"/>
                  <a:pt x="213" y="167"/>
                </a:cubicBezTo>
                <a:cubicBezTo>
                  <a:pt x="213" y="165"/>
                  <a:pt x="213" y="165"/>
                  <a:pt x="213" y="165"/>
                </a:cubicBezTo>
                <a:cubicBezTo>
                  <a:pt x="213" y="165"/>
                  <a:pt x="213" y="165"/>
                  <a:pt x="213" y="165"/>
                </a:cubicBezTo>
                <a:cubicBezTo>
                  <a:pt x="214" y="162"/>
                  <a:pt x="214" y="162"/>
                  <a:pt x="214" y="162"/>
                </a:cubicBezTo>
                <a:cubicBezTo>
                  <a:pt x="217" y="160"/>
                  <a:pt x="217" y="160"/>
                  <a:pt x="217" y="160"/>
                </a:cubicBezTo>
                <a:cubicBezTo>
                  <a:pt x="217" y="158"/>
                  <a:pt x="217" y="158"/>
                  <a:pt x="217" y="158"/>
                </a:cubicBezTo>
                <a:cubicBezTo>
                  <a:pt x="216" y="154"/>
                  <a:pt x="216" y="154"/>
                  <a:pt x="216" y="154"/>
                </a:cubicBezTo>
                <a:cubicBezTo>
                  <a:pt x="216" y="154"/>
                  <a:pt x="216" y="154"/>
                  <a:pt x="216" y="154"/>
                </a:cubicBezTo>
                <a:cubicBezTo>
                  <a:pt x="217" y="151"/>
                  <a:pt x="217" y="151"/>
                  <a:pt x="217" y="151"/>
                </a:cubicBezTo>
                <a:cubicBezTo>
                  <a:pt x="217" y="150"/>
                  <a:pt x="217" y="150"/>
                  <a:pt x="217" y="150"/>
                </a:cubicBezTo>
                <a:cubicBezTo>
                  <a:pt x="218" y="149"/>
                  <a:pt x="218" y="149"/>
                  <a:pt x="218" y="149"/>
                </a:cubicBezTo>
                <a:cubicBezTo>
                  <a:pt x="219" y="148"/>
                  <a:pt x="219" y="148"/>
                  <a:pt x="219" y="148"/>
                </a:cubicBezTo>
                <a:cubicBezTo>
                  <a:pt x="220" y="147"/>
                  <a:pt x="220" y="147"/>
                  <a:pt x="220" y="147"/>
                </a:cubicBezTo>
                <a:cubicBezTo>
                  <a:pt x="219" y="145"/>
                  <a:pt x="219" y="145"/>
                  <a:pt x="219" y="145"/>
                </a:cubicBezTo>
                <a:cubicBezTo>
                  <a:pt x="220" y="142"/>
                  <a:pt x="220" y="142"/>
                  <a:pt x="220" y="142"/>
                </a:cubicBezTo>
                <a:cubicBezTo>
                  <a:pt x="220" y="140"/>
                  <a:pt x="220" y="140"/>
                  <a:pt x="220" y="140"/>
                </a:cubicBezTo>
                <a:cubicBezTo>
                  <a:pt x="220" y="138"/>
                  <a:pt x="220" y="138"/>
                  <a:pt x="220" y="138"/>
                </a:cubicBezTo>
                <a:cubicBezTo>
                  <a:pt x="220" y="137"/>
                  <a:pt x="220" y="137"/>
                  <a:pt x="220" y="137"/>
                </a:cubicBezTo>
                <a:cubicBezTo>
                  <a:pt x="221" y="135"/>
                  <a:pt x="221" y="135"/>
                  <a:pt x="221" y="135"/>
                </a:cubicBezTo>
                <a:cubicBezTo>
                  <a:pt x="220" y="127"/>
                  <a:pt x="220" y="127"/>
                  <a:pt x="220" y="127"/>
                </a:cubicBezTo>
                <a:cubicBezTo>
                  <a:pt x="220" y="125"/>
                  <a:pt x="220" y="125"/>
                  <a:pt x="220" y="125"/>
                </a:cubicBezTo>
                <a:cubicBezTo>
                  <a:pt x="221" y="124"/>
                  <a:pt x="221" y="124"/>
                  <a:pt x="221" y="124"/>
                </a:cubicBezTo>
                <a:cubicBezTo>
                  <a:pt x="221" y="123"/>
                  <a:pt x="221" y="123"/>
                  <a:pt x="221" y="123"/>
                </a:cubicBezTo>
                <a:cubicBezTo>
                  <a:pt x="220" y="123"/>
                  <a:pt x="220" y="123"/>
                  <a:pt x="220" y="123"/>
                </a:cubicBezTo>
                <a:cubicBezTo>
                  <a:pt x="219" y="123"/>
                  <a:pt x="219" y="123"/>
                  <a:pt x="219" y="123"/>
                </a:cubicBezTo>
                <a:cubicBezTo>
                  <a:pt x="219" y="122"/>
                  <a:pt x="219" y="122"/>
                  <a:pt x="219" y="122"/>
                </a:cubicBezTo>
                <a:cubicBezTo>
                  <a:pt x="220" y="120"/>
                  <a:pt x="220" y="120"/>
                  <a:pt x="220" y="120"/>
                </a:cubicBezTo>
                <a:cubicBezTo>
                  <a:pt x="220" y="119"/>
                  <a:pt x="220" y="119"/>
                  <a:pt x="220" y="119"/>
                </a:cubicBezTo>
                <a:cubicBezTo>
                  <a:pt x="220" y="118"/>
                  <a:pt x="220" y="118"/>
                  <a:pt x="220" y="118"/>
                </a:cubicBezTo>
                <a:cubicBezTo>
                  <a:pt x="221" y="118"/>
                  <a:pt x="221" y="118"/>
                  <a:pt x="221" y="118"/>
                </a:cubicBezTo>
                <a:cubicBezTo>
                  <a:pt x="221" y="116"/>
                  <a:pt x="221" y="116"/>
                  <a:pt x="221" y="116"/>
                </a:cubicBezTo>
                <a:cubicBezTo>
                  <a:pt x="220" y="115"/>
                  <a:pt x="220" y="115"/>
                  <a:pt x="220" y="115"/>
                </a:cubicBezTo>
                <a:cubicBezTo>
                  <a:pt x="218" y="114"/>
                  <a:pt x="218" y="114"/>
                  <a:pt x="218" y="114"/>
                </a:cubicBezTo>
                <a:cubicBezTo>
                  <a:pt x="219" y="114"/>
                  <a:pt x="219" y="114"/>
                  <a:pt x="219" y="114"/>
                </a:cubicBezTo>
                <a:cubicBezTo>
                  <a:pt x="219" y="113"/>
                  <a:pt x="219" y="113"/>
                  <a:pt x="219" y="113"/>
                </a:cubicBezTo>
                <a:cubicBezTo>
                  <a:pt x="219" y="114"/>
                  <a:pt x="219" y="114"/>
                  <a:pt x="219" y="114"/>
                </a:cubicBezTo>
                <a:cubicBezTo>
                  <a:pt x="220" y="115"/>
                  <a:pt x="220" y="115"/>
                  <a:pt x="220" y="115"/>
                </a:cubicBezTo>
                <a:cubicBezTo>
                  <a:pt x="221" y="115"/>
                  <a:pt x="221" y="115"/>
                  <a:pt x="221" y="115"/>
                </a:cubicBezTo>
                <a:cubicBezTo>
                  <a:pt x="222" y="114"/>
                  <a:pt x="222" y="114"/>
                  <a:pt x="222" y="114"/>
                </a:cubicBezTo>
                <a:cubicBezTo>
                  <a:pt x="223" y="114"/>
                  <a:pt x="223" y="114"/>
                  <a:pt x="223" y="114"/>
                </a:cubicBezTo>
                <a:cubicBezTo>
                  <a:pt x="223" y="114"/>
                  <a:pt x="223" y="114"/>
                  <a:pt x="223" y="114"/>
                </a:cubicBezTo>
                <a:cubicBezTo>
                  <a:pt x="224" y="115"/>
                  <a:pt x="224" y="115"/>
                  <a:pt x="224" y="115"/>
                </a:cubicBezTo>
                <a:cubicBezTo>
                  <a:pt x="223" y="116"/>
                  <a:pt x="223" y="116"/>
                  <a:pt x="223" y="116"/>
                </a:cubicBezTo>
                <a:cubicBezTo>
                  <a:pt x="222" y="116"/>
                  <a:pt x="222" y="116"/>
                  <a:pt x="222" y="116"/>
                </a:cubicBezTo>
                <a:cubicBezTo>
                  <a:pt x="222" y="117"/>
                  <a:pt x="222" y="117"/>
                  <a:pt x="222" y="117"/>
                </a:cubicBezTo>
                <a:cubicBezTo>
                  <a:pt x="222" y="117"/>
                  <a:pt x="222" y="117"/>
                  <a:pt x="222" y="117"/>
                </a:cubicBezTo>
                <a:cubicBezTo>
                  <a:pt x="224" y="116"/>
                  <a:pt x="224" y="116"/>
                  <a:pt x="224" y="116"/>
                </a:cubicBezTo>
                <a:cubicBezTo>
                  <a:pt x="225" y="115"/>
                  <a:pt x="225" y="115"/>
                  <a:pt x="225" y="115"/>
                </a:cubicBezTo>
                <a:cubicBezTo>
                  <a:pt x="227" y="112"/>
                  <a:pt x="227" y="112"/>
                  <a:pt x="227" y="112"/>
                </a:cubicBezTo>
                <a:cubicBezTo>
                  <a:pt x="228" y="110"/>
                  <a:pt x="228" y="110"/>
                  <a:pt x="228" y="110"/>
                </a:cubicBezTo>
                <a:cubicBezTo>
                  <a:pt x="229" y="108"/>
                  <a:pt x="229" y="108"/>
                  <a:pt x="229" y="108"/>
                </a:cubicBezTo>
                <a:cubicBezTo>
                  <a:pt x="229" y="107"/>
                  <a:pt x="229" y="107"/>
                  <a:pt x="229" y="107"/>
                </a:cubicBezTo>
                <a:cubicBezTo>
                  <a:pt x="230" y="105"/>
                  <a:pt x="230" y="105"/>
                  <a:pt x="230" y="105"/>
                </a:cubicBezTo>
                <a:cubicBezTo>
                  <a:pt x="231" y="103"/>
                  <a:pt x="231" y="103"/>
                  <a:pt x="231" y="103"/>
                </a:cubicBezTo>
                <a:cubicBezTo>
                  <a:pt x="234" y="101"/>
                  <a:pt x="234" y="101"/>
                  <a:pt x="234" y="101"/>
                </a:cubicBezTo>
                <a:cubicBezTo>
                  <a:pt x="235" y="100"/>
                  <a:pt x="235" y="100"/>
                  <a:pt x="235" y="100"/>
                </a:cubicBezTo>
                <a:cubicBezTo>
                  <a:pt x="236" y="100"/>
                  <a:pt x="236" y="100"/>
                  <a:pt x="236" y="100"/>
                </a:cubicBezTo>
                <a:cubicBezTo>
                  <a:pt x="237" y="99"/>
                  <a:pt x="237" y="99"/>
                  <a:pt x="237" y="99"/>
                </a:cubicBezTo>
                <a:cubicBezTo>
                  <a:pt x="239" y="96"/>
                  <a:pt x="239" y="96"/>
                  <a:pt x="239" y="96"/>
                </a:cubicBezTo>
                <a:cubicBezTo>
                  <a:pt x="242" y="93"/>
                  <a:pt x="242" y="93"/>
                  <a:pt x="242" y="93"/>
                </a:cubicBezTo>
                <a:cubicBezTo>
                  <a:pt x="243" y="92"/>
                  <a:pt x="243" y="92"/>
                  <a:pt x="243" y="92"/>
                </a:cubicBezTo>
                <a:cubicBezTo>
                  <a:pt x="244" y="88"/>
                  <a:pt x="244" y="88"/>
                  <a:pt x="244" y="88"/>
                </a:cubicBezTo>
                <a:cubicBezTo>
                  <a:pt x="244" y="87"/>
                  <a:pt x="244" y="87"/>
                  <a:pt x="244" y="87"/>
                </a:cubicBezTo>
                <a:cubicBezTo>
                  <a:pt x="245" y="86"/>
                  <a:pt x="245" y="86"/>
                  <a:pt x="245" y="86"/>
                </a:cubicBezTo>
                <a:cubicBezTo>
                  <a:pt x="245" y="85"/>
                  <a:pt x="245" y="85"/>
                  <a:pt x="245" y="85"/>
                </a:cubicBezTo>
                <a:cubicBezTo>
                  <a:pt x="244" y="83"/>
                  <a:pt x="244" y="83"/>
                  <a:pt x="244" y="83"/>
                </a:cubicBezTo>
                <a:cubicBezTo>
                  <a:pt x="245" y="82"/>
                  <a:pt x="245" y="82"/>
                  <a:pt x="245" y="82"/>
                </a:cubicBezTo>
                <a:cubicBezTo>
                  <a:pt x="245" y="82"/>
                  <a:pt x="245" y="82"/>
                  <a:pt x="245" y="82"/>
                </a:cubicBezTo>
                <a:cubicBezTo>
                  <a:pt x="245" y="78"/>
                  <a:pt x="245" y="78"/>
                  <a:pt x="245" y="78"/>
                </a:cubicBezTo>
                <a:cubicBezTo>
                  <a:pt x="245" y="78"/>
                  <a:pt x="245" y="78"/>
                  <a:pt x="245" y="78"/>
                </a:cubicBezTo>
                <a:cubicBezTo>
                  <a:pt x="244" y="76"/>
                  <a:pt x="244" y="76"/>
                  <a:pt x="244" y="76"/>
                </a:cubicBezTo>
                <a:cubicBezTo>
                  <a:pt x="242" y="72"/>
                  <a:pt x="242" y="72"/>
                  <a:pt x="242" y="72"/>
                </a:cubicBezTo>
                <a:cubicBezTo>
                  <a:pt x="242" y="70"/>
                  <a:pt x="242" y="70"/>
                  <a:pt x="242" y="70"/>
                </a:cubicBezTo>
                <a:cubicBezTo>
                  <a:pt x="242" y="68"/>
                  <a:pt x="242" y="68"/>
                  <a:pt x="242" y="68"/>
                </a:cubicBezTo>
                <a:cubicBezTo>
                  <a:pt x="238" y="66"/>
                  <a:pt x="238" y="66"/>
                  <a:pt x="238" y="66"/>
                </a:cubicBezTo>
                <a:cubicBezTo>
                  <a:pt x="235" y="66"/>
                  <a:pt x="235" y="66"/>
                  <a:pt x="235" y="66"/>
                </a:cubicBezTo>
                <a:cubicBezTo>
                  <a:pt x="234" y="67"/>
                  <a:pt x="234" y="67"/>
                  <a:pt x="234" y="67"/>
                </a:cubicBezTo>
                <a:cubicBezTo>
                  <a:pt x="232" y="65"/>
                  <a:pt x="232" y="65"/>
                  <a:pt x="232" y="65"/>
                </a:cubicBezTo>
                <a:cubicBezTo>
                  <a:pt x="231" y="65"/>
                  <a:pt x="231" y="65"/>
                  <a:pt x="231" y="65"/>
                </a:cubicBezTo>
                <a:cubicBezTo>
                  <a:pt x="230" y="64"/>
                  <a:pt x="230" y="64"/>
                  <a:pt x="230" y="64"/>
                </a:cubicBezTo>
                <a:cubicBezTo>
                  <a:pt x="228" y="63"/>
                  <a:pt x="228" y="63"/>
                  <a:pt x="228" y="63"/>
                </a:cubicBezTo>
                <a:cubicBezTo>
                  <a:pt x="227" y="62"/>
                  <a:pt x="227" y="62"/>
                  <a:pt x="227" y="62"/>
                </a:cubicBezTo>
                <a:cubicBezTo>
                  <a:pt x="224" y="59"/>
                  <a:pt x="224" y="59"/>
                  <a:pt x="224" y="59"/>
                </a:cubicBezTo>
                <a:cubicBezTo>
                  <a:pt x="222" y="56"/>
                  <a:pt x="222" y="56"/>
                  <a:pt x="222" y="56"/>
                </a:cubicBezTo>
                <a:cubicBezTo>
                  <a:pt x="220" y="56"/>
                  <a:pt x="220" y="56"/>
                  <a:pt x="220" y="56"/>
                </a:cubicBezTo>
                <a:cubicBezTo>
                  <a:pt x="219" y="55"/>
                  <a:pt x="219" y="55"/>
                  <a:pt x="219" y="55"/>
                </a:cubicBezTo>
                <a:cubicBezTo>
                  <a:pt x="218" y="55"/>
                  <a:pt x="218" y="55"/>
                  <a:pt x="218" y="55"/>
                </a:cubicBezTo>
                <a:cubicBezTo>
                  <a:pt x="214" y="52"/>
                  <a:pt x="214" y="52"/>
                  <a:pt x="214" y="52"/>
                </a:cubicBezTo>
                <a:cubicBezTo>
                  <a:pt x="212" y="52"/>
                  <a:pt x="212" y="52"/>
                  <a:pt x="212" y="52"/>
                </a:cubicBezTo>
                <a:cubicBezTo>
                  <a:pt x="210" y="51"/>
                  <a:pt x="210" y="51"/>
                  <a:pt x="210" y="51"/>
                </a:cubicBezTo>
                <a:cubicBezTo>
                  <a:pt x="209" y="52"/>
                  <a:pt x="209" y="52"/>
                  <a:pt x="209" y="52"/>
                </a:cubicBezTo>
                <a:cubicBezTo>
                  <a:pt x="207" y="52"/>
                  <a:pt x="207" y="52"/>
                  <a:pt x="207" y="52"/>
                </a:cubicBezTo>
                <a:cubicBezTo>
                  <a:pt x="206" y="51"/>
                  <a:pt x="206" y="51"/>
                  <a:pt x="206" y="51"/>
                </a:cubicBezTo>
                <a:cubicBezTo>
                  <a:pt x="205" y="52"/>
                  <a:pt x="205" y="52"/>
                  <a:pt x="205" y="52"/>
                </a:cubicBezTo>
                <a:cubicBezTo>
                  <a:pt x="204" y="53"/>
                  <a:pt x="204" y="53"/>
                  <a:pt x="204" y="53"/>
                </a:cubicBezTo>
                <a:cubicBezTo>
                  <a:pt x="204" y="52"/>
                  <a:pt x="204" y="52"/>
                  <a:pt x="204" y="52"/>
                </a:cubicBezTo>
                <a:cubicBezTo>
                  <a:pt x="202" y="51"/>
                  <a:pt x="202" y="51"/>
                  <a:pt x="202" y="51"/>
                </a:cubicBezTo>
                <a:cubicBezTo>
                  <a:pt x="202" y="51"/>
                  <a:pt x="202" y="51"/>
                  <a:pt x="202" y="51"/>
                </a:cubicBezTo>
                <a:cubicBezTo>
                  <a:pt x="201" y="51"/>
                  <a:pt x="201" y="51"/>
                  <a:pt x="201" y="51"/>
                </a:cubicBezTo>
                <a:cubicBezTo>
                  <a:pt x="201" y="51"/>
                  <a:pt x="201" y="51"/>
                  <a:pt x="201" y="51"/>
                </a:cubicBezTo>
                <a:cubicBezTo>
                  <a:pt x="201" y="52"/>
                  <a:pt x="201" y="52"/>
                  <a:pt x="201" y="52"/>
                </a:cubicBezTo>
                <a:cubicBezTo>
                  <a:pt x="200" y="51"/>
                  <a:pt x="200" y="51"/>
                  <a:pt x="200" y="51"/>
                </a:cubicBezTo>
                <a:cubicBezTo>
                  <a:pt x="199" y="51"/>
                  <a:pt x="199" y="51"/>
                  <a:pt x="199" y="51"/>
                </a:cubicBezTo>
                <a:cubicBezTo>
                  <a:pt x="199" y="50"/>
                  <a:pt x="199" y="50"/>
                  <a:pt x="199" y="50"/>
                </a:cubicBezTo>
                <a:cubicBezTo>
                  <a:pt x="199" y="51"/>
                  <a:pt x="199" y="51"/>
                  <a:pt x="199" y="51"/>
                </a:cubicBezTo>
                <a:cubicBezTo>
                  <a:pt x="199" y="51"/>
                  <a:pt x="199" y="51"/>
                  <a:pt x="199" y="51"/>
                </a:cubicBezTo>
                <a:cubicBezTo>
                  <a:pt x="197" y="50"/>
                  <a:pt x="197" y="50"/>
                  <a:pt x="197" y="50"/>
                </a:cubicBezTo>
                <a:cubicBezTo>
                  <a:pt x="196" y="51"/>
                  <a:pt x="196" y="51"/>
                  <a:pt x="196" y="51"/>
                </a:cubicBezTo>
                <a:cubicBezTo>
                  <a:pt x="195" y="50"/>
                  <a:pt x="195" y="50"/>
                  <a:pt x="195" y="50"/>
                </a:cubicBezTo>
                <a:cubicBezTo>
                  <a:pt x="191" y="49"/>
                  <a:pt x="191" y="49"/>
                  <a:pt x="191" y="49"/>
                </a:cubicBezTo>
                <a:cubicBezTo>
                  <a:pt x="190" y="49"/>
                  <a:pt x="190" y="49"/>
                  <a:pt x="190" y="49"/>
                </a:cubicBezTo>
                <a:cubicBezTo>
                  <a:pt x="190" y="49"/>
                  <a:pt x="190" y="49"/>
                  <a:pt x="190" y="49"/>
                </a:cubicBezTo>
                <a:cubicBezTo>
                  <a:pt x="190" y="50"/>
                  <a:pt x="190" y="50"/>
                  <a:pt x="190" y="50"/>
                </a:cubicBezTo>
                <a:cubicBezTo>
                  <a:pt x="190" y="50"/>
                  <a:pt x="190" y="50"/>
                  <a:pt x="190" y="50"/>
                </a:cubicBezTo>
                <a:cubicBezTo>
                  <a:pt x="189" y="50"/>
                  <a:pt x="189" y="50"/>
                  <a:pt x="189" y="50"/>
                </a:cubicBezTo>
                <a:cubicBezTo>
                  <a:pt x="189" y="50"/>
                  <a:pt x="189" y="50"/>
                  <a:pt x="189" y="50"/>
                </a:cubicBezTo>
                <a:cubicBezTo>
                  <a:pt x="188" y="50"/>
                  <a:pt x="188" y="50"/>
                  <a:pt x="188" y="50"/>
                </a:cubicBezTo>
                <a:cubicBezTo>
                  <a:pt x="187" y="51"/>
                  <a:pt x="187" y="51"/>
                  <a:pt x="187" y="51"/>
                </a:cubicBezTo>
                <a:cubicBezTo>
                  <a:pt x="187" y="52"/>
                  <a:pt x="187" y="52"/>
                  <a:pt x="187" y="52"/>
                </a:cubicBezTo>
                <a:cubicBezTo>
                  <a:pt x="187" y="53"/>
                  <a:pt x="187" y="53"/>
                  <a:pt x="187" y="53"/>
                </a:cubicBezTo>
                <a:cubicBezTo>
                  <a:pt x="186" y="52"/>
                  <a:pt x="186" y="52"/>
                  <a:pt x="186" y="52"/>
                </a:cubicBezTo>
                <a:cubicBezTo>
                  <a:pt x="186" y="51"/>
                  <a:pt x="186" y="51"/>
                  <a:pt x="186" y="51"/>
                </a:cubicBezTo>
                <a:cubicBezTo>
                  <a:pt x="185" y="51"/>
                  <a:pt x="185" y="51"/>
                  <a:pt x="185" y="51"/>
                </a:cubicBezTo>
                <a:cubicBezTo>
                  <a:pt x="185" y="53"/>
                  <a:pt x="185" y="53"/>
                  <a:pt x="185" y="53"/>
                </a:cubicBezTo>
                <a:cubicBezTo>
                  <a:pt x="184" y="55"/>
                  <a:pt x="184" y="55"/>
                  <a:pt x="184" y="55"/>
                </a:cubicBezTo>
                <a:cubicBezTo>
                  <a:pt x="184" y="56"/>
                  <a:pt x="184" y="56"/>
                  <a:pt x="184" y="56"/>
                </a:cubicBezTo>
                <a:cubicBezTo>
                  <a:pt x="184" y="55"/>
                  <a:pt x="184" y="55"/>
                  <a:pt x="184" y="55"/>
                </a:cubicBezTo>
                <a:cubicBezTo>
                  <a:pt x="184" y="53"/>
                  <a:pt x="184" y="53"/>
                  <a:pt x="184" y="53"/>
                </a:cubicBezTo>
                <a:cubicBezTo>
                  <a:pt x="184" y="52"/>
                  <a:pt x="184" y="52"/>
                  <a:pt x="184" y="52"/>
                </a:cubicBezTo>
                <a:cubicBezTo>
                  <a:pt x="184" y="50"/>
                  <a:pt x="184" y="50"/>
                  <a:pt x="184" y="50"/>
                </a:cubicBezTo>
                <a:cubicBezTo>
                  <a:pt x="185" y="49"/>
                  <a:pt x="185" y="49"/>
                  <a:pt x="185" y="49"/>
                </a:cubicBezTo>
                <a:cubicBezTo>
                  <a:pt x="185" y="49"/>
                  <a:pt x="185" y="49"/>
                  <a:pt x="185" y="49"/>
                </a:cubicBezTo>
                <a:cubicBezTo>
                  <a:pt x="184" y="49"/>
                  <a:pt x="184" y="49"/>
                  <a:pt x="184" y="49"/>
                </a:cubicBezTo>
                <a:cubicBezTo>
                  <a:pt x="185" y="47"/>
                  <a:pt x="185" y="47"/>
                  <a:pt x="185" y="47"/>
                </a:cubicBezTo>
                <a:cubicBezTo>
                  <a:pt x="183" y="45"/>
                  <a:pt x="183" y="45"/>
                  <a:pt x="183" y="45"/>
                </a:cubicBezTo>
                <a:cubicBezTo>
                  <a:pt x="182" y="44"/>
                  <a:pt x="182" y="44"/>
                  <a:pt x="182" y="44"/>
                </a:cubicBezTo>
                <a:cubicBezTo>
                  <a:pt x="181" y="44"/>
                  <a:pt x="181" y="44"/>
                  <a:pt x="181" y="44"/>
                </a:cubicBezTo>
                <a:cubicBezTo>
                  <a:pt x="180" y="44"/>
                  <a:pt x="180" y="44"/>
                  <a:pt x="180" y="44"/>
                </a:cubicBezTo>
                <a:cubicBezTo>
                  <a:pt x="179" y="45"/>
                  <a:pt x="179" y="45"/>
                  <a:pt x="179" y="45"/>
                </a:cubicBezTo>
                <a:cubicBezTo>
                  <a:pt x="178" y="45"/>
                  <a:pt x="178" y="45"/>
                  <a:pt x="178" y="45"/>
                </a:cubicBezTo>
                <a:cubicBezTo>
                  <a:pt x="178" y="44"/>
                  <a:pt x="178" y="44"/>
                  <a:pt x="178" y="44"/>
                </a:cubicBezTo>
                <a:cubicBezTo>
                  <a:pt x="177" y="44"/>
                  <a:pt x="177" y="44"/>
                  <a:pt x="177" y="44"/>
                </a:cubicBezTo>
                <a:cubicBezTo>
                  <a:pt x="177" y="43"/>
                  <a:pt x="177" y="43"/>
                  <a:pt x="177" y="43"/>
                </a:cubicBezTo>
                <a:cubicBezTo>
                  <a:pt x="176" y="42"/>
                  <a:pt x="176" y="42"/>
                  <a:pt x="176" y="42"/>
                </a:cubicBezTo>
                <a:cubicBezTo>
                  <a:pt x="175" y="42"/>
                  <a:pt x="175" y="42"/>
                  <a:pt x="175" y="42"/>
                </a:cubicBezTo>
                <a:cubicBezTo>
                  <a:pt x="175" y="42"/>
                  <a:pt x="175" y="42"/>
                  <a:pt x="175" y="42"/>
                </a:cubicBezTo>
                <a:cubicBezTo>
                  <a:pt x="174" y="41"/>
                  <a:pt x="174" y="41"/>
                  <a:pt x="174" y="41"/>
                </a:cubicBezTo>
                <a:cubicBezTo>
                  <a:pt x="173" y="42"/>
                  <a:pt x="173" y="42"/>
                  <a:pt x="173" y="42"/>
                </a:cubicBezTo>
                <a:cubicBezTo>
                  <a:pt x="173" y="41"/>
                  <a:pt x="173" y="41"/>
                  <a:pt x="173" y="41"/>
                </a:cubicBezTo>
                <a:cubicBezTo>
                  <a:pt x="173" y="41"/>
                  <a:pt x="173" y="41"/>
                  <a:pt x="173" y="41"/>
                </a:cubicBezTo>
                <a:cubicBezTo>
                  <a:pt x="172" y="40"/>
                  <a:pt x="172" y="40"/>
                  <a:pt x="172" y="40"/>
                </a:cubicBezTo>
                <a:cubicBezTo>
                  <a:pt x="171" y="40"/>
                  <a:pt x="171" y="40"/>
                  <a:pt x="171" y="40"/>
                </a:cubicBezTo>
                <a:cubicBezTo>
                  <a:pt x="170" y="40"/>
                  <a:pt x="170" y="40"/>
                  <a:pt x="170" y="40"/>
                </a:cubicBezTo>
                <a:cubicBezTo>
                  <a:pt x="168" y="39"/>
                  <a:pt x="168" y="39"/>
                  <a:pt x="168" y="39"/>
                </a:cubicBezTo>
                <a:cubicBezTo>
                  <a:pt x="168" y="39"/>
                  <a:pt x="168" y="39"/>
                  <a:pt x="168" y="39"/>
                </a:cubicBezTo>
                <a:cubicBezTo>
                  <a:pt x="167" y="39"/>
                  <a:pt x="167" y="39"/>
                  <a:pt x="167" y="39"/>
                </a:cubicBezTo>
                <a:cubicBezTo>
                  <a:pt x="166" y="39"/>
                  <a:pt x="166" y="39"/>
                  <a:pt x="166" y="39"/>
                </a:cubicBezTo>
                <a:cubicBezTo>
                  <a:pt x="165" y="39"/>
                  <a:pt x="165" y="39"/>
                  <a:pt x="165" y="39"/>
                </a:cubicBezTo>
                <a:cubicBezTo>
                  <a:pt x="165" y="40"/>
                  <a:pt x="165" y="40"/>
                  <a:pt x="165" y="40"/>
                </a:cubicBezTo>
                <a:cubicBezTo>
                  <a:pt x="165" y="40"/>
                  <a:pt x="165" y="40"/>
                  <a:pt x="165" y="40"/>
                </a:cubicBezTo>
                <a:cubicBezTo>
                  <a:pt x="164" y="39"/>
                  <a:pt x="164" y="39"/>
                  <a:pt x="164" y="39"/>
                </a:cubicBezTo>
                <a:cubicBezTo>
                  <a:pt x="163" y="39"/>
                  <a:pt x="163" y="39"/>
                  <a:pt x="163" y="39"/>
                </a:cubicBezTo>
                <a:cubicBezTo>
                  <a:pt x="162" y="39"/>
                  <a:pt x="162" y="39"/>
                  <a:pt x="162" y="39"/>
                </a:cubicBezTo>
                <a:cubicBezTo>
                  <a:pt x="161" y="41"/>
                  <a:pt x="161" y="41"/>
                  <a:pt x="161" y="41"/>
                </a:cubicBezTo>
                <a:cubicBezTo>
                  <a:pt x="161" y="41"/>
                  <a:pt x="161" y="41"/>
                  <a:pt x="161" y="41"/>
                </a:cubicBezTo>
                <a:cubicBezTo>
                  <a:pt x="160" y="43"/>
                  <a:pt x="160" y="43"/>
                  <a:pt x="160" y="43"/>
                </a:cubicBezTo>
                <a:cubicBezTo>
                  <a:pt x="158" y="44"/>
                  <a:pt x="158" y="44"/>
                  <a:pt x="158" y="44"/>
                </a:cubicBezTo>
                <a:cubicBezTo>
                  <a:pt x="156" y="45"/>
                  <a:pt x="156" y="45"/>
                  <a:pt x="156" y="45"/>
                </a:cubicBezTo>
                <a:cubicBezTo>
                  <a:pt x="155" y="46"/>
                  <a:pt x="155" y="46"/>
                  <a:pt x="155" y="46"/>
                </a:cubicBezTo>
                <a:cubicBezTo>
                  <a:pt x="154" y="48"/>
                  <a:pt x="154" y="48"/>
                  <a:pt x="154" y="48"/>
                </a:cubicBezTo>
                <a:cubicBezTo>
                  <a:pt x="154" y="50"/>
                  <a:pt x="154" y="50"/>
                  <a:pt x="154" y="50"/>
                </a:cubicBezTo>
                <a:cubicBezTo>
                  <a:pt x="153" y="51"/>
                  <a:pt x="153" y="51"/>
                  <a:pt x="153" y="51"/>
                </a:cubicBezTo>
                <a:cubicBezTo>
                  <a:pt x="152" y="52"/>
                  <a:pt x="152" y="52"/>
                  <a:pt x="152" y="52"/>
                </a:cubicBezTo>
                <a:cubicBezTo>
                  <a:pt x="152" y="53"/>
                  <a:pt x="152" y="53"/>
                  <a:pt x="152" y="53"/>
                </a:cubicBezTo>
                <a:cubicBezTo>
                  <a:pt x="152" y="54"/>
                  <a:pt x="152" y="54"/>
                  <a:pt x="152" y="54"/>
                </a:cubicBezTo>
                <a:cubicBezTo>
                  <a:pt x="152" y="56"/>
                  <a:pt x="152" y="56"/>
                  <a:pt x="152" y="56"/>
                </a:cubicBezTo>
                <a:cubicBezTo>
                  <a:pt x="152" y="55"/>
                  <a:pt x="152" y="55"/>
                  <a:pt x="152" y="55"/>
                </a:cubicBezTo>
                <a:cubicBezTo>
                  <a:pt x="151" y="53"/>
                  <a:pt x="151" y="53"/>
                  <a:pt x="151" y="53"/>
                </a:cubicBezTo>
                <a:cubicBezTo>
                  <a:pt x="151" y="52"/>
                  <a:pt x="151" y="52"/>
                  <a:pt x="151" y="52"/>
                </a:cubicBezTo>
                <a:cubicBezTo>
                  <a:pt x="152" y="51"/>
                  <a:pt x="152" y="51"/>
                  <a:pt x="152" y="51"/>
                </a:cubicBezTo>
                <a:cubicBezTo>
                  <a:pt x="153" y="50"/>
                  <a:pt x="153" y="50"/>
                  <a:pt x="153" y="50"/>
                </a:cubicBezTo>
                <a:cubicBezTo>
                  <a:pt x="153" y="49"/>
                  <a:pt x="153" y="49"/>
                  <a:pt x="153" y="49"/>
                </a:cubicBezTo>
                <a:cubicBezTo>
                  <a:pt x="153" y="47"/>
                  <a:pt x="153" y="47"/>
                  <a:pt x="153" y="47"/>
                </a:cubicBezTo>
                <a:cubicBezTo>
                  <a:pt x="153" y="46"/>
                  <a:pt x="153" y="46"/>
                  <a:pt x="153" y="46"/>
                </a:cubicBezTo>
                <a:cubicBezTo>
                  <a:pt x="152" y="46"/>
                  <a:pt x="152" y="46"/>
                  <a:pt x="152" y="46"/>
                </a:cubicBezTo>
                <a:cubicBezTo>
                  <a:pt x="151" y="47"/>
                  <a:pt x="151" y="47"/>
                  <a:pt x="151" y="47"/>
                </a:cubicBezTo>
                <a:cubicBezTo>
                  <a:pt x="149" y="47"/>
                  <a:pt x="149" y="47"/>
                  <a:pt x="149" y="47"/>
                </a:cubicBezTo>
                <a:cubicBezTo>
                  <a:pt x="148" y="47"/>
                  <a:pt x="148" y="47"/>
                  <a:pt x="148" y="47"/>
                </a:cubicBezTo>
                <a:cubicBezTo>
                  <a:pt x="147" y="47"/>
                  <a:pt x="147" y="47"/>
                  <a:pt x="147" y="47"/>
                </a:cubicBezTo>
                <a:cubicBezTo>
                  <a:pt x="146" y="46"/>
                  <a:pt x="146" y="46"/>
                  <a:pt x="146" y="46"/>
                </a:cubicBezTo>
                <a:cubicBezTo>
                  <a:pt x="147" y="46"/>
                  <a:pt x="147" y="46"/>
                  <a:pt x="147" y="46"/>
                </a:cubicBezTo>
                <a:cubicBezTo>
                  <a:pt x="148" y="46"/>
                  <a:pt x="148" y="46"/>
                  <a:pt x="148" y="46"/>
                </a:cubicBezTo>
                <a:cubicBezTo>
                  <a:pt x="149" y="45"/>
                  <a:pt x="149" y="45"/>
                  <a:pt x="149" y="45"/>
                </a:cubicBezTo>
                <a:cubicBezTo>
                  <a:pt x="151" y="46"/>
                  <a:pt x="151" y="46"/>
                  <a:pt x="151" y="46"/>
                </a:cubicBezTo>
                <a:cubicBezTo>
                  <a:pt x="152" y="45"/>
                  <a:pt x="152" y="45"/>
                  <a:pt x="152" y="45"/>
                </a:cubicBezTo>
                <a:cubicBezTo>
                  <a:pt x="153" y="44"/>
                  <a:pt x="153" y="44"/>
                  <a:pt x="153" y="44"/>
                </a:cubicBezTo>
                <a:cubicBezTo>
                  <a:pt x="153" y="44"/>
                  <a:pt x="153" y="44"/>
                  <a:pt x="153" y="44"/>
                </a:cubicBezTo>
                <a:cubicBezTo>
                  <a:pt x="154" y="45"/>
                  <a:pt x="154" y="45"/>
                  <a:pt x="154" y="45"/>
                </a:cubicBezTo>
                <a:cubicBezTo>
                  <a:pt x="155" y="44"/>
                  <a:pt x="155" y="44"/>
                  <a:pt x="155" y="44"/>
                </a:cubicBezTo>
                <a:cubicBezTo>
                  <a:pt x="156" y="44"/>
                  <a:pt x="156" y="44"/>
                  <a:pt x="156" y="44"/>
                </a:cubicBezTo>
                <a:cubicBezTo>
                  <a:pt x="157" y="43"/>
                  <a:pt x="157" y="43"/>
                  <a:pt x="157" y="43"/>
                </a:cubicBezTo>
                <a:cubicBezTo>
                  <a:pt x="157" y="42"/>
                  <a:pt x="157" y="42"/>
                  <a:pt x="157" y="42"/>
                </a:cubicBezTo>
                <a:cubicBezTo>
                  <a:pt x="159" y="40"/>
                  <a:pt x="159" y="40"/>
                  <a:pt x="159" y="40"/>
                </a:cubicBezTo>
                <a:cubicBezTo>
                  <a:pt x="159" y="38"/>
                  <a:pt x="159" y="38"/>
                  <a:pt x="159" y="38"/>
                </a:cubicBezTo>
                <a:cubicBezTo>
                  <a:pt x="160" y="37"/>
                  <a:pt x="160" y="37"/>
                  <a:pt x="160" y="37"/>
                </a:cubicBezTo>
                <a:cubicBezTo>
                  <a:pt x="160" y="36"/>
                  <a:pt x="160" y="36"/>
                  <a:pt x="160" y="36"/>
                </a:cubicBezTo>
                <a:cubicBezTo>
                  <a:pt x="158" y="36"/>
                  <a:pt x="158" y="36"/>
                  <a:pt x="158" y="36"/>
                </a:cubicBezTo>
                <a:cubicBezTo>
                  <a:pt x="157" y="35"/>
                  <a:pt x="157" y="35"/>
                  <a:pt x="157" y="35"/>
                </a:cubicBezTo>
                <a:cubicBezTo>
                  <a:pt x="155" y="35"/>
                  <a:pt x="155" y="35"/>
                  <a:pt x="155" y="35"/>
                </a:cubicBezTo>
                <a:cubicBezTo>
                  <a:pt x="154" y="36"/>
                  <a:pt x="154" y="36"/>
                  <a:pt x="154" y="36"/>
                </a:cubicBezTo>
                <a:cubicBezTo>
                  <a:pt x="152" y="36"/>
                  <a:pt x="152" y="36"/>
                  <a:pt x="152" y="36"/>
                </a:cubicBezTo>
                <a:cubicBezTo>
                  <a:pt x="150" y="35"/>
                  <a:pt x="150" y="35"/>
                  <a:pt x="150" y="35"/>
                </a:cubicBezTo>
                <a:cubicBezTo>
                  <a:pt x="148" y="35"/>
                  <a:pt x="148" y="35"/>
                  <a:pt x="148" y="35"/>
                </a:cubicBezTo>
                <a:cubicBezTo>
                  <a:pt x="146" y="37"/>
                  <a:pt x="146" y="37"/>
                  <a:pt x="146" y="37"/>
                </a:cubicBezTo>
                <a:cubicBezTo>
                  <a:pt x="146" y="38"/>
                  <a:pt x="146" y="38"/>
                  <a:pt x="146" y="38"/>
                </a:cubicBezTo>
                <a:cubicBezTo>
                  <a:pt x="147" y="38"/>
                  <a:pt x="147" y="38"/>
                  <a:pt x="147" y="38"/>
                </a:cubicBezTo>
                <a:cubicBezTo>
                  <a:pt x="147" y="39"/>
                  <a:pt x="147" y="39"/>
                  <a:pt x="147" y="39"/>
                </a:cubicBezTo>
                <a:cubicBezTo>
                  <a:pt x="146" y="39"/>
                  <a:pt x="146" y="39"/>
                  <a:pt x="146" y="39"/>
                </a:cubicBezTo>
                <a:cubicBezTo>
                  <a:pt x="146" y="39"/>
                  <a:pt x="146" y="39"/>
                  <a:pt x="146" y="39"/>
                </a:cubicBezTo>
                <a:cubicBezTo>
                  <a:pt x="145" y="40"/>
                  <a:pt x="145" y="40"/>
                  <a:pt x="145" y="40"/>
                </a:cubicBezTo>
                <a:cubicBezTo>
                  <a:pt x="145" y="39"/>
                  <a:pt x="145" y="39"/>
                  <a:pt x="145" y="39"/>
                </a:cubicBezTo>
                <a:cubicBezTo>
                  <a:pt x="144" y="39"/>
                  <a:pt x="144" y="39"/>
                  <a:pt x="144" y="39"/>
                </a:cubicBezTo>
                <a:cubicBezTo>
                  <a:pt x="143" y="39"/>
                  <a:pt x="143" y="39"/>
                  <a:pt x="143" y="39"/>
                </a:cubicBezTo>
                <a:cubicBezTo>
                  <a:pt x="141" y="41"/>
                  <a:pt x="141" y="41"/>
                  <a:pt x="141" y="41"/>
                </a:cubicBezTo>
                <a:cubicBezTo>
                  <a:pt x="139" y="44"/>
                  <a:pt x="139" y="44"/>
                  <a:pt x="139" y="44"/>
                </a:cubicBezTo>
                <a:cubicBezTo>
                  <a:pt x="141" y="42"/>
                  <a:pt x="141" y="42"/>
                  <a:pt x="141" y="42"/>
                </a:cubicBezTo>
                <a:cubicBezTo>
                  <a:pt x="141" y="40"/>
                  <a:pt x="141" y="40"/>
                  <a:pt x="141" y="40"/>
                </a:cubicBezTo>
                <a:cubicBezTo>
                  <a:pt x="141" y="40"/>
                  <a:pt x="141" y="40"/>
                  <a:pt x="141" y="40"/>
                </a:cubicBezTo>
                <a:cubicBezTo>
                  <a:pt x="141" y="39"/>
                  <a:pt x="141" y="39"/>
                  <a:pt x="141" y="39"/>
                </a:cubicBezTo>
                <a:cubicBezTo>
                  <a:pt x="141" y="39"/>
                  <a:pt x="141" y="39"/>
                  <a:pt x="141" y="39"/>
                </a:cubicBezTo>
                <a:cubicBezTo>
                  <a:pt x="139" y="40"/>
                  <a:pt x="139" y="40"/>
                  <a:pt x="139" y="40"/>
                </a:cubicBezTo>
                <a:cubicBezTo>
                  <a:pt x="139" y="41"/>
                  <a:pt x="139" y="41"/>
                  <a:pt x="139" y="41"/>
                </a:cubicBezTo>
                <a:cubicBezTo>
                  <a:pt x="138" y="43"/>
                  <a:pt x="138" y="43"/>
                  <a:pt x="138" y="43"/>
                </a:cubicBezTo>
                <a:cubicBezTo>
                  <a:pt x="137" y="43"/>
                  <a:pt x="137" y="43"/>
                  <a:pt x="137" y="43"/>
                </a:cubicBezTo>
                <a:cubicBezTo>
                  <a:pt x="138" y="42"/>
                  <a:pt x="138" y="42"/>
                  <a:pt x="138" y="42"/>
                </a:cubicBezTo>
                <a:cubicBezTo>
                  <a:pt x="138" y="40"/>
                  <a:pt x="138" y="40"/>
                  <a:pt x="138" y="40"/>
                </a:cubicBezTo>
                <a:cubicBezTo>
                  <a:pt x="141" y="37"/>
                  <a:pt x="141" y="37"/>
                  <a:pt x="141" y="37"/>
                </a:cubicBezTo>
                <a:cubicBezTo>
                  <a:pt x="141" y="35"/>
                  <a:pt x="141" y="35"/>
                  <a:pt x="141" y="35"/>
                </a:cubicBezTo>
                <a:cubicBezTo>
                  <a:pt x="142" y="34"/>
                  <a:pt x="142" y="34"/>
                  <a:pt x="142" y="34"/>
                </a:cubicBezTo>
                <a:cubicBezTo>
                  <a:pt x="143" y="34"/>
                  <a:pt x="143" y="34"/>
                  <a:pt x="143" y="34"/>
                </a:cubicBezTo>
                <a:cubicBezTo>
                  <a:pt x="144" y="33"/>
                  <a:pt x="144" y="33"/>
                  <a:pt x="144" y="33"/>
                </a:cubicBezTo>
                <a:cubicBezTo>
                  <a:pt x="145" y="32"/>
                  <a:pt x="145" y="32"/>
                  <a:pt x="145" y="32"/>
                </a:cubicBezTo>
                <a:cubicBezTo>
                  <a:pt x="147" y="31"/>
                  <a:pt x="147" y="31"/>
                  <a:pt x="147" y="31"/>
                </a:cubicBezTo>
                <a:cubicBezTo>
                  <a:pt x="149" y="28"/>
                  <a:pt x="149" y="28"/>
                  <a:pt x="149" y="28"/>
                </a:cubicBezTo>
                <a:cubicBezTo>
                  <a:pt x="150" y="27"/>
                  <a:pt x="150" y="27"/>
                  <a:pt x="150" y="27"/>
                </a:cubicBezTo>
                <a:cubicBezTo>
                  <a:pt x="150" y="26"/>
                  <a:pt x="150" y="26"/>
                  <a:pt x="150" y="26"/>
                </a:cubicBezTo>
                <a:cubicBezTo>
                  <a:pt x="150" y="26"/>
                  <a:pt x="150" y="26"/>
                  <a:pt x="150" y="26"/>
                </a:cubicBezTo>
                <a:cubicBezTo>
                  <a:pt x="150" y="25"/>
                  <a:pt x="150" y="25"/>
                  <a:pt x="150" y="25"/>
                </a:cubicBezTo>
                <a:cubicBezTo>
                  <a:pt x="150" y="24"/>
                  <a:pt x="150" y="24"/>
                  <a:pt x="150" y="24"/>
                </a:cubicBezTo>
                <a:cubicBezTo>
                  <a:pt x="150" y="23"/>
                  <a:pt x="150" y="23"/>
                  <a:pt x="150" y="23"/>
                </a:cubicBezTo>
                <a:cubicBezTo>
                  <a:pt x="149" y="22"/>
                  <a:pt x="149" y="22"/>
                  <a:pt x="149" y="22"/>
                </a:cubicBezTo>
                <a:cubicBezTo>
                  <a:pt x="148" y="22"/>
                  <a:pt x="148" y="22"/>
                  <a:pt x="148" y="22"/>
                </a:cubicBezTo>
                <a:cubicBezTo>
                  <a:pt x="147" y="23"/>
                  <a:pt x="147" y="23"/>
                  <a:pt x="147" y="23"/>
                </a:cubicBezTo>
                <a:cubicBezTo>
                  <a:pt x="147" y="22"/>
                  <a:pt x="147" y="22"/>
                  <a:pt x="147" y="22"/>
                </a:cubicBezTo>
                <a:cubicBezTo>
                  <a:pt x="146" y="19"/>
                  <a:pt x="146" y="19"/>
                  <a:pt x="146" y="19"/>
                </a:cubicBezTo>
                <a:cubicBezTo>
                  <a:pt x="145" y="16"/>
                  <a:pt x="145" y="16"/>
                  <a:pt x="145" y="16"/>
                </a:cubicBezTo>
                <a:cubicBezTo>
                  <a:pt x="143" y="14"/>
                  <a:pt x="143" y="14"/>
                  <a:pt x="143" y="14"/>
                </a:cubicBezTo>
                <a:cubicBezTo>
                  <a:pt x="142" y="12"/>
                  <a:pt x="142" y="12"/>
                  <a:pt x="142" y="12"/>
                </a:cubicBezTo>
                <a:cubicBezTo>
                  <a:pt x="142" y="10"/>
                  <a:pt x="142" y="10"/>
                  <a:pt x="142" y="10"/>
                </a:cubicBezTo>
                <a:lnTo>
                  <a:pt x="142" y="9"/>
                </a:lnTo>
                <a:close/>
              </a:path>
            </a:pathLst>
          </a:custGeom>
          <a:solidFill>
            <a:srgbClr val="B3B2B2"/>
          </a:solidFill>
          <a:ln>
            <a:solidFill>
              <a:srgbClr val="B3B2B2"/>
            </a:solidFill>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9" name="Freeform 187">
            <a:extLst>
              <a:ext uri="{FF2B5EF4-FFF2-40B4-BE49-F238E27FC236}">
                <a16:creationId xmlns:a16="http://schemas.microsoft.com/office/drawing/2014/main" id="{F53695C5-84B2-F1CC-F43F-739D717FCDEE}"/>
              </a:ext>
            </a:extLst>
          </p:cNvPr>
          <p:cNvSpPr>
            <a:spLocks/>
          </p:cNvSpPr>
          <p:nvPr userDrawn="1"/>
        </p:nvSpPr>
        <p:spPr bwMode="auto">
          <a:xfrm>
            <a:off x="9825983" y="9019456"/>
            <a:ext cx="177788" cy="257176"/>
          </a:xfrm>
          <a:custGeom>
            <a:avLst/>
            <a:gdLst>
              <a:gd name="T0" fmla="*/ 0 w 56"/>
              <a:gd name="T1" fmla="*/ 66 h 81"/>
              <a:gd name="T2" fmla="*/ 0 w 56"/>
              <a:gd name="T3" fmla="*/ 66 h 81"/>
              <a:gd name="T4" fmla="*/ 3 w 56"/>
              <a:gd name="T5" fmla="*/ 69 h 81"/>
              <a:gd name="T6" fmla="*/ 3 w 56"/>
              <a:gd name="T7" fmla="*/ 72 h 81"/>
              <a:gd name="T8" fmla="*/ 3 w 56"/>
              <a:gd name="T9" fmla="*/ 72 h 81"/>
              <a:gd name="T10" fmla="*/ 6 w 56"/>
              <a:gd name="T11" fmla="*/ 75 h 81"/>
              <a:gd name="T12" fmla="*/ 9 w 56"/>
              <a:gd name="T13" fmla="*/ 75 h 81"/>
              <a:gd name="T14" fmla="*/ 12 w 56"/>
              <a:gd name="T15" fmla="*/ 75 h 81"/>
              <a:gd name="T16" fmla="*/ 15 w 56"/>
              <a:gd name="T17" fmla="*/ 72 h 81"/>
              <a:gd name="T18" fmla="*/ 15 w 56"/>
              <a:gd name="T19" fmla="*/ 72 h 81"/>
              <a:gd name="T20" fmla="*/ 15 w 56"/>
              <a:gd name="T21" fmla="*/ 75 h 81"/>
              <a:gd name="T22" fmla="*/ 18 w 56"/>
              <a:gd name="T23" fmla="*/ 75 h 81"/>
              <a:gd name="T24" fmla="*/ 18 w 56"/>
              <a:gd name="T25" fmla="*/ 81 h 81"/>
              <a:gd name="T26" fmla="*/ 22 w 56"/>
              <a:gd name="T27" fmla="*/ 81 h 81"/>
              <a:gd name="T28" fmla="*/ 25 w 56"/>
              <a:gd name="T29" fmla="*/ 78 h 81"/>
              <a:gd name="T30" fmla="*/ 25 w 56"/>
              <a:gd name="T31" fmla="*/ 75 h 81"/>
              <a:gd name="T32" fmla="*/ 28 w 56"/>
              <a:gd name="T33" fmla="*/ 75 h 81"/>
              <a:gd name="T34" fmla="*/ 31 w 56"/>
              <a:gd name="T35" fmla="*/ 75 h 81"/>
              <a:gd name="T36" fmla="*/ 34 w 56"/>
              <a:gd name="T37" fmla="*/ 69 h 81"/>
              <a:gd name="T38" fmla="*/ 37 w 56"/>
              <a:gd name="T39" fmla="*/ 62 h 81"/>
              <a:gd name="T40" fmla="*/ 40 w 56"/>
              <a:gd name="T41" fmla="*/ 56 h 81"/>
              <a:gd name="T42" fmla="*/ 40 w 56"/>
              <a:gd name="T43" fmla="*/ 53 h 81"/>
              <a:gd name="T44" fmla="*/ 43 w 56"/>
              <a:gd name="T45" fmla="*/ 47 h 81"/>
              <a:gd name="T46" fmla="*/ 50 w 56"/>
              <a:gd name="T47" fmla="*/ 40 h 81"/>
              <a:gd name="T48" fmla="*/ 50 w 56"/>
              <a:gd name="T49" fmla="*/ 37 h 81"/>
              <a:gd name="T50" fmla="*/ 50 w 56"/>
              <a:gd name="T51" fmla="*/ 37 h 81"/>
              <a:gd name="T52" fmla="*/ 56 w 56"/>
              <a:gd name="T53" fmla="*/ 31 h 81"/>
              <a:gd name="T54" fmla="*/ 53 w 56"/>
              <a:gd name="T55" fmla="*/ 28 h 81"/>
              <a:gd name="T56" fmla="*/ 50 w 56"/>
              <a:gd name="T57" fmla="*/ 25 h 81"/>
              <a:gd name="T58" fmla="*/ 50 w 56"/>
              <a:gd name="T59" fmla="*/ 25 h 81"/>
              <a:gd name="T60" fmla="*/ 47 w 56"/>
              <a:gd name="T61" fmla="*/ 22 h 81"/>
              <a:gd name="T62" fmla="*/ 47 w 56"/>
              <a:gd name="T63" fmla="*/ 19 h 81"/>
              <a:gd name="T64" fmla="*/ 40 w 56"/>
              <a:gd name="T65" fmla="*/ 12 h 81"/>
              <a:gd name="T66" fmla="*/ 37 w 56"/>
              <a:gd name="T67" fmla="*/ 12 h 81"/>
              <a:gd name="T68" fmla="*/ 34 w 56"/>
              <a:gd name="T69" fmla="*/ 9 h 81"/>
              <a:gd name="T70" fmla="*/ 22 w 56"/>
              <a:gd name="T71" fmla="*/ 6 h 81"/>
              <a:gd name="T72" fmla="*/ 18 w 56"/>
              <a:gd name="T73" fmla="*/ 3 h 81"/>
              <a:gd name="T74" fmla="*/ 12 w 56"/>
              <a:gd name="T75" fmla="*/ 0 h 81"/>
              <a:gd name="T76" fmla="*/ 9 w 56"/>
              <a:gd name="T77" fmla="*/ 3 h 81"/>
              <a:gd name="T78" fmla="*/ 3 w 56"/>
              <a:gd name="T79" fmla="*/ 6 h 81"/>
              <a:gd name="T80" fmla="*/ 3 w 56"/>
              <a:gd name="T81" fmla="*/ 6 h 81"/>
              <a:gd name="T82" fmla="*/ 3 w 56"/>
              <a:gd name="T83" fmla="*/ 6 h 81"/>
              <a:gd name="T84" fmla="*/ 3 w 56"/>
              <a:gd name="T85" fmla="*/ 6 h 81"/>
              <a:gd name="T86" fmla="*/ 0 w 56"/>
              <a:gd name="T87" fmla="*/ 12 h 81"/>
              <a:gd name="T88" fmla="*/ 0 w 56"/>
              <a:gd name="T89" fmla="*/ 19 h 81"/>
              <a:gd name="T90" fmla="*/ 0 w 56"/>
              <a:gd name="T91" fmla="*/ 22 h 81"/>
              <a:gd name="T92" fmla="*/ 0 w 56"/>
              <a:gd name="T93" fmla="*/ 25 h 81"/>
              <a:gd name="T94" fmla="*/ 0 w 56"/>
              <a:gd name="T95" fmla="*/ 28 h 81"/>
              <a:gd name="T96" fmla="*/ 3 w 56"/>
              <a:gd name="T97" fmla="*/ 31 h 81"/>
              <a:gd name="T98" fmla="*/ 6 w 56"/>
              <a:gd name="T99" fmla="*/ 34 h 81"/>
              <a:gd name="T100" fmla="*/ 9 w 56"/>
              <a:gd name="T101" fmla="*/ 37 h 81"/>
              <a:gd name="T102" fmla="*/ 9 w 56"/>
              <a:gd name="T103" fmla="*/ 40 h 81"/>
              <a:gd name="T104" fmla="*/ 9 w 56"/>
              <a:gd name="T105" fmla="*/ 44 h 81"/>
              <a:gd name="T106" fmla="*/ 9 w 56"/>
              <a:gd name="T107" fmla="*/ 47 h 81"/>
              <a:gd name="T108" fmla="*/ 6 w 56"/>
              <a:gd name="T109" fmla="*/ 50 h 81"/>
              <a:gd name="T110" fmla="*/ 6 w 56"/>
              <a:gd name="T111" fmla="*/ 56 h 81"/>
              <a:gd name="T112" fmla="*/ 9 w 56"/>
              <a:gd name="T113" fmla="*/ 56 h 81"/>
              <a:gd name="T114" fmla="*/ 6 w 56"/>
              <a:gd name="T115" fmla="*/ 62 h 81"/>
              <a:gd name="T116" fmla="*/ 0 w 56"/>
              <a:gd name="T117" fmla="*/ 66 h 81"/>
              <a:gd name="T118" fmla="*/ 0 w 56"/>
              <a:gd name="T119" fmla="*/ 6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 h="81">
                <a:moveTo>
                  <a:pt x="0" y="66"/>
                </a:moveTo>
                <a:lnTo>
                  <a:pt x="0" y="66"/>
                </a:lnTo>
                <a:lnTo>
                  <a:pt x="3" y="69"/>
                </a:lnTo>
                <a:lnTo>
                  <a:pt x="3" y="72"/>
                </a:lnTo>
                <a:lnTo>
                  <a:pt x="3" y="72"/>
                </a:lnTo>
                <a:lnTo>
                  <a:pt x="6" y="75"/>
                </a:lnTo>
                <a:lnTo>
                  <a:pt x="9" y="75"/>
                </a:lnTo>
                <a:lnTo>
                  <a:pt x="12" y="75"/>
                </a:lnTo>
                <a:lnTo>
                  <a:pt x="15" y="72"/>
                </a:lnTo>
                <a:lnTo>
                  <a:pt x="15" y="72"/>
                </a:lnTo>
                <a:lnTo>
                  <a:pt x="15" y="75"/>
                </a:lnTo>
                <a:lnTo>
                  <a:pt x="18" y="75"/>
                </a:lnTo>
                <a:lnTo>
                  <a:pt x="18" y="81"/>
                </a:lnTo>
                <a:lnTo>
                  <a:pt x="22" y="81"/>
                </a:lnTo>
                <a:lnTo>
                  <a:pt x="25" y="78"/>
                </a:lnTo>
                <a:lnTo>
                  <a:pt x="25" y="75"/>
                </a:lnTo>
                <a:lnTo>
                  <a:pt x="28" y="75"/>
                </a:lnTo>
                <a:lnTo>
                  <a:pt x="31" y="75"/>
                </a:lnTo>
                <a:lnTo>
                  <a:pt x="34" y="69"/>
                </a:lnTo>
                <a:lnTo>
                  <a:pt x="37" y="62"/>
                </a:lnTo>
                <a:lnTo>
                  <a:pt x="40" y="56"/>
                </a:lnTo>
                <a:lnTo>
                  <a:pt x="40" y="53"/>
                </a:lnTo>
                <a:lnTo>
                  <a:pt x="43" y="47"/>
                </a:lnTo>
                <a:lnTo>
                  <a:pt x="50" y="40"/>
                </a:lnTo>
                <a:lnTo>
                  <a:pt x="50" y="37"/>
                </a:lnTo>
                <a:lnTo>
                  <a:pt x="50" y="37"/>
                </a:lnTo>
                <a:lnTo>
                  <a:pt x="56" y="31"/>
                </a:lnTo>
                <a:lnTo>
                  <a:pt x="53" y="28"/>
                </a:lnTo>
                <a:lnTo>
                  <a:pt x="50" y="25"/>
                </a:lnTo>
                <a:lnTo>
                  <a:pt x="50" y="25"/>
                </a:lnTo>
                <a:lnTo>
                  <a:pt x="47" y="22"/>
                </a:lnTo>
                <a:lnTo>
                  <a:pt x="47" y="19"/>
                </a:lnTo>
                <a:lnTo>
                  <a:pt x="40" y="12"/>
                </a:lnTo>
                <a:lnTo>
                  <a:pt x="37" y="12"/>
                </a:lnTo>
                <a:lnTo>
                  <a:pt x="34" y="9"/>
                </a:lnTo>
                <a:lnTo>
                  <a:pt x="22" y="6"/>
                </a:lnTo>
                <a:lnTo>
                  <a:pt x="18" y="3"/>
                </a:lnTo>
                <a:lnTo>
                  <a:pt x="12" y="0"/>
                </a:lnTo>
                <a:lnTo>
                  <a:pt x="9" y="3"/>
                </a:lnTo>
                <a:lnTo>
                  <a:pt x="3" y="6"/>
                </a:lnTo>
                <a:lnTo>
                  <a:pt x="3" y="6"/>
                </a:lnTo>
                <a:lnTo>
                  <a:pt x="3" y="6"/>
                </a:lnTo>
                <a:lnTo>
                  <a:pt x="3" y="6"/>
                </a:lnTo>
                <a:lnTo>
                  <a:pt x="0" y="12"/>
                </a:lnTo>
                <a:lnTo>
                  <a:pt x="0" y="19"/>
                </a:lnTo>
                <a:lnTo>
                  <a:pt x="0" y="22"/>
                </a:lnTo>
                <a:lnTo>
                  <a:pt x="0" y="25"/>
                </a:lnTo>
                <a:lnTo>
                  <a:pt x="0" y="28"/>
                </a:lnTo>
                <a:lnTo>
                  <a:pt x="3" y="31"/>
                </a:lnTo>
                <a:lnTo>
                  <a:pt x="6" y="34"/>
                </a:lnTo>
                <a:lnTo>
                  <a:pt x="9" y="37"/>
                </a:lnTo>
                <a:lnTo>
                  <a:pt x="9" y="40"/>
                </a:lnTo>
                <a:lnTo>
                  <a:pt x="9" y="44"/>
                </a:lnTo>
                <a:lnTo>
                  <a:pt x="9" y="47"/>
                </a:lnTo>
                <a:lnTo>
                  <a:pt x="6" y="50"/>
                </a:lnTo>
                <a:lnTo>
                  <a:pt x="6" y="56"/>
                </a:lnTo>
                <a:lnTo>
                  <a:pt x="9" y="56"/>
                </a:lnTo>
                <a:lnTo>
                  <a:pt x="6" y="62"/>
                </a:lnTo>
                <a:lnTo>
                  <a:pt x="0" y="66"/>
                </a:lnTo>
                <a:lnTo>
                  <a:pt x="0" y="66"/>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0" name="Freeform 188">
            <a:extLst>
              <a:ext uri="{FF2B5EF4-FFF2-40B4-BE49-F238E27FC236}">
                <a16:creationId xmlns:a16="http://schemas.microsoft.com/office/drawing/2014/main" id="{B6CDB116-E5ED-C037-23BB-197483D808DD}"/>
              </a:ext>
            </a:extLst>
          </p:cNvPr>
          <p:cNvSpPr>
            <a:spLocks/>
          </p:cNvSpPr>
          <p:nvPr userDrawn="1"/>
        </p:nvSpPr>
        <p:spPr bwMode="auto">
          <a:xfrm>
            <a:off x="9606928" y="9000411"/>
            <a:ext cx="247634" cy="266702"/>
          </a:xfrm>
          <a:custGeom>
            <a:avLst/>
            <a:gdLst>
              <a:gd name="T0" fmla="*/ 31 w 78"/>
              <a:gd name="T1" fmla="*/ 84 h 84"/>
              <a:gd name="T2" fmla="*/ 34 w 78"/>
              <a:gd name="T3" fmla="*/ 84 h 84"/>
              <a:gd name="T4" fmla="*/ 44 w 78"/>
              <a:gd name="T5" fmla="*/ 84 h 84"/>
              <a:gd name="T6" fmla="*/ 41 w 78"/>
              <a:gd name="T7" fmla="*/ 78 h 84"/>
              <a:gd name="T8" fmla="*/ 37 w 78"/>
              <a:gd name="T9" fmla="*/ 75 h 84"/>
              <a:gd name="T10" fmla="*/ 41 w 78"/>
              <a:gd name="T11" fmla="*/ 68 h 84"/>
              <a:gd name="T12" fmla="*/ 53 w 78"/>
              <a:gd name="T13" fmla="*/ 68 h 84"/>
              <a:gd name="T14" fmla="*/ 62 w 78"/>
              <a:gd name="T15" fmla="*/ 65 h 84"/>
              <a:gd name="T16" fmla="*/ 69 w 78"/>
              <a:gd name="T17" fmla="*/ 72 h 84"/>
              <a:gd name="T18" fmla="*/ 78 w 78"/>
              <a:gd name="T19" fmla="*/ 62 h 84"/>
              <a:gd name="T20" fmla="*/ 75 w 78"/>
              <a:gd name="T21" fmla="*/ 56 h 84"/>
              <a:gd name="T22" fmla="*/ 78 w 78"/>
              <a:gd name="T23" fmla="*/ 50 h 84"/>
              <a:gd name="T24" fmla="*/ 78 w 78"/>
              <a:gd name="T25" fmla="*/ 43 h 84"/>
              <a:gd name="T26" fmla="*/ 72 w 78"/>
              <a:gd name="T27" fmla="*/ 37 h 84"/>
              <a:gd name="T28" fmla="*/ 69 w 78"/>
              <a:gd name="T29" fmla="*/ 31 h 84"/>
              <a:gd name="T30" fmla="*/ 69 w 78"/>
              <a:gd name="T31" fmla="*/ 25 h 84"/>
              <a:gd name="T32" fmla="*/ 72 w 78"/>
              <a:gd name="T33" fmla="*/ 12 h 84"/>
              <a:gd name="T34" fmla="*/ 72 w 78"/>
              <a:gd name="T35" fmla="*/ 12 h 84"/>
              <a:gd name="T36" fmla="*/ 78 w 78"/>
              <a:gd name="T37" fmla="*/ 6 h 84"/>
              <a:gd name="T38" fmla="*/ 66 w 78"/>
              <a:gd name="T39" fmla="*/ 3 h 84"/>
              <a:gd name="T40" fmla="*/ 56 w 78"/>
              <a:gd name="T41" fmla="*/ 0 h 84"/>
              <a:gd name="T42" fmla="*/ 47 w 78"/>
              <a:gd name="T43" fmla="*/ 0 h 84"/>
              <a:gd name="T44" fmla="*/ 31 w 78"/>
              <a:gd name="T45" fmla="*/ 0 h 84"/>
              <a:gd name="T46" fmla="*/ 19 w 78"/>
              <a:gd name="T47" fmla="*/ 3 h 84"/>
              <a:gd name="T48" fmla="*/ 19 w 78"/>
              <a:gd name="T49" fmla="*/ 6 h 84"/>
              <a:gd name="T50" fmla="*/ 16 w 78"/>
              <a:gd name="T51" fmla="*/ 12 h 84"/>
              <a:gd name="T52" fmla="*/ 9 w 78"/>
              <a:gd name="T53" fmla="*/ 18 h 84"/>
              <a:gd name="T54" fmla="*/ 3 w 78"/>
              <a:gd name="T55" fmla="*/ 25 h 84"/>
              <a:gd name="T56" fmla="*/ 0 w 78"/>
              <a:gd name="T57" fmla="*/ 37 h 84"/>
              <a:gd name="T58" fmla="*/ 3 w 78"/>
              <a:gd name="T59" fmla="*/ 40 h 84"/>
              <a:gd name="T60" fmla="*/ 6 w 78"/>
              <a:gd name="T61" fmla="*/ 43 h 84"/>
              <a:gd name="T62" fmla="*/ 9 w 78"/>
              <a:gd name="T63" fmla="*/ 50 h 84"/>
              <a:gd name="T64" fmla="*/ 12 w 78"/>
              <a:gd name="T65" fmla="*/ 53 h 84"/>
              <a:gd name="T66" fmla="*/ 16 w 78"/>
              <a:gd name="T67" fmla="*/ 56 h 84"/>
              <a:gd name="T68" fmla="*/ 19 w 78"/>
              <a:gd name="T69" fmla="*/ 65 h 84"/>
              <a:gd name="T70" fmla="*/ 22 w 78"/>
              <a:gd name="T71" fmla="*/ 72 h 84"/>
              <a:gd name="T72" fmla="*/ 28 w 78"/>
              <a:gd name="T73" fmla="*/ 78 h 84"/>
              <a:gd name="T74" fmla="*/ 28 w 78"/>
              <a:gd name="T75" fmla="*/ 8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84">
                <a:moveTo>
                  <a:pt x="31" y="84"/>
                </a:moveTo>
                <a:lnTo>
                  <a:pt x="31" y="84"/>
                </a:lnTo>
                <a:lnTo>
                  <a:pt x="34" y="84"/>
                </a:lnTo>
                <a:lnTo>
                  <a:pt x="34" y="84"/>
                </a:lnTo>
                <a:lnTo>
                  <a:pt x="37" y="84"/>
                </a:lnTo>
                <a:lnTo>
                  <a:pt x="44" y="84"/>
                </a:lnTo>
                <a:lnTo>
                  <a:pt x="44" y="84"/>
                </a:lnTo>
                <a:lnTo>
                  <a:pt x="41" y="78"/>
                </a:lnTo>
                <a:lnTo>
                  <a:pt x="41" y="78"/>
                </a:lnTo>
                <a:lnTo>
                  <a:pt x="37" y="75"/>
                </a:lnTo>
                <a:lnTo>
                  <a:pt x="37" y="68"/>
                </a:lnTo>
                <a:lnTo>
                  <a:pt x="41" y="68"/>
                </a:lnTo>
                <a:lnTo>
                  <a:pt x="47" y="68"/>
                </a:lnTo>
                <a:lnTo>
                  <a:pt x="53" y="68"/>
                </a:lnTo>
                <a:lnTo>
                  <a:pt x="56" y="65"/>
                </a:lnTo>
                <a:lnTo>
                  <a:pt x="62" y="65"/>
                </a:lnTo>
                <a:lnTo>
                  <a:pt x="66" y="72"/>
                </a:lnTo>
                <a:lnTo>
                  <a:pt x="69" y="72"/>
                </a:lnTo>
                <a:lnTo>
                  <a:pt x="75" y="68"/>
                </a:lnTo>
                <a:lnTo>
                  <a:pt x="78" y="62"/>
                </a:lnTo>
                <a:lnTo>
                  <a:pt x="75" y="62"/>
                </a:lnTo>
                <a:lnTo>
                  <a:pt x="75" y="56"/>
                </a:lnTo>
                <a:lnTo>
                  <a:pt x="78" y="53"/>
                </a:lnTo>
                <a:lnTo>
                  <a:pt x="78" y="50"/>
                </a:lnTo>
                <a:lnTo>
                  <a:pt x="78" y="46"/>
                </a:lnTo>
                <a:lnTo>
                  <a:pt x="78" y="43"/>
                </a:lnTo>
                <a:lnTo>
                  <a:pt x="75" y="40"/>
                </a:lnTo>
                <a:lnTo>
                  <a:pt x="72" y="37"/>
                </a:lnTo>
                <a:lnTo>
                  <a:pt x="69" y="34"/>
                </a:lnTo>
                <a:lnTo>
                  <a:pt x="69" y="31"/>
                </a:lnTo>
                <a:lnTo>
                  <a:pt x="69" y="28"/>
                </a:lnTo>
                <a:lnTo>
                  <a:pt x="69" y="25"/>
                </a:lnTo>
                <a:lnTo>
                  <a:pt x="69" y="18"/>
                </a:lnTo>
                <a:lnTo>
                  <a:pt x="72" y="12"/>
                </a:lnTo>
                <a:lnTo>
                  <a:pt x="72" y="12"/>
                </a:lnTo>
                <a:lnTo>
                  <a:pt x="72" y="12"/>
                </a:lnTo>
                <a:lnTo>
                  <a:pt x="78" y="6"/>
                </a:lnTo>
                <a:lnTo>
                  <a:pt x="78" y="6"/>
                </a:lnTo>
                <a:lnTo>
                  <a:pt x="72" y="3"/>
                </a:lnTo>
                <a:lnTo>
                  <a:pt x="66" y="3"/>
                </a:lnTo>
                <a:lnTo>
                  <a:pt x="59" y="0"/>
                </a:lnTo>
                <a:lnTo>
                  <a:pt x="56" y="0"/>
                </a:lnTo>
                <a:lnTo>
                  <a:pt x="53" y="0"/>
                </a:lnTo>
                <a:lnTo>
                  <a:pt x="47" y="0"/>
                </a:lnTo>
                <a:lnTo>
                  <a:pt x="37" y="3"/>
                </a:lnTo>
                <a:lnTo>
                  <a:pt x="31" y="0"/>
                </a:lnTo>
                <a:lnTo>
                  <a:pt x="22" y="0"/>
                </a:lnTo>
                <a:lnTo>
                  <a:pt x="19" y="3"/>
                </a:lnTo>
                <a:lnTo>
                  <a:pt x="19" y="6"/>
                </a:lnTo>
                <a:lnTo>
                  <a:pt x="19" y="6"/>
                </a:lnTo>
                <a:lnTo>
                  <a:pt x="16" y="9"/>
                </a:lnTo>
                <a:lnTo>
                  <a:pt x="16" y="12"/>
                </a:lnTo>
                <a:lnTo>
                  <a:pt x="12" y="15"/>
                </a:lnTo>
                <a:lnTo>
                  <a:pt x="9" y="18"/>
                </a:lnTo>
                <a:lnTo>
                  <a:pt x="6" y="18"/>
                </a:lnTo>
                <a:lnTo>
                  <a:pt x="3" y="25"/>
                </a:lnTo>
                <a:lnTo>
                  <a:pt x="3" y="28"/>
                </a:lnTo>
                <a:lnTo>
                  <a:pt x="0" y="37"/>
                </a:lnTo>
                <a:lnTo>
                  <a:pt x="0" y="37"/>
                </a:lnTo>
                <a:lnTo>
                  <a:pt x="3" y="40"/>
                </a:lnTo>
                <a:lnTo>
                  <a:pt x="6" y="43"/>
                </a:lnTo>
                <a:lnTo>
                  <a:pt x="6" y="43"/>
                </a:lnTo>
                <a:lnTo>
                  <a:pt x="9" y="46"/>
                </a:lnTo>
                <a:lnTo>
                  <a:pt x="9" y="50"/>
                </a:lnTo>
                <a:lnTo>
                  <a:pt x="12" y="53"/>
                </a:lnTo>
                <a:lnTo>
                  <a:pt x="12" y="53"/>
                </a:lnTo>
                <a:lnTo>
                  <a:pt x="16" y="53"/>
                </a:lnTo>
                <a:lnTo>
                  <a:pt x="16" y="56"/>
                </a:lnTo>
                <a:lnTo>
                  <a:pt x="19" y="62"/>
                </a:lnTo>
                <a:lnTo>
                  <a:pt x="19" y="65"/>
                </a:lnTo>
                <a:lnTo>
                  <a:pt x="19" y="68"/>
                </a:lnTo>
                <a:lnTo>
                  <a:pt x="22" y="72"/>
                </a:lnTo>
                <a:lnTo>
                  <a:pt x="22" y="75"/>
                </a:lnTo>
                <a:lnTo>
                  <a:pt x="28" y="78"/>
                </a:lnTo>
                <a:lnTo>
                  <a:pt x="28" y="78"/>
                </a:lnTo>
                <a:lnTo>
                  <a:pt x="28" y="81"/>
                </a:lnTo>
                <a:lnTo>
                  <a:pt x="31" y="84"/>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1" name="Freeform 189">
            <a:extLst>
              <a:ext uri="{FF2B5EF4-FFF2-40B4-BE49-F238E27FC236}">
                <a16:creationId xmlns:a16="http://schemas.microsoft.com/office/drawing/2014/main" id="{24AEFDAE-C9AD-8DDF-5776-3E4357F4E250}"/>
              </a:ext>
            </a:extLst>
          </p:cNvPr>
          <p:cNvSpPr>
            <a:spLocks/>
          </p:cNvSpPr>
          <p:nvPr userDrawn="1"/>
        </p:nvSpPr>
        <p:spPr bwMode="auto">
          <a:xfrm>
            <a:off x="9387864" y="8841663"/>
            <a:ext cx="317481" cy="476250"/>
          </a:xfrm>
          <a:custGeom>
            <a:avLst/>
            <a:gdLst>
              <a:gd name="T0" fmla="*/ 16 w 100"/>
              <a:gd name="T1" fmla="*/ 65 h 150"/>
              <a:gd name="T2" fmla="*/ 22 w 100"/>
              <a:gd name="T3" fmla="*/ 65 h 150"/>
              <a:gd name="T4" fmla="*/ 28 w 100"/>
              <a:gd name="T5" fmla="*/ 71 h 150"/>
              <a:gd name="T6" fmla="*/ 25 w 100"/>
              <a:gd name="T7" fmla="*/ 81 h 150"/>
              <a:gd name="T8" fmla="*/ 28 w 100"/>
              <a:gd name="T9" fmla="*/ 84 h 150"/>
              <a:gd name="T10" fmla="*/ 34 w 100"/>
              <a:gd name="T11" fmla="*/ 87 h 150"/>
              <a:gd name="T12" fmla="*/ 38 w 100"/>
              <a:gd name="T13" fmla="*/ 90 h 150"/>
              <a:gd name="T14" fmla="*/ 34 w 100"/>
              <a:gd name="T15" fmla="*/ 96 h 150"/>
              <a:gd name="T16" fmla="*/ 31 w 100"/>
              <a:gd name="T17" fmla="*/ 106 h 150"/>
              <a:gd name="T18" fmla="*/ 28 w 100"/>
              <a:gd name="T19" fmla="*/ 115 h 150"/>
              <a:gd name="T20" fmla="*/ 28 w 100"/>
              <a:gd name="T21" fmla="*/ 122 h 150"/>
              <a:gd name="T22" fmla="*/ 28 w 100"/>
              <a:gd name="T23" fmla="*/ 128 h 150"/>
              <a:gd name="T24" fmla="*/ 38 w 100"/>
              <a:gd name="T25" fmla="*/ 134 h 150"/>
              <a:gd name="T26" fmla="*/ 41 w 100"/>
              <a:gd name="T27" fmla="*/ 140 h 150"/>
              <a:gd name="T28" fmla="*/ 50 w 100"/>
              <a:gd name="T29" fmla="*/ 150 h 150"/>
              <a:gd name="T30" fmla="*/ 56 w 100"/>
              <a:gd name="T31" fmla="*/ 147 h 150"/>
              <a:gd name="T32" fmla="*/ 59 w 100"/>
              <a:gd name="T33" fmla="*/ 147 h 150"/>
              <a:gd name="T34" fmla="*/ 63 w 100"/>
              <a:gd name="T35" fmla="*/ 140 h 150"/>
              <a:gd name="T36" fmla="*/ 75 w 100"/>
              <a:gd name="T37" fmla="*/ 140 h 150"/>
              <a:gd name="T38" fmla="*/ 81 w 100"/>
              <a:gd name="T39" fmla="*/ 131 h 150"/>
              <a:gd name="T40" fmla="*/ 91 w 100"/>
              <a:gd name="T41" fmla="*/ 134 h 150"/>
              <a:gd name="T42" fmla="*/ 100 w 100"/>
              <a:gd name="T43" fmla="*/ 134 h 150"/>
              <a:gd name="T44" fmla="*/ 97 w 100"/>
              <a:gd name="T45" fmla="*/ 128 h 150"/>
              <a:gd name="T46" fmla="*/ 91 w 100"/>
              <a:gd name="T47" fmla="*/ 125 h 150"/>
              <a:gd name="T48" fmla="*/ 88 w 100"/>
              <a:gd name="T49" fmla="*/ 118 h 150"/>
              <a:gd name="T50" fmla="*/ 88 w 100"/>
              <a:gd name="T51" fmla="*/ 112 h 150"/>
              <a:gd name="T52" fmla="*/ 85 w 100"/>
              <a:gd name="T53" fmla="*/ 103 h 150"/>
              <a:gd name="T54" fmla="*/ 81 w 100"/>
              <a:gd name="T55" fmla="*/ 103 h 150"/>
              <a:gd name="T56" fmla="*/ 78 w 100"/>
              <a:gd name="T57" fmla="*/ 96 h 150"/>
              <a:gd name="T58" fmla="*/ 75 w 100"/>
              <a:gd name="T59" fmla="*/ 93 h 150"/>
              <a:gd name="T60" fmla="*/ 69 w 100"/>
              <a:gd name="T61" fmla="*/ 87 h 150"/>
              <a:gd name="T62" fmla="*/ 72 w 100"/>
              <a:gd name="T63" fmla="*/ 78 h 150"/>
              <a:gd name="T64" fmla="*/ 75 w 100"/>
              <a:gd name="T65" fmla="*/ 68 h 150"/>
              <a:gd name="T66" fmla="*/ 81 w 100"/>
              <a:gd name="T67" fmla="*/ 65 h 150"/>
              <a:gd name="T68" fmla="*/ 85 w 100"/>
              <a:gd name="T69" fmla="*/ 59 h 150"/>
              <a:gd name="T70" fmla="*/ 88 w 100"/>
              <a:gd name="T71" fmla="*/ 56 h 150"/>
              <a:gd name="T72" fmla="*/ 85 w 100"/>
              <a:gd name="T73" fmla="*/ 53 h 150"/>
              <a:gd name="T74" fmla="*/ 85 w 100"/>
              <a:gd name="T75" fmla="*/ 43 h 150"/>
              <a:gd name="T76" fmla="*/ 69 w 100"/>
              <a:gd name="T77" fmla="*/ 37 h 150"/>
              <a:gd name="T78" fmla="*/ 63 w 100"/>
              <a:gd name="T79" fmla="*/ 34 h 150"/>
              <a:gd name="T80" fmla="*/ 56 w 100"/>
              <a:gd name="T81" fmla="*/ 37 h 150"/>
              <a:gd name="T82" fmla="*/ 56 w 100"/>
              <a:gd name="T83" fmla="*/ 37 h 150"/>
              <a:gd name="T84" fmla="*/ 59 w 100"/>
              <a:gd name="T85" fmla="*/ 28 h 150"/>
              <a:gd name="T86" fmla="*/ 53 w 100"/>
              <a:gd name="T87" fmla="*/ 18 h 150"/>
              <a:gd name="T88" fmla="*/ 41 w 100"/>
              <a:gd name="T89" fmla="*/ 9 h 150"/>
              <a:gd name="T90" fmla="*/ 34 w 100"/>
              <a:gd name="T91" fmla="*/ 3 h 150"/>
              <a:gd name="T92" fmla="*/ 31 w 100"/>
              <a:gd name="T93" fmla="*/ 0 h 150"/>
              <a:gd name="T94" fmla="*/ 25 w 100"/>
              <a:gd name="T95" fmla="*/ 9 h 150"/>
              <a:gd name="T96" fmla="*/ 19 w 100"/>
              <a:gd name="T97" fmla="*/ 12 h 150"/>
              <a:gd name="T98" fmla="*/ 13 w 100"/>
              <a:gd name="T99" fmla="*/ 21 h 150"/>
              <a:gd name="T100" fmla="*/ 22 w 100"/>
              <a:gd name="T101" fmla="*/ 25 h 150"/>
              <a:gd name="T102" fmla="*/ 25 w 100"/>
              <a:gd name="T103" fmla="*/ 34 h 150"/>
              <a:gd name="T104" fmla="*/ 13 w 100"/>
              <a:gd name="T105" fmla="*/ 34 h 150"/>
              <a:gd name="T106" fmla="*/ 9 w 100"/>
              <a:gd name="T107" fmla="*/ 34 h 150"/>
              <a:gd name="T108" fmla="*/ 6 w 100"/>
              <a:gd name="T109" fmla="*/ 43 h 150"/>
              <a:gd name="T110" fmla="*/ 3 w 100"/>
              <a:gd name="T111" fmla="*/ 53 h 150"/>
              <a:gd name="T112" fmla="*/ 16 w 100"/>
              <a:gd name="T113" fmla="*/ 6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0" h="150">
                <a:moveTo>
                  <a:pt x="16" y="65"/>
                </a:moveTo>
                <a:lnTo>
                  <a:pt x="16" y="65"/>
                </a:lnTo>
                <a:lnTo>
                  <a:pt x="19" y="68"/>
                </a:lnTo>
                <a:lnTo>
                  <a:pt x="22" y="65"/>
                </a:lnTo>
                <a:lnTo>
                  <a:pt x="25" y="65"/>
                </a:lnTo>
                <a:lnTo>
                  <a:pt x="28" y="71"/>
                </a:lnTo>
                <a:lnTo>
                  <a:pt x="28" y="75"/>
                </a:lnTo>
                <a:lnTo>
                  <a:pt x="25" y="81"/>
                </a:lnTo>
                <a:lnTo>
                  <a:pt x="25" y="81"/>
                </a:lnTo>
                <a:lnTo>
                  <a:pt x="28" y="84"/>
                </a:lnTo>
                <a:lnTo>
                  <a:pt x="31" y="84"/>
                </a:lnTo>
                <a:lnTo>
                  <a:pt x="34" y="87"/>
                </a:lnTo>
                <a:lnTo>
                  <a:pt x="34" y="90"/>
                </a:lnTo>
                <a:lnTo>
                  <a:pt x="38" y="90"/>
                </a:lnTo>
                <a:lnTo>
                  <a:pt x="38" y="90"/>
                </a:lnTo>
                <a:lnTo>
                  <a:pt x="34" y="96"/>
                </a:lnTo>
                <a:lnTo>
                  <a:pt x="34" y="100"/>
                </a:lnTo>
                <a:lnTo>
                  <a:pt x="31" y="106"/>
                </a:lnTo>
                <a:lnTo>
                  <a:pt x="31" y="112"/>
                </a:lnTo>
                <a:lnTo>
                  <a:pt x="28" y="115"/>
                </a:lnTo>
                <a:lnTo>
                  <a:pt x="28" y="118"/>
                </a:lnTo>
                <a:lnTo>
                  <a:pt x="28" y="122"/>
                </a:lnTo>
                <a:lnTo>
                  <a:pt x="28" y="122"/>
                </a:lnTo>
                <a:lnTo>
                  <a:pt x="28" y="128"/>
                </a:lnTo>
                <a:lnTo>
                  <a:pt x="31" y="131"/>
                </a:lnTo>
                <a:lnTo>
                  <a:pt x="38" y="134"/>
                </a:lnTo>
                <a:lnTo>
                  <a:pt x="38" y="137"/>
                </a:lnTo>
                <a:lnTo>
                  <a:pt x="41" y="140"/>
                </a:lnTo>
                <a:lnTo>
                  <a:pt x="47" y="147"/>
                </a:lnTo>
                <a:lnTo>
                  <a:pt x="50" y="150"/>
                </a:lnTo>
                <a:lnTo>
                  <a:pt x="53" y="147"/>
                </a:lnTo>
                <a:lnTo>
                  <a:pt x="56" y="147"/>
                </a:lnTo>
                <a:lnTo>
                  <a:pt x="56" y="147"/>
                </a:lnTo>
                <a:lnTo>
                  <a:pt x="59" y="147"/>
                </a:lnTo>
                <a:lnTo>
                  <a:pt x="63" y="143"/>
                </a:lnTo>
                <a:lnTo>
                  <a:pt x="63" y="140"/>
                </a:lnTo>
                <a:lnTo>
                  <a:pt x="69" y="140"/>
                </a:lnTo>
                <a:lnTo>
                  <a:pt x="75" y="140"/>
                </a:lnTo>
                <a:lnTo>
                  <a:pt x="78" y="134"/>
                </a:lnTo>
                <a:lnTo>
                  <a:pt x="81" y="131"/>
                </a:lnTo>
                <a:lnTo>
                  <a:pt x="88" y="131"/>
                </a:lnTo>
                <a:lnTo>
                  <a:pt x="91" y="134"/>
                </a:lnTo>
                <a:lnTo>
                  <a:pt x="94" y="134"/>
                </a:lnTo>
                <a:lnTo>
                  <a:pt x="100" y="134"/>
                </a:lnTo>
                <a:lnTo>
                  <a:pt x="97" y="131"/>
                </a:lnTo>
                <a:lnTo>
                  <a:pt x="97" y="128"/>
                </a:lnTo>
                <a:lnTo>
                  <a:pt x="97" y="128"/>
                </a:lnTo>
                <a:lnTo>
                  <a:pt x="91" y="125"/>
                </a:lnTo>
                <a:lnTo>
                  <a:pt x="91" y="122"/>
                </a:lnTo>
                <a:lnTo>
                  <a:pt x="88" y="118"/>
                </a:lnTo>
                <a:lnTo>
                  <a:pt x="88" y="115"/>
                </a:lnTo>
                <a:lnTo>
                  <a:pt x="88" y="112"/>
                </a:lnTo>
                <a:lnTo>
                  <a:pt x="85" y="106"/>
                </a:lnTo>
                <a:lnTo>
                  <a:pt x="85" y="103"/>
                </a:lnTo>
                <a:lnTo>
                  <a:pt x="81" y="103"/>
                </a:lnTo>
                <a:lnTo>
                  <a:pt x="81" y="103"/>
                </a:lnTo>
                <a:lnTo>
                  <a:pt x="78" y="100"/>
                </a:lnTo>
                <a:lnTo>
                  <a:pt x="78" y="96"/>
                </a:lnTo>
                <a:lnTo>
                  <a:pt x="75" y="93"/>
                </a:lnTo>
                <a:lnTo>
                  <a:pt x="75" y="93"/>
                </a:lnTo>
                <a:lnTo>
                  <a:pt x="72" y="90"/>
                </a:lnTo>
                <a:lnTo>
                  <a:pt x="69" y="87"/>
                </a:lnTo>
                <a:lnTo>
                  <a:pt x="69" y="87"/>
                </a:lnTo>
                <a:lnTo>
                  <a:pt x="72" y="78"/>
                </a:lnTo>
                <a:lnTo>
                  <a:pt x="72" y="75"/>
                </a:lnTo>
                <a:lnTo>
                  <a:pt x="75" y="68"/>
                </a:lnTo>
                <a:lnTo>
                  <a:pt x="78" y="68"/>
                </a:lnTo>
                <a:lnTo>
                  <a:pt x="81" y="65"/>
                </a:lnTo>
                <a:lnTo>
                  <a:pt x="85" y="62"/>
                </a:lnTo>
                <a:lnTo>
                  <a:pt x="85" y="59"/>
                </a:lnTo>
                <a:lnTo>
                  <a:pt x="88" y="56"/>
                </a:lnTo>
                <a:lnTo>
                  <a:pt x="88" y="56"/>
                </a:lnTo>
                <a:lnTo>
                  <a:pt x="88" y="56"/>
                </a:lnTo>
                <a:lnTo>
                  <a:pt x="85" y="53"/>
                </a:lnTo>
                <a:lnTo>
                  <a:pt x="85" y="46"/>
                </a:lnTo>
                <a:lnTo>
                  <a:pt x="85" y="43"/>
                </a:lnTo>
                <a:lnTo>
                  <a:pt x="75" y="43"/>
                </a:lnTo>
                <a:lnTo>
                  <a:pt x="69" y="37"/>
                </a:lnTo>
                <a:lnTo>
                  <a:pt x="66" y="34"/>
                </a:lnTo>
                <a:lnTo>
                  <a:pt x="63" y="34"/>
                </a:lnTo>
                <a:lnTo>
                  <a:pt x="59" y="34"/>
                </a:lnTo>
                <a:lnTo>
                  <a:pt x="56" y="37"/>
                </a:lnTo>
                <a:lnTo>
                  <a:pt x="56" y="43"/>
                </a:lnTo>
                <a:lnTo>
                  <a:pt x="56" y="37"/>
                </a:lnTo>
                <a:lnTo>
                  <a:pt x="56" y="31"/>
                </a:lnTo>
                <a:lnTo>
                  <a:pt x="59" y="28"/>
                </a:lnTo>
                <a:lnTo>
                  <a:pt x="56" y="21"/>
                </a:lnTo>
                <a:lnTo>
                  <a:pt x="53" y="18"/>
                </a:lnTo>
                <a:lnTo>
                  <a:pt x="44" y="15"/>
                </a:lnTo>
                <a:lnTo>
                  <a:pt x="41" y="9"/>
                </a:lnTo>
                <a:lnTo>
                  <a:pt x="41" y="6"/>
                </a:lnTo>
                <a:lnTo>
                  <a:pt x="34" y="3"/>
                </a:lnTo>
                <a:lnTo>
                  <a:pt x="31" y="0"/>
                </a:lnTo>
                <a:lnTo>
                  <a:pt x="31" y="0"/>
                </a:lnTo>
                <a:lnTo>
                  <a:pt x="31" y="3"/>
                </a:lnTo>
                <a:lnTo>
                  <a:pt x="25" y="9"/>
                </a:lnTo>
                <a:lnTo>
                  <a:pt x="22" y="12"/>
                </a:lnTo>
                <a:lnTo>
                  <a:pt x="19" y="12"/>
                </a:lnTo>
                <a:lnTo>
                  <a:pt x="13" y="18"/>
                </a:lnTo>
                <a:lnTo>
                  <a:pt x="13" y="21"/>
                </a:lnTo>
                <a:lnTo>
                  <a:pt x="16" y="25"/>
                </a:lnTo>
                <a:lnTo>
                  <a:pt x="22" y="25"/>
                </a:lnTo>
                <a:lnTo>
                  <a:pt x="25" y="28"/>
                </a:lnTo>
                <a:lnTo>
                  <a:pt x="25" y="34"/>
                </a:lnTo>
                <a:lnTo>
                  <a:pt x="19" y="34"/>
                </a:lnTo>
                <a:lnTo>
                  <a:pt x="13" y="34"/>
                </a:lnTo>
                <a:lnTo>
                  <a:pt x="13" y="37"/>
                </a:lnTo>
                <a:lnTo>
                  <a:pt x="9" y="34"/>
                </a:lnTo>
                <a:lnTo>
                  <a:pt x="6" y="37"/>
                </a:lnTo>
                <a:lnTo>
                  <a:pt x="6" y="43"/>
                </a:lnTo>
                <a:lnTo>
                  <a:pt x="0" y="46"/>
                </a:lnTo>
                <a:lnTo>
                  <a:pt x="3" y="53"/>
                </a:lnTo>
                <a:lnTo>
                  <a:pt x="6" y="59"/>
                </a:lnTo>
                <a:lnTo>
                  <a:pt x="16" y="65"/>
                </a:lnTo>
                <a:lnTo>
                  <a:pt x="16" y="65"/>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2" name="Freeform 190">
            <a:extLst>
              <a:ext uri="{FF2B5EF4-FFF2-40B4-BE49-F238E27FC236}">
                <a16:creationId xmlns:a16="http://schemas.microsoft.com/office/drawing/2014/main" id="{E89152DC-3D06-CAC3-A46D-764C830B359A}"/>
              </a:ext>
            </a:extLst>
          </p:cNvPr>
          <p:cNvSpPr>
            <a:spLocks noEditPoints="1"/>
          </p:cNvSpPr>
          <p:nvPr userDrawn="1"/>
        </p:nvSpPr>
        <p:spPr bwMode="auto">
          <a:xfrm>
            <a:off x="8654490" y="8581308"/>
            <a:ext cx="831796" cy="765176"/>
          </a:xfrm>
          <a:custGeom>
            <a:avLst/>
            <a:gdLst>
              <a:gd name="T0" fmla="*/ 48 w 84"/>
              <a:gd name="T1" fmla="*/ 77 h 77"/>
              <a:gd name="T2" fmla="*/ 56 w 84"/>
              <a:gd name="T3" fmla="*/ 69 h 77"/>
              <a:gd name="T4" fmla="*/ 59 w 84"/>
              <a:gd name="T5" fmla="*/ 65 h 77"/>
              <a:gd name="T6" fmla="*/ 56 w 84"/>
              <a:gd name="T7" fmla="*/ 58 h 77"/>
              <a:gd name="T8" fmla="*/ 54 w 84"/>
              <a:gd name="T9" fmla="*/ 54 h 77"/>
              <a:gd name="T10" fmla="*/ 63 w 84"/>
              <a:gd name="T11" fmla="*/ 56 h 77"/>
              <a:gd name="T12" fmla="*/ 73 w 84"/>
              <a:gd name="T13" fmla="*/ 52 h 77"/>
              <a:gd name="T14" fmla="*/ 76 w 84"/>
              <a:gd name="T15" fmla="*/ 45 h 77"/>
              <a:gd name="T16" fmla="*/ 77 w 84"/>
              <a:gd name="T17" fmla="*/ 37 h 77"/>
              <a:gd name="T18" fmla="*/ 82 w 84"/>
              <a:gd name="T19" fmla="*/ 35 h 77"/>
              <a:gd name="T20" fmla="*/ 80 w 84"/>
              <a:gd name="T21" fmla="*/ 30 h 77"/>
              <a:gd name="T22" fmla="*/ 84 w 84"/>
              <a:gd name="T23" fmla="*/ 26 h 77"/>
              <a:gd name="T24" fmla="*/ 78 w 84"/>
              <a:gd name="T25" fmla="*/ 25 h 77"/>
              <a:gd name="T26" fmla="*/ 74 w 84"/>
              <a:gd name="T27" fmla="*/ 25 h 77"/>
              <a:gd name="T28" fmla="*/ 77 w 84"/>
              <a:gd name="T29" fmla="*/ 22 h 77"/>
              <a:gd name="T30" fmla="*/ 72 w 84"/>
              <a:gd name="T31" fmla="*/ 19 h 77"/>
              <a:gd name="T32" fmla="*/ 68 w 84"/>
              <a:gd name="T33" fmla="*/ 16 h 77"/>
              <a:gd name="T34" fmla="*/ 65 w 84"/>
              <a:gd name="T35" fmla="*/ 15 h 77"/>
              <a:gd name="T36" fmla="*/ 71 w 84"/>
              <a:gd name="T37" fmla="*/ 13 h 77"/>
              <a:gd name="T38" fmla="*/ 63 w 84"/>
              <a:gd name="T39" fmla="*/ 11 h 77"/>
              <a:gd name="T40" fmla="*/ 55 w 84"/>
              <a:gd name="T41" fmla="*/ 14 h 77"/>
              <a:gd name="T42" fmla="*/ 50 w 84"/>
              <a:gd name="T43" fmla="*/ 16 h 77"/>
              <a:gd name="T44" fmla="*/ 36 w 84"/>
              <a:gd name="T45" fmla="*/ 14 h 77"/>
              <a:gd name="T46" fmla="*/ 33 w 84"/>
              <a:gd name="T47" fmla="*/ 11 h 77"/>
              <a:gd name="T48" fmla="*/ 26 w 84"/>
              <a:gd name="T49" fmla="*/ 7 h 77"/>
              <a:gd name="T50" fmla="*/ 22 w 84"/>
              <a:gd name="T51" fmla="*/ 2 h 77"/>
              <a:gd name="T52" fmla="*/ 19 w 84"/>
              <a:gd name="T53" fmla="*/ 7 h 77"/>
              <a:gd name="T54" fmla="*/ 21 w 84"/>
              <a:gd name="T55" fmla="*/ 8 h 77"/>
              <a:gd name="T56" fmla="*/ 18 w 84"/>
              <a:gd name="T57" fmla="*/ 9 h 77"/>
              <a:gd name="T58" fmla="*/ 12 w 84"/>
              <a:gd name="T59" fmla="*/ 14 h 77"/>
              <a:gd name="T60" fmla="*/ 10 w 84"/>
              <a:gd name="T61" fmla="*/ 23 h 77"/>
              <a:gd name="T62" fmla="*/ 8 w 84"/>
              <a:gd name="T63" fmla="*/ 17 h 77"/>
              <a:gd name="T64" fmla="*/ 10 w 84"/>
              <a:gd name="T65" fmla="*/ 10 h 77"/>
              <a:gd name="T66" fmla="*/ 10 w 84"/>
              <a:gd name="T67" fmla="*/ 6 h 77"/>
              <a:gd name="T68" fmla="*/ 9 w 84"/>
              <a:gd name="T69" fmla="*/ 6 h 77"/>
              <a:gd name="T70" fmla="*/ 3 w 84"/>
              <a:gd name="T71" fmla="*/ 12 h 77"/>
              <a:gd name="T72" fmla="*/ 0 w 84"/>
              <a:gd name="T73" fmla="*/ 21 h 77"/>
              <a:gd name="T74" fmla="*/ 6 w 84"/>
              <a:gd name="T75" fmla="*/ 28 h 77"/>
              <a:gd name="T76" fmla="*/ 5 w 84"/>
              <a:gd name="T77" fmla="*/ 33 h 77"/>
              <a:gd name="T78" fmla="*/ 12 w 84"/>
              <a:gd name="T79" fmla="*/ 35 h 77"/>
              <a:gd name="T80" fmla="*/ 19 w 84"/>
              <a:gd name="T81" fmla="*/ 35 h 77"/>
              <a:gd name="T82" fmla="*/ 28 w 84"/>
              <a:gd name="T83" fmla="*/ 40 h 77"/>
              <a:gd name="T84" fmla="*/ 34 w 84"/>
              <a:gd name="T85" fmla="*/ 41 h 77"/>
              <a:gd name="T86" fmla="*/ 36 w 84"/>
              <a:gd name="T87" fmla="*/ 44 h 77"/>
              <a:gd name="T88" fmla="*/ 34 w 84"/>
              <a:gd name="T89" fmla="*/ 50 h 77"/>
              <a:gd name="T90" fmla="*/ 34 w 84"/>
              <a:gd name="T91" fmla="*/ 56 h 77"/>
              <a:gd name="T92" fmla="*/ 35 w 84"/>
              <a:gd name="T93" fmla="*/ 64 h 77"/>
              <a:gd name="T94" fmla="*/ 37 w 84"/>
              <a:gd name="T95" fmla="*/ 67 h 77"/>
              <a:gd name="T96" fmla="*/ 30 w 84"/>
              <a:gd name="T97" fmla="*/ 2 h 77"/>
              <a:gd name="T98" fmla="*/ 31 w 84"/>
              <a:gd name="T99" fmla="*/ 3 h 77"/>
              <a:gd name="T100" fmla="*/ 28 w 84"/>
              <a:gd name="T101" fmla="*/ 3 h 77"/>
              <a:gd name="T102" fmla="*/ 21 w 84"/>
              <a:gd name="T103" fmla="*/ 1 h 77"/>
              <a:gd name="T104" fmla="*/ 57 w 84"/>
              <a:gd name="T105" fmla="*/ 9 h 77"/>
              <a:gd name="T106" fmla="*/ 58 w 84"/>
              <a:gd name="T107" fmla="*/ 1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 h="77">
                <a:moveTo>
                  <a:pt x="39" y="73"/>
                </a:moveTo>
                <a:cubicBezTo>
                  <a:pt x="41" y="75"/>
                  <a:pt x="41" y="75"/>
                  <a:pt x="41" y="75"/>
                </a:cubicBezTo>
                <a:cubicBezTo>
                  <a:pt x="44" y="77"/>
                  <a:pt x="44" y="77"/>
                  <a:pt x="44" y="77"/>
                </a:cubicBezTo>
                <a:cubicBezTo>
                  <a:pt x="45" y="77"/>
                  <a:pt x="45" y="77"/>
                  <a:pt x="45" y="77"/>
                </a:cubicBezTo>
                <a:cubicBezTo>
                  <a:pt x="48" y="77"/>
                  <a:pt x="48" y="77"/>
                  <a:pt x="48" y="77"/>
                </a:cubicBezTo>
                <a:cubicBezTo>
                  <a:pt x="49" y="75"/>
                  <a:pt x="49" y="75"/>
                  <a:pt x="49" y="75"/>
                </a:cubicBezTo>
                <a:cubicBezTo>
                  <a:pt x="51" y="74"/>
                  <a:pt x="51" y="74"/>
                  <a:pt x="51" y="74"/>
                </a:cubicBezTo>
                <a:cubicBezTo>
                  <a:pt x="52" y="72"/>
                  <a:pt x="52" y="72"/>
                  <a:pt x="52" y="72"/>
                </a:cubicBezTo>
                <a:cubicBezTo>
                  <a:pt x="55" y="71"/>
                  <a:pt x="55" y="71"/>
                  <a:pt x="55" y="71"/>
                </a:cubicBezTo>
                <a:cubicBezTo>
                  <a:pt x="56" y="69"/>
                  <a:pt x="56" y="69"/>
                  <a:pt x="56" y="69"/>
                </a:cubicBezTo>
                <a:cubicBezTo>
                  <a:pt x="57" y="68"/>
                  <a:pt x="57" y="68"/>
                  <a:pt x="57" y="68"/>
                </a:cubicBezTo>
                <a:cubicBezTo>
                  <a:pt x="60" y="67"/>
                  <a:pt x="60" y="67"/>
                  <a:pt x="60" y="67"/>
                </a:cubicBezTo>
                <a:cubicBezTo>
                  <a:pt x="61" y="67"/>
                  <a:pt x="61" y="67"/>
                  <a:pt x="61" y="67"/>
                </a:cubicBezTo>
                <a:cubicBezTo>
                  <a:pt x="61" y="65"/>
                  <a:pt x="61" y="65"/>
                  <a:pt x="61" y="65"/>
                </a:cubicBezTo>
                <a:cubicBezTo>
                  <a:pt x="59" y="65"/>
                  <a:pt x="59" y="65"/>
                  <a:pt x="59" y="65"/>
                </a:cubicBezTo>
                <a:cubicBezTo>
                  <a:pt x="57" y="65"/>
                  <a:pt x="57" y="65"/>
                  <a:pt x="57" y="65"/>
                </a:cubicBezTo>
                <a:cubicBezTo>
                  <a:pt x="55" y="64"/>
                  <a:pt x="55" y="64"/>
                  <a:pt x="55" y="64"/>
                </a:cubicBezTo>
                <a:cubicBezTo>
                  <a:pt x="55" y="62"/>
                  <a:pt x="55" y="62"/>
                  <a:pt x="55" y="62"/>
                </a:cubicBezTo>
                <a:cubicBezTo>
                  <a:pt x="54" y="61"/>
                  <a:pt x="54" y="61"/>
                  <a:pt x="54" y="61"/>
                </a:cubicBezTo>
                <a:cubicBezTo>
                  <a:pt x="56" y="58"/>
                  <a:pt x="56" y="58"/>
                  <a:pt x="56" y="58"/>
                </a:cubicBezTo>
                <a:cubicBezTo>
                  <a:pt x="56" y="57"/>
                  <a:pt x="56" y="57"/>
                  <a:pt x="56" y="57"/>
                </a:cubicBezTo>
                <a:cubicBezTo>
                  <a:pt x="54" y="56"/>
                  <a:pt x="54" y="56"/>
                  <a:pt x="54" y="56"/>
                </a:cubicBezTo>
                <a:cubicBezTo>
                  <a:pt x="53" y="55"/>
                  <a:pt x="53" y="55"/>
                  <a:pt x="53" y="55"/>
                </a:cubicBezTo>
                <a:cubicBezTo>
                  <a:pt x="52" y="54"/>
                  <a:pt x="52" y="54"/>
                  <a:pt x="52" y="54"/>
                </a:cubicBezTo>
                <a:cubicBezTo>
                  <a:pt x="54" y="54"/>
                  <a:pt x="54" y="54"/>
                  <a:pt x="54" y="54"/>
                </a:cubicBezTo>
                <a:cubicBezTo>
                  <a:pt x="56" y="55"/>
                  <a:pt x="56" y="55"/>
                  <a:pt x="56" y="55"/>
                </a:cubicBezTo>
                <a:cubicBezTo>
                  <a:pt x="58" y="56"/>
                  <a:pt x="58" y="56"/>
                  <a:pt x="58" y="56"/>
                </a:cubicBezTo>
                <a:cubicBezTo>
                  <a:pt x="60" y="56"/>
                  <a:pt x="60" y="56"/>
                  <a:pt x="60" y="56"/>
                </a:cubicBezTo>
                <a:cubicBezTo>
                  <a:pt x="63" y="55"/>
                  <a:pt x="63" y="55"/>
                  <a:pt x="63" y="55"/>
                </a:cubicBezTo>
                <a:cubicBezTo>
                  <a:pt x="63" y="56"/>
                  <a:pt x="63" y="56"/>
                  <a:pt x="63" y="56"/>
                </a:cubicBezTo>
                <a:cubicBezTo>
                  <a:pt x="65" y="55"/>
                  <a:pt x="65" y="55"/>
                  <a:pt x="65" y="55"/>
                </a:cubicBezTo>
                <a:cubicBezTo>
                  <a:pt x="67" y="53"/>
                  <a:pt x="67" y="53"/>
                  <a:pt x="67" y="53"/>
                </a:cubicBezTo>
                <a:cubicBezTo>
                  <a:pt x="69" y="53"/>
                  <a:pt x="69" y="53"/>
                  <a:pt x="69" y="53"/>
                </a:cubicBezTo>
                <a:cubicBezTo>
                  <a:pt x="70" y="54"/>
                  <a:pt x="70" y="54"/>
                  <a:pt x="70" y="54"/>
                </a:cubicBezTo>
                <a:cubicBezTo>
                  <a:pt x="73" y="52"/>
                  <a:pt x="73" y="52"/>
                  <a:pt x="73" y="52"/>
                </a:cubicBezTo>
                <a:cubicBezTo>
                  <a:pt x="75" y="52"/>
                  <a:pt x="75" y="52"/>
                  <a:pt x="75" y="52"/>
                </a:cubicBezTo>
                <a:cubicBezTo>
                  <a:pt x="78" y="50"/>
                  <a:pt x="78" y="50"/>
                  <a:pt x="78" y="50"/>
                </a:cubicBezTo>
                <a:cubicBezTo>
                  <a:pt x="79" y="48"/>
                  <a:pt x="79" y="48"/>
                  <a:pt x="79" y="48"/>
                </a:cubicBezTo>
                <a:cubicBezTo>
                  <a:pt x="79" y="47"/>
                  <a:pt x="79" y="47"/>
                  <a:pt x="79" y="47"/>
                </a:cubicBezTo>
                <a:cubicBezTo>
                  <a:pt x="76" y="45"/>
                  <a:pt x="76" y="45"/>
                  <a:pt x="76" y="45"/>
                </a:cubicBezTo>
                <a:cubicBezTo>
                  <a:pt x="75" y="43"/>
                  <a:pt x="75" y="43"/>
                  <a:pt x="75" y="43"/>
                </a:cubicBezTo>
                <a:cubicBezTo>
                  <a:pt x="74" y="41"/>
                  <a:pt x="74" y="41"/>
                  <a:pt x="74" y="41"/>
                </a:cubicBezTo>
                <a:cubicBezTo>
                  <a:pt x="76" y="40"/>
                  <a:pt x="76" y="40"/>
                  <a:pt x="76" y="40"/>
                </a:cubicBezTo>
                <a:cubicBezTo>
                  <a:pt x="76" y="38"/>
                  <a:pt x="76" y="38"/>
                  <a:pt x="76" y="38"/>
                </a:cubicBezTo>
                <a:cubicBezTo>
                  <a:pt x="77" y="37"/>
                  <a:pt x="77" y="37"/>
                  <a:pt x="77" y="37"/>
                </a:cubicBezTo>
                <a:cubicBezTo>
                  <a:pt x="78" y="38"/>
                  <a:pt x="78" y="38"/>
                  <a:pt x="78" y="38"/>
                </a:cubicBezTo>
                <a:cubicBezTo>
                  <a:pt x="78" y="37"/>
                  <a:pt x="78" y="37"/>
                  <a:pt x="78" y="37"/>
                </a:cubicBezTo>
                <a:cubicBezTo>
                  <a:pt x="80" y="37"/>
                  <a:pt x="80" y="37"/>
                  <a:pt x="80" y="37"/>
                </a:cubicBezTo>
                <a:cubicBezTo>
                  <a:pt x="82" y="37"/>
                  <a:pt x="82" y="37"/>
                  <a:pt x="82" y="37"/>
                </a:cubicBezTo>
                <a:cubicBezTo>
                  <a:pt x="82" y="35"/>
                  <a:pt x="82" y="35"/>
                  <a:pt x="82" y="35"/>
                </a:cubicBezTo>
                <a:cubicBezTo>
                  <a:pt x="81" y="34"/>
                  <a:pt x="81" y="34"/>
                  <a:pt x="81" y="34"/>
                </a:cubicBezTo>
                <a:cubicBezTo>
                  <a:pt x="79" y="34"/>
                  <a:pt x="79" y="34"/>
                  <a:pt x="79" y="34"/>
                </a:cubicBezTo>
                <a:cubicBezTo>
                  <a:pt x="78" y="33"/>
                  <a:pt x="78" y="33"/>
                  <a:pt x="78" y="33"/>
                </a:cubicBezTo>
                <a:cubicBezTo>
                  <a:pt x="78" y="32"/>
                  <a:pt x="78" y="32"/>
                  <a:pt x="78" y="32"/>
                </a:cubicBezTo>
                <a:cubicBezTo>
                  <a:pt x="80" y="30"/>
                  <a:pt x="80" y="30"/>
                  <a:pt x="80" y="30"/>
                </a:cubicBezTo>
                <a:cubicBezTo>
                  <a:pt x="81" y="30"/>
                  <a:pt x="81" y="30"/>
                  <a:pt x="81" y="30"/>
                </a:cubicBezTo>
                <a:cubicBezTo>
                  <a:pt x="82" y="29"/>
                  <a:pt x="82" y="29"/>
                  <a:pt x="82" y="29"/>
                </a:cubicBezTo>
                <a:cubicBezTo>
                  <a:pt x="84" y="27"/>
                  <a:pt x="84" y="27"/>
                  <a:pt x="84" y="27"/>
                </a:cubicBezTo>
                <a:cubicBezTo>
                  <a:pt x="84" y="26"/>
                  <a:pt x="84" y="26"/>
                  <a:pt x="84" y="26"/>
                </a:cubicBezTo>
                <a:cubicBezTo>
                  <a:pt x="84" y="26"/>
                  <a:pt x="84" y="26"/>
                  <a:pt x="84" y="26"/>
                </a:cubicBezTo>
                <a:cubicBezTo>
                  <a:pt x="81" y="25"/>
                  <a:pt x="81" y="25"/>
                  <a:pt x="81" y="25"/>
                </a:cubicBezTo>
                <a:cubicBezTo>
                  <a:pt x="80" y="25"/>
                  <a:pt x="80" y="25"/>
                  <a:pt x="80" y="25"/>
                </a:cubicBezTo>
                <a:cubicBezTo>
                  <a:pt x="80" y="25"/>
                  <a:pt x="80" y="25"/>
                  <a:pt x="80" y="25"/>
                </a:cubicBezTo>
                <a:cubicBezTo>
                  <a:pt x="78" y="25"/>
                  <a:pt x="78" y="25"/>
                  <a:pt x="78" y="25"/>
                </a:cubicBezTo>
                <a:cubicBezTo>
                  <a:pt x="78" y="25"/>
                  <a:pt x="78" y="25"/>
                  <a:pt x="78" y="25"/>
                </a:cubicBezTo>
                <a:cubicBezTo>
                  <a:pt x="77" y="25"/>
                  <a:pt x="77" y="25"/>
                  <a:pt x="77" y="25"/>
                </a:cubicBezTo>
                <a:cubicBezTo>
                  <a:pt x="75" y="26"/>
                  <a:pt x="75" y="26"/>
                  <a:pt x="75" y="26"/>
                </a:cubicBezTo>
                <a:cubicBezTo>
                  <a:pt x="73" y="26"/>
                  <a:pt x="73" y="26"/>
                  <a:pt x="73" y="26"/>
                </a:cubicBezTo>
                <a:cubicBezTo>
                  <a:pt x="72" y="26"/>
                  <a:pt x="72" y="26"/>
                  <a:pt x="72" y="26"/>
                </a:cubicBezTo>
                <a:cubicBezTo>
                  <a:pt x="74" y="25"/>
                  <a:pt x="74" y="25"/>
                  <a:pt x="74" y="25"/>
                </a:cubicBezTo>
                <a:cubicBezTo>
                  <a:pt x="74" y="25"/>
                  <a:pt x="74" y="25"/>
                  <a:pt x="74" y="25"/>
                </a:cubicBezTo>
                <a:cubicBezTo>
                  <a:pt x="75" y="25"/>
                  <a:pt x="75" y="25"/>
                  <a:pt x="75" y="25"/>
                </a:cubicBezTo>
                <a:cubicBezTo>
                  <a:pt x="76" y="24"/>
                  <a:pt x="76" y="24"/>
                  <a:pt x="76" y="24"/>
                </a:cubicBezTo>
                <a:cubicBezTo>
                  <a:pt x="77" y="23"/>
                  <a:pt x="77" y="23"/>
                  <a:pt x="77" y="23"/>
                </a:cubicBezTo>
                <a:cubicBezTo>
                  <a:pt x="77" y="22"/>
                  <a:pt x="77" y="22"/>
                  <a:pt x="77" y="22"/>
                </a:cubicBezTo>
                <a:cubicBezTo>
                  <a:pt x="77" y="22"/>
                  <a:pt x="77" y="22"/>
                  <a:pt x="77" y="22"/>
                </a:cubicBezTo>
                <a:cubicBezTo>
                  <a:pt x="77" y="21"/>
                  <a:pt x="77" y="21"/>
                  <a:pt x="77" y="21"/>
                </a:cubicBezTo>
                <a:cubicBezTo>
                  <a:pt x="76" y="20"/>
                  <a:pt x="76" y="20"/>
                  <a:pt x="76" y="20"/>
                </a:cubicBezTo>
                <a:cubicBezTo>
                  <a:pt x="75" y="19"/>
                  <a:pt x="75" y="19"/>
                  <a:pt x="75" y="19"/>
                </a:cubicBezTo>
                <a:cubicBezTo>
                  <a:pt x="72" y="19"/>
                  <a:pt x="72" y="19"/>
                  <a:pt x="72" y="19"/>
                </a:cubicBezTo>
                <a:cubicBezTo>
                  <a:pt x="72" y="18"/>
                  <a:pt x="72" y="18"/>
                  <a:pt x="72" y="18"/>
                </a:cubicBezTo>
                <a:cubicBezTo>
                  <a:pt x="71" y="18"/>
                  <a:pt x="71" y="18"/>
                  <a:pt x="71" y="18"/>
                </a:cubicBezTo>
                <a:cubicBezTo>
                  <a:pt x="70" y="18"/>
                  <a:pt x="70" y="18"/>
                  <a:pt x="70" y="18"/>
                </a:cubicBezTo>
                <a:cubicBezTo>
                  <a:pt x="69" y="17"/>
                  <a:pt x="69" y="17"/>
                  <a:pt x="69" y="17"/>
                </a:cubicBezTo>
                <a:cubicBezTo>
                  <a:pt x="68" y="16"/>
                  <a:pt x="68" y="16"/>
                  <a:pt x="68" y="16"/>
                </a:cubicBezTo>
                <a:cubicBezTo>
                  <a:pt x="67" y="16"/>
                  <a:pt x="67" y="16"/>
                  <a:pt x="67" y="16"/>
                </a:cubicBezTo>
                <a:cubicBezTo>
                  <a:pt x="68" y="18"/>
                  <a:pt x="68" y="18"/>
                  <a:pt x="68" y="18"/>
                </a:cubicBezTo>
                <a:cubicBezTo>
                  <a:pt x="67" y="16"/>
                  <a:pt x="67" y="16"/>
                  <a:pt x="67" y="16"/>
                </a:cubicBezTo>
                <a:cubicBezTo>
                  <a:pt x="66" y="15"/>
                  <a:pt x="66" y="15"/>
                  <a:pt x="66" y="15"/>
                </a:cubicBezTo>
                <a:cubicBezTo>
                  <a:pt x="65" y="15"/>
                  <a:pt x="65" y="15"/>
                  <a:pt x="65" y="15"/>
                </a:cubicBezTo>
                <a:cubicBezTo>
                  <a:pt x="65" y="14"/>
                  <a:pt x="65" y="14"/>
                  <a:pt x="65" y="14"/>
                </a:cubicBezTo>
                <a:cubicBezTo>
                  <a:pt x="65" y="13"/>
                  <a:pt x="65" y="13"/>
                  <a:pt x="65" y="13"/>
                </a:cubicBezTo>
                <a:cubicBezTo>
                  <a:pt x="68" y="13"/>
                  <a:pt x="68" y="13"/>
                  <a:pt x="68" y="13"/>
                </a:cubicBezTo>
                <a:cubicBezTo>
                  <a:pt x="69" y="13"/>
                  <a:pt x="69" y="13"/>
                  <a:pt x="69" y="13"/>
                </a:cubicBezTo>
                <a:cubicBezTo>
                  <a:pt x="71" y="13"/>
                  <a:pt x="71" y="13"/>
                  <a:pt x="71" y="13"/>
                </a:cubicBezTo>
                <a:cubicBezTo>
                  <a:pt x="71" y="12"/>
                  <a:pt x="71" y="12"/>
                  <a:pt x="71" y="12"/>
                </a:cubicBezTo>
                <a:cubicBezTo>
                  <a:pt x="69" y="12"/>
                  <a:pt x="69" y="12"/>
                  <a:pt x="69" y="12"/>
                </a:cubicBezTo>
                <a:cubicBezTo>
                  <a:pt x="67" y="11"/>
                  <a:pt x="67" y="11"/>
                  <a:pt x="67" y="11"/>
                </a:cubicBezTo>
                <a:cubicBezTo>
                  <a:pt x="65" y="12"/>
                  <a:pt x="65" y="12"/>
                  <a:pt x="65" y="12"/>
                </a:cubicBezTo>
                <a:cubicBezTo>
                  <a:pt x="63" y="11"/>
                  <a:pt x="63" y="11"/>
                  <a:pt x="63" y="11"/>
                </a:cubicBezTo>
                <a:cubicBezTo>
                  <a:pt x="60" y="12"/>
                  <a:pt x="60" y="12"/>
                  <a:pt x="60" y="12"/>
                </a:cubicBezTo>
                <a:cubicBezTo>
                  <a:pt x="60" y="12"/>
                  <a:pt x="60" y="12"/>
                  <a:pt x="60" y="12"/>
                </a:cubicBezTo>
                <a:cubicBezTo>
                  <a:pt x="58" y="12"/>
                  <a:pt x="58" y="12"/>
                  <a:pt x="58" y="12"/>
                </a:cubicBezTo>
                <a:cubicBezTo>
                  <a:pt x="56" y="14"/>
                  <a:pt x="56" y="14"/>
                  <a:pt x="56" y="14"/>
                </a:cubicBezTo>
                <a:cubicBezTo>
                  <a:pt x="55" y="14"/>
                  <a:pt x="55" y="14"/>
                  <a:pt x="55" y="14"/>
                </a:cubicBezTo>
                <a:cubicBezTo>
                  <a:pt x="53" y="15"/>
                  <a:pt x="53" y="15"/>
                  <a:pt x="53" y="15"/>
                </a:cubicBezTo>
                <a:cubicBezTo>
                  <a:pt x="53" y="15"/>
                  <a:pt x="53" y="15"/>
                  <a:pt x="53" y="15"/>
                </a:cubicBezTo>
                <a:cubicBezTo>
                  <a:pt x="51" y="16"/>
                  <a:pt x="51" y="16"/>
                  <a:pt x="51" y="16"/>
                </a:cubicBezTo>
                <a:cubicBezTo>
                  <a:pt x="51" y="16"/>
                  <a:pt x="51" y="16"/>
                  <a:pt x="51" y="16"/>
                </a:cubicBezTo>
                <a:cubicBezTo>
                  <a:pt x="50" y="16"/>
                  <a:pt x="50" y="16"/>
                  <a:pt x="50" y="16"/>
                </a:cubicBezTo>
                <a:cubicBezTo>
                  <a:pt x="47" y="14"/>
                  <a:pt x="47" y="14"/>
                  <a:pt x="47" y="14"/>
                </a:cubicBezTo>
                <a:cubicBezTo>
                  <a:pt x="46" y="13"/>
                  <a:pt x="46" y="13"/>
                  <a:pt x="46" y="13"/>
                </a:cubicBezTo>
                <a:cubicBezTo>
                  <a:pt x="45" y="13"/>
                  <a:pt x="45" y="13"/>
                  <a:pt x="45" y="13"/>
                </a:cubicBezTo>
                <a:cubicBezTo>
                  <a:pt x="42" y="13"/>
                  <a:pt x="42" y="13"/>
                  <a:pt x="42" y="13"/>
                </a:cubicBezTo>
                <a:cubicBezTo>
                  <a:pt x="36" y="14"/>
                  <a:pt x="36" y="14"/>
                  <a:pt x="36" y="14"/>
                </a:cubicBezTo>
                <a:cubicBezTo>
                  <a:pt x="34" y="14"/>
                  <a:pt x="34" y="14"/>
                  <a:pt x="34" y="14"/>
                </a:cubicBezTo>
                <a:cubicBezTo>
                  <a:pt x="32" y="13"/>
                  <a:pt x="32" y="13"/>
                  <a:pt x="32" y="13"/>
                </a:cubicBezTo>
                <a:cubicBezTo>
                  <a:pt x="32" y="12"/>
                  <a:pt x="32" y="12"/>
                  <a:pt x="32" y="12"/>
                </a:cubicBezTo>
                <a:cubicBezTo>
                  <a:pt x="32" y="11"/>
                  <a:pt x="32" y="11"/>
                  <a:pt x="32" y="11"/>
                </a:cubicBezTo>
                <a:cubicBezTo>
                  <a:pt x="33" y="11"/>
                  <a:pt x="33" y="11"/>
                  <a:pt x="33" y="11"/>
                </a:cubicBezTo>
                <a:cubicBezTo>
                  <a:pt x="33" y="10"/>
                  <a:pt x="33" y="10"/>
                  <a:pt x="33" y="10"/>
                </a:cubicBezTo>
                <a:cubicBezTo>
                  <a:pt x="31" y="8"/>
                  <a:pt x="31" y="8"/>
                  <a:pt x="31" y="8"/>
                </a:cubicBezTo>
                <a:cubicBezTo>
                  <a:pt x="30" y="8"/>
                  <a:pt x="30" y="8"/>
                  <a:pt x="30" y="8"/>
                </a:cubicBezTo>
                <a:cubicBezTo>
                  <a:pt x="27" y="8"/>
                  <a:pt x="27" y="8"/>
                  <a:pt x="27" y="8"/>
                </a:cubicBezTo>
                <a:cubicBezTo>
                  <a:pt x="26" y="7"/>
                  <a:pt x="26" y="7"/>
                  <a:pt x="26" y="7"/>
                </a:cubicBezTo>
                <a:cubicBezTo>
                  <a:pt x="25" y="7"/>
                  <a:pt x="25" y="7"/>
                  <a:pt x="25" y="7"/>
                </a:cubicBezTo>
                <a:cubicBezTo>
                  <a:pt x="24" y="8"/>
                  <a:pt x="24" y="8"/>
                  <a:pt x="24" y="8"/>
                </a:cubicBezTo>
                <a:cubicBezTo>
                  <a:pt x="23" y="6"/>
                  <a:pt x="23" y="6"/>
                  <a:pt x="23" y="6"/>
                </a:cubicBezTo>
                <a:cubicBezTo>
                  <a:pt x="23" y="4"/>
                  <a:pt x="23" y="4"/>
                  <a:pt x="23" y="4"/>
                </a:cubicBezTo>
                <a:cubicBezTo>
                  <a:pt x="22" y="2"/>
                  <a:pt x="22" y="2"/>
                  <a:pt x="22" y="2"/>
                </a:cubicBezTo>
                <a:cubicBezTo>
                  <a:pt x="22" y="2"/>
                  <a:pt x="22" y="2"/>
                  <a:pt x="22" y="2"/>
                </a:cubicBezTo>
                <a:cubicBezTo>
                  <a:pt x="20" y="3"/>
                  <a:pt x="20" y="3"/>
                  <a:pt x="20" y="3"/>
                </a:cubicBezTo>
                <a:cubicBezTo>
                  <a:pt x="18" y="5"/>
                  <a:pt x="18" y="5"/>
                  <a:pt x="18" y="5"/>
                </a:cubicBezTo>
                <a:cubicBezTo>
                  <a:pt x="19" y="6"/>
                  <a:pt x="19" y="6"/>
                  <a:pt x="19" y="6"/>
                </a:cubicBezTo>
                <a:cubicBezTo>
                  <a:pt x="19" y="7"/>
                  <a:pt x="19" y="7"/>
                  <a:pt x="19" y="7"/>
                </a:cubicBezTo>
                <a:cubicBezTo>
                  <a:pt x="21" y="6"/>
                  <a:pt x="21" y="6"/>
                  <a:pt x="21" y="6"/>
                </a:cubicBezTo>
                <a:cubicBezTo>
                  <a:pt x="22" y="6"/>
                  <a:pt x="22" y="6"/>
                  <a:pt x="22" y="6"/>
                </a:cubicBezTo>
                <a:cubicBezTo>
                  <a:pt x="23" y="7"/>
                  <a:pt x="23" y="7"/>
                  <a:pt x="23" y="7"/>
                </a:cubicBezTo>
                <a:cubicBezTo>
                  <a:pt x="22" y="8"/>
                  <a:pt x="22" y="8"/>
                  <a:pt x="22" y="8"/>
                </a:cubicBezTo>
                <a:cubicBezTo>
                  <a:pt x="21" y="8"/>
                  <a:pt x="21" y="8"/>
                  <a:pt x="21" y="8"/>
                </a:cubicBezTo>
                <a:cubicBezTo>
                  <a:pt x="20" y="8"/>
                  <a:pt x="20" y="8"/>
                  <a:pt x="20" y="8"/>
                </a:cubicBezTo>
                <a:cubicBezTo>
                  <a:pt x="20" y="7"/>
                  <a:pt x="20" y="7"/>
                  <a:pt x="20" y="7"/>
                </a:cubicBezTo>
                <a:cubicBezTo>
                  <a:pt x="19" y="8"/>
                  <a:pt x="19" y="8"/>
                  <a:pt x="19" y="8"/>
                </a:cubicBezTo>
                <a:cubicBezTo>
                  <a:pt x="19" y="8"/>
                  <a:pt x="19" y="8"/>
                  <a:pt x="19" y="8"/>
                </a:cubicBezTo>
                <a:cubicBezTo>
                  <a:pt x="18" y="9"/>
                  <a:pt x="18" y="9"/>
                  <a:pt x="18" y="9"/>
                </a:cubicBezTo>
                <a:cubicBezTo>
                  <a:pt x="15" y="9"/>
                  <a:pt x="15" y="9"/>
                  <a:pt x="15" y="9"/>
                </a:cubicBezTo>
                <a:cubicBezTo>
                  <a:pt x="12" y="11"/>
                  <a:pt x="12" y="11"/>
                  <a:pt x="12" y="11"/>
                </a:cubicBezTo>
                <a:cubicBezTo>
                  <a:pt x="11" y="12"/>
                  <a:pt x="11" y="12"/>
                  <a:pt x="11" y="12"/>
                </a:cubicBezTo>
                <a:cubicBezTo>
                  <a:pt x="11" y="13"/>
                  <a:pt x="11" y="13"/>
                  <a:pt x="11" y="13"/>
                </a:cubicBezTo>
                <a:cubicBezTo>
                  <a:pt x="12" y="14"/>
                  <a:pt x="12" y="14"/>
                  <a:pt x="12" y="14"/>
                </a:cubicBezTo>
                <a:cubicBezTo>
                  <a:pt x="12" y="17"/>
                  <a:pt x="12" y="17"/>
                  <a:pt x="12" y="17"/>
                </a:cubicBezTo>
                <a:cubicBezTo>
                  <a:pt x="12" y="18"/>
                  <a:pt x="12" y="18"/>
                  <a:pt x="12" y="18"/>
                </a:cubicBezTo>
                <a:cubicBezTo>
                  <a:pt x="13" y="20"/>
                  <a:pt x="13" y="20"/>
                  <a:pt x="13" y="20"/>
                </a:cubicBezTo>
                <a:cubicBezTo>
                  <a:pt x="12" y="22"/>
                  <a:pt x="12" y="22"/>
                  <a:pt x="12" y="22"/>
                </a:cubicBezTo>
                <a:cubicBezTo>
                  <a:pt x="10" y="23"/>
                  <a:pt x="10" y="23"/>
                  <a:pt x="10" y="23"/>
                </a:cubicBezTo>
                <a:cubicBezTo>
                  <a:pt x="9" y="23"/>
                  <a:pt x="9" y="23"/>
                  <a:pt x="9" y="23"/>
                </a:cubicBezTo>
                <a:cubicBezTo>
                  <a:pt x="9" y="21"/>
                  <a:pt x="9" y="21"/>
                  <a:pt x="9" y="21"/>
                </a:cubicBezTo>
                <a:cubicBezTo>
                  <a:pt x="7" y="19"/>
                  <a:pt x="7" y="19"/>
                  <a:pt x="7" y="19"/>
                </a:cubicBezTo>
                <a:cubicBezTo>
                  <a:pt x="7" y="18"/>
                  <a:pt x="7" y="18"/>
                  <a:pt x="7" y="18"/>
                </a:cubicBezTo>
                <a:cubicBezTo>
                  <a:pt x="8" y="17"/>
                  <a:pt x="8" y="17"/>
                  <a:pt x="8" y="17"/>
                </a:cubicBezTo>
                <a:cubicBezTo>
                  <a:pt x="8" y="16"/>
                  <a:pt x="8" y="16"/>
                  <a:pt x="8" y="16"/>
                </a:cubicBezTo>
                <a:cubicBezTo>
                  <a:pt x="11" y="14"/>
                  <a:pt x="11" y="14"/>
                  <a:pt x="11" y="14"/>
                </a:cubicBezTo>
                <a:cubicBezTo>
                  <a:pt x="11" y="12"/>
                  <a:pt x="11" y="12"/>
                  <a:pt x="11" y="12"/>
                </a:cubicBezTo>
                <a:cubicBezTo>
                  <a:pt x="10" y="11"/>
                  <a:pt x="10" y="11"/>
                  <a:pt x="10" y="11"/>
                </a:cubicBezTo>
                <a:cubicBezTo>
                  <a:pt x="10" y="10"/>
                  <a:pt x="10" y="10"/>
                  <a:pt x="10" y="10"/>
                </a:cubicBezTo>
                <a:cubicBezTo>
                  <a:pt x="10" y="9"/>
                  <a:pt x="10" y="9"/>
                  <a:pt x="10" y="9"/>
                </a:cubicBezTo>
                <a:cubicBezTo>
                  <a:pt x="9" y="9"/>
                  <a:pt x="9" y="9"/>
                  <a:pt x="9" y="9"/>
                </a:cubicBezTo>
                <a:cubicBezTo>
                  <a:pt x="9" y="8"/>
                  <a:pt x="9" y="8"/>
                  <a:pt x="9" y="8"/>
                </a:cubicBezTo>
                <a:cubicBezTo>
                  <a:pt x="9" y="7"/>
                  <a:pt x="9" y="7"/>
                  <a:pt x="9" y="7"/>
                </a:cubicBezTo>
                <a:cubicBezTo>
                  <a:pt x="10" y="6"/>
                  <a:pt x="10" y="6"/>
                  <a:pt x="10" y="6"/>
                </a:cubicBezTo>
                <a:cubicBezTo>
                  <a:pt x="12" y="6"/>
                  <a:pt x="12" y="6"/>
                  <a:pt x="12" y="6"/>
                </a:cubicBezTo>
                <a:cubicBezTo>
                  <a:pt x="13" y="4"/>
                  <a:pt x="13" y="4"/>
                  <a:pt x="13" y="4"/>
                </a:cubicBezTo>
                <a:cubicBezTo>
                  <a:pt x="12" y="4"/>
                  <a:pt x="12" y="4"/>
                  <a:pt x="12" y="4"/>
                </a:cubicBezTo>
                <a:cubicBezTo>
                  <a:pt x="12" y="4"/>
                  <a:pt x="12" y="4"/>
                  <a:pt x="12" y="4"/>
                </a:cubicBezTo>
                <a:cubicBezTo>
                  <a:pt x="9" y="6"/>
                  <a:pt x="9" y="6"/>
                  <a:pt x="9" y="6"/>
                </a:cubicBezTo>
                <a:cubicBezTo>
                  <a:pt x="7" y="9"/>
                  <a:pt x="7" y="9"/>
                  <a:pt x="7" y="9"/>
                </a:cubicBezTo>
                <a:cubicBezTo>
                  <a:pt x="6" y="9"/>
                  <a:pt x="6" y="9"/>
                  <a:pt x="6" y="9"/>
                </a:cubicBezTo>
                <a:cubicBezTo>
                  <a:pt x="5" y="10"/>
                  <a:pt x="5" y="10"/>
                  <a:pt x="5" y="10"/>
                </a:cubicBezTo>
                <a:cubicBezTo>
                  <a:pt x="4" y="11"/>
                  <a:pt x="4" y="11"/>
                  <a:pt x="4" y="11"/>
                </a:cubicBezTo>
                <a:cubicBezTo>
                  <a:pt x="3" y="12"/>
                  <a:pt x="3" y="12"/>
                  <a:pt x="3" y="12"/>
                </a:cubicBezTo>
                <a:cubicBezTo>
                  <a:pt x="1" y="15"/>
                  <a:pt x="1" y="15"/>
                  <a:pt x="1" y="15"/>
                </a:cubicBezTo>
                <a:cubicBezTo>
                  <a:pt x="1" y="16"/>
                  <a:pt x="1" y="16"/>
                  <a:pt x="1" y="16"/>
                </a:cubicBezTo>
                <a:cubicBezTo>
                  <a:pt x="1" y="17"/>
                  <a:pt x="1" y="17"/>
                  <a:pt x="1" y="17"/>
                </a:cubicBezTo>
                <a:cubicBezTo>
                  <a:pt x="1" y="19"/>
                  <a:pt x="1" y="19"/>
                  <a:pt x="1" y="19"/>
                </a:cubicBezTo>
                <a:cubicBezTo>
                  <a:pt x="0" y="21"/>
                  <a:pt x="0" y="21"/>
                  <a:pt x="0" y="21"/>
                </a:cubicBezTo>
                <a:cubicBezTo>
                  <a:pt x="0" y="22"/>
                  <a:pt x="0" y="22"/>
                  <a:pt x="0" y="22"/>
                </a:cubicBezTo>
                <a:cubicBezTo>
                  <a:pt x="1" y="22"/>
                  <a:pt x="1" y="22"/>
                  <a:pt x="1" y="22"/>
                </a:cubicBezTo>
                <a:cubicBezTo>
                  <a:pt x="2" y="22"/>
                  <a:pt x="2" y="22"/>
                  <a:pt x="2" y="22"/>
                </a:cubicBezTo>
                <a:cubicBezTo>
                  <a:pt x="5" y="26"/>
                  <a:pt x="5" y="26"/>
                  <a:pt x="5" y="26"/>
                </a:cubicBezTo>
                <a:cubicBezTo>
                  <a:pt x="6" y="28"/>
                  <a:pt x="6" y="28"/>
                  <a:pt x="6" y="28"/>
                </a:cubicBezTo>
                <a:cubicBezTo>
                  <a:pt x="6" y="29"/>
                  <a:pt x="6" y="29"/>
                  <a:pt x="6" y="29"/>
                </a:cubicBezTo>
                <a:cubicBezTo>
                  <a:pt x="5" y="31"/>
                  <a:pt x="5" y="31"/>
                  <a:pt x="5" y="31"/>
                </a:cubicBezTo>
                <a:cubicBezTo>
                  <a:pt x="5" y="31"/>
                  <a:pt x="5" y="31"/>
                  <a:pt x="5" y="31"/>
                </a:cubicBezTo>
                <a:cubicBezTo>
                  <a:pt x="5" y="32"/>
                  <a:pt x="5" y="32"/>
                  <a:pt x="5" y="32"/>
                </a:cubicBezTo>
                <a:cubicBezTo>
                  <a:pt x="5" y="33"/>
                  <a:pt x="5" y="33"/>
                  <a:pt x="5" y="33"/>
                </a:cubicBezTo>
                <a:cubicBezTo>
                  <a:pt x="7" y="34"/>
                  <a:pt x="7" y="34"/>
                  <a:pt x="7" y="34"/>
                </a:cubicBezTo>
                <a:cubicBezTo>
                  <a:pt x="8" y="35"/>
                  <a:pt x="8" y="35"/>
                  <a:pt x="8" y="35"/>
                </a:cubicBezTo>
                <a:cubicBezTo>
                  <a:pt x="9" y="35"/>
                  <a:pt x="9" y="35"/>
                  <a:pt x="9" y="35"/>
                </a:cubicBezTo>
                <a:cubicBezTo>
                  <a:pt x="11" y="36"/>
                  <a:pt x="11" y="36"/>
                  <a:pt x="11" y="36"/>
                </a:cubicBezTo>
                <a:cubicBezTo>
                  <a:pt x="12" y="35"/>
                  <a:pt x="12" y="35"/>
                  <a:pt x="12" y="35"/>
                </a:cubicBezTo>
                <a:cubicBezTo>
                  <a:pt x="13" y="35"/>
                  <a:pt x="13" y="35"/>
                  <a:pt x="13" y="35"/>
                </a:cubicBezTo>
                <a:cubicBezTo>
                  <a:pt x="15" y="36"/>
                  <a:pt x="15" y="36"/>
                  <a:pt x="15" y="36"/>
                </a:cubicBezTo>
                <a:cubicBezTo>
                  <a:pt x="15" y="35"/>
                  <a:pt x="15" y="35"/>
                  <a:pt x="15" y="35"/>
                </a:cubicBezTo>
                <a:cubicBezTo>
                  <a:pt x="17" y="35"/>
                  <a:pt x="17" y="35"/>
                  <a:pt x="17" y="35"/>
                </a:cubicBezTo>
                <a:cubicBezTo>
                  <a:pt x="19" y="35"/>
                  <a:pt x="19" y="35"/>
                  <a:pt x="19" y="35"/>
                </a:cubicBezTo>
                <a:cubicBezTo>
                  <a:pt x="20" y="36"/>
                  <a:pt x="20" y="36"/>
                  <a:pt x="20" y="36"/>
                </a:cubicBezTo>
                <a:cubicBezTo>
                  <a:pt x="25" y="41"/>
                  <a:pt x="25" y="41"/>
                  <a:pt x="25" y="41"/>
                </a:cubicBezTo>
                <a:cubicBezTo>
                  <a:pt x="27" y="40"/>
                  <a:pt x="27" y="40"/>
                  <a:pt x="27" y="40"/>
                </a:cubicBezTo>
                <a:cubicBezTo>
                  <a:pt x="27" y="41"/>
                  <a:pt x="27" y="41"/>
                  <a:pt x="27" y="41"/>
                </a:cubicBezTo>
                <a:cubicBezTo>
                  <a:pt x="28" y="40"/>
                  <a:pt x="28" y="40"/>
                  <a:pt x="28" y="40"/>
                </a:cubicBezTo>
                <a:cubicBezTo>
                  <a:pt x="29" y="41"/>
                  <a:pt x="29" y="41"/>
                  <a:pt x="29" y="41"/>
                </a:cubicBezTo>
                <a:cubicBezTo>
                  <a:pt x="30" y="41"/>
                  <a:pt x="30" y="41"/>
                  <a:pt x="30" y="41"/>
                </a:cubicBezTo>
                <a:cubicBezTo>
                  <a:pt x="31" y="41"/>
                  <a:pt x="31" y="41"/>
                  <a:pt x="31" y="41"/>
                </a:cubicBezTo>
                <a:cubicBezTo>
                  <a:pt x="32" y="41"/>
                  <a:pt x="32" y="41"/>
                  <a:pt x="32" y="41"/>
                </a:cubicBezTo>
                <a:cubicBezTo>
                  <a:pt x="34" y="41"/>
                  <a:pt x="34" y="41"/>
                  <a:pt x="34" y="41"/>
                </a:cubicBezTo>
                <a:cubicBezTo>
                  <a:pt x="34" y="40"/>
                  <a:pt x="34" y="40"/>
                  <a:pt x="34" y="40"/>
                </a:cubicBezTo>
                <a:cubicBezTo>
                  <a:pt x="35" y="40"/>
                  <a:pt x="35" y="40"/>
                  <a:pt x="35" y="40"/>
                </a:cubicBezTo>
                <a:cubicBezTo>
                  <a:pt x="36" y="41"/>
                  <a:pt x="36" y="41"/>
                  <a:pt x="36" y="41"/>
                </a:cubicBezTo>
                <a:cubicBezTo>
                  <a:pt x="37" y="43"/>
                  <a:pt x="37" y="43"/>
                  <a:pt x="37" y="43"/>
                </a:cubicBezTo>
                <a:cubicBezTo>
                  <a:pt x="36" y="44"/>
                  <a:pt x="36" y="44"/>
                  <a:pt x="36" y="44"/>
                </a:cubicBezTo>
                <a:cubicBezTo>
                  <a:pt x="36" y="45"/>
                  <a:pt x="36" y="45"/>
                  <a:pt x="36" y="45"/>
                </a:cubicBezTo>
                <a:cubicBezTo>
                  <a:pt x="36" y="46"/>
                  <a:pt x="36" y="46"/>
                  <a:pt x="36" y="46"/>
                </a:cubicBezTo>
                <a:cubicBezTo>
                  <a:pt x="34" y="47"/>
                  <a:pt x="34" y="47"/>
                  <a:pt x="34" y="47"/>
                </a:cubicBezTo>
                <a:cubicBezTo>
                  <a:pt x="34" y="48"/>
                  <a:pt x="34" y="48"/>
                  <a:pt x="34" y="48"/>
                </a:cubicBezTo>
                <a:cubicBezTo>
                  <a:pt x="34" y="50"/>
                  <a:pt x="34" y="50"/>
                  <a:pt x="34" y="50"/>
                </a:cubicBezTo>
                <a:cubicBezTo>
                  <a:pt x="34" y="51"/>
                  <a:pt x="34" y="51"/>
                  <a:pt x="34" y="51"/>
                </a:cubicBezTo>
                <a:cubicBezTo>
                  <a:pt x="34" y="52"/>
                  <a:pt x="34" y="52"/>
                  <a:pt x="34" y="52"/>
                </a:cubicBezTo>
                <a:cubicBezTo>
                  <a:pt x="34" y="54"/>
                  <a:pt x="34" y="54"/>
                  <a:pt x="34" y="54"/>
                </a:cubicBezTo>
                <a:cubicBezTo>
                  <a:pt x="34" y="55"/>
                  <a:pt x="34" y="55"/>
                  <a:pt x="34" y="55"/>
                </a:cubicBezTo>
                <a:cubicBezTo>
                  <a:pt x="34" y="56"/>
                  <a:pt x="34" y="56"/>
                  <a:pt x="34" y="56"/>
                </a:cubicBezTo>
                <a:cubicBezTo>
                  <a:pt x="36" y="59"/>
                  <a:pt x="36" y="59"/>
                  <a:pt x="36" y="59"/>
                </a:cubicBezTo>
                <a:cubicBezTo>
                  <a:pt x="34" y="63"/>
                  <a:pt x="34" y="63"/>
                  <a:pt x="34" y="63"/>
                </a:cubicBezTo>
                <a:cubicBezTo>
                  <a:pt x="34" y="64"/>
                  <a:pt x="34" y="64"/>
                  <a:pt x="34" y="64"/>
                </a:cubicBezTo>
                <a:cubicBezTo>
                  <a:pt x="35" y="64"/>
                  <a:pt x="35" y="64"/>
                  <a:pt x="35" y="64"/>
                </a:cubicBezTo>
                <a:cubicBezTo>
                  <a:pt x="35" y="64"/>
                  <a:pt x="35" y="64"/>
                  <a:pt x="35" y="64"/>
                </a:cubicBezTo>
                <a:cubicBezTo>
                  <a:pt x="35" y="64"/>
                  <a:pt x="35" y="64"/>
                  <a:pt x="35" y="64"/>
                </a:cubicBezTo>
                <a:cubicBezTo>
                  <a:pt x="36" y="65"/>
                  <a:pt x="36" y="65"/>
                  <a:pt x="36" y="65"/>
                </a:cubicBezTo>
                <a:cubicBezTo>
                  <a:pt x="36" y="65"/>
                  <a:pt x="36" y="65"/>
                  <a:pt x="36" y="65"/>
                </a:cubicBezTo>
                <a:cubicBezTo>
                  <a:pt x="37" y="67"/>
                  <a:pt x="37" y="67"/>
                  <a:pt x="37" y="67"/>
                </a:cubicBezTo>
                <a:cubicBezTo>
                  <a:pt x="37" y="67"/>
                  <a:pt x="37" y="67"/>
                  <a:pt x="37" y="67"/>
                </a:cubicBezTo>
                <a:cubicBezTo>
                  <a:pt x="37" y="69"/>
                  <a:pt x="37" y="69"/>
                  <a:pt x="37" y="69"/>
                </a:cubicBezTo>
                <a:cubicBezTo>
                  <a:pt x="39" y="72"/>
                  <a:pt x="39" y="72"/>
                  <a:pt x="39" y="72"/>
                </a:cubicBezTo>
                <a:cubicBezTo>
                  <a:pt x="39" y="73"/>
                  <a:pt x="39" y="73"/>
                  <a:pt x="39" y="73"/>
                </a:cubicBezTo>
                <a:cubicBezTo>
                  <a:pt x="39" y="73"/>
                  <a:pt x="39" y="73"/>
                  <a:pt x="39" y="73"/>
                </a:cubicBezTo>
                <a:close/>
                <a:moveTo>
                  <a:pt x="30" y="2"/>
                </a:moveTo>
                <a:cubicBezTo>
                  <a:pt x="32" y="2"/>
                  <a:pt x="32" y="2"/>
                  <a:pt x="32" y="2"/>
                </a:cubicBezTo>
                <a:cubicBezTo>
                  <a:pt x="33" y="3"/>
                  <a:pt x="33" y="3"/>
                  <a:pt x="33" y="3"/>
                </a:cubicBezTo>
                <a:cubicBezTo>
                  <a:pt x="32" y="4"/>
                  <a:pt x="32" y="4"/>
                  <a:pt x="32" y="4"/>
                </a:cubicBezTo>
                <a:cubicBezTo>
                  <a:pt x="32" y="3"/>
                  <a:pt x="32" y="3"/>
                  <a:pt x="32" y="3"/>
                </a:cubicBezTo>
                <a:cubicBezTo>
                  <a:pt x="31" y="3"/>
                  <a:pt x="31" y="3"/>
                  <a:pt x="31" y="3"/>
                </a:cubicBezTo>
                <a:cubicBezTo>
                  <a:pt x="30" y="2"/>
                  <a:pt x="30" y="2"/>
                  <a:pt x="30" y="2"/>
                </a:cubicBezTo>
                <a:close/>
                <a:moveTo>
                  <a:pt x="26" y="1"/>
                </a:moveTo>
                <a:cubicBezTo>
                  <a:pt x="27" y="2"/>
                  <a:pt x="27" y="2"/>
                  <a:pt x="27" y="2"/>
                </a:cubicBezTo>
                <a:cubicBezTo>
                  <a:pt x="28" y="3"/>
                  <a:pt x="28" y="3"/>
                  <a:pt x="28" y="3"/>
                </a:cubicBezTo>
                <a:cubicBezTo>
                  <a:pt x="28" y="3"/>
                  <a:pt x="28" y="3"/>
                  <a:pt x="28" y="3"/>
                </a:cubicBezTo>
                <a:cubicBezTo>
                  <a:pt x="26" y="3"/>
                  <a:pt x="26" y="3"/>
                  <a:pt x="26" y="3"/>
                </a:cubicBezTo>
                <a:cubicBezTo>
                  <a:pt x="26" y="2"/>
                  <a:pt x="26" y="2"/>
                  <a:pt x="26" y="2"/>
                </a:cubicBezTo>
                <a:cubicBezTo>
                  <a:pt x="26" y="1"/>
                  <a:pt x="26" y="1"/>
                  <a:pt x="26" y="1"/>
                </a:cubicBezTo>
                <a:close/>
                <a:moveTo>
                  <a:pt x="20" y="0"/>
                </a:moveTo>
                <a:cubicBezTo>
                  <a:pt x="21" y="1"/>
                  <a:pt x="21" y="1"/>
                  <a:pt x="21" y="1"/>
                </a:cubicBezTo>
                <a:cubicBezTo>
                  <a:pt x="22" y="1"/>
                  <a:pt x="22" y="1"/>
                  <a:pt x="22" y="1"/>
                </a:cubicBezTo>
                <a:cubicBezTo>
                  <a:pt x="21" y="0"/>
                  <a:pt x="21" y="0"/>
                  <a:pt x="21" y="0"/>
                </a:cubicBezTo>
                <a:cubicBezTo>
                  <a:pt x="20" y="0"/>
                  <a:pt x="20" y="0"/>
                  <a:pt x="20" y="0"/>
                </a:cubicBezTo>
                <a:close/>
                <a:moveTo>
                  <a:pt x="56" y="10"/>
                </a:moveTo>
                <a:cubicBezTo>
                  <a:pt x="57" y="9"/>
                  <a:pt x="57" y="9"/>
                  <a:pt x="57" y="9"/>
                </a:cubicBezTo>
                <a:cubicBezTo>
                  <a:pt x="57" y="10"/>
                  <a:pt x="57" y="10"/>
                  <a:pt x="57" y="10"/>
                </a:cubicBezTo>
                <a:cubicBezTo>
                  <a:pt x="59" y="9"/>
                  <a:pt x="59" y="9"/>
                  <a:pt x="59" y="9"/>
                </a:cubicBezTo>
                <a:cubicBezTo>
                  <a:pt x="60" y="10"/>
                  <a:pt x="60" y="10"/>
                  <a:pt x="60" y="10"/>
                </a:cubicBezTo>
                <a:cubicBezTo>
                  <a:pt x="59" y="11"/>
                  <a:pt x="59" y="11"/>
                  <a:pt x="59" y="11"/>
                </a:cubicBezTo>
                <a:cubicBezTo>
                  <a:pt x="58" y="11"/>
                  <a:pt x="58" y="11"/>
                  <a:pt x="58" y="11"/>
                </a:cubicBezTo>
                <a:cubicBezTo>
                  <a:pt x="56" y="11"/>
                  <a:pt x="56" y="11"/>
                  <a:pt x="56" y="11"/>
                </a:cubicBezTo>
                <a:cubicBezTo>
                  <a:pt x="56" y="11"/>
                  <a:pt x="56" y="10"/>
                  <a:pt x="56" y="10"/>
                </a:cubicBez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3" name="Freeform 191">
            <a:extLst>
              <a:ext uri="{FF2B5EF4-FFF2-40B4-BE49-F238E27FC236}">
                <a16:creationId xmlns:a16="http://schemas.microsoft.com/office/drawing/2014/main" id="{CD2A600B-203D-EB08-82F8-EFDF5CF99B56}"/>
              </a:ext>
            </a:extLst>
          </p:cNvPr>
          <p:cNvSpPr>
            <a:spLocks/>
          </p:cNvSpPr>
          <p:nvPr userDrawn="1"/>
        </p:nvSpPr>
        <p:spPr bwMode="auto">
          <a:xfrm>
            <a:off x="8286214" y="8590837"/>
            <a:ext cx="755601" cy="1063626"/>
          </a:xfrm>
          <a:custGeom>
            <a:avLst/>
            <a:gdLst>
              <a:gd name="T0" fmla="*/ 194 w 238"/>
              <a:gd name="T1" fmla="*/ 276 h 335"/>
              <a:gd name="T2" fmla="*/ 191 w 238"/>
              <a:gd name="T3" fmla="*/ 241 h 335"/>
              <a:gd name="T4" fmla="*/ 191 w 238"/>
              <a:gd name="T5" fmla="*/ 229 h 335"/>
              <a:gd name="T6" fmla="*/ 210 w 238"/>
              <a:gd name="T7" fmla="*/ 213 h 335"/>
              <a:gd name="T8" fmla="*/ 225 w 238"/>
              <a:gd name="T9" fmla="*/ 210 h 335"/>
              <a:gd name="T10" fmla="*/ 238 w 238"/>
              <a:gd name="T11" fmla="*/ 226 h 335"/>
              <a:gd name="T12" fmla="*/ 228 w 238"/>
              <a:gd name="T13" fmla="*/ 201 h 335"/>
              <a:gd name="T14" fmla="*/ 222 w 238"/>
              <a:gd name="T15" fmla="*/ 197 h 335"/>
              <a:gd name="T16" fmla="*/ 222 w 238"/>
              <a:gd name="T17" fmla="*/ 166 h 335"/>
              <a:gd name="T18" fmla="*/ 222 w 238"/>
              <a:gd name="T19" fmla="*/ 144 h 335"/>
              <a:gd name="T20" fmla="*/ 228 w 238"/>
              <a:gd name="T21" fmla="*/ 125 h 335"/>
              <a:gd name="T22" fmla="*/ 213 w 238"/>
              <a:gd name="T23" fmla="*/ 125 h 335"/>
              <a:gd name="T24" fmla="*/ 200 w 238"/>
              <a:gd name="T25" fmla="*/ 122 h 335"/>
              <a:gd name="T26" fmla="*/ 163 w 238"/>
              <a:gd name="T27" fmla="*/ 107 h 335"/>
              <a:gd name="T28" fmla="*/ 144 w 238"/>
              <a:gd name="T29" fmla="*/ 107 h 335"/>
              <a:gd name="T30" fmla="*/ 131 w 238"/>
              <a:gd name="T31" fmla="*/ 94 h 335"/>
              <a:gd name="T32" fmla="*/ 122 w 238"/>
              <a:gd name="T33" fmla="*/ 66 h 335"/>
              <a:gd name="T34" fmla="*/ 119 w 238"/>
              <a:gd name="T35" fmla="*/ 50 h 335"/>
              <a:gd name="T36" fmla="*/ 131 w 238"/>
              <a:gd name="T37" fmla="*/ 28 h 335"/>
              <a:gd name="T38" fmla="*/ 153 w 238"/>
              <a:gd name="T39" fmla="*/ 10 h 335"/>
              <a:gd name="T40" fmla="*/ 160 w 238"/>
              <a:gd name="T41" fmla="*/ 3 h 335"/>
              <a:gd name="T42" fmla="*/ 144 w 238"/>
              <a:gd name="T43" fmla="*/ 3 h 335"/>
              <a:gd name="T44" fmla="*/ 138 w 238"/>
              <a:gd name="T45" fmla="*/ 10 h 335"/>
              <a:gd name="T46" fmla="*/ 113 w 238"/>
              <a:gd name="T47" fmla="*/ 22 h 335"/>
              <a:gd name="T48" fmla="*/ 100 w 238"/>
              <a:gd name="T49" fmla="*/ 28 h 335"/>
              <a:gd name="T50" fmla="*/ 94 w 238"/>
              <a:gd name="T51" fmla="*/ 28 h 335"/>
              <a:gd name="T52" fmla="*/ 78 w 238"/>
              <a:gd name="T53" fmla="*/ 32 h 335"/>
              <a:gd name="T54" fmla="*/ 69 w 238"/>
              <a:gd name="T55" fmla="*/ 50 h 335"/>
              <a:gd name="T56" fmla="*/ 63 w 238"/>
              <a:gd name="T57" fmla="*/ 60 h 335"/>
              <a:gd name="T58" fmla="*/ 47 w 238"/>
              <a:gd name="T59" fmla="*/ 75 h 335"/>
              <a:gd name="T60" fmla="*/ 47 w 238"/>
              <a:gd name="T61" fmla="*/ 91 h 335"/>
              <a:gd name="T62" fmla="*/ 38 w 238"/>
              <a:gd name="T63" fmla="*/ 82 h 335"/>
              <a:gd name="T64" fmla="*/ 35 w 238"/>
              <a:gd name="T65" fmla="*/ 85 h 335"/>
              <a:gd name="T66" fmla="*/ 25 w 238"/>
              <a:gd name="T67" fmla="*/ 104 h 335"/>
              <a:gd name="T68" fmla="*/ 31 w 238"/>
              <a:gd name="T69" fmla="*/ 119 h 335"/>
              <a:gd name="T70" fmla="*/ 31 w 238"/>
              <a:gd name="T71" fmla="*/ 129 h 335"/>
              <a:gd name="T72" fmla="*/ 31 w 238"/>
              <a:gd name="T73" fmla="*/ 141 h 335"/>
              <a:gd name="T74" fmla="*/ 31 w 238"/>
              <a:gd name="T75" fmla="*/ 166 h 335"/>
              <a:gd name="T76" fmla="*/ 41 w 238"/>
              <a:gd name="T77" fmla="*/ 172 h 335"/>
              <a:gd name="T78" fmla="*/ 28 w 238"/>
              <a:gd name="T79" fmla="*/ 194 h 335"/>
              <a:gd name="T80" fmla="*/ 3 w 238"/>
              <a:gd name="T81" fmla="*/ 219 h 335"/>
              <a:gd name="T82" fmla="*/ 25 w 238"/>
              <a:gd name="T83" fmla="*/ 235 h 335"/>
              <a:gd name="T84" fmla="*/ 44 w 238"/>
              <a:gd name="T85" fmla="*/ 251 h 335"/>
              <a:gd name="T86" fmla="*/ 56 w 238"/>
              <a:gd name="T87" fmla="*/ 244 h 335"/>
              <a:gd name="T88" fmla="*/ 72 w 238"/>
              <a:gd name="T89" fmla="*/ 251 h 335"/>
              <a:gd name="T90" fmla="*/ 88 w 238"/>
              <a:gd name="T91" fmla="*/ 257 h 335"/>
              <a:gd name="T92" fmla="*/ 97 w 238"/>
              <a:gd name="T93" fmla="*/ 276 h 335"/>
              <a:gd name="T94" fmla="*/ 116 w 238"/>
              <a:gd name="T95" fmla="*/ 291 h 335"/>
              <a:gd name="T96" fmla="*/ 125 w 238"/>
              <a:gd name="T97" fmla="*/ 301 h 335"/>
              <a:gd name="T98" fmla="*/ 147 w 238"/>
              <a:gd name="T99" fmla="*/ 297 h 335"/>
              <a:gd name="T100" fmla="*/ 166 w 238"/>
              <a:gd name="T101" fmla="*/ 297 h 335"/>
              <a:gd name="T102" fmla="*/ 163 w 238"/>
              <a:gd name="T103" fmla="*/ 326 h 335"/>
              <a:gd name="T104" fmla="*/ 178 w 238"/>
              <a:gd name="T105" fmla="*/ 335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8" h="335">
                <a:moveTo>
                  <a:pt x="178" y="335"/>
                </a:moveTo>
                <a:lnTo>
                  <a:pt x="181" y="326"/>
                </a:lnTo>
                <a:lnTo>
                  <a:pt x="191" y="285"/>
                </a:lnTo>
                <a:lnTo>
                  <a:pt x="191" y="282"/>
                </a:lnTo>
                <a:lnTo>
                  <a:pt x="194" y="276"/>
                </a:lnTo>
                <a:lnTo>
                  <a:pt x="188" y="266"/>
                </a:lnTo>
                <a:lnTo>
                  <a:pt x="181" y="260"/>
                </a:lnTo>
                <a:lnTo>
                  <a:pt x="178" y="257"/>
                </a:lnTo>
                <a:lnTo>
                  <a:pt x="175" y="244"/>
                </a:lnTo>
                <a:lnTo>
                  <a:pt x="191" y="241"/>
                </a:lnTo>
                <a:lnTo>
                  <a:pt x="194" y="244"/>
                </a:lnTo>
                <a:lnTo>
                  <a:pt x="194" y="241"/>
                </a:lnTo>
                <a:lnTo>
                  <a:pt x="194" y="238"/>
                </a:lnTo>
                <a:lnTo>
                  <a:pt x="194" y="235"/>
                </a:lnTo>
                <a:lnTo>
                  <a:pt x="191" y="229"/>
                </a:lnTo>
                <a:lnTo>
                  <a:pt x="185" y="229"/>
                </a:lnTo>
                <a:lnTo>
                  <a:pt x="181" y="222"/>
                </a:lnTo>
                <a:lnTo>
                  <a:pt x="185" y="216"/>
                </a:lnTo>
                <a:lnTo>
                  <a:pt x="206" y="216"/>
                </a:lnTo>
                <a:lnTo>
                  <a:pt x="210" y="213"/>
                </a:lnTo>
                <a:lnTo>
                  <a:pt x="213" y="213"/>
                </a:lnTo>
                <a:lnTo>
                  <a:pt x="216" y="216"/>
                </a:lnTo>
                <a:lnTo>
                  <a:pt x="216" y="216"/>
                </a:lnTo>
                <a:lnTo>
                  <a:pt x="222" y="213"/>
                </a:lnTo>
                <a:lnTo>
                  <a:pt x="225" y="210"/>
                </a:lnTo>
                <a:lnTo>
                  <a:pt x="228" y="213"/>
                </a:lnTo>
                <a:lnTo>
                  <a:pt x="231" y="216"/>
                </a:lnTo>
                <a:lnTo>
                  <a:pt x="231" y="222"/>
                </a:lnTo>
                <a:lnTo>
                  <a:pt x="231" y="226"/>
                </a:lnTo>
                <a:lnTo>
                  <a:pt x="238" y="226"/>
                </a:lnTo>
                <a:lnTo>
                  <a:pt x="238" y="222"/>
                </a:lnTo>
                <a:lnTo>
                  <a:pt x="231" y="213"/>
                </a:lnTo>
                <a:lnTo>
                  <a:pt x="231" y="207"/>
                </a:lnTo>
                <a:lnTo>
                  <a:pt x="231" y="207"/>
                </a:lnTo>
                <a:lnTo>
                  <a:pt x="228" y="201"/>
                </a:lnTo>
                <a:lnTo>
                  <a:pt x="228" y="201"/>
                </a:lnTo>
                <a:lnTo>
                  <a:pt x="225" y="197"/>
                </a:lnTo>
                <a:lnTo>
                  <a:pt x="225" y="197"/>
                </a:lnTo>
                <a:lnTo>
                  <a:pt x="225" y="197"/>
                </a:lnTo>
                <a:lnTo>
                  <a:pt x="222" y="197"/>
                </a:lnTo>
                <a:lnTo>
                  <a:pt x="222" y="194"/>
                </a:lnTo>
                <a:lnTo>
                  <a:pt x="228" y="182"/>
                </a:lnTo>
                <a:lnTo>
                  <a:pt x="222" y="172"/>
                </a:lnTo>
                <a:lnTo>
                  <a:pt x="222" y="169"/>
                </a:lnTo>
                <a:lnTo>
                  <a:pt x="222" y="166"/>
                </a:lnTo>
                <a:lnTo>
                  <a:pt x="222" y="160"/>
                </a:lnTo>
                <a:lnTo>
                  <a:pt x="222" y="157"/>
                </a:lnTo>
                <a:lnTo>
                  <a:pt x="222" y="154"/>
                </a:lnTo>
                <a:lnTo>
                  <a:pt x="222" y="147"/>
                </a:lnTo>
                <a:lnTo>
                  <a:pt x="222" y="144"/>
                </a:lnTo>
                <a:lnTo>
                  <a:pt x="228" y="141"/>
                </a:lnTo>
                <a:lnTo>
                  <a:pt x="228" y="138"/>
                </a:lnTo>
                <a:lnTo>
                  <a:pt x="228" y="135"/>
                </a:lnTo>
                <a:lnTo>
                  <a:pt x="231" y="132"/>
                </a:lnTo>
                <a:lnTo>
                  <a:pt x="228" y="125"/>
                </a:lnTo>
                <a:lnTo>
                  <a:pt x="225" y="122"/>
                </a:lnTo>
                <a:lnTo>
                  <a:pt x="222" y="122"/>
                </a:lnTo>
                <a:lnTo>
                  <a:pt x="222" y="125"/>
                </a:lnTo>
                <a:lnTo>
                  <a:pt x="216" y="125"/>
                </a:lnTo>
                <a:lnTo>
                  <a:pt x="213" y="125"/>
                </a:lnTo>
                <a:lnTo>
                  <a:pt x="210" y="125"/>
                </a:lnTo>
                <a:lnTo>
                  <a:pt x="206" y="125"/>
                </a:lnTo>
                <a:lnTo>
                  <a:pt x="203" y="122"/>
                </a:lnTo>
                <a:lnTo>
                  <a:pt x="200" y="125"/>
                </a:lnTo>
                <a:lnTo>
                  <a:pt x="200" y="122"/>
                </a:lnTo>
                <a:lnTo>
                  <a:pt x="194" y="125"/>
                </a:lnTo>
                <a:lnTo>
                  <a:pt x="178" y="110"/>
                </a:lnTo>
                <a:lnTo>
                  <a:pt x="175" y="107"/>
                </a:lnTo>
                <a:lnTo>
                  <a:pt x="169" y="107"/>
                </a:lnTo>
                <a:lnTo>
                  <a:pt x="163" y="107"/>
                </a:lnTo>
                <a:lnTo>
                  <a:pt x="163" y="110"/>
                </a:lnTo>
                <a:lnTo>
                  <a:pt x="156" y="107"/>
                </a:lnTo>
                <a:lnTo>
                  <a:pt x="153" y="107"/>
                </a:lnTo>
                <a:lnTo>
                  <a:pt x="150" y="110"/>
                </a:lnTo>
                <a:lnTo>
                  <a:pt x="144" y="107"/>
                </a:lnTo>
                <a:lnTo>
                  <a:pt x="141" y="107"/>
                </a:lnTo>
                <a:lnTo>
                  <a:pt x="138" y="104"/>
                </a:lnTo>
                <a:lnTo>
                  <a:pt x="131" y="100"/>
                </a:lnTo>
                <a:lnTo>
                  <a:pt x="131" y="97"/>
                </a:lnTo>
                <a:lnTo>
                  <a:pt x="131" y="94"/>
                </a:lnTo>
                <a:lnTo>
                  <a:pt x="131" y="94"/>
                </a:lnTo>
                <a:lnTo>
                  <a:pt x="135" y="88"/>
                </a:lnTo>
                <a:lnTo>
                  <a:pt x="135" y="85"/>
                </a:lnTo>
                <a:lnTo>
                  <a:pt x="131" y="79"/>
                </a:lnTo>
                <a:lnTo>
                  <a:pt x="122" y="66"/>
                </a:lnTo>
                <a:lnTo>
                  <a:pt x="119" y="66"/>
                </a:lnTo>
                <a:lnTo>
                  <a:pt x="116" y="66"/>
                </a:lnTo>
                <a:lnTo>
                  <a:pt x="116" y="63"/>
                </a:lnTo>
                <a:lnTo>
                  <a:pt x="119" y="57"/>
                </a:lnTo>
                <a:lnTo>
                  <a:pt x="119" y="50"/>
                </a:lnTo>
                <a:lnTo>
                  <a:pt x="119" y="47"/>
                </a:lnTo>
                <a:lnTo>
                  <a:pt x="119" y="44"/>
                </a:lnTo>
                <a:lnTo>
                  <a:pt x="125" y="35"/>
                </a:lnTo>
                <a:lnTo>
                  <a:pt x="128" y="32"/>
                </a:lnTo>
                <a:lnTo>
                  <a:pt x="131" y="28"/>
                </a:lnTo>
                <a:lnTo>
                  <a:pt x="135" y="25"/>
                </a:lnTo>
                <a:lnTo>
                  <a:pt x="138" y="25"/>
                </a:lnTo>
                <a:lnTo>
                  <a:pt x="144" y="16"/>
                </a:lnTo>
                <a:lnTo>
                  <a:pt x="153" y="10"/>
                </a:lnTo>
                <a:lnTo>
                  <a:pt x="153" y="10"/>
                </a:lnTo>
                <a:lnTo>
                  <a:pt x="156" y="10"/>
                </a:lnTo>
                <a:lnTo>
                  <a:pt x="156" y="10"/>
                </a:lnTo>
                <a:lnTo>
                  <a:pt x="160" y="10"/>
                </a:lnTo>
                <a:lnTo>
                  <a:pt x="160" y="7"/>
                </a:lnTo>
                <a:lnTo>
                  <a:pt x="160" y="3"/>
                </a:lnTo>
                <a:lnTo>
                  <a:pt x="150" y="0"/>
                </a:lnTo>
                <a:lnTo>
                  <a:pt x="147" y="0"/>
                </a:lnTo>
                <a:lnTo>
                  <a:pt x="147" y="0"/>
                </a:lnTo>
                <a:lnTo>
                  <a:pt x="147" y="3"/>
                </a:lnTo>
                <a:lnTo>
                  <a:pt x="144" y="3"/>
                </a:lnTo>
                <a:lnTo>
                  <a:pt x="144" y="3"/>
                </a:lnTo>
                <a:lnTo>
                  <a:pt x="141" y="3"/>
                </a:lnTo>
                <a:lnTo>
                  <a:pt x="138" y="3"/>
                </a:lnTo>
                <a:lnTo>
                  <a:pt x="135" y="7"/>
                </a:lnTo>
                <a:lnTo>
                  <a:pt x="138" y="10"/>
                </a:lnTo>
                <a:lnTo>
                  <a:pt x="135" y="10"/>
                </a:lnTo>
                <a:lnTo>
                  <a:pt x="131" y="13"/>
                </a:lnTo>
                <a:lnTo>
                  <a:pt x="122" y="16"/>
                </a:lnTo>
                <a:lnTo>
                  <a:pt x="119" y="19"/>
                </a:lnTo>
                <a:lnTo>
                  <a:pt x="113" y="22"/>
                </a:lnTo>
                <a:lnTo>
                  <a:pt x="106" y="22"/>
                </a:lnTo>
                <a:lnTo>
                  <a:pt x="100" y="22"/>
                </a:lnTo>
                <a:lnTo>
                  <a:pt x="97" y="22"/>
                </a:lnTo>
                <a:lnTo>
                  <a:pt x="97" y="25"/>
                </a:lnTo>
                <a:lnTo>
                  <a:pt x="100" y="28"/>
                </a:lnTo>
                <a:lnTo>
                  <a:pt x="100" y="32"/>
                </a:lnTo>
                <a:lnTo>
                  <a:pt x="97" y="35"/>
                </a:lnTo>
                <a:lnTo>
                  <a:pt x="94" y="35"/>
                </a:lnTo>
                <a:lnTo>
                  <a:pt x="94" y="32"/>
                </a:lnTo>
                <a:lnTo>
                  <a:pt x="94" y="28"/>
                </a:lnTo>
                <a:lnTo>
                  <a:pt x="97" y="28"/>
                </a:lnTo>
                <a:lnTo>
                  <a:pt x="94" y="28"/>
                </a:lnTo>
                <a:lnTo>
                  <a:pt x="88" y="25"/>
                </a:lnTo>
                <a:lnTo>
                  <a:pt x="85" y="25"/>
                </a:lnTo>
                <a:lnTo>
                  <a:pt x="78" y="32"/>
                </a:lnTo>
                <a:lnTo>
                  <a:pt x="78" y="32"/>
                </a:lnTo>
                <a:lnTo>
                  <a:pt x="72" y="38"/>
                </a:lnTo>
                <a:lnTo>
                  <a:pt x="69" y="47"/>
                </a:lnTo>
                <a:lnTo>
                  <a:pt x="66" y="50"/>
                </a:lnTo>
                <a:lnTo>
                  <a:pt x="69" y="50"/>
                </a:lnTo>
                <a:lnTo>
                  <a:pt x="69" y="50"/>
                </a:lnTo>
                <a:lnTo>
                  <a:pt x="69" y="53"/>
                </a:lnTo>
                <a:lnTo>
                  <a:pt x="69" y="60"/>
                </a:lnTo>
                <a:lnTo>
                  <a:pt x="66" y="60"/>
                </a:lnTo>
                <a:lnTo>
                  <a:pt x="63" y="60"/>
                </a:lnTo>
                <a:lnTo>
                  <a:pt x="60" y="63"/>
                </a:lnTo>
                <a:lnTo>
                  <a:pt x="56" y="66"/>
                </a:lnTo>
                <a:lnTo>
                  <a:pt x="53" y="69"/>
                </a:lnTo>
                <a:lnTo>
                  <a:pt x="50" y="72"/>
                </a:lnTo>
                <a:lnTo>
                  <a:pt x="47" y="75"/>
                </a:lnTo>
                <a:lnTo>
                  <a:pt x="44" y="75"/>
                </a:lnTo>
                <a:lnTo>
                  <a:pt x="44" y="79"/>
                </a:lnTo>
                <a:lnTo>
                  <a:pt x="47" y="82"/>
                </a:lnTo>
                <a:lnTo>
                  <a:pt x="47" y="85"/>
                </a:lnTo>
                <a:lnTo>
                  <a:pt x="47" y="91"/>
                </a:lnTo>
                <a:lnTo>
                  <a:pt x="44" y="91"/>
                </a:lnTo>
                <a:lnTo>
                  <a:pt x="41" y="88"/>
                </a:lnTo>
                <a:lnTo>
                  <a:pt x="41" y="85"/>
                </a:lnTo>
                <a:lnTo>
                  <a:pt x="41" y="85"/>
                </a:lnTo>
                <a:lnTo>
                  <a:pt x="38" y="82"/>
                </a:lnTo>
                <a:lnTo>
                  <a:pt x="38" y="79"/>
                </a:lnTo>
                <a:lnTo>
                  <a:pt x="35" y="75"/>
                </a:lnTo>
                <a:lnTo>
                  <a:pt x="31" y="79"/>
                </a:lnTo>
                <a:lnTo>
                  <a:pt x="35" y="82"/>
                </a:lnTo>
                <a:lnTo>
                  <a:pt x="35" y="85"/>
                </a:lnTo>
                <a:lnTo>
                  <a:pt x="31" y="91"/>
                </a:lnTo>
                <a:lnTo>
                  <a:pt x="31" y="94"/>
                </a:lnTo>
                <a:lnTo>
                  <a:pt x="28" y="97"/>
                </a:lnTo>
                <a:lnTo>
                  <a:pt x="25" y="97"/>
                </a:lnTo>
                <a:lnTo>
                  <a:pt x="25" y="104"/>
                </a:lnTo>
                <a:lnTo>
                  <a:pt x="25" y="104"/>
                </a:lnTo>
                <a:lnTo>
                  <a:pt x="25" y="110"/>
                </a:lnTo>
                <a:lnTo>
                  <a:pt x="25" y="113"/>
                </a:lnTo>
                <a:lnTo>
                  <a:pt x="31" y="119"/>
                </a:lnTo>
                <a:lnTo>
                  <a:pt x="31" y="119"/>
                </a:lnTo>
                <a:lnTo>
                  <a:pt x="35" y="116"/>
                </a:lnTo>
                <a:lnTo>
                  <a:pt x="35" y="119"/>
                </a:lnTo>
                <a:lnTo>
                  <a:pt x="35" y="122"/>
                </a:lnTo>
                <a:lnTo>
                  <a:pt x="31" y="125"/>
                </a:lnTo>
                <a:lnTo>
                  <a:pt x="31" y="129"/>
                </a:lnTo>
                <a:lnTo>
                  <a:pt x="35" y="132"/>
                </a:lnTo>
                <a:lnTo>
                  <a:pt x="35" y="135"/>
                </a:lnTo>
                <a:lnTo>
                  <a:pt x="31" y="138"/>
                </a:lnTo>
                <a:lnTo>
                  <a:pt x="31" y="141"/>
                </a:lnTo>
                <a:lnTo>
                  <a:pt x="31" y="141"/>
                </a:lnTo>
                <a:lnTo>
                  <a:pt x="35" y="144"/>
                </a:lnTo>
                <a:lnTo>
                  <a:pt x="35" y="150"/>
                </a:lnTo>
                <a:lnTo>
                  <a:pt x="35" y="160"/>
                </a:lnTo>
                <a:lnTo>
                  <a:pt x="31" y="163"/>
                </a:lnTo>
                <a:lnTo>
                  <a:pt x="31" y="166"/>
                </a:lnTo>
                <a:lnTo>
                  <a:pt x="31" y="169"/>
                </a:lnTo>
                <a:lnTo>
                  <a:pt x="38" y="169"/>
                </a:lnTo>
                <a:lnTo>
                  <a:pt x="35" y="169"/>
                </a:lnTo>
                <a:lnTo>
                  <a:pt x="38" y="172"/>
                </a:lnTo>
                <a:lnTo>
                  <a:pt x="41" y="172"/>
                </a:lnTo>
                <a:lnTo>
                  <a:pt x="41" y="175"/>
                </a:lnTo>
                <a:lnTo>
                  <a:pt x="38" y="179"/>
                </a:lnTo>
                <a:lnTo>
                  <a:pt x="38" y="182"/>
                </a:lnTo>
                <a:lnTo>
                  <a:pt x="28" y="188"/>
                </a:lnTo>
                <a:lnTo>
                  <a:pt x="28" y="194"/>
                </a:lnTo>
                <a:lnTo>
                  <a:pt x="22" y="197"/>
                </a:lnTo>
                <a:lnTo>
                  <a:pt x="13" y="201"/>
                </a:lnTo>
                <a:lnTo>
                  <a:pt x="10" y="204"/>
                </a:lnTo>
                <a:lnTo>
                  <a:pt x="3" y="213"/>
                </a:lnTo>
                <a:lnTo>
                  <a:pt x="3" y="219"/>
                </a:lnTo>
                <a:lnTo>
                  <a:pt x="0" y="222"/>
                </a:lnTo>
                <a:lnTo>
                  <a:pt x="6" y="226"/>
                </a:lnTo>
                <a:lnTo>
                  <a:pt x="13" y="229"/>
                </a:lnTo>
                <a:lnTo>
                  <a:pt x="22" y="235"/>
                </a:lnTo>
                <a:lnTo>
                  <a:pt x="25" y="235"/>
                </a:lnTo>
                <a:lnTo>
                  <a:pt x="31" y="241"/>
                </a:lnTo>
                <a:lnTo>
                  <a:pt x="28" y="244"/>
                </a:lnTo>
                <a:lnTo>
                  <a:pt x="31" y="244"/>
                </a:lnTo>
                <a:lnTo>
                  <a:pt x="38" y="247"/>
                </a:lnTo>
                <a:lnTo>
                  <a:pt x="44" y="251"/>
                </a:lnTo>
                <a:lnTo>
                  <a:pt x="47" y="251"/>
                </a:lnTo>
                <a:lnTo>
                  <a:pt x="53" y="254"/>
                </a:lnTo>
                <a:lnTo>
                  <a:pt x="53" y="251"/>
                </a:lnTo>
                <a:lnTo>
                  <a:pt x="53" y="247"/>
                </a:lnTo>
                <a:lnTo>
                  <a:pt x="56" y="244"/>
                </a:lnTo>
                <a:lnTo>
                  <a:pt x="60" y="244"/>
                </a:lnTo>
                <a:lnTo>
                  <a:pt x="63" y="247"/>
                </a:lnTo>
                <a:lnTo>
                  <a:pt x="66" y="247"/>
                </a:lnTo>
                <a:lnTo>
                  <a:pt x="69" y="251"/>
                </a:lnTo>
                <a:lnTo>
                  <a:pt x="72" y="251"/>
                </a:lnTo>
                <a:lnTo>
                  <a:pt x="72" y="251"/>
                </a:lnTo>
                <a:lnTo>
                  <a:pt x="72" y="251"/>
                </a:lnTo>
                <a:lnTo>
                  <a:pt x="75" y="254"/>
                </a:lnTo>
                <a:lnTo>
                  <a:pt x="81" y="257"/>
                </a:lnTo>
                <a:lnTo>
                  <a:pt x="88" y="257"/>
                </a:lnTo>
                <a:lnTo>
                  <a:pt x="88" y="260"/>
                </a:lnTo>
                <a:lnTo>
                  <a:pt x="91" y="263"/>
                </a:lnTo>
                <a:lnTo>
                  <a:pt x="94" y="269"/>
                </a:lnTo>
                <a:lnTo>
                  <a:pt x="97" y="276"/>
                </a:lnTo>
                <a:lnTo>
                  <a:pt x="97" y="276"/>
                </a:lnTo>
                <a:lnTo>
                  <a:pt x="106" y="279"/>
                </a:lnTo>
                <a:lnTo>
                  <a:pt x="113" y="282"/>
                </a:lnTo>
                <a:lnTo>
                  <a:pt x="113" y="288"/>
                </a:lnTo>
                <a:lnTo>
                  <a:pt x="113" y="288"/>
                </a:lnTo>
                <a:lnTo>
                  <a:pt x="116" y="291"/>
                </a:lnTo>
                <a:lnTo>
                  <a:pt x="119" y="294"/>
                </a:lnTo>
                <a:lnTo>
                  <a:pt x="116" y="297"/>
                </a:lnTo>
                <a:lnTo>
                  <a:pt x="119" y="301"/>
                </a:lnTo>
                <a:lnTo>
                  <a:pt x="122" y="301"/>
                </a:lnTo>
                <a:lnTo>
                  <a:pt x="125" y="301"/>
                </a:lnTo>
                <a:lnTo>
                  <a:pt x="128" y="301"/>
                </a:lnTo>
                <a:lnTo>
                  <a:pt x="135" y="301"/>
                </a:lnTo>
                <a:lnTo>
                  <a:pt x="135" y="301"/>
                </a:lnTo>
                <a:lnTo>
                  <a:pt x="141" y="297"/>
                </a:lnTo>
                <a:lnTo>
                  <a:pt x="147" y="297"/>
                </a:lnTo>
                <a:lnTo>
                  <a:pt x="153" y="301"/>
                </a:lnTo>
                <a:lnTo>
                  <a:pt x="160" y="297"/>
                </a:lnTo>
                <a:lnTo>
                  <a:pt x="163" y="297"/>
                </a:lnTo>
                <a:lnTo>
                  <a:pt x="163" y="297"/>
                </a:lnTo>
                <a:lnTo>
                  <a:pt x="166" y="297"/>
                </a:lnTo>
                <a:lnTo>
                  <a:pt x="172" y="301"/>
                </a:lnTo>
                <a:lnTo>
                  <a:pt x="172" y="304"/>
                </a:lnTo>
                <a:lnTo>
                  <a:pt x="175" y="304"/>
                </a:lnTo>
                <a:lnTo>
                  <a:pt x="175" y="304"/>
                </a:lnTo>
                <a:lnTo>
                  <a:pt x="163" y="326"/>
                </a:lnTo>
                <a:lnTo>
                  <a:pt x="166" y="329"/>
                </a:lnTo>
                <a:lnTo>
                  <a:pt x="169" y="329"/>
                </a:lnTo>
                <a:lnTo>
                  <a:pt x="175" y="329"/>
                </a:lnTo>
                <a:lnTo>
                  <a:pt x="178" y="332"/>
                </a:lnTo>
                <a:lnTo>
                  <a:pt x="178" y="335"/>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4" name="Freeform 192">
            <a:extLst>
              <a:ext uri="{FF2B5EF4-FFF2-40B4-BE49-F238E27FC236}">
                <a16:creationId xmlns:a16="http://schemas.microsoft.com/office/drawing/2014/main" id="{877E7F5E-0181-874D-0ACB-88BC510E4A48}"/>
              </a:ext>
            </a:extLst>
          </p:cNvPr>
          <p:cNvSpPr>
            <a:spLocks noEditPoints="1"/>
          </p:cNvSpPr>
          <p:nvPr userDrawn="1"/>
        </p:nvSpPr>
        <p:spPr bwMode="auto">
          <a:xfrm>
            <a:off x="8159216" y="9295680"/>
            <a:ext cx="365102" cy="409576"/>
          </a:xfrm>
          <a:custGeom>
            <a:avLst/>
            <a:gdLst>
              <a:gd name="T0" fmla="*/ 112 w 115"/>
              <a:gd name="T1" fmla="*/ 29 h 129"/>
              <a:gd name="T2" fmla="*/ 106 w 115"/>
              <a:gd name="T3" fmla="*/ 25 h 129"/>
              <a:gd name="T4" fmla="*/ 100 w 115"/>
              <a:gd name="T5" fmla="*/ 22 h 129"/>
              <a:gd name="T6" fmla="*/ 93 w 115"/>
              <a:gd name="T7" fmla="*/ 25 h 129"/>
              <a:gd name="T8" fmla="*/ 93 w 115"/>
              <a:gd name="T9" fmla="*/ 32 h 129"/>
              <a:gd name="T10" fmla="*/ 84 w 115"/>
              <a:gd name="T11" fmla="*/ 29 h 129"/>
              <a:gd name="T12" fmla="*/ 71 w 115"/>
              <a:gd name="T13" fmla="*/ 22 h 129"/>
              <a:gd name="T14" fmla="*/ 71 w 115"/>
              <a:gd name="T15" fmla="*/ 19 h 129"/>
              <a:gd name="T16" fmla="*/ 62 w 115"/>
              <a:gd name="T17" fmla="*/ 13 h 129"/>
              <a:gd name="T18" fmla="*/ 46 w 115"/>
              <a:gd name="T19" fmla="*/ 4 h 129"/>
              <a:gd name="T20" fmla="*/ 40 w 115"/>
              <a:gd name="T21" fmla="*/ 7 h 129"/>
              <a:gd name="T22" fmla="*/ 25 w 115"/>
              <a:gd name="T23" fmla="*/ 13 h 129"/>
              <a:gd name="T24" fmla="*/ 15 w 115"/>
              <a:gd name="T25" fmla="*/ 16 h 129"/>
              <a:gd name="T26" fmla="*/ 18 w 115"/>
              <a:gd name="T27" fmla="*/ 22 h 129"/>
              <a:gd name="T28" fmla="*/ 18 w 115"/>
              <a:gd name="T29" fmla="*/ 32 h 129"/>
              <a:gd name="T30" fmla="*/ 12 w 115"/>
              <a:gd name="T31" fmla="*/ 41 h 129"/>
              <a:gd name="T32" fmla="*/ 9 w 115"/>
              <a:gd name="T33" fmla="*/ 50 h 129"/>
              <a:gd name="T34" fmla="*/ 3 w 115"/>
              <a:gd name="T35" fmla="*/ 54 h 129"/>
              <a:gd name="T36" fmla="*/ 3 w 115"/>
              <a:gd name="T37" fmla="*/ 63 h 129"/>
              <a:gd name="T38" fmla="*/ 6 w 115"/>
              <a:gd name="T39" fmla="*/ 72 h 129"/>
              <a:gd name="T40" fmla="*/ 0 w 115"/>
              <a:gd name="T41" fmla="*/ 75 h 129"/>
              <a:gd name="T42" fmla="*/ 6 w 115"/>
              <a:gd name="T43" fmla="*/ 82 h 129"/>
              <a:gd name="T44" fmla="*/ 15 w 115"/>
              <a:gd name="T45" fmla="*/ 88 h 129"/>
              <a:gd name="T46" fmla="*/ 18 w 115"/>
              <a:gd name="T47" fmla="*/ 82 h 129"/>
              <a:gd name="T48" fmla="*/ 21 w 115"/>
              <a:gd name="T49" fmla="*/ 75 h 129"/>
              <a:gd name="T50" fmla="*/ 21 w 115"/>
              <a:gd name="T51" fmla="*/ 82 h 129"/>
              <a:gd name="T52" fmla="*/ 21 w 115"/>
              <a:gd name="T53" fmla="*/ 79 h 129"/>
              <a:gd name="T54" fmla="*/ 25 w 115"/>
              <a:gd name="T55" fmla="*/ 82 h 129"/>
              <a:gd name="T56" fmla="*/ 25 w 115"/>
              <a:gd name="T57" fmla="*/ 91 h 129"/>
              <a:gd name="T58" fmla="*/ 18 w 115"/>
              <a:gd name="T59" fmla="*/ 101 h 129"/>
              <a:gd name="T60" fmla="*/ 21 w 115"/>
              <a:gd name="T61" fmla="*/ 107 h 129"/>
              <a:gd name="T62" fmla="*/ 12 w 115"/>
              <a:gd name="T63" fmla="*/ 113 h 129"/>
              <a:gd name="T64" fmla="*/ 18 w 115"/>
              <a:gd name="T65" fmla="*/ 116 h 129"/>
              <a:gd name="T66" fmla="*/ 25 w 115"/>
              <a:gd name="T67" fmla="*/ 119 h 129"/>
              <a:gd name="T68" fmla="*/ 34 w 115"/>
              <a:gd name="T69" fmla="*/ 119 h 129"/>
              <a:gd name="T70" fmla="*/ 43 w 115"/>
              <a:gd name="T71" fmla="*/ 129 h 129"/>
              <a:gd name="T72" fmla="*/ 62 w 115"/>
              <a:gd name="T73" fmla="*/ 94 h 129"/>
              <a:gd name="T74" fmla="*/ 84 w 115"/>
              <a:gd name="T75" fmla="*/ 85 h 129"/>
              <a:gd name="T76" fmla="*/ 106 w 115"/>
              <a:gd name="T77" fmla="*/ 66 h 129"/>
              <a:gd name="T78" fmla="*/ 115 w 115"/>
              <a:gd name="T79" fmla="*/ 54 h 129"/>
              <a:gd name="T80" fmla="*/ 115 w 115"/>
              <a:gd name="T81" fmla="*/ 47 h 129"/>
              <a:gd name="T82" fmla="*/ 112 w 115"/>
              <a:gd name="T83" fmla="*/ 35 h 129"/>
              <a:gd name="T84" fmla="*/ 112 w 115"/>
              <a:gd name="T85" fmla="*/ 29 h 129"/>
              <a:gd name="T86" fmla="*/ 112 w 115"/>
              <a:gd name="T87" fmla="*/ 29 h 129"/>
              <a:gd name="T88" fmla="*/ 15 w 115"/>
              <a:gd name="T89" fmla="*/ 91 h 129"/>
              <a:gd name="T90" fmla="*/ 18 w 115"/>
              <a:gd name="T91" fmla="*/ 85 h 129"/>
              <a:gd name="T92" fmla="*/ 18 w 115"/>
              <a:gd name="T93" fmla="*/ 88 h 129"/>
              <a:gd name="T94" fmla="*/ 18 w 115"/>
              <a:gd name="T95" fmla="*/ 94 h 129"/>
              <a:gd name="T96" fmla="*/ 15 w 115"/>
              <a:gd name="T97" fmla="*/ 9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5" h="129">
                <a:moveTo>
                  <a:pt x="112" y="29"/>
                </a:moveTo>
                <a:lnTo>
                  <a:pt x="112" y="29"/>
                </a:lnTo>
                <a:lnTo>
                  <a:pt x="109" y="29"/>
                </a:lnTo>
                <a:lnTo>
                  <a:pt x="106" y="25"/>
                </a:lnTo>
                <a:lnTo>
                  <a:pt x="103" y="25"/>
                </a:lnTo>
                <a:lnTo>
                  <a:pt x="100" y="22"/>
                </a:lnTo>
                <a:lnTo>
                  <a:pt x="96" y="22"/>
                </a:lnTo>
                <a:lnTo>
                  <a:pt x="93" y="25"/>
                </a:lnTo>
                <a:lnTo>
                  <a:pt x="93" y="29"/>
                </a:lnTo>
                <a:lnTo>
                  <a:pt x="93" y="32"/>
                </a:lnTo>
                <a:lnTo>
                  <a:pt x="87" y="29"/>
                </a:lnTo>
                <a:lnTo>
                  <a:pt x="84" y="29"/>
                </a:lnTo>
                <a:lnTo>
                  <a:pt x="78" y="25"/>
                </a:lnTo>
                <a:lnTo>
                  <a:pt x="71" y="22"/>
                </a:lnTo>
                <a:lnTo>
                  <a:pt x="68" y="22"/>
                </a:lnTo>
                <a:lnTo>
                  <a:pt x="71" y="19"/>
                </a:lnTo>
                <a:lnTo>
                  <a:pt x="65" y="13"/>
                </a:lnTo>
                <a:lnTo>
                  <a:pt x="62" y="13"/>
                </a:lnTo>
                <a:lnTo>
                  <a:pt x="53" y="7"/>
                </a:lnTo>
                <a:lnTo>
                  <a:pt x="46" y="4"/>
                </a:lnTo>
                <a:lnTo>
                  <a:pt x="40" y="0"/>
                </a:lnTo>
                <a:lnTo>
                  <a:pt x="40" y="7"/>
                </a:lnTo>
                <a:lnTo>
                  <a:pt x="34" y="7"/>
                </a:lnTo>
                <a:lnTo>
                  <a:pt x="25" y="13"/>
                </a:lnTo>
                <a:lnTo>
                  <a:pt x="21" y="13"/>
                </a:lnTo>
                <a:lnTo>
                  <a:pt x="15" y="16"/>
                </a:lnTo>
                <a:lnTo>
                  <a:pt x="18" y="19"/>
                </a:lnTo>
                <a:lnTo>
                  <a:pt x="18" y="22"/>
                </a:lnTo>
                <a:lnTo>
                  <a:pt x="18" y="25"/>
                </a:lnTo>
                <a:lnTo>
                  <a:pt x="18" y="32"/>
                </a:lnTo>
                <a:lnTo>
                  <a:pt x="12" y="38"/>
                </a:lnTo>
                <a:lnTo>
                  <a:pt x="12" y="41"/>
                </a:lnTo>
                <a:lnTo>
                  <a:pt x="12" y="44"/>
                </a:lnTo>
                <a:lnTo>
                  <a:pt x="9" y="50"/>
                </a:lnTo>
                <a:lnTo>
                  <a:pt x="6" y="50"/>
                </a:lnTo>
                <a:lnTo>
                  <a:pt x="3" y="54"/>
                </a:lnTo>
                <a:lnTo>
                  <a:pt x="3" y="57"/>
                </a:lnTo>
                <a:lnTo>
                  <a:pt x="3" y="63"/>
                </a:lnTo>
                <a:lnTo>
                  <a:pt x="3" y="66"/>
                </a:lnTo>
                <a:lnTo>
                  <a:pt x="6" y="72"/>
                </a:lnTo>
                <a:lnTo>
                  <a:pt x="3" y="75"/>
                </a:lnTo>
                <a:lnTo>
                  <a:pt x="0" y="75"/>
                </a:lnTo>
                <a:lnTo>
                  <a:pt x="3" y="79"/>
                </a:lnTo>
                <a:lnTo>
                  <a:pt x="6" y="82"/>
                </a:lnTo>
                <a:lnTo>
                  <a:pt x="12" y="85"/>
                </a:lnTo>
                <a:lnTo>
                  <a:pt x="15" y="88"/>
                </a:lnTo>
                <a:lnTo>
                  <a:pt x="15" y="85"/>
                </a:lnTo>
                <a:lnTo>
                  <a:pt x="18" y="82"/>
                </a:lnTo>
                <a:lnTo>
                  <a:pt x="18" y="79"/>
                </a:lnTo>
                <a:lnTo>
                  <a:pt x="21" y="75"/>
                </a:lnTo>
                <a:lnTo>
                  <a:pt x="21" y="79"/>
                </a:lnTo>
                <a:lnTo>
                  <a:pt x="21" y="82"/>
                </a:lnTo>
                <a:lnTo>
                  <a:pt x="21" y="82"/>
                </a:lnTo>
                <a:lnTo>
                  <a:pt x="21" y="79"/>
                </a:lnTo>
                <a:lnTo>
                  <a:pt x="25" y="79"/>
                </a:lnTo>
                <a:lnTo>
                  <a:pt x="25" y="82"/>
                </a:lnTo>
                <a:lnTo>
                  <a:pt x="25" y="88"/>
                </a:lnTo>
                <a:lnTo>
                  <a:pt x="25" y="91"/>
                </a:lnTo>
                <a:lnTo>
                  <a:pt x="21" y="97"/>
                </a:lnTo>
                <a:lnTo>
                  <a:pt x="18" y="101"/>
                </a:lnTo>
                <a:lnTo>
                  <a:pt x="18" y="101"/>
                </a:lnTo>
                <a:lnTo>
                  <a:pt x="21" y="107"/>
                </a:lnTo>
                <a:lnTo>
                  <a:pt x="15" y="110"/>
                </a:lnTo>
                <a:lnTo>
                  <a:pt x="12" y="113"/>
                </a:lnTo>
                <a:lnTo>
                  <a:pt x="15" y="116"/>
                </a:lnTo>
                <a:lnTo>
                  <a:pt x="18" y="116"/>
                </a:lnTo>
                <a:lnTo>
                  <a:pt x="21" y="116"/>
                </a:lnTo>
                <a:lnTo>
                  <a:pt x="25" y="119"/>
                </a:lnTo>
                <a:lnTo>
                  <a:pt x="31" y="119"/>
                </a:lnTo>
                <a:lnTo>
                  <a:pt x="34" y="119"/>
                </a:lnTo>
                <a:lnTo>
                  <a:pt x="40" y="129"/>
                </a:lnTo>
                <a:lnTo>
                  <a:pt x="43" y="129"/>
                </a:lnTo>
                <a:lnTo>
                  <a:pt x="46" y="126"/>
                </a:lnTo>
                <a:lnTo>
                  <a:pt x="62" y="94"/>
                </a:lnTo>
                <a:lnTo>
                  <a:pt x="62" y="91"/>
                </a:lnTo>
                <a:lnTo>
                  <a:pt x="84" y="85"/>
                </a:lnTo>
                <a:lnTo>
                  <a:pt x="93" y="79"/>
                </a:lnTo>
                <a:lnTo>
                  <a:pt x="106" y="66"/>
                </a:lnTo>
                <a:lnTo>
                  <a:pt x="112" y="54"/>
                </a:lnTo>
                <a:lnTo>
                  <a:pt x="115" y="54"/>
                </a:lnTo>
                <a:lnTo>
                  <a:pt x="115" y="50"/>
                </a:lnTo>
                <a:lnTo>
                  <a:pt x="115" y="47"/>
                </a:lnTo>
                <a:lnTo>
                  <a:pt x="115" y="41"/>
                </a:lnTo>
                <a:lnTo>
                  <a:pt x="112" y="35"/>
                </a:lnTo>
                <a:lnTo>
                  <a:pt x="112" y="32"/>
                </a:lnTo>
                <a:lnTo>
                  <a:pt x="112" y="29"/>
                </a:lnTo>
                <a:lnTo>
                  <a:pt x="112" y="29"/>
                </a:lnTo>
                <a:lnTo>
                  <a:pt x="112" y="29"/>
                </a:lnTo>
                <a:close/>
                <a:moveTo>
                  <a:pt x="15" y="94"/>
                </a:moveTo>
                <a:lnTo>
                  <a:pt x="15" y="91"/>
                </a:lnTo>
                <a:lnTo>
                  <a:pt x="15" y="88"/>
                </a:lnTo>
                <a:lnTo>
                  <a:pt x="18" y="85"/>
                </a:lnTo>
                <a:lnTo>
                  <a:pt x="18" y="85"/>
                </a:lnTo>
                <a:lnTo>
                  <a:pt x="18" y="88"/>
                </a:lnTo>
                <a:lnTo>
                  <a:pt x="18" y="91"/>
                </a:lnTo>
                <a:lnTo>
                  <a:pt x="18" y="94"/>
                </a:lnTo>
                <a:lnTo>
                  <a:pt x="15" y="94"/>
                </a:lnTo>
                <a:lnTo>
                  <a:pt x="15" y="94"/>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5" name="Freeform 193">
            <a:extLst>
              <a:ext uri="{FF2B5EF4-FFF2-40B4-BE49-F238E27FC236}">
                <a16:creationId xmlns:a16="http://schemas.microsoft.com/office/drawing/2014/main" id="{EE2A6835-450E-2E8B-CFC8-04F45F113745}"/>
              </a:ext>
            </a:extLst>
          </p:cNvPr>
          <p:cNvSpPr>
            <a:spLocks/>
          </p:cNvSpPr>
          <p:nvPr userDrawn="1"/>
        </p:nvSpPr>
        <p:spPr bwMode="auto">
          <a:xfrm>
            <a:off x="8136993" y="9387763"/>
            <a:ext cx="803226" cy="1190626"/>
          </a:xfrm>
          <a:custGeom>
            <a:avLst/>
            <a:gdLst>
              <a:gd name="T0" fmla="*/ 232 w 253"/>
              <a:gd name="T1" fmla="*/ 222 h 375"/>
              <a:gd name="T2" fmla="*/ 219 w 253"/>
              <a:gd name="T3" fmla="*/ 222 h 375"/>
              <a:gd name="T4" fmla="*/ 219 w 253"/>
              <a:gd name="T5" fmla="*/ 197 h 375"/>
              <a:gd name="T6" fmla="*/ 200 w 253"/>
              <a:gd name="T7" fmla="*/ 200 h 375"/>
              <a:gd name="T8" fmla="*/ 178 w 253"/>
              <a:gd name="T9" fmla="*/ 187 h 375"/>
              <a:gd name="T10" fmla="*/ 157 w 253"/>
              <a:gd name="T11" fmla="*/ 165 h 375"/>
              <a:gd name="T12" fmla="*/ 150 w 253"/>
              <a:gd name="T13" fmla="*/ 153 h 375"/>
              <a:gd name="T14" fmla="*/ 153 w 253"/>
              <a:gd name="T15" fmla="*/ 137 h 375"/>
              <a:gd name="T16" fmla="*/ 163 w 253"/>
              <a:gd name="T17" fmla="*/ 128 h 375"/>
              <a:gd name="T18" fmla="*/ 166 w 253"/>
              <a:gd name="T19" fmla="*/ 109 h 375"/>
              <a:gd name="T20" fmla="*/ 178 w 253"/>
              <a:gd name="T21" fmla="*/ 97 h 375"/>
              <a:gd name="T22" fmla="*/ 207 w 253"/>
              <a:gd name="T23" fmla="*/ 87 h 375"/>
              <a:gd name="T24" fmla="*/ 216 w 253"/>
              <a:gd name="T25" fmla="*/ 84 h 375"/>
              <a:gd name="T26" fmla="*/ 225 w 253"/>
              <a:gd name="T27" fmla="*/ 87 h 375"/>
              <a:gd name="T28" fmla="*/ 213 w 253"/>
              <a:gd name="T29" fmla="*/ 78 h 375"/>
              <a:gd name="T30" fmla="*/ 219 w 253"/>
              <a:gd name="T31" fmla="*/ 53 h 375"/>
              <a:gd name="T32" fmla="*/ 210 w 253"/>
              <a:gd name="T33" fmla="*/ 46 h 375"/>
              <a:gd name="T34" fmla="*/ 188 w 253"/>
              <a:gd name="T35" fmla="*/ 46 h 375"/>
              <a:gd name="T36" fmla="*/ 172 w 253"/>
              <a:gd name="T37" fmla="*/ 50 h 375"/>
              <a:gd name="T38" fmla="*/ 166 w 253"/>
              <a:gd name="T39" fmla="*/ 43 h 375"/>
              <a:gd name="T40" fmla="*/ 160 w 253"/>
              <a:gd name="T41" fmla="*/ 31 h 375"/>
              <a:gd name="T42" fmla="*/ 141 w 253"/>
              <a:gd name="T43" fmla="*/ 18 h 375"/>
              <a:gd name="T44" fmla="*/ 128 w 253"/>
              <a:gd name="T45" fmla="*/ 6 h 375"/>
              <a:gd name="T46" fmla="*/ 119 w 253"/>
              <a:gd name="T47" fmla="*/ 3 h 375"/>
              <a:gd name="T48" fmla="*/ 122 w 253"/>
              <a:gd name="T49" fmla="*/ 21 h 375"/>
              <a:gd name="T50" fmla="*/ 100 w 253"/>
              <a:gd name="T51" fmla="*/ 50 h 375"/>
              <a:gd name="T52" fmla="*/ 53 w 253"/>
              <a:gd name="T53" fmla="*/ 97 h 375"/>
              <a:gd name="T54" fmla="*/ 38 w 253"/>
              <a:gd name="T55" fmla="*/ 90 h 375"/>
              <a:gd name="T56" fmla="*/ 22 w 253"/>
              <a:gd name="T57" fmla="*/ 87 h 375"/>
              <a:gd name="T58" fmla="*/ 25 w 253"/>
              <a:gd name="T59" fmla="*/ 72 h 375"/>
              <a:gd name="T60" fmla="*/ 10 w 253"/>
              <a:gd name="T61" fmla="*/ 81 h 375"/>
              <a:gd name="T62" fmla="*/ 0 w 253"/>
              <a:gd name="T63" fmla="*/ 97 h 375"/>
              <a:gd name="T64" fmla="*/ 3 w 253"/>
              <a:gd name="T65" fmla="*/ 106 h 375"/>
              <a:gd name="T66" fmla="*/ 7 w 253"/>
              <a:gd name="T67" fmla="*/ 118 h 375"/>
              <a:gd name="T68" fmla="*/ 10 w 253"/>
              <a:gd name="T69" fmla="*/ 128 h 375"/>
              <a:gd name="T70" fmla="*/ 32 w 253"/>
              <a:gd name="T71" fmla="*/ 140 h 375"/>
              <a:gd name="T72" fmla="*/ 41 w 253"/>
              <a:gd name="T73" fmla="*/ 159 h 375"/>
              <a:gd name="T74" fmla="*/ 57 w 253"/>
              <a:gd name="T75" fmla="*/ 178 h 375"/>
              <a:gd name="T76" fmla="*/ 66 w 253"/>
              <a:gd name="T77" fmla="*/ 197 h 375"/>
              <a:gd name="T78" fmla="*/ 75 w 253"/>
              <a:gd name="T79" fmla="*/ 219 h 375"/>
              <a:gd name="T80" fmla="*/ 78 w 253"/>
              <a:gd name="T81" fmla="*/ 228 h 375"/>
              <a:gd name="T82" fmla="*/ 91 w 253"/>
              <a:gd name="T83" fmla="*/ 247 h 375"/>
              <a:gd name="T84" fmla="*/ 103 w 253"/>
              <a:gd name="T85" fmla="*/ 265 h 375"/>
              <a:gd name="T86" fmla="*/ 107 w 253"/>
              <a:gd name="T87" fmla="*/ 278 h 375"/>
              <a:gd name="T88" fmla="*/ 110 w 253"/>
              <a:gd name="T89" fmla="*/ 287 h 375"/>
              <a:gd name="T90" fmla="*/ 119 w 253"/>
              <a:gd name="T91" fmla="*/ 297 h 375"/>
              <a:gd name="T92" fmla="*/ 132 w 253"/>
              <a:gd name="T93" fmla="*/ 306 h 375"/>
              <a:gd name="T94" fmla="*/ 141 w 253"/>
              <a:gd name="T95" fmla="*/ 312 h 375"/>
              <a:gd name="T96" fmla="*/ 153 w 253"/>
              <a:gd name="T97" fmla="*/ 322 h 375"/>
              <a:gd name="T98" fmla="*/ 163 w 253"/>
              <a:gd name="T99" fmla="*/ 331 h 375"/>
              <a:gd name="T100" fmla="*/ 182 w 253"/>
              <a:gd name="T101" fmla="*/ 337 h 375"/>
              <a:gd name="T102" fmla="*/ 194 w 253"/>
              <a:gd name="T103" fmla="*/ 347 h 375"/>
              <a:gd name="T104" fmla="*/ 203 w 253"/>
              <a:gd name="T105" fmla="*/ 356 h 375"/>
              <a:gd name="T106" fmla="*/ 213 w 253"/>
              <a:gd name="T107" fmla="*/ 362 h 375"/>
              <a:gd name="T108" fmla="*/ 228 w 253"/>
              <a:gd name="T109" fmla="*/ 375 h 375"/>
              <a:gd name="T110" fmla="*/ 244 w 253"/>
              <a:gd name="T111" fmla="*/ 369 h 375"/>
              <a:gd name="T112" fmla="*/ 244 w 253"/>
              <a:gd name="T113" fmla="*/ 353 h 375"/>
              <a:gd name="T114" fmla="*/ 241 w 253"/>
              <a:gd name="T115" fmla="*/ 350 h 375"/>
              <a:gd name="T116" fmla="*/ 253 w 253"/>
              <a:gd name="T117" fmla="*/ 331 h 375"/>
              <a:gd name="T118" fmla="*/ 250 w 253"/>
              <a:gd name="T119" fmla="*/ 306 h 375"/>
              <a:gd name="T120" fmla="*/ 250 w 253"/>
              <a:gd name="T121" fmla="*/ 281 h 375"/>
              <a:gd name="T122" fmla="*/ 253 w 253"/>
              <a:gd name="T123" fmla="*/ 25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375">
                <a:moveTo>
                  <a:pt x="238" y="222"/>
                </a:moveTo>
                <a:lnTo>
                  <a:pt x="235" y="222"/>
                </a:lnTo>
                <a:lnTo>
                  <a:pt x="235" y="222"/>
                </a:lnTo>
                <a:lnTo>
                  <a:pt x="232" y="222"/>
                </a:lnTo>
                <a:lnTo>
                  <a:pt x="228" y="222"/>
                </a:lnTo>
                <a:lnTo>
                  <a:pt x="225" y="222"/>
                </a:lnTo>
                <a:lnTo>
                  <a:pt x="219" y="222"/>
                </a:lnTo>
                <a:lnTo>
                  <a:pt x="219" y="222"/>
                </a:lnTo>
                <a:lnTo>
                  <a:pt x="216" y="215"/>
                </a:lnTo>
                <a:lnTo>
                  <a:pt x="216" y="203"/>
                </a:lnTo>
                <a:lnTo>
                  <a:pt x="216" y="197"/>
                </a:lnTo>
                <a:lnTo>
                  <a:pt x="219" y="197"/>
                </a:lnTo>
                <a:lnTo>
                  <a:pt x="219" y="190"/>
                </a:lnTo>
                <a:lnTo>
                  <a:pt x="216" y="190"/>
                </a:lnTo>
                <a:lnTo>
                  <a:pt x="210" y="194"/>
                </a:lnTo>
                <a:lnTo>
                  <a:pt x="200" y="200"/>
                </a:lnTo>
                <a:lnTo>
                  <a:pt x="191" y="200"/>
                </a:lnTo>
                <a:lnTo>
                  <a:pt x="185" y="200"/>
                </a:lnTo>
                <a:lnTo>
                  <a:pt x="182" y="194"/>
                </a:lnTo>
                <a:lnTo>
                  <a:pt x="178" y="187"/>
                </a:lnTo>
                <a:lnTo>
                  <a:pt x="172" y="187"/>
                </a:lnTo>
                <a:lnTo>
                  <a:pt x="160" y="187"/>
                </a:lnTo>
                <a:lnTo>
                  <a:pt x="166" y="181"/>
                </a:lnTo>
                <a:lnTo>
                  <a:pt x="157" y="165"/>
                </a:lnTo>
                <a:lnTo>
                  <a:pt x="150" y="162"/>
                </a:lnTo>
                <a:lnTo>
                  <a:pt x="150" y="159"/>
                </a:lnTo>
                <a:lnTo>
                  <a:pt x="150" y="156"/>
                </a:lnTo>
                <a:lnTo>
                  <a:pt x="150" y="153"/>
                </a:lnTo>
                <a:lnTo>
                  <a:pt x="150" y="147"/>
                </a:lnTo>
                <a:lnTo>
                  <a:pt x="150" y="143"/>
                </a:lnTo>
                <a:lnTo>
                  <a:pt x="153" y="143"/>
                </a:lnTo>
                <a:lnTo>
                  <a:pt x="153" y="137"/>
                </a:lnTo>
                <a:lnTo>
                  <a:pt x="157" y="134"/>
                </a:lnTo>
                <a:lnTo>
                  <a:pt x="160" y="134"/>
                </a:lnTo>
                <a:lnTo>
                  <a:pt x="163" y="131"/>
                </a:lnTo>
                <a:lnTo>
                  <a:pt x="163" y="128"/>
                </a:lnTo>
                <a:lnTo>
                  <a:pt x="160" y="122"/>
                </a:lnTo>
                <a:lnTo>
                  <a:pt x="166" y="115"/>
                </a:lnTo>
                <a:lnTo>
                  <a:pt x="166" y="112"/>
                </a:lnTo>
                <a:lnTo>
                  <a:pt x="166" y="109"/>
                </a:lnTo>
                <a:lnTo>
                  <a:pt x="166" y="106"/>
                </a:lnTo>
                <a:lnTo>
                  <a:pt x="169" y="103"/>
                </a:lnTo>
                <a:lnTo>
                  <a:pt x="175" y="100"/>
                </a:lnTo>
                <a:lnTo>
                  <a:pt x="178" y="97"/>
                </a:lnTo>
                <a:lnTo>
                  <a:pt x="182" y="97"/>
                </a:lnTo>
                <a:lnTo>
                  <a:pt x="185" y="93"/>
                </a:lnTo>
                <a:lnTo>
                  <a:pt x="194" y="90"/>
                </a:lnTo>
                <a:lnTo>
                  <a:pt x="207" y="87"/>
                </a:lnTo>
                <a:lnTo>
                  <a:pt x="210" y="84"/>
                </a:lnTo>
                <a:lnTo>
                  <a:pt x="210" y="84"/>
                </a:lnTo>
                <a:lnTo>
                  <a:pt x="213" y="84"/>
                </a:lnTo>
                <a:lnTo>
                  <a:pt x="216" y="84"/>
                </a:lnTo>
                <a:lnTo>
                  <a:pt x="219" y="87"/>
                </a:lnTo>
                <a:lnTo>
                  <a:pt x="219" y="87"/>
                </a:lnTo>
                <a:lnTo>
                  <a:pt x="222" y="90"/>
                </a:lnTo>
                <a:lnTo>
                  <a:pt x="225" y="87"/>
                </a:lnTo>
                <a:lnTo>
                  <a:pt x="225" y="81"/>
                </a:lnTo>
                <a:lnTo>
                  <a:pt x="222" y="78"/>
                </a:lnTo>
                <a:lnTo>
                  <a:pt x="216" y="78"/>
                </a:lnTo>
                <a:lnTo>
                  <a:pt x="213" y="78"/>
                </a:lnTo>
                <a:lnTo>
                  <a:pt x="210" y="75"/>
                </a:lnTo>
                <a:lnTo>
                  <a:pt x="222" y="53"/>
                </a:lnTo>
                <a:lnTo>
                  <a:pt x="222" y="53"/>
                </a:lnTo>
                <a:lnTo>
                  <a:pt x="219" y="53"/>
                </a:lnTo>
                <a:lnTo>
                  <a:pt x="219" y="50"/>
                </a:lnTo>
                <a:lnTo>
                  <a:pt x="213" y="46"/>
                </a:lnTo>
                <a:lnTo>
                  <a:pt x="210" y="46"/>
                </a:lnTo>
                <a:lnTo>
                  <a:pt x="210" y="46"/>
                </a:lnTo>
                <a:lnTo>
                  <a:pt x="207" y="46"/>
                </a:lnTo>
                <a:lnTo>
                  <a:pt x="200" y="50"/>
                </a:lnTo>
                <a:lnTo>
                  <a:pt x="194" y="46"/>
                </a:lnTo>
                <a:lnTo>
                  <a:pt x="188" y="46"/>
                </a:lnTo>
                <a:lnTo>
                  <a:pt x="182" y="50"/>
                </a:lnTo>
                <a:lnTo>
                  <a:pt x="182" y="50"/>
                </a:lnTo>
                <a:lnTo>
                  <a:pt x="175" y="50"/>
                </a:lnTo>
                <a:lnTo>
                  <a:pt x="172" y="50"/>
                </a:lnTo>
                <a:lnTo>
                  <a:pt x="169" y="50"/>
                </a:lnTo>
                <a:lnTo>
                  <a:pt x="166" y="50"/>
                </a:lnTo>
                <a:lnTo>
                  <a:pt x="163" y="46"/>
                </a:lnTo>
                <a:lnTo>
                  <a:pt x="166" y="43"/>
                </a:lnTo>
                <a:lnTo>
                  <a:pt x="163" y="40"/>
                </a:lnTo>
                <a:lnTo>
                  <a:pt x="160" y="37"/>
                </a:lnTo>
                <a:lnTo>
                  <a:pt x="160" y="37"/>
                </a:lnTo>
                <a:lnTo>
                  <a:pt x="160" y="31"/>
                </a:lnTo>
                <a:lnTo>
                  <a:pt x="153" y="28"/>
                </a:lnTo>
                <a:lnTo>
                  <a:pt x="144" y="25"/>
                </a:lnTo>
                <a:lnTo>
                  <a:pt x="144" y="25"/>
                </a:lnTo>
                <a:lnTo>
                  <a:pt x="141" y="18"/>
                </a:lnTo>
                <a:lnTo>
                  <a:pt x="138" y="12"/>
                </a:lnTo>
                <a:lnTo>
                  <a:pt x="135" y="9"/>
                </a:lnTo>
                <a:lnTo>
                  <a:pt x="135" y="6"/>
                </a:lnTo>
                <a:lnTo>
                  <a:pt x="128" y="6"/>
                </a:lnTo>
                <a:lnTo>
                  <a:pt x="122" y="3"/>
                </a:lnTo>
                <a:lnTo>
                  <a:pt x="119" y="0"/>
                </a:lnTo>
                <a:lnTo>
                  <a:pt x="119" y="0"/>
                </a:lnTo>
                <a:lnTo>
                  <a:pt x="119" y="3"/>
                </a:lnTo>
                <a:lnTo>
                  <a:pt x="119" y="6"/>
                </a:lnTo>
                <a:lnTo>
                  <a:pt x="122" y="12"/>
                </a:lnTo>
                <a:lnTo>
                  <a:pt x="122" y="18"/>
                </a:lnTo>
                <a:lnTo>
                  <a:pt x="122" y="21"/>
                </a:lnTo>
                <a:lnTo>
                  <a:pt x="122" y="25"/>
                </a:lnTo>
                <a:lnTo>
                  <a:pt x="119" y="25"/>
                </a:lnTo>
                <a:lnTo>
                  <a:pt x="113" y="37"/>
                </a:lnTo>
                <a:lnTo>
                  <a:pt x="100" y="50"/>
                </a:lnTo>
                <a:lnTo>
                  <a:pt x="91" y="56"/>
                </a:lnTo>
                <a:lnTo>
                  <a:pt x="69" y="62"/>
                </a:lnTo>
                <a:lnTo>
                  <a:pt x="69" y="65"/>
                </a:lnTo>
                <a:lnTo>
                  <a:pt x="53" y="97"/>
                </a:lnTo>
                <a:lnTo>
                  <a:pt x="50" y="100"/>
                </a:lnTo>
                <a:lnTo>
                  <a:pt x="47" y="100"/>
                </a:lnTo>
                <a:lnTo>
                  <a:pt x="41" y="90"/>
                </a:lnTo>
                <a:lnTo>
                  <a:pt x="38" y="90"/>
                </a:lnTo>
                <a:lnTo>
                  <a:pt x="32" y="90"/>
                </a:lnTo>
                <a:lnTo>
                  <a:pt x="28" y="87"/>
                </a:lnTo>
                <a:lnTo>
                  <a:pt x="25" y="87"/>
                </a:lnTo>
                <a:lnTo>
                  <a:pt x="22" y="87"/>
                </a:lnTo>
                <a:lnTo>
                  <a:pt x="19" y="84"/>
                </a:lnTo>
                <a:lnTo>
                  <a:pt x="22" y="81"/>
                </a:lnTo>
                <a:lnTo>
                  <a:pt x="28" y="78"/>
                </a:lnTo>
                <a:lnTo>
                  <a:pt x="25" y="72"/>
                </a:lnTo>
                <a:lnTo>
                  <a:pt x="25" y="72"/>
                </a:lnTo>
                <a:lnTo>
                  <a:pt x="25" y="72"/>
                </a:lnTo>
                <a:lnTo>
                  <a:pt x="16" y="78"/>
                </a:lnTo>
                <a:lnTo>
                  <a:pt x="10" y="81"/>
                </a:lnTo>
                <a:lnTo>
                  <a:pt x="3" y="87"/>
                </a:lnTo>
                <a:lnTo>
                  <a:pt x="3" y="90"/>
                </a:lnTo>
                <a:lnTo>
                  <a:pt x="0" y="97"/>
                </a:lnTo>
                <a:lnTo>
                  <a:pt x="0" y="97"/>
                </a:lnTo>
                <a:lnTo>
                  <a:pt x="3" y="100"/>
                </a:lnTo>
                <a:lnTo>
                  <a:pt x="7" y="103"/>
                </a:lnTo>
                <a:lnTo>
                  <a:pt x="3" y="103"/>
                </a:lnTo>
                <a:lnTo>
                  <a:pt x="3" y="106"/>
                </a:lnTo>
                <a:lnTo>
                  <a:pt x="7" y="109"/>
                </a:lnTo>
                <a:lnTo>
                  <a:pt x="10" y="115"/>
                </a:lnTo>
                <a:lnTo>
                  <a:pt x="10" y="118"/>
                </a:lnTo>
                <a:lnTo>
                  <a:pt x="7" y="118"/>
                </a:lnTo>
                <a:lnTo>
                  <a:pt x="3" y="122"/>
                </a:lnTo>
                <a:lnTo>
                  <a:pt x="0" y="125"/>
                </a:lnTo>
                <a:lnTo>
                  <a:pt x="7" y="128"/>
                </a:lnTo>
                <a:lnTo>
                  <a:pt x="10" y="128"/>
                </a:lnTo>
                <a:lnTo>
                  <a:pt x="16" y="134"/>
                </a:lnTo>
                <a:lnTo>
                  <a:pt x="19" y="134"/>
                </a:lnTo>
                <a:lnTo>
                  <a:pt x="28" y="140"/>
                </a:lnTo>
                <a:lnTo>
                  <a:pt x="32" y="140"/>
                </a:lnTo>
                <a:lnTo>
                  <a:pt x="35" y="143"/>
                </a:lnTo>
                <a:lnTo>
                  <a:pt x="38" y="150"/>
                </a:lnTo>
                <a:lnTo>
                  <a:pt x="38" y="156"/>
                </a:lnTo>
                <a:lnTo>
                  <a:pt x="41" y="159"/>
                </a:lnTo>
                <a:lnTo>
                  <a:pt x="47" y="162"/>
                </a:lnTo>
                <a:lnTo>
                  <a:pt x="53" y="168"/>
                </a:lnTo>
                <a:lnTo>
                  <a:pt x="53" y="175"/>
                </a:lnTo>
                <a:lnTo>
                  <a:pt x="57" y="178"/>
                </a:lnTo>
                <a:lnTo>
                  <a:pt x="57" y="184"/>
                </a:lnTo>
                <a:lnTo>
                  <a:pt x="60" y="190"/>
                </a:lnTo>
                <a:lnTo>
                  <a:pt x="63" y="190"/>
                </a:lnTo>
                <a:lnTo>
                  <a:pt x="66" y="197"/>
                </a:lnTo>
                <a:lnTo>
                  <a:pt x="66" y="203"/>
                </a:lnTo>
                <a:lnTo>
                  <a:pt x="66" y="203"/>
                </a:lnTo>
                <a:lnTo>
                  <a:pt x="69" y="209"/>
                </a:lnTo>
                <a:lnTo>
                  <a:pt x="75" y="219"/>
                </a:lnTo>
                <a:lnTo>
                  <a:pt x="75" y="222"/>
                </a:lnTo>
                <a:lnTo>
                  <a:pt x="75" y="225"/>
                </a:lnTo>
                <a:lnTo>
                  <a:pt x="75" y="228"/>
                </a:lnTo>
                <a:lnTo>
                  <a:pt x="78" y="228"/>
                </a:lnTo>
                <a:lnTo>
                  <a:pt x="85" y="234"/>
                </a:lnTo>
                <a:lnTo>
                  <a:pt x="88" y="237"/>
                </a:lnTo>
                <a:lnTo>
                  <a:pt x="88" y="244"/>
                </a:lnTo>
                <a:lnTo>
                  <a:pt x="91" y="247"/>
                </a:lnTo>
                <a:lnTo>
                  <a:pt x="94" y="250"/>
                </a:lnTo>
                <a:lnTo>
                  <a:pt x="97" y="253"/>
                </a:lnTo>
                <a:lnTo>
                  <a:pt x="100" y="262"/>
                </a:lnTo>
                <a:lnTo>
                  <a:pt x="103" y="265"/>
                </a:lnTo>
                <a:lnTo>
                  <a:pt x="110" y="275"/>
                </a:lnTo>
                <a:lnTo>
                  <a:pt x="110" y="278"/>
                </a:lnTo>
                <a:lnTo>
                  <a:pt x="107" y="281"/>
                </a:lnTo>
                <a:lnTo>
                  <a:pt x="107" y="278"/>
                </a:lnTo>
                <a:lnTo>
                  <a:pt x="107" y="281"/>
                </a:lnTo>
                <a:lnTo>
                  <a:pt x="107" y="284"/>
                </a:lnTo>
                <a:lnTo>
                  <a:pt x="107" y="287"/>
                </a:lnTo>
                <a:lnTo>
                  <a:pt x="110" y="287"/>
                </a:lnTo>
                <a:lnTo>
                  <a:pt x="113" y="287"/>
                </a:lnTo>
                <a:lnTo>
                  <a:pt x="113" y="290"/>
                </a:lnTo>
                <a:lnTo>
                  <a:pt x="110" y="294"/>
                </a:lnTo>
                <a:lnTo>
                  <a:pt x="119" y="297"/>
                </a:lnTo>
                <a:lnTo>
                  <a:pt x="125" y="300"/>
                </a:lnTo>
                <a:lnTo>
                  <a:pt x="125" y="303"/>
                </a:lnTo>
                <a:lnTo>
                  <a:pt x="128" y="306"/>
                </a:lnTo>
                <a:lnTo>
                  <a:pt x="132" y="306"/>
                </a:lnTo>
                <a:lnTo>
                  <a:pt x="132" y="309"/>
                </a:lnTo>
                <a:lnTo>
                  <a:pt x="135" y="312"/>
                </a:lnTo>
                <a:lnTo>
                  <a:pt x="135" y="316"/>
                </a:lnTo>
                <a:lnTo>
                  <a:pt x="141" y="312"/>
                </a:lnTo>
                <a:lnTo>
                  <a:pt x="144" y="312"/>
                </a:lnTo>
                <a:lnTo>
                  <a:pt x="144" y="316"/>
                </a:lnTo>
                <a:lnTo>
                  <a:pt x="147" y="319"/>
                </a:lnTo>
                <a:lnTo>
                  <a:pt x="153" y="322"/>
                </a:lnTo>
                <a:lnTo>
                  <a:pt x="157" y="325"/>
                </a:lnTo>
                <a:lnTo>
                  <a:pt x="157" y="328"/>
                </a:lnTo>
                <a:lnTo>
                  <a:pt x="160" y="328"/>
                </a:lnTo>
                <a:lnTo>
                  <a:pt x="163" y="331"/>
                </a:lnTo>
                <a:lnTo>
                  <a:pt x="166" y="331"/>
                </a:lnTo>
                <a:lnTo>
                  <a:pt x="169" y="331"/>
                </a:lnTo>
                <a:lnTo>
                  <a:pt x="175" y="337"/>
                </a:lnTo>
                <a:lnTo>
                  <a:pt x="182" y="337"/>
                </a:lnTo>
                <a:lnTo>
                  <a:pt x="185" y="337"/>
                </a:lnTo>
                <a:lnTo>
                  <a:pt x="188" y="341"/>
                </a:lnTo>
                <a:lnTo>
                  <a:pt x="188" y="341"/>
                </a:lnTo>
                <a:lnTo>
                  <a:pt x="194" y="347"/>
                </a:lnTo>
                <a:lnTo>
                  <a:pt x="197" y="347"/>
                </a:lnTo>
                <a:lnTo>
                  <a:pt x="200" y="353"/>
                </a:lnTo>
                <a:lnTo>
                  <a:pt x="203" y="353"/>
                </a:lnTo>
                <a:lnTo>
                  <a:pt x="203" y="356"/>
                </a:lnTo>
                <a:lnTo>
                  <a:pt x="203" y="356"/>
                </a:lnTo>
                <a:lnTo>
                  <a:pt x="203" y="359"/>
                </a:lnTo>
                <a:lnTo>
                  <a:pt x="210" y="362"/>
                </a:lnTo>
                <a:lnTo>
                  <a:pt x="213" y="362"/>
                </a:lnTo>
                <a:lnTo>
                  <a:pt x="219" y="369"/>
                </a:lnTo>
                <a:lnTo>
                  <a:pt x="222" y="372"/>
                </a:lnTo>
                <a:lnTo>
                  <a:pt x="225" y="375"/>
                </a:lnTo>
                <a:lnTo>
                  <a:pt x="228" y="375"/>
                </a:lnTo>
                <a:lnTo>
                  <a:pt x="232" y="372"/>
                </a:lnTo>
                <a:lnTo>
                  <a:pt x="238" y="369"/>
                </a:lnTo>
                <a:lnTo>
                  <a:pt x="238" y="369"/>
                </a:lnTo>
                <a:lnTo>
                  <a:pt x="244" y="369"/>
                </a:lnTo>
                <a:lnTo>
                  <a:pt x="244" y="366"/>
                </a:lnTo>
                <a:lnTo>
                  <a:pt x="241" y="362"/>
                </a:lnTo>
                <a:lnTo>
                  <a:pt x="241" y="356"/>
                </a:lnTo>
                <a:lnTo>
                  <a:pt x="244" y="353"/>
                </a:lnTo>
                <a:lnTo>
                  <a:pt x="247" y="356"/>
                </a:lnTo>
                <a:lnTo>
                  <a:pt x="247" y="353"/>
                </a:lnTo>
                <a:lnTo>
                  <a:pt x="244" y="353"/>
                </a:lnTo>
                <a:lnTo>
                  <a:pt x="241" y="350"/>
                </a:lnTo>
                <a:lnTo>
                  <a:pt x="244" y="344"/>
                </a:lnTo>
                <a:lnTo>
                  <a:pt x="250" y="341"/>
                </a:lnTo>
                <a:lnTo>
                  <a:pt x="253" y="334"/>
                </a:lnTo>
                <a:lnTo>
                  <a:pt x="253" y="331"/>
                </a:lnTo>
                <a:lnTo>
                  <a:pt x="247" y="319"/>
                </a:lnTo>
                <a:lnTo>
                  <a:pt x="250" y="316"/>
                </a:lnTo>
                <a:lnTo>
                  <a:pt x="250" y="309"/>
                </a:lnTo>
                <a:lnTo>
                  <a:pt x="250" y="306"/>
                </a:lnTo>
                <a:lnTo>
                  <a:pt x="247" y="303"/>
                </a:lnTo>
                <a:lnTo>
                  <a:pt x="250" y="300"/>
                </a:lnTo>
                <a:lnTo>
                  <a:pt x="250" y="294"/>
                </a:lnTo>
                <a:lnTo>
                  <a:pt x="250" y="281"/>
                </a:lnTo>
                <a:lnTo>
                  <a:pt x="250" y="275"/>
                </a:lnTo>
                <a:lnTo>
                  <a:pt x="250" y="269"/>
                </a:lnTo>
                <a:lnTo>
                  <a:pt x="250" y="256"/>
                </a:lnTo>
                <a:lnTo>
                  <a:pt x="253" y="250"/>
                </a:lnTo>
                <a:lnTo>
                  <a:pt x="253" y="247"/>
                </a:lnTo>
                <a:lnTo>
                  <a:pt x="238" y="222"/>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6" name="Freeform 194">
            <a:extLst>
              <a:ext uri="{FF2B5EF4-FFF2-40B4-BE49-F238E27FC236}">
                <a16:creationId xmlns:a16="http://schemas.microsoft.com/office/drawing/2014/main" id="{84F21FE4-DAC7-1475-3D86-0152371FB15B}"/>
              </a:ext>
            </a:extLst>
          </p:cNvPr>
          <p:cNvSpPr>
            <a:spLocks/>
          </p:cNvSpPr>
          <p:nvPr userDrawn="1"/>
        </p:nvSpPr>
        <p:spPr bwMode="auto">
          <a:xfrm>
            <a:off x="8892598" y="10003713"/>
            <a:ext cx="774652" cy="873126"/>
          </a:xfrm>
          <a:custGeom>
            <a:avLst/>
            <a:gdLst>
              <a:gd name="T0" fmla="*/ 234 w 244"/>
              <a:gd name="T1" fmla="*/ 203 h 275"/>
              <a:gd name="T2" fmla="*/ 231 w 244"/>
              <a:gd name="T3" fmla="*/ 156 h 275"/>
              <a:gd name="T4" fmla="*/ 222 w 244"/>
              <a:gd name="T5" fmla="*/ 131 h 275"/>
              <a:gd name="T6" fmla="*/ 181 w 244"/>
              <a:gd name="T7" fmla="*/ 109 h 275"/>
              <a:gd name="T8" fmla="*/ 181 w 244"/>
              <a:gd name="T9" fmla="*/ 90 h 275"/>
              <a:gd name="T10" fmla="*/ 159 w 244"/>
              <a:gd name="T11" fmla="*/ 81 h 275"/>
              <a:gd name="T12" fmla="*/ 150 w 244"/>
              <a:gd name="T13" fmla="*/ 71 h 275"/>
              <a:gd name="T14" fmla="*/ 134 w 244"/>
              <a:gd name="T15" fmla="*/ 68 h 275"/>
              <a:gd name="T16" fmla="*/ 115 w 244"/>
              <a:gd name="T17" fmla="*/ 56 h 275"/>
              <a:gd name="T18" fmla="*/ 100 w 244"/>
              <a:gd name="T19" fmla="*/ 56 h 275"/>
              <a:gd name="T20" fmla="*/ 87 w 244"/>
              <a:gd name="T21" fmla="*/ 43 h 275"/>
              <a:gd name="T22" fmla="*/ 81 w 244"/>
              <a:gd name="T23" fmla="*/ 28 h 275"/>
              <a:gd name="T24" fmla="*/ 81 w 244"/>
              <a:gd name="T25" fmla="*/ 9 h 275"/>
              <a:gd name="T26" fmla="*/ 75 w 244"/>
              <a:gd name="T27" fmla="*/ 3 h 275"/>
              <a:gd name="T28" fmla="*/ 59 w 244"/>
              <a:gd name="T29" fmla="*/ 3 h 275"/>
              <a:gd name="T30" fmla="*/ 40 w 244"/>
              <a:gd name="T31" fmla="*/ 21 h 275"/>
              <a:gd name="T32" fmla="*/ 25 w 244"/>
              <a:gd name="T33" fmla="*/ 25 h 275"/>
              <a:gd name="T34" fmla="*/ 12 w 244"/>
              <a:gd name="T35" fmla="*/ 28 h 275"/>
              <a:gd name="T36" fmla="*/ 15 w 244"/>
              <a:gd name="T37" fmla="*/ 56 h 275"/>
              <a:gd name="T38" fmla="*/ 12 w 244"/>
              <a:gd name="T39" fmla="*/ 81 h 275"/>
              <a:gd name="T40" fmla="*/ 12 w 244"/>
              <a:gd name="T41" fmla="*/ 106 h 275"/>
              <a:gd name="T42" fmla="*/ 12 w 244"/>
              <a:gd name="T43" fmla="*/ 115 h 275"/>
              <a:gd name="T44" fmla="*/ 15 w 244"/>
              <a:gd name="T45" fmla="*/ 137 h 275"/>
              <a:gd name="T46" fmla="*/ 6 w 244"/>
              <a:gd name="T47" fmla="*/ 150 h 275"/>
              <a:gd name="T48" fmla="*/ 9 w 244"/>
              <a:gd name="T49" fmla="*/ 159 h 275"/>
              <a:gd name="T50" fmla="*/ 9 w 244"/>
              <a:gd name="T51" fmla="*/ 165 h 275"/>
              <a:gd name="T52" fmla="*/ 15 w 244"/>
              <a:gd name="T53" fmla="*/ 175 h 275"/>
              <a:gd name="T54" fmla="*/ 19 w 244"/>
              <a:gd name="T55" fmla="*/ 187 h 275"/>
              <a:gd name="T56" fmla="*/ 31 w 244"/>
              <a:gd name="T57" fmla="*/ 203 h 275"/>
              <a:gd name="T58" fmla="*/ 25 w 244"/>
              <a:gd name="T59" fmla="*/ 222 h 275"/>
              <a:gd name="T60" fmla="*/ 53 w 244"/>
              <a:gd name="T61" fmla="*/ 275 h 275"/>
              <a:gd name="T62" fmla="*/ 62 w 244"/>
              <a:gd name="T63" fmla="*/ 272 h 275"/>
              <a:gd name="T64" fmla="*/ 69 w 244"/>
              <a:gd name="T65" fmla="*/ 262 h 275"/>
              <a:gd name="T66" fmla="*/ 84 w 244"/>
              <a:gd name="T67" fmla="*/ 256 h 275"/>
              <a:gd name="T68" fmla="*/ 100 w 244"/>
              <a:gd name="T69" fmla="*/ 256 h 275"/>
              <a:gd name="T70" fmla="*/ 109 w 244"/>
              <a:gd name="T71" fmla="*/ 259 h 275"/>
              <a:gd name="T72" fmla="*/ 115 w 244"/>
              <a:gd name="T73" fmla="*/ 269 h 275"/>
              <a:gd name="T74" fmla="*/ 119 w 244"/>
              <a:gd name="T75" fmla="*/ 256 h 275"/>
              <a:gd name="T76" fmla="*/ 144 w 244"/>
              <a:gd name="T77" fmla="*/ 253 h 275"/>
              <a:gd name="T78" fmla="*/ 153 w 244"/>
              <a:gd name="T79" fmla="*/ 240 h 275"/>
              <a:gd name="T80" fmla="*/ 150 w 244"/>
              <a:gd name="T81" fmla="*/ 225 h 275"/>
              <a:gd name="T82" fmla="*/ 159 w 244"/>
              <a:gd name="T83" fmla="*/ 206 h 275"/>
              <a:gd name="T84" fmla="*/ 212 w 244"/>
              <a:gd name="T85" fmla="*/ 197 h 275"/>
              <a:gd name="T86" fmla="*/ 231 w 244"/>
              <a:gd name="T87" fmla="*/ 20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4" h="275">
                <a:moveTo>
                  <a:pt x="231" y="209"/>
                </a:moveTo>
                <a:lnTo>
                  <a:pt x="234" y="203"/>
                </a:lnTo>
                <a:lnTo>
                  <a:pt x="234" y="203"/>
                </a:lnTo>
                <a:lnTo>
                  <a:pt x="244" y="181"/>
                </a:lnTo>
                <a:lnTo>
                  <a:pt x="244" y="172"/>
                </a:lnTo>
                <a:lnTo>
                  <a:pt x="231" y="156"/>
                </a:lnTo>
                <a:lnTo>
                  <a:pt x="222" y="153"/>
                </a:lnTo>
                <a:lnTo>
                  <a:pt x="222" y="143"/>
                </a:lnTo>
                <a:lnTo>
                  <a:pt x="222" y="131"/>
                </a:lnTo>
                <a:lnTo>
                  <a:pt x="187" y="131"/>
                </a:lnTo>
                <a:lnTo>
                  <a:pt x="187" y="122"/>
                </a:lnTo>
                <a:lnTo>
                  <a:pt x="181" y="109"/>
                </a:lnTo>
                <a:lnTo>
                  <a:pt x="181" y="106"/>
                </a:lnTo>
                <a:lnTo>
                  <a:pt x="181" y="96"/>
                </a:lnTo>
                <a:lnTo>
                  <a:pt x="181" y="90"/>
                </a:lnTo>
                <a:lnTo>
                  <a:pt x="181" y="84"/>
                </a:lnTo>
                <a:lnTo>
                  <a:pt x="172" y="81"/>
                </a:lnTo>
                <a:lnTo>
                  <a:pt x="159" y="81"/>
                </a:lnTo>
                <a:lnTo>
                  <a:pt x="156" y="78"/>
                </a:lnTo>
                <a:lnTo>
                  <a:pt x="153" y="78"/>
                </a:lnTo>
                <a:lnTo>
                  <a:pt x="150" y="71"/>
                </a:lnTo>
                <a:lnTo>
                  <a:pt x="144" y="71"/>
                </a:lnTo>
                <a:lnTo>
                  <a:pt x="137" y="68"/>
                </a:lnTo>
                <a:lnTo>
                  <a:pt x="134" y="68"/>
                </a:lnTo>
                <a:lnTo>
                  <a:pt x="125" y="59"/>
                </a:lnTo>
                <a:lnTo>
                  <a:pt x="122" y="62"/>
                </a:lnTo>
                <a:lnTo>
                  <a:pt x="115" y="56"/>
                </a:lnTo>
                <a:lnTo>
                  <a:pt x="106" y="56"/>
                </a:lnTo>
                <a:lnTo>
                  <a:pt x="106" y="59"/>
                </a:lnTo>
                <a:lnTo>
                  <a:pt x="100" y="56"/>
                </a:lnTo>
                <a:lnTo>
                  <a:pt x="94" y="50"/>
                </a:lnTo>
                <a:lnTo>
                  <a:pt x="90" y="50"/>
                </a:lnTo>
                <a:lnTo>
                  <a:pt x="87" y="43"/>
                </a:lnTo>
                <a:lnTo>
                  <a:pt x="84" y="40"/>
                </a:lnTo>
                <a:lnTo>
                  <a:pt x="81" y="34"/>
                </a:lnTo>
                <a:lnTo>
                  <a:pt x="81" y="28"/>
                </a:lnTo>
                <a:lnTo>
                  <a:pt x="78" y="21"/>
                </a:lnTo>
                <a:lnTo>
                  <a:pt x="81" y="15"/>
                </a:lnTo>
                <a:lnTo>
                  <a:pt x="81" y="9"/>
                </a:lnTo>
                <a:lnTo>
                  <a:pt x="81" y="3"/>
                </a:lnTo>
                <a:lnTo>
                  <a:pt x="78" y="0"/>
                </a:lnTo>
                <a:lnTo>
                  <a:pt x="75" y="3"/>
                </a:lnTo>
                <a:lnTo>
                  <a:pt x="69" y="0"/>
                </a:lnTo>
                <a:lnTo>
                  <a:pt x="65" y="0"/>
                </a:lnTo>
                <a:lnTo>
                  <a:pt x="59" y="3"/>
                </a:lnTo>
                <a:lnTo>
                  <a:pt x="53" y="6"/>
                </a:lnTo>
                <a:lnTo>
                  <a:pt x="44" y="12"/>
                </a:lnTo>
                <a:lnTo>
                  <a:pt x="40" y="21"/>
                </a:lnTo>
                <a:lnTo>
                  <a:pt x="34" y="21"/>
                </a:lnTo>
                <a:lnTo>
                  <a:pt x="31" y="21"/>
                </a:lnTo>
                <a:lnTo>
                  <a:pt x="25" y="25"/>
                </a:lnTo>
                <a:lnTo>
                  <a:pt x="22" y="25"/>
                </a:lnTo>
                <a:lnTo>
                  <a:pt x="15" y="28"/>
                </a:lnTo>
                <a:lnTo>
                  <a:pt x="12" y="28"/>
                </a:lnTo>
                <a:lnTo>
                  <a:pt x="0" y="28"/>
                </a:lnTo>
                <a:lnTo>
                  <a:pt x="15" y="53"/>
                </a:lnTo>
                <a:lnTo>
                  <a:pt x="15" y="56"/>
                </a:lnTo>
                <a:lnTo>
                  <a:pt x="12" y="62"/>
                </a:lnTo>
                <a:lnTo>
                  <a:pt x="12" y="75"/>
                </a:lnTo>
                <a:lnTo>
                  <a:pt x="12" y="81"/>
                </a:lnTo>
                <a:lnTo>
                  <a:pt x="12" y="87"/>
                </a:lnTo>
                <a:lnTo>
                  <a:pt x="12" y="100"/>
                </a:lnTo>
                <a:lnTo>
                  <a:pt x="12" y="106"/>
                </a:lnTo>
                <a:lnTo>
                  <a:pt x="9" y="109"/>
                </a:lnTo>
                <a:lnTo>
                  <a:pt x="12" y="112"/>
                </a:lnTo>
                <a:lnTo>
                  <a:pt x="12" y="115"/>
                </a:lnTo>
                <a:lnTo>
                  <a:pt x="12" y="122"/>
                </a:lnTo>
                <a:lnTo>
                  <a:pt x="9" y="125"/>
                </a:lnTo>
                <a:lnTo>
                  <a:pt x="15" y="137"/>
                </a:lnTo>
                <a:lnTo>
                  <a:pt x="15" y="140"/>
                </a:lnTo>
                <a:lnTo>
                  <a:pt x="12" y="147"/>
                </a:lnTo>
                <a:lnTo>
                  <a:pt x="6" y="150"/>
                </a:lnTo>
                <a:lnTo>
                  <a:pt x="3" y="156"/>
                </a:lnTo>
                <a:lnTo>
                  <a:pt x="6" y="159"/>
                </a:lnTo>
                <a:lnTo>
                  <a:pt x="9" y="159"/>
                </a:lnTo>
                <a:lnTo>
                  <a:pt x="9" y="162"/>
                </a:lnTo>
                <a:lnTo>
                  <a:pt x="9" y="162"/>
                </a:lnTo>
                <a:lnTo>
                  <a:pt x="9" y="165"/>
                </a:lnTo>
                <a:lnTo>
                  <a:pt x="15" y="168"/>
                </a:lnTo>
                <a:lnTo>
                  <a:pt x="15" y="172"/>
                </a:lnTo>
                <a:lnTo>
                  <a:pt x="15" y="175"/>
                </a:lnTo>
                <a:lnTo>
                  <a:pt x="15" y="178"/>
                </a:lnTo>
                <a:lnTo>
                  <a:pt x="15" y="181"/>
                </a:lnTo>
                <a:lnTo>
                  <a:pt x="19" y="187"/>
                </a:lnTo>
                <a:lnTo>
                  <a:pt x="22" y="193"/>
                </a:lnTo>
                <a:lnTo>
                  <a:pt x="31" y="200"/>
                </a:lnTo>
                <a:lnTo>
                  <a:pt x="31" y="203"/>
                </a:lnTo>
                <a:lnTo>
                  <a:pt x="28" y="209"/>
                </a:lnTo>
                <a:lnTo>
                  <a:pt x="31" y="212"/>
                </a:lnTo>
                <a:lnTo>
                  <a:pt x="25" y="222"/>
                </a:lnTo>
                <a:lnTo>
                  <a:pt x="28" y="228"/>
                </a:lnTo>
                <a:lnTo>
                  <a:pt x="37" y="237"/>
                </a:lnTo>
                <a:lnTo>
                  <a:pt x="53" y="275"/>
                </a:lnTo>
                <a:lnTo>
                  <a:pt x="56" y="275"/>
                </a:lnTo>
                <a:lnTo>
                  <a:pt x="59" y="272"/>
                </a:lnTo>
                <a:lnTo>
                  <a:pt x="62" y="272"/>
                </a:lnTo>
                <a:lnTo>
                  <a:pt x="62" y="272"/>
                </a:lnTo>
                <a:lnTo>
                  <a:pt x="65" y="269"/>
                </a:lnTo>
                <a:lnTo>
                  <a:pt x="69" y="262"/>
                </a:lnTo>
                <a:lnTo>
                  <a:pt x="75" y="253"/>
                </a:lnTo>
                <a:lnTo>
                  <a:pt x="81" y="253"/>
                </a:lnTo>
                <a:lnTo>
                  <a:pt x="84" y="256"/>
                </a:lnTo>
                <a:lnTo>
                  <a:pt x="90" y="256"/>
                </a:lnTo>
                <a:lnTo>
                  <a:pt x="94" y="256"/>
                </a:lnTo>
                <a:lnTo>
                  <a:pt x="100" y="256"/>
                </a:lnTo>
                <a:lnTo>
                  <a:pt x="106" y="253"/>
                </a:lnTo>
                <a:lnTo>
                  <a:pt x="109" y="256"/>
                </a:lnTo>
                <a:lnTo>
                  <a:pt x="109" y="259"/>
                </a:lnTo>
                <a:lnTo>
                  <a:pt x="112" y="269"/>
                </a:lnTo>
                <a:lnTo>
                  <a:pt x="115" y="272"/>
                </a:lnTo>
                <a:lnTo>
                  <a:pt x="115" y="269"/>
                </a:lnTo>
                <a:lnTo>
                  <a:pt x="115" y="265"/>
                </a:lnTo>
                <a:lnTo>
                  <a:pt x="119" y="262"/>
                </a:lnTo>
                <a:lnTo>
                  <a:pt x="119" y="256"/>
                </a:lnTo>
                <a:lnTo>
                  <a:pt x="122" y="253"/>
                </a:lnTo>
                <a:lnTo>
                  <a:pt x="131" y="253"/>
                </a:lnTo>
                <a:lnTo>
                  <a:pt x="144" y="253"/>
                </a:lnTo>
                <a:lnTo>
                  <a:pt x="147" y="256"/>
                </a:lnTo>
                <a:lnTo>
                  <a:pt x="147" y="250"/>
                </a:lnTo>
                <a:lnTo>
                  <a:pt x="153" y="240"/>
                </a:lnTo>
                <a:lnTo>
                  <a:pt x="153" y="234"/>
                </a:lnTo>
                <a:lnTo>
                  <a:pt x="153" y="228"/>
                </a:lnTo>
                <a:lnTo>
                  <a:pt x="150" y="225"/>
                </a:lnTo>
                <a:lnTo>
                  <a:pt x="156" y="215"/>
                </a:lnTo>
                <a:lnTo>
                  <a:pt x="159" y="209"/>
                </a:lnTo>
                <a:lnTo>
                  <a:pt x="159" y="206"/>
                </a:lnTo>
                <a:lnTo>
                  <a:pt x="165" y="203"/>
                </a:lnTo>
                <a:lnTo>
                  <a:pt x="190" y="197"/>
                </a:lnTo>
                <a:lnTo>
                  <a:pt x="212" y="197"/>
                </a:lnTo>
                <a:lnTo>
                  <a:pt x="225" y="206"/>
                </a:lnTo>
                <a:lnTo>
                  <a:pt x="228" y="206"/>
                </a:lnTo>
                <a:lnTo>
                  <a:pt x="231" y="209"/>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7" name="Freeform 195">
            <a:extLst>
              <a:ext uri="{FF2B5EF4-FFF2-40B4-BE49-F238E27FC236}">
                <a16:creationId xmlns:a16="http://schemas.microsoft.com/office/drawing/2014/main" id="{A76EBC4B-BCBC-7308-665D-33E1342228B7}"/>
              </a:ext>
            </a:extLst>
          </p:cNvPr>
          <p:cNvSpPr>
            <a:spLocks/>
          </p:cNvSpPr>
          <p:nvPr userDrawn="1"/>
        </p:nvSpPr>
        <p:spPr bwMode="auto">
          <a:xfrm>
            <a:off x="9359287" y="10629187"/>
            <a:ext cx="536541" cy="555626"/>
          </a:xfrm>
          <a:custGeom>
            <a:avLst/>
            <a:gdLst>
              <a:gd name="T0" fmla="*/ 0 w 169"/>
              <a:gd name="T1" fmla="*/ 53 h 175"/>
              <a:gd name="T2" fmla="*/ 6 w 169"/>
              <a:gd name="T3" fmla="*/ 37 h 175"/>
              <a:gd name="T4" fmla="*/ 3 w 169"/>
              <a:gd name="T5" fmla="*/ 28 h 175"/>
              <a:gd name="T6" fmla="*/ 12 w 169"/>
              <a:gd name="T7" fmla="*/ 12 h 175"/>
              <a:gd name="T8" fmla="*/ 18 w 169"/>
              <a:gd name="T9" fmla="*/ 6 h 175"/>
              <a:gd name="T10" fmla="*/ 65 w 169"/>
              <a:gd name="T11" fmla="*/ 0 h 175"/>
              <a:gd name="T12" fmla="*/ 81 w 169"/>
              <a:gd name="T13" fmla="*/ 9 h 175"/>
              <a:gd name="T14" fmla="*/ 84 w 169"/>
              <a:gd name="T15" fmla="*/ 18 h 175"/>
              <a:gd name="T16" fmla="*/ 90 w 169"/>
              <a:gd name="T17" fmla="*/ 28 h 175"/>
              <a:gd name="T18" fmla="*/ 94 w 169"/>
              <a:gd name="T19" fmla="*/ 43 h 175"/>
              <a:gd name="T20" fmla="*/ 94 w 169"/>
              <a:gd name="T21" fmla="*/ 53 h 175"/>
              <a:gd name="T22" fmla="*/ 100 w 169"/>
              <a:gd name="T23" fmla="*/ 59 h 175"/>
              <a:gd name="T24" fmla="*/ 112 w 169"/>
              <a:gd name="T25" fmla="*/ 59 h 175"/>
              <a:gd name="T26" fmla="*/ 128 w 169"/>
              <a:gd name="T27" fmla="*/ 56 h 175"/>
              <a:gd name="T28" fmla="*/ 137 w 169"/>
              <a:gd name="T29" fmla="*/ 62 h 175"/>
              <a:gd name="T30" fmla="*/ 144 w 169"/>
              <a:gd name="T31" fmla="*/ 87 h 175"/>
              <a:gd name="T32" fmla="*/ 150 w 169"/>
              <a:gd name="T33" fmla="*/ 97 h 175"/>
              <a:gd name="T34" fmla="*/ 162 w 169"/>
              <a:gd name="T35" fmla="*/ 93 h 175"/>
              <a:gd name="T36" fmla="*/ 169 w 169"/>
              <a:gd name="T37" fmla="*/ 97 h 175"/>
              <a:gd name="T38" fmla="*/ 165 w 169"/>
              <a:gd name="T39" fmla="*/ 118 h 175"/>
              <a:gd name="T40" fmla="*/ 162 w 169"/>
              <a:gd name="T41" fmla="*/ 122 h 175"/>
              <a:gd name="T42" fmla="*/ 162 w 169"/>
              <a:gd name="T43" fmla="*/ 125 h 175"/>
              <a:gd name="T44" fmla="*/ 162 w 169"/>
              <a:gd name="T45" fmla="*/ 128 h 175"/>
              <a:gd name="T46" fmla="*/ 162 w 169"/>
              <a:gd name="T47" fmla="*/ 137 h 175"/>
              <a:gd name="T48" fmla="*/ 159 w 169"/>
              <a:gd name="T49" fmla="*/ 147 h 175"/>
              <a:gd name="T50" fmla="*/ 153 w 169"/>
              <a:gd name="T51" fmla="*/ 156 h 175"/>
              <a:gd name="T52" fmla="*/ 144 w 169"/>
              <a:gd name="T53" fmla="*/ 165 h 175"/>
              <a:gd name="T54" fmla="*/ 137 w 169"/>
              <a:gd name="T55" fmla="*/ 169 h 175"/>
              <a:gd name="T56" fmla="*/ 131 w 169"/>
              <a:gd name="T57" fmla="*/ 175 h 175"/>
              <a:gd name="T58" fmla="*/ 125 w 169"/>
              <a:gd name="T59" fmla="*/ 175 h 175"/>
              <a:gd name="T60" fmla="*/ 112 w 169"/>
              <a:gd name="T61" fmla="*/ 172 h 175"/>
              <a:gd name="T62" fmla="*/ 87 w 169"/>
              <a:gd name="T63" fmla="*/ 169 h 175"/>
              <a:gd name="T64" fmla="*/ 84 w 169"/>
              <a:gd name="T65" fmla="*/ 165 h 175"/>
              <a:gd name="T66" fmla="*/ 94 w 169"/>
              <a:gd name="T67" fmla="*/ 150 h 175"/>
              <a:gd name="T68" fmla="*/ 94 w 169"/>
              <a:gd name="T69" fmla="*/ 144 h 175"/>
              <a:gd name="T70" fmla="*/ 103 w 169"/>
              <a:gd name="T71" fmla="*/ 137 h 175"/>
              <a:gd name="T72" fmla="*/ 100 w 169"/>
              <a:gd name="T73" fmla="*/ 128 h 175"/>
              <a:gd name="T74" fmla="*/ 90 w 169"/>
              <a:gd name="T75" fmla="*/ 118 h 175"/>
              <a:gd name="T76" fmla="*/ 68 w 169"/>
              <a:gd name="T77" fmla="*/ 112 h 175"/>
              <a:gd name="T78" fmla="*/ 56 w 169"/>
              <a:gd name="T79" fmla="*/ 103 h 175"/>
              <a:gd name="T80" fmla="*/ 37 w 169"/>
              <a:gd name="T81" fmla="*/ 97 h 175"/>
              <a:gd name="T82" fmla="*/ 31 w 169"/>
              <a:gd name="T83" fmla="*/ 87 h 175"/>
              <a:gd name="T84" fmla="*/ 12 w 169"/>
              <a:gd name="T85" fmla="*/ 75 h 175"/>
              <a:gd name="T86" fmla="*/ 3 w 169"/>
              <a:gd name="T87" fmla="*/ 65 h 175"/>
              <a:gd name="T88" fmla="*/ 0 w 169"/>
              <a:gd name="T89" fmla="*/ 5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9" h="175">
                <a:moveTo>
                  <a:pt x="0" y="59"/>
                </a:moveTo>
                <a:lnTo>
                  <a:pt x="0" y="53"/>
                </a:lnTo>
                <a:lnTo>
                  <a:pt x="6" y="43"/>
                </a:lnTo>
                <a:lnTo>
                  <a:pt x="6" y="37"/>
                </a:lnTo>
                <a:lnTo>
                  <a:pt x="6" y="31"/>
                </a:lnTo>
                <a:lnTo>
                  <a:pt x="3" y="28"/>
                </a:lnTo>
                <a:lnTo>
                  <a:pt x="9" y="18"/>
                </a:lnTo>
                <a:lnTo>
                  <a:pt x="12" y="12"/>
                </a:lnTo>
                <a:lnTo>
                  <a:pt x="12" y="9"/>
                </a:lnTo>
                <a:lnTo>
                  <a:pt x="18" y="6"/>
                </a:lnTo>
                <a:lnTo>
                  <a:pt x="43" y="0"/>
                </a:lnTo>
                <a:lnTo>
                  <a:pt x="65" y="0"/>
                </a:lnTo>
                <a:lnTo>
                  <a:pt x="78" y="9"/>
                </a:lnTo>
                <a:lnTo>
                  <a:pt x="81" y="9"/>
                </a:lnTo>
                <a:lnTo>
                  <a:pt x="87" y="12"/>
                </a:lnTo>
                <a:lnTo>
                  <a:pt x="84" y="18"/>
                </a:lnTo>
                <a:lnTo>
                  <a:pt x="90" y="21"/>
                </a:lnTo>
                <a:lnTo>
                  <a:pt x="90" y="28"/>
                </a:lnTo>
                <a:lnTo>
                  <a:pt x="94" y="34"/>
                </a:lnTo>
                <a:lnTo>
                  <a:pt x="94" y="43"/>
                </a:lnTo>
                <a:lnTo>
                  <a:pt x="94" y="50"/>
                </a:lnTo>
                <a:lnTo>
                  <a:pt x="94" y="53"/>
                </a:lnTo>
                <a:lnTo>
                  <a:pt x="94" y="59"/>
                </a:lnTo>
                <a:lnTo>
                  <a:pt x="100" y="59"/>
                </a:lnTo>
                <a:lnTo>
                  <a:pt x="103" y="59"/>
                </a:lnTo>
                <a:lnTo>
                  <a:pt x="112" y="59"/>
                </a:lnTo>
                <a:lnTo>
                  <a:pt x="119" y="59"/>
                </a:lnTo>
                <a:lnTo>
                  <a:pt x="128" y="56"/>
                </a:lnTo>
                <a:lnTo>
                  <a:pt x="134" y="59"/>
                </a:lnTo>
                <a:lnTo>
                  <a:pt x="137" y="62"/>
                </a:lnTo>
                <a:lnTo>
                  <a:pt x="137" y="65"/>
                </a:lnTo>
                <a:lnTo>
                  <a:pt x="144" y="87"/>
                </a:lnTo>
                <a:lnTo>
                  <a:pt x="147" y="93"/>
                </a:lnTo>
                <a:lnTo>
                  <a:pt x="150" y="97"/>
                </a:lnTo>
                <a:lnTo>
                  <a:pt x="156" y="90"/>
                </a:lnTo>
                <a:lnTo>
                  <a:pt x="162" y="93"/>
                </a:lnTo>
                <a:lnTo>
                  <a:pt x="165" y="97"/>
                </a:lnTo>
                <a:lnTo>
                  <a:pt x="169" y="97"/>
                </a:lnTo>
                <a:lnTo>
                  <a:pt x="165" y="100"/>
                </a:lnTo>
                <a:lnTo>
                  <a:pt x="165" y="118"/>
                </a:lnTo>
                <a:lnTo>
                  <a:pt x="165" y="122"/>
                </a:lnTo>
                <a:lnTo>
                  <a:pt x="162" y="122"/>
                </a:lnTo>
                <a:lnTo>
                  <a:pt x="162" y="125"/>
                </a:lnTo>
                <a:lnTo>
                  <a:pt x="162" y="125"/>
                </a:lnTo>
                <a:lnTo>
                  <a:pt x="162" y="128"/>
                </a:lnTo>
                <a:lnTo>
                  <a:pt x="162" y="128"/>
                </a:lnTo>
                <a:lnTo>
                  <a:pt x="162" y="134"/>
                </a:lnTo>
                <a:lnTo>
                  <a:pt x="162" y="137"/>
                </a:lnTo>
                <a:lnTo>
                  <a:pt x="162" y="144"/>
                </a:lnTo>
                <a:lnTo>
                  <a:pt x="159" y="147"/>
                </a:lnTo>
                <a:lnTo>
                  <a:pt x="156" y="150"/>
                </a:lnTo>
                <a:lnTo>
                  <a:pt x="153" y="156"/>
                </a:lnTo>
                <a:lnTo>
                  <a:pt x="147" y="162"/>
                </a:lnTo>
                <a:lnTo>
                  <a:pt x="144" y="165"/>
                </a:lnTo>
                <a:lnTo>
                  <a:pt x="140" y="172"/>
                </a:lnTo>
                <a:lnTo>
                  <a:pt x="137" y="169"/>
                </a:lnTo>
                <a:lnTo>
                  <a:pt x="134" y="172"/>
                </a:lnTo>
                <a:lnTo>
                  <a:pt x="131" y="175"/>
                </a:lnTo>
                <a:lnTo>
                  <a:pt x="128" y="175"/>
                </a:lnTo>
                <a:lnTo>
                  <a:pt x="125" y="175"/>
                </a:lnTo>
                <a:lnTo>
                  <a:pt x="122" y="175"/>
                </a:lnTo>
                <a:lnTo>
                  <a:pt x="112" y="172"/>
                </a:lnTo>
                <a:lnTo>
                  <a:pt x="103" y="169"/>
                </a:lnTo>
                <a:lnTo>
                  <a:pt x="87" y="169"/>
                </a:lnTo>
                <a:lnTo>
                  <a:pt x="84" y="169"/>
                </a:lnTo>
                <a:lnTo>
                  <a:pt x="84" y="165"/>
                </a:lnTo>
                <a:lnTo>
                  <a:pt x="90" y="159"/>
                </a:lnTo>
                <a:lnTo>
                  <a:pt x="94" y="150"/>
                </a:lnTo>
                <a:lnTo>
                  <a:pt x="94" y="147"/>
                </a:lnTo>
                <a:lnTo>
                  <a:pt x="94" y="144"/>
                </a:lnTo>
                <a:lnTo>
                  <a:pt x="100" y="140"/>
                </a:lnTo>
                <a:lnTo>
                  <a:pt x="103" y="137"/>
                </a:lnTo>
                <a:lnTo>
                  <a:pt x="103" y="131"/>
                </a:lnTo>
                <a:lnTo>
                  <a:pt x="100" y="128"/>
                </a:lnTo>
                <a:lnTo>
                  <a:pt x="94" y="122"/>
                </a:lnTo>
                <a:lnTo>
                  <a:pt x="90" y="118"/>
                </a:lnTo>
                <a:lnTo>
                  <a:pt x="78" y="115"/>
                </a:lnTo>
                <a:lnTo>
                  <a:pt x="68" y="112"/>
                </a:lnTo>
                <a:lnTo>
                  <a:pt x="62" y="103"/>
                </a:lnTo>
                <a:lnTo>
                  <a:pt x="56" y="103"/>
                </a:lnTo>
                <a:lnTo>
                  <a:pt x="50" y="100"/>
                </a:lnTo>
                <a:lnTo>
                  <a:pt x="37" y="97"/>
                </a:lnTo>
                <a:lnTo>
                  <a:pt x="34" y="90"/>
                </a:lnTo>
                <a:lnTo>
                  <a:pt x="31" y="87"/>
                </a:lnTo>
                <a:lnTo>
                  <a:pt x="25" y="87"/>
                </a:lnTo>
                <a:lnTo>
                  <a:pt x="12" y="75"/>
                </a:lnTo>
                <a:lnTo>
                  <a:pt x="9" y="65"/>
                </a:lnTo>
                <a:lnTo>
                  <a:pt x="3" y="65"/>
                </a:lnTo>
                <a:lnTo>
                  <a:pt x="0" y="59"/>
                </a:lnTo>
                <a:lnTo>
                  <a:pt x="0" y="59"/>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8" name="Freeform 196">
            <a:extLst>
              <a:ext uri="{FF2B5EF4-FFF2-40B4-BE49-F238E27FC236}">
                <a16:creationId xmlns:a16="http://schemas.microsoft.com/office/drawing/2014/main" id="{12129FFC-58A1-ECA0-2D14-422B63CA42CA}"/>
              </a:ext>
            </a:extLst>
          </p:cNvPr>
          <p:cNvSpPr>
            <a:spLocks/>
          </p:cNvSpPr>
          <p:nvPr userDrawn="1"/>
        </p:nvSpPr>
        <p:spPr bwMode="auto">
          <a:xfrm>
            <a:off x="9686297" y="11353080"/>
            <a:ext cx="317481" cy="358776"/>
          </a:xfrm>
          <a:custGeom>
            <a:avLst/>
            <a:gdLst>
              <a:gd name="T0" fmla="*/ 12 w 100"/>
              <a:gd name="T1" fmla="*/ 3 h 113"/>
              <a:gd name="T2" fmla="*/ 25 w 100"/>
              <a:gd name="T3" fmla="*/ 0 h 113"/>
              <a:gd name="T4" fmla="*/ 34 w 100"/>
              <a:gd name="T5" fmla="*/ 9 h 113"/>
              <a:gd name="T6" fmla="*/ 41 w 100"/>
              <a:gd name="T7" fmla="*/ 16 h 113"/>
              <a:gd name="T8" fmla="*/ 47 w 100"/>
              <a:gd name="T9" fmla="*/ 25 h 113"/>
              <a:gd name="T10" fmla="*/ 53 w 100"/>
              <a:gd name="T11" fmla="*/ 19 h 113"/>
              <a:gd name="T12" fmla="*/ 62 w 100"/>
              <a:gd name="T13" fmla="*/ 28 h 113"/>
              <a:gd name="T14" fmla="*/ 72 w 100"/>
              <a:gd name="T15" fmla="*/ 34 h 113"/>
              <a:gd name="T16" fmla="*/ 75 w 100"/>
              <a:gd name="T17" fmla="*/ 41 h 113"/>
              <a:gd name="T18" fmla="*/ 87 w 100"/>
              <a:gd name="T19" fmla="*/ 50 h 113"/>
              <a:gd name="T20" fmla="*/ 97 w 100"/>
              <a:gd name="T21" fmla="*/ 59 h 113"/>
              <a:gd name="T22" fmla="*/ 94 w 100"/>
              <a:gd name="T23" fmla="*/ 69 h 113"/>
              <a:gd name="T24" fmla="*/ 94 w 100"/>
              <a:gd name="T25" fmla="*/ 78 h 113"/>
              <a:gd name="T26" fmla="*/ 97 w 100"/>
              <a:gd name="T27" fmla="*/ 81 h 113"/>
              <a:gd name="T28" fmla="*/ 97 w 100"/>
              <a:gd name="T29" fmla="*/ 84 h 113"/>
              <a:gd name="T30" fmla="*/ 94 w 100"/>
              <a:gd name="T31" fmla="*/ 94 h 113"/>
              <a:gd name="T32" fmla="*/ 87 w 100"/>
              <a:gd name="T33" fmla="*/ 100 h 113"/>
              <a:gd name="T34" fmla="*/ 87 w 100"/>
              <a:gd name="T35" fmla="*/ 103 h 113"/>
              <a:gd name="T36" fmla="*/ 75 w 100"/>
              <a:gd name="T37" fmla="*/ 109 h 113"/>
              <a:gd name="T38" fmla="*/ 72 w 100"/>
              <a:gd name="T39" fmla="*/ 109 h 113"/>
              <a:gd name="T40" fmla="*/ 72 w 100"/>
              <a:gd name="T41" fmla="*/ 113 h 113"/>
              <a:gd name="T42" fmla="*/ 66 w 100"/>
              <a:gd name="T43" fmla="*/ 113 h 113"/>
              <a:gd name="T44" fmla="*/ 59 w 100"/>
              <a:gd name="T45" fmla="*/ 109 h 113"/>
              <a:gd name="T46" fmla="*/ 50 w 100"/>
              <a:gd name="T47" fmla="*/ 109 h 113"/>
              <a:gd name="T48" fmla="*/ 44 w 100"/>
              <a:gd name="T49" fmla="*/ 113 h 113"/>
              <a:gd name="T50" fmla="*/ 44 w 100"/>
              <a:gd name="T51" fmla="*/ 109 h 113"/>
              <a:gd name="T52" fmla="*/ 41 w 100"/>
              <a:gd name="T53" fmla="*/ 109 h 113"/>
              <a:gd name="T54" fmla="*/ 31 w 100"/>
              <a:gd name="T55" fmla="*/ 103 h 113"/>
              <a:gd name="T56" fmla="*/ 19 w 100"/>
              <a:gd name="T57" fmla="*/ 103 h 113"/>
              <a:gd name="T58" fmla="*/ 9 w 100"/>
              <a:gd name="T59" fmla="*/ 100 h 113"/>
              <a:gd name="T60" fmla="*/ 3 w 100"/>
              <a:gd name="T61" fmla="*/ 91 h 113"/>
              <a:gd name="T62" fmla="*/ 0 w 100"/>
              <a:gd name="T63" fmla="*/ 75 h 113"/>
              <a:gd name="T64" fmla="*/ 0 w 100"/>
              <a:gd name="T65" fmla="*/ 72 h 113"/>
              <a:gd name="T66" fmla="*/ 3 w 100"/>
              <a:gd name="T67" fmla="*/ 66 h 113"/>
              <a:gd name="T68" fmla="*/ 0 w 100"/>
              <a:gd name="T69" fmla="*/ 53 h 113"/>
              <a:gd name="T70" fmla="*/ 0 w 100"/>
              <a:gd name="T71" fmla="*/ 44 h 113"/>
              <a:gd name="T72" fmla="*/ 3 w 100"/>
              <a:gd name="T73" fmla="*/ 38 h 113"/>
              <a:gd name="T74" fmla="*/ 3 w 100"/>
              <a:gd name="T75" fmla="*/ 25 h 113"/>
              <a:gd name="T76" fmla="*/ 6 w 100"/>
              <a:gd name="T77" fmla="*/ 19 h 113"/>
              <a:gd name="T78" fmla="*/ 6 w 100"/>
              <a:gd name="T79" fmla="*/ 6 h 113"/>
              <a:gd name="T80" fmla="*/ 9 w 100"/>
              <a:gd name="T81" fmla="*/ 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113">
                <a:moveTo>
                  <a:pt x="9" y="3"/>
                </a:moveTo>
                <a:lnTo>
                  <a:pt x="12" y="3"/>
                </a:lnTo>
                <a:lnTo>
                  <a:pt x="16" y="3"/>
                </a:lnTo>
                <a:lnTo>
                  <a:pt x="25" y="0"/>
                </a:lnTo>
                <a:lnTo>
                  <a:pt x="28" y="3"/>
                </a:lnTo>
                <a:lnTo>
                  <a:pt x="34" y="9"/>
                </a:lnTo>
                <a:lnTo>
                  <a:pt x="37" y="9"/>
                </a:lnTo>
                <a:lnTo>
                  <a:pt x="41" y="16"/>
                </a:lnTo>
                <a:lnTo>
                  <a:pt x="44" y="25"/>
                </a:lnTo>
                <a:lnTo>
                  <a:pt x="47" y="25"/>
                </a:lnTo>
                <a:lnTo>
                  <a:pt x="50" y="19"/>
                </a:lnTo>
                <a:lnTo>
                  <a:pt x="53" y="19"/>
                </a:lnTo>
                <a:lnTo>
                  <a:pt x="56" y="28"/>
                </a:lnTo>
                <a:lnTo>
                  <a:pt x="62" y="28"/>
                </a:lnTo>
                <a:lnTo>
                  <a:pt x="66" y="31"/>
                </a:lnTo>
                <a:lnTo>
                  <a:pt x="72" y="34"/>
                </a:lnTo>
                <a:lnTo>
                  <a:pt x="72" y="41"/>
                </a:lnTo>
                <a:lnTo>
                  <a:pt x="75" y="41"/>
                </a:lnTo>
                <a:lnTo>
                  <a:pt x="84" y="44"/>
                </a:lnTo>
                <a:lnTo>
                  <a:pt x="87" y="50"/>
                </a:lnTo>
                <a:lnTo>
                  <a:pt x="94" y="56"/>
                </a:lnTo>
                <a:lnTo>
                  <a:pt x="97" y="59"/>
                </a:lnTo>
                <a:lnTo>
                  <a:pt x="97" y="66"/>
                </a:lnTo>
                <a:lnTo>
                  <a:pt x="94" y="69"/>
                </a:lnTo>
                <a:lnTo>
                  <a:pt x="94" y="75"/>
                </a:lnTo>
                <a:lnTo>
                  <a:pt x="94" y="78"/>
                </a:lnTo>
                <a:lnTo>
                  <a:pt x="94" y="78"/>
                </a:lnTo>
                <a:lnTo>
                  <a:pt x="97" y="81"/>
                </a:lnTo>
                <a:lnTo>
                  <a:pt x="100" y="81"/>
                </a:lnTo>
                <a:lnTo>
                  <a:pt x="97" y="84"/>
                </a:lnTo>
                <a:lnTo>
                  <a:pt x="94" y="88"/>
                </a:lnTo>
                <a:lnTo>
                  <a:pt x="94" y="94"/>
                </a:lnTo>
                <a:lnTo>
                  <a:pt x="91" y="97"/>
                </a:lnTo>
                <a:lnTo>
                  <a:pt x="87" y="100"/>
                </a:lnTo>
                <a:lnTo>
                  <a:pt x="87" y="100"/>
                </a:lnTo>
                <a:lnTo>
                  <a:pt x="87" y="103"/>
                </a:lnTo>
                <a:lnTo>
                  <a:pt x="84" y="106"/>
                </a:lnTo>
                <a:lnTo>
                  <a:pt x="75" y="109"/>
                </a:lnTo>
                <a:lnTo>
                  <a:pt x="75" y="109"/>
                </a:lnTo>
                <a:lnTo>
                  <a:pt x="72" y="109"/>
                </a:lnTo>
                <a:lnTo>
                  <a:pt x="72" y="113"/>
                </a:lnTo>
                <a:lnTo>
                  <a:pt x="72" y="113"/>
                </a:lnTo>
                <a:lnTo>
                  <a:pt x="69" y="113"/>
                </a:lnTo>
                <a:lnTo>
                  <a:pt x="66" y="113"/>
                </a:lnTo>
                <a:lnTo>
                  <a:pt x="62" y="113"/>
                </a:lnTo>
                <a:lnTo>
                  <a:pt x="59" y="109"/>
                </a:lnTo>
                <a:lnTo>
                  <a:pt x="56" y="109"/>
                </a:lnTo>
                <a:lnTo>
                  <a:pt x="50" y="109"/>
                </a:lnTo>
                <a:lnTo>
                  <a:pt x="47" y="113"/>
                </a:lnTo>
                <a:lnTo>
                  <a:pt x="44" y="113"/>
                </a:lnTo>
                <a:lnTo>
                  <a:pt x="44" y="109"/>
                </a:lnTo>
                <a:lnTo>
                  <a:pt x="44" y="109"/>
                </a:lnTo>
                <a:lnTo>
                  <a:pt x="44" y="109"/>
                </a:lnTo>
                <a:lnTo>
                  <a:pt x="41" y="109"/>
                </a:lnTo>
                <a:lnTo>
                  <a:pt x="37" y="106"/>
                </a:lnTo>
                <a:lnTo>
                  <a:pt x="31" y="103"/>
                </a:lnTo>
                <a:lnTo>
                  <a:pt x="25" y="103"/>
                </a:lnTo>
                <a:lnTo>
                  <a:pt x="19" y="103"/>
                </a:lnTo>
                <a:lnTo>
                  <a:pt x="16" y="103"/>
                </a:lnTo>
                <a:lnTo>
                  <a:pt x="9" y="100"/>
                </a:lnTo>
                <a:lnTo>
                  <a:pt x="6" y="97"/>
                </a:lnTo>
                <a:lnTo>
                  <a:pt x="3" y="91"/>
                </a:lnTo>
                <a:lnTo>
                  <a:pt x="0" y="84"/>
                </a:lnTo>
                <a:lnTo>
                  <a:pt x="0" y="75"/>
                </a:lnTo>
                <a:lnTo>
                  <a:pt x="0" y="75"/>
                </a:lnTo>
                <a:lnTo>
                  <a:pt x="0" y="72"/>
                </a:lnTo>
                <a:lnTo>
                  <a:pt x="3" y="69"/>
                </a:lnTo>
                <a:lnTo>
                  <a:pt x="3" y="66"/>
                </a:lnTo>
                <a:lnTo>
                  <a:pt x="3" y="59"/>
                </a:lnTo>
                <a:lnTo>
                  <a:pt x="0" y="53"/>
                </a:lnTo>
                <a:lnTo>
                  <a:pt x="3" y="50"/>
                </a:lnTo>
                <a:lnTo>
                  <a:pt x="0" y="44"/>
                </a:lnTo>
                <a:lnTo>
                  <a:pt x="3" y="41"/>
                </a:lnTo>
                <a:lnTo>
                  <a:pt x="3" y="38"/>
                </a:lnTo>
                <a:lnTo>
                  <a:pt x="3" y="34"/>
                </a:lnTo>
                <a:lnTo>
                  <a:pt x="3" y="25"/>
                </a:lnTo>
                <a:lnTo>
                  <a:pt x="3" y="22"/>
                </a:lnTo>
                <a:lnTo>
                  <a:pt x="6" y="19"/>
                </a:lnTo>
                <a:lnTo>
                  <a:pt x="3" y="12"/>
                </a:lnTo>
                <a:lnTo>
                  <a:pt x="6" y="6"/>
                </a:lnTo>
                <a:lnTo>
                  <a:pt x="9" y="3"/>
                </a:lnTo>
                <a:lnTo>
                  <a:pt x="9" y="3"/>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9" name="Freeform 197">
            <a:extLst>
              <a:ext uri="{FF2B5EF4-FFF2-40B4-BE49-F238E27FC236}">
                <a16:creationId xmlns:a16="http://schemas.microsoft.com/office/drawing/2014/main" id="{D915A085-F1EA-0203-864E-78018120857D}"/>
              </a:ext>
            </a:extLst>
          </p:cNvPr>
          <p:cNvSpPr>
            <a:spLocks noEditPoints="1"/>
          </p:cNvSpPr>
          <p:nvPr userDrawn="1"/>
        </p:nvSpPr>
        <p:spPr bwMode="auto">
          <a:xfrm>
            <a:off x="8930694" y="10806987"/>
            <a:ext cx="1003237" cy="2581278"/>
          </a:xfrm>
          <a:custGeom>
            <a:avLst/>
            <a:gdLst>
              <a:gd name="T0" fmla="*/ 82 w 316"/>
              <a:gd name="T1" fmla="*/ 3 h 813"/>
              <a:gd name="T2" fmla="*/ 103 w 316"/>
              <a:gd name="T3" fmla="*/ 12 h 813"/>
              <a:gd name="T4" fmla="*/ 144 w 316"/>
              <a:gd name="T5" fmla="*/ 9 h 813"/>
              <a:gd name="T6" fmla="*/ 197 w 316"/>
              <a:gd name="T7" fmla="*/ 47 h 813"/>
              <a:gd name="T8" fmla="*/ 235 w 316"/>
              <a:gd name="T9" fmla="*/ 84 h 813"/>
              <a:gd name="T10" fmla="*/ 238 w 316"/>
              <a:gd name="T11" fmla="*/ 113 h 813"/>
              <a:gd name="T12" fmla="*/ 275 w 316"/>
              <a:gd name="T13" fmla="*/ 116 h 813"/>
              <a:gd name="T14" fmla="*/ 297 w 316"/>
              <a:gd name="T15" fmla="*/ 78 h 813"/>
              <a:gd name="T16" fmla="*/ 316 w 316"/>
              <a:gd name="T17" fmla="*/ 103 h 813"/>
              <a:gd name="T18" fmla="*/ 291 w 316"/>
              <a:gd name="T19" fmla="*/ 122 h 813"/>
              <a:gd name="T20" fmla="*/ 266 w 316"/>
              <a:gd name="T21" fmla="*/ 144 h 813"/>
              <a:gd name="T22" fmla="*/ 247 w 316"/>
              <a:gd name="T23" fmla="*/ 172 h 813"/>
              <a:gd name="T24" fmla="*/ 241 w 316"/>
              <a:gd name="T25" fmla="*/ 210 h 813"/>
              <a:gd name="T26" fmla="*/ 238 w 316"/>
              <a:gd name="T27" fmla="*/ 244 h 813"/>
              <a:gd name="T28" fmla="*/ 238 w 316"/>
              <a:gd name="T29" fmla="*/ 269 h 813"/>
              <a:gd name="T30" fmla="*/ 263 w 316"/>
              <a:gd name="T31" fmla="*/ 310 h 813"/>
              <a:gd name="T32" fmla="*/ 279 w 316"/>
              <a:gd name="T33" fmla="*/ 328 h 813"/>
              <a:gd name="T34" fmla="*/ 269 w 316"/>
              <a:gd name="T35" fmla="*/ 357 h 813"/>
              <a:gd name="T36" fmla="*/ 213 w 316"/>
              <a:gd name="T37" fmla="*/ 382 h 813"/>
              <a:gd name="T38" fmla="*/ 182 w 316"/>
              <a:gd name="T39" fmla="*/ 375 h 813"/>
              <a:gd name="T40" fmla="*/ 188 w 316"/>
              <a:gd name="T41" fmla="*/ 397 h 813"/>
              <a:gd name="T42" fmla="*/ 188 w 316"/>
              <a:gd name="T43" fmla="*/ 416 h 813"/>
              <a:gd name="T44" fmla="*/ 163 w 316"/>
              <a:gd name="T45" fmla="*/ 438 h 813"/>
              <a:gd name="T46" fmla="*/ 132 w 316"/>
              <a:gd name="T47" fmla="*/ 428 h 813"/>
              <a:gd name="T48" fmla="*/ 150 w 316"/>
              <a:gd name="T49" fmla="*/ 463 h 813"/>
              <a:gd name="T50" fmla="*/ 153 w 316"/>
              <a:gd name="T51" fmla="*/ 460 h 813"/>
              <a:gd name="T52" fmla="*/ 169 w 316"/>
              <a:gd name="T53" fmla="*/ 475 h 813"/>
              <a:gd name="T54" fmla="*/ 147 w 316"/>
              <a:gd name="T55" fmla="*/ 472 h 813"/>
              <a:gd name="T56" fmla="*/ 144 w 316"/>
              <a:gd name="T57" fmla="*/ 491 h 813"/>
              <a:gd name="T58" fmla="*/ 141 w 316"/>
              <a:gd name="T59" fmla="*/ 513 h 813"/>
              <a:gd name="T60" fmla="*/ 141 w 316"/>
              <a:gd name="T61" fmla="*/ 535 h 813"/>
              <a:gd name="T62" fmla="*/ 116 w 316"/>
              <a:gd name="T63" fmla="*/ 547 h 813"/>
              <a:gd name="T64" fmla="*/ 113 w 316"/>
              <a:gd name="T65" fmla="*/ 576 h 813"/>
              <a:gd name="T66" fmla="*/ 147 w 316"/>
              <a:gd name="T67" fmla="*/ 591 h 813"/>
              <a:gd name="T68" fmla="*/ 150 w 316"/>
              <a:gd name="T69" fmla="*/ 613 h 813"/>
              <a:gd name="T70" fmla="*/ 138 w 316"/>
              <a:gd name="T71" fmla="*/ 632 h 813"/>
              <a:gd name="T72" fmla="*/ 122 w 316"/>
              <a:gd name="T73" fmla="*/ 654 h 813"/>
              <a:gd name="T74" fmla="*/ 113 w 316"/>
              <a:gd name="T75" fmla="*/ 669 h 813"/>
              <a:gd name="T76" fmla="*/ 103 w 316"/>
              <a:gd name="T77" fmla="*/ 694 h 813"/>
              <a:gd name="T78" fmla="*/ 113 w 316"/>
              <a:gd name="T79" fmla="*/ 719 h 813"/>
              <a:gd name="T80" fmla="*/ 116 w 316"/>
              <a:gd name="T81" fmla="*/ 729 h 813"/>
              <a:gd name="T82" fmla="*/ 53 w 316"/>
              <a:gd name="T83" fmla="*/ 713 h 813"/>
              <a:gd name="T84" fmla="*/ 22 w 316"/>
              <a:gd name="T85" fmla="*/ 682 h 813"/>
              <a:gd name="T86" fmla="*/ 35 w 316"/>
              <a:gd name="T87" fmla="*/ 607 h 813"/>
              <a:gd name="T88" fmla="*/ 32 w 316"/>
              <a:gd name="T89" fmla="*/ 557 h 813"/>
              <a:gd name="T90" fmla="*/ 19 w 316"/>
              <a:gd name="T91" fmla="*/ 532 h 813"/>
              <a:gd name="T92" fmla="*/ 19 w 316"/>
              <a:gd name="T93" fmla="*/ 507 h 813"/>
              <a:gd name="T94" fmla="*/ 13 w 316"/>
              <a:gd name="T95" fmla="*/ 460 h 813"/>
              <a:gd name="T96" fmla="*/ 13 w 316"/>
              <a:gd name="T97" fmla="*/ 388 h 813"/>
              <a:gd name="T98" fmla="*/ 19 w 316"/>
              <a:gd name="T99" fmla="*/ 319 h 813"/>
              <a:gd name="T100" fmla="*/ 22 w 316"/>
              <a:gd name="T101" fmla="*/ 269 h 813"/>
              <a:gd name="T102" fmla="*/ 0 w 316"/>
              <a:gd name="T103" fmla="*/ 210 h 813"/>
              <a:gd name="T104" fmla="*/ 10 w 316"/>
              <a:gd name="T105" fmla="*/ 153 h 813"/>
              <a:gd name="T106" fmla="*/ 28 w 316"/>
              <a:gd name="T107" fmla="*/ 103 h 813"/>
              <a:gd name="T108" fmla="*/ 28 w 316"/>
              <a:gd name="T109" fmla="*/ 72 h 813"/>
              <a:gd name="T110" fmla="*/ 210 w 316"/>
              <a:gd name="T111" fmla="*/ 804 h 813"/>
              <a:gd name="T112" fmla="*/ 210 w 316"/>
              <a:gd name="T113" fmla="*/ 804 h 813"/>
              <a:gd name="T114" fmla="*/ 132 w 316"/>
              <a:gd name="T115" fmla="*/ 760 h 813"/>
              <a:gd name="T116" fmla="*/ 141 w 316"/>
              <a:gd name="T117" fmla="*/ 776 h 813"/>
              <a:gd name="T118" fmla="*/ 185 w 316"/>
              <a:gd name="T119" fmla="*/ 798 h 813"/>
              <a:gd name="T120" fmla="*/ 188 w 316"/>
              <a:gd name="T121" fmla="*/ 807 h 813"/>
              <a:gd name="T122" fmla="*/ 144 w 316"/>
              <a:gd name="T123" fmla="*/ 810 h 813"/>
              <a:gd name="T124" fmla="*/ 147 w 316"/>
              <a:gd name="T125" fmla="*/ 801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 h="813">
                <a:moveTo>
                  <a:pt x="50" y="19"/>
                </a:moveTo>
                <a:lnTo>
                  <a:pt x="53" y="16"/>
                </a:lnTo>
                <a:lnTo>
                  <a:pt x="57" y="9"/>
                </a:lnTo>
                <a:lnTo>
                  <a:pt x="63" y="0"/>
                </a:lnTo>
                <a:lnTo>
                  <a:pt x="69" y="0"/>
                </a:lnTo>
                <a:lnTo>
                  <a:pt x="72" y="3"/>
                </a:lnTo>
                <a:lnTo>
                  <a:pt x="78" y="3"/>
                </a:lnTo>
                <a:lnTo>
                  <a:pt x="82" y="3"/>
                </a:lnTo>
                <a:lnTo>
                  <a:pt x="88" y="3"/>
                </a:lnTo>
                <a:lnTo>
                  <a:pt x="94" y="0"/>
                </a:lnTo>
                <a:lnTo>
                  <a:pt x="97" y="3"/>
                </a:lnTo>
                <a:lnTo>
                  <a:pt x="97" y="6"/>
                </a:lnTo>
                <a:lnTo>
                  <a:pt x="100" y="16"/>
                </a:lnTo>
                <a:lnTo>
                  <a:pt x="103" y="19"/>
                </a:lnTo>
                <a:lnTo>
                  <a:pt x="103" y="16"/>
                </a:lnTo>
                <a:lnTo>
                  <a:pt x="103" y="12"/>
                </a:lnTo>
                <a:lnTo>
                  <a:pt x="107" y="9"/>
                </a:lnTo>
                <a:lnTo>
                  <a:pt x="107" y="3"/>
                </a:lnTo>
                <a:lnTo>
                  <a:pt x="110" y="0"/>
                </a:lnTo>
                <a:lnTo>
                  <a:pt x="119" y="0"/>
                </a:lnTo>
                <a:lnTo>
                  <a:pt x="132" y="0"/>
                </a:lnTo>
                <a:lnTo>
                  <a:pt x="135" y="3"/>
                </a:lnTo>
                <a:lnTo>
                  <a:pt x="138" y="9"/>
                </a:lnTo>
                <a:lnTo>
                  <a:pt x="144" y="9"/>
                </a:lnTo>
                <a:lnTo>
                  <a:pt x="147" y="19"/>
                </a:lnTo>
                <a:lnTo>
                  <a:pt x="160" y="31"/>
                </a:lnTo>
                <a:lnTo>
                  <a:pt x="166" y="31"/>
                </a:lnTo>
                <a:lnTo>
                  <a:pt x="169" y="34"/>
                </a:lnTo>
                <a:lnTo>
                  <a:pt x="172" y="41"/>
                </a:lnTo>
                <a:lnTo>
                  <a:pt x="185" y="44"/>
                </a:lnTo>
                <a:lnTo>
                  <a:pt x="191" y="47"/>
                </a:lnTo>
                <a:lnTo>
                  <a:pt x="197" y="47"/>
                </a:lnTo>
                <a:lnTo>
                  <a:pt x="203" y="56"/>
                </a:lnTo>
                <a:lnTo>
                  <a:pt x="213" y="59"/>
                </a:lnTo>
                <a:lnTo>
                  <a:pt x="225" y="62"/>
                </a:lnTo>
                <a:lnTo>
                  <a:pt x="229" y="66"/>
                </a:lnTo>
                <a:lnTo>
                  <a:pt x="235" y="72"/>
                </a:lnTo>
                <a:lnTo>
                  <a:pt x="238" y="75"/>
                </a:lnTo>
                <a:lnTo>
                  <a:pt x="238" y="81"/>
                </a:lnTo>
                <a:lnTo>
                  <a:pt x="235" y="84"/>
                </a:lnTo>
                <a:lnTo>
                  <a:pt x="229" y="88"/>
                </a:lnTo>
                <a:lnTo>
                  <a:pt x="229" y="91"/>
                </a:lnTo>
                <a:lnTo>
                  <a:pt x="229" y="94"/>
                </a:lnTo>
                <a:lnTo>
                  <a:pt x="225" y="103"/>
                </a:lnTo>
                <a:lnTo>
                  <a:pt x="219" y="109"/>
                </a:lnTo>
                <a:lnTo>
                  <a:pt x="219" y="113"/>
                </a:lnTo>
                <a:lnTo>
                  <a:pt x="222" y="113"/>
                </a:lnTo>
                <a:lnTo>
                  <a:pt x="238" y="113"/>
                </a:lnTo>
                <a:lnTo>
                  <a:pt x="247" y="116"/>
                </a:lnTo>
                <a:lnTo>
                  <a:pt x="257" y="119"/>
                </a:lnTo>
                <a:lnTo>
                  <a:pt x="260" y="119"/>
                </a:lnTo>
                <a:lnTo>
                  <a:pt x="263" y="119"/>
                </a:lnTo>
                <a:lnTo>
                  <a:pt x="266" y="119"/>
                </a:lnTo>
                <a:lnTo>
                  <a:pt x="269" y="116"/>
                </a:lnTo>
                <a:lnTo>
                  <a:pt x="272" y="113"/>
                </a:lnTo>
                <a:lnTo>
                  <a:pt x="275" y="116"/>
                </a:lnTo>
                <a:lnTo>
                  <a:pt x="279" y="109"/>
                </a:lnTo>
                <a:lnTo>
                  <a:pt x="282" y="106"/>
                </a:lnTo>
                <a:lnTo>
                  <a:pt x="288" y="100"/>
                </a:lnTo>
                <a:lnTo>
                  <a:pt x="291" y="94"/>
                </a:lnTo>
                <a:lnTo>
                  <a:pt x="294" y="91"/>
                </a:lnTo>
                <a:lnTo>
                  <a:pt x="297" y="88"/>
                </a:lnTo>
                <a:lnTo>
                  <a:pt x="297" y="81"/>
                </a:lnTo>
                <a:lnTo>
                  <a:pt x="297" y="78"/>
                </a:lnTo>
                <a:lnTo>
                  <a:pt x="297" y="72"/>
                </a:lnTo>
                <a:lnTo>
                  <a:pt x="300" y="69"/>
                </a:lnTo>
                <a:lnTo>
                  <a:pt x="310" y="72"/>
                </a:lnTo>
                <a:lnTo>
                  <a:pt x="310" y="75"/>
                </a:lnTo>
                <a:lnTo>
                  <a:pt x="316" y="84"/>
                </a:lnTo>
                <a:lnTo>
                  <a:pt x="313" y="91"/>
                </a:lnTo>
                <a:lnTo>
                  <a:pt x="316" y="97"/>
                </a:lnTo>
                <a:lnTo>
                  <a:pt x="316" y="103"/>
                </a:lnTo>
                <a:lnTo>
                  <a:pt x="316" y="106"/>
                </a:lnTo>
                <a:lnTo>
                  <a:pt x="310" y="106"/>
                </a:lnTo>
                <a:lnTo>
                  <a:pt x="307" y="109"/>
                </a:lnTo>
                <a:lnTo>
                  <a:pt x="307" y="113"/>
                </a:lnTo>
                <a:lnTo>
                  <a:pt x="304" y="113"/>
                </a:lnTo>
                <a:lnTo>
                  <a:pt x="300" y="113"/>
                </a:lnTo>
                <a:lnTo>
                  <a:pt x="294" y="119"/>
                </a:lnTo>
                <a:lnTo>
                  <a:pt x="291" y="122"/>
                </a:lnTo>
                <a:lnTo>
                  <a:pt x="288" y="122"/>
                </a:lnTo>
                <a:lnTo>
                  <a:pt x="282" y="128"/>
                </a:lnTo>
                <a:lnTo>
                  <a:pt x="279" y="128"/>
                </a:lnTo>
                <a:lnTo>
                  <a:pt x="279" y="134"/>
                </a:lnTo>
                <a:lnTo>
                  <a:pt x="275" y="134"/>
                </a:lnTo>
                <a:lnTo>
                  <a:pt x="272" y="134"/>
                </a:lnTo>
                <a:lnTo>
                  <a:pt x="266" y="141"/>
                </a:lnTo>
                <a:lnTo>
                  <a:pt x="266" y="144"/>
                </a:lnTo>
                <a:lnTo>
                  <a:pt x="266" y="150"/>
                </a:lnTo>
                <a:lnTo>
                  <a:pt x="263" y="150"/>
                </a:lnTo>
                <a:lnTo>
                  <a:pt x="263" y="153"/>
                </a:lnTo>
                <a:lnTo>
                  <a:pt x="257" y="159"/>
                </a:lnTo>
                <a:lnTo>
                  <a:pt x="254" y="163"/>
                </a:lnTo>
                <a:lnTo>
                  <a:pt x="250" y="169"/>
                </a:lnTo>
                <a:lnTo>
                  <a:pt x="250" y="169"/>
                </a:lnTo>
                <a:lnTo>
                  <a:pt x="247" y="172"/>
                </a:lnTo>
                <a:lnTo>
                  <a:pt x="247" y="175"/>
                </a:lnTo>
                <a:lnTo>
                  <a:pt x="244" y="178"/>
                </a:lnTo>
                <a:lnTo>
                  <a:pt x="241" y="184"/>
                </a:lnTo>
                <a:lnTo>
                  <a:pt x="244" y="191"/>
                </a:lnTo>
                <a:lnTo>
                  <a:pt x="241" y="194"/>
                </a:lnTo>
                <a:lnTo>
                  <a:pt x="241" y="197"/>
                </a:lnTo>
                <a:lnTo>
                  <a:pt x="241" y="206"/>
                </a:lnTo>
                <a:lnTo>
                  <a:pt x="241" y="210"/>
                </a:lnTo>
                <a:lnTo>
                  <a:pt x="241" y="213"/>
                </a:lnTo>
                <a:lnTo>
                  <a:pt x="238" y="216"/>
                </a:lnTo>
                <a:lnTo>
                  <a:pt x="241" y="222"/>
                </a:lnTo>
                <a:lnTo>
                  <a:pt x="238" y="225"/>
                </a:lnTo>
                <a:lnTo>
                  <a:pt x="241" y="231"/>
                </a:lnTo>
                <a:lnTo>
                  <a:pt x="241" y="238"/>
                </a:lnTo>
                <a:lnTo>
                  <a:pt x="241" y="241"/>
                </a:lnTo>
                <a:lnTo>
                  <a:pt x="238" y="244"/>
                </a:lnTo>
                <a:lnTo>
                  <a:pt x="238" y="247"/>
                </a:lnTo>
                <a:lnTo>
                  <a:pt x="238" y="247"/>
                </a:lnTo>
                <a:lnTo>
                  <a:pt x="238" y="247"/>
                </a:lnTo>
                <a:lnTo>
                  <a:pt x="235" y="253"/>
                </a:lnTo>
                <a:lnTo>
                  <a:pt x="238" y="263"/>
                </a:lnTo>
                <a:lnTo>
                  <a:pt x="238" y="263"/>
                </a:lnTo>
                <a:lnTo>
                  <a:pt x="238" y="266"/>
                </a:lnTo>
                <a:lnTo>
                  <a:pt x="238" y="269"/>
                </a:lnTo>
                <a:lnTo>
                  <a:pt x="238" y="272"/>
                </a:lnTo>
                <a:lnTo>
                  <a:pt x="241" y="275"/>
                </a:lnTo>
                <a:lnTo>
                  <a:pt x="247" y="281"/>
                </a:lnTo>
                <a:lnTo>
                  <a:pt x="257" y="285"/>
                </a:lnTo>
                <a:lnTo>
                  <a:pt x="266" y="291"/>
                </a:lnTo>
                <a:lnTo>
                  <a:pt x="269" y="294"/>
                </a:lnTo>
                <a:lnTo>
                  <a:pt x="269" y="300"/>
                </a:lnTo>
                <a:lnTo>
                  <a:pt x="263" y="310"/>
                </a:lnTo>
                <a:lnTo>
                  <a:pt x="263" y="313"/>
                </a:lnTo>
                <a:lnTo>
                  <a:pt x="266" y="316"/>
                </a:lnTo>
                <a:lnTo>
                  <a:pt x="272" y="319"/>
                </a:lnTo>
                <a:lnTo>
                  <a:pt x="275" y="319"/>
                </a:lnTo>
                <a:lnTo>
                  <a:pt x="279" y="319"/>
                </a:lnTo>
                <a:lnTo>
                  <a:pt x="279" y="319"/>
                </a:lnTo>
                <a:lnTo>
                  <a:pt x="279" y="322"/>
                </a:lnTo>
                <a:lnTo>
                  <a:pt x="279" y="328"/>
                </a:lnTo>
                <a:lnTo>
                  <a:pt x="279" y="335"/>
                </a:lnTo>
                <a:lnTo>
                  <a:pt x="275" y="341"/>
                </a:lnTo>
                <a:lnTo>
                  <a:pt x="275" y="347"/>
                </a:lnTo>
                <a:lnTo>
                  <a:pt x="272" y="347"/>
                </a:lnTo>
                <a:lnTo>
                  <a:pt x="272" y="344"/>
                </a:lnTo>
                <a:lnTo>
                  <a:pt x="269" y="347"/>
                </a:lnTo>
                <a:lnTo>
                  <a:pt x="269" y="353"/>
                </a:lnTo>
                <a:lnTo>
                  <a:pt x="269" y="357"/>
                </a:lnTo>
                <a:lnTo>
                  <a:pt x="269" y="363"/>
                </a:lnTo>
                <a:lnTo>
                  <a:pt x="257" y="369"/>
                </a:lnTo>
                <a:lnTo>
                  <a:pt x="250" y="372"/>
                </a:lnTo>
                <a:lnTo>
                  <a:pt x="247" y="369"/>
                </a:lnTo>
                <a:lnTo>
                  <a:pt x="247" y="372"/>
                </a:lnTo>
                <a:lnTo>
                  <a:pt x="235" y="375"/>
                </a:lnTo>
                <a:lnTo>
                  <a:pt x="222" y="378"/>
                </a:lnTo>
                <a:lnTo>
                  <a:pt x="213" y="382"/>
                </a:lnTo>
                <a:lnTo>
                  <a:pt x="207" y="378"/>
                </a:lnTo>
                <a:lnTo>
                  <a:pt x="200" y="382"/>
                </a:lnTo>
                <a:lnTo>
                  <a:pt x="197" y="382"/>
                </a:lnTo>
                <a:lnTo>
                  <a:pt x="191" y="378"/>
                </a:lnTo>
                <a:lnTo>
                  <a:pt x="188" y="375"/>
                </a:lnTo>
                <a:lnTo>
                  <a:pt x="185" y="375"/>
                </a:lnTo>
                <a:lnTo>
                  <a:pt x="182" y="372"/>
                </a:lnTo>
                <a:lnTo>
                  <a:pt x="182" y="375"/>
                </a:lnTo>
                <a:lnTo>
                  <a:pt x="182" y="378"/>
                </a:lnTo>
                <a:lnTo>
                  <a:pt x="182" y="382"/>
                </a:lnTo>
                <a:lnTo>
                  <a:pt x="182" y="388"/>
                </a:lnTo>
                <a:lnTo>
                  <a:pt x="185" y="391"/>
                </a:lnTo>
                <a:lnTo>
                  <a:pt x="185" y="391"/>
                </a:lnTo>
                <a:lnTo>
                  <a:pt x="188" y="391"/>
                </a:lnTo>
                <a:lnTo>
                  <a:pt x="188" y="394"/>
                </a:lnTo>
                <a:lnTo>
                  <a:pt x="188" y="397"/>
                </a:lnTo>
                <a:lnTo>
                  <a:pt x="185" y="397"/>
                </a:lnTo>
                <a:lnTo>
                  <a:pt x="185" y="400"/>
                </a:lnTo>
                <a:lnTo>
                  <a:pt x="182" y="403"/>
                </a:lnTo>
                <a:lnTo>
                  <a:pt x="182" y="407"/>
                </a:lnTo>
                <a:lnTo>
                  <a:pt x="182" y="407"/>
                </a:lnTo>
                <a:lnTo>
                  <a:pt x="182" y="413"/>
                </a:lnTo>
                <a:lnTo>
                  <a:pt x="185" y="416"/>
                </a:lnTo>
                <a:lnTo>
                  <a:pt x="188" y="416"/>
                </a:lnTo>
                <a:lnTo>
                  <a:pt x="185" y="419"/>
                </a:lnTo>
                <a:lnTo>
                  <a:pt x="185" y="422"/>
                </a:lnTo>
                <a:lnTo>
                  <a:pt x="185" y="425"/>
                </a:lnTo>
                <a:lnTo>
                  <a:pt x="185" y="428"/>
                </a:lnTo>
                <a:lnTo>
                  <a:pt x="182" y="432"/>
                </a:lnTo>
                <a:lnTo>
                  <a:pt x="182" y="432"/>
                </a:lnTo>
                <a:lnTo>
                  <a:pt x="175" y="438"/>
                </a:lnTo>
                <a:lnTo>
                  <a:pt x="163" y="438"/>
                </a:lnTo>
                <a:lnTo>
                  <a:pt x="157" y="435"/>
                </a:lnTo>
                <a:lnTo>
                  <a:pt x="150" y="432"/>
                </a:lnTo>
                <a:lnTo>
                  <a:pt x="144" y="428"/>
                </a:lnTo>
                <a:lnTo>
                  <a:pt x="138" y="428"/>
                </a:lnTo>
                <a:lnTo>
                  <a:pt x="138" y="428"/>
                </a:lnTo>
                <a:lnTo>
                  <a:pt x="138" y="425"/>
                </a:lnTo>
                <a:lnTo>
                  <a:pt x="135" y="425"/>
                </a:lnTo>
                <a:lnTo>
                  <a:pt x="132" y="428"/>
                </a:lnTo>
                <a:lnTo>
                  <a:pt x="132" y="438"/>
                </a:lnTo>
                <a:lnTo>
                  <a:pt x="135" y="441"/>
                </a:lnTo>
                <a:lnTo>
                  <a:pt x="138" y="447"/>
                </a:lnTo>
                <a:lnTo>
                  <a:pt x="138" y="457"/>
                </a:lnTo>
                <a:lnTo>
                  <a:pt x="138" y="460"/>
                </a:lnTo>
                <a:lnTo>
                  <a:pt x="144" y="463"/>
                </a:lnTo>
                <a:lnTo>
                  <a:pt x="150" y="463"/>
                </a:lnTo>
                <a:lnTo>
                  <a:pt x="150" y="463"/>
                </a:lnTo>
                <a:lnTo>
                  <a:pt x="150" y="466"/>
                </a:lnTo>
                <a:lnTo>
                  <a:pt x="147" y="466"/>
                </a:lnTo>
                <a:lnTo>
                  <a:pt x="150" y="469"/>
                </a:lnTo>
                <a:lnTo>
                  <a:pt x="157" y="466"/>
                </a:lnTo>
                <a:lnTo>
                  <a:pt x="157" y="463"/>
                </a:lnTo>
                <a:lnTo>
                  <a:pt x="153" y="463"/>
                </a:lnTo>
                <a:lnTo>
                  <a:pt x="153" y="463"/>
                </a:lnTo>
                <a:lnTo>
                  <a:pt x="153" y="460"/>
                </a:lnTo>
                <a:lnTo>
                  <a:pt x="157" y="460"/>
                </a:lnTo>
                <a:lnTo>
                  <a:pt x="163" y="457"/>
                </a:lnTo>
                <a:lnTo>
                  <a:pt x="163" y="457"/>
                </a:lnTo>
                <a:lnTo>
                  <a:pt x="166" y="463"/>
                </a:lnTo>
                <a:lnTo>
                  <a:pt x="166" y="466"/>
                </a:lnTo>
                <a:lnTo>
                  <a:pt x="166" y="466"/>
                </a:lnTo>
                <a:lnTo>
                  <a:pt x="166" y="469"/>
                </a:lnTo>
                <a:lnTo>
                  <a:pt x="169" y="475"/>
                </a:lnTo>
                <a:lnTo>
                  <a:pt x="169" y="479"/>
                </a:lnTo>
                <a:lnTo>
                  <a:pt x="160" y="482"/>
                </a:lnTo>
                <a:lnTo>
                  <a:pt x="157" y="482"/>
                </a:lnTo>
                <a:lnTo>
                  <a:pt x="157" y="479"/>
                </a:lnTo>
                <a:lnTo>
                  <a:pt x="157" y="475"/>
                </a:lnTo>
                <a:lnTo>
                  <a:pt x="157" y="472"/>
                </a:lnTo>
                <a:lnTo>
                  <a:pt x="150" y="472"/>
                </a:lnTo>
                <a:lnTo>
                  <a:pt x="147" y="472"/>
                </a:lnTo>
                <a:lnTo>
                  <a:pt x="144" y="475"/>
                </a:lnTo>
                <a:lnTo>
                  <a:pt x="141" y="479"/>
                </a:lnTo>
                <a:lnTo>
                  <a:pt x="144" y="482"/>
                </a:lnTo>
                <a:lnTo>
                  <a:pt x="147" y="482"/>
                </a:lnTo>
                <a:lnTo>
                  <a:pt x="153" y="482"/>
                </a:lnTo>
                <a:lnTo>
                  <a:pt x="153" y="485"/>
                </a:lnTo>
                <a:lnTo>
                  <a:pt x="150" y="488"/>
                </a:lnTo>
                <a:lnTo>
                  <a:pt x="144" y="491"/>
                </a:lnTo>
                <a:lnTo>
                  <a:pt x="141" y="494"/>
                </a:lnTo>
                <a:lnTo>
                  <a:pt x="144" y="494"/>
                </a:lnTo>
                <a:lnTo>
                  <a:pt x="141" y="497"/>
                </a:lnTo>
                <a:lnTo>
                  <a:pt x="138" y="500"/>
                </a:lnTo>
                <a:lnTo>
                  <a:pt x="138" y="507"/>
                </a:lnTo>
                <a:lnTo>
                  <a:pt x="141" y="510"/>
                </a:lnTo>
                <a:lnTo>
                  <a:pt x="141" y="513"/>
                </a:lnTo>
                <a:lnTo>
                  <a:pt x="141" y="513"/>
                </a:lnTo>
                <a:lnTo>
                  <a:pt x="144" y="519"/>
                </a:lnTo>
                <a:lnTo>
                  <a:pt x="144" y="519"/>
                </a:lnTo>
                <a:lnTo>
                  <a:pt x="144" y="522"/>
                </a:lnTo>
                <a:lnTo>
                  <a:pt x="144" y="525"/>
                </a:lnTo>
                <a:lnTo>
                  <a:pt x="138" y="529"/>
                </a:lnTo>
                <a:lnTo>
                  <a:pt x="138" y="532"/>
                </a:lnTo>
                <a:lnTo>
                  <a:pt x="138" y="532"/>
                </a:lnTo>
                <a:lnTo>
                  <a:pt x="141" y="535"/>
                </a:lnTo>
                <a:lnTo>
                  <a:pt x="144" y="535"/>
                </a:lnTo>
                <a:lnTo>
                  <a:pt x="141" y="538"/>
                </a:lnTo>
                <a:lnTo>
                  <a:pt x="135" y="538"/>
                </a:lnTo>
                <a:lnTo>
                  <a:pt x="132" y="538"/>
                </a:lnTo>
                <a:lnTo>
                  <a:pt x="128" y="538"/>
                </a:lnTo>
                <a:lnTo>
                  <a:pt x="122" y="544"/>
                </a:lnTo>
                <a:lnTo>
                  <a:pt x="119" y="544"/>
                </a:lnTo>
                <a:lnTo>
                  <a:pt x="116" y="547"/>
                </a:lnTo>
                <a:lnTo>
                  <a:pt x="113" y="547"/>
                </a:lnTo>
                <a:lnTo>
                  <a:pt x="113" y="554"/>
                </a:lnTo>
                <a:lnTo>
                  <a:pt x="110" y="557"/>
                </a:lnTo>
                <a:lnTo>
                  <a:pt x="107" y="560"/>
                </a:lnTo>
                <a:lnTo>
                  <a:pt x="107" y="563"/>
                </a:lnTo>
                <a:lnTo>
                  <a:pt x="107" y="566"/>
                </a:lnTo>
                <a:lnTo>
                  <a:pt x="107" y="569"/>
                </a:lnTo>
                <a:lnTo>
                  <a:pt x="113" y="576"/>
                </a:lnTo>
                <a:lnTo>
                  <a:pt x="116" y="579"/>
                </a:lnTo>
                <a:lnTo>
                  <a:pt x="119" y="582"/>
                </a:lnTo>
                <a:lnTo>
                  <a:pt x="125" y="585"/>
                </a:lnTo>
                <a:lnTo>
                  <a:pt x="132" y="591"/>
                </a:lnTo>
                <a:lnTo>
                  <a:pt x="138" y="591"/>
                </a:lnTo>
                <a:lnTo>
                  <a:pt x="141" y="591"/>
                </a:lnTo>
                <a:lnTo>
                  <a:pt x="144" y="591"/>
                </a:lnTo>
                <a:lnTo>
                  <a:pt x="147" y="591"/>
                </a:lnTo>
                <a:lnTo>
                  <a:pt x="147" y="594"/>
                </a:lnTo>
                <a:lnTo>
                  <a:pt x="147" y="594"/>
                </a:lnTo>
                <a:lnTo>
                  <a:pt x="147" y="597"/>
                </a:lnTo>
                <a:lnTo>
                  <a:pt x="147" y="604"/>
                </a:lnTo>
                <a:lnTo>
                  <a:pt x="147" y="607"/>
                </a:lnTo>
                <a:lnTo>
                  <a:pt x="144" y="610"/>
                </a:lnTo>
                <a:lnTo>
                  <a:pt x="147" y="610"/>
                </a:lnTo>
                <a:lnTo>
                  <a:pt x="150" y="613"/>
                </a:lnTo>
                <a:lnTo>
                  <a:pt x="147" y="613"/>
                </a:lnTo>
                <a:lnTo>
                  <a:pt x="147" y="616"/>
                </a:lnTo>
                <a:lnTo>
                  <a:pt x="150" y="616"/>
                </a:lnTo>
                <a:lnTo>
                  <a:pt x="147" y="622"/>
                </a:lnTo>
                <a:lnTo>
                  <a:pt x="144" y="622"/>
                </a:lnTo>
                <a:lnTo>
                  <a:pt x="141" y="626"/>
                </a:lnTo>
                <a:lnTo>
                  <a:pt x="141" y="626"/>
                </a:lnTo>
                <a:lnTo>
                  <a:pt x="138" y="632"/>
                </a:lnTo>
                <a:lnTo>
                  <a:pt x="135" y="635"/>
                </a:lnTo>
                <a:lnTo>
                  <a:pt x="132" y="635"/>
                </a:lnTo>
                <a:lnTo>
                  <a:pt x="128" y="638"/>
                </a:lnTo>
                <a:lnTo>
                  <a:pt x="125" y="644"/>
                </a:lnTo>
                <a:lnTo>
                  <a:pt x="125" y="647"/>
                </a:lnTo>
                <a:lnTo>
                  <a:pt x="122" y="651"/>
                </a:lnTo>
                <a:lnTo>
                  <a:pt x="122" y="654"/>
                </a:lnTo>
                <a:lnTo>
                  <a:pt x="122" y="654"/>
                </a:lnTo>
                <a:lnTo>
                  <a:pt x="125" y="654"/>
                </a:lnTo>
                <a:lnTo>
                  <a:pt x="128" y="660"/>
                </a:lnTo>
                <a:lnTo>
                  <a:pt x="125" y="663"/>
                </a:lnTo>
                <a:lnTo>
                  <a:pt x="122" y="666"/>
                </a:lnTo>
                <a:lnTo>
                  <a:pt x="122" y="669"/>
                </a:lnTo>
                <a:lnTo>
                  <a:pt x="119" y="672"/>
                </a:lnTo>
                <a:lnTo>
                  <a:pt x="116" y="672"/>
                </a:lnTo>
                <a:lnTo>
                  <a:pt x="113" y="669"/>
                </a:lnTo>
                <a:lnTo>
                  <a:pt x="110" y="666"/>
                </a:lnTo>
                <a:lnTo>
                  <a:pt x="113" y="669"/>
                </a:lnTo>
                <a:lnTo>
                  <a:pt x="113" y="672"/>
                </a:lnTo>
                <a:lnTo>
                  <a:pt x="113" y="676"/>
                </a:lnTo>
                <a:lnTo>
                  <a:pt x="110" y="679"/>
                </a:lnTo>
                <a:lnTo>
                  <a:pt x="107" y="682"/>
                </a:lnTo>
                <a:lnTo>
                  <a:pt x="103" y="688"/>
                </a:lnTo>
                <a:lnTo>
                  <a:pt x="103" y="694"/>
                </a:lnTo>
                <a:lnTo>
                  <a:pt x="110" y="701"/>
                </a:lnTo>
                <a:lnTo>
                  <a:pt x="113" y="710"/>
                </a:lnTo>
                <a:lnTo>
                  <a:pt x="113" y="713"/>
                </a:lnTo>
                <a:lnTo>
                  <a:pt x="113" y="713"/>
                </a:lnTo>
                <a:lnTo>
                  <a:pt x="113" y="716"/>
                </a:lnTo>
                <a:lnTo>
                  <a:pt x="110" y="716"/>
                </a:lnTo>
                <a:lnTo>
                  <a:pt x="113" y="719"/>
                </a:lnTo>
                <a:lnTo>
                  <a:pt x="113" y="719"/>
                </a:lnTo>
                <a:lnTo>
                  <a:pt x="116" y="723"/>
                </a:lnTo>
                <a:lnTo>
                  <a:pt x="119" y="726"/>
                </a:lnTo>
                <a:lnTo>
                  <a:pt x="125" y="729"/>
                </a:lnTo>
                <a:lnTo>
                  <a:pt x="128" y="732"/>
                </a:lnTo>
                <a:lnTo>
                  <a:pt x="128" y="735"/>
                </a:lnTo>
                <a:lnTo>
                  <a:pt x="128" y="735"/>
                </a:lnTo>
                <a:lnTo>
                  <a:pt x="122" y="735"/>
                </a:lnTo>
                <a:lnTo>
                  <a:pt x="116" y="729"/>
                </a:lnTo>
                <a:lnTo>
                  <a:pt x="113" y="729"/>
                </a:lnTo>
                <a:lnTo>
                  <a:pt x="113" y="726"/>
                </a:lnTo>
                <a:lnTo>
                  <a:pt x="88" y="726"/>
                </a:lnTo>
                <a:lnTo>
                  <a:pt x="72" y="729"/>
                </a:lnTo>
                <a:lnTo>
                  <a:pt x="69" y="729"/>
                </a:lnTo>
                <a:lnTo>
                  <a:pt x="60" y="726"/>
                </a:lnTo>
                <a:lnTo>
                  <a:pt x="57" y="719"/>
                </a:lnTo>
                <a:lnTo>
                  <a:pt x="53" y="713"/>
                </a:lnTo>
                <a:lnTo>
                  <a:pt x="50" y="707"/>
                </a:lnTo>
                <a:lnTo>
                  <a:pt x="50" y="698"/>
                </a:lnTo>
                <a:lnTo>
                  <a:pt x="50" y="691"/>
                </a:lnTo>
                <a:lnTo>
                  <a:pt x="44" y="691"/>
                </a:lnTo>
                <a:lnTo>
                  <a:pt x="38" y="694"/>
                </a:lnTo>
                <a:lnTo>
                  <a:pt x="35" y="698"/>
                </a:lnTo>
                <a:lnTo>
                  <a:pt x="32" y="698"/>
                </a:lnTo>
                <a:lnTo>
                  <a:pt x="22" y="682"/>
                </a:lnTo>
                <a:lnTo>
                  <a:pt x="22" y="676"/>
                </a:lnTo>
                <a:lnTo>
                  <a:pt x="25" y="657"/>
                </a:lnTo>
                <a:lnTo>
                  <a:pt x="28" y="651"/>
                </a:lnTo>
                <a:lnTo>
                  <a:pt x="35" y="644"/>
                </a:lnTo>
                <a:lnTo>
                  <a:pt x="38" y="635"/>
                </a:lnTo>
                <a:lnTo>
                  <a:pt x="35" y="626"/>
                </a:lnTo>
                <a:lnTo>
                  <a:pt x="32" y="616"/>
                </a:lnTo>
                <a:lnTo>
                  <a:pt x="35" y="607"/>
                </a:lnTo>
                <a:lnTo>
                  <a:pt x="38" y="604"/>
                </a:lnTo>
                <a:lnTo>
                  <a:pt x="35" y="594"/>
                </a:lnTo>
                <a:lnTo>
                  <a:pt x="35" y="588"/>
                </a:lnTo>
                <a:lnTo>
                  <a:pt x="38" y="585"/>
                </a:lnTo>
                <a:lnTo>
                  <a:pt x="35" y="576"/>
                </a:lnTo>
                <a:lnTo>
                  <a:pt x="35" y="566"/>
                </a:lnTo>
                <a:lnTo>
                  <a:pt x="32" y="560"/>
                </a:lnTo>
                <a:lnTo>
                  <a:pt x="32" y="557"/>
                </a:lnTo>
                <a:lnTo>
                  <a:pt x="38" y="554"/>
                </a:lnTo>
                <a:lnTo>
                  <a:pt x="38" y="547"/>
                </a:lnTo>
                <a:lnTo>
                  <a:pt x="32" y="541"/>
                </a:lnTo>
                <a:lnTo>
                  <a:pt x="25" y="538"/>
                </a:lnTo>
                <a:lnTo>
                  <a:pt x="22" y="538"/>
                </a:lnTo>
                <a:lnTo>
                  <a:pt x="22" y="538"/>
                </a:lnTo>
                <a:lnTo>
                  <a:pt x="19" y="535"/>
                </a:lnTo>
                <a:lnTo>
                  <a:pt x="19" y="532"/>
                </a:lnTo>
                <a:lnTo>
                  <a:pt x="28" y="532"/>
                </a:lnTo>
                <a:lnTo>
                  <a:pt x="32" y="525"/>
                </a:lnTo>
                <a:lnTo>
                  <a:pt x="32" y="522"/>
                </a:lnTo>
                <a:lnTo>
                  <a:pt x="32" y="522"/>
                </a:lnTo>
                <a:lnTo>
                  <a:pt x="28" y="522"/>
                </a:lnTo>
                <a:lnTo>
                  <a:pt x="22" y="522"/>
                </a:lnTo>
                <a:lnTo>
                  <a:pt x="22" y="513"/>
                </a:lnTo>
                <a:lnTo>
                  <a:pt x="19" y="507"/>
                </a:lnTo>
                <a:lnTo>
                  <a:pt x="19" y="500"/>
                </a:lnTo>
                <a:lnTo>
                  <a:pt x="19" y="494"/>
                </a:lnTo>
                <a:lnTo>
                  <a:pt x="13" y="491"/>
                </a:lnTo>
                <a:lnTo>
                  <a:pt x="10" y="485"/>
                </a:lnTo>
                <a:lnTo>
                  <a:pt x="10" y="469"/>
                </a:lnTo>
                <a:lnTo>
                  <a:pt x="13" y="466"/>
                </a:lnTo>
                <a:lnTo>
                  <a:pt x="16" y="463"/>
                </a:lnTo>
                <a:lnTo>
                  <a:pt x="13" y="460"/>
                </a:lnTo>
                <a:lnTo>
                  <a:pt x="10" y="457"/>
                </a:lnTo>
                <a:lnTo>
                  <a:pt x="7" y="447"/>
                </a:lnTo>
                <a:lnTo>
                  <a:pt x="7" y="435"/>
                </a:lnTo>
                <a:lnTo>
                  <a:pt x="7" y="419"/>
                </a:lnTo>
                <a:lnTo>
                  <a:pt x="3" y="413"/>
                </a:lnTo>
                <a:lnTo>
                  <a:pt x="3" y="407"/>
                </a:lnTo>
                <a:lnTo>
                  <a:pt x="10" y="397"/>
                </a:lnTo>
                <a:lnTo>
                  <a:pt x="13" y="388"/>
                </a:lnTo>
                <a:lnTo>
                  <a:pt x="16" y="385"/>
                </a:lnTo>
                <a:lnTo>
                  <a:pt x="19" y="382"/>
                </a:lnTo>
                <a:lnTo>
                  <a:pt x="7" y="357"/>
                </a:lnTo>
                <a:lnTo>
                  <a:pt x="10" y="350"/>
                </a:lnTo>
                <a:lnTo>
                  <a:pt x="10" y="344"/>
                </a:lnTo>
                <a:lnTo>
                  <a:pt x="10" y="332"/>
                </a:lnTo>
                <a:lnTo>
                  <a:pt x="13" y="322"/>
                </a:lnTo>
                <a:lnTo>
                  <a:pt x="19" y="319"/>
                </a:lnTo>
                <a:lnTo>
                  <a:pt x="16" y="310"/>
                </a:lnTo>
                <a:lnTo>
                  <a:pt x="13" y="303"/>
                </a:lnTo>
                <a:lnTo>
                  <a:pt x="10" y="300"/>
                </a:lnTo>
                <a:lnTo>
                  <a:pt x="16" y="294"/>
                </a:lnTo>
                <a:lnTo>
                  <a:pt x="13" y="288"/>
                </a:lnTo>
                <a:lnTo>
                  <a:pt x="16" y="278"/>
                </a:lnTo>
                <a:lnTo>
                  <a:pt x="22" y="278"/>
                </a:lnTo>
                <a:lnTo>
                  <a:pt x="22" y="269"/>
                </a:lnTo>
                <a:lnTo>
                  <a:pt x="19" y="253"/>
                </a:lnTo>
                <a:lnTo>
                  <a:pt x="16" y="250"/>
                </a:lnTo>
                <a:lnTo>
                  <a:pt x="16" y="241"/>
                </a:lnTo>
                <a:lnTo>
                  <a:pt x="13" y="235"/>
                </a:lnTo>
                <a:lnTo>
                  <a:pt x="7" y="225"/>
                </a:lnTo>
                <a:lnTo>
                  <a:pt x="7" y="222"/>
                </a:lnTo>
                <a:lnTo>
                  <a:pt x="3" y="219"/>
                </a:lnTo>
                <a:lnTo>
                  <a:pt x="0" y="210"/>
                </a:lnTo>
                <a:lnTo>
                  <a:pt x="3" y="200"/>
                </a:lnTo>
                <a:lnTo>
                  <a:pt x="7" y="197"/>
                </a:lnTo>
                <a:lnTo>
                  <a:pt x="7" y="188"/>
                </a:lnTo>
                <a:lnTo>
                  <a:pt x="10" y="184"/>
                </a:lnTo>
                <a:lnTo>
                  <a:pt x="10" y="175"/>
                </a:lnTo>
                <a:lnTo>
                  <a:pt x="7" y="169"/>
                </a:lnTo>
                <a:lnTo>
                  <a:pt x="7" y="156"/>
                </a:lnTo>
                <a:lnTo>
                  <a:pt x="10" y="153"/>
                </a:lnTo>
                <a:lnTo>
                  <a:pt x="10" y="141"/>
                </a:lnTo>
                <a:lnTo>
                  <a:pt x="16" y="134"/>
                </a:lnTo>
                <a:lnTo>
                  <a:pt x="19" y="122"/>
                </a:lnTo>
                <a:lnTo>
                  <a:pt x="25" y="116"/>
                </a:lnTo>
                <a:lnTo>
                  <a:pt x="28" y="116"/>
                </a:lnTo>
                <a:lnTo>
                  <a:pt x="32" y="109"/>
                </a:lnTo>
                <a:lnTo>
                  <a:pt x="28" y="109"/>
                </a:lnTo>
                <a:lnTo>
                  <a:pt x="28" y="103"/>
                </a:lnTo>
                <a:lnTo>
                  <a:pt x="28" y="100"/>
                </a:lnTo>
                <a:lnTo>
                  <a:pt x="25" y="97"/>
                </a:lnTo>
                <a:lnTo>
                  <a:pt x="25" y="94"/>
                </a:lnTo>
                <a:lnTo>
                  <a:pt x="32" y="91"/>
                </a:lnTo>
                <a:lnTo>
                  <a:pt x="32" y="88"/>
                </a:lnTo>
                <a:lnTo>
                  <a:pt x="25" y="81"/>
                </a:lnTo>
                <a:lnTo>
                  <a:pt x="25" y="75"/>
                </a:lnTo>
                <a:lnTo>
                  <a:pt x="28" y="72"/>
                </a:lnTo>
                <a:lnTo>
                  <a:pt x="25" y="66"/>
                </a:lnTo>
                <a:lnTo>
                  <a:pt x="22" y="62"/>
                </a:lnTo>
                <a:lnTo>
                  <a:pt x="25" y="59"/>
                </a:lnTo>
                <a:lnTo>
                  <a:pt x="47" y="47"/>
                </a:lnTo>
                <a:lnTo>
                  <a:pt x="53" y="25"/>
                </a:lnTo>
                <a:lnTo>
                  <a:pt x="50" y="19"/>
                </a:lnTo>
                <a:lnTo>
                  <a:pt x="50" y="19"/>
                </a:lnTo>
                <a:close/>
                <a:moveTo>
                  <a:pt x="210" y="804"/>
                </a:moveTo>
                <a:lnTo>
                  <a:pt x="213" y="807"/>
                </a:lnTo>
                <a:lnTo>
                  <a:pt x="219" y="804"/>
                </a:lnTo>
                <a:lnTo>
                  <a:pt x="222" y="804"/>
                </a:lnTo>
                <a:lnTo>
                  <a:pt x="225" y="798"/>
                </a:lnTo>
                <a:lnTo>
                  <a:pt x="222" y="798"/>
                </a:lnTo>
                <a:lnTo>
                  <a:pt x="219" y="801"/>
                </a:lnTo>
                <a:lnTo>
                  <a:pt x="213" y="801"/>
                </a:lnTo>
                <a:lnTo>
                  <a:pt x="210" y="804"/>
                </a:lnTo>
                <a:lnTo>
                  <a:pt x="210" y="804"/>
                </a:lnTo>
                <a:close/>
                <a:moveTo>
                  <a:pt x="122" y="741"/>
                </a:moveTo>
                <a:lnTo>
                  <a:pt x="125" y="741"/>
                </a:lnTo>
                <a:lnTo>
                  <a:pt x="125" y="744"/>
                </a:lnTo>
                <a:lnTo>
                  <a:pt x="132" y="751"/>
                </a:lnTo>
                <a:lnTo>
                  <a:pt x="135" y="760"/>
                </a:lnTo>
                <a:lnTo>
                  <a:pt x="132" y="760"/>
                </a:lnTo>
                <a:lnTo>
                  <a:pt x="132" y="760"/>
                </a:lnTo>
                <a:lnTo>
                  <a:pt x="128" y="763"/>
                </a:lnTo>
                <a:lnTo>
                  <a:pt x="122" y="741"/>
                </a:lnTo>
                <a:lnTo>
                  <a:pt x="122" y="741"/>
                </a:lnTo>
                <a:close/>
                <a:moveTo>
                  <a:pt x="128" y="763"/>
                </a:moveTo>
                <a:lnTo>
                  <a:pt x="132" y="766"/>
                </a:lnTo>
                <a:lnTo>
                  <a:pt x="138" y="766"/>
                </a:lnTo>
                <a:lnTo>
                  <a:pt x="141" y="769"/>
                </a:lnTo>
                <a:lnTo>
                  <a:pt x="141" y="776"/>
                </a:lnTo>
                <a:lnTo>
                  <a:pt x="147" y="776"/>
                </a:lnTo>
                <a:lnTo>
                  <a:pt x="153" y="779"/>
                </a:lnTo>
                <a:lnTo>
                  <a:pt x="153" y="785"/>
                </a:lnTo>
                <a:lnTo>
                  <a:pt x="157" y="785"/>
                </a:lnTo>
                <a:lnTo>
                  <a:pt x="172" y="791"/>
                </a:lnTo>
                <a:lnTo>
                  <a:pt x="175" y="794"/>
                </a:lnTo>
                <a:lnTo>
                  <a:pt x="178" y="794"/>
                </a:lnTo>
                <a:lnTo>
                  <a:pt x="185" y="798"/>
                </a:lnTo>
                <a:lnTo>
                  <a:pt x="188" y="801"/>
                </a:lnTo>
                <a:lnTo>
                  <a:pt x="197" y="798"/>
                </a:lnTo>
                <a:lnTo>
                  <a:pt x="200" y="798"/>
                </a:lnTo>
                <a:lnTo>
                  <a:pt x="200" y="804"/>
                </a:lnTo>
                <a:lnTo>
                  <a:pt x="194" y="804"/>
                </a:lnTo>
                <a:lnTo>
                  <a:pt x="194" y="804"/>
                </a:lnTo>
                <a:lnTo>
                  <a:pt x="188" y="804"/>
                </a:lnTo>
                <a:lnTo>
                  <a:pt x="188" y="807"/>
                </a:lnTo>
                <a:lnTo>
                  <a:pt x="185" y="813"/>
                </a:lnTo>
                <a:lnTo>
                  <a:pt x="182" y="813"/>
                </a:lnTo>
                <a:lnTo>
                  <a:pt x="175" y="810"/>
                </a:lnTo>
                <a:lnTo>
                  <a:pt x="172" y="810"/>
                </a:lnTo>
                <a:lnTo>
                  <a:pt x="163" y="807"/>
                </a:lnTo>
                <a:lnTo>
                  <a:pt x="157" y="810"/>
                </a:lnTo>
                <a:lnTo>
                  <a:pt x="150" y="807"/>
                </a:lnTo>
                <a:lnTo>
                  <a:pt x="144" y="810"/>
                </a:lnTo>
                <a:lnTo>
                  <a:pt x="141" y="810"/>
                </a:lnTo>
                <a:lnTo>
                  <a:pt x="138" y="804"/>
                </a:lnTo>
                <a:lnTo>
                  <a:pt x="147" y="804"/>
                </a:lnTo>
                <a:lnTo>
                  <a:pt x="153" y="801"/>
                </a:lnTo>
                <a:lnTo>
                  <a:pt x="157" y="801"/>
                </a:lnTo>
                <a:lnTo>
                  <a:pt x="157" y="798"/>
                </a:lnTo>
                <a:lnTo>
                  <a:pt x="150" y="801"/>
                </a:lnTo>
                <a:lnTo>
                  <a:pt x="147" y="801"/>
                </a:lnTo>
                <a:lnTo>
                  <a:pt x="141" y="801"/>
                </a:lnTo>
                <a:lnTo>
                  <a:pt x="138" y="801"/>
                </a:lnTo>
                <a:lnTo>
                  <a:pt x="128" y="763"/>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0" name="Freeform 198">
            <a:extLst>
              <a:ext uri="{FF2B5EF4-FFF2-40B4-BE49-F238E27FC236}">
                <a16:creationId xmlns:a16="http://schemas.microsoft.com/office/drawing/2014/main" id="{87595A88-9575-6967-AFA9-6B4931DC6FEF}"/>
              </a:ext>
            </a:extLst>
          </p:cNvPr>
          <p:cNvSpPr>
            <a:spLocks noEditPoints="1"/>
          </p:cNvSpPr>
          <p:nvPr userDrawn="1"/>
        </p:nvSpPr>
        <p:spPr bwMode="auto">
          <a:xfrm>
            <a:off x="8794176" y="10508537"/>
            <a:ext cx="682582" cy="2968626"/>
          </a:xfrm>
          <a:custGeom>
            <a:avLst/>
            <a:gdLst>
              <a:gd name="T0" fmla="*/ 47 w 69"/>
              <a:gd name="T1" fmla="*/ 287 h 299"/>
              <a:gd name="T2" fmla="*/ 46 w 69"/>
              <a:gd name="T3" fmla="*/ 290 h 299"/>
              <a:gd name="T4" fmla="*/ 57 w 69"/>
              <a:gd name="T5" fmla="*/ 290 h 299"/>
              <a:gd name="T6" fmla="*/ 47 w 69"/>
              <a:gd name="T7" fmla="*/ 278 h 299"/>
              <a:gd name="T8" fmla="*/ 55 w 69"/>
              <a:gd name="T9" fmla="*/ 274 h 299"/>
              <a:gd name="T10" fmla="*/ 21 w 69"/>
              <a:gd name="T11" fmla="*/ 246 h 299"/>
              <a:gd name="T12" fmla="*/ 21 w 69"/>
              <a:gd name="T13" fmla="*/ 202 h 299"/>
              <a:gd name="T14" fmla="*/ 16 w 69"/>
              <a:gd name="T15" fmla="*/ 169 h 299"/>
              <a:gd name="T16" fmla="*/ 21 w 69"/>
              <a:gd name="T17" fmla="*/ 116 h 299"/>
              <a:gd name="T18" fmla="*/ 23 w 69"/>
              <a:gd name="T19" fmla="*/ 67 h 299"/>
              <a:gd name="T20" fmla="*/ 22 w 69"/>
              <a:gd name="T21" fmla="*/ 25 h 299"/>
              <a:gd name="T22" fmla="*/ 10 w 69"/>
              <a:gd name="T23" fmla="*/ 5 h 299"/>
              <a:gd name="T24" fmla="*/ 7 w 69"/>
              <a:gd name="T25" fmla="*/ 39 h 299"/>
              <a:gd name="T26" fmla="*/ 7 w 69"/>
              <a:gd name="T27" fmla="*/ 74 h 299"/>
              <a:gd name="T28" fmla="*/ 9 w 69"/>
              <a:gd name="T29" fmla="*/ 106 h 299"/>
              <a:gd name="T30" fmla="*/ 6 w 69"/>
              <a:gd name="T31" fmla="*/ 129 h 299"/>
              <a:gd name="T32" fmla="*/ 3 w 69"/>
              <a:gd name="T33" fmla="*/ 148 h 299"/>
              <a:gd name="T34" fmla="*/ 4 w 69"/>
              <a:gd name="T35" fmla="*/ 172 h 299"/>
              <a:gd name="T36" fmla="*/ 15 w 69"/>
              <a:gd name="T37" fmla="*/ 183 h 299"/>
              <a:gd name="T38" fmla="*/ 12 w 69"/>
              <a:gd name="T39" fmla="*/ 196 h 299"/>
              <a:gd name="T40" fmla="*/ 12 w 69"/>
              <a:gd name="T41" fmla="*/ 216 h 299"/>
              <a:gd name="T42" fmla="*/ 4 w 69"/>
              <a:gd name="T43" fmla="*/ 211 h 299"/>
              <a:gd name="T44" fmla="*/ 8 w 69"/>
              <a:gd name="T45" fmla="*/ 219 h 299"/>
              <a:gd name="T46" fmla="*/ 14 w 69"/>
              <a:gd name="T47" fmla="*/ 227 h 299"/>
              <a:gd name="T48" fmla="*/ 14 w 69"/>
              <a:gd name="T49" fmla="*/ 235 h 299"/>
              <a:gd name="T50" fmla="*/ 16 w 69"/>
              <a:gd name="T51" fmla="*/ 246 h 299"/>
              <a:gd name="T52" fmla="*/ 22 w 69"/>
              <a:gd name="T53" fmla="*/ 258 h 299"/>
              <a:gd name="T54" fmla="*/ 28 w 69"/>
              <a:gd name="T55" fmla="*/ 262 h 299"/>
              <a:gd name="T56" fmla="*/ 30 w 69"/>
              <a:gd name="T57" fmla="*/ 267 h 299"/>
              <a:gd name="T58" fmla="*/ 26 w 69"/>
              <a:gd name="T59" fmla="*/ 270 h 299"/>
              <a:gd name="T60" fmla="*/ 32 w 69"/>
              <a:gd name="T61" fmla="*/ 269 h 299"/>
              <a:gd name="T62" fmla="*/ 30 w 69"/>
              <a:gd name="T63" fmla="*/ 275 h 299"/>
              <a:gd name="T64" fmla="*/ 40 w 69"/>
              <a:gd name="T65" fmla="*/ 272 h 299"/>
              <a:gd name="T66" fmla="*/ 41 w 69"/>
              <a:gd name="T67" fmla="*/ 281 h 299"/>
              <a:gd name="T68" fmla="*/ 53 w 69"/>
              <a:gd name="T69" fmla="*/ 265 h 299"/>
              <a:gd name="T70" fmla="*/ 4 w 69"/>
              <a:gd name="T71" fmla="*/ 184 h 299"/>
              <a:gd name="T72" fmla="*/ 11 w 69"/>
              <a:gd name="T73" fmla="*/ 181 h 299"/>
              <a:gd name="T74" fmla="*/ 9 w 69"/>
              <a:gd name="T75" fmla="*/ 194 h 299"/>
              <a:gd name="T76" fmla="*/ 4 w 69"/>
              <a:gd name="T77" fmla="*/ 201 h 299"/>
              <a:gd name="T78" fmla="*/ 6 w 69"/>
              <a:gd name="T79" fmla="*/ 200 h 299"/>
              <a:gd name="T80" fmla="*/ 13 w 69"/>
              <a:gd name="T81" fmla="*/ 198 h 299"/>
              <a:gd name="T82" fmla="*/ 8 w 69"/>
              <a:gd name="T83" fmla="*/ 204 h 299"/>
              <a:gd name="T84" fmla="*/ 10 w 69"/>
              <a:gd name="T85" fmla="*/ 233 h 299"/>
              <a:gd name="T86" fmla="*/ 8 w 69"/>
              <a:gd name="T87" fmla="*/ 232 h 299"/>
              <a:gd name="T88" fmla="*/ 7 w 69"/>
              <a:gd name="T89" fmla="*/ 239 h 299"/>
              <a:gd name="T90" fmla="*/ 9 w 69"/>
              <a:gd name="T91" fmla="*/ 241 h 299"/>
              <a:gd name="T92" fmla="*/ 13 w 69"/>
              <a:gd name="T93" fmla="*/ 245 h 299"/>
              <a:gd name="T94" fmla="*/ 14 w 69"/>
              <a:gd name="T95" fmla="*/ 254 h 299"/>
              <a:gd name="T96" fmla="*/ 14 w 69"/>
              <a:gd name="T97" fmla="*/ 253 h 299"/>
              <a:gd name="T98" fmla="*/ 16 w 69"/>
              <a:gd name="T99" fmla="*/ 262 h 299"/>
              <a:gd name="T100" fmla="*/ 20 w 69"/>
              <a:gd name="T101" fmla="*/ 265 h 299"/>
              <a:gd name="T102" fmla="*/ 21 w 69"/>
              <a:gd name="T103" fmla="*/ 265 h 299"/>
              <a:gd name="T104" fmla="*/ 25 w 69"/>
              <a:gd name="T105" fmla="*/ 270 h 299"/>
              <a:gd name="T106" fmla="*/ 30 w 69"/>
              <a:gd name="T107" fmla="*/ 277 h 299"/>
              <a:gd name="T108" fmla="*/ 31 w 69"/>
              <a:gd name="T109" fmla="*/ 283 h 299"/>
              <a:gd name="T110" fmla="*/ 36 w 69"/>
              <a:gd name="T111" fmla="*/ 283 h 299"/>
              <a:gd name="T112" fmla="*/ 38 w 69"/>
              <a:gd name="T113" fmla="*/ 284 h 299"/>
              <a:gd name="T114" fmla="*/ 44 w 69"/>
              <a:gd name="T115" fmla="*/ 281 h 299"/>
              <a:gd name="T116" fmla="*/ 68 w 69"/>
              <a:gd name="T117" fmla="*/ 296 h 299"/>
              <a:gd name="T118" fmla="*/ 64 w 69"/>
              <a:gd name="T119" fmla="*/ 292 h 299"/>
              <a:gd name="T120" fmla="*/ 58 w 69"/>
              <a:gd name="T121" fmla="*/ 29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 h="299">
                <a:moveTo>
                  <a:pt x="59" y="289"/>
                </a:moveTo>
                <a:cubicBezTo>
                  <a:pt x="58" y="287"/>
                  <a:pt x="58" y="287"/>
                  <a:pt x="58" y="287"/>
                </a:cubicBezTo>
                <a:cubicBezTo>
                  <a:pt x="58" y="287"/>
                  <a:pt x="58" y="287"/>
                  <a:pt x="58" y="287"/>
                </a:cubicBezTo>
                <a:cubicBezTo>
                  <a:pt x="56" y="286"/>
                  <a:pt x="56" y="286"/>
                  <a:pt x="56" y="286"/>
                </a:cubicBezTo>
                <a:cubicBezTo>
                  <a:pt x="54" y="285"/>
                  <a:pt x="54" y="285"/>
                  <a:pt x="54" y="285"/>
                </a:cubicBezTo>
                <a:cubicBezTo>
                  <a:pt x="51" y="284"/>
                  <a:pt x="51" y="284"/>
                  <a:pt x="51" y="284"/>
                </a:cubicBezTo>
                <a:cubicBezTo>
                  <a:pt x="50" y="284"/>
                  <a:pt x="50" y="284"/>
                  <a:pt x="50" y="284"/>
                </a:cubicBezTo>
                <a:cubicBezTo>
                  <a:pt x="49" y="284"/>
                  <a:pt x="49" y="284"/>
                  <a:pt x="49" y="284"/>
                </a:cubicBezTo>
                <a:cubicBezTo>
                  <a:pt x="50" y="285"/>
                  <a:pt x="50" y="285"/>
                  <a:pt x="50" y="285"/>
                </a:cubicBezTo>
                <a:cubicBezTo>
                  <a:pt x="49" y="285"/>
                  <a:pt x="49" y="285"/>
                  <a:pt x="49" y="285"/>
                </a:cubicBezTo>
                <a:cubicBezTo>
                  <a:pt x="49" y="285"/>
                  <a:pt x="49" y="285"/>
                  <a:pt x="49" y="285"/>
                </a:cubicBezTo>
                <a:cubicBezTo>
                  <a:pt x="47" y="284"/>
                  <a:pt x="47" y="284"/>
                  <a:pt x="47" y="284"/>
                </a:cubicBezTo>
                <a:cubicBezTo>
                  <a:pt x="46" y="283"/>
                  <a:pt x="46" y="283"/>
                  <a:pt x="46" y="283"/>
                </a:cubicBezTo>
                <a:cubicBezTo>
                  <a:pt x="45" y="284"/>
                  <a:pt x="45" y="284"/>
                  <a:pt x="45" y="284"/>
                </a:cubicBezTo>
                <a:cubicBezTo>
                  <a:pt x="46" y="284"/>
                  <a:pt x="46" y="284"/>
                  <a:pt x="46" y="284"/>
                </a:cubicBezTo>
                <a:cubicBezTo>
                  <a:pt x="48" y="286"/>
                  <a:pt x="48" y="286"/>
                  <a:pt x="48" y="286"/>
                </a:cubicBezTo>
                <a:cubicBezTo>
                  <a:pt x="49" y="286"/>
                  <a:pt x="49" y="286"/>
                  <a:pt x="49" y="286"/>
                </a:cubicBezTo>
                <a:cubicBezTo>
                  <a:pt x="48" y="286"/>
                  <a:pt x="48" y="286"/>
                  <a:pt x="48" y="286"/>
                </a:cubicBezTo>
                <a:cubicBezTo>
                  <a:pt x="48" y="286"/>
                  <a:pt x="48" y="286"/>
                  <a:pt x="48" y="286"/>
                </a:cubicBezTo>
                <a:cubicBezTo>
                  <a:pt x="48" y="287"/>
                  <a:pt x="48" y="287"/>
                  <a:pt x="48" y="287"/>
                </a:cubicBezTo>
                <a:cubicBezTo>
                  <a:pt x="47" y="287"/>
                  <a:pt x="47" y="287"/>
                  <a:pt x="47" y="287"/>
                </a:cubicBezTo>
                <a:cubicBezTo>
                  <a:pt x="47" y="286"/>
                  <a:pt x="47" y="286"/>
                  <a:pt x="47" y="286"/>
                </a:cubicBezTo>
                <a:cubicBezTo>
                  <a:pt x="45" y="285"/>
                  <a:pt x="45" y="285"/>
                  <a:pt x="45" y="285"/>
                </a:cubicBezTo>
                <a:cubicBezTo>
                  <a:pt x="45" y="286"/>
                  <a:pt x="45" y="286"/>
                  <a:pt x="45" y="286"/>
                </a:cubicBezTo>
                <a:cubicBezTo>
                  <a:pt x="45" y="286"/>
                  <a:pt x="45" y="286"/>
                  <a:pt x="45" y="286"/>
                </a:cubicBezTo>
                <a:cubicBezTo>
                  <a:pt x="44" y="287"/>
                  <a:pt x="44" y="287"/>
                  <a:pt x="44" y="287"/>
                </a:cubicBezTo>
                <a:cubicBezTo>
                  <a:pt x="42" y="287"/>
                  <a:pt x="42" y="287"/>
                  <a:pt x="42" y="287"/>
                </a:cubicBezTo>
                <a:cubicBezTo>
                  <a:pt x="42" y="287"/>
                  <a:pt x="42" y="287"/>
                  <a:pt x="42" y="287"/>
                </a:cubicBezTo>
                <a:cubicBezTo>
                  <a:pt x="42" y="287"/>
                  <a:pt x="42" y="287"/>
                  <a:pt x="42" y="287"/>
                </a:cubicBezTo>
                <a:cubicBezTo>
                  <a:pt x="42" y="288"/>
                  <a:pt x="42" y="288"/>
                  <a:pt x="42" y="288"/>
                </a:cubicBezTo>
                <a:cubicBezTo>
                  <a:pt x="41" y="288"/>
                  <a:pt x="41" y="288"/>
                  <a:pt x="41" y="288"/>
                </a:cubicBezTo>
                <a:cubicBezTo>
                  <a:pt x="40" y="288"/>
                  <a:pt x="40" y="288"/>
                  <a:pt x="40" y="288"/>
                </a:cubicBezTo>
                <a:cubicBezTo>
                  <a:pt x="40" y="289"/>
                  <a:pt x="40" y="289"/>
                  <a:pt x="40" y="289"/>
                </a:cubicBezTo>
                <a:cubicBezTo>
                  <a:pt x="41" y="289"/>
                  <a:pt x="41" y="289"/>
                  <a:pt x="41" y="289"/>
                </a:cubicBezTo>
                <a:cubicBezTo>
                  <a:pt x="43" y="289"/>
                  <a:pt x="43" y="289"/>
                  <a:pt x="43" y="289"/>
                </a:cubicBezTo>
                <a:cubicBezTo>
                  <a:pt x="43" y="288"/>
                  <a:pt x="43" y="288"/>
                  <a:pt x="43" y="288"/>
                </a:cubicBezTo>
                <a:cubicBezTo>
                  <a:pt x="43" y="288"/>
                  <a:pt x="43" y="288"/>
                  <a:pt x="43" y="288"/>
                </a:cubicBezTo>
                <a:cubicBezTo>
                  <a:pt x="44" y="288"/>
                  <a:pt x="44" y="288"/>
                  <a:pt x="44" y="288"/>
                </a:cubicBezTo>
                <a:cubicBezTo>
                  <a:pt x="45" y="289"/>
                  <a:pt x="45" y="289"/>
                  <a:pt x="45" y="289"/>
                </a:cubicBezTo>
                <a:cubicBezTo>
                  <a:pt x="46" y="289"/>
                  <a:pt x="46" y="289"/>
                  <a:pt x="46" y="289"/>
                </a:cubicBezTo>
                <a:cubicBezTo>
                  <a:pt x="46" y="289"/>
                  <a:pt x="46" y="289"/>
                  <a:pt x="46" y="289"/>
                </a:cubicBezTo>
                <a:cubicBezTo>
                  <a:pt x="46" y="290"/>
                  <a:pt x="46" y="290"/>
                  <a:pt x="46" y="290"/>
                </a:cubicBezTo>
                <a:cubicBezTo>
                  <a:pt x="47" y="290"/>
                  <a:pt x="47" y="290"/>
                  <a:pt x="47" y="290"/>
                </a:cubicBezTo>
                <a:cubicBezTo>
                  <a:pt x="46" y="291"/>
                  <a:pt x="46" y="291"/>
                  <a:pt x="46" y="291"/>
                </a:cubicBezTo>
                <a:cubicBezTo>
                  <a:pt x="46" y="292"/>
                  <a:pt x="46" y="292"/>
                  <a:pt x="46" y="292"/>
                </a:cubicBezTo>
                <a:cubicBezTo>
                  <a:pt x="46" y="293"/>
                  <a:pt x="46" y="293"/>
                  <a:pt x="46" y="293"/>
                </a:cubicBezTo>
                <a:cubicBezTo>
                  <a:pt x="47" y="293"/>
                  <a:pt x="47" y="293"/>
                  <a:pt x="47" y="293"/>
                </a:cubicBezTo>
                <a:cubicBezTo>
                  <a:pt x="48" y="293"/>
                  <a:pt x="48" y="293"/>
                  <a:pt x="48" y="293"/>
                </a:cubicBezTo>
                <a:cubicBezTo>
                  <a:pt x="49" y="294"/>
                  <a:pt x="49" y="294"/>
                  <a:pt x="49" y="294"/>
                </a:cubicBezTo>
                <a:cubicBezTo>
                  <a:pt x="50" y="294"/>
                  <a:pt x="50" y="294"/>
                  <a:pt x="50" y="294"/>
                </a:cubicBezTo>
                <a:cubicBezTo>
                  <a:pt x="50" y="294"/>
                  <a:pt x="50" y="294"/>
                  <a:pt x="50" y="294"/>
                </a:cubicBezTo>
                <a:cubicBezTo>
                  <a:pt x="49" y="293"/>
                  <a:pt x="49" y="293"/>
                  <a:pt x="49" y="293"/>
                </a:cubicBezTo>
                <a:cubicBezTo>
                  <a:pt x="48" y="292"/>
                  <a:pt x="48" y="292"/>
                  <a:pt x="48" y="292"/>
                </a:cubicBezTo>
                <a:cubicBezTo>
                  <a:pt x="48" y="292"/>
                  <a:pt x="48" y="292"/>
                  <a:pt x="48" y="292"/>
                </a:cubicBezTo>
                <a:cubicBezTo>
                  <a:pt x="48" y="292"/>
                  <a:pt x="48" y="292"/>
                  <a:pt x="48" y="292"/>
                </a:cubicBezTo>
                <a:cubicBezTo>
                  <a:pt x="49" y="292"/>
                  <a:pt x="49" y="292"/>
                  <a:pt x="49" y="292"/>
                </a:cubicBezTo>
                <a:cubicBezTo>
                  <a:pt x="50" y="292"/>
                  <a:pt x="50" y="292"/>
                  <a:pt x="50" y="292"/>
                </a:cubicBezTo>
                <a:cubicBezTo>
                  <a:pt x="50" y="291"/>
                  <a:pt x="50" y="291"/>
                  <a:pt x="50" y="291"/>
                </a:cubicBezTo>
                <a:cubicBezTo>
                  <a:pt x="49" y="291"/>
                  <a:pt x="49" y="291"/>
                  <a:pt x="49" y="291"/>
                </a:cubicBezTo>
                <a:cubicBezTo>
                  <a:pt x="48" y="290"/>
                  <a:pt x="48" y="290"/>
                  <a:pt x="48" y="290"/>
                </a:cubicBezTo>
                <a:cubicBezTo>
                  <a:pt x="51" y="289"/>
                  <a:pt x="51" y="289"/>
                  <a:pt x="51" y="289"/>
                </a:cubicBezTo>
                <a:cubicBezTo>
                  <a:pt x="52" y="289"/>
                  <a:pt x="52" y="289"/>
                  <a:pt x="52" y="289"/>
                </a:cubicBezTo>
                <a:cubicBezTo>
                  <a:pt x="57" y="290"/>
                  <a:pt x="57" y="290"/>
                  <a:pt x="57" y="290"/>
                </a:cubicBezTo>
                <a:cubicBezTo>
                  <a:pt x="58" y="290"/>
                  <a:pt x="58" y="290"/>
                  <a:pt x="58" y="290"/>
                </a:cubicBezTo>
                <a:cubicBezTo>
                  <a:pt x="57" y="289"/>
                  <a:pt x="57" y="289"/>
                  <a:pt x="57" y="289"/>
                </a:cubicBezTo>
                <a:cubicBezTo>
                  <a:pt x="59" y="289"/>
                  <a:pt x="59" y="289"/>
                  <a:pt x="59" y="289"/>
                </a:cubicBezTo>
                <a:close/>
                <a:moveTo>
                  <a:pt x="58" y="286"/>
                </a:moveTo>
                <a:cubicBezTo>
                  <a:pt x="57" y="286"/>
                  <a:pt x="57" y="286"/>
                  <a:pt x="57" y="286"/>
                </a:cubicBezTo>
                <a:cubicBezTo>
                  <a:pt x="54" y="284"/>
                  <a:pt x="54" y="284"/>
                  <a:pt x="54" y="284"/>
                </a:cubicBezTo>
                <a:cubicBezTo>
                  <a:pt x="52" y="283"/>
                  <a:pt x="52" y="283"/>
                  <a:pt x="52" y="283"/>
                </a:cubicBezTo>
                <a:cubicBezTo>
                  <a:pt x="50" y="283"/>
                  <a:pt x="50" y="283"/>
                  <a:pt x="50" y="283"/>
                </a:cubicBezTo>
                <a:cubicBezTo>
                  <a:pt x="49" y="282"/>
                  <a:pt x="49" y="282"/>
                  <a:pt x="49" y="282"/>
                </a:cubicBezTo>
                <a:cubicBezTo>
                  <a:pt x="48" y="281"/>
                  <a:pt x="48" y="281"/>
                  <a:pt x="48" y="281"/>
                </a:cubicBezTo>
                <a:cubicBezTo>
                  <a:pt x="48" y="280"/>
                  <a:pt x="48" y="280"/>
                  <a:pt x="48" y="280"/>
                </a:cubicBezTo>
                <a:cubicBezTo>
                  <a:pt x="48" y="280"/>
                  <a:pt x="48" y="280"/>
                  <a:pt x="48" y="280"/>
                </a:cubicBezTo>
                <a:cubicBezTo>
                  <a:pt x="50" y="279"/>
                  <a:pt x="50" y="279"/>
                  <a:pt x="50" y="279"/>
                </a:cubicBezTo>
                <a:cubicBezTo>
                  <a:pt x="50" y="278"/>
                  <a:pt x="50" y="278"/>
                  <a:pt x="50" y="278"/>
                </a:cubicBezTo>
                <a:cubicBezTo>
                  <a:pt x="51" y="278"/>
                  <a:pt x="51" y="278"/>
                  <a:pt x="51" y="278"/>
                </a:cubicBezTo>
                <a:cubicBezTo>
                  <a:pt x="52" y="277"/>
                  <a:pt x="52" y="277"/>
                  <a:pt x="52" y="277"/>
                </a:cubicBezTo>
                <a:cubicBezTo>
                  <a:pt x="52" y="275"/>
                  <a:pt x="52" y="275"/>
                  <a:pt x="52" y="275"/>
                </a:cubicBezTo>
                <a:cubicBezTo>
                  <a:pt x="50" y="275"/>
                  <a:pt x="50" y="275"/>
                  <a:pt x="50" y="275"/>
                </a:cubicBezTo>
                <a:cubicBezTo>
                  <a:pt x="49" y="276"/>
                  <a:pt x="49" y="276"/>
                  <a:pt x="49" y="276"/>
                </a:cubicBezTo>
                <a:cubicBezTo>
                  <a:pt x="48" y="277"/>
                  <a:pt x="48" y="277"/>
                  <a:pt x="48" y="277"/>
                </a:cubicBezTo>
                <a:cubicBezTo>
                  <a:pt x="47" y="278"/>
                  <a:pt x="47" y="278"/>
                  <a:pt x="47" y="278"/>
                </a:cubicBezTo>
                <a:cubicBezTo>
                  <a:pt x="46" y="276"/>
                  <a:pt x="46" y="276"/>
                  <a:pt x="46" y="276"/>
                </a:cubicBezTo>
                <a:cubicBezTo>
                  <a:pt x="45" y="275"/>
                  <a:pt x="45" y="275"/>
                  <a:pt x="45" y="275"/>
                </a:cubicBezTo>
                <a:cubicBezTo>
                  <a:pt x="45" y="274"/>
                  <a:pt x="45" y="274"/>
                  <a:pt x="45" y="274"/>
                </a:cubicBezTo>
                <a:cubicBezTo>
                  <a:pt x="46" y="273"/>
                  <a:pt x="46" y="273"/>
                  <a:pt x="46" y="273"/>
                </a:cubicBezTo>
                <a:cubicBezTo>
                  <a:pt x="46" y="272"/>
                  <a:pt x="46" y="272"/>
                  <a:pt x="46" y="272"/>
                </a:cubicBezTo>
                <a:cubicBezTo>
                  <a:pt x="45" y="272"/>
                  <a:pt x="45" y="272"/>
                  <a:pt x="45" y="272"/>
                </a:cubicBezTo>
                <a:cubicBezTo>
                  <a:pt x="45" y="271"/>
                  <a:pt x="45" y="271"/>
                  <a:pt x="45" y="271"/>
                </a:cubicBezTo>
                <a:cubicBezTo>
                  <a:pt x="45" y="270"/>
                  <a:pt x="45" y="270"/>
                  <a:pt x="45" y="270"/>
                </a:cubicBezTo>
                <a:cubicBezTo>
                  <a:pt x="46" y="271"/>
                  <a:pt x="46" y="271"/>
                  <a:pt x="46" y="271"/>
                </a:cubicBezTo>
                <a:cubicBezTo>
                  <a:pt x="47" y="271"/>
                  <a:pt x="47" y="271"/>
                  <a:pt x="47" y="271"/>
                </a:cubicBezTo>
                <a:cubicBezTo>
                  <a:pt x="48" y="271"/>
                  <a:pt x="48" y="271"/>
                  <a:pt x="48" y="271"/>
                </a:cubicBezTo>
                <a:cubicBezTo>
                  <a:pt x="49" y="270"/>
                  <a:pt x="49" y="270"/>
                  <a:pt x="49" y="270"/>
                </a:cubicBezTo>
                <a:cubicBezTo>
                  <a:pt x="49" y="269"/>
                  <a:pt x="49" y="269"/>
                  <a:pt x="49" y="269"/>
                </a:cubicBezTo>
                <a:cubicBezTo>
                  <a:pt x="49" y="268"/>
                  <a:pt x="49" y="268"/>
                  <a:pt x="49" y="268"/>
                </a:cubicBezTo>
                <a:cubicBezTo>
                  <a:pt x="49" y="267"/>
                  <a:pt x="49" y="267"/>
                  <a:pt x="49" y="267"/>
                </a:cubicBezTo>
                <a:cubicBezTo>
                  <a:pt x="50" y="267"/>
                  <a:pt x="50" y="267"/>
                  <a:pt x="50" y="267"/>
                </a:cubicBezTo>
                <a:cubicBezTo>
                  <a:pt x="51" y="268"/>
                  <a:pt x="51" y="268"/>
                  <a:pt x="51" y="268"/>
                </a:cubicBezTo>
                <a:cubicBezTo>
                  <a:pt x="52" y="268"/>
                  <a:pt x="52" y="268"/>
                  <a:pt x="52" y="268"/>
                </a:cubicBezTo>
                <a:cubicBezTo>
                  <a:pt x="53" y="267"/>
                  <a:pt x="53" y="267"/>
                  <a:pt x="53" y="267"/>
                </a:cubicBezTo>
                <a:cubicBezTo>
                  <a:pt x="55" y="274"/>
                  <a:pt x="55" y="274"/>
                  <a:pt x="55" y="274"/>
                </a:cubicBezTo>
                <a:cubicBezTo>
                  <a:pt x="55" y="274"/>
                  <a:pt x="55" y="274"/>
                  <a:pt x="55" y="274"/>
                </a:cubicBezTo>
                <a:cubicBezTo>
                  <a:pt x="55" y="274"/>
                  <a:pt x="55" y="274"/>
                  <a:pt x="55" y="274"/>
                </a:cubicBezTo>
                <a:cubicBezTo>
                  <a:pt x="58" y="286"/>
                  <a:pt x="58" y="286"/>
                  <a:pt x="58" y="286"/>
                </a:cubicBezTo>
                <a:close/>
                <a:moveTo>
                  <a:pt x="53" y="265"/>
                </a:moveTo>
                <a:cubicBezTo>
                  <a:pt x="51" y="263"/>
                  <a:pt x="51" y="263"/>
                  <a:pt x="51" y="263"/>
                </a:cubicBezTo>
                <a:cubicBezTo>
                  <a:pt x="50" y="263"/>
                  <a:pt x="50" y="263"/>
                  <a:pt x="50" y="263"/>
                </a:cubicBezTo>
                <a:cubicBezTo>
                  <a:pt x="50" y="262"/>
                  <a:pt x="50" y="262"/>
                  <a:pt x="50" y="262"/>
                </a:cubicBezTo>
                <a:cubicBezTo>
                  <a:pt x="42" y="262"/>
                  <a:pt x="42" y="262"/>
                  <a:pt x="42" y="262"/>
                </a:cubicBezTo>
                <a:cubicBezTo>
                  <a:pt x="37" y="263"/>
                  <a:pt x="37" y="263"/>
                  <a:pt x="37" y="263"/>
                </a:cubicBezTo>
                <a:cubicBezTo>
                  <a:pt x="36" y="263"/>
                  <a:pt x="36" y="263"/>
                  <a:pt x="36" y="263"/>
                </a:cubicBezTo>
                <a:cubicBezTo>
                  <a:pt x="33" y="262"/>
                  <a:pt x="33" y="262"/>
                  <a:pt x="33" y="262"/>
                </a:cubicBezTo>
                <a:cubicBezTo>
                  <a:pt x="32" y="260"/>
                  <a:pt x="32" y="260"/>
                  <a:pt x="32" y="260"/>
                </a:cubicBezTo>
                <a:cubicBezTo>
                  <a:pt x="31" y="258"/>
                  <a:pt x="31" y="258"/>
                  <a:pt x="31" y="258"/>
                </a:cubicBezTo>
                <a:cubicBezTo>
                  <a:pt x="30" y="256"/>
                  <a:pt x="30" y="256"/>
                  <a:pt x="30" y="256"/>
                </a:cubicBezTo>
                <a:cubicBezTo>
                  <a:pt x="30" y="253"/>
                  <a:pt x="30" y="253"/>
                  <a:pt x="30" y="253"/>
                </a:cubicBezTo>
                <a:cubicBezTo>
                  <a:pt x="30" y="251"/>
                  <a:pt x="30" y="251"/>
                  <a:pt x="30" y="251"/>
                </a:cubicBezTo>
                <a:cubicBezTo>
                  <a:pt x="28" y="251"/>
                  <a:pt x="28" y="251"/>
                  <a:pt x="28" y="251"/>
                </a:cubicBezTo>
                <a:cubicBezTo>
                  <a:pt x="26" y="252"/>
                  <a:pt x="26" y="252"/>
                  <a:pt x="26" y="252"/>
                </a:cubicBezTo>
                <a:cubicBezTo>
                  <a:pt x="25" y="253"/>
                  <a:pt x="25" y="253"/>
                  <a:pt x="25" y="253"/>
                </a:cubicBezTo>
                <a:cubicBezTo>
                  <a:pt x="24" y="253"/>
                  <a:pt x="24" y="253"/>
                  <a:pt x="24" y="253"/>
                </a:cubicBezTo>
                <a:cubicBezTo>
                  <a:pt x="21" y="248"/>
                  <a:pt x="21" y="248"/>
                  <a:pt x="21" y="248"/>
                </a:cubicBezTo>
                <a:cubicBezTo>
                  <a:pt x="21" y="246"/>
                  <a:pt x="21" y="246"/>
                  <a:pt x="21" y="246"/>
                </a:cubicBezTo>
                <a:cubicBezTo>
                  <a:pt x="22" y="240"/>
                  <a:pt x="22" y="240"/>
                  <a:pt x="22" y="240"/>
                </a:cubicBezTo>
                <a:cubicBezTo>
                  <a:pt x="23" y="238"/>
                  <a:pt x="23" y="238"/>
                  <a:pt x="23" y="238"/>
                </a:cubicBezTo>
                <a:cubicBezTo>
                  <a:pt x="25" y="236"/>
                  <a:pt x="25" y="236"/>
                  <a:pt x="25" y="236"/>
                </a:cubicBezTo>
                <a:cubicBezTo>
                  <a:pt x="26" y="233"/>
                  <a:pt x="26" y="233"/>
                  <a:pt x="26" y="233"/>
                </a:cubicBezTo>
                <a:cubicBezTo>
                  <a:pt x="25" y="230"/>
                  <a:pt x="25" y="230"/>
                  <a:pt x="25" y="230"/>
                </a:cubicBezTo>
                <a:cubicBezTo>
                  <a:pt x="24" y="227"/>
                  <a:pt x="24" y="227"/>
                  <a:pt x="24" y="227"/>
                </a:cubicBezTo>
                <a:cubicBezTo>
                  <a:pt x="25" y="224"/>
                  <a:pt x="25" y="224"/>
                  <a:pt x="25" y="224"/>
                </a:cubicBezTo>
                <a:cubicBezTo>
                  <a:pt x="26" y="223"/>
                  <a:pt x="26" y="223"/>
                  <a:pt x="26" y="223"/>
                </a:cubicBezTo>
                <a:cubicBezTo>
                  <a:pt x="25" y="220"/>
                  <a:pt x="25" y="220"/>
                  <a:pt x="25" y="220"/>
                </a:cubicBezTo>
                <a:cubicBezTo>
                  <a:pt x="25" y="218"/>
                  <a:pt x="25" y="218"/>
                  <a:pt x="25" y="218"/>
                </a:cubicBezTo>
                <a:cubicBezTo>
                  <a:pt x="26" y="217"/>
                  <a:pt x="26" y="217"/>
                  <a:pt x="26" y="217"/>
                </a:cubicBezTo>
                <a:cubicBezTo>
                  <a:pt x="25" y="214"/>
                  <a:pt x="25" y="214"/>
                  <a:pt x="25" y="214"/>
                </a:cubicBezTo>
                <a:cubicBezTo>
                  <a:pt x="25" y="211"/>
                  <a:pt x="25" y="211"/>
                  <a:pt x="25" y="211"/>
                </a:cubicBezTo>
                <a:cubicBezTo>
                  <a:pt x="24" y="209"/>
                  <a:pt x="24" y="209"/>
                  <a:pt x="24" y="209"/>
                </a:cubicBezTo>
                <a:cubicBezTo>
                  <a:pt x="24" y="208"/>
                  <a:pt x="24" y="208"/>
                  <a:pt x="24" y="208"/>
                </a:cubicBezTo>
                <a:cubicBezTo>
                  <a:pt x="26" y="207"/>
                  <a:pt x="26" y="207"/>
                  <a:pt x="26" y="207"/>
                </a:cubicBezTo>
                <a:cubicBezTo>
                  <a:pt x="26" y="205"/>
                  <a:pt x="26" y="205"/>
                  <a:pt x="26" y="205"/>
                </a:cubicBezTo>
                <a:cubicBezTo>
                  <a:pt x="24" y="203"/>
                  <a:pt x="24" y="203"/>
                  <a:pt x="24" y="203"/>
                </a:cubicBezTo>
                <a:cubicBezTo>
                  <a:pt x="22" y="202"/>
                  <a:pt x="22" y="202"/>
                  <a:pt x="22" y="202"/>
                </a:cubicBezTo>
                <a:cubicBezTo>
                  <a:pt x="21" y="202"/>
                  <a:pt x="21" y="202"/>
                  <a:pt x="21" y="202"/>
                </a:cubicBezTo>
                <a:cubicBezTo>
                  <a:pt x="21" y="202"/>
                  <a:pt x="21" y="202"/>
                  <a:pt x="21" y="202"/>
                </a:cubicBezTo>
                <a:cubicBezTo>
                  <a:pt x="20" y="201"/>
                  <a:pt x="20" y="201"/>
                  <a:pt x="20" y="201"/>
                </a:cubicBezTo>
                <a:cubicBezTo>
                  <a:pt x="20" y="200"/>
                  <a:pt x="20" y="200"/>
                  <a:pt x="20" y="200"/>
                </a:cubicBezTo>
                <a:cubicBezTo>
                  <a:pt x="23" y="200"/>
                  <a:pt x="23" y="200"/>
                  <a:pt x="23" y="200"/>
                </a:cubicBezTo>
                <a:cubicBezTo>
                  <a:pt x="24" y="198"/>
                  <a:pt x="24" y="198"/>
                  <a:pt x="24" y="198"/>
                </a:cubicBezTo>
                <a:cubicBezTo>
                  <a:pt x="24" y="197"/>
                  <a:pt x="24" y="197"/>
                  <a:pt x="24" y="197"/>
                </a:cubicBezTo>
                <a:cubicBezTo>
                  <a:pt x="24" y="197"/>
                  <a:pt x="24" y="197"/>
                  <a:pt x="24" y="197"/>
                </a:cubicBezTo>
                <a:cubicBezTo>
                  <a:pt x="23" y="197"/>
                  <a:pt x="23" y="197"/>
                  <a:pt x="23" y="197"/>
                </a:cubicBezTo>
                <a:cubicBezTo>
                  <a:pt x="21" y="197"/>
                  <a:pt x="21" y="197"/>
                  <a:pt x="21" y="197"/>
                </a:cubicBezTo>
                <a:cubicBezTo>
                  <a:pt x="21" y="194"/>
                  <a:pt x="21" y="194"/>
                  <a:pt x="21" y="194"/>
                </a:cubicBezTo>
                <a:cubicBezTo>
                  <a:pt x="20" y="192"/>
                  <a:pt x="20" y="192"/>
                  <a:pt x="20" y="192"/>
                </a:cubicBezTo>
                <a:cubicBezTo>
                  <a:pt x="20" y="190"/>
                  <a:pt x="20" y="190"/>
                  <a:pt x="20" y="190"/>
                </a:cubicBezTo>
                <a:cubicBezTo>
                  <a:pt x="20" y="188"/>
                  <a:pt x="20" y="188"/>
                  <a:pt x="20" y="188"/>
                </a:cubicBezTo>
                <a:cubicBezTo>
                  <a:pt x="18" y="187"/>
                  <a:pt x="18" y="187"/>
                  <a:pt x="18" y="187"/>
                </a:cubicBezTo>
                <a:cubicBezTo>
                  <a:pt x="17" y="185"/>
                  <a:pt x="17" y="185"/>
                  <a:pt x="17" y="185"/>
                </a:cubicBezTo>
                <a:cubicBezTo>
                  <a:pt x="17" y="180"/>
                  <a:pt x="17" y="180"/>
                  <a:pt x="17" y="180"/>
                </a:cubicBezTo>
                <a:cubicBezTo>
                  <a:pt x="18" y="179"/>
                  <a:pt x="18" y="179"/>
                  <a:pt x="18" y="179"/>
                </a:cubicBezTo>
                <a:cubicBezTo>
                  <a:pt x="19" y="178"/>
                  <a:pt x="19" y="178"/>
                  <a:pt x="19" y="178"/>
                </a:cubicBezTo>
                <a:cubicBezTo>
                  <a:pt x="18" y="177"/>
                  <a:pt x="18" y="177"/>
                  <a:pt x="18" y="177"/>
                </a:cubicBezTo>
                <a:cubicBezTo>
                  <a:pt x="17" y="176"/>
                  <a:pt x="17" y="176"/>
                  <a:pt x="17" y="176"/>
                </a:cubicBezTo>
                <a:cubicBezTo>
                  <a:pt x="16" y="173"/>
                  <a:pt x="16" y="173"/>
                  <a:pt x="16" y="173"/>
                </a:cubicBezTo>
                <a:cubicBezTo>
                  <a:pt x="16" y="169"/>
                  <a:pt x="16" y="169"/>
                  <a:pt x="16" y="169"/>
                </a:cubicBezTo>
                <a:cubicBezTo>
                  <a:pt x="16" y="164"/>
                  <a:pt x="16" y="164"/>
                  <a:pt x="16" y="164"/>
                </a:cubicBezTo>
                <a:cubicBezTo>
                  <a:pt x="15" y="162"/>
                  <a:pt x="15" y="162"/>
                  <a:pt x="15" y="162"/>
                </a:cubicBezTo>
                <a:cubicBezTo>
                  <a:pt x="15" y="160"/>
                  <a:pt x="15" y="160"/>
                  <a:pt x="15" y="160"/>
                </a:cubicBezTo>
                <a:cubicBezTo>
                  <a:pt x="17" y="157"/>
                  <a:pt x="17" y="157"/>
                  <a:pt x="17" y="157"/>
                </a:cubicBezTo>
                <a:cubicBezTo>
                  <a:pt x="18" y="154"/>
                  <a:pt x="18" y="154"/>
                  <a:pt x="18" y="154"/>
                </a:cubicBezTo>
                <a:cubicBezTo>
                  <a:pt x="19" y="153"/>
                  <a:pt x="19" y="153"/>
                  <a:pt x="19" y="153"/>
                </a:cubicBezTo>
                <a:cubicBezTo>
                  <a:pt x="20" y="152"/>
                  <a:pt x="20" y="152"/>
                  <a:pt x="20" y="152"/>
                </a:cubicBezTo>
                <a:cubicBezTo>
                  <a:pt x="16" y="144"/>
                  <a:pt x="16" y="144"/>
                  <a:pt x="16" y="144"/>
                </a:cubicBezTo>
                <a:cubicBezTo>
                  <a:pt x="17" y="142"/>
                  <a:pt x="17" y="142"/>
                  <a:pt x="17" y="142"/>
                </a:cubicBezTo>
                <a:cubicBezTo>
                  <a:pt x="17" y="140"/>
                  <a:pt x="17" y="140"/>
                  <a:pt x="17" y="140"/>
                </a:cubicBezTo>
                <a:cubicBezTo>
                  <a:pt x="17" y="136"/>
                  <a:pt x="17" y="136"/>
                  <a:pt x="17" y="136"/>
                </a:cubicBezTo>
                <a:cubicBezTo>
                  <a:pt x="18" y="133"/>
                  <a:pt x="18" y="133"/>
                  <a:pt x="18" y="133"/>
                </a:cubicBezTo>
                <a:cubicBezTo>
                  <a:pt x="20" y="132"/>
                  <a:pt x="20" y="132"/>
                  <a:pt x="20" y="132"/>
                </a:cubicBezTo>
                <a:cubicBezTo>
                  <a:pt x="19" y="129"/>
                  <a:pt x="19" y="129"/>
                  <a:pt x="19" y="129"/>
                </a:cubicBezTo>
                <a:cubicBezTo>
                  <a:pt x="18" y="127"/>
                  <a:pt x="18" y="127"/>
                  <a:pt x="18" y="127"/>
                </a:cubicBezTo>
                <a:cubicBezTo>
                  <a:pt x="17" y="126"/>
                  <a:pt x="17" y="126"/>
                  <a:pt x="17" y="126"/>
                </a:cubicBezTo>
                <a:cubicBezTo>
                  <a:pt x="19" y="124"/>
                  <a:pt x="19" y="124"/>
                  <a:pt x="19" y="124"/>
                </a:cubicBezTo>
                <a:cubicBezTo>
                  <a:pt x="18" y="122"/>
                  <a:pt x="18" y="122"/>
                  <a:pt x="18" y="122"/>
                </a:cubicBezTo>
                <a:cubicBezTo>
                  <a:pt x="19" y="119"/>
                  <a:pt x="19" y="119"/>
                  <a:pt x="19" y="119"/>
                </a:cubicBezTo>
                <a:cubicBezTo>
                  <a:pt x="21" y="119"/>
                  <a:pt x="21" y="119"/>
                  <a:pt x="21" y="119"/>
                </a:cubicBezTo>
                <a:cubicBezTo>
                  <a:pt x="21" y="116"/>
                  <a:pt x="21" y="116"/>
                  <a:pt x="21" y="116"/>
                </a:cubicBezTo>
                <a:cubicBezTo>
                  <a:pt x="20" y="111"/>
                  <a:pt x="20" y="111"/>
                  <a:pt x="20" y="111"/>
                </a:cubicBezTo>
                <a:cubicBezTo>
                  <a:pt x="19" y="110"/>
                  <a:pt x="19" y="110"/>
                  <a:pt x="19" y="110"/>
                </a:cubicBezTo>
                <a:cubicBezTo>
                  <a:pt x="19" y="107"/>
                  <a:pt x="19" y="107"/>
                  <a:pt x="19" y="107"/>
                </a:cubicBezTo>
                <a:cubicBezTo>
                  <a:pt x="18" y="105"/>
                  <a:pt x="18" y="105"/>
                  <a:pt x="18" y="105"/>
                </a:cubicBezTo>
                <a:cubicBezTo>
                  <a:pt x="16" y="102"/>
                  <a:pt x="16" y="102"/>
                  <a:pt x="16" y="102"/>
                </a:cubicBezTo>
                <a:cubicBezTo>
                  <a:pt x="16" y="101"/>
                  <a:pt x="16" y="101"/>
                  <a:pt x="16" y="101"/>
                </a:cubicBezTo>
                <a:cubicBezTo>
                  <a:pt x="15" y="100"/>
                  <a:pt x="15" y="100"/>
                  <a:pt x="15" y="100"/>
                </a:cubicBezTo>
                <a:cubicBezTo>
                  <a:pt x="14" y="97"/>
                  <a:pt x="14" y="97"/>
                  <a:pt x="14" y="97"/>
                </a:cubicBezTo>
                <a:cubicBezTo>
                  <a:pt x="15" y="94"/>
                  <a:pt x="15" y="94"/>
                  <a:pt x="15" y="94"/>
                </a:cubicBezTo>
                <a:cubicBezTo>
                  <a:pt x="16" y="93"/>
                  <a:pt x="16" y="93"/>
                  <a:pt x="16" y="93"/>
                </a:cubicBezTo>
                <a:cubicBezTo>
                  <a:pt x="16" y="90"/>
                  <a:pt x="16" y="90"/>
                  <a:pt x="16" y="90"/>
                </a:cubicBezTo>
                <a:cubicBezTo>
                  <a:pt x="17" y="89"/>
                  <a:pt x="17" y="89"/>
                  <a:pt x="17" y="89"/>
                </a:cubicBezTo>
                <a:cubicBezTo>
                  <a:pt x="17" y="86"/>
                  <a:pt x="17" y="86"/>
                  <a:pt x="17" y="86"/>
                </a:cubicBezTo>
                <a:cubicBezTo>
                  <a:pt x="16" y="84"/>
                  <a:pt x="16" y="84"/>
                  <a:pt x="16" y="84"/>
                </a:cubicBezTo>
                <a:cubicBezTo>
                  <a:pt x="16" y="80"/>
                  <a:pt x="16" y="80"/>
                  <a:pt x="16" y="80"/>
                </a:cubicBezTo>
                <a:cubicBezTo>
                  <a:pt x="17" y="79"/>
                  <a:pt x="17" y="79"/>
                  <a:pt x="17" y="79"/>
                </a:cubicBezTo>
                <a:cubicBezTo>
                  <a:pt x="17" y="75"/>
                  <a:pt x="17" y="75"/>
                  <a:pt x="17" y="75"/>
                </a:cubicBezTo>
                <a:cubicBezTo>
                  <a:pt x="19" y="73"/>
                  <a:pt x="19" y="73"/>
                  <a:pt x="19" y="73"/>
                </a:cubicBezTo>
                <a:cubicBezTo>
                  <a:pt x="20" y="69"/>
                  <a:pt x="20" y="69"/>
                  <a:pt x="20" y="69"/>
                </a:cubicBezTo>
                <a:cubicBezTo>
                  <a:pt x="22" y="67"/>
                  <a:pt x="22" y="67"/>
                  <a:pt x="22" y="67"/>
                </a:cubicBezTo>
                <a:cubicBezTo>
                  <a:pt x="23" y="67"/>
                  <a:pt x="23" y="67"/>
                  <a:pt x="23" y="67"/>
                </a:cubicBezTo>
                <a:cubicBezTo>
                  <a:pt x="24" y="65"/>
                  <a:pt x="24" y="65"/>
                  <a:pt x="24" y="65"/>
                </a:cubicBezTo>
                <a:cubicBezTo>
                  <a:pt x="23" y="65"/>
                  <a:pt x="23" y="65"/>
                  <a:pt x="23" y="65"/>
                </a:cubicBezTo>
                <a:cubicBezTo>
                  <a:pt x="23" y="63"/>
                  <a:pt x="23" y="63"/>
                  <a:pt x="23" y="63"/>
                </a:cubicBezTo>
                <a:cubicBezTo>
                  <a:pt x="23" y="62"/>
                  <a:pt x="23" y="62"/>
                  <a:pt x="23" y="62"/>
                </a:cubicBezTo>
                <a:cubicBezTo>
                  <a:pt x="22" y="61"/>
                  <a:pt x="22" y="61"/>
                  <a:pt x="22" y="61"/>
                </a:cubicBezTo>
                <a:cubicBezTo>
                  <a:pt x="22" y="60"/>
                  <a:pt x="22" y="60"/>
                  <a:pt x="22" y="60"/>
                </a:cubicBezTo>
                <a:cubicBezTo>
                  <a:pt x="24" y="59"/>
                  <a:pt x="24" y="59"/>
                  <a:pt x="24" y="59"/>
                </a:cubicBezTo>
                <a:cubicBezTo>
                  <a:pt x="24" y="58"/>
                  <a:pt x="24" y="58"/>
                  <a:pt x="24" y="58"/>
                </a:cubicBezTo>
                <a:cubicBezTo>
                  <a:pt x="22" y="56"/>
                  <a:pt x="22" y="56"/>
                  <a:pt x="22" y="56"/>
                </a:cubicBezTo>
                <a:cubicBezTo>
                  <a:pt x="22" y="54"/>
                  <a:pt x="22" y="54"/>
                  <a:pt x="22" y="54"/>
                </a:cubicBezTo>
                <a:cubicBezTo>
                  <a:pt x="23" y="53"/>
                  <a:pt x="23" y="53"/>
                  <a:pt x="23" y="53"/>
                </a:cubicBezTo>
                <a:cubicBezTo>
                  <a:pt x="22" y="51"/>
                  <a:pt x="22" y="51"/>
                  <a:pt x="22" y="51"/>
                </a:cubicBezTo>
                <a:cubicBezTo>
                  <a:pt x="21" y="50"/>
                  <a:pt x="21" y="50"/>
                  <a:pt x="21" y="50"/>
                </a:cubicBezTo>
                <a:cubicBezTo>
                  <a:pt x="22" y="49"/>
                  <a:pt x="22" y="49"/>
                  <a:pt x="22" y="49"/>
                </a:cubicBezTo>
                <a:cubicBezTo>
                  <a:pt x="29" y="45"/>
                  <a:pt x="29" y="45"/>
                  <a:pt x="29" y="45"/>
                </a:cubicBezTo>
                <a:cubicBezTo>
                  <a:pt x="31" y="38"/>
                  <a:pt x="31" y="38"/>
                  <a:pt x="31" y="38"/>
                </a:cubicBezTo>
                <a:cubicBezTo>
                  <a:pt x="30" y="36"/>
                  <a:pt x="30" y="36"/>
                  <a:pt x="30" y="36"/>
                </a:cubicBezTo>
                <a:cubicBezTo>
                  <a:pt x="29" y="36"/>
                  <a:pt x="29" y="36"/>
                  <a:pt x="29" y="36"/>
                </a:cubicBezTo>
                <a:cubicBezTo>
                  <a:pt x="28" y="37"/>
                  <a:pt x="28" y="37"/>
                  <a:pt x="28" y="37"/>
                </a:cubicBezTo>
                <a:cubicBezTo>
                  <a:pt x="27" y="37"/>
                  <a:pt x="27" y="37"/>
                  <a:pt x="27" y="37"/>
                </a:cubicBezTo>
                <a:cubicBezTo>
                  <a:pt x="22" y="25"/>
                  <a:pt x="22" y="25"/>
                  <a:pt x="22" y="25"/>
                </a:cubicBezTo>
                <a:cubicBezTo>
                  <a:pt x="19" y="22"/>
                  <a:pt x="19" y="22"/>
                  <a:pt x="19" y="22"/>
                </a:cubicBezTo>
                <a:cubicBezTo>
                  <a:pt x="18" y="20"/>
                  <a:pt x="18" y="20"/>
                  <a:pt x="18" y="20"/>
                </a:cubicBezTo>
                <a:cubicBezTo>
                  <a:pt x="20" y="17"/>
                  <a:pt x="20" y="17"/>
                  <a:pt x="20" y="17"/>
                </a:cubicBezTo>
                <a:cubicBezTo>
                  <a:pt x="19" y="16"/>
                  <a:pt x="19" y="16"/>
                  <a:pt x="19" y="16"/>
                </a:cubicBezTo>
                <a:cubicBezTo>
                  <a:pt x="20" y="14"/>
                  <a:pt x="20" y="14"/>
                  <a:pt x="20" y="14"/>
                </a:cubicBezTo>
                <a:cubicBezTo>
                  <a:pt x="20" y="13"/>
                  <a:pt x="20" y="13"/>
                  <a:pt x="20" y="13"/>
                </a:cubicBezTo>
                <a:cubicBezTo>
                  <a:pt x="17" y="11"/>
                  <a:pt x="17" y="11"/>
                  <a:pt x="17" y="11"/>
                </a:cubicBezTo>
                <a:cubicBezTo>
                  <a:pt x="16" y="9"/>
                  <a:pt x="16" y="9"/>
                  <a:pt x="16" y="9"/>
                </a:cubicBezTo>
                <a:cubicBezTo>
                  <a:pt x="15" y="7"/>
                  <a:pt x="15" y="7"/>
                  <a:pt x="15" y="7"/>
                </a:cubicBezTo>
                <a:cubicBezTo>
                  <a:pt x="15" y="6"/>
                  <a:pt x="15" y="6"/>
                  <a:pt x="15" y="6"/>
                </a:cubicBezTo>
                <a:cubicBezTo>
                  <a:pt x="15" y="5"/>
                  <a:pt x="15" y="5"/>
                  <a:pt x="15" y="5"/>
                </a:cubicBezTo>
                <a:cubicBezTo>
                  <a:pt x="15" y="4"/>
                  <a:pt x="15" y="4"/>
                  <a:pt x="15" y="4"/>
                </a:cubicBezTo>
                <a:cubicBezTo>
                  <a:pt x="15" y="3"/>
                  <a:pt x="15" y="3"/>
                  <a:pt x="15" y="3"/>
                </a:cubicBezTo>
                <a:cubicBezTo>
                  <a:pt x="13" y="2"/>
                  <a:pt x="13" y="2"/>
                  <a:pt x="13" y="2"/>
                </a:cubicBezTo>
                <a:cubicBezTo>
                  <a:pt x="13" y="1"/>
                  <a:pt x="13" y="1"/>
                  <a:pt x="13" y="1"/>
                </a:cubicBezTo>
                <a:cubicBezTo>
                  <a:pt x="12" y="0"/>
                  <a:pt x="12" y="0"/>
                  <a:pt x="12" y="0"/>
                </a:cubicBezTo>
                <a:cubicBezTo>
                  <a:pt x="11" y="1"/>
                  <a:pt x="11" y="1"/>
                  <a:pt x="11" y="1"/>
                </a:cubicBezTo>
                <a:cubicBezTo>
                  <a:pt x="11" y="3"/>
                  <a:pt x="11" y="3"/>
                  <a:pt x="11" y="3"/>
                </a:cubicBezTo>
                <a:cubicBezTo>
                  <a:pt x="12" y="4"/>
                  <a:pt x="12" y="4"/>
                  <a:pt x="12" y="4"/>
                </a:cubicBezTo>
                <a:cubicBezTo>
                  <a:pt x="12" y="5"/>
                  <a:pt x="12" y="5"/>
                  <a:pt x="12" y="5"/>
                </a:cubicBezTo>
                <a:cubicBezTo>
                  <a:pt x="10" y="5"/>
                  <a:pt x="10" y="5"/>
                  <a:pt x="10" y="5"/>
                </a:cubicBezTo>
                <a:cubicBezTo>
                  <a:pt x="10" y="5"/>
                  <a:pt x="10" y="5"/>
                  <a:pt x="10" y="5"/>
                </a:cubicBezTo>
                <a:cubicBezTo>
                  <a:pt x="8" y="6"/>
                  <a:pt x="8" y="6"/>
                  <a:pt x="8" y="6"/>
                </a:cubicBezTo>
                <a:cubicBezTo>
                  <a:pt x="7" y="7"/>
                  <a:pt x="7" y="7"/>
                  <a:pt x="7" y="7"/>
                </a:cubicBezTo>
                <a:cubicBezTo>
                  <a:pt x="7" y="7"/>
                  <a:pt x="7" y="7"/>
                  <a:pt x="7" y="7"/>
                </a:cubicBezTo>
                <a:cubicBezTo>
                  <a:pt x="7" y="9"/>
                  <a:pt x="7" y="9"/>
                  <a:pt x="7" y="9"/>
                </a:cubicBezTo>
                <a:cubicBezTo>
                  <a:pt x="7" y="11"/>
                  <a:pt x="7" y="11"/>
                  <a:pt x="7" y="11"/>
                </a:cubicBezTo>
                <a:cubicBezTo>
                  <a:pt x="8" y="12"/>
                  <a:pt x="8" y="12"/>
                  <a:pt x="8" y="12"/>
                </a:cubicBezTo>
                <a:cubicBezTo>
                  <a:pt x="9" y="17"/>
                  <a:pt x="9" y="17"/>
                  <a:pt x="9" y="17"/>
                </a:cubicBezTo>
                <a:cubicBezTo>
                  <a:pt x="9" y="19"/>
                  <a:pt x="9" y="19"/>
                  <a:pt x="9" y="19"/>
                </a:cubicBezTo>
                <a:cubicBezTo>
                  <a:pt x="8" y="20"/>
                  <a:pt x="8" y="20"/>
                  <a:pt x="8" y="20"/>
                </a:cubicBezTo>
                <a:cubicBezTo>
                  <a:pt x="8" y="21"/>
                  <a:pt x="8" y="21"/>
                  <a:pt x="8" y="21"/>
                </a:cubicBezTo>
                <a:cubicBezTo>
                  <a:pt x="8" y="23"/>
                  <a:pt x="8" y="23"/>
                  <a:pt x="8" y="23"/>
                </a:cubicBezTo>
                <a:cubicBezTo>
                  <a:pt x="9" y="25"/>
                  <a:pt x="9" y="25"/>
                  <a:pt x="9" y="25"/>
                </a:cubicBezTo>
                <a:cubicBezTo>
                  <a:pt x="10" y="27"/>
                  <a:pt x="10" y="27"/>
                  <a:pt x="10" y="27"/>
                </a:cubicBezTo>
                <a:cubicBezTo>
                  <a:pt x="10" y="31"/>
                  <a:pt x="10" y="31"/>
                  <a:pt x="10" y="31"/>
                </a:cubicBezTo>
                <a:cubicBezTo>
                  <a:pt x="9" y="32"/>
                  <a:pt x="9" y="32"/>
                  <a:pt x="9" y="32"/>
                </a:cubicBezTo>
                <a:cubicBezTo>
                  <a:pt x="9" y="32"/>
                  <a:pt x="9" y="32"/>
                  <a:pt x="9" y="32"/>
                </a:cubicBezTo>
                <a:cubicBezTo>
                  <a:pt x="9" y="37"/>
                  <a:pt x="9" y="37"/>
                  <a:pt x="9" y="37"/>
                </a:cubicBezTo>
                <a:cubicBezTo>
                  <a:pt x="9" y="38"/>
                  <a:pt x="9" y="38"/>
                  <a:pt x="9" y="38"/>
                </a:cubicBezTo>
                <a:cubicBezTo>
                  <a:pt x="8" y="38"/>
                  <a:pt x="8" y="38"/>
                  <a:pt x="8" y="38"/>
                </a:cubicBezTo>
                <a:cubicBezTo>
                  <a:pt x="7" y="39"/>
                  <a:pt x="7" y="39"/>
                  <a:pt x="7" y="39"/>
                </a:cubicBezTo>
                <a:cubicBezTo>
                  <a:pt x="8" y="41"/>
                  <a:pt x="8" y="41"/>
                  <a:pt x="8" y="41"/>
                </a:cubicBezTo>
                <a:cubicBezTo>
                  <a:pt x="8" y="42"/>
                  <a:pt x="8" y="42"/>
                  <a:pt x="8" y="42"/>
                </a:cubicBezTo>
                <a:cubicBezTo>
                  <a:pt x="9" y="41"/>
                  <a:pt x="9" y="41"/>
                  <a:pt x="9" y="41"/>
                </a:cubicBezTo>
                <a:cubicBezTo>
                  <a:pt x="9" y="42"/>
                  <a:pt x="9" y="42"/>
                  <a:pt x="9" y="42"/>
                </a:cubicBezTo>
                <a:cubicBezTo>
                  <a:pt x="8" y="43"/>
                  <a:pt x="8" y="43"/>
                  <a:pt x="8" y="43"/>
                </a:cubicBezTo>
                <a:cubicBezTo>
                  <a:pt x="9" y="49"/>
                  <a:pt x="9" y="49"/>
                  <a:pt x="9" y="49"/>
                </a:cubicBezTo>
                <a:cubicBezTo>
                  <a:pt x="9" y="52"/>
                  <a:pt x="9" y="52"/>
                  <a:pt x="9" y="52"/>
                </a:cubicBezTo>
                <a:cubicBezTo>
                  <a:pt x="10" y="54"/>
                  <a:pt x="10" y="54"/>
                  <a:pt x="10" y="54"/>
                </a:cubicBezTo>
                <a:cubicBezTo>
                  <a:pt x="9" y="55"/>
                  <a:pt x="9" y="55"/>
                  <a:pt x="9" y="55"/>
                </a:cubicBezTo>
                <a:cubicBezTo>
                  <a:pt x="8" y="57"/>
                  <a:pt x="8" y="57"/>
                  <a:pt x="8" y="57"/>
                </a:cubicBezTo>
                <a:cubicBezTo>
                  <a:pt x="8" y="59"/>
                  <a:pt x="8" y="59"/>
                  <a:pt x="8" y="59"/>
                </a:cubicBezTo>
                <a:cubicBezTo>
                  <a:pt x="10" y="61"/>
                  <a:pt x="10" y="61"/>
                  <a:pt x="10" y="61"/>
                </a:cubicBezTo>
                <a:cubicBezTo>
                  <a:pt x="9" y="62"/>
                  <a:pt x="9" y="62"/>
                  <a:pt x="9" y="62"/>
                </a:cubicBezTo>
                <a:cubicBezTo>
                  <a:pt x="9" y="65"/>
                  <a:pt x="9" y="65"/>
                  <a:pt x="9" y="65"/>
                </a:cubicBezTo>
                <a:cubicBezTo>
                  <a:pt x="8" y="66"/>
                  <a:pt x="8" y="66"/>
                  <a:pt x="8" y="66"/>
                </a:cubicBezTo>
                <a:cubicBezTo>
                  <a:pt x="8" y="68"/>
                  <a:pt x="8" y="68"/>
                  <a:pt x="8" y="68"/>
                </a:cubicBezTo>
                <a:cubicBezTo>
                  <a:pt x="9" y="69"/>
                  <a:pt x="9" y="69"/>
                  <a:pt x="9" y="69"/>
                </a:cubicBezTo>
                <a:cubicBezTo>
                  <a:pt x="9" y="70"/>
                  <a:pt x="9" y="70"/>
                  <a:pt x="9" y="70"/>
                </a:cubicBezTo>
                <a:cubicBezTo>
                  <a:pt x="8" y="71"/>
                  <a:pt x="8" y="71"/>
                  <a:pt x="8" y="71"/>
                </a:cubicBezTo>
                <a:cubicBezTo>
                  <a:pt x="8" y="73"/>
                  <a:pt x="8" y="73"/>
                  <a:pt x="8" y="73"/>
                </a:cubicBezTo>
                <a:cubicBezTo>
                  <a:pt x="7" y="74"/>
                  <a:pt x="7" y="74"/>
                  <a:pt x="7" y="74"/>
                </a:cubicBezTo>
                <a:cubicBezTo>
                  <a:pt x="7" y="76"/>
                  <a:pt x="7" y="76"/>
                  <a:pt x="7" y="76"/>
                </a:cubicBezTo>
                <a:cubicBezTo>
                  <a:pt x="7" y="77"/>
                  <a:pt x="7" y="77"/>
                  <a:pt x="7" y="77"/>
                </a:cubicBezTo>
                <a:cubicBezTo>
                  <a:pt x="6" y="79"/>
                  <a:pt x="6" y="79"/>
                  <a:pt x="6" y="79"/>
                </a:cubicBezTo>
                <a:cubicBezTo>
                  <a:pt x="6" y="80"/>
                  <a:pt x="6" y="80"/>
                  <a:pt x="6" y="80"/>
                </a:cubicBezTo>
                <a:cubicBezTo>
                  <a:pt x="7" y="82"/>
                  <a:pt x="7" y="82"/>
                  <a:pt x="7" y="82"/>
                </a:cubicBezTo>
                <a:cubicBezTo>
                  <a:pt x="7" y="84"/>
                  <a:pt x="7" y="84"/>
                  <a:pt x="7" y="84"/>
                </a:cubicBezTo>
                <a:cubicBezTo>
                  <a:pt x="8" y="85"/>
                  <a:pt x="8" y="85"/>
                  <a:pt x="8" y="85"/>
                </a:cubicBezTo>
                <a:cubicBezTo>
                  <a:pt x="7" y="85"/>
                  <a:pt x="7" y="85"/>
                  <a:pt x="7" y="85"/>
                </a:cubicBezTo>
                <a:cubicBezTo>
                  <a:pt x="7" y="87"/>
                  <a:pt x="7" y="87"/>
                  <a:pt x="7" y="87"/>
                </a:cubicBezTo>
                <a:cubicBezTo>
                  <a:pt x="8" y="88"/>
                  <a:pt x="8" y="88"/>
                  <a:pt x="8" y="88"/>
                </a:cubicBezTo>
                <a:cubicBezTo>
                  <a:pt x="7" y="89"/>
                  <a:pt x="7" y="89"/>
                  <a:pt x="7" y="89"/>
                </a:cubicBezTo>
                <a:cubicBezTo>
                  <a:pt x="6" y="89"/>
                  <a:pt x="6" y="89"/>
                  <a:pt x="6" y="89"/>
                </a:cubicBezTo>
                <a:cubicBezTo>
                  <a:pt x="6" y="91"/>
                  <a:pt x="6" y="91"/>
                  <a:pt x="6" y="91"/>
                </a:cubicBezTo>
                <a:cubicBezTo>
                  <a:pt x="6" y="92"/>
                  <a:pt x="6" y="92"/>
                  <a:pt x="6" y="92"/>
                </a:cubicBezTo>
                <a:cubicBezTo>
                  <a:pt x="6" y="94"/>
                  <a:pt x="6" y="94"/>
                  <a:pt x="6" y="94"/>
                </a:cubicBezTo>
                <a:cubicBezTo>
                  <a:pt x="8" y="98"/>
                  <a:pt x="8" y="98"/>
                  <a:pt x="8" y="98"/>
                </a:cubicBezTo>
                <a:cubicBezTo>
                  <a:pt x="8" y="100"/>
                  <a:pt x="8" y="100"/>
                  <a:pt x="8" y="100"/>
                </a:cubicBezTo>
                <a:cubicBezTo>
                  <a:pt x="7" y="100"/>
                  <a:pt x="7" y="100"/>
                  <a:pt x="7" y="100"/>
                </a:cubicBezTo>
                <a:cubicBezTo>
                  <a:pt x="7" y="101"/>
                  <a:pt x="7" y="101"/>
                  <a:pt x="7" y="101"/>
                </a:cubicBezTo>
                <a:cubicBezTo>
                  <a:pt x="8" y="103"/>
                  <a:pt x="8" y="103"/>
                  <a:pt x="8" y="103"/>
                </a:cubicBezTo>
                <a:cubicBezTo>
                  <a:pt x="9" y="106"/>
                  <a:pt x="9" y="106"/>
                  <a:pt x="9" y="106"/>
                </a:cubicBezTo>
                <a:cubicBezTo>
                  <a:pt x="8" y="107"/>
                  <a:pt x="8" y="107"/>
                  <a:pt x="8" y="107"/>
                </a:cubicBezTo>
                <a:cubicBezTo>
                  <a:pt x="8" y="108"/>
                  <a:pt x="8" y="108"/>
                  <a:pt x="8" y="108"/>
                </a:cubicBezTo>
                <a:cubicBezTo>
                  <a:pt x="9" y="109"/>
                  <a:pt x="9" y="109"/>
                  <a:pt x="9" y="109"/>
                </a:cubicBezTo>
                <a:cubicBezTo>
                  <a:pt x="8" y="110"/>
                  <a:pt x="8" y="110"/>
                  <a:pt x="8" y="110"/>
                </a:cubicBezTo>
                <a:cubicBezTo>
                  <a:pt x="8" y="111"/>
                  <a:pt x="8" y="111"/>
                  <a:pt x="8" y="111"/>
                </a:cubicBezTo>
                <a:cubicBezTo>
                  <a:pt x="8" y="111"/>
                  <a:pt x="8" y="111"/>
                  <a:pt x="8" y="111"/>
                </a:cubicBezTo>
                <a:cubicBezTo>
                  <a:pt x="10" y="113"/>
                  <a:pt x="10" y="113"/>
                  <a:pt x="10" y="113"/>
                </a:cubicBezTo>
                <a:cubicBezTo>
                  <a:pt x="10" y="114"/>
                  <a:pt x="10" y="114"/>
                  <a:pt x="10" y="114"/>
                </a:cubicBezTo>
                <a:cubicBezTo>
                  <a:pt x="9" y="116"/>
                  <a:pt x="9" y="116"/>
                  <a:pt x="9" y="116"/>
                </a:cubicBezTo>
                <a:cubicBezTo>
                  <a:pt x="8" y="116"/>
                  <a:pt x="8" y="116"/>
                  <a:pt x="8" y="116"/>
                </a:cubicBezTo>
                <a:cubicBezTo>
                  <a:pt x="8" y="118"/>
                  <a:pt x="8" y="118"/>
                  <a:pt x="8" y="118"/>
                </a:cubicBezTo>
                <a:cubicBezTo>
                  <a:pt x="8" y="118"/>
                  <a:pt x="8" y="118"/>
                  <a:pt x="8" y="118"/>
                </a:cubicBezTo>
                <a:cubicBezTo>
                  <a:pt x="8" y="119"/>
                  <a:pt x="8" y="119"/>
                  <a:pt x="8" y="119"/>
                </a:cubicBezTo>
                <a:cubicBezTo>
                  <a:pt x="8" y="121"/>
                  <a:pt x="8" y="121"/>
                  <a:pt x="8" y="121"/>
                </a:cubicBezTo>
                <a:cubicBezTo>
                  <a:pt x="7" y="121"/>
                  <a:pt x="7" y="121"/>
                  <a:pt x="7" y="121"/>
                </a:cubicBezTo>
                <a:cubicBezTo>
                  <a:pt x="7" y="122"/>
                  <a:pt x="7" y="122"/>
                  <a:pt x="7" y="122"/>
                </a:cubicBezTo>
                <a:cubicBezTo>
                  <a:pt x="7" y="124"/>
                  <a:pt x="7" y="124"/>
                  <a:pt x="7" y="124"/>
                </a:cubicBezTo>
                <a:cubicBezTo>
                  <a:pt x="6" y="125"/>
                  <a:pt x="6" y="125"/>
                  <a:pt x="6" y="125"/>
                </a:cubicBezTo>
                <a:cubicBezTo>
                  <a:pt x="6" y="126"/>
                  <a:pt x="6" y="126"/>
                  <a:pt x="6" y="126"/>
                </a:cubicBezTo>
                <a:cubicBezTo>
                  <a:pt x="6" y="127"/>
                  <a:pt x="6" y="127"/>
                  <a:pt x="6" y="127"/>
                </a:cubicBezTo>
                <a:cubicBezTo>
                  <a:pt x="6" y="129"/>
                  <a:pt x="6" y="129"/>
                  <a:pt x="6" y="129"/>
                </a:cubicBezTo>
                <a:cubicBezTo>
                  <a:pt x="5" y="129"/>
                  <a:pt x="5" y="129"/>
                  <a:pt x="5" y="129"/>
                </a:cubicBezTo>
                <a:cubicBezTo>
                  <a:pt x="5" y="130"/>
                  <a:pt x="5" y="130"/>
                  <a:pt x="5" y="130"/>
                </a:cubicBezTo>
                <a:cubicBezTo>
                  <a:pt x="6" y="131"/>
                  <a:pt x="6" y="131"/>
                  <a:pt x="6" y="131"/>
                </a:cubicBezTo>
                <a:cubicBezTo>
                  <a:pt x="5" y="132"/>
                  <a:pt x="5" y="132"/>
                  <a:pt x="5" y="132"/>
                </a:cubicBezTo>
                <a:cubicBezTo>
                  <a:pt x="5" y="134"/>
                  <a:pt x="5" y="134"/>
                  <a:pt x="5" y="134"/>
                </a:cubicBezTo>
                <a:cubicBezTo>
                  <a:pt x="5" y="135"/>
                  <a:pt x="5" y="135"/>
                  <a:pt x="5" y="135"/>
                </a:cubicBezTo>
                <a:cubicBezTo>
                  <a:pt x="4" y="135"/>
                  <a:pt x="4" y="135"/>
                  <a:pt x="4" y="135"/>
                </a:cubicBezTo>
                <a:cubicBezTo>
                  <a:pt x="4" y="136"/>
                  <a:pt x="4" y="136"/>
                  <a:pt x="4" y="136"/>
                </a:cubicBezTo>
                <a:cubicBezTo>
                  <a:pt x="3" y="137"/>
                  <a:pt x="3" y="137"/>
                  <a:pt x="3" y="137"/>
                </a:cubicBezTo>
                <a:cubicBezTo>
                  <a:pt x="3" y="138"/>
                  <a:pt x="3" y="138"/>
                  <a:pt x="3" y="138"/>
                </a:cubicBezTo>
                <a:cubicBezTo>
                  <a:pt x="4" y="139"/>
                  <a:pt x="4" y="139"/>
                  <a:pt x="4" y="139"/>
                </a:cubicBezTo>
                <a:cubicBezTo>
                  <a:pt x="4" y="140"/>
                  <a:pt x="4" y="140"/>
                  <a:pt x="4" y="140"/>
                </a:cubicBezTo>
                <a:cubicBezTo>
                  <a:pt x="3" y="141"/>
                  <a:pt x="3" y="141"/>
                  <a:pt x="3" y="141"/>
                </a:cubicBezTo>
                <a:cubicBezTo>
                  <a:pt x="2" y="141"/>
                  <a:pt x="2" y="141"/>
                  <a:pt x="2" y="141"/>
                </a:cubicBezTo>
                <a:cubicBezTo>
                  <a:pt x="1" y="141"/>
                  <a:pt x="1" y="141"/>
                  <a:pt x="1" y="141"/>
                </a:cubicBezTo>
                <a:cubicBezTo>
                  <a:pt x="1" y="141"/>
                  <a:pt x="1" y="141"/>
                  <a:pt x="1" y="141"/>
                </a:cubicBezTo>
                <a:cubicBezTo>
                  <a:pt x="0" y="142"/>
                  <a:pt x="0" y="142"/>
                  <a:pt x="0" y="142"/>
                </a:cubicBezTo>
                <a:cubicBezTo>
                  <a:pt x="1" y="143"/>
                  <a:pt x="1" y="143"/>
                  <a:pt x="1" y="143"/>
                </a:cubicBezTo>
                <a:cubicBezTo>
                  <a:pt x="1" y="145"/>
                  <a:pt x="1" y="145"/>
                  <a:pt x="1" y="145"/>
                </a:cubicBezTo>
                <a:cubicBezTo>
                  <a:pt x="2" y="146"/>
                  <a:pt x="2" y="146"/>
                  <a:pt x="2" y="146"/>
                </a:cubicBezTo>
                <a:cubicBezTo>
                  <a:pt x="3" y="148"/>
                  <a:pt x="3" y="148"/>
                  <a:pt x="3" y="148"/>
                </a:cubicBezTo>
                <a:cubicBezTo>
                  <a:pt x="3" y="149"/>
                  <a:pt x="3" y="149"/>
                  <a:pt x="3" y="149"/>
                </a:cubicBezTo>
                <a:cubicBezTo>
                  <a:pt x="3" y="151"/>
                  <a:pt x="3" y="151"/>
                  <a:pt x="3" y="151"/>
                </a:cubicBezTo>
                <a:cubicBezTo>
                  <a:pt x="5" y="154"/>
                  <a:pt x="5" y="154"/>
                  <a:pt x="5" y="154"/>
                </a:cubicBezTo>
                <a:cubicBezTo>
                  <a:pt x="5" y="155"/>
                  <a:pt x="5" y="155"/>
                  <a:pt x="5" y="155"/>
                </a:cubicBezTo>
                <a:cubicBezTo>
                  <a:pt x="6" y="155"/>
                  <a:pt x="6" y="155"/>
                  <a:pt x="6" y="155"/>
                </a:cubicBezTo>
                <a:cubicBezTo>
                  <a:pt x="6" y="158"/>
                  <a:pt x="6" y="158"/>
                  <a:pt x="6" y="158"/>
                </a:cubicBezTo>
                <a:cubicBezTo>
                  <a:pt x="5" y="160"/>
                  <a:pt x="5" y="160"/>
                  <a:pt x="5" y="160"/>
                </a:cubicBezTo>
                <a:cubicBezTo>
                  <a:pt x="5" y="161"/>
                  <a:pt x="5" y="161"/>
                  <a:pt x="5" y="161"/>
                </a:cubicBezTo>
                <a:cubicBezTo>
                  <a:pt x="5" y="162"/>
                  <a:pt x="5" y="162"/>
                  <a:pt x="5" y="162"/>
                </a:cubicBezTo>
                <a:cubicBezTo>
                  <a:pt x="5" y="162"/>
                  <a:pt x="5" y="162"/>
                  <a:pt x="5" y="162"/>
                </a:cubicBezTo>
                <a:cubicBezTo>
                  <a:pt x="4" y="162"/>
                  <a:pt x="4" y="162"/>
                  <a:pt x="4" y="162"/>
                </a:cubicBezTo>
                <a:cubicBezTo>
                  <a:pt x="4" y="162"/>
                  <a:pt x="4" y="162"/>
                  <a:pt x="4" y="162"/>
                </a:cubicBezTo>
                <a:cubicBezTo>
                  <a:pt x="3" y="163"/>
                  <a:pt x="3" y="163"/>
                  <a:pt x="3" y="163"/>
                </a:cubicBezTo>
                <a:cubicBezTo>
                  <a:pt x="4" y="165"/>
                  <a:pt x="4" y="165"/>
                  <a:pt x="4" y="165"/>
                </a:cubicBezTo>
                <a:cubicBezTo>
                  <a:pt x="4" y="165"/>
                  <a:pt x="4" y="165"/>
                  <a:pt x="4" y="165"/>
                </a:cubicBezTo>
                <a:cubicBezTo>
                  <a:pt x="4" y="168"/>
                  <a:pt x="4" y="168"/>
                  <a:pt x="4" y="168"/>
                </a:cubicBezTo>
                <a:cubicBezTo>
                  <a:pt x="4" y="169"/>
                  <a:pt x="4" y="169"/>
                  <a:pt x="4" y="169"/>
                </a:cubicBezTo>
                <a:cubicBezTo>
                  <a:pt x="3" y="170"/>
                  <a:pt x="3" y="170"/>
                  <a:pt x="3" y="170"/>
                </a:cubicBezTo>
                <a:cubicBezTo>
                  <a:pt x="4" y="170"/>
                  <a:pt x="4" y="170"/>
                  <a:pt x="4" y="170"/>
                </a:cubicBezTo>
                <a:cubicBezTo>
                  <a:pt x="4" y="171"/>
                  <a:pt x="4" y="171"/>
                  <a:pt x="4" y="171"/>
                </a:cubicBezTo>
                <a:cubicBezTo>
                  <a:pt x="4" y="172"/>
                  <a:pt x="4" y="172"/>
                  <a:pt x="4" y="172"/>
                </a:cubicBezTo>
                <a:cubicBezTo>
                  <a:pt x="4" y="172"/>
                  <a:pt x="4" y="172"/>
                  <a:pt x="4" y="172"/>
                </a:cubicBezTo>
                <a:cubicBezTo>
                  <a:pt x="6" y="175"/>
                  <a:pt x="6" y="175"/>
                  <a:pt x="6" y="175"/>
                </a:cubicBezTo>
                <a:cubicBezTo>
                  <a:pt x="7" y="176"/>
                  <a:pt x="7" y="176"/>
                  <a:pt x="7" y="176"/>
                </a:cubicBezTo>
                <a:cubicBezTo>
                  <a:pt x="7" y="177"/>
                  <a:pt x="7" y="177"/>
                  <a:pt x="7" y="177"/>
                </a:cubicBezTo>
                <a:cubicBezTo>
                  <a:pt x="9" y="177"/>
                  <a:pt x="9" y="177"/>
                  <a:pt x="9" y="177"/>
                </a:cubicBezTo>
                <a:cubicBezTo>
                  <a:pt x="11" y="177"/>
                  <a:pt x="11" y="177"/>
                  <a:pt x="11" y="177"/>
                </a:cubicBezTo>
                <a:cubicBezTo>
                  <a:pt x="11" y="175"/>
                  <a:pt x="11" y="175"/>
                  <a:pt x="11" y="175"/>
                </a:cubicBezTo>
                <a:cubicBezTo>
                  <a:pt x="11" y="175"/>
                  <a:pt x="11" y="175"/>
                  <a:pt x="11" y="175"/>
                </a:cubicBezTo>
                <a:cubicBezTo>
                  <a:pt x="12" y="175"/>
                  <a:pt x="12" y="175"/>
                  <a:pt x="12" y="175"/>
                </a:cubicBezTo>
                <a:cubicBezTo>
                  <a:pt x="13" y="176"/>
                  <a:pt x="13" y="176"/>
                  <a:pt x="13" y="176"/>
                </a:cubicBezTo>
                <a:cubicBezTo>
                  <a:pt x="13" y="176"/>
                  <a:pt x="13" y="176"/>
                  <a:pt x="13" y="176"/>
                </a:cubicBezTo>
                <a:cubicBezTo>
                  <a:pt x="14" y="176"/>
                  <a:pt x="14" y="176"/>
                  <a:pt x="14" y="176"/>
                </a:cubicBezTo>
                <a:cubicBezTo>
                  <a:pt x="14" y="177"/>
                  <a:pt x="14" y="177"/>
                  <a:pt x="14" y="177"/>
                </a:cubicBezTo>
                <a:cubicBezTo>
                  <a:pt x="12" y="178"/>
                  <a:pt x="12" y="178"/>
                  <a:pt x="12" y="178"/>
                </a:cubicBezTo>
                <a:cubicBezTo>
                  <a:pt x="12" y="179"/>
                  <a:pt x="12" y="179"/>
                  <a:pt x="12" y="179"/>
                </a:cubicBezTo>
                <a:cubicBezTo>
                  <a:pt x="13" y="179"/>
                  <a:pt x="13" y="179"/>
                  <a:pt x="13" y="179"/>
                </a:cubicBezTo>
                <a:cubicBezTo>
                  <a:pt x="14" y="179"/>
                  <a:pt x="14" y="179"/>
                  <a:pt x="14" y="179"/>
                </a:cubicBezTo>
                <a:cubicBezTo>
                  <a:pt x="14" y="180"/>
                  <a:pt x="14" y="180"/>
                  <a:pt x="14" y="180"/>
                </a:cubicBezTo>
                <a:cubicBezTo>
                  <a:pt x="14" y="182"/>
                  <a:pt x="14" y="182"/>
                  <a:pt x="14" y="182"/>
                </a:cubicBezTo>
                <a:cubicBezTo>
                  <a:pt x="15" y="183"/>
                  <a:pt x="15" y="183"/>
                  <a:pt x="15" y="183"/>
                </a:cubicBezTo>
                <a:cubicBezTo>
                  <a:pt x="15" y="183"/>
                  <a:pt x="15" y="183"/>
                  <a:pt x="15" y="183"/>
                </a:cubicBezTo>
                <a:cubicBezTo>
                  <a:pt x="14" y="182"/>
                  <a:pt x="14" y="182"/>
                  <a:pt x="14" y="182"/>
                </a:cubicBezTo>
                <a:cubicBezTo>
                  <a:pt x="13" y="181"/>
                  <a:pt x="13" y="181"/>
                  <a:pt x="13" y="181"/>
                </a:cubicBezTo>
                <a:cubicBezTo>
                  <a:pt x="13" y="181"/>
                  <a:pt x="13" y="181"/>
                  <a:pt x="13" y="181"/>
                </a:cubicBezTo>
                <a:cubicBezTo>
                  <a:pt x="12" y="181"/>
                  <a:pt x="12" y="181"/>
                  <a:pt x="12" y="181"/>
                </a:cubicBezTo>
                <a:cubicBezTo>
                  <a:pt x="12" y="182"/>
                  <a:pt x="12" y="182"/>
                  <a:pt x="12" y="182"/>
                </a:cubicBezTo>
                <a:cubicBezTo>
                  <a:pt x="14" y="183"/>
                  <a:pt x="14" y="183"/>
                  <a:pt x="14" y="183"/>
                </a:cubicBezTo>
                <a:cubicBezTo>
                  <a:pt x="14" y="184"/>
                  <a:pt x="14" y="184"/>
                  <a:pt x="14" y="184"/>
                </a:cubicBezTo>
                <a:cubicBezTo>
                  <a:pt x="13" y="184"/>
                  <a:pt x="13" y="184"/>
                  <a:pt x="13" y="184"/>
                </a:cubicBezTo>
                <a:cubicBezTo>
                  <a:pt x="13" y="184"/>
                  <a:pt x="13" y="184"/>
                  <a:pt x="13" y="184"/>
                </a:cubicBezTo>
                <a:cubicBezTo>
                  <a:pt x="13" y="186"/>
                  <a:pt x="13" y="186"/>
                  <a:pt x="13" y="186"/>
                </a:cubicBezTo>
                <a:cubicBezTo>
                  <a:pt x="14" y="187"/>
                  <a:pt x="14" y="187"/>
                  <a:pt x="14" y="187"/>
                </a:cubicBezTo>
                <a:cubicBezTo>
                  <a:pt x="13" y="188"/>
                  <a:pt x="13" y="188"/>
                  <a:pt x="13" y="188"/>
                </a:cubicBezTo>
                <a:cubicBezTo>
                  <a:pt x="13" y="189"/>
                  <a:pt x="13" y="189"/>
                  <a:pt x="13" y="189"/>
                </a:cubicBezTo>
                <a:cubicBezTo>
                  <a:pt x="13" y="189"/>
                  <a:pt x="13" y="189"/>
                  <a:pt x="13" y="189"/>
                </a:cubicBezTo>
                <a:cubicBezTo>
                  <a:pt x="12" y="190"/>
                  <a:pt x="12" y="190"/>
                  <a:pt x="12" y="190"/>
                </a:cubicBezTo>
                <a:cubicBezTo>
                  <a:pt x="12" y="191"/>
                  <a:pt x="12" y="191"/>
                  <a:pt x="12" y="191"/>
                </a:cubicBezTo>
                <a:cubicBezTo>
                  <a:pt x="14" y="192"/>
                  <a:pt x="14" y="192"/>
                  <a:pt x="14" y="192"/>
                </a:cubicBezTo>
                <a:cubicBezTo>
                  <a:pt x="13" y="193"/>
                  <a:pt x="13" y="193"/>
                  <a:pt x="13" y="193"/>
                </a:cubicBezTo>
                <a:cubicBezTo>
                  <a:pt x="13" y="194"/>
                  <a:pt x="13" y="194"/>
                  <a:pt x="13" y="194"/>
                </a:cubicBezTo>
                <a:cubicBezTo>
                  <a:pt x="12" y="195"/>
                  <a:pt x="12" y="195"/>
                  <a:pt x="12" y="195"/>
                </a:cubicBezTo>
                <a:cubicBezTo>
                  <a:pt x="12" y="196"/>
                  <a:pt x="12" y="196"/>
                  <a:pt x="12" y="196"/>
                </a:cubicBezTo>
                <a:cubicBezTo>
                  <a:pt x="13" y="197"/>
                  <a:pt x="13" y="197"/>
                  <a:pt x="13" y="197"/>
                </a:cubicBezTo>
                <a:cubicBezTo>
                  <a:pt x="14" y="197"/>
                  <a:pt x="14" y="197"/>
                  <a:pt x="14" y="197"/>
                </a:cubicBezTo>
                <a:cubicBezTo>
                  <a:pt x="15" y="198"/>
                  <a:pt x="15" y="198"/>
                  <a:pt x="15" y="198"/>
                </a:cubicBezTo>
                <a:cubicBezTo>
                  <a:pt x="15" y="199"/>
                  <a:pt x="15" y="199"/>
                  <a:pt x="15" y="199"/>
                </a:cubicBezTo>
                <a:cubicBezTo>
                  <a:pt x="16" y="199"/>
                  <a:pt x="16" y="199"/>
                  <a:pt x="16" y="199"/>
                </a:cubicBezTo>
                <a:cubicBezTo>
                  <a:pt x="16" y="199"/>
                  <a:pt x="16" y="199"/>
                  <a:pt x="16" y="199"/>
                </a:cubicBezTo>
                <a:cubicBezTo>
                  <a:pt x="16" y="201"/>
                  <a:pt x="16" y="201"/>
                  <a:pt x="16" y="201"/>
                </a:cubicBezTo>
                <a:cubicBezTo>
                  <a:pt x="15" y="203"/>
                  <a:pt x="15" y="203"/>
                  <a:pt x="15" y="203"/>
                </a:cubicBezTo>
                <a:cubicBezTo>
                  <a:pt x="14" y="204"/>
                  <a:pt x="14" y="204"/>
                  <a:pt x="14" y="204"/>
                </a:cubicBezTo>
                <a:cubicBezTo>
                  <a:pt x="13" y="204"/>
                  <a:pt x="13" y="204"/>
                  <a:pt x="13" y="204"/>
                </a:cubicBezTo>
                <a:cubicBezTo>
                  <a:pt x="13" y="205"/>
                  <a:pt x="13" y="205"/>
                  <a:pt x="13" y="205"/>
                </a:cubicBezTo>
                <a:cubicBezTo>
                  <a:pt x="13" y="206"/>
                  <a:pt x="13" y="206"/>
                  <a:pt x="13" y="206"/>
                </a:cubicBezTo>
                <a:cubicBezTo>
                  <a:pt x="13" y="207"/>
                  <a:pt x="13" y="207"/>
                  <a:pt x="13" y="207"/>
                </a:cubicBezTo>
                <a:cubicBezTo>
                  <a:pt x="13" y="208"/>
                  <a:pt x="13" y="208"/>
                  <a:pt x="13" y="208"/>
                </a:cubicBezTo>
                <a:cubicBezTo>
                  <a:pt x="14" y="208"/>
                  <a:pt x="14" y="208"/>
                  <a:pt x="14" y="208"/>
                </a:cubicBezTo>
                <a:cubicBezTo>
                  <a:pt x="13" y="209"/>
                  <a:pt x="13" y="209"/>
                  <a:pt x="13" y="209"/>
                </a:cubicBezTo>
                <a:cubicBezTo>
                  <a:pt x="12" y="211"/>
                  <a:pt x="12" y="211"/>
                  <a:pt x="12" y="211"/>
                </a:cubicBezTo>
                <a:cubicBezTo>
                  <a:pt x="12" y="213"/>
                  <a:pt x="12" y="213"/>
                  <a:pt x="12" y="213"/>
                </a:cubicBezTo>
                <a:cubicBezTo>
                  <a:pt x="13" y="213"/>
                  <a:pt x="13" y="213"/>
                  <a:pt x="13" y="213"/>
                </a:cubicBezTo>
                <a:cubicBezTo>
                  <a:pt x="12" y="214"/>
                  <a:pt x="12" y="214"/>
                  <a:pt x="12" y="214"/>
                </a:cubicBezTo>
                <a:cubicBezTo>
                  <a:pt x="12" y="216"/>
                  <a:pt x="12" y="216"/>
                  <a:pt x="12" y="216"/>
                </a:cubicBezTo>
                <a:cubicBezTo>
                  <a:pt x="11" y="216"/>
                  <a:pt x="11" y="216"/>
                  <a:pt x="11" y="216"/>
                </a:cubicBezTo>
                <a:cubicBezTo>
                  <a:pt x="11" y="218"/>
                  <a:pt x="11" y="218"/>
                  <a:pt x="11" y="218"/>
                </a:cubicBezTo>
                <a:cubicBezTo>
                  <a:pt x="11" y="217"/>
                  <a:pt x="11" y="217"/>
                  <a:pt x="11" y="217"/>
                </a:cubicBezTo>
                <a:cubicBezTo>
                  <a:pt x="11" y="216"/>
                  <a:pt x="11" y="216"/>
                  <a:pt x="11" y="216"/>
                </a:cubicBezTo>
                <a:cubicBezTo>
                  <a:pt x="11" y="214"/>
                  <a:pt x="11" y="214"/>
                  <a:pt x="11" y="214"/>
                </a:cubicBezTo>
                <a:cubicBezTo>
                  <a:pt x="11" y="213"/>
                  <a:pt x="11" y="213"/>
                  <a:pt x="11" y="213"/>
                </a:cubicBezTo>
                <a:cubicBezTo>
                  <a:pt x="11" y="213"/>
                  <a:pt x="11" y="213"/>
                  <a:pt x="11" y="213"/>
                </a:cubicBezTo>
                <a:cubicBezTo>
                  <a:pt x="11" y="212"/>
                  <a:pt x="11" y="212"/>
                  <a:pt x="11" y="212"/>
                </a:cubicBezTo>
                <a:cubicBezTo>
                  <a:pt x="9" y="213"/>
                  <a:pt x="9" y="213"/>
                  <a:pt x="9" y="213"/>
                </a:cubicBezTo>
                <a:cubicBezTo>
                  <a:pt x="8" y="214"/>
                  <a:pt x="8" y="214"/>
                  <a:pt x="8" y="214"/>
                </a:cubicBezTo>
                <a:cubicBezTo>
                  <a:pt x="7" y="214"/>
                  <a:pt x="7" y="214"/>
                  <a:pt x="7" y="214"/>
                </a:cubicBezTo>
                <a:cubicBezTo>
                  <a:pt x="8" y="213"/>
                  <a:pt x="8" y="213"/>
                  <a:pt x="8" y="213"/>
                </a:cubicBezTo>
                <a:cubicBezTo>
                  <a:pt x="9" y="213"/>
                  <a:pt x="9" y="213"/>
                  <a:pt x="9" y="213"/>
                </a:cubicBezTo>
                <a:cubicBezTo>
                  <a:pt x="9" y="212"/>
                  <a:pt x="9" y="212"/>
                  <a:pt x="9" y="212"/>
                </a:cubicBezTo>
                <a:cubicBezTo>
                  <a:pt x="9" y="210"/>
                  <a:pt x="9" y="210"/>
                  <a:pt x="9" y="210"/>
                </a:cubicBezTo>
                <a:cubicBezTo>
                  <a:pt x="9" y="210"/>
                  <a:pt x="9" y="210"/>
                  <a:pt x="9" y="210"/>
                </a:cubicBezTo>
                <a:cubicBezTo>
                  <a:pt x="8" y="211"/>
                  <a:pt x="8" y="211"/>
                  <a:pt x="8" y="211"/>
                </a:cubicBezTo>
                <a:cubicBezTo>
                  <a:pt x="5" y="211"/>
                  <a:pt x="5" y="211"/>
                  <a:pt x="5" y="211"/>
                </a:cubicBezTo>
                <a:cubicBezTo>
                  <a:pt x="5" y="210"/>
                  <a:pt x="5" y="210"/>
                  <a:pt x="5" y="210"/>
                </a:cubicBezTo>
                <a:cubicBezTo>
                  <a:pt x="4" y="211"/>
                  <a:pt x="4" y="211"/>
                  <a:pt x="4" y="211"/>
                </a:cubicBezTo>
                <a:cubicBezTo>
                  <a:pt x="4" y="211"/>
                  <a:pt x="4" y="211"/>
                  <a:pt x="4" y="211"/>
                </a:cubicBezTo>
                <a:cubicBezTo>
                  <a:pt x="4" y="213"/>
                  <a:pt x="4" y="213"/>
                  <a:pt x="4" y="213"/>
                </a:cubicBezTo>
                <a:cubicBezTo>
                  <a:pt x="5" y="213"/>
                  <a:pt x="5" y="213"/>
                  <a:pt x="5" y="213"/>
                </a:cubicBezTo>
                <a:cubicBezTo>
                  <a:pt x="5" y="214"/>
                  <a:pt x="5" y="214"/>
                  <a:pt x="5" y="214"/>
                </a:cubicBezTo>
                <a:cubicBezTo>
                  <a:pt x="4" y="214"/>
                  <a:pt x="4" y="214"/>
                  <a:pt x="4" y="214"/>
                </a:cubicBezTo>
                <a:cubicBezTo>
                  <a:pt x="4" y="215"/>
                  <a:pt x="4" y="215"/>
                  <a:pt x="4" y="215"/>
                </a:cubicBezTo>
                <a:cubicBezTo>
                  <a:pt x="3" y="216"/>
                  <a:pt x="3" y="216"/>
                  <a:pt x="3" y="216"/>
                </a:cubicBezTo>
                <a:cubicBezTo>
                  <a:pt x="3" y="217"/>
                  <a:pt x="3" y="217"/>
                  <a:pt x="3" y="217"/>
                </a:cubicBezTo>
                <a:cubicBezTo>
                  <a:pt x="1" y="218"/>
                  <a:pt x="1" y="218"/>
                  <a:pt x="1" y="218"/>
                </a:cubicBezTo>
                <a:cubicBezTo>
                  <a:pt x="1" y="219"/>
                  <a:pt x="1" y="219"/>
                  <a:pt x="1" y="219"/>
                </a:cubicBezTo>
                <a:cubicBezTo>
                  <a:pt x="3" y="221"/>
                  <a:pt x="3" y="221"/>
                  <a:pt x="3" y="221"/>
                </a:cubicBezTo>
                <a:cubicBezTo>
                  <a:pt x="4" y="221"/>
                  <a:pt x="4" y="221"/>
                  <a:pt x="4" y="221"/>
                </a:cubicBezTo>
                <a:cubicBezTo>
                  <a:pt x="4" y="220"/>
                  <a:pt x="4" y="220"/>
                  <a:pt x="4" y="220"/>
                </a:cubicBezTo>
                <a:cubicBezTo>
                  <a:pt x="4" y="219"/>
                  <a:pt x="4" y="219"/>
                  <a:pt x="4" y="219"/>
                </a:cubicBezTo>
                <a:cubicBezTo>
                  <a:pt x="3" y="219"/>
                  <a:pt x="3" y="219"/>
                  <a:pt x="3" y="219"/>
                </a:cubicBezTo>
                <a:cubicBezTo>
                  <a:pt x="3" y="218"/>
                  <a:pt x="3" y="218"/>
                  <a:pt x="3" y="218"/>
                </a:cubicBezTo>
                <a:cubicBezTo>
                  <a:pt x="3" y="217"/>
                  <a:pt x="3" y="217"/>
                  <a:pt x="3" y="217"/>
                </a:cubicBezTo>
                <a:cubicBezTo>
                  <a:pt x="5" y="217"/>
                  <a:pt x="5" y="217"/>
                  <a:pt x="5" y="217"/>
                </a:cubicBezTo>
                <a:cubicBezTo>
                  <a:pt x="5" y="217"/>
                  <a:pt x="5" y="217"/>
                  <a:pt x="5" y="217"/>
                </a:cubicBezTo>
                <a:cubicBezTo>
                  <a:pt x="6" y="218"/>
                  <a:pt x="6" y="218"/>
                  <a:pt x="6" y="218"/>
                </a:cubicBezTo>
                <a:cubicBezTo>
                  <a:pt x="7" y="219"/>
                  <a:pt x="7" y="219"/>
                  <a:pt x="7" y="219"/>
                </a:cubicBezTo>
                <a:cubicBezTo>
                  <a:pt x="8" y="219"/>
                  <a:pt x="8" y="219"/>
                  <a:pt x="8" y="219"/>
                </a:cubicBezTo>
                <a:cubicBezTo>
                  <a:pt x="9" y="218"/>
                  <a:pt x="9" y="218"/>
                  <a:pt x="9" y="218"/>
                </a:cubicBezTo>
                <a:cubicBezTo>
                  <a:pt x="10" y="218"/>
                  <a:pt x="10" y="218"/>
                  <a:pt x="10" y="218"/>
                </a:cubicBezTo>
                <a:cubicBezTo>
                  <a:pt x="10" y="219"/>
                  <a:pt x="10" y="219"/>
                  <a:pt x="10" y="219"/>
                </a:cubicBezTo>
                <a:cubicBezTo>
                  <a:pt x="12" y="220"/>
                  <a:pt x="12" y="220"/>
                  <a:pt x="12" y="220"/>
                </a:cubicBezTo>
                <a:cubicBezTo>
                  <a:pt x="12" y="221"/>
                  <a:pt x="12" y="221"/>
                  <a:pt x="12" y="221"/>
                </a:cubicBezTo>
                <a:cubicBezTo>
                  <a:pt x="12" y="221"/>
                  <a:pt x="12" y="221"/>
                  <a:pt x="12" y="221"/>
                </a:cubicBezTo>
                <a:cubicBezTo>
                  <a:pt x="11" y="221"/>
                  <a:pt x="11" y="221"/>
                  <a:pt x="11" y="221"/>
                </a:cubicBezTo>
                <a:cubicBezTo>
                  <a:pt x="12" y="222"/>
                  <a:pt x="12" y="222"/>
                  <a:pt x="12" y="222"/>
                </a:cubicBezTo>
                <a:cubicBezTo>
                  <a:pt x="11" y="223"/>
                  <a:pt x="11" y="223"/>
                  <a:pt x="11" y="223"/>
                </a:cubicBezTo>
                <a:cubicBezTo>
                  <a:pt x="11" y="224"/>
                  <a:pt x="11" y="224"/>
                  <a:pt x="11" y="224"/>
                </a:cubicBezTo>
                <a:cubicBezTo>
                  <a:pt x="11" y="224"/>
                  <a:pt x="11" y="224"/>
                  <a:pt x="11" y="224"/>
                </a:cubicBezTo>
                <a:cubicBezTo>
                  <a:pt x="12" y="225"/>
                  <a:pt x="12" y="225"/>
                  <a:pt x="12" y="225"/>
                </a:cubicBezTo>
                <a:cubicBezTo>
                  <a:pt x="12" y="225"/>
                  <a:pt x="12" y="225"/>
                  <a:pt x="12" y="225"/>
                </a:cubicBezTo>
                <a:cubicBezTo>
                  <a:pt x="11" y="225"/>
                  <a:pt x="11" y="225"/>
                  <a:pt x="11" y="225"/>
                </a:cubicBezTo>
                <a:cubicBezTo>
                  <a:pt x="10" y="224"/>
                  <a:pt x="10" y="224"/>
                  <a:pt x="10" y="224"/>
                </a:cubicBezTo>
                <a:cubicBezTo>
                  <a:pt x="10" y="224"/>
                  <a:pt x="10" y="224"/>
                  <a:pt x="10" y="224"/>
                </a:cubicBezTo>
                <a:cubicBezTo>
                  <a:pt x="10" y="225"/>
                  <a:pt x="10" y="225"/>
                  <a:pt x="10" y="225"/>
                </a:cubicBezTo>
                <a:cubicBezTo>
                  <a:pt x="11" y="226"/>
                  <a:pt x="11" y="226"/>
                  <a:pt x="11" y="226"/>
                </a:cubicBezTo>
                <a:cubicBezTo>
                  <a:pt x="11" y="227"/>
                  <a:pt x="11" y="227"/>
                  <a:pt x="11" y="227"/>
                </a:cubicBezTo>
                <a:cubicBezTo>
                  <a:pt x="13" y="227"/>
                  <a:pt x="13" y="227"/>
                  <a:pt x="13" y="227"/>
                </a:cubicBezTo>
                <a:cubicBezTo>
                  <a:pt x="14" y="227"/>
                  <a:pt x="14" y="227"/>
                  <a:pt x="14" y="227"/>
                </a:cubicBezTo>
                <a:cubicBezTo>
                  <a:pt x="15" y="227"/>
                  <a:pt x="15" y="227"/>
                  <a:pt x="15" y="227"/>
                </a:cubicBezTo>
                <a:cubicBezTo>
                  <a:pt x="16" y="227"/>
                  <a:pt x="16" y="227"/>
                  <a:pt x="16" y="227"/>
                </a:cubicBezTo>
                <a:cubicBezTo>
                  <a:pt x="17" y="227"/>
                  <a:pt x="17" y="227"/>
                  <a:pt x="17" y="227"/>
                </a:cubicBezTo>
                <a:cubicBezTo>
                  <a:pt x="16" y="228"/>
                  <a:pt x="16" y="228"/>
                  <a:pt x="16" y="228"/>
                </a:cubicBezTo>
                <a:cubicBezTo>
                  <a:pt x="17" y="228"/>
                  <a:pt x="17" y="228"/>
                  <a:pt x="17" y="228"/>
                </a:cubicBezTo>
                <a:cubicBezTo>
                  <a:pt x="16" y="228"/>
                  <a:pt x="16" y="228"/>
                  <a:pt x="16" y="228"/>
                </a:cubicBezTo>
                <a:cubicBezTo>
                  <a:pt x="15" y="228"/>
                  <a:pt x="15" y="228"/>
                  <a:pt x="15" y="228"/>
                </a:cubicBezTo>
                <a:cubicBezTo>
                  <a:pt x="15" y="229"/>
                  <a:pt x="15" y="229"/>
                  <a:pt x="15" y="229"/>
                </a:cubicBezTo>
                <a:cubicBezTo>
                  <a:pt x="14" y="228"/>
                  <a:pt x="14" y="228"/>
                  <a:pt x="14" y="228"/>
                </a:cubicBezTo>
                <a:cubicBezTo>
                  <a:pt x="12" y="229"/>
                  <a:pt x="12" y="229"/>
                  <a:pt x="12" y="229"/>
                </a:cubicBezTo>
                <a:cubicBezTo>
                  <a:pt x="11" y="229"/>
                  <a:pt x="11" y="229"/>
                  <a:pt x="11" y="229"/>
                </a:cubicBezTo>
                <a:cubicBezTo>
                  <a:pt x="12" y="230"/>
                  <a:pt x="12" y="230"/>
                  <a:pt x="12" y="230"/>
                </a:cubicBezTo>
                <a:cubicBezTo>
                  <a:pt x="13" y="231"/>
                  <a:pt x="13" y="231"/>
                  <a:pt x="13" y="231"/>
                </a:cubicBezTo>
                <a:cubicBezTo>
                  <a:pt x="13" y="232"/>
                  <a:pt x="13" y="232"/>
                  <a:pt x="13" y="232"/>
                </a:cubicBezTo>
                <a:cubicBezTo>
                  <a:pt x="14" y="232"/>
                  <a:pt x="14" y="232"/>
                  <a:pt x="14" y="232"/>
                </a:cubicBezTo>
                <a:cubicBezTo>
                  <a:pt x="15" y="232"/>
                  <a:pt x="15" y="232"/>
                  <a:pt x="15" y="232"/>
                </a:cubicBezTo>
                <a:cubicBezTo>
                  <a:pt x="15" y="232"/>
                  <a:pt x="15" y="232"/>
                  <a:pt x="15" y="232"/>
                </a:cubicBezTo>
                <a:cubicBezTo>
                  <a:pt x="14" y="233"/>
                  <a:pt x="14" y="233"/>
                  <a:pt x="14" y="233"/>
                </a:cubicBezTo>
                <a:cubicBezTo>
                  <a:pt x="14" y="234"/>
                  <a:pt x="14" y="234"/>
                  <a:pt x="14" y="234"/>
                </a:cubicBezTo>
                <a:cubicBezTo>
                  <a:pt x="14" y="234"/>
                  <a:pt x="14" y="234"/>
                  <a:pt x="14" y="234"/>
                </a:cubicBezTo>
                <a:cubicBezTo>
                  <a:pt x="14" y="235"/>
                  <a:pt x="14" y="235"/>
                  <a:pt x="14" y="235"/>
                </a:cubicBezTo>
                <a:cubicBezTo>
                  <a:pt x="13" y="235"/>
                  <a:pt x="13" y="235"/>
                  <a:pt x="13" y="235"/>
                </a:cubicBezTo>
                <a:cubicBezTo>
                  <a:pt x="13" y="236"/>
                  <a:pt x="13" y="236"/>
                  <a:pt x="13" y="236"/>
                </a:cubicBezTo>
                <a:cubicBezTo>
                  <a:pt x="14" y="239"/>
                  <a:pt x="14" y="239"/>
                  <a:pt x="14" y="239"/>
                </a:cubicBezTo>
                <a:cubicBezTo>
                  <a:pt x="15" y="240"/>
                  <a:pt x="15" y="240"/>
                  <a:pt x="15" y="240"/>
                </a:cubicBezTo>
                <a:cubicBezTo>
                  <a:pt x="14" y="241"/>
                  <a:pt x="14" y="241"/>
                  <a:pt x="14" y="241"/>
                </a:cubicBezTo>
                <a:cubicBezTo>
                  <a:pt x="15" y="243"/>
                  <a:pt x="15" y="243"/>
                  <a:pt x="15" y="243"/>
                </a:cubicBezTo>
                <a:cubicBezTo>
                  <a:pt x="16" y="243"/>
                  <a:pt x="16" y="243"/>
                  <a:pt x="16" y="243"/>
                </a:cubicBezTo>
                <a:cubicBezTo>
                  <a:pt x="16" y="241"/>
                  <a:pt x="16" y="241"/>
                  <a:pt x="16" y="241"/>
                </a:cubicBezTo>
                <a:cubicBezTo>
                  <a:pt x="17" y="239"/>
                  <a:pt x="17" y="239"/>
                  <a:pt x="17" y="239"/>
                </a:cubicBezTo>
                <a:cubicBezTo>
                  <a:pt x="18" y="238"/>
                  <a:pt x="18" y="238"/>
                  <a:pt x="18" y="238"/>
                </a:cubicBezTo>
                <a:cubicBezTo>
                  <a:pt x="18" y="238"/>
                  <a:pt x="18" y="238"/>
                  <a:pt x="18" y="238"/>
                </a:cubicBezTo>
                <a:cubicBezTo>
                  <a:pt x="17" y="239"/>
                  <a:pt x="17" y="239"/>
                  <a:pt x="17" y="239"/>
                </a:cubicBezTo>
                <a:cubicBezTo>
                  <a:pt x="17" y="241"/>
                  <a:pt x="17" y="241"/>
                  <a:pt x="17" y="241"/>
                </a:cubicBezTo>
                <a:cubicBezTo>
                  <a:pt x="17" y="242"/>
                  <a:pt x="17" y="242"/>
                  <a:pt x="17" y="242"/>
                </a:cubicBezTo>
                <a:cubicBezTo>
                  <a:pt x="18" y="242"/>
                  <a:pt x="18" y="242"/>
                  <a:pt x="18" y="242"/>
                </a:cubicBezTo>
                <a:cubicBezTo>
                  <a:pt x="19" y="242"/>
                  <a:pt x="19" y="242"/>
                  <a:pt x="19" y="242"/>
                </a:cubicBezTo>
                <a:cubicBezTo>
                  <a:pt x="18" y="243"/>
                  <a:pt x="18" y="243"/>
                  <a:pt x="18" y="243"/>
                </a:cubicBezTo>
                <a:cubicBezTo>
                  <a:pt x="17" y="243"/>
                  <a:pt x="17" y="243"/>
                  <a:pt x="17" y="243"/>
                </a:cubicBezTo>
                <a:cubicBezTo>
                  <a:pt x="16" y="244"/>
                  <a:pt x="16" y="244"/>
                  <a:pt x="16" y="244"/>
                </a:cubicBezTo>
                <a:cubicBezTo>
                  <a:pt x="16" y="245"/>
                  <a:pt x="16" y="245"/>
                  <a:pt x="16" y="245"/>
                </a:cubicBezTo>
                <a:cubicBezTo>
                  <a:pt x="16" y="246"/>
                  <a:pt x="16" y="246"/>
                  <a:pt x="16" y="246"/>
                </a:cubicBezTo>
                <a:cubicBezTo>
                  <a:pt x="16" y="247"/>
                  <a:pt x="16" y="247"/>
                  <a:pt x="16" y="247"/>
                </a:cubicBezTo>
                <a:cubicBezTo>
                  <a:pt x="15" y="247"/>
                  <a:pt x="15" y="247"/>
                  <a:pt x="15" y="247"/>
                </a:cubicBezTo>
                <a:cubicBezTo>
                  <a:pt x="14" y="248"/>
                  <a:pt x="14" y="248"/>
                  <a:pt x="14" y="248"/>
                </a:cubicBezTo>
                <a:cubicBezTo>
                  <a:pt x="15" y="249"/>
                  <a:pt x="15" y="249"/>
                  <a:pt x="15" y="249"/>
                </a:cubicBezTo>
                <a:cubicBezTo>
                  <a:pt x="16" y="251"/>
                  <a:pt x="16" y="251"/>
                  <a:pt x="16" y="251"/>
                </a:cubicBezTo>
                <a:cubicBezTo>
                  <a:pt x="19" y="251"/>
                  <a:pt x="19" y="251"/>
                  <a:pt x="19" y="251"/>
                </a:cubicBezTo>
                <a:cubicBezTo>
                  <a:pt x="20" y="252"/>
                  <a:pt x="20" y="252"/>
                  <a:pt x="20" y="252"/>
                </a:cubicBezTo>
                <a:cubicBezTo>
                  <a:pt x="19" y="252"/>
                  <a:pt x="19" y="252"/>
                  <a:pt x="19" y="252"/>
                </a:cubicBezTo>
                <a:cubicBezTo>
                  <a:pt x="19" y="252"/>
                  <a:pt x="19" y="252"/>
                  <a:pt x="19" y="252"/>
                </a:cubicBezTo>
                <a:cubicBezTo>
                  <a:pt x="19" y="254"/>
                  <a:pt x="19" y="254"/>
                  <a:pt x="19" y="254"/>
                </a:cubicBezTo>
                <a:cubicBezTo>
                  <a:pt x="20" y="254"/>
                  <a:pt x="20" y="254"/>
                  <a:pt x="20" y="254"/>
                </a:cubicBezTo>
                <a:cubicBezTo>
                  <a:pt x="21" y="253"/>
                  <a:pt x="21" y="253"/>
                  <a:pt x="21" y="253"/>
                </a:cubicBezTo>
                <a:cubicBezTo>
                  <a:pt x="21" y="254"/>
                  <a:pt x="21" y="254"/>
                  <a:pt x="21" y="254"/>
                </a:cubicBezTo>
                <a:cubicBezTo>
                  <a:pt x="20" y="255"/>
                  <a:pt x="20" y="255"/>
                  <a:pt x="20" y="255"/>
                </a:cubicBezTo>
                <a:cubicBezTo>
                  <a:pt x="19" y="255"/>
                  <a:pt x="19" y="255"/>
                  <a:pt x="19" y="255"/>
                </a:cubicBezTo>
                <a:cubicBezTo>
                  <a:pt x="19" y="256"/>
                  <a:pt x="19" y="256"/>
                  <a:pt x="19" y="256"/>
                </a:cubicBezTo>
                <a:cubicBezTo>
                  <a:pt x="19" y="257"/>
                  <a:pt x="19" y="257"/>
                  <a:pt x="19" y="257"/>
                </a:cubicBezTo>
                <a:cubicBezTo>
                  <a:pt x="20" y="257"/>
                  <a:pt x="20" y="257"/>
                  <a:pt x="20" y="257"/>
                </a:cubicBezTo>
                <a:cubicBezTo>
                  <a:pt x="20" y="257"/>
                  <a:pt x="20" y="257"/>
                  <a:pt x="20" y="257"/>
                </a:cubicBezTo>
                <a:cubicBezTo>
                  <a:pt x="21" y="258"/>
                  <a:pt x="21" y="258"/>
                  <a:pt x="21" y="258"/>
                </a:cubicBezTo>
                <a:cubicBezTo>
                  <a:pt x="22" y="258"/>
                  <a:pt x="22" y="258"/>
                  <a:pt x="22" y="258"/>
                </a:cubicBezTo>
                <a:cubicBezTo>
                  <a:pt x="22" y="258"/>
                  <a:pt x="22" y="258"/>
                  <a:pt x="22" y="258"/>
                </a:cubicBezTo>
                <a:cubicBezTo>
                  <a:pt x="22" y="259"/>
                  <a:pt x="22" y="259"/>
                  <a:pt x="22" y="259"/>
                </a:cubicBezTo>
                <a:cubicBezTo>
                  <a:pt x="23" y="260"/>
                  <a:pt x="23" y="260"/>
                  <a:pt x="23" y="260"/>
                </a:cubicBezTo>
                <a:cubicBezTo>
                  <a:pt x="22" y="260"/>
                  <a:pt x="22" y="260"/>
                  <a:pt x="22" y="260"/>
                </a:cubicBezTo>
                <a:cubicBezTo>
                  <a:pt x="22" y="260"/>
                  <a:pt x="22" y="260"/>
                  <a:pt x="22" y="260"/>
                </a:cubicBezTo>
                <a:cubicBezTo>
                  <a:pt x="21" y="260"/>
                  <a:pt x="21" y="260"/>
                  <a:pt x="21" y="260"/>
                </a:cubicBezTo>
                <a:cubicBezTo>
                  <a:pt x="21" y="260"/>
                  <a:pt x="21" y="260"/>
                  <a:pt x="21" y="260"/>
                </a:cubicBezTo>
                <a:cubicBezTo>
                  <a:pt x="22" y="262"/>
                  <a:pt x="22" y="262"/>
                  <a:pt x="22" y="262"/>
                </a:cubicBezTo>
                <a:cubicBezTo>
                  <a:pt x="22" y="262"/>
                  <a:pt x="22" y="262"/>
                  <a:pt x="22" y="262"/>
                </a:cubicBezTo>
                <a:cubicBezTo>
                  <a:pt x="23" y="263"/>
                  <a:pt x="23" y="263"/>
                  <a:pt x="23" y="263"/>
                </a:cubicBezTo>
                <a:cubicBezTo>
                  <a:pt x="23" y="264"/>
                  <a:pt x="23" y="264"/>
                  <a:pt x="23" y="264"/>
                </a:cubicBezTo>
                <a:cubicBezTo>
                  <a:pt x="24" y="265"/>
                  <a:pt x="24" y="265"/>
                  <a:pt x="24" y="265"/>
                </a:cubicBezTo>
                <a:cubicBezTo>
                  <a:pt x="25" y="265"/>
                  <a:pt x="25" y="265"/>
                  <a:pt x="25" y="265"/>
                </a:cubicBezTo>
                <a:cubicBezTo>
                  <a:pt x="25" y="263"/>
                  <a:pt x="25" y="263"/>
                  <a:pt x="25" y="263"/>
                </a:cubicBezTo>
                <a:cubicBezTo>
                  <a:pt x="25" y="262"/>
                  <a:pt x="25" y="262"/>
                  <a:pt x="25" y="262"/>
                </a:cubicBezTo>
                <a:cubicBezTo>
                  <a:pt x="25" y="262"/>
                  <a:pt x="25" y="262"/>
                  <a:pt x="25" y="262"/>
                </a:cubicBezTo>
                <a:cubicBezTo>
                  <a:pt x="26" y="262"/>
                  <a:pt x="26" y="262"/>
                  <a:pt x="26" y="262"/>
                </a:cubicBezTo>
                <a:cubicBezTo>
                  <a:pt x="26" y="263"/>
                  <a:pt x="26" y="263"/>
                  <a:pt x="26" y="263"/>
                </a:cubicBezTo>
                <a:cubicBezTo>
                  <a:pt x="26" y="264"/>
                  <a:pt x="26" y="264"/>
                  <a:pt x="26" y="264"/>
                </a:cubicBezTo>
                <a:cubicBezTo>
                  <a:pt x="27" y="263"/>
                  <a:pt x="27" y="263"/>
                  <a:pt x="27" y="263"/>
                </a:cubicBezTo>
                <a:cubicBezTo>
                  <a:pt x="28" y="262"/>
                  <a:pt x="28" y="262"/>
                  <a:pt x="28" y="262"/>
                </a:cubicBezTo>
                <a:cubicBezTo>
                  <a:pt x="28" y="261"/>
                  <a:pt x="28" y="261"/>
                  <a:pt x="28" y="261"/>
                </a:cubicBezTo>
                <a:cubicBezTo>
                  <a:pt x="27" y="261"/>
                  <a:pt x="27" y="261"/>
                  <a:pt x="27" y="261"/>
                </a:cubicBezTo>
                <a:cubicBezTo>
                  <a:pt x="25" y="261"/>
                  <a:pt x="25" y="261"/>
                  <a:pt x="25" y="261"/>
                </a:cubicBezTo>
                <a:cubicBezTo>
                  <a:pt x="25" y="260"/>
                  <a:pt x="25" y="260"/>
                  <a:pt x="25" y="260"/>
                </a:cubicBezTo>
                <a:cubicBezTo>
                  <a:pt x="26" y="260"/>
                  <a:pt x="26" y="260"/>
                  <a:pt x="26" y="260"/>
                </a:cubicBezTo>
                <a:cubicBezTo>
                  <a:pt x="28" y="261"/>
                  <a:pt x="28" y="261"/>
                  <a:pt x="28" y="261"/>
                </a:cubicBezTo>
                <a:cubicBezTo>
                  <a:pt x="29" y="261"/>
                  <a:pt x="29" y="261"/>
                  <a:pt x="29" y="261"/>
                </a:cubicBezTo>
                <a:cubicBezTo>
                  <a:pt x="30" y="262"/>
                  <a:pt x="30" y="262"/>
                  <a:pt x="30" y="262"/>
                </a:cubicBezTo>
                <a:cubicBezTo>
                  <a:pt x="30" y="260"/>
                  <a:pt x="30" y="260"/>
                  <a:pt x="30" y="260"/>
                </a:cubicBezTo>
                <a:cubicBezTo>
                  <a:pt x="28" y="260"/>
                  <a:pt x="28" y="260"/>
                  <a:pt x="28" y="260"/>
                </a:cubicBezTo>
                <a:cubicBezTo>
                  <a:pt x="26" y="260"/>
                  <a:pt x="26" y="260"/>
                  <a:pt x="26" y="260"/>
                </a:cubicBezTo>
                <a:cubicBezTo>
                  <a:pt x="26" y="259"/>
                  <a:pt x="26" y="259"/>
                  <a:pt x="26" y="259"/>
                </a:cubicBezTo>
                <a:cubicBezTo>
                  <a:pt x="27" y="259"/>
                  <a:pt x="27" y="259"/>
                  <a:pt x="27" y="259"/>
                </a:cubicBezTo>
                <a:cubicBezTo>
                  <a:pt x="29" y="260"/>
                  <a:pt x="29" y="260"/>
                  <a:pt x="29" y="260"/>
                </a:cubicBezTo>
                <a:cubicBezTo>
                  <a:pt x="31" y="261"/>
                  <a:pt x="31" y="261"/>
                  <a:pt x="31" y="261"/>
                </a:cubicBezTo>
                <a:cubicBezTo>
                  <a:pt x="31" y="262"/>
                  <a:pt x="31" y="262"/>
                  <a:pt x="31" y="262"/>
                </a:cubicBezTo>
                <a:cubicBezTo>
                  <a:pt x="30" y="263"/>
                  <a:pt x="30" y="263"/>
                  <a:pt x="30" y="263"/>
                </a:cubicBezTo>
                <a:cubicBezTo>
                  <a:pt x="30" y="264"/>
                  <a:pt x="30" y="264"/>
                  <a:pt x="30" y="264"/>
                </a:cubicBezTo>
                <a:cubicBezTo>
                  <a:pt x="31" y="266"/>
                  <a:pt x="31" y="266"/>
                  <a:pt x="31" y="266"/>
                </a:cubicBezTo>
                <a:cubicBezTo>
                  <a:pt x="31" y="267"/>
                  <a:pt x="31" y="267"/>
                  <a:pt x="31" y="267"/>
                </a:cubicBezTo>
                <a:cubicBezTo>
                  <a:pt x="30" y="267"/>
                  <a:pt x="30" y="267"/>
                  <a:pt x="30" y="267"/>
                </a:cubicBezTo>
                <a:cubicBezTo>
                  <a:pt x="30" y="266"/>
                  <a:pt x="30" y="266"/>
                  <a:pt x="30" y="266"/>
                </a:cubicBezTo>
                <a:cubicBezTo>
                  <a:pt x="29" y="264"/>
                  <a:pt x="29" y="264"/>
                  <a:pt x="29" y="264"/>
                </a:cubicBezTo>
                <a:cubicBezTo>
                  <a:pt x="29" y="263"/>
                  <a:pt x="29" y="263"/>
                  <a:pt x="29" y="263"/>
                </a:cubicBezTo>
                <a:cubicBezTo>
                  <a:pt x="28" y="264"/>
                  <a:pt x="28" y="264"/>
                  <a:pt x="28" y="264"/>
                </a:cubicBezTo>
                <a:cubicBezTo>
                  <a:pt x="28" y="265"/>
                  <a:pt x="28" y="265"/>
                  <a:pt x="28" y="265"/>
                </a:cubicBezTo>
                <a:cubicBezTo>
                  <a:pt x="29" y="266"/>
                  <a:pt x="29" y="266"/>
                  <a:pt x="29" y="266"/>
                </a:cubicBezTo>
                <a:cubicBezTo>
                  <a:pt x="28" y="267"/>
                  <a:pt x="28" y="267"/>
                  <a:pt x="28" y="267"/>
                </a:cubicBezTo>
                <a:cubicBezTo>
                  <a:pt x="28" y="266"/>
                  <a:pt x="28" y="266"/>
                  <a:pt x="28" y="266"/>
                </a:cubicBezTo>
                <a:cubicBezTo>
                  <a:pt x="27" y="265"/>
                  <a:pt x="27" y="265"/>
                  <a:pt x="27" y="265"/>
                </a:cubicBezTo>
                <a:cubicBezTo>
                  <a:pt x="27" y="265"/>
                  <a:pt x="27" y="265"/>
                  <a:pt x="27" y="265"/>
                </a:cubicBezTo>
                <a:cubicBezTo>
                  <a:pt x="26" y="266"/>
                  <a:pt x="26" y="266"/>
                  <a:pt x="26" y="266"/>
                </a:cubicBezTo>
                <a:cubicBezTo>
                  <a:pt x="24" y="266"/>
                  <a:pt x="24" y="266"/>
                  <a:pt x="24" y="266"/>
                </a:cubicBezTo>
                <a:cubicBezTo>
                  <a:pt x="23" y="266"/>
                  <a:pt x="23" y="266"/>
                  <a:pt x="23" y="266"/>
                </a:cubicBezTo>
                <a:cubicBezTo>
                  <a:pt x="24" y="267"/>
                  <a:pt x="24" y="267"/>
                  <a:pt x="24" y="267"/>
                </a:cubicBezTo>
                <a:cubicBezTo>
                  <a:pt x="24" y="269"/>
                  <a:pt x="24" y="269"/>
                  <a:pt x="24" y="269"/>
                </a:cubicBezTo>
                <a:cubicBezTo>
                  <a:pt x="25" y="269"/>
                  <a:pt x="25" y="269"/>
                  <a:pt x="25" y="269"/>
                </a:cubicBezTo>
                <a:cubicBezTo>
                  <a:pt x="25" y="270"/>
                  <a:pt x="25" y="270"/>
                  <a:pt x="25" y="270"/>
                </a:cubicBezTo>
                <a:cubicBezTo>
                  <a:pt x="25" y="271"/>
                  <a:pt x="25" y="271"/>
                  <a:pt x="25" y="271"/>
                </a:cubicBezTo>
                <a:cubicBezTo>
                  <a:pt x="25" y="271"/>
                  <a:pt x="25" y="271"/>
                  <a:pt x="25" y="271"/>
                </a:cubicBezTo>
                <a:cubicBezTo>
                  <a:pt x="26" y="271"/>
                  <a:pt x="26" y="271"/>
                  <a:pt x="26" y="271"/>
                </a:cubicBezTo>
                <a:cubicBezTo>
                  <a:pt x="26" y="270"/>
                  <a:pt x="26" y="270"/>
                  <a:pt x="26" y="270"/>
                </a:cubicBezTo>
                <a:cubicBezTo>
                  <a:pt x="27" y="271"/>
                  <a:pt x="27" y="271"/>
                  <a:pt x="27" y="271"/>
                </a:cubicBezTo>
                <a:cubicBezTo>
                  <a:pt x="28" y="271"/>
                  <a:pt x="28" y="271"/>
                  <a:pt x="28" y="271"/>
                </a:cubicBezTo>
                <a:cubicBezTo>
                  <a:pt x="28" y="272"/>
                  <a:pt x="28" y="272"/>
                  <a:pt x="28" y="272"/>
                </a:cubicBezTo>
                <a:cubicBezTo>
                  <a:pt x="27" y="272"/>
                  <a:pt x="27" y="272"/>
                  <a:pt x="27" y="272"/>
                </a:cubicBezTo>
                <a:cubicBezTo>
                  <a:pt x="26" y="273"/>
                  <a:pt x="26" y="273"/>
                  <a:pt x="26" y="273"/>
                </a:cubicBezTo>
                <a:cubicBezTo>
                  <a:pt x="26" y="273"/>
                  <a:pt x="26" y="273"/>
                  <a:pt x="26" y="273"/>
                </a:cubicBezTo>
                <a:cubicBezTo>
                  <a:pt x="28" y="273"/>
                  <a:pt x="28" y="273"/>
                  <a:pt x="28" y="273"/>
                </a:cubicBezTo>
                <a:cubicBezTo>
                  <a:pt x="29" y="274"/>
                  <a:pt x="29" y="274"/>
                  <a:pt x="29" y="274"/>
                </a:cubicBezTo>
                <a:cubicBezTo>
                  <a:pt x="30" y="274"/>
                  <a:pt x="30" y="274"/>
                  <a:pt x="30" y="274"/>
                </a:cubicBezTo>
                <a:cubicBezTo>
                  <a:pt x="31" y="273"/>
                  <a:pt x="31" y="273"/>
                  <a:pt x="31" y="273"/>
                </a:cubicBezTo>
                <a:cubicBezTo>
                  <a:pt x="30" y="272"/>
                  <a:pt x="30" y="272"/>
                  <a:pt x="30" y="272"/>
                </a:cubicBezTo>
                <a:cubicBezTo>
                  <a:pt x="30" y="271"/>
                  <a:pt x="30" y="271"/>
                  <a:pt x="30" y="271"/>
                </a:cubicBezTo>
                <a:cubicBezTo>
                  <a:pt x="30" y="270"/>
                  <a:pt x="30" y="270"/>
                  <a:pt x="30" y="270"/>
                </a:cubicBezTo>
                <a:cubicBezTo>
                  <a:pt x="30" y="270"/>
                  <a:pt x="30" y="270"/>
                  <a:pt x="30" y="270"/>
                </a:cubicBezTo>
                <a:cubicBezTo>
                  <a:pt x="29" y="270"/>
                  <a:pt x="29" y="270"/>
                  <a:pt x="29" y="270"/>
                </a:cubicBezTo>
                <a:cubicBezTo>
                  <a:pt x="29" y="270"/>
                  <a:pt x="29" y="270"/>
                  <a:pt x="29" y="270"/>
                </a:cubicBezTo>
                <a:cubicBezTo>
                  <a:pt x="30" y="269"/>
                  <a:pt x="30" y="269"/>
                  <a:pt x="30" y="269"/>
                </a:cubicBezTo>
                <a:cubicBezTo>
                  <a:pt x="30" y="269"/>
                  <a:pt x="30" y="269"/>
                  <a:pt x="30" y="269"/>
                </a:cubicBezTo>
                <a:cubicBezTo>
                  <a:pt x="30" y="268"/>
                  <a:pt x="30" y="268"/>
                  <a:pt x="30" y="268"/>
                </a:cubicBezTo>
                <a:cubicBezTo>
                  <a:pt x="32" y="269"/>
                  <a:pt x="32" y="269"/>
                  <a:pt x="32" y="269"/>
                </a:cubicBezTo>
                <a:cubicBezTo>
                  <a:pt x="32" y="269"/>
                  <a:pt x="32" y="269"/>
                  <a:pt x="32" y="269"/>
                </a:cubicBezTo>
                <a:cubicBezTo>
                  <a:pt x="32" y="269"/>
                  <a:pt x="32" y="269"/>
                  <a:pt x="32" y="269"/>
                </a:cubicBezTo>
                <a:cubicBezTo>
                  <a:pt x="33" y="269"/>
                  <a:pt x="33" y="269"/>
                  <a:pt x="33" y="269"/>
                </a:cubicBezTo>
                <a:cubicBezTo>
                  <a:pt x="33" y="269"/>
                  <a:pt x="33" y="269"/>
                  <a:pt x="33" y="269"/>
                </a:cubicBezTo>
                <a:cubicBezTo>
                  <a:pt x="35" y="269"/>
                  <a:pt x="35" y="269"/>
                  <a:pt x="35" y="269"/>
                </a:cubicBezTo>
                <a:cubicBezTo>
                  <a:pt x="36" y="269"/>
                  <a:pt x="36" y="269"/>
                  <a:pt x="36" y="269"/>
                </a:cubicBezTo>
                <a:cubicBezTo>
                  <a:pt x="37" y="269"/>
                  <a:pt x="37" y="269"/>
                  <a:pt x="37" y="269"/>
                </a:cubicBezTo>
                <a:cubicBezTo>
                  <a:pt x="38" y="269"/>
                  <a:pt x="38" y="269"/>
                  <a:pt x="38" y="269"/>
                </a:cubicBezTo>
                <a:cubicBezTo>
                  <a:pt x="38" y="269"/>
                  <a:pt x="38" y="269"/>
                  <a:pt x="38" y="269"/>
                </a:cubicBezTo>
                <a:cubicBezTo>
                  <a:pt x="37" y="270"/>
                  <a:pt x="37" y="270"/>
                  <a:pt x="37" y="270"/>
                </a:cubicBezTo>
                <a:cubicBezTo>
                  <a:pt x="37" y="270"/>
                  <a:pt x="37" y="270"/>
                  <a:pt x="37" y="270"/>
                </a:cubicBezTo>
                <a:cubicBezTo>
                  <a:pt x="36" y="270"/>
                  <a:pt x="36" y="270"/>
                  <a:pt x="36" y="270"/>
                </a:cubicBezTo>
                <a:cubicBezTo>
                  <a:pt x="35" y="270"/>
                  <a:pt x="35" y="270"/>
                  <a:pt x="35" y="270"/>
                </a:cubicBezTo>
                <a:cubicBezTo>
                  <a:pt x="35" y="270"/>
                  <a:pt x="35" y="270"/>
                  <a:pt x="35" y="270"/>
                </a:cubicBezTo>
                <a:cubicBezTo>
                  <a:pt x="33" y="272"/>
                  <a:pt x="33" y="272"/>
                  <a:pt x="33" y="272"/>
                </a:cubicBezTo>
                <a:cubicBezTo>
                  <a:pt x="32" y="272"/>
                  <a:pt x="32" y="272"/>
                  <a:pt x="32" y="272"/>
                </a:cubicBezTo>
                <a:cubicBezTo>
                  <a:pt x="32" y="272"/>
                  <a:pt x="32" y="272"/>
                  <a:pt x="32" y="272"/>
                </a:cubicBezTo>
                <a:cubicBezTo>
                  <a:pt x="31" y="272"/>
                  <a:pt x="31" y="272"/>
                  <a:pt x="31" y="272"/>
                </a:cubicBezTo>
                <a:cubicBezTo>
                  <a:pt x="31" y="273"/>
                  <a:pt x="31" y="273"/>
                  <a:pt x="31" y="273"/>
                </a:cubicBezTo>
                <a:cubicBezTo>
                  <a:pt x="31" y="274"/>
                  <a:pt x="31" y="274"/>
                  <a:pt x="31" y="274"/>
                </a:cubicBezTo>
                <a:cubicBezTo>
                  <a:pt x="30" y="274"/>
                  <a:pt x="30" y="274"/>
                  <a:pt x="30" y="274"/>
                </a:cubicBezTo>
                <a:cubicBezTo>
                  <a:pt x="30" y="275"/>
                  <a:pt x="30" y="275"/>
                  <a:pt x="30" y="275"/>
                </a:cubicBezTo>
                <a:cubicBezTo>
                  <a:pt x="31" y="275"/>
                  <a:pt x="31" y="275"/>
                  <a:pt x="31" y="275"/>
                </a:cubicBezTo>
                <a:cubicBezTo>
                  <a:pt x="30" y="276"/>
                  <a:pt x="30" y="276"/>
                  <a:pt x="30" y="276"/>
                </a:cubicBezTo>
                <a:cubicBezTo>
                  <a:pt x="30" y="276"/>
                  <a:pt x="30" y="276"/>
                  <a:pt x="30" y="276"/>
                </a:cubicBezTo>
                <a:cubicBezTo>
                  <a:pt x="32" y="277"/>
                  <a:pt x="32" y="277"/>
                  <a:pt x="32" y="277"/>
                </a:cubicBezTo>
                <a:cubicBezTo>
                  <a:pt x="34" y="278"/>
                  <a:pt x="34" y="278"/>
                  <a:pt x="34" y="278"/>
                </a:cubicBezTo>
                <a:cubicBezTo>
                  <a:pt x="34" y="278"/>
                  <a:pt x="34" y="278"/>
                  <a:pt x="34" y="278"/>
                </a:cubicBezTo>
                <a:cubicBezTo>
                  <a:pt x="34" y="278"/>
                  <a:pt x="34" y="278"/>
                  <a:pt x="34" y="278"/>
                </a:cubicBezTo>
                <a:cubicBezTo>
                  <a:pt x="34" y="277"/>
                  <a:pt x="34" y="277"/>
                  <a:pt x="34" y="277"/>
                </a:cubicBezTo>
                <a:cubicBezTo>
                  <a:pt x="35" y="276"/>
                  <a:pt x="35" y="276"/>
                  <a:pt x="35" y="276"/>
                </a:cubicBezTo>
                <a:cubicBezTo>
                  <a:pt x="35" y="276"/>
                  <a:pt x="35" y="276"/>
                  <a:pt x="35" y="276"/>
                </a:cubicBezTo>
                <a:cubicBezTo>
                  <a:pt x="36" y="275"/>
                  <a:pt x="36" y="275"/>
                  <a:pt x="36" y="275"/>
                </a:cubicBezTo>
                <a:cubicBezTo>
                  <a:pt x="35" y="274"/>
                  <a:pt x="35" y="274"/>
                  <a:pt x="35" y="274"/>
                </a:cubicBezTo>
                <a:cubicBezTo>
                  <a:pt x="36" y="274"/>
                  <a:pt x="36" y="274"/>
                  <a:pt x="36" y="274"/>
                </a:cubicBezTo>
                <a:cubicBezTo>
                  <a:pt x="37" y="273"/>
                  <a:pt x="37" y="273"/>
                  <a:pt x="37" y="273"/>
                </a:cubicBezTo>
                <a:cubicBezTo>
                  <a:pt x="38" y="271"/>
                  <a:pt x="38" y="271"/>
                  <a:pt x="38" y="271"/>
                </a:cubicBezTo>
                <a:cubicBezTo>
                  <a:pt x="39" y="271"/>
                  <a:pt x="39" y="271"/>
                  <a:pt x="39" y="271"/>
                </a:cubicBezTo>
                <a:cubicBezTo>
                  <a:pt x="39" y="271"/>
                  <a:pt x="39" y="271"/>
                  <a:pt x="39" y="271"/>
                </a:cubicBezTo>
                <a:cubicBezTo>
                  <a:pt x="40" y="271"/>
                  <a:pt x="40" y="271"/>
                  <a:pt x="40" y="271"/>
                </a:cubicBezTo>
                <a:cubicBezTo>
                  <a:pt x="41" y="271"/>
                  <a:pt x="41" y="271"/>
                  <a:pt x="41" y="271"/>
                </a:cubicBezTo>
                <a:cubicBezTo>
                  <a:pt x="41" y="272"/>
                  <a:pt x="41" y="272"/>
                  <a:pt x="41" y="272"/>
                </a:cubicBezTo>
                <a:cubicBezTo>
                  <a:pt x="40" y="272"/>
                  <a:pt x="40" y="272"/>
                  <a:pt x="40" y="272"/>
                </a:cubicBezTo>
                <a:cubicBezTo>
                  <a:pt x="40" y="273"/>
                  <a:pt x="40" y="273"/>
                  <a:pt x="40" y="273"/>
                </a:cubicBezTo>
                <a:cubicBezTo>
                  <a:pt x="39" y="274"/>
                  <a:pt x="39" y="274"/>
                  <a:pt x="39" y="274"/>
                </a:cubicBezTo>
                <a:cubicBezTo>
                  <a:pt x="38" y="275"/>
                  <a:pt x="38" y="275"/>
                  <a:pt x="38" y="275"/>
                </a:cubicBezTo>
                <a:cubicBezTo>
                  <a:pt x="38" y="276"/>
                  <a:pt x="38" y="276"/>
                  <a:pt x="38" y="276"/>
                </a:cubicBezTo>
                <a:cubicBezTo>
                  <a:pt x="39" y="277"/>
                  <a:pt x="39" y="277"/>
                  <a:pt x="39" y="277"/>
                </a:cubicBezTo>
                <a:cubicBezTo>
                  <a:pt x="38" y="278"/>
                  <a:pt x="38" y="278"/>
                  <a:pt x="38" y="278"/>
                </a:cubicBezTo>
                <a:cubicBezTo>
                  <a:pt x="37" y="278"/>
                  <a:pt x="37" y="278"/>
                  <a:pt x="37" y="278"/>
                </a:cubicBezTo>
                <a:cubicBezTo>
                  <a:pt x="37" y="278"/>
                  <a:pt x="37" y="278"/>
                  <a:pt x="37" y="278"/>
                </a:cubicBezTo>
                <a:cubicBezTo>
                  <a:pt x="38" y="277"/>
                  <a:pt x="38" y="277"/>
                  <a:pt x="38" y="277"/>
                </a:cubicBezTo>
                <a:cubicBezTo>
                  <a:pt x="38" y="276"/>
                  <a:pt x="38" y="276"/>
                  <a:pt x="38" y="276"/>
                </a:cubicBezTo>
                <a:cubicBezTo>
                  <a:pt x="37" y="276"/>
                  <a:pt x="37" y="276"/>
                  <a:pt x="37" y="276"/>
                </a:cubicBezTo>
                <a:cubicBezTo>
                  <a:pt x="37" y="276"/>
                  <a:pt x="37" y="276"/>
                  <a:pt x="37" y="276"/>
                </a:cubicBezTo>
                <a:cubicBezTo>
                  <a:pt x="36" y="277"/>
                  <a:pt x="36" y="277"/>
                  <a:pt x="36" y="277"/>
                </a:cubicBezTo>
                <a:cubicBezTo>
                  <a:pt x="36" y="277"/>
                  <a:pt x="36" y="277"/>
                  <a:pt x="36" y="277"/>
                </a:cubicBezTo>
                <a:cubicBezTo>
                  <a:pt x="35" y="277"/>
                  <a:pt x="35" y="277"/>
                  <a:pt x="35" y="277"/>
                </a:cubicBezTo>
                <a:cubicBezTo>
                  <a:pt x="35" y="277"/>
                  <a:pt x="35" y="277"/>
                  <a:pt x="35" y="277"/>
                </a:cubicBezTo>
                <a:cubicBezTo>
                  <a:pt x="35" y="278"/>
                  <a:pt x="35" y="278"/>
                  <a:pt x="35" y="278"/>
                </a:cubicBezTo>
                <a:cubicBezTo>
                  <a:pt x="37" y="280"/>
                  <a:pt x="37" y="280"/>
                  <a:pt x="37" y="280"/>
                </a:cubicBezTo>
                <a:cubicBezTo>
                  <a:pt x="39" y="281"/>
                  <a:pt x="39" y="281"/>
                  <a:pt x="39" y="281"/>
                </a:cubicBezTo>
                <a:cubicBezTo>
                  <a:pt x="40" y="281"/>
                  <a:pt x="40" y="281"/>
                  <a:pt x="40" y="281"/>
                </a:cubicBezTo>
                <a:cubicBezTo>
                  <a:pt x="41" y="281"/>
                  <a:pt x="41" y="281"/>
                  <a:pt x="41" y="281"/>
                </a:cubicBezTo>
                <a:cubicBezTo>
                  <a:pt x="42" y="282"/>
                  <a:pt x="42" y="282"/>
                  <a:pt x="42" y="282"/>
                </a:cubicBezTo>
                <a:cubicBezTo>
                  <a:pt x="43" y="281"/>
                  <a:pt x="43" y="281"/>
                  <a:pt x="43" y="281"/>
                </a:cubicBezTo>
                <a:cubicBezTo>
                  <a:pt x="43" y="280"/>
                  <a:pt x="43" y="280"/>
                  <a:pt x="43" y="280"/>
                </a:cubicBezTo>
                <a:cubicBezTo>
                  <a:pt x="43" y="278"/>
                  <a:pt x="43" y="278"/>
                  <a:pt x="43" y="278"/>
                </a:cubicBezTo>
                <a:cubicBezTo>
                  <a:pt x="43" y="277"/>
                  <a:pt x="43" y="277"/>
                  <a:pt x="43" y="277"/>
                </a:cubicBezTo>
                <a:cubicBezTo>
                  <a:pt x="43" y="276"/>
                  <a:pt x="43" y="276"/>
                  <a:pt x="43" y="276"/>
                </a:cubicBezTo>
                <a:cubicBezTo>
                  <a:pt x="43" y="274"/>
                  <a:pt x="43" y="274"/>
                  <a:pt x="43" y="274"/>
                </a:cubicBezTo>
                <a:cubicBezTo>
                  <a:pt x="43" y="272"/>
                  <a:pt x="43" y="272"/>
                  <a:pt x="43" y="272"/>
                </a:cubicBezTo>
                <a:cubicBezTo>
                  <a:pt x="43" y="271"/>
                  <a:pt x="43" y="271"/>
                  <a:pt x="43" y="271"/>
                </a:cubicBezTo>
                <a:cubicBezTo>
                  <a:pt x="43" y="270"/>
                  <a:pt x="43" y="270"/>
                  <a:pt x="43" y="270"/>
                </a:cubicBezTo>
                <a:cubicBezTo>
                  <a:pt x="44" y="269"/>
                  <a:pt x="44" y="269"/>
                  <a:pt x="44" y="269"/>
                </a:cubicBezTo>
                <a:cubicBezTo>
                  <a:pt x="46" y="268"/>
                  <a:pt x="46" y="268"/>
                  <a:pt x="46" y="268"/>
                </a:cubicBezTo>
                <a:cubicBezTo>
                  <a:pt x="47" y="267"/>
                  <a:pt x="47" y="267"/>
                  <a:pt x="47" y="267"/>
                </a:cubicBezTo>
                <a:cubicBezTo>
                  <a:pt x="48" y="267"/>
                  <a:pt x="48" y="267"/>
                  <a:pt x="48" y="267"/>
                </a:cubicBezTo>
                <a:cubicBezTo>
                  <a:pt x="49" y="267"/>
                  <a:pt x="49" y="267"/>
                  <a:pt x="49" y="267"/>
                </a:cubicBezTo>
                <a:cubicBezTo>
                  <a:pt x="48" y="265"/>
                  <a:pt x="48" y="265"/>
                  <a:pt x="48" y="265"/>
                </a:cubicBezTo>
                <a:cubicBezTo>
                  <a:pt x="49" y="265"/>
                  <a:pt x="49" y="265"/>
                  <a:pt x="49" y="265"/>
                </a:cubicBezTo>
                <a:cubicBezTo>
                  <a:pt x="51" y="264"/>
                  <a:pt x="51" y="264"/>
                  <a:pt x="51" y="264"/>
                </a:cubicBezTo>
                <a:cubicBezTo>
                  <a:pt x="52" y="265"/>
                  <a:pt x="52" y="265"/>
                  <a:pt x="52" y="265"/>
                </a:cubicBezTo>
                <a:cubicBezTo>
                  <a:pt x="53" y="265"/>
                  <a:pt x="53" y="265"/>
                  <a:pt x="53" y="265"/>
                </a:cubicBezTo>
                <a:cubicBezTo>
                  <a:pt x="53" y="265"/>
                  <a:pt x="53" y="265"/>
                  <a:pt x="53" y="265"/>
                </a:cubicBezTo>
                <a:close/>
                <a:moveTo>
                  <a:pt x="66" y="298"/>
                </a:moveTo>
                <a:cubicBezTo>
                  <a:pt x="66" y="299"/>
                  <a:pt x="66" y="299"/>
                  <a:pt x="66" y="299"/>
                </a:cubicBezTo>
                <a:cubicBezTo>
                  <a:pt x="67" y="298"/>
                  <a:pt x="67" y="298"/>
                  <a:pt x="67" y="298"/>
                </a:cubicBezTo>
                <a:cubicBezTo>
                  <a:pt x="66" y="298"/>
                  <a:pt x="66" y="298"/>
                  <a:pt x="66" y="298"/>
                </a:cubicBezTo>
                <a:cubicBezTo>
                  <a:pt x="66" y="298"/>
                  <a:pt x="66" y="298"/>
                  <a:pt x="66" y="298"/>
                </a:cubicBezTo>
                <a:close/>
                <a:moveTo>
                  <a:pt x="9" y="184"/>
                </a:moveTo>
                <a:cubicBezTo>
                  <a:pt x="8" y="184"/>
                  <a:pt x="8" y="184"/>
                  <a:pt x="8" y="184"/>
                </a:cubicBezTo>
                <a:cubicBezTo>
                  <a:pt x="7" y="184"/>
                  <a:pt x="7" y="184"/>
                  <a:pt x="7" y="184"/>
                </a:cubicBezTo>
                <a:cubicBezTo>
                  <a:pt x="7" y="184"/>
                  <a:pt x="7" y="184"/>
                  <a:pt x="7" y="184"/>
                </a:cubicBezTo>
                <a:cubicBezTo>
                  <a:pt x="8" y="186"/>
                  <a:pt x="8" y="186"/>
                  <a:pt x="8" y="186"/>
                </a:cubicBezTo>
                <a:cubicBezTo>
                  <a:pt x="8" y="186"/>
                  <a:pt x="8" y="186"/>
                  <a:pt x="8" y="186"/>
                </a:cubicBezTo>
                <a:cubicBezTo>
                  <a:pt x="9" y="188"/>
                  <a:pt x="9" y="188"/>
                  <a:pt x="9" y="188"/>
                </a:cubicBezTo>
                <a:cubicBezTo>
                  <a:pt x="9" y="188"/>
                  <a:pt x="9" y="188"/>
                  <a:pt x="9" y="188"/>
                </a:cubicBezTo>
                <a:cubicBezTo>
                  <a:pt x="8" y="187"/>
                  <a:pt x="8" y="187"/>
                  <a:pt x="8" y="187"/>
                </a:cubicBezTo>
                <a:cubicBezTo>
                  <a:pt x="7" y="188"/>
                  <a:pt x="7" y="188"/>
                  <a:pt x="7" y="188"/>
                </a:cubicBezTo>
                <a:cubicBezTo>
                  <a:pt x="7" y="190"/>
                  <a:pt x="7" y="190"/>
                  <a:pt x="7" y="190"/>
                </a:cubicBezTo>
                <a:cubicBezTo>
                  <a:pt x="7" y="190"/>
                  <a:pt x="7" y="190"/>
                  <a:pt x="7" y="190"/>
                </a:cubicBezTo>
                <a:cubicBezTo>
                  <a:pt x="5" y="190"/>
                  <a:pt x="5" y="190"/>
                  <a:pt x="5" y="190"/>
                </a:cubicBezTo>
                <a:cubicBezTo>
                  <a:pt x="4" y="190"/>
                  <a:pt x="4" y="190"/>
                  <a:pt x="4" y="190"/>
                </a:cubicBezTo>
                <a:cubicBezTo>
                  <a:pt x="4" y="188"/>
                  <a:pt x="4" y="188"/>
                  <a:pt x="4" y="188"/>
                </a:cubicBezTo>
                <a:cubicBezTo>
                  <a:pt x="4" y="184"/>
                  <a:pt x="4" y="184"/>
                  <a:pt x="4" y="184"/>
                </a:cubicBezTo>
                <a:cubicBezTo>
                  <a:pt x="4" y="183"/>
                  <a:pt x="4" y="183"/>
                  <a:pt x="4" y="183"/>
                </a:cubicBezTo>
                <a:cubicBezTo>
                  <a:pt x="3" y="183"/>
                  <a:pt x="3" y="183"/>
                  <a:pt x="3" y="183"/>
                </a:cubicBezTo>
                <a:cubicBezTo>
                  <a:pt x="3" y="182"/>
                  <a:pt x="3" y="182"/>
                  <a:pt x="3" y="182"/>
                </a:cubicBezTo>
                <a:cubicBezTo>
                  <a:pt x="3" y="181"/>
                  <a:pt x="3" y="181"/>
                  <a:pt x="3" y="181"/>
                </a:cubicBezTo>
                <a:cubicBezTo>
                  <a:pt x="4" y="180"/>
                  <a:pt x="4" y="180"/>
                  <a:pt x="4" y="180"/>
                </a:cubicBezTo>
                <a:cubicBezTo>
                  <a:pt x="4" y="179"/>
                  <a:pt x="4" y="179"/>
                  <a:pt x="4" y="179"/>
                </a:cubicBezTo>
                <a:cubicBezTo>
                  <a:pt x="4" y="179"/>
                  <a:pt x="4" y="179"/>
                  <a:pt x="4" y="179"/>
                </a:cubicBezTo>
                <a:cubicBezTo>
                  <a:pt x="4" y="178"/>
                  <a:pt x="4" y="178"/>
                  <a:pt x="4" y="178"/>
                </a:cubicBezTo>
                <a:cubicBezTo>
                  <a:pt x="5" y="177"/>
                  <a:pt x="5" y="177"/>
                  <a:pt x="5" y="177"/>
                </a:cubicBezTo>
                <a:cubicBezTo>
                  <a:pt x="6" y="177"/>
                  <a:pt x="6" y="177"/>
                  <a:pt x="6" y="177"/>
                </a:cubicBezTo>
                <a:cubicBezTo>
                  <a:pt x="7" y="178"/>
                  <a:pt x="7" y="178"/>
                  <a:pt x="7" y="178"/>
                </a:cubicBezTo>
                <a:cubicBezTo>
                  <a:pt x="8" y="179"/>
                  <a:pt x="8" y="179"/>
                  <a:pt x="8" y="179"/>
                </a:cubicBezTo>
                <a:cubicBezTo>
                  <a:pt x="8" y="181"/>
                  <a:pt x="8" y="181"/>
                  <a:pt x="8" y="181"/>
                </a:cubicBezTo>
                <a:cubicBezTo>
                  <a:pt x="8" y="181"/>
                  <a:pt x="8" y="181"/>
                  <a:pt x="8" y="181"/>
                </a:cubicBezTo>
                <a:cubicBezTo>
                  <a:pt x="8" y="183"/>
                  <a:pt x="8" y="183"/>
                  <a:pt x="8" y="183"/>
                </a:cubicBezTo>
                <a:cubicBezTo>
                  <a:pt x="7" y="182"/>
                  <a:pt x="7" y="182"/>
                  <a:pt x="7" y="182"/>
                </a:cubicBezTo>
                <a:cubicBezTo>
                  <a:pt x="8" y="183"/>
                  <a:pt x="8" y="183"/>
                  <a:pt x="8" y="183"/>
                </a:cubicBezTo>
                <a:cubicBezTo>
                  <a:pt x="9" y="184"/>
                  <a:pt x="9" y="184"/>
                  <a:pt x="9" y="184"/>
                </a:cubicBezTo>
                <a:cubicBezTo>
                  <a:pt x="9" y="184"/>
                  <a:pt x="9" y="184"/>
                  <a:pt x="9" y="184"/>
                </a:cubicBezTo>
                <a:close/>
                <a:moveTo>
                  <a:pt x="10" y="181"/>
                </a:moveTo>
                <a:cubicBezTo>
                  <a:pt x="11" y="181"/>
                  <a:pt x="11" y="181"/>
                  <a:pt x="11" y="181"/>
                </a:cubicBezTo>
                <a:cubicBezTo>
                  <a:pt x="11" y="181"/>
                  <a:pt x="11" y="181"/>
                  <a:pt x="11" y="181"/>
                </a:cubicBezTo>
                <a:cubicBezTo>
                  <a:pt x="11" y="182"/>
                  <a:pt x="11" y="182"/>
                  <a:pt x="11" y="182"/>
                </a:cubicBezTo>
                <a:cubicBezTo>
                  <a:pt x="10" y="181"/>
                  <a:pt x="10" y="181"/>
                  <a:pt x="10" y="181"/>
                </a:cubicBezTo>
                <a:close/>
                <a:moveTo>
                  <a:pt x="2" y="193"/>
                </a:moveTo>
                <a:cubicBezTo>
                  <a:pt x="3" y="192"/>
                  <a:pt x="3" y="192"/>
                  <a:pt x="3" y="192"/>
                </a:cubicBezTo>
                <a:cubicBezTo>
                  <a:pt x="4" y="192"/>
                  <a:pt x="4" y="192"/>
                  <a:pt x="4" y="192"/>
                </a:cubicBezTo>
                <a:cubicBezTo>
                  <a:pt x="5" y="193"/>
                  <a:pt x="5" y="193"/>
                  <a:pt x="5" y="193"/>
                </a:cubicBezTo>
                <a:cubicBezTo>
                  <a:pt x="3" y="194"/>
                  <a:pt x="3" y="194"/>
                  <a:pt x="3" y="194"/>
                </a:cubicBezTo>
                <a:cubicBezTo>
                  <a:pt x="2" y="193"/>
                  <a:pt x="2" y="193"/>
                  <a:pt x="2" y="193"/>
                </a:cubicBezTo>
                <a:close/>
                <a:moveTo>
                  <a:pt x="11" y="194"/>
                </a:moveTo>
                <a:cubicBezTo>
                  <a:pt x="12" y="194"/>
                  <a:pt x="12" y="194"/>
                  <a:pt x="12" y="194"/>
                </a:cubicBezTo>
                <a:cubicBezTo>
                  <a:pt x="12" y="194"/>
                  <a:pt x="12" y="194"/>
                  <a:pt x="12" y="194"/>
                </a:cubicBezTo>
                <a:cubicBezTo>
                  <a:pt x="11" y="195"/>
                  <a:pt x="11" y="195"/>
                  <a:pt x="11" y="195"/>
                </a:cubicBezTo>
                <a:cubicBezTo>
                  <a:pt x="11" y="194"/>
                  <a:pt x="11" y="194"/>
                  <a:pt x="11" y="194"/>
                </a:cubicBezTo>
                <a:close/>
                <a:moveTo>
                  <a:pt x="9" y="194"/>
                </a:moveTo>
                <a:cubicBezTo>
                  <a:pt x="10" y="194"/>
                  <a:pt x="10" y="194"/>
                  <a:pt x="10" y="194"/>
                </a:cubicBezTo>
                <a:cubicBezTo>
                  <a:pt x="10" y="196"/>
                  <a:pt x="10" y="196"/>
                  <a:pt x="10" y="196"/>
                </a:cubicBezTo>
                <a:cubicBezTo>
                  <a:pt x="9" y="196"/>
                  <a:pt x="9" y="196"/>
                  <a:pt x="9" y="196"/>
                </a:cubicBezTo>
                <a:cubicBezTo>
                  <a:pt x="9" y="195"/>
                  <a:pt x="9" y="195"/>
                  <a:pt x="9" y="195"/>
                </a:cubicBezTo>
                <a:cubicBezTo>
                  <a:pt x="8" y="195"/>
                  <a:pt x="8" y="195"/>
                  <a:pt x="8" y="195"/>
                </a:cubicBezTo>
                <a:cubicBezTo>
                  <a:pt x="9" y="194"/>
                  <a:pt x="9" y="194"/>
                  <a:pt x="9" y="194"/>
                </a:cubicBezTo>
                <a:close/>
                <a:moveTo>
                  <a:pt x="6" y="194"/>
                </a:moveTo>
                <a:cubicBezTo>
                  <a:pt x="7" y="193"/>
                  <a:pt x="7" y="193"/>
                  <a:pt x="7" y="193"/>
                </a:cubicBezTo>
                <a:cubicBezTo>
                  <a:pt x="8" y="194"/>
                  <a:pt x="8" y="194"/>
                  <a:pt x="8" y="194"/>
                </a:cubicBezTo>
                <a:cubicBezTo>
                  <a:pt x="7" y="194"/>
                  <a:pt x="7" y="194"/>
                  <a:pt x="7" y="194"/>
                </a:cubicBezTo>
                <a:cubicBezTo>
                  <a:pt x="6" y="194"/>
                  <a:pt x="6" y="194"/>
                  <a:pt x="6" y="194"/>
                </a:cubicBezTo>
                <a:close/>
                <a:moveTo>
                  <a:pt x="7" y="196"/>
                </a:moveTo>
                <a:cubicBezTo>
                  <a:pt x="7" y="196"/>
                  <a:pt x="7" y="196"/>
                  <a:pt x="7" y="196"/>
                </a:cubicBezTo>
                <a:cubicBezTo>
                  <a:pt x="8" y="196"/>
                  <a:pt x="8" y="196"/>
                  <a:pt x="8" y="196"/>
                </a:cubicBezTo>
                <a:cubicBezTo>
                  <a:pt x="7" y="197"/>
                  <a:pt x="7" y="197"/>
                  <a:pt x="7" y="197"/>
                </a:cubicBezTo>
                <a:cubicBezTo>
                  <a:pt x="7" y="196"/>
                  <a:pt x="7" y="196"/>
                  <a:pt x="7" y="196"/>
                </a:cubicBezTo>
                <a:close/>
                <a:moveTo>
                  <a:pt x="5" y="198"/>
                </a:moveTo>
                <a:cubicBezTo>
                  <a:pt x="6" y="197"/>
                  <a:pt x="6" y="197"/>
                  <a:pt x="6" y="197"/>
                </a:cubicBezTo>
                <a:cubicBezTo>
                  <a:pt x="6" y="197"/>
                  <a:pt x="6" y="197"/>
                  <a:pt x="6" y="197"/>
                </a:cubicBezTo>
                <a:cubicBezTo>
                  <a:pt x="7" y="198"/>
                  <a:pt x="7" y="198"/>
                  <a:pt x="7" y="198"/>
                </a:cubicBezTo>
                <a:cubicBezTo>
                  <a:pt x="7" y="198"/>
                  <a:pt x="7" y="198"/>
                  <a:pt x="7" y="198"/>
                </a:cubicBezTo>
                <a:cubicBezTo>
                  <a:pt x="6" y="198"/>
                  <a:pt x="6" y="198"/>
                  <a:pt x="6" y="198"/>
                </a:cubicBezTo>
                <a:cubicBezTo>
                  <a:pt x="5" y="198"/>
                  <a:pt x="5" y="198"/>
                  <a:pt x="5" y="198"/>
                </a:cubicBezTo>
                <a:cubicBezTo>
                  <a:pt x="5" y="198"/>
                  <a:pt x="5" y="198"/>
                  <a:pt x="5" y="198"/>
                </a:cubicBezTo>
                <a:close/>
                <a:moveTo>
                  <a:pt x="4" y="200"/>
                </a:moveTo>
                <a:cubicBezTo>
                  <a:pt x="5" y="200"/>
                  <a:pt x="5" y="200"/>
                  <a:pt x="5" y="200"/>
                </a:cubicBezTo>
                <a:cubicBezTo>
                  <a:pt x="4" y="201"/>
                  <a:pt x="4" y="201"/>
                  <a:pt x="4" y="201"/>
                </a:cubicBezTo>
                <a:cubicBezTo>
                  <a:pt x="3" y="201"/>
                  <a:pt x="3" y="201"/>
                  <a:pt x="3" y="201"/>
                </a:cubicBezTo>
                <a:cubicBezTo>
                  <a:pt x="4" y="200"/>
                  <a:pt x="4" y="200"/>
                  <a:pt x="4" y="200"/>
                </a:cubicBezTo>
                <a:close/>
                <a:moveTo>
                  <a:pt x="10" y="199"/>
                </a:moveTo>
                <a:cubicBezTo>
                  <a:pt x="10" y="201"/>
                  <a:pt x="10" y="201"/>
                  <a:pt x="10" y="201"/>
                </a:cubicBezTo>
                <a:cubicBezTo>
                  <a:pt x="10" y="201"/>
                  <a:pt x="10" y="201"/>
                  <a:pt x="10" y="201"/>
                </a:cubicBezTo>
                <a:cubicBezTo>
                  <a:pt x="10" y="199"/>
                  <a:pt x="10" y="199"/>
                  <a:pt x="10" y="199"/>
                </a:cubicBezTo>
                <a:close/>
                <a:moveTo>
                  <a:pt x="8" y="199"/>
                </a:moveTo>
                <a:cubicBezTo>
                  <a:pt x="9" y="198"/>
                  <a:pt x="9" y="198"/>
                  <a:pt x="9" y="198"/>
                </a:cubicBezTo>
                <a:cubicBezTo>
                  <a:pt x="9" y="200"/>
                  <a:pt x="9" y="200"/>
                  <a:pt x="9" y="200"/>
                </a:cubicBezTo>
                <a:cubicBezTo>
                  <a:pt x="8" y="199"/>
                  <a:pt x="8" y="199"/>
                  <a:pt x="8" y="199"/>
                </a:cubicBezTo>
                <a:close/>
                <a:moveTo>
                  <a:pt x="5" y="209"/>
                </a:moveTo>
                <a:cubicBezTo>
                  <a:pt x="6" y="209"/>
                  <a:pt x="6" y="209"/>
                  <a:pt x="6" y="209"/>
                </a:cubicBezTo>
                <a:cubicBezTo>
                  <a:pt x="6" y="210"/>
                  <a:pt x="6" y="210"/>
                  <a:pt x="6" y="210"/>
                </a:cubicBezTo>
                <a:cubicBezTo>
                  <a:pt x="5" y="210"/>
                  <a:pt x="5" y="210"/>
                  <a:pt x="5" y="210"/>
                </a:cubicBezTo>
                <a:cubicBezTo>
                  <a:pt x="5" y="209"/>
                  <a:pt x="5" y="209"/>
                  <a:pt x="5" y="209"/>
                </a:cubicBezTo>
                <a:close/>
                <a:moveTo>
                  <a:pt x="5" y="201"/>
                </a:moveTo>
                <a:cubicBezTo>
                  <a:pt x="5" y="200"/>
                  <a:pt x="5" y="200"/>
                  <a:pt x="5" y="200"/>
                </a:cubicBezTo>
                <a:cubicBezTo>
                  <a:pt x="5" y="199"/>
                  <a:pt x="5" y="199"/>
                  <a:pt x="5" y="199"/>
                </a:cubicBezTo>
                <a:cubicBezTo>
                  <a:pt x="6" y="199"/>
                  <a:pt x="6" y="199"/>
                  <a:pt x="6" y="199"/>
                </a:cubicBezTo>
                <a:cubicBezTo>
                  <a:pt x="7" y="200"/>
                  <a:pt x="7" y="200"/>
                  <a:pt x="7" y="200"/>
                </a:cubicBezTo>
                <a:cubicBezTo>
                  <a:pt x="6" y="200"/>
                  <a:pt x="6" y="200"/>
                  <a:pt x="6" y="200"/>
                </a:cubicBezTo>
                <a:cubicBezTo>
                  <a:pt x="5" y="201"/>
                  <a:pt x="5" y="201"/>
                  <a:pt x="5" y="201"/>
                </a:cubicBezTo>
                <a:close/>
                <a:moveTo>
                  <a:pt x="3" y="203"/>
                </a:moveTo>
                <a:cubicBezTo>
                  <a:pt x="1" y="202"/>
                  <a:pt x="1" y="202"/>
                  <a:pt x="1" y="202"/>
                </a:cubicBezTo>
                <a:cubicBezTo>
                  <a:pt x="1" y="201"/>
                  <a:pt x="1" y="201"/>
                  <a:pt x="1" y="201"/>
                </a:cubicBezTo>
                <a:cubicBezTo>
                  <a:pt x="3" y="201"/>
                  <a:pt x="3" y="201"/>
                  <a:pt x="3" y="201"/>
                </a:cubicBezTo>
                <a:cubicBezTo>
                  <a:pt x="3" y="202"/>
                  <a:pt x="3" y="202"/>
                  <a:pt x="3" y="202"/>
                </a:cubicBezTo>
                <a:cubicBezTo>
                  <a:pt x="3" y="203"/>
                  <a:pt x="3" y="203"/>
                  <a:pt x="3" y="203"/>
                </a:cubicBezTo>
                <a:close/>
                <a:moveTo>
                  <a:pt x="7" y="207"/>
                </a:moveTo>
                <a:cubicBezTo>
                  <a:pt x="8" y="207"/>
                  <a:pt x="8" y="207"/>
                  <a:pt x="8" y="207"/>
                </a:cubicBezTo>
                <a:cubicBezTo>
                  <a:pt x="8" y="208"/>
                  <a:pt x="8" y="208"/>
                  <a:pt x="8" y="208"/>
                </a:cubicBezTo>
                <a:cubicBezTo>
                  <a:pt x="7" y="207"/>
                  <a:pt x="7" y="207"/>
                  <a:pt x="7" y="207"/>
                </a:cubicBezTo>
                <a:close/>
                <a:moveTo>
                  <a:pt x="9" y="208"/>
                </a:moveTo>
                <a:cubicBezTo>
                  <a:pt x="10" y="208"/>
                  <a:pt x="10" y="208"/>
                  <a:pt x="10" y="208"/>
                </a:cubicBezTo>
                <a:cubicBezTo>
                  <a:pt x="9" y="209"/>
                  <a:pt x="9" y="209"/>
                  <a:pt x="9" y="209"/>
                </a:cubicBezTo>
                <a:cubicBezTo>
                  <a:pt x="9" y="208"/>
                  <a:pt x="9" y="208"/>
                  <a:pt x="9" y="208"/>
                </a:cubicBezTo>
                <a:close/>
                <a:moveTo>
                  <a:pt x="11" y="197"/>
                </a:moveTo>
                <a:cubicBezTo>
                  <a:pt x="12" y="197"/>
                  <a:pt x="12" y="197"/>
                  <a:pt x="12" y="197"/>
                </a:cubicBezTo>
                <a:cubicBezTo>
                  <a:pt x="13" y="198"/>
                  <a:pt x="13" y="198"/>
                  <a:pt x="13" y="198"/>
                </a:cubicBezTo>
                <a:cubicBezTo>
                  <a:pt x="11" y="198"/>
                  <a:pt x="11" y="198"/>
                  <a:pt x="11" y="198"/>
                </a:cubicBezTo>
                <a:cubicBezTo>
                  <a:pt x="11" y="197"/>
                  <a:pt x="11" y="197"/>
                  <a:pt x="11" y="197"/>
                </a:cubicBezTo>
                <a:close/>
                <a:moveTo>
                  <a:pt x="13" y="198"/>
                </a:moveTo>
                <a:cubicBezTo>
                  <a:pt x="14" y="199"/>
                  <a:pt x="14" y="199"/>
                  <a:pt x="14" y="199"/>
                </a:cubicBezTo>
                <a:cubicBezTo>
                  <a:pt x="15" y="199"/>
                  <a:pt x="15" y="199"/>
                  <a:pt x="15" y="199"/>
                </a:cubicBezTo>
                <a:cubicBezTo>
                  <a:pt x="16" y="201"/>
                  <a:pt x="16" y="201"/>
                  <a:pt x="16" y="201"/>
                </a:cubicBezTo>
                <a:cubicBezTo>
                  <a:pt x="15" y="202"/>
                  <a:pt x="15" y="202"/>
                  <a:pt x="15" y="202"/>
                </a:cubicBezTo>
                <a:cubicBezTo>
                  <a:pt x="15" y="202"/>
                  <a:pt x="15" y="202"/>
                  <a:pt x="15" y="202"/>
                </a:cubicBezTo>
                <a:cubicBezTo>
                  <a:pt x="14" y="203"/>
                  <a:pt x="14" y="203"/>
                  <a:pt x="14" y="203"/>
                </a:cubicBezTo>
                <a:cubicBezTo>
                  <a:pt x="13" y="202"/>
                  <a:pt x="13" y="202"/>
                  <a:pt x="13" y="202"/>
                </a:cubicBezTo>
                <a:cubicBezTo>
                  <a:pt x="13" y="202"/>
                  <a:pt x="13" y="202"/>
                  <a:pt x="13" y="202"/>
                </a:cubicBezTo>
                <a:cubicBezTo>
                  <a:pt x="12" y="203"/>
                  <a:pt x="12" y="203"/>
                  <a:pt x="12" y="203"/>
                </a:cubicBezTo>
                <a:cubicBezTo>
                  <a:pt x="12" y="202"/>
                  <a:pt x="12" y="202"/>
                  <a:pt x="12" y="202"/>
                </a:cubicBezTo>
                <a:cubicBezTo>
                  <a:pt x="11" y="201"/>
                  <a:pt x="11" y="201"/>
                  <a:pt x="11" y="201"/>
                </a:cubicBezTo>
                <a:cubicBezTo>
                  <a:pt x="12" y="199"/>
                  <a:pt x="12" y="199"/>
                  <a:pt x="12" y="199"/>
                </a:cubicBezTo>
                <a:cubicBezTo>
                  <a:pt x="13" y="198"/>
                  <a:pt x="13" y="198"/>
                  <a:pt x="13" y="198"/>
                </a:cubicBezTo>
                <a:close/>
                <a:moveTo>
                  <a:pt x="6" y="202"/>
                </a:moveTo>
                <a:cubicBezTo>
                  <a:pt x="7" y="201"/>
                  <a:pt x="7" y="201"/>
                  <a:pt x="7" y="201"/>
                </a:cubicBezTo>
                <a:cubicBezTo>
                  <a:pt x="9" y="201"/>
                  <a:pt x="9" y="201"/>
                  <a:pt x="9" y="201"/>
                </a:cubicBezTo>
                <a:cubicBezTo>
                  <a:pt x="9" y="202"/>
                  <a:pt x="9" y="202"/>
                  <a:pt x="9" y="202"/>
                </a:cubicBezTo>
                <a:cubicBezTo>
                  <a:pt x="7" y="202"/>
                  <a:pt x="7" y="202"/>
                  <a:pt x="7" y="202"/>
                </a:cubicBezTo>
                <a:cubicBezTo>
                  <a:pt x="7" y="203"/>
                  <a:pt x="7" y="203"/>
                  <a:pt x="7" y="203"/>
                </a:cubicBezTo>
                <a:cubicBezTo>
                  <a:pt x="7" y="203"/>
                  <a:pt x="6" y="202"/>
                  <a:pt x="6" y="202"/>
                </a:cubicBezTo>
                <a:close/>
                <a:moveTo>
                  <a:pt x="8" y="204"/>
                </a:moveTo>
                <a:cubicBezTo>
                  <a:pt x="7" y="204"/>
                  <a:pt x="7" y="204"/>
                  <a:pt x="7" y="204"/>
                </a:cubicBezTo>
                <a:cubicBezTo>
                  <a:pt x="8" y="203"/>
                  <a:pt x="8" y="203"/>
                  <a:pt x="8" y="203"/>
                </a:cubicBezTo>
                <a:cubicBezTo>
                  <a:pt x="9" y="203"/>
                  <a:pt x="9" y="203"/>
                  <a:pt x="9" y="203"/>
                </a:cubicBezTo>
                <a:cubicBezTo>
                  <a:pt x="9" y="204"/>
                  <a:pt x="9" y="204"/>
                  <a:pt x="9" y="204"/>
                </a:cubicBezTo>
                <a:cubicBezTo>
                  <a:pt x="8" y="204"/>
                  <a:pt x="8" y="204"/>
                  <a:pt x="8" y="204"/>
                </a:cubicBezTo>
                <a:close/>
                <a:moveTo>
                  <a:pt x="8" y="205"/>
                </a:moveTo>
                <a:cubicBezTo>
                  <a:pt x="9" y="205"/>
                  <a:pt x="9" y="205"/>
                  <a:pt x="9" y="205"/>
                </a:cubicBezTo>
                <a:cubicBezTo>
                  <a:pt x="11" y="205"/>
                  <a:pt x="11" y="205"/>
                  <a:pt x="11" y="205"/>
                </a:cubicBezTo>
                <a:cubicBezTo>
                  <a:pt x="11" y="207"/>
                  <a:pt x="11" y="207"/>
                  <a:pt x="11" y="207"/>
                </a:cubicBezTo>
                <a:cubicBezTo>
                  <a:pt x="10" y="208"/>
                  <a:pt x="10" y="208"/>
                  <a:pt x="10" y="208"/>
                </a:cubicBezTo>
                <a:cubicBezTo>
                  <a:pt x="9" y="207"/>
                  <a:pt x="9" y="207"/>
                  <a:pt x="9" y="207"/>
                </a:cubicBezTo>
                <a:cubicBezTo>
                  <a:pt x="9" y="206"/>
                  <a:pt x="9" y="206"/>
                  <a:pt x="9" y="206"/>
                </a:cubicBezTo>
                <a:cubicBezTo>
                  <a:pt x="8" y="205"/>
                  <a:pt x="8" y="205"/>
                  <a:pt x="8" y="205"/>
                </a:cubicBezTo>
                <a:close/>
                <a:moveTo>
                  <a:pt x="6" y="209"/>
                </a:moveTo>
                <a:cubicBezTo>
                  <a:pt x="7" y="208"/>
                  <a:pt x="7" y="208"/>
                  <a:pt x="7" y="208"/>
                </a:cubicBezTo>
                <a:cubicBezTo>
                  <a:pt x="7" y="208"/>
                  <a:pt x="7" y="208"/>
                  <a:pt x="7" y="208"/>
                </a:cubicBezTo>
                <a:cubicBezTo>
                  <a:pt x="8" y="209"/>
                  <a:pt x="8" y="209"/>
                  <a:pt x="8" y="209"/>
                </a:cubicBezTo>
                <a:cubicBezTo>
                  <a:pt x="9" y="210"/>
                  <a:pt x="9" y="210"/>
                  <a:pt x="9" y="210"/>
                </a:cubicBezTo>
                <a:cubicBezTo>
                  <a:pt x="8" y="210"/>
                  <a:pt x="8" y="210"/>
                  <a:pt x="8" y="210"/>
                </a:cubicBezTo>
                <a:cubicBezTo>
                  <a:pt x="6" y="209"/>
                  <a:pt x="6" y="209"/>
                  <a:pt x="6" y="209"/>
                </a:cubicBezTo>
                <a:close/>
                <a:moveTo>
                  <a:pt x="10" y="233"/>
                </a:moveTo>
                <a:cubicBezTo>
                  <a:pt x="10" y="232"/>
                  <a:pt x="10" y="232"/>
                  <a:pt x="10" y="232"/>
                </a:cubicBezTo>
                <a:cubicBezTo>
                  <a:pt x="10" y="232"/>
                  <a:pt x="10" y="232"/>
                  <a:pt x="10" y="232"/>
                </a:cubicBezTo>
                <a:cubicBezTo>
                  <a:pt x="10" y="232"/>
                  <a:pt x="10" y="232"/>
                  <a:pt x="10" y="232"/>
                </a:cubicBezTo>
                <a:cubicBezTo>
                  <a:pt x="8" y="230"/>
                  <a:pt x="8" y="230"/>
                  <a:pt x="8" y="230"/>
                </a:cubicBezTo>
                <a:cubicBezTo>
                  <a:pt x="7" y="229"/>
                  <a:pt x="7" y="229"/>
                  <a:pt x="7" y="229"/>
                </a:cubicBezTo>
                <a:cubicBezTo>
                  <a:pt x="7" y="228"/>
                  <a:pt x="7" y="228"/>
                  <a:pt x="7" y="228"/>
                </a:cubicBezTo>
                <a:cubicBezTo>
                  <a:pt x="8" y="228"/>
                  <a:pt x="8" y="228"/>
                  <a:pt x="8" y="228"/>
                </a:cubicBezTo>
                <a:cubicBezTo>
                  <a:pt x="9" y="228"/>
                  <a:pt x="9" y="228"/>
                  <a:pt x="9" y="228"/>
                </a:cubicBezTo>
                <a:cubicBezTo>
                  <a:pt x="10" y="230"/>
                  <a:pt x="10" y="230"/>
                  <a:pt x="10" y="230"/>
                </a:cubicBezTo>
                <a:cubicBezTo>
                  <a:pt x="11" y="230"/>
                  <a:pt x="11" y="230"/>
                  <a:pt x="11" y="230"/>
                </a:cubicBezTo>
                <a:cubicBezTo>
                  <a:pt x="11" y="231"/>
                  <a:pt x="11" y="231"/>
                  <a:pt x="11" y="231"/>
                </a:cubicBezTo>
                <a:cubicBezTo>
                  <a:pt x="12" y="232"/>
                  <a:pt x="12" y="232"/>
                  <a:pt x="12" y="232"/>
                </a:cubicBezTo>
                <a:cubicBezTo>
                  <a:pt x="13" y="234"/>
                  <a:pt x="13" y="234"/>
                  <a:pt x="13" y="234"/>
                </a:cubicBezTo>
                <a:cubicBezTo>
                  <a:pt x="11" y="234"/>
                  <a:pt x="11" y="234"/>
                  <a:pt x="11" y="234"/>
                </a:cubicBezTo>
                <a:cubicBezTo>
                  <a:pt x="10" y="234"/>
                  <a:pt x="10" y="234"/>
                  <a:pt x="10" y="234"/>
                </a:cubicBezTo>
                <a:cubicBezTo>
                  <a:pt x="10" y="233"/>
                  <a:pt x="10" y="233"/>
                  <a:pt x="10" y="233"/>
                </a:cubicBezTo>
                <a:close/>
                <a:moveTo>
                  <a:pt x="5" y="231"/>
                </a:moveTo>
                <a:cubicBezTo>
                  <a:pt x="5" y="230"/>
                  <a:pt x="5" y="230"/>
                  <a:pt x="5" y="230"/>
                </a:cubicBezTo>
                <a:cubicBezTo>
                  <a:pt x="5" y="229"/>
                  <a:pt x="5" y="229"/>
                  <a:pt x="5" y="229"/>
                </a:cubicBezTo>
                <a:cubicBezTo>
                  <a:pt x="7" y="230"/>
                  <a:pt x="7" y="230"/>
                  <a:pt x="7" y="230"/>
                </a:cubicBezTo>
                <a:cubicBezTo>
                  <a:pt x="8" y="232"/>
                  <a:pt x="8" y="232"/>
                  <a:pt x="8" y="232"/>
                </a:cubicBezTo>
                <a:cubicBezTo>
                  <a:pt x="9" y="234"/>
                  <a:pt x="9" y="234"/>
                  <a:pt x="9" y="234"/>
                </a:cubicBezTo>
                <a:cubicBezTo>
                  <a:pt x="9" y="235"/>
                  <a:pt x="9" y="235"/>
                  <a:pt x="9" y="235"/>
                </a:cubicBezTo>
                <a:cubicBezTo>
                  <a:pt x="9" y="236"/>
                  <a:pt x="9" y="236"/>
                  <a:pt x="9" y="236"/>
                </a:cubicBezTo>
                <a:cubicBezTo>
                  <a:pt x="8" y="235"/>
                  <a:pt x="8" y="235"/>
                  <a:pt x="8" y="235"/>
                </a:cubicBezTo>
                <a:cubicBezTo>
                  <a:pt x="7" y="233"/>
                  <a:pt x="7" y="233"/>
                  <a:pt x="7" y="233"/>
                </a:cubicBezTo>
                <a:cubicBezTo>
                  <a:pt x="7" y="233"/>
                  <a:pt x="7" y="233"/>
                  <a:pt x="7" y="233"/>
                </a:cubicBezTo>
                <a:cubicBezTo>
                  <a:pt x="7" y="232"/>
                  <a:pt x="7" y="232"/>
                  <a:pt x="7" y="232"/>
                </a:cubicBezTo>
                <a:cubicBezTo>
                  <a:pt x="5" y="232"/>
                  <a:pt x="5" y="232"/>
                  <a:pt x="5" y="232"/>
                </a:cubicBezTo>
                <a:cubicBezTo>
                  <a:pt x="5" y="231"/>
                  <a:pt x="5" y="231"/>
                  <a:pt x="5" y="231"/>
                </a:cubicBezTo>
                <a:close/>
                <a:moveTo>
                  <a:pt x="5" y="233"/>
                </a:moveTo>
                <a:cubicBezTo>
                  <a:pt x="6" y="233"/>
                  <a:pt x="6" y="233"/>
                  <a:pt x="6" y="233"/>
                </a:cubicBezTo>
                <a:cubicBezTo>
                  <a:pt x="7" y="233"/>
                  <a:pt x="7" y="233"/>
                  <a:pt x="7" y="233"/>
                </a:cubicBezTo>
                <a:cubicBezTo>
                  <a:pt x="7" y="234"/>
                  <a:pt x="7" y="234"/>
                  <a:pt x="7" y="234"/>
                </a:cubicBezTo>
                <a:cubicBezTo>
                  <a:pt x="7" y="235"/>
                  <a:pt x="7" y="235"/>
                  <a:pt x="7" y="235"/>
                </a:cubicBezTo>
                <a:cubicBezTo>
                  <a:pt x="6" y="235"/>
                  <a:pt x="6" y="235"/>
                  <a:pt x="6" y="235"/>
                </a:cubicBezTo>
                <a:cubicBezTo>
                  <a:pt x="6" y="235"/>
                  <a:pt x="6" y="235"/>
                  <a:pt x="6" y="235"/>
                </a:cubicBezTo>
                <a:cubicBezTo>
                  <a:pt x="5" y="234"/>
                  <a:pt x="5" y="234"/>
                  <a:pt x="5" y="234"/>
                </a:cubicBezTo>
                <a:cubicBezTo>
                  <a:pt x="5" y="233"/>
                  <a:pt x="5" y="233"/>
                  <a:pt x="5" y="233"/>
                </a:cubicBezTo>
                <a:close/>
                <a:moveTo>
                  <a:pt x="8" y="240"/>
                </a:moveTo>
                <a:cubicBezTo>
                  <a:pt x="7" y="240"/>
                  <a:pt x="7" y="240"/>
                  <a:pt x="7" y="240"/>
                </a:cubicBezTo>
                <a:cubicBezTo>
                  <a:pt x="7" y="239"/>
                  <a:pt x="7" y="239"/>
                  <a:pt x="7" y="239"/>
                </a:cubicBezTo>
                <a:cubicBezTo>
                  <a:pt x="7" y="237"/>
                  <a:pt x="7" y="237"/>
                  <a:pt x="7" y="237"/>
                </a:cubicBezTo>
                <a:cubicBezTo>
                  <a:pt x="7" y="236"/>
                  <a:pt x="7" y="236"/>
                  <a:pt x="7" y="236"/>
                </a:cubicBezTo>
                <a:cubicBezTo>
                  <a:pt x="7" y="237"/>
                  <a:pt x="7" y="237"/>
                  <a:pt x="7" y="237"/>
                </a:cubicBezTo>
                <a:cubicBezTo>
                  <a:pt x="9" y="237"/>
                  <a:pt x="9" y="237"/>
                  <a:pt x="9" y="237"/>
                </a:cubicBezTo>
                <a:cubicBezTo>
                  <a:pt x="9" y="238"/>
                  <a:pt x="9" y="238"/>
                  <a:pt x="9" y="238"/>
                </a:cubicBezTo>
                <a:cubicBezTo>
                  <a:pt x="9" y="238"/>
                  <a:pt x="9" y="238"/>
                  <a:pt x="9" y="238"/>
                </a:cubicBezTo>
                <a:cubicBezTo>
                  <a:pt x="8" y="240"/>
                  <a:pt x="8" y="240"/>
                  <a:pt x="8" y="240"/>
                </a:cubicBezTo>
                <a:close/>
                <a:moveTo>
                  <a:pt x="9" y="245"/>
                </a:moveTo>
                <a:cubicBezTo>
                  <a:pt x="8" y="245"/>
                  <a:pt x="8" y="245"/>
                  <a:pt x="8" y="245"/>
                </a:cubicBezTo>
                <a:cubicBezTo>
                  <a:pt x="8" y="245"/>
                  <a:pt x="8" y="245"/>
                  <a:pt x="8" y="245"/>
                </a:cubicBezTo>
                <a:cubicBezTo>
                  <a:pt x="8" y="244"/>
                  <a:pt x="8" y="244"/>
                  <a:pt x="8" y="244"/>
                </a:cubicBezTo>
                <a:cubicBezTo>
                  <a:pt x="7" y="243"/>
                  <a:pt x="7" y="243"/>
                  <a:pt x="7" y="243"/>
                </a:cubicBezTo>
                <a:cubicBezTo>
                  <a:pt x="9" y="243"/>
                  <a:pt x="9" y="243"/>
                  <a:pt x="9" y="243"/>
                </a:cubicBezTo>
                <a:cubicBezTo>
                  <a:pt x="10" y="244"/>
                  <a:pt x="10" y="244"/>
                  <a:pt x="10" y="244"/>
                </a:cubicBezTo>
                <a:cubicBezTo>
                  <a:pt x="9" y="245"/>
                  <a:pt x="9" y="245"/>
                  <a:pt x="9" y="245"/>
                </a:cubicBezTo>
                <a:close/>
                <a:moveTo>
                  <a:pt x="12" y="244"/>
                </a:moveTo>
                <a:cubicBezTo>
                  <a:pt x="12" y="246"/>
                  <a:pt x="12" y="246"/>
                  <a:pt x="12" y="246"/>
                </a:cubicBezTo>
                <a:cubicBezTo>
                  <a:pt x="12" y="246"/>
                  <a:pt x="12" y="246"/>
                  <a:pt x="12" y="246"/>
                </a:cubicBezTo>
                <a:cubicBezTo>
                  <a:pt x="10" y="245"/>
                  <a:pt x="10" y="245"/>
                  <a:pt x="10" y="245"/>
                </a:cubicBezTo>
                <a:cubicBezTo>
                  <a:pt x="10" y="244"/>
                  <a:pt x="10" y="244"/>
                  <a:pt x="10" y="244"/>
                </a:cubicBezTo>
                <a:cubicBezTo>
                  <a:pt x="9" y="241"/>
                  <a:pt x="9" y="241"/>
                  <a:pt x="9" y="241"/>
                </a:cubicBezTo>
                <a:cubicBezTo>
                  <a:pt x="10" y="241"/>
                  <a:pt x="10" y="241"/>
                  <a:pt x="10" y="241"/>
                </a:cubicBezTo>
                <a:cubicBezTo>
                  <a:pt x="11" y="240"/>
                  <a:pt x="11" y="240"/>
                  <a:pt x="11" y="240"/>
                </a:cubicBezTo>
                <a:cubicBezTo>
                  <a:pt x="11" y="239"/>
                  <a:pt x="11" y="239"/>
                  <a:pt x="11" y="239"/>
                </a:cubicBezTo>
                <a:cubicBezTo>
                  <a:pt x="11" y="240"/>
                  <a:pt x="11" y="240"/>
                  <a:pt x="11" y="240"/>
                </a:cubicBezTo>
                <a:cubicBezTo>
                  <a:pt x="10" y="240"/>
                  <a:pt x="10" y="240"/>
                  <a:pt x="10" y="240"/>
                </a:cubicBezTo>
                <a:cubicBezTo>
                  <a:pt x="10" y="239"/>
                  <a:pt x="10" y="239"/>
                  <a:pt x="10" y="239"/>
                </a:cubicBezTo>
                <a:cubicBezTo>
                  <a:pt x="10" y="238"/>
                  <a:pt x="10" y="238"/>
                  <a:pt x="10" y="238"/>
                </a:cubicBezTo>
                <a:cubicBezTo>
                  <a:pt x="9" y="237"/>
                  <a:pt x="9" y="237"/>
                  <a:pt x="9" y="237"/>
                </a:cubicBezTo>
                <a:cubicBezTo>
                  <a:pt x="9" y="236"/>
                  <a:pt x="9" y="236"/>
                  <a:pt x="9" y="236"/>
                </a:cubicBezTo>
                <a:cubicBezTo>
                  <a:pt x="10" y="235"/>
                  <a:pt x="10" y="235"/>
                  <a:pt x="10" y="235"/>
                </a:cubicBezTo>
                <a:cubicBezTo>
                  <a:pt x="12" y="235"/>
                  <a:pt x="12" y="235"/>
                  <a:pt x="12" y="235"/>
                </a:cubicBezTo>
                <a:cubicBezTo>
                  <a:pt x="13" y="236"/>
                  <a:pt x="13" y="236"/>
                  <a:pt x="13" y="236"/>
                </a:cubicBezTo>
                <a:cubicBezTo>
                  <a:pt x="13" y="239"/>
                  <a:pt x="13" y="239"/>
                  <a:pt x="13" y="239"/>
                </a:cubicBezTo>
                <a:cubicBezTo>
                  <a:pt x="14" y="240"/>
                  <a:pt x="14" y="240"/>
                  <a:pt x="14" y="240"/>
                </a:cubicBezTo>
                <a:cubicBezTo>
                  <a:pt x="14" y="242"/>
                  <a:pt x="14" y="242"/>
                  <a:pt x="14" y="242"/>
                </a:cubicBezTo>
                <a:cubicBezTo>
                  <a:pt x="14" y="243"/>
                  <a:pt x="14" y="243"/>
                  <a:pt x="14" y="243"/>
                </a:cubicBezTo>
                <a:cubicBezTo>
                  <a:pt x="15" y="245"/>
                  <a:pt x="15" y="245"/>
                  <a:pt x="15" y="245"/>
                </a:cubicBezTo>
                <a:cubicBezTo>
                  <a:pt x="15" y="246"/>
                  <a:pt x="15" y="246"/>
                  <a:pt x="15" y="246"/>
                </a:cubicBezTo>
                <a:cubicBezTo>
                  <a:pt x="14" y="247"/>
                  <a:pt x="14" y="247"/>
                  <a:pt x="14" y="247"/>
                </a:cubicBezTo>
                <a:cubicBezTo>
                  <a:pt x="13" y="247"/>
                  <a:pt x="13" y="247"/>
                  <a:pt x="13" y="247"/>
                </a:cubicBezTo>
                <a:cubicBezTo>
                  <a:pt x="13" y="245"/>
                  <a:pt x="13" y="245"/>
                  <a:pt x="13" y="245"/>
                </a:cubicBezTo>
                <a:cubicBezTo>
                  <a:pt x="12" y="244"/>
                  <a:pt x="12" y="244"/>
                  <a:pt x="12" y="244"/>
                </a:cubicBezTo>
                <a:close/>
                <a:moveTo>
                  <a:pt x="11" y="251"/>
                </a:moveTo>
                <a:cubicBezTo>
                  <a:pt x="11" y="250"/>
                  <a:pt x="11" y="250"/>
                  <a:pt x="11" y="250"/>
                </a:cubicBezTo>
                <a:cubicBezTo>
                  <a:pt x="10" y="249"/>
                  <a:pt x="10" y="249"/>
                  <a:pt x="10" y="249"/>
                </a:cubicBezTo>
                <a:cubicBezTo>
                  <a:pt x="11" y="249"/>
                  <a:pt x="11" y="249"/>
                  <a:pt x="11" y="249"/>
                </a:cubicBezTo>
                <a:cubicBezTo>
                  <a:pt x="11" y="248"/>
                  <a:pt x="11" y="248"/>
                  <a:pt x="11" y="248"/>
                </a:cubicBezTo>
                <a:cubicBezTo>
                  <a:pt x="11" y="248"/>
                  <a:pt x="11" y="248"/>
                  <a:pt x="11" y="248"/>
                </a:cubicBezTo>
                <a:cubicBezTo>
                  <a:pt x="12" y="248"/>
                  <a:pt x="12" y="248"/>
                  <a:pt x="12" y="248"/>
                </a:cubicBezTo>
                <a:cubicBezTo>
                  <a:pt x="13" y="248"/>
                  <a:pt x="13" y="248"/>
                  <a:pt x="13" y="248"/>
                </a:cubicBezTo>
                <a:cubicBezTo>
                  <a:pt x="13" y="249"/>
                  <a:pt x="13" y="249"/>
                  <a:pt x="13" y="249"/>
                </a:cubicBezTo>
                <a:cubicBezTo>
                  <a:pt x="13" y="250"/>
                  <a:pt x="13" y="250"/>
                  <a:pt x="13" y="250"/>
                </a:cubicBezTo>
                <a:cubicBezTo>
                  <a:pt x="12" y="251"/>
                  <a:pt x="12" y="251"/>
                  <a:pt x="12" y="251"/>
                </a:cubicBezTo>
                <a:cubicBezTo>
                  <a:pt x="11" y="251"/>
                  <a:pt x="11" y="251"/>
                  <a:pt x="11" y="251"/>
                </a:cubicBezTo>
                <a:close/>
                <a:moveTo>
                  <a:pt x="11" y="253"/>
                </a:moveTo>
                <a:cubicBezTo>
                  <a:pt x="11" y="252"/>
                  <a:pt x="11" y="252"/>
                  <a:pt x="11" y="252"/>
                </a:cubicBezTo>
                <a:cubicBezTo>
                  <a:pt x="12" y="252"/>
                  <a:pt x="12" y="252"/>
                  <a:pt x="12" y="252"/>
                </a:cubicBezTo>
                <a:cubicBezTo>
                  <a:pt x="11" y="252"/>
                  <a:pt x="11" y="252"/>
                  <a:pt x="11" y="252"/>
                </a:cubicBezTo>
                <a:cubicBezTo>
                  <a:pt x="11" y="253"/>
                  <a:pt x="11" y="253"/>
                  <a:pt x="11" y="253"/>
                </a:cubicBezTo>
                <a:close/>
                <a:moveTo>
                  <a:pt x="13" y="252"/>
                </a:moveTo>
                <a:cubicBezTo>
                  <a:pt x="14" y="253"/>
                  <a:pt x="14" y="253"/>
                  <a:pt x="14" y="253"/>
                </a:cubicBezTo>
                <a:cubicBezTo>
                  <a:pt x="14" y="254"/>
                  <a:pt x="14" y="254"/>
                  <a:pt x="14" y="254"/>
                </a:cubicBezTo>
                <a:cubicBezTo>
                  <a:pt x="13" y="254"/>
                  <a:pt x="13" y="254"/>
                  <a:pt x="13" y="254"/>
                </a:cubicBezTo>
                <a:cubicBezTo>
                  <a:pt x="13" y="253"/>
                  <a:pt x="13" y="253"/>
                  <a:pt x="13" y="253"/>
                </a:cubicBezTo>
                <a:cubicBezTo>
                  <a:pt x="13" y="252"/>
                  <a:pt x="13" y="252"/>
                  <a:pt x="13" y="252"/>
                </a:cubicBezTo>
                <a:close/>
                <a:moveTo>
                  <a:pt x="14" y="251"/>
                </a:moveTo>
                <a:cubicBezTo>
                  <a:pt x="14" y="251"/>
                  <a:pt x="14" y="251"/>
                  <a:pt x="14" y="251"/>
                </a:cubicBezTo>
                <a:cubicBezTo>
                  <a:pt x="15" y="251"/>
                  <a:pt x="15" y="251"/>
                  <a:pt x="15" y="251"/>
                </a:cubicBezTo>
                <a:cubicBezTo>
                  <a:pt x="16" y="251"/>
                  <a:pt x="16" y="251"/>
                  <a:pt x="16" y="251"/>
                </a:cubicBezTo>
                <a:cubicBezTo>
                  <a:pt x="16" y="251"/>
                  <a:pt x="16" y="251"/>
                  <a:pt x="16" y="251"/>
                </a:cubicBezTo>
                <a:cubicBezTo>
                  <a:pt x="17" y="253"/>
                  <a:pt x="17" y="253"/>
                  <a:pt x="17" y="253"/>
                </a:cubicBezTo>
                <a:cubicBezTo>
                  <a:pt x="18" y="255"/>
                  <a:pt x="18" y="255"/>
                  <a:pt x="18" y="255"/>
                </a:cubicBezTo>
                <a:cubicBezTo>
                  <a:pt x="16" y="253"/>
                  <a:pt x="16" y="253"/>
                  <a:pt x="16" y="253"/>
                </a:cubicBezTo>
                <a:cubicBezTo>
                  <a:pt x="15" y="253"/>
                  <a:pt x="15" y="253"/>
                  <a:pt x="15" y="253"/>
                </a:cubicBezTo>
                <a:cubicBezTo>
                  <a:pt x="14" y="251"/>
                  <a:pt x="14" y="251"/>
                  <a:pt x="14" y="251"/>
                </a:cubicBezTo>
                <a:close/>
                <a:moveTo>
                  <a:pt x="14" y="253"/>
                </a:moveTo>
                <a:cubicBezTo>
                  <a:pt x="15" y="253"/>
                  <a:pt x="15" y="253"/>
                  <a:pt x="15" y="253"/>
                </a:cubicBezTo>
                <a:cubicBezTo>
                  <a:pt x="16" y="254"/>
                  <a:pt x="16" y="254"/>
                  <a:pt x="16" y="254"/>
                </a:cubicBezTo>
                <a:cubicBezTo>
                  <a:pt x="17" y="256"/>
                  <a:pt x="17" y="256"/>
                  <a:pt x="17" y="256"/>
                </a:cubicBezTo>
                <a:cubicBezTo>
                  <a:pt x="17" y="257"/>
                  <a:pt x="17" y="257"/>
                  <a:pt x="17" y="257"/>
                </a:cubicBezTo>
                <a:cubicBezTo>
                  <a:pt x="16" y="257"/>
                  <a:pt x="16" y="257"/>
                  <a:pt x="16" y="257"/>
                </a:cubicBezTo>
                <a:cubicBezTo>
                  <a:pt x="14" y="255"/>
                  <a:pt x="14" y="255"/>
                  <a:pt x="14" y="255"/>
                </a:cubicBezTo>
                <a:cubicBezTo>
                  <a:pt x="14" y="253"/>
                  <a:pt x="14" y="253"/>
                  <a:pt x="14" y="253"/>
                </a:cubicBezTo>
                <a:close/>
                <a:moveTo>
                  <a:pt x="15" y="260"/>
                </a:moveTo>
                <a:cubicBezTo>
                  <a:pt x="14" y="260"/>
                  <a:pt x="14" y="260"/>
                  <a:pt x="14" y="260"/>
                </a:cubicBezTo>
                <a:cubicBezTo>
                  <a:pt x="13" y="259"/>
                  <a:pt x="13" y="259"/>
                  <a:pt x="13" y="259"/>
                </a:cubicBezTo>
                <a:cubicBezTo>
                  <a:pt x="14" y="259"/>
                  <a:pt x="14" y="259"/>
                  <a:pt x="14" y="259"/>
                </a:cubicBezTo>
                <a:cubicBezTo>
                  <a:pt x="14" y="258"/>
                  <a:pt x="14" y="258"/>
                  <a:pt x="14" y="258"/>
                </a:cubicBezTo>
                <a:cubicBezTo>
                  <a:pt x="13" y="257"/>
                  <a:pt x="13" y="257"/>
                  <a:pt x="13" y="257"/>
                </a:cubicBezTo>
                <a:cubicBezTo>
                  <a:pt x="14" y="256"/>
                  <a:pt x="14" y="256"/>
                  <a:pt x="14" y="256"/>
                </a:cubicBezTo>
                <a:cubicBezTo>
                  <a:pt x="15" y="257"/>
                  <a:pt x="15" y="257"/>
                  <a:pt x="15" y="257"/>
                </a:cubicBezTo>
                <a:cubicBezTo>
                  <a:pt x="16" y="257"/>
                  <a:pt x="16" y="257"/>
                  <a:pt x="16" y="257"/>
                </a:cubicBezTo>
                <a:cubicBezTo>
                  <a:pt x="18" y="258"/>
                  <a:pt x="18" y="258"/>
                  <a:pt x="18" y="258"/>
                </a:cubicBezTo>
                <a:cubicBezTo>
                  <a:pt x="18" y="259"/>
                  <a:pt x="18" y="259"/>
                  <a:pt x="18" y="259"/>
                </a:cubicBezTo>
                <a:cubicBezTo>
                  <a:pt x="17" y="259"/>
                  <a:pt x="17" y="259"/>
                  <a:pt x="17" y="259"/>
                </a:cubicBezTo>
                <a:cubicBezTo>
                  <a:pt x="17" y="259"/>
                  <a:pt x="17" y="259"/>
                  <a:pt x="17" y="259"/>
                </a:cubicBezTo>
                <a:cubicBezTo>
                  <a:pt x="15" y="260"/>
                  <a:pt x="15" y="260"/>
                  <a:pt x="15" y="260"/>
                </a:cubicBezTo>
                <a:close/>
                <a:moveTo>
                  <a:pt x="17" y="265"/>
                </a:moveTo>
                <a:cubicBezTo>
                  <a:pt x="16" y="265"/>
                  <a:pt x="16" y="265"/>
                  <a:pt x="16" y="265"/>
                </a:cubicBezTo>
                <a:cubicBezTo>
                  <a:pt x="15" y="264"/>
                  <a:pt x="15" y="264"/>
                  <a:pt x="15" y="264"/>
                </a:cubicBezTo>
                <a:cubicBezTo>
                  <a:pt x="15" y="263"/>
                  <a:pt x="15" y="263"/>
                  <a:pt x="15" y="263"/>
                </a:cubicBezTo>
                <a:cubicBezTo>
                  <a:pt x="15" y="263"/>
                  <a:pt x="15" y="263"/>
                  <a:pt x="15" y="263"/>
                </a:cubicBezTo>
                <a:cubicBezTo>
                  <a:pt x="16" y="262"/>
                  <a:pt x="16" y="262"/>
                  <a:pt x="16" y="262"/>
                </a:cubicBezTo>
                <a:cubicBezTo>
                  <a:pt x="16" y="262"/>
                  <a:pt x="16" y="262"/>
                  <a:pt x="16" y="262"/>
                </a:cubicBezTo>
                <a:cubicBezTo>
                  <a:pt x="15" y="261"/>
                  <a:pt x="15" y="261"/>
                  <a:pt x="15" y="261"/>
                </a:cubicBezTo>
                <a:cubicBezTo>
                  <a:pt x="16" y="261"/>
                  <a:pt x="16" y="261"/>
                  <a:pt x="16" y="261"/>
                </a:cubicBezTo>
                <a:cubicBezTo>
                  <a:pt x="17" y="262"/>
                  <a:pt x="17" y="262"/>
                  <a:pt x="17" y="262"/>
                </a:cubicBezTo>
                <a:cubicBezTo>
                  <a:pt x="17" y="263"/>
                  <a:pt x="17" y="263"/>
                  <a:pt x="17" y="263"/>
                </a:cubicBezTo>
                <a:cubicBezTo>
                  <a:pt x="16" y="264"/>
                  <a:pt x="16" y="264"/>
                  <a:pt x="16" y="264"/>
                </a:cubicBezTo>
                <a:cubicBezTo>
                  <a:pt x="17" y="265"/>
                  <a:pt x="17" y="265"/>
                  <a:pt x="17" y="265"/>
                </a:cubicBezTo>
                <a:close/>
                <a:moveTo>
                  <a:pt x="17" y="263"/>
                </a:moveTo>
                <a:cubicBezTo>
                  <a:pt x="17" y="262"/>
                  <a:pt x="17" y="262"/>
                  <a:pt x="17" y="262"/>
                </a:cubicBezTo>
                <a:cubicBezTo>
                  <a:pt x="18" y="262"/>
                  <a:pt x="18" y="262"/>
                  <a:pt x="18" y="262"/>
                </a:cubicBezTo>
                <a:cubicBezTo>
                  <a:pt x="18" y="262"/>
                  <a:pt x="18" y="262"/>
                  <a:pt x="18" y="262"/>
                </a:cubicBezTo>
                <a:cubicBezTo>
                  <a:pt x="19" y="263"/>
                  <a:pt x="19" y="263"/>
                  <a:pt x="19" y="263"/>
                </a:cubicBezTo>
                <a:cubicBezTo>
                  <a:pt x="19" y="264"/>
                  <a:pt x="19" y="264"/>
                  <a:pt x="19" y="264"/>
                </a:cubicBezTo>
                <a:cubicBezTo>
                  <a:pt x="18" y="265"/>
                  <a:pt x="18" y="265"/>
                  <a:pt x="18" y="265"/>
                </a:cubicBezTo>
                <a:cubicBezTo>
                  <a:pt x="18" y="265"/>
                  <a:pt x="18" y="265"/>
                  <a:pt x="18" y="265"/>
                </a:cubicBezTo>
                <a:cubicBezTo>
                  <a:pt x="17" y="264"/>
                  <a:pt x="17" y="264"/>
                  <a:pt x="17" y="264"/>
                </a:cubicBezTo>
                <a:cubicBezTo>
                  <a:pt x="17" y="264"/>
                  <a:pt x="17" y="264"/>
                  <a:pt x="17" y="264"/>
                </a:cubicBezTo>
                <a:cubicBezTo>
                  <a:pt x="17" y="263"/>
                  <a:pt x="17" y="263"/>
                  <a:pt x="17" y="263"/>
                </a:cubicBezTo>
                <a:close/>
                <a:moveTo>
                  <a:pt x="19" y="263"/>
                </a:moveTo>
                <a:cubicBezTo>
                  <a:pt x="20" y="264"/>
                  <a:pt x="20" y="264"/>
                  <a:pt x="20" y="264"/>
                </a:cubicBezTo>
                <a:cubicBezTo>
                  <a:pt x="21" y="265"/>
                  <a:pt x="21" y="265"/>
                  <a:pt x="21" y="265"/>
                </a:cubicBezTo>
                <a:cubicBezTo>
                  <a:pt x="20" y="265"/>
                  <a:pt x="20" y="265"/>
                  <a:pt x="20" y="265"/>
                </a:cubicBezTo>
                <a:cubicBezTo>
                  <a:pt x="19" y="264"/>
                  <a:pt x="19" y="264"/>
                  <a:pt x="19" y="264"/>
                </a:cubicBezTo>
                <a:cubicBezTo>
                  <a:pt x="19" y="263"/>
                  <a:pt x="19" y="263"/>
                  <a:pt x="19" y="263"/>
                </a:cubicBezTo>
                <a:close/>
                <a:moveTo>
                  <a:pt x="19" y="268"/>
                </a:moveTo>
                <a:cubicBezTo>
                  <a:pt x="18" y="268"/>
                  <a:pt x="18" y="268"/>
                  <a:pt x="18" y="268"/>
                </a:cubicBezTo>
                <a:cubicBezTo>
                  <a:pt x="18" y="267"/>
                  <a:pt x="18" y="267"/>
                  <a:pt x="18" y="267"/>
                </a:cubicBezTo>
                <a:cubicBezTo>
                  <a:pt x="18" y="267"/>
                  <a:pt x="18" y="267"/>
                  <a:pt x="18" y="267"/>
                </a:cubicBezTo>
                <a:cubicBezTo>
                  <a:pt x="18" y="266"/>
                  <a:pt x="18" y="266"/>
                  <a:pt x="18" y="266"/>
                </a:cubicBezTo>
                <a:cubicBezTo>
                  <a:pt x="19" y="265"/>
                  <a:pt x="19" y="265"/>
                  <a:pt x="19" y="265"/>
                </a:cubicBezTo>
                <a:cubicBezTo>
                  <a:pt x="19" y="266"/>
                  <a:pt x="19" y="266"/>
                  <a:pt x="19" y="266"/>
                </a:cubicBezTo>
                <a:cubicBezTo>
                  <a:pt x="19" y="268"/>
                  <a:pt x="19" y="268"/>
                  <a:pt x="19" y="268"/>
                </a:cubicBezTo>
                <a:close/>
                <a:moveTo>
                  <a:pt x="22" y="264"/>
                </a:moveTo>
                <a:cubicBezTo>
                  <a:pt x="21" y="264"/>
                  <a:pt x="21" y="264"/>
                  <a:pt x="21" y="264"/>
                </a:cubicBezTo>
                <a:cubicBezTo>
                  <a:pt x="20" y="263"/>
                  <a:pt x="20" y="263"/>
                  <a:pt x="20" y="263"/>
                </a:cubicBezTo>
                <a:cubicBezTo>
                  <a:pt x="20" y="261"/>
                  <a:pt x="20" y="261"/>
                  <a:pt x="20" y="261"/>
                </a:cubicBezTo>
                <a:cubicBezTo>
                  <a:pt x="21" y="261"/>
                  <a:pt x="21" y="261"/>
                  <a:pt x="21" y="261"/>
                </a:cubicBezTo>
                <a:cubicBezTo>
                  <a:pt x="21" y="262"/>
                  <a:pt x="21" y="262"/>
                  <a:pt x="21" y="262"/>
                </a:cubicBezTo>
                <a:cubicBezTo>
                  <a:pt x="22" y="264"/>
                  <a:pt x="22" y="264"/>
                  <a:pt x="22" y="264"/>
                </a:cubicBezTo>
                <a:cubicBezTo>
                  <a:pt x="23" y="264"/>
                  <a:pt x="23" y="264"/>
                  <a:pt x="23" y="264"/>
                </a:cubicBezTo>
                <a:cubicBezTo>
                  <a:pt x="22" y="264"/>
                  <a:pt x="22" y="264"/>
                  <a:pt x="22" y="264"/>
                </a:cubicBezTo>
                <a:close/>
                <a:moveTo>
                  <a:pt x="22" y="266"/>
                </a:moveTo>
                <a:cubicBezTo>
                  <a:pt x="21" y="265"/>
                  <a:pt x="21" y="265"/>
                  <a:pt x="21" y="265"/>
                </a:cubicBezTo>
                <a:cubicBezTo>
                  <a:pt x="21" y="265"/>
                  <a:pt x="21" y="265"/>
                  <a:pt x="21" y="265"/>
                </a:cubicBezTo>
                <a:cubicBezTo>
                  <a:pt x="22" y="265"/>
                  <a:pt x="22" y="265"/>
                  <a:pt x="22" y="265"/>
                </a:cubicBezTo>
                <a:cubicBezTo>
                  <a:pt x="23" y="266"/>
                  <a:pt x="23" y="266"/>
                  <a:pt x="23" y="266"/>
                </a:cubicBezTo>
                <a:cubicBezTo>
                  <a:pt x="22" y="266"/>
                  <a:pt x="22" y="266"/>
                  <a:pt x="22" y="266"/>
                </a:cubicBezTo>
                <a:close/>
                <a:moveTo>
                  <a:pt x="23" y="269"/>
                </a:moveTo>
                <a:cubicBezTo>
                  <a:pt x="21" y="267"/>
                  <a:pt x="21" y="267"/>
                  <a:pt x="21" y="267"/>
                </a:cubicBezTo>
                <a:cubicBezTo>
                  <a:pt x="21" y="266"/>
                  <a:pt x="21" y="266"/>
                  <a:pt x="21" y="266"/>
                </a:cubicBezTo>
                <a:cubicBezTo>
                  <a:pt x="21" y="266"/>
                  <a:pt x="21" y="266"/>
                  <a:pt x="21" y="266"/>
                </a:cubicBezTo>
                <a:cubicBezTo>
                  <a:pt x="23" y="267"/>
                  <a:pt x="23" y="267"/>
                  <a:pt x="23" y="267"/>
                </a:cubicBezTo>
                <a:cubicBezTo>
                  <a:pt x="23" y="268"/>
                  <a:pt x="23" y="268"/>
                  <a:pt x="23" y="268"/>
                </a:cubicBezTo>
                <a:cubicBezTo>
                  <a:pt x="23" y="269"/>
                  <a:pt x="23" y="269"/>
                  <a:pt x="23" y="269"/>
                </a:cubicBezTo>
                <a:close/>
                <a:moveTo>
                  <a:pt x="24" y="271"/>
                </a:moveTo>
                <a:cubicBezTo>
                  <a:pt x="23" y="271"/>
                  <a:pt x="23" y="271"/>
                  <a:pt x="23" y="271"/>
                </a:cubicBezTo>
                <a:cubicBezTo>
                  <a:pt x="23" y="271"/>
                  <a:pt x="23" y="271"/>
                  <a:pt x="23" y="271"/>
                </a:cubicBezTo>
                <a:cubicBezTo>
                  <a:pt x="23" y="270"/>
                  <a:pt x="23" y="270"/>
                  <a:pt x="23" y="270"/>
                </a:cubicBezTo>
                <a:cubicBezTo>
                  <a:pt x="21" y="270"/>
                  <a:pt x="21" y="270"/>
                  <a:pt x="21" y="270"/>
                </a:cubicBezTo>
                <a:cubicBezTo>
                  <a:pt x="21" y="270"/>
                  <a:pt x="21" y="270"/>
                  <a:pt x="21" y="270"/>
                </a:cubicBezTo>
                <a:cubicBezTo>
                  <a:pt x="22" y="269"/>
                  <a:pt x="22" y="269"/>
                  <a:pt x="22" y="269"/>
                </a:cubicBezTo>
                <a:cubicBezTo>
                  <a:pt x="23" y="269"/>
                  <a:pt x="23" y="269"/>
                  <a:pt x="23" y="269"/>
                </a:cubicBezTo>
                <a:cubicBezTo>
                  <a:pt x="24" y="269"/>
                  <a:pt x="24" y="269"/>
                  <a:pt x="24" y="269"/>
                </a:cubicBezTo>
                <a:cubicBezTo>
                  <a:pt x="25" y="270"/>
                  <a:pt x="25" y="270"/>
                  <a:pt x="25" y="270"/>
                </a:cubicBezTo>
                <a:cubicBezTo>
                  <a:pt x="24" y="271"/>
                  <a:pt x="24" y="271"/>
                  <a:pt x="24" y="271"/>
                </a:cubicBezTo>
                <a:close/>
                <a:moveTo>
                  <a:pt x="28" y="278"/>
                </a:moveTo>
                <a:cubicBezTo>
                  <a:pt x="26" y="277"/>
                  <a:pt x="26" y="277"/>
                  <a:pt x="26" y="277"/>
                </a:cubicBezTo>
                <a:cubicBezTo>
                  <a:pt x="26" y="277"/>
                  <a:pt x="26" y="277"/>
                  <a:pt x="26" y="277"/>
                </a:cubicBezTo>
                <a:cubicBezTo>
                  <a:pt x="25" y="277"/>
                  <a:pt x="25" y="277"/>
                  <a:pt x="25" y="277"/>
                </a:cubicBezTo>
                <a:cubicBezTo>
                  <a:pt x="24" y="277"/>
                  <a:pt x="24" y="277"/>
                  <a:pt x="24" y="277"/>
                </a:cubicBezTo>
                <a:cubicBezTo>
                  <a:pt x="22" y="276"/>
                  <a:pt x="22" y="276"/>
                  <a:pt x="22" y="276"/>
                </a:cubicBezTo>
                <a:cubicBezTo>
                  <a:pt x="21" y="276"/>
                  <a:pt x="21" y="276"/>
                  <a:pt x="21" y="276"/>
                </a:cubicBezTo>
                <a:cubicBezTo>
                  <a:pt x="20" y="274"/>
                  <a:pt x="20" y="274"/>
                  <a:pt x="20" y="274"/>
                </a:cubicBezTo>
                <a:cubicBezTo>
                  <a:pt x="20" y="273"/>
                  <a:pt x="20" y="273"/>
                  <a:pt x="20" y="273"/>
                </a:cubicBezTo>
                <a:cubicBezTo>
                  <a:pt x="20" y="272"/>
                  <a:pt x="20" y="272"/>
                  <a:pt x="20" y="272"/>
                </a:cubicBezTo>
                <a:cubicBezTo>
                  <a:pt x="21" y="273"/>
                  <a:pt x="21" y="273"/>
                  <a:pt x="21" y="273"/>
                </a:cubicBezTo>
                <a:cubicBezTo>
                  <a:pt x="22" y="274"/>
                  <a:pt x="22" y="274"/>
                  <a:pt x="22" y="274"/>
                </a:cubicBezTo>
                <a:cubicBezTo>
                  <a:pt x="23" y="275"/>
                  <a:pt x="23" y="275"/>
                  <a:pt x="23" y="275"/>
                </a:cubicBezTo>
                <a:cubicBezTo>
                  <a:pt x="24" y="275"/>
                  <a:pt x="24" y="275"/>
                  <a:pt x="24" y="275"/>
                </a:cubicBezTo>
                <a:cubicBezTo>
                  <a:pt x="25" y="275"/>
                  <a:pt x="25" y="275"/>
                  <a:pt x="25" y="275"/>
                </a:cubicBezTo>
                <a:cubicBezTo>
                  <a:pt x="26" y="276"/>
                  <a:pt x="26" y="276"/>
                  <a:pt x="26" y="276"/>
                </a:cubicBezTo>
                <a:cubicBezTo>
                  <a:pt x="28" y="276"/>
                  <a:pt x="28" y="276"/>
                  <a:pt x="28" y="276"/>
                </a:cubicBezTo>
                <a:cubicBezTo>
                  <a:pt x="28" y="276"/>
                  <a:pt x="28" y="276"/>
                  <a:pt x="28" y="276"/>
                </a:cubicBezTo>
                <a:cubicBezTo>
                  <a:pt x="29" y="277"/>
                  <a:pt x="29" y="277"/>
                  <a:pt x="29" y="277"/>
                </a:cubicBezTo>
                <a:cubicBezTo>
                  <a:pt x="30" y="277"/>
                  <a:pt x="30" y="277"/>
                  <a:pt x="30" y="277"/>
                </a:cubicBezTo>
                <a:cubicBezTo>
                  <a:pt x="30" y="278"/>
                  <a:pt x="30" y="278"/>
                  <a:pt x="30" y="278"/>
                </a:cubicBezTo>
                <a:cubicBezTo>
                  <a:pt x="30" y="278"/>
                  <a:pt x="30" y="278"/>
                  <a:pt x="30" y="278"/>
                </a:cubicBezTo>
                <a:cubicBezTo>
                  <a:pt x="29" y="278"/>
                  <a:pt x="29" y="278"/>
                  <a:pt x="29" y="278"/>
                </a:cubicBezTo>
                <a:cubicBezTo>
                  <a:pt x="28" y="278"/>
                  <a:pt x="28" y="278"/>
                  <a:pt x="28" y="278"/>
                </a:cubicBezTo>
                <a:close/>
                <a:moveTo>
                  <a:pt x="24" y="278"/>
                </a:moveTo>
                <a:cubicBezTo>
                  <a:pt x="24" y="278"/>
                  <a:pt x="25" y="279"/>
                  <a:pt x="25" y="279"/>
                </a:cubicBezTo>
                <a:cubicBezTo>
                  <a:pt x="23" y="279"/>
                  <a:pt x="23" y="279"/>
                  <a:pt x="23" y="279"/>
                </a:cubicBezTo>
                <a:cubicBezTo>
                  <a:pt x="24" y="278"/>
                  <a:pt x="24" y="278"/>
                  <a:pt x="24" y="278"/>
                </a:cubicBezTo>
                <a:close/>
                <a:moveTo>
                  <a:pt x="32" y="284"/>
                </a:moveTo>
                <a:cubicBezTo>
                  <a:pt x="33" y="284"/>
                  <a:pt x="33" y="284"/>
                  <a:pt x="33" y="284"/>
                </a:cubicBezTo>
                <a:cubicBezTo>
                  <a:pt x="33" y="284"/>
                  <a:pt x="33" y="284"/>
                  <a:pt x="33" y="284"/>
                </a:cubicBezTo>
                <a:cubicBezTo>
                  <a:pt x="33" y="283"/>
                  <a:pt x="33" y="283"/>
                  <a:pt x="33" y="283"/>
                </a:cubicBezTo>
                <a:cubicBezTo>
                  <a:pt x="32" y="284"/>
                  <a:pt x="32" y="284"/>
                  <a:pt x="32" y="284"/>
                </a:cubicBezTo>
                <a:cubicBezTo>
                  <a:pt x="32" y="284"/>
                  <a:pt x="32" y="284"/>
                  <a:pt x="32" y="284"/>
                </a:cubicBezTo>
                <a:close/>
                <a:moveTo>
                  <a:pt x="36" y="285"/>
                </a:moveTo>
                <a:cubicBezTo>
                  <a:pt x="35" y="285"/>
                  <a:pt x="35" y="285"/>
                  <a:pt x="35" y="285"/>
                </a:cubicBezTo>
                <a:cubicBezTo>
                  <a:pt x="34" y="284"/>
                  <a:pt x="34" y="284"/>
                  <a:pt x="34" y="284"/>
                </a:cubicBezTo>
                <a:cubicBezTo>
                  <a:pt x="34" y="283"/>
                  <a:pt x="34" y="283"/>
                  <a:pt x="34" y="283"/>
                </a:cubicBezTo>
                <a:cubicBezTo>
                  <a:pt x="33" y="283"/>
                  <a:pt x="33" y="283"/>
                  <a:pt x="33" y="283"/>
                </a:cubicBezTo>
                <a:cubicBezTo>
                  <a:pt x="32" y="283"/>
                  <a:pt x="32" y="283"/>
                  <a:pt x="32" y="283"/>
                </a:cubicBezTo>
                <a:cubicBezTo>
                  <a:pt x="31" y="283"/>
                  <a:pt x="31" y="283"/>
                  <a:pt x="31" y="283"/>
                </a:cubicBezTo>
                <a:cubicBezTo>
                  <a:pt x="30" y="282"/>
                  <a:pt x="30" y="282"/>
                  <a:pt x="30" y="282"/>
                </a:cubicBezTo>
                <a:cubicBezTo>
                  <a:pt x="28" y="281"/>
                  <a:pt x="28" y="281"/>
                  <a:pt x="28" y="281"/>
                </a:cubicBezTo>
                <a:cubicBezTo>
                  <a:pt x="28" y="280"/>
                  <a:pt x="28" y="280"/>
                  <a:pt x="28" y="280"/>
                </a:cubicBezTo>
                <a:cubicBezTo>
                  <a:pt x="27" y="279"/>
                  <a:pt x="27" y="279"/>
                  <a:pt x="27" y="279"/>
                </a:cubicBezTo>
                <a:cubicBezTo>
                  <a:pt x="27" y="279"/>
                  <a:pt x="27" y="279"/>
                  <a:pt x="27" y="279"/>
                </a:cubicBezTo>
                <a:cubicBezTo>
                  <a:pt x="27" y="278"/>
                  <a:pt x="27" y="278"/>
                  <a:pt x="27" y="278"/>
                </a:cubicBezTo>
                <a:cubicBezTo>
                  <a:pt x="28" y="278"/>
                  <a:pt x="28" y="278"/>
                  <a:pt x="28" y="278"/>
                </a:cubicBezTo>
                <a:cubicBezTo>
                  <a:pt x="29" y="279"/>
                  <a:pt x="29" y="279"/>
                  <a:pt x="29" y="279"/>
                </a:cubicBezTo>
                <a:cubicBezTo>
                  <a:pt x="29" y="279"/>
                  <a:pt x="29" y="279"/>
                  <a:pt x="29" y="279"/>
                </a:cubicBezTo>
                <a:cubicBezTo>
                  <a:pt x="30" y="279"/>
                  <a:pt x="30" y="279"/>
                  <a:pt x="30" y="279"/>
                </a:cubicBezTo>
                <a:cubicBezTo>
                  <a:pt x="32" y="279"/>
                  <a:pt x="32" y="279"/>
                  <a:pt x="32" y="279"/>
                </a:cubicBezTo>
                <a:cubicBezTo>
                  <a:pt x="33" y="280"/>
                  <a:pt x="33" y="280"/>
                  <a:pt x="33" y="280"/>
                </a:cubicBezTo>
                <a:cubicBezTo>
                  <a:pt x="34" y="280"/>
                  <a:pt x="34" y="280"/>
                  <a:pt x="34" y="280"/>
                </a:cubicBezTo>
                <a:cubicBezTo>
                  <a:pt x="35" y="281"/>
                  <a:pt x="35" y="281"/>
                  <a:pt x="35" y="281"/>
                </a:cubicBezTo>
                <a:cubicBezTo>
                  <a:pt x="36" y="281"/>
                  <a:pt x="36" y="281"/>
                  <a:pt x="36" y="281"/>
                </a:cubicBezTo>
                <a:cubicBezTo>
                  <a:pt x="37" y="281"/>
                  <a:pt x="37" y="281"/>
                  <a:pt x="37" y="281"/>
                </a:cubicBezTo>
                <a:cubicBezTo>
                  <a:pt x="37" y="282"/>
                  <a:pt x="37" y="282"/>
                  <a:pt x="37" y="282"/>
                </a:cubicBezTo>
                <a:cubicBezTo>
                  <a:pt x="36" y="282"/>
                  <a:pt x="36" y="282"/>
                  <a:pt x="36" y="282"/>
                </a:cubicBezTo>
                <a:cubicBezTo>
                  <a:pt x="36" y="282"/>
                  <a:pt x="36" y="282"/>
                  <a:pt x="36" y="282"/>
                </a:cubicBezTo>
                <a:cubicBezTo>
                  <a:pt x="36" y="282"/>
                  <a:pt x="36" y="282"/>
                  <a:pt x="36" y="282"/>
                </a:cubicBezTo>
                <a:cubicBezTo>
                  <a:pt x="36" y="283"/>
                  <a:pt x="36" y="283"/>
                  <a:pt x="36" y="283"/>
                </a:cubicBezTo>
                <a:cubicBezTo>
                  <a:pt x="35" y="284"/>
                  <a:pt x="35" y="284"/>
                  <a:pt x="35" y="284"/>
                </a:cubicBezTo>
                <a:cubicBezTo>
                  <a:pt x="36" y="285"/>
                  <a:pt x="36" y="285"/>
                  <a:pt x="36" y="285"/>
                </a:cubicBezTo>
                <a:close/>
                <a:moveTo>
                  <a:pt x="37" y="284"/>
                </a:moveTo>
                <a:cubicBezTo>
                  <a:pt x="36" y="285"/>
                  <a:pt x="36" y="285"/>
                  <a:pt x="36" y="285"/>
                </a:cubicBezTo>
                <a:cubicBezTo>
                  <a:pt x="36" y="286"/>
                  <a:pt x="36" y="286"/>
                  <a:pt x="36" y="286"/>
                </a:cubicBezTo>
                <a:cubicBezTo>
                  <a:pt x="37" y="286"/>
                  <a:pt x="37" y="286"/>
                  <a:pt x="37" y="286"/>
                </a:cubicBezTo>
                <a:cubicBezTo>
                  <a:pt x="38" y="285"/>
                  <a:pt x="38" y="285"/>
                  <a:pt x="38" y="285"/>
                </a:cubicBezTo>
                <a:cubicBezTo>
                  <a:pt x="38" y="284"/>
                  <a:pt x="38" y="284"/>
                  <a:pt x="38" y="284"/>
                </a:cubicBezTo>
                <a:cubicBezTo>
                  <a:pt x="37" y="284"/>
                  <a:pt x="37" y="284"/>
                  <a:pt x="37" y="284"/>
                </a:cubicBezTo>
                <a:cubicBezTo>
                  <a:pt x="37" y="284"/>
                  <a:pt x="37" y="284"/>
                  <a:pt x="37" y="284"/>
                </a:cubicBezTo>
                <a:close/>
                <a:moveTo>
                  <a:pt x="44" y="283"/>
                </a:moveTo>
                <a:cubicBezTo>
                  <a:pt x="44" y="284"/>
                  <a:pt x="44" y="284"/>
                  <a:pt x="44" y="284"/>
                </a:cubicBezTo>
                <a:cubicBezTo>
                  <a:pt x="44" y="285"/>
                  <a:pt x="44" y="285"/>
                  <a:pt x="44" y="285"/>
                </a:cubicBezTo>
                <a:cubicBezTo>
                  <a:pt x="43" y="285"/>
                  <a:pt x="43" y="285"/>
                  <a:pt x="43" y="285"/>
                </a:cubicBezTo>
                <a:cubicBezTo>
                  <a:pt x="42" y="285"/>
                  <a:pt x="42" y="285"/>
                  <a:pt x="42" y="285"/>
                </a:cubicBezTo>
                <a:cubicBezTo>
                  <a:pt x="42" y="284"/>
                  <a:pt x="42" y="284"/>
                  <a:pt x="42" y="284"/>
                </a:cubicBezTo>
                <a:cubicBezTo>
                  <a:pt x="41" y="285"/>
                  <a:pt x="41" y="285"/>
                  <a:pt x="41" y="285"/>
                </a:cubicBezTo>
                <a:cubicBezTo>
                  <a:pt x="41" y="284"/>
                  <a:pt x="41" y="284"/>
                  <a:pt x="41" y="284"/>
                </a:cubicBezTo>
                <a:cubicBezTo>
                  <a:pt x="39" y="284"/>
                  <a:pt x="39" y="284"/>
                  <a:pt x="39" y="284"/>
                </a:cubicBezTo>
                <a:cubicBezTo>
                  <a:pt x="39" y="285"/>
                  <a:pt x="39" y="285"/>
                  <a:pt x="39" y="285"/>
                </a:cubicBezTo>
                <a:cubicBezTo>
                  <a:pt x="38" y="284"/>
                  <a:pt x="38" y="284"/>
                  <a:pt x="38" y="284"/>
                </a:cubicBezTo>
                <a:cubicBezTo>
                  <a:pt x="38" y="283"/>
                  <a:pt x="38" y="283"/>
                  <a:pt x="38" y="283"/>
                </a:cubicBezTo>
                <a:cubicBezTo>
                  <a:pt x="38" y="283"/>
                  <a:pt x="38" y="283"/>
                  <a:pt x="38" y="283"/>
                </a:cubicBezTo>
                <a:cubicBezTo>
                  <a:pt x="39" y="282"/>
                  <a:pt x="39" y="282"/>
                  <a:pt x="39" y="282"/>
                </a:cubicBezTo>
                <a:cubicBezTo>
                  <a:pt x="40" y="282"/>
                  <a:pt x="40" y="282"/>
                  <a:pt x="40" y="282"/>
                </a:cubicBezTo>
                <a:cubicBezTo>
                  <a:pt x="42" y="283"/>
                  <a:pt x="42" y="283"/>
                  <a:pt x="42" y="283"/>
                </a:cubicBezTo>
                <a:cubicBezTo>
                  <a:pt x="42" y="283"/>
                  <a:pt x="42" y="283"/>
                  <a:pt x="42" y="283"/>
                </a:cubicBezTo>
                <a:cubicBezTo>
                  <a:pt x="43" y="283"/>
                  <a:pt x="43" y="283"/>
                  <a:pt x="43" y="283"/>
                </a:cubicBezTo>
                <a:cubicBezTo>
                  <a:pt x="44" y="283"/>
                  <a:pt x="44" y="283"/>
                  <a:pt x="44" y="283"/>
                </a:cubicBezTo>
                <a:cubicBezTo>
                  <a:pt x="44" y="283"/>
                  <a:pt x="44" y="283"/>
                  <a:pt x="44" y="283"/>
                </a:cubicBezTo>
                <a:close/>
                <a:moveTo>
                  <a:pt x="48" y="283"/>
                </a:moveTo>
                <a:cubicBezTo>
                  <a:pt x="46" y="282"/>
                  <a:pt x="46" y="282"/>
                  <a:pt x="46" y="282"/>
                </a:cubicBezTo>
                <a:cubicBezTo>
                  <a:pt x="47" y="281"/>
                  <a:pt x="47" y="281"/>
                  <a:pt x="47" y="281"/>
                </a:cubicBezTo>
                <a:cubicBezTo>
                  <a:pt x="47" y="280"/>
                  <a:pt x="47" y="280"/>
                  <a:pt x="47" y="280"/>
                </a:cubicBezTo>
                <a:cubicBezTo>
                  <a:pt x="47" y="280"/>
                  <a:pt x="47" y="280"/>
                  <a:pt x="47" y="280"/>
                </a:cubicBezTo>
                <a:cubicBezTo>
                  <a:pt x="46" y="278"/>
                  <a:pt x="46" y="278"/>
                  <a:pt x="46" y="278"/>
                </a:cubicBezTo>
                <a:cubicBezTo>
                  <a:pt x="46" y="277"/>
                  <a:pt x="46" y="277"/>
                  <a:pt x="46" y="277"/>
                </a:cubicBezTo>
                <a:cubicBezTo>
                  <a:pt x="45" y="277"/>
                  <a:pt x="45" y="277"/>
                  <a:pt x="45" y="277"/>
                </a:cubicBezTo>
                <a:cubicBezTo>
                  <a:pt x="45" y="278"/>
                  <a:pt x="45" y="278"/>
                  <a:pt x="45" y="278"/>
                </a:cubicBezTo>
                <a:cubicBezTo>
                  <a:pt x="44" y="279"/>
                  <a:pt x="44" y="279"/>
                  <a:pt x="44" y="279"/>
                </a:cubicBezTo>
                <a:cubicBezTo>
                  <a:pt x="45" y="280"/>
                  <a:pt x="45" y="280"/>
                  <a:pt x="45" y="280"/>
                </a:cubicBezTo>
                <a:cubicBezTo>
                  <a:pt x="44" y="281"/>
                  <a:pt x="44" y="281"/>
                  <a:pt x="44" y="281"/>
                </a:cubicBezTo>
                <a:cubicBezTo>
                  <a:pt x="44" y="282"/>
                  <a:pt x="44" y="282"/>
                  <a:pt x="44" y="282"/>
                </a:cubicBezTo>
                <a:cubicBezTo>
                  <a:pt x="46" y="283"/>
                  <a:pt x="46" y="283"/>
                  <a:pt x="46" y="283"/>
                </a:cubicBezTo>
                <a:cubicBezTo>
                  <a:pt x="47" y="283"/>
                  <a:pt x="47" y="283"/>
                  <a:pt x="47" y="283"/>
                </a:cubicBezTo>
                <a:cubicBezTo>
                  <a:pt x="47" y="283"/>
                  <a:pt x="47" y="283"/>
                  <a:pt x="47" y="283"/>
                </a:cubicBezTo>
                <a:cubicBezTo>
                  <a:pt x="48" y="283"/>
                  <a:pt x="48" y="283"/>
                  <a:pt x="48" y="283"/>
                </a:cubicBezTo>
                <a:close/>
                <a:moveTo>
                  <a:pt x="43" y="292"/>
                </a:moveTo>
                <a:cubicBezTo>
                  <a:pt x="44" y="292"/>
                  <a:pt x="44" y="292"/>
                  <a:pt x="44" y="292"/>
                </a:cubicBezTo>
                <a:cubicBezTo>
                  <a:pt x="44" y="292"/>
                  <a:pt x="44" y="292"/>
                  <a:pt x="44" y="292"/>
                </a:cubicBezTo>
                <a:cubicBezTo>
                  <a:pt x="44" y="293"/>
                  <a:pt x="44" y="293"/>
                  <a:pt x="44" y="293"/>
                </a:cubicBezTo>
                <a:cubicBezTo>
                  <a:pt x="43" y="292"/>
                  <a:pt x="43" y="292"/>
                  <a:pt x="43" y="292"/>
                </a:cubicBezTo>
                <a:close/>
                <a:moveTo>
                  <a:pt x="43" y="291"/>
                </a:moveTo>
                <a:cubicBezTo>
                  <a:pt x="43" y="290"/>
                  <a:pt x="43" y="290"/>
                  <a:pt x="43" y="290"/>
                </a:cubicBezTo>
                <a:cubicBezTo>
                  <a:pt x="43" y="290"/>
                  <a:pt x="43" y="290"/>
                  <a:pt x="43" y="290"/>
                </a:cubicBezTo>
                <a:cubicBezTo>
                  <a:pt x="44" y="290"/>
                  <a:pt x="44" y="290"/>
                  <a:pt x="44" y="290"/>
                </a:cubicBezTo>
                <a:cubicBezTo>
                  <a:pt x="44" y="291"/>
                  <a:pt x="44" y="291"/>
                  <a:pt x="44" y="291"/>
                </a:cubicBezTo>
                <a:cubicBezTo>
                  <a:pt x="43" y="291"/>
                  <a:pt x="43" y="291"/>
                  <a:pt x="43" y="291"/>
                </a:cubicBezTo>
                <a:close/>
                <a:moveTo>
                  <a:pt x="68" y="297"/>
                </a:moveTo>
                <a:cubicBezTo>
                  <a:pt x="67" y="297"/>
                  <a:pt x="67" y="297"/>
                  <a:pt x="67" y="297"/>
                </a:cubicBezTo>
                <a:cubicBezTo>
                  <a:pt x="68" y="296"/>
                  <a:pt x="68" y="296"/>
                  <a:pt x="68" y="296"/>
                </a:cubicBezTo>
                <a:cubicBezTo>
                  <a:pt x="68" y="295"/>
                  <a:pt x="68" y="295"/>
                  <a:pt x="68" y="295"/>
                </a:cubicBezTo>
                <a:cubicBezTo>
                  <a:pt x="68" y="296"/>
                  <a:pt x="68" y="296"/>
                  <a:pt x="68" y="296"/>
                </a:cubicBezTo>
                <a:cubicBezTo>
                  <a:pt x="69" y="296"/>
                  <a:pt x="69" y="296"/>
                  <a:pt x="69" y="296"/>
                </a:cubicBezTo>
                <a:cubicBezTo>
                  <a:pt x="69" y="298"/>
                  <a:pt x="69" y="298"/>
                  <a:pt x="69" y="298"/>
                </a:cubicBezTo>
                <a:cubicBezTo>
                  <a:pt x="68" y="297"/>
                  <a:pt x="68" y="297"/>
                  <a:pt x="68" y="297"/>
                </a:cubicBezTo>
                <a:close/>
                <a:moveTo>
                  <a:pt x="52" y="291"/>
                </a:moveTo>
                <a:cubicBezTo>
                  <a:pt x="53" y="291"/>
                  <a:pt x="53" y="291"/>
                  <a:pt x="53" y="291"/>
                </a:cubicBezTo>
                <a:cubicBezTo>
                  <a:pt x="54" y="291"/>
                  <a:pt x="54" y="291"/>
                  <a:pt x="54" y="291"/>
                </a:cubicBezTo>
                <a:cubicBezTo>
                  <a:pt x="55" y="291"/>
                  <a:pt x="55" y="291"/>
                  <a:pt x="55" y="291"/>
                </a:cubicBezTo>
                <a:cubicBezTo>
                  <a:pt x="56" y="291"/>
                  <a:pt x="56" y="291"/>
                  <a:pt x="56" y="291"/>
                </a:cubicBezTo>
                <a:cubicBezTo>
                  <a:pt x="59" y="290"/>
                  <a:pt x="59" y="290"/>
                  <a:pt x="59" y="290"/>
                </a:cubicBezTo>
                <a:cubicBezTo>
                  <a:pt x="61" y="289"/>
                  <a:pt x="61" y="289"/>
                  <a:pt x="61" y="289"/>
                </a:cubicBezTo>
                <a:cubicBezTo>
                  <a:pt x="63" y="290"/>
                  <a:pt x="63" y="290"/>
                  <a:pt x="63" y="290"/>
                </a:cubicBezTo>
                <a:cubicBezTo>
                  <a:pt x="64" y="289"/>
                  <a:pt x="64" y="289"/>
                  <a:pt x="64" y="289"/>
                </a:cubicBezTo>
                <a:cubicBezTo>
                  <a:pt x="66" y="289"/>
                  <a:pt x="66" y="289"/>
                  <a:pt x="66" y="289"/>
                </a:cubicBezTo>
                <a:cubicBezTo>
                  <a:pt x="67" y="290"/>
                  <a:pt x="67" y="290"/>
                  <a:pt x="67" y="290"/>
                </a:cubicBezTo>
                <a:cubicBezTo>
                  <a:pt x="68" y="291"/>
                  <a:pt x="68" y="291"/>
                  <a:pt x="68" y="291"/>
                </a:cubicBezTo>
                <a:cubicBezTo>
                  <a:pt x="68" y="291"/>
                  <a:pt x="68" y="291"/>
                  <a:pt x="68" y="291"/>
                </a:cubicBezTo>
                <a:cubicBezTo>
                  <a:pt x="68" y="292"/>
                  <a:pt x="68" y="292"/>
                  <a:pt x="68" y="292"/>
                </a:cubicBezTo>
                <a:cubicBezTo>
                  <a:pt x="67" y="293"/>
                  <a:pt x="67" y="293"/>
                  <a:pt x="67" y="293"/>
                </a:cubicBezTo>
                <a:cubicBezTo>
                  <a:pt x="66" y="292"/>
                  <a:pt x="66" y="292"/>
                  <a:pt x="66" y="292"/>
                </a:cubicBezTo>
                <a:cubicBezTo>
                  <a:pt x="65" y="292"/>
                  <a:pt x="65" y="292"/>
                  <a:pt x="65" y="292"/>
                </a:cubicBezTo>
                <a:cubicBezTo>
                  <a:pt x="64" y="292"/>
                  <a:pt x="64" y="292"/>
                  <a:pt x="64" y="292"/>
                </a:cubicBezTo>
                <a:cubicBezTo>
                  <a:pt x="63" y="293"/>
                  <a:pt x="63" y="293"/>
                  <a:pt x="63" y="293"/>
                </a:cubicBezTo>
                <a:cubicBezTo>
                  <a:pt x="62" y="292"/>
                  <a:pt x="62" y="292"/>
                  <a:pt x="62" y="292"/>
                </a:cubicBezTo>
                <a:cubicBezTo>
                  <a:pt x="62" y="291"/>
                  <a:pt x="62" y="291"/>
                  <a:pt x="62" y="291"/>
                </a:cubicBezTo>
                <a:cubicBezTo>
                  <a:pt x="61" y="291"/>
                  <a:pt x="61" y="291"/>
                  <a:pt x="61" y="291"/>
                </a:cubicBezTo>
                <a:cubicBezTo>
                  <a:pt x="60" y="292"/>
                  <a:pt x="60" y="292"/>
                  <a:pt x="60" y="292"/>
                </a:cubicBezTo>
                <a:cubicBezTo>
                  <a:pt x="59" y="292"/>
                  <a:pt x="59" y="292"/>
                  <a:pt x="59" y="292"/>
                </a:cubicBezTo>
                <a:cubicBezTo>
                  <a:pt x="58" y="292"/>
                  <a:pt x="58" y="292"/>
                  <a:pt x="58" y="292"/>
                </a:cubicBezTo>
                <a:cubicBezTo>
                  <a:pt x="59" y="293"/>
                  <a:pt x="59" y="293"/>
                  <a:pt x="59" y="293"/>
                </a:cubicBezTo>
                <a:cubicBezTo>
                  <a:pt x="59" y="293"/>
                  <a:pt x="59" y="293"/>
                  <a:pt x="59" y="293"/>
                </a:cubicBezTo>
                <a:cubicBezTo>
                  <a:pt x="61" y="293"/>
                  <a:pt x="61" y="293"/>
                  <a:pt x="61" y="293"/>
                </a:cubicBezTo>
                <a:cubicBezTo>
                  <a:pt x="61" y="293"/>
                  <a:pt x="61" y="293"/>
                  <a:pt x="61" y="293"/>
                </a:cubicBezTo>
                <a:cubicBezTo>
                  <a:pt x="61" y="294"/>
                  <a:pt x="61" y="294"/>
                  <a:pt x="61" y="294"/>
                </a:cubicBezTo>
                <a:cubicBezTo>
                  <a:pt x="62" y="294"/>
                  <a:pt x="62" y="294"/>
                  <a:pt x="62" y="294"/>
                </a:cubicBezTo>
                <a:cubicBezTo>
                  <a:pt x="63" y="295"/>
                  <a:pt x="63" y="295"/>
                  <a:pt x="63" y="295"/>
                </a:cubicBezTo>
                <a:cubicBezTo>
                  <a:pt x="63" y="296"/>
                  <a:pt x="63" y="296"/>
                  <a:pt x="63" y="296"/>
                </a:cubicBezTo>
                <a:cubicBezTo>
                  <a:pt x="63" y="296"/>
                  <a:pt x="63" y="296"/>
                  <a:pt x="63" y="296"/>
                </a:cubicBezTo>
                <a:cubicBezTo>
                  <a:pt x="61" y="295"/>
                  <a:pt x="61" y="295"/>
                  <a:pt x="61" y="295"/>
                </a:cubicBezTo>
                <a:cubicBezTo>
                  <a:pt x="60" y="295"/>
                  <a:pt x="60" y="295"/>
                  <a:pt x="60" y="295"/>
                </a:cubicBezTo>
                <a:cubicBezTo>
                  <a:pt x="59" y="295"/>
                  <a:pt x="59" y="295"/>
                  <a:pt x="59" y="295"/>
                </a:cubicBezTo>
                <a:cubicBezTo>
                  <a:pt x="58" y="295"/>
                  <a:pt x="58" y="295"/>
                  <a:pt x="58" y="295"/>
                </a:cubicBezTo>
                <a:cubicBezTo>
                  <a:pt x="58" y="294"/>
                  <a:pt x="58" y="294"/>
                  <a:pt x="58" y="294"/>
                </a:cubicBezTo>
                <a:cubicBezTo>
                  <a:pt x="57" y="294"/>
                  <a:pt x="57" y="294"/>
                  <a:pt x="57" y="294"/>
                </a:cubicBezTo>
                <a:cubicBezTo>
                  <a:pt x="57" y="294"/>
                  <a:pt x="57" y="294"/>
                  <a:pt x="57" y="294"/>
                </a:cubicBezTo>
                <a:cubicBezTo>
                  <a:pt x="58" y="295"/>
                  <a:pt x="58" y="295"/>
                  <a:pt x="58" y="295"/>
                </a:cubicBezTo>
                <a:cubicBezTo>
                  <a:pt x="57" y="296"/>
                  <a:pt x="57" y="296"/>
                  <a:pt x="57" y="296"/>
                </a:cubicBezTo>
                <a:cubicBezTo>
                  <a:pt x="57" y="296"/>
                  <a:pt x="57" y="296"/>
                  <a:pt x="57" y="296"/>
                </a:cubicBezTo>
                <a:cubicBezTo>
                  <a:pt x="55" y="295"/>
                  <a:pt x="55" y="295"/>
                  <a:pt x="55" y="295"/>
                </a:cubicBezTo>
                <a:cubicBezTo>
                  <a:pt x="55" y="296"/>
                  <a:pt x="55" y="296"/>
                  <a:pt x="55" y="296"/>
                </a:cubicBezTo>
                <a:cubicBezTo>
                  <a:pt x="54" y="295"/>
                  <a:pt x="54" y="295"/>
                  <a:pt x="54" y="295"/>
                </a:cubicBezTo>
                <a:cubicBezTo>
                  <a:pt x="53" y="295"/>
                  <a:pt x="53" y="295"/>
                  <a:pt x="53" y="295"/>
                </a:cubicBezTo>
                <a:cubicBezTo>
                  <a:pt x="54" y="294"/>
                  <a:pt x="54" y="294"/>
                  <a:pt x="54" y="294"/>
                </a:cubicBezTo>
                <a:cubicBezTo>
                  <a:pt x="53" y="294"/>
                  <a:pt x="53" y="294"/>
                  <a:pt x="53" y="294"/>
                </a:cubicBezTo>
                <a:cubicBezTo>
                  <a:pt x="52" y="294"/>
                  <a:pt x="52" y="294"/>
                  <a:pt x="52" y="294"/>
                </a:cubicBezTo>
                <a:cubicBezTo>
                  <a:pt x="52" y="293"/>
                  <a:pt x="52" y="293"/>
                  <a:pt x="52" y="293"/>
                </a:cubicBezTo>
                <a:cubicBezTo>
                  <a:pt x="53" y="293"/>
                  <a:pt x="53" y="293"/>
                  <a:pt x="53" y="293"/>
                </a:cubicBezTo>
                <a:cubicBezTo>
                  <a:pt x="55" y="292"/>
                  <a:pt x="55" y="292"/>
                  <a:pt x="55" y="292"/>
                </a:cubicBezTo>
                <a:cubicBezTo>
                  <a:pt x="54" y="291"/>
                  <a:pt x="54" y="291"/>
                  <a:pt x="54" y="291"/>
                </a:cubicBezTo>
                <a:cubicBezTo>
                  <a:pt x="53" y="292"/>
                  <a:pt x="53" y="292"/>
                  <a:pt x="53" y="292"/>
                </a:cubicBezTo>
                <a:lnTo>
                  <a:pt x="52" y="291"/>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1" name="Freeform 199">
            <a:extLst>
              <a:ext uri="{FF2B5EF4-FFF2-40B4-BE49-F238E27FC236}">
                <a16:creationId xmlns:a16="http://schemas.microsoft.com/office/drawing/2014/main" id="{BC8622D6-FC47-4739-4F3D-0AC22DC4D758}"/>
              </a:ext>
            </a:extLst>
          </p:cNvPr>
          <p:cNvSpPr>
            <a:spLocks/>
          </p:cNvSpPr>
          <p:nvPr userDrawn="1"/>
        </p:nvSpPr>
        <p:spPr bwMode="auto">
          <a:xfrm>
            <a:off x="9349767" y="8305087"/>
            <a:ext cx="9525" cy="9526"/>
          </a:xfrm>
          <a:custGeom>
            <a:avLst/>
            <a:gdLst>
              <a:gd name="T0" fmla="*/ 0 w 3"/>
              <a:gd name="T1" fmla="*/ 0 h 3"/>
              <a:gd name="T2" fmla="*/ 0 w 3"/>
              <a:gd name="T3" fmla="*/ 3 h 3"/>
              <a:gd name="T4" fmla="*/ 3 w 3"/>
              <a:gd name="T5" fmla="*/ 3 h 3"/>
              <a:gd name="T6" fmla="*/ 0 w 3"/>
              <a:gd name="T7" fmla="*/ 0 h 3"/>
            </a:gdLst>
            <a:ahLst/>
            <a:cxnLst>
              <a:cxn ang="0">
                <a:pos x="T0" y="T1"/>
              </a:cxn>
              <a:cxn ang="0">
                <a:pos x="T2" y="T3"/>
              </a:cxn>
              <a:cxn ang="0">
                <a:pos x="T4" y="T5"/>
              </a:cxn>
              <a:cxn ang="0">
                <a:pos x="T6" y="T7"/>
              </a:cxn>
            </a:cxnLst>
            <a:rect l="0" t="0" r="r" b="b"/>
            <a:pathLst>
              <a:path w="3" h="3">
                <a:moveTo>
                  <a:pt x="0" y="0"/>
                </a:moveTo>
                <a:lnTo>
                  <a:pt x="0" y="3"/>
                </a:lnTo>
                <a:lnTo>
                  <a:pt x="3" y="3"/>
                </a:lnTo>
                <a:lnTo>
                  <a:pt x="0" y="0"/>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2" name="Freeform 200">
            <a:extLst>
              <a:ext uri="{FF2B5EF4-FFF2-40B4-BE49-F238E27FC236}">
                <a16:creationId xmlns:a16="http://schemas.microsoft.com/office/drawing/2014/main" id="{371BB57B-7889-6AF9-26F3-B9FC21E56906}"/>
              </a:ext>
            </a:extLst>
          </p:cNvPr>
          <p:cNvSpPr>
            <a:spLocks noEditPoints="1"/>
          </p:cNvSpPr>
          <p:nvPr userDrawn="1"/>
        </p:nvSpPr>
        <p:spPr bwMode="auto">
          <a:xfrm>
            <a:off x="9378336" y="8314613"/>
            <a:ext cx="38100" cy="57150"/>
          </a:xfrm>
          <a:custGeom>
            <a:avLst/>
            <a:gdLst>
              <a:gd name="T0" fmla="*/ 12 w 12"/>
              <a:gd name="T1" fmla="*/ 12 h 18"/>
              <a:gd name="T2" fmla="*/ 9 w 12"/>
              <a:gd name="T3" fmla="*/ 15 h 18"/>
              <a:gd name="T4" fmla="*/ 12 w 12"/>
              <a:gd name="T5" fmla="*/ 18 h 18"/>
              <a:gd name="T6" fmla="*/ 12 w 12"/>
              <a:gd name="T7" fmla="*/ 12 h 18"/>
              <a:gd name="T8" fmla="*/ 12 w 12"/>
              <a:gd name="T9" fmla="*/ 12 h 18"/>
              <a:gd name="T10" fmla="*/ 9 w 12"/>
              <a:gd name="T11" fmla="*/ 0 h 18"/>
              <a:gd name="T12" fmla="*/ 6 w 12"/>
              <a:gd name="T13" fmla="*/ 3 h 18"/>
              <a:gd name="T14" fmla="*/ 9 w 12"/>
              <a:gd name="T15" fmla="*/ 9 h 18"/>
              <a:gd name="T16" fmla="*/ 12 w 12"/>
              <a:gd name="T17" fmla="*/ 9 h 18"/>
              <a:gd name="T18" fmla="*/ 9 w 12"/>
              <a:gd name="T19" fmla="*/ 0 h 18"/>
              <a:gd name="T20" fmla="*/ 9 w 12"/>
              <a:gd name="T21" fmla="*/ 0 h 18"/>
              <a:gd name="T22" fmla="*/ 3 w 12"/>
              <a:gd name="T23" fmla="*/ 6 h 18"/>
              <a:gd name="T24" fmla="*/ 6 w 12"/>
              <a:gd name="T25" fmla="*/ 9 h 18"/>
              <a:gd name="T26" fmla="*/ 3 w 12"/>
              <a:gd name="T27" fmla="*/ 15 h 18"/>
              <a:gd name="T28" fmla="*/ 0 w 12"/>
              <a:gd name="T29" fmla="*/ 9 h 18"/>
              <a:gd name="T30" fmla="*/ 0 w 12"/>
              <a:gd name="T31" fmla="*/ 6 h 18"/>
              <a:gd name="T32" fmla="*/ 3 w 12"/>
              <a:gd name="T33"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8">
                <a:moveTo>
                  <a:pt x="12" y="12"/>
                </a:moveTo>
                <a:lnTo>
                  <a:pt x="9" y="15"/>
                </a:lnTo>
                <a:lnTo>
                  <a:pt x="12" y="18"/>
                </a:lnTo>
                <a:lnTo>
                  <a:pt x="12" y="12"/>
                </a:lnTo>
                <a:lnTo>
                  <a:pt x="12" y="12"/>
                </a:lnTo>
                <a:close/>
                <a:moveTo>
                  <a:pt x="9" y="0"/>
                </a:moveTo>
                <a:lnTo>
                  <a:pt x="6" y="3"/>
                </a:lnTo>
                <a:lnTo>
                  <a:pt x="9" y="9"/>
                </a:lnTo>
                <a:lnTo>
                  <a:pt x="12" y="9"/>
                </a:lnTo>
                <a:lnTo>
                  <a:pt x="9" y="0"/>
                </a:lnTo>
                <a:lnTo>
                  <a:pt x="9" y="0"/>
                </a:lnTo>
                <a:close/>
                <a:moveTo>
                  <a:pt x="3" y="6"/>
                </a:moveTo>
                <a:lnTo>
                  <a:pt x="6" y="9"/>
                </a:lnTo>
                <a:lnTo>
                  <a:pt x="3" y="15"/>
                </a:lnTo>
                <a:lnTo>
                  <a:pt x="0" y="9"/>
                </a:lnTo>
                <a:lnTo>
                  <a:pt x="0" y="6"/>
                </a:lnTo>
                <a:lnTo>
                  <a:pt x="3" y="6"/>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3" name="Freeform 201">
            <a:extLst>
              <a:ext uri="{FF2B5EF4-FFF2-40B4-BE49-F238E27FC236}">
                <a16:creationId xmlns:a16="http://schemas.microsoft.com/office/drawing/2014/main" id="{017CC1B0-9632-0826-888B-8F1915141D17}"/>
              </a:ext>
            </a:extLst>
          </p:cNvPr>
          <p:cNvSpPr>
            <a:spLocks/>
          </p:cNvSpPr>
          <p:nvPr userDrawn="1"/>
        </p:nvSpPr>
        <p:spPr bwMode="auto">
          <a:xfrm>
            <a:off x="9397392" y="8384456"/>
            <a:ext cx="9525" cy="28576"/>
          </a:xfrm>
          <a:custGeom>
            <a:avLst/>
            <a:gdLst>
              <a:gd name="T0" fmla="*/ 0 w 1"/>
              <a:gd name="T1" fmla="*/ 0 h 3"/>
              <a:gd name="T2" fmla="*/ 1 w 1"/>
              <a:gd name="T3" fmla="*/ 1 h 3"/>
              <a:gd name="T4" fmla="*/ 1 w 1"/>
              <a:gd name="T5" fmla="*/ 3 h 3"/>
              <a:gd name="T6" fmla="*/ 0 w 1"/>
              <a:gd name="T7" fmla="*/ 3 h 3"/>
              <a:gd name="T8" fmla="*/ 0 w 1"/>
              <a:gd name="T9" fmla="*/ 1 h 3"/>
              <a:gd name="T10" fmla="*/ 0 w 1"/>
              <a:gd name="T11" fmla="*/ 0 h 3"/>
            </a:gdLst>
            <a:ahLst/>
            <a:cxnLst>
              <a:cxn ang="0">
                <a:pos x="T0" y="T1"/>
              </a:cxn>
              <a:cxn ang="0">
                <a:pos x="T2" y="T3"/>
              </a:cxn>
              <a:cxn ang="0">
                <a:pos x="T4" y="T5"/>
              </a:cxn>
              <a:cxn ang="0">
                <a:pos x="T6" y="T7"/>
              </a:cxn>
              <a:cxn ang="0">
                <a:pos x="T8" y="T9"/>
              </a:cxn>
              <a:cxn ang="0">
                <a:pos x="T10" y="T11"/>
              </a:cxn>
            </a:cxnLst>
            <a:rect l="0" t="0" r="r" b="b"/>
            <a:pathLst>
              <a:path w="1" h="3">
                <a:moveTo>
                  <a:pt x="0" y="0"/>
                </a:moveTo>
                <a:cubicBezTo>
                  <a:pt x="1" y="1"/>
                  <a:pt x="1" y="1"/>
                  <a:pt x="1" y="1"/>
                </a:cubicBezTo>
                <a:cubicBezTo>
                  <a:pt x="1" y="3"/>
                  <a:pt x="1" y="3"/>
                  <a:pt x="1" y="3"/>
                </a:cubicBezTo>
                <a:cubicBezTo>
                  <a:pt x="0" y="3"/>
                  <a:pt x="0" y="3"/>
                  <a:pt x="0" y="3"/>
                </a:cubicBezTo>
                <a:cubicBezTo>
                  <a:pt x="0" y="1"/>
                  <a:pt x="0" y="1"/>
                  <a:pt x="0" y="1"/>
                </a:cubicBezTo>
                <a:cubicBezTo>
                  <a:pt x="0" y="1"/>
                  <a:pt x="1" y="0"/>
                  <a:pt x="0" y="0"/>
                </a:cubicBez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4" name="Freeform 202">
            <a:extLst>
              <a:ext uri="{FF2B5EF4-FFF2-40B4-BE49-F238E27FC236}">
                <a16:creationId xmlns:a16="http://schemas.microsoft.com/office/drawing/2014/main" id="{53D89D10-7854-3228-CCA2-401329FC8AA3}"/>
              </a:ext>
            </a:extLst>
          </p:cNvPr>
          <p:cNvSpPr>
            <a:spLocks noEditPoints="1"/>
          </p:cNvSpPr>
          <p:nvPr userDrawn="1"/>
        </p:nvSpPr>
        <p:spPr bwMode="auto">
          <a:xfrm>
            <a:off x="9397390" y="8432085"/>
            <a:ext cx="41275" cy="88902"/>
          </a:xfrm>
          <a:custGeom>
            <a:avLst/>
            <a:gdLst>
              <a:gd name="T0" fmla="*/ 10 w 13"/>
              <a:gd name="T1" fmla="*/ 16 h 28"/>
              <a:gd name="T2" fmla="*/ 3 w 13"/>
              <a:gd name="T3" fmla="*/ 22 h 28"/>
              <a:gd name="T4" fmla="*/ 6 w 13"/>
              <a:gd name="T5" fmla="*/ 25 h 28"/>
              <a:gd name="T6" fmla="*/ 10 w 13"/>
              <a:gd name="T7" fmla="*/ 28 h 28"/>
              <a:gd name="T8" fmla="*/ 10 w 13"/>
              <a:gd name="T9" fmla="*/ 22 h 28"/>
              <a:gd name="T10" fmla="*/ 10 w 13"/>
              <a:gd name="T11" fmla="*/ 16 h 28"/>
              <a:gd name="T12" fmla="*/ 10 w 13"/>
              <a:gd name="T13" fmla="*/ 16 h 28"/>
              <a:gd name="T14" fmla="*/ 0 w 13"/>
              <a:gd name="T15" fmla="*/ 0 h 28"/>
              <a:gd name="T16" fmla="*/ 10 w 13"/>
              <a:gd name="T17" fmla="*/ 0 h 28"/>
              <a:gd name="T18" fmla="*/ 13 w 13"/>
              <a:gd name="T19" fmla="*/ 10 h 28"/>
              <a:gd name="T20" fmla="*/ 10 w 13"/>
              <a:gd name="T21" fmla="*/ 13 h 28"/>
              <a:gd name="T22" fmla="*/ 6 w 13"/>
              <a:gd name="T23" fmla="*/ 10 h 28"/>
              <a:gd name="T24" fmla="*/ 6 w 13"/>
              <a:gd name="T25" fmla="*/ 10 h 28"/>
              <a:gd name="T26" fmla="*/ 6 w 13"/>
              <a:gd name="T27" fmla="*/ 7 h 28"/>
              <a:gd name="T28" fmla="*/ 0 w 13"/>
              <a:gd name="T29" fmla="*/ 3 h 28"/>
              <a:gd name="T30" fmla="*/ 0 w 13"/>
              <a:gd name="T3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28">
                <a:moveTo>
                  <a:pt x="10" y="16"/>
                </a:moveTo>
                <a:lnTo>
                  <a:pt x="3" y="22"/>
                </a:lnTo>
                <a:lnTo>
                  <a:pt x="6" y="25"/>
                </a:lnTo>
                <a:lnTo>
                  <a:pt x="10" y="28"/>
                </a:lnTo>
                <a:lnTo>
                  <a:pt x="10" y="22"/>
                </a:lnTo>
                <a:lnTo>
                  <a:pt x="10" y="16"/>
                </a:lnTo>
                <a:lnTo>
                  <a:pt x="10" y="16"/>
                </a:lnTo>
                <a:close/>
                <a:moveTo>
                  <a:pt x="0" y="0"/>
                </a:moveTo>
                <a:lnTo>
                  <a:pt x="10" y="0"/>
                </a:lnTo>
                <a:lnTo>
                  <a:pt x="13" y="10"/>
                </a:lnTo>
                <a:lnTo>
                  <a:pt x="10" y="13"/>
                </a:lnTo>
                <a:lnTo>
                  <a:pt x="6" y="10"/>
                </a:lnTo>
                <a:lnTo>
                  <a:pt x="6" y="10"/>
                </a:lnTo>
                <a:lnTo>
                  <a:pt x="6" y="7"/>
                </a:lnTo>
                <a:lnTo>
                  <a:pt x="0" y="3"/>
                </a:lnTo>
                <a:lnTo>
                  <a:pt x="0" y="0"/>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5" name="Freeform 203">
            <a:extLst>
              <a:ext uri="{FF2B5EF4-FFF2-40B4-BE49-F238E27FC236}">
                <a16:creationId xmlns:a16="http://schemas.microsoft.com/office/drawing/2014/main" id="{22F856E7-7FE7-D54C-3C13-F6428F97EEA2}"/>
              </a:ext>
            </a:extLst>
          </p:cNvPr>
          <p:cNvSpPr>
            <a:spLocks/>
          </p:cNvSpPr>
          <p:nvPr userDrawn="1"/>
        </p:nvSpPr>
        <p:spPr bwMode="auto">
          <a:xfrm>
            <a:off x="9508506" y="8533687"/>
            <a:ext cx="19049" cy="19050"/>
          </a:xfrm>
          <a:custGeom>
            <a:avLst/>
            <a:gdLst>
              <a:gd name="T0" fmla="*/ 3 w 6"/>
              <a:gd name="T1" fmla="*/ 0 h 6"/>
              <a:gd name="T2" fmla="*/ 0 w 6"/>
              <a:gd name="T3" fmla="*/ 3 h 6"/>
              <a:gd name="T4" fmla="*/ 3 w 6"/>
              <a:gd name="T5" fmla="*/ 6 h 6"/>
              <a:gd name="T6" fmla="*/ 6 w 6"/>
              <a:gd name="T7" fmla="*/ 6 h 6"/>
              <a:gd name="T8" fmla="*/ 6 w 6"/>
              <a:gd name="T9" fmla="*/ 3 h 6"/>
              <a:gd name="T10" fmla="*/ 3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3" y="0"/>
                </a:moveTo>
                <a:lnTo>
                  <a:pt x="0" y="3"/>
                </a:lnTo>
                <a:lnTo>
                  <a:pt x="3" y="6"/>
                </a:lnTo>
                <a:lnTo>
                  <a:pt x="6" y="6"/>
                </a:lnTo>
                <a:lnTo>
                  <a:pt x="6" y="3"/>
                </a:lnTo>
                <a:lnTo>
                  <a:pt x="3" y="0"/>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6" name="Freeform 204">
            <a:extLst>
              <a:ext uri="{FF2B5EF4-FFF2-40B4-BE49-F238E27FC236}">
                <a16:creationId xmlns:a16="http://schemas.microsoft.com/office/drawing/2014/main" id="{030E276F-F0D1-B967-8A8B-53C0050D74E0}"/>
              </a:ext>
            </a:extLst>
          </p:cNvPr>
          <p:cNvSpPr>
            <a:spLocks noEditPoints="1"/>
          </p:cNvSpPr>
          <p:nvPr userDrawn="1"/>
        </p:nvSpPr>
        <p:spPr bwMode="auto">
          <a:xfrm>
            <a:off x="9368817" y="8520980"/>
            <a:ext cx="47623" cy="101600"/>
          </a:xfrm>
          <a:custGeom>
            <a:avLst/>
            <a:gdLst>
              <a:gd name="T0" fmla="*/ 3 w 5"/>
              <a:gd name="T1" fmla="*/ 9 h 10"/>
              <a:gd name="T2" fmla="*/ 2 w 5"/>
              <a:gd name="T3" fmla="*/ 8 h 10"/>
              <a:gd name="T4" fmla="*/ 1 w 5"/>
              <a:gd name="T5" fmla="*/ 8 h 10"/>
              <a:gd name="T6" fmla="*/ 0 w 5"/>
              <a:gd name="T7" fmla="*/ 10 h 10"/>
              <a:gd name="T8" fmla="*/ 2 w 5"/>
              <a:gd name="T9" fmla="*/ 10 h 10"/>
              <a:gd name="T10" fmla="*/ 3 w 5"/>
              <a:gd name="T11" fmla="*/ 9 h 10"/>
              <a:gd name="T12" fmla="*/ 3 w 5"/>
              <a:gd name="T13" fmla="*/ 6 h 10"/>
              <a:gd name="T14" fmla="*/ 4 w 5"/>
              <a:gd name="T15" fmla="*/ 7 h 10"/>
              <a:gd name="T16" fmla="*/ 3 w 5"/>
              <a:gd name="T17" fmla="*/ 7 h 10"/>
              <a:gd name="T18" fmla="*/ 3 w 5"/>
              <a:gd name="T19" fmla="*/ 6 h 10"/>
              <a:gd name="T20" fmla="*/ 4 w 5"/>
              <a:gd name="T21" fmla="*/ 0 h 10"/>
              <a:gd name="T22" fmla="*/ 5 w 5"/>
              <a:gd name="T23" fmla="*/ 2 h 10"/>
              <a:gd name="T24" fmla="*/ 4 w 5"/>
              <a:gd name="T25" fmla="*/ 4 h 10"/>
              <a:gd name="T26" fmla="*/ 4 w 5"/>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0">
                <a:moveTo>
                  <a:pt x="3" y="9"/>
                </a:moveTo>
                <a:cubicBezTo>
                  <a:pt x="2" y="8"/>
                  <a:pt x="2" y="8"/>
                  <a:pt x="2" y="8"/>
                </a:cubicBezTo>
                <a:cubicBezTo>
                  <a:pt x="1" y="8"/>
                  <a:pt x="1" y="8"/>
                  <a:pt x="1" y="8"/>
                </a:cubicBezTo>
                <a:cubicBezTo>
                  <a:pt x="0" y="10"/>
                  <a:pt x="0" y="10"/>
                  <a:pt x="0" y="10"/>
                </a:cubicBezTo>
                <a:cubicBezTo>
                  <a:pt x="2" y="10"/>
                  <a:pt x="2" y="10"/>
                  <a:pt x="2" y="10"/>
                </a:cubicBezTo>
                <a:cubicBezTo>
                  <a:pt x="3" y="9"/>
                  <a:pt x="3" y="9"/>
                  <a:pt x="3" y="9"/>
                </a:cubicBezTo>
                <a:close/>
                <a:moveTo>
                  <a:pt x="3" y="6"/>
                </a:moveTo>
                <a:cubicBezTo>
                  <a:pt x="4" y="7"/>
                  <a:pt x="4" y="7"/>
                  <a:pt x="4" y="7"/>
                </a:cubicBezTo>
                <a:cubicBezTo>
                  <a:pt x="3" y="7"/>
                  <a:pt x="3" y="7"/>
                  <a:pt x="3" y="7"/>
                </a:cubicBezTo>
                <a:cubicBezTo>
                  <a:pt x="3" y="7"/>
                  <a:pt x="3" y="6"/>
                  <a:pt x="3" y="6"/>
                </a:cubicBezTo>
                <a:close/>
                <a:moveTo>
                  <a:pt x="4" y="0"/>
                </a:moveTo>
                <a:cubicBezTo>
                  <a:pt x="5" y="2"/>
                  <a:pt x="5" y="2"/>
                  <a:pt x="5" y="2"/>
                </a:cubicBezTo>
                <a:cubicBezTo>
                  <a:pt x="4" y="4"/>
                  <a:pt x="4" y="4"/>
                  <a:pt x="4" y="4"/>
                </a:cubicBezTo>
                <a:lnTo>
                  <a:pt x="4" y="0"/>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7" name="Freeform 206">
            <a:extLst>
              <a:ext uri="{FF2B5EF4-FFF2-40B4-BE49-F238E27FC236}">
                <a16:creationId xmlns:a16="http://schemas.microsoft.com/office/drawing/2014/main" id="{9A5B5C91-D579-9050-0555-59DDAEBAE129}"/>
              </a:ext>
            </a:extLst>
          </p:cNvPr>
          <p:cNvSpPr>
            <a:spLocks noEditPoints="1"/>
          </p:cNvSpPr>
          <p:nvPr userDrawn="1"/>
        </p:nvSpPr>
        <p:spPr bwMode="auto">
          <a:xfrm>
            <a:off x="9359292" y="8670208"/>
            <a:ext cx="88896" cy="79376"/>
          </a:xfrm>
          <a:custGeom>
            <a:avLst/>
            <a:gdLst>
              <a:gd name="T0" fmla="*/ 22 w 28"/>
              <a:gd name="T1" fmla="*/ 3 h 25"/>
              <a:gd name="T2" fmla="*/ 28 w 28"/>
              <a:gd name="T3" fmla="*/ 0 h 25"/>
              <a:gd name="T4" fmla="*/ 25 w 28"/>
              <a:gd name="T5" fmla="*/ 3 h 25"/>
              <a:gd name="T6" fmla="*/ 22 w 28"/>
              <a:gd name="T7" fmla="*/ 3 h 25"/>
              <a:gd name="T8" fmla="*/ 22 w 28"/>
              <a:gd name="T9" fmla="*/ 3 h 25"/>
              <a:gd name="T10" fmla="*/ 22 w 28"/>
              <a:gd name="T11" fmla="*/ 7 h 25"/>
              <a:gd name="T12" fmla="*/ 12 w 28"/>
              <a:gd name="T13" fmla="*/ 10 h 25"/>
              <a:gd name="T14" fmla="*/ 9 w 28"/>
              <a:gd name="T15" fmla="*/ 7 h 25"/>
              <a:gd name="T16" fmla="*/ 6 w 28"/>
              <a:gd name="T17" fmla="*/ 10 h 25"/>
              <a:gd name="T18" fmla="*/ 3 w 28"/>
              <a:gd name="T19" fmla="*/ 10 h 25"/>
              <a:gd name="T20" fmla="*/ 9 w 28"/>
              <a:gd name="T21" fmla="*/ 13 h 25"/>
              <a:gd name="T22" fmla="*/ 9 w 28"/>
              <a:gd name="T23" fmla="*/ 19 h 25"/>
              <a:gd name="T24" fmla="*/ 6 w 28"/>
              <a:gd name="T25" fmla="*/ 22 h 25"/>
              <a:gd name="T26" fmla="*/ 0 w 28"/>
              <a:gd name="T27" fmla="*/ 22 h 25"/>
              <a:gd name="T28" fmla="*/ 6 w 28"/>
              <a:gd name="T29" fmla="*/ 25 h 25"/>
              <a:gd name="T30" fmla="*/ 15 w 28"/>
              <a:gd name="T31" fmla="*/ 22 h 25"/>
              <a:gd name="T32" fmla="*/ 18 w 28"/>
              <a:gd name="T33" fmla="*/ 19 h 25"/>
              <a:gd name="T34" fmla="*/ 18 w 28"/>
              <a:gd name="T35" fmla="*/ 16 h 25"/>
              <a:gd name="T36" fmla="*/ 15 w 28"/>
              <a:gd name="T37" fmla="*/ 13 h 25"/>
              <a:gd name="T38" fmla="*/ 22 w 28"/>
              <a:gd name="T39" fmla="*/ 7 h 25"/>
              <a:gd name="T40" fmla="*/ 22 w 28"/>
              <a:gd name="T41"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25">
                <a:moveTo>
                  <a:pt x="22" y="3"/>
                </a:moveTo>
                <a:lnTo>
                  <a:pt x="28" y="0"/>
                </a:lnTo>
                <a:lnTo>
                  <a:pt x="25" y="3"/>
                </a:lnTo>
                <a:lnTo>
                  <a:pt x="22" y="3"/>
                </a:lnTo>
                <a:lnTo>
                  <a:pt x="22" y="3"/>
                </a:lnTo>
                <a:close/>
                <a:moveTo>
                  <a:pt x="22" y="7"/>
                </a:moveTo>
                <a:lnTo>
                  <a:pt x="12" y="10"/>
                </a:lnTo>
                <a:lnTo>
                  <a:pt x="9" y="7"/>
                </a:lnTo>
                <a:lnTo>
                  <a:pt x="6" y="10"/>
                </a:lnTo>
                <a:lnTo>
                  <a:pt x="3" y="10"/>
                </a:lnTo>
                <a:lnTo>
                  <a:pt x="9" y="13"/>
                </a:lnTo>
                <a:lnTo>
                  <a:pt x="9" y="19"/>
                </a:lnTo>
                <a:lnTo>
                  <a:pt x="6" y="22"/>
                </a:lnTo>
                <a:lnTo>
                  <a:pt x="0" y="22"/>
                </a:lnTo>
                <a:lnTo>
                  <a:pt x="6" y="25"/>
                </a:lnTo>
                <a:lnTo>
                  <a:pt x="15" y="22"/>
                </a:lnTo>
                <a:lnTo>
                  <a:pt x="18" y="19"/>
                </a:lnTo>
                <a:lnTo>
                  <a:pt x="18" y="16"/>
                </a:lnTo>
                <a:lnTo>
                  <a:pt x="15" y="13"/>
                </a:lnTo>
                <a:lnTo>
                  <a:pt x="22" y="7"/>
                </a:lnTo>
                <a:lnTo>
                  <a:pt x="22" y="7"/>
                </a:lnTo>
                <a:close/>
              </a:path>
            </a:pathLst>
          </a:custGeom>
          <a:solidFill>
            <a:srgbClr val="B3B2B2"/>
          </a:solidFill>
          <a:ln w="9525">
            <a:solidFill>
              <a:srgbClr val="B3B2B2"/>
            </a:solidFill>
            <a:round/>
            <a:headEnd/>
            <a:tailEnd/>
          </a:ln>
        </p:spPr>
        <p:txBody>
          <a:bodyPr vert="horz" wrap="square" lIns="182844" tIns="91422" rIns="182844" bIns="91422" numCol="1" anchor="t" anchorCtr="0" compatLnSpc="1">
            <a:prstTxWarp prst="textNoShape">
              <a:avLst/>
            </a:prstTxWarp>
          </a:bodyPr>
          <a:lstStyle/>
          <a:p>
            <a:pPr marL="0" marR="0" lvl="0" indent="0" algn="l" defTabSz="182852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10" name="TextBox 1809">
            <a:extLst>
              <a:ext uri="{FF2B5EF4-FFF2-40B4-BE49-F238E27FC236}">
                <a16:creationId xmlns:a16="http://schemas.microsoft.com/office/drawing/2014/main" id="{5C9C8613-F3BE-4825-58D3-4A2EE0066D6E}"/>
              </a:ext>
            </a:extLst>
          </p:cNvPr>
          <p:cNvSpPr txBox="1"/>
          <p:nvPr userDrawn="1"/>
        </p:nvSpPr>
        <p:spPr>
          <a:xfrm>
            <a:off x="22416463" y="13226646"/>
            <a:ext cx="1872086" cy="400110"/>
          </a:xfrm>
          <a:prstGeom prst="rect">
            <a:avLst/>
          </a:prstGeom>
          <a:noFill/>
        </p:spPr>
        <p:txBody>
          <a:bodyPr wrap="square" rtlCol="0" anchor="b">
            <a:spAutoFit/>
          </a:bodyPr>
          <a:lstStyle/>
          <a:p>
            <a:pPr marL="0" marR="0" lvl="0" indent="0" algn="r" defTabSz="1828483" rtl="0" eaLnBrk="1" fontAlgn="auto" latinLnBrk="0" hangingPunct="1">
              <a:lnSpc>
                <a:spcPct val="100000"/>
              </a:lnSpc>
              <a:spcBef>
                <a:spcPts val="0"/>
              </a:spcBef>
              <a:spcAft>
                <a:spcPts val="0"/>
              </a:spcAft>
              <a:buClrTx/>
              <a:buSzTx/>
              <a:buFontTx/>
              <a:buNone/>
              <a:tabLst/>
              <a:defRPr/>
            </a:pPr>
            <a:fld id="{6CE035FB-656D-BE4C-9C54-3AFE6E724348}" type="slidenum">
              <a:rPr kumimoji="0" lang="en-GB" sz="2000" b="0" i="0" u="none" strike="noStrike" kern="1200" cap="none" spc="0" normalizeH="0" baseline="0" noProof="0" smtClean="0">
                <a:ln>
                  <a:noFill/>
                </a:ln>
                <a:solidFill>
                  <a:srgbClr val="000000"/>
                </a:solidFill>
                <a:effectLst/>
                <a:uLnTx/>
                <a:uFillTx/>
                <a:latin typeface="Noto IKEA Latin" panose="020B0502040504020204" pitchFamily="34" charset="0"/>
                <a:ea typeface="+mn-ea"/>
                <a:cs typeface="+mn-cs"/>
              </a:rPr>
              <a:pPr marL="0" marR="0" lvl="0" indent="0" algn="r" defTabSz="1828483" rtl="0" eaLnBrk="1" fontAlgn="auto" latinLnBrk="0" hangingPunct="1">
                <a:lnSpc>
                  <a:spcPct val="100000"/>
                </a:lnSpc>
                <a:spcBef>
                  <a:spcPts val="0"/>
                </a:spcBef>
                <a:spcAft>
                  <a:spcPts val="0"/>
                </a:spcAft>
                <a:buClrTx/>
                <a:buSzTx/>
                <a:buFontTx/>
                <a:buNone/>
                <a:tabLst/>
                <a:defRPr/>
              </a:pPr>
              <a:t>‹#›</a:t>
            </a:fld>
            <a:endParaRPr kumimoji="0" lang="en-GB" sz="2000" b="0" i="0" u="none" strike="noStrike" kern="1200" cap="none" spc="0" normalizeH="0" baseline="0" noProof="0">
              <a:ln>
                <a:noFill/>
              </a:ln>
              <a:solidFill>
                <a:srgbClr val="000000"/>
              </a:solidFill>
              <a:effectLst/>
              <a:uLnTx/>
              <a:uFillTx/>
              <a:latin typeface="Noto IKEA Latin" panose="020B0502040504020204" pitchFamily="34" charset="0"/>
              <a:ea typeface="+mn-ea"/>
              <a:cs typeface="+mn-cs"/>
            </a:endParaRPr>
          </a:p>
        </p:txBody>
      </p:sp>
    </p:spTree>
    <p:extLst>
      <p:ext uri="{BB962C8B-B14F-4D97-AF65-F5344CB8AC3E}">
        <p14:creationId xmlns:p14="http://schemas.microsoft.com/office/powerpoint/2010/main" val="104573497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1_Timeline a">
    <p:spTree>
      <p:nvGrpSpPr>
        <p:cNvPr id="1" name=""/>
        <p:cNvGrpSpPr/>
        <p:nvPr/>
      </p:nvGrpSpPr>
      <p:grpSpPr>
        <a:xfrm>
          <a:off x="0" y="0"/>
          <a:ext cx="0" cy="0"/>
          <a:chOff x="0" y="0"/>
          <a:chExt cx="0" cy="0"/>
        </a:xfrm>
      </p:grpSpPr>
      <p:cxnSp>
        <p:nvCxnSpPr>
          <p:cNvPr id="28" name="Straight Connector 27">
            <a:extLst>
              <a:ext uri="{FF2B5EF4-FFF2-40B4-BE49-F238E27FC236}">
                <a16:creationId xmlns:a16="http://schemas.microsoft.com/office/drawing/2014/main" id="{CBAD3FB8-9E01-2EC1-BC27-7E3BECA73148}"/>
              </a:ext>
            </a:extLst>
          </p:cNvPr>
          <p:cNvCxnSpPr>
            <a:cxnSpLocks/>
          </p:cNvCxnSpPr>
          <p:nvPr userDrawn="1"/>
        </p:nvCxnSpPr>
        <p:spPr>
          <a:xfrm>
            <a:off x="12191207" y="8275247"/>
            <a:ext cx="0" cy="544075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Picture Placeholder 2">
            <a:extLst>
              <a:ext uri="{FF2B5EF4-FFF2-40B4-BE49-F238E27FC236}">
                <a16:creationId xmlns:a16="http://schemas.microsoft.com/office/drawing/2014/main" id="{E6A6E655-D96A-9B80-8D18-AA4B5BEAFE99}"/>
              </a:ext>
            </a:extLst>
          </p:cNvPr>
          <p:cNvSpPr>
            <a:spLocks noGrp="1"/>
          </p:cNvSpPr>
          <p:nvPr>
            <p:ph type="pic" sz="quarter" idx="19" hasCustomPrompt="1"/>
          </p:nvPr>
        </p:nvSpPr>
        <p:spPr>
          <a:xfrm>
            <a:off x="9612585" y="3113584"/>
            <a:ext cx="5157244" cy="5158800"/>
          </a:xfrm>
          <a:solidFill>
            <a:schemeClr val="bg1">
              <a:lumMod val="95000"/>
            </a:schemeClr>
          </a:solidFill>
        </p:spPr>
        <p:txBody>
          <a:bodyPr>
            <a:normAutofit/>
          </a:bodyPr>
          <a:lstStyle>
            <a:lvl1pPr marL="0" marR="0" indent="0" algn="ctr" defTabSz="182848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Tree>
    <p:extLst>
      <p:ext uri="{BB962C8B-B14F-4D97-AF65-F5344CB8AC3E}">
        <p14:creationId xmlns:p14="http://schemas.microsoft.com/office/powerpoint/2010/main" val="89429111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1_Title on partial colour background, texture or image with IKEA logo">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87BBF9D-BEB5-5444-89E4-010A3501B6E5}"/>
              </a:ext>
            </a:extLst>
          </p:cNvPr>
          <p:cNvSpPr>
            <a:spLocks noGrp="1"/>
          </p:cNvSpPr>
          <p:nvPr>
            <p:ph type="pic" sz="quarter" idx="14" hasCustomPrompt="1"/>
          </p:nvPr>
        </p:nvSpPr>
        <p:spPr>
          <a:xfrm>
            <a:off x="0" y="-1"/>
            <a:ext cx="24382413" cy="10458450"/>
          </a:xfrm>
          <a:solidFill>
            <a:srgbClr val="E4E5E3"/>
          </a:solidFill>
        </p:spPr>
        <p:txBody>
          <a:bodyPr>
            <a:normAutofit/>
          </a:bodyPr>
          <a:lstStyle>
            <a:lvl1pPr marL="0" marR="0" indent="0" algn="l" defTabSz="182848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Drag and drop to add a pictur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1679467" y="1677603"/>
            <a:ext cx="21029831" cy="4013370"/>
          </a:xfrm>
          <a:prstGeom prst="rect">
            <a:avLst/>
          </a:prstGeom>
        </p:spPr>
        <p:txBody>
          <a:bodyPr vert="horz" lIns="91440" tIns="45720" rIns="91440" bIns="45720" rtlCol="0" anchor="t">
            <a:noAutofit/>
          </a:bodyPr>
          <a:lstStyle>
            <a:lvl1pPr>
              <a:defRPr/>
            </a:lvl1pPr>
          </a:lstStyle>
          <a:p>
            <a:r>
              <a:rPr lang="en-GB" noProof="0"/>
              <a:t>Put the title here,</a:t>
            </a:r>
            <a:br>
              <a:rPr lang="en-GB" noProof="0"/>
            </a:br>
            <a:r>
              <a:rPr lang="en-GB" noProof="0"/>
              <a:t>keep it bold 60 pt</a:t>
            </a:r>
          </a:p>
        </p:txBody>
      </p:sp>
      <p:sp>
        <p:nvSpPr>
          <p:cNvPr id="10" name="Text Placeholder 6">
            <a:extLst>
              <a:ext uri="{FF2B5EF4-FFF2-40B4-BE49-F238E27FC236}">
                <a16:creationId xmlns:a16="http://schemas.microsoft.com/office/drawing/2014/main" id="{ECC773ED-664B-824F-91D1-6C08CFB17BDA}"/>
              </a:ext>
            </a:extLst>
          </p:cNvPr>
          <p:cNvSpPr>
            <a:spLocks noGrp="1"/>
          </p:cNvSpPr>
          <p:nvPr>
            <p:ph type="body" sz="quarter" idx="13" hasCustomPrompt="1"/>
          </p:nvPr>
        </p:nvSpPr>
        <p:spPr>
          <a:xfrm>
            <a:off x="1700166" y="6137283"/>
            <a:ext cx="10657784" cy="3457030"/>
          </a:xfrm>
        </p:spPr>
        <p:txBody>
          <a:bodyPr/>
          <a:lstStyle>
            <a:lvl1pPr>
              <a:spcBef>
                <a:spcPts val="0"/>
              </a:spcBef>
              <a:defRPr sz="4800"/>
            </a:lvl1pPr>
          </a:lstStyle>
          <a:p>
            <a:pPr lvl="0"/>
            <a:r>
              <a:rPr lang="en-GB" noProof="0"/>
              <a:t>Put the subtitle here,</a:t>
            </a:r>
            <a:br>
              <a:rPr lang="en-GB" noProof="0"/>
            </a:br>
            <a:r>
              <a:rPr lang="en-GB" noProof="0"/>
              <a:t>keep it regular 24 </a:t>
            </a:r>
            <a:r>
              <a:rPr lang="en-GB" noProof="0" err="1"/>
              <a:t>pt</a:t>
            </a:r>
            <a:endParaRPr lang="en-GB" noProof="0"/>
          </a:p>
        </p:txBody>
      </p:sp>
      <p:pic>
        <p:nvPicPr>
          <p:cNvPr id="9" name="Picture 8">
            <a:extLst>
              <a:ext uri="{FF2B5EF4-FFF2-40B4-BE49-F238E27FC236}">
                <a16:creationId xmlns:a16="http://schemas.microsoft.com/office/drawing/2014/main" id="{96D72230-E953-2344-BE6F-83C4D88C1C4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570077" y="10514137"/>
            <a:ext cx="4812341" cy="3236442"/>
          </a:xfrm>
          <a:prstGeom prst="rect">
            <a:avLst/>
          </a:prstGeom>
        </p:spPr>
      </p:pic>
      <p:sp>
        <p:nvSpPr>
          <p:cNvPr id="4" name="Text Placeholder 3">
            <a:extLst>
              <a:ext uri="{FF2B5EF4-FFF2-40B4-BE49-F238E27FC236}">
                <a16:creationId xmlns:a16="http://schemas.microsoft.com/office/drawing/2014/main" id="{B5329D23-EF50-DA48-938A-1EBB7615B30C}"/>
              </a:ext>
            </a:extLst>
          </p:cNvPr>
          <p:cNvSpPr>
            <a:spLocks noGrp="1"/>
          </p:cNvSpPr>
          <p:nvPr>
            <p:ph type="body" sz="quarter" idx="18" hasCustomPrompt="1"/>
          </p:nvPr>
        </p:nvSpPr>
        <p:spPr>
          <a:xfrm rot="5400000">
            <a:off x="20902621" y="2898382"/>
            <a:ext cx="5759746" cy="719337"/>
          </a:xfrm>
        </p:spPr>
        <p:txBody>
          <a:bodyPr anchor="ctr"/>
          <a:lstStyle>
            <a:lvl1pPr>
              <a:defRPr sz="1600">
                <a:solidFill>
                  <a:schemeClr val="tx1">
                    <a:lumMod val="50000"/>
                    <a:lumOff val="50000"/>
                  </a:schemeClr>
                </a:solidFill>
              </a:defRPr>
            </a:lvl1pPr>
          </a:lstStyle>
          <a:p>
            <a:pPr lvl="0"/>
            <a:r>
              <a:rPr lang="en-US"/>
              <a:t>© Inter IKEA Systems B.V. 2020</a:t>
            </a:r>
            <a:endParaRPr lang="en-GB"/>
          </a:p>
        </p:txBody>
      </p:sp>
    </p:spTree>
    <p:extLst>
      <p:ext uri="{BB962C8B-B14F-4D97-AF65-F5344CB8AC3E}">
        <p14:creationId xmlns:p14="http://schemas.microsoft.com/office/powerpoint/2010/main" val="44354182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63592" y="3419481"/>
            <a:ext cx="21029831" cy="5705474"/>
          </a:xfrm>
        </p:spPr>
        <p:txBody>
          <a:bodyPr anchor="b"/>
          <a:lstStyle>
            <a:lvl1pPr>
              <a:defRPr sz="11999"/>
            </a:lvl1pPr>
          </a:lstStyle>
          <a:p>
            <a:r>
              <a:rPr lang="en-US"/>
              <a:t>Click to edit Master title style</a:t>
            </a:r>
            <a:endParaRPr lang="en-GB"/>
          </a:p>
        </p:txBody>
      </p:sp>
      <p:sp>
        <p:nvSpPr>
          <p:cNvPr id="3" name="Text Placeholder 2"/>
          <p:cNvSpPr>
            <a:spLocks noGrp="1"/>
          </p:cNvSpPr>
          <p:nvPr>
            <p:ph type="body" idx="1"/>
          </p:nvPr>
        </p:nvSpPr>
        <p:spPr>
          <a:xfrm>
            <a:off x="1663592" y="9178931"/>
            <a:ext cx="21029831" cy="3000374"/>
          </a:xfrm>
        </p:spPr>
        <p:txBody>
          <a:bodyPr/>
          <a:lstStyle>
            <a:lvl1pPr marL="0" indent="0">
              <a:buNone/>
              <a:defRPr sz="4800">
                <a:solidFill>
                  <a:schemeClr val="tx1">
                    <a:tint val="75000"/>
                  </a:schemeClr>
                </a:solidFill>
              </a:defRPr>
            </a:lvl1pPr>
            <a:lvl2pPr marL="914262" indent="0">
              <a:buNone/>
              <a:defRPr sz="4000">
                <a:solidFill>
                  <a:schemeClr val="tx1">
                    <a:tint val="75000"/>
                  </a:schemeClr>
                </a:solidFill>
              </a:defRPr>
            </a:lvl2pPr>
            <a:lvl3pPr marL="1828529" indent="0">
              <a:buNone/>
              <a:defRPr sz="3600">
                <a:solidFill>
                  <a:schemeClr val="tx1">
                    <a:tint val="75000"/>
                  </a:schemeClr>
                </a:solidFill>
              </a:defRPr>
            </a:lvl3pPr>
            <a:lvl4pPr marL="2742791" indent="0">
              <a:buNone/>
              <a:defRPr sz="3200">
                <a:solidFill>
                  <a:schemeClr val="tx1">
                    <a:tint val="75000"/>
                  </a:schemeClr>
                </a:solidFill>
              </a:defRPr>
            </a:lvl4pPr>
            <a:lvl5pPr marL="3657053" indent="0">
              <a:buNone/>
              <a:defRPr sz="3200">
                <a:solidFill>
                  <a:schemeClr val="tx1">
                    <a:tint val="75000"/>
                  </a:schemeClr>
                </a:solidFill>
              </a:defRPr>
            </a:lvl5pPr>
            <a:lvl6pPr marL="4571315" indent="0">
              <a:buNone/>
              <a:defRPr sz="3200">
                <a:solidFill>
                  <a:schemeClr val="tx1">
                    <a:tint val="75000"/>
                  </a:schemeClr>
                </a:solidFill>
              </a:defRPr>
            </a:lvl6pPr>
            <a:lvl7pPr marL="5485578" indent="0">
              <a:buNone/>
              <a:defRPr sz="3200">
                <a:solidFill>
                  <a:schemeClr val="tx1">
                    <a:tint val="75000"/>
                  </a:schemeClr>
                </a:solidFill>
              </a:defRPr>
            </a:lvl7pPr>
            <a:lvl8pPr marL="6399840" indent="0">
              <a:buNone/>
              <a:defRPr sz="3200">
                <a:solidFill>
                  <a:schemeClr val="tx1">
                    <a:tint val="75000"/>
                  </a:schemeClr>
                </a:solidFill>
              </a:defRPr>
            </a:lvl8pPr>
            <a:lvl9pPr marL="7314102" indent="0">
              <a:buNone/>
              <a:defRPr sz="3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8CB2AC7-B352-4C06-A37F-C1AFABEB433B}" type="datetimeFigureOut">
              <a:rPr lang="en-GB" smtClean="0">
                <a:solidFill>
                  <a:prstClr val="black">
                    <a:tint val="75000"/>
                  </a:prstClr>
                </a:solidFill>
              </a:rPr>
              <a:pPr/>
              <a:t>12/03/202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A225A4FA-9CCD-446F-8574-0A543A292A1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61232404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8400" b="0" i="0">
                <a:solidFill>
                  <a:schemeClr val="tx1"/>
                </a:solidFill>
                <a:latin typeface="Verdana"/>
                <a:cs typeface="Verdana"/>
              </a:defRPr>
            </a:lvl1pPr>
          </a:lstStyle>
          <a:p>
            <a:endParaRPr/>
          </a:p>
        </p:txBody>
      </p:sp>
      <p:sp>
        <p:nvSpPr>
          <p:cNvPr id="3" name="Holder 3"/>
          <p:cNvSpPr>
            <a:spLocks noGrp="1"/>
          </p:cNvSpPr>
          <p:nvPr>
            <p:ph sz="half" idx="2"/>
          </p:nvPr>
        </p:nvSpPr>
        <p:spPr>
          <a:xfrm>
            <a:off x="1219755" y="3154680"/>
            <a:ext cx="10611873" cy="492444"/>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12563482" y="3154680"/>
            <a:ext cx="10611873" cy="492444"/>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863744" y="12897917"/>
            <a:ext cx="1774073" cy="236218"/>
          </a:xfrm>
          <a:prstGeom prst="rect">
            <a:avLst/>
          </a:prstGeom>
        </p:spPr>
        <p:txBody>
          <a:bodyPr lIns="0" tIns="0" rIns="0" bIns="0"/>
          <a:lstStyle>
            <a:lvl1pPr>
              <a:defRPr sz="1200" b="0" i="0">
                <a:solidFill>
                  <a:srgbClr val="BCBEC0"/>
                </a:solidFill>
                <a:latin typeface="Verdana"/>
                <a:cs typeface="Verdana"/>
              </a:defRPr>
            </a:lvl1pPr>
          </a:lstStyle>
          <a:p>
            <a:pPr marL="25399">
              <a:spcBef>
                <a:spcPts val="200"/>
              </a:spcBef>
            </a:pPr>
            <a:r>
              <a:rPr lang="sv-SE"/>
              <a:t>Logistics</a:t>
            </a:r>
            <a:r>
              <a:rPr lang="sv-SE" spc="-80"/>
              <a:t> </a:t>
            </a:r>
            <a:r>
              <a:rPr lang="sv-SE" spc="-10"/>
              <a:t>Development</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3/12/2025</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defRPr sz="1200" b="0" i="0">
                <a:solidFill>
                  <a:srgbClr val="BCBEC0"/>
                </a:solidFill>
                <a:latin typeface="Verdana"/>
                <a:cs typeface="Verdana"/>
              </a:defRPr>
            </a:lvl1pPr>
          </a:lstStyle>
          <a:p>
            <a:pPr marL="50793">
              <a:spcBef>
                <a:spcPts val="200"/>
              </a:spcBef>
            </a:pPr>
            <a:fld id="{81D60167-4931-47E6-BA6A-407CBD079E47}" type="slidenum">
              <a:rPr lang="sv-SE" smtClean="0"/>
              <a:pPr marL="50793">
                <a:spcBef>
                  <a:spcPts val="200"/>
                </a:spcBef>
              </a:pPr>
              <a:t>‹#›</a:t>
            </a:fld>
            <a:endParaRPr lang="sv-SE"/>
          </a:p>
        </p:txBody>
      </p:sp>
    </p:spTree>
    <p:extLst>
      <p:ext uri="{BB962C8B-B14F-4D97-AF65-F5344CB8AC3E}">
        <p14:creationId xmlns:p14="http://schemas.microsoft.com/office/powerpoint/2010/main" val="3840459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600" b="1" i="0">
                <a:solidFill>
                  <a:schemeClr val="tx1"/>
                </a:solidFill>
                <a:latin typeface="Noto Sans" panose="020B0502040504020204" pitchFamily="34" charset="0"/>
                <a:cs typeface="Arial"/>
              </a:defRPr>
            </a:lvl1pPr>
          </a:lstStyle>
          <a:p>
            <a:endParaRPr/>
          </a:p>
        </p:txBody>
      </p:sp>
      <p:sp>
        <p:nvSpPr>
          <p:cNvPr id="3" name="Holder 3"/>
          <p:cNvSpPr>
            <a:spLocks noGrp="1"/>
          </p:cNvSpPr>
          <p:nvPr>
            <p:ph type="body" idx="1"/>
          </p:nvPr>
        </p:nvSpPr>
        <p:spPr/>
        <p:txBody>
          <a:bodyPr lIns="0" tIns="0" rIns="0" bIns="0"/>
          <a:lstStyle>
            <a:lvl1pPr>
              <a:defRPr sz="2400" b="1" i="0">
                <a:solidFill>
                  <a:schemeClr val="tx1"/>
                </a:solidFill>
                <a:latin typeface="Noto Sans" panose="020B0502040504020204" pitchFamily="34" charset="0"/>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2/2025</a:t>
            </a:fld>
            <a:endParaRPr lang="en-US"/>
          </a:p>
        </p:txBody>
      </p:sp>
      <p:sp>
        <p:nvSpPr>
          <p:cNvPr id="6" name="Holder 6"/>
          <p:cNvSpPr>
            <a:spLocks noGrp="1"/>
          </p:cNvSpPr>
          <p:nvPr>
            <p:ph type="sldNum" sz="quarter" idx="7"/>
          </p:nvPr>
        </p:nvSpPr>
        <p:spPr/>
        <p:txBody>
          <a:bodyPr lIns="0" tIns="0" rIns="0" bIns="0"/>
          <a:lstStyle>
            <a:lvl1pPr>
              <a:defRPr sz="2000" b="0" i="0">
                <a:solidFill>
                  <a:schemeClr val="tx1"/>
                </a:solidFill>
                <a:latin typeface="Arial"/>
                <a:cs typeface="Arial"/>
              </a:defRPr>
            </a:lvl1pPr>
          </a:lstStyle>
          <a:p>
            <a:pPr marL="198090">
              <a:spcBef>
                <a:spcPts val="450"/>
              </a:spcBef>
            </a:pPr>
            <a:fld id="{81D60167-4931-47E6-BA6A-407CBD079E47}" type="slidenum">
              <a:rPr lang="sv-SE" spc="-10" smtClean="0">
                <a:latin typeface="Franklin Gothic Medium"/>
                <a:cs typeface="Franklin Gothic Medium"/>
              </a:rPr>
              <a:pPr marL="198090">
                <a:spcBef>
                  <a:spcPts val="450"/>
                </a:spcBef>
              </a:pPr>
              <a:t>‹#›</a:t>
            </a:fld>
            <a:endParaRPr lang="sv-SE" spc="-10">
              <a:latin typeface="Franklin Gothic Medium"/>
              <a:cs typeface="Franklin Gothic Medium"/>
            </a:endParaRPr>
          </a:p>
        </p:txBody>
      </p:sp>
    </p:spTree>
    <p:extLst>
      <p:ext uri="{BB962C8B-B14F-4D97-AF65-F5344CB8AC3E}">
        <p14:creationId xmlns:p14="http://schemas.microsoft.com/office/powerpoint/2010/main" val="16537085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evels">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0D2B4B01-8F71-1C43-804A-AE91ACAAB690}"/>
              </a:ext>
            </a:extLst>
          </p:cNvPr>
          <p:cNvSpPr>
            <a:spLocks noGrp="1"/>
          </p:cNvSpPr>
          <p:nvPr>
            <p:ph type="body" sz="quarter" idx="12" hasCustomPrompt="1"/>
          </p:nvPr>
        </p:nvSpPr>
        <p:spPr>
          <a:xfrm>
            <a:off x="13071796" y="5455780"/>
            <a:ext cx="6190847" cy="1397590"/>
          </a:xfrm>
        </p:spPr>
        <p:txBody>
          <a:bodyPr>
            <a:noAutofit/>
          </a:bodyPr>
          <a:lstStyle>
            <a:lvl1pPr>
              <a:spcBef>
                <a:spcPts val="0"/>
              </a:spcBef>
              <a:defRPr sz="2400"/>
            </a:lvl1pPr>
          </a:lstStyle>
          <a:p>
            <a:pPr lvl="0"/>
            <a:r>
              <a:rPr lang="en-GB" noProof="0"/>
              <a:t>Put the body text here, keep it regular 24 </a:t>
            </a:r>
            <a:r>
              <a:rPr lang="en-GB" noProof="0" err="1"/>
              <a:t>pt</a:t>
            </a:r>
            <a:endParaRPr lang="en-GB" noProof="0"/>
          </a:p>
        </p:txBody>
      </p:sp>
      <p:sp>
        <p:nvSpPr>
          <p:cNvPr id="10" name="Text Placeholder 5">
            <a:extLst>
              <a:ext uri="{FF2B5EF4-FFF2-40B4-BE49-F238E27FC236}">
                <a16:creationId xmlns:a16="http://schemas.microsoft.com/office/drawing/2014/main" id="{CCF4949C-0573-654E-8E4A-1524918D8E6F}"/>
              </a:ext>
            </a:extLst>
          </p:cNvPr>
          <p:cNvSpPr>
            <a:spLocks noGrp="1"/>
          </p:cNvSpPr>
          <p:nvPr>
            <p:ph type="body" sz="quarter" idx="15" hasCustomPrompt="1"/>
          </p:nvPr>
        </p:nvSpPr>
        <p:spPr>
          <a:xfrm>
            <a:off x="13071796" y="7832867"/>
            <a:ext cx="6190847" cy="1397590"/>
          </a:xfrm>
        </p:spPr>
        <p:txBody>
          <a:bodyPr>
            <a:noAutofit/>
          </a:bodyPr>
          <a:lstStyle>
            <a:lvl1pPr>
              <a:spcBef>
                <a:spcPts val="0"/>
              </a:spcBef>
              <a:defRPr sz="2400"/>
            </a:lvl1pPr>
          </a:lstStyle>
          <a:p>
            <a:pPr lvl="0"/>
            <a:r>
              <a:rPr lang="en-GB" noProof="0"/>
              <a:t>Put the body text here, keep it regular 24 </a:t>
            </a:r>
            <a:r>
              <a:rPr lang="en-GB" noProof="0" err="1"/>
              <a:t>pt</a:t>
            </a:r>
            <a:endParaRPr lang="en-GB" noProof="0"/>
          </a:p>
        </p:txBody>
      </p:sp>
      <p:sp>
        <p:nvSpPr>
          <p:cNvPr id="12" name="Text Placeholder 5">
            <a:extLst>
              <a:ext uri="{FF2B5EF4-FFF2-40B4-BE49-F238E27FC236}">
                <a16:creationId xmlns:a16="http://schemas.microsoft.com/office/drawing/2014/main" id="{334FE28E-7BB9-5247-A7EF-E68623CEC0DF}"/>
              </a:ext>
            </a:extLst>
          </p:cNvPr>
          <p:cNvSpPr>
            <a:spLocks noGrp="1"/>
          </p:cNvSpPr>
          <p:nvPr>
            <p:ph type="body" sz="quarter" idx="17" hasCustomPrompt="1"/>
          </p:nvPr>
        </p:nvSpPr>
        <p:spPr>
          <a:xfrm>
            <a:off x="13071796" y="10330248"/>
            <a:ext cx="6190847" cy="1397590"/>
          </a:xfrm>
        </p:spPr>
        <p:txBody>
          <a:bodyPr>
            <a:noAutofit/>
          </a:bodyPr>
          <a:lstStyle>
            <a:lvl1pPr>
              <a:spcBef>
                <a:spcPts val="0"/>
              </a:spcBef>
              <a:defRPr sz="2400"/>
            </a:lvl1pPr>
          </a:lstStyle>
          <a:p>
            <a:pPr lvl="0"/>
            <a:r>
              <a:rPr lang="en-GB" noProof="0"/>
              <a:t>Put the body text here, keep it regular 24 </a:t>
            </a:r>
            <a:r>
              <a:rPr lang="en-GB" noProof="0" err="1"/>
              <a:t>pt</a:t>
            </a:r>
            <a:endParaRPr lang="en-GB" noProof="0"/>
          </a:p>
        </p:txBody>
      </p:sp>
      <p:sp>
        <p:nvSpPr>
          <p:cNvPr id="9" name="Text Placeholder 5">
            <a:extLst>
              <a:ext uri="{FF2B5EF4-FFF2-40B4-BE49-F238E27FC236}">
                <a16:creationId xmlns:a16="http://schemas.microsoft.com/office/drawing/2014/main" id="{08916781-0481-B64C-A15B-60E03E7E77EA}"/>
              </a:ext>
            </a:extLst>
          </p:cNvPr>
          <p:cNvSpPr>
            <a:spLocks noGrp="1"/>
          </p:cNvSpPr>
          <p:nvPr>
            <p:ph type="body" sz="quarter" idx="14" hasCustomPrompt="1"/>
          </p:nvPr>
        </p:nvSpPr>
        <p:spPr>
          <a:xfrm>
            <a:off x="4674905" y="5455780"/>
            <a:ext cx="6633094" cy="1397590"/>
          </a:xfrm>
          <a:solidFill>
            <a:schemeClr val="bg1">
              <a:lumMod val="95000"/>
            </a:schemeClr>
          </a:solidFill>
        </p:spPr>
        <p:txBody>
          <a:bodyPr lIns="360000" anchor="ctr">
            <a:noAutofit/>
          </a:bodyPr>
          <a:lstStyle>
            <a:lvl1pPr>
              <a:defRPr sz="4000" b="1"/>
            </a:lvl1pPr>
          </a:lstStyle>
          <a:p>
            <a:pPr lvl="0"/>
            <a:r>
              <a:rPr lang="en-US"/>
              <a:t>Put the header here</a:t>
            </a:r>
          </a:p>
        </p:txBody>
      </p:sp>
      <p:sp>
        <p:nvSpPr>
          <p:cNvPr id="15" name="Text Placeholder 5">
            <a:extLst>
              <a:ext uri="{FF2B5EF4-FFF2-40B4-BE49-F238E27FC236}">
                <a16:creationId xmlns:a16="http://schemas.microsoft.com/office/drawing/2014/main" id="{B0FD171A-0961-AF47-AF11-4B67E2B02EBC}"/>
              </a:ext>
            </a:extLst>
          </p:cNvPr>
          <p:cNvSpPr>
            <a:spLocks noGrp="1"/>
          </p:cNvSpPr>
          <p:nvPr>
            <p:ph type="body" sz="quarter" idx="18" hasCustomPrompt="1"/>
          </p:nvPr>
        </p:nvSpPr>
        <p:spPr>
          <a:xfrm>
            <a:off x="4674905" y="7832867"/>
            <a:ext cx="6633094" cy="1397590"/>
          </a:xfrm>
          <a:solidFill>
            <a:schemeClr val="bg1">
              <a:lumMod val="95000"/>
            </a:schemeClr>
          </a:solidFill>
        </p:spPr>
        <p:txBody>
          <a:bodyPr lIns="360000" anchor="ctr">
            <a:noAutofit/>
          </a:bodyPr>
          <a:lstStyle>
            <a:lvl1pPr>
              <a:defRPr sz="4000" b="1"/>
            </a:lvl1pPr>
          </a:lstStyle>
          <a:p>
            <a:pPr lvl="0"/>
            <a:r>
              <a:rPr lang="en-US"/>
              <a:t>Put the header here</a:t>
            </a:r>
          </a:p>
        </p:txBody>
      </p:sp>
      <p:sp>
        <p:nvSpPr>
          <p:cNvPr id="16" name="Text Placeholder 5">
            <a:extLst>
              <a:ext uri="{FF2B5EF4-FFF2-40B4-BE49-F238E27FC236}">
                <a16:creationId xmlns:a16="http://schemas.microsoft.com/office/drawing/2014/main" id="{08483BCA-AF2F-134B-A357-367A5706C697}"/>
              </a:ext>
            </a:extLst>
          </p:cNvPr>
          <p:cNvSpPr>
            <a:spLocks noGrp="1"/>
          </p:cNvSpPr>
          <p:nvPr>
            <p:ph type="body" sz="quarter" idx="19" hasCustomPrompt="1"/>
          </p:nvPr>
        </p:nvSpPr>
        <p:spPr>
          <a:xfrm>
            <a:off x="4674905" y="10330248"/>
            <a:ext cx="6633094" cy="1397590"/>
          </a:xfrm>
          <a:solidFill>
            <a:schemeClr val="bg1">
              <a:lumMod val="95000"/>
            </a:schemeClr>
          </a:solidFill>
        </p:spPr>
        <p:txBody>
          <a:bodyPr lIns="360000" anchor="ctr">
            <a:noAutofit/>
          </a:bodyPr>
          <a:lstStyle>
            <a:lvl1pPr>
              <a:defRPr sz="4000" b="1"/>
            </a:lvl1pPr>
          </a:lstStyle>
          <a:p>
            <a:pPr lvl="0"/>
            <a:r>
              <a:rPr lang="en-US"/>
              <a:t>Put the header here</a:t>
            </a:r>
          </a:p>
        </p:txBody>
      </p:sp>
      <p:sp>
        <p:nvSpPr>
          <p:cNvPr id="3" name="Title 2">
            <a:extLst>
              <a:ext uri="{FF2B5EF4-FFF2-40B4-BE49-F238E27FC236}">
                <a16:creationId xmlns:a16="http://schemas.microsoft.com/office/drawing/2014/main" id="{6E79ED74-1833-CD4B-828E-58428E0E2A1D}"/>
              </a:ext>
            </a:extLst>
          </p:cNvPr>
          <p:cNvSpPr>
            <a:spLocks noGrp="1"/>
          </p:cNvSpPr>
          <p:nvPr>
            <p:ph type="title" hasCustomPrompt="1"/>
          </p:nvPr>
        </p:nvSpPr>
        <p:spPr/>
        <p:txBody>
          <a:bodyPr/>
          <a:lstStyle/>
          <a:p>
            <a:r>
              <a:rPr lang="en-GB"/>
              <a:t>Levels</a:t>
            </a:r>
            <a:endParaRPr lang="en-NL"/>
          </a:p>
        </p:txBody>
      </p:sp>
      <p:sp>
        <p:nvSpPr>
          <p:cNvPr id="5" name="Footer Placeholder 4">
            <a:extLst>
              <a:ext uri="{FF2B5EF4-FFF2-40B4-BE49-F238E27FC236}">
                <a16:creationId xmlns:a16="http://schemas.microsoft.com/office/drawing/2014/main" id="{D51935D7-8569-4141-96D6-E8BDF582C7E3}"/>
              </a:ext>
            </a:extLst>
          </p:cNvPr>
          <p:cNvSpPr>
            <a:spLocks noGrp="1"/>
          </p:cNvSpPr>
          <p:nvPr>
            <p:ph type="ftr" sz="quarter" idx="20"/>
          </p:nvPr>
        </p:nvSpPr>
        <p:spPr/>
        <p:txBody>
          <a:bodyPr/>
          <a:lstStyle/>
          <a:p>
            <a:endParaRPr lang="en-NL"/>
          </a:p>
        </p:txBody>
      </p:sp>
      <p:sp>
        <p:nvSpPr>
          <p:cNvPr id="14" name="TextBox 13">
            <a:extLst>
              <a:ext uri="{FF2B5EF4-FFF2-40B4-BE49-F238E27FC236}">
                <a16:creationId xmlns:a16="http://schemas.microsoft.com/office/drawing/2014/main" id="{95B220E9-C9CD-2D41-A852-CDC99EB96289}"/>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8777961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12349" y="236632"/>
            <a:ext cx="18286810" cy="1484592"/>
          </a:xfrm>
          <a:prstGeom prst="rect">
            <a:avLst/>
          </a:prstGeom>
        </p:spPr>
        <p:txBody>
          <a:bodyPr anchor="b"/>
          <a:lstStyle>
            <a:lvl1pPr algn="l">
              <a:defRPr sz="7200" b="1">
                <a:solidFill>
                  <a:schemeClr val="bg1"/>
                </a:solidFill>
                <a:latin typeface="Noto IKEA Latin" panose="020B0502040504020204" pitchFamily="34" charset="0"/>
              </a:defRPr>
            </a:lvl1pPr>
          </a:lstStyle>
          <a:p>
            <a:r>
              <a:rPr lang="en-US"/>
              <a:t>Click to edit Master title style</a:t>
            </a:r>
            <a:endParaRPr lang="en-GB"/>
          </a:p>
        </p:txBody>
      </p:sp>
      <p:sp>
        <p:nvSpPr>
          <p:cNvPr id="3" name="Subtitle 2"/>
          <p:cNvSpPr>
            <a:spLocks noGrp="1"/>
          </p:cNvSpPr>
          <p:nvPr>
            <p:ph type="subTitle" idx="1"/>
          </p:nvPr>
        </p:nvSpPr>
        <p:spPr>
          <a:xfrm>
            <a:off x="3047802" y="7204076"/>
            <a:ext cx="18286810" cy="3311524"/>
          </a:xfrm>
          <a:prstGeom prst="rect">
            <a:avLst/>
          </a:prstGeom>
        </p:spPr>
        <p:txBody>
          <a:bodyPr/>
          <a:lstStyle>
            <a:lvl1pPr marL="0" indent="0" algn="ctr">
              <a:buNone/>
              <a:defRPr sz="4800">
                <a:latin typeface="Noto IKEA Latin" panose="020B0502040504020204" pitchFamily="34" charset="0"/>
              </a:defRPr>
            </a:lvl1pPr>
            <a:lvl2pPr marL="914262" indent="0" algn="ctr">
              <a:buNone/>
              <a:defRPr sz="4000"/>
            </a:lvl2pPr>
            <a:lvl3pPr marL="1828529" indent="0" algn="ctr">
              <a:buNone/>
              <a:defRPr sz="3600"/>
            </a:lvl3pPr>
            <a:lvl4pPr marL="2742791" indent="0" algn="ctr">
              <a:buNone/>
              <a:defRPr sz="3200"/>
            </a:lvl4pPr>
            <a:lvl5pPr marL="3657053" indent="0" algn="ctr">
              <a:buNone/>
              <a:defRPr sz="3200"/>
            </a:lvl5pPr>
            <a:lvl6pPr marL="4571315" indent="0" algn="ctr">
              <a:buNone/>
              <a:defRPr sz="3200"/>
            </a:lvl6pPr>
            <a:lvl7pPr marL="5485578" indent="0" algn="ctr">
              <a:buNone/>
              <a:defRPr sz="3200"/>
            </a:lvl7pPr>
            <a:lvl8pPr marL="6399840" indent="0" algn="ctr">
              <a:buNone/>
              <a:defRPr sz="3200"/>
            </a:lvl8pPr>
            <a:lvl9pPr marL="7314102" indent="0" algn="ctr">
              <a:buNone/>
              <a:defRPr sz="3200"/>
            </a:lvl9pPr>
          </a:lstStyle>
          <a:p>
            <a:r>
              <a:rPr lang="en-US"/>
              <a:t>Click to edit Master subtitle style</a:t>
            </a:r>
            <a:endParaRPr lang="en-GB"/>
          </a:p>
        </p:txBody>
      </p:sp>
      <p:sp>
        <p:nvSpPr>
          <p:cNvPr id="4" name="Date Placeholder 3"/>
          <p:cNvSpPr>
            <a:spLocks noGrp="1"/>
          </p:cNvSpPr>
          <p:nvPr>
            <p:ph type="dt" sz="half" idx="10"/>
          </p:nvPr>
        </p:nvSpPr>
        <p:spPr>
          <a:xfrm>
            <a:off x="1676291" y="12712705"/>
            <a:ext cx="5486043" cy="730250"/>
          </a:xfrm>
          <a:prstGeom prst="rect">
            <a:avLst/>
          </a:prstGeom>
        </p:spPr>
        <p:txBody>
          <a:bodyPr/>
          <a:lstStyle/>
          <a:p>
            <a:fld id="{B02616A3-6CF4-454C-90FC-1CD500243AFB}" type="datetimeFigureOut">
              <a:rPr lang="en-GB" smtClean="0"/>
              <a:t>12/03/2025</a:t>
            </a:fld>
            <a:endParaRPr lang="en-GB"/>
          </a:p>
        </p:txBody>
      </p:sp>
      <p:sp>
        <p:nvSpPr>
          <p:cNvPr id="5" name="Footer Placeholder 4"/>
          <p:cNvSpPr>
            <a:spLocks noGrp="1"/>
          </p:cNvSpPr>
          <p:nvPr>
            <p:ph type="ftr" sz="quarter" idx="11"/>
          </p:nvPr>
        </p:nvSpPr>
        <p:spPr>
          <a:xfrm>
            <a:off x="8076675" y="12712705"/>
            <a:ext cx="8229064" cy="730250"/>
          </a:xfrm>
          <a:prstGeom prst="rect">
            <a:avLst/>
          </a:prstGeom>
        </p:spPr>
        <p:txBody>
          <a:bodyPr/>
          <a:lstStyle/>
          <a:p>
            <a:endParaRPr lang="en-GB"/>
          </a:p>
        </p:txBody>
      </p:sp>
      <p:sp>
        <p:nvSpPr>
          <p:cNvPr id="6" name="Slide Number Placeholder 5"/>
          <p:cNvSpPr>
            <a:spLocks noGrp="1"/>
          </p:cNvSpPr>
          <p:nvPr>
            <p:ph type="sldNum" sz="quarter" idx="12"/>
          </p:nvPr>
        </p:nvSpPr>
        <p:spPr>
          <a:xfrm>
            <a:off x="17220079" y="12712705"/>
            <a:ext cx="5486043" cy="730250"/>
          </a:xfrm>
          <a:prstGeom prst="rect">
            <a:avLst/>
          </a:prstGeom>
        </p:spPr>
        <p:txBody>
          <a:bodyPr/>
          <a:lstStyle/>
          <a:p>
            <a:fld id="{84A08B04-7488-493E-8649-843F3ACCD056}" type="slidenum">
              <a:rPr lang="en-GB" smtClean="0"/>
              <a:t>‹#›</a:t>
            </a:fld>
            <a:endParaRPr lang="en-GB"/>
          </a:p>
        </p:txBody>
      </p:sp>
    </p:spTree>
    <p:extLst>
      <p:ext uri="{BB962C8B-B14F-4D97-AF65-F5344CB8AC3E}">
        <p14:creationId xmlns:p14="http://schemas.microsoft.com/office/powerpoint/2010/main" val="409439494"/>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on simple background">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7C1D6C0-9082-6D41-8CF2-4BE2980201A9}"/>
              </a:ext>
            </a:extLst>
          </p:cNvPr>
          <p:cNvSpPr>
            <a:spLocks noGrp="1"/>
          </p:cNvSpPr>
          <p:nvPr>
            <p:ph type="pic" sz="quarter" idx="18" hasCustomPrompt="1"/>
          </p:nvPr>
        </p:nvSpPr>
        <p:spPr>
          <a:xfrm>
            <a:off x="491206" y="486000"/>
            <a:ext cx="23400001" cy="12744000"/>
          </a:xfrm>
          <a:custGeom>
            <a:avLst/>
            <a:gdLst>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4730 w 23399999"/>
              <a:gd name="connsiteY8"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1337594 w 23399999"/>
              <a:gd name="connsiteY8" fmla="*/ 1164380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56794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5 w 23400000"/>
              <a:gd name="connsiteY4" fmla="*/ 9824813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400000" h="12744000">
                <a:moveTo>
                  <a:pt x="2564730" y="0"/>
                </a:moveTo>
                <a:lnTo>
                  <a:pt x="23399999" y="0"/>
                </a:lnTo>
                <a:lnTo>
                  <a:pt x="23399999" y="0"/>
                </a:lnTo>
                <a:cubicBezTo>
                  <a:pt x="23399999" y="3277203"/>
                  <a:pt x="23400000" y="6554405"/>
                  <a:pt x="23400000" y="9831608"/>
                </a:cubicBezTo>
                <a:cubicBezTo>
                  <a:pt x="23399581" y="9831571"/>
                  <a:pt x="17815405" y="9823891"/>
                  <a:pt x="17820604" y="9824813"/>
                </a:cubicBezTo>
                <a:cubicBezTo>
                  <a:pt x="17837181" y="9827753"/>
                  <a:pt x="17814938" y="12744037"/>
                  <a:pt x="17820605" y="12744000"/>
                </a:cubicBezTo>
                <a:lnTo>
                  <a:pt x="0" y="12744000"/>
                </a:lnTo>
                <a:lnTo>
                  <a:pt x="0" y="12744000"/>
                </a:lnTo>
                <a:lnTo>
                  <a:pt x="0" y="851260"/>
                </a:lnTo>
                <a:cubicBezTo>
                  <a:pt x="6513" y="855406"/>
                  <a:pt x="2562637" y="855434"/>
                  <a:pt x="2560913" y="855461"/>
                </a:cubicBezTo>
                <a:cubicBezTo>
                  <a:pt x="2564931" y="864124"/>
                  <a:pt x="2564831" y="283781"/>
                  <a:pt x="2564730" y="0"/>
                </a:cubicBezTo>
                <a:close/>
              </a:path>
            </a:pathLst>
          </a:custGeom>
          <a:solidFill>
            <a:schemeClr val="bg1">
              <a:lumMod val="95000"/>
            </a:schemeClr>
          </a:solidFill>
        </p:spPr>
        <p:txBody>
          <a:bodyPr/>
          <a:lstStyle>
            <a:lvl1pPr algn="ctr">
              <a:defRPr sz="2400">
                <a:solidFill>
                  <a:schemeClr val="tx1">
                    <a:lumMod val="65000"/>
                    <a:lumOff val="35000"/>
                  </a:schemeClr>
                </a:solidFill>
              </a:defRPr>
            </a:lvl1pPr>
          </a:lstStyle>
          <a:p>
            <a:r>
              <a:rPr lang="en-NL"/>
              <a:t>Drag and drop a topic-related picture into this fram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3059999" y="3402014"/>
            <a:ext cx="12156189" cy="6911976"/>
          </a:xfrm>
          <a:prstGeom prst="rect">
            <a:avLst/>
          </a:prstGeom>
          <a:solidFill>
            <a:schemeClr val="bg1"/>
          </a:solidFill>
        </p:spPr>
        <p:txBody>
          <a:bodyPr vert="horz" lIns="720000" tIns="540000" rIns="90000" bIns="90000" rtlCol="0" anchor="t">
            <a:noAutofit/>
          </a:bodyPr>
          <a:lstStyle>
            <a:lvl1pPr>
              <a:defRPr/>
            </a:lvl1pPr>
          </a:lstStyle>
          <a:p>
            <a:r>
              <a:rPr lang="en-GB" noProof="0"/>
              <a:t>Put the title here,</a:t>
            </a:r>
            <a:br>
              <a:rPr lang="en-GB" noProof="0"/>
            </a:br>
            <a:r>
              <a:rPr lang="en-GB" noProof="0"/>
              <a:t>keep it bold 80 </a:t>
            </a:r>
            <a:r>
              <a:rPr lang="en-GB" noProof="0" err="1"/>
              <a:t>pt</a:t>
            </a:r>
            <a:endParaRPr lang="en-GB" noProof="0"/>
          </a:p>
        </p:txBody>
      </p:sp>
      <p:pic>
        <p:nvPicPr>
          <p:cNvPr id="16" name="Picture 15">
            <a:extLst>
              <a:ext uri="{FF2B5EF4-FFF2-40B4-BE49-F238E27FC236}">
                <a16:creationId xmlns:a16="http://schemas.microsoft.com/office/drawing/2014/main" id="{B318DE6B-1EB2-D248-BE9E-1B173597E1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832676" y="10313988"/>
            <a:ext cx="5058531" cy="3402012"/>
          </a:xfrm>
          <a:prstGeom prst="rect">
            <a:avLst/>
          </a:prstGeom>
        </p:spPr>
      </p:pic>
      <p:sp>
        <p:nvSpPr>
          <p:cNvPr id="18" name="TextBox 17">
            <a:extLst>
              <a:ext uri="{FF2B5EF4-FFF2-40B4-BE49-F238E27FC236}">
                <a16:creationId xmlns:a16="http://schemas.microsoft.com/office/drawing/2014/main" id="{328A1B16-9A25-3541-9435-BC1CEEFFC8BA}"/>
              </a:ext>
            </a:extLst>
          </p:cNvPr>
          <p:cNvSpPr txBox="1"/>
          <p:nvPr userDrawn="1"/>
        </p:nvSpPr>
        <p:spPr>
          <a:xfrm>
            <a:off x="400182" y="419673"/>
            <a:ext cx="2659819" cy="893714"/>
          </a:xfrm>
          <a:prstGeom prst="rect">
            <a:avLst/>
          </a:prstGeom>
          <a:noFill/>
        </p:spPr>
        <p:txBody>
          <a:bodyPr wrap="square" rtlCol="0">
            <a:noAutofit/>
          </a:bodyPr>
          <a:lstStyle/>
          <a:p>
            <a:pPr algn="l"/>
            <a:r>
              <a:rPr lang="sv-SE" sz="2400" err="1"/>
              <a:t>Supply</a:t>
            </a:r>
            <a:endParaRPr lang="en-NL" sz="2400"/>
          </a:p>
        </p:txBody>
      </p:sp>
      <p:sp>
        <p:nvSpPr>
          <p:cNvPr id="4" name="Footer Placeholder 3">
            <a:extLst>
              <a:ext uri="{FF2B5EF4-FFF2-40B4-BE49-F238E27FC236}">
                <a16:creationId xmlns:a16="http://schemas.microsoft.com/office/drawing/2014/main" id="{14588178-ED27-7648-B4E2-E9EC58AA4B06}"/>
              </a:ext>
            </a:extLst>
          </p:cNvPr>
          <p:cNvSpPr>
            <a:spLocks noGrp="1"/>
          </p:cNvSpPr>
          <p:nvPr>
            <p:ph type="ftr" sz="quarter" idx="17"/>
          </p:nvPr>
        </p:nvSpPr>
        <p:spPr/>
        <p:txBody>
          <a:bodyPr/>
          <a:lstStyle/>
          <a:p>
            <a:r>
              <a:rPr lang="en-NL"/>
              <a:t>Insert the footer for all slides in t</a:t>
            </a:r>
            <a:r>
              <a:rPr lang="en-GB"/>
              <a:t>he</a:t>
            </a:r>
            <a:r>
              <a:rPr lang="en-NL"/>
              <a:t> top menu Insert &gt; Header &amp; Footer</a:t>
            </a:r>
          </a:p>
        </p:txBody>
      </p:sp>
    </p:spTree>
    <p:extLst>
      <p:ext uri="{BB962C8B-B14F-4D97-AF65-F5344CB8AC3E}">
        <p14:creationId xmlns:p14="http://schemas.microsoft.com/office/powerpoint/2010/main" val="42002340"/>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on double background">
    <p:bg>
      <p:bgPr>
        <a:solidFill>
          <a:schemeClr val="bg1"/>
        </a:solidFill>
        <a:effectLst/>
      </p:bgPr>
    </p:bg>
    <p:spTree>
      <p:nvGrpSpPr>
        <p:cNvPr id="1" name=""/>
        <p:cNvGrpSpPr/>
        <p:nvPr/>
      </p:nvGrpSpPr>
      <p:grpSpPr>
        <a:xfrm>
          <a:off x="0" y="0"/>
          <a:ext cx="0" cy="0"/>
          <a:chOff x="0" y="0"/>
          <a:chExt cx="0" cy="0"/>
        </a:xfrm>
      </p:grpSpPr>
      <p:sp>
        <p:nvSpPr>
          <p:cNvPr id="17" name="Picture Placeholder 6">
            <a:extLst>
              <a:ext uri="{FF2B5EF4-FFF2-40B4-BE49-F238E27FC236}">
                <a16:creationId xmlns:a16="http://schemas.microsoft.com/office/drawing/2014/main" id="{72BA1E79-3FC6-E940-BEC4-AE05A8279CD0}"/>
              </a:ext>
            </a:extLst>
          </p:cNvPr>
          <p:cNvSpPr>
            <a:spLocks noGrp="1"/>
          </p:cNvSpPr>
          <p:nvPr>
            <p:ph type="pic" sz="quarter" idx="20" hasCustomPrompt="1"/>
          </p:nvPr>
        </p:nvSpPr>
        <p:spPr>
          <a:xfrm>
            <a:off x="491207" y="485966"/>
            <a:ext cx="8712451" cy="12744040"/>
          </a:xfrm>
          <a:custGeom>
            <a:avLst/>
            <a:gdLst>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4730 w 23399999"/>
              <a:gd name="connsiteY8"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1337594 w 23399999"/>
              <a:gd name="connsiteY8" fmla="*/ 1164380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56794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5 w 23400000"/>
              <a:gd name="connsiteY4" fmla="*/ 9824813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17820604 w 23399999"/>
              <a:gd name="connsiteY3" fmla="*/ 9824813 h 12744000"/>
              <a:gd name="connsiteX4" fmla="*/ 17820605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17820605 w 23399999"/>
              <a:gd name="connsiteY3" fmla="*/ 12744000 h 12744000"/>
              <a:gd name="connsiteX4" fmla="*/ 0 w 23399999"/>
              <a:gd name="connsiteY4" fmla="*/ 12744000 h 12744000"/>
              <a:gd name="connsiteX5" fmla="*/ 0 w 23399999"/>
              <a:gd name="connsiteY5" fmla="*/ 12744000 h 12744000"/>
              <a:gd name="connsiteX6" fmla="*/ 0 w 23399999"/>
              <a:gd name="connsiteY6" fmla="*/ 851260 h 12744000"/>
              <a:gd name="connsiteX7" fmla="*/ 2560913 w 23399999"/>
              <a:gd name="connsiteY7" fmla="*/ 855461 h 12744000"/>
              <a:gd name="connsiteX8" fmla="*/ 2564730 w 23399999"/>
              <a:gd name="connsiteY8"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17820605 w 23399999"/>
              <a:gd name="connsiteY3" fmla="*/ 12744000 h 12744000"/>
              <a:gd name="connsiteX4" fmla="*/ 0 w 23399999"/>
              <a:gd name="connsiteY4" fmla="*/ 12744000 h 12744000"/>
              <a:gd name="connsiteX5" fmla="*/ 0 w 23399999"/>
              <a:gd name="connsiteY5" fmla="*/ 12744000 h 12744000"/>
              <a:gd name="connsiteX6" fmla="*/ 0 w 23399999"/>
              <a:gd name="connsiteY6" fmla="*/ 851260 h 12744000"/>
              <a:gd name="connsiteX7" fmla="*/ 2560913 w 23399999"/>
              <a:gd name="connsiteY7" fmla="*/ 855461 h 12744000"/>
              <a:gd name="connsiteX8" fmla="*/ 2564730 w 23399999"/>
              <a:gd name="connsiteY8" fmla="*/ 0 h 12744000"/>
              <a:gd name="connsiteX0" fmla="*/ 2564730 w 23399999"/>
              <a:gd name="connsiteY0" fmla="*/ 0 h 12744000"/>
              <a:gd name="connsiteX1" fmla="*/ 23399999 w 23399999"/>
              <a:gd name="connsiteY1" fmla="*/ 0 h 12744000"/>
              <a:gd name="connsiteX2" fmla="*/ 17820605 w 23399999"/>
              <a:gd name="connsiteY2" fmla="*/ 12744000 h 12744000"/>
              <a:gd name="connsiteX3" fmla="*/ 0 w 23399999"/>
              <a:gd name="connsiteY3" fmla="*/ 12744000 h 12744000"/>
              <a:gd name="connsiteX4" fmla="*/ 0 w 23399999"/>
              <a:gd name="connsiteY4" fmla="*/ 12744000 h 12744000"/>
              <a:gd name="connsiteX5" fmla="*/ 0 w 23399999"/>
              <a:gd name="connsiteY5" fmla="*/ 851260 h 12744000"/>
              <a:gd name="connsiteX6" fmla="*/ 2560913 w 23399999"/>
              <a:gd name="connsiteY6" fmla="*/ 855461 h 12744000"/>
              <a:gd name="connsiteX7" fmla="*/ 2564730 w 23399999"/>
              <a:gd name="connsiteY7" fmla="*/ 0 h 12744000"/>
              <a:gd name="connsiteX0" fmla="*/ 2564730 w 17820605"/>
              <a:gd name="connsiteY0" fmla="*/ 0 h 12744000"/>
              <a:gd name="connsiteX1" fmla="*/ 8712450 w 17820605"/>
              <a:gd name="connsiteY1" fmla="*/ 0 h 12744000"/>
              <a:gd name="connsiteX2" fmla="*/ 17820605 w 17820605"/>
              <a:gd name="connsiteY2" fmla="*/ 12744000 h 12744000"/>
              <a:gd name="connsiteX3" fmla="*/ 0 w 17820605"/>
              <a:gd name="connsiteY3" fmla="*/ 12744000 h 12744000"/>
              <a:gd name="connsiteX4" fmla="*/ 0 w 17820605"/>
              <a:gd name="connsiteY4" fmla="*/ 12744000 h 12744000"/>
              <a:gd name="connsiteX5" fmla="*/ 0 w 17820605"/>
              <a:gd name="connsiteY5" fmla="*/ 851260 h 12744000"/>
              <a:gd name="connsiteX6" fmla="*/ 2560913 w 17820605"/>
              <a:gd name="connsiteY6" fmla="*/ 855461 h 12744000"/>
              <a:gd name="connsiteX7" fmla="*/ 2564730 w 17820605"/>
              <a:gd name="connsiteY7" fmla="*/ 0 h 12744000"/>
              <a:gd name="connsiteX0" fmla="*/ 2564730 w 17820605"/>
              <a:gd name="connsiteY0" fmla="*/ 50 h 12744050"/>
              <a:gd name="connsiteX1" fmla="*/ 8712450 w 17820605"/>
              <a:gd name="connsiteY1" fmla="*/ 50 h 12744050"/>
              <a:gd name="connsiteX2" fmla="*/ 17820605 w 17820605"/>
              <a:gd name="connsiteY2" fmla="*/ 12744050 h 12744050"/>
              <a:gd name="connsiteX3" fmla="*/ 0 w 17820605"/>
              <a:gd name="connsiteY3" fmla="*/ 12744050 h 12744050"/>
              <a:gd name="connsiteX4" fmla="*/ 0 w 17820605"/>
              <a:gd name="connsiteY4" fmla="*/ 12744050 h 12744050"/>
              <a:gd name="connsiteX5" fmla="*/ 0 w 17820605"/>
              <a:gd name="connsiteY5" fmla="*/ 851310 h 12744050"/>
              <a:gd name="connsiteX6" fmla="*/ 2560913 w 17820605"/>
              <a:gd name="connsiteY6" fmla="*/ 855511 h 12744050"/>
              <a:gd name="connsiteX7" fmla="*/ 2564730 w 17820605"/>
              <a:gd name="connsiteY7" fmla="*/ 50 h 12744050"/>
              <a:gd name="connsiteX0" fmla="*/ 2564730 w 17820605"/>
              <a:gd name="connsiteY0" fmla="*/ 50 h 12744050"/>
              <a:gd name="connsiteX1" fmla="*/ 8712450 w 17820605"/>
              <a:gd name="connsiteY1" fmla="*/ 50 h 12744050"/>
              <a:gd name="connsiteX2" fmla="*/ 17820605 w 17820605"/>
              <a:gd name="connsiteY2" fmla="*/ 12744050 h 12744050"/>
              <a:gd name="connsiteX3" fmla="*/ 0 w 17820605"/>
              <a:gd name="connsiteY3" fmla="*/ 12744050 h 12744050"/>
              <a:gd name="connsiteX4" fmla="*/ 0 w 17820605"/>
              <a:gd name="connsiteY4" fmla="*/ 12744050 h 12744050"/>
              <a:gd name="connsiteX5" fmla="*/ 0 w 17820605"/>
              <a:gd name="connsiteY5" fmla="*/ 851310 h 12744050"/>
              <a:gd name="connsiteX6" fmla="*/ 2560913 w 17820605"/>
              <a:gd name="connsiteY6" fmla="*/ 855511 h 12744050"/>
              <a:gd name="connsiteX7" fmla="*/ 2564730 w 17820605"/>
              <a:gd name="connsiteY7" fmla="*/ 50 h 12744050"/>
              <a:gd name="connsiteX0" fmla="*/ 2564730 w 8712450"/>
              <a:gd name="connsiteY0" fmla="*/ 50 h 12744050"/>
              <a:gd name="connsiteX1" fmla="*/ 8712450 w 8712450"/>
              <a:gd name="connsiteY1" fmla="*/ 50 h 12744050"/>
              <a:gd name="connsiteX2" fmla="*/ 8662317 w 8712450"/>
              <a:gd name="connsiteY2" fmla="*/ 12744050 h 12744050"/>
              <a:gd name="connsiteX3" fmla="*/ 0 w 8712450"/>
              <a:gd name="connsiteY3" fmla="*/ 12744050 h 12744050"/>
              <a:gd name="connsiteX4" fmla="*/ 0 w 8712450"/>
              <a:gd name="connsiteY4" fmla="*/ 12744050 h 12744050"/>
              <a:gd name="connsiteX5" fmla="*/ 0 w 8712450"/>
              <a:gd name="connsiteY5" fmla="*/ 851310 h 12744050"/>
              <a:gd name="connsiteX6" fmla="*/ 2560913 w 8712450"/>
              <a:gd name="connsiteY6" fmla="*/ 855511 h 12744050"/>
              <a:gd name="connsiteX7" fmla="*/ 2564730 w 8712450"/>
              <a:gd name="connsiteY7" fmla="*/ 50 h 12744050"/>
              <a:gd name="connsiteX0" fmla="*/ 2564730 w 8712450"/>
              <a:gd name="connsiteY0" fmla="*/ 34 h 12744039"/>
              <a:gd name="connsiteX1" fmla="*/ 8712450 w 8712450"/>
              <a:gd name="connsiteY1" fmla="*/ 34 h 12744039"/>
              <a:gd name="connsiteX2" fmla="*/ 8662317 w 8712450"/>
              <a:gd name="connsiteY2" fmla="*/ 12744034 h 12744039"/>
              <a:gd name="connsiteX3" fmla="*/ 0 w 8712450"/>
              <a:gd name="connsiteY3" fmla="*/ 12744034 h 12744039"/>
              <a:gd name="connsiteX4" fmla="*/ 0 w 8712450"/>
              <a:gd name="connsiteY4" fmla="*/ 12744034 h 12744039"/>
              <a:gd name="connsiteX5" fmla="*/ 0 w 8712450"/>
              <a:gd name="connsiteY5" fmla="*/ 851294 h 12744039"/>
              <a:gd name="connsiteX6" fmla="*/ 2560913 w 8712450"/>
              <a:gd name="connsiteY6" fmla="*/ 855495 h 12744039"/>
              <a:gd name="connsiteX7" fmla="*/ 2564730 w 8712450"/>
              <a:gd name="connsiteY7" fmla="*/ 34 h 12744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12450" h="12744039">
                <a:moveTo>
                  <a:pt x="2564730" y="34"/>
                </a:moveTo>
                <a:lnTo>
                  <a:pt x="8712450" y="34"/>
                </a:lnTo>
                <a:cubicBezTo>
                  <a:pt x="8676689" y="-23929"/>
                  <a:pt x="8698078" y="12753709"/>
                  <a:pt x="8662317" y="12744034"/>
                </a:cubicBezTo>
                <a:lnTo>
                  <a:pt x="0" y="12744034"/>
                </a:lnTo>
                <a:lnTo>
                  <a:pt x="0" y="12744034"/>
                </a:lnTo>
                <a:lnTo>
                  <a:pt x="0" y="851294"/>
                </a:lnTo>
                <a:cubicBezTo>
                  <a:pt x="6513" y="855440"/>
                  <a:pt x="2562637" y="855468"/>
                  <a:pt x="2560913" y="855495"/>
                </a:cubicBezTo>
                <a:cubicBezTo>
                  <a:pt x="2564931" y="864158"/>
                  <a:pt x="2564831" y="283815"/>
                  <a:pt x="2564730" y="34"/>
                </a:cubicBezTo>
                <a:close/>
              </a:path>
            </a:pathLst>
          </a:custGeom>
          <a:solidFill>
            <a:schemeClr val="bg1">
              <a:lumMod val="85000"/>
            </a:schemeClr>
          </a:solidFill>
        </p:spPr>
        <p:txBody>
          <a:bodyPr/>
          <a:lstStyle>
            <a:lvl1pPr algn="r">
              <a:defRPr sz="2400">
                <a:solidFill>
                  <a:schemeClr val="tx1">
                    <a:lumMod val="65000"/>
                    <a:lumOff val="35000"/>
                  </a:schemeClr>
                </a:solidFill>
              </a:defRPr>
            </a:lvl1pPr>
          </a:lstStyle>
          <a:p>
            <a:r>
              <a:rPr lang="en-NL"/>
              <a:t>Fill this frame with one of the Theme Colours</a:t>
            </a:r>
          </a:p>
        </p:txBody>
      </p:sp>
      <p:sp>
        <p:nvSpPr>
          <p:cNvPr id="14" name="Picture Placeholder 6">
            <a:extLst>
              <a:ext uri="{FF2B5EF4-FFF2-40B4-BE49-F238E27FC236}">
                <a16:creationId xmlns:a16="http://schemas.microsoft.com/office/drawing/2014/main" id="{692D6ABC-8D9C-1E47-A2A8-2DC39B83F77E}"/>
              </a:ext>
            </a:extLst>
          </p:cNvPr>
          <p:cNvSpPr>
            <a:spLocks noGrp="1"/>
          </p:cNvSpPr>
          <p:nvPr>
            <p:ph type="pic" sz="quarter" idx="19" hasCustomPrompt="1"/>
          </p:nvPr>
        </p:nvSpPr>
        <p:spPr>
          <a:xfrm>
            <a:off x="9165792" y="486000"/>
            <a:ext cx="14725416" cy="12744000"/>
          </a:xfrm>
          <a:custGeom>
            <a:avLst/>
            <a:gdLst>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4730 w 23399999"/>
              <a:gd name="connsiteY8"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1337594 w 23399999"/>
              <a:gd name="connsiteY8" fmla="*/ 1164380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56794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5 w 23400000"/>
              <a:gd name="connsiteY4" fmla="*/ 9824813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603855 w 23439125"/>
              <a:gd name="connsiteY0" fmla="*/ 331220 h 13075220"/>
              <a:gd name="connsiteX1" fmla="*/ 23439124 w 23439125"/>
              <a:gd name="connsiteY1" fmla="*/ 331220 h 13075220"/>
              <a:gd name="connsiteX2" fmla="*/ 23439124 w 23439125"/>
              <a:gd name="connsiteY2" fmla="*/ 331220 h 13075220"/>
              <a:gd name="connsiteX3" fmla="*/ 23439125 w 23439125"/>
              <a:gd name="connsiteY3" fmla="*/ 10162828 h 13075220"/>
              <a:gd name="connsiteX4" fmla="*/ 17859729 w 23439125"/>
              <a:gd name="connsiteY4" fmla="*/ 10156033 h 13075220"/>
              <a:gd name="connsiteX5" fmla="*/ 17859730 w 23439125"/>
              <a:gd name="connsiteY5" fmla="*/ 13075220 h 13075220"/>
              <a:gd name="connsiteX6" fmla="*/ 39125 w 23439125"/>
              <a:gd name="connsiteY6" fmla="*/ 13075220 h 13075220"/>
              <a:gd name="connsiteX7" fmla="*/ 39125 w 23439125"/>
              <a:gd name="connsiteY7" fmla="*/ 13075220 h 13075220"/>
              <a:gd name="connsiteX8" fmla="*/ 39125 w 23439125"/>
              <a:gd name="connsiteY8" fmla="*/ 1182480 h 13075220"/>
              <a:gd name="connsiteX9" fmla="*/ 2603855 w 23439125"/>
              <a:gd name="connsiteY9" fmla="*/ 331220 h 1307522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2564730 w 23400000"/>
              <a:gd name="connsiteY8" fmla="*/ 0 h 12744000"/>
              <a:gd name="connsiteX0" fmla="*/ 869121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8691210 w 23400000"/>
              <a:gd name="connsiteY8" fmla="*/ 0 h 12744000"/>
              <a:gd name="connsiteX0" fmla="*/ 8674584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8674584 w 23400000"/>
              <a:gd name="connsiteY8" fmla="*/ 0 h 12744000"/>
              <a:gd name="connsiteX0" fmla="*/ 8674584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8674584 w 23400000"/>
              <a:gd name="connsiteY7" fmla="*/ 0 h 12744000"/>
              <a:gd name="connsiteX0" fmla="*/ 0 w 14725416"/>
              <a:gd name="connsiteY0" fmla="*/ 0 h 12744000"/>
              <a:gd name="connsiteX1" fmla="*/ 14725415 w 14725416"/>
              <a:gd name="connsiteY1" fmla="*/ 0 h 12744000"/>
              <a:gd name="connsiteX2" fmla="*/ 14725415 w 14725416"/>
              <a:gd name="connsiteY2" fmla="*/ 0 h 12744000"/>
              <a:gd name="connsiteX3" fmla="*/ 14725416 w 14725416"/>
              <a:gd name="connsiteY3" fmla="*/ 9831608 h 12744000"/>
              <a:gd name="connsiteX4" fmla="*/ 9146020 w 14725416"/>
              <a:gd name="connsiteY4" fmla="*/ 9824813 h 12744000"/>
              <a:gd name="connsiteX5" fmla="*/ 9146021 w 14725416"/>
              <a:gd name="connsiteY5" fmla="*/ 12744000 h 12744000"/>
              <a:gd name="connsiteX6" fmla="*/ 3903 w 14725416"/>
              <a:gd name="connsiteY6" fmla="*/ 12744000 h 12744000"/>
              <a:gd name="connsiteX7" fmla="*/ 0 w 14725416"/>
              <a:gd name="connsiteY7" fmla="*/ 0 h 127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25416" h="12744000">
                <a:moveTo>
                  <a:pt x="0" y="0"/>
                </a:moveTo>
                <a:lnTo>
                  <a:pt x="14725415" y="0"/>
                </a:lnTo>
                <a:lnTo>
                  <a:pt x="14725415" y="0"/>
                </a:lnTo>
                <a:cubicBezTo>
                  <a:pt x="14725415" y="3277203"/>
                  <a:pt x="14725416" y="6554405"/>
                  <a:pt x="14725416" y="9831608"/>
                </a:cubicBezTo>
                <a:cubicBezTo>
                  <a:pt x="14724997" y="9831571"/>
                  <a:pt x="9140821" y="9823891"/>
                  <a:pt x="9146020" y="9824813"/>
                </a:cubicBezTo>
                <a:cubicBezTo>
                  <a:pt x="9162597" y="9827753"/>
                  <a:pt x="9140354" y="12744037"/>
                  <a:pt x="9146021" y="12744000"/>
                </a:cubicBezTo>
                <a:lnTo>
                  <a:pt x="3903" y="12744000"/>
                </a:lnTo>
                <a:lnTo>
                  <a:pt x="0" y="0"/>
                </a:lnTo>
                <a:close/>
              </a:path>
            </a:pathLst>
          </a:custGeom>
          <a:solidFill>
            <a:schemeClr val="bg1">
              <a:lumMod val="95000"/>
            </a:schemeClr>
          </a:solidFill>
        </p:spPr>
        <p:txBody>
          <a:bodyPr/>
          <a:lstStyle>
            <a:lvl1pPr algn="ctr">
              <a:defRPr sz="2400">
                <a:solidFill>
                  <a:schemeClr val="tx1">
                    <a:lumMod val="65000"/>
                    <a:lumOff val="35000"/>
                  </a:schemeClr>
                </a:solidFill>
              </a:defRPr>
            </a:lvl1pPr>
          </a:lstStyle>
          <a:p>
            <a:r>
              <a:rPr lang="en-NL"/>
              <a:t>Drag and drop a topic-related picture into this fram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3059999" y="3402014"/>
            <a:ext cx="12156189" cy="6911976"/>
          </a:xfrm>
          <a:prstGeom prst="rect">
            <a:avLst/>
          </a:prstGeom>
          <a:solidFill>
            <a:schemeClr val="bg1"/>
          </a:solidFill>
        </p:spPr>
        <p:txBody>
          <a:bodyPr vert="horz" lIns="720000" tIns="540000" rIns="90000" bIns="90000" rtlCol="0" anchor="t">
            <a:noAutofit/>
          </a:bodyPr>
          <a:lstStyle>
            <a:lvl1pPr>
              <a:defRPr/>
            </a:lvl1pPr>
          </a:lstStyle>
          <a:p>
            <a:r>
              <a:rPr lang="en-GB" noProof="0"/>
              <a:t>Put the title here,</a:t>
            </a:r>
            <a:br>
              <a:rPr lang="en-GB" noProof="0"/>
            </a:br>
            <a:r>
              <a:rPr lang="en-GB" noProof="0"/>
              <a:t>keep it bold 80 </a:t>
            </a:r>
            <a:r>
              <a:rPr lang="en-GB" noProof="0" err="1"/>
              <a:t>pt</a:t>
            </a:r>
            <a:endParaRPr lang="en-GB" noProof="0"/>
          </a:p>
        </p:txBody>
      </p:sp>
      <p:pic>
        <p:nvPicPr>
          <p:cNvPr id="16" name="Picture 15">
            <a:extLst>
              <a:ext uri="{FF2B5EF4-FFF2-40B4-BE49-F238E27FC236}">
                <a16:creationId xmlns:a16="http://schemas.microsoft.com/office/drawing/2014/main" id="{B318DE6B-1EB2-D248-BE9E-1B173597E1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832676" y="10313988"/>
            <a:ext cx="5058531" cy="3402012"/>
          </a:xfrm>
          <a:prstGeom prst="rect">
            <a:avLst/>
          </a:prstGeom>
        </p:spPr>
      </p:pic>
      <p:sp>
        <p:nvSpPr>
          <p:cNvPr id="18" name="TextBox 17">
            <a:extLst>
              <a:ext uri="{FF2B5EF4-FFF2-40B4-BE49-F238E27FC236}">
                <a16:creationId xmlns:a16="http://schemas.microsoft.com/office/drawing/2014/main" id="{328A1B16-9A25-3541-9435-BC1CEEFFC8BA}"/>
              </a:ext>
            </a:extLst>
          </p:cNvPr>
          <p:cNvSpPr txBox="1"/>
          <p:nvPr userDrawn="1"/>
        </p:nvSpPr>
        <p:spPr>
          <a:xfrm>
            <a:off x="400182" y="419673"/>
            <a:ext cx="2574000" cy="461665"/>
          </a:xfrm>
          <a:prstGeom prst="rect">
            <a:avLst/>
          </a:prstGeom>
          <a:noFill/>
        </p:spPr>
        <p:txBody>
          <a:bodyPr wrap="square" rtlCol="0">
            <a:spAutoFit/>
          </a:bodyPr>
          <a:lstStyle/>
          <a:p>
            <a:pPr algn="l"/>
            <a:r>
              <a:rPr lang="sv-SE" sz="2400" err="1"/>
              <a:t>Supply</a:t>
            </a:r>
            <a:endParaRPr lang="en-NL" sz="2400"/>
          </a:p>
        </p:txBody>
      </p:sp>
      <p:sp>
        <p:nvSpPr>
          <p:cNvPr id="5" name="Footer Placeholder 4">
            <a:extLst>
              <a:ext uri="{FF2B5EF4-FFF2-40B4-BE49-F238E27FC236}">
                <a16:creationId xmlns:a16="http://schemas.microsoft.com/office/drawing/2014/main" id="{E75BD6A2-5F2A-D047-AC2A-DB7B531F7814}"/>
              </a:ext>
            </a:extLst>
          </p:cNvPr>
          <p:cNvSpPr>
            <a:spLocks noGrp="1"/>
          </p:cNvSpPr>
          <p:nvPr>
            <p:ph type="ftr" sz="quarter" idx="18"/>
          </p:nvPr>
        </p:nvSpPr>
        <p:spPr/>
        <p:txBody>
          <a:bodyPr/>
          <a:lstStyle/>
          <a:p>
            <a:r>
              <a:rPr lang="en-NL"/>
              <a:t>Insert the footer for all slides in t</a:t>
            </a:r>
            <a:r>
              <a:rPr lang="en-GB"/>
              <a:t>he</a:t>
            </a:r>
            <a:r>
              <a:rPr lang="en-NL"/>
              <a:t> top menu Insert &gt; Header &amp; Footer</a:t>
            </a:r>
          </a:p>
        </p:txBody>
      </p:sp>
    </p:spTree>
    <p:extLst>
      <p:ext uri="{BB962C8B-B14F-4D97-AF65-F5344CB8AC3E}">
        <p14:creationId xmlns:p14="http://schemas.microsoft.com/office/powerpoint/2010/main" val="158405662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Agenda or conten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3293FC4-39C9-4047-8405-0EE5AF044904}"/>
              </a:ext>
            </a:extLst>
          </p:cNvPr>
          <p:cNvSpPr>
            <a:spLocks noGrp="1"/>
          </p:cNvSpPr>
          <p:nvPr>
            <p:ph type="pic" sz="quarter" idx="13" hasCustomPrompt="1"/>
          </p:nvPr>
        </p:nvSpPr>
        <p:spPr>
          <a:xfrm>
            <a:off x="486001" y="486000"/>
            <a:ext cx="10440000" cy="12744000"/>
          </a:xfrm>
          <a:solidFill>
            <a:schemeClr val="bg1">
              <a:lumMod val="95000"/>
            </a:schemeClr>
          </a:solidFill>
        </p:spPr>
        <p:txBody>
          <a:bodyPr/>
          <a:lstStyle>
            <a:lvl1pPr algn="ctr">
              <a:defRPr sz="2400">
                <a:solidFill>
                  <a:schemeClr val="tx1">
                    <a:lumMod val="65000"/>
                    <a:lumOff val="35000"/>
                  </a:schemeClr>
                </a:solidFill>
              </a:defRPr>
            </a:lvl1pPr>
          </a:lstStyle>
          <a:p>
            <a:r>
              <a:rPr lang="en-NL"/>
              <a:t>Fill this frame with one of the Theme Colours</a:t>
            </a:r>
          </a:p>
        </p:txBody>
      </p:sp>
      <p:sp>
        <p:nvSpPr>
          <p:cNvPr id="9" name="Text Placeholder 3">
            <a:extLst>
              <a:ext uri="{FF2B5EF4-FFF2-40B4-BE49-F238E27FC236}">
                <a16:creationId xmlns:a16="http://schemas.microsoft.com/office/drawing/2014/main" id="{74EDCDDC-BFAD-0048-95CD-93E49D18174D}"/>
              </a:ext>
            </a:extLst>
          </p:cNvPr>
          <p:cNvSpPr>
            <a:spLocks noGrp="1"/>
          </p:cNvSpPr>
          <p:nvPr>
            <p:ph type="body" sz="half" idx="2" hasCustomPrompt="1"/>
          </p:nvPr>
        </p:nvSpPr>
        <p:spPr>
          <a:xfrm>
            <a:off x="12191208" y="1961458"/>
            <a:ext cx="9144793" cy="10081320"/>
          </a:xfrm>
        </p:spPr>
        <p:txBody>
          <a:bodyPr>
            <a:noAutofit/>
          </a:bodyPr>
          <a:lstStyle>
            <a:lvl1pPr marL="0" marR="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sz="32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marL="0" marR="0" lvl="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a:pPr>
            <a:endParaRPr lang="en-GB" noProof="0"/>
          </a:p>
        </p:txBody>
      </p:sp>
      <p:sp>
        <p:nvSpPr>
          <p:cNvPr id="6" name="Title 5">
            <a:extLst>
              <a:ext uri="{FF2B5EF4-FFF2-40B4-BE49-F238E27FC236}">
                <a16:creationId xmlns:a16="http://schemas.microsoft.com/office/drawing/2014/main" id="{07211B91-AE84-A342-91A4-CA604C6D63E9}"/>
              </a:ext>
            </a:extLst>
          </p:cNvPr>
          <p:cNvSpPr>
            <a:spLocks noGrp="1"/>
          </p:cNvSpPr>
          <p:nvPr>
            <p:ph type="title" hasCustomPrompt="1"/>
          </p:nvPr>
        </p:nvSpPr>
        <p:spPr>
          <a:xfrm>
            <a:off x="1676294" y="1677600"/>
            <a:ext cx="9000000" cy="8633316"/>
          </a:xfrm>
        </p:spPr>
        <p:txBody>
          <a:bodyPr bIns="46800"/>
          <a:lstStyle/>
          <a:p>
            <a:r>
              <a:rPr lang="en-GB"/>
              <a:t>Agenda or contents</a:t>
            </a:r>
            <a:endParaRPr lang="en-NL"/>
          </a:p>
        </p:txBody>
      </p:sp>
      <p:sp>
        <p:nvSpPr>
          <p:cNvPr id="12" name="Text Placeholder 3">
            <a:extLst>
              <a:ext uri="{FF2B5EF4-FFF2-40B4-BE49-F238E27FC236}">
                <a16:creationId xmlns:a16="http://schemas.microsoft.com/office/drawing/2014/main" id="{E42BC64C-1096-A244-9939-276AF14B9BC4}"/>
              </a:ext>
            </a:extLst>
          </p:cNvPr>
          <p:cNvSpPr>
            <a:spLocks noGrp="1"/>
          </p:cNvSpPr>
          <p:nvPr>
            <p:ph type="body" sz="half" idx="15" hasCustomPrompt="1"/>
          </p:nvPr>
        </p:nvSpPr>
        <p:spPr>
          <a:xfrm>
            <a:off x="1676294" y="10313989"/>
            <a:ext cx="9000000" cy="1728790"/>
          </a:xfrm>
        </p:spPr>
        <p:txBody>
          <a:bodyPr anchor="b">
            <a:noAutofit/>
          </a:bodyPr>
          <a:lstStyle>
            <a:lvl1pPr marL="0" marR="0" indent="0" algn="l" defTabSz="1439856" rtl="0" eaLnBrk="1" fontAlgn="auto" latinLnBrk="0" hangingPunct="1">
              <a:lnSpc>
                <a:spcPct val="100000"/>
              </a:lnSpc>
              <a:spcBef>
                <a:spcPts val="2000"/>
              </a:spcBef>
              <a:spcAft>
                <a:spcPts val="0"/>
              </a:spcAft>
              <a:buClrTx/>
              <a:buSzTx/>
              <a:buFont typeface="Arial" panose="020B0604020202020204" pitchFamily="34" charset="0"/>
              <a:buNone/>
              <a:tabLst/>
              <a:defRPr sz="40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marL="0" marR="0" lvl="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roject name, date, version</a:t>
            </a:r>
          </a:p>
        </p:txBody>
      </p:sp>
      <p:sp>
        <p:nvSpPr>
          <p:cNvPr id="7" name="Footer Placeholder 6">
            <a:extLst>
              <a:ext uri="{FF2B5EF4-FFF2-40B4-BE49-F238E27FC236}">
                <a16:creationId xmlns:a16="http://schemas.microsoft.com/office/drawing/2014/main" id="{AA71B48D-AD8E-4041-BC0A-97827EA167E2}"/>
              </a:ext>
            </a:extLst>
          </p:cNvPr>
          <p:cNvSpPr>
            <a:spLocks noGrp="1"/>
          </p:cNvSpPr>
          <p:nvPr>
            <p:ph type="ftr" sz="quarter" idx="16"/>
          </p:nvPr>
        </p:nvSpPr>
        <p:spPr/>
        <p:txBody>
          <a:bodyPr/>
          <a:lstStyle/>
          <a:p>
            <a:endParaRPr lang="en-NL"/>
          </a:p>
        </p:txBody>
      </p:sp>
      <p:sp>
        <p:nvSpPr>
          <p:cNvPr id="13" name="TextBox 12">
            <a:extLst>
              <a:ext uri="{FF2B5EF4-FFF2-40B4-BE49-F238E27FC236}">
                <a16:creationId xmlns:a16="http://schemas.microsoft.com/office/drawing/2014/main" id="{3A2D6FA1-9D20-AF47-912B-1D770AF0FEBC}"/>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91308995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hapter headline on simple background">
    <p:bg>
      <p:bgPr>
        <a:solidFill>
          <a:schemeClr val="bg1"/>
        </a:solidFill>
        <a:effectLst/>
      </p:bgPr>
    </p:bg>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ADB4BA95-E492-D840-88F6-2FE23D26918D}"/>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573" rtl="0" eaLnBrk="1" fontAlgn="auto" latinLnBrk="0" hangingPunct="1">
              <a:lnSpc>
                <a:spcPct val="10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7" name="Title Placeholder 6">
            <a:extLst>
              <a:ext uri="{FF2B5EF4-FFF2-40B4-BE49-F238E27FC236}">
                <a16:creationId xmlns:a16="http://schemas.microsoft.com/office/drawing/2014/main" id="{1B090AE2-5953-9248-BD9A-B5FA2155AD8A}"/>
              </a:ext>
            </a:extLst>
          </p:cNvPr>
          <p:cNvSpPr>
            <a:spLocks noGrp="1"/>
          </p:cNvSpPr>
          <p:nvPr>
            <p:ph type="title" hasCustomPrompt="1"/>
          </p:nvPr>
        </p:nvSpPr>
        <p:spPr>
          <a:xfrm>
            <a:off x="3059999" y="3402014"/>
            <a:ext cx="12156189" cy="6911976"/>
          </a:xfrm>
          <a:prstGeom prst="rect">
            <a:avLst/>
          </a:prstGeom>
          <a:solidFill>
            <a:schemeClr val="bg1"/>
          </a:solidFill>
        </p:spPr>
        <p:txBody>
          <a:bodyPr vert="horz" lIns="720000" tIns="90000" rIns="91440" bIns="9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C4ADDE55-E340-6E4C-86B1-7B03B8C32387}"/>
              </a:ext>
            </a:extLst>
          </p:cNvPr>
          <p:cNvSpPr>
            <a:spLocks noGrp="1"/>
          </p:cNvSpPr>
          <p:nvPr>
            <p:ph type="ftr" sz="quarter" idx="15"/>
          </p:nvPr>
        </p:nvSpPr>
        <p:spPr/>
        <p:txBody>
          <a:bodyPr/>
          <a:lstStyle/>
          <a:p>
            <a:endParaRPr lang="en-NL"/>
          </a:p>
        </p:txBody>
      </p:sp>
    </p:spTree>
    <p:extLst>
      <p:ext uri="{BB962C8B-B14F-4D97-AF65-F5344CB8AC3E}">
        <p14:creationId xmlns:p14="http://schemas.microsoft.com/office/powerpoint/2010/main" val="522905771"/>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hapter headline on double background">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7D48BD0-6997-F144-A2F5-799BC3C77E9E}"/>
              </a:ext>
            </a:extLst>
          </p:cNvPr>
          <p:cNvSpPr>
            <a:spLocks noGrp="1"/>
          </p:cNvSpPr>
          <p:nvPr>
            <p:ph type="pic" sz="quarter" idx="16" hasCustomPrompt="1"/>
          </p:nvPr>
        </p:nvSpPr>
        <p:spPr>
          <a:xfrm>
            <a:off x="9166226" y="486000"/>
            <a:ext cx="14724980"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background image into this frame</a:t>
            </a:r>
          </a:p>
        </p:txBody>
      </p:sp>
      <p:sp>
        <p:nvSpPr>
          <p:cNvPr id="8" name="Picture Placeholder 10">
            <a:extLst>
              <a:ext uri="{FF2B5EF4-FFF2-40B4-BE49-F238E27FC236}">
                <a16:creationId xmlns:a16="http://schemas.microsoft.com/office/drawing/2014/main" id="{1309BD59-499E-7B48-84B0-F24A66C27380}"/>
              </a:ext>
            </a:extLst>
          </p:cNvPr>
          <p:cNvSpPr>
            <a:spLocks noGrp="1"/>
          </p:cNvSpPr>
          <p:nvPr>
            <p:ph type="pic" sz="quarter" idx="14" hasCustomPrompt="1"/>
          </p:nvPr>
        </p:nvSpPr>
        <p:spPr>
          <a:xfrm>
            <a:off x="491206" y="486000"/>
            <a:ext cx="8675019" cy="12744000"/>
          </a:xfrm>
          <a:solidFill>
            <a:schemeClr val="bg1">
              <a:lumMod val="8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9" name="Title Placeholder 6">
            <a:extLst>
              <a:ext uri="{FF2B5EF4-FFF2-40B4-BE49-F238E27FC236}">
                <a16:creationId xmlns:a16="http://schemas.microsoft.com/office/drawing/2014/main" id="{9DDA9E19-4F77-3D4F-9876-A15B1427723D}"/>
              </a:ext>
            </a:extLst>
          </p:cNvPr>
          <p:cNvSpPr>
            <a:spLocks noGrp="1"/>
          </p:cNvSpPr>
          <p:nvPr>
            <p:ph type="title" hasCustomPrompt="1"/>
          </p:nvPr>
        </p:nvSpPr>
        <p:spPr>
          <a:xfrm>
            <a:off x="3059999" y="3402014"/>
            <a:ext cx="12156189" cy="6911976"/>
          </a:xfrm>
          <a:prstGeom prst="rect">
            <a:avLst/>
          </a:prstGeom>
          <a:solidFill>
            <a:schemeClr val="bg1"/>
          </a:solidFill>
        </p:spPr>
        <p:txBody>
          <a:bodyPr vert="horz" lIns="720000" tIns="90000" rIns="91440" bIns="9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5CA18264-1F8B-3A44-B551-1BBEE87ED5B3}"/>
              </a:ext>
            </a:extLst>
          </p:cNvPr>
          <p:cNvSpPr>
            <a:spLocks noGrp="1"/>
          </p:cNvSpPr>
          <p:nvPr>
            <p:ph type="ftr" sz="quarter" idx="17"/>
          </p:nvPr>
        </p:nvSpPr>
        <p:spPr/>
        <p:txBody>
          <a:bodyPr/>
          <a:lstStyle/>
          <a:p>
            <a:endParaRPr lang="en-NL"/>
          </a:p>
        </p:txBody>
      </p:sp>
      <p:sp>
        <p:nvSpPr>
          <p:cNvPr id="11" name="TextBox 10">
            <a:extLst>
              <a:ext uri="{FF2B5EF4-FFF2-40B4-BE49-F238E27FC236}">
                <a16:creationId xmlns:a16="http://schemas.microsoft.com/office/drawing/2014/main" id="{17ABB78B-16D4-9548-AD33-F584DB55BA7A}"/>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652442101"/>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Chapter headline and number 1">
    <p:bg>
      <p:bgPr>
        <a:solidFill>
          <a:schemeClr val="bg1"/>
        </a:solidFill>
        <a:effectLst/>
      </p:bgPr>
    </p:bg>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FBC26CA4-EB48-1543-B2BB-C8B879012FEC}"/>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5" name="Text Placeholder 4">
            <a:extLst>
              <a:ext uri="{FF2B5EF4-FFF2-40B4-BE49-F238E27FC236}">
                <a16:creationId xmlns:a16="http://schemas.microsoft.com/office/drawing/2014/main" id="{D692063E-373D-9A4C-B3F2-4CED294F18A0}"/>
              </a:ext>
            </a:extLst>
          </p:cNvPr>
          <p:cNvSpPr>
            <a:spLocks noGrp="1"/>
          </p:cNvSpPr>
          <p:nvPr>
            <p:ph type="body" sz="quarter" idx="11" hasCustomPrompt="1"/>
          </p:nvPr>
        </p:nvSpPr>
        <p:spPr>
          <a:xfrm>
            <a:off x="3066646" y="3402014"/>
            <a:ext cx="6113166" cy="6911976"/>
          </a:xfrm>
          <a:solidFill>
            <a:schemeClr val="bg1"/>
          </a:solidFill>
        </p:spPr>
        <p:txBody>
          <a:bodyPr anchor="ctr" anchorCtr="0">
            <a:noAutofit/>
          </a:bodyPr>
          <a:lstStyle>
            <a:lvl1pPr marL="0" indent="0" algn="ctr">
              <a:buNone/>
              <a:defRPr sz="29999" b="1" spc="-600" baseline="0">
                <a:ln>
                  <a:noFill/>
                </a:ln>
                <a:solidFill>
                  <a:schemeClr val="tx1"/>
                </a:solidFill>
              </a:defRPr>
            </a:lvl1pPr>
          </a:lstStyle>
          <a:p>
            <a:pPr lvl="0"/>
            <a:r>
              <a:rPr lang="en-GB" noProof="0"/>
              <a:t>#</a:t>
            </a:r>
          </a:p>
        </p:txBody>
      </p:sp>
      <p:sp>
        <p:nvSpPr>
          <p:cNvPr id="9" name="Title Placeholder 6">
            <a:extLst>
              <a:ext uri="{FF2B5EF4-FFF2-40B4-BE49-F238E27FC236}">
                <a16:creationId xmlns:a16="http://schemas.microsoft.com/office/drawing/2014/main" id="{8EE4B79D-13C4-D44B-B7EA-5A90670CE600}"/>
              </a:ext>
            </a:extLst>
          </p:cNvPr>
          <p:cNvSpPr>
            <a:spLocks noGrp="1"/>
          </p:cNvSpPr>
          <p:nvPr>
            <p:ph type="title" hasCustomPrompt="1"/>
          </p:nvPr>
        </p:nvSpPr>
        <p:spPr>
          <a:xfrm>
            <a:off x="9166225" y="3402014"/>
            <a:ext cx="12169776" cy="6911976"/>
          </a:xfrm>
          <a:prstGeom prst="rect">
            <a:avLst/>
          </a:prstGeom>
          <a:solidFill>
            <a:schemeClr val="bg1"/>
          </a:solidFill>
        </p:spPr>
        <p:txBody>
          <a:bodyPr vert="horz" lIns="360000" tIns="90000" rIns="91440" bIns="9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1A1CBB60-7354-0F46-A5EC-2B7F347405A8}"/>
              </a:ext>
            </a:extLst>
          </p:cNvPr>
          <p:cNvSpPr>
            <a:spLocks noGrp="1"/>
          </p:cNvSpPr>
          <p:nvPr>
            <p:ph type="ftr" sz="quarter" idx="15"/>
          </p:nvPr>
        </p:nvSpPr>
        <p:spPr/>
        <p:txBody>
          <a:bodyPr/>
          <a:lstStyle/>
          <a:p>
            <a:endParaRPr lang="en-NL"/>
          </a:p>
        </p:txBody>
      </p:sp>
      <p:sp>
        <p:nvSpPr>
          <p:cNvPr id="11" name="TextBox 10">
            <a:extLst>
              <a:ext uri="{FF2B5EF4-FFF2-40B4-BE49-F238E27FC236}">
                <a16:creationId xmlns:a16="http://schemas.microsoft.com/office/drawing/2014/main" id="{40541476-0AFC-234B-BC49-0499CC038C91}"/>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078860601"/>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hapter headline and number 2">
    <p:bg>
      <p:bgPr>
        <a:solidFill>
          <a:schemeClr val="bg1"/>
        </a:solidFill>
        <a:effectLst/>
      </p:bgPr>
    </p:bg>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F6085D9F-3237-7542-9B7D-4ED3CD3607B0}"/>
              </a:ext>
            </a:extLst>
          </p:cNvPr>
          <p:cNvSpPr>
            <a:spLocks noGrp="1"/>
          </p:cNvSpPr>
          <p:nvPr>
            <p:ph type="body" sz="quarter" idx="11" hasCustomPrompt="1"/>
          </p:nvPr>
        </p:nvSpPr>
        <p:spPr>
          <a:xfrm>
            <a:off x="3066646" y="3402014"/>
            <a:ext cx="6113166" cy="6911976"/>
          </a:xfrm>
          <a:noFill/>
        </p:spPr>
        <p:txBody>
          <a:bodyPr anchor="ctr" anchorCtr="0">
            <a:noAutofit/>
          </a:bodyPr>
          <a:lstStyle>
            <a:lvl1pPr marL="0" indent="0" algn="ctr">
              <a:buNone/>
              <a:defRPr sz="29999" b="1" spc="-600" baseline="0">
                <a:ln>
                  <a:noFill/>
                </a:ln>
                <a:solidFill>
                  <a:schemeClr val="tx1"/>
                </a:solidFill>
              </a:defRPr>
            </a:lvl1pPr>
          </a:lstStyle>
          <a:p>
            <a:pPr lvl="0"/>
            <a:r>
              <a:rPr lang="en-GB" noProof="0"/>
              <a:t>#</a:t>
            </a:r>
          </a:p>
        </p:txBody>
      </p:sp>
      <p:sp>
        <p:nvSpPr>
          <p:cNvPr id="7" name="Title Placeholder 6">
            <a:extLst>
              <a:ext uri="{FF2B5EF4-FFF2-40B4-BE49-F238E27FC236}">
                <a16:creationId xmlns:a16="http://schemas.microsoft.com/office/drawing/2014/main" id="{C80CB7B3-E10E-DC43-BC18-2A74C9A160F8}"/>
              </a:ext>
            </a:extLst>
          </p:cNvPr>
          <p:cNvSpPr>
            <a:spLocks noGrp="1"/>
          </p:cNvSpPr>
          <p:nvPr>
            <p:ph type="title" hasCustomPrompt="1"/>
          </p:nvPr>
        </p:nvSpPr>
        <p:spPr>
          <a:xfrm>
            <a:off x="9166225" y="3402014"/>
            <a:ext cx="12169776" cy="6911976"/>
          </a:xfrm>
          <a:prstGeom prst="rect">
            <a:avLst/>
          </a:prstGeom>
          <a:noFill/>
        </p:spPr>
        <p:txBody>
          <a:bodyPr vert="horz" lIns="360000" tIns="90000" rIns="91440" bIns="9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3A7F9CFD-AFFB-3B47-AFEC-CEE18A9D2CE6}"/>
              </a:ext>
            </a:extLst>
          </p:cNvPr>
          <p:cNvSpPr>
            <a:spLocks noGrp="1"/>
          </p:cNvSpPr>
          <p:nvPr>
            <p:ph type="ftr" sz="quarter" idx="12"/>
          </p:nvPr>
        </p:nvSpPr>
        <p:spPr/>
        <p:txBody>
          <a:bodyPr/>
          <a:lstStyle/>
          <a:p>
            <a:endParaRPr lang="en-NL"/>
          </a:p>
        </p:txBody>
      </p:sp>
      <p:sp>
        <p:nvSpPr>
          <p:cNvPr id="10" name="TextBox 9">
            <a:extLst>
              <a:ext uri="{FF2B5EF4-FFF2-40B4-BE49-F238E27FC236}">
                <a16:creationId xmlns:a16="http://schemas.microsoft.com/office/drawing/2014/main" id="{C416BDAF-6CDC-8648-8B2F-B8146F0C0E7E}"/>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85834399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ext and picture on the right">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13127310" y="486000"/>
            <a:ext cx="10763999"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1439906" y="5196948"/>
            <a:ext cx="10516084" cy="6904512"/>
          </a:xfrm>
        </p:spPr>
        <p:txBody>
          <a:bodyPr>
            <a:noAutofit/>
          </a:bodyPr>
          <a:lstStyle>
            <a:lvl1pPr>
              <a:spcBef>
                <a:spcPts val="2000"/>
              </a:spcBef>
              <a:defRPr sz="3200"/>
            </a:lvl1pPr>
          </a:lstStyle>
          <a:p>
            <a:pPr lvl="0"/>
            <a:r>
              <a:rPr lang="en-GB" noProof="0"/>
              <a:t>Put the paragraph text here, keep it regular 32 </a:t>
            </a:r>
            <a:r>
              <a:rPr lang="en-GB" noProof="0" err="1"/>
              <a:t>pt</a:t>
            </a:r>
            <a:endParaRPr lang="en-GB" noProof="0"/>
          </a:p>
        </p:txBody>
      </p:sp>
      <p:sp>
        <p:nvSpPr>
          <p:cNvPr id="2" name="Title 1">
            <a:extLst>
              <a:ext uri="{FF2B5EF4-FFF2-40B4-BE49-F238E27FC236}">
                <a16:creationId xmlns:a16="http://schemas.microsoft.com/office/drawing/2014/main" id="{44A2E15B-0973-F742-A266-E1107E35FE40}"/>
              </a:ext>
            </a:extLst>
          </p:cNvPr>
          <p:cNvSpPr>
            <a:spLocks noGrp="1"/>
          </p:cNvSpPr>
          <p:nvPr>
            <p:ph type="title" hasCustomPrompt="1"/>
          </p:nvPr>
        </p:nvSpPr>
        <p:spPr>
          <a:xfrm>
            <a:off x="1439907" y="1440000"/>
            <a:ext cx="10514914" cy="3011660"/>
          </a:xfrm>
        </p:spPr>
        <p:txBody>
          <a:bodyPr/>
          <a:lstStyle/>
          <a:p>
            <a:r>
              <a:rPr lang="en-GB"/>
              <a:t>Put the headline here, keep it 80 </a:t>
            </a:r>
            <a:r>
              <a:rPr lang="en-GB" err="1"/>
              <a:t>pt</a:t>
            </a:r>
            <a:endParaRPr lang="en-NL"/>
          </a:p>
        </p:txBody>
      </p:sp>
      <p:sp>
        <p:nvSpPr>
          <p:cNvPr id="7" name="Footer Placeholder 6">
            <a:extLst>
              <a:ext uri="{FF2B5EF4-FFF2-40B4-BE49-F238E27FC236}">
                <a16:creationId xmlns:a16="http://schemas.microsoft.com/office/drawing/2014/main" id="{1BBF2C0D-081E-D341-990A-85E80DD0D1B7}"/>
              </a:ext>
            </a:extLst>
          </p:cNvPr>
          <p:cNvSpPr>
            <a:spLocks noGrp="1"/>
          </p:cNvSpPr>
          <p:nvPr>
            <p:ph type="ftr" sz="quarter" idx="19"/>
          </p:nvPr>
        </p:nvSpPr>
        <p:spPr/>
        <p:txBody>
          <a:bodyPr/>
          <a:lstStyle/>
          <a:p>
            <a:endParaRPr lang="en-NL"/>
          </a:p>
        </p:txBody>
      </p:sp>
    </p:spTree>
    <p:extLst>
      <p:ext uri="{BB962C8B-B14F-4D97-AF65-F5344CB8AC3E}">
        <p14:creationId xmlns:p14="http://schemas.microsoft.com/office/powerpoint/2010/main" val="49657121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ext and picture on the left">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EED5078-C5D9-0E4F-B9E3-7CF7BBC8C373}"/>
              </a:ext>
            </a:extLst>
          </p:cNvPr>
          <p:cNvSpPr>
            <a:spLocks noGrp="1"/>
          </p:cNvSpPr>
          <p:nvPr>
            <p:ph type="pic" sz="quarter" idx="15" hasCustomPrompt="1"/>
          </p:nvPr>
        </p:nvSpPr>
        <p:spPr>
          <a:xfrm>
            <a:off x="491102" y="486000"/>
            <a:ext cx="10763999"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pPr marL="0" marR="0" lvl="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a:pPr>
            <a:r>
              <a:rPr lang="en-NL"/>
              <a:t>Drag and drop a topic-related picture into this frame</a:t>
            </a:r>
          </a:p>
        </p:txBody>
      </p:sp>
      <p:sp>
        <p:nvSpPr>
          <p:cNvPr id="12" name="Text Placeholder 3">
            <a:extLst>
              <a:ext uri="{FF2B5EF4-FFF2-40B4-BE49-F238E27FC236}">
                <a16:creationId xmlns:a16="http://schemas.microsoft.com/office/drawing/2014/main" id="{AE87E5A1-8A67-0448-BA9A-DA74F50AE099}"/>
              </a:ext>
            </a:extLst>
          </p:cNvPr>
          <p:cNvSpPr>
            <a:spLocks noGrp="1"/>
          </p:cNvSpPr>
          <p:nvPr>
            <p:ph type="body" sz="quarter" idx="18" hasCustomPrompt="1"/>
          </p:nvPr>
        </p:nvSpPr>
        <p:spPr>
          <a:xfrm>
            <a:off x="12191206" y="5129214"/>
            <a:ext cx="10516084" cy="6904512"/>
          </a:xfrm>
        </p:spPr>
        <p:txBody>
          <a:bodyPr>
            <a:noAutofit/>
          </a:bodyPr>
          <a:lstStyle>
            <a:lvl1pPr>
              <a:spcBef>
                <a:spcPts val="2000"/>
              </a:spcBef>
              <a:defRPr sz="3200"/>
            </a:lvl1pPr>
          </a:lstStyle>
          <a:p>
            <a:pPr lvl="0"/>
            <a:r>
              <a:rPr lang="en-GB" noProof="0"/>
              <a:t>Put the paragraph text here, keep it regular 32 </a:t>
            </a:r>
            <a:r>
              <a:rPr lang="en-GB" noProof="0" err="1"/>
              <a:t>pt</a:t>
            </a:r>
            <a:endParaRPr lang="en-GB" noProof="0"/>
          </a:p>
        </p:txBody>
      </p:sp>
      <p:sp>
        <p:nvSpPr>
          <p:cNvPr id="13" name="Title 1">
            <a:extLst>
              <a:ext uri="{FF2B5EF4-FFF2-40B4-BE49-F238E27FC236}">
                <a16:creationId xmlns:a16="http://schemas.microsoft.com/office/drawing/2014/main" id="{0614539B-EA7E-5F48-845E-1115C11137DF}"/>
              </a:ext>
            </a:extLst>
          </p:cNvPr>
          <p:cNvSpPr>
            <a:spLocks noGrp="1"/>
          </p:cNvSpPr>
          <p:nvPr>
            <p:ph type="title" hasCustomPrompt="1"/>
          </p:nvPr>
        </p:nvSpPr>
        <p:spPr>
          <a:xfrm>
            <a:off x="12193171" y="1677600"/>
            <a:ext cx="10514914" cy="3011660"/>
          </a:xfrm>
        </p:spPr>
        <p:txBody>
          <a:bodyPr/>
          <a:lstStyle/>
          <a:p>
            <a:r>
              <a:rPr lang="en-GB"/>
              <a:t>Put the headline here, keep it 80 </a:t>
            </a:r>
            <a:r>
              <a:rPr lang="en-GB" err="1"/>
              <a:t>pt</a:t>
            </a:r>
            <a:endParaRPr lang="en-NL"/>
          </a:p>
        </p:txBody>
      </p:sp>
      <p:sp>
        <p:nvSpPr>
          <p:cNvPr id="4" name="Footer Placeholder 3">
            <a:extLst>
              <a:ext uri="{FF2B5EF4-FFF2-40B4-BE49-F238E27FC236}">
                <a16:creationId xmlns:a16="http://schemas.microsoft.com/office/drawing/2014/main" id="{CB40AB27-22C2-8049-AEFA-EC9ADA9C74F8}"/>
              </a:ext>
            </a:extLst>
          </p:cNvPr>
          <p:cNvSpPr>
            <a:spLocks noGrp="1"/>
          </p:cNvSpPr>
          <p:nvPr>
            <p:ph type="ftr" sz="quarter" idx="19"/>
          </p:nvPr>
        </p:nvSpPr>
        <p:spPr/>
        <p:txBody>
          <a:bodyPr/>
          <a:lstStyle/>
          <a:p>
            <a:endParaRPr lang="en-NL"/>
          </a:p>
        </p:txBody>
      </p:sp>
    </p:spTree>
    <p:extLst>
      <p:ext uri="{BB962C8B-B14F-4D97-AF65-F5344CB8AC3E}">
        <p14:creationId xmlns:p14="http://schemas.microsoft.com/office/powerpoint/2010/main" val="26972113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cus areas 1">
    <p:spTree>
      <p:nvGrpSpPr>
        <p:cNvPr id="1" name=""/>
        <p:cNvGrpSpPr/>
        <p:nvPr/>
      </p:nvGrpSpPr>
      <p:grpSpPr>
        <a:xfrm>
          <a:off x="0" y="0"/>
          <a:ext cx="0" cy="0"/>
          <a:chOff x="0" y="0"/>
          <a:chExt cx="0" cy="0"/>
        </a:xfrm>
      </p:grpSpPr>
      <p:sp>
        <p:nvSpPr>
          <p:cNvPr id="9" name="Text Placeholder 5">
            <a:extLst>
              <a:ext uri="{FF2B5EF4-FFF2-40B4-BE49-F238E27FC236}">
                <a16:creationId xmlns:a16="http://schemas.microsoft.com/office/drawing/2014/main" id="{08916781-0481-B64C-A15B-60E03E7E77EA}"/>
              </a:ext>
            </a:extLst>
          </p:cNvPr>
          <p:cNvSpPr>
            <a:spLocks noGrp="1"/>
          </p:cNvSpPr>
          <p:nvPr>
            <p:ph type="body" sz="quarter" idx="14" hasCustomPrompt="1"/>
          </p:nvPr>
        </p:nvSpPr>
        <p:spPr>
          <a:xfrm>
            <a:off x="9166225" y="5742878"/>
            <a:ext cx="6049963" cy="863104"/>
          </a:xfrm>
          <a:solidFill>
            <a:schemeClr val="bg1">
              <a:lumMod val="95000"/>
            </a:schemeClr>
          </a:solidFill>
        </p:spPr>
        <p:txBody>
          <a:bodyPr lIns="180000" anchor="ctr">
            <a:noAutofit/>
          </a:bodyPr>
          <a:lstStyle>
            <a:lvl1pPr>
              <a:lnSpc>
                <a:spcPct val="100000"/>
              </a:lnSpc>
              <a:defRPr b="1"/>
            </a:lvl1pPr>
          </a:lstStyle>
          <a:p>
            <a:pPr lvl="0"/>
            <a:r>
              <a:rPr lang="en-US"/>
              <a:t>Put the header here</a:t>
            </a:r>
          </a:p>
        </p:txBody>
      </p:sp>
      <p:sp>
        <p:nvSpPr>
          <p:cNvPr id="10" name="Text Placeholder 5">
            <a:extLst>
              <a:ext uri="{FF2B5EF4-FFF2-40B4-BE49-F238E27FC236}">
                <a16:creationId xmlns:a16="http://schemas.microsoft.com/office/drawing/2014/main" id="{CCF4949C-0573-654E-8E4A-1524918D8E6F}"/>
              </a:ext>
            </a:extLst>
          </p:cNvPr>
          <p:cNvSpPr>
            <a:spLocks noGrp="1"/>
          </p:cNvSpPr>
          <p:nvPr>
            <p:ph type="body" sz="quarter" idx="15" hasCustomPrompt="1"/>
          </p:nvPr>
        </p:nvSpPr>
        <p:spPr>
          <a:xfrm>
            <a:off x="9190264" y="6858002"/>
            <a:ext cx="6049964" cy="3455986"/>
          </a:xfrm>
        </p:spPr>
        <p:txBody>
          <a:bodyPr lIns="180000">
            <a:noAutofit/>
          </a:bodyPr>
          <a:lstStyle>
            <a:lvl1pPr>
              <a:lnSpc>
                <a:spcPct val="100000"/>
              </a:lnSpc>
              <a:spcBef>
                <a:spcPts val="0"/>
              </a:spcBef>
              <a:defRPr sz="3200"/>
            </a:lvl1pPr>
          </a:lstStyle>
          <a:p>
            <a:pPr lvl="0"/>
            <a:r>
              <a:rPr lang="en-GB" noProof="0"/>
              <a:t>Put the paragraph text here, keep it regular 32 </a:t>
            </a:r>
            <a:r>
              <a:rPr lang="en-GB" noProof="0" err="1"/>
              <a:t>pt</a:t>
            </a:r>
            <a:endParaRPr lang="en-GB" noProof="0"/>
          </a:p>
        </p:txBody>
      </p:sp>
      <p:sp>
        <p:nvSpPr>
          <p:cNvPr id="17" name="Text Placeholder 5">
            <a:extLst>
              <a:ext uri="{FF2B5EF4-FFF2-40B4-BE49-F238E27FC236}">
                <a16:creationId xmlns:a16="http://schemas.microsoft.com/office/drawing/2014/main" id="{3722BC19-3242-894A-A464-ACE95D8645BB}"/>
              </a:ext>
            </a:extLst>
          </p:cNvPr>
          <p:cNvSpPr>
            <a:spLocks noGrp="1"/>
          </p:cNvSpPr>
          <p:nvPr>
            <p:ph type="body" sz="quarter" idx="19" hasCustomPrompt="1"/>
          </p:nvPr>
        </p:nvSpPr>
        <p:spPr>
          <a:xfrm>
            <a:off x="1655888" y="5742878"/>
            <a:ext cx="6049963" cy="863104"/>
          </a:xfrm>
          <a:solidFill>
            <a:schemeClr val="bg1">
              <a:lumMod val="95000"/>
            </a:schemeClr>
          </a:solidFill>
        </p:spPr>
        <p:txBody>
          <a:bodyPr lIns="180000" anchor="ctr">
            <a:noAutofit/>
          </a:bodyPr>
          <a:lstStyle>
            <a:lvl1pPr>
              <a:lnSpc>
                <a:spcPct val="100000"/>
              </a:lnSpc>
              <a:defRPr b="1"/>
            </a:lvl1pPr>
          </a:lstStyle>
          <a:p>
            <a:pPr lvl="0"/>
            <a:r>
              <a:rPr lang="en-US"/>
              <a:t>Put the header here</a:t>
            </a:r>
          </a:p>
        </p:txBody>
      </p:sp>
      <p:sp>
        <p:nvSpPr>
          <p:cNvPr id="18" name="Text Placeholder 5">
            <a:extLst>
              <a:ext uri="{FF2B5EF4-FFF2-40B4-BE49-F238E27FC236}">
                <a16:creationId xmlns:a16="http://schemas.microsoft.com/office/drawing/2014/main" id="{07C8CE66-24CD-E646-98E5-48BB7686BEDA}"/>
              </a:ext>
            </a:extLst>
          </p:cNvPr>
          <p:cNvSpPr>
            <a:spLocks noGrp="1"/>
          </p:cNvSpPr>
          <p:nvPr>
            <p:ph type="body" sz="quarter" idx="20" hasCustomPrompt="1"/>
          </p:nvPr>
        </p:nvSpPr>
        <p:spPr>
          <a:xfrm>
            <a:off x="1679927" y="6858002"/>
            <a:ext cx="6049964" cy="3455986"/>
          </a:xfrm>
        </p:spPr>
        <p:txBody>
          <a:bodyPr lIns="180000">
            <a:noAutofit/>
          </a:bodyPr>
          <a:lstStyle>
            <a:lvl1pPr>
              <a:lnSpc>
                <a:spcPct val="100000"/>
              </a:lnSpc>
              <a:spcBef>
                <a:spcPts val="0"/>
              </a:spcBef>
              <a:defRPr sz="3200"/>
            </a:lvl1pPr>
          </a:lstStyle>
          <a:p>
            <a:pPr lvl="0"/>
            <a:r>
              <a:rPr lang="en-GB" noProof="0"/>
              <a:t>Put the paragraph text here, keep it regular 32 </a:t>
            </a:r>
            <a:r>
              <a:rPr lang="en-GB" noProof="0" err="1"/>
              <a:t>pt</a:t>
            </a:r>
            <a:endParaRPr lang="en-GB" noProof="0"/>
          </a:p>
        </p:txBody>
      </p:sp>
      <p:sp>
        <p:nvSpPr>
          <p:cNvPr id="19" name="Text Placeholder 5">
            <a:extLst>
              <a:ext uri="{FF2B5EF4-FFF2-40B4-BE49-F238E27FC236}">
                <a16:creationId xmlns:a16="http://schemas.microsoft.com/office/drawing/2014/main" id="{7F8EE651-9C67-9A40-AA5C-4FDC892EECCF}"/>
              </a:ext>
            </a:extLst>
          </p:cNvPr>
          <p:cNvSpPr>
            <a:spLocks noGrp="1"/>
          </p:cNvSpPr>
          <p:nvPr>
            <p:ph type="body" sz="quarter" idx="21" hasCustomPrompt="1"/>
          </p:nvPr>
        </p:nvSpPr>
        <p:spPr>
          <a:xfrm>
            <a:off x="16627352" y="5742878"/>
            <a:ext cx="6049963" cy="863104"/>
          </a:xfrm>
          <a:solidFill>
            <a:schemeClr val="bg1">
              <a:lumMod val="95000"/>
            </a:schemeClr>
          </a:solidFill>
        </p:spPr>
        <p:txBody>
          <a:bodyPr lIns="180000" anchor="ctr">
            <a:noAutofit/>
          </a:bodyPr>
          <a:lstStyle>
            <a:lvl1pPr>
              <a:lnSpc>
                <a:spcPct val="100000"/>
              </a:lnSpc>
              <a:defRPr b="1"/>
            </a:lvl1pPr>
          </a:lstStyle>
          <a:p>
            <a:pPr lvl="0"/>
            <a:r>
              <a:rPr lang="en-US"/>
              <a:t>Put the header here</a:t>
            </a:r>
          </a:p>
        </p:txBody>
      </p:sp>
      <p:sp>
        <p:nvSpPr>
          <p:cNvPr id="20" name="Text Placeholder 5">
            <a:extLst>
              <a:ext uri="{FF2B5EF4-FFF2-40B4-BE49-F238E27FC236}">
                <a16:creationId xmlns:a16="http://schemas.microsoft.com/office/drawing/2014/main" id="{308DDE5D-AD61-324F-8D1B-396A22DC466A}"/>
              </a:ext>
            </a:extLst>
          </p:cNvPr>
          <p:cNvSpPr>
            <a:spLocks noGrp="1"/>
          </p:cNvSpPr>
          <p:nvPr>
            <p:ph type="body" sz="quarter" idx="22" hasCustomPrompt="1"/>
          </p:nvPr>
        </p:nvSpPr>
        <p:spPr>
          <a:xfrm>
            <a:off x="16651391" y="6858002"/>
            <a:ext cx="6049964" cy="3455986"/>
          </a:xfrm>
        </p:spPr>
        <p:txBody>
          <a:bodyPr lIns="180000">
            <a:noAutofit/>
          </a:bodyPr>
          <a:lstStyle>
            <a:lvl1pPr>
              <a:lnSpc>
                <a:spcPct val="100000"/>
              </a:lnSpc>
              <a:spcBef>
                <a:spcPts val="0"/>
              </a:spcBef>
              <a:defRPr sz="3200"/>
            </a:lvl1pPr>
          </a:lstStyle>
          <a:p>
            <a:pPr lvl="0"/>
            <a:r>
              <a:rPr lang="en-GB" noProof="0"/>
              <a:t>Put the paragraph text here, keep it regular 32 </a:t>
            </a:r>
            <a:r>
              <a:rPr lang="en-GB" noProof="0" err="1"/>
              <a:t>pt</a:t>
            </a:r>
            <a:endParaRPr lang="en-GB" noProof="0"/>
          </a:p>
        </p:txBody>
      </p:sp>
      <p:sp>
        <p:nvSpPr>
          <p:cNvPr id="5" name="Title 4">
            <a:extLst>
              <a:ext uri="{FF2B5EF4-FFF2-40B4-BE49-F238E27FC236}">
                <a16:creationId xmlns:a16="http://schemas.microsoft.com/office/drawing/2014/main" id="{A8507978-2D74-7F40-9482-B33692774EA2}"/>
              </a:ext>
            </a:extLst>
          </p:cNvPr>
          <p:cNvSpPr>
            <a:spLocks noGrp="1"/>
          </p:cNvSpPr>
          <p:nvPr>
            <p:ph type="title" hasCustomPrompt="1"/>
          </p:nvPr>
        </p:nvSpPr>
        <p:spPr/>
        <p:txBody>
          <a:bodyPr/>
          <a:lstStyle/>
          <a:p>
            <a:r>
              <a:rPr lang="en-GB"/>
              <a:t>Focus areas</a:t>
            </a:r>
            <a:endParaRPr lang="en-NL"/>
          </a:p>
        </p:txBody>
      </p:sp>
      <p:sp>
        <p:nvSpPr>
          <p:cNvPr id="3" name="Footer Placeholder 2">
            <a:extLst>
              <a:ext uri="{FF2B5EF4-FFF2-40B4-BE49-F238E27FC236}">
                <a16:creationId xmlns:a16="http://schemas.microsoft.com/office/drawing/2014/main" id="{94C26B9E-3413-AB4A-98DC-12221AAB0365}"/>
              </a:ext>
            </a:extLst>
          </p:cNvPr>
          <p:cNvSpPr>
            <a:spLocks noGrp="1"/>
          </p:cNvSpPr>
          <p:nvPr>
            <p:ph type="ftr" sz="quarter" idx="23"/>
          </p:nvPr>
        </p:nvSpPr>
        <p:spPr/>
        <p:txBody>
          <a:bodyPr/>
          <a:lstStyle/>
          <a:p>
            <a:endParaRPr lang="en-NL"/>
          </a:p>
        </p:txBody>
      </p:sp>
      <p:sp>
        <p:nvSpPr>
          <p:cNvPr id="13" name="TextBox 12">
            <a:extLst>
              <a:ext uri="{FF2B5EF4-FFF2-40B4-BE49-F238E27FC236}">
                <a16:creationId xmlns:a16="http://schemas.microsoft.com/office/drawing/2014/main" id="{C1C95D9D-541E-F440-9F65-0AB08894819B}"/>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891390310"/>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tatement without background">
    <p:spTree>
      <p:nvGrpSpPr>
        <p:cNvPr id="1" name=""/>
        <p:cNvGrpSpPr/>
        <p:nvPr/>
      </p:nvGrpSpPr>
      <p:grpSpPr>
        <a:xfrm>
          <a:off x="0" y="0"/>
          <a:ext cx="0" cy="0"/>
          <a:chOff x="0" y="0"/>
          <a:chExt cx="0" cy="0"/>
        </a:xfrm>
      </p:grpSpPr>
      <p:sp>
        <p:nvSpPr>
          <p:cNvPr id="6" name="Title Placeholder 6">
            <a:extLst>
              <a:ext uri="{FF2B5EF4-FFF2-40B4-BE49-F238E27FC236}">
                <a16:creationId xmlns:a16="http://schemas.microsoft.com/office/drawing/2014/main" id="{42635088-B65D-C841-9E13-05D7E3443BD4}"/>
              </a:ext>
            </a:extLst>
          </p:cNvPr>
          <p:cNvSpPr>
            <a:spLocks noGrp="1"/>
          </p:cNvSpPr>
          <p:nvPr>
            <p:ph type="title" hasCustomPrompt="1"/>
          </p:nvPr>
        </p:nvSpPr>
        <p:spPr>
          <a:xfrm>
            <a:off x="1677491" y="1692003"/>
            <a:ext cx="21029831" cy="10330998"/>
          </a:xfrm>
          <a:prstGeom prst="rect">
            <a:avLst/>
          </a:prstGeom>
        </p:spPr>
        <p:txBody>
          <a:bodyPr vert="horz" lIns="91440" tIns="45720" rIns="91440" bIns="45720" rtlCol="0" anchor="ctr">
            <a:noAutofit/>
          </a:bodyPr>
          <a:lstStyle>
            <a:lvl1pPr>
              <a:defRPr baseline="0"/>
            </a:lvl1pPr>
          </a:lstStyle>
          <a:p>
            <a:r>
              <a:rPr lang="en-GB" noProof="0"/>
              <a:t>Put a statement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DEA92304-9D31-2743-9CAA-4CF1A9292236}"/>
              </a:ext>
            </a:extLst>
          </p:cNvPr>
          <p:cNvSpPr>
            <a:spLocks noGrp="1"/>
          </p:cNvSpPr>
          <p:nvPr>
            <p:ph type="ftr" sz="quarter" idx="10"/>
          </p:nvPr>
        </p:nvSpPr>
        <p:spPr/>
        <p:txBody>
          <a:bodyPr/>
          <a:lstStyle/>
          <a:p>
            <a:endParaRPr lang="en-NL"/>
          </a:p>
        </p:txBody>
      </p:sp>
      <p:sp>
        <p:nvSpPr>
          <p:cNvPr id="7" name="TextBox 6">
            <a:extLst>
              <a:ext uri="{FF2B5EF4-FFF2-40B4-BE49-F238E27FC236}">
                <a16:creationId xmlns:a16="http://schemas.microsoft.com/office/drawing/2014/main" id="{BE9A8351-2D97-AD41-BE02-7B1C9B022881}"/>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286792373"/>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tatement 1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6070602" y="3402014"/>
            <a:ext cx="12241213" cy="6911976"/>
          </a:xfrm>
          <a:prstGeom prst="rect">
            <a:avLst/>
          </a:prstGeom>
          <a:solidFill>
            <a:schemeClr val="bg1"/>
          </a:solidFill>
        </p:spPr>
        <p:txBody>
          <a:bodyPr vert="horz" lIns="900000" tIns="90000" rIns="360000" bIns="90000" rtlCol="0" anchor="ctr">
            <a:noAutofit/>
          </a:bodyPr>
          <a:lstStyle>
            <a:lvl1pPr>
              <a:defRPr sz="6000" b="1" spc="0" baseline="0"/>
            </a:lvl1pPr>
          </a:lstStyle>
          <a:p>
            <a:r>
              <a:rPr lang="en-GB" noProof="0"/>
              <a:t>Put a short statement here, keep it regular 60 </a:t>
            </a:r>
            <a:r>
              <a:rPr lang="en-GB" noProof="0" err="1"/>
              <a:t>pt</a:t>
            </a:r>
            <a:endParaRPr lang="en-GB" noProof="0"/>
          </a:p>
        </p:txBody>
      </p:sp>
      <p:sp>
        <p:nvSpPr>
          <p:cNvPr id="4" name="Footer Placeholder 3">
            <a:extLst>
              <a:ext uri="{FF2B5EF4-FFF2-40B4-BE49-F238E27FC236}">
                <a16:creationId xmlns:a16="http://schemas.microsoft.com/office/drawing/2014/main" id="{4D585EBC-728D-F748-BD9C-1622617E10E7}"/>
              </a:ext>
            </a:extLst>
          </p:cNvPr>
          <p:cNvSpPr>
            <a:spLocks noGrp="1"/>
          </p:cNvSpPr>
          <p:nvPr>
            <p:ph type="ftr" sz="quarter" idx="15"/>
          </p:nvPr>
        </p:nvSpPr>
        <p:spPr/>
        <p:txBody>
          <a:bodyPr/>
          <a:lstStyle/>
          <a:p>
            <a:endParaRPr lang="en-NL"/>
          </a:p>
        </p:txBody>
      </p:sp>
      <p:sp>
        <p:nvSpPr>
          <p:cNvPr id="8" name="TextBox 7">
            <a:extLst>
              <a:ext uri="{FF2B5EF4-FFF2-40B4-BE49-F238E27FC236}">
                <a16:creationId xmlns:a16="http://schemas.microsoft.com/office/drawing/2014/main" id="{5F6D9EA7-3CF9-7B43-B287-97692C1A4E03}"/>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40614037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tatement 2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3088132" y="3402014"/>
            <a:ext cx="9102282" cy="6911976"/>
          </a:xfrm>
          <a:prstGeom prst="rect">
            <a:avLst/>
          </a:prstGeom>
          <a:solidFill>
            <a:schemeClr val="bg1"/>
          </a:solidFill>
        </p:spPr>
        <p:txBody>
          <a:bodyPr vert="horz" lIns="720000" tIns="90000" rIns="91440" bIns="90000" rtlCol="0" anchor="ctr">
            <a:noAutofit/>
          </a:bodyPr>
          <a:lstStyle>
            <a:lvl1pPr>
              <a:defRPr sz="6000" b="0" spc="0" baseline="0"/>
            </a:lvl1pPr>
          </a:lstStyle>
          <a:p>
            <a:r>
              <a:rPr lang="en-GB" noProof="0"/>
              <a:t>Put a long statement here, keep it regular 60 </a:t>
            </a:r>
            <a:r>
              <a:rPr lang="en-GB" noProof="0" err="1"/>
              <a:t>pt</a:t>
            </a:r>
            <a:endParaRPr lang="en-GB" noProof="0"/>
          </a:p>
        </p:txBody>
      </p:sp>
      <p:sp>
        <p:nvSpPr>
          <p:cNvPr id="4" name="Footer Placeholder 3">
            <a:extLst>
              <a:ext uri="{FF2B5EF4-FFF2-40B4-BE49-F238E27FC236}">
                <a16:creationId xmlns:a16="http://schemas.microsoft.com/office/drawing/2014/main" id="{F698052A-206B-8B44-B965-9B18AA398EAF}"/>
              </a:ext>
            </a:extLst>
          </p:cNvPr>
          <p:cNvSpPr>
            <a:spLocks noGrp="1"/>
          </p:cNvSpPr>
          <p:nvPr>
            <p:ph type="ftr" sz="quarter" idx="15"/>
          </p:nvPr>
        </p:nvSpPr>
        <p:spPr/>
        <p:txBody>
          <a:bodyPr/>
          <a:lstStyle/>
          <a:p>
            <a:endParaRPr lang="en-NL"/>
          </a:p>
        </p:txBody>
      </p:sp>
      <p:sp>
        <p:nvSpPr>
          <p:cNvPr id="8" name="TextBox 7">
            <a:extLst>
              <a:ext uri="{FF2B5EF4-FFF2-40B4-BE49-F238E27FC236}">
                <a16:creationId xmlns:a16="http://schemas.microsoft.com/office/drawing/2014/main" id="{6717F6DA-71F4-F94F-A4FF-3581F301E2A5}"/>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98630170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tatement 3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12191207" y="3402014"/>
            <a:ext cx="9144795" cy="6911976"/>
          </a:xfrm>
          <a:prstGeom prst="rect">
            <a:avLst/>
          </a:prstGeom>
          <a:solidFill>
            <a:schemeClr val="bg1"/>
          </a:solidFill>
        </p:spPr>
        <p:txBody>
          <a:bodyPr vert="horz" lIns="720000" tIns="90000" rIns="180000" bIns="90000" rtlCol="0" anchor="ctr">
            <a:noAutofit/>
          </a:bodyPr>
          <a:lstStyle>
            <a:lvl1pPr>
              <a:defRPr sz="4000" b="0" spc="0" baseline="0"/>
            </a:lvl1pPr>
          </a:lstStyle>
          <a:p>
            <a:r>
              <a:rPr lang="en-GB" noProof="0"/>
              <a:t>Put a long statement or a quote here, keep it regular 40 </a:t>
            </a:r>
            <a:r>
              <a:rPr lang="en-GB" noProof="0" err="1"/>
              <a:t>pt</a:t>
            </a:r>
            <a:endParaRPr lang="en-GB" noProof="0"/>
          </a:p>
        </p:txBody>
      </p:sp>
      <p:sp>
        <p:nvSpPr>
          <p:cNvPr id="4" name="Footer Placeholder 3">
            <a:extLst>
              <a:ext uri="{FF2B5EF4-FFF2-40B4-BE49-F238E27FC236}">
                <a16:creationId xmlns:a16="http://schemas.microsoft.com/office/drawing/2014/main" id="{F08AE3EC-F985-214A-B20E-84BB4377F356}"/>
              </a:ext>
            </a:extLst>
          </p:cNvPr>
          <p:cNvSpPr>
            <a:spLocks noGrp="1"/>
          </p:cNvSpPr>
          <p:nvPr>
            <p:ph type="ftr" sz="quarter" idx="15"/>
          </p:nvPr>
        </p:nvSpPr>
        <p:spPr/>
        <p:txBody>
          <a:bodyPr/>
          <a:lstStyle/>
          <a:p>
            <a:endParaRPr lang="en-NL"/>
          </a:p>
        </p:txBody>
      </p:sp>
      <p:sp>
        <p:nvSpPr>
          <p:cNvPr id="8" name="TextBox 7">
            <a:extLst>
              <a:ext uri="{FF2B5EF4-FFF2-40B4-BE49-F238E27FC236}">
                <a16:creationId xmlns:a16="http://schemas.microsoft.com/office/drawing/2014/main" id="{0FE629E5-989E-6549-877B-8C45333B32D6}"/>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84222618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tatement 1 on double background">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2E196F3F-0661-674B-B21B-282CCEADCBCE}"/>
              </a:ext>
            </a:extLst>
          </p:cNvPr>
          <p:cNvSpPr>
            <a:spLocks noGrp="1"/>
          </p:cNvSpPr>
          <p:nvPr>
            <p:ph type="pic" sz="quarter" idx="16" hasCustomPrompt="1"/>
          </p:nvPr>
        </p:nvSpPr>
        <p:spPr>
          <a:xfrm>
            <a:off x="12190414" y="486000"/>
            <a:ext cx="11700792"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n inspirational picture into this frame. Or fill with one of the Theme Colours</a:t>
            </a:r>
          </a:p>
        </p:txBody>
      </p:sp>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7" y="486000"/>
            <a:ext cx="11700000" cy="12744000"/>
          </a:xfrm>
          <a:solidFill>
            <a:schemeClr val="bg1">
              <a:lumMod val="8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9179812" y="1673226"/>
            <a:ext cx="9132002" cy="8640764"/>
          </a:xfrm>
          <a:prstGeom prst="rect">
            <a:avLst/>
          </a:prstGeom>
          <a:solidFill>
            <a:schemeClr val="bg1"/>
          </a:solidFill>
        </p:spPr>
        <p:txBody>
          <a:bodyPr vert="horz" lIns="720000" tIns="90000" rIns="180000" bIns="90000" rtlCol="0" anchor="ctr">
            <a:noAutofit/>
          </a:bodyPr>
          <a:lstStyle>
            <a:lvl1pPr>
              <a:defRPr sz="4000" b="0" spc="0" baseline="0"/>
            </a:lvl1pPr>
          </a:lstStyle>
          <a:p>
            <a:r>
              <a:rPr lang="en-GB" noProof="0"/>
              <a:t>Put a long statement or a quote here, keep it regular 40 </a:t>
            </a:r>
            <a:r>
              <a:rPr lang="en-GB" noProof="0" err="1"/>
              <a:t>pt</a:t>
            </a:r>
            <a:endParaRPr lang="en-GB" noProof="0"/>
          </a:p>
        </p:txBody>
      </p:sp>
      <p:sp>
        <p:nvSpPr>
          <p:cNvPr id="3" name="Footer Placeholder 2">
            <a:extLst>
              <a:ext uri="{FF2B5EF4-FFF2-40B4-BE49-F238E27FC236}">
                <a16:creationId xmlns:a16="http://schemas.microsoft.com/office/drawing/2014/main" id="{50DDB570-67BE-EB4D-A534-19942E8D0F02}"/>
              </a:ext>
            </a:extLst>
          </p:cNvPr>
          <p:cNvSpPr>
            <a:spLocks noGrp="1"/>
          </p:cNvSpPr>
          <p:nvPr>
            <p:ph type="ftr" sz="quarter" idx="17"/>
          </p:nvPr>
        </p:nvSpPr>
        <p:spPr/>
        <p:txBody>
          <a:bodyPr/>
          <a:lstStyle/>
          <a:p>
            <a:endParaRPr lang="en-NL"/>
          </a:p>
        </p:txBody>
      </p:sp>
      <p:sp>
        <p:nvSpPr>
          <p:cNvPr id="8" name="TextBox 7">
            <a:extLst>
              <a:ext uri="{FF2B5EF4-FFF2-40B4-BE49-F238E27FC236}">
                <a16:creationId xmlns:a16="http://schemas.microsoft.com/office/drawing/2014/main" id="{EEDCEF97-2600-484D-BCF3-2F9C6FC44F07}"/>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71224040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tatement 2 on double background">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31FA6885-927C-7B4C-8BD0-54E7A0823B52}"/>
              </a:ext>
            </a:extLst>
          </p:cNvPr>
          <p:cNvSpPr>
            <a:spLocks noGrp="1"/>
          </p:cNvSpPr>
          <p:nvPr>
            <p:ph type="pic" sz="quarter" idx="16" hasCustomPrompt="1"/>
          </p:nvPr>
        </p:nvSpPr>
        <p:spPr>
          <a:xfrm>
            <a:off x="6049095" y="486000"/>
            <a:ext cx="17842113"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n inspirational picture into this frame. Or fill with one of the Theme Colours</a:t>
            </a:r>
          </a:p>
        </p:txBody>
      </p:sp>
      <p:sp>
        <p:nvSpPr>
          <p:cNvPr id="9" name="Picture Placeholder 10">
            <a:extLst>
              <a:ext uri="{FF2B5EF4-FFF2-40B4-BE49-F238E27FC236}">
                <a16:creationId xmlns:a16="http://schemas.microsoft.com/office/drawing/2014/main" id="{ADB4BA95-E492-D840-88F6-2FE23D26918D}"/>
              </a:ext>
            </a:extLst>
          </p:cNvPr>
          <p:cNvSpPr>
            <a:spLocks noGrp="1"/>
          </p:cNvSpPr>
          <p:nvPr>
            <p:ph type="pic" sz="quarter" idx="14" hasCustomPrompt="1"/>
          </p:nvPr>
        </p:nvSpPr>
        <p:spPr>
          <a:xfrm>
            <a:off x="491206" y="486000"/>
            <a:ext cx="11699207" cy="12744000"/>
          </a:xfrm>
          <a:prstGeom prst="corner">
            <a:avLst>
              <a:gd name="adj1" fmla="val 25065"/>
              <a:gd name="adj2" fmla="val 47348"/>
            </a:avLst>
          </a:prstGeom>
          <a:solidFill>
            <a:schemeClr val="bg1">
              <a:lumMod val="8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7" name="Title Placeholder 6">
            <a:extLst>
              <a:ext uri="{FF2B5EF4-FFF2-40B4-BE49-F238E27FC236}">
                <a16:creationId xmlns:a16="http://schemas.microsoft.com/office/drawing/2014/main" id="{1B090AE2-5953-9248-BD9A-B5FA2155AD8A}"/>
              </a:ext>
            </a:extLst>
          </p:cNvPr>
          <p:cNvSpPr>
            <a:spLocks noGrp="1"/>
          </p:cNvSpPr>
          <p:nvPr>
            <p:ph type="title" hasCustomPrompt="1"/>
          </p:nvPr>
        </p:nvSpPr>
        <p:spPr>
          <a:xfrm>
            <a:off x="6049095" y="3402014"/>
            <a:ext cx="12284224" cy="6911976"/>
          </a:xfrm>
          <a:prstGeom prst="rect">
            <a:avLst/>
          </a:prstGeom>
          <a:solidFill>
            <a:schemeClr val="bg1"/>
          </a:solidFill>
        </p:spPr>
        <p:txBody>
          <a:bodyPr vert="horz" lIns="720000" tIns="90000" rIns="91440" bIns="90000" rtlCol="0" anchor="ctr">
            <a:noAutofit/>
          </a:bodyPr>
          <a:lstStyle>
            <a:lvl1pPr>
              <a:defRPr/>
            </a:lvl1pPr>
          </a:lstStyle>
          <a:p>
            <a:r>
              <a:rPr lang="en-GB" noProof="0"/>
              <a:t>Put a short statement here, keep it bold 80 </a:t>
            </a:r>
            <a:r>
              <a:rPr lang="en-GB" noProof="0" err="1"/>
              <a:t>pt</a:t>
            </a:r>
            <a:endParaRPr lang="en-GB" noProof="0"/>
          </a:p>
        </p:txBody>
      </p:sp>
      <p:sp>
        <p:nvSpPr>
          <p:cNvPr id="3" name="Footer Placeholder 2">
            <a:extLst>
              <a:ext uri="{FF2B5EF4-FFF2-40B4-BE49-F238E27FC236}">
                <a16:creationId xmlns:a16="http://schemas.microsoft.com/office/drawing/2014/main" id="{23AF250D-036E-9947-B629-124D8B6FF87C}"/>
              </a:ext>
            </a:extLst>
          </p:cNvPr>
          <p:cNvSpPr>
            <a:spLocks noGrp="1"/>
          </p:cNvSpPr>
          <p:nvPr>
            <p:ph type="ftr" sz="quarter" idx="17"/>
          </p:nvPr>
        </p:nvSpPr>
        <p:spPr/>
        <p:txBody>
          <a:bodyPr/>
          <a:lstStyle/>
          <a:p>
            <a:endParaRPr lang="en-NL"/>
          </a:p>
        </p:txBody>
      </p:sp>
      <p:sp>
        <p:nvSpPr>
          <p:cNvPr id="8" name="TextBox 7">
            <a:extLst>
              <a:ext uri="{FF2B5EF4-FFF2-40B4-BE49-F238E27FC236}">
                <a16:creationId xmlns:a16="http://schemas.microsoft.com/office/drawing/2014/main" id="{EA23A869-D63F-9145-B2E7-DAF3BC84C059}"/>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402227762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ext in one column">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3397E6F6-DFC7-C54D-9E7E-CD51822BE714}"/>
              </a:ext>
            </a:extLst>
          </p:cNvPr>
          <p:cNvSpPr>
            <a:spLocks noGrp="1"/>
          </p:cNvSpPr>
          <p:nvPr>
            <p:ph type="body" sz="quarter" idx="18" hasCustomPrompt="1"/>
          </p:nvPr>
        </p:nvSpPr>
        <p:spPr>
          <a:xfrm>
            <a:off x="1674329" y="5129214"/>
            <a:ext cx="10516084" cy="6904512"/>
          </a:xfrm>
        </p:spPr>
        <p:txBody>
          <a:bodyPr>
            <a:noAutofit/>
          </a:bodyPr>
          <a:lstStyle>
            <a:lvl1pPr>
              <a:spcBef>
                <a:spcPts val="2000"/>
              </a:spcBef>
              <a:defRPr sz="3200"/>
            </a:lvl1pPr>
          </a:lstStyle>
          <a:p>
            <a:pPr lvl="0"/>
            <a:r>
              <a:rPr lang="en-GB" noProof="0"/>
              <a:t>Put the paragraph text here, keep it regular 32 </a:t>
            </a:r>
            <a:r>
              <a:rPr lang="en-GB" noProof="0" err="1"/>
              <a:t>pt</a:t>
            </a:r>
            <a:endParaRPr lang="en-GB" noProof="0"/>
          </a:p>
        </p:txBody>
      </p:sp>
      <p:sp>
        <p:nvSpPr>
          <p:cNvPr id="2" name="Title 1">
            <a:extLst>
              <a:ext uri="{FF2B5EF4-FFF2-40B4-BE49-F238E27FC236}">
                <a16:creationId xmlns:a16="http://schemas.microsoft.com/office/drawing/2014/main" id="{531E4EAE-C7D1-764F-A32B-CAEBD1FFE575}"/>
              </a:ext>
            </a:extLst>
          </p:cNvPr>
          <p:cNvSpPr>
            <a:spLocks noGrp="1"/>
          </p:cNvSpPr>
          <p:nvPr>
            <p:ph type="title" hasCustomPrompt="1"/>
          </p:nvPr>
        </p:nvSpPr>
        <p:spPr/>
        <p:txBody>
          <a:bodyPr/>
          <a:lstStyle/>
          <a:p>
            <a:r>
              <a:rPr lang="en-GB"/>
              <a:t>Put the headline here, </a:t>
            </a:r>
            <a:br>
              <a:rPr lang="en-GB"/>
            </a:br>
            <a:r>
              <a:rPr lang="en-GB"/>
              <a:t>keep it bold 80 </a:t>
            </a:r>
            <a:r>
              <a:rPr lang="en-GB" err="1"/>
              <a:t>pt</a:t>
            </a:r>
            <a:endParaRPr lang="en-NL"/>
          </a:p>
        </p:txBody>
      </p:sp>
      <p:sp>
        <p:nvSpPr>
          <p:cNvPr id="7" name="Footer Placeholder 6">
            <a:extLst>
              <a:ext uri="{FF2B5EF4-FFF2-40B4-BE49-F238E27FC236}">
                <a16:creationId xmlns:a16="http://schemas.microsoft.com/office/drawing/2014/main" id="{3E14A44A-1600-B842-B2DE-66DACFA6C861}"/>
              </a:ext>
            </a:extLst>
          </p:cNvPr>
          <p:cNvSpPr>
            <a:spLocks noGrp="1"/>
          </p:cNvSpPr>
          <p:nvPr>
            <p:ph type="ftr" sz="quarter" idx="19"/>
          </p:nvPr>
        </p:nvSpPr>
        <p:spPr/>
        <p:txBody>
          <a:bodyPr/>
          <a:lstStyle/>
          <a:p>
            <a:endParaRPr lang="en-NL"/>
          </a:p>
        </p:txBody>
      </p:sp>
      <p:sp>
        <p:nvSpPr>
          <p:cNvPr id="8" name="TextBox 7">
            <a:extLst>
              <a:ext uri="{FF2B5EF4-FFF2-40B4-BE49-F238E27FC236}">
                <a16:creationId xmlns:a16="http://schemas.microsoft.com/office/drawing/2014/main" id="{CB57B542-06A9-DE4F-969F-191CC73CC3F4}"/>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347696789"/>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ext in two column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2A2A612F-B7D0-EE48-9553-5C46B1883978}"/>
              </a:ext>
            </a:extLst>
          </p:cNvPr>
          <p:cNvSpPr>
            <a:spLocks noGrp="1"/>
          </p:cNvSpPr>
          <p:nvPr>
            <p:ph type="body" sz="quarter" idx="18" hasCustomPrompt="1"/>
          </p:nvPr>
        </p:nvSpPr>
        <p:spPr>
          <a:xfrm>
            <a:off x="1674329" y="5129214"/>
            <a:ext cx="10080000" cy="6904512"/>
          </a:xfrm>
        </p:spPr>
        <p:txBody>
          <a:bodyPr>
            <a:noAutofit/>
          </a:bodyPr>
          <a:lstStyle>
            <a:lvl1pPr>
              <a:spcBef>
                <a:spcPts val="2000"/>
              </a:spcBef>
              <a:defRPr sz="3200"/>
            </a:lvl1pPr>
          </a:lstStyle>
          <a:p>
            <a:pPr lvl="0"/>
            <a:r>
              <a:rPr lang="en-GB" noProof="0"/>
              <a:t>Put the first column text here, keep it regular 32 </a:t>
            </a:r>
            <a:r>
              <a:rPr lang="en-GB" noProof="0" err="1"/>
              <a:t>pt</a:t>
            </a:r>
            <a:endParaRPr lang="en-GB" noProof="0"/>
          </a:p>
        </p:txBody>
      </p:sp>
      <p:sp>
        <p:nvSpPr>
          <p:cNvPr id="12" name="Title 1">
            <a:extLst>
              <a:ext uri="{FF2B5EF4-FFF2-40B4-BE49-F238E27FC236}">
                <a16:creationId xmlns:a16="http://schemas.microsoft.com/office/drawing/2014/main" id="{E0055953-7F4C-2747-BE6A-BA18649898F4}"/>
              </a:ext>
            </a:extLst>
          </p:cNvPr>
          <p:cNvSpPr>
            <a:spLocks noGrp="1"/>
          </p:cNvSpPr>
          <p:nvPr>
            <p:ph type="title" hasCustomPrompt="1"/>
          </p:nvPr>
        </p:nvSpPr>
        <p:spPr>
          <a:xfrm>
            <a:off x="1676293" y="1677600"/>
            <a:ext cx="21033007" cy="3011660"/>
          </a:xfrm>
        </p:spPr>
        <p:txBody>
          <a:bodyPr/>
          <a:lstStyle/>
          <a:p>
            <a:r>
              <a:rPr lang="en-GB"/>
              <a:t>Put the headline here,</a:t>
            </a:r>
            <a:br>
              <a:rPr lang="en-GB"/>
            </a:br>
            <a:r>
              <a:rPr lang="en-GB"/>
              <a:t>keep it bold 80 </a:t>
            </a:r>
            <a:r>
              <a:rPr lang="en-GB" err="1"/>
              <a:t>pt</a:t>
            </a:r>
            <a:endParaRPr lang="en-NL"/>
          </a:p>
        </p:txBody>
      </p:sp>
      <p:sp>
        <p:nvSpPr>
          <p:cNvPr id="14" name="Text Placeholder 3">
            <a:extLst>
              <a:ext uri="{FF2B5EF4-FFF2-40B4-BE49-F238E27FC236}">
                <a16:creationId xmlns:a16="http://schemas.microsoft.com/office/drawing/2014/main" id="{5F720E9C-2098-114A-B6BC-477F05727234}"/>
              </a:ext>
            </a:extLst>
          </p:cNvPr>
          <p:cNvSpPr>
            <a:spLocks noGrp="1"/>
          </p:cNvSpPr>
          <p:nvPr>
            <p:ph type="body" sz="quarter" idx="19" hasCustomPrompt="1"/>
          </p:nvPr>
        </p:nvSpPr>
        <p:spPr>
          <a:xfrm>
            <a:off x="12628084" y="5129214"/>
            <a:ext cx="10080000" cy="6904512"/>
          </a:xfrm>
        </p:spPr>
        <p:txBody>
          <a:bodyPr>
            <a:noAutofit/>
          </a:bodyPr>
          <a:lstStyle>
            <a:lvl1pPr>
              <a:spcBef>
                <a:spcPts val="2000"/>
              </a:spcBef>
              <a:defRPr sz="3200"/>
            </a:lvl1pPr>
          </a:lstStyle>
          <a:p>
            <a:pPr lvl="0"/>
            <a:r>
              <a:rPr lang="en-GB" noProof="0"/>
              <a:t>Put the second column text here, keep it regular 32 </a:t>
            </a:r>
            <a:r>
              <a:rPr lang="en-GB" noProof="0" err="1"/>
              <a:t>pt</a:t>
            </a:r>
            <a:endParaRPr lang="en-GB" noProof="0"/>
          </a:p>
        </p:txBody>
      </p:sp>
      <p:sp>
        <p:nvSpPr>
          <p:cNvPr id="4" name="Footer Placeholder 3">
            <a:extLst>
              <a:ext uri="{FF2B5EF4-FFF2-40B4-BE49-F238E27FC236}">
                <a16:creationId xmlns:a16="http://schemas.microsoft.com/office/drawing/2014/main" id="{30B91129-2FC5-334C-9789-17535DAF1987}"/>
              </a:ext>
            </a:extLst>
          </p:cNvPr>
          <p:cNvSpPr>
            <a:spLocks noGrp="1"/>
          </p:cNvSpPr>
          <p:nvPr>
            <p:ph type="ftr" sz="quarter" idx="20"/>
          </p:nvPr>
        </p:nvSpPr>
        <p:spPr/>
        <p:txBody>
          <a:bodyPr/>
          <a:lstStyle/>
          <a:p>
            <a:endParaRPr lang="en-NL"/>
          </a:p>
        </p:txBody>
      </p:sp>
      <p:sp>
        <p:nvSpPr>
          <p:cNvPr id="9" name="TextBox 8">
            <a:extLst>
              <a:ext uri="{FF2B5EF4-FFF2-40B4-BE49-F238E27FC236}">
                <a16:creationId xmlns:a16="http://schemas.microsoft.com/office/drawing/2014/main" id="{1215165C-F26D-3544-AAD2-A26EE1B743AA}"/>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667233511"/>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ext in three columns">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F48D91E-AB60-4041-B4FC-3E50759777E5}"/>
              </a:ext>
            </a:extLst>
          </p:cNvPr>
          <p:cNvSpPr>
            <a:spLocks noGrp="1"/>
          </p:cNvSpPr>
          <p:nvPr>
            <p:ph type="title" hasCustomPrompt="1"/>
          </p:nvPr>
        </p:nvSpPr>
        <p:spPr>
          <a:xfrm>
            <a:off x="1676293" y="1677600"/>
            <a:ext cx="21033007" cy="3011660"/>
          </a:xfrm>
        </p:spPr>
        <p:txBody>
          <a:bodyPr/>
          <a:lstStyle/>
          <a:p>
            <a:r>
              <a:rPr lang="en-GB"/>
              <a:t>Put the headline here,</a:t>
            </a:r>
            <a:br>
              <a:rPr lang="en-GB"/>
            </a:br>
            <a:r>
              <a:rPr lang="en-GB"/>
              <a:t>keep it bold 80 </a:t>
            </a:r>
            <a:r>
              <a:rPr lang="en-GB" err="1"/>
              <a:t>pt</a:t>
            </a:r>
            <a:endParaRPr lang="en-NL"/>
          </a:p>
        </p:txBody>
      </p:sp>
      <p:sp>
        <p:nvSpPr>
          <p:cNvPr id="19" name="Text Placeholder 3">
            <a:extLst>
              <a:ext uri="{FF2B5EF4-FFF2-40B4-BE49-F238E27FC236}">
                <a16:creationId xmlns:a16="http://schemas.microsoft.com/office/drawing/2014/main" id="{292A3CC4-2948-634E-A9F0-D2126C8DA330}"/>
              </a:ext>
            </a:extLst>
          </p:cNvPr>
          <p:cNvSpPr>
            <a:spLocks noGrp="1"/>
          </p:cNvSpPr>
          <p:nvPr>
            <p:ph type="body" sz="quarter" idx="21" hasCustomPrompt="1"/>
          </p:nvPr>
        </p:nvSpPr>
        <p:spPr>
          <a:xfrm>
            <a:off x="9166226" y="5129214"/>
            <a:ext cx="6049964" cy="6904512"/>
          </a:xfrm>
        </p:spPr>
        <p:txBody>
          <a:bodyPr>
            <a:noAutofit/>
          </a:bodyPr>
          <a:lstStyle>
            <a:lvl1pPr marL="342883" indent="-342883">
              <a:spcBef>
                <a:spcPts val="2000"/>
              </a:spcBef>
              <a:buFont typeface="Arial" panose="020B0604020202020204" pitchFamily="34" charset="0"/>
              <a:buChar char="•"/>
              <a:defRPr sz="2400"/>
            </a:lvl1pPr>
          </a:lstStyle>
          <a:p>
            <a:pPr lvl="0"/>
            <a:r>
              <a:rPr lang="en-GB" noProof="0"/>
              <a:t>Put the second column list here, keep it regular 24 </a:t>
            </a:r>
            <a:r>
              <a:rPr lang="en-GB" noProof="0" err="1"/>
              <a:t>pt</a:t>
            </a:r>
            <a:endParaRPr lang="en-GB" noProof="0"/>
          </a:p>
        </p:txBody>
      </p:sp>
      <p:sp>
        <p:nvSpPr>
          <p:cNvPr id="20" name="Text Placeholder 3">
            <a:extLst>
              <a:ext uri="{FF2B5EF4-FFF2-40B4-BE49-F238E27FC236}">
                <a16:creationId xmlns:a16="http://schemas.microsoft.com/office/drawing/2014/main" id="{B772D797-9E99-7B44-81B1-A91F96DFFAD6}"/>
              </a:ext>
            </a:extLst>
          </p:cNvPr>
          <p:cNvSpPr>
            <a:spLocks noGrp="1"/>
          </p:cNvSpPr>
          <p:nvPr>
            <p:ph type="body" sz="quarter" idx="22" hasCustomPrompt="1"/>
          </p:nvPr>
        </p:nvSpPr>
        <p:spPr>
          <a:xfrm>
            <a:off x="1676292" y="5129214"/>
            <a:ext cx="6049964" cy="6904512"/>
          </a:xfrm>
        </p:spPr>
        <p:txBody>
          <a:bodyPr>
            <a:noAutofit/>
          </a:bodyPr>
          <a:lstStyle>
            <a:lvl1pPr marL="342883" indent="-342883">
              <a:spcBef>
                <a:spcPts val="2000"/>
              </a:spcBef>
              <a:buFont typeface="Arial" panose="020B0604020202020204" pitchFamily="34" charset="0"/>
              <a:buChar char="•"/>
              <a:defRPr sz="2400"/>
            </a:lvl1pPr>
          </a:lstStyle>
          <a:p>
            <a:pPr lvl="0"/>
            <a:r>
              <a:rPr lang="en-GB" noProof="0"/>
              <a:t>Put the first column list here, keep it regular 24 </a:t>
            </a:r>
            <a:r>
              <a:rPr lang="en-GB" noProof="0" err="1"/>
              <a:t>pt</a:t>
            </a:r>
            <a:endParaRPr lang="en-GB" noProof="0"/>
          </a:p>
        </p:txBody>
      </p:sp>
      <p:sp>
        <p:nvSpPr>
          <p:cNvPr id="21" name="Text Placeholder 3">
            <a:extLst>
              <a:ext uri="{FF2B5EF4-FFF2-40B4-BE49-F238E27FC236}">
                <a16:creationId xmlns:a16="http://schemas.microsoft.com/office/drawing/2014/main" id="{EA077ACA-637D-0643-8E1E-31E31C902655}"/>
              </a:ext>
            </a:extLst>
          </p:cNvPr>
          <p:cNvSpPr>
            <a:spLocks noGrp="1"/>
          </p:cNvSpPr>
          <p:nvPr>
            <p:ph type="body" sz="quarter" idx="23" hasCustomPrompt="1"/>
          </p:nvPr>
        </p:nvSpPr>
        <p:spPr>
          <a:xfrm>
            <a:off x="16656159" y="5129214"/>
            <a:ext cx="6049964" cy="6904512"/>
          </a:xfrm>
        </p:spPr>
        <p:txBody>
          <a:bodyPr>
            <a:noAutofit/>
          </a:bodyPr>
          <a:lstStyle>
            <a:lvl1pPr marL="342883" indent="-342883">
              <a:spcBef>
                <a:spcPts val="2000"/>
              </a:spcBef>
              <a:buFont typeface="Arial" panose="020B0604020202020204" pitchFamily="34" charset="0"/>
              <a:buChar char="•"/>
              <a:defRPr sz="2400"/>
            </a:lvl1pPr>
          </a:lstStyle>
          <a:p>
            <a:pPr lvl="0"/>
            <a:r>
              <a:rPr lang="en-GB" noProof="0"/>
              <a:t>Put the third column list here, keep it regular 24 </a:t>
            </a:r>
            <a:r>
              <a:rPr lang="en-GB" noProof="0" err="1"/>
              <a:t>pt</a:t>
            </a:r>
            <a:endParaRPr lang="en-GB" noProof="0"/>
          </a:p>
        </p:txBody>
      </p:sp>
      <p:sp>
        <p:nvSpPr>
          <p:cNvPr id="4" name="Footer Placeholder 3">
            <a:extLst>
              <a:ext uri="{FF2B5EF4-FFF2-40B4-BE49-F238E27FC236}">
                <a16:creationId xmlns:a16="http://schemas.microsoft.com/office/drawing/2014/main" id="{9F259679-D8E8-0F42-BB59-3BCBFC65EB1B}"/>
              </a:ext>
            </a:extLst>
          </p:cNvPr>
          <p:cNvSpPr>
            <a:spLocks noGrp="1"/>
          </p:cNvSpPr>
          <p:nvPr>
            <p:ph type="ftr" sz="quarter" idx="24"/>
          </p:nvPr>
        </p:nvSpPr>
        <p:spPr/>
        <p:txBody>
          <a:bodyPr/>
          <a:lstStyle/>
          <a:p>
            <a:endParaRPr lang="en-NL"/>
          </a:p>
        </p:txBody>
      </p:sp>
      <p:sp>
        <p:nvSpPr>
          <p:cNvPr id="10" name="TextBox 9">
            <a:extLst>
              <a:ext uri="{FF2B5EF4-FFF2-40B4-BE49-F238E27FC236}">
                <a16:creationId xmlns:a16="http://schemas.microsoft.com/office/drawing/2014/main" id="{F6C0470B-F20E-A142-917D-853951DA8234}"/>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73485483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Long text in two columns">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63367C8D-9B77-984C-8B9E-6950D34AC3FE}"/>
              </a:ext>
            </a:extLst>
          </p:cNvPr>
          <p:cNvSpPr>
            <a:spLocks noGrp="1"/>
          </p:cNvSpPr>
          <p:nvPr>
            <p:ph type="title" hasCustomPrompt="1"/>
          </p:nvPr>
        </p:nvSpPr>
        <p:spPr>
          <a:xfrm>
            <a:off x="1676293" y="1677600"/>
            <a:ext cx="21033007" cy="2446608"/>
          </a:xfrm>
        </p:spPr>
        <p:txBody>
          <a:bodyPr/>
          <a:lstStyle>
            <a:lvl1pPr>
              <a:defRPr sz="6000" spc="0" baseline="0"/>
            </a:lvl1pPr>
          </a:lstStyle>
          <a:p>
            <a:r>
              <a:rPr lang="en-GB"/>
              <a:t>Put the headline here, </a:t>
            </a:r>
            <a:br>
              <a:rPr lang="en-GB"/>
            </a:br>
            <a:r>
              <a:rPr lang="en-GB"/>
              <a:t>keep it bold 60 </a:t>
            </a:r>
            <a:r>
              <a:rPr lang="en-GB" err="1"/>
              <a:t>pt</a:t>
            </a:r>
            <a:endParaRPr lang="en-NL"/>
          </a:p>
        </p:txBody>
      </p:sp>
      <p:sp>
        <p:nvSpPr>
          <p:cNvPr id="10" name="Text Placeholder 3">
            <a:extLst>
              <a:ext uri="{FF2B5EF4-FFF2-40B4-BE49-F238E27FC236}">
                <a16:creationId xmlns:a16="http://schemas.microsoft.com/office/drawing/2014/main" id="{939100DF-247B-744C-82E5-5A131B43B255}"/>
              </a:ext>
            </a:extLst>
          </p:cNvPr>
          <p:cNvSpPr>
            <a:spLocks noGrp="1"/>
          </p:cNvSpPr>
          <p:nvPr>
            <p:ph type="body" sz="quarter" idx="18" hasCustomPrompt="1"/>
          </p:nvPr>
        </p:nvSpPr>
        <p:spPr>
          <a:xfrm>
            <a:off x="1674329" y="4124209"/>
            <a:ext cx="10080000" cy="7909518"/>
          </a:xfrm>
        </p:spPr>
        <p:txBody>
          <a:bodyPr>
            <a:noAutofit/>
          </a:bodyPr>
          <a:lstStyle>
            <a:lvl1pPr>
              <a:spcBef>
                <a:spcPts val="2000"/>
              </a:spcBef>
              <a:defRPr sz="2400"/>
            </a:lvl1pPr>
          </a:lstStyle>
          <a:p>
            <a:pPr lvl="0"/>
            <a:r>
              <a:rPr lang="en-GB" noProof="0"/>
              <a:t>Put the first column text here, keep it regular 24 </a:t>
            </a:r>
            <a:r>
              <a:rPr lang="en-GB" noProof="0" err="1"/>
              <a:t>pt</a:t>
            </a:r>
            <a:endParaRPr lang="en-GB" noProof="0"/>
          </a:p>
        </p:txBody>
      </p:sp>
      <p:sp>
        <p:nvSpPr>
          <p:cNvPr id="11" name="Text Placeholder 3">
            <a:extLst>
              <a:ext uri="{FF2B5EF4-FFF2-40B4-BE49-F238E27FC236}">
                <a16:creationId xmlns:a16="http://schemas.microsoft.com/office/drawing/2014/main" id="{9CCF0755-F145-EA44-8033-C854ED47EF7D}"/>
              </a:ext>
            </a:extLst>
          </p:cNvPr>
          <p:cNvSpPr>
            <a:spLocks noGrp="1"/>
          </p:cNvSpPr>
          <p:nvPr>
            <p:ph type="body" sz="quarter" idx="20" hasCustomPrompt="1"/>
          </p:nvPr>
        </p:nvSpPr>
        <p:spPr>
          <a:xfrm>
            <a:off x="12628084" y="4124209"/>
            <a:ext cx="10080000" cy="7909518"/>
          </a:xfrm>
        </p:spPr>
        <p:txBody>
          <a:bodyPr>
            <a:noAutofit/>
          </a:bodyPr>
          <a:lstStyle>
            <a:lvl1pPr>
              <a:spcBef>
                <a:spcPts val="2000"/>
              </a:spcBef>
              <a:defRPr sz="2400"/>
            </a:lvl1pPr>
          </a:lstStyle>
          <a:p>
            <a:pPr lvl="0"/>
            <a:r>
              <a:rPr lang="en-GB" noProof="0"/>
              <a:t>Put the second column text here, keep it regular 24 </a:t>
            </a:r>
            <a:r>
              <a:rPr lang="en-GB" noProof="0" err="1"/>
              <a:t>pt</a:t>
            </a:r>
            <a:endParaRPr lang="en-GB" noProof="0"/>
          </a:p>
        </p:txBody>
      </p:sp>
      <p:sp>
        <p:nvSpPr>
          <p:cNvPr id="4" name="Footer Placeholder 3">
            <a:extLst>
              <a:ext uri="{FF2B5EF4-FFF2-40B4-BE49-F238E27FC236}">
                <a16:creationId xmlns:a16="http://schemas.microsoft.com/office/drawing/2014/main" id="{513A86D6-E57E-5649-8AF5-453D2B2B151A}"/>
              </a:ext>
            </a:extLst>
          </p:cNvPr>
          <p:cNvSpPr>
            <a:spLocks noGrp="1"/>
          </p:cNvSpPr>
          <p:nvPr>
            <p:ph type="ftr" sz="quarter" idx="21"/>
          </p:nvPr>
        </p:nvSpPr>
        <p:spPr/>
        <p:txBody>
          <a:bodyPr/>
          <a:lstStyle/>
          <a:p>
            <a:endParaRPr lang="en-NL"/>
          </a:p>
        </p:txBody>
      </p:sp>
      <p:sp>
        <p:nvSpPr>
          <p:cNvPr id="13" name="TextBox 12">
            <a:extLst>
              <a:ext uri="{FF2B5EF4-FFF2-40B4-BE49-F238E27FC236}">
                <a16:creationId xmlns:a16="http://schemas.microsoft.com/office/drawing/2014/main" id="{F69A19F4-DC87-0B48-B9A2-A753D080F470}"/>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8446714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cus areas 2">
    <p:spTree>
      <p:nvGrpSpPr>
        <p:cNvPr id="1" name=""/>
        <p:cNvGrpSpPr/>
        <p:nvPr/>
      </p:nvGrpSpPr>
      <p:grpSpPr>
        <a:xfrm>
          <a:off x="0" y="0"/>
          <a:ext cx="0" cy="0"/>
          <a:chOff x="0" y="0"/>
          <a:chExt cx="0" cy="0"/>
        </a:xfrm>
      </p:grpSpPr>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9166224" y="4124207"/>
            <a:ext cx="6049963" cy="4462581"/>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6" name="Text Placeholder 5">
            <a:extLst>
              <a:ext uri="{FF2B5EF4-FFF2-40B4-BE49-F238E27FC236}">
                <a16:creationId xmlns:a16="http://schemas.microsoft.com/office/drawing/2014/main" id="{50C5C652-3240-6341-9095-4EF7D7DC26F2}"/>
              </a:ext>
            </a:extLst>
          </p:cNvPr>
          <p:cNvSpPr>
            <a:spLocks noGrp="1"/>
          </p:cNvSpPr>
          <p:nvPr>
            <p:ph type="body" sz="quarter" idx="30" hasCustomPrompt="1"/>
          </p:nvPr>
        </p:nvSpPr>
        <p:spPr>
          <a:xfrm>
            <a:off x="9166225" y="9162256"/>
            <a:ext cx="6049963" cy="2880519"/>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18" name="Picture Placeholder 2">
            <a:extLst>
              <a:ext uri="{FF2B5EF4-FFF2-40B4-BE49-F238E27FC236}">
                <a16:creationId xmlns:a16="http://schemas.microsoft.com/office/drawing/2014/main" id="{CA5C6F99-363F-0A44-B903-36748B19D967}"/>
              </a:ext>
            </a:extLst>
          </p:cNvPr>
          <p:cNvSpPr>
            <a:spLocks noGrp="1"/>
          </p:cNvSpPr>
          <p:nvPr>
            <p:ph type="pic" sz="quarter" idx="32" hasCustomPrompt="1"/>
          </p:nvPr>
        </p:nvSpPr>
        <p:spPr>
          <a:xfrm>
            <a:off x="1673111" y="4124207"/>
            <a:ext cx="6049963" cy="4462581"/>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0" name="Text Placeholder 5">
            <a:extLst>
              <a:ext uri="{FF2B5EF4-FFF2-40B4-BE49-F238E27FC236}">
                <a16:creationId xmlns:a16="http://schemas.microsoft.com/office/drawing/2014/main" id="{75455B56-07F2-2943-AFDE-22F2A9DF65C4}"/>
              </a:ext>
            </a:extLst>
          </p:cNvPr>
          <p:cNvSpPr>
            <a:spLocks noGrp="1"/>
          </p:cNvSpPr>
          <p:nvPr>
            <p:ph type="body" sz="quarter" idx="33" hasCustomPrompt="1"/>
          </p:nvPr>
        </p:nvSpPr>
        <p:spPr>
          <a:xfrm>
            <a:off x="1673112" y="9162256"/>
            <a:ext cx="6049963" cy="2880519"/>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21" name="Picture Placeholder 2">
            <a:extLst>
              <a:ext uri="{FF2B5EF4-FFF2-40B4-BE49-F238E27FC236}">
                <a16:creationId xmlns:a16="http://schemas.microsoft.com/office/drawing/2014/main" id="{2F983719-8E56-644B-87F9-AA87D0158471}"/>
              </a:ext>
            </a:extLst>
          </p:cNvPr>
          <p:cNvSpPr>
            <a:spLocks noGrp="1"/>
          </p:cNvSpPr>
          <p:nvPr>
            <p:ph type="pic" sz="quarter" idx="34" hasCustomPrompt="1"/>
          </p:nvPr>
        </p:nvSpPr>
        <p:spPr>
          <a:xfrm>
            <a:off x="16656157" y="4124207"/>
            <a:ext cx="6049963" cy="4462581"/>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2" name="Text Placeholder 5">
            <a:extLst>
              <a:ext uri="{FF2B5EF4-FFF2-40B4-BE49-F238E27FC236}">
                <a16:creationId xmlns:a16="http://schemas.microsoft.com/office/drawing/2014/main" id="{CAE497B4-C614-C44B-94BA-C3BDE7D75DEC}"/>
              </a:ext>
            </a:extLst>
          </p:cNvPr>
          <p:cNvSpPr>
            <a:spLocks noGrp="1"/>
          </p:cNvSpPr>
          <p:nvPr>
            <p:ph type="body" sz="quarter" idx="35" hasCustomPrompt="1"/>
          </p:nvPr>
        </p:nvSpPr>
        <p:spPr>
          <a:xfrm>
            <a:off x="16656158" y="9162256"/>
            <a:ext cx="6049963" cy="2880519"/>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2" name="Title 1">
            <a:extLst>
              <a:ext uri="{FF2B5EF4-FFF2-40B4-BE49-F238E27FC236}">
                <a16:creationId xmlns:a16="http://schemas.microsoft.com/office/drawing/2014/main" id="{B714AECF-762E-AF4B-AE68-4E3BB8D405CD}"/>
              </a:ext>
            </a:extLst>
          </p:cNvPr>
          <p:cNvSpPr>
            <a:spLocks noGrp="1"/>
          </p:cNvSpPr>
          <p:nvPr>
            <p:ph type="title" hasCustomPrompt="1"/>
          </p:nvPr>
        </p:nvSpPr>
        <p:spPr>
          <a:xfrm>
            <a:off x="1676293" y="1677600"/>
            <a:ext cx="21033007" cy="1724413"/>
          </a:xfrm>
        </p:spPr>
        <p:txBody>
          <a:bodyPr/>
          <a:lstStyle/>
          <a:p>
            <a:r>
              <a:rPr lang="en-GB"/>
              <a:t>Focus areas</a:t>
            </a:r>
            <a:endParaRPr lang="en-NL"/>
          </a:p>
        </p:txBody>
      </p:sp>
      <p:sp>
        <p:nvSpPr>
          <p:cNvPr id="6" name="Footer Placeholder 5">
            <a:extLst>
              <a:ext uri="{FF2B5EF4-FFF2-40B4-BE49-F238E27FC236}">
                <a16:creationId xmlns:a16="http://schemas.microsoft.com/office/drawing/2014/main" id="{905FD5AF-E14D-EF49-88A1-61AE79880A4D}"/>
              </a:ext>
            </a:extLst>
          </p:cNvPr>
          <p:cNvSpPr>
            <a:spLocks noGrp="1"/>
          </p:cNvSpPr>
          <p:nvPr>
            <p:ph type="ftr" sz="quarter" idx="36"/>
          </p:nvPr>
        </p:nvSpPr>
        <p:spPr/>
        <p:txBody>
          <a:bodyPr/>
          <a:lstStyle/>
          <a:p>
            <a:endParaRPr lang="en-NL"/>
          </a:p>
        </p:txBody>
      </p:sp>
      <p:sp>
        <p:nvSpPr>
          <p:cNvPr id="14" name="TextBox 13">
            <a:extLst>
              <a:ext uri="{FF2B5EF4-FFF2-40B4-BE49-F238E27FC236}">
                <a16:creationId xmlns:a16="http://schemas.microsoft.com/office/drawing/2014/main" id="{7DDFA0A1-FCD3-7344-8E11-BA02D0C38EE6}"/>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033628218"/>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Long text in two columns and picture">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EED5078-C5D9-0E4F-B9E3-7CF7BBC8C373}"/>
              </a:ext>
            </a:extLst>
          </p:cNvPr>
          <p:cNvSpPr>
            <a:spLocks noGrp="1"/>
          </p:cNvSpPr>
          <p:nvPr>
            <p:ph type="pic" sz="quarter" idx="15" hasCustomPrompt="1"/>
          </p:nvPr>
        </p:nvSpPr>
        <p:spPr>
          <a:xfrm>
            <a:off x="491102" y="486000"/>
            <a:ext cx="10763999"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2" name="Text Placeholder 3">
            <a:extLst>
              <a:ext uri="{FF2B5EF4-FFF2-40B4-BE49-F238E27FC236}">
                <a16:creationId xmlns:a16="http://schemas.microsoft.com/office/drawing/2014/main" id="{AE87E5A1-8A67-0448-BA9A-DA74F50AE099}"/>
              </a:ext>
            </a:extLst>
          </p:cNvPr>
          <p:cNvSpPr>
            <a:spLocks noGrp="1"/>
          </p:cNvSpPr>
          <p:nvPr>
            <p:ph type="body" sz="quarter" idx="18" hasCustomPrompt="1"/>
          </p:nvPr>
        </p:nvSpPr>
        <p:spPr>
          <a:xfrm>
            <a:off x="12191206" y="5129214"/>
            <a:ext cx="5040560" cy="6904512"/>
          </a:xfrm>
        </p:spPr>
        <p:txBody>
          <a:bodyPr>
            <a:noAutofit/>
          </a:bodyPr>
          <a:lstStyle>
            <a:lvl1pPr>
              <a:spcBef>
                <a:spcPts val="2000"/>
              </a:spcBef>
              <a:defRPr sz="2400"/>
            </a:lvl1pPr>
          </a:lstStyle>
          <a:p>
            <a:pPr lvl="0"/>
            <a:r>
              <a:rPr lang="en-GB" noProof="0"/>
              <a:t>Put the first column text here, keep it regular 24 </a:t>
            </a:r>
            <a:r>
              <a:rPr lang="en-GB" noProof="0" err="1"/>
              <a:t>pt</a:t>
            </a:r>
            <a:endParaRPr lang="en-GB" noProof="0"/>
          </a:p>
        </p:txBody>
      </p:sp>
      <p:sp>
        <p:nvSpPr>
          <p:cNvPr id="13" name="Title 1">
            <a:extLst>
              <a:ext uri="{FF2B5EF4-FFF2-40B4-BE49-F238E27FC236}">
                <a16:creationId xmlns:a16="http://schemas.microsoft.com/office/drawing/2014/main" id="{0614539B-EA7E-5F48-845E-1115C11137DF}"/>
              </a:ext>
            </a:extLst>
          </p:cNvPr>
          <p:cNvSpPr>
            <a:spLocks noGrp="1"/>
          </p:cNvSpPr>
          <p:nvPr>
            <p:ph type="title" hasCustomPrompt="1"/>
          </p:nvPr>
        </p:nvSpPr>
        <p:spPr>
          <a:xfrm>
            <a:off x="12193171" y="1677600"/>
            <a:ext cx="10514914" cy="3011660"/>
          </a:xfrm>
        </p:spPr>
        <p:txBody>
          <a:bodyPr/>
          <a:lstStyle>
            <a:lvl1pPr>
              <a:defRPr sz="6000" spc="0" baseline="0"/>
            </a:lvl1pPr>
          </a:lstStyle>
          <a:p>
            <a:r>
              <a:rPr lang="en-GB"/>
              <a:t>Put the headline here, keep it 60 </a:t>
            </a:r>
            <a:r>
              <a:rPr lang="en-GB" err="1"/>
              <a:t>pt</a:t>
            </a:r>
            <a:endParaRPr lang="en-NL"/>
          </a:p>
        </p:txBody>
      </p:sp>
      <p:sp>
        <p:nvSpPr>
          <p:cNvPr id="7" name="Text Placeholder 3">
            <a:extLst>
              <a:ext uri="{FF2B5EF4-FFF2-40B4-BE49-F238E27FC236}">
                <a16:creationId xmlns:a16="http://schemas.microsoft.com/office/drawing/2014/main" id="{B26CACA4-13A0-5940-A8FA-3FC8769DA450}"/>
              </a:ext>
            </a:extLst>
          </p:cNvPr>
          <p:cNvSpPr>
            <a:spLocks noGrp="1"/>
          </p:cNvSpPr>
          <p:nvPr>
            <p:ph type="body" sz="quarter" idx="20" hasCustomPrompt="1"/>
          </p:nvPr>
        </p:nvSpPr>
        <p:spPr>
          <a:xfrm>
            <a:off x="17653543" y="5164142"/>
            <a:ext cx="5040560" cy="6904512"/>
          </a:xfrm>
        </p:spPr>
        <p:txBody>
          <a:bodyPr>
            <a:noAutofit/>
          </a:bodyPr>
          <a:lstStyle>
            <a:lvl1pPr>
              <a:spcBef>
                <a:spcPts val="2000"/>
              </a:spcBef>
              <a:defRPr sz="2400"/>
            </a:lvl1pPr>
          </a:lstStyle>
          <a:p>
            <a:pPr lvl="0"/>
            <a:r>
              <a:rPr lang="en-GB" noProof="0"/>
              <a:t>Put the second column text here, keep it regular 24 </a:t>
            </a:r>
            <a:r>
              <a:rPr lang="en-GB" noProof="0" err="1"/>
              <a:t>pt</a:t>
            </a:r>
            <a:endParaRPr lang="en-GB" noProof="0"/>
          </a:p>
        </p:txBody>
      </p:sp>
      <p:sp>
        <p:nvSpPr>
          <p:cNvPr id="4" name="Footer Placeholder 3">
            <a:extLst>
              <a:ext uri="{FF2B5EF4-FFF2-40B4-BE49-F238E27FC236}">
                <a16:creationId xmlns:a16="http://schemas.microsoft.com/office/drawing/2014/main" id="{236B4C3F-2345-FD42-B780-BD49D67130E9}"/>
              </a:ext>
            </a:extLst>
          </p:cNvPr>
          <p:cNvSpPr>
            <a:spLocks noGrp="1"/>
          </p:cNvSpPr>
          <p:nvPr>
            <p:ph type="ftr" sz="quarter" idx="21"/>
          </p:nvPr>
        </p:nvSpPr>
        <p:spPr/>
        <p:txBody>
          <a:bodyPr/>
          <a:lstStyle/>
          <a:p>
            <a:endParaRPr lang="en-NL"/>
          </a:p>
        </p:txBody>
      </p:sp>
      <p:sp>
        <p:nvSpPr>
          <p:cNvPr id="11" name="TextBox 10">
            <a:extLst>
              <a:ext uri="{FF2B5EF4-FFF2-40B4-BE49-F238E27FC236}">
                <a16:creationId xmlns:a16="http://schemas.microsoft.com/office/drawing/2014/main" id="{2C18B1BF-0727-F84E-B2A7-098862261928}"/>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403958841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Long text in three columns and picture">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EED5078-C5D9-0E4F-B9E3-7CF7BBC8C373}"/>
              </a:ext>
            </a:extLst>
          </p:cNvPr>
          <p:cNvSpPr>
            <a:spLocks noGrp="1"/>
          </p:cNvSpPr>
          <p:nvPr>
            <p:ph type="pic" sz="quarter" idx="15" hasCustomPrompt="1"/>
          </p:nvPr>
        </p:nvSpPr>
        <p:spPr>
          <a:xfrm>
            <a:off x="491103" y="486000"/>
            <a:ext cx="5579499"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2" name="Text Placeholder 3">
            <a:extLst>
              <a:ext uri="{FF2B5EF4-FFF2-40B4-BE49-F238E27FC236}">
                <a16:creationId xmlns:a16="http://schemas.microsoft.com/office/drawing/2014/main" id="{AE87E5A1-8A67-0448-BA9A-DA74F50AE099}"/>
              </a:ext>
            </a:extLst>
          </p:cNvPr>
          <p:cNvSpPr>
            <a:spLocks noGrp="1"/>
          </p:cNvSpPr>
          <p:nvPr>
            <p:ph type="body" sz="quarter" idx="18" hasCustomPrompt="1"/>
          </p:nvPr>
        </p:nvSpPr>
        <p:spPr>
          <a:xfrm>
            <a:off x="12191206" y="5129214"/>
            <a:ext cx="5040560" cy="6904512"/>
          </a:xfrm>
        </p:spPr>
        <p:txBody>
          <a:bodyPr>
            <a:noAutofit/>
          </a:bodyPr>
          <a:lstStyle>
            <a:lvl1pPr>
              <a:spcBef>
                <a:spcPts val="2000"/>
              </a:spcBef>
              <a:defRPr sz="1600"/>
            </a:lvl1pPr>
          </a:lstStyle>
          <a:p>
            <a:pPr lvl="0"/>
            <a:r>
              <a:rPr lang="en-GB" noProof="0"/>
              <a:t>Put the body text here, keep it regular 16 </a:t>
            </a:r>
            <a:r>
              <a:rPr lang="en-GB" noProof="0" err="1"/>
              <a:t>pt</a:t>
            </a:r>
            <a:endParaRPr lang="en-GB" noProof="0"/>
          </a:p>
        </p:txBody>
      </p:sp>
      <p:sp>
        <p:nvSpPr>
          <p:cNvPr id="13" name="Title 1">
            <a:extLst>
              <a:ext uri="{FF2B5EF4-FFF2-40B4-BE49-F238E27FC236}">
                <a16:creationId xmlns:a16="http://schemas.microsoft.com/office/drawing/2014/main" id="{0614539B-EA7E-5F48-845E-1115C11137DF}"/>
              </a:ext>
            </a:extLst>
          </p:cNvPr>
          <p:cNvSpPr>
            <a:spLocks noGrp="1"/>
          </p:cNvSpPr>
          <p:nvPr>
            <p:ph type="title" hasCustomPrompt="1"/>
          </p:nvPr>
        </p:nvSpPr>
        <p:spPr>
          <a:xfrm>
            <a:off x="6728871" y="1677600"/>
            <a:ext cx="15979214" cy="3011660"/>
          </a:xfrm>
        </p:spPr>
        <p:txBody>
          <a:bodyPr/>
          <a:lstStyle>
            <a:lvl1pPr>
              <a:defRPr sz="6000" spc="0" baseline="0"/>
            </a:lvl1pPr>
          </a:lstStyle>
          <a:p>
            <a:r>
              <a:rPr lang="en-GB"/>
              <a:t>Put the headline here, </a:t>
            </a:r>
            <a:br>
              <a:rPr lang="en-GB"/>
            </a:br>
            <a:r>
              <a:rPr lang="en-GB"/>
              <a:t>keep it 60 </a:t>
            </a:r>
            <a:r>
              <a:rPr lang="en-GB" err="1"/>
              <a:t>pt</a:t>
            </a:r>
            <a:endParaRPr lang="en-NL"/>
          </a:p>
        </p:txBody>
      </p:sp>
      <p:sp>
        <p:nvSpPr>
          <p:cNvPr id="7" name="Text Placeholder 3">
            <a:extLst>
              <a:ext uri="{FF2B5EF4-FFF2-40B4-BE49-F238E27FC236}">
                <a16:creationId xmlns:a16="http://schemas.microsoft.com/office/drawing/2014/main" id="{B26CACA4-13A0-5940-A8FA-3FC8769DA450}"/>
              </a:ext>
            </a:extLst>
          </p:cNvPr>
          <p:cNvSpPr>
            <a:spLocks noGrp="1"/>
          </p:cNvSpPr>
          <p:nvPr>
            <p:ph type="body" sz="quarter" idx="20" hasCustomPrompt="1"/>
          </p:nvPr>
        </p:nvSpPr>
        <p:spPr>
          <a:xfrm>
            <a:off x="17653543" y="5164142"/>
            <a:ext cx="5040560" cy="6904512"/>
          </a:xfrm>
        </p:spPr>
        <p:txBody>
          <a:bodyPr>
            <a:noAutofit/>
          </a:bodyPr>
          <a:lstStyle>
            <a:lvl1pPr>
              <a:spcBef>
                <a:spcPts val="2000"/>
              </a:spcBef>
              <a:defRPr sz="1600"/>
            </a:lvl1pPr>
          </a:lstStyle>
          <a:p>
            <a:pPr lvl="0"/>
            <a:r>
              <a:rPr lang="en-GB" noProof="0"/>
              <a:t>Put the body text here, keep it regular 16 </a:t>
            </a:r>
            <a:r>
              <a:rPr lang="en-GB" noProof="0" err="1"/>
              <a:t>pt</a:t>
            </a:r>
            <a:endParaRPr lang="en-GB" noProof="0"/>
          </a:p>
        </p:txBody>
      </p:sp>
      <p:sp>
        <p:nvSpPr>
          <p:cNvPr id="8" name="Text Placeholder 3">
            <a:extLst>
              <a:ext uri="{FF2B5EF4-FFF2-40B4-BE49-F238E27FC236}">
                <a16:creationId xmlns:a16="http://schemas.microsoft.com/office/drawing/2014/main" id="{0C7CE63B-C4F3-714B-8275-BBB3C3035E61}"/>
              </a:ext>
            </a:extLst>
          </p:cNvPr>
          <p:cNvSpPr>
            <a:spLocks noGrp="1"/>
          </p:cNvSpPr>
          <p:nvPr>
            <p:ph type="body" sz="quarter" idx="21" hasCustomPrompt="1"/>
          </p:nvPr>
        </p:nvSpPr>
        <p:spPr>
          <a:xfrm>
            <a:off x="6728870" y="5129214"/>
            <a:ext cx="5040560" cy="6904512"/>
          </a:xfrm>
        </p:spPr>
        <p:txBody>
          <a:bodyPr>
            <a:noAutofit/>
          </a:bodyPr>
          <a:lstStyle>
            <a:lvl1pPr>
              <a:spcBef>
                <a:spcPts val="2000"/>
              </a:spcBef>
              <a:defRPr sz="1600"/>
            </a:lvl1pPr>
          </a:lstStyle>
          <a:p>
            <a:pPr lvl="0"/>
            <a:r>
              <a:rPr lang="en-GB" noProof="0"/>
              <a:t>Put the body text here, keep it regular 16 </a:t>
            </a:r>
            <a:r>
              <a:rPr lang="en-GB" noProof="0" err="1"/>
              <a:t>pt</a:t>
            </a:r>
            <a:endParaRPr lang="en-GB" noProof="0"/>
          </a:p>
        </p:txBody>
      </p:sp>
      <p:sp>
        <p:nvSpPr>
          <p:cNvPr id="4" name="Footer Placeholder 3">
            <a:extLst>
              <a:ext uri="{FF2B5EF4-FFF2-40B4-BE49-F238E27FC236}">
                <a16:creationId xmlns:a16="http://schemas.microsoft.com/office/drawing/2014/main" id="{4194F0DB-380C-DF44-86E3-D79D56DFF85C}"/>
              </a:ext>
            </a:extLst>
          </p:cNvPr>
          <p:cNvSpPr>
            <a:spLocks noGrp="1"/>
          </p:cNvSpPr>
          <p:nvPr>
            <p:ph type="ftr" sz="quarter" idx="22"/>
          </p:nvPr>
        </p:nvSpPr>
        <p:spPr/>
        <p:txBody>
          <a:bodyPr/>
          <a:lstStyle/>
          <a:p>
            <a:endParaRPr lang="en-NL"/>
          </a:p>
        </p:txBody>
      </p:sp>
      <p:sp>
        <p:nvSpPr>
          <p:cNvPr id="11" name="TextBox 10">
            <a:extLst>
              <a:ext uri="{FF2B5EF4-FFF2-40B4-BE49-F238E27FC236}">
                <a16:creationId xmlns:a16="http://schemas.microsoft.com/office/drawing/2014/main" id="{8382B125-311F-9F4E-88E7-2B54BB6A3B94}"/>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98665587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Long text in one column and picture">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6790607" y="486000"/>
            <a:ext cx="17100705"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1674330" y="5129214"/>
            <a:ext cx="4394308" cy="6904512"/>
          </a:xfrm>
        </p:spPr>
        <p:txBody>
          <a:bodyPr>
            <a:noAutofit/>
          </a:bodyPr>
          <a:lstStyle>
            <a:lvl1pPr>
              <a:spcBef>
                <a:spcPts val="2000"/>
              </a:spcBef>
              <a:defRPr sz="2400"/>
            </a:lvl1pPr>
          </a:lstStyle>
          <a:p>
            <a:pPr lvl="0"/>
            <a:r>
              <a:rPr lang="en-GB" noProof="0"/>
              <a:t>Put the paragraph text here, keep it regular 24 </a:t>
            </a:r>
            <a:r>
              <a:rPr lang="en-GB" noProof="0" err="1"/>
              <a:t>pt</a:t>
            </a:r>
            <a:endParaRPr lang="en-GB" noProof="0"/>
          </a:p>
        </p:txBody>
      </p:sp>
      <p:sp>
        <p:nvSpPr>
          <p:cNvPr id="2" name="Title 1">
            <a:extLst>
              <a:ext uri="{FF2B5EF4-FFF2-40B4-BE49-F238E27FC236}">
                <a16:creationId xmlns:a16="http://schemas.microsoft.com/office/drawing/2014/main" id="{44A2E15B-0973-F742-A266-E1107E35FE40}"/>
              </a:ext>
            </a:extLst>
          </p:cNvPr>
          <p:cNvSpPr>
            <a:spLocks noGrp="1"/>
          </p:cNvSpPr>
          <p:nvPr>
            <p:ph type="title" hasCustomPrompt="1"/>
          </p:nvPr>
        </p:nvSpPr>
        <p:spPr>
          <a:xfrm>
            <a:off x="1676294" y="1677600"/>
            <a:ext cx="4394308" cy="3011660"/>
          </a:xfrm>
        </p:spPr>
        <p:txBody>
          <a:bodyPr/>
          <a:lstStyle>
            <a:lvl1pPr>
              <a:defRPr sz="4000" spc="0" baseline="0"/>
            </a:lvl1pPr>
          </a:lstStyle>
          <a:p>
            <a:r>
              <a:rPr lang="en-GB"/>
              <a:t>Put the headline here, keep it bold 40 </a:t>
            </a:r>
            <a:r>
              <a:rPr lang="en-GB" err="1"/>
              <a:t>pt</a:t>
            </a:r>
            <a:endParaRPr lang="en-NL"/>
          </a:p>
        </p:txBody>
      </p:sp>
      <p:sp>
        <p:nvSpPr>
          <p:cNvPr id="7" name="Footer Placeholder 6">
            <a:extLst>
              <a:ext uri="{FF2B5EF4-FFF2-40B4-BE49-F238E27FC236}">
                <a16:creationId xmlns:a16="http://schemas.microsoft.com/office/drawing/2014/main" id="{BDFCBB05-AE3F-8B46-8B28-FBA47A7B8DF9}"/>
              </a:ext>
            </a:extLst>
          </p:cNvPr>
          <p:cNvSpPr>
            <a:spLocks noGrp="1"/>
          </p:cNvSpPr>
          <p:nvPr>
            <p:ph type="ftr" sz="quarter" idx="19"/>
          </p:nvPr>
        </p:nvSpPr>
        <p:spPr/>
        <p:txBody>
          <a:bodyPr/>
          <a:lstStyle/>
          <a:p>
            <a:endParaRPr lang="en-NL"/>
          </a:p>
        </p:txBody>
      </p:sp>
      <p:sp>
        <p:nvSpPr>
          <p:cNvPr id="10" name="TextBox 9">
            <a:extLst>
              <a:ext uri="{FF2B5EF4-FFF2-40B4-BE49-F238E27FC236}">
                <a16:creationId xmlns:a16="http://schemas.microsoft.com/office/drawing/2014/main" id="{1A281C68-F05E-474E-B89A-873F6871F7AE}"/>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59021823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Process">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0D2B4B01-8F71-1C43-804A-AE91ACAAB690}"/>
              </a:ext>
            </a:extLst>
          </p:cNvPr>
          <p:cNvSpPr>
            <a:spLocks noGrp="1"/>
          </p:cNvSpPr>
          <p:nvPr>
            <p:ph type="body" sz="quarter" idx="12" hasCustomPrompt="1"/>
          </p:nvPr>
        </p:nvSpPr>
        <p:spPr>
          <a:xfrm>
            <a:off x="3046414" y="7723207"/>
            <a:ext cx="3024187" cy="1727166"/>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3" name="Title 2">
            <a:extLst>
              <a:ext uri="{FF2B5EF4-FFF2-40B4-BE49-F238E27FC236}">
                <a16:creationId xmlns:a16="http://schemas.microsoft.com/office/drawing/2014/main" id="{6E79ED74-1833-CD4B-828E-58428E0E2A1D}"/>
              </a:ext>
            </a:extLst>
          </p:cNvPr>
          <p:cNvSpPr>
            <a:spLocks noGrp="1"/>
          </p:cNvSpPr>
          <p:nvPr>
            <p:ph type="title" hasCustomPrompt="1"/>
          </p:nvPr>
        </p:nvSpPr>
        <p:spPr>
          <a:xfrm>
            <a:off x="1676293" y="1677603"/>
            <a:ext cx="21033007" cy="1722906"/>
          </a:xfrm>
        </p:spPr>
        <p:txBody>
          <a:bodyPr/>
          <a:lstStyle/>
          <a:p>
            <a:r>
              <a:rPr lang="en-GB"/>
              <a:t>Process</a:t>
            </a:r>
            <a:endParaRPr lang="en-NL"/>
          </a:p>
        </p:txBody>
      </p:sp>
      <p:cxnSp>
        <p:nvCxnSpPr>
          <p:cNvPr id="5" name="Straight Arrow Connector 4">
            <a:extLst>
              <a:ext uri="{FF2B5EF4-FFF2-40B4-BE49-F238E27FC236}">
                <a16:creationId xmlns:a16="http://schemas.microsoft.com/office/drawing/2014/main" id="{0798A829-D289-394A-914F-EDD8D97B2357}"/>
              </a:ext>
            </a:extLst>
          </p:cNvPr>
          <p:cNvCxnSpPr>
            <a:cxnSpLocks/>
          </p:cNvCxnSpPr>
          <p:nvPr userDrawn="1"/>
        </p:nvCxnSpPr>
        <p:spPr>
          <a:xfrm>
            <a:off x="1674704" y="6858000"/>
            <a:ext cx="21033009" cy="0"/>
          </a:xfrm>
          <a:prstGeom prst="straightConnector1">
            <a:avLst/>
          </a:prstGeom>
          <a:ln w="190500">
            <a:solidFill>
              <a:schemeClr val="bg2"/>
            </a:solidFill>
            <a:tailEnd type="none" w="med" len="sm"/>
          </a:ln>
        </p:spPr>
        <p:style>
          <a:lnRef idx="1">
            <a:schemeClr val="accent1"/>
          </a:lnRef>
          <a:fillRef idx="0">
            <a:schemeClr val="accent1"/>
          </a:fillRef>
          <a:effectRef idx="0">
            <a:schemeClr val="accent1"/>
          </a:effectRef>
          <a:fontRef idx="minor">
            <a:schemeClr val="tx1"/>
          </a:fontRef>
        </p:style>
      </p:cxnSp>
      <p:sp>
        <p:nvSpPr>
          <p:cNvPr id="37" name="L-shape 36">
            <a:extLst>
              <a:ext uri="{FF2B5EF4-FFF2-40B4-BE49-F238E27FC236}">
                <a16:creationId xmlns:a16="http://schemas.microsoft.com/office/drawing/2014/main" id="{A3A516EF-4158-0845-AB22-B4F71119802B}"/>
              </a:ext>
            </a:extLst>
          </p:cNvPr>
          <p:cNvSpPr/>
          <p:nvPr userDrawn="1"/>
        </p:nvSpPr>
        <p:spPr>
          <a:xfrm rot="13500000">
            <a:off x="21934797" y="6498003"/>
            <a:ext cx="720000" cy="719999"/>
          </a:xfrm>
          <a:prstGeom prst="corner">
            <a:avLst>
              <a:gd name="adj1" fmla="val 26540"/>
              <a:gd name="adj2" fmla="val 2661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algn="ctr"/>
            <a:endParaRPr lang="en-NL" sz="1800"/>
          </a:p>
        </p:txBody>
      </p:sp>
      <p:sp>
        <p:nvSpPr>
          <p:cNvPr id="38" name="Text Placeholder 5">
            <a:extLst>
              <a:ext uri="{FF2B5EF4-FFF2-40B4-BE49-F238E27FC236}">
                <a16:creationId xmlns:a16="http://schemas.microsoft.com/office/drawing/2014/main" id="{DDC37633-16B3-3744-A593-529313A8F214}"/>
              </a:ext>
            </a:extLst>
          </p:cNvPr>
          <p:cNvSpPr>
            <a:spLocks noGrp="1"/>
          </p:cNvSpPr>
          <p:nvPr>
            <p:ph type="body" sz="quarter" idx="21" hasCustomPrompt="1"/>
          </p:nvPr>
        </p:nvSpPr>
        <p:spPr>
          <a:xfrm>
            <a:off x="6142038" y="4265713"/>
            <a:ext cx="3024187" cy="1727166"/>
          </a:xfrm>
        </p:spPr>
        <p:txBody>
          <a:bodyPr anchor="b">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39" name="Text Placeholder 5">
            <a:extLst>
              <a:ext uri="{FF2B5EF4-FFF2-40B4-BE49-F238E27FC236}">
                <a16:creationId xmlns:a16="http://schemas.microsoft.com/office/drawing/2014/main" id="{4B3F39C9-E76C-2D44-9D1B-E9B07074F77E}"/>
              </a:ext>
            </a:extLst>
          </p:cNvPr>
          <p:cNvSpPr>
            <a:spLocks noGrp="1"/>
          </p:cNvSpPr>
          <p:nvPr>
            <p:ph type="body" sz="quarter" idx="22" hasCustomPrompt="1"/>
          </p:nvPr>
        </p:nvSpPr>
        <p:spPr>
          <a:xfrm>
            <a:off x="9167019" y="7723207"/>
            <a:ext cx="3024187" cy="1727166"/>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0" name="Text Placeholder 5">
            <a:extLst>
              <a:ext uri="{FF2B5EF4-FFF2-40B4-BE49-F238E27FC236}">
                <a16:creationId xmlns:a16="http://schemas.microsoft.com/office/drawing/2014/main" id="{8814CF3B-C6B0-0648-A9C1-CE26FF4CB2D8}"/>
              </a:ext>
            </a:extLst>
          </p:cNvPr>
          <p:cNvSpPr>
            <a:spLocks noGrp="1"/>
          </p:cNvSpPr>
          <p:nvPr>
            <p:ph type="body" sz="quarter" idx="23" hasCustomPrompt="1"/>
          </p:nvPr>
        </p:nvSpPr>
        <p:spPr>
          <a:xfrm>
            <a:off x="12190413" y="4265713"/>
            <a:ext cx="3024187" cy="1727166"/>
          </a:xfrm>
        </p:spPr>
        <p:txBody>
          <a:bodyPr anchor="b">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1" name="Text Placeholder 5">
            <a:extLst>
              <a:ext uri="{FF2B5EF4-FFF2-40B4-BE49-F238E27FC236}">
                <a16:creationId xmlns:a16="http://schemas.microsoft.com/office/drawing/2014/main" id="{3356431A-93FA-3546-85F8-B31F1C9169B6}"/>
              </a:ext>
            </a:extLst>
          </p:cNvPr>
          <p:cNvSpPr>
            <a:spLocks noGrp="1"/>
          </p:cNvSpPr>
          <p:nvPr>
            <p:ph type="body" sz="quarter" idx="24" hasCustomPrompt="1"/>
          </p:nvPr>
        </p:nvSpPr>
        <p:spPr>
          <a:xfrm>
            <a:off x="15287627" y="7723207"/>
            <a:ext cx="3024187" cy="1727166"/>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2" name="Text Placeholder 5">
            <a:extLst>
              <a:ext uri="{FF2B5EF4-FFF2-40B4-BE49-F238E27FC236}">
                <a16:creationId xmlns:a16="http://schemas.microsoft.com/office/drawing/2014/main" id="{5CD9E15C-1210-D245-AE40-F67BE5C74056}"/>
              </a:ext>
            </a:extLst>
          </p:cNvPr>
          <p:cNvSpPr>
            <a:spLocks noGrp="1"/>
          </p:cNvSpPr>
          <p:nvPr>
            <p:ph type="body" sz="quarter" idx="25" hasCustomPrompt="1"/>
          </p:nvPr>
        </p:nvSpPr>
        <p:spPr>
          <a:xfrm>
            <a:off x="18311814" y="4265713"/>
            <a:ext cx="3024187" cy="1727166"/>
          </a:xfrm>
        </p:spPr>
        <p:txBody>
          <a:bodyPr anchor="b">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4" name="Footer Placeholder 43">
            <a:extLst>
              <a:ext uri="{FF2B5EF4-FFF2-40B4-BE49-F238E27FC236}">
                <a16:creationId xmlns:a16="http://schemas.microsoft.com/office/drawing/2014/main" id="{3DC74232-9167-9144-A25D-B5C31FFA7A3A}"/>
              </a:ext>
            </a:extLst>
          </p:cNvPr>
          <p:cNvSpPr>
            <a:spLocks noGrp="1"/>
          </p:cNvSpPr>
          <p:nvPr>
            <p:ph type="ftr" sz="quarter" idx="26"/>
          </p:nvPr>
        </p:nvSpPr>
        <p:spPr/>
        <p:txBody>
          <a:bodyPr/>
          <a:lstStyle/>
          <a:p>
            <a:endParaRPr lang="en-NL"/>
          </a:p>
        </p:txBody>
      </p:sp>
      <p:sp>
        <p:nvSpPr>
          <p:cNvPr id="45" name="TextBox 44">
            <a:extLst>
              <a:ext uri="{FF2B5EF4-FFF2-40B4-BE49-F238E27FC236}">
                <a16:creationId xmlns:a16="http://schemas.microsoft.com/office/drawing/2014/main" id="{69E14940-6394-8440-928E-5262E6E6434C}"/>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322549254"/>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Levels">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0D2B4B01-8F71-1C43-804A-AE91ACAAB690}"/>
              </a:ext>
            </a:extLst>
          </p:cNvPr>
          <p:cNvSpPr>
            <a:spLocks noGrp="1"/>
          </p:cNvSpPr>
          <p:nvPr>
            <p:ph type="body" sz="quarter" idx="12" hasCustomPrompt="1"/>
          </p:nvPr>
        </p:nvSpPr>
        <p:spPr>
          <a:xfrm>
            <a:off x="13071798" y="5455781"/>
            <a:ext cx="6190847" cy="1397590"/>
          </a:xfrm>
        </p:spPr>
        <p:txBody>
          <a:bodyPr>
            <a:noAutofit/>
          </a:bodyPr>
          <a:lstStyle>
            <a:lvl1pPr>
              <a:spcBef>
                <a:spcPts val="0"/>
              </a:spcBef>
              <a:defRPr sz="2400"/>
            </a:lvl1pPr>
          </a:lstStyle>
          <a:p>
            <a:pPr lvl="0"/>
            <a:r>
              <a:rPr lang="en-GB" noProof="0"/>
              <a:t>Put the body text here, keep it regular 24 </a:t>
            </a:r>
            <a:r>
              <a:rPr lang="en-GB" noProof="0" err="1"/>
              <a:t>pt</a:t>
            </a:r>
            <a:endParaRPr lang="en-GB" noProof="0"/>
          </a:p>
        </p:txBody>
      </p:sp>
      <p:sp>
        <p:nvSpPr>
          <p:cNvPr id="10" name="Text Placeholder 5">
            <a:extLst>
              <a:ext uri="{FF2B5EF4-FFF2-40B4-BE49-F238E27FC236}">
                <a16:creationId xmlns:a16="http://schemas.microsoft.com/office/drawing/2014/main" id="{CCF4949C-0573-654E-8E4A-1524918D8E6F}"/>
              </a:ext>
            </a:extLst>
          </p:cNvPr>
          <p:cNvSpPr>
            <a:spLocks noGrp="1"/>
          </p:cNvSpPr>
          <p:nvPr>
            <p:ph type="body" sz="quarter" idx="15" hasCustomPrompt="1"/>
          </p:nvPr>
        </p:nvSpPr>
        <p:spPr>
          <a:xfrm>
            <a:off x="13071798" y="7832869"/>
            <a:ext cx="6190847" cy="1397590"/>
          </a:xfrm>
        </p:spPr>
        <p:txBody>
          <a:bodyPr>
            <a:noAutofit/>
          </a:bodyPr>
          <a:lstStyle>
            <a:lvl1pPr>
              <a:spcBef>
                <a:spcPts val="0"/>
              </a:spcBef>
              <a:defRPr sz="2400"/>
            </a:lvl1pPr>
          </a:lstStyle>
          <a:p>
            <a:pPr lvl="0"/>
            <a:r>
              <a:rPr lang="en-GB" noProof="0"/>
              <a:t>Put the body text here, keep it regular 24 </a:t>
            </a:r>
            <a:r>
              <a:rPr lang="en-GB" noProof="0" err="1"/>
              <a:t>pt</a:t>
            </a:r>
            <a:endParaRPr lang="en-GB" noProof="0"/>
          </a:p>
        </p:txBody>
      </p:sp>
      <p:sp>
        <p:nvSpPr>
          <p:cNvPr id="12" name="Text Placeholder 5">
            <a:extLst>
              <a:ext uri="{FF2B5EF4-FFF2-40B4-BE49-F238E27FC236}">
                <a16:creationId xmlns:a16="http://schemas.microsoft.com/office/drawing/2014/main" id="{334FE28E-7BB9-5247-A7EF-E68623CEC0DF}"/>
              </a:ext>
            </a:extLst>
          </p:cNvPr>
          <p:cNvSpPr>
            <a:spLocks noGrp="1"/>
          </p:cNvSpPr>
          <p:nvPr>
            <p:ph type="body" sz="quarter" idx="17" hasCustomPrompt="1"/>
          </p:nvPr>
        </p:nvSpPr>
        <p:spPr>
          <a:xfrm>
            <a:off x="13071798" y="10330249"/>
            <a:ext cx="6190847" cy="1397590"/>
          </a:xfrm>
        </p:spPr>
        <p:txBody>
          <a:bodyPr>
            <a:noAutofit/>
          </a:bodyPr>
          <a:lstStyle>
            <a:lvl1pPr>
              <a:spcBef>
                <a:spcPts val="0"/>
              </a:spcBef>
              <a:defRPr sz="2400"/>
            </a:lvl1pPr>
          </a:lstStyle>
          <a:p>
            <a:pPr lvl="0"/>
            <a:r>
              <a:rPr lang="en-GB" noProof="0"/>
              <a:t>Put the body text here, keep it regular 24 </a:t>
            </a:r>
            <a:r>
              <a:rPr lang="en-GB" noProof="0" err="1"/>
              <a:t>pt</a:t>
            </a:r>
            <a:endParaRPr lang="en-GB" noProof="0"/>
          </a:p>
        </p:txBody>
      </p:sp>
      <p:sp>
        <p:nvSpPr>
          <p:cNvPr id="9" name="Text Placeholder 5">
            <a:extLst>
              <a:ext uri="{FF2B5EF4-FFF2-40B4-BE49-F238E27FC236}">
                <a16:creationId xmlns:a16="http://schemas.microsoft.com/office/drawing/2014/main" id="{08916781-0481-B64C-A15B-60E03E7E77EA}"/>
              </a:ext>
            </a:extLst>
          </p:cNvPr>
          <p:cNvSpPr>
            <a:spLocks noGrp="1"/>
          </p:cNvSpPr>
          <p:nvPr>
            <p:ph type="body" sz="quarter" idx="14" hasCustomPrompt="1"/>
          </p:nvPr>
        </p:nvSpPr>
        <p:spPr>
          <a:xfrm>
            <a:off x="4674907" y="5455781"/>
            <a:ext cx="6633094" cy="1397590"/>
          </a:xfrm>
          <a:solidFill>
            <a:schemeClr val="bg1">
              <a:lumMod val="95000"/>
            </a:schemeClr>
          </a:solidFill>
        </p:spPr>
        <p:txBody>
          <a:bodyPr lIns="360000" anchor="ctr">
            <a:noAutofit/>
          </a:bodyPr>
          <a:lstStyle>
            <a:lvl1pPr>
              <a:defRPr sz="4000" b="1"/>
            </a:lvl1pPr>
          </a:lstStyle>
          <a:p>
            <a:pPr lvl="0"/>
            <a:r>
              <a:rPr lang="en-US"/>
              <a:t>Put the header here</a:t>
            </a:r>
          </a:p>
        </p:txBody>
      </p:sp>
      <p:sp>
        <p:nvSpPr>
          <p:cNvPr id="15" name="Text Placeholder 5">
            <a:extLst>
              <a:ext uri="{FF2B5EF4-FFF2-40B4-BE49-F238E27FC236}">
                <a16:creationId xmlns:a16="http://schemas.microsoft.com/office/drawing/2014/main" id="{B0FD171A-0961-AF47-AF11-4B67E2B02EBC}"/>
              </a:ext>
            </a:extLst>
          </p:cNvPr>
          <p:cNvSpPr>
            <a:spLocks noGrp="1"/>
          </p:cNvSpPr>
          <p:nvPr>
            <p:ph type="body" sz="quarter" idx="18" hasCustomPrompt="1"/>
          </p:nvPr>
        </p:nvSpPr>
        <p:spPr>
          <a:xfrm>
            <a:off x="4674907" y="7832869"/>
            <a:ext cx="6633094" cy="1397590"/>
          </a:xfrm>
          <a:solidFill>
            <a:schemeClr val="bg1">
              <a:lumMod val="95000"/>
            </a:schemeClr>
          </a:solidFill>
        </p:spPr>
        <p:txBody>
          <a:bodyPr lIns="360000" anchor="ctr">
            <a:noAutofit/>
          </a:bodyPr>
          <a:lstStyle>
            <a:lvl1pPr>
              <a:defRPr sz="4000" b="1"/>
            </a:lvl1pPr>
          </a:lstStyle>
          <a:p>
            <a:pPr lvl="0"/>
            <a:r>
              <a:rPr lang="en-US"/>
              <a:t>Put the header here</a:t>
            </a:r>
          </a:p>
        </p:txBody>
      </p:sp>
      <p:sp>
        <p:nvSpPr>
          <p:cNvPr id="16" name="Text Placeholder 5">
            <a:extLst>
              <a:ext uri="{FF2B5EF4-FFF2-40B4-BE49-F238E27FC236}">
                <a16:creationId xmlns:a16="http://schemas.microsoft.com/office/drawing/2014/main" id="{08483BCA-AF2F-134B-A357-367A5706C697}"/>
              </a:ext>
            </a:extLst>
          </p:cNvPr>
          <p:cNvSpPr>
            <a:spLocks noGrp="1"/>
          </p:cNvSpPr>
          <p:nvPr>
            <p:ph type="body" sz="quarter" idx="19" hasCustomPrompt="1"/>
          </p:nvPr>
        </p:nvSpPr>
        <p:spPr>
          <a:xfrm>
            <a:off x="4674907" y="10330249"/>
            <a:ext cx="6633094" cy="1397590"/>
          </a:xfrm>
          <a:solidFill>
            <a:schemeClr val="bg1">
              <a:lumMod val="95000"/>
            </a:schemeClr>
          </a:solidFill>
        </p:spPr>
        <p:txBody>
          <a:bodyPr lIns="360000" anchor="ctr">
            <a:noAutofit/>
          </a:bodyPr>
          <a:lstStyle>
            <a:lvl1pPr>
              <a:defRPr sz="4000" b="1"/>
            </a:lvl1pPr>
          </a:lstStyle>
          <a:p>
            <a:pPr lvl="0"/>
            <a:r>
              <a:rPr lang="en-US"/>
              <a:t>Put the header here</a:t>
            </a:r>
          </a:p>
        </p:txBody>
      </p:sp>
      <p:sp>
        <p:nvSpPr>
          <p:cNvPr id="3" name="Title 2">
            <a:extLst>
              <a:ext uri="{FF2B5EF4-FFF2-40B4-BE49-F238E27FC236}">
                <a16:creationId xmlns:a16="http://schemas.microsoft.com/office/drawing/2014/main" id="{6E79ED74-1833-CD4B-828E-58428E0E2A1D}"/>
              </a:ext>
            </a:extLst>
          </p:cNvPr>
          <p:cNvSpPr>
            <a:spLocks noGrp="1"/>
          </p:cNvSpPr>
          <p:nvPr>
            <p:ph type="title" hasCustomPrompt="1"/>
          </p:nvPr>
        </p:nvSpPr>
        <p:spPr/>
        <p:txBody>
          <a:bodyPr/>
          <a:lstStyle/>
          <a:p>
            <a:r>
              <a:rPr lang="en-GB"/>
              <a:t>Levels</a:t>
            </a:r>
            <a:endParaRPr lang="en-NL"/>
          </a:p>
        </p:txBody>
      </p:sp>
      <p:sp>
        <p:nvSpPr>
          <p:cNvPr id="5" name="Footer Placeholder 4">
            <a:extLst>
              <a:ext uri="{FF2B5EF4-FFF2-40B4-BE49-F238E27FC236}">
                <a16:creationId xmlns:a16="http://schemas.microsoft.com/office/drawing/2014/main" id="{D51935D7-8569-4141-96D6-E8BDF582C7E3}"/>
              </a:ext>
            </a:extLst>
          </p:cNvPr>
          <p:cNvSpPr>
            <a:spLocks noGrp="1"/>
          </p:cNvSpPr>
          <p:nvPr>
            <p:ph type="ftr" sz="quarter" idx="20"/>
          </p:nvPr>
        </p:nvSpPr>
        <p:spPr/>
        <p:txBody>
          <a:bodyPr/>
          <a:lstStyle/>
          <a:p>
            <a:endParaRPr lang="en-NL"/>
          </a:p>
        </p:txBody>
      </p:sp>
      <p:sp>
        <p:nvSpPr>
          <p:cNvPr id="14" name="TextBox 13">
            <a:extLst>
              <a:ext uri="{FF2B5EF4-FFF2-40B4-BE49-F238E27FC236}">
                <a16:creationId xmlns:a16="http://schemas.microsoft.com/office/drawing/2014/main" id="{95B220E9-C9CD-2D41-A852-CDC99EB96289}"/>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363011541"/>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Focus areas 1">
    <p:spTree>
      <p:nvGrpSpPr>
        <p:cNvPr id="1" name=""/>
        <p:cNvGrpSpPr/>
        <p:nvPr/>
      </p:nvGrpSpPr>
      <p:grpSpPr>
        <a:xfrm>
          <a:off x="0" y="0"/>
          <a:ext cx="0" cy="0"/>
          <a:chOff x="0" y="0"/>
          <a:chExt cx="0" cy="0"/>
        </a:xfrm>
      </p:grpSpPr>
      <p:sp>
        <p:nvSpPr>
          <p:cNvPr id="9" name="Text Placeholder 5">
            <a:extLst>
              <a:ext uri="{FF2B5EF4-FFF2-40B4-BE49-F238E27FC236}">
                <a16:creationId xmlns:a16="http://schemas.microsoft.com/office/drawing/2014/main" id="{08916781-0481-B64C-A15B-60E03E7E77EA}"/>
              </a:ext>
            </a:extLst>
          </p:cNvPr>
          <p:cNvSpPr>
            <a:spLocks noGrp="1"/>
          </p:cNvSpPr>
          <p:nvPr>
            <p:ph type="body" sz="quarter" idx="14" hasCustomPrompt="1"/>
          </p:nvPr>
        </p:nvSpPr>
        <p:spPr>
          <a:xfrm>
            <a:off x="9166226" y="5742878"/>
            <a:ext cx="6049962" cy="863104"/>
          </a:xfrm>
          <a:solidFill>
            <a:schemeClr val="bg1">
              <a:lumMod val="95000"/>
            </a:schemeClr>
          </a:solidFill>
        </p:spPr>
        <p:txBody>
          <a:bodyPr lIns="180000" anchor="ctr">
            <a:noAutofit/>
          </a:bodyPr>
          <a:lstStyle>
            <a:lvl1pPr>
              <a:lnSpc>
                <a:spcPct val="100000"/>
              </a:lnSpc>
              <a:defRPr b="1"/>
            </a:lvl1pPr>
          </a:lstStyle>
          <a:p>
            <a:pPr lvl="0"/>
            <a:r>
              <a:rPr lang="en-US"/>
              <a:t>Put the header here</a:t>
            </a:r>
          </a:p>
        </p:txBody>
      </p:sp>
      <p:sp>
        <p:nvSpPr>
          <p:cNvPr id="10" name="Text Placeholder 5">
            <a:extLst>
              <a:ext uri="{FF2B5EF4-FFF2-40B4-BE49-F238E27FC236}">
                <a16:creationId xmlns:a16="http://schemas.microsoft.com/office/drawing/2014/main" id="{CCF4949C-0573-654E-8E4A-1524918D8E6F}"/>
              </a:ext>
            </a:extLst>
          </p:cNvPr>
          <p:cNvSpPr>
            <a:spLocks noGrp="1"/>
          </p:cNvSpPr>
          <p:nvPr>
            <p:ph type="body" sz="quarter" idx="15" hasCustomPrompt="1"/>
          </p:nvPr>
        </p:nvSpPr>
        <p:spPr>
          <a:xfrm>
            <a:off x="9190265" y="6858003"/>
            <a:ext cx="6049964" cy="3455986"/>
          </a:xfrm>
        </p:spPr>
        <p:txBody>
          <a:bodyPr lIns="180000">
            <a:noAutofit/>
          </a:bodyPr>
          <a:lstStyle>
            <a:lvl1pPr>
              <a:lnSpc>
                <a:spcPct val="100000"/>
              </a:lnSpc>
              <a:spcBef>
                <a:spcPts val="0"/>
              </a:spcBef>
              <a:defRPr sz="3200"/>
            </a:lvl1pPr>
          </a:lstStyle>
          <a:p>
            <a:pPr lvl="0"/>
            <a:r>
              <a:rPr lang="en-GB" noProof="0"/>
              <a:t>Put the paragraph text here, keep it regular 32 </a:t>
            </a:r>
            <a:r>
              <a:rPr lang="en-GB" noProof="0" err="1"/>
              <a:t>pt</a:t>
            </a:r>
            <a:endParaRPr lang="en-GB" noProof="0"/>
          </a:p>
        </p:txBody>
      </p:sp>
      <p:sp>
        <p:nvSpPr>
          <p:cNvPr id="17" name="Text Placeholder 5">
            <a:extLst>
              <a:ext uri="{FF2B5EF4-FFF2-40B4-BE49-F238E27FC236}">
                <a16:creationId xmlns:a16="http://schemas.microsoft.com/office/drawing/2014/main" id="{3722BC19-3242-894A-A464-ACE95D8645BB}"/>
              </a:ext>
            </a:extLst>
          </p:cNvPr>
          <p:cNvSpPr>
            <a:spLocks noGrp="1"/>
          </p:cNvSpPr>
          <p:nvPr>
            <p:ph type="body" sz="quarter" idx="19" hasCustomPrompt="1"/>
          </p:nvPr>
        </p:nvSpPr>
        <p:spPr>
          <a:xfrm>
            <a:off x="1655888" y="5742878"/>
            <a:ext cx="6049962" cy="863104"/>
          </a:xfrm>
          <a:solidFill>
            <a:schemeClr val="bg1">
              <a:lumMod val="95000"/>
            </a:schemeClr>
          </a:solidFill>
        </p:spPr>
        <p:txBody>
          <a:bodyPr lIns="180000" anchor="ctr">
            <a:noAutofit/>
          </a:bodyPr>
          <a:lstStyle>
            <a:lvl1pPr>
              <a:lnSpc>
                <a:spcPct val="100000"/>
              </a:lnSpc>
              <a:defRPr b="1"/>
            </a:lvl1pPr>
          </a:lstStyle>
          <a:p>
            <a:pPr lvl="0"/>
            <a:r>
              <a:rPr lang="en-US"/>
              <a:t>Put the header here</a:t>
            </a:r>
          </a:p>
        </p:txBody>
      </p:sp>
      <p:sp>
        <p:nvSpPr>
          <p:cNvPr id="18" name="Text Placeholder 5">
            <a:extLst>
              <a:ext uri="{FF2B5EF4-FFF2-40B4-BE49-F238E27FC236}">
                <a16:creationId xmlns:a16="http://schemas.microsoft.com/office/drawing/2014/main" id="{07C8CE66-24CD-E646-98E5-48BB7686BEDA}"/>
              </a:ext>
            </a:extLst>
          </p:cNvPr>
          <p:cNvSpPr>
            <a:spLocks noGrp="1"/>
          </p:cNvSpPr>
          <p:nvPr>
            <p:ph type="body" sz="quarter" idx="20" hasCustomPrompt="1"/>
          </p:nvPr>
        </p:nvSpPr>
        <p:spPr>
          <a:xfrm>
            <a:off x="1679928" y="6858003"/>
            <a:ext cx="6049964" cy="3455986"/>
          </a:xfrm>
        </p:spPr>
        <p:txBody>
          <a:bodyPr lIns="180000">
            <a:noAutofit/>
          </a:bodyPr>
          <a:lstStyle>
            <a:lvl1pPr>
              <a:lnSpc>
                <a:spcPct val="100000"/>
              </a:lnSpc>
              <a:spcBef>
                <a:spcPts val="0"/>
              </a:spcBef>
              <a:defRPr sz="3200"/>
            </a:lvl1pPr>
          </a:lstStyle>
          <a:p>
            <a:pPr lvl="0"/>
            <a:r>
              <a:rPr lang="en-GB" noProof="0"/>
              <a:t>Put the paragraph text here, keep it regular 32 </a:t>
            </a:r>
            <a:r>
              <a:rPr lang="en-GB" noProof="0" err="1"/>
              <a:t>pt</a:t>
            </a:r>
            <a:endParaRPr lang="en-GB" noProof="0"/>
          </a:p>
        </p:txBody>
      </p:sp>
      <p:sp>
        <p:nvSpPr>
          <p:cNvPr id="19" name="Text Placeholder 5">
            <a:extLst>
              <a:ext uri="{FF2B5EF4-FFF2-40B4-BE49-F238E27FC236}">
                <a16:creationId xmlns:a16="http://schemas.microsoft.com/office/drawing/2014/main" id="{7F8EE651-9C67-9A40-AA5C-4FDC892EECCF}"/>
              </a:ext>
            </a:extLst>
          </p:cNvPr>
          <p:cNvSpPr>
            <a:spLocks noGrp="1"/>
          </p:cNvSpPr>
          <p:nvPr>
            <p:ph type="body" sz="quarter" idx="21" hasCustomPrompt="1"/>
          </p:nvPr>
        </p:nvSpPr>
        <p:spPr>
          <a:xfrm>
            <a:off x="16627354" y="5742878"/>
            <a:ext cx="6049962" cy="863104"/>
          </a:xfrm>
          <a:solidFill>
            <a:schemeClr val="bg1">
              <a:lumMod val="95000"/>
            </a:schemeClr>
          </a:solidFill>
        </p:spPr>
        <p:txBody>
          <a:bodyPr lIns="180000" anchor="ctr">
            <a:noAutofit/>
          </a:bodyPr>
          <a:lstStyle>
            <a:lvl1pPr>
              <a:lnSpc>
                <a:spcPct val="100000"/>
              </a:lnSpc>
              <a:defRPr b="1"/>
            </a:lvl1pPr>
          </a:lstStyle>
          <a:p>
            <a:pPr lvl="0"/>
            <a:r>
              <a:rPr lang="en-US"/>
              <a:t>Put the header here</a:t>
            </a:r>
          </a:p>
        </p:txBody>
      </p:sp>
      <p:sp>
        <p:nvSpPr>
          <p:cNvPr id="20" name="Text Placeholder 5">
            <a:extLst>
              <a:ext uri="{FF2B5EF4-FFF2-40B4-BE49-F238E27FC236}">
                <a16:creationId xmlns:a16="http://schemas.microsoft.com/office/drawing/2014/main" id="{308DDE5D-AD61-324F-8D1B-396A22DC466A}"/>
              </a:ext>
            </a:extLst>
          </p:cNvPr>
          <p:cNvSpPr>
            <a:spLocks noGrp="1"/>
          </p:cNvSpPr>
          <p:nvPr>
            <p:ph type="body" sz="quarter" idx="22" hasCustomPrompt="1"/>
          </p:nvPr>
        </p:nvSpPr>
        <p:spPr>
          <a:xfrm>
            <a:off x="16651391" y="6858003"/>
            <a:ext cx="6049964" cy="3455986"/>
          </a:xfrm>
        </p:spPr>
        <p:txBody>
          <a:bodyPr lIns="180000">
            <a:noAutofit/>
          </a:bodyPr>
          <a:lstStyle>
            <a:lvl1pPr>
              <a:lnSpc>
                <a:spcPct val="100000"/>
              </a:lnSpc>
              <a:spcBef>
                <a:spcPts val="0"/>
              </a:spcBef>
              <a:defRPr sz="3200"/>
            </a:lvl1pPr>
          </a:lstStyle>
          <a:p>
            <a:pPr lvl="0"/>
            <a:r>
              <a:rPr lang="en-GB" noProof="0"/>
              <a:t>Put the paragraph text here, keep it regular 32 </a:t>
            </a:r>
            <a:r>
              <a:rPr lang="en-GB" noProof="0" err="1"/>
              <a:t>pt</a:t>
            </a:r>
            <a:endParaRPr lang="en-GB" noProof="0"/>
          </a:p>
        </p:txBody>
      </p:sp>
      <p:sp>
        <p:nvSpPr>
          <p:cNvPr id="5" name="Title 4">
            <a:extLst>
              <a:ext uri="{FF2B5EF4-FFF2-40B4-BE49-F238E27FC236}">
                <a16:creationId xmlns:a16="http://schemas.microsoft.com/office/drawing/2014/main" id="{A8507978-2D74-7F40-9482-B33692774EA2}"/>
              </a:ext>
            </a:extLst>
          </p:cNvPr>
          <p:cNvSpPr>
            <a:spLocks noGrp="1"/>
          </p:cNvSpPr>
          <p:nvPr>
            <p:ph type="title" hasCustomPrompt="1"/>
          </p:nvPr>
        </p:nvSpPr>
        <p:spPr/>
        <p:txBody>
          <a:bodyPr/>
          <a:lstStyle/>
          <a:p>
            <a:r>
              <a:rPr lang="en-GB"/>
              <a:t>Focus areas</a:t>
            </a:r>
            <a:endParaRPr lang="en-NL"/>
          </a:p>
        </p:txBody>
      </p:sp>
      <p:sp>
        <p:nvSpPr>
          <p:cNvPr id="3" name="Footer Placeholder 2">
            <a:extLst>
              <a:ext uri="{FF2B5EF4-FFF2-40B4-BE49-F238E27FC236}">
                <a16:creationId xmlns:a16="http://schemas.microsoft.com/office/drawing/2014/main" id="{94C26B9E-3413-AB4A-98DC-12221AAB0365}"/>
              </a:ext>
            </a:extLst>
          </p:cNvPr>
          <p:cNvSpPr>
            <a:spLocks noGrp="1"/>
          </p:cNvSpPr>
          <p:nvPr>
            <p:ph type="ftr" sz="quarter" idx="23"/>
          </p:nvPr>
        </p:nvSpPr>
        <p:spPr/>
        <p:txBody>
          <a:bodyPr/>
          <a:lstStyle/>
          <a:p>
            <a:endParaRPr lang="en-NL"/>
          </a:p>
        </p:txBody>
      </p:sp>
      <p:sp>
        <p:nvSpPr>
          <p:cNvPr id="13" name="TextBox 12">
            <a:extLst>
              <a:ext uri="{FF2B5EF4-FFF2-40B4-BE49-F238E27FC236}">
                <a16:creationId xmlns:a16="http://schemas.microsoft.com/office/drawing/2014/main" id="{C1C95D9D-541E-F440-9F65-0AB08894819B}"/>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09663454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Focus areas 2">
    <p:spTree>
      <p:nvGrpSpPr>
        <p:cNvPr id="1" name=""/>
        <p:cNvGrpSpPr/>
        <p:nvPr/>
      </p:nvGrpSpPr>
      <p:grpSpPr>
        <a:xfrm>
          <a:off x="0" y="0"/>
          <a:ext cx="0" cy="0"/>
          <a:chOff x="0" y="0"/>
          <a:chExt cx="0" cy="0"/>
        </a:xfrm>
      </p:grpSpPr>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9166226" y="4124209"/>
            <a:ext cx="6049962" cy="4462582"/>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6" name="Text Placeholder 5">
            <a:extLst>
              <a:ext uri="{FF2B5EF4-FFF2-40B4-BE49-F238E27FC236}">
                <a16:creationId xmlns:a16="http://schemas.microsoft.com/office/drawing/2014/main" id="{50C5C652-3240-6341-9095-4EF7D7DC26F2}"/>
              </a:ext>
            </a:extLst>
          </p:cNvPr>
          <p:cNvSpPr>
            <a:spLocks noGrp="1"/>
          </p:cNvSpPr>
          <p:nvPr>
            <p:ph type="body" sz="quarter" idx="30" hasCustomPrompt="1"/>
          </p:nvPr>
        </p:nvSpPr>
        <p:spPr>
          <a:xfrm>
            <a:off x="9166226" y="9162256"/>
            <a:ext cx="6049962" cy="2880520"/>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18" name="Picture Placeholder 2">
            <a:extLst>
              <a:ext uri="{FF2B5EF4-FFF2-40B4-BE49-F238E27FC236}">
                <a16:creationId xmlns:a16="http://schemas.microsoft.com/office/drawing/2014/main" id="{CA5C6F99-363F-0A44-B903-36748B19D967}"/>
              </a:ext>
            </a:extLst>
          </p:cNvPr>
          <p:cNvSpPr>
            <a:spLocks noGrp="1"/>
          </p:cNvSpPr>
          <p:nvPr>
            <p:ph type="pic" sz="quarter" idx="32" hasCustomPrompt="1"/>
          </p:nvPr>
        </p:nvSpPr>
        <p:spPr>
          <a:xfrm>
            <a:off x="1673111" y="4124209"/>
            <a:ext cx="6049962" cy="4462582"/>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0" name="Text Placeholder 5">
            <a:extLst>
              <a:ext uri="{FF2B5EF4-FFF2-40B4-BE49-F238E27FC236}">
                <a16:creationId xmlns:a16="http://schemas.microsoft.com/office/drawing/2014/main" id="{75455B56-07F2-2943-AFDE-22F2A9DF65C4}"/>
              </a:ext>
            </a:extLst>
          </p:cNvPr>
          <p:cNvSpPr>
            <a:spLocks noGrp="1"/>
          </p:cNvSpPr>
          <p:nvPr>
            <p:ph type="body" sz="quarter" idx="33" hasCustomPrompt="1"/>
          </p:nvPr>
        </p:nvSpPr>
        <p:spPr>
          <a:xfrm>
            <a:off x="1673113" y="9162256"/>
            <a:ext cx="6049962" cy="2880520"/>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21" name="Picture Placeholder 2">
            <a:extLst>
              <a:ext uri="{FF2B5EF4-FFF2-40B4-BE49-F238E27FC236}">
                <a16:creationId xmlns:a16="http://schemas.microsoft.com/office/drawing/2014/main" id="{2F983719-8E56-644B-87F9-AA87D0158471}"/>
              </a:ext>
            </a:extLst>
          </p:cNvPr>
          <p:cNvSpPr>
            <a:spLocks noGrp="1"/>
          </p:cNvSpPr>
          <p:nvPr>
            <p:ph type="pic" sz="quarter" idx="34" hasCustomPrompt="1"/>
          </p:nvPr>
        </p:nvSpPr>
        <p:spPr>
          <a:xfrm>
            <a:off x="16656158" y="4124209"/>
            <a:ext cx="6049962" cy="4462582"/>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2" name="Text Placeholder 5">
            <a:extLst>
              <a:ext uri="{FF2B5EF4-FFF2-40B4-BE49-F238E27FC236}">
                <a16:creationId xmlns:a16="http://schemas.microsoft.com/office/drawing/2014/main" id="{CAE497B4-C614-C44B-94BA-C3BDE7D75DEC}"/>
              </a:ext>
            </a:extLst>
          </p:cNvPr>
          <p:cNvSpPr>
            <a:spLocks noGrp="1"/>
          </p:cNvSpPr>
          <p:nvPr>
            <p:ph type="body" sz="quarter" idx="35" hasCustomPrompt="1"/>
          </p:nvPr>
        </p:nvSpPr>
        <p:spPr>
          <a:xfrm>
            <a:off x="16656160" y="9162256"/>
            <a:ext cx="6049962" cy="2880520"/>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2" name="Title 1">
            <a:extLst>
              <a:ext uri="{FF2B5EF4-FFF2-40B4-BE49-F238E27FC236}">
                <a16:creationId xmlns:a16="http://schemas.microsoft.com/office/drawing/2014/main" id="{B714AECF-762E-AF4B-AE68-4E3BB8D405CD}"/>
              </a:ext>
            </a:extLst>
          </p:cNvPr>
          <p:cNvSpPr>
            <a:spLocks noGrp="1"/>
          </p:cNvSpPr>
          <p:nvPr>
            <p:ph type="title" hasCustomPrompt="1"/>
          </p:nvPr>
        </p:nvSpPr>
        <p:spPr>
          <a:xfrm>
            <a:off x="1676293" y="1677601"/>
            <a:ext cx="21033007" cy="1724414"/>
          </a:xfrm>
        </p:spPr>
        <p:txBody>
          <a:bodyPr/>
          <a:lstStyle/>
          <a:p>
            <a:r>
              <a:rPr lang="en-GB"/>
              <a:t>Focus areas</a:t>
            </a:r>
            <a:endParaRPr lang="en-NL"/>
          </a:p>
        </p:txBody>
      </p:sp>
      <p:sp>
        <p:nvSpPr>
          <p:cNvPr id="6" name="Footer Placeholder 5">
            <a:extLst>
              <a:ext uri="{FF2B5EF4-FFF2-40B4-BE49-F238E27FC236}">
                <a16:creationId xmlns:a16="http://schemas.microsoft.com/office/drawing/2014/main" id="{905FD5AF-E14D-EF49-88A1-61AE79880A4D}"/>
              </a:ext>
            </a:extLst>
          </p:cNvPr>
          <p:cNvSpPr>
            <a:spLocks noGrp="1"/>
          </p:cNvSpPr>
          <p:nvPr>
            <p:ph type="ftr" sz="quarter" idx="36"/>
          </p:nvPr>
        </p:nvSpPr>
        <p:spPr/>
        <p:txBody>
          <a:bodyPr/>
          <a:lstStyle/>
          <a:p>
            <a:endParaRPr lang="en-NL"/>
          </a:p>
        </p:txBody>
      </p:sp>
      <p:sp>
        <p:nvSpPr>
          <p:cNvPr id="14" name="TextBox 13">
            <a:extLst>
              <a:ext uri="{FF2B5EF4-FFF2-40B4-BE49-F238E27FC236}">
                <a16:creationId xmlns:a16="http://schemas.microsoft.com/office/drawing/2014/main" id="{7DDFA0A1-FCD3-7344-8E11-BA02D0C38EE6}"/>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421386007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Focus areas 3">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6F4D095-75F9-A649-B638-1297084AD7A4}"/>
              </a:ext>
            </a:extLst>
          </p:cNvPr>
          <p:cNvSpPr>
            <a:spLocks noGrp="1"/>
          </p:cNvSpPr>
          <p:nvPr>
            <p:ph type="pic" sz="quarter" idx="20" hasCustomPrompt="1"/>
          </p:nvPr>
        </p:nvSpPr>
        <p:spPr>
          <a:xfrm>
            <a:off x="3110923" y="5160731"/>
            <a:ext cx="3425835" cy="3426058"/>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3110921" y="8904153"/>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1" name="Picture Placeholder 7">
            <a:extLst>
              <a:ext uri="{FF2B5EF4-FFF2-40B4-BE49-F238E27FC236}">
                <a16:creationId xmlns:a16="http://schemas.microsoft.com/office/drawing/2014/main" id="{541447E4-2AA6-7F48-B55B-B62747E0ABD2}"/>
              </a:ext>
            </a:extLst>
          </p:cNvPr>
          <p:cNvSpPr>
            <a:spLocks noGrp="1"/>
          </p:cNvSpPr>
          <p:nvPr>
            <p:ph type="pic" sz="quarter" idx="22" hasCustomPrompt="1"/>
          </p:nvPr>
        </p:nvSpPr>
        <p:spPr>
          <a:xfrm>
            <a:off x="8045293" y="5160731"/>
            <a:ext cx="3425835" cy="3426058"/>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2" name="Text Placeholder 11">
            <a:extLst>
              <a:ext uri="{FF2B5EF4-FFF2-40B4-BE49-F238E27FC236}">
                <a16:creationId xmlns:a16="http://schemas.microsoft.com/office/drawing/2014/main" id="{2AD28FF4-13F4-2C40-9AF9-E173148BF12A}"/>
              </a:ext>
            </a:extLst>
          </p:cNvPr>
          <p:cNvSpPr>
            <a:spLocks noGrp="1"/>
          </p:cNvSpPr>
          <p:nvPr>
            <p:ph type="body" sz="quarter" idx="23" hasCustomPrompt="1"/>
          </p:nvPr>
        </p:nvSpPr>
        <p:spPr>
          <a:xfrm>
            <a:off x="8045293" y="8904153"/>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3" name="Picture Placeholder 7">
            <a:extLst>
              <a:ext uri="{FF2B5EF4-FFF2-40B4-BE49-F238E27FC236}">
                <a16:creationId xmlns:a16="http://schemas.microsoft.com/office/drawing/2014/main" id="{76549726-CD0C-C144-A1EB-76A281BC952E}"/>
              </a:ext>
            </a:extLst>
          </p:cNvPr>
          <p:cNvSpPr>
            <a:spLocks noGrp="1"/>
          </p:cNvSpPr>
          <p:nvPr>
            <p:ph type="pic" sz="quarter" idx="24" hasCustomPrompt="1"/>
          </p:nvPr>
        </p:nvSpPr>
        <p:spPr>
          <a:xfrm>
            <a:off x="12911287" y="5160731"/>
            <a:ext cx="3425835" cy="3426058"/>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4" name="Text Placeholder 11">
            <a:extLst>
              <a:ext uri="{FF2B5EF4-FFF2-40B4-BE49-F238E27FC236}">
                <a16:creationId xmlns:a16="http://schemas.microsoft.com/office/drawing/2014/main" id="{5B3AA100-6E6E-D34B-943C-1D75F59C39B5}"/>
              </a:ext>
            </a:extLst>
          </p:cNvPr>
          <p:cNvSpPr>
            <a:spLocks noGrp="1"/>
          </p:cNvSpPr>
          <p:nvPr>
            <p:ph type="body" sz="quarter" idx="25" hasCustomPrompt="1"/>
          </p:nvPr>
        </p:nvSpPr>
        <p:spPr>
          <a:xfrm>
            <a:off x="12911287" y="8904153"/>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5" name="Picture Placeholder 7">
            <a:extLst>
              <a:ext uri="{FF2B5EF4-FFF2-40B4-BE49-F238E27FC236}">
                <a16:creationId xmlns:a16="http://schemas.microsoft.com/office/drawing/2014/main" id="{DCB14019-6F34-AB4B-B98E-4393A31FE4D7}"/>
              </a:ext>
            </a:extLst>
          </p:cNvPr>
          <p:cNvSpPr>
            <a:spLocks noGrp="1"/>
          </p:cNvSpPr>
          <p:nvPr>
            <p:ph type="pic" sz="quarter" idx="26" hasCustomPrompt="1"/>
          </p:nvPr>
        </p:nvSpPr>
        <p:spPr>
          <a:xfrm>
            <a:off x="17910167" y="5160731"/>
            <a:ext cx="3425835" cy="3426058"/>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6" name="Text Placeholder 11">
            <a:extLst>
              <a:ext uri="{FF2B5EF4-FFF2-40B4-BE49-F238E27FC236}">
                <a16:creationId xmlns:a16="http://schemas.microsoft.com/office/drawing/2014/main" id="{1C762A72-2425-1F42-B142-A5C927AEEBB1}"/>
              </a:ext>
            </a:extLst>
          </p:cNvPr>
          <p:cNvSpPr>
            <a:spLocks noGrp="1"/>
          </p:cNvSpPr>
          <p:nvPr>
            <p:ph type="body" sz="quarter" idx="27" hasCustomPrompt="1"/>
          </p:nvPr>
        </p:nvSpPr>
        <p:spPr>
          <a:xfrm>
            <a:off x="17910167" y="8904153"/>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 name="Title 1">
            <a:extLst>
              <a:ext uri="{FF2B5EF4-FFF2-40B4-BE49-F238E27FC236}">
                <a16:creationId xmlns:a16="http://schemas.microsoft.com/office/drawing/2014/main" id="{A0F5E023-04B8-2F4C-ACC9-EA2D15A8206D}"/>
              </a:ext>
            </a:extLst>
          </p:cNvPr>
          <p:cNvSpPr>
            <a:spLocks noGrp="1"/>
          </p:cNvSpPr>
          <p:nvPr>
            <p:ph type="title" hasCustomPrompt="1"/>
          </p:nvPr>
        </p:nvSpPr>
        <p:spPr/>
        <p:txBody>
          <a:bodyPr/>
          <a:lstStyle/>
          <a:p>
            <a:r>
              <a:rPr lang="en-GB"/>
              <a:t>Focus areas</a:t>
            </a:r>
            <a:endParaRPr lang="en-NL"/>
          </a:p>
        </p:txBody>
      </p:sp>
      <p:sp>
        <p:nvSpPr>
          <p:cNvPr id="6" name="Footer Placeholder 5">
            <a:extLst>
              <a:ext uri="{FF2B5EF4-FFF2-40B4-BE49-F238E27FC236}">
                <a16:creationId xmlns:a16="http://schemas.microsoft.com/office/drawing/2014/main" id="{7BEF6BFC-32B9-EE4E-B0BD-51735697E79A}"/>
              </a:ext>
            </a:extLst>
          </p:cNvPr>
          <p:cNvSpPr>
            <a:spLocks noGrp="1"/>
          </p:cNvSpPr>
          <p:nvPr>
            <p:ph type="ftr" sz="quarter" idx="28"/>
          </p:nvPr>
        </p:nvSpPr>
        <p:spPr/>
        <p:txBody>
          <a:bodyPr/>
          <a:lstStyle/>
          <a:p>
            <a:endParaRPr lang="en-NL"/>
          </a:p>
        </p:txBody>
      </p:sp>
      <p:sp>
        <p:nvSpPr>
          <p:cNvPr id="17" name="TextBox 16">
            <a:extLst>
              <a:ext uri="{FF2B5EF4-FFF2-40B4-BE49-F238E27FC236}">
                <a16:creationId xmlns:a16="http://schemas.microsoft.com/office/drawing/2014/main" id="{D03693B7-36DD-2044-BD6D-C7E743BAFEC9}"/>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17417526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Organisational chart">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10677924" y="1682204"/>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2" name="Title 1">
            <a:extLst>
              <a:ext uri="{FF2B5EF4-FFF2-40B4-BE49-F238E27FC236}">
                <a16:creationId xmlns:a16="http://schemas.microsoft.com/office/drawing/2014/main" id="{43DA5788-F32B-A54D-BD65-3FF50B9E8946}"/>
              </a:ext>
            </a:extLst>
          </p:cNvPr>
          <p:cNvSpPr>
            <a:spLocks noGrp="1"/>
          </p:cNvSpPr>
          <p:nvPr>
            <p:ph type="title" hasCustomPrompt="1"/>
          </p:nvPr>
        </p:nvSpPr>
        <p:spPr>
          <a:xfrm>
            <a:off x="1676293" y="1677600"/>
            <a:ext cx="7489932" cy="3011660"/>
          </a:xfrm>
        </p:spPr>
        <p:txBody>
          <a:bodyPr/>
          <a:lstStyle>
            <a:lvl1pPr>
              <a:defRPr sz="6000"/>
            </a:lvl1pPr>
          </a:lstStyle>
          <a:p>
            <a:r>
              <a:rPr lang="en-GB"/>
              <a:t>Department name</a:t>
            </a:r>
            <a:endParaRPr lang="en-NL"/>
          </a:p>
        </p:txBody>
      </p:sp>
      <p:sp>
        <p:nvSpPr>
          <p:cNvPr id="37" name="Text Placeholder 11">
            <a:extLst>
              <a:ext uri="{FF2B5EF4-FFF2-40B4-BE49-F238E27FC236}">
                <a16:creationId xmlns:a16="http://schemas.microsoft.com/office/drawing/2014/main" id="{D20C3156-2AD2-124D-9E3C-76D76447737F}"/>
              </a:ext>
            </a:extLst>
          </p:cNvPr>
          <p:cNvSpPr>
            <a:spLocks noGrp="1"/>
          </p:cNvSpPr>
          <p:nvPr>
            <p:ph type="body" sz="quarter" idx="23" hasCustomPrompt="1"/>
          </p:nvPr>
        </p:nvSpPr>
        <p:spPr>
          <a:xfrm>
            <a:off x="15935624" y="8561142"/>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8" name="Text Placeholder 11">
            <a:extLst>
              <a:ext uri="{FF2B5EF4-FFF2-40B4-BE49-F238E27FC236}">
                <a16:creationId xmlns:a16="http://schemas.microsoft.com/office/drawing/2014/main" id="{52FB8893-C886-B348-A8E3-2932C39A6C17}"/>
              </a:ext>
            </a:extLst>
          </p:cNvPr>
          <p:cNvSpPr>
            <a:spLocks noGrp="1"/>
          </p:cNvSpPr>
          <p:nvPr>
            <p:ph type="body" sz="quarter" idx="24" hasCustomPrompt="1"/>
          </p:nvPr>
        </p:nvSpPr>
        <p:spPr>
          <a:xfrm>
            <a:off x="12447961" y="8561142"/>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9" name="Text Placeholder 11">
            <a:extLst>
              <a:ext uri="{FF2B5EF4-FFF2-40B4-BE49-F238E27FC236}">
                <a16:creationId xmlns:a16="http://schemas.microsoft.com/office/drawing/2014/main" id="{4E2FB335-2D5A-A743-81A7-7FAB0B1F748A}"/>
              </a:ext>
            </a:extLst>
          </p:cNvPr>
          <p:cNvSpPr>
            <a:spLocks noGrp="1"/>
          </p:cNvSpPr>
          <p:nvPr>
            <p:ph type="body" sz="quarter" idx="25" hasCustomPrompt="1"/>
          </p:nvPr>
        </p:nvSpPr>
        <p:spPr>
          <a:xfrm>
            <a:off x="19423287" y="8561142"/>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0" name="Text Placeholder 11">
            <a:extLst>
              <a:ext uri="{FF2B5EF4-FFF2-40B4-BE49-F238E27FC236}">
                <a16:creationId xmlns:a16="http://schemas.microsoft.com/office/drawing/2014/main" id="{FDBB4D3B-21DA-AA48-875F-039F1DA49F4D}"/>
              </a:ext>
            </a:extLst>
          </p:cNvPr>
          <p:cNvSpPr>
            <a:spLocks noGrp="1"/>
          </p:cNvSpPr>
          <p:nvPr>
            <p:ph type="body" sz="quarter" idx="26" hasCustomPrompt="1"/>
          </p:nvPr>
        </p:nvSpPr>
        <p:spPr>
          <a:xfrm>
            <a:off x="8950203" y="8561142"/>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1" name="Text Placeholder 11">
            <a:extLst>
              <a:ext uri="{FF2B5EF4-FFF2-40B4-BE49-F238E27FC236}">
                <a16:creationId xmlns:a16="http://schemas.microsoft.com/office/drawing/2014/main" id="{04958B99-BADB-694D-857D-679CEF331FE2}"/>
              </a:ext>
            </a:extLst>
          </p:cNvPr>
          <p:cNvSpPr>
            <a:spLocks noGrp="1"/>
          </p:cNvSpPr>
          <p:nvPr>
            <p:ph type="body" sz="quarter" idx="27" hasCustomPrompt="1"/>
          </p:nvPr>
        </p:nvSpPr>
        <p:spPr>
          <a:xfrm>
            <a:off x="5462540" y="8561142"/>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2" name="Text Placeholder 11">
            <a:extLst>
              <a:ext uri="{FF2B5EF4-FFF2-40B4-BE49-F238E27FC236}">
                <a16:creationId xmlns:a16="http://schemas.microsoft.com/office/drawing/2014/main" id="{867B033E-55B1-E64C-AB2E-DEA20C7A2523}"/>
              </a:ext>
            </a:extLst>
          </p:cNvPr>
          <p:cNvSpPr>
            <a:spLocks noGrp="1"/>
          </p:cNvSpPr>
          <p:nvPr>
            <p:ph type="body" sz="quarter" idx="28" hasCustomPrompt="1"/>
          </p:nvPr>
        </p:nvSpPr>
        <p:spPr>
          <a:xfrm>
            <a:off x="1980136" y="8561142"/>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3" name="Text Placeholder 11">
            <a:extLst>
              <a:ext uri="{FF2B5EF4-FFF2-40B4-BE49-F238E27FC236}">
                <a16:creationId xmlns:a16="http://schemas.microsoft.com/office/drawing/2014/main" id="{1342689F-D009-8044-A2FD-60C69DAC4509}"/>
              </a:ext>
            </a:extLst>
          </p:cNvPr>
          <p:cNvSpPr>
            <a:spLocks noGrp="1"/>
          </p:cNvSpPr>
          <p:nvPr>
            <p:ph type="body" sz="quarter" idx="29" hasCustomPrompt="1"/>
          </p:nvPr>
        </p:nvSpPr>
        <p:spPr>
          <a:xfrm>
            <a:off x="3698344" y="5113634"/>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4" name="Text Placeholder 11">
            <a:extLst>
              <a:ext uri="{FF2B5EF4-FFF2-40B4-BE49-F238E27FC236}">
                <a16:creationId xmlns:a16="http://schemas.microsoft.com/office/drawing/2014/main" id="{67DEF29E-90A5-BC45-8BB6-53DBC7210B2A}"/>
              </a:ext>
            </a:extLst>
          </p:cNvPr>
          <p:cNvSpPr>
            <a:spLocks noGrp="1"/>
          </p:cNvSpPr>
          <p:nvPr>
            <p:ph type="body" sz="quarter" idx="30" hasCustomPrompt="1"/>
          </p:nvPr>
        </p:nvSpPr>
        <p:spPr>
          <a:xfrm>
            <a:off x="10677922" y="5128182"/>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5" name="Text Placeholder 11">
            <a:extLst>
              <a:ext uri="{FF2B5EF4-FFF2-40B4-BE49-F238E27FC236}">
                <a16:creationId xmlns:a16="http://schemas.microsoft.com/office/drawing/2014/main" id="{DD2C9CC6-3595-BA4C-9ADE-B391018F28A0}"/>
              </a:ext>
            </a:extLst>
          </p:cNvPr>
          <p:cNvSpPr>
            <a:spLocks noGrp="1"/>
          </p:cNvSpPr>
          <p:nvPr>
            <p:ph type="body" sz="quarter" idx="31" hasCustomPrompt="1"/>
          </p:nvPr>
        </p:nvSpPr>
        <p:spPr>
          <a:xfrm>
            <a:off x="17659092" y="5128182"/>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6" name="Text Placeholder 11">
            <a:extLst>
              <a:ext uri="{FF2B5EF4-FFF2-40B4-BE49-F238E27FC236}">
                <a16:creationId xmlns:a16="http://schemas.microsoft.com/office/drawing/2014/main" id="{9A38C78E-0083-574C-BBD2-F191805B428A}"/>
              </a:ext>
            </a:extLst>
          </p:cNvPr>
          <p:cNvSpPr>
            <a:spLocks noGrp="1"/>
          </p:cNvSpPr>
          <p:nvPr>
            <p:ph type="body" sz="quarter" idx="32" hasCustomPrompt="1"/>
          </p:nvPr>
        </p:nvSpPr>
        <p:spPr>
          <a:xfrm>
            <a:off x="1980136" y="10742266"/>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8" name="Text Placeholder 11">
            <a:extLst>
              <a:ext uri="{FF2B5EF4-FFF2-40B4-BE49-F238E27FC236}">
                <a16:creationId xmlns:a16="http://schemas.microsoft.com/office/drawing/2014/main" id="{0EC1A24F-21AB-AB45-9A34-7DD472E3106A}"/>
              </a:ext>
            </a:extLst>
          </p:cNvPr>
          <p:cNvSpPr>
            <a:spLocks noGrp="1"/>
          </p:cNvSpPr>
          <p:nvPr>
            <p:ph type="body" sz="quarter" idx="33" hasCustomPrompt="1"/>
          </p:nvPr>
        </p:nvSpPr>
        <p:spPr>
          <a:xfrm>
            <a:off x="8950203" y="10742266"/>
            <a:ext cx="3024981" cy="1728788"/>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9" name="TextBox 48">
            <a:extLst>
              <a:ext uri="{FF2B5EF4-FFF2-40B4-BE49-F238E27FC236}">
                <a16:creationId xmlns:a16="http://schemas.microsoft.com/office/drawing/2014/main" id="{0D0F6677-E2D7-FF4E-B4A9-F9CEED474E8C}"/>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203911498"/>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Organisational chart with pictur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6F4D095-75F9-A649-B638-1297084AD7A4}"/>
              </a:ext>
            </a:extLst>
          </p:cNvPr>
          <p:cNvSpPr>
            <a:spLocks noGrp="1"/>
          </p:cNvSpPr>
          <p:nvPr>
            <p:ph type="pic" sz="quarter" idx="20" hasCustomPrompt="1"/>
          </p:nvPr>
        </p:nvSpPr>
        <p:spPr>
          <a:xfrm>
            <a:off x="10841207" y="1719944"/>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9670604" y="4512108"/>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2" name="Title 1">
            <a:extLst>
              <a:ext uri="{FF2B5EF4-FFF2-40B4-BE49-F238E27FC236}">
                <a16:creationId xmlns:a16="http://schemas.microsoft.com/office/drawing/2014/main" id="{43DA5788-F32B-A54D-BD65-3FF50B9E8946}"/>
              </a:ext>
            </a:extLst>
          </p:cNvPr>
          <p:cNvSpPr>
            <a:spLocks noGrp="1"/>
          </p:cNvSpPr>
          <p:nvPr>
            <p:ph type="title" hasCustomPrompt="1"/>
          </p:nvPr>
        </p:nvSpPr>
        <p:spPr>
          <a:xfrm>
            <a:off x="1676293" y="1677600"/>
            <a:ext cx="7489932" cy="3011660"/>
          </a:xfrm>
        </p:spPr>
        <p:txBody>
          <a:bodyPr/>
          <a:lstStyle>
            <a:lvl1pPr>
              <a:defRPr sz="6000"/>
            </a:lvl1pPr>
          </a:lstStyle>
          <a:p>
            <a:r>
              <a:rPr lang="en-GB"/>
              <a:t>Department name</a:t>
            </a:r>
            <a:endParaRPr lang="en-NL"/>
          </a:p>
        </p:txBody>
      </p:sp>
      <p:sp>
        <p:nvSpPr>
          <p:cNvPr id="31" name="Text Placeholder 11">
            <a:extLst>
              <a:ext uri="{FF2B5EF4-FFF2-40B4-BE49-F238E27FC236}">
                <a16:creationId xmlns:a16="http://schemas.microsoft.com/office/drawing/2014/main" id="{75F485D7-B4EF-5A4B-879E-86975974580C}"/>
              </a:ext>
            </a:extLst>
          </p:cNvPr>
          <p:cNvSpPr>
            <a:spLocks noGrp="1"/>
          </p:cNvSpPr>
          <p:nvPr>
            <p:ph type="body" sz="quarter" idx="30" hasCustomPrompt="1"/>
          </p:nvPr>
        </p:nvSpPr>
        <p:spPr>
          <a:xfrm>
            <a:off x="7114430" y="8596286"/>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2" name="Text Placeholder 11">
            <a:extLst>
              <a:ext uri="{FF2B5EF4-FFF2-40B4-BE49-F238E27FC236}">
                <a16:creationId xmlns:a16="http://schemas.microsoft.com/office/drawing/2014/main" id="{8EE80A14-44BF-1D48-8C22-8748FD98477A}"/>
              </a:ext>
            </a:extLst>
          </p:cNvPr>
          <p:cNvSpPr>
            <a:spLocks noGrp="1"/>
          </p:cNvSpPr>
          <p:nvPr>
            <p:ph type="body" sz="quarter" idx="31" hasCustomPrompt="1"/>
          </p:nvPr>
        </p:nvSpPr>
        <p:spPr>
          <a:xfrm>
            <a:off x="12197877" y="8596286"/>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3" name="Text Placeholder 11">
            <a:extLst>
              <a:ext uri="{FF2B5EF4-FFF2-40B4-BE49-F238E27FC236}">
                <a16:creationId xmlns:a16="http://schemas.microsoft.com/office/drawing/2014/main" id="{4122F631-7AEE-E940-A99A-F863EBC69A3E}"/>
              </a:ext>
            </a:extLst>
          </p:cNvPr>
          <p:cNvSpPr>
            <a:spLocks noGrp="1"/>
          </p:cNvSpPr>
          <p:nvPr>
            <p:ph type="body" sz="quarter" idx="32" hasCustomPrompt="1"/>
          </p:nvPr>
        </p:nvSpPr>
        <p:spPr>
          <a:xfrm>
            <a:off x="17276564" y="8596286"/>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4" name="Text Placeholder 11">
            <a:extLst>
              <a:ext uri="{FF2B5EF4-FFF2-40B4-BE49-F238E27FC236}">
                <a16:creationId xmlns:a16="http://schemas.microsoft.com/office/drawing/2014/main" id="{DEF7042E-C2C0-904C-A1CD-FA245CD87451}"/>
              </a:ext>
            </a:extLst>
          </p:cNvPr>
          <p:cNvSpPr>
            <a:spLocks noGrp="1"/>
          </p:cNvSpPr>
          <p:nvPr>
            <p:ph type="body" sz="quarter" idx="33" hasCustomPrompt="1"/>
          </p:nvPr>
        </p:nvSpPr>
        <p:spPr>
          <a:xfrm>
            <a:off x="2059335" y="8596286"/>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6" name="Text Placeholder 11">
            <a:extLst>
              <a:ext uri="{FF2B5EF4-FFF2-40B4-BE49-F238E27FC236}">
                <a16:creationId xmlns:a16="http://schemas.microsoft.com/office/drawing/2014/main" id="{BF736EFA-67F1-B044-A2C3-78E7C51705B6}"/>
              </a:ext>
            </a:extLst>
          </p:cNvPr>
          <p:cNvSpPr>
            <a:spLocks noGrp="1"/>
          </p:cNvSpPr>
          <p:nvPr>
            <p:ph type="body" sz="quarter" idx="35" hasCustomPrompt="1"/>
          </p:nvPr>
        </p:nvSpPr>
        <p:spPr>
          <a:xfrm>
            <a:off x="14755169" y="4523154"/>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18" name="Picture Placeholder 7">
            <a:extLst>
              <a:ext uri="{FF2B5EF4-FFF2-40B4-BE49-F238E27FC236}">
                <a16:creationId xmlns:a16="http://schemas.microsoft.com/office/drawing/2014/main" id="{E32092D4-F5E4-9948-BB3B-B209229D6C06}"/>
              </a:ext>
            </a:extLst>
          </p:cNvPr>
          <p:cNvSpPr>
            <a:spLocks noGrp="1"/>
          </p:cNvSpPr>
          <p:nvPr>
            <p:ph type="pic" sz="quarter" idx="36" hasCustomPrompt="1"/>
          </p:nvPr>
        </p:nvSpPr>
        <p:spPr>
          <a:xfrm>
            <a:off x="15943082" y="1719944"/>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0" name="Picture Placeholder 7">
            <a:extLst>
              <a:ext uri="{FF2B5EF4-FFF2-40B4-BE49-F238E27FC236}">
                <a16:creationId xmlns:a16="http://schemas.microsoft.com/office/drawing/2014/main" id="{9642D2C8-E8D9-D24B-8B56-E869E37E5558}"/>
              </a:ext>
            </a:extLst>
          </p:cNvPr>
          <p:cNvSpPr>
            <a:spLocks noGrp="1"/>
          </p:cNvSpPr>
          <p:nvPr>
            <p:ph type="pic" sz="quarter" idx="37" hasCustomPrompt="1"/>
          </p:nvPr>
        </p:nvSpPr>
        <p:spPr>
          <a:xfrm>
            <a:off x="3283936" y="5777880"/>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1" name="Picture Placeholder 7">
            <a:extLst>
              <a:ext uri="{FF2B5EF4-FFF2-40B4-BE49-F238E27FC236}">
                <a16:creationId xmlns:a16="http://schemas.microsoft.com/office/drawing/2014/main" id="{CDF87832-9FDB-3F47-97C5-15DEFCD1488C}"/>
              </a:ext>
            </a:extLst>
          </p:cNvPr>
          <p:cNvSpPr>
            <a:spLocks noGrp="1"/>
          </p:cNvSpPr>
          <p:nvPr>
            <p:ph type="pic" sz="quarter" idx="38" hasCustomPrompt="1"/>
          </p:nvPr>
        </p:nvSpPr>
        <p:spPr>
          <a:xfrm>
            <a:off x="8394042" y="5777880"/>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2" name="Picture Placeholder 7">
            <a:extLst>
              <a:ext uri="{FF2B5EF4-FFF2-40B4-BE49-F238E27FC236}">
                <a16:creationId xmlns:a16="http://schemas.microsoft.com/office/drawing/2014/main" id="{9F605B20-5BFC-D34B-AC34-62C629AE60C8}"/>
              </a:ext>
            </a:extLst>
          </p:cNvPr>
          <p:cNvSpPr>
            <a:spLocks noGrp="1"/>
          </p:cNvSpPr>
          <p:nvPr>
            <p:ph type="pic" sz="quarter" idx="39" hasCustomPrompt="1"/>
          </p:nvPr>
        </p:nvSpPr>
        <p:spPr>
          <a:xfrm>
            <a:off x="13459168" y="5777880"/>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3" name="Picture Placeholder 7">
            <a:extLst>
              <a:ext uri="{FF2B5EF4-FFF2-40B4-BE49-F238E27FC236}">
                <a16:creationId xmlns:a16="http://schemas.microsoft.com/office/drawing/2014/main" id="{CB528120-A57D-C04A-A5CE-A13C8EDF86ED}"/>
              </a:ext>
            </a:extLst>
          </p:cNvPr>
          <p:cNvSpPr>
            <a:spLocks noGrp="1"/>
          </p:cNvSpPr>
          <p:nvPr>
            <p:ph type="pic" sz="quarter" idx="40" hasCustomPrompt="1"/>
          </p:nvPr>
        </p:nvSpPr>
        <p:spPr>
          <a:xfrm>
            <a:off x="18569274" y="5777880"/>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4" name="Text Placeholder 11">
            <a:extLst>
              <a:ext uri="{FF2B5EF4-FFF2-40B4-BE49-F238E27FC236}">
                <a16:creationId xmlns:a16="http://schemas.microsoft.com/office/drawing/2014/main" id="{6BDE82E8-4C03-4846-972E-989D2C69E3BD}"/>
              </a:ext>
            </a:extLst>
          </p:cNvPr>
          <p:cNvSpPr>
            <a:spLocks noGrp="1"/>
          </p:cNvSpPr>
          <p:nvPr>
            <p:ph type="body" sz="quarter" idx="41" hasCustomPrompt="1"/>
          </p:nvPr>
        </p:nvSpPr>
        <p:spPr>
          <a:xfrm>
            <a:off x="2059335" y="12248704"/>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25" name="Picture Placeholder 7">
            <a:extLst>
              <a:ext uri="{FF2B5EF4-FFF2-40B4-BE49-F238E27FC236}">
                <a16:creationId xmlns:a16="http://schemas.microsoft.com/office/drawing/2014/main" id="{83187330-3EBE-934C-B545-3351D604B7B9}"/>
              </a:ext>
            </a:extLst>
          </p:cNvPr>
          <p:cNvSpPr>
            <a:spLocks noGrp="1"/>
          </p:cNvSpPr>
          <p:nvPr>
            <p:ph type="pic" sz="quarter" idx="42" hasCustomPrompt="1"/>
          </p:nvPr>
        </p:nvSpPr>
        <p:spPr>
          <a:xfrm>
            <a:off x="3283936" y="9430298"/>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6" name="TextBox 25">
            <a:extLst>
              <a:ext uri="{FF2B5EF4-FFF2-40B4-BE49-F238E27FC236}">
                <a16:creationId xmlns:a16="http://schemas.microsoft.com/office/drawing/2014/main" id="{550D2F5E-666A-C14D-8B7B-3A62CE2C1C05}"/>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2968105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cus areas 3">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6F4D095-75F9-A649-B638-1297084AD7A4}"/>
              </a:ext>
            </a:extLst>
          </p:cNvPr>
          <p:cNvSpPr>
            <a:spLocks noGrp="1"/>
          </p:cNvSpPr>
          <p:nvPr>
            <p:ph type="pic" sz="quarter" idx="20" hasCustomPrompt="1"/>
          </p:nvPr>
        </p:nvSpPr>
        <p:spPr>
          <a:xfrm>
            <a:off x="3110921" y="5160730"/>
            <a:ext cx="3425835" cy="3426058"/>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3110920" y="8904152"/>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1" name="Picture Placeholder 7">
            <a:extLst>
              <a:ext uri="{FF2B5EF4-FFF2-40B4-BE49-F238E27FC236}">
                <a16:creationId xmlns:a16="http://schemas.microsoft.com/office/drawing/2014/main" id="{541447E4-2AA6-7F48-B55B-B62747E0ABD2}"/>
              </a:ext>
            </a:extLst>
          </p:cNvPr>
          <p:cNvSpPr>
            <a:spLocks noGrp="1"/>
          </p:cNvSpPr>
          <p:nvPr>
            <p:ph type="pic" sz="quarter" idx="22" hasCustomPrompt="1"/>
          </p:nvPr>
        </p:nvSpPr>
        <p:spPr>
          <a:xfrm>
            <a:off x="8045291" y="5160730"/>
            <a:ext cx="3425835" cy="3426058"/>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2" name="Text Placeholder 11">
            <a:extLst>
              <a:ext uri="{FF2B5EF4-FFF2-40B4-BE49-F238E27FC236}">
                <a16:creationId xmlns:a16="http://schemas.microsoft.com/office/drawing/2014/main" id="{2AD28FF4-13F4-2C40-9AF9-E173148BF12A}"/>
              </a:ext>
            </a:extLst>
          </p:cNvPr>
          <p:cNvSpPr>
            <a:spLocks noGrp="1"/>
          </p:cNvSpPr>
          <p:nvPr>
            <p:ph type="body" sz="quarter" idx="23" hasCustomPrompt="1"/>
          </p:nvPr>
        </p:nvSpPr>
        <p:spPr>
          <a:xfrm>
            <a:off x="8045291" y="8904152"/>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3" name="Picture Placeholder 7">
            <a:extLst>
              <a:ext uri="{FF2B5EF4-FFF2-40B4-BE49-F238E27FC236}">
                <a16:creationId xmlns:a16="http://schemas.microsoft.com/office/drawing/2014/main" id="{76549726-CD0C-C144-A1EB-76A281BC952E}"/>
              </a:ext>
            </a:extLst>
          </p:cNvPr>
          <p:cNvSpPr>
            <a:spLocks noGrp="1"/>
          </p:cNvSpPr>
          <p:nvPr>
            <p:ph type="pic" sz="quarter" idx="24" hasCustomPrompt="1"/>
          </p:nvPr>
        </p:nvSpPr>
        <p:spPr>
          <a:xfrm>
            <a:off x="12911286" y="5160730"/>
            <a:ext cx="3425835" cy="3426058"/>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4" name="Text Placeholder 11">
            <a:extLst>
              <a:ext uri="{FF2B5EF4-FFF2-40B4-BE49-F238E27FC236}">
                <a16:creationId xmlns:a16="http://schemas.microsoft.com/office/drawing/2014/main" id="{5B3AA100-6E6E-D34B-943C-1D75F59C39B5}"/>
              </a:ext>
            </a:extLst>
          </p:cNvPr>
          <p:cNvSpPr>
            <a:spLocks noGrp="1"/>
          </p:cNvSpPr>
          <p:nvPr>
            <p:ph type="body" sz="quarter" idx="25" hasCustomPrompt="1"/>
          </p:nvPr>
        </p:nvSpPr>
        <p:spPr>
          <a:xfrm>
            <a:off x="12911286" y="8904152"/>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5" name="Picture Placeholder 7">
            <a:extLst>
              <a:ext uri="{FF2B5EF4-FFF2-40B4-BE49-F238E27FC236}">
                <a16:creationId xmlns:a16="http://schemas.microsoft.com/office/drawing/2014/main" id="{DCB14019-6F34-AB4B-B98E-4393A31FE4D7}"/>
              </a:ext>
            </a:extLst>
          </p:cNvPr>
          <p:cNvSpPr>
            <a:spLocks noGrp="1"/>
          </p:cNvSpPr>
          <p:nvPr>
            <p:ph type="pic" sz="quarter" idx="26" hasCustomPrompt="1"/>
          </p:nvPr>
        </p:nvSpPr>
        <p:spPr>
          <a:xfrm>
            <a:off x="17910165" y="5160730"/>
            <a:ext cx="3425835" cy="3426058"/>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6" name="Text Placeholder 11">
            <a:extLst>
              <a:ext uri="{FF2B5EF4-FFF2-40B4-BE49-F238E27FC236}">
                <a16:creationId xmlns:a16="http://schemas.microsoft.com/office/drawing/2014/main" id="{1C762A72-2425-1F42-B142-A5C927AEEBB1}"/>
              </a:ext>
            </a:extLst>
          </p:cNvPr>
          <p:cNvSpPr>
            <a:spLocks noGrp="1"/>
          </p:cNvSpPr>
          <p:nvPr>
            <p:ph type="body" sz="quarter" idx="27" hasCustomPrompt="1"/>
          </p:nvPr>
        </p:nvSpPr>
        <p:spPr>
          <a:xfrm>
            <a:off x="17910165" y="8904152"/>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 name="Title 1">
            <a:extLst>
              <a:ext uri="{FF2B5EF4-FFF2-40B4-BE49-F238E27FC236}">
                <a16:creationId xmlns:a16="http://schemas.microsoft.com/office/drawing/2014/main" id="{A0F5E023-04B8-2F4C-ACC9-EA2D15A8206D}"/>
              </a:ext>
            </a:extLst>
          </p:cNvPr>
          <p:cNvSpPr>
            <a:spLocks noGrp="1"/>
          </p:cNvSpPr>
          <p:nvPr>
            <p:ph type="title" hasCustomPrompt="1"/>
          </p:nvPr>
        </p:nvSpPr>
        <p:spPr/>
        <p:txBody>
          <a:bodyPr/>
          <a:lstStyle/>
          <a:p>
            <a:r>
              <a:rPr lang="en-GB"/>
              <a:t>Focus areas</a:t>
            </a:r>
            <a:endParaRPr lang="en-NL"/>
          </a:p>
        </p:txBody>
      </p:sp>
      <p:sp>
        <p:nvSpPr>
          <p:cNvPr id="6" name="Footer Placeholder 5">
            <a:extLst>
              <a:ext uri="{FF2B5EF4-FFF2-40B4-BE49-F238E27FC236}">
                <a16:creationId xmlns:a16="http://schemas.microsoft.com/office/drawing/2014/main" id="{7BEF6BFC-32B9-EE4E-B0BD-51735697E79A}"/>
              </a:ext>
            </a:extLst>
          </p:cNvPr>
          <p:cNvSpPr>
            <a:spLocks noGrp="1"/>
          </p:cNvSpPr>
          <p:nvPr>
            <p:ph type="ftr" sz="quarter" idx="28"/>
          </p:nvPr>
        </p:nvSpPr>
        <p:spPr/>
        <p:txBody>
          <a:bodyPr/>
          <a:lstStyle/>
          <a:p>
            <a:endParaRPr lang="en-NL"/>
          </a:p>
        </p:txBody>
      </p:sp>
      <p:sp>
        <p:nvSpPr>
          <p:cNvPr id="17" name="TextBox 16">
            <a:extLst>
              <a:ext uri="{FF2B5EF4-FFF2-40B4-BE49-F238E27FC236}">
                <a16:creationId xmlns:a16="http://schemas.microsoft.com/office/drawing/2014/main" id="{D03693B7-36DD-2044-BD6D-C7E743BAFEC9}"/>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60742656"/>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Full picture">
    <p:bg>
      <p:bgPr>
        <a:solidFill>
          <a:schemeClr val="bg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73BADB48-5F7B-4C4D-BDD5-124AFC5BC91E}"/>
              </a:ext>
            </a:extLst>
          </p:cNvPr>
          <p:cNvSpPr txBox="1"/>
          <p:nvPr userDrawn="1"/>
        </p:nvSpPr>
        <p:spPr>
          <a:xfrm>
            <a:off x="22127664" y="12977376"/>
            <a:ext cx="1872086" cy="400110"/>
          </a:xfrm>
          <a:prstGeom prst="rect">
            <a:avLst/>
          </a:prstGeom>
          <a:noFill/>
        </p:spPr>
        <p:txBody>
          <a:bodyPr wrap="square" rtlCol="0" anchor="b">
            <a:spAutoFit/>
          </a:bodyPr>
          <a:lstStyle/>
          <a:p>
            <a:pPr algn="r"/>
            <a:fld id="{6CE035FB-656D-BE4C-9C54-3AFE6E724348}" type="slidenum">
              <a:rPr lang="en-GB" sz="2000" smtClean="0">
                <a:latin typeface="Noto IKEA Latin" panose="020B0502040504020204" pitchFamily="34" charset="0"/>
              </a:rPr>
              <a:pPr algn="r"/>
              <a:t>‹#›</a:t>
            </a:fld>
            <a:endParaRPr lang="en-GB" sz="2000">
              <a:latin typeface="Noto IKEA Latin" panose="020B0502040504020204" pitchFamily="34" charset="0"/>
            </a:endParaRPr>
          </a:p>
        </p:txBody>
      </p:sp>
      <p:sp>
        <p:nvSpPr>
          <p:cNvPr id="7" name="Picture Placeholder 10">
            <a:extLst>
              <a:ext uri="{FF2B5EF4-FFF2-40B4-BE49-F238E27FC236}">
                <a16:creationId xmlns:a16="http://schemas.microsoft.com/office/drawing/2014/main" id="{83374E3F-FD44-FF48-B59B-E0793285F562}"/>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picture into this frame</a:t>
            </a:r>
          </a:p>
        </p:txBody>
      </p:sp>
      <p:sp>
        <p:nvSpPr>
          <p:cNvPr id="4" name="TextBox 3">
            <a:extLst>
              <a:ext uri="{FF2B5EF4-FFF2-40B4-BE49-F238E27FC236}">
                <a16:creationId xmlns:a16="http://schemas.microsoft.com/office/drawing/2014/main" id="{A28FA5BF-CC16-F74C-B2AD-7675C1B452C4}"/>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4066275610"/>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pcitures">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7573FD41-AC43-F04C-8700-DDD5AFA33E14}"/>
              </a:ext>
            </a:extLst>
          </p:cNvPr>
          <p:cNvSpPr>
            <a:spLocks noGrp="1"/>
          </p:cNvSpPr>
          <p:nvPr>
            <p:ph type="pic" sz="quarter" idx="14" hasCustomPrompt="1"/>
          </p:nvPr>
        </p:nvSpPr>
        <p:spPr>
          <a:xfrm>
            <a:off x="491206" y="486000"/>
            <a:ext cx="11483977" cy="9827988"/>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0" name="Picture Placeholder 10">
            <a:extLst>
              <a:ext uri="{FF2B5EF4-FFF2-40B4-BE49-F238E27FC236}">
                <a16:creationId xmlns:a16="http://schemas.microsoft.com/office/drawing/2014/main" id="{250173C0-66DE-2B44-9C5C-228A0DC74671}"/>
              </a:ext>
            </a:extLst>
          </p:cNvPr>
          <p:cNvSpPr>
            <a:spLocks noGrp="1"/>
          </p:cNvSpPr>
          <p:nvPr>
            <p:ph type="pic" sz="quarter" idx="18" hasCustomPrompt="1"/>
          </p:nvPr>
        </p:nvSpPr>
        <p:spPr>
          <a:xfrm>
            <a:off x="12407230" y="486000"/>
            <a:ext cx="11483977" cy="9827988"/>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1" name="Text Placeholder 5">
            <a:extLst>
              <a:ext uri="{FF2B5EF4-FFF2-40B4-BE49-F238E27FC236}">
                <a16:creationId xmlns:a16="http://schemas.microsoft.com/office/drawing/2014/main" id="{32E65FF3-CD8C-8D42-A347-F026094D4707}"/>
              </a:ext>
            </a:extLst>
          </p:cNvPr>
          <p:cNvSpPr>
            <a:spLocks noGrp="1"/>
          </p:cNvSpPr>
          <p:nvPr>
            <p:ph type="body" sz="quarter" idx="33" hasCustomPrompt="1"/>
          </p:nvPr>
        </p:nvSpPr>
        <p:spPr>
          <a:xfrm>
            <a:off x="486322" y="10602416"/>
            <a:ext cx="8679903" cy="1440360"/>
          </a:xfrm>
        </p:spPr>
        <p:txBody>
          <a:bodyPr>
            <a:noAutofit/>
          </a:bodyPr>
          <a:lstStyle>
            <a:lvl1pPr>
              <a:spcBef>
                <a:spcPts val="0"/>
              </a:spcBef>
              <a:defRPr sz="3200"/>
            </a:lvl1pPr>
          </a:lstStyle>
          <a:p>
            <a:pPr lvl="0"/>
            <a:r>
              <a:rPr lang="en-GB" noProof="0"/>
              <a:t>Put the description text here, keep it regular 32 </a:t>
            </a:r>
            <a:r>
              <a:rPr lang="en-GB" noProof="0" err="1"/>
              <a:t>pt</a:t>
            </a:r>
            <a:endParaRPr lang="en-GB" noProof="0"/>
          </a:p>
        </p:txBody>
      </p:sp>
      <p:sp>
        <p:nvSpPr>
          <p:cNvPr id="12" name="Text Placeholder 5">
            <a:extLst>
              <a:ext uri="{FF2B5EF4-FFF2-40B4-BE49-F238E27FC236}">
                <a16:creationId xmlns:a16="http://schemas.microsoft.com/office/drawing/2014/main" id="{7A080EE2-1AD5-5F46-8A70-65AD78446B90}"/>
              </a:ext>
            </a:extLst>
          </p:cNvPr>
          <p:cNvSpPr>
            <a:spLocks noGrp="1"/>
          </p:cNvSpPr>
          <p:nvPr>
            <p:ph type="body" sz="quarter" idx="34" hasCustomPrompt="1"/>
          </p:nvPr>
        </p:nvSpPr>
        <p:spPr>
          <a:xfrm>
            <a:off x="12407233" y="10602416"/>
            <a:ext cx="8928769" cy="1440360"/>
          </a:xfrm>
        </p:spPr>
        <p:txBody>
          <a:bodyPr>
            <a:noAutofit/>
          </a:bodyPr>
          <a:lstStyle>
            <a:lvl1pPr>
              <a:spcBef>
                <a:spcPts val="0"/>
              </a:spcBef>
              <a:defRPr sz="3200"/>
            </a:lvl1pPr>
          </a:lstStyle>
          <a:p>
            <a:pPr lvl="0"/>
            <a:r>
              <a:rPr lang="en-GB" noProof="0"/>
              <a:t>Put the </a:t>
            </a:r>
            <a:r>
              <a:rPr lang="en-GB" noProof="0" err="1"/>
              <a:t>desccription</a:t>
            </a:r>
            <a:r>
              <a:rPr lang="en-GB" noProof="0"/>
              <a:t> text here, keep it regular 32 </a:t>
            </a:r>
            <a:r>
              <a:rPr lang="en-GB" noProof="0" err="1"/>
              <a:t>pt</a:t>
            </a:r>
            <a:endParaRPr lang="en-GB" noProof="0"/>
          </a:p>
        </p:txBody>
      </p:sp>
      <p:sp>
        <p:nvSpPr>
          <p:cNvPr id="13" name="TextBox 12">
            <a:extLst>
              <a:ext uri="{FF2B5EF4-FFF2-40B4-BE49-F238E27FC236}">
                <a16:creationId xmlns:a16="http://schemas.microsoft.com/office/drawing/2014/main" id="{2B01AC93-92D9-A147-BDC6-27DC8FA8CB34}"/>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110969424"/>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Four picture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124A353B-E374-7740-BADE-D936639B642B}"/>
              </a:ext>
            </a:extLst>
          </p:cNvPr>
          <p:cNvSpPr>
            <a:spLocks noGrp="1"/>
          </p:cNvSpPr>
          <p:nvPr>
            <p:ph type="body" sz="half" idx="2" hasCustomPrompt="1"/>
          </p:nvPr>
        </p:nvSpPr>
        <p:spPr>
          <a:xfrm>
            <a:off x="6790607" y="486000"/>
            <a:ext cx="5004056" cy="5939952"/>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3" name="Picture Placeholder 2">
            <a:extLst>
              <a:ext uri="{FF2B5EF4-FFF2-40B4-BE49-F238E27FC236}">
                <a16:creationId xmlns:a16="http://schemas.microsoft.com/office/drawing/2014/main" id="{DEE2AB82-CBD5-1145-9E32-3577A8B871DC}"/>
              </a:ext>
            </a:extLst>
          </p:cNvPr>
          <p:cNvSpPr>
            <a:spLocks noGrp="1"/>
          </p:cNvSpPr>
          <p:nvPr>
            <p:ph type="pic" sz="quarter" idx="19" hasCustomPrompt="1"/>
          </p:nvPr>
        </p:nvSpPr>
        <p:spPr>
          <a:xfrm>
            <a:off x="486000" y="486000"/>
            <a:ext cx="5849999" cy="6372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9" name="Picture Placeholder 2">
            <a:extLst>
              <a:ext uri="{FF2B5EF4-FFF2-40B4-BE49-F238E27FC236}">
                <a16:creationId xmlns:a16="http://schemas.microsoft.com/office/drawing/2014/main" id="{224B314B-F368-C345-A11C-63D267394698}"/>
              </a:ext>
            </a:extLst>
          </p:cNvPr>
          <p:cNvSpPr>
            <a:spLocks noGrp="1"/>
          </p:cNvSpPr>
          <p:nvPr>
            <p:ph type="pic" sz="quarter" idx="20" hasCustomPrompt="1"/>
          </p:nvPr>
        </p:nvSpPr>
        <p:spPr>
          <a:xfrm>
            <a:off x="6336000" y="6858000"/>
            <a:ext cx="5849999" cy="6372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3" name="Picture Placeholder 2">
            <a:extLst>
              <a:ext uri="{FF2B5EF4-FFF2-40B4-BE49-F238E27FC236}">
                <a16:creationId xmlns:a16="http://schemas.microsoft.com/office/drawing/2014/main" id="{0BDAE9D1-09EE-5948-864F-662D2BEFC95D}"/>
              </a:ext>
            </a:extLst>
          </p:cNvPr>
          <p:cNvSpPr>
            <a:spLocks noGrp="1"/>
          </p:cNvSpPr>
          <p:nvPr>
            <p:ph type="pic" sz="quarter" idx="21" hasCustomPrompt="1"/>
          </p:nvPr>
        </p:nvSpPr>
        <p:spPr>
          <a:xfrm>
            <a:off x="12201996" y="486000"/>
            <a:ext cx="5849999" cy="6372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4" name="Picture Placeholder 2">
            <a:extLst>
              <a:ext uri="{FF2B5EF4-FFF2-40B4-BE49-F238E27FC236}">
                <a16:creationId xmlns:a16="http://schemas.microsoft.com/office/drawing/2014/main" id="{5A3CC44A-564E-0843-B5E6-9CA66C87720E}"/>
              </a:ext>
            </a:extLst>
          </p:cNvPr>
          <p:cNvSpPr>
            <a:spLocks noGrp="1"/>
          </p:cNvSpPr>
          <p:nvPr>
            <p:ph type="pic" sz="quarter" idx="22" hasCustomPrompt="1"/>
          </p:nvPr>
        </p:nvSpPr>
        <p:spPr>
          <a:xfrm>
            <a:off x="18051997" y="6858000"/>
            <a:ext cx="5849999" cy="6372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5" name="Text Placeholder 3">
            <a:extLst>
              <a:ext uri="{FF2B5EF4-FFF2-40B4-BE49-F238E27FC236}">
                <a16:creationId xmlns:a16="http://schemas.microsoft.com/office/drawing/2014/main" id="{18BFCA73-5A52-2948-854C-23498017B30C}"/>
              </a:ext>
            </a:extLst>
          </p:cNvPr>
          <p:cNvSpPr>
            <a:spLocks noGrp="1"/>
          </p:cNvSpPr>
          <p:nvPr>
            <p:ph type="body" sz="half" idx="23" hasCustomPrompt="1"/>
          </p:nvPr>
        </p:nvSpPr>
        <p:spPr>
          <a:xfrm>
            <a:off x="858981" y="7290048"/>
            <a:ext cx="5004056" cy="5939952"/>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36" name="Text Placeholder 3">
            <a:extLst>
              <a:ext uri="{FF2B5EF4-FFF2-40B4-BE49-F238E27FC236}">
                <a16:creationId xmlns:a16="http://schemas.microsoft.com/office/drawing/2014/main" id="{26C19E7B-3293-A34C-8019-B66220F68581}"/>
              </a:ext>
            </a:extLst>
          </p:cNvPr>
          <p:cNvSpPr>
            <a:spLocks noGrp="1"/>
          </p:cNvSpPr>
          <p:nvPr>
            <p:ph type="body" sz="half" idx="24" hasCustomPrompt="1"/>
          </p:nvPr>
        </p:nvSpPr>
        <p:spPr>
          <a:xfrm>
            <a:off x="18500007" y="486000"/>
            <a:ext cx="5004056" cy="5939952"/>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37" name="Text Placeholder 3">
            <a:extLst>
              <a:ext uri="{FF2B5EF4-FFF2-40B4-BE49-F238E27FC236}">
                <a16:creationId xmlns:a16="http://schemas.microsoft.com/office/drawing/2014/main" id="{71E04723-43C9-E249-B03C-FDED0C006F77}"/>
              </a:ext>
            </a:extLst>
          </p:cNvPr>
          <p:cNvSpPr>
            <a:spLocks noGrp="1"/>
          </p:cNvSpPr>
          <p:nvPr>
            <p:ph type="body" sz="half" idx="25" hasCustomPrompt="1"/>
          </p:nvPr>
        </p:nvSpPr>
        <p:spPr>
          <a:xfrm>
            <a:off x="12568381" y="7290048"/>
            <a:ext cx="5004056" cy="5939952"/>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11" name="TextBox 10">
            <a:extLst>
              <a:ext uri="{FF2B5EF4-FFF2-40B4-BE49-F238E27FC236}">
                <a16:creationId xmlns:a16="http://schemas.microsoft.com/office/drawing/2014/main" id="{5D4B7E75-FBA5-1D4B-BA9C-11BD2FE3C7B0}"/>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8499924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Eight pictures">
    <p:spTree>
      <p:nvGrpSpPr>
        <p:cNvPr id="1" name=""/>
        <p:cNvGrpSpPr/>
        <p:nvPr/>
      </p:nvGrpSpPr>
      <p:grpSpPr>
        <a:xfrm>
          <a:off x="0" y="0"/>
          <a:ext cx="0" cy="0"/>
          <a:chOff x="0" y="0"/>
          <a:chExt cx="0" cy="0"/>
        </a:xfrm>
      </p:grpSpPr>
      <p:sp>
        <p:nvSpPr>
          <p:cNvPr id="13" name="Picture Placeholder 2">
            <a:extLst>
              <a:ext uri="{FF2B5EF4-FFF2-40B4-BE49-F238E27FC236}">
                <a16:creationId xmlns:a16="http://schemas.microsoft.com/office/drawing/2014/main" id="{D1148F2D-229C-E245-B364-AD926A8E5678}"/>
              </a:ext>
            </a:extLst>
          </p:cNvPr>
          <p:cNvSpPr>
            <a:spLocks noGrp="1"/>
          </p:cNvSpPr>
          <p:nvPr>
            <p:ph type="pic" sz="quarter" idx="19" hasCustomPrompt="1"/>
          </p:nvPr>
        </p:nvSpPr>
        <p:spPr>
          <a:xfrm>
            <a:off x="486000" y="486001"/>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4" name="Text Placeholder 3">
            <a:extLst>
              <a:ext uri="{FF2B5EF4-FFF2-40B4-BE49-F238E27FC236}">
                <a16:creationId xmlns:a16="http://schemas.microsoft.com/office/drawing/2014/main" id="{EF6C2542-122E-CD4A-95A0-0315258EEA53}"/>
              </a:ext>
            </a:extLst>
          </p:cNvPr>
          <p:cNvSpPr>
            <a:spLocks noGrp="1"/>
          </p:cNvSpPr>
          <p:nvPr>
            <p:ph type="body" sz="half" idx="23" hasCustomPrompt="1"/>
          </p:nvPr>
        </p:nvSpPr>
        <p:spPr>
          <a:xfrm>
            <a:off x="513287" y="3888024"/>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15" name="Picture Placeholder 2">
            <a:extLst>
              <a:ext uri="{FF2B5EF4-FFF2-40B4-BE49-F238E27FC236}">
                <a16:creationId xmlns:a16="http://schemas.microsoft.com/office/drawing/2014/main" id="{EBB6C642-10AD-6A47-8744-E825A5EEEA34}"/>
              </a:ext>
            </a:extLst>
          </p:cNvPr>
          <p:cNvSpPr>
            <a:spLocks noGrp="1"/>
          </p:cNvSpPr>
          <p:nvPr>
            <p:ph type="pic" sz="quarter" idx="24" hasCustomPrompt="1"/>
          </p:nvPr>
        </p:nvSpPr>
        <p:spPr>
          <a:xfrm>
            <a:off x="6430565" y="486001"/>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6" name="Picture Placeholder 2">
            <a:extLst>
              <a:ext uri="{FF2B5EF4-FFF2-40B4-BE49-F238E27FC236}">
                <a16:creationId xmlns:a16="http://schemas.microsoft.com/office/drawing/2014/main" id="{B2B7FCEF-39D8-6D47-A0D2-218CCB2588EF}"/>
              </a:ext>
            </a:extLst>
          </p:cNvPr>
          <p:cNvSpPr>
            <a:spLocks noGrp="1"/>
          </p:cNvSpPr>
          <p:nvPr>
            <p:ph type="pic" sz="quarter" idx="25" hasCustomPrompt="1"/>
          </p:nvPr>
        </p:nvSpPr>
        <p:spPr>
          <a:xfrm>
            <a:off x="12367245" y="486001"/>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7" name="Picture Placeholder 2">
            <a:extLst>
              <a:ext uri="{FF2B5EF4-FFF2-40B4-BE49-F238E27FC236}">
                <a16:creationId xmlns:a16="http://schemas.microsoft.com/office/drawing/2014/main" id="{D227A8B8-BE42-0845-B6D6-A1A356E29BFC}"/>
              </a:ext>
            </a:extLst>
          </p:cNvPr>
          <p:cNvSpPr>
            <a:spLocks noGrp="1"/>
          </p:cNvSpPr>
          <p:nvPr>
            <p:ph type="pic" sz="quarter" idx="22" hasCustomPrompt="1"/>
          </p:nvPr>
        </p:nvSpPr>
        <p:spPr>
          <a:xfrm>
            <a:off x="18317394" y="461345"/>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8" name="Text Placeholder 3">
            <a:extLst>
              <a:ext uri="{FF2B5EF4-FFF2-40B4-BE49-F238E27FC236}">
                <a16:creationId xmlns:a16="http://schemas.microsoft.com/office/drawing/2014/main" id="{8BC99C37-5961-7A49-BB6C-EF345DB054E6}"/>
              </a:ext>
            </a:extLst>
          </p:cNvPr>
          <p:cNvSpPr>
            <a:spLocks noGrp="1"/>
          </p:cNvSpPr>
          <p:nvPr>
            <p:ph type="body" sz="half" idx="26" hasCustomPrompt="1"/>
          </p:nvPr>
        </p:nvSpPr>
        <p:spPr>
          <a:xfrm>
            <a:off x="6430566" y="3888024"/>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19" name="Text Placeholder 3">
            <a:extLst>
              <a:ext uri="{FF2B5EF4-FFF2-40B4-BE49-F238E27FC236}">
                <a16:creationId xmlns:a16="http://schemas.microsoft.com/office/drawing/2014/main" id="{EA510DE5-BF9D-6347-AB9C-33A7759FF1D4}"/>
              </a:ext>
            </a:extLst>
          </p:cNvPr>
          <p:cNvSpPr>
            <a:spLocks noGrp="1"/>
          </p:cNvSpPr>
          <p:nvPr>
            <p:ph type="body" sz="half" idx="27" hasCustomPrompt="1"/>
          </p:nvPr>
        </p:nvSpPr>
        <p:spPr>
          <a:xfrm>
            <a:off x="12347846" y="3888024"/>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24" name="Text Placeholder 3">
            <a:extLst>
              <a:ext uri="{FF2B5EF4-FFF2-40B4-BE49-F238E27FC236}">
                <a16:creationId xmlns:a16="http://schemas.microsoft.com/office/drawing/2014/main" id="{A33793B0-DBB7-ED4A-8B92-AE77D9B42399}"/>
              </a:ext>
            </a:extLst>
          </p:cNvPr>
          <p:cNvSpPr>
            <a:spLocks noGrp="1"/>
          </p:cNvSpPr>
          <p:nvPr>
            <p:ph type="body" sz="half" idx="28" hasCustomPrompt="1"/>
          </p:nvPr>
        </p:nvSpPr>
        <p:spPr>
          <a:xfrm>
            <a:off x="18344680" y="3888024"/>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27" name="Picture Placeholder 2">
            <a:extLst>
              <a:ext uri="{FF2B5EF4-FFF2-40B4-BE49-F238E27FC236}">
                <a16:creationId xmlns:a16="http://schemas.microsoft.com/office/drawing/2014/main" id="{37D70117-C030-944C-BBCC-0D4544F2D82B}"/>
              </a:ext>
            </a:extLst>
          </p:cNvPr>
          <p:cNvSpPr>
            <a:spLocks noGrp="1"/>
          </p:cNvSpPr>
          <p:nvPr>
            <p:ph type="pic" sz="quarter" idx="29" hasCustomPrompt="1"/>
          </p:nvPr>
        </p:nvSpPr>
        <p:spPr>
          <a:xfrm>
            <a:off x="486000" y="6885325"/>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8" name="Text Placeholder 3">
            <a:extLst>
              <a:ext uri="{FF2B5EF4-FFF2-40B4-BE49-F238E27FC236}">
                <a16:creationId xmlns:a16="http://schemas.microsoft.com/office/drawing/2014/main" id="{5568282C-2BAE-0F42-AC35-AC2003AF14A7}"/>
              </a:ext>
            </a:extLst>
          </p:cNvPr>
          <p:cNvSpPr>
            <a:spLocks noGrp="1"/>
          </p:cNvSpPr>
          <p:nvPr>
            <p:ph type="body" sz="half" idx="30" hasCustomPrompt="1"/>
          </p:nvPr>
        </p:nvSpPr>
        <p:spPr>
          <a:xfrm>
            <a:off x="513287" y="10287348"/>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29" name="Picture Placeholder 2">
            <a:extLst>
              <a:ext uri="{FF2B5EF4-FFF2-40B4-BE49-F238E27FC236}">
                <a16:creationId xmlns:a16="http://schemas.microsoft.com/office/drawing/2014/main" id="{37CDDD74-2C1A-CC4F-BC4A-348492B730E7}"/>
              </a:ext>
            </a:extLst>
          </p:cNvPr>
          <p:cNvSpPr>
            <a:spLocks noGrp="1"/>
          </p:cNvSpPr>
          <p:nvPr>
            <p:ph type="pic" sz="quarter" idx="31" hasCustomPrompt="1"/>
          </p:nvPr>
        </p:nvSpPr>
        <p:spPr>
          <a:xfrm>
            <a:off x="6430565" y="6885325"/>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0" name="Picture Placeholder 2">
            <a:extLst>
              <a:ext uri="{FF2B5EF4-FFF2-40B4-BE49-F238E27FC236}">
                <a16:creationId xmlns:a16="http://schemas.microsoft.com/office/drawing/2014/main" id="{F877013E-58D2-1048-9A44-45952400B3C6}"/>
              </a:ext>
            </a:extLst>
          </p:cNvPr>
          <p:cNvSpPr>
            <a:spLocks noGrp="1"/>
          </p:cNvSpPr>
          <p:nvPr>
            <p:ph type="pic" sz="quarter" idx="32" hasCustomPrompt="1"/>
          </p:nvPr>
        </p:nvSpPr>
        <p:spPr>
          <a:xfrm>
            <a:off x="12367245" y="6885325"/>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1" name="Picture Placeholder 2">
            <a:extLst>
              <a:ext uri="{FF2B5EF4-FFF2-40B4-BE49-F238E27FC236}">
                <a16:creationId xmlns:a16="http://schemas.microsoft.com/office/drawing/2014/main" id="{E8D329DB-9A89-5049-B680-BC0FE4373220}"/>
              </a:ext>
            </a:extLst>
          </p:cNvPr>
          <p:cNvSpPr>
            <a:spLocks noGrp="1"/>
          </p:cNvSpPr>
          <p:nvPr>
            <p:ph type="pic" sz="quarter" idx="33" hasCustomPrompt="1"/>
          </p:nvPr>
        </p:nvSpPr>
        <p:spPr>
          <a:xfrm>
            <a:off x="18317394" y="6860669"/>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2" name="Text Placeholder 3">
            <a:extLst>
              <a:ext uri="{FF2B5EF4-FFF2-40B4-BE49-F238E27FC236}">
                <a16:creationId xmlns:a16="http://schemas.microsoft.com/office/drawing/2014/main" id="{DCCD54B1-4EFD-D84A-AB50-B7F0F8E84372}"/>
              </a:ext>
            </a:extLst>
          </p:cNvPr>
          <p:cNvSpPr>
            <a:spLocks noGrp="1"/>
          </p:cNvSpPr>
          <p:nvPr>
            <p:ph type="body" sz="half" idx="34" hasCustomPrompt="1"/>
          </p:nvPr>
        </p:nvSpPr>
        <p:spPr>
          <a:xfrm>
            <a:off x="6430566" y="10287348"/>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33" name="Text Placeholder 3">
            <a:extLst>
              <a:ext uri="{FF2B5EF4-FFF2-40B4-BE49-F238E27FC236}">
                <a16:creationId xmlns:a16="http://schemas.microsoft.com/office/drawing/2014/main" id="{EA8F0C11-5CFB-B74A-9620-D6344A6CE488}"/>
              </a:ext>
            </a:extLst>
          </p:cNvPr>
          <p:cNvSpPr>
            <a:spLocks noGrp="1"/>
          </p:cNvSpPr>
          <p:nvPr>
            <p:ph type="body" sz="half" idx="35" hasCustomPrompt="1"/>
          </p:nvPr>
        </p:nvSpPr>
        <p:spPr>
          <a:xfrm>
            <a:off x="12347846" y="10287348"/>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34" name="Text Placeholder 3">
            <a:extLst>
              <a:ext uri="{FF2B5EF4-FFF2-40B4-BE49-F238E27FC236}">
                <a16:creationId xmlns:a16="http://schemas.microsoft.com/office/drawing/2014/main" id="{49DC448D-7351-DA40-9CEB-36EEBA5F7C1B}"/>
              </a:ext>
            </a:extLst>
          </p:cNvPr>
          <p:cNvSpPr>
            <a:spLocks noGrp="1"/>
          </p:cNvSpPr>
          <p:nvPr>
            <p:ph type="body" sz="half" idx="36" hasCustomPrompt="1"/>
          </p:nvPr>
        </p:nvSpPr>
        <p:spPr>
          <a:xfrm>
            <a:off x="18344680" y="10287348"/>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20" name="TextBox 19">
            <a:extLst>
              <a:ext uri="{FF2B5EF4-FFF2-40B4-BE49-F238E27FC236}">
                <a16:creationId xmlns:a16="http://schemas.microsoft.com/office/drawing/2014/main" id="{13CC2D47-81A3-FF42-97E8-18400B5ECD17}"/>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861779181"/>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efore/aft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413F907-AE77-0746-B805-0D2E5F01B01D}"/>
              </a:ext>
            </a:extLst>
          </p:cNvPr>
          <p:cNvSpPr>
            <a:spLocks noGrp="1"/>
          </p:cNvSpPr>
          <p:nvPr>
            <p:ph type="pic" sz="quarter" idx="17" hasCustomPrompt="1"/>
          </p:nvPr>
        </p:nvSpPr>
        <p:spPr>
          <a:xfrm>
            <a:off x="3046415" y="4124209"/>
            <a:ext cx="7417707" cy="4462582"/>
          </a:xfrm>
          <a:solidFill>
            <a:srgbClr val="E4E5E3"/>
          </a:solidFill>
        </p:spPr>
        <p:txBody>
          <a:bodyPr>
            <a:normAutofit/>
          </a:bodyPr>
          <a:lstStyle>
            <a:lvl1pPr marL="0" indent="0" algn="ctr">
              <a:buNone/>
              <a:defRPr sz="2400">
                <a:solidFill>
                  <a:schemeClr val="tx1">
                    <a:lumMod val="65000"/>
                    <a:lumOff val="35000"/>
                  </a:schemeClr>
                </a:solidFill>
              </a:defRPr>
            </a:lvl1pPr>
          </a:lstStyle>
          <a:p>
            <a:r>
              <a:rPr lang="en-NL"/>
              <a:t>Drag and drop a topic-related picture into this frame</a:t>
            </a:r>
          </a:p>
        </p:txBody>
      </p:sp>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13984332" y="4124209"/>
            <a:ext cx="7351669" cy="4462582"/>
          </a:xfrm>
          <a:solidFill>
            <a:srgbClr val="E4E5E3"/>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6" name="Text Placeholder 5">
            <a:extLst>
              <a:ext uri="{FF2B5EF4-FFF2-40B4-BE49-F238E27FC236}">
                <a16:creationId xmlns:a16="http://schemas.microsoft.com/office/drawing/2014/main" id="{8B805C66-9B81-6F4A-8653-8751DC71F3C3}"/>
              </a:ext>
            </a:extLst>
          </p:cNvPr>
          <p:cNvSpPr>
            <a:spLocks noGrp="1"/>
          </p:cNvSpPr>
          <p:nvPr>
            <p:ph type="body" sz="quarter" idx="12" hasCustomPrompt="1"/>
          </p:nvPr>
        </p:nvSpPr>
        <p:spPr>
          <a:xfrm>
            <a:off x="3046415" y="9038944"/>
            <a:ext cx="7417707" cy="3003832"/>
          </a:xfrm>
        </p:spPr>
        <p:txBody>
          <a:bodyPr>
            <a:noAutofit/>
          </a:bodyPr>
          <a:lstStyle>
            <a:lvl1pPr>
              <a:spcBef>
                <a:spcPts val="0"/>
              </a:spcBef>
              <a:defRPr sz="3200"/>
            </a:lvl1pPr>
          </a:lstStyle>
          <a:p>
            <a:pPr lvl="0"/>
            <a:r>
              <a:rPr lang="en-GB" noProof="0"/>
              <a:t>Put the paragraph text here, keep it regular 32 </a:t>
            </a:r>
            <a:r>
              <a:rPr lang="en-GB" noProof="0" err="1"/>
              <a:t>pt</a:t>
            </a:r>
            <a:endParaRPr lang="en-GB" noProof="0"/>
          </a:p>
        </p:txBody>
      </p:sp>
      <p:sp>
        <p:nvSpPr>
          <p:cNvPr id="17" name="Text Placeholder 5">
            <a:extLst>
              <a:ext uri="{FF2B5EF4-FFF2-40B4-BE49-F238E27FC236}">
                <a16:creationId xmlns:a16="http://schemas.microsoft.com/office/drawing/2014/main" id="{FA6FB3B4-ED87-C644-AEAC-F1AF465F1548}"/>
              </a:ext>
            </a:extLst>
          </p:cNvPr>
          <p:cNvSpPr>
            <a:spLocks noGrp="1"/>
          </p:cNvSpPr>
          <p:nvPr>
            <p:ph type="body" sz="quarter" idx="22" hasCustomPrompt="1"/>
          </p:nvPr>
        </p:nvSpPr>
        <p:spPr>
          <a:xfrm>
            <a:off x="13993172" y="9038945"/>
            <a:ext cx="7342828" cy="3003830"/>
          </a:xfrm>
        </p:spPr>
        <p:txBody>
          <a:bodyPr>
            <a:noAutofit/>
          </a:bodyPr>
          <a:lstStyle>
            <a:lvl1pPr>
              <a:spcBef>
                <a:spcPts val="0"/>
              </a:spcBef>
              <a:defRPr sz="3200"/>
            </a:lvl1pPr>
          </a:lstStyle>
          <a:p>
            <a:pPr lvl="0"/>
            <a:r>
              <a:rPr lang="en-GB" noProof="0"/>
              <a:t>Put the paragraph text here, keep it regular 32 </a:t>
            </a:r>
            <a:r>
              <a:rPr lang="en-GB" noProof="0" err="1"/>
              <a:t>pt</a:t>
            </a:r>
            <a:endParaRPr lang="en-GB" noProof="0"/>
          </a:p>
        </p:txBody>
      </p:sp>
      <p:pic>
        <p:nvPicPr>
          <p:cNvPr id="6" name="Graphic 5">
            <a:extLst>
              <a:ext uri="{FF2B5EF4-FFF2-40B4-BE49-F238E27FC236}">
                <a16:creationId xmlns:a16="http://schemas.microsoft.com/office/drawing/2014/main" id="{326B79F7-6D85-D543-AFB0-64FD75BF7EB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931207" y="5056160"/>
            <a:ext cx="2520000" cy="2520000"/>
          </a:xfrm>
          <a:prstGeom prst="rect">
            <a:avLst/>
          </a:prstGeom>
        </p:spPr>
      </p:pic>
      <p:sp>
        <p:nvSpPr>
          <p:cNvPr id="10" name="Title 3">
            <a:extLst>
              <a:ext uri="{FF2B5EF4-FFF2-40B4-BE49-F238E27FC236}">
                <a16:creationId xmlns:a16="http://schemas.microsoft.com/office/drawing/2014/main" id="{F1E86907-9BCD-794E-BD6D-4F29BDCAC4DD}"/>
              </a:ext>
            </a:extLst>
          </p:cNvPr>
          <p:cNvSpPr>
            <a:spLocks noGrp="1"/>
          </p:cNvSpPr>
          <p:nvPr>
            <p:ph type="title" hasCustomPrompt="1"/>
          </p:nvPr>
        </p:nvSpPr>
        <p:spPr>
          <a:xfrm>
            <a:off x="1676293" y="1677600"/>
            <a:ext cx="21033007" cy="2446608"/>
          </a:xfrm>
        </p:spPr>
        <p:txBody>
          <a:bodyPr/>
          <a:lstStyle>
            <a:lvl1pPr>
              <a:defRPr sz="6000" spc="0" baseline="0"/>
            </a:lvl1pPr>
          </a:lstStyle>
          <a:p>
            <a:r>
              <a:rPr lang="en-GB"/>
              <a:t>Put a short headline here, keep it bold 60 </a:t>
            </a:r>
            <a:r>
              <a:rPr lang="en-GB" err="1"/>
              <a:t>pt</a:t>
            </a:r>
            <a:endParaRPr lang="en-NL"/>
          </a:p>
        </p:txBody>
      </p:sp>
      <p:sp>
        <p:nvSpPr>
          <p:cNvPr id="4" name="Footer Placeholder 3">
            <a:extLst>
              <a:ext uri="{FF2B5EF4-FFF2-40B4-BE49-F238E27FC236}">
                <a16:creationId xmlns:a16="http://schemas.microsoft.com/office/drawing/2014/main" id="{98B6467D-F33B-A84D-B882-5C4860E480A0}"/>
              </a:ext>
            </a:extLst>
          </p:cNvPr>
          <p:cNvSpPr>
            <a:spLocks noGrp="1"/>
          </p:cNvSpPr>
          <p:nvPr>
            <p:ph type="ftr" sz="quarter" idx="23"/>
          </p:nvPr>
        </p:nvSpPr>
        <p:spPr/>
        <p:txBody>
          <a:bodyPr/>
          <a:lstStyle/>
          <a:p>
            <a:endParaRPr lang="en-NL"/>
          </a:p>
        </p:txBody>
      </p:sp>
      <p:sp>
        <p:nvSpPr>
          <p:cNvPr id="13" name="TextBox 12">
            <a:extLst>
              <a:ext uri="{FF2B5EF4-FFF2-40B4-BE49-F238E27FC236}">
                <a16:creationId xmlns:a16="http://schemas.microsoft.com/office/drawing/2014/main" id="{698B3729-CC41-244D-B453-5B310C875397}"/>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76570779"/>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From/to">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982E2EA-1137-0846-98DC-3E6332C29A67}"/>
              </a:ext>
            </a:extLst>
          </p:cNvPr>
          <p:cNvSpPr>
            <a:spLocks noGrp="1"/>
          </p:cNvSpPr>
          <p:nvPr>
            <p:ph type="body" sz="quarter" idx="10" hasCustomPrompt="1"/>
          </p:nvPr>
        </p:nvSpPr>
        <p:spPr>
          <a:xfrm>
            <a:off x="2686772" y="51298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5" name="Text Placeholder 5">
            <a:extLst>
              <a:ext uri="{FF2B5EF4-FFF2-40B4-BE49-F238E27FC236}">
                <a16:creationId xmlns:a16="http://schemas.microsoft.com/office/drawing/2014/main" id="{BB2544E0-599A-0E4D-B7C9-0338205DD470}"/>
              </a:ext>
            </a:extLst>
          </p:cNvPr>
          <p:cNvSpPr>
            <a:spLocks noGrp="1"/>
          </p:cNvSpPr>
          <p:nvPr>
            <p:ph type="body" sz="quarter" idx="20" hasCustomPrompt="1"/>
          </p:nvPr>
        </p:nvSpPr>
        <p:spPr>
          <a:xfrm>
            <a:off x="13902138" y="51298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6" name="Text Placeholder 5">
            <a:extLst>
              <a:ext uri="{FF2B5EF4-FFF2-40B4-BE49-F238E27FC236}">
                <a16:creationId xmlns:a16="http://schemas.microsoft.com/office/drawing/2014/main" id="{7CD185CC-288C-914E-B039-9E34B6521AAE}"/>
              </a:ext>
            </a:extLst>
          </p:cNvPr>
          <p:cNvSpPr>
            <a:spLocks noGrp="1"/>
          </p:cNvSpPr>
          <p:nvPr>
            <p:ph type="body" sz="quarter" idx="21" hasCustomPrompt="1"/>
          </p:nvPr>
        </p:nvSpPr>
        <p:spPr>
          <a:xfrm>
            <a:off x="2686772" y="686645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7" name="Text Placeholder 5">
            <a:extLst>
              <a:ext uri="{FF2B5EF4-FFF2-40B4-BE49-F238E27FC236}">
                <a16:creationId xmlns:a16="http://schemas.microsoft.com/office/drawing/2014/main" id="{734DFA83-0489-374D-984E-D148AF15FB19}"/>
              </a:ext>
            </a:extLst>
          </p:cNvPr>
          <p:cNvSpPr>
            <a:spLocks noGrp="1"/>
          </p:cNvSpPr>
          <p:nvPr>
            <p:ph type="body" sz="quarter" idx="22" hasCustomPrompt="1"/>
          </p:nvPr>
        </p:nvSpPr>
        <p:spPr>
          <a:xfrm>
            <a:off x="13902138" y="686645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8" name="Text Placeholder 5">
            <a:extLst>
              <a:ext uri="{FF2B5EF4-FFF2-40B4-BE49-F238E27FC236}">
                <a16:creationId xmlns:a16="http://schemas.microsoft.com/office/drawing/2014/main" id="{40A584AF-EFDF-6C45-8450-E6896AA5447E}"/>
              </a:ext>
            </a:extLst>
          </p:cNvPr>
          <p:cNvSpPr>
            <a:spLocks noGrp="1"/>
          </p:cNvSpPr>
          <p:nvPr>
            <p:ph type="body" sz="quarter" idx="23" hasCustomPrompt="1"/>
          </p:nvPr>
        </p:nvSpPr>
        <p:spPr>
          <a:xfrm>
            <a:off x="2686772" y="86031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9" name="Text Placeholder 5">
            <a:extLst>
              <a:ext uri="{FF2B5EF4-FFF2-40B4-BE49-F238E27FC236}">
                <a16:creationId xmlns:a16="http://schemas.microsoft.com/office/drawing/2014/main" id="{B8ADD201-5C22-9240-930B-C39DCFAEA838}"/>
              </a:ext>
            </a:extLst>
          </p:cNvPr>
          <p:cNvSpPr>
            <a:spLocks noGrp="1"/>
          </p:cNvSpPr>
          <p:nvPr>
            <p:ph type="body" sz="quarter" idx="24" hasCustomPrompt="1"/>
          </p:nvPr>
        </p:nvSpPr>
        <p:spPr>
          <a:xfrm>
            <a:off x="13902138" y="86031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20" name="Text Placeholder 5">
            <a:extLst>
              <a:ext uri="{FF2B5EF4-FFF2-40B4-BE49-F238E27FC236}">
                <a16:creationId xmlns:a16="http://schemas.microsoft.com/office/drawing/2014/main" id="{21AA854F-49C8-0740-875D-2A28B04B66F6}"/>
              </a:ext>
            </a:extLst>
          </p:cNvPr>
          <p:cNvSpPr>
            <a:spLocks noGrp="1"/>
          </p:cNvSpPr>
          <p:nvPr>
            <p:ph type="body" sz="quarter" idx="25" hasCustomPrompt="1"/>
          </p:nvPr>
        </p:nvSpPr>
        <p:spPr>
          <a:xfrm>
            <a:off x="2686772" y="10339760"/>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21" name="Text Placeholder 5">
            <a:extLst>
              <a:ext uri="{FF2B5EF4-FFF2-40B4-BE49-F238E27FC236}">
                <a16:creationId xmlns:a16="http://schemas.microsoft.com/office/drawing/2014/main" id="{8FE94F80-1B2D-0E45-8D2E-B57A96EFF5BA}"/>
              </a:ext>
            </a:extLst>
          </p:cNvPr>
          <p:cNvSpPr>
            <a:spLocks noGrp="1"/>
          </p:cNvSpPr>
          <p:nvPr>
            <p:ph type="body" sz="quarter" idx="26" hasCustomPrompt="1"/>
          </p:nvPr>
        </p:nvSpPr>
        <p:spPr>
          <a:xfrm>
            <a:off x="13902138" y="10339760"/>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pic>
        <p:nvPicPr>
          <p:cNvPr id="24" name="Graphic 23">
            <a:extLst>
              <a:ext uri="{FF2B5EF4-FFF2-40B4-BE49-F238E27FC236}">
                <a16:creationId xmlns:a16="http://schemas.microsoft.com/office/drawing/2014/main" id="{C665CCDB-76D3-9C47-BA6F-98DC8DE39695}"/>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931207" y="7079462"/>
            <a:ext cx="2520000" cy="2520000"/>
          </a:xfrm>
          <a:prstGeom prst="rect">
            <a:avLst/>
          </a:prstGeom>
        </p:spPr>
      </p:pic>
      <p:sp>
        <p:nvSpPr>
          <p:cNvPr id="22" name="Title 3">
            <a:extLst>
              <a:ext uri="{FF2B5EF4-FFF2-40B4-BE49-F238E27FC236}">
                <a16:creationId xmlns:a16="http://schemas.microsoft.com/office/drawing/2014/main" id="{12B27A15-0B5F-6D42-A903-9B52ABFB9D46}"/>
              </a:ext>
            </a:extLst>
          </p:cNvPr>
          <p:cNvSpPr>
            <a:spLocks noGrp="1"/>
          </p:cNvSpPr>
          <p:nvPr>
            <p:ph type="title" hasCustomPrompt="1"/>
          </p:nvPr>
        </p:nvSpPr>
        <p:spPr>
          <a:xfrm>
            <a:off x="1676293" y="1677600"/>
            <a:ext cx="21033007" cy="2446608"/>
          </a:xfrm>
        </p:spPr>
        <p:txBody>
          <a:bodyPr/>
          <a:lstStyle>
            <a:lvl1pPr>
              <a:defRPr sz="6000" spc="0" baseline="0"/>
            </a:lvl1pPr>
          </a:lstStyle>
          <a:p>
            <a:r>
              <a:rPr lang="en-GB"/>
              <a:t>Put a short headline here, keep it bold 60 </a:t>
            </a:r>
            <a:r>
              <a:rPr lang="en-GB" err="1"/>
              <a:t>pt</a:t>
            </a:r>
            <a:endParaRPr lang="en-NL"/>
          </a:p>
        </p:txBody>
      </p:sp>
      <p:sp>
        <p:nvSpPr>
          <p:cNvPr id="5" name="Footer Placeholder 4">
            <a:extLst>
              <a:ext uri="{FF2B5EF4-FFF2-40B4-BE49-F238E27FC236}">
                <a16:creationId xmlns:a16="http://schemas.microsoft.com/office/drawing/2014/main" id="{6C67929C-C3EA-9A47-BD51-95B00CE1AD28}"/>
              </a:ext>
            </a:extLst>
          </p:cNvPr>
          <p:cNvSpPr>
            <a:spLocks noGrp="1"/>
          </p:cNvSpPr>
          <p:nvPr>
            <p:ph type="ftr" sz="quarter" idx="27"/>
          </p:nvPr>
        </p:nvSpPr>
        <p:spPr/>
        <p:txBody>
          <a:bodyPr/>
          <a:lstStyle/>
          <a:p>
            <a:endParaRPr lang="en-NL"/>
          </a:p>
        </p:txBody>
      </p:sp>
      <p:sp>
        <p:nvSpPr>
          <p:cNvPr id="23" name="TextBox 22">
            <a:extLst>
              <a:ext uri="{FF2B5EF4-FFF2-40B4-BE49-F238E27FC236}">
                <a16:creationId xmlns:a16="http://schemas.microsoft.com/office/drawing/2014/main" id="{9FDFBDEE-F22D-2B4B-A965-6CEC71F0E51D}"/>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40150816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Final slide">
    <p:bg>
      <p:bgPr>
        <a:solidFill>
          <a:schemeClr val="bg1"/>
        </a:solidFill>
        <a:effectLst/>
      </p:bgPr>
    </p:bg>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ECC773ED-664B-824F-91D1-6C08CFB17BDA}"/>
              </a:ext>
            </a:extLst>
          </p:cNvPr>
          <p:cNvSpPr>
            <a:spLocks noGrp="1"/>
          </p:cNvSpPr>
          <p:nvPr>
            <p:ph type="body" sz="quarter" idx="13" hasCustomPrompt="1"/>
          </p:nvPr>
        </p:nvSpPr>
        <p:spPr>
          <a:xfrm>
            <a:off x="1700168" y="7650090"/>
            <a:ext cx="10490247" cy="4384884"/>
          </a:xfrm>
        </p:spPr>
        <p:txBody>
          <a:bodyPr/>
          <a:lstStyle>
            <a:lvl1pPr>
              <a:spcBef>
                <a:spcPts val="0"/>
              </a:spcBef>
              <a:defRPr sz="3200" b="0"/>
            </a:lvl1pPr>
          </a:lstStyle>
          <a:p>
            <a:pPr lvl="0"/>
            <a:r>
              <a:rPr lang="en-GB" noProof="0"/>
              <a:t>Contact details, keep it regular 32 </a:t>
            </a:r>
            <a:r>
              <a:rPr lang="en-GB" noProof="0" err="1"/>
              <a:t>pt</a:t>
            </a:r>
            <a:endParaRPr lang="en-GB" noProof="0"/>
          </a:p>
        </p:txBody>
      </p:sp>
      <p:pic>
        <p:nvPicPr>
          <p:cNvPr id="7" name="Picture 6">
            <a:extLst>
              <a:ext uri="{FF2B5EF4-FFF2-40B4-BE49-F238E27FC236}">
                <a16:creationId xmlns:a16="http://schemas.microsoft.com/office/drawing/2014/main" id="{8B5EDC8C-A7B6-2F44-BFD8-CD803F5DB10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209277" y="11324668"/>
            <a:ext cx="9935257" cy="2158068"/>
          </a:xfrm>
          <a:prstGeom prst="rect">
            <a:avLst/>
          </a:prstGeom>
        </p:spPr>
      </p:pic>
      <p:sp>
        <p:nvSpPr>
          <p:cNvPr id="3" name="Title 2">
            <a:extLst>
              <a:ext uri="{FF2B5EF4-FFF2-40B4-BE49-F238E27FC236}">
                <a16:creationId xmlns:a16="http://schemas.microsoft.com/office/drawing/2014/main" id="{7735138D-D591-9C4B-A824-FB43143DAED7}"/>
              </a:ext>
            </a:extLst>
          </p:cNvPr>
          <p:cNvSpPr>
            <a:spLocks noGrp="1"/>
          </p:cNvSpPr>
          <p:nvPr>
            <p:ph type="title" hasCustomPrompt="1"/>
          </p:nvPr>
        </p:nvSpPr>
        <p:spPr/>
        <p:txBody>
          <a:bodyPr/>
          <a:lstStyle/>
          <a:p>
            <a:r>
              <a:rPr lang="en-GB"/>
              <a:t>Thank you</a:t>
            </a:r>
            <a:endParaRPr lang="en-NL"/>
          </a:p>
        </p:txBody>
      </p:sp>
      <p:sp>
        <p:nvSpPr>
          <p:cNvPr id="8" name="Text Placeholder 6">
            <a:extLst>
              <a:ext uri="{FF2B5EF4-FFF2-40B4-BE49-F238E27FC236}">
                <a16:creationId xmlns:a16="http://schemas.microsoft.com/office/drawing/2014/main" id="{43362774-1C74-3547-A14B-E456BF8AB04B}"/>
              </a:ext>
            </a:extLst>
          </p:cNvPr>
          <p:cNvSpPr>
            <a:spLocks noGrp="1"/>
          </p:cNvSpPr>
          <p:nvPr>
            <p:ph type="body" sz="quarter" idx="16" hasCustomPrompt="1"/>
          </p:nvPr>
        </p:nvSpPr>
        <p:spPr>
          <a:xfrm>
            <a:off x="1700168" y="6858000"/>
            <a:ext cx="10490247" cy="792088"/>
          </a:xfrm>
        </p:spPr>
        <p:txBody>
          <a:bodyPr/>
          <a:lstStyle>
            <a:lvl1pPr>
              <a:spcBef>
                <a:spcPts val="0"/>
              </a:spcBef>
              <a:defRPr sz="3200" b="1"/>
            </a:lvl1pPr>
          </a:lstStyle>
          <a:p>
            <a:pPr lvl="0"/>
            <a:r>
              <a:rPr lang="en-GB" noProof="0"/>
              <a:t>Contact person’s full name, keep it bold 32 </a:t>
            </a:r>
            <a:r>
              <a:rPr lang="en-GB" noProof="0" err="1"/>
              <a:t>pt</a:t>
            </a:r>
            <a:endParaRPr lang="en-GB" noProof="0"/>
          </a:p>
        </p:txBody>
      </p:sp>
      <p:sp>
        <p:nvSpPr>
          <p:cNvPr id="5" name="Footer Placeholder 4">
            <a:extLst>
              <a:ext uri="{FF2B5EF4-FFF2-40B4-BE49-F238E27FC236}">
                <a16:creationId xmlns:a16="http://schemas.microsoft.com/office/drawing/2014/main" id="{5B8ABD2B-5975-3E47-B565-B6138DEA4BF2}"/>
              </a:ext>
            </a:extLst>
          </p:cNvPr>
          <p:cNvSpPr>
            <a:spLocks noGrp="1"/>
          </p:cNvSpPr>
          <p:nvPr>
            <p:ph type="ftr" sz="quarter" idx="17"/>
          </p:nvPr>
        </p:nvSpPr>
        <p:spPr/>
        <p:txBody>
          <a:bodyPr/>
          <a:lstStyle/>
          <a:p>
            <a:endParaRPr lang="en-NL"/>
          </a:p>
        </p:txBody>
      </p:sp>
    </p:spTree>
    <p:extLst>
      <p:ext uri="{BB962C8B-B14F-4D97-AF65-F5344CB8AC3E}">
        <p14:creationId xmlns:p14="http://schemas.microsoft.com/office/powerpoint/2010/main" val="673776064"/>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6387543"/>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 simple background">
    <p:bg>
      <p:bgPr>
        <a:solidFill>
          <a:schemeClr val="bg1"/>
        </a:solidFill>
        <a:effectLst/>
      </p:bgPr>
    </p:bg>
    <p:spTree>
      <p:nvGrpSpPr>
        <p:cNvPr id="1" name=""/>
        <p:cNvGrpSpPr/>
        <p:nvPr/>
      </p:nvGrpSpPr>
      <p:grpSpPr>
        <a:xfrm>
          <a:off x="0" y="0"/>
          <a:ext cx="0" cy="0"/>
          <a:chOff x="0" y="0"/>
          <a:chExt cx="0" cy="0"/>
        </a:xfrm>
      </p:grpSpPr>
      <p:sp>
        <p:nvSpPr>
          <p:cNvPr id="3" name="Picture Placeholder 10">
            <a:extLst>
              <a:ext uri="{FF2B5EF4-FFF2-40B4-BE49-F238E27FC236}">
                <a16:creationId xmlns:a16="http://schemas.microsoft.com/office/drawing/2014/main" id="{2F11C4C6-DEAB-AFC3-A6A2-6B3BD0CF1E78}"/>
              </a:ext>
            </a:extLst>
          </p:cNvPr>
          <p:cNvSpPr>
            <a:spLocks noGrp="1"/>
          </p:cNvSpPr>
          <p:nvPr>
            <p:ph type="pic" sz="quarter" idx="14" hasCustomPrompt="1"/>
          </p:nvPr>
        </p:nvSpPr>
        <p:spPr>
          <a:xfrm>
            <a:off x="491206" y="486000"/>
            <a:ext cx="23400000" cy="12747400"/>
          </a:xfrm>
          <a:custGeom>
            <a:avLst/>
            <a:gdLst>
              <a:gd name="connsiteX0" fmla="*/ 0 w 23400000"/>
              <a:gd name="connsiteY0" fmla="*/ 0 h 12744000"/>
              <a:gd name="connsiteX1" fmla="*/ 23400000 w 23400000"/>
              <a:gd name="connsiteY1" fmla="*/ 0 h 12744000"/>
              <a:gd name="connsiteX2" fmla="*/ 23400000 w 23400000"/>
              <a:gd name="connsiteY2" fmla="*/ 12744000 h 12744000"/>
              <a:gd name="connsiteX3" fmla="*/ 0 w 23400000"/>
              <a:gd name="connsiteY3" fmla="*/ 12744000 h 12744000"/>
              <a:gd name="connsiteX4" fmla="*/ 0 w 23400000"/>
              <a:gd name="connsiteY4" fmla="*/ 0 h 12744000"/>
              <a:gd name="connsiteX0" fmla="*/ 0 w 23400000"/>
              <a:gd name="connsiteY0" fmla="*/ 0 h 12744000"/>
              <a:gd name="connsiteX1" fmla="*/ 23400000 w 23400000"/>
              <a:gd name="connsiteY1" fmla="*/ 0 h 12744000"/>
              <a:gd name="connsiteX2" fmla="*/ 23394405 w 23400000"/>
              <a:gd name="connsiteY2" fmla="*/ 9831892 h 12744000"/>
              <a:gd name="connsiteX3" fmla="*/ 23400000 w 23400000"/>
              <a:gd name="connsiteY3" fmla="*/ 12744000 h 12744000"/>
              <a:gd name="connsiteX4" fmla="*/ 0 w 23400000"/>
              <a:gd name="connsiteY4" fmla="*/ 12744000 h 12744000"/>
              <a:gd name="connsiteX5" fmla="*/ 0 w 23400000"/>
              <a:gd name="connsiteY5" fmla="*/ 0 h 12744000"/>
              <a:gd name="connsiteX0" fmla="*/ 0 w 23400000"/>
              <a:gd name="connsiteY0" fmla="*/ 0 h 12747400"/>
              <a:gd name="connsiteX1" fmla="*/ 23400000 w 23400000"/>
              <a:gd name="connsiteY1" fmla="*/ 0 h 12747400"/>
              <a:gd name="connsiteX2" fmla="*/ 23394405 w 23400000"/>
              <a:gd name="connsiteY2" fmla="*/ 9831892 h 12747400"/>
              <a:gd name="connsiteX3" fmla="*/ 23400000 w 23400000"/>
              <a:gd name="connsiteY3" fmla="*/ 12744000 h 12747400"/>
              <a:gd name="connsiteX4" fmla="*/ 17828544 w 23400000"/>
              <a:gd name="connsiteY4" fmla="*/ 12747400 h 12747400"/>
              <a:gd name="connsiteX5" fmla="*/ 0 w 23400000"/>
              <a:gd name="connsiteY5" fmla="*/ 12744000 h 12747400"/>
              <a:gd name="connsiteX6" fmla="*/ 0 w 23400000"/>
              <a:gd name="connsiteY6" fmla="*/ 0 h 12747400"/>
              <a:gd name="connsiteX0" fmla="*/ 0 w 23400000"/>
              <a:gd name="connsiteY0" fmla="*/ 0 h 12747400"/>
              <a:gd name="connsiteX1" fmla="*/ 23400000 w 23400000"/>
              <a:gd name="connsiteY1" fmla="*/ 0 h 12747400"/>
              <a:gd name="connsiteX2" fmla="*/ 23394405 w 23400000"/>
              <a:gd name="connsiteY2" fmla="*/ 9831892 h 12747400"/>
              <a:gd name="connsiteX3" fmla="*/ 17831050 w 23400000"/>
              <a:gd name="connsiteY3" fmla="*/ 9829350 h 12747400"/>
              <a:gd name="connsiteX4" fmla="*/ 17828544 w 23400000"/>
              <a:gd name="connsiteY4" fmla="*/ 12747400 h 12747400"/>
              <a:gd name="connsiteX5" fmla="*/ 0 w 23400000"/>
              <a:gd name="connsiteY5" fmla="*/ 12744000 h 12747400"/>
              <a:gd name="connsiteX6" fmla="*/ 0 w 23400000"/>
              <a:gd name="connsiteY6" fmla="*/ 0 h 12747400"/>
              <a:gd name="connsiteX0" fmla="*/ 0 w 23400000"/>
              <a:gd name="connsiteY0" fmla="*/ 0 h 12747400"/>
              <a:gd name="connsiteX1" fmla="*/ 23400000 w 23400000"/>
              <a:gd name="connsiteY1" fmla="*/ 0 h 12747400"/>
              <a:gd name="connsiteX2" fmla="*/ 23394405 w 23400000"/>
              <a:gd name="connsiteY2" fmla="*/ 9831892 h 12747400"/>
              <a:gd name="connsiteX3" fmla="*/ 17831050 w 23400000"/>
              <a:gd name="connsiteY3" fmla="*/ 9833176 h 12747400"/>
              <a:gd name="connsiteX4" fmla="*/ 17828544 w 23400000"/>
              <a:gd name="connsiteY4" fmla="*/ 12747400 h 12747400"/>
              <a:gd name="connsiteX5" fmla="*/ 0 w 23400000"/>
              <a:gd name="connsiteY5" fmla="*/ 12744000 h 12747400"/>
              <a:gd name="connsiteX6" fmla="*/ 0 w 23400000"/>
              <a:gd name="connsiteY6" fmla="*/ 0 h 1274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400000" h="12747400">
                <a:moveTo>
                  <a:pt x="0" y="0"/>
                </a:moveTo>
                <a:lnTo>
                  <a:pt x="23400000" y="0"/>
                </a:lnTo>
                <a:lnTo>
                  <a:pt x="23394405" y="9831892"/>
                </a:lnTo>
                <a:lnTo>
                  <a:pt x="17831050" y="9833176"/>
                </a:lnTo>
                <a:cubicBezTo>
                  <a:pt x="17830215" y="10805859"/>
                  <a:pt x="17829379" y="11774717"/>
                  <a:pt x="17828544" y="12747400"/>
                </a:cubicBezTo>
                <a:lnTo>
                  <a:pt x="0" y="12744000"/>
                </a:lnTo>
                <a:lnTo>
                  <a:pt x="0" y="0"/>
                </a:lnTo>
                <a:close/>
              </a:path>
            </a:pathLst>
          </a:custGeom>
          <a:solidFill>
            <a:schemeClr val="bg1">
              <a:lumMod val="95000"/>
            </a:schemeClr>
          </a:solidFill>
        </p:spPr>
        <p:txBody>
          <a:bodyPr>
            <a:normAutofit/>
          </a:bodyPr>
          <a:lstStyle>
            <a:lvl1pPr marL="0" marR="0" indent="0" algn="ctr" defTabSz="1828663" rtl="0" eaLnBrk="1" fontAlgn="auto" latinLnBrk="0" hangingPunct="1">
              <a:lnSpc>
                <a:spcPct val="10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sv-SE"/>
              <a:t>Drag </a:t>
            </a:r>
            <a:r>
              <a:rPr lang="en-NL"/>
              <a:t>and drop a background image into this fram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3060000" y="3402013"/>
            <a:ext cx="12156188" cy="6911975"/>
          </a:xfrm>
          <a:prstGeom prst="rect">
            <a:avLst/>
          </a:prstGeom>
          <a:solidFill>
            <a:schemeClr val="bg1"/>
          </a:solidFill>
        </p:spPr>
        <p:txBody>
          <a:bodyPr vert="horz" lIns="720000" tIns="540000" rIns="360000" bIns="360000" rtlCol="0" anchor="t">
            <a:noAutofit/>
          </a:bodyPr>
          <a:lstStyle>
            <a:lvl1pPr>
              <a:defRPr/>
            </a:lvl1pPr>
          </a:lstStyle>
          <a:p>
            <a:r>
              <a:rPr lang="en-GB" noProof="0"/>
              <a:t>Put the title here,</a:t>
            </a:r>
            <a:br>
              <a:rPr lang="en-GB" noProof="0"/>
            </a:br>
            <a:r>
              <a:rPr lang="en-GB" noProof="0"/>
              <a:t>keep it bold 80 </a:t>
            </a:r>
            <a:r>
              <a:rPr lang="en-GB" noProof="0" err="1"/>
              <a:t>pt</a:t>
            </a:r>
            <a:br>
              <a:rPr lang="en-GB" noProof="0"/>
            </a:br>
            <a:endParaRPr lang="en-GB" noProof="0"/>
          </a:p>
        </p:txBody>
      </p:sp>
      <p:pic>
        <p:nvPicPr>
          <p:cNvPr id="16" name="Picture 15">
            <a:extLst>
              <a:ext uri="{FF2B5EF4-FFF2-40B4-BE49-F238E27FC236}">
                <a16:creationId xmlns:a16="http://schemas.microsoft.com/office/drawing/2014/main" id="{B318DE6B-1EB2-D248-BE9E-1B173597E1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32675" y="10313988"/>
            <a:ext cx="5058531" cy="3402012"/>
          </a:xfrm>
          <a:prstGeom prst="rect">
            <a:avLst/>
          </a:prstGeom>
        </p:spPr>
      </p:pic>
    </p:spTree>
    <p:extLst>
      <p:ext uri="{BB962C8B-B14F-4D97-AF65-F5344CB8AC3E}">
        <p14:creationId xmlns:p14="http://schemas.microsoft.com/office/powerpoint/2010/main" val="485521589"/>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on double background">
    <p:bg>
      <p:bgPr>
        <a:solidFill>
          <a:schemeClr val="bg1"/>
        </a:solidFill>
        <a:effectLst/>
      </p:bgPr>
    </p:bg>
    <p:spTree>
      <p:nvGrpSpPr>
        <p:cNvPr id="1" name=""/>
        <p:cNvGrpSpPr/>
        <p:nvPr/>
      </p:nvGrpSpPr>
      <p:grpSpPr>
        <a:xfrm>
          <a:off x="0" y="0"/>
          <a:ext cx="0" cy="0"/>
          <a:chOff x="0" y="0"/>
          <a:chExt cx="0" cy="0"/>
        </a:xfrm>
      </p:grpSpPr>
      <p:sp>
        <p:nvSpPr>
          <p:cNvPr id="2" name="Picture Placeholder 10">
            <a:extLst>
              <a:ext uri="{FF2B5EF4-FFF2-40B4-BE49-F238E27FC236}">
                <a16:creationId xmlns:a16="http://schemas.microsoft.com/office/drawing/2014/main" id="{DAF73074-2E04-AA55-418B-D0B0A182F573}"/>
              </a:ext>
            </a:extLst>
          </p:cNvPr>
          <p:cNvSpPr>
            <a:spLocks noGrp="1"/>
          </p:cNvSpPr>
          <p:nvPr>
            <p:ph type="pic" sz="quarter" idx="15" hasCustomPrompt="1"/>
          </p:nvPr>
        </p:nvSpPr>
        <p:spPr>
          <a:xfrm>
            <a:off x="491102" y="486000"/>
            <a:ext cx="8674688" cy="12744000"/>
          </a:xfrm>
          <a:solidFill>
            <a:schemeClr val="bg1">
              <a:lumMod val="8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14" name="Picture Placeholder 6">
            <a:extLst>
              <a:ext uri="{FF2B5EF4-FFF2-40B4-BE49-F238E27FC236}">
                <a16:creationId xmlns:a16="http://schemas.microsoft.com/office/drawing/2014/main" id="{692D6ABC-8D9C-1E47-A2A8-2DC39B83F77E}"/>
              </a:ext>
            </a:extLst>
          </p:cNvPr>
          <p:cNvSpPr>
            <a:spLocks noGrp="1"/>
          </p:cNvSpPr>
          <p:nvPr>
            <p:ph type="pic" sz="quarter" idx="19" hasCustomPrompt="1"/>
          </p:nvPr>
        </p:nvSpPr>
        <p:spPr>
          <a:xfrm>
            <a:off x="9165791" y="486000"/>
            <a:ext cx="14725416" cy="12744000"/>
          </a:xfrm>
          <a:custGeom>
            <a:avLst/>
            <a:gdLst>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4730 w 23399999"/>
              <a:gd name="connsiteY8"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1337594 w 23399999"/>
              <a:gd name="connsiteY8" fmla="*/ 1164380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56794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5 w 23400000"/>
              <a:gd name="connsiteY4" fmla="*/ 9824813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603855 w 23439125"/>
              <a:gd name="connsiteY0" fmla="*/ 331220 h 13075220"/>
              <a:gd name="connsiteX1" fmla="*/ 23439124 w 23439125"/>
              <a:gd name="connsiteY1" fmla="*/ 331220 h 13075220"/>
              <a:gd name="connsiteX2" fmla="*/ 23439124 w 23439125"/>
              <a:gd name="connsiteY2" fmla="*/ 331220 h 13075220"/>
              <a:gd name="connsiteX3" fmla="*/ 23439125 w 23439125"/>
              <a:gd name="connsiteY3" fmla="*/ 10162828 h 13075220"/>
              <a:gd name="connsiteX4" fmla="*/ 17859729 w 23439125"/>
              <a:gd name="connsiteY4" fmla="*/ 10156033 h 13075220"/>
              <a:gd name="connsiteX5" fmla="*/ 17859730 w 23439125"/>
              <a:gd name="connsiteY5" fmla="*/ 13075220 h 13075220"/>
              <a:gd name="connsiteX6" fmla="*/ 39125 w 23439125"/>
              <a:gd name="connsiteY6" fmla="*/ 13075220 h 13075220"/>
              <a:gd name="connsiteX7" fmla="*/ 39125 w 23439125"/>
              <a:gd name="connsiteY7" fmla="*/ 13075220 h 13075220"/>
              <a:gd name="connsiteX8" fmla="*/ 39125 w 23439125"/>
              <a:gd name="connsiteY8" fmla="*/ 1182480 h 13075220"/>
              <a:gd name="connsiteX9" fmla="*/ 2603855 w 23439125"/>
              <a:gd name="connsiteY9" fmla="*/ 331220 h 1307522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2564730 w 23400000"/>
              <a:gd name="connsiteY8" fmla="*/ 0 h 12744000"/>
              <a:gd name="connsiteX0" fmla="*/ 869121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8691210 w 23400000"/>
              <a:gd name="connsiteY8" fmla="*/ 0 h 12744000"/>
              <a:gd name="connsiteX0" fmla="*/ 8674584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8674584 w 23400000"/>
              <a:gd name="connsiteY8" fmla="*/ 0 h 12744000"/>
              <a:gd name="connsiteX0" fmla="*/ 8674584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8674584 w 23400000"/>
              <a:gd name="connsiteY7" fmla="*/ 0 h 12744000"/>
              <a:gd name="connsiteX0" fmla="*/ 0 w 14725416"/>
              <a:gd name="connsiteY0" fmla="*/ 0 h 12744000"/>
              <a:gd name="connsiteX1" fmla="*/ 14725415 w 14725416"/>
              <a:gd name="connsiteY1" fmla="*/ 0 h 12744000"/>
              <a:gd name="connsiteX2" fmla="*/ 14725415 w 14725416"/>
              <a:gd name="connsiteY2" fmla="*/ 0 h 12744000"/>
              <a:gd name="connsiteX3" fmla="*/ 14725416 w 14725416"/>
              <a:gd name="connsiteY3" fmla="*/ 9831608 h 12744000"/>
              <a:gd name="connsiteX4" fmla="*/ 9146020 w 14725416"/>
              <a:gd name="connsiteY4" fmla="*/ 9824813 h 12744000"/>
              <a:gd name="connsiteX5" fmla="*/ 9146021 w 14725416"/>
              <a:gd name="connsiteY5" fmla="*/ 12744000 h 12744000"/>
              <a:gd name="connsiteX6" fmla="*/ 3903 w 14725416"/>
              <a:gd name="connsiteY6" fmla="*/ 12744000 h 12744000"/>
              <a:gd name="connsiteX7" fmla="*/ 0 w 14725416"/>
              <a:gd name="connsiteY7" fmla="*/ 0 h 127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25416" h="12744000">
                <a:moveTo>
                  <a:pt x="0" y="0"/>
                </a:moveTo>
                <a:lnTo>
                  <a:pt x="14725415" y="0"/>
                </a:lnTo>
                <a:lnTo>
                  <a:pt x="14725415" y="0"/>
                </a:lnTo>
                <a:cubicBezTo>
                  <a:pt x="14725415" y="3277203"/>
                  <a:pt x="14725416" y="6554405"/>
                  <a:pt x="14725416" y="9831608"/>
                </a:cubicBezTo>
                <a:cubicBezTo>
                  <a:pt x="14724997" y="9831571"/>
                  <a:pt x="9140821" y="9823891"/>
                  <a:pt x="9146020" y="9824813"/>
                </a:cubicBezTo>
                <a:cubicBezTo>
                  <a:pt x="9162597" y="9827753"/>
                  <a:pt x="9140354" y="12744037"/>
                  <a:pt x="9146021" y="12744000"/>
                </a:cubicBezTo>
                <a:lnTo>
                  <a:pt x="3903" y="12744000"/>
                </a:lnTo>
                <a:lnTo>
                  <a:pt x="0" y="0"/>
                </a:lnTo>
                <a:close/>
              </a:path>
            </a:pathLst>
          </a:custGeom>
          <a:solidFill>
            <a:schemeClr val="bg1">
              <a:lumMod val="95000"/>
            </a:schemeClr>
          </a:solidFill>
        </p:spPr>
        <p:txBody>
          <a:bodyPr/>
          <a:lstStyle>
            <a:lvl1pPr algn="ctr">
              <a:defRPr sz="2400">
                <a:solidFill>
                  <a:schemeClr val="tx1">
                    <a:lumMod val="65000"/>
                    <a:lumOff val="35000"/>
                  </a:schemeClr>
                </a:solidFill>
              </a:defRPr>
            </a:lvl1pPr>
          </a:lstStyle>
          <a:p>
            <a:r>
              <a:rPr lang="en-NL"/>
              <a:t>Drag and drop a topic-related picture into this fram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3060000" y="3402013"/>
            <a:ext cx="12156188" cy="6911975"/>
          </a:xfrm>
          <a:prstGeom prst="rect">
            <a:avLst/>
          </a:prstGeom>
          <a:solidFill>
            <a:schemeClr val="bg1"/>
          </a:solidFill>
        </p:spPr>
        <p:txBody>
          <a:bodyPr vert="horz" lIns="720000" tIns="540000" rIns="360000" bIns="360000" rtlCol="0" anchor="t">
            <a:noAutofit/>
          </a:bodyPr>
          <a:lstStyle>
            <a:lvl1pPr>
              <a:defRPr/>
            </a:lvl1pPr>
          </a:lstStyle>
          <a:p>
            <a:r>
              <a:rPr lang="en-GB" noProof="0"/>
              <a:t>Put the title here,</a:t>
            </a:r>
            <a:br>
              <a:rPr lang="en-GB" noProof="0"/>
            </a:br>
            <a:r>
              <a:rPr lang="en-GB" noProof="0"/>
              <a:t>keep it bold 80 </a:t>
            </a:r>
            <a:r>
              <a:rPr lang="en-GB" noProof="0" err="1"/>
              <a:t>pt</a:t>
            </a:r>
            <a:endParaRPr lang="en-GB" noProof="0"/>
          </a:p>
        </p:txBody>
      </p:sp>
      <p:pic>
        <p:nvPicPr>
          <p:cNvPr id="16" name="Picture 15">
            <a:extLst>
              <a:ext uri="{FF2B5EF4-FFF2-40B4-BE49-F238E27FC236}">
                <a16:creationId xmlns:a16="http://schemas.microsoft.com/office/drawing/2014/main" id="{B318DE6B-1EB2-D248-BE9E-1B173597E1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32675" y="10313988"/>
            <a:ext cx="5058531" cy="3402012"/>
          </a:xfrm>
          <a:prstGeom prst="rect">
            <a:avLst/>
          </a:prstGeom>
        </p:spPr>
      </p:pic>
    </p:spTree>
    <p:extLst>
      <p:ext uri="{BB962C8B-B14F-4D97-AF65-F5344CB8AC3E}">
        <p14:creationId xmlns:p14="http://schemas.microsoft.com/office/powerpoint/2010/main" val="14120703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 white background">
    <p:bg>
      <p:bgPr>
        <a:solidFill>
          <a:schemeClr val="bg1"/>
        </a:solidFill>
        <a:effectLst/>
      </p:bgPr>
    </p:bg>
    <p:spTree>
      <p:nvGrpSpPr>
        <p:cNvPr id="1" name=""/>
        <p:cNvGrpSpPr/>
        <p:nvPr/>
      </p:nvGrpSpPr>
      <p:grpSpPr>
        <a:xfrm>
          <a:off x="0" y="0"/>
          <a:ext cx="0" cy="0"/>
          <a:chOff x="0" y="0"/>
          <a:chExt cx="0" cy="0"/>
        </a:xfrm>
      </p:grpSpPr>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3060000" y="3402013"/>
            <a:ext cx="12156188" cy="6911975"/>
          </a:xfrm>
          <a:prstGeom prst="rect">
            <a:avLst/>
          </a:prstGeom>
          <a:solidFill>
            <a:schemeClr val="bg1"/>
          </a:solidFill>
        </p:spPr>
        <p:txBody>
          <a:bodyPr vert="horz" lIns="720000" tIns="540000" rIns="360000" bIns="360000" rtlCol="0" anchor="t">
            <a:noAutofit/>
          </a:bodyPr>
          <a:lstStyle>
            <a:lvl1pPr>
              <a:defRPr/>
            </a:lvl1pPr>
          </a:lstStyle>
          <a:p>
            <a:r>
              <a:rPr lang="en-GB" noProof="0"/>
              <a:t>Put the title here,</a:t>
            </a:r>
            <a:br>
              <a:rPr lang="en-GB" noProof="0"/>
            </a:br>
            <a:r>
              <a:rPr lang="en-GB" noProof="0"/>
              <a:t>keep it bold 80 </a:t>
            </a:r>
            <a:r>
              <a:rPr lang="en-GB" noProof="0" err="1"/>
              <a:t>pt</a:t>
            </a:r>
            <a:br>
              <a:rPr lang="en-GB" noProof="0"/>
            </a:br>
            <a:endParaRPr lang="en-GB" noProof="0"/>
          </a:p>
        </p:txBody>
      </p:sp>
      <p:pic>
        <p:nvPicPr>
          <p:cNvPr id="16" name="Picture 15">
            <a:extLst>
              <a:ext uri="{FF2B5EF4-FFF2-40B4-BE49-F238E27FC236}">
                <a16:creationId xmlns:a16="http://schemas.microsoft.com/office/drawing/2014/main" id="{B318DE6B-1EB2-D248-BE9E-1B173597E1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32675" y="10313988"/>
            <a:ext cx="5058531" cy="3402012"/>
          </a:xfrm>
          <a:prstGeom prst="rect">
            <a:avLst/>
          </a:prstGeom>
        </p:spPr>
      </p:pic>
    </p:spTree>
    <p:extLst>
      <p:ext uri="{BB962C8B-B14F-4D97-AF65-F5344CB8AC3E}">
        <p14:creationId xmlns:p14="http://schemas.microsoft.com/office/powerpoint/2010/main" val="30722717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rganisational chart">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10677922" y="1682204"/>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2" name="Title 1">
            <a:extLst>
              <a:ext uri="{FF2B5EF4-FFF2-40B4-BE49-F238E27FC236}">
                <a16:creationId xmlns:a16="http://schemas.microsoft.com/office/drawing/2014/main" id="{43DA5788-F32B-A54D-BD65-3FF50B9E8946}"/>
              </a:ext>
            </a:extLst>
          </p:cNvPr>
          <p:cNvSpPr>
            <a:spLocks noGrp="1"/>
          </p:cNvSpPr>
          <p:nvPr>
            <p:ph type="title" hasCustomPrompt="1"/>
          </p:nvPr>
        </p:nvSpPr>
        <p:spPr>
          <a:xfrm>
            <a:off x="1676294" y="1677600"/>
            <a:ext cx="7489932" cy="3011659"/>
          </a:xfrm>
        </p:spPr>
        <p:txBody>
          <a:bodyPr/>
          <a:lstStyle>
            <a:lvl1pPr>
              <a:defRPr sz="6000"/>
            </a:lvl1pPr>
          </a:lstStyle>
          <a:p>
            <a:r>
              <a:rPr lang="en-GB"/>
              <a:t>Department name</a:t>
            </a:r>
            <a:endParaRPr lang="en-NL"/>
          </a:p>
        </p:txBody>
      </p:sp>
      <p:sp>
        <p:nvSpPr>
          <p:cNvPr id="37" name="Text Placeholder 11">
            <a:extLst>
              <a:ext uri="{FF2B5EF4-FFF2-40B4-BE49-F238E27FC236}">
                <a16:creationId xmlns:a16="http://schemas.microsoft.com/office/drawing/2014/main" id="{D20C3156-2AD2-124D-9E3C-76D76447737F}"/>
              </a:ext>
            </a:extLst>
          </p:cNvPr>
          <p:cNvSpPr>
            <a:spLocks noGrp="1"/>
          </p:cNvSpPr>
          <p:nvPr>
            <p:ph type="body" sz="quarter" idx="23" hasCustomPrompt="1"/>
          </p:nvPr>
        </p:nvSpPr>
        <p:spPr>
          <a:xfrm>
            <a:off x="15935622" y="856114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8" name="Text Placeholder 11">
            <a:extLst>
              <a:ext uri="{FF2B5EF4-FFF2-40B4-BE49-F238E27FC236}">
                <a16:creationId xmlns:a16="http://schemas.microsoft.com/office/drawing/2014/main" id="{52FB8893-C886-B348-A8E3-2932C39A6C17}"/>
              </a:ext>
            </a:extLst>
          </p:cNvPr>
          <p:cNvSpPr>
            <a:spLocks noGrp="1"/>
          </p:cNvSpPr>
          <p:nvPr>
            <p:ph type="body" sz="quarter" idx="24" hasCustomPrompt="1"/>
          </p:nvPr>
        </p:nvSpPr>
        <p:spPr>
          <a:xfrm>
            <a:off x="12447959" y="856114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9" name="Text Placeholder 11">
            <a:extLst>
              <a:ext uri="{FF2B5EF4-FFF2-40B4-BE49-F238E27FC236}">
                <a16:creationId xmlns:a16="http://schemas.microsoft.com/office/drawing/2014/main" id="{4E2FB335-2D5A-A743-81A7-7FAB0B1F748A}"/>
              </a:ext>
            </a:extLst>
          </p:cNvPr>
          <p:cNvSpPr>
            <a:spLocks noGrp="1"/>
          </p:cNvSpPr>
          <p:nvPr>
            <p:ph type="body" sz="quarter" idx="25" hasCustomPrompt="1"/>
          </p:nvPr>
        </p:nvSpPr>
        <p:spPr>
          <a:xfrm>
            <a:off x="19423285" y="856114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0" name="Text Placeholder 11">
            <a:extLst>
              <a:ext uri="{FF2B5EF4-FFF2-40B4-BE49-F238E27FC236}">
                <a16:creationId xmlns:a16="http://schemas.microsoft.com/office/drawing/2014/main" id="{FDBB4D3B-21DA-AA48-875F-039F1DA49F4D}"/>
              </a:ext>
            </a:extLst>
          </p:cNvPr>
          <p:cNvSpPr>
            <a:spLocks noGrp="1"/>
          </p:cNvSpPr>
          <p:nvPr>
            <p:ph type="body" sz="quarter" idx="26" hasCustomPrompt="1"/>
          </p:nvPr>
        </p:nvSpPr>
        <p:spPr>
          <a:xfrm>
            <a:off x="8950201" y="856114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1" name="Text Placeholder 11">
            <a:extLst>
              <a:ext uri="{FF2B5EF4-FFF2-40B4-BE49-F238E27FC236}">
                <a16:creationId xmlns:a16="http://schemas.microsoft.com/office/drawing/2014/main" id="{04958B99-BADB-694D-857D-679CEF331FE2}"/>
              </a:ext>
            </a:extLst>
          </p:cNvPr>
          <p:cNvSpPr>
            <a:spLocks noGrp="1"/>
          </p:cNvSpPr>
          <p:nvPr>
            <p:ph type="body" sz="quarter" idx="27" hasCustomPrompt="1"/>
          </p:nvPr>
        </p:nvSpPr>
        <p:spPr>
          <a:xfrm>
            <a:off x="5462538" y="856114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2" name="Text Placeholder 11">
            <a:extLst>
              <a:ext uri="{FF2B5EF4-FFF2-40B4-BE49-F238E27FC236}">
                <a16:creationId xmlns:a16="http://schemas.microsoft.com/office/drawing/2014/main" id="{867B033E-55B1-E64C-AB2E-DEA20C7A2523}"/>
              </a:ext>
            </a:extLst>
          </p:cNvPr>
          <p:cNvSpPr>
            <a:spLocks noGrp="1"/>
          </p:cNvSpPr>
          <p:nvPr>
            <p:ph type="body" sz="quarter" idx="28" hasCustomPrompt="1"/>
          </p:nvPr>
        </p:nvSpPr>
        <p:spPr>
          <a:xfrm>
            <a:off x="1980134" y="856114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3" name="Text Placeholder 11">
            <a:extLst>
              <a:ext uri="{FF2B5EF4-FFF2-40B4-BE49-F238E27FC236}">
                <a16:creationId xmlns:a16="http://schemas.microsoft.com/office/drawing/2014/main" id="{1342689F-D009-8044-A2FD-60C69DAC4509}"/>
              </a:ext>
            </a:extLst>
          </p:cNvPr>
          <p:cNvSpPr>
            <a:spLocks noGrp="1"/>
          </p:cNvSpPr>
          <p:nvPr>
            <p:ph type="body" sz="quarter" idx="29" hasCustomPrompt="1"/>
          </p:nvPr>
        </p:nvSpPr>
        <p:spPr>
          <a:xfrm>
            <a:off x="3698342" y="5113633"/>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4" name="Text Placeholder 11">
            <a:extLst>
              <a:ext uri="{FF2B5EF4-FFF2-40B4-BE49-F238E27FC236}">
                <a16:creationId xmlns:a16="http://schemas.microsoft.com/office/drawing/2014/main" id="{67DEF29E-90A5-BC45-8BB6-53DBC7210B2A}"/>
              </a:ext>
            </a:extLst>
          </p:cNvPr>
          <p:cNvSpPr>
            <a:spLocks noGrp="1"/>
          </p:cNvSpPr>
          <p:nvPr>
            <p:ph type="body" sz="quarter" idx="30" hasCustomPrompt="1"/>
          </p:nvPr>
        </p:nvSpPr>
        <p:spPr>
          <a:xfrm>
            <a:off x="10677921" y="512818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5" name="Text Placeholder 11">
            <a:extLst>
              <a:ext uri="{FF2B5EF4-FFF2-40B4-BE49-F238E27FC236}">
                <a16:creationId xmlns:a16="http://schemas.microsoft.com/office/drawing/2014/main" id="{DD2C9CC6-3595-BA4C-9ADE-B391018F28A0}"/>
              </a:ext>
            </a:extLst>
          </p:cNvPr>
          <p:cNvSpPr>
            <a:spLocks noGrp="1"/>
          </p:cNvSpPr>
          <p:nvPr>
            <p:ph type="body" sz="quarter" idx="31" hasCustomPrompt="1"/>
          </p:nvPr>
        </p:nvSpPr>
        <p:spPr>
          <a:xfrm>
            <a:off x="17659090" y="512818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6" name="Text Placeholder 11">
            <a:extLst>
              <a:ext uri="{FF2B5EF4-FFF2-40B4-BE49-F238E27FC236}">
                <a16:creationId xmlns:a16="http://schemas.microsoft.com/office/drawing/2014/main" id="{9A38C78E-0083-574C-BBD2-F191805B428A}"/>
              </a:ext>
            </a:extLst>
          </p:cNvPr>
          <p:cNvSpPr>
            <a:spLocks noGrp="1"/>
          </p:cNvSpPr>
          <p:nvPr>
            <p:ph type="body" sz="quarter" idx="32" hasCustomPrompt="1"/>
          </p:nvPr>
        </p:nvSpPr>
        <p:spPr>
          <a:xfrm>
            <a:off x="1980134" y="10742265"/>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8" name="Text Placeholder 11">
            <a:extLst>
              <a:ext uri="{FF2B5EF4-FFF2-40B4-BE49-F238E27FC236}">
                <a16:creationId xmlns:a16="http://schemas.microsoft.com/office/drawing/2014/main" id="{0EC1A24F-21AB-AB45-9A34-7DD472E3106A}"/>
              </a:ext>
            </a:extLst>
          </p:cNvPr>
          <p:cNvSpPr>
            <a:spLocks noGrp="1"/>
          </p:cNvSpPr>
          <p:nvPr>
            <p:ph type="body" sz="quarter" idx="33" hasCustomPrompt="1"/>
          </p:nvPr>
        </p:nvSpPr>
        <p:spPr>
          <a:xfrm>
            <a:off x="8950201" y="10742265"/>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9" name="TextBox 48">
            <a:extLst>
              <a:ext uri="{FF2B5EF4-FFF2-40B4-BE49-F238E27FC236}">
                <a16:creationId xmlns:a16="http://schemas.microsoft.com/office/drawing/2014/main" id="{0D0F6677-E2D7-FF4E-B4A9-F9CEED474E8C}"/>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99998778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on white background">
    <p:bg>
      <p:bgPr>
        <a:solidFill>
          <a:schemeClr val="bg1"/>
        </a:solidFill>
        <a:effectLst/>
      </p:bgPr>
    </p:bg>
    <p:spTree>
      <p:nvGrpSpPr>
        <p:cNvPr id="1" name=""/>
        <p:cNvGrpSpPr/>
        <p:nvPr/>
      </p:nvGrpSpPr>
      <p:grpSpPr>
        <a:xfrm>
          <a:off x="0" y="0"/>
          <a:ext cx="0" cy="0"/>
          <a:chOff x="0" y="0"/>
          <a:chExt cx="0" cy="0"/>
        </a:xfrm>
      </p:grpSpPr>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3060000" y="3402013"/>
            <a:ext cx="12156188" cy="6911975"/>
          </a:xfrm>
          <a:prstGeom prst="rect">
            <a:avLst/>
          </a:prstGeom>
          <a:solidFill>
            <a:schemeClr val="bg1"/>
          </a:solidFill>
        </p:spPr>
        <p:txBody>
          <a:bodyPr vert="horz" lIns="720000" tIns="540000" rIns="360000" bIns="360000" rtlCol="0" anchor="t">
            <a:noAutofit/>
          </a:bodyPr>
          <a:lstStyle>
            <a:lvl1pPr>
              <a:defRPr/>
            </a:lvl1pPr>
          </a:lstStyle>
          <a:p>
            <a:r>
              <a:rPr lang="en-GB" noProof="0"/>
              <a:t>Put the title here,</a:t>
            </a:r>
            <a:br>
              <a:rPr lang="en-GB" noProof="0"/>
            </a:br>
            <a:r>
              <a:rPr lang="en-GB" noProof="0"/>
              <a:t>keep it bold 80 </a:t>
            </a:r>
            <a:r>
              <a:rPr lang="en-GB" noProof="0" err="1"/>
              <a:t>pt</a:t>
            </a:r>
            <a:br>
              <a:rPr lang="en-GB" noProof="0"/>
            </a:br>
            <a:endParaRPr lang="en-GB" noProof="0"/>
          </a:p>
        </p:txBody>
      </p:sp>
      <p:pic>
        <p:nvPicPr>
          <p:cNvPr id="16" name="Picture 15">
            <a:extLst>
              <a:ext uri="{FF2B5EF4-FFF2-40B4-BE49-F238E27FC236}">
                <a16:creationId xmlns:a16="http://schemas.microsoft.com/office/drawing/2014/main" id="{B318DE6B-1EB2-D248-BE9E-1B173597E1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32675" y="10313988"/>
            <a:ext cx="5058531" cy="3402012"/>
          </a:xfrm>
          <a:prstGeom prst="rect">
            <a:avLst/>
          </a:prstGeom>
        </p:spPr>
      </p:pic>
    </p:spTree>
    <p:extLst>
      <p:ext uri="{BB962C8B-B14F-4D97-AF65-F5344CB8AC3E}">
        <p14:creationId xmlns:p14="http://schemas.microsoft.com/office/powerpoint/2010/main" val="307227171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Agenda or conten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3293FC4-39C9-4047-8405-0EE5AF044904}"/>
              </a:ext>
            </a:extLst>
          </p:cNvPr>
          <p:cNvSpPr>
            <a:spLocks noGrp="1"/>
          </p:cNvSpPr>
          <p:nvPr>
            <p:ph type="pic" sz="quarter" idx="13" hasCustomPrompt="1"/>
          </p:nvPr>
        </p:nvSpPr>
        <p:spPr>
          <a:xfrm>
            <a:off x="486000" y="486000"/>
            <a:ext cx="10440000" cy="12744000"/>
          </a:xfrm>
          <a:solidFill>
            <a:schemeClr val="bg1">
              <a:lumMod val="95000"/>
            </a:schemeClr>
          </a:solidFill>
        </p:spPr>
        <p:txBody>
          <a:bodyPr/>
          <a:lstStyle>
            <a:lvl1pPr algn="ctr">
              <a:defRPr sz="2400">
                <a:solidFill>
                  <a:schemeClr val="tx1">
                    <a:lumMod val="65000"/>
                    <a:lumOff val="35000"/>
                  </a:schemeClr>
                </a:solidFill>
              </a:defRPr>
            </a:lvl1pPr>
          </a:lstStyle>
          <a:p>
            <a:r>
              <a:rPr lang="en-NL"/>
              <a:t>Fill this frame with one of the Theme Colours</a:t>
            </a:r>
          </a:p>
        </p:txBody>
      </p:sp>
      <p:sp>
        <p:nvSpPr>
          <p:cNvPr id="9" name="Text Placeholder 3">
            <a:extLst>
              <a:ext uri="{FF2B5EF4-FFF2-40B4-BE49-F238E27FC236}">
                <a16:creationId xmlns:a16="http://schemas.microsoft.com/office/drawing/2014/main" id="{74EDCDDC-BFAD-0048-95CD-93E49D18174D}"/>
              </a:ext>
            </a:extLst>
          </p:cNvPr>
          <p:cNvSpPr>
            <a:spLocks noGrp="1"/>
          </p:cNvSpPr>
          <p:nvPr>
            <p:ph type="body" sz="half" idx="2" hasCustomPrompt="1"/>
          </p:nvPr>
        </p:nvSpPr>
        <p:spPr>
          <a:xfrm>
            <a:off x="12191207" y="1961458"/>
            <a:ext cx="9144793" cy="10081320"/>
          </a:xfrm>
        </p:spPr>
        <p:txBody>
          <a:bodyPr>
            <a:noAutofit/>
          </a:bodyPr>
          <a:lstStyle>
            <a:lvl1pPr marL="0" marR="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sz="32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endParaRPr lang="en-GB" noProof="0"/>
          </a:p>
        </p:txBody>
      </p:sp>
      <p:sp>
        <p:nvSpPr>
          <p:cNvPr id="6" name="Title 5">
            <a:extLst>
              <a:ext uri="{FF2B5EF4-FFF2-40B4-BE49-F238E27FC236}">
                <a16:creationId xmlns:a16="http://schemas.microsoft.com/office/drawing/2014/main" id="{07211B91-AE84-A342-91A4-CA604C6D63E9}"/>
              </a:ext>
            </a:extLst>
          </p:cNvPr>
          <p:cNvSpPr>
            <a:spLocks noGrp="1"/>
          </p:cNvSpPr>
          <p:nvPr>
            <p:ph type="title" hasCustomPrompt="1"/>
          </p:nvPr>
        </p:nvSpPr>
        <p:spPr>
          <a:xfrm>
            <a:off x="1676293" y="1677600"/>
            <a:ext cx="9000000" cy="8633316"/>
          </a:xfrm>
        </p:spPr>
        <p:txBody>
          <a:bodyPr bIns="46800"/>
          <a:lstStyle/>
          <a:p>
            <a:r>
              <a:rPr lang="en-GB"/>
              <a:t>Agenda or contents</a:t>
            </a:r>
            <a:endParaRPr lang="en-NL"/>
          </a:p>
        </p:txBody>
      </p:sp>
      <p:sp>
        <p:nvSpPr>
          <p:cNvPr id="7" name="Footer Placeholder 6">
            <a:extLst>
              <a:ext uri="{FF2B5EF4-FFF2-40B4-BE49-F238E27FC236}">
                <a16:creationId xmlns:a16="http://schemas.microsoft.com/office/drawing/2014/main" id="{AA71B48D-AD8E-4041-BC0A-97827EA167E2}"/>
              </a:ext>
            </a:extLst>
          </p:cNvPr>
          <p:cNvSpPr>
            <a:spLocks noGrp="1"/>
          </p:cNvSpPr>
          <p:nvPr>
            <p:ph type="ftr" sz="quarter" idx="16"/>
          </p:nvPr>
        </p:nvSpPr>
        <p:spPr/>
        <p:txBody>
          <a:bodyPr/>
          <a:lstStyle/>
          <a:p>
            <a:endParaRPr lang="en-NL"/>
          </a:p>
        </p:txBody>
      </p:sp>
      <p:sp>
        <p:nvSpPr>
          <p:cNvPr id="13" name="TextBox 12">
            <a:extLst>
              <a:ext uri="{FF2B5EF4-FFF2-40B4-BE49-F238E27FC236}">
                <a16:creationId xmlns:a16="http://schemas.microsoft.com/office/drawing/2014/main" id="{3A2D6FA1-9D20-AF47-912B-1D770AF0FEBC}"/>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69644881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hapter headline on simple background">
    <p:bg>
      <p:bgPr>
        <a:solidFill>
          <a:schemeClr val="bg1"/>
        </a:solidFill>
        <a:effectLst/>
      </p:bgPr>
    </p:bg>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ADB4BA95-E492-D840-88F6-2FE23D26918D}"/>
              </a:ext>
            </a:extLst>
          </p:cNvPr>
          <p:cNvSpPr>
            <a:spLocks noGrp="1"/>
          </p:cNvSpPr>
          <p:nvPr>
            <p:ph type="pic" sz="quarter" idx="14" hasCustomPrompt="1"/>
          </p:nvPr>
        </p:nvSpPr>
        <p:spPr>
          <a:xfrm>
            <a:off x="491206" y="486000"/>
            <a:ext cx="23400000" cy="12744000"/>
          </a:xfrm>
          <a:solidFill>
            <a:schemeClr val="bg1">
              <a:lumMod val="95000"/>
            </a:schemeClr>
          </a:solidFill>
        </p:spPr>
        <p:txBody>
          <a:bodyPr>
            <a:normAutofit/>
          </a:bodyPr>
          <a:lstStyle>
            <a:lvl1pPr marL="0" marR="0" indent="0" algn="ctr" defTabSz="1828663" rtl="0" eaLnBrk="1" fontAlgn="auto" latinLnBrk="0" hangingPunct="1">
              <a:lnSpc>
                <a:spcPct val="10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7" name="Title Placeholder 6">
            <a:extLst>
              <a:ext uri="{FF2B5EF4-FFF2-40B4-BE49-F238E27FC236}">
                <a16:creationId xmlns:a16="http://schemas.microsoft.com/office/drawing/2014/main" id="{1B090AE2-5953-9248-BD9A-B5FA2155AD8A}"/>
              </a:ext>
            </a:extLst>
          </p:cNvPr>
          <p:cNvSpPr>
            <a:spLocks noGrp="1"/>
          </p:cNvSpPr>
          <p:nvPr>
            <p:ph type="title" hasCustomPrompt="1"/>
          </p:nvPr>
        </p:nvSpPr>
        <p:spPr>
          <a:xfrm>
            <a:off x="3060000" y="3402013"/>
            <a:ext cx="12156188" cy="6911975"/>
          </a:xfrm>
          <a:prstGeom prst="rect">
            <a:avLst/>
          </a:prstGeom>
          <a:solidFill>
            <a:schemeClr val="bg1"/>
          </a:solidFill>
        </p:spPr>
        <p:txBody>
          <a:bodyPr vert="horz" lIns="720000" tIns="360000" rIns="360000" bIns="36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C4ADDE55-E340-6E4C-86B1-7B03B8C32387}"/>
              </a:ext>
            </a:extLst>
          </p:cNvPr>
          <p:cNvSpPr>
            <a:spLocks noGrp="1"/>
          </p:cNvSpPr>
          <p:nvPr>
            <p:ph type="ftr" sz="quarter" idx="15"/>
          </p:nvPr>
        </p:nvSpPr>
        <p:spPr/>
        <p:txBody>
          <a:bodyPr/>
          <a:lstStyle/>
          <a:p>
            <a:endParaRPr lang="en-NL"/>
          </a:p>
        </p:txBody>
      </p:sp>
      <p:sp>
        <p:nvSpPr>
          <p:cNvPr id="10" name="TextBox 9">
            <a:extLst>
              <a:ext uri="{FF2B5EF4-FFF2-40B4-BE49-F238E27FC236}">
                <a16:creationId xmlns:a16="http://schemas.microsoft.com/office/drawing/2014/main" id="{7FB25574-EA1E-8647-9572-8972274746BB}"/>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49758260"/>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hapter headline on double background">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7D48BD0-6997-F144-A2F5-799BC3C77E9E}"/>
              </a:ext>
            </a:extLst>
          </p:cNvPr>
          <p:cNvSpPr>
            <a:spLocks noGrp="1"/>
          </p:cNvSpPr>
          <p:nvPr>
            <p:ph type="pic" sz="quarter" idx="16" hasCustomPrompt="1"/>
          </p:nvPr>
        </p:nvSpPr>
        <p:spPr>
          <a:xfrm>
            <a:off x="9166226" y="486000"/>
            <a:ext cx="1472498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background image into this frame</a:t>
            </a:r>
          </a:p>
        </p:txBody>
      </p:sp>
      <p:sp>
        <p:nvSpPr>
          <p:cNvPr id="8" name="Picture Placeholder 10">
            <a:extLst>
              <a:ext uri="{FF2B5EF4-FFF2-40B4-BE49-F238E27FC236}">
                <a16:creationId xmlns:a16="http://schemas.microsoft.com/office/drawing/2014/main" id="{1309BD59-499E-7B48-84B0-F24A66C27380}"/>
              </a:ext>
            </a:extLst>
          </p:cNvPr>
          <p:cNvSpPr>
            <a:spLocks noGrp="1"/>
          </p:cNvSpPr>
          <p:nvPr>
            <p:ph type="pic" sz="quarter" idx="14" hasCustomPrompt="1"/>
          </p:nvPr>
        </p:nvSpPr>
        <p:spPr>
          <a:xfrm>
            <a:off x="491206" y="486000"/>
            <a:ext cx="8675019" cy="12744000"/>
          </a:xfrm>
          <a:solidFill>
            <a:schemeClr val="bg1">
              <a:lumMod val="8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9" name="Title Placeholder 6">
            <a:extLst>
              <a:ext uri="{FF2B5EF4-FFF2-40B4-BE49-F238E27FC236}">
                <a16:creationId xmlns:a16="http://schemas.microsoft.com/office/drawing/2014/main" id="{9DDA9E19-4F77-3D4F-9876-A15B1427723D}"/>
              </a:ext>
            </a:extLst>
          </p:cNvPr>
          <p:cNvSpPr>
            <a:spLocks noGrp="1"/>
          </p:cNvSpPr>
          <p:nvPr>
            <p:ph type="title" hasCustomPrompt="1"/>
          </p:nvPr>
        </p:nvSpPr>
        <p:spPr>
          <a:xfrm>
            <a:off x="3060000" y="3402013"/>
            <a:ext cx="12156188" cy="6911975"/>
          </a:xfrm>
          <a:prstGeom prst="rect">
            <a:avLst/>
          </a:prstGeom>
          <a:solidFill>
            <a:schemeClr val="bg1"/>
          </a:solidFill>
        </p:spPr>
        <p:txBody>
          <a:bodyPr vert="horz" lIns="720000" tIns="360000" rIns="360000" bIns="36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5CA18264-1F8B-3A44-B551-1BBEE87ED5B3}"/>
              </a:ext>
            </a:extLst>
          </p:cNvPr>
          <p:cNvSpPr>
            <a:spLocks noGrp="1"/>
          </p:cNvSpPr>
          <p:nvPr>
            <p:ph type="ftr" sz="quarter" idx="17"/>
          </p:nvPr>
        </p:nvSpPr>
        <p:spPr/>
        <p:txBody>
          <a:bodyPr/>
          <a:lstStyle/>
          <a:p>
            <a:endParaRPr lang="en-NL"/>
          </a:p>
        </p:txBody>
      </p:sp>
      <p:sp>
        <p:nvSpPr>
          <p:cNvPr id="11" name="TextBox 10">
            <a:extLst>
              <a:ext uri="{FF2B5EF4-FFF2-40B4-BE49-F238E27FC236}">
                <a16:creationId xmlns:a16="http://schemas.microsoft.com/office/drawing/2014/main" id="{17ABB78B-16D4-9548-AD33-F584DB55BA7A}"/>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93634415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Chapter headline and number 1">
    <p:bg>
      <p:bgPr>
        <a:solidFill>
          <a:schemeClr val="bg1"/>
        </a:solidFill>
        <a:effectLst/>
      </p:bgPr>
    </p:bg>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FBC26CA4-EB48-1543-B2BB-C8B879012FEC}"/>
              </a:ext>
            </a:extLst>
          </p:cNvPr>
          <p:cNvSpPr>
            <a:spLocks noGrp="1"/>
          </p:cNvSpPr>
          <p:nvPr>
            <p:ph type="pic" sz="quarter" idx="14" hasCustomPrompt="1"/>
          </p:nvPr>
        </p:nvSpPr>
        <p:spPr>
          <a:xfrm>
            <a:off x="491206" y="486000"/>
            <a:ext cx="23400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5" name="Text Placeholder 4">
            <a:extLst>
              <a:ext uri="{FF2B5EF4-FFF2-40B4-BE49-F238E27FC236}">
                <a16:creationId xmlns:a16="http://schemas.microsoft.com/office/drawing/2014/main" id="{D692063E-373D-9A4C-B3F2-4CED294F18A0}"/>
              </a:ext>
            </a:extLst>
          </p:cNvPr>
          <p:cNvSpPr>
            <a:spLocks noGrp="1"/>
          </p:cNvSpPr>
          <p:nvPr>
            <p:ph type="body" sz="quarter" idx="11" hasCustomPrompt="1"/>
          </p:nvPr>
        </p:nvSpPr>
        <p:spPr>
          <a:xfrm>
            <a:off x="3066645" y="3402013"/>
            <a:ext cx="6113167" cy="6911975"/>
          </a:xfrm>
          <a:solidFill>
            <a:schemeClr val="bg1"/>
          </a:solidFill>
        </p:spPr>
        <p:txBody>
          <a:bodyPr anchor="ctr" anchorCtr="0">
            <a:noAutofit/>
          </a:bodyPr>
          <a:lstStyle>
            <a:lvl1pPr marL="0" indent="0" algn="ctr">
              <a:buNone/>
              <a:defRPr sz="30000" b="1" spc="-600" baseline="0">
                <a:ln>
                  <a:noFill/>
                </a:ln>
                <a:solidFill>
                  <a:schemeClr val="tx1"/>
                </a:solidFill>
              </a:defRPr>
            </a:lvl1pPr>
          </a:lstStyle>
          <a:p>
            <a:pPr lvl="0"/>
            <a:r>
              <a:rPr lang="en-GB" noProof="0"/>
              <a:t>#</a:t>
            </a:r>
          </a:p>
        </p:txBody>
      </p:sp>
      <p:sp>
        <p:nvSpPr>
          <p:cNvPr id="9" name="Title Placeholder 6">
            <a:extLst>
              <a:ext uri="{FF2B5EF4-FFF2-40B4-BE49-F238E27FC236}">
                <a16:creationId xmlns:a16="http://schemas.microsoft.com/office/drawing/2014/main" id="{8EE4B79D-13C4-D44B-B7EA-5A90670CE600}"/>
              </a:ext>
            </a:extLst>
          </p:cNvPr>
          <p:cNvSpPr>
            <a:spLocks noGrp="1"/>
          </p:cNvSpPr>
          <p:nvPr>
            <p:ph type="title" hasCustomPrompt="1"/>
          </p:nvPr>
        </p:nvSpPr>
        <p:spPr>
          <a:xfrm>
            <a:off x="9166225" y="3402013"/>
            <a:ext cx="12169775" cy="6911975"/>
          </a:xfrm>
          <a:prstGeom prst="rect">
            <a:avLst/>
          </a:prstGeom>
          <a:solidFill>
            <a:schemeClr val="bg1"/>
          </a:solidFill>
        </p:spPr>
        <p:txBody>
          <a:bodyPr vert="horz" lIns="360000" tIns="360000" rIns="360000" bIns="36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1A1CBB60-7354-0F46-A5EC-2B7F347405A8}"/>
              </a:ext>
            </a:extLst>
          </p:cNvPr>
          <p:cNvSpPr>
            <a:spLocks noGrp="1"/>
          </p:cNvSpPr>
          <p:nvPr>
            <p:ph type="ftr" sz="quarter" idx="15"/>
          </p:nvPr>
        </p:nvSpPr>
        <p:spPr/>
        <p:txBody>
          <a:bodyPr/>
          <a:lstStyle/>
          <a:p>
            <a:endParaRPr lang="en-NL"/>
          </a:p>
        </p:txBody>
      </p:sp>
      <p:sp>
        <p:nvSpPr>
          <p:cNvPr id="11" name="TextBox 10">
            <a:extLst>
              <a:ext uri="{FF2B5EF4-FFF2-40B4-BE49-F238E27FC236}">
                <a16:creationId xmlns:a16="http://schemas.microsoft.com/office/drawing/2014/main" id="{40541476-0AFC-234B-BC49-0499CC038C91}"/>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651634271"/>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hapter headline and number 2">
    <p:bg>
      <p:bgPr>
        <a:solidFill>
          <a:schemeClr val="bg1"/>
        </a:solidFill>
        <a:effectLst/>
      </p:bgPr>
    </p:bg>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F6085D9F-3237-7542-9B7D-4ED3CD3607B0}"/>
              </a:ext>
            </a:extLst>
          </p:cNvPr>
          <p:cNvSpPr>
            <a:spLocks noGrp="1"/>
          </p:cNvSpPr>
          <p:nvPr>
            <p:ph type="body" sz="quarter" idx="11" hasCustomPrompt="1"/>
          </p:nvPr>
        </p:nvSpPr>
        <p:spPr>
          <a:xfrm>
            <a:off x="3066645" y="3402013"/>
            <a:ext cx="6113167" cy="6911975"/>
          </a:xfrm>
          <a:noFill/>
        </p:spPr>
        <p:txBody>
          <a:bodyPr anchor="ctr" anchorCtr="0">
            <a:noAutofit/>
          </a:bodyPr>
          <a:lstStyle>
            <a:lvl1pPr marL="0" indent="0" algn="ctr">
              <a:buNone/>
              <a:defRPr sz="30000" b="1" spc="-600" baseline="0">
                <a:ln>
                  <a:noFill/>
                </a:ln>
                <a:solidFill>
                  <a:schemeClr val="tx1"/>
                </a:solidFill>
              </a:defRPr>
            </a:lvl1pPr>
          </a:lstStyle>
          <a:p>
            <a:pPr lvl="0"/>
            <a:r>
              <a:rPr lang="en-GB" noProof="0"/>
              <a:t>#</a:t>
            </a:r>
          </a:p>
        </p:txBody>
      </p:sp>
      <p:sp>
        <p:nvSpPr>
          <p:cNvPr id="7" name="Title Placeholder 6">
            <a:extLst>
              <a:ext uri="{FF2B5EF4-FFF2-40B4-BE49-F238E27FC236}">
                <a16:creationId xmlns:a16="http://schemas.microsoft.com/office/drawing/2014/main" id="{C80CB7B3-E10E-DC43-BC18-2A74C9A160F8}"/>
              </a:ext>
            </a:extLst>
          </p:cNvPr>
          <p:cNvSpPr>
            <a:spLocks noGrp="1"/>
          </p:cNvSpPr>
          <p:nvPr>
            <p:ph type="title" hasCustomPrompt="1"/>
          </p:nvPr>
        </p:nvSpPr>
        <p:spPr>
          <a:xfrm>
            <a:off x="9166225" y="3402013"/>
            <a:ext cx="12169775" cy="6911975"/>
          </a:xfrm>
          <a:prstGeom prst="rect">
            <a:avLst/>
          </a:prstGeom>
          <a:noFill/>
        </p:spPr>
        <p:txBody>
          <a:bodyPr vert="horz" lIns="360000" tIns="360000" rIns="360000" bIns="36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3A7F9CFD-AFFB-3B47-AFEC-CEE18A9D2CE6}"/>
              </a:ext>
            </a:extLst>
          </p:cNvPr>
          <p:cNvSpPr>
            <a:spLocks noGrp="1"/>
          </p:cNvSpPr>
          <p:nvPr>
            <p:ph type="ftr" sz="quarter" idx="12"/>
          </p:nvPr>
        </p:nvSpPr>
        <p:spPr/>
        <p:txBody>
          <a:bodyPr/>
          <a:lstStyle/>
          <a:p>
            <a:endParaRPr lang="en-NL"/>
          </a:p>
        </p:txBody>
      </p:sp>
      <p:sp>
        <p:nvSpPr>
          <p:cNvPr id="10" name="TextBox 9">
            <a:extLst>
              <a:ext uri="{FF2B5EF4-FFF2-40B4-BE49-F238E27FC236}">
                <a16:creationId xmlns:a16="http://schemas.microsoft.com/office/drawing/2014/main" id="{C416BDAF-6CDC-8648-8B2F-B8146F0C0E7E}"/>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772884596"/>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ext and picture on the right">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13127310" y="486000"/>
            <a:ext cx="10764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1674329" y="5129213"/>
            <a:ext cx="10516084" cy="6904512"/>
          </a:xfrm>
        </p:spPr>
        <p:txBody>
          <a:bodyPr>
            <a:noAutofit/>
          </a:bodyPr>
          <a:lstStyle>
            <a:lvl1pPr>
              <a:spcBef>
                <a:spcPts val="2000"/>
              </a:spcBef>
              <a:defRPr sz="3200"/>
            </a:lvl1pPr>
          </a:lstStyle>
          <a:p>
            <a:pPr lvl="0"/>
            <a:r>
              <a:rPr lang="en-GB" noProof="0"/>
              <a:t>Put the paragraph text here, keep it regular 32 </a:t>
            </a:r>
            <a:r>
              <a:rPr lang="en-GB" noProof="0" err="1"/>
              <a:t>pt</a:t>
            </a:r>
            <a:endParaRPr lang="en-GB" noProof="0"/>
          </a:p>
        </p:txBody>
      </p:sp>
      <p:sp>
        <p:nvSpPr>
          <p:cNvPr id="2" name="Title 1">
            <a:extLst>
              <a:ext uri="{FF2B5EF4-FFF2-40B4-BE49-F238E27FC236}">
                <a16:creationId xmlns:a16="http://schemas.microsoft.com/office/drawing/2014/main" id="{44A2E15B-0973-F742-A266-E1107E35FE40}"/>
              </a:ext>
            </a:extLst>
          </p:cNvPr>
          <p:cNvSpPr>
            <a:spLocks noGrp="1"/>
          </p:cNvSpPr>
          <p:nvPr>
            <p:ph type="title" hasCustomPrompt="1"/>
          </p:nvPr>
        </p:nvSpPr>
        <p:spPr>
          <a:xfrm>
            <a:off x="1676293" y="1677600"/>
            <a:ext cx="10514913" cy="3011659"/>
          </a:xfrm>
        </p:spPr>
        <p:txBody>
          <a:bodyPr/>
          <a:lstStyle/>
          <a:p>
            <a:r>
              <a:rPr lang="en-GB"/>
              <a:t>Put the headline here, keep it 80 </a:t>
            </a:r>
            <a:r>
              <a:rPr lang="en-GB" err="1"/>
              <a:t>pt</a:t>
            </a:r>
            <a:endParaRPr lang="en-NL"/>
          </a:p>
        </p:txBody>
      </p:sp>
      <p:sp>
        <p:nvSpPr>
          <p:cNvPr id="7" name="Footer Placeholder 6">
            <a:extLst>
              <a:ext uri="{FF2B5EF4-FFF2-40B4-BE49-F238E27FC236}">
                <a16:creationId xmlns:a16="http://schemas.microsoft.com/office/drawing/2014/main" id="{1BBF2C0D-081E-D341-990A-85E80DD0D1B7}"/>
              </a:ext>
            </a:extLst>
          </p:cNvPr>
          <p:cNvSpPr>
            <a:spLocks noGrp="1"/>
          </p:cNvSpPr>
          <p:nvPr>
            <p:ph type="ftr" sz="quarter" idx="19"/>
          </p:nvPr>
        </p:nvSpPr>
        <p:spPr/>
        <p:txBody>
          <a:bodyPr/>
          <a:lstStyle/>
          <a:p>
            <a:endParaRPr lang="en-NL"/>
          </a:p>
        </p:txBody>
      </p:sp>
      <p:sp>
        <p:nvSpPr>
          <p:cNvPr id="10" name="TextBox 9">
            <a:extLst>
              <a:ext uri="{FF2B5EF4-FFF2-40B4-BE49-F238E27FC236}">
                <a16:creationId xmlns:a16="http://schemas.microsoft.com/office/drawing/2014/main" id="{894FC958-E5A8-B74F-A7E7-30B82C0B44E8}"/>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26922303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ext and picture on the left">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EED5078-C5D9-0E4F-B9E3-7CF7BBC8C373}"/>
              </a:ext>
            </a:extLst>
          </p:cNvPr>
          <p:cNvSpPr>
            <a:spLocks noGrp="1"/>
          </p:cNvSpPr>
          <p:nvPr>
            <p:ph type="pic" sz="quarter" idx="15" hasCustomPrompt="1"/>
          </p:nvPr>
        </p:nvSpPr>
        <p:spPr>
          <a:xfrm>
            <a:off x="491102" y="486000"/>
            <a:ext cx="10764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pPr marL="0" marR="0" lvl="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a:pPr>
            <a:r>
              <a:rPr lang="en-NL"/>
              <a:t>Drag and drop a topic-related picture into this frame</a:t>
            </a:r>
          </a:p>
        </p:txBody>
      </p:sp>
      <p:sp>
        <p:nvSpPr>
          <p:cNvPr id="12" name="Text Placeholder 3">
            <a:extLst>
              <a:ext uri="{FF2B5EF4-FFF2-40B4-BE49-F238E27FC236}">
                <a16:creationId xmlns:a16="http://schemas.microsoft.com/office/drawing/2014/main" id="{AE87E5A1-8A67-0448-BA9A-DA74F50AE099}"/>
              </a:ext>
            </a:extLst>
          </p:cNvPr>
          <p:cNvSpPr>
            <a:spLocks noGrp="1"/>
          </p:cNvSpPr>
          <p:nvPr>
            <p:ph type="body" sz="quarter" idx="18" hasCustomPrompt="1"/>
          </p:nvPr>
        </p:nvSpPr>
        <p:spPr>
          <a:xfrm>
            <a:off x="12191206" y="5129213"/>
            <a:ext cx="10516084" cy="6904512"/>
          </a:xfrm>
        </p:spPr>
        <p:txBody>
          <a:bodyPr>
            <a:noAutofit/>
          </a:bodyPr>
          <a:lstStyle>
            <a:lvl1pPr>
              <a:spcBef>
                <a:spcPts val="2000"/>
              </a:spcBef>
              <a:defRPr sz="3200"/>
            </a:lvl1pPr>
          </a:lstStyle>
          <a:p>
            <a:pPr lvl="0"/>
            <a:r>
              <a:rPr lang="en-GB" noProof="0"/>
              <a:t>Put the paragraph text here, keep it regular 32 </a:t>
            </a:r>
            <a:r>
              <a:rPr lang="en-GB" noProof="0" err="1"/>
              <a:t>pt</a:t>
            </a:r>
            <a:endParaRPr lang="en-GB" noProof="0"/>
          </a:p>
        </p:txBody>
      </p:sp>
      <p:sp>
        <p:nvSpPr>
          <p:cNvPr id="13" name="Title 1">
            <a:extLst>
              <a:ext uri="{FF2B5EF4-FFF2-40B4-BE49-F238E27FC236}">
                <a16:creationId xmlns:a16="http://schemas.microsoft.com/office/drawing/2014/main" id="{0614539B-EA7E-5F48-845E-1115C11137DF}"/>
              </a:ext>
            </a:extLst>
          </p:cNvPr>
          <p:cNvSpPr>
            <a:spLocks noGrp="1"/>
          </p:cNvSpPr>
          <p:nvPr>
            <p:ph type="title" hasCustomPrompt="1"/>
          </p:nvPr>
        </p:nvSpPr>
        <p:spPr>
          <a:xfrm>
            <a:off x="12193170" y="1677600"/>
            <a:ext cx="10514913" cy="3011659"/>
          </a:xfrm>
        </p:spPr>
        <p:txBody>
          <a:bodyPr/>
          <a:lstStyle/>
          <a:p>
            <a:r>
              <a:rPr lang="en-GB"/>
              <a:t>Put the headline here, keep it 80 </a:t>
            </a:r>
            <a:r>
              <a:rPr lang="en-GB" err="1"/>
              <a:t>pt</a:t>
            </a:r>
            <a:endParaRPr lang="en-NL"/>
          </a:p>
        </p:txBody>
      </p:sp>
      <p:sp>
        <p:nvSpPr>
          <p:cNvPr id="4" name="Footer Placeholder 3">
            <a:extLst>
              <a:ext uri="{FF2B5EF4-FFF2-40B4-BE49-F238E27FC236}">
                <a16:creationId xmlns:a16="http://schemas.microsoft.com/office/drawing/2014/main" id="{CB40AB27-22C2-8049-AEFA-EC9ADA9C74F8}"/>
              </a:ext>
            </a:extLst>
          </p:cNvPr>
          <p:cNvSpPr>
            <a:spLocks noGrp="1"/>
          </p:cNvSpPr>
          <p:nvPr>
            <p:ph type="ftr" sz="quarter" idx="19"/>
          </p:nvPr>
        </p:nvSpPr>
        <p:spPr/>
        <p:txBody>
          <a:bodyPr/>
          <a:lstStyle/>
          <a:p>
            <a:endParaRPr lang="en-NL"/>
          </a:p>
        </p:txBody>
      </p:sp>
      <p:sp>
        <p:nvSpPr>
          <p:cNvPr id="11" name="TextBox 10">
            <a:extLst>
              <a:ext uri="{FF2B5EF4-FFF2-40B4-BE49-F238E27FC236}">
                <a16:creationId xmlns:a16="http://schemas.microsoft.com/office/drawing/2014/main" id="{5D320D55-E281-9946-A96D-D7865543B7DC}"/>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958573826"/>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tatement without background">
    <p:spTree>
      <p:nvGrpSpPr>
        <p:cNvPr id="1" name=""/>
        <p:cNvGrpSpPr/>
        <p:nvPr/>
      </p:nvGrpSpPr>
      <p:grpSpPr>
        <a:xfrm>
          <a:off x="0" y="0"/>
          <a:ext cx="0" cy="0"/>
          <a:chOff x="0" y="0"/>
          <a:chExt cx="0" cy="0"/>
        </a:xfrm>
      </p:grpSpPr>
      <p:sp>
        <p:nvSpPr>
          <p:cNvPr id="6" name="Title Placeholder 6">
            <a:extLst>
              <a:ext uri="{FF2B5EF4-FFF2-40B4-BE49-F238E27FC236}">
                <a16:creationId xmlns:a16="http://schemas.microsoft.com/office/drawing/2014/main" id="{42635088-B65D-C841-9E13-05D7E3443BD4}"/>
              </a:ext>
            </a:extLst>
          </p:cNvPr>
          <p:cNvSpPr>
            <a:spLocks noGrp="1"/>
          </p:cNvSpPr>
          <p:nvPr>
            <p:ph type="title" hasCustomPrompt="1"/>
          </p:nvPr>
        </p:nvSpPr>
        <p:spPr>
          <a:xfrm>
            <a:off x="1677491" y="1692001"/>
            <a:ext cx="21029831" cy="10330998"/>
          </a:xfrm>
          <a:prstGeom prst="rect">
            <a:avLst/>
          </a:prstGeom>
        </p:spPr>
        <p:txBody>
          <a:bodyPr vert="horz" lIns="91440" tIns="45720" rIns="91440" bIns="45720" rtlCol="0" anchor="ctr">
            <a:noAutofit/>
          </a:bodyPr>
          <a:lstStyle>
            <a:lvl1pPr>
              <a:defRPr baseline="0"/>
            </a:lvl1pPr>
          </a:lstStyle>
          <a:p>
            <a:r>
              <a:rPr lang="en-GB" noProof="0"/>
              <a:t>Put a statement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DEA92304-9D31-2743-9CAA-4CF1A9292236}"/>
              </a:ext>
            </a:extLst>
          </p:cNvPr>
          <p:cNvSpPr>
            <a:spLocks noGrp="1"/>
          </p:cNvSpPr>
          <p:nvPr>
            <p:ph type="ftr" sz="quarter" idx="10"/>
          </p:nvPr>
        </p:nvSpPr>
        <p:spPr/>
        <p:txBody>
          <a:bodyPr/>
          <a:lstStyle/>
          <a:p>
            <a:endParaRPr lang="en-NL"/>
          </a:p>
        </p:txBody>
      </p:sp>
      <p:sp>
        <p:nvSpPr>
          <p:cNvPr id="7" name="TextBox 6">
            <a:extLst>
              <a:ext uri="{FF2B5EF4-FFF2-40B4-BE49-F238E27FC236}">
                <a16:creationId xmlns:a16="http://schemas.microsoft.com/office/drawing/2014/main" id="{BE9A8351-2D97-AD41-BE02-7B1C9B022881}"/>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19508678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tatement 1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6070600" y="3402013"/>
            <a:ext cx="12241213" cy="6911975"/>
          </a:xfrm>
          <a:prstGeom prst="rect">
            <a:avLst/>
          </a:prstGeom>
          <a:solidFill>
            <a:schemeClr val="bg1"/>
          </a:solidFill>
        </p:spPr>
        <p:txBody>
          <a:bodyPr vert="horz" lIns="900000" tIns="360000" rIns="360000" bIns="360000" rtlCol="0" anchor="ctr">
            <a:noAutofit/>
          </a:bodyPr>
          <a:lstStyle>
            <a:lvl1pPr>
              <a:defRPr sz="6000" b="1" spc="0" baseline="0"/>
            </a:lvl1pPr>
          </a:lstStyle>
          <a:p>
            <a:r>
              <a:rPr lang="en-GB" noProof="0"/>
              <a:t>Put a short statement here, keep it regular 60 </a:t>
            </a:r>
            <a:r>
              <a:rPr lang="en-GB" noProof="0" err="1"/>
              <a:t>pt</a:t>
            </a:r>
            <a:endParaRPr lang="en-GB" noProof="0"/>
          </a:p>
        </p:txBody>
      </p:sp>
      <p:sp>
        <p:nvSpPr>
          <p:cNvPr id="4" name="Footer Placeholder 3">
            <a:extLst>
              <a:ext uri="{FF2B5EF4-FFF2-40B4-BE49-F238E27FC236}">
                <a16:creationId xmlns:a16="http://schemas.microsoft.com/office/drawing/2014/main" id="{4D585EBC-728D-F748-BD9C-1622617E10E7}"/>
              </a:ext>
            </a:extLst>
          </p:cNvPr>
          <p:cNvSpPr>
            <a:spLocks noGrp="1"/>
          </p:cNvSpPr>
          <p:nvPr>
            <p:ph type="ftr" sz="quarter" idx="15"/>
          </p:nvPr>
        </p:nvSpPr>
        <p:spPr/>
        <p:txBody>
          <a:bodyPr/>
          <a:lstStyle/>
          <a:p>
            <a:endParaRPr lang="en-NL"/>
          </a:p>
        </p:txBody>
      </p:sp>
      <p:sp>
        <p:nvSpPr>
          <p:cNvPr id="8" name="TextBox 7">
            <a:extLst>
              <a:ext uri="{FF2B5EF4-FFF2-40B4-BE49-F238E27FC236}">
                <a16:creationId xmlns:a16="http://schemas.microsoft.com/office/drawing/2014/main" id="{5F6D9EA7-3CF9-7B43-B287-97692C1A4E03}"/>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7564438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rganisational chart with pictur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6F4D095-75F9-A649-B638-1297084AD7A4}"/>
              </a:ext>
            </a:extLst>
          </p:cNvPr>
          <p:cNvSpPr>
            <a:spLocks noGrp="1"/>
          </p:cNvSpPr>
          <p:nvPr>
            <p:ph type="pic" sz="quarter" idx="20" hasCustomPrompt="1"/>
          </p:nvPr>
        </p:nvSpPr>
        <p:spPr>
          <a:xfrm>
            <a:off x="10841206" y="1719944"/>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9670603" y="4512108"/>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2" name="Title 1">
            <a:extLst>
              <a:ext uri="{FF2B5EF4-FFF2-40B4-BE49-F238E27FC236}">
                <a16:creationId xmlns:a16="http://schemas.microsoft.com/office/drawing/2014/main" id="{43DA5788-F32B-A54D-BD65-3FF50B9E8946}"/>
              </a:ext>
            </a:extLst>
          </p:cNvPr>
          <p:cNvSpPr>
            <a:spLocks noGrp="1"/>
          </p:cNvSpPr>
          <p:nvPr>
            <p:ph type="title" hasCustomPrompt="1"/>
          </p:nvPr>
        </p:nvSpPr>
        <p:spPr>
          <a:xfrm>
            <a:off x="1676294" y="1677600"/>
            <a:ext cx="7489932" cy="3011659"/>
          </a:xfrm>
        </p:spPr>
        <p:txBody>
          <a:bodyPr/>
          <a:lstStyle>
            <a:lvl1pPr>
              <a:defRPr sz="6000"/>
            </a:lvl1pPr>
          </a:lstStyle>
          <a:p>
            <a:r>
              <a:rPr lang="en-GB"/>
              <a:t>Department name</a:t>
            </a:r>
            <a:endParaRPr lang="en-NL"/>
          </a:p>
        </p:txBody>
      </p:sp>
      <p:sp>
        <p:nvSpPr>
          <p:cNvPr id="31" name="Text Placeholder 11">
            <a:extLst>
              <a:ext uri="{FF2B5EF4-FFF2-40B4-BE49-F238E27FC236}">
                <a16:creationId xmlns:a16="http://schemas.microsoft.com/office/drawing/2014/main" id="{75F485D7-B4EF-5A4B-879E-86975974580C}"/>
              </a:ext>
            </a:extLst>
          </p:cNvPr>
          <p:cNvSpPr>
            <a:spLocks noGrp="1"/>
          </p:cNvSpPr>
          <p:nvPr>
            <p:ph type="body" sz="quarter" idx="30" hasCustomPrompt="1"/>
          </p:nvPr>
        </p:nvSpPr>
        <p:spPr>
          <a:xfrm>
            <a:off x="7114428" y="8596285"/>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2" name="Text Placeholder 11">
            <a:extLst>
              <a:ext uri="{FF2B5EF4-FFF2-40B4-BE49-F238E27FC236}">
                <a16:creationId xmlns:a16="http://schemas.microsoft.com/office/drawing/2014/main" id="{8EE80A14-44BF-1D48-8C22-8748FD98477A}"/>
              </a:ext>
            </a:extLst>
          </p:cNvPr>
          <p:cNvSpPr>
            <a:spLocks noGrp="1"/>
          </p:cNvSpPr>
          <p:nvPr>
            <p:ph type="body" sz="quarter" idx="31" hasCustomPrompt="1"/>
          </p:nvPr>
        </p:nvSpPr>
        <p:spPr>
          <a:xfrm>
            <a:off x="12197877" y="8596285"/>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3" name="Text Placeholder 11">
            <a:extLst>
              <a:ext uri="{FF2B5EF4-FFF2-40B4-BE49-F238E27FC236}">
                <a16:creationId xmlns:a16="http://schemas.microsoft.com/office/drawing/2014/main" id="{4122F631-7AEE-E940-A99A-F863EBC69A3E}"/>
              </a:ext>
            </a:extLst>
          </p:cNvPr>
          <p:cNvSpPr>
            <a:spLocks noGrp="1"/>
          </p:cNvSpPr>
          <p:nvPr>
            <p:ph type="body" sz="quarter" idx="32" hasCustomPrompt="1"/>
          </p:nvPr>
        </p:nvSpPr>
        <p:spPr>
          <a:xfrm>
            <a:off x="17276564" y="8596285"/>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4" name="Text Placeholder 11">
            <a:extLst>
              <a:ext uri="{FF2B5EF4-FFF2-40B4-BE49-F238E27FC236}">
                <a16:creationId xmlns:a16="http://schemas.microsoft.com/office/drawing/2014/main" id="{DEF7042E-C2C0-904C-A1CD-FA245CD87451}"/>
              </a:ext>
            </a:extLst>
          </p:cNvPr>
          <p:cNvSpPr>
            <a:spLocks noGrp="1"/>
          </p:cNvSpPr>
          <p:nvPr>
            <p:ph type="body" sz="quarter" idx="33" hasCustomPrompt="1"/>
          </p:nvPr>
        </p:nvSpPr>
        <p:spPr>
          <a:xfrm>
            <a:off x="2059333" y="8596285"/>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6" name="Text Placeholder 11">
            <a:extLst>
              <a:ext uri="{FF2B5EF4-FFF2-40B4-BE49-F238E27FC236}">
                <a16:creationId xmlns:a16="http://schemas.microsoft.com/office/drawing/2014/main" id="{BF736EFA-67F1-B044-A2C3-78E7C51705B6}"/>
              </a:ext>
            </a:extLst>
          </p:cNvPr>
          <p:cNvSpPr>
            <a:spLocks noGrp="1"/>
          </p:cNvSpPr>
          <p:nvPr>
            <p:ph type="body" sz="quarter" idx="35" hasCustomPrompt="1"/>
          </p:nvPr>
        </p:nvSpPr>
        <p:spPr>
          <a:xfrm>
            <a:off x="14755168" y="4523153"/>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18" name="Picture Placeholder 7">
            <a:extLst>
              <a:ext uri="{FF2B5EF4-FFF2-40B4-BE49-F238E27FC236}">
                <a16:creationId xmlns:a16="http://schemas.microsoft.com/office/drawing/2014/main" id="{E32092D4-F5E4-9948-BB3B-B209229D6C06}"/>
              </a:ext>
            </a:extLst>
          </p:cNvPr>
          <p:cNvSpPr>
            <a:spLocks noGrp="1"/>
          </p:cNvSpPr>
          <p:nvPr>
            <p:ph type="pic" sz="quarter" idx="36" hasCustomPrompt="1"/>
          </p:nvPr>
        </p:nvSpPr>
        <p:spPr>
          <a:xfrm>
            <a:off x="15943082" y="1719944"/>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0" name="Picture Placeholder 7">
            <a:extLst>
              <a:ext uri="{FF2B5EF4-FFF2-40B4-BE49-F238E27FC236}">
                <a16:creationId xmlns:a16="http://schemas.microsoft.com/office/drawing/2014/main" id="{9642D2C8-E8D9-D24B-8B56-E869E37E5558}"/>
              </a:ext>
            </a:extLst>
          </p:cNvPr>
          <p:cNvSpPr>
            <a:spLocks noGrp="1"/>
          </p:cNvSpPr>
          <p:nvPr>
            <p:ph type="pic" sz="quarter" idx="37" hasCustomPrompt="1"/>
          </p:nvPr>
        </p:nvSpPr>
        <p:spPr>
          <a:xfrm>
            <a:off x="3283935" y="5777880"/>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1" name="Picture Placeholder 7">
            <a:extLst>
              <a:ext uri="{FF2B5EF4-FFF2-40B4-BE49-F238E27FC236}">
                <a16:creationId xmlns:a16="http://schemas.microsoft.com/office/drawing/2014/main" id="{CDF87832-9FDB-3F47-97C5-15DEFCD1488C}"/>
              </a:ext>
            </a:extLst>
          </p:cNvPr>
          <p:cNvSpPr>
            <a:spLocks noGrp="1"/>
          </p:cNvSpPr>
          <p:nvPr>
            <p:ph type="pic" sz="quarter" idx="38" hasCustomPrompt="1"/>
          </p:nvPr>
        </p:nvSpPr>
        <p:spPr>
          <a:xfrm>
            <a:off x="8394041" y="5777880"/>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2" name="Picture Placeholder 7">
            <a:extLst>
              <a:ext uri="{FF2B5EF4-FFF2-40B4-BE49-F238E27FC236}">
                <a16:creationId xmlns:a16="http://schemas.microsoft.com/office/drawing/2014/main" id="{9F605B20-5BFC-D34B-AC34-62C629AE60C8}"/>
              </a:ext>
            </a:extLst>
          </p:cNvPr>
          <p:cNvSpPr>
            <a:spLocks noGrp="1"/>
          </p:cNvSpPr>
          <p:nvPr>
            <p:ph type="pic" sz="quarter" idx="39" hasCustomPrompt="1"/>
          </p:nvPr>
        </p:nvSpPr>
        <p:spPr>
          <a:xfrm>
            <a:off x="13459168" y="5777880"/>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3" name="Picture Placeholder 7">
            <a:extLst>
              <a:ext uri="{FF2B5EF4-FFF2-40B4-BE49-F238E27FC236}">
                <a16:creationId xmlns:a16="http://schemas.microsoft.com/office/drawing/2014/main" id="{CB528120-A57D-C04A-A5CE-A13C8EDF86ED}"/>
              </a:ext>
            </a:extLst>
          </p:cNvPr>
          <p:cNvSpPr>
            <a:spLocks noGrp="1"/>
          </p:cNvSpPr>
          <p:nvPr>
            <p:ph type="pic" sz="quarter" idx="40" hasCustomPrompt="1"/>
          </p:nvPr>
        </p:nvSpPr>
        <p:spPr>
          <a:xfrm>
            <a:off x="18569274" y="5777880"/>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4" name="Text Placeholder 11">
            <a:extLst>
              <a:ext uri="{FF2B5EF4-FFF2-40B4-BE49-F238E27FC236}">
                <a16:creationId xmlns:a16="http://schemas.microsoft.com/office/drawing/2014/main" id="{6BDE82E8-4C03-4846-972E-989D2C69E3BD}"/>
              </a:ext>
            </a:extLst>
          </p:cNvPr>
          <p:cNvSpPr>
            <a:spLocks noGrp="1"/>
          </p:cNvSpPr>
          <p:nvPr>
            <p:ph type="body" sz="quarter" idx="41" hasCustomPrompt="1"/>
          </p:nvPr>
        </p:nvSpPr>
        <p:spPr>
          <a:xfrm>
            <a:off x="2059333" y="12248703"/>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25" name="Picture Placeholder 7">
            <a:extLst>
              <a:ext uri="{FF2B5EF4-FFF2-40B4-BE49-F238E27FC236}">
                <a16:creationId xmlns:a16="http://schemas.microsoft.com/office/drawing/2014/main" id="{83187330-3EBE-934C-B545-3351D604B7B9}"/>
              </a:ext>
            </a:extLst>
          </p:cNvPr>
          <p:cNvSpPr>
            <a:spLocks noGrp="1"/>
          </p:cNvSpPr>
          <p:nvPr>
            <p:ph type="pic" sz="quarter" idx="42" hasCustomPrompt="1"/>
          </p:nvPr>
        </p:nvSpPr>
        <p:spPr>
          <a:xfrm>
            <a:off x="3283935" y="9430298"/>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6" name="TextBox 25">
            <a:extLst>
              <a:ext uri="{FF2B5EF4-FFF2-40B4-BE49-F238E27FC236}">
                <a16:creationId xmlns:a16="http://schemas.microsoft.com/office/drawing/2014/main" id="{550D2F5E-666A-C14D-8B7B-3A62CE2C1C05}"/>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244576548"/>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tatement 2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3088131" y="3402013"/>
            <a:ext cx="9102282" cy="6911975"/>
          </a:xfrm>
          <a:prstGeom prst="rect">
            <a:avLst/>
          </a:prstGeom>
          <a:solidFill>
            <a:schemeClr val="bg1"/>
          </a:solidFill>
        </p:spPr>
        <p:txBody>
          <a:bodyPr vert="horz" lIns="720000" tIns="360000" rIns="360000" bIns="360000" rtlCol="0" anchor="ctr">
            <a:noAutofit/>
          </a:bodyPr>
          <a:lstStyle>
            <a:lvl1pPr>
              <a:defRPr sz="6000" b="0" spc="0" baseline="0"/>
            </a:lvl1pPr>
          </a:lstStyle>
          <a:p>
            <a:r>
              <a:rPr lang="en-GB" noProof="0"/>
              <a:t>Put a long statement here, keep it regular 60 </a:t>
            </a:r>
            <a:r>
              <a:rPr lang="en-GB" noProof="0" err="1"/>
              <a:t>pt</a:t>
            </a:r>
            <a:endParaRPr lang="en-GB" noProof="0"/>
          </a:p>
        </p:txBody>
      </p:sp>
      <p:sp>
        <p:nvSpPr>
          <p:cNvPr id="4" name="Footer Placeholder 3">
            <a:extLst>
              <a:ext uri="{FF2B5EF4-FFF2-40B4-BE49-F238E27FC236}">
                <a16:creationId xmlns:a16="http://schemas.microsoft.com/office/drawing/2014/main" id="{F698052A-206B-8B44-B965-9B18AA398EAF}"/>
              </a:ext>
            </a:extLst>
          </p:cNvPr>
          <p:cNvSpPr>
            <a:spLocks noGrp="1"/>
          </p:cNvSpPr>
          <p:nvPr>
            <p:ph type="ftr" sz="quarter" idx="15"/>
          </p:nvPr>
        </p:nvSpPr>
        <p:spPr/>
        <p:txBody>
          <a:bodyPr/>
          <a:lstStyle/>
          <a:p>
            <a:endParaRPr lang="en-NL"/>
          </a:p>
        </p:txBody>
      </p:sp>
      <p:sp>
        <p:nvSpPr>
          <p:cNvPr id="8" name="TextBox 7">
            <a:extLst>
              <a:ext uri="{FF2B5EF4-FFF2-40B4-BE49-F238E27FC236}">
                <a16:creationId xmlns:a16="http://schemas.microsoft.com/office/drawing/2014/main" id="{6717F6DA-71F4-F94F-A4FF-3581F301E2A5}"/>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59442609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tatement 3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12191206" y="3402013"/>
            <a:ext cx="9144794" cy="6911975"/>
          </a:xfrm>
          <a:prstGeom prst="rect">
            <a:avLst/>
          </a:prstGeom>
          <a:solidFill>
            <a:schemeClr val="bg1"/>
          </a:solidFill>
        </p:spPr>
        <p:txBody>
          <a:bodyPr vert="horz" lIns="720000" tIns="360000" rIns="360000" bIns="360000" rtlCol="0" anchor="ctr">
            <a:noAutofit/>
          </a:bodyPr>
          <a:lstStyle>
            <a:lvl1pPr>
              <a:defRPr sz="4000" b="0" spc="0" baseline="0"/>
            </a:lvl1pPr>
          </a:lstStyle>
          <a:p>
            <a:r>
              <a:rPr lang="en-GB" noProof="0"/>
              <a:t>Put a long statement or a quote here, keep it regular 40 </a:t>
            </a:r>
            <a:r>
              <a:rPr lang="en-GB" noProof="0" err="1"/>
              <a:t>pt</a:t>
            </a:r>
            <a:endParaRPr lang="en-GB" noProof="0"/>
          </a:p>
        </p:txBody>
      </p:sp>
      <p:sp>
        <p:nvSpPr>
          <p:cNvPr id="4" name="Footer Placeholder 3">
            <a:extLst>
              <a:ext uri="{FF2B5EF4-FFF2-40B4-BE49-F238E27FC236}">
                <a16:creationId xmlns:a16="http://schemas.microsoft.com/office/drawing/2014/main" id="{F08AE3EC-F985-214A-B20E-84BB4377F356}"/>
              </a:ext>
            </a:extLst>
          </p:cNvPr>
          <p:cNvSpPr>
            <a:spLocks noGrp="1"/>
          </p:cNvSpPr>
          <p:nvPr>
            <p:ph type="ftr" sz="quarter" idx="15"/>
          </p:nvPr>
        </p:nvSpPr>
        <p:spPr/>
        <p:txBody>
          <a:bodyPr/>
          <a:lstStyle/>
          <a:p>
            <a:endParaRPr lang="en-NL"/>
          </a:p>
        </p:txBody>
      </p:sp>
      <p:sp>
        <p:nvSpPr>
          <p:cNvPr id="8" name="TextBox 7">
            <a:extLst>
              <a:ext uri="{FF2B5EF4-FFF2-40B4-BE49-F238E27FC236}">
                <a16:creationId xmlns:a16="http://schemas.microsoft.com/office/drawing/2014/main" id="{0FE629E5-989E-6549-877B-8C45333B32D6}"/>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06733276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Statement 1 on double background">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2E196F3F-0661-674B-B21B-282CCEADCBCE}"/>
              </a:ext>
            </a:extLst>
          </p:cNvPr>
          <p:cNvSpPr>
            <a:spLocks noGrp="1"/>
          </p:cNvSpPr>
          <p:nvPr>
            <p:ph type="pic" sz="quarter" idx="16" hasCustomPrompt="1"/>
          </p:nvPr>
        </p:nvSpPr>
        <p:spPr>
          <a:xfrm>
            <a:off x="12190412" y="486000"/>
            <a:ext cx="11700793"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n inspirational picture into this frame. Or fill with one of the Theme Colours</a:t>
            </a:r>
          </a:p>
        </p:txBody>
      </p:sp>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11700000" cy="12744000"/>
          </a:xfrm>
          <a:solidFill>
            <a:schemeClr val="bg1">
              <a:lumMod val="8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9179812" y="1673225"/>
            <a:ext cx="9132001" cy="8640763"/>
          </a:xfrm>
          <a:prstGeom prst="rect">
            <a:avLst/>
          </a:prstGeom>
          <a:solidFill>
            <a:schemeClr val="bg1"/>
          </a:solidFill>
        </p:spPr>
        <p:txBody>
          <a:bodyPr vert="horz" lIns="720000" tIns="360000" rIns="360000" bIns="360000" rtlCol="0" anchor="ctr">
            <a:noAutofit/>
          </a:bodyPr>
          <a:lstStyle>
            <a:lvl1pPr>
              <a:defRPr sz="4000" b="0" spc="0" baseline="0"/>
            </a:lvl1pPr>
          </a:lstStyle>
          <a:p>
            <a:r>
              <a:rPr lang="en-GB" noProof="0"/>
              <a:t>Put a long statement or a quote here, keep it regular 40 </a:t>
            </a:r>
            <a:r>
              <a:rPr lang="en-GB" noProof="0" err="1"/>
              <a:t>pt</a:t>
            </a:r>
            <a:endParaRPr lang="en-GB" noProof="0"/>
          </a:p>
        </p:txBody>
      </p:sp>
      <p:sp>
        <p:nvSpPr>
          <p:cNvPr id="3" name="Footer Placeholder 2">
            <a:extLst>
              <a:ext uri="{FF2B5EF4-FFF2-40B4-BE49-F238E27FC236}">
                <a16:creationId xmlns:a16="http://schemas.microsoft.com/office/drawing/2014/main" id="{50DDB570-67BE-EB4D-A534-19942E8D0F02}"/>
              </a:ext>
            </a:extLst>
          </p:cNvPr>
          <p:cNvSpPr>
            <a:spLocks noGrp="1"/>
          </p:cNvSpPr>
          <p:nvPr>
            <p:ph type="ftr" sz="quarter" idx="17"/>
          </p:nvPr>
        </p:nvSpPr>
        <p:spPr/>
        <p:txBody>
          <a:bodyPr/>
          <a:lstStyle/>
          <a:p>
            <a:endParaRPr lang="en-NL"/>
          </a:p>
        </p:txBody>
      </p:sp>
      <p:sp>
        <p:nvSpPr>
          <p:cNvPr id="8" name="TextBox 7">
            <a:extLst>
              <a:ext uri="{FF2B5EF4-FFF2-40B4-BE49-F238E27FC236}">
                <a16:creationId xmlns:a16="http://schemas.microsoft.com/office/drawing/2014/main" id="{EEDCEF97-2600-484D-BCF3-2F9C6FC44F07}"/>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456137653"/>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Statement 2 on double background">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31FA6885-927C-7B4C-8BD0-54E7A0823B52}"/>
              </a:ext>
            </a:extLst>
          </p:cNvPr>
          <p:cNvSpPr>
            <a:spLocks noGrp="1"/>
          </p:cNvSpPr>
          <p:nvPr>
            <p:ph type="pic" sz="quarter" idx="16" hasCustomPrompt="1"/>
          </p:nvPr>
        </p:nvSpPr>
        <p:spPr>
          <a:xfrm>
            <a:off x="6049094" y="486000"/>
            <a:ext cx="17842112"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n inspirational picture into this frame. Or fill with one of the Theme Colours</a:t>
            </a:r>
          </a:p>
        </p:txBody>
      </p:sp>
      <p:sp>
        <p:nvSpPr>
          <p:cNvPr id="9" name="Picture Placeholder 10">
            <a:extLst>
              <a:ext uri="{FF2B5EF4-FFF2-40B4-BE49-F238E27FC236}">
                <a16:creationId xmlns:a16="http://schemas.microsoft.com/office/drawing/2014/main" id="{ADB4BA95-E492-D840-88F6-2FE23D26918D}"/>
              </a:ext>
            </a:extLst>
          </p:cNvPr>
          <p:cNvSpPr>
            <a:spLocks noGrp="1"/>
          </p:cNvSpPr>
          <p:nvPr>
            <p:ph type="pic" sz="quarter" idx="14" hasCustomPrompt="1"/>
          </p:nvPr>
        </p:nvSpPr>
        <p:spPr>
          <a:xfrm>
            <a:off x="491206" y="486000"/>
            <a:ext cx="11699207" cy="12744000"/>
          </a:xfrm>
          <a:prstGeom prst="corner">
            <a:avLst>
              <a:gd name="adj1" fmla="val 25065"/>
              <a:gd name="adj2" fmla="val 47348"/>
            </a:avLst>
          </a:prstGeom>
          <a:solidFill>
            <a:schemeClr val="bg1">
              <a:lumMod val="8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7" name="Title Placeholder 6">
            <a:extLst>
              <a:ext uri="{FF2B5EF4-FFF2-40B4-BE49-F238E27FC236}">
                <a16:creationId xmlns:a16="http://schemas.microsoft.com/office/drawing/2014/main" id="{1B090AE2-5953-9248-BD9A-B5FA2155AD8A}"/>
              </a:ext>
            </a:extLst>
          </p:cNvPr>
          <p:cNvSpPr>
            <a:spLocks noGrp="1"/>
          </p:cNvSpPr>
          <p:nvPr>
            <p:ph type="title" hasCustomPrompt="1"/>
          </p:nvPr>
        </p:nvSpPr>
        <p:spPr>
          <a:xfrm>
            <a:off x="6049093" y="3402013"/>
            <a:ext cx="12284225" cy="6911975"/>
          </a:xfrm>
          <a:prstGeom prst="rect">
            <a:avLst/>
          </a:prstGeom>
          <a:solidFill>
            <a:schemeClr val="bg1"/>
          </a:solidFill>
        </p:spPr>
        <p:txBody>
          <a:bodyPr vert="horz" lIns="720000" tIns="360000" rIns="360000" bIns="360000" rtlCol="0" anchor="ctr">
            <a:noAutofit/>
          </a:bodyPr>
          <a:lstStyle>
            <a:lvl1pPr>
              <a:defRPr/>
            </a:lvl1pPr>
          </a:lstStyle>
          <a:p>
            <a:r>
              <a:rPr lang="en-GB" noProof="0"/>
              <a:t>Put a short statement here, keep it bold 80 </a:t>
            </a:r>
            <a:r>
              <a:rPr lang="en-GB" noProof="0" err="1"/>
              <a:t>pt</a:t>
            </a:r>
            <a:endParaRPr lang="en-GB" noProof="0"/>
          </a:p>
        </p:txBody>
      </p:sp>
      <p:sp>
        <p:nvSpPr>
          <p:cNvPr id="3" name="Footer Placeholder 2">
            <a:extLst>
              <a:ext uri="{FF2B5EF4-FFF2-40B4-BE49-F238E27FC236}">
                <a16:creationId xmlns:a16="http://schemas.microsoft.com/office/drawing/2014/main" id="{23AF250D-036E-9947-B629-124D8B6FF87C}"/>
              </a:ext>
            </a:extLst>
          </p:cNvPr>
          <p:cNvSpPr>
            <a:spLocks noGrp="1"/>
          </p:cNvSpPr>
          <p:nvPr>
            <p:ph type="ftr" sz="quarter" idx="17"/>
          </p:nvPr>
        </p:nvSpPr>
        <p:spPr/>
        <p:txBody>
          <a:bodyPr/>
          <a:lstStyle/>
          <a:p>
            <a:endParaRPr lang="en-NL"/>
          </a:p>
        </p:txBody>
      </p:sp>
      <p:sp>
        <p:nvSpPr>
          <p:cNvPr id="8" name="TextBox 7">
            <a:extLst>
              <a:ext uri="{FF2B5EF4-FFF2-40B4-BE49-F238E27FC236}">
                <a16:creationId xmlns:a16="http://schemas.microsoft.com/office/drawing/2014/main" id="{EA23A869-D63F-9145-B2E7-DAF3BC84C059}"/>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26315498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ext in one column">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3397E6F6-DFC7-C54D-9E7E-CD51822BE714}"/>
              </a:ext>
            </a:extLst>
          </p:cNvPr>
          <p:cNvSpPr>
            <a:spLocks noGrp="1"/>
          </p:cNvSpPr>
          <p:nvPr>
            <p:ph type="body" sz="quarter" idx="18" hasCustomPrompt="1"/>
          </p:nvPr>
        </p:nvSpPr>
        <p:spPr>
          <a:xfrm>
            <a:off x="1674329" y="5129213"/>
            <a:ext cx="10516084" cy="6904512"/>
          </a:xfrm>
        </p:spPr>
        <p:txBody>
          <a:bodyPr>
            <a:noAutofit/>
          </a:bodyPr>
          <a:lstStyle>
            <a:lvl1pPr>
              <a:spcBef>
                <a:spcPts val="2000"/>
              </a:spcBef>
              <a:defRPr sz="3200"/>
            </a:lvl1pPr>
          </a:lstStyle>
          <a:p>
            <a:pPr lvl="0"/>
            <a:r>
              <a:rPr lang="en-GB" noProof="0"/>
              <a:t>Put the paragraph text here, keep it regular 32 </a:t>
            </a:r>
            <a:r>
              <a:rPr lang="en-GB" noProof="0" err="1"/>
              <a:t>pt</a:t>
            </a:r>
            <a:endParaRPr lang="en-GB" noProof="0"/>
          </a:p>
        </p:txBody>
      </p:sp>
      <p:sp>
        <p:nvSpPr>
          <p:cNvPr id="2" name="Title 1">
            <a:extLst>
              <a:ext uri="{FF2B5EF4-FFF2-40B4-BE49-F238E27FC236}">
                <a16:creationId xmlns:a16="http://schemas.microsoft.com/office/drawing/2014/main" id="{531E4EAE-C7D1-764F-A32B-CAEBD1FFE575}"/>
              </a:ext>
            </a:extLst>
          </p:cNvPr>
          <p:cNvSpPr>
            <a:spLocks noGrp="1"/>
          </p:cNvSpPr>
          <p:nvPr>
            <p:ph type="title" hasCustomPrompt="1"/>
          </p:nvPr>
        </p:nvSpPr>
        <p:spPr/>
        <p:txBody>
          <a:bodyPr/>
          <a:lstStyle/>
          <a:p>
            <a:r>
              <a:rPr lang="en-GB"/>
              <a:t>Put the headline here, </a:t>
            </a:r>
            <a:br>
              <a:rPr lang="en-GB"/>
            </a:br>
            <a:r>
              <a:rPr lang="en-GB"/>
              <a:t>keep it bold 80 </a:t>
            </a:r>
            <a:r>
              <a:rPr lang="en-GB" err="1"/>
              <a:t>pt</a:t>
            </a:r>
            <a:endParaRPr lang="en-NL"/>
          </a:p>
        </p:txBody>
      </p:sp>
      <p:sp>
        <p:nvSpPr>
          <p:cNvPr id="7" name="Footer Placeholder 6">
            <a:extLst>
              <a:ext uri="{FF2B5EF4-FFF2-40B4-BE49-F238E27FC236}">
                <a16:creationId xmlns:a16="http://schemas.microsoft.com/office/drawing/2014/main" id="{3E14A44A-1600-B842-B2DE-66DACFA6C861}"/>
              </a:ext>
            </a:extLst>
          </p:cNvPr>
          <p:cNvSpPr>
            <a:spLocks noGrp="1"/>
          </p:cNvSpPr>
          <p:nvPr>
            <p:ph type="ftr" sz="quarter" idx="19"/>
          </p:nvPr>
        </p:nvSpPr>
        <p:spPr/>
        <p:txBody>
          <a:bodyPr/>
          <a:lstStyle/>
          <a:p>
            <a:endParaRPr lang="en-NL"/>
          </a:p>
        </p:txBody>
      </p:sp>
      <p:sp>
        <p:nvSpPr>
          <p:cNvPr id="8" name="TextBox 7">
            <a:extLst>
              <a:ext uri="{FF2B5EF4-FFF2-40B4-BE49-F238E27FC236}">
                <a16:creationId xmlns:a16="http://schemas.microsoft.com/office/drawing/2014/main" id="{CB57B542-06A9-DE4F-969F-191CC73CC3F4}"/>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515722068"/>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ext in two column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2A2A612F-B7D0-EE48-9553-5C46B1883978}"/>
              </a:ext>
            </a:extLst>
          </p:cNvPr>
          <p:cNvSpPr>
            <a:spLocks noGrp="1"/>
          </p:cNvSpPr>
          <p:nvPr>
            <p:ph type="body" sz="quarter" idx="18" hasCustomPrompt="1"/>
          </p:nvPr>
        </p:nvSpPr>
        <p:spPr>
          <a:xfrm>
            <a:off x="1674329" y="5129213"/>
            <a:ext cx="10080000" cy="6904512"/>
          </a:xfrm>
        </p:spPr>
        <p:txBody>
          <a:bodyPr>
            <a:noAutofit/>
          </a:bodyPr>
          <a:lstStyle>
            <a:lvl1pPr>
              <a:spcBef>
                <a:spcPts val="2000"/>
              </a:spcBef>
              <a:defRPr sz="3200"/>
            </a:lvl1pPr>
          </a:lstStyle>
          <a:p>
            <a:pPr lvl="0"/>
            <a:r>
              <a:rPr lang="en-GB" noProof="0"/>
              <a:t>Put the first column text here, keep it regular 32 </a:t>
            </a:r>
            <a:r>
              <a:rPr lang="en-GB" noProof="0" err="1"/>
              <a:t>pt</a:t>
            </a:r>
            <a:endParaRPr lang="en-GB" noProof="0"/>
          </a:p>
        </p:txBody>
      </p:sp>
      <p:sp>
        <p:nvSpPr>
          <p:cNvPr id="12" name="Title 1">
            <a:extLst>
              <a:ext uri="{FF2B5EF4-FFF2-40B4-BE49-F238E27FC236}">
                <a16:creationId xmlns:a16="http://schemas.microsoft.com/office/drawing/2014/main" id="{E0055953-7F4C-2747-BE6A-BA18649898F4}"/>
              </a:ext>
            </a:extLst>
          </p:cNvPr>
          <p:cNvSpPr>
            <a:spLocks noGrp="1"/>
          </p:cNvSpPr>
          <p:nvPr>
            <p:ph type="title" hasCustomPrompt="1"/>
          </p:nvPr>
        </p:nvSpPr>
        <p:spPr>
          <a:xfrm>
            <a:off x="1676293" y="1677600"/>
            <a:ext cx="21033007" cy="3011659"/>
          </a:xfrm>
        </p:spPr>
        <p:txBody>
          <a:bodyPr/>
          <a:lstStyle/>
          <a:p>
            <a:r>
              <a:rPr lang="en-GB"/>
              <a:t>Put the headline here,</a:t>
            </a:r>
            <a:br>
              <a:rPr lang="en-GB"/>
            </a:br>
            <a:r>
              <a:rPr lang="en-GB"/>
              <a:t>keep it bold 80 </a:t>
            </a:r>
            <a:r>
              <a:rPr lang="en-GB" err="1"/>
              <a:t>pt</a:t>
            </a:r>
            <a:endParaRPr lang="en-NL"/>
          </a:p>
        </p:txBody>
      </p:sp>
      <p:sp>
        <p:nvSpPr>
          <p:cNvPr id="14" name="Text Placeholder 3">
            <a:extLst>
              <a:ext uri="{FF2B5EF4-FFF2-40B4-BE49-F238E27FC236}">
                <a16:creationId xmlns:a16="http://schemas.microsoft.com/office/drawing/2014/main" id="{5F720E9C-2098-114A-B6BC-477F05727234}"/>
              </a:ext>
            </a:extLst>
          </p:cNvPr>
          <p:cNvSpPr>
            <a:spLocks noGrp="1"/>
          </p:cNvSpPr>
          <p:nvPr>
            <p:ph type="body" sz="quarter" idx="19" hasCustomPrompt="1"/>
          </p:nvPr>
        </p:nvSpPr>
        <p:spPr>
          <a:xfrm>
            <a:off x="12628084" y="5129213"/>
            <a:ext cx="10080000" cy="6904512"/>
          </a:xfrm>
        </p:spPr>
        <p:txBody>
          <a:bodyPr>
            <a:noAutofit/>
          </a:bodyPr>
          <a:lstStyle>
            <a:lvl1pPr>
              <a:spcBef>
                <a:spcPts val="2000"/>
              </a:spcBef>
              <a:defRPr sz="3200"/>
            </a:lvl1pPr>
          </a:lstStyle>
          <a:p>
            <a:pPr lvl="0"/>
            <a:r>
              <a:rPr lang="en-GB" noProof="0"/>
              <a:t>Put the second column text here, keep it regular 32 </a:t>
            </a:r>
            <a:r>
              <a:rPr lang="en-GB" noProof="0" err="1"/>
              <a:t>pt</a:t>
            </a:r>
            <a:endParaRPr lang="en-GB" noProof="0"/>
          </a:p>
        </p:txBody>
      </p:sp>
      <p:sp>
        <p:nvSpPr>
          <p:cNvPr id="4" name="Footer Placeholder 3">
            <a:extLst>
              <a:ext uri="{FF2B5EF4-FFF2-40B4-BE49-F238E27FC236}">
                <a16:creationId xmlns:a16="http://schemas.microsoft.com/office/drawing/2014/main" id="{30B91129-2FC5-334C-9789-17535DAF1987}"/>
              </a:ext>
            </a:extLst>
          </p:cNvPr>
          <p:cNvSpPr>
            <a:spLocks noGrp="1"/>
          </p:cNvSpPr>
          <p:nvPr>
            <p:ph type="ftr" sz="quarter" idx="20"/>
          </p:nvPr>
        </p:nvSpPr>
        <p:spPr/>
        <p:txBody>
          <a:bodyPr/>
          <a:lstStyle/>
          <a:p>
            <a:endParaRPr lang="en-NL"/>
          </a:p>
        </p:txBody>
      </p:sp>
      <p:sp>
        <p:nvSpPr>
          <p:cNvPr id="9" name="TextBox 8">
            <a:extLst>
              <a:ext uri="{FF2B5EF4-FFF2-40B4-BE49-F238E27FC236}">
                <a16:creationId xmlns:a16="http://schemas.microsoft.com/office/drawing/2014/main" id="{1215165C-F26D-3544-AAD2-A26EE1B743AA}"/>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4215739343"/>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ext in three columns">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F48D91E-AB60-4041-B4FC-3E50759777E5}"/>
              </a:ext>
            </a:extLst>
          </p:cNvPr>
          <p:cNvSpPr>
            <a:spLocks noGrp="1"/>
          </p:cNvSpPr>
          <p:nvPr>
            <p:ph type="title" hasCustomPrompt="1"/>
          </p:nvPr>
        </p:nvSpPr>
        <p:spPr>
          <a:xfrm>
            <a:off x="1676293" y="1677600"/>
            <a:ext cx="21033007" cy="3011659"/>
          </a:xfrm>
        </p:spPr>
        <p:txBody>
          <a:bodyPr/>
          <a:lstStyle/>
          <a:p>
            <a:r>
              <a:rPr lang="en-GB"/>
              <a:t>Put the headline here,</a:t>
            </a:r>
            <a:br>
              <a:rPr lang="en-GB"/>
            </a:br>
            <a:r>
              <a:rPr lang="en-GB"/>
              <a:t>keep it bold 80 </a:t>
            </a:r>
            <a:r>
              <a:rPr lang="en-GB" err="1"/>
              <a:t>pt</a:t>
            </a:r>
            <a:endParaRPr lang="en-NL"/>
          </a:p>
        </p:txBody>
      </p:sp>
      <p:sp>
        <p:nvSpPr>
          <p:cNvPr id="19" name="Text Placeholder 3">
            <a:extLst>
              <a:ext uri="{FF2B5EF4-FFF2-40B4-BE49-F238E27FC236}">
                <a16:creationId xmlns:a16="http://schemas.microsoft.com/office/drawing/2014/main" id="{292A3CC4-2948-634E-A9F0-D2126C8DA330}"/>
              </a:ext>
            </a:extLst>
          </p:cNvPr>
          <p:cNvSpPr>
            <a:spLocks noGrp="1"/>
          </p:cNvSpPr>
          <p:nvPr>
            <p:ph type="body" sz="quarter" idx="21" hasCustomPrompt="1"/>
          </p:nvPr>
        </p:nvSpPr>
        <p:spPr>
          <a:xfrm>
            <a:off x="9166225" y="5129213"/>
            <a:ext cx="6049964" cy="6904512"/>
          </a:xfrm>
        </p:spPr>
        <p:txBody>
          <a:bodyPr>
            <a:noAutofit/>
          </a:bodyPr>
          <a:lstStyle>
            <a:lvl1pPr marL="342900" indent="-342900">
              <a:spcBef>
                <a:spcPts val="2000"/>
              </a:spcBef>
              <a:buFont typeface="Arial" panose="020B0604020202020204" pitchFamily="34" charset="0"/>
              <a:buChar char="•"/>
              <a:defRPr sz="2400"/>
            </a:lvl1pPr>
          </a:lstStyle>
          <a:p>
            <a:pPr lvl="0"/>
            <a:r>
              <a:rPr lang="en-GB" noProof="0"/>
              <a:t>Put the second column list here, keep it regular 24 </a:t>
            </a:r>
            <a:r>
              <a:rPr lang="en-GB" noProof="0" err="1"/>
              <a:t>pt</a:t>
            </a:r>
            <a:endParaRPr lang="en-GB" noProof="0"/>
          </a:p>
        </p:txBody>
      </p:sp>
      <p:sp>
        <p:nvSpPr>
          <p:cNvPr id="20" name="Text Placeholder 3">
            <a:extLst>
              <a:ext uri="{FF2B5EF4-FFF2-40B4-BE49-F238E27FC236}">
                <a16:creationId xmlns:a16="http://schemas.microsoft.com/office/drawing/2014/main" id="{B772D797-9E99-7B44-81B1-A91F96DFFAD6}"/>
              </a:ext>
            </a:extLst>
          </p:cNvPr>
          <p:cNvSpPr>
            <a:spLocks noGrp="1"/>
          </p:cNvSpPr>
          <p:nvPr>
            <p:ph type="body" sz="quarter" idx="22" hasCustomPrompt="1"/>
          </p:nvPr>
        </p:nvSpPr>
        <p:spPr>
          <a:xfrm>
            <a:off x="1676291" y="5129213"/>
            <a:ext cx="6049964" cy="6904512"/>
          </a:xfrm>
        </p:spPr>
        <p:txBody>
          <a:bodyPr>
            <a:noAutofit/>
          </a:bodyPr>
          <a:lstStyle>
            <a:lvl1pPr marL="342900" indent="-342900">
              <a:spcBef>
                <a:spcPts val="2000"/>
              </a:spcBef>
              <a:buFont typeface="Arial" panose="020B0604020202020204" pitchFamily="34" charset="0"/>
              <a:buChar char="•"/>
              <a:defRPr sz="2400"/>
            </a:lvl1pPr>
          </a:lstStyle>
          <a:p>
            <a:pPr lvl="0"/>
            <a:r>
              <a:rPr lang="en-GB" noProof="0"/>
              <a:t>Put the first column list here, keep it regular 24 </a:t>
            </a:r>
            <a:r>
              <a:rPr lang="en-GB" noProof="0" err="1"/>
              <a:t>pt</a:t>
            </a:r>
            <a:endParaRPr lang="en-GB" noProof="0"/>
          </a:p>
        </p:txBody>
      </p:sp>
      <p:sp>
        <p:nvSpPr>
          <p:cNvPr id="21" name="Text Placeholder 3">
            <a:extLst>
              <a:ext uri="{FF2B5EF4-FFF2-40B4-BE49-F238E27FC236}">
                <a16:creationId xmlns:a16="http://schemas.microsoft.com/office/drawing/2014/main" id="{EA077ACA-637D-0643-8E1E-31E31C902655}"/>
              </a:ext>
            </a:extLst>
          </p:cNvPr>
          <p:cNvSpPr>
            <a:spLocks noGrp="1"/>
          </p:cNvSpPr>
          <p:nvPr>
            <p:ph type="body" sz="quarter" idx="23" hasCustomPrompt="1"/>
          </p:nvPr>
        </p:nvSpPr>
        <p:spPr>
          <a:xfrm>
            <a:off x="16656158" y="5129213"/>
            <a:ext cx="6049964" cy="6904512"/>
          </a:xfrm>
        </p:spPr>
        <p:txBody>
          <a:bodyPr>
            <a:noAutofit/>
          </a:bodyPr>
          <a:lstStyle>
            <a:lvl1pPr marL="342900" indent="-342900">
              <a:spcBef>
                <a:spcPts val="2000"/>
              </a:spcBef>
              <a:buFont typeface="Arial" panose="020B0604020202020204" pitchFamily="34" charset="0"/>
              <a:buChar char="•"/>
              <a:defRPr sz="2400"/>
            </a:lvl1pPr>
          </a:lstStyle>
          <a:p>
            <a:pPr lvl="0"/>
            <a:r>
              <a:rPr lang="en-GB" noProof="0"/>
              <a:t>Put the third column list here, keep it regular 24 </a:t>
            </a:r>
            <a:r>
              <a:rPr lang="en-GB" noProof="0" err="1"/>
              <a:t>pt</a:t>
            </a:r>
            <a:endParaRPr lang="en-GB" noProof="0"/>
          </a:p>
        </p:txBody>
      </p:sp>
      <p:sp>
        <p:nvSpPr>
          <p:cNvPr id="4" name="Footer Placeholder 3">
            <a:extLst>
              <a:ext uri="{FF2B5EF4-FFF2-40B4-BE49-F238E27FC236}">
                <a16:creationId xmlns:a16="http://schemas.microsoft.com/office/drawing/2014/main" id="{9F259679-D8E8-0F42-BB59-3BCBFC65EB1B}"/>
              </a:ext>
            </a:extLst>
          </p:cNvPr>
          <p:cNvSpPr>
            <a:spLocks noGrp="1"/>
          </p:cNvSpPr>
          <p:nvPr>
            <p:ph type="ftr" sz="quarter" idx="24"/>
          </p:nvPr>
        </p:nvSpPr>
        <p:spPr/>
        <p:txBody>
          <a:bodyPr/>
          <a:lstStyle/>
          <a:p>
            <a:endParaRPr lang="en-NL"/>
          </a:p>
        </p:txBody>
      </p:sp>
      <p:sp>
        <p:nvSpPr>
          <p:cNvPr id="10" name="TextBox 9">
            <a:extLst>
              <a:ext uri="{FF2B5EF4-FFF2-40B4-BE49-F238E27FC236}">
                <a16:creationId xmlns:a16="http://schemas.microsoft.com/office/drawing/2014/main" id="{F6C0470B-F20E-A142-917D-853951DA8234}"/>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603866459"/>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Long text in two columns">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63367C8D-9B77-984C-8B9E-6950D34AC3FE}"/>
              </a:ext>
            </a:extLst>
          </p:cNvPr>
          <p:cNvSpPr>
            <a:spLocks noGrp="1"/>
          </p:cNvSpPr>
          <p:nvPr>
            <p:ph type="title" hasCustomPrompt="1"/>
          </p:nvPr>
        </p:nvSpPr>
        <p:spPr>
          <a:xfrm>
            <a:off x="1676293" y="1677600"/>
            <a:ext cx="21033007" cy="2446607"/>
          </a:xfrm>
        </p:spPr>
        <p:txBody>
          <a:bodyPr/>
          <a:lstStyle>
            <a:lvl1pPr>
              <a:defRPr sz="6000" spc="0" baseline="0"/>
            </a:lvl1pPr>
          </a:lstStyle>
          <a:p>
            <a:r>
              <a:rPr lang="en-GB"/>
              <a:t>Put the headline here, </a:t>
            </a:r>
            <a:br>
              <a:rPr lang="en-GB"/>
            </a:br>
            <a:r>
              <a:rPr lang="en-GB"/>
              <a:t>keep it bold 60 </a:t>
            </a:r>
            <a:r>
              <a:rPr lang="en-GB" err="1"/>
              <a:t>pt</a:t>
            </a:r>
            <a:endParaRPr lang="en-NL"/>
          </a:p>
        </p:txBody>
      </p:sp>
      <p:sp>
        <p:nvSpPr>
          <p:cNvPr id="10" name="Text Placeholder 3">
            <a:extLst>
              <a:ext uri="{FF2B5EF4-FFF2-40B4-BE49-F238E27FC236}">
                <a16:creationId xmlns:a16="http://schemas.microsoft.com/office/drawing/2014/main" id="{939100DF-247B-744C-82E5-5A131B43B255}"/>
              </a:ext>
            </a:extLst>
          </p:cNvPr>
          <p:cNvSpPr>
            <a:spLocks noGrp="1"/>
          </p:cNvSpPr>
          <p:nvPr>
            <p:ph type="body" sz="quarter" idx="18" hasCustomPrompt="1"/>
          </p:nvPr>
        </p:nvSpPr>
        <p:spPr>
          <a:xfrm>
            <a:off x="1674329" y="4124207"/>
            <a:ext cx="10080000" cy="7909518"/>
          </a:xfrm>
        </p:spPr>
        <p:txBody>
          <a:bodyPr>
            <a:noAutofit/>
          </a:bodyPr>
          <a:lstStyle>
            <a:lvl1pPr>
              <a:spcBef>
                <a:spcPts val="2000"/>
              </a:spcBef>
              <a:defRPr sz="2400"/>
            </a:lvl1pPr>
          </a:lstStyle>
          <a:p>
            <a:pPr lvl="0"/>
            <a:r>
              <a:rPr lang="en-GB" noProof="0"/>
              <a:t>Put the first column text here, keep it regular 24 </a:t>
            </a:r>
            <a:r>
              <a:rPr lang="en-GB" noProof="0" err="1"/>
              <a:t>pt</a:t>
            </a:r>
            <a:endParaRPr lang="en-GB" noProof="0"/>
          </a:p>
        </p:txBody>
      </p:sp>
      <p:sp>
        <p:nvSpPr>
          <p:cNvPr id="11" name="Text Placeholder 3">
            <a:extLst>
              <a:ext uri="{FF2B5EF4-FFF2-40B4-BE49-F238E27FC236}">
                <a16:creationId xmlns:a16="http://schemas.microsoft.com/office/drawing/2014/main" id="{9CCF0755-F145-EA44-8033-C854ED47EF7D}"/>
              </a:ext>
            </a:extLst>
          </p:cNvPr>
          <p:cNvSpPr>
            <a:spLocks noGrp="1"/>
          </p:cNvSpPr>
          <p:nvPr>
            <p:ph type="body" sz="quarter" idx="20" hasCustomPrompt="1"/>
          </p:nvPr>
        </p:nvSpPr>
        <p:spPr>
          <a:xfrm>
            <a:off x="12628084" y="4124207"/>
            <a:ext cx="10080000" cy="7909518"/>
          </a:xfrm>
        </p:spPr>
        <p:txBody>
          <a:bodyPr>
            <a:noAutofit/>
          </a:bodyPr>
          <a:lstStyle>
            <a:lvl1pPr>
              <a:spcBef>
                <a:spcPts val="2000"/>
              </a:spcBef>
              <a:defRPr sz="2400"/>
            </a:lvl1pPr>
          </a:lstStyle>
          <a:p>
            <a:pPr lvl="0"/>
            <a:r>
              <a:rPr lang="en-GB" noProof="0"/>
              <a:t>Put the second column text here, keep it regular 24 </a:t>
            </a:r>
            <a:r>
              <a:rPr lang="en-GB" noProof="0" err="1"/>
              <a:t>pt</a:t>
            </a:r>
            <a:endParaRPr lang="en-GB" noProof="0"/>
          </a:p>
        </p:txBody>
      </p:sp>
      <p:sp>
        <p:nvSpPr>
          <p:cNvPr id="4" name="Footer Placeholder 3">
            <a:extLst>
              <a:ext uri="{FF2B5EF4-FFF2-40B4-BE49-F238E27FC236}">
                <a16:creationId xmlns:a16="http://schemas.microsoft.com/office/drawing/2014/main" id="{513A86D6-E57E-5649-8AF5-453D2B2B151A}"/>
              </a:ext>
            </a:extLst>
          </p:cNvPr>
          <p:cNvSpPr>
            <a:spLocks noGrp="1"/>
          </p:cNvSpPr>
          <p:nvPr>
            <p:ph type="ftr" sz="quarter" idx="21"/>
          </p:nvPr>
        </p:nvSpPr>
        <p:spPr/>
        <p:txBody>
          <a:bodyPr/>
          <a:lstStyle/>
          <a:p>
            <a:endParaRPr lang="en-NL"/>
          </a:p>
        </p:txBody>
      </p:sp>
      <p:sp>
        <p:nvSpPr>
          <p:cNvPr id="13" name="TextBox 12">
            <a:extLst>
              <a:ext uri="{FF2B5EF4-FFF2-40B4-BE49-F238E27FC236}">
                <a16:creationId xmlns:a16="http://schemas.microsoft.com/office/drawing/2014/main" id="{F69A19F4-DC87-0B48-B9A2-A753D080F470}"/>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891676606"/>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Long text in two columns and picture">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EED5078-C5D9-0E4F-B9E3-7CF7BBC8C373}"/>
              </a:ext>
            </a:extLst>
          </p:cNvPr>
          <p:cNvSpPr>
            <a:spLocks noGrp="1"/>
          </p:cNvSpPr>
          <p:nvPr>
            <p:ph type="pic" sz="quarter" idx="15" hasCustomPrompt="1"/>
          </p:nvPr>
        </p:nvSpPr>
        <p:spPr>
          <a:xfrm>
            <a:off x="491102" y="486000"/>
            <a:ext cx="10764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2" name="Text Placeholder 3">
            <a:extLst>
              <a:ext uri="{FF2B5EF4-FFF2-40B4-BE49-F238E27FC236}">
                <a16:creationId xmlns:a16="http://schemas.microsoft.com/office/drawing/2014/main" id="{AE87E5A1-8A67-0448-BA9A-DA74F50AE099}"/>
              </a:ext>
            </a:extLst>
          </p:cNvPr>
          <p:cNvSpPr>
            <a:spLocks noGrp="1"/>
          </p:cNvSpPr>
          <p:nvPr>
            <p:ph type="body" sz="quarter" idx="18" hasCustomPrompt="1"/>
          </p:nvPr>
        </p:nvSpPr>
        <p:spPr>
          <a:xfrm>
            <a:off x="12191206" y="5129213"/>
            <a:ext cx="5040560" cy="6904512"/>
          </a:xfrm>
        </p:spPr>
        <p:txBody>
          <a:bodyPr>
            <a:noAutofit/>
          </a:bodyPr>
          <a:lstStyle>
            <a:lvl1pPr>
              <a:spcBef>
                <a:spcPts val="2000"/>
              </a:spcBef>
              <a:defRPr sz="2400"/>
            </a:lvl1pPr>
          </a:lstStyle>
          <a:p>
            <a:pPr lvl="0"/>
            <a:r>
              <a:rPr lang="en-GB" noProof="0"/>
              <a:t>Put the first column text here, keep it regular 24 </a:t>
            </a:r>
            <a:r>
              <a:rPr lang="en-GB" noProof="0" err="1"/>
              <a:t>pt</a:t>
            </a:r>
            <a:endParaRPr lang="en-GB" noProof="0"/>
          </a:p>
        </p:txBody>
      </p:sp>
      <p:sp>
        <p:nvSpPr>
          <p:cNvPr id="13" name="Title 1">
            <a:extLst>
              <a:ext uri="{FF2B5EF4-FFF2-40B4-BE49-F238E27FC236}">
                <a16:creationId xmlns:a16="http://schemas.microsoft.com/office/drawing/2014/main" id="{0614539B-EA7E-5F48-845E-1115C11137DF}"/>
              </a:ext>
            </a:extLst>
          </p:cNvPr>
          <p:cNvSpPr>
            <a:spLocks noGrp="1"/>
          </p:cNvSpPr>
          <p:nvPr>
            <p:ph type="title" hasCustomPrompt="1"/>
          </p:nvPr>
        </p:nvSpPr>
        <p:spPr>
          <a:xfrm>
            <a:off x="12193170" y="1677600"/>
            <a:ext cx="10514913" cy="3011659"/>
          </a:xfrm>
        </p:spPr>
        <p:txBody>
          <a:bodyPr/>
          <a:lstStyle>
            <a:lvl1pPr>
              <a:defRPr sz="6000" spc="0" baseline="0"/>
            </a:lvl1pPr>
          </a:lstStyle>
          <a:p>
            <a:r>
              <a:rPr lang="en-GB"/>
              <a:t>Put the headline here, keep it 60 </a:t>
            </a:r>
            <a:r>
              <a:rPr lang="en-GB" err="1"/>
              <a:t>pt</a:t>
            </a:r>
            <a:endParaRPr lang="en-NL"/>
          </a:p>
        </p:txBody>
      </p:sp>
      <p:sp>
        <p:nvSpPr>
          <p:cNvPr id="7" name="Text Placeholder 3">
            <a:extLst>
              <a:ext uri="{FF2B5EF4-FFF2-40B4-BE49-F238E27FC236}">
                <a16:creationId xmlns:a16="http://schemas.microsoft.com/office/drawing/2014/main" id="{B26CACA4-13A0-5940-A8FA-3FC8769DA450}"/>
              </a:ext>
            </a:extLst>
          </p:cNvPr>
          <p:cNvSpPr>
            <a:spLocks noGrp="1"/>
          </p:cNvSpPr>
          <p:nvPr>
            <p:ph type="body" sz="quarter" idx="20" hasCustomPrompt="1"/>
          </p:nvPr>
        </p:nvSpPr>
        <p:spPr>
          <a:xfrm>
            <a:off x="17653543" y="5164141"/>
            <a:ext cx="5040560" cy="6904512"/>
          </a:xfrm>
        </p:spPr>
        <p:txBody>
          <a:bodyPr>
            <a:noAutofit/>
          </a:bodyPr>
          <a:lstStyle>
            <a:lvl1pPr>
              <a:spcBef>
                <a:spcPts val="2000"/>
              </a:spcBef>
              <a:defRPr sz="2400"/>
            </a:lvl1pPr>
          </a:lstStyle>
          <a:p>
            <a:pPr lvl="0"/>
            <a:r>
              <a:rPr lang="en-GB" noProof="0"/>
              <a:t>Put the second column text here, keep it regular 24 </a:t>
            </a:r>
            <a:r>
              <a:rPr lang="en-GB" noProof="0" err="1"/>
              <a:t>pt</a:t>
            </a:r>
            <a:endParaRPr lang="en-GB" noProof="0"/>
          </a:p>
        </p:txBody>
      </p:sp>
      <p:sp>
        <p:nvSpPr>
          <p:cNvPr id="4" name="Footer Placeholder 3">
            <a:extLst>
              <a:ext uri="{FF2B5EF4-FFF2-40B4-BE49-F238E27FC236}">
                <a16:creationId xmlns:a16="http://schemas.microsoft.com/office/drawing/2014/main" id="{236B4C3F-2345-FD42-B780-BD49D67130E9}"/>
              </a:ext>
            </a:extLst>
          </p:cNvPr>
          <p:cNvSpPr>
            <a:spLocks noGrp="1"/>
          </p:cNvSpPr>
          <p:nvPr>
            <p:ph type="ftr" sz="quarter" idx="21"/>
          </p:nvPr>
        </p:nvSpPr>
        <p:spPr/>
        <p:txBody>
          <a:bodyPr/>
          <a:lstStyle/>
          <a:p>
            <a:endParaRPr lang="en-NL"/>
          </a:p>
        </p:txBody>
      </p:sp>
      <p:sp>
        <p:nvSpPr>
          <p:cNvPr id="11" name="TextBox 10">
            <a:extLst>
              <a:ext uri="{FF2B5EF4-FFF2-40B4-BE49-F238E27FC236}">
                <a16:creationId xmlns:a16="http://schemas.microsoft.com/office/drawing/2014/main" id="{2C18B1BF-0727-F84E-B2A7-098862261928}"/>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103337252"/>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Long text in three columns and picture">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EED5078-C5D9-0E4F-B9E3-7CF7BBC8C373}"/>
              </a:ext>
            </a:extLst>
          </p:cNvPr>
          <p:cNvSpPr>
            <a:spLocks noGrp="1"/>
          </p:cNvSpPr>
          <p:nvPr>
            <p:ph type="pic" sz="quarter" idx="15" hasCustomPrompt="1"/>
          </p:nvPr>
        </p:nvSpPr>
        <p:spPr>
          <a:xfrm>
            <a:off x="491102" y="486000"/>
            <a:ext cx="5579498"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2" name="Text Placeholder 3">
            <a:extLst>
              <a:ext uri="{FF2B5EF4-FFF2-40B4-BE49-F238E27FC236}">
                <a16:creationId xmlns:a16="http://schemas.microsoft.com/office/drawing/2014/main" id="{AE87E5A1-8A67-0448-BA9A-DA74F50AE099}"/>
              </a:ext>
            </a:extLst>
          </p:cNvPr>
          <p:cNvSpPr>
            <a:spLocks noGrp="1"/>
          </p:cNvSpPr>
          <p:nvPr>
            <p:ph type="body" sz="quarter" idx="18" hasCustomPrompt="1"/>
          </p:nvPr>
        </p:nvSpPr>
        <p:spPr>
          <a:xfrm>
            <a:off x="12191206" y="5129213"/>
            <a:ext cx="5040560" cy="6904512"/>
          </a:xfrm>
        </p:spPr>
        <p:txBody>
          <a:bodyPr>
            <a:noAutofit/>
          </a:bodyPr>
          <a:lstStyle>
            <a:lvl1pPr>
              <a:spcBef>
                <a:spcPts val="2000"/>
              </a:spcBef>
              <a:defRPr sz="1600"/>
            </a:lvl1pPr>
          </a:lstStyle>
          <a:p>
            <a:pPr lvl="0"/>
            <a:r>
              <a:rPr lang="en-GB" noProof="0"/>
              <a:t>Put the body text here, keep it regular 16 </a:t>
            </a:r>
            <a:r>
              <a:rPr lang="en-GB" noProof="0" err="1"/>
              <a:t>pt</a:t>
            </a:r>
            <a:endParaRPr lang="en-GB" noProof="0"/>
          </a:p>
        </p:txBody>
      </p:sp>
      <p:sp>
        <p:nvSpPr>
          <p:cNvPr id="13" name="Title 1">
            <a:extLst>
              <a:ext uri="{FF2B5EF4-FFF2-40B4-BE49-F238E27FC236}">
                <a16:creationId xmlns:a16="http://schemas.microsoft.com/office/drawing/2014/main" id="{0614539B-EA7E-5F48-845E-1115C11137DF}"/>
              </a:ext>
            </a:extLst>
          </p:cNvPr>
          <p:cNvSpPr>
            <a:spLocks noGrp="1"/>
          </p:cNvSpPr>
          <p:nvPr>
            <p:ph type="title" hasCustomPrompt="1"/>
          </p:nvPr>
        </p:nvSpPr>
        <p:spPr>
          <a:xfrm>
            <a:off x="6728870" y="1677600"/>
            <a:ext cx="15979214" cy="3011659"/>
          </a:xfrm>
        </p:spPr>
        <p:txBody>
          <a:bodyPr/>
          <a:lstStyle>
            <a:lvl1pPr>
              <a:defRPr sz="6000" spc="0" baseline="0"/>
            </a:lvl1pPr>
          </a:lstStyle>
          <a:p>
            <a:r>
              <a:rPr lang="en-GB"/>
              <a:t>Put the headline here, </a:t>
            </a:r>
            <a:br>
              <a:rPr lang="en-GB"/>
            </a:br>
            <a:r>
              <a:rPr lang="en-GB"/>
              <a:t>keep it 60 </a:t>
            </a:r>
            <a:r>
              <a:rPr lang="en-GB" err="1"/>
              <a:t>pt</a:t>
            </a:r>
            <a:endParaRPr lang="en-NL"/>
          </a:p>
        </p:txBody>
      </p:sp>
      <p:sp>
        <p:nvSpPr>
          <p:cNvPr id="7" name="Text Placeholder 3">
            <a:extLst>
              <a:ext uri="{FF2B5EF4-FFF2-40B4-BE49-F238E27FC236}">
                <a16:creationId xmlns:a16="http://schemas.microsoft.com/office/drawing/2014/main" id="{B26CACA4-13A0-5940-A8FA-3FC8769DA450}"/>
              </a:ext>
            </a:extLst>
          </p:cNvPr>
          <p:cNvSpPr>
            <a:spLocks noGrp="1"/>
          </p:cNvSpPr>
          <p:nvPr>
            <p:ph type="body" sz="quarter" idx="20" hasCustomPrompt="1"/>
          </p:nvPr>
        </p:nvSpPr>
        <p:spPr>
          <a:xfrm>
            <a:off x="17653543" y="5164141"/>
            <a:ext cx="5040560" cy="6904512"/>
          </a:xfrm>
        </p:spPr>
        <p:txBody>
          <a:bodyPr>
            <a:noAutofit/>
          </a:bodyPr>
          <a:lstStyle>
            <a:lvl1pPr>
              <a:spcBef>
                <a:spcPts val="2000"/>
              </a:spcBef>
              <a:defRPr sz="1600"/>
            </a:lvl1pPr>
          </a:lstStyle>
          <a:p>
            <a:pPr lvl="0"/>
            <a:r>
              <a:rPr lang="en-GB" noProof="0"/>
              <a:t>Put the body text here, keep it regular 16 </a:t>
            </a:r>
            <a:r>
              <a:rPr lang="en-GB" noProof="0" err="1"/>
              <a:t>pt</a:t>
            </a:r>
            <a:endParaRPr lang="en-GB" noProof="0"/>
          </a:p>
        </p:txBody>
      </p:sp>
      <p:sp>
        <p:nvSpPr>
          <p:cNvPr id="8" name="Text Placeholder 3">
            <a:extLst>
              <a:ext uri="{FF2B5EF4-FFF2-40B4-BE49-F238E27FC236}">
                <a16:creationId xmlns:a16="http://schemas.microsoft.com/office/drawing/2014/main" id="{0C7CE63B-C4F3-714B-8275-BBB3C3035E61}"/>
              </a:ext>
            </a:extLst>
          </p:cNvPr>
          <p:cNvSpPr>
            <a:spLocks noGrp="1"/>
          </p:cNvSpPr>
          <p:nvPr>
            <p:ph type="body" sz="quarter" idx="21" hasCustomPrompt="1"/>
          </p:nvPr>
        </p:nvSpPr>
        <p:spPr>
          <a:xfrm>
            <a:off x="6728869" y="5129213"/>
            <a:ext cx="5040560" cy="6904512"/>
          </a:xfrm>
        </p:spPr>
        <p:txBody>
          <a:bodyPr>
            <a:noAutofit/>
          </a:bodyPr>
          <a:lstStyle>
            <a:lvl1pPr>
              <a:spcBef>
                <a:spcPts val="2000"/>
              </a:spcBef>
              <a:defRPr sz="1600"/>
            </a:lvl1pPr>
          </a:lstStyle>
          <a:p>
            <a:pPr lvl="0"/>
            <a:r>
              <a:rPr lang="en-GB" noProof="0"/>
              <a:t>Put the body text here, keep it regular 16 </a:t>
            </a:r>
            <a:r>
              <a:rPr lang="en-GB" noProof="0" err="1"/>
              <a:t>pt</a:t>
            </a:r>
            <a:endParaRPr lang="en-GB" noProof="0"/>
          </a:p>
        </p:txBody>
      </p:sp>
      <p:sp>
        <p:nvSpPr>
          <p:cNvPr id="4" name="Footer Placeholder 3">
            <a:extLst>
              <a:ext uri="{FF2B5EF4-FFF2-40B4-BE49-F238E27FC236}">
                <a16:creationId xmlns:a16="http://schemas.microsoft.com/office/drawing/2014/main" id="{4194F0DB-380C-DF44-86E3-D79D56DFF85C}"/>
              </a:ext>
            </a:extLst>
          </p:cNvPr>
          <p:cNvSpPr>
            <a:spLocks noGrp="1"/>
          </p:cNvSpPr>
          <p:nvPr>
            <p:ph type="ftr" sz="quarter" idx="22"/>
          </p:nvPr>
        </p:nvSpPr>
        <p:spPr/>
        <p:txBody>
          <a:bodyPr/>
          <a:lstStyle/>
          <a:p>
            <a:endParaRPr lang="en-NL"/>
          </a:p>
        </p:txBody>
      </p:sp>
      <p:sp>
        <p:nvSpPr>
          <p:cNvPr id="11" name="TextBox 10">
            <a:extLst>
              <a:ext uri="{FF2B5EF4-FFF2-40B4-BE49-F238E27FC236}">
                <a16:creationId xmlns:a16="http://schemas.microsoft.com/office/drawing/2014/main" id="{8382B125-311F-9F4E-88E7-2B54BB6A3B94}"/>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5746257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ull picture">
    <p:bg>
      <p:bgPr>
        <a:solidFill>
          <a:schemeClr val="bg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73BADB48-5F7B-4C4D-BDD5-124AFC5BC91E}"/>
              </a:ext>
            </a:extLst>
          </p:cNvPr>
          <p:cNvSpPr txBox="1"/>
          <p:nvPr userDrawn="1"/>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smtClean="0">
                <a:latin typeface="Noto IKEA Latin" panose="020B0502040504020204" pitchFamily="34" charset="0"/>
              </a:rPr>
              <a:pPr algn="r"/>
              <a:t>‹#›</a:t>
            </a:fld>
            <a:endParaRPr lang="en-GB" sz="2000">
              <a:latin typeface="Noto IKEA Latin" panose="020B0502040504020204" pitchFamily="34" charset="0"/>
            </a:endParaRPr>
          </a:p>
        </p:txBody>
      </p:sp>
      <p:sp>
        <p:nvSpPr>
          <p:cNvPr id="7" name="Picture Placeholder 10">
            <a:extLst>
              <a:ext uri="{FF2B5EF4-FFF2-40B4-BE49-F238E27FC236}">
                <a16:creationId xmlns:a16="http://schemas.microsoft.com/office/drawing/2014/main" id="{83374E3F-FD44-FF48-B59B-E0793285F562}"/>
              </a:ext>
            </a:extLst>
          </p:cNvPr>
          <p:cNvSpPr>
            <a:spLocks noGrp="1"/>
          </p:cNvSpPr>
          <p:nvPr>
            <p:ph type="pic" sz="quarter" idx="14" hasCustomPrompt="1"/>
          </p:nvPr>
        </p:nvSpPr>
        <p:spPr>
          <a:xfrm>
            <a:off x="491206" y="486000"/>
            <a:ext cx="23400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picture into this frame</a:t>
            </a:r>
          </a:p>
        </p:txBody>
      </p:sp>
      <p:sp>
        <p:nvSpPr>
          <p:cNvPr id="4" name="TextBox 3">
            <a:extLst>
              <a:ext uri="{FF2B5EF4-FFF2-40B4-BE49-F238E27FC236}">
                <a16:creationId xmlns:a16="http://schemas.microsoft.com/office/drawing/2014/main" id="{A28FA5BF-CC16-F74C-B2AD-7675C1B452C4}"/>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281780704"/>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Long text in one column and picture">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6790606" y="486000"/>
            <a:ext cx="17100704"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1674329" y="5129213"/>
            <a:ext cx="4394307" cy="6904512"/>
          </a:xfrm>
        </p:spPr>
        <p:txBody>
          <a:bodyPr>
            <a:noAutofit/>
          </a:bodyPr>
          <a:lstStyle>
            <a:lvl1pPr>
              <a:spcBef>
                <a:spcPts val="2000"/>
              </a:spcBef>
              <a:defRPr sz="2400"/>
            </a:lvl1pPr>
          </a:lstStyle>
          <a:p>
            <a:pPr lvl="0"/>
            <a:r>
              <a:rPr lang="en-GB" noProof="0"/>
              <a:t>Put the paragraph text here, keep it regular 24 </a:t>
            </a:r>
            <a:r>
              <a:rPr lang="en-GB" noProof="0" err="1"/>
              <a:t>pt</a:t>
            </a:r>
            <a:endParaRPr lang="en-GB" noProof="0"/>
          </a:p>
        </p:txBody>
      </p:sp>
      <p:sp>
        <p:nvSpPr>
          <p:cNvPr id="2" name="Title 1">
            <a:extLst>
              <a:ext uri="{FF2B5EF4-FFF2-40B4-BE49-F238E27FC236}">
                <a16:creationId xmlns:a16="http://schemas.microsoft.com/office/drawing/2014/main" id="{44A2E15B-0973-F742-A266-E1107E35FE40}"/>
              </a:ext>
            </a:extLst>
          </p:cNvPr>
          <p:cNvSpPr>
            <a:spLocks noGrp="1"/>
          </p:cNvSpPr>
          <p:nvPr>
            <p:ph type="title" hasCustomPrompt="1"/>
          </p:nvPr>
        </p:nvSpPr>
        <p:spPr>
          <a:xfrm>
            <a:off x="1676293" y="1677600"/>
            <a:ext cx="4394307" cy="3011659"/>
          </a:xfrm>
        </p:spPr>
        <p:txBody>
          <a:bodyPr/>
          <a:lstStyle>
            <a:lvl1pPr>
              <a:defRPr sz="4000" spc="0" baseline="0"/>
            </a:lvl1pPr>
          </a:lstStyle>
          <a:p>
            <a:r>
              <a:rPr lang="en-GB"/>
              <a:t>Put the headline here, keep it bold 40 </a:t>
            </a:r>
            <a:r>
              <a:rPr lang="en-GB" err="1"/>
              <a:t>pt</a:t>
            </a:r>
            <a:endParaRPr lang="en-NL"/>
          </a:p>
        </p:txBody>
      </p:sp>
      <p:sp>
        <p:nvSpPr>
          <p:cNvPr id="7" name="Footer Placeholder 6">
            <a:extLst>
              <a:ext uri="{FF2B5EF4-FFF2-40B4-BE49-F238E27FC236}">
                <a16:creationId xmlns:a16="http://schemas.microsoft.com/office/drawing/2014/main" id="{BDFCBB05-AE3F-8B46-8B28-FBA47A7B8DF9}"/>
              </a:ext>
            </a:extLst>
          </p:cNvPr>
          <p:cNvSpPr>
            <a:spLocks noGrp="1"/>
          </p:cNvSpPr>
          <p:nvPr>
            <p:ph type="ftr" sz="quarter" idx="19"/>
          </p:nvPr>
        </p:nvSpPr>
        <p:spPr/>
        <p:txBody>
          <a:bodyPr/>
          <a:lstStyle/>
          <a:p>
            <a:endParaRPr lang="en-NL"/>
          </a:p>
        </p:txBody>
      </p:sp>
      <p:sp>
        <p:nvSpPr>
          <p:cNvPr id="10" name="TextBox 9">
            <a:extLst>
              <a:ext uri="{FF2B5EF4-FFF2-40B4-BE49-F238E27FC236}">
                <a16:creationId xmlns:a16="http://schemas.microsoft.com/office/drawing/2014/main" id="{1A281C68-F05E-474E-B89A-873F6871F7AE}"/>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998342861"/>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Process">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0D2B4B01-8F71-1C43-804A-AE91ACAAB690}"/>
              </a:ext>
            </a:extLst>
          </p:cNvPr>
          <p:cNvSpPr>
            <a:spLocks noGrp="1"/>
          </p:cNvSpPr>
          <p:nvPr>
            <p:ph type="body" sz="quarter" idx="12" hasCustomPrompt="1"/>
          </p:nvPr>
        </p:nvSpPr>
        <p:spPr>
          <a:xfrm>
            <a:off x="3046413" y="7723206"/>
            <a:ext cx="3024187" cy="1727166"/>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3" name="Title 2">
            <a:extLst>
              <a:ext uri="{FF2B5EF4-FFF2-40B4-BE49-F238E27FC236}">
                <a16:creationId xmlns:a16="http://schemas.microsoft.com/office/drawing/2014/main" id="{6E79ED74-1833-CD4B-828E-58428E0E2A1D}"/>
              </a:ext>
            </a:extLst>
          </p:cNvPr>
          <p:cNvSpPr>
            <a:spLocks noGrp="1"/>
          </p:cNvSpPr>
          <p:nvPr>
            <p:ph type="title" hasCustomPrompt="1"/>
          </p:nvPr>
        </p:nvSpPr>
        <p:spPr>
          <a:xfrm>
            <a:off x="1676293" y="1677601"/>
            <a:ext cx="21033007" cy="1722906"/>
          </a:xfrm>
        </p:spPr>
        <p:txBody>
          <a:bodyPr/>
          <a:lstStyle/>
          <a:p>
            <a:r>
              <a:rPr lang="en-GB"/>
              <a:t>Process</a:t>
            </a:r>
            <a:endParaRPr lang="en-NL"/>
          </a:p>
        </p:txBody>
      </p:sp>
      <p:cxnSp>
        <p:nvCxnSpPr>
          <p:cNvPr id="5" name="Straight Arrow Connector 4">
            <a:extLst>
              <a:ext uri="{FF2B5EF4-FFF2-40B4-BE49-F238E27FC236}">
                <a16:creationId xmlns:a16="http://schemas.microsoft.com/office/drawing/2014/main" id="{0798A829-D289-394A-914F-EDD8D97B2357}"/>
              </a:ext>
            </a:extLst>
          </p:cNvPr>
          <p:cNvCxnSpPr>
            <a:cxnSpLocks/>
          </p:cNvCxnSpPr>
          <p:nvPr userDrawn="1"/>
        </p:nvCxnSpPr>
        <p:spPr>
          <a:xfrm>
            <a:off x="1674702" y="6858000"/>
            <a:ext cx="21033009" cy="0"/>
          </a:xfrm>
          <a:prstGeom prst="straightConnector1">
            <a:avLst/>
          </a:prstGeom>
          <a:ln w="190500">
            <a:solidFill>
              <a:schemeClr val="bg2"/>
            </a:solidFill>
            <a:tailEnd type="none" w="med" len="sm"/>
          </a:ln>
        </p:spPr>
        <p:style>
          <a:lnRef idx="1">
            <a:schemeClr val="accent1"/>
          </a:lnRef>
          <a:fillRef idx="0">
            <a:schemeClr val="accent1"/>
          </a:fillRef>
          <a:effectRef idx="0">
            <a:schemeClr val="accent1"/>
          </a:effectRef>
          <a:fontRef idx="minor">
            <a:schemeClr val="tx1"/>
          </a:fontRef>
        </p:style>
      </p:cxnSp>
      <p:sp>
        <p:nvSpPr>
          <p:cNvPr id="37" name="L-shape 36">
            <a:extLst>
              <a:ext uri="{FF2B5EF4-FFF2-40B4-BE49-F238E27FC236}">
                <a16:creationId xmlns:a16="http://schemas.microsoft.com/office/drawing/2014/main" id="{A3A516EF-4158-0845-AB22-B4F71119802B}"/>
              </a:ext>
            </a:extLst>
          </p:cNvPr>
          <p:cNvSpPr/>
          <p:nvPr userDrawn="1"/>
        </p:nvSpPr>
        <p:spPr>
          <a:xfrm rot="13500000">
            <a:off x="21934797" y="6498000"/>
            <a:ext cx="720000" cy="720000"/>
          </a:xfrm>
          <a:prstGeom prst="corner">
            <a:avLst>
              <a:gd name="adj1" fmla="val 26540"/>
              <a:gd name="adj2" fmla="val 2661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NL"/>
          </a:p>
        </p:txBody>
      </p:sp>
      <p:sp>
        <p:nvSpPr>
          <p:cNvPr id="38" name="Text Placeholder 5">
            <a:extLst>
              <a:ext uri="{FF2B5EF4-FFF2-40B4-BE49-F238E27FC236}">
                <a16:creationId xmlns:a16="http://schemas.microsoft.com/office/drawing/2014/main" id="{DDC37633-16B3-3744-A593-529313A8F214}"/>
              </a:ext>
            </a:extLst>
          </p:cNvPr>
          <p:cNvSpPr>
            <a:spLocks noGrp="1"/>
          </p:cNvSpPr>
          <p:nvPr>
            <p:ph type="body" sz="quarter" idx="21" hasCustomPrompt="1"/>
          </p:nvPr>
        </p:nvSpPr>
        <p:spPr>
          <a:xfrm>
            <a:off x="6142038" y="4265712"/>
            <a:ext cx="3024187" cy="1727166"/>
          </a:xfrm>
        </p:spPr>
        <p:txBody>
          <a:bodyPr anchor="b">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39" name="Text Placeholder 5">
            <a:extLst>
              <a:ext uri="{FF2B5EF4-FFF2-40B4-BE49-F238E27FC236}">
                <a16:creationId xmlns:a16="http://schemas.microsoft.com/office/drawing/2014/main" id="{4B3F39C9-E76C-2D44-9D1B-E9B07074F77E}"/>
              </a:ext>
            </a:extLst>
          </p:cNvPr>
          <p:cNvSpPr>
            <a:spLocks noGrp="1"/>
          </p:cNvSpPr>
          <p:nvPr>
            <p:ph type="body" sz="quarter" idx="22" hasCustomPrompt="1"/>
          </p:nvPr>
        </p:nvSpPr>
        <p:spPr>
          <a:xfrm>
            <a:off x="9167019" y="7723205"/>
            <a:ext cx="3024187" cy="1727166"/>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0" name="Text Placeholder 5">
            <a:extLst>
              <a:ext uri="{FF2B5EF4-FFF2-40B4-BE49-F238E27FC236}">
                <a16:creationId xmlns:a16="http://schemas.microsoft.com/office/drawing/2014/main" id="{8814CF3B-C6B0-0648-A9C1-CE26FF4CB2D8}"/>
              </a:ext>
            </a:extLst>
          </p:cNvPr>
          <p:cNvSpPr>
            <a:spLocks noGrp="1"/>
          </p:cNvSpPr>
          <p:nvPr>
            <p:ph type="body" sz="quarter" idx="23" hasCustomPrompt="1"/>
          </p:nvPr>
        </p:nvSpPr>
        <p:spPr>
          <a:xfrm>
            <a:off x="12190413" y="4265712"/>
            <a:ext cx="3024187" cy="1727166"/>
          </a:xfrm>
        </p:spPr>
        <p:txBody>
          <a:bodyPr anchor="b">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1" name="Text Placeholder 5">
            <a:extLst>
              <a:ext uri="{FF2B5EF4-FFF2-40B4-BE49-F238E27FC236}">
                <a16:creationId xmlns:a16="http://schemas.microsoft.com/office/drawing/2014/main" id="{3356431A-93FA-3546-85F8-B31F1C9169B6}"/>
              </a:ext>
            </a:extLst>
          </p:cNvPr>
          <p:cNvSpPr>
            <a:spLocks noGrp="1"/>
          </p:cNvSpPr>
          <p:nvPr>
            <p:ph type="body" sz="quarter" idx="24" hasCustomPrompt="1"/>
          </p:nvPr>
        </p:nvSpPr>
        <p:spPr>
          <a:xfrm>
            <a:off x="15287626" y="7723205"/>
            <a:ext cx="3024187" cy="1727166"/>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2" name="Text Placeholder 5">
            <a:extLst>
              <a:ext uri="{FF2B5EF4-FFF2-40B4-BE49-F238E27FC236}">
                <a16:creationId xmlns:a16="http://schemas.microsoft.com/office/drawing/2014/main" id="{5CD9E15C-1210-D245-AE40-F67BE5C74056}"/>
              </a:ext>
            </a:extLst>
          </p:cNvPr>
          <p:cNvSpPr>
            <a:spLocks noGrp="1"/>
          </p:cNvSpPr>
          <p:nvPr>
            <p:ph type="body" sz="quarter" idx="25" hasCustomPrompt="1"/>
          </p:nvPr>
        </p:nvSpPr>
        <p:spPr>
          <a:xfrm>
            <a:off x="18311813" y="4265712"/>
            <a:ext cx="3024187" cy="1727166"/>
          </a:xfrm>
        </p:spPr>
        <p:txBody>
          <a:bodyPr anchor="b">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4" name="Footer Placeholder 43">
            <a:extLst>
              <a:ext uri="{FF2B5EF4-FFF2-40B4-BE49-F238E27FC236}">
                <a16:creationId xmlns:a16="http://schemas.microsoft.com/office/drawing/2014/main" id="{3DC74232-9167-9144-A25D-B5C31FFA7A3A}"/>
              </a:ext>
            </a:extLst>
          </p:cNvPr>
          <p:cNvSpPr>
            <a:spLocks noGrp="1"/>
          </p:cNvSpPr>
          <p:nvPr>
            <p:ph type="ftr" sz="quarter" idx="26"/>
          </p:nvPr>
        </p:nvSpPr>
        <p:spPr/>
        <p:txBody>
          <a:bodyPr/>
          <a:lstStyle/>
          <a:p>
            <a:endParaRPr lang="en-NL"/>
          </a:p>
        </p:txBody>
      </p:sp>
      <p:sp>
        <p:nvSpPr>
          <p:cNvPr id="45" name="TextBox 44">
            <a:extLst>
              <a:ext uri="{FF2B5EF4-FFF2-40B4-BE49-F238E27FC236}">
                <a16:creationId xmlns:a16="http://schemas.microsoft.com/office/drawing/2014/main" id="{69E14940-6394-8440-928E-5262E6E6434C}"/>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025769140"/>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Levels">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0D2B4B01-8F71-1C43-804A-AE91ACAAB690}"/>
              </a:ext>
            </a:extLst>
          </p:cNvPr>
          <p:cNvSpPr>
            <a:spLocks noGrp="1"/>
          </p:cNvSpPr>
          <p:nvPr>
            <p:ph type="body" sz="quarter" idx="12" hasCustomPrompt="1"/>
          </p:nvPr>
        </p:nvSpPr>
        <p:spPr>
          <a:xfrm>
            <a:off x="13071796" y="5455780"/>
            <a:ext cx="6190847" cy="1397590"/>
          </a:xfrm>
        </p:spPr>
        <p:txBody>
          <a:bodyPr>
            <a:noAutofit/>
          </a:bodyPr>
          <a:lstStyle>
            <a:lvl1pPr>
              <a:spcBef>
                <a:spcPts val="0"/>
              </a:spcBef>
              <a:defRPr sz="2400"/>
            </a:lvl1pPr>
          </a:lstStyle>
          <a:p>
            <a:pPr lvl="0"/>
            <a:r>
              <a:rPr lang="en-GB" noProof="0"/>
              <a:t>Put the body text here, keep it regular 24 </a:t>
            </a:r>
            <a:r>
              <a:rPr lang="en-GB" noProof="0" err="1"/>
              <a:t>pt</a:t>
            </a:r>
            <a:endParaRPr lang="en-GB" noProof="0"/>
          </a:p>
        </p:txBody>
      </p:sp>
      <p:sp>
        <p:nvSpPr>
          <p:cNvPr id="10" name="Text Placeholder 5">
            <a:extLst>
              <a:ext uri="{FF2B5EF4-FFF2-40B4-BE49-F238E27FC236}">
                <a16:creationId xmlns:a16="http://schemas.microsoft.com/office/drawing/2014/main" id="{CCF4949C-0573-654E-8E4A-1524918D8E6F}"/>
              </a:ext>
            </a:extLst>
          </p:cNvPr>
          <p:cNvSpPr>
            <a:spLocks noGrp="1"/>
          </p:cNvSpPr>
          <p:nvPr>
            <p:ph type="body" sz="quarter" idx="15" hasCustomPrompt="1"/>
          </p:nvPr>
        </p:nvSpPr>
        <p:spPr>
          <a:xfrm>
            <a:off x="13071796" y="7832867"/>
            <a:ext cx="6190847" cy="1397590"/>
          </a:xfrm>
        </p:spPr>
        <p:txBody>
          <a:bodyPr>
            <a:noAutofit/>
          </a:bodyPr>
          <a:lstStyle>
            <a:lvl1pPr>
              <a:spcBef>
                <a:spcPts val="0"/>
              </a:spcBef>
              <a:defRPr sz="2400"/>
            </a:lvl1pPr>
          </a:lstStyle>
          <a:p>
            <a:pPr lvl="0"/>
            <a:r>
              <a:rPr lang="en-GB" noProof="0"/>
              <a:t>Put the body text here, keep it regular 24 </a:t>
            </a:r>
            <a:r>
              <a:rPr lang="en-GB" noProof="0" err="1"/>
              <a:t>pt</a:t>
            </a:r>
            <a:endParaRPr lang="en-GB" noProof="0"/>
          </a:p>
        </p:txBody>
      </p:sp>
      <p:sp>
        <p:nvSpPr>
          <p:cNvPr id="12" name="Text Placeholder 5">
            <a:extLst>
              <a:ext uri="{FF2B5EF4-FFF2-40B4-BE49-F238E27FC236}">
                <a16:creationId xmlns:a16="http://schemas.microsoft.com/office/drawing/2014/main" id="{334FE28E-7BB9-5247-A7EF-E68623CEC0DF}"/>
              </a:ext>
            </a:extLst>
          </p:cNvPr>
          <p:cNvSpPr>
            <a:spLocks noGrp="1"/>
          </p:cNvSpPr>
          <p:nvPr>
            <p:ph type="body" sz="quarter" idx="17" hasCustomPrompt="1"/>
          </p:nvPr>
        </p:nvSpPr>
        <p:spPr>
          <a:xfrm>
            <a:off x="13071796" y="10330248"/>
            <a:ext cx="6190847" cy="1397590"/>
          </a:xfrm>
        </p:spPr>
        <p:txBody>
          <a:bodyPr>
            <a:noAutofit/>
          </a:bodyPr>
          <a:lstStyle>
            <a:lvl1pPr>
              <a:spcBef>
                <a:spcPts val="0"/>
              </a:spcBef>
              <a:defRPr sz="2400"/>
            </a:lvl1pPr>
          </a:lstStyle>
          <a:p>
            <a:pPr lvl="0"/>
            <a:r>
              <a:rPr lang="en-GB" noProof="0"/>
              <a:t>Put the body text here, keep it regular 24 </a:t>
            </a:r>
            <a:r>
              <a:rPr lang="en-GB" noProof="0" err="1"/>
              <a:t>pt</a:t>
            </a:r>
            <a:endParaRPr lang="en-GB" noProof="0"/>
          </a:p>
        </p:txBody>
      </p:sp>
      <p:sp>
        <p:nvSpPr>
          <p:cNvPr id="9" name="Text Placeholder 5">
            <a:extLst>
              <a:ext uri="{FF2B5EF4-FFF2-40B4-BE49-F238E27FC236}">
                <a16:creationId xmlns:a16="http://schemas.microsoft.com/office/drawing/2014/main" id="{08916781-0481-B64C-A15B-60E03E7E77EA}"/>
              </a:ext>
            </a:extLst>
          </p:cNvPr>
          <p:cNvSpPr>
            <a:spLocks noGrp="1"/>
          </p:cNvSpPr>
          <p:nvPr>
            <p:ph type="body" sz="quarter" idx="14" hasCustomPrompt="1"/>
          </p:nvPr>
        </p:nvSpPr>
        <p:spPr>
          <a:xfrm>
            <a:off x="4674905" y="5455780"/>
            <a:ext cx="6633094" cy="1397590"/>
          </a:xfrm>
          <a:solidFill>
            <a:schemeClr val="bg1">
              <a:lumMod val="95000"/>
            </a:schemeClr>
          </a:solidFill>
        </p:spPr>
        <p:txBody>
          <a:bodyPr lIns="360000" anchor="ctr">
            <a:noAutofit/>
          </a:bodyPr>
          <a:lstStyle>
            <a:lvl1pPr>
              <a:defRPr sz="4000" b="1"/>
            </a:lvl1pPr>
          </a:lstStyle>
          <a:p>
            <a:pPr lvl="0"/>
            <a:r>
              <a:rPr lang="en-US"/>
              <a:t>Put the header here</a:t>
            </a:r>
          </a:p>
        </p:txBody>
      </p:sp>
      <p:sp>
        <p:nvSpPr>
          <p:cNvPr id="15" name="Text Placeholder 5">
            <a:extLst>
              <a:ext uri="{FF2B5EF4-FFF2-40B4-BE49-F238E27FC236}">
                <a16:creationId xmlns:a16="http://schemas.microsoft.com/office/drawing/2014/main" id="{B0FD171A-0961-AF47-AF11-4B67E2B02EBC}"/>
              </a:ext>
            </a:extLst>
          </p:cNvPr>
          <p:cNvSpPr>
            <a:spLocks noGrp="1"/>
          </p:cNvSpPr>
          <p:nvPr>
            <p:ph type="body" sz="quarter" idx="18" hasCustomPrompt="1"/>
          </p:nvPr>
        </p:nvSpPr>
        <p:spPr>
          <a:xfrm>
            <a:off x="4674905" y="7832867"/>
            <a:ext cx="6633094" cy="1397590"/>
          </a:xfrm>
          <a:solidFill>
            <a:schemeClr val="bg1">
              <a:lumMod val="95000"/>
            </a:schemeClr>
          </a:solidFill>
        </p:spPr>
        <p:txBody>
          <a:bodyPr lIns="360000" anchor="ctr">
            <a:noAutofit/>
          </a:bodyPr>
          <a:lstStyle>
            <a:lvl1pPr>
              <a:defRPr sz="4000" b="1"/>
            </a:lvl1pPr>
          </a:lstStyle>
          <a:p>
            <a:pPr lvl="0"/>
            <a:r>
              <a:rPr lang="en-US"/>
              <a:t>Put the header here</a:t>
            </a:r>
          </a:p>
        </p:txBody>
      </p:sp>
      <p:sp>
        <p:nvSpPr>
          <p:cNvPr id="16" name="Text Placeholder 5">
            <a:extLst>
              <a:ext uri="{FF2B5EF4-FFF2-40B4-BE49-F238E27FC236}">
                <a16:creationId xmlns:a16="http://schemas.microsoft.com/office/drawing/2014/main" id="{08483BCA-AF2F-134B-A357-367A5706C697}"/>
              </a:ext>
            </a:extLst>
          </p:cNvPr>
          <p:cNvSpPr>
            <a:spLocks noGrp="1"/>
          </p:cNvSpPr>
          <p:nvPr>
            <p:ph type="body" sz="quarter" idx="19" hasCustomPrompt="1"/>
          </p:nvPr>
        </p:nvSpPr>
        <p:spPr>
          <a:xfrm>
            <a:off x="4674905" y="10330248"/>
            <a:ext cx="6633094" cy="1397590"/>
          </a:xfrm>
          <a:solidFill>
            <a:schemeClr val="bg1">
              <a:lumMod val="95000"/>
            </a:schemeClr>
          </a:solidFill>
        </p:spPr>
        <p:txBody>
          <a:bodyPr lIns="360000" anchor="ctr">
            <a:noAutofit/>
          </a:bodyPr>
          <a:lstStyle>
            <a:lvl1pPr>
              <a:defRPr sz="4000" b="1"/>
            </a:lvl1pPr>
          </a:lstStyle>
          <a:p>
            <a:pPr lvl="0"/>
            <a:r>
              <a:rPr lang="en-US"/>
              <a:t>Put the header here</a:t>
            </a:r>
          </a:p>
        </p:txBody>
      </p:sp>
      <p:sp>
        <p:nvSpPr>
          <p:cNvPr id="3" name="Title 2">
            <a:extLst>
              <a:ext uri="{FF2B5EF4-FFF2-40B4-BE49-F238E27FC236}">
                <a16:creationId xmlns:a16="http://schemas.microsoft.com/office/drawing/2014/main" id="{6E79ED74-1833-CD4B-828E-58428E0E2A1D}"/>
              </a:ext>
            </a:extLst>
          </p:cNvPr>
          <p:cNvSpPr>
            <a:spLocks noGrp="1"/>
          </p:cNvSpPr>
          <p:nvPr>
            <p:ph type="title" hasCustomPrompt="1"/>
          </p:nvPr>
        </p:nvSpPr>
        <p:spPr/>
        <p:txBody>
          <a:bodyPr/>
          <a:lstStyle/>
          <a:p>
            <a:r>
              <a:rPr lang="en-GB"/>
              <a:t>Levels</a:t>
            </a:r>
            <a:endParaRPr lang="en-NL"/>
          </a:p>
        </p:txBody>
      </p:sp>
      <p:sp>
        <p:nvSpPr>
          <p:cNvPr id="5" name="Footer Placeholder 4">
            <a:extLst>
              <a:ext uri="{FF2B5EF4-FFF2-40B4-BE49-F238E27FC236}">
                <a16:creationId xmlns:a16="http://schemas.microsoft.com/office/drawing/2014/main" id="{D51935D7-8569-4141-96D6-E8BDF582C7E3}"/>
              </a:ext>
            </a:extLst>
          </p:cNvPr>
          <p:cNvSpPr>
            <a:spLocks noGrp="1"/>
          </p:cNvSpPr>
          <p:nvPr>
            <p:ph type="ftr" sz="quarter" idx="20"/>
          </p:nvPr>
        </p:nvSpPr>
        <p:spPr/>
        <p:txBody>
          <a:bodyPr/>
          <a:lstStyle/>
          <a:p>
            <a:endParaRPr lang="en-NL"/>
          </a:p>
        </p:txBody>
      </p:sp>
      <p:sp>
        <p:nvSpPr>
          <p:cNvPr id="14" name="TextBox 13">
            <a:extLst>
              <a:ext uri="{FF2B5EF4-FFF2-40B4-BE49-F238E27FC236}">
                <a16:creationId xmlns:a16="http://schemas.microsoft.com/office/drawing/2014/main" id="{95B220E9-C9CD-2D41-A852-CDC99EB96289}"/>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87779611"/>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Focus areas 1">
    <p:spTree>
      <p:nvGrpSpPr>
        <p:cNvPr id="1" name=""/>
        <p:cNvGrpSpPr/>
        <p:nvPr/>
      </p:nvGrpSpPr>
      <p:grpSpPr>
        <a:xfrm>
          <a:off x="0" y="0"/>
          <a:ext cx="0" cy="0"/>
          <a:chOff x="0" y="0"/>
          <a:chExt cx="0" cy="0"/>
        </a:xfrm>
      </p:grpSpPr>
      <p:sp>
        <p:nvSpPr>
          <p:cNvPr id="9" name="Text Placeholder 5">
            <a:extLst>
              <a:ext uri="{FF2B5EF4-FFF2-40B4-BE49-F238E27FC236}">
                <a16:creationId xmlns:a16="http://schemas.microsoft.com/office/drawing/2014/main" id="{08916781-0481-B64C-A15B-60E03E7E77EA}"/>
              </a:ext>
            </a:extLst>
          </p:cNvPr>
          <p:cNvSpPr>
            <a:spLocks noGrp="1"/>
          </p:cNvSpPr>
          <p:nvPr>
            <p:ph type="body" sz="quarter" idx="14" hasCustomPrompt="1"/>
          </p:nvPr>
        </p:nvSpPr>
        <p:spPr>
          <a:xfrm>
            <a:off x="9166225" y="5742878"/>
            <a:ext cx="6049963" cy="863104"/>
          </a:xfrm>
          <a:solidFill>
            <a:schemeClr val="bg1">
              <a:lumMod val="95000"/>
            </a:schemeClr>
          </a:solidFill>
        </p:spPr>
        <p:txBody>
          <a:bodyPr lIns="180000" anchor="ctr">
            <a:noAutofit/>
          </a:bodyPr>
          <a:lstStyle>
            <a:lvl1pPr>
              <a:lnSpc>
                <a:spcPct val="100000"/>
              </a:lnSpc>
              <a:defRPr b="1"/>
            </a:lvl1pPr>
          </a:lstStyle>
          <a:p>
            <a:pPr lvl="0"/>
            <a:r>
              <a:rPr lang="en-US"/>
              <a:t>Put the header here</a:t>
            </a:r>
          </a:p>
        </p:txBody>
      </p:sp>
      <p:sp>
        <p:nvSpPr>
          <p:cNvPr id="10" name="Text Placeholder 5">
            <a:extLst>
              <a:ext uri="{FF2B5EF4-FFF2-40B4-BE49-F238E27FC236}">
                <a16:creationId xmlns:a16="http://schemas.microsoft.com/office/drawing/2014/main" id="{CCF4949C-0573-654E-8E4A-1524918D8E6F}"/>
              </a:ext>
            </a:extLst>
          </p:cNvPr>
          <p:cNvSpPr>
            <a:spLocks noGrp="1"/>
          </p:cNvSpPr>
          <p:nvPr>
            <p:ph type="body" sz="quarter" idx="15" hasCustomPrompt="1"/>
          </p:nvPr>
        </p:nvSpPr>
        <p:spPr>
          <a:xfrm>
            <a:off x="9190264" y="6858002"/>
            <a:ext cx="6049964" cy="3455986"/>
          </a:xfrm>
        </p:spPr>
        <p:txBody>
          <a:bodyPr lIns="180000">
            <a:noAutofit/>
          </a:bodyPr>
          <a:lstStyle>
            <a:lvl1pPr>
              <a:lnSpc>
                <a:spcPct val="100000"/>
              </a:lnSpc>
              <a:spcBef>
                <a:spcPts val="0"/>
              </a:spcBef>
              <a:defRPr sz="3200"/>
            </a:lvl1pPr>
          </a:lstStyle>
          <a:p>
            <a:pPr lvl="0"/>
            <a:r>
              <a:rPr lang="en-GB" noProof="0"/>
              <a:t>Put the paragraph text here, keep it regular 32 </a:t>
            </a:r>
            <a:r>
              <a:rPr lang="en-GB" noProof="0" err="1"/>
              <a:t>pt</a:t>
            </a:r>
            <a:endParaRPr lang="en-GB" noProof="0"/>
          </a:p>
        </p:txBody>
      </p:sp>
      <p:sp>
        <p:nvSpPr>
          <p:cNvPr id="17" name="Text Placeholder 5">
            <a:extLst>
              <a:ext uri="{FF2B5EF4-FFF2-40B4-BE49-F238E27FC236}">
                <a16:creationId xmlns:a16="http://schemas.microsoft.com/office/drawing/2014/main" id="{3722BC19-3242-894A-A464-ACE95D8645BB}"/>
              </a:ext>
            </a:extLst>
          </p:cNvPr>
          <p:cNvSpPr>
            <a:spLocks noGrp="1"/>
          </p:cNvSpPr>
          <p:nvPr>
            <p:ph type="body" sz="quarter" idx="19" hasCustomPrompt="1"/>
          </p:nvPr>
        </p:nvSpPr>
        <p:spPr>
          <a:xfrm>
            <a:off x="1655888" y="5742878"/>
            <a:ext cx="6049963" cy="863104"/>
          </a:xfrm>
          <a:solidFill>
            <a:schemeClr val="bg1">
              <a:lumMod val="95000"/>
            </a:schemeClr>
          </a:solidFill>
        </p:spPr>
        <p:txBody>
          <a:bodyPr lIns="180000" anchor="ctr">
            <a:noAutofit/>
          </a:bodyPr>
          <a:lstStyle>
            <a:lvl1pPr>
              <a:lnSpc>
                <a:spcPct val="100000"/>
              </a:lnSpc>
              <a:defRPr b="1"/>
            </a:lvl1pPr>
          </a:lstStyle>
          <a:p>
            <a:pPr lvl="0"/>
            <a:r>
              <a:rPr lang="en-US"/>
              <a:t>Put the header here</a:t>
            </a:r>
          </a:p>
        </p:txBody>
      </p:sp>
      <p:sp>
        <p:nvSpPr>
          <p:cNvPr id="18" name="Text Placeholder 5">
            <a:extLst>
              <a:ext uri="{FF2B5EF4-FFF2-40B4-BE49-F238E27FC236}">
                <a16:creationId xmlns:a16="http://schemas.microsoft.com/office/drawing/2014/main" id="{07C8CE66-24CD-E646-98E5-48BB7686BEDA}"/>
              </a:ext>
            </a:extLst>
          </p:cNvPr>
          <p:cNvSpPr>
            <a:spLocks noGrp="1"/>
          </p:cNvSpPr>
          <p:nvPr>
            <p:ph type="body" sz="quarter" idx="20" hasCustomPrompt="1"/>
          </p:nvPr>
        </p:nvSpPr>
        <p:spPr>
          <a:xfrm>
            <a:off x="1679927" y="6858002"/>
            <a:ext cx="6049964" cy="3455986"/>
          </a:xfrm>
        </p:spPr>
        <p:txBody>
          <a:bodyPr lIns="180000">
            <a:noAutofit/>
          </a:bodyPr>
          <a:lstStyle>
            <a:lvl1pPr>
              <a:lnSpc>
                <a:spcPct val="100000"/>
              </a:lnSpc>
              <a:spcBef>
                <a:spcPts val="0"/>
              </a:spcBef>
              <a:defRPr sz="3200"/>
            </a:lvl1pPr>
          </a:lstStyle>
          <a:p>
            <a:pPr lvl="0"/>
            <a:r>
              <a:rPr lang="en-GB" noProof="0"/>
              <a:t>Put the paragraph text here, keep it regular 32 </a:t>
            </a:r>
            <a:r>
              <a:rPr lang="en-GB" noProof="0" err="1"/>
              <a:t>pt</a:t>
            </a:r>
            <a:endParaRPr lang="en-GB" noProof="0"/>
          </a:p>
        </p:txBody>
      </p:sp>
      <p:sp>
        <p:nvSpPr>
          <p:cNvPr id="19" name="Text Placeholder 5">
            <a:extLst>
              <a:ext uri="{FF2B5EF4-FFF2-40B4-BE49-F238E27FC236}">
                <a16:creationId xmlns:a16="http://schemas.microsoft.com/office/drawing/2014/main" id="{7F8EE651-9C67-9A40-AA5C-4FDC892EECCF}"/>
              </a:ext>
            </a:extLst>
          </p:cNvPr>
          <p:cNvSpPr>
            <a:spLocks noGrp="1"/>
          </p:cNvSpPr>
          <p:nvPr>
            <p:ph type="body" sz="quarter" idx="21" hasCustomPrompt="1"/>
          </p:nvPr>
        </p:nvSpPr>
        <p:spPr>
          <a:xfrm>
            <a:off x="16627352" y="5742878"/>
            <a:ext cx="6049963" cy="863104"/>
          </a:xfrm>
          <a:solidFill>
            <a:schemeClr val="bg1">
              <a:lumMod val="95000"/>
            </a:schemeClr>
          </a:solidFill>
        </p:spPr>
        <p:txBody>
          <a:bodyPr lIns="180000" anchor="ctr">
            <a:noAutofit/>
          </a:bodyPr>
          <a:lstStyle>
            <a:lvl1pPr>
              <a:lnSpc>
                <a:spcPct val="100000"/>
              </a:lnSpc>
              <a:defRPr b="1"/>
            </a:lvl1pPr>
          </a:lstStyle>
          <a:p>
            <a:pPr lvl="0"/>
            <a:r>
              <a:rPr lang="en-US"/>
              <a:t>Put the header here</a:t>
            </a:r>
          </a:p>
        </p:txBody>
      </p:sp>
      <p:sp>
        <p:nvSpPr>
          <p:cNvPr id="20" name="Text Placeholder 5">
            <a:extLst>
              <a:ext uri="{FF2B5EF4-FFF2-40B4-BE49-F238E27FC236}">
                <a16:creationId xmlns:a16="http://schemas.microsoft.com/office/drawing/2014/main" id="{308DDE5D-AD61-324F-8D1B-396A22DC466A}"/>
              </a:ext>
            </a:extLst>
          </p:cNvPr>
          <p:cNvSpPr>
            <a:spLocks noGrp="1"/>
          </p:cNvSpPr>
          <p:nvPr>
            <p:ph type="body" sz="quarter" idx="22" hasCustomPrompt="1"/>
          </p:nvPr>
        </p:nvSpPr>
        <p:spPr>
          <a:xfrm>
            <a:off x="16651391" y="6858002"/>
            <a:ext cx="6049964" cy="3455986"/>
          </a:xfrm>
        </p:spPr>
        <p:txBody>
          <a:bodyPr lIns="180000">
            <a:noAutofit/>
          </a:bodyPr>
          <a:lstStyle>
            <a:lvl1pPr>
              <a:lnSpc>
                <a:spcPct val="100000"/>
              </a:lnSpc>
              <a:spcBef>
                <a:spcPts val="0"/>
              </a:spcBef>
              <a:defRPr sz="3200"/>
            </a:lvl1pPr>
          </a:lstStyle>
          <a:p>
            <a:pPr lvl="0"/>
            <a:r>
              <a:rPr lang="en-GB" noProof="0"/>
              <a:t>Put the paragraph text here, keep it regular 32 </a:t>
            </a:r>
            <a:r>
              <a:rPr lang="en-GB" noProof="0" err="1"/>
              <a:t>pt</a:t>
            </a:r>
            <a:endParaRPr lang="en-GB" noProof="0"/>
          </a:p>
        </p:txBody>
      </p:sp>
      <p:sp>
        <p:nvSpPr>
          <p:cNvPr id="5" name="Title 4">
            <a:extLst>
              <a:ext uri="{FF2B5EF4-FFF2-40B4-BE49-F238E27FC236}">
                <a16:creationId xmlns:a16="http://schemas.microsoft.com/office/drawing/2014/main" id="{A8507978-2D74-7F40-9482-B33692774EA2}"/>
              </a:ext>
            </a:extLst>
          </p:cNvPr>
          <p:cNvSpPr>
            <a:spLocks noGrp="1"/>
          </p:cNvSpPr>
          <p:nvPr>
            <p:ph type="title" hasCustomPrompt="1"/>
          </p:nvPr>
        </p:nvSpPr>
        <p:spPr/>
        <p:txBody>
          <a:bodyPr/>
          <a:lstStyle/>
          <a:p>
            <a:r>
              <a:rPr lang="en-GB"/>
              <a:t>Focus areas</a:t>
            </a:r>
            <a:endParaRPr lang="en-NL"/>
          </a:p>
        </p:txBody>
      </p:sp>
      <p:sp>
        <p:nvSpPr>
          <p:cNvPr id="3" name="Footer Placeholder 2">
            <a:extLst>
              <a:ext uri="{FF2B5EF4-FFF2-40B4-BE49-F238E27FC236}">
                <a16:creationId xmlns:a16="http://schemas.microsoft.com/office/drawing/2014/main" id="{94C26B9E-3413-AB4A-98DC-12221AAB0365}"/>
              </a:ext>
            </a:extLst>
          </p:cNvPr>
          <p:cNvSpPr>
            <a:spLocks noGrp="1"/>
          </p:cNvSpPr>
          <p:nvPr>
            <p:ph type="ftr" sz="quarter" idx="23"/>
          </p:nvPr>
        </p:nvSpPr>
        <p:spPr/>
        <p:txBody>
          <a:bodyPr/>
          <a:lstStyle/>
          <a:p>
            <a:endParaRPr lang="en-NL"/>
          </a:p>
        </p:txBody>
      </p:sp>
      <p:sp>
        <p:nvSpPr>
          <p:cNvPr id="13" name="TextBox 12">
            <a:extLst>
              <a:ext uri="{FF2B5EF4-FFF2-40B4-BE49-F238E27FC236}">
                <a16:creationId xmlns:a16="http://schemas.microsoft.com/office/drawing/2014/main" id="{C1C95D9D-541E-F440-9F65-0AB08894819B}"/>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891390310"/>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Focus areas 2">
    <p:spTree>
      <p:nvGrpSpPr>
        <p:cNvPr id="1" name=""/>
        <p:cNvGrpSpPr/>
        <p:nvPr/>
      </p:nvGrpSpPr>
      <p:grpSpPr>
        <a:xfrm>
          <a:off x="0" y="0"/>
          <a:ext cx="0" cy="0"/>
          <a:chOff x="0" y="0"/>
          <a:chExt cx="0" cy="0"/>
        </a:xfrm>
      </p:grpSpPr>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9166224" y="4124207"/>
            <a:ext cx="6049963" cy="4462581"/>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6" name="Text Placeholder 5">
            <a:extLst>
              <a:ext uri="{FF2B5EF4-FFF2-40B4-BE49-F238E27FC236}">
                <a16:creationId xmlns:a16="http://schemas.microsoft.com/office/drawing/2014/main" id="{50C5C652-3240-6341-9095-4EF7D7DC26F2}"/>
              </a:ext>
            </a:extLst>
          </p:cNvPr>
          <p:cNvSpPr>
            <a:spLocks noGrp="1"/>
          </p:cNvSpPr>
          <p:nvPr>
            <p:ph type="body" sz="quarter" idx="30" hasCustomPrompt="1"/>
          </p:nvPr>
        </p:nvSpPr>
        <p:spPr>
          <a:xfrm>
            <a:off x="9166225" y="9162256"/>
            <a:ext cx="6049963" cy="2880519"/>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18" name="Picture Placeholder 2">
            <a:extLst>
              <a:ext uri="{FF2B5EF4-FFF2-40B4-BE49-F238E27FC236}">
                <a16:creationId xmlns:a16="http://schemas.microsoft.com/office/drawing/2014/main" id="{CA5C6F99-363F-0A44-B903-36748B19D967}"/>
              </a:ext>
            </a:extLst>
          </p:cNvPr>
          <p:cNvSpPr>
            <a:spLocks noGrp="1"/>
          </p:cNvSpPr>
          <p:nvPr>
            <p:ph type="pic" sz="quarter" idx="32" hasCustomPrompt="1"/>
          </p:nvPr>
        </p:nvSpPr>
        <p:spPr>
          <a:xfrm>
            <a:off x="1673111" y="4124207"/>
            <a:ext cx="6049963" cy="4462581"/>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0" name="Text Placeholder 5">
            <a:extLst>
              <a:ext uri="{FF2B5EF4-FFF2-40B4-BE49-F238E27FC236}">
                <a16:creationId xmlns:a16="http://schemas.microsoft.com/office/drawing/2014/main" id="{75455B56-07F2-2943-AFDE-22F2A9DF65C4}"/>
              </a:ext>
            </a:extLst>
          </p:cNvPr>
          <p:cNvSpPr>
            <a:spLocks noGrp="1"/>
          </p:cNvSpPr>
          <p:nvPr>
            <p:ph type="body" sz="quarter" idx="33" hasCustomPrompt="1"/>
          </p:nvPr>
        </p:nvSpPr>
        <p:spPr>
          <a:xfrm>
            <a:off x="1673112" y="9162256"/>
            <a:ext cx="6049963" cy="2880519"/>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21" name="Picture Placeholder 2">
            <a:extLst>
              <a:ext uri="{FF2B5EF4-FFF2-40B4-BE49-F238E27FC236}">
                <a16:creationId xmlns:a16="http://schemas.microsoft.com/office/drawing/2014/main" id="{2F983719-8E56-644B-87F9-AA87D0158471}"/>
              </a:ext>
            </a:extLst>
          </p:cNvPr>
          <p:cNvSpPr>
            <a:spLocks noGrp="1"/>
          </p:cNvSpPr>
          <p:nvPr>
            <p:ph type="pic" sz="quarter" idx="34" hasCustomPrompt="1"/>
          </p:nvPr>
        </p:nvSpPr>
        <p:spPr>
          <a:xfrm>
            <a:off x="16656157" y="4124207"/>
            <a:ext cx="6049963" cy="4462581"/>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2" name="Text Placeholder 5">
            <a:extLst>
              <a:ext uri="{FF2B5EF4-FFF2-40B4-BE49-F238E27FC236}">
                <a16:creationId xmlns:a16="http://schemas.microsoft.com/office/drawing/2014/main" id="{CAE497B4-C614-C44B-94BA-C3BDE7D75DEC}"/>
              </a:ext>
            </a:extLst>
          </p:cNvPr>
          <p:cNvSpPr>
            <a:spLocks noGrp="1"/>
          </p:cNvSpPr>
          <p:nvPr>
            <p:ph type="body" sz="quarter" idx="35" hasCustomPrompt="1"/>
          </p:nvPr>
        </p:nvSpPr>
        <p:spPr>
          <a:xfrm>
            <a:off x="16656158" y="9162256"/>
            <a:ext cx="6049963" cy="2880519"/>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2" name="Title 1">
            <a:extLst>
              <a:ext uri="{FF2B5EF4-FFF2-40B4-BE49-F238E27FC236}">
                <a16:creationId xmlns:a16="http://schemas.microsoft.com/office/drawing/2014/main" id="{B714AECF-762E-AF4B-AE68-4E3BB8D405CD}"/>
              </a:ext>
            </a:extLst>
          </p:cNvPr>
          <p:cNvSpPr>
            <a:spLocks noGrp="1"/>
          </p:cNvSpPr>
          <p:nvPr>
            <p:ph type="title" hasCustomPrompt="1"/>
          </p:nvPr>
        </p:nvSpPr>
        <p:spPr>
          <a:xfrm>
            <a:off x="1676293" y="1677600"/>
            <a:ext cx="21033007" cy="1724413"/>
          </a:xfrm>
        </p:spPr>
        <p:txBody>
          <a:bodyPr/>
          <a:lstStyle/>
          <a:p>
            <a:r>
              <a:rPr lang="en-GB"/>
              <a:t>Focus areas</a:t>
            </a:r>
            <a:endParaRPr lang="en-NL"/>
          </a:p>
        </p:txBody>
      </p:sp>
      <p:sp>
        <p:nvSpPr>
          <p:cNvPr id="6" name="Footer Placeholder 5">
            <a:extLst>
              <a:ext uri="{FF2B5EF4-FFF2-40B4-BE49-F238E27FC236}">
                <a16:creationId xmlns:a16="http://schemas.microsoft.com/office/drawing/2014/main" id="{905FD5AF-E14D-EF49-88A1-61AE79880A4D}"/>
              </a:ext>
            </a:extLst>
          </p:cNvPr>
          <p:cNvSpPr>
            <a:spLocks noGrp="1"/>
          </p:cNvSpPr>
          <p:nvPr>
            <p:ph type="ftr" sz="quarter" idx="36"/>
          </p:nvPr>
        </p:nvSpPr>
        <p:spPr/>
        <p:txBody>
          <a:bodyPr/>
          <a:lstStyle/>
          <a:p>
            <a:endParaRPr lang="en-NL"/>
          </a:p>
        </p:txBody>
      </p:sp>
      <p:sp>
        <p:nvSpPr>
          <p:cNvPr id="14" name="TextBox 13">
            <a:extLst>
              <a:ext uri="{FF2B5EF4-FFF2-40B4-BE49-F238E27FC236}">
                <a16:creationId xmlns:a16="http://schemas.microsoft.com/office/drawing/2014/main" id="{7DDFA0A1-FCD3-7344-8E11-BA02D0C38EE6}"/>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033628218"/>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Focus areas 3">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6F4D095-75F9-A649-B638-1297084AD7A4}"/>
              </a:ext>
            </a:extLst>
          </p:cNvPr>
          <p:cNvSpPr>
            <a:spLocks noGrp="1"/>
          </p:cNvSpPr>
          <p:nvPr>
            <p:ph type="pic" sz="quarter" idx="20" hasCustomPrompt="1"/>
          </p:nvPr>
        </p:nvSpPr>
        <p:spPr>
          <a:xfrm>
            <a:off x="3110921" y="5160730"/>
            <a:ext cx="3425835" cy="3426058"/>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3110920" y="8904152"/>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1" name="Picture Placeholder 7">
            <a:extLst>
              <a:ext uri="{FF2B5EF4-FFF2-40B4-BE49-F238E27FC236}">
                <a16:creationId xmlns:a16="http://schemas.microsoft.com/office/drawing/2014/main" id="{541447E4-2AA6-7F48-B55B-B62747E0ABD2}"/>
              </a:ext>
            </a:extLst>
          </p:cNvPr>
          <p:cNvSpPr>
            <a:spLocks noGrp="1"/>
          </p:cNvSpPr>
          <p:nvPr>
            <p:ph type="pic" sz="quarter" idx="22" hasCustomPrompt="1"/>
          </p:nvPr>
        </p:nvSpPr>
        <p:spPr>
          <a:xfrm>
            <a:off x="8045291" y="5160730"/>
            <a:ext cx="3425835" cy="3426058"/>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2" name="Text Placeholder 11">
            <a:extLst>
              <a:ext uri="{FF2B5EF4-FFF2-40B4-BE49-F238E27FC236}">
                <a16:creationId xmlns:a16="http://schemas.microsoft.com/office/drawing/2014/main" id="{2AD28FF4-13F4-2C40-9AF9-E173148BF12A}"/>
              </a:ext>
            </a:extLst>
          </p:cNvPr>
          <p:cNvSpPr>
            <a:spLocks noGrp="1"/>
          </p:cNvSpPr>
          <p:nvPr>
            <p:ph type="body" sz="quarter" idx="23" hasCustomPrompt="1"/>
          </p:nvPr>
        </p:nvSpPr>
        <p:spPr>
          <a:xfrm>
            <a:off x="8045291" y="8904152"/>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3" name="Picture Placeholder 7">
            <a:extLst>
              <a:ext uri="{FF2B5EF4-FFF2-40B4-BE49-F238E27FC236}">
                <a16:creationId xmlns:a16="http://schemas.microsoft.com/office/drawing/2014/main" id="{76549726-CD0C-C144-A1EB-76A281BC952E}"/>
              </a:ext>
            </a:extLst>
          </p:cNvPr>
          <p:cNvSpPr>
            <a:spLocks noGrp="1"/>
          </p:cNvSpPr>
          <p:nvPr>
            <p:ph type="pic" sz="quarter" idx="24" hasCustomPrompt="1"/>
          </p:nvPr>
        </p:nvSpPr>
        <p:spPr>
          <a:xfrm>
            <a:off x="12911286" y="5160730"/>
            <a:ext cx="3425835" cy="3426058"/>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4" name="Text Placeholder 11">
            <a:extLst>
              <a:ext uri="{FF2B5EF4-FFF2-40B4-BE49-F238E27FC236}">
                <a16:creationId xmlns:a16="http://schemas.microsoft.com/office/drawing/2014/main" id="{5B3AA100-6E6E-D34B-943C-1D75F59C39B5}"/>
              </a:ext>
            </a:extLst>
          </p:cNvPr>
          <p:cNvSpPr>
            <a:spLocks noGrp="1"/>
          </p:cNvSpPr>
          <p:nvPr>
            <p:ph type="body" sz="quarter" idx="25" hasCustomPrompt="1"/>
          </p:nvPr>
        </p:nvSpPr>
        <p:spPr>
          <a:xfrm>
            <a:off x="12911286" y="8904152"/>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5" name="Picture Placeholder 7">
            <a:extLst>
              <a:ext uri="{FF2B5EF4-FFF2-40B4-BE49-F238E27FC236}">
                <a16:creationId xmlns:a16="http://schemas.microsoft.com/office/drawing/2014/main" id="{DCB14019-6F34-AB4B-B98E-4393A31FE4D7}"/>
              </a:ext>
            </a:extLst>
          </p:cNvPr>
          <p:cNvSpPr>
            <a:spLocks noGrp="1"/>
          </p:cNvSpPr>
          <p:nvPr>
            <p:ph type="pic" sz="quarter" idx="26" hasCustomPrompt="1"/>
          </p:nvPr>
        </p:nvSpPr>
        <p:spPr>
          <a:xfrm>
            <a:off x="17910165" y="5160730"/>
            <a:ext cx="3425835" cy="3426058"/>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6" name="Text Placeholder 11">
            <a:extLst>
              <a:ext uri="{FF2B5EF4-FFF2-40B4-BE49-F238E27FC236}">
                <a16:creationId xmlns:a16="http://schemas.microsoft.com/office/drawing/2014/main" id="{1C762A72-2425-1F42-B142-A5C927AEEBB1}"/>
              </a:ext>
            </a:extLst>
          </p:cNvPr>
          <p:cNvSpPr>
            <a:spLocks noGrp="1"/>
          </p:cNvSpPr>
          <p:nvPr>
            <p:ph type="body" sz="quarter" idx="27" hasCustomPrompt="1"/>
          </p:nvPr>
        </p:nvSpPr>
        <p:spPr>
          <a:xfrm>
            <a:off x="17910165" y="8904152"/>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 name="Title 1">
            <a:extLst>
              <a:ext uri="{FF2B5EF4-FFF2-40B4-BE49-F238E27FC236}">
                <a16:creationId xmlns:a16="http://schemas.microsoft.com/office/drawing/2014/main" id="{A0F5E023-04B8-2F4C-ACC9-EA2D15A8206D}"/>
              </a:ext>
            </a:extLst>
          </p:cNvPr>
          <p:cNvSpPr>
            <a:spLocks noGrp="1"/>
          </p:cNvSpPr>
          <p:nvPr>
            <p:ph type="title" hasCustomPrompt="1"/>
          </p:nvPr>
        </p:nvSpPr>
        <p:spPr/>
        <p:txBody>
          <a:bodyPr/>
          <a:lstStyle/>
          <a:p>
            <a:r>
              <a:rPr lang="en-GB"/>
              <a:t>Focus areas</a:t>
            </a:r>
            <a:endParaRPr lang="en-NL"/>
          </a:p>
        </p:txBody>
      </p:sp>
      <p:sp>
        <p:nvSpPr>
          <p:cNvPr id="6" name="Footer Placeholder 5">
            <a:extLst>
              <a:ext uri="{FF2B5EF4-FFF2-40B4-BE49-F238E27FC236}">
                <a16:creationId xmlns:a16="http://schemas.microsoft.com/office/drawing/2014/main" id="{7BEF6BFC-32B9-EE4E-B0BD-51735697E79A}"/>
              </a:ext>
            </a:extLst>
          </p:cNvPr>
          <p:cNvSpPr>
            <a:spLocks noGrp="1"/>
          </p:cNvSpPr>
          <p:nvPr>
            <p:ph type="ftr" sz="quarter" idx="28"/>
          </p:nvPr>
        </p:nvSpPr>
        <p:spPr/>
        <p:txBody>
          <a:bodyPr/>
          <a:lstStyle/>
          <a:p>
            <a:endParaRPr lang="en-NL"/>
          </a:p>
        </p:txBody>
      </p:sp>
      <p:sp>
        <p:nvSpPr>
          <p:cNvPr id="17" name="TextBox 16">
            <a:extLst>
              <a:ext uri="{FF2B5EF4-FFF2-40B4-BE49-F238E27FC236}">
                <a16:creationId xmlns:a16="http://schemas.microsoft.com/office/drawing/2014/main" id="{D03693B7-36DD-2044-BD6D-C7E743BAFEC9}"/>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60742656"/>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Organisational chart">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10677922" y="1682204"/>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2" name="Title 1">
            <a:extLst>
              <a:ext uri="{FF2B5EF4-FFF2-40B4-BE49-F238E27FC236}">
                <a16:creationId xmlns:a16="http://schemas.microsoft.com/office/drawing/2014/main" id="{43DA5788-F32B-A54D-BD65-3FF50B9E8946}"/>
              </a:ext>
            </a:extLst>
          </p:cNvPr>
          <p:cNvSpPr>
            <a:spLocks noGrp="1"/>
          </p:cNvSpPr>
          <p:nvPr>
            <p:ph type="title" hasCustomPrompt="1"/>
          </p:nvPr>
        </p:nvSpPr>
        <p:spPr>
          <a:xfrm>
            <a:off x="1676294" y="1677600"/>
            <a:ext cx="7489932" cy="3011659"/>
          </a:xfrm>
        </p:spPr>
        <p:txBody>
          <a:bodyPr/>
          <a:lstStyle>
            <a:lvl1pPr>
              <a:defRPr sz="6000"/>
            </a:lvl1pPr>
          </a:lstStyle>
          <a:p>
            <a:r>
              <a:rPr lang="en-GB"/>
              <a:t>Department name</a:t>
            </a:r>
            <a:endParaRPr lang="en-NL"/>
          </a:p>
        </p:txBody>
      </p:sp>
      <p:sp>
        <p:nvSpPr>
          <p:cNvPr id="37" name="Text Placeholder 11">
            <a:extLst>
              <a:ext uri="{FF2B5EF4-FFF2-40B4-BE49-F238E27FC236}">
                <a16:creationId xmlns:a16="http://schemas.microsoft.com/office/drawing/2014/main" id="{D20C3156-2AD2-124D-9E3C-76D76447737F}"/>
              </a:ext>
            </a:extLst>
          </p:cNvPr>
          <p:cNvSpPr>
            <a:spLocks noGrp="1"/>
          </p:cNvSpPr>
          <p:nvPr>
            <p:ph type="body" sz="quarter" idx="23" hasCustomPrompt="1"/>
          </p:nvPr>
        </p:nvSpPr>
        <p:spPr>
          <a:xfrm>
            <a:off x="15935622" y="856114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8" name="Text Placeholder 11">
            <a:extLst>
              <a:ext uri="{FF2B5EF4-FFF2-40B4-BE49-F238E27FC236}">
                <a16:creationId xmlns:a16="http://schemas.microsoft.com/office/drawing/2014/main" id="{52FB8893-C886-B348-A8E3-2932C39A6C17}"/>
              </a:ext>
            </a:extLst>
          </p:cNvPr>
          <p:cNvSpPr>
            <a:spLocks noGrp="1"/>
          </p:cNvSpPr>
          <p:nvPr>
            <p:ph type="body" sz="quarter" idx="24" hasCustomPrompt="1"/>
          </p:nvPr>
        </p:nvSpPr>
        <p:spPr>
          <a:xfrm>
            <a:off x="12447959" y="856114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9" name="Text Placeholder 11">
            <a:extLst>
              <a:ext uri="{FF2B5EF4-FFF2-40B4-BE49-F238E27FC236}">
                <a16:creationId xmlns:a16="http://schemas.microsoft.com/office/drawing/2014/main" id="{4E2FB335-2D5A-A743-81A7-7FAB0B1F748A}"/>
              </a:ext>
            </a:extLst>
          </p:cNvPr>
          <p:cNvSpPr>
            <a:spLocks noGrp="1"/>
          </p:cNvSpPr>
          <p:nvPr>
            <p:ph type="body" sz="quarter" idx="25" hasCustomPrompt="1"/>
          </p:nvPr>
        </p:nvSpPr>
        <p:spPr>
          <a:xfrm>
            <a:off x="19423285" y="856114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0" name="Text Placeholder 11">
            <a:extLst>
              <a:ext uri="{FF2B5EF4-FFF2-40B4-BE49-F238E27FC236}">
                <a16:creationId xmlns:a16="http://schemas.microsoft.com/office/drawing/2014/main" id="{FDBB4D3B-21DA-AA48-875F-039F1DA49F4D}"/>
              </a:ext>
            </a:extLst>
          </p:cNvPr>
          <p:cNvSpPr>
            <a:spLocks noGrp="1"/>
          </p:cNvSpPr>
          <p:nvPr>
            <p:ph type="body" sz="quarter" idx="26" hasCustomPrompt="1"/>
          </p:nvPr>
        </p:nvSpPr>
        <p:spPr>
          <a:xfrm>
            <a:off x="8950201" y="856114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1" name="Text Placeholder 11">
            <a:extLst>
              <a:ext uri="{FF2B5EF4-FFF2-40B4-BE49-F238E27FC236}">
                <a16:creationId xmlns:a16="http://schemas.microsoft.com/office/drawing/2014/main" id="{04958B99-BADB-694D-857D-679CEF331FE2}"/>
              </a:ext>
            </a:extLst>
          </p:cNvPr>
          <p:cNvSpPr>
            <a:spLocks noGrp="1"/>
          </p:cNvSpPr>
          <p:nvPr>
            <p:ph type="body" sz="quarter" idx="27" hasCustomPrompt="1"/>
          </p:nvPr>
        </p:nvSpPr>
        <p:spPr>
          <a:xfrm>
            <a:off x="5462538" y="856114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2" name="Text Placeholder 11">
            <a:extLst>
              <a:ext uri="{FF2B5EF4-FFF2-40B4-BE49-F238E27FC236}">
                <a16:creationId xmlns:a16="http://schemas.microsoft.com/office/drawing/2014/main" id="{867B033E-55B1-E64C-AB2E-DEA20C7A2523}"/>
              </a:ext>
            </a:extLst>
          </p:cNvPr>
          <p:cNvSpPr>
            <a:spLocks noGrp="1"/>
          </p:cNvSpPr>
          <p:nvPr>
            <p:ph type="body" sz="quarter" idx="28" hasCustomPrompt="1"/>
          </p:nvPr>
        </p:nvSpPr>
        <p:spPr>
          <a:xfrm>
            <a:off x="1980134" y="856114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3" name="Text Placeholder 11">
            <a:extLst>
              <a:ext uri="{FF2B5EF4-FFF2-40B4-BE49-F238E27FC236}">
                <a16:creationId xmlns:a16="http://schemas.microsoft.com/office/drawing/2014/main" id="{1342689F-D009-8044-A2FD-60C69DAC4509}"/>
              </a:ext>
            </a:extLst>
          </p:cNvPr>
          <p:cNvSpPr>
            <a:spLocks noGrp="1"/>
          </p:cNvSpPr>
          <p:nvPr>
            <p:ph type="body" sz="quarter" idx="29" hasCustomPrompt="1"/>
          </p:nvPr>
        </p:nvSpPr>
        <p:spPr>
          <a:xfrm>
            <a:off x="3698342" y="5113633"/>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4" name="Text Placeholder 11">
            <a:extLst>
              <a:ext uri="{FF2B5EF4-FFF2-40B4-BE49-F238E27FC236}">
                <a16:creationId xmlns:a16="http://schemas.microsoft.com/office/drawing/2014/main" id="{67DEF29E-90A5-BC45-8BB6-53DBC7210B2A}"/>
              </a:ext>
            </a:extLst>
          </p:cNvPr>
          <p:cNvSpPr>
            <a:spLocks noGrp="1"/>
          </p:cNvSpPr>
          <p:nvPr>
            <p:ph type="body" sz="quarter" idx="30" hasCustomPrompt="1"/>
          </p:nvPr>
        </p:nvSpPr>
        <p:spPr>
          <a:xfrm>
            <a:off x="10677921" y="512818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5" name="Text Placeholder 11">
            <a:extLst>
              <a:ext uri="{FF2B5EF4-FFF2-40B4-BE49-F238E27FC236}">
                <a16:creationId xmlns:a16="http://schemas.microsoft.com/office/drawing/2014/main" id="{DD2C9CC6-3595-BA4C-9ADE-B391018F28A0}"/>
              </a:ext>
            </a:extLst>
          </p:cNvPr>
          <p:cNvSpPr>
            <a:spLocks noGrp="1"/>
          </p:cNvSpPr>
          <p:nvPr>
            <p:ph type="body" sz="quarter" idx="31" hasCustomPrompt="1"/>
          </p:nvPr>
        </p:nvSpPr>
        <p:spPr>
          <a:xfrm>
            <a:off x="17659090" y="512818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6" name="Text Placeholder 11">
            <a:extLst>
              <a:ext uri="{FF2B5EF4-FFF2-40B4-BE49-F238E27FC236}">
                <a16:creationId xmlns:a16="http://schemas.microsoft.com/office/drawing/2014/main" id="{9A38C78E-0083-574C-BBD2-F191805B428A}"/>
              </a:ext>
            </a:extLst>
          </p:cNvPr>
          <p:cNvSpPr>
            <a:spLocks noGrp="1"/>
          </p:cNvSpPr>
          <p:nvPr>
            <p:ph type="body" sz="quarter" idx="32" hasCustomPrompt="1"/>
          </p:nvPr>
        </p:nvSpPr>
        <p:spPr>
          <a:xfrm>
            <a:off x="1980134" y="10742265"/>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8" name="Text Placeholder 11">
            <a:extLst>
              <a:ext uri="{FF2B5EF4-FFF2-40B4-BE49-F238E27FC236}">
                <a16:creationId xmlns:a16="http://schemas.microsoft.com/office/drawing/2014/main" id="{0EC1A24F-21AB-AB45-9A34-7DD472E3106A}"/>
              </a:ext>
            </a:extLst>
          </p:cNvPr>
          <p:cNvSpPr>
            <a:spLocks noGrp="1"/>
          </p:cNvSpPr>
          <p:nvPr>
            <p:ph type="body" sz="quarter" idx="33" hasCustomPrompt="1"/>
          </p:nvPr>
        </p:nvSpPr>
        <p:spPr>
          <a:xfrm>
            <a:off x="8950201" y="10742265"/>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9" name="TextBox 48">
            <a:extLst>
              <a:ext uri="{FF2B5EF4-FFF2-40B4-BE49-F238E27FC236}">
                <a16:creationId xmlns:a16="http://schemas.microsoft.com/office/drawing/2014/main" id="{0D0F6677-E2D7-FF4E-B4A9-F9CEED474E8C}"/>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999987784"/>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Organisational chart with pictur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6F4D095-75F9-A649-B638-1297084AD7A4}"/>
              </a:ext>
            </a:extLst>
          </p:cNvPr>
          <p:cNvSpPr>
            <a:spLocks noGrp="1"/>
          </p:cNvSpPr>
          <p:nvPr>
            <p:ph type="pic" sz="quarter" idx="20" hasCustomPrompt="1"/>
          </p:nvPr>
        </p:nvSpPr>
        <p:spPr>
          <a:xfrm>
            <a:off x="10841206" y="1719944"/>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9670603" y="4512108"/>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2" name="Title 1">
            <a:extLst>
              <a:ext uri="{FF2B5EF4-FFF2-40B4-BE49-F238E27FC236}">
                <a16:creationId xmlns:a16="http://schemas.microsoft.com/office/drawing/2014/main" id="{43DA5788-F32B-A54D-BD65-3FF50B9E8946}"/>
              </a:ext>
            </a:extLst>
          </p:cNvPr>
          <p:cNvSpPr>
            <a:spLocks noGrp="1"/>
          </p:cNvSpPr>
          <p:nvPr>
            <p:ph type="title" hasCustomPrompt="1"/>
          </p:nvPr>
        </p:nvSpPr>
        <p:spPr>
          <a:xfrm>
            <a:off x="1676294" y="1677600"/>
            <a:ext cx="7489932" cy="3011659"/>
          </a:xfrm>
        </p:spPr>
        <p:txBody>
          <a:bodyPr/>
          <a:lstStyle>
            <a:lvl1pPr>
              <a:defRPr sz="6000"/>
            </a:lvl1pPr>
          </a:lstStyle>
          <a:p>
            <a:r>
              <a:rPr lang="en-GB"/>
              <a:t>Department name</a:t>
            </a:r>
            <a:endParaRPr lang="en-NL"/>
          </a:p>
        </p:txBody>
      </p:sp>
      <p:sp>
        <p:nvSpPr>
          <p:cNvPr id="31" name="Text Placeholder 11">
            <a:extLst>
              <a:ext uri="{FF2B5EF4-FFF2-40B4-BE49-F238E27FC236}">
                <a16:creationId xmlns:a16="http://schemas.microsoft.com/office/drawing/2014/main" id="{75F485D7-B4EF-5A4B-879E-86975974580C}"/>
              </a:ext>
            </a:extLst>
          </p:cNvPr>
          <p:cNvSpPr>
            <a:spLocks noGrp="1"/>
          </p:cNvSpPr>
          <p:nvPr>
            <p:ph type="body" sz="quarter" idx="30" hasCustomPrompt="1"/>
          </p:nvPr>
        </p:nvSpPr>
        <p:spPr>
          <a:xfrm>
            <a:off x="7114428" y="8596285"/>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2" name="Text Placeholder 11">
            <a:extLst>
              <a:ext uri="{FF2B5EF4-FFF2-40B4-BE49-F238E27FC236}">
                <a16:creationId xmlns:a16="http://schemas.microsoft.com/office/drawing/2014/main" id="{8EE80A14-44BF-1D48-8C22-8748FD98477A}"/>
              </a:ext>
            </a:extLst>
          </p:cNvPr>
          <p:cNvSpPr>
            <a:spLocks noGrp="1"/>
          </p:cNvSpPr>
          <p:nvPr>
            <p:ph type="body" sz="quarter" idx="31" hasCustomPrompt="1"/>
          </p:nvPr>
        </p:nvSpPr>
        <p:spPr>
          <a:xfrm>
            <a:off x="12197877" y="8596285"/>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3" name="Text Placeholder 11">
            <a:extLst>
              <a:ext uri="{FF2B5EF4-FFF2-40B4-BE49-F238E27FC236}">
                <a16:creationId xmlns:a16="http://schemas.microsoft.com/office/drawing/2014/main" id="{4122F631-7AEE-E940-A99A-F863EBC69A3E}"/>
              </a:ext>
            </a:extLst>
          </p:cNvPr>
          <p:cNvSpPr>
            <a:spLocks noGrp="1"/>
          </p:cNvSpPr>
          <p:nvPr>
            <p:ph type="body" sz="quarter" idx="32" hasCustomPrompt="1"/>
          </p:nvPr>
        </p:nvSpPr>
        <p:spPr>
          <a:xfrm>
            <a:off x="17276564" y="8596285"/>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4" name="Text Placeholder 11">
            <a:extLst>
              <a:ext uri="{FF2B5EF4-FFF2-40B4-BE49-F238E27FC236}">
                <a16:creationId xmlns:a16="http://schemas.microsoft.com/office/drawing/2014/main" id="{DEF7042E-C2C0-904C-A1CD-FA245CD87451}"/>
              </a:ext>
            </a:extLst>
          </p:cNvPr>
          <p:cNvSpPr>
            <a:spLocks noGrp="1"/>
          </p:cNvSpPr>
          <p:nvPr>
            <p:ph type="body" sz="quarter" idx="33" hasCustomPrompt="1"/>
          </p:nvPr>
        </p:nvSpPr>
        <p:spPr>
          <a:xfrm>
            <a:off x="2059333" y="8596285"/>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6" name="Text Placeholder 11">
            <a:extLst>
              <a:ext uri="{FF2B5EF4-FFF2-40B4-BE49-F238E27FC236}">
                <a16:creationId xmlns:a16="http://schemas.microsoft.com/office/drawing/2014/main" id="{BF736EFA-67F1-B044-A2C3-78E7C51705B6}"/>
              </a:ext>
            </a:extLst>
          </p:cNvPr>
          <p:cNvSpPr>
            <a:spLocks noGrp="1"/>
          </p:cNvSpPr>
          <p:nvPr>
            <p:ph type="body" sz="quarter" idx="35" hasCustomPrompt="1"/>
          </p:nvPr>
        </p:nvSpPr>
        <p:spPr>
          <a:xfrm>
            <a:off x="14755168" y="4523153"/>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18" name="Picture Placeholder 7">
            <a:extLst>
              <a:ext uri="{FF2B5EF4-FFF2-40B4-BE49-F238E27FC236}">
                <a16:creationId xmlns:a16="http://schemas.microsoft.com/office/drawing/2014/main" id="{E32092D4-F5E4-9948-BB3B-B209229D6C06}"/>
              </a:ext>
            </a:extLst>
          </p:cNvPr>
          <p:cNvSpPr>
            <a:spLocks noGrp="1"/>
          </p:cNvSpPr>
          <p:nvPr>
            <p:ph type="pic" sz="quarter" idx="36" hasCustomPrompt="1"/>
          </p:nvPr>
        </p:nvSpPr>
        <p:spPr>
          <a:xfrm>
            <a:off x="15943082" y="1719944"/>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0" name="Picture Placeholder 7">
            <a:extLst>
              <a:ext uri="{FF2B5EF4-FFF2-40B4-BE49-F238E27FC236}">
                <a16:creationId xmlns:a16="http://schemas.microsoft.com/office/drawing/2014/main" id="{9642D2C8-E8D9-D24B-8B56-E869E37E5558}"/>
              </a:ext>
            </a:extLst>
          </p:cNvPr>
          <p:cNvSpPr>
            <a:spLocks noGrp="1"/>
          </p:cNvSpPr>
          <p:nvPr>
            <p:ph type="pic" sz="quarter" idx="37" hasCustomPrompt="1"/>
          </p:nvPr>
        </p:nvSpPr>
        <p:spPr>
          <a:xfrm>
            <a:off x="3283935" y="5777880"/>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1" name="Picture Placeholder 7">
            <a:extLst>
              <a:ext uri="{FF2B5EF4-FFF2-40B4-BE49-F238E27FC236}">
                <a16:creationId xmlns:a16="http://schemas.microsoft.com/office/drawing/2014/main" id="{CDF87832-9FDB-3F47-97C5-15DEFCD1488C}"/>
              </a:ext>
            </a:extLst>
          </p:cNvPr>
          <p:cNvSpPr>
            <a:spLocks noGrp="1"/>
          </p:cNvSpPr>
          <p:nvPr>
            <p:ph type="pic" sz="quarter" idx="38" hasCustomPrompt="1"/>
          </p:nvPr>
        </p:nvSpPr>
        <p:spPr>
          <a:xfrm>
            <a:off x="8394041" y="5777880"/>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2" name="Picture Placeholder 7">
            <a:extLst>
              <a:ext uri="{FF2B5EF4-FFF2-40B4-BE49-F238E27FC236}">
                <a16:creationId xmlns:a16="http://schemas.microsoft.com/office/drawing/2014/main" id="{9F605B20-5BFC-D34B-AC34-62C629AE60C8}"/>
              </a:ext>
            </a:extLst>
          </p:cNvPr>
          <p:cNvSpPr>
            <a:spLocks noGrp="1"/>
          </p:cNvSpPr>
          <p:nvPr>
            <p:ph type="pic" sz="quarter" idx="39" hasCustomPrompt="1"/>
          </p:nvPr>
        </p:nvSpPr>
        <p:spPr>
          <a:xfrm>
            <a:off x="13459168" y="5777880"/>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3" name="Picture Placeholder 7">
            <a:extLst>
              <a:ext uri="{FF2B5EF4-FFF2-40B4-BE49-F238E27FC236}">
                <a16:creationId xmlns:a16="http://schemas.microsoft.com/office/drawing/2014/main" id="{CB528120-A57D-C04A-A5CE-A13C8EDF86ED}"/>
              </a:ext>
            </a:extLst>
          </p:cNvPr>
          <p:cNvSpPr>
            <a:spLocks noGrp="1"/>
          </p:cNvSpPr>
          <p:nvPr>
            <p:ph type="pic" sz="quarter" idx="40" hasCustomPrompt="1"/>
          </p:nvPr>
        </p:nvSpPr>
        <p:spPr>
          <a:xfrm>
            <a:off x="18569274" y="5777880"/>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4" name="Text Placeholder 11">
            <a:extLst>
              <a:ext uri="{FF2B5EF4-FFF2-40B4-BE49-F238E27FC236}">
                <a16:creationId xmlns:a16="http://schemas.microsoft.com/office/drawing/2014/main" id="{6BDE82E8-4C03-4846-972E-989D2C69E3BD}"/>
              </a:ext>
            </a:extLst>
          </p:cNvPr>
          <p:cNvSpPr>
            <a:spLocks noGrp="1"/>
          </p:cNvSpPr>
          <p:nvPr>
            <p:ph type="body" sz="quarter" idx="41" hasCustomPrompt="1"/>
          </p:nvPr>
        </p:nvSpPr>
        <p:spPr>
          <a:xfrm>
            <a:off x="2059333" y="12248703"/>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25" name="Picture Placeholder 7">
            <a:extLst>
              <a:ext uri="{FF2B5EF4-FFF2-40B4-BE49-F238E27FC236}">
                <a16:creationId xmlns:a16="http://schemas.microsoft.com/office/drawing/2014/main" id="{83187330-3EBE-934C-B545-3351D604B7B9}"/>
              </a:ext>
            </a:extLst>
          </p:cNvPr>
          <p:cNvSpPr>
            <a:spLocks noGrp="1"/>
          </p:cNvSpPr>
          <p:nvPr>
            <p:ph type="pic" sz="quarter" idx="42" hasCustomPrompt="1"/>
          </p:nvPr>
        </p:nvSpPr>
        <p:spPr>
          <a:xfrm>
            <a:off x="3283935" y="9430298"/>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6" name="TextBox 25">
            <a:extLst>
              <a:ext uri="{FF2B5EF4-FFF2-40B4-BE49-F238E27FC236}">
                <a16:creationId xmlns:a16="http://schemas.microsoft.com/office/drawing/2014/main" id="{550D2F5E-666A-C14D-8B7B-3A62CE2C1C05}"/>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24457654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Full picture">
    <p:bg>
      <p:bgPr>
        <a:solidFill>
          <a:schemeClr val="bg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73BADB48-5F7B-4C4D-BDD5-124AFC5BC91E}"/>
              </a:ext>
            </a:extLst>
          </p:cNvPr>
          <p:cNvSpPr txBox="1"/>
          <p:nvPr userDrawn="1"/>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smtClean="0">
                <a:latin typeface="Noto IKEA Latin" panose="020B0502040504020204" pitchFamily="34" charset="0"/>
              </a:rPr>
              <a:pPr algn="r"/>
              <a:t>‹#›</a:t>
            </a:fld>
            <a:endParaRPr lang="en-GB" sz="2000">
              <a:latin typeface="Noto IKEA Latin" panose="020B0502040504020204" pitchFamily="34" charset="0"/>
            </a:endParaRPr>
          </a:p>
        </p:txBody>
      </p:sp>
      <p:sp>
        <p:nvSpPr>
          <p:cNvPr id="7" name="Picture Placeholder 10">
            <a:extLst>
              <a:ext uri="{FF2B5EF4-FFF2-40B4-BE49-F238E27FC236}">
                <a16:creationId xmlns:a16="http://schemas.microsoft.com/office/drawing/2014/main" id="{83374E3F-FD44-FF48-B59B-E0793285F562}"/>
              </a:ext>
            </a:extLst>
          </p:cNvPr>
          <p:cNvSpPr>
            <a:spLocks noGrp="1"/>
          </p:cNvSpPr>
          <p:nvPr>
            <p:ph type="pic" sz="quarter" idx="14" hasCustomPrompt="1"/>
          </p:nvPr>
        </p:nvSpPr>
        <p:spPr>
          <a:xfrm>
            <a:off x="491206" y="486000"/>
            <a:ext cx="23400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picture into this frame</a:t>
            </a:r>
          </a:p>
        </p:txBody>
      </p:sp>
      <p:sp>
        <p:nvSpPr>
          <p:cNvPr id="4" name="TextBox 3">
            <a:extLst>
              <a:ext uri="{FF2B5EF4-FFF2-40B4-BE49-F238E27FC236}">
                <a16:creationId xmlns:a16="http://schemas.microsoft.com/office/drawing/2014/main" id="{A28FA5BF-CC16-F74C-B2AD-7675C1B452C4}"/>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281780704"/>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wo pcitures">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7573FD41-AC43-F04C-8700-DDD5AFA33E14}"/>
              </a:ext>
            </a:extLst>
          </p:cNvPr>
          <p:cNvSpPr>
            <a:spLocks noGrp="1"/>
          </p:cNvSpPr>
          <p:nvPr>
            <p:ph type="pic" sz="quarter" idx="14" hasCustomPrompt="1"/>
          </p:nvPr>
        </p:nvSpPr>
        <p:spPr>
          <a:xfrm>
            <a:off x="491207" y="486000"/>
            <a:ext cx="11483976" cy="9827988"/>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0" name="Picture Placeholder 10">
            <a:extLst>
              <a:ext uri="{FF2B5EF4-FFF2-40B4-BE49-F238E27FC236}">
                <a16:creationId xmlns:a16="http://schemas.microsoft.com/office/drawing/2014/main" id="{250173C0-66DE-2B44-9C5C-228A0DC74671}"/>
              </a:ext>
            </a:extLst>
          </p:cNvPr>
          <p:cNvSpPr>
            <a:spLocks noGrp="1"/>
          </p:cNvSpPr>
          <p:nvPr>
            <p:ph type="pic" sz="quarter" idx="18" hasCustomPrompt="1"/>
          </p:nvPr>
        </p:nvSpPr>
        <p:spPr>
          <a:xfrm>
            <a:off x="12407230" y="486000"/>
            <a:ext cx="11483976" cy="9827988"/>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1" name="Text Placeholder 5">
            <a:extLst>
              <a:ext uri="{FF2B5EF4-FFF2-40B4-BE49-F238E27FC236}">
                <a16:creationId xmlns:a16="http://schemas.microsoft.com/office/drawing/2014/main" id="{32E65FF3-CD8C-8D42-A347-F026094D4707}"/>
              </a:ext>
            </a:extLst>
          </p:cNvPr>
          <p:cNvSpPr>
            <a:spLocks noGrp="1"/>
          </p:cNvSpPr>
          <p:nvPr>
            <p:ph type="body" sz="quarter" idx="33" hasCustomPrompt="1"/>
          </p:nvPr>
        </p:nvSpPr>
        <p:spPr>
          <a:xfrm>
            <a:off x="486322" y="10602416"/>
            <a:ext cx="8679904" cy="1440359"/>
          </a:xfrm>
        </p:spPr>
        <p:txBody>
          <a:bodyPr>
            <a:noAutofit/>
          </a:bodyPr>
          <a:lstStyle>
            <a:lvl1pPr>
              <a:spcBef>
                <a:spcPts val="0"/>
              </a:spcBef>
              <a:defRPr sz="3200"/>
            </a:lvl1pPr>
          </a:lstStyle>
          <a:p>
            <a:pPr lvl="0"/>
            <a:r>
              <a:rPr lang="en-GB" noProof="0"/>
              <a:t>Put the description text here, keep it regular 32 </a:t>
            </a:r>
            <a:r>
              <a:rPr lang="en-GB" noProof="0" err="1"/>
              <a:t>pt</a:t>
            </a:r>
            <a:endParaRPr lang="en-GB" noProof="0"/>
          </a:p>
        </p:txBody>
      </p:sp>
      <p:sp>
        <p:nvSpPr>
          <p:cNvPr id="12" name="Text Placeholder 5">
            <a:extLst>
              <a:ext uri="{FF2B5EF4-FFF2-40B4-BE49-F238E27FC236}">
                <a16:creationId xmlns:a16="http://schemas.microsoft.com/office/drawing/2014/main" id="{7A080EE2-1AD5-5F46-8A70-65AD78446B90}"/>
              </a:ext>
            </a:extLst>
          </p:cNvPr>
          <p:cNvSpPr>
            <a:spLocks noGrp="1"/>
          </p:cNvSpPr>
          <p:nvPr>
            <p:ph type="body" sz="quarter" idx="34" hasCustomPrompt="1"/>
          </p:nvPr>
        </p:nvSpPr>
        <p:spPr>
          <a:xfrm>
            <a:off x="12407231" y="10602416"/>
            <a:ext cx="8928769" cy="1440359"/>
          </a:xfrm>
        </p:spPr>
        <p:txBody>
          <a:bodyPr>
            <a:noAutofit/>
          </a:bodyPr>
          <a:lstStyle>
            <a:lvl1pPr>
              <a:spcBef>
                <a:spcPts val="0"/>
              </a:spcBef>
              <a:defRPr sz="3200"/>
            </a:lvl1pPr>
          </a:lstStyle>
          <a:p>
            <a:pPr lvl="0"/>
            <a:r>
              <a:rPr lang="en-GB" noProof="0"/>
              <a:t>Put the </a:t>
            </a:r>
            <a:r>
              <a:rPr lang="en-GB" noProof="0" err="1"/>
              <a:t>desccription</a:t>
            </a:r>
            <a:r>
              <a:rPr lang="en-GB" noProof="0"/>
              <a:t> text here, keep it regular 32 </a:t>
            </a:r>
            <a:r>
              <a:rPr lang="en-GB" noProof="0" err="1"/>
              <a:t>pt</a:t>
            </a:r>
            <a:endParaRPr lang="en-GB" noProof="0"/>
          </a:p>
        </p:txBody>
      </p:sp>
      <p:sp>
        <p:nvSpPr>
          <p:cNvPr id="13" name="TextBox 12">
            <a:extLst>
              <a:ext uri="{FF2B5EF4-FFF2-40B4-BE49-F238E27FC236}">
                <a16:creationId xmlns:a16="http://schemas.microsoft.com/office/drawing/2014/main" id="{2B01AC93-92D9-A147-BDC6-27DC8FA8CB34}"/>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1464122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pcitures">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7573FD41-AC43-F04C-8700-DDD5AFA33E14}"/>
              </a:ext>
            </a:extLst>
          </p:cNvPr>
          <p:cNvSpPr>
            <a:spLocks noGrp="1"/>
          </p:cNvSpPr>
          <p:nvPr>
            <p:ph type="pic" sz="quarter" idx="14" hasCustomPrompt="1"/>
          </p:nvPr>
        </p:nvSpPr>
        <p:spPr>
          <a:xfrm>
            <a:off x="491207" y="486000"/>
            <a:ext cx="11483976" cy="9827988"/>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0" name="Picture Placeholder 10">
            <a:extLst>
              <a:ext uri="{FF2B5EF4-FFF2-40B4-BE49-F238E27FC236}">
                <a16:creationId xmlns:a16="http://schemas.microsoft.com/office/drawing/2014/main" id="{250173C0-66DE-2B44-9C5C-228A0DC74671}"/>
              </a:ext>
            </a:extLst>
          </p:cNvPr>
          <p:cNvSpPr>
            <a:spLocks noGrp="1"/>
          </p:cNvSpPr>
          <p:nvPr>
            <p:ph type="pic" sz="quarter" idx="18" hasCustomPrompt="1"/>
          </p:nvPr>
        </p:nvSpPr>
        <p:spPr>
          <a:xfrm>
            <a:off x="12407230" y="486000"/>
            <a:ext cx="11483976" cy="9827988"/>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1" name="Text Placeholder 5">
            <a:extLst>
              <a:ext uri="{FF2B5EF4-FFF2-40B4-BE49-F238E27FC236}">
                <a16:creationId xmlns:a16="http://schemas.microsoft.com/office/drawing/2014/main" id="{32E65FF3-CD8C-8D42-A347-F026094D4707}"/>
              </a:ext>
            </a:extLst>
          </p:cNvPr>
          <p:cNvSpPr>
            <a:spLocks noGrp="1"/>
          </p:cNvSpPr>
          <p:nvPr>
            <p:ph type="body" sz="quarter" idx="33" hasCustomPrompt="1"/>
          </p:nvPr>
        </p:nvSpPr>
        <p:spPr>
          <a:xfrm>
            <a:off x="486322" y="10602416"/>
            <a:ext cx="8679904" cy="1440359"/>
          </a:xfrm>
        </p:spPr>
        <p:txBody>
          <a:bodyPr>
            <a:noAutofit/>
          </a:bodyPr>
          <a:lstStyle>
            <a:lvl1pPr>
              <a:spcBef>
                <a:spcPts val="0"/>
              </a:spcBef>
              <a:defRPr sz="3200"/>
            </a:lvl1pPr>
          </a:lstStyle>
          <a:p>
            <a:pPr lvl="0"/>
            <a:r>
              <a:rPr lang="en-GB" noProof="0"/>
              <a:t>Put the description text here, keep it regular 32 </a:t>
            </a:r>
            <a:r>
              <a:rPr lang="en-GB" noProof="0" err="1"/>
              <a:t>pt</a:t>
            </a:r>
            <a:endParaRPr lang="en-GB" noProof="0"/>
          </a:p>
        </p:txBody>
      </p:sp>
      <p:sp>
        <p:nvSpPr>
          <p:cNvPr id="12" name="Text Placeholder 5">
            <a:extLst>
              <a:ext uri="{FF2B5EF4-FFF2-40B4-BE49-F238E27FC236}">
                <a16:creationId xmlns:a16="http://schemas.microsoft.com/office/drawing/2014/main" id="{7A080EE2-1AD5-5F46-8A70-65AD78446B90}"/>
              </a:ext>
            </a:extLst>
          </p:cNvPr>
          <p:cNvSpPr>
            <a:spLocks noGrp="1"/>
          </p:cNvSpPr>
          <p:nvPr>
            <p:ph type="body" sz="quarter" idx="34" hasCustomPrompt="1"/>
          </p:nvPr>
        </p:nvSpPr>
        <p:spPr>
          <a:xfrm>
            <a:off x="12407231" y="10602416"/>
            <a:ext cx="8928769" cy="1440359"/>
          </a:xfrm>
        </p:spPr>
        <p:txBody>
          <a:bodyPr>
            <a:noAutofit/>
          </a:bodyPr>
          <a:lstStyle>
            <a:lvl1pPr>
              <a:spcBef>
                <a:spcPts val="0"/>
              </a:spcBef>
              <a:defRPr sz="3200"/>
            </a:lvl1pPr>
          </a:lstStyle>
          <a:p>
            <a:pPr lvl="0"/>
            <a:r>
              <a:rPr lang="en-GB" noProof="0"/>
              <a:t>Put the </a:t>
            </a:r>
            <a:r>
              <a:rPr lang="en-GB" noProof="0" err="1"/>
              <a:t>desccription</a:t>
            </a:r>
            <a:r>
              <a:rPr lang="en-GB" noProof="0"/>
              <a:t> text here, keep it regular 32 </a:t>
            </a:r>
            <a:r>
              <a:rPr lang="en-GB" noProof="0" err="1"/>
              <a:t>pt</a:t>
            </a:r>
            <a:endParaRPr lang="en-GB" noProof="0"/>
          </a:p>
        </p:txBody>
      </p:sp>
      <p:sp>
        <p:nvSpPr>
          <p:cNvPr id="13" name="TextBox 12">
            <a:extLst>
              <a:ext uri="{FF2B5EF4-FFF2-40B4-BE49-F238E27FC236}">
                <a16:creationId xmlns:a16="http://schemas.microsoft.com/office/drawing/2014/main" id="{2B01AC93-92D9-A147-BDC6-27DC8FA8CB34}"/>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146412268"/>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Four picture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124A353B-E374-7740-BADE-D936639B642B}"/>
              </a:ext>
            </a:extLst>
          </p:cNvPr>
          <p:cNvSpPr>
            <a:spLocks noGrp="1"/>
          </p:cNvSpPr>
          <p:nvPr>
            <p:ph type="body" sz="half" idx="2" hasCustomPrompt="1"/>
          </p:nvPr>
        </p:nvSpPr>
        <p:spPr>
          <a:xfrm>
            <a:off x="6766970" y="486000"/>
            <a:ext cx="5004056" cy="5939952"/>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3" name="Picture Placeholder 2">
            <a:extLst>
              <a:ext uri="{FF2B5EF4-FFF2-40B4-BE49-F238E27FC236}">
                <a16:creationId xmlns:a16="http://schemas.microsoft.com/office/drawing/2014/main" id="{DEE2AB82-CBD5-1145-9E32-3577A8B871DC}"/>
              </a:ext>
            </a:extLst>
          </p:cNvPr>
          <p:cNvSpPr>
            <a:spLocks noGrp="1"/>
          </p:cNvSpPr>
          <p:nvPr>
            <p:ph type="pic" sz="quarter" idx="19" hasCustomPrompt="1"/>
          </p:nvPr>
        </p:nvSpPr>
        <p:spPr>
          <a:xfrm>
            <a:off x="486000" y="486000"/>
            <a:ext cx="5850000" cy="6372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9" name="Picture Placeholder 2">
            <a:extLst>
              <a:ext uri="{FF2B5EF4-FFF2-40B4-BE49-F238E27FC236}">
                <a16:creationId xmlns:a16="http://schemas.microsoft.com/office/drawing/2014/main" id="{224B314B-F368-C345-A11C-63D267394698}"/>
              </a:ext>
            </a:extLst>
          </p:cNvPr>
          <p:cNvSpPr>
            <a:spLocks noGrp="1"/>
          </p:cNvSpPr>
          <p:nvPr>
            <p:ph type="pic" sz="quarter" idx="20" hasCustomPrompt="1"/>
          </p:nvPr>
        </p:nvSpPr>
        <p:spPr>
          <a:xfrm>
            <a:off x="6351996" y="6858000"/>
            <a:ext cx="5828421" cy="6372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3" name="Picture Placeholder 2">
            <a:extLst>
              <a:ext uri="{FF2B5EF4-FFF2-40B4-BE49-F238E27FC236}">
                <a16:creationId xmlns:a16="http://schemas.microsoft.com/office/drawing/2014/main" id="{0BDAE9D1-09EE-5948-864F-662D2BEFC95D}"/>
              </a:ext>
            </a:extLst>
          </p:cNvPr>
          <p:cNvSpPr>
            <a:spLocks noGrp="1"/>
          </p:cNvSpPr>
          <p:nvPr>
            <p:ph type="pic" sz="quarter" idx="21" hasCustomPrompt="1"/>
          </p:nvPr>
        </p:nvSpPr>
        <p:spPr>
          <a:xfrm>
            <a:off x="12201996" y="486000"/>
            <a:ext cx="5850000" cy="6372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4" name="Picture Placeholder 2">
            <a:extLst>
              <a:ext uri="{FF2B5EF4-FFF2-40B4-BE49-F238E27FC236}">
                <a16:creationId xmlns:a16="http://schemas.microsoft.com/office/drawing/2014/main" id="{5A3CC44A-564E-0843-B5E6-9CA66C87720E}"/>
              </a:ext>
            </a:extLst>
          </p:cNvPr>
          <p:cNvSpPr>
            <a:spLocks noGrp="1"/>
          </p:cNvSpPr>
          <p:nvPr>
            <p:ph type="pic" sz="quarter" idx="22" hasCustomPrompt="1"/>
          </p:nvPr>
        </p:nvSpPr>
        <p:spPr>
          <a:xfrm>
            <a:off x="18073574" y="6858000"/>
            <a:ext cx="5828421" cy="6372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5" name="Text Placeholder 3">
            <a:extLst>
              <a:ext uri="{FF2B5EF4-FFF2-40B4-BE49-F238E27FC236}">
                <a16:creationId xmlns:a16="http://schemas.microsoft.com/office/drawing/2014/main" id="{18BFCA73-5A52-2948-854C-23498017B30C}"/>
              </a:ext>
            </a:extLst>
          </p:cNvPr>
          <p:cNvSpPr>
            <a:spLocks noGrp="1"/>
          </p:cNvSpPr>
          <p:nvPr>
            <p:ph type="body" sz="half" idx="23" hasCustomPrompt="1"/>
          </p:nvPr>
        </p:nvSpPr>
        <p:spPr>
          <a:xfrm>
            <a:off x="908972" y="7286690"/>
            <a:ext cx="5004056" cy="5939952"/>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36" name="Text Placeholder 3">
            <a:extLst>
              <a:ext uri="{FF2B5EF4-FFF2-40B4-BE49-F238E27FC236}">
                <a16:creationId xmlns:a16="http://schemas.microsoft.com/office/drawing/2014/main" id="{26C19E7B-3293-A34C-8019-B66220F68581}"/>
              </a:ext>
            </a:extLst>
          </p:cNvPr>
          <p:cNvSpPr>
            <a:spLocks noGrp="1"/>
          </p:cNvSpPr>
          <p:nvPr>
            <p:ph type="body" sz="half" idx="24" hasCustomPrompt="1"/>
          </p:nvPr>
        </p:nvSpPr>
        <p:spPr>
          <a:xfrm>
            <a:off x="18485756" y="486000"/>
            <a:ext cx="5004056" cy="5939952"/>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37" name="Text Placeholder 3">
            <a:extLst>
              <a:ext uri="{FF2B5EF4-FFF2-40B4-BE49-F238E27FC236}">
                <a16:creationId xmlns:a16="http://schemas.microsoft.com/office/drawing/2014/main" id="{71E04723-43C9-E249-B03C-FDED0C006F77}"/>
              </a:ext>
            </a:extLst>
          </p:cNvPr>
          <p:cNvSpPr>
            <a:spLocks noGrp="1"/>
          </p:cNvSpPr>
          <p:nvPr>
            <p:ph type="body" sz="half" idx="25" hasCustomPrompt="1"/>
          </p:nvPr>
        </p:nvSpPr>
        <p:spPr>
          <a:xfrm>
            <a:off x="12624968" y="7286690"/>
            <a:ext cx="5004056" cy="5939952"/>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11" name="TextBox 10">
            <a:extLst>
              <a:ext uri="{FF2B5EF4-FFF2-40B4-BE49-F238E27FC236}">
                <a16:creationId xmlns:a16="http://schemas.microsoft.com/office/drawing/2014/main" id="{5D4B7E75-FBA5-1D4B-BA9C-11BD2FE3C7B0}"/>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497632957"/>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Eight pictures">
    <p:spTree>
      <p:nvGrpSpPr>
        <p:cNvPr id="1" name=""/>
        <p:cNvGrpSpPr/>
        <p:nvPr/>
      </p:nvGrpSpPr>
      <p:grpSpPr>
        <a:xfrm>
          <a:off x="0" y="0"/>
          <a:ext cx="0" cy="0"/>
          <a:chOff x="0" y="0"/>
          <a:chExt cx="0" cy="0"/>
        </a:xfrm>
      </p:grpSpPr>
      <p:sp>
        <p:nvSpPr>
          <p:cNvPr id="13" name="Picture Placeholder 2">
            <a:extLst>
              <a:ext uri="{FF2B5EF4-FFF2-40B4-BE49-F238E27FC236}">
                <a16:creationId xmlns:a16="http://schemas.microsoft.com/office/drawing/2014/main" id="{D1148F2D-229C-E245-B364-AD926A8E5678}"/>
              </a:ext>
            </a:extLst>
          </p:cNvPr>
          <p:cNvSpPr>
            <a:spLocks noGrp="1"/>
          </p:cNvSpPr>
          <p:nvPr>
            <p:ph type="pic" sz="quarter" idx="19" hasCustomPrompt="1"/>
          </p:nvPr>
        </p:nvSpPr>
        <p:spPr>
          <a:xfrm>
            <a:off x="486000" y="486000"/>
            <a:ext cx="5584600"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4" name="Text Placeholder 3">
            <a:extLst>
              <a:ext uri="{FF2B5EF4-FFF2-40B4-BE49-F238E27FC236}">
                <a16:creationId xmlns:a16="http://schemas.microsoft.com/office/drawing/2014/main" id="{EF6C2542-122E-CD4A-95A0-0315258EEA53}"/>
              </a:ext>
            </a:extLst>
          </p:cNvPr>
          <p:cNvSpPr>
            <a:spLocks noGrp="1"/>
          </p:cNvSpPr>
          <p:nvPr>
            <p:ph type="body" sz="half" idx="23" hasCustomPrompt="1"/>
          </p:nvPr>
        </p:nvSpPr>
        <p:spPr>
          <a:xfrm>
            <a:off x="513286" y="3888024"/>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15" name="Picture Placeholder 2">
            <a:extLst>
              <a:ext uri="{FF2B5EF4-FFF2-40B4-BE49-F238E27FC236}">
                <a16:creationId xmlns:a16="http://schemas.microsoft.com/office/drawing/2014/main" id="{EBB6C642-10AD-6A47-8744-E825A5EEEA34}"/>
              </a:ext>
            </a:extLst>
          </p:cNvPr>
          <p:cNvSpPr>
            <a:spLocks noGrp="1"/>
          </p:cNvSpPr>
          <p:nvPr>
            <p:ph type="pic" sz="quarter" idx="24" hasCustomPrompt="1"/>
          </p:nvPr>
        </p:nvSpPr>
        <p:spPr>
          <a:xfrm>
            <a:off x="6430566" y="486000"/>
            <a:ext cx="5584600"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6" name="Picture Placeholder 2">
            <a:extLst>
              <a:ext uri="{FF2B5EF4-FFF2-40B4-BE49-F238E27FC236}">
                <a16:creationId xmlns:a16="http://schemas.microsoft.com/office/drawing/2014/main" id="{B2B7FCEF-39D8-6D47-A0D2-218CCB2588EF}"/>
              </a:ext>
            </a:extLst>
          </p:cNvPr>
          <p:cNvSpPr>
            <a:spLocks noGrp="1"/>
          </p:cNvSpPr>
          <p:nvPr>
            <p:ph type="pic" sz="quarter" idx="25" hasCustomPrompt="1"/>
          </p:nvPr>
        </p:nvSpPr>
        <p:spPr>
          <a:xfrm>
            <a:off x="12367246" y="486000"/>
            <a:ext cx="5584600"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7" name="Picture Placeholder 2">
            <a:extLst>
              <a:ext uri="{FF2B5EF4-FFF2-40B4-BE49-F238E27FC236}">
                <a16:creationId xmlns:a16="http://schemas.microsoft.com/office/drawing/2014/main" id="{D227A8B8-BE42-0845-B6D6-A1A356E29BFC}"/>
              </a:ext>
            </a:extLst>
          </p:cNvPr>
          <p:cNvSpPr>
            <a:spLocks noGrp="1"/>
          </p:cNvSpPr>
          <p:nvPr>
            <p:ph type="pic" sz="quarter" idx="22" hasCustomPrompt="1"/>
          </p:nvPr>
        </p:nvSpPr>
        <p:spPr>
          <a:xfrm>
            <a:off x="18317394" y="461344"/>
            <a:ext cx="5584601"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8" name="Text Placeholder 3">
            <a:extLst>
              <a:ext uri="{FF2B5EF4-FFF2-40B4-BE49-F238E27FC236}">
                <a16:creationId xmlns:a16="http://schemas.microsoft.com/office/drawing/2014/main" id="{8BC99C37-5961-7A49-BB6C-EF345DB054E6}"/>
              </a:ext>
            </a:extLst>
          </p:cNvPr>
          <p:cNvSpPr>
            <a:spLocks noGrp="1"/>
          </p:cNvSpPr>
          <p:nvPr>
            <p:ph type="body" sz="half" idx="26" hasCustomPrompt="1"/>
          </p:nvPr>
        </p:nvSpPr>
        <p:spPr>
          <a:xfrm>
            <a:off x="6430566" y="3888024"/>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19" name="Text Placeholder 3">
            <a:extLst>
              <a:ext uri="{FF2B5EF4-FFF2-40B4-BE49-F238E27FC236}">
                <a16:creationId xmlns:a16="http://schemas.microsoft.com/office/drawing/2014/main" id="{EA510DE5-BF9D-6347-AB9C-33A7759FF1D4}"/>
              </a:ext>
            </a:extLst>
          </p:cNvPr>
          <p:cNvSpPr>
            <a:spLocks noGrp="1"/>
          </p:cNvSpPr>
          <p:nvPr>
            <p:ph type="body" sz="half" idx="27" hasCustomPrompt="1"/>
          </p:nvPr>
        </p:nvSpPr>
        <p:spPr>
          <a:xfrm>
            <a:off x="12347846" y="3888024"/>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24" name="Text Placeholder 3">
            <a:extLst>
              <a:ext uri="{FF2B5EF4-FFF2-40B4-BE49-F238E27FC236}">
                <a16:creationId xmlns:a16="http://schemas.microsoft.com/office/drawing/2014/main" id="{A33793B0-DBB7-ED4A-8B92-AE77D9B42399}"/>
              </a:ext>
            </a:extLst>
          </p:cNvPr>
          <p:cNvSpPr>
            <a:spLocks noGrp="1"/>
          </p:cNvSpPr>
          <p:nvPr>
            <p:ph type="body" sz="half" idx="28" hasCustomPrompt="1"/>
          </p:nvPr>
        </p:nvSpPr>
        <p:spPr>
          <a:xfrm>
            <a:off x="18344681" y="3888024"/>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27" name="Picture Placeholder 2">
            <a:extLst>
              <a:ext uri="{FF2B5EF4-FFF2-40B4-BE49-F238E27FC236}">
                <a16:creationId xmlns:a16="http://schemas.microsoft.com/office/drawing/2014/main" id="{37D70117-C030-944C-BBCC-0D4544F2D82B}"/>
              </a:ext>
            </a:extLst>
          </p:cNvPr>
          <p:cNvSpPr>
            <a:spLocks noGrp="1"/>
          </p:cNvSpPr>
          <p:nvPr>
            <p:ph type="pic" sz="quarter" idx="29" hasCustomPrompt="1"/>
          </p:nvPr>
        </p:nvSpPr>
        <p:spPr>
          <a:xfrm>
            <a:off x="486000" y="6885323"/>
            <a:ext cx="5584600"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8" name="Text Placeholder 3">
            <a:extLst>
              <a:ext uri="{FF2B5EF4-FFF2-40B4-BE49-F238E27FC236}">
                <a16:creationId xmlns:a16="http://schemas.microsoft.com/office/drawing/2014/main" id="{5568282C-2BAE-0F42-AC35-AC2003AF14A7}"/>
              </a:ext>
            </a:extLst>
          </p:cNvPr>
          <p:cNvSpPr>
            <a:spLocks noGrp="1"/>
          </p:cNvSpPr>
          <p:nvPr>
            <p:ph type="body" sz="half" idx="30" hasCustomPrompt="1"/>
          </p:nvPr>
        </p:nvSpPr>
        <p:spPr>
          <a:xfrm>
            <a:off x="513286" y="10287347"/>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29" name="Picture Placeholder 2">
            <a:extLst>
              <a:ext uri="{FF2B5EF4-FFF2-40B4-BE49-F238E27FC236}">
                <a16:creationId xmlns:a16="http://schemas.microsoft.com/office/drawing/2014/main" id="{37CDDD74-2C1A-CC4F-BC4A-348492B730E7}"/>
              </a:ext>
            </a:extLst>
          </p:cNvPr>
          <p:cNvSpPr>
            <a:spLocks noGrp="1"/>
          </p:cNvSpPr>
          <p:nvPr>
            <p:ph type="pic" sz="quarter" idx="31" hasCustomPrompt="1"/>
          </p:nvPr>
        </p:nvSpPr>
        <p:spPr>
          <a:xfrm>
            <a:off x="6430566" y="6885323"/>
            <a:ext cx="5584600"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0" name="Picture Placeholder 2">
            <a:extLst>
              <a:ext uri="{FF2B5EF4-FFF2-40B4-BE49-F238E27FC236}">
                <a16:creationId xmlns:a16="http://schemas.microsoft.com/office/drawing/2014/main" id="{F877013E-58D2-1048-9A44-45952400B3C6}"/>
              </a:ext>
            </a:extLst>
          </p:cNvPr>
          <p:cNvSpPr>
            <a:spLocks noGrp="1"/>
          </p:cNvSpPr>
          <p:nvPr>
            <p:ph type="pic" sz="quarter" idx="32" hasCustomPrompt="1"/>
          </p:nvPr>
        </p:nvSpPr>
        <p:spPr>
          <a:xfrm>
            <a:off x="12367246" y="6885323"/>
            <a:ext cx="5584600"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1" name="Picture Placeholder 2">
            <a:extLst>
              <a:ext uri="{FF2B5EF4-FFF2-40B4-BE49-F238E27FC236}">
                <a16:creationId xmlns:a16="http://schemas.microsoft.com/office/drawing/2014/main" id="{E8D329DB-9A89-5049-B680-BC0FE4373220}"/>
              </a:ext>
            </a:extLst>
          </p:cNvPr>
          <p:cNvSpPr>
            <a:spLocks noGrp="1"/>
          </p:cNvSpPr>
          <p:nvPr>
            <p:ph type="pic" sz="quarter" idx="33" hasCustomPrompt="1"/>
          </p:nvPr>
        </p:nvSpPr>
        <p:spPr>
          <a:xfrm>
            <a:off x="18317394" y="6860667"/>
            <a:ext cx="5584601"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2" name="Text Placeholder 3">
            <a:extLst>
              <a:ext uri="{FF2B5EF4-FFF2-40B4-BE49-F238E27FC236}">
                <a16:creationId xmlns:a16="http://schemas.microsoft.com/office/drawing/2014/main" id="{DCCD54B1-4EFD-D84A-AB50-B7F0F8E84372}"/>
              </a:ext>
            </a:extLst>
          </p:cNvPr>
          <p:cNvSpPr>
            <a:spLocks noGrp="1"/>
          </p:cNvSpPr>
          <p:nvPr>
            <p:ph type="body" sz="half" idx="34" hasCustomPrompt="1"/>
          </p:nvPr>
        </p:nvSpPr>
        <p:spPr>
          <a:xfrm>
            <a:off x="6430566" y="10287347"/>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33" name="Text Placeholder 3">
            <a:extLst>
              <a:ext uri="{FF2B5EF4-FFF2-40B4-BE49-F238E27FC236}">
                <a16:creationId xmlns:a16="http://schemas.microsoft.com/office/drawing/2014/main" id="{EA8F0C11-5CFB-B74A-9620-D6344A6CE488}"/>
              </a:ext>
            </a:extLst>
          </p:cNvPr>
          <p:cNvSpPr>
            <a:spLocks noGrp="1"/>
          </p:cNvSpPr>
          <p:nvPr>
            <p:ph type="body" sz="half" idx="35" hasCustomPrompt="1"/>
          </p:nvPr>
        </p:nvSpPr>
        <p:spPr>
          <a:xfrm>
            <a:off x="12347846" y="10287347"/>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34" name="Text Placeholder 3">
            <a:extLst>
              <a:ext uri="{FF2B5EF4-FFF2-40B4-BE49-F238E27FC236}">
                <a16:creationId xmlns:a16="http://schemas.microsoft.com/office/drawing/2014/main" id="{49DC448D-7351-DA40-9CEB-36EEBA5F7C1B}"/>
              </a:ext>
            </a:extLst>
          </p:cNvPr>
          <p:cNvSpPr>
            <a:spLocks noGrp="1"/>
          </p:cNvSpPr>
          <p:nvPr>
            <p:ph type="body" sz="half" idx="36" hasCustomPrompt="1"/>
          </p:nvPr>
        </p:nvSpPr>
        <p:spPr>
          <a:xfrm>
            <a:off x="18344681" y="10287347"/>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20" name="TextBox 19">
            <a:extLst>
              <a:ext uri="{FF2B5EF4-FFF2-40B4-BE49-F238E27FC236}">
                <a16:creationId xmlns:a16="http://schemas.microsoft.com/office/drawing/2014/main" id="{13CC2D47-81A3-FF42-97E8-18400B5ECD17}"/>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929673569"/>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efore/aft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413F907-AE77-0746-B805-0D2E5F01B01D}"/>
              </a:ext>
            </a:extLst>
          </p:cNvPr>
          <p:cNvSpPr>
            <a:spLocks noGrp="1"/>
          </p:cNvSpPr>
          <p:nvPr>
            <p:ph type="pic" sz="quarter" idx="17" hasCustomPrompt="1"/>
          </p:nvPr>
        </p:nvSpPr>
        <p:spPr>
          <a:xfrm>
            <a:off x="3046413" y="4124207"/>
            <a:ext cx="7417707" cy="4462581"/>
          </a:xfrm>
          <a:solidFill>
            <a:srgbClr val="E4E5E3"/>
          </a:solidFill>
        </p:spPr>
        <p:txBody>
          <a:bodyPr>
            <a:normAutofit/>
          </a:bodyPr>
          <a:lstStyle>
            <a:lvl1pPr marL="0" indent="0" algn="ctr">
              <a:buNone/>
              <a:defRPr sz="2400">
                <a:solidFill>
                  <a:schemeClr val="tx1">
                    <a:lumMod val="65000"/>
                    <a:lumOff val="35000"/>
                  </a:schemeClr>
                </a:solidFill>
              </a:defRPr>
            </a:lvl1pPr>
          </a:lstStyle>
          <a:p>
            <a:r>
              <a:rPr lang="en-NL"/>
              <a:t>Drag and drop a topic-related picture into this frame</a:t>
            </a:r>
          </a:p>
        </p:txBody>
      </p:sp>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13984331" y="4124207"/>
            <a:ext cx="7351669" cy="4462581"/>
          </a:xfrm>
          <a:solidFill>
            <a:srgbClr val="E4E5E3"/>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6" name="Text Placeholder 5">
            <a:extLst>
              <a:ext uri="{FF2B5EF4-FFF2-40B4-BE49-F238E27FC236}">
                <a16:creationId xmlns:a16="http://schemas.microsoft.com/office/drawing/2014/main" id="{8B805C66-9B81-6F4A-8653-8751DC71F3C3}"/>
              </a:ext>
            </a:extLst>
          </p:cNvPr>
          <p:cNvSpPr>
            <a:spLocks noGrp="1"/>
          </p:cNvSpPr>
          <p:nvPr>
            <p:ph type="body" sz="quarter" idx="12" hasCustomPrompt="1"/>
          </p:nvPr>
        </p:nvSpPr>
        <p:spPr>
          <a:xfrm>
            <a:off x="3046413" y="9038943"/>
            <a:ext cx="7417707" cy="3003831"/>
          </a:xfrm>
        </p:spPr>
        <p:txBody>
          <a:bodyPr>
            <a:noAutofit/>
          </a:bodyPr>
          <a:lstStyle>
            <a:lvl1pPr>
              <a:spcBef>
                <a:spcPts val="0"/>
              </a:spcBef>
              <a:defRPr sz="3200"/>
            </a:lvl1pPr>
          </a:lstStyle>
          <a:p>
            <a:pPr lvl="0"/>
            <a:r>
              <a:rPr lang="en-GB" noProof="0"/>
              <a:t>Put the paragraph text here, keep it regular 32 </a:t>
            </a:r>
            <a:r>
              <a:rPr lang="en-GB" noProof="0" err="1"/>
              <a:t>pt</a:t>
            </a:r>
            <a:endParaRPr lang="en-GB" noProof="0"/>
          </a:p>
        </p:txBody>
      </p:sp>
      <p:sp>
        <p:nvSpPr>
          <p:cNvPr id="17" name="Text Placeholder 5">
            <a:extLst>
              <a:ext uri="{FF2B5EF4-FFF2-40B4-BE49-F238E27FC236}">
                <a16:creationId xmlns:a16="http://schemas.microsoft.com/office/drawing/2014/main" id="{FA6FB3B4-ED87-C644-AEAC-F1AF465F1548}"/>
              </a:ext>
            </a:extLst>
          </p:cNvPr>
          <p:cNvSpPr>
            <a:spLocks noGrp="1"/>
          </p:cNvSpPr>
          <p:nvPr>
            <p:ph type="body" sz="quarter" idx="22" hasCustomPrompt="1"/>
          </p:nvPr>
        </p:nvSpPr>
        <p:spPr>
          <a:xfrm>
            <a:off x="13993172" y="9038944"/>
            <a:ext cx="7342828" cy="3003830"/>
          </a:xfrm>
        </p:spPr>
        <p:txBody>
          <a:bodyPr>
            <a:noAutofit/>
          </a:bodyPr>
          <a:lstStyle>
            <a:lvl1pPr>
              <a:spcBef>
                <a:spcPts val="0"/>
              </a:spcBef>
              <a:defRPr sz="3200"/>
            </a:lvl1pPr>
          </a:lstStyle>
          <a:p>
            <a:pPr lvl="0"/>
            <a:r>
              <a:rPr lang="en-GB" noProof="0"/>
              <a:t>Put the paragraph text here, keep it regular 32 </a:t>
            </a:r>
            <a:r>
              <a:rPr lang="en-GB" noProof="0" err="1"/>
              <a:t>pt</a:t>
            </a:r>
            <a:endParaRPr lang="en-GB" noProof="0"/>
          </a:p>
        </p:txBody>
      </p:sp>
      <p:pic>
        <p:nvPicPr>
          <p:cNvPr id="6" name="Graphic 5">
            <a:extLst>
              <a:ext uri="{FF2B5EF4-FFF2-40B4-BE49-F238E27FC236}">
                <a16:creationId xmlns:a16="http://schemas.microsoft.com/office/drawing/2014/main" id="{326B79F7-6D85-D543-AFB0-64FD75BF7EB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31206" y="5056159"/>
            <a:ext cx="2520000" cy="2520000"/>
          </a:xfrm>
          <a:prstGeom prst="rect">
            <a:avLst/>
          </a:prstGeom>
        </p:spPr>
      </p:pic>
      <p:sp>
        <p:nvSpPr>
          <p:cNvPr id="10" name="Title 3">
            <a:extLst>
              <a:ext uri="{FF2B5EF4-FFF2-40B4-BE49-F238E27FC236}">
                <a16:creationId xmlns:a16="http://schemas.microsoft.com/office/drawing/2014/main" id="{F1E86907-9BCD-794E-BD6D-4F29BDCAC4DD}"/>
              </a:ext>
            </a:extLst>
          </p:cNvPr>
          <p:cNvSpPr>
            <a:spLocks noGrp="1"/>
          </p:cNvSpPr>
          <p:nvPr>
            <p:ph type="title" hasCustomPrompt="1"/>
          </p:nvPr>
        </p:nvSpPr>
        <p:spPr>
          <a:xfrm>
            <a:off x="1676293" y="1677600"/>
            <a:ext cx="21033007" cy="2446607"/>
          </a:xfrm>
        </p:spPr>
        <p:txBody>
          <a:bodyPr/>
          <a:lstStyle>
            <a:lvl1pPr>
              <a:defRPr sz="6000" spc="0" baseline="0"/>
            </a:lvl1pPr>
          </a:lstStyle>
          <a:p>
            <a:r>
              <a:rPr lang="en-GB"/>
              <a:t>Put a short headline here, keep it bold 60 </a:t>
            </a:r>
            <a:r>
              <a:rPr lang="en-GB" err="1"/>
              <a:t>pt</a:t>
            </a:r>
            <a:endParaRPr lang="en-NL"/>
          </a:p>
        </p:txBody>
      </p:sp>
      <p:sp>
        <p:nvSpPr>
          <p:cNvPr id="4" name="Footer Placeholder 3">
            <a:extLst>
              <a:ext uri="{FF2B5EF4-FFF2-40B4-BE49-F238E27FC236}">
                <a16:creationId xmlns:a16="http://schemas.microsoft.com/office/drawing/2014/main" id="{98B6467D-F33B-A84D-B882-5C4860E480A0}"/>
              </a:ext>
            </a:extLst>
          </p:cNvPr>
          <p:cNvSpPr>
            <a:spLocks noGrp="1"/>
          </p:cNvSpPr>
          <p:nvPr>
            <p:ph type="ftr" sz="quarter" idx="23"/>
          </p:nvPr>
        </p:nvSpPr>
        <p:spPr/>
        <p:txBody>
          <a:bodyPr/>
          <a:lstStyle/>
          <a:p>
            <a:endParaRPr lang="en-NL"/>
          </a:p>
        </p:txBody>
      </p:sp>
      <p:sp>
        <p:nvSpPr>
          <p:cNvPr id="13" name="TextBox 12">
            <a:extLst>
              <a:ext uri="{FF2B5EF4-FFF2-40B4-BE49-F238E27FC236}">
                <a16:creationId xmlns:a16="http://schemas.microsoft.com/office/drawing/2014/main" id="{698B3729-CC41-244D-B453-5B310C875397}"/>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436763781"/>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From/to">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982E2EA-1137-0846-98DC-3E6332C29A67}"/>
              </a:ext>
            </a:extLst>
          </p:cNvPr>
          <p:cNvSpPr>
            <a:spLocks noGrp="1"/>
          </p:cNvSpPr>
          <p:nvPr>
            <p:ph type="body" sz="quarter" idx="10" hasCustomPrompt="1"/>
          </p:nvPr>
        </p:nvSpPr>
        <p:spPr>
          <a:xfrm>
            <a:off x="2686772" y="51298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5" name="Text Placeholder 5">
            <a:extLst>
              <a:ext uri="{FF2B5EF4-FFF2-40B4-BE49-F238E27FC236}">
                <a16:creationId xmlns:a16="http://schemas.microsoft.com/office/drawing/2014/main" id="{BB2544E0-599A-0E4D-B7C9-0338205DD470}"/>
              </a:ext>
            </a:extLst>
          </p:cNvPr>
          <p:cNvSpPr>
            <a:spLocks noGrp="1"/>
          </p:cNvSpPr>
          <p:nvPr>
            <p:ph type="body" sz="quarter" idx="20" hasCustomPrompt="1"/>
          </p:nvPr>
        </p:nvSpPr>
        <p:spPr>
          <a:xfrm>
            <a:off x="13902138" y="51298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6" name="Text Placeholder 5">
            <a:extLst>
              <a:ext uri="{FF2B5EF4-FFF2-40B4-BE49-F238E27FC236}">
                <a16:creationId xmlns:a16="http://schemas.microsoft.com/office/drawing/2014/main" id="{7CD185CC-288C-914E-B039-9E34B6521AAE}"/>
              </a:ext>
            </a:extLst>
          </p:cNvPr>
          <p:cNvSpPr>
            <a:spLocks noGrp="1"/>
          </p:cNvSpPr>
          <p:nvPr>
            <p:ph type="body" sz="quarter" idx="21" hasCustomPrompt="1"/>
          </p:nvPr>
        </p:nvSpPr>
        <p:spPr>
          <a:xfrm>
            <a:off x="2686772" y="686645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7" name="Text Placeholder 5">
            <a:extLst>
              <a:ext uri="{FF2B5EF4-FFF2-40B4-BE49-F238E27FC236}">
                <a16:creationId xmlns:a16="http://schemas.microsoft.com/office/drawing/2014/main" id="{734DFA83-0489-374D-984E-D148AF15FB19}"/>
              </a:ext>
            </a:extLst>
          </p:cNvPr>
          <p:cNvSpPr>
            <a:spLocks noGrp="1"/>
          </p:cNvSpPr>
          <p:nvPr>
            <p:ph type="body" sz="quarter" idx="22" hasCustomPrompt="1"/>
          </p:nvPr>
        </p:nvSpPr>
        <p:spPr>
          <a:xfrm>
            <a:off x="13902138" y="686645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8" name="Text Placeholder 5">
            <a:extLst>
              <a:ext uri="{FF2B5EF4-FFF2-40B4-BE49-F238E27FC236}">
                <a16:creationId xmlns:a16="http://schemas.microsoft.com/office/drawing/2014/main" id="{40A584AF-EFDF-6C45-8450-E6896AA5447E}"/>
              </a:ext>
            </a:extLst>
          </p:cNvPr>
          <p:cNvSpPr>
            <a:spLocks noGrp="1"/>
          </p:cNvSpPr>
          <p:nvPr>
            <p:ph type="body" sz="quarter" idx="23" hasCustomPrompt="1"/>
          </p:nvPr>
        </p:nvSpPr>
        <p:spPr>
          <a:xfrm>
            <a:off x="2686772" y="86031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9" name="Text Placeholder 5">
            <a:extLst>
              <a:ext uri="{FF2B5EF4-FFF2-40B4-BE49-F238E27FC236}">
                <a16:creationId xmlns:a16="http://schemas.microsoft.com/office/drawing/2014/main" id="{B8ADD201-5C22-9240-930B-C39DCFAEA838}"/>
              </a:ext>
            </a:extLst>
          </p:cNvPr>
          <p:cNvSpPr>
            <a:spLocks noGrp="1"/>
          </p:cNvSpPr>
          <p:nvPr>
            <p:ph type="body" sz="quarter" idx="24" hasCustomPrompt="1"/>
          </p:nvPr>
        </p:nvSpPr>
        <p:spPr>
          <a:xfrm>
            <a:off x="13902138" y="86031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20" name="Text Placeholder 5">
            <a:extLst>
              <a:ext uri="{FF2B5EF4-FFF2-40B4-BE49-F238E27FC236}">
                <a16:creationId xmlns:a16="http://schemas.microsoft.com/office/drawing/2014/main" id="{21AA854F-49C8-0740-875D-2A28B04B66F6}"/>
              </a:ext>
            </a:extLst>
          </p:cNvPr>
          <p:cNvSpPr>
            <a:spLocks noGrp="1"/>
          </p:cNvSpPr>
          <p:nvPr>
            <p:ph type="body" sz="quarter" idx="25" hasCustomPrompt="1"/>
          </p:nvPr>
        </p:nvSpPr>
        <p:spPr>
          <a:xfrm>
            <a:off x="2686772" y="10339760"/>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21" name="Text Placeholder 5">
            <a:extLst>
              <a:ext uri="{FF2B5EF4-FFF2-40B4-BE49-F238E27FC236}">
                <a16:creationId xmlns:a16="http://schemas.microsoft.com/office/drawing/2014/main" id="{8FE94F80-1B2D-0E45-8D2E-B57A96EFF5BA}"/>
              </a:ext>
            </a:extLst>
          </p:cNvPr>
          <p:cNvSpPr>
            <a:spLocks noGrp="1"/>
          </p:cNvSpPr>
          <p:nvPr>
            <p:ph type="body" sz="quarter" idx="26" hasCustomPrompt="1"/>
          </p:nvPr>
        </p:nvSpPr>
        <p:spPr>
          <a:xfrm>
            <a:off x="13902138" y="10339760"/>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pic>
        <p:nvPicPr>
          <p:cNvPr id="24" name="Graphic 23">
            <a:extLst>
              <a:ext uri="{FF2B5EF4-FFF2-40B4-BE49-F238E27FC236}">
                <a16:creationId xmlns:a16="http://schemas.microsoft.com/office/drawing/2014/main" id="{C665CCDB-76D3-9C47-BA6F-98DC8DE39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31206" y="7079462"/>
            <a:ext cx="2520000" cy="2520000"/>
          </a:xfrm>
          <a:prstGeom prst="rect">
            <a:avLst/>
          </a:prstGeom>
        </p:spPr>
      </p:pic>
      <p:sp>
        <p:nvSpPr>
          <p:cNvPr id="22" name="Title 3">
            <a:extLst>
              <a:ext uri="{FF2B5EF4-FFF2-40B4-BE49-F238E27FC236}">
                <a16:creationId xmlns:a16="http://schemas.microsoft.com/office/drawing/2014/main" id="{12B27A15-0B5F-6D42-A903-9B52ABFB9D46}"/>
              </a:ext>
            </a:extLst>
          </p:cNvPr>
          <p:cNvSpPr>
            <a:spLocks noGrp="1"/>
          </p:cNvSpPr>
          <p:nvPr>
            <p:ph type="title" hasCustomPrompt="1"/>
          </p:nvPr>
        </p:nvSpPr>
        <p:spPr>
          <a:xfrm>
            <a:off x="1676293" y="1677600"/>
            <a:ext cx="21033007" cy="2446607"/>
          </a:xfrm>
        </p:spPr>
        <p:txBody>
          <a:bodyPr/>
          <a:lstStyle>
            <a:lvl1pPr>
              <a:defRPr sz="6000" spc="0" baseline="0"/>
            </a:lvl1pPr>
          </a:lstStyle>
          <a:p>
            <a:r>
              <a:rPr lang="en-GB"/>
              <a:t>Put a short headline here, keep it bold 60 </a:t>
            </a:r>
            <a:r>
              <a:rPr lang="en-GB" err="1"/>
              <a:t>pt</a:t>
            </a:r>
            <a:endParaRPr lang="en-NL"/>
          </a:p>
        </p:txBody>
      </p:sp>
      <p:sp>
        <p:nvSpPr>
          <p:cNvPr id="5" name="Footer Placeholder 4">
            <a:extLst>
              <a:ext uri="{FF2B5EF4-FFF2-40B4-BE49-F238E27FC236}">
                <a16:creationId xmlns:a16="http://schemas.microsoft.com/office/drawing/2014/main" id="{6C67929C-C3EA-9A47-BD51-95B00CE1AD28}"/>
              </a:ext>
            </a:extLst>
          </p:cNvPr>
          <p:cNvSpPr>
            <a:spLocks noGrp="1"/>
          </p:cNvSpPr>
          <p:nvPr>
            <p:ph type="ftr" sz="quarter" idx="27"/>
          </p:nvPr>
        </p:nvSpPr>
        <p:spPr/>
        <p:txBody>
          <a:bodyPr/>
          <a:lstStyle/>
          <a:p>
            <a:endParaRPr lang="en-NL"/>
          </a:p>
        </p:txBody>
      </p:sp>
      <p:sp>
        <p:nvSpPr>
          <p:cNvPr id="23" name="TextBox 22">
            <a:extLst>
              <a:ext uri="{FF2B5EF4-FFF2-40B4-BE49-F238E27FC236}">
                <a16:creationId xmlns:a16="http://schemas.microsoft.com/office/drawing/2014/main" id="{9FDFBDEE-F22D-2B4B-A965-6CEC71F0E51D}"/>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151341187"/>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Final slide">
    <p:bg>
      <p:bgPr>
        <a:solidFill>
          <a:schemeClr val="bg1"/>
        </a:solidFill>
        <a:effectLst/>
      </p:bgPr>
    </p:bg>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ECC773ED-664B-824F-91D1-6C08CFB17BDA}"/>
              </a:ext>
            </a:extLst>
          </p:cNvPr>
          <p:cNvSpPr>
            <a:spLocks noGrp="1"/>
          </p:cNvSpPr>
          <p:nvPr>
            <p:ph type="body" sz="quarter" idx="13" hasCustomPrompt="1"/>
          </p:nvPr>
        </p:nvSpPr>
        <p:spPr>
          <a:xfrm>
            <a:off x="1700166" y="7650089"/>
            <a:ext cx="10490247" cy="4384884"/>
          </a:xfrm>
        </p:spPr>
        <p:txBody>
          <a:bodyPr/>
          <a:lstStyle>
            <a:lvl1pPr>
              <a:spcBef>
                <a:spcPts val="0"/>
              </a:spcBef>
              <a:defRPr sz="3200" b="0"/>
            </a:lvl1pPr>
          </a:lstStyle>
          <a:p>
            <a:pPr lvl="0"/>
            <a:r>
              <a:rPr lang="en-GB" noProof="0"/>
              <a:t>Contact details, keep it regular 32 </a:t>
            </a:r>
            <a:r>
              <a:rPr lang="en-GB" noProof="0" err="1"/>
              <a:t>pt</a:t>
            </a:r>
            <a:endParaRPr lang="en-GB" noProof="0"/>
          </a:p>
        </p:txBody>
      </p:sp>
      <p:sp>
        <p:nvSpPr>
          <p:cNvPr id="3" name="Title 2">
            <a:extLst>
              <a:ext uri="{FF2B5EF4-FFF2-40B4-BE49-F238E27FC236}">
                <a16:creationId xmlns:a16="http://schemas.microsoft.com/office/drawing/2014/main" id="{7735138D-D591-9C4B-A824-FB43143DAED7}"/>
              </a:ext>
            </a:extLst>
          </p:cNvPr>
          <p:cNvSpPr>
            <a:spLocks noGrp="1"/>
          </p:cNvSpPr>
          <p:nvPr>
            <p:ph type="title" hasCustomPrompt="1"/>
          </p:nvPr>
        </p:nvSpPr>
        <p:spPr/>
        <p:txBody>
          <a:bodyPr/>
          <a:lstStyle/>
          <a:p>
            <a:r>
              <a:rPr lang="en-GB"/>
              <a:t>Thank you</a:t>
            </a:r>
            <a:endParaRPr lang="en-NL"/>
          </a:p>
        </p:txBody>
      </p:sp>
      <p:sp>
        <p:nvSpPr>
          <p:cNvPr id="8" name="Text Placeholder 6">
            <a:extLst>
              <a:ext uri="{FF2B5EF4-FFF2-40B4-BE49-F238E27FC236}">
                <a16:creationId xmlns:a16="http://schemas.microsoft.com/office/drawing/2014/main" id="{43362774-1C74-3547-A14B-E456BF8AB04B}"/>
              </a:ext>
            </a:extLst>
          </p:cNvPr>
          <p:cNvSpPr>
            <a:spLocks noGrp="1"/>
          </p:cNvSpPr>
          <p:nvPr>
            <p:ph type="body" sz="quarter" idx="16" hasCustomPrompt="1"/>
          </p:nvPr>
        </p:nvSpPr>
        <p:spPr>
          <a:xfrm>
            <a:off x="1700166" y="6858001"/>
            <a:ext cx="10490247" cy="792088"/>
          </a:xfrm>
        </p:spPr>
        <p:txBody>
          <a:bodyPr/>
          <a:lstStyle>
            <a:lvl1pPr>
              <a:spcBef>
                <a:spcPts val="0"/>
              </a:spcBef>
              <a:defRPr sz="3200" b="1"/>
            </a:lvl1pPr>
          </a:lstStyle>
          <a:p>
            <a:pPr lvl="0"/>
            <a:r>
              <a:rPr lang="en-GB" noProof="0"/>
              <a:t>Contact person’s full name, keep it bold 32 </a:t>
            </a:r>
            <a:r>
              <a:rPr lang="en-GB" noProof="0" err="1"/>
              <a:t>pt</a:t>
            </a:r>
            <a:endParaRPr lang="en-GB" noProof="0"/>
          </a:p>
        </p:txBody>
      </p:sp>
      <p:sp>
        <p:nvSpPr>
          <p:cNvPr id="5" name="Footer Placeholder 4">
            <a:extLst>
              <a:ext uri="{FF2B5EF4-FFF2-40B4-BE49-F238E27FC236}">
                <a16:creationId xmlns:a16="http://schemas.microsoft.com/office/drawing/2014/main" id="{5B8ABD2B-5975-3E47-B565-B6138DEA4BF2}"/>
              </a:ext>
            </a:extLst>
          </p:cNvPr>
          <p:cNvSpPr>
            <a:spLocks noGrp="1"/>
          </p:cNvSpPr>
          <p:nvPr>
            <p:ph type="ftr" sz="quarter" idx="17"/>
          </p:nvPr>
        </p:nvSpPr>
        <p:spPr/>
        <p:txBody>
          <a:bodyPr/>
          <a:lstStyle/>
          <a:p>
            <a:endParaRPr lang="en-NL"/>
          </a:p>
        </p:txBody>
      </p:sp>
      <p:pic>
        <p:nvPicPr>
          <p:cNvPr id="2" name="Picture 1">
            <a:extLst>
              <a:ext uri="{FF2B5EF4-FFF2-40B4-BE49-F238E27FC236}">
                <a16:creationId xmlns:a16="http://schemas.microsoft.com/office/drawing/2014/main" id="{C1CA3CE0-E9CD-AE0E-0556-0AE66627E8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32675" y="10313988"/>
            <a:ext cx="5058531" cy="3402012"/>
          </a:xfrm>
          <a:prstGeom prst="rect">
            <a:avLst/>
          </a:prstGeom>
        </p:spPr>
      </p:pic>
    </p:spTree>
    <p:extLst>
      <p:ext uri="{BB962C8B-B14F-4D97-AF65-F5344CB8AC3E}">
        <p14:creationId xmlns:p14="http://schemas.microsoft.com/office/powerpoint/2010/main" val="417006629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DBA60CB-9800-E349-B589-A9C8E6B0719E}"/>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746714063"/>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2_Big statement on colour background, texture or image">
    <p:bg>
      <p:bgPr>
        <a:solidFill>
          <a:srgbClr val="00829B">
            <a:alpha val="95000"/>
          </a:srgbClr>
        </a:solidFill>
        <a:effectLst/>
      </p:bgPr>
    </p:bg>
    <p:spTree>
      <p:nvGrpSpPr>
        <p:cNvPr id="1" name=""/>
        <p:cNvGrpSpPr/>
        <p:nvPr/>
      </p:nvGrpSpPr>
      <p:grpSpPr>
        <a:xfrm>
          <a:off x="0" y="0"/>
          <a:ext cx="0" cy="0"/>
          <a:chOff x="0" y="0"/>
          <a:chExt cx="0" cy="0"/>
        </a:xfrm>
      </p:grpSpPr>
      <p:sp>
        <p:nvSpPr>
          <p:cNvPr id="10" name="Title Placeholder 6">
            <a:extLst>
              <a:ext uri="{FF2B5EF4-FFF2-40B4-BE49-F238E27FC236}">
                <a16:creationId xmlns:a16="http://schemas.microsoft.com/office/drawing/2014/main" id="{048B0FEC-E6E9-1B42-9F79-233E0858B4AD}"/>
              </a:ext>
            </a:extLst>
          </p:cNvPr>
          <p:cNvSpPr>
            <a:spLocks noGrp="1"/>
          </p:cNvSpPr>
          <p:nvPr>
            <p:ph type="title" hasCustomPrompt="1"/>
          </p:nvPr>
        </p:nvSpPr>
        <p:spPr>
          <a:xfrm>
            <a:off x="1679467" y="1692503"/>
            <a:ext cx="21029831" cy="10330998"/>
          </a:xfrm>
          <a:prstGeom prst="rect">
            <a:avLst/>
          </a:prstGeom>
        </p:spPr>
        <p:txBody>
          <a:bodyPr vert="horz" lIns="91440" tIns="45720" rIns="91440" bIns="45720" rtlCol="0" anchor="ctr">
            <a:noAutofit/>
          </a:bodyPr>
          <a:lstStyle>
            <a:lvl1pPr>
              <a:defRPr sz="17999" baseline="0"/>
            </a:lvl1pPr>
          </a:lstStyle>
          <a:p>
            <a:r>
              <a:rPr lang="en-GB" noProof="0"/>
              <a:t>Statement here,</a:t>
            </a:r>
            <a:br>
              <a:rPr lang="en-GB" noProof="0"/>
            </a:br>
            <a:r>
              <a:rPr lang="en-GB" noProof="0"/>
              <a:t>keep it bold 90 </a:t>
            </a:r>
            <a:r>
              <a:rPr lang="en-GB" noProof="0" err="1"/>
              <a:t>pt</a:t>
            </a:r>
            <a:endParaRPr lang="en-GB" noProof="0"/>
          </a:p>
        </p:txBody>
      </p:sp>
    </p:spTree>
    <p:extLst>
      <p:ext uri="{BB962C8B-B14F-4D97-AF65-F5344CB8AC3E}">
        <p14:creationId xmlns:p14="http://schemas.microsoft.com/office/powerpoint/2010/main" val="776170484"/>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59_Title Sl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F6F0CEE-5038-4071-B80B-826461EE5D42}"/>
              </a:ext>
            </a:extLst>
          </p:cNvPr>
          <p:cNvSpPr>
            <a:spLocks noGrp="1"/>
          </p:cNvSpPr>
          <p:nvPr>
            <p:ph type="pic" sz="quarter" idx="10"/>
          </p:nvPr>
        </p:nvSpPr>
        <p:spPr>
          <a:xfrm>
            <a:off x="12164706" y="0"/>
            <a:ext cx="12217709" cy="13716000"/>
          </a:xfrm>
          <a:custGeom>
            <a:avLst/>
            <a:gdLst>
              <a:gd name="connsiteX0" fmla="*/ 0 w 3619500"/>
              <a:gd name="connsiteY0" fmla="*/ 0 h 5543550"/>
              <a:gd name="connsiteX1" fmla="*/ 3619500 w 3619500"/>
              <a:gd name="connsiteY1" fmla="*/ 0 h 5543550"/>
              <a:gd name="connsiteX2" fmla="*/ 3619500 w 3619500"/>
              <a:gd name="connsiteY2" fmla="*/ 5543550 h 5543550"/>
              <a:gd name="connsiteX3" fmla="*/ 0 w 3619500"/>
              <a:gd name="connsiteY3" fmla="*/ 5543550 h 5543550"/>
            </a:gdLst>
            <a:ahLst/>
            <a:cxnLst>
              <a:cxn ang="0">
                <a:pos x="connsiteX0" y="connsiteY0"/>
              </a:cxn>
              <a:cxn ang="0">
                <a:pos x="connsiteX1" y="connsiteY1"/>
              </a:cxn>
              <a:cxn ang="0">
                <a:pos x="connsiteX2" y="connsiteY2"/>
              </a:cxn>
              <a:cxn ang="0">
                <a:pos x="connsiteX3" y="connsiteY3"/>
              </a:cxn>
            </a:cxnLst>
            <a:rect l="l" t="t" r="r" b="b"/>
            <a:pathLst>
              <a:path w="3619500" h="5543550">
                <a:moveTo>
                  <a:pt x="0" y="0"/>
                </a:moveTo>
                <a:lnTo>
                  <a:pt x="3619500" y="0"/>
                </a:lnTo>
                <a:lnTo>
                  <a:pt x="3619500" y="5543550"/>
                </a:lnTo>
                <a:lnTo>
                  <a:pt x="0" y="5543550"/>
                </a:lnTo>
                <a:close/>
              </a:path>
            </a:pathLst>
          </a:custGeom>
          <a:solidFill>
            <a:schemeClr val="bg2"/>
          </a:solidFill>
          <a:ln>
            <a:noFill/>
          </a:ln>
        </p:spPr>
        <p:txBody>
          <a:bodyPr wrap="square">
            <a:noAutofit/>
          </a:bodyPr>
          <a:lstStyle>
            <a:lvl1pPr>
              <a:defRPr sz="2200"/>
            </a:lvl1pPr>
          </a:lstStyle>
          <a:p>
            <a:r>
              <a:rPr lang="en-US"/>
              <a:t>Click icon to add picture</a:t>
            </a:r>
            <a:endParaRPr lang="id-ID"/>
          </a:p>
        </p:txBody>
      </p:sp>
      <p:sp>
        <p:nvSpPr>
          <p:cNvPr id="12" name="Text Placeholder 8"/>
          <p:cNvSpPr>
            <a:spLocks noGrp="1"/>
          </p:cNvSpPr>
          <p:nvPr>
            <p:ph type="body" sz="quarter" idx="11" hasCustomPrompt="1"/>
          </p:nvPr>
        </p:nvSpPr>
        <p:spPr>
          <a:xfrm>
            <a:off x="1666768" y="6511927"/>
            <a:ext cx="9454771" cy="6395862"/>
          </a:xfrm>
          <a:prstGeom prst="rect">
            <a:avLst/>
          </a:prstGeom>
        </p:spPr>
        <p:txBody>
          <a:bodyPr/>
          <a:lstStyle>
            <a:lvl1pPr marL="0" indent="0">
              <a:buNone/>
              <a:defRPr sz="4800">
                <a:solidFill>
                  <a:schemeClr val="tx2"/>
                </a:solidFill>
                <a:latin typeface="+mj-lt"/>
              </a:defRPr>
            </a:lvl1pPr>
            <a:lvl2pPr marL="914354" indent="0">
              <a:buNone/>
              <a:defRPr sz="4000">
                <a:solidFill>
                  <a:schemeClr val="tx2"/>
                </a:solidFill>
                <a:latin typeface="+mj-lt"/>
              </a:defRPr>
            </a:lvl2pPr>
            <a:lvl3pPr marL="1828709" indent="0">
              <a:buNone/>
              <a:defRPr sz="3600">
                <a:solidFill>
                  <a:schemeClr val="tx2"/>
                </a:solidFill>
                <a:latin typeface="+mj-lt"/>
              </a:defRPr>
            </a:lvl3pPr>
            <a:lvl4pPr marL="2743063" indent="0">
              <a:buNone/>
              <a:defRPr sz="3200">
                <a:solidFill>
                  <a:schemeClr val="tx2"/>
                </a:solidFill>
                <a:latin typeface="+mj-lt"/>
              </a:defRPr>
            </a:lvl4pPr>
            <a:lvl5pPr marL="3657417" indent="0">
              <a:buNone/>
              <a:defRPr sz="3200">
                <a:solidFill>
                  <a:schemeClr val="tx2"/>
                </a:solidFill>
                <a:latin typeface="+mj-lt"/>
              </a:defRPr>
            </a:lvl5pPr>
          </a:lstStyle>
          <a:p>
            <a:pPr lvl="0"/>
            <a:r>
              <a:rPr lang="en-US"/>
              <a:t>Additional text or explanation</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itle 6"/>
          <p:cNvSpPr>
            <a:spLocks noGrp="1"/>
          </p:cNvSpPr>
          <p:nvPr>
            <p:ph type="title" hasCustomPrompt="1"/>
          </p:nvPr>
        </p:nvSpPr>
        <p:spPr>
          <a:xfrm>
            <a:off x="1667987" y="3223675"/>
            <a:ext cx="9445675" cy="2390130"/>
          </a:xfrm>
          <a:prstGeom prst="rect">
            <a:avLst/>
          </a:prstGeom>
        </p:spPr>
        <p:txBody>
          <a:bodyPr anchor="ctr"/>
          <a:lstStyle>
            <a:lvl1pPr>
              <a:defRPr sz="8000" b="1" baseline="0">
                <a:solidFill>
                  <a:schemeClr val="tx2"/>
                </a:solidFill>
              </a:defRPr>
            </a:lvl1pPr>
          </a:lstStyle>
          <a:p>
            <a:r>
              <a:rPr lang="en-US"/>
              <a:t>Slide title or statement here!</a:t>
            </a:r>
            <a:endParaRPr lang="en-GB"/>
          </a:p>
        </p:txBody>
      </p:sp>
      <p:sp>
        <p:nvSpPr>
          <p:cNvPr id="14" name="object 5"/>
          <p:cNvSpPr txBox="1"/>
          <p:nvPr userDrawn="1"/>
        </p:nvSpPr>
        <p:spPr>
          <a:xfrm>
            <a:off x="21829879" y="330728"/>
            <a:ext cx="2314425" cy="210312"/>
          </a:xfrm>
          <a:prstGeom prst="rect">
            <a:avLst/>
          </a:prstGeom>
        </p:spPr>
        <p:txBody>
          <a:bodyPr vert="horz" wrap="square" lIns="0" tIns="25398" rIns="0" bIns="0" rtlCol="0">
            <a:spAutoFit/>
          </a:bodyPr>
          <a:lstStyle/>
          <a:p>
            <a:pPr marL="25399">
              <a:lnSpc>
                <a:spcPct val="100000"/>
              </a:lnSpc>
              <a:spcBef>
                <a:spcPts val="200"/>
              </a:spcBef>
            </a:pPr>
            <a:r>
              <a:rPr sz="1200">
                <a:solidFill>
                  <a:srgbClr val="BCBEC0"/>
                </a:solidFill>
                <a:latin typeface="Noto IKEA Latin" panose="020B0502040504020204" pitchFamily="34" charset="0"/>
                <a:cs typeface="Verdana"/>
              </a:rPr>
              <a:t>© Inter IKEA </a:t>
            </a:r>
            <a:r>
              <a:rPr sz="1200" spc="-10">
                <a:solidFill>
                  <a:srgbClr val="BCBEC0"/>
                </a:solidFill>
                <a:latin typeface="Noto IKEA Latin" panose="020B0502040504020204" pitchFamily="34" charset="0"/>
                <a:cs typeface="Verdana"/>
              </a:rPr>
              <a:t>Systems </a:t>
            </a:r>
            <a:r>
              <a:rPr sz="1200" spc="-50">
                <a:solidFill>
                  <a:srgbClr val="BCBEC0"/>
                </a:solidFill>
                <a:latin typeface="Noto IKEA Latin" panose="020B0502040504020204" pitchFamily="34" charset="0"/>
                <a:cs typeface="Verdana"/>
              </a:rPr>
              <a:t>B.V.</a:t>
            </a:r>
            <a:r>
              <a:rPr sz="1200" spc="-140">
                <a:solidFill>
                  <a:srgbClr val="BCBEC0"/>
                </a:solidFill>
                <a:latin typeface="Noto IKEA Latin" panose="020B0502040504020204" pitchFamily="34" charset="0"/>
                <a:cs typeface="Verdana"/>
              </a:rPr>
              <a:t> </a:t>
            </a:r>
            <a:r>
              <a:rPr sz="1200">
                <a:solidFill>
                  <a:srgbClr val="BCBEC0"/>
                </a:solidFill>
                <a:latin typeface="Noto IKEA Latin" panose="020B0502040504020204" pitchFamily="34" charset="0"/>
                <a:cs typeface="Verdana"/>
              </a:rPr>
              <a:t>20</a:t>
            </a:r>
            <a:r>
              <a:rPr lang="de-DE" sz="1200">
                <a:solidFill>
                  <a:srgbClr val="BCBEC0"/>
                </a:solidFill>
                <a:latin typeface="Noto IKEA Latin" panose="020B0502040504020204" pitchFamily="34" charset="0"/>
                <a:cs typeface="Verdana"/>
              </a:rPr>
              <a:t>21</a:t>
            </a:r>
            <a:endParaRPr sz="1200">
              <a:latin typeface="Noto IKEA Latin" panose="020B0502040504020204" pitchFamily="34" charset="0"/>
              <a:cs typeface="Verdana"/>
            </a:endParaRPr>
          </a:p>
        </p:txBody>
      </p:sp>
      <p:sp>
        <p:nvSpPr>
          <p:cNvPr id="19" name="Freeform 16">
            <a:extLst>
              <a:ext uri="{FF2B5EF4-FFF2-40B4-BE49-F238E27FC236}">
                <a16:creationId xmlns:a16="http://schemas.microsoft.com/office/drawing/2014/main" id="{55B8A401-BE23-4241-BDCF-933FC8D52F4B}"/>
              </a:ext>
            </a:extLst>
          </p:cNvPr>
          <p:cNvSpPr>
            <a:spLocks/>
          </p:cNvSpPr>
          <p:nvPr userDrawn="1"/>
        </p:nvSpPr>
        <p:spPr bwMode="auto">
          <a:xfrm rot="10800000">
            <a:off x="868499" y="908795"/>
            <a:ext cx="717779" cy="615554"/>
          </a:xfrm>
          <a:custGeom>
            <a:avLst/>
            <a:gdLst>
              <a:gd name="T0" fmla="*/ 595 w 632"/>
              <a:gd name="T1" fmla="*/ 346 h 598"/>
              <a:gd name="T2" fmla="*/ 559 w 632"/>
              <a:gd name="T3" fmla="*/ 341 h 598"/>
              <a:gd name="T4" fmla="*/ 510 w 632"/>
              <a:gd name="T5" fmla="*/ 359 h 598"/>
              <a:gd name="T6" fmla="*/ 476 w 632"/>
              <a:gd name="T7" fmla="*/ 377 h 598"/>
              <a:gd name="T8" fmla="*/ 438 w 632"/>
              <a:gd name="T9" fmla="*/ 359 h 598"/>
              <a:gd name="T10" fmla="*/ 425 w 632"/>
              <a:gd name="T11" fmla="*/ 329 h 598"/>
              <a:gd name="T12" fmla="*/ 434 w 632"/>
              <a:gd name="T13" fmla="*/ 222 h 598"/>
              <a:gd name="T14" fmla="*/ 438 w 632"/>
              <a:gd name="T15" fmla="*/ 196 h 598"/>
              <a:gd name="T16" fmla="*/ 397 w 632"/>
              <a:gd name="T17" fmla="*/ 197 h 598"/>
              <a:gd name="T18" fmla="*/ 307 w 632"/>
              <a:gd name="T19" fmla="*/ 206 h 598"/>
              <a:gd name="T20" fmla="*/ 264 w 632"/>
              <a:gd name="T21" fmla="*/ 193 h 598"/>
              <a:gd name="T22" fmla="*/ 253 w 632"/>
              <a:gd name="T23" fmla="*/ 174 h 598"/>
              <a:gd name="T24" fmla="*/ 257 w 632"/>
              <a:gd name="T25" fmla="*/ 143 h 598"/>
              <a:gd name="T26" fmla="*/ 288 w 632"/>
              <a:gd name="T27" fmla="*/ 93 h 598"/>
              <a:gd name="T28" fmla="*/ 294 w 632"/>
              <a:gd name="T29" fmla="*/ 56 h 598"/>
              <a:gd name="T30" fmla="*/ 282 w 632"/>
              <a:gd name="T31" fmla="*/ 26 h 598"/>
              <a:gd name="T32" fmla="*/ 258 w 632"/>
              <a:gd name="T33" fmla="*/ 6 h 598"/>
              <a:gd name="T34" fmla="*/ 223 w 632"/>
              <a:gd name="T35" fmla="*/ 0 h 598"/>
              <a:gd name="T36" fmla="*/ 186 w 632"/>
              <a:gd name="T37" fmla="*/ 6 h 598"/>
              <a:gd name="T38" fmla="*/ 158 w 632"/>
              <a:gd name="T39" fmla="*/ 27 h 598"/>
              <a:gd name="T40" fmla="*/ 146 w 632"/>
              <a:gd name="T41" fmla="*/ 58 h 598"/>
              <a:gd name="T42" fmla="*/ 152 w 632"/>
              <a:gd name="T43" fmla="*/ 97 h 598"/>
              <a:gd name="T44" fmla="*/ 180 w 632"/>
              <a:gd name="T45" fmla="*/ 147 h 598"/>
              <a:gd name="T46" fmla="*/ 179 w 632"/>
              <a:gd name="T47" fmla="*/ 178 h 598"/>
              <a:gd name="T48" fmla="*/ 153 w 632"/>
              <a:gd name="T49" fmla="*/ 203 h 598"/>
              <a:gd name="T50" fmla="*/ 79 w 632"/>
              <a:gd name="T51" fmla="*/ 206 h 598"/>
              <a:gd name="T52" fmla="*/ 12 w 632"/>
              <a:gd name="T53" fmla="*/ 196 h 598"/>
              <a:gd name="T54" fmla="*/ 0 w 632"/>
              <a:gd name="T55" fmla="*/ 584 h 598"/>
              <a:gd name="T56" fmla="*/ 11 w 632"/>
              <a:gd name="T57" fmla="*/ 586 h 598"/>
              <a:gd name="T58" fmla="*/ 79 w 632"/>
              <a:gd name="T59" fmla="*/ 596 h 598"/>
              <a:gd name="T60" fmla="*/ 153 w 632"/>
              <a:gd name="T61" fmla="*/ 593 h 598"/>
              <a:gd name="T62" fmla="*/ 179 w 632"/>
              <a:gd name="T63" fmla="*/ 568 h 598"/>
              <a:gd name="T64" fmla="*/ 180 w 632"/>
              <a:gd name="T65" fmla="*/ 537 h 598"/>
              <a:gd name="T66" fmla="*/ 152 w 632"/>
              <a:gd name="T67" fmla="*/ 487 h 598"/>
              <a:gd name="T68" fmla="*/ 146 w 632"/>
              <a:gd name="T69" fmla="*/ 448 h 598"/>
              <a:gd name="T70" fmla="*/ 158 w 632"/>
              <a:gd name="T71" fmla="*/ 416 h 598"/>
              <a:gd name="T72" fmla="*/ 186 w 632"/>
              <a:gd name="T73" fmla="*/ 396 h 598"/>
              <a:gd name="T74" fmla="*/ 223 w 632"/>
              <a:gd name="T75" fmla="*/ 390 h 598"/>
              <a:gd name="T76" fmla="*/ 258 w 632"/>
              <a:gd name="T77" fmla="*/ 396 h 598"/>
              <a:gd name="T78" fmla="*/ 284 w 632"/>
              <a:gd name="T79" fmla="*/ 416 h 598"/>
              <a:gd name="T80" fmla="*/ 294 w 632"/>
              <a:gd name="T81" fmla="*/ 446 h 598"/>
              <a:gd name="T82" fmla="*/ 288 w 632"/>
              <a:gd name="T83" fmla="*/ 483 h 598"/>
              <a:gd name="T84" fmla="*/ 257 w 632"/>
              <a:gd name="T85" fmla="*/ 533 h 598"/>
              <a:gd name="T86" fmla="*/ 253 w 632"/>
              <a:gd name="T87" fmla="*/ 564 h 598"/>
              <a:gd name="T88" fmla="*/ 264 w 632"/>
              <a:gd name="T89" fmla="*/ 583 h 598"/>
              <a:gd name="T90" fmla="*/ 307 w 632"/>
              <a:gd name="T91" fmla="*/ 596 h 598"/>
              <a:gd name="T92" fmla="*/ 355 w 632"/>
              <a:gd name="T93" fmla="*/ 593 h 598"/>
              <a:gd name="T94" fmla="*/ 410 w 632"/>
              <a:gd name="T95" fmla="*/ 586 h 598"/>
              <a:gd name="T96" fmla="*/ 438 w 632"/>
              <a:gd name="T97" fmla="*/ 582 h 598"/>
              <a:gd name="T98" fmla="*/ 430 w 632"/>
              <a:gd name="T99" fmla="*/ 525 h 598"/>
              <a:gd name="T100" fmla="*/ 429 w 632"/>
              <a:gd name="T101" fmla="*/ 474 h 598"/>
              <a:gd name="T102" fmla="*/ 459 w 632"/>
              <a:gd name="T103" fmla="*/ 448 h 598"/>
              <a:gd name="T104" fmla="*/ 495 w 632"/>
              <a:gd name="T105" fmla="*/ 453 h 598"/>
              <a:gd name="T106" fmla="*/ 546 w 632"/>
              <a:gd name="T107" fmla="*/ 486 h 598"/>
              <a:gd name="T108" fmla="*/ 583 w 632"/>
              <a:gd name="T109" fmla="*/ 488 h 598"/>
              <a:gd name="T110" fmla="*/ 612 w 632"/>
              <a:gd name="T111" fmla="*/ 474 h 598"/>
              <a:gd name="T112" fmla="*/ 629 w 632"/>
              <a:gd name="T113" fmla="*/ 446 h 598"/>
              <a:gd name="T114" fmla="*/ 632 w 632"/>
              <a:gd name="T115" fmla="*/ 409 h 598"/>
              <a:gd name="T116" fmla="*/ 623 w 632"/>
              <a:gd name="T117" fmla="*/ 375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32" h="598">
                <a:moveTo>
                  <a:pt x="615" y="363"/>
                </a:moveTo>
                <a:lnTo>
                  <a:pt x="611" y="357"/>
                </a:lnTo>
                <a:lnTo>
                  <a:pt x="606" y="353"/>
                </a:lnTo>
                <a:lnTo>
                  <a:pt x="601" y="350"/>
                </a:lnTo>
                <a:lnTo>
                  <a:pt x="595" y="346"/>
                </a:lnTo>
                <a:lnTo>
                  <a:pt x="588" y="343"/>
                </a:lnTo>
                <a:lnTo>
                  <a:pt x="582" y="342"/>
                </a:lnTo>
                <a:lnTo>
                  <a:pt x="574" y="341"/>
                </a:lnTo>
                <a:lnTo>
                  <a:pt x="567" y="340"/>
                </a:lnTo>
                <a:lnTo>
                  <a:pt x="559" y="341"/>
                </a:lnTo>
                <a:lnTo>
                  <a:pt x="551" y="342"/>
                </a:lnTo>
                <a:lnTo>
                  <a:pt x="543" y="343"/>
                </a:lnTo>
                <a:lnTo>
                  <a:pt x="535" y="346"/>
                </a:lnTo>
                <a:lnTo>
                  <a:pt x="521" y="352"/>
                </a:lnTo>
                <a:lnTo>
                  <a:pt x="510" y="359"/>
                </a:lnTo>
                <a:lnTo>
                  <a:pt x="502" y="366"/>
                </a:lnTo>
                <a:lnTo>
                  <a:pt x="491" y="371"/>
                </a:lnTo>
                <a:lnTo>
                  <a:pt x="486" y="375"/>
                </a:lnTo>
                <a:lnTo>
                  <a:pt x="480" y="376"/>
                </a:lnTo>
                <a:lnTo>
                  <a:pt x="476" y="377"/>
                </a:lnTo>
                <a:lnTo>
                  <a:pt x="471" y="378"/>
                </a:lnTo>
                <a:lnTo>
                  <a:pt x="463" y="377"/>
                </a:lnTo>
                <a:lnTo>
                  <a:pt x="454" y="373"/>
                </a:lnTo>
                <a:lnTo>
                  <a:pt x="446" y="368"/>
                </a:lnTo>
                <a:lnTo>
                  <a:pt x="438" y="359"/>
                </a:lnTo>
                <a:lnTo>
                  <a:pt x="435" y="356"/>
                </a:lnTo>
                <a:lnTo>
                  <a:pt x="432" y="352"/>
                </a:lnTo>
                <a:lnTo>
                  <a:pt x="429" y="348"/>
                </a:lnTo>
                <a:lnTo>
                  <a:pt x="427" y="342"/>
                </a:lnTo>
                <a:lnTo>
                  <a:pt x="425" y="329"/>
                </a:lnTo>
                <a:lnTo>
                  <a:pt x="424" y="315"/>
                </a:lnTo>
                <a:lnTo>
                  <a:pt x="425" y="296"/>
                </a:lnTo>
                <a:lnTo>
                  <a:pt x="426" y="274"/>
                </a:lnTo>
                <a:lnTo>
                  <a:pt x="429" y="249"/>
                </a:lnTo>
                <a:lnTo>
                  <a:pt x="434" y="222"/>
                </a:lnTo>
                <a:lnTo>
                  <a:pt x="434" y="220"/>
                </a:lnTo>
                <a:lnTo>
                  <a:pt x="435" y="214"/>
                </a:lnTo>
                <a:lnTo>
                  <a:pt x="436" y="207"/>
                </a:lnTo>
                <a:lnTo>
                  <a:pt x="437" y="201"/>
                </a:lnTo>
                <a:lnTo>
                  <a:pt x="438" y="196"/>
                </a:lnTo>
                <a:lnTo>
                  <a:pt x="438" y="194"/>
                </a:lnTo>
                <a:lnTo>
                  <a:pt x="438" y="194"/>
                </a:lnTo>
                <a:lnTo>
                  <a:pt x="427" y="194"/>
                </a:lnTo>
                <a:lnTo>
                  <a:pt x="413" y="195"/>
                </a:lnTo>
                <a:lnTo>
                  <a:pt x="397" y="197"/>
                </a:lnTo>
                <a:lnTo>
                  <a:pt x="376" y="200"/>
                </a:lnTo>
                <a:lnTo>
                  <a:pt x="355" y="203"/>
                </a:lnTo>
                <a:lnTo>
                  <a:pt x="336" y="204"/>
                </a:lnTo>
                <a:lnTo>
                  <a:pt x="321" y="205"/>
                </a:lnTo>
                <a:lnTo>
                  <a:pt x="307" y="206"/>
                </a:lnTo>
                <a:lnTo>
                  <a:pt x="297" y="205"/>
                </a:lnTo>
                <a:lnTo>
                  <a:pt x="286" y="203"/>
                </a:lnTo>
                <a:lnTo>
                  <a:pt x="277" y="201"/>
                </a:lnTo>
                <a:lnTo>
                  <a:pt x="268" y="195"/>
                </a:lnTo>
                <a:lnTo>
                  <a:pt x="264" y="193"/>
                </a:lnTo>
                <a:lnTo>
                  <a:pt x="261" y="190"/>
                </a:lnTo>
                <a:lnTo>
                  <a:pt x="259" y="187"/>
                </a:lnTo>
                <a:lnTo>
                  <a:pt x="257" y="182"/>
                </a:lnTo>
                <a:lnTo>
                  <a:pt x="254" y="179"/>
                </a:lnTo>
                <a:lnTo>
                  <a:pt x="253" y="174"/>
                </a:lnTo>
                <a:lnTo>
                  <a:pt x="252" y="169"/>
                </a:lnTo>
                <a:lnTo>
                  <a:pt x="252" y="164"/>
                </a:lnTo>
                <a:lnTo>
                  <a:pt x="252" y="158"/>
                </a:lnTo>
                <a:lnTo>
                  <a:pt x="254" y="150"/>
                </a:lnTo>
                <a:lnTo>
                  <a:pt x="257" y="143"/>
                </a:lnTo>
                <a:lnTo>
                  <a:pt x="259" y="137"/>
                </a:lnTo>
                <a:lnTo>
                  <a:pt x="266" y="125"/>
                </a:lnTo>
                <a:lnTo>
                  <a:pt x="274" y="115"/>
                </a:lnTo>
                <a:lnTo>
                  <a:pt x="281" y="106"/>
                </a:lnTo>
                <a:lnTo>
                  <a:pt x="288" y="93"/>
                </a:lnTo>
                <a:lnTo>
                  <a:pt x="291" y="86"/>
                </a:lnTo>
                <a:lnTo>
                  <a:pt x="293" y="79"/>
                </a:lnTo>
                <a:lnTo>
                  <a:pt x="294" y="71"/>
                </a:lnTo>
                <a:lnTo>
                  <a:pt x="294" y="64"/>
                </a:lnTo>
                <a:lnTo>
                  <a:pt x="294" y="56"/>
                </a:lnTo>
                <a:lnTo>
                  <a:pt x="293" y="50"/>
                </a:lnTo>
                <a:lnTo>
                  <a:pt x="292" y="43"/>
                </a:lnTo>
                <a:lnTo>
                  <a:pt x="289" y="37"/>
                </a:lnTo>
                <a:lnTo>
                  <a:pt x="287" y="31"/>
                </a:lnTo>
                <a:lnTo>
                  <a:pt x="282" y="26"/>
                </a:lnTo>
                <a:lnTo>
                  <a:pt x="279" y="21"/>
                </a:lnTo>
                <a:lnTo>
                  <a:pt x="274" y="16"/>
                </a:lnTo>
                <a:lnTo>
                  <a:pt x="268" y="13"/>
                </a:lnTo>
                <a:lnTo>
                  <a:pt x="263" y="10"/>
                </a:lnTo>
                <a:lnTo>
                  <a:pt x="258" y="6"/>
                </a:lnTo>
                <a:lnTo>
                  <a:pt x="251" y="4"/>
                </a:lnTo>
                <a:lnTo>
                  <a:pt x="245" y="2"/>
                </a:lnTo>
                <a:lnTo>
                  <a:pt x="237" y="1"/>
                </a:lnTo>
                <a:lnTo>
                  <a:pt x="231" y="0"/>
                </a:lnTo>
                <a:lnTo>
                  <a:pt x="223" y="0"/>
                </a:lnTo>
                <a:lnTo>
                  <a:pt x="216" y="0"/>
                </a:lnTo>
                <a:lnTo>
                  <a:pt x="208" y="1"/>
                </a:lnTo>
                <a:lnTo>
                  <a:pt x="200" y="2"/>
                </a:lnTo>
                <a:lnTo>
                  <a:pt x="193" y="4"/>
                </a:lnTo>
                <a:lnTo>
                  <a:pt x="186" y="6"/>
                </a:lnTo>
                <a:lnTo>
                  <a:pt x="180" y="10"/>
                </a:lnTo>
                <a:lnTo>
                  <a:pt x="174" y="13"/>
                </a:lnTo>
                <a:lnTo>
                  <a:pt x="168" y="17"/>
                </a:lnTo>
                <a:lnTo>
                  <a:pt x="163" y="21"/>
                </a:lnTo>
                <a:lnTo>
                  <a:pt x="158" y="27"/>
                </a:lnTo>
                <a:lnTo>
                  <a:pt x="155" y="32"/>
                </a:lnTo>
                <a:lnTo>
                  <a:pt x="152" y="38"/>
                </a:lnTo>
                <a:lnTo>
                  <a:pt x="149" y="44"/>
                </a:lnTo>
                <a:lnTo>
                  <a:pt x="147" y="51"/>
                </a:lnTo>
                <a:lnTo>
                  <a:pt x="146" y="58"/>
                </a:lnTo>
                <a:lnTo>
                  <a:pt x="145" y="66"/>
                </a:lnTo>
                <a:lnTo>
                  <a:pt x="146" y="73"/>
                </a:lnTo>
                <a:lnTo>
                  <a:pt x="147" y="82"/>
                </a:lnTo>
                <a:lnTo>
                  <a:pt x="149" y="90"/>
                </a:lnTo>
                <a:lnTo>
                  <a:pt x="152" y="97"/>
                </a:lnTo>
                <a:lnTo>
                  <a:pt x="157" y="111"/>
                </a:lnTo>
                <a:lnTo>
                  <a:pt x="165" y="122"/>
                </a:lnTo>
                <a:lnTo>
                  <a:pt x="171" y="132"/>
                </a:lnTo>
                <a:lnTo>
                  <a:pt x="177" y="141"/>
                </a:lnTo>
                <a:lnTo>
                  <a:pt x="180" y="147"/>
                </a:lnTo>
                <a:lnTo>
                  <a:pt x="181" y="152"/>
                </a:lnTo>
                <a:lnTo>
                  <a:pt x="182" y="156"/>
                </a:lnTo>
                <a:lnTo>
                  <a:pt x="183" y="161"/>
                </a:lnTo>
                <a:lnTo>
                  <a:pt x="182" y="169"/>
                </a:lnTo>
                <a:lnTo>
                  <a:pt x="179" y="178"/>
                </a:lnTo>
                <a:lnTo>
                  <a:pt x="173" y="187"/>
                </a:lnTo>
                <a:lnTo>
                  <a:pt x="165" y="195"/>
                </a:lnTo>
                <a:lnTo>
                  <a:pt x="162" y="197"/>
                </a:lnTo>
                <a:lnTo>
                  <a:pt x="157" y="201"/>
                </a:lnTo>
                <a:lnTo>
                  <a:pt x="153" y="203"/>
                </a:lnTo>
                <a:lnTo>
                  <a:pt x="147" y="205"/>
                </a:lnTo>
                <a:lnTo>
                  <a:pt x="135" y="207"/>
                </a:lnTo>
                <a:lnTo>
                  <a:pt x="120" y="208"/>
                </a:lnTo>
                <a:lnTo>
                  <a:pt x="101" y="207"/>
                </a:lnTo>
                <a:lnTo>
                  <a:pt x="79" y="206"/>
                </a:lnTo>
                <a:lnTo>
                  <a:pt x="55" y="203"/>
                </a:lnTo>
                <a:lnTo>
                  <a:pt x="28" y="199"/>
                </a:lnTo>
                <a:lnTo>
                  <a:pt x="24" y="199"/>
                </a:lnTo>
                <a:lnTo>
                  <a:pt x="19" y="197"/>
                </a:lnTo>
                <a:lnTo>
                  <a:pt x="12" y="196"/>
                </a:lnTo>
                <a:lnTo>
                  <a:pt x="6" y="195"/>
                </a:lnTo>
                <a:lnTo>
                  <a:pt x="2" y="195"/>
                </a:lnTo>
                <a:lnTo>
                  <a:pt x="0" y="194"/>
                </a:lnTo>
                <a:lnTo>
                  <a:pt x="0" y="584"/>
                </a:lnTo>
                <a:lnTo>
                  <a:pt x="0" y="584"/>
                </a:lnTo>
                <a:lnTo>
                  <a:pt x="1" y="584"/>
                </a:lnTo>
                <a:lnTo>
                  <a:pt x="1" y="585"/>
                </a:lnTo>
                <a:lnTo>
                  <a:pt x="2" y="585"/>
                </a:lnTo>
                <a:lnTo>
                  <a:pt x="7" y="585"/>
                </a:lnTo>
                <a:lnTo>
                  <a:pt x="11" y="586"/>
                </a:lnTo>
                <a:lnTo>
                  <a:pt x="17" y="587"/>
                </a:lnTo>
                <a:lnTo>
                  <a:pt x="23" y="588"/>
                </a:lnTo>
                <a:lnTo>
                  <a:pt x="28" y="588"/>
                </a:lnTo>
                <a:lnTo>
                  <a:pt x="55" y="593"/>
                </a:lnTo>
                <a:lnTo>
                  <a:pt x="79" y="596"/>
                </a:lnTo>
                <a:lnTo>
                  <a:pt x="101" y="597"/>
                </a:lnTo>
                <a:lnTo>
                  <a:pt x="120" y="598"/>
                </a:lnTo>
                <a:lnTo>
                  <a:pt x="135" y="597"/>
                </a:lnTo>
                <a:lnTo>
                  <a:pt x="147" y="595"/>
                </a:lnTo>
                <a:lnTo>
                  <a:pt x="153" y="593"/>
                </a:lnTo>
                <a:lnTo>
                  <a:pt x="157" y="591"/>
                </a:lnTo>
                <a:lnTo>
                  <a:pt x="162" y="587"/>
                </a:lnTo>
                <a:lnTo>
                  <a:pt x="165" y="584"/>
                </a:lnTo>
                <a:lnTo>
                  <a:pt x="173" y="576"/>
                </a:lnTo>
                <a:lnTo>
                  <a:pt x="179" y="568"/>
                </a:lnTo>
                <a:lnTo>
                  <a:pt x="182" y="559"/>
                </a:lnTo>
                <a:lnTo>
                  <a:pt x="183" y="551"/>
                </a:lnTo>
                <a:lnTo>
                  <a:pt x="182" y="546"/>
                </a:lnTo>
                <a:lnTo>
                  <a:pt x="181" y="542"/>
                </a:lnTo>
                <a:lnTo>
                  <a:pt x="180" y="537"/>
                </a:lnTo>
                <a:lnTo>
                  <a:pt x="177" y="531"/>
                </a:lnTo>
                <a:lnTo>
                  <a:pt x="171" y="521"/>
                </a:lnTo>
                <a:lnTo>
                  <a:pt x="165" y="512"/>
                </a:lnTo>
                <a:lnTo>
                  <a:pt x="157" y="501"/>
                </a:lnTo>
                <a:lnTo>
                  <a:pt x="152" y="487"/>
                </a:lnTo>
                <a:lnTo>
                  <a:pt x="149" y="479"/>
                </a:lnTo>
                <a:lnTo>
                  <a:pt x="147" y="471"/>
                </a:lnTo>
                <a:lnTo>
                  <a:pt x="146" y="463"/>
                </a:lnTo>
                <a:lnTo>
                  <a:pt x="145" y="456"/>
                </a:lnTo>
                <a:lnTo>
                  <a:pt x="146" y="448"/>
                </a:lnTo>
                <a:lnTo>
                  <a:pt x="147" y="440"/>
                </a:lnTo>
                <a:lnTo>
                  <a:pt x="149" y="434"/>
                </a:lnTo>
                <a:lnTo>
                  <a:pt x="152" y="427"/>
                </a:lnTo>
                <a:lnTo>
                  <a:pt x="155" y="421"/>
                </a:lnTo>
                <a:lnTo>
                  <a:pt x="158" y="416"/>
                </a:lnTo>
                <a:lnTo>
                  <a:pt x="163" y="411"/>
                </a:lnTo>
                <a:lnTo>
                  <a:pt x="168" y="407"/>
                </a:lnTo>
                <a:lnTo>
                  <a:pt x="174" y="403"/>
                </a:lnTo>
                <a:lnTo>
                  <a:pt x="180" y="399"/>
                </a:lnTo>
                <a:lnTo>
                  <a:pt x="186" y="396"/>
                </a:lnTo>
                <a:lnTo>
                  <a:pt x="193" y="394"/>
                </a:lnTo>
                <a:lnTo>
                  <a:pt x="200" y="392"/>
                </a:lnTo>
                <a:lnTo>
                  <a:pt x="207" y="391"/>
                </a:lnTo>
                <a:lnTo>
                  <a:pt x="214" y="390"/>
                </a:lnTo>
                <a:lnTo>
                  <a:pt x="223" y="390"/>
                </a:lnTo>
                <a:lnTo>
                  <a:pt x="231" y="390"/>
                </a:lnTo>
                <a:lnTo>
                  <a:pt x="237" y="391"/>
                </a:lnTo>
                <a:lnTo>
                  <a:pt x="245" y="392"/>
                </a:lnTo>
                <a:lnTo>
                  <a:pt x="251" y="394"/>
                </a:lnTo>
                <a:lnTo>
                  <a:pt x="258" y="396"/>
                </a:lnTo>
                <a:lnTo>
                  <a:pt x="263" y="398"/>
                </a:lnTo>
                <a:lnTo>
                  <a:pt x="268" y="403"/>
                </a:lnTo>
                <a:lnTo>
                  <a:pt x="274" y="406"/>
                </a:lnTo>
                <a:lnTo>
                  <a:pt x="279" y="410"/>
                </a:lnTo>
                <a:lnTo>
                  <a:pt x="284" y="416"/>
                </a:lnTo>
                <a:lnTo>
                  <a:pt x="287" y="421"/>
                </a:lnTo>
                <a:lnTo>
                  <a:pt x="289" y="426"/>
                </a:lnTo>
                <a:lnTo>
                  <a:pt x="292" y="433"/>
                </a:lnTo>
                <a:lnTo>
                  <a:pt x="293" y="439"/>
                </a:lnTo>
                <a:lnTo>
                  <a:pt x="294" y="446"/>
                </a:lnTo>
                <a:lnTo>
                  <a:pt x="294" y="453"/>
                </a:lnTo>
                <a:lnTo>
                  <a:pt x="294" y="461"/>
                </a:lnTo>
                <a:lnTo>
                  <a:pt x="293" y="469"/>
                </a:lnTo>
                <a:lnTo>
                  <a:pt x="291" y="476"/>
                </a:lnTo>
                <a:lnTo>
                  <a:pt x="288" y="483"/>
                </a:lnTo>
                <a:lnTo>
                  <a:pt x="281" y="495"/>
                </a:lnTo>
                <a:lnTo>
                  <a:pt x="274" y="505"/>
                </a:lnTo>
                <a:lnTo>
                  <a:pt x="266" y="515"/>
                </a:lnTo>
                <a:lnTo>
                  <a:pt x="259" y="527"/>
                </a:lnTo>
                <a:lnTo>
                  <a:pt x="257" y="533"/>
                </a:lnTo>
                <a:lnTo>
                  <a:pt x="254" y="540"/>
                </a:lnTo>
                <a:lnTo>
                  <a:pt x="252" y="546"/>
                </a:lnTo>
                <a:lnTo>
                  <a:pt x="252" y="554"/>
                </a:lnTo>
                <a:lnTo>
                  <a:pt x="252" y="559"/>
                </a:lnTo>
                <a:lnTo>
                  <a:pt x="253" y="564"/>
                </a:lnTo>
                <a:lnTo>
                  <a:pt x="254" y="568"/>
                </a:lnTo>
                <a:lnTo>
                  <a:pt x="257" y="572"/>
                </a:lnTo>
                <a:lnTo>
                  <a:pt x="259" y="576"/>
                </a:lnTo>
                <a:lnTo>
                  <a:pt x="261" y="580"/>
                </a:lnTo>
                <a:lnTo>
                  <a:pt x="264" y="583"/>
                </a:lnTo>
                <a:lnTo>
                  <a:pt x="268" y="585"/>
                </a:lnTo>
                <a:lnTo>
                  <a:pt x="277" y="589"/>
                </a:lnTo>
                <a:lnTo>
                  <a:pt x="286" y="593"/>
                </a:lnTo>
                <a:lnTo>
                  <a:pt x="297" y="595"/>
                </a:lnTo>
                <a:lnTo>
                  <a:pt x="307" y="596"/>
                </a:lnTo>
                <a:lnTo>
                  <a:pt x="316" y="595"/>
                </a:lnTo>
                <a:lnTo>
                  <a:pt x="326" y="595"/>
                </a:lnTo>
                <a:lnTo>
                  <a:pt x="335" y="595"/>
                </a:lnTo>
                <a:lnTo>
                  <a:pt x="345" y="594"/>
                </a:lnTo>
                <a:lnTo>
                  <a:pt x="355" y="593"/>
                </a:lnTo>
                <a:lnTo>
                  <a:pt x="366" y="592"/>
                </a:lnTo>
                <a:lnTo>
                  <a:pt x="376" y="589"/>
                </a:lnTo>
                <a:lnTo>
                  <a:pt x="388" y="588"/>
                </a:lnTo>
                <a:lnTo>
                  <a:pt x="400" y="587"/>
                </a:lnTo>
                <a:lnTo>
                  <a:pt x="410" y="586"/>
                </a:lnTo>
                <a:lnTo>
                  <a:pt x="419" y="585"/>
                </a:lnTo>
                <a:lnTo>
                  <a:pt x="426" y="584"/>
                </a:lnTo>
                <a:lnTo>
                  <a:pt x="432" y="584"/>
                </a:lnTo>
                <a:lnTo>
                  <a:pt x="438" y="584"/>
                </a:lnTo>
                <a:lnTo>
                  <a:pt x="438" y="582"/>
                </a:lnTo>
                <a:lnTo>
                  <a:pt x="438" y="573"/>
                </a:lnTo>
                <a:lnTo>
                  <a:pt x="437" y="564"/>
                </a:lnTo>
                <a:lnTo>
                  <a:pt x="436" y="552"/>
                </a:lnTo>
                <a:lnTo>
                  <a:pt x="433" y="538"/>
                </a:lnTo>
                <a:lnTo>
                  <a:pt x="430" y="525"/>
                </a:lnTo>
                <a:lnTo>
                  <a:pt x="428" y="513"/>
                </a:lnTo>
                <a:lnTo>
                  <a:pt x="427" y="503"/>
                </a:lnTo>
                <a:lnTo>
                  <a:pt x="426" y="494"/>
                </a:lnTo>
                <a:lnTo>
                  <a:pt x="427" y="484"/>
                </a:lnTo>
                <a:lnTo>
                  <a:pt x="429" y="474"/>
                </a:lnTo>
                <a:lnTo>
                  <a:pt x="433" y="465"/>
                </a:lnTo>
                <a:lnTo>
                  <a:pt x="437" y="459"/>
                </a:lnTo>
                <a:lnTo>
                  <a:pt x="443" y="453"/>
                </a:lnTo>
                <a:lnTo>
                  <a:pt x="450" y="450"/>
                </a:lnTo>
                <a:lnTo>
                  <a:pt x="459" y="448"/>
                </a:lnTo>
                <a:lnTo>
                  <a:pt x="468" y="447"/>
                </a:lnTo>
                <a:lnTo>
                  <a:pt x="476" y="448"/>
                </a:lnTo>
                <a:lnTo>
                  <a:pt x="482" y="449"/>
                </a:lnTo>
                <a:lnTo>
                  <a:pt x="489" y="451"/>
                </a:lnTo>
                <a:lnTo>
                  <a:pt x="495" y="453"/>
                </a:lnTo>
                <a:lnTo>
                  <a:pt x="507" y="461"/>
                </a:lnTo>
                <a:lnTo>
                  <a:pt x="517" y="469"/>
                </a:lnTo>
                <a:lnTo>
                  <a:pt x="527" y="476"/>
                </a:lnTo>
                <a:lnTo>
                  <a:pt x="540" y="483"/>
                </a:lnTo>
                <a:lnTo>
                  <a:pt x="546" y="486"/>
                </a:lnTo>
                <a:lnTo>
                  <a:pt x="554" y="488"/>
                </a:lnTo>
                <a:lnTo>
                  <a:pt x="561" y="489"/>
                </a:lnTo>
                <a:lnTo>
                  <a:pt x="569" y="489"/>
                </a:lnTo>
                <a:lnTo>
                  <a:pt x="576" y="489"/>
                </a:lnTo>
                <a:lnTo>
                  <a:pt x="583" y="488"/>
                </a:lnTo>
                <a:lnTo>
                  <a:pt x="589" y="487"/>
                </a:lnTo>
                <a:lnTo>
                  <a:pt x="596" y="485"/>
                </a:lnTo>
                <a:lnTo>
                  <a:pt x="601" y="481"/>
                </a:lnTo>
                <a:lnTo>
                  <a:pt x="606" y="478"/>
                </a:lnTo>
                <a:lnTo>
                  <a:pt x="612" y="474"/>
                </a:lnTo>
                <a:lnTo>
                  <a:pt x="616" y="469"/>
                </a:lnTo>
                <a:lnTo>
                  <a:pt x="619" y="463"/>
                </a:lnTo>
                <a:lnTo>
                  <a:pt x="624" y="458"/>
                </a:lnTo>
                <a:lnTo>
                  <a:pt x="626" y="452"/>
                </a:lnTo>
                <a:lnTo>
                  <a:pt x="629" y="446"/>
                </a:lnTo>
                <a:lnTo>
                  <a:pt x="630" y="439"/>
                </a:lnTo>
                <a:lnTo>
                  <a:pt x="631" y="432"/>
                </a:lnTo>
                <a:lnTo>
                  <a:pt x="632" y="425"/>
                </a:lnTo>
                <a:lnTo>
                  <a:pt x="632" y="418"/>
                </a:lnTo>
                <a:lnTo>
                  <a:pt x="632" y="409"/>
                </a:lnTo>
                <a:lnTo>
                  <a:pt x="631" y="402"/>
                </a:lnTo>
                <a:lnTo>
                  <a:pt x="630" y="395"/>
                </a:lnTo>
                <a:lnTo>
                  <a:pt x="628" y="388"/>
                </a:lnTo>
                <a:lnTo>
                  <a:pt x="626" y="381"/>
                </a:lnTo>
                <a:lnTo>
                  <a:pt x="623" y="375"/>
                </a:lnTo>
                <a:lnTo>
                  <a:pt x="619" y="369"/>
                </a:lnTo>
                <a:lnTo>
                  <a:pt x="615" y="363"/>
                </a:lnTo>
                <a:close/>
              </a:path>
            </a:pathLst>
          </a:custGeom>
          <a:solidFill>
            <a:schemeClr val="bg1"/>
          </a:solidFill>
          <a:ln>
            <a:noFill/>
          </a:ln>
        </p:spPr>
        <p:txBody>
          <a:bodyPr vert="horz" wrap="square" lIns="487552" tIns="243776" rIns="487552" bIns="243776" numCol="1" anchor="t" anchorCtr="0" compatLnSpc="1">
            <a:prstTxWarp prst="textNoShape">
              <a:avLst/>
            </a:prstTxWarp>
          </a:bodyPr>
          <a:lstStyle/>
          <a:p>
            <a:endParaRPr lang="ru-RU" sz="4800"/>
          </a:p>
        </p:txBody>
      </p:sp>
    </p:spTree>
    <p:extLst>
      <p:ext uri="{BB962C8B-B14F-4D97-AF65-F5344CB8AC3E}">
        <p14:creationId xmlns:p14="http://schemas.microsoft.com/office/powerpoint/2010/main" val="1590018713"/>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Images with description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413F907-AE77-0746-B805-0D2E5F01B01D}"/>
              </a:ext>
            </a:extLst>
          </p:cNvPr>
          <p:cNvSpPr>
            <a:spLocks noGrp="1"/>
          </p:cNvSpPr>
          <p:nvPr>
            <p:ph type="pic" sz="quarter" idx="17" hasCustomPrompt="1"/>
          </p:nvPr>
        </p:nvSpPr>
        <p:spPr>
          <a:xfrm>
            <a:off x="1710102" y="4124207"/>
            <a:ext cx="6113952" cy="4606926"/>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9167072" y="4124207"/>
            <a:ext cx="6113952" cy="4606926"/>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13" name="Picture Placeholder 2">
            <a:extLst>
              <a:ext uri="{FF2B5EF4-FFF2-40B4-BE49-F238E27FC236}">
                <a16:creationId xmlns:a16="http://schemas.microsoft.com/office/drawing/2014/main" id="{AADE64AA-EB12-9B42-B094-87CAEF84C4AB}"/>
              </a:ext>
            </a:extLst>
          </p:cNvPr>
          <p:cNvSpPr>
            <a:spLocks noGrp="1"/>
          </p:cNvSpPr>
          <p:nvPr>
            <p:ph type="pic" sz="quarter" idx="23" hasCustomPrompt="1"/>
          </p:nvPr>
        </p:nvSpPr>
        <p:spPr>
          <a:xfrm>
            <a:off x="16545286" y="4124207"/>
            <a:ext cx="6113952" cy="4606926"/>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14" name="Title 1">
            <a:extLst>
              <a:ext uri="{FF2B5EF4-FFF2-40B4-BE49-F238E27FC236}">
                <a16:creationId xmlns:a16="http://schemas.microsoft.com/office/drawing/2014/main" id="{15330994-19DA-9E46-A2E3-C446A8DB80A5}"/>
              </a:ext>
            </a:extLst>
          </p:cNvPr>
          <p:cNvSpPr>
            <a:spLocks noGrp="1"/>
          </p:cNvSpPr>
          <p:nvPr>
            <p:ph type="title" hasCustomPrompt="1"/>
          </p:nvPr>
        </p:nvSpPr>
        <p:spPr>
          <a:xfrm>
            <a:off x="1676293" y="1677601"/>
            <a:ext cx="21033007" cy="2450978"/>
          </a:xfrm>
          <a:prstGeom prst="rect">
            <a:avLst/>
          </a:prstGeom>
        </p:spPr>
        <p:txBody>
          <a:bodyPr/>
          <a:lstStyle>
            <a:lvl1pPr>
              <a:lnSpc>
                <a:spcPct val="100000"/>
              </a:lnSpc>
              <a:defRPr sz="7200"/>
            </a:lvl1pPr>
          </a:lstStyle>
          <a:p>
            <a:r>
              <a:rPr lang="en-US"/>
              <a:t>Put the slide headline here</a:t>
            </a:r>
          </a:p>
        </p:txBody>
      </p:sp>
      <p:sp>
        <p:nvSpPr>
          <p:cNvPr id="15" name="Text Placeholder 5">
            <a:extLst>
              <a:ext uri="{FF2B5EF4-FFF2-40B4-BE49-F238E27FC236}">
                <a16:creationId xmlns:a16="http://schemas.microsoft.com/office/drawing/2014/main" id="{EA551AE1-5794-8645-B13C-A75DC3F29BBC}"/>
              </a:ext>
            </a:extLst>
          </p:cNvPr>
          <p:cNvSpPr>
            <a:spLocks noGrp="1"/>
          </p:cNvSpPr>
          <p:nvPr>
            <p:ph type="body" sz="quarter" idx="12" hasCustomPrompt="1"/>
          </p:nvPr>
        </p:nvSpPr>
        <p:spPr>
          <a:xfrm>
            <a:off x="1710102" y="9038944"/>
            <a:ext cx="6113952" cy="2859616"/>
          </a:xfrm>
        </p:spPr>
        <p:txBody>
          <a:bodyPr>
            <a:noAutofit/>
          </a:bodyPr>
          <a:lstStyle>
            <a:lvl1pPr>
              <a:spcBef>
                <a:spcPts val="0"/>
              </a:spcBef>
              <a:defRPr sz="2800"/>
            </a:lvl1pPr>
          </a:lstStyle>
          <a:p>
            <a:pPr lvl="0"/>
            <a:r>
              <a:rPr lang="en-US"/>
              <a:t>Put the body text or caption here</a:t>
            </a:r>
            <a:endParaRPr lang="en-GB"/>
          </a:p>
        </p:txBody>
      </p:sp>
      <p:sp>
        <p:nvSpPr>
          <p:cNvPr id="16" name="Text Placeholder 5">
            <a:extLst>
              <a:ext uri="{FF2B5EF4-FFF2-40B4-BE49-F238E27FC236}">
                <a16:creationId xmlns:a16="http://schemas.microsoft.com/office/drawing/2014/main" id="{50C5C652-3240-6341-9095-4EF7D7DC26F2}"/>
              </a:ext>
            </a:extLst>
          </p:cNvPr>
          <p:cNvSpPr>
            <a:spLocks noGrp="1"/>
          </p:cNvSpPr>
          <p:nvPr>
            <p:ph type="body" sz="quarter" idx="30" hasCustomPrompt="1"/>
          </p:nvPr>
        </p:nvSpPr>
        <p:spPr>
          <a:xfrm>
            <a:off x="9134234" y="9038944"/>
            <a:ext cx="6113952" cy="2859616"/>
          </a:xfrm>
        </p:spPr>
        <p:txBody>
          <a:bodyPr>
            <a:noAutofit/>
          </a:bodyPr>
          <a:lstStyle>
            <a:lvl1pPr>
              <a:spcBef>
                <a:spcPts val="0"/>
              </a:spcBef>
              <a:defRPr sz="2800"/>
            </a:lvl1pPr>
          </a:lstStyle>
          <a:p>
            <a:pPr lvl="0"/>
            <a:r>
              <a:rPr lang="en-US"/>
              <a:t>Put the body text or caption here</a:t>
            </a:r>
            <a:endParaRPr lang="en-GB"/>
          </a:p>
        </p:txBody>
      </p:sp>
      <p:sp>
        <p:nvSpPr>
          <p:cNvPr id="25" name="Text Placeholder 5">
            <a:extLst>
              <a:ext uri="{FF2B5EF4-FFF2-40B4-BE49-F238E27FC236}">
                <a16:creationId xmlns:a16="http://schemas.microsoft.com/office/drawing/2014/main" id="{154F45D7-B176-5742-A305-63E532076396}"/>
              </a:ext>
            </a:extLst>
          </p:cNvPr>
          <p:cNvSpPr>
            <a:spLocks noGrp="1"/>
          </p:cNvSpPr>
          <p:nvPr>
            <p:ph type="body" sz="quarter" idx="31" hasCustomPrompt="1"/>
          </p:nvPr>
        </p:nvSpPr>
        <p:spPr>
          <a:xfrm>
            <a:off x="16595349" y="9038944"/>
            <a:ext cx="6113952" cy="2859616"/>
          </a:xfrm>
        </p:spPr>
        <p:txBody>
          <a:bodyPr>
            <a:noAutofit/>
          </a:bodyPr>
          <a:lstStyle>
            <a:lvl1pPr>
              <a:spcBef>
                <a:spcPts val="0"/>
              </a:spcBef>
              <a:defRPr sz="2800"/>
            </a:lvl1pPr>
          </a:lstStyle>
          <a:p>
            <a:pPr lvl="0"/>
            <a:r>
              <a:rPr lang="en-US"/>
              <a:t>Put the body text or caption here</a:t>
            </a:r>
            <a:endParaRPr lang="en-GB"/>
          </a:p>
        </p:txBody>
      </p:sp>
    </p:spTree>
    <p:extLst>
      <p:ext uri="{BB962C8B-B14F-4D97-AF65-F5344CB8AC3E}">
        <p14:creationId xmlns:p14="http://schemas.microsoft.com/office/powerpoint/2010/main" val="3874747602"/>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Chapter name with number on colour background or image">
    <p:bg>
      <p:bgPr>
        <a:solidFill>
          <a:schemeClr val="bg1"/>
        </a:solidFill>
        <a:effectLst/>
      </p:bgPr>
    </p:bg>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85D87CF5-198A-D24A-8C46-75F45766C3CF}"/>
              </a:ext>
            </a:extLst>
          </p:cNvPr>
          <p:cNvSpPr>
            <a:spLocks noGrp="1"/>
          </p:cNvSpPr>
          <p:nvPr>
            <p:ph type="pic" sz="quarter" idx="14" hasCustomPrompt="1"/>
          </p:nvPr>
        </p:nvSpPr>
        <p:spPr>
          <a:xfrm>
            <a:off x="0" y="0"/>
            <a:ext cx="24382413" cy="1371600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Select a colour for background. Or drag and drop to add a picture</a:t>
            </a:r>
          </a:p>
        </p:txBody>
      </p:sp>
      <p:sp>
        <p:nvSpPr>
          <p:cNvPr id="15" name="Text Placeholder 4">
            <a:extLst>
              <a:ext uri="{FF2B5EF4-FFF2-40B4-BE49-F238E27FC236}">
                <a16:creationId xmlns:a16="http://schemas.microsoft.com/office/drawing/2014/main" id="{D692063E-373D-9A4C-B3F2-4CED294F18A0}"/>
              </a:ext>
            </a:extLst>
          </p:cNvPr>
          <p:cNvSpPr>
            <a:spLocks noGrp="1"/>
          </p:cNvSpPr>
          <p:nvPr>
            <p:ph type="body" sz="quarter" idx="11" hasCustomPrompt="1"/>
          </p:nvPr>
        </p:nvSpPr>
        <p:spPr>
          <a:xfrm>
            <a:off x="481101" y="3905672"/>
            <a:ext cx="8076674" cy="5904656"/>
          </a:xfrm>
        </p:spPr>
        <p:txBody>
          <a:bodyPr anchor="ctr" anchorCtr="0">
            <a:noAutofit/>
          </a:bodyPr>
          <a:lstStyle>
            <a:lvl1pPr marL="0" indent="0" algn="ctr">
              <a:buNone/>
              <a:defRPr sz="49996" b="1" spc="-600" baseline="0">
                <a:ln>
                  <a:noFill/>
                </a:ln>
                <a:solidFill>
                  <a:schemeClr val="tx1"/>
                </a:solidFill>
              </a:defRPr>
            </a:lvl1pPr>
          </a:lstStyle>
          <a:p>
            <a:pPr lvl="0"/>
            <a:r>
              <a:rPr lang="en-GB" noProof="0"/>
              <a:t>#</a:t>
            </a:r>
          </a:p>
        </p:txBody>
      </p:sp>
      <p:sp>
        <p:nvSpPr>
          <p:cNvPr id="8" name="Subtitle 2">
            <a:extLst>
              <a:ext uri="{FF2B5EF4-FFF2-40B4-BE49-F238E27FC236}">
                <a16:creationId xmlns:a16="http://schemas.microsoft.com/office/drawing/2014/main" id="{03179F04-E3DD-714F-9E83-2F320F41AF4B}"/>
              </a:ext>
            </a:extLst>
          </p:cNvPr>
          <p:cNvSpPr>
            <a:spLocks noGrp="1"/>
          </p:cNvSpPr>
          <p:nvPr>
            <p:ph type="subTitle" idx="1" hasCustomPrompt="1"/>
          </p:nvPr>
        </p:nvSpPr>
        <p:spPr>
          <a:xfrm>
            <a:off x="8784128" y="3905672"/>
            <a:ext cx="14400663" cy="5904656"/>
          </a:xfrm>
        </p:spPr>
        <p:txBody>
          <a:bodyPr anchor="ctr" anchorCtr="0">
            <a:noAutofit/>
          </a:bodyPr>
          <a:lstStyle>
            <a:lvl1pPr marL="0" indent="0" algn="l">
              <a:lnSpc>
                <a:spcPct val="100000"/>
              </a:lnSpc>
              <a:buNone/>
              <a:defRPr sz="11999" b="1" spc="-200" baseline="0">
                <a:latin typeface="Noto IKEA Latin" panose="020B050204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GB" noProof="0"/>
              <a:t>Put the chapter headline here, </a:t>
            </a:r>
            <a:br>
              <a:rPr lang="en-GB" noProof="0"/>
            </a:br>
            <a:r>
              <a:rPr lang="en-GB" noProof="0"/>
              <a:t>keep it bold 60 pt</a:t>
            </a:r>
          </a:p>
        </p:txBody>
      </p:sp>
      <p:sp>
        <p:nvSpPr>
          <p:cNvPr id="9" name="Text Placeholder 3">
            <a:extLst>
              <a:ext uri="{FF2B5EF4-FFF2-40B4-BE49-F238E27FC236}">
                <a16:creationId xmlns:a16="http://schemas.microsoft.com/office/drawing/2014/main" id="{F8BD17D0-4B46-D44C-A53F-CFC6399AEEEB}"/>
              </a:ext>
            </a:extLst>
          </p:cNvPr>
          <p:cNvSpPr>
            <a:spLocks noGrp="1"/>
          </p:cNvSpPr>
          <p:nvPr>
            <p:ph type="body" sz="quarter" idx="18"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2</a:t>
            </a:r>
            <a:endParaRPr lang="en-GB"/>
          </a:p>
        </p:txBody>
      </p:sp>
    </p:spTree>
    <p:extLst>
      <p:ext uri="{BB962C8B-B14F-4D97-AF65-F5344CB8AC3E}">
        <p14:creationId xmlns:p14="http://schemas.microsoft.com/office/powerpoint/2010/main" val="8695379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ur picture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124A353B-E374-7740-BADE-D936639B642B}"/>
              </a:ext>
            </a:extLst>
          </p:cNvPr>
          <p:cNvSpPr>
            <a:spLocks noGrp="1"/>
          </p:cNvSpPr>
          <p:nvPr>
            <p:ph type="body" sz="half" idx="2" hasCustomPrompt="1"/>
          </p:nvPr>
        </p:nvSpPr>
        <p:spPr>
          <a:xfrm>
            <a:off x="6766970" y="486000"/>
            <a:ext cx="5004056" cy="5939952"/>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3" name="Picture Placeholder 2">
            <a:extLst>
              <a:ext uri="{FF2B5EF4-FFF2-40B4-BE49-F238E27FC236}">
                <a16:creationId xmlns:a16="http://schemas.microsoft.com/office/drawing/2014/main" id="{DEE2AB82-CBD5-1145-9E32-3577A8B871DC}"/>
              </a:ext>
            </a:extLst>
          </p:cNvPr>
          <p:cNvSpPr>
            <a:spLocks noGrp="1"/>
          </p:cNvSpPr>
          <p:nvPr>
            <p:ph type="pic" sz="quarter" idx="19" hasCustomPrompt="1"/>
          </p:nvPr>
        </p:nvSpPr>
        <p:spPr>
          <a:xfrm>
            <a:off x="486000" y="486000"/>
            <a:ext cx="5850000" cy="6372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9" name="Picture Placeholder 2">
            <a:extLst>
              <a:ext uri="{FF2B5EF4-FFF2-40B4-BE49-F238E27FC236}">
                <a16:creationId xmlns:a16="http://schemas.microsoft.com/office/drawing/2014/main" id="{224B314B-F368-C345-A11C-63D267394698}"/>
              </a:ext>
            </a:extLst>
          </p:cNvPr>
          <p:cNvSpPr>
            <a:spLocks noGrp="1"/>
          </p:cNvSpPr>
          <p:nvPr>
            <p:ph type="pic" sz="quarter" idx="20" hasCustomPrompt="1"/>
          </p:nvPr>
        </p:nvSpPr>
        <p:spPr>
          <a:xfrm>
            <a:off x="6351996" y="6858000"/>
            <a:ext cx="5828421" cy="6372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3" name="Picture Placeholder 2">
            <a:extLst>
              <a:ext uri="{FF2B5EF4-FFF2-40B4-BE49-F238E27FC236}">
                <a16:creationId xmlns:a16="http://schemas.microsoft.com/office/drawing/2014/main" id="{0BDAE9D1-09EE-5948-864F-662D2BEFC95D}"/>
              </a:ext>
            </a:extLst>
          </p:cNvPr>
          <p:cNvSpPr>
            <a:spLocks noGrp="1"/>
          </p:cNvSpPr>
          <p:nvPr>
            <p:ph type="pic" sz="quarter" idx="21" hasCustomPrompt="1"/>
          </p:nvPr>
        </p:nvSpPr>
        <p:spPr>
          <a:xfrm>
            <a:off x="12201996" y="486000"/>
            <a:ext cx="5850000" cy="6372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4" name="Picture Placeholder 2">
            <a:extLst>
              <a:ext uri="{FF2B5EF4-FFF2-40B4-BE49-F238E27FC236}">
                <a16:creationId xmlns:a16="http://schemas.microsoft.com/office/drawing/2014/main" id="{5A3CC44A-564E-0843-B5E6-9CA66C87720E}"/>
              </a:ext>
            </a:extLst>
          </p:cNvPr>
          <p:cNvSpPr>
            <a:spLocks noGrp="1"/>
          </p:cNvSpPr>
          <p:nvPr>
            <p:ph type="pic" sz="quarter" idx="22" hasCustomPrompt="1"/>
          </p:nvPr>
        </p:nvSpPr>
        <p:spPr>
          <a:xfrm>
            <a:off x="18073574" y="6858000"/>
            <a:ext cx="5828421" cy="6372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5" name="Text Placeholder 3">
            <a:extLst>
              <a:ext uri="{FF2B5EF4-FFF2-40B4-BE49-F238E27FC236}">
                <a16:creationId xmlns:a16="http://schemas.microsoft.com/office/drawing/2014/main" id="{18BFCA73-5A52-2948-854C-23498017B30C}"/>
              </a:ext>
            </a:extLst>
          </p:cNvPr>
          <p:cNvSpPr>
            <a:spLocks noGrp="1"/>
          </p:cNvSpPr>
          <p:nvPr>
            <p:ph type="body" sz="half" idx="23" hasCustomPrompt="1"/>
          </p:nvPr>
        </p:nvSpPr>
        <p:spPr>
          <a:xfrm>
            <a:off x="908972" y="7286690"/>
            <a:ext cx="5004056" cy="5939952"/>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36" name="Text Placeholder 3">
            <a:extLst>
              <a:ext uri="{FF2B5EF4-FFF2-40B4-BE49-F238E27FC236}">
                <a16:creationId xmlns:a16="http://schemas.microsoft.com/office/drawing/2014/main" id="{26C19E7B-3293-A34C-8019-B66220F68581}"/>
              </a:ext>
            </a:extLst>
          </p:cNvPr>
          <p:cNvSpPr>
            <a:spLocks noGrp="1"/>
          </p:cNvSpPr>
          <p:nvPr>
            <p:ph type="body" sz="half" idx="24" hasCustomPrompt="1"/>
          </p:nvPr>
        </p:nvSpPr>
        <p:spPr>
          <a:xfrm>
            <a:off x="18485756" y="486000"/>
            <a:ext cx="5004056" cy="5939952"/>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37" name="Text Placeholder 3">
            <a:extLst>
              <a:ext uri="{FF2B5EF4-FFF2-40B4-BE49-F238E27FC236}">
                <a16:creationId xmlns:a16="http://schemas.microsoft.com/office/drawing/2014/main" id="{71E04723-43C9-E249-B03C-FDED0C006F77}"/>
              </a:ext>
            </a:extLst>
          </p:cNvPr>
          <p:cNvSpPr>
            <a:spLocks noGrp="1"/>
          </p:cNvSpPr>
          <p:nvPr>
            <p:ph type="body" sz="half" idx="25" hasCustomPrompt="1"/>
          </p:nvPr>
        </p:nvSpPr>
        <p:spPr>
          <a:xfrm>
            <a:off x="12624968" y="7286690"/>
            <a:ext cx="5004056" cy="5939952"/>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11" name="TextBox 10">
            <a:extLst>
              <a:ext uri="{FF2B5EF4-FFF2-40B4-BE49-F238E27FC236}">
                <a16:creationId xmlns:a16="http://schemas.microsoft.com/office/drawing/2014/main" id="{5D4B7E75-FBA5-1D4B-BA9C-11BD2FE3C7B0}"/>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49763295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Chapter name with number on texture or image">
    <p:bg>
      <p:bgPr>
        <a:solidFill>
          <a:schemeClr val="bg1"/>
        </a:solidFill>
        <a:effectLst/>
      </p:bgPr>
    </p:bg>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C2E2C76C-B512-4744-83A7-60E61AA545D5}"/>
              </a:ext>
            </a:extLst>
          </p:cNvPr>
          <p:cNvSpPr>
            <a:spLocks noGrp="1"/>
          </p:cNvSpPr>
          <p:nvPr>
            <p:ph type="pic" sz="quarter" idx="14" hasCustomPrompt="1"/>
          </p:nvPr>
        </p:nvSpPr>
        <p:spPr>
          <a:xfrm>
            <a:off x="0" y="0"/>
            <a:ext cx="24382413" cy="1371600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Select a colour for background. Or drag and drop to add a picture</a:t>
            </a:r>
          </a:p>
        </p:txBody>
      </p:sp>
      <p:sp>
        <p:nvSpPr>
          <p:cNvPr id="5" name="Picture Placeholder 4">
            <a:extLst>
              <a:ext uri="{FF2B5EF4-FFF2-40B4-BE49-F238E27FC236}">
                <a16:creationId xmlns:a16="http://schemas.microsoft.com/office/drawing/2014/main" id="{FB1122C6-C8D2-B547-ADCC-E7F92107FD3B}"/>
              </a:ext>
            </a:extLst>
          </p:cNvPr>
          <p:cNvSpPr>
            <a:spLocks noGrp="1"/>
          </p:cNvSpPr>
          <p:nvPr>
            <p:ph type="pic" sz="quarter" idx="18" hasCustomPrompt="1"/>
          </p:nvPr>
        </p:nvSpPr>
        <p:spPr>
          <a:xfrm>
            <a:off x="1677880" y="3649662"/>
            <a:ext cx="21026657" cy="6416676"/>
          </a:xfrm>
          <a:solidFill>
            <a:schemeClr val="bg1"/>
          </a:solidFill>
        </p:spPr>
        <p:txBody>
          <a:bodyPr/>
          <a:lstStyle/>
          <a:p>
            <a:r>
              <a:rPr lang="en-GB" noProof="0"/>
              <a:t> </a:t>
            </a:r>
          </a:p>
        </p:txBody>
      </p:sp>
      <p:sp>
        <p:nvSpPr>
          <p:cNvPr id="8" name="Subtitle 2">
            <a:extLst>
              <a:ext uri="{FF2B5EF4-FFF2-40B4-BE49-F238E27FC236}">
                <a16:creationId xmlns:a16="http://schemas.microsoft.com/office/drawing/2014/main" id="{03179F04-E3DD-714F-9E83-2F320F41AF4B}"/>
              </a:ext>
            </a:extLst>
          </p:cNvPr>
          <p:cNvSpPr>
            <a:spLocks noGrp="1"/>
          </p:cNvSpPr>
          <p:nvPr>
            <p:ph type="subTitle" idx="1" hasCustomPrompt="1"/>
          </p:nvPr>
        </p:nvSpPr>
        <p:spPr>
          <a:xfrm>
            <a:off x="6718955" y="5069835"/>
            <a:ext cx="15408709" cy="3604518"/>
          </a:xfrm>
        </p:spPr>
        <p:txBody>
          <a:bodyPr anchor="ctr">
            <a:noAutofit/>
          </a:bodyPr>
          <a:lstStyle>
            <a:lvl1pPr marL="0" indent="0" algn="l">
              <a:lnSpc>
                <a:spcPct val="100000"/>
              </a:lnSpc>
              <a:buNone/>
              <a:defRPr sz="11999" b="1" spc="-200" baseline="0">
                <a:latin typeface="Noto IKEA Latin" panose="020B050204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GB" noProof="0"/>
              <a:t>Put the chapter headline here</a:t>
            </a:r>
          </a:p>
        </p:txBody>
      </p:sp>
      <p:sp>
        <p:nvSpPr>
          <p:cNvPr id="11" name="Text Placeholder 4">
            <a:extLst>
              <a:ext uri="{FF2B5EF4-FFF2-40B4-BE49-F238E27FC236}">
                <a16:creationId xmlns:a16="http://schemas.microsoft.com/office/drawing/2014/main" id="{E6CA9D82-2C12-3A47-9717-927FD5070851}"/>
              </a:ext>
            </a:extLst>
          </p:cNvPr>
          <p:cNvSpPr>
            <a:spLocks noGrp="1"/>
          </p:cNvSpPr>
          <p:nvPr>
            <p:ph type="body" sz="quarter" idx="11" hasCustomPrompt="1"/>
          </p:nvPr>
        </p:nvSpPr>
        <p:spPr>
          <a:xfrm>
            <a:off x="1700165" y="5069835"/>
            <a:ext cx="4874783" cy="3604518"/>
          </a:xfrm>
        </p:spPr>
        <p:txBody>
          <a:bodyPr anchor="ctr">
            <a:noAutofit/>
          </a:bodyPr>
          <a:lstStyle>
            <a:lvl1pPr marL="0" indent="0" algn="ctr">
              <a:lnSpc>
                <a:spcPct val="100000"/>
              </a:lnSpc>
              <a:buNone/>
              <a:defRPr sz="29999" b="1" spc="-600" baseline="0">
                <a:ln>
                  <a:noFill/>
                </a:ln>
                <a:solidFill>
                  <a:schemeClr val="tx1"/>
                </a:solidFill>
              </a:defRPr>
            </a:lvl1pPr>
          </a:lstStyle>
          <a:p>
            <a:pPr lvl="0"/>
            <a:r>
              <a:rPr lang="en-GB" noProof="0"/>
              <a:t>#</a:t>
            </a:r>
          </a:p>
        </p:txBody>
      </p:sp>
      <p:sp>
        <p:nvSpPr>
          <p:cNvPr id="9" name="Text Placeholder 3">
            <a:extLst>
              <a:ext uri="{FF2B5EF4-FFF2-40B4-BE49-F238E27FC236}">
                <a16:creationId xmlns:a16="http://schemas.microsoft.com/office/drawing/2014/main" id="{CDB35E14-306E-CC47-BA9B-1EED6583B986}"/>
              </a:ext>
            </a:extLst>
          </p:cNvPr>
          <p:cNvSpPr>
            <a:spLocks noGrp="1"/>
          </p:cNvSpPr>
          <p:nvPr>
            <p:ph type="body" sz="quarter" idx="19"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2</a:t>
            </a:r>
            <a:endParaRPr lang="en-GB"/>
          </a:p>
        </p:txBody>
      </p:sp>
    </p:spTree>
    <p:extLst>
      <p:ext uri="{BB962C8B-B14F-4D97-AF65-F5344CB8AC3E}">
        <p14:creationId xmlns:p14="http://schemas.microsoft.com/office/powerpoint/2010/main" val="3931644061"/>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Text and image on the right">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12191206" y="0"/>
            <a:ext cx="12191207" cy="1371600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Drag and drop or click the icon to add a picture</a:t>
            </a:r>
          </a:p>
        </p:txBody>
      </p:sp>
      <p:sp>
        <p:nvSpPr>
          <p:cNvPr id="11" name="Title 1">
            <a:extLst>
              <a:ext uri="{FF2B5EF4-FFF2-40B4-BE49-F238E27FC236}">
                <a16:creationId xmlns:a16="http://schemas.microsoft.com/office/drawing/2014/main" id="{28621A64-7B8E-B242-859E-D8C6D673E4E6}"/>
              </a:ext>
            </a:extLst>
          </p:cNvPr>
          <p:cNvSpPr>
            <a:spLocks noGrp="1"/>
          </p:cNvSpPr>
          <p:nvPr>
            <p:ph type="title" hasCustomPrompt="1"/>
          </p:nvPr>
        </p:nvSpPr>
        <p:spPr>
          <a:xfrm>
            <a:off x="1674328" y="1677601"/>
            <a:ext cx="9650878" cy="3457574"/>
          </a:xfrm>
          <a:prstGeom prst="rect">
            <a:avLst/>
          </a:prstGeom>
        </p:spPr>
        <p:txBody>
          <a:bodyPr/>
          <a:lstStyle>
            <a:lvl1pPr>
              <a:lnSpc>
                <a:spcPct val="100000"/>
              </a:lnSpc>
              <a:defRPr sz="7200" baseline="0"/>
            </a:lvl1pPr>
          </a:lstStyle>
          <a:p>
            <a:r>
              <a:rPr lang="en-GB" noProof="0"/>
              <a:t>Put the slide headline here, </a:t>
            </a:r>
            <a:br>
              <a:rPr lang="en-GB" noProof="0"/>
            </a:br>
            <a:r>
              <a:rPr lang="en-GB" noProof="0"/>
              <a:t>keep it bold 36 pt</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1674329" y="5696427"/>
            <a:ext cx="9650876" cy="6337298"/>
          </a:xfrm>
        </p:spPr>
        <p:txBody>
          <a:bodyPr>
            <a:noAutofit/>
          </a:bodyPr>
          <a:lstStyle>
            <a:lvl1pPr>
              <a:spcBef>
                <a:spcPts val="2000"/>
              </a:spcBef>
              <a:defRPr sz="2800"/>
            </a:lvl1pPr>
          </a:lstStyle>
          <a:p>
            <a:pPr lvl="0"/>
            <a:r>
              <a:rPr lang="en-GB" noProof="0"/>
              <a:t>Put the body text or caption here,</a:t>
            </a:r>
            <a:br>
              <a:rPr lang="en-GB" noProof="0"/>
            </a:br>
            <a:r>
              <a:rPr lang="en-GB" noProof="0"/>
              <a:t>keep it regular 14 pt</a:t>
            </a:r>
          </a:p>
        </p:txBody>
      </p:sp>
      <p:sp>
        <p:nvSpPr>
          <p:cNvPr id="8" name="Text Placeholder 3">
            <a:extLst>
              <a:ext uri="{FF2B5EF4-FFF2-40B4-BE49-F238E27FC236}">
                <a16:creationId xmlns:a16="http://schemas.microsoft.com/office/drawing/2014/main" id="{0136A015-09C4-2341-87D2-A48EA3C6C85F}"/>
              </a:ext>
            </a:extLst>
          </p:cNvPr>
          <p:cNvSpPr>
            <a:spLocks noGrp="1"/>
          </p:cNvSpPr>
          <p:nvPr>
            <p:ph type="body" sz="quarter" idx="20"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2</a:t>
            </a:r>
            <a:endParaRPr lang="en-GB"/>
          </a:p>
        </p:txBody>
      </p:sp>
    </p:spTree>
    <p:extLst>
      <p:ext uri="{BB962C8B-B14F-4D97-AF65-F5344CB8AC3E}">
        <p14:creationId xmlns:p14="http://schemas.microsoft.com/office/powerpoint/2010/main" val="3704141997"/>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Text and image on the left">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5D527F14-48A9-BB4D-8ABB-D25C9E004E4D}"/>
              </a:ext>
            </a:extLst>
          </p:cNvPr>
          <p:cNvSpPr>
            <a:spLocks noGrp="1"/>
          </p:cNvSpPr>
          <p:nvPr>
            <p:ph type="pic" sz="quarter" idx="15" hasCustomPrompt="1"/>
          </p:nvPr>
        </p:nvSpPr>
        <p:spPr>
          <a:xfrm>
            <a:off x="0" y="0"/>
            <a:ext cx="12123563" cy="1371600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Drag and drop or click the icon to add a picture</a:t>
            </a:r>
          </a:p>
        </p:txBody>
      </p:sp>
      <p:sp>
        <p:nvSpPr>
          <p:cNvPr id="11" name="Title 1">
            <a:extLst>
              <a:ext uri="{FF2B5EF4-FFF2-40B4-BE49-F238E27FC236}">
                <a16:creationId xmlns:a16="http://schemas.microsoft.com/office/drawing/2014/main" id="{126F91B4-0CEF-044B-8873-D93BD278142D}"/>
              </a:ext>
            </a:extLst>
          </p:cNvPr>
          <p:cNvSpPr>
            <a:spLocks noGrp="1"/>
          </p:cNvSpPr>
          <p:nvPr>
            <p:ph type="title" hasCustomPrompt="1"/>
          </p:nvPr>
        </p:nvSpPr>
        <p:spPr>
          <a:xfrm>
            <a:off x="13353294" y="1677601"/>
            <a:ext cx="9648914" cy="3457574"/>
          </a:xfrm>
          <a:prstGeom prst="rect">
            <a:avLst/>
          </a:prstGeom>
        </p:spPr>
        <p:txBody>
          <a:bodyPr/>
          <a:lstStyle>
            <a:lvl1pPr>
              <a:lnSpc>
                <a:spcPct val="100000"/>
              </a:lnSpc>
              <a:defRPr sz="7200"/>
            </a:lvl1pPr>
          </a:lstStyle>
          <a:p>
            <a:r>
              <a:rPr lang="en-GB" noProof="0"/>
              <a:t>Put the slide headline here, </a:t>
            </a:r>
            <a:br>
              <a:rPr lang="en-GB" noProof="0"/>
            </a:br>
            <a:r>
              <a:rPr lang="en-GB" noProof="0"/>
              <a:t>keep it bold 36 pt</a:t>
            </a:r>
          </a:p>
        </p:txBody>
      </p:sp>
      <p:sp>
        <p:nvSpPr>
          <p:cNvPr id="8" name="Text Placeholder 3">
            <a:extLst>
              <a:ext uri="{FF2B5EF4-FFF2-40B4-BE49-F238E27FC236}">
                <a16:creationId xmlns:a16="http://schemas.microsoft.com/office/drawing/2014/main" id="{B49D2ED4-85B6-784A-A881-461D6437618F}"/>
              </a:ext>
            </a:extLst>
          </p:cNvPr>
          <p:cNvSpPr>
            <a:spLocks noGrp="1"/>
          </p:cNvSpPr>
          <p:nvPr>
            <p:ph type="body" sz="quarter" idx="18" hasCustomPrompt="1"/>
          </p:nvPr>
        </p:nvSpPr>
        <p:spPr>
          <a:xfrm>
            <a:off x="13298740" y="5696427"/>
            <a:ext cx="9650876" cy="6337298"/>
          </a:xfrm>
        </p:spPr>
        <p:txBody>
          <a:bodyPr>
            <a:noAutofit/>
          </a:bodyPr>
          <a:lstStyle>
            <a:lvl1pPr>
              <a:spcBef>
                <a:spcPts val="2000"/>
              </a:spcBef>
              <a:defRPr sz="2800"/>
            </a:lvl1pPr>
          </a:lstStyle>
          <a:p>
            <a:pPr lvl="0"/>
            <a:r>
              <a:rPr lang="en-GB" noProof="0"/>
              <a:t>Put the body text or caption here,</a:t>
            </a:r>
            <a:br>
              <a:rPr lang="en-GB" noProof="0"/>
            </a:br>
            <a:r>
              <a:rPr lang="en-GB" noProof="0"/>
              <a:t>keep it regular 14 pt</a:t>
            </a:r>
          </a:p>
        </p:txBody>
      </p:sp>
    </p:spTree>
    <p:extLst>
      <p:ext uri="{BB962C8B-B14F-4D97-AF65-F5344CB8AC3E}">
        <p14:creationId xmlns:p14="http://schemas.microsoft.com/office/powerpoint/2010/main" val="3108941318"/>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Quote on imag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1600D40-C419-DE4F-928F-E01FB6D4191F}"/>
              </a:ext>
            </a:extLst>
          </p:cNvPr>
          <p:cNvSpPr>
            <a:spLocks noGrp="1"/>
          </p:cNvSpPr>
          <p:nvPr>
            <p:ph type="pic" sz="quarter" idx="14" hasCustomPrompt="1"/>
          </p:nvPr>
        </p:nvSpPr>
        <p:spPr>
          <a:xfrm>
            <a:off x="0" y="-7514"/>
            <a:ext cx="24382413" cy="13716000"/>
          </a:xfrm>
          <a:solidFill>
            <a:srgbClr val="E4E5E3"/>
          </a:solidFill>
        </p:spPr>
        <p:txBody>
          <a:bodyPr>
            <a:normAutofit/>
          </a:bodyPr>
          <a:lstStyle>
            <a:lvl1pPr>
              <a:defRPr sz="2800">
                <a:solidFill>
                  <a:schemeClr val="bg1">
                    <a:lumMod val="50000"/>
                  </a:schemeClr>
                </a:solidFill>
              </a:defRPr>
            </a:lvl1pPr>
          </a:lstStyle>
          <a:p>
            <a:r>
              <a:rPr lang="en-US"/>
              <a:t>Drag and drop or click the icon to add a picture</a:t>
            </a:r>
          </a:p>
        </p:txBody>
      </p:sp>
      <p:sp>
        <p:nvSpPr>
          <p:cNvPr id="4" name="Text Placeholder 3">
            <a:extLst>
              <a:ext uri="{FF2B5EF4-FFF2-40B4-BE49-F238E27FC236}">
                <a16:creationId xmlns:a16="http://schemas.microsoft.com/office/drawing/2014/main" id="{BB8E265F-FE98-834A-BB93-0F7C365B8C12}"/>
              </a:ext>
            </a:extLst>
          </p:cNvPr>
          <p:cNvSpPr>
            <a:spLocks noGrp="1"/>
          </p:cNvSpPr>
          <p:nvPr>
            <p:ph type="body" sz="half" idx="2" hasCustomPrompt="1"/>
          </p:nvPr>
        </p:nvSpPr>
        <p:spPr>
          <a:xfrm>
            <a:off x="13631276" y="3185593"/>
            <a:ext cx="9202503" cy="7344818"/>
          </a:xfrm>
          <a:solidFill>
            <a:schemeClr val="bg1"/>
          </a:solidFill>
        </p:spPr>
        <p:txBody>
          <a:bodyPr lIns="360000" tIns="46800" rIns="360000" bIns="46800" anchor="ctr">
            <a:noAutofit/>
          </a:bodyPr>
          <a:lstStyle>
            <a:lvl1pPr marL="0" indent="0">
              <a:lnSpc>
                <a:spcPct val="100000"/>
              </a:lnSpc>
              <a:spcBef>
                <a:spcPts val="0"/>
              </a:spcBef>
              <a:buNone/>
              <a:defRPr sz="4800" b="0" i="0">
                <a:solidFill>
                  <a:schemeClr val="tx1"/>
                </a:solidFill>
              </a:defRPr>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US"/>
              <a:t>“Put the quote here. Put the quote here. Put the quote here. Put the quote here. Put the quote here.”</a:t>
            </a:r>
          </a:p>
        </p:txBody>
      </p:sp>
      <p:sp>
        <p:nvSpPr>
          <p:cNvPr id="9" name="Text Placeholder 3">
            <a:extLst>
              <a:ext uri="{FF2B5EF4-FFF2-40B4-BE49-F238E27FC236}">
                <a16:creationId xmlns:a16="http://schemas.microsoft.com/office/drawing/2014/main" id="{52163A22-09CB-E440-8750-18D411BC5D92}"/>
              </a:ext>
            </a:extLst>
          </p:cNvPr>
          <p:cNvSpPr>
            <a:spLocks noGrp="1"/>
          </p:cNvSpPr>
          <p:nvPr>
            <p:ph type="body" sz="quarter" idx="18"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2</a:t>
            </a:r>
            <a:endParaRPr lang="en-GB"/>
          </a:p>
        </p:txBody>
      </p:sp>
    </p:spTree>
    <p:extLst>
      <p:ext uri="{BB962C8B-B14F-4D97-AF65-F5344CB8AC3E}">
        <p14:creationId xmlns:p14="http://schemas.microsoft.com/office/powerpoint/2010/main" val="3665312237"/>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Big statement on colour background, texture or image">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0" y="0"/>
            <a:ext cx="24382413" cy="1371600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Select a colour for background. Or drag and drop to add a picture</a:t>
            </a:r>
          </a:p>
        </p:txBody>
      </p:sp>
      <p:sp>
        <p:nvSpPr>
          <p:cNvPr id="10" name="Title Placeholder 6">
            <a:extLst>
              <a:ext uri="{FF2B5EF4-FFF2-40B4-BE49-F238E27FC236}">
                <a16:creationId xmlns:a16="http://schemas.microsoft.com/office/drawing/2014/main" id="{048B0FEC-E6E9-1B42-9F79-233E0858B4AD}"/>
              </a:ext>
            </a:extLst>
          </p:cNvPr>
          <p:cNvSpPr>
            <a:spLocks noGrp="1"/>
          </p:cNvSpPr>
          <p:nvPr>
            <p:ph type="title" hasCustomPrompt="1"/>
          </p:nvPr>
        </p:nvSpPr>
        <p:spPr>
          <a:xfrm>
            <a:off x="1679467" y="1692503"/>
            <a:ext cx="21029831" cy="10330998"/>
          </a:xfrm>
          <a:prstGeom prst="rect">
            <a:avLst/>
          </a:prstGeom>
        </p:spPr>
        <p:txBody>
          <a:bodyPr vert="horz" lIns="91440" tIns="45720" rIns="91440" bIns="45720" rtlCol="0" anchor="ctr">
            <a:noAutofit/>
          </a:bodyPr>
          <a:lstStyle>
            <a:lvl1pPr>
              <a:defRPr/>
            </a:lvl1pPr>
          </a:lstStyle>
          <a:p>
            <a:r>
              <a:rPr lang="en-GB" noProof="0"/>
              <a:t>Put a statement here,</a:t>
            </a:r>
            <a:br>
              <a:rPr lang="en-GB" noProof="0"/>
            </a:br>
            <a:r>
              <a:rPr lang="en-GB" noProof="0"/>
              <a:t>keep it bold 60 </a:t>
            </a:r>
            <a:r>
              <a:rPr lang="en-GB" noProof="0" err="1"/>
              <a:t>pt</a:t>
            </a:r>
            <a:endParaRPr lang="en-GB" noProof="0"/>
          </a:p>
        </p:txBody>
      </p:sp>
      <p:sp>
        <p:nvSpPr>
          <p:cNvPr id="7" name="Text Placeholder 3">
            <a:extLst>
              <a:ext uri="{FF2B5EF4-FFF2-40B4-BE49-F238E27FC236}">
                <a16:creationId xmlns:a16="http://schemas.microsoft.com/office/drawing/2014/main" id="{E7B9ED26-2920-4043-83C2-B0926B2E20C6}"/>
              </a:ext>
            </a:extLst>
          </p:cNvPr>
          <p:cNvSpPr>
            <a:spLocks noGrp="1"/>
          </p:cNvSpPr>
          <p:nvPr>
            <p:ph type="body" sz="quarter" idx="18"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2</a:t>
            </a:r>
            <a:endParaRPr lang="en-GB"/>
          </a:p>
        </p:txBody>
      </p:sp>
    </p:spTree>
    <p:extLst>
      <p:ext uri="{BB962C8B-B14F-4D97-AF65-F5344CB8AC3E}">
        <p14:creationId xmlns:p14="http://schemas.microsoft.com/office/powerpoint/2010/main" val="2601022246"/>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70_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56109" y="2197101"/>
            <a:ext cx="19511468" cy="1686922"/>
          </a:xfrm>
          <a:prstGeom prst="rect">
            <a:avLst/>
          </a:prstGeom>
        </p:spPr>
        <p:txBody>
          <a:bodyPr/>
          <a:lstStyle>
            <a:lvl1pPr>
              <a:defRPr sz="5600" b="1" baseline="0">
                <a:solidFill>
                  <a:schemeClr val="tx2"/>
                </a:solidFill>
              </a:defRPr>
            </a:lvl1pPr>
          </a:lstStyle>
          <a:p>
            <a:r>
              <a:rPr lang="en-US"/>
              <a:t>Slide title or bold statement, the content can go into one or two lines</a:t>
            </a:r>
            <a:endParaRPr lang="en-GB"/>
          </a:p>
        </p:txBody>
      </p:sp>
    </p:spTree>
    <p:extLst>
      <p:ext uri="{BB962C8B-B14F-4D97-AF65-F5344CB8AC3E}">
        <p14:creationId xmlns:p14="http://schemas.microsoft.com/office/powerpoint/2010/main" val="945451266"/>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Worldmap">
    <p:bg>
      <p:bgPr>
        <a:solidFill>
          <a:schemeClr val="bg1"/>
        </a:solidFill>
        <a:effectLst/>
      </p:bgPr>
    </p:bg>
    <p:spTree>
      <p:nvGrpSpPr>
        <p:cNvPr id="1" name=""/>
        <p:cNvGrpSpPr/>
        <p:nvPr/>
      </p:nvGrpSpPr>
      <p:grpSpPr>
        <a:xfrm>
          <a:off x="0" y="0"/>
          <a:ext cx="0" cy="0"/>
          <a:chOff x="0" y="0"/>
          <a:chExt cx="0" cy="0"/>
        </a:xfrm>
      </p:grpSpPr>
      <p:sp>
        <p:nvSpPr>
          <p:cNvPr id="1607" name="Freeform 5">
            <a:extLst>
              <a:ext uri="{FF2B5EF4-FFF2-40B4-BE49-F238E27FC236}">
                <a16:creationId xmlns:a16="http://schemas.microsoft.com/office/drawing/2014/main" id="{663D4140-A46B-CC56-42A1-B64D6BC07598}"/>
              </a:ext>
            </a:extLst>
          </p:cNvPr>
          <p:cNvSpPr>
            <a:spLocks/>
          </p:cNvSpPr>
          <p:nvPr userDrawn="1"/>
        </p:nvSpPr>
        <p:spPr bwMode="auto">
          <a:xfrm>
            <a:off x="15966032" y="10181506"/>
            <a:ext cx="12701" cy="28576"/>
          </a:xfrm>
          <a:custGeom>
            <a:avLst/>
            <a:gdLst>
              <a:gd name="T0" fmla="*/ 0 w 4"/>
              <a:gd name="T1" fmla="*/ 6 h 9"/>
              <a:gd name="T2" fmla="*/ 0 w 4"/>
              <a:gd name="T3" fmla="*/ 3 h 9"/>
              <a:gd name="T4" fmla="*/ 0 w 4"/>
              <a:gd name="T5" fmla="*/ 0 h 9"/>
              <a:gd name="T6" fmla="*/ 0 w 4"/>
              <a:gd name="T7" fmla="*/ 0 h 9"/>
              <a:gd name="T8" fmla="*/ 4 w 4"/>
              <a:gd name="T9" fmla="*/ 3 h 9"/>
              <a:gd name="T10" fmla="*/ 0 w 4"/>
              <a:gd name="T11" fmla="*/ 9 h 9"/>
              <a:gd name="T12" fmla="*/ 0 w 4"/>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4" h="9">
                <a:moveTo>
                  <a:pt x="0" y="6"/>
                </a:moveTo>
                <a:lnTo>
                  <a:pt x="0" y="3"/>
                </a:lnTo>
                <a:lnTo>
                  <a:pt x="0" y="0"/>
                </a:lnTo>
                <a:lnTo>
                  <a:pt x="0" y="0"/>
                </a:lnTo>
                <a:lnTo>
                  <a:pt x="4" y="3"/>
                </a:lnTo>
                <a:lnTo>
                  <a:pt x="0" y="9"/>
                </a:lnTo>
                <a:lnTo>
                  <a:pt x="0" y="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08" name="Freeform 6">
            <a:extLst>
              <a:ext uri="{FF2B5EF4-FFF2-40B4-BE49-F238E27FC236}">
                <a16:creationId xmlns:a16="http://schemas.microsoft.com/office/drawing/2014/main" id="{CEA24B5F-4D6C-40A4-293A-552B9FC59BD1}"/>
              </a:ext>
            </a:extLst>
          </p:cNvPr>
          <p:cNvSpPr>
            <a:spLocks noEditPoints="1"/>
          </p:cNvSpPr>
          <p:nvPr userDrawn="1"/>
        </p:nvSpPr>
        <p:spPr bwMode="auto">
          <a:xfrm>
            <a:off x="15839042" y="10092609"/>
            <a:ext cx="98420" cy="69850"/>
          </a:xfrm>
          <a:custGeom>
            <a:avLst/>
            <a:gdLst>
              <a:gd name="T0" fmla="*/ 6 w 31"/>
              <a:gd name="T1" fmla="*/ 12 h 22"/>
              <a:gd name="T2" fmla="*/ 9 w 31"/>
              <a:gd name="T3" fmla="*/ 9 h 22"/>
              <a:gd name="T4" fmla="*/ 6 w 31"/>
              <a:gd name="T5" fmla="*/ 6 h 22"/>
              <a:gd name="T6" fmla="*/ 9 w 31"/>
              <a:gd name="T7" fmla="*/ 6 h 22"/>
              <a:gd name="T8" fmla="*/ 6 w 31"/>
              <a:gd name="T9" fmla="*/ 0 h 22"/>
              <a:gd name="T10" fmla="*/ 3 w 31"/>
              <a:gd name="T11" fmla="*/ 0 h 22"/>
              <a:gd name="T12" fmla="*/ 0 w 31"/>
              <a:gd name="T13" fmla="*/ 6 h 22"/>
              <a:gd name="T14" fmla="*/ 3 w 31"/>
              <a:gd name="T15" fmla="*/ 9 h 22"/>
              <a:gd name="T16" fmla="*/ 3 w 31"/>
              <a:gd name="T17" fmla="*/ 12 h 22"/>
              <a:gd name="T18" fmla="*/ 6 w 31"/>
              <a:gd name="T19" fmla="*/ 12 h 22"/>
              <a:gd name="T20" fmla="*/ 6 w 31"/>
              <a:gd name="T21" fmla="*/ 12 h 22"/>
              <a:gd name="T22" fmla="*/ 6 w 31"/>
              <a:gd name="T23" fmla="*/ 12 h 22"/>
              <a:gd name="T24" fmla="*/ 9 w 31"/>
              <a:gd name="T25" fmla="*/ 22 h 22"/>
              <a:gd name="T26" fmla="*/ 9 w 31"/>
              <a:gd name="T27" fmla="*/ 22 h 22"/>
              <a:gd name="T28" fmla="*/ 12 w 31"/>
              <a:gd name="T29" fmla="*/ 22 h 22"/>
              <a:gd name="T30" fmla="*/ 9 w 31"/>
              <a:gd name="T31" fmla="*/ 22 h 22"/>
              <a:gd name="T32" fmla="*/ 6 w 31"/>
              <a:gd name="T33" fmla="*/ 22 h 22"/>
              <a:gd name="T34" fmla="*/ 9 w 31"/>
              <a:gd name="T35" fmla="*/ 22 h 22"/>
              <a:gd name="T36" fmla="*/ 9 w 31"/>
              <a:gd name="T37" fmla="*/ 22 h 22"/>
              <a:gd name="T38" fmla="*/ 28 w 31"/>
              <a:gd name="T39" fmla="*/ 22 h 22"/>
              <a:gd name="T40" fmla="*/ 31 w 31"/>
              <a:gd name="T41" fmla="*/ 22 h 22"/>
              <a:gd name="T42" fmla="*/ 28 w 31"/>
              <a:gd name="T43" fmla="*/ 15 h 22"/>
              <a:gd name="T44" fmla="*/ 28 w 31"/>
              <a:gd name="T45" fmla="*/ 18 h 22"/>
              <a:gd name="T46" fmla="*/ 25 w 31"/>
              <a:gd name="T47" fmla="*/ 18 h 22"/>
              <a:gd name="T48" fmla="*/ 28 w 31"/>
              <a:gd name="T49" fmla="*/ 22 h 22"/>
              <a:gd name="T50" fmla="*/ 28 w 31"/>
              <a:gd name="T5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22">
                <a:moveTo>
                  <a:pt x="6" y="12"/>
                </a:moveTo>
                <a:lnTo>
                  <a:pt x="9" y="9"/>
                </a:lnTo>
                <a:lnTo>
                  <a:pt x="6" y="6"/>
                </a:lnTo>
                <a:lnTo>
                  <a:pt x="9" y="6"/>
                </a:lnTo>
                <a:lnTo>
                  <a:pt x="6" y="0"/>
                </a:lnTo>
                <a:lnTo>
                  <a:pt x="3" y="0"/>
                </a:lnTo>
                <a:lnTo>
                  <a:pt x="0" y="6"/>
                </a:lnTo>
                <a:lnTo>
                  <a:pt x="3" y="9"/>
                </a:lnTo>
                <a:lnTo>
                  <a:pt x="3" y="12"/>
                </a:lnTo>
                <a:lnTo>
                  <a:pt x="6" y="12"/>
                </a:lnTo>
                <a:lnTo>
                  <a:pt x="6" y="12"/>
                </a:lnTo>
                <a:lnTo>
                  <a:pt x="6" y="12"/>
                </a:lnTo>
                <a:close/>
                <a:moveTo>
                  <a:pt x="9" y="22"/>
                </a:moveTo>
                <a:lnTo>
                  <a:pt x="9" y="22"/>
                </a:lnTo>
                <a:lnTo>
                  <a:pt x="12" y="22"/>
                </a:lnTo>
                <a:lnTo>
                  <a:pt x="9" y="22"/>
                </a:lnTo>
                <a:lnTo>
                  <a:pt x="6" y="22"/>
                </a:lnTo>
                <a:lnTo>
                  <a:pt x="9" y="22"/>
                </a:lnTo>
                <a:lnTo>
                  <a:pt x="9" y="22"/>
                </a:lnTo>
                <a:close/>
                <a:moveTo>
                  <a:pt x="28" y="22"/>
                </a:moveTo>
                <a:lnTo>
                  <a:pt x="31" y="22"/>
                </a:lnTo>
                <a:lnTo>
                  <a:pt x="28" y="15"/>
                </a:lnTo>
                <a:lnTo>
                  <a:pt x="28" y="18"/>
                </a:lnTo>
                <a:lnTo>
                  <a:pt x="25" y="18"/>
                </a:lnTo>
                <a:lnTo>
                  <a:pt x="28" y="22"/>
                </a:lnTo>
                <a:lnTo>
                  <a:pt x="28" y="22"/>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09" name="Freeform 7">
            <a:extLst>
              <a:ext uri="{FF2B5EF4-FFF2-40B4-BE49-F238E27FC236}">
                <a16:creationId xmlns:a16="http://schemas.microsoft.com/office/drawing/2014/main" id="{4148015F-CFE2-15F1-3028-6764DE479678}"/>
              </a:ext>
            </a:extLst>
          </p:cNvPr>
          <p:cNvSpPr>
            <a:spLocks noEditPoints="1"/>
          </p:cNvSpPr>
          <p:nvPr userDrawn="1"/>
        </p:nvSpPr>
        <p:spPr bwMode="auto">
          <a:xfrm>
            <a:off x="16045403" y="9673508"/>
            <a:ext cx="596863" cy="330200"/>
          </a:xfrm>
          <a:custGeom>
            <a:avLst/>
            <a:gdLst>
              <a:gd name="T0" fmla="*/ 182 w 188"/>
              <a:gd name="T1" fmla="*/ 7 h 104"/>
              <a:gd name="T2" fmla="*/ 188 w 188"/>
              <a:gd name="T3" fmla="*/ 3 h 104"/>
              <a:gd name="T4" fmla="*/ 185 w 188"/>
              <a:gd name="T5" fmla="*/ 3 h 104"/>
              <a:gd name="T6" fmla="*/ 182 w 188"/>
              <a:gd name="T7" fmla="*/ 0 h 104"/>
              <a:gd name="T8" fmla="*/ 182 w 188"/>
              <a:gd name="T9" fmla="*/ 3 h 104"/>
              <a:gd name="T10" fmla="*/ 182 w 188"/>
              <a:gd name="T11" fmla="*/ 7 h 104"/>
              <a:gd name="T12" fmla="*/ 182 w 188"/>
              <a:gd name="T13" fmla="*/ 7 h 104"/>
              <a:gd name="T14" fmla="*/ 4 w 188"/>
              <a:gd name="T15" fmla="*/ 100 h 104"/>
              <a:gd name="T16" fmla="*/ 7 w 188"/>
              <a:gd name="T17" fmla="*/ 100 h 104"/>
              <a:gd name="T18" fmla="*/ 7 w 188"/>
              <a:gd name="T19" fmla="*/ 104 h 104"/>
              <a:gd name="T20" fmla="*/ 4 w 188"/>
              <a:gd name="T21" fmla="*/ 100 h 104"/>
              <a:gd name="T22" fmla="*/ 4 w 188"/>
              <a:gd name="T23" fmla="*/ 100 h 104"/>
              <a:gd name="T24" fmla="*/ 0 w 188"/>
              <a:gd name="T25" fmla="*/ 94 h 104"/>
              <a:gd name="T26" fmla="*/ 4 w 188"/>
              <a:gd name="T27" fmla="*/ 91 h 104"/>
              <a:gd name="T28" fmla="*/ 7 w 188"/>
              <a:gd name="T29" fmla="*/ 94 h 104"/>
              <a:gd name="T30" fmla="*/ 7 w 188"/>
              <a:gd name="T31" fmla="*/ 94 h 104"/>
              <a:gd name="T32" fmla="*/ 7 w 188"/>
              <a:gd name="T33" fmla="*/ 94 h 104"/>
              <a:gd name="T34" fmla="*/ 4 w 188"/>
              <a:gd name="T35" fmla="*/ 94 h 104"/>
              <a:gd name="T36" fmla="*/ 0 w 188"/>
              <a:gd name="T37" fmla="*/ 9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8" h="104">
                <a:moveTo>
                  <a:pt x="182" y="7"/>
                </a:moveTo>
                <a:lnTo>
                  <a:pt x="188" y="3"/>
                </a:lnTo>
                <a:lnTo>
                  <a:pt x="185" y="3"/>
                </a:lnTo>
                <a:lnTo>
                  <a:pt x="182" y="0"/>
                </a:lnTo>
                <a:lnTo>
                  <a:pt x="182" y="3"/>
                </a:lnTo>
                <a:lnTo>
                  <a:pt x="182" y="7"/>
                </a:lnTo>
                <a:lnTo>
                  <a:pt x="182" y="7"/>
                </a:lnTo>
                <a:close/>
                <a:moveTo>
                  <a:pt x="4" y="100"/>
                </a:moveTo>
                <a:lnTo>
                  <a:pt x="7" y="100"/>
                </a:lnTo>
                <a:lnTo>
                  <a:pt x="7" y="104"/>
                </a:lnTo>
                <a:lnTo>
                  <a:pt x="4" y="100"/>
                </a:lnTo>
                <a:lnTo>
                  <a:pt x="4" y="100"/>
                </a:lnTo>
                <a:close/>
                <a:moveTo>
                  <a:pt x="0" y="94"/>
                </a:moveTo>
                <a:lnTo>
                  <a:pt x="4" y="91"/>
                </a:lnTo>
                <a:lnTo>
                  <a:pt x="7" y="94"/>
                </a:lnTo>
                <a:lnTo>
                  <a:pt x="7" y="94"/>
                </a:lnTo>
                <a:lnTo>
                  <a:pt x="7" y="94"/>
                </a:lnTo>
                <a:lnTo>
                  <a:pt x="4" y="94"/>
                </a:lnTo>
                <a:lnTo>
                  <a:pt x="0" y="9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0" name="Freeform 8">
            <a:extLst>
              <a:ext uri="{FF2B5EF4-FFF2-40B4-BE49-F238E27FC236}">
                <a16:creationId xmlns:a16="http://schemas.microsoft.com/office/drawing/2014/main" id="{317C6F66-A9E3-BF48-47B1-D16EC261A1D1}"/>
              </a:ext>
            </a:extLst>
          </p:cNvPr>
          <p:cNvSpPr>
            <a:spLocks noEditPoints="1"/>
          </p:cNvSpPr>
          <p:nvPr userDrawn="1"/>
        </p:nvSpPr>
        <p:spPr bwMode="auto">
          <a:xfrm>
            <a:off x="18915420" y="8501930"/>
            <a:ext cx="136517" cy="457200"/>
          </a:xfrm>
          <a:custGeom>
            <a:avLst/>
            <a:gdLst>
              <a:gd name="T0" fmla="*/ 6 w 14"/>
              <a:gd name="T1" fmla="*/ 8 h 46"/>
              <a:gd name="T2" fmla="*/ 5 w 14"/>
              <a:gd name="T3" fmla="*/ 5 h 46"/>
              <a:gd name="T4" fmla="*/ 6 w 14"/>
              <a:gd name="T5" fmla="*/ 3 h 46"/>
              <a:gd name="T6" fmla="*/ 6 w 14"/>
              <a:gd name="T7" fmla="*/ 1 h 46"/>
              <a:gd name="T8" fmla="*/ 4 w 14"/>
              <a:gd name="T9" fmla="*/ 2 h 46"/>
              <a:gd name="T10" fmla="*/ 4 w 14"/>
              <a:gd name="T11" fmla="*/ 5 h 46"/>
              <a:gd name="T12" fmla="*/ 4 w 14"/>
              <a:gd name="T13" fmla="*/ 8 h 46"/>
              <a:gd name="T14" fmla="*/ 4 w 14"/>
              <a:gd name="T15" fmla="*/ 16 h 46"/>
              <a:gd name="T16" fmla="*/ 4 w 14"/>
              <a:gd name="T17" fmla="*/ 13 h 46"/>
              <a:gd name="T18" fmla="*/ 4 w 14"/>
              <a:gd name="T19" fmla="*/ 11 h 46"/>
              <a:gd name="T20" fmla="*/ 5 w 14"/>
              <a:gd name="T21" fmla="*/ 9 h 46"/>
              <a:gd name="T22" fmla="*/ 3 w 14"/>
              <a:gd name="T23" fmla="*/ 12 h 46"/>
              <a:gd name="T24" fmla="*/ 4 w 14"/>
              <a:gd name="T25" fmla="*/ 14 h 46"/>
              <a:gd name="T26" fmla="*/ 4 w 14"/>
              <a:gd name="T27" fmla="*/ 16 h 46"/>
              <a:gd name="T28" fmla="*/ 2 w 14"/>
              <a:gd name="T29" fmla="*/ 15 h 46"/>
              <a:gd name="T30" fmla="*/ 0 w 14"/>
              <a:gd name="T31" fmla="*/ 15 h 46"/>
              <a:gd name="T32" fmla="*/ 4 w 14"/>
              <a:gd name="T33" fmla="*/ 22 h 46"/>
              <a:gd name="T34" fmla="*/ 4 w 14"/>
              <a:gd name="T35" fmla="*/ 19 h 46"/>
              <a:gd name="T36" fmla="*/ 2 w 14"/>
              <a:gd name="T37" fmla="*/ 21 h 46"/>
              <a:gd name="T38" fmla="*/ 6 w 14"/>
              <a:gd name="T39" fmla="*/ 29 h 46"/>
              <a:gd name="T40" fmla="*/ 6 w 14"/>
              <a:gd name="T41" fmla="*/ 30 h 46"/>
              <a:gd name="T42" fmla="*/ 8 w 14"/>
              <a:gd name="T43" fmla="*/ 34 h 46"/>
              <a:gd name="T44" fmla="*/ 9 w 14"/>
              <a:gd name="T45" fmla="*/ 36 h 46"/>
              <a:gd name="T46" fmla="*/ 8 w 14"/>
              <a:gd name="T47" fmla="*/ 34 h 46"/>
              <a:gd name="T48" fmla="*/ 10 w 14"/>
              <a:gd name="T49" fmla="*/ 36 h 46"/>
              <a:gd name="T50" fmla="*/ 11 w 14"/>
              <a:gd name="T51" fmla="*/ 37 h 46"/>
              <a:gd name="T52" fmla="*/ 11 w 14"/>
              <a:gd name="T53" fmla="*/ 35 h 46"/>
              <a:gd name="T54" fmla="*/ 10 w 14"/>
              <a:gd name="T55" fmla="*/ 39 h 46"/>
              <a:gd name="T56" fmla="*/ 10 w 14"/>
              <a:gd name="T57" fmla="*/ 37 h 46"/>
              <a:gd name="T58" fmla="*/ 9 w 14"/>
              <a:gd name="T59" fmla="*/ 39 h 46"/>
              <a:gd name="T60" fmla="*/ 13 w 14"/>
              <a:gd name="T61" fmla="*/ 41 h 46"/>
              <a:gd name="T62" fmla="*/ 11 w 14"/>
              <a:gd name="T63" fmla="*/ 41 h 46"/>
              <a:gd name="T64" fmla="*/ 13 w 14"/>
              <a:gd name="T65" fmla="*/ 42 h 46"/>
              <a:gd name="T66" fmla="*/ 12 w 14"/>
              <a:gd name="T67" fmla="*/ 44 h 46"/>
              <a:gd name="T68" fmla="*/ 13 w 14"/>
              <a:gd name="T69" fmla="*/ 46 h 46"/>
              <a:gd name="T70" fmla="*/ 13 w 14"/>
              <a:gd name="T71" fmla="*/ 44 h 46"/>
              <a:gd name="T72" fmla="*/ 13 w 14"/>
              <a:gd name="T73"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46">
                <a:moveTo>
                  <a:pt x="4" y="9"/>
                </a:moveTo>
                <a:cubicBezTo>
                  <a:pt x="6" y="8"/>
                  <a:pt x="6" y="8"/>
                  <a:pt x="6" y="8"/>
                </a:cubicBezTo>
                <a:cubicBezTo>
                  <a:pt x="6" y="6"/>
                  <a:pt x="6" y="6"/>
                  <a:pt x="6" y="6"/>
                </a:cubicBezTo>
                <a:cubicBezTo>
                  <a:pt x="5" y="5"/>
                  <a:pt x="5" y="5"/>
                  <a:pt x="5" y="5"/>
                </a:cubicBezTo>
                <a:cubicBezTo>
                  <a:pt x="6" y="4"/>
                  <a:pt x="6" y="4"/>
                  <a:pt x="6" y="4"/>
                </a:cubicBezTo>
                <a:cubicBezTo>
                  <a:pt x="6" y="3"/>
                  <a:pt x="6" y="3"/>
                  <a:pt x="6" y="3"/>
                </a:cubicBezTo>
                <a:cubicBezTo>
                  <a:pt x="5" y="2"/>
                  <a:pt x="5" y="2"/>
                  <a:pt x="5" y="2"/>
                </a:cubicBezTo>
                <a:cubicBezTo>
                  <a:pt x="6" y="1"/>
                  <a:pt x="6" y="1"/>
                  <a:pt x="6" y="1"/>
                </a:cubicBezTo>
                <a:cubicBezTo>
                  <a:pt x="5" y="0"/>
                  <a:pt x="5" y="0"/>
                  <a:pt x="5" y="0"/>
                </a:cubicBezTo>
                <a:cubicBezTo>
                  <a:pt x="4" y="2"/>
                  <a:pt x="4" y="2"/>
                  <a:pt x="4" y="2"/>
                </a:cubicBezTo>
                <a:cubicBezTo>
                  <a:pt x="4" y="4"/>
                  <a:pt x="4" y="4"/>
                  <a:pt x="4" y="4"/>
                </a:cubicBezTo>
                <a:cubicBezTo>
                  <a:pt x="4" y="5"/>
                  <a:pt x="4" y="5"/>
                  <a:pt x="4" y="5"/>
                </a:cubicBezTo>
                <a:cubicBezTo>
                  <a:pt x="4" y="5"/>
                  <a:pt x="4" y="5"/>
                  <a:pt x="4" y="5"/>
                </a:cubicBezTo>
                <a:cubicBezTo>
                  <a:pt x="4" y="8"/>
                  <a:pt x="4" y="8"/>
                  <a:pt x="4" y="8"/>
                </a:cubicBezTo>
                <a:cubicBezTo>
                  <a:pt x="4" y="9"/>
                  <a:pt x="4" y="9"/>
                  <a:pt x="4" y="9"/>
                </a:cubicBezTo>
                <a:close/>
                <a:moveTo>
                  <a:pt x="4" y="16"/>
                </a:moveTo>
                <a:cubicBezTo>
                  <a:pt x="4" y="14"/>
                  <a:pt x="4" y="14"/>
                  <a:pt x="4" y="14"/>
                </a:cubicBezTo>
                <a:cubicBezTo>
                  <a:pt x="4" y="13"/>
                  <a:pt x="4" y="13"/>
                  <a:pt x="4" y="13"/>
                </a:cubicBezTo>
                <a:cubicBezTo>
                  <a:pt x="4" y="12"/>
                  <a:pt x="4" y="12"/>
                  <a:pt x="4" y="12"/>
                </a:cubicBezTo>
                <a:cubicBezTo>
                  <a:pt x="4" y="11"/>
                  <a:pt x="4" y="11"/>
                  <a:pt x="4" y="11"/>
                </a:cubicBezTo>
                <a:cubicBezTo>
                  <a:pt x="5" y="10"/>
                  <a:pt x="5" y="10"/>
                  <a:pt x="5" y="10"/>
                </a:cubicBezTo>
                <a:cubicBezTo>
                  <a:pt x="5" y="9"/>
                  <a:pt x="5" y="9"/>
                  <a:pt x="5" y="9"/>
                </a:cubicBezTo>
                <a:cubicBezTo>
                  <a:pt x="3" y="10"/>
                  <a:pt x="3" y="10"/>
                  <a:pt x="3" y="10"/>
                </a:cubicBezTo>
                <a:cubicBezTo>
                  <a:pt x="3" y="12"/>
                  <a:pt x="3" y="12"/>
                  <a:pt x="3" y="12"/>
                </a:cubicBezTo>
                <a:cubicBezTo>
                  <a:pt x="3" y="13"/>
                  <a:pt x="3" y="13"/>
                  <a:pt x="3" y="13"/>
                </a:cubicBezTo>
                <a:cubicBezTo>
                  <a:pt x="4" y="14"/>
                  <a:pt x="4" y="14"/>
                  <a:pt x="4" y="14"/>
                </a:cubicBezTo>
                <a:cubicBezTo>
                  <a:pt x="3" y="15"/>
                  <a:pt x="3" y="15"/>
                  <a:pt x="3" y="15"/>
                </a:cubicBezTo>
                <a:cubicBezTo>
                  <a:pt x="4" y="16"/>
                  <a:pt x="4" y="16"/>
                  <a:pt x="4" y="16"/>
                </a:cubicBezTo>
                <a:close/>
                <a:moveTo>
                  <a:pt x="0" y="15"/>
                </a:moveTo>
                <a:cubicBezTo>
                  <a:pt x="2" y="15"/>
                  <a:pt x="2" y="15"/>
                  <a:pt x="2" y="15"/>
                </a:cubicBezTo>
                <a:cubicBezTo>
                  <a:pt x="1" y="14"/>
                  <a:pt x="1" y="14"/>
                  <a:pt x="1" y="14"/>
                </a:cubicBezTo>
                <a:cubicBezTo>
                  <a:pt x="0" y="15"/>
                  <a:pt x="0" y="15"/>
                  <a:pt x="0" y="15"/>
                </a:cubicBezTo>
                <a:close/>
                <a:moveTo>
                  <a:pt x="2" y="22"/>
                </a:moveTo>
                <a:cubicBezTo>
                  <a:pt x="4" y="22"/>
                  <a:pt x="4" y="22"/>
                  <a:pt x="4" y="22"/>
                </a:cubicBezTo>
                <a:cubicBezTo>
                  <a:pt x="4" y="20"/>
                  <a:pt x="4" y="20"/>
                  <a:pt x="4" y="20"/>
                </a:cubicBezTo>
                <a:cubicBezTo>
                  <a:pt x="4" y="19"/>
                  <a:pt x="4" y="19"/>
                  <a:pt x="4" y="19"/>
                </a:cubicBezTo>
                <a:cubicBezTo>
                  <a:pt x="3" y="19"/>
                  <a:pt x="3" y="19"/>
                  <a:pt x="3" y="19"/>
                </a:cubicBezTo>
                <a:cubicBezTo>
                  <a:pt x="2" y="21"/>
                  <a:pt x="2" y="21"/>
                  <a:pt x="2" y="21"/>
                </a:cubicBezTo>
                <a:cubicBezTo>
                  <a:pt x="2" y="21"/>
                  <a:pt x="2" y="22"/>
                  <a:pt x="2" y="22"/>
                </a:cubicBezTo>
                <a:close/>
                <a:moveTo>
                  <a:pt x="6" y="29"/>
                </a:moveTo>
                <a:cubicBezTo>
                  <a:pt x="5" y="30"/>
                  <a:pt x="5" y="30"/>
                  <a:pt x="5" y="30"/>
                </a:cubicBezTo>
                <a:cubicBezTo>
                  <a:pt x="6" y="30"/>
                  <a:pt x="6" y="30"/>
                  <a:pt x="6" y="30"/>
                </a:cubicBezTo>
                <a:cubicBezTo>
                  <a:pt x="6" y="29"/>
                  <a:pt x="6" y="29"/>
                  <a:pt x="6" y="29"/>
                </a:cubicBezTo>
                <a:close/>
                <a:moveTo>
                  <a:pt x="8" y="34"/>
                </a:moveTo>
                <a:cubicBezTo>
                  <a:pt x="8" y="35"/>
                  <a:pt x="8" y="35"/>
                  <a:pt x="8" y="35"/>
                </a:cubicBezTo>
                <a:cubicBezTo>
                  <a:pt x="9" y="36"/>
                  <a:pt x="9" y="36"/>
                  <a:pt x="9" y="36"/>
                </a:cubicBezTo>
                <a:cubicBezTo>
                  <a:pt x="8" y="35"/>
                  <a:pt x="8" y="35"/>
                  <a:pt x="8" y="35"/>
                </a:cubicBezTo>
                <a:cubicBezTo>
                  <a:pt x="8" y="35"/>
                  <a:pt x="8" y="34"/>
                  <a:pt x="8" y="34"/>
                </a:cubicBezTo>
                <a:close/>
                <a:moveTo>
                  <a:pt x="11" y="35"/>
                </a:moveTo>
                <a:cubicBezTo>
                  <a:pt x="10" y="36"/>
                  <a:pt x="10" y="36"/>
                  <a:pt x="10" y="36"/>
                </a:cubicBezTo>
                <a:cubicBezTo>
                  <a:pt x="11" y="37"/>
                  <a:pt x="11" y="37"/>
                  <a:pt x="11" y="37"/>
                </a:cubicBezTo>
                <a:cubicBezTo>
                  <a:pt x="11" y="37"/>
                  <a:pt x="11" y="37"/>
                  <a:pt x="11" y="37"/>
                </a:cubicBezTo>
                <a:cubicBezTo>
                  <a:pt x="11" y="36"/>
                  <a:pt x="11" y="36"/>
                  <a:pt x="11" y="36"/>
                </a:cubicBezTo>
                <a:cubicBezTo>
                  <a:pt x="11" y="35"/>
                  <a:pt x="11" y="35"/>
                  <a:pt x="11" y="35"/>
                </a:cubicBezTo>
                <a:close/>
                <a:moveTo>
                  <a:pt x="9" y="39"/>
                </a:moveTo>
                <a:cubicBezTo>
                  <a:pt x="10" y="39"/>
                  <a:pt x="10" y="39"/>
                  <a:pt x="10" y="39"/>
                </a:cubicBezTo>
                <a:cubicBezTo>
                  <a:pt x="11" y="39"/>
                  <a:pt x="11" y="39"/>
                  <a:pt x="11" y="39"/>
                </a:cubicBezTo>
                <a:cubicBezTo>
                  <a:pt x="10" y="37"/>
                  <a:pt x="10" y="37"/>
                  <a:pt x="10" y="37"/>
                </a:cubicBezTo>
                <a:cubicBezTo>
                  <a:pt x="9" y="38"/>
                  <a:pt x="9" y="38"/>
                  <a:pt x="9" y="38"/>
                </a:cubicBezTo>
                <a:cubicBezTo>
                  <a:pt x="9" y="39"/>
                  <a:pt x="9" y="39"/>
                  <a:pt x="9" y="39"/>
                </a:cubicBezTo>
                <a:close/>
                <a:moveTo>
                  <a:pt x="12" y="42"/>
                </a:moveTo>
                <a:cubicBezTo>
                  <a:pt x="13" y="41"/>
                  <a:pt x="13" y="41"/>
                  <a:pt x="13" y="41"/>
                </a:cubicBezTo>
                <a:cubicBezTo>
                  <a:pt x="12" y="41"/>
                  <a:pt x="12" y="41"/>
                  <a:pt x="12" y="41"/>
                </a:cubicBezTo>
                <a:cubicBezTo>
                  <a:pt x="11" y="41"/>
                  <a:pt x="11" y="41"/>
                  <a:pt x="11" y="41"/>
                </a:cubicBezTo>
                <a:cubicBezTo>
                  <a:pt x="12" y="42"/>
                  <a:pt x="12" y="42"/>
                  <a:pt x="12" y="42"/>
                </a:cubicBezTo>
                <a:close/>
                <a:moveTo>
                  <a:pt x="13" y="42"/>
                </a:moveTo>
                <a:cubicBezTo>
                  <a:pt x="12" y="43"/>
                  <a:pt x="12" y="43"/>
                  <a:pt x="12" y="43"/>
                </a:cubicBezTo>
                <a:cubicBezTo>
                  <a:pt x="12" y="44"/>
                  <a:pt x="12" y="44"/>
                  <a:pt x="12" y="44"/>
                </a:cubicBezTo>
                <a:cubicBezTo>
                  <a:pt x="12" y="44"/>
                  <a:pt x="12" y="44"/>
                  <a:pt x="12" y="45"/>
                </a:cubicBezTo>
                <a:cubicBezTo>
                  <a:pt x="12" y="45"/>
                  <a:pt x="13" y="46"/>
                  <a:pt x="13" y="46"/>
                </a:cubicBezTo>
                <a:cubicBezTo>
                  <a:pt x="14" y="45"/>
                  <a:pt x="14" y="45"/>
                  <a:pt x="14" y="45"/>
                </a:cubicBezTo>
                <a:cubicBezTo>
                  <a:pt x="13" y="44"/>
                  <a:pt x="13" y="44"/>
                  <a:pt x="13" y="44"/>
                </a:cubicBezTo>
                <a:cubicBezTo>
                  <a:pt x="13" y="43"/>
                  <a:pt x="13" y="43"/>
                  <a:pt x="13" y="43"/>
                </a:cubicBezTo>
                <a:lnTo>
                  <a:pt x="13" y="42"/>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1" name="Freeform 9">
            <a:extLst>
              <a:ext uri="{FF2B5EF4-FFF2-40B4-BE49-F238E27FC236}">
                <a16:creationId xmlns:a16="http://schemas.microsoft.com/office/drawing/2014/main" id="{DD89DE80-3D9E-7C8A-1FEC-797731833B3B}"/>
              </a:ext>
            </a:extLst>
          </p:cNvPr>
          <p:cNvSpPr>
            <a:spLocks noEditPoints="1"/>
          </p:cNvSpPr>
          <p:nvPr userDrawn="1"/>
        </p:nvSpPr>
        <p:spPr bwMode="auto">
          <a:xfrm>
            <a:off x="22179102" y="8371759"/>
            <a:ext cx="79371" cy="149226"/>
          </a:xfrm>
          <a:custGeom>
            <a:avLst/>
            <a:gdLst>
              <a:gd name="T0" fmla="*/ 25 w 25"/>
              <a:gd name="T1" fmla="*/ 0 h 47"/>
              <a:gd name="T2" fmla="*/ 19 w 25"/>
              <a:gd name="T3" fmla="*/ 4 h 47"/>
              <a:gd name="T4" fmla="*/ 22 w 25"/>
              <a:gd name="T5" fmla="*/ 10 h 47"/>
              <a:gd name="T6" fmla="*/ 22 w 25"/>
              <a:gd name="T7" fmla="*/ 4 h 47"/>
              <a:gd name="T8" fmla="*/ 25 w 25"/>
              <a:gd name="T9" fmla="*/ 0 h 47"/>
              <a:gd name="T10" fmla="*/ 25 w 25"/>
              <a:gd name="T11" fmla="*/ 0 h 47"/>
              <a:gd name="T12" fmla="*/ 25 w 25"/>
              <a:gd name="T13" fmla="*/ 0 h 47"/>
              <a:gd name="T14" fmla="*/ 13 w 25"/>
              <a:gd name="T15" fmla="*/ 29 h 47"/>
              <a:gd name="T16" fmla="*/ 16 w 25"/>
              <a:gd name="T17" fmla="*/ 26 h 47"/>
              <a:gd name="T18" fmla="*/ 19 w 25"/>
              <a:gd name="T19" fmla="*/ 29 h 47"/>
              <a:gd name="T20" fmla="*/ 16 w 25"/>
              <a:gd name="T21" fmla="*/ 29 h 47"/>
              <a:gd name="T22" fmla="*/ 13 w 25"/>
              <a:gd name="T23" fmla="*/ 29 h 47"/>
              <a:gd name="T24" fmla="*/ 13 w 25"/>
              <a:gd name="T25" fmla="*/ 29 h 47"/>
              <a:gd name="T26" fmla="*/ 3 w 25"/>
              <a:gd name="T27" fmla="*/ 44 h 47"/>
              <a:gd name="T28" fmla="*/ 3 w 25"/>
              <a:gd name="T29" fmla="*/ 41 h 47"/>
              <a:gd name="T30" fmla="*/ 6 w 25"/>
              <a:gd name="T31" fmla="*/ 38 h 47"/>
              <a:gd name="T32" fmla="*/ 9 w 25"/>
              <a:gd name="T33" fmla="*/ 41 h 47"/>
              <a:gd name="T34" fmla="*/ 6 w 25"/>
              <a:gd name="T35" fmla="*/ 47 h 47"/>
              <a:gd name="T36" fmla="*/ 3 w 25"/>
              <a:gd name="T37" fmla="*/ 47 h 47"/>
              <a:gd name="T38" fmla="*/ 0 w 25"/>
              <a:gd name="T39" fmla="*/ 44 h 47"/>
              <a:gd name="T40" fmla="*/ 3 w 25"/>
              <a:gd name="T41"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47">
                <a:moveTo>
                  <a:pt x="25" y="0"/>
                </a:moveTo>
                <a:lnTo>
                  <a:pt x="19" y="4"/>
                </a:lnTo>
                <a:lnTo>
                  <a:pt x="22" y="10"/>
                </a:lnTo>
                <a:lnTo>
                  <a:pt x="22" y="4"/>
                </a:lnTo>
                <a:lnTo>
                  <a:pt x="25" y="0"/>
                </a:lnTo>
                <a:lnTo>
                  <a:pt x="25" y="0"/>
                </a:lnTo>
                <a:lnTo>
                  <a:pt x="25" y="0"/>
                </a:lnTo>
                <a:close/>
                <a:moveTo>
                  <a:pt x="13" y="29"/>
                </a:moveTo>
                <a:lnTo>
                  <a:pt x="16" y="26"/>
                </a:lnTo>
                <a:lnTo>
                  <a:pt x="19" y="29"/>
                </a:lnTo>
                <a:lnTo>
                  <a:pt x="16" y="29"/>
                </a:lnTo>
                <a:lnTo>
                  <a:pt x="13" y="29"/>
                </a:lnTo>
                <a:lnTo>
                  <a:pt x="13" y="29"/>
                </a:lnTo>
                <a:close/>
                <a:moveTo>
                  <a:pt x="3" y="44"/>
                </a:moveTo>
                <a:lnTo>
                  <a:pt x="3" y="41"/>
                </a:lnTo>
                <a:lnTo>
                  <a:pt x="6" y="38"/>
                </a:lnTo>
                <a:lnTo>
                  <a:pt x="9" y="41"/>
                </a:lnTo>
                <a:lnTo>
                  <a:pt x="6" y="47"/>
                </a:lnTo>
                <a:lnTo>
                  <a:pt x="3" y="47"/>
                </a:lnTo>
                <a:lnTo>
                  <a:pt x="0" y="44"/>
                </a:lnTo>
                <a:lnTo>
                  <a:pt x="3" y="4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2" name="Freeform 10">
            <a:extLst>
              <a:ext uri="{FF2B5EF4-FFF2-40B4-BE49-F238E27FC236}">
                <a16:creationId xmlns:a16="http://schemas.microsoft.com/office/drawing/2014/main" id="{91C92606-AF3B-9C58-F521-F92AE6546400}"/>
              </a:ext>
            </a:extLst>
          </p:cNvPr>
          <p:cNvSpPr>
            <a:spLocks noEditPoints="1"/>
          </p:cNvSpPr>
          <p:nvPr userDrawn="1"/>
        </p:nvSpPr>
        <p:spPr bwMode="auto">
          <a:xfrm>
            <a:off x="14537374" y="1669331"/>
            <a:ext cx="8206842" cy="4946650"/>
          </a:xfrm>
          <a:custGeom>
            <a:avLst/>
            <a:gdLst>
              <a:gd name="T0" fmla="*/ 633 w 827"/>
              <a:gd name="T1" fmla="*/ 408 h 498"/>
              <a:gd name="T2" fmla="*/ 578 w 827"/>
              <a:gd name="T3" fmla="*/ 356 h 498"/>
              <a:gd name="T4" fmla="*/ 516 w 827"/>
              <a:gd name="T5" fmla="*/ 401 h 498"/>
              <a:gd name="T6" fmla="*/ 401 w 827"/>
              <a:gd name="T7" fmla="*/ 403 h 498"/>
              <a:gd name="T8" fmla="*/ 283 w 827"/>
              <a:gd name="T9" fmla="*/ 383 h 498"/>
              <a:gd name="T10" fmla="*/ 208 w 827"/>
              <a:gd name="T11" fmla="*/ 393 h 498"/>
              <a:gd name="T12" fmla="*/ 140 w 827"/>
              <a:gd name="T13" fmla="*/ 425 h 498"/>
              <a:gd name="T14" fmla="*/ 120 w 827"/>
              <a:gd name="T15" fmla="*/ 497 h 498"/>
              <a:gd name="T16" fmla="*/ 69 w 827"/>
              <a:gd name="T17" fmla="*/ 425 h 498"/>
              <a:gd name="T18" fmla="*/ 11 w 827"/>
              <a:gd name="T19" fmla="*/ 334 h 498"/>
              <a:gd name="T20" fmla="*/ 22 w 827"/>
              <a:gd name="T21" fmla="*/ 238 h 498"/>
              <a:gd name="T22" fmla="*/ 30 w 827"/>
              <a:gd name="T23" fmla="*/ 270 h 498"/>
              <a:gd name="T24" fmla="*/ 84 w 827"/>
              <a:gd name="T25" fmla="*/ 263 h 498"/>
              <a:gd name="T26" fmla="*/ 128 w 827"/>
              <a:gd name="T27" fmla="*/ 239 h 498"/>
              <a:gd name="T28" fmla="*/ 204 w 827"/>
              <a:gd name="T29" fmla="*/ 224 h 498"/>
              <a:gd name="T30" fmla="*/ 226 w 827"/>
              <a:gd name="T31" fmla="*/ 227 h 498"/>
              <a:gd name="T32" fmla="*/ 247 w 827"/>
              <a:gd name="T33" fmla="*/ 220 h 498"/>
              <a:gd name="T34" fmla="*/ 239 w 827"/>
              <a:gd name="T35" fmla="*/ 171 h 498"/>
              <a:gd name="T36" fmla="*/ 248 w 827"/>
              <a:gd name="T37" fmla="*/ 144 h 498"/>
              <a:gd name="T38" fmla="*/ 273 w 827"/>
              <a:gd name="T39" fmla="*/ 96 h 498"/>
              <a:gd name="T40" fmla="*/ 311 w 827"/>
              <a:gd name="T41" fmla="*/ 65 h 498"/>
              <a:gd name="T42" fmla="*/ 364 w 827"/>
              <a:gd name="T43" fmla="*/ 94 h 498"/>
              <a:gd name="T44" fmla="*/ 386 w 827"/>
              <a:gd name="T45" fmla="*/ 114 h 498"/>
              <a:gd name="T46" fmla="*/ 466 w 827"/>
              <a:gd name="T47" fmla="*/ 109 h 498"/>
              <a:gd name="T48" fmla="*/ 525 w 827"/>
              <a:gd name="T49" fmla="*/ 102 h 498"/>
              <a:gd name="T50" fmla="*/ 581 w 827"/>
              <a:gd name="T51" fmla="*/ 91 h 498"/>
              <a:gd name="T52" fmla="*/ 705 w 827"/>
              <a:gd name="T53" fmla="*/ 93 h 498"/>
              <a:gd name="T54" fmla="*/ 783 w 827"/>
              <a:gd name="T55" fmla="*/ 77 h 498"/>
              <a:gd name="T56" fmla="*/ 819 w 827"/>
              <a:gd name="T57" fmla="*/ 97 h 498"/>
              <a:gd name="T58" fmla="*/ 796 w 827"/>
              <a:gd name="T59" fmla="*/ 131 h 498"/>
              <a:gd name="T60" fmla="*/ 800 w 827"/>
              <a:gd name="T61" fmla="*/ 187 h 498"/>
              <a:gd name="T62" fmla="*/ 758 w 827"/>
              <a:gd name="T63" fmla="*/ 248 h 498"/>
              <a:gd name="T64" fmla="*/ 772 w 827"/>
              <a:gd name="T65" fmla="*/ 339 h 498"/>
              <a:gd name="T66" fmla="*/ 741 w 827"/>
              <a:gd name="T67" fmla="*/ 206 h 498"/>
              <a:gd name="T68" fmla="*/ 706 w 827"/>
              <a:gd name="T69" fmla="*/ 230 h 498"/>
              <a:gd name="T70" fmla="*/ 661 w 827"/>
              <a:gd name="T71" fmla="*/ 264 h 498"/>
              <a:gd name="T72" fmla="*/ 651 w 827"/>
              <a:gd name="T73" fmla="*/ 333 h 498"/>
              <a:gd name="T74" fmla="*/ 656 w 827"/>
              <a:gd name="T75" fmla="*/ 453 h 498"/>
              <a:gd name="T76" fmla="*/ 56 w 827"/>
              <a:gd name="T77" fmla="*/ 51 h 498"/>
              <a:gd name="T78" fmla="*/ 77 w 827"/>
              <a:gd name="T79" fmla="*/ 31 h 498"/>
              <a:gd name="T80" fmla="*/ 70 w 827"/>
              <a:gd name="T81" fmla="*/ 51 h 498"/>
              <a:gd name="T82" fmla="*/ 74 w 827"/>
              <a:gd name="T83" fmla="*/ 52 h 498"/>
              <a:gd name="T84" fmla="*/ 92 w 827"/>
              <a:gd name="T85" fmla="*/ 44 h 498"/>
              <a:gd name="T86" fmla="*/ 119 w 827"/>
              <a:gd name="T87" fmla="*/ 171 h 498"/>
              <a:gd name="T88" fmla="*/ 145 w 827"/>
              <a:gd name="T89" fmla="*/ 112 h 498"/>
              <a:gd name="T90" fmla="*/ 113 w 827"/>
              <a:gd name="T91" fmla="*/ 159 h 498"/>
              <a:gd name="T92" fmla="*/ 107 w 827"/>
              <a:gd name="T93" fmla="*/ 180 h 498"/>
              <a:gd name="T94" fmla="*/ 137 w 827"/>
              <a:gd name="T95" fmla="*/ 211 h 498"/>
              <a:gd name="T96" fmla="*/ 265 w 827"/>
              <a:gd name="T97" fmla="*/ 189 h 498"/>
              <a:gd name="T98" fmla="*/ 208 w 827"/>
              <a:gd name="T99" fmla="*/ 165 h 498"/>
              <a:gd name="T100" fmla="*/ 223 w 827"/>
              <a:gd name="T101" fmla="*/ 109 h 498"/>
              <a:gd name="T102" fmla="*/ 269 w 827"/>
              <a:gd name="T103" fmla="*/ 79 h 498"/>
              <a:gd name="T104" fmla="*/ 205 w 827"/>
              <a:gd name="T105" fmla="*/ 8 h 498"/>
              <a:gd name="T106" fmla="*/ 236 w 827"/>
              <a:gd name="T107" fmla="*/ 38 h 498"/>
              <a:gd name="T108" fmla="*/ 510 w 827"/>
              <a:gd name="T109" fmla="*/ 26 h 498"/>
              <a:gd name="T110" fmla="*/ 462 w 827"/>
              <a:gd name="T111" fmla="*/ 38 h 498"/>
              <a:gd name="T112" fmla="*/ 276 w 827"/>
              <a:gd name="T113" fmla="*/ 29 h 498"/>
              <a:gd name="T114" fmla="*/ 376 w 827"/>
              <a:gd name="T115" fmla="*/ 103 h 498"/>
              <a:gd name="T116" fmla="*/ 653 w 827"/>
              <a:gd name="T117" fmla="*/ 97 h 498"/>
              <a:gd name="T118" fmla="*/ 700 w 827"/>
              <a:gd name="T119" fmla="*/ 379 h 498"/>
              <a:gd name="T120" fmla="*/ 694 w 827"/>
              <a:gd name="T121" fmla="*/ 402 h 498"/>
              <a:gd name="T122" fmla="*/ 764 w 827"/>
              <a:gd name="T123" fmla="*/ 252 h 498"/>
              <a:gd name="T124" fmla="*/ 761 w 827"/>
              <a:gd name="T125" fmla="*/ 38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7" h="498">
                <a:moveTo>
                  <a:pt x="642" y="458"/>
                </a:moveTo>
                <a:cubicBezTo>
                  <a:pt x="641" y="458"/>
                  <a:pt x="641" y="458"/>
                  <a:pt x="641" y="458"/>
                </a:cubicBezTo>
                <a:cubicBezTo>
                  <a:pt x="640" y="457"/>
                  <a:pt x="640" y="457"/>
                  <a:pt x="640" y="457"/>
                </a:cubicBezTo>
                <a:cubicBezTo>
                  <a:pt x="640" y="457"/>
                  <a:pt x="640" y="457"/>
                  <a:pt x="640" y="457"/>
                </a:cubicBezTo>
                <a:cubicBezTo>
                  <a:pt x="641" y="456"/>
                  <a:pt x="641" y="456"/>
                  <a:pt x="641" y="456"/>
                </a:cubicBezTo>
                <a:cubicBezTo>
                  <a:pt x="641" y="455"/>
                  <a:pt x="641" y="455"/>
                  <a:pt x="641" y="455"/>
                </a:cubicBezTo>
                <a:cubicBezTo>
                  <a:pt x="640" y="455"/>
                  <a:pt x="640" y="455"/>
                  <a:pt x="640" y="455"/>
                </a:cubicBezTo>
                <a:cubicBezTo>
                  <a:pt x="640" y="454"/>
                  <a:pt x="640" y="454"/>
                  <a:pt x="640" y="454"/>
                </a:cubicBezTo>
                <a:cubicBezTo>
                  <a:pt x="640" y="453"/>
                  <a:pt x="640" y="453"/>
                  <a:pt x="640" y="453"/>
                </a:cubicBezTo>
                <a:cubicBezTo>
                  <a:pt x="641" y="453"/>
                  <a:pt x="641" y="453"/>
                  <a:pt x="641" y="453"/>
                </a:cubicBezTo>
                <a:cubicBezTo>
                  <a:pt x="642" y="453"/>
                  <a:pt x="642" y="453"/>
                  <a:pt x="642" y="453"/>
                </a:cubicBezTo>
                <a:cubicBezTo>
                  <a:pt x="643" y="453"/>
                  <a:pt x="643" y="453"/>
                  <a:pt x="643" y="453"/>
                </a:cubicBezTo>
                <a:cubicBezTo>
                  <a:pt x="643" y="452"/>
                  <a:pt x="643" y="452"/>
                  <a:pt x="643" y="452"/>
                </a:cubicBezTo>
                <a:cubicBezTo>
                  <a:pt x="642" y="451"/>
                  <a:pt x="642" y="451"/>
                  <a:pt x="642" y="451"/>
                </a:cubicBezTo>
                <a:cubicBezTo>
                  <a:pt x="643" y="450"/>
                  <a:pt x="643" y="450"/>
                  <a:pt x="643" y="450"/>
                </a:cubicBezTo>
                <a:cubicBezTo>
                  <a:pt x="643" y="450"/>
                  <a:pt x="643" y="450"/>
                  <a:pt x="643" y="450"/>
                </a:cubicBezTo>
                <a:cubicBezTo>
                  <a:pt x="643" y="449"/>
                  <a:pt x="643" y="449"/>
                  <a:pt x="643" y="449"/>
                </a:cubicBezTo>
                <a:cubicBezTo>
                  <a:pt x="643" y="447"/>
                  <a:pt x="643" y="447"/>
                  <a:pt x="643" y="447"/>
                </a:cubicBezTo>
                <a:cubicBezTo>
                  <a:pt x="642" y="447"/>
                  <a:pt x="642" y="447"/>
                  <a:pt x="642" y="447"/>
                </a:cubicBezTo>
                <a:cubicBezTo>
                  <a:pt x="642" y="445"/>
                  <a:pt x="642" y="445"/>
                  <a:pt x="642" y="445"/>
                </a:cubicBezTo>
                <a:cubicBezTo>
                  <a:pt x="642" y="444"/>
                  <a:pt x="642" y="444"/>
                  <a:pt x="642" y="444"/>
                </a:cubicBezTo>
                <a:cubicBezTo>
                  <a:pt x="642" y="442"/>
                  <a:pt x="642" y="442"/>
                  <a:pt x="642" y="442"/>
                </a:cubicBezTo>
                <a:cubicBezTo>
                  <a:pt x="642" y="441"/>
                  <a:pt x="642" y="441"/>
                  <a:pt x="642" y="441"/>
                </a:cubicBezTo>
                <a:cubicBezTo>
                  <a:pt x="641" y="440"/>
                  <a:pt x="641" y="440"/>
                  <a:pt x="641" y="440"/>
                </a:cubicBezTo>
                <a:cubicBezTo>
                  <a:pt x="641" y="439"/>
                  <a:pt x="641" y="439"/>
                  <a:pt x="641" y="439"/>
                </a:cubicBezTo>
                <a:cubicBezTo>
                  <a:pt x="640" y="438"/>
                  <a:pt x="640" y="438"/>
                  <a:pt x="640" y="438"/>
                </a:cubicBezTo>
                <a:cubicBezTo>
                  <a:pt x="639" y="436"/>
                  <a:pt x="639" y="436"/>
                  <a:pt x="639" y="436"/>
                </a:cubicBezTo>
                <a:cubicBezTo>
                  <a:pt x="638" y="435"/>
                  <a:pt x="638" y="435"/>
                  <a:pt x="638" y="435"/>
                </a:cubicBezTo>
                <a:cubicBezTo>
                  <a:pt x="639" y="434"/>
                  <a:pt x="639" y="434"/>
                  <a:pt x="639" y="434"/>
                </a:cubicBezTo>
                <a:cubicBezTo>
                  <a:pt x="639" y="434"/>
                  <a:pt x="639" y="434"/>
                  <a:pt x="639" y="434"/>
                </a:cubicBezTo>
                <a:cubicBezTo>
                  <a:pt x="640" y="434"/>
                  <a:pt x="640" y="434"/>
                  <a:pt x="640" y="434"/>
                </a:cubicBezTo>
                <a:cubicBezTo>
                  <a:pt x="641" y="433"/>
                  <a:pt x="641" y="433"/>
                  <a:pt x="641" y="433"/>
                </a:cubicBezTo>
                <a:cubicBezTo>
                  <a:pt x="641" y="432"/>
                  <a:pt x="641" y="432"/>
                  <a:pt x="641" y="432"/>
                </a:cubicBezTo>
                <a:cubicBezTo>
                  <a:pt x="642" y="430"/>
                  <a:pt x="642" y="430"/>
                  <a:pt x="642" y="430"/>
                </a:cubicBezTo>
                <a:cubicBezTo>
                  <a:pt x="643" y="430"/>
                  <a:pt x="643" y="430"/>
                  <a:pt x="643" y="430"/>
                </a:cubicBezTo>
                <a:cubicBezTo>
                  <a:pt x="644" y="431"/>
                  <a:pt x="644" y="431"/>
                  <a:pt x="644" y="431"/>
                </a:cubicBezTo>
                <a:cubicBezTo>
                  <a:pt x="644" y="431"/>
                  <a:pt x="644" y="431"/>
                  <a:pt x="644" y="431"/>
                </a:cubicBezTo>
                <a:cubicBezTo>
                  <a:pt x="648" y="432"/>
                  <a:pt x="648" y="432"/>
                  <a:pt x="648" y="432"/>
                </a:cubicBezTo>
                <a:cubicBezTo>
                  <a:pt x="649" y="432"/>
                  <a:pt x="649" y="432"/>
                  <a:pt x="649" y="432"/>
                </a:cubicBezTo>
                <a:cubicBezTo>
                  <a:pt x="650" y="432"/>
                  <a:pt x="650" y="432"/>
                  <a:pt x="650" y="432"/>
                </a:cubicBezTo>
                <a:cubicBezTo>
                  <a:pt x="650" y="431"/>
                  <a:pt x="650" y="431"/>
                  <a:pt x="650" y="431"/>
                </a:cubicBezTo>
                <a:cubicBezTo>
                  <a:pt x="650" y="430"/>
                  <a:pt x="650" y="430"/>
                  <a:pt x="650" y="430"/>
                </a:cubicBezTo>
                <a:cubicBezTo>
                  <a:pt x="650" y="430"/>
                  <a:pt x="650" y="430"/>
                  <a:pt x="650" y="430"/>
                </a:cubicBezTo>
                <a:cubicBezTo>
                  <a:pt x="650" y="429"/>
                  <a:pt x="650" y="429"/>
                  <a:pt x="650" y="429"/>
                </a:cubicBezTo>
                <a:cubicBezTo>
                  <a:pt x="650" y="428"/>
                  <a:pt x="650" y="428"/>
                  <a:pt x="650" y="428"/>
                </a:cubicBezTo>
                <a:cubicBezTo>
                  <a:pt x="650" y="428"/>
                  <a:pt x="650" y="428"/>
                  <a:pt x="650" y="428"/>
                </a:cubicBezTo>
                <a:cubicBezTo>
                  <a:pt x="649" y="427"/>
                  <a:pt x="649" y="427"/>
                  <a:pt x="649" y="427"/>
                </a:cubicBezTo>
                <a:cubicBezTo>
                  <a:pt x="650" y="426"/>
                  <a:pt x="650" y="426"/>
                  <a:pt x="650" y="426"/>
                </a:cubicBezTo>
                <a:cubicBezTo>
                  <a:pt x="650" y="425"/>
                  <a:pt x="650" y="425"/>
                  <a:pt x="650" y="425"/>
                </a:cubicBezTo>
                <a:cubicBezTo>
                  <a:pt x="650" y="424"/>
                  <a:pt x="650" y="424"/>
                  <a:pt x="650" y="424"/>
                </a:cubicBezTo>
                <a:cubicBezTo>
                  <a:pt x="650" y="424"/>
                  <a:pt x="650" y="424"/>
                  <a:pt x="650" y="424"/>
                </a:cubicBezTo>
                <a:cubicBezTo>
                  <a:pt x="650" y="423"/>
                  <a:pt x="650" y="423"/>
                  <a:pt x="650" y="423"/>
                </a:cubicBezTo>
                <a:cubicBezTo>
                  <a:pt x="651" y="423"/>
                  <a:pt x="651" y="423"/>
                  <a:pt x="651" y="423"/>
                </a:cubicBezTo>
                <a:cubicBezTo>
                  <a:pt x="650" y="422"/>
                  <a:pt x="650" y="422"/>
                  <a:pt x="650" y="422"/>
                </a:cubicBezTo>
                <a:cubicBezTo>
                  <a:pt x="650" y="422"/>
                  <a:pt x="650" y="422"/>
                  <a:pt x="650" y="422"/>
                </a:cubicBezTo>
                <a:cubicBezTo>
                  <a:pt x="650" y="421"/>
                  <a:pt x="650" y="421"/>
                  <a:pt x="650" y="421"/>
                </a:cubicBezTo>
                <a:cubicBezTo>
                  <a:pt x="650" y="420"/>
                  <a:pt x="650" y="420"/>
                  <a:pt x="650" y="420"/>
                </a:cubicBezTo>
                <a:cubicBezTo>
                  <a:pt x="651" y="420"/>
                  <a:pt x="651" y="420"/>
                  <a:pt x="651" y="420"/>
                </a:cubicBezTo>
                <a:cubicBezTo>
                  <a:pt x="651" y="419"/>
                  <a:pt x="651" y="419"/>
                  <a:pt x="651" y="419"/>
                </a:cubicBezTo>
                <a:cubicBezTo>
                  <a:pt x="651" y="419"/>
                  <a:pt x="651" y="419"/>
                  <a:pt x="651" y="419"/>
                </a:cubicBezTo>
                <a:cubicBezTo>
                  <a:pt x="650" y="417"/>
                  <a:pt x="650" y="417"/>
                  <a:pt x="650" y="417"/>
                </a:cubicBezTo>
                <a:cubicBezTo>
                  <a:pt x="650" y="416"/>
                  <a:pt x="650" y="416"/>
                  <a:pt x="650" y="416"/>
                </a:cubicBezTo>
                <a:cubicBezTo>
                  <a:pt x="650" y="416"/>
                  <a:pt x="650" y="416"/>
                  <a:pt x="650" y="416"/>
                </a:cubicBezTo>
                <a:cubicBezTo>
                  <a:pt x="651" y="415"/>
                  <a:pt x="651" y="415"/>
                  <a:pt x="651" y="415"/>
                </a:cubicBezTo>
                <a:cubicBezTo>
                  <a:pt x="651" y="415"/>
                  <a:pt x="651" y="415"/>
                  <a:pt x="651" y="415"/>
                </a:cubicBezTo>
                <a:cubicBezTo>
                  <a:pt x="650" y="414"/>
                  <a:pt x="650" y="414"/>
                  <a:pt x="650" y="414"/>
                </a:cubicBezTo>
                <a:cubicBezTo>
                  <a:pt x="650" y="414"/>
                  <a:pt x="650" y="414"/>
                  <a:pt x="650" y="414"/>
                </a:cubicBezTo>
                <a:cubicBezTo>
                  <a:pt x="650" y="413"/>
                  <a:pt x="650" y="413"/>
                  <a:pt x="650" y="413"/>
                </a:cubicBezTo>
                <a:cubicBezTo>
                  <a:pt x="650" y="413"/>
                  <a:pt x="650" y="413"/>
                  <a:pt x="650" y="413"/>
                </a:cubicBezTo>
                <a:cubicBezTo>
                  <a:pt x="650" y="412"/>
                  <a:pt x="650" y="412"/>
                  <a:pt x="650" y="412"/>
                </a:cubicBezTo>
                <a:cubicBezTo>
                  <a:pt x="650" y="411"/>
                  <a:pt x="650" y="411"/>
                  <a:pt x="650" y="411"/>
                </a:cubicBezTo>
                <a:cubicBezTo>
                  <a:pt x="650" y="410"/>
                  <a:pt x="650" y="410"/>
                  <a:pt x="650" y="410"/>
                </a:cubicBezTo>
                <a:cubicBezTo>
                  <a:pt x="649" y="410"/>
                  <a:pt x="649" y="410"/>
                  <a:pt x="649" y="410"/>
                </a:cubicBezTo>
                <a:cubicBezTo>
                  <a:pt x="649" y="409"/>
                  <a:pt x="649" y="409"/>
                  <a:pt x="649" y="409"/>
                </a:cubicBezTo>
                <a:cubicBezTo>
                  <a:pt x="650" y="408"/>
                  <a:pt x="650" y="408"/>
                  <a:pt x="650" y="408"/>
                </a:cubicBezTo>
                <a:cubicBezTo>
                  <a:pt x="651" y="408"/>
                  <a:pt x="651" y="408"/>
                  <a:pt x="651" y="408"/>
                </a:cubicBezTo>
                <a:cubicBezTo>
                  <a:pt x="651" y="407"/>
                  <a:pt x="651" y="407"/>
                  <a:pt x="651" y="407"/>
                </a:cubicBezTo>
                <a:cubicBezTo>
                  <a:pt x="651" y="406"/>
                  <a:pt x="651" y="406"/>
                  <a:pt x="651" y="406"/>
                </a:cubicBezTo>
                <a:cubicBezTo>
                  <a:pt x="652" y="405"/>
                  <a:pt x="652" y="405"/>
                  <a:pt x="652" y="405"/>
                </a:cubicBezTo>
                <a:cubicBezTo>
                  <a:pt x="651" y="405"/>
                  <a:pt x="651" y="405"/>
                  <a:pt x="651" y="405"/>
                </a:cubicBezTo>
                <a:cubicBezTo>
                  <a:pt x="650" y="404"/>
                  <a:pt x="650" y="404"/>
                  <a:pt x="650" y="404"/>
                </a:cubicBezTo>
                <a:cubicBezTo>
                  <a:pt x="650" y="403"/>
                  <a:pt x="650" y="403"/>
                  <a:pt x="650" y="403"/>
                </a:cubicBezTo>
                <a:cubicBezTo>
                  <a:pt x="649" y="402"/>
                  <a:pt x="649" y="402"/>
                  <a:pt x="649" y="402"/>
                </a:cubicBezTo>
                <a:cubicBezTo>
                  <a:pt x="649" y="401"/>
                  <a:pt x="649" y="401"/>
                  <a:pt x="649" y="401"/>
                </a:cubicBezTo>
                <a:cubicBezTo>
                  <a:pt x="649" y="401"/>
                  <a:pt x="649" y="401"/>
                  <a:pt x="649" y="401"/>
                </a:cubicBezTo>
                <a:cubicBezTo>
                  <a:pt x="649" y="400"/>
                  <a:pt x="649" y="400"/>
                  <a:pt x="649" y="400"/>
                </a:cubicBezTo>
                <a:cubicBezTo>
                  <a:pt x="648" y="399"/>
                  <a:pt x="648" y="399"/>
                  <a:pt x="648" y="399"/>
                </a:cubicBezTo>
                <a:cubicBezTo>
                  <a:pt x="647" y="399"/>
                  <a:pt x="647" y="399"/>
                  <a:pt x="647" y="399"/>
                </a:cubicBezTo>
                <a:cubicBezTo>
                  <a:pt x="647" y="398"/>
                  <a:pt x="647" y="398"/>
                  <a:pt x="647" y="398"/>
                </a:cubicBezTo>
                <a:cubicBezTo>
                  <a:pt x="645" y="398"/>
                  <a:pt x="645" y="398"/>
                  <a:pt x="645" y="398"/>
                </a:cubicBezTo>
                <a:cubicBezTo>
                  <a:pt x="645" y="398"/>
                  <a:pt x="645" y="398"/>
                  <a:pt x="645" y="398"/>
                </a:cubicBezTo>
                <a:cubicBezTo>
                  <a:pt x="644" y="399"/>
                  <a:pt x="644" y="399"/>
                  <a:pt x="644" y="399"/>
                </a:cubicBezTo>
                <a:cubicBezTo>
                  <a:pt x="643" y="399"/>
                  <a:pt x="643" y="399"/>
                  <a:pt x="643" y="399"/>
                </a:cubicBezTo>
                <a:cubicBezTo>
                  <a:pt x="643" y="400"/>
                  <a:pt x="643" y="400"/>
                  <a:pt x="643" y="400"/>
                </a:cubicBezTo>
                <a:cubicBezTo>
                  <a:pt x="642" y="400"/>
                  <a:pt x="642" y="400"/>
                  <a:pt x="642" y="400"/>
                </a:cubicBezTo>
                <a:cubicBezTo>
                  <a:pt x="642" y="401"/>
                  <a:pt x="642" y="401"/>
                  <a:pt x="642" y="401"/>
                </a:cubicBezTo>
                <a:cubicBezTo>
                  <a:pt x="641" y="402"/>
                  <a:pt x="641" y="402"/>
                  <a:pt x="641" y="402"/>
                </a:cubicBezTo>
                <a:cubicBezTo>
                  <a:pt x="640" y="402"/>
                  <a:pt x="640" y="402"/>
                  <a:pt x="640" y="402"/>
                </a:cubicBezTo>
                <a:cubicBezTo>
                  <a:pt x="639" y="402"/>
                  <a:pt x="639" y="402"/>
                  <a:pt x="639" y="402"/>
                </a:cubicBezTo>
                <a:cubicBezTo>
                  <a:pt x="639" y="403"/>
                  <a:pt x="639" y="403"/>
                  <a:pt x="639" y="403"/>
                </a:cubicBezTo>
                <a:cubicBezTo>
                  <a:pt x="639" y="404"/>
                  <a:pt x="639" y="404"/>
                  <a:pt x="639" y="404"/>
                </a:cubicBezTo>
                <a:cubicBezTo>
                  <a:pt x="638" y="404"/>
                  <a:pt x="638" y="404"/>
                  <a:pt x="638" y="404"/>
                </a:cubicBezTo>
                <a:cubicBezTo>
                  <a:pt x="638" y="405"/>
                  <a:pt x="638" y="405"/>
                  <a:pt x="638" y="405"/>
                </a:cubicBezTo>
                <a:cubicBezTo>
                  <a:pt x="638" y="406"/>
                  <a:pt x="638" y="406"/>
                  <a:pt x="638" y="406"/>
                </a:cubicBezTo>
                <a:cubicBezTo>
                  <a:pt x="637" y="406"/>
                  <a:pt x="637" y="406"/>
                  <a:pt x="637" y="406"/>
                </a:cubicBezTo>
                <a:cubicBezTo>
                  <a:pt x="636" y="407"/>
                  <a:pt x="636" y="407"/>
                  <a:pt x="636" y="407"/>
                </a:cubicBezTo>
                <a:cubicBezTo>
                  <a:pt x="635" y="407"/>
                  <a:pt x="635" y="407"/>
                  <a:pt x="635" y="407"/>
                </a:cubicBezTo>
                <a:cubicBezTo>
                  <a:pt x="634" y="408"/>
                  <a:pt x="634" y="408"/>
                  <a:pt x="634" y="408"/>
                </a:cubicBezTo>
                <a:cubicBezTo>
                  <a:pt x="633" y="407"/>
                  <a:pt x="633" y="407"/>
                  <a:pt x="633" y="407"/>
                </a:cubicBezTo>
                <a:cubicBezTo>
                  <a:pt x="633" y="408"/>
                  <a:pt x="633" y="408"/>
                  <a:pt x="633" y="408"/>
                </a:cubicBezTo>
                <a:cubicBezTo>
                  <a:pt x="632" y="408"/>
                  <a:pt x="632" y="408"/>
                  <a:pt x="632" y="408"/>
                </a:cubicBezTo>
                <a:cubicBezTo>
                  <a:pt x="632" y="407"/>
                  <a:pt x="632" y="407"/>
                  <a:pt x="632" y="407"/>
                </a:cubicBezTo>
                <a:cubicBezTo>
                  <a:pt x="631" y="407"/>
                  <a:pt x="631" y="407"/>
                  <a:pt x="631" y="407"/>
                </a:cubicBezTo>
                <a:cubicBezTo>
                  <a:pt x="630" y="407"/>
                  <a:pt x="630" y="407"/>
                  <a:pt x="630" y="407"/>
                </a:cubicBezTo>
                <a:cubicBezTo>
                  <a:pt x="629" y="407"/>
                  <a:pt x="629" y="407"/>
                  <a:pt x="629" y="407"/>
                </a:cubicBezTo>
                <a:cubicBezTo>
                  <a:pt x="628" y="407"/>
                  <a:pt x="628" y="407"/>
                  <a:pt x="628" y="407"/>
                </a:cubicBezTo>
                <a:cubicBezTo>
                  <a:pt x="628" y="407"/>
                  <a:pt x="628" y="407"/>
                  <a:pt x="628" y="407"/>
                </a:cubicBezTo>
                <a:cubicBezTo>
                  <a:pt x="627" y="406"/>
                  <a:pt x="627" y="406"/>
                  <a:pt x="627" y="406"/>
                </a:cubicBezTo>
                <a:cubicBezTo>
                  <a:pt x="626" y="405"/>
                  <a:pt x="626" y="405"/>
                  <a:pt x="626" y="405"/>
                </a:cubicBezTo>
                <a:cubicBezTo>
                  <a:pt x="625" y="404"/>
                  <a:pt x="625" y="404"/>
                  <a:pt x="625" y="404"/>
                </a:cubicBezTo>
                <a:cubicBezTo>
                  <a:pt x="625" y="403"/>
                  <a:pt x="625" y="403"/>
                  <a:pt x="625" y="403"/>
                </a:cubicBezTo>
                <a:cubicBezTo>
                  <a:pt x="626" y="402"/>
                  <a:pt x="626" y="402"/>
                  <a:pt x="626" y="402"/>
                </a:cubicBezTo>
                <a:cubicBezTo>
                  <a:pt x="626" y="401"/>
                  <a:pt x="626" y="401"/>
                  <a:pt x="626" y="401"/>
                </a:cubicBezTo>
                <a:cubicBezTo>
                  <a:pt x="625" y="400"/>
                  <a:pt x="625" y="400"/>
                  <a:pt x="625" y="400"/>
                </a:cubicBezTo>
                <a:cubicBezTo>
                  <a:pt x="625" y="399"/>
                  <a:pt x="625" y="399"/>
                  <a:pt x="625" y="399"/>
                </a:cubicBezTo>
                <a:cubicBezTo>
                  <a:pt x="624" y="399"/>
                  <a:pt x="624" y="399"/>
                  <a:pt x="624" y="399"/>
                </a:cubicBezTo>
                <a:cubicBezTo>
                  <a:pt x="624" y="398"/>
                  <a:pt x="624" y="398"/>
                  <a:pt x="624" y="398"/>
                </a:cubicBezTo>
                <a:cubicBezTo>
                  <a:pt x="624" y="398"/>
                  <a:pt x="624" y="398"/>
                  <a:pt x="624" y="398"/>
                </a:cubicBezTo>
                <a:cubicBezTo>
                  <a:pt x="624" y="397"/>
                  <a:pt x="624" y="397"/>
                  <a:pt x="624" y="397"/>
                </a:cubicBezTo>
                <a:cubicBezTo>
                  <a:pt x="625" y="396"/>
                  <a:pt x="625" y="396"/>
                  <a:pt x="625" y="396"/>
                </a:cubicBezTo>
                <a:cubicBezTo>
                  <a:pt x="624" y="396"/>
                  <a:pt x="624" y="396"/>
                  <a:pt x="624" y="396"/>
                </a:cubicBezTo>
                <a:cubicBezTo>
                  <a:pt x="624" y="396"/>
                  <a:pt x="624" y="396"/>
                  <a:pt x="624" y="396"/>
                </a:cubicBezTo>
                <a:cubicBezTo>
                  <a:pt x="623" y="396"/>
                  <a:pt x="623" y="396"/>
                  <a:pt x="623" y="396"/>
                </a:cubicBezTo>
                <a:cubicBezTo>
                  <a:pt x="622" y="396"/>
                  <a:pt x="622" y="396"/>
                  <a:pt x="622" y="396"/>
                </a:cubicBezTo>
                <a:cubicBezTo>
                  <a:pt x="622" y="397"/>
                  <a:pt x="622" y="397"/>
                  <a:pt x="622" y="397"/>
                </a:cubicBezTo>
                <a:cubicBezTo>
                  <a:pt x="621" y="397"/>
                  <a:pt x="621" y="397"/>
                  <a:pt x="621" y="397"/>
                </a:cubicBezTo>
                <a:cubicBezTo>
                  <a:pt x="620" y="396"/>
                  <a:pt x="620" y="396"/>
                  <a:pt x="620" y="396"/>
                </a:cubicBezTo>
                <a:cubicBezTo>
                  <a:pt x="619" y="396"/>
                  <a:pt x="619" y="396"/>
                  <a:pt x="619" y="396"/>
                </a:cubicBezTo>
                <a:cubicBezTo>
                  <a:pt x="619" y="396"/>
                  <a:pt x="619" y="396"/>
                  <a:pt x="619" y="396"/>
                </a:cubicBezTo>
                <a:cubicBezTo>
                  <a:pt x="618" y="395"/>
                  <a:pt x="618" y="395"/>
                  <a:pt x="618" y="395"/>
                </a:cubicBezTo>
                <a:cubicBezTo>
                  <a:pt x="618" y="394"/>
                  <a:pt x="618" y="394"/>
                  <a:pt x="618" y="394"/>
                </a:cubicBezTo>
                <a:cubicBezTo>
                  <a:pt x="617" y="394"/>
                  <a:pt x="617" y="394"/>
                  <a:pt x="617" y="394"/>
                </a:cubicBezTo>
                <a:cubicBezTo>
                  <a:pt x="617" y="394"/>
                  <a:pt x="617" y="394"/>
                  <a:pt x="617" y="394"/>
                </a:cubicBezTo>
                <a:cubicBezTo>
                  <a:pt x="616" y="393"/>
                  <a:pt x="616" y="393"/>
                  <a:pt x="616" y="393"/>
                </a:cubicBezTo>
                <a:cubicBezTo>
                  <a:pt x="616" y="393"/>
                  <a:pt x="616" y="393"/>
                  <a:pt x="616" y="393"/>
                </a:cubicBezTo>
                <a:cubicBezTo>
                  <a:pt x="615" y="393"/>
                  <a:pt x="615" y="393"/>
                  <a:pt x="615" y="393"/>
                </a:cubicBezTo>
                <a:cubicBezTo>
                  <a:pt x="615" y="392"/>
                  <a:pt x="615" y="392"/>
                  <a:pt x="615" y="392"/>
                </a:cubicBezTo>
                <a:cubicBezTo>
                  <a:pt x="614" y="391"/>
                  <a:pt x="614" y="391"/>
                  <a:pt x="614" y="391"/>
                </a:cubicBezTo>
                <a:cubicBezTo>
                  <a:pt x="614" y="391"/>
                  <a:pt x="614" y="391"/>
                  <a:pt x="614" y="391"/>
                </a:cubicBezTo>
                <a:cubicBezTo>
                  <a:pt x="613" y="391"/>
                  <a:pt x="613" y="391"/>
                  <a:pt x="613" y="391"/>
                </a:cubicBezTo>
                <a:cubicBezTo>
                  <a:pt x="613" y="392"/>
                  <a:pt x="613" y="392"/>
                  <a:pt x="613" y="392"/>
                </a:cubicBezTo>
                <a:cubicBezTo>
                  <a:pt x="612" y="391"/>
                  <a:pt x="612" y="391"/>
                  <a:pt x="612" y="391"/>
                </a:cubicBezTo>
                <a:cubicBezTo>
                  <a:pt x="612" y="392"/>
                  <a:pt x="612" y="392"/>
                  <a:pt x="612" y="392"/>
                </a:cubicBezTo>
                <a:cubicBezTo>
                  <a:pt x="611" y="392"/>
                  <a:pt x="611" y="392"/>
                  <a:pt x="611" y="392"/>
                </a:cubicBezTo>
                <a:cubicBezTo>
                  <a:pt x="611" y="392"/>
                  <a:pt x="611" y="392"/>
                  <a:pt x="611" y="392"/>
                </a:cubicBezTo>
                <a:cubicBezTo>
                  <a:pt x="610" y="391"/>
                  <a:pt x="610" y="391"/>
                  <a:pt x="610" y="391"/>
                </a:cubicBezTo>
                <a:cubicBezTo>
                  <a:pt x="610" y="391"/>
                  <a:pt x="610" y="391"/>
                  <a:pt x="610" y="391"/>
                </a:cubicBezTo>
                <a:cubicBezTo>
                  <a:pt x="608" y="391"/>
                  <a:pt x="608" y="391"/>
                  <a:pt x="608" y="391"/>
                </a:cubicBezTo>
                <a:cubicBezTo>
                  <a:pt x="608" y="390"/>
                  <a:pt x="608" y="390"/>
                  <a:pt x="608" y="390"/>
                </a:cubicBezTo>
                <a:cubicBezTo>
                  <a:pt x="608" y="390"/>
                  <a:pt x="608" y="390"/>
                  <a:pt x="608" y="390"/>
                </a:cubicBezTo>
                <a:cubicBezTo>
                  <a:pt x="608" y="389"/>
                  <a:pt x="608" y="389"/>
                  <a:pt x="608" y="389"/>
                </a:cubicBezTo>
                <a:cubicBezTo>
                  <a:pt x="607" y="389"/>
                  <a:pt x="607" y="389"/>
                  <a:pt x="607" y="389"/>
                </a:cubicBezTo>
                <a:cubicBezTo>
                  <a:pt x="607" y="390"/>
                  <a:pt x="607" y="390"/>
                  <a:pt x="607" y="390"/>
                </a:cubicBezTo>
                <a:cubicBezTo>
                  <a:pt x="605" y="390"/>
                  <a:pt x="605" y="390"/>
                  <a:pt x="605" y="390"/>
                </a:cubicBezTo>
                <a:cubicBezTo>
                  <a:pt x="605" y="390"/>
                  <a:pt x="605" y="390"/>
                  <a:pt x="605" y="390"/>
                </a:cubicBezTo>
                <a:cubicBezTo>
                  <a:pt x="604" y="390"/>
                  <a:pt x="604" y="390"/>
                  <a:pt x="604" y="390"/>
                </a:cubicBezTo>
                <a:cubicBezTo>
                  <a:pt x="604" y="390"/>
                  <a:pt x="604" y="390"/>
                  <a:pt x="604" y="390"/>
                </a:cubicBezTo>
                <a:cubicBezTo>
                  <a:pt x="603" y="390"/>
                  <a:pt x="603" y="390"/>
                  <a:pt x="603" y="390"/>
                </a:cubicBezTo>
                <a:cubicBezTo>
                  <a:pt x="602" y="389"/>
                  <a:pt x="602" y="389"/>
                  <a:pt x="602" y="389"/>
                </a:cubicBezTo>
                <a:cubicBezTo>
                  <a:pt x="601" y="389"/>
                  <a:pt x="601" y="389"/>
                  <a:pt x="601" y="389"/>
                </a:cubicBezTo>
                <a:cubicBezTo>
                  <a:pt x="600" y="387"/>
                  <a:pt x="600" y="387"/>
                  <a:pt x="600" y="387"/>
                </a:cubicBezTo>
                <a:cubicBezTo>
                  <a:pt x="599" y="386"/>
                  <a:pt x="599" y="386"/>
                  <a:pt x="599" y="386"/>
                </a:cubicBezTo>
                <a:cubicBezTo>
                  <a:pt x="599" y="385"/>
                  <a:pt x="599" y="385"/>
                  <a:pt x="599" y="385"/>
                </a:cubicBezTo>
                <a:cubicBezTo>
                  <a:pt x="599" y="384"/>
                  <a:pt x="599" y="384"/>
                  <a:pt x="599" y="384"/>
                </a:cubicBezTo>
                <a:cubicBezTo>
                  <a:pt x="598" y="384"/>
                  <a:pt x="598" y="384"/>
                  <a:pt x="598" y="384"/>
                </a:cubicBezTo>
                <a:cubicBezTo>
                  <a:pt x="598" y="383"/>
                  <a:pt x="598" y="383"/>
                  <a:pt x="598" y="383"/>
                </a:cubicBezTo>
                <a:cubicBezTo>
                  <a:pt x="598" y="382"/>
                  <a:pt x="598" y="382"/>
                  <a:pt x="598" y="382"/>
                </a:cubicBezTo>
                <a:cubicBezTo>
                  <a:pt x="597" y="382"/>
                  <a:pt x="597" y="382"/>
                  <a:pt x="597" y="382"/>
                </a:cubicBezTo>
                <a:cubicBezTo>
                  <a:pt x="597" y="381"/>
                  <a:pt x="597" y="381"/>
                  <a:pt x="597" y="381"/>
                </a:cubicBezTo>
                <a:cubicBezTo>
                  <a:pt x="597" y="379"/>
                  <a:pt x="597" y="379"/>
                  <a:pt x="597" y="379"/>
                </a:cubicBezTo>
                <a:cubicBezTo>
                  <a:pt x="594" y="378"/>
                  <a:pt x="594" y="378"/>
                  <a:pt x="594" y="378"/>
                </a:cubicBezTo>
                <a:cubicBezTo>
                  <a:pt x="593" y="376"/>
                  <a:pt x="593" y="376"/>
                  <a:pt x="593" y="376"/>
                </a:cubicBezTo>
                <a:cubicBezTo>
                  <a:pt x="593" y="376"/>
                  <a:pt x="593" y="376"/>
                  <a:pt x="593" y="376"/>
                </a:cubicBezTo>
                <a:cubicBezTo>
                  <a:pt x="592" y="375"/>
                  <a:pt x="592" y="375"/>
                  <a:pt x="592" y="375"/>
                </a:cubicBezTo>
                <a:cubicBezTo>
                  <a:pt x="592" y="375"/>
                  <a:pt x="592" y="375"/>
                  <a:pt x="592" y="375"/>
                </a:cubicBezTo>
                <a:cubicBezTo>
                  <a:pt x="591" y="375"/>
                  <a:pt x="591" y="375"/>
                  <a:pt x="591" y="375"/>
                </a:cubicBezTo>
                <a:cubicBezTo>
                  <a:pt x="592" y="374"/>
                  <a:pt x="592" y="374"/>
                  <a:pt x="592" y="374"/>
                </a:cubicBezTo>
                <a:cubicBezTo>
                  <a:pt x="592" y="373"/>
                  <a:pt x="592" y="373"/>
                  <a:pt x="592" y="373"/>
                </a:cubicBezTo>
                <a:cubicBezTo>
                  <a:pt x="591" y="373"/>
                  <a:pt x="591" y="373"/>
                  <a:pt x="591" y="373"/>
                </a:cubicBezTo>
                <a:cubicBezTo>
                  <a:pt x="590" y="372"/>
                  <a:pt x="590" y="372"/>
                  <a:pt x="590" y="372"/>
                </a:cubicBezTo>
                <a:cubicBezTo>
                  <a:pt x="590" y="371"/>
                  <a:pt x="590" y="371"/>
                  <a:pt x="590" y="371"/>
                </a:cubicBezTo>
                <a:cubicBezTo>
                  <a:pt x="590" y="371"/>
                  <a:pt x="590" y="371"/>
                  <a:pt x="590" y="371"/>
                </a:cubicBezTo>
                <a:cubicBezTo>
                  <a:pt x="589" y="370"/>
                  <a:pt x="589" y="370"/>
                  <a:pt x="589" y="370"/>
                </a:cubicBezTo>
                <a:cubicBezTo>
                  <a:pt x="588" y="368"/>
                  <a:pt x="588" y="368"/>
                  <a:pt x="588" y="368"/>
                </a:cubicBezTo>
                <a:cubicBezTo>
                  <a:pt x="587" y="368"/>
                  <a:pt x="587" y="368"/>
                  <a:pt x="587" y="368"/>
                </a:cubicBezTo>
                <a:cubicBezTo>
                  <a:pt x="587" y="367"/>
                  <a:pt x="587" y="367"/>
                  <a:pt x="587" y="367"/>
                </a:cubicBezTo>
                <a:cubicBezTo>
                  <a:pt x="587" y="366"/>
                  <a:pt x="587" y="366"/>
                  <a:pt x="587" y="366"/>
                </a:cubicBezTo>
                <a:cubicBezTo>
                  <a:pt x="587" y="365"/>
                  <a:pt x="587" y="365"/>
                  <a:pt x="587" y="365"/>
                </a:cubicBezTo>
                <a:cubicBezTo>
                  <a:pt x="585" y="365"/>
                  <a:pt x="585" y="365"/>
                  <a:pt x="585" y="365"/>
                </a:cubicBezTo>
                <a:cubicBezTo>
                  <a:pt x="585" y="365"/>
                  <a:pt x="585" y="365"/>
                  <a:pt x="585" y="365"/>
                </a:cubicBezTo>
                <a:cubicBezTo>
                  <a:pt x="585" y="364"/>
                  <a:pt x="585" y="364"/>
                  <a:pt x="585" y="364"/>
                </a:cubicBezTo>
                <a:cubicBezTo>
                  <a:pt x="585" y="364"/>
                  <a:pt x="585" y="364"/>
                  <a:pt x="585" y="364"/>
                </a:cubicBezTo>
                <a:cubicBezTo>
                  <a:pt x="585" y="363"/>
                  <a:pt x="585" y="363"/>
                  <a:pt x="585" y="363"/>
                </a:cubicBezTo>
                <a:cubicBezTo>
                  <a:pt x="584" y="362"/>
                  <a:pt x="584" y="362"/>
                  <a:pt x="584" y="362"/>
                </a:cubicBezTo>
                <a:cubicBezTo>
                  <a:pt x="584" y="362"/>
                  <a:pt x="584" y="362"/>
                  <a:pt x="584" y="362"/>
                </a:cubicBezTo>
                <a:cubicBezTo>
                  <a:pt x="584" y="361"/>
                  <a:pt x="584" y="361"/>
                  <a:pt x="584" y="361"/>
                </a:cubicBezTo>
                <a:cubicBezTo>
                  <a:pt x="583" y="361"/>
                  <a:pt x="583" y="361"/>
                  <a:pt x="583" y="361"/>
                </a:cubicBezTo>
                <a:cubicBezTo>
                  <a:pt x="583" y="361"/>
                  <a:pt x="583" y="361"/>
                  <a:pt x="583" y="361"/>
                </a:cubicBezTo>
                <a:cubicBezTo>
                  <a:pt x="581" y="360"/>
                  <a:pt x="581" y="360"/>
                  <a:pt x="581" y="360"/>
                </a:cubicBezTo>
                <a:cubicBezTo>
                  <a:pt x="581" y="360"/>
                  <a:pt x="581" y="360"/>
                  <a:pt x="581" y="360"/>
                </a:cubicBezTo>
                <a:cubicBezTo>
                  <a:pt x="582" y="359"/>
                  <a:pt x="582" y="359"/>
                  <a:pt x="582" y="359"/>
                </a:cubicBezTo>
                <a:cubicBezTo>
                  <a:pt x="581" y="359"/>
                  <a:pt x="581" y="359"/>
                  <a:pt x="581" y="359"/>
                </a:cubicBezTo>
                <a:cubicBezTo>
                  <a:pt x="580" y="359"/>
                  <a:pt x="580" y="359"/>
                  <a:pt x="580" y="359"/>
                </a:cubicBezTo>
                <a:cubicBezTo>
                  <a:pt x="580" y="359"/>
                  <a:pt x="580" y="359"/>
                  <a:pt x="580" y="359"/>
                </a:cubicBezTo>
                <a:cubicBezTo>
                  <a:pt x="580" y="359"/>
                  <a:pt x="580" y="359"/>
                  <a:pt x="580" y="359"/>
                </a:cubicBezTo>
                <a:cubicBezTo>
                  <a:pt x="579" y="359"/>
                  <a:pt x="579" y="359"/>
                  <a:pt x="579" y="359"/>
                </a:cubicBezTo>
                <a:cubicBezTo>
                  <a:pt x="579" y="358"/>
                  <a:pt x="579" y="358"/>
                  <a:pt x="579" y="358"/>
                </a:cubicBezTo>
                <a:cubicBezTo>
                  <a:pt x="579" y="357"/>
                  <a:pt x="579" y="357"/>
                  <a:pt x="579" y="357"/>
                </a:cubicBezTo>
                <a:cubicBezTo>
                  <a:pt x="578" y="357"/>
                  <a:pt x="578" y="357"/>
                  <a:pt x="578" y="357"/>
                </a:cubicBezTo>
                <a:cubicBezTo>
                  <a:pt x="578" y="356"/>
                  <a:pt x="578" y="356"/>
                  <a:pt x="578" y="356"/>
                </a:cubicBezTo>
                <a:cubicBezTo>
                  <a:pt x="577" y="356"/>
                  <a:pt x="577" y="356"/>
                  <a:pt x="577" y="356"/>
                </a:cubicBezTo>
                <a:cubicBezTo>
                  <a:pt x="576" y="356"/>
                  <a:pt x="576" y="356"/>
                  <a:pt x="576" y="356"/>
                </a:cubicBezTo>
                <a:cubicBezTo>
                  <a:pt x="576" y="356"/>
                  <a:pt x="576" y="356"/>
                  <a:pt x="576" y="356"/>
                </a:cubicBezTo>
                <a:cubicBezTo>
                  <a:pt x="575" y="356"/>
                  <a:pt x="575" y="356"/>
                  <a:pt x="575" y="356"/>
                </a:cubicBezTo>
                <a:cubicBezTo>
                  <a:pt x="574" y="356"/>
                  <a:pt x="574" y="356"/>
                  <a:pt x="574" y="356"/>
                </a:cubicBezTo>
                <a:cubicBezTo>
                  <a:pt x="574" y="356"/>
                  <a:pt x="574" y="356"/>
                  <a:pt x="574" y="356"/>
                </a:cubicBezTo>
                <a:cubicBezTo>
                  <a:pt x="574" y="357"/>
                  <a:pt x="574" y="357"/>
                  <a:pt x="574" y="357"/>
                </a:cubicBezTo>
                <a:cubicBezTo>
                  <a:pt x="573" y="357"/>
                  <a:pt x="573" y="357"/>
                  <a:pt x="573" y="357"/>
                </a:cubicBezTo>
                <a:cubicBezTo>
                  <a:pt x="572" y="356"/>
                  <a:pt x="572" y="356"/>
                  <a:pt x="572" y="356"/>
                </a:cubicBezTo>
                <a:cubicBezTo>
                  <a:pt x="572" y="356"/>
                  <a:pt x="572" y="356"/>
                  <a:pt x="572" y="356"/>
                </a:cubicBezTo>
                <a:cubicBezTo>
                  <a:pt x="571" y="356"/>
                  <a:pt x="571" y="356"/>
                  <a:pt x="571" y="356"/>
                </a:cubicBezTo>
                <a:cubicBezTo>
                  <a:pt x="570" y="356"/>
                  <a:pt x="570" y="356"/>
                  <a:pt x="570" y="356"/>
                </a:cubicBezTo>
                <a:cubicBezTo>
                  <a:pt x="569" y="356"/>
                  <a:pt x="569" y="356"/>
                  <a:pt x="569" y="356"/>
                </a:cubicBezTo>
                <a:cubicBezTo>
                  <a:pt x="569" y="355"/>
                  <a:pt x="569" y="355"/>
                  <a:pt x="569" y="355"/>
                </a:cubicBezTo>
                <a:cubicBezTo>
                  <a:pt x="567" y="355"/>
                  <a:pt x="567" y="355"/>
                  <a:pt x="567" y="355"/>
                </a:cubicBezTo>
                <a:cubicBezTo>
                  <a:pt x="566" y="354"/>
                  <a:pt x="566" y="354"/>
                  <a:pt x="566" y="354"/>
                </a:cubicBezTo>
                <a:cubicBezTo>
                  <a:pt x="565" y="354"/>
                  <a:pt x="565" y="354"/>
                  <a:pt x="565" y="354"/>
                </a:cubicBezTo>
                <a:cubicBezTo>
                  <a:pt x="564" y="354"/>
                  <a:pt x="564" y="354"/>
                  <a:pt x="564" y="354"/>
                </a:cubicBezTo>
                <a:cubicBezTo>
                  <a:pt x="564" y="354"/>
                  <a:pt x="564" y="354"/>
                  <a:pt x="564" y="354"/>
                </a:cubicBezTo>
                <a:cubicBezTo>
                  <a:pt x="562" y="354"/>
                  <a:pt x="562" y="354"/>
                  <a:pt x="562" y="354"/>
                </a:cubicBezTo>
                <a:cubicBezTo>
                  <a:pt x="562" y="355"/>
                  <a:pt x="562" y="355"/>
                  <a:pt x="562" y="355"/>
                </a:cubicBezTo>
                <a:cubicBezTo>
                  <a:pt x="561" y="355"/>
                  <a:pt x="561" y="355"/>
                  <a:pt x="561" y="355"/>
                </a:cubicBezTo>
                <a:cubicBezTo>
                  <a:pt x="560" y="356"/>
                  <a:pt x="560" y="356"/>
                  <a:pt x="560" y="356"/>
                </a:cubicBezTo>
                <a:cubicBezTo>
                  <a:pt x="559" y="356"/>
                  <a:pt x="559" y="356"/>
                  <a:pt x="559" y="356"/>
                </a:cubicBezTo>
                <a:cubicBezTo>
                  <a:pt x="558" y="356"/>
                  <a:pt x="558" y="356"/>
                  <a:pt x="558" y="356"/>
                </a:cubicBezTo>
                <a:cubicBezTo>
                  <a:pt x="557" y="356"/>
                  <a:pt x="557" y="356"/>
                  <a:pt x="557" y="356"/>
                </a:cubicBezTo>
                <a:cubicBezTo>
                  <a:pt x="556" y="357"/>
                  <a:pt x="556" y="357"/>
                  <a:pt x="556" y="357"/>
                </a:cubicBezTo>
                <a:cubicBezTo>
                  <a:pt x="555" y="357"/>
                  <a:pt x="555" y="357"/>
                  <a:pt x="555" y="357"/>
                </a:cubicBezTo>
                <a:cubicBezTo>
                  <a:pt x="555" y="358"/>
                  <a:pt x="555" y="358"/>
                  <a:pt x="555" y="358"/>
                </a:cubicBezTo>
                <a:cubicBezTo>
                  <a:pt x="554" y="358"/>
                  <a:pt x="554" y="358"/>
                  <a:pt x="554" y="358"/>
                </a:cubicBezTo>
                <a:cubicBezTo>
                  <a:pt x="553" y="358"/>
                  <a:pt x="553" y="358"/>
                  <a:pt x="553" y="358"/>
                </a:cubicBezTo>
                <a:cubicBezTo>
                  <a:pt x="553" y="358"/>
                  <a:pt x="553" y="358"/>
                  <a:pt x="553" y="358"/>
                </a:cubicBezTo>
                <a:cubicBezTo>
                  <a:pt x="552" y="358"/>
                  <a:pt x="552" y="358"/>
                  <a:pt x="552" y="358"/>
                </a:cubicBezTo>
                <a:cubicBezTo>
                  <a:pt x="551" y="358"/>
                  <a:pt x="551" y="358"/>
                  <a:pt x="551" y="358"/>
                </a:cubicBezTo>
                <a:cubicBezTo>
                  <a:pt x="549" y="359"/>
                  <a:pt x="549" y="359"/>
                  <a:pt x="549" y="359"/>
                </a:cubicBezTo>
                <a:cubicBezTo>
                  <a:pt x="549" y="359"/>
                  <a:pt x="549" y="359"/>
                  <a:pt x="549" y="359"/>
                </a:cubicBezTo>
                <a:cubicBezTo>
                  <a:pt x="549" y="360"/>
                  <a:pt x="549" y="360"/>
                  <a:pt x="549" y="360"/>
                </a:cubicBezTo>
                <a:cubicBezTo>
                  <a:pt x="548" y="361"/>
                  <a:pt x="548" y="361"/>
                  <a:pt x="548" y="361"/>
                </a:cubicBezTo>
                <a:cubicBezTo>
                  <a:pt x="548" y="362"/>
                  <a:pt x="548" y="362"/>
                  <a:pt x="548" y="362"/>
                </a:cubicBezTo>
                <a:cubicBezTo>
                  <a:pt x="547" y="363"/>
                  <a:pt x="547" y="363"/>
                  <a:pt x="547" y="363"/>
                </a:cubicBezTo>
                <a:cubicBezTo>
                  <a:pt x="547" y="363"/>
                  <a:pt x="547" y="363"/>
                  <a:pt x="547" y="363"/>
                </a:cubicBezTo>
                <a:cubicBezTo>
                  <a:pt x="547" y="364"/>
                  <a:pt x="547" y="364"/>
                  <a:pt x="547" y="364"/>
                </a:cubicBezTo>
                <a:cubicBezTo>
                  <a:pt x="547" y="366"/>
                  <a:pt x="547" y="366"/>
                  <a:pt x="547" y="366"/>
                </a:cubicBezTo>
                <a:cubicBezTo>
                  <a:pt x="547" y="366"/>
                  <a:pt x="547" y="366"/>
                  <a:pt x="547" y="366"/>
                </a:cubicBezTo>
                <a:cubicBezTo>
                  <a:pt x="548" y="366"/>
                  <a:pt x="548" y="366"/>
                  <a:pt x="548" y="366"/>
                </a:cubicBezTo>
                <a:cubicBezTo>
                  <a:pt x="549" y="365"/>
                  <a:pt x="549" y="365"/>
                  <a:pt x="549" y="365"/>
                </a:cubicBezTo>
                <a:cubicBezTo>
                  <a:pt x="550" y="365"/>
                  <a:pt x="550" y="365"/>
                  <a:pt x="550" y="365"/>
                </a:cubicBezTo>
                <a:cubicBezTo>
                  <a:pt x="551" y="365"/>
                  <a:pt x="551" y="365"/>
                  <a:pt x="551" y="365"/>
                </a:cubicBezTo>
                <a:cubicBezTo>
                  <a:pt x="552" y="367"/>
                  <a:pt x="552" y="367"/>
                  <a:pt x="552" y="367"/>
                </a:cubicBezTo>
                <a:cubicBezTo>
                  <a:pt x="552" y="368"/>
                  <a:pt x="552" y="368"/>
                  <a:pt x="552" y="368"/>
                </a:cubicBezTo>
                <a:cubicBezTo>
                  <a:pt x="553" y="368"/>
                  <a:pt x="553" y="368"/>
                  <a:pt x="553" y="368"/>
                </a:cubicBezTo>
                <a:cubicBezTo>
                  <a:pt x="553" y="369"/>
                  <a:pt x="553" y="369"/>
                  <a:pt x="553" y="369"/>
                </a:cubicBezTo>
                <a:cubicBezTo>
                  <a:pt x="553" y="370"/>
                  <a:pt x="553" y="370"/>
                  <a:pt x="553" y="370"/>
                </a:cubicBezTo>
                <a:cubicBezTo>
                  <a:pt x="553" y="372"/>
                  <a:pt x="553" y="372"/>
                  <a:pt x="553" y="372"/>
                </a:cubicBezTo>
                <a:cubicBezTo>
                  <a:pt x="552" y="372"/>
                  <a:pt x="552" y="372"/>
                  <a:pt x="552" y="372"/>
                </a:cubicBezTo>
                <a:cubicBezTo>
                  <a:pt x="552" y="373"/>
                  <a:pt x="552" y="373"/>
                  <a:pt x="552" y="373"/>
                </a:cubicBezTo>
                <a:cubicBezTo>
                  <a:pt x="551" y="375"/>
                  <a:pt x="551" y="375"/>
                  <a:pt x="551" y="375"/>
                </a:cubicBezTo>
                <a:cubicBezTo>
                  <a:pt x="551" y="376"/>
                  <a:pt x="551" y="376"/>
                  <a:pt x="551" y="376"/>
                </a:cubicBezTo>
                <a:cubicBezTo>
                  <a:pt x="550" y="377"/>
                  <a:pt x="550" y="377"/>
                  <a:pt x="550" y="377"/>
                </a:cubicBezTo>
                <a:cubicBezTo>
                  <a:pt x="550" y="378"/>
                  <a:pt x="550" y="378"/>
                  <a:pt x="550" y="378"/>
                </a:cubicBezTo>
                <a:cubicBezTo>
                  <a:pt x="550" y="379"/>
                  <a:pt x="550" y="379"/>
                  <a:pt x="550" y="379"/>
                </a:cubicBezTo>
                <a:cubicBezTo>
                  <a:pt x="550" y="380"/>
                  <a:pt x="550" y="380"/>
                  <a:pt x="550" y="380"/>
                </a:cubicBezTo>
                <a:cubicBezTo>
                  <a:pt x="550" y="381"/>
                  <a:pt x="550" y="381"/>
                  <a:pt x="550" y="381"/>
                </a:cubicBezTo>
                <a:cubicBezTo>
                  <a:pt x="551" y="382"/>
                  <a:pt x="551" y="382"/>
                  <a:pt x="551" y="382"/>
                </a:cubicBezTo>
                <a:cubicBezTo>
                  <a:pt x="551" y="383"/>
                  <a:pt x="551" y="383"/>
                  <a:pt x="551" y="383"/>
                </a:cubicBezTo>
                <a:cubicBezTo>
                  <a:pt x="550" y="383"/>
                  <a:pt x="550" y="383"/>
                  <a:pt x="550" y="383"/>
                </a:cubicBezTo>
                <a:cubicBezTo>
                  <a:pt x="550" y="384"/>
                  <a:pt x="550" y="384"/>
                  <a:pt x="550" y="384"/>
                </a:cubicBezTo>
                <a:cubicBezTo>
                  <a:pt x="550" y="385"/>
                  <a:pt x="550" y="385"/>
                  <a:pt x="550" y="385"/>
                </a:cubicBezTo>
                <a:cubicBezTo>
                  <a:pt x="550" y="387"/>
                  <a:pt x="550" y="387"/>
                  <a:pt x="550" y="387"/>
                </a:cubicBezTo>
                <a:cubicBezTo>
                  <a:pt x="550" y="387"/>
                  <a:pt x="550" y="387"/>
                  <a:pt x="550" y="387"/>
                </a:cubicBezTo>
                <a:cubicBezTo>
                  <a:pt x="550" y="389"/>
                  <a:pt x="550" y="389"/>
                  <a:pt x="550" y="389"/>
                </a:cubicBezTo>
                <a:cubicBezTo>
                  <a:pt x="551" y="389"/>
                  <a:pt x="551" y="389"/>
                  <a:pt x="551" y="389"/>
                </a:cubicBezTo>
                <a:cubicBezTo>
                  <a:pt x="551" y="390"/>
                  <a:pt x="551" y="390"/>
                  <a:pt x="551" y="390"/>
                </a:cubicBezTo>
                <a:cubicBezTo>
                  <a:pt x="552" y="389"/>
                  <a:pt x="552" y="389"/>
                  <a:pt x="552" y="389"/>
                </a:cubicBezTo>
                <a:cubicBezTo>
                  <a:pt x="552" y="390"/>
                  <a:pt x="552" y="390"/>
                  <a:pt x="552" y="390"/>
                </a:cubicBezTo>
                <a:cubicBezTo>
                  <a:pt x="553" y="391"/>
                  <a:pt x="553" y="391"/>
                  <a:pt x="553" y="391"/>
                </a:cubicBezTo>
                <a:cubicBezTo>
                  <a:pt x="552" y="392"/>
                  <a:pt x="552" y="392"/>
                  <a:pt x="552" y="392"/>
                </a:cubicBezTo>
                <a:cubicBezTo>
                  <a:pt x="551" y="393"/>
                  <a:pt x="551" y="393"/>
                  <a:pt x="551" y="393"/>
                </a:cubicBezTo>
                <a:cubicBezTo>
                  <a:pt x="549" y="393"/>
                  <a:pt x="549" y="393"/>
                  <a:pt x="549" y="393"/>
                </a:cubicBezTo>
                <a:cubicBezTo>
                  <a:pt x="548" y="394"/>
                  <a:pt x="548" y="394"/>
                  <a:pt x="548" y="394"/>
                </a:cubicBezTo>
                <a:cubicBezTo>
                  <a:pt x="545" y="397"/>
                  <a:pt x="545" y="397"/>
                  <a:pt x="545" y="397"/>
                </a:cubicBezTo>
                <a:cubicBezTo>
                  <a:pt x="544" y="397"/>
                  <a:pt x="544" y="397"/>
                  <a:pt x="544" y="397"/>
                </a:cubicBezTo>
                <a:cubicBezTo>
                  <a:pt x="543" y="397"/>
                  <a:pt x="543" y="397"/>
                  <a:pt x="543" y="397"/>
                </a:cubicBezTo>
                <a:cubicBezTo>
                  <a:pt x="541" y="396"/>
                  <a:pt x="541" y="396"/>
                  <a:pt x="541" y="396"/>
                </a:cubicBezTo>
                <a:cubicBezTo>
                  <a:pt x="540" y="397"/>
                  <a:pt x="540" y="397"/>
                  <a:pt x="540" y="397"/>
                </a:cubicBezTo>
                <a:cubicBezTo>
                  <a:pt x="540" y="396"/>
                  <a:pt x="540" y="396"/>
                  <a:pt x="540" y="396"/>
                </a:cubicBezTo>
                <a:cubicBezTo>
                  <a:pt x="539" y="396"/>
                  <a:pt x="539" y="396"/>
                  <a:pt x="539" y="396"/>
                </a:cubicBezTo>
                <a:cubicBezTo>
                  <a:pt x="538" y="396"/>
                  <a:pt x="538" y="396"/>
                  <a:pt x="538" y="396"/>
                </a:cubicBezTo>
                <a:cubicBezTo>
                  <a:pt x="538" y="396"/>
                  <a:pt x="538" y="396"/>
                  <a:pt x="538" y="396"/>
                </a:cubicBezTo>
                <a:cubicBezTo>
                  <a:pt x="535" y="395"/>
                  <a:pt x="535" y="395"/>
                  <a:pt x="535" y="395"/>
                </a:cubicBezTo>
                <a:cubicBezTo>
                  <a:pt x="533" y="395"/>
                  <a:pt x="533" y="395"/>
                  <a:pt x="533" y="395"/>
                </a:cubicBezTo>
                <a:cubicBezTo>
                  <a:pt x="533" y="396"/>
                  <a:pt x="533" y="396"/>
                  <a:pt x="533" y="396"/>
                </a:cubicBezTo>
                <a:cubicBezTo>
                  <a:pt x="532" y="397"/>
                  <a:pt x="532" y="397"/>
                  <a:pt x="532" y="397"/>
                </a:cubicBezTo>
                <a:cubicBezTo>
                  <a:pt x="531" y="397"/>
                  <a:pt x="531" y="397"/>
                  <a:pt x="531" y="397"/>
                </a:cubicBezTo>
                <a:cubicBezTo>
                  <a:pt x="530" y="396"/>
                  <a:pt x="530" y="396"/>
                  <a:pt x="530" y="396"/>
                </a:cubicBezTo>
                <a:cubicBezTo>
                  <a:pt x="529" y="397"/>
                  <a:pt x="529" y="397"/>
                  <a:pt x="529" y="397"/>
                </a:cubicBezTo>
                <a:cubicBezTo>
                  <a:pt x="528" y="397"/>
                  <a:pt x="528" y="397"/>
                  <a:pt x="528" y="397"/>
                </a:cubicBezTo>
                <a:cubicBezTo>
                  <a:pt x="527" y="395"/>
                  <a:pt x="527" y="395"/>
                  <a:pt x="527" y="395"/>
                </a:cubicBezTo>
                <a:cubicBezTo>
                  <a:pt x="526" y="394"/>
                  <a:pt x="526" y="394"/>
                  <a:pt x="526" y="394"/>
                </a:cubicBezTo>
                <a:cubicBezTo>
                  <a:pt x="524" y="394"/>
                  <a:pt x="524" y="394"/>
                  <a:pt x="524" y="394"/>
                </a:cubicBezTo>
                <a:cubicBezTo>
                  <a:pt x="523" y="395"/>
                  <a:pt x="523" y="395"/>
                  <a:pt x="523" y="395"/>
                </a:cubicBezTo>
                <a:cubicBezTo>
                  <a:pt x="522" y="394"/>
                  <a:pt x="522" y="394"/>
                  <a:pt x="522" y="394"/>
                </a:cubicBezTo>
                <a:cubicBezTo>
                  <a:pt x="521" y="394"/>
                  <a:pt x="521" y="394"/>
                  <a:pt x="521" y="394"/>
                </a:cubicBezTo>
                <a:cubicBezTo>
                  <a:pt x="520" y="395"/>
                  <a:pt x="520" y="395"/>
                  <a:pt x="520" y="395"/>
                </a:cubicBezTo>
                <a:cubicBezTo>
                  <a:pt x="520" y="397"/>
                  <a:pt x="520" y="397"/>
                  <a:pt x="520" y="397"/>
                </a:cubicBezTo>
                <a:cubicBezTo>
                  <a:pt x="519" y="398"/>
                  <a:pt x="519" y="398"/>
                  <a:pt x="519" y="398"/>
                </a:cubicBezTo>
                <a:cubicBezTo>
                  <a:pt x="517" y="398"/>
                  <a:pt x="517" y="398"/>
                  <a:pt x="517" y="398"/>
                </a:cubicBezTo>
                <a:cubicBezTo>
                  <a:pt x="517" y="400"/>
                  <a:pt x="517" y="400"/>
                  <a:pt x="517" y="400"/>
                </a:cubicBezTo>
                <a:cubicBezTo>
                  <a:pt x="517" y="400"/>
                  <a:pt x="517" y="400"/>
                  <a:pt x="517" y="400"/>
                </a:cubicBezTo>
                <a:cubicBezTo>
                  <a:pt x="516" y="401"/>
                  <a:pt x="516" y="401"/>
                  <a:pt x="516" y="401"/>
                </a:cubicBezTo>
                <a:cubicBezTo>
                  <a:pt x="515" y="402"/>
                  <a:pt x="515" y="402"/>
                  <a:pt x="515" y="402"/>
                </a:cubicBezTo>
                <a:cubicBezTo>
                  <a:pt x="512" y="402"/>
                  <a:pt x="512" y="402"/>
                  <a:pt x="512" y="402"/>
                </a:cubicBezTo>
                <a:cubicBezTo>
                  <a:pt x="511" y="403"/>
                  <a:pt x="511" y="403"/>
                  <a:pt x="511" y="403"/>
                </a:cubicBezTo>
                <a:cubicBezTo>
                  <a:pt x="510" y="404"/>
                  <a:pt x="510" y="404"/>
                  <a:pt x="510" y="404"/>
                </a:cubicBezTo>
                <a:cubicBezTo>
                  <a:pt x="509" y="404"/>
                  <a:pt x="509" y="404"/>
                  <a:pt x="509" y="404"/>
                </a:cubicBezTo>
                <a:cubicBezTo>
                  <a:pt x="506" y="405"/>
                  <a:pt x="506" y="405"/>
                  <a:pt x="506" y="405"/>
                </a:cubicBezTo>
                <a:cubicBezTo>
                  <a:pt x="505" y="407"/>
                  <a:pt x="505" y="407"/>
                  <a:pt x="505" y="407"/>
                </a:cubicBezTo>
                <a:cubicBezTo>
                  <a:pt x="505" y="407"/>
                  <a:pt x="505" y="407"/>
                  <a:pt x="505" y="407"/>
                </a:cubicBezTo>
                <a:cubicBezTo>
                  <a:pt x="503" y="406"/>
                  <a:pt x="503" y="406"/>
                  <a:pt x="503" y="406"/>
                </a:cubicBezTo>
                <a:cubicBezTo>
                  <a:pt x="502" y="406"/>
                  <a:pt x="502" y="406"/>
                  <a:pt x="502" y="406"/>
                </a:cubicBezTo>
                <a:cubicBezTo>
                  <a:pt x="501" y="406"/>
                  <a:pt x="501" y="406"/>
                  <a:pt x="501" y="406"/>
                </a:cubicBezTo>
                <a:cubicBezTo>
                  <a:pt x="500" y="407"/>
                  <a:pt x="500" y="407"/>
                  <a:pt x="500" y="407"/>
                </a:cubicBezTo>
                <a:cubicBezTo>
                  <a:pt x="496" y="407"/>
                  <a:pt x="496" y="407"/>
                  <a:pt x="496" y="407"/>
                </a:cubicBezTo>
                <a:cubicBezTo>
                  <a:pt x="493" y="406"/>
                  <a:pt x="493" y="406"/>
                  <a:pt x="493" y="406"/>
                </a:cubicBezTo>
                <a:cubicBezTo>
                  <a:pt x="491" y="406"/>
                  <a:pt x="491" y="406"/>
                  <a:pt x="491" y="406"/>
                </a:cubicBezTo>
                <a:cubicBezTo>
                  <a:pt x="490" y="406"/>
                  <a:pt x="490" y="406"/>
                  <a:pt x="490" y="406"/>
                </a:cubicBezTo>
                <a:cubicBezTo>
                  <a:pt x="489" y="405"/>
                  <a:pt x="489" y="405"/>
                  <a:pt x="489" y="405"/>
                </a:cubicBezTo>
                <a:cubicBezTo>
                  <a:pt x="488" y="405"/>
                  <a:pt x="488" y="405"/>
                  <a:pt x="488" y="405"/>
                </a:cubicBezTo>
                <a:cubicBezTo>
                  <a:pt x="487" y="404"/>
                  <a:pt x="487" y="404"/>
                  <a:pt x="487" y="404"/>
                </a:cubicBezTo>
                <a:cubicBezTo>
                  <a:pt x="486" y="404"/>
                  <a:pt x="486" y="404"/>
                  <a:pt x="486" y="404"/>
                </a:cubicBezTo>
                <a:cubicBezTo>
                  <a:pt x="485" y="402"/>
                  <a:pt x="485" y="402"/>
                  <a:pt x="485" y="402"/>
                </a:cubicBezTo>
                <a:cubicBezTo>
                  <a:pt x="484" y="401"/>
                  <a:pt x="484" y="401"/>
                  <a:pt x="484" y="401"/>
                </a:cubicBezTo>
                <a:cubicBezTo>
                  <a:pt x="483" y="401"/>
                  <a:pt x="483" y="401"/>
                  <a:pt x="483" y="401"/>
                </a:cubicBezTo>
                <a:cubicBezTo>
                  <a:pt x="481" y="401"/>
                  <a:pt x="481" y="401"/>
                  <a:pt x="481" y="401"/>
                </a:cubicBezTo>
                <a:cubicBezTo>
                  <a:pt x="479" y="401"/>
                  <a:pt x="479" y="401"/>
                  <a:pt x="479" y="401"/>
                </a:cubicBezTo>
                <a:cubicBezTo>
                  <a:pt x="478" y="399"/>
                  <a:pt x="478" y="399"/>
                  <a:pt x="478" y="399"/>
                </a:cubicBezTo>
                <a:cubicBezTo>
                  <a:pt x="475" y="399"/>
                  <a:pt x="475" y="399"/>
                  <a:pt x="475" y="399"/>
                </a:cubicBezTo>
                <a:cubicBezTo>
                  <a:pt x="474" y="399"/>
                  <a:pt x="474" y="399"/>
                  <a:pt x="474" y="399"/>
                </a:cubicBezTo>
                <a:cubicBezTo>
                  <a:pt x="472" y="398"/>
                  <a:pt x="472" y="398"/>
                  <a:pt x="472" y="398"/>
                </a:cubicBezTo>
                <a:cubicBezTo>
                  <a:pt x="471" y="398"/>
                  <a:pt x="471" y="398"/>
                  <a:pt x="471" y="398"/>
                </a:cubicBezTo>
                <a:cubicBezTo>
                  <a:pt x="469" y="398"/>
                  <a:pt x="469" y="398"/>
                  <a:pt x="469" y="398"/>
                </a:cubicBezTo>
                <a:cubicBezTo>
                  <a:pt x="468" y="399"/>
                  <a:pt x="468" y="399"/>
                  <a:pt x="468" y="399"/>
                </a:cubicBezTo>
                <a:cubicBezTo>
                  <a:pt x="465" y="399"/>
                  <a:pt x="465" y="399"/>
                  <a:pt x="465" y="399"/>
                </a:cubicBezTo>
                <a:cubicBezTo>
                  <a:pt x="463" y="400"/>
                  <a:pt x="463" y="400"/>
                  <a:pt x="463" y="400"/>
                </a:cubicBezTo>
                <a:cubicBezTo>
                  <a:pt x="462" y="401"/>
                  <a:pt x="462" y="401"/>
                  <a:pt x="462" y="401"/>
                </a:cubicBezTo>
                <a:cubicBezTo>
                  <a:pt x="461" y="401"/>
                  <a:pt x="461" y="401"/>
                  <a:pt x="461" y="401"/>
                </a:cubicBezTo>
                <a:cubicBezTo>
                  <a:pt x="461" y="401"/>
                  <a:pt x="461" y="401"/>
                  <a:pt x="461" y="401"/>
                </a:cubicBezTo>
                <a:cubicBezTo>
                  <a:pt x="460" y="401"/>
                  <a:pt x="460" y="401"/>
                  <a:pt x="460" y="401"/>
                </a:cubicBezTo>
                <a:cubicBezTo>
                  <a:pt x="459" y="402"/>
                  <a:pt x="459" y="402"/>
                  <a:pt x="459" y="402"/>
                </a:cubicBezTo>
                <a:cubicBezTo>
                  <a:pt x="457" y="401"/>
                  <a:pt x="457" y="401"/>
                  <a:pt x="457" y="401"/>
                </a:cubicBezTo>
                <a:cubicBezTo>
                  <a:pt x="457" y="402"/>
                  <a:pt x="457" y="402"/>
                  <a:pt x="457" y="402"/>
                </a:cubicBezTo>
                <a:cubicBezTo>
                  <a:pt x="456" y="402"/>
                  <a:pt x="456" y="402"/>
                  <a:pt x="456" y="402"/>
                </a:cubicBezTo>
                <a:cubicBezTo>
                  <a:pt x="454" y="401"/>
                  <a:pt x="454" y="401"/>
                  <a:pt x="454" y="401"/>
                </a:cubicBezTo>
                <a:cubicBezTo>
                  <a:pt x="452" y="400"/>
                  <a:pt x="452" y="400"/>
                  <a:pt x="452" y="400"/>
                </a:cubicBezTo>
                <a:cubicBezTo>
                  <a:pt x="451" y="400"/>
                  <a:pt x="451" y="400"/>
                  <a:pt x="451" y="400"/>
                </a:cubicBezTo>
                <a:cubicBezTo>
                  <a:pt x="450" y="398"/>
                  <a:pt x="450" y="398"/>
                  <a:pt x="450" y="398"/>
                </a:cubicBezTo>
                <a:cubicBezTo>
                  <a:pt x="449" y="398"/>
                  <a:pt x="449" y="398"/>
                  <a:pt x="449" y="398"/>
                </a:cubicBezTo>
                <a:cubicBezTo>
                  <a:pt x="449" y="398"/>
                  <a:pt x="449" y="398"/>
                  <a:pt x="449" y="398"/>
                </a:cubicBezTo>
                <a:cubicBezTo>
                  <a:pt x="449" y="397"/>
                  <a:pt x="449" y="397"/>
                  <a:pt x="449" y="397"/>
                </a:cubicBezTo>
                <a:cubicBezTo>
                  <a:pt x="448" y="395"/>
                  <a:pt x="448" y="395"/>
                  <a:pt x="448" y="395"/>
                </a:cubicBezTo>
                <a:cubicBezTo>
                  <a:pt x="448" y="395"/>
                  <a:pt x="448" y="395"/>
                  <a:pt x="448" y="395"/>
                </a:cubicBezTo>
                <a:cubicBezTo>
                  <a:pt x="448" y="394"/>
                  <a:pt x="448" y="394"/>
                  <a:pt x="448" y="394"/>
                </a:cubicBezTo>
                <a:cubicBezTo>
                  <a:pt x="447" y="393"/>
                  <a:pt x="447" y="393"/>
                  <a:pt x="447" y="393"/>
                </a:cubicBezTo>
                <a:cubicBezTo>
                  <a:pt x="447" y="392"/>
                  <a:pt x="447" y="392"/>
                  <a:pt x="447" y="392"/>
                </a:cubicBezTo>
                <a:cubicBezTo>
                  <a:pt x="446" y="391"/>
                  <a:pt x="446" y="391"/>
                  <a:pt x="446" y="391"/>
                </a:cubicBezTo>
                <a:cubicBezTo>
                  <a:pt x="445" y="391"/>
                  <a:pt x="445" y="391"/>
                  <a:pt x="445" y="391"/>
                </a:cubicBezTo>
                <a:cubicBezTo>
                  <a:pt x="443" y="391"/>
                  <a:pt x="443" y="391"/>
                  <a:pt x="443" y="391"/>
                </a:cubicBezTo>
                <a:cubicBezTo>
                  <a:pt x="442" y="391"/>
                  <a:pt x="442" y="391"/>
                  <a:pt x="442" y="391"/>
                </a:cubicBezTo>
                <a:cubicBezTo>
                  <a:pt x="441" y="390"/>
                  <a:pt x="441" y="390"/>
                  <a:pt x="441" y="390"/>
                </a:cubicBezTo>
                <a:cubicBezTo>
                  <a:pt x="439" y="390"/>
                  <a:pt x="439" y="390"/>
                  <a:pt x="439" y="390"/>
                </a:cubicBezTo>
                <a:cubicBezTo>
                  <a:pt x="439" y="389"/>
                  <a:pt x="439" y="389"/>
                  <a:pt x="439" y="389"/>
                </a:cubicBezTo>
                <a:cubicBezTo>
                  <a:pt x="438" y="389"/>
                  <a:pt x="438" y="389"/>
                  <a:pt x="438" y="389"/>
                </a:cubicBezTo>
                <a:cubicBezTo>
                  <a:pt x="435" y="389"/>
                  <a:pt x="435" y="389"/>
                  <a:pt x="435" y="389"/>
                </a:cubicBezTo>
                <a:cubicBezTo>
                  <a:pt x="434" y="389"/>
                  <a:pt x="434" y="389"/>
                  <a:pt x="434" y="389"/>
                </a:cubicBezTo>
                <a:cubicBezTo>
                  <a:pt x="432" y="388"/>
                  <a:pt x="432" y="388"/>
                  <a:pt x="432" y="388"/>
                </a:cubicBezTo>
                <a:cubicBezTo>
                  <a:pt x="432" y="388"/>
                  <a:pt x="432" y="388"/>
                  <a:pt x="432" y="388"/>
                </a:cubicBezTo>
                <a:cubicBezTo>
                  <a:pt x="431" y="387"/>
                  <a:pt x="431" y="387"/>
                  <a:pt x="431" y="387"/>
                </a:cubicBezTo>
                <a:cubicBezTo>
                  <a:pt x="429" y="387"/>
                  <a:pt x="429" y="387"/>
                  <a:pt x="429" y="387"/>
                </a:cubicBezTo>
                <a:cubicBezTo>
                  <a:pt x="428" y="386"/>
                  <a:pt x="428" y="386"/>
                  <a:pt x="428" y="386"/>
                </a:cubicBezTo>
                <a:cubicBezTo>
                  <a:pt x="427" y="386"/>
                  <a:pt x="427" y="386"/>
                  <a:pt x="427" y="386"/>
                </a:cubicBezTo>
                <a:cubicBezTo>
                  <a:pt x="426" y="387"/>
                  <a:pt x="426" y="387"/>
                  <a:pt x="426" y="387"/>
                </a:cubicBezTo>
                <a:cubicBezTo>
                  <a:pt x="426" y="388"/>
                  <a:pt x="426" y="388"/>
                  <a:pt x="426" y="388"/>
                </a:cubicBezTo>
                <a:cubicBezTo>
                  <a:pt x="426" y="389"/>
                  <a:pt x="426" y="389"/>
                  <a:pt x="426" y="389"/>
                </a:cubicBezTo>
                <a:cubicBezTo>
                  <a:pt x="426" y="390"/>
                  <a:pt x="426" y="390"/>
                  <a:pt x="426" y="390"/>
                </a:cubicBezTo>
                <a:cubicBezTo>
                  <a:pt x="425" y="389"/>
                  <a:pt x="425" y="389"/>
                  <a:pt x="425" y="389"/>
                </a:cubicBezTo>
                <a:cubicBezTo>
                  <a:pt x="424" y="390"/>
                  <a:pt x="424" y="390"/>
                  <a:pt x="424" y="390"/>
                </a:cubicBezTo>
                <a:cubicBezTo>
                  <a:pt x="423" y="391"/>
                  <a:pt x="423" y="391"/>
                  <a:pt x="423" y="391"/>
                </a:cubicBezTo>
                <a:cubicBezTo>
                  <a:pt x="423" y="392"/>
                  <a:pt x="423" y="392"/>
                  <a:pt x="423" y="392"/>
                </a:cubicBezTo>
                <a:cubicBezTo>
                  <a:pt x="422" y="393"/>
                  <a:pt x="422" y="393"/>
                  <a:pt x="422" y="393"/>
                </a:cubicBezTo>
                <a:cubicBezTo>
                  <a:pt x="422" y="396"/>
                  <a:pt x="422" y="396"/>
                  <a:pt x="422" y="396"/>
                </a:cubicBezTo>
                <a:cubicBezTo>
                  <a:pt x="423" y="398"/>
                  <a:pt x="423" y="398"/>
                  <a:pt x="423" y="398"/>
                </a:cubicBezTo>
                <a:cubicBezTo>
                  <a:pt x="424" y="398"/>
                  <a:pt x="424" y="398"/>
                  <a:pt x="424" y="398"/>
                </a:cubicBezTo>
                <a:cubicBezTo>
                  <a:pt x="425" y="399"/>
                  <a:pt x="425" y="399"/>
                  <a:pt x="425" y="399"/>
                </a:cubicBezTo>
                <a:cubicBezTo>
                  <a:pt x="426" y="400"/>
                  <a:pt x="426" y="400"/>
                  <a:pt x="426" y="400"/>
                </a:cubicBezTo>
                <a:cubicBezTo>
                  <a:pt x="427" y="400"/>
                  <a:pt x="427" y="400"/>
                  <a:pt x="427" y="400"/>
                </a:cubicBezTo>
                <a:cubicBezTo>
                  <a:pt x="426" y="402"/>
                  <a:pt x="426" y="402"/>
                  <a:pt x="426" y="402"/>
                </a:cubicBezTo>
                <a:cubicBezTo>
                  <a:pt x="426" y="404"/>
                  <a:pt x="426" y="404"/>
                  <a:pt x="426" y="404"/>
                </a:cubicBezTo>
                <a:cubicBezTo>
                  <a:pt x="427" y="405"/>
                  <a:pt x="427" y="405"/>
                  <a:pt x="427" y="405"/>
                </a:cubicBezTo>
                <a:cubicBezTo>
                  <a:pt x="428" y="406"/>
                  <a:pt x="428" y="406"/>
                  <a:pt x="428" y="406"/>
                </a:cubicBezTo>
                <a:cubicBezTo>
                  <a:pt x="427" y="408"/>
                  <a:pt x="427" y="408"/>
                  <a:pt x="427" y="408"/>
                </a:cubicBezTo>
                <a:cubicBezTo>
                  <a:pt x="425" y="408"/>
                  <a:pt x="425" y="408"/>
                  <a:pt x="425" y="408"/>
                </a:cubicBezTo>
                <a:cubicBezTo>
                  <a:pt x="424" y="408"/>
                  <a:pt x="424" y="408"/>
                  <a:pt x="424" y="408"/>
                </a:cubicBezTo>
                <a:cubicBezTo>
                  <a:pt x="423" y="408"/>
                  <a:pt x="423" y="408"/>
                  <a:pt x="423" y="408"/>
                </a:cubicBezTo>
                <a:cubicBezTo>
                  <a:pt x="422" y="408"/>
                  <a:pt x="422" y="408"/>
                  <a:pt x="422" y="408"/>
                </a:cubicBezTo>
                <a:cubicBezTo>
                  <a:pt x="421" y="408"/>
                  <a:pt x="421" y="408"/>
                  <a:pt x="421" y="408"/>
                </a:cubicBezTo>
                <a:cubicBezTo>
                  <a:pt x="418" y="408"/>
                  <a:pt x="418" y="408"/>
                  <a:pt x="418" y="408"/>
                </a:cubicBezTo>
                <a:cubicBezTo>
                  <a:pt x="417" y="408"/>
                  <a:pt x="417" y="408"/>
                  <a:pt x="417" y="408"/>
                </a:cubicBezTo>
                <a:cubicBezTo>
                  <a:pt x="416" y="407"/>
                  <a:pt x="416" y="407"/>
                  <a:pt x="416" y="407"/>
                </a:cubicBezTo>
                <a:cubicBezTo>
                  <a:pt x="415" y="407"/>
                  <a:pt x="415" y="407"/>
                  <a:pt x="415" y="407"/>
                </a:cubicBezTo>
                <a:cubicBezTo>
                  <a:pt x="414" y="407"/>
                  <a:pt x="414" y="407"/>
                  <a:pt x="414" y="407"/>
                </a:cubicBezTo>
                <a:cubicBezTo>
                  <a:pt x="413" y="408"/>
                  <a:pt x="413" y="408"/>
                  <a:pt x="413" y="408"/>
                </a:cubicBezTo>
                <a:cubicBezTo>
                  <a:pt x="412" y="409"/>
                  <a:pt x="412" y="409"/>
                  <a:pt x="412" y="409"/>
                </a:cubicBezTo>
                <a:cubicBezTo>
                  <a:pt x="411" y="409"/>
                  <a:pt x="411" y="409"/>
                  <a:pt x="411" y="409"/>
                </a:cubicBezTo>
                <a:cubicBezTo>
                  <a:pt x="408" y="408"/>
                  <a:pt x="408" y="408"/>
                  <a:pt x="408" y="408"/>
                </a:cubicBezTo>
                <a:cubicBezTo>
                  <a:pt x="407" y="407"/>
                  <a:pt x="407" y="407"/>
                  <a:pt x="407" y="407"/>
                </a:cubicBezTo>
                <a:cubicBezTo>
                  <a:pt x="404" y="405"/>
                  <a:pt x="404" y="405"/>
                  <a:pt x="404" y="405"/>
                </a:cubicBezTo>
                <a:cubicBezTo>
                  <a:pt x="404" y="405"/>
                  <a:pt x="404" y="405"/>
                  <a:pt x="404" y="405"/>
                </a:cubicBezTo>
                <a:cubicBezTo>
                  <a:pt x="404" y="404"/>
                  <a:pt x="404" y="404"/>
                  <a:pt x="404" y="404"/>
                </a:cubicBezTo>
                <a:cubicBezTo>
                  <a:pt x="403" y="403"/>
                  <a:pt x="403" y="403"/>
                  <a:pt x="403" y="403"/>
                </a:cubicBezTo>
                <a:cubicBezTo>
                  <a:pt x="401" y="403"/>
                  <a:pt x="401" y="403"/>
                  <a:pt x="401" y="403"/>
                </a:cubicBezTo>
                <a:cubicBezTo>
                  <a:pt x="400" y="403"/>
                  <a:pt x="400" y="403"/>
                  <a:pt x="400" y="403"/>
                </a:cubicBezTo>
                <a:cubicBezTo>
                  <a:pt x="399" y="403"/>
                  <a:pt x="399" y="403"/>
                  <a:pt x="399" y="403"/>
                </a:cubicBezTo>
                <a:cubicBezTo>
                  <a:pt x="398" y="404"/>
                  <a:pt x="398" y="404"/>
                  <a:pt x="398" y="404"/>
                </a:cubicBezTo>
                <a:cubicBezTo>
                  <a:pt x="397" y="404"/>
                  <a:pt x="397" y="404"/>
                  <a:pt x="397" y="404"/>
                </a:cubicBezTo>
                <a:cubicBezTo>
                  <a:pt x="396" y="403"/>
                  <a:pt x="396" y="403"/>
                  <a:pt x="396" y="403"/>
                </a:cubicBezTo>
                <a:cubicBezTo>
                  <a:pt x="396" y="402"/>
                  <a:pt x="396" y="402"/>
                  <a:pt x="396" y="402"/>
                </a:cubicBezTo>
                <a:cubicBezTo>
                  <a:pt x="396" y="401"/>
                  <a:pt x="396" y="401"/>
                  <a:pt x="396" y="401"/>
                </a:cubicBezTo>
                <a:cubicBezTo>
                  <a:pt x="395" y="401"/>
                  <a:pt x="395" y="401"/>
                  <a:pt x="395" y="401"/>
                </a:cubicBezTo>
                <a:cubicBezTo>
                  <a:pt x="394" y="402"/>
                  <a:pt x="394" y="402"/>
                  <a:pt x="394" y="402"/>
                </a:cubicBezTo>
                <a:cubicBezTo>
                  <a:pt x="393" y="402"/>
                  <a:pt x="393" y="402"/>
                  <a:pt x="393" y="402"/>
                </a:cubicBezTo>
                <a:cubicBezTo>
                  <a:pt x="392" y="402"/>
                  <a:pt x="392" y="402"/>
                  <a:pt x="392" y="402"/>
                </a:cubicBezTo>
                <a:cubicBezTo>
                  <a:pt x="391" y="402"/>
                  <a:pt x="391" y="402"/>
                  <a:pt x="391" y="402"/>
                </a:cubicBezTo>
                <a:cubicBezTo>
                  <a:pt x="388" y="402"/>
                  <a:pt x="388" y="402"/>
                  <a:pt x="388" y="402"/>
                </a:cubicBezTo>
                <a:cubicBezTo>
                  <a:pt x="387" y="403"/>
                  <a:pt x="387" y="403"/>
                  <a:pt x="387" y="403"/>
                </a:cubicBezTo>
                <a:cubicBezTo>
                  <a:pt x="387" y="404"/>
                  <a:pt x="387" y="404"/>
                  <a:pt x="387" y="404"/>
                </a:cubicBezTo>
                <a:cubicBezTo>
                  <a:pt x="386" y="405"/>
                  <a:pt x="386" y="405"/>
                  <a:pt x="386" y="405"/>
                </a:cubicBezTo>
                <a:cubicBezTo>
                  <a:pt x="384" y="404"/>
                  <a:pt x="384" y="404"/>
                  <a:pt x="384" y="404"/>
                </a:cubicBezTo>
                <a:cubicBezTo>
                  <a:pt x="383" y="405"/>
                  <a:pt x="383" y="405"/>
                  <a:pt x="383" y="405"/>
                </a:cubicBezTo>
                <a:cubicBezTo>
                  <a:pt x="383" y="405"/>
                  <a:pt x="383" y="405"/>
                  <a:pt x="383" y="405"/>
                </a:cubicBezTo>
                <a:cubicBezTo>
                  <a:pt x="384" y="406"/>
                  <a:pt x="384" y="406"/>
                  <a:pt x="384" y="406"/>
                </a:cubicBezTo>
                <a:cubicBezTo>
                  <a:pt x="384" y="406"/>
                  <a:pt x="384" y="406"/>
                  <a:pt x="384" y="406"/>
                </a:cubicBezTo>
                <a:cubicBezTo>
                  <a:pt x="383" y="408"/>
                  <a:pt x="383" y="408"/>
                  <a:pt x="383" y="408"/>
                </a:cubicBezTo>
                <a:cubicBezTo>
                  <a:pt x="382" y="408"/>
                  <a:pt x="382" y="408"/>
                  <a:pt x="382" y="408"/>
                </a:cubicBezTo>
                <a:cubicBezTo>
                  <a:pt x="381" y="409"/>
                  <a:pt x="381" y="409"/>
                  <a:pt x="381" y="409"/>
                </a:cubicBezTo>
                <a:cubicBezTo>
                  <a:pt x="381" y="410"/>
                  <a:pt x="381" y="410"/>
                  <a:pt x="381" y="410"/>
                </a:cubicBezTo>
                <a:cubicBezTo>
                  <a:pt x="379" y="411"/>
                  <a:pt x="379" y="411"/>
                  <a:pt x="379" y="411"/>
                </a:cubicBezTo>
                <a:cubicBezTo>
                  <a:pt x="378" y="412"/>
                  <a:pt x="378" y="412"/>
                  <a:pt x="378" y="412"/>
                </a:cubicBezTo>
                <a:cubicBezTo>
                  <a:pt x="378" y="413"/>
                  <a:pt x="378" y="413"/>
                  <a:pt x="378" y="413"/>
                </a:cubicBezTo>
                <a:cubicBezTo>
                  <a:pt x="376" y="414"/>
                  <a:pt x="376" y="414"/>
                  <a:pt x="376" y="414"/>
                </a:cubicBezTo>
                <a:cubicBezTo>
                  <a:pt x="375" y="415"/>
                  <a:pt x="375" y="415"/>
                  <a:pt x="375" y="415"/>
                </a:cubicBezTo>
                <a:cubicBezTo>
                  <a:pt x="375" y="416"/>
                  <a:pt x="375" y="416"/>
                  <a:pt x="375" y="416"/>
                </a:cubicBezTo>
                <a:cubicBezTo>
                  <a:pt x="372" y="416"/>
                  <a:pt x="372" y="416"/>
                  <a:pt x="372" y="416"/>
                </a:cubicBezTo>
                <a:cubicBezTo>
                  <a:pt x="371" y="416"/>
                  <a:pt x="371" y="416"/>
                  <a:pt x="371" y="416"/>
                </a:cubicBezTo>
                <a:cubicBezTo>
                  <a:pt x="370" y="418"/>
                  <a:pt x="370" y="418"/>
                  <a:pt x="370" y="418"/>
                </a:cubicBezTo>
                <a:cubicBezTo>
                  <a:pt x="370" y="419"/>
                  <a:pt x="370" y="419"/>
                  <a:pt x="370" y="419"/>
                </a:cubicBezTo>
                <a:cubicBezTo>
                  <a:pt x="369" y="419"/>
                  <a:pt x="369" y="419"/>
                  <a:pt x="369" y="419"/>
                </a:cubicBezTo>
                <a:cubicBezTo>
                  <a:pt x="368" y="418"/>
                  <a:pt x="368" y="418"/>
                  <a:pt x="368" y="418"/>
                </a:cubicBezTo>
                <a:cubicBezTo>
                  <a:pt x="367" y="418"/>
                  <a:pt x="367" y="418"/>
                  <a:pt x="367" y="418"/>
                </a:cubicBezTo>
                <a:cubicBezTo>
                  <a:pt x="367" y="418"/>
                  <a:pt x="367" y="418"/>
                  <a:pt x="367" y="418"/>
                </a:cubicBezTo>
                <a:cubicBezTo>
                  <a:pt x="365" y="417"/>
                  <a:pt x="365" y="417"/>
                  <a:pt x="365" y="417"/>
                </a:cubicBezTo>
                <a:cubicBezTo>
                  <a:pt x="364" y="416"/>
                  <a:pt x="364" y="416"/>
                  <a:pt x="364" y="416"/>
                </a:cubicBezTo>
                <a:cubicBezTo>
                  <a:pt x="363" y="416"/>
                  <a:pt x="363" y="416"/>
                  <a:pt x="363" y="416"/>
                </a:cubicBezTo>
                <a:cubicBezTo>
                  <a:pt x="363" y="415"/>
                  <a:pt x="363" y="415"/>
                  <a:pt x="363" y="415"/>
                </a:cubicBezTo>
                <a:cubicBezTo>
                  <a:pt x="363" y="413"/>
                  <a:pt x="363" y="413"/>
                  <a:pt x="363" y="413"/>
                </a:cubicBezTo>
                <a:cubicBezTo>
                  <a:pt x="362" y="413"/>
                  <a:pt x="362" y="413"/>
                  <a:pt x="362" y="413"/>
                </a:cubicBezTo>
                <a:cubicBezTo>
                  <a:pt x="361" y="413"/>
                  <a:pt x="361" y="413"/>
                  <a:pt x="361" y="413"/>
                </a:cubicBezTo>
                <a:cubicBezTo>
                  <a:pt x="361" y="415"/>
                  <a:pt x="361" y="415"/>
                  <a:pt x="361" y="415"/>
                </a:cubicBezTo>
                <a:cubicBezTo>
                  <a:pt x="359" y="415"/>
                  <a:pt x="359" y="415"/>
                  <a:pt x="359" y="415"/>
                </a:cubicBezTo>
                <a:cubicBezTo>
                  <a:pt x="356" y="415"/>
                  <a:pt x="356" y="415"/>
                  <a:pt x="356" y="415"/>
                </a:cubicBezTo>
                <a:cubicBezTo>
                  <a:pt x="355" y="416"/>
                  <a:pt x="355" y="416"/>
                  <a:pt x="355" y="416"/>
                </a:cubicBezTo>
                <a:cubicBezTo>
                  <a:pt x="355" y="416"/>
                  <a:pt x="355" y="416"/>
                  <a:pt x="355" y="416"/>
                </a:cubicBezTo>
                <a:cubicBezTo>
                  <a:pt x="354" y="416"/>
                  <a:pt x="354" y="416"/>
                  <a:pt x="354" y="416"/>
                </a:cubicBezTo>
                <a:cubicBezTo>
                  <a:pt x="353" y="415"/>
                  <a:pt x="353" y="415"/>
                  <a:pt x="353" y="415"/>
                </a:cubicBezTo>
                <a:cubicBezTo>
                  <a:pt x="352" y="415"/>
                  <a:pt x="352" y="415"/>
                  <a:pt x="352" y="415"/>
                </a:cubicBezTo>
                <a:cubicBezTo>
                  <a:pt x="352" y="415"/>
                  <a:pt x="352" y="415"/>
                  <a:pt x="352" y="415"/>
                </a:cubicBezTo>
                <a:cubicBezTo>
                  <a:pt x="351" y="414"/>
                  <a:pt x="351" y="414"/>
                  <a:pt x="351" y="414"/>
                </a:cubicBezTo>
                <a:cubicBezTo>
                  <a:pt x="351" y="414"/>
                  <a:pt x="351" y="414"/>
                  <a:pt x="351" y="414"/>
                </a:cubicBezTo>
                <a:cubicBezTo>
                  <a:pt x="351" y="413"/>
                  <a:pt x="351" y="413"/>
                  <a:pt x="351" y="413"/>
                </a:cubicBezTo>
                <a:cubicBezTo>
                  <a:pt x="351" y="412"/>
                  <a:pt x="351" y="412"/>
                  <a:pt x="351" y="412"/>
                </a:cubicBezTo>
                <a:cubicBezTo>
                  <a:pt x="351" y="411"/>
                  <a:pt x="351" y="411"/>
                  <a:pt x="351" y="411"/>
                </a:cubicBezTo>
                <a:cubicBezTo>
                  <a:pt x="350" y="411"/>
                  <a:pt x="350" y="411"/>
                  <a:pt x="350" y="411"/>
                </a:cubicBezTo>
                <a:cubicBezTo>
                  <a:pt x="350" y="411"/>
                  <a:pt x="350" y="411"/>
                  <a:pt x="350" y="411"/>
                </a:cubicBezTo>
                <a:cubicBezTo>
                  <a:pt x="348" y="410"/>
                  <a:pt x="348" y="410"/>
                  <a:pt x="348" y="410"/>
                </a:cubicBezTo>
                <a:cubicBezTo>
                  <a:pt x="347" y="409"/>
                  <a:pt x="347" y="409"/>
                  <a:pt x="347" y="409"/>
                </a:cubicBezTo>
                <a:cubicBezTo>
                  <a:pt x="346" y="409"/>
                  <a:pt x="346" y="409"/>
                  <a:pt x="346" y="409"/>
                </a:cubicBezTo>
                <a:cubicBezTo>
                  <a:pt x="346" y="408"/>
                  <a:pt x="346" y="408"/>
                  <a:pt x="346" y="408"/>
                </a:cubicBezTo>
                <a:cubicBezTo>
                  <a:pt x="345" y="406"/>
                  <a:pt x="345" y="406"/>
                  <a:pt x="345" y="406"/>
                </a:cubicBezTo>
                <a:cubicBezTo>
                  <a:pt x="343" y="405"/>
                  <a:pt x="343" y="405"/>
                  <a:pt x="343" y="405"/>
                </a:cubicBezTo>
                <a:cubicBezTo>
                  <a:pt x="341" y="404"/>
                  <a:pt x="341" y="404"/>
                  <a:pt x="341" y="404"/>
                </a:cubicBezTo>
                <a:cubicBezTo>
                  <a:pt x="339" y="404"/>
                  <a:pt x="339" y="404"/>
                  <a:pt x="339" y="404"/>
                </a:cubicBezTo>
                <a:cubicBezTo>
                  <a:pt x="336" y="405"/>
                  <a:pt x="336" y="405"/>
                  <a:pt x="336" y="405"/>
                </a:cubicBezTo>
                <a:cubicBezTo>
                  <a:pt x="336" y="405"/>
                  <a:pt x="336" y="405"/>
                  <a:pt x="336" y="405"/>
                </a:cubicBezTo>
                <a:cubicBezTo>
                  <a:pt x="337" y="406"/>
                  <a:pt x="337" y="406"/>
                  <a:pt x="337" y="406"/>
                </a:cubicBezTo>
                <a:cubicBezTo>
                  <a:pt x="336" y="406"/>
                  <a:pt x="336" y="406"/>
                  <a:pt x="336" y="406"/>
                </a:cubicBezTo>
                <a:cubicBezTo>
                  <a:pt x="335" y="407"/>
                  <a:pt x="335" y="407"/>
                  <a:pt x="335" y="407"/>
                </a:cubicBezTo>
                <a:cubicBezTo>
                  <a:pt x="334" y="407"/>
                  <a:pt x="334" y="407"/>
                  <a:pt x="334" y="407"/>
                </a:cubicBezTo>
                <a:cubicBezTo>
                  <a:pt x="333" y="407"/>
                  <a:pt x="333" y="407"/>
                  <a:pt x="333" y="407"/>
                </a:cubicBezTo>
                <a:cubicBezTo>
                  <a:pt x="331" y="406"/>
                  <a:pt x="331" y="406"/>
                  <a:pt x="331" y="406"/>
                </a:cubicBezTo>
                <a:cubicBezTo>
                  <a:pt x="330" y="407"/>
                  <a:pt x="330" y="407"/>
                  <a:pt x="330" y="407"/>
                </a:cubicBezTo>
                <a:cubicBezTo>
                  <a:pt x="329" y="407"/>
                  <a:pt x="329" y="407"/>
                  <a:pt x="329" y="407"/>
                </a:cubicBezTo>
                <a:cubicBezTo>
                  <a:pt x="328" y="407"/>
                  <a:pt x="328" y="407"/>
                  <a:pt x="328" y="407"/>
                </a:cubicBezTo>
                <a:cubicBezTo>
                  <a:pt x="327" y="406"/>
                  <a:pt x="327" y="406"/>
                  <a:pt x="327" y="406"/>
                </a:cubicBezTo>
                <a:cubicBezTo>
                  <a:pt x="326" y="406"/>
                  <a:pt x="326" y="406"/>
                  <a:pt x="326" y="406"/>
                </a:cubicBezTo>
                <a:cubicBezTo>
                  <a:pt x="326" y="405"/>
                  <a:pt x="326" y="405"/>
                  <a:pt x="326" y="405"/>
                </a:cubicBezTo>
                <a:cubicBezTo>
                  <a:pt x="326" y="404"/>
                  <a:pt x="326" y="404"/>
                  <a:pt x="326" y="404"/>
                </a:cubicBezTo>
                <a:cubicBezTo>
                  <a:pt x="324" y="403"/>
                  <a:pt x="324" y="403"/>
                  <a:pt x="324" y="403"/>
                </a:cubicBezTo>
                <a:cubicBezTo>
                  <a:pt x="323" y="404"/>
                  <a:pt x="323" y="404"/>
                  <a:pt x="323" y="404"/>
                </a:cubicBezTo>
                <a:cubicBezTo>
                  <a:pt x="323" y="405"/>
                  <a:pt x="323" y="405"/>
                  <a:pt x="323" y="405"/>
                </a:cubicBezTo>
                <a:cubicBezTo>
                  <a:pt x="323" y="405"/>
                  <a:pt x="323" y="405"/>
                  <a:pt x="323" y="405"/>
                </a:cubicBezTo>
                <a:cubicBezTo>
                  <a:pt x="323" y="406"/>
                  <a:pt x="323" y="406"/>
                  <a:pt x="323" y="406"/>
                </a:cubicBezTo>
                <a:cubicBezTo>
                  <a:pt x="322" y="407"/>
                  <a:pt x="322" y="407"/>
                  <a:pt x="322" y="407"/>
                </a:cubicBezTo>
                <a:cubicBezTo>
                  <a:pt x="321" y="407"/>
                  <a:pt x="321" y="407"/>
                  <a:pt x="321" y="407"/>
                </a:cubicBezTo>
                <a:cubicBezTo>
                  <a:pt x="305" y="388"/>
                  <a:pt x="305" y="388"/>
                  <a:pt x="305" y="388"/>
                </a:cubicBezTo>
                <a:cubicBezTo>
                  <a:pt x="294" y="379"/>
                  <a:pt x="294" y="379"/>
                  <a:pt x="294" y="379"/>
                </a:cubicBezTo>
                <a:cubicBezTo>
                  <a:pt x="293" y="378"/>
                  <a:pt x="293" y="378"/>
                  <a:pt x="293" y="378"/>
                </a:cubicBezTo>
                <a:cubicBezTo>
                  <a:pt x="294" y="378"/>
                  <a:pt x="294" y="378"/>
                  <a:pt x="294" y="378"/>
                </a:cubicBezTo>
                <a:cubicBezTo>
                  <a:pt x="295" y="377"/>
                  <a:pt x="295" y="377"/>
                  <a:pt x="295" y="377"/>
                </a:cubicBezTo>
                <a:cubicBezTo>
                  <a:pt x="295" y="376"/>
                  <a:pt x="295" y="376"/>
                  <a:pt x="295" y="376"/>
                </a:cubicBezTo>
                <a:cubicBezTo>
                  <a:pt x="295" y="375"/>
                  <a:pt x="295" y="375"/>
                  <a:pt x="295" y="375"/>
                </a:cubicBezTo>
                <a:cubicBezTo>
                  <a:pt x="293" y="376"/>
                  <a:pt x="293" y="376"/>
                  <a:pt x="293" y="376"/>
                </a:cubicBezTo>
                <a:cubicBezTo>
                  <a:pt x="292" y="376"/>
                  <a:pt x="292" y="376"/>
                  <a:pt x="292" y="376"/>
                </a:cubicBezTo>
                <a:cubicBezTo>
                  <a:pt x="291" y="377"/>
                  <a:pt x="291" y="377"/>
                  <a:pt x="291" y="377"/>
                </a:cubicBezTo>
                <a:cubicBezTo>
                  <a:pt x="290" y="378"/>
                  <a:pt x="290" y="378"/>
                  <a:pt x="290" y="378"/>
                </a:cubicBezTo>
                <a:cubicBezTo>
                  <a:pt x="288" y="379"/>
                  <a:pt x="288" y="379"/>
                  <a:pt x="288" y="379"/>
                </a:cubicBezTo>
                <a:cubicBezTo>
                  <a:pt x="288" y="380"/>
                  <a:pt x="288" y="380"/>
                  <a:pt x="288" y="380"/>
                </a:cubicBezTo>
                <a:cubicBezTo>
                  <a:pt x="287" y="381"/>
                  <a:pt x="287" y="381"/>
                  <a:pt x="287" y="381"/>
                </a:cubicBezTo>
                <a:cubicBezTo>
                  <a:pt x="287" y="382"/>
                  <a:pt x="287" y="382"/>
                  <a:pt x="287" y="382"/>
                </a:cubicBezTo>
                <a:cubicBezTo>
                  <a:pt x="286" y="383"/>
                  <a:pt x="286" y="383"/>
                  <a:pt x="286" y="383"/>
                </a:cubicBezTo>
                <a:cubicBezTo>
                  <a:pt x="284" y="383"/>
                  <a:pt x="284" y="383"/>
                  <a:pt x="284" y="383"/>
                </a:cubicBezTo>
                <a:cubicBezTo>
                  <a:pt x="283" y="383"/>
                  <a:pt x="283" y="383"/>
                  <a:pt x="283" y="383"/>
                </a:cubicBezTo>
                <a:cubicBezTo>
                  <a:pt x="283" y="385"/>
                  <a:pt x="283" y="385"/>
                  <a:pt x="283" y="385"/>
                </a:cubicBezTo>
                <a:cubicBezTo>
                  <a:pt x="282" y="385"/>
                  <a:pt x="282" y="385"/>
                  <a:pt x="282" y="385"/>
                </a:cubicBezTo>
                <a:cubicBezTo>
                  <a:pt x="282" y="385"/>
                  <a:pt x="282" y="385"/>
                  <a:pt x="282" y="385"/>
                </a:cubicBezTo>
                <a:cubicBezTo>
                  <a:pt x="279" y="384"/>
                  <a:pt x="279" y="384"/>
                  <a:pt x="279" y="384"/>
                </a:cubicBezTo>
                <a:cubicBezTo>
                  <a:pt x="278" y="385"/>
                  <a:pt x="278" y="385"/>
                  <a:pt x="278" y="385"/>
                </a:cubicBezTo>
                <a:cubicBezTo>
                  <a:pt x="277" y="386"/>
                  <a:pt x="277" y="386"/>
                  <a:pt x="277" y="386"/>
                </a:cubicBezTo>
                <a:cubicBezTo>
                  <a:pt x="276" y="386"/>
                  <a:pt x="276" y="386"/>
                  <a:pt x="276" y="386"/>
                </a:cubicBezTo>
                <a:cubicBezTo>
                  <a:pt x="275" y="384"/>
                  <a:pt x="275" y="384"/>
                  <a:pt x="275" y="384"/>
                </a:cubicBezTo>
                <a:cubicBezTo>
                  <a:pt x="275" y="383"/>
                  <a:pt x="275" y="383"/>
                  <a:pt x="275" y="383"/>
                </a:cubicBezTo>
                <a:cubicBezTo>
                  <a:pt x="276" y="382"/>
                  <a:pt x="276" y="382"/>
                  <a:pt x="276" y="382"/>
                </a:cubicBezTo>
                <a:cubicBezTo>
                  <a:pt x="276" y="381"/>
                  <a:pt x="276" y="381"/>
                  <a:pt x="276" y="381"/>
                </a:cubicBezTo>
                <a:cubicBezTo>
                  <a:pt x="276" y="381"/>
                  <a:pt x="276" y="381"/>
                  <a:pt x="276" y="381"/>
                </a:cubicBezTo>
                <a:cubicBezTo>
                  <a:pt x="275" y="381"/>
                  <a:pt x="275" y="381"/>
                  <a:pt x="275" y="381"/>
                </a:cubicBezTo>
                <a:cubicBezTo>
                  <a:pt x="274" y="381"/>
                  <a:pt x="274" y="381"/>
                  <a:pt x="274" y="381"/>
                </a:cubicBezTo>
                <a:cubicBezTo>
                  <a:pt x="272" y="380"/>
                  <a:pt x="272" y="380"/>
                  <a:pt x="272" y="380"/>
                </a:cubicBezTo>
                <a:cubicBezTo>
                  <a:pt x="270" y="380"/>
                  <a:pt x="270" y="380"/>
                  <a:pt x="270" y="380"/>
                </a:cubicBezTo>
                <a:cubicBezTo>
                  <a:pt x="271" y="381"/>
                  <a:pt x="271" y="381"/>
                  <a:pt x="271" y="381"/>
                </a:cubicBezTo>
                <a:cubicBezTo>
                  <a:pt x="271" y="382"/>
                  <a:pt x="271" y="382"/>
                  <a:pt x="271" y="382"/>
                </a:cubicBezTo>
                <a:cubicBezTo>
                  <a:pt x="270" y="382"/>
                  <a:pt x="270" y="382"/>
                  <a:pt x="270" y="382"/>
                </a:cubicBezTo>
                <a:cubicBezTo>
                  <a:pt x="270" y="383"/>
                  <a:pt x="270" y="383"/>
                  <a:pt x="270" y="383"/>
                </a:cubicBezTo>
                <a:cubicBezTo>
                  <a:pt x="269" y="381"/>
                  <a:pt x="269" y="381"/>
                  <a:pt x="269" y="381"/>
                </a:cubicBezTo>
                <a:cubicBezTo>
                  <a:pt x="269" y="379"/>
                  <a:pt x="269" y="379"/>
                  <a:pt x="269" y="379"/>
                </a:cubicBezTo>
                <a:cubicBezTo>
                  <a:pt x="266" y="377"/>
                  <a:pt x="266" y="377"/>
                  <a:pt x="266" y="377"/>
                </a:cubicBezTo>
                <a:cubicBezTo>
                  <a:pt x="266" y="378"/>
                  <a:pt x="266" y="378"/>
                  <a:pt x="266" y="378"/>
                </a:cubicBezTo>
                <a:cubicBezTo>
                  <a:pt x="266" y="379"/>
                  <a:pt x="266" y="379"/>
                  <a:pt x="266" y="379"/>
                </a:cubicBezTo>
                <a:cubicBezTo>
                  <a:pt x="266" y="380"/>
                  <a:pt x="266" y="380"/>
                  <a:pt x="266" y="380"/>
                </a:cubicBezTo>
                <a:cubicBezTo>
                  <a:pt x="266" y="380"/>
                  <a:pt x="266" y="380"/>
                  <a:pt x="266" y="380"/>
                </a:cubicBezTo>
                <a:cubicBezTo>
                  <a:pt x="265" y="379"/>
                  <a:pt x="265" y="379"/>
                  <a:pt x="265" y="379"/>
                </a:cubicBezTo>
                <a:cubicBezTo>
                  <a:pt x="264" y="379"/>
                  <a:pt x="264" y="379"/>
                  <a:pt x="264" y="379"/>
                </a:cubicBezTo>
                <a:cubicBezTo>
                  <a:pt x="264" y="380"/>
                  <a:pt x="264" y="380"/>
                  <a:pt x="264" y="380"/>
                </a:cubicBezTo>
                <a:cubicBezTo>
                  <a:pt x="263" y="380"/>
                  <a:pt x="263" y="380"/>
                  <a:pt x="263" y="380"/>
                </a:cubicBezTo>
                <a:cubicBezTo>
                  <a:pt x="262" y="380"/>
                  <a:pt x="262" y="380"/>
                  <a:pt x="262" y="380"/>
                </a:cubicBezTo>
                <a:cubicBezTo>
                  <a:pt x="261" y="380"/>
                  <a:pt x="261" y="380"/>
                  <a:pt x="261" y="380"/>
                </a:cubicBezTo>
                <a:cubicBezTo>
                  <a:pt x="260" y="380"/>
                  <a:pt x="260" y="380"/>
                  <a:pt x="260" y="380"/>
                </a:cubicBezTo>
                <a:cubicBezTo>
                  <a:pt x="260" y="379"/>
                  <a:pt x="260" y="379"/>
                  <a:pt x="260" y="379"/>
                </a:cubicBezTo>
                <a:cubicBezTo>
                  <a:pt x="261" y="378"/>
                  <a:pt x="261" y="378"/>
                  <a:pt x="261" y="378"/>
                </a:cubicBezTo>
                <a:cubicBezTo>
                  <a:pt x="261" y="378"/>
                  <a:pt x="261" y="378"/>
                  <a:pt x="261" y="378"/>
                </a:cubicBezTo>
                <a:cubicBezTo>
                  <a:pt x="261" y="377"/>
                  <a:pt x="261" y="377"/>
                  <a:pt x="261" y="377"/>
                </a:cubicBezTo>
                <a:cubicBezTo>
                  <a:pt x="261" y="376"/>
                  <a:pt x="261" y="376"/>
                  <a:pt x="261" y="376"/>
                </a:cubicBezTo>
                <a:cubicBezTo>
                  <a:pt x="261" y="375"/>
                  <a:pt x="261" y="375"/>
                  <a:pt x="261" y="375"/>
                </a:cubicBezTo>
                <a:cubicBezTo>
                  <a:pt x="260" y="375"/>
                  <a:pt x="260" y="375"/>
                  <a:pt x="260" y="375"/>
                </a:cubicBezTo>
                <a:cubicBezTo>
                  <a:pt x="259" y="373"/>
                  <a:pt x="259" y="373"/>
                  <a:pt x="259" y="373"/>
                </a:cubicBezTo>
                <a:cubicBezTo>
                  <a:pt x="259" y="372"/>
                  <a:pt x="259" y="372"/>
                  <a:pt x="259" y="372"/>
                </a:cubicBezTo>
                <a:cubicBezTo>
                  <a:pt x="258" y="372"/>
                  <a:pt x="258" y="372"/>
                  <a:pt x="258" y="372"/>
                </a:cubicBezTo>
                <a:cubicBezTo>
                  <a:pt x="258" y="370"/>
                  <a:pt x="258" y="370"/>
                  <a:pt x="258" y="370"/>
                </a:cubicBezTo>
                <a:cubicBezTo>
                  <a:pt x="256" y="370"/>
                  <a:pt x="256" y="370"/>
                  <a:pt x="256" y="370"/>
                </a:cubicBezTo>
                <a:cubicBezTo>
                  <a:pt x="255" y="371"/>
                  <a:pt x="255" y="371"/>
                  <a:pt x="255" y="371"/>
                </a:cubicBezTo>
                <a:cubicBezTo>
                  <a:pt x="253" y="371"/>
                  <a:pt x="253" y="371"/>
                  <a:pt x="253" y="371"/>
                </a:cubicBezTo>
                <a:cubicBezTo>
                  <a:pt x="252" y="370"/>
                  <a:pt x="252" y="370"/>
                  <a:pt x="252" y="370"/>
                </a:cubicBezTo>
                <a:cubicBezTo>
                  <a:pt x="250" y="370"/>
                  <a:pt x="250" y="370"/>
                  <a:pt x="250" y="370"/>
                </a:cubicBezTo>
                <a:cubicBezTo>
                  <a:pt x="249" y="369"/>
                  <a:pt x="249" y="369"/>
                  <a:pt x="249" y="369"/>
                </a:cubicBezTo>
                <a:cubicBezTo>
                  <a:pt x="248" y="370"/>
                  <a:pt x="248" y="370"/>
                  <a:pt x="248" y="370"/>
                </a:cubicBezTo>
                <a:cubicBezTo>
                  <a:pt x="247" y="369"/>
                  <a:pt x="247" y="369"/>
                  <a:pt x="247" y="369"/>
                </a:cubicBezTo>
                <a:cubicBezTo>
                  <a:pt x="246" y="370"/>
                  <a:pt x="246" y="370"/>
                  <a:pt x="246" y="370"/>
                </a:cubicBezTo>
                <a:cubicBezTo>
                  <a:pt x="245" y="371"/>
                  <a:pt x="245" y="371"/>
                  <a:pt x="245" y="371"/>
                </a:cubicBezTo>
                <a:cubicBezTo>
                  <a:pt x="244" y="371"/>
                  <a:pt x="244" y="371"/>
                  <a:pt x="244" y="371"/>
                </a:cubicBezTo>
                <a:cubicBezTo>
                  <a:pt x="243" y="372"/>
                  <a:pt x="243" y="372"/>
                  <a:pt x="243" y="372"/>
                </a:cubicBezTo>
                <a:cubicBezTo>
                  <a:pt x="244" y="373"/>
                  <a:pt x="244" y="373"/>
                  <a:pt x="244" y="373"/>
                </a:cubicBezTo>
                <a:cubicBezTo>
                  <a:pt x="244" y="374"/>
                  <a:pt x="244" y="374"/>
                  <a:pt x="244" y="374"/>
                </a:cubicBezTo>
                <a:cubicBezTo>
                  <a:pt x="242" y="374"/>
                  <a:pt x="242" y="374"/>
                  <a:pt x="242" y="374"/>
                </a:cubicBezTo>
                <a:cubicBezTo>
                  <a:pt x="241" y="374"/>
                  <a:pt x="241" y="374"/>
                  <a:pt x="241" y="374"/>
                </a:cubicBezTo>
                <a:cubicBezTo>
                  <a:pt x="240" y="375"/>
                  <a:pt x="240" y="375"/>
                  <a:pt x="240" y="375"/>
                </a:cubicBezTo>
                <a:cubicBezTo>
                  <a:pt x="239" y="375"/>
                  <a:pt x="239" y="375"/>
                  <a:pt x="239" y="375"/>
                </a:cubicBezTo>
                <a:cubicBezTo>
                  <a:pt x="238" y="376"/>
                  <a:pt x="238" y="376"/>
                  <a:pt x="238" y="376"/>
                </a:cubicBezTo>
                <a:cubicBezTo>
                  <a:pt x="238" y="376"/>
                  <a:pt x="238" y="376"/>
                  <a:pt x="238" y="376"/>
                </a:cubicBezTo>
                <a:cubicBezTo>
                  <a:pt x="235" y="377"/>
                  <a:pt x="235" y="377"/>
                  <a:pt x="235" y="377"/>
                </a:cubicBezTo>
                <a:cubicBezTo>
                  <a:pt x="234" y="378"/>
                  <a:pt x="234" y="378"/>
                  <a:pt x="234" y="378"/>
                </a:cubicBezTo>
                <a:cubicBezTo>
                  <a:pt x="232" y="379"/>
                  <a:pt x="232" y="379"/>
                  <a:pt x="232" y="379"/>
                </a:cubicBezTo>
                <a:cubicBezTo>
                  <a:pt x="232" y="378"/>
                  <a:pt x="232" y="378"/>
                  <a:pt x="232" y="378"/>
                </a:cubicBezTo>
                <a:cubicBezTo>
                  <a:pt x="231" y="378"/>
                  <a:pt x="231" y="378"/>
                  <a:pt x="231" y="378"/>
                </a:cubicBezTo>
                <a:cubicBezTo>
                  <a:pt x="230" y="378"/>
                  <a:pt x="230" y="378"/>
                  <a:pt x="230" y="378"/>
                </a:cubicBezTo>
                <a:cubicBezTo>
                  <a:pt x="230" y="379"/>
                  <a:pt x="230" y="379"/>
                  <a:pt x="230" y="379"/>
                </a:cubicBezTo>
                <a:cubicBezTo>
                  <a:pt x="228" y="379"/>
                  <a:pt x="228" y="379"/>
                  <a:pt x="228" y="379"/>
                </a:cubicBezTo>
                <a:cubicBezTo>
                  <a:pt x="228" y="380"/>
                  <a:pt x="228" y="380"/>
                  <a:pt x="228" y="380"/>
                </a:cubicBezTo>
                <a:cubicBezTo>
                  <a:pt x="228" y="381"/>
                  <a:pt x="228" y="381"/>
                  <a:pt x="228" y="381"/>
                </a:cubicBezTo>
                <a:cubicBezTo>
                  <a:pt x="227" y="382"/>
                  <a:pt x="227" y="382"/>
                  <a:pt x="227" y="382"/>
                </a:cubicBezTo>
                <a:cubicBezTo>
                  <a:pt x="226" y="381"/>
                  <a:pt x="226" y="381"/>
                  <a:pt x="226" y="381"/>
                </a:cubicBezTo>
                <a:cubicBezTo>
                  <a:pt x="226" y="381"/>
                  <a:pt x="226" y="381"/>
                  <a:pt x="226" y="381"/>
                </a:cubicBezTo>
                <a:cubicBezTo>
                  <a:pt x="225" y="382"/>
                  <a:pt x="225" y="382"/>
                  <a:pt x="225" y="382"/>
                </a:cubicBezTo>
                <a:cubicBezTo>
                  <a:pt x="223" y="382"/>
                  <a:pt x="223" y="382"/>
                  <a:pt x="223" y="382"/>
                </a:cubicBezTo>
                <a:cubicBezTo>
                  <a:pt x="221" y="383"/>
                  <a:pt x="221" y="383"/>
                  <a:pt x="221" y="383"/>
                </a:cubicBezTo>
                <a:cubicBezTo>
                  <a:pt x="221" y="384"/>
                  <a:pt x="221" y="384"/>
                  <a:pt x="221" y="384"/>
                </a:cubicBezTo>
                <a:cubicBezTo>
                  <a:pt x="219" y="384"/>
                  <a:pt x="219" y="384"/>
                  <a:pt x="219" y="384"/>
                </a:cubicBezTo>
                <a:cubicBezTo>
                  <a:pt x="218" y="385"/>
                  <a:pt x="218" y="385"/>
                  <a:pt x="218" y="385"/>
                </a:cubicBezTo>
                <a:cubicBezTo>
                  <a:pt x="216" y="385"/>
                  <a:pt x="216" y="385"/>
                  <a:pt x="216" y="385"/>
                </a:cubicBezTo>
                <a:cubicBezTo>
                  <a:pt x="214" y="385"/>
                  <a:pt x="214" y="385"/>
                  <a:pt x="214" y="385"/>
                </a:cubicBezTo>
                <a:cubicBezTo>
                  <a:pt x="214" y="386"/>
                  <a:pt x="214" y="386"/>
                  <a:pt x="214" y="386"/>
                </a:cubicBezTo>
                <a:cubicBezTo>
                  <a:pt x="213" y="387"/>
                  <a:pt x="213" y="387"/>
                  <a:pt x="213" y="387"/>
                </a:cubicBezTo>
                <a:cubicBezTo>
                  <a:pt x="213" y="386"/>
                  <a:pt x="213" y="386"/>
                  <a:pt x="213" y="386"/>
                </a:cubicBezTo>
                <a:cubicBezTo>
                  <a:pt x="212" y="386"/>
                  <a:pt x="212" y="386"/>
                  <a:pt x="212" y="386"/>
                </a:cubicBezTo>
                <a:cubicBezTo>
                  <a:pt x="210" y="387"/>
                  <a:pt x="210" y="387"/>
                  <a:pt x="210" y="387"/>
                </a:cubicBezTo>
                <a:cubicBezTo>
                  <a:pt x="210" y="387"/>
                  <a:pt x="210" y="387"/>
                  <a:pt x="210" y="387"/>
                </a:cubicBezTo>
                <a:cubicBezTo>
                  <a:pt x="210" y="388"/>
                  <a:pt x="210" y="388"/>
                  <a:pt x="210" y="388"/>
                </a:cubicBezTo>
                <a:cubicBezTo>
                  <a:pt x="209" y="387"/>
                  <a:pt x="209" y="387"/>
                  <a:pt x="209" y="387"/>
                </a:cubicBezTo>
                <a:cubicBezTo>
                  <a:pt x="207" y="387"/>
                  <a:pt x="207" y="387"/>
                  <a:pt x="207" y="387"/>
                </a:cubicBezTo>
                <a:cubicBezTo>
                  <a:pt x="207" y="387"/>
                  <a:pt x="207" y="387"/>
                  <a:pt x="207" y="387"/>
                </a:cubicBezTo>
                <a:cubicBezTo>
                  <a:pt x="206" y="387"/>
                  <a:pt x="206" y="387"/>
                  <a:pt x="206" y="387"/>
                </a:cubicBezTo>
                <a:cubicBezTo>
                  <a:pt x="205" y="387"/>
                  <a:pt x="205" y="387"/>
                  <a:pt x="205" y="387"/>
                </a:cubicBezTo>
                <a:cubicBezTo>
                  <a:pt x="204" y="387"/>
                  <a:pt x="204" y="387"/>
                  <a:pt x="204" y="387"/>
                </a:cubicBezTo>
                <a:cubicBezTo>
                  <a:pt x="204" y="388"/>
                  <a:pt x="204" y="388"/>
                  <a:pt x="204" y="388"/>
                </a:cubicBezTo>
                <a:cubicBezTo>
                  <a:pt x="204" y="389"/>
                  <a:pt x="204" y="389"/>
                  <a:pt x="204" y="389"/>
                </a:cubicBezTo>
                <a:cubicBezTo>
                  <a:pt x="204" y="390"/>
                  <a:pt x="204" y="390"/>
                  <a:pt x="204" y="390"/>
                </a:cubicBezTo>
                <a:cubicBezTo>
                  <a:pt x="205" y="390"/>
                  <a:pt x="205" y="390"/>
                  <a:pt x="205" y="390"/>
                </a:cubicBezTo>
                <a:cubicBezTo>
                  <a:pt x="206" y="390"/>
                  <a:pt x="206" y="390"/>
                  <a:pt x="206" y="390"/>
                </a:cubicBezTo>
                <a:cubicBezTo>
                  <a:pt x="207" y="391"/>
                  <a:pt x="207" y="391"/>
                  <a:pt x="207" y="391"/>
                </a:cubicBezTo>
                <a:cubicBezTo>
                  <a:pt x="205" y="392"/>
                  <a:pt x="205" y="392"/>
                  <a:pt x="205" y="392"/>
                </a:cubicBezTo>
                <a:cubicBezTo>
                  <a:pt x="205" y="392"/>
                  <a:pt x="205" y="392"/>
                  <a:pt x="205" y="392"/>
                </a:cubicBezTo>
                <a:cubicBezTo>
                  <a:pt x="205" y="393"/>
                  <a:pt x="205" y="393"/>
                  <a:pt x="205" y="393"/>
                </a:cubicBezTo>
                <a:cubicBezTo>
                  <a:pt x="206" y="393"/>
                  <a:pt x="206" y="393"/>
                  <a:pt x="206" y="393"/>
                </a:cubicBezTo>
                <a:cubicBezTo>
                  <a:pt x="208" y="393"/>
                  <a:pt x="208" y="393"/>
                  <a:pt x="208" y="393"/>
                </a:cubicBezTo>
                <a:cubicBezTo>
                  <a:pt x="209" y="393"/>
                  <a:pt x="209" y="393"/>
                  <a:pt x="209" y="393"/>
                </a:cubicBezTo>
                <a:cubicBezTo>
                  <a:pt x="209" y="393"/>
                  <a:pt x="209" y="393"/>
                  <a:pt x="209" y="393"/>
                </a:cubicBezTo>
                <a:cubicBezTo>
                  <a:pt x="210" y="394"/>
                  <a:pt x="210" y="394"/>
                  <a:pt x="210" y="394"/>
                </a:cubicBezTo>
                <a:cubicBezTo>
                  <a:pt x="212" y="394"/>
                  <a:pt x="212" y="394"/>
                  <a:pt x="212" y="394"/>
                </a:cubicBezTo>
                <a:cubicBezTo>
                  <a:pt x="212" y="395"/>
                  <a:pt x="212" y="395"/>
                  <a:pt x="212" y="395"/>
                </a:cubicBezTo>
                <a:cubicBezTo>
                  <a:pt x="211" y="396"/>
                  <a:pt x="211" y="396"/>
                  <a:pt x="211" y="396"/>
                </a:cubicBezTo>
                <a:cubicBezTo>
                  <a:pt x="210" y="396"/>
                  <a:pt x="210" y="396"/>
                  <a:pt x="210" y="396"/>
                </a:cubicBezTo>
                <a:cubicBezTo>
                  <a:pt x="207" y="396"/>
                  <a:pt x="207" y="396"/>
                  <a:pt x="207" y="396"/>
                </a:cubicBezTo>
                <a:cubicBezTo>
                  <a:pt x="206" y="397"/>
                  <a:pt x="206" y="397"/>
                  <a:pt x="206" y="397"/>
                </a:cubicBezTo>
                <a:cubicBezTo>
                  <a:pt x="204" y="399"/>
                  <a:pt x="204" y="399"/>
                  <a:pt x="204" y="399"/>
                </a:cubicBezTo>
                <a:cubicBezTo>
                  <a:pt x="205" y="401"/>
                  <a:pt x="205" y="401"/>
                  <a:pt x="205" y="401"/>
                </a:cubicBezTo>
                <a:cubicBezTo>
                  <a:pt x="205" y="401"/>
                  <a:pt x="205" y="401"/>
                  <a:pt x="205" y="401"/>
                </a:cubicBezTo>
                <a:cubicBezTo>
                  <a:pt x="206" y="402"/>
                  <a:pt x="206" y="402"/>
                  <a:pt x="206" y="402"/>
                </a:cubicBezTo>
                <a:cubicBezTo>
                  <a:pt x="205" y="403"/>
                  <a:pt x="205" y="403"/>
                  <a:pt x="205" y="403"/>
                </a:cubicBezTo>
                <a:cubicBezTo>
                  <a:pt x="205" y="405"/>
                  <a:pt x="205" y="405"/>
                  <a:pt x="205" y="405"/>
                </a:cubicBezTo>
                <a:cubicBezTo>
                  <a:pt x="203" y="405"/>
                  <a:pt x="203" y="405"/>
                  <a:pt x="203" y="405"/>
                </a:cubicBezTo>
                <a:cubicBezTo>
                  <a:pt x="203" y="405"/>
                  <a:pt x="203" y="405"/>
                  <a:pt x="203" y="405"/>
                </a:cubicBezTo>
                <a:cubicBezTo>
                  <a:pt x="204" y="406"/>
                  <a:pt x="204" y="406"/>
                  <a:pt x="204" y="406"/>
                </a:cubicBezTo>
                <a:cubicBezTo>
                  <a:pt x="204" y="407"/>
                  <a:pt x="204" y="407"/>
                  <a:pt x="204" y="407"/>
                </a:cubicBezTo>
                <a:cubicBezTo>
                  <a:pt x="205" y="407"/>
                  <a:pt x="205" y="407"/>
                  <a:pt x="205" y="407"/>
                </a:cubicBezTo>
                <a:cubicBezTo>
                  <a:pt x="206" y="408"/>
                  <a:pt x="206" y="408"/>
                  <a:pt x="206" y="408"/>
                </a:cubicBezTo>
                <a:cubicBezTo>
                  <a:pt x="208" y="408"/>
                  <a:pt x="208" y="408"/>
                  <a:pt x="208" y="408"/>
                </a:cubicBezTo>
                <a:cubicBezTo>
                  <a:pt x="208" y="409"/>
                  <a:pt x="208" y="409"/>
                  <a:pt x="208" y="409"/>
                </a:cubicBezTo>
                <a:cubicBezTo>
                  <a:pt x="209" y="410"/>
                  <a:pt x="209" y="410"/>
                  <a:pt x="209" y="410"/>
                </a:cubicBezTo>
                <a:cubicBezTo>
                  <a:pt x="211" y="410"/>
                  <a:pt x="211" y="410"/>
                  <a:pt x="211" y="410"/>
                </a:cubicBezTo>
                <a:cubicBezTo>
                  <a:pt x="211" y="410"/>
                  <a:pt x="211" y="410"/>
                  <a:pt x="211" y="410"/>
                </a:cubicBezTo>
                <a:cubicBezTo>
                  <a:pt x="212" y="415"/>
                  <a:pt x="212" y="415"/>
                  <a:pt x="212" y="415"/>
                </a:cubicBezTo>
                <a:cubicBezTo>
                  <a:pt x="211" y="416"/>
                  <a:pt x="211" y="416"/>
                  <a:pt x="211" y="416"/>
                </a:cubicBezTo>
                <a:cubicBezTo>
                  <a:pt x="209" y="417"/>
                  <a:pt x="209" y="417"/>
                  <a:pt x="209" y="417"/>
                </a:cubicBezTo>
                <a:cubicBezTo>
                  <a:pt x="207" y="417"/>
                  <a:pt x="207" y="417"/>
                  <a:pt x="207" y="417"/>
                </a:cubicBezTo>
                <a:cubicBezTo>
                  <a:pt x="205" y="415"/>
                  <a:pt x="205" y="415"/>
                  <a:pt x="205" y="415"/>
                </a:cubicBezTo>
                <a:cubicBezTo>
                  <a:pt x="205" y="416"/>
                  <a:pt x="205" y="416"/>
                  <a:pt x="205" y="416"/>
                </a:cubicBezTo>
                <a:cubicBezTo>
                  <a:pt x="205" y="417"/>
                  <a:pt x="205" y="417"/>
                  <a:pt x="205" y="417"/>
                </a:cubicBezTo>
                <a:cubicBezTo>
                  <a:pt x="204" y="419"/>
                  <a:pt x="204" y="419"/>
                  <a:pt x="204" y="419"/>
                </a:cubicBezTo>
                <a:cubicBezTo>
                  <a:pt x="203" y="419"/>
                  <a:pt x="203" y="419"/>
                  <a:pt x="203" y="419"/>
                </a:cubicBezTo>
                <a:cubicBezTo>
                  <a:pt x="200" y="418"/>
                  <a:pt x="200" y="418"/>
                  <a:pt x="200" y="418"/>
                </a:cubicBezTo>
                <a:cubicBezTo>
                  <a:pt x="198" y="418"/>
                  <a:pt x="198" y="418"/>
                  <a:pt x="198" y="418"/>
                </a:cubicBezTo>
                <a:cubicBezTo>
                  <a:pt x="198" y="417"/>
                  <a:pt x="198" y="417"/>
                  <a:pt x="198" y="417"/>
                </a:cubicBezTo>
                <a:cubicBezTo>
                  <a:pt x="197" y="418"/>
                  <a:pt x="197" y="418"/>
                  <a:pt x="197" y="418"/>
                </a:cubicBezTo>
                <a:cubicBezTo>
                  <a:pt x="196" y="417"/>
                  <a:pt x="196" y="417"/>
                  <a:pt x="196" y="417"/>
                </a:cubicBezTo>
                <a:cubicBezTo>
                  <a:pt x="195" y="416"/>
                  <a:pt x="195" y="416"/>
                  <a:pt x="195" y="416"/>
                </a:cubicBezTo>
                <a:cubicBezTo>
                  <a:pt x="196" y="415"/>
                  <a:pt x="196" y="415"/>
                  <a:pt x="196" y="415"/>
                </a:cubicBezTo>
                <a:cubicBezTo>
                  <a:pt x="196" y="414"/>
                  <a:pt x="196" y="414"/>
                  <a:pt x="196" y="414"/>
                </a:cubicBezTo>
                <a:cubicBezTo>
                  <a:pt x="195" y="414"/>
                  <a:pt x="195" y="414"/>
                  <a:pt x="195" y="414"/>
                </a:cubicBezTo>
                <a:cubicBezTo>
                  <a:pt x="194" y="413"/>
                  <a:pt x="194" y="413"/>
                  <a:pt x="194" y="413"/>
                </a:cubicBezTo>
                <a:cubicBezTo>
                  <a:pt x="193" y="414"/>
                  <a:pt x="193" y="414"/>
                  <a:pt x="193" y="414"/>
                </a:cubicBezTo>
                <a:cubicBezTo>
                  <a:pt x="192" y="414"/>
                  <a:pt x="192" y="414"/>
                  <a:pt x="192" y="414"/>
                </a:cubicBezTo>
                <a:cubicBezTo>
                  <a:pt x="191" y="414"/>
                  <a:pt x="191" y="414"/>
                  <a:pt x="191" y="414"/>
                </a:cubicBezTo>
                <a:cubicBezTo>
                  <a:pt x="191" y="416"/>
                  <a:pt x="191" y="416"/>
                  <a:pt x="191" y="416"/>
                </a:cubicBezTo>
                <a:cubicBezTo>
                  <a:pt x="189" y="416"/>
                  <a:pt x="189" y="416"/>
                  <a:pt x="189" y="416"/>
                </a:cubicBezTo>
                <a:cubicBezTo>
                  <a:pt x="189" y="415"/>
                  <a:pt x="189" y="415"/>
                  <a:pt x="189" y="415"/>
                </a:cubicBezTo>
                <a:cubicBezTo>
                  <a:pt x="187" y="414"/>
                  <a:pt x="187" y="414"/>
                  <a:pt x="187" y="414"/>
                </a:cubicBezTo>
                <a:cubicBezTo>
                  <a:pt x="185" y="414"/>
                  <a:pt x="185" y="414"/>
                  <a:pt x="185" y="414"/>
                </a:cubicBezTo>
                <a:cubicBezTo>
                  <a:pt x="185" y="415"/>
                  <a:pt x="185" y="415"/>
                  <a:pt x="185" y="415"/>
                </a:cubicBezTo>
                <a:cubicBezTo>
                  <a:pt x="184" y="414"/>
                  <a:pt x="184" y="414"/>
                  <a:pt x="184" y="414"/>
                </a:cubicBezTo>
                <a:cubicBezTo>
                  <a:pt x="183" y="414"/>
                  <a:pt x="183" y="414"/>
                  <a:pt x="183" y="414"/>
                </a:cubicBezTo>
                <a:cubicBezTo>
                  <a:pt x="183" y="415"/>
                  <a:pt x="183" y="415"/>
                  <a:pt x="183" y="415"/>
                </a:cubicBezTo>
                <a:cubicBezTo>
                  <a:pt x="182" y="416"/>
                  <a:pt x="182" y="416"/>
                  <a:pt x="182" y="416"/>
                </a:cubicBezTo>
                <a:cubicBezTo>
                  <a:pt x="182" y="418"/>
                  <a:pt x="182" y="418"/>
                  <a:pt x="182" y="418"/>
                </a:cubicBezTo>
                <a:cubicBezTo>
                  <a:pt x="180" y="419"/>
                  <a:pt x="180" y="419"/>
                  <a:pt x="180" y="419"/>
                </a:cubicBezTo>
                <a:cubicBezTo>
                  <a:pt x="179" y="419"/>
                  <a:pt x="179" y="419"/>
                  <a:pt x="179" y="419"/>
                </a:cubicBezTo>
                <a:cubicBezTo>
                  <a:pt x="178" y="417"/>
                  <a:pt x="178" y="417"/>
                  <a:pt x="178" y="417"/>
                </a:cubicBezTo>
                <a:cubicBezTo>
                  <a:pt x="176" y="417"/>
                  <a:pt x="176" y="417"/>
                  <a:pt x="176" y="417"/>
                </a:cubicBezTo>
                <a:cubicBezTo>
                  <a:pt x="175" y="416"/>
                  <a:pt x="175" y="416"/>
                  <a:pt x="175" y="416"/>
                </a:cubicBezTo>
                <a:cubicBezTo>
                  <a:pt x="174" y="417"/>
                  <a:pt x="174" y="417"/>
                  <a:pt x="174" y="417"/>
                </a:cubicBezTo>
                <a:cubicBezTo>
                  <a:pt x="174" y="418"/>
                  <a:pt x="174" y="418"/>
                  <a:pt x="174" y="418"/>
                </a:cubicBezTo>
                <a:cubicBezTo>
                  <a:pt x="173" y="419"/>
                  <a:pt x="173" y="419"/>
                  <a:pt x="173" y="419"/>
                </a:cubicBezTo>
                <a:cubicBezTo>
                  <a:pt x="172" y="419"/>
                  <a:pt x="172" y="419"/>
                  <a:pt x="172" y="419"/>
                </a:cubicBezTo>
                <a:cubicBezTo>
                  <a:pt x="172" y="418"/>
                  <a:pt x="172" y="418"/>
                  <a:pt x="172" y="418"/>
                </a:cubicBezTo>
                <a:cubicBezTo>
                  <a:pt x="172" y="417"/>
                  <a:pt x="172" y="417"/>
                  <a:pt x="172" y="417"/>
                </a:cubicBezTo>
                <a:cubicBezTo>
                  <a:pt x="171" y="417"/>
                  <a:pt x="171" y="417"/>
                  <a:pt x="171" y="417"/>
                </a:cubicBezTo>
                <a:cubicBezTo>
                  <a:pt x="169" y="415"/>
                  <a:pt x="169" y="415"/>
                  <a:pt x="169" y="415"/>
                </a:cubicBezTo>
                <a:cubicBezTo>
                  <a:pt x="168" y="414"/>
                  <a:pt x="168" y="414"/>
                  <a:pt x="168" y="414"/>
                </a:cubicBezTo>
                <a:cubicBezTo>
                  <a:pt x="167" y="414"/>
                  <a:pt x="167" y="414"/>
                  <a:pt x="167" y="414"/>
                </a:cubicBezTo>
                <a:cubicBezTo>
                  <a:pt x="165" y="413"/>
                  <a:pt x="165" y="413"/>
                  <a:pt x="165" y="413"/>
                </a:cubicBezTo>
                <a:cubicBezTo>
                  <a:pt x="165" y="413"/>
                  <a:pt x="165" y="413"/>
                  <a:pt x="165" y="413"/>
                </a:cubicBezTo>
                <a:cubicBezTo>
                  <a:pt x="164" y="412"/>
                  <a:pt x="164" y="412"/>
                  <a:pt x="164" y="412"/>
                </a:cubicBezTo>
                <a:cubicBezTo>
                  <a:pt x="163" y="412"/>
                  <a:pt x="163" y="412"/>
                  <a:pt x="163" y="412"/>
                </a:cubicBezTo>
                <a:cubicBezTo>
                  <a:pt x="161" y="412"/>
                  <a:pt x="161" y="412"/>
                  <a:pt x="161" y="412"/>
                </a:cubicBezTo>
                <a:cubicBezTo>
                  <a:pt x="159" y="411"/>
                  <a:pt x="159" y="411"/>
                  <a:pt x="159" y="411"/>
                </a:cubicBezTo>
                <a:cubicBezTo>
                  <a:pt x="159" y="410"/>
                  <a:pt x="159" y="410"/>
                  <a:pt x="159" y="410"/>
                </a:cubicBezTo>
                <a:cubicBezTo>
                  <a:pt x="158" y="410"/>
                  <a:pt x="158" y="410"/>
                  <a:pt x="158" y="410"/>
                </a:cubicBezTo>
                <a:cubicBezTo>
                  <a:pt x="156" y="411"/>
                  <a:pt x="156" y="411"/>
                  <a:pt x="156" y="411"/>
                </a:cubicBezTo>
                <a:cubicBezTo>
                  <a:pt x="155" y="411"/>
                  <a:pt x="155" y="411"/>
                  <a:pt x="155" y="411"/>
                </a:cubicBezTo>
                <a:cubicBezTo>
                  <a:pt x="155" y="411"/>
                  <a:pt x="155" y="411"/>
                  <a:pt x="155" y="411"/>
                </a:cubicBezTo>
                <a:cubicBezTo>
                  <a:pt x="154" y="412"/>
                  <a:pt x="154" y="412"/>
                  <a:pt x="154" y="412"/>
                </a:cubicBezTo>
                <a:cubicBezTo>
                  <a:pt x="154" y="411"/>
                  <a:pt x="154" y="411"/>
                  <a:pt x="154" y="411"/>
                </a:cubicBezTo>
                <a:cubicBezTo>
                  <a:pt x="153" y="412"/>
                  <a:pt x="153" y="412"/>
                  <a:pt x="153" y="412"/>
                </a:cubicBezTo>
                <a:cubicBezTo>
                  <a:pt x="153" y="413"/>
                  <a:pt x="153" y="413"/>
                  <a:pt x="153" y="413"/>
                </a:cubicBezTo>
                <a:cubicBezTo>
                  <a:pt x="152" y="413"/>
                  <a:pt x="152" y="413"/>
                  <a:pt x="152" y="413"/>
                </a:cubicBezTo>
                <a:cubicBezTo>
                  <a:pt x="151" y="413"/>
                  <a:pt x="151" y="413"/>
                  <a:pt x="151" y="413"/>
                </a:cubicBezTo>
                <a:cubicBezTo>
                  <a:pt x="152" y="412"/>
                  <a:pt x="152" y="412"/>
                  <a:pt x="152" y="412"/>
                </a:cubicBezTo>
                <a:cubicBezTo>
                  <a:pt x="152" y="411"/>
                  <a:pt x="152" y="411"/>
                  <a:pt x="152" y="411"/>
                </a:cubicBezTo>
                <a:cubicBezTo>
                  <a:pt x="151" y="410"/>
                  <a:pt x="151" y="410"/>
                  <a:pt x="151" y="410"/>
                </a:cubicBezTo>
                <a:cubicBezTo>
                  <a:pt x="149" y="409"/>
                  <a:pt x="149" y="409"/>
                  <a:pt x="149" y="409"/>
                </a:cubicBezTo>
                <a:cubicBezTo>
                  <a:pt x="148" y="410"/>
                  <a:pt x="148" y="410"/>
                  <a:pt x="148" y="410"/>
                </a:cubicBezTo>
                <a:cubicBezTo>
                  <a:pt x="149" y="411"/>
                  <a:pt x="149" y="411"/>
                  <a:pt x="149" y="411"/>
                </a:cubicBezTo>
                <a:cubicBezTo>
                  <a:pt x="149" y="412"/>
                  <a:pt x="149" y="412"/>
                  <a:pt x="149" y="412"/>
                </a:cubicBezTo>
                <a:cubicBezTo>
                  <a:pt x="147" y="412"/>
                  <a:pt x="147" y="412"/>
                  <a:pt x="147" y="412"/>
                </a:cubicBezTo>
                <a:cubicBezTo>
                  <a:pt x="146" y="413"/>
                  <a:pt x="146" y="413"/>
                  <a:pt x="146" y="413"/>
                </a:cubicBezTo>
                <a:cubicBezTo>
                  <a:pt x="146" y="414"/>
                  <a:pt x="146" y="414"/>
                  <a:pt x="146" y="414"/>
                </a:cubicBezTo>
                <a:cubicBezTo>
                  <a:pt x="145" y="414"/>
                  <a:pt x="145" y="414"/>
                  <a:pt x="145" y="414"/>
                </a:cubicBezTo>
                <a:cubicBezTo>
                  <a:pt x="143" y="416"/>
                  <a:pt x="143" y="416"/>
                  <a:pt x="143" y="416"/>
                </a:cubicBezTo>
                <a:cubicBezTo>
                  <a:pt x="143" y="417"/>
                  <a:pt x="143" y="417"/>
                  <a:pt x="143" y="417"/>
                </a:cubicBezTo>
                <a:cubicBezTo>
                  <a:pt x="143" y="418"/>
                  <a:pt x="143" y="418"/>
                  <a:pt x="143" y="418"/>
                </a:cubicBezTo>
                <a:cubicBezTo>
                  <a:pt x="143" y="420"/>
                  <a:pt x="143" y="420"/>
                  <a:pt x="143" y="420"/>
                </a:cubicBezTo>
                <a:cubicBezTo>
                  <a:pt x="141" y="420"/>
                  <a:pt x="141" y="420"/>
                  <a:pt x="141" y="420"/>
                </a:cubicBezTo>
                <a:cubicBezTo>
                  <a:pt x="140" y="420"/>
                  <a:pt x="140" y="420"/>
                  <a:pt x="140" y="420"/>
                </a:cubicBezTo>
                <a:cubicBezTo>
                  <a:pt x="141" y="425"/>
                  <a:pt x="141" y="425"/>
                  <a:pt x="141" y="425"/>
                </a:cubicBezTo>
                <a:cubicBezTo>
                  <a:pt x="140" y="425"/>
                  <a:pt x="140" y="425"/>
                  <a:pt x="140" y="425"/>
                </a:cubicBezTo>
                <a:cubicBezTo>
                  <a:pt x="140" y="427"/>
                  <a:pt x="140" y="427"/>
                  <a:pt x="140" y="427"/>
                </a:cubicBezTo>
                <a:cubicBezTo>
                  <a:pt x="138" y="428"/>
                  <a:pt x="138" y="428"/>
                  <a:pt x="138" y="428"/>
                </a:cubicBezTo>
                <a:cubicBezTo>
                  <a:pt x="137" y="426"/>
                  <a:pt x="137" y="426"/>
                  <a:pt x="137" y="426"/>
                </a:cubicBezTo>
                <a:cubicBezTo>
                  <a:pt x="136" y="425"/>
                  <a:pt x="136" y="425"/>
                  <a:pt x="136" y="425"/>
                </a:cubicBezTo>
                <a:cubicBezTo>
                  <a:pt x="133" y="422"/>
                  <a:pt x="133" y="422"/>
                  <a:pt x="133" y="422"/>
                </a:cubicBezTo>
                <a:cubicBezTo>
                  <a:pt x="132" y="423"/>
                  <a:pt x="132" y="423"/>
                  <a:pt x="132" y="423"/>
                </a:cubicBezTo>
                <a:cubicBezTo>
                  <a:pt x="132" y="425"/>
                  <a:pt x="132" y="425"/>
                  <a:pt x="132" y="425"/>
                </a:cubicBezTo>
                <a:cubicBezTo>
                  <a:pt x="130" y="427"/>
                  <a:pt x="130" y="427"/>
                  <a:pt x="130" y="427"/>
                </a:cubicBezTo>
                <a:cubicBezTo>
                  <a:pt x="129" y="428"/>
                  <a:pt x="129" y="428"/>
                  <a:pt x="129" y="428"/>
                </a:cubicBezTo>
                <a:cubicBezTo>
                  <a:pt x="129" y="431"/>
                  <a:pt x="129" y="431"/>
                  <a:pt x="129" y="431"/>
                </a:cubicBezTo>
                <a:cubicBezTo>
                  <a:pt x="130" y="432"/>
                  <a:pt x="130" y="432"/>
                  <a:pt x="130" y="432"/>
                </a:cubicBezTo>
                <a:cubicBezTo>
                  <a:pt x="130" y="436"/>
                  <a:pt x="130" y="436"/>
                  <a:pt x="130" y="436"/>
                </a:cubicBezTo>
                <a:cubicBezTo>
                  <a:pt x="129" y="438"/>
                  <a:pt x="129" y="438"/>
                  <a:pt x="129" y="438"/>
                </a:cubicBezTo>
                <a:cubicBezTo>
                  <a:pt x="131" y="439"/>
                  <a:pt x="131" y="439"/>
                  <a:pt x="131" y="439"/>
                </a:cubicBezTo>
                <a:cubicBezTo>
                  <a:pt x="132" y="441"/>
                  <a:pt x="132" y="441"/>
                  <a:pt x="132" y="441"/>
                </a:cubicBezTo>
                <a:cubicBezTo>
                  <a:pt x="132" y="441"/>
                  <a:pt x="132" y="441"/>
                  <a:pt x="132" y="441"/>
                </a:cubicBezTo>
                <a:cubicBezTo>
                  <a:pt x="134" y="443"/>
                  <a:pt x="134" y="443"/>
                  <a:pt x="134" y="443"/>
                </a:cubicBezTo>
                <a:cubicBezTo>
                  <a:pt x="135" y="442"/>
                  <a:pt x="135" y="442"/>
                  <a:pt x="135" y="442"/>
                </a:cubicBezTo>
                <a:cubicBezTo>
                  <a:pt x="139" y="443"/>
                  <a:pt x="139" y="443"/>
                  <a:pt x="139" y="443"/>
                </a:cubicBezTo>
                <a:cubicBezTo>
                  <a:pt x="142" y="446"/>
                  <a:pt x="142" y="446"/>
                  <a:pt x="142" y="446"/>
                </a:cubicBezTo>
                <a:cubicBezTo>
                  <a:pt x="144" y="450"/>
                  <a:pt x="144" y="450"/>
                  <a:pt x="144" y="450"/>
                </a:cubicBezTo>
                <a:cubicBezTo>
                  <a:pt x="142" y="450"/>
                  <a:pt x="142" y="450"/>
                  <a:pt x="142" y="450"/>
                </a:cubicBezTo>
                <a:cubicBezTo>
                  <a:pt x="142" y="451"/>
                  <a:pt x="142" y="451"/>
                  <a:pt x="142" y="451"/>
                </a:cubicBezTo>
                <a:cubicBezTo>
                  <a:pt x="144" y="453"/>
                  <a:pt x="144" y="453"/>
                  <a:pt x="144" y="453"/>
                </a:cubicBezTo>
                <a:cubicBezTo>
                  <a:pt x="145" y="452"/>
                  <a:pt x="145" y="452"/>
                  <a:pt x="145" y="452"/>
                </a:cubicBezTo>
                <a:cubicBezTo>
                  <a:pt x="147" y="453"/>
                  <a:pt x="147" y="453"/>
                  <a:pt x="147" y="453"/>
                </a:cubicBezTo>
                <a:cubicBezTo>
                  <a:pt x="147" y="453"/>
                  <a:pt x="147" y="453"/>
                  <a:pt x="147" y="453"/>
                </a:cubicBezTo>
                <a:cubicBezTo>
                  <a:pt x="147" y="453"/>
                  <a:pt x="147" y="453"/>
                  <a:pt x="147" y="453"/>
                </a:cubicBezTo>
                <a:cubicBezTo>
                  <a:pt x="147" y="454"/>
                  <a:pt x="147" y="454"/>
                  <a:pt x="147" y="454"/>
                </a:cubicBezTo>
                <a:cubicBezTo>
                  <a:pt x="147" y="455"/>
                  <a:pt x="147" y="455"/>
                  <a:pt x="147" y="455"/>
                </a:cubicBezTo>
                <a:cubicBezTo>
                  <a:pt x="146" y="455"/>
                  <a:pt x="146" y="455"/>
                  <a:pt x="146" y="455"/>
                </a:cubicBezTo>
                <a:cubicBezTo>
                  <a:pt x="146" y="455"/>
                  <a:pt x="146" y="455"/>
                  <a:pt x="146" y="455"/>
                </a:cubicBezTo>
                <a:cubicBezTo>
                  <a:pt x="146" y="456"/>
                  <a:pt x="146" y="456"/>
                  <a:pt x="146" y="456"/>
                </a:cubicBezTo>
                <a:cubicBezTo>
                  <a:pt x="146" y="456"/>
                  <a:pt x="146" y="456"/>
                  <a:pt x="146" y="456"/>
                </a:cubicBezTo>
                <a:cubicBezTo>
                  <a:pt x="146" y="456"/>
                  <a:pt x="146" y="456"/>
                  <a:pt x="146" y="456"/>
                </a:cubicBezTo>
                <a:cubicBezTo>
                  <a:pt x="146" y="457"/>
                  <a:pt x="146" y="457"/>
                  <a:pt x="146" y="457"/>
                </a:cubicBezTo>
                <a:cubicBezTo>
                  <a:pt x="145" y="457"/>
                  <a:pt x="145" y="457"/>
                  <a:pt x="145" y="457"/>
                </a:cubicBezTo>
                <a:cubicBezTo>
                  <a:pt x="145" y="457"/>
                  <a:pt x="145" y="457"/>
                  <a:pt x="145" y="457"/>
                </a:cubicBezTo>
                <a:cubicBezTo>
                  <a:pt x="144" y="457"/>
                  <a:pt x="144" y="457"/>
                  <a:pt x="144" y="457"/>
                </a:cubicBezTo>
                <a:cubicBezTo>
                  <a:pt x="143" y="457"/>
                  <a:pt x="143" y="457"/>
                  <a:pt x="143" y="457"/>
                </a:cubicBezTo>
                <a:cubicBezTo>
                  <a:pt x="145" y="458"/>
                  <a:pt x="145" y="458"/>
                  <a:pt x="145" y="458"/>
                </a:cubicBezTo>
                <a:cubicBezTo>
                  <a:pt x="145" y="459"/>
                  <a:pt x="145" y="459"/>
                  <a:pt x="145" y="459"/>
                </a:cubicBezTo>
                <a:cubicBezTo>
                  <a:pt x="145" y="459"/>
                  <a:pt x="145" y="459"/>
                  <a:pt x="145" y="459"/>
                </a:cubicBezTo>
                <a:cubicBezTo>
                  <a:pt x="144" y="458"/>
                  <a:pt x="144" y="458"/>
                  <a:pt x="144" y="458"/>
                </a:cubicBezTo>
                <a:cubicBezTo>
                  <a:pt x="144" y="458"/>
                  <a:pt x="143" y="459"/>
                  <a:pt x="143" y="459"/>
                </a:cubicBezTo>
                <a:cubicBezTo>
                  <a:pt x="143" y="459"/>
                  <a:pt x="142" y="458"/>
                  <a:pt x="142" y="458"/>
                </a:cubicBezTo>
                <a:cubicBezTo>
                  <a:pt x="142" y="458"/>
                  <a:pt x="142" y="458"/>
                  <a:pt x="142" y="458"/>
                </a:cubicBezTo>
                <a:cubicBezTo>
                  <a:pt x="143" y="459"/>
                  <a:pt x="143" y="459"/>
                  <a:pt x="143" y="459"/>
                </a:cubicBezTo>
                <a:cubicBezTo>
                  <a:pt x="143" y="459"/>
                  <a:pt x="143" y="459"/>
                  <a:pt x="143" y="459"/>
                </a:cubicBezTo>
                <a:cubicBezTo>
                  <a:pt x="142" y="460"/>
                  <a:pt x="142" y="460"/>
                  <a:pt x="142" y="460"/>
                </a:cubicBezTo>
                <a:cubicBezTo>
                  <a:pt x="141" y="460"/>
                  <a:pt x="141" y="460"/>
                  <a:pt x="141" y="460"/>
                </a:cubicBezTo>
                <a:cubicBezTo>
                  <a:pt x="141" y="460"/>
                  <a:pt x="141" y="460"/>
                  <a:pt x="141" y="460"/>
                </a:cubicBezTo>
                <a:cubicBezTo>
                  <a:pt x="140" y="460"/>
                  <a:pt x="140" y="460"/>
                  <a:pt x="140" y="460"/>
                </a:cubicBezTo>
                <a:cubicBezTo>
                  <a:pt x="140" y="461"/>
                  <a:pt x="140" y="461"/>
                  <a:pt x="140" y="461"/>
                </a:cubicBezTo>
                <a:cubicBezTo>
                  <a:pt x="139" y="461"/>
                  <a:pt x="139" y="461"/>
                  <a:pt x="139" y="461"/>
                </a:cubicBezTo>
                <a:cubicBezTo>
                  <a:pt x="139" y="460"/>
                  <a:pt x="139" y="460"/>
                  <a:pt x="139" y="460"/>
                </a:cubicBezTo>
                <a:cubicBezTo>
                  <a:pt x="138" y="460"/>
                  <a:pt x="138" y="460"/>
                  <a:pt x="138" y="460"/>
                </a:cubicBezTo>
                <a:cubicBezTo>
                  <a:pt x="138" y="461"/>
                  <a:pt x="138" y="461"/>
                  <a:pt x="138" y="461"/>
                </a:cubicBezTo>
                <a:cubicBezTo>
                  <a:pt x="137" y="462"/>
                  <a:pt x="137" y="462"/>
                  <a:pt x="137" y="462"/>
                </a:cubicBezTo>
                <a:cubicBezTo>
                  <a:pt x="137" y="463"/>
                  <a:pt x="137" y="463"/>
                  <a:pt x="137" y="463"/>
                </a:cubicBezTo>
                <a:cubicBezTo>
                  <a:pt x="137" y="464"/>
                  <a:pt x="137" y="464"/>
                  <a:pt x="137" y="464"/>
                </a:cubicBezTo>
                <a:cubicBezTo>
                  <a:pt x="136" y="465"/>
                  <a:pt x="136" y="465"/>
                  <a:pt x="136" y="465"/>
                </a:cubicBezTo>
                <a:cubicBezTo>
                  <a:pt x="136" y="466"/>
                  <a:pt x="136" y="466"/>
                  <a:pt x="136" y="466"/>
                </a:cubicBezTo>
                <a:cubicBezTo>
                  <a:pt x="136" y="468"/>
                  <a:pt x="136" y="468"/>
                  <a:pt x="136" y="468"/>
                </a:cubicBezTo>
                <a:cubicBezTo>
                  <a:pt x="135" y="469"/>
                  <a:pt x="135" y="469"/>
                  <a:pt x="135" y="469"/>
                </a:cubicBezTo>
                <a:cubicBezTo>
                  <a:pt x="135" y="470"/>
                  <a:pt x="135" y="470"/>
                  <a:pt x="135" y="470"/>
                </a:cubicBezTo>
                <a:cubicBezTo>
                  <a:pt x="135" y="472"/>
                  <a:pt x="135" y="472"/>
                  <a:pt x="135" y="472"/>
                </a:cubicBezTo>
                <a:cubicBezTo>
                  <a:pt x="136" y="472"/>
                  <a:pt x="136" y="472"/>
                  <a:pt x="136" y="472"/>
                </a:cubicBezTo>
                <a:cubicBezTo>
                  <a:pt x="137" y="472"/>
                  <a:pt x="137" y="472"/>
                  <a:pt x="137" y="472"/>
                </a:cubicBezTo>
                <a:cubicBezTo>
                  <a:pt x="138" y="473"/>
                  <a:pt x="138" y="473"/>
                  <a:pt x="138" y="473"/>
                </a:cubicBezTo>
                <a:cubicBezTo>
                  <a:pt x="139" y="474"/>
                  <a:pt x="139" y="474"/>
                  <a:pt x="139" y="474"/>
                </a:cubicBezTo>
                <a:cubicBezTo>
                  <a:pt x="139" y="476"/>
                  <a:pt x="139" y="476"/>
                  <a:pt x="139" y="476"/>
                </a:cubicBezTo>
                <a:cubicBezTo>
                  <a:pt x="140" y="476"/>
                  <a:pt x="140" y="476"/>
                  <a:pt x="140" y="476"/>
                </a:cubicBezTo>
                <a:cubicBezTo>
                  <a:pt x="141" y="476"/>
                  <a:pt x="141" y="476"/>
                  <a:pt x="141" y="476"/>
                </a:cubicBezTo>
                <a:cubicBezTo>
                  <a:pt x="142" y="476"/>
                  <a:pt x="142" y="476"/>
                  <a:pt x="142" y="476"/>
                </a:cubicBezTo>
                <a:cubicBezTo>
                  <a:pt x="141" y="477"/>
                  <a:pt x="141" y="477"/>
                  <a:pt x="141" y="477"/>
                </a:cubicBezTo>
                <a:cubicBezTo>
                  <a:pt x="141" y="478"/>
                  <a:pt x="141" y="478"/>
                  <a:pt x="141" y="478"/>
                </a:cubicBezTo>
                <a:cubicBezTo>
                  <a:pt x="140" y="478"/>
                  <a:pt x="140" y="478"/>
                  <a:pt x="140" y="478"/>
                </a:cubicBezTo>
                <a:cubicBezTo>
                  <a:pt x="140" y="479"/>
                  <a:pt x="140" y="479"/>
                  <a:pt x="140" y="479"/>
                </a:cubicBezTo>
                <a:cubicBezTo>
                  <a:pt x="141" y="479"/>
                  <a:pt x="141" y="479"/>
                  <a:pt x="141" y="479"/>
                </a:cubicBezTo>
                <a:cubicBezTo>
                  <a:pt x="141" y="480"/>
                  <a:pt x="141" y="480"/>
                  <a:pt x="141" y="480"/>
                </a:cubicBezTo>
                <a:cubicBezTo>
                  <a:pt x="142" y="480"/>
                  <a:pt x="142" y="480"/>
                  <a:pt x="142" y="480"/>
                </a:cubicBezTo>
                <a:cubicBezTo>
                  <a:pt x="142" y="482"/>
                  <a:pt x="142" y="482"/>
                  <a:pt x="142" y="482"/>
                </a:cubicBezTo>
                <a:cubicBezTo>
                  <a:pt x="143" y="483"/>
                  <a:pt x="143" y="483"/>
                  <a:pt x="143" y="483"/>
                </a:cubicBezTo>
                <a:cubicBezTo>
                  <a:pt x="143" y="485"/>
                  <a:pt x="143" y="485"/>
                  <a:pt x="143" y="485"/>
                </a:cubicBezTo>
                <a:cubicBezTo>
                  <a:pt x="145" y="488"/>
                  <a:pt x="145" y="488"/>
                  <a:pt x="145" y="488"/>
                </a:cubicBezTo>
                <a:cubicBezTo>
                  <a:pt x="149" y="491"/>
                  <a:pt x="149" y="491"/>
                  <a:pt x="149" y="491"/>
                </a:cubicBezTo>
                <a:cubicBezTo>
                  <a:pt x="149" y="491"/>
                  <a:pt x="149" y="491"/>
                  <a:pt x="149" y="491"/>
                </a:cubicBezTo>
                <a:cubicBezTo>
                  <a:pt x="149" y="491"/>
                  <a:pt x="149" y="491"/>
                  <a:pt x="149" y="491"/>
                </a:cubicBezTo>
                <a:cubicBezTo>
                  <a:pt x="147" y="494"/>
                  <a:pt x="147" y="494"/>
                  <a:pt x="147" y="494"/>
                </a:cubicBezTo>
                <a:cubicBezTo>
                  <a:pt x="145" y="495"/>
                  <a:pt x="145" y="495"/>
                  <a:pt x="145" y="495"/>
                </a:cubicBezTo>
                <a:cubicBezTo>
                  <a:pt x="145" y="496"/>
                  <a:pt x="145" y="496"/>
                  <a:pt x="145" y="496"/>
                </a:cubicBezTo>
                <a:cubicBezTo>
                  <a:pt x="142" y="496"/>
                  <a:pt x="142" y="496"/>
                  <a:pt x="142" y="496"/>
                </a:cubicBezTo>
                <a:cubicBezTo>
                  <a:pt x="141" y="494"/>
                  <a:pt x="141" y="494"/>
                  <a:pt x="141" y="494"/>
                </a:cubicBezTo>
                <a:cubicBezTo>
                  <a:pt x="138" y="492"/>
                  <a:pt x="138" y="492"/>
                  <a:pt x="138" y="492"/>
                </a:cubicBezTo>
                <a:cubicBezTo>
                  <a:pt x="136" y="492"/>
                  <a:pt x="136" y="492"/>
                  <a:pt x="136" y="492"/>
                </a:cubicBezTo>
                <a:cubicBezTo>
                  <a:pt x="136" y="494"/>
                  <a:pt x="136" y="494"/>
                  <a:pt x="136" y="494"/>
                </a:cubicBezTo>
                <a:cubicBezTo>
                  <a:pt x="137" y="495"/>
                  <a:pt x="137" y="495"/>
                  <a:pt x="137" y="495"/>
                </a:cubicBezTo>
                <a:cubicBezTo>
                  <a:pt x="138" y="496"/>
                  <a:pt x="138" y="496"/>
                  <a:pt x="138" y="496"/>
                </a:cubicBezTo>
                <a:cubicBezTo>
                  <a:pt x="138" y="498"/>
                  <a:pt x="138" y="498"/>
                  <a:pt x="138" y="498"/>
                </a:cubicBezTo>
                <a:cubicBezTo>
                  <a:pt x="136" y="497"/>
                  <a:pt x="136" y="497"/>
                  <a:pt x="136" y="497"/>
                </a:cubicBezTo>
                <a:cubicBezTo>
                  <a:pt x="133" y="497"/>
                  <a:pt x="133" y="497"/>
                  <a:pt x="133" y="497"/>
                </a:cubicBezTo>
                <a:cubicBezTo>
                  <a:pt x="130" y="495"/>
                  <a:pt x="130" y="495"/>
                  <a:pt x="130" y="495"/>
                </a:cubicBezTo>
                <a:cubicBezTo>
                  <a:pt x="127" y="496"/>
                  <a:pt x="127" y="496"/>
                  <a:pt x="127" y="496"/>
                </a:cubicBezTo>
                <a:cubicBezTo>
                  <a:pt x="127" y="497"/>
                  <a:pt x="127" y="497"/>
                  <a:pt x="127" y="497"/>
                </a:cubicBezTo>
                <a:cubicBezTo>
                  <a:pt x="128" y="498"/>
                  <a:pt x="128" y="498"/>
                  <a:pt x="128" y="498"/>
                </a:cubicBezTo>
                <a:cubicBezTo>
                  <a:pt x="127" y="497"/>
                  <a:pt x="127" y="497"/>
                  <a:pt x="127" y="497"/>
                </a:cubicBezTo>
                <a:cubicBezTo>
                  <a:pt x="123" y="497"/>
                  <a:pt x="123" y="497"/>
                  <a:pt x="123" y="497"/>
                </a:cubicBezTo>
                <a:cubicBezTo>
                  <a:pt x="123" y="497"/>
                  <a:pt x="123" y="497"/>
                  <a:pt x="123" y="497"/>
                </a:cubicBezTo>
                <a:cubicBezTo>
                  <a:pt x="120" y="497"/>
                  <a:pt x="120" y="497"/>
                  <a:pt x="120" y="497"/>
                </a:cubicBezTo>
                <a:cubicBezTo>
                  <a:pt x="118" y="498"/>
                  <a:pt x="118" y="498"/>
                  <a:pt x="118" y="498"/>
                </a:cubicBezTo>
                <a:cubicBezTo>
                  <a:pt x="118" y="498"/>
                  <a:pt x="118" y="498"/>
                  <a:pt x="118" y="498"/>
                </a:cubicBezTo>
                <a:cubicBezTo>
                  <a:pt x="117" y="498"/>
                  <a:pt x="117" y="498"/>
                  <a:pt x="117" y="498"/>
                </a:cubicBezTo>
                <a:cubicBezTo>
                  <a:pt x="114" y="495"/>
                  <a:pt x="114" y="495"/>
                  <a:pt x="114" y="495"/>
                </a:cubicBezTo>
                <a:cubicBezTo>
                  <a:pt x="113" y="495"/>
                  <a:pt x="113" y="495"/>
                  <a:pt x="113" y="495"/>
                </a:cubicBezTo>
                <a:cubicBezTo>
                  <a:pt x="112" y="496"/>
                  <a:pt x="112" y="496"/>
                  <a:pt x="112" y="496"/>
                </a:cubicBezTo>
                <a:cubicBezTo>
                  <a:pt x="111" y="496"/>
                  <a:pt x="111" y="496"/>
                  <a:pt x="111" y="496"/>
                </a:cubicBezTo>
                <a:cubicBezTo>
                  <a:pt x="110" y="495"/>
                  <a:pt x="110" y="495"/>
                  <a:pt x="110" y="495"/>
                </a:cubicBezTo>
                <a:cubicBezTo>
                  <a:pt x="109" y="496"/>
                  <a:pt x="109" y="496"/>
                  <a:pt x="109" y="496"/>
                </a:cubicBezTo>
                <a:cubicBezTo>
                  <a:pt x="108" y="496"/>
                  <a:pt x="108" y="496"/>
                  <a:pt x="108" y="496"/>
                </a:cubicBezTo>
                <a:cubicBezTo>
                  <a:pt x="108" y="495"/>
                  <a:pt x="108" y="495"/>
                  <a:pt x="108" y="495"/>
                </a:cubicBezTo>
                <a:cubicBezTo>
                  <a:pt x="107" y="495"/>
                  <a:pt x="107" y="495"/>
                  <a:pt x="107" y="495"/>
                </a:cubicBezTo>
                <a:cubicBezTo>
                  <a:pt x="107" y="495"/>
                  <a:pt x="107" y="495"/>
                  <a:pt x="107" y="495"/>
                </a:cubicBezTo>
                <a:cubicBezTo>
                  <a:pt x="107" y="494"/>
                  <a:pt x="107" y="494"/>
                  <a:pt x="107" y="494"/>
                </a:cubicBezTo>
                <a:cubicBezTo>
                  <a:pt x="107" y="493"/>
                  <a:pt x="107" y="493"/>
                  <a:pt x="107" y="493"/>
                </a:cubicBezTo>
                <a:cubicBezTo>
                  <a:pt x="108" y="493"/>
                  <a:pt x="108" y="493"/>
                  <a:pt x="108" y="493"/>
                </a:cubicBezTo>
                <a:cubicBezTo>
                  <a:pt x="106" y="491"/>
                  <a:pt x="106" y="491"/>
                  <a:pt x="106" y="491"/>
                </a:cubicBezTo>
                <a:cubicBezTo>
                  <a:pt x="106" y="488"/>
                  <a:pt x="106" y="488"/>
                  <a:pt x="106" y="488"/>
                </a:cubicBezTo>
                <a:cubicBezTo>
                  <a:pt x="105" y="487"/>
                  <a:pt x="105" y="487"/>
                  <a:pt x="105" y="487"/>
                </a:cubicBezTo>
                <a:cubicBezTo>
                  <a:pt x="104" y="485"/>
                  <a:pt x="104" y="485"/>
                  <a:pt x="104" y="485"/>
                </a:cubicBezTo>
                <a:cubicBezTo>
                  <a:pt x="103" y="485"/>
                  <a:pt x="103" y="485"/>
                  <a:pt x="103" y="485"/>
                </a:cubicBezTo>
                <a:cubicBezTo>
                  <a:pt x="102" y="484"/>
                  <a:pt x="102" y="484"/>
                  <a:pt x="102" y="484"/>
                </a:cubicBezTo>
                <a:cubicBezTo>
                  <a:pt x="101" y="483"/>
                  <a:pt x="101" y="483"/>
                  <a:pt x="101" y="483"/>
                </a:cubicBezTo>
                <a:cubicBezTo>
                  <a:pt x="100" y="483"/>
                  <a:pt x="100" y="483"/>
                  <a:pt x="100" y="483"/>
                </a:cubicBezTo>
                <a:cubicBezTo>
                  <a:pt x="100" y="483"/>
                  <a:pt x="100" y="483"/>
                  <a:pt x="100" y="483"/>
                </a:cubicBezTo>
                <a:cubicBezTo>
                  <a:pt x="98" y="482"/>
                  <a:pt x="98" y="482"/>
                  <a:pt x="98" y="482"/>
                </a:cubicBezTo>
                <a:cubicBezTo>
                  <a:pt x="97" y="481"/>
                  <a:pt x="97" y="481"/>
                  <a:pt x="97" y="481"/>
                </a:cubicBezTo>
                <a:cubicBezTo>
                  <a:pt x="97" y="481"/>
                  <a:pt x="97" y="481"/>
                  <a:pt x="97" y="481"/>
                </a:cubicBezTo>
                <a:cubicBezTo>
                  <a:pt x="95" y="481"/>
                  <a:pt x="95" y="481"/>
                  <a:pt x="95" y="481"/>
                </a:cubicBezTo>
                <a:cubicBezTo>
                  <a:pt x="95" y="480"/>
                  <a:pt x="95" y="480"/>
                  <a:pt x="95" y="480"/>
                </a:cubicBezTo>
                <a:cubicBezTo>
                  <a:pt x="94" y="480"/>
                  <a:pt x="94" y="480"/>
                  <a:pt x="94" y="480"/>
                </a:cubicBezTo>
                <a:cubicBezTo>
                  <a:pt x="93" y="479"/>
                  <a:pt x="93" y="479"/>
                  <a:pt x="93" y="479"/>
                </a:cubicBezTo>
                <a:cubicBezTo>
                  <a:pt x="93" y="478"/>
                  <a:pt x="93" y="478"/>
                  <a:pt x="93" y="478"/>
                </a:cubicBezTo>
                <a:cubicBezTo>
                  <a:pt x="92" y="478"/>
                  <a:pt x="92" y="478"/>
                  <a:pt x="92" y="478"/>
                </a:cubicBezTo>
                <a:cubicBezTo>
                  <a:pt x="91" y="476"/>
                  <a:pt x="91" y="476"/>
                  <a:pt x="91" y="476"/>
                </a:cubicBezTo>
                <a:cubicBezTo>
                  <a:pt x="87" y="473"/>
                  <a:pt x="87" y="473"/>
                  <a:pt x="87" y="473"/>
                </a:cubicBezTo>
                <a:cubicBezTo>
                  <a:pt x="85" y="473"/>
                  <a:pt x="85" y="473"/>
                  <a:pt x="85" y="473"/>
                </a:cubicBezTo>
                <a:cubicBezTo>
                  <a:pt x="83" y="471"/>
                  <a:pt x="83" y="471"/>
                  <a:pt x="83" y="471"/>
                </a:cubicBezTo>
                <a:cubicBezTo>
                  <a:pt x="80" y="471"/>
                  <a:pt x="80" y="471"/>
                  <a:pt x="80" y="471"/>
                </a:cubicBezTo>
                <a:cubicBezTo>
                  <a:pt x="79" y="470"/>
                  <a:pt x="79" y="470"/>
                  <a:pt x="79" y="470"/>
                </a:cubicBezTo>
                <a:cubicBezTo>
                  <a:pt x="79" y="469"/>
                  <a:pt x="79" y="469"/>
                  <a:pt x="79" y="469"/>
                </a:cubicBezTo>
                <a:cubicBezTo>
                  <a:pt x="77" y="468"/>
                  <a:pt x="77" y="468"/>
                  <a:pt x="77" y="468"/>
                </a:cubicBezTo>
                <a:cubicBezTo>
                  <a:pt x="76" y="468"/>
                  <a:pt x="76" y="468"/>
                  <a:pt x="76" y="468"/>
                </a:cubicBezTo>
                <a:cubicBezTo>
                  <a:pt x="75" y="468"/>
                  <a:pt x="75" y="468"/>
                  <a:pt x="75" y="468"/>
                </a:cubicBezTo>
                <a:cubicBezTo>
                  <a:pt x="76" y="467"/>
                  <a:pt x="76" y="467"/>
                  <a:pt x="76" y="467"/>
                </a:cubicBezTo>
                <a:cubicBezTo>
                  <a:pt x="77" y="466"/>
                  <a:pt x="77" y="466"/>
                  <a:pt x="77" y="466"/>
                </a:cubicBezTo>
                <a:cubicBezTo>
                  <a:pt x="76" y="465"/>
                  <a:pt x="76" y="465"/>
                  <a:pt x="76" y="465"/>
                </a:cubicBezTo>
                <a:cubicBezTo>
                  <a:pt x="76" y="465"/>
                  <a:pt x="76" y="465"/>
                  <a:pt x="76" y="465"/>
                </a:cubicBezTo>
                <a:cubicBezTo>
                  <a:pt x="78" y="465"/>
                  <a:pt x="78" y="465"/>
                  <a:pt x="78" y="465"/>
                </a:cubicBezTo>
                <a:cubicBezTo>
                  <a:pt x="79" y="466"/>
                  <a:pt x="79" y="466"/>
                  <a:pt x="79" y="466"/>
                </a:cubicBezTo>
                <a:cubicBezTo>
                  <a:pt x="79" y="466"/>
                  <a:pt x="79" y="466"/>
                  <a:pt x="79" y="466"/>
                </a:cubicBezTo>
                <a:cubicBezTo>
                  <a:pt x="80" y="466"/>
                  <a:pt x="80" y="466"/>
                  <a:pt x="80" y="466"/>
                </a:cubicBezTo>
                <a:cubicBezTo>
                  <a:pt x="80" y="464"/>
                  <a:pt x="80" y="464"/>
                  <a:pt x="80" y="464"/>
                </a:cubicBezTo>
                <a:cubicBezTo>
                  <a:pt x="80" y="464"/>
                  <a:pt x="80" y="464"/>
                  <a:pt x="80" y="464"/>
                </a:cubicBezTo>
                <a:cubicBezTo>
                  <a:pt x="80" y="462"/>
                  <a:pt x="80" y="462"/>
                  <a:pt x="80" y="462"/>
                </a:cubicBezTo>
                <a:cubicBezTo>
                  <a:pt x="81" y="461"/>
                  <a:pt x="81" y="461"/>
                  <a:pt x="81" y="461"/>
                </a:cubicBezTo>
                <a:cubicBezTo>
                  <a:pt x="81" y="461"/>
                  <a:pt x="81" y="461"/>
                  <a:pt x="81" y="461"/>
                </a:cubicBezTo>
                <a:cubicBezTo>
                  <a:pt x="82" y="460"/>
                  <a:pt x="82" y="460"/>
                  <a:pt x="82" y="460"/>
                </a:cubicBezTo>
                <a:cubicBezTo>
                  <a:pt x="83" y="460"/>
                  <a:pt x="83" y="460"/>
                  <a:pt x="83" y="460"/>
                </a:cubicBezTo>
                <a:cubicBezTo>
                  <a:pt x="83" y="460"/>
                  <a:pt x="83" y="460"/>
                  <a:pt x="83" y="460"/>
                </a:cubicBezTo>
                <a:cubicBezTo>
                  <a:pt x="84" y="459"/>
                  <a:pt x="84" y="459"/>
                  <a:pt x="84" y="459"/>
                </a:cubicBezTo>
                <a:cubicBezTo>
                  <a:pt x="84" y="459"/>
                  <a:pt x="84" y="459"/>
                  <a:pt x="84" y="459"/>
                </a:cubicBezTo>
                <a:cubicBezTo>
                  <a:pt x="83" y="458"/>
                  <a:pt x="83" y="458"/>
                  <a:pt x="83" y="458"/>
                </a:cubicBezTo>
                <a:cubicBezTo>
                  <a:pt x="82" y="458"/>
                  <a:pt x="82" y="458"/>
                  <a:pt x="82" y="458"/>
                </a:cubicBezTo>
                <a:cubicBezTo>
                  <a:pt x="82" y="458"/>
                  <a:pt x="82" y="458"/>
                  <a:pt x="82" y="458"/>
                </a:cubicBezTo>
                <a:cubicBezTo>
                  <a:pt x="81" y="457"/>
                  <a:pt x="81" y="457"/>
                  <a:pt x="81" y="457"/>
                </a:cubicBezTo>
                <a:cubicBezTo>
                  <a:pt x="80" y="456"/>
                  <a:pt x="80" y="456"/>
                  <a:pt x="80" y="456"/>
                </a:cubicBezTo>
                <a:cubicBezTo>
                  <a:pt x="82" y="455"/>
                  <a:pt x="82" y="455"/>
                  <a:pt x="82" y="455"/>
                </a:cubicBezTo>
                <a:cubicBezTo>
                  <a:pt x="84" y="456"/>
                  <a:pt x="84" y="456"/>
                  <a:pt x="84" y="456"/>
                </a:cubicBezTo>
                <a:cubicBezTo>
                  <a:pt x="84" y="455"/>
                  <a:pt x="84" y="455"/>
                  <a:pt x="84" y="455"/>
                </a:cubicBezTo>
                <a:cubicBezTo>
                  <a:pt x="84" y="455"/>
                  <a:pt x="84" y="455"/>
                  <a:pt x="84" y="455"/>
                </a:cubicBezTo>
                <a:cubicBezTo>
                  <a:pt x="83" y="454"/>
                  <a:pt x="83" y="454"/>
                  <a:pt x="83" y="454"/>
                </a:cubicBezTo>
                <a:cubicBezTo>
                  <a:pt x="84" y="453"/>
                  <a:pt x="84" y="453"/>
                  <a:pt x="84" y="453"/>
                </a:cubicBezTo>
                <a:cubicBezTo>
                  <a:pt x="88" y="451"/>
                  <a:pt x="88" y="451"/>
                  <a:pt x="88" y="451"/>
                </a:cubicBezTo>
                <a:cubicBezTo>
                  <a:pt x="88" y="450"/>
                  <a:pt x="88" y="450"/>
                  <a:pt x="88" y="450"/>
                </a:cubicBezTo>
                <a:cubicBezTo>
                  <a:pt x="88" y="450"/>
                  <a:pt x="88" y="450"/>
                  <a:pt x="88" y="450"/>
                </a:cubicBezTo>
                <a:cubicBezTo>
                  <a:pt x="86" y="450"/>
                  <a:pt x="86" y="450"/>
                  <a:pt x="86" y="450"/>
                </a:cubicBezTo>
                <a:cubicBezTo>
                  <a:pt x="84" y="451"/>
                  <a:pt x="84" y="451"/>
                  <a:pt x="84" y="451"/>
                </a:cubicBezTo>
                <a:cubicBezTo>
                  <a:pt x="83" y="451"/>
                  <a:pt x="83" y="451"/>
                  <a:pt x="83" y="451"/>
                </a:cubicBezTo>
                <a:cubicBezTo>
                  <a:pt x="83" y="451"/>
                  <a:pt x="83" y="451"/>
                  <a:pt x="83" y="451"/>
                </a:cubicBezTo>
                <a:cubicBezTo>
                  <a:pt x="83" y="451"/>
                  <a:pt x="83" y="451"/>
                  <a:pt x="83" y="451"/>
                </a:cubicBezTo>
                <a:cubicBezTo>
                  <a:pt x="83" y="448"/>
                  <a:pt x="83" y="448"/>
                  <a:pt x="83" y="448"/>
                </a:cubicBezTo>
                <a:cubicBezTo>
                  <a:pt x="84" y="448"/>
                  <a:pt x="84" y="448"/>
                  <a:pt x="84" y="448"/>
                </a:cubicBezTo>
                <a:cubicBezTo>
                  <a:pt x="85" y="445"/>
                  <a:pt x="85" y="445"/>
                  <a:pt x="85" y="445"/>
                </a:cubicBezTo>
                <a:cubicBezTo>
                  <a:pt x="88" y="445"/>
                  <a:pt x="88" y="445"/>
                  <a:pt x="88" y="445"/>
                </a:cubicBezTo>
                <a:cubicBezTo>
                  <a:pt x="90" y="444"/>
                  <a:pt x="90" y="444"/>
                  <a:pt x="90" y="444"/>
                </a:cubicBezTo>
                <a:cubicBezTo>
                  <a:pt x="89" y="443"/>
                  <a:pt x="89" y="443"/>
                  <a:pt x="89" y="443"/>
                </a:cubicBezTo>
                <a:cubicBezTo>
                  <a:pt x="90" y="440"/>
                  <a:pt x="90" y="440"/>
                  <a:pt x="90" y="440"/>
                </a:cubicBezTo>
                <a:cubicBezTo>
                  <a:pt x="90" y="439"/>
                  <a:pt x="90" y="439"/>
                  <a:pt x="90" y="439"/>
                </a:cubicBezTo>
                <a:cubicBezTo>
                  <a:pt x="88" y="437"/>
                  <a:pt x="88" y="437"/>
                  <a:pt x="88" y="437"/>
                </a:cubicBezTo>
                <a:cubicBezTo>
                  <a:pt x="88" y="435"/>
                  <a:pt x="88" y="435"/>
                  <a:pt x="88" y="435"/>
                </a:cubicBezTo>
                <a:cubicBezTo>
                  <a:pt x="90" y="434"/>
                  <a:pt x="90" y="434"/>
                  <a:pt x="90" y="434"/>
                </a:cubicBezTo>
                <a:cubicBezTo>
                  <a:pt x="91" y="433"/>
                  <a:pt x="91" y="433"/>
                  <a:pt x="91" y="433"/>
                </a:cubicBezTo>
                <a:cubicBezTo>
                  <a:pt x="91" y="431"/>
                  <a:pt x="91" y="431"/>
                  <a:pt x="91" y="431"/>
                </a:cubicBezTo>
                <a:cubicBezTo>
                  <a:pt x="90" y="431"/>
                  <a:pt x="90" y="431"/>
                  <a:pt x="90" y="431"/>
                </a:cubicBezTo>
                <a:cubicBezTo>
                  <a:pt x="89" y="429"/>
                  <a:pt x="89" y="429"/>
                  <a:pt x="89" y="429"/>
                </a:cubicBezTo>
                <a:cubicBezTo>
                  <a:pt x="88" y="430"/>
                  <a:pt x="88" y="430"/>
                  <a:pt x="88" y="430"/>
                </a:cubicBezTo>
                <a:cubicBezTo>
                  <a:pt x="87" y="430"/>
                  <a:pt x="87" y="430"/>
                  <a:pt x="87" y="430"/>
                </a:cubicBezTo>
                <a:cubicBezTo>
                  <a:pt x="85" y="429"/>
                  <a:pt x="85" y="429"/>
                  <a:pt x="85" y="429"/>
                </a:cubicBezTo>
                <a:cubicBezTo>
                  <a:pt x="84" y="429"/>
                  <a:pt x="84" y="429"/>
                  <a:pt x="84" y="429"/>
                </a:cubicBezTo>
                <a:cubicBezTo>
                  <a:pt x="82" y="428"/>
                  <a:pt x="82" y="428"/>
                  <a:pt x="82" y="428"/>
                </a:cubicBezTo>
                <a:cubicBezTo>
                  <a:pt x="81" y="428"/>
                  <a:pt x="81" y="428"/>
                  <a:pt x="81" y="428"/>
                </a:cubicBezTo>
                <a:cubicBezTo>
                  <a:pt x="78" y="428"/>
                  <a:pt x="78" y="428"/>
                  <a:pt x="78" y="428"/>
                </a:cubicBezTo>
                <a:cubicBezTo>
                  <a:pt x="78" y="429"/>
                  <a:pt x="78" y="429"/>
                  <a:pt x="78" y="429"/>
                </a:cubicBezTo>
                <a:cubicBezTo>
                  <a:pt x="77" y="428"/>
                  <a:pt x="77" y="428"/>
                  <a:pt x="77" y="428"/>
                </a:cubicBezTo>
                <a:cubicBezTo>
                  <a:pt x="75" y="426"/>
                  <a:pt x="75" y="426"/>
                  <a:pt x="75" y="426"/>
                </a:cubicBezTo>
                <a:cubicBezTo>
                  <a:pt x="74" y="423"/>
                  <a:pt x="74" y="423"/>
                  <a:pt x="74" y="423"/>
                </a:cubicBezTo>
                <a:cubicBezTo>
                  <a:pt x="73" y="423"/>
                  <a:pt x="73" y="423"/>
                  <a:pt x="73" y="423"/>
                </a:cubicBezTo>
                <a:cubicBezTo>
                  <a:pt x="71" y="425"/>
                  <a:pt x="71" y="425"/>
                  <a:pt x="71" y="425"/>
                </a:cubicBezTo>
                <a:cubicBezTo>
                  <a:pt x="69" y="425"/>
                  <a:pt x="69" y="425"/>
                  <a:pt x="69" y="425"/>
                </a:cubicBezTo>
                <a:cubicBezTo>
                  <a:pt x="68" y="425"/>
                  <a:pt x="68" y="425"/>
                  <a:pt x="68" y="425"/>
                </a:cubicBezTo>
                <a:cubicBezTo>
                  <a:pt x="66" y="424"/>
                  <a:pt x="66" y="424"/>
                  <a:pt x="66" y="424"/>
                </a:cubicBezTo>
                <a:cubicBezTo>
                  <a:pt x="65" y="425"/>
                  <a:pt x="65" y="425"/>
                  <a:pt x="65" y="425"/>
                </a:cubicBezTo>
                <a:cubicBezTo>
                  <a:pt x="62" y="423"/>
                  <a:pt x="62" y="423"/>
                  <a:pt x="62" y="423"/>
                </a:cubicBezTo>
                <a:cubicBezTo>
                  <a:pt x="61" y="421"/>
                  <a:pt x="61" y="421"/>
                  <a:pt x="61" y="421"/>
                </a:cubicBezTo>
                <a:cubicBezTo>
                  <a:pt x="61" y="419"/>
                  <a:pt x="61" y="419"/>
                  <a:pt x="61" y="419"/>
                </a:cubicBezTo>
                <a:cubicBezTo>
                  <a:pt x="60" y="419"/>
                  <a:pt x="60" y="419"/>
                  <a:pt x="60" y="419"/>
                </a:cubicBezTo>
                <a:cubicBezTo>
                  <a:pt x="60" y="417"/>
                  <a:pt x="60" y="417"/>
                  <a:pt x="60" y="417"/>
                </a:cubicBezTo>
                <a:cubicBezTo>
                  <a:pt x="59" y="416"/>
                  <a:pt x="59" y="416"/>
                  <a:pt x="59" y="416"/>
                </a:cubicBezTo>
                <a:cubicBezTo>
                  <a:pt x="55" y="417"/>
                  <a:pt x="55" y="417"/>
                  <a:pt x="55" y="417"/>
                </a:cubicBezTo>
                <a:cubicBezTo>
                  <a:pt x="53" y="415"/>
                  <a:pt x="53" y="415"/>
                  <a:pt x="53" y="415"/>
                </a:cubicBezTo>
                <a:cubicBezTo>
                  <a:pt x="54" y="413"/>
                  <a:pt x="54" y="413"/>
                  <a:pt x="54" y="413"/>
                </a:cubicBezTo>
                <a:cubicBezTo>
                  <a:pt x="53" y="412"/>
                  <a:pt x="53" y="412"/>
                  <a:pt x="53" y="412"/>
                </a:cubicBezTo>
                <a:cubicBezTo>
                  <a:pt x="52" y="409"/>
                  <a:pt x="52" y="409"/>
                  <a:pt x="52" y="409"/>
                </a:cubicBezTo>
                <a:cubicBezTo>
                  <a:pt x="50" y="409"/>
                  <a:pt x="50" y="409"/>
                  <a:pt x="50" y="409"/>
                </a:cubicBezTo>
                <a:cubicBezTo>
                  <a:pt x="49" y="410"/>
                  <a:pt x="49" y="410"/>
                  <a:pt x="49" y="410"/>
                </a:cubicBezTo>
                <a:cubicBezTo>
                  <a:pt x="46" y="410"/>
                  <a:pt x="46" y="410"/>
                  <a:pt x="46" y="410"/>
                </a:cubicBezTo>
                <a:cubicBezTo>
                  <a:pt x="43" y="409"/>
                  <a:pt x="43" y="409"/>
                  <a:pt x="43" y="409"/>
                </a:cubicBezTo>
                <a:cubicBezTo>
                  <a:pt x="42" y="410"/>
                  <a:pt x="42" y="410"/>
                  <a:pt x="42" y="410"/>
                </a:cubicBezTo>
                <a:cubicBezTo>
                  <a:pt x="42" y="411"/>
                  <a:pt x="42" y="411"/>
                  <a:pt x="42" y="411"/>
                </a:cubicBezTo>
                <a:cubicBezTo>
                  <a:pt x="40" y="411"/>
                  <a:pt x="40" y="411"/>
                  <a:pt x="40" y="411"/>
                </a:cubicBezTo>
                <a:cubicBezTo>
                  <a:pt x="39" y="411"/>
                  <a:pt x="39" y="411"/>
                  <a:pt x="39" y="411"/>
                </a:cubicBezTo>
                <a:cubicBezTo>
                  <a:pt x="39" y="410"/>
                  <a:pt x="39" y="410"/>
                  <a:pt x="39" y="410"/>
                </a:cubicBezTo>
                <a:cubicBezTo>
                  <a:pt x="38" y="408"/>
                  <a:pt x="38" y="408"/>
                  <a:pt x="38" y="408"/>
                </a:cubicBezTo>
                <a:cubicBezTo>
                  <a:pt x="38" y="406"/>
                  <a:pt x="38" y="406"/>
                  <a:pt x="38" y="406"/>
                </a:cubicBezTo>
                <a:cubicBezTo>
                  <a:pt x="37" y="404"/>
                  <a:pt x="37" y="404"/>
                  <a:pt x="37" y="404"/>
                </a:cubicBezTo>
                <a:cubicBezTo>
                  <a:pt x="37" y="403"/>
                  <a:pt x="37" y="403"/>
                  <a:pt x="37" y="403"/>
                </a:cubicBezTo>
                <a:cubicBezTo>
                  <a:pt x="37" y="402"/>
                  <a:pt x="37" y="402"/>
                  <a:pt x="37" y="402"/>
                </a:cubicBezTo>
                <a:cubicBezTo>
                  <a:pt x="39" y="403"/>
                  <a:pt x="39" y="403"/>
                  <a:pt x="39" y="403"/>
                </a:cubicBezTo>
                <a:cubicBezTo>
                  <a:pt x="42" y="403"/>
                  <a:pt x="42" y="403"/>
                  <a:pt x="42" y="403"/>
                </a:cubicBezTo>
                <a:cubicBezTo>
                  <a:pt x="43" y="400"/>
                  <a:pt x="43" y="400"/>
                  <a:pt x="43" y="400"/>
                </a:cubicBezTo>
                <a:cubicBezTo>
                  <a:pt x="44" y="400"/>
                  <a:pt x="44" y="400"/>
                  <a:pt x="44" y="400"/>
                </a:cubicBezTo>
                <a:cubicBezTo>
                  <a:pt x="42" y="399"/>
                  <a:pt x="42" y="399"/>
                  <a:pt x="42" y="399"/>
                </a:cubicBezTo>
                <a:cubicBezTo>
                  <a:pt x="42" y="398"/>
                  <a:pt x="42" y="398"/>
                  <a:pt x="42" y="398"/>
                </a:cubicBezTo>
                <a:cubicBezTo>
                  <a:pt x="40" y="396"/>
                  <a:pt x="40" y="396"/>
                  <a:pt x="40" y="396"/>
                </a:cubicBezTo>
                <a:cubicBezTo>
                  <a:pt x="38" y="395"/>
                  <a:pt x="38" y="395"/>
                  <a:pt x="38" y="395"/>
                </a:cubicBezTo>
                <a:cubicBezTo>
                  <a:pt x="37" y="393"/>
                  <a:pt x="37" y="393"/>
                  <a:pt x="37" y="393"/>
                </a:cubicBezTo>
                <a:cubicBezTo>
                  <a:pt x="36" y="392"/>
                  <a:pt x="36" y="392"/>
                  <a:pt x="36" y="392"/>
                </a:cubicBezTo>
                <a:cubicBezTo>
                  <a:pt x="34" y="390"/>
                  <a:pt x="34" y="390"/>
                  <a:pt x="34" y="390"/>
                </a:cubicBezTo>
                <a:cubicBezTo>
                  <a:pt x="33" y="388"/>
                  <a:pt x="33" y="388"/>
                  <a:pt x="33" y="388"/>
                </a:cubicBezTo>
                <a:cubicBezTo>
                  <a:pt x="32" y="386"/>
                  <a:pt x="32" y="386"/>
                  <a:pt x="32" y="386"/>
                </a:cubicBezTo>
                <a:cubicBezTo>
                  <a:pt x="32" y="385"/>
                  <a:pt x="32" y="385"/>
                  <a:pt x="32" y="385"/>
                </a:cubicBezTo>
                <a:cubicBezTo>
                  <a:pt x="31" y="383"/>
                  <a:pt x="31" y="383"/>
                  <a:pt x="31" y="383"/>
                </a:cubicBezTo>
                <a:cubicBezTo>
                  <a:pt x="31" y="382"/>
                  <a:pt x="31" y="382"/>
                  <a:pt x="31" y="382"/>
                </a:cubicBezTo>
                <a:cubicBezTo>
                  <a:pt x="31" y="380"/>
                  <a:pt x="31" y="380"/>
                  <a:pt x="31" y="380"/>
                </a:cubicBezTo>
                <a:cubicBezTo>
                  <a:pt x="28" y="379"/>
                  <a:pt x="28" y="379"/>
                  <a:pt x="28" y="379"/>
                </a:cubicBezTo>
                <a:cubicBezTo>
                  <a:pt x="27" y="379"/>
                  <a:pt x="27" y="379"/>
                  <a:pt x="27" y="379"/>
                </a:cubicBezTo>
                <a:cubicBezTo>
                  <a:pt x="27" y="378"/>
                  <a:pt x="27" y="378"/>
                  <a:pt x="27" y="378"/>
                </a:cubicBezTo>
                <a:cubicBezTo>
                  <a:pt x="25" y="379"/>
                  <a:pt x="25" y="379"/>
                  <a:pt x="25" y="379"/>
                </a:cubicBezTo>
                <a:cubicBezTo>
                  <a:pt x="23" y="380"/>
                  <a:pt x="23" y="380"/>
                  <a:pt x="23" y="380"/>
                </a:cubicBezTo>
                <a:cubicBezTo>
                  <a:pt x="22" y="378"/>
                  <a:pt x="22" y="378"/>
                  <a:pt x="22" y="378"/>
                </a:cubicBezTo>
                <a:cubicBezTo>
                  <a:pt x="21" y="378"/>
                  <a:pt x="21" y="378"/>
                  <a:pt x="21" y="378"/>
                </a:cubicBezTo>
                <a:cubicBezTo>
                  <a:pt x="19" y="379"/>
                  <a:pt x="19" y="379"/>
                  <a:pt x="19" y="379"/>
                </a:cubicBezTo>
                <a:cubicBezTo>
                  <a:pt x="18" y="377"/>
                  <a:pt x="18" y="377"/>
                  <a:pt x="18" y="377"/>
                </a:cubicBezTo>
                <a:cubicBezTo>
                  <a:pt x="16" y="377"/>
                  <a:pt x="16" y="377"/>
                  <a:pt x="16" y="377"/>
                </a:cubicBezTo>
                <a:cubicBezTo>
                  <a:pt x="15" y="377"/>
                  <a:pt x="15" y="377"/>
                  <a:pt x="15" y="377"/>
                </a:cubicBezTo>
                <a:cubicBezTo>
                  <a:pt x="15" y="377"/>
                  <a:pt x="15" y="377"/>
                  <a:pt x="15" y="377"/>
                </a:cubicBezTo>
                <a:cubicBezTo>
                  <a:pt x="15" y="375"/>
                  <a:pt x="15" y="375"/>
                  <a:pt x="15" y="375"/>
                </a:cubicBezTo>
                <a:cubicBezTo>
                  <a:pt x="14" y="374"/>
                  <a:pt x="14" y="374"/>
                  <a:pt x="14" y="374"/>
                </a:cubicBezTo>
                <a:cubicBezTo>
                  <a:pt x="13" y="372"/>
                  <a:pt x="13" y="372"/>
                  <a:pt x="13" y="372"/>
                </a:cubicBezTo>
                <a:cubicBezTo>
                  <a:pt x="13" y="371"/>
                  <a:pt x="13" y="371"/>
                  <a:pt x="13" y="371"/>
                </a:cubicBezTo>
                <a:cubicBezTo>
                  <a:pt x="12" y="370"/>
                  <a:pt x="12" y="370"/>
                  <a:pt x="12" y="370"/>
                </a:cubicBezTo>
                <a:cubicBezTo>
                  <a:pt x="12" y="369"/>
                  <a:pt x="12" y="369"/>
                  <a:pt x="12" y="369"/>
                </a:cubicBezTo>
                <a:cubicBezTo>
                  <a:pt x="12" y="368"/>
                  <a:pt x="12" y="368"/>
                  <a:pt x="12" y="368"/>
                </a:cubicBezTo>
                <a:cubicBezTo>
                  <a:pt x="11" y="368"/>
                  <a:pt x="11" y="368"/>
                  <a:pt x="11" y="368"/>
                </a:cubicBezTo>
                <a:cubicBezTo>
                  <a:pt x="11" y="367"/>
                  <a:pt x="11" y="367"/>
                  <a:pt x="11" y="367"/>
                </a:cubicBezTo>
                <a:cubicBezTo>
                  <a:pt x="11" y="366"/>
                  <a:pt x="11" y="366"/>
                  <a:pt x="11" y="366"/>
                </a:cubicBezTo>
                <a:cubicBezTo>
                  <a:pt x="10" y="366"/>
                  <a:pt x="10" y="366"/>
                  <a:pt x="10" y="366"/>
                </a:cubicBezTo>
                <a:cubicBezTo>
                  <a:pt x="11" y="364"/>
                  <a:pt x="11" y="364"/>
                  <a:pt x="11" y="364"/>
                </a:cubicBezTo>
                <a:cubicBezTo>
                  <a:pt x="11" y="363"/>
                  <a:pt x="11" y="363"/>
                  <a:pt x="11" y="363"/>
                </a:cubicBezTo>
                <a:cubicBezTo>
                  <a:pt x="12" y="362"/>
                  <a:pt x="12" y="362"/>
                  <a:pt x="12" y="362"/>
                </a:cubicBezTo>
                <a:cubicBezTo>
                  <a:pt x="12" y="361"/>
                  <a:pt x="12" y="361"/>
                  <a:pt x="12" y="361"/>
                </a:cubicBezTo>
                <a:cubicBezTo>
                  <a:pt x="9" y="356"/>
                  <a:pt x="9" y="356"/>
                  <a:pt x="9" y="356"/>
                </a:cubicBezTo>
                <a:cubicBezTo>
                  <a:pt x="9" y="351"/>
                  <a:pt x="9" y="351"/>
                  <a:pt x="9" y="351"/>
                </a:cubicBezTo>
                <a:cubicBezTo>
                  <a:pt x="10" y="351"/>
                  <a:pt x="10" y="351"/>
                  <a:pt x="10" y="351"/>
                </a:cubicBezTo>
                <a:cubicBezTo>
                  <a:pt x="10" y="349"/>
                  <a:pt x="10" y="349"/>
                  <a:pt x="10" y="349"/>
                </a:cubicBezTo>
                <a:cubicBezTo>
                  <a:pt x="11" y="347"/>
                  <a:pt x="11" y="347"/>
                  <a:pt x="11" y="347"/>
                </a:cubicBezTo>
                <a:cubicBezTo>
                  <a:pt x="12" y="347"/>
                  <a:pt x="12" y="347"/>
                  <a:pt x="12" y="347"/>
                </a:cubicBezTo>
                <a:cubicBezTo>
                  <a:pt x="12" y="347"/>
                  <a:pt x="12" y="347"/>
                  <a:pt x="12" y="347"/>
                </a:cubicBezTo>
                <a:cubicBezTo>
                  <a:pt x="11" y="346"/>
                  <a:pt x="11" y="346"/>
                  <a:pt x="11" y="346"/>
                </a:cubicBezTo>
                <a:cubicBezTo>
                  <a:pt x="11" y="346"/>
                  <a:pt x="11" y="346"/>
                  <a:pt x="11" y="346"/>
                </a:cubicBezTo>
                <a:cubicBezTo>
                  <a:pt x="11" y="344"/>
                  <a:pt x="11" y="344"/>
                  <a:pt x="11" y="344"/>
                </a:cubicBezTo>
                <a:cubicBezTo>
                  <a:pt x="11" y="343"/>
                  <a:pt x="11" y="343"/>
                  <a:pt x="11" y="343"/>
                </a:cubicBezTo>
                <a:cubicBezTo>
                  <a:pt x="11" y="343"/>
                  <a:pt x="11" y="343"/>
                  <a:pt x="11" y="343"/>
                </a:cubicBezTo>
                <a:cubicBezTo>
                  <a:pt x="11" y="343"/>
                  <a:pt x="11" y="343"/>
                  <a:pt x="11" y="343"/>
                </a:cubicBezTo>
                <a:cubicBezTo>
                  <a:pt x="12" y="344"/>
                  <a:pt x="12" y="344"/>
                  <a:pt x="12" y="344"/>
                </a:cubicBezTo>
                <a:cubicBezTo>
                  <a:pt x="13" y="343"/>
                  <a:pt x="13" y="343"/>
                  <a:pt x="13" y="343"/>
                </a:cubicBezTo>
                <a:cubicBezTo>
                  <a:pt x="13" y="342"/>
                  <a:pt x="13" y="342"/>
                  <a:pt x="13" y="342"/>
                </a:cubicBezTo>
                <a:cubicBezTo>
                  <a:pt x="14" y="341"/>
                  <a:pt x="14" y="341"/>
                  <a:pt x="14" y="341"/>
                </a:cubicBezTo>
                <a:cubicBezTo>
                  <a:pt x="15" y="342"/>
                  <a:pt x="15" y="342"/>
                  <a:pt x="15" y="342"/>
                </a:cubicBezTo>
                <a:cubicBezTo>
                  <a:pt x="16" y="341"/>
                  <a:pt x="16" y="341"/>
                  <a:pt x="16" y="341"/>
                </a:cubicBezTo>
                <a:cubicBezTo>
                  <a:pt x="17" y="340"/>
                  <a:pt x="17" y="340"/>
                  <a:pt x="17" y="340"/>
                </a:cubicBezTo>
                <a:cubicBezTo>
                  <a:pt x="17" y="340"/>
                  <a:pt x="17" y="340"/>
                  <a:pt x="17" y="340"/>
                </a:cubicBezTo>
                <a:cubicBezTo>
                  <a:pt x="19" y="340"/>
                  <a:pt x="19" y="340"/>
                  <a:pt x="19" y="340"/>
                </a:cubicBezTo>
                <a:cubicBezTo>
                  <a:pt x="20" y="339"/>
                  <a:pt x="20" y="339"/>
                  <a:pt x="20" y="339"/>
                </a:cubicBezTo>
                <a:cubicBezTo>
                  <a:pt x="19" y="338"/>
                  <a:pt x="19" y="338"/>
                  <a:pt x="19" y="338"/>
                </a:cubicBezTo>
                <a:cubicBezTo>
                  <a:pt x="18" y="338"/>
                  <a:pt x="18" y="338"/>
                  <a:pt x="18" y="338"/>
                </a:cubicBezTo>
                <a:cubicBezTo>
                  <a:pt x="17" y="338"/>
                  <a:pt x="17" y="338"/>
                  <a:pt x="17" y="338"/>
                </a:cubicBezTo>
                <a:cubicBezTo>
                  <a:pt x="16" y="338"/>
                  <a:pt x="16" y="338"/>
                  <a:pt x="16" y="338"/>
                </a:cubicBezTo>
                <a:cubicBezTo>
                  <a:pt x="15" y="337"/>
                  <a:pt x="15" y="337"/>
                  <a:pt x="15" y="337"/>
                </a:cubicBezTo>
                <a:cubicBezTo>
                  <a:pt x="14" y="337"/>
                  <a:pt x="14" y="337"/>
                  <a:pt x="14" y="337"/>
                </a:cubicBezTo>
                <a:cubicBezTo>
                  <a:pt x="12" y="335"/>
                  <a:pt x="12" y="335"/>
                  <a:pt x="12" y="335"/>
                </a:cubicBezTo>
                <a:cubicBezTo>
                  <a:pt x="12" y="334"/>
                  <a:pt x="12" y="334"/>
                  <a:pt x="12" y="334"/>
                </a:cubicBezTo>
                <a:cubicBezTo>
                  <a:pt x="14" y="335"/>
                  <a:pt x="14" y="335"/>
                  <a:pt x="14" y="335"/>
                </a:cubicBezTo>
                <a:cubicBezTo>
                  <a:pt x="14" y="334"/>
                  <a:pt x="14" y="334"/>
                  <a:pt x="14" y="334"/>
                </a:cubicBezTo>
                <a:cubicBezTo>
                  <a:pt x="13" y="334"/>
                  <a:pt x="13" y="334"/>
                  <a:pt x="13" y="334"/>
                </a:cubicBezTo>
                <a:cubicBezTo>
                  <a:pt x="14" y="333"/>
                  <a:pt x="14" y="333"/>
                  <a:pt x="14" y="333"/>
                </a:cubicBezTo>
                <a:cubicBezTo>
                  <a:pt x="13" y="333"/>
                  <a:pt x="13" y="333"/>
                  <a:pt x="13" y="333"/>
                </a:cubicBezTo>
                <a:cubicBezTo>
                  <a:pt x="13" y="333"/>
                  <a:pt x="11" y="334"/>
                  <a:pt x="11" y="334"/>
                </a:cubicBezTo>
                <a:cubicBezTo>
                  <a:pt x="11" y="334"/>
                  <a:pt x="11" y="334"/>
                  <a:pt x="11" y="334"/>
                </a:cubicBezTo>
                <a:cubicBezTo>
                  <a:pt x="11" y="334"/>
                  <a:pt x="11" y="334"/>
                  <a:pt x="11" y="334"/>
                </a:cubicBezTo>
                <a:cubicBezTo>
                  <a:pt x="11" y="333"/>
                  <a:pt x="11" y="333"/>
                  <a:pt x="11" y="333"/>
                </a:cubicBezTo>
                <a:cubicBezTo>
                  <a:pt x="14" y="330"/>
                  <a:pt x="14" y="330"/>
                  <a:pt x="14" y="330"/>
                </a:cubicBezTo>
                <a:cubicBezTo>
                  <a:pt x="15" y="329"/>
                  <a:pt x="15" y="329"/>
                  <a:pt x="15" y="329"/>
                </a:cubicBezTo>
                <a:cubicBezTo>
                  <a:pt x="17" y="326"/>
                  <a:pt x="17" y="326"/>
                  <a:pt x="17" y="326"/>
                </a:cubicBezTo>
                <a:cubicBezTo>
                  <a:pt x="18" y="323"/>
                  <a:pt x="18" y="323"/>
                  <a:pt x="18" y="323"/>
                </a:cubicBezTo>
                <a:cubicBezTo>
                  <a:pt x="20" y="320"/>
                  <a:pt x="20" y="320"/>
                  <a:pt x="20" y="320"/>
                </a:cubicBezTo>
                <a:cubicBezTo>
                  <a:pt x="22" y="316"/>
                  <a:pt x="22" y="316"/>
                  <a:pt x="22" y="316"/>
                </a:cubicBezTo>
                <a:cubicBezTo>
                  <a:pt x="24" y="312"/>
                  <a:pt x="24" y="312"/>
                  <a:pt x="24" y="312"/>
                </a:cubicBezTo>
                <a:cubicBezTo>
                  <a:pt x="24" y="310"/>
                  <a:pt x="24" y="310"/>
                  <a:pt x="24" y="310"/>
                </a:cubicBezTo>
                <a:cubicBezTo>
                  <a:pt x="21" y="307"/>
                  <a:pt x="21" y="307"/>
                  <a:pt x="21" y="307"/>
                </a:cubicBezTo>
                <a:cubicBezTo>
                  <a:pt x="19" y="306"/>
                  <a:pt x="19" y="306"/>
                  <a:pt x="19" y="306"/>
                </a:cubicBezTo>
                <a:cubicBezTo>
                  <a:pt x="16" y="302"/>
                  <a:pt x="16" y="302"/>
                  <a:pt x="16" y="302"/>
                </a:cubicBezTo>
                <a:cubicBezTo>
                  <a:pt x="17" y="300"/>
                  <a:pt x="17" y="300"/>
                  <a:pt x="17" y="300"/>
                </a:cubicBezTo>
                <a:cubicBezTo>
                  <a:pt x="18" y="298"/>
                  <a:pt x="18" y="298"/>
                  <a:pt x="18" y="298"/>
                </a:cubicBezTo>
                <a:cubicBezTo>
                  <a:pt x="18" y="297"/>
                  <a:pt x="18" y="297"/>
                  <a:pt x="18" y="297"/>
                </a:cubicBezTo>
                <a:cubicBezTo>
                  <a:pt x="16" y="295"/>
                  <a:pt x="16" y="295"/>
                  <a:pt x="16" y="295"/>
                </a:cubicBezTo>
                <a:cubicBezTo>
                  <a:pt x="15" y="294"/>
                  <a:pt x="15" y="294"/>
                  <a:pt x="15" y="294"/>
                </a:cubicBezTo>
                <a:cubicBezTo>
                  <a:pt x="15" y="292"/>
                  <a:pt x="15" y="292"/>
                  <a:pt x="15" y="292"/>
                </a:cubicBezTo>
                <a:cubicBezTo>
                  <a:pt x="16" y="291"/>
                  <a:pt x="16" y="291"/>
                  <a:pt x="16" y="291"/>
                </a:cubicBezTo>
                <a:cubicBezTo>
                  <a:pt x="15" y="290"/>
                  <a:pt x="15" y="290"/>
                  <a:pt x="15" y="290"/>
                </a:cubicBezTo>
                <a:cubicBezTo>
                  <a:pt x="14" y="289"/>
                  <a:pt x="14" y="289"/>
                  <a:pt x="14" y="289"/>
                </a:cubicBezTo>
                <a:cubicBezTo>
                  <a:pt x="13" y="288"/>
                  <a:pt x="13" y="288"/>
                  <a:pt x="13" y="288"/>
                </a:cubicBezTo>
                <a:cubicBezTo>
                  <a:pt x="13" y="286"/>
                  <a:pt x="13" y="286"/>
                  <a:pt x="13" y="286"/>
                </a:cubicBezTo>
                <a:cubicBezTo>
                  <a:pt x="14" y="285"/>
                  <a:pt x="14" y="285"/>
                  <a:pt x="14" y="285"/>
                </a:cubicBezTo>
                <a:cubicBezTo>
                  <a:pt x="13" y="285"/>
                  <a:pt x="13" y="285"/>
                  <a:pt x="13" y="285"/>
                </a:cubicBezTo>
                <a:cubicBezTo>
                  <a:pt x="13" y="284"/>
                  <a:pt x="13" y="284"/>
                  <a:pt x="13" y="284"/>
                </a:cubicBezTo>
                <a:cubicBezTo>
                  <a:pt x="13" y="280"/>
                  <a:pt x="13" y="280"/>
                  <a:pt x="13" y="280"/>
                </a:cubicBezTo>
                <a:cubicBezTo>
                  <a:pt x="14" y="279"/>
                  <a:pt x="14" y="279"/>
                  <a:pt x="14" y="279"/>
                </a:cubicBezTo>
                <a:cubicBezTo>
                  <a:pt x="11" y="273"/>
                  <a:pt x="11" y="273"/>
                  <a:pt x="11" y="273"/>
                </a:cubicBezTo>
                <a:cubicBezTo>
                  <a:pt x="9" y="268"/>
                  <a:pt x="9" y="268"/>
                  <a:pt x="9" y="268"/>
                </a:cubicBezTo>
                <a:cubicBezTo>
                  <a:pt x="8" y="266"/>
                  <a:pt x="8" y="266"/>
                  <a:pt x="8" y="266"/>
                </a:cubicBezTo>
                <a:cubicBezTo>
                  <a:pt x="7" y="265"/>
                  <a:pt x="7" y="265"/>
                  <a:pt x="7" y="265"/>
                </a:cubicBezTo>
                <a:cubicBezTo>
                  <a:pt x="8" y="262"/>
                  <a:pt x="8" y="262"/>
                  <a:pt x="8" y="262"/>
                </a:cubicBezTo>
                <a:cubicBezTo>
                  <a:pt x="9" y="260"/>
                  <a:pt x="9" y="260"/>
                  <a:pt x="9" y="260"/>
                </a:cubicBezTo>
                <a:cubicBezTo>
                  <a:pt x="9" y="258"/>
                  <a:pt x="9" y="258"/>
                  <a:pt x="9" y="258"/>
                </a:cubicBezTo>
                <a:cubicBezTo>
                  <a:pt x="9" y="257"/>
                  <a:pt x="9" y="257"/>
                  <a:pt x="9" y="257"/>
                </a:cubicBezTo>
                <a:cubicBezTo>
                  <a:pt x="6" y="255"/>
                  <a:pt x="6" y="255"/>
                  <a:pt x="6" y="255"/>
                </a:cubicBezTo>
                <a:cubicBezTo>
                  <a:pt x="5" y="254"/>
                  <a:pt x="5" y="254"/>
                  <a:pt x="5" y="254"/>
                </a:cubicBezTo>
                <a:cubicBezTo>
                  <a:pt x="4" y="253"/>
                  <a:pt x="4" y="253"/>
                  <a:pt x="4" y="253"/>
                </a:cubicBezTo>
                <a:cubicBezTo>
                  <a:pt x="3" y="252"/>
                  <a:pt x="3" y="252"/>
                  <a:pt x="3" y="252"/>
                </a:cubicBezTo>
                <a:cubicBezTo>
                  <a:pt x="2" y="252"/>
                  <a:pt x="2" y="252"/>
                  <a:pt x="2" y="252"/>
                </a:cubicBezTo>
                <a:cubicBezTo>
                  <a:pt x="1" y="249"/>
                  <a:pt x="1" y="249"/>
                  <a:pt x="1" y="249"/>
                </a:cubicBezTo>
                <a:cubicBezTo>
                  <a:pt x="0" y="248"/>
                  <a:pt x="0" y="248"/>
                  <a:pt x="0" y="248"/>
                </a:cubicBezTo>
                <a:cubicBezTo>
                  <a:pt x="0" y="246"/>
                  <a:pt x="0" y="246"/>
                  <a:pt x="0" y="246"/>
                </a:cubicBezTo>
                <a:cubicBezTo>
                  <a:pt x="1" y="244"/>
                  <a:pt x="1" y="244"/>
                  <a:pt x="1" y="244"/>
                </a:cubicBezTo>
                <a:cubicBezTo>
                  <a:pt x="0" y="244"/>
                  <a:pt x="0" y="244"/>
                  <a:pt x="0" y="244"/>
                </a:cubicBezTo>
                <a:cubicBezTo>
                  <a:pt x="1" y="243"/>
                  <a:pt x="1" y="243"/>
                  <a:pt x="1" y="243"/>
                </a:cubicBezTo>
                <a:cubicBezTo>
                  <a:pt x="2" y="242"/>
                  <a:pt x="2" y="242"/>
                  <a:pt x="2" y="242"/>
                </a:cubicBezTo>
                <a:cubicBezTo>
                  <a:pt x="2" y="242"/>
                  <a:pt x="2" y="242"/>
                  <a:pt x="2" y="242"/>
                </a:cubicBezTo>
                <a:cubicBezTo>
                  <a:pt x="3" y="242"/>
                  <a:pt x="3" y="242"/>
                  <a:pt x="3" y="242"/>
                </a:cubicBezTo>
                <a:cubicBezTo>
                  <a:pt x="3" y="240"/>
                  <a:pt x="3" y="240"/>
                  <a:pt x="3" y="240"/>
                </a:cubicBezTo>
                <a:cubicBezTo>
                  <a:pt x="5" y="238"/>
                  <a:pt x="5" y="238"/>
                  <a:pt x="5" y="238"/>
                </a:cubicBezTo>
                <a:cubicBezTo>
                  <a:pt x="6" y="238"/>
                  <a:pt x="6" y="238"/>
                  <a:pt x="6" y="238"/>
                </a:cubicBezTo>
                <a:cubicBezTo>
                  <a:pt x="7" y="237"/>
                  <a:pt x="7" y="237"/>
                  <a:pt x="7" y="237"/>
                </a:cubicBezTo>
                <a:cubicBezTo>
                  <a:pt x="7" y="235"/>
                  <a:pt x="7" y="235"/>
                  <a:pt x="7" y="235"/>
                </a:cubicBezTo>
                <a:cubicBezTo>
                  <a:pt x="8" y="235"/>
                  <a:pt x="8" y="235"/>
                  <a:pt x="8" y="235"/>
                </a:cubicBezTo>
                <a:cubicBezTo>
                  <a:pt x="9" y="235"/>
                  <a:pt x="9" y="235"/>
                  <a:pt x="9" y="235"/>
                </a:cubicBezTo>
                <a:cubicBezTo>
                  <a:pt x="10" y="234"/>
                  <a:pt x="10" y="234"/>
                  <a:pt x="10" y="234"/>
                </a:cubicBezTo>
                <a:cubicBezTo>
                  <a:pt x="10" y="233"/>
                  <a:pt x="10" y="233"/>
                  <a:pt x="10" y="233"/>
                </a:cubicBezTo>
                <a:cubicBezTo>
                  <a:pt x="10" y="233"/>
                  <a:pt x="10" y="233"/>
                  <a:pt x="10" y="233"/>
                </a:cubicBezTo>
                <a:cubicBezTo>
                  <a:pt x="11" y="233"/>
                  <a:pt x="11" y="233"/>
                  <a:pt x="11" y="233"/>
                </a:cubicBezTo>
                <a:cubicBezTo>
                  <a:pt x="12" y="234"/>
                  <a:pt x="12" y="234"/>
                  <a:pt x="12" y="234"/>
                </a:cubicBezTo>
                <a:cubicBezTo>
                  <a:pt x="12" y="235"/>
                  <a:pt x="12" y="235"/>
                  <a:pt x="12" y="235"/>
                </a:cubicBezTo>
                <a:cubicBezTo>
                  <a:pt x="13" y="236"/>
                  <a:pt x="13" y="236"/>
                  <a:pt x="13" y="236"/>
                </a:cubicBezTo>
                <a:cubicBezTo>
                  <a:pt x="13" y="234"/>
                  <a:pt x="13" y="234"/>
                  <a:pt x="13" y="234"/>
                </a:cubicBezTo>
                <a:cubicBezTo>
                  <a:pt x="13" y="233"/>
                  <a:pt x="13" y="233"/>
                  <a:pt x="13" y="233"/>
                </a:cubicBezTo>
                <a:cubicBezTo>
                  <a:pt x="14" y="233"/>
                  <a:pt x="14" y="233"/>
                  <a:pt x="14" y="233"/>
                </a:cubicBezTo>
                <a:cubicBezTo>
                  <a:pt x="15" y="233"/>
                  <a:pt x="15" y="233"/>
                  <a:pt x="15" y="233"/>
                </a:cubicBezTo>
                <a:cubicBezTo>
                  <a:pt x="13" y="232"/>
                  <a:pt x="13" y="232"/>
                  <a:pt x="13" y="232"/>
                </a:cubicBezTo>
                <a:cubicBezTo>
                  <a:pt x="14" y="232"/>
                  <a:pt x="14" y="232"/>
                  <a:pt x="14" y="232"/>
                </a:cubicBezTo>
                <a:cubicBezTo>
                  <a:pt x="14" y="232"/>
                  <a:pt x="14" y="232"/>
                  <a:pt x="14" y="232"/>
                </a:cubicBezTo>
                <a:cubicBezTo>
                  <a:pt x="15" y="232"/>
                  <a:pt x="15" y="232"/>
                  <a:pt x="15" y="232"/>
                </a:cubicBezTo>
                <a:cubicBezTo>
                  <a:pt x="15" y="232"/>
                  <a:pt x="15" y="232"/>
                  <a:pt x="15" y="232"/>
                </a:cubicBezTo>
                <a:cubicBezTo>
                  <a:pt x="15" y="231"/>
                  <a:pt x="15" y="231"/>
                  <a:pt x="15" y="231"/>
                </a:cubicBezTo>
                <a:cubicBezTo>
                  <a:pt x="14" y="231"/>
                  <a:pt x="14" y="231"/>
                  <a:pt x="14" y="231"/>
                </a:cubicBezTo>
                <a:cubicBezTo>
                  <a:pt x="14" y="230"/>
                  <a:pt x="14" y="230"/>
                  <a:pt x="14" y="230"/>
                </a:cubicBezTo>
                <a:cubicBezTo>
                  <a:pt x="16" y="230"/>
                  <a:pt x="16" y="230"/>
                  <a:pt x="16" y="230"/>
                </a:cubicBezTo>
                <a:cubicBezTo>
                  <a:pt x="17" y="231"/>
                  <a:pt x="17" y="231"/>
                  <a:pt x="17" y="231"/>
                </a:cubicBezTo>
                <a:cubicBezTo>
                  <a:pt x="18" y="232"/>
                  <a:pt x="18" y="232"/>
                  <a:pt x="18" y="232"/>
                </a:cubicBezTo>
                <a:cubicBezTo>
                  <a:pt x="18" y="232"/>
                  <a:pt x="18" y="232"/>
                  <a:pt x="18" y="232"/>
                </a:cubicBezTo>
                <a:cubicBezTo>
                  <a:pt x="19" y="232"/>
                  <a:pt x="19" y="232"/>
                  <a:pt x="19" y="232"/>
                </a:cubicBezTo>
                <a:cubicBezTo>
                  <a:pt x="20" y="232"/>
                  <a:pt x="20" y="232"/>
                  <a:pt x="20" y="232"/>
                </a:cubicBezTo>
                <a:cubicBezTo>
                  <a:pt x="20" y="233"/>
                  <a:pt x="20" y="233"/>
                  <a:pt x="20" y="233"/>
                </a:cubicBezTo>
                <a:cubicBezTo>
                  <a:pt x="21" y="233"/>
                  <a:pt x="21" y="233"/>
                  <a:pt x="21" y="233"/>
                </a:cubicBezTo>
                <a:cubicBezTo>
                  <a:pt x="21" y="234"/>
                  <a:pt x="21" y="234"/>
                  <a:pt x="21" y="234"/>
                </a:cubicBezTo>
                <a:cubicBezTo>
                  <a:pt x="20" y="235"/>
                  <a:pt x="20" y="235"/>
                  <a:pt x="20" y="235"/>
                </a:cubicBezTo>
                <a:cubicBezTo>
                  <a:pt x="19" y="234"/>
                  <a:pt x="19" y="234"/>
                  <a:pt x="19" y="234"/>
                </a:cubicBezTo>
                <a:cubicBezTo>
                  <a:pt x="17" y="235"/>
                  <a:pt x="17" y="235"/>
                  <a:pt x="17" y="235"/>
                </a:cubicBezTo>
                <a:cubicBezTo>
                  <a:pt x="16" y="234"/>
                  <a:pt x="16" y="234"/>
                  <a:pt x="16" y="234"/>
                </a:cubicBezTo>
                <a:cubicBezTo>
                  <a:pt x="16" y="233"/>
                  <a:pt x="16" y="233"/>
                  <a:pt x="16" y="233"/>
                </a:cubicBezTo>
                <a:cubicBezTo>
                  <a:pt x="16" y="234"/>
                  <a:pt x="16" y="234"/>
                  <a:pt x="16" y="234"/>
                </a:cubicBezTo>
                <a:cubicBezTo>
                  <a:pt x="16" y="235"/>
                  <a:pt x="16" y="235"/>
                  <a:pt x="16" y="235"/>
                </a:cubicBezTo>
                <a:cubicBezTo>
                  <a:pt x="16" y="236"/>
                  <a:pt x="16" y="236"/>
                  <a:pt x="16" y="236"/>
                </a:cubicBezTo>
                <a:cubicBezTo>
                  <a:pt x="17" y="235"/>
                  <a:pt x="17" y="235"/>
                  <a:pt x="17" y="235"/>
                </a:cubicBezTo>
                <a:cubicBezTo>
                  <a:pt x="17" y="236"/>
                  <a:pt x="17" y="236"/>
                  <a:pt x="17" y="236"/>
                </a:cubicBezTo>
                <a:cubicBezTo>
                  <a:pt x="18" y="237"/>
                  <a:pt x="18" y="237"/>
                  <a:pt x="18" y="237"/>
                </a:cubicBezTo>
                <a:cubicBezTo>
                  <a:pt x="19" y="236"/>
                  <a:pt x="19" y="236"/>
                  <a:pt x="19" y="236"/>
                </a:cubicBezTo>
                <a:cubicBezTo>
                  <a:pt x="20" y="236"/>
                  <a:pt x="20" y="236"/>
                  <a:pt x="20" y="236"/>
                </a:cubicBezTo>
                <a:cubicBezTo>
                  <a:pt x="20" y="237"/>
                  <a:pt x="20" y="237"/>
                  <a:pt x="20" y="237"/>
                </a:cubicBezTo>
                <a:cubicBezTo>
                  <a:pt x="20" y="237"/>
                  <a:pt x="20" y="237"/>
                  <a:pt x="20" y="237"/>
                </a:cubicBezTo>
                <a:cubicBezTo>
                  <a:pt x="21" y="236"/>
                  <a:pt x="21" y="236"/>
                  <a:pt x="21" y="236"/>
                </a:cubicBezTo>
                <a:cubicBezTo>
                  <a:pt x="21" y="237"/>
                  <a:pt x="21" y="237"/>
                  <a:pt x="21" y="237"/>
                </a:cubicBezTo>
                <a:cubicBezTo>
                  <a:pt x="21" y="237"/>
                  <a:pt x="21" y="237"/>
                  <a:pt x="21" y="237"/>
                </a:cubicBezTo>
                <a:cubicBezTo>
                  <a:pt x="21" y="238"/>
                  <a:pt x="21" y="238"/>
                  <a:pt x="21" y="238"/>
                </a:cubicBezTo>
                <a:cubicBezTo>
                  <a:pt x="22" y="237"/>
                  <a:pt x="22" y="237"/>
                  <a:pt x="22" y="237"/>
                </a:cubicBezTo>
                <a:cubicBezTo>
                  <a:pt x="22" y="236"/>
                  <a:pt x="22" y="236"/>
                  <a:pt x="22" y="236"/>
                </a:cubicBezTo>
                <a:cubicBezTo>
                  <a:pt x="23" y="236"/>
                  <a:pt x="23" y="236"/>
                  <a:pt x="23" y="236"/>
                </a:cubicBezTo>
                <a:cubicBezTo>
                  <a:pt x="23" y="237"/>
                  <a:pt x="23" y="237"/>
                  <a:pt x="23" y="237"/>
                </a:cubicBezTo>
                <a:cubicBezTo>
                  <a:pt x="22" y="238"/>
                  <a:pt x="22" y="238"/>
                  <a:pt x="22" y="238"/>
                </a:cubicBezTo>
                <a:cubicBezTo>
                  <a:pt x="23" y="238"/>
                  <a:pt x="23" y="238"/>
                  <a:pt x="23" y="238"/>
                </a:cubicBezTo>
                <a:cubicBezTo>
                  <a:pt x="24" y="238"/>
                  <a:pt x="24" y="238"/>
                  <a:pt x="24" y="238"/>
                </a:cubicBezTo>
                <a:cubicBezTo>
                  <a:pt x="23" y="239"/>
                  <a:pt x="23" y="239"/>
                  <a:pt x="23" y="239"/>
                </a:cubicBezTo>
                <a:cubicBezTo>
                  <a:pt x="22" y="240"/>
                  <a:pt x="22" y="240"/>
                  <a:pt x="22" y="240"/>
                </a:cubicBezTo>
                <a:cubicBezTo>
                  <a:pt x="24" y="240"/>
                  <a:pt x="24" y="240"/>
                  <a:pt x="24" y="240"/>
                </a:cubicBezTo>
                <a:cubicBezTo>
                  <a:pt x="24" y="238"/>
                  <a:pt x="24" y="238"/>
                  <a:pt x="24" y="238"/>
                </a:cubicBezTo>
                <a:cubicBezTo>
                  <a:pt x="24" y="237"/>
                  <a:pt x="24" y="237"/>
                  <a:pt x="24" y="237"/>
                </a:cubicBezTo>
                <a:cubicBezTo>
                  <a:pt x="25" y="237"/>
                  <a:pt x="25" y="237"/>
                  <a:pt x="25" y="237"/>
                </a:cubicBezTo>
                <a:cubicBezTo>
                  <a:pt x="26" y="237"/>
                  <a:pt x="26" y="237"/>
                  <a:pt x="26" y="237"/>
                </a:cubicBezTo>
                <a:cubicBezTo>
                  <a:pt x="27" y="237"/>
                  <a:pt x="27" y="237"/>
                  <a:pt x="27" y="237"/>
                </a:cubicBezTo>
                <a:cubicBezTo>
                  <a:pt x="27" y="237"/>
                  <a:pt x="27" y="237"/>
                  <a:pt x="27" y="237"/>
                </a:cubicBezTo>
                <a:cubicBezTo>
                  <a:pt x="26" y="236"/>
                  <a:pt x="26" y="236"/>
                  <a:pt x="26" y="236"/>
                </a:cubicBezTo>
                <a:cubicBezTo>
                  <a:pt x="26" y="236"/>
                  <a:pt x="26" y="236"/>
                  <a:pt x="26" y="236"/>
                </a:cubicBezTo>
                <a:cubicBezTo>
                  <a:pt x="28" y="236"/>
                  <a:pt x="28" y="236"/>
                  <a:pt x="28" y="236"/>
                </a:cubicBezTo>
                <a:cubicBezTo>
                  <a:pt x="28" y="237"/>
                  <a:pt x="28" y="237"/>
                  <a:pt x="28" y="237"/>
                </a:cubicBezTo>
                <a:cubicBezTo>
                  <a:pt x="30" y="237"/>
                  <a:pt x="30" y="237"/>
                  <a:pt x="30" y="237"/>
                </a:cubicBezTo>
                <a:cubicBezTo>
                  <a:pt x="31" y="238"/>
                  <a:pt x="31" y="238"/>
                  <a:pt x="31" y="238"/>
                </a:cubicBezTo>
                <a:cubicBezTo>
                  <a:pt x="32" y="237"/>
                  <a:pt x="32" y="237"/>
                  <a:pt x="32" y="237"/>
                </a:cubicBezTo>
                <a:cubicBezTo>
                  <a:pt x="32" y="237"/>
                  <a:pt x="32" y="237"/>
                  <a:pt x="32" y="237"/>
                </a:cubicBezTo>
                <a:cubicBezTo>
                  <a:pt x="34" y="237"/>
                  <a:pt x="34" y="237"/>
                  <a:pt x="34" y="237"/>
                </a:cubicBezTo>
                <a:cubicBezTo>
                  <a:pt x="35" y="238"/>
                  <a:pt x="35" y="238"/>
                  <a:pt x="35" y="238"/>
                </a:cubicBezTo>
                <a:cubicBezTo>
                  <a:pt x="35" y="237"/>
                  <a:pt x="35" y="237"/>
                  <a:pt x="35" y="237"/>
                </a:cubicBezTo>
                <a:cubicBezTo>
                  <a:pt x="37" y="238"/>
                  <a:pt x="37" y="238"/>
                  <a:pt x="37" y="238"/>
                </a:cubicBezTo>
                <a:cubicBezTo>
                  <a:pt x="43" y="241"/>
                  <a:pt x="43" y="241"/>
                  <a:pt x="43" y="241"/>
                </a:cubicBezTo>
                <a:cubicBezTo>
                  <a:pt x="47" y="244"/>
                  <a:pt x="47" y="244"/>
                  <a:pt x="47" y="244"/>
                </a:cubicBezTo>
                <a:cubicBezTo>
                  <a:pt x="48" y="245"/>
                  <a:pt x="48" y="245"/>
                  <a:pt x="48" y="245"/>
                </a:cubicBezTo>
                <a:cubicBezTo>
                  <a:pt x="50" y="246"/>
                  <a:pt x="50" y="246"/>
                  <a:pt x="50" y="246"/>
                </a:cubicBezTo>
                <a:cubicBezTo>
                  <a:pt x="51" y="248"/>
                  <a:pt x="51" y="248"/>
                  <a:pt x="51" y="248"/>
                </a:cubicBezTo>
                <a:cubicBezTo>
                  <a:pt x="52" y="248"/>
                  <a:pt x="52" y="248"/>
                  <a:pt x="52" y="248"/>
                </a:cubicBezTo>
                <a:cubicBezTo>
                  <a:pt x="52" y="247"/>
                  <a:pt x="52" y="247"/>
                  <a:pt x="52" y="247"/>
                </a:cubicBezTo>
                <a:cubicBezTo>
                  <a:pt x="52" y="247"/>
                  <a:pt x="52" y="247"/>
                  <a:pt x="52" y="247"/>
                </a:cubicBezTo>
                <a:cubicBezTo>
                  <a:pt x="52" y="247"/>
                  <a:pt x="52" y="247"/>
                  <a:pt x="52" y="247"/>
                </a:cubicBezTo>
                <a:cubicBezTo>
                  <a:pt x="54" y="248"/>
                  <a:pt x="54" y="248"/>
                  <a:pt x="54" y="248"/>
                </a:cubicBezTo>
                <a:cubicBezTo>
                  <a:pt x="55" y="248"/>
                  <a:pt x="55" y="248"/>
                  <a:pt x="55" y="248"/>
                </a:cubicBezTo>
                <a:cubicBezTo>
                  <a:pt x="57" y="250"/>
                  <a:pt x="57" y="250"/>
                  <a:pt x="57" y="250"/>
                </a:cubicBezTo>
                <a:cubicBezTo>
                  <a:pt x="58" y="250"/>
                  <a:pt x="58" y="250"/>
                  <a:pt x="58" y="250"/>
                </a:cubicBezTo>
                <a:cubicBezTo>
                  <a:pt x="57" y="248"/>
                  <a:pt x="57" y="248"/>
                  <a:pt x="57" y="248"/>
                </a:cubicBezTo>
                <a:cubicBezTo>
                  <a:pt x="56" y="247"/>
                  <a:pt x="56" y="247"/>
                  <a:pt x="56" y="247"/>
                </a:cubicBezTo>
                <a:cubicBezTo>
                  <a:pt x="57" y="247"/>
                  <a:pt x="57" y="247"/>
                  <a:pt x="57" y="247"/>
                </a:cubicBezTo>
                <a:cubicBezTo>
                  <a:pt x="58" y="249"/>
                  <a:pt x="58" y="249"/>
                  <a:pt x="58" y="249"/>
                </a:cubicBezTo>
                <a:cubicBezTo>
                  <a:pt x="58" y="250"/>
                  <a:pt x="58" y="250"/>
                  <a:pt x="58" y="250"/>
                </a:cubicBezTo>
                <a:cubicBezTo>
                  <a:pt x="61" y="252"/>
                  <a:pt x="61" y="252"/>
                  <a:pt x="61" y="252"/>
                </a:cubicBezTo>
                <a:cubicBezTo>
                  <a:pt x="61" y="253"/>
                  <a:pt x="61" y="253"/>
                  <a:pt x="61" y="253"/>
                </a:cubicBezTo>
                <a:cubicBezTo>
                  <a:pt x="62" y="253"/>
                  <a:pt x="62" y="253"/>
                  <a:pt x="62" y="253"/>
                </a:cubicBezTo>
                <a:cubicBezTo>
                  <a:pt x="62" y="253"/>
                  <a:pt x="62" y="253"/>
                  <a:pt x="62" y="253"/>
                </a:cubicBezTo>
                <a:cubicBezTo>
                  <a:pt x="63" y="253"/>
                  <a:pt x="63" y="253"/>
                  <a:pt x="63" y="253"/>
                </a:cubicBezTo>
                <a:cubicBezTo>
                  <a:pt x="65" y="254"/>
                  <a:pt x="65" y="254"/>
                  <a:pt x="65" y="254"/>
                </a:cubicBezTo>
                <a:cubicBezTo>
                  <a:pt x="65" y="256"/>
                  <a:pt x="65" y="256"/>
                  <a:pt x="65" y="256"/>
                </a:cubicBezTo>
                <a:cubicBezTo>
                  <a:pt x="66" y="256"/>
                  <a:pt x="66" y="256"/>
                  <a:pt x="66" y="256"/>
                </a:cubicBezTo>
                <a:cubicBezTo>
                  <a:pt x="67" y="258"/>
                  <a:pt x="67" y="258"/>
                  <a:pt x="67" y="258"/>
                </a:cubicBezTo>
                <a:cubicBezTo>
                  <a:pt x="67" y="258"/>
                  <a:pt x="67" y="258"/>
                  <a:pt x="67" y="258"/>
                </a:cubicBezTo>
                <a:cubicBezTo>
                  <a:pt x="68" y="258"/>
                  <a:pt x="68" y="258"/>
                  <a:pt x="68" y="258"/>
                </a:cubicBezTo>
                <a:cubicBezTo>
                  <a:pt x="68" y="260"/>
                  <a:pt x="68" y="260"/>
                  <a:pt x="68" y="260"/>
                </a:cubicBezTo>
                <a:cubicBezTo>
                  <a:pt x="68" y="261"/>
                  <a:pt x="68" y="261"/>
                  <a:pt x="68" y="261"/>
                </a:cubicBezTo>
                <a:cubicBezTo>
                  <a:pt x="68" y="263"/>
                  <a:pt x="68" y="263"/>
                  <a:pt x="68" y="263"/>
                </a:cubicBezTo>
                <a:cubicBezTo>
                  <a:pt x="67" y="264"/>
                  <a:pt x="67" y="264"/>
                  <a:pt x="67" y="264"/>
                </a:cubicBezTo>
                <a:cubicBezTo>
                  <a:pt x="67" y="265"/>
                  <a:pt x="67" y="265"/>
                  <a:pt x="67" y="265"/>
                </a:cubicBezTo>
                <a:cubicBezTo>
                  <a:pt x="66" y="267"/>
                  <a:pt x="66" y="267"/>
                  <a:pt x="66" y="267"/>
                </a:cubicBezTo>
                <a:cubicBezTo>
                  <a:pt x="66" y="267"/>
                  <a:pt x="66" y="267"/>
                  <a:pt x="66" y="267"/>
                </a:cubicBezTo>
                <a:cubicBezTo>
                  <a:pt x="63" y="271"/>
                  <a:pt x="63" y="271"/>
                  <a:pt x="63" y="271"/>
                </a:cubicBezTo>
                <a:cubicBezTo>
                  <a:pt x="62" y="272"/>
                  <a:pt x="62" y="272"/>
                  <a:pt x="62" y="272"/>
                </a:cubicBezTo>
                <a:cubicBezTo>
                  <a:pt x="59" y="272"/>
                  <a:pt x="59" y="272"/>
                  <a:pt x="59" y="272"/>
                </a:cubicBezTo>
                <a:cubicBezTo>
                  <a:pt x="59" y="273"/>
                  <a:pt x="59" y="273"/>
                  <a:pt x="59" y="273"/>
                </a:cubicBezTo>
                <a:cubicBezTo>
                  <a:pt x="57" y="273"/>
                  <a:pt x="57" y="273"/>
                  <a:pt x="57" y="273"/>
                </a:cubicBezTo>
                <a:cubicBezTo>
                  <a:pt x="56" y="273"/>
                  <a:pt x="56" y="273"/>
                  <a:pt x="56" y="273"/>
                </a:cubicBezTo>
                <a:cubicBezTo>
                  <a:pt x="54" y="274"/>
                  <a:pt x="54" y="274"/>
                  <a:pt x="54" y="274"/>
                </a:cubicBezTo>
                <a:cubicBezTo>
                  <a:pt x="50" y="273"/>
                  <a:pt x="50" y="273"/>
                  <a:pt x="50" y="273"/>
                </a:cubicBezTo>
                <a:cubicBezTo>
                  <a:pt x="48" y="273"/>
                  <a:pt x="48" y="273"/>
                  <a:pt x="48" y="273"/>
                </a:cubicBezTo>
                <a:cubicBezTo>
                  <a:pt x="46" y="272"/>
                  <a:pt x="46" y="272"/>
                  <a:pt x="46" y="272"/>
                </a:cubicBezTo>
                <a:cubicBezTo>
                  <a:pt x="45" y="272"/>
                  <a:pt x="45" y="272"/>
                  <a:pt x="45" y="272"/>
                </a:cubicBezTo>
                <a:cubicBezTo>
                  <a:pt x="44" y="272"/>
                  <a:pt x="44" y="272"/>
                  <a:pt x="44" y="272"/>
                </a:cubicBezTo>
                <a:cubicBezTo>
                  <a:pt x="43" y="272"/>
                  <a:pt x="43" y="272"/>
                  <a:pt x="43" y="272"/>
                </a:cubicBezTo>
                <a:cubicBezTo>
                  <a:pt x="42" y="271"/>
                  <a:pt x="42" y="271"/>
                  <a:pt x="42" y="271"/>
                </a:cubicBezTo>
                <a:cubicBezTo>
                  <a:pt x="41" y="271"/>
                  <a:pt x="41" y="271"/>
                  <a:pt x="41" y="271"/>
                </a:cubicBezTo>
                <a:cubicBezTo>
                  <a:pt x="40" y="272"/>
                  <a:pt x="40" y="272"/>
                  <a:pt x="40" y="272"/>
                </a:cubicBezTo>
                <a:cubicBezTo>
                  <a:pt x="39" y="270"/>
                  <a:pt x="39" y="270"/>
                  <a:pt x="39" y="270"/>
                </a:cubicBezTo>
                <a:cubicBezTo>
                  <a:pt x="39" y="269"/>
                  <a:pt x="39" y="269"/>
                  <a:pt x="39" y="269"/>
                </a:cubicBezTo>
                <a:cubicBezTo>
                  <a:pt x="38" y="270"/>
                  <a:pt x="38" y="270"/>
                  <a:pt x="38" y="270"/>
                </a:cubicBezTo>
                <a:cubicBezTo>
                  <a:pt x="37" y="270"/>
                  <a:pt x="37" y="270"/>
                  <a:pt x="37" y="270"/>
                </a:cubicBezTo>
                <a:cubicBezTo>
                  <a:pt x="37" y="269"/>
                  <a:pt x="37" y="269"/>
                  <a:pt x="37" y="269"/>
                </a:cubicBezTo>
                <a:cubicBezTo>
                  <a:pt x="35" y="269"/>
                  <a:pt x="35" y="269"/>
                  <a:pt x="35" y="269"/>
                </a:cubicBezTo>
                <a:cubicBezTo>
                  <a:pt x="35" y="270"/>
                  <a:pt x="35" y="270"/>
                  <a:pt x="35" y="270"/>
                </a:cubicBezTo>
                <a:cubicBezTo>
                  <a:pt x="33" y="270"/>
                  <a:pt x="33" y="270"/>
                  <a:pt x="33" y="270"/>
                </a:cubicBezTo>
                <a:cubicBezTo>
                  <a:pt x="33" y="269"/>
                  <a:pt x="33" y="269"/>
                  <a:pt x="33" y="269"/>
                </a:cubicBezTo>
                <a:cubicBezTo>
                  <a:pt x="33" y="269"/>
                  <a:pt x="33" y="269"/>
                  <a:pt x="33" y="269"/>
                </a:cubicBezTo>
                <a:cubicBezTo>
                  <a:pt x="34" y="268"/>
                  <a:pt x="34" y="268"/>
                  <a:pt x="34" y="268"/>
                </a:cubicBezTo>
                <a:cubicBezTo>
                  <a:pt x="33" y="267"/>
                  <a:pt x="33" y="267"/>
                  <a:pt x="33" y="267"/>
                </a:cubicBezTo>
                <a:cubicBezTo>
                  <a:pt x="33" y="268"/>
                  <a:pt x="33" y="268"/>
                  <a:pt x="33" y="268"/>
                </a:cubicBezTo>
                <a:cubicBezTo>
                  <a:pt x="30" y="268"/>
                  <a:pt x="30" y="268"/>
                  <a:pt x="30" y="268"/>
                </a:cubicBezTo>
                <a:cubicBezTo>
                  <a:pt x="29" y="267"/>
                  <a:pt x="29" y="267"/>
                  <a:pt x="29" y="267"/>
                </a:cubicBezTo>
                <a:cubicBezTo>
                  <a:pt x="29" y="267"/>
                  <a:pt x="29" y="267"/>
                  <a:pt x="29" y="267"/>
                </a:cubicBezTo>
                <a:cubicBezTo>
                  <a:pt x="28" y="267"/>
                  <a:pt x="28" y="267"/>
                  <a:pt x="28" y="267"/>
                </a:cubicBezTo>
                <a:cubicBezTo>
                  <a:pt x="25" y="265"/>
                  <a:pt x="25" y="265"/>
                  <a:pt x="25" y="265"/>
                </a:cubicBezTo>
                <a:cubicBezTo>
                  <a:pt x="25" y="264"/>
                  <a:pt x="25" y="264"/>
                  <a:pt x="25" y="264"/>
                </a:cubicBezTo>
                <a:cubicBezTo>
                  <a:pt x="24" y="264"/>
                  <a:pt x="24" y="264"/>
                  <a:pt x="24" y="264"/>
                </a:cubicBezTo>
                <a:cubicBezTo>
                  <a:pt x="23" y="263"/>
                  <a:pt x="23" y="263"/>
                  <a:pt x="23" y="263"/>
                </a:cubicBezTo>
                <a:cubicBezTo>
                  <a:pt x="22" y="263"/>
                  <a:pt x="22" y="263"/>
                  <a:pt x="22" y="263"/>
                </a:cubicBezTo>
                <a:cubicBezTo>
                  <a:pt x="22" y="264"/>
                  <a:pt x="22" y="264"/>
                  <a:pt x="22" y="264"/>
                </a:cubicBezTo>
                <a:cubicBezTo>
                  <a:pt x="23" y="265"/>
                  <a:pt x="23" y="265"/>
                  <a:pt x="23" y="265"/>
                </a:cubicBezTo>
                <a:cubicBezTo>
                  <a:pt x="23" y="266"/>
                  <a:pt x="23" y="266"/>
                  <a:pt x="23" y="266"/>
                </a:cubicBezTo>
                <a:cubicBezTo>
                  <a:pt x="25" y="267"/>
                  <a:pt x="25" y="267"/>
                  <a:pt x="25" y="267"/>
                </a:cubicBezTo>
                <a:cubicBezTo>
                  <a:pt x="25" y="268"/>
                  <a:pt x="25" y="268"/>
                  <a:pt x="25" y="268"/>
                </a:cubicBezTo>
                <a:cubicBezTo>
                  <a:pt x="27" y="269"/>
                  <a:pt x="27" y="269"/>
                  <a:pt x="27" y="269"/>
                </a:cubicBezTo>
                <a:cubicBezTo>
                  <a:pt x="27" y="269"/>
                  <a:pt x="27" y="269"/>
                  <a:pt x="27" y="269"/>
                </a:cubicBezTo>
                <a:cubicBezTo>
                  <a:pt x="26" y="270"/>
                  <a:pt x="26" y="270"/>
                  <a:pt x="26" y="270"/>
                </a:cubicBezTo>
                <a:cubicBezTo>
                  <a:pt x="26" y="271"/>
                  <a:pt x="26" y="271"/>
                  <a:pt x="26" y="271"/>
                </a:cubicBezTo>
                <a:cubicBezTo>
                  <a:pt x="26" y="271"/>
                  <a:pt x="26" y="271"/>
                  <a:pt x="26" y="271"/>
                </a:cubicBezTo>
                <a:cubicBezTo>
                  <a:pt x="28" y="270"/>
                  <a:pt x="28" y="270"/>
                  <a:pt x="28" y="270"/>
                </a:cubicBezTo>
                <a:cubicBezTo>
                  <a:pt x="29" y="270"/>
                  <a:pt x="29" y="270"/>
                  <a:pt x="29" y="270"/>
                </a:cubicBezTo>
                <a:cubicBezTo>
                  <a:pt x="30" y="270"/>
                  <a:pt x="30" y="270"/>
                  <a:pt x="30" y="270"/>
                </a:cubicBezTo>
                <a:cubicBezTo>
                  <a:pt x="29" y="271"/>
                  <a:pt x="29" y="271"/>
                  <a:pt x="29" y="271"/>
                </a:cubicBezTo>
                <a:cubicBezTo>
                  <a:pt x="29" y="271"/>
                  <a:pt x="29" y="271"/>
                  <a:pt x="29" y="271"/>
                </a:cubicBezTo>
                <a:cubicBezTo>
                  <a:pt x="30" y="271"/>
                  <a:pt x="30" y="271"/>
                  <a:pt x="30" y="271"/>
                </a:cubicBezTo>
                <a:cubicBezTo>
                  <a:pt x="30" y="272"/>
                  <a:pt x="30" y="272"/>
                  <a:pt x="30" y="272"/>
                </a:cubicBezTo>
                <a:cubicBezTo>
                  <a:pt x="29" y="272"/>
                  <a:pt x="29" y="272"/>
                  <a:pt x="29" y="272"/>
                </a:cubicBezTo>
                <a:cubicBezTo>
                  <a:pt x="28" y="273"/>
                  <a:pt x="28" y="273"/>
                  <a:pt x="28" y="273"/>
                </a:cubicBezTo>
                <a:cubicBezTo>
                  <a:pt x="30" y="273"/>
                  <a:pt x="30" y="273"/>
                  <a:pt x="30" y="273"/>
                </a:cubicBezTo>
                <a:cubicBezTo>
                  <a:pt x="30" y="273"/>
                  <a:pt x="30" y="273"/>
                  <a:pt x="30" y="273"/>
                </a:cubicBezTo>
                <a:cubicBezTo>
                  <a:pt x="31" y="273"/>
                  <a:pt x="31" y="273"/>
                  <a:pt x="31" y="273"/>
                </a:cubicBezTo>
                <a:cubicBezTo>
                  <a:pt x="32" y="274"/>
                  <a:pt x="32" y="274"/>
                  <a:pt x="32" y="274"/>
                </a:cubicBezTo>
                <a:cubicBezTo>
                  <a:pt x="32" y="273"/>
                  <a:pt x="32" y="273"/>
                  <a:pt x="32" y="273"/>
                </a:cubicBezTo>
                <a:cubicBezTo>
                  <a:pt x="35" y="274"/>
                  <a:pt x="35" y="274"/>
                  <a:pt x="35" y="274"/>
                </a:cubicBezTo>
                <a:cubicBezTo>
                  <a:pt x="37" y="276"/>
                  <a:pt x="37" y="276"/>
                  <a:pt x="37" y="276"/>
                </a:cubicBezTo>
                <a:cubicBezTo>
                  <a:pt x="37" y="276"/>
                  <a:pt x="37" y="276"/>
                  <a:pt x="37" y="276"/>
                </a:cubicBezTo>
                <a:cubicBezTo>
                  <a:pt x="37" y="277"/>
                  <a:pt x="37" y="277"/>
                  <a:pt x="37" y="277"/>
                </a:cubicBezTo>
                <a:cubicBezTo>
                  <a:pt x="37" y="278"/>
                  <a:pt x="37" y="278"/>
                  <a:pt x="37" y="278"/>
                </a:cubicBezTo>
                <a:cubicBezTo>
                  <a:pt x="37" y="278"/>
                  <a:pt x="37" y="278"/>
                  <a:pt x="37" y="278"/>
                </a:cubicBezTo>
                <a:cubicBezTo>
                  <a:pt x="37" y="279"/>
                  <a:pt x="37" y="279"/>
                  <a:pt x="37" y="279"/>
                </a:cubicBezTo>
                <a:cubicBezTo>
                  <a:pt x="37" y="281"/>
                  <a:pt x="37" y="281"/>
                  <a:pt x="37" y="281"/>
                </a:cubicBezTo>
                <a:cubicBezTo>
                  <a:pt x="36" y="282"/>
                  <a:pt x="36" y="282"/>
                  <a:pt x="36" y="282"/>
                </a:cubicBezTo>
                <a:cubicBezTo>
                  <a:pt x="36" y="283"/>
                  <a:pt x="36" y="283"/>
                  <a:pt x="36" y="283"/>
                </a:cubicBezTo>
                <a:cubicBezTo>
                  <a:pt x="37" y="283"/>
                  <a:pt x="37" y="283"/>
                  <a:pt x="37" y="283"/>
                </a:cubicBezTo>
                <a:cubicBezTo>
                  <a:pt x="37" y="284"/>
                  <a:pt x="37" y="284"/>
                  <a:pt x="37" y="284"/>
                </a:cubicBezTo>
                <a:cubicBezTo>
                  <a:pt x="39" y="286"/>
                  <a:pt x="39" y="286"/>
                  <a:pt x="39" y="286"/>
                </a:cubicBezTo>
                <a:cubicBezTo>
                  <a:pt x="39" y="287"/>
                  <a:pt x="39" y="287"/>
                  <a:pt x="39" y="287"/>
                </a:cubicBezTo>
                <a:cubicBezTo>
                  <a:pt x="40" y="288"/>
                  <a:pt x="40" y="288"/>
                  <a:pt x="40" y="288"/>
                </a:cubicBezTo>
                <a:cubicBezTo>
                  <a:pt x="40" y="289"/>
                  <a:pt x="40" y="289"/>
                  <a:pt x="40" y="289"/>
                </a:cubicBezTo>
                <a:cubicBezTo>
                  <a:pt x="40" y="291"/>
                  <a:pt x="40" y="291"/>
                  <a:pt x="40" y="291"/>
                </a:cubicBezTo>
                <a:cubicBezTo>
                  <a:pt x="40" y="292"/>
                  <a:pt x="40" y="292"/>
                  <a:pt x="40" y="292"/>
                </a:cubicBezTo>
                <a:cubicBezTo>
                  <a:pt x="40" y="292"/>
                  <a:pt x="40" y="292"/>
                  <a:pt x="40" y="292"/>
                </a:cubicBezTo>
                <a:cubicBezTo>
                  <a:pt x="41" y="293"/>
                  <a:pt x="41" y="293"/>
                  <a:pt x="41" y="293"/>
                </a:cubicBezTo>
                <a:cubicBezTo>
                  <a:pt x="43" y="294"/>
                  <a:pt x="43" y="294"/>
                  <a:pt x="43" y="294"/>
                </a:cubicBezTo>
                <a:cubicBezTo>
                  <a:pt x="44" y="293"/>
                  <a:pt x="44" y="293"/>
                  <a:pt x="44" y="293"/>
                </a:cubicBezTo>
                <a:cubicBezTo>
                  <a:pt x="45" y="293"/>
                  <a:pt x="45" y="293"/>
                  <a:pt x="45" y="293"/>
                </a:cubicBezTo>
                <a:cubicBezTo>
                  <a:pt x="46" y="295"/>
                  <a:pt x="46" y="295"/>
                  <a:pt x="46" y="295"/>
                </a:cubicBezTo>
                <a:cubicBezTo>
                  <a:pt x="47" y="295"/>
                  <a:pt x="47" y="295"/>
                  <a:pt x="47" y="295"/>
                </a:cubicBezTo>
                <a:cubicBezTo>
                  <a:pt x="47" y="297"/>
                  <a:pt x="47" y="297"/>
                  <a:pt x="47" y="297"/>
                </a:cubicBezTo>
                <a:cubicBezTo>
                  <a:pt x="48" y="297"/>
                  <a:pt x="48" y="297"/>
                  <a:pt x="48" y="297"/>
                </a:cubicBezTo>
                <a:cubicBezTo>
                  <a:pt x="50" y="297"/>
                  <a:pt x="50" y="297"/>
                  <a:pt x="50" y="297"/>
                </a:cubicBezTo>
                <a:cubicBezTo>
                  <a:pt x="50" y="298"/>
                  <a:pt x="50" y="298"/>
                  <a:pt x="50" y="298"/>
                </a:cubicBezTo>
                <a:cubicBezTo>
                  <a:pt x="52" y="298"/>
                  <a:pt x="52" y="298"/>
                  <a:pt x="52" y="298"/>
                </a:cubicBezTo>
                <a:cubicBezTo>
                  <a:pt x="53" y="299"/>
                  <a:pt x="53" y="299"/>
                  <a:pt x="53" y="299"/>
                </a:cubicBezTo>
                <a:cubicBezTo>
                  <a:pt x="54" y="299"/>
                  <a:pt x="54" y="299"/>
                  <a:pt x="54" y="299"/>
                </a:cubicBezTo>
                <a:cubicBezTo>
                  <a:pt x="55" y="298"/>
                  <a:pt x="55" y="298"/>
                  <a:pt x="55" y="298"/>
                </a:cubicBezTo>
                <a:cubicBezTo>
                  <a:pt x="56" y="297"/>
                  <a:pt x="56" y="297"/>
                  <a:pt x="56" y="297"/>
                </a:cubicBezTo>
                <a:cubicBezTo>
                  <a:pt x="57" y="297"/>
                  <a:pt x="57" y="297"/>
                  <a:pt x="57" y="297"/>
                </a:cubicBezTo>
                <a:cubicBezTo>
                  <a:pt x="57" y="295"/>
                  <a:pt x="57" y="295"/>
                  <a:pt x="57" y="295"/>
                </a:cubicBezTo>
                <a:cubicBezTo>
                  <a:pt x="56" y="294"/>
                  <a:pt x="56" y="294"/>
                  <a:pt x="56" y="294"/>
                </a:cubicBezTo>
                <a:cubicBezTo>
                  <a:pt x="57" y="294"/>
                  <a:pt x="57" y="294"/>
                  <a:pt x="57" y="294"/>
                </a:cubicBezTo>
                <a:cubicBezTo>
                  <a:pt x="57" y="293"/>
                  <a:pt x="57" y="293"/>
                  <a:pt x="57" y="293"/>
                </a:cubicBezTo>
                <a:cubicBezTo>
                  <a:pt x="55" y="293"/>
                  <a:pt x="55" y="293"/>
                  <a:pt x="55" y="293"/>
                </a:cubicBezTo>
                <a:cubicBezTo>
                  <a:pt x="55" y="292"/>
                  <a:pt x="55" y="292"/>
                  <a:pt x="55" y="292"/>
                </a:cubicBezTo>
                <a:cubicBezTo>
                  <a:pt x="54" y="292"/>
                  <a:pt x="54" y="292"/>
                  <a:pt x="54" y="292"/>
                </a:cubicBezTo>
                <a:cubicBezTo>
                  <a:pt x="53" y="292"/>
                  <a:pt x="53" y="292"/>
                  <a:pt x="53" y="292"/>
                </a:cubicBezTo>
                <a:cubicBezTo>
                  <a:pt x="52" y="293"/>
                  <a:pt x="52" y="293"/>
                  <a:pt x="52" y="293"/>
                </a:cubicBezTo>
                <a:cubicBezTo>
                  <a:pt x="51" y="292"/>
                  <a:pt x="51" y="292"/>
                  <a:pt x="51" y="292"/>
                </a:cubicBezTo>
                <a:cubicBezTo>
                  <a:pt x="50" y="291"/>
                  <a:pt x="50" y="291"/>
                  <a:pt x="50" y="291"/>
                </a:cubicBezTo>
                <a:cubicBezTo>
                  <a:pt x="48" y="290"/>
                  <a:pt x="48" y="290"/>
                  <a:pt x="48" y="290"/>
                </a:cubicBezTo>
                <a:cubicBezTo>
                  <a:pt x="48" y="289"/>
                  <a:pt x="48" y="289"/>
                  <a:pt x="48" y="289"/>
                </a:cubicBezTo>
                <a:cubicBezTo>
                  <a:pt x="47" y="287"/>
                  <a:pt x="47" y="287"/>
                  <a:pt x="47" y="287"/>
                </a:cubicBezTo>
                <a:cubicBezTo>
                  <a:pt x="48" y="287"/>
                  <a:pt x="48" y="287"/>
                  <a:pt x="48" y="287"/>
                </a:cubicBezTo>
                <a:cubicBezTo>
                  <a:pt x="49" y="286"/>
                  <a:pt x="49" y="286"/>
                  <a:pt x="49" y="286"/>
                </a:cubicBezTo>
                <a:cubicBezTo>
                  <a:pt x="48" y="285"/>
                  <a:pt x="48" y="285"/>
                  <a:pt x="48" y="285"/>
                </a:cubicBezTo>
                <a:cubicBezTo>
                  <a:pt x="49" y="285"/>
                  <a:pt x="49" y="285"/>
                  <a:pt x="49" y="285"/>
                </a:cubicBezTo>
                <a:cubicBezTo>
                  <a:pt x="48" y="284"/>
                  <a:pt x="48" y="284"/>
                  <a:pt x="48" y="284"/>
                </a:cubicBezTo>
                <a:cubicBezTo>
                  <a:pt x="48" y="283"/>
                  <a:pt x="48" y="283"/>
                  <a:pt x="48" y="283"/>
                </a:cubicBezTo>
                <a:cubicBezTo>
                  <a:pt x="50" y="283"/>
                  <a:pt x="50" y="283"/>
                  <a:pt x="50" y="283"/>
                </a:cubicBezTo>
                <a:cubicBezTo>
                  <a:pt x="51" y="284"/>
                  <a:pt x="51" y="284"/>
                  <a:pt x="51" y="284"/>
                </a:cubicBezTo>
                <a:cubicBezTo>
                  <a:pt x="53" y="284"/>
                  <a:pt x="53" y="284"/>
                  <a:pt x="53" y="284"/>
                </a:cubicBezTo>
                <a:cubicBezTo>
                  <a:pt x="54" y="286"/>
                  <a:pt x="54" y="286"/>
                  <a:pt x="54" y="286"/>
                </a:cubicBezTo>
                <a:cubicBezTo>
                  <a:pt x="55" y="287"/>
                  <a:pt x="55" y="287"/>
                  <a:pt x="55" y="287"/>
                </a:cubicBezTo>
                <a:cubicBezTo>
                  <a:pt x="57" y="287"/>
                  <a:pt x="57" y="287"/>
                  <a:pt x="57" y="287"/>
                </a:cubicBezTo>
                <a:cubicBezTo>
                  <a:pt x="58" y="288"/>
                  <a:pt x="58" y="288"/>
                  <a:pt x="58" y="288"/>
                </a:cubicBezTo>
                <a:cubicBezTo>
                  <a:pt x="59" y="288"/>
                  <a:pt x="59" y="288"/>
                  <a:pt x="59" y="288"/>
                </a:cubicBezTo>
                <a:cubicBezTo>
                  <a:pt x="63" y="290"/>
                  <a:pt x="63" y="290"/>
                  <a:pt x="63" y="290"/>
                </a:cubicBezTo>
                <a:cubicBezTo>
                  <a:pt x="65" y="291"/>
                  <a:pt x="65" y="291"/>
                  <a:pt x="65" y="291"/>
                </a:cubicBezTo>
                <a:cubicBezTo>
                  <a:pt x="65" y="290"/>
                  <a:pt x="65" y="290"/>
                  <a:pt x="65" y="290"/>
                </a:cubicBezTo>
                <a:cubicBezTo>
                  <a:pt x="66" y="289"/>
                  <a:pt x="66" y="289"/>
                  <a:pt x="66" y="289"/>
                </a:cubicBezTo>
                <a:cubicBezTo>
                  <a:pt x="66" y="288"/>
                  <a:pt x="66" y="288"/>
                  <a:pt x="66" y="288"/>
                </a:cubicBezTo>
                <a:cubicBezTo>
                  <a:pt x="67" y="288"/>
                  <a:pt x="67" y="288"/>
                  <a:pt x="67" y="288"/>
                </a:cubicBezTo>
                <a:cubicBezTo>
                  <a:pt x="68" y="287"/>
                  <a:pt x="68" y="287"/>
                  <a:pt x="68" y="287"/>
                </a:cubicBezTo>
                <a:cubicBezTo>
                  <a:pt x="67" y="284"/>
                  <a:pt x="67" y="284"/>
                  <a:pt x="67" y="284"/>
                </a:cubicBezTo>
                <a:cubicBezTo>
                  <a:pt x="64" y="281"/>
                  <a:pt x="64" y="281"/>
                  <a:pt x="64" y="281"/>
                </a:cubicBezTo>
                <a:cubicBezTo>
                  <a:pt x="63" y="280"/>
                  <a:pt x="63" y="280"/>
                  <a:pt x="63" y="280"/>
                </a:cubicBezTo>
                <a:cubicBezTo>
                  <a:pt x="63" y="278"/>
                  <a:pt x="63" y="278"/>
                  <a:pt x="63" y="278"/>
                </a:cubicBezTo>
                <a:cubicBezTo>
                  <a:pt x="65" y="277"/>
                  <a:pt x="65" y="277"/>
                  <a:pt x="65" y="277"/>
                </a:cubicBezTo>
                <a:cubicBezTo>
                  <a:pt x="66" y="275"/>
                  <a:pt x="66" y="275"/>
                  <a:pt x="66" y="275"/>
                </a:cubicBezTo>
                <a:cubicBezTo>
                  <a:pt x="67" y="274"/>
                  <a:pt x="67" y="274"/>
                  <a:pt x="67" y="274"/>
                </a:cubicBezTo>
                <a:cubicBezTo>
                  <a:pt x="68" y="273"/>
                  <a:pt x="68" y="273"/>
                  <a:pt x="68" y="273"/>
                </a:cubicBezTo>
                <a:cubicBezTo>
                  <a:pt x="69" y="272"/>
                  <a:pt x="69" y="272"/>
                  <a:pt x="69" y="272"/>
                </a:cubicBezTo>
                <a:cubicBezTo>
                  <a:pt x="71" y="271"/>
                  <a:pt x="71" y="271"/>
                  <a:pt x="71" y="271"/>
                </a:cubicBezTo>
                <a:cubicBezTo>
                  <a:pt x="73" y="268"/>
                  <a:pt x="73" y="268"/>
                  <a:pt x="73" y="268"/>
                </a:cubicBezTo>
                <a:cubicBezTo>
                  <a:pt x="74" y="267"/>
                  <a:pt x="74" y="267"/>
                  <a:pt x="74" y="267"/>
                </a:cubicBezTo>
                <a:cubicBezTo>
                  <a:pt x="75" y="267"/>
                  <a:pt x="75" y="267"/>
                  <a:pt x="75" y="267"/>
                </a:cubicBezTo>
                <a:cubicBezTo>
                  <a:pt x="76" y="268"/>
                  <a:pt x="76" y="268"/>
                  <a:pt x="76" y="268"/>
                </a:cubicBezTo>
                <a:cubicBezTo>
                  <a:pt x="78" y="268"/>
                  <a:pt x="78" y="268"/>
                  <a:pt x="78" y="268"/>
                </a:cubicBezTo>
                <a:cubicBezTo>
                  <a:pt x="80" y="268"/>
                  <a:pt x="80" y="268"/>
                  <a:pt x="80" y="268"/>
                </a:cubicBezTo>
                <a:cubicBezTo>
                  <a:pt x="81" y="269"/>
                  <a:pt x="81" y="269"/>
                  <a:pt x="81" y="269"/>
                </a:cubicBezTo>
                <a:cubicBezTo>
                  <a:pt x="81" y="270"/>
                  <a:pt x="81" y="270"/>
                  <a:pt x="81" y="270"/>
                </a:cubicBezTo>
                <a:cubicBezTo>
                  <a:pt x="82" y="269"/>
                  <a:pt x="82" y="269"/>
                  <a:pt x="82" y="269"/>
                </a:cubicBezTo>
                <a:cubicBezTo>
                  <a:pt x="84" y="270"/>
                  <a:pt x="84" y="270"/>
                  <a:pt x="84" y="270"/>
                </a:cubicBezTo>
                <a:cubicBezTo>
                  <a:pt x="84" y="272"/>
                  <a:pt x="84" y="272"/>
                  <a:pt x="84" y="272"/>
                </a:cubicBezTo>
                <a:cubicBezTo>
                  <a:pt x="85" y="272"/>
                  <a:pt x="85" y="272"/>
                  <a:pt x="85" y="272"/>
                </a:cubicBezTo>
                <a:cubicBezTo>
                  <a:pt x="85" y="270"/>
                  <a:pt x="85" y="270"/>
                  <a:pt x="85" y="270"/>
                </a:cubicBezTo>
                <a:cubicBezTo>
                  <a:pt x="84" y="269"/>
                  <a:pt x="84" y="269"/>
                  <a:pt x="84" y="269"/>
                </a:cubicBezTo>
                <a:cubicBezTo>
                  <a:pt x="85" y="268"/>
                  <a:pt x="85" y="268"/>
                  <a:pt x="85" y="268"/>
                </a:cubicBezTo>
                <a:cubicBezTo>
                  <a:pt x="85" y="265"/>
                  <a:pt x="85" y="265"/>
                  <a:pt x="85" y="265"/>
                </a:cubicBezTo>
                <a:cubicBezTo>
                  <a:pt x="85" y="264"/>
                  <a:pt x="85" y="264"/>
                  <a:pt x="85" y="264"/>
                </a:cubicBezTo>
                <a:cubicBezTo>
                  <a:pt x="84" y="264"/>
                  <a:pt x="84" y="264"/>
                  <a:pt x="84" y="264"/>
                </a:cubicBezTo>
                <a:cubicBezTo>
                  <a:pt x="84" y="263"/>
                  <a:pt x="84" y="263"/>
                  <a:pt x="84" y="263"/>
                </a:cubicBezTo>
                <a:cubicBezTo>
                  <a:pt x="85" y="262"/>
                  <a:pt x="85" y="262"/>
                  <a:pt x="85" y="262"/>
                </a:cubicBezTo>
                <a:cubicBezTo>
                  <a:pt x="84" y="261"/>
                  <a:pt x="84" y="261"/>
                  <a:pt x="84" y="261"/>
                </a:cubicBezTo>
                <a:cubicBezTo>
                  <a:pt x="85" y="261"/>
                  <a:pt x="85" y="261"/>
                  <a:pt x="85" y="261"/>
                </a:cubicBezTo>
                <a:cubicBezTo>
                  <a:pt x="84" y="260"/>
                  <a:pt x="84" y="260"/>
                  <a:pt x="84" y="260"/>
                </a:cubicBezTo>
                <a:cubicBezTo>
                  <a:pt x="82" y="259"/>
                  <a:pt x="82" y="259"/>
                  <a:pt x="82" y="259"/>
                </a:cubicBezTo>
                <a:cubicBezTo>
                  <a:pt x="80" y="259"/>
                  <a:pt x="80" y="259"/>
                  <a:pt x="80" y="259"/>
                </a:cubicBezTo>
                <a:cubicBezTo>
                  <a:pt x="80" y="257"/>
                  <a:pt x="80" y="257"/>
                  <a:pt x="80" y="257"/>
                </a:cubicBezTo>
                <a:cubicBezTo>
                  <a:pt x="80" y="256"/>
                  <a:pt x="80" y="256"/>
                  <a:pt x="80" y="256"/>
                </a:cubicBezTo>
                <a:cubicBezTo>
                  <a:pt x="80" y="253"/>
                  <a:pt x="80" y="253"/>
                  <a:pt x="80" y="253"/>
                </a:cubicBezTo>
                <a:cubicBezTo>
                  <a:pt x="81" y="253"/>
                  <a:pt x="81" y="253"/>
                  <a:pt x="81" y="253"/>
                </a:cubicBezTo>
                <a:cubicBezTo>
                  <a:pt x="81" y="252"/>
                  <a:pt x="81" y="252"/>
                  <a:pt x="81" y="252"/>
                </a:cubicBezTo>
                <a:cubicBezTo>
                  <a:pt x="81" y="251"/>
                  <a:pt x="81" y="251"/>
                  <a:pt x="81" y="251"/>
                </a:cubicBezTo>
                <a:cubicBezTo>
                  <a:pt x="81" y="250"/>
                  <a:pt x="81" y="250"/>
                  <a:pt x="81" y="250"/>
                </a:cubicBezTo>
                <a:cubicBezTo>
                  <a:pt x="80" y="249"/>
                  <a:pt x="80" y="249"/>
                  <a:pt x="80" y="249"/>
                </a:cubicBezTo>
                <a:cubicBezTo>
                  <a:pt x="80" y="248"/>
                  <a:pt x="80" y="248"/>
                  <a:pt x="80" y="248"/>
                </a:cubicBezTo>
                <a:cubicBezTo>
                  <a:pt x="80" y="245"/>
                  <a:pt x="80" y="245"/>
                  <a:pt x="80" y="245"/>
                </a:cubicBezTo>
                <a:cubicBezTo>
                  <a:pt x="78" y="244"/>
                  <a:pt x="78" y="244"/>
                  <a:pt x="78" y="244"/>
                </a:cubicBezTo>
                <a:cubicBezTo>
                  <a:pt x="75" y="241"/>
                  <a:pt x="75" y="241"/>
                  <a:pt x="75" y="241"/>
                </a:cubicBezTo>
                <a:cubicBezTo>
                  <a:pt x="75" y="241"/>
                  <a:pt x="75" y="241"/>
                  <a:pt x="75" y="241"/>
                </a:cubicBezTo>
                <a:cubicBezTo>
                  <a:pt x="76" y="241"/>
                  <a:pt x="76" y="241"/>
                  <a:pt x="76" y="241"/>
                </a:cubicBezTo>
                <a:cubicBezTo>
                  <a:pt x="79" y="242"/>
                  <a:pt x="79" y="242"/>
                  <a:pt x="79" y="242"/>
                </a:cubicBezTo>
                <a:cubicBezTo>
                  <a:pt x="80" y="242"/>
                  <a:pt x="80" y="242"/>
                  <a:pt x="80" y="242"/>
                </a:cubicBezTo>
                <a:cubicBezTo>
                  <a:pt x="81" y="242"/>
                  <a:pt x="81" y="242"/>
                  <a:pt x="81" y="242"/>
                </a:cubicBezTo>
                <a:cubicBezTo>
                  <a:pt x="83" y="242"/>
                  <a:pt x="83" y="242"/>
                  <a:pt x="83" y="242"/>
                </a:cubicBezTo>
                <a:cubicBezTo>
                  <a:pt x="87" y="242"/>
                  <a:pt x="87" y="242"/>
                  <a:pt x="87" y="242"/>
                </a:cubicBezTo>
                <a:cubicBezTo>
                  <a:pt x="88" y="243"/>
                  <a:pt x="88" y="243"/>
                  <a:pt x="88" y="243"/>
                </a:cubicBezTo>
                <a:cubicBezTo>
                  <a:pt x="88" y="244"/>
                  <a:pt x="88" y="244"/>
                  <a:pt x="88" y="244"/>
                </a:cubicBezTo>
                <a:cubicBezTo>
                  <a:pt x="90" y="246"/>
                  <a:pt x="90" y="246"/>
                  <a:pt x="90" y="246"/>
                </a:cubicBezTo>
                <a:cubicBezTo>
                  <a:pt x="91" y="246"/>
                  <a:pt x="91" y="246"/>
                  <a:pt x="91" y="246"/>
                </a:cubicBezTo>
                <a:cubicBezTo>
                  <a:pt x="91" y="247"/>
                  <a:pt x="91" y="247"/>
                  <a:pt x="91" y="247"/>
                </a:cubicBezTo>
                <a:cubicBezTo>
                  <a:pt x="93" y="249"/>
                  <a:pt x="93" y="249"/>
                  <a:pt x="93" y="249"/>
                </a:cubicBezTo>
                <a:cubicBezTo>
                  <a:pt x="93" y="250"/>
                  <a:pt x="93" y="250"/>
                  <a:pt x="93" y="250"/>
                </a:cubicBezTo>
                <a:cubicBezTo>
                  <a:pt x="91" y="250"/>
                  <a:pt x="91" y="250"/>
                  <a:pt x="91" y="250"/>
                </a:cubicBezTo>
                <a:cubicBezTo>
                  <a:pt x="90" y="251"/>
                  <a:pt x="90" y="251"/>
                  <a:pt x="90" y="251"/>
                </a:cubicBezTo>
                <a:cubicBezTo>
                  <a:pt x="88" y="251"/>
                  <a:pt x="88" y="251"/>
                  <a:pt x="88" y="251"/>
                </a:cubicBezTo>
                <a:cubicBezTo>
                  <a:pt x="87" y="252"/>
                  <a:pt x="87" y="252"/>
                  <a:pt x="87" y="252"/>
                </a:cubicBezTo>
                <a:cubicBezTo>
                  <a:pt x="88" y="252"/>
                  <a:pt x="88" y="252"/>
                  <a:pt x="88" y="252"/>
                </a:cubicBezTo>
                <a:cubicBezTo>
                  <a:pt x="87" y="253"/>
                  <a:pt x="87" y="253"/>
                  <a:pt x="87" y="253"/>
                </a:cubicBezTo>
                <a:cubicBezTo>
                  <a:pt x="86" y="253"/>
                  <a:pt x="86" y="253"/>
                  <a:pt x="86" y="253"/>
                </a:cubicBezTo>
                <a:cubicBezTo>
                  <a:pt x="86" y="254"/>
                  <a:pt x="86" y="254"/>
                  <a:pt x="86" y="254"/>
                </a:cubicBezTo>
                <a:cubicBezTo>
                  <a:pt x="86" y="255"/>
                  <a:pt x="86" y="255"/>
                  <a:pt x="86" y="255"/>
                </a:cubicBezTo>
                <a:cubicBezTo>
                  <a:pt x="87" y="256"/>
                  <a:pt x="87" y="256"/>
                  <a:pt x="87" y="256"/>
                </a:cubicBezTo>
                <a:cubicBezTo>
                  <a:pt x="90" y="258"/>
                  <a:pt x="90" y="258"/>
                  <a:pt x="90" y="258"/>
                </a:cubicBezTo>
                <a:cubicBezTo>
                  <a:pt x="92" y="261"/>
                  <a:pt x="92" y="261"/>
                  <a:pt x="92" y="261"/>
                </a:cubicBezTo>
                <a:cubicBezTo>
                  <a:pt x="93" y="261"/>
                  <a:pt x="93" y="261"/>
                  <a:pt x="93" y="261"/>
                </a:cubicBezTo>
                <a:cubicBezTo>
                  <a:pt x="95" y="260"/>
                  <a:pt x="95" y="260"/>
                  <a:pt x="95" y="260"/>
                </a:cubicBezTo>
                <a:cubicBezTo>
                  <a:pt x="96" y="262"/>
                  <a:pt x="96" y="262"/>
                  <a:pt x="96" y="262"/>
                </a:cubicBezTo>
                <a:cubicBezTo>
                  <a:pt x="96" y="261"/>
                  <a:pt x="96" y="261"/>
                  <a:pt x="96" y="261"/>
                </a:cubicBezTo>
                <a:cubicBezTo>
                  <a:pt x="98" y="261"/>
                  <a:pt x="98" y="261"/>
                  <a:pt x="98" y="261"/>
                </a:cubicBezTo>
                <a:cubicBezTo>
                  <a:pt x="98" y="260"/>
                  <a:pt x="98" y="260"/>
                  <a:pt x="98" y="260"/>
                </a:cubicBezTo>
                <a:cubicBezTo>
                  <a:pt x="100" y="259"/>
                  <a:pt x="100" y="259"/>
                  <a:pt x="100" y="259"/>
                </a:cubicBezTo>
                <a:cubicBezTo>
                  <a:pt x="101" y="258"/>
                  <a:pt x="101" y="258"/>
                  <a:pt x="101" y="258"/>
                </a:cubicBezTo>
                <a:cubicBezTo>
                  <a:pt x="100" y="256"/>
                  <a:pt x="100" y="256"/>
                  <a:pt x="100" y="256"/>
                </a:cubicBezTo>
                <a:cubicBezTo>
                  <a:pt x="101" y="254"/>
                  <a:pt x="101" y="254"/>
                  <a:pt x="101" y="254"/>
                </a:cubicBezTo>
                <a:cubicBezTo>
                  <a:pt x="101" y="253"/>
                  <a:pt x="101" y="253"/>
                  <a:pt x="101" y="253"/>
                </a:cubicBezTo>
                <a:cubicBezTo>
                  <a:pt x="100" y="252"/>
                  <a:pt x="100" y="252"/>
                  <a:pt x="100" y="252"/>
                </a:cubicBezTo>
                <a:cubicBezTo>
                  <a:pt x="100" y="252"/>
                  <a:pt x="100" y="252"/>
                  <a:pt x="100" y="252"/>
                </a:cubicBezTo>
                <a:cubicBezTo>
                  <a:pt x="104" y="251"/>
                  <a:pt x="104" y="251"/>
                  <a:pt x="104" y="251"/>
                </a:cubicBezTo>
                <a:cubicBezTo>
                  <a:pt x="104" y="251"/>
                  <a:pt x="104" y="251"/>
                  <a:pt x="104" y="251"/>
                </a:cubicBezTo>
                <a:cubicBezTo>
                  <a:pt x="106" y="251"/>
                  <a:pt x="106" y="251"/>
                  <a:pt x="106" y="251"/>
                </a:cubicBezTo>
                <a:cubicBezTo>
                  <a:pt x="106" y="250"/>
                  <a:pt x="106" y="250"/>
                  <a:pt x="106" y="250"/>
                </a:cubicBezTo>
                <a:cubicBezTo>
                  <a:pt x="104" y="249"/>
                  <a:pt x="104" y="249"/>
                  <a:pt x="104" y="249"/>
                </a:cubicBezTo>
                <a:cubicBezTo>
                  <a:pt x="104" y="248"/>
                  <a:pt x="104" y="248"/>
                  <a:pt x="104" y="248"/>
                </a:cubicBezTo>
                <a:cubicBezTo>
                  <a:pt x="105" y="248"/>
                  <a:pt x="105" y="248"/>
                  <a:pt x="105" y="248"/>
                </a:cubicBezTo>
                <a:cubicBezTo>
                  <a:pt x="105" y="249"/>
                  <a:pt x="105" y="249"/>
                  <a:pt x="105" y="249"/>
                </a:cubicBezTo>
                <a:cubicBezTo>
                  <a:pt x="107" y="248"/>
                  <a:pt x="107" y="248"/>
                  <a:pt x="107" y="248"/>
                </a:cubicBezTo>
                <a:cubicBezTo>
                  <a:pt x="109" y="245"/>
                  <a:pt x="109" y="245"/>
                  <a:pt x="109" y="245"/>
                </a:cubicBezTo>
                <a:cubicBezTo>
                  <a:pt x="110" y="245"/>
                  <a:pt x="110" y="245"/>
                  <a:pt x="110" y="245"/>
                </a:cubicBezTo>
                <a:cubicBezTo>
                  <a:pt x="112" y="242"/>
                  <a:pt x="112" y="242"/>
                  <a:pt x="112" y="242"/>
                </a:cubicBezTo>
                <a:cubicBezTo>
                  <a:pt x="112" y="241"/>
                  <a:pt x="112" y="241"/>
                  <a:pt x="112" y="241"/>
                </a:cubicBezTo>
                <a:cubicBezTo>
                  <a:pt x="113" y="241"/>
                  <a:pt x="113" y="241"/>
                  <a:pt x="113" y="241"/>
                </a:cubicBezTo>
                <a:cubicBezTo>
                  <a:pt x="114" y="241"/>
                  <a:pt x="114" y="241"/>
                  <a:pt x="114" y="241"/>
                </a:cubicBezTo>
                <a:cubicBezTo>
                  <a:pt x="116" y="240"/>
                  <a:pt x="116" y="240"/>
                  <a:pt x="116" y="240"/>
                </a:cubicBezTo>
                <a:cubicBezTo>
                  <a:pt x="116" y="240"/>
                  <a:pt x="116" y="240"/>
                  <a:pt x="116" y="240"/>
                </a:cubicBezTo>
                <a:cubicBezTo>
                  <a:pt x="119" y="239"/>
                  <a:pt x="119" y="239"/>
                  <a:pt x="119" y="239"/>
                </a:cubicBezTo>
                <a:cubicBezTo>
                  <a:pt x="119" y="240"/>
                  <a:pt x="119" y="240"/>
                  <a:pt x="119" y="240"/>
                </a:cubicBezTo>
                <a:cubicBezTo>
                  <a:pt x="119" y="240"/>
                  <a:pt x="119" y="240"/>
                  <a:pt x="119" y="240"/>
                </a:cubicBezTo>
                <a:cubicBezTo>
                  <a:pt x="120" y="241"/>
                  <a:pt x="120" y="241"/>
                  <a:pt x="120" y="241"/>
                </a:cubicBezTo>
                <a:cubicBezTo>
                  <a:pt x="119" y="241"/>
                  <a:pt x="119" y="241"/>
                  <a:pt x="119" y="241"/>
                </a:cubicBezTo>
                <a:cubicBezTo>
                  <a:pt x="120" y="242"/>
                  <a:pt x="120" y="242"/>
                  <a:pt x="120" y="242"/>
                </a:cubicBezTo>
                <a:cubicBezTo>
                  <a:pt x="121" y="241"/>
                  <a:pt x="121" y="241"/>
                  <a:pt x="121" y="241"/>
                </a:cubicBezTo>
                <a:cubicBezTo>
                  <a:pt x="121" y="240"/>
                  <a:pt x="121" y="240"/>
                  <a:pt x="121" y="240"/>
                </a:cubicBezTo>
                <a:cubicBezTo>
                  <a:pt x="121" y="239"/>
                  <a:pt x="121" y="239"/>
                  <a:pt x="121" y="239"/>
                </a:cubicBezTo>
                <a:cubicBezTo>
                  <a:pt x="120" y="238"/>
                  <a:pt x="120" y="238"/>
                  <a:pt x="120" y="238"/>
                </a:cubicBezTo>
                <a:cubicBezTo>
                  <a:pt x="120" y="238"/>
                  <a:pt x="120" y="238"/>
                  <a:pt x="120" y="238"/>
                </a:cubicBezTo>
                <a:cubicBezTo>
                  <a:pt x="122" y="236"/>
                  <a:pt x="122" y="236"/>
                  <a:pt x="122" y="236"/>
                </a:cubicBezTo>
                <a:cubicBezTo>
                  <a:pt x="122" y="235"/>
                  <a:pt x="122" y="235"/>
                  <a:pt x="122" y="235"/>
                </a:cubicBezTo>
                <a:cubicBezTo>
                  <a:pt x="123" y="236"/>
                  <a:pt x="123" y="236"/>
                  <a:pt x="123" y="236"/>
                </a:cubicBezTo>
                <a:cubicBezTo>
                  <a:pt x="122" y="237"/>
                  <a:pt x="122" y="237"/>
                  <a:pt x="122" y="237"/>
                </a:cubicBezTo>
                <a:cubicBezTo>
                  <a:pt x="122" y="237"/>
                  <a:pt x="122" y="237"/>
                  <a:pt x="122" y="237"/>
                </a:cubicBezTo>
                <a:cubicBezTo>
                  <a:pt x="123" y="238"/>
                  <a:pt x="123" y="238"/>
                  <a:pt x="123" y="238"/>
                </a:cubicBezTo>
                <a:cubicBezTo>
                  <a:pt x="124" y="238"/>
                  <a:pt x="124" y="238"/>
                  <a:pt x="124" y="238"/>
                </a:cubicBezTo>
                <a:cubicBezTo>
                  <a:pt x="124" y="237"/>
                  <a:pt x="124" y="237"/>
                  <a:pt x="124" y="237"/>
                </a:cubicBezTo>
                <a:cubicBezTo>
                  <a:pt x="124" y="237"/>
                  <a:pt x="124" y="237"/>
                  <a:pt x="124" y="237"/>
                </a:cubicBezTo>
                <a:cubicBezTo>
                  <a:pt x="123" y="235"/>
                  <a:pt x="123" y="235"/>
                  <a:pt x="123" y="235"/>
                </a:cubicBezTo>
                <a:cubicBezTo>
                  <a:pt x="123" y="235"/>
                  <a:pt x="123" y="235"/>
                  <a:pt x="123" y="235"/>
                </a:cubicBezTo>
                <a:cubicBezTo>
                  <a:pt x="124" y="234"/>
                  <a:pt x="124" y="234"/>
                  <a:pt x="124" y="234"/>
                </a:cubicBezTo>
                <a:cubicBezTo>
                  <a:pt x="127" y="233"/>
                  <a:pt x="127" y="233"/>
                  <a:pt x="127" y="233"/>
                </a:cubicBezTo>
                <a:cubicBezTo>
                  <a:pt x="130" y="232"/>
                  <a:pt x="130" y="232"/>
                  <a:pt x="130" y="232"/>
                </a:cubicBezTo>
                <a:cubicBezTo>
                  <a:pt x="130" y="233"/>
                  <a:pt x="130" y="233"/>
                  <a:pt x="130" y="233"/>
                </a:cubicBezTo>
                <a:cubicBezTo>
                  <a:pt x="129" y="233"/>
                  <a:pt x="129" y="233"/>
                  <a:pt x="129" y="233"/>
                </a:cubicBezTo>
                <a:cubicBezTo>
                  <a:pt x="128" y="233"/>
                  <a:pt x="128" y="233"/>
                  <a:pt x="128" y="233"/>
                </a:cubicBezTo>
                <a:cubicBezTo>
                  <a:pt x="125" y="235"/>
                  <a:pt x="125" y="235"/>
                  <a:pt x="125" y="235"/>
                </a:cubicBezTo>
                <a:cubicBezTo>
                  <a:pt x="126" y="235"/>
                  <a:pt x="126" y="235"/>
                  <a:pt x="126" y="235"/>
                </a:cubicBezTo>
                <a:cubicBezTo>
                  <a:pt x="127" y="235"/>
                  <a:pt x="127" y="235"/>
                  <a:pt x="127" y="235"/>
                </a:cubicBezTo>
                <a:cubicBezTo>
                  <a:pt x="127" y="235"/>
                  <a:pt x="127" y="235"/>
                  <a:pt x="127" y="235"/>
                </a:cubicBezTo>
                <a:cubicBezTo>
                  <a:pt x="129" y="236"/>
                  <a:pt x="129" y="236"/>
                  <a:pt x="129" y="236"/>
                </a:cubicBezTo>
                <a:cubicBezTo>
                  <a:pt x="128" y="237"/>
                  <a:pt x="128" y="237"/>
                  <a:pt x="128" y="237"/>
                </a:cubicBezTo>
                <a:cubicBezTo>
                  <a:pt x="128" y="237"/>
                  <a:pt x="128" y="237"/>
                  <a:pt x="128" y="237"/>
                </a:cubicBezTo>
                <a:cubicBezTo>
                  <a:pt x="128" y="239"/>
                  <a:pt x="128" y="239"/>
                  <a:pt x="128" y="239"/>
                </a:cubicBezTo>
                <a:cubicBezTo>
                  <a:pt x="128" y="239"/>
                  <a:pt x="128" y="239"/>
                  <a:pt x="128" y="239"/>
                </a:cubicBezTo>
                <a:cubicBezTo>
                  <a:pt x="127" y="239"/>
                  <a:pt x="127" y="239"/>
                  <a:pt x="127" y="239"/>
                </a:cubicBezTo>
                <a:cubicBezTo>
                  <a:pt x="125" y="241"/>
                  <a:pt x="125" y="241"/>
                  <a:pt x="125" y="241"/>
                </a:cubicBezTo>
                <a:cubicBezTo>
                  <a:pt x="126" y="242"/>
                  <a:pt x="126" y="242"/>
                  <a:pt x="126" y="242"/>
                </a:cubicBezTo>
                <a:cubicBezTo>
                  <a:pt x="127" y="242"/>
                  <a:pt x="127" y="242"/>
                  <a:pt x="127" y="242"/>
                </a:cubicBezTo>
                <a:cubicBezTo>
                  <a:pt x="128" y="242"/>
                  <a:pt x="128" y="242"/>
                  <a:pt x="128" y="242"/>
                </a:cubicBezTo>
                <a:cubicBezTo>
                  <a:pt x="128" y="242"/>
                  <a:pt x="128" y="242"/>
                  <a:pt x="128" y="242"/>
                </a:cubicBezTo>
                <a:cubicBezTo>
                  <a:pt x="129" y="241"/>
                  <a:pt x="129" y="241"/>
                  <a:pt x="129" y="241"/>
                </a:cubicBezTo>
                <a:cubicBezTo>
                  <a:pt x="131" y="242"/>
                  <a:pt x="131" y="242"/>
                  <a:pt x="131" y="242"/>
                </a:cubicBezTo>
                <a:cubicBezTo>
                  <a:pt x="131" y="243"/>
                  <a:pt x="131" y="243"/>
                  <a:pt x="131" y="243"/>
                </a:cubicBezTo>
                <a:cubicBezTo>
                  <a:pt x="131" y="242"/>
                  <a:pt x="131" y="242"/>
                  <a:pt x="131" y="242"/>
                </a:cubicBezTo>
                <a:cubicBezTo>
                  <a:pt x="132" y="240"/>
                  <a:pt x="132" y="240"/>
                  <a:pt x="132" y="240"/>
                </a:cubicBezTo>
                <a:cubicBezTo>
                  <a:pt x="133" y="240"/>
                  <a:pt x="133" y="240"/>
                  <a:pt x="133" y="240"/>
                </a:cubicBezTo>
                <a:cubicBezTo>
                  <a:pt x="134" y="241"/>
                  <a:pt x="134" y="241"/>
                  <a:pt x="134" y="241"/>
                </a:cubicBezTo>
                <a:cubicBezTo>
                  <a:pt x="135" y="242"/>
                  <a:pt x="135" y="242"/>
                  <a:pt x="135" y="242"/>
                </a:cubicBezTo>
                <a:cubicBezTo>
                  <a:pt x="135" y="241"/>
                  <a:pt x="135" y="241"/>
                  <a:pt x="135" y="241"/>
                </a:cubicBezTo>
                <a:cubicBezTo>
                  <a:pt x="135" y="240"/>
                  <a:pt x="135" y="240"/>
                  <a:pt x="135" y="240"/>
                </a:cubicBezTo>
                <a:cubicBezTo>
                  <a:pt x="135" y="240"/>
                  <a:pt x="135" y="240"/>
                  <a:pt x="135" y="240"/>
                </a:cubicBezTo>
                <a:cubicBezTo>
                  <a:pt x="134" y="239"/>
                  <a:pt x="134" y="239"/>
                  <a:pt x="134" y="239"/>
                </a:cubicBezTo>
                <a:cubicBezTo>
                  <a:pt x="134" y="238"/>
                  <a:pt x="134" y="238"/>
                  <a:pt x="134" y="238"/>
                </a:cubicBezTo>
                <a:cubicBezTo>
                  <a:pt x="135" y="237"/>
                  <a:pt x="135" y="237"/>
                  <a:pt x="135" y="237"/>
                </a:cubicBezTo>
                <a:cubicBezTo>
                  <a:pt x="136" y="237"/>
                  <a:pt x="136" y="237"/>
                  <a:pt x="136" y="237"/>
                </a:cubicBezTo>
                <a:cubicBezTo>
                  <a:pt x="137" y="236"/>
                  <a:pt x="137" y="236"/>
                  <a:pt x="137" y="236"/>
                </a:cubicBezTo>
                <a:cubicBezTo>
                  <a:pt x="138" y="235"/>
                  <a:pt x="138" y="235"/>
                  <a:pt x="138" y="235"/>
                </a:cubicBezTo>
                <a:cubicBezTo>
                  <a:pt x="139" y="236"/>
                  <a:pt x="139" y="236"/>
                  <a:pt x="139" y="236"/>
                </a:cubicBezTo>
                <a:cubicBezTo>
                  <a:pt x="140" y="236"/>
                  <a:pt x="140" y="236"/>
                  <a:pt x="140" y="236"/>
                </a:cubicBezTo>
                <a:cubicBezTo>
                  <a:pt x="141" y="236"/>
                  <a:pt x="141" y="236"/>
                  <a:pt x="141" y="236"/>
                </a:cubicBezTo>
                <a:cubicBezTo>
                  <a:pt x="142" y="236"/>
                  <a:pt x="142" y="236"/>
                  <a:pt x="142" y="236"/>
                </a:cubicBezTo>
                <a:cubicBezTo>
                  <a:pt x="144" y="236"/>
                  <a:pt x="144" y="236"/>
                  <a:pt x="144" y="236"/>
                </a:cubicBezTo>
                <a:cubicBezTo>
                  <a:pt x="145" y="235"/>
                  <a:pt x="145" y="235"/>
                  <a:pt x="145" y="235"/>
                </a:cubicBezTo>
                <a:cubicBezTo>
                  <a:pt x="145" y="234"/>
                  <a:pt x="145" y="234"/>
                  <a:pt x="145" y="234"/>
                </a:cubicBezTo>
                <a:cubicBezTo>
                  <a:pt x="146" y="234"/>
                  <a:pt x="146" y="234"/>
                  <a:pt x="146" y="234"/>
                </a:cubicBezTo>
                <a:cubicBezTo>
                  <a:pt x="147" y="234"/>
                  <a:pt x="147" y="234"/>
                  <a:pt x="147" y="234"/>
                </a:cubicBezTo>
                <a:cubicBezTo>
                  <a:pt x="148" y="233"/>
                  <a:pt x="148" y="233"/>
                  <a:pt x="148" y="233"/>
                </a:cubicBezTo>
                <a:cubicBezTo>
                  <a:pt x="149" y="232"/>
                  <a:pt x="149" y="232"/>
                  <a:pt x="149" y="232"/>
                </a:cubicBezTo>
                <a:cubicBezTo>
                  <a:pt x="150" y="232"/>
                  <a:pt x="150" y="232"/>
                  <a:pt x="150" y="232"/>
                </a:cubicBezTo>
                <a:cubicBezTo>
                  <a:pt x="151" y="230"/>
                  <a:pt x="151" y="230"/>
                  <a:pt x="151" y="230"/>
                </a:cubicBezTo>
                <a:cubicBezTo>
                  <a:pt x="152" y="230"/>
                  <a:pt x="152" y="230"/>
                  <a:pt x="152" y="230"/>
                </a:cubicBezTo>
                <a:cubicBezTo>
                  <a:pt x="153" y="229"/>
                  <a:pt x="153" y="229"/>
                  <a:pt x="153" y="229"/>
                </a:cubicBezTo>
                <a:cubicBezTo>
                  <a:pt x="153" y="230"/>
                  <a:pt x="153" y="230"/>
                  <a:pt x="153" y="230"/>
                </a:cubicBezTo>
                <a:cubicBezTo>
                  <a:pt x="152" y="231"/>
                  <a:pt x="152" y="231"/>
                  <a:pt x="152" y="231"/>
                </a:cubicBezTo>
                <a:cubicBezTo>
                  <a:pt x="153" y="231"/>
                  <a:pt x="153" y="231"/>
                  <a:pt x="153" y="231"/>
                </a:cubicBezTo>
                <a:cubicBezTo>
                  <a:pt x="154" y="233"/>
                  <a:pt x="154" y="233"/>
                  <a:pt x="154" y="233"/>
                </a:cubicBezTo>
                <a:cubicBezTo>
                  <a:pt x="155" y="233"/>
                  <a:pt x="155" y="233"/>
                  <a:pt x="155" y="233"/>
                </a:cubicBezTo>
                <a:cubicBezTo>
                  <a:pt x="154" y="234"/>
                  <a:pt x="154" y="234"/>
                  <a:pt x="154" y="234"/>
                </a:cubicBezTo>
                <a:cubicBezTo>
                  <a:pt x="154" y="235"/>
                  <a:pt x="154" y="235"/>
                  <a:pt x="154" y="235"/>
                </a:cubicBezTo>
                <a:cubicBezTo>
                  <a:pt x="154" y="236"/>
                  <a:pt x="154" y="236"/>
                  <a:pt x="154" y="236"/>
                </a:cubicBezTo>
                <a:cubicBezTo>
                  <a:pt x="155" y="237"/>
                  <a:pt x="155" y="237"/>
                  <a:pt x="155" y="237"/>
                </a:cubicBezTo>
                <a:cubicBezTo>
                  <a:pt x="158" y="237"/>
                  <a:pt x="158" y="237"/>
                  <a:pt x="158" y="237"/>
                </a:cubicBezTo>
                <a:cubicBezTo>
                  <a:pt x="158" y="237"/>
                  <a:pt x="158" y="237"/>
                  <a:pt x="158" y="237"/>
                </a:cubicBezTo>
                <a:cubicBezTo>
                  <a:pt x="158" y="236"/>
                  <a:pt x="158" y="236"/>
                  <a:pt x="158" y="236"/>
                </a:cubicBezTo>
                <a:cubicBezTo>
                  <a:pt x="158" y="236"/>
                  <a:pt x="158" y="236"/>
                  <a:pt x="158" y="236"/>
                </a:cubicBezTo>
                <a:cubicBezTo>
                  <a:pt x="157" y="234"/>
                  <a:pt x="157" y="234"/>
                  <a:pt x="157" y="234"/>
                </a:cubicBezTo>
                <a:cubicBezTo>
                  <a:pt x="157" y="233"/>
                  <a:pt x="157" y="233"/>
                  <a:pt x="157" y="233"/>
                </a:cubicBezTo>
                <a:cubicBezTo>
                  <a:pt x="158" y="233"/>
                  <a:pt x="158" y="233"/>
                  <a:pt x="158" y="233"/>
                </a:cubicBezTo>
                <a:cubicBezTo>
                  <a:pt x="159" y="233"/>
                  <a:pt x="159" y="233"/>
                  <a:pt x="159" y="233"/>
                </a:cubicBezTo>
                <a:cubicBezTo>
                  <a:pt x="161" y="233"/>
                  <a:pt x="161" y="233"/>
                  <a:pt x="161" y="233"/>
                </a:cubicBezTo>
                <a:cubicBezTo>
                  <a:pt x="161" y="230"/>
                  <a:pt x="161" y="230"/>
                  <a:pt x="161" y="230"/>
                </a:cubicBezTo>
                <a:cubicBezTo>
                  <a:pt x="162" y="230"/>
                  <a:pt x="162" y="230"/>
                  <a:pt x="162" y="230"/>
                </a:cubicBezTo>
                <a:cubicBezTo>
                  <a:pt x="163" y="231"/>
                  <a:pt x="163" y="231"/>
                  <a:pt x="163" y="231"/>
                </a:cubicBezTo>
                <a:cubicBezTo>
                  <a:pt x="164" y="231"/>
                  <a:pt x="164" y="231"/>
                  <a:pt x="164" y="231"/>
                </a:cubicBezTo>
                <a:cubicBezTo>
                  <a:pt x="163" y="229"/>
                  <a:pt x="163" y="229"/>
                  <a:pt x="163" y="229"/>
                </a:cubicBezTo>
                <a:cubicBezTo>
                  <a:pt x="161" y="229"/>
                  <a:pt x="161" y="229"/>
                  <a:pt x="161" y="229"/>
                </a:cubicBezTo>
                <a:cubicBezTo>
                  <a:pt x="161" y="228"/>
                  <a:pt x="161" y="228"/>
                  <a:pt x="161" y="228"/>
                </a:cubicBezTo>
                <a:cubicBezTo>
                  <a:pt x="160" y="226"/>
                  <a:pt x="160" y="226"/>
                  <a:pt x="160" y="226"/>
                </a:cubicBezTo>
                <a:cubicBezTo>
                  <a:pt x="159" y="226"/>
                  <a:pt x="159" y="226"/>
                  <a:pt x="159" y="226"/>
                </a:cubicBezTo>
                <a:cubicBezTo>
                  <a:pt x="159" y="227"/>
                  <a:pt x="159" y="227"/>
                  <a:pt x="159" y="227"/>
                </a:cubicBezTo>
                <a:cubicBezTo>
                  <a:pt x="158" y="226"/>
                  <a:pt x="158" y="226"/>
                  <a:pt x="158" y="226"/>
                </a:cubicBezTo>
                <a:cubicBezTo>
                  <a:pt x="158" y="223"/>
                  <a:pt x="158" y="223"/>
                  <a:pt x="158" y="223"/>
                </a:cubicBezTo>
                <a:cubicBezTo>
                  <a:pt x="157" y="223"/>
                  <a:pt x="157" y="223"/>
                  <a:pt x="157" y="223"/>
                </a:cubicBezTo>
                <a:cubicBezTo>
                  <a:pt x="156" y="221"/>
                  <a:pt x="156" y="221"/>
                  <a:pt x="156" y="221"/>
                </a:cubicBezTo>
                <a:cubicBezTo>
                  <a:pt x="156" y="221"/>
                  <a:pt x="156" y="221"/>
                  <a:pt x="156" y="221"/>
                </a:cubicBezTo>
                <a:cubicBezTo>
                  <a:pt x="157" y="221"/>
                  <a:pt x="157" y="221"/>
                  <a:pt x="157" y="221"/>
                </a:cubicBezTo>
                <a:cubicBezTo>
                  <a:pt x="157" y="219"/>
                  <a:pt x="157" y="219"/>
                  <a:pt x="157" y="219"/>
                </a:cubicBezTo>
                <a:cubicBezTo>
                  <a:pt x="157" y="218"/>
                  <a:pt x="157" y="218"/>
                  <a:pt x="157" y="218"/>
                </a:cubicBezTo>
                <a:cubicBezTo>
                  <a:pt x="157" y="217"/>
                  <a:pt x="157" y="217"/>
                  <a:pt x="157" y="217"/>
                </a:cubicBezTo>
                <a:cubicBezTo>
                  <a:pt x="158" y="218"/>
                  <a:pt x="158" y="218"/>
                  <a:pt x="158" y="218"/>
                </a:cubicBezTo>
                <a:cubicBezTo>
                  <a:pt x="159" y="217"/>
                  <a:pt x="159" y="217"/>
                  <a:pt x="159" y="217"/>
                </a:cubicBezTo>
                <a:cubicBezTo>
                  <a:pt x="160" y="218"/>
                  <a:pt x="160" y="218"/>
                  <a:pt x="160" y="218"/>
                </a:cubicBezTo>
                <a:cubicBezTo>
                  <a:pt x="161" y="218"/>
                  <a:pt x="161" y="218"/>
                  <a:pt x="161" y="218"/>
                </a:cubicBezTo>
                <a:cubicBezTo>
                  <a:pt x="162" y="218"/>
                  <a:pt x="162" y="218"/>
                  <a:pt x="162" y="218"/>
                </a:cubicBezTo>
                <a:cubicBezTo>
                  <a:pt x="167" y="218"/>
                  <a:pt x="167" y="218"/>
                  <a:pt x="167" y="218"/>
                </a:cubicBezTo>
                <a:cubicBezTo>
                  <a:pt x="173" y="218"/>
                  <a:pt x="173" y="218"/>
                  <a:pt x="173" y="218"/>
                </a:cubicBezTo>
                <a:cubicBezTo>
                  <a:pt x="175" y="219"/>
                  <a:pt x="175" y="219"/>
                  <a:pt x="175" y="219"/>
                </a:cubicBezTo>
                <a:cubicBezTo>
                  <a:pt x="179" y="221"/>
                  <a:pt x="179" y="221"/>
                  <a:pt x="179" y="221"/>
                </a:cubicBezTo>
                <a:cubicBezTo>
                  <a:pt x="179" y="221"/>
                  <a:pt x="179" y="221"/>
                  <a:pt x="179" y="221"/>
                </a:cubicBezTo>
                <a:cubicBezTo>
                  <a:pt x="179" y="222"/>
                  <a:pt x="179" y="222"/>
                  <a:pt x="179" y="222"/>
                </a:cubicBezTo>
                <a:cubicBezTo>
                  <a:pt x="179" y="224"/>
                  <a:pt x="179" y="224"/>
                  <a:pt x="179" y="224"/>
                </a:cubicBezTo>
                <a:cubicBezTo>
                  <a:pt x="181" y="222"/>
                  <a:pt x="181" y="222"/>
                  <a:pt x="181" y="222"/>
                </a:cubicBezTo>
                <a:cubicBezTo>
                  <a:pt x="182" y="222"/>
                  <a:pt x="182" y="222"/>
                  <a:pt x="182" y="222"/>
                </a:cubicBezTo>
                <a:cubicBezTo>
                  <a:pt x="183" y="223"/>
                  <a:pt x="183" y="223"/>
                  <a:pt x="183" y="223"/>
                </a:cubicBezTo>
                <a:cubicBezTo>
                  <a:pt x="184" y="223"/>
                  <a:pt x="184" y="223"/>
                  <a:pt x="184" y="223"/>
                </a:cubicBezTo>
                <a:cubicBezTo>
                  <a:pt x="185" y="224"/>
                  <a:pt x="185" y="224"/>
                  <a:pt x="185" y="224"/>
                </a:cubicBezTo>
                <a:cubicBezTo>
                  <a:pt x="187" y="224"/>
                  <a:pt x="187" y="224"/>
                  <a:pt x="187" y="224"/>
                </a:cubicBezTo>
                <a:cubicBezTo>
                  <a:pt x="190" y="226"/>
                  <a:pt x="190" y="226"/>
                  <a:pt x="190" y="226"/>
                </a:cubicBezTo>
                <a:cubicBezTo>
                  <a:pt x="194" y="227"/>
                  <a:pt x="194" y="227"/>
                  <a:pt x="194" y="227"/>
                </a:cubicBezTo>
                <a:cubicBezTo>
                  <a:pt x="195" y="228"/>
                  <a:pt x="195" y="228"/>
                  <a:pt x="195" y="228"/>
                </a:cubicBezTo>
                <a:cubicBezTo>
                  <a:pt x="196" y="229"/>
                  <a:pt x="196" y="229"/>
                  <a:pt x="196" y="229"/>
                </a:cubicBezTo>
                <a:cubicBezTo>
                  <a:pt x="198" y="230"/>
                  <a:pt x="198" y="230"/>
                  <a:pt x="198" y="230"/>
                </a:cubicBezTo>
                <a:cubicBezTo>
                  <a:pt x="199" y="231"/>
                  <a:pt x="199" y="231"/>
                  <a:pt x="199" y="231"/>
                </a:cubicBezTo>
                <a:cubicBezTo>
                  <a:pt x="201" y="234"/>
                  <a:pt x="201" y="234"/>
                  <a:pt x="201" y="234"/>
                </a:cubicBezTo>
                <a:cubicBezTo>
                  <a:pt x="202" y="234"/>
                  <a:pt x="202" y="234"/>
                  <a:pt x="202" y="234"/>
                </a:cubicBezTo>
                <a:cubicBezTo>
                  <a:pt x="202" y="233"/>
                  <a:pt x="202" y="233"/>
                  <a:pt x="202" y="233"/>
                </a:cubicBezTo>
                <a:cubicBezTo>
                  <a:pt x="202" y="232"/>
                  <a:pt x="202" y="232"/>
                  <a:pt x="202" y="232"/>
                </a:cubicBezTo>
                <a:cubicBezTo>
                  <a:pt x="203" y="232"/>
                  <a:pt x="203" y="232"/>
                  <a:pt x="203" y="232"/>
                </a:cubicBezTo>
                <a:cubicBezTo>
                  <a:pt x="203" y="231"/>
                  <a:pt x="203" y="231"/>
                  <a:pt x="203" y="231"/>
                </a:cubicBezTo>
                <a:cubicBezTo>
                  <a:pt x="202" y="230"/>
                  <a:pt x="202" y="230"/>
                  <a:pt x="202" y="230"/>
                </a:cubicBezTo>
                <a:cubicBezTo>
                  <a:pt x="202" y="229"/>
                  <a:pt x="202" y="229"/>
                  <a:pt x="202" y="229"/>
                </a:cubicBezTo>
                <a:cubicBezTo>
                  <a:pt x="202" y="225"/>
                  <a:pt x="202" y="225"/>
                  <a:pt x="202" y="225"/>
                </a:cubicBezTo>
                <a:cubicBezTo>
                  <a:pt x="204" y="224"/>
                  <a:pt x="204" y="224"/>
                  <a:pt x="204" y="224"/>
                </a:cubicBezTo>
                <a:cubicBezTo>
                  <a:pt x="202" y="225"/>
                  <a:pt x="202" y="225"/>
                  <a:pt x="202" y="225"/>
                </a:cubicBezTo>
                <a:cubicBezTo>
                  <a:pt x="202" y="224"/>
                  <a:pt x="202" y="224"/>
                  <a:pt x="202" y="224"/>
                </a:cubicBezTo>
                <a:cubicBezTo>
                  <a:pt x="201" y="224"/>
                  <a:pt x="201" y="224"/>
                  <a:pt x="201" y="224"/>
                </a:cubicBezTo>
                <a:cubicBezTo>
                  <a:pt x="200" y="225"/>
                  <a:pt x="200" y="225"/>
                  <a:pt x="200" y="225"/>
                </a:cubicBezTo>
                <a:cubicBezTo>
                  <a:pt x="199" y="224"/>
                  <a:pt x="199" y="224"/>
                  <a:pt x="199" y="224"/>
                </a:cubicBezTo>
                <a:cubicBezTo>
                  <a:pt x="196" y="221"/>
                  <a:pt x="196" y="221"/>
                  <a:pt x="196" y="221"/>
                </a:cubicBezTo>
                <a:cubicBezTo>
                  <a:pt x="196" y="221"/>
                  <a:pt x="196" y="221"/>
                  <a:pt x="196" y="221"/>
                </a:cubicBezTo>
                <a:cubicBezTo>
                  <a:pt x="195" y="220"/>
                  <a:pt x="195" y="220"/>
                  <a:pt x="195" y="220"/>
                </a:cubicBezTo>
                <a:cubicBezTo>
                  <a:pt x="195" y="218"/>
                  <a:pt x="195" y="218"/>
                  <a:pt x="195" y="218"/>
                </a:cubicBezTo>
                <a:cubicBezTo>
                  <a:pt x="194" y="217"/>
                  <a:pt x="194" y="217"/>
                  <a:pt x="194" y="217"/>
                </a:cubicBezTo>
                <a:cubicBezTo>
                  <a:pt x="193" y="219"/>
                  <a:pt x="193" y="219"/>
                  <a:pt x="193" y="219"/>
                </a:cubicBezTo>
                <a:cubicBezTo>
                  <a:pt x="191" y="218"/>
                  <a:pt x="191" y="218"/>
                  <a:pt x="191" y="218"/>
                </a:cubicBezTo>
                <a:cubicBezTo>
                  <a:pt x="190" y="218"/>
                  <a:pt x="190" y="218"/>
                  <a:pt x="190" y="218"/>
                </a:cubicBezTo>
                <a:cubicBezTo>
                  <a:pt x="189" y="217"/>
                  <a:pt x="189" y="217"/>
                  <a:pt x="189" y="217"/>
                </a:cubicBezTo>
                <a:cubicBezTo>
                  <a:pt x="188" y="218"/>
                  <a:pt x="188" y="218"/>
                  <a:pt x="188" y="218"/>
                </a:cubicBezTo>
                <a:cubicBezTo>
                  <a:pt x="188" y="216"/>
                  <a:pt x="188" y="216"/>
                  <a:pt x="188" y="216"/>
                </a:cubicBezTo>
                <a:cubicBezTo>
                  <a:pt x="187" y="215"/>
                  <a:pt x="187" y="215"/>
                  <a:pt x="187" y="215"/>
                </a:cubicBezTo>
                <a:cubicBezTo>
                  <a:pt x="186" y="212"/>
                  <a:pt x="186" y="212"/>
                  <a:pt x="186" y="212"/>
                </a:cubicBezTo>
                <a:cubicBezTo>
                  <a:pt x="186" y="211"/>
                  <a:pt x="186" y="211"/>
                  <a:pt x="186" y="211"/>
                </a:cubicBezTo>
                <a:cubicBezTo>
                  <a:pt x="187" y="212"/>
                  <a:pt x="187" y="212"/>
                  <a:pt x="187" y="212"/>
                </a:cubicBezTo>
                <a:cubicBezTo>
                  <a:pt x="188" y="211"/>
                  <a:pt x="188" y="211"/>
                  <a:pt x="188" y="211"/>
                </a:cubicBezTo>
                <a:cubicBezTo>
                  <a:pt x="188" y="210"/>
                  <a:pt x="188" y="210"/>
                  <a:pt x="188" y="210"/>
                </a:cubicBezTo>
                <a:cubicBezTo>
                  <a:pt x="186" y="208"/>
                  <a:pt x="186" y="208"/>
                  <a:pt x="186" y="208"/>
                </a:cubicBezTo>
                <a:cubicBezTo>
                  <a:pt x="186" y="207"/>
                  <a:pt x="186" y="207"/>
                  <a:pt x="186" y="207"/>
                </a:cubicBezTo>
                <a:cubicBezTo>
                  <a:pt x="186" y="206"/>
                  <a:pt x="186" y="206"/>
                  <a:pt x="186" y="206"/>
                </a:cubicBezTo>
                <a:cubicBezTo>
                  <a:pt x="187" y="206"/>
                  <a:pt x="187" y="206"/>
                  <a:pt x="187" y="206"/>
                </a:cubicBezTo>
                <a:cubicBezTo>
                  <a:pt x="186" y="205"/>
                  <a:pt x="186" y="205"/>
                  <a:pt x="186" y="205"/>
                </a:cubicBezTo>
                <a:cubicBezTo>
                  <a:pt x="185" y="205"/>
                  <a:pt x="185" y="205"/>
                  <a:pt x="185" y="205"/>
                </a:cubicBezTo>
                <a:cubicBezTo>
                  <a:pt x="184" y="202"/>
                  <a:pt x="184" y="202"/>
                  <a:pt x="184" y="202"/>
                </a:cubicBezTo>
                <a:cubicBezTo>
                  <a:pt x="183" y="202"/>
                  <a:pt x="183" y="202"/>
                  <a:pt x="183" y="202"/>
                </a:cubicBezTo>
                <a:cubicBezTo>
                  <a:pt x="182" y="202"/>
                  <a:pt x="182" y="202"/>
                  <a:pt x="182" y="202"/>
                </a:cubicBezTo>
                <a:cubicBezTo>
                  <a:pt x="181" y="201"/>
                  <a:pt x="181" y="201"/>
                  <a:pt x="181" y="201"/>
                </a:cubicBezTo>
                <a:cubicBezTo>
                  <a:pt x="181" y="199"/>
                  <a:pt x="181" y="199"/>
                  <a:pt x="181" y="199"/>
                </a:cubicBezTo>
                <a:cubicBezTo>
                  <a:pt x="182" y="198"/>
                  <a:pt x="182" y="198"/>
                  <a:pt x="182" y="198"/>
                </a:cubicBezTo>
                <a:cubicBezTo>
                  <a:pt x="181" y="196"/>
                  <a:pt x="181" y="196"/>
                  <a:pt x="181" y="196"/>
                </a:cubicBezTo>
                <a:cubicBezTo>
                  <a:pt x="181" y="195"/>
                  <a:pt x="181" y="195"/>
                  <a:pt x="181" y="195"/>
                </a:cubicBezTo>
                <a:cubicBezTo>
                  <a:pt x="181" y="195"/>
                  <a:pt x="181" y="195"/>
                  <a:pt x="181" y="195"/>
                </a:cubicBezTo>
                <a:cubicBezTo>
                  <a:pt x="184" y="191"/>
                  <a:pt x="184" y="191"/>
                  <a:pt x="184" y="191"/>
                </a:cubicBezTo>
                <a:cubicBezTo>
                  <a:pt x="185" y="190"/>
                  <a:pt x="185" y="190"/>
                  <a:pt x="185" y="190"/>
                </a:cubicBezTo>
                <a:cubicBezTo>
                  <a:pt x="185" y="190"/>
                  <a:pt x="185" y="190"/>
                  <a:pt x="185" y="190"/>
                </a:cubicBezTo>
                <a:cubicBezTo>
                  <a:pt x="185" y="188"/>
                  <a:pt x="185" y="188"/>
                  <a:pt x="185" y="188"/>
                </a:cubicBezTo>
                <a:cubicBezTo>
                  <a:pt x="185" y="187"/>
                  <a:pt x="185" y="187"/>
                  <a:pt x="185" y="187"/>
                </a:cubicBezTo>
                <a:cubicBezTo>
                  <a:pt x="186" y="185"/>
                  <a:pt x="186" y="185"/>
                  <a:pt x="186" y="185"/>
                </a:cubicBezTo>
                <a:cubicBezTo>
                  <a:pt x="185" y="184"/>
                  <a:pt x="185" y="184"/>
                  <a:pt x="185" y="184"/>
                </a:cubicBezTo>
                <a:cubicBezTo>
                  <a:pt x="184" y="182"/>
                  <a:pt x="184" y="182"/>
                  <a:pt x="184" y="182"/>
                </a:cubicBezTo>
                <a:cubicBezTo>
                  <a:pt x="185" y="181"/>
                  <a:pt x="185" y="181"/>
                  <a:pt x="185" y="181"/>
                </a:cubicBezTo>
                <a:cubicBezTo>
                  <a:pt x="184" y="180"/>
                  <a:pt x="184" y="180"/>
                  <a:pt x="184" y="180"/>
                </a:cubicBezTo>
                <a:cubicBezTo>
                  <a:pt x="185" y="178"/>
                  <a:pt x="185" y="178"/>
                  <a:pt x="185" y="178"/>
                </a:cubicBezTo>
                <a:cubicBezTo>
                  <a:pt x="184" y="178"/>
                  <a:pt x="184" y="178"/>
                  <a:pt x="184" y="178"/>
                </a:cubicBezTo>
                <a:cubicBezTo>
                  <a:pt x="184" y="175"/>
                  <a:pt x="184" y="175"/>
                  <a:pt x="184" y="175"/>
                </a:cubicBezTo>
                <a:cubicBezTo>
                  <a:pt x="185" y="175"/>
                  <a:pt x="185" y="175"/>
                  <a:pt x="185" y="175"/>
                </a:cubicBezTo>
                <a:cubicBezTo>
                  <a:pt x="184" y="173"/>
                  <a:pt x="184" y="173"/>
                  <a:pt x="184" y="173"/>
                </a:cubicBezTo>
                <a:cubicBezTo>
                  <a:pt x="184" y="171"/>
                  <a:pt x="184" y="171"/>
                  <a:pt x="184" y="171"/>
                </a:cubicBezTo>
                <a:cubicBezTo>
                  <a:pt x="184" y="169"/>
                  <a:pt x="184" y="169"/>
                  <a:pt x="184" y="169"/>
                </a:cubicBezTo>
                <a:cubicBezTo>
                  <a:pt x="185" y="168"/>
                  <a:pt x="185" y="168"/>
                  <a:pt x="185" y="168"/>
                </a:cubicBezTo>
                <a:cubicBezTo>
                  <a:pt x="186" y="169"/>
                  <a:pt x="186" y="169"/>
                  <a:pt x="186" y="169"/>
                </a:cubicBezTo>
                <a:cubicBezTo>
                  <a:pt x="186" y="169"/>
                  <a:pt x="186" y="169"/>
                  <a:pt x="186" y="169"/>
                </a:cubicBezTo>
                <a:cubicBezTo>
                  <a:pt x="186" y="170"/>
                  <a:pt x="186" y="170"/>
                  <a:pt x="186" y="170"/>
                </a:cubicBezTo>
                <a:cubicBezTo>
                  <a:pt x="187" y="169"/>
                  <a:pt x="187" y="169"/>
                  <a:pt x="187" y="169"/>
                </a:cubicBezTo>
                <a:cubicBezTo>
                  <a:pt x="189" y="169"/>
                  <a:pt x="189" y="169"/>
                  <a:pt x="189" y="169"/>
                </a:cubicBezTo>
                <a:cubicBezTo>
                  <a:pt x="191" y="169"/>
                  <a:pt x="191" y="169"/>
                  <a:pt x="191" y="169"/>
                </a:cubicBezTo>
                <a:cubicBezTo>
                  <a:pt x="192" y="169"/>
                  <a:pt x="192" y="169"/>
                  <a:pt x="192" y="169"/>
                </a:cubicBezTo>
                <a:cubicBezTo>
                  <a:pt x="193" y="169"/>
                  <a:pt x="193" y="169"/>
                  <a:pt x="193" y="169"/>
                </a:cubicBezTo>
                <a:cubicBezTo>
                  <a:pt x="194" y="168"/>
                  <a:pt x="194" y="168"/>
                  <a:pt x="194" y="168"/>
                </a:cubicBezTo>
                <a:cubicBezTo>
                  <a:pt x="195" y="169"/>
                  <a:pt x="195" y="169"/>
                  <a:pt x="195" y="169"/>
                </a:cubicBezTo>
                <a:cubicBezTo>
                  <a:pt x="199" y="170"/>
                  <a:pt x="199" y="170"/>
                  <a:pt x="199" y="170"/>
                </a:cubicBezTo>
                <a:cubicBezTo>
                  <a:pt x="201" y="170"/>
                  <a:pt x="201" y="170"/>
                  <a:pt x="201" y="170"/>
                </a:cubicBezTo>
                <a:cubicBezTo>
                  <a:pt x="202" y="170"/>
                  <a:pt x="202" y="170"/>
                  <a:pt x="202" y="170"/>
                </a:cubicBezTo>
                <a:cubicBezTo>
                  <a:pt x="202" y="172"/>
                  <a:pt x="202" y="172"/>
                  <a:pt x="202" y="172"/>
                </a:cubicBezTo>
                <a:cubicBezTo>
                  <a:pt x="201" y="172"/>
                  <a:pt x="201" y="172"/>
                  <a:pt x="201" y="172"/>
                </a:cubicBezTo>
                <a:cubicBezTo>
                  <a:pt x="202" y="173"/>
                  <a:pt x="202" y="173"/>
                  <a:pt x="202" y="173"/>
                </a:cubicBezTo>
                <a:cubicBezTo>
                  <a:pt x="202" y="175"/>
                  <a:pt x="202" y="175"/>
                  <a:pt x="202" y="175"/>
                </a:cubicBezTo>
                <a:cubicBezTo>
                  <a:pt x="203" y="176"/>
                  <a:pt x="203" y="176"/>
                  <a:pt x="203" y="176"/>
                </a:cubicBezTo>
                <a:cubicBezTo>
                  <a:pt x="203" y="178"/>
                  <a:pt x="203" y="178"/>
                  <a:pt x="203" y="178"/>
                </a:cubicBezTo>
                <a:cubicBezTo>
                  <a:pt x="204" y="180"/>
                  <a:pt x="204" y="180"/>
                  <a:pt x="204" y="180"/>
                </a:cubicBezTo>
                <a:cubicBezTo>
                  <a:pt x="203" y="183"/>
                  <a:pt x="203" y="183"/>
                  <a:pt x="203" y="183"/>
                </a:cubicBezTo>
                <a:cubicBezTo>
                  <a:pt x="204" y="184"/>
                  <a:pt x="204" y="184"/>
                  <a:pt x="204" y="184"/>
                </a:cubicBezTo>
                <a:cubicBezTo>
                  <a:pt x="203" y="185"/>
                  <a:pt x="203" y="185"/>
                  <a:pt x="203" y="185"/>
                </a:cubicBezTo>
                <a:cubicBezTo>
                  <a:pt x="204" y="186"/>
                  <a:pt x="204" y="186"/>
                  <a:pt x="204" y="186"/>
                </a:cubicBezTo>
                <a:cubicBezTo>
                  <a:pt x="204" y="187"/>
                  <a:pt x="204" y="187"/>
                  <a:pt x="204" y="187"/>
                </a:cubicBezTo>
                <a:cubicBezTo>
                  <a:pt x="203" y="188"/>
                  <a:pt x="203" y="188"/>
                  <a:pt x="203" y="188"/>
                </a:cubicBezTo>
                <a:cubicBezTo>
                  <a:pt x="203" y="189"/>
                  <a:pt x="203" y="189"/>
                  <a:pt x="203" y="189"/>
                </a:cubicBezTo>
                <a:cubicBezTo>
                  <a:pt x="205" y="190"/>
                  <a:pt x="205" y="190"/>
                  <a:pt x="205" y="190"/>
                </a:cubicBezTo>
                <a:cubicBezTo>
                  <a:pt x="206" y="192"/>
                  <a:pt x="206" y="192"/>
                  <a:pt x="206" y="192"/>
                </a:cubicBezTo>
                <a:cubicBezTo>
                  <a:pt x="207" y="192"/>
                  <a:pt x="207" y="192"/>
                  <a:pt x="207" y="192"/>
                </a:cubicBezTo>
                <a:cubicBezTo>
                  <a:pt x="207" y="193"/>
                  <a:pt x="207" y="193"/>
                  <a:pt x="207" y="193"/>
                </a:cubicBezTo>
                <a:cubicBezTo>
                  <a:pt x="208" y="192"/>
                  <a:pt x="208" y="192"/>
                  <a:pt x="208" y="192"/>
                </a:cubicBezTo>
                <a:cubicBezTo>
                  <a:pt x="209" y="193"/>
                  <a:pt x="209" y="193"/>
                  <a:pt x="209" y="193"/>
                </a:cubicBezTo>
                <a:cubicBezTo>
                  <a:pt x="209" y="195"/>
                  <a:pt x="209" y="195"/>
                  <a:pt x="209" y="195"/>
                </a:cubicBezTo>
                <a:cubicBezTo>
                  <a:pt x="211" y="196"/>
                  <a:pt x="211" y="196"/>
                  <a:pt x="211" y="196"/>
                </a:cubicBezTo>
                <a:cubicBezTo>
                  <a:pt x="212" y="198"/>
                  <a:pt x="212" y="198"/>
                  <a:pt x="212" y="198"/>
                </a:cubicBezTo>
                <a:cubicBezTo>
                  <a:pt x="212" y="202"/>
                  <a:pt x="212" y="202"/>
                  <a:pt x="212" y="202"/>
                </a:cubicBezTo>
                <a:cubicBezTo>
                  <a:pt x="213" y="203"/>
                  <a:pt x="213" y="203"/>
                  <a:pt x="213" y="203"/>
                </a:cubicBezTo>
                <a:cubicBezTo>
                  <a:pt x="213" y="203"/>
                  <a:pt x="213" y="203"/>
                  <a:pt x="213" y="203"/>
                </a:cubicBezTo>
                <a:cubicBezTo>
                  <a:pt x="213" y="204"/>
                  <a:pt x="213" y="204"/>
                  <a:pt x="213" y="204"/>
                </a:cubicBezTo>
                <a:cubicBezTo>
                  <a:pt x="214" y="206"/>
                  <a:pt x="214" y="206"/>
                  <a:pt x="214" y="206"/>
                </a:cubicBezTo>
                <a:cubicBezTo>
                  <a:pt x="214" y="208"/>
                  <a:pt x="214" y="208"/>
                  <a:pt x="214" y="208"/>
                </a:cubicBezTo>
                <a:cubicBezTo>
                  <a:pt x="216" y="211"/>
                  <a:pt x="216" y="211"/>
                  <a:pt x="216" y="211"/>
                </a:cubicBezTo>
                <a:cubicBezTo>
                  <a:pt x="215" y="212"/>
                  <a:pt x="215" y="212"/>
                  <a:pt x="215" y="212"/>
                </a:cubicBezTo>
                <a:cubicBezTo>
                  <a:pt x="216" y="214"/>
                  <a:pt x="216" y="214"/>
                  <a:pt x="216" y="214"/>
                </a:cubicBezTo>
                <a:cubicBezTo>
                  <a:pt x="218" y="214"/>
                  <a:pt x="218" y="214"/>
                  <a:pt x="218" y="214"/>
                </a:cubicBezTo>
                <a:cubicBezTo>
                  <a:pt x="217" y="216"/>
                  <a:pt x="217" y="216"/>
                  <a:pt x="217" y="216"/>
                </a:cubicBezTo>
                <a:cubicBezTo>
                  <a:pt x="218" y="216"/>
                  <a:pt x="218" y="216"/>
                  <a:pt x="218" y="216"/>
                </a:cubicBezTo>
                <a:cubicBezTo>
                  <a:pt x="218" y="219"/>
                  <a:pt x="218" y="219"/>
                  <a:pt x="218" y="219"/>
                </a:cubicBezTo>
                <a:cubicBezTo>
                  <a:pt x="221" y="222"/>
                  <a:pt x="221" y="222"/>
                  <a:pt x="221" y="222"/>
                </a:cubicBezTo>
                <a:cubicBezTo>
                  <a:pt x="223" y="223"/>
                  <a:pt x="223" y="223"/>
                  <a:pt x="223" y="223"/>
                </a:cubicBezTo>
                <a:cubicBezTo>
                  <a:pt x="223" y="224"/>
                  <a:pt x="223" y="224"/>
                  <a:pt x="223" y="224"/>
                </a:cubicBezTo>
                <a:cubicBezTo>
                  <a:pt x="224" y="224"/>
                  <a:pt x="224" y="224"/>
                  <a:pt x="224" y="224"/>
                </a:cubicBezTo>
                <a:cubicBezTo>
                  <a:pt x="226" y="226"/>
                  <a:pt x="226" y="226"/>
                  <a:pt x="226" y="226"/>
                </a:cubicBezTo>
                <a:cubicBezTo>
                  <a:pt x="226" y="227"/>
                  <a:pt x="226" y="227"/>
                  <a:pt x="226" y="227"/>
                </a:cubicBezTo>
                <a:cubicBezTo>
                  <a:pt x="226" y="227"/>
                  <a:pt x="226" y="227"/>
                  <a:pt x="226" y="227"/>
                </a:cubicBezTo>
                <a:cubicBezTo>
                  <a:pt x="226" y="228"/>
                  <a:pt x="226" y="228"/>
                  <a:pt x="226" y="228"/>
                </a:cubicBezTo>
                <a:cubicBezTo>
                  <a:pt x="225" y="230"/>
                  <a:pt x="225" y="230"/>
                  <a:pt x="225" y="230"/>
                </a:cubicBezTo>
                <a:cubicBezTo>
                  <a:pt x="226" y="232"/>
                  <a:pt x="226" y="232"/>
                  <a:pt x="226" y="232"/>
                </a:cubicBezTo>
                <a:cubicBezTo>
                  <a:pt x="228" y="233"/>
                  <a:pt x="228" y="233"/>
                  <a:pt x="228" y="233"/>
                </a:cubicBezTo>
                <a:cubicBezTo>
                  <a:pt x="228" y="235"/>
                  <a:pt x="228" y="235"/>
                  <a:pt x="228" y="235"/>
                </a:cubicBezTo>
                <a:cubicBezTo>
                  <a:pt x="227" y="236"/>
                  <a:pt x="227" y="236"/>
                  <a:pt x="227" y="236"/>
                </a:cubicBezTo>
                <a:cubicBezTo>
                  <a:pt x="227" y="237"/>
                  <a:pt x="227" y="237"/>
                  <a:pt x="227" y="237"/>
                </a:cubicBezTo>
                <a:cubicBezTo>
                  <a:pt x="226" y="238"/>
                  <a:pt x="226" y="238"/>
                  <a:pt x="226" y="238"/>
                </a:cubicBezTo>
                <a:cubicBezTo>
                  <a:pt x="226" y="239"/>
                  <a:pt x="226" y="239"/>
                  <a:pt x="226" y="239"/>
                </a:cubicBezTo>
                <a:cubicBezTo>
                  <a:pt x="226" y="241"/>
                  <a:pt x="226" y="241"/>
                  <a:pt x="226" y="241"/>
                </a:cubicBezTo>
                <a:cubicBezTo>
                  <a:pt x="225" y="242"/>
                  <a:pt x="225" y="242"/>
                  <a:pt x="225" y="242"/>
                </a:cubicBezTo>
                <a:cubicBezTo>
                  <a:pt x="225" y="243"/>
                  <a:pt x="225" y="243"/>
                  <a:pt x="225" y="243"/>
                </a:cubicBezTo>
                <a:cubicBezTo>
                  <a:pt x="226" y="242"/>
                  <a:pt x="226" y="242"/>
                  <a:pt x="226" y="242"/>
                </a:cubicBezTo>
                <a:cubicBezTo>
                  <a:pt x="226" y="243"/>
                  <a:pt x="226" y="243"/>
                  <a:pt x="226" y="243"/>
                </a:cubicBezTo>
                <a:cubicBezTo>
                  <a:pt x="225" y="244"/>
                  <a:pt x="225" y="244"/>
                  <a:pt x="225" y="244"/>
                </a:cubicBezTo>
                <a:cubicBezTo>
                  <a:pt x="225" y="247"/>
                  <a:pt x="225" y="247"/>
                  <a:pt x="225" y="247"/>
                </a:cubicBezTo>
                <a:cubicBezTo>
                  <a:pt x="224" y="247"/>
                  <a:pt x="224" y="247"/>
                  <a:pt x="224" y="247"/>
                </a:cubicBezTo>
                <a:cubicBezTo>
                  <a:pt x="223" y="247"/>
                  <a:pt x="223" y="247"/>
                  <a:pt x="223" y="247"/>
                </a:cubicBezTo>
                <a:cubicBezTo>
                  <a:pt x="223" y="248"/>
                  <a:pt x="223" y="248"/>
                  <a:pt x="223" y="248"/>
                </a:cubicBezTo>
                <a:cubicBezTo>
                  <a:pt x="224" y="249"/>
                  <a:pt x="224" y="249"/>
                  <a:pt x="224" y="249"/>
                </a:cubicBezTo>
                <a:cubicBezTo>
                  <a:pt x="224" y="250"/>
                  <a:pt x="224" y="250"/>
                  <a:pt x="224" y="250"/>
                </a:cubicBezTo>
                <a:cubicBezTo>
                  <a:pt x="223" y="251"/>
                  <a:pt x="223" y="251"/>
                  <a:pt x="223" y="251"/>
                </a:cubicBezTo>
                <a:cubicBezTo>
                  <a:pt x="222" y="252"/>
                  <a:pt x="222" y="252"/>
                  <a:pt x="222" y="252"/>
                </a:cubicBezTo>
                <a:cubicBezTo>
                  <a:pt x="219" y="252"/>
                  <a:pt x="219" y="252"/>
                  <a:pt x="219" y="252"/>
                </a:cubicBezTo>
                <a:cubicBezTo>
                  <a:pt x="218" y="251"/>
                  <a:pt x="218" y="251"/>
                  <a:pt x="218" y="251"/>
                </a:cubicBezTo>
                <a:cubicBezTo>
                  <a:pt x="220" y="250"/>
                  <a:pt x="220" y="250"/>
                  <a:pt x="220" y="250"/>
                </a:cubicBezTo>
                <a:cubicBezTo>
                  <a:pt x="220" y="249"/>
                  <a:pt x="220" y="249"/>
                  <a:pt x="220" y="249"/>
                </a:cubicBezTo>
                <a:cubicBezTo>
                  <a:pt x="219" y="249"/>
                  <a:pt x="219" y="249"/>
                  <a:pt x="219" y="249"/>
                </a:cubicBezTo>
                <a:cubicBezTo>
                  <a:pt x="219" y="250"/>
                  <a:pt x="219" y="250"/>
                  <a:pt x="219" y="250"/>
                </a:cubicBezTo>
                <a:cubicBezTo>
                  <a:pt x="218" y="250"/>
                  <a:pt x="218" y="250"/>
                  <a:pt x="218" y="250"/>
                </a:cubicBezTo>
                <a:cubicBezTo>
                  <a:pt x="215" y="248"/>
                  <a:pt x="215" y="248"/>
                  <a:pt x="215" y="248"/>
                </a:cubicBezTo>
                <a:cubicBezTo>
                  <a:pt x="214" y="249"/>
                  <a:pt x="214" y="249"/>
                  <a:pt x="214" y="249"/>
                </a:cubicBezTo>
                <a:cubicBezTo>
                  <a:pt x="211" y="250"/>
                  <a:pt x="211" y="250"/>
                  <a:pt x="211" y="250"/>
                </a:cubicBezTo>
                <a:cubicBezTo>
                  <a:pt x="209" y="250"/>
                  <a:pt x="209" y="250"/>
                  <a:pt x="209" y="250"/>
                </a:cubicBezTo>
                <a:cubicBezTo>
                  <a:pt x="208" y="251"/>
                  <a:pt x="208" y="251"/>
                  <a:pt x="208" y="251"/>
                </a:cubicBezTo>
                <a:cubicBezTo>
                  <a:pt x="209" y="251"/>
                  <a:pt x="209" y="251"/>
                  <a:pt x="209" y="251"/>
                </a:cubicBezTo>
                <a:cubicBezTo>
                  <a:pt x="209" y="252"/>
                  <a:pt x="209" y="252"/>
                  <a:pt x="209" y="252"/>
                </a:cubicBezTo>
                <a:cubicBezTo>
                  <a:pt x="210" y="251"/>
                  <a:pt x="210" y="251"/>
                  <a:pt x="210" y="251"/>
                </a:cubicBezTo>
                <a:cubicBezTo>
                  <a:pt x="212" y="250"/>
                  <a:pt x="212" y="250"/>
                  <a:pt x="212" y="250"/>
                </a:cubicBezTo>
                <a:cubicBezTo>
                  <a:pt x="212" y="252"/>
                  <a:pt x="212" y="252"/>
                  <a:pt x="212" y="252"/>
                </a:cubicBezTo>
                <a:cubicBezTo>
                  <a:pt x="214" y="253"/>
                  <a:pt x="214" y="253"/>
                  <a:pt x="214" y="253"/>
                </a:cubicBezTo>
                <a:cubicBezTo>
                  <a:pt x="219" y="254"/>
                  <a:pt x="219" y="254"/>
                  <a:pt x="219" y="254"/>
                </a:cubicBezTo>
                <a:cubicBezTo>
                  <a:pt x="221" y="255"/>
                  <a:pt x="221" y="255"/>
                  <a:pt x="221" y="255"/>
                </a:cubicBezTo>
                <a:cubicBezTo>
                  <a:pt x="223" y="254"/>
                  <a:pt x="223" y="254"/>
                  <a:pt x="223" y="254"/>
                </a:cubicBezTo>
                <a:cubicBezTo>
                  <a:pt x="225" y="254"/>
                  <a:pt x="225" y="254"/>
                  <a:pt x="225" y="254"/>
                </a:cubicBezTo>
                <a:cubicBezTo>
                  <a:pt x="226" y="255"/>
                  <a:pt x="226" y="255"/>
                  <a:pt x="226" y="255"/>
                </a:cubicBezTo>
                <a:cubicBezTo>
                  <a:pt x="228" y="255"/>
                  <a:pt x="228" y="255"/>
                  <a:pt x="228" y="255"/>
                </a:cubicBezTo>
                <a:cubicBezTo>
                  <a:pt x="230" y="254"/>
                  <a:pt x="230" y="254"/>
                  <a:pt x="230" y="254"/>
                </a:cubicBezTo>
                <a:cubicBezTo>
                  <a:pt x="230" y="253"/>
                  <a:pt x="230" y="253"/>
                  <a:pt x="230" y="253"/>
                </a:cubicBezTo>
                <a:cubicBezTo>
                  <a:pt x="229" y="252"/>
                  <a:pt x="229" y="252"/>
                  <a:pt x="229" y="252"/>
                </a:cubicBezTo>
                <a:cubicBezTo>
                  <a:pt x="229" y="250"/>
                  <a:pt x="229" y="250"/>
                  <a:pt x="229" y="250"/>
                </a:cubicBezTo>
                <a:cubicBezTo>
                  <a:pt x="230" y="249"/>
                  <a:pt x="230" y="249"/>
                  <a:pt x="230" y="249"/>
                </a:cubicBezTo>
                <a:cubicBezTo>
                  <a:pt x="231" y="249"/>
                  <a:pt x="231" y="249"/>
                  <a:pt x="231" y="249"/>
                </a:cubicBezTo>
                <a:cubicBezTo>
                  <a:pt x="231" y="248"/>
                  <a:pt x="231" y="248"/>
                  <a:pt x="231" y="248"/>
                </a:cubicBezTo>
                <a:cubicBezTo>
                  <a:pt x="233" y="246"/>
                  <a:pt x="233" y="246"/>
                  <a:pt x="233" y="246"/>
                </a:cubicBezTo>
                <a:cubicBezTo>
                  <a:pt x="233" y="245"/>
                  <a:pt x="233" y="245"/>
                  <a:pt x="233" y="245"/>
                </a:cubicBezTo>
                <a:cubicBezTo>
                  <a:pt x="234" y="242"/>
                  <a:pt x="234" y="242"/>
                  <a:pt x="234" y="242"/>
                </a:cubicBezTo>
                <a:cubicBezTo>
                  <a:pt x="233" y="240"/>
                  <a:pt x="233" y="240"/>
                  <a:pt x="233" y="240"/>
                </a:cubicBezTo>
                <a:cubicBezTo>
                  <a:pt x="233" y="238"/>
                  <a:pt x="233" y="238"/>
                  <a:pt x="233" y="238"/>
                </a:cubicBezTo>
                <a:cubicBezTo>
                  <a:pt x="235" y="235"/>
                  <a:pt x="235" y="235"/>
                  <a:pt x="235" y="235"/>
                </a:cubicBezTo>
                <a:cubicBezTo>
                  <a:pt x="236" y="234"/>
                  <a:pt x="236" y="234"/>
                  <a:pt x="236" y="234"/>
                </a:cubicBezTo>
                <a:cubicBezTo>
                  <a:pt x="234" y="229"/>
                  <a:pt x="234" y="229"/>
                  <a:pt x="234" y="229"/>
                </a:cubicBezTo>
                <a:cubicBezTo>
                  <a:pt x="231" y="227"/>
                  <a:pt x="231" y="227"/>
                  <a:pt x="231" y="227"/>
                </a:cubicBezTo>
                <a:cubicBezTo>
                  <a:pt x="230" y="226"/>
                  <a:pt x="230" y="226"/>
                  <a:pt x="230" y="226"/>
                </a:cubicBezTo>
                <a:cubicBezTo>
                  <a:pt x="230" y="223"/>
                  <a:pt x="230" y="223"/>
                  <a:pt x="230" y="223"/>
                </a:cubicBezTo>
                <a:cubicBezTo>
                  <a:pt x="232" y="221"/>
                  <a:pt x="232" y="221"/>
                  <a:pt x="232" y="221"/>
                </a:cubicBezTo>
                <a:cubicBezTo>
                  <a:pt x="233" y="220"/>
                  <a:pt x="233" y="220"/>
                  <a:pt x="233" y="220"/>
                </a:cubicBezTo>
                <a:cubicBezTo>
                  <a:pt x="235" y="220"/>
                  <a:pt x="235" y="220"/>
                  <a:pt x="235" y="220"/>
                </a:cubicBezTo>
                <a:cubicBezTo>
                  <a:pt x="237" y="217"/>
                  <a:pt x="237" y="217"/>
                  <a:pt x="237" y="217"/>
                </a:cubicBezTo>
                <a:cubicBezTo>
                  <a:pt x="239" y="217"/>
                  <a:pt x="239" y="217"/>
                  <a:pt x="239" y="217"/>
                </a:cubicBezTo>
                <a:cubicBezTo>
                  <a:pt x="241" y="219"/>
                  <a:pt x="241" y="219"/>
                  <a:pt x="241" y="219"/>
                </a:cubicBezTo>
                <a:cubicBezTo>
                  <a:pt x="241" y="221"/>
                  <a:pt x="241" y="221"/>
                  <a:pt x="241" y="221"/>
                </a:cubicBezTo>
                <a:cubicBezTo>
                  <a:pt x="243" y="222"/>
                  <a:pt x="243" y="222"/>
                  <a:pt x="243" y="222"/>
                </a:cubicBezTo>
                <a:cubicBezTo>
                  <a:pt x="244" y="223"/>
                  <a:pt x="244" y="223"/>
                  <a:pt x="244" y="223"/>
                </a:cubicBezTo>
                <a:cubicBezTo>
                  <a:pt x="244" y="223"/>
                  <a:pt x="244" y="223"/>
                  <a:pt x="244" y="223"/>
                </a:cubicBezTo>
                <a:cubicBezTo>
                  <a:pt x="246" y="224"/>
                  <a:pt x="246" y="224"/>
                  <a:pt x="246" y="224"/>
                </a:cubicBezTo>
                <a:cubicBezTo>
                  <a:pt x="245" y="226"/>
                  <a:pt x="245" y="226"/>
                  <a:pt x="245" y="226"/>
                </a:cubicBezTo>
                <a:cubicBezTo>
                  <a:pt x="247" y="227"/>
                  <a:pt x="247" y="227"/>
                  <a:pt x="247" y="227"/>
                </a:cubicBezTo>
                <a:cubicBezTo>
                  <a:pt x="247" y="228"/>
                  <a:pt x="247" y="228"/>
                  <a:pt x="247" y="228"/>
                </a:cubicBezTo>
                <a:cubicBezTo>
                  <a:pt x="248" y="230"/>
                  <a:pt x="248" y="230"/>
                  <a:pt x="248" y="230"/>
                </a:cubicBezTo>
                <a:cubicBezTo>
                  <a:pt x="248" y="231"/>
                  <a:pt x="248" y="231"/>
                  <a:pt x="248" y="231"/>
                </a:cubicBezTo>
                <a:cubicBezTo>
                  <a:pt x="248" y="232"/>
                  <a:pt x="248" y="232"/>
                  <a:pt x="248" y="232"/>
                </a:cubicBezTo>
                <a:cubicBezTo>
                  <a:pt x="249" y="233"/>
                  <a:pt x="249" y="233"/>
                  <a:pt x="249" y="233"/>
                </a:cubicBezTo>
                <a:cubicBezTo>
                  <a:pt x="250" y="233"/>
                  <a:pt x="250" y="233"/>
                  <a:pt x="250" y="233"/>
                </a:cubicBezTo>
                <a:cubicBezTo>
                  <a:pt x="252" y="234"/>
                  <a:pt x="252" y="234"/>
                  <a:pt x="252" y="234"/>
                </a:cubicBezTo>
                <a:cubicBezTo>
                  <a:pt x="254" y="234"/>
                  <a:pt x="254" y="234"/>
                  <a:pt x="254" y="234"/>
                </a:cubicBezTo>
                <a:cubicBezTo>
                  <a:pt x="255" y="234"/>
                  <a:pt x="255" y="234"/>
                  <a:pt x="255" y="234"/>
                </a:cubicBezTo>
                <a:cubicBezTo>
                  <a:pt x="256" y="234"/>
                  <a:pt x="256" y="234"/>
                  <a:pt x="256" y="234"/>
                </a:cubicBezTo>
                <a:cubicBezTo>
                  <a:pt x="257" y="233"/>
                  <a:pt x="257" y="233"/>
                  <a:pt x="257" y="233"/>
                </a:cubicBezTo>
                <a:cubicBezTo>
                  <a:pt x="258" y="232"/>
                  <a:pt x="258" y="232"/>
                  <a:pt x="258" y="232"/>
                </a:cubicBezTo>
                <a:cubicBezTo>
                  <a:pt x="257" y="232"/>
                  <a:pt x="257" y="232"/>
                  <a:pt x="257" y="232"/>
                </a:cubicBezTo>
                <a:cubicBezTo>
                  <a:pt x="256" y="232"/>
                  <a:pt x="256" y="232"/>
                  <a:pt x="256" y="232"/>
                </a:cubicBezTo>
                <a:cubicBezTo>
                  <a:pt x="255" y="231"/>
                  <a:pt x="255" y="231"/>
                  <a:pt x="255" y="231"/>
                </a:cubicBezTo>
                <a:cubicBezTo>
                  <a:pt x="254" y="233"/>
                  <a:pt x="254" y="233"/>
                  <a:pt x="254" y="233"/>
                </a:cubicBezTo>
                <a:cubicBezTo>
                  <a:pt x="252" y="233"/>
                  <a:pt x="252" y="233"/>
                  <a:pt x="252" y="233"/>
                </a:cubicBezTo>
                <a:cubicBezTo>
                  <a:pt x="252" y="232"/>
                  <a:pt x="252" y="232"/>
                  <a:pt x="252" y="232"/>
                </a:cubicBezTo>
                <a:cubicBezTo>
                  <a:pt x="250" y="232"/>
                  <a:pt x="250" y="232"/>
                  <a:pt x="250" y="232"/>
                </a:cubicBezTo>
                <a:cubicBezTo>
                  <a:pt x="249" y="231"/>
                  <a:pt x="249" y="231"/>
                  <a:pt x="249" y="231"/>
                </a:cubicBezTo>
                <a:cubicBezTo>
                  <a:pt x="250" y="230"/>
                  <a:pt x="250" y="230"/>
                  <a:pt x="250" y="230"/>
                </a:cubicBezTo>
                <a:cubicBezTo>
                  <a:pt x="249" y="229"/>
                  <a:pt x="249" y="229"/>
                  <a:pt x="249" y="229"/>
                </a:cubicBezTo>
                <a:cubicBezTo>
                  <a:pt x="248" y="228"/>
                  <a:pt x="248" y="228"/>
                  <a:pt x="248" y="228"/>
                </a:cubicBezTo>
                <a:cubicBezTo>
                  <a:pt x="248" y="225"/>
                  <a:pt x="248" y="225"/>
                  <a:pt x="248" y="225"/>
                </a:cubicBezTo>
                <a:cubicBezTo>
                  <a:pt x="250" y="225"/>
                  <a:pt x="250" y="225"/>
                  <a:pt x="250" y="225"/>
                </a:cubicBezTo>
                <a:cubicBezTo>
                  <a:pt x="251" y="224"/>
                  <a:pt x="251" y="224"/>
                  <a:pt x="251" y="224"/>
                </a:cubicBezTo>
                <a:cubicBezTo>
                  <a:pt x="250" y="224"/>
                  <a:pt x="250" y="224"/>
                  <a:pt x="250" y="224"/>
                </a:cubicBezTo>
                <a:cubicBezTo>
                  <a:pt x="249" y="223"/>
                  <a:pt x="249" y="223"/>
                  <a:pt x="249" y="223"/>
                </a:cubicBezTo>
                <a:cubicBezTo>
                  <a:pt x="249" y="222"/>
                  <a:pt x="249" y="222"/>
                  <a:pt x="249" y="222"/>
                </a:cubicBezTo>
                <a:cubicBezTo>
                  <a:pt x="249" y="221"/>
                  <a:pt x="249" y="221"/>
                  <a:pt x="249" y="221"/>
                </a:cubicBezTo>
                <a:cubicBezTo>
                  <a:pt x="247" y="220"/>
                  <a:pt x="247" y="220"/>
                  <a:pt x="247" y="220"/>
                </a:cubicBezTo>
                <a:cubicBezTo>
                  <a:pt x="247" y="219"/>
                  <a:pt x="247" y="219"/>
                  <a:pt x="247" y="219"/>
                </a:cubicBezTo>
                <a:cubicBezTo>
                  <a:pt x="245" y="217"/>
                  <a:pt x="245" y="217"/>
                  <a:pt x="245" y="217"/>
                </a:cubicBezTo>
                <a:cubicBezTo>
                  <a:pt x="243" y="217"/>
                  <a:pt x="243" y="217"/>
                  <a:pt x="243" y="217"/>
                </a:cubicBezTo>
                <a:cubicBezTo>
                  <a:pt x="240" y="216"/>
                  <a:pt x="240" y="216"/>
                  <a:pt x="240" y="216"/>
                </a:cubicBezTo>
                <a:cubicBezTo>
                  <a:pt x="239" y="215"/>
                  <a:pt x="239" y="215"/>
                  <a:pt x="239" y="215"/>
                </a:cubicBezTo>
                <a:cubicBezTo>
                  <a:pt x="238" y="215"/>
                  <a:pt x="238" y="215"/>
                  <a:pt x="238" y="215"/>
                </a:cubicBezTo>
                <a:cubicBezTo>
                  <a:pt x="236" y="214"/>
                  <a:pt x="236" y="214"/>
                  <a:pt x="236" y="214"/>
                </a:cubicBezTo>
                <a:cubicBezTo>
                  <a:pt x="234" y="214"/>
                  <a:pt x="234" y="214"/>
                  <a:pt x="234" y="214"/>
                </a:cubicBezTo>
                <a:cubicBezTo>
                  <a:pt x="233" y="214"/>
                  <a:pt x="233" y="214"/>
                  <a:pt x="233" y="214"/>
                </a:cubicBezTo>
                <a:cubicBezTo>
                  <a:pt x="231" y="215"/>
                  <a:pt x="231" y="215"/>
                  <a:pt x="231" y="215"/>
                </a:cubicBezTo>
                <a:cubicBezTo>
                  <a:pt x="231" y="217"/>
                  <a:pt x="231" y="217"/>
                  <a:pt x="231" y="217"/>
                </a:cubicBezTo>
                <a:cubicBezTo>
                  <a:pt x="230" y="218"/>
                  <a:pt x="230" y="218"/>
                  <a:pt x="230" y="218"/>
                </a:cubicBezTo>
                <a:cubicBezTo>
                  <a:pt x="228" y="217"/>
                  <a:pt x="228" y="217"/>
                  <a:pt x="228" y="217"/>
                </a:cubicBezTo>
                <a:cubicBezTo>
                  <a:pt x="226" y="218"/>
                  <a:pt x="226" y="218"/>
                  <a:pt x="226" y="218"/>
                </a:cubicBezTo>
                <a:cubicBezTo>
                  <a:pt x="224" y="218"/>
                  <a:pt x="224" y="218"/>
                  <a:pt x="224" y="218"/>
                </a:cubicBezTo>
                <a:cubicBezTo>
                  <a:pt x="224" y="217"/>
                  <a:pt x="224" y="217"/>
                  <a:pt x="224" y="217"/>
                </a:cubicBezTo>
                <a:cubicBezTo>
                  <a:pt x="224" y="215"/>
                  <a:pt x="224" y="215"/>
                  <a:pt x="224" y="215"/>
                </a:cubicBezTo>
                <a:cubicBezTo>
                  <a:pt x="224" y="214"/>
                  <a:pt x="224" y="214"/>
                  <a:pt x="224" y="214"/>
                </a:cubicBezTo>
                <a:cubicBezTo>
                  <a:pt x="221" y="211"/>
                  <a:pt x="221" y="211"/>
                  <a:pt x="221" y="211"/>
                </a:cubicBezTo>
                <a:cubicBezTo>
                  <a:pt x="220" y="210"/>
                  <a:pt x="220" y="210"/>
                  <a:pt x="220" y="210"/>
                </a:cubicBezTo>
                <a:cubicBezTo>
                  <a:pt x="221" y="207"/>
                  <a:pt x="221" y="207"/>
                  <a:pt x="221" y="207"/>
                </a:cubicBezTo>
                <a:cubicBezTo>
                  <a:pt x="219" y="205"/>
                  <a:pt x="219" y="205"/>
                  <a:pt x="219" y="205"/>
                </a:cubicBezTo>
                <a:cubicBezTo>
                  <a:pt x="220" y="203"/>
                  <a:pt x="220" y="203"/>
                  <a:pt x="220" y="203"/>
                </a:cubicBezTo>
                <a:cubicBezTo>
                  <a:pt x="220" y="199"/>
                  <a:pt x="220" y="199"/>
                  <a:pt x="220" y="199"/>
                </a:cubicBezTo>
                <a:cubicBezTo>
                  <a:pt x="219" y="197"/>
                  <a:pt x="219" y="197"/>
                  <a:pt x="219" y="197"/>
                </a:cubicBezTo>
                <a:cubicBezTo>
                  <a:pt x="217" y="195"/>
                  <a:pt x="217" y="195"/>
                  <a:pt x="217" y="195"/>
                </a:cubicBezTo>
                <a:cubicBezTo>
                  <a:pt x="216" y="195"/>
                  <a:pt x="216" y="195"/>
                  <a:pt x="216" y="195"/>
                </a:cubicBezTo>
                <a:cubicBezTo>
                  <a:pt x="215" y="193"/>
                  <a:pt x="215" y="193"/>
                  <a:pt x="215" y="193"/>
                </a:cubicBezTo>
                <a:cubicBezTo>
                  <a:pt x="212" y="191"/>
                  <a:pt x="212" y="191"/>
                  <a:pt x="212" y="191"/>
                </a:cubicBezTo>
                <a:cubicBezTo>
                  <a:pt x="210" y="190"/>
                  <a:pt x="210" y="190"/>
                  <a:pt x="210" y="190"/>
                </a:cubicBezTo>
                <a:cubicBezTo>
                  <a:pt x="210" y="188"/>
                  <a:pt x="210" y="188"/>
                  <a:pt x="210" y="188"/>
                </a:cubicBezTo>
                <a:cubicBezTo>
                  <a:pt x="211" y="186"/>
                  <a:pt x="211" y="186"/>
                  <a:pt x="211" y="186"/>
                </a:cubicBezTo>
                <a:cubicBezTo>
                  <a:pt x="210" y="184"/>
                  <a:pt x="210" y="184"/>
                  <a:pt x="210" y="184"/>
                </a:cubicBezTo>
                <a:cubicBezTo>
                  <a:pt x="209" y="183"/>
                  <a:pt x="209" y="183"/>
                  <a:pt x="209" y="183"/>
                </a:cubicBezTo>
                <a:cubicBezTo>
                  <a:pt x="209" y="182"/>
                  <a:pt x="209" y="182"/>
                  <a:pt x="209" y="182"/>
                </a:cubicBezTo>
                <a:cubicBezTo>
                  <a:pt x="211" y="181"/>
                  <a:pt x="211" y="181"/>
                  <a:pt x="211" y="181"/>
                </a:cubicBezTo>
                <a:cubicBezTo>
                  <a:pt x="213" y="178"/>
                  <a:pt x="213" y="178"/>
                  <a:pt x="213" y="178"/>
                </a:cubicBezTo>
                <a:cubicBezTo>
                  <a:pt x="214" y="176"/>
                  <a:pt x="214" y="176"/>
                  <a:pt x="214" y="176"/>
                </a:cubicBezTo>
                <a:cubicBezTo>
                  <a:pt x="213" y="172"/>
                  <a:pt x="213" y="172"/>
                  <a:pt x="213" y="172"/>
                </a:cubicBezTo>
                <a:cubicBezTo>
                  <a:pt x="210" y="167"/>
                  <a:pt x="210" y="167"/>
                  <a:pt x="210" y="167"/>
                </a:cubicBezTo>
                <a:cubicBezTo>
                  <a:pt x="211" y="167"/>
                  <a:pt x="211" y="167"/>
                  <a:pt x="211" y="167"/>
                </a:cubicBezTo>
                <a:cubicBezTo>
                  <a:pt x="213" y="168"/>
                  <a:pt x="213" y="168"/>
                  <a:pt x="213" y="168"/>
                </a:cubicBezTo>
                <a:cubicBezTo>
                  <a:pt x="213" y="170"/>
                  <a:pt x="213" y="170"/>
                  <a:pt x="213" y="170"/>
                </a:cubicBezTo>
                <a:cubicBezTo>
                  <a:pt x="214" y="170"/>
                  <a:pt x="214" y="170"/>
                  <a:pt x="214" y="170"/>
                </a:cubicBezTo>
                <a:cubicBezTo>
                  <a:pt x="214" y="170"/>
                  <a:pt x="214" y="170"/>
                  <a:pt x="214" y="170"/>
                </a:cubicBezTo>
                <a:cubicBezTo>
                  <a:pt x="215" y="172"/>
                  <a:pt x="215" y="172"/>
                  <a:pt x="215" y="172"/>
                </a:cubicBezTo>
                <a:cubicBezTo>
                  <a:pt x="216" y="174"/>
                  <a:pt x="216" y="174"/>
                  <a:pt x="216" y="174"/>
                </a:cubicBezTo>
                <a:cubicBezTo>
                  <a:pt x="216" y="177"/>
                  <a:pt x="216" y="177"/>
                  <a:pt x="216" y="177"/>
                </a:cubicBezTo>
                <a:cubicBezTo>
                  <a:pt x="217" y="178"/>
                  <a:pt x="217" y="178"/>
                  <a:pt x="217" y="178"/>
                </a:cubicBezTo>
                <a:cubicBezTo>
                  <a:pt x="216" y="180"/>
                  <a:pt x="216" y="180"/>
                  <a:pt x="216" y="180"/>
                </a:cubicBezTo>
                <a:cubicBezTo>
                  <a:pt x="217" y="181"/>
                  <a:pt x="217" y="181"/>
                  <a:pt x="217" y="181"/>
                </a:cubicBezTo>
                <a:cubicBezTo>
                  <a:pt x="219" y="183"/>
                  <a:pt x="219" y="183"/>
                  <a:pt x="219" y="183"/>
                </a:cubicBezTo>
                <a:cubicBezTo>
                  <a:pt x="219" y="184"/>
                  <a:pt x="219" y="184"/>
                  <a:pt x="219" y="184"/>
                </a:cubicBezTo>
                <a:cubicBezTo>
                  <a:pt x="220" y="185"/>
                  <a:pt x="220" y="185"/>
                  <a:pt x="220" y="185"/>
                </a:cubicBezTo>
                <a:cubicBezTo>
                  <a:pt x="220" y="186"/>
                  <a:pt x="220" y="186"/>
                  <a:pt x="220" y="186"/>
                </a:cubicBezTo>
                <a:cubicBezTo>
                  <a:pt x="219" y="186"/>
                  <a:pt x="219" y="186"/>
                  <a:pt x="219" y="186"/>
                </a:cubicBezTo>
                <a:cubicBezTo>
                  <a:pt x="219" y="187"/>
                  <a:pt x="219" y="187"/>
                  <a:pt x="219" y="187"/>
                </a:cubicBezTo>
                <a:cubicBezTo>
                  <a:pt x="221" y="187"/>
                  <a:pt x="221" y="187"/>
                  <a:pt x="221" y="187"/>
                </a:cubicBezTo>
                <a:cubicBezTo>
                  <a:pt x="223" y="188"/>
                  <a:pt x="223" y="188"/>
                  <a:pt x="223" y="188"/>
                </a:cubicBezTo>
                <a:cubicBezTo>
                  <a:pt x="225" y="188"/>
                  <a:pt x="225" y="188"/>
                  <a:pt x="225" y="188"/>
                </a:cubicBezTo>
                <a:cubicBezTo>
                  <a:pt x="226" y="188"/>
                  <a:pt x="226" y="188"/>
                  <a:pt x="226" y="188"/>
                </a:cubicBezTo>
                <a:cubicBezTo>
                  <a:pt x="227" y="189"/>
                  <a:pt x="227" y="189"/>
                  <a:pt x="227" y="189"/>
                </a:cubicBezTo>
                <a:cubicBezTo>
                  <a:pt x="228" y="190"/>
                  <a:pt x="228" y="190"/>
                  <a:pt x="228" y="190"/>
                </a:cubicBezTo>
                <a:cubicBezTo>
                  <a:pt x="229" y="188"/>
                  <a:pt x="229" y="188"/>
                  <a:pt x="229" y="188"/>
                </a:cubicBezTo>
                <a:cubicBezTo>
                  <a:pt x="230" y="188"/>
                  <a:pt x="230" y="188"/>
                  <a:pt x="230" y="188"/>
                </a:cubicBezTo>
                <a:cubicBezTo>
                  <a:pt x="231" y="187"/>
                  <a:pt x="231" y="187"/>
                  <a:pt x="231" y="187"/>
                </a:cubicBezTo>
                <a:cubicBezTo>
                  <a:pt x="233" y="188"/>
                  <a:pt x="233" y="188"/>
                  <a:pt x="233" y="188"/>
                </a:cubicBezTo>
                <a:cubicBezTo>
                  <a:pt x="234" y="190"/>
                  <a:pt x="234" y="190"/>
                  <a:pt x="234" y="190"/>
                </a:cubicBezTo>
                <a:cubicBezTo>
                  <a:pt x="235" y="190"/>
                  <a:pt x="235" y="190"/>
                  <a:pt x="235" y="190"/>
                </a:cubicBezTo>
                <a:cubicBezTo>
                  <a:pt x="237" y="191"/>
                  <a:pt x="237" y="191"/>
                  <a:pt x="237" y="191"/>
                </a:cubicBezTo>
                <a:cubicBezTo>
                  <a:pt x="240" y="190"/>
                  <a:pt x="240" y="190"/>
                  <a:pt x="240" y="190"/>
                </a:cubicBezTo>
                <a:cubicBezTo>
                  <a:pt x="241" y="189"/>
                  <a:pt x="241" y="189"/>
                  <a:pt x="241" y="189"/>
                </a:cubicBezTo>
                <a:cubicBezTo>
                  <a:pt x="239" y="190"/>
                  <a:pt x="239" y="190"/>
                  <a:pt x="239" y="190"/>
                </a:cubicBezTo>
                <a:cubicBezTo>
                  <a:pt x="237" y="190"/>
                  <a:pt x="237" y="190"/>
                  <a:pt x="237" y="190"/>
                </a:cubicBezTo>
                <a:cubicBezTo>
                  <a:pt x="237" y="188"/>
                  <a:pt x="237" y="188"/>
                  <a:pt x="237" y="188"/>
                </a:cubicBezTo>
                <a:cubicBezTo>
                  <a:pt x="236" y="188"/>
                  <a:pt x="236" y="188"/>
                  <a:pt x="236" y="188"/>
                </a:cubicBezTo>
                <a:cubicBezTo>
                  <a:pt x="235" y="186"/>
                  <a:pt x="235" y="186"/>
                  <a:pt x="235" y="186"/>
                </a:cubicBezTo>
                <a:cubicBezTo>
                  <a:pt x="233" y="186"/>
                  <a:pt x="233" y="186"/>
                  <a:pt x="233" y="186"/>
                </a:cubicBezTo>
                <a:cubicBezTo>
                  <a:pt x="233" y="185"/>
                  <a:pt x="233" y="185"/>
                  <a:pt x="233" y="185"/>
                </a:cubicBezTo>
                <a:cubicBezTo>
                  <a:pt x="232" y="185"/>
                  <a:pt x="232" y="185"/>
                  <a:pt x="232" y="185"/>
                </a:cubicBezTo>
                <a:cubicBezTo>
                  <a:pt x="231" y="186"/>
                  <a:pt x="231" y="186"/>
                  <a:pt x="231" y="186"/>
                </a:cubicBezTo>
                <a:cubicBezTo>
                  <a:pt x="228" y="186"/>
                  <a:pt x="228" y="186"/>
                  <a:pt x="228" y="186"/>
                </a:cubicBezTo>
                <a:cubicBezTo>
                  <a:pt x="227" y="185"/>
                  <a:pt x="227" y="185"/>
                  <a:pt x="227" y="185"/>
                </a:cubicBezTo>
                <a:cubicBezTo>
                  <a:pt x="225" y="185"/>
                  <a:pt x="225" y="185"/>
                  <a:pt x="225" y="185"/>
                </a:cubicBezTo>
                <a:cubicBezTo>
                  <a:pt x="223" y="183"/>
                  <a:pt x="223" y="183"/>
                  <a:pt x="223" y="183"/>
                </a:cubicBezTo>
                <a:cubicBezTo>
                  <a:pt x="222" y="181"/>
                  <a:pt x="222" y="181"/>
                  <a:pt x="222" y="181"/>
                </a:cubicBezTo>
                <a:cubicBezTo>
                  <a:pt x="222" y="181"/>
                  <a:pt x="222" y="181"/>
                  <a:pt x="222" y="181"/>
                </a:cubicBezTo>
                <a:cubicBezTo>
                  <a:pt x="220" y="178"/>
                  <a:pt x="220" y="178"/>
                  <a:pt x="220" y="178"/>
                </a:cubicBezTo>
                <a:cubicBezTo>
                  <a:pt x="221" y="178"/>
                  <a:pt x="221" y="178"/>
                  <a:pt x="221" y="178"/>
                </a:cubicBezTo>
                <a:cubicBezTo>
                  <a:pt x="221" y="177"/>
                  <a:pt x="221" y="177"/>
                  <a:pt x="221" y="177"/>
                </a:cubicBezTo>
                <a:cubicBezTo>
                  <a:pt x="223" y="176"/>
                  <a:pt x="223" y="176"/>
                  <a:pt x="223" y="176"/>
                </a:cubicBezTo>
                <a:cubicBezTo>
                  <a:pt x="224" y="176"/>
                  <a:pt x="224" y="176"/>
                  <a:pt x="224" y="176"/>
                </a:cubicBezTo>
                <a:cubicBezTo>
                  <a:pt x="226" y="178"/>
                  <a:pt x="226" y="178"/>
                  <a:pt x="226" y="178"/>
                </a:cubicBezTo>
                <a:cubicBezTo>
                  <a:pt x="228" y="179"/>
                  <a:pt x="228" y="179"/>
                  <a:pt x="228" y="179"/>
                </a:cubicBezTo>
                <a:cubicBezTo>
                  <a:pt x="230" y="179"/>
                  <a:pt x="230" y="179"/>
                  <a:pt x="230" y="179"/>
                </a:cubicBezTo>
                <a:cubicBezTo>
                  <a:pt x="232" y="176"/>
                  <a:pt x="232" y="176"/>
                  <a:pt x="232" y="176"/>
                </a:cubicBezTo>
                <a:cubicBezTo>
                  <a:pt x="230" y="174"/>
                  <a:pt x="230" y="174"/>
                  <a:pt x="230" y="174"/>
                </a:cubicBezTo>
                <a:cubicBezTo>
                  <a:pt x="228" y="173"/>
                  <a:pt x="228" y="173"/>
                  <a:pt x="228" y="173"/>
                </a:cubicBezTo>
                <a:cubicBezTo>
                  <a:pt x="226" y="175"/>
                  <a:pt x="226" y="175"/>
                  <a:pt x="226" y="175"/>
                </a:cubicBezTo>
                <a:cubicBezTo>
                  <a:pt x="225" y="174"/>
                  <a:pt x="225" y="174"/>
                  <a:pt x="225" y="174"/>
                </a:cubicBezTo>
                <a:cubicBezTo>
                  <a:pt x="226" y="173"/>
                  <a:pt x="226" y="173"/>
                  <a:pt x="226" y="173"/>
                </a:cubicBezTo>
                <a:cubicBezTo>
                  <a:pt x="226" y="173"/>
                  <a:pt x="226" y="173"/>
                  <a:pt x="226" y="173"/>
                </a:cubicBezTo>
                <a:cubicBezTo>
                  <a:pt x="227" y="173"/>
                  <a:pt x="227" y="173"/>
                  <a:pt x="227" y="173"/>
                </a:cubicBezTo>
                <a:cubicBezTo>
                  <a:pt x="227" y="172"/>
                  <a:pt x="227" y="172"/>
                  <a:pt x="227" y="172"/>
                </a:cubicBezTo>
                <a:cubicBezTo>
                  <a:pt x="229" y="169"/>
                  <a:pt x="229" y="169"/>
                  <a:pt x="229" y="169"/>
                </a:cubicBezTo>
                <a:cubicBezTo>
                  <a:pt x="230" y="168"/>
                  <a:pt x="230" y="168"/>
                  <a:pt x="230" y="168"/>
                </a:cubicBezTo>
                <a:cubicBezTo>
                  <a:pt x="231" y="169"/>
                  <a:pt x="231" y="169"/>
                  <a:pt x="231" y="169"/>
                </a:cubicBezTo>
                <a:cubicBezTo>
                  <a:pt x="236" y="169"/>
                  <a:pt x="236" y="169"/>
                  <a:pt x="236" y="169"/>
                </a:cubicBezTo>
                <a:cubicBezTo>
                  <a:pt x="237" y="170"/>
                  <a:pt x="237" y="170"/>
                  <a:pt x="237" y="170"/>
                </a:cubicBezTo>
                <a:cubicBezTo>
                  <a:pt x="239" y="171"/>
                  <a:pt x="239" y="171"/>
                  <a:pt x="239" y="171"/>
                </a:cubicBezTo>
                <a:cubicBezTo>
                  <a:pt x="242" y="172"/>
                  <a:pt x="242" y="172"/>
                  <a:pt x="242" y="172"/>
                </a:cubicBezTo>
                <a:cubicBezTo>
                  <a:pt x="243" y="173"/>
                  <a:pt x="243" y="173"/>
                  <a:pt x="243" y="173"/>
                </a:cubicBezTo>
                <a:cubicBezTo>
                  <a:pt x="244" y="174"/>
                  <a:pt x="244" y="174"/>
                  <a:pt x="244" y="174"/>
                </a:cubicBezTo>
                <a:cubicBezTo>
                  <a:pt x="247" y="177"/>
                  <a:pt x="247" y="177"/>
                  <a:pt x="247" y="177"/>
                </a:cubicBezTo>
                <a:cubicBezTo>
                  <a:pt x="248" y="177"/>
                  <a:pt x="248" y="177"/>
                  <a:pt x="248" y="177"/>
                </a:cubicBezTo>
                <a:cubicBezTo>
                  <a:pt x="252" y="176"/>
                  <a:pt x="252" y="176"/>
                  <a:pt x="252" y="176"/>
                </a:cubicBezTo>
                <a:cubicBezTo>
                  <a:pt x="254" y="175"/>
                  <a:pt x="254" y="175"/>
                  <a:pt x="254" y="175"/>
                </a:cubicBezTo>
                <a:cubicBezTo>
                  <a:pt x="255" y="176"/>
                  <a:pt x="255" y="176"/>
                  <a:pt x="255" y="176"/>
                </a:cubicBezTo>
                <a:cubicBezTo>
                  <a:pt x="256" y="175"/>
                  <a:pt x="256" y="175"/>
                  <a:pt x="256" y="175"/>
                </a:cubicBezTo>
                <a:cubicBezTo>
                  <a:pt x="257" y="176"/>
                  <a:pt x="257" y="176"/>
                  <a:pt x="257" y="176"/>
                </a:cubicBezTo>
                <a:cubicBezTo>
                  <a:pt x="257" y="178"/>
                  <a:pt x="257" y="178"/>
                  <a:pt x="257" y="178"/>
                </a:cubicBezTo>
                <a:cubicBezTo>
                  <a:pt x="257" y="179"/>
                  <a:pt x="257" y="179"/>
                  <a:pt x="257" y="179"/>
                </a:cubicBezTo>
                <a:cubicBezTo>
                  <a:pt x="257" y="180"/>
                  <a:pt x="257" y="180"/>
                  <a:pt x="257" y="180"/>
                </a:cubicBezTo>
                <a:cubicBezTo>
                  <a:pt x="255" y="181"/>
                  <a:pt x="255" y="181"/>
                  <a:pt x="255" y="181"/>
                </a:cubicBezTo>
                <a:cubicBezTo>
                  <a:pt x="255" y="183"/>
                  <a:pt x="255" y="183"/>
                  <a:pt x="255" y="183"/>
                </a:cubicBezTo>
                <a:cubicBezTo>
                  <a:pt x="256" y="184"/>
                  <a:pt x="256" y="184"/>
                  <a:pt x="256" y="184"/>
                </a:cubicBezTo>
                <a:cubicBezTo>
                  <a:pt x="256" y="186"/>
                  <a:pt x="256" y="186"/>
                  <a:pt x="256" y="186"/>
                </a:cubicBezTo>
                <a:cubicBezTo>
                  <a:pt x="258" y="188"/>
                  <a:pt x="258" y="188"/>
                  <a:pt x="258" y="188"/>
                </a:cubicBezTo>
                <a:cubicBezTo>
                  <a:pt x="258" y="189"/>
                  <a:pt x="258" y="189"/>
                  <a:pt x="258" y="189"/>
                </a:cubicBezTo>
                <a:cubicBezTo>
                  <a:pt x="257" y="190"/>
                  <a:pt x="257" y="190"/>
                  <a:pt x="257" y="190"/>
                </a:cubicBezTo>
                <a:cubicBezTo>
                  <a:pt x="258" y="194"/>
                  <a:pt x="258" y="194"/>
                  <a:pt x="258" y="194"/>
                </a:cubicBezTo>
                <a:cubicBezTo>
                  <a:pt x="259" y="194"/>
                  <a:pt x="259" y="194"/>
                  <a:pt x="259" y="194"/>
                </a:cubicBezTo>
                <a:cubicBezTo>
                  <a:pt x="259" y="193"/>
                  <a:pt x="259" y="193"/>
                  <a:pt x="259" y="193"/>
                </a:cubicBezTo>
                <a:cubicBezTo>
                  <a:pt x="259" y="192"/>
                  <a:pt x="259" y="192"/>
                  <a:pt x="259" y="192"/>
                </a:cubicBezTo>
                <a:cubicBezTo>
                  <a:pt x="260" y="191"/>
                  <a:pt x="260" y="191"/>
                  <a:pt x="260" y="191"/>
                </a:cubicBezTo>
                <a:cubicBezTo>
                  <a:pt x="259" y="190"/>
                  <a:pt x="259" y="190"/>
                  <a:pt x="259" y="190"/>
                </a:cubicBezTo>
                <a:cubicBezTo>
                  <a:pt x="260" y="189"/>
                  <a:pt x="260" y="189"/>
                  <a:pt x="260" y="189"/>
                </a:cubicBezTo>
                <a:cubicBezTo>
                  <a:pt x="261" y="187"/>
                  <a:pt x="261" y="187"/>
                  <a:pt x="261" y="187"/>
                </a:cubicBezTo>
                <a:cubicBezTo>
                  <a:pt x="262" y="188"/>
                  <a:pt x="262" y="188"/>
                  <a:pt x="262" y="188"/>
                </a:cubicBezTo>
                <a:cubicBezTo>
                  <a:pt x="263" y="190"/>
                  <a:pt x="263" y="190"/>
                  <a:pt x="263" y="190"/>
                </a:cubicBezTo>
                <a:cubicBezTo>
                  <a:pt x="263" y="193"/>
                  <a:pt x="263" y="193"/>
                  <a:pt x="263" y="193"/>
                </a:cubicBezTo>
                <a:cubicBezTo>
                  <a:pt x="263" y="194"/>
                  <a:pt x="263" y="194"/>
                  <a:pt x="263" y="194"/>
                </a:cubicBezTo>
                <a:cubicBezTo>
                  <a:pt x="263" y="195"/>
                  <a:pt x="263" y="195"/>
                  <a:pt x="263" y="195"/>
                </a:cubicBezTo>
                <a:cubicBezTo>
                  <a:pt x="263" y="196"/>
                  <a:pt x="263" y="196"/>
                  <a:pt x="263" y="196"/>
                </a:cubicBezTo>
                <a:cubicBezTo>
                  <a:pt x="262" y="197"/>
                  <a:pt x="262" y="197"/>
                  <a:pt x="262" y="197"/>
                </a:cubicBezTo>
                <a:cubicBezTo>
                  <a:pt x="264" y="198"/>
                  <a:pt x="264" y="198"/>
                  <a:pt x="264" y="198"/>
                </a:cubicBezTo>
                <a:cubicBezTo>
                  <a:pt x="266" y="198"/>
                  <a:pt x="266" y="198"/>
                  <a:pt x="266" y="198"/>
                </a:cubicBezTo>
                <a:cubicBezTo>
                  <a:pt x="268" y="198"/>
                  <a:pt x="268" y="198"/>
                  <a:pt x="268" y="198"/>
                </a:cubicBezTo>
                <a:cubicBezTo>
                  <a:pt x="269" y="200"/>
                  <a:pt x="269" y="200"/>
                  <a:pt x="269" y="200"/>
                </a:cubicBezTo>
                <a:cubicBezTo>
                  <a:pt x="269" y="201"/>
                  <a:pt x="269" y="201"/>
                  <a:pt x="269" y="201"/>
                </a:cubicBezTo>
                <a:cubicBezTo>
                  <a:pt x="271" y="202"/>
                  <a:pt x="271" y="202"/>
                  <a:pt x="271" y="202"/>
                </a:cubicBezTo>
                <a:cubicBezTo>
                  <a:pt x="273" y="202"/>
                  <a:pt x="273" y="202"/>
                  <a:pt x="273" y="202"/>
                </a:cubicBezTo>
                <a:cubicBezTo>
                  <a:pt x="276" y="205"/>
                  <a:pt x="276" y="205"/>
                  <a:pt x="276" y="205"/>
                </a:cubicBezTo>
                <a:cubicBezTo>
                  <a:pt x="275" y="204"/>
                  <a:pt x="275" y="204"/>
                  <a:pt x="275" y="204"/>
                </a:cubicBezTo>
                <a:cubicBezTo>
                  <a:pt x="276" y="202"/>
                  <a:pt x="276" y="202"/>
                  <a:pt x="276" y="202"/>
                </a:cubicBezTo>
                <a:cubicBezTo>
                  <a:pt x="277" y="200"/>
                  <a:pt x="277" y="200"/>
                  <a:pt x="277" y="200"/>
                </a:cubicBezTo>
                <a:cubicBezTo>
                  <a:pt x="279" y="200"/>
                  <a:pt x="279" y="200"/>
                  <a:pt x="279" y="200"/>
                </a:cubicBezTo>
                <a:cubicBezTo>
                  <a:pt x="282" y="202"/>
                  <a:pt x="282" y="202"/>
                  <a:pt x="282" y="202"/>
                </a:cubicBezTo>
                <a:cubicBezTo>
                  <a:pt x="283" y="202"/>
                  <a:pt x="283" y="202"/>
                  <a:pt x="283" y="202"/>
                </a:cubicBezTo>
                <a:cubicBezTo>
                  <a:pt x="284" y="204"/>
                  <a:pt x="284" y="204"/>
                  <a:pt x="284" y="204"/>
                </a:cubicBezTo>
                <a:cubicBezTo>
                  <a:pt x="285" y="206"/>
                  <a:pt x="285" y="206"/>
                  <a:pt x="285" y="206"/>
                </a:cubicBezTo>
                <a:cubicBezTo>
                  <a:pt x="285" y="203"/>
                  <a:pt x="285" y="203"/>
                  <a:pt x="285" y="203"/>
                </a:cubicBezTo>
                <a:cubicBezTo>
                  <a:pt x="284" y="202"/>
                  <a:pt x="284" y="202"/>
                  <a:pt x="284" y="202"/>
                </a:cubicBezTo>
                <a:cubicBezTo>
                  <a:pt x="283" y="202"/>
                  <a:pt x="283" y="202"/>
                  <a:pt x="283" y="202"/>
                </a:cubicBezTo>
                <a:cubicBezTo>
                  <a:pt x="281" y="201"/>
                  <a:pt x="281" y="201"/>
                  <a:pt x="281" y="201"/>
                </a:cubicBezTo>
                <a:cubicBezTo>
                  <a:pt x="279" y="200"/>
                  <a:pt x="279" y="200"/>
                  <a:pt x="279" y="200"/>
                </a:cubicBezTo>
                <a:cubicBezTo>
                  <a:pt x="277" y="200"/>
                  <a:pt x="277" y="200"/>
                  <a:pt x="277" y="200"/>
                </a:cubicBezTo>
                <a:cubicBezTo>
                  <a:pt x="275" y="202"/>
                  <a:pt x="275" y="202"/>
                  <a:pt x="275" y="202"/>
                </a:cubicBezTo>
                <a:cubicBezTo>
                  <a:pt x="274" y="201"/>
                  <a:pt x="274" y="201"/>
                  <a:pt x="274" y="201"/>
                </a:cubicBezTo>
                <a:cubicBezTo>
                  <a:pt x="273" y="202"/>
                  <a:pt x="273" y="202"/>
                  <a:pt x="273" y="202"/>
                </a:cubicBezTo>
                <a:cubicBezTo>
                  <a:pt x="271" y="201"/>
                  <a:pt x="271" y="201"/>
                  <a:pt x="271" y="201"/>
                </a:cubicBezTo>
                <a:cubicBezTo>
                  <a:pt x="269" y="198"/>
                  <a:pt x="269" y="198"/>
                  <a:pt x="269" y="198"/>
                </a:cubicBezTo>
                <a:cubicBezTo>
                  <a:pt x="268" y="197"/>
                  <a:pt x="268" y="197"/>
                  <a:pt x="268" y="197"/>
                </a:cubicBezTo>
                <a:cubicBezTo>
                  <a:pt x="266" y="197"/>
                  <a:pt x="266" y="197"/>
                  <a:pt x="266" y="197"/>
                </a:cubicBezTo>
                <a:cubicBezTo>
                  <a:pt x="264" y="195"/>
                  <a:pt x="264" y="195"/>
                  <a:pt x="264" y="195"/>
                </a:cubicBezTo>
                <a:cubicBezTo>
                  <a:pt x="265" y="196"/>
                  <a:pt x="265" y="196"/>
                  <a:pt x="265" y="196"/>
                </a:cubicBezTo>
                <a:cubicBezTo>
                  <a:pt x="266" y="195"/>
                  <a:pt x="266" y="195"/>
                  <a:pt x="266" y="195"/>
                </a:cubicBezTo>
                <a:cubicBezTo>
                  <a:pt x="268" y="193"/>
                  <a:pt x="268" y="193"/>
                  <a:pt x="268" y="193"/>
                </a:cubicBezTo>
                <a:cubicBezTo>
                  <a:pt x="267" y="191"/>
                  <a:pt x="267" y="191"/>
                  <a:pt x="267" y="191"/>
                </a:cubicBezTo>
                <a:cubicBezTo>
                  <a:pt x="265" y="190"/>
                  <a:pt x="265" y="190"/>
                  <a:pt x="265" y="190"/>
                </a:cubicBezTo>
                <a:cubicBezTo>
                  <a:pt x="265" y="187"/>
                  <a:pt x="265" y="187"/>
                  <a:pt x="265" y="187"/>
                </a:cubicBezTo>
                <a:cubicBezTo>
                  <a:pt x="263" y="184"/>
                  <a:pt x="263" y="184"/>
                  <a:pt x="263" y="184"/>
                </a:cubicBezTo>
                <a:cubicBezTo>
                  <a:pt x="261" y="183"/>
                  <a:pt x="261" y="183"/>
                  <a:pt x="261" y="183"/>
                </a:cubicBezTo>
                <a:cubicBezTo>
                  <a:pt x="260" y="182"/>
                  <a:pt x="260" y="182"/>
                  <a:pt x="260" y="182"/>
                </a:cubicBezTo>
                <a:cubicBezTo>
                  <a:pt x="260" y="180"/>
                  <a:pt x="260" y="180"/>
                  <a:pt x="260" y="180"/>
                </a:cubicBezTo>
                <a:cubicBezTo>
                  <a:pt x="260" y="179"/>
                  <a:pt x="260" y="179"/>
                  <a:pt x="260" y="179"/>
                </a:cubicBezTo>
                <a:cubicBezTo>
                  <a:pt x="260" y="176"/>
                  <a:pt x="260" y="176"/>
                  <a:pt x="260" y="176"/>
                </a:cubicBezTo>
                <a:cubicBezTo>
                  <a:pt x="258" y="174"/>
                  <a:pt x="258" y="174"/>
                  <a:pt x="258" y="174"/>
                </a:cubicBezTo>
                <a:cubicBezTo>
                  <a:pt x="257" y="174"/>
                  <a:pt x="257" y="174"/>
                  <a:pt x="257" y="174"/>
                </a:cubicBezTo>
                <a:cubicBezTo>
                  <a:pt x="255" y="173"/>
                  <a:pt x="255" y="173"/>
                  <a:pt x="255" y="173"/>
                </a:cubicBezTo>
                <a:cubicBezTo>
                  <a:pt x="252" y="173"/>
                  <a:pt x="252" y="173"/>
                  <a:pt x="252" y="173"/>
                </a:cubicBezTo>
                <a:cubicBezTo>
                  <a:pt x="251" y="171"/>
                  <a:pt x="251" y="171"/>
                  <a:pt x="251" y="171"/>
                </a:cubicBezTo>
                <a:cubicBezTo>
                  <a:pt x="249" y="170"/>
                  <a:pt x="249" y="170"/>
                  <a:pt x="249" y="170"/>
                </a:cubicBezTo>
                <a:cubicBezTo>
                  <a:pt x="249" y="168"/>
                  <a:pt x="249" y="168"/>
                  <a:pt x="249" y="168"/>
                </a:cubicBezTo>
                <a:cubicBezTo>
                  <a:pt x="249" y="167"/>
                  <a:pt x="249" y="167"/>
                  <a:pt x="249" y="167"/>
                </a:cubicBezTo>
                <a:cubicBezTo>
                  <a:pt x="249" y="166"/>
                  <a:pt x="249" y="166"/>
                  <a:pt x="249" y="166"/>
                </a:cubicBezTo>
                <a:cubicBezTo>
                  <a:pt x="247" y="167"/>
                  <a:pt x="247" y="167"/>
                  <a:pt x="247" y="167"/>
                </a:cubicBezTo>
                <a:cubicBezTo>
                  <a:pt x="243" y="167"/>
                  <a:pt x="243" y="167"/>
                  <a:pt x="243" y="167"/>
                </a:cubicBezTo>
                <a:cubicBezTo>
                  <a:pt x="241" y="167"/>
                  <a:pt x="241" y="167"/>
                  <a:pt x="241" y="167"/>
                </a:cubicBezTo>
                <a:cubicBezTo>
                  <a:pt x="239" y="166"/>
                  <a:pt x="239" y="166"/>
                  <a:pt x="239" y="166"/>
                </a:cubicBezTo>
                <a:cubicBezTo>
                  <a:pt x="239" y="164"/>
                  <a:pt x="239" y="164"/>
                  <a:pt x="239" y="164"/>
                </a:cubicBezTo>
                <a:cubicBezTo>
                  <a:pt x="239" y="164"/>
                  <a:pt x="239" y="164"/>
                  <a:pt x="239" y="164"/>
                </a:cubicBezTo>
                <a:cubicBezTo>
                  <a:pt x="238" y="163"/>
                  <a:pt x="238" y="163"/>
                  <a:pt x="238" y="163"/>
                </a:cubicBezTo>
                <a:cubicBezTo>
                  <a:pt x="238" y="161"/>
                  <a:pt x="238" y="161"/>
                  <a:pt x="238" y="161"/>
                </a:cubicBezTo>
                <a:cubicBezTo>
                  <a:pt x="237" y="158"/>
                  <a:pt x="237" y="158"/>
                  <a:pt x="237" y="158"/>
                </a:cubicBezTo>
                <a:cubicBezTo>
                  <a:pt x="234" y="157"/>
                  <a:pt x="234" y="157"/>
                  <a:pt x="234" y="157"/>
                </a:cubicBezTo>
                <a:cubicBezTo>
                  <a:pt x="235" y="156"/>
                  <a:pt x="235" y="156"/>
                  <a:pt x="235" y="156"/>
                </a:cubicBezTo>
                <a:cubicBezTo>
                  <a:pt x="235" y="155"/>
                  <a:pt x="235" y="155"/>
                  <a:pt x="235" y="155"/>
                </a:cubicBezTo>
                <a:cubicBezTo>
                  <a:pt x="234" y="155"/>
                  <a:pt x="234" y="155"/>
                  <a:pt x="234" y="155"/>
                </a:cubicBezTo>
                <a:cubicBezTo>
                  <a:pt x="233" y="154"/>
                  <a:pt x="233" y="154"/>
                  <a:pt x="233" y="154"/>
                </a:cubicBezTo>
                <a:cubicBezTo>
                  <a:pt x="233" y="153"/>
                  <a:pt x="233" y="153"/>
                  <a:pt x="233" y="153"/>
                </a:cubicBezTo>
                <a:cubicBezTo>
                  <a:pt x="233" y="151"/>
                  <a:pt x="233" y="151"/>
                  <a:pt x="233" y="151"/>
                </a:cubicBezTo>
                <a:cubicBezTo>
                  <a:pt x="232" y="150"/>
                  <a:pt x="232" y="150"/>
                  <a:pt x="232" y="150"/>
                </a:cubicBezTo>
                <a:cubicBezTo>
                  <a:pt x="233" y="150"/>
                  <a:pt x="233" y="150"/>
                  <a:pt x="233" y="150"/>
                </a:cubicBezTo>
                <a:cubicBezTo>
                  <a:pt x="235" y="150"/>
                  <a:pt x="235" y="150"/>
                  <a:pt x="235" y="150"/>
                </a:cubicBezTo>
                <a:cubicBezTo>
                  <a:pt x="236" y="148"/>
                  <a:pt x="236" y="148"/>
                  <a:pt x="236" y="148"/>
                </a:cubicBezTo>
                <a:cubicBezTo>
                  <a:pt x="238" y="148"/>
                  <a:pt x="238" y="148"/>
                  <a:pt x="238" y="148"/>
                </a:cubicBezTo>
                <a:cubicBezTo>
                  <a:pt x="241" y="147"/>
                  <a:pt x="241" y="147"/>
                  <a:pt x="241" y="147"/>
                </a:cubicBezTo>
                <a:cubicBezTo>
                  <a:pt x="246" y="145"/>
                  <a:pt x="246" y="145"/>
                  <a:pt x="246" y="145"/>
                </a:cubicBezTo>
                <a:cubicBezTo>
                  <a:pt x="248" y="144"/>
                  <a:pt x="248" y="144"/>
                  <a:pt x="248" y="144"/>
                </a:cubicBezTo>
                <a:cubicBezTo>
                  <a:pt x="249" y="144"/>
                  <a:pt x="249" y="144"/>
                  <a:pt x="249" y="144"/>
                </a:cubicBezTo>
                <a:cubicBezTo>
                  <a:pt x="250" y="144"/>
                  <a:pt x="250" y="144"/>
                  <a:pt x="250" y="144"/>
                </a:cubicBezTo>
                <a:cubicBezTo>
                  <a:pt x="252" y="143"/>
                  <a:pt x="252" y="143"/>
                  <a:pt x="252" y="143"/>
                </a:cubicBezTo>
                <a:cubicBezTo>
                  <a:pt x="253" y="142"/>
                  <a:pt x="253" y="142"/>
                  <a:pt x="253" y="142"/>
                </a:cubicBezTo>
                <a:cubicBezTo>
                  <a:pt x="255" y="141"/>
                  <a:pt x="255" y="141"/>
                  <a:pt x="255" y="141"/>
                </a:cubicBezTo>
                <a:cubicBezTo>
                  <a:pt x="259" y="139"/>
                  <a:pt x="259" y="139"/>
                  <a:pt x="259" y="139"/>
                </a:cubicBezTo>
                <a:cubicBezTo>
                  <a:pt x="260" y="140"/>
                  <a:pt x="260" y="140"/>
                  <a:pt x="260" y="140"/>
                </a:cubicBezTo>
                <a:cubicBezTo>
                  <a:pt x="259" y="141"/>
                  <a:pt x="259" y="141"/>
                  <a:pt x="259" y="141"/>
                </a:cubicBezTo>
                <a:cubicBezTo>
                  <a:pt x="259" y="142"/>
                  <a:pt x="259" y="142"/>
                  <a:pt x="259" y="142"/>
                </a:cubicBezTo>
                <a:cubicBezTo>
                  <a:pt x="258" y="143"/>
                  <a:pt x="258" y="143"/>
                  <a:pt x="258" y="143"/>
                </a:cubicBezTo>
                <a:cubicBezTo>
                  <a:pt x="257" y="145"/>
                  <a:pt x="257" y="145"/>
                  <a:pt x="257" y="145"/>
                </a:cubicBezTo>
                <a:cubicBezTo>
                  <a:pt x="257" y="147"/>
                  <a:pt x="257" y="147"/>
                  <a:pt x="257" y="147"/>
                </a:cubicBezTo>
                <a:cubicBezTo>
                  <a:pt x="260" y="149"/>
                  <a:pt x="260" y="149"/>
                  <a:pt x="260" y="149"/>
                </a:cubicBezTo>
                <a:cubicBezTo>
                  <a:pt x="262" y="149"/>
                  <a:pt x="262" y="149"/>
                  <a:pt x="262" y="149"/>
                </a:cubicBezTo>
                <a:cubicBezTo>
                  <a:pt x="261" y="148"/>
                  <a:pt x="261" y="148"/>
                  <a:pt x="261" y="148"/>
                </a:cubicBezTo>
                <a:cubicBezTo>
                  <a:pt x="258" y="146"/>
                  <a:pt x="258" y="146"/>
                  <a:pt x="258" y="146"/>
                </a:cubicBezTo>
                <a:cubicBezTo>
                  <a:pt x="258" y="145"/>
                  <a:pt x="258" y="145"/>
                  <a:pt x="258" y="145"/>
                </a:cubicBezTo>
                <a:cubicBezTo>
                  <a:pt x="259" y="144"/>
                  <a:pt x="259" y="144"/>
                  <a:pt x="259" y="144"/>
                </a:cubicBezTo>
                <a:cubicBezTo>
                  <a:pt x="262" y="142"/>
                  <a:pt x="262" y="142"/>
                  <a:pt x="262" y="142"/>
                </a:cubicBezTo>
                <a:cubicBezTo>
                  <a:pt x="263" y="140"/>
                  <a:pt x="263" y="140"/>
                  <a:pt x="263" y="140"/>
                </a:cubicBezTo>
                <a:cubicBezTo>
                  <a:pt x="262" y="138"/>
                  <a:pt x="262" y="138"/>
                  <a:pt x="262" y="138"/>
                </a:cubicBezTo>
                <a:cubicBezTo>
                  <a:pt x="260" y="138"/>
                  <a:pt x="260" y="138"/>
                  <a:pt x="260" y="138"/>
                </a:cubicBezTo>
                <a:cubicBezTo>
                  <a:pt x="259" y="137"/>
                  <a:pt x="259" y="137"/>
                  <a:pt x="259" y="137"/>
                </a:cubicBezTo>
                <a:cubicBezTo>
                  <a:pt x="259" y="136"/>
                  <a:pt x="259" y="136"/>
                  <a:pt x="259" y="136"/>
                </a:cubicBezTo>
                <a:cubicBezTo>
                  <a:pt x="257" y="136"/>
                  <a:pt x="257" y="136"/>
                  <a:pt x="257" y="136"/>
                </a:cubicBezTo>
                <a:cubicBezTo>
                  <a:pt x="256" y="136"/>
                  <a:pt x="256" y="136"/>
                  <a:pt x="256" y="136"/>
                </a:cubicBezTo>
                <a:cubicBezTo>
                  <a:pt x="256" y="136"/>
                  <a:pt x="256" y="136"/>
                  <a:pt x="256" y="136"/>
                </a:cubicBezTo>
                <a:cubicBezTo>
                  <a:pt x="255" y="134"/>
                  <a:pt x="255" y="134"/>
                  <a:pt x="255" y="134"/>
                </a:cubicBezTo>
                <a:cubicBezTo>
                  <a:pt x="253" y="134"/>
                  <a:pt x="253" y="134"/>
                  <a:pt x="253" y="134"/>
                </a:cubicBezTo>
                <a:cubicBezTo>
                  <a:pt x="252" y="135"/>
                  <a:pt x="252" y="135"/>
                  <a:pt x="252" y="135"/>
                </a:cubicBezTo>
                <a:cubicBezTo>
                  <a:pt x="250" y="133"/>
                  <a:pt x="250" y="133"/>
                  <a:pt x="250" y="133"/>
                </a:cubicBezTo>
                <a:cubicBezTo>
                  <a:pt x="251" y="132"/>
                  <a:pt x="251" y="132"/>
                  <a:pt x="251" y="132"/>
                </a:cubicBezTo>
                <a:cubicBezTo>
                  <a:pt x="251" y="131"/>
                  <a:pt x="251" y="131"/>
                  <a:pt x="251" y="131"/>
                </a:cubicBezTo>
                <a:cubicBezTo>
                  <a:pt x="252" y="131"/>
                  <a:pt x="252" y="131"/>
                  <a:pt x="252" y="131"/>
                </a:cubicBezTo>
                <a:cubicBezTo>
                  <a:pt x="253" y="132"/>
                  <a:pt x="253" y="132"/>
                  <a:pt x="253" y="132"/>
                </a:cubicBezTo>
                <a:cubicBezTo>
                  <a:pt x="255" y="132"/>
                  <a:pt x="255" y="132"/>
                  <a:pt x="255" y="132"/>
                </a:cubicBezTo>
                <a:cubicBezTo>
                  <a:pt x="256" y="131"/>
                  <a:pt x="256" y="131"/>
                  <a:pt x="256" y="131"/>
                </a:cubicBezTo>
                <a:cubicBezTo>
                  <a:pt x="255" y="131"/>
                  <a:pt x="255" y="131"/>
                  <a:pt x="255" y="131"/>
                </a:cubicBezTo>
                <a:cubicBezTo>
                  <a:pt x="255" y="131"/>
                  <a:pt x="255" y="131"/>
                  <a:pt x="255" y="131"/>
                </a:cubicBezTo>
                <a:cubicBezTo>
                  <a:pt x="254" y="131"/>
                  <a:pt x="254" y="131"/>
                  <a:pt x="254" y="131"/>
                </a:cubicBezTo>
                <a:cubicBezTo>
                  <a:pt x="252" y="130"/>
                  <a:pt x="252" y="130"/>
                  <a:pt x="252" y="130"/>
                </a:cubicBezTo>
                <a:cubicBezTo>
                  <a:pt x="252" y="129"/>
                  <a:pt x="252" y="129"/>
                  <a:pt x="252" y="129"/>
                </a:cubicBezTo>
                <a:cubicBezTo>
                  <a:pt x="251" y="129"/>
                  <a:pt x="251" y="129"/>
                  <a:pt x="251" y="129"/>
                </a:cubicBezTo>
                <a:cubicBezTo>
                  <a:pt x="249" y="128"/>
                  <a:pt x="249" y="128"/>
                  <a:pt x="249" y="128"/>
                </a:cubicBezTo>
                <a:cubicBezTo>
                  <a:pt x="247" y="129"/>
                  <a:pt x="247" y="129"/>
                  <a:pt x="247" y="129"/>
                </a:cubicBezTo>
                <a:cubicBezTo>
                  <a:pt x="247" y="128"/>
                  <a:pt x="247" y="128"/>
                  <a:pt x="247" y="128"/>
                </a:cubicBezTo>
                <a:cubicBezTo>
                  <a:pt x="247" y="127"/>
                  <a:pt x="247" y="127"/>
                  <a:pt x="247" y="127"/>
                </a:cubicBezTo>
                <a:cubicBezTo>
                  <a:pt x="247" y="126"/>
                  <a:pt x="247" y="126"/>
                  <a:pt x="247" y="126"/>
                </a:cubicBezTo>
                <a:cubicBezTo>
                  <a:pt x="246" y="125"/>
                  <a:pt x="246" y="125"/>
                  <a:pt x="246" y="125"/>
                </a:cubicBezTo>
                <a:cubicBezTo>
                  <a:pt x="247" y="124"/>
                  <a:pt x="247" y="124"/>
                  <a:pt x="247" y="124"/>
                </a:cubicBezTo>
                <a:cubicBezTo>
                  <a:pt x="248" y="125"/>
                  <a:pt x="248" y="125"/>
                  <a:pt x="248" y="125"/>
                </a:cubicBezTo>
                <a:cubicBezTo>
                  <a:pt x="249" y="126"/>
                  <a:pt x="249" y="126"/>
                  <a:pt x="249" y="126"/>
                </a:cubicBezTo>
                <a:cubicBezTo>
                  <a:pt x="250" y="126"/>
                  <a:pt x="250" y="126"/>
                  <a:pt x="250" y="126"/>
                </a:cubicBezTo>
                <a:cubicBezTo>
                  <a:pt x="252" y="128"/>
                  <a:pt x="252" y="128"/>
                  <a:pt x="252" y="128"/>
                </a:cubicBezTo>
                <a:cubicBezTo>
                  <a:pt x="252" y="127"/>
                  <a:pt x="252" y="127"/>
                  <a:pt x="252" y="127"/>
                </a:cubicBezTo>
                <a:cubicBezTo>
                  <a:pt x="251" y="126"/>
                  <a:pt x="251" y="126"/>
                  <a:pt x="251" y="126"/>
                </a:cubicBezTo>
                <a:cubicBezTo>
                  <a:pt x="253" y="125"/>
                  <a:pt x="253" y="125"/>
                  <a:pt x="253" y="125"/>
                </a:cubicBezTo>
                <a:cubicBezTo>
                  <a:pt x="253" y="123"/>
                  <a:pt x="253" y="123"/>
                  <a:pt x="253" y="123"/>
                </a:cubicBezTo>
                <a:cubicBezTo>
                  <a:pt x="252" y="122"/>
                  <a:pt x="252" y="122"/>
                  <a:pt x="252" y="122"/>
                </a:cubicBezTo>
                <a:cubicBezTo>
                  <a:pt x="252" y="121"/>
                  <a:pt x="252" y="121"/>
                  <a:pt x="252" y="121"/>
                </a:cubicBezTo>
                <a:cubicBezTo>
                  <a:pt x="253" y="122"/>
                  <a:pt x="253" y="122"/>
                  <a:pt x="253" y="122"/>
                </a:cubicBezTo>
                <a:cubicBezTo>
                  <a:pt x="254" y="121"/>
                  <a:pt x="254" y="121"/>
                  <a:pt x="254" y="121"/>
                </a:cubicBezTo>
                <a:cubicBezTo>
                  <a:pt x="251" y="120"/>
                  <a:pt x="251" y="120"/>
                  <a:pt x="251" y="120"/>
                </a:cubicBezTo>
                <a:cubicBezTo>
                  <a:pt x="251" y="121"/>
                  <a:pt x="251" y="121"/>
                  <a:pt x="251" y="121"/>
                </a:cubicBezTo>
                <a:cubicBezTo>
                  <a:pt x="250" y="121"/>
                  <a:pt x="250" y="121"/>
                  <a:pt x="250" y="121"/>
                </a:cubicBezTo>
                <a:cubicBezTo>
                  <a:pt x="250" y="120"/>
                  <a:pt x="250" y="120"/>
                  <a:pt x="250" y="120"/>
                </a:cubicBezTo>
                <a:cubicBezTo>
                  <a:pt x="251" y="119"/>
                  <a:pt x="251" y="119"/>
                  <a:pt x="251" y="119"/>
                </a:cubicBezTo>
                <a:cubicBezTo>
                  <a:pt x="253" y="118"/>
                  <a:pt x="253" y="118"/>
                  <a:pt x="253" y="118"/>
                </a:cubicBezTo>
                <a:cubicBezTo>
                  <a:pt x="255" y="118"/>
                  <a:pt x="255" y="118"/>
                  <a:pt x="255" y="118"/>
                </a:cubicBezTo>
                <a:cubicBezTo>
                  <a:pt x="254" y="117"/>
                  <a:pt x="254" y="117"/>
                  <a:pt x="254" y="117"/>
                </a:cubicBezTo>
                <a:cubicBezTo>
                  <a:pt x="256" y="115"/>
                  <a:pt x="256" y="115"/>
                  <a:pt x="256" y="115"/>
                </a:cubicBezTo>
                <a:cubicBezTo>
                  <a:pt x="256" y="114"/>
                  <a:pt x="256" y="114"/>
                  <a:pt x="256" y="114"/>
                </a:cubicBezTo>
                <a:cubicBezTo>
                  <a:pt x="256" y="114"/>
                  <a:pt x="256" y="114"/>
                  <a:pt x="256" y="114"/>
                </a:cubicBezTo>
                <a:cubicBezTo>
                  <a:pt x="256" y="113"/>
                  <a:pt x="256" y="113"/>
                  <a:pt x="256" y="113"/>
                </a:cubicBezTo>
                <a:cubicBezTo>
                  <a:pt x="257" y="111"/>
                  <a:pt x="257" y="111"/>
                  <a:pt x="257" y="111"/>
                </a:cubicBezTo>
                <a:cubicBezTo>
                  <a:pt x="257" y="111"/>
                  <a:pt x="257" y="111"/>
                  <a:pt x="257" y="111"/>
                </a:cubicBezTo>
                <a:cubicBezTo>
                  <a:pt x="258" y="112"/>
                  <a:pt x="258" y="112"/>
                  <a:pt x="258" y="112"/>
                </a:cubicBezTo>
                <a:cubicBezTo>
                  <a:pt x="259" y="112"/>
                  <a:pt x="259" y="112"/>
                  <a:pt x="259" y="112"/>
                </a:cubicBezTo>
                <a:cubicBezTo>
                  <a:pt x="259" y="111"/>
                  <a:pt x="259" y="111"/>
                  <a:pt x="259" y="111"/>
                </a:cubicBezTo>
                <a:cubicBezTo>
                  <a:pt x="260" y="111"/>
                  <a:pt x="260" y="111"/>
                  <a:pt x="260" y="111"/>
                </a:cubicBezTo>
                <a:cubicBezTo>
                  <a:pt x="259" y="110"/>
                  <a:pt x="259" y="110"/>
                  <a:pt x="259" y="110"/>
                </a:cubicBezTo>
                <a:cubicBezTo>
                  <a:pt x="259" y="109"/>
                  <a:pt x="259" y="109"/>
                  <a:pt x="259" y="109"/>
                </a:cubicBezTo>
                <a:cubicBezTo>
                  <a:pt x="261" y="108"/>
                  <a:pt x="261" y="108"/>
                  <a:pt x="261" y="108"/>
                </a:cubicBezTo>
                <a:cubicBezTo>
                  <a:pt x="262" y="108"/>
                  <a:pt x="262" y="108"/>
                  <a:pt x="262" y="108"/>
                </a:cubicBezTo>
                <a:cubicBezTo>
                  <a:pt x="262" y="107"/>
                  <a:pt x="262" y="107"/>
                  <a:pt x="262" y="107"/>
                </a:cubicBezTo>
                <a:cubicBezTo>
                  <a:pt x="263" y="107"/>
                  <a:pt x="263" y="107"/>
                  <a:pt x="263" y="107"/>
                </a:cubicBezTo>
                <a:cubicBezTo>
                  <a:pt x="264" y="107"/>
                  <a:pt x="264" y="107"/>
                  <a:pt x="264" y="107"/>
                </a:cubicBezTo>
                <a:cubicBezTo>
                  <a:pt x="266" y="107"/>
                  <a:pt x="266" y="107"/>
                  <a:pt x="266" y="107"/>
                </a:cubicBezTo>
                <a:cubicBezTo>
                  <a:pt x="265" y="106"/>
                  <a:pt x="265" y="106"/>
                  <a:pt x="265" y="106"/>
                </a:cubicBezTo>
                <a:cubicBezTo>
                  <a:pt x="266" y="105"/>
                  <a:pt x="266" y="105"/>
                  <a:pt x="266" y="105"/>
                </a:cubicBezTo>
                <a:cubicBezTo>
                  <a:pt x="268" y="105"/>
                  <a:pt x="268" y="105"/>
                  <a:pt x="268" y="105"/>
                </a:cubicBezTo>
                <a:cubicBezTo>
                  <a:pt x="270" y="104"/>
                  <a:pt x="270" y="104"/>
                  <a:pt x="270" y="104"/>
                </a:cubicBezTo>
                <a:cubicBezTo>
                  <a:pt x="271" y="102"/>
                  <a:pt x="271" y="102"/>
                  <a:pt x="271" y="102"/>
                </a:cubicBezTo>
                <a:cubicBezTo>
                  <a:pt x="274" y="101"/>
                  <a:pt x="274" y="101"/>
                  <a:pt x="274" y="101"/>
                </a:cubicBezTo>
                <a:cubicBezTo>
                  <a:pt x="274" y="100"/>
                  <a:pt x="274" y="100"/>
                  <a:pt x="274" y="100"/>
                </a:cubicBezTo>
                <a:cubicBezTo>
                  <a:pt x="274" y="100"/>
                  <a:pt x="274" y="100"/>
                  <a:pt x="274" y="100"/>
                </a:cubicBezTo>
                <a:cubicBezTo>
                  <a:pt x="271" y="101"/>
                  <a:pt x="271" y="101"/>
                  <a:pt x="271" y="101"/>
                </a:cubicBezTo>
                <a:cubicBezTo>
                  <a:pt x="271" y="100"/>
                  <a:pt x="271" y="100"/>
                  <a:pt x="271" y="100"/>
                </a:cubicBezTo>
                <a:cubicBezTo>
                  <a:pt x="269" y="102"/>
                  <a:pt x="269" y="102"/>
                  <a:pt x="269" y="102"/>
                </a:cubicBezTo>
                <a:cubicBezTo>
                  <a:pt x="269" y="101"/>
                  <a:pt x="269" y="101"/>
                  <a:pt x="269" y="101"/>
                </a:cubicBezTo>
                <a:cubicBezTo>
                  <a:pt x="269" y="98"/>
                  <a:pt x="269" y="98"/>
                  <a:pt x="269" y="98"/>
                </a:cubicBezTo>
                <a:cubicBezTo>
                  <a:pt x="269" y="98"/>
                  <a:pt x="269" y="98"/>
                  <a:pt x="269" y="98"/>
                </a:cubicBezTo>
                <a:cubicBezTo>
                  <a:pt x="270" y="96"/>
                  <a:pt x="270" y="96"/>
                  <a:pt x="270" y="96"/>
                </a:cubicBezTo>
                <a:cubicBezTo>
                  <a:pt x="270" y="97"/>
                  <a:pt x="270" y="97"/>
                  <a:pt x="270" y="97"/>
                </a:cubicBezTo>
                <a:cubicBezTo>
                  <a:pt x="270" y="97"/>
                  <a:pt x="270" y="97"/>
                  <a:pt x="270" y="97"/>
                </a:cubicBezTo>
                <a:cubicBezTo>
                  <a:pt x="271" y="97"/>
                  <a:pt x="271" y="97"/>
                  <a:pt x="271" y="97"/>
                </a:cubicBezTo>
                <a:cubicBezTo>
                  <a:pt x="272" y="97"/>
                  <a:pt x="272" y="97"/>
                  <a:pt x="272" y="97"/>
                </a:cubicBezTo>
                <a:cubicBezTo>
                  <a:pt x="270" y="95"/>
                  <a:pt x="270" y="95"/>
                  <a:pt x="270" y="95"/>
                </a:cubicBezTo>
                <a:cubicBezTo>
                  <a:pt x="272" y="95"/>
                  <a:pt x="272" y="95"/>
                  <a:pt x="272" y="95"/>
                </a:cubicBezTo>
                <a:cubicBezTo>
                  <a:pt x="273" y="96"/>
                  <a:pt x="273" y="96"/>
                  <a:pt x="273" y="96"/>
                </a:cubicBezTo>
                <a:cubicBezTo>
                  <a:pt x="274" y="96"/>
                  <a:pt x="274" y="96"/>
                  <a:pt x="274" y="96"/>
                </a:cubicBezTo>
                <a:cubicBezTo>
                  <a:pt x="276" y="95"/>
                  <a:pt x="276" y="95"/>
                  <a:pt x="276" y="95"/>
                </a:cubicBezTo>
                <a:cubicBezTo>
                  <a:pt x="277" y="95"/>
                  <a:pt x="277" y="95"/>
                  <a:pt x="277" y="95"/>
                </a:cubicBezTo>
                <a:cubicBezTo>
                  <a:pt x="281" y="94"/>
                  <a:pt x="281" y="94"/>
                  <a:pt x="281" y="94"/>
                </a:cubicBezTo>
                <a:cubicBezTo>
                  <a:pt x="282" y="94"/>
                  <a:pt x="282" y="94"/>
                  <a:pt x="282" y="94"/>
                </a:cubicBezTo>
                <a:cubicBezTo>
                  <a:pt x="283" y="95"/>
                  <a:pt x="283" y="95"/>
                  <a:pt x="283" y="95"/>
                </a:cubicBezTo>
                <a:cubicBezTo>
                  <a:pt x="281" y="98"/>
                  <a:pt x="281" y="98"/>
                  <a:pt x="281" y="98"/>
                </a:cubicBezTo>
                <a:cubicBezTo>
                  <a:pt x="281" y="99"/>
                  <a:pt x="281" y="99"/>
                  <a:pt x="281" y="99"/>
                </a:cubicBezTo>
                <a:cubicBezTo>
                  <a:pt x="283" y="100"/>
                  <a:pt x="283" y="100"/>
                  <a:pt x="283" y="100"/>
                </a:cubicBezTo>
                <a:cubicBezTo>
                  <a:pt x="283" y="98"/>
                  <a:pt x="283" y="98"/>
                  <a:pt x="283" y="98"/>
                </a:cubicBezTo>
                <a:cubicBezTo>
                  <a:pt x="284" y="96"/>
                  <a:pt x="284" y="96"/>
                  <a:pt x="284" y="96"/>
                </a:cubicBezTo>
                <a:cubicBezTo>
                  <a:pt x="284" y="95"/>
                  <a:pt x="284" y="95"/>
                  <a:pt x="284" y="95"/>
                </a:cubicBezTo>
                <a:cubicBezTo>
                  <a:pt x="284" y="94"/>
                  <a:pt x="284" y="94"/>
                  <a:pt x="284" y="94"/>
                </a:cubicBezTo>
                <a:cubicBezTo>
                  <a:pt x="285" y="96"/>
                  <a:pt x="285" y="96"/>
                  <a:pt x="285" y="96"/>
                </a:cubicBezTo>
                <a:cubicBezTo>
                  <a:pt x="285" y="97"/>
                  <a:pt x="285" y="97"/>
                  <a:pt x="285" y="97"/>
                </a:cubicBezTo>
                <a:cubicBezTo>
                  <a:pt x="286" y="97"/>
                  <a:pt x="286" y="97"/>
                  <a:pt x="286" y="97"/>
                </a:cubicBezTo>
                <a:cubicBezTo>
                  <a:pt x="287" y="96"/>
                  <a:pt x="287" y="96"/>
                  <a:pt x="287" y="96"/>
                </a:cubicBezTo>
                <a:cubicBezTo>
                  <a:pt x="286" y="95"/>
                  <a:pt x="286" y="95"/>
                  <a:pt x="286" y="95"/>
                </a:cubicBezTo>
                <a:cubicBezTo>
                  <a:pt x="287" y="94"/>
                  <a:pt x="287" y="94"/>
                  <a:pt x="287" y="94"/>
                </a:cubicBezTo>
                <a:cubicBezTo>
                  <a:pt x="288" y="94"/>
                  <a:pt x="288" y="94"/>
                  <a:pt x="288" y="94"/>
                </a:cubicBezTo>
                <a:cubicBezTo>
                  <a:pt x="288" y="96"/>
                  <a:pt x="288" y="96"/>
                  <a:pt x="288" y="96"/>
                </a:cubicBezTo>
                <a:cubicBezTo>
                  <a:pt x="290" y="94"/>
                  <a:pt x="290" y="94"/>
                  <a:pt x="290" y="94"/>
                </a:cubicBezTo>
                <a:cubicBezTo>
                  <a:pt x="290" y="93"/>
                  <a:pt x="290" y="93"/>
                  <a:pt x="290" y="93"/>
                </a:cubicBezTo>
                <a:cubicBezTo>
                  <a:pt x="289" y="92"/>
                  <a:pt x="289" y="92"/>
                  <a:pt x="289" y="92"/>
                </a:cubicBezTo>
                <a:cubicBezTo>
                  <a:pt x="291" y="92"/>
                  <a:pt x="291" y="92"/>
                  <a:pt x="291" y="92"/>
                </a:cubicBezTo>
                <a:cubicBezTo>
                  <a:pt x="291" y="92"/>
                  <a:pt x="291" y="92"/>
                  <a:pt x="291" y="92"/>
                </a:cubicBezTo>
                <a:cubicBezTo>
                  <a:pt x="290" y="91"/>
                  <a:pt x="290" y="91"/>
                  <a:pt x="290" y="91"/>
                </a:cubicBezTo>
                <a:cubicBezTo>
                  <a:pt x="292" y="90"/>
                  <a:pt x="292" y="90"/>
                  <a:pt x="292" y="90"/>
                </a:cubicBezTo>
                <a:cubicBezTo>
                  <a:pt x="293" y="90"/>
                  <a:pt x="293" y="90"/>
                  <a:pt x="293" y="90"/>
                </a:cubicBezTo>
                <a:cubicBezTo>
                  <a:pt x="294" y="89"/>
                  <a:pt x="294" y="89"/>
                  <a:pt x="294" y="89"/>
                </a:cubicBezTo>
                <a:cubicBezTo>
                  <a:pt x="295" y="89"/>
                  <a:pt x="295" y="89"/>
                  <a:pt x="295" y="89"/>
                </a:cubicBezTo>
                <a:cubicBezTo>
                  <a:pt x="295" y="90"/>
                  <a:pt x="295" y="90"/>
                  <a:pt x="295" y="90"/>
                </a:cubicBezTo>
                <a:cubicBezTo>
                  <a:pt x="296" y="90"/>
                  <a:pt x="296" y="90"/>
                  <a:pt x="296" y="90"/>
                </a:cubicBezTo>
                <a:cubicBezTo>
                  <a:pt x="298" y="91"/>
                  <a:pt x="298" y="91"/>
                  <a:pt x="298" y="91"/>
                </a:cubicBezTo>
                <a:cubicBezTo>
                  <a:pt x="298" y="92"/>
                  <a:pt x="298" y="92"/>
                  <a:pt x="298" y="92"/>
                </a:cubicBezTo>
                <a:cubicBezTo>
                  <a:pt x="298" y="93"/>
                  <a:pt x="298" y="93"/>
                  <a:pt x="298" y="93"/>
                </a:cubicBezTo>
                <a:cubicBezTo>
                  <a:pt x="297" y="96"/>
                  <a:pt x="297" y="96"/>
                  <a:pt x="297" y="96"/>
                </a:cubicBezTo>
                <a:cubicBezTo>
                  <a:pt x="299" y="95"/>
                  <a:pt x="299" y="95"/>
                  <a:pt x="299" y="95"/>
                </a:cubicBezTo>
                <a:cubicBezTo>
                  <a:pt x="300" y="93"/>
                  <a:pt x="300" y="93"/>
                  <a:pt x="300" y="93"/>
                </a:cubicBezTo>
                <a:cubicBezTo>
                  <a:pt x="299" y="90"/>
                  <a:pt x="299" y="90"/>
                  <a:pt x="299" y="90"/>
                </a:cubicBezTo>
                <a:cubicBezTo>
                  <a:pt x="297" y="89"/>
                  <a:pt x="297" y="89"/>
                  <a:pt x="297" y="89"/>
                </a:cubicBezTo>
                <a:cubicBezTo>
                  <a:pt x="296" y="87"/>
                  <a:pt x="296" y="87"/>
                  <a:pt x="296" y="87"/>
                </a:cubicBezTo>
                <a:cubicBezTo>
                  <a:pt x="295" y="88"/>
                  <a:pt x="295" y="88"/>
                  <a:pt x="295" y="88"/>
                </a:cubicBezTo>
                <a:cubicBezTo>
                  <a:pt x="294" y="88"/>
                  <a:pt x="294" y="88"/>
                  <a:pt x="294" y="88"/>
                </a:cubicBezTo>
                <a:cubicBezTo>
                  <a:pt x="292" y="88"/>
                  <a:pt x="292" y="88"/>
                  <a:pt x="292" y="88"/>
                </a:cubicBezTo>
                <a:cubicBezTo>
                  <a:pt x="292" y="87"/>
                  <a:pt x="292" y="87"/>
                  <a:pt x="292" y="87"/>
                </a:cubicBezTo>
                <a:cubicBezTo>
                  <a:pt x="291" y="86"/>
                  <a:pt x="291" y="86"/>
                  <a:pt x="291" y="86"/>
                </a:cubicBezTo>
                <a:cubicBezTo>
                  <a:pt x="291" y="86"/>
                  <a:pt x="291" y="86"/>
                  <a:pt x="291" y="86"/>
                </a:cubicBezTo>
                <a:cubicBezTo>
                  <a:pt x="291" y="85"/>
                  <a:pt x="291" y="85"/>
                  <a:pt x="291" y="85"/>
                </a:cubicBezTo>
                <a:cubicBezTo>
                  <a:pt x="294" y="85"/>
                  <a:pt x="294" y="85"/>
                  <a:pt x="294" y="85"/>
                </a:cubicBezTo>
                <a:cubicBezTo>
                  <a:pt x="295" y="84"/>
                  <a:pt x="295" y="84"/>
                  <a:pt x="295" y="84"/>
                </a:cubicBezTo>
                <a:cubicBezTo>
                  <a:pt x="296" y="84"/>
                  <a:pt x="296" y="84"/>
                  <a:pt x="296" y="84"/>
                </a:cubicBezTo>
                <a:cubicBezTo>
                  <a:pt x="297" y="84"/>
                  <a:pt x="297" y="84"/>
                  <a:pt x="297" y="84"/>
                </a:cubicBezTo>
                <a:cubicBezTo>
                  <a:pt x="299" y="84"/>
                  <a:pt x="299" y="84"/>
                  <a:pt x="299" y="84"/>
                </a:cubicBezTo>
                <a:cubicBezTo>
                  <a:pt x="299" y="84"/>
                  <a:pt x="299" y="84"/>
                  <a:pt x="299" y="84"/>
                </a:cubicBezTo>
                <a:cubicBezTo>
                  <a:pt x="302" y="83"/>
                  <a:pt x="302" y="83"/>
                  <a:pt x="302" y="83"/>
                </a:cubicBezTo>
                <a:cubicBezTo>
                  <a:pt x="304" y="84"/>
                  <a:pt x="304" y="84"/>
                  <a:pt x="304" y="84"/>
                </a:cubicBezTo>
                <a:cubicBezTo>
                  <a:pt x="305" y="84"/>
                  <a:pt x="305" y="84"/>
                  <a:pt x="305" y="84"/>
                </a:cubicBezTo>
                <a:cubicBezTo>
                  <a:pt x="306" y="84"/>
                  <a:pt x="306" y="84"/>
                  <a:pt x="306" y="84"/>
                </a:cubicBezTo>
                <a:cubicBezTo>
                  <a:pt x="307" y="83"/>
                  <a:pt x="307" y="83"/>
                  <a:pt x="307" y="83"/>
                </a:cubicBezTo>
                <a:cubicBezTo>
                  <a:pt x="306" y="82"/>
                  <a:pt x="306" y="82"/>
                  <a:pt x="306" y="82"/>
                </a:cubicBezTo>
                <a:cubicBezTo>
                  <a:pt x="304" y="82"/>
                  <a:pt x="304" y="82"/>
                  <a:pt x="304" y="82"/>
                </a:cubicBezTo>
                <a:cubicBezTo>
                  <a:pt x="302" y="82"/>
                  <a:pt x="302" y="82"/>
                  <a:pt x="302" y="82"/>
                </a:cubicBezTo>
                <a:cubicBezTo>
                  <a:pt x="301" y="82"/>
                  <a:pt x="301" y="82"/>
                  <a:pt x="301" y="82"/>
                </a:cubicBezTo>
                <a:cubicBezTo>
                  <a:pt x="299" y="82"/>
                  <a:pt x="299" y="82"/>
                  <a:pt x="299" y="82"/>
                </a:cubicBezTo>
                <a:cubicBezTo>
                  <a:pt x="299" y="81"/>
                  <a:pt x="299" y="81"/>
                  <a:pt x="299" y="81"/>
                </a:cubicBezTo>
                <a:cubicBezTo>
                  <a:pt x="298" y="80"/>
                  <a:pt x="298" y="80"/>
                  <a:pt x="298" y="80"/>
                </a:cubicBezTo>
                <a:cubicBezTo>
                  <a:pt x="300" y="78"/>
                  <a:pt x="300" y="78"/>
                  <a:pt x="300" y="78"/>
                </a:cubicBezTo>
                <a:cubicBezTo>
                  <a:pt x="298" y="78"/>
                  <a:pt x="298" y="78"/>
                  <a:pt x="298" y="78"/>
                </a:cubicBezTo>
                <a:cubicBezTo>
                  <a:pt x="297" y="76"/>
                  <a:pt x="297" y="76"/>
                  <a:pt x="297" y="76"/>
                </a:cubicBezTo>
                <a:cubicBezTo>
                  <a:pt x="295" y="76"/>
                  <a:pt x="295" y="76"/>
                  <a:pt x="295" y="76"/>
                </a:cubicBezTo>
                <a:cubicBezTo>
                  <a:pt x="294" y="75"/>
                  <a:pt x="294" y="75"/>
                  <a:pt x="294" y="75"/>
                </a:cubicBezTo>
                <a:cubicBezTo>
                  <a:pt x="294" y="73"/>
                  <a:pt x="294" y="73"/>
                  <a:pt x="294" y="73"/>
                </a:cubicBezTo>
                <a:cubicBezTo>
                  <a:pt x="295" y="73"/>
                  <a:pt x="295" y="73"/>
                  <a:pt x="295" y="73"/>
                </a:cubicBezTo>
                <a:cubicBezTo>
                  <a:pt x="295" y="72"/>
                  <a:pt x="295" y="72"/>
                  <a:pt x="295" y="72"/>
                </a:cubicBezTo>
                <a:cubicBezTo>
                  <a:pt x="294" y="70"/>
                  <a:pt x="294" y="70"/>
                  <a:pt x="294" y="70"/>
                </a:cubicBezTo>
                <a:cubicBezTo>
                  <a:pt x="294" y="64"/>
                  <a:pt x="294" y="64"/>
                  <a:pt x="294" y="64"/>
                </a:cubicBezTo>
                <a:cubicBezTo>
                  <a:pt x="295" y="63"/>
                  <a:pt x="295" y="63"/>
                  <a:pt x="295" y="63"/>
                </a:cubicBezTo>
                <a:cubicBezTo>
                  <a:pt x="295" y="61"/>
                  <a:pt x="295" y="61"/>
                  <a:pt x="295" y="61"/>
                </a:cubicBezTo>
                <a:cubicBezTo>
                  <a:pt x="295" y="59"/>
                  <a:pt x="295" y="59"/>
                  <a:pt x="295" y="59"/>
                </a:cubicBezTo>
                <a:cubicBezTo>
                  <a:pt x="296" y="58"/>
                  <a:pt x="296" y="58"/>
                  <a:pt x="296" y="58"/>
                </a:cubicBezTo>
                <a:cubicBezTo>
                  <a:pt x="295" y="57"/>
                  <a:pt x="295" y="57"/>
                  <a:pt x="295" y="57"/>
                </a:cubicBezTo>
                <a:cubicBezTo>
                  <a:pt x="297" y="57"/>
                  <a:pt x="297" y="57"/>
                  <a:pt x="297" y="57"/>
                </a:cubicBezTo>
                <a:cubicBezTo>
                  <a:pt x="297" y="55"/>
                  <a:pt x="297" y="55"/>
                  <a:pt x="297" y="55"/>
                </a:cubicBezTo>
                <a:cubicBezTo>
                  <a:pt x="299" y="54"/>
                  <a:pt x="299" y="54"/>
                  <a:pt x="299" y="54"/>
                </a:cubicBezTo>
                <a:cubicBezTo>
                  <a:pt x="299" y="54"/>
                  <a:pt x="299" y="54"/>
                  <a:pt x="299" y="54"/>
                </a:cubicBezTo>
                <a:cubicBezTo>
                  <a:pt x="301" y="56"/>
                  <a:pt x="301" y="56"/>
                  <a:pt x="301" y="56"/>
                </a:cubicBezTo>
                <a:cubicBezTo>
                  <a:pt x="302" y="55"/>
                  <a:pt x="302" y="55"/>
                  <a:pt x="302" y="55"/>
                </a:cubicBezTo>
                <a:cubicBezTo>
                  <a:pt x="303" y="55"/>
                  <a:pt x="303" y="55"/>
                  <a:pt x="303" y="55"/>
                </a:cubicBezTo>
                <a:cubicBezTo>
                  <a:pt x="304" y="56"/>
                  <a:pt x="304" y="56"/>
                  <a:pt x="304" y="56"/>
                </a:cubicBezTo>
                <a:cubicBezTo>
                  <a:pt x="306" y="57"/>
                  <a:pt x="306" y="57"/>
                  <a:pt x="306" y="57"/>
                </a:cubicBezTo>
                <a:cubicBezTo>
                  <a:pt x="307" y="55"/>
                  <a:pt x="307" y="55"/>
                  <a:pt x="307" y="55"/>
                </a:cubicBezTo>
                <a:cubicBezTo>
                  <a:pt x="308" y="55"/>
                  <a:pt x="308" y="55"/>
                  <a:pt x="308" y="55"/>
                </a:cubicBezTo>
                <a:cubicBezTo>
                  <a:pt x="308" y="57"/>
                  <a:pt x="308" y="57"/>
                  <a:pt x="308" y="57"/>
                </a:cubicBezTo>
                <a:cubicBezTo>
                  <a:pt x="308" y="58"/>
                  <a:pt x="308" y="58"/>
                  <a:pt x="308" y="58"/>
                </a:cubicBezTo>
                <a:cubicBezTo>
                  <a:pt x="310" y="58"/>
                  <a:pt x="310" y="58"/>
                  <a:pt x="310" y="58"/>
                </a:cubicBezTo>
                <a:cubicBezTo>
                  <a:pt x="310" y="59"/>
                  <a:pt x="310" y="59"/>
                  <a:pt x="310" y="59"/>
                </a:cubicBezTo>
                <a:cubicBezTo>
                  <a:pt x="309" y="60"/>
                  <a:pt x="309" y="60"/>
                  <a:pt x="309" y="60"/>
                </a:cubicBezTo>
                <a:cubicBezTo>
                  <a:pt x="309" y="60"/>
                  <a:pt x="309" y="60"/>
                  <a:pt x="309" y="60"/>
                </a:cubicBezTo>
                <a:cubicBezTo>
                  <a:pt x="309" y="61"/>
                  <a:pt x="309" y="61"/>
                  <a:pt x="309" y="61"/>
                </a:cubicBezTo>
                <a:cubicBezTo>
                  <a:pt x="309" y="62"/>
                  <a:pt x="309" y="62"/>
                  <a:pt x="309" y="62"/>
                </a:cubicBezTo>
                <a:cubicBezTo>
                  <a:pt x="308" y="65"/>
                  <a:pt x="308" y="65"/>
                  <a:pt x="308" y="65"/>
                </a:cubicBezTo>
                <a:cubicBezTo>
                  <a:pt x="306" y="65"/>
                  <a:pt x="306" y="65"/>
                  <a:pt x="306" y="65"/>
                </a:cubicBezTo>
                <a:cubicBezTo>
                  <a:pt x="305" y="66"/>
                  <a:pt x="305" y="66"/>
                  <a:pt x="305" y="66"/>
                </a:cubicBezTo>
                <a:cubicBezTo>
                  <a:pt x="306" y="67"/>
                  <a:pt x="306" y="67"/>
                  <a:pt x="306" y="67"/>
                </a:cubicBezTo>
                <a:cubicBezTo>
                  <a:pt x="309" y="66"/>
                  <a:pt x="309" y="66"/>
                  <a:pt x="309" y="66"/>
                </a:cubicBezTo>
                <a:cubicBezTo>
                  <a:pt x="311" y="63"/>
                  <a:pt x="311" y="63"/>
                  <a:pt x="311" y="63"/>
                </a:cubicBezTo>
                <a:cubicBezTo>
                  <a:pt x="312" y="63"/>
                  <a:pt x="312" y="63"/>
                  <a:pt x="312" y="63"/>
                </a:cubicBezTo>
                <a:cubicBezTo>
                  <a:pt x="312" y="64"/>
                  <a:pt x="312" y="64"/>
                  <a:pt x="312" y="64"/>
                </a:cubicBezTo>
                <a:cubicBezTo>
                  <a:pt x="311" y="65"/>
                  <a:pt x="311" y="65"/>
                  <a:pt x="311" y="65"/>
                </a:cubicBezTo>
                <a:cubicBezTo>
                  <a:pt x="311" y="66"/>
                  <a:pt x="311" y="66"/>
                  <a:pt x="311" y="66"/>
                </a:cubicBezTo>
                <a:cubicBezTo>
                  <a:pt x="313" y="66"/>
                  <a:pt x="313" y="66"/>
                  <a:pt x="313" y="66"/>
                </a:cubicBezTo>
                <a:cubicBezTo>
                  <a:pt x="314" y="64"/>
                  <a:pt x="314" y="64"/>
                  <a:pt x="314" y="64"/>
                </a:cubicBezTo>
                <a:cubicBezTo>
                  <a:pt x="315" y="64"/>
                  <a:pt x="315" y="64"/>
                  <a:pt x="315" y="64"/>
                </a:cubicBezTo>
                <a:cubicBezTo>
                  <a:pt x="315" y="64"/>
                  <a:pt x="315" y="64"/>
                  <a:pt x="315" y="64"/>
                </a:cubicBezTo>
                <a:cubicBezTo>
                  <a:pt x="317" y="64"/>
                  <a:pt x="317" y="64"/>
                  <a:pt x="317" y="64"/>
                </a:cubicBezTo>
                <a:cubicBezTo>
                  <a:pt x="317" y="63"/>
                  <a:pt x="317" y="63"/>
                  <a:pt x="317" y="63"/>
                </a:cubicBezTo>
                <a:cubicBezTo>
                  <a:pt x="318" y="62"/>
                  <a:pt x="318" y="62"/>
                  <a:pt x="318" y="62"/>
                </a:cubicBezTo>
                <a:cubicBezTo>
                  <a:pt x="319" y="63"/>
                  <a:pt x="319" y="63"/>
                  <a:pt x="319" y="63"/>
                </a:cubicBezTo>
                <a:cubicBezTo>
                  <a:pt x="320" y="62"/>
                  <a:pt x="320" y="62"/>
                  <a:pt x="320" y="62"/>
                </a:cubicBezTo>
                <a:cubicBezTo>
                  <a:pt x="322" y="64"/>
                  <a:pt x="322" y="64"/>
                  <a:pt x="322" y="64"/>
                </a:cubicBezTo>
                <a:cubicBezTo>
                  <a:pt x="322" y="65"/>
                  <a:pt x="322" y="65"/>
                  <a:pt x="322" y="65"/>
                </a:cubicBezTo>
                <a:cubicBezTo>
                  <a:pt x="322" y="67"/>
                  <a:pt x="322" y="67"/>
                  <a:pt x="322" y="67"/>
                </a:cubicBezTo>
                <a:cubicBezTo>
                  <a:pt x="322" y="68"/>
                  <a:pt x="322" y="68"/>
                  <a:pt x="322" y="68"/>
                </a:cubicBezTo>
                <a:cubicBezTo>
                  <a:pt x="322" y="69"/>
                  <a:pt x="322" y="69"/>
                  <a:pt x="322" y="69"/>
                </a:cubicBezTo>
                <a:cubicBezTo>
                  <a:pt x="321" y="71"/>
                  <a:pt x="321" y="71"/>
                  <a:pt x="321" y="71"/>
                </a:cubicBezTo>
                <a:cubicBezTo>
                  <a:pt x="322" y="74"/>
                  <a:pt x="322" y="74"/>
                  <a:pt x="322" y="74"/>
                </a:cubicBezTo>
                <a:cubicBezTo>
                  <a:pt x="322" y="75"/>
                  <a:pt x="322" y="75"/>
                  <a:pt x="322" y="75"/>
                </a:cubicBezTo>
                <a:cubicBezTo>
                  <a:pt x="321" y="75"/>
                  <a:pt x="321" y="75"/>
                  <a:pt x="321" y="75"/>
                </a:cubicBezTo>
                <a:cubicBezTo>
                  <a:pt x="320" y="76"/>
                  <a:pt x="320" y="76"/>
                  <a:pt x="320" y="76"/>
                </a:cubicBezTo>
                <a:cubicBezTo>
                  <a:pt x="321" y="76"/>
                  <a:pt x="321" y="76"/>
                  <a:pt x="321" y="76"/>
                </a:cubicBezTo>
                <a:cubicBezTo>
                  <a:pt x="324" y="76"/>
                  <a:pt x="324" y="76"/>
                  <a:pt x="324" y="76"/>
                </a:cubicBezTo>
                <a:cubicBezTo>
                  <a:pt x="325" y="74"/>
                  <a:pt x="325" y="74"/>
                  <a:pt x="325" y="74"/>
                </a:cubicBezTo>
                <a:cubicBezTo>
                  <a:pt x="327" y="74"/>
                  <a:pt x="327" y="74"/>
                  <a:pt x="327" y="74"/>
                </a:cubicBezTo>
                <a:cubicBezTo>
                  <a:pt x="328" y="72"/>
                  <a:pt x="328" y="72"/>
                  <a:pt x="328" y="72"/>
                </a:cubicBezTo>
                <a:cubicBezTo>
                  <a:pt x="328" y="70"/>
                  <a:pt x="328" y="70"/>
                  <a:pt x="328" y="70"/>
                </a:cubicBezTo>
                <a:cubicBezTo>
                  <a:pt x="327" y="69"/>
                  <a:pt x="327" y="69"/>
                  <a:pt x="327" y="69"/>
                </a:cubicBezTo>
                <a:cubicBezTo>
                  <a:pt x="326" y="69"/>
                  <a:pt x="326" y="69"/>
                  <a:pt x="326" y="69"/>
                </a:cubicBezTo>
                <a:cubicBezTo>
                  <a:pt x="325" y="68"/>
                  <a:pt x="325" y="68"/>
                  <a:pt x="325" y="68"/>
                </a:cubicBezTo>
                <a:cubicBezTo>
                  <a:pt x="325" y="67"/>
                  <a:pt x="325" y="67"/>
                  <a:pt x="325" y="67"/>
                </a:cubicBezTo>
                <a:cubicBezTo>
                  <a:pt x="326" y="67"/>
                  <a:pt x="326" y="67"/>
                  <a:pt x="326" y="67"/>
                </a:cubicBezTo>
                <a:cubicBezTo>
                  <a:pt x="327" y="67"/>
                  <a:pt x="327" y="67"/>
                  <a:pt x="327" y="67"/>
                </a:cubicBezTo>
                <a:cubicBezTo>
                  <a:pt x="327" y="67"/>
                  <a:pt x="327" y="67"/>
                  <a:pt x="327" y="67"/>
                </a:cubicBezTo>
                <a:cubicBezTo>
                  <a:pt x="328" y="67"/>
                  <a:pt x="328" y="67"/>
                  <a:pt x="328" y="67"/>
                </a:cubicBezTo>
                <a:cubicBezTo>
                  <a:pt x="330" y="66"/>
                  <a:pt x="330" y="66"/>
                  <a:pt x="330" y="66"/>
                </a:cubicBezTo>
                <a:cubicBezTo>
                  <a:pt x="332" y="64"/>
                  <a:pt x="332" y="64"/>
                  <a:pt x="332" y="64"/>
                </a:cubicBezTo>
                <a:cubicBezTo>
                  <a:pt x="333" y="65"/>
                  <a:pt x="333" y="65"/>
                  <a:pt x="333" y="65"/>
                </a:cubicBezTo>
                <a:cubicBezTo>
                  <a:pt x="334" y="65"/>
                  <a:pt x="334" y="65"/>
                  <a:pt x="334" y="65"/>
                </a:cubicBezTo>
                <a:cubicBezTo>
                  <a:pt x="335" y="63"/>
                  <a:pt x="335" y="63"/>
                  <a:pt x="335" y="63"/>
                </a:cubicBezTo>
                <a:cubicBezTo>
                  <a:pt x="336" y="62"/>
                  <a:pt x="336" y="62"/>
                  <a:pt x="336" y="62"/>
                </a:cubicBezTo>
                <a:cubicBezTo>
                  <a:pt x="336" y="63"/>
                  <a:pt x="336" y="63"/>
                  <a:pt x="336" y="63"/>
                </a:cubicBezTo>
                <a:cubicBezTo>
                  <a:pt x="337" y="62"/>
                  <a:pt x="337" y="62"/>
                  <a:pt x="337" y="62"/>
                </a:cubicBezTo>
                <a:cubicBezTo>
                  <a:pt x="339" y="61"/>
                  <a:pt x="339" y="61"/>
                  <a:pt x="339" y="61"/>
                </a:cubicBezTo>
                <a:cubicBezTo>
                  <a:pt x="339" y="62"/>
                  <a:pt x="339" y="62"/>
                  <a:pt x="339" y="62"/>
                </a:cubicBezTo>
                <a:cubicBezTo>
                  <a:pt x="341" y="62"/>
                  <a:pt x="341" y="62"/>
                  <a:pt x="341" y="62"/>
                </a:cubicBezTo>
                <a:cubicBezTo>
                  <a:pt x="341" y="62"/>
                  <a:pt x="341" y="62"/>
                  <a:pt x="341" y="62"/>
                </a:cubicBezTo>
                <a:cubicBezTo>
                  <a:pt x="340" y="63"/>
                  <a:pt x="340" y="63"/>
                  <a:pt x="340" y="63"/>
                </a:cubicBezTo>
                <a:cubicBezTo>
                  <a:pt x="341" y="64"/>
                  <a:pt x="341" y="64"/>
                  <a:pt x="341" y="64"/>
                </a:cubicBezTo>
                <a:cubicBezTo>
                  <a:pt x="343" y="64"/>
                  <a:pt x="343" y="64"/>
                  <a:pt x="343" y="64"/>
                </a:cubicBezTo>
                <a:cubicBezTo>
                  <a:pt x="344" y="64"/>
                  <a:pt x="344" y="64"/>
                  <a:pt x="344" y="64"/>
                </a:cubicBezTo>
                <a:cubicBezTo>
                  <a:pt x="345" y="65"/>
                  <a:pt x="345" y="65"/>
                  <a:pt x="345" y="65"/>
                </a:cubicBezTo>
                <a:cubicBezTo>
                  <a:pt x="350" y="67"/>
                  <a:pt x="350" y="67"/>
                  <a:pt x="350" y="67"/>
                </a:cubicBezTo>
                <a:cubicBezTo>
                  <a:pt x="351" y="68"/>
                  <a:pt x="351" y="68"/>
                  <a:pt x="351" y="68"/>
                </a:cubicBezTo>
                <a:cubicBezTo>
                  <a:pt x="351" y="69"/>
                  <a:pt x="351" y="69"/>
                  <a:pt x="351" y="69"/>
                </a:cubicBezTo>
                <a:cubicBezTo>
                  <a:pt x="351" y="70"/>
                  <a:pt x="351" y="70"/>
                  <a:pt x="351" y="70"/>
                </a:cubicBezTo>
                <a:cubicBezTo>
                  <a:pt x="354" y="72"/>
                  <a:pt x="354" y="72"/>
                  <a:pt x="354" y="72"/>
                </a:cubicBezTo>
                <a:cubicBezTo>
                  <a:pt x="354" y="72"/>
                  <a:pt x="354" y="72"/>
                  <a:pt x="354" y="72"/>
                </a:cubicBezTo>
                <a:cubicBezTo>
                  <a:pt x="354" y="71"/>
                  <a:pt x="354" y="71"/>
                  <a:pt x="354" y="71"/>
                </a:cubicBezTo>
                <a:cubicBezTo>
                  <a:pt x="355" y="71"/>
                  <a:pt x="355" y="71"/>
                  <a:pt x="355" y="71"/>
                </a:cubicBezTo>
                <a:cubicBezTo>
                  <a:pt x="355" y="70"/>
                  <a:pt x="355" y="70"/>
                  <a:pt x="355" y="70"/>
                </a:cubicBezTo>
                <a:cubicBezTo>
                  <a:pt x="354" y="70"/>
                  <a:pt x="354" y="70"/>
                  <a:pt x="354" y="70"/>
                </a:cubicBezTo>
                <a:cubicBezTo>
                  <a:pt x="353" y="69"/>
                  <a:pt x="353" y="69"/>
                  <a:pt x="353" y="69"/>
                </a:cubicBezTo>
                <a:cubicBezTo>
                  <a:pt x="353" y="68"/>
                  <a:pt x="353" y="68"/>
                  <a:pt x="353" y="68"/>
                </a:cubicBezTo>
                <a:cubicBezTo>
                  <a:pt x="354" y="68"/>
                  <a:pt x="354" y="68"/>
                  <a:pt x="354" y="68"/>
                </a:cubicBezTo>
                <a:cubicBezTo>
                  <a:pt x="355" y="68"/>
                  <a:pt x="355" y="68"/>
                  <a:pt x="355" y="68"/>
                </a:cubicBezTo>
                <a:cubicBezTo>
                  <a:pt x="356" y="69"/>
                  <a:pt x="356" y="69"/>
                  <a:pt x="356" y="69"/>
                </a:cubicBezTo>
                <a:cubicBezTo>
                  <a:pt x="357" y="69"/>
                  <a:pt x="357" y="69"/>
                  <a:pt x="357" y="69"/>
                </a:cubicBezTo>
                <a:cubicBezTo>
                  <a:pt x="357" y="70"/>
                  <a:pt x="357" y="70"/>
                  <a:pt x="357" y="70"/>
                </a:cubicBezTo>
                <a:cubicBezTo>
                  <a:pt x="358" y="72"/>
                  <a:pt x="358" y="72"/>
                  <a:pt x="358" y="72"/>
                </a:cubicBezTo>
                <a:cubicBezTo>
                  <a:pt x="359" y="74"/>
                  <a:pt x="359" y="74"/>
                  <a:pt x="359" y="74"/>
                </a:cubicBezTo>
                <a:cubicBezTo>
                  <a:pt x="359" y="74"/>
                  <a:pt x="359" y="74"/>
                  <a:pt x="359" y="74"/>
                </a:cubicBezTo>
                <a:cubicBezTo>
                  <a:pt x="360" y="73"/>
                  <a:pt x="360" y="73"/>
                  <a:pt x="360" y="73"/>
                </a:cubicBezTo>
                <a:cubicBezTo>
                  <a:pt x="361" y="73"/>
                  <a:pt x="361" y="73"/>
                  <a:pt x="361" y="73"/>
                </a:cubicBezTo>
                <a:cubicBezTo>
                  <a:pt x="361" y="74"/>
                  <a:pt x="361" y="74"/>
                  <a:pt x="361" y="74"/>
                </a:cubicBezTo>
                <a:cubicBezTo>
                  <a:pt x="362" y="75"/>
                  <a:pt x="362" y="75"/>
                  <a:pt x="362" y="75"/>
                </a:cubicBezTo>
                <a:cubicBezTo>
                  <a:pt x="362" y="76"/>
                  <a:pt x="362" y="76"/>
                  <a:pt x="362" y="76"/>
                </a:cubicBezTo>
                <a:cubicBezTo>
                  <a:pt x="363" y="78"/>
                  <a:pt x="363" y="78"/>
                  <a:pt x="363" y="78"/>
                </a:cubicBezTo>
                <a:cubicBezTo>
                  <a:pt x="363" y="79"/>
                  <a:pt x="363" y="79"/>
                  <a:pt x="363" y="79"/>
                </a:cubicBezTo>
                <a:cubicBezTo>
                  <a:pt x="363" y="78"/>
                  <a:pt x="363" y="78"/>
                  <a:pt x="363" y="78"/>
                </a:cubicBezTo>
                <a:cubicBezTo>
                  <a:pt x="363" y="78"/>
                  <a:pt x="363" y="78"/>
                  <a:pt x="363" y="78"/>
                </a:cubicBezTo>
                <a:cubicBezTo>
                  <a:pt x="362" y="77"/>
                  <a:pt x="362" y="77"/>
                  <a:pt x="362" y="77"/>
                </a:cubicBezTo>
                <a:cubicBezTo>
                  <a:pt x="362" y="77"/>
                  <a:pt x="362" y="77"/>
                  <a:pt x="362" y="77"/>
                </a:cubicBezTo>
                <a:cubicBezTo>
                  <a:pt x="361" y="78"/>
                  <a:pt x="361" y="78"/>
                  <a:pt x="361" y="78"/>
                </a:cubicBezTo>
                <a:cubicBezTo>
                  <a:pt x="360" y="77"/>
                  <a:pt x="360" y="77"/>
                  <a:pt x="360" y="77"/>
                </a:cubicBezTo>
                <a:cubicBezTo>
                  <a:pt x="358" y="76"/>
                  <a:pt x="358" y="76"/>
                  <a:pt x="358" y="76"/>
                </a:cubicBezTo>
                <a:cubicBezTo>
                  <a:pt x="356" y="76"/>
                  <a:pt x="356" y="76"/>
                  <a:pt x="356" y="76"/>
                </a:cubicBezTo>
                <a:cubicBezTo>
                  <a:pt x="356" y="76"/>
                  <a:pt x="356" y="76"/>
                  <a:pt x="356" y="76"/>
                </a:cubicBezTo>
                <a:cubicBezTo>
                  <a:pt x="357" y="78"/>
                  <a:pt x="357" y="78"/>
                  <a:pt x="357" y="78"/>
                </a:cubicBezTo>
                <a:cubicBezTo>
                  <a:pt x="358" y="78"/>
                  <a:pt x="358" y="78"/>
                  <a:pt x="358" y="78"/>
                </a:cubicBezTo>
                <a:cubicBezTo>
                  <a:pt x="359" y="78"/>
                  <a:pt x="359" y="78"/>
                  <a:pt x="359" y="78"/>
                </a:cubicBezTo>
                <a:cubicBezTo>
                  <a:pt x="359" y="79"/>
                  <a:pt x="359" y="79"/>
                  <a:pt x="359" y="79"/>
                </a:cubicBezTo>
                <a:cubicBezTo>
                  <a:pt x="360" y="80"/>
                  <a:pt x="360" y="80"/>
                  <a:pt x="360" y="80"/>
                </a:cubicBezTo>
                <a:cubicBezTo>
                  <a:pt x="360" y="81"/>
                  <a:pt x="360" y="81"/>
                  <a:pt x="360" y="81"/>
                </a:cubicBezTo>
                <a:cubicBezTo>
                  <a:pt x="361" y="80"/>
                  <a:pt x="361" y="80"/>
                  <a:pt x="361" y="80"/>
                </a:cubicBezTo>
                <a:cubicBezTo>
                  <a:pt x="361" y="79"/>
                  <a:pt x="361" y="79"/>
                  <a:pt x="361" y="79"/>
                </a:cubicBezTo>
                <a:cubicBezTo>
                  <a:pt x="362" y="79"/>
                  <a:pt x="362" y="79"/>
                  <a:pt x="362" y="79"/>
                </a:cubicBezTo>
                <a:cubicBezTo>
                  <a:pt x="362" y="80"/>
                  <a:pt x="362" y="80"/>
                  <a:pt x="362" y="80"/>
                </a:cubicBezTo>
                <a:cubicBezTo>
                  <a:pt x="363" y="80"/>
                  <a:pt x="363" y="80"/>
                  <a:pt x="363" y="80"/>
                </a:cubicBezTo>
                <a:cubicBezTo>
                  <a:pt x="364" y="80"/>
                  <a:pt x="364" y="80"/>
                  <a:pt x="364" y="80"/>
                </a:cubicBezTo>
                <a:cubicBezTo>
                  <a:pt x="365" y="80"/>
                  <a:pt x="365" y="80"/>
                  <a:pt x="365" y="80"/>
                </a:cubicBezTo>
                <a:cubicBezTo>
                  <a:pt x="365" y="81"/>
                  <a:pt x="365" y="81"/>
                  <a:pt x="365" y="81"/>
                </a:cubicBezTo>
                <a:cubicBezTo>
                  <a:pt x="365" y="82"/>
                  <a:pt x="365" y="82"/>
                  <a:pt x="365" y="82"/>
                </a:cubicBezTo>
                <a:cubicBezTo>
                  <a:pt x="366" y="84"/>
                  <a:pt x="366" y="84"/>
                  <a:pt x="366" y="84"/>
                </a:cubicBezTo>
                <a:cubicBezTo>
                  <a:pt x="366" y="86"/>
                  <a:pt x="366" y="86"/>
                  <a:pt x="366" y="86"/>
                </a:cubicBezTo>
                <a:cubicBezTo>
                  <a:pt x="366" y="88"/>
                  <a:pt x="366" y="88"/>
                  <a:pt x="366" y="88"/>
                </a:cubicBezTo>
                <a:cubicBezTo>
                  <a:pt x="365" y="90"/>
                  <a:pt x="365" y="90"/>
                  <a:pt x="365" y="90"/>
                </a:cubicBezTo>
                <a:cubicBezTo>
                  <a:pt x="365" y="90"/>
                  <a:pt x="365" y="90"/>
                  <a:pt x="365" y="90"/>
                </a:cubicBezTo>
                <a:cubicBezTo>
                  <a:pt x="364" y="91"/>
                  <a:pt x="364" y="91"/>
                  <a:pt x="364" y="91"/>
                </a:cubicBezTo>
                <a:cubicBezTo>
                  <a:pt x="364" y="92"/>
                  <a:pt x="364" y="92"/>
                  <a:pt x="364" y="92"/>
                </a:cubicBezTo>
                <a:cubicBezTo>
                  <a:pt x="364" y="94"/>
                  <a:pt x="364" y="94"/>
                  <a:pt x="364" y="94"/>
                </a:cubicBezTo>
                <a:cubicBezTo>
                  <a:pt x="364" y="95"/>
                  <a:pt x="364" y="95"/>
                  <a:pt x="364" y="95"/>
                </a:cubicBezTo>
                <a:cubicBezTo>
                  <a:pt x="364" y="95"/>
                  <a:pt x="364" y="95"/>
                  <a:pt x="364" y="95"/>
                </a:cubicBezTo>
                <a:cubicBezTo>
                  <a:pt x="364" y="97"/>
                  <a:pt x="364" y="97"/>
                  <a:pt x="364" y="97"/>
                </a:cubicBezTo>
                <a:cubicBezTo>
                  <a:pt x="363" y="97"/>
                  <a:pt x="363" y="97"/>
                  <a:pt x="363" y="97"/>
                </a:cubicBezTo>
                <a:cubicBezTo>
                  <a:pt x="362" y="99"/>
                  <a:pt x="362" y="99"/>
                  <a:pt x="362" y="99"/>
                </a:cubicBezTo>
                <a:cubicBezTo>
                  <a:pt x="363" y="99"/>
                  <a:pt x="363" y="99"/>
                  <a:pt x="363" y="99"/>
                </a:cubicBezTo>
                <a:cubicBezTo>
                  <a:pt x="362" y="101"/>
                  <a:pt x="362" y="101"/>
                  <a:pt x="362" y="101"/>
                </a:cubicBezTo>
                <a:cubicBezTo>
                  <a:pt x="361" y="102"/>
                  <a:pt x="361" y="102"/>
                  <a:pt x="361" y="102"/>
                </a:cubicBezTo>
                <a:cubicBezTo>
                  <a:pt x="361" y="103"/>
                  <a:pt x="361" y="103"/>
                  <a:pt x="361" y="103"/>
                </a:cubicBezTo>
                <a:cubicBezTo>
                  <a:pt x="361" y="104"/>
                  <a:pt x="361" y="104"/>
                  <a:pt x="361" y="104"/>
                </a:cubicBezTo>
                <a:cubicBezTo>
                  <a:pt x="360" y="104"/>
                  <a:pt x="360" y="104"/>
                  <a:pt x="360" y="104"/>
                </a:cubicBezTo>
                <a:cubicBezTo>
                  <a:pt x="358" y="106"/>
                  <a:pt x="358" y="106"/>
                  <a:pt x="358" y="106"/>
                </a:cubicBezTo>
                <a:cubicBezTo>
                  <a:pt x="357" y="106"/>
                  <a:pt x="357" y="106"/>
                  <a:pt x="357" y="106"/>
                </a:cubicBezTo>
                <a:cubicBezTo>
                  <a:pt x="358" y="106"/>
                  <a:pt x="358" y="106"/>
                  <a:pt x="358" y="106"/>
                </a:cubicBezTo>
                <a:cubicBezTo>
                  <a:pt x="359" y="106"/>
                  <a:pt x="359" y="106"/>
                  <a:pt x="359" y="106"/>
                </a:cubicBezTo>
                <a:cubicBezTo>
                  <a:pt x="360" y="105"/>
                  <a:pt x="360" y="105"/>
                  <a:pt x="360" y="105"/>
                </a:cubicBezTo>
                <a:cubicBezTo>
                  <a:pt x="360" y="105"/>
                  <a:pt x="360" y="105"/>
                  <a:pt x="360" y="105"/>
                </a:cubicBezTo>
                <a:cubicBezTo>
                  <a:pt x="361" y="107"/>
                  <a:pt x="361" y="107"/>
                  <a:pt x="361" y="107"/>
                </a:cubicBezTo>
                <a:cubicBezTo>
                  <a:pt x="360" y="109"/>
                  <a:pt x="360" y="109"/>
                  <a:pt x="360" y="109"/>
                </a:cubicBezTo>
                <a:cubicBezTo>
                  <a:pt x="359" y="111"/>
                  <a:pt x="359" y="111"/>
                  <a:pt x="359" y="111"/>
                </a:cubicBezTo>
                <a:cubicBezTo>
                  <a:pt x="358" y="114"/>
                  <a:pt x="358" y="114"/>
                  <a:pt x="358" y="114"/>
                </a:cubicBezTo>
                <a:cubicBezTo>
                  <a:pt x="359" y="115"/>
                  <a:pt x="359" y="115"/>
                  <a:pt x="359" y="115"/>
                </a:cubicBezTo>
                <a:cubicBezTo>
                  <a:pt x="359" y="116"/>
                  <a:pt x="359" y="116"/>
                  <a:pt x="359" y="116"/>
                </a:cubicBezTo>
                <a:cubicBezTo>
                  <a:pt x="358" y="119"/>
                  <a:pt x="358" y="119"/>
                  <a:pt x="358" y="119"/>
                </a:cubicBezTo>
                <a:cubicBezTo>
                  <a:pt x="356" y="119"/>
                  <a:pt x="356" y="119"/>
                  <a:pt x="356" y="119"/>
                </a:cubicBezTo>
                <a:cubicBezTo>
                  <a:pt x="356" y="119"/>
                  <a:pt x="356" y="119"/>
                  <a:pt x="356" y="119"/>
                </a:cubicBezTo>
                <a:cubicBezTo>
                  <a:pt x="355" y="119"/>
                  <a:pt x="355" y="119"/>
                  <a:pt x="355" y="119"/>
                </a:cubicBezTo>
                <a:cubicBezTo>
                  <a:pt x="355" y="120"/>
                  <a:pt x="355" y="120"/>
                  <a:pt x="355" y="120"/>
                </a:cubicBezTo>
                <a:cubicBezTo>
                  <a:pt x="355" y="121"/>
                  <a:pt x="355" y="121"/>
                  <a:pt x="355" y="121"/>
                </a:cubicBezTo>
                <a:cubicBezTo>
                  <a:pt x="356" y="123"/>
                  <a:pt x="356" y="123"/>
                  <a:pt x="356" y="123"/>
                </a:cubicBezTo>
                <a:cubicBezTo>
                  <a:pt x="355" y="124"/>
                  <a:pt x="355" y="124"/>
                  <a:pt x="355" y="124"/>
                </a:cubicBezTo>
                <a:cubicBezTo>
                  <a:pt x="354" y="125"/>
                  <a:pt x="354" y="125"/>
                  <a:pt x="354" y="125"/>
                </a:cubicBezTo>
                <a:cubicBezTo>
                  <a:pt x="353" y="127"/>
                  <a:pt x="353" y="127"/>
                  <a:pt x="353" y="127"/>
                </a:cubicBezTo>
                <a:cubicBezTo>
                  <a:pt x="354" y="129"/>
                  <a:pt x="354" y="129"/>
                  <a:pt x="354" y="129"/>
                </a:cubicBezTo>
                <a:cubicBezTo>
                  <a:pt x="354" y="130"/>
                  <a:pt x="354" y="130"/>
                  <a:pt x="354" y="130"/>
                </a:cubicBezTo>
                <a:cubicBezTo>
                  <a:pt x="354" y="131"/>
                  <a:pt x="354" y="131"/>
                  <a:pt x="354" y="131"/>
                </a:cubicBezTo>
                <a:cubicBezTo>
                  <a:pt x="354" y="132"/>
                  <a:pt x="354" y="132"/>
                  <a:pt x="354" y="132"/>
                </a:cubicBezTo>
                <a:cubicBezTo>
                  <a:pt x="355" y="132"/>
                  <a:pt x="355" y="132"/>
                  <a:pt x="355" y="132"/>
                </a:cubicBezTo>
                <a:cubicBezTo>
                  <a:pt x="354" y="136"/>
                  <a:pt x="354" y="136"/>
                  <a:pt x="354" y="136"/>
                </a:cubicBezTo>
                <a:cubicBezTo>
                  <a:pt x="353" y="136"/>
                  <a:pt x="353" y="136"/>
                  <a:pt x="353" y="136"/>
                </a:cubicBezTo>
                <a:cubicBezTo>
                  <a:pt x="352" y="138"/>
                  <a:pt x="352" y="138"/>
                  <a:pt x="352" y="138"/>
                </a:cubicBezTo>
                <a:cubicBezTo>
                  <a:pt x="353" y="137"/>
                  <a:pt x="353" y="137"/>
                  <a:pt x="353" y="137"/>
                </a:cubicBezTo>
                <a:cubicBezTo>
                  <a:pt x="354" y="137"/>
                  <a:pt x="354" y="137"/>
                  <a:pt x="354" y="137"/>
                </a:cubicBezTo>
                <a:cubicBezTo>
                  <a:pt x="355" y="136"/>
                  <a:pt x="355" y="136"/>
                  <a:pt x="355" y="136"/>
                </a:cubicBezTo>
                <a:cubicBezTo>
                  <a:pt x="356" y="134"/>
                  <a:pt x="356" y="134"/>
                  <a:pt x="356" y="134"/>
                </a:cubicBezTo>
                <a:cubicBezTo>
                  <a:pt x="355" y="134"/>
                  <a:pt x="355" y="134"/>
                  <a:pt x="355" y="134"/>
                </a:cubicBezTo>
                <a:cubicBezTo>
                  <a:pt x="356" y="133"/>
                  <a:pt x="356" y="133"/>
                  <a:pt x="356" y="133"/>
                </a:cubicBezTo>
                <a:cubicBezTo>
                  <a:pt x="358" y="133"/>
                  <a:pt x="358" y="133"/>
                  <a:pt x="358" y="133"/>
                </a:cubicBezTo>
                <a:cubicBezTo>
                  <a:pt x="358" y="133"/>
                  <a:pt x="358" y="133"/>
                  <a:pt x="358" y="133"/>
                </a:cubicBezTo>
                <a:cubicBezTo>
                  <a:pt x="358" y="132"/>
                  <a:pt x="358" y="132"/>
                  <a:pt x="358" y="132"/>
                </a:cubicBezTo>
                <a:cubicBezTo>
                  <a:pt x="355" y="130"/>
                  <a:pt x="355" y="130"/>
                  <a:pt x="355" y="130"/>
                </a:cubicBezTo>
                <a:cubicBezTo>
                  <a:pt x="355" y="129"/>
                  <a:pt x="355" y="129"/>
                  <a:pt x="355" y="129"/>
                </a:cubicBezTo>
                <a:cubicBezTo>
                  <a:pt x="356" y="127"/>
                  <a:pt x="356" y="127"/>
                  <a:pt x="356" y="127"/>
                </a:cubicBezTo>
                <a:cubicBezTo>
                  <a:pt x="358" y="127"/>
                  <a:pt x="358" y="127"/>
                  <a:pt x="358" y="127"/>
                </a:cubicBezTo>
                <a:cubicBezTo>
                  <a:pt x="360" y="127"/>
                  <a:pt x="360" y="127"/>
                  <a:pt x="360" y="127"/>
                </a:cubicBezTo>
                <a:cubicBezTo>
                  <a:pt x="362" y="125"/>
                  <a:pt x="362" y="125"/>
                  <a:pt x="362" y="125"/>
                </a:cubicBezTo>
                <a:cubicBezTo>
                  <a:pt x="363" y="125"/>
                  <a:pt x="363" y="125"/>
                  <a:pt x="363" y="125"/>
                </a:cubicBezTo>
                <a:cubicBezTo>
                  <a:pt x="363" y="124"/>
                  <a:pt x="363" y="124"/>
                  <a:pt x="363" y="124"/>
                </a:cubicBezTo>
                <a:cubicBezTo>
                  <a:pt x="363" y="123"/>
                  <a:pt x="363" y="123"/>
                  <a:pt x="363" y="123"/>
                </a:cubicBezTo>
                <a:cubicBezTo>
                  <a:pt x="365" y="122"/>
                  <a:pt x="365" y="122"/>
                  <a:pt x="365" y="122"/>
                </a:cubicBezTo>
                <a:cubicBezTo>
                  <a:pt x="365" y="120"/>
                  <a:pt x="365" y="120"/>
                  <a:pt x="365" y="120"/>
                </a:cubicBezTo>
                <a:cubicBezTo>
                  <a:pt x="365" y="119"/>
                  <a:pt x="365" y="119"/>
                  <a:pt x="365" y="119"/>
                </a:cubicBezTo>
                <a:cubicBezTo>
                  <a:pt x="365" y="119"/>
                  <a:pt x="365" y="119"/>
                  <a:pt x="365" y="119"/>
                </a:cubicBezTo>
                <a:cubicBezTo>
                  <a:pt x="366" y="119"/>
                  <a:pt x="366" y="119"/>
                  <a:pt x="366" y="119"/>
                </a:cubicBezTo>
                <a:cubicBezTo>
                  <a:pt x="368" y="119"/>
                  <a:pt x="368" y="119"/>
                  <a:pt x="368" y="119"/>
                </a:cubicBezTo>
                <a:cubicBezTo>
                  <a:pt x="368" y="117"/>
                  <a:pt x="368" y="117"/>
                  <a:pt x="368" y="117"/>
                </a:cubicBezTo>
                <a:cubicBezTo>
                  <a:pt x="368" y="117"/>
                  <a:pt x="368" y="117"/>
                  <a:pt x="368" y="117"/>
                </a:cubicBezTo>
                <a:cubicBezTo>
                  <a:pt x="370" y="115"/>
                  <a:pt x="370" y="115"/>
                  <a:pt x="370" y="115"/>
                </a:cubicBezTo>
                <a:cubicBezTo>
                  <a:pt x="370" y="113"/>
                  <a:pt x="370" y="113"/>
                  <a:pt x="370" y="113"/>
                </a:cubicBezTo>
                <a:cubicBezTo>
                  <a:pt x="370" y="112"/>
                  <a:pt x="370" y="112"/>
                  <a:pt x="370" y="112"/>
                </a:cubicBezTo>
                <a:cubicBezTo>
                  <a:pt x="367" y="114"/>
                  <a:pt x="367" y="114"/>
                  <a:pt x="367" y="114"/>
                </a:cubicBezTo>
                <a:cubicBezTo>
                  <a:pt x="367" y="115"/>
                  <a:pt x="367" y="115"/>
                  <a:pt x="367" y="115"/>
                </a:cubicBezTo>
                <a:cubicBezTo>
                  <a:pt x="365" y="116"/>
                  <a:pt x="365" y="116"/>
                  <a:pt x="365" y="116"/>
                </a:cubicBezTo>
                <a:cubicBezTo>
                  <a:pt x="364" y="115"/>
                  <a:pt x="364" y="115"/>
                  <a:pt x="364" y="115"/>
                </a:cubicBezTo>
                <a:cubicBezTo>
                  <a:pt x="363" y="114"/>
                  <a:pt x="363" y="114"/>
                  <a:pt x="363" y="114"/>
                </a:cubicBezTo>
                <a:cubicBezTo>
                  <a:pt x="364" y="112"/>
                  <a:pt x="364" y="112"/>
                  <a:pt x="364" y="112"/>
                </a:cubicBezTo>
                <a:cubicBezTo>
                  <a:pt x="364" y="110"/>
                  <a:pt x="364" y="110"/>
                  <a:pt x="364" y="110"/>
                </a:cubicBezTo>
                <a:cubicBezTo>
                  <a:pt x="365" y="109"/>
                  <a:pt x="365" y="109"/>
                  <a:pt x="365" y="109"/>
                </a:cubicBezTo>
                <a:cubicBezTo>
                  <a:pt x="367" y="109"/>
                  <a:pt x="367" y="109"/>
                  <a:pt x="367" y="109"/>
                </a:cubicBezTo>
                <a:cubicBezTo>
                  <a:pt x="369" y="111"/>
                  <a:pt x="369" y="111"/>
                  <a:pt x="369" y="111"/>
                </a:cubicBezTo>
                <a:cubicBezTo>
                  <a:pt x="370" y="110"/>
                  <a:pt x="370" y="110"/>
                  <a:pt x="370" y="110"/>
                </a:cubicBezTo>
                <a:cubicBezTo>
                  <a:pt x="370" y="108"/>
                  <a:pt x="370" y="108"/>
                  <a:pt x="370" y="108"/>
                </a:cubicBezTo>
                <a:cubicBezTo>
                  <a:pt x="371" y="107"/>
                  <a:pt x="371" y="107"/>
                  <a:pt x="371" y="107"/>
                </a:cubicBezTo>
                <a:cubicBezTo>
                  <a:pt x="372" y="108"/>
                  <a:pt x="372" y="108"/>
                  <a:pt x="372" y="108"/>
                </a:cubicBezTo>
                <a:cubicBezTo>
                  <a:pt x="371" y="109"/>
                  <a:pt x="371" y="109"/>
                  <a:pt x="371" y="109"/>
                </a:cubicBezTo>
                <a:cubicBezTo>
                  <a:pt x="371" y="110"/>
                  <a:pt x="371" y="110"/>
                  <a:pt x="371" y="110"/>
                </a:cubicBezTo>
                <a:cubicBezTo>
                  <a:pt x="374" y="113"/>
                  <a:pt x="374" y="113"/>
                  <a:pt x="374" y="113"/>
                </a:cubicBezTo>
                <a:cubicBezTo>
                  <a:pt x="376" y="113"/>
                  <a:pt x="376" y="113"/>
                  <a:pt x="376" y="113"/>
                </a:cubicBezTo>
                <a:cubicBezTo>
                  <a:pt x="377" y="113"/>
                  <a:pt x="377" y="113"/>
                  <a:pt x="377" y="113"/>
                </a:cubicBezTo>
                <a:cubicBezTo>
                  <a:pt x="379" y="112"/>
                  <a:pt x="379" y="112"/>
                  <a:pt x="379" y="112"/>
                </a:cubicBezTo>
                <a:cubicBezTo>
                  <a:pt x="380" y="111"/>
                  <a:pt x="380" y="111"/>
                  <a:pt x="380" y="111"/>
                </a:cubicBezTo>
                <a:cubicBezTo>
                  <a:pt x="380" y="110"/>
                  <a:pt x="380" y="110"/>
                  <a:pt x="380" y="110"/>
                </a:cubicBezTo>
                <a:cubicBezTo>
                  <a:pt x="378" y="108"/>
                  <a:pt x="378" y="108"/>
                  <a:pt x="378" y="108"/>
                </a:cubicBezTo>
                <a:cubicBezTo>
                  <a:pt x="378" y="107"/>
                  <a:pt x="378" y="107"/>
                  <a:pt x="378" y="107"/>
                </a:cubicBezTo>
                <a:cubicBezTo>
                  <a:pt x="379" y="107"/>
                  <a:pt x="379" y="107"/>
                  <a:pt x="379" y="107"/>
                </a:cubicBezTo>
                <a:cubicBezTo>
                  <a:pt x="381" y="109"/>
                  <a:pt x="381" y="109"/>
                  <a:pt x="381" y="109"/>
                </a:cubicBezTo>
                <a:cubicBezTo>
                  <a:pt x="382" y="110"/>
                  <a:pt x="382" y="110"/>
                  <a:pt x="382" y="110"/>
                </a:cubicBezTo>
                <a:cubicBezTo>
                  <a:pt x="383" y="111"/>
                  <a:pt x="383" y="111"/>
                  <a:pt x="383" y="111"/>
                </a:cubicBezTo>
                <a:cubicBezTo>
                  <a:pt x="383" y="112"/>
                  <a:pt x="383" y="112"/>
                  <a:pt x="383" y="112"/>
                </a:cubicBezTo>
                <a:cubicBezTo>
                  <a:pt x="383" y="113"/>
                  <a:pt x="383" y="113"/>
                  <a:pt x="383" y="113"/>
                </a:cubicBezTo>
                <a:cubicBezTo>
                  <a:pt x="385" y="114"/>
                  <a:pt x="385" y="114"/>
                  <a:pt x="385" y="114"/>
                </a:cubicBezTo>
                <a:cubicBezTo>
                  <a:pt x="385" y="116"/>
                  <a:pt x="385" y="116"/>
                  <a:pt x="385" y="116"/>
                </a:cubicBezTo>
                <a:cubicBezTo>
                  <a:pt x="386" y="117"/>
                  <a:pt x="386" y="117"/>
                  <a:pt x="386" y="117"/>
                </a:cubicBezTo>
                <a:cubicBezTo>
                  <a:pt x="386" y="116"/>
                  <a:pt x="386" y="116"/>
                  <a:pt x="386" y="116"/>
                </a:cubicBezTo>
                <a:cubicBezTo>
                  <a:pt x="387" y="115"/>
                  <a:pt x="387" y="115"/>
                  <a:pt x="387" y="115"/>
                </a:cubicBezTo>
                <a:cubicBezTo>
                  <a:pt x="388" y="115"/>
                  <a:pt x="388" y="115"/>
                  <a:pt x="388" y="115"/>
                </a:cubicBezTo>
                <a:cubicBezTo>
                  <a:pt x="388" y="114"/>
                  <a:pt x="388" y="114"/>
                  <a:pt x="388" y="114"/>
                </a:cubicBezTo>
                <a:cubicBezTo>
                  <a:pt x="388" y="113"/>
                  <a:pt x="388" y="113"/>
                  <a:pt x="388" y="113"/>
                </a:cubicBezTo>
                <a:cubicBezTo>
                  <a:pt x="387" y="114"/>
                  <a:pt x="387" y="114"/>
                  <a:pt x="387" y="114"/>
                </a:cubicBezTo>
                <a:cubicBezTo>
                  <a:pt x="386" y="114"/>
                  <a:pt x="386" y="114"/>
                  <a:pt x="386" y="114"/>
                </a:cubicBezTo>
                <a:cubicBezTo>
                  <a:pt x="385" y="112"/>
                  <a:pt x="385" y="112"/>
                  <a:pt x="385" y="112"/>
                </a:cubicBezTo>
                <a:cubicBezTo>
                  <a:pt x="387" y="110"/>
                  <a:pt x="387" y="110"/>
                  <a:pt x="387" y="110"/>
                </a:cubicBezTo>
                <a:cubicBezTo>
                  <a:pt x="388" y="110"/>
                  <a:pt x="388" y="110"/>
                  <a:pt x="388" y="110"/>
                </a:cubicBezTo>
                <a:cubicBezTo>
                  <a:pt x="388" y="109"/>
                  <a:pt x="388" y="109"/>
                  <a:pt x="388" y="109"/>
                </a:cubicBezTo>
                <a:cubicBezTo>
                  <a:pt x="389" y="109"/>
                  <a:pt x="389" y="109"/>
                  <a:pt x="389" y="109"/>
                </a:cubicBezTo>
                <a:cubicBezTo>
                  <a:pt x="390" y="108"/>
                  <a:pt x="390" y="108"/>
                  <a:pt x="390" y="108"/>
                </a:cubicBezTo>
                <a:cubicBezTo>
                  <a:pt x="392" y="107"/>
                  <a:pt x="392" y="107"/>
                  <a:pt x="392" y="107"/>
                </a:cubicBezTo>
                <a:cubicBezTo>
                  <a:pt x="397" y="106"/>
                  <a:pt x="397" y="106"/>
                  <a:pt x="397" y="106"/>
                </a:cubicBezTo>
                <a:cubicBezTo>
                  <a:pt x="402" y="106"/>
                  <a:pt x="402" y="106"/>
                  <a:pt x="402" y="106"/>
                </a:cubicBezTo>
                <a:cubicBezTo>
                  <a:pt x="405" y="104"/>
                  <a:pt x="405" y="104"/>
                  <a:pt x="405" y="104"/>
                </a:cubicBezTo>
                <a:cubicBezTo>
                  <a:pt x="407" y="104"/>
                  <a:pt x="407" y="104"/>
                  <a:pt x="407" y="104"/>
                </a:cubicBezTo>
                <a:cubicBezTo>
                  <a:pt x="409" y="105"/>
                  <a:pt x="409" y="105"/>
                  <a:pt x="409" y="105"/>
                </a:cubicBezTo>
                <a:cubicBezTo>
                  <a:pt x="409" y="106"/>
                  <a:pt x="409" y="106"/>
                  <a:pt x="409" y="106"/>
                </a:cubicBezTo>
                <a:cubicBezTo>
                  <a:pt x="408" y="106"/>
                  <a:pt x="408" y="106"/>
                  <a:pt x="408" y="106"/>
                </a:cubicBezTo>
                <a:cubicBezTo>
                  <a:pt x="408" y="108"/>
                  <a:pt x="408" y="108"/>
                  <a:pt x="408" y="108"/>
                </a:cubicBezTo>
                <a:cubicBezTo>
                  <a:pt x="408" y="110"/>
                  <a:pt x="408" y="110"/>
                  <a:pt x="408" y="110"/>
                </a:cubicBezTo>
                <a:cubicBezTo>
                  <a:pt x="410" y="112"/>
                  <a:pt x="410" y="112"/>
                  <a:pt x="410" y="112"/>
                </a:cubicBezTo>
                <a:cubicBezTo>
                  <a:pt x="416" y="112"/>
                  <a:pt x="416" y="112"/>
                  <a:pt x="416" y="112"/>
                </a:cubicBezTo>
                <a:cubicBezTo>
                  <a:pt x="417" y="112"/>
                  <a:pt x="417" y="112"/>
                  <a:pt x="417" y="112"/>
                </a:cubicBezTo>
                <a:cubicBezTo>
                  <a:pt x="417" y="112"/>
                  <a:pt x="417" y="112"/>
                  <a:pt x="417" y="112"/>
                </a:cubicBezTo>
                <a:cubicBezTo>
                  <a:pt x="419" y="112"/>
                  <a:pt x="419" y="112"/>
                  <a:pt x="419" y="112"/>
                </a:cubicBezTo>
                <a:cubicBezTo>
                  <a:pt x="421" y="112"/>
                  <a:pt x="421" y="112"/>
                  <a:pt x="421" y="112"/>
                </a:cubicBezTo>
                <a:cubicBezTo>
                  <a:pt x="425" y="112"/>
                  <a:pt x="425" y="112"/>
                  <a:pt x="425" y="112"/>
                </a:cubicBezTo>
                <a:cubicBezTo>
                  <a:pt x="427" y="110"/>
                  <a:pt x="427" y="110"/>
                  <a:pt x="427" y="110"/>
                </a:cubicBezTo>
                <a:cubicBezTo>
                  <a:pt x="428" y="111"/>
                  <a:pt x="428" y="111"/>
                  <a:pt x="428" y="111"/>
                </a:cubicBezTo>
                <a:cubicBezTo>
                  <a:pt x="430" y="110"/>
                  <a:pt x="430" y="110"/>
                  <a:pt x="430" y="110"/>
                </a:cubicBezTo>
                <a:cubicBezTo>
                  <a:pt x="430" y="109"/>
                  <a:pt x="430" y="109"/>
                  <a:pt x="430" y="109"/>
                </a:cubicBezTo>
                <a:cubicBezTo>
                  <a:pt x="430" y="108"/>
                  <a:pt x="430" y="108"/>
                  <a:pt x="430" y="108"/>
                </a:cubicBezTo>
                <a:cubicBezTo>
                  <a:pt x="431" y="108"/>
                  <a:pt x="431" y="108"/>
                  <a:pt x="431" y="108"/>
                </a:cubicBezTo>
                <a:cubicBezTo>
                  <a:pt x="432" y="108"/>
                  <a:pt x="432" y="108"/>
                  <a:pt x="432" y="108"/>
                </a:cubicBezTo>
                <a:cubicBezTo>
                  <a:pt x="434" y="108"/>
                  <a:pt x="434" y="108"/>
                  <a:pt x="434" y="108"/>
                </a:cubicBezTo>
                <a:cubicBezTo>
                  <a:pt x="434" y="109"/>
                  <a:pt x="434" y="109"/>
                  <a:pt x="434" y="109"/>
                </a:cubicBezTo>
                <a:cubicBezTo>
                  <a:pt x="435" y="109"/>
                  <a:pt x="435" y="109"/>
                  <a:pt x="435" y="109"/>
                </a:cubicBezTo>
                <a:cubicBezTo>
                  <a:pt x="436" y="108"/>
                  <a:pt x="436" y="108"/>
                  <a:pt x="436" y="108"/>
                </a:cubicBezTo>
                <a:cubicBezTo>
                  <a:pt x="435" y="107"/>
                  <a:pt x="435" y="107"/>
                  <a:pt x="435" y="107"/>
                </a:cubicBezTo>
                <a:cubicBezTo>
                  <a:pt x="434" y="106"/>
                  <a:pt x="434" y="106"/>
                  <a:pt x="434" y="106"/>
                </a:cubicBezTo>
                <a:cubicBezTo>
                  <a:pt x="434" y="105"/>
                  <a:pt x="434" y="105"/>
                  <a:pt x="434" y="105"/>
                </a:cubicBezTo>
                <a:cubicBezTo>
                  <a:pt x="434" y="104"/>
                  <a:pt x="434" y="104"/>
                  <a:pt x="434" y="104"/>
                </a:cubicBezTo>
                <a:cubicBezTo>
                  <a:pt x="432" y="103"/>
                  <a:pt x="432" y="103"/>
                  <a:pt x="432" y="103"/>
                </a:cubicBezTo>
                <a:cubicBezTo>
                  <a:pt x="432" y="102"/>
                  <a:pt x="432" y="102"/>
                  <a:pt x="432" y="102"/>
                </a:cubicBezTo>
                <a:cubicBezTo>
                  <a:pt x="431" y="102"/>
                  <a:pt x="431" y="102"/>
                  <a:pt x="431" y="102"/>
                </a:cubicBezTo>
                <a:cubicBezTo>
                  <a:pt x="431" y="100"/>
                  <a:pt x="431" y="100"/>
                  <a:pt x="431" y="100"/>
                </a:cubicBezTo>
                <a:cubicBezTo>
                  <a:pt x="430" y="99"/>
                  <a:pt x="430" y="99"/>
                  <a:pt x="430" y="99"/>
                </a:cubicBezTo>
                <a:cubicBezTo>
                  <a:pt x="430" y="98"/>
                  <a:pt x="430" y="98"/>
                  <a:pt x="430" y="98"/>
                </a:cubicBezTo>
                <a:cubicBezTo>
                  <a:pt x="431" y="97"/>
                  <a:pt x="431" y="97"/>
                  <a:pt x="431" y="97"/>
                </a:cubicBezTo>
                <a:cubicBezTo>
                  <a:pt x="431" y="97"/>
                  <a:pt x="431" y="97"/>
                  <a:pt x="431" y="97"/>
                </a:cubicBezTo>
                <a:cubicBezTo>
                  <a:pt x="432" y="98"/>
                  <a:pt x="432" y="98"/>
                  <a:pt x="432" y="98"/>
                </a:cubicBezTo>
                <a:cubicBezTo>
                  <a:pt x="433" y="97"/>
                  <a:pt x="433" y="97"/>
                  <a:pt x="433" y="97"/>
                </a:cubicBezTo>
                <a:cubicBezTo>
                  <a:pt x="433" y="96"/>
                  <a:pt x="433" y="96"/>
                  <a:pt x="433" y="96"/>
                </a:cubicBezTo>
                <a:cubicBezTo>
                  <a:pt x="432" y="95"/>
                  <a:pt x="432" y="95"/>
                  <a:pt x="432" y="95"/>
                </a:cubicBezTo>
                <a:cubicBezTo>
                  <a:pt x="433" y="95"/>
                  <a:pt x="433" y="95"/>
                  <a:pt x="433" y="95"/>
                </a:cubicBezTo>
                <a:cubicBezTo>
                  <a:pt x="435" y="96"/>
                  <a:pt x="435" y="96"/>
                  <a:pt x="435" y="96"/>
                </a:cubicBezTo>
                <a:cubicBezTo>
                  <a:pt x="436" y="95"/>
                  <a:pt x="436" y="95"/>
                  <a:pt x="436" y="95"/>
                </a:cubicBezTo>
                <a:cubicBezTo>
                  <a:pt x="436" y="94"/>
                  <a:pt x="436" y="94"/>
                  <a:pt x="436" y="94"/>
                </a:cubicBezTo>
                <a:cubicBezTo>
                  <a:pt x="436" y="95"/>
                  <a:pt x="436" y="95"/>
                  <a:pt x="436" y="95"/>
                </a:cubicBezTo>
                <a:cubicBezTo>
                  <a:pt x="438" y="95"/>
                  <a:pt x="438" y="95"/>
                  <a:pt x="438" y="95"/>
                </a:cubicBezTo>
                <a:cubicBezTo>
                  <a:pt x="439" y="95"/>
                  <a:pt x="439" y="95"/>
                  <a:pt x="439" y="95"/>
                </a:cubicBezTo>
                <a:cubicBezTo>
                  <a:pt x="439" y="94"/>
                  <a:pt x="439" y="94"/>
                  <a:pt x="439" y="94"/>
                </a:cubicBezTo>
                <a:cubicBezTo>
                  <a:pt x="440" y="95"/>
                  <a:pt x="440" y="95"/>
                  <a:pt x="440" y="95"/>
                </a:cubicBezTo>
                <a:cubicBezTo>
                  <a:pt x="441" y="96"/>
                  <a:pt x="441" y="96"/>
                  <a:pt x="441" y="96"/>
                </a:cubicBezTo>
                <a:cubicBezTo>
                  <a:pt x="442" y="97"/>
                  <a:pt x="442" y="97"/>
                  <a:pt x="442" y="97"/>
                </a:cubicBezTo>
                <a:cubicBezTo>
                  <a:pt x="443" y="96"/>
                  <a:pt x="443" y="96"/>
                  <a:pt x="443" y="96"/>
                </a:cubicBezTo>
                <a:cubicBezTo>
                  <a:pt x="443" y="95"/>
                  <a:pt x="443" y="95"/>
                  <a:pt x="443" y="95"/>
                </a:cubicBezTo>
                <a:cubicBezTo>
                  <a:pt x="444" y="95"/>
                  <a:pt x="444" y="95"/>
                  <a:pt x="444" y="95"/>
                </a:cubicBezTo>
                <a:cubicBezTo>
                  <a:pt x="445" y="96"/>
                  <a:pt x="445" y="96"/>
                  <a:pt x="445" y="96"/>
                </a:cubicBezTo>
                <a:cubicBezTo>
                  <a:pt x="444" y="97"/>
                  <a:pt x="444" y="97"/>
                  <a:pt x="444" y="97"/>
                </a:cubicBezTo>
                <a:cubicBezTo>
                  <a:pt x="443" y="98"/>
                  <a:pt x="443" y="98"/>
                  <a:pt x="443" y="98"/>
                </a:cubicBezTo>
                <a:cubicBezTo>
                  <a:pt x="444" y="98"/>
                  <a:pt x="444" y="98"/>
                  <a:pt x="444" y="98"/>
                </a:cubicBezTo>
                <a:cubicBezTo>
                  <a:pt x="445" y="98"/>
                  <a:pt x="445" y="98"/>
                  <a:pt x="445" y="98"/>
                </a:cubicBezTo>
                <a:cubicBezTo>
                  <a:pt x="446" y="98"/>
                  <a:pt x="446" y="98"/>
                  <a:pt x="446" y="98"/>
                </a:cubicBezTo>
                <a:cubicBezTo>
                  <a:pt x="446" y="97"/>
                  <a:pt x="446" y="97"/>
                  <a:pt x="446" y="97"/>
                </a:cubicBezTo>
                <a:cubicBezTo>
                  <a:pt x="446" y="97"/>
                  <a:pt x="446" y="97"/>
                  <a:pt x="446" y="97"/>
                </a:cubicBezTo>
                <a:cubicBezTo>
                  <a:pt x="447" y="97"/>
                  <a:pt x="447" y="97"/>
                  <a:pt x="447" y="97"/>
                </a:cubicBezTo>
                <a:cubicBezTo>
                  <a:pt x="447" y="96"/>
                  <a:pt x="447" y="96"/>
                  <a:pt x="447" y="96"/>
                </a:cubicBezTo>
                <a:cubicBezTo>
                  <a:pt x="446" y="95"/>
                  <a:pt x="446" y="95"/>
                  <a:pt x="446" y="95"/>
                </a:cubicBezTo>
                <a:cubicBezTo>
                  <a:pt x="446" y="95"/>
                  <a:pt x="446" y="95"/>
                  <a:pt x="446" y="95"/>
                </a:cubicBezTo>
                <a:cubicBezTo>
                  <a:pt x="447" y="95"/>
                  <a:pt x="447" y="95"/>
                  <a:pt x="447" y="95"/>
                </a:cubicBezTo>
                <a:cubicBezTo>
                  <a:pt x="449" y="94"/>
                  <a:pt x="449" y="94"/>
                  <a:pt x="449" y="94"/>
                </a:cubicBezTo>
                <a:cubicBezTo>
                  <a:pt x="450" y="95"/>
                  <a:pt x="450" y="95"/>
                  <a:pt x="450" y="95"/>
                </a:cubicBezTo>
                <a:cubicBezTo>
                  <a:pt x="451" y="95"/>
                  <a:pt x="451" y="95"/>
                  <a:pt x="451" y="95"/>
                </a:cubicBezTo>
                <a:cubicBezTo>
                  <a:pt x="452" y="95"/>
                  <a:pt x="452" y="95"/>
                  <a:pt x="452" y="95"/>
                </a:cubicBezTo>
                <a:cubicBezTo>
                  <a:pt x="452" y="95"/>
                  <a:pt x="452" y="95"/>
                  <a:pt x="452" y="95"/>
                </a:cubicBezTo>
                <a:cubicBezTo>
                  <a:pt x="453" y="97"/>
                  <a:pt x="453" y="97"/>
                  <a:pt x="453" y="97"/>
                </a:cubicBezTo>
                <a:cubicBezTo>
                  <a:pt x="453" y="96"/>
                  <a:pt x="453" y="96"/>
                  <a:pt x="453" y="96"/>
                </a:cubicBezTo>
                <a:cubicBezTo>
                  <a:pt x="454" y="96"/>
                  <a:pt x="454" y="96"/>
                  <a:pt x="454" y="96"/>
                </a:cubicBezTo>
                <a:cubicBezTo>
                  <a:pt x="455" y="95"/>
                  <a:pt x="455" y="95"/>
                  <a:pt x="455" y="95"/>
                </a:cubicBezTo>
                <a:cubicBezTo>
                  <a:pt x="455" y="97"/>
                  <a:pt x="455" y="97"/>
                  <a:pt x="455" y="97"/>
                </a:cubicBezTo>
                <a:cubicBezTo>
                  <a:pt x="456" y="97"/>
                  <a:pt x="456" y="97"/>
                  <a:pt x="456" y="97"/>
                </a:cubicBezTo>
                <a:cubicBezTo>
                  <a:pt x="457" y="96"/>
                  <a:pt x="457" y="96"/>
                  <a:pt x="457" y="96"/>
                </a:cubicBezTo>
                <a:cubicBezTo>
                  <a:pt x="458" y="97"/>
                  <a:pt x="458" y="97"/>
                  <a:pt x="458" y="97"/>
                </a:cubicBezTo>
                <a:cubicBezTo>
                  <a:pt x="459" y="99"/>
                  <a:pt x="459" y="99"/>
                  <a:pt x="459" y="99"/>
                </a:cubicBezTo>
                <a:cubicBezTo>
                  <a:pt x="459" y="98"/>
                  <a:pt x="459" y="98"/>
                  <a:pt x="459" y="98"/>
                </a:cubicBezTo>
                <a:cubicBezTo>
                  <a:pt x="460" y="97"/>
                  <a:pt x="460" y="97"/>
                  <a:pt x="460" y="97"/>
                </a:cubicBezTo>
                <a:cubicBezTo>
                  <a:pt x="461" y="98"/>
                  <a:pt x="461" y="98"/>
                  <a:pt x="461" y="98"/>
                </a:cubicBezTo>
                <a:cubicBezTo>
                  <a:pt x="460" y="100"/>
                  <a:pt x="460" y="100"/>
                  <a:pt x="460" y="100"/>
                </a:cubicBezTo>
                <a:cubicBezTo>
                  <a:pt x="461" y="100"/>
                  <a:pt x="461" y="100"/>
                  <a:pt x="461" y="100"/>
                </a:cubicBezTo>
                <a:cubicBezTo>
                  <a:pt x="461" y="101"/>
                  <a:pt x="461" y="101"/>
                  <a:pt x="461" y="101"/>
                </a:cubicBezTo>
                <a:cubicBezTo>
                  <a:pt x="463" y="101"/>
                  <a:pt x="463" y="101"/>
                  <a:pt x="463" y="101"/>
                </a:cubicBezTo>
                <a:cubicBezTo>
                  <a:pt x="463" y="102"/>
                  <a:pt x="463" y="102"/>
                  <a:pt x="463" y="102"/>
                </a:cubicBezTo>
                <a:cubicBezTo>
                  <a:pt x="464" y="102"/>
                  <a:pt x="464" y="102"/>
                  <a:pt x="464" y="102"/>
                </a:cubicBezTo>
                <a:cubicBezTo>
                  <a:pt x="464" y="101"/>
                  <a:pt x="464" y="101"/>
                  <a:pt x="464" y="101"/>
                </a:cubicBezTo>
                <a:cubicBezTo>
                  <a:pt x="464" y="103"/>
                  <a:pt x="464" y="103"/>
                  <a:pt x="464" y="103"/>
                </a:cubicBezTo>
                <a:cubicBezTo>
                  <a:pt x="463" y="104"/>
                  <a:pt x="463" y="104"/>
                  <a:pt x="463" y="104"/>
                </a:cubicBezTo>
                <a:cubicBezTo>
                  <a:pt x="464" y="105"/>
                  <a:pt x="464" y="105"/>
                  <a:pt x="464" y="105"/>
                </a:cubicBezTo>
                <a:cubicBezTo>
                  <a:pt x="465" y="104"/>
                  <a:pt x="465" y="104"/>
                  <a:pt x="465" y="104"/>
                </a:cubicBezTo>
                <a:cubicBezTo>
                  <a:pt x="466" y="104"/>
                  <a:pt x="466" y="104"/>
                  <a:pt x="466" y="104"/>
                </a:cubicBezTo>
                <a:cubicBezTo>
                  <a:pt x="467" y="105"/>
                  <a:pt x="467" y="105"/>
                  <a:pt x="467" y="105"/>
                </a:cubicBezTo>
                <a:cubicBezTo>
                  <a:pt x="464" y="107"/>
                  <a:pt x="464" y="107"/>
                  <a:pt x="464" y="107"/>
                </a:cubicBezTo>
                <a:cubicBezTo>
                  <a:pt x="464" y="108"/>
                  <a:pt x="464" y="108"/>
                  <a:pt x="464" y="108"/>
                </a:cubicBezTo>
                <a:cubicBezTo>
                  <a:pt x="466" y="109"/>
                  <a:pt x="466" y="109"/>
                  <a:pt x="466" y="109"/>
                </a:cubicBezTo>
                <a:cubicBezTo>
                  <a:pt x="467" y="108"/>
                  <a:pt x="467" y="108"/>
                  <a:pt x="467" y="108"/>
                </a:cubicBezTo>
                <a:cubicBezTo>
                  <a:pt x="468" y="107"/>
                  <a:pt x="468" y="107"/>
                  <a:pt x="468" y="107"/>
                </a:cubicBezTo>
                <a:cubicBezTo>
                  <a:pt x="469" y="108"/>
                  <a:pt x="469" y="108"/>
                  <a:pt x="469" y="108"/>
                </a:cubicBezTo>
                <a:cubicBezTo>
                  <a:pt x="469" y="109"/>
                  <a:pt x="469" y="109"/>
                  <a:pt x="469" y="109"/>
                </a:cubicBezTo>
                <a:cubicBezTo>
                  <a:pt x="470" y="108"/>
                  <a:pt x="470" y="108"/>
                  <a:pt x="470" y="108"/>
                </a:cubicBezTo>
                <a:cubicBezTo>
                  <a:pt x="471" y="110"/>
                  <a:pt x="471" y="110"/>
                  <a:pt x="471" y="110"/>
                </a:cubicBezTo>
                <a:cubicBezTo>
                  <a:pt x="471" y="112"/>
                  <a:pt x="471" y="112"/>
                  <a:pt x="471" y="112"/>
                </a:cubicBezTo>
                <a:cubicBezTo>
                  <a:pt x="472" y="112"/>
                  <a:pt x="472" y="112"/>
                  <a:pt x="472" y="112"/>
                </a:cubicBezTo>
                <a:cubicBezTo>
                  <a:pt x="472" y="113"/>
                  <a:pt x="472" y="113"/>
                  <a:pt x="472" y="113"/>
                </a:cubicBezTo>
                <a:cubicBezTo>
                  <a:pt x="473" y="112"/>
                  <a:pt x="473" y="112"/>
                  <a:pt x="473" y="112"/>
                </a:cubicBezTo>
                <a:cubicBezTo>
                  <a:pt x="473" y="113"/>
                  <a:pt x="473" y="113"/>
                  <a:pt x="473" y="113"/>
                </a:cubicBezTo>
                <a:cubicBezTo>
                  <a:pt x="472" y="115"/>
                  <a:pt x="472" y="115"/>
                  <a:pt x="472" y="115"/>
                </a:cubicBezTo>
                <a:cubicBezTo>
                  <a:pt x="471" y="116"/>
                  <a:pt x="471" y="116"/>
                  <a:pt x="471" y="116"/>
                </a:cubicBezTo>
                <a:cubicBezTo>
                  <a:pt x="470" y="115"/>
                  <a:pt x="470" y="115"/>
                  <a:pt x="470" y="115"/>
                </a:cubicBezTo>
                <a:cubicBezTo>
                  <a:pt x="467" y="114"/>
                  <a:pt x="467" y="114"/>
                  <a:pt x="467" y="114"/>
                </a:cubicBezTo>
                <a:cubicBezTo>
                  <a:pt x="464" y="114"/>
                  <a:pt x="464" y="114"/>
                  <a:pt x="464" y="114"/>
                </a:cubicBezTo>
                <a:cubicBezTo>
                  <a:pt x="466" y="115"/>
                  <a:pt x="466" y="115"/>
                  <a:pt x="466" y="115"/>
                </a:cubicBezTo>
                <a:cubicBezTo>
                  <a:pt x="466" y="116"/>
                  <a:pt x="466" y="116"/>
                  <a:pt x="466" y="116"/>
                </a:cubicBezTo>
                <a:cubicBezTo>
                  <a:pt x="468" y="116"/>
                  <a:pt x="468" y="116"/>
                  <a:pt x="468" y="116"/>
                </a:cubicBezTo>
                <a:cubicBezTo>
                  <a:pt x="469" y="117"/>
                  <a:pt x="469" y="117"/>
                  <a:pt x="469" y="117"/>
                </a:cubicBezTo>
                <a:cubicBezTo>
                  <a:pt x="471" y="119"/>
                  <a:pt x="471" y="119"/>
                  <a:pt x="471" y="119"/>
                </a:cubicBezTo>
                <a:cubicBezTo>
                  <a:pt x="474" y="120"/>
                  <a:pt x="474" y="120"/>
                  <a:pt x="474" y="120"/>
                </a:cubicBezTo>
                <a:cubicBezTo>
                  <a:pt x="475" y="119"/>
                  <a:pt x="475" y="119"/>
                  <a:pt x="475" y="119"/>
                </a:cubicBezTo>
                <a:cubicBezTo>
                  <a:pt x="475" y="117"/>
                  <a:pt x="475" y="117"/>
                  <a:pt x="475" y="117"/>
                </a:cubicBezTo>
                <a:cubicBezTo>
                  <a:pt x="474" y="116"/>
                  <a:pt x="474" y="116"/>
                  <a:pt x="474" y="116"/>
                </a:cubicBezTo>
                <a:cubicBezTo>
                  <a:pt x="474" y="116"/>
                  <a:pt x="474" y="116"/>
                  <a:pt x="474" y="116"/>
                </a:cubicBezTo>
                <a:cubicBezTo>
                  <a:pt x="474" y="116"/>
                  <a:pt x="474" y="116"/>
                  <a:pt x="474" y="116"/>
                </a:cubicBezTo>
                <a:cubicBezTo>
                  <a:pt x="475" y="117"/>
                  <a:pt x="475" y="117"/>
                  <a:pt x="475" y="117"/>
                </a:cubicBezTo>
                <a:cubicBezTo>
                  <a:pt x="477" y="118"/>
                  <a:pt x="477" y="118"/>
                  <a:pt x="477" y="118"/>
                </a:cubicBezTo>
                <a:cubicBezTo>
                  <a:pt x="478" y="118"/>
                  <a:pt x="478" y="118"/>
                  <a:pt x="478" y="118"/>
                </a:cubicBezTo>
                <a:cubicBezTo>
                  <a:pt x="477" y="118"/>
                  <a:pt x="477" y="118"/>
                  <a:pt x="477" y="118"/>
                </a:cubicBezTo>
                <a:cubicBezTo>
                  <a:pt x="474" y="120"/>
                  <a:pt x="474" y="120"/>
                  <a:pt x="474" y="120"/>
                </a:cubicBezTo>
                <a:cubicBezTo>
                  <a:pt x="475" y="121"/>
                  <a:pt x="475" y="121"/>
                  <a:pt x="475" y="121"/>
                </a:cubicBezTo>
                <a:cubicBezTo>
                  <a:pt x="476" y="121"/>
                  <a:pt x="476" y="121"/>
                  <a:pt x="476" y="121"/>
                </a:cubicBezTo>
                <a:cubicBezTo>
                  <a:pt x="477" y="121"/>
                  <a:pt x="477" y="121"/>
                  <a:pt x="477" y="121"/>
                </a:cubicBezTo>
                <a:cubicBezTo>
                  <a:pt x="477" y="121"/>
                  <a:pt x="477" y="121"/>
                  <a:pt x="477" y="121"/>
                </a:cubicBezTo>
                <a:cubicBezTo>
                  <a:pt x="482" y="125"/>
                  <a:pt x="482" y="125"/>
                  <a:pt x="482" y="125"/>
                </a:cubicBezTo>
                <a:cubicBezTo>
                  <a:pt x="483" y="125"/>
                  <a:pt x="483" y="125"/>
                  <a:pt x="483" y="125"/>
                </a:cubicBezTo>
                <a:cubicBezTo>
                  <a:pt x="484" y="127"/>
                  <a:pt x="484" y="127"/>
                  <a:pt x="484" y="127"/>
                </a:cubicBezTo>
                <a:cubicBezTo>
                  <a:pt x="487" y="127"/>
                  <a:pt x="487" y="127"/>
                  <a:pt x="487" y="127"/>
                </a:cubicBezTo>
                <a:cubicBezTo>
                  <a:pt x="489" y="129"/>
                  <a:pt x="489" y="129"/>
                  <a:pt x="489" y="129"/>
                </a:cubicBezTo>
                <a:cubicBezTo>
                  <a:pt x="490" y="129"/>
                  <a:pt x="490" y="129"/>
                  <a:pt x="490" y="129"/>
                </a:cubicBezTo>
                <a:cubicBezTo>
                  <a:pt x="491" y="129"/>
                  <a:pt x="491" y="129"/>
                  <a:pt x="491" y="129"/>
                </a:cubicBezTo>
                <a:cubicBezTo>
                  <a:pt x="490" y="128"/>
                  <a:pt x="490" y="128"/>
                  <a:pt x="490" y="128"/>
                </a:cubicBezTo>
                <a:cubicBezTo>
                  <a:pt x="491" y="127"/>
                  <a:pt x="491" y="127"/>
                  <a:pt x="491" y="127"/>
                </a:cubicBezTo>
                <a:cubicBezTo>
                  <a:pt x="492" y="128"/>
                  <a:pt x="492" y="128"/>
                  <a:pt x="492" y="128"/>
                </a:cubicBezTo>
                <a:cubicBezTo>
                  <a:pt x="492" y="129"/>
                  <a:pt x="492" y="129"/>
                  <a:pt x="492" y="129"/>
                </a:cubicBezTo>
                <a:cubicBezTo>
                  <a:pt x="493" y="131"/>
                  <a:pt x="493" y="131"/>
                  <a:pt x="493" y="131"/>
                </a:cubicBezTo>
                <a:cubicBezTo>
                  <a:pt x="494" y="131"/>
                  <a:pt x="494" y="131"/>
                  <a:pt x="494" y="131"/>
                </a:cubicBezTo>
                <a:cubicBezTo>
                  <a:pt x="494" y="129"/>
                  <a:pt x="494" y="129"/>
                  <a:pt x="494" y="129"/>
                </a:cubicBezTo>
                <a:cubicBezTo>
                  <a:pt x="493" y="122"/>
                  <a:pt x="493" y="122"/>
                  <a:pt x="493" y="122"/>
                </a:cubicBezTo>
                <a:cubicBezTo>
                  <a:pt x="492" y="119"/>
                  <a:pt x="492" y="119"/>
                  <a:pt x="492" y="119"/>
                </a:cubicBezTo>
                <a:cubicBezTo>
                  <a:pt x="490" y="116"/>
                  <a:pt x="490" y="116"/>
                  <a:pt x="490" y="116"/>
                </a:cubicBezTo>
                <a:cubicBezTo>
                  <a:pt x="490" y="112"/>
                  <a:pt x="490" y="112"/>
                  <a:pt x="490" y="112"/>
                </a:cubicBezTo>
                <a:cubicBezTo>
                  <a:pt x="489" y="110"/>
                  <a:pt x="489" y="110"/>
                  <a:pt x="489" y="110"/>
                </a:cubicBezTo>
                <a:cubicBezTo>
                  <a:pt x="488" y="109"/>
                  <a:pt x="488" y="109"/>
                  <a:pt x="488" y="109"/>
                </a:cubicBezTo>
                <a:cubicBezTo>
                  <a:pt x="490" y="110"/>
                  <a:pt x="490" y="110"/>
                  <a:pt x="490" y="110"/>
                </a:cubicBezTo>
                <a:cubicBezTo>
                  <a:pt x="490" y="111"/>
                  <a:pt x="490" y="111"/>
                  <a:pt x="490" y="111"/>
                </a:cubicBezTo>
                <a:cubicBezTo>
                  <a:pt x="492" y="113"/>
                  <a:pt x="492" y="113"/>
                  <a:pt x="492" y="113"/>
                </a:cubicBezTo>
                <a:cubicBezTo>
                  <a:pt x="493" y="113"/>
                  <a:pt x="493" y="113"/>
                  <a:pt x="493" y="113"/>
                </a:cubicBezTo>
                <a:cubicBezTo>
                  <a:pt x="495" y="115"/>
                  <a:pt x="495" y="115"/>
                  <a:pt x="495" y="115"/>
                </a:cubicBezTo>
                <a:cubicBezTo>
                  <a:pt x="497" y="115"/>
                  <a:pt x="497" y="115"/>
                  <a:pt x="497" y="115"/>
                </a:cubicBezTo>
                <a:cubicBezTo>
                  <a:pt x="502" y="115"/>
                  <a:pt x="502" y="115"/>
                  <a:pt x="502" y="115"/>
                </a:cubicBezTo>
                <a:cubicBezTo>
                  <a:pt x="503" y="115"/>
                  <a:pt x="503" y="115"/>
                  <a:pt x="503" y="115"/>
                </a:cubicBezTo>
                <a:cubicBezTo>
                  <a:pt x="504" y="114"/>
                  <a:pt x="504" y="114"/>
                  <a:pt x="504" y="114"/>
                </a:cubicBezTo>
                <a:cubicBezTo>
                  <a:pt x="505" y="115"/>
                  <a:pt x="505" y="115"/>
                  <a:pt x="505" y="115"/>
                </a:cubicBezTo>
                <a:cubicBezTo>
                  <a:pt x="505" y="115"/>
                  <a:pt x="505" y="115"/>
                  <a:pt x="505" y="115"/>
                </a:cubicBezTo>
                <a:cubicBezTo>
                  <a:pt x="504" y="114"/>
                  <a:pt x="504" y="114"/>
                  <a:pt x="504" y="114"/>
                </a:cubicBezTo>
                <a:cubicBezTo>
                  <a:pt x="505" y="113"/>
                  <a:pt x="505" y="113"/>
                  <a:pt x="505" y="113"/>
                </a:cubicBezTo>
                <a:cubicBezTo>
                  <a:pt x="504" y="112"/>
                  <a:pt x="504" y="112"/>
                  <a:pt x="504" y="112"/>
                </a:cubicBezTo>
                <a:cubicBezTo>
                  <a:pt x="504" y="111"/>
                  <a:pt x="504" y="111"/>
                  <a:pt x="504" y="111"/>
                </a:cubicBezTo>
                <a:cubicBezTo>
                  <a:pt x="504" y="110"/>
                  <a:pt x="504" y="110"/>
                  <a:pt x="504" y="110"/>
                </a:cubicBezTo>
                <a:cubicBezTo>
                  <a:pt x="509" y="108"/>
                  <a:pt x="509" y="108"/>
                  <a:pt x="509" y="108"/>
                </a:cubicBezTo>
                <a:cubicBezTo>
                  <a:pt x="509" y="109"/>
                  <a:pt x="509" y="109"/>
                  <a:pt x="509" y="109"/>
                </a:cubicBezTo>
                <a:cubicBezTo>
                  <a:pt x="510" y="109"/>
                  <a:pt x="510" y="109"/>
                  <a:pt x="510" y="109"/>
                </a:cubicBezTo>
                <a:cubicBezTo>
                  <a:pt x="512" y="109"/>
                  <a:pt x="512" y="109"/>
                  <a:pt x="512" y="109"/>
                </a:cubicBezTo>
                <a:cubicBezTo>
                  <a:pt x="514" y="109"/>
                  <a:pt x="514" y="109"/>
                  <a:pt x="514" y="109"/>
                </a:cubicBezTo>
                <a:cubicBezTo>
                  <a:pt x="515" y="111"/>
                  <a:pt x="515" y="111"/>
                  <a:pt x="515" y="111"/>
                </a:cubicBezTo>
                <a:cubicBezTo>
                  <a:pt x="517" y="111"/>
                  <a:pt x="517" y="111"/>
                  <a:pt x="517" y="111"/>
                </a:cubicBezTo>
                <a:cubicBezTo>
                  <a:pt x="517" y="113"/>
                  <a:pt x="517" y="113"/>
                  <a:pt x="517" y="113"/>
                </a:cubicBezTo>
                <a:cubicBezTo>
                  <a:pt x="520" y="113"/>
                  <a:pt x="520" y="113"/>
                  <a:pt x="520" y="113"/>
                </a:cubicBezTo>
                <a:cubicBezTo>
                  <a:pt x="520" y="114"/>
                  <a:pt x="520" y="114"/>
                  <a:pt x="520" y="114"/>
                </a:cubicBezTo>
                <a:cubicBezTo>
                  <a:pt x="523" y="114"/>
                  <a:pt x="523" y="114"/>
                  <a:pt x="523" y="114"/>
                </a:cubicBezTo>
                <a:cubicBezTo>
                  <a:pt x="521" y="113"/>
                  <a:pt x="521" y="113"/>
                  <a:pt x="521" y="113"/>
                </a:cubicBezTo>
                <a:cubicBezTo>
                  <a:pt x="521" y="112"/>
                  <a:pt x="521" y="112"/>
                  <a:pt x="521" y="112"/>
                </a:cubicBezTo>
                <a:cubicBezTo>
                  <a:pt x="523" y="113"/>
                  <a:pt x="523" y="113"/>
                  <a:pt x="523" y="113"/>
                </a:cubicBezTo>
                <a:cubicBezTo>
                  <a:pt x="524" y="112"/>
                  <a:pt x="524" y="112"/>
                  <a:pt x="524" y="112"/>
                </a:cubicBezTo>
                <a:cubicBezTo>
                  <a:pt x="523" y="111"/>
                  <a:pt x="523" y="111"/>
                  <a:pt x="523" y="111"/>
                </a:cubicBezTo>
                <a:cubicBezTo>
                  <a:pt x="524" y="110"/>
                  <a:pt x="524" y="110"/>
                  <a:pt x="524" y="110"/>
                </a:cubicBezTo>
                <a:cubicBezTo>
                  <a:pt x="523" y="109"/>
                  <a:pt x="523" y="109"/>
                  <a:pt x="523" y="109"/>
                </a:cubicBezTo>
                <a:cubicBezTo>
                  <a:pt x="521" y="110"/>
                  <a:pt x="521" y="110"/>
                  <a:pt x="521" y="110"/>
                </a:cubicBezTo>
                <a:cubicBezTo>
                  <a:pt x="519" y="110"/>
                  <a:pt x="519" y="110"/>
                  <a:pt x="519" y="110"/>
                </a:cubicBezTo>
                <a:cubicBezTo>
                  <a:pt x="519" y="108"/>
                  <a:pt x="519" y="108"/>
                  <a:pt x="519" y="108"/>
                </a:cubicBezTo>
                <a:cubicBezTo>
                  <a:pt x="519" y="106"/>
                  <a:pt x="519" y="106"/>
                  <a:pt x="519" y="106"/>
                </a:cubicBezTo>
                <a:cubicBezTo>
                  <a:pt x="519" y="106"/>
                  <a:pt x="519" y="106"/>
                  <a:pt x="519" y="106"/>
                </a:cubicBezTo>
                <a:cubicBezTo>
                  <a:pt x="520" y="106"/>
                  <a:pt x="520" y="106"/>
                  <a:pt x="520" y="106"/>
                </a:cubicBezTo>
                <a:cubicBezTo>
                  <a:pt x="521" y="106"/>
                  <a:pt x="521" y="106"/>
                  <a:pt x="521" y="106"/>
                </a:cubicBezTo>
                <a:cubicBezTo>
                  <a:pt x="521" y="105"/>
                  <a:pt x="521" y="105"/>
                  <a:pt x="521" y="105"/>
                </a:cubicBezTo>
                <a:cubicBezTo>
                  <a:pt x="522" y="104"/>
                  <a:pt x="522" y="104"/>
                  <a:pt x="522" y="104"/>
                </a:cubicBezTo>
                <a:cubicBezTo>
                  <a:pt x="524" y="106"/>
                  <a:pt x="524" y="106"/>
                  <a:pt x="524" y="106"/>
                </a:cubicBezTo>
                <a:cubicBezTo>
                  <a:pt x="524" y="107"/>
                  <a:pt x="524" y="107"/>
                  <a:pt x="524" y="107"/>
                </a:cubicBezTo>
                <a:cubicBezTo>
                  <a:pt x="525" y="107"/>
                  <a:pt x="525" y="107"/>
                  <a:pt x="525" y="107"/>
                </a:cubicBezTo>
                <a:cubicBezTo>
                  <a:pt x="526" y="107"/>
                  <a:pt x="526" y="107"/>
                  <a:pt x="526" y="107"/>
                </a:cubicBezTo>
                <a:cubicBezTo>
                  <a:pt x="526" y="107"/>
                  <a:pt x="526" y="107"/>
                  <a:pt x="526" y="107"/>
                </a:cubicBezTo>
                <a:cubicBezTo>
                  <a:pt x="526" y="105"/>
                  <a:pt x="526" y="105"/>
                  <a:pt x="526" y="105"/>
                </a:cubicBezTo>
                <a:cubicBezTo>
                  <a:pt x="527" y="105"/>
                  <a:pt x="527" y="105"/>
                  <a:pt x="527" y="105"/>
                </a:cubicBezTo>
                <a:cubicBezTo>
                  <a:pt x="528" y="106"/>
                  <a:pt x="528" y="106"/>
                  <a:pt x="528" y="106"/>
                </a:cubicBezTo>
                <a:cubicBezTo>
                  <a:pt x="529" y="104"/>
                  <a:pt x="529" y="104"/>
                  <a:pt x="529" y="104"/>
                </a:cubicBezTo>
                <a:cubicBezTo>
                  <a:pt x="527" y="102"/>
                  <a:pt x="527" y="102"/>
                  <a:pt x="527" y="102"/>
                </a:cubicBezTo>
                <a:cubicBezTo>
                  <a:pt x="525" y="102"/>
                  <a:pt x="525" y="102"/>
                  <a:pt x="525" y="102"/>
                </a:cubicBezTo>
                <a:cubicBezTo>
                  <a:pt x="524" y="100"/>
                  <a:pt x="524" y="100"/>
                  <a:pt x="524" y="100"/>
                </a:cubicBezTo>
                <a:cubicBezTo>
                  <a:pt x="524" y="99"/>
                  <a:pt x="524" y="99"/>
                  <a:pt x="524" y="99"/>
                </a:cubicBezTo>
                <a:cubicBezTo>
                  <a:pt x="523" y="98"/>
                  <a:pt x="523" y="98"/>
                  <a:pt x="523" y="98"/>
                </a:cubicBezTo>
                <a:cubicBezTo>
                  <a:pt x="522" y="99"/>
                  <a:pt x="522" y="99"/>
                  <a:pt x="522" y="99"/>
                </a:cubicBezTo>
                <a:cubicBezTo>
                  <a:pt x="521" y="98"/>
                  <a:pt x="521" y="98"/>
                  <a:pt x="521" y="98"/>
                </a:cubicBezTo>
                <a:cubicBezTo>
                  <a:pt x="522" y="97"/>
                  <a:pt x="522" y="97"/>
                  <a:pt x="522" y="97"/>
                </a:cubicBezTo>
                <a:cubicBezTo>
                  <a:pt x="522" y="96"/>
                  <a:pt x="522" y="96"/>
                  <a:pt x="522" y="96"/>
                </a:cubicBezTo>
                <a:cubicBezTo>
                  <a:pt x="522" y="96"/>
                  <a:pt x="522" y="96"/>
                  <a:pt x="522" y="96"/>
                </a:cubicBezTo>
                <a:cubicBezTo>
                  <a:pt x="521" y="94"/>
                  <a:pt x="521" y="94"/>
                  <a:pt x="521" y="94"/>
                </a:cubicBezTo>
                <a:cubicBezTo>
                  <a:pt x="523" y="94"/>
                  <a:pt x="523" y="94"/>
                  <a:pt x="523" y="94"/>
                </a:cubicBezTo>
                <a:cubicBezTo>
                  <a:pt x="523" y="92"/>
                  <a:pt x="523" y="92"/>
                  <a:pt x="523" y="92"/>
                </a:cubicBezTo>
                <a:cubicBezTo>
                  <a:pt x="521" y="93"/>
                  <a:pt x="521" y="93"/>
                  <a:pt x="521" y="93"/>
                </a:cubicBezTo>
                <a:cubicBezTo>
                  <a:pt x="520" y="94"/>
                  <a:pt x="520" y="94"/>
                  <a:pt x="520" y="94"/>
                </a:cubicBezTo>
                <a:cubicBezTo>
                  <a:pt x="520" y="96"/>
                  <a:pt x="520" y="96"/>
                  <a:pt x="520" y="96"/>
                </a:cubicBezTo>
                <a:cubicBezTo>
                  <a:pt x="517" y="95"/>
                  <a:pt x="517" y="95"/>
                  <a:pt x="517" y="95"/>
                </a:cubicBezTo>
                <a:cubicBezTo>
                  <a:pt x="516" y="93"/>
                  <a:pt x="516" y="93"/>
                  <a:pt x="516" y="93"/>
                </a:cubicBezTo>
                <a:cubicBezTo>
                  <a:pt x="517" y="91"/>
                  <a:pt x="517" y="91"/>
                  <a:pt x="517" y="91"/>
                </a:cubicBezTo>
                <a:cubicBezTo>
                  <a:pt x="517" y="90"/>
                  <a:pt x="517" y="90"/>
                  <a:pt x="517" y="90"/>
                </a:cubicBezTo>
                <a:cubicBezTo>
                  <a:pt x="519" y="89"/>
                  <a:pt x="519" y="89"/>
                  <a:pt x="519" y="89"/>
                </a:cubicBezTo>
                <a:cubicBezTo>
                  <a:pt x="520" y="89"/>
                  <a:pt x="520" y="89"/>
                  <a:pt x="520" y="89"/>
                </a:cubicBezTo>
                <a:cubicBezTo>
                  <a:pt x="523" y="87"/>
                  <a:pt x="523" y="87"/>
                  <a:pt x="523" y="87"/>
                </a:cubicBezTo>
                <a:cubicBezTo>
                  <a:pt x="523" y="86"/>
                  <a:pt x="523" y="86"/>
                  <a:pt x="523" y="86"/>
                </a:cubicBezTo>
                <a:cubicBezTo>
                  <a:pt x="521" y="84"/>
                  <a:pt x="521" y="84"/>
                  <a:pt x="521" y="84"/>
                </a:cubicBezTo>
                <a:cubicBezTo>
                  <a:pt x="520" y="85"/>
                  <a:pt x="520" y="85"/>
                  <a:pt x="520" y="85"/>
                </a:cubicBezTo>
                <a:cubicBezTo>
                  <a:pt x="519" y="84"/>
                  <a:pt x="519" y="84"/>
                  <a:pt x="519" y="84"/>
                </a:cubicBezTo>
                <a:cubicBezTo>
                  <a:pt x="517" y="84"/>
                  <a:pt x="517" y="84"/>
                  <a:pt x="517" y="84"/>
                </a:cubicBezTo>
                <a:cubicBezTo>
                  <a:pt x="516" y="83"/>
                  <a:pt x="516" y="83"/>
                  <a:pt x="516" y="83"/>
                </a:cubicBezTo>
                <a:cubicBezTo>
                  <a:pt x="517" y="82"/>
                  <a:pt x="517" y="82"/>
                  <a:pt x="517" y="82"/>
                </a:cubicBezTo>
                <a:cubicBezTo>
                  <a:pt x="520" y="81"/>
                  <a:pt x="520" y="81"/>
                  <a:pt x="520" y="81"/>
                </a:cubicBezTo>
                <a:cubicBezTo>
                  <a:pt x="523" y="83"/>
                  <a:pt x="523" y="83"/>
                  <a:pt x="523" y="83"/>
                </a:cubicBezTo>
                <a:cubicBezTo>
                  <a:pt x="525" y="82"/>
                  <a:pt x="525" y="82"/>
                  <a:pt x="525" y="82"/>
                </a:cubicBezTo>
                <a:cubicBezTo>
                  <a:pt x="529" y="82"/>
                  <a:pt x="529" y="82"/>
                  <a:pt x="529" y="82"/>
                </a:cubicBezTo>
                <a:cubicBezTo>
                  <a:pt x="537" y="82"/>
                  <a:pt x="537" y="82"/>
                  <a:pt x="537" y="82"/>
                </a:cubicBezTo>
                <a:cubicBezTo>
                  <a:pt x="538" y="81"/>
                  <a:pt x="538" y="81"/>
                  <a:pt x="538" y="81"/>
                </a:cubicBezTo>
                <a:cubicBezTo>
                  <a:pt x="543" y="81"/>
                  <a:pt x="543" y="81"/>
                  <a:pt x="543" y="81"/>
                </a:cubicBezTo>
                <a:cubicBezTo>
                  <a:pt x="546" y="81"/>
                  <a:pt x="546" y="81"/>
                  <a:pt x="546" y="81"/>
                </a:cubicBezTo>
                <a:cubicBezTo>
                  <a:pt x="548" y="81"/>
                  <a:pt x="548" y="81"/>
                  <a:pt x="548" y="81"/>
                </a:cubicBezTo>
                <a:cubicBezTo>
                  <a:pt x="551" y="81"/>
                  <a:pt x="551" y="81"/>
                  <a:pt x="551" y="81"/>
                </a:cubicBezTo>
                <a:cubicBezTo>
                  <a:pt x="549" y="81"/>
                  <a:pt x="549" y="81"/>
                  <a:pt x="549" y="81"/>
                </a:cubicBezTo>
                <a:cubicBezTo>
                  <a:pt x="545" y="83"/>
                  <a:pt x="545" y="83"/>
                  <a:pt x="545" y="83"/>
                </a:cubicBezTo>
                <a:cubicBezTo>
                  <a:pt x="543" y="82"/>
                  <a:pt x="543" y="82"/>
                  <a:pt x="543" y="82"/>
                </a:cubicBezTo>
                <a:cubicBezTo>
                  <a:pt x="543" y="83"/>
                  <a:pt x="543" y="83"/>
                  <a:pt x="543" y="83"/>
                </a:cubicBezTo>
                <a:cubicBezTo>
                  <a:pt x="541" y="82"/>
                  <a:pt x="541" y="82"/>
                  <a:pt x="541" y="82"/>
                </a:cubicBezTo>
                <a:cubicBezTo>
                  <a:pt x="541" y="85"/>
                  <a:pt x="541" y="85"/>
                  <a:pt x="541" y="85"/>
                </a:cubicBezTo>
                <a:cubicBezTo>
                  <a:pt x="542" y="86"/>
                  <a:pt x="542" y="86"/>
                  <a:pt x="542" y="86"/>
                </a:cubicBezTo>
                <a:cubicBezTo>
                  <a:pt x="541" y="87"/>
                  <a:pt x="541" y="87"/>
                  <a:pt x="541" y="87"/>
                </a:cubicBezTo>
                <a:cubicBezTo>
                  <a:pt x="541" y="88"/>
                  <a:pt x="541" y="88"/>
                  <a:pt x="541" y="88"/>
                </a:cubicBezTo>
                <a:cubicBezTo>
                  <a:pt x="542" y="88"/>
                  <a:pt x="542" y="88"/>
                  <a:pt x="542" y="88"/>
                </a:cubicBezTo>
                <a:cubicBezTo>
                  <a:pt x="544" y="87"/>
                  <a:pt x="544" y="87"/>
                  <a:pt x="544" y="87"/>
                </a:cubicBezTo>
                <a:cubicBezTo>
                  <a:pt x="544" y="86"/>
                  <a:pt x="544" y="86"/>
                  <a:pt x="544" y="86"/>
                </a:cubicBezTo>
                <a:cubicBezTo>
                  <a:pt x="547" y="83"/>
                  <a:pt x="547" y="83"/>
                  <a:pt x="547" y="83"/>
                </a:cubicBezTo>
                <a:cubicBezTo>
                  <a:pt x="551" y="82"/>
                  <a:pt x="551" y="82"/>
                  <a:pt x="551" y="82"/>
                </a:cubicBezTo>
                <a:cubicBezTo>
                  <a:pt x="552" y="84"/>
                  <a:pt x="552" y="84"/>
                  <a:pt x="552" y="84"/>
                </a:cubicBezTo>
                <a:cubicBezTo>
                  <a:pt x="552" y="87"/>
                  <a:pt x="552" y="87"/>
                  <a:pt x="552" y="87"/>
                </a:cubicBezTo>
                <a:cubicBezTo>
                  <a:pt x="552" y="88"/>
                  <a:pt x="552" y="88"/>
                  <a:pt x="552" y="88"/>
                </a:cubicBezTo>
                <a:cubicBezTo>
                  <a:pt x="551" y="86"/>
                  <a:pt x="551" y="86"/>
                  <a:pt x="551" y="86"/>
                </a:cubicBezTo>
                <a:cubicBezTo>
                  <a:pt x="550" y="85"/>
                  <a:pt x="550" y="85"/>
                  <a:pt x="550" y="85"/>
                </a:cubicBezTo>
                <a:cubicBezTo>
                  <a:pt x="550" y="83"/>
                  <a:pt x="550" y="83"/>
                  <a:pt x="550" y="83"/>
                </a:cubicBezTo>
                <a:cubicBezTo>
                  <a:pt x="548" y="85"/>
                  <a:pt x="548" y="85"/>
                  <a:pt x="548" y="85"/>
                </a:cubicBezTo>
                <a:cubicBezTo>
                  <a:pt x="547" y="84"/>
                  <a:pt x="547" y="84"/>
                  <a:pt x="547" y="84"/>
                </a:cubicBezTo>
                <a:cubicBezTo>
                  <a:pt x="548" y="87"/>
                  <a:pt x="548" y="87"/>
                  <a:pt x="548" y="87"/>
                </a:cubicBezTo>
                <a:cubicBezTo>
                  <a:pt x="550" y="87"/>
                  <a:pt x="550" y="87"/>
                  <a:pt x="550" y="87"/>
                </a:cubicBezTo>
                <a:cubicBezTo>
                  <a:pt x="550" y="90"/>
                  <a:pt x="550" y="90"/>
                  <a:pt x="550" y="90"/>
                </a:cubicBezTo>
                <a:cubicBezTo>
                  <a:pt x="549" y="92"/>
                  <a:pt x="549" y="92"/>
                  <a:pt x="549" y="92"/>
                </a:cubicBezTo>
                <a:cubicBezTo>
                  <a:pt x="548" y="91"/>
                  <a:pt x="548" y="91"/>
                  <a:pt x="548" y="91"/>
                </a:cubicBezTo>
                <a:cubicBezTo>
                  <a:pt x="547" y="92"/>
                  <a:pt x="547" y="92"/>
                  <a:pt x="547" y="92"/>
                </a:cubicBezTo>
                <a:cubicBezTo>
                  <a:pt x="549" y="93"/>
                  <a:pt x="549" y="93"/>
                  <a:pt x="549" y="93"/>
                </a:cubicBezTo>
                <a:cubicBezTo>
                  <a:pt x="549" y="94"/>
                  <a:pt x="549" y="94"/>
                  <a:pt x="549" y="94"/>
                </a:cubicBezTo>
                <a:cubicBezTo>
                  <a:pt x="549" y="94"/>
                  <a:pt x="549" y="94"/>
                  <a:pt x="549" y="94"/>
                </a:cubicBezTo>
                <a:cubicBezTo>
                  <a:pt x="550" y="94"/>
                  <a:pt x="550" y="94"/>
                  <a:pt x="550" y="94"/>
                </a:cubicBezTo>
                <a:cubicBezTo>
                  <a:pt x="552" y="93"/>
                  <a:pt x="552" y="93"/>
                  <a:pt x="552" y="93"/>
                </a:cubicBezTo>
                <a:cubicBezTo>
                  <a:pt x="552" y="91"/>
                  <a:pt x="552" y="91"/>
                  <a:pt x="552" y="91"/>
                </a:cubicBezTo>
                <a:cubicBezTo>
                  <a:pt x="553" y="90"/>
                  <a:pt x="553" y="90"/>
                  <a:pt x="553" y="90"/>
                </a:cubicBezTo>
                <a:cubicBezTo>
                  <a:pt x="553" y="88"/>
                  <a:pt x="553" y="88"/>
                  <a:pt x="553" y="88"/>
                </a:cubicBezTo>
                <a:cubicBezTo>
                  <a:pt x="553" y="87"/>
                  <a:pt x="553" y="87"/>
                  <a:pt x="553" y="87"/>
                </a:cubicBezTo>
                <a:cubicBezTo>
                  <a:pt x="552" y="80"/>
                  <a:pt x="552" y="80"/>
                  <a:pt x="552" y="80"/>
                </a:cubicBezTo>
                <a:cubicBezTo>
                  <a:pt x="555" y="79"/>
                  <a:pt x="555" y="79"/>
                  <a:pt x="555" y="79"/>
                </a:cubicBezTo>
                <a:cubicBezTo>
                  <a:pt x="558" y="78"/>
                  <a:pt x="558" y="78"/>
                  <a:pt x="558" y="78"/>
                </a:cubicBezTo>
                <a:cubicBezTo>
                  <a:pt x="562" y="77"/>
                  <a:pt x="562" y="77"/>
                  <a:pt x="562" y="77"/>
                </a:cubicBezTo>
                <a:cubicBezTo>
                  <a:pt x="565" y="77"/>
                  <a:pt x="565" y="77"/>
                  <a:pt x="565" y="77"/>
                </a:cubicBezTo>
                <a:cubicBezTo>
                  <a:pt x="569" y="79"/>
                  <a:pt x="569" y="79"/>
                  <a:pt x="569" y="79"/>
                </a:cubicBezTo>
                <a:cubicBezTo>
                  <a:pt x="571" y="82"/>
                  <a:pt x="571" y="82"/>
                  <a:pt x="571" y="82"/>
                </a:cubicBezTo>
                <a:cubicBezTo>
                  <a:pt x="571" y="83"/>
                  <a:pt x="571" y="83"/>
                  <a:pt x="571" y="83"/>
                </a:cubicBezTo>
                <a:cubicBezTo>
                  <a:pt x="570" y="84"/>
                  <a:pt x="570" y="84"/>
                  <a:pt x="570" y="84"/>
                </a:cubicBezTo>
                <a:cubicBezTo>
                  <a:pt x="568" y="82"/>
                  <a:pt x="568" y="82"/>
                  <a:pt x="568" y="82"/>
                </a:cubicBezTo>
                <a:cubicBezTo>
                  <a:pt x="567" y="82"/>
                  <a:pt x="567" y="82"/>
                  <a:pt x="567" y="82"/>
                </a:cubicBezTo>
                <a:cubicBezTo>
                  <a:pt x="568" y="84"/>
                  <a:pt x="568" y="84"/>
                  <a:pt x="568" y="84"/>
                </a:cubicBezTo>
                <a:cubicBezTo>
                  <a:pt x="568" y="85"/>
                  <a:pt x="568" y="85"/>
                  <a:pt x="568" y="85"/>
                </a:cubicBezTo>
                <a:cubicBezTo>
                  <a:pt x="568" y="86"/>
                  <a:pt x="568" y="86"/>
                  <a:pt x="568" y="86"/>
                </a:cubicBezTo>
                <a:cubicBezTo>
                  <a:pt x="567" y="87"/>
                  <a:pt x="567" y="87"/>
                  <a:pt x="567" y="87"/>
                </a:cubicBezTo>
                <a:cubicBezTo>
                  <a:pt x="568" y="87"/>
                  <a:pt x="568" y="87"/>
                  <a:pt x="568" y="87"/>
                </a:cubicBezTo>
                <a:cubicBezTo>
                  <a:pt x="569" y="87"/>
                  <a:pt x="569" y="87"/>
                  <a:pt x="569" y="87"/>
                </a:cubicBezTo>
                <a:cubicBezTo>
                  <a:pt x="571" y="86"/>
                  <a:pt x="571" y="86"/>
                  <a:pt x="571" y="86"/>
                </a:cubicBezTo>
                <a:cubicBezTo>
                  <a:pt x="573" y="85"/>
                  <a:pt x="573" y="85"/>
                  <a:pt x="573" y="85"/>
                </a:cubicBezTo>
                <a:cubicBezTo>
                  <a:pt x="573" y="87"/>
                  <a:pt x="573" y="87"/>
                  <a:pt x="573" y="87"/>
                </a:cubicBezTo>
                <a:cubicBezTo>
                  <a:pt x="574" y="88"/>
                  <a:pt x="574" y="88"/>
                  <a:pt x="574" y="88"/>
                </a:cubicBezTo>
                <a:cubicBezTo>
                  <a:pt x="574" y="90"/>
                  <a:pt x="574" y="90"/>
                  <a:pt x="574" y="90"/>
                </a:cubicBezTo>
                <a:cubicBezTo>
                  <a:pt x="575" y="91"/>
                  <a:pt x="575" y="91"/>
                  <a:pt x="575" y="91"/>
                </a:cubicBezTo>
                <a:cubicBezTo>
                  <a:pt x="576" y="89"/>
                  <a:pt x="576" y="89"/>
                  <a:pt x="576" y="89"/>
                </a:cubicBezTo>
                <a:cubicBezTo>
                  <a:pt x="575" y="88"/>
                  <a:pt x="575" y="88"/>
                  <a:pt x="575" y="88"/>
                </a:cubicBezTo>
                <a:cubicBezTo>
                  <a:pt x="577" y="87"/>
                  <a:pt x="577" y="87"/>
                  <a:pt x="577" y="87"/>
                </a:cubicBezTo>
                <a:cubicBezTo>
                  <a:pt x="579" y="88"/>
                  <a:pt x="579" y="88"/>
                  <a:pt x="579" y="88"/>
                </a:cubicBezTo>
                <a:cubicBezTo>
                  <a:pt x="579" y="89"/>
                  <a:pt x="579" y="89"/>
                  <a:pt x="579" y="89"/>
                </a:cubicBezTo>
                <a:cubicBezTo>
                  <a:pt x="579" y="90"/>
                  <a:pt x="579" y="90"/>
                  <a:pt x="579" y="90"/>
                </a:cubicBezTo>
                <a:cubicBezTo>
                  <a:pt x="578" y="92"/>
                  <a:pt x="578" y="92"/>
                  <a:pt x="578" y="92"/>
                </a:cubicBezTo>
                <a:cubicBezTo>
                  <a:pt x="578" y="93"/>
                  <a:pt x="578" y="93"/>
                  <a:pt x="578" y="93"/>
                </a:cubicBezTo>
                <a:cubicBezTo>
                  <a:pt x="579" y="92"/>
                  <a:pt x="579" y="92"/>
                  <a:pt x="579" y="92"/>
                </a:cubicBezTo>
                <a:cubicBezTo>
                  <a:pt x="580" y="91"/>
                  <a:pt x="580" y="91"/>
                  <a:pt x="580" y="91"/>
                </a:cubicBezTo>
                <a:cubicBezTo>
                  <a:pt x="581" y="90"/>
                  <a:pt x="581" y="90"/>
                  <a:pt x="581" y="90"/>
                </a:cubicBezTo>
                <a:cubicBezTo>
                  <a:pt x="581" y="91"/>
                  <a:pt x="581" y="91"/>
                  <a:pt x="581" y="91"/>
                </a:cubicBezTo>
                <a:cubicBezTo>
                  <a:pt x="581" y="90"/>
                  <a:pt x="581" y="90"/>
                  <a:pt x="581" y="90"/>
                </a:cubicBezTo>
                <a:cubicBezTo>
                  <a:pt x="582" y="87"/>
                  <a:pt x="582" y="87"/>
                  <a:pt x="582" y="87"/>
                </a:cubicBezTo>
                <a:cubicBezTo>
                  <a:pt x="583" y="87"/>
                  <a:pt x="583" y="87"/>
                  <a:pt x="583" y="87"/>
                </a:cubicBezTo>
                <a:cubicBezTo>
                  <a:pt x="584" y="87"/>
                  <a:pt x="584" y="87"/>
                  <a:pt x="584" y="87"/>
                </a:cubicBezTo>
                <a:cubicBezTo>
                  <a:pt x="587" y="89"/>
                  <a:pt x="587" y="89"/>
                  <a:pt x="587" y="89"/>
                </a:cubicBezTo>
                <a:cubicBezTo>
                  <a:pt x="590" y="90"/>
                  <a:pt x="590" y="90"/>
                  <a:pt x="590" y="90"/>
                </a:cubicBezTo>
                <a:cubicBezTo>
                  <a:pt x="592" y="92"/>
                  <a:pt x="592" y="92"/>
                  <a:pt x="592" y="92"/>
                </a:cubicBezTo>
                <a:cubicBezTo>
                  <a:pt x="591" y="93"/>
                  <a:pt x="591" y="93"/>
                  <a:pt x="591" y="93"/>
                </a:cubicBezTo>
                <a:cubicBezTo>
                  <a:pt x="589" y="94"/>
                  <a:pt x="589" y="94"/>
                  <a:pt x="589" y="94"/>
                </a:cubicBezTo>
                <a:cubicBezTo>
                  <a:pt x="588" y="96"/>
                  <a:pt x="588" y="96"/>
                  <a:pt x="588" y="96"/>
                </a:cubicBezTo>
                <a:cubicBezTo>
                  <a:pt x="590" y="95"/>
                  <a:pt x="590" y="95"/>
                  <a:pt x="590" y="95"/>
                </a:cubicBezTo>
                <a:cubicBezTo>
                  <a:pt x="592" y="94"/>
                  <a:pt x="592" y="94"/>
                  <a:pt x="592" y="94"/>
                </a:cubicBezTo>
                <a:cubicBezTo>
                  <a:pt x="594" y="95"/>
                  <a:pt x="594" y="95"/>
                  <a:pt x="594" y="95"/>
                </a:cubicBezTo>
                <a:cubicBezTo>
                  <a:pt x="596" y="94"/>
                  <a:pt x="596" y="94"/>
                  <a:pt x="596" y="94"/>
                </a:cubicBezTo>
                <a:cubicBezTo>
                  <a:pt x="598" y="93"/>
                  <a:pt x="598" y="93"/>
                  <a:pt x="598" y="93"/>
                </a:cubicBezTo>
                <a:cubicBezTo>
                  <a:pt x="599" y="92"/>
                  <a:pt x="599" y="92"/>
                  <a:pt x="599" y="92"/>
                </a:cubicBezTo>
                <a:cubicBezTo>
                  <a:pt x="602" y="90"/>
                  <a:pt x="602" y="90"/>
                  <a:pt x="602" y="90"/>
                </a:cubicBezTo>
                <a:cubicBezTo>
                  <a:pt x="603" y="90"/>
                  <a:pt x="603" y="90"/>
                  <a:pt x="603" y="90"/>
                </a:cubicBezTo>
                <a:cubicBezTo>
                  <a:pt x="605" y="88"/>
                  <a:pt x="605" y="88"/>
                  <a:pt x="605" y="88"/>
                </a:cubicBezTo>
                <a:cubicBezTo>
                  <a:pt x="607" y="87"/>
                  <a:pt x="607" y="87"/>
                  <a:pt x="607" y="87"/>
                </a:cubicBezTo>
                <a:cubicBezTo>
                  <a:pt x="612" y="85"/>
                  <a:pt x="612" y="85"/>
                  <a:pt x="612" y="85"/>
                </a:cubicBezTo>
                <a:cubicBezTo>
                  <a:pt x="614" y="84"/>
                  <a:pt x="614" y="84"/>
                  <a:pt x="614" y="84"/>
                </a:cubicBezTo>
                <a:cubicBezTo>
                  <a:pt x="615" y="84"/>
                  <a:pt x="615" y="84"/>
                  <a:pt x="615" y="84"/>
                </a:cubicBezTo>
                <a:cubicBezTo>
                  <a:pt x="615" y="84"/>
                  <a:pt x="615" y="84"/>
                  <a:pt x="615" y="84"/>
                </a:cubicBezTo>
                <a:cubicBezTo>
                  <a:pt x="618" y="82"/>
                  <a:pt x="618" y="82"/>
                  <a:pt x="618" y="82"/>
                </a:cubicBezTo>
                <a:cubicBezTo>
                  <a:pt x="620" y="82"/>
                  <a:pt x="620" y="82"/>
                  <a:pt x="620" y="82"/>
                </a:cubicBezTo>
                <a:cubicBezTo>
                  <a:pt x="623" y="82"/>
                  <a:pt x="623" y="82"/>
                  <a:pt x="623" y="82"/>
                </a:cubicBezTo>
                <a:cubicBezTo>
                  <a:pt x="629" y="84"/>
                  <a:pt x="629" y="84"/>
                  <a:pt x="629" y="84"/>
                </a:cubicBezTo>
                <a:cubicBezTo>
                  <a:pt x="631" y="87"/>
                  <a:pt x="631" y="87"/>
                  <a:pt x="631" y="87"/>
                </a:cubicBezTo>
                <a:cubicBezTo>
                  <a:pt x="634" y="88"/>
                  <a:pt x="634" y="88"/>
                  <a:pt x="634" y="88"/>
                </a:cubicBezTo>
                <a:cubicBezTo>
                  <a:pt x="636" y="91"/>
                  <a:pt x="636" y="91"/>
                  <a:pt x="636" y="91"/>
                </a:cubicBezTo>
                <a:cubicBezTo>
                  <a:pt x="638" y="93"/>
                  <a:pt x="638" y="93"/>
                  <a:pt x="638" y="93"/>
                </a:cubicBezTo>
                <a:cubicBezTo>
                  <a:pt x="638" y="94"/>
                  <a:pt x="638" y="94"/>
                  <a:pt x="638" y="94"/>
                </a:cubicBezTo>
                <a:cubicBezTo>
                  <a:pt x="638" y="95"/>
                  <a:pt x="638" y="95"/>
                  <a:pt x="638" y="95"/>
                </a:cubicBezTo>
                <a:cubicBezTo>
                  <a:pt x="638" y="97"/>
                  <a:pt x="638" y="97"/>
                  <a:pt x="638" y="97"/>
                </a:cubicBezTo>
                <a:cubicBezTo>
                  <a:pt x="639" y="99"/>
                  <a:pt x="639" y="99"/>
                  <a:pt x="639" y="99"/>
                </a:cubicBezTo>
                <a:cubicBezTo>
                  <a:pt x="640" y="100"/>
                  <a:pt x="640" y="100"/>
                  <a:pt x="640" y="100"/>
                </a:cubicBezTo>
                <a:cubicBezTo>
                  <a:pt x="639" y="102"/>
                  <a:pt x="639" y="102"/>
                  <a:pt x="639" y="102"/>
                </a:cubicBezTo>
                <a:cubicBezTo>
                  <a:pt x="640" y="101"/>
                  <a:pt x="640" y="101"/>
                  <a:pt x="640" y="101"/>
                </a:cubicBezTo>
                <a:cubicBezTo>
                  <a:pt x="642" y="100"/>
                  <a:pt x="642" y="100"/>
                  <a:pt x="642" y="100"/>
                </a:cubicBezTo>
                <a:cubicBezTo>
                  <a:pt x="643" y="100"/>
                  <a:pt x="643" y="100"/>
                  <a:pt x="643" y="100"/>
                </a:cubicBezTo>
                <a:cubicBezTo>
                  <a:pt x="644" y="100"/>
                  <a:pt x="644" y="100"/>
                  <a:pt x="644" y="100"/>
                </a:cubicBezTo>
                <a:cubicBezTo>
                  <a:pt x="644" y="99"/>
                  <a:pt x="644" y="99"/>
                  <a:pt x="644" y="99"/>
                </a:cubicBezTo>
                <a:cubicBezTo>
                  <a:pt x="646" y="99"/>
                  <a:pt x="646" y="99"/>
                  <a:pt x="646" y="99"/>
                </a:cubicBezTo>
                <a:cubicBezTo>
                  <a:pt x="647" y="100"/>
                  <a:pt x="647" y="100"/>
                  <a:pt x="647" y="100"/>
                </a:cubicBezTo>
                <a:cubicBezTo>
                  <a:pt x="648" y="102"/>
                  <a:pt x="648" y="102"/>
                  <a:pt x="648" y="102"/>
                </a:cubicBezTo>
                <a:cubicBezTo>
                  <a:pt x="648" y="100"/>
                  <a:pt x="648" y="100"/>
                  <a:pt x="648" y="100"/>
                </a:cubicBezTo>
                <a:cubicBezTo>
                  <a:pt x="648" y="98"/>
                  <a:pt x="648" y="98"/>
                  <a:pt x="648" y="98"/>
                </a:cubicBezTo>
                <a:cubicBezTo>
                  <a:pt x="649" y="98"/>
                  <a:pt x="649" y="98"/>
                  <a:pt x="649" y="98"/>
                </a:cubicBezTo>
                <a:cubicBezTo>
                  <a:pt x="650" y="100"/>
                  <a:pt x="650" y="100"/>
                  <a:pt x="650" y="100"/>
                </a:cubicBezTo>
                <a:cubicBezTo>
                  <a:pt x="652" y="102"/>
                  <a:pt x="652" y="102"/>
                  <a:pt x="652" y="102"/>
                </a:cubicBezTo>
                <a:cubicBezTo>
                  <a:pt x="652" y="104"/>
                  <a:pt x="652" y="104"/>
                  <a:pt x="652" y="104"/>
                </a:cubicBezTo>
                <a:cubicBezTo>
                  <a:pt x="653" y="104"/>
                  <a:pt x="653" y="104"/>
                  <a:pt x="653" y="104"/>
                </a:cubicBezTo>
                <a:cubicBezTo>
                  <a:pt x="655" y="107"/>
                  <a:pt x="655" y="107"/>
                  <a:pt x="655" y="107"/>
                </a:cubicBezTo>
                <a:cubicBezTo>
                  <a:pt x="655" y="106"/>
                  <a:pt x="655" y="106"/>
                  <a:pt x="655" y="106"/>
                </a:cubicBezTo>
                <a:cubicBezTo>
                  <a:pt x="654" y="104"/>
                  <a:pt x="654" y="104"/>
                  <a:pt x="654" y="104"/>
                </a:cubicBezTo>
                <a:cubicBezTo>
                  <a:pt x="653" y="103"/>
                  <a:pt x="653" y="103"/>
                  <a:pt x="653" y="103"/>
                </a:cubicBezTo>
                <a:cubicBezTo>
                  <a:pt x="653" y="102"/>
                  <a:pt x="653" y="102"/>
                  <a:pt x="653" y="102"/>
                </a:cubicBezTo>
                <a:cubicBezTo>
                  <a:pt x="654" y="103"/>
                  <a:pt x="654" y="103"/>
                  <a:pt x="654" y="103"/>
                </a:cubicBezTo>
                <a:cubicBezTo>
                  <a:pt x="655" y="103"/>
                  <a:pt x="655" y="103"/>
                  <a:pt x="655" y="103"/>
                </a:cubicBezTo>
                <a:cubicBezTo>
                  <a:pt x="657" y="104"/>
                  <a:pt x="657" y="104"/>
                  <a:pt x="657" y="104"/>
                </a:cubicBezTo>
                <a:cubicBezTo>
                  <a:pt x="658" y="106"/>
                  <a:pt x="658" y="106"/>
                  <a:pt x="658" y="106"/>
                </a:cubicBezTo>
                <a:cubicBezTo>
                  <a:pt x="658" y="104"/>
                  <a:pt x="658" y="104"/>
                  <a:pt x="658" y="104"/>
                </a:cubicBezTo>
                <a:cubicBezTo>
                  <a:pt x="656" y="101"/>
                  <a:pt x="656" y="101"/>
                  <a:pt x="656" y="101"/>
                </a:cubicBezTo>
                <a:cubicBezTo>
                  <a:pt x="656" y="98"/>
                  <a:pt x="656" y="98"/>
                  <a:pt x="656" y="98"/>
                </a:cubicBezTo>
                <a:cubicBezTo>
                  <a:pt x="656" y="96"/>
                  <a:pt x="656" y="96"/>
                  <a:pt x="656" y="96"/>
                </a:cubicBezTo>
                <a:cubicBezTo>
                  <a:pt x="657" y="94"/>
                  <a:pt x="657" y="94"/>
                  <a:pt x="657" y="94"/>
                </a:cubicBezTo>
                <a:cubicBezTo>
                  <a:pt x="660" y="94"/>
                  <a:pt x="660" y="94"/>
                  <a:pt x="660" y="94"/>
                </a:cubicBezTo>
                <a:cubicBezTo>
                  <a:pt x="661" y="93"/>
                  <a:pt x="661" y="93"/>
                  <a:pt x="661" y="93"/>
                </a:cubicBezTo>
                <a:cubicBezTo>
                  <a:pt x="663" y="92"/>
                  <a:pt x="663" y="92"/>
                  <a:pt x="663" y="92"/>
                </a:cubicBezTo>
                <a:cubicBezTo>
                  <a:pt x="663" y="91"/>
                  <a:pt x="663" y="91"/>
                  <a:pt x="663" y="91"/>
                </a:cubicBezTo>
                <a:cubicBezTo>
                  <a:pt x="663" y="91"/>
                  <a:pt x="663" y="91"/>
                  <a:pt x="663" y="91"/>
                </a:cubicBezTo>
                <a:cubicBezTo>
                  <a:pt x="664" y="91"/>
                  <a:pt x="664" y="91"/>
                  <a:pt x="664" y="91"/>
                </a:cubicBezTo>
                <a:cubicBezTo>
                  <a:pt x="665" y="92"/>
                  <a:pt x="665" y="92"/>
                  <a:pt x="665" y="92"/>
                </a:cubicBezTo>
                <a:cubicBezTo>
                  <a:pt x="667" y="92"/>
                  <a:pt x="667" y="92"/>
                  <a:pt x="667" y="92"/>
                </a:cubicBezTo>
                <a:cubicBezTo>
                  <a:pt x="668" y="92"/>
                  <a:pt x="668" y="92"/>
                  <a:pt x="668" y="92"/>
                </a:cubicBezTo>
                <a:cubicBezTo>
                  <a:pt x="670" y="90"/>
                  <a:pt x="670" y="90"/>
                  <a:pt x="670" y="90"/>
                </a:cubicBezTo>
                <a:cubicBezTo>
                  <a:pt x="671" y="91"/>
                  <a:pt x="671" y="91"/>
                  <a:pt x="671" y="91"/>
                </a:cubicBezTo>
                <a:cubicBezTo>
                  <a:pt x="673" y="90"/>
                  <a:pt x="673" y="90"/>
                  <a:pt x="673" y="90"/>
                </a:cubicBezTo>
                <a:cubicBezTo>
                  <a:pt x="676" y="90"/>
                  <a:pt x="676" y="90"/>
                  <a:pt x="676" y="90"/>
                </a:cubicBezTo>
                <a:cubicBezTo>
                  <a:pt x="677" y="89"/>
                  <a:pt x="677" y="89"/>
                  <a:pt x="677" y="89"/>
                </a:cubicBezTo>
                <a:cubicBezTo>
                  <a:pt x="678" y="89"/>
                  <a:pt x="678" y="89"/>
                  <a:pt x="678" y="89"/>
                </a:cubicBezTo>
                <a:cubicBezTo>
                  <a:pt x="678" y="90"/>
                  <a:pt x="678" y="90"/>
                  <a:pt x="678" y="90"/>
                </a:cubicBezTo>
                <a:cubicBezTo>
                  <a:pt x="679" y="91"/>
                  <a:pt x="679" y="91"/>
                  <a:pt x="679" y="91"/>
                </a:cubicBezTo>
                <a:cubicBezTo>
                  <a:pt x="679" y="90"/>
                  <a:pt x="679" y="90"/>
                  <a:pt x="679" y="90"/>
                </a:cubicBezTo>
                <a:cubicBezTo>
                  <a:pt x="681" y="88"/>
                  <a:pt x="681" y="88"/>
                  <a:pt x="681" y="88"/>
                </a:cubicBezTo>
                <a:cubicBezTo>
                  <a:pt x="680" y="87"/>
                  <a:pt x="680" y="87"/>
                  <a:pt x="680" y="87"/>
                </a:cubicBezTo>
                <a:cubicBezTo>
                  <a:pt x="680" y="85"/>
                  <a:pt x="680" y="85"/>
                  <a:pt x="680" y="85"/>
                </a:cubicBezTo>
                <a:cubicBezTo>
                  <a:pt x="681" y="84"/>
                  <a:pt x="681" y="84"/>
                  <a:pt x="681" y="84"/>
                </a:cubicBezTo>
                <a:cubicBezTo>
                  <a:pt x="681" y="83"/>
                  <a:pt x="681" y="83"/>
                  <a:pt x="681" y="83"/>
                </a:cubicBezTo>
                <a:cubicBezTo>
                  <a:pt x="683" y="83"/>
                  <a:pt x="683" y="83"/>
                  <a:pt x="683" y="83"/>
                </a:cubicBezTo>
                <a:cubicBezTo>
                  <a:pt x="684" y="85"/>
                  <a:pt x="684" y="85"/>
                  <a:pt x="684" y="85"/>
                </a:cubicBezTo>
                <a:cubicBezTo>
                  <a:pt x="684" y="86"/>
                  <a:pt x="684" y="86"/>
                  <a:pt x="684" y="86"/>
                </a:cubicBezTo>
                <a:cubicBezTo>
                  <a:pt x="686" y="86"/>
                  <a:pt x="686" y="86"/>
                  <a:pt x="686" y="86"/>
                </a:cubicBezTo>
                <a:cubicBezTo>
                  <a:pt x="687" y="87"/>
                  <a:pt x="687" y="87"/>
                  <a:pt x="687" y="87"/>
                </a:cubicBezTo>
                <a:cubicBezTo>
                  <a:pt x="687" y="88"/>
                  <a:pt x="687" y="88"/>
                  <a:pt x="687" y="88"/>
                </a:cubicBezTo>
                <a:cubicBezTo>
                  <a:pt x="689" y="90"/>
                  <a:pt x="689" y="90"/>
                  <a:pt x="689" y="90"/>
                </a:cubicBezTo>
                <a:cubicBezTo>
                  <a:pt x="690" y="91"/>
                  <a:pt x="690" y="91"/>
                  <a:pt x="690" y="91"/>
                </a:cubicBezTo>
                <a:cubicBezTo>
                  <a:pt x="691" y="91"/>
                  <a:pt x="691" y="91"/>
                  <a:pt x="691" y="91"/>
                </a:cubicBezTo>
                <a:cubicBezTo>
                  <a:pt x="694" y="91"/>
                  <a:pt x="694" y="91"/>
                  <a:pt x="694" y="91"/>
                </a:cubicBezTo>
                <a:cubicBezTo>
                  <a:pt x="695" y="91"/>
                  <a:pt x="695" y="91"/>
                  <a:pt x="695" y="91"/>
                </a:cubicBezTo>
                <a:cubicBezTo>
                  <a:pt x="696" y="91"/>
                  <a:pt x="696" y="91"/>
                  <a:pt x="696" y="91"/>
                </a:cubicBezTo>
                <a:cubicBezTo>
                  <a:pt x="698" y="94"/>
                  <a:pt x="698" y="94"/>
                  <a:pt x="698" y="94"/>
                </a:cubicBezTo>
                <a:cubicBezTo>
                  <a:pt x="698" y="95"/>
                  <a:pt x="698" y="95"/>
                  <a:pt x="698" y="95"/>
                </a:cubicBezTo>
                <a:cubicBezTo>
                  <a:pt x="699" y="96"/>
                  <a:pt x="699" y="96"/>
                  <a:pt x="699" y="96"/>
                </a:cubicBezTo>
                <a:cubicBezTo>
                  <a:pt x="701" y="96"/>
                  <a:pt x="701" y="96"/>
                  <a:pt x="701" y="96"/>
                </a:cubicBezTo>
                <a:cubicBezTo>
                  <a:pt x="702" y="96"/>
                  <a:pt x="702" y="96"/>
                  <a:pt x="702" y="96"/>
                </a:cubicBezTo>
                <a:cubicBezTo>
                  <a:pt x="703" y="95"/>
                  <a:pt x="703" y="95"/>
                  <a:pt x="703" y="95"/>
                </a:cubicBezTo>
                <a:cubicBezTo>
                  <a:pt x="703" y="94"/>
                  <a:pt x="703" y="94"/>
                  <a:pt x="703" y="94"/>
                </a:cubicBezTo>
                <a:cubicBezTo>
                  <a:pt x="705" y="93"/>
                  <a:pt x="705" y="93"/>
                  <a:pt x="705" y="93"/>
                </a:cubicBezTo>
                <a:cubicBezTo>
                  <a:pt x="705" y="94"/>
                  <a:pt x="705" y="94"/>
                  <a:pt x="705" y="94"/>
                </a:cubicBezTo>
                <a:cubicBezTo>
                  <a:pt x="706" y="93"/>
                  <a:pt x="706" y="93"/>
                  <a:pt x="706" y="93"/>
                </a:cubicBezTo>
                <a:cubicBezTo>
                  <a:pt x="705" y="92"/>
                  <a:pt x="705" y="92"/>
                  <a:pt x="705" y="92"/>
                </a:cubicBezTo>
                <a:cubicBezTo>
                  <a:pt x="706" y="92"/>
                  <a:pt x="706" y="92"/>
                  <a:pt x="706" y="92"/>
                </a:cubicBezTo>
                <a:cubicBezTo>
                  <a:pt x="705" y="91"/>
                  <a:pt x="705" y="91"/>
                  <a:pt x="705" y="91"/>
                </a:cubicBezTo>
                <a:cubicBezTo>
                  <a:pt x="705" y="90"/>
                  <a:pt x="705" y="90"/>
                  <a:pt x="705" y="90"/>
                </a:cubicBezTo>
                <a:cubicBezTo>
                  <a:pt x="704" y="88"/>
                  <a:pt x="704" y="88"/>
                  <a:pt x="704" y="88"/>
                </a:cubicBezTo>
                <a:cubicBezTo>
                  <a:pt x="702" y="88"/>
                  <a:pt x="702" y="88"/>
                  <a:pt x="702" y="88"/>
                </a:cubicBezTo>
                <a:cubicBezTo>
                  <a:pt x="702" y="86"/>
                  <a:pt x="702" y="86"/>
                  <a:pt x="702" y="86"/>
                </a:cubicBezTo>
                <a:cubicBezTo>
                  <a:pt x="700" y="83"/>
                  <a:pt x="700" y="83"/>
                  <a:pt x="700" y="83"/>
                </a:cubicBezTo>
                <a:cubicBezTo>
                  <a:pt x="699" y="83"/>
                  <a:pt x="699" y="83"/>
                  <a:pt x="699" y="83"/>
                </a:cubicBezTo>
                <a:cubicBezTo>
                  <a:pt x="698" y="82"/>
                  <a:pt x="698" y="82"/>
                  <a:pt x="698" y="82"/>
                </a:cubicBezTo>
                <a:cubicBezTo>
                  <a:pt x="696" y="81"/>
                  <a:pt x="696" y="81"/>
                  <a:pt x="696" y="81"/>
                </a:cubicBezTo>
                <a:cubicBezTo>
                  <a:pt x="695" y="82"/>
                  <a:pt x="695" y="82"/>
                  <a:pt x="695" y="82"/>
                </a:cubicBezTo>
                <a:cubicBezTo>
                  <a:pt x="694" y="82"/>
                  <a:pt x="694" y="82"/>
                  <a:pt x="694" y="82"/>
                </a:cubicBezTo>
                <a:cubicBezTo>
                  <a:pt x="694" y="81"/>
                  <a:pt x="694" y="81"/>
                  <a:pt x="694" y="81"/>
                </a:cubicBezTo>
                <a:cubicBezTo>
                  <a:pt x="695" y="80"/>
                  <a:pt x="695" y="80"/>
                  <a:pt x="695" y="80"/>
                </a:cubicBezTo>
                <a:cubicBezTo>
                  <a:pt x="694" y="78"/>
                  <a:pt x="694" y="78"/>
                  <a:pt x="694" y="78"/>
                </a:cubicBezTo>
                <a:cubicBezTo>
                  <a:pt x="693" y="77"/>
                  <a:pt x="693" y="77"/>
                  <a:pt x="693" y="77"/>
                </a:cubicBezTo>
                <a:cubicBezTo>
                  <a:pt x="693" y="76"/>
                  <a:pt x="693" y="76"/>
                  <a:pt x="693" y="76"/>
                </a:cubicBezTo>
                <a:cubicBezTo>
                  <a:pt x="692" y="74"/>
                  <a:pt x="692" y="74"/>
                  <a:pt x="692" y="74"/>
                </a:cubicBezTo>
                <a:cubicBezTo>
                  <a:pt x="690" y="73"/>
                  <a:pt x="690" y="73"/>
                  <a:pt x="690" y="73"/>
                </a:cubicBezTo>
                <a:cubicBezTo>
                  <a:pt x="690" y="72"/>
                  <a:pt x="690" y="72"/>
                  <a:pt x="690" y="72"/>
                </a:cubicBezTo>
                <a:cubicBezTo>
                  <a:pt x="693" y="72"/>
                  <a:pt x="693" y="72"/>
                  <a:pt x="693" y="72"/>
                </a:cubicBezTo>
                <a:cubicBezTo>
                  <a:pt x="694" y="72"/>
                  <a:pt x="694" y="72"/>
                  <a:pt x="694" y="72"/>
                </a:cubicBezTo>
                <a:cubicBezTo>
                  <a:pt x="697" y="72"/>
                  <a:pt x="697" y="72"/>
                  <a:pt x="697" y="72"/>
                </a:cubicBezTo>
                <a:cubicBezTo>
                  <a:pt x="700" y="72"/>
                  <a:pt x="700" y="72"/>
                  <a:pt x="700" y="72"/>
                </a:cubicBezTo>
                <a:cubicBezTo>
                  <a:pt x="700" y="71"/>
                  <a:pt x="700" y="71"/>
                  <a:pt x="700" y="71"/>
                </a:cubicBezTo>
                <a:cubicBezTo>
                  <a:pt x="702" y="71"/>
                  <a:pt x="702" y="71"/>
                  <a:pt x="702" y="71"/>
                </a:cubicBezTo>
                <a:cubicBezTo>
                  <a:pt x="703" y="72"/>
                  <a:pt x="703" y="72"/>
                  <a:pt x="703" y="72"/>
                </a:cubicBezTo>
                <a:cubicBezTo>
                  <a:pt x="704" y="71"/>
                  <a:pt x="704" y="71"/>
                  <a:pt x="704" y="71"/>
                </a:cubicBezTo>
                <a:cubicBezTo>
                  <a:pt x="705" y="71"/>
                  <a:pt x="705" y="71"/>
                  <a:pt x="705" y="71"/>
                </a:cubicBezTo>
                <a:cubicBezTo>
                  <a:pt x="705" y="70"/>
                  <a:pt x="705" y="70"/>
                  <a:pt x="705" y="70"/>
                </a:cubicBezTo>
                <a:cubicBezTo>
                  <a:pt x="707" y="70"/>
                  <a:pt x="707" y="70"/>
                  <a:pt x="707" y="70"/>
                </a:cubicBezTo>
                <a:cubicBezTo>
                  <a:pt x="708" y="71"/>
                  <a:pt x="708" y="71"/>
                  <a:pt x="708" y="71"/>
                </a:cubicBezTo>
                <a:cubicBezTo>
                  <a:pt x="708" y="71"/>
                  <a:pt x="708" y="71"/>
                  <a:pt x="708" y="71"/>
                </a:cubicBezTo>
                <a:cubicBezTo>
                  <a:pt x="709" y="69"/>
                  <a:pt x="709" y="69"/>
                  <a:pt x="709" y="69"/>
                </a:cubicBezTo>
                <a:cubicBezTo>
                  <a:pt x="710" y="70"/>
                  <a:pt x="710" y="70"/>
                  <a:pt x="710" y="70"/>
                </a:cubicBezTo>
                <a:cubicBezTo>
                  <a:pt x="710" y="69"/>
                  <a:pt x="710" y="69"/>
                  <a:pt x="710" y="69"/>
                </a:cubicBezTo>
                <a:cubicBezTo>
                  <a:pt x="715" y="67"/>
                  <a:pt x="715" y="67"/>
                  <a:pt x="715" y="67"/>
                </a:cubicBezTo>
                <a:cubicBezTo>
                  <a:pt x="716" y="69"/>
                  <a:pt x="716" y="69"/>
                  <a:pt x="716" y="69"/>
                </a:cubicBezTo>
                <a:cubicBezTo>
                  <a:pt x="716" y="68"/>
                  <a:pt x="716" y="68"/>
                  <a:pt x="716" y="68"/>
                </a:cubicBezTo>
                <a:cubicBezTo>
                  <a:pt x="717" y="66"/>
                  <a:pt x="717" y="66"/>
                  <a:pt x="717" y="66"/>
                </a:cubicBezTo>
                <a:cubicBezTo>
                  <a:pt x="717" y="67"/>
                  <a:pt x="717" y="67"/>
                  <a:pt x="717" y="67"/>
                </a:cubicBezTo>
                <a:cubicBezTo>
                  <a:pt x="719" y="67"/>
                  <a:pt x="719" y="67"/>
                  <a:pt x="719" y="67"/>
                </a:cubicBezTo>
                <a:cubicBezTo>
                  <a:pt x="720" y="66"/>
                  <a:pt x="720" y="66"/>
                  <a:pt x="720" y="66"/>
                </a:cubicBezTo>
                <a:cubicBezTo>
                  <a:pt x="721" y="67"/>
                  <a:pt x="721" y="67"/>
                  <a:pt x="721" y="67"/>
                </a:cubicBezTo>
                <a:cubicBezTo>
                  <a:pt x="723" y="67"/>
                  <a:pt x="723" y="67"/>
                  <a:pt x="723" y="67"/>
                </a:cubicBezTo>
                <a:cubicBezTo>
                  <a:pt x="724" y="67"/>
                  <a:pt x="724" y="67"/>
                  <a:pt x="724" y="67"/>
                </a:cubicBezTo>
                <a:cubicBezTo>
                  <a:pt x="725" y="68"/>
                  <a:pt x="725" y="68"/>
                  <a:pt x="725" y="68"/>
                </a:cubicBezTo>
                <a:cubicBezTo>
                  <a:pt x="726" y="68"/>
                  <a:pt x="726" y="68"/>
                  <a:pt x="726" y="68"/>
                </a:cubicBezTo>
                <a:cubicBezTo>
                  <a:pt x="727" y="67"/>
                  <a:pt x="727" y="67"/>
                  <a:pt x="727" y="67"/>
                </a:cubicBezTo>
                <a:cubicBezTo>
                  <a:pt x="729" y="67"/>
                  <a:pt x="729" y="67"/>
                  <a:pt x="729" y="67"/>
                </a:cubicBezTo>
                <a:cubicBezTo>
                  <a:pt x="733" y="68"/>
                  <a:pt x="733" y="68"/>
                  <a:pt x="733" y="68"/>
                </a:cubicBezTo>
                <a:cubicBezTo>
                  <a:pt x="734" y="69"/>
                  <a:pt x="734" y="69"/>
                  <a:pt x="734" y="69"/>
                </a:cubicBezTo>
                <a:cubicBezTo>
                  <a:pt x="735" y="69"/>
                  <a:pt x="735" y="69"/>
                  <a:pt x="735" y="69"/>
                </a:cubicBezTo>
                <a:cubicBezTo>
                  <a:pt x="734" y="68"/>
                  <a:pt x="734" y="68"/>
                  <a:pt x="734" y="68"/>
                </a:cubicBezTo>
                <a:cubicBezTo>
                  <a:pt x="736" y="68"/>
                  <a:pt x="736" y="68"/>
                  <a:pt x="736" y="68"/>
                </a:cubicBezTo>
                <a:cubicBezTo>
                  <a:pt x="737" y="69"/>
                  <a:pt x="737" y="69"/>
                  <a:pt x="737" y="69"/>
                </a:cubicBezTo>
                <a:cubicBezTo>
                  <a:pt x="736" y="69"/>
                  <a:pt x="736" y="69"/>
                  <a:pt x="736" y="69"/>
                </a:cubicBezTo>
                <a:cubicBezTo>
                  <a:pt x="737" y="70"/>
                  <a:pt x="737" y="70"/>
                  <a:pt x="737" y="70"/>
                </a:cubicBezTo>
                <a:cubicBezTo>
                  <a:pt x="739" y="69"/>
                  <a:pt x="739" y="69"/>
                  <a:pt x="739" y="69"/>
                </a:cubicBezTo>
                <a:cubicBezTo>
                  <a:pt x="743" y="70"/>
                  <a:pt x="743" y="70"/>
                  <a:pt x="743" y="70"/>
                </a:cubicBezTo>
                <a:cubicBezTo>
                  <a:pt x="746" y="72"/>
                  <a:pt x="746" y="72"/>
                  <a:pt x="746" y="72"/>
                </a:cubicBezTo>
                <a:cubicBezTo>
                  <a:pt x="746" y="73"/>
                  <a:pt x="746" y="73"/>
                  <a:pt x="746" y="73"/>
                </a:cubicBezTo>
                <a:cubicBezTo>
                  <a:pt x="745" y="72"/>
                  <a:pt x="745" y="72"/>
                  <a:pt x="745" y="72"/>
                </a:cubicBezTo>
                <a:cubicBezTo>
                  <a:pt x="743" y="71"/>
                  <a:pt x="743" y="71"/>
                  <a:pt x="743" y="71"/>
                </a:cubicBezTo>
                <a:cubicBezTo>
                  <a:pt x="743" y="72"/>
                  <a:pt x="743" y="72"/>
                  <a:pt x="743" y="72"/>
                </a:cubicBezTo>
                <a:cubicBezTo>
                  <a:pt x="747" y="73"/>
                  <a:pt x="747" y="73"/>
                  <a:pt x="747" y="73"/>
                </a:cubicBezTo>
                <a:cubicBezTo>
                  <a:pt x="748" y="73"/>
                  <a:pt x="748" y="73"/>
                  <a:pt x="748" y="73"/>
                </a:cubicBezTo>
                <a:cubicBezTo>
                  <a:pt x="749" y="72"/>
                  <a:pt x="749" y="72"/>
                  <a:pt x="749" y="72"/>
                </a:cubicBezTo>
                <a:cubicBezTo>
                  <a:pt x="751" y="72"/>
                  <a:pt x="751" y="72"/>
                  <a:pt x="751" y="72"/>
                </a:cubicBezTo>
                <a:cubicBezTo>
                  <a:pt x="752" y="72"/>
                  <a:pt x="752" y="72"/>
                  <a:pt x="752" y="72"/>
                </a:cubicBezTo>
                <a:cubicBezTo>
                  <a:pt x="752" y="71"/>
                  <a:pt x="752" y="71"/>
                  <a:pt x="752" y="71"/>
                </a:cubicBezTo>
                <a:cubicBezTo>
                  <a:pt x="753" y="71"/>
                  <a:pt x="753" y="71"/>
                  <a:pt x="753" y="71"/>
                </a:cubicBezTo>
                <a:cubicBezTo>
                  <a:pt x="754" y="72"/>
                  <a:pt x="754" y="72"/>
                  <a:pt x="754" y="72"/>
                </a:cubicBezTo>
                <a:cubicBezTo>
                  <a:pt x="755" y="72"/>
                  <a:pt x="755" y="72"/>
                  <a:pt x="755" y="72"/>
                </a:cubicBezTo>
                <a:cubicBezTo>
                  <a:pt x="756" y="72"/>
                  <a:pt x="756" y="72"/>
                  <a:pt x="756" y="72"/>
                </a:cubicBezTo>
                <a:cubicBezTo>
                  <a:pt x="756" y="72"/>
                  <a:pt x="756" y="72"/>
                  <a:pt x="756" y="72"/>
                </a:cubicBezTo>
                <a:cubicBezTo>
                  <a:pt x="756" y="71"/>
                  <a:pt x="756" y="71"/>
                  <a:pt x="756" y="71"/>
                </a:cubicBezTo>
                <a:cubicBezTo>
                  <a:pt x="758" y="72"/>
                  <a:pt x="758" y="72"/>
                  <a:pt x="758" y="72"/>
                </a:cubicBezTo>
                <a:cubicBezTo>
                  <a:pt x="758" y="73"/>
                  <a:pt x="758" y="73"/>
                  <a:pt x="758" y="73"/>
                </a:cubicBezTo>
                <a:cubicBezTo>
                  <a:pt x="760" y="73"/>
                  <a:pt x="760" y="73"/>
                  <a:pt x="760" y="73"/>
                </a:cubicBezTo>
                <a:cubicBezTo>
                  <a:pt x="761" y="73"/>
                  <a:pt x="761" y="73"/>
                  <a:pt x="761" y="73"/>
                </a:cubicBezTo>
                <a:cubicBezTo>
                  <a:pt x="767" y="74"/>
                  <a:pt x="767" y="74"/>
                  <a:pt x="767" y="74"/>
                </a:cubicBezTo>
                <a:cubicBezTo>
                  <a:pt x="766" y="73"/>
                  <a:pt x="766" y="73"/>
                  <a:pt x="766" y="73"/>
                </a:cubicBezTo>
                <a:cubicBezTo>
                  <a:pt x="768" y="73"/>
                  <a:pt x="768" y="73"/>
                  <a:pt x="768" y="73"/>
                </a:cubicBezTo>
                <a:cubicBezTo>
                  <a:pt x="769" y="74"/>
                  <a:pt x="769" y="74"/>
                  <a:pt x="769" y="74"/>
                </a:cubicBezTo>
                <a:cubicBezTo>
                  <a:pt x="770" y="74"/>
                  <a:pt x="770" y="74"/>
                  <a:pt x="770" y="74"/>
                </a:cubicBezTo>
                <a:cubicBezTo>
                  <a:pt x="769" y="73"/>
                  <a:pt x="769" y="73"/>
                  <a:pt x="769" y="73"/>
                </a:cubicBezTo>
                <a:cubicBezTo>
                  <a:pt x="770" y="73"/>
                  <a:pt x="770" y="73"/>
                  <a:pt x="770" y="73"/>
                </a:cubicBezTo>
                <a:cubicBezTo>
                  <a:pt x="772" y="73"/>
                  <a:pt x="772" y="73"/>
                  <a:pt x="772" y="73"/>
                </a:cubicBezTo>
                <a:cubicBezTo>
                  <a:pt x="771" y="74"/>
                  <a:pt x="771" y="74"/>
                  <a:pt x="771" y="74"/>
                </a:cubicBezTo>
                <a:cubicBezTo>
                  <a:pt x="772" y="75"/>
                  <a:pt x="772" y="75"/>
                  <a:pt x="772" y="75"/>
                </a:cubicBezTo>
                <a:cubicBezTo>
                  <a:pt x="774" y="75"/>
                  <a:pt x="774" y="75"/>
                  <a:pt x="774" y="75"/>
                </a:cubicBezTo>
                <a:cubicBezTo>
                  <a:pt x="774" y="74"/>
                  <a:pt x="774" y="74"/>
                  <a:pt x="774" y="74"/>
                </a:cubicBezTo>
                <a:cubicBezTo>
                  <a:pt x="774" y="74"/>
                  <a:pt x="774" y="74"/>
                  <a:pt x="774" y="74"/>
                </a:cubicBezTo>
                <a:cubicBezTo>
                  <a:pt x="776" y="74"/>
                  <a:pt x="776" y="74"/>
                  <a:pt x="776" y="74"/>
                </a:cubicBezTo>
                <a:cubicBezTo>
                  <a:pt x="776" y="74"/>
                  <a:pt x="776" y="74"/>
                  <a:pt x="776" y="74"/>
                </a:cubicBezTo>
                <a:cubicBezTo>
                  <a:pt x="776" y="75"/>
                  <a:pt x="776" y="75"/>
                  <a:pt x="776" y="75"/>
                </a:cubicBezTo>
                <a:cubicBezTo>
                  <a:pt x="777" y="76"/>
                  <a:pt x="777" y="76"/>
                  <a:pt x="777" y="76"/>
                </a:cubicBezTo>
                <a:cubicBezTo>
                  <a:pt x="779" y="77"/>
                  <a:pt x="779" y="77"/>
                  <a:pt x="779" y="77"/>
                </a:cubicBezTo>
                <a:cubicBezTo>
                  <a:pt x="781" y="76"/>
                  <a:pt x="781" y="76"/>
                  <a:pt x="781" y="76"/>
                </a:cubicBezTo>
                <a:cubicBezTo>
                  <a:pt x="779" y="76"/>
                  <a:pt x="779" y="76"/>
                  <a:pt x="779" y="76"/>
                </a:cubicBezTo>
                <a:cubicBezTo>
                  <a:pt x="777" y="75"/>
                  <a:pt x="777" y="75"/>
                  <a:pt x="777" y="75"/>
                </a:cubicBezTo>
                <a:cubicBezTo>
                  <a:pt x="777" y="74"/>
                  <a:pt x="777" y="74"/>
                  <a:pt x="777" y="74"/>
                </a:cubicBezTo>
                <a:cubicBezTo>
                  <a:pt x="778" y="74"/>
                  <a:pt x="778" y="74"/>
                  <a:pt x="778" y="74"/>
                </a:cubicBezTo>
                <a:cubicBezTo>
                  <a:pt x="780" y="74"/>
                  <a:pt x="780" y="74"/>
                  <a:pt x="780" y="74"/>
                </a:cubicBezTo>
                <a:cubicBezTo>
                  <a:pt x="782" y="75"/>
                  <a:pt x="782" y="75"/>
                  <a:pt x="782" y="75"/>
                </a:cubicBezTo>
                <a:cubicBezTo>
                  <a:pt x="783" y="77"/>
                  <a:pt x="783" y="77"/>
                  <a:pt x="783" y="77"/>
                </a:cubicBezTo>
                <a:cubicBezTo>
                  <a:pt x="784" y="77"/>
                  <a:pt x="784" y="77"/>
                  <a:pt x="784" y="77"/>
                </a:cubicBezTo>
                <a:cubicBezTo>
                  <a:pt x="784" y="76"/>
                  <a:pt x="784" y="76"/>
                  <a:pt x="784" y="76"/>
                </a:cubicBezTo>
                <a:cubicBezTo>
                  <a:pt x="784" y="76"/>
                  <a:pt x="784" y="76"/>
                  <a:pt x="784" y="76"/>
                </a:cubicBezTo>
                <a:cubicBezTo>
                  <a:pt x="785" y="76"/>
                  <a:pt x="785" y="76"/>
                  <a:pt x="785" y="76"/>
                </a:cubicBezTo>
                <a:cubicBezTo>
                  <a:pt x="785" y="77"/>
                  <a:pt x="785" y="77"/>
                  <a:pt x="785" y="77"/>
                </a:cubicBezTo>
                <a:cubicBezTo>
                  <a:pt x="785" y="77"/>
                  <a:pt x="785" y="77"/>
                  <a:pt x="785" y="77"/>
                </a:cubicBezTo>
                <a:cubicBezTo>
                  <a:pt x="786" y="79"/>
                  <a:pt x="786" y="79"/>
                  <a:pt x="786" y="79"/>
                </a:cubicBezTo>
                <a:cubicBezTo>
                  <a:pt x="788" y="82"/>
                  <a:pt x="788" y="82"/>
                  <a:pt x="788" y="82"/>
                </a:cubicBezTo>
                <a:cubicBezTo>
                  <a:pt x="791" y="83"/>
                  <a:pt x="791" y="83"/>
                  <a:pt x="791" y="83"/>
                </a:cubicBezTo>
                <a:cubicBezTo>
                  <a:pt x="791" y="84"/>
                  <a:pt x="791" y="84"/>
                  <a:pt x="791" y="84"/>
                </a:cubicBezTo>
                <a:cubicBezTo>
                  <a:pt x="792" y="85"/>
                  <a:pt x="792" y="85"/>
                  <a:pt x="792" y="85"/>
                </a:cubicBezTo>
                <a:cubicBezTo>
                  <a:pt x="793" y="87"/>
                  <a:pt x="793" y="87"/>
                  <a:pt x="793" y="87"/>
                </a:cubicBezTo>
                <a:cubicBezTo>
                  <a:pt x="792" y="87"/>
                  <a:pt x="792" y="87"/>
                  <a:pt x="792" y="87"/>
                </a:cubicBezTo>
                <a:cubicBezTo>
                  <a:pt x="793" y="89"/>
                  <a:pt x="793" y="89"/>
                  <a:pt x="793" y="89"/>
                </a:cubicBezTo>
                <a:cubicBezTo>
                  <a:pt x="794" y="89"/>
                  <a:pt x="794" y="89"/>
                  <a:pt x="794" y="89"/>
                </a:cubicBezTo>
                <a:cubicBezTo>
                  <a:pt x="795" y="88"/>
                  <a:pt x="795" y="88"/>
                  <a:pt x="795" y="88"/>
                </a:cubicBezTo>
                <a:cubicBezTo>
                  <a:pt x="797" y="88"/>
                  <a:pt x="797" y="88"/>
                  <a:pt x="797" y="88"/>
                </a:cubicBezTo>
                <a:cubicBezTo>
                  <a:pt x="798" y="90"/>
                  <a:pt x="798" y="90"/>
                  <a:pt x="798" y="90"/>
                </a:cubicBezTo>
                <a:cubicBezTo>
                  <a:pt x="799" y="90"/>
                  <a:pt x="799" y="90"/>
                  <a:pt x="799" y="90"/>
                </a:cubicBezTo>
                <a:cubicBezTo>
                  <a:pt x="799" y="90"/>
                  <a:pt x="799" y="90"/>
                  <a:pt x="799" y="90"/>
                </a:cubicBezTo>
                <a:cubicBezTo>
                  <a:pt x="798" y="89"/>
                  <a:pt x="798" y="89"/>
                  <a:pt x="798" y="89"/>
                </a:cubicBezTo>
                <a:cubicBezTo>
                  <a:pt x="798" y="88"/>
                  <a:pt x="798" y="88"/>
                  <a:pt x="798" y="88"/>
                </a:cubicBezTo>
                <a:cubicBezTo>
                  <a:pt x="799" y="87"/>
                  <a:pt x="799" y="87"/>
                  <a:pt x="799" y="87"/>
                </a:cubicBezTo>
                <a:cubicBezTo>
                  <a:pt x="799" y="87"/>
                  <a:pt x="799" y="87"/>
                  <a:pt x="799" y="87"/>
                </a:cubicBezTo>
                <a:cubicBezTo>
                  <a:pt x="800" y="89"/>
                  <a:pt x="800" y="89"/>
                  <a:pt x="800" y="89"/>
                </a:cubicBezTo>
                <a:cubicBezTo>
                  <a:pt x="801" y="90"/>
                  <a:pt x="801" y="90"/>
                  <a:pt x="801" y="90"/>
                </a:cubicBezTo>
                <a:cubicBezTo>
                  <a:pt x="801" y="90"/>
                  <a:pt x="801" y="90"/>
                  <a:pt x="801" y="90"/>
                </a:cubicBezTo>
                <a:cubicBezTo>
                  <a:pt x="800" y="88"/>
                  <a:pt x="800" y="88"/>
                  <a:pt x="800" y="88"/>
                </a:cubicBezTo>
                <a:cubicBezTo>
                  <a:pt x="800" y="86"/>
                  <a:pt x="800" y="86"/>
                  <a:pt x="800" y="86"/>
                </a:cubicBezTo>
                <a:cubicBezTo>
                  <a:pt x="799" y="85"/>
                  <a:pt x="799" y="85"/>
                  <a:pt x="799" y="85"/>
                </a:cubicBezTo>
                <a:cubicBezTo>
                  <a:pt x="798" y="86"/>
                  <a:pt x="798" y="86"/>
                  <a:pt x="798" y="86"/>
                </a:cubicBezTo>
                <a:cubicBezTo>
                  <a:pt x="796" y="87"/>
                  <a:pt x="796" y="87"/>
                  <a:pt x="796" y="87"/>
                </a:cubicBezTo>
                <a:cubicBezTo>
                  <a:pt x="796" y="86"/>
                  <a:pt x="796" y="86"/>
                  <a:pt x="796" y="86"/>
                </a:cubicBezTo>
                <a:cubicBezTo>
                  <a:pt x="797" y="85"/>
                  <a:pt x="797" y="85"/>
                  <a:pt x="797" y="85"/>
                </a:cubicBezTo>
                <a:cubicBezTo>
                  <a:pt x="796" y="83"/>
                  <a:pt x="796" y="83"/>
                  <a:pt x="796" y="83"/>
                </a:cubicBezTo>
                <a:cubicBezTo>
                  <a:pt x="794" y="82"/>
                  <a:pt x="794" y="82"/>
                  <a:pt x="794" y="82"/>
                </a:cubicBezTo>
                <a:cubicBezTo>
                  <a:pt x="793" y="80"/>
                  <a:pt x="793" y="80"/>
                  <a:pt x="793" y="80"/>
                </a:cubicBezTo>
                <a:cubicBezTo>
                  <a:pt x="792" y="79"/>
                  <a:pt x="792" y="79"/>
                  <a:pt x="792" y="79"/>
                </a:cubicBezTo>
                <a:cubicBezTo>
                  <a:pt x="792" y="79"/>
                  <a:pt x="792" y="79"/>
                  <a:pt x="792" y="79"/>
                </a:cubicBezTo>
                <a:cubicBezTo>
                  <a:pt x="790" y="80"/>
                  <a:pt x="790" y="80"/>
                  <a:pt x="790" y="80"/>
                </a:cubicBezTo>
                <a:cubicBezTo>
                  <a:pt x="790" y="80"/>
                  <a:pt x="790" y="80"/>
                  <a:pt x="790" y="80"/>
                </a:cubicBezTo>
                <a:cubicBezTo>
                  <a:pt x="791" y="79"/>
                  <a:pt x="791" y="79"/>
                  <a:pt x="791" y="79"/>
                </a:cubicBezTo>
                <a:cubicBezTo>
                  <a:pt x="792" y="77"/>
                  <a:pt x="792" y="77"/>
                  <a:pt x="792" y="77"/>
                </a:cubicBezTo>
                <a:cubicBezTo>
                  <a:pt x="794" y="75"/>
                  <a:pt x="794" y="75"/>
                  <a:pt x="794" y="75"/>
                </a:cubicBezTo>
                <a:cubicBezTo>
                  <a:pt x="794" y="74"/>
                  <a:pt x="794" y="74"/>
                  <a:pt x="794" y="74"/>
                </a:cubicBezTo>
                <a:cubicBezTo>
                  <a:pt x="794" y="75"/>
                  <a:pt x="794" y="75"/>
                  <a:pt x="794" y="75"/>
                </a:cubicBezTo>
                <a:cubicBezTo>
                  <a:pt x="795" y="77"/>
                  <a:pt x="795" y="77"/>
                  <a:pt x="795" y="77"/>
                </a:cubicBezTo>
                <a:cubicBezTo>
                  <a:pt x="796" y="78"/>
                  <a:pt x="796" y="78"/>
                  <a:pt x="796" y="78"/>
                </a:cubicBezTo>
                <a:cubicBezTo>
                  <a:pt x="797" y="77"/>
                  <a:pt x="797" y="77"/>
                  <a:pt x="797" y="77"/>
                </a:cubicBezTo>
                <a:cubicBezTo>
                  <a:pt x="796" y="76"/>
                  <a:pt x="796" y="76"/>
                  <a:pt x="796" y="76"/>
                </a:cubicBezTo>
                <a:cubicBezTo>
                  <a:pt x="795" y="75"/>
                  <a:pt x="795" y="75"/>
                  <a:pt x="795" y="75"/>
                </a:cubicBezTo>
                <a:cubicBezTo>
                  <a:pt x="796" y="75"/>
                  <a:pt x="796" y="75"/>
                  <a:pt x="796" y="75"/>
                </a:cubicBezTo>
                <a:cubicBezTo>
                  <a:pt x="797" y="74"/>
                  <a:pt x="797" y="74"/>
                  <a:pt x="797" y="74"/>
                </a:cubicBezTo>
                <a:cubicBezTo>
                  <a:pt x="798" y="73"/>
                  <a:pt x="798" y="73"/>
                  <a:pt x="798" y="73"/>
                </a:cubicBezTo>
                <a:cubicBezTo>
                  <a:pt x="796" y="73"/>
                  <a:pt x="796" y="73"/>
                  <a:pt x="796" y="73"/>
                </a:cubicBezTo>
                <a:cubicBezTo>
                  <a:pt x="797" y="73"/>
                  <a:pt x="797" y="73"/>
                  <a:pt x="797" y="73"/>
                </a:cubicBezTo>
                <a:cubicBezTo>
                  <a:pt x="797" y="72"/>
                  <a:pt x="797" y="72"/>
                  <a:pt x="797" y="72"/>
                </a:cubicBezTo>
                <a:cubicBezTo>
                  <a:pt x="799" y="72"/>
                  <a:pt x="799" y="72"/>
                  <a:pt x="799" y="72"/>
                </a:cubicBezTo>
                <a:cubicBezTo>
                  <a:pt x="800" y="70"/>
                  <a:pt x="800" y="70"/>
                  <a:pt x="800" y="70"/>
                </a:cubicBezTo>
                <a:cubicBezTo>
                  <a:pt x="801" y="70"/>
                  <a:pt x="801" y="70"/>
                  <a:pt x="801" y="70"/>
                </a:cubicBezTo>
                <a:cubicBezTo>
                  <a:pt x="801" y="71"/>
                  <a:pt x="801" y="71"/>
                  <a:pt x="801" y="71"/>
                </a:cubicBezTo>
                <a:cubicBezTo>
                  <a:pt x="802" y="71"/>
                  <a:pt x="802" y="71"/>
                  <a:pt x="802" y="71"/>
                </a:cubicBezTo>
                <a:cubicBezTo>
                  <a:pt x="803" y="71"/>
                  <a:pt x="803" y="71"/>
                  <a:pt x="803" y="71"/>
                </a:cubicBezTo>
                <a:cubicBezTo>
                  <a:pt x="803" y="72"/>
                  <a:pt x="803" y="72"/>
                  <a:pt x="803" y="72"/>
                </a:cubicBezTo>
                <a:cubicBezTo>
                  <a:pt x="804" y="73"/>
                  <a:pt x="804" y="73"/>
                  <a:pt x="804" y="73"/>
                </a:cubicBezTo>
                <a:cubicBezTo>
                  <a:pt x="806" y="73"/>
                  <a:pt x="806" y="73"/>
                  <a:pt x="806" y="73"/>
                </a:cubicBezTo>
                <a:cubicBezTo>
                  <a:pt x="807" y="73"/>
                  <a:pt x="807" y="73"/>
                  <a:pt x="807" y="73"/>
                </a:cubicBezTo>
                <a:cubicBezTo>
                  <a:pt x="811" y="73"/>
                  <a:pt x="811" y="73"/>
                  <a:pt x="811" y="73"/>
                </a:cubicBezTo>
                <a:cubicBezTo>
                  <a:pt x="811" y="75"/>
                  <a:pt x="811" y="75"/>
                  <a:pt x="811" y="75"/>
                </a:cubicBezTo>
                <a:cubicBezTo>
                  <a:pt x="811" y="75"/>
                  <a:pt x="811" y="75"/>
                  <a:pt x="811" y="75"/>
                </a:cubicBezTo>
                <a:cubicBezTo>
                  <a:pt x="812" y="75"/>
                  <a:pt x="812" y="75"/>
                  <a:pt x="812" y="75"/>
                </a:cubicBezTo>
                <a:cubicBezTo>
                  <a:pt x="812" y="74"/>
                  <a:pt x="812" y="74"/>
                  <a:pt x="812" y="74"/>
                </a:cubicBezTo>
                <a:cubicBezTo>
                  <a:pt x="813" y="74"/>
                  <a:pt x="813" y="74"/>
                  <a:pt x="813" y="74"/>
                </a:cubicBezTo>
                <a:cubicBezTo>
                  <a:pt x="813" y="76"/>
                  <a:pt x="813" y="76"/>
                  <a:pt x="813" y="76"/>
                </a:cubicBezTo>
                <a:cubicBezTo>
                  <a:pt x="814" y="75"/>
                  <a:pt x="814" y="75"/>
                  <a:pt x="814" y="75"/>
                </a:cubicBezTo>
                <a:cubicBezTo>
                  <a:pt x="815" y="74"/>
                  <a:pt x="815" y="74"/>
                  <a:pt x="815" y="74"/>
                </a:cubicBezTo>
                <a:cubicBezTo>
                  <a:pt x="816" y="74"/>
                  <a:pt x="816" y="74"/>
                  <a:pt x="816" y="74"/>
                </a:cubicBezTo>
                <a:cubicBezTo>
                  <a:pt x="816" y="75"/>
                  <a:pt x="816" y="75"/>
                  <a:pt x="816" y="75"/>
                </a:cubicBezTo>
                <a:cubicBezTo>
                  <a:pt x="816" y="76"/>
                  <a:pt x="816" y="76"/>
                  <a:pt x="816" y="76"/>
                </a:cubicBezTo>
                <a:cubicBezTo>
                  <a:pt x="815" y="77"/>
                  <a:pt x="815" y="77"/>
                  <a:pt x="815" y="77"/>
                </a:cubicBezTo>
                <a:cubicBezTo>
                  <a:pt x="816" y="80"/>
                  <a:pt x="816" y="80"/>
                  <a:pt x="816" y="80"/>
                </a:cubicBezTo>
                <a:cubicBezTo>
                  <a:pt x="816" y="82"/>
                  <a:pt x="816" y="82"/>
                  <a:pt x="816" y="82"/>
                </a:cubicBezTo>
                <a:cubicBezTo>
                  <a:pt x="816" y="83"/>
                  <a:pt x="816" y="83"/>
                  <a:pt x="816" y="83"/>
                </a:cubicBezTo>
                <a:cubicBezTo>
                  <a:pt x="817" y="82"/>
                  <a:pt x="817" y="82"/>
                  <a:pt x="817" y="82"/>
                </a:cubicBezTo>
                <a:cubicBezTo>
                  <a:pt x="818" y="84"/>
                  <a:pt x="818" y="84"/>
                  <a:pt x="818" y="84"/>
                </a:cubicBezTo>
                <a:cubicBezTo>
                  <a:pt x="820" y="84"/>
                  <a:pt x="820" y="84"/>
                  <a:pt x="820" y="84"/>
                </a:cubicBezTo>
                <a:cubicBezTo>
                  <a:pt x="820" y="85"/>
                  <a:pt x="820" y="85"/>
                  <a:pt x="820" y="85"/>
                </a:cubicBezTo>
                <a:cubicBezTo>
                  <a:pt x="819" y="86"/>
                  <a:pt x="819" y="86"/>
                  <a:pt x="819" y="86"/>
                </a:cubicBezTo>
                <a:cubicBezTo>
                  <a:pt x="817" y="86"/>
                  <a:pt x="817" y="86"/>
                  <a:pt x="817" y="86"/>
                </a:cubicBezTo>
                <a:cubicBezTo>
                  <a:pt x="815" y="87"/>
                  <a:pt x="815" y="87"/>
                  <a:pt x="815" y="87"/>
                </a:cubicBezTo>
                <a:cubicBezTo>
                  <a:pt x="818" y="87"/>
                  <a:pt x="818" y="87"/>
                  <a:pt x="818" y="87"/>
                </a:cubicBezTo>
                <a:cubicBezTo>
                  <a:pt x="819" y="88"/>
                  <a:pt x="819" y="88"/>
                  <a:pt x="819" y="88"/>
                </a:cubicBezTo>
                <a:cubicBezTo>
                  <a:pt x="819" y="89"/>
                  <a:pt x="819" y="89"/>
                  <a:pt x="819" y="89"/>
                </a:cubicBezTo>
                <a:cubicBezTo>
                  <a:pt x="817" y="90"/>
                  <a:pt x="817" y="90"/>
                  <a:pt x="817" y="90"/>
                </a:cubicBezTo>
                <a:cubicBezTo>
                  <a:pt x="816" y="92"/>
                  <a:pt x="816" y="92"/>
                  <a:pt x="816" y="92"/>
                </a:cubicBezTo>
                <a:cubicBezTo>
                  <a:pt x="815" y="91"/>
                  <a:pt x="815" y="91"/>
                  <a:pt x="815" y="91"/>
                </a:cubicBezTo>
                <a:cubicBezTo>
                  <a:pt x="814" y="92"/>
                  <a:pt x="814" y="92"/>
                  <a:pt x="814" y="92"/>
                </a:cubicBezTo>
                <a:cubicBezTo>
                  <a:pt x="812" y="92"/>
                  <a:pt x="812" y="92"/>
                  <a:pt x="812" y="92"/>
                </a:cubicBezTo>
                <a:cubicBezTo>
                  <a:pt x="811" y="94"/>
                  <a:pt x="811" y="94"/>
                  <a:pt x="811" y="94"/>
                </a:cubicBezTo>
                <a:cubicBezTo>
                  <a:pt x="813" y="93"/>
                  <a:pt x="813" y="93"/>
                  <a:pt x="813" y="93"/>
                </a:cubicBezTo>
                <a:cubicBezTo>
                  <a:pt x="814" y="94"/>
                  <a:pt x="814" y="94"/>
                  <a:pt x="814" y="94"/>
                </a:cubicBezTo>
                <a:cubicBezTo>
                  <a:pt x="814" y="95"/>
                  <a:pt x="814" y="95"/>
                  <a:pt x="814" y="95"/>
                </a:cubicBezTo>
                <a:cubicBezTo>
                  <a:pt x="815" y="94"/>
                  <a:pt x="815" y="94"/>
                  <a:pt x="815" y="94"/>
                </a:cubicBezTo>
                <a:cubicBezTo>
                  <a:pt x="816" y="94"/>
                  <a:pt x="816" y="94"/>
                  <a:pt x="816" y="94"/>
                </a:cubicBezTo>
                <a:cubicBezTo>
                  <a:pt x="816" y="95"/>
                  <a:pt x="816" y="95"/>
                  <a:pt x="816" y="95"/>
                </a:cubicBezTo>
                <a:cubicBezTo>
                  <a:pt x="817" y="96"/>
                  <a:pt x="817" y="96"/>
                  <a:pt x="817" y="96"/>
                </a:cubicBezTo>
                <a:cubicBezTo>
                  <a:pt x="816" y="97"/>
                  <a:pt x="816" y="97"/>
                  <a:pt x="816" y="97"/>
                </a:cubicBezTo>
                <a:cubicBezTo>
                  <a:pt x="816" y="99"/>
                  <a:pt x="816" y="99"/>
                  <a:pt x="816" y="99"/>
                </a:cubicBezTo>
                <a:cubicBezTo>
                  <a:pt x="817" y="97"/>
                  <a:pt x="817" y="97"/>
                  <a:pt x="817" y="97"/>
                </a:cubicBezTo>
                <a:cubicBezTo>
                  <a:pt x="819" y="97"/>
                  <a:pt x="819" y="97"/>
                  <a:pt x="819" y="97"/>
                </a:cubicBezTo>
                <a:cubicBezTo>
                  <a:pt x="821" y="99"/>
                  <a:pt x="821" y="99"/>
                  <a:pt x="821" y="99"/>
                </a:cubicBezTo>
                <a:cubicBezTo>
                  <a:pt x="820" y="100"/>
                  <a:pt x="820" y="100"/>
                  <a:pt x="820" y="100"/>
                </a:cubicBezTo>
                <a:cubicBezTo>
                  <a:pt x="821" y="101"/>
                  <a:pt x="821" y="101"/>
                  <a:pt x="821" y="101"/>
                </a:cubicBezTo>
                <a:cubicBezTo>
                  <a:pt x="820" y="102"/>
                  <a:pt x="820" y="102"/>
                  <a:pt x="820" y="102"/>
                </a:cubicBezTo>
                <a:cubicBezTo>
                  <a:pt x="821" y="103"/>
                  <a:pt x="821" y="103"/>
                  <a:pt x="821" y="103"/>
                </a:cubicBezTo>
                <a:cubicBezTo>
                  <a:pt x="821" y="105"/>
                  <a:pt x="821" y="105"/>
                  <a:pt x="821" y="105"/>
                </a:cubicBezTo>
                <a:cubicBezTo>
                  <a:pt x="820" y="105"/>
                  <a:pt x="820" y="105"/>
                  <a:pt x="820" y="105"/>
                </a:cubicBezTo>
                <a:cubicBezTo>
                  <a:pt x="819" y="106"/>
                  <a:pt x="819" y="106"/>
                  <a:pt x="819" y="106"/>
                </a:cubicBezTo>
                <a:cubicBezTo>
                  <a:pt x="820" y="107"/>
                  <a:pt x="820" y="107"/>
                  <a:pt x="820" y="107"/>
                </a:cubicBezTo>
                <a:cubicBezTo>
                  <a:pt x="820" y="106"/>
                  <a:pt x="820" y="106"/>
                  <a:pt x="820" y="106"/>
                </a:cubicBezTo>
                <a:cubicBezTo>
                  <a:pt x="821" y="106"/>
                  <a:pt x="821" y="106"/>
                  <a:pt x="821" y="106"/>
                </a:cubicBezTo>
                <a:cubicBezTo>
                  <a:pt x="822" y="106"/>
                  <a:pt x="822" y="106"/>
                  <a:pt x="822" y="106"/>
                </a:cubicBezTo>
                <a:cubicBezTo>
                  <a:pt x="822" y="108"/>
                  <a:pt x="822" y="108"/>
                  <a:pt x="822" y="108"/>
                </a:cubicBezTo>
                <a:cubicBezTo>
                  <a:pt x="823" y="108"/>
                  <a:pt x="823" y="108"/>
                  <a:pt x="823" y="108"/>
                </a:cubicBezTo>
                <a:cubicBezTo>
                  <a:pt x="824" y="109"/>
                  <a:pt x="824" y="109"/>
                  <a:pt x="824" y="109"/>
                </a:cubicBezTo>
                <a:cubicBezTo>
                  <a:pt x="824" y="108"/>
                  <a:pt x="824" y="108"/>
                  <a:pt x="824" y="108"/>
                </a:cubicBezTo>
                <a:cubicBezTo>
                  <a:pt x="824" y="107"/>
                  <a:pt x="824" y="107"/>
                  <a:pt x="824" y="107"/>
                </a:cubicBezTo>
                <a:cubicBezTo>
                  <a:pt x="825" y="107"/>
                  <a:pt x="825" y="107"/>
                  <a:pt x="825" y="107"/>
                </a:cubicBezTo>
                <a:cubicBezTo>
                  <a:pt x="827" y="108"/>
                  <a:pt x="827" y="108"/>
                  <a:pt x="827" y="108"/>
                </a:cubicBezTo>
                <a:cubicBezTo>
                  <a:pt x="827" y="109"/>
                  <a:pt x="827" y="109"/>
                  <a:pt x="827" y="109"/>
                </a:cubicBezTo>
                <a:cubicBezTo>
                  <a:pt x="826" y="110"/>
                  <a:pt x="826" y="110"/>
                  <a:pt x="826" y="110"/>
                </a:cubicBezTo>
                <a:cubicBezTo>
                  <a:pt x="825" y="109"/>
                  <a:pt x="825" y="109"/>
                  <a:pt x="825" y="109"/>
                </a:cubicBezTo>
                <a:cubicBezTo>
                  <a:pt x="824" y="110"/>
                  <a:pt x="824" y="110"/>
                  <a:pt x="824" y="110"/>
                </a:cubicBezTo>
                <a:cubicBezTo>
                  <a:pt x="825" y="111"/>
                  <a:pt x="825" y="111"/>
                  <a:pt x="825" y="111"/>
                </a:cubicBezTo>
                <a:cubicBezTo>
                  <a:pt x="826" y="111"/>
                  <a:pt x="826" y="111"/>
                  <a:pt x="826" y="111"/>
                </a:cubicBezTo>
                <a:cubicBezTo>
                  <a:pt x="827" y="112"/>
                  <a:pt x="827" y="112"/>
                  <a:pt x="827" y="112"/>
                </a:cubicBezTo>
                <a:cubicBezTo>
                  <a:pt x="827" y="113"/>
                  <a:pt x="827" y="113"/>
                  <a:pt x="827" y="113"/>
                </a:cubicBezTo>
                <a:cubicBezTo>
                  <a:pt x="825" y="114"/>
                  <a:pt x="825" y="114"/>
                  <a:pt x="825" y="114"/>
                </a:cubicBezTo>
                <a:cubicBezTo>
                  <a:pt x="824" y="112"/>
                  <a:pt x="824" y="112"/>
                  <a:pt x="824" y="112"/>
                </a:cubicBezTo>
                <a:cubicBezTo>
                  <a:pt x="823" y="112"/>
                  <a:pt x="823" y="112"/>
                  <a:pt x="823" y="112"/>
                </a:cubicBezTo>
                <a:cubicBezTo>
                  <a:pt x="824" y="114"/>
                  <a:pt x="824" y="114"/>
                  <a:pt x="824" y="114"/>
                </a:cubicBezTo>
                <a:cubicBezTo>
                  <a:pt x="823" y="115"/>
                  <a:pt x="823" y="115"/>
                  <a:pt x="823" y="115"/>
                </a:cubicBezTo>
                <a:cubicBezTo>
                  <a:pt x="823" y="115"/>
                  <a:pt x="823" y="115"/>
                  <a:pt x="823" y="115"/>
                </a:cubicBezTo>
                <a:cubicBezTo>
                  <a:pt x="822" y="114"/>
                  <a:pt x="822" y="114"/>
                  <a:pt x="822" y="114"/>
                </a:cubicBezTo>
                <a:cubicBezTo>
                  <a:pt x="821" y="114"/>
                  <a:pt x="821" y="114"/>
                  <a:pt x="821" y="114"/>
                </a:cubicBezTo>
                <a:cubicBezTo>
                  <a:pt x="820" y="114"/>
                  <a:pt x="820" y="114"/>
                  <a:pt x="820" y="114"/>
                </a:cubicBezTo>
                <a:cubicBezTo>
                  <a:pt x="818" y="114"/>
                  <a:pt x="818" y="114"/>
                  <a:pt x="818" y="114"/>
                </a:cubicBezTo>
                <a:cubicBezTo>
                  <a:pt x="816" y="114"/>
                  <a:pt x="816" y="114"/>
                  <a:pt x="816" y="114"/>
                </a:cubicBezTo>
                <a:cubicBezTo>
                  <a:pt x="815" y="114"/>
                  <a:pt x="815" y="114"/>
                  <a:pt x="815" y="114"/>
                </a:cubicBezTo>
                <a:cubicBezTo>
                  <a:pt x="816" y="113"/>
                  <a:pt x="816" y="113"/>
                  <a:pt x="816" y="113"/>
                </a:cubicBezTo>
                <a:cubicBezTo>
                  <a:pt x="815" y="113"/>
                  <a:pt x="815" y="113"/>
                  <a:pt x="815" y="113"/>
                </a:cubicBezTo>
                <a:cubicBezTo>
                  <a:pt x="814" y="112"/>
                  <a:pt x="814" y="112"/>
                  <a:pt x="814" y="112"/>
                </a:cubicBezTo>
                <a:cubicBezTo>
                  <a:pt x="814" y="114"/>
                  <a:pt x="814" y="114"/>
                  <a:pt x="814" y="114"/>
                </a:cubicBezTo>
                <a:cubicBezTo>
                  <a:pt x="814" y="114"/>
                  <a:pt x="814" y="114"/>
                  <a:pt x="814" y="114"/>
                </a:cubicBezTo>
                <a:cubicBezTo>
                  <a:pt x="813" y="114"/>
                  <a:pt x="813" y="114"/>
                  <a:pt x="813" y="114"/>
                </a:cubicBezTo>
                <a:cubicBezTo>
                  <a:pt x="814" y="115"/>
                  <a:pt x="814" y="115"/>
                  <a:pt x="814" y="115"/>
                </a:cubicBezTo>
                <a:cubicBezTo>
                  <a:pt x="813" y="117"/>
                  <a:pt x="813" y="117"/>
                  <a:pt x="813" y="117"/>
                </a:cubicBezTo>
                <a:cubicBezTo>
                  <a:pt x="813" y="117"/>
                  <a:pt x="813" y="117"/>
                  <a:pt x="813" y="117"/>
                </a:cubicBezTo>
                <a:cubicBezTo>
                  <a:pt x="813" y="116"/>
                  <a:pt x="813" y="116"/>
                  <a:pt x="813" y="116"/>
                </a:cubicBezTo>
                <a:cubicBezTo>
                  <a:pt x="812" y="116"/>
                  <a:pt x="812" y="116"/>
                  <a:pt x="812" y="116"/>
                </a:cubicBezTo>
                <a:cubicBezTo>
                  <a:pt x="810" y="116"/>
                  <a:pt x="810" y="116"/>
                  <a:pt x="810" y="116"/>
                </a:cubicBezTo>
                <a:cubicBezTo>
                  <a:pt x="809" y="116"/>
                  <a:pt x="809" y="116"/>
                  <a:pt x="809" y="116"/>
                </a:cubicBezTo>
                <a:cubicBezTo>
                  <a:pt x="809" y="115"/>
                  <a:pt x="809" y="115"/>
                  <a:pt x="809" y="115"/>
                </a:cubicBezTo>
                <a:cubicBezTo>
                  <a:pt x="808" y="114"/>
                  <a:pt x="808" y="114"/>
                  <a:pt x="808" y="114"/>
                </a:cubicBezTo>
                <a:cubicBezTo>
                  <a:pt x="808" y="113"/>
                  <a:pt x="808" y="113"/>
                  <a:pt x="808" y="113"/>
                </a:cubicBezTo>
                <a:cubicBezTo>
                  <a:pt x="805" y="111"/>
                  <a:pt x="805" y="111"/>
                  <a:pt x="805" y="111"/>
                </a:cubicBezTo>
                <a:cubicBezTo>
                  <a:pt x="805" y="111"/>
                  <a:pt x="805" y="111"/>
                  <a:pt x="805" y="111"/>
                </a:cubicBezTo>
                <a:cubicBezTo>
                  <a:pt x="805" y="110"/>
                  <a:pt x="805" y="110"/>
                  <a:pt x="805" y="110"/>
                </a:cubicBezTo>
                <a:cubicBezTo>
                  <a:pt x="803" y="109"/>
                  <a:pt x="803" y="109"/>
                  <a:pt x="803" y="109"/>
                </a:cubicBezTo>
                <a:cubicBezTo>
                  <a:pt x="802" y="111"/>
                  <a:pt x="802" y="111"/>
                  <a:pt x="802" y="111"/>
                </a:cubicBezTo>
                <a:cubicBezTo>
                  <a:pt x="800" y="111"/>
                  <a:pt x="800" y="111"/>
                  <a:pt x="800" y="111"/>
                </a:cubicBezTo>
                <a:cubicBezTo>
                  <a:pt x="799" y="112"/>
                  <a:pt x="799" y="112"/>
                  <a:pt x="799" y="112"/>
                </a:cubicBezTo>
                <a:cubicBezTo>
                  <a:pt x="799" y="113"/>
                  <a:pt x="799" y="113"/>
                  <a:pt x="799" y="113"/>
                </a:cubicBezTo>
                <a:cubicBezTo>
                  <a:pt x="798" y="111"/>
                  <a:pt x="798" y="111"/>
                  <a:pt x="798" y="111"/>
                </a:cubicBezTo>
                <a:cubicBezTo>
                  <a:pt x="798" y="110"/>
                  <a:pt x="798" y="110"/>
                  <a:pt x="798" y="110"/>
                </a:cubicBezTo>
                <a:cubicBezTo>
                  <a:pt x="798" y="111"/>
                  <a:pt x="798" y="111"/>
                  <a:pt x="798" y="111"/>
                </a:cubicBezTo>
                <a:cubicBezTo>
                  <a:pt x="798" y="113"/>
                  <a:pt x="798" y="113"/>
                  <a:pt x="798" y="113"/>
                </a:cubicBezTo>
                <a:cubicBezTo>
                  <a:pt x="798" y="115"/>
                  <a:pt x="798" y="115"/>
                  <a:pt x="798" y="115"/>
                </a:cubicBezTo>
                <a:cubicBezTo>
                  <a:pt x="798" y="116"/>
                  <a:pt x="798" y="116"/>
                  <a:pt x="798" y="116"/>
                </a:cubicBezTo>
                <a:cubicBezTo>
                  <a:pt x="796" y="120"/>
                  <a:pt x="796" y="120"/>
                  <a:pt x="796" y="120"/>
                </a:cubicBezTo>
                <a:cubicBezTo>
                  <a:pt x="794" y="119"/>
                  <a:pt x="794" y="119"/>
                  <a:pt x="794" y="119"/>
                </a:cubicBezTo>
                <a:cubicBezTo>
                  <a:pt x="794" y="117"/>
                  <a:pt x="794" y="117"/>
                  <a:pt x="794" y="117"/>
                </a:cubicBezTo>
                <a:cubicBezTo>
                  <a:pt x="793" y="117"/>
                  <a:pt x="793" y="117"/>
                  <a:pt x="793" y="117"/>
                </a:cubicBezTo>
                <a:cubicBezTo>
                  <a:pt x="792" y="117"/>
                  <a:pt x="792" y="117"/>
                  <a:pt x="792" y="117"/>
                </a:cubicBezTo>
                <a:cubicBezTo>
                  <a:pt x="789" y="115"/>
                  <a:pt x="789" y="115"/>
                  <a:pt x="789" y="115"/>
                </a:cubicBezTo>
                <a:cubicBezTo>
                  <a:pt x="789" y="114"/>
                  <a:pt x="789" y="114"/>
                  <a:pt x="789" y="114"/>
                </a:cubicBezTo>
                <a:cubicBezTo>
                  <a:pt x="789" y="111"/>
                  <a:pt x="789" y="111"/>
                  <a:pt x="789" y="111"/>
                </a:cubicBezTo>
                <a:cubicBezTo>
                  <a:pt x="787" y="111"/>
                  <a:pt x="787" y="111"/>
                  <a:pt x="787" y="111"/>
                </a:cubicBezTo>
                <a:cubicBezTo>
                  <a:pt x="787" y="110"/>
                  <a:pt x="787" y="110"/>
                  <a:pt x="787" y="110"/>
                </a:cubicBezTo>
                <a:cubicBezTo>
                  <a:pt x="786" y="109"/>
                  <a:pt x="786" y="109"/>
                  <a:pt x="786" y="109"/>
                </a:cubicBezTo>
                <a:cubicBezTo>
                  <a:pt x="786" y="110"/>
                  <a:pt x="786" y="110"/>
                  <a:pt x="786" y="110"/>
                </a:cubicBezTo>
                <a:cubicBezTo>
                  <a:pt x="786" y="111"/>
                  <a:pt x="786" y="111"/>
                  <a:pt x="786" y="111"/>
                </a:cubicBezTo>
                <a:cubicBezTo>
                  <a:pt x="786" y="112"/>
                  <a:pt x="786" y="112"/>
                  <a:pt x="786" y="112"/>
                </a:cubicBezTo>
                <a:cubicBezTo>
                  <a:pt x="787" y="112"/>
                  <a:pt x="787" y="112"/>
                  <a:pt x="787" y="112"/>
                </a:cubicBezTo>
                <a:cubicBezTo>
                  <a:pt x="786" y="113"/>
                  <a:pt x="786" y="113"/>
                  <a:pt x="786" y="113"/>
                </a:cubicBezTo>
                <a:cubicBezTo>
                  <a:pt x="784" y="112"/>
                  <a:pt x="784" y="112"/>
                  <a:pt x="784" y="112"/>
                </a:cubicBezTo>
                <a:cubicBezTo>
                  <a:pt x="783" y="111"/>
                  <a:pt x="783" y="111"/>
                  <a:pt x="783" y="111"/>
                </a:cubicBezTo>
                <a:cubicBezTo>
                  <a:pt x="783" y="111"/>
                  <a:pt x="783" y="111"/>
                  <a:pt x="783" y="111"/>
                </a:cubicBezTo>
                <a:cubicBezTo>
                  <a:pt x="783" y="112"/>
                  <a:pt x="783" y="112"/>
                  <a:pt x="783" y="112"/>
                </a:cubicBezTo>
                <a:cubicBezTo>
                  <a:pt x="783" y="113"/>
                  <a:pt x="783" y="113"/>
                  <a:pt x="783" y="113"/>
                </a:cubicBezTo>
                <a:cubicBezTo>
                  <a:pt x="783" y="113"/>
                  <a:pt x="783" y="113"/>
                  <a:pt x="783" y="113"/>
                </a:cubicBezTo>
                <a:cubicBezTo>
                  <a:pt x="785" y="113"/>
                  <a:pt x="785" y="113"/>
                  <a:pt x="785" y="113"/>
                </a:cubicBezTo>
                <a:cubicBezTo>
                  <a:pt x="786" y="114"/>
                  <a:pt x="786" y="114"/>
                  <a:pt x="786" y="114"/>
                </a:cubicBezTo>
                <a:cubicBezTo>
                  <a:pt x="785" y="116"/>
                  <a:pt x="785" y="116"/>
                  <a:pt x="785" y="116"/>
                </a:cubicBezTo>
                <a:cubicBezTo>
                  <a:pt x="783" y="116"/>
                  <a:pt x="783" y="116"/>
                  <a:pt x="783" y="116"/>
                </a:cubicBezTo>
                <a:cubicBezTo>
                  <a:pt x="783" y="117"/>
                  <a:pt x="783" y="117"/>
                  <a:pt x="783" y="117"/>
                </a:cubicBezTo>
                <a:cubicBezTo>
                  <a:pt x="784" y="117"/>
                  <a:pt x="784" y="117"/>
                  <a:pt x="784" y="117"/>
                </a:cubicBezTo>
                <a:cubicBezTo>
                  <a:pt x="787" y="121"/>
                  <a:pt x="787" y="121"/>
                  <a:pt x="787" y="121"/>
                </a:cubicBezTo>
                <a:cubicBezTo>
                  <a:pt x="790" y="122"/>
                  <a:pt x="790" y="122"/>
                  <a:pt x="790" y="122"/>
                </a:cubicBezTo>
                <a:cubicBezTo>
                  <a:pt x="791" y="121"/>
                  <a:pt x="791" y="121"/>
                  <a:pt x="791" y="121"/>
                </a:cubicBezTo>
                <a:cubicBezTo>
                  <a:pt x="793" y="122"/>
                  <a:pt x="793" y="122"/>
                  <a:pt x="793" y="122"/>
                </a:cubicBezTo>
                <a:cubicBezTo>
                  <a:pt x="793" y="124"/>
                  <a:pt x="793" y="124"/>
                  <a:pt x="793" y="124"/>
                </a:cubicBezTo>
                <a:cubicBezTo>
                  <a:pt x="793" y="124"/>
                  <a:pt x="793" y="124"/>
                  <a:pt x="793" y="124"/>
                </a:cubicBezTo>
                <a:cubicBezTo>
                  <a:pt x="792" y="122"/>
                  <a:pt x="792" y="122"/>
                  <a:pt x="792" y="122"/>
                </a:cubicBezTo>
                <a:cubicBezTo>
                  <a:pt x="791" y="122"/>
                  <a:pt x="791" y="122"/>
                  <a:pt x="791" y="122"/>
                </a:cubicBezTo>
                <a:cubicBezTo>
                  <a:pt x="792" y="124"/>
                  <a:pt x="792" y="124"/>
                  <a:pt x="792" y="124"/>
                </a:cubicBezTo>
                <a:cubicBezTo>
                  <a:pt x="794" y="126"/>
                  <a:pt x="794" y="126"/>
                  <a:pt x="794" y="126"/>
                </a:cubicBezTo>
                <a:cubicBezTo>
                  <a:pt x="794" y="127"/>
                  <a:pt x="794" y="127"/>
                  <a:pt x="794" y="127"/>
                </a:cubicBezTo>
                <a:cubicBezTo>
                  <a:pt x="796" y="129"/>
                  <a:pt x="796" y="129"/>
                  <a:pt x="796" y="129"/>
                </a:cubicBezTo>
                <a:cubicBezTo>
                  <a:pt x="796" y="131"/>
                  <a:pt x="796" y="131"/>
                  <a:pt x="796" y="131"/>
                </a:cubicBezTo>
                <a:cubicBezTo>
                  <a:pt x="795" y="135"/>
                  <a:pt x="795" y="135"/>
                  <a:pt x="795" y="135"/>
                </a:cubicBezTo>
                <a:cubicBezTo>
                  <a:pt x="795" y="138"/>
                  <a:pt x="795" y="138"/>
                  <a:pt x="795" y="138"/>
                </a:cubicBezTo>
                <a:cubicBezTo>
                  <a:pt x="795" y="140"/>
                  <a:pt x="795" y="140"/>
                  <a:pt x="795" y="140"/>
                </a:cubicBezTo>
                <a:cubicBezTo>
                  <a:pt x="796" y="140"/>
                  <a:pt x="796" y="140"/>
                  <a:pt x="796" y="140"/>
                </a:cubicBezTo>
                <a:cubicBezTo>
                  <a:pt x="794" y="143"/>
                  <a:pt x="794" y="143"/>
                  <a:pt x="794" y="143"/>
                </a:cubicBezTo>
                <a:cubicBezTo>
                  <a:pt x="794" y="144"/>
                  <a:pt x="794" y="144"/>
                  <a:pt x="794" y="144"/>
                </a:cubicBezTo>
                <a:cubicBezTo>
                  <a:pt x="793" y="145"/>
                  <a:pt x="793" y="145"/>
                  <a:pt x="793" y="145"/>
                </a:cubicBezTo>
                <a:cubicBezTo>
                  <a:pt x="793" y="144"/>
                  <a:pt x="793" y="144"/>
                  <a:pt x="793" y="144"/>
                </a:cubicBezTo>
                <a:cubicBezTo>
                  <a:pt x="793" y="143"/>
                  <a:pt x="793" y="143"/>
                  <a:pt x="793" y="143"/>
                </a:cubicBezTo>
                <a:cubicBezTo>
                  <a:pt x="790" y="146"/>
                  <a:pt x="790" y="146"/>
                  <a:pt x="790" y="146"/>
                </a:cubicBezTo>
                <a:cubicBezTo>
                  <a:pt x="789" y="145"/>
                  <a:pt x="789" y="145"/>
                  <a:pt x="789" y="145"/>
                </a:cubicBezTo>
                <a:cubicBezTo>
                  <a:pt x="788" y="146"/>
                  <a:pt x="788" y="146"/>
                  <a:pt x="788" y="146"/>
                </a:cubicBezTo>
                <a:cubicBezTo>
                  <a:pt x="787" y="145"/>
                  <a:pt x="787" y="145"/>
                  <a:pt x="787" y="145"/>
                </a:cubicBezTo>
                <a:cubicBezTo>
                  <a:pt x="786" y="144"/>
                  <a:pt x="786" y="144"/>
                  <a:pt x="786" y="144"/>
                </a:cubicBezTo>
                <a:cubicBezTo>
                  <a:pt x="785" y="144"/>
                  <a:pt x="785" y="144"/>
                  <a:pt x="785" y="144"/>
                </a:cubicBezTo>
                <a:cubicBezTo>
                  <a:pt x="783" y="142"/>
                  <a:pt x="783" y="142"/>
                  <a:pt x="783" y="142"/>
                </a:cubicBezTo>
                <a:cubicBezTo>
                  <a:pt x="782" y="141"/>
                  <a:pt x="782" y="141"/>
                  <a:pt x="782" y="141"/>
                </a:cubicBezTo>
                <a:cubicBezTo>
                  <a:pt x="780" y="141"/>
                  <a:pt x="780" y="141"/>
                  <a:pt x="780" y="141"/>
                </a:cubicBezTo>
                <a:cubicBezTo>
                  <a:pt x="779" y="140"/>
                  <a:pt x="779" y="140"/>
                  <a:pt x="779" y="140"/>
                </a:cubicBezTo>
                <a:cubicBezTo>
                  <a:pt x="778" y="141"/>
                  <a:pt x="778" y="141"/>
                  <a:pt x="778" y="141"/>
                </a:cubicBezTo>
                <a:cubicBezTo>
                  <a:pt x="777" y="142"/>
                  <a:pt x="777" y="142"/>
                  <a:pt x="777" y="142"/>
                </a:cubicBezTo>
                <a:cubicBezTo>
                  <a:pt x="776" y="142"/>
                  <a:pt x="776" y="142"/>
                  <a:pt x="776" y="142"/>
                </a:cubicBezTo>
                <a:cubicBezTo>
                  <a:pt x="777" y="143"/>
                  <a:pt x="777" y="143"/>
                  <a:pt x="777" y="143"/>
                </a:cubicBezTo>
                <a:cubicBezTo>
                  <a:pt x="779" y="143"/>
                  <a:pt x="779" y="143"/>
                  <a:pt x="779" y="143"/>
                </a:cubicBezTo>
                <a:cubicBezTo>
                  <a:pt x="779" y="141"/>
                  <a:pt x="779" y="141"/>
                  <a:pt x="779" y="141"/>
                </a:cubicBezTo>
                <a:cubicBezTo>
                  <a:pt x="783" y="143"/>
                  <a:pt x="783" y="143"/>
                  <a:pt x="783" y="143"/>
                </a:cubicBezTo>
                <a:cubicBezTo>
                  <a:pt x="783" y="144"/>
                  <a:pt x="783" y="144"/>
                  <a:pt x="783" y="144"/>
                </a:cubicBezTo>
                <a:cubicBezTo>
                  <a:pt x="782" y="145"/>
                  <a:pt x="782" y="145"/>
                  <a:pt x="782" y="145"/>
                </a:cubicBezTo>
                <a:cubicBezTo>
                  <a:pt x="781" y="144"/>
                  <a:pt x="781" y="144"/>
                  <a:pt x="781" y="144"/>
                </a:cubicBezTo>
                <a:cubicBezTo>
                  <a:pt x="779" y="144"/>
                  <a:pt x="779" y="144"/>
                  <a:pt x="779" y="144"/>
                </a:cubicBezTo>
                <a:cubicBezTo>
                  <a:pt x="779" y="146"/>
                  <a:pt x="779" y="146"/>
                  <a:pt x="779" y="146"/>
                </a:cubicBezTo>
                <a:cubicBezTo>
                  <a:pt x="778" y="144"/>
                  <a:pt x="778" y="144"/>
                  <a:pt x="778" y="144"/>
                </a:cubicBezTo>
                <a:cubicBezTo>
                  <a:pt x="777" y="145"/>
                  <a:pt x="777" y="145"/>
                  <a:pt x="777" y="145"/>
                </a:cubicBezTo>
                <a:cubicBezTo>
                  <a:pt x="777" y="145"/>
                  <a:pt x="777" y="145"/>
                  <a:pt x="777" y="145"/>
                </a:cubicBezTo>
                <a:cubicBezTo>
                  <a:pt x="778" y="146"/>
                  <a:pt x="778" y="146"/>
                  <a:pt x="778" y="146"/>
                </a:cubicBezTo>
                <a:cubicBezTo>
                  <a:pt x="780" y="147"/>
                  <a:pt x="780" y="147"/>
                  <a:pt x="780" y="147"/>
                </a:cubicBezTo>
                <a:cubicBezTo>
                  <a:pt x="779" y="149"/>
                  <a:pt x="779" y="149"/>
                  <a:pt x="779" y="149"/>
                </a:cubicBezTo>
                <a:cubicBezTo>
                  <a:pt x="780" y="151"/>
                  <a:pt x="780" y="151"/>
                  <a:pt x="780" y="151"/>
                </a:cubicBezTo>
                <a:cubicBezTo>
                  <a:pt x="781" y="152"/>
                  <a:pt x="781" y="152"/>
                  <a:pt x="781" y="152"/>
                </a:cubicBezTo>
                <a:cubicBezTo>
                  <a:pt x="781" y="151"/>
                  <a:pt x="781" y="151"/>
                  <a:pt x="781" y="151"/>
                </a:cubicBezTo>
                <a:cubicBezTo>
                  <a:pt x="781" y="149"/>
                  <a:pt x="781" y="149"/>
                  <a:pt x="781" y="149"/>
                </a:cubicBezTo>
                <a:cubicBezTo>
                  <a:pt x="782" y="148"/>
                  <a:pt x="782" y="148"/>
                  <a:pt x="782" y="148"/>
                </a:cubicBezTo>
                <a:cubicBezTo>
                  <a:pt x="783" y="148"/>
                  <a:pt x="783" y="148"/>
                  <a:pt x="783" y="148"/>
                </a:cubicBezTo>
                <a:cubicBezTo>
                  <a:pt x="783" y="148"/>
                  <a:pt x="783" y="148"/>
                  <a:pt x="783" y="148"/>
                </a:cubicBezTo>
                <a:cubicBezTo>
                  <a:pt x="785" y="146"/>
                  <a:pt x="785" y="146"/>
                  <a:pt x="785" y="146"/>
                </a:cubicBezTo>
                <a:cubicBezTo>
                  <a:pt x="786" y="146"/>
                  <a:pt x="786" y="146"/>
                  <a:pt x="786" y="146"/>
                </a:cubicBezTo>
                <a:cubicBezTo>
                  <a:pt x="787" y="146"/>
                  <a:pt x="787" y="146"/>
                  <a:pt x="787" y="146"/>
                </a:cubicBezTo>
                <a:cubicBezTo>
                  <a:pt x="787" y="147"/>
                  <a:pt x="787" y="147"/>
                  <a:pt x="787" y="147"/>
                </a:cubicBezTo>
                <a:cubicBezTo>
                  <a:pt x="788" y="149"/>
                  <a:pt x="788" y="149"/>
                  <a:pt x="788" y="149"/>
                </a:cubicBezTo>
                <a:cubicBezTo>
                  <a:pt x="790" y="150"/>
                  <a:pt x="790" y="150"/>
                  <a:pt x="790" y="150"/>
                </a:cubicBezTo>
                <a:cubicBezTo>
                  <a:pt x="791" y="151"/>
                  <a:pt x="791" y="151"/>
                  <a:pt x="791" y="151"/>
                </a:cubicBezTo>
                <a:cubicBezTo>
                  <a:pt x="793" y="151"/>
                  <a:pt x="793" y="151"/>
                  <a:pt x="793" y="151"/>
                </a:cubicBezTo>
                <a:cubicBezTo>
                  <a:pt x="794" y="150"/>
                  <a:pt x="794" y="150"/>
                  <a:pt x="794" y="150"/>
                </a:cubicBezTo>
                <a:cubicBezTo>
                  <a:pt x="793" y="149"/>
                  <a:pt x="793" y="149"/>
                  <a:pt x="793" y="149"/>
                </a:cubicBezTo>
                <a:cubicBezTo>
                  <a:pt x="794" y="149"/>
                  <a:pt x="794" y="149"/>
                  <a:pt x="794" y="149"/>
                </a:cubicBezTo>
                <a:cubicBezTo>
                  <a:pt x="797" y="152"/>
                  <a:pt x="797" y="152"/>
                  <a:pt x="797" y="152"/>
                </a:cubicBezTo>
                <a:cubicBezTo>
                  <a:pt x="798" y="153"/>
                  <a:pt x="798" y="153"/>
                  <a:pt x="798" y="153"/>
                </a:cubicBezTo>
                <a:cubicBezTo>
                  <a:pt x="796" y="153"/>
                  <a:pt x="796" y="153"/>
                  <a:pt x="796" y="153"/>
                </a:cubicBezTo>
                <a:cubicBezTo>
                  <a:pt x="796" y="154"/>
                  <a:pt x="796" y="154"/>
                  <a:pt x="796" y="154"/>
                </a:cubicBezTo>
                <a:cubicBezTo>
                  <a:pt x="799" y="156"/>
                  <a:pt x="799" y="156"/>
                  <a:pt x="799" y="156"/>
                </a:cubicBezTo>
                <a:cubicBezTo>
                  <a:pt x="799" y="156"/>
                  <a:pt x="799" y="156"/>
                  <a:pt x="799" y="156"/>
                </a:cubicBezTo>
                <a:cubicBezTo>
                  <a:pt x="799" y="156"/>
                  <a:pt x="799" y="156"/>
                  <a:pt x="799" y="156"/>
                </a:cubicBezTo>
                <a:cubicBezTo>
                  <a:pt x="799" y="154"/>
                  <a:pt x="799" y="154"/>
                  <a:pt x="799" y="154"/>
                </a:cubicBezTo>
                <a:cubicBezTo>
                  <a:pt x="801" y="155"/>
                  <a:pt x="801" y="155"/>
                  <a:pt x="801" y="155"/>
                </a:cubicBezTo>
                <a:cubicBezTo>
                  <a:pt x="804" y="159"/>
                  <a:pt x="804" y="159"/>
                  <a:pt x="804" y="159"/>
                </a:cubicBezTo>
                <a:cubicBezTo>
                  <a:pt x="803" y="158"/>
                  <a:pt x="803" y="158"/>
                  <a:pt x="803" y="158"/>
                </a:cubicBezTo>
                <a:cubicBezTo>
                  <a:pt x="802" y="158"/>
                  <a:pt x="802" y="158"/>
                  <a:pt x="802" y="158"/>
                </a:cubicBezTo>
                <a:cubicBezTo>
                  <a:pt x="802" y="159"/>
                  <a:pt x="802" y="159"/>
                  <a:pt x="802" y="159"/>
                </a:cubicBezTo>
                <a:cubicBezTo>
                  <a:pt x="803" y="160"/>
                  <a:pt x="803" y="160"/>
                  <a:pt x="803" y="160"/>
                </a:cubicBezTo>
                <a:cubicBezTo>
                  <a:pt x="801" y="161"/>
                  <a:pt x="801" y="161"/>
                  <a:pt x="801" y="161"/>
                </a:cubicBezTo>
                <a:cubicBezTo>
                  <a:pt x="801" y="162"/>
                  <a:pt x="801" y="162"/>
                  <a:pt x="801" y="162"/>
                </a:cubicBezTo>
                <a:cubicBezTo>
                  <a:pt x="802" y="163"/>
                  <a:pt x="802" y="163"/>
                  <a:pt x="802" y="163"/>
                </a:cubicBezTo>
                <a:cubicBezTo>
                  <a:pt x="803" y="163"/>
                  <a:pt x="803" y="163"/>
                  <a:pt x="803" y="163"/>
                </a:cubicBezTo>
                <a:cubicBezTo>
                  <a:pt x="803" y="161"/>
                  <a:pt x="803" y="161"/>
                  <a:pt x="803" y="161"/>
                </a:cubicBezTo>
                <a:cubicBezTo>
                  <a:pt x="804" y="161"/>
                  <a:pt x="804" y="161"/>
                  <a:pt x="804" y="161"/>
                </a:cubicBezTo>
                <a:cubicBezTo>
                  <a:pt x="805" y="161"/>
                  <a:pt x="805" y="161"/>
                  <a:pt x="805" y="161"/>
                </a:cubicBezTo>
                <a:cubicBezTo>
                  <a:pt x="805" y="160"/>
                  <a:pt x="805" y="160"/>
                  <a:pt x="805" y="160"/>
                </a:cubicBezTo>
                <a:cubicBezTo>
                  <a:pt x="806" y="162"/>
                  <a:pt x="806" y="162"/>
                  <a:pt x="806" y="162"/>
                </a:cubicBezTo>
                <a:cubicBezTo>
                  <a:pt x="809" y="164"/>
                  <a:pt x="809" y="164"/>
                  <a:pt x="809" y="164"/>
                </a:cubicBezTo>
                <a:cubicBezTo>
                  <a:pt x="812" y="164"/>
                  <a:pt x="812" y="164"/>
                  <a:pt x="812" y="164"/>
                </a:cubicBezTo>
                <a:cubicBezTo>
                  <a:pt x="813" y="166"/>
                  <a:pt x="813" y="166"/>
                  <a:pt x="813" y="166"/>
                </a:cubicBezTo>
                <a:cubicBezTo>
                  <a:pt x="812" y="167"/>
                  <a:pt x="812" y="167"/>
                  <a:pt x="812" y="167"/>
                </a:cubicBezTo>
                <a:cubicBezTo>
                  <a:pt x="814" y="169"/>
                  <a:pt x="814" y="169"/>
                  <a:pt x="814" y="169"/>
                </a:cubicBezTo>
                <a:cubicBezTo>
                  <a:pt x="815" y="169"/>
                  <a:pt x="815" y="169"/>
                  <a:pt x="815" y="169"/>
                </a:cubicBezTo>
                <a:cubicBezTo>
                  <a:pt x="817" y="172"/>
                  <a:pt x="817" y="172"/>
                  <a:pt x="817" y="172"/>
                </a:cubicBezTo>
                <a:cubicBezTo>
                  <a:pt x="817" y="176"/>
                  <a:pt x="817" y="176"/>
                  <a:pt x="817" y="176"/>
                </a:cubicBezTo>
                <a:cubicBezTo>
                  <a:pt x="816" y="176"/>
                  <a:pt x="816" y="176"/>
                  <a:pt x="816" y="176"/>
                </a:cubicBezTo>
                <a:cubicBezTo>
                  <a:pt x="816" y="177"/>
                  <a:pt x="816" y="177"/>
                  <a:pt x="816" y="177"/>
                </a:cubicBezTo>
                <a:cubicBezTo>
                  <a:pt x="818" y="177"/>
                  <a:pt x="818" y="177"/>
                  <a:pt x="818" y="177"/>
                </a:cubicBezTo>
                <a:cubicBezTo>
                  <a:pt x="818" y="179"/>
                  <a:pt x="818" y="179"/>
                  <a:pt x="818" y="179"/>
                </a:cubicBezTo>
                <a:cubicBezTo>
                  <a:pt x="818" y="179"/>
                  <a:pt x="818" y="179"/>
                  <a:pt x="818" y="179"/>
                </a:cubicBezTo>
                <a:cubicBezTo>
                  <a:pt x="817" y="179"/>
                  <a:pt x="817" y="179"/>
                  <a:pt x="817" y="179"/>
                </a:cubicBezTo>
                <a:cubicBezTo>
                  <a:pt x="812" y="179"/>
                  <a:pt x="812" y="179"/>
                  <a:pt x="812" y="179"/>
                </a:cubicBezTo>
                <a:cubicBezTo>
                  <a:pt x="811" y="178"/>
                  <a:pt x="811" y="178"/>
                  <a:pt x="811" y="178"/>
                </a:cubicBezTo>
                <a:cubicBezTo>
                  <a:pt x="810" y="178"/>
                  <a:pt x="810" y="178"/>
                  <a:pt x="810" y="178"/>
                </a:cubicBezTo>
                <a:cubicBezTo>
                  <a:pt x="809" y="178"/>
                  <a:pt x="809" y="178"/>
                  <a:pt x="809" y="178"/>
                </a:cubicBezTo>
                <a:cubicBezTo>
                  <a:pt x="809" y="177"/>
                  <a:pt x="809" y="177"/>
                  <a:pt x="809" y="177"/>
                </a:cubicBezTo>
                <a:cubicBezTo>
                  <a:pt x="808" y="176"/>
                  <a:pt x="808" y="176"/>
                  <a:pt x="808" y="176"/>
                </a:cubicBezTo>
                <a:cubicBezTo>
                  <a:pt x="808" y="177"/>
                  <a:pt x="808" y="177"/>
                  <a:pt x="808" y="177"/>
                </a:cubicBezTo>
                <a:cubicBezTo>
                  <a:pt x="808" y="178"/>
                  <a:pt x="808" y="178"/>
                  <a:pt x="808" y="178"/>
                </a:cubicBezTo>
                <a:cubicBezTo>
                  <a:pt x="806" y="179"/>
                  <a:pt x="806" y="179"/>
                  <a:pt x="806" y="179"/>
                </a:cubicBezTo>
                <a:cubicBezTo>
                  <a:pt x="805" y="179"/>
                  <a:pt x="805" y="179"/>
                  <a:pt x="805" y="179"/>
                </a:cubicBezTo>
                <a:cubicBezTo>
                  <a:pt x="804" y="180"/>
                  <a:pt x="804" y="180"/>
                  <a:pt x="804" y="180"/>
                </a:cubicBezTo>
                <a:cubicBezTo>
                  <a:pt x="805" y="180"/>
                  <a:pt x="805" y="180"/>
                  <a:pt x="805" y="180"/>
                </a:cubicBezTo>
                <a:cubicBezTo>
                  <a:pt x="803" y="182"/>
                  <a:pt x="803" y="182"/>
                  <a:pt x="803" y="182"/>
                </a:cubicBezTo>
                <a:cubicBezTo>
                  <a:pt x="802" y="182"/>
                  <a:pt x="802" y="182"/>
                  <a:pt x="802" y="182"/>
                </a:cubicBezTo>
                <a:cubicBezTo>
                  <a:pt x="802" y="183"/>
                  <a:pt x="802" y="183"/>
                  <a:pt x="802" y="183"/>
                </a:cubicBezTo>
                <a:cubicBezTo>
                  <a:pt x="802" y="184"/>
                  <a:pt x="802" y="184"/>
                  <a:pt x="802" y="184"/>
                </a:cubicBezTo>
                <a:cubicBezTo>
                  <a:pt x="801" y="186"/>
                  <a:pt x="801" y="186"/>
                  <a:pt x="801" y="186"/>
                </a:cubicBezTo>
                <a:cubicBezTo>
                  <a:pt x="800" y="187"/>
                  <a:pt x="800" y="187"/>
                  <a:pt x="800" y="187"/>
                </a:cubicBezTo>
                <a:cubicBezTo>
                  <a:pt x="800" y="186"/>
                  <a:pt x="800" y="186"/>
                  <a:pt x="800" y="186"/>
                </a:cubicBezTo>
                <a:cubicBezTo>
                  <a:pt x="799" y="186"/>
                  <a:pt x="799" y="186"/>
                  <a:pt x="799" y="186"/>
                </a:cubicBezTo>
                <a:cubicBezTo>
                  <a:pt x="799" y="188"/>
                  <a:pt x="799" y="188"/>
                  <a:pt x="799" y="188"/>
                </a:cubicBezTo>
                <a:cubicBezTo>
                  <a:pt x="799" y="190"/>
                  <a:pt x="799" y="190"/>
                  <a:pt x="799" y="190"/>
                </a:cubicBezTo>
                <a:cubicBezTo>
                  <a:pt x="798" y="191"/>
                  <a:pt x="798" y="191"/>
                  <a:pt x="798" y="191"/>
                </a:cubicBezTo>
                <a:cubicBezTo>
                  <a:pt x="797" y="190"/>
                  <a:pt x="797" y="190"/>
                  <a:pt x="797" y="190"/>
                </a:cubicBezTo>
                <a:cubicBezTo>
                  <a:pt x="797" y="192"/>
                  <a:pt x="797" y="192"/>
                  <a:pt x="797" y="192"/>
                </a:cubicBezTo>
                <a:cubicBezTo>
                  <a:pt x="798" y="193"/>
                  <a:pt x="798" y="193"/>
                  <a:pt x="798" y="193"/>
                </a:cubicBezTo>
                <a:cubicBezTo>
                  <a:pt x="796" y="194"/>
                  <a:pt x="796" y="194"/>
                  <a:pt x="796" y="194"/>
                </a:cubicBezTo>
                <a:cubicBezTo>
                  <a:pt x="795" y="194"/>
                  <a:pt x="795" y="194"/>
                  <a:pt x="795" y="194"/>
                </a:cubicBezTo>
                <a:cubicBezTo>
                  <a:pt x="796" y="195"/>
                  <a:pt x="796" y="195"/>
                  <a:pt x="796" y="195"/>
                </a:cubicBezTo>
                <a:cubicBezTo>
                  <a:pt x="796" y="196"/>
                  <a:pt x="796" y="196"/>
                  <a:pt x="796" y="196"/>
                </a:cubicBezTo>
                <a:cubicBezTo>
                  <a:pt x="795" y="197"/>
                  <a:pt x="795" y="197"/>
                  <a:pt x="795" y="197"/>
                </a:cubicBezTo>
                <a:cubicBezTo>
                  <a:pt x="794" y="196"/>
                  <a:pt x="794" y="196"/>
                  <a:pt x="794" y="196"/>
                </a:cubicBezTo>
                <a:cubicBezTo>
                  <a:pt x="793" y="197"/>
                  <a:pt x="793" y="197"/>
                  <a:pt x="793" y="197"/>
                </a:cubicBezTo>
                <a:cubicBezTo>
                  <a:pt x="794" y="198"/>
                  <a:pt x="794" y="198"/>
                  <a:pt x="794" y="198"/>
                </a:cubicBezTo>
                <a:cubicBezTo>
                  <a:pt x="794" y="199"/>
                  <a:pt x="794" y="199"/>
                  <a:pt x="794" y="199"/>
                </a:cubicBezTo>
                <a:cubicBezTo>
                  <a:pt x="793" y="200"/>
                  <a:pt x="793" y="200"/>
                  <a:pt x="793" y="200"/>
                </a:cubicBezTo>
                <a:cubicBezTo>
                  <a:pt x="794" y="201"/>
                  <a:pt x="794" y="201"/>
                  <a:pt x="794" y="201"/>
                </a:cubicBezTo>
                <a:cubicBezTo>
                  <a:pt x="793" y="202"/>
                  <a:pt x="793" y="202"/>
                  <a:pt x="793" y="202"/>
                </a:cubicBezTo>
                <a:cubicBezTo>
                  <a:pt x="792" y="202"/>
                  <a:pt x="792" y="202"/>
                  <a:pt x="792" y="202"/>
                </a:cubicBezTo>
                <a:cubicBezTo>
                  <a:pt x="792" y="201"/>
                  <a:pt x="792" y="201"/>
                  <a:pt x="792" y="201"/>
                </a:cubicBezTo>
                <a:cubicBezTo>
                  <a:pt x="791" y="201"/>
                  <a:pt x="791" y="201"/>
                  <a:pt x="791" y="201"/>
                </a:cubicBezTo>
                <a:cubicBezTo>
                  <a:pt x="792" y="202"/>
                  <a:pt x="792" y="202"/>
                  <a:pt x="792" y="202"/>
                </a:cubicBezTo>
                <a:cubicBezTo>
                  <a:pt x="794" y="203"/>
                  <a:pt x="794" y="203"/>
                  <a:pt x="794" y="203"/>
                </a:cubicBezTo>
                <a:cubicBezTo>
                  <a:pt x="793" y="205"/>
                  <a:pt x="793" y="205"/>
                  <a:pt x="793" y="205"/>
                </a:cubicBezTo>
                <a:cubicBezTo>
                  <a:pt x="791" y="205"/>
                  <a:pt x="791" y="205"/>
                  <a:pt x="791" y="205"/>
                </a:cubicBezTo>
                <a:cubicBezTo>
                  <a:pt x="791" y="205"/>
                  <a:pt x="791" y="205"/>
                  <a:pt x="791" y="205"/>
                </a:cubicBezTo>
                <a:cubicBezTo>
                  <a:pt x="792" y="206"/>
                  <a:pt x="792" y="206"/>
                  <a:pt x="792" y="206"/>
                </a:cubicBezTo>
                <a:cubicBezTo>
                  <a:pt x="793" y="208"/>
                  <a:pt x="793" y="208"/>
                  <a:pt x="793" y="208"/>
                </a:cubicBezTo>
                <a:cubicBezTo>
                  <a:pt x="792" y="209"/>
                  <a:pt x="792" y="209"/>
                  <a:pt x="792" y="209"/>
                </a:cubicBezTo>
                <a:cubicBezTo>
                  <a:pt x="793" y="209"/>
                  <a:pt x="793" y="209"/>
                  <a:pt x="793" y="209"/>
                </a:cubicBezTo>
                <a:cubicBezTo>
                  <a:pt x="791" y="211"/>
                  <a:pt x="791" y="211"/>
                  <a:pt x="791" y="211"/>
                </a:cubicBezTo>
                <a:cubicBezTo>
                  <a:pt x="792" y="212"/>
                  <a:pt x="792" y="212"/>
                  <a:pt x="792" y="212"/>
                </a:cubicBezTo>
                <a:cubicBezTo>
                  <a:pt x="791" y="215"/>
                  <a:pt x="791" y="215"/>
                  <a:pt x="791" y="215"/>
                </a:cubicBezTo>
                <a:cubicBezTo>
                  <a:pt x="790" y="217"/>
                  <a:pt x="790" y="217"/>
                  <a:pt x="790" y="217"/>
                </a:cubicBezTo>
                <a:cubicBezTo>
                  <a:pt x="790" y="219"/>
                  <a:pt x="790" y="219"/>
                  <a:pt x="790" y="219"/>
                </a:cubicBezTo>
                <a:cubicBezTo>
                  <a:pt x="789" y="220"/>
                  <a:pt x="789" y="220"/>
                  <a:pt x="789" y="220"/>
                </a:cubicBezTo>
                <a:cubicBezTo>
                  <a:pt x="790" y="220"/>
                  <a:pt x="790" y="220"/>
                  <a:pt x="790" y="220"/>
                </a:cubicBezTo>
                <a:cubicBezTo>
                  <a:pt x="791" y="221"/>
                  <a:pt x="791" y="221"/>
                  <a:pt x="791" y="221"/>
                </a:cubicBezTo>
                <a:cubicBezTo>
                  <a:pt x="790" y="221"/>
                  <a:pt x="790" y="221"/>
                  <a:pt x="790" y="221"/>
                </a:cubicBezTo>
                <a:cubicBezTo>
                  <a:pt x="792" y="224"/>
                  <a:pt x="792" y="224"/>
                  <a:pt x="792" y="224"/>
                </a:cubicBezTo>
                <a:cubicBezTo>
                  <a:pt x="792" y="225"/>
                  <a:pt x="792" y="225"/>
                  <a:pt x="792" y="225"/>
                </a:cubicBezTo>
                <a:cubicBezTo>
                  <a:pt x="791" y="225"/>
                  <a:pt x="791" y="225"/>
                  <a:pt x="791" y="225"/>
                </a:cubicBezTo>
                <a:cubicBezTo>
                  <a:pt x="790" y="225"/>
                  <a:pt x="790" y="225"/>
                  <a:pt x="790" y="225"/>
                </a:cubicBezTo>
                <a:cubicBezTo>
                  <a:pt x="788" y="224"/>
                  <a:pt x="788" y="224"/>
                  <a:pt x="788" y="224"/>
                </a:cubicBezTo>
                <a:cubicBezTo>
                  <a:pt x="788" y="224"/>
                  <a:pt x="788" y="224"/>
                  <a:pt x="788" y="224"/>
                </a:cubicBezTo>
                <a:cubicBezTo>
                  <a:pt x="786" y="222"/>
                  <a:pt x="786" y="222"/>
                  <a:pt x="786" y="222"/>
                </a:cubicBezTo>
                <a:cubicBezTo>
                  <a:pt x="787" y="222"/>
                  <a:pt x="787" y="222"/>
                  <a:pt x="787" y="222"/>
                </a:cubicBezTo>
                <a:cubicBezTo>
                  <a:pt x="786" y="222"/>
                  <a:pt x="786" y="222"/>
                  <a:pt x="786" y="222"/>
                </a:cubicBezTo>
                <a:cubicBezTo>
                  <a:pt x="785" y="222"/>
                  <a:pt x="785" y="222"/>
                  <a:pt x="785" y="222"/>
                </a:cubicBezTo>
                <a:cubicBezTo>
                  <a:pt x="784" y="222"/>
                  <a:pt x="784" y="222"/>
                  <a:pt x="784" y="222"/>
                </a:cubicBezTo>
                <a:cubicBezTo>
                  <a:pt x="784" y="221"/>
                  <a:pt x="784" y="221"/>
                  <a:pt x="784" y="221"/>
                </a:cubicBezTo>
                <a:cubicBezTo>
                  <a:pt x="780" y="219"/>
                  <a:pt x="780" y="219"/>
                  <a:pt x="780" y="219"/>
                </a:cubicBezTo>
                <a:cubicBezTo>
                  <a:pt x="779" y="218"/>
                  <a:pt x="779" y="218"/>
                  <a:pt x="779" y="218"/>
                </a:cubicBezTo>
                <a:cubicBezTo>
                  <a:pt x="777" y="220"/>
                  <a:pt x="777" y="220"/>
                  <a:pt x="777" y="220"/>
                </a:cubicBezTo>
                <a:cubicBezTo>
                  <a:pt x="776" y="219"/>
                  <a:pt x="776" y="219"/>
                  <a:pt x="776" y="219"/>
                </a:cubicBezTo>
                <a:cubicBezTo>
                  <a:pt x="775" y="219"/>
                  <a:pt x="775" y="219"/>
                  <a:pt x="775" y="219"/>
                </a:cubicBezTo>
                <a:cubicBezTo>
                  <a:pt x="773" y="221"/>
                  <a:pt x="773" y="221"/>
                  <a:pt x="773" y="221"/>
                </a:cubicBezTo>
                <a:cubicBezTo>
                  <a:pt x="772" y="221"/>
                  <a:pt x="772" y="221"/>
                  <a:pt x="772" y="221"/>
                </a:cubicBezTo>
                <a:cubicBezTo>
                  <a:pt x="771" y="224"/>
                  <a:pt x="771" y="224"/>
                  <a:pt x="771" y="224"/>
                </a:cubicBezTo>
                <a:cubicBezTo>
                  <a:pt x="770" y="224"/>
                  <a:pt x="770" y="224"/>
                  <a:pt x="770" y="224"/>
                </a:cubicBezTo>
                <a:cubicBezTo>
                  <a:pt x="769" y="224"/>
                  <a:pt x="769" y="224"/>
                  <a:pt x="769" y="224"/>
                </a:cubicBezTo>
                <a:cubicBezTo>
                  <a:pt x="770" y="225"/>
                  <a:pt x="770" y="225"/>
                  <a:pt x="770" y="225"/>
                </a:cubicBezTo>
                <a:cubicBezTo>
                  <a:pt x="769" y="226"/>
                  <a:pt x="769" y="226"/>
                  <a:pt x="769" y="226"/>
                </a:cubicBezTo>
                <a:cubicBezTo>
                  <a:pt x="770" y="228"/>
                  <a:pt x="770" y="228"/>
                  <a:pt x="770" y="228"/>
                </a:cubicBezTo>
                <a:cubicBezTo>
                  <a:pt x="769" y="229"/>
                  <a:pt x="769" y="229"/>
                  <a:pt x="769" y="229"/>
                </a:cubicBezTo>
                <a:cubicBezTo>
                  <a:pt x="769" y="232"/>
                  <a:pt x="769" y="232"/>
                  <a:pt x="769" y="232"/>
                </a:cubicBezTo>
                <a:cubicBezTo>
                  <a:pt x="768" y="233"/>
                  <a:pt x="768" y="233"/>
                  <a:pt x="768" y="233"/>
                </a:cubicBezTo>
                <a:cubicBezTo>
                  <a:pt x="767" y="232"/>
                  <a:pt x="767" y="232"/>
                  <a:pt x="767" y="232"/>
                </a:cubicBezTo>
                <a:cubicBezTo>
                  <a:pt x="766" y="228"/>
                  <a:pt x="766" y="228"/>
                  <a:pt x="766" y="228"/>
                </a:cubicBezTo>
                <a:cubicBezTo>
                  <a:pt x="766" y="226"/>
                  <a:pt x="766" y="226"/>
                  <a:pt x="766" y="226"/>
                </a:cubicBezTo>
                <a:cubicBezTo>
                  <a:pt x="765" y="226"/>
                  <a:pt x="765" y="226"/>
                  <a:pt x="765" y="226"/>
                </a:cubicBezTo>
                <a:cubicBezTo>
                  <a:pt x="764" y="225"/>
                  <a:pt x="764" y="225"/>
                  <a:pt x="764" y="225"/>
                </a:cubicBezTo>
                <a:cubicBezTo>
                  <a:pt x="764" y="226"/>
                  <a:pt x="764" y="226"/>
                  <a:pt x="764" y="226"/>
                </a:cubicBezTo>
                <a:cubicBezTo>
                  <a:pt x="762" y="229"/>
                  <a:pt x="762" y="229"/>
                  <a:pt x="762" y="229"/>
                </a:cubicBezTo>
                <a:cubicBezTo>
                  <a:pt x="761" y="229"/>
                  <a:pt x="761" y="229"/>
                  <a:pt x="761" y="229"/>
                </a:cubicBezTo>
                <a:cubicBezTo>
                  <a:pt x="761" y="231"/>
                  <a:pt x="761" y="231"/>
                  <a:pt x="761" y="231"/>
                </a:cubicBezTo>
                <a:cubicBezTo>
                  <a:pt x="762" y="231"/>
                  <a:pt x="762" y="231"/>
                  <a:pt x="762" y="231"/>
                </a:cubicBezTo>
                <a:cubicBezTo>
                  <a:pt x="761" y="234"/>
                  <a:pt x="761" y="234"/>
                  <a:pt x="761" y="234"/>
                </a:cubicBezTo>
                <a:cubicBezTo>
                  <a:pt x="760" y="232"/>
                  <a:pt x="760" y="232"/>
                  <a:pt x="760" y="232"/>
                </a:cubicBezTo>
                <a:cubicBezTo>
                  <a:pt x="759" y="232"/>
                  <a:pt x="759" y="232"/>
                  <a:pt x="759" y="232"/>
                </a:cubicBezTo>
                <a:cubicBezTo>
                  <a:pt x="759" y="232"/>
                  <a:pt x="759" y="232"/>
                  <a:pt x="759" y="232"/>
                </a:cubicBezTo>
                <a:cubicBezTo>
                  <a:pt x="758" y="232"/>
                  <a:pt x="758" y="232"/>
                  <a:pt x="758" y="232"/>
                </a:cubicBezTo>
                <a:cubicBezTo>
                  <a:pt x="757" y="233"/>
                  <a:pt x="757" y="233"/>
                  <a:pt x="757" y="233"/>
                </a:cubicBezTo>
                <a:cubicBezTo>
                  <a:pt x="757" y="234"/>
                  <a:pt x="757" y="234"/>
                  <a:pt x="757" y="234"/>
                </a:cubicBezTo>
                <a:cubicBezTo>
                  <a:pt x="755" y="233"/>
                  <a:pt x="755" y="233"/>
                  <a:pt x="755" y="233"/>
                </a:cubicBezTo>
                <a:cubicBezTo>
                  <a:pt x="754" y="233"/>
                  <a:pt x="754" y="233"/>
                  <a:pt x="754" y="233"/>
                </a:cubicBezTo>
                <a:cubicBezTo>
                  <a:pt x="754" y="234"/>
                  <a:pt x="754" y="234"/>
                  <a:pt x="754" y="234"/>
                </a:cubicBezTo>
                <a:cubicBezTo>
                  <a:pt x="755" y="235"/>
                  <a:pt x="755" y="235"/>
                  <a:pt x="755" y="235"/>
                </a:cubicBezTo>
                <a:cubicBezTo>
                  <a:pt x="754" y="235"/>
                  <a:pt x="754" y="235"/>
                  <a:pt x="754" y="235"/>
                </a:cubicBezTo>
                <a:cubicBezTo>
                  <a:pt x="754" y="237"/>
                  <a:pt x="754" y="237"/>
                  <a:pt x="754" y="237"/>
                </a:cubicBezTo>
                <a:cubicBezTo>
                  <a:pt x="754" y="238"/>
                  <a:pt x="754" y="238"/>
                  <a:pt x="754" y="238"/>
                </a:cubicBezTo>
                <a:cubicBezTo>
                  <a:pt x="755" y="239"/>
                  <a:pt x="755" y="239"/>
                  <a:pt x="755" y="239"/>
                </a:cubicBezTo>
                <a:cubicBezTo>
                  <a:pt x="755" y="240"/>
                  <a:pt x="755" y="240"/>
                  <a:pt x="755" y="240"/>
                </a:cubicBezTo>
                <a:cubicBezTo>
                  <a:pt x="755" y="241"/>
                  <a:pt x="755" y="241"/>
                  <a:pt x="755" y="241"/>
                </a:cubicBezTo>
                <a:cubicBezTo>
                  <a:pt x="755" y="242"/>
                  <a:pt x="755" y="242"/>
                  <a:pt x="755" y="242"/>
                </a:cubicBezTo>
                <a:cubicBezTo>
                  <a:pt x="756" y="242"/>
                  <a:pt x="756" y="242"/>
                  <a:pt x="756" y="242"/>
                </a:cubicBezTo>
                <a:cubicBezTo>
                  <a:pt x="757" y="243"/>
                  <a:pt x="757" y="243"/>
                  <a:pt x="757" y="243"/>
                </a:cubicBezTo>
                <a:cubicBezTo>
                  <a:pt x="757" y="244"/>
                  <a:pt x="757" y="244"/>
                  <a:pt x="757" y="244"/>
                </a:cubicBezTo>
                <a:cubicBezTo>
                  <a:pt x="757" y="244"/>
                  <a:pt x="757" y="244"/>
                  <a:pt x="757" y="244"/>
                </a:cubicBezTo>
                <a:cubicBezTo>
                  <a:pt x="757" y="245"/>
                  <a:pt x="757" y="245"/>
                  <a:pt x="757" y="245"/>
                </a:cubicBezTo>
                <a:cubicBezTo>
                  <a:pt x="758" y="245"/>
                  <a:pt x="758" y="245"/>
                  <a:pt x="758" y="245"/>
                </a:cubicBezTo>
                <a:cubicBezTo>
                  <a:pt x="758" y="246"/>
                  <a:pt x="758" y="246"/>
                  <a:pt x="758" y="246"/>
                </a:cubicBezTo>
                <a:cubicBezTo>
                  <a:pt x="758" y="247"/>
                  <a:pt x="758" y="247"/>
                  <a:pt x="758" y="247"/>
                </a:cubicBezTo>
                <a:cubicBezTo>
                  <a:pt x="757" y="246"/>
                  <a:pt x="757" y="246"/>
                  <a:pt x="757" y="246"/>
                </a:cubicBezTo>
                <a:cubicBezTo>
                  <a:pt x="756" y="246"/>
                  <a:pt x="756" y="246"/>
                  <a:pt x="756" y="246"/>
                </a:cubicBezTo>
                <a:cubicBezTo>
                  <a:pt x="756" y="247"/>
                  <a:pt x="756" y="247"/>
                  <a:pt x="756" y="247"/>
                </a:cubicBezTo>
                <a:cubicBezTo>
                  <a:pt x="757" y="248"/>
                  <a:pt x="757" y="248"/>
                  <a:pt x="757" y="248"/>
                </a:cubicBezTo>
                <a:cubicBezTo>
                  <a:pt x="758" y="248"/>
                  <a:pt x="758" y="248"/>
                  <a:pt x="758" y="248"/>
                </a:cubicBezTo>
                <a:cubicBezTo>
                  <a:pt x="758" y="249"/>
                  <a:pt x="758" y="249"/>
                  <a:pt x="758" y="249"/>
                </a:cubicBezTo>
                <a:cubicBezTo>
                  <a:pt x="758" y="250"/>
                  <a:pt x="758" y="250"/>
                  <a:pt x="758" y="250"/>
                </a:cubicBezTo>
                <a:cubicBezTo>
                  <a:pt x="758" y="252"/>
                  <a:pt x="758" y="252"/>
                  <a:pt x="758" y="252"/>
                </a:cubicBezTo>
                <a:cubicBezTo>
                  <a:pt x="757" y="253"/>
                  <a:pt x="757" y="253"/>
                  <a:pt x="757" y="253"/>
                </a:cubicBezTo>
                <a:cubicBezTo>
                  <a:pt x="758" y="255"/>
                  <a:pt x="758" y="255"/>
                  <a:pt x="758" y="255"/>
                </a:cubicBezTo>
                <a:cubicBezTo>
                  <a:pt x="757" y="255"/>
                  <a:pt x="757" y="255"/>
                  <a:pt x="757" y="255"/>
                </a:cubicBezTo>
                <a:cubicBezTo>
                  <a:pt x="758" y="257"/>
                  <a:pt x="758" y="257"/>
                  <a:pt x="758" y="257"/>
                </a:cubicBezTo>
                <a:cubicBezTo>
                  <a:pt x="758" y="257"/>
                  <a:pt x="758" y="257"/>
                  <a:pt x="758" y="257"/>
                </a:cubicBezTo>
                <a:cubicBezTo>
                  <a:pt x="758" y="259"/>
                  <a:pt x="758" y="259"/>
                  <a:pt x="758" y="259"/>
                </a:cubicBezTo>
                <a:cubicBezTo>
                  <a:pt x="759" y="261"/>
                  <a:pt x="759" y="261"/>
                  <a:pt x="759" y="261"/>
                </a:cubicBezTo>
                <a:cubicBezTo>
                  <a:pt x="758" y="262"/>
                  <a:pt x="758" y="262"/>
                  <a:pt x="758" y="262"/>
                </a:cubicBezTo>
                <a:cubicBezTo>
                  <a:pt x="759" y="262"/>
                  <a:pt x="759" y="262"/>
                  <a:pt x="759" y="262"/>
                </a:cubicBezTo>
                <a:cubicBezTo>
                  <a:pt x="761" y="263"/>
                  <a:pt x="761" y="263"/>
                  <a:pt x="761" y="263"/>
                </a:cubicBezTo>
                <a:cubicBezTo>
                  <a:pt x="762" y="266"/>
                  <a:pt x="762" y="266"/>
                  <a:pt x="762" y="266"/>
                </a:cubicBezTo>
                <a:cubicBezTo>
                  <a:pt x="764" y="266"/>
                  <a:pt x="764" y="266"/>
                  <a:pt x="764" y="266"/>
                </a:cubicBezTo>
                <a:cubicBezTo>
                  <a:pt x="764" y="266"/>
                  <a:pt x="764" y="266"/>
                  <a:pt x="764" y="266"/>
                </a:cubicBezTo>
                <a:cubicBezTo>
                  <a:pt x="764" y="265"/>
                  <a:pt x="764" y="265"/>
                  <a:pt x="764" y="265"/>
                </a:cubicBezTo>
                <a:cubicBezTo>
                  <a:pt x="763" y="263"/>
                  <a:pt x="763" y="263"/>
                  <a:pt x="763" y="263"/>
                </a:cubicBezTo>
                <a:cubicBezTo>
                  <a:pt x="763" y="262"/>
                  <a:pt x="763" y="262"/>
                  <a:pt x="763" y="262"/>
                </a:cubicBezTo>
                <a:cubicBezTo>
                  <a:pt x="764" y="261"/>
                  <a:pt x="764" y="261"/>
                  <a:pt x="764" y="261"/>
                </a:cubicBezTo>
                <a:cubicBezTo>
                  <a:pt x="765" y="262"/>
                  <a:pt x="765" y="262"/>
                  <a:pt x="765" y="262"/>
                </a:cubicBezTo>
                <a:cubicBezTo>
                  <a:pt x="767" y="263"/>
                  <a:pt x="767" y="263"/>
                  <a:pt x="767" y="263"/>
                </a:cubicBezTo>
                <a:cubicBezTo>
                  <a:pt x="768" y="263"/>
                  <a:pt x="768" y="263"/>
                  <a:pt x="768" y="263"/>
                </a:cubicBezTo>
                <a:cubicBezTo>
                  <a:pt x="769" y="263"/>
                  <a:pt x="769" y="263"/>
                  <a:pt x="769" y="263"/>
                </a:cubicBezTo>
                <a:cubicBezTo>
                  <a:pt x="769" y="264"/>
                  <a:pt x="769" y="264"/>
                  <a:pt x="769" y="264"/>
                </a:cubicBezTo>
                <a:cubicBezTo>
                  <a:pt x="769" y="265"/>
                  <a:pt x="769" y="265"/>
                  <a:pt x="769" y="265"/>
                </a:cubicBezTo>
                <a:cubicBezTo>
                  <a:pt x="770" y="266"/>
                  <a:pt x="770" y="266"/>
                  <a:pt x="770" y="266"/>
                </a:cubicBezTo>
                <a:cubicBezTo>
                  <a:pt x="769" y="267"/>
                  <a:pt x="769" y="267"/>
                  <a:pt x="769" y="267"/>
                </a:cubicBezTo>
                <a:cubicBezTo>
                  <a:pt x="769" y="268"/>
                  <a:pt x="769" y="268"/>
                  <a:pt x="769" y="268"/>
                </a:cubicBezTo>
                <a:cubicBezTo>
                  <a:pt x="769" y="269"/>
                  <a:pt x="769" y="269"/>
                  <a:pt x="769" y="269"/>
                </a:cubicBezTo>
                <a:cubicBezTo>
                  <a:pt x="768" y="270"/>
                  <a:pt x="768" y="270"/>
                  <a:pt x="768" y="270"/>
                </a:cubicBezTo>
                <a:cubicBezTo>
                  <a:pt x="769" y="272"/>
                  <a:pt x="769" y="272"/>
                  <a:pt x="769" y="272"/>
                </a:cubicBezTo>
                <a:cubicBezTo>
                  <a:pt x="770" y="274"/>
                  <a:pt x="770" y="274"/>
                  <a:pt x="770" y="274"/>
                </a:cubicBezTo>
                <a:cubicBezTo>
                  <a:pt x="770" y="276"/>
                  <a:pt x="770" y="276"/>
                  <a:pt x="770" y="276"/>
                </a:cubicBezTo>
                <a:cubicBezTo>
                  <a:pt x="771" y="277"/>
                  <a:pt x="771" y="277"/>
                  <a:pt x="771" y="277"/>
                </a:cubicBezTo>
                <a:cubicBezTo>
                  <a:pt x="772" y="276"/>
                  <a:pt x="772" y="276"/>
                  <a:pt x="772" y="276"/>
                </a:cubicBezTo>
                <a:cubicBezTo>
                  <a:pt x="772" y="276"/>
                  <a:pt x="772" y="276"/>
                  <a:pt x="772" y="276"/>
                </a:cubicBezTo>
                <a:cubicBezTo>
                  <a:pt x="773" y="275"/>
                  <a:pt x="773" y="275"/>
                  <a:pt x="773" y="275"/>
                </a:cubicBezTo>
                <a:cubicBezTo>
                  <a:pt x="773" y="274"/>
                  <a:pt x="773" y="274"/>
                  <a:pt x="773" y="274"/>
                </a:cubicBezTo>
                <a:cubicBezTo>
                  <a:pt x="773" y="275"/>
                  <a:pt x="773" y="275"/>
                  <a:pt x="773" y="275"/>
                </a:cubicBezTo>
                <a:cubicBezTo>
                  <a:pt x="775" y="275"/>
                  <a:pt x="775" y="275"/>
                  <a:pt x="775" y="275"/>
                </a:cubicBezTo>
                <a:cubicBezTo>
                  <a:pt x="775" y="278"/>
                  <a:pt x="775" y="278"/>
                  <a:pt x="775" y="278"/>
                </a:cubicBezTo>
                <a:cubicBezTo>
                  <a:pt x="778" y="281"/>
                  <a:pt x="778" y="281"/>
                  <a:pt x="778" y="281"/>
                </a:cubicBezTo>
                <a:cubicBezTo>
                  <a:pt x="779" y="283"/>
                  <a:pt x="779" y="283"/>
                  <a:pt x="779" y="283"/>
                </a:cubicBezTo>
                <a:cubicBezTo>
                  <a:pt x="778" y="283"/>
                  <a:pt x="778" y="283"/>
                  <a:pt x="778" y="283"/>
                </a:cubicBezTo>
                <a:cubicBezTo>
                  <a:pt x="778" y="285"/>
                  <a:pt x="778" y="285"/>
                  <a:pt x="778" y="285"/>
                </a:cubicBezTo>
                <a:cubicBezTo>
                  <a:pt x="777" y="286"/>
                  <a:pt x="777" y="286"/>
                  <a:pt x="777" y="286"/>
                </a:cubicBezTo>
                <a:cubicBezTo>
                  <a:pt x="775" y="284"/>
                  <a:pt x="775" y="284"/>
                  <a:pt x="775" y="284"/>
                </a:cubicBezTo>
                <a:cubicBezTo>
                  <a:pt x="774" y="284"/>
                  <a:pt x="774" y="284"/>
                  <a:pt x="774" y="284"/>
                </a:cubicBezTo>
                <a:cubicBezTo>
                  <a:pt x="773" y="282"/>
                  <a:pt x="773" y="282"/>
                  <a:pt x="773" y="282"/>
                </a:cubicBezTo>
                <a:cubicBezTo>
                  <a:pt x="774" y="281"/>
                  <a:pt x="774" y="281"/>
                  <a:pt x="774" y="281"/>
                </a:cubicBezTo>
                <a:cubicBezTo>
                  <a:pt x="774" y="279"/>
                  <a:pt x="774" y="279"/>
                  <a:pt x="774" y="279"/>
                </a:cubicBezTo>
                <a:cubicBezTo>
                  <a:pt x="774" y="278"/>
                  <a:pt x="774" y="278"/>
                  <a:pt x="774" y="278"/>
                </a:cubicBezTo>
                <a:cubicBezTo>
                  <a:pt x="773" y="279"/>
                  <a:pt x="773" y="279"/>
                  <a:pt x="773" y="279"/>
                </a:cubicBezTo>
                <a:cubicBezTo>
                  <a:pt x="773" y="279"/>
                  <a:pt x="773" y="279"/>
                  <a:pt x="773" y="279"/>
                </a:cubicBezTo>
                <a:cubicBezTo>
                  <a:pt x="773" y="280"/>
                  <a:pt x="773" y="280"/>
                  <a:pt x="773" y="280"/>
                </a:cubicBezTo>
                <a:cubicBezTo>
                  <a:pt x="772" y="280"/>
                  <a:pt x="772" y="280"/>
                  <a:pt x="772" y="280"/>
                </a:cubicBezTo>
                <a:cubicBezTo>
                  <a:pt x="771" y="282"/>
                  <a:pt x="771" y="282"/>
                  <a:pt x="771" y="282"/>
                </a:cubicBezTo>
                <a:cubicBezTo>
                  <a:pt x="771" y="283"/>
                  <a:pt x="771" y="283"/>
                  <a:pt x="771" y="283"/>
                </a:cubicBezTo>
                <a:cubicBezTo>
                  <a:pt x="773" y="282"/>
                  <a:pt x="773" y="282"/>
                  <a:pt x="773" y="282"/>
                </a:cubicBezTo>
                <a:cubicBezTo>
                  <a:pt x="773" y="284"/>
                  <a:pt x="773" y="284"/>
                  <a:pt x="773" y="284"/>
                </a:cubicBezTo>
                <a:cubicBezTo>
                  <a:pt x="772" y="285"/>
                  <a:pt x="772" y="285"/>
                  <a:pt x="772" y="285"/>
                </a:cubicBezTo>
                <a:cubicBezTo>
                  <a:pt x="772" y="287"/>
                  <a:pt x="772" y="287"/>
                  <a:pt x="772" y="287"/>
                </a:cubicBezTo>
                <a:cubicBezTo>
                  <a:pt x="772" y="288"/>
                  <a:pt x="772" y="288"/>
                  <a:pt x="772" y="288"/>
                </a:cubicBezTo>
                <a:cubicBezTo>
                  <a:pt x="772" y="292"/>
                  <a:pt x="772" y="292"/>
                  <a:pt x="772" y="292"/>
                </a:cubicBezTo>
                <a:cubicBezTo>
                  <a:pt x="773" y="293"/>
                  <a:pt x="773" y="293"/>
                  <a:pt x="773" y="293"/>
                </a:cubicBezTo>
                <a:cubicBezTo>
                  <a:pt x="773" y="294"/>
                  <a:pt x="773" y="294"/>
                  <a:pt x="773" y="294"/>
                </a:cubicBezTo>
                <a:cubicBezTo>
                  <a:pt x="776" y="299"/>
                  <a:pt x="776" y="299"/>
                  <a:pt x="776" y="299"/>
                </a:cubicBezTo>
                <a:cubicBezTo>
                  <a:pt x="777" y="299"/>
                  <a:pt x="777" y="299"/>
                  <a:pt x="777" y="299"/>
                </a:cubicBezTo>
                <a:cubicBezTo>
                  <a:pt x="779" y="302"/>
                  <a:pt x="779" y="302"/>
                  <a:pt x="779" y="302"/>
                </a:cubicBezTo>
                <a:cubicBezTo>
                  <a:pt x="781" y="303"/>
                  <a:pt x="781" y="303"/>
                  <a:pt x="781" y="303"/>
                </a:cubicBezTo>
                <a:cubicBezTo>
                  <a:pt x="780" y="304"/>
                  <a:pt x="780" y="304"/>
                  <a:pt x="780" y="304"/>
                </a:cubicBezTo>
                <a:cubicBezTo>
                  <a:pt x="780" y="305"/>
                  <a:pt x="780" y="305"/>
                  <a:pt x="780" y="305"/>
                </a:cubicBezTo>
                <a:cubicBezTo>
                  <a:pt x="776" y="307"/>
                  <a:pt x="776" y="307"/>
                  <a:pt x="776" y="307"/>
                </a:cubicBezTo>
                <a:cubicBezTo>
                  <a:pt x="776" y="306"/>
                  <a:pt x="776" y="306"/>
                  <a:pt x="776" y="306"/>
                </a:cubicBezTo>
                <a:cubicBezTo>
                  <a:pt x="774" y="307"/>
                  <a:pt x="774" y="307"/>
                  <a:pt x="774" y="307"/>
                </a:cubicBezTo>
                <a:cubicBezTo>
                  <a:pt x="773" y="307"/>
                  <a:pt x="773" y="307"/>
                  <a:pt x="773" y="307"/>
                </a:cubicBezTo>
                <a:cubicBezTo>
                  <a:pt x="774" y="308"/>
                  <a:pt x="774" y="308"/>
                  <a:pt x="774" y="308"/>
                </a:cubicBezTo>
                <a:cubicBezTo>
                  <a:pt x="772" y="310"/>
                  <a:pt x="772" y="310"/>
                  <a:pt x="772" y="310"/>
                </a:cubicBezTo>
                <a:cubicBezTo>
                  <a:pt x="772" y="312"/>
                  <a:pt x="772" y="312"/>
                  <a:pt x="772" y="312"/>
                </a:cubicBezTo>
                <a:cubicBezTo>
                  <a:pt x="771" y="312"/>
                  <a:pt x="771" y="312"/>
                  <a:pt x="771" y="312"/>
                </a:cubicBezTo>
                <a:cubicBezTo>
                  <a:pt x="772" y="314"/>
                  <a:pt x="772" y="314"/>
                  <a:pt x="772" y="314"/>
                </a:cubicBezTo>
                <a:cubicBezTo>
                  <a:pt x="772" y="317"/>
                  <a:pt x="772" y="317"/>
                  <a:pt x="772" y="317"/>
                </a:cubicBezTo>
                <a:cubicBezTo>
                  <a:pt x="773" y="320"/>
                  <a:pt x="773" y="320"/>
                  <a:pt x="773" y="320"/>
                </a:cubicBezTo>
                <a:cubicBezTo>
                  <a:pt x="775" y="321"/>
                  <a:pt x="775" y="321"/>
                  <a:pt x="775" y="321"/>
                </a:cubicBezTo>
                <a:cubicBezTo>
                  <a:pt x="775" y="323"/>
                  <a:pt x="775" y="323"/>
                  <a:pt x="775" y="323"/>
                </a:cubicBezTo>
                <a:cubicBezTo>
                  <a:pt x="776" y="324"/>
                  <a:pt x="776" y="324"/>
                  <a:pt x="776" y="324"/>
                </a:cubicBezTo>
                <a:cubicBezTo>
                  <a:pt x="777" y="325"/>
                  <a:pt x="777" y="325"/>
                  <a:pt x="777" y="325"/>
                </a:cubicBezTo>
                <a:cubicBezTo>
                  <a:pt x="776" y="325"/>
                  <a:pt x="776" y="325"/>
                  <a:pt x="776" y="325"/>
                </a:cubicBezTo>
                <a:cubicBezTo>
                  <a:pt x="775" y="324"/>
                  <a:pt x="775" y="324"/>
                  <a:pt x="775" y="324"/>
                </a:cubicBezTo>
                <a:cubicBezTo>
                  <a:pt x="774" y="325"/>
                  <a:pt x="774" y="325"/>
                  <a:pt x="774" y="325"/>
                </a:cubicBezTo>
                <a:cubicBezTo>
                  <a:pt x="773" y="326"/>
                  <a:pt x="773" y="326"/>
                  <a:pt x="773" y="326"/>
                </a:cubicBezTo>
                <a:cubicBezTo>
                  <a:pt x="772" y="326"/>
                  <a:pt x="772" y="326"/>
                  <a:pt x="772" y="326"/>
                </a:cubicBezTo>
                <a:cubicBezTo>
                  <a:pt x="770" y="328"/>
                  <a:pt x="770" y="328"/>
                  <a:pt x="770" y="328"/>
                </a:cubicBezTo>
                <a:cubicBezTo>
                  <a:pt x="769" y="327"/>
                  <a:pt x="769" y="327"/>
                  <a:pt x="769" y="327"/>
                </a:cubicBezTo>
                <a:cubicBezTo>
                  <a:pt x="768" y="328"/>
                  <a:pt x="768" y="328"/>
                  <a:pt x="768" y="328"/>
                </a:cubicBezTo>
                <a:cubicBezTo>
                  <a:pt x="769" y="329"/>
                  <a:pt x="769" y="329"/>
                  <a:pt x="769" y="329"/>
                </a:cubicBezTo>
                <a:cubicBezTo>
                  <a:pt x="771" y="329"/>
                  <a:pt x="771" y="329"/>
                  <a:pt x="771" y="329"/>
                </a:cubicBezTo>
                <a:cubicBezTo>
                  <a:pt x="770" y="330"/>
                  <a:pt x="770" y="330"/>
                  <a:pt x="770" y="330"/>
                </a:cubicBezTo>
                <a:cubicBezTo>
                  <a:pt x="770" y="331"/>
                  <a:pt x="770" y="331"/>
                  <a:pt x="770" y="331"/>
                </a:cubicBezTo>
                <a:cubicBezTo>
                  <a:pt x="771" y="332"/>
                  <a:pt x="771" y="332"/>
                  <a:pt x="771" y="332"/>
                </a:cubicBezTo>
                <a:cubicBezTo>
                  <a:pt x="771" y="333"/>
                  <a:pt x="771" y="333"/>
                  <a:pt x="771" y="333"/>
                </a:cubicBezTo>
                <a:cubicBezTo>
                  <a:pt x="770" y="332"/>
                  <a:pt x="770" y="332"/>
                  <a:pt x="770" y="332"/>
                </a:cubicBezTo>
                <a:cubicBezTo>
                  <a:pt x="771" y="334"/>
                  <a:pt x="771" y="334"/>
                  <a:pt x="771" y="334"/>
                </a:cubicBezTo>
                <a:cubicBezTo>
                  <a:pt x="770" y="335"/>
                  <a:pt x="770" y="335"/>
                  <a:pt x="770" y="335"/>
                </a:cubicBezTo>
                <a:cubicBezTo>
                  <a:pt x="771" y="335"/>
                  <a:pt x="771" y="335"/>
                  <a:pt x="771" y="335"/>
                </a:cubicBezTo>
                <a:cubicBezTo>
                  <a:pt x="772" y="335"/>
                  <a:pt x="772" y="335"/>
                  <a:pt x="772" y="335"/>
                </a:cubicBezTo>
                <a:cubicBezTo>
                  <a:pt x="773" y="336"/>
                  <a:pt x="773" y="336"/>
                  <a:pt x="773" y="336"/>
                </a:cubicBezTo>
                <a:cubicBezTo>
                  <a:pt x="772" y="337"/>
                  <a:pt x="772" y="337"/>
                  <a:pt x="772" y="337"/>
                </a:cubicBezTo>
                <a:cubicBezTo>
                  <a:pt x="772" y="339"/>
                  <a:pt x="772" y="339"/>
                  <a:pt x="772" y="339"/>
                </a:cubicBezTo>
                <a:cubicBezTo>
                  <a:pt x="773" y="340"/>
                  <a:pt x="773" y="340"/>
                  <a:pt x="773" y="340"/>
                </a:cubicBezTo>
                <a:cubicBezTo>
                  <a:pt x="772" y="343"/>
                  <a:pt x="772" y="343"/>
                  <a:pt x="772" y="343"/>
                </a:cubicBezTo>
                <a:cubicBezTo>
                  <a:pt x="772" y="344"/>
                  <a:pt x="772" y="344"/>
                  <a:pt x="772" y="344"/>
                </a:cubicBezTo>
                <a:cubicBezTo>
                  <a:pt x="772" y="344"/>
                  <a:pt x="772" y="344"/>
                  <a:pt x="772" y="344"/>
                </a:cubicBezTo>
                <a:cubicBezTo>
                  <a:pt x="772" y="345"/>
                  <a:pt x="772" y="345"/>
                  <a:pt x="772" y="345"/>
                </a:cubicBezTo>
                <a:cubicBezTo>
                  <a:pt x="770" y="347"/>
                  <a:pt x="770" y="347"/>
                  <a:pt x="770" y="347"/>
                </a:cubicBezTo>
                <a:cubicBezTo>
                  <a:pt x="770" y="348"/>
                  <a:pt x="770" y="348"/>
                  <a:pt x="770" y="348"/>
                </a:cubicBezTo>
                <a:cubicBezTo>
                  <a:pt x="770" y="348"/>
                  <a:pt x="770" y="348"/>
                  <a:pt x="770" y="348"/>
                </a:cubicBezTo>
                <a:cubicBezTo>
                  <a:pt x="769" y="351"/>
                  <a:pt x="769" y="351"/>
                  <a:pt x="769" y="351"/>
                </a:cubicBezTo>
                <a:cubicBezTo>
                  <a:pt x="768" y="354"/>
                  <a:pt x="768" y="354"/>
                  <a:pt x="768" y="354"/>
                </a:cubicBezTo>
                <a:cubicBezTo>
                  <a:pt x="768" y="353"/>
                  <a:pt x="768" y="353"/>
                  <a:pt x="768" y="353"/>
                </a:cubicBezTo>
                <a:cubicBezTo>
                  <a:pt x="767" y="352"/>
                  <a:pt x="767" y="352"/>
                  <a:pt x="767" y="352"/>
                </a:cubicBezTo>
                <a:cubicBezTo>
                  <a:pt x="768" y="350"/>
                  <a:pt x="768" y="350"/>
                  <a:pt x="768" y="350"/>
                </a:cubicBezTo>
                <a:cubicBezTo>
                  <a:pt x="767" y="350"/>
                  <a:pt x="767" y="350"/>
                  <a:pt x="767" y="350"/>
                </a:cubicBezTo>
                <a:cubicBezTo>
                  <a:pt x="765" y="349"/>
                  <a:pt x="765" y="349"/>
                  <a:pt x="765" y="349"/>
                </a:cubicBezTo>
                <a:cubicBezTo>
                  <a:pt x="763" y="347"/>
                  <a:pt x="763" y="347"/>
                  <a:pt x="763" y="347"/>
                </a:cubicBezTo>
                <a:cubicBezTo>
                  <a:pt x="763" y="345"/>
                  <a:pt x="763" y="345"/>
                  <a:pt x="763" y="345"/>
                </a:cubicBezTo>
                <a:cubicBezTo>
                  <a:pt x="761" y="340"/>
                  <a:pt x="761" y="340"/>
                  <a:pt x="761" y="340"/>
                </a:cubicBezTo>
                <a:cubicBezTo>
                  <a:pt x="759" y="337"/>
                  <a:pt x="759" y="337"/>
                  <a:pt x="759" y="337"/>
                </a:cubicBezTo>
                <a:cubicBezTo>
                  <a:pt x="760" y="337"/>
                  <a:pt x="760" y="337"/>
                  <a:pt x="760" y="337"/>
                </a:cubicBezTo>
                <a:cubicBezTo>
                  <a:pt x="761" y="337"/>
                  <a:pt x="761" y="337"/>
                  <a:pt x="761" y="337"/>
                </a:cubicBezTo>
                <a:cubicBezTo>
                  <a:pt x="761" y="336"/>
                  <a:pt x="761" y="336"/>
                  <a:pt x="761" y="336"/>
                </a:cubicBezTo>
                <a:cubicBezTo>
                  <a:pt x="760" y="336"/>
                  <a:pt x="760" y="336"/>
                  <a:pt x="760" y="336"/>
                </a:cubicBezTo>
                <a:cubicBezTo>
                  <a:pt x="759" y="336"/>
                  <a:pt x="759" y="336"/>
                  <a:pt x="759" y="336"/>
                </a:cubicBezTo>
                <a:cubicBezTo>
                  <a:pt x="757" y="335"/>
                  <a:pt x="757" y="335"/>
                  <a:pt x="757" y="335"/>
                </a:cubicBezTo>
                <a:cubicBezTo>
                  <a:pt x="752" y="326"/>
                  <a:pt x="752" y="326"/>
                  <a:pt x="752" y="326"/>
                </a:cubicBezTo>
                <a:cubicBezTo>
                  <a:pt x="747" y="321"/>
                  <a:pt x="747" y="321"/>
                  <a:pt x="747" y="321"/>
                </a:cubicBezTo>
                <a:cubicBezTo>
                  <a:pt x="747" y="319"/>
                  <a:pt x="747" y="319"/>
                  <a:pt x="747" y="319"/>
                </a:cubicBezTo>
                <a:cubicBezTo>
                  <a:pt x="746" y="317"/>
                  <a:pt x="746" y="317"/>
                  <a:pt x="746" y="317"/>
                </a:cubicBezTo>
                <a:cubicBezTo>
                  <a:pt x="742" y="312"/>
                  <a:pt x="742" y="312"/>
                  <a:pt x="742" y="312"/>
                </a:cubicBezTo>
                <a:cubicBezTo>
                  <a:pt x="739" y="305"/>
                  <a:pt x="739" y="305"/>
                  <a:pt x="739" y="305"/>
                </a:cubicBezTo>
                <a:cubicBezTo>
                  <a:pt x="736" y="299"/>
                  <a:pt x="736" y="299"/>
                  <a:pt x="736" y="299"/>
                </a:cubicBezTo>
                <a:cubicBezTo>
                  <a:pt x="736" y="297"/>
                  <a:pt x="736" y="297"/>
                  <a:pt x="736" y="297"/>
                </a:cubicBezTo>
                <a:cubicBezTo>
                  <a:pt x="734" y="294"/>
                  <a:pt x="734" y="294"/>
                  <a:pt x="734" y="294"/>
                </a:cubicBezTo>
                <a:cubicBezTo>
                  <a:pt x="734" y="290"/>
                  <a:pt x="734" y="290"/>
                  <a:pt x="734" y="290"/>
                </a:cubicBezTo>
                <a:cubicBezTo>
                  <a:pt x="733" y="287"/>
                  <a:pt x="733" y="287"/>
                  <a:pt x="733" y="287"/>
                </a:cubicBezTo>
                <a:cubicBezTo>
                  <a:pt x="733" y="285"/>
                  <a:pt x="733" y="285"/>
                  <a:pt x="733" y="285"/>
                </a:cubicBezTo>
                <a:cubicBezTo>
                  <a:pt x="734" y="283"/>
                  <a:pt x="734" y="283"/>
                  <a:pt x="734" y="283"/>
                </a:cubicBezTo>
                <a:cubicBezTo>
                  <a:pt x="735" y="281"/>
                  <a:pt x="735" y="281"/>
                  <a:pt x="735" y="281"/>
                </a:cubicBezTo>
                <a:cubicBezTo>
                  <a:pt x="736" y="281"/>
                  <a:pt x="736" y="281"/>
                  <a:pt x="736" y="281"/>
                </a:cubicBezTo>
                <a:cubicBezTo>
                  <a:pt x="735" y="280"/>
                  <a:pt x="735" y="280"/>
                  <a:pt x="735" y="280"/>
                </a:cubicBezTo>
                <a:cubicBezTo>
                  <a:pt x="736" y="279"/>
                  <a:pt x="736" y="279"/>
                  <a:pt x="736" y="279"/>
                </a:cubicBezTo>
                <a:cubicBezTo>
                  <a:pt x="736" y="276"/>
                  <a:pt x="736" y="276"/>
                  <a:pt x="736" y="276"/>
                </a:cubicBezTo>
                <a:cubicBezTo>
                  <a:pt x="733" y="273"/>
                  <a:pt x="733" y="273"/>
                  <a:pt x="733" y="273"/>
                </a:cubicBezTo>
                <a:cubicBezTo>
                  <a:pt x="732" y="273"/>
                  <a:pt x="732" y="273"/>
                  <a:pt x="732" y="273"/>
                </a:cubicBezTo>
                <a:cubicBezTo>
                  <a:pt x="732" y="272"/>
                  <a:pt x="732" y="272"/>
                  <a:pt x="732" y="272"/>
                </a:cubicBezTo>
                <a:cubicBezTo>
                  <a:pt x="733" y="271"/>
                  <a:pt x="733" y="271"/>
                  <a:pt x="733" y="271"/>
                </a:cubicBezTo>
                <a:cubicBezTo>
                  <a:pt x="735" y="272"/>
                  <a:pt x="735" y="272"/>
                  <a:pt x="735" y="272"/>
                </a:cubicBezTo>
                <a:cubicBezTo>
                  <a:pt x="737" y="270"/>
                  <a:pt x="737" y="270"/>
                  <a:pt x="737" y="270"/>
                </a:cubicBezTo>
                <a:cubicBezTo>
                  <a:pt x="736" y="269"/>
                  <a:pt x="736" y="269"/>
                  <a:pt x="736" y="269"/>
                </a:cubicBezTo>
                <a:cubicBezTo>
                  <a:pt x="736" y="267"/>
                  <a:pt x="736" y="267"/>
                  <a:pt x="736" y="267"/>
                </a:cubicBezTo>
                <a:cubicBezTo>
                  <a:pt x="738" y="267"/>
                  <a:pt x="738" y="267"/>
                  <a:pt x="738" y="267"/>
                </a:cubicBezTo>
                <a:cubicBezTo>
                  <a:pt x="740" y="267"/>
                  <a:pt x="740" y="267"/>
                  <a:pt x="740" y="267"/>
                </a:cubicBezTo>
                <a:cubicBezTo>
                  <a:pt x="739" y="265"/>
                  <a:pt x="739" y="265"/>
                  <a:pt x="739" y="265"/>
                </a:cubicBezTo>
                <a:cubicBezTo>
                  <a:pt x="741" y="262"/>
                  <a:pt x="741" y="262"/>
                  <a:pt x="741" y="262"/>
                </a:cubicBezTo>
                <a:cubicBezTo>
                  <a:pt x="740" y="259"/>
                  <a:pt x="740" y="259"/>
                  <a:pt x="740" y="259"/>
                </a:cubicBezTo>
                <a:cubicBezTo>
                  <a:pt x="740" y="257"/>
                  <a:pt x="740" y="257"/>
                  <a:pt x="740" y="257"/>
                </a:cubicBezTo>
                <a:cubicBezTo>
                  <a:pt x="739" y="255"/>
                  <a:pt x="739" y="255"/>
                  <a:pt x="739" y="255"/>
                </a:cubicBezTo>
                <a:cubicBezTo>
                  <a:pt x="740" y="254"/>
                  <a:pt x="740" y="254"/>
                  <a:pt x="740" y="254"/>
                </a:cubicBezTo>
                <a:cubicBezTo>
                  <a:pt x="740" y="253"/>
                  <a:pt x="740" y="253"/>
                  <a:pt x="740" y="253"/>
                </a:cubicBezTo>
                <a:cubicBezTo>
                  <a:pt x="740" y="252"/>
                  <a:pt x="740" y="252"/>
                  <a:pt x="740" y="252"/>
                </a:cubicBezTo>
                <a:cubicBezTo>
                  <a:pt x="740" y="250"/>
                  <a:pt x="740" y="250"/>
                  <a:pt x="740" y="250"/>
                </a:cubicBezTo>
                <a:cubicBezTo>
                  <a:pt x="741" y="250"/>
                  <a:pt x="741" y="250"/>
                  <a:pt x="741" y="250"/>
                </a:cubicBezTo>
                <a:cubicBezTo>
                  <a:pt x="740" y="249"/>
                  <a:pt x="740" y="249"/>
                  <a:pt x="740" y="249"/>
                </a:cubicBezTo>
                <a:cubicBezTo>
                  <a:pt x="740" y="248"/>
                  <a:pt x="740" y="248"/>
                  <a:pt x="740" y="248"/>
                </a:cubicBezTo>
                <a:cubicBezTo>
                  <a:pt x="740" y="247"/>
                  <a:pt x="740" y="247"/>
                  <a:pt x="740" y="247"/>
                </a:cubicBezTo>
                <a:cubicBezTo>
                  <a:pt x="740" y="245"/>
                  <a:pt x="740" y="245"/>
                  <a:pt x="740" y="245"/>
                </a:cubicBezTo>
                <a:cubicBezTo>
                  <a:pt x="740" y="244"/>
                  <a:pt x="740" y="244"/>
                  <a:pt x="740" y="244"/>
                </a:cubicBezTo>
                <a:cubicBezTo>
                  <a:pt x="740" y="243"/>
                  <a:pt x="740" y="243"/>
                  <a:pt x="740" y="243"/>
                </a:cubicBezTo>
                <a:cubicBezTo>
                  <a:pt x="741" y="243"/>
                  <a:pt x="741" y="243"/>
                  <a:pt x="741" y="243"/>
                </a:cubicBezTo>
                <a:cubicBezTo>
                  <a:pt x="742" y="242"/>
                  <a:pt x="742" y="242"/>
                  <a:pt x="742" y="242"/>
                </a:cubicBezTo>
                <a:cubicBezTo>
                  <a:pt x="742" y="240"/>
                  <a:pt x="742" y="240"/>
                  <a:pt x="742" y="240"/>
                </a:cubicBezTo>
                <a:cubicBezTo>
                  <a:pt x="742" y="237"/>
                  <a:pt x="742" y="237"/>
                  <a:pt x="742" y="237"/>
                </a:cubicBezTo>
                <a:cubicBezTo>
                  <a:pt x="741" y="237"/>
                  <a:pt x="741" y="237"/>
                  <a:pt x="741" y="237"/>
                </a:cubicBezTo>
                <a:cubicBezTo>
                  <a:pt x="741" y="236"/>
                  <a:pt x="741" y="236"/>
                  <a:pt x="741" y="236"/>
                </a:cubicBezTo>
                <a:cubicBezTo>
                  <a:pt x="742" y="234"/>
                  <a:pt x="742" y="234"/>
                  <a:pt x="742" y="234"/>
                </a:cubicBezTo>
                <a:cubicBezTo>
                  <a:pt x="742" y="232"/>
                  <a:pt x="742" y="232"/>
                  <a:pt x="742" y="232"/>
                </a:cubicBezTo>
                <a:cubicBezTo>
                  <a:pt x="741" y="232"/>
                  <a:pt x="741" y="232"/>
                  <a:pt x="741" y="232"/>
                </a:cubicBezTo>
                <a:cubicBezTo>
                  <a:pt x="741" y="231"/>
                  <a:pt x="741" y="231"/>
                  <a:pt x="741" y="231"/>
                </a:cubicBezTo>
                <a:cubicBezTo>
                  <a:pt x="742" y="230"/>
                  <a:pt x="742" y="230"/>
                  <a:pt x="742" y="230"/>
                </a:cubicBezTo>
                <a:cubicBezTo>
                  <a:pt x="742" y="229"/>
                  <a:pt x="742" y="229"/>
                  <a:pt x="742" y="229"/>
                </a:cubicBezTo>
                <a:cubicBezTo>
                  <a:pt x="743" y="228"/>
                  <a:pt x="743" y="228"/>
                  <a:pt x="743" y="228"/>
                </a:cubicBezTo>
                <a:cubicBezTo>
                  <a:pt x="743" y="228"/>
                  <a:pt x="743" y="228"/>
                  <a:pt x="743" y="228"/>
                </a:cubicBezTo>
                <a:cubicBezTo>
                  <a:pt x="744" y="227"/>
                  <a:pt x="744" y="227"/>
                  <a:pt x="744" y="227"/>
                </a:cubicBezTo>
                <a:cubicBezTo>
                  <a:pt x="745" y="226"/>
                  <a:pt x="745" y="226"/>
                  <a:pt x="745" y="226"/>
                </a:cubicBezTo>
                <a:cubicBezTo>
                  <a:pt x="746" y="224"/>
                  <a:pt x="746" y="224"/>
                  <a:pt x="746" y="224"/>
                </a:cubicBezTo>
                <a:cubicBezTo>
                  <a:pt x="746" y="224"/>
                  <a:pt x="746" y="224"/>
                  <a:pt x="746" y="224"/>
                </a:cubicBezTo>
                <a:cubicBezTo>
                  <a:pt x="748" y="223"/>
                  <a:pt x="748" y="223"/>
                  <a:pt x="748" y="223"/>
                </a:cubicBezTo>
                <a:cubicBezTo>
                  <a:pt x="748" y="223"/>
                  <a:pt x="748" y="223"/>
                  <a:pt x="748" y="223"/>
                </a:cubicBezTo>
                <a:cubicBezTo>
                  <a:pt x="749" y="222"/>
                  <a:pt x="749" y="222"/>
                  <a:pt x="749" y="222"/>
                </a:cubicBezTo>
                <a:cubicBezTo>
                  <a:pt x="748" y="222"/>
                  <a:pt x="748" y="222"/>
                  <a:pt x="748" y="222"/>
                </a:cubicBezTo>
                <a:cubicBezTo>
                  <a:pt x="747" y="222"/>
                  <a:pt x="747" y="222"/>
                  <a:pt x="747" y="222"/>
                </a:cubicBezTo>
                <a:cubicBezTo>
                  <a:pt x="746" y="222"/>
                  <a:pt x="746" y="222"/>
                  <a:pt x="746" y="222"/>
                </a:cubicBezTo>
                <a:cubicBezTo>
                  <a:pt x="745" y="222"/>
                  <a:pt x="745" y="222"/>
                  <a:pt x="745" y="222"/>
                </a:cubicBezTo>
                <a:cubicBezTo>
                  <a:pt x="745" y="219"/>
                  <a:pt x="745" y="219"/>
                  <a:pt x="745" y="219"/>
                </a:cubicBezTo>
                <a:cubicBezTo>
                  <a:pt x="746" y="217"/>
                  <a:pt x="746" y="217"/>
                  <a:pt x="746" y="217"/>
                </a:cubicBezTo>
                <a:cubicBezTo>
                  <a:pt x="746" y="216"/>
                  <a:pt x="746" y="216"/>
                  <a:pt x="746" y="216"/>
                </a:cubicBezTo>
                <a:cubicBezTo>
                  <a:pt x="745" y="215"/>
                  <a:pt x="745" y="215"/>
                  <a:pt x="745" y="215"/>
                </a:cubicBezTo>
                <a:cubicBezTo>
                  <a:pt x="745" y="215"/>
                  <a:pt x="745" y="215"/>
                  <a:pt x="745" y="215"/>
                </a:cubicBezTo>
                <a:cubicBezTo>
                  <a:pt x="744" y="216"/>
                  <a:pt x="744" y="216"/>
                  <a:pt x="744" y="216"/>
                </a:cubicBezTo>
                <a:cubicBezTo>
                  <a:pt x="744" y="216"/>
                  <a:pt x="744" y="216"/>
                  <a:pt x="744" y="216"/>
                </a:cubicBezTo>
                <a:cubicBezTo>
                  <a:pt x="743" y="213"/>
                  <a:pt x="743" y="213"/>
                  <a:pt x="743" y="213"/>
                </a:cubicBezTo>
                <a:cubicBezTo>
                  <a:pt x="744" y="212"/>
                  <a:pt x="744" y="212"/>
                  <a:pt x="744" y="212"/>
                </a:cubicBezTo>
                <a:cubicBezTo>
                  <a:pt x="744" y="211"/>
                  <a:pt x="744" y="211"/>
                  <a:pt x="744" y="211"/>
                </a:cubicBezTo>
                <a:cubicBezTo>
                  <a:pt x="744" y="210"/>
                  <a:pt x="744" y="210"/>
                  <a:pt x="744" y="210"/>
                </a:cubicBezTo>
                <a:cubicBezTo>
                  <a:pt x="742" y="209"/>
                  <a:pt x="742" y="209"/>
                  <a:pt x="742" y="209"/>
                </a:cubicBezTo>
                <a:cubicBezTo>
                  <a:pt x="743" y="209"/>
                  <a:pt x="743" y="209"/>
                  <a:pt x="743" y="209"/>
                </a:cubicBezTo>
                <a:cubicBezTo>
                  <a:pt x="742" y="209"/>
                  <a:pt x="742" y="209"/>
                  <a:pt x="742" y="209"/>
                </a:cubicBezTo>
                <a:cubicBezTo>
                  <a:pt x="742" y="208"/>
                  <a:pt x="742" y="208"/>
                  <a:pt x="742" y="208"/>
                </a:cubicBezTo>
                <a:cubicBezTo>
                  <a:pt x="741" y="206"/>
                  <a:pt x="741" y="206"/>
                  <a:pt x="741" y="206"/>
                </a:cubicBezTo>
                <a:cubicBezTo>
                  <a:pt x="741" y="206"/>
                  <a:pt x="741" y="206"/>
                  <a:pt x="741" y="206"/>
                </a:cubicBezTo>
                <a:cubicBezTo>
                  <a:pt x="740" y="205"/>
                  <a:pt x="740" y="205"/>
                  <a:pt x="740" y="205"/>
                </a:cubicBezTo>
                <a:cubicBezTo>
                  <a:pt x="740" y="204"/>
                  <a:pt x="740" y="204"/>
                  <a:pt x="740" y="204"/>
                </a:cubicBezTo>
                <a:cubicBezTo>
                  <a:pt x="739" y="202"/>
                  <a:pt x="739" y="202"/>
                  <a:pt x="739" y="202"/>
                </a:cubicBezTo>
                <a:cubicBezTo>
                  <a:pt x="739" y="201"/>
                  <a:pt x="739" y="201"/>
                  <a:pt x="739" y="201"/>
                </a:cubicBezTo>
                <a:cubicBezTo>
                  <a:pt x="741" y="199"/>
                  <a:pt x="741" y="199"/>
                  <a:pt x="741" y="199"/>
                </a:cubicBezTo>
                <a:cubicBezTo>
                  <a:pt x="742" y="200"/>
                  <a:pt x="742" y="200"/>
                  <a:pt x="742" y="200"/>
                </a:cubicBezTo>
                <a:cubicBezTo>
                  <a:pt x="744" y="199"/>
                  <a:pt x="744" y="199"/>
                  <a:pt x="744" y="199"/>
                </a:cubicBezTo>
                <a:cubicBezTo>
                  <a:pt x="743" y="199"/>
                  <a:pt x="743" y="199"/>
                  <a:pt x="743" y="199"/>
                </a:cubicBezTo>
                <a:cubicBezTo>
                  <a:pt x="745" y="198"/>
                  <a:pt x="745" y="198"/>
                  <a:pt x="745" y="198"/>
                </a:cubicBezTo>
                <a:cubicBezTo>
                  <a:pt x="744" y="198"/>
                  <a:pt x="744" y="198"/>
                  <a:pt x="744" y="198"/>
                </a:cubicBezTo>
                <a:cubicBezTo>
                  <a:pt x="743" y="198"/>
                  <a:pt x="743" y="198"/>
                  <a:pt x="743" y="198"/>
                </a:cubicBezTo>
                <a:cubicBezTo>
                  <a:pt x="742" y="197"/>
                  <a:pt x="742" y="197"/>
                  <a:pt x="742" y="197"/>
                </a:cubicBezTo>
                <a:cubicBezTo>
                  <a:pt x="740" y="197"/>
                  <a:pt x="740" y="197"/>
                  <a:pt x="740" y="197"/>
                </a:cubicBezTo>
                <a:cubicBezTo>
                  <a:pt x="738" y="196"/>
                  <a:pt x="738" y="196"/>
                  <a:pt x="738" y="196"/>
                </a:cubicBezTo>
                <a:cubicBezTo>
                  <a:pt x="738" y="196"/>
                  <a:pt x="738" y="196"/>
                  <a:pt x="738" y="196"/>
                </a:cubicBezTo>
                <a:cubicBezTo>
                  <a:pt x="736" y="196"/>
                  <a:pt x="736" y="196"/>
                  <a:pt x="736" y="196"/>
                </a:cubicBezTo>
                <a:cubicBezTo>
                  <a:pt x="735" y="198"/>
                  <a:pt x="735" y="198"/>
                  <a:pt x="735" y="198"/>
                </a:cubicBezTo>
                <a:cubicBezTo>
                  <a:pt x="734" y="198"/>
                  <a:pt x="734" y="198"/>
                  <a:pt x="734" y="198"/>
                </a:cubicBezTo>
                <a:cubicBezTo>
                  <a:pt x="732" y="199"/>
                  <a:pt x="732" y="199"/>
                  <a:pt x="732" y="199"/>
                </a:cubicBezTo>
                <a:cubicBezTo>
                  <a:pt x="733" y="200"/>
                  <a:pt x="733" y="200"/>
                  <a:pt x="733" y="200"/>
                </a:cubicBezTo>
                <a:cubicBezTo>
                  <a:pt x="732" y="201"/>
                  <a:pt x="732" y="201"/>
                  <a:pt x="732" y="201"/>
                </a:cubicBezTo>
                <a:cubicBezTo>
                  <a:pt x="734" y="202"/>
                  <a:pt x="734" y="202"/>
                  <a:pt x="734" y="202"/>
                </a:cubicBezTo>
                <a:cubicBezTo>
                  <a:pt x="734" y="203"/>
                  <a:pt x="734" y="203"/>
                  <a:pt x="734" y="203"/>
                </a:cubicBezTo>
                <a:cubicBezTo>
                  <a:pt x="734" y="204"/>
                  <a:pt x="734" y="204"/>
                  <a:pt x="734" y="204"/>
                </a:cubicBezTo>
                <a:cubicBezTo>
                  <a:pt x="734" y="206"/>
                  <a:pt x="734" y="206"/>
                  <a:pt x="734" y="206"/>
                </a:cubicBezTo>
                <a:cubicBezTo>
                  <a:pt x="735" y="207"/>
                  <a:pt x="735" y="207"/>
                  <a:pt x="735" y="207"/>
                </a:cubicBezTo>
                <a:cubicBezTo>
                  <a:pt x="735" y="207"/>
                  <a:pt x="735" y="207"/>
                  <a:pt x="735" y="207"/>
                </a:cubicBezTo>
                <a:cubicBezTo>
                  <a:pt x="736" y="208"/>
                  <a:pt x="736" y="208"/>
                  <a:pt x="736" y="208"/>
                </a:cubicBezTo>
                <a:cubicBezTo>
                  <a:pt x="737" y="210"/>
                  <a:pt x="737" y="210"/>
                  <a:pt x="737" y="210"/>
                </a:cubicBezTo>
                <a:cubicBezTo>
                  <a:pt x="739" y="211"/>
                  <a:pt x="739" y="211"/>
                  <a:pt x="739" y="211"/>
                </a:cubicBezTo>
                <a:cubicBezTo>
                  <a:pt x="738" y="213"/>
                  <a:pt x="738" y="213"/>
                  <a:pt x="738" y="213"/>
                </a:cubicBezTo>
                <a:cubicBezTo>
                  <a:pt x="739" y="213"/>
                  <a:pt x="739" y="213"/>
                  <a:pt x="739" y="213"/>
                </a:cubicBezTo>
                <a:cubicBezTo>
                  <a:pt x="739" y="214"/>
                  <a:pt x="739" y="214"/>
                  <a:pt x="739" y="214"/>
                </a:cubicBezTo>
                <a:cubicBezTo>
                  <a:pt x="738" y="213"/>
                  <a:pt x="738" y="213"/>
                  <a:pt x="738" y="213"/>
                </a:cubicBezTo>
                <a:cubicBezTo>
                  <a:pt x="737" y="212"/>
                  <a:pt x="737" y="212"/>
                  <a:pt x="737" y="212"/>
                </a:cubicBezTo>
                <a:cubicBezTo>
                  <a:pt x="736" y="213"/>
                  <a:pt x="736" y="213"/>
                  <a:pt x="736" y="213"/>
                </a:cubicBezTo>
                <a:cubicBezTo>
                  <a:pt x="735" y="214"/>
                  <a:pt x="735" y="214"/>
                  <a:pt x="735" y="214"/>
                </a:cubicBezTo>
                <a:cubicBezTo>
                  <a:pt x="734" y="215"/>
                  <a:pt x="734" y="215"/>
                  <a:pt x="734" y="215"/>
                </a:cubicBezTo>
                <a:cubicBezTo>
                  <a:pt x="735" y="216"/>
                  <a:pt x="735" y="216"/>
                  <a:pt x="735" y="216"/>
                </a:cubicBezTo>
                <a:cubicBezTo>
                  <a:pt x="734" y="218"/>
                  <a:pt x="734" y="218"/>
                  <a:pt x="734" y="218"/>
                </a:cubicBezTo>
                <a:cubicBezTo>
                  <a:pt x="734" y="218"/>
                  <a:pt x="734" y="218"/>
                  <a:pt x="734" y="218"/>
                </a:cubicBezTo>
                <a:cubicBezTo>
                  <a:pt x="734" y="219"/>
                  <a:pt x="734" y="219"/>
                  <a:pt x="734" y="219"/>
                </a:cubicBezTo>
                <a:cubicBezTo>
                  <a:pt x="734" y="219"/>
                  <a:pt x="734" y="219"/>
                  <a:pt x="734" y="219"/>
                </a:cubicBezTo>
                <a:cubicBezTo>
                  <a:pt x="734" y="220"/>
                  <a:pt x="734" y="220"/>
                  <a:pt x="734" y="220"/>
                </a:cubicBezTo>
                <a:cubicBezTo>
                  <a:pt x="733" y="221"/>
                  <a:pt x="733" y="221"/>
                  <a:pt x="733" y="221"/>
                </a:cubicBezTo>
                <a:cubicBezTo>
                  <a:pt x="734" y="222"/>
                  <a:pt x="734" y="222"/>
                  <a:pt x="734" y="222"/>
                </a:cubicBezTo>
                <a:cubicBezTo>
                  <a:pt x="733" y="223"/>
                  <a:pt x="733" y="223"/>
                  <a:pt x="733" y="223"/>
                </a:cubicBezTo>
                <a:cubicBezTo>
                  <a:pt x="733" y="226"/>
                  <a:pt x="733" y="226"/>
                  <a:pt x="733" y="226"/>
                </a:cubicBezTo>
                <a:cubicBezTo>
                  <a:pt x="733" y="227"/>
                  <a:pt x="733" y="227"/>
                  <a:pt x="733" y="227"/>
                </a:cubicBezTo>
                <a:cubicBezTo>
                  <a:pt x="733" y="228"/>
                  <a:pt x="733" y="228"/>
                  <a:pt x="733" y="228"/>
                </a:cubicBezTo>
                <a:cubicBezTo>
                  <a:pt x="732" y="228"/>
                  <a:pt x="732" y="228"/>
                  <a:pt x="732" y="228"/>
                </a:cubicBezTo>
                <a:cubicBezTo>
                  <a:pt x="731" y="230"/>
                  <a:pt x="731" y="230"/>
                  <a:pt x="731" y="230"/>
                </a:cubicBezTo>
                <a:cubicBezTo>
                  <a:pt x="731" y="229"/>
                  <a:pt x="731" y="229"/>
                  <a:pt x="731" y="229"/>
                </a:cubicBezTo>
                <a:cubicBezTo>
                  <a:pt x="730" y="228"/>
                  <a:pt x="730" y="228"/>
                  <a:pt x="730" y="228"/>
                </a:cubicBezTo>
                <a:cubicBezTo>
                  <a:pt x="731" y="226"/>
                  <a:pt x="731" y="226"/>
                  <a:pt x="731" y="226"/>
                </a:cubicBezTo>
                <a:cubicBezTo>
                  <a:pt x="730" y="225"/>
                  <a:pt x="730" y="225"/>
                  <a:pt x="730" y="225"/>
                </a:cubicBezTo>
                <a:cubicBezTo>
                  <a:pt x="729" y="225"/>
                  <a:pt x="729" y="225"/>
                  <a:pt x="729" y="225"/>
                </a:cubicBezTo>
                <a:cubicBezTo>
                  <a:pt x="728" y="226"/>
                  <a:pt x="728" y="226"/>
                  <a:pt x="728" y="226"/>
                </a:cubicBezTo>
                <a:cubicBezTo>
                  <a:pt x="728" y="227"/>
                  <a:pt x="728" y="227"/>
                  <a:pt x="728" y="227"/>
                </a:cubicBezTo>
                <a:cubicBezTo>
                  <a:pt x="727" y="227"/>
                  <a:pt x="727" y="227"/>
                  <a:pt x="727" y="227"/>
                </a:cubicBezTo>
                <a:cubicBezTo>
                  <a:pt x="727" y="225"/>
                  <a:pt x="727" y="225"/>
                  <a:pt x="727" y="225"/>
                </a:cubicBezTo>
                <a:cubicBezTo>
                  <a:pt x="726" y="225"/>
                  <a:pt x="726" y="225"/>
                  <a:pt x="726" y="225"/>
                </a:cubicBezTo>
                <a:cubicBezTo>
                  <a:pt x="726" y="224"/>
                  <a:pt x="726" y="224"/>
                  <a:pt x="726" y="224"/>
                </a:cubicBezTo>
                <a:cubicBezTo>
                  <a:pt x="724" y="225"/>
                  <a:pt x="724" y="225"/>
                  <a:pt x="724" y="225"/>
                </a:cubicBezTo>
                <a:cubicBezTo>
                  <a:pt x="724" y="224"/>
                  <a:pt x="724" y="224"/>
                  <a:pt x="724" y="224"/>
                </a:cubicBezTo>
                <a:cubicBezTo>
                  <a:pt x="724" y="224"/>
                  <a:pt x="724" y="224"/>
                  <a:pt x="724" y="224"/>
                </a:cubicBezTo>
                <a:cubicBezTo>
                  <a:pt x="725" y="223"/>
                  <a:pt x="725" y="223"/>
                  <a:pt x="725" y="223"/>
                </a:cubicBezTo>
                <a:cubicBezTo>
                  <a:pt x="725" y="223"/>
                  <a:pt x="725" y="223"/>
                  <a:pt x="725" y="223"/>
                </a:cubicBezTo>
                <a:cubicBezTo>
                  <a:pt x="725" y="222"/>
                  <a:pt x="725" y="222"/>
                  <a:pt x="725" y="222"/>
                </a:cubicBezTo>
                <a:cubicBezTo>
                  <a:pt x="725" y="222"/>
                  <a:pt x="725" y="222"/>
                  <a:pt x="725" y="222"/>
                </a:cubicBezTo>
                <a:cubicBezTo>
                  <a:pt x="725" y="220"/>
                  <a:pt x="725" y="220"/>
                  <a:pt x="725" y="220"/>
                </a:cubicBezTo>
                <a:cubicBezTo>
                  <a:pt x="724" y="220"/>
                  <a:pt x="724" y="220"/>
                  <a:pt x="724" y="220"/>
                </a:cubicBezTo>
                <a:cubicBezTo>
                  <a:pt x="725" y="219"/>
                  <a:pt x="725" y="219"/>
                  <a:pt x="725" y="219"/>
                </a:cubicBezTo>
                <a:cubicBezTo>
                  <a:pt x="724" y="218"/>
                  <a:pt x="724" y="218"/>
                  <a:pt x="724" y="218"/>
                </a:cubicBezTo>
                <a:cubicBezTo>
                  <a:pt x="724" y="217"/>
                  <a:pt x="724" y="217"/>
                  <a:pt x="724" y="217"/>
                </a:cubicBezTo>
                <a:cubicBezTo>
                  <a:pt x="724" y="217"/>
                  <a:pt x="724" y="217"/>
                  <a:pt x="724" y="217"/>
                </a:cubicBezTo>
                <a:cubicBezTo>
                  <a:pt x="724" y="215"/>
                  <a:pt x="724" y="215"/>
                  <a:pt x="724" y="215"/>
                </a:cubicBezTo>
                <a:cubicBezTo>
                  <a:pt x="723" y="214"/>
                  <a:pt x="723" y="214"/>
                  <a:pt x="723" y="214"/>
                </a:cubicBezTo>
                <a:cubicBezTo>
                  <a:pt x="722" y="213"/>
                  <a:pt x="722" y="213"/>
                  <a:pt x="722" y="213"/>
                </a:cubicBezTo>
                <a:cubicBezTo>
                  <a:pt x="722" y="213"/>
                  <a:pt x="722" y="213"/>
                  <a:pt x="722" y="213"/>
                </a:cubicBezTo>
                <a:cubicBezTo>
                  <a:pt x="722" y="215"/>
                  <a:pt x="722" y="215"/>
                  <a:pt x="722" y="215"/>
                </a:cubicBezTo>
                <a:cubicBezTo>
                  <a:pt x="721" y="215"/>
                  <a:pt x="721" y="215"/>
                  <a:pt x="721" y="215"/>
                </a:cubicBezTo>
                <a:cubicBezTo>
                  <a:pt x="721" y="217"/>
                  <a:pt x="721" y="217"/>
                  <a:pt x="721" y="217"/>
                </a:cubicBezTo>
                <a:cubicBezTo>
                  <a:pt x="720" y="218"/>
                  <a:pt x="720" y="218"/>
                  <a:pt x="720" y="218"/>
                </a:cubicBezTo>
                <a:cubicBezTo>
                  <a:pt x="719" y="218"/>
                  <a:pt x="719" y="218"/>
                  <a:pt x="719" y="218"/>
                </a:cubicBezTo>
                <a:cubicBezTo>
                  <a:pt x="719" y="216"/>
                  <a:pt x="719" y="216"/>
                  <a:pt x="719" y="216"/>
                </a:cubicBezTo>
                <a:cubicBezTo>
                  <a:pt x="718" y="216"/>
                  <a:pt x="718" y="216"/>
                  <a:pt x="718" y="216"/>
                </a:cubicBezTo>
                <a:cubicBezTo>
                  <a:pt x="718" y="217"/>
                  <a:pt x="718" y="217"/>
                  <a:pt x="718" y="217"/>
                </a:cubicBezTo>
                <a:cubicBezTo>
                  <a:pt x="717" y="215"/>
                  <a:pt x="717" y="215"/>
                  <a:pt x="717" y="215"/>
                </a:cubicBezTo>
                <a:cubicBezTo>
                  <a:pt x="716" y="215"/>
                  <a:pt x="716" y="215"/>
                  <a:pt x="716" y="215"/>
                </a:cubicBezTo>
                <a:cubicBezTo>
                  <a:pt x="716" y="216"/>
                  <a:pt x="716" y="216"/>
                  <a:pt x="716" y="216"/>
                </a:cubicBezTo>
                <a:cubicBezTo>
                  <a:pt x="715" y="216"/>
                  <a:pt x="715" y="216"/>
                  <a:pt x="715" y="216"/>
                </a:cubicBezTo>
                <a:cubicBezTo>
                  <a:pt x="715" y="217"/>
                  <a:pt x="715" y="217"/>
                  <a:pt x="715" y="217"/>
                </a:cubicBezTo>
                <a:cubicBezTo>
                  <a:pt x="714" y="217"/>
                  <a:pt x="714" y="217"/>
                  <a:pt x="714" y="217"/>
                </a:cubicBezTo>
                <a:cubicBezTo>
                  <a:pt x="714" y="218"/>
                  <a:pt x="714" y="218"/>
                  <a:pt x="714" y="218"/>
                </a:cubicBezTo>
                <a:cubicBezTo>
                  <a:pt x="711" y="218"/>
                  <a:pt x="711" y="218"/>
                  <a:pt x="711" y="218"/>
                </a:cubicBezTo>
                <a:cubicBezTo>
                  <a:pt x="711" y="219"/>
                  <a:pt x="711" y="219"/>
                  <a:pt x="711" y="219"/>
                </a:cubicBezTo>
                <a:cubicBezTo>
                  <a:pt x="710" y="219"/>
                  <a:pt x="710" y="219"/>
                  <a:pt x="710" y="219"/>
                </a:cubicBezTo>
                <a:cubicBezTo>
                  <a:pt x="709" y="219"/>
                  <a:pt x="709" y="219"/>
                  <a:pt x="709" y="219"/>
                </a:cubicBezTo>
                <a:cubicBezTo>
                  <a:pt x="708" y="219"/>
                  <a:pt x="708" y="219"/>
                  <a:pt x="708" y="219"/>
                </a:cubicBezTo>
                <a:cubicBezTo>
                  <a:pt x="706" y="221"/>
                  <a:pt x="706" y="221"/>
                  <a:pt x="706" y="221"/>
                </a:cubicBezTo>
                <a:cubicBezTo>
                  <a:pt x="705" y="222"/>
                  <a:pt x="705" y="222"/>
                  <a:pt x="705" y="222"/>
                </a:cubicBezTo>
                <a:cubicBezTo>
                  <a:pt x="706" y="223"/>
                  <a:pt x="706" y="223"/>
                  <a:pt x="706" y="223"/>
                </a:cubicBezTo>
                <a:cubicBezTo>
                  <a:pt x="704" y="224"/>
                  <a:pt x="704" y="224"/>
                  <a:pt x="704" y="224"/>
                </a:cubicBezTo>
                <a:cubicBezTo>
                  <a:pt x="704" y="225"/>
                  <a:pt x="704" y="225"/>
                  <a:pt x="704" y="225"/>
                </a:cubicBezTo>
                <a:cubicBezTo>
                  <a:pt x="705" y="225"/>
                  <a:pt x="705" y="225"/>
                  <a:pt x="705" y="225"/>
                </a:cubicBezTo>
                <a:cubicBezTo>
                  <a:pt x="705" y="227"/>
                  <a:pt x="705" y="227"/>
                  <a:pt x="705" y="227"/>
                </a:cubicBezTo>
                <a:cubicBezTo>
                  <a:pt x="707" y="229"/>
                  <a:pt x="707" y="229"/>
                  <a:pt x="707" y="229"/>
                </a:cubicBezTo>
                <a:cubicBezTo>
                  <a:pt x="706" y="230"/>
                  <a:pt x="706" y="230"/>
                  <a:pt x="706" y="230"/>
                </a:cubicBezTo>
                <a:cubicBezTo>
                  <a:pt x="705" y="234"/>
                  <a:pt x="705" y="234"/>
                  <a:pt x="705" y="234"/>
                </a:cubicBezTo>
                <a:cubicBezTo>
                  <a:pt x="707" y="236"/>
                  <a:pt x="707" y="236"/>
                  <a:pt x="707" y="236"/>
                </a:cubicBezTo>
                <a:cubicBezTo>
                  <a:pt x="705" y="236"/>
                  <a:pt x="705" y="236"/>
                  <a:pt x="705" y="236"/>
                </a:cubicBezTo>
                <a:cubicBezTo>
                  <a:pt x="706" y="237"/>
                  <a:pt x="706" y="237"/>
                  <a:pt x="706" y="237"/>
                </a:cubicBezTo>
                <a:cubicBezTo>
                  <a:pt x="706" y="238"/>
                  <a:pt x="706" y="238"/>
                  <a:pt x="706" y="238"/>
                </a:cubicBezTo>
                <a:cubicBezTo>
                  <a:pt x="705" y="239"/>
                  <a:pt x="705" y="239"/>
                  <a:pt x="705" y="239"/>
                </a:cubicBezTo>
                <a:cubicBezTo>
                  <a:pt x="704" y="241"/>
                  <a:pt x="704" y="241"/>
                  <a:pt x="704" y="241"/>
                </a:cubicBezTo>
                <a:cubicBezTo>
                  <a:pt x="703" y="242"/>
                  <a:pt x="703" y="242"/>
                  <a:pt x="703" y="242"/>
                </a:cubicBezTo>
                <a:cubicBezTo>
                  <a:pt x="703" y="244"/>
                  <a:pt x="703" y="244"/>
                  <a:pt x="703" y="244"/>
                </a:cubicBezTo>
                <a:cubicBezTo>
                  <a:pt x="703" y="246"/>
                  <a:pt x="703" y="246"/>
                  <a:pt x="703" y="246"/>
                </a:cubicBezTo>
                <a:cubicBezTo>
                  <a:pt x="704" y="248"/>
                  <a:pt x="704" y="248"/>
                  <a:pt x="704" y="248"/>
                </a:cubicBezTo>
                <a:cubicBezTo>
                  <a:pt x="703" y="248"/>
                  <a:pt x="703" y="248"/>
                  <a:pt x="703" y="248"/>
                </a:cubicBezTo>
                <a:cubicBezTo>
                  <a:pt x="705" y="251"/>
                  <a:pt x="705" y="251"/>
                  <a:pt x="705" y="251"/>
                </a:cubicBezTo>
                <a:cubicBezTo>
                  <a:pt x="704" y="251"/>
                  <a:pt x="704" y="251"/>
                  <a:pt x="704" y="251"/>
                </a:cubicBezTo>
                <a:cubicBezTo>
                  <a:pt x="704" y="252"/>
                  <a:pt x="704" y="252"/>
                  <a:pt x="704" y="252"/>
                </a:cubicBezTo>
                <a:cubicBezTo>
                  <a:pt x="705" y="253"/>
                  <a:pt x="705" y="253"/>
                  <a:pt x="705" y="253"/>
                </a:cubicBezTo>
                <a:cubicBezTo>
                  <a:pt x="705" y="252"/>
                  <a:pt x="705" y="252"/>
                  <a:pt x="705" y="252"/>
                </a:cubicBezTo>
                <a:cubicBezTo>
                  <a:pt x="706" y="252"/>
                  <a:pt x="706" y="252"/>
                  <a:pt x="706" y="252"/>
                </a:cubicBezTo>
                <a:cubicBezTo>
                  <a:pt x="706" y="252"/>
                  <a:pt x="706" y="252"/>
                  <a:pt x="706" y="252"/>
                </a:cubicBezTo>
                <a:cubicBezTo>
                  <a:pt x="707" y="251"/>
                  <a:pt x="707" y="251"/>
                  <a:pt x="707" y="251"/>
                </a:cubicBezTo>
                <a:cubicBezTo>
                  <a:pt x="708" y="252"/>
                  <a:pt x="708" y="252"/>
                  <a:pt x="708" y="252"/>
                </a:cubicBezTo>
                <a:cubicBezTo>
                  <a:pt x="708" y="252"/>
                  <a:pt x="708" y="252"/>
                  <a:pt x="708" y="252"/>
                </a:cubicBezTo>
                <a:cubicBezTo>
                  <a:pt x="708" y="251"/>
                  <a:pt x="708" y="251"/>
                  <a:pt x="708" y="251"/>
                </a:cubicBezTo>
                <a:cubicBezTo>
                  <a:pt x="709" y="251"/>
                  <a:pt x="709" y="251"/>
                  <a:pt x="709" y="251"/>
                </a:cubicBezTo>
                <a:cubicBezTo>
                  <a:pt x="709" y="252"/>
                  <a:pt x="709" y="252"/>
                  <a:pt x="709" y="252"/>
                </a:cubicBezTo>
                <a:cubicBezTo>
                  <a:pt x="710" y="252"/>
                  <a:pt x="710" y="252"/>
                  <a:pt x="710" y="252"/>
                </a:cubicBezTo>
                <a:cubicBezTo>
                  <a:pt x="711" y="253"/>
                  <a:pt x="711" y="253"/>
                  <a:pt x="711" y="253"/>
                </a:cubicBezTo>
                <a:cubicBezTo>
                  <a:pt x="710" y="253"/>
                  <a:pt x="710" y="253"/>
                  <a:pt x="710" y="253"/>
                </a:cubicBezTo>
                <a:cubicBezTo>
                  <a:pt x="711" y="254"/>
                  <a:pt x="711" y="254"/>
                  <a:pt x="711" y="254"/>
                </a:cubicBezTo>
                <a:cubicBezTo>
                  <a:pt x="711" y="255"/>
                  <a:pt x="711" y="255"/>
                  <a:pt x="711" y="255"/>
                </a:cubicBezTo>
                <a:cubicBezTo>
                  <a:pt x="710" y="255"/>
                  <a:pt x="710" y="255"/>
                  <a:pt x="710" y="255"/>
                </a:cubicBezTo>
                <a:cubicBezTo>
                  <a:pt x="710" y="255"/>
                  <a:pt x="710" y="255"/>
                  <a:pt x="710" y="255"/>
                </a:cubicBezTo>
                <a:cubicBezTo>
                  <a:pt x="709" y="255"/>
                  <a:pt x="709" y="255"/>
                  <a:pt x="709" y="255"/>
                </a:cubicBezTo>
                <a:cubicBezTo>
                  <a:pt x="708" y="256"/>
                  <a:pt x="708" y="256"/>
                  <a:pt x="708" y="256"/>
                </a:cubicBezTo>
                <a:cubicBezTo>
                  <a:pt x="708" y="256"/>
                  <a:pt x="708" y="256"/>
                  <a:pt x="708" y="256"/>
                </a:cubicBezTo>
                <a:cubicBezTo>
                  <a:pt x="708" y="257"/>
                  <a:pt x="708" y="257"/>
                  <a:pt x="708" y="257"/>
                </a:cubicBezTo>
                <a:cubicBezTo>
                  <a:pt x="707" y="258"/>
                  <a:pt x="707" y="258"/>
                  <a:pt x="707" y="258"/>
                </a:cubicBezTo>
                <a:cubicBezTo>
                  <a:pt x="706" y="258"/>
                  <a:pt x="706" y="258"/>
                  <a:pt x="706" y="258"/>
                </a:cubicBezTo>
                <a:cubicBezTo>
                  <a:pt x="706" y="257"/>
                  <a:pt x="706" y="257"/>
                  <a:pt x="706" y="257"/>
                </a:cubicBezTo>
                <a:cubicBezTo>
                  <a:pt x="705" y="256"/>
                  <a:pt x="705" y="256"/>
                  <a:pt x="705" y="256"/>
                </a:cubicBezTo>
                <a:cubicBezTo>
                  <a:pt x="704" y="257"/>
                  <a:pt x="704" y="257"/>
                  <a:pt x="704" y="257"/>
                </a:cubicBezTo>
                <a:cubicBezTo>
                  <a:pt x="703" y="256"/>
                  <a:pt x="703" y="256"/>
                  <a:pt x="703" y="256"/>
                </a:cubicBezTo>
                <a:cubicBezTo>
                  <a:pt x="703" y="257"/>
                  <a:pt x="703" y="257"/>
                  <a:pt x="703" y="257"/>
                </a:cubicBezTo>
                <a:cubicBezTo>
                  <a:pt x="703" y="258"/>
                  <a:pt x="703" y="258"/>
                  <a:pt x="703" y="258"/>
                </a:cubicBezTo>
                <a:cubicBezTo>
                  <a:pt x="703" y="259"/>
                  <a:pt x="703" y="259"/>
                  <a:pt x="703" y="259"/>
                </a:cubicBezTo>
                <a:cubicBezTo>
                  <a:pt x="702" y="259"/>
                  <a:pt x="702" y="259"/>
                  <a:pt x="702" y="259"/>
                </a:cubicBezTo>
                <a:cubicBezTo>
                  <a:pt x="702" y="259"/>
                  <a:pt x="702" y="259"/>
                  <a:pt x="702" y="259"/>
                </a:cubicBezTo>
                <a:cubicBezTo>
                  <a:pt x="701" y="260"/>
                  <a:pt x="701" y="260"/>
                  <a:pt x="701" y="260"/>
                </a:cubicBezTo>
                <a:cubicBezTo>
                  <a:pt x="701" y="261"/>
                  <a:pt x="701" y="261"/>
                  <a:pt x="701" y="261"/>
                </a:cubicBezTo>
                <a:cubicBezTo>
                  <a:pt x="701" y="261"/>
                  <a:pt x="701" y="261"/>
                  <a:pt x="701" y="261"/>
                </a:cubicBezTo>
                <a:cubicBezTo>
                  <a:pt x="700" y="261"/>
                  <a:pt x="700" y="261"/>
                  <a:pt x="700" y="261"/>
                </a:cubicBezTo>
                <a:cubicBezTo>
                  <a:pt x="698" y="260"/>
                  <a:pt x="698" y="260"/>
                  <a:pt x="698" y="260"/>
                </a:cubicBezTo>
                <a:cubicBezTo>
                  <a:pt x="698" y="260"/>
                  <a:pt x="698" y="260"/>
                  <a:pt x="698" y="260"/>
                </a:cubicBezTo>
                <a:cubicBezTo>
                  <a:pt x="699" y="261"/>
                  <a:pt x="699" y="261"/>
                  <a:pt x="699" y="261"/>
                </a:cubicBezTo>
                <a:cubicBezTo>
                  <a:pt x="697" y="262"/>
                  <a:pt x="697" y="262"/>
                  <a:pt x="697" y="262"/>
                </a:cubicBezTo>
                <a:cubicBezTo>
                  <a:pt x="698" y="262"/>
                  <a:pt x="698" y="262"/>
                  <a:pt x="698" y="262"/>
                </a:cubicBezTo>
                <a:cubicBezTo>
                  <a:pt x="697" y="263"/>
                  <a:pt x="697" y="263"/>
                  <a:pt x="697" y="263"/>
                </a:cubicBezTo>
                <a:cubicBezTo>
                  <a:pt x="695" y="264"/>
                  <a:pt x="695" y="264"/>
                  <a:pt x="695" y="264"/>
                </a:cubicBezTo>
                <a:cubicBezTo>
                  <a:pt x="694" y="264"/>
                  <a:pt x="694" y="264"/>
                  <a:pt x="694" y="264"/>
                </a:cubicBezTo>
                <a:cubicBezTo>
                  <a:pt x="693" y="262"/>
                  <a:pt x="693" y="262"/>
                  <a:pt x="693" y="262"/>
                </a:cubicBezTo>
                <a:cubicBezTo>
                  <a:pt x="692" y="262"/>
                  <a:pt x="692" y="262"/>
                  <a:pt x="692" y="262"/>
                </a:cubicBezTo>
                <a:cubicBezTo>
                  <a:pt x="691" y="262"/>
                  <a:pt x="691" y="262"/>
                  <a:pt x="691" y="262"/>
                </a:cubicBezTo>
                <a:cubicBezTo>
                  <a:pt x="692" y="261"/>
                  <a:pt x="692" y="261"/>
                  <a:pt x="692" y="261"/>
                </a:cubicBezTo>
                <a:cubicBezTo>
                  <a:pt x="693" y="261"/>
                  <a:pt x="693" y="261"/>
                  <a:pt x="693" y="261"/>
                </a:cubicBezTo>
                <a:cubicBezTo>
                  <a:pt x="692" y="260"/>
                  <a:pt x="692" y="260"/>
                  <a:pt x="692" y="260"/>
                </a:cubicBezTo>
                <a:cubicBezTo>
                  <a:pt x="693" y="259"/>
                  <a:pt x="693" y="259"/>
                  <a:pt x="693" y="259"/>
                </a:cubicBezTo>
                <a:cubicBezTo>
                  <a:pt x="695" y="259"/>
                  <a:pt x="695" y="259"/>
                  <a:pt x="695" y="259"/>
                </a:cubicBezTo>
                <a:cubicBezTo>
                  <a:pt x="697" y="258"/>
                  <a:pt x="697" y="258"/>
                  <a:pt x="697" y="258"/>
                </a:cubicBezTo>
                <a:cubicBezTo>
                  <a:pt x="697" y="257"/>
                  <a:pt x="697" y="257"/>
                  <a:pt x="697" y="257"/>
                </a:cubicBezTo>
                <a:cubicBezTo>
                  <a:pt x="696" y="257"/>
                  <a:pt x="696" y="257"/>
                  <a:pt x="696" y="257"/>
                </a:cubicBezTo>
                <a:cubicBezTo>
                  <a:pt x="695" y="258"/>
                  <a:pt x="695" y="258"/>
                  <a:pt x="695" y="258"/>
                </a:cubicBezTo>
                <a:cubicBezTo>
                  <a:pt x="693" y="257"/>
                  <a:pt x="693" y="257"/>
                  <a:pt x="693" y="257"/>
                </a:cubicBezTo>
                <a:cubicBezTo>
                  <a:pt x="693" y="257"/>
                  <a:pt x="693" y="257"/>
                  <a:pt x="693" y="257"/>
                </a:cubicBezTo>
                <a:cubicBezTo>
                  <a:pt x="692" y="256"/>
                  <a:pt x="692" y="256"/>
                  <a:pt x="692" y="256"/>
                </a:cubicBezTo>
                <a:cubicBezTo>
                  <a:pt x="691" y="256"/>
                  <a:pt x="691" y="256"/>
                  <a:pt x="691" y="256"/>
                </a:cubicBezTo>
                <a:cubicBezTo>
                  <a:pt x="689" y="255"/>
                  <a:pt x="689" y="255"/>
                  <a:pt x="689" y="255"/>
                </a:cubicBezTo>
                <a:cubicBezTo>
                  <a:pt x="687" y="255"/>
                  <a:pt x="687" y="255"/>
                  <a:pt x="687" y="255"/>
                </a:cubicBezTo>
                <a:cubicBezTo>
                  <a:pt x="688" y="256"/>
                  <a:pt x="688" y="256"/>
                  <a:pt x="688" y="256"/>
                </a:cubicBezTo>
                <a:cubicBezTo>
                  <a:pt x="687" y="257"/>
                  <a:pt x="687" y="257"/>
                  <a:pt x="687" y="257"/>
                </a:cubicBezTo>
                <a:cubicBezTo>
                  <a:pt x="686" y="256"/>
                  <a:pt x="686" y="256"/>
                  <a:pt x="686" y="256"/>
                </a:cubicBezTo>
                <a:cubicBezTo>
                  <a:pt x="686" y="255"/>
                  <a:pt x="686" y="255"/>
                  <a:pt x="686" y="255"/>
                </a:cubicBezTo>
                <a:cubicBezTo>
                  <a:pt x="684" y="256"/>
                  <a:pt x="684" y="256"/>
                  <a:pt x="684" y="256"/>
                </a:cubicBezTo>
                <a:cubicBezTo>
                  <a:pt x="682" y="255"/>
                  <a:pt x="682" y="255"/>
                  <a:pt x="682" y="255"/>
                </a:cubicBezTo>
                <a:cubicBezTo>
                  <a:pt x="681" y="256"/>
                  <a:pt x="681" y="256"/>
                  <a:pt x="681" y="256"/>
                </a:cubicBezTo>
                <a:cubicBezTo>
                  <a:pt x="680" y="255"/>
                  <a:pt x="680" y="255"/>
                  <a:pt x="680" y="255"/>
                </a:cubicBezTo>
                <a:cubicBezTo>
                  <a:pt x="678" y="255"/>
                  <a:pt x="678" y="255"/>
                  <a:pt x="678" y="255"/>
                </a:cubicBezTo>
                <a:cubicBezTo>
                  <a:pt x="677" y="257"/>
                  <a:pt x="677" y="257"/>
                  <a:pt x="677" y="257"/>
                </a:cubicBezTo>
                <a:cubicBezTo>
                  <a:pt x="676" y="257"/>
                  <a:pt x="676" y="257"/>
                  <a:pt x="676" y="257"/>
                </a:cubicBezTo>
                <a:cubicBezTo>
                  <a:pt x="676" y="258"/>
                  <a:pt x="676" y="258"/>
                  <a:pt x="676" y="258"/>
                </a:cubicBezTo>
                <a:cubicBezTo>
                  <a:pt x="678" y="259"/>
                  <a:pt x="678" y="259"/>
                  <a:pt x="678" y="259"/>
                </a:cubicBezTo>
                <a:cubicBezTo>
                  <a:pt x="676" y="259"/>
                  <a:pt x="676" y="259"/>
                  <a:pt x="676" y="259"/>
                </a:cubicBezTo>
                <a:cubicBezTo>
                  <a:pt x="675" y="258"/>
                  <a:pt x="675" y="258"/>
                  <a:pt x="675" y="258"/>
                </a:cubicBezTo>
                <a:cubicBezTo>
                  <a:pt x="674" y="260"/>
                  <a:pt x="674" y="260"/>
                  <a:pt x="674" y="260"/>
                </a:cubicBezTo>
                <a:cubicBezTo>
                  <a:pt x="676" y="261"/>
                  <a:pt x="676" y="261"/>
                  <a:pt x="676" y="261"/>
                </a:cubicBezTo>
                <a:cubicBezTo>
                  <a:pt x="677" y="260"/>
                  <a:pt x="677" y="260"/>
                  <a:pt x="677" y="260"/>
                </a:cubicBezTo>
                <a:cubicBezTo>
                  <a:pt x="677" y="261"/>
                  <a:pt x="677" y="261"/>
                  <a:pt x="677" y="261"/>
                </a:cubicBezTo>
                <a:cubicBezTo>
                  <a:pt x="677" y="262"/>
                  <a:pt x="677" y="262"/>
                  <a:pt x="677" y="262"/>
                </a:cubicBezTo>
                <a:cubicBezTo>
                  <a:pt x="675" y="263"/>
                  <a:pt x="675" y="263"/>
                  <a:pt x="675" y="263"/>
                </a:cubicBezTo>
                <a:cubicBezTo>
                  <a:pt x="674" y="262"/>
                  <a:pt x="674" y="262"/>
                  <a:pt x="674" y="262"/>
                </a:cubicBezTo>
                <a:cubicBezTo>
                  <a:pt x="672" y="261"/>
                  <a:pt x="672" y="261"/>
                  <a:pt x="672" y="261"/>
                </a:cubicBezTo>
                <a:cubicBezTo>
                  <a:pt x="671" y="262"/>
                  <a:pt x="671" y="262"/>
                  <a:pt x="671" y="262"/>
                </a:cubicBezTo>
                <a:cubicBezTo>
                  <a:pt x="672" y="263"/>
                  <a:pt x="672" y="263"/>
                  <a:pt x="672" y="263"/>
                </a:cubicBezTo>
                <a:cubicBezTo>
                  <a:pt x="671" y="263"/>
                  <a:pt x="671" y="263"/>
                  <a:pt x="671" y="263"/>
                </a:cubicBezTo>
                <a:cubicBezTo>
                  <a:pt x="670" y="264"/>
                  <a:pt x="670" y="264"/>
                  <a:pt x="670" y="264"/>
                </a:cubicBezTo>
                <a:cubicBezTo>
                  <a:pt x="669" y="264"/>
                  <a:pt x="669" y="264"/>
                  <a:pt x="669" y="264"/>
                </a:cubicBezTo>
                <a:cubicBezTo>
                  <a:pt x="669" y="263"/>
                  <a:pt x="669" y="263"/>
                  <a:pt x="669" y="263"/>
                </a:cubicBezTo>
                <a:cubicBezTo>
                  <a:pt x="666" y="263"/>
                  <a:pt x="666" y="263"/>
                  <a:pt x="666" y="263"/>
                </a:cubicBezTo>
                <a:cubicBezTo>
                  <a:pt x="665" y="263"/>
                  <a:pt x="665" y="263"/>
                  <a:pt x="665" y="263"/>
                </a:cubicBezTo>
                <a:cubicBezTo>
                  <a:pt x="663" y="263"/>
                  <a:pt x="663" y="263"/>
                  <a:pt x="663" y="263"/>
                </a:cubicBezTo>
                <a:cubicBezTo>
                  <a:pt x="661" y="264"/>
                  <a:pt x="661" y="264"/>
                  <a:pt x="661" y="264"/>
                </a:cubicBezTo>
                <a:cubicBezTo>
                  <a:pt x="661" y="264"/>
                  <a:pt x="661" y="264"/>
                  <a:pt x="661" y="264"/>
                </a:cubicBezTo>
                <a:cubicBezTo>
                  <a:pt x="663" y="266"/>
                  <a:pt x="663" y="266"/>
                  <a:pt x="663" y="266"/>
                </a:cubicBezTo>
                <a:cubicBezTo>
                  <a:pt x="662" y="267"/>
                  <a:pt x="662" y="267"/>
                  <a:pt x="662" y="267"/>
                </a:cubicBezTo>
                <a:cubicBezTo>
                  <a:pt x="662" y="268"/>
                  <a:pt x="662" y="268"/>
                  <a:pt x="662" y="268"/>
                </a:cubicBezTo>
                <a:cubicBezTo>
                  <a:pt x="660" y="267"/>
                  <a:pt x="660" y="267"/>
                  <a:pt x="660" y="267"/>
                </a:cubicBezTo>
                <a:cubicBezTo>
                  <a:pt x="660" y="266"/>
                  <a:pt x="660" y="266"/>
                  <a:pt x="660" y="266"/>
                </a:cubicBezTo>
                <a:cubicBezTo>
                  <a:pt x="660" y="265"/>
                  <a:pt x="660" y="265"/>
                  <a:pt x="660" y="265"/>
                </a:cubicBezTo>
                <a:cubicBezTo>
                  <a:pt x="659" y="264"/>
                  <a:pt x="659" y="264"/>
                  <a:pt x="659" y="264"/>
                </a:cubicBezTo>
                <a:cubicBezTo>
                  <a:pt x="658" y="265"/>
                  <a:pt x="658" y="265"/>
                  <a:pt x="658" y="265"/>
                </a:cubicBezTo>
                <a:cubicBezTo>
                  <a:pt x="657" y="265"/>
                  <a:pt x="657" y="265"/>
                  <a:pt x="657" y="265"/>
                </a:cubicBezTo>
                <a:cubicBezTo>
                  <a:pt x="656" y="265"/>
                  <a:pt x="656" y="265"/>
                  <a:pt x="656" y="265"/>
                </a:cubicBezTo>
                <a:cubicBezTo>
                  <a:pt x="655" y="266"/>
                  <a:pt x="655" y="266"/>
                  <a:pt x="655" y="266"/>
                </a:cubicBezTo>
                <a:cubicBezTo>
                  <a:pt x="654" y="266"/>
                  <a:pt x="654" y="266"/>
                  <a:pt x="654" y="266"/>
                </a:cubicBezTo>
                <a:cubicBezTo>
                  <a:pt x="652" y="267"/>
                  <a:pt x="652" y="267"/>
                  <a:pt x="652" y="267"/>
                </a:cubicBezTo>
                <a:cubicBezTo>
                  <a:pt x="650" y="267"/>
                  <a:pt x="650" y="267"/>
                  <a:pt x="650" y="267"/>
                </a:cubicBezTo>
                <a:cubicBezTo>
                  <a:pt x="648" y="269"/>
                  <a:pt x="648" y="269"/>
                  <a:pt x="648" y="269"/>
                </a:cubicBezTo>
                <a:cubicBezTo>
                  <a:pt x="646" y="269"/>
                  <a:pt x="646" y="269"/>
                  <a:pt x="646" y="269"/>
                </a:cubicBezTo>
                <a:cubicBezTo>
                  <a:pt x="646" y="268"/>
                  <a:pt x="646" y="268"/>
                  <a:pt x="646" y="268"/>
                </a:cubicBezTo>
                <a:cubicBezTo>
                  <a:pt x="645" y="269"/>
                  <a:pt x="645" y="269"/>
                  <a:pt x="645" y="269"/>
                </a:cubicBezTo>
                <a:cubicBezTo>
                  <a:pt x="644" y="270"/>
                  <a:pt x="644" y="270"/>
                  <a:pt x="644" y="270"/>
                </a:cubicBezTo>
                <a:cubicBezTo>
                  <a:pt x="642" y="271"/>
                  <a:pt x="642" y="271"/>
                  <a:pt x="642" y="271"/>
                </a:cubicBezTo>
                <a:cubicBezTo>
                  <a:pt x="642" y="273"/>
                  <a:pt x="642" y="273"/>
                  <a:pt x="642" y="273"/>
                </a:cubicBezTo>
                <a:cubicBezTo>
                  <a:pt x="641" y="274"/>
                  <a:pt x="641" y="274"/>
                  <a:pt x="641" y="274"/>
                </a:cubicBezTo>
                <a:cubicBezTo>
                  <a:pt x="640" y="275"/>
                  <a:pt x="640" y="275"/>
                  <a:pt x="640" y="275"/>
                </a:cubicBezTo>
                <a:cubicBezTo>
                  <a:pt x="642" y="278"/>
                  <a:pt x="642" y="278"/>
                  <a:pt x="642" y="278"/>
                </a:cubicBezTo>
                <a:cubicBezTo>
                  <a:pt x="642" y="280"/>
                  <a:pt x="642" y="280"/>
                  <a:pt x="642" y="280"/>
                </a:cubicBezTo>
                <a:cubicBezTo>
                  <a:pt x="640" y="282"/>
                  <a:pt x="640" y="282"/>
                  <a:pt x="640" y="282"/>
                </a:cubicBezTo>
                <a:cubicBezTo>
                  <a:pt x="639" y="284"/>
                  <a:pt x="639" y="284"/>
                  <a:pt x="639" y="284"/>
                </a:cubicBezTo>
                <a:cubicBezTo>
                  <a:pt x="639" y="286"/>
                  <a:pt x="639" y="286"/>
                  <a:pt x="639" y="286"/>
                </a:cubicBezTo>
                <a:cubicBezTo>
                  <a:pt x="639" y="288"/>
                  <a:pt x="639" y="288"/>
                  <a:pt x="639" y="288"/>
                </a:cubicBezTo>
                <a:cubicBezTo>
                  <a:pt x="640" y="289"/>
                  <a:pt x="640" y="289"/>
                  <a:pt x="640" y="289"/>
                </a:cubicBezTo>
                <a:cubicBezTo>
                  <a:pt x="640" y="291"/>
                  <a:pt x="640" y="291"/>
                  <a:pt x="640" y="291"/>
                </a:cubicBezTo>
                <a:cubicBezTo>
                  <a:pt x="639" y="291"/>
                  <a:pt x="639" y="291"/>
                  <a:pt x="639" y="291"/>
                </a:cubicBezTo>
                <a:cubicBezTo>
                  <a:pt x="638" y="291"/>
                  <a:pt x="638" y="291"/>
                  <a:pt x="638" y="291"/>
                </a:cubicBezTo>
                <a:cubicBezTo>
                  <a:pt x="638" y="293"/>
                  <a:pt x="638" y="293"/>
                  <a:pt x="638" y="293"/>
                </a:cubicBezTo>
                <a:cubicBezTo>
                  <a:pt x="638" y="293"/>
                  <a:pt x="638" y="293"/>
                  <a:pt x="638" y="293"/>
                </a:cubicBezTo>
                <a:cubicBezTo>
                  <a:pt x="638" y="295"/>
                  <a:pt x="638" y="295"/>
                  <a:pt x="638" y="295"/>
                </a:cubicBezTo>
                <a:cubicBezTo>
                  <a:pt x="637" y="296"/>
                  <a:pt x="637" y="296"/>
                  <a:pt x="637" y="296"/>
                </a:cubicBezTo>
                <a:cubicBezTo>
                  <a:pt x="637" y="298"/>
                  <a:pt x="637" y="298"/>
                  <a:pt x="637" y="298"/>
                </a:cubicBezTo>
                <a:cubicBezTo>
                  <a:pt x="635" y="300"/>
                  <a:pt x="635" y="300"/>
                  <a:pt x="635" y="300"/>
                </a:cubicBezTo>
                <a:cubicBezTo>
                  <a:pt x="636" y="301"/>
                  <a:pt x="636" y="301"/>
                  <a:pt x="636" y="301"/>
                </a:cubicBezTo>
                <a:cubicBezTo>
                  <a:pt x="635" y="302"/>
                  <a:pt x="635" y="302"/>
                  <a:pt x="635" y="302"/>
                </a:cubicBezTo>
                <a:cubicBezTo>
                  <a:pt x="634" y="304"/>
                  <a:pt x="634" y="304"/>
                  <a:pt x="634" y="304"/>
                </a:cubicBezTo>
                <a:cubicBezTo>
                  <a:pt x="634" y="304"/>
                  <a:pt x="634" y="304"/>
                  <a:pt x="634" y="304"/>
                </a:cubicBezTo>
                <a:cubicBezTo>
                  <a:pt x="633" y="307"/>
                  <a:pt x="633" y="307"/>
                  <a:pt x="633" y="307"/>
                </a:cubicBezTo>
                <a:cubicBezTo>
                  <a:pt x="633" y="309"/>
                  <a:pt x="633" y="309"/>
                  <a:pt x="633" y="309"/>
                </a:cubicBezTo>
                <a:cubicBezTo>
                  <a:pt x="633" y="310"/>
                  <a:pt x="633" y="310"/>
                  <a:pt x="633" y="310"/>
                </a:cubicBezTo>
                <a:cubicBezTo>
                  <a:pt x="633" y="312"/>
                  <a:pt x="633" y="312"/>
                  <a:pt x="633" y="312"/>
                </a:cubicBezTo>
                <a:cubicBezTo>
                  <a:pt x="632" y="313"/>
                  <a:pt x="632" y="313"/>
                  <a:pt x="632" y="313"/>
                </a:cubicBezTo>
                <a:cubicBezTo>
                  <a:pt x="632" y="314"/>
                  <a:pt x="632" y="314"/>
                  <a:pt x="632" y="314"/>
                </a:cubicBezTo>
                <a:cubicBezTo>
                  <a:pt x="631" y="316"/>
                  <a:pt x="631" y="316"/>
                  <a:pt x="631" y="316"/>
                </a:cubicBezTo>
                <a:cubicBezTo>
                  <a:pt x="631" y="317"/>
                  <a:pt x="631" y="317"/>
                  <a:pt x="631" y="317"/>
                </a:cubicBezTo>
                <a:cubicBezTo>
                  <a:pt x="630" y="317"/>
                  <a:pt x="630" y="317"/>
                  <a:pt x="630" y="317"/>
                </a:cubicBezTo>
                <a:cubicBezTo>
                  <a:pt x="630" y="319"/>
                  <a:pt x="630" y="319"/>
                  <a:pt x="630" y="319"/>
                </a:cubicBezTo>
                <a:cubicBezTo>
                  <a:pt x="628" y="320"/>
                  <a:pt x="628" y="320"/>
                  <a:pt x="628" y="320"/>
                </a:cubicBezTo>
                <a:cubicBezTo>
                  <a:pt x="628" y="322"/>
                  <a:pt x="628" y="322"/>
                  <a:pt x="628" y="322"/>
                </a:cubicBezTo>
                <a:cubicBezTo>
                  <a:pt x="627" y="324"/>
                  <a:pt x="627" y="324"/>
                  <a:pt x="627" y="324"/>
                </a:cubicBezTo>
                <a:cubicBezTo>
                  <a:pt x="627" y="325"/>
                  <a:pt x="627" y="325"/>
                  <a:pt x="627" y="325"/>
                </a:cubicBezTo>
                <a:cubicBezTo>
                  <a:pt x="625" y="327"/>
                  <a:pt x="625" y="327"/>
                  <a:pt x="625" y="327"/>
                </a:cubicBezTo>
                <a:cubicBezTo>
                  <a:pt x="625" y="328"/>
                  <a:pt x="625" y="328"/>
                  <a:pt x="625" y="328"/>
                </a:cubicBezTo>
                <a:cubicBezTo>
                  <a:pt x="624" y="329"/>
                  <a:pt x="624" y="329"/>
                  <a:pt x="624" y="329"/>
                </a:cubicBezTo>
                <a:cubicBezTo>
                  <a:pt x="625" y="330"/>
                  <a:pt x="625" y="330"/>
                  <a:pt x="625" y="330"/>
                </a:cubicBezTo>
                <a:cubicBezTo>
                  <a:pt x="626" y="331"/>
                  <a:pt x="626" y="331"/>
                  <a:pt x="626" y="331"/>
                </a:cubicBezTo>
                <a:cubicBezTo>
                  <a:pt x="627" y="331"/>
                  <a:pt x="627" y="331"/>
                  <a:pt x="627" y="331"/>
                </a:cubicBezTo>
                <a:cubicBezTo>
                  <a:pt x="628" y="332"/>
                  <a:pt x="628" y="332"/>
                  <a:pt x="628" y="332"/>
                </a:cubicBezTo>
                <a:cubicBezTo>
                  <a:pt x="630" y="332"/>
                  <a:pt x="630" y="332"/>
                  <a:pt x="630" y="332"/>
                </a:cubicBezTo>
                <a:cubicBezTo>
                  <a:pt x="631" y="331"/>
                  <a:pt x="631" y="331"/>
                  <a:pt x="631" y="331"/>
                </a:cubicBezTo>
                <a:cubicBezTo>
                  <a:pt x="632" y="330"/>
                  <a:pt x="632" y="330"/>
                  <a:pt x="632" y="330"/>
                </a:cubicBezTo>
                <a:cubicBezTo>
                  <a:pt x="633" y="330"/>
                  <a:pt x="633" y="330"/>
                  <a:pt x="633" y="330"/>
                </a:cubicBezTo>
                <a:cubicBezTo>
                  <a:pt x="634" y="330"/>
                  <a:pt x="634" y="330"/>
                  <a:pt x="634" y="330"/>
                </a:cubicBezTo>
                <a:cubicBezTo>
                  <a:pt x="635" y="329"/>
                  <a:pt x="635" y="329"/>
                  <a:pt x="635" y="329"/>
                </a:cubicBezTo>
                <a:cubicBezTo>
                  <a:pt x="635" y="333"/>
                  <a:pt x="635" y="333"/>
                  <a:pt x="635" y="333"/>
                </a:cubicBezTo>
                <a:cubicBezTo>
                  <a:pt x="637" y="335"/>
                  <a:pt x="637" y="335"/>
                  <a:pt x="637" y="335"/>
                </a:cubicBezTo>
                <a:cubicBezTo>
                  <a:pt x="637" y="337"/>
                  <a:pt x="637" y="337"/>
                  <a:pt x="637" y="337"/>
                </a:cubicBezTo>
                <a:cubicBezTo>
                  <a:pt x="637" y="338"/>
                  <a:pt x="637" y="338"/>
                  <a:pt x="637" y="338"/>
                </a:cubicBezTo>
                <a:cubicBezTo>
                  <a:pt x="639" y="339"/>
                  <a:pt x="639" y="339"/>
                  <a:pt x="639" y="339"/>
                </a:cubicBezTo>
                <a:cubicBezTo>
                  <a:pt x="639" y="338"/>
                  <a:pt x="639" y="338"/>
                  <a:pt x="639" y="338"/>
                </a:cubicBezTo>
                <a:cubicBezTo>
                  <a:pt x="640" y="339"/>
                  <a:pt x="640" y="339"/>
                  <a:pt x="640" y="339"/>
                </a:cubicBezTo>
                <a:cubicBezTo>
                  <a:pt x="640" y="338"/>
                  <a:pt x="640" y="338"/>
                  <a:pt x="640" y="338"/>
                </a:cubicBezTo>
                <a:cubicBezTo>
                  <a:pt x="641" y="337"/>
                  <a:pt x="641" y="337"/>
                  <a:pt x="641" y="337"/>
                </a:cubicBezTo>
                <a:cubicBezTo>
                  <a:pt x="642" y="336"/>
                  <a:pt x="642" y="336"/>
                  <a:pt x="642" y="336"/>
                </a:cubicBezTo>
                <a:cubicBezTo>
                  <a:pt x="642" y="337"/>
                  <a:pt x="642" y="337"/>
                  <a:pt x="642" y="337"/>
                </a:cubicBezTo>
                <a:cubicBezTo>
                  <a:pt x="643" y="337"/>
                  <a:pt x="643" y="337"/>
                  <a:pt x="643" y="337"/>
                </a:cubicBezTo>
                <a:cubicBezTo>
                  <a:pt x="644" y="337"/>
                  <a:pt x="644" y="337"/>
                  <a:pt x="644" y="337"/>
                </a:cubicBezTo>
                <a:cubicBezTo>
                  <a:pt x="644" y="337"/>
                  <a:pt x="644" y="337"/>
                  <a:pt x="644" y="337"/>
                </a:cubicBezTo>
                <a:cubicBezTo>
                  <a:pt x="643" y="338"/>
                  <a:pt x="643" y="338"/>
                  <a:pt x="643" y="338"/>
                </a:cubicBezTo>
                <a:cubicBezTo>
                  <a:pt x="644" y="340"/>
                  <a:pt x="644" y="340"/>
                  <a:pt x="644" y="340"/>
                </a:cubicBezTo>
                <a:cubicBezTo>
                  <a:pt x="643" y="340"/>
                  <a:pt x="643" y="340"/>
                  <a:pt x="643" y="340"/>
                </a:cubicBezTo>
                <a:cubicBezTo>
                  <a:pt x="642" y="341"/>
                  <a:pt x="642" y="341"/>
                  <a:pt x="642" y="341"/>
                </a:cubicBezTo>
                <a:cubicBezTo>
                  <a:pt x="642" y="341"/>
                  <a:pt x="642" y="341"/>
                  <a:pt x="642" y="341"/>
                </a:cubicBezTo>
                <a:cubicBezTo>
                  <a:pt x="645" y="341"/>
                  <a:pt x="645" y="341"/>
                  <a:pt x="645" y="341"/>
                </a:cubicBezTo>
                <a:cubicBezTo>
                  <a:pt x="646" y="340"/>
                  <a:pt x="646" y="340"/>
                  <a:pt x="646" y="340"/>
                </a:cubicBezTo>
                <a:cubicBezTo>
                  <a:pt x="647" y="338"/>
                  <a:pt x="647" y="338"/>
                  <a:pt x="647" y="338"/>
                </a:cubicBezTo>
                <a:cubicBezTo>
                  <a:pt x="647" y="337"/>
                  <a:pt x="647" y="337"/>
                  <a:pt x="647" y="337"/>
                </a:cubicBezTo>
                <a:cubicBezTo>
                  <a:pt x="647" y="336"/>
                  <a:pt x="647" y="336"/>
                  <a:pt x="647" y="336"/>
                </a:cubicBezTo>
                <a:cubicBezTo>
                  <a:pt x="648" y="338"/>
                  <a:pt x="648" y="338"/>
                  <a:pt x="648" y="338"/>
                </a:cubicBezTo>
                <a:cubicBezTo>
                  <a:pt x="648" y="339"/>
                  <a:pt x="648" y="339"/>
                  <a:pt x="648" y="339"/>
                </a:cubicBezTo>
                <a:cubicBezTo>
                  <a:pt x="648" y="341"/>
                  <a:pt x="648" y="341"/>
                  <a:pt x="648" y="341"/>
                </a:cubicBezTo>
                <a:cubicBezTo>
                  <a:pt x="649" y="340"/>
                  <a:pt x="649" y="340"/>
                  <a:pt x="649" y="340"/>
                </a:cubicBezTo>
                <a:cubicBezTo>
                  <a:pt x="649" y="339"/>
                  <a:pt x="649" y="339"/>
                  <a:pt x="649" y="339"/>
                </a:cubicBezTo>
                <a:cubicBezTo>
                  <a:pt x="648" y="337"/>
                  <a:pt x="648" y="337"/>
                  <a:pt x="648" y="337"/>
                </a:cubicBezTo>
                <a:cubicBezTo>
                  <a:pt x="649" y="335"/>
                  <a:pt x="649" y="335"/>
                  <a:pt x="649" y="335"/>
                </a:cubicBezTo>
                <a:cubicBezTo>
                  <a:pt x="648" y="334"/>
                  <a:pt x="648" y="334"/>
                  <a:pt x="648" y="334"/>
                </a:cubicBezTo>
                <a:cubicBezTo>
                  <a:pt x="647" y="332"/>
                  <a:pt x="647" y="332"/>
                  <a:pt x="647" y="332"/>
                </a:cubicBezTo>
                <a:cubicBezTo>
                  <a:pt x="649" y="332"/>
                  <a:pt x="649" y="332"/>
                  <a:pt x="649" y="332"/>
                </a:cubicBezTo>
                <a:cubicBezTo>
                  <a:pt x="650" y="333"/>
                  <a:pt x="650" y="333"/>
                  <a:pt x="650" y="333"/>
                </a:cubicBezTo>
                <a:cubicBezTo>
                  <a:pt x="650" y="333"/>
                  <a:pt x="650" y="333"/>
                  <a:pt x="650" y="333"/>
                </a:cubicBezTo>
                <a:cubicBezTo>
                  <a:pt x="650" y="334"/>
                  <a:pt x="650" y="334"/>
                  <a:pt x="650" y="334"/>
                </a:cubicBezTo>
                <a:cubicBezTo>
                  <a:pt x="651" y="334"/>
                  <a:pt x="651" y="334"/>
                  <a:pt x="651" y="334"/>
                </a:cubicBezTo>
                <a:cubicBezTo>
                  <a:pt x="651" y="333"/>
                  <a:pt x="651" y="333"/>
                  <a:pt x="651" y="333"/>
                </a:cubicBezTo>
                <a:cubicBezTo>
                  <a:pt x="653" y="333"/>
                  <a:pt x="653" y="333"/>
                  <a:pt x="653" y="333"/>
                </a:cubicBezTo>
                <a:cubicBezTo>
                  <a:pt x="654" y="332"/>
                  <a:pt x="654" y="332"/>
                  <a:pt x="654" y="332"/>
                </a:cubicBezTo>
                <a:cubicBezTo>
                  <a:pt x="655" y="333"/>
                  <a:pt x="655" y="333"/>
                  <a:pt x="655" y="333"/>
                </a:cubicBezTo>
                <a:cubicBezTo>
                  <a:pt x="657" y="333"/>
                  <a:pt x="657" y="333"/>
                  <a:pt x="657" y="333"/>
                </a:cubicBezTo>
                <a:cubicBezTo>
                  <a:pt x="658" y="334"/>
                  <a:pt x="658" y="334"/>
                  <a:pt x="658" y="334"/>
                </a:cubicBezTo>
                <a:cubicBezTo>
                  <a:pt x="658" y="336"/>
                  <a:pt x="658" y="336"/>
                  <a:pt x="658" y="336"/>
                </a:cubicBezTo>
                <a:cubicBezTo>
                  <a:pt x="659" y="336"/>
                  <a:pt x="659" y="336"/>
                  <a:pt x="659" y="336"/>
                </a:cubicBezTo>
                <a:cubicBezTo>
                  <a:pt x="661" y="336"/>
                  <a:pt x="661" y="336"/>
                  <a:pt x="661" y="336"/>
                </a:cubicBezTo>
                <a:cubicBezTo>
                  <a:pt x="662" y="337"/>
                  <a:pt x="662" y="337"/>
                  <a:pt x="662" y="337"/>
                </a:cubicBezTo>
                <a:cubicBezTo>
                  <a:pt x="664" y="338"/>
                  <a:pt x="664" y="338"/>
                  <a:pt x="664" y="338"/>
                </a:cubicBezTo>
                <a:cubicBezTo>
                  <a:pt x="665" y="339"/>
                  <a:pt x="665" y="339"/>
                  <a:pt x="665" y="339"/>
                </a:cubicBezTo>
                <a:cubicBezTo>
                  <a:pt x="666" y="339"/>
                  <a:pt x="666" y="339"/>
                  <a:pt x="666" y="339"/>
                </a:cubicBezTo>
                <a:cubicBezTo>
                  <a:pt x="666" y="340"/>
                  <a:pt x="666" y="340"/>
                  <a:pt x="666" y="340"/>
                </a:cubicBezTo>
                <a:cubicBezTo>
                  <a:pt x="667" y="340"/>
                  <a:pt x="667" y="340"/>
                  <a:pt x="667" y="340"/>
                </a:cubicBezTo>
                <a:cubicBezTo>
                  <a:pt x="668" y="342"/>
                  <a:pt x="668" y="342"/>
                  <a:pt x="668" y="342"/>
                </a:cubicBezTo>
                <a:cubicBezTo>
                  <a:pt x="668" y="343"/>
                  <a:pt x="668" y="343"/>
                  <a:pt x="668" y="343"/>
                </a:cubicBezTo>
                <a:cubicBezTo>
                  <a:pt x="668" y="344"/>
                  <a:pt x="668" y="344"/>
                  <a:pt x="668" y="344"/>
                </a:cubicBezTo>
                <a:cubicBezTo>
                  <a:pt x="667" y="345"/>
                  <a:pt x="667" y="345"/>
                  <a:pt x="667" y="345"/>
                </a:cubicBezTo>
                <a:cubicBezTo>
                  <a:pt x="668" y="346"/>
                  <a:pt x="668" y="346"/>
                  <a:pt x="668" y="346"/>
                </a:cubicBezTo>
                <a:cubicBezTo>
                  <a:pt x="669" y="346"/>
                  <a:pt x="669" y="346"/>
                  <a:pt x="669" y="346"/>
                </a:cubicBezTo>
                <a:cubicBezTo>
                  <a:pt x="670" y="348"/>
                  <a:pt x="670" y="348"/>
                  <a:pt x="670" y="348"/>
                </a:cubicBezTo>
                <a:cubicBezTo>
                  <a:pt x="671" y="349"/>
                  <a:pt x="671" y="349"/>
                  <a:pt x="671" y="349"/>
                </a:cubicBezTo>
                <a:cubicBezTo>
                  <a:pt x="670" y="350"/>
                  <a:pt x="670" y="350"/>
                  <a:pt x="670" y="350"/>
                </a:cubicBezTo>
                <a:cubicBezTo>
                  <a:pt x="670" y="352"/>
                  <a:pt x="670" y="352"/>
                  <a:pt x="670" y="352"/>
                </a:cubicBezTo>
                <a:cubicBezTo>
                  <a:pt x="671" y="353"/>
                  <a:pt x="671" y="353"/>
                  <a:pt x="671" y="353"/>
                </a:cubicBezTo>
                <a:cubicBezTo>
                  <a:pt x="672" y="353"/>
                  <a:pt x="672" y="353"/>
                  <a:pt x="672" y="353"/>
                </a:cubicBezTo>
                <a:cubicBezTo>
                  <a:pt x="673" y="352"/>
                  <a:pt x="673" y="352"/>
                  <a:pt x="673" y="352"/>
                </a:cubicBezTo>
                <a:cubicBezTo>
                  <a:pt x="673" y="353"/>
                  <a:pt x="673" y="353"/>
                  <a:pt x="673" y="353"/>
                </a:cubicBezTo>
                <a:cubicBezTo>
                  <a:pt x="673" y="354"/>
                  <a:pt x="673" y="354"/>
                  <a:pt x="673" y="354"/>
                </a:cubicBezTo>
                <a:cubicBezTo>
                  <a:pt x="673" y="356"/>
                  <a:pt x="673" y="356"/>
                  <a:pt x="673" y="356"/>
                </a:cubicBezTo>
                <a:cubicBezTo>
                  <a:pt x="674" y="356"/>
                  <a:pt x="674" y="356"/>
                  <a:pt x="674" y="356"/>
                </a:cubicBezTo>
                <a:cubicBezTo>
                  <a:pt x="673" y="357"/>
                  <a:pt x="673" y="357"/>
                  <a:pt x="673" y="357"/>
                </a:cubicBezTo>
                <a:cubicBezTo>
                  <a:pt x="673" y="358"/>
                  <a:pt x="673" y="358"/>
                  <a:pt x="673" y="358"/>
                </a:cubicBezTo>
                <a:cubicBezTo>
                  <a:pt x="673" y="359"/>
                  <a:pt x="673" y="359"/>
                  <a:pt x="673" y="359"/>
                </a:cubicBezTo>
                <a:cubicBezTo>
                  <a:pt x="673" y="360"/>
                  <a:pt x="673" y="360"/>
                  <a:pt x="673" y="360"/>
                </a:cubicBezTo>
                <a:cubicBezTo>
                  <a:pt x="673" y="361"/>
                  <a:pt x="673" y="361"/>
                  <a:pt x="673" y="361"/>
                </a:cubicBezTo>
                <a:cubicBezTo>
                  <a:pt x="673" y="362"/>
                  <a:pt x="673" y="362"/>
                  <a:pt x="673" y="362"/>
                </a:cubicBezTo>
                <a:cubicBezTo>
                  <a:pt x="673" y="362"/>
                  <a:pt x="673" y="362"/>
                  <a:pt x="673" y="362"/>
                </a:cubicBezTo>
                <a:cubicBezTo>
                  <a:pt x="674" y="363"/>
                  <a:pt x="674" y="363"/>
                  <a:pt x="674" y="363"/>
                </a:cubicBezTo>
                <a:cubicBezTo>
                  <a:pt x="673" y="364"/>
                  <a:pt x="673" y="364"/>
                  <a:pt x="673" y="364"/>
                </a:cubicBezTo>
                <a:cubicBezTo>
                  <a:pt x="674" y="367"/>
                  <a:pt x="674" y="367"/>
                  <a:pt x="674" y="367"/>
                </a:cubicBezTo>
                <a:cubicBezTo>
                  <a:pt x="673" y="367"/>
                  <a:pt x="673" y="367"/>
                  <a:pt x="673" y="367"/>
                </a:cubicBezTo>
                <a:cubicBezTo>
                  <a:pt x="674" y="370"/>
                  <a:pt x="674" y="370"/>
                  <a:pt x="674" y="370"/>
                </a:cubicBezTo>
                <a:cubicBezTo>
                  <a:pt x="674" y="371"/>
                  <a:pt x="674" y="371"/>
                  <a:pt x="674" y="371"/>
                </a:cubicBezTo>
                <a:cubicBezTo>
                  <a:pt x="674" y="372"/>
                  <a:pt x="674" y="372"/>
                  <a:pt x="674" y="372"/>
                </a:cubicBezTo>
                <a:cubicBezTo>
                  <a:pt x="675" y="376"/>
                  <a:pt x="675" y="376"/>
                  <a:pt x="675" y="376"/>
                </a:cubicBezTo>
                <a:cubicBezTo>
                  <a:pt x="676" y="376"/>
                  <a:pt x="676" y="376"/>
                  <a:pt x="676" y="376"/>
                </a:cubicBezTo>
                <a:cubicBezTo>
                  <a:pt x="677" y="375"/>
                  <a:pt x="677" y="375"/>
                  <a:pt x="677" y="375"/>
                </a:cubicBezTo>
                <a:cubicBezTo>
                  <a:pt x="677" y="376"/>
                  <a:pt x="677" y="376"/>
                  <a:pt x="677" y="376"/>
                </a:cubicBezTo>
                <a:cubicBezTo>
                  <a:pt x="676" y="377"/>
                  <a:pt x="676" y="377"/>
                  <a:pt x="676" y="377"/>
                </a:cubicBezTo>
                <a:cubicBezTo>
                  <a:pt x="676" y="378"/>
                  <a:pt x="676" y="378"/>
                  <a:pt x="676" y="378"/>
                </a:cubicBezTo>
                <a:cubicBezTo>
                  <a:pt x="676" y="379"/>
                  <a:pt x="676" y="379"/>
                  <a:pt x="676" y="379"/>
                </a:cubicBezTo>
                <a:cubicBezTo>
                  <a:pt x="677" y="379"/>
                  <a:pt x="677" y="379"/>
                  <a:pt x="677" y="379"/>
                </a:cubicBezTo>
                <a:cubicBezTo>
                  <a:pt x="679" y="381"/>
                  <a:pt x="679" y="381"/>
                  <a:pt x="679" y="381"/>
                </a:cubicBezTo>
                <a:cubicBezTo>
                  <a:pt x="679" y="383"/>
                  <a:pt x="679" y="383"/>
                  <a:pt x="679" y="383"/>
                </a:cubicBezTo>
                <a:cubicBezTo>
                  <a:pt x="679" y="384"/>
                  <a:pt x="679" y="384"/>
                  <a:pt x="679" y="384"/>
                </a:cubicBezTo>
                <a:cubicBezTo>
                  <a:pt x="679" y="385"/>
                  <a:pt x="679" y="385"/>
                  <a:pt x="679" y="385"/>
                </a:cubicBezTo>
                <a:cubicBezTo>
                  <a:pt x="679" y="388"/>
                  <a:pt x="679" y="388"/>
                  <a:pt x="679" y="388"/>
                </a:cubicBezTo>
                <a:cubicBezTo>
                  <a:pt x="680" y="388"/>
                  <a:pt x="680" y="388"/>
                  <a:pt x="680" y="388"/>
                </a:cubicBezTo>
                <a:cubicBezTo>
                  <a:pt x="680" y="390"/>
                  <a:pt x="680" y="390"/>
                  <a:pt x="680" y="390"/>
                </a:cubicBezTo>
                <a:cubicBezTo>
                  <a:pt x="680" y="390"/>
                  <a:pt x="680" y="390"/>
                  <a:pt x="680" y="390"/>
                </a:cubicBezTo>
                <a:cubicBezTo>
                  <a:pt x="680" y="392"/>
                  <a:pt x="680" y="392"/>
                  <a:pt x="680" y="392"/>
                </a:cubicBezTo>
                <a:cubicBezTo>
                  <a:pt x="681" y="393"/>
                  <a:pt x="681" y="393"/>
                  <a:pt x="681" y="393"/>
                </a:cubicBezTo>
                <a:cubicBezTo>
                  <a:pt x="681" y="395"/>
                  <a:pt x="681" y="395"/>
                  <a:pt x="681" y="395"/>
                </a:cubicBezTo>
                <a:cubicBezTo>
                  <a:pt x="679" y="397"/>
                  <a:pt x="679" y="397"/>
                  <a:pt x="679" y="397"/>
                </a:cubicBezTo>
                <a:cubicBezTo>
                  <a:pt x="679" y="398"/>
                  <a:pt x="679" y="398"/>
                  <a:pt x="679" y="398"/>
                </a:cubicBezTo>
                <a:cubicBezTo>
                  <a:pt x="678" y="400"/>
                  <a:pt x="678" y="400"/>
                  <a:pt x="678" y="400"/>
                </a:cubicBezTo>
                <a:cubicBezTo>
                  <a:pt x="678" y="403"/>
                  <a:pt x="678" y="403"/>
                  <a:pt x="678" y="403"/>
                </a:cubicBezTo>
                <a:cubicBezTo>
                  <a:pt x="678" y="403"/>
                  <a:pt x="678" y="403"/>
                  <a:pt x="678" y="403"/>
                </a:cubicBezTo>
                <a:cubicBezTo>
                  <a:pt x="678" y="405"/>
                  <a:pt x="678" y="405"/>
                  <a:pt x="678" y="405"/>
                </a:cubicBezTo>
                <a:cubicBezTo>
                  <a:pt x="677" y="406"/>
                  <a:pt x="677" y="406"/>
                  <a:pt x="677" y="406"/>
                </a:cubicBezTo>
                <a:cubicBezTo>
                  <a:pt x="677" y="407"/>
                  <a:pt x="677" y="407"/>
                  <a:pt x="677" y="407"/>
                </a:cubicBezTo>
                <a:cubicBezTo>
                  <a:pt x="676" y="409"/>
                  <a:pt x="676" y="409"/>
                  <a:pt x="676" y="409"/>
                </a:cubicBezTo>
                <a:cubicBezTo>
                  <a:pt x="677" y="409"/>
                  <a:pt x="677" y="409"/>
                  <a:pt x="677" y="409"/>
                </a:cubicBezTo>
                <a:cubicBezTo>
                  <a:pt x="677" y="410"/>
                  <a:pt x="677" y="410"/>
                  <a:pt x="677" y="410"/>
                </a:cubicBezTo>
                <a:cubicBezTo>
                  <a:pt x="676" y="412"/>
                  <a:pt x="676" y="412"/>
                  <a:pt x="676" y="412"/>
                </a:cubicBezTo>
                <a:cubicBezTo>
                  <a:pt x="676" y="415"/>
                  <a:pt x="676" y="415"/>
                  <a:pt x="676" y="415"/>
                </a:cubicBezTo>
                <a:cubicBezTo>
                  <a:pt x="675" y="416"/>
                  <a:pt x="675" y="416"/>
                  <a:pt x="675" y="416"/>
                </a:cubicBezTo>
                <a:cubicBezTo>
                  <a:pt x="676" y="418"/>
                  <a:pt x="676" y="418"/>
                  <a:pt x="676" y="418"/>
                </a:cubicBezTo>
                <a:cubicBezTo>
                  <a:pt x="676" y="418"/>
                  <a:pt x="676" y="418"/>
                  <a:pt x="676" y="418"/>
                </a:cubicBezTo>
                <a:cubicBezTo>
                  <a:pt x="676" y="419"/>
                  <a:pt x="676" y="419"/>
                  <a:pt x="676" y="419"/>
                </a:cubicBezTo>
                <a:cubicBezTo>
                  <a:pt x="675" y="421"/>
                  <a:pt x="675" y="421"/>
                  <a:pt x="675" y="421"/>
                </a:cubicBezTo>
                <a:cubicBezTo>
                  <a:pt x="674" y="422"/>
                  <a:pt x="674" y="422"/>
                  <a:pt x="674" y="422"/>
                </a:cubicBezTo>
                <a:cubicBezTo>
                  <a:pt x="673" y="423"/>
                  <a:pt x="673" y="423"/>
                  <a:pt x="673" y="423"/>
                </a:cubicBezTo>
                <a:cubicBezTo>
                  <a:pt x="673" y="425"/>
                  <a:pt x="673" y="425"/>
                  <a:pt x="673" y="425"/>
                </a:cubicBezTo>
                <a:cubicBezTo>
                  <a:pt x="672" y="426"/>
                  <a:pt x="672" y="426"/>
                  <a:pt x="672" y="426"/>
                </a:cubicBezTo>
                <a:cubicBezTo>
                  <a:pt x="670" y="432"/>
                  <a:pt x="670" y="432"/>
                  <a:pt x="670" y="432"/>
                </a:cubicBezTo>
                <a:cubicBezTo>
                  <a:pt x="670" y="432"/>
                  <a:pt x="670" y="432"/>
                  <a:pt x="670" y="432"/>
                </a:cubicBezTo>
                <a:cubicBezTo>
                  <a:pt x="670" y="434"/>
                  <a:pt x="670" y="434"/>
                  <a:pt x="670" y="434"/>
                </a:cubicBezTo>
                <a:cubicBezTo>
                  <a:pt x="670" y="434"/>
                  <a:pt x="670" y="434"/>
                  <a:pt x="670" y="434"/>
                </a:cubicBezTo>
                <a:cubicBezTo>
                  <a:pt x="670" y="435"/>
                  <a:pt x="670" y="435"/>
                  <a:pt x="670" y="435"/>
                </a:cubicBezTo>
                <a:cubicBezTo>
                  <a:pt x="668" y="436"/>
                  <a:pt x="668" y="436"/>
                  <a:pt x="668" y="436"/>
                </a:cubicBezTo>
                <a:cubicBezTo>
                  <a:pt x="668" y="437"/>
                  <a:pt x="668" y="437"/>
                  <a:pt x="668" y="437"/>
                </a:cubicBezTo>
                <a:cubicBezTo>
                  <a:pt x="667" y="438"/>
                  <a:pt x="667" y="438"/>
                  <a:pt x="667" y="438"/>
                </a:cubicBezTo>
                <a:cubicBezTo>
                  <a:pt x="667" y="440"/>
                  <a:pt x="667" y="440"/>
                  <a:pt x="667" y="440"/>
                </a:cubicBezTo>
                <a:cubicBezTo>
                  <a:pt x="666" y="440"/>
                  <a:pt x="666" y="440"/>
                  <a:pt x="666" y="440"/>
                </a:cubicBezTo>
                <a:cubicBezTo>
                  <a:pt x="667" y="441"/>
                  <a:pt x="667" y="441"/>
                  <a:pt x="667" y="441"/>
                </a:cubicBezTo>
                <a:cubicBezTo>
                  <a:pt x="666" y="443"/>
                  <a:pt x="666" y="443"/>
                  <a:pt x="666" y="443"/>
                </a:cubicBezTo>
                <a:cubicBezTo>
                  <a:pt x="665" y="443"/>
                  <a:pt x="665" y="443"/>
                  <a:pt x="665" y="443"/>
                </a:cubicBezTo>
                <a:cubicBezTo>
                  <a:pt x="664" y="442"/>
                  <a:pt x="664" y="442"/>
                  <a:pt x="664" y="442"/>
                </a:cubicBezTo>
                <a:cubicBezTo>
                  <a:pt x="665" y="444"/>
                  <a:pt x="665" y="444"/>
                  <a:pt x="665" y="444"/>
                </a:cubicBezTo>
                <a:cubicBezTo>
                  <a:pt x="665" y="445"/>
                  <a:pt x="665" y="445"/>
                  <a:pt x="665" y="445"/>
                </a:cubicBezTo>
                <a:cubicBezTo>
                  <a:pt x="663" y="446"/>
                  <a:pt x="663" y="446"/>
                  <a:pt x="663" y="446"/>
                </a:cubicBezTo>
                <a:cubicBezTo>
                  <a:pt x="664" y="447"/>
                  <a:pt x="664" y="447"/>
                  <a:pt x="664" y="447"/>
                </a:cubicBezTo>
                <a:cubicBezTo>
                  <a:pt x="662" y="449"/>
                  <a:pt x="662" y="449"/>
                  <a:pt x="662" y="449"/>
                </a:cubicBezTo>
                <a:cubicBezTo>
                  <a:pt x="661" y="451"/>
                  <a:pt x="661" y="451"/>
                  <a:pt x="661" y="451"/>
                </a:cubicBezTo>
                <a:cubicBezTo>
                  <a:pt x="660" y="451"/>
                  <a:pt x="660" y="451"/>
                  <a:pt x="660" y="451"/>
                </a:cubicBezTo>
                <a:cubicBezTo>
                  <a:pt x="660" y="452"/>
                  <a:pt x="660" y="452"/>
                  <a:pt x="660" y="452"/>
                </a:cubicBezTo>
                <a:cubicBezTo>
                  <a:pt x="658" y="452"/>
                  <a:pt x="658" y="452"/>
                  <a:pt x="658" y="452"/>
                </a:cubicBezTo>
                <a:cubicBezTo>
                  <a:pt x="656" y="453"/>
                  <a:pt x="656" y="453"/>
                  <a:pt x="656" y="453"/>
                </a:cubicBezTo>
                <a:cubicBezTo>
                  <a:pt x="656" y="453"/>
                  <a:pt x="656" y="453"/>
                  <a:pt x="656" y="453"/>
                </a:cubicBezTo>
                <a:cubicBezTo>
                  <a:pt x="655" y="453"/>
                  <a:pt x="655" y="453"/>
                  <a:pt x="655" y="453"/>
                </a:cubicBezTo>
                <a:cubicBezTo>
                  <a:pt x="653" y="452"/>
                  <a:pt x="653" y="452"/>
                  <a:pt x="653" y="452"/>
                </a:cubicBezTo>
                <a:cubicBezTo>
                  <a:pt x="651" y="452"/>
                  <a:pt x="651" y="452"/>
                  <a:pt x="651" y="452"/>
                </a:cubicBezTo>
                <a:cubicBezTo>
                  <a:pt x="651" y="449"/>
                  <a:pt x="651" y="449"/>
                  <a:pt x="651" y="449"/>
                </a:cubicBezTo>
                <a:cubicBezTo>
                  <a:pt x="650" y="449"/>
                  <a:pt x="650" y="449"/>
                  <a:pt x="650" y="449"/>
                </a:cubicBezTo>
                <a:cubicBezTo>
                  <a:pt x="649" y="449"/>
                  <a:pt x="649" y="449"/>
                  <a:pt x="649" y="449"/>
                </a:cubicBezTo>
                <a:cubicBezTo>
                  <a:pt x="647" y="449"/>
                  <a:pt x="647" y="449"/>
                  <a:pt x="647" y="449"/>
                </a:cubicBezTo>
                <a:cubicBezTo>
                  <a:pt x="647" y="449"/>
                  <a:pt x="647" y="449"/>
                  <a:pt x="647" y="449"/>
                </a:cubicBezTo>
                <a:cubicBezTo>
                  <a:pt x="647" y="450"/>
                  <a:pt x="647" y="450"/>
                  <a:pt x="647" y="450"/>
                </a:cubicBezTo>
                <a:cubicBezTo>
                  <a:pt x="646" y="451"/>
                  <a:pt x="646" y="451"/>
                  <a:pt x="646" y="451"/>
                </a:cubicBezTo>
                <a:cubicBezTo>
                  <a:pt x="646" y="454"/>
                  <a:pt x="646" y="454"/>
                  <a:pt x="646" y="454"/>
                </a:cubicBezTo>
                <a:cubicBezTo>
                  <a:pt x="645" y="454"/>
                  <a:pt x="645" y="454"/>
                  <a:pt x="645" y="454"/>
                </a:cubicBezTo>
                <a:cubicBezTo>
                  <a:pt x="644" y="456"/>
                  <a:pt x="644" y="456"/>
                  <a:pt x="644" y="456"/>
                </a:cubicBezTo>
                <a:cubicBezTo>
                  <a:pt x="644" y="456"/>
                  <a:pt x="644" y="456"/>
                  <a:pt x="644" y="456"/>
                </a:cubicBezTo>
                <a:cubicBezTo>
                  <a:pt x="642" y="456"/>
                  <a:pt x="642" y="456"/>
                  <a:pt x="642" y="456"/>
                </a:cubicBezTo>
                <a:cubicBezTo>
                  <a:pt x="642" y="458"/>
                  <a:pt x="642" y="458"/>
                  <a:pt x="642" y="458"/>
                </a:cubicBezTo>
                <a:cubicBezTo>
                  <a:pt x="642" y="458"/>
                  <a:pt x="642" y="458"/>
                  <a:pt x="642" y="458"/>
                </a:cubicBezTo>
                <a:close/>
                <a:moveTo>
                  <a:pt x="208" y="462"/>
                </a:moveTo>
                <a:cubicBezTo>
                  <a:pt x="206" y="461"/>
                  <a:pt x="206" y="461"/>
                  <a:pt x="206" y="461"/>
                </a:cubicBezTo>
                <a:cubicBezTo>
                  <a:pt x="199" y="462"/>
                  <a:pt x="199" y="462"/>
                  <a:pt x="199" y="462"/>
                </a:cubicBezTo>
                <a:cubicBezTo>
                  <a:pt x="208" y="462"/>
                  <a:pt x="208" y="462"/>
                  <a:pt x="208" y="462"/>
                </a:cubicBezTo>
                <a:close/>
                <a:moveTo>
                  <a:pt x="734" y="436"/>
                </a:moveTo>
                <a:cubicBezTo>
                  <a:pt x="735" y="436"/>
                  <a:pt x="735" y="436"/>
                  <a:pt x="735" y="436"/>
                </a:cubicBezTo>
                <a:cubicBezTo>
                  <a:pt x="736" y="435"/>
                  <a:pt x="736" y="435"/>
                  <a:pt x="736" y="435"/>
                </a:cubicBezTo>
                <a:cubicBezTo>
                  <a:pt x="736" y="434"/>
                  <a:pt x="736" y="434"/>
                  <a:pt x="736" y="434"/>
                </a:cubicBezTo>
                <a:cubicBezTo>
                  <a:pt x="735" y="434"/>
                  <a:pt x="735" y="434"/>
                  <a:pt x="735" y="434"/>
                </a:cubicBezTo>
                <a:cubicBezTo>
                  <a:pt x="734" y="436"/>
                  <a:pt x="734" y="436"/>
                  <a:pt x="734" y="436"/>
                </a:cubicBezTo>
                <a:close/>
                <a:moveTo>
                  <a:pt x="41" y="64"/>
                </a:moveTo>
                <a:cubicBezTo>
                  <a:pt x="40" y="62"/>
                  <a:pt x="40" y="62"/>
                  <a:pt x="40" y="62"/>
                </a:cubicBezTo>
                <a:cubicBezTo>
                  <a:pt x="40" y="60"/>
                  <a:pt x="40" y="60"/>
                  <a:pt x="40" y="60"/>
                </a:cubicBezTo>
                <a:cubicBezTo>
                  <a:pt x="39" y="60"/>
                  <a:pt x="39" y="60"/>
                  <a:pt x="39" y="60"/>
                </a:cubicBezTo>
                <a:cubicBezTo>
                  <a:pt x="39" y="59"/>
                  <a:pt x="39" y="59"/>
                  <a:pt x="39" y="59"/>
                </a:cubicBezTo>
                <a:cubicBezTo>
                  <a:pt x="38" y="58"/>
                  <a:pt x="38" y="58"/>
                  <a:pt x="38" y="58"/>
                </a:cubicBezTo>
                <a:cubicBezTo>
                  <a:pt x="39" y="57"/>
                  <a:pt x="39" y="57"/>
                  <a:pt x="39" y="57"/>
                </a:cubicBezTo>
                <a:cubicBezTo>
                  <a:pt x="40" y="56"/>
                  <a:pt x="40" y="56"/>
                  <a:pt x="40" y="56"/>
                </a:cubicBezTo>
                <a:cubicBezTo>
                  <a:pt x="42" y="55"/>
                  <a:pt x="42" y="55"/>
                  <a:pt x="42" y="55"/>
                </a:cubicBezTo>
                <a:cubicBezTo>
                  <a:pt x="43" y="55"/>
                  <a:pt x="43" y="55"/>
                  <a:pt x="43" y="55"/>
                </a:cubicBezTo>
                <a:cubicBezTo>
                  <a:pt x="44" y="55"/>
                  <a:pt x="44" y="55"/>
                  <a:pt x="44" y="55"/>
                </a:cubicBezTo>
                <a:cubicBezTo>
                  <a:pt x="44" y="56"/>
                  <a:pt x="44" y="56"/>
                  <a:pt x="44" y="56"/>
                </a:cubicBezTo>
                <a:cubicBezTo>
                  <a:pt x="46" y="57"/>
                  <a:pt x="46" y="57"/>
                  <a:pt x="46" y="57"/>
                </a:cubicBezTo>
                <a:cubicBezTo>
                  <a:pt x="47" y="57"/>
                  <a:pt x="47" y="57"/>
                  <a:pt x="47" y="57"/>
                </a:cubicBezTo>
                <a:cubicBezTo>
                  <a:pt x="47" y="56"/>
                  <a:pt x="47" y="56"/>
                  <a:pt x="47" y="56"/>
                </a:cubicBezTo>
                <a:cubicBezTo>
                  <a:pt x="48" y="56"/>
                  <a:pt x="48" y="56"/>
                  <a:pt x="48" y="56"/>
                </a:cubicBezTo>
                <a:cubicBezTo>
                  <a:pt x="47" y="55"/>
                  <a:pt x="47" y="55"/>
                  <a:pt x="47" y="55"/>
                </a:cubicBezTo>
                <a:cubicBezTo>
                  <a:pt x="46" y="55"/>
                  <a:pt x="46" y="55"/>
                  <a:pt x="46" y="55"/>
                </a:cubicBezTo>
                <a:cubicBezTo>
                  <a:pt x="43" y="53"/>
                  <a:pt x="43" y="53"/>
                  <a:pt x="43" y="53"/>
                </a:cubicBezTo>
                <a:cubicBezTo>
                  <a:pt x="40" y="52"/>
                  <a:pt x="40" y="52"/>
                  <a:pt x="40" y="52"/>
                </a:cubicBezTo>
                <a:cubicBezTo>
                  <a:pt x="38" y="53"/>
                  <a:pt x="38" y="53"/>
                  <a:pt x="38" y="53"/>
                </a:cubicBezTo>
                <a:cubicBezTo>
                  <a:pt x="36" y="55"/>
                  <a:pt x="36" y="55"/>
                  <a:pt x="36" y="55"/>
                </a:cubicBezTo>
                <a:cubicBezTo>
                  <a:pt x="35" y="56"/>
                  <a:pt x="35" y="56"/>
                  <a:pt x="35" y="56"/>
                </a:cubicBezTo>
                <a:cubicBezTo>
                  <a:pt x="33" y="57"/>
                  <a:pt x="33" y="57"/>
                  <a:pt x="33" y="57"/>
                </a:cubicBezTo>
                <a:cubicBezTo>
                  <a:pt x="32" y="58"/>
                  <a:pt x="32" y="58"/>
                  <a:pt x="32" y="58"/>
                </a:cubicBezTo>
                <a:cubicBezTo>
                  <a:pt x="32" y="61"/>
                  <a:pt x="32" y="61"/>
                  <a:pt x="32" y="61"/>
                </a:cubicBezTo>
                <a:cubicBezTo>
                  <a:pt x="33" y="62"/>
                  <a:pt x="33" y="62"/>
                  <a:pt x="33" y="62"/>
                </a:cubicBezTo>
                <a:cubicBezTo>
                  <a:pt x="34" y="61"/>
                  <a:pt x="34" y="61"/>
                  <a:pt x="34" y="61"/>
                </a:cubicBezTo>
                <a:cubicBezTo>
                  <a:pt x="36" y="62"/>
                  <a:pt x="36" y="62"/>
                  <a:pt x="36" y="62"/>
                </a:cubicBezTo>
                <a:cubicBezTo>
                  <a:pt x="36" y="63"/>
                  <a:pt x="36" y="63"/>
                  <a:pt x="36" y="63"/>
                </a:cubicBezTo>
                <a:cubicBezTo>
                  <a:pt x="37" y="63"/>
                  <a:pt x="37" y="63"/>
                  <a:pt x="37" y="63"/>
                </a:cubicBezTo>
                <a:cubicBezTo>
                  <a:pt x="37" y="62"/>
                  <a:pt x="37" y="62"/>
                  <a:pt x="37" y="62"/>
                </a:cubicBezTo>
                <a:cubicBezTo>
                  <a:pt x="37" y="62"/>
                  <a:pt x="37" y="62"/>
                  <a:pt x="37" y="62"/>
                </a:cubicBezTo>
                <a:cubicBezTo>
                  <a:pt x="38" y="61"/>
                  <a:pt x="38" y="61"/>
                  <a:pt x="38" y="61"/>
                </a:cubicBezTo>
                <a:cubicBezTo>
                  <a:pt x="39" y="62"/>
                  <a:pt x="39" y="62"/>
                  <a:pt x="39" y="62"/>
                </a:cubicBezTo>
                <a:cubicBezTo>
                  <a:pt x="40" y="64"/>
                  <a:pt x="40" y="64"/>
                  <a:pt x="40" y="64"/>
                </a:cubicBezTo>
                <a:cubicBezTo>
                  <a:pt x="41" y="64"/>
                  <a:pt x="41" y="64"/>
                  <a:pt x="41" y="64"/>
                </a:cubicBezTo>
                <a:cubicBezTo>
                  <a:pt x="41" y="64"/>
                  <a:pt x="41" y="64"/>
                  <a:pt x="41" y="64"/>
                </a:cubicBezTo>
                <a:close/>
                <a:moveTo>
                  <a:pt x="51" y="45"/>
                </a:moveTo>
                <a:cubicBezTo>
                  <a:pt x="51" y="44"/>
                  <a:pt x="51" y="44"/>
                  <a:pt x="51" y="44"/>
                </a:cubicBezTo>
                <a:cubicBezTo>
                  <a:pt x="52" y="43"/>
                  <a:pt x="52" y="43"/>
                  <a:pt x="52" y="43"/>
                </a:cubicBezTo>
                <a:cubicBezTo>
                  <a:pt x="52" y="43"/>
                  <a:pt x="52" y="43"/>
                  <a:pt x="52" y="43"/>
                </a:cubicBezTo>
                <a:cubicBezTo>
                  <a:pt x="53" y="44"/>
                  <a:pt x="53" y="44"/>
                  <a:pt x="53" y="44"/>
                </a:cubicBezTo>
                <a:cubicBezTo>
                  <a:pt x="53" y="45"/>
                  <a:pt x="53" y="45"/>
                  <a:pt x="53" y="45"/>
                </a:cubicBezTo>
                <a:cubicBezTo>
                  <a:pt x="53" y="45"/>
                  <a:pt x="53" y="45"/>
                  <a:pt x="53" y="45"/>
                </a:cubicBezTo>
                <a:cubicBezTo>
                  <a:pt x="51" y="45"/>
                  <a:pt x="51" y="45"/>
                  <a:pt x="51" y="45"/>
                </a:cubicBezTo>
                <a:cubicBezTo>
                  <a:pt x="51" y="45"/>
                  <a:pt x="51" y="45"/>
                  <a:pt x="51" y="45"/>
                </a:cubicBezTo>
                <a:close/>
                <a:moveTo>
                  <a:pt x="48" y="70"/>
                </a:moveTo>
                <a:cubicBezTo>
                  <a:pt x="49" y="70"/>
                  <a:pt x="49" y="70"/>
                  <a:pt x="49" y="70"/>
                </a:cubicBezTo>
                <a:cubicBezTo>
                  <a:pt x="49" y="70"/>
                  <a:pt x="49" y="70"/>
                  <a:pt x="49" y="70"/>
                </a:cubicBezTo>
                <a:cubicBezTo>
                  <a:pt x="50" y="69"/>
                  <a:pt x="50" y="69"/>
                  <a:pt x="50" y="69"/>
                </a:cubicBezTo>
                <a:cubicBezTo>
                  <a:pt x="50" y="68"/>
                  <a:pt x="50" y="68"/>
                  <a:pt x="50" y="68"/>
                </a:cubicBezTo>
                <a:cubicBezTo>
                  <a:pt x="50" y="67"/>
                  <a:pt x="50" y="67"/>
                  <a:pt x="50" y="67"/>
                </a:cubicBezTo>
                <a:cubicBezTo>
                  <a:pt x="51" y="68"/>
                  <a:pt x="51" y="68"/>
                  <a:pt x="51" y="68"/>
                </a:cubicBezTo>
                <a:cubicBezTo>
                  <a:pt x="52" y="67"/>
                  <a:pt x="52" y="67"/>
                  <a:pt x="52" y="67"/>
                </a:cubicBezTo>
                <a:cubicBezTo>
                  <a:pt x="52" y="65"/>
                  <a:pt x="52" y="65"/>
                  <a:pt x="52" y="65"/>
                </a:cubicBezTo>
                <a:cubicBezTo>
                  <a:pt x="52" y="64"/>
                  <a:pt x="52" y="64"/>
                  <a:pt x="52" y="64"/>
                </a:cubicBezTo>
                <a:cubicBezTo>
                  <a:pt x="51" y="63"/>
                  <a:pt x="51" y="63"/>
                  <a:pt x="51" y="63"/>
                </a:cubicBezTo>
                <a:cubicBezTo>
                  <a:pt x="50" y="62"/>
                  <a:pt x="50" y="62"/>
                  <a:pt x="50" y="62"/>
                </a:cubicBezTo>
                <a:cubicBezTo>
                  <a:pt x="52" y="62"/>
                  <a:pt x="52" y="62"/>
                  <a:pt x="52" y="62"/>
                </a:cubicBezTo>
                <a:cubicBezTo>
                  <a:pt x="53" y="62"/>
                  <a:pt x="53" y="62"/>
                  <a:pt x="53" y="62"/>
                </a:cubicBezTo>
                <a:cubicBezTo>
                  <a:pt x="55" y="61"/>
                  <a:pt x="55" y="61"/>
                  <a:pt x="55" y="61"/>
                </a:cubicBezTo>
                <a:cubicBezTo>
                  <a:pt x="55" y="61"/>
                  <a:pt x="55" y="61"/>
                  <a:pt x="55" y="61"/>
                </a:cubicBezTo>
                <a:cubicBezTo>
                  <a:pt x="55" y="61"/>
                  <a:pt x="55" y="61"/>
                  <a:pt x="55" y="61"/>
                </a:cubicBezTo>
                <a:cubicBezTo>
                  <a:pt x="55" y="60"/>
                  <a:pt x="55" y="60"/>
                  <a:pt x="55" y="60"/>
                </a:cubicBezTo>
                <a:cubicBezTo>
                  <a:pt x="54" y="59"/>
                  <a:pt x="54" y="59"/>
                  <a:pt x="54" y="59"/>
                </a:cubicBezTo>
                <a:cubicBezTo>
                  <a:pt x="54" y="59"/>
                  <a:pt x="54" y="59"/>
                  <a:pt x="54" y="59"/>
                </a:cubicBezTo>
                <a:cubicBezTo>
                  <a:pt x="53" y="59"/>
                  <a:pt x="53" y="59"/>
                  <a:pt x="53" y="59"/>
                </a:cubicBezTo>
                <a:cubicBezTo>
                  <a:pt x="53" y="58"/>
                  <a:pt x="53" y="58"/>
                  <a:pt x="53" y="58"/>
                </a:cubicBezTo>
                <a:cubicBezTo>
                  <a:pt x="54" y="57"/>
                  <a:pt x="54" y="57"/>
                  <a:pt x="54" y="57"/>
                </a:cubicBezTo>
                <a:cubicBezTo>
                  <a:pt x="55" y="57"/>
                  <a:pt x="55" y="57"/>
                  <a:pt x="55" y="57"/>
                </a:cubicBezTo>
                <a:cubicBezTo>
                  <a:pt x="55" y="58"/>
                  <a:pt x="55" y="58"/>
                  <a:pt x="55" y="58"/>
                </a:cubicBezTo>
                <a:cubicBezTo>
                  <a:pt x="56" y="58"/>
                  <a:pt x="56" y="58"/>
                  <a:pt x="56" y="58"/>
                </a:cubicBezTo>
                <a:cubicBezTo>
                  <a:pt x="56" y="58"/>
                  <a:pt x="56" y="58"/>
                  <a:pt x="56" y="58"/>
                </a:cubicBezTo>
                <a:cubicBezTo>
                  <a:pt x="57" y="56"/>
                  <a:pt x="57" y="56"/>
                  <a:pt x="57" y="56"/>
                </a:cubicBezTo>
                <a:cubicBezTo>
                  <a:pt x="58" y="56"/>
                  <a:pt x="58" y="56"/>
                  <a:pt x="58" y="56"/>
                </a:cubicBezTo>
                <a:cubicBezTo>
                  <a:pt x="58" y="55"/>
                  <a:pt x="58" y="55"/>
                  <a:pt x="58" y="55"/>
                </a:cubicBezTo>
                <a:cubicBezTo>
                  <a:pt x="58" y="54"/>
                  <a:pt x="58" y="54"/>
                  <a:pt x="58" y="54"/>
                </a:cubicBezTo>
                <a:cubicBezTo>
                  <a:pt x="58" y="54"/>
                  <a:pt x="58" y="54"/>
                  <a:pt x="58" y="54"/>
                </a:cubicBezTo>
                <a:cubicBezTo>
                  <a:pt x="56" y="53"/>
                  <a:pt x="56" y="53"/>
                  <a:pt x="56" y="53"/>
                </a:cubicBezTo>
                <a:cubicBezTo>
                  <a:pt x="56" y="52"/>
                  <a:pt x="56" y="52"/>
                  <a:pt x="56" y="52"/>
                </a:cubicBezTo>
                <a:cubicBezTo>
                  <a:pt x="56" y="51"/>
                  <a:pt x="56" y="51"/>
                  <a:pt x="56" y="51"/>
                </a:cubicBezTo>
                <a:cubicBezTo>
                  <a:pt x="54" y="52"/>
                  <a:pt x="54" y="52"/>
                  <a:pt x="54" y="52"/>
                </a:cubicBezTo>
                <a:cubicBezTo>
                  <a:pt x="53" y="53"/>
                  <a:pt x="53" y="53"/>
                  <a:pt x="53" y="53"/>
                </a:cubicBezTo>
                <a:cubicBezTo>
                  <a:pt x="53" y="54"/>
                  <a:pt x="53" y="54"/>
                  <a:pt x="53" y="54"/>
                </a:cubicBezTo>
                <a:cubicBezTo>
                  <a:pt x="53" y="53"/>
                  <a:pt x="53" y="53"/>
                  <a:pt x="53" y="53"/>
                </a:cubicBezTo>
                <a:cubicBezTo>
                  <a:pt x="53" y="52"/>
                  <a:pt x="53" y="52"/>
                  <a:pt x="53" y="52"/>
                </a:cubicBezTo>
                <a:cubicBezTo>
                  <a:pt x="54" y="51"/>
                  <a:pt x="54" y="51"/>
                  <a:pt x="54" y="51"/>
                </a:cubicBezTo>
                <a:cubicBezTo>
                  <a:pt x="54" y="50"/>
                  <a:pt x="54" y="50"/>
                  <a:pt x="54" y="50"/>
                </a:cubicBezTo>
                <a:cubicBezTo>
                  <a:pt x="55" y="48"/>
                  <a:pt x="55" y="48"/>
                  <a:pt x="55" y="48"/>
                </a:cubicBezTo>
                <a:cubicBezTo>
                  <a:pt x="54" y="48"/>
                  <a:pt x="54" y="48"/>
                  <a:pt x="54" y="48"/>
                </a:cubicBezTo>
                <a:cubicBezTo>
                  <a:pt x="53" y="49"/>
                  <a:pt x="53" y="49"/>
                  <a:pt x="53" y="49"/>
                </a:cubicBezTo>
                <a:cubicBezTo>
                  <a:pt x="52" y="51"/>
                  <a:pt x="52" y="51"/>
                  <a:pt x="52" y="51"/>
                </a:cubicBezTo>
                <a:cubicBezTo>
                  <a:pt x="52" y="51"/>
                  <a:pt x="52" y="51"/>
                  <a:pt x="52" y="51"/>
                </a:cubicBezTo>
                <a:cubicBezTo>
                  <a:pt x="52" y="51"/>
                  <a:pt x="52" y="51"/>
                  <a:pt x="52" y="51"/>
                </a:cubicBezTo>
                <a:cubicBezTo>
                  <a:pt x="52" y="49"/>
                  <a:pt x="52" y="49"/>
                  <a:pt x="52" y="49"/>
                </a:cubicBezTo>
                <a:cubicBezTo>
                  <a:pt x="52" y="49"/>
                  <a:pt x="52" y="49"/>
                  <a:pt x="52" y="49"/>
                </a:cubicBezTo>
                <a:cubicBezTo>
                  <a:pt x="51" y="49"/>
                  <a:pt x="51" y="49"/>
                  <a:pt x="51" y="49"/>
                </a:cubicBezTo>
                <a:cubicBezTo>
                  <a:pt x="51" y="51"/>
                  <a:pt x="51" y="51"/>
                  <a:pt x="51" y="51"/>
                </a:cubicBezTo>
                <a:cubicBezTo>
                  <a:pt x="50" y="51"/>
                  <a:pt x="50" y="51"/>
                  <a:pt x="50" y="51"/>
                </a:cubicBezTo>
                <a:cubicBezTo>
                  <a:pt x="50" y="52"/>
                  <a:pt x="50" y="52"/>
                  <a:pt x="50" y="52"/>
                </a:cubicBezTo>
                <a:cubicBezTo>
                  <a:pt x="50" y="53"/>
                  <a:pt x="50" y="53"/>
                  <a:pt x="50" y="53"/>
                </a:cubicBezTo>
                <a:cubicBezTo>
                  <a:pt x="51" y="52"/>
                  <a:pt x="51" y="52"/>
                  <a:pt x="51" y="52"/>
                </a:cubicBezTo>
                <a:cubicBezTo>
                  <a:pt x="52" y="53"/>
                  <a:pt x="52" y="53"/>
                  <a:pt x="52" y="53"/>
                </a:cubicBezTo>
                <a:cubicBezTo>
                  <a:pt x="52" y="53"/>
                  <a:pt x="52" y="53"/>
                  <a:pt x="52" y="53"/>
                </a:cubicBezTo>
                <a:cubicBezTo>
                  <a:pt x="51" y="54"/>
                  <a:pt x="51" y="54"/>
                  <a:pt x="51" y="54"/>
                </a:cubicBezTo>
                <a:cubicBezTo>
                  <a:pt x="50" y="55"/>
                  <a:pt x="50" y="55"/>
                  <a:pt x="50" y="55"/>
                </a:cubicBezTo>
                <a:cubicBezTo>
                  <a:pt x="50" y="56"/>
                  <a:pt x="50" y="56"/>
                  <a:pt x="50" y="56"/>
                </a:cubicBezTo>
                <a:cubicBezTo>
                  <a:pt x="49" y="57"/>
                  <a:pt x="49" y="57"/>
                  <a:pt x="49" y="57"/>
                </a:cubicBezTo>
                <a:cubicBezTo>
                  <a:pt x="49" y="57"/>
                  <a:pt x="49" y="57"/>
                  <a:pt x="49" y="57"/>
                </a:cubicBezTo>
                <a:cubicBezTo>
                  <a:pt x="48" y="58"/>
                  <a:pt x="48" y="58"/>
                  <a:pt x="48" y="58"/>
                </a:cubicBezTo>
                <a:cubicBezTo>
                  <a:pt x="47" y="59"/>
                  <a:pt x="47" y="59"/>
                  <a:pt x="47" y="59"/>
                </a:cubicBezTo>
                <a:cubicBezTo>
                  <a:pt x="45" y="58"/>
                  <a:pt x="45" y="58"/>
                  <a:pt x="45" y="58"/>
                </a:cubicBezTo>
                <a:cubicBezTo>
                  <a:pt x="44" y="59"/>
                  <a:pt x="44" y="59"/>
                  <a:pt x="44" y="59"/>
                </a:cubicBezTo>
                <a:cubicBezTo>
                  <a:pt x="43" y="58"/>
                  <a:pt x="43" y="58"/>
                  <a:pt x="43" y="58"/>
                </a:cubicBezTo>
                <a:cubicBezTo>
                  <a:pt x="42" y="57"/>
                  <a:pt x="42" y="57"/>
                  <a:pt x="42" y="57"/>
                </a:cubicBezTo>
                <a:cubicBezTo>
                  <a:pt x="42" y="58"/>
                  <a:pt x="42" y="58"/>
                  <a:pt x="42" y="58"/>
                </a:cubicBezTo>
                <a:cubicBezTo>
                  <a:pt x="42" y="59"/>
                  <a:pt x="42" y="59"/>
                  <a:pt x="42" y="59"/>
                </a:cubicBezTo>
                <a:cubicBezTo>
                  <a:pt x="42" y="59"/>
                  <a:pt x="42" y="59"/>
                  <a:pt x="42" y="59"/>
                </a:cubicBezTo>
                <a:cubicBezTo>
                  <a:pt x="41" y="60"/>
                  <a:pt x="41" y="60"/>
                  <a:pt x="41" y="60"/>
                </a:cubicBezTo>
                <a:cubicBezTo>
                  <a:pt x="42" y="61"/>
                  <a:pt x="42" y="61"/>
                  <a:pt x="42" y="61"/>
                </a:cubicBezTo>
                <a:cubicBezTo>
                  <a:pt x="43" y="60"/>
                  <a:pt x="43" y="60"/>
                  <a:pt x="43" y="60"/>
                </a:cubicBezTo>
                <a:cubicBezTo>
                  <a:pt x="44" y="60"/>
                  <a:pt x="44" y="60"/>
                  <a:pt x="44" y="60"/>
                </a:cubicBezTo>
                <a:cubicBezTo>
                  <a:pt x="45" y="62"/>
                  <a:pt x="45" y="62"/>
                  <a:pt x="45" y="62"/>
                </a:cubicBezTo>
                <a:cubicBezTo>
                  <a:pt x="46" y="62"/>
                  <a:pt x="46" y="62"/>
                  <a:pt x="46" y="62"/>
                </a:cubicBezTo>
                <a:cubicBezTo>
                  <a:pt x="46" y="63"/>
                  <a:pt x="46" y="63"/>
                  <a:pt x="46" y="63"/>
                </a:cubicBezTo>
                <a:cubicBezTo>
                  <a:pt x="45" y="63"/>
                  <a:pt x="45" y="63"/>
                  <a:pt x="45" y="63"/>
                </a:cubicBezTo>
                <a:cubicBezTo>
                  <a:pt x="44" y="63"/>
                  <a:pt x="44" y="63"/>
                  <a:pt x="44" y="63"/>
                </a:cubicBezTo>
                <a:cubicBezTo>
                  <a:pt x="43" y="64"/>
                  <a:pt x="43" y="64"/>
                  <a:pt x="43" y="64"/>
                </a:cubicBezTo>
                <a:cubicBezTo>
                  <a:pt x="43" y="67"/>
                  <a:pt x="43" y="67"/>
                  <a:pt x="43" y="67"/>
                </a:cubicBezTo>
                <a:cubicBezTo>
                  <a:pt x="44" y="68"/>
                  <a:pt x="44" y="68"/>
                  <a:pt x="44" y="68"/>
                </a:cubicBezTo>
                <a:cubicBezTo>
                  <a:pt x="44" y="69"/>
                  <a:pt x="44" y="69"/>
                  <a:pt x="44" y="69"/>
                </a:cubicBezTo>
                <a:cubicBezTo>
                  <a:pt x="44" y="69"/>
                  <a:pt x="44" y="69"/>
                  <a:pt x="44" y="69"/>
                </a:cubicBezTo>
                <a:cubicBezTo>
                  <a:pt x="45" y="69"/>
                  <a:pt x="45" y="69"/>
                  <a:pt x="45" y="69"/>
                </a:cubicBezTo>
                <a:cubicBezTo>
                  <a:pt x="46" y="69"/>
                  <a:pt x="46" y="69"/>
                  <a:pt x="46" y="69"/>
                </a:cubicBezTo>
                <a:cubicBezTo>
                  <a:pt x="46" y="68"/>
                  <a:pt x="46" y="68"/>
                  <a:pt x="46" y="68"/>
                </a:cubicBezTo>
                <a:cubicBezTo>
                  <a:pt x="46" y="67"/>
                  <a:pt x="46" y="67"/>
                  <a:pt x="46" y="67"/>
                </a:cubicBezTo>
                <a:cubicBezTo>
                  <a:pt x="47" y="67"/>
                  <a:pt x="47" y="67"/>
                  <a:pt x="47" y="67"/>
                </a:cubicBezTo>
                <a:cubicBezTo>
                  <a:pt x="48" y="68"/>
                  <a:pt x="48" y="68"/>
                  <a:pt x="48" y="68"/>
                </a:cubicBezTo>
                <a:cubicBezTo>
                  <a:pt x="48" y="70"/>
                  <a:pt x="48" y="70"/>
                  <a:pt x="48" y="70"/>
                </a:cubicBezTo>
                <a:close/>
                <a:moveTo>
                  <a:pt x="56" y="68"/>
                </a:moveTo>
                <a:cubicBezTo>
                  <a:pt x="57" y="67"/>
                  <a:pt x="57" y="67"/>
                  <a:pt x="57" y="67"/>
                </a:cubicBezTo>
                <a:cubicBezTo>
                  <a:pt x="57" y="66"/>
                  <a:pt x="57" y="66"/>
                  <a:pt x="57" y="66"/>
                </a:cubicBezTo>
                <a:cubicBezTo>
                  <a:pt x="57" y="65"/>
                  <a:pt x="57" y="65"/>
                  <a:pt x="57" y="65"/>
                </a:cubicBezTo>
                <a:cubicBezTo>
                  <a:pt x="56" y="64"/>
                  <a:pt x="56" y="64"/>
                  <a:pt x="56" y="64"/>
                </a:cubicBezTo>
                <a:cubicBezTo>
                  <a:pt x="55" y="64"/>
                  <a:pt x="55" y="64"/>
                  <a:pt x="55" y="64"/>
                </a:cubicBezTo>
                <a:cubicBezTo>
                  <a:pt x="54" y="65"/>
                  <a:pt x="54" y="65"/>
                  <a:pt x="54" y="65"/>
                </a:cubicBezTo>
                <a:cubicBezTo>
                  <a:pt x="54" y="66"/>
                  <a:pt x="54" y="66"/>
                  <a:pt x="54" y="66"/>
                </a:cubicBezTo>
                <a:cubicBezTo>
                  <a:pt x="55" y="67"/>
                  <a:pt x="55" y="67"/>
                  <a:pt x="55" y="67"/>
                </a:cubicBezTo>
                <a:cubicBezTo>
                  <a:pt x="56" y="68"/>
                  <a:pt x="56" y="68"/>
                  <a:pt x="56" y="68"/>
                </a:cubicBezTo>
                <a:close/>
                <a:moveTo>
                  <a:pt x="58" y="71"/>
                </a:moveTo>
                <a:cubicBezTo>
                  <a:pt x="58" y="71"/>
                  <a:pt x="59" y="71"/>
                  <a:pt x="59" y="71"/>
                </a:cubicBezTo>
                <a:cubicBezTo>
                  <a:pt x="60" y="70"/>
                  <a:pt x="60" y="70"/>
                  <a:pt x="60" y="70"/>
                </a:cubicBezTo>
                <a:cubicBezTo>
                  <a:pt x="62" y="71"/>
                  <a:pt x="62" y="71"/>
                  <a:pt x="62" y="71"/>
                </a:cubicBezTo>
                <a:cubicBezTo>
                  <a:pt x="63" y="70"/>
                  <a:pt x="63" y="70"/>
                  <a:pt x="63" y="70"/>
                </a:cubicBezTo>
                <a:cubicBezTo>
                  <a:pt x="62" y="69"/>
                  <a:pt x="62" y="69"/>
                  <a:pt x="62" y="69"/>
                </a:cubicBezTo>
                <a:cubicBezTo>
                  <a:pt x="61" y="69"/>
                  <a:pt x="61" y="69"/>
                  <a:pt x="61" y="69"/>
                </a:cubicBezTo>
                <a:cubicBezTo>
                  <a:pt x="61" y="67"/>
                  <a:pt x="61" y="67"/>
                  <a:pt x="61" y="67"/>
                </a:cubicBezTo>
                <a:cubicBezTo>
                  <a:pt x="59" y="65"/>
                  <a:pt x="59" y="65"/>
                  <a:pt x="59" y="65"/>
                </a:cubicBezTo>
                <a:cubicBezTo>
                  <a:pt x="59" y="66"/>
                  <a:pt x="59" y="66"/>
                  <a:pt x="59" y="66"/>
                </a:cubicBezTo>
                <a:cubicBezTo>
                  <a:pt x="59" y="68"/>
                  <a:pt x="59" y="68"/>
                  <a:pt x="59" y="68"/>
                </a:cubicBezTo>
                <a:cubicBezTo>
                  <a:pt x="59" y="69"/>
                  <a:pt x="59" y="69"/>
                  <a:pt x="59" y="69"/>
                </a:cubicBezTo>
                <a:cubicBezTo>
                  <a:pt x="57" y="69"/>
                  <a:pt x="57" y="69"/>
                  <a:pt x="57" y="69"/>
                </a:cubicBezTo>
                <a:cubicBezTo>
                  <a:pt x="57" y="69"/>
                  <a:pt x="57" y="69"/>
                  <a:pt x="57" y="69"/>
                </a:cubicBezTo>
                <a:cubicBezTo>
                  <a:pt x="58" y="70"/>
                  <a:pt x="58" y="70"/>
                  <a:pt x="58" y="70"/>
                </a:cubicBezTo>
                <a:cubicBezTo>
                  <a:pt x="58" y="71"/>
                  <a:pt x="58" y="71"/>
                  <a:pt x="58" y="71"/>
                </a:cubicBezTo>
                <a:close/>
                <a:moveTo>
                  <a:pt x="74" y="27"/>
                </a:moveTo>
                <a:cubicBezTo>
                  <a:pt x="76" y="26"/>
                  <a:pt x="76" y="26"/>
                  <a:pt x="76" y="26"/>
                </a:cubicBezTo>
                <a:cubicBezTo>
                  <a:pt x="77" y="26"/>
                  <a:pt x="77" y="26"/>
                  <a:pt x="77" y="26"/>
                </a:cubicBezTo>
                <a:cubicBezTo>
                  <a:pt x="77" y="25"/>
                  <a:pt x="77" y="25"/>
                  <a:pt x="77" y="25"/>
                </a:cubicBezTo>
                <a:cubicBezTo>
                  <a:pt x="78" y="25"/>
                  <a:pt x="78" y="25"/>
                  <a:pt x="78" y="25"/>
                </a:cubicBezTo>
                <a:cubicBezTo>
                  <a:pt x="77" y="24"/>
                  <a:pt x="77" y="24"/>
                  <a:pt x="77" y="24"/>
                </a:cubicBezTo>
                <a:cubicBezTo>
                  <a:pt x="77" y="23"/>
                  <a:pt x="77" y="23"/>
                  <a:pt x="77" y="23"/>
                </a:cubicBezTo>
                <a:cubicBezTo>
                  <a:pt x="76" y="22"/>
                  <a:pt x="76" y="22"/>
                  <a:pt x="76" y="22"/>
                </a:cubicBezTo>
                <a:cubicBezTo>
                  <a:pt x="75" y="23"/>
                  <a:pt x="75" y="23"/>
                  <a:pt x="75" y="23"/>
                </a:cubicBezTo>
                <a:cubicBezTo>
                  <a:pt x="74" y="23"/>
                  <a:pt x="74" y="23"/>
                  <a:pt x="74" y="23"/>
                </a:cubicBezTo>
                <a:cubicBezTo>
                  <a:pt x="73" y="24"/>
                  <a:pt x="73" y="24"/>
                  <a:pt x="73" y="24"/>
                </a:cubicBezTo>
                <a:cubicBezTo>
                  <a:pt x="73" y="24"/>
                  <a:pt x="73" y="24"/>
                  <a:pt x="73" y="24"/>
                </a:cubicBezTo>
                <a:cubicBezTo>
                  <a:pt x="73" y="25"/>
                  <a:pt x="73" y="25"/>
                  <a:pt x="73" y="25"/>
                </a:cubicBezTo>
                <a:cubicBezTo>
                  <a:pt x="74" y="26"/>
                  <a:pt x="74" y="26"/>
                  <a:pt x="74" y="26"/>
                </a:cubicBezTo>
                <a:cubicBezTo>
                  <a:pt x="74" y="26"/>
                  <a:pt x="74" y="27"/>
                  <a:pt x="74" y="27"/>
                </a:cubicBezTo>
                <a:close/>
                <a:moveTo>
                  <a:pt x="76" y="29"/>
                </a:moveTo>
                <a:cubicBezTo>
                  <a:pt x="76" y="28"/>
                  <a:pt x="76" y="28"/>
                  <a:pt x="76" y="28"/>
                </a:cubicBezTo>
                <a:cubicBezTo>
                  <a:pt x="76" y="28"/>
                  <a:pt x="76" y="28"/>
                  <a:pt x="76" y="28"/>
                </a:cubicBezTo>
                <a:cubicBezTo>
                  <a:pt x="76" y="28"/>
                  <a:pt x="76" y="28"/>
                  <a:pt x="76" y="28"/>
                </a:cubicBezTo>
                <a:cubicBezTo>
                  <a:pt x="76" y="29"/>
                  <a:pt x="76" y="29"/>
                  <a:pt x="76" y="29"/>
                </a:cubicBezTo>
                <a:close/>
                <a:moveTo>
                  <a:pt x="76" y="33"/>
                </a:moveTo>
                <a:cubicBezTo>
                  <a:pt x="77" y="32"/>
                  <a:pt x="77" y="32"/>
                  <a:pt x="77" y="32"/>
                </a:cubicBezTo>
                <a:cubicBezTo>
                  <a:pt x="77" y="31"/>
                  <a:pt x="77" y="31"/>
                  <a:pt x="77" y="31"/>
                </a:cubicBezTo>
                <a:cubicBezTo>
                  <a:pt x="78" y="31"/>
                  <a:pt x="78" y="31"/>
                  <a:pt x="78" y="31"/>
                </a:cubicBezTo>
                <a:cubicBezTo>
                  <a:pt x="77" y="30"/>
                  <a:pt x="77" y="30"/>
                  <a:pt x="77" y="30"/>
                </a:cubicBezTo>
                <a:cubicBezTo>
                  <a:pt x="77" y="31"/>
                  <a:pt x="77" y="31"/>
                  <a:pt x="77" y="31"/>
                </a:cubicBezTo>
                <a:cubicBezTo>
                  <a:pt x="75" y="31"/>
                  <a:pt x="75" y="31"/>
                  <a:pt x="75" y="31"/>
                </a:cubicBezTo>
                <a:cubicBezTo>
                  <a:pt x="75" y="30"/>
                  <a:pt x="75" y="30"/>
                  <a:pt x="75" y="30"/>
                </a:cubicBezTo>
                <a:cubicBezTo>
                  <a:pt x="74" y="30"/>
                  <a:pt x="74" y="30"/>
                  <a:pt x="74" y="30"/>
                </a:cubicBezTo>
                <a:cubicBezTo>
                  <a:pt x="73" y="30"/>
                  <a:pt x="73" y="30"/>
                  <a:pt x="73" y="30"/>
                </a:cubicBezTo>
                <a:cubicBezTo>
                  <a:pt x="71" y="31"/>
                  <a:pt x="71" y="31"/>
                  <a:pt x="71" y="31"/>
                </a:cubicBezTo>
                <a:cubicBezTo>
                  <a:pt x="71" y="32"/>
                  <a:pt x="71" y="32"/>
                  <a:pt x="71" y="32"/>
                </a:cubicBezTo>
                <a:cubicBezTo>
                  <a:pt x="72" y="33"/>
                  <a:pt x="72" y="33"/>
                  <a:pt x="72" y="33"/>
                </a:cubicBezTo>
                <a:cubicBezTo>
                  <a:pt x="73" y="33"/>
                  <a:pt x="73" y="33"/>
                  <a:pt x="73" y="33"/>
                </a:cubicBezTo>
                <a:cubicBezTo>
                  <a:pt x="74" y="33"/>
                  <a:pt x="74" y="33"/>
                  <a:pt x="74" y="33"/>
                </a:cubicBezTo>
                <a:cubicBezTo>
                  <a:pt x="75" y="33"/>
                  <a:pt x="75" y="33"/>
                  <a:pt x="75" y="33"/>
                </a:cubicBezTo>
                <a:cubicBezTo>
                  <a:pt x="75" y="34"/>
                  <a:pt x="75" y="34"/>
                  <a:pt x="75" y="34"/>
                </a:cubicBezTo>
                <a:cubicBezTo>
                  <a:pt x="76" y="33"/>
                  <a:pt x="76" y="33"/>
                  <a:pt x="76" y="33"/>
                </a:cubicBezTo>
                <a:close/>
                <a:moveTo>
                  <a:pt x="79" y="33"/>
                </a:moveTo>
                <a:cubicBezTo>
                  <a:pt x="79" y="32"/>
                  <a:pt x="79" y="32"/>
                  <a:pt x="79" y="32"/>
                </a:cubicBezTo>
                <a:cubicBezTo>
                  <a:pt x="79" y="31"/>
                  <a:pt x="79" y="31"/>
                  <a:pt x="79" y="31"/>
                </a:cubicBezTo>
                <a:cubicBezTo>
                  <a:pt x="80" y="31"/>
                  <a:pt x="80" y="31"/>
                  <a:pt x="80" y="31"/>
                </a:cubicBezTo>
                <a:cubicBezTo>
                  <a:pt x="81" y="31"/>
                  <a:pt x="81" y="31"/>
                  <a:pt x="81" y="31"/>
                </a:cubicBezTo>
                <a:cubicBezTo>
                  <a:pt x="81" y="32"/>
                  <a:pt x="81" y="32"/>
                  <a:pt x="81" y="32"/>
                </a:cubicBezTo>
                <a:cubicBezTo>
                  <a:pt x="81" y="33"/>
                  <a:pt x="81" y="33"/>
                  <a:pt x="81" y="33"/>
                </a:cubicBezTo>
                <a:cubicBezTo>
                  <a:pt x="80" y="33"/>
                  <a:pt x="80" y="33"/>
                  <a:pt x="80" y="33"/>
                </a:cubicBezTo>
                <a:cubicBezTo>
                  <a:pt x="79" y="33"/>
                  <a:pt x="79" y="33"/>
                  <a:pt x="79" y="33"/>
                </a:cubicBezTo>
                <a:close/>
                <a:moveTo>
                  <a:pt x="74" y="40"/>
                </a:moveTo>
                <a:cubicBezTo>
                  <a:pt x="75" y="38"/>
                  <a:pt x="75" y="38"/>
                  <a:pt x="75" y="38"/>
                </a:cubicBezTo>
                <a:cubicBezTo>
                  <a:pt x="76" y="36"/>
                  <a:pt x="76" y="36"/>
                  <a:pt x="76" y="36"/>
                </a:cubicBezTo>
                <a:cubicBezTo>
                  <a:pt x="77" y="35"/>
                  <a:pt x="77" y="35"/>
                  <a:pt x="77" y="35"/>
                </a:cubicBezTo>
                <a:cubicBezTo>
                  <a:pt x="77" y="35"/>
                  <a:pt x="77" y="35"/>
                  <a:pt x="77" y="35"/>
                </a:cubicBezTo>
                <a:cubicBezTo>
                  <a:pt x="76" y="34"/>
                  <a:pt x="76" y="34"/>
                  <a:pt x="76" y="34"/>
                </a:cubicBezTo>
                <a:cubicBezTo>
                  <a:pt x="75" y="35"/>
                  <a:pt x="75" y="35"/>
                  <a:pt x="75" y="35"/>
                </a:cubicBezTo>
                <a:cubicBezTo>
                  <a:pt x="73" y="35"/>
                  <a:pt x="73" y="35"/>
                  <a:pt x="73" y="35"/>
                </a:cubicBezTo>
                <a:cubicBezTo>
                  <a:pt x="72" y="34"/>
                  <a:pt x="72" y="34"/>
                  <a:pt x="72" y="34"/>
                </a:cubicBezTo>
                <a:cubicBezTo>
                  <a:pt x="71" y="35"/>
                  <a:pt x="71" y="35"/>
                  <a:pt x="71" y="35"/>
                </a:cubicBezTo>
                <a:cubicBezTo>
                  <a:pt x="71" y="36"/>
                  <a:pt x="71" y="36"/>
                  <a:pt x="71" y="36"/>
                </a:cubicBezTo>
                <a:cubicBezTo>
                  <a:pt x="71" y="37"/>
                  <a:pt x="71" y="37"/>
                  <a:pt x="71" y="37"/>
                </a:cubicBezTo>
                <a:cubicBezTo>
                  <a:pt x="72" y="37"/>
                  <a:pt x="72" y="37"/>
                  <a:pt x="72" y="37"/>
                </a:cubicBezTo>
                <a:cubicBezTo>
                  <a:pt x="73" y="38"/>
                  <a:pt x="73" y="38"/>
                  <a:pt x="73" y="38"/>
                </a:cubicBezTo>
                <a:cubicBezTo>
                  <a:pt x="73" y="39"/>
                  <a:pt x="73" y="39"/>
                  <a:pt x="73" y="39"/>
                </a:cubicBezTo>
                <a:cubicBezTo>
                  <a:pt x="72" y="39"/>
                  <a:pt x="72" y="39"/>
                  <a:pt x="72" y="39"/>
                </a:cubicBezTo>
                <a:cubicBezTo>
                  <a:pt x="69" y="40"/>
                  <a:pt x="69" y="40"/>
                  <a:pt x="69" y="40"/>
                </a:cubicBezTo>
                <a:cubicBezTo>
                  <a:pt x="69" y="40"/>
                  <a:pt x="69" y="40"/>
                  <a:pt x="69" y="40"/>
                </a:cubicBezTo>
                <a:cubicBezTo>
                  <a:pt x="70" y="41"/>
                  <a:pt x="70" y="41"/>
                  <a:pt x="70" y="41"/>
                </a:cubicBezTo>
                <a:cubicBezTo>
                  <a:pt x="71" y="41"/>
                  <a:pt x="71" y="41"/>
                  <a:pt x="71" y="41"/>
                </a:cubicBezTo>
                <a:cubicBezTo>
                  <a:pt x="72" y="40"/>
                  <a:pt x="72" y="40"/>
                  <a:pt x="72" y="40"/>
                </a:cubicBezTo>
                <a:cubicBezTo>
                  <a:pt x="72" y="40"/>
                  <a:pt x="74" y="40"/>
                  <a:pt x="74" y="40"/>
                </a:cubicBezTo>
                <a:close/>
                <a:moveTo>
                  <a:pt x="77" y="40"/>
                </a:moveTo>
                <a:cubicBezTo>
                  <a:pt x="76" y="40"/>
                  <a:pt x="76" y="40"/>
                  <a:pt x="76" y="40"/>
                </a:cubicBezTo>
                <a:cubicBezTo>
                  <a:pt x="76" y="40"/>
                  <a:pt x="76" y="40"/>
                  <a:pt x="76" y="40"/>
                </a:cubicBezTo>
                <a:cubicBezTo>
                  <a:pt x="75" y="40"/>
                  <a:pt x="75" y="40"/>
                  <a:pt x="75" y="40"/>
                </a:cubicBezTo>
                <a:cubicBezTo>
                  <a:pt x="75" y="39"/>
                  <a:pt x="75" y="39"/>
                  <a:pt x="75" y="39"/>
                </a:cubicBezTo>
                <a:cubicBezTo>
                  <a:pt x="77" y="38"/>
                  <a:pt x="77" y="38"/>
                  <a:pt x="77" y="38"/>
                </a:cubicBezTo>
                <a:cubicBezTo>
                  <a:pt x="77" y="37"/>
                  <a:pt x="77" y="37"/>
                  <a:pt x="77" y="37"/>
                </a:cubicBezTo>
                <a:cubicBezTo>
                  <a:pt x="78" y="38"/>
                  <a:pt x="78" y="38"/>
                  <a:pt x="78" y="38"/>
                </a:cubicBezTo>
                <a:cubicBezTo>
                  <a:pt x="78" y="39"/>
                  <a:pt x="78" y="39"/>
                  <a:pt x="78" y="39"/>
                </a:cubicBezTo>
                <a:cubicBezTo>
                  <a:pt x="77" y="40"/>
                  <a:pt x="77" y="40"/>
                  <a:pt x="77" y="40"/>
                </a:cubicBezTo>
                <a:close/>
                <a:moveTo>
                  <a:pt x="81" y="42"/>
                </a:moveTo>
                <a:cubicBezTo>
                  <a:pt x="79" y="41"/>
                  <a:pt x="79" y="41"/>
                  <a:pt x="79" y="41"/>
                </a:cubicBezTo>
                <a:cubicBezTo>
                  <a:pt x="79" y="40"/>
                  <a:pt x="79" y="40"/>
                  <a:pt x="79" y="40"/>
                </a:cubicBezTo>
                <a:cubicBezTo>
                  <a:pt x="79" y="39"/>
                  <a:pt x="79" y="39"/>
                  <a:pt x="79" y="39"/>
                </a:cubicBezTo>
                <a:cubicBezTo>
                  <a:pt x="80" y="39"/>
                  <a:pt x="80" y="39"/>
                  <a:pt x="80" y="39"/>
                </a:cubicBezTo>
                <a:cubicBezTo>
                  <a:pt x="80" y="40"/>
                  <a:pt x="80" y="40"/>
                  <a:pt x="80" y="40"/>
                </a:cubicBezTo>
                <a:cubicBezTo>
                  <a:pt x="82" y="40"/>
                  <a:pt x="82" y="40"/>
                  <a:pt x="82" y="40"/>
                </a:cubicBezTo>
                <a:cubicBezTo>
                  <a:pt x="82" y="41"/>
                  <a:pt x="82" y="41"/>
                  <a:pt x="82" y="41"/>
                </a:cubicBezTo>
                <a:cubicBezTo>
                  <a:pt x="82" y="42"/>
                  <a:pt x="82" y="42"/>
                  <a:pt x="82" y="42"/>
                </a:cubicBezTo>
                <a:cubicBezTo>
                  <a:pt x="81" y="42"/>
                  <a:pt x="81" y="42"/>
                  <a:pt x="81" y="42"/>
                </a:cubicBezTo>
                <a:close/>
                <a:moveTo>
                  <a:pt x="79" y="46"/>
                </a:moveTo>
                <a:cubicBezTo>
                  <a:pt x="78" y="45"/>
                  <a:pt x="78" y="45"/>
                  <a:pt x="78" y="45"/>
                </a:cubicBezTo>
                <a:cubicBezTo>
                  <a:pt x="76" y="43"/>
                  <a:pt x="76" y="43"/>
                  <a:pt x="76" y="43"/>
                </a:cubicBezTo>
                <a:cubicBezTo>
                  <a:pt x="74" y="42"/>
                  <a:pt x="74" y="42"/>
                  <a:pt x="74" y="42"/>
                </a:cubicBezTo>
                <a:cubicBezTo>
                  <a:pt x="73" y="42"/>
                  <a:pt x="73" y="42"/>
                  <a:pt x="73" y="42"/>
                </a:cubicBezTo>
                <a:cubicBezTo>
                  <a:pt x="72" y="42"/>
                  <a:pt x="72" y="42"/>
                  <a:pt x="72" y="42"/>
                </a:cubicBezTo>
                <a:cubicBezTo>
                  <a:pt x="72" y="41"/>
                  <a:pt x="72" y="41"/>
                  <a:pt x="72" y="41"/>
                </a:cubicBezTo>
                <a:cubicBezTo>
                  <a:pt x="74" y="41"/>
                  <a:pt x="74" y="41"/>
                  <a:pt x="74" y="41"/>
                </a:cubicBezTo>
                <a:cubicBezTo>
                  <a:pt x="75" y="41"/>
                  <a:pt x="75" y="41"/>
                  <a:pt x="75" y="41"/>
                </a:cubicBezTo>
                <a:cubicBezTo>
                  <a:pt x="77" y="42"/>
                  <a:pt x="77" y="42"/>
                  <a:pt x="77" y="42"/>
                </a:cubicBezTo>
                <a:cubicBezTo>
                  <a:pt x="79" y="43"/>
                  <a:pt x="79" y="43"/>
                  <a:pt x="79" y="43"/>
                </a:cubicBezTo>
                <a:cubicBezTo>
                  <a:pt x="80" y="43"/>
                  <a:pt x="80" y="43"/>
                  <a:pt x="80" y="43"/>
                </a:cubicBezTo>
                <a:cubicBezTo>
                  <a:pt x="81" y="43"/>
                  <a:pt x="81" y="43"/>
                  <a:pt x="81" y="43"/>
                </a:cubicBezTo>
                <a:cubicBezTo>
                  <a:pt x="81" y="43"/>
                  <a:pt x="81" y="43"/>
                  <a:pt x="81" y="43"/>
                </a:cubicBezTo>
                <a:cubicBezTo>
                  <a:pt x="81" y="44"/>
                  <a:pt x="81" y="44"/>
                  <a:pt x="81" y="44"/>
                </a:cubicBezTo>
                <a:cubicBezTo>
                  <a:pt x="80" y="46"/>
                  <a:pt x="80" y="46"/>
                  <a:pt x="80" y="46"/>
                </a:cubicBezTo>
                <a:cubicBezTo>
                  <a:pt x="79" y="46"/>
                  <a:pt x="79" y="46"/>
                  <a:pt x="79" y="46"/>
                </a:cubicBezTo>
                <a:close/>
                <a:moveTo>
                  <a:pt x="80" y="49"/>
                </a:moveTo>
                <a:cubicBezTo>
                  <a:pt x="81" y="48"/>
                  <a:pt x="81" y="48"/>
                  <a:pt x="81" y="48"/>
                </a:cubicBezTo>
                <a:cubicBezTo>
                  <a:pt x="80" y="46"/>
                  <a:pt x="80" y="46"/>
                  <a:pt x="80" y="46"/>
                </a:cubicBezTo>
                <a:cubicBezTo>
                  <a:pt x="79" y="46"/>
                  <a:pt x="79" y="46"/>
                  <a:pt x="79" y="46"/>
                </a:cubicBezTo>
                <a:cubicBezTo>
                  <a:pt x="77" y="46"/>
                  <a:pt x="77" y="46"/>
                  <a:pt x="77" y="46"/>
                </a:cubicBezTo>
                <a:cubicBezTo>
                  <a:pt x="75" y="44"/>
                  <a:pt x="75" y="44"/>
                  <a:pt x="75" y="44"/>
                </a:cubicBezTo>
                <a:cubicBezTo>
                  <a:pt x="74" y="44"/>
                  <a:pt x="74" y="44"/>
                  <a:pt x="74" y="44"/>
                </a:cubicBezTo>
                <a:cubicBezTo>
                  <a:pt x="73" y="44"/>
                  <a:pt x="73" y="44"/>
                  <a:pt x="73" y="44"/>
                </a:cubicBezTo>
                <a:cubicBezTo>
                  <a:pt x="72" y="44"/>
                  <a:pt x="72" y="44"/>
                  <a:pt x="72" y="44"/>
                </a:cubicBezTo>
                <a:cubicBezTo>
                  <a:pt x="71" y="43"/>
                  <a:pt x="71" y="43"/>
                  <a:pt x="71" y="43"/>
                </a:cubicBezTo>
                <a:cubicBezTo>
                  <a:pt x="68" y="43"/>
                  <a:pt x="68" y="43"/>
                  <a:pt x="68" y="43"/>
                </a:cubicBezTo>
                <a:cubicBezTo>
                  <a:pt x="66" y="43"/>
                  <a:pt x="66" y="43"/>
                  <a:pt x="66" y="43"/>
                </a:cubicBezTo>
                <a:cubicBezTo>
                  <a:pt x="67" y="45"/>
                  <a:pt x="67" y="45"/>
                  <a:pt x="67" y="45"/>
                </a:cubicBezTo>
                <a:cubicBezTo>
                  <a:pt x="67" y="45"/>
                  <a:pt x="67" y="45"/>
                  <a:pt x="67" y="45"/>
                </a:cubicBezTo>
                <a:cubicBezTo>
                  <a:pt x="67" y="46"/>
                  <a:pt x="67" y="46"/>
                  <a:pt x="67" y="46"/>
                </a:cubicBezTo>
                <a:cubicBezTo>
                  <a:pt x="69" y="46"/>
                  <a:pt x="69" y="46"/>
                  <a:pt x="69" y="46"/>
                </a:cubicBezTo>
                <a:cubicBezTo>
                  <a:pt x="70" y="45"/>
                  <a:pt x="70" y="45"/>
                  <a:pt x="70" y="45"/>
                </a:cubicBezTo>
                <a:cubicBezTo>
                  <a:pt x="70" y="45"/>
                  <a:pt x="70" y="45"/>
                  <a:pt x="70" y="45"/>
                </a:cubicBezTo>
                <a:cubicBezTo>
                  <a:pt x="71" y="46"/>
                  <a:pt x="71" y="46"/>
                  <a:pt x="71" y="46"/>
                </a:cubicBezTo>
                <a:cubicBezTo>
                  <a:pt x="72" y="47"/>
                  <a:pt x="72" y="47"/>
                  <a:pt x="72" y="47"/>
                </a:cubicBezTo>
                <a:cubicBezTo>
                  <a:pt x="73" y="47"/>
                  <a:pt x="73" y="47"/>
                  <a:pt x="73" y="47"/>
                </a:cubicBezTo>
                <a:cubicBezTo>
                  <a:pt x="73" y="47"/>
                  <a:pt x="73" y="47"/>
                  <a:pt x="73" y="47"/>
                </a:cubicBezTo>
                <a:cubicBezTo>
                  <a:pt x="74" y="48"/>
                  <a:pt x="74" y="48"/>
                  <a:pt x="74" y="48"/>
                </a:cubicBezTo>
                <a:cubicBezTo>
                  <a:pt x="75" y="49"/>
                  <a:pt x="75" y="49"/>
                  <a:pt x="75" y="49"/>
                </a:cubicBezTo>
                <a:cubicBezTo>
                  <a:pt x="77" y="48"/>
                  <a:pt x="77" y="48"/>
                  <a:pt x="77" y="48"/>
                </a:cubicBezTo>
                <a:cubicBezTo>
                  <a:pt x="78" y="49"/>
                  <a:pt x="78" y="49"/>
                  <a:pt x="78" y="49"/>
                </a:cubicBezTo>
                <a:cubicBezTo>
                  <a:pt x="80" y="50"/>
                  <a:pt x="80" y="50"/>
                  <a:pt x="80" y="50"/>
                </a:cubicBezTo>
                <a:cubicBezTo>
                  <a:pt x="80" y="49"/>
                  <a:pt x="80" y="49"/>
                  <a:pt x="80" y="49"/>
                </a:cubicBezTo>
                <a:close/>
                <a:moveTo>
                  <a:pt x="71" y="51"/>
                </a:moveTo>
                <a:cubicBezTo>
                  <a:pt x="71" y="51"/>
                  <a:pt x="70" y="51"/>
                  <a:pt x="70" y="51"/>
                </a:cubicBezTo>
                <a:cubicBezTo>
                  <a:pt x="70" y="51"/>
                  <a:pt x="70" y="51"/>
                  <a:pt x="70" y="51"/>
                </a:cubicBezTo>
                <a:cubicBezTo>
                  <a:pt x="68" y="51"/>
                  <a:pt x="68" y="51"/>
                  <a:pt x="68" y="51"/>
                </a:cubicBezTo>
                <a:cubicBezTo>
                  <a:pt x="67" y="50"/>
                  <a:pt x="67" y="50"/>
                  <a:pt x="67" y="50"/>
                </a:cubicBezTo>
                <a:cubicBezTo>
                  <a:pt x="67" y="49"/>
                  <a:pt x="67" y="49"/>
                  <a:pt x="67" y="49"/>
                </a:cubicBezTo>
                <a:cubicBezTo>
                  <a:pt x="68" y="49"/>
                  <a:pt x="68" y="49"/>
                  <a:pt x="68" y="49"/>
                </a:cubicBezTo>
                <a:cubicBezTo>
                  <a:pt x="69" y="48"/>
                  <a:pt x="69" y="48"/>
                  <a:pt x="69" y="48"/>
                </a:cubicBezTo>
                <a:cubicBezTo>
                  <a:pt x="71" y="48"/>
                  <a:pt x="71" y="48"/>
                  <a:pt x="71" y="48"/>
                </a:cubicBezTo>
                <a:cubicBezTo>
                  <a:pt x="71" y="48"/>
                  <a:pt x="71" y="48"/>
                  <a:pt x="71" y="48"/>
                </a:cubicBezTo>
                <a:cubicBezTo>
                  <a:pt x="72" y="49"/>
                  <a:pt x="72" y="49"/>
                  <a:pt x="72" y="49"/>
                </a:cubicBezTo>
                <a:cubicBezTo>
                  <a:pt x="73" y="49"/>
                  <a:pt x="73" y="49"/>
                  <a:pt x="73" y="49"/>
                </a:cubicBezTo>
                <a:cubicBezTo>
                  <a:pt x="73" y="49"/>
                  <a:pt x="73" y="49"/>
                  <a:pt x="73" y="49"/>
                </a:cubicBezTo>
                <a:cubicBezTo>
                  <a:pt x="74" y="49"/>
                  <a:pt x="74" y="49"/>
                  <a:pt x="74" y="49"/>
                </a:cubicBezTo>
                <a:cubicBezTo>
                  <a:pt x="74" y="50"/>
                  <a:pt x="74" y="50"/>
                  <a:pt x="74" y="50"/>
                </a:cubicBezTo>
                <a:cubicBezTo>
                  <a:pt x="74" y="50"/>
                  <a:pt x="74" y="50"/>
                  <a:pt x="74" y="50"/>
                </a:cubicBezTo>
                <a:cubicBezTo>
                  <a:pt x="71" y="51"/>
                  <a:pt x="71" y="51"/>
                  <a:pt x="71" y="51"/>
                </a:cubicBezTo>
                <a:close/>
                <a:moveTo>
                  <a:pt x="68" y="58"/>
                </a:moveTo>
                <a:cubicBezTo>
                  <a:pt x="68" y="57"/>
                  <a:pt x="68" y="57"/>
                  <a:pt x="68" y="57"/>
                </a:cubicBezTo>
                <a:cubicBezTo>
                  <a:pt x="68" y="55"/>
                  <a:pt x="68" y="55"/>
                  <a:pt x="68" y="55"/>
                </a:cubicBezTo>
                <a:cubicBezTo>
                  <a:pt x="67" y="55"/>
                  <a:pt x="67" y="55"/>
                  <a:pt x="67" y="55"/>
                </a:cubicBezTo>
                <a:cubicBezTo>
                  <a:pt x="67" y="57"/>
                  <a:pt x="67" y="57"/>
                  <a:pt x="67" y="57"/>
                </a:cubicBezTo>
                <a:cubicBezTo>
                  <a:pt x="66" y="57"/>
                  <a:pt x="66" y="57"/>
                  <a:pt x="66" y="57"/>
                </a:cubicBezTo>
                <a:cubicBezTo>
                  <a:pt x="67" y="58"/>
                  <a:pt x="67" y="58"/>
                  <a:pt x="67" y="58"/>
                </a:cubicBezTo>
                <a:cubicBezTo>
                  <a:pt x="68" y="59"/>
                  <a:pt x="68" y="59"/>
                  <a:pt x="68" y="59"/>
                </a:cubicBezTo>
                <a:cubicBezTo>
                  <a:pt x="68" y="58"/>
                  <a:pt x="68" y="58"/>
                  <a:pt x="68" y="58"/>
                </a:cubicBezTo>
                <a:close/>
                <a:moveTo>
                  <a:pt x="70" y="58"/>
                </a:moveTo>
                <a:cubicBezTo>
                  <a:pt x="70" y="58"/>
                  <a:pt x="70" y="58"/>
                  <a:pt x="70" y="58"/>
                </a:cubicBezTo>
                <a:cubicBezTo>
                  <a:pt x="71" y="57"/>
                  <a:pt x="71" y="57"/>
                  <a:pt x="71" y="57"/>
                </a:cubicBezTo>
                <a:cubicBezTo>
                  <a:pt x="70" y="56"/>
                  <a:pt x="70" y="56"/>
                  <a:pt x="70" y="56"/>
                </a:cubicBezTo>
                <a:cubicBezTo>
                  <a:pt x="69" y="55"/>
                  <a:pt x="69" y="55"/>
                  <a:pt x="69" y="55"/>
                </a:cubicBezTo>
                <a:cubicBezTo>
                  <a:pt x="68" y="55"/>
                  <a:pt x="68" y="55"/>
                  <a:pt x="68" y="55"/>
                </a:cubicBezTo>
                <a:cubicBezTo>
                  <a:pt x="68" y="56"/>
                  <a:pt x="68" y="56"/>
                  <a:pt x="68" y="56"/>
                </a:cubicBezTo>
                <a:cubicBezTo>
                  <a:pt x="70" y="58"/>
                  <a:pt x="70" y="58"/>
                  <a:pt x="70" y="58"/>
                </a:cubicBezTo>
                <a:close/>
                <a:moveTo>
                  <a:pt x="72" y="56"/>
                </a:moveTo>
                <a:cubicBezTo>
                  <a:pt x="72" y="56"/>
                  <a:pt x="73" y="57"/>
                  <a:pt x="73" y="57"/>
                </a:cubicBezTo>
                <a:cubicBezTo>
                  <a:pt x="73" y="56"/>
                  <a:pt x="73" y="56"/>
                  <a:pt x="73" y="56"/>
                </a:cubicBezTo>
                <a:cubicBezTo>
                  <a:pt x="73" y="55"/>
                  <a:pt x="73" y="55"/>
                  <a:pt x="73" y="55"/>
                </a:cubicBezTo>
                <a:cubicBezTo>
                  <a:pt x="72" y="55"/>
                  <a:pt x="72" y="55"/>
                  <a:pt x="72" y="55"/>
                </a:cubicBezTo>
                <a:cubicBezTo>
                  <a:pt x="71" y="55"/>
                  <a:pt x="71" y="55"/>
                  <a:pt x="71" y="55"/>
                </a:cubicBezTo>
                <a:cubicBezTo>
                  <a:pt x="72" y="56"/>
                  <a:pt x="72" y="56"/>
                  <a:pt x="72" y="56"/>
                </a:cubicBezTo>
                <a:close/>
                <a:moveTo>
                  <a:pt x="72" y="60"/>
                </a:moveTo>
                <a:cubicBezTo>
                  <a:pt x="72" y="59"/>
                  <a:pt x="72" y="59"/>
                  <a:pt x="72" y="59"/>
                </a:cubicBezTo>
                <a:cubicBezTo>
                  <a:pt x="73" y="58"/>
                  <a:pt x="73" y="58"/>
                  <a:pt x="73" y="58"/>
                </a:cubicBezTo>
                <a:cubicBezTo>
                  <a:pt x="72" y="57"/>
                  <a:pt x="72" y="57"/>
                  <a:pt x="72" y="57"/>
                </a:cubicBezTo>
                <a:cubicBezTo>
                  <a:pt x="71" y="57"/>
                  <a:pt x="71" y="57"/>
                  <a:pt x="71" y="57"/>
                </a:cubicBezTo>
                <a:cubicBezTo>
                  <a:pt x="71" y="57"/>
                  <a:pt x="71" y="57"/>
                  <a:pt x="71" y="57"/>
                </a:cubicBezTo>
                <a:cubicBezTo>
                  <a:pt x="71" y="58"/>
                  <a:pt x="71" y="58"/>
                  <a:pt x="71" y="58"/>
                </a:cubicBezTo>
                <a:cubicBezTo>
                  <a:pt x="71" y="59"/>
                  <a:pt x="71" y="59"/>
                  <a:pt x="71" y="59"/>
                </a:cubicBezTo>
                <a:cubicBezTo>
                  <a:pt x="72" y="60"/>
                  <a:pt x="72" y="60"/>
                  <a:pt x="72" y="60"/>
                </a:cubicBezTo>
                <a:close/>
                <a:moveTo>
                  <a:pt x="70" y="63"/>
                </a:moveTo>
                <a:cubicBezTo>
                  <a:pt x="70" y="62"/>
                  <a:pt x="70" y="62"/>
                  <a:pt x="70" y="62"/>
                </a:cubicBezTo>
                <a:cubicBezTo>
                  <a:pt x="69" y="62"/>
                  <a:pt x="69" y="62"/>
                  <a:pt x="69" y="62"/>
                </a:cubicBezTo>
                <a:cubicBezTo>
                  <a:pt x="68" y="61"/>
                  <a:pt x="68" y="61"/>
                  <a:pt x="68" y="61"/>
                </a:cubicBezTo>
                <a:cubicBezTo>
                  <a:pt x="67" y="61"/>
                  <a:pt x="67" y="61"/>
                  <a:pt x="67" y="61"/>
                </a:cubicBezTo>
                <a:cubicBezTo>
                  <a:pt x="66" y="61"/>
                  <a:pt x="66" y="61"/>
                  <a:pt x="66" y="61"/>
                </a:cubicBezTo>
                <a:cubicBezTo>
                  <a:pt x="67" y="62"/>
                  <a:pt x="67" y="62"/>
                  <a:pt x="67" y="62"/>
                </a:cubicBezTo>
                <a:cubicBezTo>
                  <a:pt x="67" y="63"/>
                  <a:pt x="67" y="63"/>
                  <a:pt x="67" y="63"/>
                </a:cubicBezTo>
                <a:cubicBezTo>
                  <a:pt x="66" y="64"/>
                  <a:pt x="66" y="64"/>
                  <a:pt x="66" y="64"/>
                </a:cubicBezTo>
                <a:cubicBezTo>
                  <a:pt x="66" y="65"/>
                  <a:pt x="66" y="65"/>
                  <a:pt x="66" y="65"/>
                </a:cubicBezTo>
                <a:cubicBezTo>
                  <a:pt x="68" y="65"/>
                  <a:pt x="68" y="65"/>
                  <a:pt x="68" y="65"/>
                </a:cubicBezTo>
                <a:cubicBezTo>
                  <a:pt x="70" y="64"/>
                  <a:pt x="70" y="64"/>
                  <a:pt x="70" y="64"/>
                </a:cubicBezTo>
                <a:cubicBezTo>
                  <a:pt x="70" y="63"/>
                  <a:pt x="70" y="63"/>
                  <a:pt x="70" y="63"/>
                </a:cubicBezTo>
                <a:close/>
                <a:moveTo>
                  <a:pt x="71" y="61"/>
                </a:moveTo>
                <a:cubicBezTo>
                  <a:pt x="71" y="62"/>
                  <a:pt x="71" y="62"/>
                  <a:pt x="71" y="62"/>
                </a:cubicBezTo>
                <a:cubicBezTo>
                  <a:pt x="72" y="63"/>
                  <a:pt x="72" y="63"/>
                  <a:pt x="72" y="63"/>
                </a:cubicBezTo>
                <a:cubicBezTo>
                  <a:pt x="72" y="63"/>
                  <a:pt x="72" y="63"/>
                  <a:pt x="72" y="63"/>
                </a:cubicBezTo>
                <a:cubicBezTo>
                  <a:pt x="72" y="62"/>
                  <a:pt x="72" y="62"/>
                  <a:pt x="72" y="62"/>
                </a:cubicBezTo>
                <a:cubicBezTo>
                  <a:pt x="72" y="61"/>
                  <a:pt x="72" y="61"/>
                  <a:pt x="72" y="61"/>
                </a:cubicBezTo>
                <a:cubicBezTo>
                  <a:pt x="71" y="61"/>
                  <a:pt x="71" y="61"/>
                  <a:pt x="71" y="61"/>
                </a:cubicBezTo>
                <a:close/>
                <a:moveTo>
                  <a:pt x="81" y="47"/>
                </a:moveTo>
                <a:cubicBezTo>
                  <a:pt x="81" y="46"/>
                  <a:pt x="81" y="46"/>
                  <a:pt x="81" y="46"/>
                </a:cubicBezTo>
                <a:cubicBezTo>
                  <a:pt x="82" y="45"/>
                  <a:pt x="82" y="45"/>
                  <a:pt x="82" y="45"/>
                </a:cubicBezTo>
                <a:cubicBezTo>
                  <a:pt x="82" y="44"/>
                  <a:pt x="82" y="44"/>
                  <a:pt x="82" y="44"/>
                </a:cubicBezTo>
                <a:cubicBezTo>
                  <a:pt x="83" y="43"/>
                  <a:pt x="83" y="43"/>
                  <a:pt x="83" y="43"/>
                </a:cubicBezTo>
                <a:cubicBezTo>
                  <a:pt x="83" y="43"/>
                  <a:pt x="83" y="43"/>
                  <a:pt x="83" y="43"/>
                </a:cubicBezTo>
                <a:cubicBezTo>
                  <a:pt x="84" y="45"/>
                  <a:pt x="84" y="45"/>
                  <a:pt x="84" y="45"/>
                </a:cubicBezTo>
                <a:cubicBezTo>
                  <a:pt x="84" y="45"/>
                  <a:pt x="84" y="45"/>
                  <a:pt x="84" y="45"/>
                </a:cubicBezTo>
                <a:cubicBezTo>
                  <a:pt x="84" y="46"/>
                  <a:pt x="84" y="46"/>
                  <a:pt x="84" y="46"/>
                </a:cubicBezTo>
                <a:cubicBezTo>
                  <a:pt x="83" y="47"/>
                  <a:pt x="83" y="47"/>
                  <a:pt x="83" y="47"/>
                </a:cubicBezTo>
                <a:cubicBezTo>
                  <a:pt x="83" y="47"/>
                  <a:pt x="83" y="47"/>
                  <a:pt x="83" y="47"/>
                </a:cubicBezTo>
                <a:cubicBezTo>
                  <a:pt x="82" y="47"/>
                  <a:pt x="82" y="47"/>
                  <a:pt x="82" y="47"/>
                </a:cubicBezTo>
                <a:cubicBezTo>
                  <a:pt x="81" y="47"/>
                  <a:pt x="81" y="47"/>
                  <a:pt x="81" y="47"/>
                </a:cubicBezTo>
                <a:close/>
                <a:moveTo>
                  <a:pt x="74" y="60"/>
                </a:moveTo>
                <a:cubicBezTo>
                  <a:pt x="74" y="61"/>
                  <a:pt x="74" y="61"/>
                  <a:pt x="74" y="61"/>
                </a:cubicBezTo>
                <a:cubicBezTo>
                  <a:pt x="75" y="61"/>
                  <a:pt x="75" y="61"/>
                  <a:pt x="75" y="61"/>
                </a:cubicBezTo>
                <a:cubicBezTo>
                  <a:pt x="76" y="61"/>
                  <a:pt x="76" y="61"/>
                  <a:pt x="76" y="61"/>
                </a:cubicBezTo>
                <a:cubicBezTo>
                  <a:pt x="77" y="61"/>
                  <a:pt x="77" y="61"/>
                  <a:pt x="77" y="61"/>
                </a:cubicBezTo>
                <a:cubicBezTo>
                  <a:pt x="76" y="60"/>
                  <a:pt x="76" y="60"/>
                  <a:pt x="76" y="60"/>
                </a:cubicBezTo>
                <a:cubicBezTo>
                  <a:pt x="76" y="59"/>
                  <a:pt x="76" y="59"/>
                  <a:pt x="76" y="59"/>
                </a:cubicBezTo>
                <a:cubicBezTo>
                  <a:pt x="75" y="59"/>
                  <a:pt x="75" y="59"/>
                  <a:pt x="75" y="59"/>
                </a:cubicBezTo>
                <a:cubicBezTo>
                  <a:pt x="74" y="60"/>
                  <a:pt x="74" y="60"/>
                  <a:pt x="74" y="60"/>
                </a:cubicBezTo>
                <a:cubicBezTo>
                  <a:pt x="74" y="60"/>
                  <a:pt x="74" y="60"/>
                  <a:pt x="74" y="60"/>
                </a:cubicBezTo>
                <a:close/>
                <a:moveTo>
                  <a:pt x="74" y="58"/>
                </a:moveTo>
                <a:cubicBezTo>
                  <a:pt x="75" y="58"/>
                  <a:pt x="75" y="58"/>
                  <a:pt x="75" y="58"/>
                </a:cubicBezTo>
                <a:cubicBezTo>
                  <a:pt x="75" y="57"/>
                  <a:pt x="75" y="57"/>
                  <a:pt x="75" y="57"/>
                </a:cubicBezTo>
                <a:cubicBezTo>
                  <a:pt x="75" y="56"/>
                  <a:pt x="75" y="56"/>
                  <a:pt x="75" y="56"/>
                </a:cubicBezTo>
                <a:cubicBezTo>
                  <a:pt x="75" y="57"/>
                  <a:pt x="75" y="57"/>
                  <a:pt x="75" y="57"/>
                </a:cubicBezTo>
                <a:cubicBezTo>
                  <a:pt x="74" y="58"/>
                  <a:pt x="74" y="58"/>
                  <a:pt x="74" y="58"/>
                </a:cubicBezTo>
                <a:close/>
                <a:moveTo>
                  <a:pt x="76" y="57"/>
                </a:moveTo>
                <a:cubicBezTo>
                  <a:pt x="76" y="57"/>
                  <a:pt x="76" y="57"/>
                  <a:pt x="76" y="57"/>
                </a:cubicBezTo>
                <a:cubicBezTo>
                  <a:pt x="77" y="58"/>
                  <a:pt x="77" y="58"/>
                  <a:pt x="77" y="58"/>
                </a:cubicBezTo>
                <a:cubicBezTo>
                  <a:pt x="78" y="57"/>
                  <a:pt x="78" y="57"/>
                  <a:pt x="78" y="57"/>
                </a:cubicBezTo>
                <a:cubicBezTo>
                  <a:pt x="78" y="57"/>
                  <a:pt x="78" y="57"/>
                  <a:pt x="78" y="57"/>
                </a:cubicBezTo>
                <a:cubicBezTo>
                  <a:pt x="78" y="56"/>
                  <a:pt x="78" y="56"/>
                  <a:pt x="78" y="56"/>
                </a:cubicBezTo>
                <a:cubicBezTo>
                  <a:pt x="77" y="56"/>
                  <a:pt x="77" y="56"/>
                  <a:pt x="77" y="56"/>
                </a:cubicBezTo>
                <a:cubicBezTo>
                  <a:pt x="77" y="57"/>
                  <a:pt x="77" y="57"/>
                  <a:pt x="77" y="57"/>
                </a:cubicBezTo>
                <a:cubicBezTo>
                  <a:pt x="76" y="57"/>
                  <a:pt x="76" y="57"/>
                  <a:pt x="76" y="57"/>
                </a:cubicBezTo>
                <a:close/>
                <a:moveTo>
                  <a:pt x="76" y="52"/>
                </a:moveTo>
                <a:cubicBezTo>
                  <a:pt x="76" y="53"/>
                  <a:pt x="76" y="53"/>
                  <a:pt x="76" y="53"/>
                </a:cubicBezTo>
                <a:cubicBezTo>
                  <a:pt x="75" y="53"/>
                  <a:pt x="75" y="53"/>
                  <a:pt x="75" y="53"/>
                </a:cubicBezTo>
                <a:cubicBezTo>
                  <a:pt x="74" y="52"/>
                  <a:pt x="74" y="52"/>
                  <a:pt x="74" y="52"/>
                </a:cubicBezTo>
                <a:cubicBezTo>
                  <a:pt x="74" y="51"/>
                  <a:pt x="74" y="51"/>
                  <a:pt x="74" y="51"/>
                </a:cubicBezTo>
                <a:cubicBezTo>
                  <a:pt x="75" y="50"/>
                  <a:pt x="75" y="50"/>
                  <a:pt x="75" y="50"/>
                </a:cubicBezTo>
                <a:cubicBezTo>
                  <a:pt x="76" y="49"/>
                  <a:pt x="76" y="49"/>
                  <a:pt x="76" y="49"/>
                </a:cubicBezTo>
                <a:cubicBezTo>
                  <a:pt x="77" y="50"/>
                  <a:pt x="77" y="50"/>
                  <a:pt x="77" y="50"/>
                </a:cubicBezTo>
                <a:cubicBezTo>
                  <a:pt x="78" y="50"/>
                  <a:pt x="78" y="50"/>
                  <a:pt x="78" y="50"/>
                </a:cubicBezTo>
                <a:cubicBezTo>
                  <a:pt x="79" y="51"/>
                  <a:pt x="79" y="51"/>
                  <a:pt x="79" y="51"/>
                </a:cubicBezTo>
                <a:cubicBezTo>
                  <a:pt x="79" y="52"/>
                  <a:pt x="79" y="52"/>
                  <a:pt x="79" y="52"/>
                </a:cubicBezTo>
                <a:cubicBezTo>
                  <a:pt x="78" y="52"/>
                  <a:pt x="78" y="52"/>
                  <a:pt x="78" y="52"/>
                </a:cubicBezTo>
                <a:cubicBezTo>
                  <a:pt x="77" y="52"/>
                  <a:pt x="77" y="52"/>
                  <a:pt x="77" y="52"/>
                </a:cubicBezTo>
                <a:cubicBezTo>
                  <a:pt x="76" y="52"/>
                  <a:pt x="76" y="52"/>
                  <a:pt x="76" y="52"/>
                </a:cubicBezTo>
                <a:close/>
                <a:moveTo>
                  <a:pt x="81" y="51"/>
                </a:moveTo>
                <a:cubicBezTo>
                  <a:pt x="82" y="52"/>
                  <a:pt x="82" y="52"/>
                  <a:pt x="82" y="52"/>
                </a:cubicBezTo>
                <a:cubicBezTo>
                  <a:pt x="83" y="52"/>
                  <a:pt x="83" y="52"/>
                  <a:pt x="83" y="52"/>
                </a:cubicBezTo>
                <a:cubicBezTo>
                  <a:pt x="84" y="52"/>
                  <a:pt x="84" y="52"/>
                  <a:pt x="84" y="52"/>
                </a:cubicBezTo>
                <a:cubicBezTo>
                  <a:pt x="84" y="51"/>
                  <a:pt x="84" y="51"/>
                  <a:pt x="84" y="51"/>
                </a:cubicBezTo>
                <a:cubicBezTo>
                  <a:pt x="83" y="50"/>
                  <a:pt x="83" y="50"/>
                  <a:pt x="83" y="50"/>
                </a:cubicBezTo>
                <a:cubicBezTo>
                  <a:pt x="83" y="51"/>
                  <a:pt x="83" y="51"/>
                  <a:pt x="83" y="51"/>
                </a:cubicBezTo>
                <a:cubicBezTo>
                  <a:pt x="82" y="51"/>
                  <a:pt x="82" y="51"/>
                  <a:pt x="82" y="51"/>
                </a:cubicBezTo>
                <a:cubicBezTo>
                  <a:pt x="81" y="51"/>
                  <a:pt x="81" y="51"/>
                  <a:pt x="81" y="51"/>
                </a:cubicBezTo>
                <a:close/>
                <a:moveTo>
                  <a:pt x="84" y="63"/>
                </a:moveTo>
                <a:cubicBezTo>
                  <a:pt x="84" y="62"/>
                  <a:pt x="84" y="62"/>
                  <a:pt x="84" y="62"/>
                </a:cubicBezTo>
                <a:cubicBezTo>
                  <a:pt x="83" y="61"/>
                  <a:pt x="83" y="61"/>
                  <a:pt x="83" y="61"/>
                </a:cubicBezTo>
                <a:cubicBezTo>
                  <a:pt x="83" y="60"/>
                  <a:pt x="83" y="60"/>
                  <a:pt x="83" y="60"/>
                </a:cubicBezTo>
                <a:cubicBezTo>
                  <a:pt x="83" y="59"/>
                  <a:pt x="83" y="59"/>
                  <a:pt x="83" y="59"/>
                </a:cubicBezTo>
                <a:cubicBezTo>
                  <a:pt x="82" y="57"/>
                  <a:pt x="82" y="57"/>
                  <a:pt x="82" y="57"/>
                </a:cubicBezTo>
                <a:cubicBezTo>
                  <a:pt x="81" y="57"/>
                  <a:pt x="81" y="57"/>
                  <a:pt x="81" y="57"/>
                </a:cubicBezTo>
                <a:cubicBezTo>
                  <a:pt x="81" y="57"/>
                  <a:pt x="81" y="57"/>
                  <a:pt x="81" y="57"/>
                </a:cubicBezTo>
                <a:cubicBezTo>
                  <a:pt x="79" y="57"/>
                  <a:pt x="79" y="57"/>
                  <a:pt x="79" y="57"/>
                </a:cubicBezTo>
                <a:cubicBezTo>
                  <a:pt x="78" y="58"/>
                  <a:pt x="78" y="58"/>
                  <a:pt x="78" y="58"/>
                </a:cubicBezTo>
                <a:cubicBezTo>
                  <a:pt x="78" y="59"/>
                  <a:pt x="78" y="59"/>
                  <a:pt x="78" y="59"/>
                </a:cubicBezTo>
                <a:cubicBezTo>
                  <a:pt x="79" y="61"/>
                  <a:pt x="79" y="61"/>
                  <a:pt x="79" y="61"/>
                </a:cubicBezTo>
                <a:cubicBezTo>
                  <a:pt x="79" y="63"/>
                  <a:pt x="79" y="63"/>
                  <a:pt x="79" y="63"/>
                </a:cubicBezTo>
                <a:cubicBezTo>
                  <a:pt x="80" y="64"/>
                  <a:pt x="80" y="64"/>
                  <a:pt x="80" y="64"/>
                </a:cubicBezTo>
                <a:cubicBezTo>
                  <a:pt x="81" y="64"/>
                  <a:pt x="81" y="64"/>
                  <a:pt x="81" y="64"/>
                </a:cubicBezTo>
                <a:cubicBezTo>
                  <a:pt x="82" y="63"/>
                  <a:pt x="82" y="63"/>
                  <a:pt x="82" y="63"/>
                </a:cubicBezTo>
                <a:cubicBezTo>
                  <a:pt x="84" y="63"/>
                  <a:pt x="84" y="63"/>
                  <a:pt x="84" y="63"/>
                </a:cubicBezTo>
                <a:close/>
                <a:moveTo>
                  <a:pt x="87" y="62"/>
                </a:moveTo>
                <a:cubicBezTo>
                  <a:pt x="87" y="62"/>
                  <a:pt x="87" y="62"/>
                  <a:pt x="87" y="62"/>
                </a:cubicBezTo>
                <a:cubicBezTo>
                  <a:pt x="86" y="61"/>
                  <a:pt x="86" y="61"/>
                  <a:pt x="86" y="61"/>
                </a:cubicBezTo>
                <a:cubicBezTo>
                  <a:pt x="86" y="60"/>
                  <a:pt x="86" y="60"/>
                  <a:pt x="86" y="60"/>
                </a:cubicBezTo>
                <a:cubicBezTo>
                  <a:pt x="87" y="60"/>
                  <a:pt x="87" y="60"/>
                  <a:pt x="87" y="60"/>
                </a:cubicBezTo>
                <a:cubicBezTo>
                  <a:pt x="88" y="58"/>
                  <a:pt x="88" y="58"/>
                  <a:pt x="88" y="58"/>
                </a:cubicBezTo>
                <a:cubicBezTo>
                  <a:pt x="88" y="58"/>
                  <a:pt x="88" y="58"/>
                  <a:pt x="88" y="58"/>
                </a:cubicBezTo>
                <a:cubicBezTo>
                  <a:pt x="90" y="57"/>
                  <a:pt x="90" y="57"/>
                  <a:pt x="90" y="57"/>
                </a:cubicBezTo>
                <a:cubicBezTo>
                  <a:pt x="90" y="57"/>
                  <a:pt x="90" y="57"/>
                  <a:pt x="90" y="57"/>
                </a:cubicBezTo>
                <a:cubicBezTo>
                  <a:pt x="91" y="56"/>
                  <a:pt x="91" y="56"/>
                  <a:pt x="91" y="56"/>
                </a:cubicBezTo>
                <a:cubicBezTo>
                  <a:pt x="90" y="56"/>
                  <a:pt x="90" y="56"/>
                  <a:pt x="90" y="56"/>
                </a:cubicBezTo>
                <a:cubicBezTo>
                  <a:pt x="89" y="56"/>
                  <a:pt x="89" y="56"/>
                  <a:pt x="89" y="56"/>
                </a:cubicBezTo>
                <a:cubicBezTo>
                  <a:pt x="86" y="55"/>
                  <a:pt x="86" y="55"/>
                  <a:pt x="86" y="55"/>
                </a:cubicBezTo>
                <a:cubicBezTo>
                  <a:pt x="85" y="53"/>
                  <a:pt x="85" y="53"/>
                  <a:pt x="85" y="53"/>
                </a:cubicBezTo>
                <a:cubicBezTo>
                  <a:pt x="84" y="54"/>
                  <a:pt x="84" y="54"/>
                  <a:pt x="84" y="54"/>
                </a:cubicBezTo>
                <a:cubicBezTo>
                  <a:pt x="83" y="54"/>
                  <a:pt x="83" y="54"/>
                  <a:pt x="83" y="54"/>
                </a:cubicBezTo>
                <a:cubicBezTo>
                  <a:pt x="83" y="54"/>
                  <a:pt x="83" y="54"/>
                  <a:pt x="83" y="54"/>
                </a:cubicBezTo>
                <a:cubicBezTo>
                  <a:pt x="83" y="55"/>
                  <a:pt x="83" y="55"/>
                  <a:pt x="83" y="55"/>
                </a:cubicBezTo>
                <a:cubicBezTo>
                  <a:pt x="84" y="58"/>
                  <a:pt x="84" y="58"/>
                  <a:pt x="84" y="58"/>
                </a:cubicBezTo>
                <a:cubicBezTo>
                  <a:pt x="84" y="60"/>
                  <a:pt x="84" y="60"/>
                  <a:pt x="84" y="60"/>
                </a:cubicBezTo>
                <a:cubicBezTo>
                  <a:pt x="85" y="62"/>
                  <a:pt x="85" y="62"/>
                  <a:pt x="85" y="62"/>
                </a:cubicBezTo>
                <a:cubicBezTo>
                  <a:pt x="86" y="62"/>
                  <a:pt x="86" y="62"/>
                  <a:pt x="86" y="62"/>
                </a:cubicBezTo>
                <a:cubicBezTo>
                  <a:pt x="87" y="62"/>
                  <a:pt x="87" y="62"/>
                  <a:pt x="87" y="62"/>
                </a:cubicBezTo>
                <a:close/>
                <a:moveTo>
                  <a:pt x="91" y="62"/>
                </a:moveTo>
                <a:cubicBezTo>
                  <a:pt x="91" y="63"/>
                  <a:pt x="91" y="63"/>
                  <a:pt x="91" y="63"/>
                </a:cubicBezTo>
                <a:cubicBezTo>
                  <a:pt x="92" y="64"/>
                  <a:pt x="92" y="64"/>
                  <a:pt x="92" y="64"/>
                </a:cubicBezTo>
                <a:cubicBezTo>
                  <a:pt x="93" y="65"/>
                  <a:pt x="93" y="65"/>
                  <a:pt x="93" y="65"/>
                </a:cubicBezTo>
                <a:cubicBezTo>
                  <a:pt x="95" y="65"/>
                  <a:pt x="95" y="65"/>
                  <a:pt x="95" y="65"/>
                </a:cubicBezTo>
                <a:cubicBezTo>
                  <a:pt x="96" y="63"/>
                  <a:pt x="96" y="63"/>
                  <a:pt x="96" y="63"/>
                </a:cubicBezTo>
                <a:cubicBezTo>
                  <a:pt x="96" y="61"/>
                  <a:pt x="96" y="61"/>
                  <a:pt x="96" y="61"/>
                </a:cubicBezTo>
                <a:cubicBezTo>
                  <a:pt x="94" y="61"/>
                  <a:pt x="94" y="61"/>
                  <a:pt x="94" y="61"/>
                </a:cubicBezTo>
                <a:cubicBezTo>
                  <a:pt x="93" y="61"/>
                  <a:pt x="93" y="61"/>
                  <a:pt x="93" y="61"/>
                </a:cubicBezTo>
                <a:cubicBezTo>
                  <a:pt x="91" y="62"/>
                  <a:pt x="91" y="62"/>
                  <a:pt x="91" y="62"/>
                </a:cubicBezTo>
                <a:close/>
                <a:moveTo>
                  <a:pt x="91" y="65"/>
                </a:moveTo>
                <a:cubicBezTo>
                  <a:pt x="91" y="66"/>
                  <a:pt x="91" y="66"/>
                  <a:pt x="91" y="66"/>
                </a:cubicBezTo>
                <a:cubicBezTo>
                  <a:pt x="92" y="66"/>
                  <a:pt x="92" y="66"/>
                  <a:pt x="92" y="66"/>
                </a:cubicBezTo>
                <a:cubicBezTo>
                  <a:pt x="92" y="67"/>
                  <a:pt x="92" y="67"/>
                  <a:pt x="92" y="67"/>
                </a:cubicBezTo>
                <a:cubicBezTo>
                  <a:pt x="93" y="66"/>
                  <a:pt x="93" y="66"/>
                  <a:pt x="93" y="66"/>
                </a:cubicBezTo>
                <a:cubicBezTo>
                  <a:pt x="92" y="65"/>
                  <a:pt x="92" y="65"/>
                  <a:pt x="92" y="65"/>
                </a:cubicBezTo>
                <a:cubicBezTo>
                  <a:pt x="91" y="65"/>
                  <a:pt x="91" y="65"/>
                  <a:pt x="91" y="65"/>
                </a:cubicBezTo>
                <a:close/>
                <a:moveTo>
                  <a:pt x="91" y="25"/>
                </a:moveTo>
                <a:cubicBezTo>
                  <a:pt x="92" y="24"/>
                  <a:pt x="92" y="24"/>
                  <a:pt x="92" y="24"/>
                </a:cubicBezTo>
                <a:cubicBezTo>
                  <a:pt x="92" y="24"/>
                  <a:pt x="92" y="24"/>
                  <a:pt x="92" y="24"/>
                </a:cubicBezTo>
                <a:cubicBezTo>
                  <a:pt x="93" y="23"/>
                  <a:pt x="93" y="23"/>
                  <a:pt x="93" y="23"/>
                </a:cubicBezTo>
                <a:cubicBezTo>
                  <a:pt x="94" y="23"/>
                  <a:pt x="94" y="23"/>
                  <a:pt x="94" y="23"/>
                </a:cubicBezTo>
                <a:cubicBezTo>
                  <a:pt x="95" y="24"/>
                  <a:pt x="95" y="24"/>
                  <a:pt x="95" y="24"/>
                </a:cubicBezTo>
                <a:cubicBezTo>
                  <a:pt x="96" y="24"/>
                  <a:pt x="96" y="24"/>
                  <a:pt x="96" y="24"/>
                </a:cubicBezTo>
                <a:cubicBezTo>
                  <a:pt x="96" y="25"/>
                  <a:pt x="96" y="25"/>
                  <a:pt x="96" y="25"/>
                </a:cubicBezTo>
                <a:cubicBezTo>
                  <a:pt x="95" y="26"/>
                  <a:pt x="95" y="26"/>
                  <a:pt x="95" y="26"/>
                </a:cubicBezTo>
                <a:cubicBezTo>
                  <a:pt x="94" y="26"/>
                  <a:pt x="94" y="26"/>
                  <a:pt x="94" y="26"/>
                </a:cubicBezTo>
                <a:cubicBezTo>
                  <a:pt x="93" y="25"/>
                  <a:pt x="93" y="25"/>
                  <a:pt x="93" y="25"/>
                </a:cubicBezTo>
                <a:cubicBezTo>
                  <a:pt x="91" y="25"/>
                  <a:pt x="91" y="25"/>
                  <a:pt x="91" y="25"/>
                </a:cubicBezTo>
                <a:cubicBezTo>
                  <a:pt x="91" y="25"/>
                  <a:pt x="91" y="25"/>
                  <a:pt x="91" y="25"/>
                </a:cubicBezTo>
                <a:close/>
                <a:moveTo>
                  <a:pt x="93" y="42"/>
                </a:moveTo>
                <a:cubicBezTo>
                  <a:pt x="94" y="41"/>
                  <a:pt x="94" y="41"/>
                  <a:pt x="94" y="41"/>
                </a:cubicBezTo>
                <a:cubicBezTo>
                  <a:pt x="95" y="40"/>
                  <a:pt x="95" y="40"/>
                  <a:pt x="95" y="40"/>
                </a:cubicBezTo>
                <a:cubicBezTo>
                  <a:pt x="95" y="40"/>
                  <a:pt x="95" y="40"/>
                  <a:pt x="95" y="40"/>
                </a:cubicBezTo>
                <a:cubicBezTo>
                  <a:pt x="94" y="39"/>
                  <a:pt x="94" y="39"/>
                  <a:pt x="94" y="39"/>
                </a:cubicBezTo>
                <a:cubicBezTo>
                  <a:pt x="93" y="38"/>
                  <a:pt x="93" y="38"/>
                  <a:pt x="93" y="38"/>
                </a:cubicBezTo>
                <a:cubicBezTo>
                  <a:pt x="92" y="38"/>
                  <a:pt x="92" y="38"/>
                  <a:pt x="92" y="38"/>
                </a:cubicBezTo>
                <a:cubicBezTo>
                  <a:pt x="90" y="38"/>
                  <a:pt x="90" y="38"/>
                  <a:pt x="90" y="38"/>
                </a:cubicBezTo>
                <a:cubicBezTo>
                  <a:pt x="89" y="39"/>
                  <a:pt x="89" y="39"/>
                  <a:pt x="89" y="39"/>
                </a:cubicBezTo>
                <a:cubicBezTo>
                  <a:pt x="88" y="40"/>
                  <a:pt x="88" y="40"/>
                  <a:pt x="88" y="40"/>
                </a:cubicBezTo>
                <a:cubicBezTo>
                  <a:pt x="89" y="41"/>
                  <a:pt x="89" y="41"/>
                  <a:pt x="89" y="41"/>
                </a:cubicBezTo>
                <a:cubicBezTo>
                  <a:pt x="91" y="42"/>
                  <a:pt x="91" y="42"/>
                  <a:pt x="91" y="42"/>
                </a:cubicBezTo>
                <a:cubicBezTo>
                  <a:pt x="92" y="43"/>
                  <a:pt x="92" y="43"/>
                  <a:pt x="92" y="43"/>
                </a:cubicBezTo>
                <a:cubicBezTo>
                  <a:pt x="93" y="42"/>
                  <a:pt x="93" y="42"/>
                  <a:pt x="93" y="42"/>
                </a:cubicBezTo>
                <a:close/>
                <a:moveTo>
                  <a:pt x="96" y="40"/>
                </a:moveTo>
                <a:cubicBezTo>
                  <a:pt x="96" y="41"/>
                  <a:pt x="96" y="41"/>
                  <a:pt x="96" y="41"/>
                </a:cubicBezTo>
                <a:cubicBezTo>
                  <a:pt x="96" y="42"/>
                  <a:pt x="96" y="42"/>
                  <a:pt x="96" y="42"/>
                </a:cubicBezTo>
                <a:cubicBezTo>
                  <a:pt x="95" y="43"/>
                  <a:pt x="95" y="43"/>
                  <a:pt x="95" y="43"/>
                </a:cubicBezTo>
                <a:cubicBezTo>
                  <a:pt x="95" y="43"/>
                  <a:pt x="95" y="43"/>
                  <a:pt x="95" y="43"/>
                </a:cubicBezTo>
                <a:cubicBezTo>
                  <a:pt x="94" y="43"/>
                  <a:pt x="94" y="43"/>
                  <a:pt x="94" y="43"/>
                </a:cubicBezTo>
                <a:cubicBezTo>
                  <a:pt x="92" y="44"/>
                  <a:pt x="92" y="44"/>
                  <a:pt x="92" y="44"/>
                </a:cubicBezTo>
                <a:cubicBezTo>
                  <a:pt x="91" y="45"/>
                  <a:pt x="91" y="45"/>
                  <a:pt x="91" y="45"/>
                </a:cubicBezTo>
                <a:cubicBezTo>
                  <a:pt x="90" y="44"/>
                  <a:pt x="90" y="44"/>
                  <a:pt x="90" y="44"/>
                </a:cubicBezTo>
                <a:cubicBezTo>
                  <a:pt x="89" y="44"/>
                  <a:pt x="89" y="44"/>
                  <a:pt x="89" y="44"/>
                </a:cubicBezTo>
                <a:cubicBezTo>
                  <a:pt x="89" y="45"/>
                  <a:pt x="89" y="45"/>
                  <a:pt x="89" y="45"/>
                </a:cubicBezTo>
                <a:cubicBezTo>
                  <a:pt x="90" y="47"/>
                  <a:pt x="90" y="47"/>
                  <a:pt x="90" y="47"/>
                </a:cubicBezTo>
                <a:cubicBezTo>
                  <a:pt x="90" y="50"/>
                  <a:pt x="90" y="50"/>
                  <a:pt x="90" y="50"/>
                </a:cubicBezTo>
                <a:cubicBezTo>
                  <a:pt x="90" y="52"/>
                  <a:pt x="90" y="52"/>
                  <a:pt x="90" y="52"/>
                </a:cubicBezTo>
                <a:cubicBezTo>
                  <a:pt x="92" y="54"/>
                  <a:pt x="92" y="54"/>
                  <a:pt x="92" y="54"/>
                </a:cubicBezTo>
                <a:cubicBezTo>
                  <a:pt x="93" y="54"/>
                  <a:pt x="93" y="54"/>
                  <a:pt x="93" y="54"/>
                </a:cubicBezTo>
                <a:cubicBezTo>
                  <a:pt x="95" y="53"/>
                  <a:pt x="95" y="53"/>
                  <a:pt x="95" y="53"/>
                </a:cubicBezTo>
                <a:cubicBezTo>
                  <a:pt x="97" y="53"/>
                  <a:pt x="97" y="53"/>
                  <a:pt x="97" y="53"/>
                </a:cubicBezTo>
                <a:cubicBezTo>
                  <a:pt x="98" y="52"/>
                  <a:pt x="98" y="52"/>
                  <a:pt x="98" y="52"/>
                </a:cubicBezTo>
                <a:cubicBezTo>
                  <a:pt x="100" y="52"/>
                  <a:pt x="100" y="52"/>
                  <a:pt x="100" y="52"/>
                </a:cubicBezTo>
                <a:cubicBezTo>
                  <a:pt x="100" y="51"/>
                  <a:pt x="100" y="51"/>
                  <a:pt x="100" y="51"/>
                </a:cubicBezTo>
                <a:cubicBezTo>
                  <a:pt x="99" y="50"/>
                  <a:pt x="99" y="50"/>
                  <a:pt x="99" y="50"/>
                </a:cubicBezTo>
                <a:cubicBezTo>
                  <a:pt x="98" y="49"/>
                  <a:pt x="98" y="49"/>
                  <a:pt x="98" y="49"/>
                </a:cubicBezTo>
                <a:cubicBezTo>
                  <a:pt x="96" y="48"/>
                  <a:pt x="96" y="48"/>
                  <a:pt x="96" y="48"/>
                </a:cubicBezTo>
                <a:cubicBezTo>
                  <a:pt x="96" y="47"/>
                  <a:pt x="96" y="47"/>
                  <a:pt x="96" y="47"/>
                </a:cubicBezTo>
                <a:cubicBezTo>
                  <a:pt x="96" y="46"/>
                  <a:pt x="96" y="46"/>
                  <a:pt x="96" y="46"/>
                </a:cubicBezTo>
                <a:cubicBezTo>
                  <a:pt x="97" y="45"/>
                  <a:pt x="97" y="45"/>
                  <a:pt x="97" y="45"/>
                </a:cubicBezTo>
                <a:cubicBezTo>
                  <a:pt x="98" y="45"/>
                  <a:pt x="98" y="45"/>
                  <a:pt x="98" y="45"/>
                </a:cubicBezTo>
                <a:cubicBezTo>
                  <a:pt x="99" y="45"/>
                  <a:pt x="99" y="45"/>
                  <a:pt x="99" y="45"/>
                </a:cubicBezTo>
                <a:cubicBezTo>
                  <a:pt x="99" y="44"/>
                  <a:pt x="99" y="44"/>
                  <a:pt x="99" y="44"/>
                </a:cubicBezTo>
                <a:cubicBezTo>
                  <a:pt x="98" y="42"/>
                  <a:pt x="98" y="42"/>
                  <a:pt x="98" y="42"/>
                </a:cubicBezTo>
                <a:cubicBezTo>
                  <a:pt x="97" y="42"/>
                  <a:pt x="97" y="42"/>
                  <a:pt x="97" y="42"/>
                </a:cubicBezTo>
                <a:cubicBezTo>
                  <a:pt x="96" y="40"/>
                  <a:pt x="96" y="40"/>
                  <a:pt x="96" y="40"/>
                </a:cubicBezTo>
                <a:close/>
                <a:moveTo>
                  <a:pt x="102" y="43"/>
                </a:moveTo>
                <a:cubicBezTo>
                  <a:pt x="101" y="42"/>
                  <a:pt x="101" y="42"/>
                  <a:pt x="101" y="42"/>
                </a:cubicBezTo>
                <a:cubicBezTo>
                  <a:pt x="101" y="41"/>
                  <a:pt x="101" y="41"/>
                  <a:pt x="101" y="41"/>
                </a:cubicBezTo>
                <a:cubicBezTo>
                  <a:pt x="100" y="40"/>
                  <a:pt x="100" y="40"/>
                  <a:pt x="100" y="40"/>
                </a:cubicBezTo>
                <a:cubicBezTo>
                  <a:pt x="99" y="40"/>
                  <a:pt x="99" y="40"/>
                  <a:pt x="99" y="40"/>
                </a:cubicBezTo>
                <a:cubicBezTo>
                  <a:pt x="98" y="39"/>
                  <a:pt x="98" y="39"/>
                  <a:pt x="98" y="39"/>
                </a:cubicBezTo>
                <a:cubicBezTo>
                  <a:pt x="98" y="38"/>
                  <a:pt x="98" y="38"/>
                  <a:pt x="98" y="38"/>
                </a:cubicBezTo>
                <a:cubicBezTo>
                  <a:pt x="98" y="37"/>
                  <a:pt x="98" y="37"/>
                  <a:pt x="98" y="37"/>
                </a:cubicBezTo>
                <a:cubicBezTo>
                  <a:pt x="98" y="36"/>
                  <a:pt x="98" y="36"/>
                  <a:pt x="98" y="36"/>
                </a:cubicBezTo>
                <a:cubicBezTo>
                  <a:pt x="97" y="34"/>
                  <a:pt x="97" y="34"/>
                  <a:pt x="97" y="34"/>
                </a:cubicBezTo>
                <a:cubicBezTo>
                  <a:pt x="98" y="33"/>
                  <a:pt x="98" y="33"/>
                  <a:pt x="98" y="33"/>
                </a:cubicBezTo>
                <a:cubicBezTo>
                  <a:pt x="99" y="32"/>
                  <a:pt x="99" y="32"/>
                  <a:pt x="99" y="32"/>
                </a:cubicBezTo>
                <a:cubicBezTo>
                  <a:pt x="100" y="30"/>
                  <a:pt x="100" y="30"/>
                  <a:pt x="100" y="30"/>
                </a:cubicBezTo>
                <a:cubicBezTo>
                  <a:pt x="100" y="30"/>
                  <a:pt x="100" y="30"/>
                  <a:pt x="100" y="30"/>
                </a:cubicBezTo>
                <a:cubicBezTo>
                  <a:pt x="100" y="29"/>
                  <a:pt x="100" y="29"/>
                  <a:pt x="100" y="29"/>
                </a:cubicBezTo>
                <a:cubicBezTo>
                  <a:pt x="101" y="29"/>
                  <a:pt x="101" y="29"/>
                  <a:pt x="101" y="29"/>
                </a:cubicBezTo>
                <a:cubicBezTo>
                  <a:pt x="102" y="29"/>
                  <a:pt x="102" y="29"/>
                  <a:pt x="102" y="29"/>
                </a:cubicBezTo>
                <a:cubicBezTo>
                  <a:pt x="103" y="29"/>
                  <a:pt x="103" y="29"/>
                  <a:pt x="103" y="29"/>
                </a:cubicBezTo>
                <a:cubicBezTo>
                  <a:pt x="104" y="31"/>
                  <a:pt x="104" y="31"/>
                  <a:pt x="104" y="31"/>
                </a:cubicBezTo>
                <a:cubicBezTo>
                  <a:pt x="104" y="33"/>
                  <a:pt x="104" y="33"/>
                  <a:pt x="104" y="33"/>
                </a:cubicBezTo>
                <a:cubicBezTo>
                  <a:pt x="104" y="33"/>
                  <a:pt x="104" y="33"/>
                  <a:pt x="104" y="33"/>
                </a:cubicBezTo>
                <a:cubicBezTo>
                  <a:pt x="105" y="34"/>
                  <a:pt x="105" y="34"/>
                  <a:pt x="105" y="34"/>
                </a:cubicBezTo>
                <a:cubicBezTo>
                  <a:pt x="107" y="35"/>
                  <a:pt x="107" y="35"/>
                  <a:pt x="107" y="35"/>
                </a:cubicBezTo>
                <a:cubicBezTo>
                  <a:pt x="107" y="35"/>
                  <a:pt x="107" y="35"/>
                  <a:pt x="107" y="35"/>
                </a:cubicBezTo>
                <a:cubicBezTo>
                  <a:pt x="107" y="36"/>
                  <a:pt x="107" y="36"/>
                  <a:pt x="107" y="36"/>
                </a:cubicBezTo>
                <a:cubicBezTo>
                  <a:pt x="105" y="37"/>
                  <a:pt x="105" y="37"/>
                  <a:pt x="105" y="37"/>
                </a:cubicBezTo>
                <a:cubicBezTo>
                  <a:pt x="103" y="38"/>
                  <a:pt x="103" y="38"/>
                  <a:pt x="103" y="38"/>
                </a:cubicBezTo>
                <a:cubicBezTo>
                  <a:pt x="103" y="39"/>
                  <a:pt x="103" y="39"/>
                  <a:pt x="103" y="39"/>
                </a:cubicBezTo>
                <a:cubicBezTo>
                  <a:pt x="103" y="40"/>
                  <a:pt x="103" y="40"/>
                  <a:pt x="103" y="40"/>
                </a:cubicBezTo>
                <a:cubicBezTo>
                  <a:pt x="103" y="41"/>
                  <a:pt x="103" y="41"/>
                  <a:pt x="103" y="41"/>
                </a:cubicBezTo>
                <a:cubicBezTo>
                  <a:pt x="102" y="43"/>
                  <a:pt x="102" y="43"/>
                  <a:pt x="102" y="43"/>
                </a:cubicBezTo>
                <a:close/>
                <a:moveTo>
                  <a:pt x="641" y="78"/>
                </a:moveTo>
                <a:cubicBezTo>
                  <a:pt x="642" y="78"/>
                  <a:pt x="642" y="78"/>
                  <a:pt x="642" y="78"/>
                </a:cubicBezTo>
                <a:cubicBezTo>
                  <a:pt x="642" y="77"/>
                  <a:pt x="642" y="77"/>
                  <a:pt x="642" y="77"/>
                </a:cubicBezTo>
                <a:cubicBezTo>
                  <a:pt x="641" y="77"/>
                  <a:pt x="641" y="77"/>
                  <a:pt x="641" y="77"/>
                </a:cubicBezTo>
                <a:cubicBezTo>
                  <a:pt x="641" y="77"/>
                  <a:pt x="641" y="77"/>
                  <a:pt x="641" y="77"/>
                </a:cubicBezTo>
                <a:cubicBezTo>
                  <a:pt x="641" y="78"/>
                  <a:pt x="641" y="78"/>
                  <a:pt x="641" y="78"/>
                </a:cubicBezTo>
                <a:close/>
                <a:moveTo>
                  <a:pt x="636" y="77"/>
                </a:moveTo>
                <a:cubicBezTo>
                  <a:pt x="637" y="77"/>
                  <a:pt x="637" y="77"/>
                  <a:pt x="637" y="77"/>
                </a:cubicBezTo>
                <a:cubicBezTo>
                  <a:pt x="637" y="76"/>
                  <a:pt x="637" y="76"/>
                  <a:pt x="637" y="76"/>
                </a:cubicBezTo>
                <a:cubicBezTo>
                  <a:pt x="636" y="76"/>
                  <a:pt x="636" y="76"/>
                  <a:pt x="636" y="76"/>
                </a:cubicBezTo>
                <a:cubicBezTo>
                  <a:pt x="636" y="76"/>
                  <a:pt x="636" y="76"/>
                  <a:pt x="636" y="76"/>
                </a:cubicBezTo>
                <a:cubicBezTo>
                  <a:pt x="636" y="77"/>
                  <a:pt x="636" y="77"/>
                  <a:pt x="636" y="77"/>
                </a:cubicBezTo>
                <a:close/>
                <a:moveTo>
                  <a:pt x="632" y="79"/>
                </a:moveTo>
                <a:cubicBezTo>
                  <a:pt x="632" y="79"/>
                  <a:pt x="632" y="79"/>
                  <a:pt x="632" y="79"/>
                </a:cubicBezTo>
                <a:cubicBezTo>
                  <a:pt x="633" y="78"/>
                  <a:pt x="633" y="78"/>
                  <a:pt x="633" y="78"/>
                </a:cubicBezTo>
                <a:cubicBezTo>
                  <a:pt x="632" y="77"/>
                  <a:pt x="632" y="77"/>
                  <a:pt x="632" y="77"/>
                </a:cubicBezTo>
                <a:cubicBezTo>
                  <a:pt x="631" y="77"/>
                  <a:pt x="631" y="77"/>
                  <a:pt x="631" y="77"/>
                </a:cubicBezTo>
                <a:cubicBezTo>
                  <a:pt x="631" y="78"/>
                  <a:pt x="631" y="78"/>
                  <a:pt x="631" y="78"/>
                </a:cubicBezTo>
                <a:cubicBezTo>
                  <a:pt x="632" y="79"/>
                  <a:pt x="632" y="79"/>
                  <a:pt x="632" y="79"/>
                </a:cubicBezTo>
                <a:close/>
                <a:moveTo>
                  <a:pt x="741" y="212"/>
                </a:moveTo>
                <a:cubicBezTo>
                  <a:pt x="740" y="212"/>
                  <a:pt x="740" y="212"/>
                  <a:pt x="740" y="212"/>
                </a:cubicBezTo>
                <a:cubicBezTo>
                  <a:pt x="741" y="214"/>
                  <a:pt x="741" y="214"/>
                  <a:pt x="741" y="214"/>
                </a:cubicBezTo>
                <a:cubicBezTo>
                  <a:pt x="741" y="213"/>
                  <a:pt x="741" y="213"/>
                  <a:pt x="741" y="213"/>
                </a:cubicBezTo>
                <a:cubicBezTo>
                  <a:pt x="741" y="212"/>
                  <a:pt x="741" y="212"/>
                  <a:pt x="741" y="212"/>
                </a:cubicBezTo>
                <a:cubicBezTo>
                  <a:pt x="741" y="212"/>
                  <a:pt x="741" y="212"/>
                  <a:pt x="741" y="212"/>
                </a:cubicBezTo>
                <a:cubicBezTo>
                  <a:pt x="741" y="212"/>
                  <a:pt x="741" y="212"/>
                  <a:pt x="741" y="212"/>
                </a:cubicBezTo>
                <a:close/>
                <a:moveTo>
                  <a:pt x="739" y="210"/>
                </a:moveTo>
                <a:cubicBezTo>
                  <a:pt x="740" y="211"/>
                  <a:pt x="740" y="211"/>
                  <a:pt x="740" y="211"/>
                </a:cubicBezTo>
                <a:cubicBezTo>
                  <a:pt x="741" y="211"/>
                  <a:pt x="741" y="211"/>
                  <a:pt x="741" y="211"/>
                </a:cubicBezTo>
                <a:cubicBezTo>
                  <a:pt x="741" y="210"/>
                  <a:pt x="741" y="210"/>
                  <a:pt x="741" y="210"/>
                </a:cubicBezTo>
                <a:cubicBezTo>
                  <a:pt x="740" y="209"/>
                  <a:pt x="740" y="209"/>
                  <a:pt x="740" y="209"/>
                </a:cubicBezTo>
                <a:cubicBezTo>
                  <a:pt x="739" y="209"/>
                  <a:pt x="739" y="209"/>
                  <a:pt x="739" y="209"/>
                </a:cubicBezTo>
                <a:cubicBezTo>
                  <a:pt x="739" y="210"/>
                  <a:pt x="739" y="210"/>
                  <a:pt x="739" y="210"/>
                </a:cubicBezTo>
                <a:close/>
                <a:moveTo>
                  <a:pt x="117" y="133"/>
                </a:moveTo>
                <a:cubicBezTo>
                  <a:pt x="118" y="133"/>
                  <a:pt x="118" y="133"/>
                  <a:pt x="118" y="133"/>
                </a:cubicBezTo>
                <a:cubicBezTo>
                  <a:pt x="118" y="133"/>
                  <a:pt x="118" y="133"/>
                  <a:pt x="118" y="133"/>
                </a:cubicBezTo>
                <a:cubicBezTo>
                  <a:pt x="120" y="131"/>
                  <a:pt x="120" y="131"/>
                  <a:pt x="120" y="131"/>
                </a:cubicBezTo>
                <a:cubicBezTo>
                  <a:pt x="120" y="131"/>
                  <a:pt x="120" y="131"/>
                  <a:pt x="120" y="131"/>
                </a:cubicBezTo>
                <a:cubicBezTo>
                  <a:pt x="120" y="131"/>
                  <a:pt x="120" y="131"/>
                  <a:pt x="120" y="131"/>
                </a:cubicBezTo>
                <a:cubicBezTo>
                  <a:pt x="118" y="132"/>
                  <a:pt x="118" y="132"/>
                  <a:pt x="118" y="132"/>
                </a:cubicBezTo>
                <a:cubicBezTo>
                  <a:pt x="118" y="132"/>
                  <a:pt x="118" y="132"/>
                  <a:pt x="118" y="132"/>
                </a:cubicBezTo>
                <a:cubicBezTo>
                  <a:pt x="117" y="133"/>
                  <a:pt x="117" y="133"/>
                  <a:pt x="117" y="133"/>
                </a:cubicBezTo>
                <a:cubicBezTo>
                  <a:pt x="117" y="133"/>
                  <a:pt x="117" y="133"/>
                  <a:pt x="117" y="133"/>
                </a:cubicBezTo>
                <a:close/>
                <a:moveTo>
                  <a:pt x="110" y="174"/>
                </a:moveTo>
                <a:cubicBezTo>
                  <a:pt x="112" y="174"/>
                  <a:pt x="112" y="174"/>
                  <a:pt x="112" y="174"/>
                </a:cubicBezTo>
                <a:cubicBezTo>
                  <a:pt x="113" y="173"/>
                  <a:pt x="113" y="173"/>
                  <a:pt x="113" y="173"/>
                </a:cubicBezTo>
                <a:cubicBezTo>
                  <a:pt x="115" y="172"/>
                  <a:pt x="115" y="172"/>
                  <a:pt x="115" y="172"/>
                </a:cubicBezTo>
                <a:cubicBezTo>
                  <a:pt x="116" y="172"/>
                  <a:pt x="116" y="172"/>
                  <a:pt x="116" y="172"/>
                </a:cubicBezTo>
                <a:cubicBezTo>
                  <a:pt x="117" y="173"/>
                  <a:pt x="117" y="173"/>
                  <a:pt x="117" y="173"/>
                </a:cubicBezTo>
                <a:cubicBezTo>
                  <a:pt x="118" y="173"/>
                  <a:pt x="118" y="173"/>
                  <a:pt x="118" y="173"/>
                </a:cubicBezTo>
                <a:cubicBezTo>
                  <a:pt x="119" y="173"/>
                  <a:pt x="119" y="173"/>
                  <a:pt x="119" y="173"/>
                </a:cubicBezTo>
                <a:cubicBezTo>
                  <a:pt x="118" y="172"/>
                  <a:pt x="118" y="172"/>
                  <a:pt x="118" y="172"/>
                </a:cubicBezTo>
                <a:cubicBezTo>
                  <a:pt x="119" y="171"/>
                  <a:pt x="119" y="171"/>
                  <a:pt x="119" y="171"/>
                </a:cubicBezTo>
                <a:cubicBezTo>
                  <a:pt x="119" y="172"/>
                  <a:pt x="119" y="172"/>
                  <a:pt x="119" y="172"/>
                </a:cubicBezTo>
                <a:cubicBezTo>
                  <a:pt x="120" y="173"/>
                  <a:pt x="120" y="173"/>
                  <a:pt x="120" y="173"/>
                </a:cubicBezTo>
                <a:cubicBezTo>
                  <a:pt x="121" y="173"/>
                  <a:pt x="121" y="173"/>
                  <a:pt x="121" y="173"/>
                </a:cubicBezTo>
                <a:cubicBezTo>
                  <a:pt x="123" y="173"/>
                  <a:pt x="123" y="173"/>
                  <a:pt x="123" y="173"/>
                </a:cubicBezTo>
                <a:cubicBezTo>
                  <a:pt x="123" y="173"/>
                  <a:pt x="123" y="173"/>
                  <a:pt x="123" y="173"/>
                </a:cubicBezTo>
                <a:cubicBezTo>
                  <a:pt x="124" y="172"/>
                  <a:pt x="124" y="172"/>
                  <a:pt x="124" y="172"/>
                </a:cubicBezTo>
                <a:cubicBezTo>
                  <a:pt x="124" y="171"/>
                  <a:pt x="124" y="171"/>
                  <a:pt x="124" y="171"/>
                </a:cubicBezTo>
                <a:cubicBezTo>
                  <a:pt x="124" y="169"/>
                  <a:pt x="124" y="169"/>
                  <a:pt x="124" y="169"/>
                </a:cubicBezTo>
                <a:cubicBezTo>
                  <a:pt x="125" y="168"/>
                  <a:pt x="125" y="168"/>
                  <a:pt x="125" y="168"/>
                </a:cubicBezTo>
                <a:cubicBezTo>
                  <a:pt x="125" y="167"/>
                  <a:pt x="125" y="167"/>
                  <a:pt x="125" y="167"/>
                </a:cubicBezTo>
                <a:cubicBezTo>
                  <a:pt x="124" y="166"/>
                  <a:pt x="124" y="166"/>
                  <a:pt x="124" y="166"/>
                </a:cubicBezTo>
                <a:cubicBezTo>
                  <a:pt x="124" y="165"/>
                  <a:pt x="124" y="165"/>
                  <a:pt x="124" y="165"/>
                </a:cubicBezTo>
                <a:cubicBezTo>
                  <a:pt x="123" y="164"/>
                  <a:pt x="123" y="164"/>
                  <a:pt x="123" y="164"/>
                </a:cubicBezTo>
                <a:cubicBezTo>
                  <a:pt x="122" y="164"/>
                  <a:pt x="122" y="164"/>
                  <a:pt x="122" y="164"/>
                </a:cubicBezTo>
                <a:cubicBezTo>
                  <a:pt x="121" y="164"/>
                  <a:pt x="121" y="164"/>
                  <a:pt x="121" y="164"/>
                </a:cubicBezTo>
                <a:cubicBezTo>
                  <a:pt x="122" y="163"/>
                  <a:pt x="122" y="163"/>
                  <a:pt x="122" y="163"/>
                </a:cubicBezTo>
                <a:cubicBezTo>
                  <a:pt x="123" y="164"/>
                  <a:pt x="123" y="164"/>
                  <a:pt x="123" y="164"/>
                </a:cubicBezTo>
                <a:cubicBezTo>
                  <a:pt x="124" y="163"/>
                  <a:pt x="124" y="163"/>
                  <a:pt x="124" y="163"/>
                </a:cubicBezTo>
                <a:cubicBezTo>
                  <a:pt x="125" y="164"/>
                  <a:pt x="125" y="164"/>
                  <a:pt x="125" y="164"/>
                </a:cubicBezTo>
                <a:cubicBezTo>
                  <a:pt x="125" y="165"/>
                  <a:pt x="125" y="165"/>
                  <a:pt x="125" y="165"/>
                </a:cubicBezTo>
                <a:cubicBezTo>
                  <a:pt x="125" y="166"/>
                  <a:pt x="125" y="166"/>
                  <a:pt x="125" y="166"/>
                </a:cubicBezTo>
                <a:cubicBezTo>
                  <a:pt x="126" y="165"/>
                  <a:pt x="126" y="165"/>
                  <a:pt x="126" y="165"/>
                </a:cubicBezTo>
                <a:cubicBezTo>
                  <a:pt x="125" y="163"/>
                  <a:pt x="125" y="163"/>
                  <a:pt x="125" y="163"/>
                </a:cubicBezTo>
                <a:cubicBezTo>
                  <a:pt x="124" y="161"/>
                  <a:pt x="124" y="161"/>
                  <a:pt x="124" y="161"/>
                </a:cubicBezTo>
                <a:cubicBezTo>
                  <a:pt x="123" y="159"/>
                  <a:pt x="123" y="159"/>
                  <a:pt x="123" y="159"/>
                </a:cubicBezTo>
                <a:cubicBezTo>
                  <a:pt x="123" y="159"/>
                  <a:pt x="123" y="159"/>
                  <a:pt x="123" y="159"/>
                </a:cubicBezTo>
                <a:cubicBezTo>
                  <a:pt x="124" y="160"/>
                  <a:pt x="124" y="160"/>
                  <a:pt x="124" y="160"/>
                </a:cubicBezTo>
                <a:cubicBezTo>
                  <a:pt x="124" y="161"/>
                  <a:pt x="124" y="161"/>
                  <a:pt x="124" y="161"/>
                </a:cubicBezTo>
                <a:cubicBezTo>
                  <a:pt x="125" y="161"/>
                  <a:pt x="125" y="161"/>
                  <a:pt x="125" y="161"/>
                </a:cubicBezTo>
                <a:cubicBezTo>
                  <a:pt x="126" y="162"/>
                  <a:pt x="126" y="162"/>
                  <a:pt x="126" y="162"/>
                </a:cubicBezTo>
                <a:cubicBezTo>
                  <a:pt x="127" y="161"/>
                  <a:pt x="127" y="161"/>
                  <a:pt x="127" y="161"/>
                </a:cubicBezTo>
                <a:cubicBezTo>
                  <a:pt x="127" y="160"/>
                  <a:pt x="127" y="160"/>
                  <a:pt x="127" y="160"/>
                </a:cubicBezTo>
                <a:cubicBezTo>
                  <a:pt x="126" y="159"/>
                  <a:pt x="126" y="159"/>
                  <a:pt x="126" y="159"/>
                </a:cubicBezTo>
                <a:cubicBezTo>
                  <a:pt x="126" y="159"/>
                  <a:pt x="126" y="159"/>
                  <a:pt x="126" y="159"/>
                </a:cubicBezTo>
                <a:cubicBezTo>
                  <a:pt x="127" y="157"/>
                  <a:pt x="127" y="157"/>
                  <a:pt x="127" y="157"/>
                </a:cubicBezTo>
                <a:cubicBezTo>
                  <a:pt x="127" y="156"/>
                  <a:pt x="127" y="156"/>
                  <a:pt x="127" y="156"/>
                </a:cubicBezTo>
                <a:cubicBezTo>
                  <a:pt x="126" y="155"/>
                  <a:pt x="126" y="155"/>
                  <a:pt x="126" y="155"/>
                </a:cubicBezTo>
                <a:cubicBezTo>
                  <a:pt x="124" y="153"/>
                  <a:pt x="124" y="153"/>
                  <a:pt x="124" y="153"/>
                </a:cubicBezTo>
                <a:cubicBezTo>
                  <a:pt x="125" y="153"/>
                  <a:pt x="125" y="153"/>
                  <a:pt x="125" y="153"/>
                </a:cubicBezTo>
                <a:cubicBezTo>
                  <a:pt x="126" y="154"/>
                  <a:pt x="126" y="154"/>
                  <a:pt x="126" y="154"/>
                </a:cubicBezTo>
                <a:cubicBezTo>
                  <a:pt x="127" y="154"/>
                  <a:pt x="127" y="154"/>
                  <a:pt x="127" y="154"/>
                </a:cubicBezTo>
                <a:cubicBezTo>
                  <a:pt x="128" y="153"/>
                  <a:pt x="128" y="153"/>
                  <a:pt x="128" y="153"/>
                </a:cubicBezTo>
                <a:cubicBezTo>
                  <a:pt x="127" y="152"/>
                  <a:pt x="127" y="152"/>
                  <a:pt x="127" y="152"/>
                </a:cubicBezTo>
                <a:cubicBezTo>
                  <a:pt x="127" y="152"/>
                  <a:pt x="127" y="152"/>
                  <a:pt x="127" y="152"/>
                </a:cubicBezTo>
                <a:cubicBezTo>
                  <a:pt x="127" y="151"/>
                  <a:pt x="127" y="151"/>
                  <a:pt x="127" y="151"/>
                </a:cubicBezTo>
                <a:cubicBezTo>
                  <a:pt x="127" y="150"/>
                  <a:pt x="127" y="150"/>
                  <a:pt x="127" y="150"/>
                </a:cubicBezTo>
                <a:cubicBezTo>
                  <a:pt x="129" y="151"/>
                  <a:pt x="129" y="151"/>
                  <a:pt x="129" y="151"/>
                </a:cubicBezTo>
                <a:cubicBezTo>
                  <a:pt x="130" y="152"/>
                  <a:pt x="130" y="152"/>
                  <a:pt x="130" y="152"/>
                </a:cubicBezTo>
                <a:cubicBezTo>
                  <a:pt x="131" y="151"/>
                  <a:pt x="131" y="151"/>
                  <a:pt x="131" y="151"/>
                </a:cubicBezTo>
                <a:cubicBezTo>
                  <a:pt x="130" y="151"/>
                  <a:pt x="130" y="151"/>
                  <a:pt x="130" y="151"/>
                </a:cubicBezTo>
                <a:cubicBezTo>
                  <a:pt x="130" y="150"/>
                  <a:pt x="130" y="150"/>
                  <a:pt x="130" y="150"/>
                </a:cubicBezTo>
                <a:cubicBezTo>
                  <a:pt x="131" y="150"/>
                  <a:pt x="131" y="150"/>
                  <a:pt x="131" y="150"/>
                </a:cubicBezTo>
                <a:cubicBezTo>
                  <a:pt x="131" y="150"/>
                  <a:pt x="131" y="150"/>
                  <a:pt x="131" y="150"/>
                </a:cubicBezTo>
                <a:cubicBezTo>
                  <a:pt x="132" y="149"/>
                  <a:pt x="132" y="149"/>
                  <a:pt x="132" y="149"/>
                </a:cubicBezTo>
                <a:cubicBezTo>
                  <a:pt x="132" y="148"/>
                  <a:pt x="132" y="148"/>
                  <a:pt x="132" y="148"/>
                </a:cubicBezTo>
                <a:cubicBezTo>
                  <a:pt x="132" y="148"/>
                  <a:pt x="132" y="148"/>
                  <a:pt x="132" y="148"/>
                </a:cubicBezTo>
                <a:cubicBezTo>
                  <a:pt x="132" y="147"/>
                  <a:pt x="132" y="147"/>
                  <a:pt x="132" y="147"/>
                </a:cubicBezTo>
                <a:cubicBezTo>
                  <a:pt x="134" y="146"/>
                  <a:pt x="134" y="146"/>
                  <a:pt x="134" y="146"/>
                </a:cubicBezTo>
                <a:cubicBezTo>
                  <a:pt x="134" y="146"/>
                  <a:pt x="134" y="146"/>
                  <a:pt x="134" y="146"/>
                </a:cubicBezTo>
                <a:cubicBezTo>
                  <a:pt x="133" y="145"/>
                  <a:pt x="133" y="145"/>
                  <a:pt x="133" y="145"/>
                </a:cubicBezTo>
                <a:cubicBezTo>
                  <a:pt x="133" y="144"/>
                  <a:pt x="133" y="144"/>
                  <a:pt x="133" y="144"/>
                </a:cubicBezTo>
                <a:cubicBezTo>
                  <a:pt x="133" y="143"/>
                  <a:pt x="133" y="143"/>
                  <a:pt x="133" y="143"/>
                </a:cubicBezTo>
                <a:cubicBezTo>
                  <a:pt x="134" y="144"/>
                  <a:pt x="134" y="144"/>
                  <a:pt x="134" y="144"/>
                </a:cubicBezTo>
                <a:cubicBezTo>
                  <a:pt x="135" y="143"/>
                  <a:pt x="135" y="143"/>
                  <a:pt x="135" y="143"/>
                </a:cubicBezTo>
                <a:cubicBezTo>
                  <a:pt x="136" y="141"/>
                  <a:pt x="136" y="141"/>
                  <a:pt x="136" y="141"/>
                </a:cubicBezTo>
                <a:cubicBezTo>
                  <a:pt x="137" y="140"/>
                  <a:pt x="137" y="140"/>
                  <a:pt x="137" y="140"/>
                </a:cubicBezTo>
                <a:cubicBezTo>
                  <a:pt x="138" y="139"/>
                  <a:pt x="138" y="139"/>
                  <a:pt x="138" y="139"/>
                </a:cubicBezTo>
                <a:cubicBezTo>
                  <a:pt x="138" y="137"/>
                  <a:pt x="138" y="137"/>
                  <a:pt x="138" y="137"/>
                </a:cubicBezTo>
                <a:cubicBezTo>
                  <a:pt x="139" y="136"/>
                  <a:pt x="139" y="136"/>
                  <a:pt x="139" y="136"/>
                </a:cubicBezTo>
                <a:cubicBezTo>
                  <a:pt x="140" y="135"/>
                  <a:pt x="140" y="135"/>
                  <a:pt x="140" y="135"/>
                </a:cubicBezTo>
                <a:cubicBezTo>
                  <a:pt x="141" y="132"/>
                  <a:pt x="141" y="132"/>
                  <a:pt x="141" y="132"/>
                </a:cubicBezTo>
                <a:cubicBezTo>
                  <a:pt x="142" y="132"/>
                  <a:pt x="142" y="132"/>
                  <a:pt x="142" y="132"/>
                </a:cubicBezTo>
                <a:cubicBezTo>
                  <a:pt x="145" y="130"/>
                  <a:pt x="145" y="130"/>
                  <a:pt x="145" y="130"/>
                </a:cubicBezTo>
                <a:cubicBezTo>
                  <a:pt x="147" y="128"/>
                  <a:pt x="147" y="128"/>
                  <a:pt x="147" y="128"/>
                </a:cubicBezTo>
                <a:cubicBezTo>
                  <a:pt x="149" y="126"/>
                  <a:pt x="149" y="126"/>
                  <a:pt x="149" y="126"/>
                </a:cubicBezTo>
                <a:cubicBezTo>
                  <a:pt x="150" y="126"/>
                  <a:pt x="150" y="126"/>
                  <a:pt x="150" y="126"/>
                </a:cubicBezTo>
                <a:cubicBezTo>
                  <a:pt x="151" y="124"/>
                  <a:pt x="151" y="124"/>
                  <a:pt x="151" y="124"/>
                </a:cubicBezTo>
                <a:cubicBezTo>
                  <a:pt x="153" y="124"/>
                  <a:pt x="153" y="124"/>
                  <a:pt x="153" y="124"/>
                </a:cubicBezTo>
                <a:cubicBezTo>
                  <a:pt x="155" y="123"/>
                  <a:pt x="155" y="123"/>
                  <a:pt x="155" y="123"/>
                </a:cubicBezTo>
                <a:cubicBezTo>
                  <a:pt x="156" y="121"/>
                  <a:pt x="156" y="121"/>
                  <a:pt x="156" y="121"/>
                </a:cubicBezTo>
                <a:cubicBezTo>
                  <a:pt x="157" y="120"/>
                  <a:pt x="157" y="120"/>
                  <a:pt x="157" y="120"/>
                </a:cubicBezTo>
                <a:cubicBezTo>
                  <a:pt x="158" y="120"/>
                  <a:pt x="158" y="120"/>
                  <a:pt x="158" y="120"/>
                </a:cubicBezTo>
                <a:cubicBezTo>
                  <a:pt x="159" y="120"/>
                  <a:pt x="159" y="120"/>
                  <a:pt x="159" y="120"/>
                </a:cubicBezTo>
                <a:cubicBezTo>
                  <a:pt x="159" y="119"/>
                  <a:pt x="159" y="119"/>
                  <a:pt x="159" y="119"/>
                </a:cubicBezTo>
                <a:cubicBezTo>
                  <a:pt x="159" y="118"/>
                  <a:pt x="159" y="118"/>
                  <a:pt x="159" y="118"/>
                </a:cubicBezTo>
                <a:cubicBezTo>
                  <a:pt x="159" y="117"/>
                  <a:pt x="159" y="117"/>
                  <a:pt x="159" y="117"/>
                </a:cubicBezTo>
                <a:cubicBezTo>
                  <a:pt x="159" y="116"/>
                  <a:pt x="159" y="116"/>
                  <a:pt x="159" y="116"/>
                </a:cubicBezTo>
                <a:cubicBezTo>
                  <a:pt x="159" y="114"/>
                  <a:pt x="159" y="114"/>
                  <a:pt x="159" y="114"/>
                </a:cubicBezTo>
                <a:cubicBezTo>
                  <a:pt x="159" y="114"/>
                  <a:pt x="159" y="114"/>
                  <a:pt x="159" y="114"/>
                </a:cubicBezTo>
                <a:cubicBezTo>
                  <a:pt x="158" y="114"/>
                  <a:pt x="158" y="114"/>
                  <a:pt x="158" y="114"/>
                </a:cubicBezTo>
                <a:cubicBezTo>
                  <a:pt x="158" y="112"/>
                  <a:pt x="158" y="112"/>
                  <a:pt x="158" y="112"/>
                </a:cubicBezTo>
                <a:cubicBezTo>
                  <a:pt x="158" y="111"/>
                  <a:pt x="158" y="111"/>
                  <a:pt x="158" y="111"/>
                </a:cubicBezTo>
                <a:cubicBezTo>
                  <a:pt x="158" y="110"/>
                  <a:pt x="158" y="110"/>
                  <a:pt x="158" y="110"/>
                </a:cubicBezTo>
                <a:cubicBezTo>
                  <a:pt x="157" y="110"/>
                  <a:pt x="157" y="110"/>
                  <a:pt x="157" y="110"/>
                </a:cubicBezTo>
                <a:cubicBezTo>
                  <a:pt x="156" y="109"/>
                  <a:pt x="156" y="109"/>
                  <a:pt x="156" y="109"/>
                </a:cubicBezTo>
                <a:cubicBezTo>
                  <a:pt x="155" y="109"/>
                  <a:pt x="155" y="109"/>
                  <a:pt x="155" y="109"/>
                </a:cubicBezTo>
                <a:cubicBezTo>
                  <a:pt x="154" y="108"/>
                  <a:pt x="154" y="108"/>
                  <a:pt x="154" y="108"/>
                </a:cubicBezTo>
                <a:cubicBezTo>
                  <a:pt x="154" y="107"/>
                  <a:pt x="154" y="107"/>
                  <a:pt x="154" y="107"/>
                </a:cubicBezTo>
                <a:cubicBezTo>
                  <a:pt x="154" y="107"/>
                  <a:pt x="154" y="107"/>
                  <a:pt x="154" y="107"/>
                </a:cubicBezTo>
                <a:cubicBezTo>
                  <a:pt x="152" y="108"/>
                  <a:pt x="152" y="108"/>
                  <a:pt x="152" y="108"/>
                </a:cubicBezTo>
                <a:cubicBezTo>
                  <a:pt x="152" y="108"/>
                  <a:pt x="152" y="108"/>
                  <a:pt x="152" y="108"/>
                </a:cubicBezTo>
                <a:cubicBezTo>
                  <a:pt x="151" y="108"/>
                  <a:pt x="151" y="108"/>
                  <a:pt x="151" y="108"/>
                </a:cubicBezTo>
                <a:cubicBezTo>
                  <a:pt x="150" y="107"/>
                  <a:pt x="150" y="107"/>
                  <a:pt x="150" y="107"/>
                </a:cubicBezTo>
                <a:cubicBezTo>
                  <a:pt x="149" y="108"/>
                  <a:pt x="149" y="108"/>
                  <a:pt x="149" y="108"/>
                </a:cubicBezTo>
                <a:cubicBezTo>
                  <a:pt x="148" y="109"/>
                  <a:pt x="148" y="109"/>
                  <a:pt x="148" y="109"/>
                </a:cubicBezTo>
                <a:cubicBezTo>
                  <a:pt x="147" y="110"/>
                  <a:pt x="147" y="110"/>
                  <a:pt x="147" y="110"/>
                </a:cubicBezTo>
                <a:cubicBezTo>
                  <a:pt x="147" y="110"/>
                  <a:pt x="147" y="110"/>
                  <a:pt x="147" y="110"/>
                </a:cubicBezTo>
                <a:cubicBezTo>
                  <a:pt x="146" y="111"/>
                  <a:pt x="146" y="111"/>
                  <a:pt x="146" y="111"/>
                </a:cubicBezTo>
                <a:cubicBezTo>
                  <a:pt x="145" y="111"/>
                  <a:pt x="145" y="111"/>
                  <a:pt x="145" y="111"/>
                </a:cubicBezTo>
                <a:cubicBezTo>
                  <a:pt x="145" y="112"/>
                  <a:pt x="145" y="112"/>
                  <a:pt x="145" y="112"/>
                </a:cubicBezTo>
                <a:cubicBezTo>
                  <a:pt x="144" y="113"/>
                  <a:pt x="144" y="113"/>
                  <a:pt x="144" y="113"/>
                </a:cubicBezTo>
                <a:cubicBezTo>
                  <a:pt x="144" y="114"/>
                  <a:pt x="144" y="114"/>
                  <a:pt x="144" y="114"/>
                </a:cubicBezTo>
                <a:cubicBezTo>
                  <a:pt x="145" y="115"/>
                  <a:pt x="145" y="115"/>
                  <a:pt x="145" y="115"/>
                </a:cubicBezTo>
                <a:cubicBezTo>
                  <a:pt x="145" y="116"/>
                  <a:pt x="145" y="116"/>
                  <a:pt x="145" y="116"/>
                </a:cubicBezTo>
                <a:cubicBezTo>
                  <a:pt x="144" y="116"/>
                  <a:pt x="144" y="116"/>
                  <a:pt x="144" y="116"/>
                </a:cubicBezTo>
                <a:cubicBezTo>
                  <a:pt x="143" y="117"/>
                  <a:pt x="143" y="117"/>
                  <a:pt x="143" y="117"/>
                </a:cubicBezTo>
                <a:cubicBezTo>
                  <a:pt x="143" y="118"/>
                  <a:pt x="143" y="118"/>
                  <a:pt x="143" y="118"/>
                </a:cubicBezTo>
                <a:cubicBezTo>
                  <a:pt x="142" y="118"/>
                  <a:pt x="142" y="118"/>
                  <a:pt x="142" y="118"/>
                </a:cubicBezTo>
                <a:cubicBezTo>
                  <a:pt x="142" y="119"/>
                  <a:pt x="142" y="119"/>
                  <a:pt x="142" y="119"/>
                </a:cubicBezTo>
                <a:cubicBezTo>
                  <a:pt x="140" y="120"/>
                  <a:pt x="140" y="120"/>
                  <a:pt x="140" y="120"/>
                </a:cubicBezTo>
                <a:cubicBezTo>
                  <a:pt x="139" y="121"/>
                  <a:pt x="139" y="121"/>
                  <a:pt x="139" y="121"/>
                </a:cubicBezTo>
                <a:cubicBezTo>
                  <a:pt x="138" y="121"/>
                  <a:pt x="138" y="121"/>
                  <a:pt x="138" y="121"/>
                </a:cubicBezTo>
                <a:cubicBezTo>
                  <a:pt x="137" y="121"/>
                  <a:pt x="137" y="121"/>
                  <a:pt x="137" y="121"/>
                </a:cubicBezTo>
                <a:cubicBezTo>
                  <a:pt x="136" y="121"/>
                  <a:pt x="136" y="121"/>
                  <a:pt x="136" y="121"/>
                </a:cubicBezTo>
                <a:cubicBezTo>
                  <a:pt x="135" y="123"/>
                  <a:pt x="135" y="123"/>
                  <a:pt x="135" y="123"/>
                </a:cubicBezTo>
                <a:cubicBezTo>
                  <a:pt x="134" y="124"/>
                  <a:pt x="134" y="124"/>
                  <a:pt x="134" y="124"/>
                </a:cubicBezTo>
                <a:cubicBezTo>
                  <a:pt x="134" y="123"/>
                  <a:pt x="134" y="123"/>
                  <a:pt x="134" y="123"/>
                </a:cubicBezTo>
                <a:cubicBezTo>
                  <a:pt x="133" y="122"/>
                  <a:pt x="133" y="122"/>
                  <a:pt x="133" y="122"/>
                </a:cubicBezTo>
                <a:cubicBezTo>
                  <a:pt x="133" y="122"/>
                  <a:pt x="133" y="122"/>
                  <a:pt x="133" y="122"/>
                </a:cubicBezTo>
                <a:cubicBezTo>
                  <a:pt x="133" y="123"/>
                  <a:pt x="133" y="123"/>
                  <a:pt x="133" y="123"/>
                </a:cubicBezTo>
                <a:cubicBezTo>
                  <a:pt x="133" y="125"/>
                  <a:pt x="133" y="125"/>
                  <a:pt x="133" y="125"/>
                </a:cubicBezTo>
                <a:cubicBezTo>
                  <a:pt x="133" y="125"/>
                  <a:pt x="133" y="125"/>
                  <a:pt x="133" y="125"/>
                </a:cubicBezTo>
                <a:cubicBezTo>
                  <a:pt x="132" y="124"/>
                  <a:pt x="132" y="124"/>
                  <a:pt x="132" y="124"/>
                </a:cubicBezTo>
                <a:cubicBezTo>
                  <a:pt x="132" y="123"/>
                  <a:pt x="132" y="123"/>
                  <a:pt x="132" y="123"/>
                </a:cubicBezTo>
                <a:cubicBezTo>
                  <a:pt x="130" y="123"/>
                  <a:pt x="130" y="123"/>
                  <a:pt x="130" y="123"/>
                </a:cubicBezTo>
                <a:cubicBezTo>
                  <a:pt x="127" y="124"/>
                  <a:pt x="127" y="124"/>
                  <a:pt x="127" y="124"/>
                </a:cubicBezTo>
                <a:cubicBezTo>
                  <a:pt x="127" y="124"/>
                  <a:pt x="127" y="124"/>
                  <a:pt x="127" y="124"/>
                </a:cubicBezTo>
                <a:cubicBezTo>
                  <a:pt x="126" y="124"/>
                  <a:pt x="126" y="124"/>
                  <a:pt x="126" y="124"/>
                </a:cubicBezTo>
                <a:cubicBezTo>
                  <a:pt x="126" y="125"/>
                  <a:pt x="126" y="125"/>
                  <a:pt x="126" y="125"/>
                </a:cubicBezTo>
                <a:cubicBezTo>
                  <a:pt x="126" y="127"/>
                  <a:pt x="126" y="127"/>
                  <a:pt x="126" y="127"/>
                </a:cubicBezTo>
                <a:cubicBezTo>
                  <a:pt x="127" y="127"/>
                  <a:pt x="127" y="127"/>
                  <a:pt x="127" y="127"/>
                </a:cubicBezTo>
                <a:cubicBezTo>
                  <a:pt x="127" y="128"/>
                  <a:pt x="127" y="128"/>
                  <a:pt x="127" y="128"/>
                </a:cubicBezTo>
                <a:cubicBezTo>
                  <a:pt x="126" y="128"/>
                  <a:pt x="126" y="128"/>
                  <a:pt x="126" y="128"/>
                </a:cubicBezTo>
                <a:cubicBezTo>
                  <a:pt x="125" y="129"/>
                  <a:pt x="125" y="129"/>
                  <a:pt x="125" y="129"/>
                </a:cubicBezTo>
                <a:cubicBezTo>
                  <a:pt x="125" y="129"/>
                  <a:pt x="125" y="129"/>
                  <a:pt x="125" y="129"/>
                </a:cubicBezTo>
                <a:cubicBezTo>
                  <a:pt x="125" y="128"/>
                  <a:pt x="125" y="128"/>
                  <a:pt x="125" y="128"/>
                </a:cubicBezTo>
                <a:cubicBezTo>
                  <a:pt x="125" y="128"/>
                  <a:pt x="125" y="128"/>
                  <a:pt x="125" y="128"/>
                </a:cubicBezTo>
                <a:cubicBezTo>
                  <a:pt x="125" y="127"/>
                  <a:pt x="125" y="127"/>
                  <a:pt x="125" y="127"/>
                </a:cubicBezTo>
                <a:cubicBezTo>
                  <a:pt x="125" y="127"/>
                  <a:pt x="125" y="127"/>
                  <a:pt x="125" y="127"/>
                </a:cubicBezTo>
                <a:cubicBezTo>
                  <a:pt x="124" y="128"/>
                  <a:pt x="124" y="128"/>
                  <a:pt x="124" y="128"/>
                </a:cubicBezTo>
                <a:cubicBezTo>
                  <a:pt x="123" y="129"/>
                  <a:pt x="123" y="129"/>
                  <a:pt x="123" y="129"/>
                </a:cubicBezTo>
                <a:cubicBezTo>
                  <a:pt x="123" y="130"/>
                  <a:pt x="123" y="130"/>
                  <a:pt x="123" y="130"/>
                </a:cubicBezTo>
                <a:cubicBezTo>
                  <a:pt x="123" y="130"/>
                  <a:pt x="123" y="130"/>
                  <a:pt x="123" y="130"/>
                </a:cubicBezTo>
                <a:cubicBezTo>
                  <a:pt x="123" y="131"/>
                  <a:pt x="123" y="131"/>
                  <a:pt x="123" y="131"/>
                </a:cubicBezTo>
                <a:cubicBezTo>
                  <a:pt x="122" y="132"/>
                  <a:pt x="122" y="132"/>
                  <a:pt x="122" y="132"/>
                </a:cubicBezTo>
                <a:cubicBezTo>
                  <a:pt x="121" y="132"/>
                  <a:pt x="121" y="132"/>
                  <a:pt x="121" y="132"/>
                </a:cubicBezTo>
                <a:cubicBezTo>
                  <a:pt x="120" y="132"/>
                  <a:pt x="120" y="132"/>
                  <a:pt x="120" y="132"/>
                </a:cubicBezTo>
                <a:cubicBezTo>
                  <a:pt x="120" y="133"/>
                  <a:pt x="120" y="133"/>
                  <a:pt x="120" y="133"/>
                </a:cubicBezTo>
                <a:cubicBezTo>
                  <a:pt x="119" y="133"/>
                  <a:pt x="119" y="133"/>
                  <a:pt x="119" y="133"/>
                </a:cubicBezTo>
                <a:cubicBezTo>
                  <a:pt x="118" y="134"/>
                  <a:pt x="118" y="134"/>
                  <a:pt x="118" y="134"/>
                </a:cubicBezTo>
                <a:cubicBezTo>
                  <a:pt x="118" y="136"/>
                  <a:pt x="118" y="136"/>
                  <a:pt x="118" y="136"/>
                </a:cubicBezTo>
                <a:cubicBezTo>
                  <a:pt x="118" y="136"/>
                  <a:pt x="118" y="136"/>
                  <a:pt x="118" y="136"/>
                </a:cubicBezTo>
                <a:cubicBezTo>
                  <a:pt x="119" y="136"/>
                  <a:pt x="119" y="136"/>
                  <a:pt x="119" y="136"/>
                </a:cubicBezTo>
                <a:cubicBezTo>
                  <a:pt x="118" y="137"/>
                  <a:pt x="118" y="137"/>
                  <a:pt x="118" y="137"/>
                </a:cubicBezTo>
                <a:cubicBezTo>
                  <a:pt x="116" y="137"/>
                  <a:pt x="116" y="137"/>
                  <a:pt x="116" y="137"/>
                </a:cubicBezTo>
                <a:cubicBezTo>
                  <a:pt x="116" y="138"/>
                  <a:pt x="116" y="138"/>
                  <a:pt x="116" y="138"/>
                </a:cubicBezTo>
                <a:cubicBezTo>
                  <a:pt x="115" y="139"/>
                  <a:pt x="115" y="139"/>
                  <a:pt x="115" y="139"/>
                </a:cubicBezTo>
                <a:cubicBezTo>
                  <a:pt x="115" y="140"/>
                  <a:pt x="115" y="140"/>
                  <a:pt x="115" y="140"/>
                </a:cubicBezTo>
                <a:cubicBezTo>
                  <a:pt x="116" y="140"/>
                  <a:pt x="116" y="140"/>
                  <a:pt x="116" y="140"/>
                </a:cubicBezTo>
                <a:cubicBezTo>
                  <a:pt x="117" y="140"/>
                  <a:pt x="117" y="140"/>
                  <a:pt x="117" y="140"/>
                </a:cubicBezTo>
                <a:cubicBezTo>
                  <a:pt x="117" y="141"/>
                  <a:pt x="117" y="141"/>
                  <a:pt x="117" y="141"/>
                </a:cubicBezTo>
                <a:cubicBezTo>
                  <a:pt x="117" y="141"/>
                  <a:pt x="117" y="141"/>
                  <a:pt x="117" y="141"/>
                </a:cubicBezTo>
                <a:cubicBezTo>
                  <a:pt x="117" y="142"/>
                  <a:pt x="117" y="142"/>
                  <a:pt x="117" y="142"/>
                </a:cubicBezTo>
                <a:cubicBezTo>
                  <a:pt x="116" y="143"/>
                  <a:pt x="116" y="143"/>
                  <a:pt x="116" y="143"/>
                </a:cubicBezTo>
                <a:cubicBezTo>
                  <a:pt x="116" y="143"/>
                  <a:pt x="116" y="143"/>
                  <a:pt x="116" y="143"/>
                </a:cubicBezTo>
                <a:cubicBezTo>
                  <a:pt x="114" y="143"/>
                  <a:pt x="114" y="143"/>
                  <a:pt x="114" y="143"/>
                </a:cubicBezTo>
                <a:cubicBezTo>
                  <a:pt x="113" y="143"/>
                  <a:pt x="113" y="143"/>
                  <a:pt x="113" y="143"/>
                </a:cubicBezTo>
                <a:cubicBezTo>
                  <a:pt x="112" y="144"/>
                  <a:pt x="112" y="144"/>
                  <a:pt x="112" y="144"/>
                </a:cubicBezTo>
                <a:cubicBezTo>
                  <a:pt x="113" y="145"/>
                  <a:pt x="113" y="145"/>
                  <a:pt x="113" y="145"/>
                </a:cubicBezTo>
                <a:cubicBezTo>
                  <a:pt x="112" y="146"/>
                  <a:pt x="112" y="146"/>
                  <a:pt x="112" y="146"/>
                </a:cubicBezTo>
                <a:cubicBezTo>
                  <a:pt x="111" y="147"/>
                  <a:pt x="111" y="147"/>
                  <a:pt x="111" y="147"/>
                </a:cubicBezTo>
                <a:cubicBezTo>
                  <a:pt x="110" y="147"/>
                  <a:pt x="110" y="147"/>
                  <a:pt x="110" y="147"/>
                </a:cubicBezTo>
                <a:cubicBezTo>
                  <a:pt x="109" y="146"/>
                  <a:pt x="109" y="146"/>
                  <a:pt x="109" y="146"/>
                </a:cubicBezTo>
                <a:cubicBezTo>
                  <a:pt x="109" y="145"/>
                  <a:pt x="109" y="145"/>
                  <a:pt x="109" y="145"/>
                </a:cubicBezTo>
                <a:cubicBezTo>
                  <a:pt x="109" y="145"/>
                  <a:pt x="109" y="145"/>
                  <a:pt x="109" y="145"/>
                </a:cubicBezTo>
                <a:cubicBezTo>
                  <a:pt x="108" y="147"/>
                  <a:pt x="108" y="147"/>
                  <a:pt x="108" y="147"/>
                </a:cubicBezTo>
                <a:cubicBezTo>
                  <a:pt x="108" y="148"/>
                  <a:pt x="108" y="148"/>
                  <a:pt x="108" y="148"/>
                </a:cubicBezTo>
                <a:cubicBezTo>
                  <a:pt x="110" y="149"/>
                  <a:pt x="110" y="149"/>
                  <a:pt x="110" y="149"/>
                </a:cubicBezTo>
                <a:cubicBezTo>
                  <a:pt x="110" y="149"/>
                  <a:pt x="110" y="149"/>
                  <a:pt x="110" y="149"/>
                </a:cubicBezTo>
                <a:cubicBezTo>
                  <a:pt x="111" y="149"/>
                  <a:pt x="111" y="149"/>
                  <a:pt x="111" y="149"/>
                </a:cubicBezTo>
                <a:cubicBezTo>
                  <a:pt x="111" y="150"/>
                  <a:pt x="111" y="150"/>
                  <a:pt x="111" y="150"/>
                </a:cubicBezTo>
                <a:cubicBezTo>
                  <a:pt x="110" y="151"/>
                  <a:pt x="110" y="151"/>
                  <a:pt x="110" y="151"/>
                </a:cubicBezTo>
                <a:cubicBezTo>
                  <a:pt x="110" y="152"/>
                  <a:pt x="110" y="152"/>
                  <a:pt x="110" y="152"/>
                </a:cubicBezTo>
                <a:cubicBezTo>
                  <a:pt x="111" y="152"/>
                  <a:pt x="111" y="152"/>
                  <a:pt x="111" y="152"/>
                </a:cubicBezTo>
                <a:cubicBezTo>
                  <a:pt x="112" y="151"/>
                  <a:pt x="112" y="151"/>
                  <a:pt x="112" y="151"/>
                </a:cubicBezTo>
                <a:cubicBezTo>
                  <a:pt x="112" y="151"/>
                  <a:pt x="112" y="151"/>
                  <a:pt x="112" y="151"/>
                </a:cubicBezTo>
                <a:cubicBezTo>
                  <a:pt x="113" y="152"/>
                  <a:pt x="113" y="152"/>
                  <a:pt x="113" y="152"/>
                </a:cubicBezTo>
                <a:cubicBezTo>
                  <a:pt x="114" y="152"/>
                  <a:pt x="114" y="152"/>
                  <a:pt x="114" y="152"/>
                </a:cubicBezTo>
                <a:cubicBezTo>
                  <a:pt x="115" y="151"/>
                  <a:pt x="115" y="151"/>
                  <a:pt x="115" y="151"/>
                </a:cubicBezTo>
                <a:cubicBezTo>
                  <a:pt x="115" y="151"/>
                  <a:pt x="115" y="151"/>
                  <a:pt x="115" y="151"/>
                </a:cubicBezTo>
                <a:cubicBezTo>
                  <a:pt x="115" y="152"/>
                  <a:pt x="115" y="152"/>
                  <a:pt x="115" y="152"/>
                </a:cubicBezTo>
                <a:cubicBezTo>
                  <a:pt x="114" y="153"/>
                  <a:pt x="114" y="153"/>
                  <a:pt x="114" y="153"/>
                </a:cubicBezTo>
                <a:cubicBezTo>
                  <a:pt x="112" y="152"/>
                  <a:pt x="112" y="152"/>
                  <a:pt x="112" y="152"/>
                </a:cubicBezTo>
                <a:cubicBezTo>
                  <a:pt x="112" y="153"/>
                  <a:pt x="112" y="153"/>
                  <a:pt x="112" y="153"/>
                </a:cubicBezTo>
                <a:cubicBezTo>
                  <a:pt x="111" y="153"/>
                  <a:pt x="111" y="153"/>
                  <a:pt x="111" y="153"/>
                </a:cubicBezTo>
                <a:cubicBezTo>
                  <a:pt x="111" y="154"/>
                  <a:pt x="111" y="154"/>
                  <a:pt x="111" y="154"/>
                </a:cubicBezTo>
                <a:cubicBezTo>
                  <a:pt x="111" y="155"/>
                  <a:pt x="111" y="155"/>
                  <a:pt x="111" y="155"/>
                </a:cubicBezTo>
                <a:cubicBezTo>
                  <a:pt x="112" y="156"/>
                  <a:pt x="112" y="156"/>
                  <a:pt x="112" y="156"/>
                </a:cubicBezTo>
                <a:cubicBezTo>
                  <a:pt x="113" y="156"/>
                  <a:pt x="113" y="156"/>
                  <a:pt x="113" y="156"/>
                </a:cubicBezTo>
                <a:cubicBezTo>
                  <a:pt x="114" y="155"/>
                  <a:pt x="114" y="155"/>
                  <a:pt x="114" y="155"/>
                </a:cubicBezTo>
                <a:cubicBezTo>
                  <a:pt x="114" y="156"/>
                  <a:pt x="114" y="156"/>
                  <a:pt x="114" y="156"/>
                </a:cubicBezTo>
                <a:cubicBezTo>
                  <a:pt x="114" y="156"/>
                  <a:pt x="114" y="156"/>
                  <a:pt x="114" y="156"/>
                </a:cubicBezTo>
                <a:cubicBezTo>
                  <a:pt x="112" y="157"/>
                  <a:pt x="112" y="157"/>
                  <a:pt x="112" y="157"/>
                </a:cubicBezTo>
                <a:cubicBezTo>
                  <a:pt x="111" y="157"/>
                  <a:pt x="111" y="157"/>
                  <a:pt x="111" y="157"/>
                </a:cubicBezTo>
                <a:cubicBezTo>
                  <a:pt x="110" y="157"/>
                  <a:pt x="110" y="157"/>
                  <a:pt x="110" y="157"/>
                </a:cubicBezTo>
                <a:cubicBezTo>
                  <a:pt x="110" y="158"/>
                  <a:pt x="110" y="158"/>
                  <a:pt x="110" y="158"/>
                </a:cubicBezTo>
                <a:cubicBezTo>
                  <a:pt x="111" y="158"/>
                  <a:pt x="111" y="158"/>
                  <a:pt x="111" y="158"/>
                </a:cubicBezTo>
                <a:cubicBezTo>
                  <a:pt x="112" y="158"/>
                  <a:pt x="112" y="158"/>
                  <a:pt x="112" y="158"/>
                </a:cubicBezTo>
                <a:cubicBezTo>
                  <a:pt x="113" y="158"/>
                  <a:pt x="113" y="158"/>
                  <a:pt x="113" y="158"/>
                </a:cubicBezTo>
                <a:cubicBezTo>
                  <a:pt x="113" y="159"/>
                  <a:pt x="113" y="159"/>
                  <a:pt x="113" y="159"/>
                </a:cubicBezTo>
                <a:cubicBezTo>
                  <a:pt x="112" y="159"/>
                  <a:pt x="112" y="159"/>
                  <a:pt x="112" y="159"/>
                </a:cubicBezTo>
                <a:cubicBezTo>
                  <a:pt x="111" y="159"/>
                  <a:pt x="111" y="159"/>
                  <a:pt x="111" y="159"/>
                </a:cubicBezTo>
                <a:cubicBezTo>
                  <a:pt x="111" y="160"/>
                  <a:pt x="111" y="160"/>
                  <a:pt x="111" y="160"/>
                </a:cubicBezTo>
                <a:cubicBezTo>
                  <a:pt x="111" y="160"/>
                  <a:pt x="111" y="160"/>
                  <a:pt x="111" y="160"/>
                </a:cubicBezTo>
                <a:cubicBezTo>
                  <a:pt x="113" y="160"/>
                  <a:pt x="113" y="160"/>
                  <a:pt x="113" y="160"/>
                </a:cubicBezTo>
                <a:cubicBezTo>
                  <a:pt x="115" y="162"/>
                  <a:pt x="115" y="162"/>
                  <a:pt x="115" y="162"/>
                </a:cubicBezTo>
                <a:cubicBezTo>
                  <a:pt x="116" y="162"/>
                  <a:pt x="116" y="162"/>
                  <a:pt x="116" y="162"/>
                </a:cubicBezTo>
                <a:cubicBezTo>
                  <a:pt x="116" y="162"/>
                  <a:pt x="116" y="162"/>
                  <a:pt x="116" y="162"/>
                </a:cubicBezTo>
                <a:cubicBezTo>
                  <a:pt x="116" y="163"/>
                  <a:pt x="116" y="163"/>
                  <a:pt x="116" y="163"/>
                </a:cubicBezTo>
                <a:cubicBezTo>
                  <a:pt x="115" y="162"/>
                  <a:pt x="115" y="162"/>
                  <a:pt x="115" y="162"/>
                </a:cubicBezTo>
                <a:cubicBezTo>
                  <a:pt x="114" y="162"/>
                  <a:pt x="114" y="162"/>
                  <a:pt x="114" y="162"/>
                </a:cubicBezTo>
                <a:cubicBezTo>
                  <a:pt x="113" y="162"/>
                  <a:pt x="113" y="162"/>
                  <a:pt x="113" y="162"/>
                </a:cubicBezTo>
                <a:cubicBezTo>
                  <a:pt x="112" y="161"/>
                  <a:pt x="112" y="161"/>
                  <a:pt x="112" y="161"/>
                </a:cubicBezTo>
                <a:cubicBezTo>
                  <a:pt x="111" y="161"/>
                  <a:pt x="111" y="161"/>
                  <a:pt x="111" y="161"/>
                </a:cubicBezTo>
                <a:cubicBezTo>
                  <a:pt x="110" y="162"/>
                  <a:pt x="110" y="162"/>
                  <a:pt x="110" y="162"/>
                </a:cubicBezTo>
                <a:cubicBezTo>
                  <a:pt x="110" y="162"/>
                  <a:pt x="110" y="162"/>
                  <a:pt x="110" y="162"/>
                </a:cubicBezTo>
                <a:cubicBezTo>
                  <a:pt x="109" y="163"/>
                  <a:pt x="109" y="163"/>
                  <a:pt x="109" y="163"/>
                </a:cubicBezTo>
                <a:cubicBezTo>
                  <a:pt x="109" y="164"/>
                  <a:pt x="109" y="164"/>
                  <a:pt x="109" y="164"/>
                </a:cubicBezTo>
                <a:cubicBezTo>
                  <a:pt x="110" y="164"/>
                  <a:pt x="110" y="164"/>
                  <a:pt x="110" y="164"/>
                </a:cubicBezTo>
                <a:cubicBezTo>
                  <a:pt x="109" y="165"/>
                  <a:pt x="109" y="165"/>
                  <a:pt x="109" y="165"/>
                </a:cubicBezTo>
                <a:cubicBezTo>
                  <a:pt x="109" y="165"/>
                  <a:pt x="109" y="165"/>
                  <a:pt x="109" y="165"/>
                </a:cubicBezTo>
                <a:cubicBezTo>
                  <a:pt x="108" y="165"/>
                  <a:pt x="108" y="165"/>
                  <a:pt x="108" y="165"/>
                </a:cubicBezTo>
                <a:cubicBezTo>
                  <a:pt x="108" y="166"/>
                  <a:pt x="108" y="166"/>
                  <a:pt x="108" y="166"/>
                </a:cubicBezTo>
                <a:cubicBezTo>
                  <a:pt x="107" y="167"/>
                  <a:pt x="107" y="167"/>
                  <a:pt x="107" y="167"/>
                </a:cubicBezTo>
                <a:cubicBezTo>
                  <a:pt x="107" y="167"/>
                  <a:pt x="107" y="167"/>
                  <a:pt x="107" y="167"/>
                </a:cubicBezTo>
                <a:cubicBezTo>
                  <a:pt x="107" y="168"/>
                  <a:pt x="107" y="168"/>
                  <a:pt x="107" y="168"/>
                </a:cubicBezTo>
                <a:cubicBezTo>
                  <a:pt x="106" y="168"/>
                  <a:pt x="106" y="168"/>
                  <a:pt x="106" y="168"/>
                </a:cubicBezTo>
                <a:cubicBezTo>
                  <a:pt x="106" y="168"/>
                  <a:pt x="106" y="168"/>
                  <a:pt x="106" y="168"/>
                </a:cubicBezTo>
                <a:cubicBezTo>
                  <a:pt x="107" y="170"/>
                  <a:pt x="107" y="170"/>
                  <a:pt x="107" y="170"/>
                </a:cubicBezTo>
                <a:cubicBezTo>
                  <a:pt x="108" y="170"/>
                  <a:pt x="108" y="170"/>
                  <a:pt x="108" y="170"/>
                </a:cubicBezTo>
                <a:cubicBezTo>
                  <a:pt x="109" y="170"/>
                  <a:pt x="109" y="170"/>
                  <a:pt x="109" y="170"/>
                </a:cubicBezTo>
                <a:cubicBezTo>
                  <a:pt x="109" y="169"/>
                  <a:pt x="109" y="169"/>
                  <a:pt x="109" y="169"/>
                </a:cubicBezTo>
                <a:cubicBezTo>
                  <a:pt x="110" y="169"/>
                  <a:pt x="110" y="169"/>
                  <a:pt x="110" y="169"/>
                </a:cubicBezTo>
                <a:cubicBezTo>
                  <a:pt x="112" y="167"/>
                  <a:pt x="112" y="167"/>
                  <a:pt x="112" y="167"/>
                </a:cubicBezTo>
                <a:cubicBezTo>
                  <a:pt x="113" y="167"/>
                  <a:pt x="113" y="167"/>
                  <a:pt x="113" y="167"/>
                </a:cubicBezTo>
                <a:cubicBezTo>
                  <a:pt x="114" y="167"/>
                  <a:pt x="114" y="167"/>
                  <a:pt x="114" y="167"/>
                </a:cubicBezTo>
                <a:cubicBezTo>
                  <a:pt x="115" y="168"/>
                  <a:pt x="115" y="168"/>
                  <a:pt x="115" y="168"/>
                </a:cubicBezTo>
                <a:cubicBezTo>
                  <a:pt x="115" y="168"/>
                  <a:pt x="115" y="168"/>
                  <a:pt x="115" y="168"/>
                </a:cubicBezTo>
                <a:cubicBezTo>
                  <a:pt x="114" y="168"/>
                  <a:pt x="114" y="168"/>
                  <a:pt x="114" y="168"/>
                </a:cubicBezTo>
                <a:cubicBezTo>
                  <a:pt x="113" y="168"/>
                  <a:pt x="113" y="168"/>
                  <a:pt x="113" y="168"/>
                </a:cubicBezTo>
                <a:cubicBezTo>
                  <a:pt x="113" y="168"/>
                  <a:pt x="113" y="168"/>
                  <a:pt x="113" y="168"/>
                </a:cubicBezTo>
                <a:cubicBezTo>
                  <a:pt x="112" y="168"/>
                  <a:pt x="112" y="168"/>
                  <a:pt x="112" y="168"/>
                </a:cubicBezTo>
                <a:cubicBezTo>
                  <a:pt x="111" y="169"/>
                  <a:pt x="111" y="169"/>
                  <a:pt x="111" y="169"/>
                </a:cubicBezTo>
                <a:cubicBezTo>
                  <a:pt x="110" y="170"/>
                  <a:pt x="110" y="170"/>
                  <a:pt x="110" y="170"/>
                </a:cubicBezTo>
                <a:cubicBezTo>
                  <a:pt x="110" y="172"/>
                  <a:pt x="110" y="172"/>
                  <a:pt x="110" y="172"/>
                </a:cubicBezTo>
                <a:cubicBezTo>
                  <a:pt x="110" y="173"/>
                  <a:pt x="110" y="173"/>
                  <a:pt x="110" y="173"/>
                </a:cubicBezTo>
                <a:cubicBezTo>
                  <a:pt x="110" y="173"/>
                  <a:pt x="110" y="173"/>
                  <a:pt x="110" y="173"/>
                </a:cubicBezTo>
                <a:cubicBezTo>
                  <a:pt x="110" y="173"/>
                  <a:pt x="110" y="174"/>
                  <a:pt x="110" y="174"/>
                </a:cubicBezTo>
                <a:close/>
                <a:moveTo>
                  <a:pt x="115" y="208"/>
                </a:moveTo>
                <a:cubicBezTo>
                  <a:pt x="116" y="208"/>
                  <a:pt x="116" y="208"/>
                  <a:pt x="116" y="208"/>
                </a:cubicBezTo>
                <a:cubicBezTo>
                  <a:pt x="116" y="207"/>
                  <a:pt x="116" y="207"/>
                  <a:pt x="116" y="207"/>
                </a:cubicBezTo>
                <a:cubicBezTo>
                  <a:pt x="115" y="206"/>
                  <a:pt x="115" y="206"/>
                  <a:pt x="115" y="206"/>
                </a:cubicBezTo>
                <a:cubicBezTo>
                  <a:pt x="116" y="205"/>
                  <a:pt x="116" y="205"/>
                  <a:pt x="116" y="205"/>
                </a:cubicBezTo>
                <a:cubicBezTo>
                  <a:pt x="116" y="204"/>
                  <a:pt x="116" y="204"/>
                  <a:pt x="116" y="204"/>
                </a:cubicBezTo>
                <a:cubicBezTo>
                  <a:pt x="114" y="204"/>
                  <a:pt x="114" y="204"/>
                  <a:pt x="114" y="204"/>
                </a:cubicBezTo>
                <a:cubicBezTo>
                  <a:pt x="114" y="203"/>
                  <a:pt x="114" y="203"/>
                  <a:pt x="114" y="203"/>
                </a:cubicBezTo>
                <a:cubicBezTo>
                  <a:pt x="113" y="203"/>
                  <a:pt x="113" y="203"/>
                  <a:pt x="113" y="203"/>
                </a:cubicBezTo>
                <a:cubicBezTo>
                  <a:pt x="112" y="203"/>
                  <a:pt x="112" y="203"/>
                  <a:pt x="112" y="203"/>
                </a:cubicBezTo>
                <a:cubicBezTo>
                  <a:pt x="111" y="204"/>
                  <a:pt x="111" y="204"/>
                  <a:pt x="111" y="204"/>
                </a:cubicBezTo>
                <a:cubicBezTo>
                  <a:pt x="111" y="204"/>
                  <a:pt x="111" y="204"/>
                  <a:pt x="111" y="204"/>
                </a:cubicBezTo>
                <a:cubicBezTo>
                  <a:pt x="112" y="205"/>
                  <a:pt x="112" y="205"/>
                  <a:pt x="112" y="205"/>
                </a:cubicBezTo>
                <a:cubicBezTo>
                  <a:pt x="112" y="205"/>
                  <a:pt x="112" y="205"/>
                  <a:pt x="112" y="205"/>
                </a:cubicBezTo>
                <a:cubicBezTo>
                  <a:pt x="113" y="205"/>
                  <a:pt x="113" y="205"/>
                  <a:pt x="113" y="205"/>
                </a:cubicBezTo>
                <a:cubicBezTo>
                  <a:pt x="113" y="206"/>
                  <a:pt x="113" y="206"/>
                  <a:pt x="113" y="206"/>
                </a:cubicBezTo>
                <a:cubicBezTo>
                  <a:pt x="114" y="206"/>
                  <a:pt x="114" y="206"/>
                  <a:pt x="114" y="206"/>
                </a:cubicBezTo>
                <a:cubicBezTo>
                  <a:pt x="115" y="208"/>
                  <a:pt x="115" y="208"/>
                  <a:pt x="115" y="208"/>
                </a:cubicBezTo>
                <a:close/>
                <a:moveTo>
                  <a:pt x="138" y="208"/>
                </a:moveTo>
                <a:cubicBezTo>
                  <a:pt x="137" y="207"/>
                  <a:pt x="137" y="207"/>
                  <a:pt x="137" y="207"/>
                </a:cubicBezTo>
                <a:cubicBezTo>
                  <a:pt x="136" y="207"/>
                  <a:pt x="136" y="207"/>
                  <a:pt x="136" y="207"/>
                </a:cubicBezTo>
                <a:cubicBezTo>
                  <a:pt x="135" y="207"/>
                  <a:pt x="135" y="207"/>
                  <a:pt x="135" y="207"/>
                </a:cubicBezTo>
                <a:cubicBezTo>
                  <a:pt x="134" y="205"/>
                  <a:pt x="134" y="205"/>
                  <a:pt x="134" y="205"/>
                </a:cubicBezTo>
                <a:cubicBezTo>
                  <a:pt x="133" y="205"/>
                  <a:pt x="133" y="205"/>
                  <a:pt x="133" y="205"/>
                </a:cubicBezTo>
                <a:cubicBezTo>
                  <a:pt x="131" y="203"/>
                  <a:pt x="131" y="203"/>
                  <a:pt x="131" y="203"/>
                </a:cubicBezTo>
                <a:cubicBezTo>
                  <a:pt x="130" y="202"/>
                  <a:pt x="130" y="202"/>
                  <a:pt x="130" y="202"/>
                </a:cubicBezTo>
                <a:cubicBezTo>
                  <a:pt x="128" y="202"/>
                  <a:pt x="128" y="202"/>
                  <a:pt x="128" y="202"/>
                </a:cubicBezTo>
                <a:cubicBezTo>
                  <a:pt x="127" y="199"/>
                  <a:pt x="127" y="199"/>
                  <a:pt x="127" y="199"/>
                </a:cubicBezTo>
                <a:cubicBezTo>
                  <a:pt x="125" y="197"/>
                  <a:pt x="125" y="197"/>
                  <a:pt x="125" y="197"/>
                </a:cubicBezTo>
                <a:cubicBezTo>
                  <a:pt x="124" y="194"/>
                  <a:pt x="124" y="194"/>
                  <a:pt x="124" y="194"/>
                </a:cubicBezTo>
                <a:cubicBezTo>
                  <a:pt x="123" y="192"/>
                  <a:pt x="123" y="192"/>
                  <a:pt x="123" y="192"/>
                </a:cubicBezTo>
                <a:cubicBezTo>
                  <a:pt x="123" y="189"/>
                  <a:pt x="123" y="189"/>
                  <a:pt x="123" y="189"/>
                </a:cubicBezTo>
                <a:cubicBezTo>
                  <a:pt x="122" y="187"/>
                  <a:pt x="122" y="187"/>
                  <a:pt x="122" y="187"/>
                </a:cubicBezTo>
                <a:cubicBezTo>
                  <a:pt x="121" y="184"/>
                  <a:pt x="121" y="184"/>
                  <a:pt x="121" y="184"/>
                </a:cubicBezTo>
                <a:cubicBezTo>
                  <a:pt x="121" y="183"/>
                  <a:pt x="121" y="183"/>
                  <a:pt x="121" y="183"/>
                </a:cubicBezTo>
                <a:cubicBezTo>
                  <a:pt x="122" y="182"/>
                  <a:pt x="122" y="182"/>
                  <a:pt x="122" y="182"/>
                </a:cubicBezTo>
                <a:cubicBezTo>
                  <a:pt x="121" y="181"/>
                  <a:pt x="121" y="181"/>
                  <a:pt x="121" y="181"/>
                </a:cubicBezTo>
                <a:cubicBezTo>
                  <a:pt x="120" y="181"/>
                  <a:pt x="120" y="181"/>
                  <a:pt x="120" y="181"/>
                </a:cubicBezTo>
                <a:cubicBezTo>
                  <a:pt x="119" y="181"/>
                  <a:pt x="119" y="181"/>
                  <a:pt x="119" y="181"/>
                </a:cubicBezTo>
                <a:cubicBezTo>
                  <a:pt x="119" y="181"/>
                  <a:pt x="119" y="181"/>
                  <a:pt x="119" y="181"/>
                </a:cubicBezTo>
                <a:cubicBezTo>
                  <a:pt x="119" y="180"/>
                  <a:pt x="119" y="180"/>
                  <a:pt x="119" y="180"/>
                </a:cubicBezTo>
                <a:cubicBezTo>
                  <a:pt x="121" y="180"/>
                  <a:pt x="121" y="180"/>
                  <a:pt x="121" y="180"/>
                </a:cubicBezTo>
                <a:cubicBezTo>
                  <a:pt x="122" y="180"/>
                  <a:pt x="122" y="180"/>
                  <a:pt x="122" y="180"/>
                </a:cubicBezTo>
                <a:cubicBezTo>
                  <a:pt x="122" y="177"/>
                  <a:pt x="122" y="177"/>
                  <a:pt x="122" y="177"/>
                </a:cubicBezTo>
                <a:cubicBezTo>
                  <a:pt x="122" y="176"/>
                  <a:pt x="122" y="176"/>
                  <a:pt x="122" y="176"/>
                </a:cubicBezTo>
                <a:cubicBezTo>
                  <a:pt x="121" y="176"/>
                  <a:pt x="121" y="176"/>
                  <a:pt x="121" y="176"/>
                </a:cubicBezTo>
                <a:cubicBezTo>
                  <a:pt x="120" y="177"/>
                  <a:pt x="120" y="177"/>
                  <a:pt x="120" y="177"/>
                </a:cubicBezTo>
                <a:cubicBezTo>
                  <a:pt x="120" y="176"/>
                  <a:pt x="120" y="176"/>
                  <a:pt x="120" y="176"/>
                </a:cubicBezTo>
                <a:cubicBezTo>
                  <a:pt x="122" y="175"/>
                  <a:pt x="122" y="175"/>
                  <a:pt x="122" y="175"/>
                </a:cubicBezTo>
                <a:cubicBezTo>
                  <a:pt x="122" y="175"/>
                  <a:pt x="122" y="175"/>
                  <a:pt x="122" y="175"/>
                </a:cubicBezTo>
                <a:cubicBezTo>
                  <a:pt x="122" y="174"/>
                  <a:pt x="122" y="174"/>
                  <a:pt x="122" y="174"/>
                </a:cubicBezTo>
                <a:cubicBezTo>
                  <a:pt x="119" y="174"/>
                  <a:pt x="119" y="174"/>
                  <a:pt x="119" y="174"/>
                </a:cubicBezTo>
                <a:cubicBezTo>
                  <a:pt x="116" y="174"/>
                  <a:pt x="116" y="174"/>
                  <a:pt x="116" y="174"/>
                </a:cubicBezTo>
                <a:cubicBezTo>
                  <a:pt x="115" y="173"/>
                  <a:pt x="115" y="173"/>
                  <a:pt x="115" y="173"/>
                </a:cubicBezTo>
                <a:cubicBezTo>
                  <a:pt x="114" y="173"/>
                  <a:pt x="114" y="173"/>
                  <a:pt x="114" y="173"/>
                </a:cubicBezTo>
                <a:cubicBezTo>
                  <a:pt x="112" y="174"/>
                  <a:pt x="112" y="174"/>
                  <a:pt x="112" y="174"/>
                </a:cubicBezTo>
                <a:cubicBezTo>
                  <a:pt x="110" y="174"/>
                  <a:pt x="110" y="174"/>
                  <a:pt x="110" y="174"/>
                </a:cubicBezTo>
                <a:cubicBezTo>
                  <a:pt x="109" y="175"/>
                  <a:pt x="109" y="175"/>
                  <a:pt x="109" y="175"/>
                </a:cubicBezTo>
                <a:cubicBezTo>
                  <a:pt x="107" y="176"/>
                  <a:pt x="107" y="176"/>
                  <a:pt x="107" y="176"/>
                </a:cubicBezTo>
                <a:cubicBezTo>
                  <a:pt x="107" y="178"/>
                  <a:pt x="107" y="178"/>
                  <a:pt x="107" y="178"/>
                </a:cubicBezTo>
                <a:cubicBezTo>
                  <a:pt x="107" y="178"/>
                  <a:pt x="107" y="178"/>
                  <a:pt x="107" y="178"/>
                </a:cubicBezTo>
                <a:cubicBezTo>
                  <a:pt x="107" y="180"/>
                  <a:pt x="107" y="180"/>
                  <a:pt x="107" y="180"/>
                </a:cubicBezTo>
                <a:cubicBezTo>
                  <a:pt x="108" y="180"/>
                  <a:pt x="108" y="180"/>
                  <a:pt x="108" y="180"/>
                </a:cubicBezTo>
                <a:cubicBezTo>
                  <a:pt x="109" y="180"/>
                  <a:pt x="109" y="180"/>
                  <a:pt x="109" y="180"/>
                </a:cubicBezTo>
                <a:cubicBezTo>
                  <a:pt x="108" y="181"/>
                  <a:pt x="108" y="181"/>
                  <a:pt x="108" y="181"/>
                </a:cubicBezTo>
                <a:cubicBezTo>
                  <a:pt x="107" y="181"/>
                  <a:pt x="107" y="181"/>
                  <a:pt x="107" y="181"/>
                </a:cubicBezTo>
                <a:cubicBezTo>
                  <a:pt x="106" y="181"/>
                  <a:pt x="106" y="181"/>
                  <a:pt x="106" y="181"/>
                </a:cubicBezTo>
                <a:cubicBezTo>
                  <a:pt x="105" y="183"/>
                  <a:pt x="105" y="183"/>
                  <a:pt x="105" y="183"/>
                </a:cubicBezTo>
                <a:cubicBezTo>
                  <a:pt x="105" y="184"/>
                  <a:pt x="105" y="184"/>
                  <a:pt x="105" y="184"/>
                </a:cubicBezTo>
                <a:cubicBezTo>
                  <a:pt x="105" y="185"/>
                  <a:pt x="105" y="185"/>
                  <a:pt x="105" y="185"/>
                </a:cubicBezTo>
                <a:cubicBezTo>
                  <a:pt x="106" y="185"/>
                  <a:pt x="106" y="185"/>
                  <a:pt x="106" y="185"/>
                </a:cubicBezTo>
                <a:cubicBezTo>
                  <a:pt x="108" y="184"/>
                  <a:pt x="108" y="184"/>
                  <a:pt x="108" y="184"/>
                </a:cubicBezTo>
                <a:cubicBezTo>
                  <a:pt x="108" y="184"/>
                  <a:pt x="108" y="184"/>
                  <a:pt x="108" y="184"/>
                </a:cubicBezTo>
                <a:cubicBezTo>
                  <a:pt x="107" y="185"/>
                  <a:pt x="107" y="185"/>
                  <a:pt x="107" y="185"/>
                </a:cubicBezTo>
                <a:cubicBezTo>
                  <a:pt x="107" y="187"/>
                  <a:pt x="107" y="187"/>
                  <a:pt x="107" y="187"/>
                </a:cubicBezTo>
                <a:cubicBezTo>
                  <a:pt x="108" y="187"/>
                  <a:pt x="108" y="187"/>
                  <a:pt x="108" y="187"/>
                </a:cubicBezTo>
                <a:cubicBezTo>
                  <a:pt x="108" y="186"/>
                  <a:pt x="108" y="186"/>
                  <a:pt x="108" y="186"/>
                </a:cubicBezTo>
                <a:cubicBezTo>
                  <a:pt x="109" y="185"/>
                  <a:pt x="109" y="185"/>
                  <a:pt x="109" y="185"/>
                </a:cubicBezTo>
                <a:cubicBezTo>
                  <a:pt x="110" y="186"/>
                  <a:pt x="110" y="186"/>
                  <a:pt x="110" y="186"/>
                </a:cubicBezTo>
                <a:cubicBezTo>
                  <a:pt x="109" y="187"/>
                  <a:pt x="109" y="187"/>
                  <a:pt x="109" y="187"/>
                </a:cubicBezTo>
                <a:cubicBezTo>
                  <a:pt x="108" y="188"/>
                  <a:pt x="108" y="188"/>
                  <a:pt x="108" y="188"/>
                </a:cubicBezTo>
                <a:cubicBezTo>
                  <a:pt x="109" y="189"/>
                  <a:pt x="109" y="189"/>
                  <a:pt x="109" y="189"/>
                </a:cubicBezTo>
                <a:cubicBezTo>
                  <a:pt x="110" y="189"/>
                  <a:pt x="110" y="189"/>
                  <a:pt x="110" y="189"/>
                </a:cubicBezTo>
                <a:cubicBezTo>
                  <a:pt x="110" y="189"/>
                  <a:pt x="110" y="189"/>
                  <a:pt x="110" y="189"/>
                </a:cubicBezTo>
                <a:cubicBezTo>
                  <a:pt x="109" y="189"/>
                  <a:pt x="109" y="189"/>
                  <a:pt x="109" y="189"/>
                </a:cubicBezTo>
                <a:cubicBezTo>
                  <a:pt x="108" y="190"/>
                  <a:pt x="108" y="190"/>
                  <a:pt x="108" y="190"/>
                </a:cubicBezTo>
                <a:cubicBezTo>
                  <a:pt x="108" y="191"/>
                  <a:pt x="108" y="191"/>
                  <a:pt x="108" y="191"/>
                </a:cubicBezTo>
                <a:cubicBezTo>
                  <a:pt x="109" y="192"/>
                  <a:pt x="109" y="192"/>
                  <a:pt x="109" y="192"/>
                </a:cubicBezTo>
                <a:cubicBezTo>
                  <a:pt x="108" y="192"/>
                  <a:pt x="108" y="192"/>
                  <a:pt x="108" y="192"/>
                </a:cubicBezTo>
                <a:cubicBezTo>
                  <a:pt x="108" y="192"/>
                  <a:pt x="108" y="192"/>
                  <a:pt x="108" y="192"/>
                </a:cubicBezTo>
                <a:cubicBezTo>
                  <a:pt x="107" y="192"/>
                  <a:pt x="107" y="192"/>
                  <a:pt x="107" y="192"/>
                </a:cubicBezTo>
                <a:cubicBezTo>
                  <a:pt x="106" y="192"/>
                  <a:pt x="106" y="192"/>
                  <a:pt x="106" y="192"/>
                </a:cubicBezTo>
                <a:cubicBezTo>
                  <a:pt x="105" y="192"/>
                  <a:pt x="105" y="192"/>
                  <a:pt x="105" y="192"/>
                </a:cubicBezTo>
                <a:cubicBezTo>
                  <a:pt x="104" y="193"/>
                  <a:pt x="104" y="193"/>
                  <a:pt x="104" y="193"/>
                </a:cubicBezTo>
                <a:cubicBezTo>
                  <a:pt x="104" y="195"/>
                  <a:pt x="104" y="195"/>
                  <a:pt x="104" y="195"/>
                </a:cubicBezTo>
                <a:cubicBezTo>
                  <a:pt x="104" y="196"/>
                  <a:pt x="104" y="196"/>
                  <a:pt x="104" y="196"/>
                </a:cubicBezTo>
                <a:cubicBezTo>
                  <a:pt x="104" y="198"/>
                  <a:pt x="104" y="198"/>
                  <a:pt x="104" y="198"/>
                </a:cubicBezTo>
                <a:cubicBezTo>
                  <a:pt x="104" y="199"/>
                  <a:pt x="104" y="199"/>
                  <a:pt x="104" y="199"/>
                </a:cubicBezTo>
                <a:cubicBezTo>
                  <a:pt x="106" y="200"/>
                  <a:pt x="106" y="200"/>
                  <a:pt x="106" y="200"/>
                </a:cubicBezTo>
                <a:cubicBezTo>
                  <a:pt x="106" y="201"/>
                  <a:pt x="106" y="201"/>
                  <a:pt x="106" y="201"/>
                </a:cubicBezTo>
                <a:cubicBezTo>
                  <a:pt x="108" y="202"/>
                  <a:pt x="108" y="202"/>
                  <a:pt x="108" y="202"/>
                </a:cubicBezTo>
                <a:cubicBezTo>
                  <a:pt x="109" y="203"/>
                  <a:pt x="109" y="203"/>
                  <a:pt x="109" y="203"/>
                </a:cubicBezTo>
                <a:cubicBezTo>
                  <a:pt x="109" y="202"/>
                  <a:pt x="109" y="202"/>
                  <a:pt x="109" y="202"/>
                </a:cubicBezTo>
                <a:cubicBezTo>
                  <a:pt x="110" y="202"/>
                  <a:pt x="110" y="202"/>
                  <a:pt x="110" y="202"/>
                </a:cubicBezTo>
                <a:cubicBezTo>
                  <a:pt x="111" y="201"/>
                  <a:pt x="111" y="201"/>
                  <a:pt x="111" y="201"/>
                </a:cubicBezTo>
                <a:cubicBezTo>
                  <a:pt x="111" y="199"/>
                  <a:pt x="111" y="199"/>
                  <a:pt x="111" y="199"/>
                </a:cubicBezTo>
                <a:cubicBezTo>
                  <a:pt x="111" y="198"/>
                  <a:pt x="111" y="198"/>
                  <a:pt x="111" y="198"/>
                </a:cubicBezTo>
                <a:cubicBezTo>
                  <a:pt x="112" y="196"/>
                  <a:pt x="112" y="196"/>
                  <a:pt x="112" y="196"/>
                </a:cubicBezTo>
                <a:cubicBezTo>
                  <a:pt x="111" y="198"/>
                  <a:pt x="111" y="198"/>
                  <a:pt x="111" y="198"/>
                </a:cubicBezTo>
                <a:cubicBezTo>
                  <a:pt x="111" y="199"/>
                  <a:pt x="111" y="199"/>
                  <a:pt x="111" y="199"/>
                </a:cubicBezTo>
                <a:cubicBezTo>
                  <a:pt x="112" y="200"/>
                  <a:pt x="112" y="200"/>
                  <a:pt x="112" y="200"/>
                </a:cubicBezTo>
                <a:cubicBezTo>
                  <a:pt x="112" y="201"/>
                  <a:pt x="112" y="201"/>
                  <a:pt x="112" y="201"/>
                </a:cubicBezTo>
                <a:cubicBezTo>
                  <a:pt x="113" y="202"/>
                  <a:pt x="113" y="202"/>
                  <a:pt x="113" y="202"/>
                </a:cubicBezTo>
                <a:cubicBezTo>
                  <a:pt x="114" y="201"/>
                  <a:pt x="114" y="201"/>
                  <a:pt x="114" y="201"/>
                </a:cubicBezTo>
                <a:cubicBezTo>
                  <a:pt x="114" y="200"/>
                  <a:pt x="114" y="200"/>
                  <a:pt x="114" y="200"/>
                </a:cubicBezTo>
                <a:cubicBezTo>
                  <a:pt x="115" y="199"/>
                  <a:pt x="115" y="199"/>
                  <a:pt x="115" y="199"/>
                </a:cubicBezTo>
                <a:cubicBezTo>
                  <a:pt x="115" y="199"/>
                  <a:pt x="115" y="199"/>
                  <a:pt x="115" y="199"/>
                </a:cubicBezTo>
                <a:cubicBezTo>
                  <a:pt x="115" y="200"/>
                  <a:pt x="115" y="200"/>
                  <a:pt x="115" y="200"/>
                </a:cubicBezTo>
                <a:cubicBezTo>
                  <a:pt x="115" y="201"/>
                  <a:pt x="115" y="201"/>
                  <a:pt x="115" y="201"/>
                </a:cubicBezTo>
                <a:cubicBezTo>
                  <a:pt x="116" y="203"/>
                  <a:pt x="116" y="203"/>
                  <a:pt x="116" y="203"/>
                </a:cubicBezTo>
                <a:cubicBezTo>
                  <a:pt x="117" y="204"/>
                  <a:pt x="117" y="204"/>
                  <a:pt x="117" y="204"/>
                </a:cubicBezTo>
                <a:cubicBezTo>
                  <a:pt x="118" y="204"/>
                  <a:pt x="118" y="204"/>
                  <a:pt x="118" y="204"/>
                </a:cubicBezTo>
                <a:cubicBezTo>
                  <a:pt x="119" y="203"/>
                  <a:pt x="119" y="203"/>
                  <a:pt x="119" y="203"/>
                </a:cubicBezTo>
                <a:cubicBezTo>
                  <a:pt x="120" y="204"/>
                  <a:pt x="120" y="204"/>
                  <a:pt x="120" y="204"/>
                </a:cubicBezTo>
                <a:cubicBezTo>
                  <a:pt x="120" y="204"/>
                  <a:pt x="120" y="204"/>
                  <a:pt x="120" y="204"/>
                </a:cubicBezTo>
                <a:cubicBezTo>
                  <a:pt x="119" y="204"/>
                  <a:pt x="119" y="204"/>
                  <a:pt x="119" y="204"/>
                </a:cubicBezTo>
                <a:cubicBezTo>
                  <a:pt x="119" y="205"/>
                  <a:pt x="119" y="205"/>
                  <a:pt x="119" y="205"/>
                </a:cubicBezTo>
                <a:cubicBezTo>
                  <a:pt x="118" y="205"/>
                  <a:pt x="118" y="205"/>
                  <a:pt x="118" y="205"/>
                </a:cubicBezTo>
                <a:cubicBezTo>
                  <a:pt x="117" y="206"/>
                  <a:pt x="117" y="206"/>
                  <a:pt x="117" y="206"/>
                </a:cubicBezTo>
                <a:cubicBezTo>
                  <a:pt x="119" y="207"/>
                  <a:pt x="119" y="207"/>
                  <a:pt x="119" y="207"/>
                </a:cubicBezTo>
                <a:cubicBezTo>
                  <a:pt x="119" y="208"/>
                  <a:pt x="119" y="208"/>
                  <a:pt x="119" y="208"/>
                </a:cubicBezTo>
                <a:cubicBezTo>
                  <a:pt x="118" y="208"/>
                  <a:pt x="118" y="208"/>
                  <a:pt x="118" y="208"/>
                </a:cubicBezTo>
                <a:cubicBezTo>
                  <a:pt x="117" y="208"/>
                  <a:pt x="117" y="208"/>
                  <a:pt x="117" y="208"/>
                </a:cubicBezTo>
                <a:cubicBezTo>
                  <a:pt x="117" y="209"/>
                  <a:pt x="117" y="209"/>
                  <a:pt x="117" y="209"/>
                </a:cubicBezTo>
                <a:cubicBezTo>
                  <a:pt x="118" y="209"/>
                  <a:pt x="118" y="209"/>
                  <a:pt x="118" y="209"/>
                </a:cubicBezTo>
                <a:cubicBezTo>
                  <a:pt x="120" y="209"/>
                  <a:pt x="120" y="209"/>
                  <a:pt x="120" y="209"/>
                </a:cubicBezTo>
                <a:cubicBezTo>
                  <a:pt x="121" y="210"/>
                  <a:pt x="121" y="210"/>
                  <a:pt x="121" y="210"/>
                </a:cubicBezTo>
                <a:cubicBezTo>
                  <a:pt x="122" y="210"/>
                  <a:pt x="122" y="210"/>
                  <a:pt x="122" y="210"/>
                </a:cubicBezTo>
                <a:cubicBezTo>
                  <a:pt x="124" y="210"/>
                  <a:pt x="124" y="210"/>
                  <a:pt x="124" y="210"/>
                </a:cubicBezTo>
                <a:cubicBezTo>
                  <a:pt x="124" y="209"/>
                  <a:pt x="124" y="209"/>
                  <a:pt x="124" y="209"/>
                </a:cubicBezTo>
                <a:cubicBezTo>
                  <a:pt x="125" y="209"/>
                  <a:pt x="125" y="209"/>
                  <a:pt x="125" y="209"/>
                </a:cubicBezTo>
                <a:cubicBezTo>
                  <a:pt x="125" y="210"/>
                  <a:pt x="125" y="210"/>
                  <a:pt x="125" y="210"/>
                </a:cubicBezTo>
                <a:cubicBezTo>
                  <a:pt x="125" y="212"/>
                  <a:pt x="125" y="212"/>
                  <a:pt x="125" y="212"/>
                </a:cubicBezTo>
                <a:cubicBezTo>
                  <a:pt x="126" y="213"/>
                  <a:pt x="126" y="213"/>
                  <a:pt x="126" y="213"/>
                </a:cubicBezTo>
                <a:cubicBezTo>
                  <a:pt x="127" y="213"/>
                  <a:pt x="127" y="213"/>
                  <a:pt x="127" y="213"/>
                </a:cubicBezTo>
                <a:cubicBezTo>
                  <a:pt x="128" y="212"/>
                  <a:pt x="128" y="212"/>
                  <a:pt x="128" y="212"/>
                </a:cubicBezTo>
                <a:cubicBezTo>
                  <a:pt x="128" y="210"/>
                  <a:pt x="128" y="210"/>
                  <a:pt x="128" y="210"/>
                </a:cubicBezTo>
                <a:cubicBezTo>
                  <a:pt x="126" y="210"/>
                  <a:pt x="126" y="210"/>
                  <a:pt x="126" y="210"/>
                </a:cubicBezTo>
                <a:cubicBezTo>
                  <a:pt x="126" y="209"/>
                  <a:pt x="126" y="209"/>
                  <a:pt x="126" y="209"/>
                </a:cubicBezTo>
                <a:cubicBezTo>
                  <a:pt x="126" y="209"/>
                  <a:pt x="126" y="209"/>
                  <a:pt x="126" y="209"/>
                </a:cubicBezTo>
                <a:cubicBezTo>
                  <a:pt x="127" y="209"/>
                  <a:pt x="127" y="209"/>
                  <a:pt x="127" y="209"/>
                </a:cubicBezTo>
                <a:cubicBezTo>
                  <a:pt x="128" y="210"/>
                  <a:pt x="128" y="210"/>
                  <a:pt x="128" y="210"/>
                </a:cubicBezTo>
                <a:cubicBezTo>
                  <a:pt x="129" y="211"/>
                  <a:pt x="129" y="211"/>
                  <a:pt x="129" y="211"/>
                </a:cubicBezTo>
                <a:cubicBezTo>
                  <a:pt x="129" y="212"/>
                  <a:pt x="129" y="212"/>
                  <a:pt x="129" y="212"/>
                </a:cubicBezTo>
                <a:cubicBezTo>
                  <a:pt x="130" y="212"/>
                  <a:pt x="130" y="212"/>
                  <a:pt x="130" y="212"/>
                </a:cubicBezTo>
                <a:cubicBezTo>
                  <a:pt x="130" y="211"/>
                  <a:pt x="130" y="211"/>
                  <a:pt x="130" y="211"/>
                </a:cubicBezTo>
                <a:cubicBezTo>
                  <a:pt x="131" y="211"/>
                  <a:pt x="131" y="211"/>
                  <a:pt x="131" y="211"/>
                </a:cubicBezTo>
                <a:cubicBezTo>
                  <a:pt x="131" y="212"/>
                  <a:pt x="131" y="212"/>
                  <a:pt x="131" y="212"/>
                </a:cubicBezTo>
                <a:cubicBezTo>
                  <a:pt x="133" y="212"/>
                  <a:pt x="133" y="212"/>
                  <a:pt x="133" y="212"/>
                </a:cubicBezTo>
                <a:cubicBezTo>
                  <a:pt x="134" y="212"/>
                  <a:pt x="134" y="212"/>
                  <a:pt x="134" y="212"/>
                </a:cubicBezTo>
                <a:cubicBezTo>
                  <a:pt x="134" y="212"/>
                  <a:pt x="134" y="212"/>
                  <a:pt x="134" y="212"/>
                </a:cubicBezTo>
                <a:cubicBezTo>
                  <a:pt x="133" y="211"/>
                  <a:pt x="133" y="211"/>
                  <a:pt x="133" y="211"/>
                </a:cubicBezTo>
                <a:cubicBezTo>
                  <a:pt x="133" y="210"/>
                  <a:pt x="133" y="210"/>
                  <a:pt x="133" y="210"/>
                </a:cubicBezTo>
                <a:cubicBezTo>
                  <a:pt x="133" y="210"/>
                  <a:pt x="133" y="210"/>
                  <a:pt x="133" y="210"/>
                </a:cubicBezTo>
                <a:cubicBezTo>
                  <a:pt x="134" y="211"/>
                  <a:pt x="134" y="211"/>
                  <a:pt x="134" y="211"/>
                </a:cubicBezTo>
                <a:cubicBezTo>
                  <a:pt x="135" y="211"/>
                  <a:pt x="135" y="211"/>
                  <a:pt x="135" y="211"/>
                </a:cubicBezTo>
                <a:cubicBezTo>
                  <a:pt x="135" y="211"/>
                  <a:pt x="135" y="211"/>
                  <a:pt x="135" y="211"/>
                </a:cubicBezTo>
                <a:cubicBezTo>
                  <a:pt x="136" y="212"/>
                  <a:pt x="136" y="212"/>
                  <a:pt x="136" y="212"/>
                </a:cubicBezTo>
                <a:cubicBezTo>
                  <a:pt x="136" y="213"/>
                  <a:pt x="136" y="213"/>
                  <a:pt x="136" y="213"/>
                </a:cubicBezTo>
                <a:cubicBezTo>
                  <a:pt x="137" y="213"/>
                  <a:pt x="137" y="213"/>
                  <a:pt x="137" y="213"/>
                </a:cubicBezTo>
                <a:cubicBezTo>
                  <a:pt x="137" y="212"/>
                  <a:pt x="137" y="212"/>
                  <a:pt x="137" y="212"/>
                </a:cubicBezTo>
                <a:cubicBezTo>
                  <a:pt x="137" y="211"/>
                  <a:pt x="137" y="211"/>
                  <a:pt x="137" y="211"/>
                </a:cubicBezTo>
                <a:cubicBezTo>
                  <a:pt x="136" y="211"/>
                  <a:pt x="136" y="211"/>
                  <a:pt x="136" y="211"/>
                </a:cubicBezTo>
                <a:cubicBezTo>
                  <a:pt x="135" y="210"/>
                  <a:pt x="135" y="210"/>
                  <a:pt x="135" y="210"/>
                </a:cubicBezTo>
                <a:cubicBezTo>
                  <a:pt x="136" y="210"/>
                  <a:pt x="136" y="210"/>
                  <a:pt x="136" y="210"/>
                </a:cubicBezTo>
                <a:cubicBezTo>
                  <a:pt x="136" y="210"/>
                  <a:pt x="136" y="210"/>
                  <a:pt x="136" y="210"/>
                </a:cubicBezTo>
                <a:cubicBezTo>
                  <a:pt x="137" y="210"/>
                  <a:pt x="137" y="210"/>
                  <a:pt x="137" y="210"/>
                </a:cubicBezTo>
                <a:cubicBezTo>
                  <a:pt x="138" y="209"/>
                  <a:pt x="138" y="209"/>
                  <a:pt x="138" y="209"/>
                </a:cubicBezTo>
                <a:cubicBezTo>
                  <a:pt x="138" y="208"/>
                  <a:pt x="138" y="208"/>
                  <a:pt x="138" y="208"/>
                </a:cubicBezTo>
                <a:cubicBezTo>
                  <a:pt x="138" y="208"/>
                  <a:pt x="138" y="208"/>
                  <a:pt x="138" y="208"/>
                </a:cubicBezTo>
                <a:close/>
                <a:moveTo>
                  <a:pt x="44" y="286"/>
                </a:moveTo>
                <a:cubicBezTo>
                  <a:pt x="43" y="285"/>
                  <a:pt x="43" y="285"/>
                  <a:pt x="43" y="285"/>
                </a:cubicBezTo>
                <a:cubicBezTo>
                  <a:pt x="43" y="284"/>
                  <a:pt x="43" y="284"/>
                  <a:pt x="43" y="284"/>
                </a:cubicBezTo>
                <a:cubicBezTo>
                  <a:pt x="43" y="284"/>
                  <a:pt x="43" y="284"/>
                  <a:pt x="43" y="284"/>
                </a:cubicBezTo>
                <a:cubicBezTo>
                  <a:pt x="42" y="284"/>
                  <a:pt x="42" y="284"/>
                  <a:pt x="42" y="284"/>
                </a:cubicBezTo>
                <a:cubicBezTo>
                  <a:pt x="42" y="284"/>
                  <a:pt x="42" y="284"/>
                  <a:pt x="42" y="284"/>
                </a:cubicBezTo>
                <a:cubicBezTo>
                  <a:pt x="42" y="285"/>
                  <a:pt x="42" y="285"/>
                  <a:pt x="42" y="285"/>
                </a:cubicBezTo>
                <a:cubicBezTo>
                  <a:pt x="43" y="286"/>
                  <a:pt x="43" y="286"/>
                  <a:pt x="43" y="286"/>
                </a:cubicBezTo>
                <a:cubicBezTo>
                  <a:pt x="43" y="287"/>
                  <a:pt x="43" y="287"/>
                  <a:pt x="43" y="287"/>
                </a:cubicBezTo>
                <a:cubicBezTo>
                  <a:pt x="43" y="287"/>
                  <a:pt x="43" y="287"/>
                  <a:pt x="43" y="287"/>
                </a:cubicBezTo>
                <a:cubicBezTo>
                  <a:pt x="44" y="286"/>
                  <a:pt x="44" y="286"/>
                  <a:pt x="44" y="286"/>
                </a:cubicBezTo>
                <a:close/>
                <a:moveTo>
                  <a:pt x="76" y="265"/>
                </a:moveTo>
                <a:cubicBezTo>
                  <a:pt x="77" y="265"/>
                  <a:pt x="77" y="265"/>
                  <a:pt x="77" y="265"/>
                </a:cubicBezTo>
                <a:cubicBezTo>
                  <a:pt x="77" y="265"/>
                  <a:pt x="77" y="265"/>
                  <a:pt x="77" y="265"/>
                </a:cubicBezTo>
                <a:cubicBezTo>
                  <a:pt x="76" y="264"/>
                  <a:pt x="76" y="264"/>
                  <a:pt x="76" y="264"/>
                </a:cubicBezTo>
                <a:cubicBezTo>
                  <a:pt x="75" y="264"/>
                  <a:pt x="75" y="264"/>
                  <a:pt x="75" y="264"/>
                </a:cubicBezTo>
                <a:cubicBezTo>
                  <a:pt x="75" y="265"/>
                  <a:pt x="75" y="265"/>
                  <a:pt x="75" y="265"/>
                </a:cubicBezTo>
                <a:cubicBezTo>
                  <a:pt x="76" y="265"/>
                  <a:pt x="76" y="265"/>
                  <a:pt x="76" y="265"/>
                </a:cubicBezTo>
                <a:close/>
                <a:moveTo>
                  <a:pt x="101" y="238"/>
                </a:moveTo>
                <a:cubicBezTo>
                  <a:pt x="103" y="238"/>
                  <a:pt x="103" y="238"/>
                  <a:pt x="103" y="238"/>
                </a:cubicBezTo>
                <a:cubicBezTo>
                  <a:pt x="104" y="237"/>
                  <a:pt x="104" y="237"/>
                  <a:pt x="104" y="237"/>
                </a:cubicBezTo>
                <a:cubicBezTo>
                  <a:pt x="105" y="235"/>
                  <a:pt x="105" y="235"/>
                  <a:pt x="105" y="235"/>
                </a:cubicBezTo>
                <a:cubicBezTo>
                  <a:pt x="105" y="233"/>
                  <a:pt x="105" y="233"/>
                  <a:pt x="105" y="233"/>
                </a:cubicBezTo>
                <a:cubicBezTo>
                  <a:pt x="106" y="232"/>
                  <a:pt x="106" y="232"/>
                  <a:pt x="106" y="232"/>
                </a:cubicBezTo>
                <a:cubicBezTo>
                  <a:pt x="107" y="233"/>
                  <a:pt x="107" y="233"/>
                  <a:pt x="107" y="233"/>
                </a:cubicBezTo>
                <a:cubicBezTo>
                  <a:pt x="106" y="235"/>
                  <a:pt x="106" y="235"/>
                  <a:pt x="106" y="235"/>
                </a:cubicBezTo>
                <a:cubicBezTo>
                  <a:pt x="107" y="233"/>
                  <a:pt x="107" y="233"/>
                  <a:pt x="107" y="233"/>
                </a:cubicBezTo>
                <a:cubicBezTo>
                  <a:pt x="107" y="232"/>
                  <a:pt x="107" y="232"/>
                  <a:pt x="107" y="232"/>
                </a:cubicBezTo>
                <a:cubicBezTo>
                  <a:pt x="106" y="231"/>
                  <a:pt x="106" y="231"/>
                  <a:pt x="106" y="231"/>
                </a:cubicBezTo>
                <a:cubicBezTo>
                  <a:pt x="101" y="229"/>
                  <a:pt x="101" y="229"/>
                  <a:pt x="101" y="229"/>
                </a:cubicBezTo>
                <a:cubicBezTo>
                  <a:pt x="99" y="228"/>
                  <a:pt x="99" y="228"/>
                  <a:pt x="99" y="228"/>
                </a:cubicBezTo>
                <a:cubicBezTo>
                  <a:pt x="98" y="229"/>
                  <a:pt x="98" y="229"/>
                  <a:pt x="98" y="229"/>
                </a:cubicBezTo>
                <a:cubicBezTo>
                  <a:pt x="97" y="232"/>
                  <a:pt x="97" y="232"/>
                  <a:pt x="97" y="232"/>
                </a:cubicBezTo>
                <a:cubicBezTo>
                  <a:pt x="97" y="235"/>
                  <a:pt x="97" y="235"/>
                  <a:pt x="97" y="235"/>
                </a:cubicBezTo>
                <a:cubicBezTo>
                  <a:pt x="98" y="236"/>
                  <a:pt x="98" y="236"/>
                  <a:pt x="98" y="236"/>
                </a:cubicBezTo>
                <a:cubicBezTo>
                  <a:pt x="98" y="238"/>
                  <a:pt x="98" y="238"/>
                  <a:pt x="98" y="238"/>
                </a:cubicBezTo>
                <a:cubicBezTo>
                  <a:pt x="99" y="238"/>
                  <a:pt x="99" y="238"/>
                  <a:pt x="99" y="238"/>
                </a:cubicBezTo>
                <a:cubicBezTo>
                  <a:pt x="100" y="238"/>
                  <a:pt x="100" y="238"/>
                  <a:pt x="100" y="238"/>
                </a:cubicBezTo>
                <a:cubicBezTo>
                  <a:pt x="99" y="239"/>
                  <a:pt x="99" y="239"/>
                  <a:pt x="99" y="239"/>
                </a:cubicBezTo>
                <a:cubicBezTo>
                  <a:pt x="100" y="239"/>
                  <a:pt x="100" y="239"/>
                  <a:pt x="100" y="239"/>
                </a:cubicBezTo>
                <a:cubicBezTo>
                  <a:pt x="101" y="238"/>
                  <a:pt x="101" y="238"/>
                  <a:pt x="101" y="238"/>
                </a:cubicBezTo>
                <a:close/>
                <a:moveTo>
                  <a:pt x="113" y="240"/>
                </a:moveTo>
                <a:cubicBezTo>
                  <a:pt x="113" y="240"/>
                  <a:pt x="113" y="240"/>
                  <a:pt x="113" y="240"/>
                </a:cubicBezTo>
                <a:cubicBezTo>
                  <a:pt x="113" y="240"/>
                  <a:pt x="113" y="240"/>
                  <a:pt x="113" y="240"/>
                </a:cubicBezTo>
                <a:cubicBezTo>
                  <a:pt x="115" y="240"/>
                  <a:pt x="115" y="240"/>
                  <a:pt x="115" y="240"/>
                </a:cubicBezTo>
                <a:cubicBezTo>
                  <a:pt x="115" y="239"/>
                  <a:pt x="115" y="239"/>
                  <a:pt x="115" y="239"/>
                </a:cubicBezTo>
                <a:cubicBezTo>
                  <a:pt x="114" y="239"/>
                  <a:pt x="114" y="239"/>
                  <a:pt x="114" y="239"/>
                </a:cubicBezTo>
                <a:cubicBezTo>
                  <a:pt x="113" y="240"/>
                  <a:pt x="113" y="240"/>
                  <a:pt x="113" y="240"/>
                </a:cubicBezTo>
                <a:cubicBezTo>
                  <a:pt x="113" y="240"/>
                  <a:pt x="113" y="240"/>
                  <a:pt x="113" y="240"/>
                </a:cubicBezTo>
                <a:close/>
                <a:moveTo>
                  <a:pt x="131" y="240"/>
                </a:moveTo>
                <a:cubicBezTo>
                  <a:pt x="131" y="241"/>
                  <a:pt x="131" y="241"/>
                  <a:pt x="131" y="241"/>
                </a:cubicBezTo>
                <a:cubicBezTo>
                  <a:pt x="132" y="239"/>
                  <a:pt x="132" y="239"/>
                  <a:pt x="132" y="239"/>
                </a:cubicBezTo>
                <a:cubicBezTo>
                  <a:pt x="132" y="239"/>
                  <a:pt x="132" y="239"/>
                  <a:pt x="132" y="239"/>
                </a:cubicBezTo>
                <a:cubicBezTo>
                  <a:pt x="131" y="239"/>
                  <a:pt x="131" y="239"/>
                  <a:pt x="131" y="239"/>
                </a:cubicBezTo>
                <a:cubicBezTo>
                  <a:pt x="131" y="240"/>
                  <a:pt x="131" y="240"/>
                  <a:pt x="131" y="240"/>
                </a:cubicBezTo>
                <a:cubicBezTo>
                  <a:pt x="131" y="240"/>
                  <a:pt x="131" y="240"/>
                  <a:pt x="131" y="240"/>
                </a:cubicBezTo>
                <a:close/>
                <a:moveTo>
                  <a:pt x="128" y="240"/>
                </a:moveTo>
                <a:cubicBezTo>
                  <a:pt x="129" y="240"/>
                  <a:pt x="129" y="240"/>
                  <a:pt x="129" y="240"/>
                </a:cubicBezTo>
                <a:cubicBezTo>
                  <a:pt x="130" y="240"/>
                  <a:pt x="130" y="240"/>
                  <a:pt x="130" y="240"/>
                </a:cubicBezTo>
                <a:cubicBezTo>
                  <a:pt x="129" y="239"/>
                  <a:pt x="129" y="239"/>
                  <a:pt x="129" y="239"/>
                </a:cubicBezTo>
                <a:cubicBezTo>
                  <a:pt x="129" y="239"/>
                  <a:pt x="129" y="239"/>
                  <a:pt x="129" y="239"/>
                </a:cubicBezTo>
                <a:cubicBezTo>
                  <a:pt x="128" y="240"/>
                  <a:pt x="128" y="240"/>
                  <a:pt x="128" y="240"/>
                </a:cubicBezTo>
                <a:close/>
                <a:moveTo>
                  <a:pt x="143" y="234"/>
                </a:moveTo>
                <a:cubicBezTo>
                  <a:pt x="144" y="234"/>
                  <a:pt x="144" y="234"/>
                  <a:pt x="144" y="234"/>
                </a:cubicBezTo>
                <a:cubicBezTo>
                  <a:pt x="144" y="234"/>
                  <a:pt x="144" y="234"/>
                  <a:pt x="144" y="234"/>
                </a:cubicBezTo>
                <a:cubicBezTo>
                  <a:pt x="146" y="233"/>
                  <a:pt x="146" y="233"/>
                  <a:pt x="146" y="233"/>
                </a:cubicBezTo>
                <a:cubicBezTo>
                  <a:pt x="147" y="233"/>
                  <a:pt x="147" y="233"/>
                  <a:pt x="147" y="233"/>
                </a:cubicBezTo>
                <a:cubicBezTo>
                  <a:pt x="146" y="232"/>
                  <a:pt x="146" y="232"/>
                  <a:pt x="146" y="232"/>
                </a:cubicBezTo>
                <a:cubicBezTo>
                  <a:pt x="144" y="233"/>
                  <a:pt x="144" y="233"/>
                  <a:pt x="144" y="233"/>
                </a:cubicBezTo>
                <a:cubicBezTo>
                  <a:pt x="143" y="234"/>
                  <a:pt x="143" y="234"/>
                  <a:pt x="143" y="234"/>
                </a:cubicBezTo>
                <a:close/>
                <a:moveTo>
                  <a:pt x="137" y="233"/>
                </a:moveTo>
                <a:cubicBezTo>
                  <a:pt x="138" y="233"/>
                  <a:pt x="138" y="233"/>
                  <a:pt x="138" y="233"/>
                </a:cubicBezTo>
                <a:cubicBezTo>
                  <a:pt x="139" y="233"/>
                  <a:pt x="139" y="233"/>
                  <a:pt x="139" y="233"/>
                </a:cubicBezTo>
                <a:cubicBezTo>
                  <a:pt x="139" y="233"/>
                  <a:pt x="139" y="233"/>
                  <a:pt x="139" y="233"/>
                </a:cubicBezTo>
                <a:cubicBezTo>
                  <a:pt x="138" y="232"/>
                  <a:pt x="138" y="232"/>
                  <a:pt x="138" y="232"/>
                </a:cubicBezTo>
                <a:cubicBezTo>
                  <a:pt x="137" y="233"/>
                  <a:pt x="137" y="233"/>
                  <a:pt x="137" y="233"/>
                </a:cubicBezTo>
                <a:close/>
                <a:moveTo>
                  <a:pt x="133" y="232"/>
                </a:moveTo>
                <a:cubicBezTo>
                  <a:pt x="134" y="233"/>
                  <a:pt x="134" y="233"/>
                  <a:pt x="134" y="233"/>
                </a:cubicBezTo>
                <a:cubicBezTo>
                  <a:pt x="135" y="233"/>
                  <a:pt x="135" y="233"/>
                  <a:pt x="135" y="233"/>
                </a:cubicBezTo>
                <a:cubicBezTo>
                  <a:pt x="136" y="234"/>
                  <a:pt x="136" y="234"/>
                  <a:pt x="136" y="234"/>
                </a:cubicBezTo>
                <a:cubicBezTo>
                  <a:pt x="135" y="232"/>
                  <a:pt x="135" y="232"/>
                  <a:pt x="135" y="232"/>
                </a:cubicBezTo>
                <a:cubicBezTo>
                  <a:pt x="134" y="232"/>
                  <a:pt x="134" y="232"/>
                  <a:pt x="134" y="232"/>
                </a:cubicBezTo>
                <a:cubicBezTo>
                  <a:pt x="133" y="232"/>
                  <a:pt x="133" y="232"/>
                  <a:pt x="133" y="232"/>
                </a:cubicBezTo>
                <a:close/>
                <a:moveTo>
                  <a:pt x="131" y="233"/>
                </a:moveTo>
                <a:cubicBezTo>
                  <a:pt x="132" y="233"/>
                  <a:pt x="132" y="233"/>
                  <a:pt x="132" y="233"/>
                </a:cubicBezTo>
                <a:cubicBezTo>
                  <a:pt x="132" y="233"/>
                  <a:pt x="132" y="233"/>
                  <a:pt x="132" y="233"/>
                </a:cubicBezTo>
                <a:cubicBezTo>
                  <a:pt x="133" y="232"/>
                  <a:pt x="133" y="232"/>
                  <a:pt x="133" y="232"/>
                </a:cubicBezTo>
                <a:cubicBezTo>
                  <a:pt x="132" y="232"/>
                  <a:pt x="132" y="232"/>
                  <a:pt x="132" y="232"/>
                </a:cubicBezTo>
                <a:cubicBezTo>
                  <a:pt x="131" y="233"/>
                  <a:pt x="131" y="233"/>
                  <a:pt x="131" y="233"/>
                </a:cubicBezTo>
                <a:close/>
                <a:moveTo>
                  <a:pt x="266" y="192"/>
                </a:moveTo>
                <a:cubicBezTo>
                  <a:pt x="266" y="193"/>
                  <a:pt x="266" y="193"/>
                  <a:pt x="266" y="193"/>
                </a:cubicBezTo>
                <a:cubicBezTo>
                  <a:pt x="266" y="194"/>
                  <a:pt x="266" y="194"/>
                  <a:pt x="266" y="194"/>
                </a:cubicBezTo>
                <a:cubicBezTo>
                  <a:pt x="267" y="193"/>
                  <a:pt x="267" y="193"/>
                  <a:pt x="267" y="193"/>
                </a:cubicBezTo>
                <a:cubicBezTo>
                  <a:pt x="266" y="192"/>
                  <a:pt x="266" y="192"/>
                  <a:pt x="266" y="192"/>
                </a:cubicBezTo>
                <a:cubicBezTo>
                  <a:pt x="266" y="192"/>
                  <a:pt x="266" y="192"/>
                  <a:pt x="266" y="192"/>
                </a:cubicBezTo>
                <a:close/>
                <a:moveTo>
                  <a:pt x="263" y="188"/>
                </a:moveTo>
                <a:cubicBezTo>
                  <a:pt x="263" y="190"/>
                  <a:pt x="263" y="190"/>
                  <a:pt x="263" y="190"/>
                </a:cubicBezTo>
                <a:cubicBezTo>
                  <a:pt x="264" y="192"/>
                  <a:pt x="264" y="192"/>
                  <a:pt x="264" y="192"/>
                </a:cubicBezTo>
                <a:cubicBezTo>
                  <a:pt x="264" y="194"/>
                  <a:pt x="264" y="194"/>
                  <a:pt x="264" y="194"/>
                </a:cubicBezTo>
                <a:cubicBezTo>
                  <a:pt x="264" y="194"/>
                  <a:pt x="264" y="194"/>
                  <a:pt x="264" y="194"/>
                </a:cubicBezTo>
                <a:cubicBezTo>
                  <a:pt x="265" y="193"/>
                  <a:pt x="265" y="193"/>
                  <a:pt x="265" y="193"/>
                </a:cubicBezTo>
                <a:cubicBezTo>
                  <a:pt x="265" y="189"/>
                  <a:pt x="265" y="189"/>
                  <a:pt x="265" y="189"/>
                </a:cubicBezTo>
                <a:cubicBezTo>
                  <a:pt x="264" y="188"/>
                  <a:pt x="264" y="188"/>
                  <a:pt x="264" y="188"/>
                </a:cubicBezTo>
                <a:cubicBezTo>
                  <a:pt x="263" y="188"/>
                  <a:pt x="263" y="188"/>
                  <a:pt x="263" y="188"/>
                </a:cubicBezTo>
                <a:close/>
                <a:moveTo>
                  <a:pt x="262" y="186"/>
                </a:moveTo>
                <a:cubicBezTo>
                  <a:pt x="262" y="187"/>
                  <a:pt x="262" y="187"/>
                  <a:pt x="262" y="187"/>
                </a:cubicBezTo>
                <a:cubicBezTo>
                  <a:pt x="263" y="187"/>
                  <a:pt x="263" y="187"/>
                  <a:pt x="263" y="187"/>
                </a:cubicBezTo>
                <a:cubicBezTo>
                  <a:pt x="263" y="186"/>
                  <a:pt x="263" y="186"/>
                  <a:pt x="263" y="186"/>
                </a:cubicBezTo>
                <a:cubicBezTo>
                  <a:pt x="262" y="185"/>
                  <a:pt x="262" y="185"/>
                  <a:pt x="262" y="185"/>
                </a:cubicBezTo>
                <a:cubicBezTo>
                  <a:pt x="262" y="186"/>
                  <a:pt x="262" y="186"/>
                  <a:pt x="262" y="186"/>
                </a:cubicBezTo>
                <a:close/>
                <a:moveTo>
                  <a:pt x="147" y="223"/>
                </a:moveTo>
                <a:cubicBezTo>
                  <a:pt x="148" y="223"/>
                  <a:pt x="148" y="223"/>
                  <a:pt x="148" y="223"/>
                </a:cubicBezTo>
                <a:cubicBezTo>
                  <a:pt x="148" y="222"/>
                  <a:pt x="148" y="222"/>
                  <a:pt x="148" y="222"/>
                </a:cubicBezTo>
                <a:cubicBezTo>
                  <a:pt x="147" y="222"/>
                  <a:pt x="147" y="222"/>
                  <a:pt x="147" y="222"/>
                </a:cubicBezTo>
                <a:cubicBezTo>
                  <a:pt x="147" y="223"/>
                  <a:pt x="147" y="223"/>
                  <a:pt x="147" y="223"/>
                </a:cubicBezTo>
                <a:close/>
                <a:moveTo>
                  <a:pt x="153" y="228"/>
                </a:moveTo>
                <a:cubicBezTo>
                  <a:pt x="153" y="228"/>
                  <a:pt x="154" y="228"/>
                  <a:pt x="154" y="228"/>
                </a:cubicBezTo>
                <a:cubicBezTo>
                  <a:pt x="153" y="228"/>
                  <a:pt x="153" y="228"/>
                  <a:pt x="153" y="228"/>
                </a:cubicBezTo>
                <a:cubicBezTo>
                  <a:pt x="153" y="228"/>
                  <a:pt x="153" y="228"/>
                  <a:pt x="153" y="228"/>
                </a:cubicBezTo>
                <a:close/>
                <a:moveTo>
                  <a:pt x="152" y="227"/>
                </a:moveTo>
                <a:cubicBezTo>
                  <a:pt x="152" y="225"/>
                  <a:pt x="152" y="225"/>
                  <a:pt x="152" y="225"/>
                </a:cubicBezTo>
                <a:cubicBezTo>
                  <a:pt x="150" y="224"/>
                  <a:pt x="150" y="224"/>
                  <a:pt x="150" y="224"/>
                </a:cubicBezTo>
                <a:cubicBezTo>
                  <a:pt x="149" y="223"/>
                  <a:pt x="149" y="223"/>
                  <a:pt x="149" y="223"/>
                </a:cubicBezTo>
                <a:cubicBezTo>
                  <a:pt x="149" y="224"/>
                  <a:pt x="149" y="224"/>
                  <a:pt x="149" y="224"/>
                </a:cubicBezTo>
                <a:cubicBezTo>
                  <a:pt x="150" y="225"/>
                  <a:pt x="150" y="225"/>
                  <a:pt x="150" y="225"/>
                </a:cubicBezTo>
                <a:cubicBezTo>
                  <a:pt x="152" y="227"/>
                  <a:pt x="152" y="227"/>
                  <a:pt x="152" y="227"/>
                </a:cubicBezTo>
                <a:close/>
                <a:moveTo>
                  <a:pt x="156" y="221"/>
                </a:moveTo>
                <a:cubicBezTo>
                  <a:pt x="156" y="219"/>
                  <a:pt x="156" y="219"/>
                  <a:pt x="156" y="219"/>
                </a:cubicBezTo>
                <a:cubicBezTo>
                  <a:pt x="156" y="217"/>
                  <a:pt x="156" y="217"/>
                  <a:pt x="156" y="217"/>
                </a:cubicBezTo>
                <a:cubicBezTo>
                  <a:pt x="154" y="216"/>
                  <a:pt x="154" y="216"/>
                  <a:pt x="154" y="216"/>
                </a:cubicBezTo>
                <a:cubicBezTo>
                  <a:pt x="152" y="214"/>
                  <a:pt x="152" y="214"/>
                  <a:pt x="152" y="214"/>
                </a:cubicBezTo>
                <a:cubicBezTo>
                  <a:pt x="151" y="214"/>
                  <a:pt x="151" y="214"/>
                  <a:pt x="151" y="214"/>
                </a:cubicBezTo>
                <a:cubicBezTo>
                  <a:pt x="149" y="213"/>
                  <a:pt x="149" y="213"/>
                  <a:pt x="149" y="213"/>
                </a:cubicBezTo>
                <a:cubicBezTo>
                  <a:pt x="148" y="212"/>
                  <a:pt x="148" y="212"/>
                  <a:pt x="148" y="212"/>
                </a:cubicBezTo>
                <a:cubicBezTo>
                  <a:pt x="148" y="211"/>
                  <a:pt x="148" y="211"/>
                  <a:pt x="148" y="211"/>
                </a:cubicBezTo>
                <a:cubicBezTo>
                  <a:pt x="146" y="210"/>
                  <a:pt x="146" y="210"/>
                  <a:pt x="146" y="210"/>
                </a:cubicBezTo>
                <a:cubicBezTo>
                  <a:pt x="145" y="210"/>
                  <a:pt x="145" y="210"/>
                  <a:pt x="145" y="210"/>
                </a:cubicBezTo>
                <a:cubicBezTo>
                  <a:pt x="145" y="210"/>
                  <a:pt x="145" y="210"/>
                  <a:pt x="145" y="210"/>
                </a:cubicBezTo>
                <a:cubicBezTo>
                  <a:pt x="145" y="211"/>
                  <a:pt x="145" y="211"/>
                  <a:pt x="145" y="211"/>
                </a:cubicBezTo>
                <a:cubicBezTo>
                  <a:pt x="144" y="212"/>
                  <a:pt x="144" y="212"/>
                  <a:pt x="144" y="212"/>
                </a:cubicBezTo>
                <a:cubicBezTo>
                  <a:pt x="145" y="213"/>
                  <a:pt x="145" y="213"/>
                  <a:pt x="145" y="213"/>
                </a:cubicBezTo>
                <a:cubicBezTo>
                  <a:pt x="146" y="213"/>
                  <a:pt x="146" y="213"/>
                  <a:pt x="146" y="213"/>
                </a:cubicBezTo>
                <a:cubicBezTo>
                  <a:pt x="145" y="214"/>
                  <a:pt x="145" y="214"/>
                  <a:pt x="145" y="214"/>
                </a:cubicBezTo>
                <a:cubicBezTo>
                  <a:pt x="145" y="214"/>
                  <a:pt x="145" y="214"/>
                  <a:pt x="145" y="214"/>
                </a:cubicBezTo>
                <a:cubicBezTo>
                  <a:pt x="144" y="213"/>
                  <a:pt x="144" y="213"/>
                  <a:pt x="144" y="213"/>
                </a:cubicBezTo>
                <a:cubicBezTo>
                  <a:pt x="143" y="213"/>
                  <a:pt x="143" y="213"/>
                  <a:pt x="143" y="213"/>
                </a:cubicBezTo>
                <a:cubicBezTo>
                  <a:pt x="144" y="214"/>
                  <a:pt x="144" y="214"/>
                  <a:pt x="144" y="214"/>
                </a:cubicBezTo>
                <a:cubicBezTo>
                  <a:pt x="146" y="217"/>
                  <a:pt x="146" y="217"/>
                  <a:pt x="146" y="217"/>
                </a:cubicBezTo>
                <a:cubicBezTo>
                  <a:pt x="147" y="217"/>
                  <a:pt x="147" y="217"/>
                  <a:pt x="147" y="217"/>
                </a:cubicBezTo>
                <a:cubicBezTo>
                  <a:pt x="148" y="219"/>
                  <a:pt x="148" y="219"/>
                  <a:pt x="148" y="219"/>
                </a:cubicBezTo>
                <a:cubicBezTo>
                  <a:pt x="149" y="219"/>
                  <a:pt x="149" y="219"/>
                  <a:pt x="149" y="219"/>
                </a:cubicBezTo>
                <a:cubicBezTo>
                  <a:pt x="149" y="217"/>
                  <a:pt x="149" y="217"/>
                  <a:pt x="149" y="217"/>
                </a:cubicBezTo>
                <a:cubicBezTo>
                  <a:pt x="150" y="218"/>
                  <a:pt x="150" y="218"/>
                  <a:pt x="150" y="218"/>
                </a:cubicBezTo>
                <a:cubicBezTo>
                  <a:pt x="151" y="217"/>
                  <a:pt x="151" y="217"/>
                  <a:pt x="151" y="217"/>
                </a:cubicBezTo>
                <a:cubicBezTo>
                  <a:pt x="151" y="218"/>
                  <a:pt x="151" y="218"/>
                  <a:pt x="151" y="218"/>
                </a:cubicBezTo>
                <a:cubicBezTo>
                  <a:pt x="151" y="220"/>
                  <a:pt x="151" y="220"/>
                  <a:pt x="151" y="220"/>
                </a:cubicBezTo>
                <a:cubicBezTo>
                  <a:pt x="151" y="220"/>
                  <a:pt x="151" y="220"/>
                  <a:pt x="151" y="220"/>
                </a:cubicBezTo>
                <a:cubicBezTo>
                  <a:pt x="152" y="221"/>
                  <a:pt x="152" y="221"/>
                  <a:pt x="152" y="221"/>
                </a:cubicBezTo>
                <a:cubicBezTo>
                  <a:pt x="154" y="221"/>
                  <a:pt x="154" y="221"/>
                  <a:pt x="154" y="221"/>
                </a:cubicBezTo>
                <a:cubicBezTo>
                  <a:pt x="154" y="220"/>
                  <a:pt x="154" y="220"/>
                  <a:pt x="154" y="220"/>
                </a:cubicBezTo>
                <a:cubicBezTo>
                  <a:pt x="156" y="221"/>
                  <a:pt x="156" y="221"/>
                  <a:pt x="156" y="221"/>
                </a:cubicBezTo>
                <a:close/>
                <a:moveTo>
                  <a:pt x="185" y="167"/>
                </a:moveTo>
                <a:cubicBezTo>
                  <a:pt x="186" y="167"/>
                  <a:pt x="186" y="167"/>
                  <a:pt x="186" y="167"/>
                </a:cubicBezTo>
                <a:cubicBezTo>
                  <a:pt x="186" y="167"/>
                  <a:pt x="186" y="167"/>
                  <a:pt x="186" y="167"/>
                </a:cubicBezTo>
                <a:cubicBezTo>
                  <a:pt x="186" y="166"/>
                  <a:pt x="186" y="166"/>
                  <a:pt x="186" y="166"/>
                </a:cubicBezTo>
                <a:cubicBezTo>
                  <a:pt x="186" y="166"/>
                  <a:pt x="186" y="166"/>
                  <a:pt x="186" y="166"/>
                </a:cubicBezTo>
                <a:cubicBezTo>
                  <a:pt x="187" y="167"/>
                  <a:pt x="187" y="167"/>
                  <a:pt x="187" y="167"/>
                </a:cubicBezTo>
                <a:cubicBezTo>
                  <a:pt x="188" y="167"/>
                  <a:pt x="188" y="167"/>
                  <a:pt x="188" y="167"/>
                </a:cubicBezTo>
                <a:cubicBezTo>
                  <a:pt x="188" y="167"/>
                  <a:pt x="188" y="167"/>
                  <a:pt x="188" y="167"/>
                </a:cubicBezTo>
                <a:cubicBezTo>
                  <a:pt x="189" y="167"/>
                  <a:pt x="189" y="167"/>
                  <a:pt x="189" y="167"/>
                </a:cubicBezTo>
                <a:cubicBezTo>
                  <a:pt x="189" y="166"/>
                  <a:pt x="189" y="166"/>
                  <a:pt x="189" y="166"/>
                </a:cubicBezTo>
                <a:cubicBezTo>
                  <a:pt x="191" y="165"/>
                  <a:pt x="191" y="165"/>
                  <a:pt x="191" y="165"/>
                </a:cubicBezTo>
                <a:cubicBezTo>
                  <a:pt x="192" y="164"/>
                  <a:pt x="192" y="164"/>
                  <a:pt x="192" y="164"/>
                </a:cubicBezTo>
                <a:cubicBezTo>
                  <a:pt x="192" y="164"/>
                  <a:pt x="192" y="164"/>
                  <a:pt x="192" y="164"/>
                </a:cubicBezTo>
                <a:cubicBezTo>
                  <a:pt x="191" y="162"/>
                  <a:pt x="191" y="162"/>
                  <a:pt x="191" y="162"/>
                </a:cubicBezTo>
                <a:cubicBezTo>
                  <a:pt x="190" y="161"/>
                  <a:pt x="190" y="161"/>
                  <a:pt x="190" y="161"/>
                </a:cubicBezTo>
                <a:cubicBezTo>
                  <a:pt x="190" y="160"/>
                  <a:pt x="190" y="160"/>
                  <a:pt x="190" y="160"/>
                </a:cubicBezTo>
                <a:cubicBezTo>
                  <a:pt x="188" y="159"/>
                  <a:pt x="188" y="159"/>
                  <a:pt x="188" y="159"/>
                </a:cubicBezTo>
                <a:cubicBezTo>
                  <a:pt x="188" y="159"/>
                  <a:pt x="188" y="159"/>
                  <a:pt x="188" y="159"/>
                </a:cubicBezTo>
                <a:cubicBezTo>
                  <a:pt x="187" y="159"/>
                  <a:pt x="187" y="159"/>
                  <a:pt x="187" y="159"/>
                </a:cubicBezTo>
                <a:cubicBezTo>
                  <a:pt x="186" y="160"/>
                  <a:pt x="186" y="160"/>
                  <a:pt x="186" y="160"/>
                </a:cubicBezTo>
                <a:cubicBezTo>
                  <a:pt x="185" y="160"/>
                  <a:pt x="185" y="160"/>
                  <a:pt x="185" y="160"/>
                </a:cubicBezTo>
                <a:cubicBezTo>
                  <a:pt x="183" y="161"/>
                  <a:pt x="183" y="161"/>
                  <a:pt x="183" y="161"/>
                </a:cubicBezTo>
                <a:cubicBezTo>
                  <a:pt x="183" y="162"/>
                  <a:pt x="183" y="162"/>
                  <a:pt x="183" y="162"/>
                </a:cubicBezTo>
                <a:cubicBezTo>
                  <a:pt x="184" y="163"/>
                  <a:pt x="184" y="163"/>
                  <a:pt x="184" y="163"/>
                </a:cubicBezTo>
                <a:cubicBezTo>
                  <a:pt x="184" y="165"/>
                  <a:pt x="184" y="165"/>
                  <a:pt x="184" y="165"/>
                </a:cubicBezTo>
                <a:cubicBezTo>
                  <a:pt x="184" y="166"/>
                  <a:pt x="184" y="166"/>
                  <a:pt x="184" y="166"/>
                </a:cubicBezTo>
                <a:cubicBezTo>
                  <a:pt x="185" y="167"/>
                  <a:pt x="185" y="167"/>
                  <a:pt x="185" y="167"/>
                </a:cubicBezTo>
                <a:close/>
                <a:moveTo>
                  <a:pt x="189" y="220"/>
                </a:moveTo>
                <a:cubicBezTo>
                  <a:pt x="189" y="220"/>
                  <a:pt x="189" y="221"/>
                  <a:pt x="189" y="221"/>
                </a:cubicBezTo>
                <a:cubicBezTo>
                  <a:pt x="190" y="221"/>
                  <a:pt x="190" y="221"/>
                  <a:pt x="190" y="221"/>
                </a:cubicBezTo>
                <a:cubicBezTo>
                  <a:pt x="191" y="220"/>
                  <a:pt x="191" y="220"/>
                  <a:pt x="191" y="220"/>
                </a:cubicBezTo>
                <a:cubicBezTo>
                  <a:pt x="191" y="219"/>
                  <a:pt x="191" y="219"/>
                  <a:pt x="191" y="219"/>
                </a:cubicBezTo>
                <a:cubicBezTo>
                  <a:pt x="190" y="218"/>
                  <a:pt x="190" y="218"/>
                  <a:pt x="190" y="218"/>
                </a:cubicBezTo>
                <a:cubicBezTo>
                  <a:pt x="189" y="219"/>
                  <a:pt x="189" y="219"/>
                  <a:pt x="189" y="219"/>
                </a:cubicBezTo>
                <a:cubicBezTo>
                  <a:pt x="189" y="219"/>
                  <a:pt x="189" y="219"/>
                  <a:pt x="189" y="219"/>
                </a:cubicBezTo>
                <a:cubicBezTo>
                  <a:pt x="189" y="220"/>
                  <a:pt x="189" y="220"/>
                  <a:pt x="189" y="220"/>
                </a:cubicBezTo>
                <a:close/>
                <a:moveTo>
                  <a:pt x="213" y="250"/>
                </a:moveTo>
                <a:cubicBezTo>
                  <a:pt x="213" y="250"/>
                  <a:pt x="213" y="250"/>
                  <a:pt x="213" y="250"/>
                </a:cubicBezTo>
                <a:cubicBezTo>
                  <a:pt x="214" y="251"/>
                  <a:pt x="214" y="251"/>
                  <a:pt x="214" y="251"/>
                </a:cubicBezTo>
                <a:cubicBezTo>
                  <a:pt x="214" y="251"/>
                  <a:pt x="214" y="251"/>
                  <a:pt x="214" y="251"/>
                </a:cubicBezTo>
                <a:cubicBezTo>
                  <a:pt x="215" y="252"/>
                  <a:pt x="215" y="252"/>
                  <a:pt x="215" y="252"/>
                </a:cubicBezTo>
                <a:cubicBezTo>
                  <a:pt x="216" y="252"/>
                  <a:pt x="216" y="252"/>
                  <a:pt x="216" y="252"/>
                </a:cubicBezTo>
                <a:cubicBezTo>
                  <a:pt x="217" y="251"/>
                  <a:pt x="217" y="251"/>
                  <a:pt x="217" y="251"/>
                </a:cubicBezTo>
                <a:cubicBezTo>
                  <a:pt x="216" y="250"/>
                  <a:pt x="216" y="250"/>
                  <a:pt x="216" y="250"/>
                </a:cubicBezTo>
                <a:cubicBezTo>
                  <a:pt x="215" y="250"/>
                  <a:pt x="215" y="250"/>
                  <a:pt x="215" y="250"/>
                </a:cubicBezTo>
                <a:cubicBezTo>
                  <a:pt x="214" y="250"/>
                  <a:pt x="214" y="250"/>
                  <a:pt x="214" y="250"/>
                </a:cubicBezTo>
                <a:cubicBezTo>
                  <a:pt x="214" y="250"/>
                  <a:pt x="214" y="250"/>
                  <a:pt x="214" y="250"/>
                </a:cubicBezTo>
                <a:cubicBezTo>
                  <a:pt x="213" y="250"/>
                  <a:pt x="213" y="250"/>
                  <a:pt x="213" y="250"/>
                </a:cubicBezTo>
                <a:close/>
                <a:moveTo>
                  <a:pt x="208" y="166"/>
                </a:moveTo>
                <a:cubicBezTo>
                  <a:pt x="208" y="165"/>
                  <a:pt x="208" y="165"/>
                  <a:pt x="208" y="165"/>
                </a:cubicBezTo>
                <a:cubicBezTo>
                  <a:pt x="208" y="165"/>
                  <a:pt x="208" y="165"/>
                  <a:pt x="208" y="165"/>
                </a:cubicBezTo>
                <a:cubicBezTo>
                  <a:pt x="208" y="164"/>
                  <a:pt x="208" y="164"/>
                  <a:pt x="208" y="164"/>
                </a:cubicBezTo>
                <a:cubicBezTo>
                  <a:pt x="208" y="163"/>
                  <a:pt x="208" y="163"/>
                  <a:pt x="208" y="163"/>
                </a:cubicBezTo>
                <a:cubicBezTo>
                  <a:pt x="208" y="162"/>
                  <a:pt x="208" y="162"/>
                  <a:pt x="208" y="162"/>
                </a:cubicBezTo>
                <a:cubicBezTo>
                  <a:pt x="207" y="162"/>
                  <a:pt x="207" y="162"/>
                  <a:pt x="207" y="162"/>
                </a:cubicBezTo>
                <a:cubicBezTo>
                  <a:pt x="206" y="162"/>
                  <a:pt x="206" y="162"/>
                  <a:pt x="206" y="162"/>
                </a:cubicBezTo>
                <a:cubicBezTo>
                  <a:pt x="205" y="165"/>
                  <a:pt x="205" y="165"/>
                  <a:pt x="205" y="165"/>
                </a:cubicBezTo>
                <a:cubicBezTo>
                  <a:pt x="206" y="166"/>
                  <a:pt x="206" y="166"/>
                  <a:pt x="206" y="166"/>
                </a:cubicBezTo>
                <a:cubicBezTo>
                  <a:pt x="207" y="166"/>
                  <a:pt x="207" y="166"/>
                  <a:pt x="207" y="166"/>
                </a:cubicBezTo>
                <a:cubicBezTo>
                  <a:pt x="208" y="166"/>
                  <a:pt x="208" y="166"/>
                  <a:pt x="208" y="166"/>
                </a:cubicBezTo>
                <a:cubicBezTo>
                  <a:pt x="208" y="166"/>
                  <a:pt x="208" y="166"/>
                  <a:pt x="208" y="166"/>
                </a:cubicBezTo>
                <a:close/>
                <a:moveTo>
                  <a:pt x="206" y="157"/>
                </a:moveTo>
                <a:cubicBezTo>
                  <a:pt x="207" y="156"/>
                  <a:pt x="207" y="156"/>
                  <a:pt x="207" y="156"/>
                </a:cubicBezTo>
                <a:cubicBezTo>
                  <a:pt x="208" y="157"/>
                  <a:pt x="208" y="157"/>
                  <a:pt x="208" y="157"/>
                </a:cubicBezTo>
                <a:cubicBezTo>
                  <a:pt x="209" y="156"/>
                  <a:pt x="209" y="156"/>
                  <a:pt x="209" y="156"/>
                </a:cubicBezTo>
                <a:cubicBezTo>
                  <a:pt x="209" y="155"/>
                  <a:pt x="209" y="155"/>
                  <a:pt x="209" y="155"/>
                </a:cubicBezTo>
                <a:cubicBezTo>
                  <a:pt x="209" y="154"/>
                  <a:pt x="209" y="154"/>
                  <a:pt x="209" y="154"/>
                </a:cubicBezTo>
                <a:cubicBezTo>
                  <a:pt x="210" y="154"/>
                  <a:pt x="210" y="154"/>
                  <a:pt x="210" y="154"/>
                </a:cubicBezTo>
                <a:cubicBezTo>
                  <a:pt x="210" y="154"/>
                  <a:pt x="210" y="154"/>
                  <a:pt x="210" y="154"/>
                </a:cubicBezTo>
                <a:cubicBezTo>
                  <a:pt x="209" y="154"/>
                  <a:pt x="209" y="154"/>
                  <a:pt x="209" y="154"/>
                </a:cubicBezTo>
                <a:cubicBezTo>
                  <a:pt x="207" y="155"/>
                  <a:pt x="207" y="155"/>
                  <a:pt x="207" y="155"/>
                </a:cubicBezTo>
                <a:cubicBezTo>
                  <a:pt x="206" y="156"/>
                  <a:pt x="206" y="156"/>
                  <a:pt x="206" y="156"/>
                </a:cubicBezTo>
                <a:cubicBezTo>
                  <a:pt x="206" y="157"/>
                  <a:pt x="206" y="157"/>
                  <a:pt x="206" y="157"/>
                </a:cubicBezTo>
                <a:close/>
                <a:moveTo>
                  <a:pt x="212" y="159"/>
                </a:moveTo>
                <a:cubicBezTo>
                  <a:pt x="213" y="160"/>
                  <a:pt x="213" y="160"/>
                  <a:pt x="213" y="160"/>
                </a:cubicBezTo>
                <a:cubicBezTo>
                  <a:pt x="215" y="160"/>
                  <a:pt x="215" y="160"/>
                  <a:pt x="215" y="160"/>
                </a:cubicBezTo>
                <a:cubicBezTo>
                  <a:pt x="216" y="160"/>
                  <a:pt x="216" y="160"/>
                  <a:pt x="216" y="160"/>
                </a:cubicBezTo>
                <a:cubicBezTo>
                  <a:pt x="215" y="159"/>
                  <a:pt x="215" y="159"/>
                  <a:pt x="215" y="159"/>
                </a:cubicBezTo>
                <a:cubicBezTo>
                  <a:pt x="214" y="159"/>
                  <a:pt x="214" y="159"/>
                  <a:pt x="214" y="159"/>
                </a:cubicBezTo>
                <a:cubicBezTo>
                  <a:pt x="212" y="159"/>
                  <a:pt x="212" y="159"/>
                  <a:pt x="212" y="159"/>
                </a:cubicBezTo>
                <a:cubicBezTo>
                  <a:pt x="212" y="159"/>
                  <a:pt x="212" y="159"/>
                  <a:pt x="212" y="159"/>
                </a:cubicBezTo>
                <a:close/>
                <a:moveTo>
                  <a:pt x="224" y="168"/>
                </a:moveTo>
                <a:cubicBezTo>
                  <a:pt x="224" y="169"/>
                  <a:pt x="224" y="169"/>
                  <a:pt x="224" y="169"/>
                </a:cubicBezTo>
                <a:cubicBezTo>
                  <a:pt x="223" y="170"/>
                  <a:pt x="223" y="170"/>
                  <a:pt x="223" y="170"/>
                </a:cubicBezTo>
                <a:cubicBezTo>
                  <a:pt x="222" y="171"/>
                  <a:pt x="222" y="171"/>
                  <a:pt x="222" y="171"/>
                </a:cubicBezTo>
                <a:cubicBezTo>
                  <a:pt x="222" y="172"/>
                  <a:pt x="222" y="172"/>
                  <a:pt x="222" y="172"/>
                </a:cubicBezTo>
                <a:cubicBezTo>
                  <a:pt x="223" y="173"/>
                  <a:pt x="223" y="173"/>
                  <a:pt x="223" y="173"/>
                </a:cubicBezTo>
                <a:cubicBezTo>
                  <a:pt x="224" y="173"/>
                  <a:pt x="224" y="173"/>
                  <a:pt x="224" y="173"/>
                </a:cubicBezTo>
                <a:cubicBezTo>
                  <a:pt x="225" y="171"/>
                  <a:pt x="225" y="171"/>
                  <a:pt x="225" y="171"/>
                </a:cubicBezTo>
                <a:cubicBezTo>
                  <a:pt x="226" y="171"/>
                  <a:pt x="226" y="171"/>
                  <a:pt x="226" y="171"/>
                </a:cubicBezTo>
                <a:cubicBezTo>
                  <a:pt x="226" y="170"/>
                  <a:pt x="226" y="170"/>
                  <a:pt x="226" y="170"/>
                </a:cubicBezTo>
                <a:cubicBezTo>
                  <a:pt x="227" y="169"/>
                  <a:pt x="227" y="169"/>
                  <a:pt x="227" y="169"/>
                </a:cubicBezTo>
                <a:cubicBezTo>
                  <a:pt x="229" y="168"/>
                  <a:pt x="229" y="168"/>
                  <a:pt x="229" y="168"/>
                </a:cubicBezTo>
                <a:cubicBezTo>
                  <a:pt x="228" y="167"/>
                  <a:pt x="228" y="167"/>
                  <a:pt x="228" y="167"/>
                </a:cubicBezTo>
                <a:cubicBezTo>
                  <a:pt x="228" y="166"/>
                  <a:pt x="228" y="166"/>
                  <a:pt x="228" y="166"/>
                </a:cubicBezTo>
                <a:cubicBezTo>
                  <a:pt x="227" y="166"/>
                  <a:pt x="227" y="166"/>
                  <a:pt x="227" y="166"/>
                </a:cubicBezTo>
                <a:cubicBezTo>
                  <a:pt x="225" y="167"/>
                  <a:pt x="225" y="167"/>
                  <a:pt x="225" y="167"/>
                </a:cubicBezTo>
                <a:cubicBezTo>
                  <a:pt x="224" y="168"/>
                  <a:pt x="224" y="168"/>
                  <a:pt x="224" y="168"/>
                </a:cubicBezTo>
                <a:close/>
                <a:moveTo>
                  <a:pt x="228" y="156"/>
                </a:moveTo>
                <a:cubicBezTo>
                  <a:pt x="227" y="158"/>
                  <a:pt x="227" y="158"/>
                  <a:pt x="227" y="158"/>
                </a:cubicBezTo>
                <a:cubicBezTo>
                  <a:pt x="227" y="160"/>
                  <a:pt x="227" y="160"/>
                  <a:pt x="227" y="160"/>
                </a:cubicBezTo>
                <a:cubicBezTo>
                  <a:pt x="226" y="161"/>
                  <a:pt x="226" y="161"/>
                  <a:pt x="226" y="161"/>
                </a:cubicBezTo>
                <a:cubicBezTo>
                  <a:pt x="226" y="162"/>
                  <a:pt x="226" y="162"/>
                  <a:pt x="226" y="162"/>
                </a:cubicBezTo>
                <a:cubicBezTo>
                  <a:pt x="228" y="162"/>
                  <a:pt x="228" y="162"/>
                  <a:pt x="228" y="162"/>
                </a:cubicBezTo>
                <a:cubicBezTo>
                  <a:pt x="228" y="163"/>
                  <a:pt x="228" y="163"/>
                  <a:pt x="228" y="163"/>
                </a:cubicBezTo>
                <a:cubicBezTo>
                  <a:pt x="230" y="163"/>
                  <a:pt x="230" y="163"/>
                  <a:pt x="230" y="163"/>
                </a:cubicBezTo>
                <a:cubicBezTo>
                  <a:pt x="231" y="164"/>
                  <a:pt x="231" y="164"/>
                  <a:pt x="231" y="164"/>
                </a:cubicBezTo>
                <a:cubicBezTo>
                  <a:pt x="232" y="163"/>
                  <a:pt x="232" y="163"/>
                  <a:pt x="232" y="163"/>
                </a:cubicBezTo>
                <a:cubicBezTo>
                  <a:pt x="232" y="163"/>
                  <a:pt x="232" y="163"/>
                  <a:pt x="232" y="163"/>
                </a:cubicBezTo>
                <a:cubicBezTo>
                  <a:pt x="231" y="161"/>
                  <a:pt x="231" y="161"/>
                  <a:pt x="231" y="161"/>
                </a:cubicBezTo>
                <a:cubicBezTo>
                  <a:pt x="230" y="159"/>
                  <a:pt x="230" y="159"/>
                  <a:pt x="230" y="159"/>
                </a:cubicBezTo>
                <a:cubicBezTo>
                  <a:pt x="229" y="158"/>
                  <a:pt x="229" y="158"/>
                  <a:pt x="229" y="158"/>
                </a:cubicBezTo>
                <a:cubicBezTo>
                  <a:pt x="228" y="156"/>
                  <a:pt x="228" y="156"/>
                  <a:pt x="228" y="156"/>
                </a:cubicBezTo>
                <a:close/>
                <a:moveTo>
                  <a:pt x="220" y="135"/>
                </a:moveTo>
                <a:cubicBezTo>
                  <a:pt x="219" y="134"/>
                  <a:pt x="219" y="134"/>
                  <a:pt x="219" y="134"/>
                </a:cubicBezTo>
                <a:cubicBezTo>
                  <a:pt x="220" y="134"/>
                  <a:pt x="220" y="134"/>
                  <a:pt x="220" y="134"/>
                </a:cubicBezTo>
                <a:cubicBezTo>
                  <a:pt x="219" y="133"/>
                  <a:pt x="219" y="133"/>
                  <a:pt x="219" y="133"/>
                </a:cubicBezTo>
                <a:cubicBezTo>
                  <a:pt x="217" y="133"/>
                  <a:pt x="217" y="133"/>
                  <a:pt x="217" y="133"/>
                </a:cubicBezTo>
                <a:cubicBezTo>
                  <a:pt x="217" y="134"/>
                  <a:pt x="217" y="134"/>
                  <a:pt x="217" y="134"/>
                </a:cubicBezTo>
                <a:cubicBezTo>
                  <a:pt x="218" y="134"/>
                  <a:pt x="218" y="134"/>
                  <a:pt x="218" y="134"/>
                </a:cubicBezTo>
                <a:cubicBezTo>
                  <a:pt x="218" y="135"/>
                  <a:pt x="218" y="135"/>
                  <a:pt x="218" y="135"/>
                </a:cubicBezTo>
                <a:cubicBezTo>
                  <a:pt x="219" y="136"/>
                  <a:pt x="219" y="136"/>
                  <a:pt x="219" y="136"/>
                </a:cubicBezTo>
                <a:cubicBezTo>
                  <a:pt x="220" y="135"/>
                  <a:pt x="220" y="135"/>
                  <a:pt x="220" y="135"/>
                </a:cubicBezTo>
                <a:close/>
                <a:moveTo>
                  <a:pt x="224" y="120"/>
                </a:moveTo>
                <a:cubicBezTo>
                  <a:pt x="223" y="119"/>
                  <a:pt x="223" y="119"/>
                  <a:pt x="223" y="119"/>
                </a:cubicBezTo>
                <a:cubicBezTo>
                  <a:pt x="222" y="119"/>
                  <a:pt x="222" y="119"/>
                  <a:pt x="222" y="119"/>
                </a:cubicBezTo>
                <a:cubicBezTo>
                  <a:pt x="223" y="121"/>
                  <a:pt x="223" y="121"/>
                  <a:pt x="223" y="121"/>
                </a:cubicBezTo>
                <a:cubicBezTo>
                  <a:pt x="223" y="121"/>
                  <a:pt x="223" y="121"/>
                  <a:pt x="223" y="121"/>
                </a:cubicBezTo>
                <a:cubicBezTo>
                  <a:pt x="224" y="121"/>
                  <a:pt x="224" y="121"/>
                  <a:pt x="224" y="121"/>
                </a:cubicBezTo>
                <a:cubicBezTo>
                  <a:pt x="225" y="121"/>
                  <a:pt x="225" y="121"/>
                  <a:pt x="225" y="121"/>
                </a:cubicBezTo>
                <a:cubicBezTo>
                  <a:pt x="225" y="123"/>
                  <a:pt x="225" y="123"/>
                  <a:pt x="225" y="123"/>
                </a:cubicBezTo>
                <a:cubicBezTo>
                  <a:pt x="225" y="123"/>
                  <a:pt x="225" y="123"/>
                  <a:pt x="225" y="123"/>
                </a:cubicBezTo>
                <a:cubicBezTo>
                  <a:pt x="225" y="122"/>
                  <a:pt x="225" y="122"/>
                  <a:pt x="225" y="122"/>
                </a:cubicBezTo>
                <a:cubicBezTo>
                  <a:pt x="225" y="121"/>
                  <a:pt x="225" y="121"/>
                  <a:pt x="225" y="121"/>
                </a:cubicBezTo>
                <a:cubicBezTo>
                  <a:pt x="226" y="120"/>
                  <a:pt x="226" y="120"/>
                  <a:pt x="226" y="120"/>
                </a:cubicBezTo>
                <a:cubicBezTo>
                  <a:pt x="226" y="119"/>
                  <a:pt x="226" y="119"/>
                  <a:pt x="226" y="119"/>
                </a:cubicBezTo>
                <a:cubicBezTo>
                  <a:pt x="225" y="119"/>
                  <a:pt x="225" y="119"/>
                  <a:pt x="225" y="119"/>
                </a:cubicBezTo>
                <a:cubicBezTo>
                  <a:pt x="225" y="118"/>
                  <a:pt x="225" y="118"/>
                  <a:pt x="225" y="118"/>
                </a:cubicBezTo>
                <a:cubicBezTo>
                  <a:pt x="225" y="117"/>
                  <a:pt x="225" y="117"/>
                  <a:pt x="225" y="117"/>
                </a:cubicBezTo>
                <a:cubicBezTo>
                  <a:pt x="224" y="117"/>
                  <a:pt x="224" y="117"/>
                  <a:pt x="224" y="117"/>
                </a:cubicBezTo>
                <a:cubicBezTo>
                  <a:pt x="223" y="117"/>
                  <a:pt x="223" y="117"/>
                  <a:pt x="223" y="117"/>
                </a:cubicBezTo>
                <a:cubicBezTo>
                  <a:pt x="223" y="118"/>
                  <a:pt x="223" y="118"/>
                  <a:pt x="223" y="118"/>
                </a:cubicBezTo>
                <a:cubicBezTo>
                  <a:pt x="224" y="119"/>
                  <a:pt x="224" y="119"/>
                  <a:pt x="224" y="119"/>
                </a:cubicBezTo>
                <a:cubicBezTo>
                  <a:pt x="224" y="120"/>
                  <a:pt x="224" y="120"/>
                  <a:pt x="224" y="120"/>
                </a:cubicBezTo>
                <a:close/>
                <a:moveTo>
                  <a:pt x="222" y="112"/>
                </a:moveTo>
                <a:cubicBezTo>
                  <a:pt x="220" y="112"/>
                  <a:pt x="220" y="112"/>
                  <a:pt x="220" y="112"/>
                </a:cubicBezTo>
                <a:cubicBezTo>
                  <a:pt x="220" y="111"/>
                  <a:pt x="220" y="111"/>
                  <a:pt x="220" y="111"/>
                </a:cubicBezTo>
                <a:cubicBezTo>
                  <a:pt x="219" y="111"/>
                  <a:pt x="219" y="111"/>
                  <a:pt x="219" y="111"/>
                </a:cubicBezTo>
                <a:cubicBezTo>
                  <a:pt x="218" y="111"/>
                  <a:pt x="218" y="111"/>
                  <a:pt x="218" y="111"/>
                </a:cubicBezTo>
                <a:cubicBezTo>
                  <a:pt x="218" y="112"/>
                  <a:pt x="218" y="112"/>
                  <a:pt x="218" y="112"/>
                </a:cubicBezTo>
                <a:cubicBezTo>
                  <a:pt x="220" y="113"/>
                  <a:pt x="220" y="113"/>
                  <a:pt x="220" y="113"/>
                </a:cubicBezTo>
                <a:cubicBezTo>
                  <a:pt x="221" y="113"/>
                  <a:pt x="221" y="113"/>
                  <a:pt x="221" y="113"/>
                </a:cubicBezTo>
                <a:cubicBezTo>
                  <a:pt x="222" y="112"/>
                  <a:pt x="222" y="112"/>
                  <a:pt x="222" y="112"/>
                </a:cubicBezTo>
                <a:close/>
                <a:moveTo>
                  <a:pt x="222" y="111"/>
                </a:moveTo>
                <a:cubicBezTo>
                  <a:pt x="222" y="111"/>
                  <a:pt x="222" y="111"/>
                  <a:pt x="222" y="111"/>
                </a:cubicBezTo>
                <a:cubicBezTo>
                  <a:pt x="224" y="111"/>
                  <a:pt x="224" y="111"/>
                  <a:pt x="224" y="111"/>
                </a:cubicBezTo>
                <a:cubicBezTo>
                  <a:pt x="225" y="111"/>
                  <a:pt x="225" y="111"/>
                  <a:pt x="225" y="111"/>
                </a:cubicBezTo>
                <a:cubicBezTo>
                  <a:pt x="226" y="111"/>
                  <a:pt x="226" y="111"/>
                  <a:pt x="226" y="111"/>
                </a:cubicBezTo>
                <a:cubicBezTo>
                  <a:pt x="226" y="110"/>
                  <a:pt x="226" y="110"/>
                  <a:pt x="226" y="110"/>
                </a:cubicBezTo>
                <a:cubicBezTo>
                  <a:pt x="224" y="110"/>
                  <a:pt x="224" y="110"/>
                  <a:pt x="224" y="110"/>
                </a:cubicBezTo>
                <a:cubicBezTo>
                  <a:pt x="223" y="109"/>
                  <a:pt x="223" y="109"/>
                  <a:pt x="223" y="109"/>
                </a:cubicBezTo>
                <a:cubicBezTo>
                  <a:pt x="222" y="110"/>
                  <a:pt x="222" y="110"/>
                  <a:pt x="222" y="110"/>
                </a:cubicBezTo>
                <a:cubicBezTo>
                  <a:pt x="222" y="111"/>
                  <a:pt x="222" y="111"/>
                  <a:pt x="222" y="111"/>
                </a:cubicBezTo>
                <a:close/>
                <a:moveTo>
                  <a:pt x="236" y="141"/>
                </a:moveTo>
                <a:cubicBezTo>
                  <a:pt x="237" y="140"/>
                  <a:pt x="237" y="140"/>
                  <a:pt x="237" y="140"/>
                </a:cubicBezTo>
                <a:cubicBezTo>
                  <a:pt x="236" y="139"/>
                  <a:pt x="236" y="139"/>
                  <a:pt x="236" y="139"/>
                </a:cubicBezTo>
                <a:cubicBezTo>
                  <a:pt x="235" y="139"/>
                  <a:pt x="235" y="139"/>
                  <a:pt x="235" y="139"/>
                </a:cubicBezTo>
                <a:cubicBezTo>
                  <a:pt x="235" y="140"/>
                  <a:pt x="235" y="140"/>
                  <a:pt x="235" y="140"/>
                </a:cubicBezTo>
                <a:cubicBezTo>
                  <a:pt x="235" y="141"/>
                  <a:pt x="235" y="141"/>
                  <a:pt x="235" y="141"/>
                </a:cubicBezTo>
                <a:cubicBezTo>
                  <a:pt x="236" y="141"/>
                  <a:pt x="236" y="141"/>
                  <a:pt x="236" y="141"/>
                </a:cubicBezTo>
                <a:close/>
                <a:moveTo>
                  <a:pt x="240" y="140"/>
                </a:moveTo>
                <a:cubicBezTo>
                  <a:pt x="241" y="139"/>
                  <a:pt x="241" y="139"/>
                  <a:pt x="241" y="139"/>
                </a:cubicBezTo>
                <a:cubicBezTo>
                  <a:pt x="241" y="139"/>
                  <a:pt x="241" y="139"/>
                  <a:pt x="241" y="139"/>
                </a:cubicBezTo>
                <a:cubicBezTo>
                  <a:pt x="239" y="138"/>
                  <a:pt x="239" y="138"/>
                  <a:pt x="239" y="138"/>
                </a:cubicBezTo>
                <a:cubicBezTo>
                  <a:pt x="239" y="139"/>
                  <a:pt x="239" y="139"/>
                  <a:pt x="239" y="139"/>
                </a:cubicBezTo>
                <a:cubicBezTo>
                  <a:pt x="238" y="139"/>
                  <a:pt x="238" y="139"/>
                  <a:pt x="238" y="139"/>
                </a:cubicBezTo>
                <a:cubicBezTo>
                  <a:pt x="238" y="140"/>
                  <a:pt x="238" y="140"/>
                  <a:pt x="238" y="140"/>
                </a:cubicBezTo>
                <a:cubicBezTo>
                  <a:pt x="240" y="140"/>
                  <a:pt x="240" y="140"/>
                  <a:pt x="240" y="140"/>
                </a:cubicBezTo>
                <a:close/>
                <a:moveTo>
                  <a:pt x="245" y="141"/>
                </a:moveTo>
                <a:cubicBezTo>
                  <a:pt x="246" y="141"/>
                  <a:pt x="246" y="141"/>
                  <a:pt x="246" y="141"/>
                </a:cubicBezTo>
                <a:cubicBezTo>
                  <a:pt x="245" y="140"/>
                  <a:pt x="245" y="140"/>
                  <a:pt x="245" y="140"/>
                </a:cubicBezTo>
                <a:cubicBezTo>
                  <a:pt x="243" y="141"/>
                  <a:pt x="243" y="141"/>
                  <a:pt x="243" y="141"/>
                </a:cubicBezTo>
                <a:cubicBezTo>
                  <a:pt x="244" y="141"/>
                  <a:pt x="244" y="141"/>
                  <a:pt x="244" y="141"/>
                </a:cubicBezTo>
                <a:cubicBezTo>
                  <a:pt x="245" y="141"/>
                  <a:pt x="245" y="141"/>
                  <a:pt x="245" y="141"/>
                </a:cubicBezTo>
                <a:close/>
                <a:moveTo>
                  <a:pt x="254" y="138"/>
                </a:moveTo>
                <a:cubicBezTo>
                  <a:pt x="255" y="140"/>
                  <a:pt x="255" y="140"/>
                  <a:pt x="255" y="140"/>
                </a:cubicBezTo>
                <a:cubicBezTo>
                  <a:pt x="255" y="140"/>
                  <a:pt x="255" y="140"/>
                  <a:pt x="255" y="140"/>
                </a:cubicBezTo>
                <a:cubicBezTo>
                  <a:pt x="256" y="139"/>
                  <a:pt x="256" y="139"/>
                  <a:pt x="256" y="139"/>
                </a:cubicBezTo>
                <a:cubicBezTo>
                  <a:pt x="255" y="139"/>
                  <a:pt x="255" y="139"/>
                  <a:pt x="255" y="139"/>
                </a:cubicBezTo>
                <a:cubicBezTo>
                  <a:pt x="254" y="138"/>
                  <a:pt x="254" y="138"/>
                  <a:pt x="254" y="138"/>
                </a:cubicBezTo>
                <a:close/>
                <a:moveTo>
                  <a:pt x="249" y="137"/>
                </a:moveTo>
                <a:cubicBezTo>
                  <a:pt x="250" y="137"/>
                  <a:pt x="250" y="137"/>
                  <a:pt x="250" y="137"/>
                </a:cubicBezTo>
                <a:cubicBezTo>
                  <a:pt x="251" y="136"/>
                  <a:pt x="251" y="136"/>
                  <a:pt x="251" y="136"/>
                </a:cubicBezTo>
                <a:cubicBezTo>
                  <a:pt x="250" y="136"/>
                  <a:pt x="250" y="136"/>
                  <a:pt x="250" y="136"/>
                </a:cubicBezTo>
                <a:cubicBezTo>
                  <a:pt x="249" y="136"/>
                  <a:pt x="249" y="136"/>
                  <a:pt x="249" y="136"/>
                </a:cubicBezTo>
                <a:cubicBezTo>
                  <a:pt x="249" y="137"/>
                  <a:pt x="249" y="137"/>
                  <a:pt x="249" y="137"/>
                </a:cubicBezTo>
                <a:cubicBezTo>
                  <a:pt x="249" y="137"/>
                  <a:pt x="249" y="137"/>
                  <a:pt x="249" y="137"/>
                </a:cubicBezTo>
                <a:close/>
                <a:moveTo>
                  <a:pt x="245" y="132"/>
                </a:moveTo>
                <a:cubicBezTo>
                  <a:pt x="245" y="131"/>
                  <a:pt x="245" y="131"/>
                  <a:pt x="245" y="131"/>
                </a:cubicBezTo>
                <a:cubicBezTo>
                  <a:pt x="244" y="131"/>
                  <a:pt x="244" y="131"/>
                  <a:pt x="244" y="131"/>
                </a:cubicBezTo>
                <a:cubicBezTo>
                  <a:pt x="243" y="132"/>
                  <a:pt x="243" y="132"/>
                  <a:pt x="243" y="132"/>
                </a:cubicBezTo>
                <a:cubicBezTo>
                  <a:pt x="243" y="133"/>
                  <a:pt x="243" y="133"/>
                  <a:pt x="243" y="133"/>
                </a:cubicBezTo>
                <a:cubicBezTo>
                  <a:pt x="244" y="134"/>
                  <a:pt x="244" y="134"/>
                  <a:pt x="244" y="134"/>
                </a:cubicBezTo>
                <a:cubicBezTo>
                  <a:pt x="244" y="133"/>
                  <a:pt x="244" y="133"/>
                  <a:pt x="244" y="133"/>
                </a:cubicBezTo>
                <a:cubicBezTo>
                  <a:pt x="244" y="133"/>
                  <a:pt x="244" y="133"/>
                  <a:pt x="244" y="133"/>
                </a:cubicBezTo>
                <a:cubicBezTo>
                  <a:pt x="244" y="132"/>
                  <a:pt x="244" y="132"/>
                  <a:pt x="244" y="132"/>
                </a:cubicBezTo>
                <a:cubicBezTo>
                  <a:pt x="245" y="132"/>
                  <a:pt x="245" y="132"/>
                  <a:pt x="245" y="132"/>
                </a:cubicBezTo>
                <a:close/>
                <a:moveTo>
                  <a:pt x="248" y="131"/>
                </a:moveTo>
                <a:cubicBezTo>
                  <a:pt x="248" y="130"/>
                  <a:pt x="248" y="130"/>
                  <a:pt x="248" y="130"/>
                </a:cubicBezTo>
                <a:cubicBezTo>
                  <a:pt x="247" y="130"/>
                  <a:pt x="247" y="130"/>
                  <a:pt x="247" y="130"/>
                </a:cubicBezTo>
                <a:cubicBezTo>
                  <a:pt x="246" y="131"/>
                  <a:pt x="246" y="131"/>
                  <a:pt x="246" y="131"/>
                </a:cubicBezTo>
                <a:cubicBezTo>
                  <a:pt x="247" y="132"/>
                  <a:pt x="247" y="132"/>
                  <a:pt x="247" y="132"/>
                </a:cubicBezTo>
                <a:cubicBezTo>
                  <a:pt x="248" y="132"/>
                  <a:pt x="248" y="132"/>
                  <a:pt x="248" y="132"/>
                </a:cubicBezTo>
                <a:cubicBezTo>
                  <a:pt x="248" y="131"/>
                  <a:pt x="248" y="131"/>
                  <a:pt x="248" y="131"/>
                </a:cubicBezTo>
                <a:cubicBezTo>
                  <a:pt x="248" y="131"/>
                  <a:pt x="248" y="131"/>
                  <a:pt x="248" y="131"/>
                </a:cubicBezTo>
                <a:close/>
                <a:moveTo>
                  <a:pt x="249" y="132"/>
                </a:moveTo>
                <a:cubicBezTo>
                  <a:pt x="249" y="132"/>
                  <a:pt x="249" y="132"/>
                  <a:pt x="249" y="132"/>
                </a:cubicBezTo>
                <a:cubicBezTo>
                  <a:pt x="250" y="132"/>
                  <a:pt x="250" y="132"/>
                  <a:pt x="250" y="132"/>
                </a:cubicBezTo>
                <a:cubicBezTo>
                  <a:pt x="251" y="131"/>
                  <a:pt x="251" y="131"/>
                  <a:pt x="251" y="131"/>
                </a:cubicBezTo>
                <a:cubicBezTo>
                  <a:pt x="251" y="130"/>
                  <a:pt x="251" y="130"/>
                  <a:pt x="251" y="130"/>
                </a:cubicBezTo>
                <a:cubicBezTo>
                  <a:pt x="250" y="129"/>
                  <a:pt x="250" y="129"/>
                  <a:pt x="250" y="129"/>
                </a:cubicBezTo>
                <a:cubicBezTo>
                  <a:pt x="249" y="129"/>
                  <a:pt x="249" y="129"/>
                  <a:pt x="249" y="129"/>
                </a:cubicBezTo>
                <a:cubicBezTo>
                  <a:pt x="249" y="130"/>
                  <a:pt x="249" y="130"/>
                  <a:pt x="249" y="130"/>
                </a:cubicBezTo>
                <a:cubicBezTo>
                  <a:pt x="249" y="131"/>
                  <a:pt x="249" y="131"/>
                  <a:pt x="249" y="131"/>
                </a:cubicBezTo>
                <a:cubicBezTo>
                  <a:pt x="249" y="132"/>
                  <a:pt x="249" y="132"/>
                  <a:pt x="249" y="132"/>
                </a:cubicBezTo>
                <a:close/>
                <a:moveTo>
                  <a:pt x="245" y="128"/>
                </a:moveTo>
                <a:cubicBezTo>
                  <a:pt x="246" y="127"/>
                  <a:pt x="246" y="127"/>
                  <a:pt x="246" y="127"/>
                </a:cubicBezTo>
                <a:cubicBezTo>
                  <a:pt x="246" y="126"/>
                  <a:pt x="246" y="126"/>
                  <a:pt x="246" y="126"/>
                </a:cubicBezTo>
                <a:cubicBezTo>
                  <a:pt x="245" y="126"/>
                  <a:pt x="245" y="126"/>
                  <a:pt x="245" y="126"/>
                </a:cubicBezTo>
                <a:cubicBezTo>
                  <a:pt x="244" y="126"/>
                  <a:pt x="244" y="126"/>
                  <a:pt x="244" y="126"/>
                </a:cubicBezTo>
                <a:cubicBezTo>
                  <a:pt x="243" y="127"/>
                  <a:pt x="243" y="127"/>
                  <a:pt x="243" y="127"/>
                </a:cubicBezTo>
                <a:cubicBezTo>
                  <a:pt x="243" y="127"/>
                  <a:pt x="243" y="127"/>
                  <a:pt x="243" y="127"/>
                </a:cubicBezTo>
                <a:cubicBezTo>
                  <a:pt x="245" y="127"/>
                  <a:pt x="245" y="127"/>
                  <a:pt x="245" y="127"/>
                </a:cubicBezTo>
                <a:cubicBezTo>
                  <a:pt x="245" y="128"/>
                  <a:pt x="245" y="128"/>
                  <a:pt x="245" y="128"/>
                </a:cubicBezTo>
                <a:close/>
                <a:moveTo>
                  <a:pt x="251" y="125"/>
                </a:moveTo>
                <a:cubicBezTo>
                  <a:pt x="252" y="125"/>
                  <a:pt x="252" y="125"/>
                  <a:pt x="252" y="125"/>
                </a:cubicBezTo>
                <a:cubicBezTo>
                  <a:pt x="251" y="124"/>
                  <a:pt x="251" y="124"/>
                  <a:pt x="251" y="124"/>
                </a:cubicBezTo>
                <a:cubicBezTo>
                  <a:pt x="251" y="124"/>
                  <a:pt x="251" y="124"/>
                  <a:pt x="251" y="124"/>
                </a:cubicBezTo>
                <a:cubicBezTo>
                  <a:pt x="252" y="123"/>
                  <a:pt x="252" y="123"/>
                  <a:pt x="252" y="123"/>
                </a:cubicBezTo>
                <a:cubicBezTo>
                  <a:pt x="252" y="123"/>
                  <a:pt x="252" y="123"/>
                  <a:pt x="252" y="123"/>
                </a:cubicBezTo>
                <a:cubicBezTo>
                  <a:pt x="251" y="122"/>
                  <a:pt x="251" y="122"/>
                  <a:pt x="251" y="122"/>
                </a:cubicBezTo>
                <a:cubicBezTo>
                  <a:pt x="250" y="122"/>
                  <a:pt x="250" y="122"/>
                  <a:pt x="250" y="122"/>
                </a:cubicBezTo>
                <a:cubicBezTo>
                  <a:pt x="249" y="122"/>
                  <a:pt x="249" y="122"/>
                  <a:pt x="249" y="122"/>
                </a:cubicBezTo>
                <a:cubicBezTo>
                  <a:pt x="249" y="123"/>
                  <a:pt x="249" y="123"/>
                  <a:pt x="249" y="123"/>
                </a:cubicBezTo>
                <a:cubicBezTo>
                  <a:pt x="249" y="123"/>
                  <a:pt x="249" y="123"/>
                  <a:pt x="249" y="123"/>
                </a:cubicBezTo>
                <a:cubicBezTo>
                  <a:pt x="248" y="122"/>
                  <a:pt x="248" y="122"/>
                  <a:pt x="248" y="122"/>
                </a:cubicBezTo>
                <a:cubicBezTo>
                  <a:pt x="248" y="123"/>
                  <a:pt x="248" y="123"/>
                  <a:pt x="248" y="123"/>
                </a:cubicBezTo>
                <a:cubicBezTo>
                  <a:pt x="248" y="124"/>
                  <a:pt x="248" y="124"/>
                  <a:pt x="248" y="124"/>
                </a:cubicBezTo>
                <a:cubicBezTo>
                  <a:pt x="249" y="124"/>
                  <a:pt x="249" y="124"/>
                  <a:pt x="249" y="124"/>
                </a:cubicBezTo>
                <a:cubicBezTo>
                  <a:pt x="250" y="124"/>
                  <a:pt x="250" y="124"/>
                  <a:pt x="250" y="124"/>
                </a:cubicBezTo>
                <a:cubicBezTo>
                  <a:pt x="251" y="125"/>
                  <a:pt x="251" y="125"/>
                  <a:pt x="251" y="125"/>
                </a:cubicBezTo>
                <a:close/>
                <a:moveTo>
                  <a:pt x="246" y="71"/>
                </a:moveTo>
                <a:cubicBezTo>
                  <a:pt x="247" y="71"/>
                  <a:pt x="247" y="71"/>
                  <a:pt x="247" y="71"/>
                </a:cubicBezTo>
                <a:cubicBezTo>
                  <a:pt x="247" y="70"/>
                  <a:pt x="247" y="70"/>
                  <a:pt x="247" y="70"/>
                </a:cubicBezTo>
                <a:cubicBezTo>
                  <a:pt x="246" y="70"/>
                  <a:pt x="246" y="70"/>
                  <a:pt x="246" y="70"/>
                </a:cubicBezTo>
                <a:cubicBezTo>
                  <a:pt x="246" y="70"/>
                  <a:pt x="246" y="70"/>
                  <a:pt x="246" y="70"/>
                </a:cubicBezTo>
                <a:cubicBezTo>
                  <a:pt x="246" y="71"/>
                  <a:pt x="246" y="71"/>
                  <a:pt x="246" y="71"/>
                </a:cubicBezTo>
                <a:close/>
                <a:moveTo>
                  <a:pt x="239" y="82"/>
                </a:moveTo>
                <a:cubicBezTo>
                  <a:pt x="240" y="83"/>
                  <a:pt x="240" y="83"/>
                  <a:pt x="240" y="83"/>
                </a:cubicBezTo>
                <a:cubicBezTo>
                  <a:pt x="240" y="83"/>
                  <a:pt x="240" y="83"/>
                  <a:pt x="240" y="83"/>
                </a:cubicBezTo>
                <a:cubicBezTo>
                  <a:pt x="241" y="82"/>
                  <a:pt x="241" y="82"/>
                  <a:pt x="241" y="82"/>
                </a:cubicBezTo>
                <a:cubicBezTo>
                  <a:pt x="242" y="81"/>
                  <a:pt x="242" y="81"/>
                  <a:pt x="242" y="81"/>
                </a:cubicBezTo>
                <a:cubicBezTo>
                  <a:pt x="242" y="80"/>
                  <a:pt x="242" y="80"/>
                  <a:pt x="242" y="80"/>
                </a:cubicBezTo>
                <a:cubicBezTo>
                  <a:pt x="241" y="79"/>
                  <a:pt x="241" y="79"/>
                  <a:pt x="241" y="79"/>
                </a:cubicBezTo>
                <a:cubicBezTo>
                  <a:pt x="240" y="79"/>
                  <a:pt x="240" y="79"/>
                  <a:pt x="240" y="79"/>
                </a:cubicBezTo>
                <a:cubicBezTo>
                  <a:pt x="239" y="80"/>
                  <a:pt x="239" y="80"/>
                  <a:pt x="239" y="80"/>
                </a:cubicBezTo>
                <a:cubicBezTo>
                  <a:pt x="240" y="81"/>
                  <a:pt x="240" y="81"/>
                  <a:pt x="240" y="81"/>
                </a:cubicBezTo>
                <a:cubicBezTo>
                  <a:pt x="239" y="82"/>
                  <a:pt x="239" y="82"/>
                  <a:pt x="239" y="82"/>
                </a:cubicBezTo>
                <a:close/>
                <a:moveTo>
                  <a:pt x="267" y="80"/>
                </a:moveTo>
                <a:cubicBezTo>
                  <a:pt x="268" y="80"/>
                  <a:pt x="268" y="80"/>
                  <a:pt x="268" y="80"/>
                </a:cubicBezTo>
                <a:cubicBezTo>
                  <a:pt x="269" y="79"/>
                  <a:pt x="269" y="79"/>
                  <a:pt x="269" y="79"/>
                </a:cubicBezTo>
                <a:cubicBezTo>
                  <a:pt x="270" y="78"/>
                  <a:pt x="270" y="78"/>
                  <a:pt x="270" y="78"/>
                </a:cubicBezTo>
                <a:cubicBezTo>
                  <a:pt x="270" y="78"/>
                  <a:pt x="270" y="78"/>
                  <a:pt x="270" y="78"/>
                </a:cubicBezTo>
                <a:cubicBezTo>
                  <a:pt x="271" y="79"/>
                  <a:pt x="271" y="79"/>
                  <a:pt x="271" y="79"/>
                </a:cubicBezTo>
                <a:cubicBezTo>
                  <a:pt x="270" y="79"/>
                  <a:pt x="270" y="79"/>
                  <a:pt x="270" y="79"/>
                </a:cubicBezTo>
                <a:cubicBezTo>
                  <a:pt x="271" y="79"/>
                  <a:pt x="271" y="79"/>
                  <a:pt x="271" y="79"/>
                </a:cubicBezTo>
                <a:cubicBezTo>
                  <a:pt x="273" y="77"/>
                  <a:pt x="273" y="77"/>
                  <a:pt x="273" y="77"/>
                </a:cubicBezTo>
                <a:cubicBezTo>
                  <a:pt x="273" y="76"/>
                  <a:pt x="273" y="76"/>
                  <a:pt x="273" y="76"/>
                </a:cubicBezTo>
                <a:cubicBezTo>
                  <a:pt x="273" y="76"/>
                  <a:pt x="273" y="76"/>
                  <a:pt x="273" y="76"/>
                </a:cubicBezTo>
                <a:cubicBezTo>
                  <a:pt x="273" y="74"/>
                  <a:pt x="273" y="74"/>
                  <a:pt x="273" y="74"/>
                </a:cubicBezTo>
                <a:cubicBezTo>
                  <a:pt x="273" y="74"/>
                  <a:pt x="273" y="74"/>
                  <a:pt x="273" y="74"/>
                </a:cubicBezTo>
                <a:cubicBezTo>
                  <a:pt x="272" y="74"/>
                  <a:pt x="272" y="74"/>
                  <a:pt x="272" y="74"/>
                </a:cubicBezTo>
                <a:cubicBezTo>
                  <a:pt x="272" y="75"/>
                  <a:pt x="272" y="75"/>
                  <a:pt x="272" y="75"/>
                </a:cubicBezTo>
                <a:cubicBezTo>
                  <a:pt x="271" y="76"/>
                  <a:pt x="271" y="76"/>
                  <a:pt x="271" y="76"/>
                </a:cubicBezTo>
                <a:cubicBezTo>
                  <a:pt x="269" y="77"/>
                  <a:pt x="269" y="77"/>
                  <a:pt x="269" y="77"/>
                </a:cubicBezTo>
                <a:cubicBezTo>
                  <a:pt x="268" y="78"/>
                  <a:pt x="268" y="78"/>
                  <a:pt x="268" y="78"/>
                </a:cubicBezTo>
                <a:cubicBezTo>
                  <a:pt x="267" y="80"/>
                  <a:pt x="267" y="80"/>
                  <a:pt x="267" y="80"/>
                </a:cubicBezTo>
                <a:close/>
                <a:moveTo>
                  <a:pt x="280" y="81"/>
                </a:moveTo>
                <a:cubicBezTo>
                  <a:pt x="281" y="80"/>
                  <a:pt x="281" y="80"/>
                  <a:pt x="281" y="80"/>
                </a:cubicBezTo>
                <a:cubicBezTo>
                  <a:pt x="282" y="79"/>
                  <a:pt x="282" y="79"/>
                  <a:pt x="282" y="79"/>
                </a:cubicBezTo>
                <a:cubicBezTo>
                  <a:pt x="281" y="79"/>
                  <a:pt x="281" y="79"/>
                  <a:pt x="281" y="79"/>
                </a:cubicBezTo>
                <a:cubicBezTo>
                  <a:pt x="280" y="80"/>
                  <a:pt x="280" y="80"/>
                  <a:pt x="280" y="80"/>
                </a:cubicBezTo>
                <a:cubicBezTo>
                  <a:pt x="279" y="80"/>
                  <a:pt x="279" y="80"/>
                  <a:pt x="279" y="80"/>
                </a:cubicBezTo>
                <a:cubicBezTo>
                  <a:pt x="280" y="81"/>
                  <a:pt x="280" y="81"/>
                  <a:pt x="280" y="81"/>
                </a:cubicBezTo>
                <a:close/>
                <a:moveTo>
                  <a:pt x="282" y="83"/>
                </a:moveTo>
                <a:cubicBezTo>
                  <a:pt x="282" y="83"/>
                  <a:pt x="282" y="83"/>
                  <a:pt x="282" y="83"/>
                </a:cubicBezTo>
                <a:cubicBezTo>
                  <a:pt x="283" y="83"/>
                  <a:pt x="283" y="83"/>
                  <a:pt x="283" y="83"/>
                </a:cubicBezTo>
                <a:cubicBezTo>
                  <a:pt x="283" y="82"/>
                  <a:pt x="283" y="82"/>
                  <a:pt x="283" y="82"/>
                </a:cubicBezTo>
                <a:cubicBezTo>
                  <a:pt x="282" y="82"/>
                  <a:pt x="282" y="82"/>
                  <a:pt x="282" y="82"/>
                </a:cubicBezTo>
                <a:cubicBezTo>
                  <a:pt x="281" y="81"/>
                  <a:pt x="281" y="81"/>
                  <a:pt x="281" y="81"/>
                </a:cubicBezTo>
                <a:cubicBezTo>
                  <a:pt x="281" y="81"/>
                  <a:pt x="281" y="81"/>
                  <a:pt x="281" y="81"/>
                </a:cubicBezTo>
                <a:cubicBezTo>
                  <a:pt x="281" y="82"/>
                  <a:pt x="281" y="82"/>
                  <a:pt x="281" y="82"/>
                </a:cubicBezTo>
                <a:cubicBezTo>
                  <a:pt x="281" y="82"/>
                  <a:pt x="281" y="82"/>
                  <a:pt x="281" y="82"/>
                </a:cubicBezTo>
                <a:cubicBezTo>
                  <a:pt x="282" y="83"/>
                  <a:pt x="282" y="83"/>
                  <a:pt x="282" y="83"/>
                </a:cubicBezTo>
                <a:close/>
                <a:moveTo>
                  <a:pt x="271" y="86"/>
                </a:moveTo>
                <a:cubicBezTo>
                  <a:pt x="272" y="86"/>
                  <a:pt x="272" y="86"/>
                  <a:pt x="272" y="86"/>
                </a:cubicBezTo>
                <a:cubicBezTo>
                  <a:pt x="272" y="85"/>
                  <a:pt x="272" y="85"/>
                  <a:pt x="272" y="85"/>
                </a:cubicBezTo>
                <a:cubicBezTo>
                  <a:pt x="271" y="85"/>
                  <a:pt x="271" y="85"/>
                  <a:pt x="271" y="85"/>
                </a:cubicBezTo>
                <a:cubicBezTo>
                  <a:pt x="271" y="85"/>
                  <a:pt x="271" y="85"/>
                  <a:pt x="271" y="85"/>
                </a:cubicBezTo>
                <a:cubicBezTo>
                  <a:pt x="269" y="86"/>
                  <a:pt x="269" y="86"/>
                  <a:pt x="269" y="86"/>
                </a:cubicBezTo>
                <a:cubicBezTo>
                  <a:pt x="270" y="86"/>
                  <a:pt x="270" y="86"/>
                  <a:pt x="270" y="86"/>
                </a:cubicBezTo>
                <a:cubicBezTo>
                  <a:pt x="271" y="86"/>
                  <a:pt x="271" y="86"/>
                  <a:pt x="271" y="86"/>
                </a:cubicBezTo>
                <a:close/>
                <a:moveTo>
                  <a:pt x="277" y="87"/>
                </a:moveTo>
                <a:cubicBezTo>
                  <a:pt x="277" y="86"/>
                  <a:pt x="277" y="86"/>
                  <a:pt x="277" y="86"/>
                </a:cubicBezTo>
                <a:cubicBezTo>
                  <a:pt x="278" y="85"/>
                  <a:pt x="278" y="85"/>
                  <a:pt x="278" y="85"/>
                </a:cubicBezTo>
                <a:cubicBezTo>
                  <a:pt x="277" y="85"/>
                  <a:pt x="277" y="85"/>
                  <a:pt x="277" y="85"/>
                </a:cubicBezTo>
                <a:cubicBezTo>
                  <a:pt x="277" y="83"/>
                  <a:pt x="277" y="83"/>
                  <a:pt x="277" y="83"/>
                </a:cubicBezTo>
                <a:cubicBezTo>
                  <a:pt x="276" y="83"/>
                  <a:pt x="276" y="83"/>
                  <a:pt x="276" y="83"/>
                </a:cubicBezTo>
                <a:cubicBezTo>
                  <a:pt x="276" y="84"/>
                  <a:pt x="276" y="84"/>
                  <a:pt x="276" y="84"/>
                </a:cubicBezTo>
                <a:cubicBezTo>
                  <a:pt x="276" y="85"/>
                  <a:pt x="276" y="85"/>
                  <a:pt x="276" y="85"/>
                </a:cubicBezTo>
                <a:cubicBezTo>
                  <a:pt x="274" y="85"/>
                  <a:pt x="274" y="85"/>
                  <a:pt x="274" y="85"/>
                </a:cubicBezTo>
                <a:cubicBezTo>
                  <a:pt x="275" y="86"/>
                  <a:pt x="275" y="86"/>
                  <a:pt x="275" y="86"/>
                </a:cubicBezTo>
                <a:cubicBezTo>
                  <a:pt x="275" y="86"/>
                  <a:pt x="275" y="86"/>
                  <a:pt x="275" y="86"/>
                </a:cubicBezTo>
                <a:cubicBezTo>
                  <a:pt x="276" y="85"/>
                  <a:pt x="276" y="85"/>
                  <a:pt x="276" y="85"/>
                </a:cubicBezTo>
                <a:cubicBezTo>
                  <a:pt x="277" y="85"/>
                  <a:pt x="277" y="85"/>
                  <a:pt x="277" y="85"/>
                </a:cubicBezTo>
                <a:cubicBezTo>
                  <a:pt x="277" y="87"/>
                  <a:pt x="277" y="87"/>
                  <a:pt x="277" y="87"/>
                </a:cubicBezTo>
                <a:close/>
                <a:moveTo>
                  <a:pt x="277" y="93"/>
                </a:moveTo>
                <a:cubicBezTo>
                  <a:pt x="278" y="93"/>
                  <a:pt x="278" y="93"/>
                  <a:pt x="278" y="93"/>
                </a:cubicBezTo>
                <a:cubicBezTo>
                  <a:pt x="279" y="93"/>
                  <a:pt x="279" y="93"/>
                  <a:pt x="279" y="93"/>
                </a:cubicBezTo>
                <a:cubicBezTo>
                  <a:pt x="280" y="93"/>
                  <a:pt x="280" y="93"/>
                  <a:pt x="280" y="93"/>
                </a:cubicBezTo>
                <a:cubicBezTo>
                  <a:pt x="281" y="93"/>
                  <a:pt x="281" y="93"/>
                  <a:pt x="281" y="93"/>
                </a:cubicBezTo>
                <a:cubicBezTo>
                  <a:pt x="282" y="93"/>
                  <a:pt x="282" y="93"/>
                  <a:pt x="282" y="93"/>
                </a:cubicBezTo>
                <a:cubicBezTo>
                  <a:pt x="283" y="93"/>
                  <a:pt x="283" y="93"/>
                  <a:pt x="283" y="93"/>
                </a:cubicBezTo>
                <a:cubicBezTo>
                  <a:pt x="284" y="92"/>
                  <a:pt x="284" y="92"/>
                  <a:pt x="284" y="92"/>
                </a:cubicBezTo>
                <a:cubicBezTo>
                  <a:pt x="284" y="92"/>
                  <a:pt x="284" y="92"/>
                  <a:pt x="284" y="92"/>
                </a:cubicBezTo>
                <a:cubicBezTo>
                  <a:pt x="283" y="91"/>
                  <a:pt x="283" y="91"/>
                  <a:pt x="283" y="91"/>
                </a:cubicBezTo>
                <a:cubicBezTo>
                  <a:pt x="284" y="91"/>
                  <a:pt x="284" y="91"/>
                  <a:pt x="284" y="91"/>
                </a:cubicBezTo>
                <a:cubicBezTo>
                  <a:pt x="283" y="90"/>
                  <a:pt x="283" y="90"/>
                  <a:pt x="283" y="90"/>
                </a:cubicBezTo>
                <a:cubicBezTo>
                  <a:pt x="282" y="90"/>
                  <a:pt x="282" y="90"/>
                  <a:pt x="282" y="90"/>
                </a:cubicBezTo>
                <a:cubicBezTo>
                  <a:pt x="282" y="90"/>
                  <a:pt x="282" y="90"/>
                  <a:pt x="282" y="90"/>
                </a:cubicBezTo>
                <a:cubicBezTo>
                  <a:pt x="282" y="91"/>
                  <a:pt x="282" y="91"/>
                  <a:pt x="282" y="91"/>
                </a:cubicBezTo>
                <a:cubicBezTo>
                  <a:pt x="281" y="91"/>
                  <a:pt x="281" y="91"/>
                  <a:pt x="281" y="91"/>
                </a:cubicBezTo>
                <a:cubicBezTo>
                  <a:pt x="281" y="91"/>
                  <a:pt x="281" y="91"/>
                  <a:pt x="281" y="91"/>
                </a:cubicBezTo>
                <a:cubicBezTo>
                  <a:pt x="280" y="91"/>
                  <a:pt x="280" y="91"/>
                  <a:pt x="280" y="91"/>
                </a:cubicBezTo>
                <a:cubicBezTo>
                  <a:pt x="280" y="91"/>
                  <a:pt x="280" y="91"/>
                  <a:pt x="280" y="91"/>
                </a:cubicBezTo>
                <a:cubicBezTo>
                  <a:pt x="279" y="91"/>
                  <a:pt x="279" y="91"/>
                  <a:pt x="279" y="91"/>
                </a:cubicBezTo>
                <a:cubicBezTo>
                  <a:pt x="279" y="92"/>
                  <a:pt x="279" y="92"/>
                  <a:pt x="279" y="92"/>
                </a:cubicBezTo>
                <a:cubicBezTo>
                  <a:pt x="278" y="91"/>
                  <a:pt x="278" y="91"/>
                  <a:pt x="278" y="91"/>
                </a:cubicBezTo>
                <a:cubicBezTo>
                  <a:pt x="277" y="92"/>
                  <a:pt x="277" y="92"/>
                  <a:pt x="277" y="92"/>
                </a:cubicBezTo>
                <a:cubicBezTo>
                  <a:pt x="277" y="93"/>
                  <a:pt x="277" y="93"/>
                  <a:pt x="277" y="93"/>
                </a:cubicBezTo>
                <a:close/>
                <a:moveTo>
                  <a:pt x="165" y="56"/>
                </a:moveTo>
                <a:cubicBezTo>
                  <a:pt x="166" y="56"/>
                  <a:pt x="166" y="56"/>
                  <a:pt x="166" y="56"/>
                </a:cubicBezTo>
                <a:cubicBezTo>
                  <a:pt x="167" y="57"/>
                  <a:pt x="167" y="57"/>
                  <a:pt x="167" y="57"/>
                </a:cubicBezTo>
                <a:cubicBezTo>
                  <a:pt x="168" y="57"/>
                  <a:pt x="168" y="57"/>
                  <a:pt x="168" y="57"/>
                </a:cubicBezTo>
                <a:cubicBezTo>
                  <a:pt x="169" y="56"/>
                  <a:pt x="169" y="56"/>
                  <a:pt x="169" y="56"/>
                </a:cubicBezTo>
                <a:cubicBezTo>
                  <a:pt x="169" y="55"/>
                  <a:pt x="169" y="55"/>
                  <a:pt x="169" y="55"/>
                </a:cubicBezTo>
                <a:cubicBezTo>
                  <a:pt x="169" y="55"/>
                  <a:pt x="169" y="55"/>
                  <a:pt x="169" y="55"/>
                </a:cubicBezTo>
                <a:cubicBezTo>
                  <a:pt x="167" y="55"/>
                  <a:pt x="167" y="55"/>
                  <a:pt x="167" y="55"/>
                </a:cubicBezTo>
                <a:cubicBezTo>
                  <a:pt x="166" y="55"/>
                  <a:pt x="166" y="55"/>
                  <a:pt x="166" y="55"/>
                </a:cubicBezTo>
                <a:cubicBezTo>
                  <a:pt x="165" y="54"/>
                  <a:pt x="165" y="54"/>
                  <a:pt x="165" y="54"/>
                </a:cubicBezTo>
                <a:cubicBezTo>
                  <a:pt x="165" y="55"/>
                  <a:pt x="165" y="55"/>
                  <a:pt x="165" y="55"/>
                </a:cubicBezTo>
                <a:cubicBezTo>
                  <a:pt x="164" y="55"/>
                  <a:pt x="164" y="55"/>
                  <a:pt x="164" y="55"/>
                </a:cubicBezTo>
                <a:cubicBezTo>
                  <a:pt x="165" y="56"/>
                  <a:pt x="165" y="56"/>
                  <a:pt x="165" y="56"/>
                </a:cubicBezTo>
                <a:close/>
                <a:moveTo>
                  <a:pt x="162" y="29"/>
                </a:moveTo>
                <a:cubicBezTo>
                  <a:pt x="161" y="28"/>
                  <a:pt x="161" y="28"/>
                  <a:pt x="161" y="28"/>
                </a:cubicBezTo>
                <a:cubicBezTo>
                  <a:pt x="161" y="27"/>
                  <a:pt x="161" y="27"/>
                  <a:pt x="161" y="27"/>
                </a:cubicBezTo>
                <a:cubicBezTo>
                  <a:pt x="163" y="26"/>
                  <a:pt x="163" y="26"/>
                  <a:pt x="163" y="26"/>
                </a:cubicBezTo>
                <a:cubicBezTo>
                  <a:pt x="165" y="26"/>
                  <a:pt x="165" y="26"/>
                  <a:pt x="165" y="26"/>
                </a:cubicBezTo>
                <a:cubicBezTo>
                  <a:pt x="167" y="26"/>
                  <a:pt x="167" y="26"/>
                  <a:pt x="167" y="26"/>
                </a:cubicBezTo>
                <a:cubicBezTo>
                  <a:pt x="167" y="28"/>
                  <a:pt x="167" y="28"/>
                  <a:pt x="167" y="28"/>
                </a:cubicBezTo>
                <a:cubicBezTo>
                  <a:pt x="167" y="29"/>
                  <a:pt x="167" y="29"/>
                  <a:pt x="167" y="29"/>
                </a:cubicBezTo>
                <a:cubicBezTo>
                  <a:pt x="165" y="29"/>
                  <a:pt x="165" y="29"/>
                  <a:pt x="165" y="29"/>
                </a:cubicBezTo>
                <a:cubicBezTo>
                  <a:pt x="163" y="29"/>
                  <a:pt x="163" y="29"/>
                  <a:pt x="163" y="29"/>
                </a:cubicBezTo>
                <a:cubicBezTo>
                  <a:pt x="163" y="29"/>
                  <a:pt x="162" y="29"/>
                  <a:pt x="162" y="29"/>
                </a:cubicBezTo>
                <a:close/>
                <a:moveTo>
                  <a:pt x="201" y="9"/>
                </a:moveTo>
                <a:cubicBezTo>
                  <a:pt x="202" y="8"/>
                  <a:pt x="202" y="8"/>
                  <a:pt x="202" y="8"/>
                </a:cubicBezTo>
                <a:cubicBezTo>
                  <a:pt x="203" y="6"/>
                  <a:pt x="203" y="6"/>
                  <a:pt x="203" y="6"/>
                </a:cubicBezTo>
                <a:cubicBezTo>
                  <a:pt x="204" y="6"/>
                  <a:pt x="204" y="6"/>
                  <a:pt x="204" y="6"/>
                </a:cubicBezTo>
                <a:cubicBezTo>
                  <a:pt x="206" y="7"/>
                  <a:pt x="206" y="7"/>
                  <a:pt x="206" y="7"/>
                </a:cubicBezTo>
                <a:cubicBezTo>
                  <a:pt x="205" y="8"/>
                  <a:pt x="205" y="8"/>
                  <a:pt x="205" y="8"/>
                </a:cubicBezTo>
                <a:cubicBezTo>
                  <a:pt x="205" y="8"/>
                  <a:pt x="205" y="8"/>
                  <a:pt x="205" y="8"/>
                </a:cubicBezTo>
                <a:cubicBezTo>
                  <a:pt x="204" y="9"/>
                  <a:pt x="204" y="9"/>
                  <a:pt x="204" y="9"/>
                </a:cubicBezTo>
                <a:cubicBezTo>
                  <a:pt x="203" y="10"/>
                  <a:pt x="203" y="10"/>
                  <a:pt x="203" y="10"/>
                </a:cubicBezTo>
                <a:cubicBezTo>
                  <a:pt x="201" y="9"/>
                  <a:pt x="201" y="9"/>
                  <a:pt x="201" y="9"/>
                </a:cubicBezTo>
                <a:cubicBezTo>
                  <a:pt x="201" y="9"/>
                  <a:pt x="201" y="9"/>
                  <a:pt x="201" y="9"/>
                </a:cubicBezTo>
                <a:close/>
                <a:moveTo>
                  <a:pt x="229" y="27"/>
                </a:moveTo>
                <a:cubicBezTo>
                  <a:pt x="231" y="25"/>
                  <a:pt x="231" y="25"/>
                  <a:pt x="231" y="25"/>
                </a:cubicBezTo>
                <a:cubicBezTo>
                  <a:pt x="232" y="24"/>
                  <a:pt x="232" y="24"/>
                  <a:pt x="232" y="24"/>
                </a:cubicBezTo>
                <a:cubicBezTo>
                  <a:pt x="232" y="23"/>
                  <a:pt x="232" y="23"/>
                  <a:pt x="232" y="23"/>
                </a:cubicBezTo>
                <a:cubicBezTo>
                  <a:pt x="234" y="21"/>
                  <a:pt x="234" y="21"/>
                  <a:pt x="234" y="21"/>
                </a:cubicBezTo>
                <a:cubicBezTo>
                  <a:pt x="236" y="20"/>
                  <a:pt x="236" y="20"/>
                  <a:pt x="236" y="20"/>
                </a:cubicBezTo>
                <a:cubicBezTo>
                  <a:pt x="238" y="19"/>
                  <a:pt x="238" y="19"/>
                  <a:pt x="238" y="19"/>
                </a:cubicBezTo>
                <a:cubicBezTo>
                  <a:pt x="238" y="18"/>
                  <a:pt x="238" y="18"/>
                  <a:pt x="238" y="18"/>
                </a:cubicBezTo>
                <a:cubicBezTo>
                  <a:pt x="238" y="16"/>
                  <a:pt x="238" y="16"/>
                  <a:pt x="238" y="16"/>
                </a:cubicBezTo>
                <a:cubicBezTo>
                  <a:pt x="236" y="15"/>
                  <a:pt x="236" y="15"/>
                  <a:pt x="236" y="15"/>
                </a:cubicBezTo>
                <a:cubicBezTo>
                  <a:pt x="234" y="13"/>
                  <a:pt x="234" y="13"/>
                  <a:pt x="234" y="13"/>
                </a:cubicBezTo>
                <a:cubicBezTo>
                  <a:pt x="233" y="11"/>
                  <a:pt x="233" y="11"/>
                  <a:pt x="233" y="11"/>
                </a:cubicBezTo>
                <a:cubicBezTo>
                  <a:pt x="233" y="10"/>
                  <a:pt x="233" y="10"/>
                  <a:pt x="233" y="10"/>
                </a:cubicBezTo>
                <a:cubicBezTo>
                  <a:pt x="234" y="9"/>
                  <a:pt x="234" y="9"/>
                  <a:pt x="234" y="9"/>
                </a:cubicBezTo>
                <a:cubicBezTo>
                  <a:pt x="234" y="7"/>
                  <a:pt x="234" y="7"/>
                  <a:pt x="234" y="7"/>
                </a:cubicBezTo>
                <a:cubicBezTo>
                  <a:pt x="233" y="7"/>
                  <a:pt x="233" y="7"/>
                  <a:pt x="233" y="7"/>
                </a:cubicBezTo>
                <a:cubicBezTo>
                  <a:pt x="230" y="7"/>
                  <a:pt x="230" y="7"/>
                  <a:pt x="230" y="7"/>
                </a:cubicBezTo>
                <a:cubicBezTo>
                  <a:pt x="228" y="6"/>
                  <a:pt x="228" y="6"/>
                  <a:pt x="228" y="6"/>
                </a:cubicBezTo>
                <a:cubicBezTo>
                  <a:pt x="226" y="5"/>
                  <a:pt x="226" y="5"/>
                  <a:pt x="226" y="5"/>
                </a:cubicBezTo>
                <a:cubicBezTo>
                  <a:pt x="224" y="2"/>
                  <a:pt x="224" y="2"/>
                  <a:pt x="224" y="2"/>
                </a:cubicBezTo>
                <a:cubicBezTo>
                  <a:pt x="222" y="1"/>
                  <a:pt x="222" y="1"/>
                  <a:pt x="222" y="1"/>
                </a:cubicBezTo>
                <a:cubicBezTo>
                  <a:pt x="220" y="0"/>
                  <a:pt x="220" y="0"/>
                  <a:pt x="220" y="0"/>
                </a:cubicBezTo>
                <a:cubicBezTo>
                  <a:pt x="219" y="0"/>
                  <a:pt x="219" y="0"/>
                  <a:pt x="219" y="0"/>
                </a:cubicBezTo>
                <a:cubicBezTo>
                  <a:pt x="218" y="0"/>
                  <a:pt x="218" y="0"/>
                  <a:pt x="218" y="0"/>
                </a:cubicBezTo>
                <a:cubicBezTo>
                  <a:pt x="218" y="1"/>
                  <a:pt x="218" y="1"/>
                  <a:pt x="218" y="1"/>
                </a:cubicBezTo>
                <a:cubicBezTo>
                  <a:pt x="218" y="2"/>
                  <a:pt x="218" y="2"/>
                  <a:pt x="218" y="2"/>
                </a:cubicBezTo>
                <a:cubicBezTo>
                  <a:pt x="218" y="4"/>
                  <a:pt x="218" y="4"/>
                  <a:pt x="218" y="4"/>
                </a:cubicBezTo>
                <a:cubicBezTo>
                  <a:pt x="217" y="5"/>
                  <a:pt x="217" y="5"/>
                  <a:pt x="217" y="5"/>
                </a:cubicBezTo>
                <a:cubicBezTo>
                  <a:pt x="216" y="7"/>
                  <a:pt x="216" y="7"/>
                  <a:pt x="216" y="7"/>
                </a:cubicBezTo>
                <a:cubicBezTo>
                  <a:pt x="215" y="9"/>
                  <a:pt x="215" y="9"/>
                  <a:pt x="215" y="9"/>
                </a:cubicBezTo>
                <a:cubicBezTo>
                  <a:pt x="215" y="10"/>
                  <a:pt x="215" y="10"/>
                  <a:pt x="215" y="10"/>
                </a:cubicBezTo>
                <a:cubicBezTo>
                  <a:pt x="215" y="15"/>
                  <a:pt x="215" y="15"/>
                  <a:pt x="215" y="15"/>
                </a:cubicBezTo>
                <a:cubicBezTo>
                  <a:pt x="216" y="16"/>
                  <a:pt x="216" y="16"/>
                  <a:pt x="216" y="16"/>
                </a:cubicBezTo>
                <a:cubicBezTo>
                  <a:pt x="217" y="17"/>
                  <a:pt x="217" y="17"/>
                  <a:pt x="217" y="17"/>
                </a:cubicBezTo>
                <a:cubicBezTo>
                  <a:pt x="217" y="18"/>
                  <a:pt x="217" y="18"/>
                  <a:pt x="217" y="18"/>
                </a:cubicBezTo>
                <a:cubicBezTo>
                  <a:pt x="216" y="22"/>
                  <a:pt x="216" y="22"/>
                  <a:pt x="216" y="22"/>
                </a:cubicBezTo>
                <a:cubicBezTo>
                  <a:pt x="216" y="23"/>
                  <a:pt x="216" y="23"/>
                  <a:pt x="216" y="23"/>
                </a:cubicBezTo>
                <a:cubicBezTo>
                  <a:pt x="215" y="24"/>
                  <a:pt x="215" y="24"/>
                  <a:pt x="215" y="24"/>
                </a:cubicBezTo>
                <a:cubicBezTo>
                  <a:pt x="216" y="25"/>
                  <a:pt x="216" y="25"/>
                  <a:pt x="216" y="25"/>
                </a:cubicBezTo>
                <a:cubicBezTo>
                  <a:pt x="216" y="25"/>
                  <a:pt x="216" y="25"/>
                  <a:pt x="216" y="25"/>
                </a:cubicBezTo>
                <a:cubicBezTo>
                  <a:pt x="217" y="24"/>
                  <a:pt x="217" y="24"/>
                  <a:pt x="217" y="24"/>
                </a:cubicBezTo>
                <a:cubicBezTo>
                  <a:pt x="219" y="23"/>
                  <a:pt x="219" y="23"/>
                  <a:pt x="219" y="23"/>
                </a:cubicBezTo>
                <a:cubicBezTo>
                  <a:pt x="219" y="23"/>
                  <a:pt x="219" y="23"/>
                  <a:pt x="219" y="23"/>
                </a:cubicBezTo>
                <a:cubicBezTo>
                  <a:pt x="220" y="25"/>
                  <a:pt x="220" y="25"/>
                  <a:pt x="220" y="25"/>
                </a:cubicBezTo>
                <a:cubicBezTo>
                  <a:pt x="222" y="26"/>
                  <a:pt x="222" y="26"/>
                  <a:pt x="222" y="26"/>
                </a:cubicBezTo>
                <a:cubicBezTo>
                  <a:pt x="223" y="26"/>
                  <a:pt x="223" y="26"/>
                  <a:pt x="223" y="26"/>
                </a:cubicBezTo>
                <a:cubicBezTo>
                  <a:pt x="223" y="25"/>
                  <a:pt x="223" y="25"/>
                  <a:pt x="223" y="25"/>
                </a:cubicBezTo>
                <a:cubicBezTo>
                  <a:pt x="224" y="25"/>
                  <a:pt x="224" y="25"/>
                  <a:pt x="224" y="25"/>
                </a:cubicBezTo>
                <a:cubicBezTo>
                  <a:pt x="226" y="26"/>
                  <a:pt x="226" y="26"/>
                  <a:pt x="226" y="26"/>
                </a:cubicBezTo>
                <a:cubicBezTo>
                  <a:pt x="227" y="27"/>
                  <a:pt x="227" y="27"/>
                  <a:pt x="227" y="27"/>
                </a:cubicBezTo>
                <a:cubicBezTo>
                  <a:pt x="229" y="27"/>
                  <a:pt x="229" y="27"/>
                  <a:pt x="229" y="27"/>
                </a:cubicBezTo>
                <a:close/>
                <a:moveTo>
                  <a:pt x="223" y="35"/>
                </a:moveTo>
                <a:cubicBezTo>
                  <a:pt x="223" y="36"/>
                  <a:pt x="223" y="36"/>
                  <a:pt x="223" y="36"/>
                </a:cubicBezTo>
                <a:cubicBezTo>
                  <a:pt x="224" y="36"/>
                  <a:pt x="224" y="36"/>
                  <a:pt x="224" y="36"/>
                </a:cubicBezTo>
                <a:cubicBezTo>
                  <a:pt x="226" y="37"/>
                  <a:pt x="226" y="37"/>
                  <a:pt x="226" y="37"/>
                </a:cubicBezTo>
                <a:cubicBezTo>
                  <a:pt x="227" y="36"/>
                  <a:pt x="227" y="36"/>
                  <a:pt x="227" y="36"/>
                </a:cubicBezTo>
                <a:cubicBezTo>
                  <a:pt x="228" y="34"/>
                  <a:pt x="228" y="34"/>
                  <a:pt x="228" y="34"/>
                </a:cubicBezTo>
                <a:cubicBezTo>
                  <a:pt x="229" y="34"/>
                  <a:pt x="229" y="34"/>
                  <a:pt x="229" y="34"/>
                </a:cubicBezTo>
                <a:cubicBezTo>
                  <a:pt x="230" y="32"/>
                  <a:pt x="230" y="32"/>
                  <a:pt x="230" y="32"/>
                </a:cubicBezTo>
                <a:cubicBezTo>
                  <a:pt x="230" y="30"/>
                  <a:pt x="230" y="30"/>
                  <a:pt x="230" y="30"/>
                </a:cubicBezTo>
                <a:cubicBezTo>
                  <a:pt x="230" y="29"/>
                  <a:pt x="230" y="29"/>
                  <a:pt x="230" y="29"/>
                </a:cubicBezTo>
                <a:cubicBezTo>
                  <a:pt x="227" y="28"/>
                  <a:pt x="227" y="28"/>
                  <a:pt x="227" y="28"/>
                </a:cubicBezTo>
                <a:cubicBezTo>
                  <a:pt x="225" y="28"/>
                  <a:pt x="225" y="28"/>
                  <a:pt x="225" y="28"/>
                </a:cubicBezTo>
                <a:cubicBezTo>
                  <a:pt x="223" y="28"/>
                  <a:pt x="223" y="28"/>
                  <a:pt x="223" y="28"/>
                </a:cubicBezTo>
                <a:cubicBezTo>
                  <a:pt x="222" y="29"/>
                  <a:pt x="222" y="29"/>
                  <a:pt x="222" y="29"/>
                </a:cubicBezTo>
                <a:cubicBezTo>
                  <a:pt x="221" y="28"/>
                  <a:pt x="221" y="28"/>
                  <a:pt x="221" y="28"/>
                </a:cubicBezTo>
                <a:cubicBezTo>
                  <a:pt x="220" y="28"/>
                  <a:pt x="220" y="28"/>
                  <a:pt x="220" y="28"/>
                </a:cubicBezTo>
                <a:cubicBezTo>
                  <a:pt x="219" y="29"/>
                  <a:pt x="219" y="29"/>
                  <a:pt x="219" y="29"/>
                </a:cubicBezTo>
                <a:cubicBezTo>
                  <a:pt x="218" y="29"/>
                  <a:pt x="218" y="29"/>
                  <a:pt x="218" y="29"/>
                </a:cubicBezTo>
                <a:cubicBezTo>
                  <a:pt x="217" y="29"/>
                  <a:pt x="217" y="29"/>
                  <a:pt x="217" y="29"/>
                </a:cubicBezTo>
                <a:cubicBezTo>
                  <a:pt x="218" y="30"/>
                  <a:pt x="218" y="30"/>
                  <a:pt x="218" y="30"/>
                </a:cubicBezTo>
                <a:cubicBezTo>
                  <a:pt x="219" y="31"/>
                  <a:pt x="219" y="31"/>
                  <a:pt x="219" y="31"/>
                </a:cubicBezTo>
                <a:cubicBezTo>
                  <a:pt x="220" y="32"/>
                  <a:pt x="220" y="32"/>
                  <a:pt x="220" y="32"/>
                </a:cubicBezTo>
                <a:cubicBezTo>
                  <a:pt x="221" y="32"/>
                  <a:pt x="221" y="32"/>
                  <a:pt x="221" y="32"/>
                </a:cubicBezTo>
                <a:cubicBezTo>
                  <a:pt x="222" y="34"/>
                  <a:pt x="222" y="34"/>
                  <a:pt x="222" y="34"/>
                </a:cubicBezTo>
                <a:cubicBezTo>
                  <a:pt x="224" y="34"/>
                  <a:pt x="224" y="34"/>
                  <a:pt x="224" y="34"/>
                </a:cubicBezTo>
                <a:cubicBezTo>
                  <a:pt x="226" y="34"/>
                  <a:pt x="226" y="34"/>
                  <a:pt x="226" y="34"/>
                </a:cubicBezTo>
                <a:cubicBezTo>
                  <a:pt x="227" y="34"/>
                  <a:pt x="227" y="34"/>
                  <a:pt x="227" y="34"/>
                </a:cubicBezTo>
                <a:cubicBezTo>
                  <a:pt x="226" y="35"/>
                  <a:pt x="226" y="35"/>
                  <a:pt x="226" y="35"/>
                </a:cubicBezTo>
                <a:cubicBezTo>
                  <a:pt x="225" y="35"/>
                  <a:pt x="225" y="35"/>
                  <a:pt x="225" y="35"/>
                </a:cubicBezTo>
                <a:cubicBezTo>
                  <a:pt x="223" y="35"/>
                  <a:pt x="223" y="35"/>
                  <a:pt x="223" y="35"/>
                </a:cubicBezTo>
                <a:close/>
                <a:moveTo>
                  <a:pt x="266" y="39"/>
                </a:moveTo>
                <a:cubicBezTo>
                  <a:pt x="266" y="40"/>
                  <a:pt x="266" y="40"/>
                  <a:pt x="266" y="40"/>
                </a:cubicBezTo>
                <a:cubicBezTo>
                  <a:pt x="264" y="42"/>
                  <a:pt x="264" y="42"/>
                  <a:pt x="264" y="42"/>
                </a:cubicBezTo>
                <a:cubicBezTo>
                  <a:pt x="262" y="43"/>
                  <a:pt x="262" y="43"/>
                  <a:pt x="262" y="43"/>
                </a:cubicBezTo>
                <a:cubicBezTo>
                  <a:pt x="261" y="44"/>
                  <a:pt x="261" y="44"/>
                  <a:pt x="261" y="44"/>
                </a:cubicBezTo>
                <a:cubicBezTo>
                  <a:pt x="260" y="45"/>
                  <a:pt x="260" y="45"/>
                  <a:pt x="260" y="45"/>
                </a:cubicBezTo>
                <a:cubicBezTo>
                  <a:pt x="258" y="45"/>
                  <a:pt x="258" y="45"/>
                  <a:pt x="258" y="45"/>
                </a:cubicBezTo>
                <a:cubicBezTo>
                  <a:pt x="257" y="44"/>
                  <a:pt x="257" y="44"/>
                  <a:pt x="257" y="44"/>
                </a:cubicBezTo>
                <a:cubicBezTo>
                  <a:pt x="256" y="43"/>
                  <a:pt x="256" y="43"/>
                  <a:pt x="256" y="43"/>
                </a:cubicBezTo>
                <a:cubicBezTo>
                  <a:pt x="255" y="43"/>
                  <a:pt x="255" y="43"/>
                  <a:pt x="255" y="43"/>
                </a:cubicBezTo>
                <a:cubicBezTo>
                  <a:pt x="254" y="43"/>
                  <a:pt x="254" y="43"/>
                  <a:pt x="254" y="43"/>
                </a:cubicBezTo>
                <a:cubicBezTo>
                  <a:pt x="253" y="43"/>
                  <a:pt x="253" y="43"/>
                  <a:pt x="253" y="43"/>
                </a:cubicBezTo>
                <a:cubicBezTo>
                  <a:pt x="250" y="43"/>
                  <a:pt x="250" y="43"/>
                  <a:pt x="250" y="43"/>
                </a:cubicBezTo>
                <a:cubicBezTo>
                  <a:pt x="248" y="42"/>
                  <a:pt x="248" y="42"/>
                  <a:pt x="248" y="42"/>
                </a:cubicBezTo>
                <a:cubicBezTo>
                  <a:pt x="248" y="42"/>
                  <a:pt x="248" y="42"/>
                  <a:pt x="248" y="42"/>
                </a:cubicBezTo>
                <a:cubicBezTo>
                  <a:pt x="246" y="42"/>
                  <a:pt x="246" y="42"/>
                  <a:pt x="246" y="42"/>
                </a:cubicBezTo>
                <a:cubicBezTo>
                  <a:pt x="244" y="43"/>
                  <a:pt x="244" y="43"/>
                  <a:pt x="244" y="43"/>
                </a:cubicBezTo>
                <a:cubicBezTo>
                  <a:pt x="243" y="43"/>
                  <a:pt x="243" y="43"/>
                  <a:pt x="243" y="43"/>
                </a:cubicBezTo>
                <a:cubicBezTo>
                  <a:pt x="242" y="42"/>
                  <a:pt x="242" y="42"/>
                  <a:pt x="242" y="42"/>
                </a:cubicBezTo>
                <a:cubicBezTo>
                  <a:pt x="240" y="42"/>
                  <a:pt x="240" y="42"/>
                  <a:pt x="240" y="42"/>
                </a:cubicBezTo>
                <a:cubicBezTo>
                  <a:pt x="240" y="41"/>
                  <a:pt x="240" y="41"/>
                  <a:pt x="240" y="41"/>
                </a:cubicBezTo>
                <a:cubicBezTo>
                  <a:pt x="239" y="38"/>
                  <a:pt x="239" y="38"/>
                  <a:pt x="239" y="38"/>
                </a:cubicBezTo>
                <a:cubicBezTo>
                  <a:pt x="238" y="37"/>
                  <a:pt x="238" y="37"/>
                  <a:pt x="238" y="37"/>
                </a:cubicBezTo>
                <a:cubicBezTo>
                  <a:pt x="237" y="37"/>
                  <a:pt x="237" y="37"/>
                  <a:pt x="237" y="37"/>
                </a:cubicBezTo>
                <a:cubicBezTo>
                  <a:pt x="236" y="38"/>
                  <a:pt x="236" y="38"/>
                  <a:pt x="236" y="38"/>
                </a:cubicBezTo>
                <a:cubicBezTo>
                  <a:pt x="235" y="37"/>
                  <a:pt x="235" y="37"/>
                  <a:pt x="235" y="37"/>
                </a:cubicBezTo>
                <a:cubicBezTo>
                  <a:pt x="234" y="36"/>
                  <a:pt x="234" y="36"/>
                  <a:pt x="234" y="36"/>
                </a:cubicBezTo>
                <a:cubicBezTo>
                  <a:pt x="233" y="37"/>
                  <a:pt x="233" y="37"/>
                  <a:pt x="233" y="37"/>
                </a:cubicBezTo>
                <a:cubicBezTo>
                  <a:pt x="234" y="38"/>
                  <a:pt x="234" y="38"/>
                  <a:pt x="234" y="38"/>
                </a:cubicBezTo>
                <a:cubicBezTo>
                  <a:pt x="233" y="38"/>
                  <a:pt x="233" y="38"/>
                  <a:pt x="233" y="38"/>
                </a:cubicBezTo>
                <a:cubicBezTo>
                  <a:pt x="233" y="38"/>
                  <a:pt x="233" y="38"/>
                  <a:pt x="233" y="38"/>
                </a:cubicBezTo>
                <a:cubicBezTo>
                  <a:pt x="231" y="37"/>
                  <a:pt x="231" y="37"/>
                  <a:pt x="231" y="37"/>
                </a:cubicBezTo>
                <a:cubicBezTo>
                  <a:pt x="232" y="36"/>
                  <a:pt x="232" y="36"/>
                  <a:pt x="232" y="36"/>
                </a:cubicBezTo>
                <a:cubicBezTo>
                  <a:pt x="233" y="35"/>
                  <a:pt x="233" y="35"/>
                  <a:pt x="233" y="35"/>
                </a:cubicBezTo>
                <a:cubicBezTo>
                  <a:pt x="233" y="34"/>
                  <a:pt x="233" y="34"/>
                  <a:pt x="233" y="34"/>
                </a:cubicBezTo>
                <a:cubicBezTo>
                  <a:pt x="233" y="32"/>
                  <a:pt x="233" y="32"/>
                  <a:pt x="233" y="32"/>
                </a:cubicBezTo>
                <a:cubicBezTo>
                  <a:pt x="233" y="31"/>
                  <a:pt x="233" y="31"/>
                  <a:pt x="233" y="31"/>
                </a:cubicBezTo>
                <a:cubicBezTo>
                  <a:pt x="235" y="30"/>
                  <a:pt x="235" y="30"/>
                  <a:pt x="235" y="30"/>
                </a:cubicBezTo>
                <a:cubicBezTo>
                  <a:pt x="234" y="29"/>
                  <a:pt x="234" y="29"/>
                  <a:pt x="234" y="29"/>
                </a:cubicBezTo>
                <a:cubicBezTo>
                  <a:pt x="233" y="29"/>
                  <a:pt x="233" y="29"/>
                  <a:pt x="233" y="29"/>
                </a:cubicBezTo>
                <a:cubicBezTo>
                  <a:pt x="232" y="28"/>
                  <a:pt x="232" y="28"/>
                  <a:pt x="232" y="28"/>
                </a:cubicBezTo>
                <a:cubicBezTo>
                  <a:pt x="232" y="27"/>
                  <a:pt x="232" y="27"/>
                  <a:pt x="232" y="27"/>
                </a:cubicBezTo>
                <a:cubicBezTo>
                  <a:pt x="232" y="25"/>
                  <a:pt x="232" y="25"/>
                  <a:pt x="232" y="25"/>
                </a:cubicBezTo>
                <a:cubicBezTo>
                  <a:pt x="234" y="24"/>
                  <a:pt x="234" y="24"/>
                  <a:pt x="234" y="24"/>
                </a:cubicBezTo>
                <a:cubicBezTo>
                  <a:pt x="235" y="24"/>
                  <a:pt x="235" y="24"/>
                  <a:pt x="235" y="24"/>
                </a:cubicBezTo>
                <a:cubicBezTo>
                  <a:pt x="235" y="23"/>
                  <a:pt x="235" y="23"/>
                  <a:pt x="235" y="23"/>
                </a:cubicBezTo>
                <a:cubicBezTo>
                  <a:pt x="236" y="22"/>
                  <a:pt x="236" y="22"/>
                  <a:pt x="236" y="22"/>
                </a:cubicBezTo>
                <a:cubicBezTo>
                  <a:pt x="237" y="22"/>
                  <a:pt x="237" y="22"/>
                  <a:pt x="237" y="22"/>
                </a:cubicBezTo>
                <a:cubicBezTo>
                  <a:pt x="240" y="20"/>
                  <a:pt x="240" y="20"/>
                  <a:pt x="240" y="20"/>
                </a:cubicBezTo>
                <a:cubicBezTo>
                  <a:pt x="240" y="19"/>
                  <a:pt x="240" y="19"/>
                  <a:pt x="240" y="19"/>
                </a:cubicBezTo>
                <a:cubicBezTo>
                  <a:pt x="241" y="18"/>
                  <a:pt x="241" y="18"/>
                  <a:pt x="241" y="18"/>
                </a:cubicBezTo>
                <a:cubicBezTo>
                  <a:pt x="243" y="19"/>
                  <a:pt x="243" y="19"/>
                  <a:pt x="243" y="19"/>
                </a:cubicBezTo>
                <a:cubicBezTo>
                  <a:pt x="245" y="20"/>
                  <a:pt x="245" y="20"/>
                  <a:pt x="245" y="20"/>
                </a:cubicBezTo>
                <a:cubicBezTo>
                  <a:pt x="247" y="23"/>
                  <a:pt x="247" y="23"/>
                  <a:pt x="247" y="23"/>
                </a:cubicBezTo>
                <a:cubicBezTo>
                  <a:pt x="247" y="24"/>
                  <a:pt x="247" y="24"/>
                  <a:pt x="247" y="24"/>
                </a:cubicBezTo>
                <a:cubicBezTo>
                  <a:pt x="247" y="26"/>
                  <a:pt x="247" y="26"/>
                  <a:pt x="247" y="26"/>
                </a:cubicBezTo>
                <a:cubicBezTo>
                  <a:pt x="247" y="26"/>
                  <a:pt x="247" y="26"/>
                  <a:pt x="247" y="26"/>
                </a:cubicBezTo>
                <a:cubicBezTo>
                  <a:pt x="247" y="28"/>
                  <a:pt x="247" y="28"/>
                  <a:pt x="247" y="28"/>
                </a:cubicBezTo>
                <a:cubicBezTo>
                  <a:pt x="246" y="29"/>
                  <a:pt x="246" y="29"/>
                  <a:pt x="246" y="29"/>
                </a:cubicBezTo>
                <a:cubicBezTo>
                  <a:pt x="246" y="29"/>
                  <a:pt x="246" y="29"/>
                  <a:pt x="246" y="29"/>
                </a:cubicBezTo>
                <a:cubicBezTo>
                  <a:pt x="247" y="29"/>
                  <a:pt x="247" y="29"/>
                  <a:pt x="247" y="29"/>
                </a:cubicBezTo>
                <a:cubicBezTo>
                  <a:pt x="248" y="27"/>
                  <a:pt x="248" y="27"/>
                  <a:pt x="248" y="27"/>
                </a:cubicBezTo>
                <a:cubicBezTo>
                  <a:pt x="248" y="26"/>
                  <a:pt x="248" y="26"/>
                  <a:pt x="248" y="26"/>
                </a:cubicBezTo>
                <a:cubicBezTo>
                  <a:pt x="248" y="25"/>
                  <a:pt x="248" y="25"/>
                  <a:pt x="248" y="25"/>
                </a:cubicBezTo>
                <a:cubicBezTo>
                  <a:pt x="249" y="24"/>
                  <a:pt x="249" y="24"/>
                  <a:pt x="249" y="24"/>
                </a:cubicBezTo>
                <a:cubicBezTo>
                  <a:pt x="248" y="23"/>
                  <a:pt x="248" y="23"/>
                  <a:pt x="248" y="23"/>
                </a:cubicBezTo>
                <a:cubicBezTo>
                  <a:pt x="247" y="21"/>
                  <a:pt x="247" y="21"/>
                  <a:pt x="247" y="21"/>
                </a:cubicBezTo>
                <a:cubicBezTo>
                  <a:pt x="247" y="20"/>
                  <a:pt x="247" y="20"/>
                  <a:pt x="247" y="20"/>
                </a:cubicBezTo>
                <a:cubicBezTo>
                  <a:pt x="247" y="19"/>
                  <a:pt x="247" y="19"/>
                  <a:pt x="247" y="19"/>
                </a:cubicBezTo>
                <a:cubicBezTo>
                  <a:pt x="249" y="19"/>
                  <a:pt x="249" y="19"/>
                  <a:pt x="249" y="19"/>
                </a:cubicBezTo>
                <a:cubicBezTo>
                  <a:pt x="251" y="19"/>
                  <a:pt x="251" y="19"/>
                  <a:pt x="251" y="19"/>
                </a:cubicBezTo>
                <a:cubicBezTo>
                  <a:pt x="255" y="23"/>
                  <a:pt x="255" y="23"/>
                  <a:pt x="255" y="23"/>
                </a:cubicBezTo>
                <a:cubicBezTo>
                  <a:pt x="256" y="23"/>
                  <a:pt x="256" y="23"/>
                  <a:pt x="256" y="23"/>
                </a:cubicBezTo>
                <a:cubicBezTo>
                  <a:pt x="257" y="23"/>
                  <a:pt x="257" y="23"/>
                  <a:pt x="257" y="23"/>
                </a:cubicBezTo>
                <a:cubicBezTo>
                  <a:pt x="257" y="25"/>
                  <a:pt x="257" y="25"/>
                  <a:pt x="257" y="25"/>
                </a:cubicBezTo>
                <a:cubicBezTo>
                  <a:pt x="258" y="25"/>
                  <a:pt x="258" y="25"/>
                  <a:pt x="258" y="25"/>
                </a:cubicBezTo>
                <a:cubicBezTo>
                  <a:pt x="258" y="27"/>
                  <a:pt x="258" y="27"/>
                  <a:pt x="258" y="27"/>
                </a:cubicBezTo>
                <a:cubicBezTo>
                  <a:pt x="258" y="29"/>
                  <a:pt x="258" y="29"/>
                  <a:pt x="258" y="29"/>
                </a:cubicBezTo>
                <a:cubicBezTo>
                  <a:pt x="260" y="31"/>
                  <a:pt x="260" y="31"/>
                  <a:pt x="260" y="31"/>
                </a:cubicBezTo>
                <a:cubicBezTo>
                  <a:pt x="261" y="32"/>
                  <a:pt x="261" y="32"/>
                  <a:pt x="261" y="32"/>
                </a:cubicBezTo>
                <a:cubicBezTo>
                  <a:pt x="261" y="33"/>
                  <a:pt x="261" y="33"/>
                  <a:pt x="261" y="33"/>
                </a:cubicBezTo>
                <a:cubicBezTo>
                  <a:pt x="260" y="33"/>
                  <a:pt x="260" y="33"/>
                  <a:pt x="260" y="33"/>
                </a:cubicBezTo>
                <a:cubicBezTo>
                  <a:pt x="259" y="33"/>
                  <a:pt x="259" y="33"/>
                  <a:pt x="259" y="33"/>
                </a:cubicBezTo>
                <a:cubicBezTo>
                  <a:pt x="258" y="33"/>
                  <a:pt x="258" y="33"/>
                  <a:pt x="258" y="33"/>
                </a:cubicBezTo>
                <a:cubicBezTo>
                  <a:pt x="259" y="34"/>
                  <a:pt x="259" y="34"/>
                  <a:pt x="259" y="34"/>
                </a:cubicBezTo>
                <a:cubicBezTo>
                  <a:pt x="260" y="35"/>
                  <a:pt x="260" y="35"/>
                  <a:pt x="260" y="35"/>
                </a:cubicBezTo>
                <a:cubicBezTo>
                  <a:pt x="262" y="35"/>
                  <a:pt x="262" y="35"/>
                  <a:pt x="262" y="35"/>
                </a:cubicBezTo>
                <a:cubicBezTo>
                  <a:pt x="263" y="37"/>
                  <a:pt x="263" y="37"/>
                  <a:pt x="263" y="37"/>
                </a:cubicBezTo>
                <a:cubicBezTo>
                  <a:pt x="264" y="37"/>
                  <a:pt x="264" y="37"/>
                  <a:pt x="264" y="37"/>
                </a:cubicBezTo>
                <a:cubicBezTo>
                  <a:pt x="266" y="39"/>
                  <a:pt x="266" y="39"/>
                  <a:pt x="266" y="39"/>
                </a:cubicBezTo>
                <a:close/>
                <a:moveTo>
                  <a:pt x="495" y="4"/>
                </a:moveTo>
                <a:cubicBezTo>
                  <a:pt x="496" y="2"/>
                  <a:pt x="496" y="2"/>
                  <a:pt x="496" y="2"/>
                </a:cubicBezTo>
                <a:cubicBezTo>
                  <a:pt x="498" y="0"/>
                  <a:pt x="498" y="0"/>
                  <a:pt x="498" y="0"/>
                </a:cubicBezTo>
                <a:cubicBezTo>
                  <a:pt x="498" y="0"/>
                  <a:pt x="498" y="0"/>
                  <a:pt x="498" y="0"/>
                </a:cubicBezTo>
                <a:cubicBezTo>
                  <a:pt x="498" y="1"/>
                  <a:pt x="498" y="1"/>
                  <a:pt x="498" y="1"/>
                </a:cubicBezTo>
                <a:cubicBezTo>
                  <a:pt x="498" y="2"/>
                  <a:pt x="498" y="2"/>
                  <a:pt x="498" y="2"/>
                </a:cubicBezTo>
                <a:cubicBezTo>
                  <a:pt x="497" y="2"/>
                  <a:pt x="497" y="2"/>
                  <a:pt x="497" y="2"/>
                </a:cubicBezTo>
                <a:cubicBezTo>
                  <a:pt x="497" y="3"/>
                  <a:pt x="497" y="3"/>
                  <a:pt x="497" y="3"/>
                </a:cubicBezTo>
                <a:cubicBezTo>
                  <a:pt x="495" y="4"/>
                  <a:pt x="495" y="4"/>
                  <a:pt x="495" y="4"/>
                </a:cubicBezTo>
                <a:close/>
                <a:moveTo>
                  <a:pt x="509" y="25"/>
                </a:moveTo>
                <a:cubicBezTo>
                  <a:pt x="509" y="28"/>
                  <a:pt x="509" y="28"/>
                  <a:pt x="509" y="28"/>
                </a:cubicBezTo>
                <a:cubicBezTo>
                  <a:pt x="511" y="31"/>
                  <a:pt x="511" y="31"/>
                  <a:pt x="511" y="31"/>
                </a:cubicBezTo>
                <a:cubicBezTo>
                  <a:pt x="512" y="32"/>
                  <a:pt x="512" y="32"/>
                  <a:pt x="512" y="32"/>
                </a:cubicBezTo>
                <a:cubicBezTo>
                  <a:pt x="516" y="33"/>
                  <a:pt x="516" y="33"/>
                  <a:pt x="516" y="33"/>
                </a:cubicBezTo>
                <a:cubicBezTo>
                  <a:pt x="520" y="34"/>
                  <a:pt x="520" y="34"/>
                  <a:pt x="520" y="34"/>
                </a:cubicBezTo>
                <a:cubicBezTo>
                  <a:pt x="522" y="35"/>
                  <a:pt x="522" y="35"/>
                  <a:pt x="522" y="35"/>
                </a:cubicBezTo>
                <a:cubicBezTo>
                  <a:pt x="524" y="35"/>
                  <a:pt x="524" y="35"/>
                  <a:pt x="524" y="35"/>
                </a:cubicBezTo>
                <a:cubicBezTo>
                  <a:pt x="526" y="34"/>
                  <a:pt x="526" y="34"/>
                  <a:pt x="526" y="34"/>
                </a:cubicBezTo>
                <a:cubicBezTo>
                  <a:pt x="527" y="35"/>
                  <a:pt x="527" y="35"/>
                  <a:pt x="527" y="35"/>
                </a:cubicBezTo>
                <a:cubicBezTo>
                  <a:pt x="529" y="34"/>
                  <a:pt x="529" y="34"/>
                  <a:pt x="529" y="34"/>
                </a:cubicBezTo>
                <a:cubicBezTo>
                  <a:pt x="531" y="33"/>
                  <a:pt x="531" y="33"/>
                  <a:pt x="531" y="33"/>
                </a:cubicBezTo>
                <a:cubicBezTo>
                  <a:pt x="532" y="31"/>
                  <a:pt x="532" y="31"/>
                  <a:pt x="532" y="31"/>
                </a:cubicBezTo>
                <a:cubicBezTo>
                  <a:pt x="532" y="30"/>
                  <a:pt x="532" y="30"/>
                  <a:pt x="532" y="30"/>
                </a:cubicBezTo>
                <a:cubicBezTo>
                  <a:pt x="532" y="28"/>
                  <a:pt x="532" y="28"/>
                  <a:pt x="532" y="28"/>
                </a:cubicBezTo>
                <a:cubicBezTo>
                  <a:pt x="531" y="28"/>
                  <a:pt x="531" y="28"/>
                  <a:pt x="531" y="28"/>
                </a:cubicBezTo>
                <a:cubicBezTo>
                  <a:pt x="530" y="28"/>
                  <a:pt x="530" y="28"/>
                  <a:pt x="530" y="28"/>
                </a:cubicBezTo>
                <a:cubicBezTo>
                  <a:pt x="530" y="27"/>
                  <a:pt x="530" y="27"/>
                  <a:pt x="530" y="27"/>
                </a:cubicBezTo>
                <a:cubicBezTo>
                  <a:pt x="530" y="26"/>
                  <a:pt x="530" y="26"/>
                  <a:pt x="530" y="26"/>
                </a:cubicBezTo>
                <a:cubicBezTo>
                  <a:pt x="529" y="25"/>
                  <a:pt x="529" y="25"/>
                  <a:pt x="529" y="25"/>
                </a:cubicBezTo>
                <a:cubicBezTo>
                  <a:pt x="528" y="26"/>
                  <a:pt x="528" y="26"/>
                  <a:pt x="528" y="26"/>
                </a:cubicBezTo>
                <a:cubicBezTo>
                  <a:pt x="526" y="25"/>
                  <a:pt x="526" y="25"/>
                  <a:pt x="526" y="25"/>
                </a:cubicBezTo>
                <a:cubicBezTo>
                  <a:pt x="523" y="26"/>
                  <a:pt x="523" y="26"/>
                  <a:pt x="523" y="26"/>
                </a:cubicBezTo>
                <a:cubicBezTo>
                  <a:pt x="521" y="27"/>
                  <a:pt x="521" y="27"/>
                  <a:pt x="521" y="27"/>
                </a:cubicBezTo>
                <a:cubicBezTo>
                  <a:pt x="520" y="28"/>
                  <a:pt x="520" y="28"/>
                  <a:pt x="520" y="28"/>
                </a:cubicBezTo>
                <a:cubicBezTo>
                  <a:pt x="520" y="27"/>
                  <a:pt x="520" y="27"/>
                  <a:pt x="520" y="27"/>
                </a:cubicBezTo>
                <a:cubicBezTo>
                  <a:pt x="519" y="26"/>
                  <a:pt x="519" y="26"/>
                  <a:pt x="519" y="26"/>
                </a:cubicBezTo>
                <a:cubicBezTo>
                  <a:pt x="518" y="26"/>
                  <a:pt x="518" y="26"/>
                  <a:pt x="518" y="26"/>
                </a:cubicBezTo>
                <a:cubicBezTo>
                  <a:pt x="517" y="26"/>
                  <a:pt x="517" y="26"/>
                  <a:pt x="517" y="26"/>
                </a:cubicBezTo>
                <a:cubicBezTo>
                  <a:pt x="515" y="26"/>
                  <a:pt x="515" y="26"/>
                  <a:pt x="515" y="26"/>
                </a:cubicBezTo>
                <a:cubicBezTo>
                  <a:pt x="514" y="26"/>
                  <a:pt x="514" y="26"/>
                  <a:pt x="514" y="26"/>
                </a:cubicBezTo>
                <a:cubicBezTo>
                  <a:pt x="514" y="27"/>
                  <a:pt x="514" y="27"/>
                  <a:pt x="514" y="27"/>
                </a:cubicBezTo>
                <a:cubicBezTo>
                  <a:pt x="513" y="28"/>
                  <a:pt x="513" y="28"/>
                  <a:pt x="513" y="28"/>
                </a:cubicBezTo>
                <a:cubicBezTo>
                  <a:pt x="511" y="27"/>
                  <a:pt x="511" y="27"/>
                  <a:pt x="511" y="27"/>
                </a:cubicBezTo>
                <a:cubicBezTo>
                  <a:pt x="510" y="27"/>
                  <a:pt x="510" y="27"/>
                  <a:pt x="510" y="27"/>
                </a:cubicBezTo>
                <a:cubicBezTo>
                  <a:pt x="510" y="26"/>
                  <a:pt x="510" y="26"/>
                  <a:pt x="510" y="26"/>
                </a:cubicBezTo>
                <a:cubicBezTo>
                  <a:pt x="509" y="25"/>
                  <a:pt x="509" y="25"/>
                  <a:pt x="509" y="25"/>
                </a:cubicBezTo>
                <a:close/>
                <a:moveTo>
                  <a:pt x="460" y="47"/>
                </a:moveTo>
                <a:cubicBezTo>
                  <a:pt x="459" y="44"/>
                  <a:pt x="459" y="44"/>
                  <a:pt x="459" y="44"/>
                </a:cubicBezTo>
                <a:cubicBezTo>
                  <a:pt x="459" y="42"/>
                  <a:pt x="459" y="42"/>
                  <a:pt x="459" y="42"/>
                </a:cubicBezTo>
                <a:cubicBezTo>
                  <a:pt x="458" y="42"/>
                  <a:pt x="458" y="42"/>
                  <a:pt x="458" y="42"/>
                </a:cubicBezTo>
                <a:cubicBezTo>
                  <a:pt x="455" y="41"/>
                  <a:pt x="455" y="41"/>
                  <a:pt x="455" y="41"/>
                </a:cubicBezTo>
                <a:cubicBezTo>
                  <a:pt x="454" y="40"/>
                  <a:pt x="454" y="40"/>
                  <a:pt x="454" y="40"/>
                </a:cubicBezTo>
                <a:cubicBezTo>
                  <a:pt x="453" y="39"/>
                  <a:pt x="453" y="39"/>
                  <a:pt x="453" y="39"/>
                </a:cubicBezTo>
                <a:cubicBezTo>
                  <a:pt x="453" y="39"/>
                  <a:pt x="453" y="39"/>
                  <a:pt x="453" y="39"/>
                </a:cubicBezTo>
                <a:cubicBezTo>
                  <a:pt x="453" y="40"/>
                  <a:pt x="453" y="40"/>
                  <a:pt x="453" y="40"/>
                </a:cubicBezTo>
                <a:cubicBezTo>
                  <a:pt x="454" y="42"/>
                  <a:pt x="454" y="42"/>
                  <a:pt x="454" y="42"/>
                </a:cubicBezTo>
                <a:cubicBezTo>
                  <a:pt x="456" y="43"/>
                  <a:pt x="456" y="43"/>
                  <a:pt x="456" y="43"/>
                </a:cubicBezTo>
                <a:cubicBezTo>
                  <a:pt x="458" y="46"/>
                  <a:pt x="458" y="46"/>
                  <a:pt x="458" y="46"/>
                </a:cubicBezTo>
                <a:cubicBezTo>
                  <a:pt x="458" y="48"/>
                  <a:pt x="458" y="48"/>
                  <a:pt x="458" y="48"/>
                </a:cubicBezTo>
                <a:cubicBezTo>
                  <a:pt x="460" y="49"/>
                  <a:pt x="460" y="49"/>
                  <a:pt x="460" y="49"/>
                </a:cubicBezTo>
                <a:cubicBezTo>
                  <a:pt x="460" y="48"/>
                  <a:pt x="460" y="48"/>
                  <a:pt x="460" y="48"/>
                </a:cubicBezTo>
                <a:cubicBezTo>
                  <a:pt x="460" y="47"/>
                  <a:pt x="460" y="47"/>
                  <a:pt x="460" y="47"/>
                </a:cubicBezTo>
                <a:close/>
                <a:moveTo>
                  <a:pt x="485" y="50"/>
                </a:moveTo>
                <a:cubicBezTo>
                  <a:pt x="484" y="50"/>
                  <a:pt x="484" y="50"/>
                  <a:pt x="484" y="50"/>
                </a:cubicBezTo>
                <a:cubicBezTo>
                  <a:pt x="483" y="49"/>
                  <a:pt x="483" y="49"/>
                  <a:pt x="483" y="49"/>
                </a:cubicBezTo>
                <a:cubicBezTo>
                  <a:pt x="483" y="48"/>
                  <a:pt x="483" y="48"/>
                  <a:pt x="483" y="48"/>
                </a:cubicBezTo>
                <a:cubicBezTo>
                  <a:pt x="483" y="48"/>
                  <a:pt x="483" y="48"/>
                  <a:pt x="483" y="48"/>
                </a:cubicBezTo>
                <a:cubicBezTo>
                  <a:pt x="484" y="48"/>
                  <a:pt x="484" y="48"/>
                  <a:pt x="484" y="48"/>
                </a:cubicBezTo>
                <a:cubicBezTo>
                  <a:pt x="485" y="49"/>
                  <a:pt x="485" y="49"/>
                  <a:pt x="485" y="49"/>
                </a:cubicBezTo>
                <a:cubicBezTo>
                  <a:pt x="486" y="49"/>
                  <a:pt x="486" y="49"/>
                  <a:pt x="486" y="49"/>
                </a:cubicBezTo>
                <a:cubicBezTo>
                  <a:pt x="486" y="50"/>
                  <a:pt x="486" y="50"/>
                  <a:pt x="486" y="50"/>
                </a:cubicBezTo>
                <a:cubicBezTo>
                  <a:pt x="486" y="51"/>
                  <a:pt x="486" y="51"/>
                  <a:pt x="486" y="51"/>
                </a:cubicBezTo>
                <a:cubicBezTo>
                  <a:pt x="487" y="51"/>
                  <a:pt x="487" y="51"/>
                  <a:pt x="487" y="51"/>
                </a:cubicBezTo>
                <a:cubicBezTo>
                  <a:pt x="488" y="49"/>
                  <a:pt x="488" y="49"/>
                  <a:pt x="488" y="49"/>
                </a:cubicBezTo>
                <a:cubicBezTo>
                  <a:pt x="490" y="47"/>
                  <a:pt x="490" y="47"/>
                  <a:pt x="490" y="47"/>
                </a:cubicBezTo>
                <a:cubicBezTo>
                  <a:pt x="492" y="45"/>
                  <a:pt x="492" y="45"/>
                  <a:pt x="492" y="45"/>
                </a:cubicBezTo>
                <a:cubicBezTo>
                  <a:pt x="493" y="44"/>
                  <a:pt x="493" y="44"/>
                  <a:pt x="493" y="44"/>
                </a:cubicBezTo>
                <a:cubicBezTo>
                  <a:pt x="494" y="43"/>
                  <a:pt x="494" y="43"/>
                  <a:pt x="494" y="43"/>
                </a:cubicBezTo>
                <a:cubicBezTo>
                  <a:pt x="495" y="44"/>
                  <a:pt x="495" y="44"/>
                  <a:pt x="495" y="44"/>
                </a:cubicBezTo>
                <a:cubicBezTo>
                  <a:pt x="494" y="45"/>
                  <a:pt x="494" y="45"/>
                  <a:pt x="494" y="45"/>
                </a:cubicBezTo>
                <a:cubicBezTo>
                  <a:pt x="496" y="45"/>
                  <a:pt x="496" y="45"/>
                  <a:pt x="496" y="45"/>
                </a:cubicBezTo>
                <a:cubicBezTo>
                  <a:pt x="497" y="45"/>
                  <a:pt x="497" y="45"/>
                  <a:pt x="497" y="45"/>
                </a:cubicBezTo>
                <a:cubicBezTo>
                  <a:pt x="498" y="45"/>
                  <a:pt x="498" y="45"/>
                  <a:pt x="498" y="45"/>
                </a:cubicBezTo>
                <a:cubicBezTo>
                  <a:pt x="498" y="44"/>
                  <a:pt x="498" y="44"/>
                  <a:pt x="498" y="44"/>
                </a:cubicBezTo>
                <a:cubicBezTo>
                  <a:pt x="499" y="43"/>
                  <a:pt x="499" y="43"/>
                  <a:pt x="499" y="43"/>
                </a:cubicBezTo>
                <a:cubicBezTo>
                  <a:pt x="500" y="42"/>
                  <a:pt x="500" y="42"/>
                  <a:pt x="500" y="42"/>
                </a:cubicBezTo>
                <a:cubicBezTo>
                  <a:pt x="500" y="41"/>
                  <a:pt x="500" y="41"/>
                  <a:pt x="500" y="41"/>
                </a:cubicBezTo>
                <a:cubicBezTo>
                  <a:pt x="498" y="41"/>
                  <a:pt x="498" y="41"/>
                  <a:pt x="498" y="41"/>
                </a:cubicBezTo>
                <a:cubicBezTo>
                  <a:pt x="496" y="42"/>
                  <a:pt x="496" y="42"/>
                  <a:pt x="496" y="42"/>
                </a:cubicBezTo>
                <a:cubicBezTo>
                  <a:pt x="495" y="41"/>
                  <a:pt x="495" y="41"/>
                  <a:pt x="495" y="41"/>
                </a:cubicBezTo>
                <a:cubicBezTo>
                  <a:pt x="493" y="41"/>
                  <a:pt x="493" y="41"/>
                  <a:pt x="493" y="41"/>
                </a:cubicBezTo>
                <a:cubicBezTo>
                  <a:pt x="492" y="40"/>
                  <a:pt x="492" y="40"/>
                  <a:pt x="492" y="40"/>
                </a:cubicBezTo>
                <a:cubicBezTo>
                  <a:pt x="490" y="40"/>
                  <a:pt x="490" y="40"/>
                  <a:pt x="490" y="40"/>
                </a:cubicBezTo>
                <a:cubicBezTo>
                  <a:pt x="490" y="39"/>
                  <a:pt x="490" y="39"/>
                  <a:pt x="490" y="39"/>
                </a:cubicBezTo>
                <a:cubicBezTo>
                  <a:pt x="488" y="37"/>
                  <a:pt x="488" y="37"/>
                  <a:pt x="488" y="37"/>
                </a:cubicBezTo>
                <a:cubicBezTo>
                  <a:pt x="487" y="36"/>
                  <a:pt x="487" y="36"/>
                  <a:pt x="487" y="36"/>
                </a:cubicBezTo>
                <a:cubicBezTo>
                  <a:pt x="487" y="34"/>
                  <a:pt x="487" y="34"/>
                  <a:pt x="487" y="34"/>
                </a:cubicBezTo>
                <a:cubicBezTo>
                  <a:pt x="486" y="33"/>
                  <a:pt x="486" y="33"/>
                  <a:pt x="486" y="33"/>
                </a:cubicBezTo>
                <a:cubicBezTo>
                  <a:pt x="485" y="32"/>
                  <a:pt x="485" y="32"/>
                  <a:pt x="485" y="32"/>
                </a:cubicBezTo>
                <a:cubicBezTo>
                  <a:pt x="485" y="31"/>
                  <a:pt x="485" y="31"/>
                  <a:pt x="485" y="31"/>
                </a:cubicBezTo>
                <a:cubicBezTo>
                  <a:pt x="484" y="30"/>
                  <a:pt x="484" y="30"/>
                  <a:pt x="484" y="30"/>
                </a:cubicBezTo>
                <a:cubicBezTo>
                  <a:pt x="484" y="30"/>
                  <a:pt x="484" y="30"/>
                  <a:pt x="484" y="30"/>
                </a:cubicBezTo>
                <a:cubicBezTo>
                  <a:pt x="485" y="29"/>
                  <a:pt x="485" y="29"/>
                  <a:pt x="485" y="29"/>
                </a:cubicBezTo>
                <a:cubicBezTo>
                  <a:pt x="484" y="28"/>
                  <a:pt x="484" y="28"/>
                  <a:pt x="484" y="28"/>
                </a:cubicBezTo>
                <a:cubicBezTo>
                  <a:pt x="485" y="28"/>
                  <a:pt x="485" y="28"/>
                  <a:pt x="485" y="28"/>
                </a:cubicBezTo>
                <a:cubicBezTo>
                  <a:pt x="485" y="28"/>
                  <a:pt x="485" y="28"/>
                  <a:pt x="485" y="28"/>
                </a:cubicBezTo>
                <a:cubicBezTo>
                  <a:pt x="485" y="27"/>
                  <a:pt x="485" y="27"/>
                  <a:pt x="485" y="27"/>
                </a:cubicBezTo>
                <a:cubicBezTo>
                  <a:pt x="484" y="26"/>
                  <a:pt x="484" y="26"/>
                  <a:pt x="484" y="26"/>
                </a:cubicBezTo>
                <a:cubicBezTo>
                  <a:pt x="483" y="26"/>
                  <a:pt x="483" y="26"/>
                  <a:pt x="483" y="26"/>
                </a:cubicBezTo>
                <a:cubicBezTo>
                  <a:pt x="481" y="26"/>
                  <a:pt x="481" y="26"/>
                  <a:pt x="481" y="26"/>
                </a:cubicBezTo>
                <a:cubicBezTo>
                  <a:pt x="479" y="25"/>
                  <a:pt x="479" y="25"/>
                  <a:pt x="479" y="25"/>
                </a:cubicBezTo>
                <a:cubicBezTo>
                  <a:pt x="478" y="24"/>
                  <a:pt x="478" y="24"/>
                  <a:pt x="478" y="24"/>
                </a:cubicBezTo>
                <a:cubicBezTo>
                  <a:pt x="477" y="24"/>
                  <a:pt x="477" y="24"/>
                  <a:pt x="477" y="24"/>
                </a:cubicBezTo>
                <a:cubicBezTo>
                  <a:pt x="476" y="24"/>
                  <a:pt x="476" y="24"/>
                  <a:pt x="476" y="24"/>
                </a:cubicBezTo>
                <a:cubicBezTo>
                  <a:pt x="475" y="24"/>
                  <a:pt x="475" y="24"/>
                  <a:pt x="475" y="24"/>
                </a:cubicBezTo>
                <a:cubicBezTo>
                  <a:pt x="477" y="26"/>
                  <a:pt x="477" y="26"/>
                  <a:pt x="477" y="26"/>
                </a:cubicBezTo>
                <a:cubicBezTo>
                  <a:pt x="478" y="26"/>
                  <a:pt x="478" y="26"/>
                  <a:pt x="478" y="26"/>
                </a:cubicBezTo>
                <a:cubicBezTo>
                  <a:pt x="479" y="27"/>
                  <a:pt x="479" y="27"/>
                  <a:pt x="479" y="27"/>
                </a:cubicBezTo>
                <a:cubicBezTo>
                  <a:pt x="477" y="27"/>
                  <a:pt x="477" y="27"/>
                  <a:pt x="477" y="27"/>
                </a:cubicBezTo>
                <a:cubicBezTo>
                  <a:pt x="477" y="27"/>
                  <a:pt x="477" y="27"/>
                  <a:pt x="477" y="27"/>
                </a:cubicBezTo>
                <a:cubicBezTo>
                  <a:pt x="476" y="27"/>
                  <a:pt x="476" y="27"/>
                  <a:pt x="476" y="27"/>
                </a:cubicBezTo>
                <a:cubicBezTo>
                  <a:pt x="475" y="27"/>
                  <a:pt x="475" y="27"/>
                  <a:pt x="475" y="27"/>
                </a:cubicBezTo>
                <a:cubicBezTo>
                  <a:pt x="475" y="29"/>
                  <a:pt x="475" y="29"/>
                  <a:pt x="475" y="29"/>
                </a:cubicBezTo>
                <a:cubicBezTo>
                  <a:pt x="476" y="30"/>
                  <a:pt x="476" y="30"/>
                  <a:pt x="476" y="30"/>
                </a:cubicBezTo>
                <a:cubicBezTo>
                  <a:pt x="477" y="32"/>
                  <a:pt x="477" y="32"/>
                  <a:pt x="477" y="32"/>
                </a:cubicBezTo>
                <a:cubicBezTo>
                  <a:pt x="478" y="34"/>
                  <a:pt x="478" y="34"/>
                  <a:pt x="478" y="34"/>
                </a:cubicBezTo>
                <a:cubicBezTo>
                  <a:pt x="479" y="35"/>
                  <a:pt x="479" y="35"/>
                  <a:pt x="479" y="35"/>
                </a:cubicBezTo>
                <a:cubicBezTo>
                  <a:pt x="478" y="35"/>
                  <a:pt x="478" y="35"/>
                  <a:pt x="478" y="35"/>
                </a:cubicBezTo>
                <a:cubicBezTo>
                  <a:pt x="477" y="35"/>
                  <a:pt x="477" y="35"/>
                  <a:pt x="477" y="35"/>
                </a:cubicBezTo>
                <a:cubicBezTo>
                  <a:pt x="475" y="34"/>
                  <a:pt x="475" y="34"/>
                  <a:pt x="475" y="34"/>
                </a:cubicBezTo>
                <a:cubicBezTo>
                  <a:pt x="475" y="32"/>
                  <a:pt x="475" y="32"/>
                  <a:pt x="475" y="32"/>
                </a:cubicBezTo>
                <a:cubicBezTo>
                  <a:pt x="474" y="32"/>
                  <a:pt x="474" y="32"/>
                  <a:pt x="474" y="32"/>
                </a:cubicBezTo>
                <a:cubicBezTo>
                  <a:pt x="473" y="32"/>
                  <a:pt x="473" y="32"/>
                  <a:pt x="473" y="32"/>
                </a:cubicBezTo>
                <a:cubicBezTo>
                  <a:pt x="472" y="32"/>
                  <a:pt x="472" y="32"/>
                  <a:pt x="472" y="32"/>
                </a:cubicBezTo>
                <a:cubicBezTo>
                  <a:pt x="471" y="32"/>
                  <a:pt x="471" y="32"/>
                  <a:pt x="471" y="32"/>
                </a:cubicBezTo>
                <a:cubicBezTo>
                  <a:pt x="470" y="32"/>
                  <a:pt x="470" y="32"/>
                  <a:pt x="470" y="32"/>
                </a:cubicBezTo>
                <a:cubicBezTo>
                  <a:pt x="470" y="30"/>
                  <a:pt x="470" y="30"/>
                  <a:pt x="470" y="30"/>
                </a:cubicBezTo>
                <a:cubicBezTo>
                  <a:pt x="470" y="29"/>
                  <a:pt x="470" y="29"/>
                  <a:pt x="470" y="29"/>
                </a:cubicBezTo>
                <a:cubicBezTo>
                  <a:pt x="469" y="29"/>
                  <a:pt x="469" y="29"/>
                  <a:pt x="469" y="29"/>
                </a:cubicBezTo>
                <a:cubicBezTo>
                  <a:pt x="467" y="28"/>
                  <a:pt x="467" y="28"/>
                  <a:pt x="467" y="28"/>
                </a:cubicBezTo>
                <a:cubicBezTo>
                  <a:pt x="465" y="28"/>
                  <a:pt x="465" y="28"/>
                  <a:pt x="465" y="28"/>
                </a:cubicBezTo>
                <a:cubicBezTo>
                  <a:pt x="465" y="27"/>
                  <a:pt x="465" y="27"/>
                  <a:pt x="465" y="27"/>
                </a:cubicBezTo>
                <a:cubicBezTo>
                  <a:pt x="464" y="26"/>
                  <a:pt x="464" y="26"/>
                  <a:pt x="464" y="26"/>
                </a:cubicBezTo>
                <a:cubicBezTo>
                  <a:pt x="463" y="27"/>
                  <a:pt x="463" y="27"/>
                  <a:pt x="463" y="27"/>
                </a:cubicBezTo>
                <a:cubicBezTo>
                  <a:pt x="462" y="28"/>
                  <a:pt x="462" y="28"/>
                  <a:pt x="462" y="28"/>
                </a:cubicBezTo>
                <a:cubicBezTo>
                  <a:pt x="462" y="29"/>
                  <a:pt x="462" y="29"/>
                  <a:pt x="462" y="29"/>
                </a:cubicBezTo>
                <a:cubicBezTo>
                  <a:pt x="461" y="30"/>
                  <a:pt x="461" y="30"/>
                  <a:pt x="461" y="30"/>
                </a:cubicBezTo>
                <a:cubicBezTo>
                  <a:pt x="462" y="31"/>
                  <a:pt x="462" y="31"/>
                  <a:pt x="462" y="31"/>
                </a:cubicBezTo>
                <a:cubicBezTo>
                  <a:pt x="461" y="33"/>
                  <a:pt x="461" y="33"/>
                  <a:pt x="461" y="33"/>
                </a:cubicBezTo>
                <a:cubicBezTo>
                  <a:pt x="460" y="34"/>
                  <a:pt x="460" y="34"/>
                  <a:pt x="460" y="34"/>
                </a:cubicBezTo>
                <a:cubicBezTo>
                  <a:pt x="460" y="35"/>
                  <a:pt x="460" y="35"/>
                  <a:pt x="460" y="35"/>
                </a:cubicBezTo>
                <a:cubicBezTo>
                  <a:pt x="461" y="37"/>
                  <a:pt x="461" y="37"/>
                  <a:pt x="461" y="37"/>
                </a:cubicBezTo>
                <a:cubicBezTo>
                  <a:pt x="462" y="37"/>
                  <a:pt x="462" y="37"/>
                  <a:pt x="462" y="37"/>
                </a:cubicBezTo>
                <a:cubicBezTo>
                  <a:pt x="463" y="38"/>
                  <a:pt x="463" y="38"/>
                  <a:pt x="463" y="38"/>
                </a:cubicBezTo>
                <a:cubicBezTo>
                  <a:pt x="462" y="38"/>
                  <a:pt x="462" y="38"/>
                  <a:pt x="462" y="38"/>
                </a:cubicBezTo>
                <a:cubicBezTo>
                  <a:pt x="461" y="38"/>
                  <a:pt x="461" y="38"/>
                  <a:pt x="461" y="38"/>
                </a:cubicBezTo>
                <a:cubicBezTo>
                  <a:pt x="462" y="40"/>
                  <a:pt x="462" y="40"/>
                  <a:pt x="462" y="40"/>
                </a:cubicBezTo>
                <a:cubicBezTo>
                  <a:pt x="463" y="40"/>
                  <a:pt x="463" y="40"/>
                  <a:pt x="463" y="40"/>
                </a:cubicBezTo>
                <a:cubicBezTo>
                  <a:pt x="463" y="41"/>
                  <a:pt x="463" y="41"/>
                  <a:pt x="463" y="41"/>
                </a:cubicBezTo>
                <a:cubicBezTo>
                  <a:pt x="463" y="42"/>
                  <a:pt x="463" y="42"/>
                  <a:pt x="463" y="42"/>
                </a:cubicBezTo>
                <a:cubicBezTo>
                  <a:pt x="464" y="43"/>
                  <a:pt x="464" y="43"/>
                  <a:pt x="464" y="43"/>
                </a:cubicBezTo>
                <a:cubicBezTo>
                  <a:pt x="465" y="43"/>
                  <a:pt x="465" y="43"/>
                  <a:pt x="465" y="43"/>
                </a:cubicBezTo>
                <a:cubicBezTo>
                  <a:pt x="466" y="44"/>
                  <a:pt x="466" y="44"/>
                  <a:pt x="466" y="44"/>
                </a:cubicBezTo>
                <a:cubicBezTo>
                  <a:pt x="466" y="44"/>
                  <a:pt x="466" y="44"/>
                  <a:pt x="466" y="44"/>
                </a:cubicBezTo>
                <a:cubicBezTo>
                  <a:pt x="466" y="45"/>
                  <a:pt x="466" y="45"/>
                  <a:pt x="466" y="45"/>
                </a:cubicBezTo>
                <a:cubicBezTo>
                  <a:pt x="467" y="45"/>
                  <a:pt x="467" y="45"/>
                  <a:pt x="467" y="45"/>
                </a:cubicBezTo>
                <a:cubicBezTo>
                  <a:pt x="468" y="45"/>
                  <a:pt x="468" y="45"/>
                  <a:pt x="468" y="45"/>
                </a:cubicBezTo>
                <a:cubicBezTo>
                  <a:pt x="468" y="45"/>
                  <a:pt x="468" y="45"/>
                  <a:pt x="468" y="45"/>
                </a:cubicBezTo>
                <a:cubicBezTo>
                  <a:pt x="467" y="46"/>
                  <a:pt x="467" y="46"/>
                  <a:pt x="467" y="46"/>
                </a:cubicBezTo>
                <a:cubicBezTo>
                  <a:pt x="467" y="46"/>
                  <a:pt x="467" y="46"/>
                  <a:pt x="467" y="46"/>
                </a:cubicBezTo>
                <a:cubicBezTo>
                  <a:pt x="466" y="46"/>
                  <a:pt x="466" y="46"/>
                  <a:pt x="466" y="46"/>
                </a:cubicBezTo>
                <a:cubicBezTo>
                  <a:pt x="466" y="46"/>
                  <a:pt x="466" y="46"/>
                  <a:pt x="466" y="46"/>
                </a:cubicBezTo>
                <a:cubicBezTo>
                  <a:pt x="466" y="48"/>
                  <a:pt x="466" y="48"/>
                  <a:pt x="466" y="48"/>
                </a:cubicBezTo>
                <a:cubicBezTo>
                  <a:pt x="470" y="50"/>
                  <a:pt x="470" y="50"/>
                  <a:pt x="470" y="50"/>
                </a:cubicBezTo>
                <a:cubicBezTo>
                  <a:pt x="472" y="51"/>
                  <a:pt x="472" y="51"/>
                  <a:pt x="472" y="51"/>
                </a:cubicBezTo>
                <a:cubicBezTo>
                  <a:pt x="474" y="51"/>
                  <a:pt x="474" y="51"/>
                  <a:pt x="474" y="51"/>
                </a:cubicBezTo>
                <a:cubicBezTo>
                  <a:pt x="475" y="52"/>
                  <a:pt x="475" y="52"/>
                  <a:pt x="475" y="52"/>
                </a:cubicBezTo>
                <a:cubicBezTo>
                  <a:pt x="476" y="52"/>
                  <a:pt x="476" y="52"/>
                  <a:pt x="476" y="52"/>
                </a:cubicBezTo>
                <a:cubicBezTo>
                  <a:pt x="476" y="54"/>
                  <a:pt x="476" y="54"/>
                  <a:pt x="476" y="54"/>
                </a:cubicBezTo>
                <a:cubicBezTo>
                  <a:pt x="477" y="55"/>
                  <a:pt x="477" y="55"/>
                  <a:pt x="477" y="55"/>
                </a:cubicBezTo>
                <a:cubicBezTo>
                  <a:pt x="479" y="55"/>
                  <a:pt x="479" y="55"/>
                  <a:pt x="479" y="55"/>
                </a:cubicBezTo>
                <a:cubicBezTo>
                  <a:pt x="481" y="54"/>
                  <a:pt x="481" y="54"/>
                  <a:pt x="481" y="54"/>
                </a:cubicBezTo>
                <a:cubicBezTo>
                  <a:pt x="483" y="54"/>
                  <a:pt x="483" y="54"/>
                  <a:pt x="483" y="54"/>
                </a:cubicBezTo>
                <a:cubicBezTo>
                  <a:pt x="484" y="55"/>
                  <a:pt x="484" y="55"/>
                  <a:pt x="484" y="55"/>
                </a:cubicBezTo>
                <a:cubicBezTo>
                  <a:pt x="485" y="55"/>
                  <a:pt x="485" y="55"/>
                  <a:pt x="485" y="55"/>
                </a:cubicBezTo>
                <a:cubicBezTo>
                  <a:pt x="486" y="53"/>
                  <a:pt x="486" y="53"/>
                  <a:pt x="486" y="53"/>
                </a:cubicBezTo>
                <a:cubicBezTo>
                  <a:pt x="486" y="52"/>
                  <a:pt x="486" y="52"/>
                  <a:pt x="486" y="52"/>
                </a:cubicBezTo>
                <a:cubicBezTo>
                  <a:pt x="485" y="51"/>
                  <a:pt x="485" y="51"/>
                  <a:pt x="485" y="51"/>
                </a:cubicBezTo>
                <a:cubicBezTo>
                  <a:pt x="485" y="50"/>
                  <a:pt x="485" y="50"/>
                  <a:pt x="485" y="50"/>
                </a:cubicBezTo>
                <a:close/>
                <a:moveTo>
                  <a:pt x="485" y="25"/>
                </a:moveTo>
                <a:cubicBezTo>
                  <a:pt x="487" y="25"/>
                  <a:pt x="487" y="25"/>
                  <a:pt x="487" y="25"/>
                </a:cubicBezTo>
                <a:cubicBezTo>
                  <a:pt x="489" y="25"/>
                  <a:pt x="489" y="25"/>
                  <a:pt x="489" y="25"/>
                </a:cubicBezTo>
                <a:cubicBezTo>
                  <a:pt x="491" y="25"/>
                  <a:pt x="491" y="25"/>
                  <a:pt x="491" y="25"/>
                </a:cubicBezTo>
                <a:cubicBezTo>
                  <a:pt x="494" y="27"/>
                  <a:pt x="494" y="27"/>
                  <a:pt x="494" y="27"/>
                </a:cubicBezTo>
                <a:cubicBezTo>
                  <a:pt x="495" y="27"/>
                  <a:pt x="495" y="27"/>
                  <a:pt x="495" y="27"/>
                </a:cubicBezTo>
                <a:cubicBezTo>
                  <a:pt x="496" y="27"/>
                  <a:pt x="496" y="27"/>
                  <a:pt x="496" y="27"/>
                </a:cubicBezTo>
                <a:cubicBezTo>
                  <a:pt x="499" y="27"/>
                  <a:pt x="499" y="27"/>
                  <a:pt x="499" y="27"/>
                </a:cubicBezTo>
                <a:cubicBezTo>
                  <a:pt x="502" y="28"/>
                  <a:pt x="502" y="28"/>
                  <a:pt x="502" y="28"/>
                </a:cubicBezTo>
                <a:cubicBezTo>
                  <a:pt x="502" y="29"/>
                  <a:pt x="502" y="29"/>
                  <a:pt x="502" y="29"/>
                </a:cubicBezTo>
                <a:cubicBezTo>
                  <a:pt x="501" y="29"/>
                  <a:pt x="501" y="29"/>
                  <a:pt x="501" y="29"/>
                </a:cubicBezTo>
                <a:cubicBezTo>
                  <a:pt x="500" y="30"/>
                  <a:pt x="500" y="30"/>
                  <a:pt x="500" y="30"/>
                </a:cubicBezTo>
                <a:cubicBezTo>
                  <a:pt x="500" y="31"/>
                  <a:pt x="500" y="31"/>
                  <a:pt x="500" y="31"/>
                </a:cubicBezTo>
                <a:cubicBezTo>
                  <a:pt x="501" y="33"/>
                  <a:pt x="501" y="33"/>
                  <a:pt x="501" y="33"/>
                </a:cubicBezTo>
                <a:cubicBezTo>
                  <a:pt x="503" y="33"/>
                  <a:pt x="503" y="33"/>
                  <a:pt x="503" y="33"/>
                </a:cubicBezTo>
                <a:cubicBezTo>
                  <a:pt x="503" y="35"/>
                  <a:pt x="503" y="35"/>
                  <a:pt x="503" y="35"/>
                </a:cubicBezTo>
                <a:cubicBezTo>
                  <a:pt x="503" y="36"/>
                  <a:pt x="503" y="36"/>
                  <a:pt x="503" y="36"/>
                </a:cubicBezTo>
                <a:cubicBezTo>
                  <a:pt x="503" y="37"/>
                  <a:pt x="503" y="37"/>
                  <a:pt x="503" y="37"/>
                </a:cubicBezTo>
                <a:cubicBezTo>
                  <a:pt x="502" y="39"/>
                  <a:pt x="502" y="39"/>
                  <a:pt x="502" y="39"/>
                </a:cubicBezTo>
                <a:cubicBezTo>
                  <a:pt x="501" y="40"/>
                  <a:pt x="501" y="40"/>
                  <a:pt x="501" y="40"/>
                </a:cubicBezTo>
                <a:cubicBezTo>
                  <a:pt x="501" y="40"/>
                  <a:pt x="501" y="40"/>
                  <a:pt x="501" y="40"/>
                </a:cubicBezTo>
                <a:cubicBezTo>
                  <a:pt x="500" y="39"/>
                  <a:pt x="500" y="39"/>
                  <a:pt x="500" y="39"/>
                </a:cubicBezTo>
                <a:cubicBezTo>
                  <a:pt x="499" y="40"/>
                  <a:pt x="499" y="40"/>
                  <a:pt x="499" y="40"/>
                </a:cubicBezTo>
                <a:cubicBezTo>
                  <a:pt x="498" y="41"/>
                  <a:pt x="498" y="41"/>
                  <a:pt x="498" y="41"/>
                </a:cubicBezTo>
                <a:cubicBezTo>
                  <a:pt x="496" y="41"/>
                  <a:pt x="496" y="41"/>
                  <a:pt x="496" y="41"/>
                </a:cubicBezTo>
                <a:cubicBezTo>
                  <a:pt x="493" y="39"/>
                  <a:pt x="493" y="39"/>
                  <a:pt x="493" y="39"/>
                </a:cubicBezTo>
                <a:cubicBezTo>
                  <a:pt x="492" y="38"/>
                  <a:pt x="492" y="38"/>
                  <a:pt x="492" y="38"/>
                </a:cubicBezTo>
                <a:cubicBezTo>
                  <a:pt x="489" y="36"/>
                  <a:pt x="489" y="36"/>
                  <a:pt x="489" y="36"/>
                </a:cubicBezTo>
                <a:cubicBezTo>
                  <a:pt x="489" y="34"/>
                  <a:pt x="489" y="34"/>
                  <a:pt x="489" y="34"/>
                </a:cubicBezTo>
                <a:cubicBezTo>
                  <a:pt x="489" y="33"/>
                  <a:pt x="489" y="33"/>
                  <a:pt x="489" y="33"/>
                </a:cubicBezTo>
                <a:cubicBezTo>
                  <a:pt x="489" y="32"/>
                  <a:pt x="489" y="32"/>
                  <a:pt x="489" y="32"/>
                </a:cubicBezTo>
                <a:cubicBezTo>
                  <a:pt x="490" y="31"/>
                  <a:pt x="490" y="31"/>
                  <a:pt x="490" y="31"/>
                </a:cubicBezTo>
                <a:cubicBezTo>
                  <a:pt x="489" y="30"/>
                  <a:pt x="489" y="30"/>
                  <a:pt x="489" y="30"/>
                </a:cubicBezTo>
                <a:cubicBezTo>
                  <a:pt x="488" y="29"/>
                  <a:pt x="488" y="29"/>
                  <a:pt x="488" y="29"/>
                </a:cubicBezTo>
                <a:cubicBezTo>
                  <a:pt x="488" y="28"/>
                  <a:pt x="488" y="28"/>
                  <a:pt x="488" y="28"/>
                </a:cubicBezTo>
                <a:cubicBezTo>
                  <a:pt x="487" y="28"/>
                  <a:pt x="487" y="28"/>
                  <a:pt x="487" y="28"/>
                </a:cubicBezTo>
                <a:cubicBezTo>
                  <a:pt x="486" y="27"/>
                  <a:pt x="486" y="27"/>
                  <a:pt x="486" y="27"/>
                </a:cubicBezTo>
                <a:cubicBezTo>
                  <a:pt x="485" y="25"/>
                  <a:pt x="485" y="25"/>
                  <a:pt x="485" y="25"/>
                </a:cubicBezTo>
                <a:close/>
                <a:moveTo>
                  <a:pt x="277" y="58"/>
                </a:moveTo>
                <a:cubicBezTo>
                  <a:pt x="276" y="58"/>
                  <a:pt x="278" y="57"/>
                  <a:pt x="278" y="57"/>
                </a:cubicBezTo>
                <a:cubicBezTo>
                  <a:pt x="279" y="56"/>
                  <a:pt x="279" y="56"/>
                  <a:pt x="279" y="56"/>
                </a:cubicBezTo>
                <a:cubicBezTo>
                  <a:pt x="280" y="54"/>
                  <a:pt x="280" y="54"/>
                  <a:pt x="280" y="54"/>
                </a:cubicBezTo>
                <a:cubicBezTo>
                  <a:pt x="281" y="53"/>
                  <a:pt x="281" y="53"/>
                  <a:pt x="281" y="53"/>
                </a:cubicBezTo>
                <a:cubicBezTo>
                  <a:pt x="281" y="52"/>
                  <a:pt x="281" y="52"/>
                  <a:pt x="281" y="52"/>
                </a:cubicBezTo>
                <a:cubicBezTo>
                  <a:pt x="281" y="51"/>
                  <a:pt x="281" y="51"/>
                  <a:pt x="281" y="51"/>
                </a:cubicBezTo>
                <a:cubicBezTo>
                  <a:pt x="284" y="50"/>
                  <a:pt x="284" y="50"/>
                  <a:pt x="284" y="50"/>
                </a:cubicBezTo>
                <a:cubicBezTo>
                  <a:pt x="285" y="49"/>
                  <a:pt x="285" y="49"/>
                  <a:pt x="285" y="49"/>
                </a:cubicBezTo>
                <a:cubicBezTo>
                  <a:pt x="286" y="50"/>
                  <a:pt x="286" y="50"/>
                  <a:pt x="286" y="50"/>
                </a:cubicBezTo>
                <a:cubicBezTo>
                  <a:pt x="287" y="50"/>
                  <a:pt x="287" y="50"/>
                  <a:pt x="287" y="50"/>
                </a:cubicBezTo>
                <a:cubicBezTo>
                  <a:pt x="287" y="49"/>
                  <a:pt x="287" y="49"/>
                  <a:pt x="287" y="49"/>
                </a:cubicBezTo>
                <a:cubicBezTo>
                  <a:pt x="288" y="48"/>
                  <a:pt x="288" y="48"/>
                  <a:pt x="288" y="48"/>
                </a:cubicBezTo>
                <a:cubicBezTo>
                  <a:pt x="289" y="47"/>
                  <a:pt x="289" y="47"/>
                  <a:pt x="289" y="47"/>
                </a:cubicBezTo>
                <a:cubicBezTo>
                  <a:pt x="291" y="46"/>
                  <a:pt x="291" y="46"/>
                  <a:pt x="291" y="46"/>
                </a:cubicBezTo>
                <a:cubicBezTo>
                  <a:pt x="292" y="45"/>
                  <a:pt x="292" y="45"/>
                  <a:pt x="292" y="45"/>
                </a:cubicBezTo>
                <a:cubicBezTo>
                  <a:pt x="293" y="44"/>
                  <a:pt x="293" y="44"/>
                  <a:pt x="293" y="44"/>
                </a:cubicBezTo>
                <a:cubicBezTo>
                  <a:pt x="294" y="42"/>
                  <a:pt x="294" y="42"/>
                  <a:pt x="294" y="42"/>
                </a:cubicBezTo>
                <a:cubicBezTo>
                  <a:pt x="293" y="40"/>
                  <a:pt x="293" y="40"/>
                  <a:pt x="293" y="40"/>
                </a:cubicBezTo>
                <a:cubicBezTo>
                  <a:pt x="292" y="38"/>
                  <a:pt x="292" y="38"/>
                  <a:pt x="292" y="38"/>
                </a:cubicBezTo>
                <a:cubicBezTo>
                  <a:pt x="291" y="37"/>
                  <a:pt x="291" y="37"/>
                  <a:pt x="291" y="37"/>
                </a:cubicBezTo>
                <a:cubicBezTo>
                  <a:pt x="291" y="36"/>
                  <a:pt x="291" y="36"/>
                  <a:pt x="291" y="36"/>
                </a:cubicBezTo>
                <a:cubicBezTo>
                  <a:pt x="289" y="34"/>
                  <a:pt x="289" y="34"/>
                  <a:pt x="289" y="34"/>
                </a:cubicBezTo>
                <a:cubicBezTo>
                  <a:pt x="288" y="34"/>
                  <a:pt x="288" y="34"/>
                  <a:pt x="288" y="34"/>
                </a:cubicBezTo>
                <a:cubicBezTo>
                  <a:pt x="287" y="35"/>
                  <a:pt x="287" y="35"/>
                  <a:pt x="287" y="35"/>
                </a:cubicBezTo>
                <a:cubicBezTo>
                  <a:pt x="286" y="34"/>
                  <a:pt x="286" y="34"/>
                  <a:pt x="286" y="34"/>
                </a:cubicBezTo>
                <a:cubicBezTo>
                  <a:pt x="285" y="33"/>
                  <a:pt x="285" y="33"/>
                  <a:pt x="285" y="33"/>
                </a:cubicBezTo>
                <a:cubicBezTo>
                  <a:pt x="283" y="32"/>
                  <a:pt x="283" y="32"/>
                  <a:pt x="283" y="32"/>
                </a:cubicBezTo>
                <a:cubicBezTo>
                  <a:pt x="282" y="32"/>
                  <a:pt x="282" y="32"/>
                  <a:pt x="282" y="32"/>
                </a:cubicBezTo>
                <a:cubicBezTo>
                  <a:pt x="282" y="32"/>
                  <a:pt x="282" y="32"/>
                  <a:pt x="282" y="32"/>
                </a:cubicBezTo>
                <a:cubicBezTo>
                  <a:pt x="281" y="32"/>
                  <a:pt x="281" y="32"/>
                  <a:pt x="281" y="32"/>
                </a:cubicBezTo>
                <a:cubicBezTo>
                  <a:pt x="281" y="31"/>
                  <a:pt x="281" y="31"/>
                  <a:pt x="281" y="31"/>
                </a:cubicBezTo>
                <a:cubicBezTo>
                  <a:pt x="280" y="30"/>
                  <a:pt x="280" y="30"/>
                  <a:pt x="280" y="30"/>
                </a:cubicBezTo>
                <a:cubicBezTo>
                  <a:pt x="279" y="30"/>
                  <a:pt x="279" y="30"/>
                  <a:pt x="279" y="30"/>
                </a:cubicBezTo>
                <a:cubicBezTo>
                  <a:pt x="279" y="31"/>
                  <a:pt x="279" y="31"/>
                  <a:pt x="279" y="31"/>
                </a:cubicBezTo>
                <a:cubicBezTo>
                  <a:pt x="278" y="31"/>
                  <a:pt x="278" y="31"/>
                  <a:pt x="278" y="31"/>
                </a:cubicBezTo>
                <a:cubicBezTo>
                  <a:pt x="277" y="29"/>
                  <a:pt x="277" y="29"/>
                  <a:pt x="277" y="29"/>
                </a:cubicBezTo>
                <a:cubicBezTo>
                  <a:pt x="276" y="29"/>
                  <a:pt x="276" y="29"/>
                  <a:pt x="276" y="29"/>
                </a:cubicBezTo>
                <a:cubicBezTo>
                  <a:pt x="276" y="30"/>
                  <a:pt x="276" y="30"/>
                  <a:pt x="276" y="30"/>
                </a:cubicBezTo>
                <a:cubicBezTo>
                  <a:pt x="277" y="31"/>
                  <a:pt x="277" y="31"/>
                  <a:pt x="277" y="31"/>
                </a:cubicBezTo>
                <a:cubicBezTo>
                  <a:pt x="277" y="31"/>
                  <a:pt x="277" y="31"/>
                  <a:pt x="277" y="31"/>
                </a:cubicBezTo>
                <a:cubicBezTo>
                  <a:pt x="276" y="32"/>
                  <a:pt x="276" y="32"/>
                  <a:pt x="276" y="32"/>
                </a:cubicBezTo>
                <a:cubicBezTo>
                  <a:pt x="276" y="33"/>
                  <a:pt x="276" y="33"/>
                  <a:pt x="276" y="33"/>
                </a:cubicBezTo>
                <a:cubicBezTo>
                  <a:pt x="276" y="33"/>
                  <a:pt x="276" y="33"/>
                  <a:pt x="276" y="33"/>
                </a:cubicBezTo>
                <a:cubicBezTo>
                  <a:pt x="275" y="32"/>
                  <a:pt x="275" y="32"/>
                  <a:pt x="275" y="32"/>
                </a:cubicBezTo>
                <a:cubicBezTo>
                  <a:pt x="275" y="28"/>
                  <a:pt x="275" y="28"/>
                  <a:pt x="275" y="28"/>
                </a:cubicBezTo>
                <a:cubicBezTo>
                  <a:pt x="274" y="28"/>
                  <a:pt x="274" y="28"/>
                  <a:pt x="274" y="28"/>
                </a:cubicBezTo>
                <a:cubicBezTo>
                  <a:pt x="273" y="27"/>
                  <a:pt x="273" y="27"/>
                  <a:pt x="273" y="27"/>
                </a:cubicBezTo>
                <a:cubicBezTo>
                  <a:pt x="271" y="27"/>
                  <a:pt x="271" y="27"/>
                  <a:pt x="271" y="27"/>
                </a:cubicBezTo>
                <a:cubicBezTo>
                  <a:pt x="270" y="27"/>
                  <a:pt x="270" y="27"/>
                  <a:pt x="270" y="27"/>
                </a:cubicBezTo>
                <a:cubicBezTo>
                  <a:pt x="269" y="28"/>
                  <a:pt x="269" y="28"/>
                  <a:pt x="269" y="28"/>
                </a:cubicBezTo>
                <a:cubicBezTo>
                  <a:pt x="270" y="29"/>
                  <a:pt x="270" y="29"/>
                  <a:pt x="270" y="29"/>
                </a:cubicBezTo>
                <a:cubicBezTo>
                  <a:pt x="271" y="30"/>
                  <a:pt x="271" y="30"/>
                  <a:pt x="271" y="30"/>
                </a:cubicBezTo>
                <a:cubicBezTo>
                  <a:pt x="272" y="31"/>
                  <a:pt x="272" y="31"/>
                  <a:pt x="272" y="31"/>
                </a:cubicBezTo>
                <a:cubicBezTo>
                  <a:pt x="271" y="31"/>
                  <a:pt x="271" y="31"/>
                  <a:pt x="271" y="31"/>
                </a:cubicBezTo>
                <a:cubicBezTo>
                  <a:pt x="270" y="31"/>
                  <a:pt x="270" y="31"/>
                  <a:pt x="270" y="31"/>
                </a:cubicBezTo>
                <a:cubicBezTo>
                  <a:pt x="270" y="30"/>
                  <a:pt x="270" y="30"/>
                  <a:pt x="270" y="30"/>
                </a:cubicBezTo>
                <a:cubicBezTo>
                  <a:pt x="269" y="30"/>
                  <a:pt x="269" y="30"/>
                  <a:pt x="269" y="30"/>
                </a:cubicBezTo>
                <a:cubicBezTo>
                  <a:pt x="268" y="30"/>
                  <a:pt x="268" y="30"/>
                  <a:pt x="268" y="30"/>
                </a:cubicBezTo>
                <a:cubicBezTo>
                  <a:pt x="269" y="31"/>
                  <a:pt x="269" y="31"/>
                  <a:pt x="269" y="31"/>
                </a:cubicBezTo>
                <a:cubicBezTo>
                  <a:pt x="269" y="32"/>
                  <a:pt x="269" y="32"/>
                  <a:pt x="269" y="32"/>
                </a:cubicBezTo>
                <a:cubicBezTo>
                  <a:pt x="269" y="32"/>
                  <a:pt x="269" y="32"/>
                  <a:pt x="269" y="32"/>
                </a:cubicBezTo>
                <a:cubicBezTo>
                  <a:pt x="269" y="34"/>
                  <a:pt x="269" y="34"/>
                  <a:pt x="269" y="34"/>
                </a:cubicBezTo>
                <a:cubicBezTo>
                  <a:pt x="269" y="34"/>
                  <a:pt x="269" y="34"/>
                  <a:pt x="269" y="34"/>
                </a:cubicBezTo>
                <a:cubicBezTo>
                  <a:pt x="270" y="34"/>
                  <a:pt x="270" y="34"/>
                  <a:pt x="270" y="34"/>
                </a:cubicBezTo>
                <a:cubicBezTo>
                  <a:pt x="271" y="35"/>
                  <a:pt x="271" y="35"/>
                  <a:pt x="271" y="35"/>
                </a:cubicBezTo>
                <a:cubicBezTo>
                  <a:pt x="271" y="36"/>
                  <a:pt x="271" y="36"/>
                  <a:pt x="271" y="36"/>
                </a:cubicBezTo>
                <a:cubicBezTo>
                  <a:pt x="272" y="39"/>
                  <a:pt x="272" y="39"/>
                  <a:pt x="272" y="39"/>
                </a:cubicBezTo>
                <a:cubicBezTo>
                  <a:pt x="273" y="40"/>
                  <a:pt x="273" y="40"/>
                  <a:pt x="273" y="40"/>
                </a:cubicBezTo>
                <a:cubicBezTo>
                  <a:pt x="274" y="40"/>
                  <a:pt x="274" y="40"/>
                  <a:pt x="274" y="40"/>
                </a:cubicBezTo>
                <a:cubicBezTo>
                  <a:pt x="273" y="41"/>
                  <a:pt x="273" y="41"/>
                  <a:pt x="273" y="41"/>
                </a:cubicBezTo>
                <a:cubicBezTo>
                  <a:pt x="272" y="41"/>
                  <a:pt x="272" y="41"/>
                  <a:pt x="272" y="41"/>
                </a:cubicBezTo>
                <a:cubicBezTo>
                  <a:pt x="271" y="43"/>
                  <a:pt x="271" y="43"/>
                  <a:pt x="271" y="43"/>
                </a:cubicBezTo>
                <a:cubicBezTo>
                  <a:pt x="273" y="46"/>
                  <a:pt x="273" y="46"/>
                  <a:pt x="273" y="46"/>
                </a:cubicBezTo>
                <a:cubicBezTo>
                  <a:pt x="273" y="47"/>
                  <a:pt x="273" y="47"/>
                  <a:pt x="273" y="47"/>
                </a:cubicBezTo>
                <a:cubicBezTo>
                  <a:pt x="273" y="49"/>
                  <a:pt x="273" y="49"/>
                  <a:pt x="273" y="49"/>
                </a:cubicBezTo>
                <a:cubicBezTo>
                  <a:pt x="274" y="49"/>
                  <a:pt x="274" y="49"/>
                  <a:pt x="274" y="49"/>
                </a:cubicBezTo>
                <a:cubicBezTo>
                  <a:pt x="274" y="50"/>
                  <a:pt x="274" y="50"/>
                  <a:pt x="274" y="50"/>
                </a:cubicBezTo>
                <a:cubicBezTo>
                  <a:pt x="273" y="51"/>
                  <a:pt x="273" y="51"/>
                  <a:pt x="273" y="51"/>
                </a:cubicBezTo>
                <a:cubicBezTo>
                  <a:pt x="274" y="53"/>
                  <a:pt x="274" y="53"/>
                  <a:pt x="274" y="53"/>
                </a:cubicBezTo>
                <a:cubicBezTo>
                  <a:pt x="275" y="55"/>
                  <a:pt x="275" y="55"/>
                  <a:pt x="275" y="55"/>
                </a:cubicBezTo>
                <a:cubicBezTo>
                  <a:pt x="276" y="56"/>
                  <a:pt x="276" y="56"/>
                  <a:pt x="276" y="56"/>
                </a:cubicBezTo>
                <a:cubicBezTo>
                  <a:pt x="276" y="57"/>
                  <a:pt x="276" y="57"/>
                  <a:pt x="276" y="57"/>
                </a:cubicBezTo>
                <a:cubicBezTo>
                  <a:pt x="277" y="58"/>
                  <a:pt x="277" y="58"/>
                  <a:pt x="277" y="58"/>
                </a:cubicBezTo>
                <a:close/>
                <a:moveTo>
                  <a:pt x="301" y="44"/>
                </a:moveTo>
                <a:cubicBezTo>
                  <a:pt x="302" y="43"/>
                  <a:pt x="302" y="43"/>
                  <a:pt x="302" y="43"/>
                </a:cubicBezTo>
                <a:cubicBezTo>
                  <a:pt x="302" y="42"/>
                  <a:pt x="302" y="42"/>
                  <a:pt x="302" y="42"/>
                </a:cubicBezTo>
                <a:cubicBezTo>
                  <a:pt x="301" y="42"/>
                  <a:pt x="301" y="42"/>
                  <a:pt x="301" y="42"/>
                </a:cubicBezTo>
                <a:cubicBezTo>
                  <a:pt x="302" y="41"/>
                  <a:pt x="302" y="41"/>
                  <a:pt x="302" y="41"/>
                </a:cubicBezTo>
                <a:cubicBezTo>
                  <a:pt x="303" y="41"/>
                  <a:pt x="303" y="41"/>
                  <a:pt x="303" y="41"/>
                </a:cubicBezTo>
                <a:cubicBezTo>
                  <a:pt x="302" y="41"/>
                  <a:pt x="302" y="41"/>
                  <a:pt x="302" y="41"/>
                </a:cubicBezTo>
                <a:cubicBezTo>
                  <a:pt x="301" y="41"/>
                  <a:pt x="301" y="41"/>
                  <a:pt x="301" y="41"/>
                </a:cubicBezTo>
                <a:cubicBezTo>
                  <a:pt x="300" y="42"/>
                  <a:pt x="300" y="42"/>
                  <a:pt x="300" y="42"/>
                </a:cubicBezTo>
                <a:cubicBezTo>
                  <a:pt x="301" y="43"/>
                  <a:pt x="301" y="43"/>
                  <a:pt x="301" y="43"/>
                </a:cubicBezTo>
                <a:cubicBezTo>
                  <a:pt x="300" y="43"/>
                  <a:pt x="300" y="43"/>
                  <a:pt x="300" y="43"/>
                </a:cubicBezTo>
                <a:cubicBezTo>
                  <a:pt x="300" y="44"/>
                  <a:pt x="300" y="44"/>
                  <a:pt x="300" y="44"/>
                </a:cubicBezTo>
                <a:cubicBezTo>
                  <a:pt x="300" y="44"/>
                  <a:pt x="300" y="44"/>
                  <a:pt x="300" y="44"/>
                </a:cubicBezTo>
                <a:cubicBezTo>
                  <a:pt x="301" y="44"/>
                  <a:pt x="301" y="44"/>
                  <a:pt x="301" y="44"/>
                </a:cubicBezTo>
                <a:close/>
                <a:moveTo>
                  <a:pt x="302" y="44"/>
                </a:moveTo>
                <a:cubicBezTo>
                  <a:pt x="303" y="43"/>
                  <a:pt x="303" y="43"/>
                  <a:pt x="303" y="43"/>
                </a:cubicBezTo>
                <a:cubicBezTo>
                  <a:pt x="305" y="43"/>
                  <a:pt x="305" y="43"/>
                  <a:pt x="305" y="43"/>
                </a:cubicBezTo>
                <a:cubicBezTo>
                  <a:pt x="305" y="42"/>
                  <a:pt x="305" y="42"/>
                  <a:pt x="305" y="42"/>
                </a:cubicBezTo>
                <a:cubicBezTo>
                  <a:pt x="306" y="42"/>
                  <a:pt x="306" y="42"/>
                  <a:pt x="306" y="42"/>
                </a:cubicBezTo>
                <a:cubicBezTo>
                  <a:pt x="307" y="42"/>
                  <a:pt x="307" y="42"/>
                  <a:pt x="307" y="42"/>
                </a:cubicBezTo>
                <a:cubicBezTo>
                  <a:pt x="308" y="42"/>
                  <a:pt x="308" y="42"/>
                  <a:pt x="308" y="42"/>
                </a:cubicBezTo>
                <a:cubicBezTo>
                  <a:pt x="308" y="44"/>
                  <a:pt x="308" y="44"/>
                  <a:pt x="308" y="44"/>
                </a:cubicBezTo>
                <a:cubicBezTo>
                  <a:pt x="308" y="45"/>
                  <a:pt x="308" y="45"/>
                  <a:pt x="308" y="45"/>
                </a:cubicBezTo>
                <a:cubicBezTo>
                  <a:pt x="307" y="44"/>
                  <a:pt x="307" y="44"/>
                  <a:pt x="307" y="44"/>
                </a:cubicBezTo>
                <a:cubicBezTo>
                  <a:pt x="306" y="45"/>
                  <a:pt x="306" y="45"/>
                  <a:pt x="306" y="45"/>
                </a:cubicBezTo>
                <a:cubicBezTo>
                  <a:pt x="304" y="45"/>
                  <a:pt x="304" y="45"/>
                  <a:pt x="304" y="45"/>
                </a:cubicBezTo>
                <a:cubicBezTo>
                  <a:pt x="303" y="45"/>
                  <a:pt x="303" y="45"/>
                  <a:pt x="303" y="45"/>
                </a:cubicBezTo>
                <a:cubicBezTo>
                  <a:pt x="302" y="44"/>
                  <a:pt x="302" y="44"/>
                  <a:pt x="302" y="44"/>
                </a:cubicBezTo>
                <a:close/>
                <a:moveTo>
                  <a:pt x="315" y="56"/>
                </a:moveTo>
                <a:cubicBezTo>
                  <a:pt x="315" y="57"/>
                  <a:pt x="315" y="57"/>
                  <a:pt x="315" y="57"/>
                </a:cubicBezTo>
                <a:cubicBezTo>
                  <a:pt x="316" y="58"/>
                  <a:pt x="316" y="58"/>
                  <a:pt x="316" y="58"/>
                </a:cubicBezTo>
                <a:cubicBezTo>
                  <a:pt x="316" y="59"/>
                  <a:pt x="316" y="59"/>
                  <a:pt x="316" y="59"/>
                </a:cubicBezTo>
                <a:cubicBezTo>
                  <a:pt x="316" y="60"/>
                  <a:pt x="316" y="60"/>
                  <a:pt x="316" y="60"/>
                </a:cubicBezTo>
                <a:cubicBezTo>
                  <a:pt x="317" y="59"/>
                  <a:pt x="317" y="59"/>
                  <a:pt x="317" y="59"/>
                </a:cubicBezTo>
                <a:cubicBezTo>
                  <a:pt x="318" y="58"/>
                  <a:pt x="318" y="58"/>
                  <a:pt x="318" y="58"/>
                </a:cubicBezTo>
                <a:cubicBezTo>
                  <a:pt x="317" y="56"/>
                  <a:pt x="317" y="56"/>
                  <a:pt x="317" y="56"/>
                </a:cubicBezTo>
                <a:cubicBezTo>
                  <a:pt x="316" y="56"/>
                  <a:pt x="316" y="56"/>
                  <a:pt x="316" y="56"/>
                </a:cubicBezTo>
                <a:cubicBezTo>
                  <a:pt x="315" y="56"/>
                  <a:pt x="315" y="56"/>
                  <a:pt x="315" y="56"/>
                </a:cubicBezTo>
                <a:close/>
                <a:moveTo>
                  <a:pt x="432" y="94"/>
                </a:moveTo>
                <a:cubicBezTo>
                  <a:pt x="433" y="94"/>
                  <a:pt x="433" y="94"/>
                  <a:pt x="433" y="94"/>
                </a:cubicBezTo>
                <a:cubicBezTo>
                  <a:pt x="433" y="92"/>
                  <a:pt x="433" y="92"/>
                  <a:pt x="433" y="92"/>
                </a:cubicBezTo>
                <a:cubicBezTo>
                  <a:pt x="433" y="91"/>
                  <a:pt x="433" y="91"/>
                  <a:pt x="433" y="91"/>
                </a:cubicBezTo>
                <a:cubicBezTo>
                  <a:pt x="431" y="92"/>
                  <a:pt x="431" y="92"/>
                  <a:pt x="431" y="92"/>
                </a:cubicBezTo>
                <a:cubicBezTo>
                  <a:pt x="431" y="92"/>
                  <a:pt x="431" y="92"/>
                  <a:pt x="431" y="92"/>
                </a:cubicBezTo>
                <a:cubicBezTo>
                  <a:pt x="431" y="93"/>
                  <a:pt x="431" y="93"/>
                  <a:pt x="431" y="93"/>
                </a:cubicBezTo>
                <a:cubicBezTo>
                  <a:pt x="432" y="93"/>
                  <a:pt x="432" y="93"/>
                  <a:pt x="432" y="93"/>
                </a:cubicBezTo>
                <a:cubicBezTo>
                  <a:pt x="432" y="94"/>
                  <a:pt x="432" y="94"/>
                  <a:pt x="432" y="94"/>
                </a:cubicBezTo>
                <a:close/>
                <a:moveTo>
                  <a:pt x="417" y="111"/>
                </a:moveTo>
                <a:cubicBezTo>
                  <a:pt x="418" y="111"/>
                  <a:pt x="418" y="111"/>
                  <a:pt x="418" y="111"/>
                </a:cubicBezTo>
                <a:cubicBezTo>
                  <a:pt x="419" y="111"/>
                  <a:pt x="419" y="111"/>
                  <a:pt x="419" y="111"/>
                </a:cubicBezTo>
                <a:cubicBezTo>
                  <a:pt x="419" y="111"/>
                  <a:pt x="419" y="111"/>
                  <a:pt x="419" y="111"/>
                </a:cubicBezTo>
                <a:cubicBezTo>
                  <a:pt x="419" y="111"/>
                  <a:pt x="419" y="111"/>
                  <a:pt x="419" y="111"/>
                </a:cubicBezTo>
                <a:cubicBezTo>
                  <a:pt x="418" y="110"/>
                  <a:pt x="418" y="110"/>
                  <a:pt x="418" y="110"/>
                </a:cubicBezTo>
                <a:cubicBezTo>
                  <a:pt x="417" y="109"/>
                  <a:pt x="417" y="109"/>
                  <a:pt x="417" y="109"/>
                </a:cubicBezTo>
                <a:cubicBezTo>
                  <a:pt x="416" y="109"/>
                  <a:pt x="416" y="109"/>
                  <a:pt x="416" y="109"/>
                </a:cubicBezTo>
                <a:cubicBezTo>
                  <a:pt x="416" y="109"/>
                  <a:pt x="416" y="109"/>
                  <a:pt x="416" y="109"/>
                </a:cubicBezTo>
                <a:cubicBezTo>
                  <a:pt x="416" y="110"/>
                  <a:pt x="416" y="110"/>
                  <a:pt x="416" y="110"/>
                </a:cubicBezTo>
                <a:cubicBezTo>
                  <a:pt x="417" y="110"/>
                  <a:pt x="417" y="110"/>
                  <a:pt x="417" y="110"/>
                </a:cubicBezTo>
                <a:cubicBezTo>
                  <a:pt x="417" y="110"/>
                  <a:pt x="417" y="111"/>
                  <a:pt x="417" y="111"/>
                </a:cubicBezTo>
                <a:close/>
                <a:moveTo>
                  <a:pt x="373" y="104"/>
                </a:moveTo>
                <a:cubicBezTo>
                  <a:pt x="374" y="104"/>
                  <a:pt x="374" y="104"/>
                  <a:pt x="374" y="104"/>
                </a:cubicBezTo>
                <a:cubicBezTo>
                  <a:pt x="375" y="104"/>
                  <a:pt x="375" y="104"/>
                  <a:pt x="375" y="104"/>
                </a:cubicBezTo>
                <a:cubicBezTo>
                  <a:pt x="376" y="104"/>
                  <a:pt x="376" y="104"/>
                  <a:pt x="376" y="104"/>
                </a:cubicBezTo>
                <a:cubicBezTo>
                  <a:pt x="376" y="103"/>
                  <a:pt x="376" y="103"/>
                  <a:pt x="376" y="103"/>
                </a:cubicBezTo>
                <a:cubicBezTo>
                  <a:pt x="377" y="102"/>
                  <a:pt x="377" y="102"/>
                  <a:pt x="377" y="102"/>
                </a:cubicBezTo>
                <a:cubicBezTo>
                  <a:pt x="377" y="102"/>
                  <a:pt x="377" y="102"/>
                  <a:pt x="377" y="102"/>
                </a:cubicBezTo>
                <a:cubicBezTo>
                  <a:pt x="376" y="101"/>
                  <a:pt x="376" y="101"/>
                  <a:pt x="376" y="101"/>
                </a:cubicBezTo>
                <a:cubicBezTo>
                  <a:pt x="376" y="99"/>
                  <a:pt x="376" y="99"/>
                  <a:pt x="376" y="99"/>
                </a:cubicBezTo>
                <a:cubicBezTo>
                  <a:pt x="375" y="98"/>
                  <a:pt x="375" y="98"/>
                  <a:pt x="375" y="98"/>
                </a:cubicBezTo>
                <a:cubicBezTo>
                  <a:pt x="375" y="97"/>
                  <a:pt x="375" y="97"/>
                  <a:pt x="375" y="97"/>
                </a:cubicBezTo>
                <a:cubicBezTo>
                  <a:pt x="375" y="96"/>
                  <a:pt x="375" y="96"/>
                  <a:pt x="375" y="96"/>
                </a:cubicBezTo>
                <a:cubicBezTo>
                  <a:pt x="374" y="96"/>
                  <a:pt x="374" y="96"/>
                  <a:pt x="374" y="96"/>
                </a:cubicBezTo>
                <a:cubicBezTo>
                  <a:pt x="371" y="96"/>
                  <a:pt x="371" y="96"/>
                  <a:pt x="371" y="96"/>
                </a:cubicBezTo>
                <a:cubicBezTo>
                  <a:pt x="369" y="98"/>
                  <a:pt x="369" y="98"/>
                  <a:pt x="369" y="98"/>
                </a:cubicBezTo>
                <a:cubicBezTo>
                  <a:pt x="368" y="98"/>
                  <a:pt x="368" y="98"/>
                  <a:pt x="368" y="98"/>
                </a:cubicBezTo>
                <a:cubicBezTo>
                  <a:pt x="368" y="98"/>
                  <a:pt x="368" y="98"/>
                  <a:pt x="368" y="98"/>
                </a:cubicBezTo>
                <a:cubicBezTo>
                  <a:pt x="368" y="100"/>
                  <a:pt x="368" y="100"/>
                  <a:pt x="368" y="100"/>
                </a:cubicBezTo>
                <a:cubicBezTo>
                  <a:pt x="369" y="100"/>
                  <a:pt x="369" y="100"/>
                  <a:pt x="369" y="100"/>
                </a:cubicBezTo>
                <a:cubicBezTo>
                  <a:pt x="369" y="101"/>
                  <a:pt x="369" y="101"/>
                  <a:pt x="369" y="101"/>
                </a:cubicBezTo>
                <a:cubicBezTo>
                  <a:pt x="369" y="102"/>
                  <a:pt x="369" y="102"/>
                  <a:pt x="369" y="102"/>
                </a:cubicBezTo>
                <a:cubicBezTo>
                  <a:pt x="368" y="102"/>
                  <a:pt x="368" y="102"/>
                  <a:pt x="368" y="102"/>
                </a:cubicBezTo>
                <a:cubicBezTo>
                  <a:pt x="367" y="102"/>
                  <a:pt x="367" y="102"/>
                  <a:pt x="367" y="102"/>
                </a:cubicBezTo>
                <a:cubicBezTo>
                  <a:pt x="368" y="103"/>
                  <a:pt x="368" y="103"/>
                  <a:pt x="368" y="103"/>
                </a:cubicBezTo>
                <a:cubicBezTo>
                  <a:pt x="370" y="103"/>
                  <a:pt x="370" y="103"/>
                  <a:pt x="370" y="103"/>
                </a:cubicBezTo>
                <a:cubicBezTo>
                  <a:pt x="373" y="104"/>
                  <a:pt x="373" y="104"/>
                  <a:pt x="373" y="104"/>
                </a:cubicBezTo>
                <a:close/>
                <a:moveTo>
                  <a:pt x="501" y="66"/>
                </a:moveTo>
                <a:cubicBezTo>
                  <a:pt x="501" y="65"/>
                  <a:pt x="501" y="65"/>
                  <a:pt x="501" y="65"/>
                </a:cubicBezTo>
                <a:cubicBezTo>
                  <a:pt x="501" y="65"/>
                  <a:pt x="501" y="65"/>
                  <a:pt x="501" y="65"/>
                </a:cubicBezTo>
                <a:cubicBezTo>
                  <a:pt x="502" y="63"/>
                  <a:pt x="502" y="63"/>
                  <a:pt x="502" y="63"/>
                </a:cubicBezTo>
                <a:cubicBezTo>
                  <a:pt x="502" y="62"/>
                  <a:pt x="502" y="62"/>
                  <a:pt x="502" y="62"/>
                </a:cubicBezTo>
                <a:cubicBezTo>
                  <a:pt x="502" y="61"/>
                  <a:pt x="502" y="61"/>
                  <a:pt x="502" y="61"/>
                </a:cubicBezTo>
                <a:cubicBezTo>
                  <a:pt x="500" y="59"/>
                  <a:pt x="500" y="59"/>
                  <a:pt x="500" y="59"/>
                </a:cubicBezTo>
                <a:cubicBezTo>
                  <a:pt x="500" y="58"/>
                  <a:pt x="500" y="58"/>
                  <a:pt x="500" y="58"/>
                </a:cubicBezTo>
                <a:cubicBezTo>
                  <a:pt x="499" y="58"/>
                  <a:pt x="499" y="58"/>
                  <a:pt x="499" y="58"/>
                </a:cubicBezTo>
                <a:cubicBezTo>
                  <a:pt x="497" y="58"/>
                  <a:pt x="497" y="58"/>
                  <a:pt x="497" y="58"/>
                </a:cubicBezTo>
                <a:cubicBezTo>
                  <a:pt x="496" y="59"/>
                  <a:pt x="496" y="59"/>
                  <a:pt x="496" y="59"/>
                </a:cubicBezTo>
                <a:cubicBezTo>
                  <a:pt x="496" y="60"/>
                  <a:pt x="496" y="60"/>
                  <a:pt x="496" y="60"/>
                </a:cubicBezTo>
                <a:cubicBezTo>
                  <a:pt x="497" y="62"/>
                  <a:pt x="497" y="62"/>
                  <a:pt x="497" y="62"/>
                </a:cubicBezTo>
                <a:cubicBezTo>
                  <a:pt x="497" y="62"/>
                  <a:pt x="497" y="62"/>
                  <a:pt x="497" y="62"/>
                </a:cubicBezTo>
                <a:cubicBezTo>
                  <a:pt x="497" y="63"/>
                  <a:pt x="497" y="63"/>
                  <a:pt x="497" y="63"/>
                </a:cubicBezTo>
                <a:cubicBezTo>
                  <a:pt x="498" y="63"/>
                  <a:pt x="498" y="63"/>
                  <a:pt x="498" y="63"/>
                </a:cubicBezTo>
                <a:cubicBezTo>
                  <a:pt x="500" y="65"/>
                  <a:pt x="500" y="65"/>
                  <a:pt x="500" y="65"/>
                </a:cubicBezTo>
                <a:cubicBezTo>
                  <a:pt x="501" y="66"/>
                  <a:pt x="501" y="66"/>
                  <a:pt x="501" y="66"/>
                </a:cubicBezTo>
                <a:close/>
                <a:moveTo>
                  <a:pt x="504" y="75"/>
                </a:moveTo>
                <a:cubicBezTo>
                  <a:pt x="505" y="74"/>
                  <a:pt x="505" y="74"/>
                  <a:pt x="505" y="74"/>
                </a:cubicBezTo>
                <a:cubicBezTo>
                  <a:pt x="506" y="73"/>
                  <a:pt x="506" y="73"/>
                  <a:pt x="506" y="73"/>
                </a:cubicBezTo>
                <a:cubicBezTo>
                  <a:pt x="508" y="72"/>
                  <a:pt x="508" y="72"/>
                  <a:pt x="508" y="72"/>
                </a:cubicBezTo>
                <a:cubicBezTo>
                  <a:pt x="510" y="72"/>
                  <a:pt x="510" y="72"/>
                  <a:pt x="510" y="72"/>
                </a:cubicBezTo>
                <a:cubicBezTo>
                  <a:pt x="513" y="72"/>
                  <a:pt x="513" y="72"/>
                  <a:pt x="513" y="72"/>
                </a:cubicBezTo>
                <a:cubicBezTo>
                  <a:pt x="514" y="72"/>
                  <a:pt x="514" y="72"/>
                  <a:pt x="514" y="72"/>
                </a:cubicBezTo>
                <a:cubicBezTo>
                  <a:pt x="517" y="72"/>
                  <a:pt x="517" y="72"/>
                  <a:pt x="517" y="72"/>
                </a:cubicBezTo>
                <a:cubicBezTo>
                  <a:pt x="518" y="71"/>
                  <a:pt x="518" y="71"/>
                  <a:pt x="518" y="71"/>
                </a:cubicBezTo>
                <a:cubicBezTo>
                  <a:pt x="520" y="71"/>
                  <a:pt x="520" y="71"/>
                  <a:pt x="520" y="71"/>
                </a:cubicBezTo>
                <a:cubicBezTo>
                  <a:pt x="522" y="71"/>
                  <a:pt x="522" y="71"/>
                  <a:pt x="522" y="71"/>
                </a:cubicBezTo>
                <a:cubicBezTo>
                  <a:pt x="523" y="70"/>
                  <a:pt x="523" y="70"/>
                  <a:pt x="523" y="70"/>
                </a:cubicBezTo>
                <a:cubicBezTo>
                  <a:pt x="522" y="69"/>
                  <a:pt x="522" y="69"/>
                  <a:pt x="522" y="69"/>
                </a:cubicBezTo>
                <a:cubicBezTo>
                  <a:pt x="521" y="68"/>
                  <a:pt x="521" y="68"/>
                  <a:pt x="521" y="68"/>
                </a:cubicBezTo>
                <a:cubicBezTo>
                  <a:pt x="520" y="66"/>
                  <a:pt x="520" y="66"/>
                  <a:pt x="520" y="66"/>
                </a:cubicBezTo>
                <a:cubicBezTo>
                  <a:pt x="517" y="64"/>
                  <a:pt x="517" y="64"/>
                  <a:pt x="517" y="64"/>
                </a:cubicBezTo>
                <a:cubicBezTo>
                  <a:pt x="515" y="64"/>
                  <a:pt x="515" y="64"/>
                  <a:pt x="515" y="64"/>
                </a:cubicBezTo>
                <a:cubicBezTo>
                  <a:pt x="514" y="64"/>
                  <a:pt x="514" y="64"/>
                  <a:pt x="514" y="64"/>
                </a:cubicBezTo>
                <a:cubicBezTo>
                  <a:pt x="512" y="62"/>
                  <a:pt x="512" y="62"/>
                  <a:pt x="512" y="62"/>
                </a:cubicBezTo>
                <a:cubicBezTo>
                  <a:pt x="511" y="62"/>
                  <a:pt x="511" y="62"/>
                  <a:pt x="511" y="62"/>
                </a:cubicBezTo>
                <a:cubicBezTo>
                  <a:pt x="510" y="63"/>
                  <a:pt x="510" y="63"/>
                  <a:pt x="510" y="63"/>
                </a:cubicBezTo>
                <a:cubicBezTo>
                  <a:pt x="509" y="62"/>
                  <a:pt x="509" y="62"/>
                  <a:pt x="509" y="62"/>
                </a:cubicBezTo>
                <a:cubicBezTo>
                  <a:pt x="508" y="62"/>
                  <a:pt x="508" y="62"/>
                  <a:pt x="508" y="62"/>
                </a:cubicBezTo>
                <a:cubicBezTo>
                  <a:pt x="507" y="64"/>
                  <a:pt x="507" y="64"/>
                  <a:pt x="507" y="64"/>
                </a:cubicBezTo>
                <a:cubicBezTo>
                  <a:pt x="505" y="66"/>
                  <a:pt x="505" y="66"/>
                  <a:pt x="505" y="66"/>
                </a:cubicBezTo>
                <a:cubicBezTo>
                  <a:pt x="506" y="67"/>
                  <a:pt x="506" y="67"/>
                  <a:pt x="506" y="67"/>
                </a:cubicBezTo>
                <a:cubicBezTo>
                  <a:pt x="506" y="70"/>
                  <a:pt x="506" y="70"/>
                  <a:pt x="506" y="70"/>
                </a:cubicBezTo>
                <a:cubicBezTo>
                  <a:pt x="505" y="73"/>
                  <a:pt x="505" y="73"/>
                  <a:pt x="505" y="73"/>
                </a:cubicBezTo>
                <a:cubicBezTo>
                  <a:pt x="504" y="74"/>
                  <a:pt x="504" y="74"/>
                  <a:pt x="504" y="74"/>
                </a:cubicBezTo>
                <a:cubicBezTo>
                  <a:pt x="504" y="75"/>
                  <a:pt x="504" y="75"/>
                  <a:pt x="504" y="75"/>
                </a:cubicBezTo>
                <a:cubicBezTo>
                  <a:pt x="504" y="75"/>
                  <a:pt x="504" y="75"/>
                  <a:pt x="504" y="75"/>
                </a:cubicBezTo>
                <a:close/>
                <a:moveTo>
                  <a:pt x="474" y="69"/>
                </a:moveTo>
                <a:cubicBezTo>
                  <a:pt x="475" y="70"/>
                  <a:pt x="475" y="70"/>
                  <a:pt x="475" y="70"/>
                </a:cubicBezTo>
                <a:cubicBezTo>
                  <a:pt x="476" y="71"/>
                  <a:pt x="476" y="71"/>
                  <a:pt x="476" y="71"/>
                </a:cubicBezTo>
                <a:cubicBezTo>
                  <a:pt x="477" y="71"/>
                  <a:pt x="477" y="71"/>
                  <a:pt x="477" y="71"/>
                </a:cubicBezTo>
                <a:cubicBezTo>
                  <a:pt x="478" y="72"/>
                  <a:pt x="478" y="72"/>
                  <a:pt x="478" y="72"/>
                </a:cubicBezTo>
                <a:cubicBezTo>
                  <a:pt x="480" y="72"/>
                  <a:pt x="480" y="72"/>
                  <a:pt x="480" y="72"/>
                </a:cubicBezTo>
                <a:cubicBezTo>
                  <a:pt x="481" y="73"/>
                  <a:pt x="481" y="73"/>
                  <a:pt x="481" y="73"/>
                </a:cubicBezTo>
                <a:cubicBezTo>
                  <a:pt x="482" y="73"/>
                  <a:pt x="482" y="73"/>
                  <a:pt x="482" y="73"/>
                </a:cubicBezTo>
                <a:cubicBezTo>
                  <a:pt x="482" y="72"/>
                  <a:pt x="482" y="72"/>
                  <a:pt x="482" y="72"/>
                </a:cubicBezTo>
                <a:cubicBezTo>
                  <a:pt x="480" y="70"/>
                  <a:pt x="480" y="70"/>
                  <a:pt x="480" y="70"/>
                </a:cubicBezTo>
                <a:cubicBezTo>
                  <a:pt x="479" y="70"/>
                  <a:pt x="479" y="70"/>
                  <a:pt x="479" y="70"/>
                </a:cubicBezTo>
                <a:cubicBezTo>
                  <a:pt x="477" y="70"/>
                  <a:pt x="477" y="70"/>
                  <a:pt x="477" y="70"/>
                </a:cubicBezTo>
                <a:cubicBezTo>
                  <a:pt x="476" y="69"/>
                  <a:pt x="476" y="69"/>
                  <a:pt x="476" y="69"/>
                </a:cubicBezTo>
                <a:cubicBezTo>
                  <a:pt x="475" y="68"/>
                  <a:pt x="475" y="68"/>
                  <a:pt x="475" y="68"/>
                </a:cubicBezTo>
                <a:cubicBezTo>
                  <a:pt x="474" y="69"/>
                  <a:pt x="474" y="69"/>
                  <a:pt x="474" y="69"/>
                </a:cubicBezTo>
                <a:close/>
                <a:moveTo>
                  <a:pt x="514" y="108"/>
                </a:moveTo>
                <a:cubicBezTo>
                  <a:pt x="516" y="110"/>
                  <a:pt x="516" y="110"/>
                  <a:pt x="516" y="110"/>
                </a:cubicBezTo>
                <a:cubicBezTo>
                  <a:pt x="517" y="110"/>
                  <a:pt x="517" y="110"/>
                  <a:pt x="517" y="110"/>
                </a:cubicBezTo>
                <a:cubicBezTo>
                  <a:pt x="517" y="110"/>
                  <a:pt x="517" y="110"/>
                  <a:pt x="517" y="110"/>
                </a:cubicBezTo>
                <a:cubicBezTo>
                  <a:pt x="518" y="109"/>
                  <a:pt x="518" y="109"/>
                  <a:pt x="518" y="109"/>
                </a:cubicBezTo>
                <a:cubicBezTo>
                  <a:pt x="519" y="109"/>
                  <a:pt x="519" y="109"/>
                  <a:pt x="519" y="109"/>
                </a:cubicBezTo>
                <a:cubicBezTo>
                  <a:pt x="518" y="108"/>
                  <a:pt x="518" y="108"/>
                  <a:pt x="518" y="108"/>
                </a:cubicBezTo>
                <a:cubicBezTo>
                  <a:pt x="518" y="106"/>
                  <a:pt x="518" y="106"/>
                  <a:pt x="518" y="106"/>
                </a:cubicBezTo>
                <a:cubicBezTo>
                  <a:pt x="517" y="107"/>
                  <a:pt x="517" y="107"/>
                  <a:pt x="517" y="107"/>
                </a:cubicBezTo>
                <a:cubicBezTo>
                  <a:pt x="517" y="108"/>
                  <a:pt x="517" y="108"/>
                  <a:pt x="517" y="108"/>
                </a:cubicBezTo>
                <a:cubicBezTo>
                  <a:pt x="516" y="108"/>
                  <a:pt x="516" y="108"/>
                  <a:pt x="516" y="108"/>
                </a:cubicBezTo>
                <a:cubicBezTo>
                  <a:pt x="516" y="108"/>
                  <a:pt x="515" y="109"/>
                  <a:pt x="514" y="108"/>
                </a:cubicBezTo>
                <a:close/>
                <a:moveTo>
                  <a:pt x="655" y="98"/>
                </a:moveTo>
                <a:cubicBezTo>
                  <a:pt x="655" y="98"/>
                  <a:pt x="655" y="98"/>
                  <a:pt x="655" y="98"/>
                </a:cubicBezTo>
                <a:cubicBezTo>
                  <a:pt x="655" y="97"/>
                  <a:pt x="655" y="97"/>
                  <a:pt x="655" y="97"/>
                </a:cubicBezTo>
                <a:cubicBezTo>
                  <a:pt x="655" y="96"/>
                  <a:pt x="655" y="96"/>
                  <a:pt x="655" y="96"/>
                </a:cubicBezTo>
                <a:cubicBezTo>
                  <a:pt x="654" y="95"/>
                  <a:pt x="654" y="95"/>
                  <a:pt x="654" y="95"/>
                </a:cubicBezTo>
                <a:cubicBezTo>
                  <a:pt x="654" y="96"/>
                  <a:pt x="654" y="96"/>
                  <a:pt x="654" y="96"/>
                </a:cubicBezTo>
                <a:cubicBezTo>
                  <a:pt x="655" y="98"/>
                  <a:pt x="655" y="98"/>
                  <a:pt x="655" y="98"/>
                </a:cubicBezTo>
                <a:close/>
                <a:moveTo>
                  <a:pt x="654" y="99"/>
                </a:moveTo>
                <a:cubicBezTo>
                  <a:pt x="654" y="99"/>
                  <a:pt x="654" y="99"/>
                  <a:pt x="654" y="99"/>
                </a:cubicBezTo>
                <a:cubicBezTo>
                  <a:pt x="654" y="98"/>
                  <a:pt x="654" y="98"/>
                  <a:pt x="654" y="98"/>
                </a:cubicBezTo>
                <a:cubicBezTo>
                  <a:pt x="654" y="97"/>
                  <a:pt x="654" y="97"/>
                  <a:pt x="654" y="97"/>
                </a:cubicBezTo>
                <a:cubicBezTo>
                  <a:pt x="653" y="97"/>
                  <a:pt x="653" y="97"/>
                  <a:pt x="653" y="97"/>
                </a:cubicBezTo>
                <a:cubicBezTo>
                  <a:pt x="653" y="97"/>
                  <a:pt x="653" y="97"/>
                  <a:pt x="653" y="97"/>
                </a:cubicBezTo>
                <a:cubicBezTo>
                  <a:pt x="654" y="99"/>
                  <a:pt x="654" y="99"/>
                  <a:pt x="654" y="99"/>
                </a:cubicBezTo>
                <a:close/>
                <a:moveTo>
                  <a:pt x="653" y="99"/>
                </a:moveTo>
                <a:cubicBezTo>
                  <a:pt x="654" y="101"/>
                  <a:pt x="654" y="101"/>
                  <a:pt x="654" y="101"/>
                </a:cubicBezTo>
                <a:cubicBezTo>
                  <a:pt x="654" y="102"/>
                  <a:pt x="654" y="102"/>
                  <a:pt x="654" y="102"/>
                </a:cubicBezTo>
                <a:cubicBezTo>
                  <a:pt x="655" y="101"/>
                  <a:pt x="655" y="101"/>
                  <a:pt x="655" y="101"/>
                </a:cubicBezTo>
                <a:cubicBezTo>
                  <a:pt x="654" y="100"/>
                  <a:pt x="654" y="100"/>
                  <a:pt x="654" y="100"/>
                </a:cubicBezTo>
                <a:cubicBezTo>
                  <a:pt x="653" y="99"/>
                  <a:pt x="653" y="99"/>
                  <a:pt x="653" y="99"/>
                </a:cubicBezTo>
                <a:cubicBezTo>
                  <a:pt x="653" y="99"/>
                  <a:pt x="653" y="99"/>
                  <a:pt x="653" y="99"/>
                </a:cubicBezTo>
                <a:cubicBezTo>
                  <a:pt x="653" y="99"/>
                  <a:pt x="653" y="99"/>
                  <a:pt x="653" y="99"/>
                </a:cubicBezTo>
                <a:close/>
                <a:moveTo>
                  <a:pt x="650" y="98"/>
                </a:moveTo>
                <a:cubicBezTo>
                  <a:pt x="650" y="100"/>
                  <a:pt x="650" y="100"/>
                  <a:pt x="650" y="100"/>
                </a:cubicBezTo>
                <a:cubicBezTo>
                  <a:pt x="651" y="100"/>
                  <a:pt x="651" y="100"/>
                  <a:pt x="651" y="100"/>
                </a:cubicBezTo>
                <a:cubicBezTo>
                  <a:pt x="651" y="100"/>
                  <a:pt x="651" y="100"/>
                  <a:pt x="651" y="100"/>
                </a:cubicBezTo>
                <a:cubicBezTo>
                  <a:pt x="652" y="99"/>
                  <a:pt x="652" y="99"/>
                  <a:pt x="652" y="99"/>
                </a:cubicBezTo>
                <a:cubicBezTo>
                  <a:pt x="651" y="98"/>
                  <a:pt x="651" y="98"/>
                  <a:pt x="651" y="98"/>
                </a:cubicBezTo>
                <a:cubicBezTo>
                  <a:pt x="651" y="98"/>
                  <a:pt x="651" y="98"/>
                  <a:pt x="651" y="98"/>
                </a:cubicBezTo>
                <a:cubicBezTo>
                  <a:pt x="650" y="98"/>
                  <a:pt x="650" y="98"/>
                  <a:pt x="650" y="98"/>
                </a:cubicBezTo>
                <a:cubicBezTo>
                  <a:pt x="650" y="98"/>
                  <a:pt x="650" y="98"/>
                  <a:pt x="650" y="98"/>
                </a:cubicBezTo>
                <a:close/>
                <a:moveTo>
                  <a:pt x="684" y="84"/>
                </a:moveTo>
                <a:cubicBezTo>
                  <a:pt x="686" y="85"/>
                  <a:pt x="686" y="85"/>
                  <a:pt x="686" y="85"/>
                </a:cubicBezTo>
                <a:cubicBezTo>
                  <a:pt x="687" y="84"/>
                  <a:pt x="687" y="84"/>
                  <a:pt x="687" y="84"/>
                </a:cubicBezTo>
                <a:cubicBezTo>
                  <a:pt x="688" y="83"/>
                  <a:pt x="688" y="83"/>
                  <a:pt x="688" y="83"/>
                </a:cubicBezTo>
                <a:cubicBezTo>
                  <a:pt x="688" y="82"/>
                  <a:pt x="688" y="82"/>
                  <a:pt x="688" y="82"/>
                </a:cubicBezTo>
                <a:cubicBezTo>
                  <a:pt x="687" y="81"/>
                  <a:pt x="687" y="81"/>
                  <a:pt x="687" y="81"/>
                </a:cubicBezTo>
                <a:cubicBezTo>
                  <a:pt x="687" y="80"/>
                  <a:pt x="687" y="80"/>
                  <a:pt x="687" y="80"/>
                </a:cubicBezTo>
                <a:cubicBezTo>
                  <a:pt x="687" y="79"/>
                  <a:pt x="687" y="79"/>
                  <a:pt x="687" y="79"/>
                </a:cubicBezTo>
                <a:cubicBezTo>
                  <a:pt x="685" y="78"/>
                  <a:pt x="685" y="78"/>
                  <a:pt x="685" y="78"/>
                </a:cubicBezTo>
                <a:cubicBezTo>
                  <a:pt x="685" y="79"/>
                  <a:pt x="685" y="79"/>
                  <a:pt x="685" y="79"/>
                </a:cubicBezTo>
                <a:cubicBezTo>
                  <a:pt x="684" y="79"/>
                  <a:pt x="684" y="79"/>
                  <a:pt x="684" y="79"/>
                </a:cubicBezTo>
                <a:cubicBezTo>
                  <a:pt x="683" y="78"/>
                  <a:pt x="683" y="78"/>
                  <a:pt x="683" y="78"/>
                </a:cubicBezTo>
                <a:cubicBezTo>
                  <a:pt x="682" y="78"/>
                  <a:pt x="682" y="78"/>
                  <a:pt x="682" y="78"/>
                </a:cubicBezTo>
                <a:cubicBezTo>
                  <a:pt x="681" y="78"/>
                  <a:pt x="681" y="78"/>
                  <a:pt x="681" y="78"/>
                </a:cubicBezTo>
                <a:cubicBezTo>
                  <a:pt x="681" y="79"/>
                  <a:pt x="681" y="79"/>
                  <a:pt x="681" y="79"/>
                </a:cubicBezTo>
                <a:cubicBezTo>
                  <a:pt x="681" y="79"/>
                  <a:pt x="681" y="79"/>
                  <a:pt x="681" y="79"/>
                </a:cubicBezTo>
                <a:cubicBezTo>
                  <a:pt x="680" y="79"/>
                  <a:pt x="680" y="79"/>
                  <a:pt x="680" y="79"/>
                </a:cubicBezTo>
                <a:cubicBezTo>
                  <a:pt x="680" y="80"/>
                  <a:pt x="680" y="80"/>
                  <a:pt x="680" y="80"/>
                </a:cubicBezTo>
                <a:cubicBezTo>
                  <a:pt x="680" y="82"/>
                  <a:pt x="680" y="82"/>
                  <a:pt x="680" y="82"/>
                </a:cubicBezTo>
                <a:cubicBezTo>
                  <a:pt x="680" y="83"/>
                  <a:pt x="680" y="83"/>
                  <a:pt x="680" y="83"/>
                </a:cubicBezTo>
                <a:cubicBezTo>
                  <a:pt x="681" y="83"/>
                  <a:pt x="681" y="83"/>
                  <a:pt x="681" y="83"/>
                </a:cubicBezTo>
                <a:cubicBezTo>
                  <a:pt x="683" y="83"/>
                  <a:pt x="683" y="83"/>
                  <a:pt x="683" y="83"/>
                </a:cubicBezTo>
                <a:cubicBezTo>
                  <a:pt x="684" y="84"/>
                  <a:pt x="684" y="84"/>
                  <a:pt x="684" y="84"/>
                </a:cubicBezTo>
                <a:close/>
                <a:moveTo>
                  <a:pt x="692" y="81"/>
                </a:moveTo>
                <a:cubicBezTo>
                  <a:pt x="693" y="80"/>
                  <a:pt x="693" y="80"/>
                  <a:pt x="693" y="80"/>
                </a:cubicBezTo>
                <a:cubicBezTo>
                  <a:pt x="693" y="80"/>
                  <a:pt x="693" y="80"/>
                  <a:pt x="693" y="80"/>
                </a:cubicBezTo>
                <a:cubicBezTo>
                  <a:pt x="692" y="80"/>
                  <a:pt x="692" y="80"/>
                  <a:pt x="692" y="80"/>
                </a:cubicBezTo>
                <a:cubicBezTo>
                  <a:pt x="692" y="80"/>
                  <a:pt x="692" y="80"/>
                  <a:pt x="692" y="80"/>
                </a:cubicBezTo>
                <a:cubicBezTo>
                  <a:pt x="692" y="81"/>
                  <a:pt x="692" y="81"/>
                  <a:pt x="692" y="81"/>
                </a:cubicBezTo>
                <a:close/>
                <a:moveTo>
                  <a:pt x="701" y="418"/>
                </a:moveTo>
                <a:cubicBezTo>
                  <a:pt x="701" y="417"/>
                  <a:pt x="701" y="417"/>
                  <a:pt x="701" y="417"/>
                </a:cubicBezTo>
                <a:cubicBezTo>
                  <a:pt x="701" y="415"/>
                  <a:pt x="701" y="415"/>
                  <a:pt x="701" y="415"/>
                </a:cubicBezTo>
                <a:cubicBezTo>
                  <a:pt x="700" y="414"/>
                  <a:pt x="700" y="414"/>
                  <a:pt x="700" y="414"/>
                </a:cubicBezTo>
                <a:cubicBezTo>
                  <a:pt x="700" y="413"/>
                  <a:pt x="700" y="413"/>
                  <a:pt x="700" y="413"/>
                </a:cubicBezTo>
                <a:cubicBezTo>
                  <a:pt x="700" y="411"/>
                  <a:pt x="700" y="411"/>
                  <a:pt x="700" y="411"/>
                </a:cubicBezTo>
                <a:cubicBezTo>
                  <a:pt x="701" y="410"/>
                  <a:pt x="701" y="410"/>
                  <a:pt x="701" y="410"/>
                </a:cubicBezTo>
                <a:cubicBezTo>
                  <a:pt x="702" y="410"/>
                  <a:pt x="702" y="410"/>
                  <a:pt x="702" y="410"/>
                </a:cubicBezTo>
                <a:cubicBezTo>
                  <a:pt x="702" y="411"/>
                  <a:pt x="702" y="411"/>
                  <a:pt x="702" y="411"/>
                </a:cubicBezTo>
                <a:cubicBezTo>
                  <a:pt x="703" y="411"/>
                  <a:pt x="703" y="411"/>
                  <a:pt x="703" y="411"/>
                </a:cubicBezTo>
                <a:cubicBezTo>
                  <a:pt x="705" y="411"/>
                  <a:pt x="705" y="411"/>
                  <a:pt x="705" y="411"/>
                </a:cubicBezTo>
                <a:cubicBezTo>
                  <a:pt x="705" y="410"/>
                  <a:pt x="705" y="410"/>
                  <a:pt x="705" y="410"/>
                </a:cubicBezTo>
                <a:cubicBezTo>
                  <a:pt x="706" y="410"/>
                  <a:pt x="706" y="410"/>
                  <a:pt x="706" y="410"/>
                </a:cubicBezTo>
                <a:cubicBezTo>
                  <a:pt x="706" y="411"/>
                  <a:pt x="706" y="411"/>
                  <a:pt x="706" y="411"/>
                </a:cubicBezTo>
                <a:cubicBezTo>
                  <a:pt x="706" y="411"/>
                  <a:pt x="706" y="411"/>
                  <a:pt x="706" y="411"/>
                </a:cubicBezTo>
                <a:cubicBezTo>
                  <a:pt x="706" y="412"/>
                  <a:pt x="706" y="412"/>
                  <a:pt x="706" y="412"/>
                </a:cubicBezTo>
                <a:cubicBezTo>
                  <a:pt x="707" y="414"/>
                  <a:pt x="707" y="414"/>
                  <a:pt x="707" y="414"/>
                </a:cubicBezTo>
                <a:cubicBezTo>
                  <a:pt x="708" y="415"/>
                  <a:pt x="708" y="415"/>
                  <a:pt x="708" y="415"/>
                </a:cubicBezTo>
                <a:cubicBezTo>
                  <a:pt x="708" y="416"/>
                  <a:pt x="708" y="416"/>
                  <a:pt x="708" y="416"/>
                </a:cubicBezTo>
                <a:cubicBezTo>
                  <a:pt x="708" y="415"/>
                  <a:pt x="708" y="415"/>
                  <a:pt x="708" y="415"/>
                </a:cubicBezTo>
                <a:cubicBezTo>
                  <a:pt x="708" y="414"/>
                  <a:pt x="708" y="414"/>
                  <a:pt x="708" y="414"/>
                </a:cubicBezTo>
                <a:cubicBezTo>
                  <a:pt x="708" y="413"/>
                  <a:pt x="708" y="413"/>
                  <a:pt x="708" y="413"/>
                </a:cubicBezTo>
                <a:cubicBezTo>
                  <a:pt x="708" y="411"/>
                  <a:pt x="708" y="411"/>
                  <a:pt x="708" y="411"/>
                </a:cubicBezTo>
                <a:cubicBezTo>
                  <a:pt x="707" y="410"/>
                  <a:pt x="707" y="410"/>
                  <a:pt x="707" y="410"/>
                </a:cubicBezTo>
                <a:cubicBezTo>
                  <a:pt x="707" y="409"/>
                  <a:pt x="707" y="409"/>
                  <a:pt x="707" y="409"/>
                </a:cubicBezTo>
                <a:cubicBezTo>
                  <a:pt x="706" y="408"/>
                  <a:pt x="706" y="408"/>
                  <a:pt x="706" y="408"/>
                </a:cubicBezTo>
                <a:cubicBezTo>
                  <a:pt x="705" y="408"/>
                  <a:pt x="705" y="408"/>
                  <a:pt x="705" y="408"/>
                </a:cubicBezTo>
                <a:cubicBezTo>
                  <a:pt x="705" y="408"/>
                  <a:pt x="705" y="408"/>
                  <a:pt x="705" y="408"/>
                </a:cubicBezTo>
                <a:cubicBezTo>
                  <a:pt x="703" y="407"/>
                  <a:pt x="703" y="407"/>
                  <a:pt x="703" y="407"/>
                </a:cubicBezTo>
                <a:cubicBezTo>
                  <a:pt x="703" y="405"/>
                  <a:pt x="703" y="405"/>
                  <a:pt x="703" y="405"/>
                </a:cubicBezTo>
                <a:cubicBezTo>
                  <a:pt x="702" y="404"/>
                  <a:pt x="702" y="404"/>
                  <a:pt x="702" y="404"/>
                </a:cubicBezTo>
                <a:cubicBezTo>
                  <a:pt x="700" y="402"/>
                  <a:pt x="700" y="402"/>
                  <a:pt x="700" y="402"/>
                </a:cubicBezTo>
                <a:cubicBezTo>
                  <a:pt x="699" y="402"/>
                  <a:pt x="699" y="402"/>
                  <a:pt x="699" y="402"/>
                </a:cubicBezTo>
                <a:cubicBezTo>
                  <a:pt x="698" y="401"/>
                  <a:pt x="698" y="401"/>
                  <a:pt x="698" y="401"/>
                </a:cubicBezTo>
                <a:cubicBezTo>
                  <a:pt x="698" y="399"/>
                  <a:pt x="698" y="399"/>
                  <a:pt x="698" y="399"/>
                </a:cubicBezTo>
                <a:cubicBezTo>
                  <a:pt x="697" y="397"/>
                  <a:pt x="697" y="397"/>
                  <a:pt x="697" y="397"/>
                </a:cubicBezTo>
                <a:cubicBezTo>
                  <a:pt x="696" y="396"/>
                  <a:pt x="696" y="396"/>
                  <a:pt x="696" y="396"/>
                </a:cubicBezTo>
                <a:cubicBezTo>
                  <a:pt x="696" y="393"/>
                  <a:pt x="696" y="393"/>
                  <a:pt x="696" y="393"/>
                </a:cubicBezTo>
                <a:cubicBezTo>
                  <a:pt x="696" y="391"/>
                  <a:pt x="696" y="391"/>
                  <a:pt x="696" y="391"/>
                </a:cubicBezTo>
                <a:cubicBezTo>
                  <a:pt x="695" y="390"/>
                  <a:pt x="695" y="390"/>
                  <a:pt x="695" y="390"/>
                </a:cubicBezTo>
                <a:cubicBezTo>
                  <a:pt x="696" y="388"/>
                  <a:pt x="696" y="388"/>
                  <a:pt x="696" y="388"/>
                </a:cubicBezTo>
                <a:cubicBezTo>
                  <a:pt x="696" y="386"/>
                  <a:pt x="696" y="386"/>
                  <a:pt x="696" y="386"/>
                </a:cubicBezTo>
                <a:cubicBezTo>
                  <a:pt x="695" y="385"/>
                  <a:pt x="695" y="385"/>
                  <a:pt x="695" y="385"/>
                </a:cubicBezTo>
                <a:cubicBezTo>
                  <a:pt x="695" y="384"/>
                  <a:pt x="695" y="384"/>
                  <a:pt x="695" y="384"/>
                </a:cubicBezTo>
                <a:cubicBezTo>
                  <a:pt x="695" y="383"/>
                  <a:pt x="695" y="383"/>
                  <a:pt x="695" y="383"/>
                </a:cubicBezTo>
                <a:cubicBezTo>
                  <a:pt x="695" y="382"/>
                  <a:pt x="695" y="382"/>
                  <a:pt x="695" y="382"/>
                </a:cubicBezTo>
                <a:cubicBezTo>
                  <a:pt x="696" y="382"/>
                  <a:pt x="696" y="382"/>
                  <a:pt x="696" y="382"/>
                </a:cubicBezTo>
                <a:cubicBezTo>
                  <a:pt x="697" y="382"/>
                  <a:pt x="697" y="382"/>
                  <a:pt x="697" y="382"/>
                </a:cubicBezTo>
                <a:cubicBezTo>
                  <a:pt x="698" y="382"/>
                  <a:pt x="698" y="382"/>
                  <a:pt x="698" y="382"/>
                </a:cubicBezTo>
                <a:cubicBezTo>
                  <a:pt x="700" y="382"/>
                  <a:pt x="700" y="382"/>
                  <a:pt x="700" y="382"/>
                </a:cubicBezTo>
                <a:cubicBezTo>
                  <a:pt x="701" y="383"/>
                  <a:pt x="701" y="383"/>
                  <a:pt x="701" y="383"/>
                </a:cubicBezTo>
                <a:cubicBezTo>
                  <a:pt x="702" y="385"/>
                  <a:pt x="702" y="385"/>
                  <a:pt x="702" y="385"/>
                </a:cubicBezTo>
                <a:cubicBezTo>
                  <a:pt x="703" y="385"/>
                  <a:pt x="703" y="385"/>
                  <a:pt x="703" y="385"/>
                </a:cubicBezTo>
                <a:cubicBezTo>
                  <a:pt x="704" y="386"/>
                  <a:pt x="704" y="386"/>
                  <a:pt x="704" y="386"/>
                </a:cubicBezTo>
                <a:cubicBezTo>
                  <a:pt x="706" y="388"/>
                  <a:pt x="706" y="388"/>
                  <a:pt x="706" y="388"/>
                </a:cubicBezTo>
                <a:cubicBezTo>
                  <a:pt x="706" y="388"/>
                  <a:pt x="706" y="388"/>
                  <a:pt x="706" y="388"/>
                </a:cubicBezTo>
                <a:cubicBezTo>
                  <a:pt x="706" y="387"/>
                  <a:pt x="706" y="387"/>
                  <a:pt x="706" y="387"/>
                </a:cubicBezTo>
                <a:cubicBezTo>
                  <a:pt x="704" y="385"/>
                  <a:pt x="704" y="385"/>
                  <a:pt x="704" y="385"/>
                </a:cubicBezTo>
                <a:cubicBezTo>
                  <a:pt x="703" y="384"/>
                  <a:pt x="703" y="384"/>
                  <a:pt x="703" y="384"/>
                </a:cubicBezTo>
                <a:cubicBezTo>
                  <a:pt x="702" y="382"/>
                  <a:pt x="702" y="382"/>
                  <a:pt x="702" y="382"/>
                </a:cubicBezTo>
                <a:cubicBezTo>
                  <a:pt x="700" y="380"/>
                  <a:pt x="700" y="380"/>
                  <a:pt x="700" y="380"/>
                </a:cubicBezTo>
                <a:cubicBezTo>
                  <a:pt x="700" y="380"/>
                  <a:pt x="700" y="380"/>
                  <a:pt x="700" y="380"/>
                </a:cubicBezTo>
                <a:cubicBezTo>
                  <a:pt x="700" y="379"/>
                  <a:pt x="700" y="379"/>
                  <a:pt x="700" y="379"/>
                </a:cubicBezTo>
                <a:cubicBezTo>
                  <a:pt x="699" y="377"/>
                  <a:pt x="699" y="377"/>
                  <a:pt x="699" y="377"/>
                </a:cubicBezTo>
                <a:cubicBezTo>
                  <a:pt x="698" y="375"/>
                  <a:pt x="698" y="375"/>
                  <a:pt x="698" y="375"/>
                </a:cubicBezTo>
                <a:cubicBezTo>
                  <a:pt x="697" y="375"/>
                  <a:pt x="697" y="375"/>
                  <a:pt x="697" y="375"/>
                </a:cubicBezTo>
                <a:cubicBezTo>
                  <a:pt x="697" y="374"/>
                  <a:pt x="697" y="374"/>
                  <a:pt x="697" y="374"/>
                </a:cubicBezTo>
                <a:cubicBezTo>
                  <a:pt x="695" y="371"/>
                  <a:pt x="695" y="371"/>
                  <a:pt x="695" y="371"/>
                </a:cubicBezTo>
                <a:cubicBezTo>
                  <a:pt x="693" y="368"/>
                  <a:pt x="693" y="368"/>
                  <a:pt x="693" y="368"/>
                </a:cubicBezTo>
                <a:cubicBezTo>
                  <a:pt x="693" y="367"/>
                  <a:pt x="693" y="367"/>
                  <a:pt x="693" y="367"/>
                </a:cubicBezTo>
                <a:cubicBezTo>
                  <a:pt x="691" y="364"/>
                  <a:pt x="691" y="364"/>
                  <a:pt x="691" y="364"/>
                </a:cubicBezTo>
                <a:cubicBezTo>
                  <a:pt x="690" y="362"/>
                  <a:pt x="690" y="362"/>
                  <a:pt x="690" y="362"/>
                </a:cubicBezTo>
                <a:cubicBezTo>
                  <a:pt x="689" y="361"/>
                  <a:pt x="689" y="361"/>
                  <a:pt x="689" y="361"/>
                </a:cubicBezTo>
                <a:cubicBezTo>
                  <a:pt x="689" y="360"/>
                  <a:pt x="689" y="360"/>
                  <a:pt x="689" y="360"/>
                </a:cubicBezTo>
                <a:cubicBezTo>
                  <a:pt x="688" y="359"/>
                  <a:pt x="688" y="359"/>
                  <a:pt x="688" y="359"/>
                </a:cubicBezTo>
                <a:cubicBezTo>
                  <a:pt x="687" y="358"/>
                  <a:pt x="687" y="358"/>
                  <a:pt x="687" y="358"/>
                </a:cubicBezTo>
                <a:cubicBezTo>
                  <a:pt x="687" y="359"/>
                  <a:pt x="687" y="359"/>
                  <a:pt x="687" y="359"/>
                </a:cubicBezTo>
                <a:cubicBezTo>
                  <a:pt x="686" y="359"/>
                  <a:pt x="686" y="359"/>
                  <a:pt x="686" y="359"/>
                </a:cubicBezTo>
                <a:cubicBezTo>
                  <a:pt x="686" y="358"/>
                  <a:pt x="686" y="358"/>
                  <a:pt x="686" y="358"/>
                </a:cubicBezTo>
                <a:cubicBezTo>
                  <a:pt x="686" y="357"/>
                  <a:pt x="686" y="357"/>
                  <a:pt x="686" y="357"/>
                </a:cubicBezTo>
                <a:cubicBezTo>
                  <a:pt x="686" y="356"/>
                  <a:pt x="686" y="356"/>
                  <a:pt x="686" y="356"/>
                </a:cubicBezTo>
                <a:cubicBezTo>
                  <a:pt x="685" y="356"/>
                  <a:pt x="685" y="356"/>
                  <a:pt x="685" y="356"/>
                </a:cubicBezTo>
                <a:cubicBezTo>
                  <a:pt x="684" y="354"/>
                  <a:pt x="684" y="354"/>
                  <a:pt x="684" y="354"/>
                </a:cubicBezTo>
                <a:cubicBezTo>
                  <a:pt x="683" y="353"/>
                  <a:pt x="683" y="353"/>
                  <a:pt x="683" y="353"/>
                </a:cubicBezTo>
                <a:cubicBezTo>
                  <a:pt x="682" y="352"/>
                  <a:pt x="682" y="352"/>
                  <a:pt x="682" y="352"/>
                </a:cubicBezTo>
                <a:cubicBezTo>
                  <a:pt x="682" y="350"/>
                  <a:pt x="682" y="350"/>
                  <a:pt x="682" y="350"/>
                </a:cubicBezTo>
                <a:cubicBezTo>
                  <a:pt x="683" y="349"/>
                  <a:pt x="683" y="349"/>
                  <a:pt x="683" y="349"/>
                </a:cubicBezTo>
                <a:cubicBezTo>
                  <a:pt x="683" y="349"/>
                  <a:pt x="683" y="349"/>
                  <a:pt x="683" y="349"/>
                </a:cubicBezTo>
                <a:cubicBezTo>
                  <a:pt x="683" y="348"/>
                  <a:pt x="683" y="348"/>
                  <a:pt x="683" y="348"/>
                </a:cubicBezTo>
                <a:cubicBezTo>
                  <a:pt x="682" y="346"/>
                  <a:pt x="682" y="346"/>
                  <a:pt x="682" y="346"/>
                </a:cubicBezTo>
                <a:cubicBezTo>
                  <a:pt x="682" y="344"/>
                  <a:pt x="682" y="344"/>
                  <a:pt x="682" y="344"/>
                </a:cubicBezTo>
                <a:cubicBezTo>
                  <a:pt x="681" y="344"/>
                  <a:pt x="681" y="344"/>
                  <a:pt x="681" y="344"/>
                </a:cubicBezTo>
                <a:cubicBezTo>
                  <a:pt x="679" y="342"/>
                  <a:pt x="679" y="342"/>
                  <a:pt x="679" y="342"/>
                </a:cubicBezTo>
                <a:cubicBezTo>
                  <a:pt x="679" y="341"/>
                  <a:pt x="679" y="341"/>
                  <a:pt x="679" y="341"/>
                </a:cubicBezTo>
                <a:cubicBezTo>
                  <a:pt x="679" y="341"/>
                  <a:pt x="679" y="341"/>
                  <a:pt x="679" y="341"/>
                </a:cubicBezTo>
                <a:cubicBezTo>
                  <a:pt x="679" y="340"/>
                  <a:pt x="679" y="340"/>
                  <a:pt x="679" y="340"/>
                </a:cubicBezTo>
                <a:cubicBezTo>
                  <a:pt x="679" y="340"/>
                  <a:pt x="679" y="340"/>
                  <a:pt x="679" y="340"/>
                </a:cubicBezTo>
                <a:cubicBezTo>
                  <a:pt x="680" y="341"/>
                  <a:pt x="680" y="341"/>
                  <a:pt x="680" y="341"/>
                </a:cubicBezTo>
                <a:cubicBezTo>
                  <a:pt x="681" y="343"/>
                  <a:pt x="681" y="343"/>
                  <a:pt x="681" y="343"/>
                </a:cubicBezTo>
                <a:cubicBezTo>
                  <a:pt x="681" y="341"/>
                  <a:pt x="681" y="341"/>
                  <a:pt x="681" y="341"/>
                </a:cubicBezTo>
                <a:cubicBezTo>
                  <a:pt x="679" y="339"/>
                  <a:pt x="679" y="339"/>
                  <a:pt x="679" y="339"/>
                </a:cubicBezTo>
                <a:cubicBezTo>
                  <a:pt x="678" y="338"/>
                  <a:pt x="678" y="338"/>
                  <a:pt x="678" y="338"/>
                </a:cubicBezTo>
                <a:cubicBezTo>
                  <a:pt x="677" y="338"/>
                  <a:pt x="677" y="338"/>
                  <a:pt x="677" y="338"/>
                </a:cubicBezTo>
                <a:cubicBezTo>
                  <a:pt x="677" y="336"/>
                  <a:pt x="677" y="336"/>
                  <a:pt x="677" y="336"/>
                </a:cubicBezTo>
                <a:cubicBezTo>
                  <a:pt x="675" y="334"/>
                  <a:pt x="675" y="334"/>
                  <a:pt x="675" y="334"/>
                </a:cubicBezTo>
                <a:cubicBezTo>
                  <a:pt x="674" y="333"/>
                  <a:pt x="674" y="333"/>
                  <a:pt x="674" y="333"/>
                </a:cubicBezTo>
                <a:cubicBezTo>
                  <a:pt x="674" y="331"/>
                  <a:pt x="674" y="331"/>
                  <a:pt x="674" y="331"/>
                </a:cubicBezTo>
                <a:cubicBezTo>
                  <a:pt x="673" y="330"/>
                  <a:pt x="673" y="330"/>
                  <a:pt x="673" y="330"/>
                </a:cubicBezTo>
                <a:cubicBezTo>
                  <a:pt x="671" y="329"/>
                  <a:pt x="671" y="329"/>
                  <a:pt x="671" y="329"/>
                </a:cubicBezTo>
                <a:cubicBezTo>
                  <a:pt x="670" y="328"/>
                  <a:pt x="670" y="328"/>
                  <a:pt x="670" y="328"/>
                </a:cubicBezTo>
                <a:cubicBezTo>
                  <a:pt x="670" y="327"/>
                  <a:pt x="670" y="327"/>
                  <a:pt x="670" y="327"/>
                </a:cubicBezTo>
                <a:cubicBezTo>
                  <a:pt x="669" y="328"/>
                  <a:pt x="669" y="328"/>
                  <a:pt x="669" y="328"/>
                </a:cubicBezTo>
                <a:cubicBezTo>
                  <a:pt x="670" y="328"/>
                  <a:pt x="670" y="328"/>
                  <a:pt x="670" y="328"/>
                </a:cubicBezTo>
                <a:cubicBezTo>
                  <a:pt x="670" y="329"/>
                  <a:pt x="670" y="329"/>
                  <a:pt x="670" y="329"/>
                </a:cubicBezTo>
                <a:cubicBezTo>
                  <a:pt x="669" y="329"/>
                  <a:pt x="669" y="329"/>
                  <a:pt x="669" y="329"/>
                </a:cubicBezTo>
                <a:cubicBezTo>
                  <a:pt x="668" y="329"/>
                  <a:pt x="668" y="329"/>
                  <a:pt x="668" y="329"/>
                </a:cubicBezTo>
                <a:cubicBezTo>
                  <a:pt x="667" y="329"/>
                  <a:pt x="667" y="329"/>
                  <a:pt x="667" y="329"/>
                </a:cubicBezTo>
                <a:cubicBezTo>
                  <a:pt x="669" y="331"/>
                  <a:pt x="669" y="331"/>
                  <a:pt x="669" y="331"/>
                </a:cubicBezTo>
                <a:cubicBezTo>
                  <a:pt x="671" y="332"/>
                  <a:pt x="671" y="332"/>
                  <a:pt x="671" y="332"/>
                </a:cubicBezTo>
                <a:cubicBezTo>
                  <a:pt x="672" y="333"/>
                  <a:pt x="672" y="333"/>
                  <a:pt x="672" y="333"/>
                </a:cubicBezTo>
                <a:cubicBezTo>
                  <a:pt x="671" y="334"/>
                  <a:pt x="671" y="334"/>
                  <a:pt x="671" y="334"/>
                </a:cubicBezTo>
                <a:cubicBezTo>
                  <a:pt x="672" y="334"/>
                  <a:pt x="672" y="334"/>
                  <a:pt x="672" y="334"/>
                </a:cubicBezTo>
                <a:cubicBezTo>
                  <a:pt x="673" y="334"/>
                  <a:pt x="673" y="334"/>
                  <a:pt x="673" y="334"/>
                </a:cubicBezTo>
                <a:cubicBezTo>
                  <a:pt x="673" y="335"/>
                  <a:pt x="673" y="335"/>
                  <a:pt x="673" y="335"/>
                </a:cubicBezTo>
                <a:cubicBezTo>
                  <a:pt x="673" y="335"/>
                  <a:pt x="673" y="335"/>
                  <a:pt x="673" y="335"/>
                </a:cubicBezTo>
                <a:cubicBezTo>
                  <a:pt x="672" y="335"/>
                  <a:pt x="672" y="335"/>
                  <a:pt x="672" y="335"/>
                </a:cubicBezTo>
                <a:cubicBezTo>
                  <a:pt x="672" y="336"/>
                  <a:pt x="672" y="336"/>
                  <a:pt x="672" y="336"/>
                </a:cubicBezTo>
                <a:cubicBezTo>
                  <a:pt x="673" y="336"/>
                  <a:pt x="673" y="336"/>
                  <a:pt x="673" y="336"/>
                </a:cubicBezTo>
                <a:cubicBezTo>
                  <a:pt x="673" y="338"/>
                  <a:pt x="673" y="338"/>
                  <a:pt x="673" y="338"/>
                </a:cubicBezTo>
                <a:cubicBezTo>
                  <a:pt x="672" y="338"/>
                  <a:pt x="672" y="338"/>
                  <a:pt x="672" y="338"/>
                </a:cubicBezTo>
                <a:cubicBezTo>
                  <a:pt x="671" y="338"/>
                  <a:pt x="671" y="338"/>
                  <a:pt x="671" y="338"/>
                </a:cubicBezTo>
                <a:cubicBezTo>
                  <a:pt x="671" y="337"/>
                  <a:pt x="671" y="337"/>
                  <a:pt x="671" y="337"/>
                </a:cubicBezTo>
                <a:cubicBezTo>
                  <a:pt x="670" y="338"/>
                  <a:pt x="670" y="338"/>
                  <a:pt x="670" y="338"/>
                </a:cubicBezTo>
                <a:cubicBezTo>
                  <a:pt x="669" y="339"/>
                  <a:pt x="669" y="339"/>
                  <a:pt x="669" y="339"/>
                </a:cubicBezTo>
                <a:cubicBezTo>
                  <a:pt x="670" y="341"/>
                  <a:pt x="670" y="341"/>
                  <a:pt x="670" y="341"/>
                </a:cubicBezTo>
                <a:cubicBezTo>
                  <a:pt x="671" y="342"/>
                  <a:pt x="671" y="342"/>
                  <a:pt x="671" y="342"/>
                </a:cubicBezTo>
                <a:cubicBezTo>
                  <a:pt x="672" y="344"/>
                  <a:pt x="672" y="344"/>
                  <a:pt x="672" y="344"/>
                </a:cubicBezTo>
                <a:cubicBezTo>
                  <a:pt x="673" y="346"/>
                  <a:pt x="673" y="346"/>
                  <a:pt x="673" y="346"/>
                </a:cubicBezTo>
                <a:cubicBezTo>
                  <a:pt x="673" y="348"/>
                  <a:pt x="673" y="348"/>
                  <a:pt x="673" y="348"/>
                </a:cubicBezTo>
                <a:cubicBezTo>
                  <a:pt x="673" y="349"/>
                  <a:pt x="673" y="349"/>
                  <a:pt x="673" y="349"/>
                </a:cubicBezTo>
                <a:cubicBezTo>
                  <a:pt x="674" y="351"/>
                  <a:pt x="674" y="351"/>
                  <a:pt x="674" y="351"/>
                </a:cubicBezTo>
                <a:cubicBezTo>
                  <a:pt x="675" y="354"/>
                  <a:pt x="675" y="354"/>
                  <a:pt x="675" y="354"/>
                </a:cubicBezTo>
                <a:cubicBezTo>
                  <a:pt x="676" y="356"/>
                  <a:pt x="676" y="356"/>
                  <a:pt x="676" y="356"/>
                </a:cubicBezTo>
                <a:cubicBezTo>
                  <a:pt x="677" y="357"/>
                  <a:pt x="677" y="357"/>
                  <a:pt x="677" y="357"/>
                </a:cubicBezTo>
                <a:cubicBezTo>
                  <a:pt x="677" y="357"/>
                  <a:pt x="677" y="357"/>
                  <a:pt x="677" y="357"/>
                </a:cubicBezTo>
                <a:cubicBezTo>
                  <a:pt x="676" y="358"/>
                  <a:pt x="676" y="358"/>
                  <a:pt x="676" y="358"/>
                </a:cubicBezTo>
                <a:cubicBezTo>
                  <a:pt x="680" y="361"/>
                  <a:pt x="680" y="361"/>
                  <a:pt x="680" y="361"/>
                </a:cubicBezTo>
                <a:cubicBezTo>
                  <a:pt x="681" y="361"/>
                  <a:pt x="681" y="361"/>
                  <a:pt x="681" y="361"/>
                </a:cubicBezTo>
                <a:cubicBezTo>
                  <a:pt x="682" y="363"/>
                  <a:pt x="682" y="363"/>
                  <a:pt x="682" y="363"/>
                </a:cubicBezTo>
                <a:cubicBezTo>
                  <a:pt x="682" y="365"/>
                  <a:pt x="682" y="365"/>
                  <a:pt x="682" y="365"/>
                </a:cubicBezTo>
                <a:cubicBezTo>
                  <a:pt x="682" y="367"/>
                  <a:pt x="682" y="367"/>
                  <a:pt x="682" y="367"/>
                </a:cubicBezTo>
                <a:cubicBezTo>
                  <a:pt x="683" y="369"/>
                  <a:pt x="683" y="369"/>
                  <a:pt x="683" y="369"/>
                </a:cubicBezTo>
                <a:cubicBezTo>
                  <a:pt x="683" y="370"/>
                  <a:pt x="683" y="370"/>
                  <a:pt x="683" y="370"/>
                </a:cubicBezTo>
                <a:cubicBezTo>
                  <a:pt x="684" y="371"/>
                  <a:pt x="684" y="371"/>
                  <a:pt x="684" y="371"/>
                </a:cubicBezTo>
                <a:cubicBezTo>
                  <a:pt x="686" y="372"/>
                  <a:pt x="686" y="372"/>
                  <a:pt x="686" y="372"/>
                </a:cubicBezTo>
                <a:cubicBezTo>
                  <a:pt x="685" y="372"/>
                  <a:pt x="685" y="372"/>
                  <a:pt x="685" y="372"/>
                </a:cubicBezTo>
                <a:cubicBezTo>
                  <a:pt x="685" y="373"/>
                  <a:pt x="685" y="373"/>
                  <a:pt x="685" y="373"/>
                </a:cubicBezTo>
                <a:cubicBezTo>
                  <a:pt x="687" y="375"/>
                  <a:pt x="687" y="375"/>
                  <a:pt x="687" y="375"/>
                </a:cubicBezTo>
                <a:cubicBezTo>
                  <a:pt x="687" y="377"/>
                  <a:pt x="687" y="377"/>
                  <a:pt x="687" y="377"/>
                </a:cubicBezTo>
                <a:cubicBezTo>
                  <a:pt x="688" y="378"/>
                  <a:pt x="688" y="378"/>
                  <a:pt x="688" y="378"/>
                </a:cubicBezTo>
                <a:cubicBezTo>
                  <a:pt x="688" y="381"/>
                  <a:pt x="688" y="381"/>
                  <a:pt x="688" y="381"/>
                </a:cubicBezTo>
                <a:cubicBezTo>
                  <a:pt x="688" y="382"/>
                  <a:pt x="688" y="382"/>
                  <a:pt x="688" y="382"/>
                </a:cubicBezTo>
                <a:cubicBezTo>
                  <a:pt x="688" y="383"/>
                  <a:pt x="688" y="383"/>
                  <a:pt x="688" y="383"/>
                </a:cubicBezTo>
                <a:cubicBezTo>
                  <a:pt x="688" y="385"/>
                  <a:pt x="688" y="385"/>
                  <a:pt x="688" y="385"/>
                </a:cubicBezTo>
                <a:cubicBezTo>
                  <a:pt x="689" y="387"/>
                  <a:pt x="689" y="387"/>
                  <a:pt x="689" y="387"/>
                </a:cubicBezTo>
                <a:cubicBezTo>
                  <a:pt x="689" y="388"/>
                  <a:pt x="689" y="388"/>
                  <a:pt x="689" y="388"/>
                </a:cubicBezTo>
                <a:cubicBezTo>
                  <a:pt x="689" y="390"/>
                  <a:pt x="689" y="390"/>
                  <a:pt x="689" y="390"/>
                </a:cubicBezTo>
                <a:cubicBezTo>
                  <a:pt x="690" y="391"/>
                  <a:pt x="690" y="391"/>
                  <a:pt x="690" y="391"/>
                </a:cubicBezTo>
                <a:cubicBezTo>
                  <a:pt x="693" y="394"/>
                  <a:pt x="693" y="394"/>
                  <a:pt x="693" y="394"/>
                </a:cubicBezTo>
                <a:cubicBezTo>
                  <a:pt x="693" y="395"/>
                  <a:pt x="693" y="395"/>
                  <a:pt x="693" y="395"/>
                </a:cubicBezTo>
                <a:cubicBezTo>
                  <a:pt x="694" y="397"/>
                  <a:pt x="694" y="397"/>
                  <a:pt x="694" y="397"/>
                </a:cubicBezTo>
                <a:cubicBezTo>
                  <a:pt x="694" y="399"/>
                  <a:pt x="694" y="399"/>
                  <a:pt x="694" y="399"/>
                </a:cubicBezTo>
                <a:cubicBezTo>
                  <a:pt x="694" y="402"/>
                  <a:pt x="694" y="402"/>
                  <a:pt x="694" y="402"/>
                </a:cubicBezTo>
                <a:cubicBezTo>
                  <a:pt x="695" y="404"/>
                  <a:pt x="695" y="404"/>
                  <a:pt x="695" y="404"/>
                </a:cubicBezTo>
                <a:cubicBezTo>
                  <a:pt x="695" y="405"/>
                  <a:pt x="695" y="405"/>
                  <a:pt x="695" y="405"/>
                </a:cubicBezTo>
                <a:cubicBezTo>
                  <a:pt x="697" y="407"/>
                  <a:pt x="697" y="407"/>
                  <a:pt x="697" y="407"/>
                </a:cubicBezTo>
                <a:cubicBezTo>
                  <a:pt x="697" y="408"/>
                  <a:pt x="697" y="408"/>
                  <a:pt x="697" y="408"/>
                </a:cubicBezTo>
                <a:cubicBezTo>
                  <a:pt x="697" y="410"/>
                  <a:pt x="697" y="410"/>
                  <a:pt x="697" y="410"/>
                </a:cubicBezTo>
                <a:cubicBezTo>
                  <a:pt x="697" y="413"/>
                  <a:pt x="697" y="413"/>
                  <a:pt x="697" y="413"/>
                </a:cubicBezTo>
                <a:cubicBezTo>
                  <a:pt x="697" y="414"/>
                  <a:pt x="697" y="414"/>
                  <a:pt x="697" y="414"/>
                </a:cubicBezTo>
                <a:cubicBezTo>
                  <a:pt x="698" y="415"/>
                  <a:pt x="698" y="415"/>
                  <a:pt x="698" y="415"/>
                </a:cubicBezTo>
                <a:cubicBezTo>
                  <a:pt x="699" y="417"/>
                  <a:pt x="699" y="417"/>
                  <a:pt x="699" y="417"/>
                </a:cubicBezTo>
                <a:cubicBezTo>
                  <a:pt x="701" y="418"/>
                  <a:pt x="701" y="418"/>
                  <a:pt x="701" y="418"/>
                </a:cubicBezTo>
                <a:close/>
                <a:moveTo>
                  <a:pt x="637" y="329"/>
                </a:moveTo>
                <a:cubicBezTo>
                  <a:pt x="637" y="329"/>
                  <a:pt x="637" y="329"/>
                  <a:pt x="637" y="329"/>
                </a:cubicBezTo>
                <a:cubicBezTo>
                  <a:pt x="637" y="328"/>
                  <a:pt x="637" y="328"/>
                  <a:pt x="637" y="328"/>
                </a:cubicBezTo>
                <a:cubicBezTo>
                  <a:pt x="638" y="328"/>
                  <a:pt x="638" y="328"/>
                  <a:pt x="638" y="328"/>
                </a:cubicBezTo>
                <a:cubicBezTo>
                  <a:pt x="638" y="328"/>
                  <a:pt x="638" y="328"/>
                  <a:pt x="638" y="328"/>
                </a:cubicBezTo>
                <a:cubicBezTo>
                  <a:pt x="639" y="329"/>
                  <a:pt x="639" y="329"/>
                  <a:pt x="639" y="329"/>
                </a:cubicBezTo>
                <a:cubicBezTo>
                  <a:pt x="640" y="329"/>
                  <a:pt x="640" y="329"/>
                  <a:pt x="640" y="329"/>
                </a:cubicBezTo>
                <a:cubicBezTo>
                  <a:pt x="641" y="329"/>
                  <a:pt x="641" y="329"/>
                  <a:pt x="641" y="329"/>
                </a:cubicBezTo>
                <a:cubicBezTo>
                  <a:pt x="641" y="328"/>
                  <a:pt x="641" y="328"/>
                  <a:pt x="641" y="328"/>
                </a:cubicBezTo>
                <a:cubicBezTo>
                  <a:pt x="641" y="327"/>
                  <a:pt x="641" y="327"/>
                  <a:pt x="641" y="327"/>
                </a:cubicBezTo>
                <a:cubicBezTo>
                  <a:pt x="641" y="326"/>
                  <a:pt x="641" y="326"/>
                  <a:pt x="641" y="326"/>
                </a:cubicBezTo>
                <a:cubicBezTo>
                  <a:pt x="642" y="326"/>
                  <a:pt x="642" y="326"/>
                  <a:pt x="642" y="326"/>
                </a:cubicBezTo>
                <a:cubicBezTo>
                  <a:pt x="642" y="325"/>
                  <a:pt x="642" y="325"/>
                  <a:pt x="642" y="325"/>
                </a:cubicBezTo>
                <a:cubicBezTo>
                  <a:pt x="641" y="325"/>
                  <a:pt x="641" y="325"/>
                  <a:pt x="641" y="325"/>
                </a:cubicBezTo>
                <a:cubicBezTo>
                  <a:pt x="640" y="326"/>
                  <a:pt x="640" y="326"/>
                  <a:pt x="640" y="326"/>
                </a:cubicBezTo>
                <a:cubicBezTo>
                  <a:pt x="640" y="326"/>
                  <a:pt x="640" y="326"/>
                  <a:pt x="640" y="326"/>
                </a:cubicBezTo>
                <a:cubicBezTo>
                  <a:pt x="640" y="326"/>
                  <a:pt x="640" y="326"/>
                  <a:pt x="640" y="326"/>
                </a:cubicBezTo>
                <a:cubicBezTo>
                  <a:pt x="640" y="325"/>
                  <a:pt x="640" y="325"/>
                  <a:pt x="640" y="325"/>
                </a:cubicBezTo>
                <a:cubicBezTo>
                  <a:pt x="640" y="324"/>
                  <a:pt x="640" y="324"/>
                  <a:pt x="640" y="324"/>
                </a:cubicBezTo>
                <a:cubicBezTo>
                  <a:pt x="640" y="324"/>
                  <a:pt x="640" y="324"/>
                  <a:pt x="640" y="324"/>
                </a:cubicBezTo>
                <a:cubicBezTo>
                  <a:pt x="638" y="324"/>
                  <a:pt x="638" y="324"/>
                  <a:pt x="638" y="324"/>
                </a:cubicBezTo>
                <a:cubicBezTo>
                  <a:pt x="638" y="324"/>
                  <a:pt x="638" y="324"/>
                  <a:pt x="638" y="324"/>
                </a:cubicBezTo>
                <a:cubicBezTo>
                  <a:pt x="637" y="325"/>
                  <a:pt x="637" y="325"/>
                  <a:pt x="637" y="325"/>
                </a:cubicBezTo>
                <a:cubicBezTo>
                  <a:pt x="637" y="326"/>
                  <a:pt x="637" y="326"/>
                  <a:pt x="637" y="326"/>
                </a:cubicBezTo>
                <a:cubicBezTo>
                  <a:pt x="636" y="326"/>
                  <a:pt x="636" y="326"/>
                  <a:pt x="636" y="326"/>
                </a:cubicBezTo>
                <a:cubicBezTo>
                  <a:pt x="636" y="327"/>
                  <a:pt x="636" y="327"/>
                  <a:pt x="636" y="327"/>
                </a:cubicBezTo>
                <a:cubicBezTo>
                  <a:pt x="637" y="329"/>
                  <a:pt x="637" y="329"/>
                  <a:pt x="637" y="329"/>
                </a:cubicBezTo>
                <a:close/>
                <a:moveTo>
                  <a:pt x="633" y="328"/>
                </a:moveTo>
                <a:cubicBezTo>
                  <a:pt x="633" y="328"/>
                  <a:pt x="633" y="328"/>
                  <a:pt x="633" y="328"/>
                </a:cubicBezTo>
                <a:cubicBezTo>
                  <a:pt x="633" y="328"/>
                  <a:pt x="633" y="328"/>
                  <a:pt x="633" y="328"/>
                </a:cubicBezTo>
                <a:cubicBezTo>
                  <a:pt x="634" y="327"/>
                  <a:pt x="634" y="327"/>
                  <a:pt x="634" y="327"/>
                </a:cubicBezTo>
                <a:cubicBezTo>
                  <a:pt x="634" y="328"/>
                  <a:pt x="634" y="328"/>
                  <a:pt x="634" y="328"/>
                </a:cubicBezTo>
                <a:cubicBezTo>
                  <a:pt x="635" y="327"/>
                  <a:pt x="635" y="327"/>
                  <a:pt x="635" y="327"/>
                </a:cubicBezTo>
                <a:cubicBezTo>
                  <a:pt x="634" y="326"/>
                  <a:pt x="634" y="326"/>
                  <a:pt x="634" y="326"/>
                </a:cubicBezTo>
                <a:cubicBezTo>
                  <a:pt x="635" y="326"/>
                  <a:pt x="635" y="326"/>
                  <a:pt x="635" y="326"/>
                </a:cubicBezTo>
                <a:cubicBezTo>
                  <a:pt x="635" y="325"/>
                  <a:pt x="635" y="325"/>
                  <a:pt x="635" y="325"/>
                </a:cubicBezTo>
                <a:cubicBezTo>
                  <a:pt x="634" y="325"/>
                  <a:pt x="634" y="325"/>
                  <a:pt x="634" y="325"/>
                </a:cubicBezTo>
                <a:cubicBezTo>
                  <a:pt x="633" y="326"/>
                  <a:pt x="633" y="326"/>
                  <a:pt x="633" y="326"/>
                </a:cubicBezTo>
                <a:cubicBezTo>
                  <a:pt x="632" y="326"/>
                  <a:pt x="632" y="326"/>
                  <a:pt x="632" y="326"/>
                </a:cubicBezTo>
                <a:cubicBezTo>
                  <a:pt x="632" y="327"/>
                  <a:pt x="632" y="327"/>
                  <a:pt x="632" y="327"/>
                </a:cubicBezTo>
                <a:cubicBezTo>
                  <a:pt x="633" y="328"/>
                  <a:pt x="633" y="328"/>
                  <a:pt x="633" y="328"/>
                </a:cubicBezTo>
                <a:close/>
                <a:moveTo>
                  <a:pt x="641" y="332"/>
                </a:moveTo>
                <a:cubicBezTo>
                  <a:pt x="641" y="333"/>
                  <a:pt x="641" y="333"/>
                  <a:pt x="641" y="333"/>
                </a:cubicBezTo>
                <a:cubicBezTo>
                  <a:pt x="642" y="332"/>
                  <a:pt x="642" y="332"/>
                  <a:pt x="642" y="332"/>
                </a:cubicBezTo>
                <a:cubicBezTo>
                  <a:pt x="642" y="331"/>
                  <a:pt x="642" y="331"/>
                  <a:pt x="642" y="331"/>
                </a:cubicBezTo>
                <a:cubicBezTo>
                  <a:pt x="642" y="331"/>
                  <a:pt x="642" y="331"/>
                  <a:pt x="642" y="331"/>
                </a:cubicBezTo>
                <a:cubicBezTo>
                  <a:pt x="642" y="331"/>
                  <a:pt x="642" y="331"/>
                  <a:pt x="642" y="331"/>
                </a:cubicBezTo>
                <a:cubicBezTo>
                  <a:pt x="642" y="331"/>
                  <a:pt x="642" y="331"/>
                  <a:pt x="642" y="331"/>
                </a:cubicBezTo>
                <a:cubicBezTo>
                  <a:pt x="641" y="332"/>
                  <a:pt x="641" y="332"/>
                  <a:pt x="641" y="332"/>
                </a:cubicBezTo>
                <a:close/>
                <a:moveTo>
                  <a:pt x="640" y="331"/>
                </a:moveTo>
                <a:cubicBezTo>
                  <a:pt x="640" y="332"/>
                  <a:pt x="640" y="332"/>
                  <a:pt x="640" y="332"/>
                </a:cubicBezTo>
                <a:cubicBezTo>
                  <a:pt x="640" y="332"/>
                  <a:pt x="640" y="332"/>
                  <a:pt x="640" y="332"/>
                </a:cubicBezTo>
                <a:cubicBezTo>
                  <a:pt x="641" y="332"/>
                  <a:pt x="641" y="332"/>
                  <a:pt x="641" y="332"/>
                </a:cubicBezTo>
                <a:cubicBezTo>
                  <a:pt x="641" y="331"/>
                  <a:pt x="641" y="331"/>
                  <a:pt x="641" y="331"/>
                </a:cubicBezTo>
                <a:cubicBezTo>
                  <a:pt x="640" y="330"/>
                  <a:pt x="640" y="330"/>
                  <a:pt x="640" y="330"/>
                </a:cubicBezTo>
                <a:cubicBezTo>
                  <a:pt x="640" y="331"/>
                  <a:pt x="640" y="331"/>
                  <a:pt x="640" y="331"/>
                </a:cubicBezTo>
                <a:close/>
                <a:moveTo>
                  <a:pt x="640" y="337"/>
                </a:moveTo>
                <a:cubicBezTo>
                  <a:pt x="641" y="335"/>
                  <a:pt x="641" y="335"/>
                  <a:pt x="641" y="335"/>
                </a:cubicBezTo>
                <a:cubicBezTo>
                  <a:pt x="642" y="335"/>
                  <a:pt x="642" y="335"/>
                  <a:pt x="642" y="335"/>
                </a:cubicBezTo>
                <a:cubicBezTo>
                  <a:pt x="642" y="334"/>
                  <a:pt x="642" y="334"/>
                  <a:pt x="642" y="334"/>
                </a:cubicBezTo>
                <a:cubicBezTo>
                  <a:pt x="642" y="334"/>
                  <a:pt x="642" y="334"/>
                  <a:pt x="642" y="334"/>
                </a:cubicBezTo>
                <a:cubicBezTo>
                  <a:pt x="642" y="333"/>
                  <a:pt x="642" y="333"/>
                  <a:pt x="642" y="333"/>
                </a:cubicBezTo>
                <a:cubicBezTo>
                  <a:pt x="640" y="334"/>
                  <a:pt x="640" y="334"/>
                  <a:pt x="640" y="334"/>
                </a:cubicBezTo>
                <a:cubicBezTo>
                  <a:pt x="639" y="335"/>
                  <a:pt x="639" y="335"/>
                  <a:pt x="639" y="335"/>
                </a:cubicBezTo>
                <a:cubicBezTo>
                  <a:pt x="639" y="336"/>
                  <a:pt x="639" y="336"/>
                  <a:pt x="639" y="336"/>
                </a:cubicBezTo>
                <a:cubicBezTo>
                  <a:pt x="640" y="337"/>
                  <a:pt x="640" y="337"/>
                  <a:pt x="640" y="337"/>
                </a:cubicBezTo>
                <a:close/>
                <a:moveTo>
                  <a:pt x="688" y="263"/>
                </a:moveTo>
                <a:cubicBezTo>
                  <a:pt x="689" y="263"/>
                  <a:pt x="689" y="263"/>
                  <a:pt x="689" y="263"/>
                </a:cubicBezTo>
                <a:cubicBezTo>
                  <a:pt x="690" y="262"/>
                  <a:pt x="690" y="262"/>
                  <a:pt x="690" y="262"/>
                </a:cubicBezTo>
                <a:cubicBezTo>
                  <a:pt x="690" y="261"/>
                  <a:pt x="690" y="261"/>
                  <a:pt x="690" y="261"/>
                </a:cubicBezTo>
                <a:cubicBezTo>
                  <a:pt x="689" y="261"/>
                  <a:pt x="689" y="261"/>
                  <a:pt x="689" y="261"/>
                </a:cubicBezTo>
                <a:cubicBezTo>
                  <a:pt x="688" y="262"/>
                  <a:pt x="688" y="262"/>
                  <a:pt x="688" y="262"/>
                </a:cubicBezTo>
                <a:cubicBezTo>
                  <a:pt x="688" y="263"/>
                  <a:pt x="688" y="263"/>
                  <a:pt x="688" y="263"/>
                </a:cubicBezTo>
                <a:close/>
                <a:moveTo>
                  <a:pt x="765" y="255"/>
                </a:moveTo>
                <a:cubicBezTo>
                  <a:pt x="766" y="255"/>
                  <a:pt x="766" y="255"/>
                  <a:pt x="766" y="255"/>
                </a:cubicBezTo>
                <a:cubicBezTo>
                  <a:pt x="765" y="254"/>
                  <a:pt x="765" y="254"/>
                  <a:pt x="765" y="254"/>
                </a:cubicBezTo>
                <a:cubicBezTo>
                  <a:pt x="765" y="253"/>
                  <a:pt x="765" y="253"/>
                  <a:pt x="765" y="253"/>
                </a:cubicBezTo>
                <a:cubicBezTo>
                  <a:pt x="765" y="252"/>
                  <a:pt x="765" y="252"/>
                  <a:pt x="765" y="252"/>
                </a:cubicBezTo>
                <a:cubicBezTo>
                  <a:pt x="765" y="251"/>
                  <a:pt x="765" y="251"/>
                  <a:pt x="765" y="251"/>
                </a:cubicBezTo>
                <a:cubicBezTo>
                  <a:pt x="766" y="250"/>
                  <a:pt x="766" y="250"/>
                  <a:pt x="766" y="250"/>
                </a:cubicBezTo>
                <a:cubicBezTo>
                  <a:pt x="767" y="249"/>
                  <a:pt x="767" y="249"/>
                  <a:pt x="767" y="249"/>
                </a:cubicBezTo>
                <a:cubicBezTo>
                  <a:pt x="768" y="248"/>
                  <a:pt x="768" y="248"/>
                  <a:pt x="768" y="248"/>
                </a:cubicBezTo>
                <a:cubicBezTo>
                  <a:pt x="769" y="247"/>
                  <a:pt x="769" y="247"/>
                  <a:pt x="769" y="247"/>
                </a:cubicBezTo>
                <a:cubicBezTo>
                  <a:pt x="769" y="246"/>
                  <a:pt x="769" y="246"/>
                  <a:pt x="769" y="246"/>
                </a:cubicBezTo>
                <a:cubicBezTo>
                  <a:pt x="768" y="244"/>
                  <a:pt x="768" y="244"/>
                  <a:pt x="768" y="244"/>
                </a:cubicBezTo>
                <a:cubicBezTo>
                  <a:pt x="766" y="243"/>
                  <a:pt x="766" y="243"/>
                  <a:pt x="766" y="243"/>
                </a:cubicBezTo>
                <a:cubicBezTo>
                  <a:pt x="766" y="242"/>
                  <a:pt x="766" y="242"/>
                  <a:pt x="766" y="242"/>
                </a:cubicBezTo>
                <a:cubicBezTo>
                  <a:pt x="765" y="243"/>
                  <a:pt x="765" y="243"/>
                  <a:pt x="765" y="243"/>
                </a:cubicBezTo>
                <a:cubicBezTo>
                  <a:pt x="765" y="244"/>
                  <a:pt x="765" y="244"/>
                  <a:pt x="765" y="244"/>
                </a:cubicBezTo>
                <a:cubicBezTo>
                  <a:pt x="764" y="244"/>
                  <a:pt x="764" y="244"/>
                  <a:pt x="764" y="244"/>
                </a:cubicBezTo>
                <a:cubicBezTo>
                  <a:pt x="763" y="246"/>
                  <a:pt x="763" y="246"/>
                  <a:pt x="763" y="246"/>
                </a:cubicBezTo>
                <a:cubicBezTo>
                  <a:pt x="762" y="246"/>
                  <a:pt x="762" y="246"/>
                  <a:pt x="762" y="246"/>
                </a:cubicBezTo>
                <a:cubicBezTo>
                  <a:pt x="762" y="247"/>
                  <a:pt x="762" y="247"/>
                  <a:pt x="762" y="247"/>
                </a:cubicBezTo>
                <a:cubicBezTo>
                  <a:pt x="762" y="247"/>
                  <a:pt x="762" y="247"/>
                  <a:pt x="762" y="247"/>
                </a:cubicBezTo>
                <a:cubicBezTo>
                  <a:pt x="763" y="247"/>
                  <a:pt x="763" y="247"/>
                  <a:pt x="763" y="247"/>
                </a:cubicBezTo>
                <a:cubicBezTo>
                  <a:pt x="764" y="247"/>
                  <a:pt x="764" y="247"/>
                  <a:pt x="764" y="247"/>
                </a:cubicBezTo>
                <a:cubicBezTo>
                  <a:pt x="763" y="248"/>
                  <a:pt x="763" y="248"/>
                  <a:pt x="763" y="248"/>
                </a:cubicBezTo>
                <a:cubicBezTo>
                  <a:pt x="764" y="250"/>
                  <a:pt x="764" y="250"/>
                  <a:pt x="764" y="250"/>
                </a:cubicBezTo>
                <a:cubicBezTo>
                  <a:pt x="764" y="251"/>
                  <a:pt x="764" y="251"/>
                  <a:pt x="764" y="251"/>
                </a:cubicBezTo>
                <a:cubicBezTo>
                  <a:pt x="764" y="252"/>
                  <a:pt x="764" y="252"/>
                  <a:pt x="764" y="252"/>
                </a:cubicBezTo>
                <a:cubicBezTo>
                  <a:pt x="764" y="253"/>
                  <a:pt x="764" y="253"/>
                  <a:pt x="764" y="253"/>
                </a:cubicBezTo>
                <a:cubicBezTo>
                  <a:pt x="764" y="254"/>
                  <a:pt x="764" y="254"/>
                  <a:pt x="764" y="254"/>
                </a:cubicBezTo>
                <a:cubicBezTo>
                  <a:pt x="765" y="255"/>
                  <a:pt x="765" y="255"/>
                  <a:pt x="765" y="255"/>
                </a:cubicBezTo>
                <a:close/>
                <a:moveTo>
                  <a:pt x="810" y="295"/>
                </a:moveTo>
                <a:cubicBezTo>
                  <a:pt x="811" y="296"/>
                  <a:pt x="811" y="296"/>
                  <a:pt x="811" y="296"/>
                </a:cubicBezTo>
                <a:cubicBezTo>
                  <a:pt x="812" y="296"/>
                  <a:pt x="812" y="296"/>
                  <a:pt x="812" y="296"/>
                </a:cubicBezTo>
                <a:cubicBezTo>
                  <a:pt x="814" y="297"/>
                  <a:pt x="814" y="297"/>
                  <a:pt x="814" y="297"/>
                </a:cubicBezTo>
                <a:cubicBezTo>
                  <a:pt x="815" y="298"/>
                  <a:pt x="815" y="298"/>
                  <a:pt x="815" y="298"/>
                </a:cubicBezTo>
                <a:cubicBezTo>
                  <a:pt x="816" y="298"/>
                  <a:pt x="816" y="298"/>
                  <a:pt x="816" y="298"/>
                </a:cubicBezTo>
                <a:cubicBezTo>
                  <a:pt x="818" y="298"/>
                  <a:pt x="818" y="298"/>
                  <a:pt x="818" y="298"/>
                </a:cubicBezTo>
                <a:cubicBezTo>
                  <a:pt x="817" y="297"/>
                  <a:pt x="817" y="297"/>
                  <a:pt x="817" y="297"/>
                </a:cubicBezTo>
                <a:cubicBezTo>
                  <a:pt x="815" y="297"/>
                  <a:pt x="815" y="297"/>
                  <a:pt x="815" y="297"/>
                </a:cubicBezTo>
                <a:cubicBezTo>
                  <a:pt x="815" y="296"/>
                  <a:pt x="815" y="296"/>
                  <a:pt x="815" y="296"/>
                </a:cubicBezTo>
                <a:cubicBezTo>
                  <a:pt x="813" y="296"/>
                  <a:pt x="813" y="296"/>
                  <a:pt x="813" y="296"/>
                </a:cubicBezTo>
                <a:cubicBezTo>
                  <a:pt x="812" y="295"/>
                  <a:pt x="812" y="295"/>
                  <a:pt x="812" y="295"/>
                </a:cubicBezTo>
                <a:cubicBezTo>
                  <a:pt x="811" y="294"/>
                  <a:pt x="811" y="294"/>
                  <a:pt x="811" y="294"/>
                </a:cubicBezTo>
                <a:cubicBezTo>
                  <a:pt x="810" y="295"/>
                  <a:pt x="810" y="295"/>
                  <a:pt x="810" y="295"/>
                </a:cubicBezTo>
                <a:close/>
                <a:moveTo>
                  <a:pt x="797" y="292"/>
                </a:moveTo>
                <a:cubicBezTo>
                  <a:pt x="798" y="292"/>
                  <a:pt x="798" y="292"/>
                  <a:pt x="798" y="292"/>
                </a:cubicBezTo>
                <a:cubicBezTo>
                  <a:pt x="799" y="292"/>
                  <a:pt x="799" y="292"/>
                  <a:pt x="799" y="292"/>
                </a:cubicBezTo>
                <a:cubicBezTo>
                  <a:pt x="800" y="293"/>
                  <a:pt x="800" y="293"/>
                  <a:pt x="800" y="293"/>
                </a:cubicBezTo>
                <a:cubicBezTo>
                  <a:pt x="800" y="293"/>
                  <a:pt x="800" y="293"/>
                  <a:pt x="800" y="293"/>
                </a:cubicBezTo>
                <a:cubicBezTo>
                  <a:pt x="801" y="295"/>
                  <a:pt x="801" y="295"/>
                  <a:pt x="801" y="295"/>
                </a:cubicBezTo>
                <a:cubicBezTo>
                  <a:pt x="802" y="295"/>
                  <a:pt x="802" y="295"/>
                  <a:pt x="802" y="295"/>
                </a:cubicBezTo>
                <a:cubicBezTo>
                  <a:pt x="803" y="296"/>
                  <a:pt x="803" y="296"/>
                  <a:pt x="803" y="296"/>
                </a:cubicBezTo>
                <a:cubicBezTo>
                  <a:pt x="804" y="296"/>
                  <a:pt x="804" y="296"/>
                  <a:pt x="804" y="296"/>
                </a:cubicBezTo>
                <a:cubicBezTo>
                  <a:pt x="804" y="296"/>
                  <a:pt x="804" y="296"/>
                  <a:pt x="804" y="296"/>
                </a:cubicBezTo>
                <a:cubicBezTo>
                  <a:pt x="805" y="297"/>
                  <a:pt x="805" y="297"/>
                  <a:pt x="805" y="297"/>
                </a:cubicBezTo>
                <a:cubicBezTo>
                  <a:pt x="807" y="297"/>
                  <a:pt x="807" y="297"/>
                  <a:pt x="807" y="297"/>
                </a:cubicBezTo>
                <a:cubicBezTo>
                  <a:pt x="807" y="297"/>
                  <a:pt x="807" y="297"/>
                  <a:pt x="807" y="297"/>
                </a:cubicBezTo>
                <a:cubicBezTo>
                  <a:pt x="806" y="295"/>
                  <a:pt x="806" y="295"/>
                  <a:pt x="806" y="295"/>
                </a:cubicBezTo>
                <a:cubicBezTo>
                  <a:pt x="805" y="295"/>
                  <a:pt x="805" y="295"/>
                  <a:pt x="805" y="295"/>
                </a:cubicBezTo>
                <a:cubicBezTo>
                  <a:pt x="803" y="294"/>
                  <a:pt x="803" y="294"/>
                  <a:pt x="803" y="294"/>
                </a:cubicBezTo>
                <a:cubicBezTo>
                  <a:pt x="803" y="293"/>
                  <a:pt x="803" y="293"/>
                  <a:pt x="803" y="293"/>
                </a:cubicBezTo>
                <a:cubicBezTo>
                  <a:pt x="802" y="292"/>
                  <a:pt x="802" y="292"/>
                  <a:pt x="802" y="292"/>
                </a:cubicBezTo>
                <a:cubicBezTo>
                  <a:pt x="801" y="291"/>
                  <a:pt x="801" y="291"/>
                  <a:pt x="801" y="291"/>
                </a:cubicBezTo>
                <a:cubicBezTo>
                  <a:pt x="801" y="290"/>
                  <a:pt x="801" y="290"/>
                  <a:pt x="801" y="290"/>
                </a:cubicBezTo>
                <a:cubicBezTo>
                  <a:pt x="801" y="290"/>
                  <a:pt x="801" y="290"/>
                  <a:pt x="801" y="290"/>
                </a:cubicBezTo>
                <a:cubicBezTo>
                  <a:pt x="800" y="290"/>
                  <a:pt x="800" y="290"/>
                  <a:pt x="800" y="290"/>
                </a:cubicBezTo>
                <a:cubicBezTo>
                  <a:pt x="799" y="290"/>
                  <a:pt x="799" y="290"/>
                  <a:pt x="799" y="290"/>
                </a:cubicBezTo>
                <a:cubicBezTo>
                  <a:pt x="798" y="290"/>
                  <a:pt x="798" y="290"/>
                  <a:pt x="798" y="290"/>
                </a:cubicBezTo>
                <a:cubicBezTo>
                  <a:pt x="797" y="291"/>
                  <a:pt x="797" y="291"/>
                  <a:pt x="797" y="291"/>
                </a:cubicBezTo>
                <a:cubicBezTo>
                  <a:pt x="797" y="292"/>
                  <a:pt x="797" y="292"/>
                  <a:pt x="797" y="292"/>
                </a:cubicBezTo>
                <a:close/>
                <a:moveTo>
                  <a:pt x="766" y="357"/>
                </a:moveTo>
                <a:cubicBezTo>
                  <a:pt x="767" y="357"/>
                  <a:pt x="767" y="357"/>
                  <a:pt x="767" y="357"/>
                </a:cubicBezTo>
                <a:cubicBezTo>
                  <a:pt x="767" y="356"/>
                  <a:pt x="767" y="356"/>
                  <a:pt x="767" y="356"/>
                </a:cubicBezTo>
                <a:cubicBezTo>
                  <a:pt x="767" y="355"/>
                  <a:pt x="767" y="355"/>
                  <a:pt x="767" y="355"/>
                </a:cubicBezTo>
                <a:cubicBezTo>
                  <a:pt x="766" y="354"/>
                  <a:pt x="766" y="354"/>
                  <a:pt x="766" y="354"/>
                </a:cubicBezTo>
                <a:cubicBezTo>
                  <a:pt x="766" y="355"/>
                  <a:pt x="766" y="355"/>
                  <a:pt x="766" y="355"/>
                </a:cubicBezTo>
                <a:cubicBezTo>
                  <a:pt x="766" y="356"/>
                  <a:pt x="766" y="356"/>
                  <a:pt x="766" y="356"/>
                </a:cubicBezTo>
                <a:cubicBezTo>
                  <a:pt x="766" y="357"/>
                  <a:pt x="766" y="357"/>
                  <a:pt x="766" y="357"/>
                </a:cubicBezTo>
                <a:close/>
                <a:moveTo>
                  <a:pt x="760" y="355"/>
                </a:moveTo>
                <a:cubicBezTo>
                  <a:pt x="760" y="356"/>
                  <a:pt x="760" y="356"/>
                  <a:pt x="760" y="356"/>
                </a:cubicBezTo>
                <a:cubicBezTo>
                  <a:pt x="760" y="356"/>
                  <a:pt x="760" y="356"/>
                  <a:pt x="760" y="356"/>
                </a:cubicBezTo>
                <a:cubicBezTo>
                  <a:pt x="762" y="356"/>
                  <a:pt x="762" y="356"/>
                  <a:pt x="762" y="356"/>
                </a:cubicBezTo>
                <a:cubicBezTo>
                  <a:pt x="762" y="355"/>
                  <a:pt x="762" y="355"/>
                  <a:pt x="762" y="355"/>
                </a:cubicBezTo>
                <a:cubicBezTo>
                  <a:pt x="761" y="354"/>
                  <a:pt x="761" y="354"/>
                  <a:pt x="761" y="354"/>
                </a:cubicBezTo>
                <a:cubicBezTo>
                  <a:pt x="760" y="355"/>
                  <a:pt x="760" y="355"/>
                  <a:pt x="760" y="355"/>
                </a:cubicBezTo>
                <a:close/>
                <a:moveTo>
                  <a:pt x="763" y="365"/>
                </a:moveTo>
                <a:cubicBezTo>
                  <a:pt x="764" y="365"/>
                  <a:pt x="764" y="365"/>
                  <a:pt x="764" y="365"/>
                </a:cubicBezTo>
                <a:cubicBezTo>
                  <a:pt x="764" y="364"/>
                  <a:pt x="764" y="364"/>
                  <a:pt x="764" y="364"/>
                </a:cubicBezTo>
                <a:cubicBezTo>
                  <a:pt x="764" y="363"/>
                  <a:pt x="764" y="363"/>
                  <a:pt x="764" y="363"/>
                </a:cubicBezTo>
                <a:cubicBezTo>
                  <a:pt x="765" y="363"/>
                  <a:pt x="765" y="363"/>
                  <a:pt x="765" y="363"/>
                </a:cubicBezTo>
                <a:cubicBezTo>
                  <a:pt x="766" y="361"/>
                  <a:pt x="766" y="361"/>
                  <a:pt x="766" y="361"/>
                </a:cubicBezTo>
                <a:cubicBezTo>
                  <a:pt x="766" y="360"/>
                  <a:pt x="766" y="360"/>
                  <a:pt x="766" y="360"/>
                </a:cubicBezTo>
                <a:cubicBezTo>
                  <a:pt x="766" y="359"/>
                  <a:pt x="766" y="359"/>
                  <a:pt x="766" y="359"/>
                </a:cubicBezTo>
                <a:cubicBezTo>
                  <a:pt x="767" y="358"/>
                  <a:pt x="767" y="358"/>
                  <a:pt x="767" y="358"/>
                </a:cubicBezTo>
                <a:cubicBezTo>
                  <a:pt x="766" y="357"/>
                  <a:pt x="766" y="357"/>
                  <a:pt x="766" y="357"/>
                </a:cubicBezTo>
                <a:cubicBezTo>
                  <a:pt x="764" y="356"/>
                  <a:pt x="764" y="356"/>
                  <a:pt x="764" y="356"/>
                </a:cubicBezTo>
                <a:cubicBezTo>
                  <a:pt x="764" y="357"/>
                  <a:pt x="764" y="357"/>
                  <a:pt x="764" y="357"/>
                </a:cubicBezTo>
                <a:cubicBezTo>
                  <a:pt x="764" y="359"/>
                  <a:pt x="764" y="359"/>
                  <a:pt x="764" y="359"/>
                </a:cubicBezTo>
                <a:cubicBezTo>
                  <a:pt x="764" y="360"/>
                  <a:pt x="764" y="360"/>
                  <a:pt x="764" y="360"/>
                </a:cubicBezTo>
                <a:cubicBezTo>
                  <a:pt x="763" y="360"/>
                  <a:pt x="763" y="360"/>
                  <a:pt x="763" y="360"/>
                </a:cubicBezTo>
                <a:cubicBezTo>
                  <a:pt x="762" y="362"/>
                  <a:pt x="762" y="362"/>
                  <a:pt x="762" y="362"/>
                </a:cubicBezTo>
                <a:cubicBezTo>
                  <a:pt x="761" y="362"/>
                  <a:pt x="761" y="362"/>
                  <a:pt x="761" y="362"/>
                </a:cubicBezTo>
                <a:cubicBezTo>
                  <a:pt x="761" y="362"/>
                  <a:pt x="761" y="362"/>
                  <a:pt x="761" y="362"/>
                </a:cubicBezTo>
                <a:cubicBezTo>
                  <a:pt x="762" y="363"/>
                  <a:pt x="762" y="363"/>
                  <a:pt x="762" y="363"/>
                </a:cubicBezTo>
                <a:cubicBezTo>
                  <a:pt x="762" y="364"/>
                  <a:pt x="762" y="364"/>
                  <a:pt x="762" y="364"/>
                </a:cubicBezTo>
                <a:cubicBezTo>
                  <a:pt x="761" y="364"/>
                  <a:pt x="761" y="364"/>
                  <a:pt x="761" y="364"/>
                </a:cubicBezTo>
                <a:cubicBezTo>
                  <a:pt x="762" y="365"/>
                  <a:pt x="762" y="365"/>
                  <a:pt x="762" y="365"/>
                </a:cubicBezTo>
                <a:cubicBezTo>
                  <a:pt x="763" y="365"/>
                  <a:pt x="763" y="365"/>
                  <a:pt x="763" y="365"/>
                </a:cubicBezTo>
                <a:cubicBezTo>
                  <a:pt x="763" y="365"/>
                  <a:pt x="763" y="365"/>
                  <a:pt x="763" y="365"/>
                </a:cubicBezTo>
                <a:close/>
                <a:moveTo>
                  <a:pt x="762" y="373"/>
                </a:moveTo>
                <a:cubicBezTo>
                  <a:pt x="762" y="373"/>
                  <a:pt x="763" y="372"/>
                  <a:pt x="763" y="372"/>
                </a:cubicBezTo>
                <a:cubicBezTo>
                  <a:pt x="762" y="371"/>
                  <a:pt x="762" y="371"/>
                  <a:pt x="762" y="371"/>
                </a:cubicBezTo>
                <a:cubicBezTo>
                  <a:pt x="762" y="370"/>
                  <a:pt x="762" y="370"/>
                  <a:pt x="762" y="370"/>
                </a:cubicBezTo>
                <a:cubicBezTo>
                  <a:pt x="762" y="370"/>
                  <a:pt x="762" y="370"/>
                  <a:pt x="762" y="370"/>
                </a:cubicBezTo>
                <a:cubicBezTo>
                  <a:pt x="762" y="371"/>
                  <a:pt x="762" y="371"/>
                  <a:pt x="762" y="371"/>
                </a:cubicBezTo>
                <a:cubicBezTo>
                  <a:pt x="761" y="372"/>
                  <a:pt x="761" y="372"/>
                  <a:pt x="761" y="372"/>
                </a:cubicBezTo>
                <a:cubicBezTo>
                  <a:pt x="762" y="373"/>
                  <a:pt x="762" y="373"/>
                  <a:pt x="762" y="373"/>
                </a:cubicBezTo>
                <a:close/>
                <a:moveTo>
                  <a:pt x="762" y="376"/>
                </a:moveTo>
                <a:cubicBezTo>
                  <a:pt x="763" y="375"/>
                  <a:pt x="763" y="375"/>
                  <a:pt x="763" y="375"/>
                </a:cubicBezTo>
                <a:cubicBezTo>
                  <a:pt x="763" y="375"/>
                  <a:pt x="763" y="375"/>
                  <a:pt x="763" y="375"/>
                </a:cubicBezTo>
                <a:cubicBezTo>
                  <a:pt x="762" y="374"/>
                  <a:pt x="762" y="374"/>
                  <a:pt x="762" y="374"/>
                </a:cubicBezTo>
                <a:cubicBezTo>
                  <a:pt x="762" y="374"/>
                  <a:pt x="762" y="374"/>
                  <a:pt x="762" y="374"/>
                </a:cubicBezTo>
                <a:cubicBezTo>
                  <a:pt x="762" y="375"/>
                  <a:pt x="762" y="375"/>
                  <a:pt x="762" y="375"/>
                </a:cubicBezTo>
                <a:cubicBezTo>
                  <a:pt x="762" y="376"/>
                  <a:pt x="762" y="376"/>
                  <a:pt x="762" y="376"/>
                </a:cubicBezTo>
                <a:close/>
                <a:moveTo>
                  <a:pt x="760" y="377"/>
                </a:moveTo>
                <a:cubicBezTo>
                  <a:pt x="761" y="377"/>
                  <a:pt x="761" y="377"/>
                  <a:pt x="761" y="377"/>
                </a:cubicBezTo>
                <a:cubicBezTo>
                  <a:pt x="760" y="377"/>
                  <a:pt x="760" y="377"/>
                  <a:pt x="760" y="377"/>
                </a:cubicBezTo>
                <a:cubicBezTo>
                  <a:pt x="760" y="377"/>
                  <a:pt x="760" y="377"/>
                  <a:pt x="760" y="377"/>
                </a:cubicBezTo>
                <a:cubicBezTo>
                  <a:pt x="760" y="377"/>
                  <a:pt x="760" y="377"/>
                  <a:pt x="760" y="377"/>
                </a:cubicBezTo>
                <a:cubicBezTo>
                  <a:pt x="760" y="377"/>
                  <a:pt x="760" y="377"/>
                  <a:pt x="760" y="377"/>
                </a:cubicBezTo>
                <a:close/>
                <a:moveTo>
                  <a:pt x="761" y="380"/>
                </a:moveTo>
                <a:cubicBezTo>
                  <a:pt x="761" y="380"/>
                  <a:pt x="761" y="380"/>
                  <a:pt x="761" y="380"/>
                </a:cubicBezTo>
                <a:cubicBezTo>
                  <a:pt x="762" y="379"/>
                  <a:pt x="762" y="379"/>
                  <a:pt x="762" y="379"/>
                </a:cubicBezTo>
                <a:cubicBezTo>
                  <a:pt x="762" y="378"/>
                  <a:pt x="762" y="378"/>
                  <a:pt x="762" y="378"/>
                </a:cubicBezTo>
                <a:cubicBezTo>
                  <a:pt x="762" y="378"/>
                  <a:pt x="762" y="378"/>
                  <a:pt x="762" y="378"/>
                </a:cubicBezTo>
                <a:cubicBezTo>
                  <a:pt x="761" y="379"/>
                  <a:pt x="761" y="379"/>
                  <a:pt x="761" y="379"/>
                </a:cubicBezTo>
                <a:cubicBezTo>
                  <a:pt x="761" y="380"/>
                  <a:pt x="761" y="380"/>
                  <a:pt x="761" y="380"/>
                </a:cubicBezTo>
                <a:close/>
                <a:moveTo>
                  <a:pt x="759" y="388"/>
                </a:moveTo>
                <a:cubicBezTo>
                  <a:pt x="760" y="388"/>
                  <a:pt x="760" y="388"/>
                  <a:pt x="760" y="388"/>
                </a:cubicBezTo>
                <a:cubicBezTo>
                  <a:pt x="759" y="387"/>
                  <a:pt x="759" y="387"/>
                  <a:pt x="759" y="387"/>
                </a:cubicBezTo>
                <a:cubicBezTo>
                  <a:pt x="759" y="387"/>
                  <a:pt x="759" y="387"/>
                  <a:pt x="759" y="387"/>
                </a:cubicBezTo>
                <a:cubicBezTo>
                  <a:pt x="759" y="388"/>
                  <a:pt x="759" y="388"/>
                  <a:pt x="759" y="388"/>
                </a:cubicBezTo>
                <a:close/>
                <a:moveTo>
                  <a:pt x="759" y="392"/>
                </a:moveTo>
                <a:cubicBezTo>
                  <a:pt x="759" y="391"/>
                  <a:pt x="759" y="391"/>
                  <a:pt x="759" y="391"/>
                </a:cubicBezTo>
                <a:cubicBezTo>
                  <a:pt x="759" y="391"/>
                  <a:pt x="759" y="391"/>
                  <a:pt x="759" y="391"/>
                </a:cubicBezTo>
                <a:cubicBezTo>
                  <a:pt x="759" y="391"/>
                  <a:pt x="759" y="391"/>
                  <a:pt x="759" y="391"/>
                </a:cubicBezTo>
                <a:cubicBezTo>
                  <a:pt x="759" y="392"/>
                  <a:pt x="759" y="392"/>
                  <a:pt x="759" y="392"/>
                </a:cubicBezTo>
                <a:close/>
                <a:moveTo>
                  <a:pt x="759" y="393"/>
                </a:moveTo>
                <a:cubicBezTo>
                  <a:pt x="759" y="394"/>
                  <a:pt x="759" y="394"/>
                  <a:pt x="759" y="394"/>
                </a:cubicBezTo>
                <a:cubicBezTo>
                  <a:pt x="759" y="393"/>
                  <a:pt x="759" y="393"/>
                  <a:pt x="759" y="393"/>
                </a:cubicBezTo>
                <a:cubicBezTo>
                  <a:pt x="759" y="393"/>
                  <a:pt x="759" y="393"/>
                  <a:pt x="759" y="393"/>
                </a:cubicBezTo>
                <a:close/>
                <a:moveTo>
                  <a:pt x="758" y="396"/>
                </a:moveTo>
                <a:cubicBezTo>
                  <a:pt x="758" y="396"/>
                  <a:pt x="758" y="396"/>
                  <a:pt x="758" y="396"/>
                </a:cubicBezTo>
                <a:cubicBezTo>
                  <a:pt x="758" y="396"/>
                  <a:pt x="758" y="396"/>
                  <a:pt x="758" y="396"/>
                </a:cubicBezTo>
                <a:cubicBezTo>
                  <a:pt x="758" y="395"/>
                  <a:pt x="758" y="395"/>
                  <a:pt x="758" y="395"/>
                </a:cubicBezTo>
                <a:cubicBezTo>
                  <a:pt x="758" y="395"/>
                  <a:pt x="758" y="395"/>
                  <a:pt x="758" y="395"/>
                </a:cubicBezTo>
                <a:cubicBezTo>
                  <a:pt x="758" y="396"/>
                  <a:pt x="758" y="396"/>
                  <a:pt x="758" y="396"/>
                </a:cubicBezTo>
                <a:close/>
                <a:moveTo>
                  <a:pt x="757" y="401"/>
                </a:moveTo>
                <a:cubicBezTo>
                  <a:pt x="757" y="400"/>
                  <a:pt x="757" y="400"/>
                  <a:pt x="757" y="400"/>
                </a:cubicBezTo>
                <a:cubicBezTo>
                  <a:pt x="757" y="398"/>
                  <a:pt x="757" y="398"/>
                  <a:pt x="757" y="398"/>
                </a:cubicBezTo>
                <a:cubicBezTo>
                  <a:pt x="757" y="398"/>
                  <a:pt x="757" y="398"/>
                  <a:pt x="757" y="398"/>
                </a:cubicBezTo>
                <a:cubicBezTo>
                  <a:pt x="757" y="399"/>
                  <a:pt x="757" y="399"/>
                  <a:pt x="757" y="399"/>
                </a:cubicBezTo>
                <a:cubicBezTo>
                  <a:pt x="756" y="401"/>
                  <a:pt x="756" y="401"/>
                  <a:pt x="756" y="401"/>
                </a:cubicBezTo>
                <a:cubicBezTo>
                  <a:pt x="757" y="401"/>
                  <a:pt x="757" y="401"/>
                  <a:pt x="757" y="401"/>
                </a:cubicBezTo>
                <a:close/>
                <a:moveTo>
                  <a:pt x="746" y="415"/>
                </a:moveTo>
                <a:cubicBezTo>
                  <a:pt x="746" y="415"/>
                  <a:pt x="746" y="415"/>
                  <a:pt x="746" y="415"/>
                </a:cubicBezTo>
                <a:cubicBezTo>
                  <a:pt x="748" y="414"/>
                  <a:pt x="748" y="414"/>
                  <a:pt x="748" y="414"/>
                </a:cubicBezTo>
                <a:cubicBezTo>
                  <a:pt x="749" y="412"/>
                  <a:pt x="749" y="412"/>
                  <a:pt x="749" y="412"/>
                </a:cubicBezTo>
                <a:cubicBezTo>
                  <a:pt x="749" y="412"/>
                  <a:pt x="749" y="412"/>
                  <a:pt x="749" y="412"/>
                </a:cubicBezTo>
                <a:cubicBezTo>
                  <a:pt x="749" y="411"/>
                  <a:pt x="749" y="411"/>
                  <a:pt x="749" y="411"/>
                </a:cubicBezTo>
                <a:cubicBezTo>
                  <a:pt x="750" y="409"/>
                  <a:pt x="750" y="409"/>
                  <a:pt x="750" y="409"/>
                </a:cubicBezTo>
                <a:cubicBezTo>
                  <a:pt x="751" y="408"/>
                  <a:pt x="751" y="408"/>
                  <a:pt x="751" y="408"/>
                </a:cubicBezTo>
                <a:cubicBezTo>
                  <a:pt x="750" y="408"/>
                  <a:pt x="750" y="408"/>
                  <a:pt x="750" y="408"/>
                </a:cubicBezTo>
                <a:cubicBezTo>
                  <a:pt x="749" y="408"/>
                  <a:pt x="749" y="408"/>
                  <a:pt x="749" y="408"/>
                </a:cubicBezTo>
                <a:cubicBezTo>
                  <a:pt x="749" y="409"/>
                  <a:pt x="749" y="409"/>
                  <a:pt x="749" y="409"/>
                </a:cubicBezTo>
                <a:cubicBezTo>
                  <a:pt x="748" y="410"/>
                  <a:pt x="748" y="410"/>
                  <a:pt x="748" y="410"/>
                </a:cubicBezTo>
                <a:cubicBezTo>
                  <a:pt x="748" y="411"/>
                  <a:pt x="748" y="411"/>
                  <a:pt x="748" y="411"/>
                </a:cubicBezTo>
                <a:cubicBezTo>
                  <a:pt x="747" y="411"/>
                  <a:pt x="747" y="411"/>
                  <a:pt x="747" y="411"/>
                </a:cubicBezTo>
                <a:cubicBezTo>
                  <a:pt x="747" y="412"/>
                  <a:pt x="747" y="412"/>
                  <a:pt x="747" y="412"/>
                </a:cubicBezTo>
                <a:cubicBezTo>
                  <a:pt x="746" y="413"/>
                  <a:pt x="746" y="413"/>
                  <a:pt x="746" y="413"/>
                </a:cubicBezTo>
                <a:cubicBezTo>
                  <a:pt x="746" y="415"/>
                  <a:pt x="746" y="415"/>
                  <a:pt x="746" y="415"/>
                </a:cubicBezTo>
                <a:close/>
                <a:moveTo>
                  <a:pt x="734" y="429"/>
                </a:moveTo>
                <a:cubicBezTo>
                  <a:pt x="735" y="429"/>
                  <a:pt x="735" y="429"/>
                  <a:pt x="735" y="429"/>
                </a:cubicBezTo>
                <a:cubicBezTo>
                  <a:pt x="735" y="427"/>
                  <a:pt x="735" y="427"/>
                  <a:pt x="735" y="427"/>
                </a:cubicBezTo>
                <a:cubicBezTo>
                  <a:pt x="736" y="427"/>
                  <a:pt x="736" y="427"/>
                  <a:pt x="736" y="427"/>
                </a:cubicBezTo>
                <a:cubicBezTo>
                  <a:pt x="736" y="425"/>
                  <a:pt x="736" y="425"/>
                  <a:pt x="736" y="425"/>
                </a:cubicBezTo>
                <a:cubicBezTo>
                  <a:pt x="736" y="424"/>
                  <a:pt x="736" y="424"/>
                  <a:pt x="736" y="424"/>
                </a:cubicBezTo>
                <a:cubicBezTo>
                  <a:pt x="736" y="424"/>
                  <a:pt x="736" y="424"/>
                  <a:pt x="736" y="424"/>
                </a:cubicBezTo>
                <a:cubicBezTo>
                  <a:pt x="737" y="423"/>
                  <a:pt x="737" y="423"/>
                  <a:pt x="737" y="423"/>
                </a:cubicBezTo>
                <a:cubicBezTo>
                  <a:pt x="737" y="424"/>
                  <a:pt x="737" y="424"/>
                  <a:pt x="737" y="424"/>
                </a:cubicBezTo>
                <a:cubicBezTo>
                  <a:pt x="738" y="423"/>
                  <a:pt x="738" y="423"/>
                  <a:pt x="738" y="423"/>
                </a:cubicBezTo>
                <a:cubicBezTo>
                  <a:pt x="739" y="421"/>
                  <a:pt x="739" y="421"/>
                  <a:pt x="739" y="421"/>
                </a:cubicBezTo>
                <a:cubicBezTo>
                  <a:pt x="740" y="419"/>
                  <a:pt x="740" y="419"/>
                  <a:pt x="740" y="419"/>
                </a:cubicBezTo>
                <a:cubicBezTo>
                  <a:pt x="742" y="419"/>
                  <a:pt x="742" y="419"/>
                  <a:pt x="742" y="419"/>
                </a:cubicBezTo>
                <a:cubicBezTo>
                  <a:pt x="743" y="419"/>
                  <a:pt x="743" y="419"/>
                  <a:pt x="743" y="419"/>
                </a:cubicBezTo>
                <a:cubicBezTo>
                  <a:pt x="743" y="417"/>
                  <a:pt x="743" y="417"/>
                  <a:pt x="743" y="417"/>
                </a:cubicBezTo>
                <a:cubicBezTo>
                  <a:pt x="742" y="416"/>
                  <a:pt x="742" y="416"/>
                  <a:pt x="742" y="416"/>
                </a:cubicBezTo>
                <a:cubicBezTo>
                  <a:pt x="742" y="416"/>
                  <a:pt x="742" y="416"/>
                  <a:pt x="742" y="416"/>
                </a:cubicBezTo>
                <a:cubicBezTo>
                  <a:pt x="740" y="418"/>
                  <a:pt x="740" y="418"/>
                  <a:pt x="740" y="418"/>
                </a:cubicBezTo>
                <a:cubicBezTo>
                  <a:pt x="740" y="419"/>
                  <a:pt x="740" y="419"/>
                  <a:pt x="740" y="419"/>
                </a:cubicBezTo>
                <a:cubicBezTo>
                  <a:pt x="739" y="419"/>
                  <a:pt x="739" y="419"/>
                  <a:pt x="739" y="419"/>
                </a:cubicBezTo>
                <a:cubicBezTo>
                  <a:pt x="738" y="419"/>
                  <a:pt x="738" y="419"/>
                  <a:pt x="738" y="419"/>
                </a:cubicBezTo>
                <a:cubicBezTo>
                  <a:pt x="738" y="419"/>
                  <a:pt x="738" y="419"/>
                  <a:pt x="738" y="419"/>
                </a:cubicBezTo>
                <a:cubicBezTo>
                  <a:pt x="737" y="418"/>
                  <a:pt x="737" y="418"/>
                  <a:pt x="737" y="418"/>
                </a:cubicBezTo>
                <a:cubicBezTo>
                  <a:pt x="737" y="418"/>
                  <a:pt x="737" y="418"/>
                  <a:pt x="737" y="418"/>
                </a:cubicBezTo>
                <a:cubicBezTo>
                  <a:pt x="736" y="419"/>
                  <a:pt x="736" y="419"/>
                  <a:pt x="736" y="419"/>
                </a:cubicBezTo>
                <a:cubicBezTo>
                  <a:pt x="737" y="420"/>
                  <a:pt x="737" y="420"/>
                  <a:pt x="737" y="420"/>
                </a:cubicBezTo>
                <a:cubicBezTo>
                  <a:pt x="736" y="421"/>
                  <a:pt x="736" y="421"/>
                  <a:pt x="736" y="421"/>
                </a:cubicBezTo>
                <a:cubicBezTo>
                  <a:pt x="736" y="422"/>
                  <a:pt x="736" y="422"/>
                  <a:pt x="736" y="422"/>
                </a:cubicBezTo>
                <a:cubicBezTo>
                  <a:pt x="735" y="422"/>
                  <a:pt x="735" y="422"/>
                  <a:pt x="735" y="422"/>
                </a:cubicBezTo>
                <a:cubicBezTo>
                  <a:pt x="735" y="423"/>
                  <a:pt x="735" y="423"/>
                  <a:pt x="735" y="423"/>
                </a:cubicBezTo>
                <a:cubicBezTo>
                  <a:pt x="735" y="424"/>
                  <a:pt x="735" y="424"/>
                  <a:pt x="735" y="424"/>
                </a:cubicBezTo>
                <a:cubicBezTo>
                  <a:pt x="734" y="425"/>
                  <a:pt x="734" y="425"/>
                  <a:pt x="734" y="425"/>
                </a:cubicBezTo>
                <a:cubicBezTo>
                  <a:pt x="734" y="425"/>
                  <a:pt x="734" y="425"/>
                  <a:pt x="734" y="425"/>
                </a:cubicBezTo>
                <a:cubicBezTo>
                  <a:pt x="734" y="426"/>
                  <a:pt x="734" y="426"/>
                  <a:pt x="734" y="426"/>
                </a:cubicBezTo>
                <a:cubicBezTo>
                  <a:pt x="734" y="427"/>
                  <a:pt x="734" y="427"/>
                  <a:pt x="734" y="427"/>
                </a:cubicBezTo>
                <a:cubicBezTo>
                  <a:pt x="734" y="428"/>
                  <a:pt x="734" y="428"/>
                  <a:pt x="734" y="428"/>
                </a:cubicBezTo>
                <a:cubicBezTo>
                  <a:pt x="734" y="429"/>
                  <a:pt x="734" y="429"/>
                  <a:pt x="734" y="429"/>
                </a:cubicBezTo>
                <a:close/>
                <a:moveTo>
                  <a:pt x="729" y="437"/>
                </a:moveTo>
                <a:cubicBezTo>
                  <a:pt x="729" y="437"/>
                  <a:pt x="729" y="435"/>
                  <a:pt x="729" y="435"/>
                </a:cubicBezTo>
                <a:cubicBezTo>
                  <a:pt x="729" y="432"/>
                  <a:pt x="729" y="432"/>
                  <a:pt x="729" y="432"/>
                </a:cubicBezTo>
                <a:cubicBezTo>
                  <a:pt x="730" y="432"/>
                  <a:pt x="730" y="432"/>
                  <a:pt x="730" y="432"/>
                </a:cubicBezTo>
                <a:cubicBezTo>
                  <a:pt x="731" y="431"/>
                  <a:pt x="731" y="431"/>
                  <a:pt x="731" y="431"/>
                </a:cubicBezTo>
                <a:cubicBezTo>
                  <a:pt x="732" y="429"/>
                  <a:pt x="732" y="429"/>
                  <a:pt x="732" y="429"/>
                </a:cubicBezTo>
                <a:cubicBezTo>
                  <a:pt x="731" y="429"/>
                  <a:pt x="731" y="429"/>
                  <a:pt x="731" y="429"/>
                </a:cubicBezTo>
                <a:cubicBezTo>
                  <a:pt x="730" y="430"/>
                  <a:pt x="730" y="430"/>
                  <a:pt x="730" y="430"/>
                </a:cubicBezTo>
                <a:cubicBezTo>
                  <a:pt x="730" y="429"/>
                  <a:pt x="730" y="429"/>
                  <a:pt x="730" y="429"/>
                </a:cubicBezTo>
                <a:cubicBezTo>
                  <a:pt x="729" y="429"/>
                  <a:pt x="729" y="429"/>
                  <a:pt x="729" y="429"/>
                </a:cubicBezTo>
                <a:cubicBezTo>
                  <a:pt x="729" y="429"/>
                  <a:pt x="729" y="429"/>
                  <a:pt x="729" y="429"/>
                </a:cubicBezTo>
                <a:cubicBezTo>
                  <a:pt x="729" y="431"/>
                  <a:pt x="729" y="431"/>
                  <a:pt x="729" y="431"/>
                </a:cubicBezTo>
                <a:cubicBezTo>
                  <a:pt x="728" y="432"/>
                  <a:pt x="728" y="432"/>
                  <a:pt x="728" y="432"/>
                </a:cubicBezTo>
                <a:cubicBezTo>
                  <a:pt x="728" y="434"/>
                  <a:pt x="728" y="434"/>
                  <a:pt x="728" y="434"/>
                </a:cubicBezTo>
                <a:cubicBezTo>
                  <a:pt x="727" y="435"/>
                  <a:pt x="727" y="435"/>
                  <a:pt x="727" y="435"/>
                </a:cubicBezTo>
                <a:cubicBezTo>
                  <a:pt x="728" y="436"/>
                  <a:pt x="728" y="436"/>
                  <a:pt x="728" y="436"/>
                </a:cubicBezTo>
                <a:cubicBezTo>
                  <a:pt x="729" y="437"/>
                  <a:pt x="729" y="437"/>
                  <a:pt x="729" y="437"/>
                </a:cubicBezTo>
                <a:close/>
                <a:moveTo>
                  <a:pt x="12" y="336"/>
                </a:moveTo>
                <a:cubicBezTo>
                  <a:pt x="12" y="336"/>
                  <a:pt x="12" y="338"/>
                  <a:pt x="12" y="338"/>
                </a:cubicBezTo>
                <a:cubicBezTo>
                  <a:pt x="13" y="338"/>
                  <a:pt x="13" y="338"/>
                  <a:pt x="13" y="338"/>
                </a:cubicBezTo>
                <a:cubicBezTo>
                  <a:pt x="14" y="338"/>
                  <a:pt x="14" y="338"/>
                  <a:pt x="14" y="338"/>
                </a:cubicBezTo>
                <a:lnTo>
                  <a:pt x="12" y="33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3" name="Freeform 11">
            <a:extLst>
              <a:ext uri="{FF2B5EF4-FFF2-40B4-BE49-F238E27FC236}">
                <a16:creationId xmlns:a16="http://schemas.microsoft.com/office/drawing/2014/main" id="{A68A33BC-805A-43A2-D736-D3A89A662200}"/>
              </a:ext>
            </a:extLst>
          </p:cNvPr>
          <p:cNvSpPr>
            <a:spLocks noEditPoints="1"/>
          </p:cNvSpPr>
          <p:nvPr userDrawn="1"/>
        </p:nvSpPr>
        <p:spPr bwMode="auto">
          <a:xfrm>
            <a:off x="16940696" y="5184056"/>
            <a:ext cx="4066911" cy="3000376"/>
          </a:xfrm>
          <a:custGeom>
            <a:avLst/>
            <a:gdLst>
              <a:gd name="T0" fmla="*/ 306 w 410"/>
              <a:gd name="T1" fmla="*/ 40 h 302"/>
              <a:gd name="T2" fmla="*/ 309 w 410"/>
              <a:gd name="T3" fmla="*/ 29 h 302"/>
              <a:gd name="T4" fmla="*/ 310 w 410"/>
              <a:gd name="T5" fmla="*/ 14 h 302"/>
              <a:gd name="T6" fmla="*/ 307 w 410"/>
              <a:gd name="T7" fmla="*/ 5 h 302"/>
              <a:gd name="T8" fmla="*/ 320 w 410"/>
              <a:gd name="T9" fmla="*/ 0 h 302"/>
              <a:gd name="T10" fmla="*/ 332 w 410"/>
              <a:gd name="T11" fmla="*/ 2 h 302"/>
              <a:gd name="T12" fmla="*/ 339 w 410"/>
              <a:gd name="T13" fmla="*/ 6 h 302"/>
              <a:gd name="T14" fmla="*/ 345 w 410"/>
              <a:gd name="T15" fmla="*/ 14 h 302"/>
              <a:gd name="T16" fmla="*/ 355 w 410"/>
              <a:gd name="T17" fmla="*/ 25 h 302"/>
              <a:gd name="T18" fmla="*/ 363 w 410"/>
              <a:gd name="T19" fmla="*/ 36 h 302"/>
              <a:gd name="T20" fmla="*/ 371 w 410"/>
              <a:gd name="T21" fmla="*/ 37 h 302"/>
              <a:gd name="T22" fmla="*/ 380 w 410"/>
              <a:gd name="T23" fmla="*/ 43 h 302"/>
              <a:gd name="T24" fmla="*/ 383 w 410"/>
              <a:gd name="T25" fmla="*/ 50 h 302"/>
              <a:gd name="T26" fmla="*/ 395 w 410"/>
              <a:gd name="T27" fmla="*/ 52 h 302"/>
              <a:gd name="T28" fmla="*/ 403 w 410"/>
              <a:gd name="T29" fmla="*/ 44 h 302"/>
              <a:gd name="T30" fmla="*/ 408 w 410"/>
              <a:gd name="T31" fmla="*/ 54 h 302"/>
              <a:gd name="T32" fmla="*/ 409 w 410"/>
              <a:gd name="T33" fmla="*/ 65 h 302"/>
              <a:gd name="T34" fmla="*/ 408 w 410"/>
              <a:gd name="T35" fmla="*/ 74 h 302"/>
              <a:gd name="T36" fmla="*/ 397 w 410"/>
              <a:gd name="T37" fmla="*/ 80 h 302"/>
              <a:gd name="T38" fmla="*/ 401 w 410"/>
              <a:gd name="T39" fmla="*/ 96 h 302"/>
              <a:gd name="T40" fmla="*/ 370 w 410"/>
              <a:gd name="T41" fmla="*/ 131 h 302"/>
              <a:gd name="T42" fmla="*/ 355 w 410"/>
              <a:gd name="T43" fmla="*/ 140 h 302"/>
              <a:gd name="T44" fmla="*/ 355 w 410"/>
              <a:gd name="T45" fmla="*/ 136 h 302"/>
              <a:gd name="T46" fmla="*/ 355 w 410"/>
              <a:gd name="T47" fmla="*/ 126 h 302"/>
              <a:gd name="T48" fmla="*/ 341 w 410"/>
              <a:gd name="T49" fmla="*/ 131 h 302"/>
              <a:gd name="T50" fmla="*/ 330 w 410"/>
              <a:gd name="T51" fmla="*/ 142 h 302"/>
              <a:gd name="T52" fmla="*/ 339 w 410"/>
              <a:gd name="T53" fmla="*/ 150 h 302"/>
              <a:gd name="T54" fmla="*/ 349 w 410"/>
              <a:gd name="T55" fmla="*/ 151 h 302"/>
              <a:gd name="T56" fmla="*/ 363 w 410"/>
              <a:gd name="T57" fmla="*/ 153 h 302"/>
              <a:gd name="T58" fmla="*/ 355 w 410"/>
              <a:gd name="T59" fmla="*/ 159 h 302"/>
              <a:gd name="T60" fmla="*/ 348 w 410"/>
              <a:gd name="T61" fmla="*/ 169 h 302"/>
              <a:gd name="T62" fmla="*/ 358 w 410"/>
              <a:gd name="T63" fmla="*/ 188 h 302"/>
              <a:gd name="T64" fmla="*/ 361 w 410"/>
              <a:gd name="T65" fmla="*/ 199 h 302"/>
              <a:gd name="T66" fmla="*/ 350 w 410"/>
              <a:gd name="T67" fmla="*/ 197 h 302"/>
              <a:gd name="T68" fmla="*/ 366 w 410"/>
              <a:gd name="T69" fmla="*/ 209 h 302"/>
              <a:gd name="T70" fmla="*/ 366 w 410"/>
              <a:gd name="T71" fmla="*/ 212 h 302"/>
              <a:gd name="T72" fmla="*/ 371 w 410"/>
              <a:gd name="T73" fmla="*/ 217 h 302"/>
              <a:gd name="T74" fmla="*/ 370 w 410"/>
              <a:gd name="T75" fmla="*/ 223 h 302"/>
              <a:gd name="T76" fmla="*/ 367 w 410"/>
              <a:gd name="T77" fmla="*/ 230 h 302"/>
              <a:gd name="T78" fmla="*/ 365 w 410"/>
              <a:gd name="T79" fmla="*/ 238 h 302"/>
              <a:gd name="T80" fmla="*/ 361 w 410"/>
              <a:gd name="T81" fmla="*/ 243 h 302"/>
              <a:gd name="T82" fmla="*/ 361 w 410"/>
              <a:gd name="T83" fmla="*/ 250 h 302"/>
              <a:gd name="T84" fmla="*/ 357 w 410"/>
              <a:gd name="T85" fmla="*/ 252 h 302"/>
              <a:gd name="T86" fmla="*/ 353 w 410"/>
              <a:gd name="T87" fmla="*/ 259 h 302"/>
              <a:gd name="T88" fmla="*/ 348 w 410"/>
              <a:gd name="T89" fmla="*/ 263 h 302"/>
              <a:gd name="T90" fmla="*/ 341 w 410"/>
              <a:gd name="T91" fmla="*/ 270 h 302"/>
              <a:gd name="T92" fmla="*/ 331 w 410"/>
              <a:gd name="T93" fmla="*/ 273 h 302"/>
              <a:gd name="T94" fmla="*/ 325 w 410"/>
              <a:gd name="T95" fmla="*/ 275 h 302"/>
              <a:gd name="T96" fmla="*/ 313 w 410"/>
              <a:gd name="T97" fmla="*/ 280 h 302"/>
              <a:gd name="T98" fmla="*/ 309 w 410"/>
              <a:gd name="T99" fmla="*/ 282 h 302"/>
              <a:gd name="T100" fmla="*/ 306 w 410"/>
              <a:gd name="T101" fmla="*/ 287 h 302"/>
              <a:gd name="T102" fmla="*/ 299 w 410"/>
              <a:gd name="T103" fmla="*/ 279 h 302"/>
              <a:gd name="T104" fmla="*/ 252 w 410"/>
              <a:gd name="T105" fmla="*/ 285 h 302"/>
              <a:gd name="T106" fmla="*/ 348 w 410"/>
              <a:gd name="T107" fmla="*/ 265 h 302"/>
              <a:gd name="T108" fmla="*/ 365 w 410"/>
              <a:gd name="T109" fmla="*/ 200 h 302"/>
              <a:gd name="T110" fmla="*/ 375 w 410"/>
              <a:gd name="T111" fmla="*/ 270 h 302"/>
              <a:gd name="T112" fmla="*/ 376 w 410"/>
              <a:gd name="T113" fmla="*/ 250 h 302"/>
              <a:gd name="T114" fmla="*/ 368 w 410"/>
              <a:gd name="T115" fmla="*/ 267 h 302"/>
              <a:gd name="T116" fmla="*/ 312 w 410"/>
              <a:gd name="T117" fmla="*/ 284 h 302"/>
              <a:gd name="T118" fmla="*/ 300 w 410"/>
              <a:gd name="T119" fmla="*/ 298 h 302"/>
              <a:gd name="T120" fmla="*/ 312 w 410"/>
              <a:gd name="T121" fmla="*/ 29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0" h="302">
                <a:moveTo>
                  <a:pt x="124" y="64"/>
                </a:moveTo>
                <a:cubicBezTo>
                  <a:pt x="126" y="64"/>
                  <a:pt x="126" y="64"/>
                  <a:pt x="126" y="64"/>
                </a:cubicBezTo>
                <a:cubicBezTo>
                  <a:pt x="127" y="65"/>
                  <a:pt x="127" y="65"/>
                  <a:pt x="127" y="65"/>
                </a:cubicBezTo>
                <a:cubicBezTo>
                  <a:pt x="128" y="65"/>
                  <a:pt x="128" y="65"/>
                  <a:pt x="128" y="65"/>
                </a:cubicBezTo>
                <a:cubicBezTo>
                  <a:pt x="184" y="66"/>
                  <a:pt x="184" y="66"/>
                  <a:pt x="184" y="66"/>
                </a:cubicBezTo>
                <a:cubicBezTo>
                  <a:pt x="282" y="56"/>
                  <a:pt x="282" y="56"/>
                  <a:pt x="282" y="56"/>
                </a:cubicBezTo>
                <a:cubicBezTo>
                  <a:pt x="294" y="43"/>
                  <a:pt x="294" y="43"/>
                  <a:pt x="294" y="43"/>
                </a:cubicBezTo>
                <a:cubicBezTo>
                  <a:pt x="297" y="42"/>
                  <a:pt x="297" y="42"/>
                  <a:pt x="297" y="42"/>
                </a:cubicBezTo>
                <a:cubicBezTo>
                  <a:pt x="298" y="42"/>
                  <a:pt x="298" y="42"/>
                  <a:pt x="298" y="42"/>
                </a:cubicBezTo>
                <a:cubicBezTo>
                  <a:pt x="298" y="43"/>
                  <a:pt x="298" y="43"/>
                  <a:pt x="298" y="43"/>
                </a:cubicBezTo>
                <a:cubicBezTo>
                  <a:pt x="299" y="42"/>
                  <a:pt x="299" y="42"/>
                  <a:pt x="299" y="42"/>
                </a:cubicBezTo>
                <a:cubicBezTo>
                  <a:pt x="301" y="43"/>
                  <a:pt x="301" y="43"/>
                  <a:pt x="301" y="43"/>
                </a:cubicBezTo>
                <a:cubicBezTo>
                  <a:pt x="302" y="43"/>
                  <a:pt x="302" y="43"/>
                  <a:pt x="302" y="43"/>
                </a:cubicBezTo>
                <a:cubicBezTo>
                  <a:pt x="303" y="43"/>
                  <a:pt x="303" y="43"/>
                  <a:pt x="303" y="43"/>
                </a:cubicBezTo>
                <a:cubicBezTo>
                  <a:pt x="306" y="40"/>
                  <a:pt x="306" y="40"/>
                  <a:pt x="306" y="40"/>
                </a:cubicBezTo>
                <a:cubicBezTo>
                  <a:pt x="307" y="39"/>
                  <a:pt x="307" y="39"/>
                  <a:pt x="307" y="39"/>
                </a:cubicBezTo>
                <a:cubicBezTo>
                  <a:pt x="309" y="39"/>
                  <a:pt x="309" y="39"/>
                  <a:pt x="309" y="39"/>
                </a:cubicBezTo>
                <a:cubicBezTo>
                  <a:pt x="310" y="38"/>
                  <a:pt x="310" y="38"/>
                  <a:pt x="310" y="38"/>
                </a:cubicBezTo>
                <a:cubicBezTo>
                  <a:pt x="311" y="37"/>
                  <a:pt x="311" y="37"/>
                  <a:pt x="311" y="37"/>
                </a:cubicBezTo>
                <a:cubicBezTo>
                  <a:pt x="310" y="36"/>
                  <a:pt x="310" y="36"/>
                  <a:pt x="310" y="36"/>
                </a:cubicBezTo>
                <a:cubicBezTo>
                  <a:pt x="310" y="35"/>
                  <a:pt x="310" y="35"/>
                  <a:pt x="310" y="35"/>
                </a:cubicBezTo>
                <a:cubicBezTo>
                  <a:pt x="309" y="36"/>
                  <a:pt x="309" y="36"/>
                  <a:pt x="309" y="36"/>
                </a:cubicBezTo>
                <a:cubicBezTo>
                  <a:pt x="309" y="35"/>
                  <a:pt x="309" y="35"/>
                  <a:pt x="309" y="35"/>
                </a:cubicBezTo>
                <a:cubicBezTo>
                  <a:pt x="308" y="35"/>
                  <a:pt x="308" y="35"/>
                  <a:pt x="308" y="35"/>
                </a:cubicBezTo>
                <a:cubicBezTo>
                  <a:pt x="308" y="33"/>
                  <a:pt x="308" y="33"/>
                  <a:pt x="308" y="33"/>
                </a:cubicBezTo>
                <a:cubicBezTo>
                  <a:pt x="308" y="33"/>
                  <a:pt x="308" y="33"/>
                  <a:pt x="308" y="33"/>
                </a:cubicBezTo>
                <a:cubicBezTo>
                  <a:pt x="308" y="31"/>
                  <a:pt x="308" y="31"/>
                  <a:pt x="308" y="31"/>
                </a:cubicBezTo>
                <a:cubicBezTo>
                  <a:pt x="308" y="30"/>
                  <a:pt x="308" y="30"/>
                  <a:pt x="308" y="30"/>
                </a:cubicBezTo>
                <a:cubicBezTo>
                  <a:pt x="308" y="29"/>
                  <a:pt x="308" y="29"/>
                  <a:pt x="308" y="29"/>
                </a:cubicBezTo>
                <a:cubicBezTo>
                  <a:pt x="309" y="29"/>
                  <a:pt x="309" y="29"/>
                  <a:pt x="309" y="29"/>
                </a:cubicBezTo>
                <a:cubicBezTo>
                  <a:pt x="309" y="28"/>
                  <a:pt x="309" y="28"/>
                  <a:pt x="309" y="28"/>
                </a:cubicBezTo>
                <a:cubicBezTo>
                  <a:pt x="308" y="27"/>
                  <a:pt x="308" y="27"/>
                  <a:pt x="308" y="27"/>
                </a:cubicBezTo>
                <a:cubicBezTo>
                  <a:pt x="308" y="26"/>
                  <a:pt x="308" y="26"/>
                  <a:pt x="308" y="26"/>
                </a:cubicBezTo>
                <a:cubicBezTo>
                  <a:pt x="308" y="25"/>
                  <a:pt x="308" y="25"/>
                  <a:pt x="308" y="25"/>
                </a:cubicBezTo>
                <a:cubicBezTo>
                  <a:pt x="308" y="24"/>
                  <a:pt x="308" y="24"/>
                  <a:pt x="308" y="24"/>
                </a:cubicBezTo>
                <a:cubicBezTo>
                  <a:pt x="308" y="23"/>
                  <a:pt x="308" y="23"/>
                  <a:pt x="308" y="23"/>
                </a:cubicBezTo>
                <a:cubicBezTo>
                  <a:pt x="309" y="22"/>
                  <a:pt x="309" y="22"/>
                  <a:pt x="309" y="22"/>
                </a:cubicBezTo>
                <a:cubicBezTo>
                  <a:pt x="309" y="21"/>
                  <a:pt x="309" y="21"/>
                  <a:pt x="309" y="21"/>
                </a:cubicBezTo>
                <a:cubicBezTo>
                  <a:pt x="310" y="19"/>
                  <a:pt x="310" y="19"/>
                  <a:pt x="310" y="19"/>
                </a:cubicBezTo>
                <a:cubicBezTo>
                  <a:pt x="310" y="18"/>
                  <a:pt x="310" y="18"/>
                  <a:pt x="310" y="18"/>
                </a:cubicBezTo>
                <a:cubicBezTo>
                  <a:pt x="311" y="18"/>
                  <a:pt x="311" y="18"/>
                  <a:pt x="311" y="18"/>
                </a:cubicBezTo>
                <a:cubicBezTo>
                  <a:pt x="311" y="16"/>
                  <a:pt x="311" y="16"/>
                  <a:pt x="311" y="16"/>
                </a:cubicBezTo>
                <a:cubicBezTo>
                  <a:pt x="311" y="15"/>
                  <a:pt x="311" y="15"/>
                  <a:pt x="311" y="15"/>
                </a:cubicBezTo>
                <a:cubicBezTo>
                  <a:pt x="311" y="14"/>
                  <a:pt x="311" y="14"/>
                  <a:pt x="311" y="14"/>
                </a:cubicBezTo>
                <a:cubicBezTo>
                  <a:pt x="310" y="14"/>
                  <a:pt x="310" y="14"/>
                  <a:pt x="310" y="14"/>
                </a:cubicBezTo>
                <a:cubicBezTo>
                  <a:pt x="310" y="13"/>
                  <a:pt x="310" y="13"/>
                  <a:pt x="310" y="13"/>
                </a:cubicBezTo>
                <a:cubicBezTo>
                  <a:pt x="309" y="11"/>
                  <a:pt x="309" y="11"/>
                  <a:pt x="309" y="11"/>
                </a:cubicBezTo>
                <a:cubicBezTo>
                  <a:pt x="308" y="11"/>
                  <a:pt x="308" y="11"/>
                  <a:pt x="308" y="11"/>
                </a:cubicBezTo>
                <a:cubicBezTo>
                  <a:pt x="307" y="11"/>
                  <a:pt x="307" y="11"/>
                  <a:pt x="307" y="11"/>
                </a:cubicBezTo>
                <a:cubicBezTo>
                  <a:pt x="306" y="12"/>
                  <a:pt x="306" y="12"/>
                  <a:pt x="306" y="12"/>
                </a:cubicBezTo>
                <a:cubicBezTo>
                  <a:pt x="305" y="12"/>
                  <a:pt x="305" y="12"/>
                  <a:pt x="305" y="12"/>
                </a:cubicBezTo>
                <a:cubicBezTo>
                  <a:pt x="305" y="12"/>
                  <a:pt x="305" y="12"/>
                  <a:pt x="305" y="12"/>
                </a:cubicBezTo>
                <a:cubicBezTo>
                  <a:pt x="305" y="10"/>
                  <a:pt x="305" y="10"/>
                  <a:pt x="305" y="10"/>
                </a:cubicBezTo>
                <a:cubicBezTo>
                  <a:pt x="305" y="9"/>
                  <a:pt x="305" y="9"/>
                  <a:pt x="305" y="9"/>
                </a:cubicBezTo>
                <a:cubicBezTo>
                  <a:pt x="305" y="9"/>
                  <a:pt x="305" y="9"/>
                  <a:pt x="305" y="9"/>
                </a:cubicBezTo>
                <a:cubicBezTo>
                  <a:pt x="306" y="8"/>
                  <a:pt x="306" y="8"/>
                  <a:pt x="306" y="8"/>
                </a:cubicBezTo>
                <a:cubicBezTo>
                  <a:pt x="306" y="7"/>
                  <a:pt x="306" y="7"/>
                  <a:pt x="306" y="7"/>
                </a:cubicBezTo>
                <a:cubicBezTo>
                  <a:pt x="307" y="6"/>
                  <a:pt x="307" y="6"/>
                  <a:pt x="307" y="6"/>
                </a:cubicBezTo>
                <a:cubicBezTo>
                  <a:pt x="307" y="5"/>
                  <a:pt x="307" y="5"/>
                  <a:pt x="307" y="5"/>
                </a:cubicBezTo>
                <a:cubicBezTo>
                  <a:pt x="307" y="5"/>
                  <a:pt x="307" y="5"/>
                  <a:pt x="307" y="5"/>
                </a:cubicBezTo>
                <a:cubicBezTo>
                  <a:pt x="309" y="4"/>
                  <a:pt x="309" y="4"/>
                  <a:pt x="309" y="4"/>
                </a:cubicBezTo>
                <a:cubicBezTo>
                  <a:pt x="310" y="4"/>
                  <a:pt x="310" y="4"/>
                  <a:pt x="310" y="4"/>
                </a:cubicBezTo>
                <a:cubicBezTo>
                  <a:pt x="311" y="4"/>
                  <a:pt x="311" y="4"/>
                  <a:pt x="311" y="4"/>
                </a:cubicBezTo>
                <a:cubicBezTo>
                  <a:pt x="311" y="4"/>
                  <a:pt x="311" y="4"/>
                  <a:pt x="311" y="4"/>
                </a:cubicBezTo>
                <a:cubicBezTo>
                  <a:pt x="312" y="4"/>
                  <a:pt x="312" y="4"/>
                  <a:pt x="312" y="4"/>
                </a:cubicBezTo>
                <a:cubicBezTo>
                  <a:pt x="313" y="4"/>
                  <a:pt x="313" y="4"/>
                  <a:pt x="313" y="4"/>
                </a:cubicBezTo>
                <a:cubicBezTo>
                  <a:pt x="313" y="3"/>
                  <a:pt x="313" y="3"/>
                  <a:pt x="313" y="3"/>
                </a:cubicBezTo>
                <a:cubicBezTo>
                  <a:pt x="314" y="3"/>
                  <a:pt x="314" y="3"/>
                  <a:pt x="314" y="3"/>
                </a:cubicBezTo>
                <a:cubicBezTo>
                  <a:pt x="315" y="2"/>
                  <a:pt x="315" y="2"/>
                  <a:pt x="315" y="2"/>
                </a:cubicBezTo>
                <a:cubicBezTo>
                  <a:pt x="316" y="2"/>
                  <a:pt x="316" y="2"/>
                  <a:pt x="316" y="2"/>
                </a:cubicBezTo>
                <a:cubicBezTo>
                  <a:pt x="317" y="2"/>
                  <a:pt x="317" y="2"/>
                  <a:pt x="317" y="2"/>
                </a:cubicBezTo>
                <a:cubicBezTo>
                  <a:pt x="318" y="2"/>
                  <a:pt x="318" y="2"/>
                  <a:pt x="318" y="2"/>
                </a:cubicBezTo>
                <a:cubicBezTo>
                  <a:pt x="319" y="1"/>
                  <a:pt x="319" y="1"/>
                  <a:pt x="319" y="1"/>
                </a:cubicBezTo>
                <a:cubicBezTo>
                  <a:pt x="320" y="1"/>
                  <a:pt x="320" y="1"/>
                  <a:pt x="320" y="1"/>
                </a:cubicBezTo>
                <a:cubicBezTo>
                  <a:pt x="320" y="0"/>
                  <a:pt x="320" y="0"/>
                  <a:pt x="320" y="0"/>
                </a:cubicBezTo>
                <a:cubicBezTo>
                  <a:pt x="322" y="0"/>
                  <a:pt x="322" y="0"/>
                  <a:pt x="322" y="0"/>
                </a:cubicBezTo>
                <a:cubicBezTo>
                  <a:pt x="322" y="0"/>
                  <a:pt x="322" y="0"/>
                  <a:pt x="322" y="0"/>
                </a:cubicBezTo>
                <a:cubicBezTo>
                  <a:pt x="323" y="0"/>
                  <a:pt x="323" y="0"/>
                  <a:pt x="323" y="0"/>
                </a:cubicBezTo>
                <a:cubicBezTo>
                  <a:pt x="324" y="0"/>
                  <a:pt x="324" y="0"/>
                  <a:pt x="324" y="0"/>
                </a:cubicBezTo>
                <a:cubicBezTo>
                  <a:pt x="325" y="1"/>
                  <a:pt x="325" y="1"/>
                  <a:pt x="325" y="1"/>
                </a:cubicBezTo>
                <a:cubicBezTo>
                  <a:pt x="327" y="1"/>
                  <a:pt x="327" y="1"/>
                  <a:pt x="327" y="1"/>
                </a:cubicBezTo>
                <a:cubicBezTo>
                  <a:pt x="327" y="2"/>
                  <a:pt x="327" y="2"/>
                  <a:pt x="327" y="2"/>
                </a:cubicBezTo>
                <a:cubicBezTo>
                  <a:pt x="328" y="2"/>
                  <a:pt x="328" y="2"/>
                  <a:pt x="328" y="2"/>
                </a:cubicBezTo>
                <a:cubicBezTo>
                  <a:pt x="329" y="2"/>
                  <a:pt x="329" y="2"/>
                  <a:pt x="329" y="2"/>
                </a:cubicBezTo>
                <a:cubicBezTo>
                  <a:pt x="330" y="2"/>
                  <a:pt x="330" y="2"/>
                  <a:pt x="330" y="2"/>
                </a:cubicBezTo>
                <a:cubicBezTo>
                  <a:pt x="330" y="2"/>
                  <a:pt x="330" y="2"/>
                  <a:pt x="330" y="2"/>
                </a:cubicBezTo>
                <a:cubicBezTo>
                  <a:pt x="331" y="3"/>
                  <a:pt x="331" y="3"/>
                  <a:pt x="331" y="3"/>
                </a:cubicBezTo>
                <a:cubicBezTo>
                  <a:pt x="332" y="3"/>
                  <a:pt x="332" y="3"/>
                  <a:pt x="332" y="3"/>
                </a:cubicBezTo>
                <a:cubicBezTo>
                  <a:pt x="332" y="2"/>
                  <a:pt x="332" y="2"/>
                  <a:pt x="332" y="2"/>
                </a:cubicBezTo>
                <a:cubicBezTo>
                  <a:pt x="332" y="2"/>
                  <a:pt x="332" y="2"/>
                  <a:pt x="332" y="2"/>
                </a:cubicBezTo>
                <a:cubicBezTo>
                  <a:pt x="333" y="2"/>
                  <a:pt x="333" y="2"/>
                  <a:pt x="333" y="2"/>
                </a:cubicBezTo>
                <a:cubicBezTo>
                  <a:pt x="334" y="2"/>
                  <a:pt x="334" y="2"/>
                  <a:pt x="334" y="2"/>
                </a:cubicBezTo>
                <a:cubicBezTo>
                  <a:pt x="334" y="2"/>
                  <a:pt x="334" y="2"/>
                  <a:pt x="334" y="2"/>
                </a:cubicBezTo>
                <a:cubicBezTo>
                  <a:pt x="335" y="2"/>
                  <a:pt x="335" y="2"/>
                  <a:pt x="335" y="2"/>
                </a:cubicBezTo>
                <a:cubicBezTo>
                  <a:pt x="336" y="2"/>
                  <a:pt x="336" y="2"/>
                  <a:pt x="336" y="2"/>
                </a:cubicBezTo>
                <a:cubicBezTo>
                  <a:pt x="336" y="3"/>
                  <a:pt x="336" y="3"/>
                  <a:pt x="336" y="3"/>
                </a:cubicBezTo>
                <a:cubicBezTo>
                  <a:pt x="337" y="3"/>
                  <a:pt x="337" y="3"/>
                  <a:pt x="337" y="3"/>
                </a:cubicBezTo>
                <a:cubicBezTo>
                  <a:pt x="337" y="4"/>
                  <a:pt x="337" y="4"/>
                  <a:pt x="337" y="4"/>
                </a:cubicBezTo>
                <a:cubicBezTo>
                  <a:pt x="337" y="5"/>
                  <a:pt x="337" y="5"/>
                  <a:pt x="337" y="5"/>
                </a:cubicBezTo>
                <a:cubicBezTo>
                  <a:pt x="338" y="5"/>
                  <a:pt x="338" y="5"/>
                  <a:pt x="338" y="5"/>
                </a:cubicBezTo>
                <a:cubicBezTo>
                  <a:pt x="338" y="5"/>
                  <a:pt x="338" y="5"/>
                  <a:pt x="338" y="5"/>
                </a:cubicBezTo>
                <a:cubicBezTo>
                  <a:pt x="338" y="5"/>
                  <a:pt x="338" y="5"/>
                  <a:pt x="338" y="5"/>
                </a:cubicBezTo>
                <a:cubicBezTo>
                  <a:pt x="339" y="5"/>
                  <a:pt x="339" y="5"/>
                  <a:pt x="339" y="5"/>
                </a:cubicBezTo>
                <a:cubicBezTo>
                  <a:pt x="340" y="5"/>
                  <a:pt x="340" y="5"/>
                  <a:pt x="340" y="5"/>
                </a:cubicBezTo>
                <a:cubicBezTo>
                  <a:pt x="339" y="6"/>
                  <a:pt x="339" y="6"/>
                  <a:pt x="339" y="6"/>
                </a:cubicBezTo>
                <a:cubicBezTo>
                  <a:pt x="339" y="6"/>
                  <a:pt x="339" y="6"/>
                  <a:pt x="339" y="6"/>
                </a:cubicBezTo>
                <a:cubicBezTo>
                  <a:pt x="341" y="7"/>
                  <a:pt x="341" y="7"/>
                  <a:pt x="341" y="7"/>
                </a:cubicBezTo>
                <a:cubicBezTo>
                  <a:pt x="341" y="7"/>
                  <a:pt x="341" y="7"/>
                  <a:pt x="341" y="7"/>
                </a:cubicBezTo>
                <a:cubicBezTo>
                  <a:pt x="342" y="7"/>
                  <a:pt x="342" y="7"/>
                  <a:pt x="342" y="7"/>
                </a:cubicBezTo>
                <a:cubicBezTo>
                  <a:pt x="342" y="8"/>
                  <a:pt x="342" y="8"/>
                  <a:pt x="342" y="8"/>
                </a:cubicBezTo>
                <a:cubicBezTo>
                  <a:pt x="342" y="8"/>
                  <a:pt x="342" y="8"/>
                  <a:pt x="342" y="8"/>
                </a:cubicBezTo>
                <a:cubicBezTo>
                  <a:pt x="343" y="9"/>
                  <a:pt x="343" y="9"/>
                  <a:pt x="343" y="9"/>
                </a:cubicBezTo>
                <a:cubicBezTo>
                  <a:pt x="343" y="10"/>
                  <a:pt x="343" y="10"/>
                  <a:pt x="343" y="10"/>
                </a:cubicBezTo>
                <a:cubicBezTo>
                  <a:pt x="343" y="10"/>
                  <a:pt x="343" y="10"/>
                  <a:pt x="343" y="10"/>
                </a:cubicBezTo>
                <a:cubicBezTo>
                  <a:pt x="343" y="11"/>
                  <a:pt x="343" y="11"/>
                  <a:pt x="343" y="11"/>
                </a:cubicBezTo>
                <a:cubicBezTo>
                  <a:pt x="343" y="11"/>
                  <a:pt x="343" y="11"/>
                  <a:pt x="343" y="11"/>
                </a:cubicBezTo>
                <a:cubicBezTo>
                  <a:pt x="345" y="11"/>
                  <a:pt x="345" y="11"/>
                  <a:pt x="345" y="11"/>
                </a:cubicBezTo>
                <a:cubicBezTo>
                  <a:pt x="345" y="12"/>
                  <a:pt x="345" y="12"/>
                  <a:pt x="345" y="12"/>
                </a:cubicBezTo>
                <a:cubicBezTo>
                  <a:pt x="345" y="13"/>
                  <a:pt x="345" y="13"/>
                  <a:pt x="345" y="13"/>
                </a:cubicBezTo>
                <a:cubicBezTo>
                  <a:pt x="345" y="14"/>
                  <a:pt x="345" y="14"/>
                  <a:pt x="345" y="14"/>
                </a:cubicBezTo>
                <a:cubicBezTo>
                  <a:pt x="346" y="14"/>
                  <a:pt x="346" y="14"/>
                  <a:pt x="346" y="14"/>
                </a:cubicBezTo>
                <a:cubicBezTo>
                  <a:pt x="347" y="16"/>
                  <a:pt x="347" y="16"/>
                  <a:pt x="347" y="16"/>
                </a:cubicBezTo>
                <a:cubicBezTo>
                  <a:pt x="348" y="17"/>
                  <a:pt x="348" y="17"/>
                  <a:pt x="348" y="17"/>
                </a:cubicBezTo>
                <a:cubicBezTo>
                  <a:pt x="348" y="17"/>
                  <a:pt x="348" y="17"/>
                  <a:pt x="348" y="17"/>
                </a:cubicBezTo>
                <a:cubicBezTo>
                  <a:pt x="348" y="18"/>
                  <a:pt x="348" y="18"/>
                  <a:pt x="348" y="18"/>
                </a:cubicBezTo>
                <a:cubicBezTo>
                  <a:pt x="349" y="19"/>
                  <a:pt x="349" y="19"/>
                  <a:pt x="349" y="19"/>
                </a:cubicBezTo>
                <a:cubicBezTo>
                  <a:pt x="350" y="19"/>
                  <a:pt x="350" y="19"/>
                  <a:pt x="350" y="19"/>
                </a:cubicBezTo>
                <a:cubicBezTo>
                  <a:pt x="350" y="20"/>
                  <a:pt x="350" y="20"/>
                  <a:pt x="350" y="20"/>
                </a:cubicBezTo>
                <a:cubicBezTo>
                  <a:pt x="349" y="21"/>
                  <a:pt x="349" y="21"/>
                  <a:pt x="349" y="21"/>
                </a:cubicBezTo>
                <a:cubicBezTo>
                  <a:pt x="350" y="21"/>
                  <a:pt x="350" y="21"/>
                  <a:pt x="350" y="21"/>
                </a:cubicBezTo>
                <a:cubicBezTo>
                  <a:pt x="350" y="21"/>
                  <a:pt x="350" y="21"/>
                  <a:pt x="350" y="21"/>
                </a:cubicBezTo>
                <a:cubicBezTo>
                  <a:pt x="351" y="22"/>
                  <a:pt x="351" y="22"/>
                  <a:pt x="351" y="22"/>
                </a:cubicBezTo>
                <a:cubicBezTo>
                  <a:pt x="351" y="22"/>
                  <a:pt x="351" y="22"/>
                  <a:pt x="351" y="22"/>
                </a:cubicBezTo>
                <a:cubicBezTo>
                  <a:pt x="352" y="24"/>
                  <a:pt x="352" y="24"/>
                  <a:pt x="352" y="24"/>
                </a:cubicBezTo>
                <a:cubicBezTo>
                  <a:pt x="355" y="25"/>
                  <a:pt x="355" y="25"/>
                  <a:pt x="355" y="25"/>
                </a:cubicBezTo>
                <a:cubicBezTo>
                  <a:pt x="355" y="27"/>
                  <a:pt x="355" y="27"/>
                  <a:pt x="355" y="27"/>
                </a:cubicBezTo>
                <a:cubicBezTo>
                  <a:pt x="355" y="28"/>
                  <a:pt x="355" y="28"/>
                  <a:pt x="355" y="28"/>
                </a:cubicBezTo>
                <a:cubicBezTo>
                  <a:pt x="356" y="28"/>
                  <a:pt x="356" y="28"/>
                  <a:pt x="356" y="28"/>
                </a:cubicBezTo>
                <a:cubicBezTo>
                  <a:pt x="356" y="29"/>
                  <a:pt x="356" y="29"/>
                  <a:pt x="356" y="29"/>
                </a:cubicBezTo>
                <a:cubicBezTo>
                  <a:pt x="356" y="30"/>
                  <a:pt x="356" y="30"/>
                  <a:pt x="356" y="30"/>
                </a:cubicBezTo>
                <a:cubicBezTo>
                  <a:pt x="357" y="30"/>
                  <a:pt x="357" y="30"/>
                  <a:pt x="357" y="30"/>
                </a:cubicBezTo>
                <a:cubicBezTo>
                  <a:pt x="357" y="31"/>
                  <a:pt x="357" y="31"/>
                  <a:pt x="357" y="31"/>
                </a:cubicBezTo>
                <a:cubicBezTo>
                  <a:pt x="357" y="32"/>
                  <a:pt x="357" y="32"/>
                  <a:pt x="357" y="32"/>
                </a:cubicBezTo>
                <a:cubicBezTo>
                  <a:pt x="358" y="33"/>
                  <a:pt x="358" y="33"/>
                  <a:pt x="358" y="33"/>
                </a:cubicBezTo>
                <a:cubicBezTo>
                  <a:pt x="359" y="35"/>
                  <a:pt x="359" y="35"/>
                  <a:pt x="359" y="35"/>
                </a:cubicBezTo>
                <a:cubicBezTo>
                  <a:pt x="360" y="35"/>
                  <a:pt x="360" y="35"/>
                  <a:pt x="360" y="35"/>
                </a:cubicBezTo>
                <a:cubicBezTo>
                  <a:pt x="361" y="36"/>
                  <a:pt x="361" y="36"/>
                  <a:pt x="361" y="36"/>
                </a:cubicBezTo>
                <a:cubicBezTo>
                  <a:pt x="362" y="36"/>
                  <a:pt x="362" y="36"/>
                  <a:pt x="362" y="36"/>
                </a:cubicBezTo>
                <a:cubicBezTo>
                  <a:pt x="362" y="36"/>
                  <a:pt x="362" y="36"/>
                  <a:pt x="362" y="36"/>
                </a:cubicBezTo>
                <a:cubicBezTo>
                  <a:pt x="363" y="36"/>
                  <a:pt x="363" y="36"/>
                  <a:pt x="363" y="36"/>
                </a:cubicBezTo>
                <a:cubicBezTo>
                  <a:pt x="363" y="36"/>
                  <a:pt x="363" y="36"/>
                  <a:pt x="363" y="36"/>
                </a:cubicBezTo>
                <a:cubicBezTo>
                  <a:pt x="365" y="36"/>
                  <a:pt x="365" y="36"/>
                  <a:pt x="365" y="36"/>
                </a:cubicBezTo>
                <a:cubicBezTo>
                  <a:pt x="365" y="35"/>
                  <a:pt x="365" y="35"/>
                  <a:pt x="365" y="35"/>
                </a:cubicBezTo>
                <a:cubicBezTo>
                  <a:pt x="366" y="35"/>
                  <a:pt x="366" y="35"/>
                  <a:pt x="366" y="35"/>
                </a:cubicBezTo>
                <a:cubicBezTo>
                  <a:pt x="366" y="36"/>
                  <a:pt x="366" y="36"/>
                  <a:pt x="366" y="36"/>
                </a:cubicBezTo>
                <a:cubicBezTo>
                  <a:pt x="366" y="36"/>
                  <a:pt x="366" y="36"/>
                  <a:pt x="366" y="36"/>
                </a:cubicBezTo>
                <a:cubicBezTo>
                  <a:pt x="366" y="37"/>
                  <a:pt x="366" y="37"/>
                  <a:pt x="366" y="37"/>
                </a:cubicBezTo>
                <a:cubicBezTo>
                  <a:pt x="368" y="37"/>
                  <a:pt x="368" y="37"/>
                  <a:pt x="368" y="37"/>
                </a:cubicBezTo>
                <a:cubicBezTo>
                  <a:pt x="368" y="37"/>
                  <a:pt x="368" y="37"/>
                  <a:pt x="368" y="37"/>
                </a:cubicBezTo>
                <a:cubicBezTo>
                  <a:pt x="369" y="38"/>
                  <a:pt x="369" y="38"/>
                  <a:pt x="369" y="38"/>
                </a:cubicBezTo>
                <a:cubicBezTo>
                  <a:pt x="369" y="38"/>
                  <a:pt x="369" y="38"/>
                  <a:pt x="369" y="38"/>
                </a:cubicBezTo>
                <a:cubicBezTo>
                  <a:pt x="370" y="38"/>
                  <a:pt x="370" y="38"/>
                  <a:pt x="370" y="38"/>
                </a:cubicBezTo>
                <a:cubicBezTo>
                  <a:pt x="370" y="37"/>
                  <a:pt x="370" y="37"/>
                  <a:pt x="370" y="37"/>
                </a:cubicBezTo>
                <a:cubicBezTo>
                  <a:pt x="371" y="38"/>
                  <a:pt x="371" y="38"/>
                  <a:pt x="371" y="38"/>
                </a:cubicBezTo>
                <a:cubicBezTo>
                  <a:pt x="371" y="37"/>
                  <a:pt x="371" y="37"/>
                  <a:pt x="371" y="37"/>
                </a:cubicBezTo>
                <a:cubicBezTo>
                  <a:pt x="372" y="37"/>
                  <a:pt x="372" y="37"/>
                  <a:pt x="372" y="37"/>
                </a:cubicBezTo>
                <a:cubicBezTo>
                  <a:pt x="372" y="37"/>
                  <a:pt x="372" y="37"/>
                  <a:pt x="372" y="37"/>
                </a:cubicBezTo>
                <a:cubicBezTo>
                  <a:pt x="373" y="38"/>
                  <a:pt x="373" y="38"/>
                  <a:pt x="373" y="38"/>
                </a:cubicBezTo>
                <a:cubicBezTo>
                  <a:pt x="373" y="39"/>
                  <a:pt x="373" y="39"/>
                  <a:pt x="373" y="39"/>
                </a:cubicBezTo>
                <a:cubicBezTo>
                  <a:pt x="374" y="39"/>
                  <a:pt x="374" y="39"/>
                  <a:pt x="374" y="39"/>
                </a:cubicBezTo>
                <a:cubicBezTo>
                  <a:pt x="374" y="39"/>
                  <a:pt x="374" y="39"/>
                  <a:pt x="374" y="39"/>
                </a:cubicBezTo>
                <a:cubicBezTo>
                  <a:pt x="375" y="40"/>
                  <a:pt x="375" y="40"/>
                  <a:pt x="375" y="40"/>
                </a:cubicBezTo>
                <a:cubicBezTo>
                  <a:pt x="375" y="40"/>
                  <a:pt x="375" y="40"/>
                  <a:pt x="375" y="40"/>
                </a:cubicBezTo>
                <a:cubicBezTo>
                  <a:pt x="376" y="40"/>
                  <a:pt x="376" y="40"/>
                  <a:pt x="376" y="40"/>
                </a:cubicBezTo>
                <a:cubicBezTo>
                  <a:pt x="376" y="41"/>
                  <a:pt x="376" y="41"/>
                  <a:pt x="376" y="41"/>
                </a:cubicBezTo>
                <a:cubicBezTo>
                  <a:pt x="377" y="42"/>
                  <a:pt x="377" y="42"/>
                  <a:pt x="377" y="42"/>
                </a:cubicBezTo>
                <a:cubicBezTo>
                  <a:pt x="377" y="42"/>
                  <a:pt x="377" y="42"/>
                  <a:pt x="377" y="42"/>
                </a:cubicBezTo>
                <a:cubicBezTo>
                  <a:pt x="378" y="42"/>
                  <a:pt x="378" y="42"/>
                  <a:pt x="378" y="42"/>
                </a:cubicBezTo>
                <a:cubicBezTo>
                  <a:pt x="379" y="43"/>
                  <a:pt x="379" y="43"/>
                  <a:pt x="379" y="43"/>
                </a:cubicBezTo>
                <a:cubicBezTo>
                  <a:pt x="380" y="43"/>
                  <a:pt x="380" y="43"/>
                  <a:pt x="380" y="43"/>
                </a:cubicBezTo>
                <a:cubicBezTo>
                  <a:pt x="380" y="42"/>
                  <a:pt x="380" y="42"/>
                  <a:pt x="380" y="42"/>
                </a:cubicBezTo>
                <a:cubicBezTo>
                  <a:pt x="381" y="42"/>
                  <a:pt x="381" y="42"/>
                  <a:pt x="381" y="42"/>
                </a:cubicBezTo>
                <a:cubicBezTo>
                  <a:pt x="382" y="42"/>
                  <a:pt x="382" y="42"/>
                  <a:pt x="382" y="42"/>
                </a:cubicBezTo>
                <a:cubicBezTo>
                  <a:pt x="382" y="42"/>
                  <a:pt x="382" y="42"/>
                  <a:pt x="382" y="42"/>
                </a:cubicBezTo>
                <a:cubicBezTo>
                  <a:pt x="383" y="42"/>
                  <a:pt x="383" y="42"/>
                  <a:pt x="383" y="42"/>
                </a:cubicBezTo>
                <a:cubicBezTo>
                  <a:pt x="382" y="43"/>
                  <a:pt x="382" y="43"/>
                  <a:pt x="382" y="43"/>
                </a:cubicBezTo>
                <a:cubicBezTo>
                  <a:pt x="382" y="44"/>
                  <a:pt x="382" y="44"/>
                  <a:pt x="382" y="44"/>
                </a:cubicBezTo>
                <a:cubicBezTo>
                  <a:pt x="382" y="44"/>
                  <a:pt x="382" y="44"/>
                  <a:pt x="382" y="44"/>
                </a:cubicBezTo>
                <a:cubicBezTo>
                  <a:pt x="382" y="45"/>
                  <a:pt x="382" y="45"/>
                  <a:pt x="382" y="45"/>
                </a:cubicBezTo>
                <a:cubicBezTo>
                  <a:pt x="383" y="45"/>
                  <a:pt x="383" y="45"/>
                  <a:pt x="383" y="45"/>
                </a:cubicBezTo>
                <a:cubicBezTo>
                  <a:pt x="383" y="46"/>
                  <a:pt x="383" y="46"/>
                  <a:pt x="383" y="46"/>
                </a:cubicBezTo>
                <a:cubicBezTo>
                  <a:pt x="384" y="47"/>
                  <a:pt x="384" y="47"/>
                  <a:pt x="384" y="47"/>
                </a:cubicBezTo>
                <a:cubicBezTo>
                  <a:pt x="384" y="48"/>
                  <a:pt x="384" y="48"/>
                  <a:pt x="384" y="48"/>
                </a:cubicBezTo>
                <a:cubicBezTo>
                  <a:pt x="383" y="49"/>
                  <a:pt x="383" y="49"/>
                  <a:pt x="383" y="49"/>
                </a:cubicBezTo>
                <a:cubicBezTo>
                  <a:pt x="383" y="50"/>
                  <a:pt x="383" y="50"/>
                  <a:pt x="383" y="50"/>
                </a:cubicBezTo>
                <a:cubicBezTo>
                  <a:pt x="384" y="51"/>
                  <a:pt x="384" y="51"/>
                  <a:pt x="384" y="51"/>
                </a:cubicBezTo>
                <a:cubicBezTo>
                  <a:pt x="385" y="52"/>
                  <a:pt x="385" y="52"/>
                  <a:pt x="385" y="52"/>
                </a:cubicBezTo>
                <a:cubicBezTo>
                  <a:pt x="386" y="53"/>
                  <a:pt x="386" y="53"/>
                  <a:pt x="386" y="53"/>
                </a:cubicBezTo>
                <a:cubicBezTo>
                  <a:pt x="386" y="53"/>
                  <a:pt x="386" y="53"/>
                  <a:pt x="386" y="53"/>
                </a:cubicBezTo>
                <a:cubicBezTo>
                  <a:pt x="387" y="53"/>
                  <a:pt x="387" y="53"/>
                  <a:pt x="387" y="53"/>
                </a:cubicBezTo>
                <a:cubicBezTo>
                  <a:pt x="388" y="53"/>
                  <a:pt x="388" y="53"/>
                  <a:pt x="388" y="53"/>
                </a:cubicBezTo>
                <a:cubicBezTo>
                  <a:pt x="389" y="53"/>
                  <a:pt x="389" y="53"/>
                  <a:pt x="389" y="53"/>
                </a:cubicBezTo>
                <a:cubicBezTo>
                  <a:pt x="390" y="53"/>
                  <a:pt x="390" y="53"/>
                  <a:pt x="390" y="53"/>
                </a:cubicBezTo>
                <a:cubicBezTo>
                  <a:pt x="390" y="54"/>
                  <a:pt x="390" y="54"/>
                  <a:pt x="390" y="54"/>
                </a:cubicBezTo>
                <a:cubicBezTo>
                  <a:pt x="391" y="54"/>
                  <a:pt x="391" y="54"/>
                  <a:pt x="391" y="54"/>
                </a:cubicBezTo>
                <a:cubicBezTo>
                  <a:pt x="391" y="53"/>
                  <a:pt x="391" y="53"/>
                  <a:pt x="391" y="53"/>
                </a:cubicBezTo>
                <a:cubicBezTo>
                  <a:pt x="392" y="54"/>
                  <a:pt x="392" y="54"/>
                  <a:pt x="392" y="54"/>
                </a:cubicBezTo>
                <a:cubicBezTo>
                  <a:pt x="393" y="53"/>
                  <a:pt x="393" y="53"/>
                  <a:pt x="393" y="53"/>
                </a:cubicBezTo>
                <a:cubicBezTo>
                  <a:pt x="394" y="53"/>
                  <a:pt x="394" y="53"/>
                  <a:pt x="394" y="53"/>
                </a:cubicBezTo>
                <a:cubicBezTo>
                  <a:pt x="395" y="52"/>
                  <a:pt x="395" y="52"/>
                  <a:pt x="395" y="52"/>
                </a:cubicBezTo>
                <a:cubicBezTo>
                  <a:pt x="396" y="52"/>
                  <a:pt x="396" y="52"/>
                  <a:pt x="396" y="52"/>
                </a:cubicBezTo>
                <a:cubicBezTo>
                  <a:pt x="396" y="51"/>
                  <a:pt x="396" y="51"/>
                  <a:pt x="396" y="51"/>
                </a:cubicBezTo>
                <a:cubicBezTo>
                  <a:pt x="396" y="50"/>
                  <a:pt x="396" y="50"/>
                  <a:pt x="396" y="50"/>
                </a:cubicBezTo>
                <a:cubicBezTo>
                  <a:pt x="397" y="50"/>
                  <a:pt x="397" y="50"/>
                  <a:pt x="397" y="50"/>
                </a:cubicBezTo>
                <a:cubicBezTo>
                  <a:pt x="397" y="49"/>
                  <a:pt x="397" y="49"/>
                  <a:pt x="397" y="49"/>
                </a:cubicBezTo>
                <a:cubicBezTo>
                  <a:pt x="397" y="48"/>
                  <a:pt x="397" y="48"/>
                  <a:pt x="397" y="48"/>
                </a:cubicBezTo>
                <a:cubicBezTo>
                  <a:pt x="398" y="48"/>
                  <a:pt x="398" y="48"/>
                  <a:pt x="398" y="48"/>
                </a:cubicBezTo>
                <a:cubicBezTo>
                  <a:pt x="399" y="48"/>
                  <a:pt x="399" y="48"/>
                  <a:pt x="399" y="48"/>
                </a:cubicBezTo>
                <a:cubicBezTo>
                  <a:pt x="400" y="47"/>
                  <a:pt x="400" y="47"/>
                  <a:pt x="400" y="47"/>
                </a:cubicBezTo>
                <a:cubicBezTo>
                  <a:pt x="400" y="46"/>
                  <a:pt x="400" y="46"/>
                  <a:pt x="400" y="46"/>
                </a:cubicBezTo>
                <a:cubicBezTo>
                  <a:pt x="401" y="46"/>
                  <a:pt x="401" y="46"/>
                  <a:pt x="401" y="46"/>
                </a:cubicBezTo>
                <a:cubicBezTo>
                  <a:pt x="401" y="45"/>
                  <a:pt x="401" y="45"/>
                  <a:pt x="401" y="45"/>
                </a:cubicBezTo>
                <a:cubicBezTo>
                  <a:pt x="402" y="45"/>
                  <a:pt x="402" y="45"/>
                  <a:pt x="402" y="45"/>
                </a:cubicBezTo>
                <a:cubicBezTo>
                  <a:pt x="403" y="44"/>
                  <a:pt x="403" y="44"/>
                  <a:pt x="403" y="44"/>
                </a:cubicBezTo>
                <a:cubicBezTo>
                  <a:pt x="403" y="44"/>
                  <a:pt x="403" y="44"/>
                  <a:pt x="403" y="44"/>
                </a:cubicBezTo>
                <a:cubicBezTo>
                  <a:pt x="405" y="44"/>
                  <a:pt x="405" y="44"/>
                  <a:pt x="405" y="44"/>
                </a:cubicBezTo>
                <a:cubicBezTo>
                  <a:pt x="405" y="45"/>
                  <a:pt x="405" y="45"/>
                  <a:pt x="405" y="45"/>
                </a:cubicBezTo>
                <a:cubicBezTo>
                  <a:pt x="406" y="45"/>
                  <a:pt x="406" y="45"/>
                  <a:pt x="406" y="45"/>
                </a:cubicBezTo>
                <a:cubicBezTo>
                  <a:pt x="407" y="46"/>
                  <a:pt x="407" y="46"/>
                  <a:pt x="407" y="46"/>
                </a:cubicBezTo>
                <a:cubicBezTo>
                  <a:pt x="407" y="47"/>
                  <a:pt x="407" y="47"/>
                  <a:pt x="407" y="47"/>
                </a:cubicBezTo>
                <a:cubicBezTo>
                  <a:pt x="407" y="47"/>
                  <a:pt x="407" y="47"/>
                  <a:pt x="407" y="47"/>
                </a:cubicBezTo>
                <a:cubicBezTo>
                  <a:pt x="407" y="48"/>
                  <a:pt x="407" y="48"/>
                  <a:pt x="407" y="48"/>
                </a:cubicBezTo>
                <a:cubicBezTo>
                  <a:pt x="408" y="49"/>
                  <a:pt x="408" y="49"/>
                  <a:pt x="408" y="49"/>
                </a:cubicBezTo>
                <a:cubicBezTo>
                  <a:pt x="408" y="50"/>
                  <a:pt x="408" y="50"/>
                  <a:pt x="408" y="50"/>
                </a:cubicBezTo>
                <a:cubicBezTo>
                  <a:pt x="409" y="51"/>
                  <a:pt x="409" y="51"/>
                  <a:pt x="409" y="51"/>
                </a:cubicBezTo>
                <a:cubicBezTo>
                  <a:pt x="410" y="51"/>
                  <a:pt x="410" y="51"/>
                  <a:pt x="410" y="51"/>
                </a:cubicBezTo>
                <a:cubicBezTo>
                  <a:pt x="409" y="52"/>
                  <a:pt x="409" y="52"/>
                  <a:pt x="409" y="52"/>
                </a:cubicBezTo>
                <a:cubicBezTo>
                  <a:pt x="409" y="53"/>
                  <a:pt x="409" y="53"/>
                  <a:pt x="409" y="53"/>
                </a:cubicBezTo>
                <a:cubicBezTo>
                  <a:pt x="409" y="54"/>
                  <a:pt x="409" y="54"/>
                  <a:pt x="409" y="54"/>
                </a:cubicBezTo>
                <a:cubicBezTo>
                  <a:pt x="408" y="54"/>
                  <a:pt x="408" y="54"/>
                  <a:pt x="408" y="54"/>
                </a:cubicBezTo>
                <a:cubicBezTo>
                  <a:pt x="407" y="55"/>
                  <a:pt x="407" y="55"/>
                  <a:pt x="407" y="55"/>
                </a:cubicBezTo>
                <a:cubicBezTo>
                  <a:pt x="407" y="56"/>
                  <a:pt x="407" y="56"/>
                  <a:pt x="407" y="56"/>
                </a:cubicBezTo>
                <a:cubicBezTo>
                  <a:pt x="408" y="56"/>
                  <a:pt x="408" y="56"/>
                  <a:pt x="408" y="56"/>
                </a:cubicBezTo>
                <a:cubicBezTo>
                  <a:pt x="408" y="57"/>
                  <a:pt x="408" y="57"/>
                  <a:pt x="408" y="57"/>
                </a:cubicBezTo>
                <a:cubicBezTo>
                  <a:pt x="408" y="58"/>
                  <a:pt x="408" y="58"/>
                  <a:pt x="408" y="58"/>
                </a:cubicBezTo>
                <a:cubicBezTo>
                  <a:pt x="408" y="59"/>
                  <a:pt x="408" y="59"/>
                  <a:pt x="408" y="59"/>
                </a:cubicBezTo>
                <a:cubicBezTo>
                  <a:pt x="408" y="59"/>
                  <a:pt x="408" y="59"/>
                  <a:pt x="408" y="59"/>
                </a:cubicBezTo>
                <a:cubicBezTo>
                  <a:pt x="408" y="60"/>
                  <a:pt x="408" y="60"/>
                  <a:pt x="408" y="60"/>
                </a:cubicBezTo>
                <a:cubicBezTo>
                  <a:pt x="408" y="60"/>
                  <a:pt x="408" y="60"/>
                  <a:pt x="408" y="60"/>
                </a:cubicBezTo>
                <a:cubicBezTo>
                  <a:pt x="409" y="61"/>
                  <a:pt x="409" y="61"/>
                  <a:pt x="409" y="61"/>
                </a:cubicBezTo>
                <a:cubicBezTo>
                  <a:pt x="409" y="61"/>
                  <a:pt x="409" y="61"/>
                  <a:pt x="409" y="61"/>
                </a:cubicBezTo>
                <a:cubicBezTo>
                  <a:pt x="408" y="62"/>
                  <a:pt x="408" y="62"/>
                  <a:pt x="408" y="62"/>
                </a:cubicBezTo>
                <a:cubicBezTo>
                  <a:pt x="408" y="62"/>
                  <a:pt x="408" y="62"/>
                  <a:pt x="408" y="62"/>
                </a:cubicBezTo>
                <a:cubicBezTo>
                  <a:pt x="408" y="63"/>
                  <a:pt x="408" y="63"/>
                  <a:pt x="408" y="63"/>
                </a:cubicBezTo>
                <a:cubicBezTo>
                  <a:pt x="409" y="65"/>
                  <a:pt x="409" y="65"/>
                  <a:pt x="409" y="65"/>
                </a:cubicBezTo>
                <a:cubicBezTo>
                  <a:pt x="409" y="65"/>
                  <a:pt x="409" y="65"/>
                  <a:pt x="409" y="65"/>
                </a:cubicBezTo>
                <a:cubicBezTo>
                  <a:pt x="409" y="66"/>
                  <a:pt x="409" y="66"/>
                  <a:pt x="409" y="66"/>
                </a:cubicBezTo>
                <a:cubicBezTo>
                  <a:pt x="408" y="66"/>
                  <a:pt x="408" y="66"/>
                  <a:pt x="408" y="66"/>
                </a:cubicBezTo>
                <a:cubicBezTo>
                  <a:pt x="408" y="67"/>
                  <a:pt x="408" y="67"/>
                  <a:pt x="408" y="67"/>
                </a:cubicBezTo>
                <a:cubicBezTo>
                  <a:pt x="408" y="68"/>
                  <a:pt x="408" y="68"/>
                  <a:pt x="408" y="68"/>
                </a:cubicBezTo>
                <a:cubicBezTo>
                  <a:pt x="408" y="68"/>
                  <a:pt x="408" y="68"/>
                  <a:pt x="408" y="68"/>
                </a:cubicBezTo>
                <a:cubicBezTo>
                  <a:pt x="409" y="69"/>
                  <a:pt x="409" y="69"/>
                  <a:pt x="409" y="69"/>
                </a:cubicBezTo>
                <a:cubicBezTo>
                  <a:pt x="408" y="69"/>
                  <a:pt x="408" y="69"/>
                  <a:pt x="408" y="69"/>
                </a:cubicBezTo>
                <a:cubicBezTo>
                  <a:pt x="408" y="70"/>
                  <a:pt x="408" y="70"/>
                  <a:pt x="408" y="70"/>
                </a:cubicBezTo>
                <a:cubicBezTo>
                  <a:pt x="408" y="70"/>
                  <a:pt x="408" y="70"/>
                  <a:pt x="408" y="70"/>
                </a:cubicBezTo>
                <a:cubicBezTo>
                  <a:pt x="408" y="71"/>
                  <a:pt x="408" y="71"/>
                  <a:pt x="408" y="71"/>
                </a:cubicBezTo>
                <a:cubicBezTo>
                  <a:pt x="408" y="72"/>
                  <a:pt x="408" y="72"/>
                  <a:pt x="408" y="72"/>
                </a:cubicBezTo>
                <a:cubicBezTo>
                  <a:pt x="407" y="73"/>
                  <a:pt x="407" y="73"/>
                  <a:pt x="407" y="73"/>
                </a:cubicBezTo>
                <a:cubicBezTo>
                  <a:pt x="408" y="74"/>
                  <a:pt x="408" y="74"/>
                  <a:pt x="408" y="74"/>
                </a:cubicBezTo>
                <a:cubicBezTo>
                  <a:pt x="408" y="74"/>
                  <a:pt x="408" y="74"/>
                  <a:pt x="408" y="74"/>
                </a:cubicBezTo>
                <a:cubicBezTo>
                  <a:pt x="408" y="75"/>
                  <a:pt x="408" y="75"/>
                  <a:pt x="408" y="75"/>
                </a:cubicBezTo>
                <a:cubicBezTo>
                  <a:pt x="408" y="76"/>
                  <a:pt x="408" y="76"/>
                  <a:pt x="408" y="76"/>
                </a:cubicBezTo>
                <a:cubicBezTo>
                  <a:pt x="408" y="76"/>
                  <a:pt x="408" y="76"/>
                  <a:pt x="408" y="76"/>
                </a:cubicBezTo>
                <a:cubicBezTo>
                  <a:pt x="408" y="77"/>
                  <a:pt x="408" y="77"/>
                  <a:pt x="408" y="77"/>
                </a:cubicBezTo>
                <a:cubicBezTo>
                  <a:pt x="408" y="78"/>
                  <a:pt x="408" y="78"/>
                  <a:pt x="408" y="78"/>
                </a:cubicBezTo>
                <a:cubicBezTo>
                  <a:pt x="407" y="78"/>
                  <a:pt x="407" y="78"/>
                  <a:pt x="407" y="78"/>
                </a:cubicBezTo>
                <a:cubicBezTo>
                  <a:pt x="406" y="78"/>
                  <a:pt x="406" y="78"/>
                  <a:pt x="406" y="78"/>
                </a:cubicBezTo>
                <a:cubicBezTo>
                  <a:pt x="402" y="77"/>
                  <a:pt x="402" y="77"/>
                  <a:pt x="402" y="77"/>
                </a:cubicBezTo>
                <a:cubicBezTo>
                  <a:pt x="402" y="77"/>
                  <a:pt x="402" y="77"/>
                  <a:pt x="402" y="77"/>
                </a:cubicBezTo>
                <a:cubicBezTo>
                  <a:pt x="401" y="76"/>
                  <a:pt x="401" y="76"/>
                  <a:pt x="401" y="76"/>
                </a:cubicBezTo>
                <a:cubicBezTo>
                  <a:pt x="400" y="76"/>
                  <a:pt x="400" y="76"/>
                  <a:pt x="400" y="76"/>
                </a:cubicBezTo>
                <a:cubicBezTo>
                  <a:pt x="399" y="78"/>
                  <a:pt x="399" y="78"/>
                  <a:pt x="399" y="78"/>
                </a:cubicBezTo>
                <a:cubicBezTo>
                  <a:pt x="399" y="79"/>
                  <a:pt x="399" y="79"/>
                  <a:pt x="399" y="79"/>
                </a:cubicBezTo>
                <a:cubicBezTo>
                  <a:pt x="398" y="80"/>
                  <a:pt x="398" y="80"/>
                  <a:pt x="398" y="80"/>
                </a:cubicBezTo>
                <a:cubicBezTo>
                  <a:pt x="397" y="80"/>
                  <a:pt x="397" y="80"/>
                  <a:pt x="397" y="80"/>
                </a:cubicBezTo>
                <a:cubicBezTo>
                  <a:pt x="397" y="80"/>
                  <a:pt x="397" y="80"/>
                  <a:pt x="397" y="80"/>
                </a:cubicBezTo>
                <a:cubicBezTo>
                  <a:pt x="396" y="81"/>
                  <a:pt x="396" y="81"/>
                  <a:pt x="396" y="81"/>
                </a:cubicBezTo>
                <a:cubicBezTo>
                  <a:pt x="397" y="82"/>
                  <a:pt x="397" y="82"/>
                  <a:pt x="397" y="82"/>
                </a:cubicBezTo>
                <a:cubicBezTo>
                  <a:pt x="398" y="84"/>
                  <a:pt x="398" y="84"/>
                  <a:pt x="398" y="84"/>
                </a:cubicBezTo>
                <a:cubicBezTo>
                  <a:pt x="399" y="85"/>
                  <a:pt x="399" y="85"/>
                  <a:pt x="399" y="85"/>
                </a:cubicBezTo>
                <a:cubicBezTo>
                  <a:pt x="399" y="86"/>
                  <a:pt x="399" y="86"/>
                  <a:pt x="399" y="86"/>
                </a:cubicBezTo>
                <a:cubicBezTo>
                  <a:pt x="400" y="87"/>
                  <a:pt x="400" y="87"/>
                  <a:pt x="400" y="87"/>
                </a:cubicBezTo>
                <a:cubicBezTo>
                  <a:pt x="400" y="88"/>
                  <a:pt x="400" y="88"/>
                  <a:pt x="400" y="88"/>
                </a:cubicBezTo>
                <a:cubicBezTo>
                  <a:pt x="400" y="90"/>
                  <a:pt x="400" y="90"/>
                  <a:pt x="400" y="90"/>
                </a:cubicBezTo>
                <a:cubicBezTo>
                  <a:pt x="400" y="91"/>
                  <a:pt x="400" y="91"/>
                  <a:pt x="400" y="91"/>
                </a:cubicBezTo>
                <a:cubicBezTo>
                  <a:pt x="400" y="93"/>
                  <a:pt x="400" y="93"/>
                  <a:pt x="400" y="93"/>
                </a:cubicBezTo>
                <a:cubicBezTo>
                  <a:pt x="401" y="93"/>
                  <a:pt x="401" y="93"/>
                  <a:pt x="401" y="93"/>
                </a:cubicBezTo>
                <a:cubicBezTo>
                  <a:pt x="401" y="95"/>
                  <a:pt x="401" y="95"/>
                  <a:pt x="401" y="95"/>
                </a:cubicBezTo>
                <a:cubicBezTo>
                  <a:pt x="401" y="96"/>
                  <a:pt x="401" y="96"/>
                  <a:pt x="401" y="96"/>
                </a:cubicBezTo>
                <a:cubicBezTo>
                  <a:pt x="401" y="96"/>
                  <a:pt x="401" y="96"/>
                  <a:pt x="401" y="96"/>
                </a:cubicBezTo>
                <a:cubicBezTo>
                  <a:pt x="400" y="97"/>
                  <a:pt x="400" y="97"/>
                  <a:pt x="400" y="97"/>
                </a:cubicBezTo>
                <a:cubicBezTo>
                  <a:pt x="401" y="98"/>
                  <a:pt x="401" y="98"/>
                  <a:pt x="401" y="98"/>
                </a:cubicBezTo>
                <a:cubicBezTo>
                  <a:pt x="401" y="99"/>
                  <a:pt x="401" y="99"/>
                  <a:pt x="401" y="99"/>
                </a:cubicBezTo>
                <a:cubicBezTo>
                  <a:pt x="400" y="99"/>
                  <a:pt x="400" y="99"/>
                  <a:pt x="400" y="99"/>
                </a:cubicBezTo>
                <a:cubicBezTo>
                  <a:pt x="399" y="99"/>
                  <a:pt x="399" y="99"/>
                  <a:pt x="399" y="99"/>
                </a:cubicBezTo>
                <a:cubicBezTo>
                  <a:pt x="398" y="99"/>
                  <a:pt x="398" y="99"/>
                  <a:pt x="398" y="99"/>
                </a:cubicBezTo>
                <a:cubicBezTo>
                  <a:pt x="398" y="100"/>
                  <a:pt x="398" y="100"/>
                  <a:pt x="398" y="100"/>
                </a:cubicBezTo>
                <a:cubicBezTo>
                  <a:pt x="398" y="101"/>
                  <a:pt x="398" y="101"/>
                  <a:pt x="398" y="101"/>
                </a:cubicBezTo>
                <a:cubicBezTo>
                  <a:pt x="399" y="101"/>
                  <a:pt x="399" y="101"/>
                  <a:pt x="399" y="101"/>
                </a:cubicBezTo>
                <a:cubicBezTo>
                  <a:pt x="399" y="102"/>
                  <a:pt x="399" y="102"/>
                  <a:pt x="399" y="102"/>
                </a:cubicBezTo>
                <a:cubicBezTo>
                  <a:pt x="398" y="103"/>
                  <a:pt x="398" y="103"/>
                  <a:pt x="398" y="103"/>
                </a:cubicBezTo>
                <a:cubicBezTo>
                  <a:pt x="393" y="107"/>
                  <a:pt x="393" y="107"/>
                  <a:pt x="393" y="107"/>
                </a:cubicBezTo>
                <a:cubicBezTo>
                  <a:pt x="391" y="116"/>
                  <a:pt x="391" y="116"/>
                  <a:pt x="391" y="116"/>
                </a:cubicBezTo>
                <a:cubicBezTo>
                  <a:pt x="373" y="129"/>
                  <a:pt x="373" y="129"/>
                  <a:pt x="373" y="129"/>
                </a:cubicBezTo>
                <a:cubicBezTo>
                  <a:pt x="370" y="131"/>
                  <a:pt x="370" y="131"/>
                  <a:pt x="370" y="131"/>
                </a:cubicBezTo>
                <a:cubicBezTo>
                  <a:pt x="370" y="131"/>
                  <a:pt x="370" y="131"/>
                  <a:pt x="370" y="131"/>
                </a:cubicBezTo>
                <a:cubicBezTo>
                  <a:pt x="369" y="130"/>
                  <a:pt x="369" y="130"/>
                  <a:pt x="369" y="130"/>
                </a:cubicBezTo>
                <a:cubicBezTo>
                  <a:pt x="367" y="132"/>
                  <a:pt x="367" y="132"/>
                  <a:pt x="367" y="132"/>
                </a:cubicBezTo>
                <a:cubicBezTo>
                  <a:pt x="366" y="132"/>
                  <a:pt x="366" y="132"/>
                  <a:pt x="366" y="132"/>
                </a:cubicBezTo>
                <a:cubicBezTo>
                  <a:pt x="365" y="132"/>
                  <a:pt x="365" y="132"/>
                  <a:pt x="365" y="132"/>
                </a:cubicBezTo>
                <a:cubicBezTo>
                  <a:pt x="365" y="131"/>
                  <a:pt x="365" y="131"/>
                  <a:pt x="365" y="131"/>
                </a:cubicBezTo>
                <a:cubicBezTo>
                  <a:pt x="363" y="133"/>
                  <a:pt x="363" y="133"/>
                  <a:pt x="363" y="133"/>
                </a:cubicBezTo>
                <a:cubicBezTo>
                  <a:pt x="362" y="133"/>
                  <a:pt x="362" y="133"/>
                  <a:pt x="362" y="133"/>
                </a:cubicBezTo>
                <a:cubicBezTo>
                  <a:pt x="361" y="134"/>
                  <a:pt x="361" y="134"/>
                  <a:pt x="361" y="134"/>
                </a:cubicBezTo>
                <a:cubicBezTo>
                  <a:pt x="361" y="134"/>
                  <a:pt x="361" y="134"/>
                  <a:pt x="361" y="134"/>
                </a:cubicBezTo>
                <a:cubicBezTo>
                  <a:pt x="358" y="136"/>
                  <a:pt x="358" y="136"/>
                  <a:pt x="358" y="136"/>
                </a:cubicBezTo>
                <a:cubicBezTo>
                  <a:pt x="356" y="137"/>
                  <a:pt x="356" y="137"/>
                  <a:pt x="356" y="137"/>
                </a:cubicBezTo>
                <a:cubicBezTo>
                  <a:pt x="357" y="138"/>
                  <a:pt x="357" y="138"/>
                  <a:pt x="357" y="138"/>
                </a:cubicBezTo>
                <a:cubicBezTo>
                  <a:pt x="357" y="139"/>
                  <a:pt x="357" y="139"/>
                  <a:pt x="357" y="139"/>
                </a:cubicBezTo>
                <a:cubicBezTo>
                  <a:pt x="355" y="140"/>
                  <a:pt x="355" y="140"/>
                  <a:pt x="355" y="140"/>
                </a:cubicBezTo>
                <a:cubicBezTo>
                  <a:pt x="354" y="141"/>
                  <a:pt x="354" y="141"/>
                  <a:pt x="354" y="141"/>
                </a:cubicBezTo>
                <a:cubicBezTo>
                  <a:pt x="353" y="141"/>
                  <a:pt x="353" y="141"/>
                  <a:pt x="353" y="141"/>
                </a:cubicBezTo>
                <a:cubicBezTo>
                  <a:pt x="352" y="142"/>
                  <a:pt x="352" y="142"/>
                  <a:pt x="352" y="142"/>
                </a:cubicBezTo>
                <a:cubicBezTo>
                  <a:pt x="352" y="142"/>
                  <a:pt x="352" y="142"/>
                  <a:pt x="352" y="142"/>
                </a:cubicBezTo>
                <a:cubicBezTo>
                  <a:pt x="351" y="141"/>
                  <a:pt x="351" y="141"/>
                  <a:pt x="351" y="141"/>
                </a:cubicBezTo>
                <a:cubicBezTo>
                  <a:pt x="350" y="141"/>
                  <a:pt x="350" y="141"/>
                  <a:pt x="350" y="141"/>
                </a:cubicBezTo>
                <a:cubicBezTo>
                  <a:pt x="351" y="140"/>
                  <a:pt x="351" y="140"/>
                  <a:pt x="351" y="140"/>
                </a:cubicBezTo>
                <a:cubicBezTo>
                  <a:pt x="352" y="140"/>
                  <a:pt x="352" y="140"/>
                  <a:pt x="352" y="140"/>
                </a:cubicBezTo>
                <a:cubicBezTo>
                  <a:pt x="353" y="139"/>
                  <a:pt x="353" y="139"/>
                  <a:pt x="353" y="139"/>
                </a:cubicBezTo>
                <a:cubicBezTo>
                  <a:pt x="354" y="139"/>
                  <a:pt x="354" y="139"/>
                  <a:pt x="354" y="139"/>
                </a:cubicBezTo>
                <a:cubicBezTo>
                  <a:pt x="355" y="138"/>
                  <a:pt x="355" y="138"/>
                  <a:pt x="355" y="138"/>
                </a:cubicBezTo>
                <a:cubicBezTo>
                  <a:pt x="355" y="138"/>
                  <a:pt x="355" y="138"/>
                  <a:pt x="355" y="138"/>
                </a:cubicBezTo>
                <a:cubicBezTo>
                  <a:pt x="354" y="138"/>
                  <a:pt x="354" y="138"/>
                  <a:pt x="354" y="138"/>
                </a:cubicBezTo>
                <a:cubicBezTo>
                  <a:pt x="354" y="137"/>
                  <a:pt x="354" y="137"/>
                  <a:pt x="354" y="137"/>
                </a:cubicBezTo>
                <a:cubicBezTo>
                  <a:pt x="355" y="136"/>
                  <a:pt x="355" y="136"/>
                  <a:pt x="355" y="136"/>
                </a:cubicBezTo>
                <a:cubicBezTo>
                  <a:pt x="356" y="135"/>
                  <a:pt x="356" y="135"/>
                  <a:pt x="356" y="135"/>
                </a:cubicBezTo>
                <a:cubicBezTo>
                  <a:pt x="354" y="136"/>
                  <a:pt x="354" y="136"/>
                  <a:pt x="354" y="136"/>
                </a:cubicBezTo>
                <a:cubicBezTo>
                  <a:pt x="353" y="137"/>
                  <a:pt x="353" y="137"/>
                  <a:pt x="353" y="137"/>
                </a:cubicBezTo>
                <a:cubicBezTo>
                  <a:pt x="352" y="136"/>
                  <a:pt x="352" y="136"/>
                  <a:pt x="352" y="136"/>
                </a:cubicBezTo>
                <a:cubicBezTo>
                  <a:pt x="352" y="135"/>
                  <a:pt x="352" y="135"/>
                  <a:pt x="352" y="135"/>
                </a:cubicBezTo>
                <a:cubicBezTo>
                  <a:pt x="353" y="135"/>
                  <a:pt x="353" y="135"/>
                  <a:pt x="353" y="135"/>
                </a:cubicBezTo>
                <a:cubicBezTo>
                  <a:pt x="353" y="134"/>
                  <a:pt x="353" y="134"/>
                  <a:pt x="353" y="134"/>
                </a:cubicBezTo>
                <a:cubicBezTo>
                  <a:pt x="351" y="133"/>
                  <a:pt x="351" y="133"/>
                  <a:pt x="351" y="133"/>
                </a:cubicBezTo>
                <a:cubicBezTo>
                  <a:pt x="352" y="131"/>
                  <a:pt x="352" y="131"/>
                  <a:pt x="352" y="131"/>
                </a:cubicBezTo>
                <a:cubicBezTo>
                  <a:pt x="352" y="131"/>
                  <a:pt x="352" y="131"/>
                  <a:pt x="352" y="131"/>
                </a:cubicBezTo>
                <a:cubicBezTo>
                  <a:pt x="353" y="131"/>
                  <a:pt x="353" y="131"/>
                  <a:pt x="353" y="131"/>
                </a:cubicBezTo>
                <a:cubicBezTo>
                  <a:pt x="353" y="129"/>
                  <a:pt x="353" y="129"/>
                  <a:pt x="353" y="129"/>
                </a:cubicBezTo>
                <a:cubicBezTo>
                  <a:pt x="354" y="127"/>
                  <a:pt x="354" y="127"/>
                  <a:pt x="354" y="127"/>
                </a:cubicBezTo>
                <a:cubicBezTo>
                  <a:pt x="354" y="126"/>
                  <a:pt x="354" y="126"/>
                  <a:pt x="354" y="126"/>
                </a:cubicBezTo>
                <a:cubicBezTo>
                  <a:pt x="355" y="126"/>
                  <a:pt x="355" y="126"/>
                  <a:pt x="355" y="126"/>
                </a:cubicBezTo>
                <a:cubicBezTo>
                  <a:pt x="355" y="125"/>
                  <a:pt x="355" y="125"/>
                  <a:pt x="355" y="125"/>
                </a:cubicBezTo>
                <a:cubicBezTo>
                  <a:pt x="352" y="123"/>
                  <a:pt x="352" y="123"/>
                  <a:pt x="352" y="123"/>
                </a:cubicBezTo>
                <a:cubicBezTo>
                  <a:pt x="350" y="121"/>
                  <a:pt x="350" y="121"/>
                  <a:pt x="350" y="121"/>
                </a:cubicBezTo>
                <a:cubicBezTo>
                  <a:pt x="350" y="122"/>
                  <a:pt x="350" y="122"/>
                  <a:pt x="350" y="122"/>
                </a:cubicBezTo>
                <a:cubicBezTo>
                  <a:pt x="349" y="122"/>
                  <a:pt x="349" y="122"/>
                  <a:pt x="349" y="122"/>
                </a:cubicBezTo>
                <a:cubicBezTo>
                  <a:pt x="348" y="122"/>
                  <a:pt x="348" y="122"/>
                  <a:pt x="348" y="122"/>
                </a:cubicBezTo>
                <a:cubicBezTo>
                  <a:pt x="347" y="122"/>
                  <a:pt x="347" y="122"/>
                  <a:pt x="347" y="122"/>
                </a:cubicBezTo>
                <a:cubicBezTo>
                  <a:pt x="346" y="123"/>
                  <a:pt x="346" y="123"/>
                  <a:pt x="346" y="123"/>
                </a:cubicBezTo>
                <a:cubicBezTo>
                  <a:pt x="345" y="124"/>
                  <a:pt x="345" y="124"/>
                  <a:pt x="345" y="124"/>
                </a:cubicBezTo>
                <a:cubicBezTo>
                  <a:pt x="345" y="125"/>
                  <a:pt x="345" y="125"/>
                  <a:pt x="345" y="125"/>
                </a:cubicBezTo>
                <a:cubicBezTo>
                  <a:pt x="344" y="126"/>
                  <a:pt x="344" y="126"/>
                  <a:pt x="344" y="126"/>
                </a:cubicBezTo>
                <a:cubicBezTo>
                  <a:pt x="344" y="129"/>
                  <a:pt x="344" y="129"/>
                  <a:pt x="344" y="129"/>
                </a:cubicBezTo>
                <a:cubicBezTo>
                  <a:pt x="343" y="129"/>
                  <a:pt x="343" y="129"/>
                  <a:pt x="343" y="129"/>
                </a:cubicBezTo>
                <a:cubicBezTo>
                  <a:pt x="342" y="131"/>
                  <a:pt x="342" y="131"/>
                  <a:pt x="342" y="131"/>
                </a:cubicBezTo>
                <a:cubicBezTo>
                  <a:pt x="341" y="131"/>
                  <a:pt x="341" y="131"/>
                  <a:pt x="341" y="131"/>
                </a:cubicBezTo>
                <a:cubicBezTo>
                  <a:pt x="339" y="132"/>
                  <a:pt x="339" y="132"/>
                  <a:pt x="339" y="132"/>
                </a:cubicBezTo>
                <a:cubicBezTo>
                  <a:pt x="338" y="135"/>
                  <a:pt x="338" y="135"/>
                  <a:pt x="338" y="135"/>
                </a:cubicBezTo>
                <a:cubicBezTo>
                  <a:pt x="337" y="136"/>
                  <a:pt x="337" y="136"/>
                  <a:pt x="337" y="136"/>
                </a:cubicBezTo>
                <a:cubicBezTo>
                  <a:pt x="338" y="136"/>
                  <a:pt x="338" y="136"/>
                  <a:pt x="338" y="136"/>
                </a:cubicBezTo>
                <a:cubicBezTo>
                  <a:pt x="338" y="138"/>
                  <a:pt x="338" y="138"/>
                  <a:pt x="338" y="138"/>
                </a:cubicBezTo>
                <a:cubicBezTo>
                  <a:pt x="337" y="138"/>
                  <a:pt x="337" y="138"/>
                  <a:pt x="337" y="138"/>
                </a:cubicBezTo>
                <a:cubicBezTo>
                  <a:pt x="338" y="138"/>
                  <a:pt x="338" y="138"/>
                  <a:pt x="338" y="138"/>
                </a:cubicBezTo>
                <a:cubicBezTo>
                  <a:pt x="337" y="140"/>
                  <a:pt x="337" y="140"/>
                  <a:pt x="337" y="140"/>
                </a:cubicBezTo>
                <a:cubicBezTo>
                  <a:pt x="335" y="140"/>
                  <a:pt x="335" y="140"/>
                  <a:pt x="335" y="140"/>
                </a:cubicBezTo>
                <a:cubicBezTo>
                  <a:pt x="333" y="140"/>
                  <a:pt x="333" y="140"/>
                  <a:pt x="333" y="140"/>
                </a:cubicBezTo>
                <a:cubicBezTo>
                  <a:pt x="331" y="139"/>
                  <a:pt x="331" y="139"/>
                  <a:pt x="331" y="139"/>
                </a:cubicBezTo>
                <a:cubicBezTo>
                  <a:pt x="331" y="140"/>
                  <a:pt x="331" y="140"/>
                  <a:pt x="331" y="140"/>
                </a:cubicBezTo>
                <a:cubicBezTo>
                  <a:pt x="330" y="140"/>
                  <a:pt x="330" y="140"/>
                  <a:pt x="330" y="140"/>
                </a:cubicBezTo>
                <a:cubicBezTo>
                  <a:pt x="330" y="142"/>
                  <a:pt x="330" y="142"/>
                  <a:pt x="330" y="142"/>
                </a:cubicBezTo>
                <a:cubicBezTo>
                  <a:pt x="330" y="142"/>
                  <a:pt x="330" y="142"/>
                  <a:pt x="330" y="142"/>
                </a:cubicBezTo>
                <a:cubicBezTo>
                  <a:pt x="330" y="143"/>
                  <a:pt x="330" y="143"/>
                  <a:pt x="330" y="143"/>
                </a:cubicBezTo>
                <a:cubicBezTo>
                  <a:pt x="329" y="143"/>
                  <a:pt x="329" y="143"/>
                  <a:pt x="329" y="143"/>
                </a:cubicBezTo>
                <a:cubicBezTo>
                  <a:pt x="330" y="145"/>
                  <a:pt x="330" y="145"/>
                  <a:pt x="330" y="145"/>
                </a:cubicBezTo>
                <a:cubicBezTo>
                  <a:pt x="330" y="146"/>
                  <a:pt x="330" y="146"/>
                  <a:pt x="330" y="146"/>
                </a:cubicBezTo>
                <a:cubicBezTo>
                  <a:pt x="331" y="147"/>
                  <a:pt x="331" y="147"/>
                  <a:pt x="331" y="147"/>
                </a:cubicBezTo>
                <a:cubicBezTo>
                  <a:pt x="333" y="148"/>
                  <a:pt x="333" y="148"/>
                  <a:pt x="333" y="148"/>
                </a:cubicBezTo>
                <a:cubicBezTo>
                  <a:pt x="334" y="149"/>
                  <a:pt x="334" y="149"/>
                  <a:pt x="334" y="149"/>
                </a:cubicBezTo>
                <a:cubicBezTo>
                  <a:pt x="335" y="151"/>
                  <a:pt x="335" y="151"/>
                  <a:pt x="335" y="151"/>
                </a:cubicBezTo>
                <a:cubicBezTo>
                  <a:pt x="335" y="150"/>
                  <a:pt x="335" y="150"/>
                  <a:pt x="335" y="150"/>
                </a:cubicBezTo>
                <a:cubicBezTo>
                  <a:pt x="335" y="151"/>
                  <a:pt x="335" y="151"/>
                  <a:pt x="335" y="151"/>
                </a:cubicBezTo>
                <a:cubicBezTo>
                  <a:pt x="336" y="150"/>
                  <a:pt x="336" y="150"/>
                  <a:pt x="336" y="150"/>
                </a:cubicBezTo>
                <a:cubicBezTo>
                  <a:pt x="336" y="150"/>
                  <a:pt x="336" y="150"/>
                  <a:pt x="336" y="150"/>
                </a:cubicBezTo>
                <a:cubicBezTo>
                  <a:pt x="336" y="151"/>
                  <a:pt x="336" y="151"/>
                  <a:pt x="336" y="151"/>
                </a:cubicBezTo>
                <a:cubicBezTo>
                  <a:pt x="337" y="150"/>
                  <a:pt x="337" y="150"/>
                  <a:pt x="337" y="150"/>
                </a:cubicBezTo>
                <a:cubicBezTo>
                  <a:pt x="339" y="150"/>
                  <a:pt x="339" y="150"/>
                  <a:pt x="339" y="150"/>
                </a:cubicBezTo>
                <a:cubicBezTo>
                  <a:pt x="339" y="151"/>
                  <a:pt x="339" y="151"/>
                  <a:pt x="339" y="151"/>
                </a:cubicBezTo>
                <a:cubicBezTo>
                  <a:pt x="339" y="153"/>
                  <a:pt x="339" y="153"/>
                  <a:pt x="339" y="153"/>
                </a:cubicBezTo>
                <a:cubicBezTo>
                  <a:pt x="341" y="157"/>
                  <a:pt x="341" y="157"/>
                  <a:pt x="341" y="157"/>
                </a:cubicBezTo>
                <a:cubicBezTo>
                  <a:pt x="342" y="157"/>
                  <a:pt x="342" y="157"/>
                  <a:pt x="342" y="157"/>
                </a:cubicBezTo>
                <a:cubicBezTo>
                  <a:pt x="344" y="156"/>
                  <a:pt x="344" y="156"/>
                  <a:pt x="344" y="156"/>
                </a:cubicBezTo>
                <a:cubicBezTo>
                  <a:pt x="345" y="156"/>
                  <a:pt x="345" y="156"/>
                  <a:pt x="345" y="156"/>
                </a:cubicBezTo>
                <a:cubicBezTo>
                  <a:pt x="345" y="156"/>
                  <a:pt x="345" y="156"/>
                  <a:pt x="345" y="156"/>
                </a:cubicBezTo>
                <a:cubicBezTo>
                  <a:pt x="346" y="155"/>
                  <a:pt x="346" y="155"/>
                  <a:pt x="346" y="155"/>
                </a:cubicBezTo>
                <a:cubicBezTo>
                  <a:pt x="345" y="154"/>
                  <a:pt x="345" y="154"/>
                  <a:pt x="345" y="154"/>
                </a:cubicBezTo>
                <a:cubicBezTo>
                  <a:pt x="345" y="154"/>
                  <a:pt x="345" y="154"/>
                  <a:pt x="345" y="154"/>
                </a:cubicBezTo>
                <a:cubicBezTo>
                  <a:pt x="347" y="153"/>
                  <a:pt x="347" y="153"/>
                  <a:pt x="347" y="153"/>
                </a:cubicBezTo>
                <a:cubicBezTo>
                  <a:pt x="348" y="152"/>
                  <a:pt x="348" y="152"/>
                  <a:pt x="348" y="152"/>
                </a:cubicBezTo>
                <a:cubicBezTo>
                  <a:pt x="348" y="151"/>
                  <a:pt x="348" y="151"/>
                  <a:pt x="348" y="151"/>
                </a:cubicBezTo>
                <a:cubicBezTo>
                  <a:pt x="347" y="151"/>
                  <a:pt x="347" y="151"/>
                  <a:pt x="347" y="151"/>
                </a:cubicBezTo>
                <a:cubicBezTo>
                  <a:pt x="349" y="151"/>
                  <a:pt x="349" y="151"/>
                  <a:pt x="349" y="151"/>
                </a:cubicBezTo>
                <a:cubicBezTo>
                  <a:pt x="352" y="149"/>
                  <a:pt x="352" y="149"/>
                  <a:pt x="352" y="149"/>
                </a:cubicBezTo>
                <a:cubicBezTo>
                  <a:pt x="352" y="150"/>
                  <a:pt x="352" y="150"/>
                  <a:pt x="352" y="150"/>
                </a:cubicBezTo>
                <a:cubicBezTo>
                  <a:pt x="353" y="150"/>
                  <a:pt x="353" y="150"/>
                  <a:pt x="353" y="150"/>
                </a:cubicBezTo>
                <a:cubicBezTo>
                  <a:pt x="353" y="151"/>
                  <a:pt x="353" y="151"/>
                  <a:pt x="353" y="151"/>
                </a:cubicBezTo>
                <a:cubicBezTo>
                  <a:pt x="354" y="152"/>
                  <a:pt x="354" y="152"/>
                  <a:pt x="354" y="152"/>
                </a:cubicBezTo>
                <a:cubicBezTo>
                  <a:pt x="355" y="152"/>
                  <a:pt x="355" y="152"/>
                  <a:pt x="355" y="152"/>
                </a:cubicBezTo>
                <a:cubicBezTo>
                  <a:pt x="359" y="152"/>
                  <a:pt x="359" y="152"/>
                  <a:pt x="359" y="152"/>
                </a:cubicBezTo>
                <a:cubicBezTo>
                  <a:pt x="359" y="152"/>
                  <a:pt x="359" y="152"/>
                  <a:pt x="359" y="152"/>
                </a:cubicBezTo>
                <a:cubicBezTo>
                  <a:pt x="361" y="152"/>
                  <a:pt x="361" y="152"/>
                  <a:pt x="361" y="152"/>
                </a:cubicBezTo>
                <a:cubicBezTo>
                  <a:pt x="361" y="152"/>
                  <a:pt x="361" y="152"/>
                  <a:pt x="361" y="152"/>
                </a:cubicBezTo>
                <a:cubicBezTo>
                  <a:pt x="362" y="152"/>
                  <a:pt x="362" y="152"/>
                  <a:pt x="362" y="152"/>
                </a:cubicBezTo>
                <a:cubicBezTo>
                  <a:pt x="364" y="152"/>
                  <a:pt x="364" y="152"/>
                  <a:pt x="364" y="152"/>
                </a:cubicBezTo>
                <a:cubicBezTo>
                  <a:pt x="365" y="152"/>
                  <a:pt x="365" y="152"/>
                  <a:pt x="365" y="152"/>
                </a:cubicBezTo>
                <a:cubicBezTo>
                  <a:pt x="363" y="153"/>
                  <a:pt x="363" y="153"/>
                  <a:pt x="363" y="153"/>
                </a:cubicBezTo>
                <a:cubicBezTo>
                  <a:pt x="363" y="153"/>
                  <a:pt x="363" y="153"/>
                  <a:pt x="363" y="153"/>
                </a:cubicBezTo>
                <a:cubicBezTo>
                  <a:pt x="364" y="155"/>
                  <a:pt x="364" y="155"/>
                  <a:pt x="364" y="155"/>
                </a:cubicBezTo>
                <a:cubicBezTo>
                  <a:pt x="364" y="155"/>
                  <a:pt x="364" y="155"/>
                  <a:pt x="364" y="155"/>
                </a:cubicBezTo>
                <a:cubicBezTo>
                  <a:pt x="363" y="155"/>
                  <a:pt x="363" y="155"/>
                  <a:pt x="363" y="155"/>
                </a:cubicBezTo>
                <a:cubicBezTo>
                  <a:pt x="363" y="156"/>
                  <a:pt x="363" y="156"/>
                  <a:pt x="363" y="156"/>
                </a:cubicBezTo>
                <a:cubicBezTo>
                  <a:pt x="364" y="157"/>
                  <a:pt x="364" y="157"/>
                  <a:pt x="364" y="157"/>
                </a:cubicBezTo>
                <a:cubicBezTo>
                  <a:pt x="364" y="157"/>
                  <a:pt x="364" y="157"/>
                  <a:pt x="364" y="157"/>
                </a:cubicBezTo>
                <a:cubicBezTo>
                  <a:pt x="362" y="159"/>
                  <a:pt x="362" y="159"/>
                  <a:pt x="362" y="159"/>
                </a:cubicBezTo>
                <a:cubicBezTo>
                  <a:pt x="361" y="158"/>
                  <a:pt x="361" y="158"/>
                  <a:pt x="361" y="158"/>
                </a:cubicBezTo>
                <a:cubicBezTo>
                  <a:pt x="361" y="157"/>
                  <a:pt x="361" y="157"/>
                  <a:pt x="361" y="157"/>
                </a:cubicBezTo>
                <a:cubicBezTo>
                  <a:pt x="360" y="158"/>
                  <a:pt x="360" y="158"/>
                  <a:pt x="360" y="158"/>
                </a:cubicBezTo>
                <a:cubicBezTo>
                  <a:pt x="360" y="157"/>
                  <a:pt x="360" y="157"/>
                  <a:pt x="360" y="157"/>
                </a:cubicBezTo>
                <a:cubicBezTo>
                  <a:pt x="358" y="159"/>
                  <a:pt x="358" y="159"/>
                  <a:pt x="358" y="159"/>
                </a:cubicBezTo>
                <a:cubicBezTo>
                  <a:pt x="358" y="159"/>
                  <a:pt x="358" y="159"/>
                  <a:pt x="358" y="159"/>
                </a:cubicBezTo>
                <a:cubicBezTo>
                  <a:pt x="356" y="160"/>
                  <a:pt x="356" y="160"/>
                  <a:pt x="356" y="160"/>
                </a:cubicBezTo>
                <a:cubicBezTo>
                  <a:pt x="355" y="159"/>
                  <a:pt x="355" y="159"/>
                  <a:pt x="355" y="159"/>
                </a:cubicBezTo>
                <a:cubicBezTo>
                  <a:pt x="355" y="160"/>
                  <a:pt x="355" y="160"/>
                  <a:pt x="355" y="160"/>
                </a:cubicBezTo>
                <a:cubicBezTo>
                  <a:pt x="354" y="159"/>
                  <a:pt x="354" y="159"/>
                  <a:pt x="354" y="159"/>
                </a:cubicBezTo>
                <a:cubicBezTo>
                  <a:pt x="353" y="160"/>
                  <a:pt x="353" y="160"/>
                  <a:pt x="353" y="160"/>
                </a:cubicBezTo>
                <a:cubicBezTo>
                  <a:pt x="354" y="161"/>
                  <a:pt x="354" y="161"/>
                  <a:pt x="354" y="161"/>
                </a:cubicBezTo>
                <a:cubicBezTo>
                  <a:pt x="354" y="161"/>
                  <a:pt x="354" y="161"/>
                  <a:pt x="354" y="161"/>
                </a:cubicBezTo>
                <a:cubicBezTo>
                  <a:pt x="353" y="162"/>
                  <a:pt x="353" y="162"/>
                  <a:pt x="353" y="162"/>
                </a:cubicBezTo>
                <a:cubicBezTo>
                  <a:pt x="353" y="163"/>
                  <a:pt x="353" y="163"/>
                  <a:pt x="353" y="163"/>
                </a:cubicBezTo>
                <a:cubicBezTo>
                  <a:pt x="351" y="163"/>
                  <a:pt x="351" y="163"/>
                  <a:pt x="351" y="163"/>
                </a:cubicBezTo>
                <a:cubicBezTo>
                  <a:pt x="350" y="164"/>
                  <a:pt x="350" y="164"/>
                  <a:pt x="350" y="164"/>
                </a:cubicBezTo>
                <a:cubicBezTo>
                  <a:pt x="350" y="165"/>
                  <a:pt x="350" y="165"/>
                  <a:pt x="350" y="165"/>
                </a:cubicBezTo>
                <a:cubicBezTo>
                  <a:pt x="351" y="166"/>
                  <a:pt x="351" y="166"/>
                  <a:pt x="351" y="166"/>
                </a:cubicBezTo>
                <a:cubicBezTo>
                  <a:pt x="350" y="167"/>
                  <a:pt x="350" y="167"/>
                  <a:pt x="350" y="167"/>
                </a:cubicBezTo>
                <a:cubicBezTo>
                  <a:pt x="350" y="167"/>
                  <a:pt x="350" y="167"/>
                  <a:pt x="350" y="167"/>
                </a:cubicBezTo>
                <a:cubicBezTo>
                  <a:pt x="348" y="168"/>
                  <a:pt x="348" y="168"/>
                  <a:pt x="348" y="168"/>
                </a:cubicBezTo>
                <a:cubicBezTo>
                  <a:pt x="348" y="169"/>
                  <a:pt x="348" y="169"/>
                  <a:pt x="348" y="169"/>
                </a:cubicBezTo>
                <a:cubicBezTo>
                  <a:pt x="347" y="168"/>
                  <a:pt x="347" y="168"/>
                  <a:pt x="347" y="168"/>
                </a:cubicBezTo>
                <a:cubicBezTo>
                  <a:pt x="347" y="170"/>
                  <a:pt x="347" y="170"/>
                  <a:pt x="347" y="170"/>
                </a:cubicBezTo>
                <a:cubicBezTo>
                  <a:pt x="347" y="172"/>
                  <a:pt x="347" y="172"/>
                  <a:pt x="347" y="172"/>
                </a:cubicBezTo>
                <a:cubicBezTo>
                  <a:pt x="347" y="174"/>
                  <a:pt x="347" y="174"/>
                  <a:pt x="347" y="174"/>
                </a:cubicBezTo>
                <a:cubicBezTo>
                  <a:pt x="347" y="177"/>
                  <a:pt x="347" y="177"/>
                  <a:pt x="347" y="177"/>
                </a:cubicBezTo>
                <a:cubicBezTo>
                  <a:pt x="347" y="177"/>
                  <a:pt x="347" y="177"/>
                  <a:pt x="347" y="177"/>
                </a:cubicBezTo>
                <a:cubicBezTo>
                  <a:pt x="351" y="178"/>
                  <a:pt x="351" y="178"/>
                  <a:pt x="351" y="178"/>
                </a:cubicBezTo>
                <a:cubicBezTo>
                  <a:pt x="351" y="179"/>
                  <a:pt x="351" y="179"/>
                  <a:pt x="351" y="179"/>
                </a:cubicBezTo>
                <a:cubicBezTo>
                  <a:pt x="351" y="179"/>
                  <a:pt x="351" y="179"/>
                  <a:pt x="351" y="179"/>
                </a:cubicBezTo>
                <a:cubicBezTo>
                  <a:pt x="355" y="180"/>
                  <a:pt x="355" y="180"/>
                  <a:pt x="355" y="180"/>
                </a:cubicBezTo>
                <a:cubicBezTo>
                  <a:pt x="357" y="184"/>
                  <a:pt x="357" y="184"/>
                  <a:pt x="357" y="184"/>
                </a:cubicBezTo>
                <a:cubicBezTo>
                  <a:pt x="357" y="185"/>
                  <a:pt x="357" y="185"/>
                  <a:pt x="357" y="185"/>
                </a:cubicBezTo>
                <a:cubicBezTo>
                  <a:pt x="357" y="186"/>
                  <a:pt x="357" y="186"/>
                  <a:pt x="357" y="186"/>
                </a:cubicBezTo>
                <a:cubicBezTo>
                  <a:pt x="358" y="186"/>
                  <a:pt x="358" y="186"/>
                  <a:pt x="358" y="186"/>
                </a:cubicBezTo>
                <a:cubicBezTo>
                  <a:pt x="358" y="188"/>
                  <a:pt x="358" y="188"/>
                  <a:pt x="358" y="188"/>
                </a:cubicBezTo>
                <a:cubicBezTo>
                  <a:pt x="360" y="190"/>
                  <a:pt x="360" y="190"/>
                  <a:pt x="360" y="190"/>
                </a:cubicBezTo>
                <a:cubicBezTo>
                  <a:pt x="360" y="192"/>
                  <a:pt x="360" y="192"/>
                  <a:pt x="360" y="192"/>
                </a:cubicBezTo>
                <a:cubicBezTo>
                  <a:pt x="362" y="194"/>
                  <a:pt x="362" y="194"/>
                  <a:pt x="362" y="194"/>
                </a:cubicBezTo>
                <a:cubicBezTo>
                  <a:pt x="363" y="195"/>
                  <a:pt x="363" y="195"/>
                  <a:pt x="363" y="195"/>
                </a:cubicBezTo>
                <a:cubicBezTo>
                  <a:pt x="365" y="195"/>
                  <a:pt x="365" y="195"/>
                  <a:pt x="365" y="195"/>
                </a:cubicBezTo>
                <a:cubicBezTo>
                  <a:pt x="365" y="195"/>
                  <a:pt x="365" y="195"/>
                  <a:pt x="365" y="195"/>
                </a:cubicBezTo>
                <a:cubicBezTo>
                  <a:pt x="365" y="196"/>
                  <a:pt x="365" y="196"/>
                  <a:pt x="365" y="196"/>
                </a:cubicBezTo>
                <a:cubicBezTo>
                  <a:pt x="367" y="197"/>
                  <a:pt x="367" y="197"/>
                  <a:pt x="367" y="197"/>
                </a:cubicBezTo>
                <a:cubicBezTo>
                  <a:pt x="368" y="198"/>
                  <a:pt x="368" y="198"/>
                  <a:pt x="368" y="198"/>
                </a:cubicBezTo>
                <a:cubicBezTo>
                  <a:pt x="368" y="200"/>
                  <a:pt x="368" y="200"/>
                  <a:pt x="368" y="200"/>
                </a:cubicBezTo>
                <a:cubicBezTo>
                  <a:pt x="368" y="200"/>
                  <a:pt x="368" y="200"/>
                  <a:pt x="368" y="200"/>
                </a:cubicBezTo>
                <a:cubicBezTo>
                  <a:pt x="365" y="199"/>
                  <a:pt x="365" y="199"/>
                  <a:pt x="365" y="199"/>
                </a:cubicBezTo>
                <a:cubicBezTo>
                  <a:pt x="363" y="200"/>
                  <a:pt x="363" y="200"/>
                  <a:pt x="363" y="200"/>
                </a:cubicBezTo>
                <a:cubicBezTo>
                  <a:pt x="362" y="199"/>
                  <a:pt x="362" y="199"/>
                  <a:pt x="362" y="199"/>
                </a:cubicBezTo>
                <a:cubicBezTo>
                  <a:pt x="361" y="199"/>
                  <a:pt x="361" y="199"/>
                  <a:pt x="361" y="199"/>
                </a:cubicBezTo>
                <a:cubicBezTo>
                  <a:pt x="360" y="198"/>
                  <a:pt x="360" y="198"/>
                  <a:pt x="360" y="198"/>
                </a:cubicBezTo>
                <a:cubicBezTo>
                  <a:pt x="358" y="198"/>
                  <a:pt x="358" y="198"/>
                  <a:pt x="358" y="198"/>
                </a:cubicBezTo>
                <a:cubicBezTo>
                  <a:pt x="357" y="199"/>
                  <a:pt x="357" y="199"/>
                  <a:pt x="357" y="199"/>
                </a:cubicBezTo>
                <a:cubicBezTo>
                  <a:pt x="356" y="199"/>
                  <a:pt x="356" y="199"/>
                  <a:pt x="356" y="199"/>
                </a:cubicBezTo>
                <a:cubicBezTo>
                  <a:pt x="355" y="198"/>
                  <a:pt x="355" y="198"/>
                  <a:pt x="355" y="198"/>
                </a:cubicBezTo>
                <a:cubicBezTo>
                  <a:pt x="354" y="196"/>
                  <a:pt x="354" y="196"/>
                  <a:pt x="354" y="196"/>
                </a:cubicBezTo>
                <a:cubicBezTo>
                  <a:pt x="353" y="197"/>
                  <a:pt x="353" y="197"/>
                  <a:pt x="353" y="197"/>
                </a:cubicBezTo>
                <a:cubicBezTo>
                  <a:pt x="352" y="196"/>
                  <a:pt x="352" y="196"/>
                  <a:pt x="352" y="196"/>
                </a:cubicBezTo>
                <a:cubicBezTo>
                  <a:pt x="351" y="197"/>
                  <a:pt x="351" y="197"/>
                  <a:pt x="351" y="197"/>
                </a:cubicBezTo>
                <a:cubicBezTo>
                  <a:pt x="350" y="197"/>
                  <a:pt x="350" y="197"/>
                  <a:pt x="350" y="197"/>
                </a:cubicBezTo>
                <a:cubicBezTo>
                  <a:pt x="350" y="196"/>
                  <a:pt x="350" y="196"/>
                  <a:pt x="350" y="196"/>
                </a:cubicBezTo>
                <a:cubicBezTo>
                  <a:pt x="349" y="197"/>
                  <a:pt x="349" y="197"/>
                  <a:pt x="349" y="197"/>
                </a:cubicBezTo>
                <a:cubicBezTo>
                  <a:pt x="347" y="200"/>
                  <a:pt x="347" y="200"/>
                  <a:pt x="347" y="200"/>
                </a:cubicBezTo>
                <a:cubicBezTo>
                  <a:pt x="349" y="198"/>
                  <a:pt x="349" y="198"/>
                  <a:pt x="349" y="198"/>
                </a:cubicBezTo>
                <a:cubicBezTo>
                  <a:pt x="350" y="197"/>
                  <a:pt x="350" y="197"/>
                  <a:pt x="350" y="197"/>
                </a:cubicBezTo>
                <a:cubicBezTo>
                  <a:pt x="352" y="197"/>
                  <a:pt x="352" y="197"/>
                  <a:pt x="352" y="197"/>
                </a:cubicBezTo>
                <a:cubicBezTo>
                  <a:pt x="353" y="197"/>
                  <a:pt x="353" y="197"/>
                  <a:pt x="353" y="197"/>
                </a:cubicBezTo>
                <a:cubicBezTo>
                  <a:pt x="354" y="197"/>
                  <a:pt x="354" y="197"/>
                  <a:pt x="354" y="197"/>
                </a:cubicBezTo>
                <a:cubicBezTo>
                  <a:pt x="354" y="198"/>
                  <a:pt x="354" y="198"/>
                  <a:pt x="354" y="198"/>
                </a:cubicBezTo>
                <a:cubicBezTo>
                  <a:pt x="356" y="199"/>
                  <a:pt x="356" y="199"/>
                  <a:pt x="356" y="199"/>
                </a:cubicBezTo>
                <a:cubicBezTo>
                  <a:pt x="357" y="200"/>
                  <a:pt x="357" y="200"/>
                  <a:pt x="357" y="200"/>
                </a:cubicBezTo>
                <a:cubicBezTo>
                  <a:pt x="359" y="198"/>
                  <a:pt x="359" y="198"/>
                  <a:pt x="359" y="198"/>
                </a:cubicBezTo>
                <a:cubicBezTo>
                  <a:pt x="360" y="198"/>
                  <a:pt x="360" y="198"/>
                  <a:pt x="360" y="198"/>
                </a:cubicBezTo>
                <a:cubicBezTo>
                  <a:pt x="362" y="201"/>
                  <a:pt x="362" y="201"/>
                  <a:pt x="362" y="201"/>
                </a:cubicBezTo>
                <a:cubicBezTo>
                  <a:pt x="364" y="202"/>
                  <a:pt x="364" y="202"/>
                  <a:pt x="364" y="202"/>
                </a:cubicBezTo>
                <a:cubicBezTo>
                  <a:pt x="368" y="204"/>
                  <a:pt x="368" y="204"/>
                  <a:pt x="368" y="204"/>
                </a:cubicBezTo>
                <a:cubicBezTo>
                  <a:pt x="369" y="206"/>
                  <a:pt x="369" y="206"/>
                  <a:pt x="369" y="206"/>
                </a:cubicBezTo>
                <a:cubicBezTo>
                  <a:pt x="369" y="207"/>
                  <a:pt x="369" y="207"/>
                  <a:pt x="369" y="207"/>
                </a:cubicBezTo>
                <a:cubicBezTo>
                  <a:pt x="367" y="207"/>
                  <a:pt x="367" y="207"/>
                  <a:pt x="367" y="207"/>
                </a:cubicBezTo>
                <a:cubicBezTo>
                  <a:pt x="366" y="209"/>
                  <a:pt x="366" y="209"/>
                  <a:pt x="366" y="209"/>
                </a:cubicBezTo>
                <a:cubicBezTo>
                  <a:pt x="365" y="209"/>
                  <a:pt x="365" y="209"/>
                  <a:pt x="365" y="209"/>
                </a:cubicBezTo>
                <a:cubicBezTo>
                  <a:pt x="365" y="210"/>
                  <a:pt x="365" y="210"/>
                  <a:pt x="365" y="210"/>
                </a:cubicBezTo>
                <a:cubicBezTo>
                  <a:pt x="364" y="211"/>
                  <a:pt x="364" y="211"/>
                  <a:pt x="364" y="211"/>
                </a:cubicBezTo>
                <a:cubicBezTo>
                  <a:pt x="363" y="211"/>
                  <a:pt x="363" y="211"/>
                  <a:pt x="363" y="211"/>
                </a:cubicBezTo>
                <a:cubicBezTo>
                  <a:pt x="362" y="210"/>
                  <a:pt x="362" y="210"/>
                  <a:pt x="362" y="210"/>
                </a:cubicBezTo>
                <a:cubicBezTo>
                  <a:pt x="361" y="211"/>
                  <a:pt x="361" y="211"/>
                  <a:pt x="361" y="211"/>
                </a:cubicBezTo>
                <a:cubicBezTo>
                  <a:pt x="360" y="211"/>
                  <a:pt x="360" y="211"/>
                  <a:pt x="360" y="211"/>
                </a:cubicBezTo>
                <a:cubicBezTo>
                  <a:pt x="359" y="212"/>
                  <a:pt x="359" y="212"/>
                  <a:pt x="359" y="212"/>
                </a:cubicBezTo>
                <a:cubicBezTo>
                  <a:pt x="359" y="214"/>
                  <a:pt x="359" y="214"/>
                  <a:pt x="359" y="214"/>
                </a:cubicBezTo>
                <a:cubicBezTo>
                  <a:pt x="359" y="213"/>
                  <a:pt x="359" y="213"/>
                  <a:pt x="359" y="213"/>
                </a:cubicBezTo>
                <a:cubicBezTo>
                  <a:pt x="360" y="212"/>
                  <a:pt x="360" y="212"/>
                  <a:pt x="360" y="212"/>
                </a:cubicBezTo>
                <a:cubicBezTo>
                  <a:pt x="362" y="211"/>
                  <a:pt x="362" y="211"/>
                  <a:pt x="362" y="211"/>
                </a:cubicBezTo>
                <a:cubicBezTo>
                  <a:pt x="363" y="213"/>
                  <a:pt x="363" y="213"/>
                  <a:pt x="363" y="213"/>
                </a:cubicBezTo>
                <a:cubicBezTo>
                  <a:pt x="364" y="213"/>
                  <a:pt x="364" y="213"/>
                  <a:pt x="364" y="213"/>
                </a:cubicBezTo>
                <a:cubicBezTo>
                  <a:pt x="366" y="212"/>
                  <a:pt x="366" y="212"/>
                  <a:pt x="366" y="212"/>
                </a:cubicBezTo>
                <a:cubicBezTo>
                  <a:pt x="367" y="212"/>
                  <a:pt x="367" y="212"/>
                  <a:pt x="367" y="212"/>
                </a:cubicBezTo>
                <a:cubicBezTo>
                  <a:pt x="369" y="215"/>
                  <a:pt x="369" y="215"/>
                  <a:pt x="369" y="215"/>
                </a:cubicBezTo>
                <a:cubicBezTo>
                  <a:pt x="370" y="214"/>
                  <a:pt x="370" y="214"/>
                  <a:pt x="370" y="214"/>
                </a:cubicBezTo>
                <a:cubicBezTo>
                  <a:pt x="370" y="215"/>
                  <a:pt x="370" y="215"/>
                  <a:pt x="370" y="215"/>
                </a:cubicBezTo>
                <a:cubicBezTo>
                  <a:pt x="371" y="215"/>
                  <a:pt x="371" y="215"/>
                  <a:pt x="371" y="215"/>
                </a:cubicBezTo>
                <a:cubicBezTo>
                  <a:pt x="372" y="215"/>
                  <a:pt x="372" y="215"/>
                  <a:pt x="372" y="215"/>
                </a:cubicBezTo>
                <a:cubicBezTo>
                  <a:pt x="369" y="218"/>
                  <a:pt x="369" y="218"/>
                  <a:pt x="369" y="218"/>
                </a:cubicBezTo>
                <a:cubicBezTo>
                  <a:pt x="367" y="218"/>
                  <a:pt x="367" y="218"/>
                  <a:pt x="367" y="218"/>
                </a:cubicBezTo>
                <a:cubicBezTo>
                  <a:pt x="367" y="219"/>
                  <a:pt x="367" y="219"/>
                  <a:pt x="367" y="219"/>
                </a:cubicBezTo>
                <a:cubicBezTo>
                  <a:pt x="368" y="219"/>
                  <a:pt x="368" y="219"/>
                  <a:pt x="368" y="219"/>
                </a:cubicBezTo>
                <a:cubicBezTo>
                  <a:pt x="370" y="218"/>
                  <a:pt x="370" y="218"/>
                  <a:pt x="370" y="218"/>
                </a:cubicBezTo>
                <a:cubicBezTo>
                  <a:pt x="371" y="218"/>
                  <a:pt x="371" y="218"/>
                  <a:pt x="371" y="218"/>
                </a:cubicBezTo>
                <a:cubicBezTo>
                  <a:pt x="371" y="218"/>
                  <a:pt x="371" y="218"/>
                  <a:pt x="371" y="218"/>
                </a:cubicBezTo>
                <a:cubicBezTo>
                  <a:pt x="371" y="217"/>
                  <a:pt x="371" y="217"/>
                  <a:pt x="371" y="217"/>
                </a:cubicBezTo>
                <a:cubicBezTo>
                  <a:pt x="371" y="217"/>
                  <a:pt x="371" y="217"/>
                  <a:pt x="371" y="217"/>
                </a:cubicBezTo>
                <a:cubicBezTo>
                  <a:pt x="372" y="217"/>
                  <a:pt x="372" y="217"/>
                  <a:pt x="372" y="217"/>
                </a:cubicBezTo>
                <a:cubicBezTo>
                  <a:pt x="372" y="219"/>
                  <a:pt x="372" y="219"/>
                  <a:pt x="372" y="219"/>
                </a:cubicBezTo>
                <a:cubicBezTo>
                  <a:pt x="373" y="220"/>
                  <a:pt x="373" y="220"/>
                  <a:pt x="373" y="220"/>
                </a:cubicBezTo>
                <a:cubicBezTo>
                  <a:pt x="372" y="220"/>
                  <a:pt x="372" y="220"/>
                  <a:pt x="372" y="220"/>
                </a:cubicBezTo>
                <a:cubicBezTo>
                  <a:pt x="372" y="220"/>
                  <a:pt x="372" y="220"/>
                  <a:pt x="372" y="220"/>
                </a:cubicBezTo>
                <a:cubicBezTo>
                  <a:pt x="371" y="219"/>
                  <a:pt x="371" y="219"/>
                  <a:pt x="371" y="219"/>
                </a:cubicBezTo>
                <a:cubicBezTo>
                  <a:pt x="371" y="220"/>
                  <a:pt x="371" y="220"/>
                  <a:pt x="371" y="220"/>
                </a:cubicBezTo>
                <a:cubicBezTo>
                  <a:pt x="370" y="220"/>
                  <a:pt x="370" y="220"/>
                  <a:pt x="370" y="220"/>
                </a:cubicBezTo>
                <a:cubicBezTo>
                  <a:pt x="369" y="220"/>
                  <a:pt x="369" y="220"/>
                  <a:pt x="369" y="220"/>
                </a:cubicBezTo>
                <a:cubicBezTo>
                  <a:pt x="368" y="221"/>
                  <a:pt x="368" y="221"/>
                  <a:pt x="368" y="221"/>
                </a:cubicBezTo>
                <a:cubicBezTo>
                  <a:pt x="368" y="222"/>
                  <a:pt x="368" y="222"/>
                  <a:pt x="368" y="222"/>
                </a:cubicBezTo>
                <a:cubicBezTo>
                  <a:pt x="370" y="222"/>
                  <a:pt x="370" y="222"/>
                  <a:pt x="370" y="222"/>
                </a:cubicBezTo>
                <a:cubicBezTo>
                  <a:pt x="371" y="222"/>
                  <a:pt x="371" y="222"/>
                  <a:pt x="371" y="222"/>
                </a:cubicBezTo>
                <a:cubicBezTo>
                  <a:pt x="370" y="223"/>
                  <a:pt x="370" y="223"/>
                  <a:pt x="370" y="223"/>
                </a:cubicBezTo>
                <a:cubicBezTo>
                  <a:pt x="370" y="223"/>
                  <a:pt x="370" y="223"/>
                  <a:pt x="370" y="223"/>
                </a:cubicBezTo>
                <a:cubicBezTo>
                  <a:pt x="369" y="223"/>
                  <a:pt x="369" y="223"/>
                  <a:pt x="369" y="223"/>
                </a:cubicBezTo>
                <a:cubicBezTo>
                  <a:pt x="370" y="224"/>
                  <a:pt x="370" y="224"/>
                  <a:pt x="370" y="224"/>
                </a:cubicBezTo>
                <a:cubicBezTo>
                  <a:pt x="370" y="225"/>
                  <a:pt x="370" y="225"/>
                  <a:pt x="370" y="225"/>
                </a:cubicBezTo>
                <a:cubicBezTo>
                  <a:pt x="370" y="225"/>
                  <a:pt x="370" y="225"/>
                  <a:pt x="370" y="225"/>
                </a:cubicBezTo>
                <a:cubicBezTo>
                  <a:pt x="369" y="225"/>
                  <a:pt x="369" y="225"/>
                  <a:pt x="369" y="225"/>
                </a:cubicBezTo>
                <a:cubicBezTo>
                  <a:pt x="368" y="225"/>
                  <a:pt x="368" y="225"/>
                  <a:pt x="368" y="225"/>
                </a:cubicBezTo>
                <a:cubicBezTo>
                  <a:pt x="369" y="226"/>
                  <a:pt x="369" y="226"/>
                  <a:pt x="369" y="226"/>
                </a:cubicBezTo>
                <a:cubicBezTo>
                  <a:pt x="370" y="226"/>
                  <a:pt x="370" y="226"/>
                  <a:pt x="370" y="226"/>
                </a:cubicBezTo>
                <a:cubicBezTo>
                  <a:pt x="371" y="227"/>
                  <a:pt x="371" y="227"/>
                  <a:pt x="371" y="227"/>
                </a:cubicBezTo>
                <a:cubicBezTo>
                  <a:pt x="370" y="228"/>
                  <a:pt x="370" y="228"/>
                  <a:pt x="370" y="228"/>
                </a:cubicBezTo>
                <a:cubicBezTo>
                  <a:pt x="370" y="229"/>
                  <a:pt x="370" y="229"/>
                  <a:pt x="370" y="229"/>
                </a:cubicBezTo>
                <a:cubicBezTo>
                  <a:pt x="369" y="229"/>
                  <a:pt x="369" y="229"/>
                  <a:pt x="369" y="229"/>
                </a:cubicBezTo>
                <a:cubicBezTo>
                  <a:pt x="369" y="228"/>
                  <a:pt x="369" y="228"/>
                  <a:pt x="369" y="228"/>
                </a:cubicBezTo>
                <a:cubicBezTo>
                  <a:pt x="368" y="228"/>
                  <a:pt x="368" y="228"/>
                  <a:pt x="368" y="228"/>
                </a:cubicBezTo>
                <a:cubicBezTo>
                  <a:pt x="367" y="230"/>
                  <a:pt x="367" y="230"/>
                  <a:pt x="367" y="230"/>
                </a:cubicBezTo>
                <a:cubicBezTo>
                  <a:pt x="366" y="231"/>
                  <a:pt x="366" y="231"/>
                  <a:pt x="366" y="231"/>
                </a:cubicBezTo>
                <a:cubicBezTo>
                  <a:pt x="365" y="230"/>
                  <a:pt x="365" y="230"/>
                  <a:pt x="365" y="230"/>
                </a:cubicBezTo>
                <a:cubicBezTo>
                  <a:pt x="366" y="231"/>
                  <a:pt x="366" y="231"/>
                  <a:pt x="366" y="231"/>
                </a:cubicBezTo>
                <a:cubicBezTo>
                  <a:pt x="366" y="231"/>
                  <a:pt x="366" y="231"/>
                  <a:pt x="366" y="231"/>
                </a:cubicBezTo>
                <a:cubicBezTo>
                  <a:pt x="366" y="232"/>
                  <a:pt x="366" y="232"/>
                  <a:pt x="366" y="232"/>
                </a:cubicBezTo>
                <a:cubicBezTo>
                  <a:pt x="366" y="233"/>
                  <a:pt x="366" y="233"/>
                  <a:pt x="366" y="233"/>
                </a:cubicBezTo>
                <a:cubicBezTo>
                  <a:pt x="366" y="233"/>
                  <a:pt x="366" y="233"/>
                  <a:pt x="366" y="233"/>
                </a:cubicBezTo>
                <a:cubicBezTo>
                  <a:pt x="366" y="234"/>
                  <a:pt x="366" y="234"/>
                  <a:pt x="366" y="234"/>
                </a:cubicBezTo>
                <a:cubicBezTo>
                  <a:pt x="366" y="235"/>
                  <a:pt x="366" y="235"/>
                  <a:pt x="366" y="235"/>
                </a:cubicBezTo>
                <a:cubicBezTo>
                  <a:pt x="366" y="236"/>
                  <a:pt x="366" y="236"/>
                  <a:pt x="366" y="236"/>
                </a:cubicBezTo>
                <a:cubicBezTo>
                  <a:pt x="365" y="236"/>
                  <a:pt x="365" y="236"/>
                  <a:pt x="365" y="236"/>
                </a:cubicBezTo>
                <a:cubicBezTo>
                  <a:pt x="364" y="235"/>
                  <a:pt x="364" y="235"/>
                  <a:pt x="364" y="235"/>
                </a:cubicBezTo>
                <a:cubicBezTo>
                  <a:pt x="364" y="236"/>
                  <a:pt x="364" y="236"/>
                  <a:pt x="364" y="236"/>
                </a:cubicBezTo>
                <a:cubicBezTo>
                  <a:pt x="365" y="236"/>
                  <a:pt x="365" y="236"/>
                  <a:pt x="365" y="236"/>
                </a:cubicBezTo>
                <a:cubicBezTo>
                  <a:pt x="365" y="238"/>
                  <a:pt x="365" y="238"/>
                  <a:pt x="365" y="238"/>
                </a:cubicBezTo>
                <a:cubicBezTo>
                  <a:pt x="364" y="237"/>
                  <a:pt x="364" y="237"/>
                  <a:pt x="364" y="237"/>
                </a:cubicBezTo>
                <a:cubicBezTo>
                  <a:pt x="364" y="238"/>
                  <a:pt x="364" y="238"/>
                  <a:pt x="364" y="238"/>
                </a:cubicBezTo>
                <a:cubicBezTo>
                  <a:pt x="362" y="240"/>
                  <a:pt x="362" y="240"/>
                  <a:pt x="362" y="240"/>
                </a:cubicBezTo>
                <a:cubicBezTo>
                  <a:pt x="361" y="240"/>
                  <a:pt x="361" y="240"/>
                  <a:pt x="361" y="240"/>
                </a:cubicBezTo>
                <a:cubicBezTo>
                  <a:pt x="362" y="239"/>
                  <a:pt x="362" y="239"/>
                  <a:pt x="362" y="239"/>
                </a:cubicBezTo>
                <a:cubicBezTo>
                  <a:pt x="361" y="239"/>
                  <a:pt x="361" y="239"/>
                  <a:pt x="361" y="239"/>
                </a:cubicBezTo>
                <a:cubicBezTo>
                  <a:pt x="361" y="239"/>
                  <a:pt x="361" y="239"/>
                  <a:pt x="361" y="239"/>
                </a:cubicBezTo>
                <a:cubicBezTo>
                  <a:pt x="360" y="240"/>
                  <a:pt x="360" y="240"/>
                  <a:pt x="360" y="240"/>
                </a:cubicBezTo>
                <a:cubicBezTo>
                  <a:pt x="360" y="239"/>
                  <a:pt x="360" y="239"/>
                  <a:pt x="360" y="239"/>
                </a:cubicBezTo>
                <a:cubicBezTo>
                  <a:pt x="360" y="240"/>
                  <a:pt x="360" y="240"/>
                  <a:pt x="360" y="240"/>
                </a:cubicBezTo>
                <a:cubicBezTo>
                  <a:pt x="359" y="241"/>
                  <a:pt x="359" y="241"/>
                  <a:pt x="359" y="241"/>
                </a:cubicBezTo>
                <a:cubicBezTo>
                  <a:pt x="360" y="241"/>
                  <a:pt x="360" y="241"/>
                  <a:pt x="360" y="241"/>
                </a:cubicBezTo>
                <a:cubicBezTo>
                  <a:pt x="361" y="242"/>
                  <a:pt x="361" y="242"/>
                  <a:pt x="361" y="242"/>
                </a:cubicBezTo>
                <a:cubicBezTo>
                  <a:pt x="360" y="242"/>
                  <a:pt x="360" y="242"/>
                  <a:pt x="360" y="242"/>
                </a:cubicBezTo>
                <a:cubicBezTo>
                  <a:pt x="361" y="243"/>
                  <a:pt x="361" y="243"/>
                  <a:pt x="361" y="243"/>
                </a:cubicBezTo>
                <a:cubicBezTo>
                  <a:pt x="362" y="243"/>
                  <a:pt x="362" y="243"/>
                  <a:pt x="362" y="243"/>
                </a:cubicBezTo>
                <a:cubicBezTo>
                  <a:pt x="363" y="243"/>
                  <a:pt x="363" y="243"/>
                  <a:pt x="363" y="243"/>
                </a:cubicBezTo>
                <a:cubicBezTo>
                  <a:pt x="361" y="244"/>
                  <a:pt x="361" y="244"/>
                  <a:pt x="361" y="244"/>
                </a:cubicBezTo>
                <a:cubicBezTo>
                  <a:pt x="359" y="245"/>
                  <a:pt x="359" y="245"/>
                  <a:pt x="359" y="245"/>
                </a:cubicBezTo>
                <a:cubicBezTo>
                  <a:pt x="359" y="246"/>
                  <a:pt x="359" y="246"/>
                  <a:pt x="359" y="246"/>
                </a:cubicBezTo>
                <a:cubicBezTo>
                  <a:pt x="360" y="246"/>
                  <a:pt x="360" y="246"/>
                  <a:pt x="360" y="246"/>
                </a:cubicBezTo>
                <a:cubicBezTo>
                  <a:pt x="361" y="246"/>
                  <a:pt x="361" y="246"/>
                  <a:pt x="361" y="246"/>
                </a:cubicBezTo>
                <a:cubicBezTo>
                  <a:pt x="361" y="246"/>
                  <a:pt x="361" y="246"/>
                  <a:pt x="361" y="246"/>
                </a:cubicBezTo>
                <a:cubicBezTo>
                  <a:pt x="360" y="247"/>
                  <a:pt x="360" y="247"/>
                  <a:pt x="360" y="247"/>
                </a:cubicBezTo>
                <a:cubicBezTo>
                  <a:pt x="361" y="248"/>
                  <a:pt x="361" y="248"/>
                  <a:pt x="361" y="248"/>
                </a:cubicBezTo>
                <a:cubicBezTo>
                  <a:pt x="361" y="249"/>
                  <a:pt x="361" y="249"/>
                  <a:pt x="361" y="249"/>
                </a:cubicBezTo>
                <a:cubicBezTo>
                  <a:pt x="360" y="249"/>
                  <a:pt x="360" y="249"/>
                  <a:pt x="360" y="249"/>
                </a:cubicBezTo>
                <a:cubicBezTo>
                  <a:pt x="360" y="250"/>
                  <a:pt x="360" y="250"/>
                  <a:pt x="360" y="250"/>
                </a:cubicBezTo>
                <a:cubicBezTo>
                  <a:pt x="361" y="250"/>
                  <a:pt x="361" y="250"/>
                  <a:pt x="361" y="250"/>
                </a:cubicBezTo>
                <a:cubicBezTo>
                  <a:pt x="361" y="250"/>
                  <a:pt x="361" y="250"/>
                  <a:pt x="361" y="250"/>
                </a:cubicBezTo>
                <a:cubicBezTo>
                  <a:pt x="361" y="252"/>
                  <a:pt x="361" y="252"/>
                  <a:pt x="361" y="252"/>
                </a:cubicBezTo>
                <a:cubicBezTo>
                  <a:pt x="361" y="251"/>
                  <a:pt x="361" y="251"/>
                  <a:pt x="361" y="251"/>
                </a:cubicBezTo>
                <a:cubicBezTo>
                  <a:pt x="360" y="251"/>
                  <a:pt x="360" y="251"/>
                  <a:pt x="360" y="251"/>
                </a:cubicBezTo>
                <a:cubicBezTo>
                  <a:pt x="360" y="250"/>
                  <a:pt x="360" y="250"/>
                  <a:pt x="360" y="250"/>
                </a:cubicBezTo>
                <a:cubicBezTo>
                  <a:pt x="359" y="249"/>
                  <a:pt x="359" y="249"/>
                  <a:pt x="359" y="249"/>
                </a:cubicBezTo>
                <a:cubicBezTo>
                  <a:pt x="359" y="250"/>
                  <a:pt x="359" y="250"/>
                  <a:pt x="359" y="250"/>
                </a:cubicBezTo>
                <a:cubicBezTo>
                  <a:pt x="358" y="250"/>
                  <a:pt x="358" y="250"/>
                  <a:pt x="358" y="250"/>
                </a:cubicBezTo>
                <a:cubicBezTo>
                  <a:pt x="358" y="251"/>
                  <a:pt x="358" y="251"/>
                  <a:pt x="358" y="251"/>
                </a:cubicBezTo>
                <a:cubicBezTo>
                  <a:pt x="359" y="252"/>
                  <a:pt x="359" y="252"/>
                  <a:pt x="359" y="252"/>
                </a:cubicBezTo>
                <a:cubicBezTo>
                  <a:pt x="359" y="253"/>
                  <a:pt x="359" y="253"/>
                  <a:pt x="359" y="253"/>
                </a:cubicBezTo>
                <a:cubicBezTo>
                  <a:pt x="358" y="252"/>
                  <a:pt x="358" y="252"/>
                  <a:pt x="358" y="252"/>
                </a:cubicBezTo>
                <a:cubicBezTo>
                  <a:pt x="358" y="252"/>
                  <a:pt x="358" y="252"/>
                  <a:pt x="358" y="252"/>
                </a:cubicBezTo>
                <a:cubicBezTo>
                  <a:pt x="357" y="252"/>
                  <a:pt x="357" y="252"/>
                  <a:pt x="357" y="252"/>
                </a:cubicBezTo>
                <a:cubicBezTo>
                  <a:pt x="356" y="252"/>
                  <a:pt x="356" y="252"/>
                  <a:pt x="356" y="252"/>
                </a:cubicBezTo>
                <a:cubicBezTo>
                  <a:pt x="357" y="252"/>
                  <a:pt x="357" y="252"/>
                  <a:pt x="357" y="252"/>
                </a:cubicBezTo>
                <a:cubicBezTo>
                  <a:pt x="357" y="253"/>
                  <a:pt x="357" y="253"/>
                  <a:pt x="357" y="253"/>
                </a:cubicBezTo>
                <a:cubicBezTo>
                  <a:pt x="358" y="253"/>
                  <a:pt x="358" y="253"/>
                  <a:pt x="358" y="253"/>
                </a:cubicBezTo>
                <a:cubicBezTo>
                  <a:pt x="358" y="254"/>
                  <a:pt x="358" y="254"/>
                  <a:pt x="358" y="254"/>
                </a:cubicBezTo>
                <a:cubicBezTo>
                  <a:pt x="358" y="255"/>
                  <a:pt x="358" y="255"/>
                  <a:pt x="358" y="255"/>
                </a:cubicBezTo>
                <a:cubicBezTo>
                  <a:pt x="356" y="254"/>
                  <a:pt x="356" y="254"/>
                  <a:pt x="356" y="254"/>
                </a:cubicBezTo>
                <a:cubicBezTo>
                  <a:pt x="356" y="255"/>
                  <a:pt x="356" y="255"/>
                  <a:pt x="356" y="255"/>
                </a:cubicBezTo>
                <a:cubicBezTo>
                  <a:pt x="356" y="255"/>
                  <a:pt x="356" y="255"/>
                  <a:pt x="356" y="255"/>
                </a:cubicBezTo>
                <a:cubicBezTo>
                  <a:pt x="358" y="256"/>
                  <a:pt x="358" y="256"/>
                  <a:pt x="358" y="256"/>
                </a:cubicBezTo>
                <a:cubicBezTo>
                  <a:pt x="357" y="257"/>
                  <a:pt x="357" y="257"/>
                  <a:pt x="357" y="257"/>
                </a:cubicBezTo>
                <a:cubicBezTo>
                  <a:pt x="355" y="256"/>
                  <a:pt x="355" y="256"/>
                  <a:pt x="355" y="256"/>
                </a:cubicBezTo>
                <a:cubicBezTo>
                  <a:pt x="355" y="256"/>
                  <a:pt x="355" y="256"/>
                  <a:pt x="355" y="256"/>
                </a:cubicBezTo>
                <a:cubicBezTo>
                  <a:pt x="354" y="256"/>
                  <a:pt x="354" y="256"/>
                  <a:pt x="354" y="256"/>
                </a:cubicBezTo>
                <a:cubicBezTo>
                  <a:pt x="353" y="257"/>
                  <a:pt x="353" y="257"/>
                  <a:pt x="353" y="257"/>
                </a:cubicBezTo>
                <a:cubicBezTo>
                  <a:pt x="351" y="257"/>
                  <a:pt x="351" y="257"/>
                  <a:pt x="351" y="257"/>
                </a:cubicBezTo>
                <a:cubicBezTo>
                  <a:pt x="353" y="259"/>
                  <a:pt x="353" y="259"/>
                  <a:pt x="353" y="259"/>
                </a:cubicBezTo>
                <a:cubicBezTo>
                  <a:pt x="354" y="258"/>
                  <a:pt x="354" y="258"/>
                  <a:pt x="354" y="258"/>
                </a:cubicBezTo>
                <a:cubicBezTo>
                  <a:pt x="355" y="258"/>
                  <a:pt x="355" y="258"/>
                  <a:pt x="355" y="258"/>
                </a:cubicBezTo>
                <a:cubicBezTo>
                  <a:pt x="354" y="259"/>
                  <a:pt x="354" y="259"/>
                  <a:pt x="354" y="259"/>
                </a:cubicBezTo>
                <a:cubicBezTo>
                  <a:pt x="354" y="260"/>
                  <a:pt x="354" y="260"/>
                  <a:pt x="354" y="260"/>
                </a:cubicBezTo>
                <a:cubicBezTo>
                  <a:pt x="353" y="261"/>
                  <a:pt x="353" y="261"/>
                  <a:pt x="353" y="261"/>
                </a:cubicBezTo>
                <a:cubicBezTo>
                  <a:pt x="353" y="260"/>
                  <a:pt x="353" y="260"/>
                  <a:pt x="353" y="260"/>
                </a:cubicBezTo>
                <a:cubicBezTo>
                  <a:pt x="352" y="261"/>
                  <a:pt x="352" y="261"/>
                  <a:pt x="352" y="261"/>
                </a:cubicBezTo>
                <a:cubicBezTo>
                  <a:pt x="351" y="261"/>
                  <a:pt x="351" y="261"/>
                  <a:pt x="351" y="261"/>
                </a:cubicBezTo>
                <a:cubicBezTo>
                  <a:pt x="351" y="261"/>
                  <a:pt x="351" y="261"/>
                  <a:pt x="351" y="261"/>
                </a:cubicBezTo>
                <a:cubicBezTo>
                  <a:pt x="351" y="261"/>
                  <a:pt x="351" y="261"/>
                  <a:pt x="351" y="261"/>
                </a:cubicBezTo>
                <a:cubicBezTo>
                  <a:pt x="351" y="262"/>
                  <a:pt x="351" y="262"/>
                  <a:pt x="351" y="262"/>
                </a:cubicBezTo>
                <a:cubicBezTo>
                  <a:pt x="350" y="262"/>
                  <a:pt x="350" y="262"/>
                  <a:pt x="350" y="262"/>
                </a:cubicBezTo>
                <a:cubicBezTo>
                  <a:pt x="350" y="263"/>
                  <a:pt x="350" y="263"/>
                  <a:pt x="350" y="263"/>
                </a:cubicBezTo>
                <a:cubicBezTo>
                  <a:pt x="349" y="263"/>
                  <a:pt x="349" y="263"/>
                  <a:pt x="349" y="263"/>
                </a:cubicBezTo>
                <a:cubicBezTo>
                  <a:pt x="348" y="263"/>
                  <a:pt x="348" y="263"/>
                  <a:pt x="348" y="263"/>
                </a:cubicBezTo>
                <a:cubicBezTo>
                  <a:pt x="347" y="263"/>
                  <a:pt x="347" y="263"/>
                  <a:pt x="347" y="263"/>
                </a:cubicBezTo>
                <a:cubicBezTo>
                  <a:pt x="346" y="264"/>
                  <a:pt x="346" y="264"/>
                  <a:pt x="346" y="264"/>
                </a:cubicBezTo>
                <a:cubicBezTo>
                  <a:pt x="346" y="264"/>
                  <a:pt x="346" y="264"/>
                  <a:pt x="346" y="264"/>
                </a:cubicBezTo>
                <a:cubicBezTo>
                  <a:pt x="346" y="265"/>
                  <a:pt x="346" y="265"/>
                  <a:pt x="346" y="265"/>
                </a:cubicBezTo>
                <a:cubicBezTo>
                  <a:pt x="346" y="266"/>
                  <a:pt x="346" y="266"/>
                  <a:pt x="346" y="266"/>
                </a:cubicBezTo>
                <a:cubicBezTo>
                  <a:pt x="345" y="267"/>
                  <a:pt x="345" y="267"/>
                  <a:pt x="345" y="267"/>
                </a:cubicBezTo>
                <a:cubicBezTo>
                  <a:pt x="346" y="268"/>
                  <a:pt x="346" y="268"/>
                  <a:pt x="346" y="268"/>
                </a:cubicBezTo>
                <a:cubicBezTo>
                  <a:pt x="345" y="268"/>
                  <a:pt x="345" y="268"/>
                  <a:pt x="345" y="268"/>
                </a:cubicBezTo>
                <a:cubicBezTo>
                  <a:pt x="344" y="268"/>
                  <a:pt x="344" y="268"/>
                  <a:pt x="344" y="268"/>
                </a:cubicBezTo>
                <a:cubicBezTo>
                  <a:pt x="344" y="269"/>
                  <a:pt x="344" y="269"/>
                  <a:pt x="344" y="269"/>
                </a:cubicBezTo>
                <a:cubicBezTo>
                  <a:pt x="344" y="268"/>
                  <a:pt x="344" y="268"/>
                  <a:pt x="344" y="268"/>
                </a:cubicBezTo>
                <a:cubicBezTo>
                  <a:pt x="343" y="268"/>
                  <a:pt x="343" y="268"/>
                  <a:pt x="343" y="268"/>
                </a:cubicBezTo>
                <a:cubicBezTo>
                  <a:pt x="342" y="269"/>
                  <a:pt x="342" y="269"/>
                  <a:pt x="342" y="269"/>
                </a:cubicBezTo>
                <a:cubicBezTo>
                  <a:pt x="341" y="269"/>
                  <a:pt x="341" y="269"/>
                  <a:pt x="341" y="269"/>
                </a:cubicBezTo>
                <a:cubicBezTo>
                  <a:pt x="341" y="270"/>
                  <a:pt x="341" y="270"/>
                  <a:pt x="341" y="270"/>
                </a:cubicBezTo>
                <a:cubicBezTo>
                  <a:pt x="340" y="270"/>
                  <a:pt x="340" y="270"/>
                  <a:pt x="340" y="270"/>
                </a:cubicBezTo>
                <a:cubicBezTo>
                  <a:pt x="340" y="270"/>
                  <a:pt x="340" y="270"/>
                  <a:pt x="340" y="270"/>
                </a:cubicBezTo>
                <a:cubicBezTo>
                  <a:pt x="339" y="270"/>
                  <a:pt x="339" y="270"/>
                  <a:pt x="339" y="270"/>
                </a:cubicBezTo>
                <a:cubicBezTo>
                  <a:pt x="339" y="271"/>
                  <a:pt x="339" y="271"/>
                  <a:pt x="339" y="271"/>
                </a:cubicBezTo>
                <a:cubicBezTo>
                  <a:pt x="338" y="271"/>
                  <a:pt x="338" y="271"/>
                  <a:pt x="338" y="271"/>
                </a:cubicBezTo>
                <a:cubicBezTo>
                  <a:pt x="337" y="270"/>
                  <a:pt x="337" y="270"/>
                  <a:pt x="337" y="270"/>
                </a:cubicBezTo>
                <a:cubicBezTo>
                  <a:pt x="337" y="269"/>
                  <a:pt x="337" y="269"/>
                  <a:pt x="337" y="269"/>
                </a:cubicBezTo>
                <a:cubicBezTo>
                  <a:pt x="336" y="270"/>
                  <a:pt x="336" y="270"/>
                  <a:pt x="336" y="270"/>
                </a:cubicBezTo>
                <a:cubicBezTo>
                  <a:pt x="335" y="270"/>
                  <a:pt x="335" y="270"/>
                  <a:pt x="335" y="270"/>
                </a:cubicBezTo>
                <a:cubicBezTo>
                  <a:pt x="335" y="271"/>
                  <a:pt x="335" y="271"/>
                  <a:pt x="335" y="271"/>
                </a:cubicBezTo>
                <a:cubicBezTo>
                  <a:pt x="334" y="271"/>
                  <a:pt x="334" y="271"/>
                  <a:pt x="334" y="271"/>
                </a:cubicBezTo>
                <a:cubicBezTo>
                  <a:pt x="333" y="271"/>
                  <a:pt x="333" y="271"/>
                  <a:pt x="333" y="271"/>
                </a:cubicBezTo>
                <a:cubicBezTo>
                  <a:pt x="333" y="271"/>
                  <a:pt x="333" y="271"/>
                  <a:pt x="333" y="271"/>
                </a:cubicBezTo>
                <a:cubicBezTo>
                  <a:pt x="332" y="272"/>
                  <a:pt x="332" y="272"/>
                  <a:pt x="332" y="272"/>
                </a:cubicBezTo>
                <a:cubicBezTo>
                  <a:pt x="331" y="273"/>
                  <a:pt x="331" y="273"/>
                  <a:pt x="331" y="273"/>
                </a:cubicBezTo>
                <a:cubicBezTo>
                  <a:pt x="329" y="274"/>
                  <a:pt x="329" y="274"/>
                  <a:pt x="329" y="274"/>
                </a:cubicBezTo>
                <a:cubicBezTo>
                  <a:pt x="329" y="273"/>
                  <a:pt x="329" y="273"/>
                  <a:pt x="329" y="273"/>
                </a:cubicBezTo>
                <a:cubicBezTo>
                  <a:pt x="330" y="273"/>
                  <a:pt x="330" y="273"/>
                  <a:pt x="330" y="273"/>
                </a:cubicBezTo>
                <a:cubicBezTo>
                  <a:pt x="330" y="272"/>
                  <a:pt x="330" y="272"/>
                  <a:pt x="330" y="272"/>
                </a:cubicBezTo>
                <a:cubicBezTo>
                  <a:pt x="330" y="272"/>
                  <a:pt x="330" y="272"/>
                  <a:pt x="330" y="272"/>
                </a:cubicBezTo>
                <a:cubicBezTo>
                  <a:pt x="328" y="271"/>
                  <a:pt x="328" y="271"/>
                  <a:pt x="328" y="271"/>
                </a:cubicBezTo>
                <a:cubicBezTo>
                  <a:pt x="328" y="270"/>
                  <a:pt x="328" y="270"/>
                  <a:pt x="328" y="270"/>
                </a:cubicBezTo>
                <a:cubicBezTo>
                  <a:pt x="327" y="270"/>
                  <a:pt x="327" y="270"/>
                  <a:pt x="327" y="270"/>
                </a:cubicBezTo>
                <a:cubicBezTo>
                  <a:pt x="326" y="269"/>
                  <a:pt x="326" y="269"/>
                  <a:pt x="326" y="269"/>
                </a:cubicBezTo>
                <a:cubicBezTo>
                  <a:pt x="326" y="270"/>
                  <a:pt x="326" y="270"/>
                  <a:pt x="326" y="270"/>
                </a:cubicBezTo>
                <a:cubicBezTo>
                  <a:pt x="326" y="271"/>
                  <a:pt x="326" y="271"/>
                  <a:pt x="326" y="271"/>
                </a:cubicBezTo>
                <a:cubicBezTo>
                  <a:pt x="326" y="272"/>
                  <a:pt x="326" y="272"/>
                  <a:pt x="326" y="272"/>
                </a:cubicBezTo>
                <a:cubicBezTo>
                  <a:pt x="327" y="273"/>
                  <a:pt x="327" y="273"/>
                  <a:pt x="327" y="273"/>
                </a:cubicBezTo>
                <a:cubicBezTo>
                  <a:pt x="326" y="274"/>
                  <a:pt x="326" y="274"/>
                  <a:pt x="326" y="274"/>
                </a:cubicBezTo>
                <a:cubicBezTo>
                  <a:pt x="325" y="275"/>
                  <a:pt x="325" y="275"/>
                  <a:pt x="325" y="275"/>
                </a:cubicBezTo>
                <a:cubicBezTo>
                  <a:pt x="325" y="275"/>
                  <a:pt x="325" y="275"/>
                  <a:pt x="325" y="275"/>
                </a:cubicBezTo>
                <a:cubicBezTo>
                  <a:pt x="324" y="275"/>
                  <a:pt x="324" y="275"/>
                  <a:pt x="324" y="275"/>
                </a:cubicBezTo>
                <a:cubicBezTo>
                  <a:pt x="324" y="274"/>
                  <a:pt x="324" y="274"/>
                  <a:pt x="324" y="274"/>
                </a:cubicBezTo>
                <a:cubicBezTo>
                  <a:pt x="324" y="275"/>
                  <a:pt x="324" y="275"/>
                  <a:pt x="324" y="275"/>
                </a:cubicBezTo>
                <a:cubicBezTo>
                  <a:pt x="323" y="276"/>
                  <a:pt x="323" y="276"/>
                  <a:pt x="323" y="276"/>
                </a:cubicBezTo>
                <a:cubicBezTo>
                  <a:pt x="322" y="277"/>
                  <a:pt x="322" y="277"/>
                  <a:pt x="322" y="277"/>
                </a:cubicBezTo>
                <a:cubicBezTo>
                  <a:pt x="320" y="278"/>
                  <a:pt x="320" y="278"/>
                  <a:pt x="320" y="278"/>
                </a:cubicBezTo>
                <a:cubicBezTo>
                  <a:pt x="319" y="278"/>
                  <a:pt x="319" y="278"/>
                  <a:pt x="319" y="278"/>
                </a:cubicBezTo>
                <a:cubicBezTo>
                  <a:pt x="318" y="278"/>
                  <a:pt x="318" y="278"/>
                  <a:pt x="318" y="278"/>
                </a:cubicBezTo>
                <a:cubicBezTo>
                  <a:pt x="317" y="278"/>
                  <a:pt x="317" y="278"/>
                  <a:pt x="317" y="278"/>
                </a:cubicBezTo>
                <a:cubicBezTo>
                  <a:pt x="316" y="278"/>
                  <a:pt x="316" y="278"/>
                  <a:pt x="316" y="278"/>
                </a:cubicBezTo>
                <a:cubicBezTo>
                  <a:pt x="316" y="279"/>
                  <a:pt x="316" y="279"/>
                  <a:pt x="316" y="279"/>
                </a:cubicBezTo>
                <a:cubicBezTo>
                  <a:pt x="315" y="280"/>
                  <a:pt x="315" y="280"/>
                  <a:pt x="315" y="280"/>
                </a:cubicBezTo>
                <a:cubicBezTo>
                  <a:pt x="314" y="280"/>
                  <a:pt x="314" y="280"/>
                  <a:pt x="314" y="280"/>
                </a:cubicBezTo>
                <a:cubicBezTo>
                  <a:pt x="313" y="280"/>
                  <a:pt x="313" y="280"/>
                  <a:pt x="313" y="280"/>
                </a:cubicBezTo>
                <a:cubicBezTo>
                  <a:pt x="312" y="280"/>
                  <a:pt x="312" y="280"/>
                  <a:pt x="312" y="280"/>
                </a:cubicBezTo>
                <a:cubicBezTo>
                  <a:pt x="311" y="281"/>
                  <a:pt x="311" y="281"/>
                  <a:pt x="311" y="281"/>
                </a:cubicBezTo>
                <a:cubicBezTo>
                  <a:pt x="311" y="281"/>
                  <a:pt x="311" y="281"/>
                  <a:pt x="311" y="281"/>
                </a:cubicBezTo>
                <a:cubicBezTo>
                  <a:pt x="310" y="281"/>
                  <a:pt x="310" y="281"/>
                  <a:pt x="310" y="281"/>
                </a:cubicBezTo>
                <a:cubicBezTo>
                  <a:pt x="311" y="281"/>
                  <a:pt x="311" y="281"/>
                  <a:pt x="311" y="281"/>
                </a:cubicBezTo>
                <a:cubicBezTo>
                  <a:pt x="310" y="281"/>
                  <a:pt x="310" y="281"/>
                  <a:pt x="310" y="281"/>
                </a:cubicBezTo>
                <a:cubicBezTo>
                  <a:pt x="310" y="281"/>
                  <a:pt x="310" y="281"/>
                  <a:pt x="310" y="281"/>
                </a:cubicBezTo>
                <a:cubicBezTo>
                  <a:pt x="310" y="280"/>
                  <a:pt x="310" y="280"/>
                  <a:pt x="310" y="280"/>
                </a:cubicBezTo>
                <a:cubicBezTo>
                  <a:pt x="310" y="280"/>
                  <a:pt x="310" y="280"/>
                  <a:pt x="310" y="280"/>
                </a:cubicBezTo>
                <a:cubicBezTo>
                  <a:pt x="309" y="280"/>
                  <a:pt x="309" y="280"/>
                  <a:pt x="309" y="280"/>
                </a:cubicBezTo>
                <a:cubicBezTo>
                  <a:pt x="309" y="280"/>
                  <a:pt x="309" y="280"/>
                  <a:pt x="309" y="280"/>
                </a:cubicBezTo>
                <a:cubicBezTo>
                  <a:pt x="309" y="280"/>
                  <a:pt x="309" y="280"/>
                  <a:pt x="309" y="280"/>
                </a:cubicBezTo>
                <a:cubicBezTo>
                  <a:pt x="309" y="280"/>
                  <a:pt x="309" y="280"/>
                  <a:pt x="309" y="280"/>
                </a:cubicBezTo>
                <a:cubicBezTo>
                  <a:pt x="309" y="281"/>
                  <a:pt x="309" y="281"/>
                  <a:pt x="309" y="281"/>
                </a:cubicBezTo>
                <a:cubicBezTo>
                  <a:pt x="309" y="282"/>
                  <a:pt x="309" y="282"/>
                  <a:pt x="309" y="282"/>
                </a:cubicBezTo>
                <a:cubicBezTo>
                  <a:pt x="308" y="282"/>
                  <a:pt x="308" y="282"/>
                  <a:pt x="308" y="282"/>
                </a:cubicBezTo>
                <a:cubicBezTo>
                  <a:pt x="307" y="283"/>
                  <a:pt x="307" y="283"/>
                  <a:pt x="307" y="283"/>
                </a:cubicBezTo>
                <a:cubicBezTo>
                  <a:pt x="308" y="284"/>
                  <a:pt x="308" y="284"/>
                  <a:pt x="308" y="284"/>
                </a:cubicBezTo>
                <a:cubicBezTo>
                  <a:pt x="309" y="284"/>
                  <a:pt x="309" y="284"/>
                  <a:pt x="309" y="284"/>
                </a:cubicBezTo>
                <a:cubicBezTo>
                  <a:pt x="309" y="285"/>
                  <a:pt x="309" y="285"/>
                  <a:pt x="309" y="285"/>
                </a:cubicBezTo>
                <a:cubicBezTo>
                  <a:pt x="309" y="286"/>
                  <a:pt x="309" y="286"/>
                  <a:pt x="309" y="286"/>
                </a:cubicBezTo>
                <a:cubicBezTo>
                  <a:pt x="310" y="286"/>
                  <a:pt x="310" y="286"/>
                  <a:pt x="310" y="286"/>
                </a:cubicBezTo>
                <a:cubicBezTo>
                  <a:pt x="310" y="286"/>
                  <a:pt x="310" y="286"/>
                  <a:pt x="310" y="286"/>
                </a:cubicBezTo>
                <a:cubicBezTo>
                  <a:pt x="309" y="288"/>
                  <a:pt x="309" y="288"/>
                  <a:pt x="309" y="288"/>
                </a:cubicBezTo>
                <a:cubicBezTo>
                  <a:pt x="308" y="288"/>
                  <a:pt x="308" y="288"/>
                  <a:pt x="308" y="288"/>
                </a:cubicBezTo>
                <a:cubicBezTo>
                  <a:pt x="308" y="287"/>
                  <a:pt x="308" y="287"/>
                  <a:pt x="308" y="287"/>
                </a:cubicBezTo>
                <a:cubicBezTo>
                  <a:pt x="307" y="287"/>
                  <a:pt x="307" y="287"/>
                  <a:pt x="307" y="287"/>
                </a:cubicBezTo>
                <a:cubicBezTo>
                  <a:pt x="306" y="288"/>
                  <a:pt x="306" y="288"/>
                  <a:pt x="306" y="288"/>
                </a:cubicBezTo>
                <a:cubicBezTo>
                  <a:pt x="306" y="288"/>
                  <a:pt x="306" y="288"/>
                  <a:pt x="306" y="288"/>
                </a:cubicBezTo>
                <a:cubicBezTo>
                  <a:pt x="306" y="287"/>
                  <a:pt x="306" y="287"/>
                  <a:pt x="306" y="287"/>
                </a:cubicBezTo>
                <a:cubicBezTo>
                  <a:pt x="306" y="286"/>
                  <a:pt x="306" y="286"/>
                  <a:pt x="306" y="286"/>
                </a:cubicBezTo>
                <a:cubicBezTo>
                  <a:pt x="305" y="286"/>
                  <a:pt x="305" y="286"/>
                  <a:pt x="305" y="286"/>
                </a:cubicBezTo>
                <a:cubicBezTo>
                  <a:pt x="304" y="284"/>
                  <a:pt x="304" y="284"/>
                  <a:pt x="304" y="284"/>
                </a:cubicBezTo>
                <a:cubicBezTo>
                  <a:pt x="304" y="283"/>
                  <a:pt x="304" y="283"/>
                  <a:pt x="304" y="283"/>
                </a:cubicBezTo>
                <a:cubicBezTo>
                  <a:pt x="304" y="282"/>
                  <a:pt x="304" y="282"/>
                  <a:pt x="304" y="282"/>
                </a:cubicBezTo>
                <a:cubicBezTo>
                  <a:pt x="305" y="281"/>
                  <a:pt x="305" y="281"/>
                  <a:pt x="305" y="281"/>
                </a:cubicBezTo>
                <a:cubicBezTo>
                  <a:pt x="306" y="280"/>
                  <a:pt x="306" y="280"/>
                  <a:pt x="306" y="280"/>
                </a:cubicBezTo>
                <a:cubicBezTo>
                  <a:pt x="306" y="280"/>
                  <a:pt x="306" y="280"/>
                  <a:pt x="306" y="280"/>
                </a:cubicBezTo>
                <a:cubicBezTo>
                  <a:pt x="305" y="280"/>
                  <a:pt x="305" y="280"/>
                  <a:pt x="305" y="280"/>
                </a:cubicBezTo>
                <a:cubicBezTo>
                  <a:pt x="304" y="280"/>
                  <a:pt x="304" y="280"/>
                  <a:pt x="304" y="280"/>
                </a:cubicBezTo>
                <a:cubicBezTo>
                  <a:pt x="303" y="279"/>
                  <a:pt x="303" y="279"/>
                  <a:pt x="303" y="279"/>
                </a:cubicBezTo>
                <a:cubicBezTo>
                  <a:pt x="302" y="280"/>
                  <a:pt x="302" y="280"/>
                  <a:pt x="302" y="280"/>
                </a:cubicBezTo>
                <a:cubicBezTo>
                  <a:pt x="302" y="280"/>
                  <a:pt x="302" y="280"/>
                  <a:pt x="302" y="280"/>
                </a:cubicBezTo>
                <a:cubicBezTo>
                  <a:pt x="301" y="280"/>
                  <a:pt x="301" y="280"/>
                  <a:pt x="301" y="280"/>
                </a:cubicBezTo>
                <a:cubicBezTo>
                  <a:pt x="299" y="279"/>
                  <a:pt x="299" y="279"/>
                  <a:pt x="299" y="279"/>
                </a:cubicBezTo>
                <a:cubicBezTo>
                  <a:pt x="299" y="279"/>
                  <a:pt x="299" y="279"/>
                  <a:pt x="299" y="279"/>
                </a:cubicBezTo>
                <a:cubicBezTo>
                  <a:pt x="298" y="278"/>
                  <a:pt x="298" y="278"/>
                  <a:pt x="298" y="278"/>
                </a:cubicBezTo>
                <a:cubicBezTo>
                  <a:pt x="297" y="277"/>
                  <a:pt x="297" y="277"/>
                  <a:pt x="297" y="277"/>
                </a:cubicBezTo>
                <a:cubicBezTo>
                  <a:pt x="297" y="278"/>
                  <a:pt x="297" y="278"/>
                  <a:pt x="297" y="278"/>
                </a:cubicBezTo>
                <a:cubicBezTo>
                  <a:pt x="297" y="279"/>
                  <a:pt x="297" y="279"/>
                  <a:pt x="297" y="279"/>
                </a:cubicBezTo>
                <a:cubicBezTo>
                  <a:pt x="296" y="279"/>
                  <a:pt x="296" y="279"/>
                  <a:pt x="296" y="279"/>
                </a:cubicBezTo>
                <a:cubicBezTo>
                  <a:pt x="295" y="279"/>
                  <a:pt x="295" y="279"/>
                  <a:pt x="295" y="279"/>
                </a:cubicBezTo>
                <a:cubicBezTo>
                  <a:pt x="295" y="279"/>
                  <a:pt x="295" y="279"/>
                  <a:pt x="295" y="279"/>
                </a:cubicBezTo>
                <a:cubicBezTo>
                  <a:pt x="294" y="279"/>
                  <a:pt x="294" y="279"/>
                  <a:pt x="294" y="279"/>
                </a:cubicBezTo>
                <a:cubicBezTo>
                  <a:pt x="294" y="279"/>
                  <a:pt x="294" y="279"/>
                  <a:pt x="294" y="279"/>
                </a:cubicBezTo>
                <a:cubicBezTo>
                  <a:pt x="294" y="279"/>
                  <a:pt x="294" y="279"/>
                  <a:pt x="294" y="279"/>
                </a:cubicBezTo>
                <a:cubicBezTo>
                  <a:pt x="293" y="279"/>
                  <a:pt x="293" y="279"/>
                  <a:pt x="293" y="279"/>
                </a:cubicBezTo>
                <a:cubicBezTo>
                  <a:pt x="287" y="280"/>
                  <a:pt x="287" y="280"/>
                  <a:pt x="287" y="280"/>
                </a:cubicBezTo>
                <a:cubicBezTo>
                  <a:pt x="274" y="274"/>
                  <a:pt x="274" y="274"/>
                  <a:pt x="274" y="274"/>
                </a:cubicBezTo>
                <a:cubicBezTo>
                  <a:pt x="252" y="285"/>
                  <a:pt x="252" y="285"/>
                  <a:pt x="252" y="285"/>
                </a:cubicBezTo>
                <a:cubicBezTo>
                  <a:pt x="236" y="280"/>
                  <a:pt x="236" y="280"/>
                  <a:pt x="236" y="280"/>
                </a:cubicBezTo>
                <a:cubicBezTo>
                  <a:pt x="199" y="253"/>
                  <a:pt x="199" y="253"/>
                  <a:pt x="199" y="253"/>
                </a:cubicBezTo>
                <a:cubicBezTo>
                  <a:pt x="121" y="246"/>
                  <a:pt x="121" y="246"/>
                  <a:pt x="121" y="246"/>
                </a:cubicBezTo>
                <a:cubicBezTo>
                  <a:pt x="80" y="207"/>
                  <a:pt x="80" y="207"/>
                  <a:pt x="80" y="207"/>
                </a:cubicBezTo>
                <a:cubicBezTo>
                  <a:pt x="0" y="173"/>
                  <a:pt x="0" y="173"/>
                  <a:pt x="0" y="173"/>
                </a:cubicBezTo>
                <a:cubicBezTo>
                  <a:pt x="7" y="106"/>
                  <a:pt x="7" y="106"/>
                  <a:pt x="7" y="106"/>
                </a:cubicBezTo>
                <a:cubicBezTo>
                  <a:pt x="59" y="78"/>
                  <a:pt x="59" y="78"/>
                  <a:pt x="59" y="78"/>
                </a:cubicBezTo>
                <a:cubicBezTo>
                  <a:pt x="119" y="65"/>
                  <a:pt x="119" y="65"/>
                  <a:pt x="119" y="65"/>
                </a:cubicBezTo>
                <a:cubicBezTo>
                  <a:pt x="124" y="64"/>
                  <a:pt x="124" y="64"/>
                  <a:pt x="124" y="64"/>
                </a:cubicBezTo>
                <a:close/>
                <a:moveTo>
                  <a:pt x="348" y="265"/>
                </a:moveTo>
                <a:cubicBezTo>
                  <a:pt x="349" y="265"/>
                  <a:pt x="349" y="265"/>
                  <a:pt x="349" y="265"/>
                </a:cubicBezTo>
                <a:cubicBezTo>
                  <a:pt x="350" y="265"/>
                  <a:pt x="350" y="265"/>
                  <a:pt x="350" y="265"/>
                </a:cubicBezTo>
                <a:cubicBezTo>
                  <a:pt x="350" y="265"/>
                  <a:pt x="350" y="265"/>
                  <a:pt x="350" y="265"/>
                </a:cubicBezTo>
                <a:cubicBezTo>
                  <a:pt x="349" y="264"/>
                  <a:pt x="349" y="264"/>
                  <a:pt x="349" y="264"/>
                </a:cubicBezTo>
                <a:cubicBezTo>
                  <a:pt x="348" y="265"/>
                  <a:pt x="348" y="265"/>
                  <a:pt x="348" y="265"/>
                </a:cubicBezTo>
                <a:close/>
                <a:moveTo>
                  <a:pt x="362" y="249"/>
                </a:moveTo>
                <a:cubicBezTo>
                  <a:pt x="362" y="250"/>
                  <a:pt x="362" y="250"/>
                  <a:pt x="362" y="250"/>
                </a:cubicBezTo>
                <a:cubicBezTo>
                  <a:pt x="363" y="250"/>
                  <a:pt x="363" y="250"/>
                  <a:pt x="363" y="250"/>
                </a:cubicBezTo>
                <a:cubicBezTo>
                  <a:pt x="363" y="249"/>
                  <a:pt x="363" y="249"/>
                  <a:pt x="363" y="249"/>
                </a:cubicBezTo>
                <a:cubicBezTo>
                  <a:pt x="362" y="248"/>
                  <a:pt x="362" y="248"/>
                  <a:pt x="362" y="248"/>
                </a:cubicBezTo>
                <a:cubicBezTo>
                  <a:pt x="362" y="249"/>
                  <a:pt x="362" y="249"/>
                  <a:pt x="362" y="249"/>
                </a:cubicBezTo>
                <a:close/>
                <a:moveTo>
                  <a:pt x="371" y="212"/>
                </a:moveTo>
                <a:cubicBezTo>
                  <a:pt x="372" y="213"/>
                  <a:pt x="372" y="213"/>
                  <a:pt x="372" y="213"/>
                </a:cubicBezTo>
                <a:cubicBezTo>
                  <a:pt x="373" y="214"/>
                  <a:pt x="373" y="214"/>
                  <a:pt x="373" y="214"/>
                </a:cubicBezTo>
                <a:cubicBezTo>
                  <a:pt x="374" y="214"/>
                  <a:pt x="374" y="214"/>
                  <a:pt x="374" y="214"/>
                </a:cubicBezTo>
                <a:cubicBezTo>
                  <a:pt x="374" y="213"/>
                  <a:pt x="374" y="213"/>
                  <a:pt x="374" y="213"/>
                </a:cubicBezTo>
                <a:cubicBezTo>
                  <a:pt x="373" y="212"/>
                  <a:pt x="373" y="212"/>
                  <a:pt x="373" y="212"/>
                </a:cubicBezTo>
                <a:cubicBezTo>
                  <a:pt x="372" y="213"/>
                  <a:pt x="372" y="213"/>
                  <a:pt x="372" y="213"/>
                </a:cubicBezTo>
                <a:cubicBezTo>
                  <a:pt x="371" y="212"/>
                  <a:pt x="371" y="212"/>
                  <a:pt x="371" y="212"/>
                </a:cubicBezTo>
                <a:close/>
                <a:moveTo>
                  <a:pt x="365" y="200"/>
                </a:moveTo>
                <a:cubicBezTo>
                  <a:pt x="365" y="201"/>
                  <a:pt x="365" y="201"/>
                  <a:pt x="365" y="201"/>
                </a:cubicBezTo>
                <a:cubicBezTo>
                  <a:pt x="365" y="201"/>
                  <a:pt x="365" y="201"/>
                  <a:pt x="365" y="201"/>
                </a:cubicBezTo>
                <a:cubicBezTo>
                  <a:pt x="367" y="201"/>
                  <a:pt x="367" y="201"/>
                  <a:pt x="367" y="201"/>
                </a:cubicBezTo>
                <a:cubicBezTo>
                  <a:pt x="368" y="202"/>
                  <a:pt x="368" y="202"/>
                  <a:pt x="368" y="202"/>
                </a:cubicBezTo>
                <a:cubicBezTo>
                  <a:pt x="368" y="201"/>
                  <a:pt x="368" y="201"/>
                  <a:pt x="368" y="201"/>
                </a:cubicBezTo>
                <a:cubicBezTo>
                  <a:pt x="367" y="201"/>
                  <a:pt x="367" y="201"/>
                  <a:pt x="367" y="201"/>
                </a:cubicBezTo>
                <a:cubicBezTo>
                  <a:pt x="366" y="200"/>
                  <a:pt x="366" y="200"/>
                  <a:pt x="366" y="200"/>
                </a:cubicBezTo>
                <a:cubicBezTo>
                  <a:pt x="365" y="200"/>
                  <a:pt x="365" y="200"/>
                  <a:pt x="365" y="200"/>
                </a:cubicBezTo>
                <a:close/>
                <a:moveTo>
                  <a:pt x="372" y="276"/>
                </a:moveTo>
                <a:cubicBezTo>
                  <a:pt x="373" y="276"/>
                  <a:pt x="373" y="276"/>
                  <a:pt x="373" y="276"/>
                </a:cubicBezTo>
                <a:cubicBezTo>
                  <a:pt x="374" y="276"/>
                  <a:pt x="374" y="276"/>
                  <a:pt x="374" y="276"/>
                </a:cubicBezTo>
                <a:cubicBezTo>
                  <a:pt x="374" y="275"/>
                  <a:pt x="374" y="275"/>
                  <a:pt x="374" y="275"/>
                </a:cubicBezTo>
                <a:cubicBezTo>
                  <a:pt x="374" y="273"/>
                  <a:pt x="374" y="273"/>
                  <a:pt x="374" y="273"/>
                </a:cubicBezTo>
                <a:cubicBezTo>
                  <a:pt x="374" y="271"/>
                  <a:pt x="374" y="271"/>
                  <a:pt x="374" y="271"/>
                </a:cubicBezTo>
                <a:cubicBezTo>
                  <a:pt x="375" y="270"/>
                  <a:pt x="375" y="270"/>
                  <a:pt x="375" y="270"/>
                </a:cubicBezTo>
                <a:cubicBezTo>
                  <a:pt x="376" y="268"/>
                  <a:pt x="376" y="268"/>
                  <a:pt x="376" y="268"/>
                </a:cubicBezTo>
                <a:cubicBezTo>
                  <a:pt x="376" y="266"/>
                  <a:pt x="376" y="266"/>
                  <a:pt x="376" y="266"/>
                </a:cubicBezTo>
                <a:cubicBezTo>
                  <a:pt x="377" y="266"/>
                  <a:pt x="377" y="266"/>
                  <a:pt x="377" y="266"/>
                </a:cubicBezTo>
                <a:cubicBezTo>
                  <a:pt x="376" y="265"/>
                  <a:pt x="376" y="265"/>
                  <a:pt x="376" y="265"/>
                </a:cubicBezTo>
                <a:cubicBezTo>
                  <a:pt x="376" y="263"/>
                  <a:pt x="376" y="263"/>
                  <a:pt x="376" y="263"/>
                </a:cubicBezTo>
                <a:cubicBezTo>
                  <a:pt x="377" y="261"/>
                  <a:pt x="377" y="261"/>
                  <a:pt x="377" y="261"/>
                </a:cubicBezTo>
                <a:cubicBezTo>
                  <a:pt x="376" y="259"/>
                  <a:pt x="376" y="259"/>
                  <a:pt x="376" y="259"/>
                </a:cubicBezTo>
                <a:cubicBezTo>
                  <a:pt x="377" y="258"/>
                  <a:pt x="377" y="258"/>
                  <a:pt x="377" y="258"/>
                </a:cubicBezTo>
                <a:cubicBezTo>
                  <a:pt x="377" y="255"/>
                  <a:pt x="377" y="255"/>
                  <a:pt x="377" y="255"/>
                </a:cubicBezTo>
                <a:cubicBezTo>
                  <a:pt x="378" y="253"/>
                  <a:pt x="378" y="253"/>
                  <a:pt x="378" y="253"/>
                </a:cubicBezTo>
                <a:cubicBezTo>
                  <a:pt x="378" y="253"/>
                  <a:pt x="378" y="253"/>
                  <a:pt x="378" y="253"/>
                </a:cubicBezTo>
                <a:cubicBezTo>
                  <a:pt x="378" y="252"/>
                  <a:pt x="378" y="252"/>
                  <a:pt x="378" y="252"/>
                </a:cubicBezTo>
                <a:cubicBezTo>
                  <a:pt x="377" y="251"/>
                  <a:pt x="377" y="251"/>
                  <a:pt x="377" y="251"/>
                </a:cubicBezTo>
                <a:cubicBezTo>
                  <a:pt x="376" y="251"/>
                  <a:pt x="376" y="251"/>
                  <a:pt x="376" y="251"/>
                </a:cubicBezTo>
                <a:cubicBezTo>
                  <a:pt x="376" y="250"/>
                  <a:pt x="376" y="250"/>
                  <a:pt x="376" y="250"/>
                </a:cubicBezTo>
                <a:cubicBezTo>
                  <a:pt x="374" y="249"/>
                  <a:pt x="374" y="249"/>
                  <a:pt x="374" y="249"/>
                </a:cubicBezTo>
                <a:cubicBezTo>
                  <a:pt x="374" y="250"/>
                  <a:pt x="374" y="250"/>
                  <a:pt x="374" y="250"/>
                </a:cubicBezTo>
                <a:cubicBezTo>
                  <a:pt x="374" y="251"/>
                  <a:pt x="374" y="251"/>
                  <a:pt x="374" y="251"/>
                </a:cubicBezTo>
                <a:cubicBezTo>
                  <a:pt x="373" y="251"/>
                  <a:pt x="373" y="251"/>
                  <a:pt x="373" y="251"/>
                </a:cubicBezTo>
                <a:cubicBezTo>
                  <a:pt x="371" y="253"/>
                  <a:pt x="371" y="253"/>
                  <a:pt x="371" y="253"/>
                </a:cubicBezTo>
                <a:cubicBezTo>
                  <a:pt x="370" y="255"/>
                  <a:pt x="370" y="255"/>
                  <a:pt x="370" y="255"/>
                </a:cubicBezTo>
                <a:cubicBezTo>
                  <a:pt x="370" y="255"/>
                  <a:pt x="370" y="255"/>
                  <a:pt x="370" y="255"/>
                </a:cubicBezTo>
                <a:cubicBezTo>
                  <a:pt x="370" y="256"/>
                  <a:pt x="370" y="256"/>
                  <a:pt x="370" y="256"/>
                </a:cubicBezTo>
                <a:cubicBezTo>
                  <a:pt x="369" y="257"/>
                  <a:pt x="369" y="257"/>
                  <a:pt x="369" y="257"/>
                </a:cubicBezTo>
                <a:cubicBezTo>
                  <a:pt x="368" y="259"/>
                  <a:pt x="368" y="259"/>
                  <a:pt x="368" y="259"/>
                </a:cubicBezTo>
                <a:cubicBezTo>
                  <a:pt x="367" y="262"/>
                  <a:pt x="367" y="262"/>
                  <a:pt x="367" y="262"/>
                </a:cubicBezTo>
                <a:cubicBezTo>
                  <a:pt x="367" y="262"/>
                  <a:pt x="367" y="262"/>
                  <a:pt x="367" y="262"/>
                </a:cubicBezTo>
                <a:cubicBezTo>
                  <a:pt x="367" y="263"/>
                  <a:pt x="367" y="263"/>
                  <a:pt x="367" y="263"/>
                </a:cubicBezTo>
                <a:cubicBezTo>
                  <a:pt x="367" y="265"/>
                  <a:pt x="367" y="265"/>
                  <a:pt x="367" y="265"/>
                </a:cubicBezTo>
                <a:cubicBezTo>
                  <a:pt x="368" y="267"/>
                  <a:pt x="368" y="267"/>
                  <a:pt x="368" y="267"/>
                </a:cubicBezTo>
                <a:cubicBezTo>
                  <a:pt x="368" y="268"/>
                  <a:pt x="368" y="268"/>
                  <a:pt x="368" y="268"/>
                </a:cubicBezTo>
                <a:cubicBezTo>
                  <a:pt x="368" y="269"/>
                  <a:pt x="368" y="269"/>
                  <a:pt x="368" y="269"/>
                </a:cubicBezTo>
                <a:cubicBezTo>
                  <a:pt x="368" y="269"/>
                  <a:pt x="368" y="269"/>
                  <a:pt x="368" y="269"/>
                </a:cubicBezTo>
                <a:cubicBezTo>
                  <a:pt x="368" y="269"/>
                  <a:pt x="368" y="269"/>
                  <a:pt x="368" y="269"/>
                </a:cubicBezTo>
                <a:cubicBezTo>
                  <a:pt x="369" y="271"/>
                  <a:pt x="369" y="271"/>
                  <a:pt x="369" y="271"/>
                </a:cubicBezTo>
                <a:cubicBezTo>
                  <a:pt x="369" y="271"/>
                  <a:pt x="369" y="271"/>
                  <a:pt x="369" y="271"/>
                </a:cubicBezTo>
                <a:cubicBezTo>
                  <a:pt x="370" y="272"/>
                  <a:pt x="370" y="272"/>
                  <a:pt x="370" y="272"/>
                </a:cubicBezTo>
                <a:cubicBezTo>
                  <a:pt x="371" y="272"/>
                  <a:pt x="371" y="272"/>
                  <a:pt x="371" y="272"/>
                </a:cubicBezTo>
                <a:cubicBezTo>
                  <a:pt x="372" y="273"/>
                  <a:pt x="372" y="273"/>
                  <a:pt x="372" y="273"/>
                </a:cubicBezTo>
                <a:cubicBezTo>
                  <a:pt x="372" y="275"/>
                  <a:pt x="372" y="275"/>
                  <a:pt x="372" y="275"/>
                </a:cubicBezTo>
                <a:cubicBezTo>
                  <a:pt x="372" y="276"/>
                  <a:pt x="372" y="276"/>
                  <a:pt x="372" y="276"/>
                </a:cubicBezTo>
                <a:close/>
                <a:moveTo>
                  <a:pt x="309" y="283"/>
                </a:moveTo>
                <a:cubicBezTo>
                  <a:pt x="310" y="283"/>
                  <a:pt x="310" y="283"/>
                  <a:pt x="310" y="283"/>
                </a:cubicBezTo>
                <a:cubicBezTo>
                  <a:pt x="310" y="283"/>
                  <a:pt x="310" y="283"/>
                  <a:pt x="310" y="283"/>
                </a:cubicBezTo>
                <a:cubicBezTo>
                  <a:pt x="312" y="284"/>
                  <a:pt x="312" y="284"/>
                  <a:pt x="312" y="284"/>
                </a:cubicBezTo>
                <a:cubicBezTo>
                  <a:pt x="312" y="283"/>
                  <a:pt x="312" y="283"/>
                  <a:pt x="312" y="283"/>
                </a:cubicBezTo>
                <a:cubicBezTo>
                  <a:pt x="311" y="283"/>
                  <a:pt x="311" y="283"/>
                  <a:pt x="311" y="283"/>
                </a:cubicBezTo>
                <a:cubicBezTo>
                  <a:pt x="309" y="283"/>
                  <a:pt x="309" y="283"/>
                  <a:pt x="309" y="283"/>
                </a:cubicBezTo>
                <a:close/>
                <a:moveTo>
                  <a:pt x="309" y="289"/>
                </a:moveTo>
                <a:cubicBezTo>
                  <a:pt x="308" y="289"/>
                  <a:pt x="308" y="289"/>
                  <a:pt x="308" y="289"/>
                </a:cubicBezTo>
                <a:cubicBezTo>
                  <a:pt x="307" y="289"/>
                  <a:pt x="307" y="289"/>
                  <a:pt x="307" y="289"/>
                </a:cubicBezTo>
                <a:cubicBezTo>
                  <a:pt x="306" y="290"/>
                  <a:pt x="306" y="290"/>
                  <a:pt x="306" y="290"/>
                </a:cubicBezTo>
                <a:cubicBezTo>
                  <a:pt x="305" y="290"/>
                  <a:pt x="305" y="290"/>
                  <a:pt x="305" y="290"/>
                </a:cubicBezTo>
                <a:cubicBezTo>
                  <a:pt x="304" y="290"/>
                  <a:pt x="304" y="290"/>
                  <a:pt x="304" y="290"/>
                </a:cubicBezTo>
                <a:cubicBezTo>
                  <a:pt x="303" y="291"/>
                  <a:pt x="303" y="291"/>
                  <a:pt x="303" y="291"/>
                </a:cubicBezTo>
                <a:cubicBezTo>
                  <a:pt x="303" y="292"/>
                  <a:pt x="303" y="292"/>
                  <a:pt x="303" y="292"/>
                </a:cubicBezTo>
                <a:cubicBezTo>
                  <a:pt x="301" y="293"/>
                  <a:pt x="301" y="293"/>
                  <a:pt x="301" y="293"/>
                </a:cubicBezTo>
                <a:cubicBezTo>
                  <a:pt x="299" y="295"/>
                  <a:pt x="299" y="295"/>
                  <a:pt x="299" y="295"/>
                </a:cubicBezTo>
                <a:cubicBezTo>
                  <a:pt x="300" y="296"/>
                  <a:pt x="300" y="296"/>
                  <a:pt x="300" y="296"/>
                </a:cubicBezTo>
                <a:cubicBezTo>
                  <a:pt x="300" y="298"/>
                  <a:pt x="300" y="298"/>
                  <a:pt x="300" y="298"/>
                </a:cubicBezTo>
                <a:cubicBezTo>
                  <a:pt x="300" y="299"/>
                  <a:pt x="300" y="299"/>
                  <a:pt x="300" y="299"/>
                </a:cubicBezTo>
                <a:cubicBezTo>
                  <a:pt x="300" y="300"/>
                  <a:pt x="300" y="300"/>
                  <a:pt x="300" y="300"/>
                </a:cubicBezTo>
                <a:cubicBezTo>
                  <a:pt x="301" y="301"/>
                  <a:pt x="301" y="301"/>
                  <a:pt x="301" y="301"/>
                </a:cubicBezTo>
                <a:cubicBezTo>
                  <a:pt x="303" y="301"/>
                  <a:pt x="303" y="301"/>
                  <a:pt x="303" y="301"/>
                </a:cubicBezTo>
                <a:cubicBezTo>
                  <a:pt x="304" y="302"/>
                  <a:pt x="304" y="302"/>
                  <a:pt x="304" y="302"/>
                </a:cubicBezTo>
                <a:cubicBezTo>
                  <a:pt x="305" y="302"/>
                  <a:pt x="305" y="302"/>
                  <a:pt x="305" y="302"/>
                </a:cubicBezTo>
                <a:cubicBezTo>
                  <a:pt x="306" y="302"/>
                  <a:pt x="306" y="302"/>
                  <a:pt x="306" y="302"/>
                </a:cubicBezTo>
                <a:cubicBezTo>
                  <a:pt x="306" y="302"/>
                  <a:pt x="306" y="302"/>
                  <a:pt x="306" y="302"/>
                </a:cubicBezTo>
                <a:cubicBezTo>
                  <a:pt x="307" y="301"/>
                  <a:pt x="307" y="301"/>
                  <a:pt x="307" y="301"/>
                </a:cubicBezTo>
                <a:cubicBezTo>
                  <a:pt x="308" y="301"/>
                  <a:pt x="308" y="301"/>
                  <a:pt x="308" y="301"/>
                </a:cubicBezTo>
                <a:cubicBezTo>
                  <a:pt x="309" y="301"/>
                  <a:pt x="309" y="301"/>
                  <a:pt x="309" y="301"/>
                </a:cubicBezTo>
                <a:cubicBezTo>
                  <a:pt x="310" y="300"/>
                  <a:pt x="310" y="300"/>
                  <a:pt x="310" y="300"/>
                </a:cubicBezTo>
                <a:cubicBezTo>
                  <a:pt x="310" y="299"/>
                  <a:pt x="310" y="299"/>
                  <a:pt x="310" y="299"/>
                </a:cubicBezTo>
                <a:cubicBezTo>
                  <a:pt x="311" y="299"/>
                  <a:pt x="311" y="299"/>
                  <a:pt x="311" y="299"/>
                </a:cubicBezTo>
                <a:cubicBezTo>
                  <a:pt x="312" y="298"/>
                  <a:pt x="312" y="298"/>
                  <a:pt x="312" y="298"/>
                </a:cubicBezTo>
                <a:cubicBezTo>
                  <a:pt x="312" y="297"/>
                  <a:pt x="312" y="297"/>
                  <a:pt x="312" y="297"/>
                </a:cubicBezTo>
                <a:cubicBezTo>
                  <a:pt x="312" y="295"/>
                  <a:pt x="312" y="295"/>
                  <a:pt x="312" y="295"/>
                </a:cubicBezTo>
                <a:cubicBezTo>
                  <a:pt x="313" y="295"/>
                  <a:pt x="313" y="295"/>
                  <a:pt x="313" y="295"/>
                </a:cubicBezTo>
                <a:cubicBezTo>
                  <a:pt x="313" y="294"/>
                  <a:pt x="313" y="294"/>
                  <a:pt x="313" y="294"/>
                </a:cubicBezTo>
                <a:cubicBezTo>
                  <a:pt x="314" y="292"/>
                  <a:pt x="314" y="292"/>
                  <a:pt x="314" y="292"/>
                </a:cubicBezTo>
                <a:cubicBezTo>
                  <a:pt x="313" y="290"/>
                  <a:pt x="313" y="290"/>
                  <a:pt x="313" y="290"/>
                </a:cubicBezTo>
                <a:cubicBezTo>
                  <a:pt x="312" y="290"/>
                  <a:pt x="312" y="290"/>
                  <a:pt x="312" y="290"/>
                </a:cubicBezTo>
                <a:cubicBezTo>
                  <a:pt x="311" y="289"/>
                  <a:pt x="311" y="289"/>
                  <a:pt x="311" y="289"/>
                </a:cubicBezTo>
                <a:cubicBezTo>
                  <a:pt x="310" y="290"/>
                  <a:pt x="310" y="290"/>
                  <a:pt x="310" y="290"/>
                </a:cubicBezTo>
                <a:cubicBezTo>
                  <a:pt x="310" y="290"/>
                  <a:pt x="309" y="289"/>
                  <a:pt x="309" y="289"/>
                </a:cubicBez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4" name="Freeform 12">
            <a:extLst>
              <a:ext uri="{FF2B5EF4-FFF2-40B4-BE49-F238E27FC236}">
                <a16:creationId xmlns:a16="http://schemas.microsoft.com/office/drawing/2014/main" id="{F4CA8390-4870-1B9C-5632-A9A799D47CDA}"/>
              </a:ext>
            </a:extLst>
          </p:cNvPr>
          <p:cNvSpPr>
            <a:spLocks noEditPoints="1"/>
          </p:cNvSpPr>
          <p:nvPr userDrawn="1"/>
        </p:nvSpPr>
        <p:spPr bwMode="auto">
          <a:xfrm>
            <a:off x="13565888" y="2323381"/>
            <a:ext cx="873069" cy="1082678"/>
          </a:xfrm>
          <a:custGeom>
            <a:avLst/>
            <a:gdLst>
              <a:gd name="T0" fmla="*/ 84 w 88"/>
              <a:gd name="T1" fmla="*/ 10 h 109"/>
              <a:gd name="T2" fmla="*/ 36 w 88"/>
              <a:gd name="T3" fmla="*/ 1 h 109"/>
              <a:gd name="T4" fmla="*/ 29 w 88"/>
              <a:gd name="T5" fmla="*/ 11 h 109"/>
              <a:gd name="T6" fmla="*/ 38 w 88"/>
              <a:gd name="T7" fmla="*/ 20 h 109"/>
              <a:gd name="T8" fmla="*/ 39 w 88"/>
              <a:gd name="T9" fmla="*/ 21 h 109"/>
              <a:gd name="T10" fmla="*/ 35 w 88"/>
              <a:gd name="T11" fmla="*/ 23 h 109"/>
              <a:gd name="T12" fmla="*/ 46 w 88"/>
              <a:gd name="T13" fmla="*/ 27 h 109"/>
              <a:gd name="T14" fmla="*/ 55 w 88"/>
              <a:gd name="T15" fmla="*/ 28 h 109"/>
              <a:gd name="T16" fmla="*/ 63 w 88"/>
              <a:gd name="T17" fmla="*/ 20 h 109"/>
              <a:gd name="T18" fmla="*/ 62 w 88"/>
              <a:gd name="T19" fmla="*/ 11 h 109"/>
              <a:gd name="T20" fmla="*/ 53 w 88"/>
              <a:gd name="T21" fmla="*/ 8 h 109"/>
              <a:gd name="T22" fmla="*/ 49 w 88"/>
              <a:gd name="T23" fmla="*/ 11 h 109"/>
              <a:gd name="T24" fmla="*/ 45 w 88"/>
              <a:gd name="T25" fmla="*/ 6 h 109"/>
              <a:gd name="T26" fmla="*/ 46 w 88"/>
              <a:gd name="T27" fmla="*/ 16 h 109"/>
              <a:gd name="T28" fmla="*/ 39 w 88"/>
              <a:gd name="T29" fmla="*/ 12 h 109"/>
              <a:gd name="T30" fmla="*/ 34 w 88"/>
              <a:gd name="T31" fmla="*/ 5 h 109"/>
              <a:gd name="T32" fmla="*/ 33 w 88"/>
              <a:gd name="T33" fmla="*/ 13 h 109"/>
              <a:gd name="T34" fmla="*/ 29 w 88"/>
              <a:gd name="T35" fmla="*/ 15 h 109"/>
              <a:gd name="T36" fmla="*/ 71 w 88"/>
              <a:gd name="T37" fmla="*/ 35 h 109"/>
              <a:gd name="T38" fmla="*/ 73 w 88"/>
              <a:gd name="T39" fmla="*/ 34 h 109"/>
              <a:gd name="T40" fmla="*/ 68 w 88"/>
              <a:gd name="T41" fmla="*/ 38 h 109"/>
              <a:gd name="T42" fmla="*/ 54 w 88"/>
              <a:gd name="T43" fmla="*/ 48 h 109"/>
              <a:gd name="T44" fmla="*/ 61 w 88"/>
              <a:gd name="T45" fmla="*/ 54 h 109"/>
              <a:gd name="T46" fmla="*/ 53 w 88"/>
              <a:gd name="T47" fmla="*/ 61 h 109"/>
              <a:gd name="T48" fmla="*/ 45 w 88"/>
              <a:gd name="T49" fmla="*/ 61 h 109"/>
              <a:gd name="T50" fmla="*/ 45 w 88"/>
              <a:gd name="T51" fmla="*/ 51 h 109"/>
              <a:gd name="T52" fmla="*/ 41 w 88"/>
              <a:gd name="T53" fmla="*/ 43 h 109"/>
              <a:gd name="T54" fmla="*/ 48 w 88"/>
              <a:gd name="T55" fmla="*/ 46 h 109"/>
              <a:gd name="T56" fmla="*/ 45 w 88"/>
              <a:gd name="T57" fmla="*/ 40 h 109"/>
              <a:gd name="T58" fmla="*/ 3 w 88"/>
              <a:gd name="T59" fmla="*/ 45 h 109"/>
              <a:gd name="T60" fmla="*/ 3 w 88"/>
              <a:gd name="T61" fmla="*/ 43 h 109"/>
              <a:gd name="T62" fmla="*/ 29 w 88"/>
              <a:gd name="T63" fmla="*/ 76 h 109"/>
              <a:gd name="T64" fmla="*/ 26 w 88"/>
              <a:gd name="T65" fmla="*/ 70 h 109"/>
              <a:gd name="T66" fmla="*/ 19 w 88"/>
              <a:gd name="T67" fmla="*/ 66 h 109"/>
              <a:gd name="T68" fmla="*/ 16 w 88"/>
              <a:gd name="T69" fmla="*/ 61 h 109"/>
              <a:gd name="T70" fmla="*/ 22 w 88"/>
              <a:gd name="T71" fmla="*/ 60 h 109"/>
              <a:gd name="T72" fmla="*/ 26 w 88"/>
              <a:gd name="T73" fmla="*/ 55 h 109"/>
              <a:gd name="T74" fmla="*/ 23 w 88"/>
              <a:gd name="T75" fmla="*/ 54 h 109"/>
              <a:gd name="T76" fmla="*/ 14 w 88"/>
              <a:gd name="T77" fmla="*/ 54 h 109"/>
              <a:gd name="T78" fmla="*/ 19 w 88"/>
              <a:gd name="T79" fmla="*/ 49 h 109"/>
              <a:gd name="T80" fmla="*/ 26 w 88"/>
              <a:gd name="T81" fmla="*/ 44 h 109"/>
              <a:gd name="T82" fmla="*/ 21 w 88"/>
              <a:gd name="T83" fmla="*/ 45 h 109"/>
              <a:gd name="T84" fmla="*/ 19 w 88"/>
              <a:gd name="T85" fmla="*/ 41 h 109"/>
              <a:gd name="T86" fmla="*/ 18 w 88"/>
              <a:gd name="T87" fmla="*/ 46 h 109"/>
              <a:gd name="T88" fmla="*/ 9 w 88"/>
              <a:gd name="T89" fmla="*/ 45 h 109"/>
              <a:gd name="T90" fmla="*/ 5 w 88"/>
              <a:gd name="T91" fmla="*/ 40 h 109"/>
              <a:gd name="T92" fmla="*/ 6 w 88"/>
              <a:gd name="T93" fmla="*/ 37 h 109"/>
              <a:gd name="T94" fmla="*/ 5 w 88"/>
              <a:gd name="T95" fmla="*/ 30 h 109"/>
              <a:gd name="T96" fmla="*/ 0 w 88"/>
              <a:gd name="T97" fmla="*/ 26 h 109"/>
              <a:gd name="T98" fmla="*/ 6 w 88"/>
              <a:gd name="T99" fmla="*/ 23 h 109"/>
              <a:gd name="T100" fmla="*/ 12 w 88"/>
              <a:gd name="T101" fmla="*/ 22 h 109"/>
              <a:gd name="T102" fmla="*/ 11 w 88"/>
              <a:gd name="T103" fmla="*/ 25 h 109"/>
              <a:gd name="T104" fmla="*/ 14 w 88"/>
              <a:gd name="T105" fmla="*/ 31 h 109"/>
              <a:gd name="T106" fmla="*/ 18 w 88"/>
              <a:gd name="T107" fmla="*/ 27 h 109"/>
              <a:gd name="T108" fmla="*/ 23 w 88"/>
              <a:gd name="T109" fmla="*/ 36 h 109"/>
              <a:gd name="T110" fmla="*/ 20 w 88"/>
              <a:gd name="T111" fmla="*/ 19 h 109"/>
              <a:gd name="T112" fmla="*/ 28 w 88"/>
              <a:gd name="T113" fmla="*/ 21 h 109"/>
              <a:gd name="T114" fmla="*/ 31 w 88"/>
              <a:gd name="T115" fmla="*/ 24 h 109"/>
              <a:gd name="T116" fmla="*/ 44 w 88"/>
              <a:gd name="T117" fmla="*/ 37 h 109"/>
              <a:gd name="T118" fmla="*/ 38 w 88"/>
              <a:gd name="T119" fmla="*/ 42 h 109"/>
              <a:gd name="T120" fmla="*/ 35 w 88"/>
              <a:gd name="T121" fmla="*/ 54 h 109"/>
              <a:gd name="T122" fmla="*/ 32 w 88"/>
              <a:gd name="T123" fmla="*/ 65 h 109"/>
              <a:gd name="T124" fmla="*/ 44 w 88"/>
              <a:gd name="T12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 h="109">
                <a:moveTo>
                  <a:pt x="82" y="10"/>
                </a:moveTo>
                <a:cubicBezTo>
                  <a:pt x="82" y="9"/>
                  <a:pt x="83" y="9"/>
                  <a:pt x="83" y="9"/>
                </a:cubicBezTo>
                <a:cubicBezTo>
                  <a:pt x="84" y="8"/>
                  <a:pt x="84" y="8"/>
                  <a:pt x="84" y="8"/>
                </a:cubicBezTo>
                <a:cubicBezTo>
                  <a:pt x="85" y="8"/>
                  <a:pt x="85" y="8"/>
                  <a:pt x="85" y="8"/>
                </a:cubicBezTo>
                <a:cubicBezTo>
                  <a:pt x="86" y="6"/>
                  <a:pt x="86" y="6"/>
                  <a:pt x="86" y="6"/>
                </a:cubicBezTo>
                <a:cubicBezTo>
                  <a:pt x="87" y="6"/>
                  <a:pt x="87" y="6"/>
                  <a:pt x="87" y="6"/>
                </a:cubicBezTo>
                <a:cubicBezTo>
                  <a:pt x="88" y="6"/>
                  <a:pt x="88" y="6"/>
                  <a:pt x="88" y="6"/>
                </a:cubicBezTo>
                <a:cubicBezTo>
                  <a:pt x="88" y="6"/>
                  <a:pt x="88" y="6"/>
                  <a:pt x="88" y="6"/>
                </a:cubicBezTo>
                <a:cubicBezTo>
                  <a:pt x="88" y="7"/>
                  <a:pt x="88" y="7"/>
                  <a:pt x="88" y="7"/>
                </a:cubicBezTo>
                <a:cubicBezTo>
                  <a:pt x="87" y="8"/>
                  <a:pt x="87" y="8"/>
                  <a:pt x="87" y="8"/>
                </a:cubicBezTo>
                <a:cubicBezTo>
                  <a:pt x="86" y="8"/>
                  <a:pt x="86" y="8"/>
                  <a:pt x="86" y="8"/>
                </a:cubicBezTo>
                <a:cubicBezTo>
                  <a:pt x="84" y="10"/>
                  <a:pt x="84" y="10"/>
                  <a:pt x="84" y="10"/>
                </a:cubicBezTo>
                <a:cubicBezTo>
                  <a:pt x="83" y="10"/>
                  <a:pt x="83" y="10"/>
                  <a:pt x="83" y="10"/>
                </a:cubicBezTo>
                <a:cubicBezTo>
                  <a:pt x="82" y="10"/>
                  <a:pt x="82" y="10"/>
                  <a:pt x="82" y="10"/>
                </a:cubicBezTo>
                <a:cubicBezTo>
                  <a:pt x="82" y="10"/>
                  <a:pt x="82" y="10"/>
                  <a:pt x="82" y="10"/>
                </a:cubicBezTo>
                <a:close/>
                <a:moveTo>
                  <a:pt x="66" y="11"/>
                </a:moveTo>
                <a:cubicBezTo>
                  <a:pt x="67" y="12"/>
                  <a:pt x="67" y="12"/>
                  <a:pt x="67" y="12"/>
                </a:cubicBezTo>
                <a:cubicBezTo>
                  <a:pt x="67" y="12"/>
                  <a:pt x="67" y="12"/>
                  <a:pt x="67" y="12"/>
                </a:cubicBezTo>
                <a:cubicBezTo>
                  <a:pt x="68" y="11"/>
                  <a:pt x="68" y="11"/>
                  <a:pt x="68" y="11"/>
                </a:cubicBezTo>
                <a:cubicBezTo>
                  <a:pt x="67" y="10"/>
                  <a:pt x="67" y="10"/>
                  <a:pt x="67" y="10"/>
                </a:cubicBezTo>
                <a:cubicBezTo>
                  <a:pt x="67" y="10"/>
                  <a:pt x="67" y="10"/>
                  <a:pt x="67" y="10"/>
                </a:cubicBezTo>
                <a:cubicBezTo>
                  <a:pt x="66" y="10"/>
                  <a:pt x="66" y="10"/>
                  <a:pt x="66" y="10"/>
                </a:cubicBezTo>
                <a:cubicBezTo>
                  <a:pt x="66" y="11"/>
                  <a:pt x="66" y="11"/>
                  <a:pt x="66" y="11"/>
                </a:cubicBezTo>
                <a:close/>
                <a:moveTo>
                  <a:pt x="36" y="1"/>
                </a:moveTo>
                <a:cubicBezTo>
                  <a:pt x="38" y="3"/>
                  <a:pt x="38" y="3"/>
                  <a:pt x="38" y="3"/>
                </a:cubicBezTo>
                <a:cubicBezTo>
                  <a:pt x="39" y="3"/>
                  <a:pt x="39" y="3"/>
                  <a:pt x="39" y="3"/>
                </a:cubicBezTo>
                <a:cubicBezTo>
                  <a:pt x="39" y="2"/>
                  <a:pt x="39" y="2"/>
                  <a:pt x="39" y="2"/>
                </a:cubicBezTo>
                <a:cubicBezTo>
                  <a:pt x="40" y="2"/>
                  <a:pt x="40" y="2"/>
                  <a:pt x="40" y="2"/>
                </a:cubicBezTo>
                <a:cubicBezTo>
                  <a:pt x="39" y="1"/>
                  <a:pt x="39" y="1"/>
                  <a:pt x="39" y="1"/>
                </a:cubicBezTo>
                <a:cubicBezTo>
                  <a:pt x="38" y="1"/>
                  <a:pt x="38" y="1"/>
                  <a:pt x="38" y="1"/>
                </a:cubicBezTo>
                <a:cubicBezTo>
                  <a:pt x="37" y="1"/>
                  <a:pt x="37" y="1"/>
                  <a:pt x="37" y="1"/>
                </a:cubicBezTo>
                <a:cubicBezTo>
                  <a:pt x="36" y="0"/>
                  <a:pt x="36" y="0"/>
                  <a:pt x="36" y="0"/>
                </a:cubicBezTo>
                <a:cubicBezTo>
                  <a:pt x="35" y="1"/>
                  <a:pt x="35" y="1"/>
                  <a:pt x="35" y="1"/>
                </a:cubicBezTo>
                <a:cubicBezTo>
                  <a:pt x="36" y="1"/>
                  <a:pt x="36" y="1"/>
                  <a:pt x="36" y="1"/>
                </a:cubicBezTo>
                <a:close/>
                <a:moveTo>
                  <a:pt x="30" y="12"/>
                </a:moveTo>
                <a:cubicBezTo>
                  <a:pt x="29" y="11"/>
                  <a:pt x="29" y="11"/>
                  <a:pt x="29" y="11"/>
                </a:cubicBezTo>
                <a:cubicBezTo>
                  <a:pt x="29" y="11"/>
                  <a:pt x="29" y="11"/>
                  <a:pt x="29" y="11"/>
                </a:cubicBezTo>
                <a:cubicBezTo>
                  <a:pt x="29" y="10"/>
                  <a:pt x="29" y="10"/>
                  <a:pt x="29" y="10"/>
                </a:cubicBezTo>
                <a:cubicBezTo>
                  <a:pt x="30" y="9"/>
                  <a:pt x="30" y="9"/>
                  <a:pt x="30" y="9"/>
                </a:cubicBezTo>
                <a:cubicBezTo>
                  <a:pt x="30" y="9"/>
                  <a:pt x="30" y="9"/>
                  <a:pt x="30" y="9"/>
                </a:cubicBezTo>
                <a:cubicBezTo>
                  <a:pt x="31" y="10"/>
                  <a:pt x="31" y="10"/>
                  <a:pt x="31" y="10"/>
                </a:cubicBezTo>
                <a:cubicBezTo>
                  <a:pt x="31" y="11"/>
                  <a:pt x="31" y="11"/>
                  <a:pt x="31" y="11"/>
                </a:cubicBezTo>
                <a:cubicBezTo>
                  <a:pt x="30" y="12"/>
                  <a:pt x="30" y="12"/>
                  <a:pt x="30" y="12"/>
                </a:cubicBezTo>
                <a:cubicBezTo>
                  <a:pt x="30" y="12"/>
                  <a:pt x="30" y="12"/>
                  <a:pt x="30" y="12"/>
                </a:cubicBezTo>
                <a:close/>
                <a:moveTo>
                  <a:pt x="36" y="21"/>
                </a:moveTo>
                <a:cubicBezTo>
                  <a:pt x="36" y="21"/>
                  <a:pt x="36" y="21"/>
                  <a:pt x="36" y="21"/>
                </a:cubicBezTo>
                <a:cubicBezTo>
                  <a:pt x="38" y="20"/>
                  <a:pt x="38" y="20"/>
                  <a:pt x="38" y="20"/>
                </a:cubicBezTo>
                <a:cubicBezTo>
                  <a:pt x="38" y="20"/>
                  <a:pt x="38" y="20"/>
                  <a:pt x="38" y="20"/>
                </a:cubicBezTo>
                <a:cubicBezTo>
                  <a:pt x="41" y="20"/>
                  <a:pt x="41" y="20"/>
                  <a:pt x="41" y="20"/>
                </a:cubicBezTo>
                <a:cubicBezTo>
                  <a:pt x="42" y="20"/>
                  <a:pt x="42" y="20"/>
                  <a:pt x="42" y="20"/>
                </a:cubicBezTo>
                <a:cubicBezTo>
                  <a:pt x="43" y="19"/>
                  <a:pt x="43" y="19"/>
                  <a:pt x="43" y="19"/>
                </a:cubicBezTo>
                <a:cubicBezTo>
                  <a:pt x="44" y="19"/>
                  <a:pt x="44" y="19"/>
                  <a:pt x="44" y="19"/>
                </a:cubicBezTo>
                <a:cubicBezTo>
                  <a:pt x="44" y="20"/>
                  <a:pt x="44" y="20"/>
                  <a:pt x="44" y="20"/>
                </a:cubicBezTo>
                <a:cubicBezTo>
                  <a:pt x="44" y="20"/>
                  <a:pt x="44" y="20"/>
                  <a:pt x="44" y="20"/>
                </a:cubicBezTo>
                <a:cubicBezTo>
                  <a:pt x="44" y="21"/>
                  <a:pt x="44" y="21"/>
                  <a:pt x="44" y="21"/>
                </a:cubicBezTo>
                <a:cubicBezTo>
                  <a:pt x="44" y="21"/>
                  <a:pt x="44" y="21"/>
                  <a:pt x="44" y="21"/>
                </a:cubicBezTo>
                <a:cubicBezTo>
                  <a:pt x="43" y="22"/>
                  <a:pt x="43" y="22"/>
                  <a:pt x="43" y="22"/>
                </a:cubicBezTo>
                <a:cubicBezTo>
                  <a:pt x="42" y="21"/>
                  <a:pt x="42" y="21"/>
                  <a:pt x="42" y="21"/>
                </a:cubicBezTo>
                <a:cubicBezTo>
                  <a:pt x="40" y="21"/>
                  <a:pt x="40" y="21"/>
                  <a:pt x="40" y="21"/>
                </a:cubicBezTo>
                <a:cubicBezTo>
                  <a:pt x="39" y="21"/>
                  <a:pt x="39" y="21"/>
                  <a:pt x="39" y="21"/>
                </a:cubicBezTo>
                <a:cubicBezTo>
                  <a:pt x="39" y="22"/>
                  <a:pt x="39" y="22"/>
                  <a:pt x="39" y="22"/>
                </a:cubicBezTo>
                <a:cubicBezTo>
                  <a:pt x="39" y="22"/>
                  <a:pt x="39" y="22"/>
                  <a:pt x="39" y="22"/>
                </a:cubicBezTo>
                <a:cubicBezTo>
                  <a:pt x="41" y="22"/>
                  <a:pt x="41" y="22"/>
                  <a:pt x="41" y="22"/>
                </a:cubicBezTo>
                <a:cubicBezTo>
                  <a:pt x="42" y="23"/>
                  <a:pt x="42" y="23"/>
                  <a:pt x="42" y="23"/>
                </a:cubicBezTo>
                <a:cubicBezTo>
                  <a:pt x="42" y="23"/>
                  <a:pt x="42" y="23"/>
                  <a:pt x="42" y="23"/>
                </a:cubicBezTo>
                <a:cubicBezTo>
                  <a:pt x="41" y="24"/>
                  <a:pt x="41" y="24"/>
                  <a:pt x="41" y="24"/>
                </a:cubicBezTo>
                <a:cubicBezTo>
                  <a:pt x="40" y="23"/>
                  <a:pt x="40" y="23"/>
                  <a:pt x="40" y="23"/>
                </a:cubicBezTo>
                <a:cubicBezTo>
                  <a:pt x="40" y="23"/>
                  <a:pt x="40" y="23"/>
                  <a:pt x="40" y="23"/>
                </a:cubicBezTo>
                <a:cubicBezTo>
                  <a:pt x="39" y="24"/>
                  <a:pt x="39" y="24"/>
                  <a:pt x="39" y="24"/>
                </a:cubicBezTo>
                <a:cubicBezTo>
                  <a:pt x="38" y="23"/>
                  <a:pt x="38" y="23"/>
                  <a:pt x="38" y="23"/>
                </a:cubicBezTo>
                <a:cubicBezTo>
                  <a:pt x="36" y="22"/>
                  <a:pt x="36" y="22"/>
                  <a:pt x="36" y="22"/>
                </a:cubicBezTo>
                <a:cubicBezTo>
                  <a:pt x="35" y="23"/>
                  <a:pt x="35" y="23"/>
                  <a:pt x="35" y="23"/>
                </a:cubicBezTo>
                <a:cubicBezTo>
                  <a:pt x="35" y="23"/>
                  <a:pt x="35" y="23"/>
                  <a:pt x="35" y="23"/>
                </a:cubicBezTo>
                <a:cubicBezTo>
                  <a:pt x="36" y="24"/>
                  <a:pt x="36" y="24"/>
                  <a:pt x="36" y="24"/>
                </a:cubicBezTo>
                <a:cubicBezTo>
                  <a:pt x="38" y="26"/>
                  <a:pt x="38" y="26"/>
                  <a:pt x="38" y="26"/>
                </a:cubicBezTo>
                <a:cubicBezTo>
                  <a:pt x="39" y="26"/>
                  <a:pt x="39" y="26"/>
                  <a:pt x="39" y="26"/>
                </a:cubicBezTo>
                <a:cubicBezTo>
                  <a:pt x="40" y="26"/>
                  <a:pt x="40" y="26"/>
                  <a:pt x="40" y="26"/>
                </a:cubicBezTo>
                <a:cubicBezTo>
                  <a:pt x="40" y="26"/>
                  <a:pt x="40" y="26"/>
                  <a:pt x="40" y="26"/>
                </a:cubicBezTo>
                <a:cubicBezTo>
                  <a:pt x="41" y="27"/>
                  <a:pt x="41" y="27"/>
                  <a:pt x="41" y="27"/>
                </a:cubicBezTo>
                <a:cubicBezTo>
                  <a:pt x="41" y="28"/>
                  <a:pt x="41" y="28"/>
                  <a:pt x="41" y="28"/>
                </a:cubicBezTo>
                <a:cubicBezTo>
                  <a:pt x="42" y="28"/>
                  <a:pt x="42" y="28"/>
                  <a:pt x="42" y="28"/>
                </a:cubicBezTo>
                <a:cubicBezTo>
                  <a:pt x="43" y="28"/>
                  <a:pt x="43" y="28"/>
                  <a:pt x="43" y="28"/>
                </a:cubicBezTo>
                <a:cubicBezTo>
                  <a:pt x="45" y="28"/>
                  <a:pt x="45" y="28"/>
                  <a:pt x="45" y="28"/>
                </a:cubicBezTo>
                <a:cubicBezTo>
                  <a:pt x="46" y="27"/>
                  <a:pt x="46" y="27"/>
                  <a:pt x="46" y="27"/>
                </a:cubicBezTo>
                <a:cubicBezTo>
                  <a:pt x="48" y="27"/>
                  <a:pt x="48" y="27"/>
                  <a:pt x="48" y="27"/>
                </a:cubicBezTo>
                <a:cubicBezTo>
                  <a:pt x="49" y="27"/>
                  <a:pt x="49" y="27"/>
                  <a:pt x="49" y="27"/>
                </a:cubicBezTo>
                <a:cubicBezTo>
                  <a:pt x="49" y="27"/>
                  <a:pt x="49" y="27"/>
                  <a:pt x="49" y="27"/>
                </a:cubicBezTo>
                <a:cubicBezTo>
                  <a:pt x="49" y="28"/>
                  <a:pt x="49" y="28"/>
                  <a:pt x="49" y="28"/>
                </a:cubicBezTo>
                <a:cubicBezTo>
                  <a:pt x="49" y="30"/>
                  <a:pt x="49" y="30"/>
                  <a:pt x="49" y="30"/>
                </a:cubicBezTo>
                <a:cubicBezTo>
                  <a:pt x="51" y="31"/>
                  <a:pt x="51" y="31"/>
                  <a:pt x="51" y="31"/>
                </a:cubicBezTo>
                <a:cubicBezTo>
                  <a:pt x="52" y="31"/>
                  <a:pt x="52" y="31"/>
                  <a:pt x="52" y="31"/>
                </a:cubicBezTo>
                <a:cubicBezTo>
                  <a:pt x="54" y="30"/>
                  <a:pt x="54" y="30"/>
                  <a:pt x="54" y="30"/>
                </a:cubicBezTo>
                <a:cubicBezTo>
                  <a:pt x="54" y="30"/>
                  <a:pt x="54" y="30"/>
                  <a:pt x="54" y="30"/>
                </a:cubicBezTo>
                <a:cubicBezTo>
                  <a:pt x="54" y="29"/>
                  <a:pt x="54" y="29"/>
                  <a:pt x="54" y="29"/>
                </a:cubicBezTo>
                <a:cubicBezTo>
                  <a:pt x="54" y="28"/>
                  <a:pt x="54" y="28"/>
                  <a:pt x="54" y="28"/>
                </a:cubicBezTo>
                <a:cubicBezTo>
                  <a:pt x="55" y="28"/>
                  <a:pt x="55" y="28"/>
                  <a:pt x="55" y="28"/>
                </a:cubicBezTo>
                <a:cubicBezTo>
                  <a:pt x="56" y="26"/>
                  <a:pt x="56" y="26"/>
                  <a:pt x="56" y="26"/>
                </a:cubicBezTo>
                <a:cubicBezTo>
                  <a:pt x="57" y="26"/>
                  <a:pt x="57" y="26"/>
                  <a:pt x="57" y="26"/>
                </a:cubicBezTo>
                <a:cubicBezTo>
                  <a:pt x="57" y="27"/>
                  <a:pt x="57" y="27"/>
                  <a:pt x="57" y="27"/>
                </a:cubicBezTo>
                <a:cubicBezTo>
                  <a:pt x="58" y="28"/>
                  <a:pt x="58" y="28"/>
                  <a:pt x="58" y="28"/>
                </a:cubicBezTo>
                <a:cubicBezTo>
                  <a:pt x="59" y="28"/>
                  <a:pt x="59" y="28"/>
                  <a:pt x="59" y="28"/>
                </a:cubicBezTo>
                <a:cubicBezTo>
                  <a:pt x="61" y="27"/>
                  <a:pt x="61" y="27"/>
                  <a:pt x="61" y="27"/>
                </a:cubicBezTo>
                <a:cubicBezTo>
                  <a:pt x="61" y="26"/>
                  <a:pt x="61" y="26"/>
                  <a:pt x="61" y="26"/>
                </a:cubicBezTo>
                <a:cubicBezTo>
                  <a:pt x="61" y="24"/>
                  <a:pt x="61" y="24"/>
                  <a:pt x="61" y="24"/>
                </a:cubicBezTo>
                <a:cubicBezTo>
                  <a:pt x="61" y="23"/>
                  <a:pt x="61" y="23"/>
                  <a:pt x="61" y="23"/>
                </a:cubicBezTo>
                <a:cubicBezTo>
                  <a:pt x="61" y="23"/>
                  <a:pt x="61" y="23"/>
                  <a:pt x="61" y="23"/>
                </a:cubicBezTo>
                <a:cubicBezTo>
                  <a:pt x="62" y="22"/>
                  <a:pt x="62" y="22"/>
                  <a:pt x="62" y="22"/>
                </a:cubicBezTo>
                <a:cubicBezTo>
                  <a:pt x="63" y="20"/>
                  <a:pt x="63" y="20"/>
                  <a:pt x="63" y="20"/>
                </a:cubicBezTo>
                <a:cubicBezTo>
                  <a:pt x="64" y="19"/>
                  <a:pt x="64" y="19"/>
                  <a:pt x="64" y="19"/>
                </a:cubicBezTo>
                <a:cubicBezTo>
                  <a:pt x="65" y="17"/>
                  <a:pt x="65" y="17"/>
                  <a:pt x="65" y="17"/>
                </a:cubicBezTo>
                <a:cubicBezTo>
                  <a:pt x="66" y="16"/>
                  <a:pt x="66" y="16"/>
                  <a:pt x="66" y="16"/>
                </a:cubicBezTo>
                <a:cubicBezTo>
                  <a:pt x="66" y="15"/>
                  <a:pt x="66" y="15"/>
                  <a:pt x="66" y="15"/>
                </a:cubicBezTo>
                <a:cubicBezTo>
                  <a:pt x="65" y="14"/>
                  <a:pt x="65" y="14"/>
                  <a:pt x="65" y="14"/>
                </a:cubicBezTo>
                <a:cubicBezTo>
                  <a:pt x="65" y="13"/>
                  <a:pt x="65" y="13"/>
                  <a:pt x="65" y="13"/>
                </a:cubicBezTo>
                <a:cubicBezTo>
                  <a:pt x="65" y="13"/>
                  <a:pt x="65" y="13"/>
                  <a:pt x="65" y="13"/>
                </a:cubicBezTo>
                <a:cubicBezTo>
                  <a:pt x="65" y="12"/>
                  <a:pt x="65" y="12"/>
                  <a:pt x="65" y="12"/>
                </a:cubicBezTo>
                <a:cubicBezTo>
                  <a:pt x="65" y="12"/>
                  <a:pt x="65" y="12"/>
                  <a:pt x="65" y="12"/>
                </a:cubicBezTo>
                <a:cubicBezTo>
                  <a:pt x="63" y="12"/>
                  <a:pt x="63" y="12"/>
                  <a:pt x="63" y="12"/>
                </a:cubicBezTo>
                <a:cubicBezTo>
                  <a:pt x="62" y="11"/>
                  <a:pt x="62" y="11"/>
                  <a:pt x="62" y="11"/>
                </a:cubicBezTo>
                <a:cubicBezTo>
                  <a:pt x="62" y="11"/>
                  <a:pt x="62" y="11"/>
                  <a:pt x="62" y="11"/>
                </a:cubicBezTo>
                <a:cubicBezTo>
                  <a:pt x="59" y="11"/>
                  <a:pt x="59" y="11"/>
                  <a:pt x="59" y="11"/>
                </a:cubicBezTo>
                <a:cubicBezTo>
                  <a:pt x="58" y="11"/>
                  <a:pt x="58" y="11"/>
                  <a:pt x="58" y="11"/>
                </a:cubicBezTo>
                <a:cubicBezTo>
                  <a:pt x="57" y="10"/>
                  <a:pt x="57" y="10"/>
                  <a:pt x="57" y="10"/>
                </a:cubicBezTo>
                <a:cubicBezTo>
                  <a:pt x="56" y="10"/>
                  <a:pt x="56" y="10"/>
                  <a:pt x="56" y="10"/>
                </a:cubicBezTo>
                <a:cubicBezTo>
                  <a:pt x="55" y="10"/>
                  <a:pt x="55" y="10"/>
                  <a:pt x="55" y="10"/>
                </a:cubicBezTo>
                <a:cubicBezTo>
                  <a:pt x="55" y="9"/>
                  <a:pt x="55" y="9"/>
                  <a:pt x="55" y="9"/>
                </a:cubicBezTo>
                <a:cubicBezTo>
                  <a:pt x="55" y="9"/>
                  <a:pt x="55" y="9"/>
                  <a:pt x="55" y="9"/>
                </a:cubicBezTo>
                <a:cubicBezTo>
                  <a:pt x="54" y="9"/>
                  <a:pt x="54" y="9"/>
                  <a:pt x="54" y="9"/>
                </a:cubicBezTo>
                <a:cubicBezTo>
                  <a:pt x="54" y="9"/>
                  <a:pt x="54" y="9"/>
                  <a:pt x="54" y="9"/>
                </a:cubicBezTo>
                <a:cubicBezTo>
                  <a:pt x="54" y="8"/>
                  <a:pt x="54" y="8"/>
                  <a:pt x="54" y="8"/>
                </a:cubicBezTo>
                <a:cubicBezTo>
                  <a:pt x="54" y="7"/>
                  <a:pt x="54" y="7"/>
                  <a:pt x="54" y="7"/>
                </a:cubicBezTo>
                <a:cubicBezTo>
                  <a:pt x="53" y="8"/>
                  <a:pt x="53" y="8"/>
                  <a:pt x="53" y="8"/>
                </a:cubicBezTo>
                <a:cubicBezTo>
                  <a:pt x="53" y="9"/>
                  <a:pt x="53" y="9"/>
                  <a:pt x="53" y="9"/>
                </a:cubicBezTo>
                <a:cubicBezTo>
                  <a:pt x="52" y="9"/>
                  <a:pt x="52" y="9"/>
                  <a:pt x="52" y="9"/>
                </a:cubicBezTo>
                <a:cubicBezTo>
                  <a:pt x="52" y="8"/>
                  <a:pt x="52" y="8"/>
                  <a:pt x="52" y="8"/>
                </a:cubicBezTo>
                <a:cubicBezTo>
                  <a:pt x="52" y="8"/>
                  <a:pt x="52" y="8"/>
                  <a:pt x="52" y="8"/>
                </a:cubicBezTo>
                <a:cubicBezTo>
                  <a:pt x="51" y="8"/>
                  <a:pt x="51" y="8"/>
                  <a:pt x="51" y="8"/>
                </a:cubicBezTo>
                <a:cubicBezTo>
                  <a:pt x="51" y="9"/>
                  <a:pt x="51" y="9"/>
                  <a:pt x="51" y="9"/>
                </a:cubicBezTo>
                <a:cubicBezTo>
                  <a:pt x="51" y="9"/>
                  <a:pt x="51" y="9"/>
                  <a:pt x="51" y="9"/>
                </a:cubicBezTo>
                <a:cubicBezTo>
                  <a:pt x="50" y="10"/>
                  <a:pt x="50" y="10"/>
                  <a:pt x="50" y="10"/>
                </a:cubicBezTo>
                <a:cubicBezTo>
                  <a:pt x="50" y="11"/>
                  <a:pt x="50" y="11"/>
                  <a:pt x="50" y="11"/>
                </a:cubicBezTo>
                <a:cubicBezTo>
                  <a:pt x="50" y="12"/>
                  <a:pt x="50" y="12"/>
                  <a:pt x="50" y="12"/>
                </a:cubicBezTo>
                <a:cubicBezTo>
                  <a:pt x="49" y="12"/>
                  <a:pt x="49" y="12"/>
                  <a:pt x="49" y="12"/>
                </a:cubicBezTo>
                <a:cubicBezTo>
                  <a:pt x="49" y="11"/>
                  <a:pt x="49" y="11"/>
                  <a:pt x="49" y="11"/>
                </a:cubicBezTo>
                <a:cubicBezTo>
                  <a:pt x="49" y="11"/>
                  <a:pt x="49" y="11"/>
                  <a:pt x="49" y="11"/>
                </a:cubicBezTo>
                <a:cubicBezTo>
                  <a:pt x="49" y="11"/>
                  <a:pt x="49" y="11"/>
                  <a:pt x="49" y="11"/>
                </a:cubicBezTo>
                <a:cubicBezTo>
                  <a:pt x="48" y="12"/>
                  <a:pt x="48" y="12"/>
                  <a:pt x="48" y="12"/>
                </a:cubicBezTo>
                <a:cubicBezTo>
                  <a:pt x="48" y="12"/>
                  <a:pt x="48" y="12"/>
                  <a:pt x="48" y="12"/>
                </a:cubicBezTo>
                <a:cubicBezTo>
                  <a:pt x="48" y="11"/>
                  <a:pt x="48" y="11"/>
                  <a:pt x="48" y="11"/>
                </a:cubicBezTo>
                <a:cubicBezTo>
                  <a:pt x="48" y="9"/>
                  <a:pt x="48" y="9"/>
                  <a:pt x="48" y="9"/>
                </a:cubicBezTo>
                <a:cubicBezTo>
                  <a:pt x="48" y="7"/>
                  <a:pt x="48" y="7"/>
                  <a:pt x="48" y="7"/>
                </a:cubicBezTo>
                <a:cubicBezTo>
                  <a:pt x="48" y="6"/>
                  <a:pt x="48" y="6"/>
                  <a:pt x="48" y="6"/>
                </a:cubicBezTo>
                <a:cubicBezTo>
                  <a:pt x="47" y="6"/>
                  <a:pt x="47" y="6"/>
                  <a:pt x="47" y="6"/>
                </a:cubicBezTo>
                <a:cubicBezTo>
                  <a:pt x="46" y="5"/>
                  <a:pt x="46" y="5"/>
                  <a:pt x="46" y="5"/>
                </a:cubicBezTo>
                <a:cubicBezTo>
                  <a:pt x="46" y="5"/>
                  <a:pt x="46" y="5"/>
                  <a:pt x="46" y="5"/>
                </a:cubicBezTo>
                <a:cubicBezTo>
                  <a:pt x="45" y="6"/>
                  <a:pt x="45" y="6"/>
                  <a:pt x="45" y="6"/>
                </a:cubicBezTo>
                <a:cubicBezTo>
                  <a:pt x="46" y="7"/>
                  <a:pt x="46" y="7"/>
                  <a:pt x="46" y="7"/>
                </a:cubicBezTo>
                <a:cubicBezTo>
                  <a:pt x="46" y="7"/>
                  <a:pt x="46" y="7"/>
                  <a:pt x="46" y="7"/>
                </a:cubicBezTo>
                <a:cubicBezTo>
                  <a:pt x="46" y="7"/>
                  <a:pt x="46" y="7"/>
                  <a:pt x="46" y="7"/>
                </a:cubicBezTo>
                <a:cubicBezTo>
                  <a:pt x="45" y="6"/>
                  <a:pt x="45" y="6"/>
                  <a:pt x="45" y="6"/>
                </a:cubicBezTo>
                <a:cubicBezTo>
                  <a:pt x="45" y="7"/>
                  <a:pt x="45" y="7"/>
                  <a:pt x="45" y="7"/>
                </a:cubicBezTo>
                <a:cubicBezTo>
                  <a:pt x="45" y="8"/>
                  <a:pt x="45" y="8"/>
                  <a:pt x="45" y="8"/>
                </a:cubicBezTo>
                <a:cubicBezTo>
                  <a:pt x="46" y="9"/>
                  <a:pt x="46" y="9"/>
                  <a:pt x="46" y="9"/>
                </a:cubicBezTo>
                <a:cubicBezTo>
                  <a:pt x="46" y="10"/>
                  <a:pt x="46" y="10"/>
                  <a:pt x="46" y="10"/>
                </a:cubicBezTo>
                <a:cubicBezTo>
                  <a:pt x="45" y="11"/>
                  <a:pt x="45" y="11"/>
                  <a:pt x="45" y="11"/>
                </a:cubicBezTo>
                <a:cubicBezTo>
                  <a:pt x="45" y="13"/>
                  <a:pt x="45" y="13"/>
                  <a:pt x="45" y="13"/>
                </a:cubicBezTo>
                <a:cubicBezTo>
                  <a:pt x="46" y="14"/>
                  <a:pt x="46" y="14"/>
                  <a:pt x="46" y="14"/>
                </a:cubicBezTo>
                <a:cubicBezTo>
                  <a:pt x="46" y="16"/>
                  <a:pt x="46" y="16"/>
                  <a:pt x="46" y="16"/>
                </a:cubicBezTo>
                <a:cubicBezTo>
                  <a:pt x="45" y="16"/>
                  <a:pt x="45" y="16"/>
                  <a:pt x="45" y="16"/>
                </a:cubicBezTo>
                <a:cubicBezTo>
                  <a:pt x="45" y="14"/>
                  <a:pt x="45" y="14"/>
                  <a:pt x="45" y="14"/>
                </a:cubicBezTo>
                <a:cubicBezTo>
                  <a:pt x="44" y="13"/>
                  <a:pt x="44" y="13"/>
                  <a:pt x="44" y="13"/>
                </a:cubicBezTo>
                <a:cubicBezTo>
                  <a:pt x="43" y="13"/>
                  <a:pt x="43" y="13"/>
                  <a:pt x="43" y="13"/>
                </a:cubicBezTo>
                <a:cubicBezTo>
                  <a:pt x="42" y="12"/>
                  <a:pt x="42" y="12"/>
                  <a:pt x="42" y="12"/>
                </a:cubicBezTo>
                <a:cubicBezTo>
                  <a:pt x="43" y="11"/>
                  <a:pt x="43" y="11"/>
                  <a:pt x="43" y="11"/>
                </a:cubicBezTo>
                <a:cubicBezTo>
                  <a:pt x="43" y="10"/>
                  <a:pt x="43" y="10"/>
                  <a:pt x="43" y="10"/>
                </a:cubicBezTo>
                <a:cubicBezTo>
                  <a:pt x="42" y="10"/>
                  <a:pt x="42" y="10"/>
                  <a:pt x="42" y="10"/>
                </a:cubicBezTo>
                <a:cubicBezTo>
                  <a:pt x="41" y="11"/>
                  <a:pt x="41" y="11"/>
                  <a:pt x="41" y="11"/>
                </a:cubicBezTo>
                <a:cubicBezTo>
                  <a:pt x="41" y="11"/>
                  <a:pt x="41" y="11"/>
                  <a:pt x="41" y="11"/>
                </a:cubicBezTo>
                <a:cubicBezTo>
                  <a:pt x="40" y="11"/>
                  <a:pt x="40" y="11"/>
                  <a:pt x="40" y="11"/>
                </a:cubicBezTo>
                <a:cubicBezTo>
                  <a:pt x="39" y="12"/>
                  <a:pt x="39" y="12"/>
                  <a:pt x="39" y="12"/>
                </a:cubicBezTo>
                <a:cubicBezTo>
                  <a:pt x="38" y="11"/>
                  <a:pt x="38" y="11"/>
                  <a:pt x="38" y="11"/>
                </a:cubicBezTo>
                <a:cubicBezTo>
                  <a:pt x="38" y="11"/>
                  <a:pt x="38" y="11"/>
                  <a:pt x="38" y="11"/>
                </a:cubicBezTo>
                <a:cubicBezTo>
                  <a:pt x="38" y="10"/>
                  <a:pt x="38" y="10"/>
                  <a:pt x="38" y="10"/>
                </a:cubicBezTo>
                <a:cubicBezTo>
                  <a:pt x="38" y="10"/>
                  <a:pt x="38" y="10"/>
                  <a:pt x="38" y="10"/>
                </a:cubicBezTo>
                <a:cubicBezTo>
                  <a:pt x="37" y="9"/>
                  <a:pt x="37" y="9"/>
                  <a:pt x="37" y="9"/>
                </a:cubicBezTo>
                <a:cubicBezTo>
                  <a:pt x="37" y="8"/>
                  <a:pt x="37" y="8"/>
                  <a:pt x="37" y="8"/>
                </a:cubicBezTo>
                <a:cubicBezTo>
                  <a:pt x="36" y="8"/>
                  <a:pt x="36" y="8"/>
                  <a:pt x="36" y="8"/>
                </a:cubicBezTo>
                <a:cubicBezTo>
                  <a:pt x="35" y="8"/>
                  <a:pt x="35" y="8"/>
                  <a:pt x="35" y="8"/>
                </a:cubicBezTo>
                <a:cubicBezTo>
                  <a:pt x="34" y="7"/>
                  <a:pt x="34" y="7"/>
                  <a:pt x="34" y="7"/>
                </a:cubicBezTo>
                <a:cubicBezTo>
                  <a:pt x="35" y="6"/>
                  <a:pt x="35" y="6"/>
                  <a:pt x="35" y="6"/>
                </a:cubicBezTo>
                <a:cubicBezTo>
                  <a:pt x="34" y="5"/>
                  <a:pt x="34" y="5"/>
                  <a:pt x="34" y="5"/>
                </a:cubicBezTo>
                <a:cubicBezTo>
                  <a:pt x="34" y="5"/>
                  <a:pt x="34" y="5"/>
                  <a:pt x="34" y="5"/>
                </a:cubicBezTo>
                <a:cubicBezTo>
                  <a:pt x="33" y="6"/>
                  <a:pt x="33" y="6"/>
                  <a:pt x="33" y="6"/>
                </a:cubicBezTo>
                <a:cubicBezTo>
                  <a:pt x="33" y="8"/>
                  <a:pt x="33" y="8"/>
                  <a:pt x="33" y="8"/>
                </a:cubicBezTo>
                <a:cubicBezTo>
                  <a:pt x="33" y="9"/>
                  <a:pt x="33" y="9"/>
                  <a:pt x="33" y="9"/>
                </a:cubicBezTo>
                <a:cubicBezTo>
                  <a:pt x="34" y="10"/>
                  <a:pt x="34" y="10"/>
                  <a:pt x="34" y="10"/>
                </a:cubicBezTo>
                <a:cubicBezTo>
                  <a:pt x="34" y="12"/>
                  <a:pt x="34" y="12"/>
                  <a:pt x="34" y="12"/>
                </a:cubicBezTo>
                <a:cubicBezTo>
                  <a:pt x="34" y="12"/>
                  <a:pt x="34" y="12"/>
                  <a:pt x="34" y="12"/>
                </a:cubicBezTo>
                <a:cubicBezTo>
                  <a:pt x="33" y="11"/>
                  <a:pt x="33" y="11"/>
                  <a:pt x="33" y="11"/>
                </a:cubicBezTo>
                <a:cubicBezTo>
                  <a:pt x="33" y="10"/>
                  <a:pt x="33" y="10"/>
                  <a:pt x="33" y="10"/>
                </a:cubicBezTo>
                <a:cubicBezTo>
                  <a:pt x="32" y="10"/>
                  <a:pt x="32" y="10"/>
                  <a:pt x="32" y="10"/>
                </a:cubicBezTo>
                <a:cubicBezTo>
                  <a:pt x="32" y="11"/>
                  <a:pt x="32" y="11"/>
                  <a:pt x="32" y="11"/>
                </a:cubicBezTo>
                <a:cubicBezTo>
                  <a:pt x="32" y="12"/>
                  <a:pt x="32" y="12"/>
                  <a:pt x="32" y="12"/>
                </a:cubicBezTo>
                <a:cubicBezTo>
                  <a:pt x="33" y="13"/>
                  <a:pt x="33" y="13"/>
                  <a:pt x="33" y="13"/>
                </a:cubicBezTo>
                <a:cubicBezTo>
                  <a:pt x="33" y="14"/>
                  <a:pt x="33" y="14"/>
                  <a:pt x="33" y="14"/>
                </a:cubicBezTo>
                <a:cubicBezTo>
                  <a:pt x="33" y="15"/>
                  <a:pt x="33" y="15"/>
                  <a:pt x="33" y="15"/>
                </a:cubicBezTo>
                <a:cubicBezTo>
                  <a:pt x="32" y="15"/>
                  <a:pt x="32" y="15"/>
                  <a:pt x="32" y="15"/>
                </a:cubicBezTo>
                <a:cubicBezTo>
                  <a:pt x="32" y="13"/>
                  <a:pt x="32" y="13"/>
                  <a:pt x="32" y="13"/>
                </a:cubicBezTo>
                <a:cubicBezTo>
                  <a:pt x="31" y="13"/>
                  <a:pt x="31" y="13"/>
                  <a:pt x="31" y="13"/>
                </a:cubicBezTo>
                <a:cubicBezTo>
                  <a:pt x="29" y="13"/>
                  <a:pt x="29" y="13"/>
                  <a:pt x="29" y="13"/>
                </a:cubicBezTo>
                <a:cubicBezTo>
                  <a:pt x="28" y="12"/>
                  <a:pt x="28" y="12"/>
                  <a:pt x="28" y="12"/>
                </a:cubicBezTo>
                <a:cubicBezTo>
                  <a:pt x="28" y="13"/>
                  <a:pt x="28" y="13"/>
                  <a:pt x="28" y="13"/>
                </a:cubicBezTo>
                <a:cubicBezTo>
                  <a:pt x="28" y="14"/>
                  <a:pt x="28" y="14"/>
                  <a:pt x="28" y="14"/>
                </a:cubicBezTo>
                <a:cubicBezTo>
                  <a:pt x="29" y="14"/>
                  <a:pt x="29" y="14"/>
                  <a:pt x="29" y="14"/>
                </a:cubicBezTo>
                <a:cubicBezTo>
                  <a:pt x="30" y="15"/>
                  <a:pt x="30" y="15"/>
                  <a:pt x="30" y="15"/>
                </a:cubicBezTo>
                <a:cubicBezTo>
                  <a:pt x="29" y="15"/>
                  <a:pt x="29" y="15"/>
                  <a:pt x="29" y="15"/>
                </a:cubicBezTo>
                <a:cubicBezTo>
                  <a:pt x="29" y="16"/>
                  <a:pt x="29" y="16"/>
                  <a:pt x="29" y="16"/>
                </a:cubicBezTo>
                <a:cubicBezTo>
                  <a:pt x="31" y="16"/>
                  <a:pt x="31" y="16"/>
                  <a:pt x="31" y="16"/>
                </a:cubicBezTo>
                <a:cubicBezTo>
                  <a:pt x="31" y="16"/>
                  <a:pt x="31" y="16"/>
                  <a:pt x="31" y="16"/>
                </a:cubicBezTo>
                <a:cubicBezTo>
                  <a:pt x="29" y="17"/>
                  <a:pt x="29" y="17"/>
                  <a:pt x="29" y="17"/>
                </a:cubicBezTo>
                <a:cubicBezTo>
                  <a:pt x="29" y="18"/>
                  <a:pt x="29" y="18"/>
                  <a:pt x="29" y="18"/>
                </a:cubicBezTo>
                <a:cubicBezTo>
                  <a:pt x="30" y="20"/>
                  <a:pt x="30" y="20"/>
                  <a:pt x="30" y="20"/>
                </a:cubicBezTo>
                <a:cubicBezTo>
                  <a:pt x="31" y="21"/>
                  <a:pt x="31" y="21"/>
                  <a:pt x="31" y="21"/>
                </a:cubicBezTo>
                <a:cubicBezTo>
                  <a:pt x="32" y="21"/>
                  <a:pt x="32" y="21"/>
                  <a:pt x="32" y="21"/>
                </a:cubicBezTo>
                <a:cubicBezTo>
                  <a:pt x="34" y="21"/>
                  <a:pt x="34" y="21"/>
                  <a:pt x="34" y="21"/>
                </a:cubicBezTo>
                <a:cubicBezTo>
                  <a:pt x="35" y="21"/>
                  <a:pt x="35" y="21"/>
                  <a:pt x="35" y="21"/>
                </a:cubicBezTo>
                <a:cubicBezTo>
                  <a:pt x="36" y="21"/>
                  <a:pt x="36" y="21"/>
                  <a:pt x="36" y="21"/>
                </a:cubicBezTo>
                <a:close/>
                <a:moveTo>
                  <a:pt x="71" y="35"/>
                </a:moveTo>
                <a:cubicBezTo>
                  <a:pt x="72" y="34"/>
                  <a:pt x="72" y="34"/>
                  <a:pt x="72" y="34"/>
                </a:cubicBezTo>
                <a:cubicBezTo>
                  <a:pt x="73" y="33"/>
                  <a:pt x="73" y="33"/>
                  <a:pt x="73" y="33"/>
                </a:cubicBezTo>
                <a:cubicBezTo>
                  <a:pt x="74" y="33"/>
                  <a:pt x="74" y="33"/>
                  <a:pt x="74" y="33"/>
                </a:cubicBezTo>
                <a:cubicBezTo>
                  <a:pt x="75" y="32"/>
                  <a:pt x="75" y="32"/>
                  <a:pt x="75" y="32"/>
                </a:cubicBezTo>
                <a:cubicBezTo>
                  <a:pt x="75" y="33"/>
                  <a:pt x="75" y="33"/>
                  <a:pt x="75" y="33"/>
                </a:cubicBezTo>
                <a:cubicBezTo>
                  <a:pt x="77" y="33"/>
                  <a:pt x="77" y="33"/>
                  <a:pt x="77" y="33"/>
                </a:cubicBezTo>
                <a:cubicBezTo>
                  <a:pt x="78" y="33"/>
                  <a:pt x="78" y="33"/>
                  <a:pt x="78" y="33"/>
                </a:cubicBezTo>
                <a:cubicBezTo>
                  <a:pt x="77" y="34"/>
                  <a:pt x="77" y="34"/>
                  <a:pt x="77" y="34"/>
                </a:cubicBezTo>
                <a:cubicBezTo>
                  <a:pt x="76" y="35"/>
                  <a:pt x="76" y="35"/>
                  <a:pt x="76" y="35"/>
                </a:cubicBezTo>
                <a:cubicBezTo>
                  <a:pt x="75" y="34"/>
                  <a:pt x="75" y="34"/>
                  <a:pt x="75" y="34"/>
                </a:cubicBezTo>
                <a:cubicBezTo>
                  <a:pt x="74" y="34"/>
                  <a:pt x="74" y="34"/>
                  <a:pt x="74" y="34"/>
                </a:cubicBezTo>
                <a:cubicBezTo>
                  <a:pt x="73" y="34"/>
                  <a:pt x="73" y="34"/>
                  <a:pt x="73" y="34"/>
                </a:cubicBezTo>
                <a:cubicBezTo>
                  <a:pt x="73" y="34"/>
                  <a:pt x="73" y="34"/>
                  <a:pt x="73" y="34"/>
                </a:cubicBezTo>
                <a:cubicBezTo>
                  <a:pt x="72" y="36"/>
                  <a:pt x="72" y="36"/>
                  <a:pt x="72" y="36"/>
                </a:cubicBezTo>
                <a:cubicBezTo>
                  <a:pt x="71" y="35"/>
                  <a:pt x="71" y="35"/>
                  <a:pt x="71" y="35"/>
                </a:cubicBezTo>
                <a:close/>
                <a:moveTo>
                  <a:pt x="66" y="40"/>
                </a:moveTo>
                <a:cubicBezTo>
                  <a:pt x="66" y="39"/>
                  <a:pt x="66" y="39"/>
                  <a:pt x="66" y="39"/>
                </a:cubicBezTo>
                <a:cubicBezTo>
                  <a:pt x="66" y="38"/>
                  <a:pt x="66" y="38"/>
                  <a:pt x="66" y="38"/>
                </a:cubicBezTo>
                <a:cubicBezTo>
                  <a:pt x="66" y="36"/>
                  <a:pt x="66" y="36"/>
                  <a:pt x="66" y="36"/>
                </a:cubicBezTo>
                <a:cubicBezTo>
                  <a:pt x="66" y="36"/>
                  <a:pt x="66" y="36"/>
                  <a:pt x="66" y="36"/>
                </a:cubicBezTo>
                <a:cubicBezTo>
                  <a:pt x="66" y="36"/>
                  <a:pt x="66" y="36"/>
                  <a:pt x="66" y="36"/>
                </a:cubicBezTo>
                <a:cubicBezTo>
                  <a:pt x="67" y="36"/>
                  <a:pt x="67" y="36"/>
                  <a:pt x="67" y="36"/>
                </a:cubicBezTo>
                <a:cubicBezTo>
                  <a:pt x="67" y="37"/>
                  <a:pt x="67" y="37"/>
                  <a:pt x="67" y="37"/>
                </a:cubicBezTo>
                <a:cubicBezTo>
                  <a:pt x="68" y="38"/>
                  <a:pt x="68" y="38"/>
                  <a:pt x="68" y="38"/>
                </a:cubicBezTo>
                <a:cubicBezTo>
                  <a:pt x="68" y="39"/>
                  <a:pt x="68" y="39"/>
                  <a:pt x="68" y="39"/>
                </a:cubicBezTo>
                <a:cubicBezTo>
                  <a:pt x="67" y="40"/>
                  <a:pt x="67" y="40"/>
                  <a:pt x="67" y="40"/>
                </a:cubicBezTo>
                <a:cubicBezTo>
                  <a:pt x="66" y="40"/>
                  <a:pt x="66" y="40"/>
                  <a:pt x="66" y="40"/>
                </a:cubicBezTo>
                <a:close/>
                <a:moveTo>
                  <a:pt x="44" y="50"/>
                </a:moveTo>
                <a:cubicBezTo>
                  <a:pt x="45" y="49"/>
                  <a:pt x="45" y="49"/>
                  <a:pt x="45" y="49"/>
                </a:cubicBezTo>
                <a:cubicBezTo>
                  <a:pt x="46" y="48"/>
                  <a:pt x="46" y="48"/>
                  <a:pt x="46" y="48"/>
                </a:cubicBezTo>
                <a:cubicBezTo>
                  <a:pt x="48" y="47"/>
                  <a:pt x="48" y="47"/>
                  <a:pt x="48" y="47"/>
                </a:cubicBezTo>
                <a:cubicBezTo>
                  <a:pt x="50" y="47"/>
                  <a:pt x="50" y="47"/>
                  <a:pt x="50" y="47"/>
                </a:cubicBezTo>
                <a:cubicBezTo>
                  <a:pt x="51" y="46"/>
                  <a:pt x="51" y="46"/>
                  <a:pt x="51" y="46"/>
                </a:cubicBezTo>
                <a:cubicBezTo>
                  <a:pt x="53" y="45"/>
                  <a:pt x="53" y="45"/>
                  <a:pt x="53" y="45"/>
                </a:cubicBezTo>
                <a:cubicBezTo>
                  <a:pt x="53" y="46"/>
                  <a:pt x="53" y="46"/>
                  <a:pt x="53" y="46"/>
                </a:cubicBezTo>
                <a:cubicBezTo>
                  <a:pt x="54" y="48"/>
                  <a:pt x="54" y="48"/>
                  <a:pt x="54" y="48"/>
                </a:cubicBezTo>
                <a:cubicBezTo>
                  <a:pt x="54" y="48"/>
                  <a:pt x="54" y="48"/>
                  <a:pt x="54" y="48"/>
                </a:cubicBezTo>
                <a:cubicBezTo>
                  <a:pt x="53" y="48"/>
                  <a:pt x="53" y="48"/>
                  <a:pt x="53" y="48"/>
                </a:cubicBezTo>
                <a:cubicBezTo>
                  <a:pt x="53" y="49"/>
                  <a:pt x="53" y="49"/>
                  <a:pt x="53" y="49"/>
                </a:cubicBezTo>
                <a:cubicBezTo>
                  <a:pt x="53" y="51"/>
                  <a:pt x="53" y="51"/>
                  <a:pt x="53" y="51"/>
                </a:cubicBezTo>
                <a:cubicBezTo>
                  <a:pt x="55" y="52"/>
                  <a:pt x="55" y="52"/>
                  <a:pt x="55" y="52"/>
                </a:cubicBezTo>
                <a:cubicBezTo>
                  <a:pt x="56" y="53"/>
                  <a:pt x="56" y="53"/>
                  <a:pt x="56" y="53"/>
                </a:cubicBezTo>
                <a:cubicBezTo>
                  <a:pt x="57" y="52"/>
                  <a:pt x="57" y="52"/>
                  <a:pt x="57" y="52"/>
                </a:cubicBezTo>
                <a:cubicBezTo>
                  <a:pt x="58" y="51"/>
                  <a:pt x="58" y="51"/>
                  <a:pt x="58" y="51"/>
                </a:cubicBezTo>
                <a:cubicBezTo>
                  <a:pt x="59" y="52"/>
                  <a:pt x="59" y="52"/>
                  <a:pt x="59" y="52"/>
                </a:cubicBezTo>
                <a:cubicBezTo>
                  <a:pt x="60" y="53"/>
                  <a:pt x="60" y="53"/>
                  <a:pt x="60" y="53"/>
                </a:cubicBezTo>
                <a:cubicBezTo>
                  <a:pt x="61" y="53"/>
                  <a:pt x="61" y="53"/>
                  <a:pt x="61" y="53"/>
                </a:cubicBezTo>
                <a:cubicBezTo>
                  <a:pt x="61" y="54"/>
                  <a:pt x="61" y="54"/>
                  <a:pt x="61" y="54"/>
                </a:cubicBezTo>
                <a:cubicBezTo>
                  <a:pt x="59" y="54"/>
                  <a:pt x="59" y="54"/>
                  <a:pt x="59" y="54"/>
                </a:cubicBezTo>
                <a:cubicBezTo>
                  <a:pt x="58" y="56"/>
                  <a:pt x="58" y="56"/>
                  <a:pt x="58" y="56"/>
                </a:cubicBezTo>
                <a:cubicBezTo>
                  <a:pt x="58" y="57"/>
                  <a:pt x="58" y="57"/>
                  <a:pt x="58" y="57"/>
                </a:cubicBezTo>
                <a:cubicBezTo>
                  <a:pt x="57" y="60"/>
                  <a:pt x="57" y="60"/>
                  <a:pt x="57" y="60"/>
                </a:cubicBezTo>
                <a:cubicBezTo>
                  <a:pt x="56" y="60"/>
                  <a:pt x="56" y="60"/>
                  <a:pt x="56" y="60"/>
                </a:cubicBezTo>
                <a:cubicBezTo>
                  <a:pt x="55" y="61"/>
                  <a:pt x="55" y="61"/>
                  <a:pt x="55" y="61"/>
                </a:cubicBezTo>
                <a:cubicBezTo>
                  <a:pt x="54" y="62"/>
                  <a:pt x="54" y="62"/>
                  <a:pt x="54" y="62"/>
                </a:cubicBezTo>
                <a:cubicBezTo>
                  <a:pt x="54" y="63"/>
                  <a:pt x="54" y="63"/>
                  <a:pt x="54" y="63"/>
                </a:cubicBezTo>
                <a:cubicBezTo>
                  <a:pt x="53" y="63"/>
                  <a:pt x="53" y="63"/>
                  <a:pt x="53" y="63"/>
                </a:cubicBezTo>
                <a:cubicBezTo>
                  <a:pt x="53" y="63"/>
                  <a:pt x="53" y="63"/>
                  <a:pt x="53" y="63"/>
                </a:cubicBezTo>
                <a:cubicBezTo>
                  <a:pt x="52" y="62"/>
                  <a:pt x="52" y="62"/>
                  <a:pt x="52" y="62"/>
                </a:cubicBezTo>
                <a:cubicBezTo>
                  <a:pt x="53" y="61"/>
                  <a:pt x="53" y="61"/>
                  <a:pt x="53" y="61"/>
                </a:cubicBezTo>
                <a:cubicBezTo>
                  <a:pt x="53" y="60"/>
                  <a:pt x="53" y="60"/>
                  <a:pt x="53" y="60"/>
                </a:cubicBezTo>
                <a:cubicBezTo>
                  <a:pt x="53" y="58"/>
                  <a:pt x="53" y="58"/>
                  <a:pt x="53" y="58"/>
                </a:cubicBezTo>
                <a:cubicBezTo>
                  <a:pt x="53" y="57"/>
                  <a:pt x="53" y="57"/>
                  <a:pt x="53" y="57"/>
                </a:cubicBezTo>
                <a:cubicBezTo>
                  <a:pt x="53" y="57"/>
                  <a:pt x="53" y="57"/>
                  <a:pt x="53" y="57"/>
                </a:cubicBezTo>
                <a:cubicBezTo>
                  <a:pt x="52" y="57"/>
                  <a:pt x="52" y="57"/>
                  <a:pt x="52" y="57"/>
                </a:cubicBezTo>
                <a:cubicBezTo>
                  <a:pt x="51" y="58"/>
                  <a:pt x="51" y="58"/>
                  <a:pt x="51" y="58"/>
                </a:cubicBezTo>
                <a:cubicBezTo>
                  <a:pt x="51" y="59"/>
                  <a:pt x="51" y="59"/>
                  <a:pt x="51" y="59"/>
                </a:cubicBezTo>
                <a:cubicBezTo>
                  <a:pt x="50" y="60"/>
                  <a:pt x="50" y="60"/>
                  <a:pt x="50" y="60"/>
                </a:cubicBezTo>
                <a:cubicBezTo>
                  <a:pt x="49" y="60"/>
                  <a:pt x="49" y="60"/>
                  <a:pt x="49" y="60"/>
                </a:cubicBezTo>
                <a:cubicBezTo>
                  <a:pt x="48" y="61"/>
                  <a:pt x="48" y="61"/>
                  <a:pt x="48" y="61"/>
                </a:cubicBezTo>
                <a:cubicBezTo>
                  <a:pt x="46" y="61"/>
                  <a:pt x="46" y="61"/>
                  <a:pt x="46" y="61"/>
                </a:cubicBezTo>
                <a:cubicBezTo>
                  <a:pt x="45" y="61"/>
                  <a:pt x="45" y="61"/>
                  <a:pt x="45" y="61"/>
                </a:cubicBezTo>
                <a:cubicBezTo>
                  <a:pt x="45" y="61"/>
                  <a:pt x="45" y="61"/>
                  <a:pt x="45" y="61"/>
                </a:cubicBezTo>
                <a:cubicBezTo>
                  <a:pt x="45" y="60"/>
                  <a:pt x="45" y="60"/>
                  <a:pt x="45" y="60"/>
                </a:cubicBezTo>
                <a:cubicBezTo>
                  <a:pt x="45" y="60"/>
                  <a:pt x="45" y="60"/>
                  <a:pt x="45" y="60"/>
                </a:cubicBezTo>
                <a:cubicBezTo>
                  <a:pt x="45" y="59"/>
                  <a:pt x="45" y="59"/>
                  <a:pt x="45" y="59"/>
                </a:cubicBezTo>
                <a:cubicBezTo>
                  <a:pt x="46" y="58"/>
                  <a:pt x="46" y="58"/>
                  <a:pt x="46" y="58"/>
                </a:cubicBezTo>
                <a:cubicBezTo>
                  <a:pt x="46" y="56"/>
                  <a:pt x="46" y="56"/>
                  <a:pt x="46" y="56"/>
                </a:cubicBezTo>
                <a:cubicBezTo>
                  <a:pt x="47" y="54"/>
                  <a:pt x="47" y="54"/>
                  <a:pt x="47" y="54"/>
                </a:cubicBezTo>
                <a:cubicBezTo>
                  <a:pt x="47" y="53"/>
                  <a:pt x="47" y="53"/>
                  <a:pt x="47" y="53"/>
                </a:cubicBezTo>
                <a:cubicBezTo>
                  <a:pt x="47" y="52"/>
                  <a:pt x="47" y="52"/>
                  <a:pt x="47" y="52"/>
                </a:cubicBezTo>
                <a:cubicBezTo>
                  <a:pt x="47" y="52"/>
                  <a:pt x="47" y="52"/>
                  <a:pt x="47" y="52"/>
                </a:cubicBezTo>
                <a:cubicBezTo>
                  <a:pt x="46" y="52"/>
                  <a:pt x="46" y="52"/>
                  <a:pt x="46" y="52"/>
                </a:cubicBezTo>
                <a:cubicBezTo>
                  <a:pt x="45" y="51"/>
                  <a:pt x="45" y="51"/>
                  <a:pt x="45" y="51"/>
                </a:cubicBezTo>
                <a:cubicBezTo>
                  <a:pt x="44" y="50"/>
                  <a:pt x="44" y="50"/>
                  <a:pt x="44" y="50"/>
                </a:cubicBezTo>
                <a:close/>
                <a:moveTo>
                  <a:pt x="38" y="32"/>
                </a:moveTo>
                <a:cubicBezTo>
                  <a:pt x="39" y="33"/>
                  <a:pt x="39" y="33"/>
                  <a:pt x="39" y="33"/>
                </a:cubicBezTo>
                <a:cubicBezTo>
                  <a:pt x="39" y="34"/>
                  <a:pt x="39" y="34"/>
                  <a:pt x="39" y="34"/>
                </a:cubicBezTo>
                <a:cubicBezTo>
                  <a:pt x="40" y="34"/>
                  <a:pt x="40" y="34"/>
                  <a:pt x="40" y="34"/>
                </a:cubicBezTo>
                <a:cubicBezTo>
                  <a:pt x="42" y="34"/>
                  <a:pt x="42" y="34"/>
                  <a:pt x="42" y="34"/>
                </a:cubicBezTo>
                <a:cubicBezTo>
                  <a:pt x="42" y="33"/>
                  <a:pt x="42" y="33"/>
                  <a:pt x="42" y="33"/>
                </a:cubicBezTo>
                <a:cubicBezTo>
                  <a:pt x="41" y="32"/>
                  <a:pt x="41" y="32"/>
                  <a:pt x="41" y="32"/>
                </a:cubicBezTo>
                <a:cubicBezTo>
                  <a:pt x="39" y="31"/>
                  <a:pt x="39" y="31"/>
                  <a:pt x="39" y="31"/>
                </a:cubicBezTo>
                <a:cubicBezTo>
                  <a:pt x="38" y="31"/>
                  <a:pt x="38" y="31"/>
                  <a:pt x="38" y="31"/>
                </a:cubicBezTo>
                <a:cubicBezTo>
                  <a:pt x="38" y="32"/>
                  <a:pt x="38" y="32"/>
                  <a:pt x="38" y="32"/>
                </a:cubicBezTo>
                <a:close/>
                <a:moveTo>
                  <a:pt x="41" y="43"/>
                </a:moveTo>
                <a:cubicBezTo>
                  <a:pt x="42" y="43"/>
                  <a:pt x="42" y="43"/>
                  <a:pt x="42" y="43"/>
                </a:cubicBezTo>
                <a:cubicBezTo>
                  <a:pt x="43" y="44"/>
                  <a:pt x="43" y="44"/>
                  <a:pt x="43" y="44"/>
                </a:cubicBezTo>
                <a:cubicBezTo>
                  <a:pt x="43" y="45"/>
                  <a:pt x="43" y="45"/>
                  <a:pt x="43" y="45"/>
                </a:cubicBezTo>
                <a:cubicBezTo>
                  <a:pt x="44" y="45"/>
                  <a:pt x="44" y="45"/>
                  <a:pt x="44" y="45"/>
                </a:cubicBezTo>
                <a:cubicBezTo>
                  <a:pt x="44" y="46"/>
                  <a:pt x="44" y="46"/>
                  <a:pt x="44" y="46"/>
                </a:cubicBezTo>
                <a:cubicBezTo>
                  <a:pt x="44" y="46"/>
                  <a:pt x="44" y="46"/>
                  <a:pt x="44" y="46"/>
                </a:cubicBezTo>
                <a:cubicBezTo>
                  <a:pt x="44" y="47"/>
                  <a:pt x="44" y="47"/>
                  <a:pt x="44" y="47"/>
                </a:cubicBezTo>
                <a:cubicBezTo>
                  <a:pt x="45" y="47"/>
                  <a:pt x="45" y="47"/>
                  <a:pt x="45" y="47"/>
                </a:cubicBezTo>
                <a:cubicBezTo>
                  <a:pt x="45" y="47"/>
                  <a:pt x="45" y="47"/>
                  <a:pt x="45" y="47"/>
                </a:cubicBezTo>
                <a:cubicBezTo>
                  <a:pt x="46" y="47"/>
                  <a:pt x="46" y="47"/>
                  <a:pt x="46" y="47"/>
                </a:cubicBezTo>
                <a:cubicBezTo>
                  <a:pt x="47" y="46"/>
                  <a:pt x="47" y="46"/>
                  <a:pt x="47" y="46"/>
                </a:cubicBezTo>
                <a:cubicBezTo>
                  <a:pt x="48" y="46"/>
                  <a:pt x="48" y="46"/>
                  <a:pt x="48" y="46"/>
                </a:cubicBezTo>
                <a:cubicBezTo>
                  <a:pt x="49" y="45"/>
                  <a:pt x="49" y="45"/>
                  <a:pt x="49" y="45"/>
                </a:cubicBezTo>
                <a:cubicBezTo>
                  <a:pt x="49" y="45"/>
                  <a:pt x="49" y="45"/>
                  <a:pt x="49" y="45"/>
                </a:cubicBezTo>
                <a:cubicBezTo>
                  <a:pt x="49" y="43"/>
                  <a:pt x="49" y="43"/>
                  <a:pt x="49" y="43"/>
                </a:cubicBezTo>
                <a:cubicBezTo>
                  <a:pt x="50" y="42"/>
                  <a:pt x="50" y="42"/>
                  <a:pt x="50" y="42"/>
                </a:cubicBezTo>
                <a:cubicBezTo>
                  <a:pt x="50" y="41"/>
                  <a:pt x="50" y="41"/>
                  <a:pt x="50" y="41"/>
                </a:cubicBezTo>
                <a:cubicBezTo>
                  <a:pt x="50" y="40"/>
                  <a:pt x="50" y="40"/>
                  <a:pt x="50" y="40"/>
                </a:cubicBezTo>
                <a:cubicBezTo>
                  <a:pt x="49" y="40"/>
                  <a:pt x="49" y="40"/>
                  <a:pt x="49" y="40"/>
                </a:cubicBezTo>
                <a:cubicBezTo>
                  <a:pt x="48" y="40"/>
                  <a:pt x="48" y="40"/>
                  <a:pt x="48" y="40"/>
                </a:cubicBezTo>
                <a:cubicBezTo>
                  <a:pt x="48" y="39"/>
                  <a:pt x="48" y="39"/>
                  <a:pt x="48" y="39"/>
                </a:cubicBezTo>
                <a:cubicBezTo>
                  <a:pt x="47" y="40"/>
                  <a:pt x="47" y="40"/>
                  <a:pt x="47" y="40"/>
                </a:cubicBezTo>
                <a:cubicBezTo>
                  <a:pt x="45" y="41"/>
                  <a:pt x="45" y="41"/>
                  <a:pt x="45" y="41"/>
                </a:cubicBezTo>
                <a:cubicBezTo>
                  <a:pt x="45" y="40"/>
                  <a:pt x="45" y="40"/>
                  <a:pt x="45" y="40"/>
                </a:cubicBezTo>
                <a:cubicBezTo>
                  <a:pt x="45" y="40"/>
                  <a:pt x="45" y="40"/>
                  <a:pt x="45" y="40"/>
                </a:cubicBezTo>
                <a:cubicBezTo>
                  <a:pt x="44" y="41"/>
                  <a:pt x="44" y="41"/>
                  <a:pt x="44" y="41"/>
                </a:cubicBezTo>
                <a:cubicBezTo>
                  <a:pt x="44" y="41"/>
                  <a:pt x="44" y="41"/>
                  <a:pt x="44" y="41"/>
                </a:cubicBezTo>
                <a:cubicBezTo>
                  <a:pt x="43" y="42"/>
                  <a:pt x="43" y="42"/>
                  <a:pt x="43" y="42"/>
                </a:cubicBezTo>
                <a:cubicBezTo>
                  <a:pt x="42" y="41"/>
                  <a:pt x="42" y="41"/>
                  <a:pt x="42" y="41"/>
                </a:cubicBezTo>
                <a:cubicBezTo>
                  <a:pt x="41" y="42"/>
                  <a:pt x="41" y="42"/>
                  <a:pt x="41" y="42"/>
                </a:cubicBezTo>
                <a:cubicBezTo>
                  <a:pt x="41" y="43"/>
                  <a:pt x="41" y="43"/>
                  <a:pt x="41" y="43"/>
                </a:cubicBezTo>
                <a:close/>
                <a:moveTo>
                  <a:pt x="6" y="49"/>
                </a:moveTo>
                <a:cubicBezTo>
                  <a:pt x="5" y="47"/>
                  <a:pt x="5" y="47"/>
                  <a:pt x="5" y="47"/>
                </a:cubicBezTo>
                <a:cubicBezTo>
                  <a:pt x="5" y="47"/>
                  <a:pt x="5" y="47"/>
                  <a:pt x="5" y="47"/>
                </a:cubicBezTo>
                <a:cubicBezTo>
                  <a:pt x="4" y="46"/>
                  <a:pt x="4" y="46"/>
                  <a:pt x="4" y="46"/>
                </a:cubicBezTo>
                <a:cubicBezTo>
                  <a:pt x="3" y="45"/>
                  <a:pt x="3" y="45"/>
                  <a:pt x="3" y="45"/>
                </a:cubicBezTo>
                <a:cubicBezTo>
                  <a:pt x="2" y="45"/>
                  <a:pt x="2" y="45"/>
                  <a:pt x="2" y="45"/>
                </a:cubicBezTo>
                <a:cubicBezTo>
                  <a:pt x="2" y="44"/>
                  <a:pt x="2" y="44"/>
                  <a:pt x="2" y="44"/>
                </a:cubicBezTo>
                <a:cubicBezTo>
                  <a:pt x="2" y="42"/>
                  <a:pt x="2" y="42"/>
                  <a:pt x="2" y="42"/>
                </a:cubicBezTo>
                <a:cubicBezTo>
                  <a:pt x="1" y="40"/>
                  <a:pt x="1" y="40"/>
                  <a:pt x="1" y="40"/>
                </a:cubicBezTo>
                <a:cubicBezTo>
                  <a:pt x="0" y="40"/>
                  <a:pt x="0" y="40"/>
                  <a:pt x="0" y="40"/>
                </a:cubicBezTo>
                <a:cubicBezTo>
                  <a:pt x="0" y="38"/>
                  <a:pt x="0" y="38"/>
                  <a:pt x="0" y="38"/>
                </a:cubicBezTo>
                <a:cubicBezTo>
                  <a:pt x="1" y="37"/>
                  <a:pt x="1" y="37"/>
                  <a:pt x="1" y="37"/>
                </a:cubicBezTo>
                <a:cubicBezTo>
                  <a:pt x="1" y="38"/>
                  <a:pt x="1" y="38"/>
                  <a:pt x="1" y="38"/>
                </a:cubicBezTo>
                <a:cubicBezTo>
                  <a:pt x="2" y="39"/>
                  <a:pt x="2" y="39"/>
                  <a:pt x="2" y="39"/>
                </a:cubicBezTo>
                <a:cubicBezTo>
                  <a:pt x="3" y="40"/>
                  <a:pt x="3" y="40"/>
                  <a:pt x="3" y="40"/>
                </a:cubicBezTo>
                <a:cubicBezTo>
                  <a:pt x="2" y="41"/>
                  <a:pt x="2" y="41"/>
                  <a:pt x="2" y="41"/>
                </a:cubicBezTo>
                <a:cubicBezTo>
                  <a:pt x="3" y="43"/>
                  <a:pt x="3" y="43"/>
                  <a:pt x="3" y="43"/>
                </a:cubicBezTo>
                <a:cubicBezTo>
                  <a:pt x="4" y="44"/>
                  <a:pt x="4" y="44"/>
                  <a:pt x="4" y="44"/>
                </a:cubicBezTo>
                <a:cubicBezTo>
                  <a:pt x="4" y="44"/>
                  <a:pt x="4" y="44"/>
                  <a:pt x="4" y="44"/>
                </a:cubicBezTo>
                <a:cubicBezTo>
                  <a:pt x="5" y="44"/>
                  <a:pt x="5" y="44"/>
                  <a:pt x="5" y="44"/>
                </a:cubicBezTo>
                <a:cubicBezTo>
                  <a:pt x="5" y="44"/>
                  <a:pt x="5" y="44"/>
                  <a:pt x="5" y="44"/>
                </a:cubicBezTo>
                <a:cubicBezTo>
                  <a:pt x="6" y="45"/>
                  <a:pt x="6" y="45"/>
                  <a:pt x="6" y="45"/>
                </a:cubicBezTo>
                <a:cubicBezTo>
                  <a:pt x="7" y="47"/>
                  <a:pt x="7" y="47"/>
                  <a:pt x="7" y="47"/>
                </a:cubicBezTo>
                <a:cubicBezTo>
                  <a:pt x="7" y="48"/>
                  <a:pt x="7" y="48"/>
                  <a:pt x="7" y="48"/>
                </a:cubicBezTo>
                <a:cubicBezTo>
                  <a:pt x="7" y="49"/>
                  <a:pt x="7" y="49"/>
                  <a:pt x="7" y="49"/>
                </a:cubicBezTo>
                <a:cubicBezTo>
                  <a:pt x="6" y="49"/>
                  <a:pt x="6" y="49"/>
                  <a:pt x="6" y="49"/>
                </a:cubicBezTo>
                <a:cubicBezTo>
                  <a:pt x="6" y="49"/>
                  <a:pt x="6" y="49"/>
                  <a:pt x="6" y="49"/>
                </a:cubicBezTo>
                <a:close/>
                <a:moveTo>
                  <a:pt x="29" y="77"/>
                </a:moveTo>
                <a:cubicBezTo>
                  <a:pt x="29" y="76"/>
                  <a:pt x="29" y="76"/>
                  <a:pt x="29" y="76"/>
                </a:cubicBezTo>
                <a:cubicBezTo>
                  <a:pt x="28" y="76"/>
                  <a:pt x="28" y="76"/>
                  <a:pt x="28" y="76"/>
                </a:cubicBezTo>
                <a:cubicBezTo>
                  <a:pt x="28" y="77"/>
                  <a:pt x="28" y="77"/>
                  <a:pt x="28" y="77"/>
                </a:cubicBezTo>
                <a:cubicBezTo>
                  <a:pt x="27" y="77"/>
                  <a:pt x="27" y="77"/>
                  <a:pt x="27" y="77"/>
                </a:cubicBezTo>
                <a:cubicBezTo>
                  <a:pt x="27" y="76"/>
                  <a:pt x="27" y="76"/>
                  <a:pt x="27" y="76"/>
                </a:cubicBezTo>
                <a:cubicBezTo>
                  <a:pt x="27" y="75"/>
                  <a:pt x="27" y="75"/>
                  <a:pt x="27" y="75"/>
                </a:cubicBezTo>
                <a:cubicBezTo>
                  <a:pt x="27" y="74"/>
                  <a:pt x="27" y="74"/>
                  <a:pt x="27" y="74"/>
                </a:cubicBezTo>
                <a:cubicBezTo>
                  <a:pt x="26" y="74"/>
                  <a:pt x="26" y="74"/>
                  <a:pt x="26" y="74"/>
                </a:cubicBezTo>
                <a:cubicBezTo>
                  <a:pt x="24" y="72"/>
                  <a:pt x="24" y="72"/>
                  <a:pt x="24" y="72"/>
                </a:cubicBezTo>
                <a:cubicBezTo>
                  <a:pt x="24" y="71"/>
                  <a:pt x="24" y="71"/>
                  <a:pt x="24" y="71"/>
                </a:cubicBezTo>
                <a:cubicBezTo>
                  <a:pt x="25" y="70"/>
                  <a:pt x="25" y="70"/>
                  <a:pt x="25" y="70"/>
                </a:cubicBezTo>
                <a:cubicBezTo>
                  <a:pt x="26" y="70"/>
                  <a:pt x="26" y="70"/>
                  <a:pt x="26" y="70"/>
                </a:cubicBezTo>
                <a:cubicBezTo>
                  <a:pt x="26" y="70"/>
                  <a:pt x="26" y="70"/>
                  <a:pt x="26" y="70"/>
                </a:cubicBezTo>
                <a:cubicBezTo>
                  <a:pt x="26" y="69"/>
                  <a:pt x="26" y="69"/>
                  <a:pt x="26" y="69"/>
                </a:cubicBezTo>
                <a:cubicBezTo>
                  <a:pt x="26" y="69"/>
                  <a:pt x="26" y="69"/>
                  <a:pt x="26" y="69"/>
                </a:cubicBezTo>
                <a:cubicBezTo>
                  <a:pt x="25" y="69"/>
                  <a:pt x="25" y="69"/>
                  <a:pt x="25" y="69"/>
                </a:cubicBezTo>
                <a:cubicBezTo>
                  <a:pt x="25" y="68"/>
                  <a:pt x="25" y="68"/>
                  <a:pt x="25" y="68"/>
                </a:cubicBezTo>
                <a:cubicBezTo>
                  <a:pt x="24" y="68"/>
                  <a:pt x="24" y="68"/>
                  <a:pt x="24" y="68"/>
                </a:cubicBezTo>
                <a:cubicBezTo>
                  <a:pt x="24" y="69"/>
                  <a:pt x="24" y="69"/>
                  <a:pt x="24" y="69"/>
                </a:cubicBezTo>
                <a:cubicBezTo>
                  <a:pt x="23" y="70"/>
                  <a:pt x="23" y="70"/>
                  <a:pt x="23" y="70"/>
                </a:cubicBezTo>
                <a:cubicBezTo>
                  <a:pt x="21" y="69"/>
                  <a:pt x="21" y="69"/>
                  <a:pt x="21" y="69"/>
                </a:cubicBezTo>
                <a:cubicBezTo>
                  <a:pt x="21" y="68"/>
                  <a:pt x="21" y="68"/>
                  <a:pt x="21" y="68"/>
                </a:cubicBezTo>
                <a:cubicBezTo>
                  <a:pt x="21" y="67"/>
                  <a:pt x="21" y="67"/>
                  <a:pt x="21" y="67"/>
                </a:cubicBezTo>
                <a:cubicBezTo>
                  <a:pt x="20" y="67"/>
                  <a:pt x="20" y="67"/>
                  <a:pt x="20" y="67"/>
                </a:cubicBezTo>
                <a:cubicBezTo>
                  <a:pt x="19" y="66"/>
                  <a:pt x="19" y="66"/>
                  <a:pt x="19" y="66"/>
                </a:cubicBezTo>
                <a:cubicBezTo>
                  <a:pt x="19" y="66"/>
                  <a:pt x="19" y="66"/>
                  <a:pt x="19" y="66"/>
                </a:cubicBezTo>
                <a:cubicBezTo>
                  <a:pt x="18" y="66"/>
                  <a:pt x="18" y="66"/>
                  <a:pt x="18" y="66"/>
                </a:cubicBezTo>
                <a:cubicBezTo>
                  <a:pt x="18" y="65"/>
                  <a:pt x="18" y="65"/>
                  <a:pt x="18" y="65"/>
                </a:cubicBezTo>
                <a:cubicBezTo>
                  <a:pt x="18" y="64"/>
                  <a:pt x="18" y="64"/>
                  <a:pt x="18" y="64"/>
                </a:cubicBezTo>
                <a:cubicBezTo>
                  <a:pt x="17" y="64"/>
                  <a:pt x="17" y="64"/>
                  <a:pt x="17" y="64"/>
                </a:cubicBezTo>
                <a:cubicBezTo>
                  <a:pt x="17" y="64"/>
                  <a:pt x="17" y="64"/>
                  <a:pt x="17" y="64"/>
                </a:cubicBezTo>
                <a:cubicBezTo>
                  <a:pt x="17" y="63"/>
                  <a:pt x="17" y="63"/>
                  <a:pt x="17" y="63"/>
                </a:cubicBezTo>
                <a:cubicBezTo>
                  <a:pt x="16" y="63"/>
                  <a:pt x="16" y="63"/>
                  <a:pt x="16" y="63"/>
                </a:cubicBezTo>
                <a:cubicBezTo>
                  <a:pt x="16" y="62"/>
                  <a:pt x="16" y="62"/>
                  <a:pt x="16" y="62"/>
                </a:cubicBezTo>
                <a:cubicBezTo>
                  <a:pt x="16" y="62"/>
                  <a:pt x="16" y="62"/>
                  <a:pt x="16" y="62"/>
                </a:cubicBezTo>
                <a:cubicBezTo>
                  <a:pt x="16" y="62"/>
                  <a:pt x="16" y="62"/>
                  <a:pt x="16" y="62"/>
                </a:cubicBezTo>
                <a:cubicBezTo>
                  <a:pt x="16" y="61"/>
                  <a:pt x="16" y="61"/>
                  <a:pt x="16" y="61"/>
                </a:cubicBezTo>
                <a:cubicBezTo>
                  <a:pt x="16" y="60"/>
                  <a:pt x="16" y="60"/>
                  <a:pt x="16" y="60"/>
                </a:cubicBezTo>
                <a:cubicBezTo>
                  <a:pt x="15" y="60"/>
                  <a:pt x="15" y="60"/>
                  <a:pt x="15" y="60"/>
                </a:cubicBezTo>
                <a:cubicBezTo>
                  <a:pt x="15" y="59"/>
                  <a:pt x="15" y="59"/>
                  <a:pt x="15" y="59"/>
                </a:cubicBezTo>
                <a:cubicBezTo>
                  <a:pt x="17" y="58"/>
                  <a:pt x="17" y="58"/>
                  <a:pt x="17" y="58"/>
                </a:cubicBezTo>
                <a:cubicBezTo>
                  <a:pt x="17" y="58"/>
                  <a:pt x="17" y="58"/>
                  <a:pt x="17" y="58"/>
                </a:cubicBezTo>
                <a:cubicBezTo>
                  <a:pt x="18" y="59"/>
                  <a:pt x="18" y="59"/>
                  <a:pt x="18" y="59"/>
                </a:cubicBezTo>
                <a:cubicBezTo>
                  <a:pt x="19" y="60"/>
                  <a:pt x="19" y="60"/>
                  <a:pt x="19" y="60"/>
                </a:cubicBezTo>
                <a:cubicBezTo>
                  <a:pt x="19" y="60"/>
                  <a:pt x="19" y="60"/>
                  <a:pt x="19" y="60"/>
                </a:cubicBezTo>
                <a:cubicBezTo>
                  <a:pt x="19" y="59"/>
                  <a:pt x="19" y="59"/>
                  <a:pt x="19" y="59"/>
                </a:cubicBezTo>
                <a:cubicBezTo>
                  <a:pt x="20" y="59"/>
                  <a:pt x="20" y="59"/>
                  <a:pt x="20" y="59"/>
                </a:cubicBezTo>
                <a:cubicBezTo>
                  <a:pt x="21" y="60"/>
                  <a:pt x="21" y="60"/>
                  <a:pt x="21" y="60"/>
                </a:cubicBezTo>
                <a:cubicBezTo>
                  <a:pt x="22" y="60"/>
                  <a:pt x="22" y="60"/>
                  <a:pt x="22" y="60"/>
                </a:cubicBezTo>
                <a:cubicBezTo>
                  <a:pt x="24" y="59"/>
                  <a:pt x="24" y="59"/>
                  <a:pt x="24" y="59"/>
                </a:cubicBezTo>
                <a:cubicBezTo>
                  <a:pt x="24" y="59"/>
                  <a:pt x="24" y="59"/>
                  <a:pt x="24" y="59"/>
                </a:cubicBezTo>
                <a:cubicBezTo>
                  <a:pt x="23" y="58"/>
                  <a:pt x="23" y="58"/>
                  <a:pt x="23" y="58"/>
                </a:cubicBezTo>
                <a:cubicBezTo>
                  <a:pt x="22" y="58"/>
                  <a:pt x="22" y="58"/>
                  <a:pt x="22" y="58"/>
                </a:cubicBezTo>
                <a:cubicBezTo>
                  <a:pt x="20" y="58"/>
                  <a:pt x="20" y="58"/>
                  <a:pt x="20" y="58"/>
                </a:cubicBezTo>
                <a:cubicBezTo>
                  <a:pt x="19" y="57"/>
                  <a:pt x="19" y="57"/>
                  <a:pt x="19" y="57"/>
                </a:cubicBezTo>
                <a:cubicBezTo>
                  <a:pt x="19" y="57"/>
                  <a:pt x="19" y="57"/>
                  <a:pt x="19" y="57"/>
                </a:cubicBezTo>
                <a:cubicBezTo>
                  <a:pt x="20" y="57"/>
                  <a:pt x="20" y="57"/>
                  <a:pt x="20" y="57"/>
                </a:cubicBezTo>
                <a:cubicBezTo>
                  <a:pt x="21" y="57"/>
                  <a:pt x="21" y="57"/>
                  <a:pt x="21" y="57"/>
                </a:cubicBezTo>
                <a:cubicBezTo>
                  <a:pt x="23" y="56"/>
                  <a:pt x="23" y="56"/>
                  <a:pt x="23" y="56"/>
                </a:cubicBezTo>
                <a:cubicBezTo>
                  <a:pt x="24" y="55"/>
                  <a:pt x="24" y="55"/>
                  <a:pt x="24" y="55"/>
                </a:cubicBezTo>
                <a:cubicBezTo>
                  <a:pt x="26" y="55"/>
                  <a:pt x="26" y="55"/>
                  <a:pt x="26" y="55"/>
                </a:cubicBezTo>
                <a:cubicBezTo>
                  <a:pt x="27" y="55"/>
                  <a:pt x="27" y="55"/>
                  <a:pt x="27" y="55"/>
                </a:cubicBezTo>
                <a:cubicBezTo>
                  <a:pt x="27" y="55"/>
                  <a:pt x="27" y="55"/>
                  <a:pt x="27" y="55"/>
                </a:cubicBezTo>
                <a:cubicBezTo>
                  <a:pt x="27" y="55"/>
                  <a:pt x="27" y="55"/>
                  <a:pt x="27" y="55"/>
                </a:cubicBezTo>
                <a:cubicBezTo>
                  <a:pt x="27" y="54"/>
                  <a:pt x="27" y="54"/>
                  <a:pt x="27" y="54"/>
                </a:cubicBezTo>
                <a:cubicBezTo>
                  <a:pt x="28" y="54"/>
                  <a:pt x="28" y="54"/>
                  <a:pt x="28" y="54"/>
                </a:cubicBezTo>
                <a:cubicBezTo>
                  <a:pt x="28" y="53"/>
                  <a:pt x="28" y="53"/>
                  <a:pt x="28" y="53"/>
                </a:cubicBezTo>
                <a:cubicBezTo>
                  <a:pt x="28" y="53"/>
                  <a:pt x="28" y="53"/>
                  <a:pt x="28" y="53"/>
                </a:cubicBezTo>
                <a:cubicBezTo>
                  <a:pt x="27" y="53"/>
                  <a:pt x="27" y="53"/>
                  <a:pt x="27" y="53"/>
                </a:cubicBezTo>
                <a:cubicBezTo>
                  <a:pt x="26" y="54"/>
                  <a:pt x="26" y="54"/>
                  <a:pt x="26" y="54"/>
                </a:cubicBezTo>
                <a:cubicBezTo>
                  <a:pt x="24" y="54"/>
                  <a:pt x="24" y="54"/>
                  <a:pt x="24" y="54"/>
                </a:cubicBezTo>
                <a:cubicBezTo>
                  <a:pt x="23" y="54"/>
                  <a:pt x="23" y="54"/>
                  <a:pt x="23" y="54"/>
                </a:cubicBezTo>
                <a:cubicBezTo>
                  <a:pt x="23" y="54"/>
                  <a:pt x="23" y="54"/>
                  <a:pt x="23" y="54"/>
                </a:cubicBezTo>
                <a:cubicBezTo>
                  <a:pt x="22" y="54"/>
                  <a:pt x="22" y="54"/>
                  <a:pt x="22" y="54"/>
                </a:cubicBezTo>
                <a:cubicBezTo>
                  <a:pt x="21" y="54"/>
                  <a:pt x="21" y="54"/>
                  <a:pt x="21" y="54"/>
                </a:cubicBezTo>
                <a:cubicBezTo>
                  <a:pt x="21" y="54"/>
                  <a:pt x="21" y="54"/>
                  <a:pt x="21" y="54"/>
                </a:cubicBezTo>
                <a:cubicBezTo>
                  <a:pt x="20" y="55"/>
                  <a:pt x="20" y="55"/>
                  <a:pt x="20" y="55"/>
                </a:cubicBezTo>
                <a:cubicBezTo>
                  <a:pt x="19" y="55"/>
                  <a:pt x="19" y="55"/>
                  <a:pt x="19" y="55"/>
                </a:cubicBezTo>
                <a:cubicBezTo>
                  <a:pt x="18" y="55"/>
                  <a:pt x="18" y="55"/>
                  <a:pt x="18" y="55"/>
                </a:cubicBezTo>
                <a:cubicBezTo>
                  <a:pt x="18" y="56"/>
                  <a:pt x="18" y="56"/>
                  <a:pt x="18" y="56"/>
                </a:cubicBezTo>
                <a:cubicBezTo>
                  <a:pt x="16" y="56"/>
                  <a:pt x="16" y="56"/>
                  <a:pt x="16" y="56"/>
                </a:cubicBezTo>
                <a:cubicBezTo>
                  <a:pt x="15" y="56"/>
                  <a:pt x="15" y="56"/>
                  <a:pt x="15" y="56"/>
                </a:cubicBezTo>
                <a:cubicBezTo>
                  <a:pt x="15" y="56"/>
                  <a:pt x="15" y="56"/>
                  <a:pt x="15" y="56"/>
                </a:cubicBezTo>
                <a:cubicBezTo>
                  <a:pt x="14" y="56"/>
                  <a:pt x="14" y="56"/>
                  <a:pt x="14" y="56"/>
                </a:cubicBezTo>
                <a:cubicBezTo>
                  <a:pt x="14" y="54"/>
                  <a:pt x="14" y="54"/>
                  <a:pt x="14" y="54"/>
                </a:cubicBezTo>
                <a:cubicBezTo>
                  <a:pt x="14" y="53"/>
                  <a:pt x="14" y="53"/>
                  <a:pt x="14" y="53"/>
                </a:cubicBezTo>
                <a:cubicBezTo>
                  <a:pt x="14" y="52"/>
                  <a:pt x="14" y="52"/>
                  <a:pt x="14" y="52"/>
                </a:cubicBezTo>
                <a:cubicBezTo>
                  <a:pt x="14" y="52"/>
                  <a:pt x="14" y="52"/>
                  <a:pt x="14" y="52"/>
                </a:cubicBezTo>
                <a:cubicBezTo>
                  <a:pt x="15" y="51"/>
                  <a:pt x="15" y="51"/>
                  <a:pt x="15" y="51"/>
                </a:cubicBezTo>
                <a:cubicBezTo>
                  <a:pt x="16" y="51"/>
                  <a:pt x="16" y="51"/>
                  <a:pt x="16" y="51"/>
                </a:cubicBezTo>
                <a:cubicBezTo>
                  <a:pt x="16" y="51"/>
                  <a:pt x="16" y="51"/>
                  <a:pt x="16" y="51"/>
                </a:cubicBezTo>
                <a:cubicBezTo>
                  <a:pt x="16" y="52"/>
                  <a:pt x="16" y="52"/>
                  <a:pt x="16" y="52"/>
                </a:cubicBezTo>
                <a:cubicBezTo>
                  <a:pt x="17" y="52"/>
                  <a:pt x="17" y="52"/>
                  <a:pt x="17" y="52"/>
                </a:cubicBezTo>
                <a:cubicBezTo>
                  <a:pt x="17" y="51"/>
                  <a:pt x="17" y="51"/>
                  <a:pt x="17" y="51"/>
                </a:cubicBezTo>
                <a:cubicBezTo>
                  <a:pt x="18" y="50"/>
                  <a:pt x="18" y="50"/>
                  <a:pt x="18" y="50"/>
                </a:cubicBezTo>
                <a:cubicBezTo>
                  <a:pt x="18" y="50"/>
                  <a:pt x="18" y="50"/>
                  <a:pt x="18" y="50"/>
                </a:cubicBezTo>
                <a:cubicBezTo>
                  <a:pt x="19" y="49"/>
                  <a:pt x="19" y="49"/>
                  <a:pt x="19" y="49"/>
                </a:cubicBezTo>
                <a:cubicBezTo>
                  <a:pt x="20" y="48"/>
                  <a:pt x="20" y="48"/>
                  <a:pt x="20" y="48"/>
                </a:cubicBezTo>
                <a:cubicBezTo>
                  <a:pt x="21" y="48"/>
                  <a:pt x="21" y="48"/>
                  <a:pt x="21" y="48"/>
                </a:cubicBezTo>
                <a:cubicBezTo>
                  <a:pt x="21" y="47"/>
                  <a:pt x="21" y="47"/>
                  <a:pt x="21" y="47"/>
                </a:cubicBezTo>
                <a:cubicBezTo>
                  <a:pt x="22" y="46"/>
                  <a:pt x="22" y="46"/>
                  <a:pt x="22" y="46"/>
                </a:cubicBezTo>
                <a:cubicBezTo>
                  <a:pt x="23" y="46"/>
                  <a:pt x="23" y="46"/>
                  <a:pt x="23" y="46"/>
                </a:cubicBezTo>
                <a:cubicBezTo>
                  <a:pt x="25" y="46"/>
                  <a:pt x="25" y="46"/>
                  <a:pt x="25" y="46"/>
                </a:cubicBezTo>
                <a:cubicBezTo>
                  <a:pt x="26" y="45"/>
                  <a:pt x="26" y="45"/>
                  <a:pt x="26" y="45"/>
                </a:cubicBezTo>
                <a:cubicBezTo>
                  <a:pt x="27" y="44"/>
                  <a:pt x="27" y="44"/>
                  <a:pt x="27" y="44"/>
                </a:cubicBezTo>
                <a:cubicBezTo>
                  <a:pt x="28" y="44"/>
                  <a:pt x="28" y="44"/>
                  <a:pt x="28" y="44"/>
                </a:cubicBezTo>
                <a:cubicBezTo>
                  <a:pt x="28" y="43"/>
                  <a:pt x="28" y="43"/>
                  <a:pt x="28" y="43"/>
                </a:cubicBezTo>
                <a:cubicBezTo>
                  <a:pt x="27" y="43"/>
                  <a:pt x="27" y="43"/>
                  <a:pt x="27" y="43"/>
                </a:cubicBezTo>
                <a:cubicBezTo>
                  <a:pt x="26" y="44"/>
                  <a:pt x="26" y="44"/>
                  <a:pt x="26" y="44"/>
                </a:cubicBezTo>
                <a:cubicBezTo>
                  <a:pt x="25" y="44"/>
                  <a:pt x="25" y="44"/>
                  <a:pt x="25" y="44"/>
                </a:cubicBezTo>
                <a:cubicBezTo>
                  <a:pt x="25" y="44"/>
                  <a:pt x="25" y="44"/>
                  <a:pt x="25" y="44"/>
                </a:cubicBezTo>
                <a:cubicBezTo>
                  <a:pt x="25" y="43"/>
                  <a:pt x="25" y="43"/>
                  <a:pt x="25" y="43"/>
                </a:cubicBezTo>
                <a:cubicBezTo>
                  <a:pt x="25" y="42"/>
                  <a:pt x="25" y="42"/>
                  <a:pt x="25" y="42"/>
                </a:cubicBezTo>
                <a:cubicBezTo>
                  <a:pt x="25" y="40"/>
                  <a:pt x="25" y="40"/>
                  <a:pt x="25" y="40"/>
                </a:cubicBezTo>
                <a:cubicBezTo>
                  <a:pt x="25" y="39"/>
                  <a:pt x="25" y="39"/>
                  <a:pt x="25" y="39"/>
                </a:cubicBezTo>
                <a:cubicBezTo>
                  <a:pt x="24" y="39"/>
                  <a:pt x="24" y="39"/>
                  <a:pt x="24" y="39"/>
                </a:cubicBezTo>
                <a:cubicBezTo>
                  <a:pt x="24" y="40"/>
                  <a:pt x="24" y="40"/>
                  <a:pt x="24" y="40"/>
                </a:cubicBezTo>
                <a:cubicBezTo>
                  <a:pt x="24" y="41"/>
                  <a:pt x="24" y="41"/>
                  <a:pt x="24" y="41"/>
                </a:cubicBezTo>
                <a:cubicBezTo>
                  <a:pt x="23" y="43"/>
                  <a:pt x="23" y="43"/>
                  <a:pt x="23" y="43"/>
                </a:cubicBezTo>
                <a:cubicBezTo>
                  <a:pt x="22" y="44"/>
                  <a:pt x="22" y="44"/>
                  <a:pt x="22" y="44"/>
                </a:cubicBezTo>
                <a:cubicBezTo>
                  <a:pt x="21" y="45"/>
                  <a:pt x="21" y="45"/>
                  <a:pt x="21" y="45"/>
                </a:cubicBezTo>
                <a:cubicBezTo>
                  <a:pt x="20" y="44"/>
                  <a:pt x="20" y="44"/>
                  <a:pt x="20" y="44"/>
                </a:cubicBezTo>
                <a:cubicBezTo>
                  <a:pt x="20" y="43"/>
                  <a:pt x="20" y="43"/>
                  <a:pt x="20" y="43"/>
                </a:cubicBezTo>
                <a:cubicBezTo>
                  <a:pt x="20" y="42"/>
                  <a:pt x="20" y="42"/>
                  <a:pt x="20" y="42"/>
                </a:cubicBezTo>
                <a:cubicBezTo>
                  <a:pt x="21" y="41"/>
                  <a:pt x="21" y="41"/>
                  <a:pt x="21" y="41"/>
                </a:cubicBezTo>
                <a:cubicBezTo>
                  <a:pt x="21" y="40"/>
                  <a:pt x="21" y="40"/>
                  <a:pt x="21" y="40"/>
                </a:cubicBezTo>
                <a:cubicBezTo>
                  <a:pt x="20" y="40"/>
                  <a:pt x="20" y="40"/>
                  <a:pt x="20" y="40"/>
                </a:cubicBezTo>
                <a:cubicBezTo>
                  <a:pt x="20" y="38"/>
                  <a:pt x="20" y="38"/>
                  <a:pt x="20" y="38"/>
                </a:cubicBezTo>
                <a:cubicBezTo>
                  <a:pt x="20" y="38"/>
                  <a:pt x="20" y="38"/>
                  <a:pt x="20" y="38"/>
                </a:cubicBezTo>
                <a:cubicBezTo>
                  <a:pt x="19" y="38"/>
                  <a:pt x="19" y="38"/>
                  <a:pt x="19" y="38"/>
                </a:cubicBezTo>
                <a:cubicBezTo>
                  <a:pt x="19" y="38"/>
                  <a:pt x="19" y="38"/>
                  <a:pt x="19" y="38"/>
                </a:cubicBezTo>
                <a:cubicBezTo>
                  <a:pt x="19" y="40"/>
                  <a:pt x="19" y="40"/>
                  <a:pt x="19" y="40"/>
                </a:cubicBezTo>
                <a:cubicBezTo>
                  <a:pt x="19" y="41"/>
                  <a:pt x="19" y="41"/>
                  <a:pt x="19" y="41"/>
                </a:cubicBezTo>
                <a:cubicBezTo>
                  <a:pt x="18" y="42"/>
                  <a:pt x="18" y="42"/>
                  <a:pt x="18" y="42"/>
                </a:cubicBezTo>
                <a:cubicBezTo>
                  <a:pt x="18" y="41"/>
                  <a:pt x="18" y="41"/>
                  <a:pt x="18" y="41"/>
                </a:cubicBezTo>
                <a:cubicBezTo>
                  <a:pt x="18" y="41"/>
                  <a:pt x="18" y="41"/>
                  <a:pt x="18" y="41"/>
                </a:cubicBezTo>
                <a:cubicBezTo>
                  <a:pt x="18" y="40"/>
                  <a:pt x="18" y="40"/>
                  <a:pt x="18" y="40"/>
                </a:cubicBezTo>
                <a:cubicBezTo>
                  <a:pt x="17" y="40"/>
                  <a:pt x="17" y="40"/>
                  <a:pt x="17" y="40"/>
                </a:cubicBezTo>
                <a:cubicBezTo>
                  <a:pt x="16" y="40"/>
                  <a:pt x="16" y="40"/>
                  <a:pt x="16" y="40"/>
                </a:cubicBezTo>
                <a:cubicBezTo>
                  <a:pt x="16" y="41"/>
                  <a:pt x="16" y="41"/>
                  <a:pt x="16" y="41"/>
                </a:cubicBezTo>
                <a:cubicBezTo>
                  <a:pt x="17" y="42"/>
                  <a:pt x="17" y="42"/>
                  <a:pt x="17" y="42"/>
                </a:cubicBezTo>
                <a:cubicBezTo>
                  <a:pt x="17" y="43"/>
                  <a:pt x="17" y="43"/>
                  <a:pt x="17" y="43"/>
                </a:cubicBezTo>
                <a:cubicBezTo>
                  <a:pt x="17" y="44"/>
                  <a:pt x="17" y="44"/>
                  <a:pt x="17" y="44"/>
                </a:cubicBezTo>
                <a:cubicBezTo>
                  <a:pt x="18" y="45"/>
                  <a:pt x="18" y="45"/>
                  <a:pt x="18" y="45"/>
                </a:cubicBezTo>
                <a:cubicBezTo>
                  <a:pt x="18" y="46"/>
                  <a:pt x="18" y="46"/>
                  <a:pt x="18" y="46"/>
                </a:cubicBezTo>
                <a:cubicBezTo>
                  <a:pt x="17" y="46"/>
                  <a:pt x="17" y="46"/>
                  <a:pt x="17" y="46"/>
                </a:cubicBezTo>
                <a:cubicBezTo>
                  <a:pt x="16" y="46"/>
                  <a:pt x="16" y="46"/>
                  <a:pt x="16" y="46"/>
                </a:cubicBezTo>
                <a:cubicBezTo>
                  <a:pt x="16" y="48"/>
                  <a:pt x="16" y="48"/>
                  <a:pt x="16" y="48"/>
                </a:cubicBezTo>
                <a:cubicBezTo>
                  <a:pt x="16" y="48"/>
                  <a:pt x="16" y="48"/>
                  <a:pt x="16" y="48"/>
                </a:cubicBezTo>
                <a:cubicBezTo>
                  <a:pt x="15" y="49"/>
                  <a:pt x="15" y="49"/>
                  <a:pt x="15" y="49"/>
                </a:cubicBezTo>
                <a:cubicBezTo>
                  <a:pt x="13" y="49"/>
                  <a:pt x="13" y="49"/>
                  <a:pt x="13" y="49"/>
                </a:cubicBezTo>
                <a:cubicBezTo>
                  <a:pt x="11" y="49"/>
                  <a:pt x="11" y="49"/>
                  <a:pt x="11" y="49"/>
                </a:cubicBezTo>
                <a:cubicBezTo>
                  <a:pt x="11" y="49"/>
                  <a:pt x="11" y="49"/>
                  <a:pt x="11" y="49"/>
                </a:cubicBezTo>
                <a:cubicBezTo>
                  <a:pt x="12" y="48"/>
                  <a:pt x="12" y="48"/>
                  <a:pt x="12" y="48"/>
                </a:cubicBezTo>
                <a:cubicBezTo>
                  <a:pt x="11" y="47"/>
                  <a:pt x="11" y="47"/>
                  <a:pt x="11" y="47"/>
                </a:cubicBezTo>
                <a:cubicBezTo>
                  <a:pt x="10" y="46"/>
                  <a:pt x="10" y="46"/>
                  <a:pt x="10" y="46"/>
                </a:cubicBezTo>
                <a:cubicBezTo>
                  <a:pt x="9" y="45"/>
                  <a:pt x="9" y="45"/>
                  <a:pt x="9" y="45"/>
                </a:cubicBezTo>
                <a:cubicBezTo>
                  <a:pt x="9" y="45"/>
                  <a:pt x="9" y="45"/>
                  <a:pt x="9" y="45"/>
                </a:cubicBezTo>
                <a:cubicBezTo>
                  <a:pt x="8" y="44"/>
                  <a:pt x="8" y="44"/>
                  <a:pt x="8" y="44"/>
                </a:cubicBezTo>
                <a:cubicBezTo>
                  <a:pt x="8" y="43"/>
                  <a:pt x="8" y="43"/>
                  <a:pt x="8" y="43"/>
                </a:cubicBezTo>
                <a:cubicBezTo>
                  <a:pt x="9" y="43"/>
                  <a:pt x="9" y="43"/>
                  <a:pt x="9" y="43"/>
                </a:cubicBezTo>
                <a:cubicBezTo>
                  <a:pt x="10" y="43"/>
                  <a:pt x="10" y="43"/>
                  <a:pt x="10" y="43"/>
                </a:cubicBezTo>
                <a:cubicBezTo>
                  <a:pt x="10" y="42"/>
                  <a:pt x="10" y="42"/>
                  <a:pt x="10" y="42"/>
                </a:cubicBezTo>
                <a:cubicBezTo>
                  <a:pt x="9" y="42"/>
                  <a:pt x="9" y="42"/>
                  <a:pt x="9" y="42"/>
                </a:cubicBezTo>
                <a:cubicBezTo>
                  <a:pt x="8" y="42"/>
                  <a:pt x="8" y="42"/>
                  <a:pt x="8" y="42"/>
                </a:cubicBezTo>
                <a:cubicBezTo>
                  <a:pt x="7" y="42"/>
                  <a:pt x="7" y="42"/>
                  <a:pt x="7" y="42"/>
                </a:cubicBezTo>
                <a:cubicBezTo>
                  <a:pt x="7" y="41"/>
                  <a:pt x="7" y="41"/>
                  <a:pt x="7" y="41"/>
                </a:cubicBezTo>
                <a:cubicBezTo>
                  <a:pt x="6" y="41"/>
                  <a:pt x="6" y="41"/>
                  <a:pt x="6" y="41"/>
                </a:cubicBezTo>
                <a:cubicBezTo>
                  <a:pt x="5" y="40"/>
                  <a:pt x="5" y="40"/>
                  <a:pt x="5" y="40"/>
                </a:cubicBezTo>
                <a:cubicBezTo>
                  <a:pt x="4" y="39"/>
                  <a:pt x="4" y="39"/>
                  <a:pt x="4" y="39"/>
                </a:cubicBezTo>
                <a:cubicBezTo>
                  <a:pt x="5" y="39"/>
                  <a:pt x="5" y="39"/>
                  <a:pt x="5" y="39"/>
                </a:cubicBezTo>
                <a:cubicBezTo>
                  <a:pt x="5" y="38"/>
                  <a:pt x="5" y="38"/>
                  <a:pt x="5" y="38"/>
                </a:cubicBezTo>
                <a:cubicBezTo>
                  <a:pt x="4" y="38"/>
                  <a:pt x="4" y="38"/>
                  <a:pt x="4" y="38"/>
                </a:cubicBezTo>
                <a:cubicBezTo>
                  <a:pt x="3" y="37"/>
                  <a:pt x="3" y="37"/>
                  <a:pt x="3" y="37"/>
                </a:cubicBezTo>
                <a:cubicBezTo>
                  <a:pt x="3" y="36"/>
                  <a:pt x="3" y="36"/>
                  <a:pt x="3" y="36"/>
                </a:cubicBezTo>
                <a:cubicBezTo>
                  <a:pt x="3" y="35"/>
                  <a:pt x="3" y="35"/>
                  <a:pt x="3" y="35"/>
                </a:cubicBezTo>
                <a:cubicBezTo>
                  <a:pt x="3" y="35"/>
                  <a:pt x="3" y="35"/>
                  <a:pt x="3" y="35"/>
                </a:cubicBezTo>
                <a:cubicBezTo>
                  <a:pt x="5" y="36"/>
                  <a:pt x="5" y="36"/>
                  <a:pt x="5" y="36"/>
                </a:cubicBezTo>
                <a:cubicBezTo>
                  <a:pt x="5" y="37"/>
                  <a:pt x="5" y="37"/>
                  <a:pt x="5" y="37"/>
                </a:cubicBezTo>
                <a:cubicBezTo>
                  <a:pt x="5" y="37"/>
                  <a:pt x="5" y="37"/>
                  <a:pt x="5" y="37"/>
                </a:cubicBezTo>
                <a:cubicBezTo>
                  <a:pt x="6" y="37"/>
                  <a:pt x="6" y="37"/>
                  <a:pt x="6" y="37"/>
                </a:cubicBezTo>
                <a:cubicBezTo>
                  <a:pt x="7" y="37"/>
                  <a:pt x="7" y="37"/>
                  <a:pt x="7" y="37"/>
                </a:cubicBezTo>
                <a:cubicBezTo>
                  <a:pt x="7" y="36"/>
                  <a:pt x="7" y="36"/>
                  <a:pt x="7" y="36"/>
                </a:cubicBezTo>
                <a:cubicBezTo>
                  <a:pt x="6" y="35"/>
                  <a:pt x="6" y="35"/>
                  <a:pt x="6" y="35"/>
                </a:cubicBezTo>
                <a:cubicBezTo>
                  <a:pt x="6" y="36"/>
                  <a:pt x="6" y="36"/>
                  <a:pt x="6" y="36"/>
                </a:cubicBezTo>
                <a:cubicBezTo>
                  <a:pt x="5" y="35"/>
                  <a:pt x="5" y="35"/>
                  <a:pt x="5" y="35"/>
                </a:cubicBezTo>
                <a:cubicBezTo>
                  <a:pt x="5" y="35"/>
                  <a:pt x="5" y="35"/>
                  <a:pt x="5" y="35"/>
                </a:cubicBezTo>
                <a:cubicBezTo>
                  <a:pt x="4" y="34"/>
                  <a:pt x="4" y="34"/>
                  <a:pt x="4" y="34"/>
                </a:cubicBezTo>
                <a:cubicBezTo>
                  <a:pt x="4" y="33"/>
                  <a:pt x="4" y="33"/>
                  <a:pt x="4" y="33"/>
                </a:cubicBezTo>
                <a:cubicBezTo>
                  <a:pt x="4" y="33"/>
                  <a:pt x="4" y="33"/>
                  <a:pt x="4" y="33"/>
                </a:cubicBezTo>
                <a:cubicBezTo>
                  <a:pt x="5" y="31"/>
                  <a:pt x="5" y="31"/>
                  <a:pt x="5" y="31"/>
                </a:cubicBezTo>
                <a:cubicBezTo>
                  <a:pt x="5" y="30"/>
                  <a:pt x="5" y="30"/>
                  <a:pt x="5" y="30"/>
                </a:cubicBezTo>
                <a:cubicBezTo>
                  <a:pt x="5" y="30"/>
                  <a:pt x="5" y="30"/>
                  <a:pt x="5" y="30"/>
                </a:cubicBezTo>
                <a:cubicBezTo>
                  <a:pt x="4" y="30"/>
                  <a:pt x="4" y="30"/>
                  <a:pt x="4" y="30"/>
                </a:cubicBezTo>
                <a:cubicBezTo>
                  <a:pt x="3" y="30"/>
                  <a:pt x="3" y="30"/>
                  <a:pt x="3" y="30"/>
                </a:cubicBezTo>
                <a:cubicBezTo>
                  <a:pt x="3" y="30"/>
                  <a:pt x="3" y="30"/>
                  <a:pt x="3" y="30"/>
                </a:cubicBezTo>
                <a:cubicBezTo>
                  <a:pt x="3" y="31"/>
                  <a:pt x="3" y="31"/>
                  <a:pt x="3" y="31"/>
                </a:cubicBezTo>
                <a:cubicBezTo>
                  <a:pt x="3" y="32"/>
                  <a:pt x="3" y="32"/>
                  <a:pt x="3" y="32"/>
                </a:cubicBezTo>
                <a:cubicBezTo>
                  <a:pt x="2" y="33"/>
                  <a:pt x="2" y="33"/>
                  <a:pt x="2" y="33"/>
                </a:cubicBezTo>
                <a:cubicBezTo>
                  <a:pt x="1" y="33"/>
                  <a:pt x="1" y="33"/>
                  <a:pt x="1" y="33"/>
                </a:cubicBezTo>
                <a:cubicBezTo>
                  <a:pt x="1" y="32"/>
                  <a:pt x="1" y="32"/>
                  <a:pt x="1" y="32"/>
                </a:cubicBezTo>
                <a:cubicBezTo>
                  <a:pt x="0" y="30"/>
                  <a:pt x="0" y="30"/>
                  <a:pt x="0" y="30"/>
                </a:cubicBezTo>
                <a:cubicBezTo>
                  <a:pt x="0" y="29"/>
                  <a:pt x="0" y="29"/>
                  <a:pt x="0" y="29"/>
                </a:cubicBezTo>
                <a:cubicBezTo>
                  <a:pt x="0" y="27"/>
                  <a:pt x="0" y="27"/>
                  <a:pt x="0" y="27"/>
                </a:cubicBezTo>
                <a:cubicBezTo>
                  <a:pt x="0" y="26"/>
                  <a:pt x="0" y="26"/>
                  <a:pt x="0" y="26"/>
                </a:cubicBezTo>
                <a:cubicBezTo>
                  <a:pt x="0" y="26"/>
                  <a:pt x="0" y="26"/>
                  <a:pt x="0" y="26"/>
                </a:cubicBezTo>
                <a:cubicBezTo>
                  <a:pt x="1" y="25"/>
                  <a:pt x="1" y="25"/>
                  <a:pt x="1" y="25"/>
                </a:cubicBezTo>
                <a:cubicBezTo>
                  <a:pt x="2" y="25"/>
                  <a:pt x="2" y="25"/>
                  <a:pt x="2" y="25"/>
                </a:cubicBezTo>
                <a:cubicBezTo>
                  <a:pt x="2" y="24"/>
                  <a:pt x="2" y="24"/>
                  <a:pt x="2" y="24"/>
                </a:cubicBezTo>
                <a:cubicBezTo>
                  <a:pt x="1" y="23"/>
                  <a:pt x="1" y="23"/>
                  <a:pt x="1" y="23"/>
                </a:cubicBezTo>
                <a:cubicBezTo>
                  <a:pt x="1" y="22"/>
                  <a:pt x="1" y="22"/>
                  <a:pt x="1" y="22"/>
                </a:cubicBezTo>
                <a:cubicBezTo>
                  <a:pt x="2" y="21"/>
                  <a:pt x="2" y="21"/>
                  <a:pt x="2" y="21"/>
                </a:cubicBezTo>
                <a:cubicBezTo>
                  <a:pt x="3" y="21"/>
                  <a:pt x="3" y="21"/>
                  <a:pt x="3" y="21"/>
                </a:cubicBezTo>
                <a:cubicBezTo>
                  <a:pt x="4" y="23"/>
                  <a:pt x="4" y="23"/>
                  <a:pt x="4" y="23"/>
                </a:cubicBezTo>
                <a:cubicBezTo>
                  <a:pt x="4" y="24"/>
                  <a:pt x="4" y="24"/>
                  <a:pt x="4" y="24"/>
                </a:cubicBezTo>
                <a:cubicBezTo>
                  <a:pt x="5" y="24"/>
                  <a:pt x="5" y="24"/>
                  <a:pt x="5" y="24"/>
                </a:cubicBezTo>
                <a:cubicBezTo>
                  <a:pt x="6" y="23"/>
                  <a:pt x="6" y="23"/>
                  <a:pt x="6" y="23"/>
                </a:cubicBezTo>
                <a:cubicBezTo>
                  <a:pt x="4" y="22"/>
                  <a:pt x="4" y="22"/>
                  <a:pt x="4" y="22"/>
                </a:cubicBezTo>
                <a:cubicBezTo>
                  <a:pt x="4" y="21"/>
                  <a:pt x="4" y="21"/>
                  <a:pt x="4" y="21"/>
                </a:cubicBezTo>
                <a:cubicBezTo>
                  <a:pt x="5" y="20"/>
                  <a:pt x="5" y="20"/>
                  <a:pt x="5" y="20"/>
                </a:cubicBezTo>
                <a:cubicBezTo>
                  <a:pt x="6" y="21"/>
                  <a:pt x="6" y="21"/>
                  <a:pt x="6" y="21"/>
                </a:cubicBezTo>
                <a:cubicBezTo>
                  <a:pt x="6" y="21"/>
                  <a:pt x="6" y="21"/>
                  <a:pt x="6" y="21"/>
                </a:cubicBezTo>
                <a:cubicBezTo>
                  <a:pt x="6" y="22"/>
                  <a:pt x="6" y="22"/>
                  <a:pt x="6" y="22"/>
                </a:cubicBezTo>
                <a:cubicBezTo>
                  <a:pt x="7" y="21"/>
                  <a:pt x="7" y="21"/>
                  <a:pt x="7" y="21"/>
                </a:cubicBezTo>
                <a:cubicBezTo>
                  <a:pt x="10" y="19"/>
                  <a:pt x="10" y="19"/>
                  <a:pt x="10" y="19"/>
                </a:cubicBezTo>
                <a:cubicBezTo>
                  <a:pt x="11" y="19"/>
                  <a:pt x="11" y="19"/>
                  <a:pt x="11" y="19"/>
                </a:cubicBezTo>
                <a:cubicBezTo>
                  <a:pt x="12" y="20"/>
                  <a:pt x="12" y="20"/>
                  <a:pt x="12" y="20"/>
                </a:cubicBezTo>
                <a:cubicBezTo>
                  <a:pt x="12" y="21"/>
                  <a:pt x="12" y="21"/>
                  <a:pt x="12" y="21"/>
                </a:cubicBezTo>
                <a:cubicBezTo>
                  <a:pt x="12" y="22"/>
                  <a:pt x="12" y="22"/>
                  <a:pt x="12" y="22"/>
                </a:cubicBezTo>
                <a:cubicBezTo>
                  <a:pt x="11" y="23"/>
                  <a:pt x="11" y="23"/>
                  <a:pt x="11" y="23"/>
                </a:cubicBezTo>
                <a:cubicBezTo>
                  <a:pt x="11" y="23"/>
                  <a:pt x="11" y="23"/>
                  <a:pt x="11" y="23"/>
                </a:cubicBezTo>
                <a:cubicBezTo>
                  <a:pt x="10" y="22"/>
                  <a:pt x="10" y="22"/>
                  <a:pt x="10" y="22"/>
                </a:cubicBezTo>
                <a:cubicBezTo>
                  <a:pt x="10" y="23"/>
                  <a:pt x="10" y="23"/>
                  <a:pt x="10" y="23"/>
                </a:cubicBezTo>
                <a:cubicBezTo>
                  <a:pt x="8" y="24"/>
                  <a:pt x="8" y="24"/>
                  <a:pt x="8" y="24"/>
                </a:cubicBezTo>
                <a:cubicBezTo>
                  <a:pt x="8" y="24"/>
                  <a:pt x="8" y="24"/>
                  <a:pt x="8" y="24"/>
                </a:cubicBezTo>
                <a:cubicBezTo>
                  <a:pt x="8" y="24"/>
                  <a:pt x="8" y="24"/>
                  <a:pt x="8" y="24"/>
                </a:cubicBezTo>
                <a:cubicBezTo>
                  <a:pt x="7" y="25"/>
                  <a:pt x="7" y="25"/>
                  <a:pt x="7" y="25"/>
                </a:cubicBezTo>
                <a:cubicBezTo>
                  <a:pt x="8" y="26"/>
                  <a:pt x="8" y="26"/>
                  <a:pt x="8" y="26"/>
                </a:cubicBezTo>
                <a:cubicBezTo>
                  <a:pt x="9" y="25"/>
                  <a:pt x="9" y="25"/>
                  <a:pt x="9" y="25"/>
                </a:cubicBezTo>
                <a:cubicBezTo>
                  <a:pt x="11" y="24"/>
                  <a:pt x="11" y="24"/>
                  <a:pt x="11" y="24"/>
                </a:cubicBezTo>
                <a:cubicBezTo>
                  <a:pt x="11" y="25"/>
                  <a:pt x="11" y="25"/>
                  <a:pt x="11" y="25"/>
                </a:cubicBezTo>
                <a:cubicBezTo>
                  <a:pt x="11" y="25"/>
                  <a:pt x="11" y="25"/>
                  <a:pt x="11" y="25"/>
                </a:cubicBezTo>
                <a:cubicBezTo>
                  <a:pt x="10" y="26"/>
                  <a:pt x="10" y="26"/>
                  <a:pt x="10" y="26"/>
                </a:cubicBezTo>
                <a:cubicBezTo>
                  <a:pt x="10" y="27"/>
                  <a:pt x="10" y="27"/>
                  <a:pt x="10" y="27"/>
                </a:cubicBezTo>
                <a:cubicBezTo>
                  <a:pt x="11" y="27"/>
                  <a:pt x="11" y="27"/>
                  <a:pt x="11" y="27"/>
                </a:cubicBezTo>
                <a:cubicBezTo>
                  <a:pt x="11" y="26"/>
                  <a:pt x="11" y="26"/>
                  <a:pt x="11" y="26"/>
                </a:cubicBezTo>
                <a:cubicBezTo>
                  <a:pt x="11" y="26"/>
                  <a:pt x="11" y="26"/>
                  <a:pt x="11" y="26"/>
                </a:cubicBezTo>
                <a:cubicBezTo>
                  <a:pt x="12" y="27"/>
                  <a:pt x="12" y="27"/>
                  <a:pt x="12" y="27"/>
                </a:cubicBezTo>
                <a:cubicBezTo>
                  <a:pt x="12" y="28"/>
                  <a:pt x="12" y="28"/>
                  <a:pt x="12" y="28"/>
                </a:cubicBezTo>
                <a:cubicBezTo>
                  <a:pt x="12" y="28"/>
                  <a:pt x="12" y="28"/>
                  <a:pt x="12" y="28"/>
                </a:cubicBezTo>
                <a:cubicBezTo>
                  <a:pt x="13" y="30"/>
                  <a:pt x="13" y="30"/>
                  <a:pt x="13" y="30"/>
                </a:cubicBezTo>
                <a:cubicBezTo>
                  <a:pt x="13" y="31"/>
                  <a:pt x="13" y="31"/>
                  <a:pt x="13" y="31"/>
                </a:cubicBezTo>
                <a:cubicBezTo>
                  <a:pt x="14" y="31"/>
                  <a:pt x="14" y="31"/>
                  <a:pt x="14" y="31"/>
                </a:cubicBezTo>
                <a:cubicBezTo>
                  <a:pt x="13" y="29"/>
                  <a:pt x="13" y="29"/>
                  <a:pt x="13" y="29"/>
                </a:cubicBezTo>
                <a:cubicBezTo>
                  <a:pt x="13" y="28"/>
                  <a:pt x="13" y="28"/>
                  <a:pt x="13" y="28"/>
                </a:cubicBezTo>
                <a:cubicBezTo>
                  <a:pt x="12" y="26"/>
                  <a:pt x="12" y="26"/>
                  <a:pt x="12" y="26"/>
                </a:cubicBezTo>
                <a:cubicBezTo>
                  <a:pt x="13" y="25"/>
                  <a:pt x="13" y="25"/>
                  <a:pt x="13" y="25"/>
                </a:cubicBezTo>
                <a:cubicBezTo>
                  <a:pt x="14" y="23"/>
                  <a:pt x="14" y="23"/>
                  <a:pt x="14" y="23"/>
                </a:cubicBezTo>
                <a:cubicBezTo>
                  <a:pt x="14" y="22"/>
                  <a:pt x="14" y="22"/>
                  <a:pt x="14" y="22"/>
                </a:cubicBezTo>
                <a:cubicBezTo>
                  <a:pt x="15" y="21"/>
                  <a:pt x="15" y="21"/>
                  <a:pt x="15" y="21"/>
                </a:cubicBezTo>
                <a:cubicBezTo>
                  <a:pt x="15" y="21"/>
                  <a:pt x="15" y="21"/>
                  <a:pt x="15" y="21"/>
                </a:cubicBezTo>
                <a:cubicBezTo>
                  <a:pt x="17" y="23"/>
                  <a:pt x="17" y="23"/>
                  <a:pt x="17" y="23"/>
                </a:cubicBezTo>
                <a:cubicBezTo>
                  <a:pt x="18" y="24"/>
                  <a:pt x="18" y="24"/>
                  <a:pt x="18" y="24"/>
                </a:cubicBezTo>
                <a:cubicBezTo>
                  <a:pt x="18" y="24"/>
                  <a:pt x="18" y="24"/>
                  <a:pt x="18" y="24"/>
                </a:cubicBezTo>
                <a:cubicBezTo>
                  <a:pt x="18" y="27"/>
                  <a:pt x="18" y="27"/>
                  <a:pt x="18" y="27"/>
                </a:cubicBezTo>
                <a:cubicBezTo>
                  <a:pt x="19" y="29"/>
                  <a:pt x="19" y="29"/>
                  <a:pt x="19" y="29"/>
                </a:cubicBezTo>
                <a:cubicBezTo>
                  <a:pt x="19" y="30"/>
                  <a:pt x="19" y="30"/>
                  <a:pt x="19" y="30"/>
                </a:cubicBezTo>
                <a:cubicBezTo>
                  <a:pt x="19" y="31"/>
                  <a:pt x="19" y="31"/>
                  <a:pt x="19" y="31"/>
                </a:cubicBezTo>
                <a:cubicBezTo>
                  <a:pt x="18" y="32"/>
                  <a:pt x="18" y="32"/>
                  <a:pt x="18" y="32"/>
                </a:cubicBezTo>
                <a:cubicBezTo>
                  <a:pt x="18" y="32"/>
                  <a:pt x="18" y="32"/>
                  <a:pt x="18" y="32"/>
                </a:cubicBezTo>
                <a:cubicBezTo>
                  <a:pt x="18" y="33"/>
                  <a:pt x="18" y="33"/>
                  <a:pt x="18" y="33"/>
                </a:cubicBezTo>
                <a:cubicBezTo>
                  <a:pt x="19" y="32"/>
                  <a:pt x="19" y="32"/>
                  <a:pt x="19" y="32"/>
                </a:cubicBezTo>
                <a:cubicBezTo>
                  <a:pt x="20" y="32"/>
                  <a:pt x="20" y="32"/>
                  <a:pt x="20" y="32"/>
                </a:cubicBezTo>
                <a:cubicBezTo>
                  <a:pt x="21" y="33"/>
                  <a:pt x="21" y="33"/>
                  <a:pt x="21" y="33"/>
                </a:cubicBezTo>
                <a:cubicBezTo>
                  <a:pt x="22" y="35"/>
                  <a:pt x="22" y="35"/>
                  <a:pt x="22" y="35"/>
                </a:cubicBezTo>
                <a:cubicBezTo>
                  <a:pt x="22" y="36"/>
                  <a:pt x="22" y="36"/>
                  <a:pt x="22" y="36"/>
                </a:cubicBezTo>
                <a:cubicBezTo>
                  <a:pt x="23" y="36"/>
                  <a:pt x="23" y="36"/>
                  <a:pt x="23" y="36"/>
                </a:cubicBezTo>
                <a:cubicBezTo>
                  <a:pt x="23" y="35"/>
                  <a:pt x="23" y="35"/>
                  <a:pt x="23" y="35"/>
                </a:cubicBezTo>
                <a:cubicBezTo>
                  <a:pt x="22" y="33"/>
                  <a:pt x="22" y="33"/>
                  <a:pt x="22" y="33"/>
                </a:cubicBezTo>
                <a:cubicBezTo>
                  <a:pt x="22" y="32"/>
                  <a:pt x="22" y="32"/>
                  <a:pt x="22" y="32"/>
                </a:cubicBezTo>
                <a:cubicBezTo>
                  <a:pt x="21" y="30"/>
                  <a:pt x="21" y="30"/>
                  <a:pt x="21" y="30"/>
                </a:cubicBezTo>
                <a:cubicBezTo>
                  <a:pt x="20" y="29"/>
                  <a:pt x="20" y="29"/>
                  <a:pt x="20" y="29"/>
                </a:cubicBezTo>
                <a:cubicBezTo>
                  <a:pt x="20" y="27"/>
                  <a:pt x="20" y="27"/>
                  <a:pt x="20" y="27"/>
                </a:cubicBezTo>
                <a:cubicBezTo>
                  <a:pt x="20" y="24"/>
                  <a:pt x="20" y="24"/>
                  <a:pt x="20" y="24"/>
                </a:cubicBezTo>
                <a:cubicBezTo>
                  <a:pt x="20" y="23"/>
                  <a:pt x="20" y="23"/>
                  <a:pt x="20" y="23"/>
                </a:cubicBezTo>
                <a:cubicBezTo>
                  <a:pt x="19" y="22"/>
                  <a:pt x="19" y="22"/>
                  <a:pt x="19" y="22"/>
                </a:cubicBezTo>
                <a:cubicBezTo>
                  <a:pt x="20" y="21"/>
                  <a:pt x="20" y="21"/>
                  <a:pt x="20" y="21"/>
                </a:cubicBezTo>
                <a:cubicBezTo>
                  <a:pt x="20" y="20"/>
                  <a:pt x="20" y="20"/>
                  <a:pt x="20" y="20"/>
                </a:cubicBezTo>
                <a:cubicBezTo>
                  <a:pt x="20" y="19"/>
                  <a:pt x="20" y="19"/>
                  <a:pt x="20" y="19"/>
                </a:cubicBezTo>
                <a:cubicBezTo>
                  <a:pt x="20" y="17"/>
                  <a:pt x="20" y="17"/>
                  <a:pt x="20" y="17"/>
                </a:cubicBezTo>
                <a:cubicBezTo>
                  <a:pt x="21" y="16"/>
                  <a:pt x="21" y="16"/>
                  <a:pt x="21" y="16"/>
                </a:cubicBezTo>
                <a:cubicBezTo>
                  <a:pt x="21" y="15"/>
                  <a:pt x="21" y="15"/>
                  <a:pt x="21" y="15"/>
                </a:cubicBezTo>
                <a:cubicBezTo>
                  <a:pt x="22" y="16"/>
                  <a:pt x="22" y="16"/>
                  <a:pt x="22" y="16"/>
                </a:cubicBezTo>
                <a:cubicBezTo>
                  <a:pt x="23" y="17"/>
                  <a:pt x="23" y="17"/>
                  <a:pt x="23" y="17"/>
                </a:cubicBezTo>
                <a:cubicBezTo>
                  <a:pt x="23" y="19"/>
                  <a:pt x="23" y="19"/>
                  <a:pt x="23" y="19"/>
                </a:cubicBezTo>
                <a:cubicBezTo>
                  <a:pt x="24" y="19"/>
                  <a:pt x="24" y="19"/>
                  <a:pt x="24" y="19"/>
                </a:cubicBezTo>
                <a:cubicBezTo>
                  <a:pt x="24" y="18"/>
                  <a:pt x="24" y="18"/>
                  <a:pt x="24" y="18"/>
                </a:cubicBezTo>
                <a:cubicBezTo>
                  <a:pt x="25" y="18"/>
                  <a:pt x="25" y="18"/>
                  <a:pt x="25" y="18"/>
                </a:cubicBezTo>
                <a:cubicBezTo>
                  <a:pt x="26" y="18"/>
                  <a:pt x="26" y="18"/>
                  <a:pt x="26" y="18"/>
                </a:cubicBezTo>
                <a:cubicBezTo>
                  <a:pt x="28" y="20"/>
                  <a:pt x="28" y="20"/>
                  <a:pt x="28" y="20"/>
                </a:cubicBezTo>
                <a:cubicBezTo>
                  <a:pt x="28" y="21"/>
                  <a:pt x="28" y="21"/>
                  <a:pt x="28" y="21"/>
                </a:cubicBezTo>
                <a:cubicBezTo>
                  <a:pt x="28" y="23"/>
                  <a:pt x="28" y="23"/>
                  <a:pt x="28" y="23"/>
                </a:cubicBezTo>
                <a:cubicBezTo>
                  <a:pt x="28" y="23"/>
                  <a:pt x="28" y="23"/>
                  <a:pt x="28" y="23"/>
                </a:cubicBezTo>
                <a:cubicBezTo>
                  <a:pt x="28" y="26"/>
                  <a:pt x="28" y="26"/>
                  <a:pt x="28" y="26"/>
                </a:cubicBezTo>
                <a:cubicBezTo>
                  <a:pt x="28" y="28"/>
                  <a:pt x="28" y="28"/>
                  <a:pt x="28" y="28"/>
                </a:cubicBezTo>
                <a:cubicBezTo>
                  <a:pt x="27" y="28"/>
                  <a:pt x="27" y="28"/>
                  <a:pt x="27" y="28"/>
                </a:cubicBezTo>
                <a:cubicBezTo>
                  <a:pt x="28" y="29"/>
                  <a:pt x="28" y="29"/>
                  <a:pt x="28" y="29"/>
                </a:cubicBezTo>
                <a:cubicBezTo>
                  <a:pt x="29" y="28"/>
                  <a:pt x="29" y="28"/>
                  <a:pt x="29" y="28"/>
                </a:cubicBezTo>
                <a:cubicBezTo>
                  <a:pt x="29" y="26"/>
                  <a:pt x="29" y="26"/>
                  <a:pt x="29" y="26"/>
                </a:cubicBezTo>
                <a:cubicBezTo>
                  <a:pt x="28" y="24"/>
                  <a:pt x="28" y="24"/>
                  <a:pt x="28" y="24"/>
                </a:cubicBezTo>
                <a:cubicBezTo>
                  <a:pt x="29" y="23"/>
                  <a:pt x="29" y="23"/>
                  <a:pt x="29" y="23"/>
                </a:cubicBezTo>
                <a:cubicBezTo>
                  <a:pt x="30" y="22"/>
                  <a:pt x="30" y="22"/>
                  <a:pt x="30" y="22"/>
                </a:cubicBezTo>
                <a:cubicBezTo>
                  <a:pt x="31" y="24"/>
                  <a:pt x="31" y="24"/>
                  <a:pt x="31" y="24"/>
                </a:cubicBezTo>
                <a:cubicBezTo>
                  <a:pt x="32" y="26"/>
                  <a:pt x="32" y="26"/>
                  <a:pt x="32" y="26"/>
                </a:cubicBezTo>
                <a:cubicBezTo>
                  <a:pt x="33" y="29"/>
                  <a:pt x="33" y="29"/>
                  <a:pt x="33" y="29"/>
                </a:cubicBezTo>
                <a:cubicBezTo>
                  <a:pt x="33" y="30"/>
                  <a:pt x="33" y="30"/>
                  <a:pt x="33" y="30"/>
                </a:cubicBezTo>
                <a:cubicBezTo>
                  <a:pt x="34" y="30"/>
                  <a:pt x="34" y="30"/>
                  <a:pt x="34" y="30"/>
                </a:cubicBezTo>
                <a:cubicBezTo>
                  <a:pt x="35" y="31"/>
                  <a:pt x="35" y="31"/>
                  <a:pt x="35" y="31"/>
                </a:cubicBezTo>
                <a:cubicBezTo>
                  <a:pt x="36" y="31"/>
                  <a:pt x="36" y="31"/>
                  <a:pt x="36" y="31"/>
                </a:cubicBezTo>
                <a:cubicBezTo>
                  <a:pt x="37" y="33"/>
                  <a:pt x="37" y="33"/>
                  <a:pt x="37" y="33"/>
                </a:cubicBezTo>
                <a:cubicBezTo>
                  <a:pt x="38" y="33"/>
                  <a:pt x="38" y="33"/>
                  <a:pt x="38" y="33"/>
                </a:cubicBezTo>
                <a:cubicBezTo>
                  <a:pt x="39" y="35"/>
                  <a:pt x="39" y="35"/>
                  <a:pt x="39" y="35"/>
                </a:cubicBezTo>
                <a:cubicBezTo>
                  <a:pt x="41" y="36"/>
                  <a:pt x="41" y="36"/>
                  <a:pt x="41" y="36"/>
                </a:cubicBezTo>
                <a:cubicBezTo>
                  <a:pt x="43" y="36"/>
                  <a:pt x="43" y="36"/>
                  <a:pt x="43" y="36"/>
                </a:cubicBezTo>
                <a:cubicBezTo>
                  <a:pt x="44" y="37"/>
                  <a:pt x="44" y="37"/>
                  <a:pt x="44" y="37"/>
                </a:cubicBezTo>
                <a:cubicBezTo>
                  <a:pt x="44" y="38"/>
                  <a:pt x="44" y="38"/>
                  <a:pt x="44" y="38"/>
                </a:cubicBezTo>
                <a:cubicBezTo>
                  <a:pt x="44" y="39"/>
                  <a:pt x="44" y="39"/>
                  <a:pt x="44" y="39"/>
                </a:cubicBezTo>
                <a:cubicBezTo>
                  <a:pt x="44" y="40"/>
                  <a:pt x="44" y="40"/>
                  <a:pt x="44" y="40"/>
                </a:cubicBezTo>
                <a:cubicBezTo>
                  <a:pt x="43" y="40"/>
                  <a:pt x="43" y="40"/>
                  <a:pt x="43" y="40"/>
                </a:cubicBezTo>
                <a:cubicBezTo>
                  <a:pt x="43" y="39"/>
                  <a:pt x="43" y="39"/>
                  <a:pt x="43" y="39"/>
                </a:cubicBezTo>
                <a:cubicBezTo>
                  <a:pt x="41" y="39"/>
                  <a:pt x="41" y="39"/>
                  <a:pt x="41" y="39"/>
                </a:cubicBezTo>
                <a:cubicBezTo>
                  <a:pt x="41" y="39"/>
                  <a:pt x="41" y="39"/>
                  <a:pt x="41" y="39"/>
                </a:cubicBezTo>
                <a:cubicBezTo>
                  <a:pt x="39" y="40"/>
                  <a:pt x="39" y="40"/>
                  <a:pt x="39" y="40"/>
                </a:cubicBezTo>
                <a:cubicBezTo>
                  <a:pt x="38" y="40"/>
                  <a:pt x="38" y="40"/>
                  <a:pt x="38" y="40"/>
                </a:cubicBezTo>
                <a:cubicBezTo>
                  <a:pt x="37" y="41"/>
                  <a:pt x="37" y="41"/>
                  <a:pt x="37" y="41"/>
                </a:cubicBezTo>
                <a:cubicBezTo>
                  <a:pt x="38" y="42"/>
                  <a:pt x="38" y="42"/>
                  <a:pt x="38" y="42"/>
                </a:cubicBezTo>
                <a:cubicBezTo>
                  <a:pt x="38" y="42"/>
                  <a:pt x="38" y="42"/>
                  <a:pt x="38" y="42"/>
                </a:cubicBezTo>
                <a:cubicBezTo>
                  <a:pt x="36" y="43"/>
                  <a:pt x="36" y="43"/>
                  <a:pt x="36" y="43"/>
                </a:cubicBezTo>
                <a:cubicBezTo>
                  <a:pt x="36" y="44"/>
                  <a:pt x="36" y="44"/>
                  <a:pt x="36" y="44"/>
                </a:cubicBezTo>
                <a:cubicBezTo>
                  <a:pt x="36" y="46"/>
                  <a:pt x="36" y="46"/>
                  <a:pt x="36" y="46"/>
                </a:cubicBezTo>
                <a:cubicBezTo>
                  <a:pt x="37" y="48"/>
                  <a:pt x="37" y="48"/>
                  <a:pt x="37" y="48"/>
                </a:cubicBezTo>
                <a:cubicBezTo>
                  <a:pt x="36" y="49"/>
                  <a:pt x="36" y="49"/>
                  <a:pt x="36" y="49"/>
                </a:cubicBezTo>
                <a:cubicBezTo>
                  <a:pt x="36" y="50"/>
                  <a:pt x="36" y="50"/>
                  <a:pt x="36" y="50"/>
                </a:cubicBezTo>
                <a:cubicBezTo>
                  <a:pt x="37" y="51"/>
                  <a:pt x="37" y="51"/>
                  <a:pt x="37" y="51"/>
                </a:cubicBezTo>
                <a:cubicBezTo>
                  <a:pt x="36" y="52"/>
                  <a:pt x="36" y="52"/>
                  <a:pt x="36" y="52"/>
                </a:cubicBezTo>
                <a:cubicBezTo>
                  <a:pt x="35" y="51"/>
                  <a:pt x="35" y="51"/>
                  <a:pt x="35" y="51"/>
                </a:cubicBezTo>
                <a:cubicBezTo>
                  <a:pt x="34" y="52"/>
                  <a:pt x="34" y="52"/>
                  <a:pt x="34" y="52"/>
                </a:cubicBezTo>
                <a:cubicBezTo>
                  <a:pt x="34" y="53"/>
                  <a:pt x="34" y="53"/>
                  <a:pt x="34" y="53"/>
                </a:cubicBezTo>
                <a:cubicBezTo>
                  <a:pt x="35" y="54"/>
                  <a:pt x="35" y="54"/>
                  <a:pt x="35" y="54"/>
                </a:cubicBezTo>
                <a:cubicBezTo>
                  <a:pt x="35" y="56"/>
                  <a:pt x="35" y="56"/>
                  <a:pt x="35" y="56"/>
                </a:cubicBezTo>
                <a:cubicBezTo>
                  <a:pt x="35" y="57"/>
                  <a:pt x="35" y="57"/>
                  <a:pt x="35" y="57"/>
                </a:cubicBezTo>
                <a:cubicBezTo>
                  <a:pt x="35" y="59"/>
                  <a:pt x="35" y="59"/>
                  <a:pt x="35" y="59"/>
                </a:cubicBezTo>
                <a:cubicBezTo>
                  <a:pt x="35" y="60"/>
                  <a:pt x="35" y="60"/>
                  <a:pt x="35" y="60"/>
                </a:cubicBezTo>
                <a:cubicBezTo>
                  <a:pt x="34" y="60"/>
                  <a:pt x="34" y="60"/>
                  <a:pt x="34" y="60"/>
                </a:cubicBezTo>
                <a:cubicBezTo>
                  <a:pt x="33" y="60"/>
                  <a:pt x="33" y="60"/>
                  <a:pt x="33" y="60"/>
                </a:cubicBezTo>
                <a:cubicBezTo>
                  <a:pt x="32" y="61"/>
                  <a:pt x="32" y="61"/>
                  <a:pt x="32" y="61"/>
                </a:cubicBezTo>
                <a:cubicBezTo>
                  <a:pt x="33" y="61"/>
                  <a:pt x="33" y="61"/>
                  <a:pt x="33" y="61"/>
                </a:cubicBezTo>
                <a:cubicBezTo>
                  <a:pt x="33" y="62"/>
                  <a:pt x="33" y="62"/>
                  <a:pt x="33" y="62"/>
                </a:cubicBezTo>
                <a:cubicBezTo>
                  <a:pt x="32" y="63"/>
                  <a:pt x="32" y="63"/>
                  <a:pt x="32" y="63"/>
                </a:cubicBezTo>
                <a:cubicBezTo>
                  <a:pt x="32" y="64"/>
                  <a:pt x="32" y="64"/>
                  <a:pt x="32" y="64"/>
                </a:cubicBezTo>
                <a:cubicBezTo>
                  <a:pt x="32" y="65"/>
                  <a:pt x="32" y="65"/>
                  <a:pt x="32" y="65"/>
                </a:cubicBezTo>
                <a:cubicBezTo>
                  <a:pt x="32" y="68"/>
                  <a:pt x="32" y="68"/>
                  <a:pt x="32" y="68"/>
                </a:cubicBezTo>
                <a:cubicBezTo>
                  <a:pt x="31" y="70"/>
                  <a:pt x="31" y="70"/>
                  <a:pt x="31" y="70"/>
                </a:cubicBezTo>
                <a:cubicBezTo>
                  <a:pt x="31" y="70"/>
                  <a:pt x="31" y="70"/>
                  <a:pt x="31" y="70"/>
                </a:cubicBezTo>
                <a:cubicBezTo>
                  <a:pt x="31" y="72"/>
                  <a:pt x="31" y="72"/>
                  <a:pt x="31" y="72"/>
                </a:cubicBezTo>
                <a:cubicBezTo>
                  <a:pt x="32" y="73"/>
                  <a:pt x="32" y="73"/>
                  <a:pt x="32" y="73"/>
                </a:cubicBezTo>
                <a:cubicBezTo>
                  <a:pt x="31" y="74"/>
                  <a:pt x="31" y="74"/>
                  <a:pt x="31" y="74"/>
                </a:cubicBezTo>
                <a:cubicBezTo>
                  <a:pt x="31" y="74"/>
                  <a:pt x="31" y="74"/>
                  <a:pt x="31" y="74"/>
                </a:cubicBezTo>
                <a:cubicBezTo>
                  <a:pt x="31" y="76"/>
                  <a:pt x="31" y="76"/>
                  <a:pt x="31" y="76"/>
                </a:cubicBezTo>
                <a:cubicBezTo>
                  <a:pt x="30" y="77"/>
                  <a:pt x="30" y="77"/>
                  <a:pt x="30" y="77"/>
                </a:cubicBezTo>
                <a:cubicBezTo>
                  <a:pt x="29" y="77"/>
                  <a:pt x="29" y="77"/>
                  <a:pt x="29" y="77"/>
                </a:cubicBezTo>
                <a:close/>
                <a:moveTo>
                  <a:pt x="43" y="109"/>
                </a:moveTo>
                <a:cubicBezTo>
                  <a:pt x="44" y="108"/>
                  <a:pt x="44" y="108"/>
                  <a:pt x="44" y="108"/>
                </a:cubicBezTo>
                <a:cubicBezTo>
                  <a:pt x="44" y="107"/>
                  <a:pt x="44" y="107"/>
                  <a:pt x="44" y="107"/>
                </a:cubicBezTo>
                <a:cubicBezTo>
                  <a:pt x="43" y="106"/>
                  <a:pt x="43" y="106"/>
                  <a:pt x="43" y="106"/>
                </a:cubicBezTo>
                <a:cubicBezTo>
                  <a:pt x="42" y="106"/>
                  <a:pt x="42" y="106"/>
                  <a:pt x="42" y="106"/>
                </a:cubicBezTo>
                <a:cubicBezTo>
                  <a:pt x="42" y="106"/>
                  <a:pt x="42" y="106"/>
                  <a:pt x="42" y="106"/>
                </a:cubicBezTo>
                <a:cubicBezTo>
                  <a:pt x="42" y="107"/>
                  <a:pt x="42" y="107"/>
                  <a:pt x="42" y="107"/>
                </a:cubicBezTo>
                <a:cubicBezTo>
                  <a:pt x="43" y="108"/>
                  <a:pt x="43" y="108"/>
                  <a:pt x="43" y="108"/>
                </a:cubicBezTo>
                <a:cubicBezTo>
                  <a:pt x="43" y="109"/>
                  <a:pt x="43" y="109"/>
                  <a:pt x="43" y="109"/>
                </a:cubicBez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5" name="Freeform 13">
            <a:extLst>
              <a:ext uri="{FF2B5EF4-FFF2-40B4-BE49-F238E27FC236}">
                <a16:creationId xmlns:a16="http://schemas.microsoft.com/office/drawing/2014/main" id="{0D2C7C60-2ABD-92F1-C615-52E82675E27C}"/>
              </a:ext>
            </a:extLst>
          </p:cNvPr>
          <p:cNvSpPr>
            <a:spLocks noEditPoints="1"/>
          </p:cNvSpPr>
          <p:nvPr userDrawn="1"/>
        </p:nvSpPr>
        <p:spPr bwMode="auto">
          <a:xfrm>
            <a:off x="20810767" y="5860331"/>
            <a:ext cx="981014" cy="1898650"/>
          </a:xfrm>
          <a:custGeom>
            <a:avLst/>
            <a:gdLst>
              <a:gd name="T0" fmla="*/ 128 w 309"/>
              <a:gd name="T1" fmla="*/ 288 h 598"/>
              <a:gd name="T2" fmla="*/ 12 w 309"/>
              <a:gd name="T3" fmla="*/ 591 h 598"/>
              <a:gd name="T4" fmla="*/ 68 w 309"/>
              <a:gd name="T5" fmla="*/ 544 h 598"/>
              <a:gd name="T6" fmla="*/ 68 w 309"/>
              <a:gd name="T7" fmla="*/ 544 h 598"/>
              <a:gd name="T8" fmla="*/ 90 w 309"/>
              <a:gd name="T9" fmla="*/ 497 h 598"/>
              <a:gd name="T10" fmla="*/ 93 w 309"/>
              <a:gd name="T11" fmla="*/ 497 h 598"/>
              <a:gd name="T12" fmla="*/ 215 w 309"/>
              <a:gd name="T13" fmla="*/ 125 h 598"/>
              <a:gd name="T14" fmla="*/ 206 w 309"/>
              <a:gd name="T15" fmla="*/ 84 h 598"/>
              <a:gd name="T16" fmla="*/ 222 w 309"/>
              <a:gd name="T17" fmla="*/ 72 h 598"/>
              <a:gd name="T18" fmla="*/ 222 w 309"/>
              <a:gd name="T19" fmla="*/ 44 h 598"/>
              <a:gd name="T20" fmla="*/ 219 w 309"/>
              <a:gd name="T21" fmla="*/ 0 h 598"/>
              <a:gd name="T22" fmla="*/ 272 w 309"/>
              <a:gd name="T23" fmla="*/ 41 h 598"/>
              <a:gd name="T24" fmla="*/ 294 w 309"/>
              <a:gd name="T25" fmla="*/ 47 h 598"/>
              <a:gd name="T26" fmla="*/ 306 w 309"/>
              <a:gd name="T27" fmla="*/ 63 h 598"/>
              <a:gd name="T28" fmla="*/ 275 w 309"/>
              <a:gd name="T29" fmla="*/ 88 h 598"/>
              <a:gd name="T30" fmla="*/ 240 w 309"/>
              <a:gd name="T31" fmla="*/ 88 h 598"/>
              <a:gd name="T32" fmla="*/ 225 w 309"/>
              <a:gd name="T33" fmla="*/ 100 h 598"/>
              <a:gd name="T34" fmla="*/ 219 w 309"/>
              <a:gd name="T35" fmla="*/ 128 h 598"/>
              <a:gd name="T36" fmla="*/ 215 w 309"/>
              <a:gd name="T37" fmla="*/ 225 h 598"/>
              <a:gd name="T38" fmla="*/ 68 w 309"/>
              <a:gd name="T39" fmla="*/ 369 h 598"/>
              <a:gd name="T40" fmla="*/ 62 w 309"/>
              <a:gd name="T41" fmla="*/ 379 h 598"/>
              <a:gd name="T42" fmla="*/ 59 w 309"/>
              <a:gd name="T43" fmla="*/ 385 h 598"/>
              <a:gd name="T44" fmla="*/ 87 w 309"/>
              <a:gd name="T45" fmla="*/ 394 h 598"/>
              <a:gd name="T46" fmla="*/ 84 w 309"/>
              <a:gd name="T47" fmla="*/ 385 h 598"/>
              <a:gd name="T48" fmla="*/ 156 w 309"/>
              <a:gd name="T49" fmla="*/ 332 h 598"/>
              <a:gd name="T50" fmla="*/ 144 w 309"/>
              <a:gd name="T51" fmla="*/ 372 h 598"/>
              <a:gd name="T52" fmla="*/ 172 w 309"/>
              <a:gd name="T53" fmla="*/ 344 h 598"/>
              <a:gd name="T54" fmla="*/ 137 w 309"/>
              <a:gd name="T55" fmla="*/ 347 h 598"/>
              <a:gd name="T56" fmla="*/ 137 w 309"/>
              <a:gd name="T57" fmla="*/ 372 h 598"/>
              <a:gd name="T58" fmla="*/ 115 w 309"/>
              <a:gd name="T59" fmla="*/ 435 h 598"/>
              <a:gd name="T60" fmla="*/ 112 w 309"/>
              <a:gd name="T61" fmla="*/ 413 h 598"/>
              <a:gd name="T62" fmla="*/ 122 w 309"/>
              <a:gd name="T63" fmla="*/ 372 h 598"/>
              <a:gd name="T64" fmla="*/ 106 w 309"/>
              <a:gd name="T65" fmla="*/ 357 h 598"/>
              <a:gd name="T66" fmla="*/ 122 w 309"/>
              <a:gd name="T67" fmla="*/ 335 h 598"/>
              <a:gd name="T68" fmla="*/ 156 w 309"/>
              <a:gd name="T69" fmla="*/ 325 h 598"/>
              <a:gd name="T70" fmla="*/ 175 w 309"/>
              <a:gd name="T71" fmla="*/ 344 h 598"/>
              <a:gd name="T72" fmla="*/ 203 w 309"/>
              <a:gd name="T73" fmla="*/ 332 h 598"/>
              <a:gd name="T74" fmla="*/ 206 w 309"/>
              <a:gd name="T75" fmla="*/ 319 h 598"/>
              <a:gd name="T76" fmla="*/ 219 w 309"/>
              <a:gd name="T77" fmla="*/ 319 h 598"/>
              <a:gd name="T78" fmla="*/ 247 w 309"/>
              <a:gd name="T79" fmla="*/ 316 h 598"/>
              <a:gd name="T80" fmla="*/ 259 w 309"/>
              <a:gd name="T81" fmla="*/ 300 h 598"/>
              <a:gd name="T82" fmla="*/ 272 w 309"/>
              <a:gd name="T83" fmla="*/ 278 h 598"/>
              <a:gd name="T84" fmla="*/ 275 w 309"/>
              <a:gd name="T85" fmla="*/ 213 h 598"/>
              <a:gd name="T86" fmla="*/ 272 w 309"/>
              <a:gd name="T87" fmla="*/ 181 h 598"/>
              <a:gd name="T88" fmla="*/ 244 w 309"/>
              <a:gd name="T89" fmla="*/ 125 h 598"/>
              <a:gd name="T90" fmla="*/ 244 w 309"/>
              <a:gd name="T91" fmla="*/ 135 h 598"/>
              <a:gd name="T92" fmla="*/ 225 w 309"/>
              <a:gd name="T93" fmla="*/ 131 h 598"/>
              <a:gd name="T94" fmla="*/ 219 w 309"/>
              <a:gd name="T95" fmla="*/ 169 h 598"/>
              <a:gd name="T96" fmla="*/ 222 w 309"/>
              <a:gd name="T97" fmla="*/ 235 h 598"/>
              <a:gd name="T98" fmla="*/ 194 w 309"/>
              <a:gd name="T99" fmla="*/ 247 h 598"/>
              <a:gd name="T100" fmla="*/ 181 w 309"/>
              <a:gd name="T101" fmla="*/ 278 h 598"/>
              <a:gd name="T102" fmla="*/ 172 w 309"/>
              <a:gd name="T103" fmla="*/ 300 h 598"/>
              <a:gd name="T104" fmla="*/ 134 w 309"/>
              <a:gd name="T105" fmla="*/ 303 h 598"/>
              <a:gd name="T106" fmla="*/ 93 w 309"/>
              <a:gd name="T107" fmla="*/ 338 h 598"/>
              <a:gd name="T108" fmla="*/ 75 w 309"/>
              <a:gd name="T109" fmla="*/ 366 h 598"/>
              <a:gd name="T110" fmla="*/ 78 w 309"/>
              <a:gd name="T111" fmla="*/ 382 h 598"/>
              <a:gd name="T112" fmla="*/ 84 w 309"/>
              <a:gd name="T113" fmla="*/ 372 h 598"/>
              <a:gd name="T114" fmla="*/ 93 w 309"/>
              <a:gd name="T115" fmla="*/ 410 h 598"/>
              <a:gd name="T116" fmla="*/ 106 w 309"/>
              <a:gd name="T117" fmla="*/ 407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9" h="598">
                <a:moveTo>
                  <a:pt x="125" y="288"/>
                </a:moveTo>
                <a:lnTo>
                  <a:pt x="125" y="288"/>
                </a:lnTo>
                <a:lnTo>
                  <a:pt x="125" y="291"/>
                </a:lnTo>
                <a:lnTo>
                  <a:pt x="125" y="288"/>
                </a:lnTo>
                <a:lnTo>
                  <a:pt x="125" y="288"/>
                </a:lnTo>
                <a:lnTo>
                  <a:pt x="125" y="288"/>
                </a:lnTo>
                <a:close/>
                <a:moveTo>
                  <a:pt x="128" y="288"/>
                </a:moveTo>
                <a:lnTo>
                  <a:pt x="128" y="285"/>
                </a:lnTo>
                <a:lnTo>
                  <a:pt x="128" y="282"/>
                </a:lnTo>
                <a:lnTo>
                  <a:pt x="131" y="282"/>
                </a:lnTo>
                <a:lnTo>
                  <a:pt x="131" y="285"/>
                </a:lnTo>
                <a:lnTo>
                  <a:pt x="128" y="288"/>
                </a:lnTo>
                <a:lnTo>
                  <a:pt x="128" y="288"/>
                </a:lnTo>
                <a:lnTo>
                  <a:pt x="128" y="288"/>
                </a:lnTo>
                <a:close/>
                <a:moveTo>
                  <a:pt x="6" y="598"/>
                </a:moveTo>
                <a:lnTo>
                  <a:pt x="3" y="594"/>
                </a:lnTo>
                <a:lnTo>
                  <a:pt x="0" y="594"/>
                </a:lnTo>
                <a:lnTo>
                  <a:pt x="0" y="598"/>
                </a:lnTo>
                <a:lnTo>
                  <a:pt x="3" y="598"/>
                </a:lnTo>
                <a:lnTo>
                  <a:pt x="6" y="598"/>
                </a:lnTo>
                <a:lnTo>
                  <a:pt x="6" y="598"/>
                </a:lnTo>
                <a:close/>
                <a:moveTo>
                  <a:pt x="6" y="591"/>
                </a:moveTo>
                <a:lnTo>
                  <a:pt x="9" y="591"/>
                </a:lnTo>
                <a:lnTo>
                  <a:pt x="12" y="591"/>
                </a:lnTo>
                <a:lnTo>
                  <a:pt x="9" y="594"/>
                </a:lnTo>
                <a:lnTo>
                  <a:pt x="9" y="594"/>
                </a:lnTo>
                <a:lnTo>
                  <a:pt x="6" y="591"/>
                </a:lnTo>
                <a:lnTo>
                  <a:pt x="6" y="591"/>
                </a:lnTo>
                <a:close/>
                <a:moveTo>
                  <a:pt x="25" y="579"/>
                </a:moveTo>
                <a:lnTo>
                  <a:pt x="25" y="582"/>
                </a:lnTo>
                <a:lnTo>
                  <a:pt x="28" y="585"/>
                </a:lnTo>
                <a:lnTo>
                  <a:pt x="28" y="585"/>
                </a:lnTo>
                <a:lnTo>
                  <a:pt x="31" y="582"/>
                </a:lnTo>
                <a:lnTo>
                  <a:pt x="25" y="579"/>
                </a:lnTo>
                <a:lnTo>
                  <a:pt x="25" y="579"/>
                </a:lnTo>
                <a:close/>
                <a:moveTo>
                  <a:pt x="68" y="544"/>
                </a:moveTo>
                <a:lnTo>
                  <a:pt x="65" y="538"/>
                </a:lnTo>
                <a:lnTo>
                  <a:pt x="72" y="538"/>
                </a:lnTo>
                <a:lnTo>
                  <a:pt x="72" y="535"/>
                </a:lnTo>
                <a:lnTo>
                  <a:pt x="68" y="535"/>
                </a:lnTo>
                <a:lnTo>
                  <a:pt x="75" y="532"/>
                </a:lnTo>
                <a:lnTo>
                  <a:pt x="75" y="529"/>
                </a:lnTo>
                <a:lnTo>
                  <a:pt x="78" y="532"/>
                </a:lnTo>
                <a:lnTo>
                  <a:pt x="75" y="535"/>
                </a:lnTo>
                <a:lnTo>
                  <a:pt x="75" y="538"/>
                </a:lnTo>
                <a:lnTo>
                  <a:pt x="72" y="541"/>
                </a:lnTo>
                <a:lnTo>
                  <a:pt x="72" y="544"/>
                </a:lnTo>
                <a:lnTo>
                  <a:pt x="68" y="544"/>
                </a:lnTo>
                <a:lnTo>
                  <a:pt x="68" y="544"/>
                </a:lnTo>
                <a:close/>
                <a:moveTo>
                  <a:pt x="87" y="504"/>
                </a:moveTo>
                <a:lnTo>
                  <a:pt x="87" y="507"/>
                </a:lnTo>
                <a:lnTo>
                  <a:pt x="90" y="510"/>
                </a:lnTo>
                <a:lnTo>
                  <a:pt x="87" y="510"/>
                </a:lnTo>
                <a:lnTo>
                  <a:pt x="84" y="510"/>
                </a:lnTo>
                <a:lnTo>
                  <a:pt x="84" y="507"/>
                </a:lnTo>
                <a:lnTo>
                  <a:pt x="87" y="504"/>
                </a:lnTo>
                <a:lnTo>
                  <a:pt x="87" y="504"/>
                </a:lnTo>
                <a:close/>
                <a:moveTo>
                  <a:pt x="93" y="497"/>
                </a:moveTo>
                <a:lnTo>
                  <a:pt x="93" y="497"/>
                </a:lnTo>
                <a:lnTo>
                  <a:pt x="90" y="497"/>
                </a:lnTo>
                <a:lnTo>
                  <a:pt x="87" y="494"/>
                </a:lnTo>
                <a:lnTo>
                  <a:pt x="90" y="494"/>
                </a:lnTo>
                <a:lnTo>
                  <a:pt x="93" y="491"/>
                </a:lnTo>
                <a:lnTo>
                  <a:pt x="93" y="491"/>
                </a:lnTo>
                <a:lnTo>
                  <a:pt x="93" y="491"/>
                </a:lnTo>
                <a:lnTo>
                  <a:pt x="97" y="488"/>
                </a:lnTo>
                <a:lnTo>
                  <a:pt x="97" y="488"/>
                </a:lnTo>
                <a:lnTo>
                  <a:pt x="100" y="488"/>
                </a:lnTo>
                <a:lnTo>
                  <a:pt x="100" y="491"/>
                </a:lnTo>
                <a:lnTo>
                  <a:pt x="97" y="494"/>
                </a:lnTo>
                <a:lnTo>
                  <a:pt x="93" y="497"/>
                </a:lnTo>
                <a:lnTo>
                  <a:pt x="93" y="497"/>
                </a:lnTo>
                <a:lnTo>
                  <a:pt x="93" y="497"/>
                </a:lnTo>
                <a:close/>
                <a:moveTo>
                  <a:pt x="197" y="106"/>
                </a:moveTo>
                <a:lnTo>
                  <a:pt x="194" y="106"/>
                </a:lnTo>
                <a:lnTo>
                  <a:pt x="194" y="103"/>
                </a:lnTo>
                <a:lnTo>
                  <a:pt x="197" y="100"/>
                </a:lnTo>
                <a:lnTo>
                  <a:pt x="200" y="100"/>
                </a:lnTo>
                <a:lnTo>
                  <a:pt x="197" y="103"/>
                </a:lnTo>
                <a:lnTo>
                  <a:pt x="197" y="106"/>
                </a:lnTo>
                <a:lnTo>
                  <a:pt x="197" y="106"/>
                </a:lnTo>
                <a:lnTo>
                  <a:pt x="197" y="106"/>
                </a:lnTo>
                <a:close/>
                <a:moveTo>
                  <a:pt x="219" y="128"/>
                </a:moveTo>
                <a:lnTo>
                  <a:pt x="215" y="125"/>
                </a:lnTo>
                <a:lnTo>
                  <a:pt x="215" y="122"/>
                </a:lnTo>
                <a:lnTo>
                  <a:pt x="215" y="122"/>
                </a:lnTo>
                <a:lnTo>
                  <a:pt x="215" y="113"/>
                </a:lnTo>
                <a:lnTo>
                  <a:pt x="212" y="106"/>
                </a:lnTo>
                <a:lnTo>
                  <a:pt x="209" y="103"/>
                </a:lnTo>
                <a:lnTo>
                  <a:pt x="206" y="103"/>
                </a:lnTo>
                <a:lnTo>
                  <a:pt x="203" y="103"/>
                </a:lnTo>
                <a:lnTo>
                  <a:pt x="203" y="100"/>
                </a:lnTo>
                <a:lnTo>
                  <a:pt x="203" y="94"/>
                </a:lnTo>
                <a:lnTo>
                  <a:pt x="203" y="91"/>
                </a:lnTo>
                <a:lnTo>
                  <a:pt x="203" y="88"/>
                </a:lnTo>
                <a:lnTo>
                  <a:pt x="206" y="84"/>
                </a:lnTo>
                <a:lnTo>
                  <a:pt x="206" y="84"/>
                </a:lnTo>
                <a:lnTo>
                  <a:pt x="209" y="84"/>
                </a:lnTo>
                <a:lnTo>
                  <a:pt x="212" y="78"/>
                </a:lnTo>
                <a:lnTo>
                  <a:pt x="212" y="78"/>
                </a:lnTo>
                <a:lnTo>
                  <a:pt x="212" y="75"/>
                </a:lnTo>
                <a:lnTo>
                  <a:pt x="209" y="72"/>
                </a:lnTo>
                <a:lnTo>
                  <a:pt x="206" y="72"/>
                </a:lnTo>
                <a:lnTo>
                  <a:pt x="206" y="72"/>
                </a:lnTo>
                <a:lnTo>
                  <a:pt x="206" y="69"/>
                </a:lnTo>
                <a:lnTo>
                  <a:pt x="209" y="69"/>
                </a:lnTo>
                <a:lnTo>
                  <a:pt x="215" y="72"/>
                </a:lnTo>
                <a:lnTo>
                  <a:pt x="222" y="72"/>
                </a:lnTo>
                <a:lnTo>
                  <a:pt x="225" y="69"/>
                </a:lnTo>
                <a:lnTo>
                  <a:pt x="225" y="66"/>
                </a:lnTo>
                <a:lnTo>
                  <a:pt x="225" y="66"/>
                </a:lnTo>
                <a:lnTo>
                  <a:pt x="225" y="63"/>
                </a:lnTo>
                <a:lnTo>
                  <a:pt x="225" y="63"/>
                </a:lnTo>
                <a:lnTo>
                  <a:pt x="222" y="59"/>
                </a:lnTo>
                <a:lnTo>
                  <a:pt x="222" y="56"/>
                </a:lnTo>
                <a:lnTo>
                  <a:pt x="219" y="53"/>
                </a:lnTo>
                <a:lnTo>
                  <a:pt x="222" y="50"/>
                </a:lnTo>
                <a:lnTo>
                  <a:pt x="225" y="50"/>
                </a:lnTo>
                <a:lnTo>
                  <a:pt x="225" y="47"/>
                </a:lnTo>
                <a:lnTo>
                  <a:pt x="222" y="44"/>
                </a:lnTo>
                <a:lnTo>
                  <a:pt x="222" y="38"/>
                </a:lnTo>
                <a:lnTo>
                  <a:pt x="222" y="34"/>
                </a:lnTo>
                <a:lnTo>
                  <a:pt x="222" y="28"/>
                </a:lnTo>
                <a:lnTo>
                  <a:pt x="219" y="25"/>
                </a:lnTo>
                <a:lnTo>
                  <a:pt x="212" y="13"/>
                </a:lnTo>
                <a:lnTo>
                  <a:pt x="212" y="9"/>
                </a:lnTo>
                <a:lnTo>
                  <a:pt x="209" y="6"/>
                </a:lnTo>
                <a:lnTo>
                  <a:pt x="212" y="3"/>
                </a:lnTo>
                <a:lnTo>
                  <a:pt x="212" y="3"/>
                </a:lnTo>
                <a:lnTo>
                  <a:pt x="215" y="3"/>
                </a:lnTo>
                <a:lnTo>
                  <a:pt x="215" y="0"/>
                </a:lnTo>
                <a:lnTo>
                  <a:pt x="219" y="0"/>
                </a:lnTo>
                <a:lnTo>
                  <a:pt x="219" y="3"/>
                </a:lnTo>
                <a:lnTo>
                  <a:pt x="228" y="9"/>
                </a:lnTo>
                <a:lnTo>
                  <a:pt x="231" y="9"/>
                </a:lnTo>
                <a:lnTo>
                  <a:pt x="234" y="16"/>
                </a:lnTo>
                <a:lnTo>
                  <a:pt x="244" y="25"/>
                </a:lnTo>
                <a:lnTo>
                  <a:pt x="250" y="28"/>
                </a:lnTo>
                <a:lnTo>
                  <a:pt x="250" y="31"/>
                </a:lnTo>
                <a:lnTo>
                  <a:pt x="253" y="31"/>
                </a:lnTo>
                <a:lnTo>
                  <a:pt x="256" y="34"/>
                </a:lnTo>
                <a:lnTo>
                  <a:pt x="262" y="38"/>
                </a:lnTo>
                <a:lnTo>
                  <a:pt x="269" y="38"/>
                </a:lnTo>
                <a:lnTo>
                  <a:pt x="272" y="41"/>
                </a:lnTo>
                <a:lnTo>
                  <a:pt x="275" y="41"/>
                </a:lnTo>
                <a:lnTo>
                  <a:pt x="275" y="41"/>
                </a:lnTo>
                <a:lnTo>
                  <a:pt x="281" y="41"/>
                </a:lnTo>
                <a:lnTo>
                  <a:pt x="287" y="38"/>
                </a:lnTo>
                <a:lnTo>
                  <a:pt x="290" y="34"/>
                </a:lnTo>
                <a:lnTo>
                  <a:pt x="290" y="28"/>
                </a:lnTo>
                <a:lnTo>
                  <a:pt x="294" y="28"/>
                </a:lnTo>
                <a:lnTo>
                  <a:pt x="294" y="31"/>
                </a:lnTo>
                <a:lnTo>
                  <a:pt x="294" y="34"/>
                </a:lnTo>
                <a:lnTo>
                  <a:pt x="290" y="41"/>
                </a:lnTo>
                <a:lnTo>
                  <a:pt x="290" y="44"/>
                </a:lnTo>
                <a:lnTo>
                  <a:pt x="294" y="47"/>
                </a:lnTo>
                <a:lnTo>
                  <a:pt x="297" y="50"/>
                </a:lnTo>
                <a:lnTo>
                  <a:pt x="300" y="53"/>
                </a:lnTo>
                <a:lnTo>
                  <a:pt x="300" y="56"/>
                </a:lnTo>
                <a:lnTo>
                  <a:pt x="300" y="59"/>
                </a:lnTo>
                <a:lnTo>
                  <a:pt x="303" y="59"/>
                </a:lnTo>
                <a:lnTo>
                  <a:pt x="306" y="56"/>
                </a:lnTo>
                <a:lnTo>
                  <a:pt x="309" y="53"/>
                </a:lnTo>
                <a:lnTo>
                  <a:pt x="309" y="53"/>
                </a:lnTo>
                <a:lnTo>
                  <a:pt x="309" y="56"/>
                </a:lnTo>
                <a:lnTo>
                  <a:pt x="306" y="56"/>
                </a:lnTo>
                <a:lnTo>
                  <a:pt x="306" y="59"/>
                </a:lnTo>
                <a:lnTo>
                  <a:pt x="306" y="63"/>
                </a:lnTo>
                <a:lnTo>
                  <a:pt x="300" y="63"/>
                </a:lnTo>
                <a:lnTo>
                  <a:pt x="300" y="66"/>
                </a:lnTo>
                <a:lnTo>
                  <a:pt x="300" y="69"/>
                </a:lnTo>
                <a:lnTo>
                  <a:pt x="297" y="69"/>
                </a:lnTo>
                <a:lnTo>
                  <a:pt x="294" y="69"/>
                </a:lnTo>
                <a:lnTo>
                  <a:pt x="294" y="69"/>
                </a:lnTo>
                <a:lnTo>
                  <a:pt x="294" y="72"/>
                </a:lnTo>
                <a:lnTo>
                  <a:pt x="287" y="72"/>
                </a:lnTo>
                <a:lnTo>
                  <a:pt x="284" y="72"/>
                </a:lnTo>
                <a:lnTo>
                  <a:pt x="281" y="72"/>
                </a:lnTo>
                <a:lnTo>
                  <a:pt x="275" y="78"/>
                </a:lnTo>
                <a:lnTo>
                  <a:pt x="275" y="88"/>
                </a:lnTo>
                <a:lnTo>
                  <a:pt x="272" y="94"/>
                </a:lnTo>
                <a:lnTo>
                  <a:pt x="275" y="97"/>
                </a:lnTo>
                <a:lnTo>
                  <a:pt x="272" y="100"/>
                </a:lnTo>
                <a:lnTo>
                  <a:pt x="272" y="103"/>
                </a:lnTo>
                <a:lnTo>
                  <a:pt x="269" y="103"/>
                </a:lnTo>
                <a:lnTo>
                  <a:pt x="269" y="100"/>
                </a:lnTo>
                <a:lnTo>
                  <a:pt x="262" y="97"/>
                </a:lnTo>
                <a:lnTo>
                  <a:pt x="256" y="94"/>
                </a:lnTo>
                <a:lnTo>
                  <a:pt x="250" y="91"/>
                </a:lnTo>
                <a:lnTo>
                  <a:pt x="247" y="88"/>
                </a:lnTo>
                <a:lnTo>
                  <a:pt x="244" y="88"/>
                </a:lnTo>
                <a:lnTo>
                  <a:pt x="240" y="88"/>
                </a:lnTo>
                <a:lnTo>
                  <a:pt x="240" y="84"/>
                </a:lnTo>
                <a:lnTo>
                  <a:pt x="234" y="84"/>
                </a:lnTo>
                <a:lnTo>
                  <a:pt x="231" y="88"/>
                </a:lnTo>
                <a:lnTo>
                  <a:pt x="225" y="94"/>
                </a:lnTo>
                <a:lnTo>
                  <a:pt x="225" y="94"/>
                </a:lnTo>
                <a:lnTo>
                  <a:pt x="219" y="91"/>
                </a:lnTo>
                <a:lnTo>
                  <a:pt x="215" y="91"/>
                </a:lnTo>
                <a:lnTo>
                  <a:pt x="215" y="94"/>
                </a:lnTo>
                <a:lnTo>
                  <a:pt x="215" y="97"/>
                </a:lnTo>
                <a:lnTo>
                  <a:pt x="215" y="100"/>
                </a:lnTo>
                <a:lnTo>
                  <a:pt x="219" y="103"/>
                </a:lnTo>
                <a:lnTo>
                  <a:pt x="225" y="100"/>
                </a:lnTo>
                <a:lnTo>
                  <a:pt x="228" y="106"/>
                </a:lnTo>
                <a:lnTo>
                  <a:pt x="234" y="106"/>
                </a:lnTo>
                <a:lnTo>
                  <a:pt x="237" y="106"/>
                </a:lnTo>
                <a:lnTo>
                  <a:pt x="240" y="110"/>
                </a:lnTo>
                <a:lnTo>
                  <a:pt x="237" y="113"/>
                </a:lnTo>
                <a:lnTo>
                  <a:pt x="234" y="116"/>
                </a:lnTo>
                <a:lnTo>
                  <a:pt x="231" y="116"/>
                </a:lnTo>
                <a:lnTo>
                  <a:pt x="228" y="113"/>
                </a:lnTo>
                <a:lnTo>
                  <a:pt x="225" y="116"/>
                </a:lnTo>
                <a:lnTo>
                  <a:pt x="225" y="119"/>
                </a:lnTo>
                <a:lnTo>
                  <a:pt x="225" y="122"/>
                </a:lnTo>
                <a:lnTo>
                  <a:pt x="219" y="128"/>
                </a:lnTo>
                <a:lnTo>
                  <a:pt x="219" y="128"/>
                </a:lnTo>
                <a:close/>
                <a:moveTo>
                  <a:pt x="212" y="235"/>
                </a:moveTo>
                <a:lnTo>
                  <a:pt x="212" y="232"/>
                </a:lnTo>
                <a:lnTo>
                  <a:pt x="215" y="228"/>
                </a:lnTo>
                <a:lnTo>
                  <a:pt x="212" y="228"/>
                </a:lnTo>
                <a:lnTo>
                  <a:pt x="212" y="232"/>
                </a:lnTo>
                <a:lnTo>
                  <a:pt x="212" y="228"/>
                </a:lnTo>
                <a:lnTo>
                  <a:pt x="212" y="222"/>
                </a:lnTo>
                <a:lnTo>
                  <a:pt x="215" y="219"/>
                </a:lnTo>
                <a:lnTo>
                  <a:pt x="215" y="222"/>
                </a:lnTo>
                <a:lnTo>
                  <a:pt x="215" y="225"/>
                </a:lnTo>
                <a:lnTo>
                  <a:pt x="215" y="225"/>
                </a:lnTo>
                <a:lnTo>
                  <a:pt x="219" y="228"/>
                </a:lnTo>
                <a:lnTo>
                  <a:pt x="215" y="232"/>
                </a:lnTo>
                <a:lnTo>
                  <a:pt x="215" y="235"/>
                </a:lnTo>
                <a:lnTo>
                  <a:pt x="212" y="235"/>
                </a:lnTo>
                <a:lnTo>
                  <a:pt x="212" y="235"/>
                </a:lnTo>
                <a:close/>
                <a:moveTo>
                  <a:pt x="68" y="369"/>
                </a:moveTo>
                <a:lnTo>
                  <a:pt x="72" y="369"/>
                </a:lnTo>
                <a:lnTo>
                  <a:pt x="72" y="369"/>
                </a:lnTo>
                <a:lnTo>
                  <a:pt x="68" y="369"/>
                </a:lnTo>
                <a:lnTo>
                  <a:pt x="68" y="369"/>
                </a:lnTo>
                <a:lnTo>
                  <a:pt x="68" y="369"/>
                </a:lnTo>
                <a:lnTo>
                  <a:pt x="68" y="369"/>
                </a:lnTo>
                <a:close/>
                <a:moveTo>
                  <a:pt x="68" y="372"/>
                </a:moveTo>
                <a:lnTo>
                  <a:pt x="68" y="372"/>
                </a:lnTo>
                <a:lnTo>
                  <a:pt x="68" y="372"/>
                </a:lnTo>
                <a:lnTo>
                  <a:pt x="68" y="372"/>
                </a:lnTo>
                <a:lnTo>
                  <a:pt x="68" y="372"/>
                </a:lnTo>
                <a:close/>
                <a:moveTo>
                  <a:pt x="65" y="372"/>
                </a:moveTo>
                <a:lnTo>
                  <a:pt x="65" y="375"/>
                </a:lnTo>
                <a:lnTo>
                  <a:pt x="68" y="372"/>
                </a:lnTo>
                <a:lnTo>
                  <a:pt x="65" y="372"/>
                </a:lnTo>
                <a:lnTo>
                  <a:pt x="65" y="372"/>
                </a:lnTo>
                <a:close/>
                <a:moveTo>
                  <a:pt x="62" y="375"/>
                </a:moveTo>
                <a:lnTo>
                  <a:pt x="62" y="379"/>
                </a:lnTo>
                <a:lnTo>
                  <a:pt x="65" y="375"/>
                </a:lnTo>
                <a:lnTo>
                  <a:pt x="62" y="375"/>
                </a:lnTo>
                <a:lnTo>
                  <a:pt x="62" y="375"/>
                </a:lnTo>
                <a:close/>
                <a:moveTo>
                  <a:pt x="59" y="385"/>
                </a:moveTo>
                <a:lnTo>
                  <a:pt x="59" y="382"/>
                </a:lnTo>
                <a:lnTo>
                  <a:pt x="59" y="379"/>
                </a:lnTo>
                <a:lnTo>
                  <a:pt x="59" y="379"/>
                </a:lnTo>
                <a:lnTo>
                  <a:pt x="62" y="379"/>
                </a:lnTo>
                <a:lnTo>
                  <a:pt x="62" y="382"/>
                </a:lnTo>
                <a:lnTo>
                  <a:pt x="65" y="385"/>
                </a:lnTo>
                <a:lnTo>
                  <a:pt x="62" y="385"/>
                </a:lnTo>
                <a:lnTo>
                  <a:pt x="59" y="385"/>
                </a:lnTo>
                <a:lnTo>
                  <a:pt x="59" y="385"/>
                </a:lnTo>
                <a:close/>
                <a:moveTo>
                  <a:pt x="90" y="388"/>
                </a:moveTo>
                <a:lnTo>
                  <a:pt x="90" y="385"/>
                </a:lnTo>
                <a:lnTo>
                  <a:pt x="90" y="385"/>
                </a:lnTo>
                <a:lnTo>
                  <a:pt x="93" y="385"/>
                </a:lnTo>
                <a:lnTo>
                  <a:pt x="90" y="388"/>
                </a:lnTo>
                <a:lnTo>
                  <a:pt x="90" y="388"/>
                </a:lnTo>
                <a:lnTo>
                  <a:pt x="90" y="388"/>
                </a:lnTo>
                <a:close/>
                <a:moveTo>
                  <a:pt x="87" y="394"/>
                </a:moveTo>
                <a:lnTo>
                  <a:pt x="87" y="391"/>
                </a:lnTo>
                <a:lnTo>
                  <a:pt x="90" y="394"/>
                </a:lnTo>
                <a:lnTo>
                  <a:pt x="87" y="394"/>
                </a:lnTo>
                <a:lnTo>
                  <a:pt x="87" y="394"/>
                </a:lnTo>
                <a:lnTo>
                  <a:pt x="87" y="394"/>
                </a:lnTo>
                <a:close/>
                <a:moveTo>
                  <a:pt x="84" y="385"/>
                </a:moveTo>
                <a:lnTo>
                  <a:pt x="84" y="385"/>
                </a:lnTo>
                <a:lnTo>
                  <a:pt x="84" y="388"/>
                </a:lnTo>
                <a:lnTo>
                  <a:pt x="84" y="391"/>
                </a:lnTo>
                <a:lnTo>
                  <a:pt x="87" y="391"/>
                </a:lnTo>
                <a:lnTo>
                  <a:pt x="87" y="388"/>
                </a:lnTo>
                <a:lnTo>
                  <a:pt x="87" y="385"/>
                </a:lnTo>
                <a:lnTo>
                  <a:pt x="84" y="385"/>
                </a:lnTo>
                <a:lnTo>
                  <a:pt x="84" y="385"/>
                </a:lnTo>
                <a:lnTo>
                  <a:pt x="84" y="385"/>
                </a:lnTo>
                <a:close/>
                <a:moveTo>
                  <a:pt x="169" y="335"/>
                </a:moveTo>
                <a:lnTo>
                  <a:pt x="169" y="332"/>
                </a:lnTo>
                <a:lnTo>
                  <a:pt x="169" y="329"/>
                </a:lnTo>
                <a:lnTo>
                  <a:pt x="169" y="329"/>
                </a:lnTo>
                <a:lnTo>
                  <a:pt x="172" y="325"/>
                </a:lnTo>
                <a:lnTo>
                  <a:pt x="172" y="329"/>
                </a:lnTo>
                <a:lnTo>
                  <a:pt x="172" y="332"/>
                </a:lnTo>
                <a:lnTo>
                  <a:pt x="172" y="335"/>
                </a:lnTo>
                <a:lnTo>
                  <a:pt x="172" y="335"/>
                </a:lnTo>
                <a:lnTo>
                  <a:pt x="169" y="335"/>
                </a:lnTo>
                <a:lnTo>
                  <a:pt x="169" y="335"/>
                </a:lnTo>
                <a:close/>
                <a:moveTo>
                  <a:pt x="156" y="332"/>
                </a:moveTo>
                <a:lnTo>
                  <a:pt x="159" y="329"/>
                </a:lnTo>
                <a:lnTo>
                  <a:pt x="162" y="332"/>
                </a:lnTo>
                <a:lnTo>
                  <a:pt x="162" y="332"/>
                </a:lnTo>
                <a:lnTo>
                  <a:pt x="159" y="335"/>
                </a:lnTo>
                <a:lnTo>
                  <a:pt x="156" y="332"/>
                </a:lnTo>
                <a:lnTo>
                  <a:pt x="156" y="332"/>
                </a:lnTo>
                <a:close/>
                <a:moveTo>
                  <a:pt x="137" y="375"/>
                </a:moveTo>
                <a:lnTo>
                  <a:pt x="140" y="375"/>
                </a:lnTo>
                <a:lnTo>
                  <a:pt x="140" y="372"/>
                </a:lnTo>
                <a:lnTo>
                  <a:pt x="144" y="375"/>
                </a:lnTo>
                <a:lnTo>
                  <a:pt x="144" y="372"/>
                </a:lnTo>
                <a:lnTo>
                  <a:pt x="144" y="372"/>
                </a:lnTo>
                <a:lnTo>
                  <a:pt x="140" y="366"/>
                </a:lnTo>
                <a:lnTo>
                  <a:pt x="144" y="363"/>
                </a:lnTo>
                <a:lnTo>
                  <a:pt x="144" y="360"/>
                </a:lnTo>
                <a:lnTo>
                  <a:pt x="150" y="357"/>
                </a:lnTo>
                <a:lnTo>
                  <a:pt x="150" y="354"/>
                </a:lnTo>
                <a:lnTo>
                  <a:pt x="156" y="354"/>
                </a:lnTo>
                <a:lnTo>
                  <a:pt x="159" y="357"/>
                </a:lnTo>
                <a:lnTo>
                  <a:pt x="162" y="360"/>
                </a:lnTo>
                <a:lnTo>
                  <a:pt x="165" y="360"/>
                </a:lnTo>
                <a:lnTo>
                  <a:pt x="165" y="354"/>
                </a:lnTo>
                <a:lnTo>
                  <a:pt x="172" y="347"/>
                </a:lnTo>
                <a:lnTo>
                  <a:pt x="172" y="344"/>
                </a:lnTo>
                <a:lnTo>
                  <a:pt x="169" y="344"/>
                </a:lnTo>
                <a:lnTo>
                  <a:pt x="169" y="341"/>
                </a:lnTo>
                <a:lnTo>
                  <a:pt x="165" y="338"/>
                </a:lnTo>
                <a:lnTo>
                  <a:pt x="162" y="338"/>
                </a:lnTo>
                <a:lnTo>
                  <a:pt x="159" y="335"/>
                </a:lnTo>
                <a:lnTo>
                  <a:pt x="153" y="335"/>
                </a:lnTo>
                <a:lnTo>
                  <a:pt x="150" y="338"/>
                </a:lnTo>
                <a:lnTo>
                  <a:pt x="150" y="341"/>
                </a:lnTo>
                <a:lnTo>
                  <a:pt x="147" y="344"/>
                </a:lnTo>
                <a:lnTo>
                  <a:pt x="144" y="347"/>
                </a:lnTo>
                <a:lnTo>
                  <a:pt x="140" y="347"/>
                </a:lnTo>
                <a:lnTo>
                  <a:pt x="137" y="347"/>
                </a:lnTo>
                <a:lnTo>
                  <a:pt x="137" y="341"/>
                </a:lnTo>
                <a:lnTo>
                  <a:pt x="134" y="341"/>
                </a:lnTo>
                <a:lnTo>
                  <a:pt x="128" y="347"/>
                </a:lnTo>
                <a:lnTo>
                  <a:pt x="128" y="350"/>
                </a:lnTo>
                <a:lnTo>
                  <a:pt x="125" y="354"/>
                </a:lnTo>
                <a:lnTo>
                  <a:pt x="125" y="357"/>
                </a:lnTo>
                <a:lnTo>
                  <a:pt x="131" y="360"/>
                </a:lnTo>
                <a:lnTo>
                  <a:pt x="131" y="363"/>
                </a:lnTo>
                <a:lnTo>
                  <a:pt x="131" y="363"/>
                </a:lnTo>
                <a:lnTo>
                  <a:pt x="131" y="366"/>
                </a:lnTo>
                <a:lnTo>
                  <a:pt x="134" y="372"/>
                </a:lnTo>
                <a:lnTo>
                  <a:pt x="137" y="372"/>
                </a:lnTo>
                <a:lnTo>
                  <a:pt x="137" y="375"/>
                </a:lnTo>
                <a:lnTo>
                  <a:pt x="137" y="375"/>
                </a:lnTo>
                <a:close/>
                <a:moveTo>
                  <a:pt x="112" y="441"/>
                </a:moveTo>
                <a:lnTo>
                  <a:pt x="109" y="438"/>
                </a:lnTo>
                <a:lnTo>
                  <a:pt x="106" y="438"/>
                </a:lnTo>
                <a:lnTo>
                  <a:pt x="106" y="441"/>
                </a:lnTo>
                <a:lnTo>
                  <a:pt x="109" y="444"/>
                </a:lnTo>
                <a:lnTo>
                  <a:pt x="112" y="444"/>
                </a:lnTo>
                <a:lnTo>
                  <a:pt x="112" y="444"/>
                </a:lnTo>
                <a:lnTo>
                  <a:pt x="112" y="441"/>
                </a:lnTo>
                <a:lnTo>
                  <a:pt x="112" y="441"/>
                </a:lnTo>
                <a:close/>
                <a:moveTo>
                  <a:pt x="115" y="435"/>
                </a:moveTo>
                <a:lnTo>
                  <a:pt x="115" y="429"/>
                </a:lnTo>
                <a:lnTo>
                  <a:pt x="115" y="429"/>
                </a:lnTo>
                <a:lnTo>
                  <a:pt x="115" y="429"/>
                </a:lnTo>
                <a:lnTo>
                  <a:pt x="119" y="432"/>
                </a:lnTo>
                <a:lnTo>
                  <a:pt x="115" y="435"/>
                </a:lnTo>
                <a:lnTo>
                  <a:pt x="115" y="435"/>
                </a:lnTo>
                <a:lnTo>
                  <a:pt x="115" y="435"/>
                </a:lnTo>
                <a:close/>
                <a:moveTo>
                  <a:pt x="109" y="425"/>
                </a:moveTo>
                <a:lnTo>
                  <a:pt x="112" y="422"/>
                </a:lnTo>
                <a:lnTo>
                  <a:pt x="115" y="419"/>
                </a:lnTo>
                <a:lnTo>
                  <a:pt x="112" y="413"/>
                </a:lnTo>
                <a:lnTo>
                  <a:pt x="112" y="413"/>
                </a:lnTo>
                <a:lnTo>
                  <a:pt x="115" y="410"/>
                </a:lnTo>
                <a:lnTo>
                  <a:pt x="115" y="413"/>
                </a:lnTo>
                <a:lnTo>
                  <a:pt x="119" y="413"/>
                </a:lnTo>
                <a:lnTo>
                  <a:pt x="119" y="410"/>
                </a:lnTo>
                <a:lnTo>
                  <a:pt x="119" y="404"/>
                </a:lnTo>
                <a:lnTo>
                  <a:pt x="119" y="400"/>
                </a:lnTo>
                <a:lnTo>
                  <a:pt x="119" y="388"/>
                </a:lnTo>
                <a:lnTo>
                  <a:pt x="119" y="382"/>
                </a:lnTo>
                <a:lnTo>
                  <a:pt x="122" y="379"/>
                </a:lnTo>
                <a:lnTo>
                  <a:pt x="125" y="375"/>
                </a:lnTo>
                <a:lnTo>
                  <a:pt x="122" y="372"/>
                </a:lnTo>
                <a:lnTo>
                  <a:pt x="122" y="372"/>
                </a:lnTo>
                <a:lnTo>
                  <a:pt x="122" y="369"/>
                </a:lnTo>
                <a:lnTo>
                  <a:pt x="119" y="369"/>
                </a:lnTo>
                <a:lnTo>
                  <a:pt x="119" y="366"/>
                </a:lnTo>
                <a:lnTo>
                  <a:pt x="112" y="366"/>
                </a:lnTo>
                <a:lnTo>
                  <a:pt x="112" y="363"/>
                </a:lnTo>
                <a:lnTo>
                  <a:pt x="115" y="363"/>
                </a:lnTo>
                <a:lnTo>
                  <a:pt x="115" y="360"/>
                </a:lnTo>
                <a:lnTo>
                  <a:pt x="115" y="354"/>
                </a:lnTo>
                <a:lnTo>
                  <a:pt x="112" y="354"/>
                </a:lnTo>
                <a:lnTo>
                  <a:pt x="109" y="354"/>
                </a:lnTo>
                <a:lnTo>
                  <a:pt x="109" y="354"/>
                </a:lnTo>
                <a:lnTo>
                  <a:pt x="106" y="357"/>
                </a:lnTo>
                <a:lnTo>
                  <a:pt x="103" y="357"/>
                </a:lnTo>
                <a:lnTo>
                  <a:pt x="100" y="350"/>
                </a:lnTo>
                <a:lnTo>
                  <a:pt x="100" y="350"/>
                </a:lnTo>
                <a:lnTo>
                  <a:pt x="106" y="347"/>
                </a:lnTo>
                <a:lnTo>
                  <a:pt x="112" y="344"/>
                </a:lnTo>
                <a:lnTo>
                  <a:pt x="119" y="347"/>
                </a:lnTo>
                <a:lnTo>
                  <a:pt x="122" y="347"/>
                </a:lnTo>
                <a:lnTo>
                  <a:pt x="122" y="347"/>
                </a:lnTo>
                <a:lnTo>
                  <a:pt x="122" y="344"/>
                </a:lnTo>
                <a:lnTo>
                  <a:pt x="122" y="341"/>
                </a:lnTo>
                <a:lnTo>
                  <a:pt x="122" y="338"/>
                </a:lnTo>
                <a:lnTo>
                  <a:pt x="122" y="335"/>
                </a:lnTo>
                <a:lnTo>
                  <a:pt x="125" y="335"/>
                </a:lnTo>
                <a:lnTo>
                  <a:pt x="125" y="338"/>
                </a:lnTo>
                <a:lnTo>
                  <a:pt x="128" y="338"/>
                </a:lnTo>
                <a:lnTo>
                  <a:pt x="131" y="335"/>
                </a:lnTo>
                <a:lnTo>
                  <a:pt x="137" y="335"/>
                </a:lnTo>
                <a:lnTo>
                  <a:pt x="144" y="332"/>
                </a:lnTo>
                <a:lnTo>
                  <a:pt x="150" y="332"/>
                </a:lnTo>
                <a:lnTo>
                  <a:pt x="150" y="332"/>
                </a:lnTo>
                <a:lnTo>
                  <a:pt x="153" y="332"/>
                </a:lnTo>
                <a:lnTo>
                  <a:pt x="153" y="332"/>
                </a:lnTo>
                <a:lnTo>
                  <a:pt x="156" y="329"/>
                </a:lnTo>
                <a:lnTo>
                  <a:pt x="156" y="325"/>
                </a:lnTo>
                <a:lnTo>
                  <a:pt x="162" y="322"/>
                </a:lnTo>
                <a:lnTo>
                  <a:pt x="165" y="322"/>
                </a:lnTo>
                <a:lnTo>
                  <a:pt x="172" y="322"/>
                </a:lnTo>
                <a:lnTo>
                  <a:pt x="175" y="322"/>
                </a:lnTo>
                <a:lnTo>
                  <a:pt x="178" y="322"/>
                </a:lnTo>
                <a:lnTo>
                  <a:pt x="178" y="325"/>
                </a:lnTo>
                <a:lnTo>
                  <a:pt x="175" y="329"/>
                </a:lnTo>
                <a:lnTo>
                  <a:pt x="175" y="335"/>
                </a:lnTo>
                <a:lnTo>
                  <a:pt x="175" y="335"/>
                </a:lnTo>
                <a:lnTo>
                  <a:pt x="175" y="338"/>
                </a:lnTo>
                <a:lnTo>
                  <a:pt x="175" y="341"/>
                </a:lnTo>
                <a:lnTo>
                  <a:pt x="175" y="344"/>
                </a:lnTo>
                <a:lnTo>
                  <a:pt x="178" y="347"/>
                </a:lnTo>
                <a:lnTo>
                  <a:pt x="181" y="347"/>
                </a:lnTo>
                <a:lnTo>
                  <a:pt x="187" y="354"/>
                </a:lnTo>
                <a:lnTo>
                  <a:pt x="190" y="354"/>
                </a:lnTo>
                <a:lnTo>
                  <a:pt x="194" y="354"/>
                </a:lnTo>
                <a:lnTo>
                  <a:pt x="197" y="347"/>
                </a:lnTo>
                <a:lnTo>
                  <a:pt x="197" y="344"/>
                </a:lnTo>
                <a:lnTo>
                  <a:pt x="200" y="344"/>
                </a:lnTo>
                <a:lnTo>
                  <a:pt x="200" y="341"/>
                </a:lnTo>
                <a:lnTo>
                  <a:pt x="200" y="338"/>
                </a:lnTo>
                <a:lnTo>
                  <a:pt x="200" y="335"/>
                </a:lnTo>
                <a:lnTo>
                  <a:pt x="203" y="332"/>
                </a:lnTo>
                <a:lnTo>
                  <a:pt x="206" y="332"/>
                </a:lnTo>
                <a:lnTo>
                  <a:pt x="209" y="332"/>
                </a:lnTo>
                <a:lnTo>
                  <a:pt x="206" y="329"/>
                </a:lnTo>
                <a:lnTo>
                  <a:pt x="206" y="325"/>
                </a:lnTo>
                <a:lnTo>
                  <a:pt x="200" y="322"/>
                </a:lnTo>
                <a:lnTo>
                  <a:pt x="200" y="319"/>
                </a:lnTo>
                <a:lnTo>
                  <a:pt x="200" y="316"/>
                </a:lnTo>
                <a:lnTo>
                  <a:pt x="203" y="313"/>
                </a:lnTo>
                <a:lnTo>
                  <a:pt x="203" y="313"/>
                </a:lnTo>
                <a:lnTo>
                  <a:pt x="203" y="313"/>
                </a:lnTo>
                <a:lnTo>
                  <a:pt x="203" y="319"/>
                </a:lnTo>
                <a:lnTo>
                  <a:pt x="206" y="319"/>
                </a:lnTo>
                <a:lnTo>
                  <a:pt x="206" y="319"/>
                </a:lnTo>
                <a:lnTo>
                  <a:pt x="206" y="316"/>
                </a:lnTo>
                <a:lnTo>
                  <a:pt x="209" y="319"/>
                </a:lnTo>
                <a:lnTo>
                  <a:pt x="212" y="319"/>
                </a:lnTo>
                <a:lnTo>
                  <a:pt x="215" y="319"/>
                </a:lnTo>
                <a:lnTo>
                  <a:pt x="215" y="319"/>
                </a:lnTo>
                <a:lnTo>
                  <a:pt x="215" y="322"/>
                </a:lnTo>
                <a:lnTo>
                  <a:pt x="212" y="322"/>
                </a:lnTo>
                <a:lnTo>
                  <a:pt x="212" y="322"/>
                </a:lnTo>
                <a:lnTo>
                  <a:pt x="212" y="322"/>
                </a:lnTo>
                <a:lnTo>
                  <a:pt x="215" y="322"/>
                </a:lnTo>
                <a:lnTo>
                  <a:pt x="219" y="319"/>
                </a:lnTo>
                <a:lnTo>
                  <a:pt x="231" y="322"/>
                </a:lnTo>
                <a:lnTo>
                  <a:pt x="234" y="319"/>
                </a:lnTo>
                <a:lnTo>
                  <a:pt x="234" y="319"/>
                </a:lnTo>
                <a:lnTo>
                  <a:pt x="231" y="316"/>
                </a:lnTo>
                <a:lnTo>
                  <a:pt x="234" y="310"/>
                </a:lnTo>
                <a:lnTo>
                  <a:pt x="237" y="310"/>
                </a:lnTo>
                <a:lnTo>
                  <a:pt x="240" y="310"/>
                </a:lnTo>
                <a:lnTo>
                  <a:pt x="240" y="313"/>
                </a:lnTo>
                <a:lnTo>
                  <a:pt x="240" y="316"/>
                </a:lnTo>
                <a:lnTo>
                  <a:pt x="244" y="319"/>
                </a:lnTo>
                <a:lnTo>
                  <a:pt x="247" y="319"/>
                </a:lnTo>
                <a:lnTo>
                  <a:pt x="247" y="316"/>
                </a:lnTo>
                <a:lnTo>
                  <a:pt x="247" y="307"/>
                </a:lnTo>
                <a:lnTo>
                  <a:pt x="247" y="303"/>
                </a:lnTo>
                <a:lnTo>
                  <a:pt x="253" y="300"/>
                </a:lnTo>
                <a:lnTo>
                  <a:pt x="253" y="300"/>
                </a:lnTo>
                <a:lnTo>
                  <a:pt x="256" y="297"/>
                </a:lnTo>
                <a:lnTo>
                  <a:pt x="253" y="297"/>
                </a:lnTo>
                <a:lnTo>
                  <a:pt x="253" y="291"/>
                </a:lnTo>
                <a:lnTo>
                  <a:pt x="256" y="291"/>
                </a:lnTo>
                <a:lnTo>
                  <a:pt x="259" y="291"/>
                </a:lnTo>
                <a:lnTo>
                  <a:pt x="262" y="294"/>
                </a:lnTo>
                <a:lnTo>
                  <a:pt x="259" y="294"/>
                </a:lnTo>
                <a:lnTo>
                  <a:pt x="259" y="300"/>
                </a:lnTo>
                <a:lnTo>
                  <a:pt x="259" y="313"/>
                </a:lnTo>
                <a:lnTo>
                  <a:pt x="262" y="313"/>
                </a:lnTo>
                <a:lnTo>
                  <a:pt x="265" y="310"/>
                </a:lnTo>
                <a:lnTo>
                  <a:pt x="265" y="307"/>
                </a:lnTo>
                <a:lnTo>
                  <a:pt x="269" y="307"/>
                </a:lnTo>
                <a:lnTo>
                  <a:pt x="272" y="303"/>
                </a:lnTo>
                <a:lnTo>
                  <a:pt x="275" y="297"/>
                </a:lnTo>
                <a:lnTo>
                  <a:pt x="275" y="294"/>
                </a:lnTo>
                <a:lnTo>
                  <a:pt x="278" y="291"/>
                </a:lnTo>
                <a:lnTo>
                  <a:pt x="278" y="288"/>
                </a:lnTo>
                <a:lnTo>
                  <a:pt x="275" y="285"/>
                </a:lnTo>
                <a:lnTo>
                  <a:pt x="272" y="278"/>
                </a:lnTo>
                <a:lnTo>
                  <a:pt x="269" y="275"/>
                </a:lnTo>
                <a:lnTo>
                  <a:pt x="269" y="266"/>
                </a:lnTo>
                <a:lnTo>
                  <a:pt x="269" y="253"/>
                </a:lnTo>
                <a:lnTo>
                  <a:pt x="269" y="247"/>
                </a:lnTo>
                <a:lnTo>
                  <a:pt x="265" y="235"/>
                </a:lnTo>
                <a:lnTo>
                  <a:pt x="262" y="228"/>
                </a:lnTo>
                <a:lnTo>
                  <a:pt x="259" y="222"/>
                </a:lnTo>
                <a:lnTo>
                  <a:pt x="262" y="216"/>
                </a:lnTo>
                <a:lnTo>
                  <a:pt x="269" y="213"/>
                </a:lnTo>
                <a:lnTo>
                  <a:pt x="272" y="213"/>
                </a:lnTo>
                <a:lnTo>
                  <a:pt x="272" y="216"/>
                </a:lnTo>
                <a:lnTo>
                  <a:pt x="275" y="213"/>
                </a:lnTo>
                <a:lnTo>
                  <a:pt x="272" y="210"/>
                </a:lnTo>
                <a:lnTo>
                  <a:pt x="272" y="207"/>
                </a:lnTo>
                <a:lnTo>
                  <a:pt x="272" y="207"/>
                </a:lnTo>
                <a:lnTo>
                  <a:pt x="269" y="200"/>
                </a:lnTo>
                <a:lnTo>
                  <a:pt x="269" y="200"/>
                </a:lnTo>
                <a:lnTo>
                  <a:pt x="269" y="197"/>
                </a:lnTo>
                <a:lnTo>
                  <a:pt x="272" y="194"/>
                </a:lnTo>
                <a:lnTo>
                  <a:pt x="272" y="194"/>
                </a:lnTo>
                <a:lnTo>
                  <a:pt x="272" y="191"/>
                </a:lnTo>
                <a:lnTo>
                  <a:pt x="272" y="188"/>
                </a:lnTo>
                <a:lnTo>
                  <a:pt x="269" y="181"/>
                </a:lnTo>
                <a:lnTo>
                  <a:pt x="272" y="181"/>
                </a:lnTo>
                <a:lnTo>
                  <a:pt x="269" y="178"/>
                </a:lnTo>
                <a:lnTo>
                  <a:pt x="269" y="169"/>
                </a:lnTo>
                <a:lnTo>
                  <a:pt x="265" y="163"/>
                </a:lnTo>
                <a:lnTo>
                  <a:pt x="262" y="163"/>
                </a:lnTo>
                <a:lnTo>
                  <a:pt x="259" y="163"/>
                </a:lnTo>
                <a:lnTo>
                  <a:pt x="259" y="153"/>
                </a:lnTo>
                <a:lnTo>
                  <a:pt x="256" y="150"/>
                </a:lnTo>
                <a:lnTo>
                  <a:pt x="250" y="141"/>
                </a:lnTo>
                <a:lnTo>
                  <a:pt x="247" y="138"/>
                </a:lnTo>
                <a:lnTo>
                  <a:pt x="244" y="131"/>
                </a:lnTo>
                <a:lnTo>
                  <a:pt x="244" y="125"/>
                </a:lnTo>
                <a:lnTo>
                  <a:pt x="244" y="125"/>
                </a:lnTo>
                <a:lnTo>
                  <a:pt x="244" y="125"/>
                </a:lnTo>
                <a:lnTo>
                  <a:pt x="240" y="125"/>
                </a:lnTo>
                <a:lnTo>
                  <a:pt x="240" y="125"/>
                </a:lnTo>
                <a:lnTo>
                  <a:pt x="237" y="122"/>
                </a:lnTo>
                <a:lnTo>
                  <a:pt x="234" y="122"/>
                </a:lnTo>
                <a:lnTo>
                  <a:pt x="234" y="125"/>
                </a:lnTo>
                <a:lnTo>
                  <a:pt x="234" y="128"/>
                </a:lnTo>
                <a:lnTo>
                  <a:pt x="234" y="131"/>
                </a:lnTo>
                <a:lnTo>
                  <a:pt x="234" y="135"/>
                </a:lnTo>
                <a:lnTo>
                  <a:pt x="237" y="131"/>
                </a:lnTo>
                <a:lnTo>
                  <a:pt x="240" y="128"/>
                </a:lnTo>
                <a:lnTo>
                  <a:pt x="244" y="135"/>
                </a:lnTo>
                <a:lnTo>
                  <a:pt x="240" y="138"/>
                </a:lnTo>
                <a:lnTo>
                  <a:pt x="237" y="138"/>
                </a:lnTo>
                <a:lnTo>
                  <a:pt x="237" y="138"/>
                </a:lnTo>
                <a:lnTo>
                  <a:pt x="234" y="138"/>
                </a:lnTo>
                <a:lnTo>
                  <a:pt x="237" y="141"/>
                </a:lnTo>
                <a:lnTo>
                  <a:pt x="234" y="144"/>
                </a:lnTo>
                <a:lnTo>
                  <a:pt x="231" y="141"/>
                </a:lnTo>
                <a:lnTo>
                  <a:pt x="231" y="138"/>
                </a:lnTo>
                <a:lnTo>
                  <a:pt x="231" y="135"/>
                </a:lnTo>
                <a:lnTo>
                  <a:pt x="231" y="131"/>
                </a:lnTo>
                <a:lnTo>
                  <a:pt x="228" y="135"/>
                </a:lnTo>
                <a:lnTo>
                  <a:pt x="225" y="131"/>
                </a:lnTo>
                <a:lnTo>
                  <a:pt x="225" y="135"/>
                </a:lnTo>
                <a:lnTo>
                  <a:pt x="225" y="141"/>
                </a:lnTo>
                <a:lnTo>
                  <a:pt x="225" y="144"/>
                </a:lnTo>
                <a:lnTo>
                  <a:pt x="225" y="147"/>
                </a:lnTo>
                <a:lnTo>
                  <a:pt x="222" y="150"/>
                </a:lnTo>
                <a:lnTo>
                  <a:pt x="222" y="153"/>
                </a:lnTo>
                <a:lnTo>
                  <a:pt x="225" y="156"/>
                </a:lnTo>
                <a:lnTo>
                  <a:pt x="228" y="160"/>
                </a:lnTo>
                <a:lnTo>
                  <a:pt x="225" y="166"/>
                </a:lnTo>
                <a:lnTo>
                  <a:pt x="225" y="166"/>
                </a:lnTo>
                <a:lnTo>
                  <a:pt x="222" y="166"/>
                </a:lnTo>
                <a:lnTo>
                  <a:pt x="219" y="169"/>
                </a:lnTo>
                <a:lnTo>
                  <a:pt x="222" y="172"/>
                </a:lnTo>
                <a:lnTo>
                  <a:pt x="225" y="172"/>
                </a:lnTo>
                <a:lnTo>
                  <a:pt x="228" y="169"/>
                </a:lnTo>
                <a:lnTo>
                  <a:pt x="231" y="178"/>
                </a:lnTo>
                <a:lnTo>
                  <a:pt x="234" y="188"/>
                </a:lnTo>
                <a:lnTo>
                  <a:pt x="231" y="191"/>
                </a:lnTo>
                <a:lnTo>
                  <a:pt x="234" y="200"/>
                </a:lnTo>
                <a:lnTo>
                  <a:pt x="228" y="216"/>
                </a:lnTo>
                <a:lnTo>
                  <a:pt x="231" y="219"/>
                </a:lnTo>
                <a:lnTo>
                  <a:pt x="228" y="225"/>
                </a:lnTo>
                <a:lnTo>
                  <a:pt x="225" y="228"/>
                </a:lnTo>
                <a:lnTo>
                  <a:pt x="222" y="235"/>
                </a:lnTo>
                <a:lnTo>
                  <a:pt x="222" y="241"/>
                </a:lnTo>
                <a:lnTo>
                  <a:pt x="219" y="244"/>
                </a:lnTo>
                <a:lnTo>
                  <a:pt x="219" y="247"/>
                </a:lnTo>
                <a:lnTo>
                  <a:pt x="215" y="253"/>
                </a:lnTo>
                <a:lnTo>
                  <a:pt x="206" y="260"/>
                </a:lnTo>
                <a:lnTo>
                  <a:pt x="203" y="260"/>
                </a:lnTo>
                <a:lnTo>
                  <a:pt x="200" y="263"/>
                </a:lnTo>
                <a:lnTo>
                  <a:pt x="194" y="260"/>
                </a:lnTo>
                <a:lnTo>
                  <a:pt x="190" y="257"/>
                </a:lnTo>
                <a:lnTo>
                  <a:pt x="190" y="253"/>
                </a:lnTo>
                <a:lnTo>
                  <a:pt x="194" y="250"/>
                </a:lnTo>
                <a:lnTo>
                  <a:pt x="194" y="247"/>
                </a:lnTo>
                <a:lnTo>
                  <a:pt x="194" y="247"/>
                </a:lnTo>
                <a:lnTo>
                  <a:pt x="197" y="244"/>
                </a:lnTo>
                <a:lnTo>
                  <a:pt x="197" y="244"/>
                </a:lnTo>
                <a:lnTo>
                  <a:pt x="190" y="244"/>
                </a:lnTo>
                <a:lnTo>
                  <a:pt x="187" y="247"/>
                </a:lnTo>
                <a:lnTo>
                  <a:pt x="184" y="247"/>
                </a:lnTo>
                <a:lnTo>
                  <a:pt x="184" y="253"/>
                </a:lnTo>
                <a:lnTo>
                  <a:pt x="187" y="257"/>
                </a:lnTo>
                <a:lnTo>
                  <a:pt x="187" y="266"/>
                </a:lnTo>
                <a:lnTo>
                  <a:pt x="187" y="272"/>
                </a:lnTo>
                <a:lnTo>
                  <a:pt x="181" y="275"/>
                </a:lnTo>
                <a:lnTo>
                  <a:pt x="181" y="278"/>
                </a:lnTo>
                <a:lnTo>
                  <a:pt x="181" y="278"/>
                </a:lnTo>
                <a:lnTo>
                  <a:pt x="178" y="288"/>
                </a:lnTo>
                <a:lnTo>
                  <a:pt x="181" y="288"/>
                </a:lnTo>
                <a:lnTo>
                  <a:pt x="181" y="291"/>
                </a:lnTo>
                <a:lnTo>
                  <a:pt x="181" y="294"/>
                </a:lnTo>
                <a:lnTo>
                  <a:pt x="181" y="294"/>
                </a:lnTo>
                <a:lnTo>
                  <a:pt x="181" y="297"/>
                </a:lnTo>
                <a:lnTo>
                  <a:pt x="178" y="297"/>
                </a:lnTo>
                <a:lnTo>
                  <a:pt x="178" y="297"/>
                </a:lnTo>
                <a:lnTo>
                  <a:pt x="178" y="300"/>
                </a:lnTo>
                <a:lnTo>
                  <a:pt x="175" y="297"/>
                </a:lnTo>
                <a:lnTo>
                  <a:pt x="172" y="300"/>
                </a:lnTo>
                <a:lnTo>
                  <a:pt x="169" y="300"/>
                </a:lnTo>
                <a:lnTo>
                  <a:pt x="169" y="294"/>
                </a:lnTo>
                <a:lnTo>
                  <a:pt x="169" y="294"/>
                </a:lnTo>
                <a:lnTo>
                  <a:pt x="165" y="297"/>
                </a:lnTo>
                <a:lnTo>
                  <a:pt x="162" y="297"/>
                </a:lnTo>
                <a:lnTo>
                  <a:pt x="162" y="297"/>
                </a:lnTo>
                <a:lnTo>
                  <a:pt x="153" y="297"/>
                </a:lnTo>
                <a:lnTo>
                  <a:pt x="150" y="300"/>
                </a:lnTo>
                <a:lnTo>
                  <a:pt x="144" y="303"/>
                </a:lnTo>
                <a:lnTo>
                  <a:pt x="140" y="303"/>
                </a:lnTo>
                <a:lnTo>
                  <a:pt x="134" y="303"/>
                </a:lnTo>
                <a:lnTo>
                  <a:pt x="134" y="303"/>
                </a:lnTo>
                <a:lnTo>
                  <a:pt x="128" y="303"/>
                </a:lnTo>
                <a:lnTo>
                  <a:pt x="122" y="310"/>
                </a:lnTo>
                <a:lnTo>
                  <a:pt x="119" y="313"/>
                </a:lnTo>
                <a:lnTo>
                  <a:pt x="119" y="316"/>
                </a:lnTo>
                <a:lnTo>
                  <a:pt x="115" y="319"/>
                </a:lnTo>
                <a:lnTo>
                  <a:pt x="112" y="322"/>
                </a:lnTo>
                <a:lnTo>
                  <a:pt x="109" y="325"/>
                </a:lnTo>
                <a:lnTo>
                  <a:pt x="106" y="329"/>
                </a:lnTo>
                <a:lnTo>
                  <a:pt x="103" y="332"/>
                </a:lnTo>
                <a:lnTo>
                  <a:pt x="103" y="335"/>
                </a:lnTo>
                <a:lnTo>
                  <a:pt x="97" y="335"/>
                </a:lnTo>
                <a:lnTo>
                  <a:pt x="93" y="338"/>
                </a:lnTo>
                <a:lnTo>
                  <a:pt x="97" y="344"/>
                </a:lnTo>
                <a:lnTo>
                  <a:pt x="97" y="344"/>
                </a:lnTo>
                <a:lnTo>
                  <a:pt x="97" y="347"/>
                </a:lnTo>
                <a:lnTo>
                  <a:pt x="97" y="350"/>
                </a:lnTo>
                <a:lnTo>
                  <a:pt x="93" y="350"/>
                </a:lnTo>
                <a:lnTo>
                  <a:pt x="90" y="354"/>
                </a:lnTo>
                <a:lnTo>
                  <a:pt x="87" y="357"/>
                </a:lnTo>
                <a:lnTo>
                  <a:pt x="87" y="357"/>
                </a:lnTo>
                <a:lnTo>
                  <a:pt x="81" y="363"/>
                </a:lnTo>
                <a:lnTo>
                  <a:pt x="81" y="363"/>
                </a:lnTo>
                <a:lnTo>
                  <a:pt x="78" y="366"/>
                </a:lnTo>
                <a:lnTo>
                  <a:pt x="75" y="366"/>
                </a:lnTo>
                <a:lnTo>
                  <a:pt x="75" y="366"/>
                </a:lnTo>
                <a:lnTo>
                  <a:pt x="78" y="366"/>
                </a:lnTo>
                <a:lnTo>
                  <a:pt x="78" y="369"/>
                </a:lnTo>
                <a:lnTo>
                  <a:pt x="81" y="375"/>
                </a:lnTo>
                <a:lnTo>
                  <a:pt x="81" y="375"/>
                </a:lnTo>
                <a:lnTo>
                  <a:pt x="78" y="372"/>
                </a:lnTo>
                <a:lnTo>
                  <a:pt x="78" y="369"/>
                </a:lnTo>
                <a:lnTo>
                  <a:pt x="75" y="372"/>
                </a:lnTo>
                <a:lnTo>
                  <a:pt x="78" y="379"/>
                </a:lnTo>
                <a:lnTo>
                  <a:pt x="81" y="379"/>
                </a:lnTo>
                <a:lnTo>
                  <a:pt x="81" y="382"/>
                </a:lnTo>
                <a:lnTo>
                  <a:pt x="78" y="382"/>
                </a:lnTo>
                <a:lnTo>
                  <a:pt x="81" y="382"/>
                </a:lnTo>
                <a:lnTo>
                  <a:pt x="81" y="379"/>
                </a:lnTo>
                <a:lnTo>
                  <a:pt x="84" y="379"/>
                </a:lnTo>
                <a:lnTo>
                  <a:pt x="87" y="379"/>
                </a:lnTo>
                <a:lnTo>
                  <a:pt x="84" y="382"/>
                </a:lnTo>
                <a:lnTo>
                  <a:pt x="87" y="382"/>
                </a:lnTo>
                <a:lnTo>
                  <a:pt x="90" y="382"/>
                </a:lnTo>
                <a:lnTo>
                  <a:pt x="90" y="379"/>
                </a:lnTo>
                <a:lnTo>
                  <a:pt x="87" y="375"/>
                </a:lnTo>
                <a:lnTo>
                  <a:pt x="84" y="375"/>
                </a:lnTo>
                <a:lnTo>
                  <a:pt x="84" y="375"/>
                </a:lnTo>
                <a:lnTo>
                  <a:pt x="84" y="372"/>
                </a:lnTo>
                <a:lnTo>
                  <a:pt x="84" y="369"/>
                </a:lnTo>
                <a:lnTo>
                  <a:pt x="87" y="369"/>
                </a:lnTo>
                <a:lnTo>
                  <a:pt x="90" y="369"/>
                </a:lnTo>
                <a:lnTo>
                  <a:pt x="93" y="375"/>
                </a:lnTo>
                <a:lnTo>
                  <a:pt x="93" y="379"/>
                </a:lnTo>
                <a:lnTo>
                  <a:pt x="93" y="382"/>
                </a:lnTo>
                <a:lnTo>
                  <a:pt x="93" y="388"/>
                </a:lnTo>
                <a:lnTo>
                  <a:pt x="93" y="394"/>
                </a:lnTo>
                <a:lnTo>
                  <a:pt x="87" y="394"/>
                </a:lnTo>
                <a:lnTo>
                  <a:pt x="90" y="397"/>
                </a:lnTo>
                <a:lnTo>
                  <a:pt x="93" y="400"/>
                </a:lnTo>
                <a:lnTo>
                  <a:pt x="93" y="410"/>
                </a:lnTo>
                <a:lnTo>
                  <a:pt x="97" y="413"/>
                </a:lnTo>
                <a:lnTo>
                  <a:pt x="97" y="416"/>
                </a:lnTo>
                <a:lnTo>
                  <a:pt x="97" y="419"/>
                </a:lnTo>
                <a:lnTo>
                  <a:pt x="97" y="422"/>
                </a:lnTo>
                <a:lnTo>
                  <a:pt x="100" y="419"/>
                </a:lnTo>
                <a:lnTo>
                  <a:pt x="103" y="422"/>
                </a:lnTo>
                <a:lnTo>
                  <a:pt x="106" y="419"/>
                </a:lnTo>
                <a:lnTo>
                  <a:pt x="106" y="419"/>
                </a:lnTo>
                <a:lnTo>
                  <a:pt x="103" y="413"/>
                </a:lnTo>
                <a:lnTo>
                  <a:pt x="103" y="407"/>
                </a:lnTo>
                <a:lnTo>
                  <a:pt x="103" y="407"/>
                </a:lnTo>
                <a:lnTo>
                  <a:pt x="106" y="407"/>
                </a:lnTo>
                <a:lnTo>
                  <a:pt x="106" y="410"/>
                </a:lnTo>
                <a:lnTo>
                  <a:pt x="106" y="410"/>
                </a:lnTo>
                <a:lnTo>
                  <a:pt x="109" y="413"/>
                </a:lnTo>
                <a:lnTo>
                  <a:pt x="109" y="419"/>
                </a:lnTo>
                <a:lnTo>
                  <a:pt x="109" y="422"/>
                </a:lnTo>
                <a:lnTo>
                  <a:pt x="109" y="425"/>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6" name="Freeform 14">
            <a:extLst>
              <a:ext uri="{FF2B5EF4-FFF2-40B4-BE49-F238E27FC236}">
                <a16:creationId xmlns:a16="http://schemas.microsoft.com/office/drawing/2014/main" id="{1A8A1D07-9C66-0A52-D040-150281481D98}"/>
              </a:ext>
            </a:extLst>
          </p:cNvPr>
          <p:cNvSpPr>
            <a:spLocks noEditPoints="1"/>
          </p:cNvSpPr>
          <p:nvPr userDrawn="1"/>
        </p:nvSpPr>
        <p:spPr bwMode="auto">
          <a:xfrm>
            <a:off x="20731398" y="6574706"/>
            <a:ext cx="285731" cy="457200"/>
          </a:xfrm>
          <a:custGeom>
            <a:avLst/>
            <a:gdLst>
              <a:gd name="T0" fmla="*/ 56 w 90"/>
              <a:gd name="T1" fmla="*/ 104 h 144"/>
              <a:gd name="T2" fmla="*/ 56 w 90"/>
              <a:gd name="T3" fmla="*/ 107 h 144"/>
              <a:gd name="T4" fmla="*/ 56 w 90"/>
              <a:gd name="T5" fmla="*/ 104 h 144"/>
              <a:gd name="T6" fmla="*/ 25 w 90"/>
              <a:gd name="T7" fmla="*/ 116 h 144"/>
              <a:gd name="T8" fmla="*/ 28 w 90"/>
              <a:gd name="T9" fmla="*/ 113 h 144"/>
              <a:gd name="T10" fmla="*/ 31 w 90"/>
              <a:gd name="T11" fmla="*/ 113 h 144"/>
              <a:gd name="T12" fmla="*/ 28 w 90"/>
              <a:gd name="T13" fmla="*/ 116 h 144"/>
              <a:gd name="T14" fmla="*/ 28 w 90"/>
              <a:gd name="T15" fmla="*/ 119 h 144"/>
              <a:gd name="T16" fmla="*/ 68 w 90"/>
              <a:gd name="T17" fmla="*/ 100 h 144"/>
              <a:gd name="T18" fmla="*/ 72 w 90"/>
              <a:gd name="T19" fmla="*/ 104 h 144"/>
              <a:gd name="T20" fmla="*/ 75 w 90"/>
              <a:gd name="T21" fmla="*/ 100 h 144"/>
              <a:gd name="T22" fmla="*/ 72 w 90"/>
              <a:gd name="T23" fmla="*/ 97 h 144"/>
              <a:gd name="T24" fmla="*/ 84 w 90"/>
              <a:gd name="T25" fmla="*/ 122 h 144"/>
              <a:gd name="T26" fmla="*/ 87 w 90"/>
              <a:gd name="T27" fmla="*/ 119 h 144"/>
              <a:gd name="T28" fmla="*/ 87 w 90"/>
              <a:gd name="T29" fmla="*/ 119 h 144"/>
              <a:gd name="T30" fmla="*/ 84 w 90"/>
              <a:gd name="T31" fmla="*/ 122 h 144"/>
              <a:gd name="T32" fmla="*/ 87 w 90"/>
              <a:gd name="T33" fmla="*/ 113 h 144"/>
              <a:gd name="T34" fmla="*/ 87 w 90"/>
              <a:gd name="T35" fmla="*/ 113 h 144"/>
              <a:gd name="T36" fmla="*/ 87 w 90"/>
              <a:gd name="T37" fmla="*/ 107 h 144"/>
              <a:gd name="T38" fmla="*/ 90 w 90"/>
              <a:gd name="T39" fmla="*/ 107 h 144"/>
              <a:gd name="T40" fmla="*/ 87 w 90"/>
              <a:gd name="T41" fmla="*/ 113 h 144"/>
              <a:gd name="T42" fmla="*/ 34 w 90"/>
              <a:gd name="T43" fmla="*/ 144 h 144"/>
              <a:gd name="T44" fmla="*/ 34 w 90"/>
              <a:gd name="T45" fmla="*/ 138 h 144"/>
              <a:gd name="T46" fmla="*/ 47 w 90"/>
              <a:gd name="T47" fmla="*/ 135 h 144"/>
              <a:gd name="T48" fmla="*/ 43 w 90"/>
              <a:gd name="T49" fmla="*/ 144 h 144"/>
              <a:gd name="T50" fmla="*/ 34 w 90"/>
              <a:gd name="T51" fmla="*/ 144 h 144"/>
              <a:gd name="T52" fmla="*/ 0 w 90"/>
              <a:gd name="T53" fmla="*/ 25 h 144"/>
              <a:gd name="T54" fmla="*/ 6 w 90"/>
              <a:gd name="T55" fmla="*/ 25 h 144"/>
              <a:gd name="T56" fmla="*/ 9 w 90"/>
              <a:gd name="T57" fmla="*/ 25 h 144"/>
              <a:gd name="T58" fmla="*/ 22 w 90"/>
              <a:gd name="T59" fmla="*/ 41 h 144"/>
              <a:gd name="T60" fmla="*/ 22 w 90"/>
              <a:gd name="T61" fmla="*/ 41 h 144"/>
              <a:gd name="T62" fmla="*/ 28 w 90"/>
              <a:gd name="T63" fmla="*/ 50 h 144"/>
              <a:gd name="T64" fmla="*/ 18 w 90"/>
              <a:gd name="T65" fmla="*/ 44 h 144"/>
              <a:gd name="T66" fmla="*/ 15 w 90"/>
              <a:gd name="T67" fmla="*/ 47 h 144"/>
              <a:gd name="T68" fmla="*/ 18 w 90"/>
              <a:gd name="T69" fmla="*/ 57 h 144"/>
              <a:gd name="T70" fmla="*/ 25 w 90"/>
              <a:gd name="T71" fmla="*/ 63 h 144"/>
              <a:gd name="T72" fmla="*/ 25 w 90"/>
              <a:gd name="T73" fmla="*/ 72 h 144"/>
              <a:gd name="T74" fmla="*/ 31 w 90"/>
              <a:gd name="T75" fmla="*/ 75 h 144"/>
              <a:gd name="T76" fmla="*/ 25 w 90"/>
              <a:gd name="T77" fmla="*/ 82 h 144"/>
              <a:gd name="T78" fmla="*/ 28 w 90"/>
              <a:gd name="T79" fmla="*/ 88 h 144"/>
              <a:gd name="T80" fmla="*/ 25 w 90"/>
              <a:gd name="T81" fmla="*/ 94 h 144"/>
              <a:gd name="T82" fmla="*/ 25 w 90"/>
              <a:gd name="T83" fmla="*/ 97 h 144"/>
              <a:gd name="T84" fmla="*/ 31 w 90"/>
              <a:gd name="T85" fmla="*/ 107 h 144"/>
              <a:gd name="T86" fmla="*/ 34 w 90"/>
              <a:gd name="T87" fmla="*/ 113 h 144"/>
              <a:gd name="T88" fmla="*/ 37 w 90"/>
              <a:gd name="T89" fmla="*/ 113 h 144"/>
              <a:gd name="T90" fmla="*/ 40 w 90"/>
              <a:gd name="T91" fmla="*/ 110 h 144"/>
              <a:gd name="T92" fmla="*/ 50 w 90"/>
              <a:gd name="T93" fmla="*/ 100 h 144"/>
              <a:gd name="T94" fmla="*/ 56 w 90"/>
              <a:gd name="T95" fmla="*/ 100 h 144"/>
              <a:gd name="T96" fmla="*/ 59 w 90"/>
              <a:gd name="T97" fmla="*/ 97 h 144"/>
              <a:gd name="T98" fmla="*/ 65 w 90"/>
              <a:gd name="T99" fmla="*/ 100 h 144"/>
              <a:gd name="T100" fmla="*/ 68 w 90"/>
              <a:gd name="T101" fmla="*/ 100 h 144"/>
              <a:gd name="T102" fmla="*/ 72 w 90"/>
              <a:gd name="T103" fmla="*/ 94 h 144"/>
              <a:gd name="T104" fmla="*/ 81 w 90"/>
              <a:gd name="T105" fmla="*/ 88 h 144"/>
              <a:gd name="T106" fmla="*/ 84 w 90"/>
              <a:gd name="T107" fmla="*/ 85 h 144"/>
              <a:gd name="T108" fmla="*/ 81 w 90"/>
              <a:gd name="T109" fmla="*/ 69 h 144"/>
              <a:gd name="T110" fmla="*/ 78 w 90"/>
              <a:gd name="T111" fmla="*/ 66 h 144"/>
              <a:gd name="T112" fmla="*/ 75 w 90"/>
              <a:gd name="T113" fmla="*/ 50 h 144"/>
              <a:gd name="T114" fmla="*/ 62 w 90"/>
              <a:gd name="T115" fmla="*/ 25 h 144"/>
              <a:gd name="T116" fmla="*/ 43 w 90"/>
              <a:gd name="T117" fmla="*/ 0 h 144"/>
              <a:gd name="T118" fmla="*/ 22 w 90"/>
              <a:gd name="T119" fmla="*/ 7 h 144"/>
              <a:gd name="T120" fmla="*/ 9 w 90"/>
              <a:gd name="T121" fmla="*/ 16 h 144"/>
              <a:gd name="T122" fmla="*/ 0 w 90"/>
              <a:gd name="T123" fmla="*/ 2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 h="144">
                <a:moveTo>
                  <a:pt x="56" y="104"/>
                </a:moveTo>
                <a:lnTo>
                  <a:pt x="56" y="104"/>
                </a:lnTo>
                <a:lnTo>
                  <a:pt x="59" y="104"/>
                </a:lnTo>
                <a:lnTo>
                  <a:pt x="56" y="107"/>
                </a:lnTo>
                <a:lnTo>
                  <a:pt x="56" y="104"/>
                </a:lnTo>
                <a:lnTo>
                  <a:pt x="56" y="104"/>
                </a:lnTo>
                <a:close/>
                <a:moveTo>
                  <a:pt x="28" y="119"/>
                </a:moveTo>
                <a:lnTo>
                  <a:pt x="25" y="116"/>
                </a:lnTo>
                <a:lnTo>
                  <a:pt x="28" y="113"/>
                </a:lnTo>
                <a:lnTo>
                  <a:pt x="28" y="113"/>
                </a:lnTo>
                <a:lnTo>
                  <a:pt x="28" y="110"/>
                </a:lnTo>
                <a:lnTo>
                  <a:pt x="31" y="113"/>
                </a:lnTo>
                <a:lnTo>
                  <a:pt x="31" y="116"/>
                </a:lnTo>
                <a:lnTo>
                  <a:pt x="28" y="116"/>
                </a:lnTo>
                <a:lnTo>
                  <a:pt x="28" y="119"/>
                </a:lnTo>
                <a:lnTo>
                  <a:pt x="28" y="119"/>
                </a:lnTo>
                <a:close/>
                <a:moveTo>
                  <a:pt x="72" y="97"/>
                </a:moveTo>
                <a:lnTo>
                  <a:pt x="68" y="100"/>
                </a:lnTo>
                <a:lnTo>
                  <a:pt x="68" y="100"/>
                </a:lnTo>
                <a:lnTo>
                  <a:pt x="72" y="104"/>
                </a:lnTo>
                <a:lnTo>
                  <a:pt x="72" y="104"/>
                </a:lnTo>
                <a:lnTo>
                  <a:pt x="75" y="100"/>
                </a:lnTo>
                <a:lnTo>
                  <a:pt x="75" y="97"/>
                </a:lnTo>
                <a:lnTo>
                  <a:pt x="72" y="97"/>
                </a:lnTo>
                <a:lnTo>
                  <a:pt x="72" y="97"/>
                </a:lnTo>
                <a:close/>
                <a:moveTo>
                  <a:pt x="84" y="122"/>
                </a:moveTo>
                <a:lnTo>
                  <a:pt x="84" y="119"/>
                </a:lnTo>
                <a:lnTo>
                  <a:pt x="87" y="119"/>
                </a:lnTo>
                <a:lnTo>
                  <a:pt x="90" y="119"/>
                </a:lnTo>
                <a:lnTo>
                  <a:pt x="87" y="119"/>
                </a:lnTo>
                <a:lnTo>
                  <a:pt x="87" y="122"/>
                </a:lnTo>
                <a:lnTo>
                  <a:pt x="84" y="122"/>
                </a:lnTo>
                <a:lnTo>
                  <a:pt x="84" y="122"/>
                </a:lnTo>
                <a:close/>
                <a:moveTo>
                  <a:pt x="87" y="113"/>
                </a:moveTo>
                <a:lnTo>
                  <a:pt x="87" y="116"/>
                </a:lnTo>
                <a:lnTo>
                  <a:pt x="87" y="113"/>
                </a:lnTo>
                <a:lnTo>
                  <a:pt x="87" y="110"/>
                </a:lnTo>
                <a:lnTo>
                  <a:pt x="87" y="107"/>
                </a:lnTo>
                <a:lnTo>
                  <a:pt x="90" y="107"/>
                </a:lnTo>
                <a:lnTo>
                  <a:pt x="90" y="107"/>
                </a:lnTo>
                <a:lnTo>
                  <a:pt x="90" y="110"/>
                </a:lnTo>
                <a:lnTo>
                  <a:pt x="87" y="113"/>
                </a:lnTo>
                <a:lnTo>
                  <a:pt x="87" y="113"/>
                </a:lnTo>
                <a:close/>
                <a:moveTo>
                  <a:pt x="34" y="144"/>
                </a:moveTo>
                <a:lnTo>
                  <a:pt x="31" y="141"/>
                </a:lnTo>
                <a:lnTo>
                  <a:pt x="34" y="138"/>
                </a:lnTo>
                <a:lnTo>
                  <a:pt x="43" y="135"/>
                </a:lnTo>
                <a:lnTo>
                  <a:pt x="47" y="135"/>
                </a:lnTo>
                <a:lnTo>
                  <a:pt x="47" y="138"/>
                </a:lnTo>
                <a:lnTo>
                  <a:pt x="43" y="144"/>
                </a:lnTo>
                <a:lnTo>
                  <a:pt x="37" y="144"/>
                </a:lnTo>
                <a:lnTo>
                  <a:pt x="34" y="144"/>
                </a:lnTo>
                <a:lnTo>
                  <a:pt x="34" y="144"/>
                </a:lnTo>
                <a:close/>
                <a:moveTo>
                  <a:pt x="0" y="25"/>
                </a:moveTo>
                <a:lnTo>
                  <a:pt x="3" y="25"/>
                </a:lnTo>
                <a:lnTo>
                  <a:pt x="6" y="25"/>
                </a:lnTo>
                <a:lnTo>
                  <a:pt x="12" y="25"/>
                </a:lnTo>
                <a:lnTo>
                  <a:pt x="9" y="25"/>
                </a:lnTo>
                <a:lnTo>
                  <a:pt x="15" y="32"/>
                </a:lnTo>
                <a:lnTo>
                  <a:pt x="22" y="41"/>
                </a:lnTo>
                <a:lnTo>
                  <a:pt x="25" y="41"/>
                </a:lnTo>
                <a:lnTo>
                  <a:pt x="22" y="41"/>
                </a:lnTo>
                <a:lnTo>
                  <a:pt x="25" y="47"/>
                </a:lnTo>
                <a:lnTo>
                  <a:pt x="28" y="50"/>
                </a:lnTo>
                <a:lnTo>
                  <a:pt x="22" y="47"/>
                </a:lnTo>
                <a:lnTo>
                  <a:pt x="18" y="44"/>
                </a:lnTo>
                <a:lnTo>
                  <a:pt x="18" y="50"/>
                </a:lnTo>
                <a:lnTo>
                  <a:pt x="15" y="47"/>
                </a:lnTo>
                <a:lnTo>
                  <a:pt x="12" y="53"/>
                </a:lnTo>
                <a:lnTo>
                  <a:pt x="18" y="57"/>
                </a:lnTo>
                <a:lnTo>
                  <a:pt x="22" y="57"/>
                </a:lnTo>
                <a:lnTo>
                  <a:pt x="25" y="63"/>
                </a:lnTo>
                <a:lnTo>
                  <a:pt x="25" y="69"/>
                </a:lnTo>
                <a:lnTo>
                  <a:pt x="25" y="72"/>
                </a:lnTo>
                <a:lnTo>
                  <a:pt x="28" y="69"/>
                </a:lnTo>
                <a:lnTo>
                  <a:pt x="31" y="75"/>
                </a:lnTo>
                <a:lnTo>
                  <a:pt x="25" y="82"/>
                </a:lnTo>
                <a:lnTo>
                  <a:pt x="25" y="82"/>
                </a:lnTo>
                <a:lnTo>
                  <a:pt x="28" y="85"/>
                </a:lnTo>
                <a:lnTo>
                  <a:pt x="28" y="88"/>
                </a:lnTo>
                <a:lnTo>
                  <a:pt x="25" y="91"/>
                </a:lnTo>
                <a:lnTo>
                  <a:pt x="25" y="94"/>
                </a:lnTo>
                <a:lnTo>
                  <a:pt x="28" y="97"/>
                </a:lnTo>
                <a:lnTo>
                  <a:pt x="25" y="97"/>
                </a:lnTo>
                <a:lnTo>
                  <a:pt x="28" y="107"/>
                </a:lnTo>
                <a:lnTo>
                  <a:pt x="31" y="107"/>
                </a:lnTo>
                <a:lnTo>
                  <a:pt x="34" y="113"/>
                </a:lnTo>
                <a:lnTo>
                  <a:pt x="34" y="113"/>
                </a:lnTo>
                <a:lnTo>
                  <a:pt x="34" y="116"/>
                </a:lnTo>
                <a:lnTo>
                  <a:pt x="37" y="113"/>
                </a:lnTo>
                <a:lnTo>
                  <a:pt x="37" y="110"/>
                </a:lnTo>
                <a:lnTo>
                  <a:pt x="40" y="110"/>
                </a:lnTo>
                <a:lnTo>
                  <a:pt x="40" y="107"/>
                </a:lnTo>
                <a:lnTo>
                  <a:pt x="50" y="100"/>
                </a:lnTo>
                <a:lnTo>
                  <a:pt x="53" y="100"/>
                </a:lnTo>
                <a:lnTo>
                  <a:pt x="56" y="100"/>
                </a:lnTo>
                <a:lnTo>
                  <a:pt x="56" y="97"/>
                </a:lnTo>
                <a:lnTo>
                  <a:pt x="59" y="97"/>
                </a:lnTo>
                <a:lnTo>
                  <a:pt x="62" y="100"/>
                </a:lnTo>
                <a:lnTo>
                  <a:pt x="65" y="100"/>
                </a:lnTo>
                <a:lnTo>
                  <a:pt x="65" y="104"/>
                </a:lnTo>
                <a:lnTo>
                  <a:pt x="68" y="100"/>
                </a:lnTo>
                <a:lnTo>
                  <a:pt x="65" y="97"/>
                </a:lnTo>
                <a:lnTo>
                  <a:pt x="72" y="94"/>
                </a:lnTo>
                <a:lnTo>
                  <a:pt x="75" y="94"/>
                </a:lnTo>
                <a:lnTo>
                  <a:pt x="81" y="88"/>
                </a:lnTo>
                <a:lnTo>
                  <a:pt x="81" y="85"/>
                </a:lnTo>
                <a:lnTo>
                  <a:pt x="84" y="85"/>
                </a:lnTo>
                <a:lnTo>
                  <a:pt x="81" y="69"/>
                </a:lnTo>
                <a:lnTo>
                  <a:pt x="81" y="69"/>
                </a:lnTo>
                <a:lnTo>
                  <a:pt x="78" y="69"/>
                </a:lnTo>
                <a:lnTo>
                  <a:pt x="78" y="66"/>
                </a:lnTo>
                <a:lnTo>
                  <a:pt x="78" y="53"/>
                </a:lnTo>
                <a:lnTo>
                  <a:pt x="75" y="50"/>
                </a:lnTo>
                <a:lnTo>
                  <a:pt x="72" y="41"/>
                </a:lnTo>
                <a:lnTo>
                  <a:pt x="62" y="25"/>
                </a:lnTo>
                <a:lnTo>
                  <a:pt x="50" y="16"/>
                </a:lnTo>
                <a:lnTo>
                  <a:pt x="43" y="0"/>
                </a:lnTo>
                <a:lnTo>
                  <a:pt x="37" y="7"/>
                </a:lnTo>
                <a:lnTo>
                  <a:pt x="22" y="7"/>
                </a:lnTo>
                <a:lnTo>
                  <a:pt x="15" y="13"/>
                </a:lnTo>
                <a:lnTo>
                  <a:pt x="9" y="16"/>
                </a:lnTo>
                <a:lnTo>
                  <a:pt x="3" y="22"/>
                </a:lnTo>
                <a:lnTo>
                  <a:pt x="0" y="25"/>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7" name="Freeform 15">
            <a:extLst>
              <a:ext uri="{FF2B5EF4-FFF2-40B4-BE49-F238E27FC236}">
                <a16:creationId xmlns:a16="http://schemas.microsoft.com/office/drawing/2014/main" id="{C51C7726-1763-F382-FEC0-1058CB1DDA60}"/>
              </a:ext>
            </a:extLst>
          </p:cNvPr>
          <p:cNvSpPr>
            <a:spLocks/>
          </p:cNvSpPr>
          <p:nvPr userDrawn="1"/>
        </p:nvSpPr>
        <p:spPr bwMode="auto">
          <a:xfrm>
            <a:off x="20610757" y="6168306"/>
            <a:ext cx="298431" cy="508000"/>
          </a:xfrm>
          <a:custGeom>
            <a:avLst/>
            <a:gdLst>
              <a:gd name="T0" fmla="*/ 0 w 94"/>
              <a:gd name="T1" fmla="*/ 88 h 160"/>
              <a:gd name="T2" fmla="*/ 6 w 94"/>
              <a:gd name="T3" fmla="*/ 78 h 160"/>
              <a:gd name="T4" fmla="*/ 13 w 94"/>
              <a:gd name="T5" fmla="*/ 72 h 160"/>
              <a:gd name="T6" fmla="*/ 19 w 94"/>
              <a:gd name="T7" fmla="*/ 63 h 160"/>
              <a:gd name="T8" fmla="*/ 22 w 94"/>
              <a:gd name="T9" fmla="*/ 50 h 160"/>
              <a:gd name="T10" fmla="*/ 22 w 94"/>
              <a:gd name="T11" fmla="*/ 41 h 160"/>
              <a:gd name="T12" fmla="*/ 31 w 94"/>
              <a:gd name="T13" fmla="*/ 44 h 160"/>
              <a:gd name="T14" fmla="*/ 38 w 94"/>
              <a:gd name="T15" fmla="*/ 47 h 160"/>
              <a:gd name="T16" fmla="*/ 44 w 94"/>
              <a:gd name="T17" fmla="*/ 47 h 160"/>
              <a:gd name="T18" fmla="*/ 56 w 94"/>
              <a:gd name="T19" fmla="*/ 47 h 160"/>
              <a:gd name="T20" fmla="*/ 60 w 94"/>
              <a:gd name="T21" fmla="*/ 41 h 160"/>
              <a:gd name="T22" fmla="*/ 50 w 94"/>
              <a:gd name="T23" fmla="*/ 31 h 160"/>
              <a:gd name="T24" fmla="*/ 60 w 94"/>
              <a:gd name="T25" fmla="*/ 28 h 160"/>
              <a:gd name="T26" fmla="*/ 66 w 94"/>
              <a:gd name="T27" fmla="*/ 19 h 160"/>
              <a:gd name="T28" fmla="*/ 75 w 94"/>
              <a:gd name="T29" fmla="*/ 16 h 160"/>
              <a:gd name="T30" fmla="*/ 75 w 94"/>
              <a:gd name="T31" fmla="*/ 6 h 160"/>
              <a:gd name="T32" fmla="*/ 75 w 94"/>
              <a:gd name="T33" fmla="*/ 0 h 160"/>
              <a:gd name="T34" fmla="*/ 81 w 94"/>
              <a:gd name="T35" fmla="*/ 0 h 160"/>
              <a:gd name="T36" fmla="*/ 81 w 94"/>
              <a:gd name="T37" fmla="*/ 6 h 160"/>
              <a:gd name="T38" fmla="*/ 94 w 94"/>
              <a:gd name="T39" fmla="*/ 16 h 160"/>
              <a:gd name="T40" fmla="*/ 85 w 94"/>
              <a:gd name="T41" fmla="*/ 22 h 160"/>
              <a:gd name="T42" fmla="*/ 81 w 94"/>
              <a:gd name="T43" fmla="*/ 25 h 160"/>
              <a:gd name="T44" fmla="*/ 81 w 94"/>
              <a:gd name="T45" fmla="*/ 41 h 160"/>
              <a:gd name="T46" fmla="*/ 85 w 94"/>
              <a:gd name="T47" fmla="*/ 56 h 160"/>
              <a:gd name="T48" fmla="*/ 88 w 94"/>
              <a:gd name="T49" fmla="*/ 63 h 160"/>
              <a:gd name="T50" fmla="*/ 81 w 94"/>
              <a:gd name="T51" fmla="*/ 69 h 160"/>
              <a:gd name="T52" fmla="*/ 72 w 94"/>
              <a:gd name="T53" fmla="*/ 81 h 160"/>
              <a:gd name="T54" fmla="*/ 69 w 94"/>
              <a:gd name="T55" fmla="*/ 84 h 160"/>
              <a:gd name="T56" fmla="*/ 63 w 94"/>
              <a:gd name="T57" fmla="*/ 88 h 160"/>
              <a:gd name="T58" fmla="*/ 56 w 94"/>
              <a:gd name="T59" fmla="*/ 97 h 160"/>
              <a:gd name="T60" fmla="*/ 56 w 94"/>
              <a:gd name="T61" fmla="*/ 106 h 160"/>
              <a:gd name="T62" fmla="*/ 56 w 94"/>
              <a:gd name="T63" fmla="*/ 113 h 160"/>
              <a:gd name="T64" fmla="*/ 66 w 94"/>
              <a:gd name="T65" fmla="*/ 116 h 160"/>
              <a:gd name="T66" fmla="*/ 81 w 94"/>
              <a:gd name="T67" fmla="*/ 128 h 160"/>
              <a:gd name="T68" fmla="*/ 60 w 94"/>
              <a:gd name="T69" fmla="*/ 135 h 160"/>
              <a:gd name="T70" fmla="*/ 47 w 94"/>
              <a:gd name="T71" fmla="*/ 144 h 160"/>
              <a:gd name="T72" fmla="*/ 38 w 94"/>
              <a:gd name="T73" fmla="*/ 153 h 160"/>
              <a:gd name="T74" fmla="*/ 31 w 94"/>
              <a:gd name="T75" fmla="*/ 150 h 160"/>
              <a:gd name="T76" fmla="*/ 31 w 94"/>
              <a:gd name="T77" fmla="*/ 156 h 160"/>
              <a:gd name="T78" fmla="*/ 25 w 94"/>
              <a:gd name="T79" fmla="*/ 160 h 160"/>
              <a:gd name="T80" fmla="*/ 25 w 94"/>
              <a:gd name="T81" fmla="*/ 150 h 160"/>
              <a:gd name="T82" fmla="*/ 19 w 94"/>
              <a:gd name="T83" fmla="*/ 150 h 160"/>
              <a:gd name="T84" fmla="*/ 16 w 94"/>
              <a:gd name="T85" fmla="*/ 147 h 160"/>
              <a:gd name="T86" fmla="*/ 19 w 94"/>
              <a:gd name="T87" fmla="*/ 135 h 160"/>
              <a:gd name="T88" fmla="*/ 28 w 94"/>
              <a:gd name="T89" fmla="*/ 128 h 160"/>
              <a:gd name="T90" fmla="*/ 19 w 94"/>
              <a:gd name="T91" fmla="*/ 131 h 160"/>
              <a:gd name="T92" fmla="*/ 16 w 94"/>
              <a:gd name="T93" fmla="*/ 119 h 160"/>
              <a:gd name="T94" fmla="*/ 19 w 94"/>
              <a:gd name="T95" fmla="*/ 110 h 160"/>
              <a:gd name="T96" fmla="*/ 22 w 94"/>
              <a:gd name="T97" fmla="*/ 103 h 160"/>
              <a:gd name="T98" fmla="*/ 19 w 94"/>
              <a:gd name="T99" fmla="*/ 106 h 160"/>
              <a:gd name="T100" fmla="*/ 10 w 94"/>
              <a:gd name="T101" fmla="*/ 103 h 160"/>
              <a:gd name="T102" fmla="*/ 6 w 94"/>
              <a:gd name="T103" fmla="*/ 106 h 160"/>
              <a:gd name="T104" fmla="*/ 0 w 94"/>
              <a:gd name="T105" fmla="*/ 100 h 160"/>
              <a:gd name="T106" fmla="*/ 0 w 94"/>
              <a:gd name="T107" fmla="*/ 10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4" h="160">
                <a:moveTo>
                  <a:pt x="0" y="100"/>
                </a:moveTo>
                <a:lnTo>
                  <a:pt x="0" y="88"/>
                </a:lnTo>
                <a:lnTo>
                  <a:pt x="3" y="84"/>
                </a:lnTo>
                <a:lnTo>
                  <a:pt x="6" y="78"/>
                </a:lnTo>
                <a:lnTo>
                  <a:pt x="6" y="75"/>
                </a:lnTo>
                <a:lnTo>
                  <a:pt x="13" y="72"/>
                </a:lnTo>
                <a:lnTo>
                  <a:pt x="16" y="66"/>
                </a:lnTo>
                <a:lnTo>
                  <a:pt x="19" y="63"/>
                </a:lnTo>
                <a:lnTo>
                  <a:pt x="22" y="53"/>
                </a:lnTo>
                <a:lnTo>
                  <a:pt x="22" y="50"/>
                </a:lnTo>
                <a:lnTo>
                  <a:pt x="22" y="50"/>
                </a:lnTo>
                <a:lnTo>
                  <a:pt x="22" y="41"/>
                </a:lnTo>
                <a:lnTo>
                  <a:pt x="28" y="38"/>
                </a:lnTo>
                <a:lnTo>
                  <a:pt x="31" y="44"/>
                </a:lnTo>
                <a:lnTo>
                  <a:pt x="35" y="44"/>
                </a:lnTo>
                <a:lnTo>
                  <a:pt x="38" y="47"/>
                </a:lnTo>
                <a:lnTo>
                  <a:pt x="41" y="47"/>
                </a:lnTo>
                <a:lnTo>
                  <a:pt x="44" y="47"/>
                </a:lnTo>
                <a:lnTo>
                  <a:pt x="53" y="47"/>
                </a:lnTo>
                <a:lnTo>
                  <a:pt x="56" y="47"/>
                </a:lnTo>
                <a:lnTo>
                  <a:pt x="60" y="44"/>
                </a:lnTo>
                <a:lnTo>
                  <a:pt x="60" y="41"/>
                </a:lnTo>
                <a:lnTo>
                  <a:pt x="56" y="34"/>
                </a:lnTo>
                <a:lnTo>
                  <a:pt x="50" y="31"/>
                </a:lnTo>
                <a:lnTo>
                  <a:pt x="53" y="31"/>
                </a:lnTo>
                <a:lnTo>
                  <a:pt x="60" y="28"/>
                </a:lnTo>
                <a:lnTo>
                  <a:pt x="66" y="22"/>
                </a:lnTo>
                <a:lnTo>
                  <a:pt x="66" y="19"/>
                </a:lnTo>
                <a:lnTo>
                  <a:pt x="69" y="16"/>
                </a:lnTo>
                <a:lnTo>
                  <a:pt x="75" y="16"/>
                </a:lnTo>
                <a:lnTo>
                  <a:pt x="75" y="9"/>
                </a:lnTo>
                <a:lnTo>
                  <a:pt x="75" y="6"/>
                </a:lnTo>
                <a:lnTo>
                  <a:pt x="75" y="3"/>
                </a:lnTo>
                <a:lnTo>
                  <a:pt x="75" y="0"/>
                </a:lnTo>
                <a:lnTo>
                  <a:pt x="78" y="0"/>
                </a:lnTo>
                <a:lnTo>
                  <a:pt x="81" y="0"/>
                </a:lnTo>
                <a:lnTo>
                  <a:pt x="81" y="6"/>
                </a:lnTo>
                <a:lnTo>
                  <a:pt x="81" y="6"/>
                </a:lnTo>
                <a:lnTo>
                  <a:pt x="88" y="9"/>
                </a:lnTo>
                <a:lnTo>
                  <a:pt x="94" y="16"/>
                </a:lnTo>
                <a:lnTo>
                  <a:pt x="91" y="16"/>
                </a:lnTo>
                <a:lnTo>
                  <a:pt x="85" y="22"/>
                </a:lnTo>
                <a:lnTo>
                  <a:pt x="85" y="22"/>
                </a:lnTo>
                <a:lnTo>
                  <a:pt x="81" y="25"/>
                </a:lnTo>
                <a:lnTo>
                  <a:pt x="81" y="38"/>
                </a:lnTo>
                <a:lnTo>
                  <a:pt x="81" y="41"/>
                </a:lnTo>
                <a:lnTo>
                  <a:pt x="85" y="44"/>
                </a:lnTo>
                <a:lnTo>
                  <a:pt x="85" y="56"/>
                </a:lnTo>
                <a:lnTo>
                  <a:pt x="88" y="56"/>
                </a:lnTo>
                <a:lnTo>
                  <a:pt x="88" y="63"/>
                </a:lnTo>
                <a:lnTo>
                  <a:pt x="81" y="66"/>
                </a:lnTo>
                <a:lnTo>
                  <a:pt x="81" y="69"/>
                </a:lnTo>
                <a:lnTo>
                  <a:pt x="72" y="78"/>
                </a:lnTo>
                <a:lnTo>
                  <a:pt x="72" y="81"/>
                </a:lnTo>
                <a:lnTo>
                  <a:pt x="72" y="84"/>
                </a:lnTo>
                <a:lnTo>
                  <a:pt x="69" y="84"/>
                </a:lnTo>
                <a:lnTo>
                  <a:pt x="66" y="84"/>
                </a:lnTo>
                <a:lnTo>
                  <a:pt x="63" y="88"/>
                </a:lnTo>
                <a:lnTo>
                  <a:pt x="60" y="94"/>
                </a:lnTo>
                <a:lnTo>
                  <a:pt x="56" y="97"/>
                </a:lnTo>
                <a:lnTo>
                  <a:pt x="56" y="100"/>
                </a:lnTo>
                <a:lnTo>
                  <a:pt x="56" y="106"/>
                </a:lnTo>
                <a:lnTo>
                  <a:pt x="53" y="106"/>
                </a:lnTo>
                <a:lnTo>
                  <a:pt x="56" y="113"/>
                </a:lnTo>
                <a:lnTo>
                  <a:pt x="63" y="113"/>
                </a:lnTo>
                <a:lnTo>
                  <a:pt x="66" y="116"/>
                </a:lnTo>
                <a:lnTo>
                  <a:pt x="78" y="125"/>
                </a:lnTo>
                <a:lnTo>
                  <a:pt x="81" y="128"/>
                </a:lnTo>
                <a:lnTo>
                  <a:pt x="75" y="135"/>
                </a:lnTo>
                <a:lnTo>
                  <a:pt x="60" y="135"/>
                </a:lnTo>
                <a:lnTo>
                  <a:pt x="53" y="141"/>
                </a:lnTo>
                <a:lnTo>
                  <a:pt x="47" y="144"/>
                </a:lnTo>
                <a:lnTo>
                  <a:pt x="41" y="150"/>
                </a:lnTo>
                <a:lnTo>
                  <a:pt x="38" y="153"/>
                </a:lnTo>
                <a:lnTo>
                  <a:pt x="35" y="150"/>
                </a:lnTo>
                <a:lnTo>
                  <a:pt x="31" y="150"/>
                </a:lnTo>
                <a:lnTo>
                  <a:pt x="35" y="153"/>
                </a:lnTo>
                <a:lnTo>
                  <a:pt x="31" y="156"/>
                </a:lnTo>
                <a:lnTo>
                  <a:pt x="28" y="156"/>
                </a:lnTo>
                <a:lnTo>
                  <a:pt x="25" y="160"/>
                </a:lnTo>
                <a:lnTo>
                  <a:pt x="22" y="156"/>
                </a:lnTo>
                <a:lnTo>
                  <a:pt x="25" y="150"/>
                </a:lnTo>
                <a:lnTo>
                  <a:pt x="22" y="150"/>
                </a:lnTo>
                <a:lnTo>
                  <a:pt x="19" y="150"/>
                </a:lnTo>
                <a:lnTo>
                  <a:pt x="16" y="150"/>
                </a:lnTo>
                <a:lnTo>
                  <a:pt x="16" y="147"/>
                </a:lnTo>
                <a:lnTo>
                  <a:pt x="19" y="138"/>
                </a:lnTo>
                <a:lnTo>
                  <a:pt x="19" y="135"/>
                </a:lnTo>
                <a:lnTo>
                  <a:pt x="25" y="135"/>
                </a:lnTo>
                <a:lnTo>
                  <a:pt x="28" y="128"/>
                </a:lnTo>
                <a:lnTo>
                  <a:pt x="25" y="131"/>
                </a:lnTo>
                <a:lnTo>
                  <a:pt x="19" y="131"/>
                </a:lnTo>
                <a:lnTo>
                  <a:pt x="16" y="128"/>
                </a:lnTo>
                <a:lnTo>
                  <a:pt x="16" y="119"/>
                </a:lnTo>
                <a:lnTo>
                  <a:pt x="22" y="113"/>
                </a:lnTo>
                <a:lnTo>
                  <a:pt x="19" y="110"/>
                </a:lnTo>
                <a:lnTo>
                  <a:pt x="22" y="106"/>
                </a:lnTo>
                <a:lnTo>
                  <a:pt x="22" y="103"/>
                </a:lnTo>
                <a:lnTo>
                  <a:pt x="19" y="103"/>
                </a:lnTo>
                <a:lnTo>
                  <a:pt x="19" y="106"/>
                </a:lnTo>
                <a:lnTo>
                  <a:pt x="13" y="106"/>
                </a:lnTo>
                <a:lnTo>
                  <a:pt x="10" y="103"/>
                </a:lnTo>
                <a:lnTo>
                  <a:pt x="6" y="103"/>
                </a:lnTo>
                <a:lnTo>
                  <a:pt x="6" y="106"/>
                </a:lnTo>
                <a:lnTo>
                  <a:pt x="3" y="106"/>
                </a:lnTo>
                <a:lnTo>
                  <a:pt x="0" y="100"/>
                </a:lnTo>
                <a:lnTo>
                  <a:pt x="0" y="100"/>
                </a:lnTo>
                <a:lnTo>
                  <a:pt x="0" y="10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8" name="Freeform 16">
            <a:extLst>
              <a:ext uri="{FF2B5EF4-FFF2-40B4-BE49-F238E27FC236}">
                <a16:creationId xmlns:a16="http://schemas.microsoft.com/office/drawing/2014/main" id="{55F446EE-7401-7594-6011-35899B8B1C0B}"/>
              </a:ext>
            </a:extLst>
          </p:cNvPr>
          <p:cNvSpPr>
            <a:spLocks/>
          </p:cNvSpPr>
          <p:nvPr userDrawn="1"/>
        </p:nvSpPr>
        <p:spPr bwMode="auto">
          <a:xfrm>
            <a:off x="18210616" y="5501559"/>
            <a:ext cx="1923925" cy="904878"/>
          </a:xfrm>
          <a:custGeom>
            <a:avLst/>
            <a:gdLst>
              <a:gd name="T0" fmla="*/ 19 w 606"/>
              <a:gd name="T1" fmla="*/ 88 h 285"/>
              <a:gd name="T2" fmla="*/ 37 w 606"/>
              <a:gd name="T3" fmla="*/ 69 h 285"/>
              <a:gd name="T4" fmla="*/ 44 w 606"/>
              <a:gd name="T5" fmla="*/ 57 h 285"/>
              <a:gd name="T6" fmla="*/ 69 w 606"/>
              <a:gd name="T7" fmla="*/ 50 h 285"/>
              <a:gd name="T8" fmla="*/ 81 w 606"/>
              <a:gd name="T9" fmla="*/ 54 h 285"/>
              <a:gd name="T10" fmla="*/ 103 w 606"/>
              <a:gd name="T11" fmla="*/ 54 h 285"/>
              <a:gd name="T12" fmla="*/ 128 w 606"/>
              <a:gd name="T13" fmla="*/ 72 h 285"/>
              <a:gd name="T14" fmla="*/ 147 w 606"/>
              <a:gd name="T15" fmla="*/ 69 h 285"/>
              <a:gd name="T16" fmla="*/ 172 w 606"/>
              <a:gd name="T17" fmla="*/ 69 h 285"/>
              <a:gd name="T18" fmla="*/ 178 w 606"/>
              <a:gd name="T19" fmla="*/ 44 h 285"/>
              <a:gd name="T20" fmla="*/ 162 w 606"/>
              <a:gd name="T21" fmla="*/ 22 h 285"/>
              <a:gd name="T22" fmla="*/ 175 w 606"/>
              <a:gd name="T23" fmla="*/ 10 h 285"/>
              <a:gd name="T24" fmla="*/ 190 w 606"/>
              <a:gd name="T25" fmla="*/ 4 h 285"/>
              <a:gd name="T26" fmla="*/ 215 w 606"/>
              <a:gd name="T27" fmla="*/ 10 h 285"/>
              <a:gd name="T28" fmla="*/ 237 w 606"/>
              <a:gd name="T29" fmla="*/ 16 h 285"/>
              <a:gd name="T30" fmla="*/ 247 w 606"/>
              <a:gd name="T31" fmla="*/ 35 h 285"/>
              <a:gd name="T32" fmla="*/ 262 w 606"/>
              <a:gd name="T33" fmla="*/ 47 h 285"/>
              <a:gd name="T34" fmla="*/ 284 w 606"/>
              <a:gd name="T35" fmla="*/ 47 h 285"/>
              <a:gd name="T36" fmla="*/ 309 w 606"/>
              <a:gd name="T37" fmla="*/ 38 h 285"/>
              <a:gd name="T38" fmla="*/ 341 w 606"/>
              <a:gd name="T39" fmla="*/ 47 h 285"/>
              <a:gd name="T40" fmla="*/ 366 w 606"/>
              <a:gd name="T41" fmla="*/ 57 h 285"/>
              <a:gd name="T42" fmla="*/ 394 w 606"/>
              <a:gd name="T43" fmla="*/ 66 h 285"/>
              <a:gd name="T44" fmla="*/ 422 w 606"/>
              <a:gd name="T45" fmla="*/ 66 h 285"/>
              <a:gd name="T46" fmla="*/ 453 w 606"/>
              <a:gd name="T47" fmla="*/ 50 h 285"/>
              <a:gd name="T48" fmla="*/ 469 w 606"/>
              <a:gd name="T49" fmla="*/ 35 h 285"/>
              <a:gd name="T50" fmla="*/ 487 w 606"/>
              <a:gd name="T51" fmla="*/ 25 h 285"/>
              <a:gd name="T52" fmla="*/ 506 w 606"/>
              <a:gd name="T53" fmla="*/ 35 h 285"/>
              <a:gd name="T54" fmla="*/ 522 w 606"/>
              <a:gd name="T55" fmla="*/ 63 h 285"/>
              <a:gd name="T56" fmla="*/ 531 w 606"/>
              <a:gd name="T57" fmla="*/ 97 h 285"/>
              <a:gd name="T58" fmla="*/ 562 w 606"/>
              <a:gd name="T59" fmla="*/ 88 h 285"/>
              <a:gd name="T60" fmla="*/ 591 w 606"/>
              <a:gd name="T61" fmla="*/ 94 h 285"/>
              <a:gd name="T62" fmla="*/ 603 w 606"/>
              <a:gd name="T63" fmla="*/ 119 h 285"/>
              <a:gd name="T64" fmla="*/ 591 w 606"/>
              <a:gd name="T65" fmla="*/ 126 h 285"/>
              <a:gd name="T66" fmla="*/ 566 w 606"/>
              <a:gd name="T67" fmla="*/ 132 h 285"/>
              <a:gd name="T68" fmla="*/ 556 w 606"/>
              <a:gd name="T69" fmla="*/ 141 h 285"/>
              <a:gd name="T70" fmla="*/ 537 w 606"/>
              <a:gd name="T71" fmla="*/ 166 h 285"/>
              <a:gd name="T72" fmla="*/ 516 w 606"/>
              <a:gd name="T73" fmla="*/ 179 h 285"/>
              <a:gd name="T74" fmla="*/ 494 w 606"/>
              <a:gd name="T75" fmla="*/ 182 h 285"/>
              <a:gd name="T76" fmla="*/ 469 w 606"/>
              <a:gd name="T77" fmla="*/ 194 h 285"/>
              <a:gd name="T78" fmla="*/ 484 w 606"/>
              <a:gd name="T79" fmla="*/ 219 h 285"/>
              <a:gd name="T80" fmla="*/ 456 w 606"/>
              <a:gd name="T81" fmla="*/ 248 h 285"/>
              <a:gd name="T82" fmla="*/ 422 w 606"/>
              <a:gd name="T83" fmla="*/ 260 h 285"/>
              <a:gd name="T84" fmla="*/ 372 w 606"/>
              <a:gd name="T85" fmla="*/ 285 h 285"/>
              <a:gd name="T86" fmla="*/ 347 w 606"/>
              <a:gd name="T87" fmla="*/ 282 h 285"/>
              <a:gd name="T88" fmla="*/ 297 w 606"/>
              <a:gd name="T89" fmla="*/ 260 h 285"/>
              <a:gd name="T90" fmla="*/ 256 w 606"/>
              <a:gd name="T91" fmla="*/ 266 h 285"/>
              <a:gd name="T92" fmla="*/ 200 w 606"/>
              <a:gd name="T93" fmla="*/ 266 h 285"/>
              <a:gd name="T94" fmla="*/ 181 w 606"/>
              <a:gd name="T95" fmla="*/ 238 h 285"/>
              <a:gd name="T96" fmla="*/ 172 w 606"/>
              <a:gd name="T97" fmla="*/ 226 h 285"/>
              <a:gd name="T98" fmla="*/ 147 w 606"/>
              <a:gd name="T99" fmla="*/ 216 h 285"/>
              <a:gd name="T100" fmla="*/ 119 w 606"/>
              <a:gd name="T101" fmla="*/ 207 h 285"/>
              <a:gd name="T102" fmla="*/ 78 w 606"/>
              <a:gd name="T103" fmla="*/ 194 h 285"/>
              <a:gd name="T104" fmla="*/ 78 w 606"/>
              <a:gd name="T105" fmla="*/ 179 h 285"/>
              <a:gd name="T106" fmla="*/ 72 w 606"/>
              <a:gd name="T107" fmla="*/ 160 h 285"/>
              <a:gd name="T108" fmla="*/ 62 w 606"/>
              <a:gd name="T109" fmla="*/ 141 h 285"/>
              <a:gd name="T110" fmla="*/ 47 w 606"/>
              <a:gd name="T111" fmla="*/ 135 h 285"/>
              <a:gd name="T112" fmla="*/ 31 w 606"/>
              <a:gd name="T113" fmla="*/ 132 h 285"/>
              <a:gd name="T114" fmla="*/ 22 w 606"/>
              <a:gd name="T115" fmla="*/ 129 h 285"/>
              <a:gd name="T116" fmla="*/ 6 w 606"/>
              <a:gd name="T117" fmla="*/ 116 h 285"/>
              <a:gd name="T118" fmla="*/ 0 w 606"/>
              <a:gd name="T119" fmla="*/ 11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6" h="285">
                <a:moveTo>
                  <a:pt x="0" y="101"/>
                </a:moveTo>
                <a:lnTo>
                  <a:pt x="3" y="94"/>
                </a:lnTo>
                <a:lnTo>
                  <a:pt x="6" y="94"/>
                </a:lnTo>
                <a:lnTo>
                  <a:pt x="15" y="94"/>
                </a:lnTo>
                <a:lnTo>
                  <a:pt x="15" y="91"/>
                </a:lnTo>
                <a:lnTo>
                  <a:pt x="19" y="88"/>
                </a:lnTo>
                <a:lnTo>
                  <a:pt x="25" y="85"/>
                </a:lnTo>
                <a:lnTo>
                  <a:pt x="25" y="82"/>
                </a:lnTo>
                <a:lnTo>
                  <a:pt x="28" y="79"/>
                </a:lnTo>
                <a:lnTo>
                  <a:pt x="34" y="75"/>
                </a:lnTo>
                <a:lnTo>
                  <a:pt x="34" y="72"/>
                </a:lnTo>
                <a:lnTo>
                  <a:pt x="37" y="69"/>
                </a:lnTo>
                <a:lnTo>
                  <a:pt x="40" y="69"/>
                </a:lnTo>
                <a:lnTo>
                  <a:pt x="44" y="63"/>
                </a:lnTo>
                <a:lnTo>
                  <a:pt x="44" y="63"/>
                </a:lnTo>
                <a:lnTo>
                  <a:pt x="40" y="60"/>
                </a:lnTo>
                <a:lnTo>
                  <a:pt x="40" y="60"/>
                </a:lnTo>
                <a:lnTo>
                  <a:pt x="44" y="57"/>
                </a:lnTo>
                <a:lnTo>
                  <a:pt x="50" y="60"/>
                </a:lnTo>
                <a:lnTo>
                  <a:pt x="53" y="57"/>
                </a:lnTo>
                <a:lnTo>
                  <a:pt x="53" y="54"/>
                </a:lnTo>
                <a:lnTo>
                  <a:pt x="56" y="50"/>
                </a:lnTo>
                <a:lnTo>
                  <a:pt x="65" y="50"/>
                </a:lnTo>
                <a:lnTo>
                  <a:pt x="69" y="50"/>
                </a:lnTo>
                <a:lnTo>
                  <a:pt x="72" y="50"/>
                </a:lnTo>
                <a:lnTo>
                  <a:pt x="75" y="50"/>
                </a:lnTo>
                <a:lnTo>
                  <a:pt x="78" y="47"/>
                </a:lnTo>
                <a:lnTo>
                  <a:pt x="81" y="47"/>
                </a:lnTo>
                <a:lnTo>
                  <a:pt x="81" y="50"/>
                </a:lnTo>
                <a:lnTo>
                  <a:pt x="81" y="54"/>
                </a:lnTo>
                <a:lnTo>
                  <a:pt x="84" y="57"/>
                </a:lnTo>
                <a:lnTo>
                  <a:pt x="87" y="57"/>
                </a:lnTo>
                <a:lnTo>
                  <a:pt x="90" y="54"/>
                </a:lnTo>
                <a:lnTo>
                  <a:pt x="94" y="54"/>
                </a:lnTo>
                <a:lnTo>
                  <a:pt x="97" y="54"/>
                </a:lnTo>
                <a:lnTo>
                  <a:pt x="103" y="54"/>
                </a:lnTo>
                <a:lnTo>
                  <a:pt x="106" y="57"/>
                </a:lnTo>
                <a:lnTo>
                  <a:pt x="106" y="60"/>
                </a:lnTo>
                <a:lnTo>
                  <a:pt x="106" y="60"/>
                </a:lnTo>
                <a:lnTo>
                  <a:pt x="115" y="66"/>
                </a:lnTo>
                <a:lnTo>
                  <a:pt x="119" y="69"/>
                </a:lnTo>
                <a:lnTo>
                  <a:pt x="128" y="72"/>
                </a:lnTo>
                <a:lnTo>
                  <a:pt x="131" y="72"/>
                </a:lnTo>
                <a:lnTo>
                  <a:pt x="134" y="69"/>
                </a:lnTo>
                <a:lnTo>
                  <a:pt x="137" y="66"/>
                </a:lnTo>
                <a:lnTo>
                  <a:pt x="140" y="66"/>
                </a:lnTo>
                <a:lnTo>
                  <a:pt x="144" y="66"/>
                </a:lnTo>
                <a:lnTo>
                  <a:pt x="147" y="69"/>
                </a:lnTo>
                <a:lnTo>
                  <a:pt x="150" y="69"/>
                </a:lnTo>
                <a:lnTo>
                  <a:pt x="159" y="69"/>
                </a:lnTo>
                <a:lnTo>
                  <a:pt x="162" y="69"/>
                </a:lnTo>
                <a:lnTo>
                  <a:pt x="165" y="69"/>
                </a:lnTo>
                <a:lnTo>
                  <a:pt x="169" y="69"/>
                </a:lnTo>
                <a:lnTo>
                  <a:pt x="172" y="69"/>
                </a:lnTo>
                <a:lnTo>
                  <a:pt x="178" y="69"/>
                </a:lnTo>
                <a:lnTo>
                  <a:pt x="181" y="63"/>
                </a:lnTo>
                <a:lnTo>
                  <a:pt x="178" y="60"/>
                </a:lnTo>
                <a:lnTo>
                  <a:pt x="175" y="57"/>
                </a:lnTo>
                <a:lnTo>
                  <a:pt x="175" y="50"/>
                </a:lnTo>
                <a:lnTo>
                  <a:pt x="178" y="44"/>
                </a:lnTo>
                <a:lnTo>
                  <a:pt x="175" y="44"/>
                </a:lnTo>
                <a:lnTo>
                  <a:pt x="172" y="41"/>
                </a:lnTo>
                <a:lnTo>
                  <a:pt x="169" y="38"/>
                </a:lnTo>
                <a:lnTo>
                  <a:pt x="165" y="38"/>
                </a:lnTo>
                <a:lnTo>
                  <a:pt x="162" y="32"/>
                </a:lnTo>
                <a:lnTo>
                  <a:pt x="162" y="22"/>
                </a:lnTo>
                <a:lnTo>
                  <a:pt x="165" y="19"/>
                </a:lnTo>
                <a:lnTo>
                  <a:pt x="165" y="16"/>
                </a:lnTo>
                <a:lnTo>
                  <a:pt x="169" y="13"/>
                </a:lnTo>
                <a:lnTo>
                  <a:pt x="172" y="10"/>
                </a:lnTo>
                <a:lnTo>
                  <a:pt x="175" y="13"/>
                </a:lnTo>
                <a:lnTo>
                  <a:pt x="175" y="10"/>
                </a:lnTo>
                <a:lnTo>
                  <a:pt x="175" y="7"/>
                </a:lnTo>
                <a:lnTo>
                  <a:pt x="175" y="4"/>
                </a:lnTo>
                <a:lnTo>
                  <a:pt x="178" y="0"/>
                </a:lnTo>
                <a:lnTo>
                  <a:pt x="181" y="0"/>
                </a:lnTo>
                <a:lnTo>
                  <a:pt x="184" y="4"/>
                </a:lnTo>
                <a:lnTo>
                  <a:pt x="190" y="4"/>
                </a:lnTo>
                <a:lnTo>
                  <a:pt x="194" y="7"/>
                </a:lnTo>
                <a:lnTo>
                  <a:pt x="194" y="7"/>
                </a:lnTo>
                <a:lnTo>
                  <a:pt x="200" y="10"/>
                </a:lnTo>
                <a:lnTo>
                  <a:pt x="203" y="10"/>
                </a:lnTo>
                <a:lnTo>
                  <a:pt x="212" y="10"/>
                </a:lnTo>
                <a:lnTo>
                  <a:pt x="215" y="10"/>
                </a:lnTo>
                <a:lnTo>
                  <a:pt x="215" y="13"/>
                </a:lnTo>
                <a:lnTo>
                  <a:pt x="222" y="13"/>
                </a:lnTo>
                <a:lnTo>
                  <a:pt x="225" y="16"/>
                </a:lnTo>
                <a:lnTo>
                  <a:pt x="228" y="16"/>
                </a:lnTo>
                <a:lnTo>
                  <a:pt x="234" y="16"/>
                </a:lnTo>
                <a:lnTo>
                  <a:pt x="237" y="16"/>
                </a:lnTo>
                <a:lnTo>
                  <a:pt x="240" y="19"/>
                </a:lnTo>
                <a:lnTo>
                  <a:pt x="240" y="22"/>
                </a:lnTo>
                <a:lnTo>
                  <a:pt x="244" y="25"/>
                </a:lnTo>
                <a:lnTo>
                  <a:pt x="244" y="29"/>
                </a:lnTo>
                <a:lnTo>
                  <a:pt x="244" y="29"/>
                </a:lnTo>
                <a:lnTo>
                  <a:pt x="247" y="35"/>
                </a:lnTo>
                <a:lnTo>
                  <a:pt x="247" y="38"/>
                </a:lnTo>
                <a:lnTo>
                  <a:pt x="247" y="38"/>
                </a:lnTo>
                <a:lnTo>
                  <a:pt x="250" y="38"/>
                </a:lnTo>
                <a:lnTo>
                  <a:pt x="253" y="44"/>
                </a:lnTo>
                <a:lnTo>
                  <a:pt x="256" y="44"/>
                </a:lnTo>
                <a:lnTo>
                  <a:pt x="262" y="47"/>
                </a:lnTo>
                <a:lnTo>
                  <a:pt x="269" y="50"/>
                </a:lnTo>
                <a:lnTo>
                  <a:pt x="272" y="50"/>
                </a:lnTo>
                <a:lnTo>
                  <a:pt x="272" y="47"/>
                </a:lnTo>
                <a:lnTo>
                  <a:pt x="278" y="50"/>
                </a:lnTo>
                <a:lnTo>
                  <a:pt x="281" y="47"/>
                </a:lnTo>
                <a:lnTo>
                  <a:pt x="284" y="47"/>
                </a:lnTo>
                <a:lnTo>
                  <a:pt x="284" y="47"/>
                </a:lnTo>
                <a:lnTo>
                  <a:pt x="287" y="47"/>
                </a:lnTo>
                <a:lnTo>
                  <a:pt x="290" y="44"/>
                </a:lnTo>
                <a:lnTo>
                  <a:pt x="297" y="41"/>
                </a:lnTo>
                <a:lnTo>
                  <a:pt x="306" y="41"/>
                </a:lnTo>
                <a:lnTo>
                  <a:pt x="309" y="38"/>
                </a:lnTo>
                <a:lnTo>
                  <a:pt x="315" y="38"/>
                </a:lnTo>
                <a:lnTo>
                  <a:pt x="319" y="38"/>
                </a:lnTo>
                <a:lnTo>
                  <a:pt x="325" y="41"/>
                </a:lnTo>
                <a:lnTo>
                  <a:pt x="328" y="41"/>
                </a:lnTo>
                <a:lnTo>
                  <a:pt x="337" y="41"/>
                </a:lnTo>
                <a:lnTo>
                  <a:pt x="341" y="47"/>
                </a:lnTo>
                <a:lnTo>
                  <a:pt x="347" y="47"/>
                </a:lnTo>
                <a:lnTo>
                  <a:pt x="353" y="47"/>
                </a:lnTo>
                <a:lnTo>
                  <a:pt x="356" y="47"/>
                </a:lnTo>
                <a:lnTo>
                  <a:pt x="359" y="50"/>
                </a:lnTo>
                <a:lnTo>
                  <a:pt x="362" y="57"/>
                </a:lnTo>
                <a:lnTo>
                  <a:pt x="366" y="57"/>
                </a:lnTo>
                <a:lnTo>
                  <a:pt x="369" y="60"/>
                </a:lnTo>
                <a:lnTo>
                  <a:pt x="372" y="60"/>
                </a:lnTo>
                <a:lnTo>
                  <a:pt x="375" y="63"/>
                </a:lnTo>
                <a:lnTo>
                  <a:pt x="378" y="63"/>
                </a:lnTo>
                <a:lnTo>
                  <a:pt x="384" y="63"/>
                </a:lnTo>
                <a:lnTo>
                  <a:pt x="394" y="66"/>
                </a:lnTo>
                <a:lnTo>
                  <a:pt x="406" y="66"/>
                </a:lnTo>
                <a:lnTo>
                  <a:pt x="409" y="63"/>
                </a:lnTo>
                <a:lnTo>
                  <a:pt x="412" y="63"/>
                </a:lnTo>
                <a:lnTo>
                  <a:pt x="416" y="63"/>
                </a:lnTo>
                <a:lnTo>
                  <a:pt x="422" y="66"/>
                </a:lnTo>
                <a:lnTo>
                  <a:pt x="422" y="66"/>
                </a:lnTo>
                <a:lnTo>
                  <a:pt x="425" y="60"/>
                </a:lnTo>
                <a:lnTo>
                  <a:pt x="434" y="57"/>
                </a:lnTo>
                <a:lnTo>
                  <a:pt x="437" y="57"/>
                </a:lnTo>
                <a:lnTo>
                  <a:pt x="441" y="54"/>
                </a:lnTo>
                <a:lnTo>
                  <a:pt x="444" y="50"/>
                </a:lnTo>
                <a:lnTo>
                  <a:pt x="453" y="50"/>
                </a:lnTo>
                <a:lnTo>
                  <a:pt x="456" y="47"/>
                </a:lnTo>
                <a:lnTo>
                  <a:pt x="459" y="44"/>
                </a:lnTo>
                <a:lnTo>
                  <a:pt x="459" y="44"/>
                </a:lnTo>
                <a:lnTo>
                  <a:pt x="459" y="38"/>
                </a:lnTo>
                <a:lnTo>
                  <a:pt x="466" y="38"/>
                </a:lnTo>
                <a:lnTo>
                  <a:pt x="469" y="35"/>
                </a:lnTo>
                <a:lnTo>
                  <a:pt x="469" y="29"/>
                </a:lnTo>
                <a:lnTo>
                  <a:pt x="472" y="25"/>
                </a:lnTo>
                <a:lnTo>
                  <a:pt x="475" y="25"/>
                </a:lnTo>
                <a:lnTo>
                  <a:pt x="478" y="29"/>
                </a:lnTo>
                <a:lnTo>
                  <a:pt x="481" y="25"/>
                </a:lnTo>
                <a:lnTo>
                  <a:pt x="487" y="25"/>
                </a:lnTo>
                <a:lnTo>
                  <a:pt x="491" y="29"/>
                </a:lnTo>
                <a:lnTo>
                  <a:pt x="494" y="35"/>
                </a:lnTo>
                <a:lnTo>
                  <a:pt x="497" y="35"/>
                </a:lnTo>
                <a:lnTo>
                  <a:pt x="500" y="32"/>
                </a:lnTo>
                <a:lnTo>
                  <a:pt x="503" y="35"/>
                </a:lnTo>
                <a:lnTo>
                  <a:pt x="506" y="35"/>
                </a:lnTo>
                <a:lnTo>
                  <a:pt x="509" y="32"/>
                </a:lnTo>
                <a:lnTo>
                  <a:pt x="509" y="29"/>
                </a:lnTo>
                <a:lnTo>
                  <a:pt x="516" y="29"/>
                </a:lnTo>
                <a:lnTo>
                  <a:pt x="525" y="32"/>
                </a:lnTo>
                <a:lnTo>
                  <a:pt x="525" y="32"/>
                </a:lnTo>
                <a:lnTo>
                  <a:pt x="522" y="63"/>
                </a:lnTo>
                <a:lnTo>
                  <a:pt x="522" y="69"/>
                </a:lnTo>
                <a:lnTo>
                  <a:pt x="522" y="75"/>
                </a:lnTo>
                <a:lnTo>
                  <a:pt x="522" y="79"/>
                </a:lnTo>
                <a:lnTo>
                  <a:pt x="519" y="88"/>
                </a:lnTo>
                <a:lnTo>
                  <a:pt x="522" y="94"/>
                </a:lnTo>
                <a:lnTo>
                  <a:pt x="531" y="97"/>
                </a:lnTo>
                <a:lnTo>
                  <a:pt x="537" y="94"/>
                </a:lnTo>
                <a:lnTo>
                  <a:pt x="544" y="94"/>
                </a:lnTo>
                <a:lnTo>
                  <a:pt x="553" y="94"/>
                </a:lnTo>
                <a:lnTo>
                  <a:pt x="556" y="101"/>
                </a:lnTo>
                <a:lnTo>
                  <a:pt x="562" y="91"/>
                </a:lnTo>
                <a:lnTo>
                  <a:pt x="562" y="88"/>
                </a:lnTo>
                <a:lnTo>
                  <a:pt x="562" y="85"/>
                </a:lnTo>
                <a:lnTo>
                  <a:pt x="569" y="82"/>
                </a:lnTo>
                <a:lnTo>
                  <a:pt x="569" y="82"/>
                </a:lnTo>
                <a:lnTo>
                  <a:pt x="578" y="82"/>
                </a:lnTo>
                <a:lnTo>
                  <a:pt x="584" y="88"/>
                </a:lnTo>
                <a:lnTo>
                  <a:pt x="591" y="94"/>
                </a:lnTo>
                <a:lnTo>
                  <a:pt x="597" y="104"/>
                </a:lnTo>
                <a:lnTo>
                  <a:pt x="603" y="107"/>
                </a:lnTo>
                <a:lnTo>
                  <a:pt x="603" y="110"/>
                </a:lnTo>
                <a:lnTo>
                  <a:pt x="606" y="113"/>
                </a:lnTo>
                <a:lnTo>
                  <a:pt x="606" y="116"/>
                </a:lnTo>
                <a:lnTo>
                  <a:pt x="603" y="119"/>
                </a:lnTo>
                <a:lnTo>
                  <a:pt x="603" y="122"/>
                </a:lnTo>
                <a:lnTo>
                  <a:pt x="603" y="126"/>
                </a:lnTo>
                <a:lnTo>
                  <a:pt x="600" y="126"/>
                </a:lnTo>
                <a:lnTo>
                  <a:pt x="597" y="122"/>
                </a:lnTo>
                <a:lnTo>
                  <a:pt x="594" y="122"/>
                </a:lnTo>
                <a:lnTo>
                  <a:pt x="591" y="126"/>
                </a:lnTo>
                <a:lnTo>
                  <a:pt x="584" y="122"/>
                </a:lnTo>
                <a:lnTo>
                  <a:pt x="581" y="122"/>
                </a:lnTo>
                <a:lnTo>
                  <a:pt x="578" y="129"/>
                </a:lnTo>
                <a:lnTo>
                  <a:pt x="572" y="132"/>
                </a:lnTo>
                <a:lnTo>
                  <a:pt x="569" y="135"/>
                </a:lnTo>
                <a:lnTo>
                  <a:pt x="566" y="132"/>
                </a:lnTo>
                <a:lnTo>
                  <a:pt x="566" y="132"/>
                </a:lnTo>
                <a:lnTo>
                  <a:pt x="566" y="135"/>
                </a:lnTo>
                <a:lnTo>
                  <a:pt x="562" y="138"/>
                </a:lnTo>
                <a:lnTo>
                  <a:pt x="559" y="138"/>
                </a:lnTo>
                <a:lnTo>
                  <a:pt x="559" y="138"/>
                </a:lnTo>
                <a:lnTo>
                  <a:pt x="556" y="141"/>
                </a:lnTo>
                <a:lnTo>
                  <a:pt x="553" y="144"/>
                </a:lnTo>
                <a:lnTo>
                  <a:pt x="553" y="151"/>
                </a:lnTo>
                <a:lnTo>
                  <a:pt x="553" y="154"/>
                </a:lnTo>
                <a:lnTo>
                  <a:pt x="550" y="157"/>
                </a:lnTo>
                <a:lnTo>
                  <a:pt x="547" y="160"/>
                </a:lnTo>
                <a:lnTo>
                  <a:pt x="537" y="166"/>
                </a:lnTo>
                <a:lnTo>
                  <a:pt x="534" y="166"/>
                </a:lnTo>
                <a:lnTo>
                  <a:pt x="528" y="163"/>
                </a:lnTo>
                <a:lnTo>
                  <a:pt x="525" y="166"/>
                </a:lnTo>
                <a:lnTo>
                  <a:pt x="522" y="172"/>
                </a:lnTo>
                <a:lnTo>
                  <a:pt x="519" y="176"/>
                </a:lnTo>
                <a:lnTo>
                  <a:pt x="516" y="179"/>
                </a:lnTo>
                <a:lnTo>
                  <a:pt x="512" y="182"/>
                </a:lnTo>
                <a:lnTo>
                  <a:pt x="509" y="185"/>
                </a:lnTo>
                <a:lnTo>
                  <a:pt x="509" y="185"/>
                </a:lnTo>
                <a:lnTo>
                  <a:pt x="503" y="185"/>
                </a:lnTo>
                <a:lnTo>
                  <a:pt x="500" y="182"/>
                </a:lnTo>
                <a:lnTo>
                  <a:pt x="494" y="182"/>
                </a:lnTo>
                <a:lnTo>
                  <a:pt x="487" y="176"/>
                </a:lnTo>
                <a:lnTo>
                  <a:pt x="484" y="176"/>
                </a:lnTo>
                <a:lnTo>
                  <a:pt x="475" y="179"/>
                </a:lnTo>
                <a:lnTo>
                  <a:pt x="472" y="182"/>
                </a:lnTo>
                <a:lnTo>
                  <a:pt x="469" y="185"/>
                </a:lnTo>
                <a:lnTo>
                  <a:pt x="469" y="194"/>
                </a:lnTo>
                <a:lnTo>
                  <a:pt x="469" y="197"/>
                </a:lnTo>
                <a:lnTo>
                  <a:pt x="469" y="201"/>
                </a:lnTo>
                <a:lnTo>
                  <a:pt x="478" y="207"/>
                </a:lnTo>
                <a:lnTo>
                  <a:pt x="484" y="213"/>
                </a:lnTo>
                <a:lnTo>
                  <a:pt x="484" y="213"/>
                </a:lnTo>
                <a:lnTo>
                  <a:pt x="484" y="219"/>
                </a:lnTo>
                <a:lnTo>
                  <a:pt x="481" y="223"/>
                </a:lnTo>
                <a:lnTo>
                  <a:pt x="472" y="232"/>
                </a:lnTo>
                <a:lnTo>
                  <a:pt x="469" y="241"/>
                </a:lnTo>
                <a:lnTo>
                  <a:pt x="466" y="248"/>
                </a:lnTo>
                <a:lnTo>
                  <a:pt x="462" y="248"/>
                </a:lnTo>
                <a:lnTo>
                  <a:pt x="456" y="248"/>
                </a:lnTo>
                <a:lnTo>
                  <a:pt x="450" y="248"/>
                </a:lnTo>
                <a:lnTo>
                  <a:pt x="444" y="254"/>
                </a:lnTo>
                <a:lnTo>
                  <a:pt x="441" y="257"/>
                </a:lnTo>
                <a:lnTo>
                  <a:pt x="434" y="257"/>
                </a:lnTo>
                <a:lnTo>
                  <a:pt x="425" y="257"/>
                </a:lnTo>
                <a:lnTo>
                  <a:pt x="422" y="260"/>
                </a:lnTo>
                <a:lnTo>
                  <a:pt x="416" y="260"/>
                </a:lnTo>
                <a:lnTo>
                  <a:pt x="400" y="266"/>
                </a:lnTo>
                <a:lnTo>
                  <a:pt x="391" y="269"/>
                </a:lnTo>
                <a:lnTo>
                  <a:pt x="384" y="276"/>
                </a:lnTo>
                <a:lnTo>
                  <a:pt x="375" y="282"/>
                </a:lnTo>
                <a:lnTo>
                  <a:pt x="372" y="285"/>
                </a:lnTo>
                <a:lnTo>
                  <a:pt x="369" y="285"/>
                </a:lnTo>
                <a:lnTo>
                  <a:pt x="362" y="285"/>
                </a:lnTo>
                <a:lnTo>
                  <a:pt x="362" y="282"/>
                </a:lnTo>
                <a:lnTo>
                  <a:pt x="359" y="279"/>
                </a:lnTo>
                <a:lnTo>
                  <a:pt x="353" y="282"/>
                </a:lnTo>
                <a:lnTo>
                  <a:pt x="347" y="282"/>
                </a:lnTo>
                <a:lnTo>
                  <a:pt x="337" y="279"/>
                </a:lnTo>
                <a:lnTo>
                  <a:pt x="334" y="279"/>
                </a:lnTo>
                <a:lnTo>
                  <a:pt x="322" y="273"/>
                </a:lnTo>
                <a:lnTo>
                  <a:pt x="309" y="269"/>
                </a:lnTo>
                <a:lnTo>
                  <a:pt x="303" y="263"/>
                </a:lnTo>
                <a:lnTo>
                  <a:pt x="297" y="260"/>
                </a:lnTo>
                <a:lnTo>
                  <a:pt x="281" y="260"/>
                </a:lnTo>
                <a:lnTo>
                  <a:pt x="272" y="260"/>
                </a:lnTo>
                <a:lnTo>
                  <a:pt x="269" y="260"/>
                </a:lnTo>
                <a:lnTo>
                  <a:pt x="265" y="260"/>
                </a:lnTo>
                <a:lnTo>
                  <a:pt x="262" y="263"/>
                </a:lnTo>
                <a:lnTo>
                  <a:pt x="256" y="266"/>
                </a:lnTo>
                <a:lnTo>
                  <a:pt x="247" y="266"/>
                </a:lnTo>
                <a:lnTo>
                  <a:pt x="231" y="266"/>
                </a:lnTo>
                <a:lnTo>
                  <a:pt x="219" y="266"/>
                </a:lnTo>
                <a:lnTo>
                  <a:pt x="212" y="266"/>
                </a:lnTo>
                <a:lnTo>
                  <a:pt x="203" y="266"/>
                </a:lnTo>
                <a:lnTo>
                  <a:pt x="200" y="266"/>
                </a:lnTo>
                <a:lnTo>
                  <a:pt x="197" y="266"/>
                </a:lnTo>
                <a:lnTo>
                  <a:pt x="190" y="257"/>
                </a:lnTo>
                <a:lnTo>
                  <a:pt x="190" y="254"/>
                </a:lnTo>
                <a:lnTo>
                  <a:pt x="184" y="248"/>
                </a:lnTo>
                <a:lnTo>
                  <a:pt x="181" y="241"/>
                </a:lnTo>
                <a:lnTo>
                  <a:pt x="181" y="238"/>
                </a:lnTo>
                <a:lnTo>
                  <a:pt x="181" y="235"/>
                </a:lnTo>
                <a:lnTo>
                  <a:pt x="178" y="232"/>
                </a:lnTo>
                <a:lnTo>
                  <a:pt x="175" y="229"/>
                </a:lnTo>
                <a:lnTo>
                  <a:pt x="172" y="229"/>
                </a:lnTo>
                <a:lnTo>
                  <a:pt x="172" y="229"/>
                </a:lnTo>
                <a:lnTo>
                  <a:pt x="172" y="226"/>
                </a:lnTo>
                <a:lnTo>
                  <a:pt x="169" y="223"/>
                </a:lnTo>
                <a:lnTo>
                  <a:pt x="169" y="226"/>
                </a:lnTo>
                <a:lnTo>
                  <a:pt x="162" y="223"/>
                </a:lnTo>
                <a:lnTo>
                  <a:pt x="156" y="223"/>
                </a:lnTo>
                <a:lnTo>
                  <a:pt x="150" y="216"/>
                </a:lnTo>
                <a:lnTo>
                  <a:pt x="147" y="216"/>
                </a:lnTo>
                <a:lnTo>
                  <a:pt x="147" y="216"/>
                </a:lnTo>
                <a:lnTo>
                  <a:pt x="144" y="216"/>
                </a:lnTo>
                <a:lnTo>
                  <a:pt x="140" y="213"/>
                </a:lnTo>
                <a:lnTo>
                  <a:pt x="134" y="210"/>
                </a:lnTo>
                <a:lnTo>
                  <a:pt x="122" y="207"/>
                </a:lnTo>
                <a:lnTo>
                  <a:pt x="119" y="207"/>
                </a:lnTo>
                <a:lnTo>
                  <a:pt x="119" y="207"/>
                </a:lnTo>
                <a:lnTo>
                  <a:pt x="112" y="207"/>
                </a:lnTo>
                <a:lnTo>
                  <a:pt x="103" y="207"/>
                </a:lnTo>
                <a:lnTo>
                  <a:pt x="84" y="204"/>
                </a:lnTo>
                <a:lnTo>
                  <a:pt x="81" y="201"/>
                </a:lnTo>
                <a:lnTo>
                  <a:pt x="78" y="194"/>
                </a:lnTo>
                <a:lnTo>
                  <a:pt x="75" y="191"/>
                </a:lnTo>
                <a:lnTo>
                  <a:pt x="75" y="188"/>
                </a:lnTo>
                <a:lnTo>
                  <a:pt x="78" y="188"/>
                </a:lnTo>
                <a:lnTo>
                  <a:pt x="81" y="185"/>
                </a:lnTo>
                <a:lnTo>
                  <a:pt x="81" y="182"/>
                </a:lnTo>
                <a:lnTo>
                  <a:pt x="78" y="179"/>
                </a:lnTo>
                <a:lnTo>
                  <a:pt x="78" y="172"/>
                </a:lnTo>
                <a:lnTo>
                  <a:pt x="78" y="172"/>
                </a:lnTo>
                <a:lnTo>
                  <a:pt x="78" y="166"/>
                </a:lnTo>
                <a:lnTo>
                  <a:pt x="78" y="163"/>
                </a:lnTo>
                <a:lnTo>
                  <a:pt x="75" y="160"/>
                </a:lnTo>
                <a:lnTo>
                  <a:pt x="72" y="160"/>
                </a:lnTo>
                <a:lnTo>
                  <a:pt x="69" y="157"/>
                </a:lnTo>
                <a:lnTo>
                  <a:pt x="69" y="154"/>
                </a:lnTo>
                <a:lnTo>
                  <a:pt x="65" y="151"/>
                </a:lnTo>
                <a:lnTo>
                  <a:pt x="62" y="147"/>
                </a:lnTo>
                <a:lnTo>
                  <a:pt x="62" y="144"/>
                </a:lnTo>
                <a:lnTo>
                  <a:pt x="62" y="141"/>
                </a:lnTo>
                <a:lnTo>
                  <a:pt x="59" y="138"/>
                </a:lnTo>
                <a:lnTo>
                  <a:pt x="56" y="138"/>
                </a:lnTo>
                <a:lnTo>
                  <a:pt x="53" y="135"/>
                </a:lnTo>
                <a:lnTo>
                  <a:pt x="50" y="135"/>
                </a:lnTo>
                <a:lnTo>
                  <a:pt x="47" y="135"/>
                </a:lnTo>
                <a:lnTo>
                  <a:pt x="47" y="135"/>
                </a:lnTo>
                <a:lnTo>
                  <a:pt x="44" y="135"/>
                </a:lnTo>
                <a:lnTo>
                  <a:pt x="40" y="135"/>
                </a:lnTo>
                <a:lnTo>
                  <a:pt x="37" y="132"/>
                </a:lnTo>
                <a:lnTo>
                  <a:pt x="37" y="132"/>
                </a:lnTo>
                <a:lnTo>
                  <a:pt x="34" y="132"/>
                </a:lnTo>
                <a:lnTo>
                  <a:pt x="31" y="132"/>
                </a:lnTo>
                <a:lnTo>
                  <a:pt x="28" y="135"/>
                </a:lnTo>
                <a:lnTo>
                  <a:pt x="28" y="135"/>
                </a:lnTo>
                <a:lnTo>
                  <a:pt x="25" y="135"/>
                </a:lnTo>
                <a:lnTo>
                  <a:pt x="22" y="135"/>
                </a:lnTo>
                <a:lnTo>
                  <a:pt x="22" y="132"/>
                </a:lnTo>
                <a:lnTo>
                  <a:pt x="22" y="129"/>
                </a:lnTo>
                <a:lnTo>
                  <a:pt x="19" y="126"/>
                </a:lnTo>
                <a:lnTo>
                  <a:pt x="15" y="122"/>
                </a:lnTo>
                <a:lnTo>
                  <a:pt x="12" y="119"/>
                </a:lnTo>
                <a:lnTo>
                  <a:pt x="9" y="119"/>
                </a:lnTo>
                <a:lnTo>
                  <a:pt x="6" y="116"/>
                </a:lnTo>
                <a:lnTo>
                  <a:pt x="6" y="116"/>
                </a:lnTo>
                <a:lnTo>
                  <a:pt x="6" y="113"/>
                </a:lnTo>
                <a:lnTo>
                  <a:pt x="6" y="110"/>
                </a:lnTo>
                <a:lnTo>
                  <a:pt x="3" y="110"/>
                </a:lnTo>
                <a:lnTo>
                  <a:pt x="3" y="113"/>
                </a:lnTo>
                <a:lnTo>
                  <a:pt x="3" y="113"/>
                </a:lnTo>
                <a:lnTo>
                  <a:pt x="0" y="110"/>
                </a:lnTo>
                <a:lnTo>
                  <a:pt x="0" y="110"/>
                </a:lnTo>
                <a:lnTo>
                  <a:pt x="0" y="104"/>
                </a:lnTo>
                <a:lnTo>
                  <a:pt x="0" y="101"/>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9" name="Freeform 17">
            <a:extLst>
              <a:ext uri="{FF2B5EF4-FFF2-40B4-BE49-F238E27FC236}">
                <a16:creationId xmlns:a16="http://schemas.microsoft.com/office/drawing/2014/main" id="{901CD47E-EA6B-CF8B-C0BA-89229097B9FE}"/>
              </a:ext>
            </a:extLst>
          </p:cNvPr>
          <p:cNvSpPr>
            <a:spLocks/>
          </p:cNvSpPr>
          <p:nvPr userDrawn="1"/>
        </p:nvSpPr>
        <p:spPr bwMode="auto">
          <a:xfrm>
            <a:off x="15819996" y="5333283"/>
            <a:ext cx="2358872" cy="1250950"/>
          </a:xfrm>
          <a:custGeom>
            <a:avLst/>
            <a:gdLst>
              <a:gd name="T0" fmla="*/ 18 w 743"/>
              <a:gd name="T1" fmla="*/ 229 h 394"/>
              <a:gd name="T2" fmla="*/ 0 w 743"/>
              <a:gd name="T3" fmla="*/ 185 h 394"/>
              <a:gd name="T4" fmla="*/ 34 w 743"/>
              <a:gd name="T5" fmla="*/ 175 h 394"/>
              <a:gd name="T6" fmla="*/ 53 w 743"/>
              <a:gd name="T7" fmla="*/ 141 h 394"/>
              <a:gd name="T8" fmla="*/ 71 w 743"/>
              <a:gd name="T9" fmla="*/ 135 h 394"/>
              <a:gd name="T10" fmla="*/ 84 w 743"/>
              <a:gd name="T11" fmla="*/ 132 h 394"/>
              <a:gd name="T12" fmla="*/ 118 w 743"/>
              <a:gd name="T13" fmla="*/ 141 h 394"/>
              <a:gd name="T14" fmla="*/ 140 w 743"/>
              <a:gd name="T15" fmla="*/ 150 h 394"/>
              <a:gd name="T16" fmla="*/ 168 w 743"/>
              <a:gd name="T17" fmla="*/ 141 h 394"/>
              <a:gd name="T18" fmla="*/ 196 w 743"/>
              <a:gd name="T19" fmla="*/ 141 h 394"/>
              <a:gd name="T20" fmla="*/ 215 w 743"/>
              <a:gd name="T21" fmla="*/ 150 h 394"/>
              <a:gd name="T22" fmla="*/ 250 w 743"/>
              <a:gd name="T23" fmla="*/ 150 h 394"/>
              <a:gd name="T24" fmla="*/ 237 w 743"/>
              <a:gd name="T25" fmla="*/ 119 h 394"/>
              <a:gd name="T26" fmla="*/ 237 w 743"/>
              <a:gd name="T27" fmla="*/ 100 h 394"/>
              <a:gd name="T28" fmla="*/ 250 w 743"/>
              <a:gd name="T29" fmla="*/ 75 h 394"/>
              <a:gd name="T30" fmla="*/ 237 w 743"/>
              <a:gd name="T31" fmla="*/ 66 h 394"/>
              <a:gd name="T32" fmla="*/ 250 w 743"/>
              <a:gd name="T33" fmla="*/ 57 h 394"/>
              <a:gd name="T34" fmla="*/ 271 w 743"/>
              <a:gd name="T35" fmla="*/ 50 h 394"/>
              <a:gd name="T36" fmla="*/ 306 w 743"/>
              <a:gd name="T37" fmla="*/ 41 h 394"/>
              <a:gd name="T38" fmla="*/ 328 w 743"/>
              <a:gd name="T39" fmla="*/ 28 h 394"/>
              <a:gd name="T40" fmla="*/ 359 w 743"/>
              <a:gd name="T41" fmla="*/ 13 h 394"/>
              <a:gd name="T42" fmla="*/ 384 w 743"/>
              <a:gd name="T43" fmla="*/ 3 h 394"/>
              <a:gd name="T44" fmla="*/ 412 w 743"/>
              <a:gd name="T45" fmla="*/ 19 h 394"/>
              <a:gd name="T46" fmla="*/ 418 w 743"/>
              <a:gd name="T47" fmla="*/ 35 h 394"/>
              <a:gd name="T48" fmla="*/ 437 w 743"/>
              <a:gd name="T49" fmla="*/ 32 h 394"/>
              <a:gd name="T50" fmla="*/ 456 w 743"/>
              <a:gd name="T51" fmla="*/ 38 h 394"/>
              <a:gd name="T52" fmla="*/ 468 w 743"/>
              <a:gd name="T53" fmla="*/ 47 h 394"/>
              <a:gd name="T54" fmla="*/ 497 w 743"/>
              <a:gd name="T55" fmla="*/ 35 h 394"/>
              <a:gd name="T56" fmla="*/ 515 w 743"/>
              <a:gd name="T57" fmla="*/ 28 h 394"/>
              <a:gd name="T58" fmla="*/ 606 w 743"/>
              <a:gd name="T59" fmla="*/ 110 h 394"/>
              <a:gd name="T60" fmla="*/ 631 w 743"/>
              <a:gd name="T61" fmla="*/ 116 h 394"/>
              <a:gd name="T62" fmla="*/ 662 w 743"/>
              <a:gd name="T63" fmla="*/ 110 h 394"/>
              <a:gd name="T64" fmla="*/ 693 w 743"/>
              <a:gd name="T65" fmla="*/ 132 h 394"/>
              <a:gd name="T66" fmla="*/ 706 w 743"/>
              <a:gd name="T67" fmla="*/ 147 h 394"/>
              <a:gd name="T68" fmla="*/ 731 w 743"/>
              <a:gd name="T69" fmla="*/ 147 h 394"/>
              <a:gd name="T70" fmla="*/ 734 w 743"/>
              <a:gd name="T71" fmla="*/ 169 h 394"/>
              <a:gd name="T72" fmla="*/ 725 w 743"/>
              <a:gd name="T73" fmla="*/ 213 h 394"/>
              <a:gd name="T74" fmla="*/ 687 w 743"/>
              <a:gd name="T75" fmla="*/ 216 h 394"/>
              <a:gd name="T76" fmla="*/ 675 w 743"/>
              <a:gd name="T77" fmla="*/ 260 h 394"/>
              <a:gd name="T78" fmla="*/ 659 w 743"/>
              <a:gd name="T79" fmla="*/ 269 h 394"/>
              <a:gd name="T80" fmla="*/ 643 w 743"/>
              <a:gd name="T81" fmla="*/ 282 h 394"/>
              <a:gd name="T82" fmla="*/ 653 w 743"/>
              <a:gd name="T83" fmla="*/ 313 h 394"/>
              <a:gd name="T84" fmla="*/ 653 w 743"/>
              <a:gd name="T85" fmla="*/ 344 h 394"/>
              <a:gd name="T86" fmla="*/ 584 w 743"/>
              <a:gd name="T87" fmla="*/ 332 h 394"/>
              <a:gd name="T88" fmla="*/ 534 w 743"/>
              <a:gd name="T89" fmla="*/ 332 h 394"/>
              <a:gd name="T90" fmla="*/ 493 w 743"/>
              <a:gd name="T91" fmla="*/ 344 h 394"/>
              <a:gd name="T92" fmla="*/ 468 w 743"/>
              <a:gd name="T93" fmla="*/ 360 h 394"/>
              <a:gd name="T94" fmla="*/ 421 w 743"/>
              <a:gd name="T95" fmla="*/ 385 h 394"/>
              <a:gd name="T96" fmla="*/ 331 w 743"/>
              <a:gd name="T97" fmla="*/ 322 h 394"/>
              <a:gd name="T98" fmla="*/ 181 w 743"/>
              <a:gd name="T99" fmla="*/ 379 h 394"/>
              <a:gd name="T100" fmla="*/ 134 w 743"/>
              <a:gd name="T101" fmla="*/ 360 h 394"/>
              <a:gd name="T102" fmla="*/ 115 w 743"/>
              <a:gd name="T103" fmla="*/ 351 h 394"/>
              <a:gd name="T104" fmla="*/ 100 w 743"/>
              <a:gd name="T105" fmla="*/ 332 h 394"/>
              <a:gd name="T106" fmla="*/ 84 w 743"/>
              <a:gd name="T107" fmla="*/ 313 h 394"/>
              <a:gd name="T108" fmla="*/ 106 w 743"/>
              <a:gd name="T109" fmla="*/ 313 h 394"/>
              <a:gd name="T110" fmla="*/ 100 w 743"/>
              <a:gd name="T111" fmla="*/ 297 h 394"/>
              <a:gd name="T112" fmla="*/ 125 w 743"/>
              <a:gd name="T113" fmla="*/ 291 h 394"/>
              <a:gd name="T114" fmla="*/ 131 w 743"/>
              <a:gd name="T115" fmla="*/ 279 h 394"/>
              <a:gd name="T116" fmla="*/ 128 w 743"/>
              <a:gd name="T117" fmla="*/ 257 h 394"/>
              <a:gd name="T118" fmla="*/ 109 w 743"/>
              <a:gd name="T119" fmla="*/ 254 h 394"/>
              <a:gd name="T120" fmla="*/ 96 w 743"/>
              <a:gd name="T121" fmla="*/ 250 h 394"/>
              <a:gd name="T122" fmla="*/ 78 w 743"/>
              <a:gd name="T123" fmla="*/ 254 h 394"/>
              <a:gd name="T124" fmla="*/ 62 w 743"/>
              <a:gd name="T125" fmla="*/ 263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3" h="394">
                <a:moveTo>
                  <a:pt x="56" y="263"/>
                </a:moveTo>
                <a:lnTo>
                  <a:pt x="50" y="260"/>
                </a:lnTo>
                <a:lnTo>
                  <a:pt x="46" y="263"/>
                </a:lnTo>
                <a:lnTo>
                  <a:pt x="40" y="257"/>
                </a:lnTo>
                <a:lnTo>
                  <a:pt x="40" y="254"/>
                </a:lnTo>
                <a:lnTo>
                  <a:pt x="46" y="254"/>
                </a:lnTo>
                <a:lnTo>
                  <a:pt x="40" y="241"/>
                </a:lnTo>
                <a:lnTo>
                  <a:pt x="31" y="232"/>
                </a:lnTo>
                <a:lnTo>
                  <a:pt x="18" y="229"/>
                </a:lnTo>
                <a:lnTo>
                  <a:pt x="15" y="232"/>
                </a:lnTo>
                <a:lnTo>
                  <a:pt x="9" y="225"/>
                </a:lnTo>
                <a:lnTo>
                  <a:pt x="9" y="225"/>
                </a:lnTo>
                <a:lnTo>
                  <a:pt x="6" y="219"/>
                </a:lnTo>
                <a:lnTo>
                  <a:pt x="0" y="216"/>
                </a:lnTo>
                <a:lnTo>
                  <a:pt x="3" y="210"/>
                </a:lnTo>
                <a:lnTo>
                  <a:pt x="3" y="197"/>
                </a:lnTo>
                <a:lnTo>
                  <a:pt x="0" y="194"/>
                </a:lnTo>
                <a:lnTo>
                  <a:pt x="0" y="185"/>
                </a:lnTo>
                <a:lnTo>
                  <a:pt x="3" y="182"/>
                </a:lnTo>
                <a:lnTo>
                  <a:pt x="9" y="175"/>
                </a:lnTo>
                <a:lnTo>
                  <a:pt x="9" y="169"/>
                </a:lnTo>
                <a:lnTo>
                  <a:pt x="12" y="166"/>
                </a:lnTo>
                <a:lnTo>
                  <a:pt x="21" y="175"/>
                </a:lnTo>
                <a:lnTo>
                  <a:pt x="25" y="179"/>
                </a:lnTo>
                <a:lnTo>
                  <a:pt x="28" y="185"/>
                </a:lnTo>
                <a:lnTo>
                  <a:pt x="34" y="182"/>
                </a:lnTo>
                <a:lnTo>
                  <a:pt x="34" y="175"/>
                </a:lnTo>
                <a:lnTo>
                  <a:pt x="37" y="175"/>
                </a:lnTo>
                <a:lnTo>
                  <a:pt x="34" y="160"/>
                </a:lnTo>
                <a:lnTo>
                  <a:pt x="37" y="160"/>
                </a:lnTo>
                <a:lnTo>
                  <a:pt x="43" y="160"/>
                </a:lnTo>
                <a:lnTo>
                  <a:pt x="43" y="154"/>
                </a:lnTo>
                <a:lnTo>
                  <a:pt x="43" y="150"/>
                </a:lnTo>
                <a:lnTo>
                  <a:pt x="43" y="147"/>
                </a:lnTo>
                <a:lnTo>
                  <a:pt x="50" y="141"/>
                </a:lnTo>
                <a:lnTo>
                  <a:pt x="53" y="141"/>
                </a:lnTo>
                <a:lnTo>
                  <a:pt x="53" y="138"/>
                </a:lnTo>
                <a:lnTo>
                  <a:pt x="56" y="135"/>
                </a:lnTo>
                <a:lnTo>
                  <a:pt x="62" y="135"/>
                </a:lnTo>
                <a:lnTo>
                  <a:pt x="62" y="132"/>
                </a:lnTo>
                <a:lnTo>
                  <a:pt x="59" y="128"/>
                </a:lnTo>
                <a:lnTo>
                  <a:pt x="62" y="125"/>
                </a:lnTo>
                <a:lnTo>
                  <a:pt x="68" y="128"/>
                </a:lnTo>
                <a:lnTo>
                  <a:pt x="71" y="132"/>
                </a:lnTo>
                <a:lnTo>
                  <a:pt x="71" y="135"/>
                </a:lnTo>
                <a:lnTo>
                  <a:pt x="68" y="138"/>
                </a:lnTo>
                <a:lnTo>
                  <a:pt x="71" y="138"/>
                </a:lnTo>
                <a:lnTo>
                  <a:pt x="75" y="138"/>
                </a:lnTo>
                <a:lnTo>
                  <a:pt x="75" y="135"/>
                </a:lnTo>
                <a:lnTo>
                  <a:pt x="78" y="132"/>
                </a:lnTo>
                <a:lnTo>
                  <a:pt x="78" y="135"/>
                </a:lnTo>
                <a:lnTo>
                  <a:pt x="81" y="132"/>
                </a:lnTo>
                <a:lnTo>
                  <a:pt x="81" y="132"/>
                </a:lnTo>
                <a:lnTo>
                  <a:pt x="84" y="132"/>
                </a:lnTo>
                <a:lnTo>
                  <a:pt x="90" y="128"/>
                </a:lnTo>
                <a:lnTo>
                  <a:pt x="93" y="128"/>
                </a:lnTo>
                <a:lnTo>
                  <a:pt x="93" y="132"/>
                </a:lnTo>
                <a:lnTo>
                  <a:pt x="100" y="135"/>
                </a:lnTo>
                <a:lnTo>
                  <a:pt x="106" y="135"/>
                </a:lnTo>
                <a:lnTo>
                  <a:pt x="109" y="135"/>
                </a:lnTo>
                <a:lnTo>
                  <a:pt x="112" y="138"/>
                </a:lnTo>
                <a:lnTo>
                  <a:pt x="112" y="138"/>
                </a:lnTo>
                <a:lnTo>
                  <a:pt x="118" y="141"/>
                </a:lnTo>
                <a:lnTo>
                  <a:pt x="121" y="141"/>
                </a:lnTo>
                <a:lnTo>
                  <a:pt x="125" y="144"/>
                </a:lnTo>
                <a:lnTo>
                  <a:pt x="131" y="150"/>
                </a:lnTo>
                <a:lnTo>
                  <a:pt x="134" y="150"/>
                </a:lnTo>
                <a:lnTo>
                  <a:pt x="134" y="154"/>
                </a:lnTo>
                <a:lnTo>
                  <a:pt x="134" y="157"/>
                </a:lnTo>
                <a:lnTo>
                  <a:pt x="137" y="157"/>
                </a:lnTo>
                <a:lnTo>
                  <a:pt x="140" y="154"/>
                </a:lnTo>
                <a:lnTo>
                  <a:pt x="140" y="150"/>
                </a:lnTo>
                <a:lnTo>
                  <a:pt x="143" y="147"/>
                </a:lnTo>
                <a:lnTo>
                  <a:pt x="146" y="150"/>
                </a:lnTo>
                <a:lnTo>
                  <a:pt x="153" y="150"/>
                </a:lnTo>
                <a:lnTo>
                  <a:pt x="156" y="157"/>
                </a:lnTo>
                <a:lnTo>
                  <a:pt x="159" y="157"/>
                </a:lnTo>
                <a:lnTo>
                  <a:pt x="165" y="154"/>
                </a:lnTo>
                <a:lnTo>
                  <a:pt x="165" y="147"/>
                </a:lnTo>
                <a:lnTo>
                  <a:pt x="168" y="144"/>
                </a:lnTo>
                <a:lnTo>
                  <a:pt x="168" y="141"/>
                </a:lnTo>
                <a:lnTo>
                  <a:pt x="171" y="141"/>
                </a:lnTo>
                <a:lnTo>
                  <a:pt x="175" y="144"/>
                </a:lnTo>
                <a:lnTo>
                  <a:pt x="175" y="141"/>
                </a:lnTo>
                <a:lnTo>
                  <a:pt x="181" y="141"/>
                </a:lnTo>
                <a:lnTo>
                  <a:pt x="187" y="144"/>
                </a:lnTo>
                <a:lnTo>
                  <a:pt x="187" y="147"/>
                </a:lnTo>
                <a:lnTo>
                  <a:pt x="193" y="147"/>
                </a:lnTo>
                <a:lnTo>
                  <a:pt x="193" y="141"/>
                </a:lnTo>
                <a:lnTo>
                  <a:pt x="196" y="141"/>
                </a:lnTo>
                <a:lnTo>
                  <a:pt x="200" y="141"/>
                </a:lnTo>
                <a:lnTo>
                  <a:pt x="203" y="138"/>
                </a:lnTo>
                <a:lnTo>
                  <a:pt x="206" y="141"/>
                </a:lnTo>
                <a:lnTo>
                  <a:pt x="209" y="141"/>
                </a:lnTo>
                <a:lnTo>
                  <a:pt x="209" y="144"/>
                </a:lnTo>
                <a:lnTo>
                  <a:pt x="206" y="147"/>
                </a:lnTo>
                <a:lnTo>
                  <a:pt x="209" y="150"/>
                </a:lnTo>
                <a:lnTo>
                  <a:pt x="212" y="154"/>
                </a:lnTo>
                <a:lnTo>
                  <a:pt x="215" y="150"/>
                </a:lnTo>
                <a:lnTo>
                  <a:pt x="215" y="154"/>
                </a:lnTo>
                <a:lnTo>
                  <a:pt x="221" y="154"/>
                </a:lnTo>
                <a:lnTo>
                  <a:pt x="231" y="157"/>
                </a:lnTo>
                <a:lnTo>
                  <a:pt x="234" y="157"/>
                </a:lnTo>
                <a:lnTo>
                  <a:pt x="237" y="150"/>
                </a:lnTo>
                <a:lnTo>
                  <a:pt x="237" y="147"/>
                </a:lnTo>
                <a:lnTo>
                  <a:pt x="237" y="144"/>
                </a:lnTo>
                <a:lnTo>
                  <a:pt x="243" y="150"/>
                </a:lnTo>
                <a:lnTo>
                  <a:pt x="250" y="150"/>
                </a:lnTo>
                <a:lnTo>
                  <a:pt x="256" y="147"/>
                </a:lnTo>
                <a:lnTo>
                  <a:pt x="259" y="144"/>
                </a:lnTo>
                <a:lnTo>
                  <a:pt x="256" y="128"/>
                </a:lnTo>
                <a:lnTo>
                  <a:pt x="256" y="128"/>
                </a:lnTo>
                <a:lnTo>
                  <a:pt x="250" y="128"/>
                </a:lnTo>
                <a:lnTo>
                  <a:pt x="246" y="125"/>
                </a:lnTo>
                <a:lnTo>
                  <a:pt x="246" y="122"/>
                </a:lnTo>
                <a:lnTo>
                  <a:pt x="240" y="122"/>
                </a:lnTo>
                <a:lnTo>
                  <a:pt x="237" y="119"/>
                </a:lnTo>
                <a:lnTo>
                  <a:pt x="234" y="119"/>
                </a:lnTo>
                <a:lnTo>
                  <a:pt x="234" y="116"/>
                </a:lnTo>
                <a:lnTo>
                  <a:pt x="231" y="113"/>
                </a:lnTo>
                <a:lnTo>
                  <a:pt x="231" y="113"/>
                </a:lnTo>
                <a:lnTo>
                  <a:pt x="237" y="113"/>
                </a:lnTo>
                <a:lnTo>
                  <a:pt x="237" y="107"/>
                </a:lnTo>
                <a:lnTo>
                  <a:pt x="240" y="103"/>
                </a:lnTo>
                <a:lnTo>
                  <a:pt x="237" y="100"/>
                </a:lnTo>
                <a:lnTo>
                  <a:pt x="237" y="100"/>
                </a:lnTo>
                <a:lnTo>
                  <a:pt x="234" y="94"/>
                </a:lnTo>
                <a:lnTo>
                  <a:pt x="240" y="88"/>
                </a:lnTo>
                <a:lnTo>
                  <a:pt x="243" y="85"/>
                </a:lnTo>
                <a:lnTo>
                  <a:pt x="253" y="85"/>
                </a:lnTo>
                <a:lnTo>
                  <a:pt x="256" y="85"/>
                </a:lnTo>
                <a:lnTo>
                  <a:pt x="259" y="82"/>
                </a:lnTo>
                <a:lnTo>
                  <a:pt x="259" y="78"/>
                </a:lnTo>
                <a:lnTo>
                  <a:pt x="253" y="78"/>
                </a:lnTo>
                <a:lnTo>
                  <a:pt x="250" y="75"/>
                </a:lnTo>
                <a:lnTo>
                  <a:pt x="250" y="75"/>
                </a:lnTo>
                <a:lnTo>
                  <a:pt x="246" y="75"/>
                </a:lnTo>
                <a:lnTo>
                  <a:pt x="240" y="75"/>
                </a:lnTo>
                <a:lnTo>
                  <a:pt x="237" y="75"/>
                </a:lnTo>
                <a:lnTo>
                  <a:pt x="237" y="72"/>
                </a:lnTo>
                <a:lnTo>
                  <a:pt x="237" y="72"/>
                </a:lnTo>
                <a:lnTo>
                  <a:pt x="243" y="69"/>
                </a:lnTo>
                <a:lnTo>
                  <a:pt x="240" y="66"/>
                </a:lnTo>
                <a:lnTo>
                  <a:pt x="237" y="66"/>
                </a:lnTo>
                <a:lnTo>
                  <a:pt x="234" y="66"/>
                </a:lnTo>
                <a:lnTo>
                  <a:pt x="234" y="63"/>
                </a:lnTo>
                <a:lnTo>
                  <a:pt x="234" y="60"/>
                </a:lnTo>
                <a:lnTo>
                  <a:pt x="234" y="57"/>
                </a:lnTo>
                <a:lnTo>
                  <a:pt x="237" y="57"/>
                </a:lnTo>
                <a:lnTo>
                  <a:pt x="240" y="57"/>
                </a:lnTo>
                <a:lnTo>
                  <a:pt x="243" y="57"/>
                </a:lnTo>
                <a:lnTo>
                  <a:pt x="243" y="57"/>
                </a:lnTo>
                <a:lnTo>
                  <a:pt x="250" y="57"/>
                </a:lnTo>
                <a:lnTo>
                  <a:pt x="253" y="60"/>
                </a:lnTo>
                <a:lnTo>
                  <a:pt x="253" y="57"/>
                </a:lnTo>
                <a:lnTo>
                  <a:pt x="253" y="57"/>
                </a:lnTo>
                <a:lnTo>
                  <a:pt x="259" y="53"/>
                </a:lnTo>
                <a:lnTo>
                  <a:pt x="262" y="53"/>
                </a:lnTo>
                <a:lnTo>
                  <a:pt x="262" y="57"/>
                </a:lnTo>
                <a:lnTo>
                  <a:pt x="265" y="53"/>
                </a:lnTo>
                <a:lnTo>
                  <a:pt x="265" y="50"/>
                </a:lnTo>
                <a:lnTo>
                  <a:pt x="271" y="50"/>
                </a:lnTo>
                <a:lnTo>
                  <a:pt x="278" y="50"/>
                </a:lnTo>
                <a:lnTo>
                  <a:pt x="281" y="47"/>
                </a:lnTo>
                <a:lnTo>
                  <a:pt x="287" y="47"/>
                </a:lnTo>
                <a:lnTo>
                  <a:pt x="287" y="44"/>
                </a:lnTo>
                <a:lnTo>
                  <a:pt x="293" y="41"/>
                </a:lnTo>
                <a:lnTo>
                  <a:pt x="300" y="41"/>
                </a:lnTo>
                <a:lnTo>
                  <a:pt x="303" y="38"/>
                </a:lnTo>
                <a:lnTo>
                  <a:pt x="303" y="38"/>
                </a:lnTo>
                <a:lnTo>
                  <a:pt x="306" y="41"/>
                </a:lnTo>
                <a:lnTo>
                  <a:pt x="309" y="38"/>
                </a:lnTo>
                <a:lnTo>
                  <a:pt x="309" y="35"/>
                </a:lnTo>
                <a:lnTo>
                  <a:pt x="309" y="32"/>
                </a:lnTo>
                <a:lnTo>
                  <a:pt x="315" y="32"/>
                </a:lnTo>
                <a:lnTo>
                  <a:pt x="315" y="28"/>
                </a:lnTo>
                <a:lnTo>
                  <a:pt x="318" y="28"/>
                </a:lnTo>
                <a:lnTo>
                  <a:pt x="321" y="28"/>
                </a:lnTo>
                <a:lnTo>
                  <a:pt x="321" y="32"/>
                </a:lnTo>
                <a:lnTo>
                  <a:pt x="328" y="28"/>
                </a:lnTo>
                <a:lnTo>
                  <a:pt x="331" y="25"/>
                </a:lnTo>
                <a:lnTo>
                  <a:pt x="340" y="22"/>
                </a:lnTo>
                <a:lnTo>
                  <a:pt x="340" y="22"/>
                </a:lnTo>
                <a:lnTo>
                  <a:pt x="343" y="19"/>
                </a:lnTo>
                <a:lnTo>
                  <a:pt x="346" y="19"/>
                </a:lnTo>
                <a:lnTo>
                  <a:pt x="350" y="16"/>
                </a:lnTo>
                <a:lnTo>
                  <a:pt x="353" y="16"/>
                </a:lnTo>
                <a:lnTo>
                  <a:pt x="359" y="16"/>
                </a:lnTo>
                <a:lnTo>
                  <a:pt x="359" y="13"/>
                </a:lnTo>
                <a:lnTo>
                  <a:pt x="356" y="10"/>
                </a:lnTo>
                <a:lnTo>
                  <a:pt x="359" y="6"/>
                </a:lnTo>
                <a:lnTo>
                  <a:pt x="362" y="6"/>
                </a:lnTo>
                <a:lnTo>
                  <a:pt x="365" y="3"/>
                </a:lnTo>
                <a:lnTo>
                  <a:pt x="368" y="0"/>
                </a:lnTo>
                <a:lnTo>
                  <a:pt x="371" y="3"/>
                </a:lnTo>
                <a:lnTo>
                  <a:pt x="375" y="0"/>
                </a:lnTo>
                <a:lnTo>
                  <a:pt x="378" y="3"/>
                </a:lnTo>
                <a:lnTo>
                  <a:pt x="384" y="3"/>
                </a:lnTo>
                <a:lnTo>
                  <a:pt x="387" y="6"/>
                </a:lnTo>
                <a:lnTo>
                  <a:pt x="393" y="6"/>
                </a:lnTo>
                <a:lnTo>
                  <a:pt x="396" y="3"/>
                </a:lnTo>
                <a:lnTo>
                  <a:pt x="403" y="3"/>
                </a:lnTo>
                <a:lnTo>
                  <a:pt x="403" y="10"/>
                </a:lnTo>
                <a:lnTo>
                  <a:pt x="406" y="10"/>
                </a:lnTo>
                <a:lnTo>
                  <a:pt x="406" y="13"/>
                </a:lnTo>
                <a:lnTo>
                  <a:pt x="409" y="19"/>
                </a:lnTo>
                <a:lnTo>
                  <a:pt x="412" y="19"/>
                </a:lnTo>
                <a:lnTo>
                  <a:pt x="412" y="22"/>
                </a:lnTo>
                <a:lnTo>
                  <a:pt x="412" y="25"/>
                </a:lnTo>
                <a:lnTo>
                  <a:pt x="412" y="28"/>
                </a:lnTo>
                <a:lnTo>
                  <a:pt x="412" y="28"/>
                </a:lnTo>
                <a:lnTo>
                  <a:pt x="409" y="32"/>
                </a:lnTo>
                <a:lnTo>
                  <a:pt x="409" y="35"/>
                </a:lnTo>
                <a:lnTo>
                  <a:pt x="412" y="35"/>
                </a:lnTo>
                <a:lnTo>
                  <a:pt x="415" y="35"/>
                </a:lnTo>
                <a:lnTo>
                  <a:pt x="418" y="35"/>
                </a:lnTo>
                <a:lnTo>
                  <a:pt x="421" y="35"/>
                </a:lnTo>
                <a:lnTo>
                  <a:pt x="421" y="32"/>
                </a:lnTo>
                <a:lnTo>
                  <a:pt x="425" y="32"/>
                </a:lnTo>
                <a:lnTo>
                  <a:pt x="428" y="35"/>
                </a:lnTo>
                <a:lnTo>
                  <a:pt x="428" y="35"/>
                </a:lnTo>
                <a:lnTo>
                  <a:pt x="428" y="32"/>
                </a:lnTo>
                <a:lnTo>
                  <a:pt x="428" y="28"/>
                </a:lnTo>
                <a:lnTo>
                  <a:pt x="428" y="25"/>
                </a:lnTo>
                <a:lnTo>
                  <a:pt x="437" y="32"/>
                </a:lnTo>
                <a:lnTo>
                  <a:pt x="437" y="38"/>
                </a:lnTo>
                <a:lnTo>
                  <a:pt x="440" y="44"/>
                </a:lnTo>
                <a:lnTo>
                  <a:pt x="440" y="41"/>
                </a:lnTo>
                <a:lnTo>
                  <a:pt x="443" y="41"/>
                </a:lnTo>
                <a:lnTo>
                  <a:pt x="443" y="38"/>
                </a:lnTo>
                <a:lnTo>
                  <a:pt x="440" y="35"/>
                </a:lnTo>
                <a:lnTo>
                  <a:pt x="446" y="35"/>
                </a:lnTo>
                <a:lnTo>
                  <a:pt x="453" y="38"/>
                </a:lnTo>
                <a:lnTo>
                  <a:pt x="456" y="38"/>
                </a:lnTo>
                <a:lnTo>
                  <a:pt x="459" y="38"/>
                </a:lnTo>
                <a:lnTo>
                  <a:pt x="459" y="38"/>
                </a:lnTo>
                <a:lnTo>
                  <a:pt x="459" y="41"/>
                </a:lnTo>
                <a:lnTo>
                  <a:pt x="456" y="44"/>
                </a:lnTo>
                <a:lnTo>
                  <a:pt x="456" y="47"/>
                </a:lnTo>
                <a:lnTo>
                  <a:pt x="459" y="53"/>
                </a:lnTo>
                <a:lnTo>
                  <a:pt x="462" y="53"/>
                </a:lnTo>
                <a:lnTo>
                  <a:pt x="465" y="50"/>
                </a:lnTo>
                <a:lnTo>
                  <a:pt x="468" y="47"/>
                </a:lnTo>
                <a:lnTo>
                  <a:pt x="478" y="50"/>
                </a:lnTo>
                <a:lnTo>
                  <a:pt x="478" y="50"/>
                </a:lnTo>
                <a:lnTo>
                  <a:pt x="481" y="50"/>
                </a:lnTo>
                <a:lnTo>
                  <a:pt x="481" y="44"/>
                </a:lnTo>
                <a:lnTo>
                  <a:pt x="484" y="44"/>
                </a:lnTo>
                <a:lnTo>
                  <a:pt x="490" y="44"/>
                </a:lnTo>
                <a:lnTo>
                  <a:pt x="493" y="41"/>
                </a:lnTo>
                <a:lnTo>
                  <a:pt x="493" y="38"/>
                </a:lnTo>
                <a:lnTo>
                  <a:pt x="497" y="35"/>
                </a:lnTo>
                <a:lnTo>
                  <a:pt x="497" y="32"/>
                </a:lnTo>
                <a:lnTo>
                  <a:pt x="503" y="28"/>
                </a:lnTo>
                <a:lnTo>
                  <a:pt x="506" y="25"/>
                </a:lnTo>
                <a:lnTo>
                  <a:pt x="509" y="22"/>
                </a:lnTo>
                <a:lnTo>
                  <a:pt x="512" y="22"/>
                </a:lnTo>
                <a:lnTo>
                  <a:pt x="518" y="19"/>
                </a:lnTo>
                <a:lnTo>
                  <a:pt x="518" y="22"/>
                </a:lnTo>
                <a:lnTo>
                  <a:pt x="518" y="25"/>
                </a:lnTo>
                <a:lnTo>
                  <a:pt x="515" y="28"/>
                </a:lnTo>
                <a:lnTo>
                  <a:pt x="512" y="28"/>
                </a:lnTo>
                <a:lnTo>
                  <a:pt x="515" y="32"/>
                </a:lnTo>
                <a:lnTo>
                  <a:pt x="550" y="60"/>
                </a:lnTo>
                <a:lnTo>
                  <a:pt x="600" y="119"/>
                </a:lnTo>
                <a:lnTo>
                  <a:pt x="603" y="119"/>
                </a:lnTo>
                <a:lnTo>
                  <a:pt x="606" y="116"/>
                </a:lnTo>
                <a:lnTo>
                  <a:pt x="606" y="113"/>
                </a:lnTo>
                <a:lnTo>
                  <a:pt x="606" y="113"/>
                </a:lnTo>
                <a:lnTo>
                  <a:pt x="606" y="110"/>
                </a:lnTo>
                <a:lnTo>
                  <a:pt x="609" y="107"/>
                </a:lnTo>
                <a:lnTo>
                  <a:pt x="615" y="110"/>
                </a:lnTo>
                <a:lnTo>
                  <a:pt x="615" y="113"/>
                </a:lnTo>
                <a:lnTo>
                  <a:pt x="615" y="116"/>
                </a:lnTo>
                <a:lnTo>
                  <a:pt x="618" y="116"/>
                </a:lnTo>
                <a:lnTo>
                  <a:pt x="622" y="119"/>
                </a:lnTo>
                <a:lnTo>
                  <a:pt x="625" y="119"/>
                </a:lnTo>
                <a:lnTo>
                  <a:pt x="628" y="119"/>
                </a:lnTo>
                <a:lnTo>
                  <a:pt x="631" y="116"/>
                </a:lnTo>
                <a:lnTo>
                  <a:pt x="637" y="119"/>
                </a:lnTo>
                <a:lnTo>
                  <a:pt x="640" y="119"/>
                </a:lnTo>
                <a:lnTo>
                  <a:pt x="643" y="119"/>
                </a:lnTo>
                <a:lnTo>
                  <a:pt x="647" y="116"/>
                </a:lnTo>
                <a:lnTo>
                  <a:pt x="650" y="116"/>
                </a:lnTo>
                <a:lnTo>
                  <a:pt x="647" y="113"/>
                </a:lnTo>
                <a:lnTo>
                  <a:pt x="647" y="113"/>
                </a:lnTo>
                <a:lnTo>
                  <a:pt x="656" y="110"/>
                </a:lnTo>
                <a:lnTo>
                  <a:pt x="662" y="110"/>
                </a:lnTo>
                <a:lnTo>
                  <a:pt x="668" y="113"/>
                </a:lnTo>
                <a:lnTo>
                  <a:pt x="675" y="116"/>
                </a:lnTo>
                <a:lnTo>
                  <a:pt x="678" y="122"/>
                </a:lnTo>
                <a:lnTo>
                  <a:pt x="678" y="125"/>
                </a:lnTo>
                <a:lnTo>
                  <a:pt x="681" y="125"/>
                </a:lnTo>
                <a:lnTo>
                  <a:pt x="684" y="128"/>
                </a:lnTo>
                <a:lnTo>
                  <a:pt x="690" y="132"/>
                </a:lnTo>
                <a:lnTo>
                  <a:pt x="690" y="132"/>
                </a:lnTo>
                <a:lnTo>
                  <a:pt x="693" y="132"/>
                </a:lnTo>
                <a:lnTo>
                  <a:pt x="693" y="135"/>
                </a:lnTo>
                <a:lnTo>
                  <a:pt x="693" y="138"/>
                </a:lnTo>
                <a:lnTo>
                  <a:pt x="693" y="141"/>
                </a:lnTo>
                <a:lnTo>
                  <a:pt x="693" y="141"/>
                </a:lnTo>
                <a:lnTo>
                  <a:pt x="697" y="144"/>
                </a:lnTo>
                <a:lnTo>
                  <a:pt x="697" y="144"/>
                </a:lnTo>
                <a:lnTo>
                  <a:pt x="700" y="144"/>
                </a:lnTo>
                <a:lnTo>
                  <a:pt x="703" y="147"/>
                </a:lnTo>
                <a:lnTo>
                  <a:pt x="706" y="147"/>
                </a:lnTo>
                <a:lnTo>
                  <a:pt x="706" y="147"/>
                </a:lnTo>
                <a:lnTo>
                  <a:pt x="709" y="144"/>
                </a:lnTo>
                <a:lnTo>
                  <a:pt x="718" y="144"/>
                </a:lnTo>
                <a:lnTo>
                  <a:pt x="725" y="144"/>
                </a:lnTo>
                <a:lnTo>
                  <a:pt x="725" y="138"/>
                </a:lnTo>
                <a:lnTo>
                  <a:pt x="728" y="138"/>
                </a:lnTo>
                <a:lnTo>
                  <a:pt x="731" y="138"/>
                </a:lnTo>
                <a:lnTo>
                  <a:pt x="731" y="144"/>
                </a:lnTo>
                <a:lnTo>
                  <a:pt x="731" y="147"/>
                </a:lnTo>
                <a:lnTo>
                  <a:pt x="734" y="147"/>
                </a:lnTo>
                <a:lnTo>
                  <a:pt x="737" y="150"/>
                </a:lnTo>
                <a:lnTo>
                  <a:pt x="743" y="154"/>
                </a:lnTo>
                <a:lnTo>
                  <a:pt x="743" y="154"/>
                </a:lnTo>
                <a:lnTo>
                  <a:pt x="740" y="160"/>
                </a:lnTo>
                <a:lnTo>
                  <a:pt x="737" y="160"/>
                </a:lnTo>
                <a:lnTo>
                  <a:pt x="734" y="166"/>
                </a:lnTo>
                <a:lnTo>
                  <a:pt x="734" y="169"/>
                </a:lnTo>
                <a:lnTo>
                  <a:pt x="734" y="169"/>
                </a:lnTo>
                <a:lnTo>
                  <a:pt x="731" y="175"/>
                </a:lnTo>
                <a:lnTo>
                  <a:pt x="725" y="179"/>
                </a:lnTo>
                <a:lnTo>
                  <a:pt x="722" y="179"/>
                </a:lnTo>
                <a:lnTo>
                  <a:pt x="722" y="185"/>
                </a:lnTo>
                <a:lnTo>
                  <a:pt x="722" y="191"/>
                </a:lnTo>
                <a:lnTo>
                  <a:pt x="725" y="200"/>
                </a:lnTo>
                <a:lnTo>
                  <a:pt x="731" y="207"/>
                </a:lnTo>
                <a:lnTo>
                  <a:pt x="728" y="207"/>
                </a:lnTo>
                <a:lnTo>
                  <a:pt x="725" y="213"/>
                </a:lnTo>
                <a:lnTo>
                  <a:pt x="718" y="216"/>
                </a:lnTo>
                <a:lnTo>
                  <a:pt x="715" y="219"/>
                </a:lnTo>
                <a:lnTo>
                  <a:pt x="712" y="219"/>
                </a:lnTo>
                <a:lnTo>
                  <a:pt x="712" y="219"/>
                </a:lnTo>
                <a:lnTo>
                  <a:pt x="709" y="216"/>
                </a:lnTo>
                <a:lnTo>
                  <a:pt x="706" y="216"/>
                </a:lnTo>
                <a:lnTo>
                  <a:pt x="700" y="219"/>
                </a:lnTo>
                <a:lnTo>
                  <a:pt x="693" y="219"/>
                </a:lnTo>
                <a:lnTo>
                  <a:pt x="687" y="216"/>
                </a:lnTo>
                <a:lnTo>
                  <a:pt x="681" y="216"/>
                </a:lnTo>
                <a:lnTo>
                  <a:pt x="681" y="216"/>
                </a:lnTo>
                <a:lnTo>
                  <a:pt x="678" y="225"/>
                </a:lnTo>
                <a:lnTo>
                  <a:pt x="678" y="229"/>
                </a:lnTo>
                <a:lnTo>
                  <a:pt x="675" y="235"/>
                </a:lnTo>
                <a:lnTo>
                  <a:pt x="675" y="244"/>
                </a:lnTo>
                <a:lnTo>
                  <a:pt x="675" y="254"/>
                </a:lnTo>
                <a:lnTo>
                  <a:pt x="675" y="257"/>
                </a:lnTo>
                <a:lnTo>
                  <a:pt x="675" y="260"/>
                </a:lnTo>
                <a:lnTo>
                  <a:pt x="681" y="260"/>
                </a:lnTo>
                <a:lnTo>
                  <a:pt x="678" y="266"/>
                </a:lnTo>
                <a:lnTo>
                  <a:pt x="678" y="269"/>
                </a:lnTo>
                <a:lnTo>
                  <a:pt x="675" y="269"/>
                </a:lnTo>
                <a:lnTo>
                  <a:pt x="675" y="269"/>
                </a:lnTo>
                <a:lnTo>
                  <a:pt x="672" y="269"/>
                </a:lnTo>
                <a:lnTo>
                  <a:pt x="668" y="266"/>
                </a:lnTo>
                <a:lnTo>
                  <a:pt x="665" y="269"/>
                </a:lnTo>
                <a:lnTo>
                  <a:pt x="659" y="269"/>
                </a:lnTo>
                <a:lnTo>
                  <a:pt x="653" y="272"/>
                </a:lnTo>
                <a:lnTo>
                  <a:pt x="647" y="272"/>
                </a:lnTo>
                <a:lnTo>
                  <a:pt x="643" y="272"/>
                </a:lnTo>
                <a:lnTo>
                  <a:pt x="640" y="272"/>
                </a:lnTo>
                <a:lnTo>
                  <a:pt x="637" y="276"/>
                </a:lnTo>
                <a:lnTo>
                  <a:pt x="634" y="279"/>
                </a:lnTo>
                <a:lnTo>
                  <a:pt x="634" y="279"/>
                </a:lnTo>
                <a:lnTo>
                  <a:pt x="637" y="282"/>
                </a:lnTo>
                <a:lnTo>
                  <a:pt x="643" y="282"/>
                </a:lnTo>
                <a:lnTo>
                  <a:pt x="647" y="282"/>
                </a:lnTo>
                <a:lnTo>
                  <a:pt x="647" y="285"/>
                </a:lnTo>
                <a:lnTo>
                  <a:pt x="643" y="288"/>
                </a:lnTo>
                <a:lnTo>
                  <a:pt x="647" y="294"/>
                </a:lnTo>
                <a:lnTo>
                  <a:pt x="647" y="297"/>
                </a:lnTo>
                <a:lnTo>
                  <a:pt x="650" y="297"/>
                </a:lnTo>
                <a:lnTo>
                  <a:pt x="650" y="304"/>
                </a:lnTo>
                <a:lnTo>
                  <a:pt x="653" y="310"/>
                </a:lnTo>
                <a:lnTo>
                  <a:pt x="653" y="313"/>
                </a:lnTo>
                <a:lnTo>
                  <a:pt x="659" y="316"/>
                </a:lnTo>
                <a:lnTo>
                  <a:pt x="659" y="322"/>
                </a:lnTo>
                <a:lnTo>
                  <a:pt x="656" y="326"/>
                </a:lnTo>
                <a:lnTo>
                  <a:pt x="656" y="329"/>
                </a:lnTo>
                <a:lnTo>
                  <a:pt x="659" y="332"/>
                </a:lnTo>
                <a:lnTo>
                  <a:pt x="656" y="335"/>
                </a:lnTo>
                <a:lnTo>
                  <a:pt x="656" y="335"/>
                </a:lnTo>
                <a:lnTo>
                  <a:pt x="653" y="338"/>
                </a:lnTo>
                <a:lnTo>
                  <a:pt x="653" y="344"/>
                </a:lnTo>
                <a:lnTo>
                  <a:pt x="650" y="344"/>
                </a:lnTo>
                <a:lnTo>
                  <a:pt x="640" y="344"/>
                </a:lnTo>
                <a:lnTo>
                  <a:pt x="631" y="335"/>
                </a:lnTo>
                <a:lnTo>
                  <a:pt x="628" y="335"/>
                </a:lnTo>
                <a:lnTo>
                  <a:pt x="622" y="332"/>
                </a:lnTo>
                <a:lnTo>
                  <a:pt x="609" y="332"/>
                </a:lnTo>
                <a:lnTo>
                  <a:pt x="603" y="332"/>
                </a:lnTo>
                <a:lnTo>
                  <a:pt x="593" y="329"/>
                </a:lnTo>
                <a:lnTo>
                  <a:pt x="584" y="332"/>
                </a:lnTo>
                <a:lnTo>
                  <a:pt x="578" y="332"/>
                </a:lnTo>
                <a:lnTo>
                  <a:pt x="575" y="332"/>
                </a:lnTo>
                <a:lnTo>
                  <a:pt x="572" y="335"/>
                </a:lnTo>
                <a:lnTo>
                  <a:pt x="565" y="335"/>
                </a:lnTo>
                <a:lnTo>
                  <a:pt x="556" y="335"/>
                </a:lnTo>
                <a:lnTo>
                  <a:pt x="547" y="332"/>
                </a:lnTo>
                <a:lnTo>
                  <a:pt x="543" y="332"/>
                </a:lnTo>
                <a:lnTo>
                  <a:pt x="537" y="332"/>
                </a:lnTo>
                <a:lnTo>
                  <a:pt x="534" y="332"/>
                </a:lnTo>
                <a:lnTo>
                  <a:pt x="531" y="332"/>
                </a:lnTo>
                <a:lnTo>
                  <a:pt x="528" y="332"/>
                </a:lnTo>
                <a:lnTo>
                  <a:pt x="525" y="332"/>
                </a:lnTo>
                <a:lnTo>
                  <a:pt x="525" y="335"/>
                </a:lnTo>
                <a:lnTo>
                  <a:pt x="528" y="341"/>
                </a:lnTo>
                <a:lnTo>
                  <a:pt x="528" y="344"/>
                </a:lnTo>
                <a:lnTo>
                  <a:pt x="522" y="347"/>
                </a:lnTo>
                <a:lnTo>
                  <a:pt x="509" y="347"/>
                </a:lnTo>
                <a:lnTo>
                  <a:pt x="493" y="344"/>
                </a:lnTo>
                <a:lnTo>
                  <a:pt x="490" y="344"/>
                </a:lnTo>
                <a:lnTo>
                  <a:pt x="484" y="344"/>
                </a:lnTo>
                <a:lnTo>
                  <a:pt x="481" y="347"/>
                </a:lnTo>
                <a:lnTo>
                  <a:pt x="481" y="351"/>
                </a:lnTo>
                <a:lnTo>
                  <a:pt x="478" y="351"/>
                </a:lnTo>
                <a:lnTo>
                  <a:pt x="478" y="354"/>
                </a:lnTo>
                <a:lnTo>
                  <a:pt x="475" y="354"/>
                </a:lnTo>
                <a:lnTo>
                  <a:pt x="471" y="360"/>
                </a:lnTo>
                <a:lnTo>
                  <a:pt x="468" y="360"/>
                </a:lnTo>
                <a:lnTo>
                  <a:pt x="459" y="369"/>
                </a:lnTo>
                <a:lnTo>
                  <a:pt x="459" y="376"/>
                </a:lnTo>
                <a:lnTo>
                  <a:pt x="456" y="379"/>
                </a:lnTo>
                <a:lnTo>
                  <a:pt x="453" y="385"/>
                </a:lnTo>
                <a:lnTo>
                  <a:pt x="443" y="391"/>
                </a:lnTo>
                <a:lnTo>
                  <a:pt x="440" y="391"/>
                </a:lnTo>
                <a:lnTo>
                  <a:pt x="434" y="385"/>
                </a:lnTo>
                <a:lnTo>
                  <a:pt x="425" y="385"/>
                </a:lnTo>
                <a:lnTo>
                  <a:pt x="421" y="385"/>
                </a:lnTo>
                <a:lnTo>
                  <a:pt x="412" y="391"/>
                </a:lnTo>
                <a:lnTo>
                  <a:pt x="406" y="391"/>
                </a:lnTo>
                <a:lnTo>
                  <a:pt x="400" y="369"/>
                </a:lnTo>
                <a:lnTo>
                  <a:pt x="384" y="366"/>
                </a:lnTo>
                <a:lnTo>
                  <a:pt x="384" y="338"/>
                </a:lnTo>
                <a:lnTo>
                  <a:pt x="378" y="341"/>
                </a:lnTo>
                <a:lnTo>
                  <a:pt x="371" y="329"/>
                </a:lnTo>
                <a:lnTo>
                  <a:pt x="362" y="322"/>
                </a:lnTo>
                <a:lnTo>
                  <a:pt x="331" y="322"/>
                </a:lnTo>
                <a:lnTo>
                  <a:pt x="303" y="326"/>
                </a:lnTo>
                <a:lnTo>
                  <a:pt x="284" y="313"/>
                </a:lnTo>
                <a:lnTo>
                  <a:pt x="271" y="310"/>
                </a:lnTo>
                <a:lnTo>
                  <a:pt x="240" y="288"/>
                </a:lnTo>
                <a:lnTo>
                  <a:pt x="190" y="297"/>
                </a:lnTo>
                <a:lnTo>
                  <a:pt x="206" y="391"/>
                </a:lnTo>
                <a:lnTo>
                  <a:pt x="203" y="391"/>
                </a:lnTo>
                <a:lnTo>
                  <a:pt x="196" y="394"/>
                </a:lnTo>
                <a:lnTo>
                  <a:pt x="181" y="379"/>
                </a:lnTo>
                <a:lnTo>
                  <a:pt x="168" y="369"/>
                </a:lnTo>
                <a:lnTo>
                  <a:pt x="156" y="369"/>
                </a:lnTo>
                <a:lnTo>
                  <a:pt x="146" y="373"/>
                </a:lnTo>
                <a:lnTo>
                  <a:pt x="134" y="382"/>
                </a:lnTo>
                <a:lnTo>
                  <a:pt x="134" y="379"/>
                </a:lnTo>
                <a:lnTo>
                  <a:pt x="131" y="373"/>
                </a:lnTo>
                <a:lnTo>
                  <a:pt x="134" y="366"/>
                </a:lnTo>
                <a:lnTo>
                  <a:pt x="134" y="363"/>
                </a:lnTo>
                <a:lnTo>
                  <a:pt x="134" y="360"/>
                </a:lnTo>
                <a:lnTo>
                  <a:pt x="137" y="360"/>
                </a:lnTo>
                <a:lnTo>
                  <a:pt x="134" y="357"/>
                </a:lnTo>
                <a:lnTo>
                  <a:pt x="131" y="357"/>
                </a:lnTo>
                <a:lnTo>
                  <a:pt x="128" y="357"/>
                </a:lnTo>
                <a:lnTo>
                  <a:pt x="125" y="357"/>
                </a:lnTo>
                <a:lnTo>
                  <a:pt x="121" y="357"/>
                </a:lnTo>
                <a:lnTo>
                  <a:pt x="118" y="357"/>
                </a:lnTo>
                <a:lnTo>
                  <a:pt x="118" y="354"/>
                </a:lnTo>
                <a:lnTo>
                  <a:pt x="115" y="351"/>
                </a:lnTo>
                <a:lnTo>
                  <a:pt x="115" y="347"/>
                </a:lnTo>
                <a:lnTo>
                  <a:pt x="112" y="347"/>
                </a:lnTo>
                <a:lnTo>
                  <a:pt x="112" y="347"/>
                </a:lnTo>
                <a:lnTo>
                  <a:pt x="106" y="351"/>
                </a:lnTo>
                <a:lnTo>
                  <a:pt x="106" y="351"/>
                </a:lnTo>
                <a:lnTo>
                  <a:pt x="106" y="344"/>
                </a:lnTo>
                <a:lnTo>
                  <a:pt x="106" y="341"/>
                </a:lnTo>
                <a:lnTo>
                  <a:pt x="100" y="335"/>
                </a:lnTo>
                <a:lnTo>
                  <a:pt x="100" y="332"/>
                </a:lnTo>
                <a:lnTo>
                  <a:pt x="96" y="332"/>
                </a:lnTo>
                <a:lnTo>
                  <a:pt x="96" y="326"/>
                </a:lnTo>
                <a:lnTo>
                  <a:pt x="93" y="326"/>
                </a:lnTo>
                <a:lnTo>
                  <a:pt x="93" y="322"/>
                </a:lnTo>
                <a:lnTo>
                  <a:pt x="90" y="322"/>
                </a:lnTo>
                <a:lnTo>
                  <a:pt x="87" y="322"/>
                </a:lnTo>
                <a:lnTo>
                  <a:pt x="84" y="319"/>
                </a:lnTo>
                <a:lnTo>
                  <a:pt x="84" y="316"/>
                </a:lnTo>
                <a:lnTo>
                  <a:pt x="84" y="313"/>
                </a:lnTo>
                <a:lnTo>
                  <a:pt x="87" y="316"/>
                </a:lnTo>
                <a:lnTo>
                  <a:pt x="93" y="313"/>
                </a:lnTo>
                <a:lnTo>
                  <a:pt x="93" y="316"/>
                </a:lnTo>
                <a:lnTo>
                  <a:pt x="96" y="316"/>
                </a:lnTo>
                <a:lnTo>
                  <a:pt x="100" y="316"/>
                </a:lnTo>
                <a:lnTo>
                  <a:pt x="100" y="313"/>
                </a:lnTo>
                <a:lnTo>
                  <a:pt x="103" y="313"/>
                </a:lnTo>
                <a:lnTo>
                  <a:pt x="106" y="316"/>
                </a:lnTo>
                <a:lnTo>
                  <a:pt x="106" y="313"/>
                </a:lnTo>
                <a:lnTo>
                  <a:pt x="106" y="313"/>
                </a:lnTo>
                <a:lnTo>
                  <a:pt x="103" y="313"/>
                </a:lnTo>
                <a:lnTo>
                  <a:pt x="100" y="310"/>
                </a:lnTo>
                <a:lnTo>
                  <a:pt x="100" y="310"/>
                </a:lnTo>
                <a:lnTo>
                  <a:pt x="96" y="304"/>
                </a:lnTo>
                <a:lnTo>
                  <a:pt x="96" y="301"/>
                </a:lnTo>
                <a:lnTo>
                  <a:pt x="100" y="301"/>
                </a:lnTo>
                <a:lnTo>
                  <a:pt x="100" y="297"/>
                </a:lnTo>
                <a:lnTo>
                  <a:pt x="100" y="297"/>
                </a:lnTo>
                <a:lnTo>
                  <a:pt x="100" y="294"/>
                </a:lnTo>
                <a:lnTo>
                  <a:pt x="106" y="291"/>
                </a:lnTo>
                <a:lnTo>
                  <a:pt x="109" y="291"/>
                </a:lnTo>
                <a:lnTo>
                  <a:pt x="112" y="291"/>
                </a:lnTo>
                <a:lnTo>
                  <a:pt x="115" y="291"/>
                </a:lnTo>
                <a:lnTo>
                  <a:pt x="118" y="291"/>
                </a:lnTo>
                <a:lnTo>
                  <a:pt x="121" y="291"/>
                </a:lnTo>
                <a:lnTo>
                  <a:pt x="121" y="291"/>
                </a:lnTo>
                <a:lnTo>
                  <a:pt x="125" y="291"/>
                </a:lnTo>
                <a:lnTo>
                  <a:pt x="128" y="294"/>
                </a:lnTo>
                <a:lnTo>
                  <a:pt x="131" y="294"/>
                </a:lnTo>
                <a:lnTo>
                  <a:pt x="134" y="294"/>
                </a:lnTo>
                <a:lnTo>
                  <a:pt x="134" y="291"/>
                </a:lnTo>
                <a:lnTo>
                  <a:pt x="134" y="291"/>
                </a:lnTo>
                <a:lnTo>
                  <a:pt x="128" y="288"/>
                </a:lnTo>
                <a:lnTo>
                  <a:pt x="128" y="285"/>
                </a:lnTo>
                <a:lnTo>
                  <a:pt x="128" y="279"/>
                </a:lnTo>
                <a:lnTo>
                  <a:pt x="131" y="279"/>
                </a:lnTo>
                <a:lnTo>
                  <a:pt x="131" y="276"/>
                </a:lnTo>
                <a:lnTo>
                  <a:pt x="131" y="276"/>
                </a:lnTo>
                <a:lnTo>
                  <a:pt x="128" y="272"/>
                </a:lnTo>
                <a:lnTo>
                  <a:pt x="128" y="272"/>
                </a:lnTo>
                <a:lnTo>
                  <a:pt x="131" y="269"/>
                </a:lnTo>
                <a:lnTo>
                  <a:pt x="131" y="266"/>
                </a:lnTo>
                <a:lnTo>
                  <a:pt x="128" y="263"/>
                </a:lnTo>
                <a:lnTo>
                  <a:pt x="128" y="260"/>
                </a:lnTo>
                <a:lnTo>
                  <a:pt x="128" y="257"/>
                </a:lnTo>
                <a:lnTo>
                  <a:pt x="128" y="257"/>
                </a:lnTo>
                <a:lnTo>
                  <a:pt x="125" y="257"/>
                </a:lnTo>
                <a:lnTo>
                  <a:pt x="125" y="254"/>
                </a:lnTo>
                <a:lnTo>
                  <a:pt x="125" y="250"/>
                </a:lnTo>
                <a:lnTo>
                  <a:pt x="115" y="250"/>
                </a:lnTo>
                <a:lnTo>
                  <a:pt x="115" y="250"/>
                </a:lnTo>
                <a:lnTo>
                  <a:pt x="112" y="250"/>
                </a:lnTo>
                <a:lnTo>
                  <a:pt x="112" y="254"/>
                </a:lnTo>
                <a:lnTo>
                  <a:pt x="109" y="254"/>
                </a:lnTo>
                <a:lnTo>
                  <a:pt x="109" y="257"/>
                </a:lnTo>
                <a:lnTo>
                  <a:pt x="106" y="257"/>
                </a:lnTo>
                <a:lnTo>
                  <a:pt x="103" y="257"/>
                </a:lnTo>
                <a:lnTo>
                  <a:pt x="103" y="254"/>
                </a:lnTo>
                <a:lnTo>
                  <a:pt x="103" y="254"/>
                </a:lnTo>
                <a:lnTo>
                  <a:pt x="100" y="257"/>
                </a:lnTo>
                <a:lnTo>
                  <a:pt x="100" y="254"/>
                </a:lnTo>
                <a:lnTo>
                  <a:pt x="100" y="250"/>
                </a:lnTo>
                <a:lnTo>
                  <a:pt x="96" y="250"/>
                </a:lnTo>
                <a:lnTo>
                  <a:pt x="96" y="250"/>
                </a:lnTo>
                <a:lnTo>
                  <a:pt x="93" y="250"/>
                </a:lnTo>
                <a:lnTo>
                  <a:pt x="90" y="250"/>
                </a:lnTo>
                <a:lnTo>
                  <a:pt x="87" y="250"/>
                </a:lnTo>
                <a:lnTo>
                  <a:pt x="84" y="250"/>
                </a:lnTo>
                <a:lnTo>
                  <a:pt x="84" y="254"/>
                </a:lnTo>
                <a:lnTo>
                  <a:pt x="81" y="257"/>
                </a:lnTo>
                <a:lnTo>
                  <a:pt x="81" y="254"/>
                </a:lnTo>
                <a:lnTo>
                  <a:pt x="78" y="254"/>
                </a:lnTo>
                <a:lnTo>
                  <a:pt x="78" y="257"/>
                </a:lnTo>
                <a:lnTo>
                  <a:pt x="75" y="257"/>
                </a:lnTo>
                <a:lnTo>
                  <a:pt x="71" y="260"/>
                </a:lnTo>
                <a:lnTo>
                  <a:pt x="68" y="263"/>
                </a:lnTo>
                <a:lnTo>
                  <a:pt x="68" y="263"/>
                </a:lnTo>
                <a:lnTo>
                  <a:pt x="68" y="263"/>
                </a:lnTo>
                <a:lnTo>
                  <a:pt x="65" y="266"/>
                </a:lnTo>
                <a:lnTo>
                  <a:pt x="65" y="263"/>
                </a:lnTo>
                <a:lnTo>
                  <a:pt x="62" y="263"/>
                </a:lnTo>
                <a:lnTo>
                  <a:pt x="62" y="266"/>
                </a:lnTo>
                <a:lnTo>
                  <a:pt x="59" y="266"/>
                </a:lnTo>
                <a:lnTo>
                  <a:pt x="56" y="263"/>
                </a:lnTo>
                <a:lnTo>
                  <a:pt x="56" y="263"/>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0" name="Freeform 18">
            <a:extLst>
              <a:ext uri="{FF2B5EF4-FFF2-40B4-BE49-F238E27FC236}">
                <a16:creationId xmlns:a16="http://schemas.microsoft.com/office/drawing/2014/main" id="{2E61E2E6-E10E-EED5-54B1-A571CC7AE1E1}"/>
              </a:ext>
            </a:extLst>
          </p:cNvPr>
          <p:cNvSpPr>
            <a:spLocks/>
          </p:cNvSpPr>
          <p:nvPr userDrawn="1"/>
        </p:nvSpPr>
        <p:spPr bwMode="auto">
          <a:xfrm>
            <a:off x="16423202" y="6247681"/>
            <a:ext cx="1003237" cy="625478"/>
          </a:xfrm>
          <a:custGeom>
            <a:avLst/>
            <a:gdLst>
              <a:gd name="T0" fmla="*/ 250 w 316"/>
              <a:gd name="T1" fmla="*/ 185 h 197"/>
              <a:gd name="T2" fmla="*/ 256 w 316"/>
              <a:gd name="T3" fmla="*/ 172 h 197"/>
              <a:gd name="T4" fmla="*/ 253 w 316"/>
              <a:gd name="T5" fmla="*/ 166 h 197"/>
              <a:gd name="T6" fmla="*/ 253 w 316"/>
              <a:gd name="T7" fmla="*/ 156 h 197"/>
              <a:gd name="T8" fmla="*/ 247 w 316"/>
              <a:gd name="T9" fmla="*/ 150 h 197"/>
              <a:gd name="T10" fmla="*/ 238 w 316"/>
              <a:gd name="T11" fmla="*/ 147 h 197"/>
              <a:gd name="T12" fmla="*/ 241 w 316"/>
              <a:gd name="T13" fmla="*/ 138 h 197"/>
              <a:gd name="T14" fmla="*/ 253 w 316"/>
              <a:gd name="T15" fmla="*/ 138 h 197"/>
              <a:gd name="T16" fmla="*/ 263 w 316"/>
              <a:gd name="T17" fmla="*/ 128 h 197"/>
              <a:gd name="T18" fmla="*/ 260 w 316"/>
              <a:gd name="T19" fmla="*/ 125 h 197"/>
              <a:gd name="T20" fmla="*/ 275 w 316"/>
              <a:gd name="T21" fmla="*/ 119 h 197"/>
              <a:gd name="T22" fmla="*/ 269 w 316"/>
              <a:gd name="T23" fmla="*/ 113 h 197"/>
              <a:gd name="T24" fmla="*/ 272 w 316"/>
              <a:gd name="T25" fmla="*/ 106 h 197"/>
              <a:gd name="T26" fmla="*/ 281 w 316"/>
              <a:gd name="T27" fmla="*/ 103 h 197"/>
              <a:gd name="T28" fmla="*/ 294 w 316"/>
              <a:gd name="T29" fmla="*/ 100 h 197"/>
              <a:gd name="T30" fmla="*/ 303 w 316"/>
              <a:gd name="T31" fmla="*/ 103 h 197"/>
              <a:gd name="T32" fmla="*/ 316 w 316"/>
              <a:gd name="T33" fmla="*/ 97 h 197"/>
              <a:gd name="T34" fmla="*/ 307 w 316"/>
              <a:gd name="T35" fmla="*/ 85 h 197"/>
              <a:gd name="T36" fmla="*/ 303 w 316"/>
              <a:gd name="T37" fmla="*/ 91 h 197"/>
              <a:gd name="T38" fmla="*/ 297 w 316"/>
              <a:gd name="T39" fmla="*/ 94 h 197"/>
              <a:gd name="T40" fmla="*/ 285 w 316"/>
              <a:gd name="T41" fmla="*/ 88 h 197"/>
              <a:gd name="T42" fmla="*/ 281 w 316"/>
              <a:gd name="T43" fmla="*/ 78 h 197"/>
              <a:gd name="T44" fmla="*/ 288 w 316"/>
              <a:gd name="T45" fmla="*/ 66 h 197"/>
              <a:gd name="T46" fmla="*/ 281 w 316"/>
              <a:gd name="T47" fmla="*/ 72 h 197"/>
              <a:gd name="T48" fmla="*/ 269 w 316"/>
              <a:gd name="T49" fmla="*/ 81 h 197"/>
              <a:gd name="T50" fmla="*/ 266 w 316"/>
              <a:gd name="T51" fmla="*/ 91 h 197"/>
              <a:gd name="T52" fmla="*/ 253 w 316"/>
              <a:gd name="T53" fmla="*/ 103 h 197"/>
              <a:gd name="T54" fmla="*/ 244 w 316"/>
              <a:gd name="T55" fmla="*/ 97 h 197"/>
              <a:gd name="T56" fmla="*/ 231 w 316"/>
              <a:gd name="T57" fmla="*/ 97 h 197"/>
              <a:gd name="T58" fmla="*/ 216 w 316"/>
              <a:gd name="T59" fmla="*/ 103 h 197"/>
              <a:gd name="T60" fmla="*/ 194 w 316"/>
              <a:gd name="T61" fmla="*/ 78 h 197"/>
              <a:gd name="T62" fmla="*/ 188 w 316"/>
              <a:gd name="T63" fmla="*/ 53 h 197"/>
              <a:gd name="T64" fmla="*/ 172 w 316"/>
              <a:gd name="T65" fmla="*/ 34 h 197"/>
              <a:gd name="T66" fmla="*/ 113 w 316"/>
              <a:gd name="T67" fmla="*/ 38 h 197"/>
              <a:gd name="T68" fmla="*/ 81 w 316"/>
              <a:gd name="T69" fmla="*/ 22 h 197"/>
              <a:gd name="T70" fmla="*/ 0 w 316"/>
              <a:gd name="T71" fmla="*/ 9 h 197"/>
              <a:gd name="T72" fmla="*/ 25 w 316"/>
              <a:gd name="T73" fmla="*/ 103 h 197"/>
              <a:gd name="T74" fmla="*/ 35 w 316"/>
              <a:gd name="T75" fmla="*/ 100 h 197"/>
              <a:gd name="T76" fmla="*/ 31 w 316"/>
              <a:gd name="T77" fmla="*/ 88 h 197"/>
              <a:gd name="T78" fmla="*/ 41 w 316"/>
              <a:gd name="T79" fmla="*/ 78 h 197"/>
              <a:gd name="T80" fmla="*/ 47 w 316"/>
              <a:gd name="T81" fmla="*/ 72 h 197"/>
              <a:gd name="T82" fmla="*/ 56 w 316"/>
              <a:gd name="T83" fmla="*/ 72 h 197"/>
              <a:gd name="T84" fmla="*/ 60 w 316"/>
              <a:gd name="T85" fmla="*/ 69 h 197"/>
              <a:gd name="T86" fmla="*/ 85 w 316"/>
              <a:gd name="T87" fmla="*/ 81 h 197"/>
              <a:gd name="T88" fmla="*/ 100 w 316"/>
              <a:gd name="T89" fmla="*/ 94 h 197"/>
              <a:gd name="T90" fmla="*/ 116 w 316"/>
              <a:gd name="T91" fmla="*/ 100 h 197"/>
              <a:gd name="T92" fmla="*/ 128 w 316"/>
              <a:gd name="T93" fmla="*/ 106 h 197"/>
              <a:gd name="T94" fmla="*/ 135 w 316"/>
              <a:gd name="T95" fmla="*/ 119 h 197"/>
              <a:gd name="T96" fmla="*/ 141 w 316"/>
              <a:gd name="T97" fmla="*/ 135 h 197"/>
              <a:gd name="T98" fmla="*/ 163 w 316"/>
              <a:gd name="T99" fmla="*/ 144 h 197"/>
              <a:gd name="T100" fmla="*/ 191 w 316"/>
              <a:gd name="T101" fmla="*/ 160 h 197"/>
              <a:gd name="T102" fmla="*/ 213 w 316"/>
              <a:gd name="T103" fmla="*/ 172 h 197"/>
              <a:gd name="T104" fmla="*/ 219 w 316"/>
              <a:gd name="T105" fmla="*/ 175 h 197"/>
              <a:gd name="T106" fmla="*/ 225 w 316"/>
              <a:gd name="T107" fmla="*/ 185 h 197"/>
              <a:gd name="T108" fmla="*/ 231 w 316"/>
              <a:gd name="T109" fmla="*/ 191 h 197"/>
              <a:gd name="T110" fmla="*/ 238 w 316"/>
              <a:gd name="T111" fmla="*/ 197 h 197"/>
              <a:gd name="T112" fmla="*/ 244 w 316"/>
              <a:gd name="T113" fmla="*/ 194 h 197"/>
              <a:gd name="T114" fmla="*/ 250 w 316"/>
              <a:gd name="T115"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6" h="197">
                <a:moveTo>
                  <a:pt x="250" y="197"/>
                </a:moveTo>
                <a:lnTo>
                  <a:pt x="250" y="185"/>
                </a:lnTo>
                <a:lnTo>
                  <a:pt x="256" y="175"/>
                </a:lnTo>
                <a:lnTo>
                  <a:pt x="256" y="172"/>
                </a:lnTo>
                <a:lnTo>
                  <a:pt x="256" y="166"/>
                </a:lnTo>
                <a:lnTo>
                  <a:pt x="253" y="166"/>
                </a:lnTo>
                <a:lnTo>
                  <a:pt x="250" y="160"/>
                </a:lnTo>
                <a:lnTo>
                  <a:pt x="253" y="156"/>
                </a:lnTo>
                <a:lnTo>
                  <a:pt x="250" y="150"/>
                </a:lnTo>
                <a:lnTo>
                  <a:pt x="247" y="150"/>
                </a:lnTo>
                <a:lnTo>
                  <a:pt x="244" y="153"/>
                </a:lnTo>
                <a:lnTo>
                  <a:pt x="238" y="147"/>
                </a:lnTo>
                <a:lnTo>
                  <a:pt x="238" y="141"/>
                </a:lnTo>
                <a:lnTo>
                  <a:pt x="241" y="138"/>
                </a:lnTo>
                <a:lnTo>
                  <a:pt x="250" y="138"/>
                </a:lnTo>
                <a:lnTo>
                  <a:pt x="253" y="138"/>
                </a:lnTo>
                <a:lnTo>
                  <a:pt x="253" y="131"/>
                </a:lnTo>
                <a:lnTo>
                  <a:pt x="263" y="128"/>
                </a:lnTo>
                <a:lnTo>
                  <a:pt x="260" y="125"/>
                </a:lnTo>
                <a:lnTo>
                  <a:pt x="260" y="125"/>
                </a:lnTo>
                <a:lnTo>
                  <a:pt x="266" y="122"/>
                </a:lnTo>
                <a:lnTo>
                  <a:pt x="275" y="119"/>
                </a:lnTo>
                <a:lnTo>
                  <a:pt x="275" y="116"/>
                </a:lnTo>
                <a:lnTo>
                  <a:pt x="269" y="113"/>
                </a:lnTo>
                <a:lnTo>
                  <a:pt x="269" y="110"/>
                </a:lnTo>
                <a:lnTo>
                  <a:pt x="272" y="106"/>
                </a:lnTo>
                <a:lnTo>
                  <a:pt x="278" y="103"/>
                </a:lnTo>
                <a:lnTo>
                  <a:pt x="281" y="103"/>
                </a:lnTo>
                <a:lnTo>
                  <a:pt x="288" y="97"/>
                </a:lnTo>
                <a:lnTo>
                  <a:pt x="294" y="100"/>
                </a:lnTo>
                <a:lnTo>
                  <a:pt x="294" y="103"/>
                </a:lnTo>
                <a:lnTo>
                  <a:pt x="303" y="103"/>
                </a:lnTo>
                <a:lnTo>
                  <a:pt x="310" y="103"/>
                </a:lnTo>
                <a:lnTo>
                  <a:pt x="316" y="97"/>
                </a:lnTo>
                <a:lnTo>
                  <a:pt x="316" y="94"/>
                </a:lnTo>
                <a:lnTo>
                  <a:pt x="307" y="85"/>
                </a:lnTo>
                <a:lnTo>
                  <a:pt x="303" y="85"/>
                </a:lnTo>
                <a:lnTo>
                  <a:pt x="303" y="91"/>
                </a:lnTo>
                <a:lnTo>
                  <a:pt x="300" y="94"/>
                </a:lnTo>
                <a:lnTo>
                  <a:pt x="297" y="94"/>
                </a:lnTo>
                <a:lnTo>
                  <a:pt x="291" y="91"/>
                </a:lnTo>
                <a:lnTo>
                  <a:pt x="285" y="88"/>
                </a:lnTo>
                <a:lnTo>
                  <a:pt x="278" y="85"/>
                </a:lnTo>
                <a:lnTo>
                  <a:pt x="281" y="78"/>
                </a:lnTo>
                <a:lnTo>
                  <a:pt x="288" y="69"/>
                </a:lnTo>
                <a:lnTo>
                  <a:pt x="288" y="66"/>
                </a:lnTo>
                <a:lnTo>
                  <a:pt x="285" y="66"/>
                </a:lnTo>
                <a:lnTo>
                  <a:pt x="281" y="72"/>
                </a:lnTo>
                <a:lnTo>
                  <a:pt x="278" y="72"/>
                </a:lnTo>
                <a:lnTo>
                  <a:pt x="269" y="81"/>
                </a:lnTo>
                <a:lnTo>
                  <a:pt x="269" y="88"/>
                </a:lnTo>
                <a:lnTo>
                  <a:pt x="266" y="91"/>
                </a:lnTo>
                <a:lnTo>
                  <a:pt x="263" y="97"/>
                </a:lnTo>
                <a:lnTo>
                  <a:pt x="253" y="103"/>
                </a:lnTo>
                <a:lnTo>
                  <a:pt x="250" y="103"/>
                </a:lnTo>
                <a:lnTo>
                  <a:pt x="244" y="97"/>
                </a:lnTo>
                <a:lnTo>
                  <a:pt x="235" y="97"/>
                </a:lnTo>
                <a:lnTo>
                  <a:pt x="231" y="97"/>
                </a:lnTo>
                <a:lnTo>
                  <a:pt x="222" y="103"/>
                </a:lnTo>
                <a:lnTo>
                  <a:pt x="216" y="103"/>
                </a:lnTo>
                <a:lnTo>
                  <a:pt x="210" y="81"/>
                </a:lnTo>
                <a:lnTo>
                  <a:pt x="194" y="78"/>
                </a:lnTo>
                <a:lnTo>
                  <a:pt x="194" y="50"/>
                </a:lnTo>
                <a:lnTo>
                  <a:pt x="188" y="53"/>
                </a:lnTo>
                <a:lnTo>
                  <a:pt x="181" y="41"/>
                </a:lnTo>
                <a:lnTo>
                  <a:pt x="172" y="34"/>
                </a:lnTo>
                <a:lnTo>
                  <a:pt x="141" y="34"/>
                </a:lnTo>
                <a:lnTo>
                  <a:pt x="113" y="38"/>
                </a:lnTo>
                <a:lnTo>
                  <a:pt x="94" y="25"/>
                </a:lnTo>
                <a:lnTo>
                  <a:pt x="81" y="22"/>
                </a:lnTo>
                <a:lnTo>
                  <a:pt x="50" y="0"/>
                </a:lnTo>
                <a:lnTo>
                  <a:pt x="0" y="9"/>
                </a:lnTo>
                <a:lnTo>
                  <a:pt x="16" y="103"/>
                </a:lnTo>
                <a:lnTo>
                  <a:pt x="25" y="103"/>
                </a:lnTo>
                <a:lnTo>
                  <a:pt x="31" y="103"/>
                </a:lnTo>
                <a:lnTo>
                  <a:pt x="35" y="100"/>
                </a:lnTo>
                <a:lnTo>
                  <a:pt x="31" y="97"/>
                </a:lnTo>
                <a:lnTo>
                  <a:pt x="31" y="88"/>
                </a:lnTo>
                <a:lnTo>
                  <a:pt x="35" y="81"/>
                </a:lnTo>
                <a:lnTo>
                  <a:pt x="41" y="78"/>
                </a:lnTo>
                <a:lnTo>
                  <a:pt x="44" y="75"/>
                </a:lnTo>
                <a:lnTo>
                  <a:pt x="47" y="72"/>
                </a:lnTo>
                <a:lnTo>
                  <a:pt x="53" y="75"/>
                </a:lnTo>
                <a:lnTo>
                  <a:pt x="56" y="72"/>
                </a:lnTo>
                <a:lnTo>
                  <a:pt x="50" y="69"/>
                </a:lnTo>
                <a:lnTo>
                  <a:pt x="60" y="69"/>
                </a:lnTo>
                <a:lnTo>
                  <a:pt x="75" y="75"/>
                </a:lnTo>
                <a:lnTo>
                  <a:pt x="85" y="81"/>
                </a:lnTo>
                <a:lnTo>
                  <a:pt x="88" y="88"/>
                </a:lnTo>
                <a:lnTo>
                  <a:pt x="100" y="94"/>
                </a:lnTo>
                <a:lnTo>
                  <a:pt x="113" y="100"/>
                </a:lnTo>
                <a:lnTo>
                  <a:pt x="116" y="100"/>
                </a:lnTo>
                <a:lnTo>
                  <a:pt x="119" y="100"/>
                </a:lnTo>
                <a:lnTo>
                  <a:pt x="128" y="106"/>
                </a:lnTo>
                <a:lnTo>
                  <a:pt x="131" y="119"/>
                </a:lnTo>
                <a:lnTo>
                  <a:pt x="135" y="119"/>
                </a:lnTo>
                <a:lnTo>
                  <a:pt x="138" y="125"/>
                </a:lnTo>
                <a:lnTo>
                  <a:pt x="141" y="135"/>
                </a:lnTo>
                <a:lnTo>
                  <a:pt x="147" y="138"/>
                </a:lnTo>
                <a:lnTo>
                  <a:pt x="163" y="144"/>
                </a:lnTo>
                <a:lnTo>
                  <a:pt x="175" y="153"/>
                </a:lnTo>
                <a:lnTo>
                  <a:pt x="191" y="160"/>
                </a:lnTo>
                <a:lnTo>
                  <a:pt x="203" y="169"/>
                </a:lnTo>
                <a:lnTo>
                  <a:pt x="213" y="172"/>
                </a:lnTo>
                <a:lnTo>
                  <a:pt x="216" y="175"/>
                </a:lnTo>
                <a:lnTo>
                  <a:pt x="219" y="175"/>
                </a:lnTo>
                <a:lnTo>
                  <a:pt x="225" y="178"/>
                </a:lnTo>
                <a:lnTo>
                  <a:pt x="225" y="185"/>
                </a:lnTo>
                <a:lnTo>
                  <a:pt x="225" y="194"/>
                </a:lnTo>
                <a:lnTo>
                  <a:pt x="231" y="191"/>
                </a:lnTo>
                <a:lnTo>
                  <a:pt x="238" y="194"/>
                </a:lnTo>
                <a:lnTo>
                  <a:pt x="238" y="197"/>
                </a:lnTo>
                <a:lnTo>
                  <a:pt x="241" y="197"/>
                </a:lnTo>
                <a:lnTo>
                  <a:pt x="244" y="194"/>
                </a:lnTo>
                <a:lnTo>
                  <a:pt x="247" y="194"/>
                </a:lnTo>
                <a:lnTo>
                  <a:pt x="250" y="19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1" name="Freeform 19">
            <a:extLst>
              <a:ext uri="{FF2B5EF4-FFF2-40B4-BE49-F238E27FC236}">
                <a16:creationId xmlns:a16="http://schemas.microsoft.com/office/drawing/2014/main" id="{897898AD-1896-9810-75E2-5320AE246138}"/>
              </a:ext>
            </a:extLst>
          </p:cNvPr>
          <p:cNvSpPr>
            <a:spLocks/>
          </p:cNvSpPr>
          <p:nvPr userDrawn="1"/>
        </p:nvSpPr>
        <p:spPr bwMode="auto">
          <a:xfrm>
            <a:off x="16245413" y="6466759"/>
            <a:ext cx="892118" cy="565150"/>
          </a:xfrm>
          <a:custGeom>
            <a:avLst/>
            <a:gdLst>
              <a:gd name="T0" fmla="*/ 281 w 281"/>
              <a:gd name="T1" fmla="*/ 109 h 178"/>
              <a:gd name="T2" fmla="*/ 269 w 281"/>
              <a:gd name="T3" fmla="*/ 103 h 178"/>
              <a:gd name="T4" fmla="*/ 231 w 281"/>
              <a:gd name="T5" fmla="*/ 84 h 178"/>
              <a:gd name="T6" fmla="*/ 197 w 281"/>
              <a:gd name="T7" fmla="*/ 66 h 178"/>
              <a:gd name="T8" fmla="*/ 187 w 281"/>
              <a:gd name="T9" fmla="*/ 50 h 178"/>
              <a:gd name="T10" fmla="*/ 172 w 281"/>
              <a:gd name="T11" fmla="*/ 31 h 178"/>
              <a:gd name="T12" fmla="*/ 144 w 281"/>
              <a:gd name="T13" fmla="*/ 19 h 178"/>
              <a:gd name="T14" fmla="*/ 116 w 281"/>
              <a:gd name="T15" fmla="*/ 0 h 178"/>
              <a:gd name="T16" fmla="*/ 109 w 281"/>
              <a:gd name="T17" fmla="*/ 6 h 178"/>
              <a:gd name="T18" fmla="*/ 97 w 281"/>
              <a:gd name="T19" fmla="*/ 9 h 178"/>
              <a:gd name="T20" fmla="*/ 87 w 281"/>
              <a:gd name="T21" fmla="*/ 28 h 178"/>
              <a:gd name="T22" fmla="*/ 81 w 281"/>
              <a:gd name="T23" fmla="*/ 34 h 178"/>
              <a:gd name="T24" fmla="*/ 47 w 281"/>
              <a:gd name="T25" fmla="*/ 22 h 178"/>
              <a:gd name="T26" fmla="*/ 12 w 281"/>
              <a:gd name="T27" fmla="*/ 16 h 178"/>
              <a:gd name="T28" fmla="*/ 3 w 281"/>
              <a:gd name="T29" fmla="*/ 31 h 178"/>
              <a:gd name="T30" fmla="*/ 9 w 281"/>
              <a:gd name="T31" fmla="*/ 41 h 178"/>
              <a:gd name="T32" fmla="*/ 9 w 281"/>
              <a:gd name="T33" fmla="*/ 56 h 178"/>
              <a:gd name="T34" fmla="*/ 12 w 281"/>
              <a:gd name="T35" fmla="*/ 72 h 178"/>
              <a:gd name="T36" fmla="*/ 19 w 281"/>
              <a:gd name="T37" fmla="*/ 72 h 178"/>
              <a:gd name="T38" fmla="*/ 28 w 281"/>
              <a:gd name="T39" fmla="*/ 72 h 178"/>
              <a:gd name="T40" fmla="*/ 28 w 281"/>
              <a:gd name="T41" fmla="*/ 81 h 178"/>
              <a:gd name="T42" fmla="*/ 34 w 281"/>
              <a:gd name="T43" fmla="*/ 84 h 178"/>
              <a:gd name="T44" fmla="*/ 25 w 281"/>
              <a:gd name="T45" fmla="*/ 81 h 178"/>
              <a:gd name="T46" fmla="*/ 25 w 281"/>
              <a:gd name="T47" fmla="*/ 94 h 178"/>
              <a:gd name="T48" fmla="*/ 28 w 281"/>
              <a:gd name="T49" fmla="*/ 87 h 178"/>
              <a:gd name="T50" fmla="*/ 37 w 281"/>
              <a:gd name="T51" fmla="*/ 94 h 178"/>
              <a:gd name="T52" fmla="*/ 41 w 281"/>
              <a:gd name="T53" fmla="*/ 109 h 178"/>
              <a:gd name="T54" fmla="*/ 47 w 281"/>
              <a:gd name="T55" fmla="*/ 134 h 178"/>
              <a:gd name="T56" fmla="*/ 59 w 281"/>
              <a:gd name="T57" fmla="*/ 125 h 178"/>
              <a:gd name="T58" fmla="*/ 75 w 281"/>
              <a:gd name="T59" fmla="*/ 116 h 178"/>
              <a:gd name="T60" fmla="*/ 91 w 281"/>
              <a:gd name="T61" fmla="*/ 112 h 178"/>
              <a:gd name="T62" fmla="*/ 103 w 281"/>
              <a:gd name="T63" fmla="*/ 112 h 178"/>
              <a:gd name="T64" fmla="*/ 128 w 281"/>
              <a:gd name="T65" fmla="*/ 125 h 178"/>
              <a:gd name="T66" fmla="*/ 144 w 281"/>
              <a:gd name="T67" fmla="*/ 128 h 178"/>
              <a:gd name="T68" fmla="*/ 150 w 281"/>
              <a:gd name="T69" fmla="*/ 134 h 178"/>
              <a:gd name="T70" fmla="*/ 169 w 281"/>
              <a:gd name="T71" fmla="*/ 147 h 178"/>
              <a:gd name="T72" fmla="*/ 184 w 281"/>
              <a:gd name="T73" fmla="*/ 156 h 178"/>
              <a:gd name="T74" fmla="*/ 187 w 281"/>
              <a:gd name="T75" fmla="*/ 166 h 178"/>
              <a:gd name="T76" fmla="*/ 194 w 281"/>
              <a:gd name="T77" fmla="*/ 169 h 178"/>
              <a:gd name="T78" fmla="*/ 203 w 281"/>
              <a:gd name="T79" fmla="*/ 169 h 178"/>
              <a:gd name="T80" fmla="*/ 212 w 281"/>
              <a:gd name="T81" fmla="*/ 175 h 178"/>
              <a:gd name="T82" fmla="*/ 222 w 281"/>
              <a:gd name="T83" fmla="*/ 175 h 178"/>
              <a:gd name="T84" fmla="*/ 228 w 281"/>
              <a:gd name="T85" fmla="*/ 166 h 178"/>
              <a:gd name="T86" fmla="*/ 241 w 281"/>
              <a:gd name="T87" fmla="*/ 159 h 178"/>
              <a:gd name="T88" fmla="*/ 247 w 281"/>
              <a:gd name="T89" fmla="*/ 153 h 178"/>
              <a:gd name="T90" fmla="*/ 253 w 281"/>
              <a:gd name="T91" fmla="*/ 138 h 178"/>
              <a:gd name="T92" fmla="*/ 250 w 281"/>
              <a:gd name="T93" fmla="*/ 131 h 178"/>
              <a:gd name="T94" fmla="*/ 259 w 281"/>
              <a:gd name="T95" fmla="*/ 128 h 178"/>
              <a:gd name="T96" fmla="*/ 272 w 281"/>
              <a:gd name="T97" fmla="*/ 122 h 178"/>
              <a:gd name="T98" fmla="*/ 281 w 281"/>
              <a:gd name="T99" fmla="*/ 12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178">
                <a:moveTo>
                  <a:pt x="281" y="125"/>
                </a:moveTo>
                <a:lnTo>
                  <a:pt x="281" y="116"/>
                </a:lnTo>
                <a:lnTo>
                  <a:pt x="281" y="109"/>
                </a:lnTo>
                <a:lnTo>
                  <a:pt x="275" y="106"/>
                </a:lnTo>
                <a:lnTo>
                  <a:pt x="272" y="106"/>
                </a:lnTo>
                <a:lnTo>
                  <a:pt x="269" y="103"/>
                </a:lnTo>
                <a:lnTo>
                  <a:pt x="259" y="100"/>
                </a:lnTo>
                <a:lnTo>
                  <a:pt x="247" y="91"/>
                </a:lnTo>
                <a:lnTo>
                  <a:pt x="231" y="84"/>
                </a:lnTo>
                <a:lnTo>
                  <a:pt x="219" y="75"/>
                </a:lnTo>
                <a:lnTo>
                  <a:pt x="203" y="69"/>
                </a:lnTo>
                <a:lnTo>
                  <a:pt x="197" y="66"/>
                </a:lnTo>
                <a:lnTo>
                  <a:pt x="194" y="56"/>
                </a:lnTo>
                <a:lnTo>
                  <a:pt x="191" y="50"/>
                </a:lnTo>
                <a:lnTo>
                  <a:pt x="187" y="50"/>
                </a:lnTo>
                <a:lnTo>
                  <a:pt x="184" y="37"/>
                </a:lnTo>
                <a:lnTo>
                  <a:pt x="175" y="31"/>
                </a:lnTo>
                <a:lnTo>
                  <a:pt x="172" y="31"/>
                </a:lnTo>
                <a:lnTo>
                  <a:pt x="169" y="31"/>
                </a:lnTo>
                <a:lnTo>
                  <a:pt x="156" y="25"/>
                </a:lnTo>
                <a:lnTo>
                  <a:pt x="144" y="19"/>
                </a:lnTo>
                <a:lnTo>
                  <a:pt x="141" y="12"/>
                </a:lnTo>
                <a:lnTo>
                  <a:pt x="131" y="6"/>
                </a:lnTo>
                <a:lnTo>
                  <a:pt x="116" y="0"/>
                </a:lnTo>
                <a:lnTo>
                  <a:pt x="106" y="0"/>
                </a:lnTo>
                <a:lnTo>
                  <a:pt x="112" y="3"/>
                </a:lnTo>
                <a:lnTo>
                  <a:pt x="109" y="6"/>
                </a:lnTo>
                <a:lnTo>
                  <a:pt x="103" y="3"/>
                </a:lnTo>
                <a:lnTo>
                  <a:pt x="100" y="6"/>
                </a:lnTo>
                <a:lnTo>
                  <a:pt x="97" y="9"/>
                </a:lnTo>
                <a:lnTo>
                  <a:pt x="91" y="12"/>
                </a:lnTo>
                <a:lnTo>
                  <a:pt x="87" y="19"/>
                </a:lnTo>
                <a:lnTo>
                  <a:pt x="87" y="28"/>
                </a:lnTo>
                <a:lnTo>
                  <a:pt x="91" y="31"/>
                </a:lnTo>
                <a:lnTo>
                  <a:pt x="87" y="34"/>
                </a:lnTo>
                <a:lnTo>
                  <a:pt x="81" y="34"/>
                </a:lnTo>
                <a:lnTo>
                  <a:pt x="69" y="34"/>
                </a:lnTo>
                <a:lnTo>
                  <a:pt x="62" y="37"/>
                </a:lnTo>
                <a:lnTo>
                  <a:pt x="47" y="22"/>
                </a:lnTo>
                <a:lnTo>
                  <a:pt x="34" y="12"/>
                </a:lnTo>
                <a:lnTo>
                  <a:pt x="22" y="12"/>
                </a:lnTo>
                <a:lnTo>
                  <a:pt x="12" y="16"/>
                </a:lnTo>
                <a:lnTo>
                  <a:pt x="0" y="25"/>
                </a:lnTo>
                <a:lnTo>
                  <a:pt x="0" y="28"/>
                </a:lnTo>
                <a:lnTo>
                  <a:pt x="3" y="31"/>
                </a:lnTo>
                <a:lnTo>
                  <a:pt x="3" y="34"/>
                </a:lnTo>
                <a:lnTo>
                  <a:pt x="6" y="37"/>
                </a:lnTo>
                <a:lnTo>
                  <a:pt x="9" y="41"/>
                </a:lnTo>
                <a:lnTo>
                  <a:pt x="12" y="47"/>
                </a:lnTo>
                <a:lnTo>
                  <a:pt x="12" y="53"/>
                </a:lnTo>
                <a:lnTo>
                  <a:pt x="9" y="56"/>
                </a:lnTo>
                <a:lnTo>
                  <a:pt x="9" y="66"/>
                </a:lnTo>
                <a:lnTo>
                  <a:pt x="12" y="69"/>
                </a:lnTo>
                <a:lnTo>
                  <a:pt x="12" y="72"/>
                </a:lnTo>
                <a:lnTo>
                  <a:pt x="22" y="78"/>
                </a:lnTo>
                <a:lnTo>
                  <a:pt x="19" y="75"/>
                </a:lnTo>
                <a:lnTo>
                  <a:pt x="19" y="72"/>
                </a:lnTo>
                <a:lnTo>
                  <a:pt x="19" y="72"/>
                </a:lnTo>
                <a:lnTo>
                  <a:pt x="25" y="72"/>
                </a:lnTo>
                <a:lnTo>
                  <a:pt x="28" y="72"/>
                </a:lnTo>
                <a:lnTo>
                  <a:pt x="28" y="72"/>
                </a:lnTo>
                <a:lnTo>
                  <a:pt x="28" y="75"/>
                </a:lnTo>
                <a:lnTo>
                  <a:pt x="28" y="81"/>
                </a:lnTo>
                <a:lnTo>
                  <a:pt x="31" y="78"/>
                </a:lnTo>
                <a:lnTo>
                  <a:pt x="34" y="84"/>
                </a:lnTo>
                <a:lnTo>
                  <a:pt x="34" y="84"/>
                </a:lnTo>
                <a:lnTo>
                  <a:pt x="31" y="84"/>
                </a:lnTo>
                <a:lnTo>
                  <a:pt x="28" y="84"/>
                </a:lnTo>
                <a:lnTo>
                  <a:pt x="25" y="81"/>
                </a:lnTo>
                <a:lnTo>
                  <a:pt x="22" y="84"/>
                </a:lnTo>
                <a:lnTo>
                  <a:pt x="22" y="87"/>
                </a:lnTo>
                <a:lnTo>
                  <a:pt x="25" y="94"/>
                </a:lnTo>
                <a:lnTo>
                  <a:pt x="25" y="87"/>
                </a:lnTo>
                <a:lnTo>
                  <a:pt x="25" y="87"/>
                </a:lnTo>
                <a:lnTo>
                  <a:pt x="28" y="87"/>
                </a:lnTo>
                <a:lnTo>
                  <a:pt x="31" y="87"/>
                </a:lnTo>
                <a:lnTo>
                  <a:pt x="34" y="94"/>
                </a:lnTo>
                <a:lnTo>
                  <a:pt x="37" y="94"/>
                </a:lnTo>
                <a:lnTo>
                  <a:pt x="41" y="100"/>
                </a:lnTo>
                <a:lnTo>
                  <a:pt x="41" y="106"/>
                </a:lnTo>
                <a:lnTo>
                  <a:pt x="41" y="109"/>
                </a:lnTo>
                <a:lnTo>
                  <a:pt x="41" y="119"/>
                </a:lnTo>
                <a:lnTo>
                  <a:pt x="41" y="125"/>
                </a:lnTo>
                <a:lnTo>
                  <a:pt x="47" y="134"/>
                </a:lnTo>
                <a:lnTo>
                  <a:pt x="50" y="131"/>
                </a:lnTo>
                <a:lnTo>
                  <a:pt x="59" y="131"/>
                </a:lnTo>
                <a:lnTo>
                  <a:pt x="59" y="125"/>
                </a:lnTo>
                <a:lnTo>
                  <a:pt x="62" y="122"/>
                </a:lnTo>
                <a:lnTo>
                  <a:pt x="66" y="122"/>
                </a:lnTo>
                <a:lnTo>
                  <a:pt x="75" y="116"/>
                </a:lnTo>
                <a:lnTo>
                  <a:pt x="84" y="116"/>
                </a:lnTo>
                <a:lnTo>
                  <a:pt x="91" y="116"/>
                </a:lnTo>
                <a:lnTo>
                  <a:pt x="91" y="112"/>
                </a:lnTo>
                <a:lnTo>
                  <a:pt x="97" y="109"/>
                </a:lnTo>
                <a:lnTo>
                  <a:pt x="100" y="112"/>
                </a:lnTo>
                <a:lnTo>
                  <a:pt x="103" y="112"/>
                </a:lnTo>
                <a:lnTo>
                  <a:pt x="112" y="119"/>
                </a:lnTo>
                <a:lnTo>
                  <a:pt x="116" y="119"/>
                </a:lnTo>
                <a:lnTo>
                  <a:pt x="128" y="125"/>
                </a:lnTo>
                <a:lnTo>
                  <a:pt x="131" y="125"/>
                </a:lnTo>
                <a:lnTo>
                  <a:pt x="134" y="125"/>
                </a:lnTo>
                <a:lnTo>
                  <a:pt x="144" y="128"/>
                </a:lnTo>
                <a:lnTo>
                  <a:pt x="147" y="128"/>
                </a:lnTo>
                <a:lnTo>
                  <a:pt x="147" y="134"/>
                </a:lnTo>
                <a:lnTo>
                  <a:pt x="150" y="134"/>
                </a:lnTo>
                <a:lnTo>
                  <a:pt x="153" y="134"/>
                </a:lnTo>
                <a:lnTo>
                  <a:pt x="162" y="138"/>
                </a:lnTo>
                <a:lnTo>
                  <a:pt x="169" y="147"/>
                </a:lnTo>
                <a:lnTo>
                  <a:pt x="178" y="147"/>
                </a:lnTo>
                <a:lnTo>
                  <a:pt x="181" y="150"/>
                </a:lnTo>
                <a:lnTo>
                  <a:pt x="184" y="156"/>
                </a:lnTo>
                <a:lnTo>
                  <a:pt x="184" y="159"/>
                </a:lnTo>
                <a:lnTo>
                  <a:pt x="187" y="163"/>
                </a:lnTo>
                <a:lnTo>
                  <a:pt x="187" y="166"/>
                </a:lnTo>
                <a:lnTo>
                  <a:pt x="187" y="169"/>
                </a:lnTo>
                <a:lnTo>
                  <a:pt x="191" y="169"/>
                </a:lnTo>
                <a:lnTo>
                  <a:pt x="194" y="169"/>
                </a:lnTo>
                <a:lnTo>
                  <a:pt x="197" y="172"/>
                </a:lnTo>
                <a:lnTo>
                  <a:pt x="200" y="172"/>
                </a:lnTo>
                <a:lnTo>
                  <a:pt x="203" y="169"/>
                </a:lnTo>
                <a:lnTo>
                  <a:pt x="206" y="169"/>
                </a:lnTo>
                <a:lnTo>
                  <a:pt x="209" y="172"/>
                </a:lnTo>
                <a:lnTo>
                  <a:pt x="212" y="175"/>
                </a:lnTo>
                <a:lnTo>
                  <a:pt x="212" y="178"/>
                </a:lnTo>
                <a:lnTo>
                  <a:pt x="216" y="175"/>
                </a:lnTo>
                <a:lnTo>
                  <a:pt x="222" y="175"/>
                </a:lnTo>
                <a:lnTo>
                  <a:pt x="225" y="172"/>
                </a:lnTo>
                <a:lnTo>
                  <a:pt x="225" y="169"/>
                </a:lnTo>
                <a:lnTo>
                  <a:pt x="228" y="166"/>
                </a:lnTo>
                <a:lnTo>
                  <a:pt x="225" y="163"/>
                </a:lnTo>
                <a:lnTo>
                  <a:pt x="231" y="159"/>
                </a:lnTo>
                <a:lnTo>
                  <a:pt x="241" y="159"/>
                </a:lnTo>
                <a:lnTo>
                  <a:pt x="241" y="156"/>
                </a:lnTo>
                <a:lnTo>
                  <a:pt x="244" y="153"/>
                </a:lnTo>
                <a:lnTo>
                  <a:pt x="247" y="153"/>
                </a:lnTo>
                <a:lnTo>
                  <a:pt x="247" y="147"/>
                </a:lnTo>
                <a:lnTo>
                  <a:pt x="247" y="144"/>
                </a:lnTo>
                <a:lnTo>
                  <a:pt x="253" y="138"/>
                </a:lnTo>
                <a:lnTo>
                  <a:pt x="253" y="134"/>
                </a:lnTo>
                <a:lnTo>
                  <a:pt x="250" y="134"/>
                </a:lnTo>
                <a:lnTo>
                  <a:pt x="250" y="131"/>
                </a:lnTo>
                <a:lnTo>
                  <a:pt x="253" y="131"/>
                </a:lnTo>
                <a:lnTo>
                  <a:pt x="256" y="128"/>
                </a:lnTo>
                <a:lnTo>
                  <a:pt x="259" y="128"/>
                </a:lnTo>
                <a:lnTo>
                  <a:pt x="262" y="128"/>
                </a:lnTo>
                <a:lnTo>
                  <a:pt x="269" y="122"/>
                </a:lnTo>
                <a:lnTo>
                  <a:pt x="272" y="122"/>
                </a:lnTo>
                <a:lnTo>
                  <a:pt x="275" y="125"/>
                </a:lnTo>
                <a:lnTo>
                  <a:pt x="281" y="122"/>
                </a:lnTo>
                <a:lnTo>
                  <a:pt x="281" y="125"/>
                </a:lnTo>
                <a:lnTo>
                  <a:pt x="281" y="125"/>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2" name="Freeform 20">
            <a:extLst>
              <a:ext uri="{FF2B5EF4-FFF2-40B4-BE49-F238E27FC236}">
                <a16:creationId xmlns:a16="http://schemas.microsoft.com/office/drawing/2014/main" id="{5B555ADE-C660-659F-5182-A6C37775A0EB}"/>
              </a:ext>
            </a:extLst>
          </p:cNvPr>
          <p:cNvSpPr>
            <a:spLocks noEditPoints="1"/>
          </p:cNvSpPr>
          <p:nvPr userDrawn="1"/>
        </p:nvSpPr>
        <p:spPr bwMode="auto">
          <a:xfrm>
            <a:off x="24195100" y="10489485"/>
            <a:ext cx="187314" cy="158750"/>
          </a:xfrm>
          <a:custGeom>
            <a:avLst/>
            <a:gdLst>
              <a:gd name="T0" fmla="*/ 28 w 59"/>
              <a:gd name="T1" fmla="*/ 19 h 50"/>
              <a:gd name="T2" fmla="*/ 31 w 59"/>
              <a:gd name="T3" fmla="*/ 12 h 50"/>
              <a:gd name="T4" fmla="*/ 34 w 59"/>
              <a:gd name="T5" fmla="*/ 12 h 50"/>
              <a:gd name="T6" fmla="*/ 40 w 59"/>
              <a:gd name="T7" fmla="*/ 9 h 50"/>
              <a:gd name="T8" fmla="*/ 43 w 59"/>
              <a:gd name="T9" fmla="*/ 9 h 50"/>
              <a:gd name="T10" fmla="*/ 50 w 59"/>
              <a:gd name="T11" fmla="*/ 6 h 50"/>
              <a:gd name="T12" fmla="*/ 53 w 59"/>
              <a:gd name="T13" fmla="*/ 6 h 50"/>
              <a:gd name="T14" fmla="*/ 59 w 59"/>
              <a:gd name="T15" fmla="*/ 0 h 50"/>
              <a:gd name="T16" fmla="*/ 59 w 59"/>
              <a:gd name="T17" fmla="*/ 3 h 50"/>
              <a:gd name="T18" fmla="*/ 56 w 59"/>
              <a:gd name="T19" fmla="*/ 6 h 50"/>
              <a:gd name="T20" fmla="*/ 56 w 59"/>
              <a:gd name="T21" fmla="*/ 9 h 50"/>
              <a:gd name="T22" fmla="*/ 50 w 59"/>
              <a:gd name="T23" fmla="*/ 15 h 50"/>
              <a:gd name="T24" fmla="*/ 53 w 59"/>
              <a:gd name="T25" fmla="*/ 15 h 50"/>
              <a:gd name="T26" fmla="*/ 56 w 59"/>
              <a:gd name="T27" fmla="*/ 12 h 50"/>
              <a:gd name="T28" fmla="*/ 59 w 59"/>
              <a:gd name="T29" fmla="*/ 15 h 50"/>
              <a:gd name="T30" fmla="*/ 56 w 59"/>
              <a:gd name="T31" fmla="*/ 19 h 50"/>
              <a:gd name="T32" fmla="*/ 46 w 59"/>
              <a:gd name="T33" fmla="*/ 19 h 50"/>
              <a:gd name="T34" fmla="*/ 43 w 59"/>
              <a:gd name="T35" fmla="*/ 15 h 50"/>
              <a:gd name="T36" fmla="*/ 40 w 59"/>
              <a:gd name="T37" fmla="*/ 15 h 50"/>
              <a:gd name="T38" fmla="*/ 40 w 59"/>
              <a:gd name="T39" fmla="*/ 19 h 50"/>
              <a:gd name="T40" fmla="*/ 34 w 59"/>
              <a:gd name="T41" fmla="*/ 19 h 50"/>
              <a:gd name="T42" fmla="*/ 31 w 59"/>
              <a:gd name="T43" fmla="*/ 22 h 50"/>
              <a:gd name="T44" fmla="*/ 28 w 59"/>
              <a:gd name="T45" fmla="*/ 19 h 50"/>
              <a:gd name="T46" fmla="*/ 28 w 59"/>
              <a:gd name="T47" fmla="*/ 19 h 50"/>
              <a:gd name="T48" fmla="*/ 6 w 59"/>
              <a:gd name="T49" fmla="*/ 34 h 50"/>
              <a:gd name="T50" fmla="*/ 12 w 59"/>
              <a:gd name="T51" fmla="*/ 31 h 50"/>
              <a:gd name="T52" fmla="*/ 21 w 59"/>
              <a:gd name="T53" fmla="*/ 28 h 50"/>
              <a:gd name="T54" fmla="*/ 28 w 59"/>
              <a:gd name="T55" fmla="*/ 34 h 50"/>
              <a:gd name="T56" fmla="*/ 31 w 59"/>
              <a:gd name="T57" fmla="*/ 47 h 50"/>
              <a:gd name="T58" fmla="*/ 25 w 59"/>
              <a:gd name="T59" fmla="*/ 50 h 50"/>
              <a:gd name="T60" fmla="*/ 18 w 59"/>
              <a:gd name="T61" fmla="*/ 47 h 50"/>
              <a:gd name="T62" fmla="*/ 15 w 59"/>
              <a:gd name="T63" fmla="*/ 50 h 50"/>
              <a:gd name="T64" fmla="*/ 6 w 59"/>
              <a:gd name="T65" fmla="*/ 50 h 50"/>
              <a:gd name="T66" fmla="*/ 0 w 59"/>
              <a:gd name="T67" fmla="*/ 47 h 50"/>
              <a:gd name="T68" fmla="*/ 0 w 59"/>
              <a:gd name="T69" fmla="*/ 40 h 50"/>
              <a:gd name="T70" fmla="*/ 6 w 59"/>
              <a:gd name="T71" fmla="*/ 40 h 50"/>
              <a:gd name="T72" fmla="*/ 6 w 59"/>
              <a:gd name="T73" fmla="*/ 3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 h="50">
                <a:moveTo>
                  <a:pt x="28" y="19"/>
                </a:moveTo>
                <a:lnTo>
                  <a:pt x="31" y="12"/>
                </a:lnTo>
                <a:lnTo>
                  <a:pt x="34" y="12"/>
                </a:lnTo>
                <a:lnTo>
                  <a:pt x="40" y="9"/>
                </a:lnTo>
                <a:lnTo>
                  <a:pt x="43" y="9"/>
                </a:lnTo>
                <a:lnTo>
                  <a:pt x="50" y="6"/>
                </a:lnTo>
                <a:lnTo>
                  <a:pt x="53" y="6"/>
                </a:lnTo>
                <a:lnTo>
                  <a:pt x="59" y="0"/>
                </a:lnTo>
                <a:lnTo>
                  <a:pt x="59" y="3"/>
                </a:lnTo>
                <a:lnTo>
                  <a:pt x="56" y="6"/>
                </a:lnTo>
                <a:lnTo>
                  <a:pt x="56" y="9"/>
                </a:lnTo>
                <a:lnTo>
                  <a:pt x="50" y="15"/>
                </a:lnTo>
                <a:lnTo>
                  <a:pt x="53" y="15"/>
                </a:lnTo>
                <a:lnTo>
                  <a:pt x="56" y="12"/>
                </a:lnTo>
                <a:lnTo>
                  <a:pt x="59" y="15"/>
                </a:lnTo>
                <a:lnTo>
                  <a:pt x="56" y="19"/>
                </a:lnTo>
                <a:lnTo>
                  <a:pt x="46" y="19"/>
                </a:lnTo>
                <a:lnTo>
                  <a:pt x="43" y="15"/>
                </a:lnTo>
                <a:lnTo>
                  <a:pt x="40" y="15"/>
                </a:lnTo>
                <a:lnTo>
                  <a:pt x="40" y="19"/>
                </a:lnTo>
                <a:lnTo>
                  <a:pt x="34" y="19"/>
                </a:lnTo>
                <a:lnTo>
                  <a:pt x="31" y="22"/>
                </a:lnTo>
                <a:lnTo>
                  <a:pt x="28" y="19"/>
                </a:lnTo>
                <a:lnTo>
                  <a:pt x="28" y="19"/>
                </a:lnTo>
                <a:close/>
                <a:moveTo>
                  <a:pt x="6" y="34"/>
                </a:moveTo>
                <a:lnTo>
                  <a:pt x="12" y="31"/>
                </a:lnTo>
                <a:lnTo>
                  <a:pt x="21" y="28"/>
                </a:lnTo>
                <a:lnTo>
                  <a:pt x="28" y="34"/>
                </a:lnTo>
                <a:lnTo>
                  <a:pt x="31" y="47"/>
                </a:lnTo>
                <a:lnTo>
                  <a:pt x="25" y="50"/>
                </a:lnTo>
                <a:lnTo>
                  <a:pt x="18" y="47"/>
                </a:lnTo>
                <a:lnTo>
                  <a:pt x="15" y="50"/>
                </a:lnTo>
                <a:lnTo>
                  <a:pt x="6" y="50"/>
                </a:lnTo>
                <a:lnTo>
                  <a:pt x="0" y="47"/>
                </a:lnTo>
                <a:lnTo>
                  <a:pt x="0" y="40"/>
                </a:lnTo>
                <a:lnTo>
                  <a:pt x="6" y="40"/>
                </a:lnTo>
                <a:lnTo>
                  <a:pt x="6" y="3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3" name="Freeform 21">
            <a:extLst>
              <a:ext uri="{FF2B5EF4-FFF2-40B4-BE49-F238E27FC236}">
                <a16:creationId xmlns:a16="http://schemas.microsoft.com/office/drawing/2014/main" id="{A050925C-1F77-34D5-5383-F9B71DE8EE28}"/>
              </a:ext>
            </a:extLst>
          </p:cNvPr>
          <p:cNvSpPr>
            <a:spLocks noEditPoints="1"/>
          </p:cNvSpPr>
          <p:nvPr userDrawn="1"/>
        </p:nvSpPr>
        <p:spPr bwMode="auto">
          <a:xfrm>
            <a:off x="23547438" y="10368835"/>
            <a:ext cx="139693" cy="377826"/>
          </a:xfrm>
          <a:custGeom>
            <a:avLst/>
            <a:gdLst>
              <a:gd name="T0" fmla="*/ 14 w 14"/>
              <a:gd name="T1" fmla="*/ 37 h 38"/>
              <a:gd name="T2" fmla="*/ 14 w 14"/>
              <a:gd name="T3" fmla="*/ 37 h 38"/>
              <a:gd name="T4" fmla="*/ 13 w 14"/>
              <a:gd name="T5" fmla="*/ 30 h 38"/>
              <a:gd name="T6" fmla="*/ 14 w 14"/>
              <a:gd name="T7" fmla="*/ 33 h 38"/>
              <a:gd name="T8" fmla="*/ 13 w 14"/>
              <a:gd name="T9" fmla="*/ 30 h 38"/>
              <a:gd name="T10" fmla="*/ 9 w 14"/>
              <a:gd name="T11" fmla="*/ 22 h 38"/>
              <a:gd name="T12" fmla="*/ 11 w 14"/>
              <a:gd name="T13" fmla="*/ 22 h 38"/>
              <a:gd name="T14" fmla="*/ 10 w 14"/>
              <a:gd name="T15" fmla="*/ 24 h 38"/>
              <a:gd name="T16" fmla="*/ 9 w 14"/>
              <a:gd name="T17" fmla="*/ 22 h 38"/>
              <a:gd name="T18" fmla="*/ 11 w 14"/>
              <a:gd name="T19" fmla="*/ 4 h 38"/>
              <a:gd name="T20" fmla="*/ 11 w 14"/>
              <a:gd name="T21" fmla="*/ 4 h 38"/>
              <a:gd name="T22" fmla="*/ 7 w 14"/>
              <a:gd name="T23" fmla="*/ 6 h 38"/>
              <a:gd name="T24" fmla="*/ 9 w 14"/>
              <a:gd name="T25" fmla="*/ 5 h 38"/>
              <a:gd name="T26" fmla="*/ 8 w 14"/>
              <a:gd name="T27" fmla="*/ 5 h 38"/>
              <a:gd name="T28" fmla="*/ 10 w 14"/>
              <a:gd name="T29" fmla="*/ 7 h 38"/>
              <a:gd name="T30" fmla="*/ 11 w 14"/>
              <a:gd name="T31" fmla="*/ 9 h 38"/>
              <a:gd name="T32" fmla="*/ 10 w 14"/>
              <a:gd name="T33" fmla="*/ 10 h 38"/>
              <a:gd name="T34" fmla="*/ 10 w 14"/>
              <a:gd name="T35" fmla="*/ 7 h 38"/>
              <a:gd name="T36" fmla="*/ 10 w 14"/>
              <a:gd name="T37" fmla="*/ 15 h 38"/>
              <a:gd name="T38" fmla="*/ 11 w 14"/>
              <a:gd name="T39" fmla="*/ 17 h 38"/>
              <a:gd name="T40" fmla="*/ 9 w 14"/>
              <a:gd name="T41" fmla="*/ 16 h 38"/>
              <a:gd name="T42" fmla="*/ 10 w 14"/>
              <a:gd name="T43" fmla="*/ 12 h 38"/>
              <a:gd name="T44" fmla="*/ 11 w 14"/>
              <a:gd name="T45" fmla="*/ 13 h 38"/>
              <a:gd name="T46" fmla="*/ 10 w 14"/>
              <a:gd name="T47" fmla="*/ 14 h 38"/>
              <a:gd name="T48" fmla="*/ 9 w 14"/>
              <a:gd name="T49" fmla="*/ 14 h 38"/>
              <a:gd name="T50" fmla="*/ 8 w 14"/>
              <a:gd name="T51" fmla="*/ 13 h 38"/>
              <a:gd name="T52" fmla="*/ 5 w 14"/>
              <a:gd name="T53" fmla="*/ 10 h 38"/>
              <a:gd name="T54" fmla="*/ 6 w 14"/>
              <a:gd name="T55" fmla="*/ 12 h 38"/>
              <a:gd name="T56" fmla="*/ 7 w 14"/>
              <a:gd name="T57" fmla="*/ 14 h 38"/>
              <a:gd name="T58" fmla="*/ 5 w 14"/>
              <a:gd name="T59" fmla="*/ 15 h 38"/>
              <a:gd name="T60" fmla="*/ 5 w 14"/>
              <a:gd name="T61" fmla="*/ 13 h 38"/>
              <a:gd name="T62" fmla="*/ 4 w 14"/>
              <a:gd name="T63" fmla="*/ 11 h 38"/>
              <a:gd name="T64" fmla="*/ 3 w 14"/>
              <a:gd name="T65" fmla="*/ 10 h 38"/>
              <a:gd name="T66" fmla="*/ 1 w 14"/>
              <a:gd name="T67" fmla="*/ 0 h 38"/>
              <a:gd name="T68" fmla="*/ 0 w 14"/>
              <a:gd name="T69" fmla="*/ 5 h 38"/>
              <a:gd name="T70" fmla="*/ 1 w 14"/>
              <a:gd name="T71" fmla="*/ 8 h 38"/>
              <a:gd name="T72" fmla="*/ 3 w 14"/>
              <a:gd name="T73" fmla="*/ 7 h 38"/>
              <a:gd name="T74" fmla="*/ 4 w 14"/>
              <a:gd name="T75" fmla="*/ 7 h 38"/>
              <a:gd name="T76" fmla="*/ 4 w 14"/>
              <a:gd name="T77" fmla="*/ 4 h 38"/>
              <a:gd name="T78" fmla="*/ 3 w 14"/>
              <a:gd name="T79" fmla="*/ 2 h 38"/>
              <a:gd name="T80" fmla="*/ 3 w 14"/>
              <a:gd name="T81" fmla="*/ 4 h 38"/>
              <a:gd name="T82" fmla="*/ 2 w 14"/>
              <a:gd name="T83" fmla="*/ 4 h 38"/>
              <a:gd name="T84" fmla="*/ 1 w 14"/>
              <a:gd name="T8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 h="38">
                <a:moveTo>
                  <a:pt x="14" y="36"/>
                </a:moveTo>
                <a:cubicBezTo>
                  <a:pt x="14" y="37"/>
                  <a:pt x="14" y="37"/>
                  <a:pt x="14" y="37"/>
                </a:cubicBezTo>
                <a:cubicBezTo>
                  <a:pt x="14" y="38"/>
                  <a:pt x="14" y="38"/>
                  <a:pt x="14" y="38"/>
                </a:cubicBezTo>
                <a:cubicBezTo>
                  <a:pt x="14" y="37"/>
                  <a:pt x="14" y="37"/>
                  <a:pt x="14" y="37"/>
                </a:cubicBezTo>
                <a:cubicBezTo>
                  <a:pt x="14" y="36"/>
                  <a:pt x="14" y="36"/>
                  <a:pt x="14" y="36"/>
                </a:cubicBezTo>
                <a:close/>
                <a:moveTo>
                  <a:pt x="13" y="30"/>
                </a:moveTo>
                <a:cubicBezTo>
                  <a:pt x="14" y="31"/>
                  <a:pt x="14" y="31"/>
                  <a:pt x="14" y="31"/>
                </a:cubicBezTo>
                <a:cubicBezTo>
                  <a:pt x="14" y="33"/>
                  <a:pt x="14" y="33"/>
                  <a:pt x="14" y="33"/>
                </a:cubicBezTo>
                <a:cubicBezTo>
                  <a:pt x="13" y="32"/>
                  <a:pt x="13" y="32"/>
                  <a:pt x="13" y="32"/>
                </a:cubicBezTo>
                <a:cubicBezTo>
                  <a:pt x="13" y="30"/>
                  <a:pt x="13" y="30"/>
                  <a:pt x="13" y="30"/>
                </a:cubicBezTo>
                <a:cubicBezTo>
                  <a:pt x="13" y="30"/>
                  <a:pt x="13" y="30"/>
                  <a:pt x="13" y="30"/>
                </a:cubicBezTo>
                <a:close/>
                <a:moveTo>
                  <a:pt x="9" y="22"/>
                </a:moveTo>
                <a:cubicBezTo>
                  <a:pt x="10" y="21"/>
                  <a:pt x="10" y="21"/>
                  <a:pt x="10" y="21"/>
                </a:cubicBezTo>
                <a:cubicBezTo>
                  <a:pt x="11" y="22"/>
                  <a:pt x="11" y="22"/>
                  <a:pt x="11" y="22"/>
                </a:cubicBezTo>
                <a:cubicBezTo>
                  <a:pt x="11" y="24"/>
                  <a:pt x="11" y="24"/>
                  <a:pt x="11" y="24"/>
                </a:cubicBezTo>
                <a:cubicBezTo>
                  <a:pt x="10" y="24"/>
                  <a:pt x="10" y="24"/>
                  <a:pt x="10" y="24"/>
                </a:cubicBezTo>
                <a:cubicBezTo>
                  <a:pt x="9" y="23"/>
                  <a:pt x="9" y="23"/>
                  <a:pt x="9" y="23"/>
                </a:cubicBezTo>
                <a:cubicBezTo>
                  <a:pt x="9" y="22"/>
                  <a:pt x="9" y="22"/>
                  <a:pt x="9" y="22"/>
                </a:cubicBezTo>
                <a:close/>
                <a:moveTo>
                  <a:pt x="10" y="2"/>
                </a:moveTo>
                <a:cubicBezTo>
                  <a:pt x="11" y="4"/>
                  <a:pt x="11" y="4"/>
                  <a:pt x="11" y="4"/>
                </a:cubicBezTo>
                <a:cubicBezTo>
                  <a:pt x="10" y="5"/>
                  <a:pt x="10" y="5"/>
                  <a:pt x="10" y="5"/>
                </a:cubicBezTo>
                <a:cubicBezTo>
                  <a:pt x="11" y="4"/>
                  <a:pt x="11" y="4"/>
                  <a:pt x="11" y="4"/>
                </a:cubicBezTo>
                <a:cubicBezTo>
                  <a:pt x="10" y="2"/>
                  <a:pt x="10" y="2"/>
                  <a:pt x="10" y="2"/>
                </a:cubicBezTo>
                <a:close/>
                <a:moveTo>
                  <a:pt x="7" y="6"/>
                </a:moveTo>
                <a:cubicBezTo>
                  <a:pt x="8" y="6"/>
                  <a:pt x="8" y="6"/>
                  <a:pt x="8" y="6"/>
                </a:cubicBezTo>
                <a:cubicBezTo>
                  <a:pt x="9" y="5"/>
                  <a:pt x="9" y="5"/>
                  <a:pt x="9" y="5"/>
                </a:cubicBezTo>
                <a:cubicBezTo>
                  <a:pt x="9" y="5"/>
                  <a:pt x="9" y="5"/>
                  <a:pt x="9" y="5"/>
                </a:cubicBezTo>
                <a:cubicBezTo>
                  <a:pt x="8" y="5"/>
                  <a:pt x="8" y="5"/>
                  <a:pt x="8" y="5"/>
                </a:cubicBezTo>
                <a:cubicBezTo>
                  <a:pt x="8" y="5"/>
                  <a:pt x="7" y="6"/>
                  <a:pt x="7" y="6"/>
                </a:cubicBezTo>
                <a:close/>
                <a:moveTo>
                  <a:pt x="10" y="7"/>
                </a:moveTo>
                <a:cubicBezTo>
                  <a:pt x="11" y="8"/>
                  <a:pt x="11" y="8"/>
                  <a:pt x="11" y="8"/>
                </a:cubicBezTo>
                <a:cubicBezTo>
                  <a:pt x="11" y="9"/>
                  <a:pt x="11" y="9"/>
                  <a:pt x="11" y="9"/>
                </a:cubicBezTo>
                <a:cubicBezTo>
                  <a:pt x="11" y="10"/>
                  <a:pt x="11" y="10"/>
                  <a:pt x="11" y="10"/>
                </a:cubicBezTo>
                <a:cubicBezTo>
                  <a:pt x="10" y="10"/>
                  <a:pt x="10" y="10"/>
                  <a:pt x="10" y="10"/>
                </a:cubicBezTo>
                <a:cubicBezTo>
                  <a:pt x="10" y="9"/>
                  <a:pt x="10" y="9"/>
                  <a:pt x="10" y="9"/>
                </a:cubicBezTo>
                <a:cubicBezTo>
                  <a:pt x="10" y="9"/>
                  <a:pt x="10" y="7"/>
                  <a:pt x="10" y="7"/>
                </a:cubicBezTo>
                <a:close/>
                <a:moveTo>
                  <a:pt x="9" y="16"/>
                </a:moveTo>
                <a:cubicBezTo>
                  <a:pt x="10" y="15"/>
                  <a:pt x="10" y="15"/>
                  <a:pt x="10" y="15"/>
                </a:cubicBezTo>
                <a:cubicBezTo>
                  <a:pt x="11" y="16"/>
                  <a:pt x="11" y="16"/>
                  <a:pt x="11" y="16"/>
                </a:cubicBezTo>
                <a:cubicBezTo>
                  <a:pt x="11" y="17"/>
                  <a:pt x="11" y="17"/>
                  <a:pt x="11" y="17"/>
                </a:cubicBezTo>
                <a:cubicBezTo>
                  <a:pt x="9" y="17"/>
                  <a:pt x="9" y="17"/>
                  <a:pt x="9" y="17"/>
                </a:cubicBezTo>
                <a:cubicBezTo>
                  <a:pt x="9" y="16"/>
                  <a:pt x="9" y="16"/>
                  <a:pt x="9" y="16"/>
                </a:cubicBezTo>
                <a:close/>
                <a:moveTo>
                  <a:pt x="8" y="13"/>
                </a:moveTo>
                <a:cubicBezTo>
                  <a:pt x="10" y="12"/>
                  <a:pt x="10" y="12"/>
                  <a:pt x="10" y="12"/>
                </a:cubicBezTo>
                <a:cubicBezTo>
                  <a:pt x="10" y="13"/>
                  <a:pt x="10" y="13"/>
                  <a:pt x="10" y="13"/>
                </a:cubicBezTo>
                <a:cubicBezTo>
                  <a:pt x="11" y="13"/>
                  <a:pt x="11" y="13"/>
                  <a:pt x="11" y="13"/>
                </a:cubicBezTo>
                <a:cubicBezTo>
                  <a:pt x="10" y="14"/>
                  <a:pt x="10" y="14"/>
                  <a:pt x="10" y="14"/>
                </a:cubicBezTo>
                <a:cubicBezTo>
                  <a:pt x="10" y="14"/>
                  <a:pt x="10" y="14"/>
                  <a:pt x="10" y="14"/>
                </a:cubicBezTo>
                <a:cubicBezTo>
                  <a:pt x="9" y="14"/>
                  <a:pt x="9" y="14"/>
                  <a:pt x="9" y="14"/>
                </a:cubicBezTo>
                <a:cubicBezTo>
                  <a:pt x="9" y="14"/>
                  <a:pt x="9" y="14"/>
                  <a:pt x="9" y="14"/>
                </a:cubicBezTo>
                <a:cubicBezTo>
                  <a:pt x="8" y="14"/>
                  <a:pt x="8" y="14"/>
                  <a:pt x="8" y="14"/>
                </a:cubicBezTo>
                <a:cubicBezTo>
                  <a:pt x="8" y="13"/>
                  <a:pt x="8" y="13"/>
                  <a:pt x="8" y="13"/>
                </a:cubicBezTo>
                <a:close/>
                <a:moveTo>
                  <a:pt x="4" y="10"/>
                </a:moveTo>
                <a:cubicBezTo>
                  <a:pt x="5" y="10"/>
                  <a:pt x="5" y="10"/>
                  <a:pt x="5" y="10"/>
                </a:cubicBezTo>
                <a:cubicBezTo>
                  <a:pt x="6" y="11"/>
                  <a:pt x="6" y="11"/>
                  <a:pt x="6" y="11"/>
                </a:cubicBezTo>
                <a:cubicBezTo>
                  <a:pt x="6" y="12"/>
                  <a:pt x="6" y="12"/>
                  <a:pt x="6" y="12"/>
                </a:cubicBezTo>
                <a:cubicBezTo>
                  <a:pt x="7" y="13"/>
                  <a:pt x="7" y="13"/>
                  <a:pt x="7" y="13"/>
                </a:cubicBezTo>
                <a:cubicBezTo>
                  <a:pt x="7" y="14"/>
                  <a:pt x="7" y="14"/>
                  <a:pt x="7" y="14"/>
                </a:cubicBezTo>
                <a:cubicBezTo>
                  <a:pt x="6" y="15"/>
                  <a:pt x="6" y="15"/>
                  <a:pt x="6" y="15"/>
                </a:cubicBezTo>
                <a:cubicBezTo>
                  <a:pt x="5" y="15"/>
                  <a:pt x="5" y="15"/>
                  <a:pt x="5" y="15"/>
                </a:cubicBezTo>
                <a:cubicBezTo>
                  <a:pt x="4" y="14"/>
                  <a:pt x="4" y="14"/>
                  <a:pt x="4" y="14"/>
                </a:cubicBezTo>
                <a:cubicBezTo>
                  <a:pt x="5" y="13"/>
                  <a:pt x="5" y="13"/>
                  <a:pt x="5" y="13"/>
                </a:cubicBezTo>
                <a:cubicBezTo>
                  <a:pt x="5" y="12"/>
                  <a:pt x="5" y="12"/>
                  <a:pt x="5" y="12"/>
                </a:cubicBezTo>
                <a:cubicBezTo>
                  <a:pt x="4" y="11"/>
                  <a:pt x="4" y="11"/>
                  <a:pt x="4" y="11"/>
                </a:cubicBezTo>
                <a:cubicBezTo>
                  <a:pt x="4" y="11"/>
                  <a:pt x="4" y="11"/>
                  <a:pt x="4" y="11"/>
                </a:cubicBezTo>
                <a:cubicBezTo>
                  <a:pt x="3" y="10"/>
                  <a:pt x="3" y="10"/>
                  <a:pt x="3" y="10"/>
                </a:cubicBezTo>
                <a:cubicBezTo>
                  <a:pt x="4" y="10"/>
                  <a:pt x="4" y="10"/>
                  <a:pt x="4" y="10"/>
                </a:cubicBezTo>
                <a:close/>
                <a:moveTo>
                  <a:pt x="1" y="0"/>
                </a:moveTo>
                <a:cubicBezTo>
                  <a:pt x="0" y="3"/>
                  <a:pt x="0" y="3"/>
                  <a:pt x="0" y="3"/>
                </a:cubicBezTo>
                <a:cubicBezTo>
                  <a:pt x="0" y="5"/>
                  <a:pt x="0" y="5"/>
                  <a:pt x="0" y="5"/>
                </a:cubicBezTo>
                <a:cubicBezTo>
                  <a:pt x="0" y="6"/>
                  <a:pt x="0" y="6"/>
                  <a:pt x="0" y="6"/>
                </a:cubicBezTo>
                <a:cubicBezTo>
                  <a:pt x="1" y="8"/>
                  <a:pt x="1" y="8"/>
                  <a:pt x="1" y="8"/>
                </a:cubicBezTo>
                <a:cubicBezTo>
                  <a:pt x="2" y="8"/>
                  <a:pt x="2" y="8"/>
                  <a:pt x="2" y="8"/>
                </a:cubicBezTo>
                <a:cubicBezTo>
                  <a:pt x="3" y="7"/>
                  <a:pt x="3" y="7"/>
                  <a:pt x="3" y="7"/>
                </a:cubicBezTo>
                <a:cubicBezTo>
                  <a:pt x="3" y="7"/>
                  <a:pt x="3" y="7"/>
                  <a:pt x="3" y="7"/>
                </a:cubicBezTo>
                <a:cubicBezTo>
                  <a:pt x="4" y="7"/>
                  <a:pt x="4" y="7"/>
                  <a:pt x="4" y="7"/>
                </a:cubicBezTo>
                <a:cubicBezTo>
                  <a:pt x="4" y="5"/>
                  <a:pt x="4" y="5"/>
                  <a:pt x="4" y="5"/>
                </a:cubicBezTo>
                <a:cubicBezTo>
                  <a:pt x="4" y="4"/>
                  <a:pt x="4" y="4"/>
                  <a:pt x="4" y="4"/>
                </a:cubicBezTo>
                <a:cubicBezTo>
                  <a:pt x="4" y="3"/>
                  <a:pt x="4" y="3"/>
                  <a:pt x="4" y="3"/>
                </a:cubicBezTo>
                <a:cubicBezTo>
                  <a:pt x="3" y="2"/>
                  <a:pt x="3" y="2"/>
                  <a:pt x="3" y="2"/>
                </a:cubicBezTo>
                <a:cubicBezTo>
                  <a:pt x="3" y="3"/>
                  <a:pt x="3" y="3"/>
                  <a:pt x="3" y="3"/>
                </a:cubicBezTo>
                <a:cubicBezTo>
                  <a:pt x="3" y="4"/>
                  <a:pt x="3" y="4"/>
                  <a:pt x="3" y="4"/>
                </a:cubicBezTo>
                <a:cubicBezTo>
                  <a:pt x="2" y="4"/>
                  <a:pt x="2" y="4"/>
                  <a:pt x="2" y="4"/>
                </a:cubicBezTo>
                <a:cubicBezTo>
                  <a:pt x="2" y="4"/>
                  <a:pt x="2" y="4"/>
                  <a:pt x="2" y="4"/>
                </a:cubicBezTo>
                <a:cubicBezTo>
                  <a:pt x="1" y="1"/>
                  <a:pt x="1" y="1"/>
                  <a:pt x="1" y="1"/>
                </a:cubicBezTo>
                <a:cubicBezTo>
                  <a:pt x="1" y="1"/>
                  <a:pt x="1" y="0"/>
                  <a:pt x="1" y="0"/>
                </a:cubicBez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4" name="Freeform 22">
            <a:extLst>
              <a:ext uri="{FF2B5EF4-FFF2-40B4-BE49-F238E27FC236}">
                <a16:creationId xmlns:a16="http://schemas.microsoft.com/office/drawing/2014/main" id="{9A3DB824-8FD4-9DC9-8887-63FC23D99567}"/>
              </a:ext>
            </a:extLst>
          </p:cNvPr>
          <p:cNvSpPr>
            <a:spLocks noEditPoints="1"/>
          </p:cNvSpPr>
          <p:nvPr userDrawn="1"/>
        </p:nvSpPr>
        <p:spPr bwMode="auto">
          <a:xfrm>
            <a:off x="22944229" y="9794159"/>
            <a:ext cx="603211" cy="368302"/>
          </a:xfrm>
          <a:custGeom>
            <a:avLst/>
            <a:gdLst>
              <a:gd name="T0" fmla="*/ 60 w 61"/>
              <a:gd name="T1" fmla="*/ 30 h 37"/>
              <a:gd name="T2" fmla="*/ 58 w 61"/>
              <a:gd name="T3" fmla="*/ 32 h 37"/>
              <a:gd name="T4" fmla="*/ 24 w 61"/>
              <a:gd name="T5" fmla="*/ 36 h 37"/>
              <a:gd name="T6" fmla="*/ 25 w 61"/>
              <a:gd name="T7" fmla="*/ 37 h 37"/>
              <a:gd name="T8" fmla="*/ 23 w 61"/>
              <a:gd name="T9" fmla="*/ 36 h 37"/>
              <a:gd name="T10" fmla="*/ 33 w 61"/>
              <a:gd name="T11" fmla="*/ 27 h 37"/>
              <a:gd name="T12" fmla="*/ 37 w 61"/>
              <a:gd name="T13" fmla="*/ 30 h 37"/>
              <a:gd name="T14" fmla="*/ 36 w 61"/>
              <a:gd name="T15" fmla="*/ 32 h 37"/>
              <a:gd name="T16" fmla="*/ 32 w 61"/>
              <a:gd name="T17" fmla="*/ 28 h 37"/>
              <a:gd name="T18" fmla="*/ 23 w 61"/>
              <a:gd name="T19" fmla="*/ 21 h 37"/>
              <a:gd name="T20" fmla="*/ 28 w 61"/>
              <a:gd name="T21" fmla="*/ 23 h 37"/>
              <a:gd name="T22" fmla="*/ 28 w 61"/>
              <a:gd name="T23" fmla="*/ 25 h 37"/>
              <a:gd name="T24" fmla="*/ 24 w 61"/>
              <a:gd name="T25" fmla="*/ 24 h 37"/>
              <a:gd name="T26" fmla="*/ 22 w 61"/>
              <a:gd name="T27" fmla="*/ 20 h 37"/>
              <a:gd name="T28" fmla="*/ 25 w 61"/>
              <a:gd name="T29" fmla="*/ 18 h 37"/>
              <a:gd name="T30" fmla="*/ 26 w 61"/>
              <a:gd name="T31" fmla="*/ 19 h 37"/>
              <a:gd name="T32" fmla="*/ 28 w 61"/>
              <a:gd name="T33" fmla="*/ 15 h 37"/>
              <a:gd name="T34" fmla="*/ 29 w 61"/>
              <a:gd name="T35" fmla="*/ 19 h 37"/>
              <a:gd name="T36" fmla="*/ 33 w 61"/>
              <a:gd name="T37" fmla="*/ 23 h 37"/>
              <a:gd name="T38" fmla="*/ 33 w 61"/>
              <a:gd name="T39" fmla="*/ 20 h 37"/>
              <a:gd name="T40" fmla="*/ 30 w 61"/>
              <a:gd name="T41" fmla="*/ 17 h 37"/>
              <a:gd name="T42" fmla="*/ 27 w 61"/>
              <a:gd name="T43" fmla="*/ 14 h 37"/>
              <a:gd name="T44" fmla="*/ 18 w 61"/>
              <a:gd name="T45" fmla="*/ 10 h 37"/>
              <a:gd name="T46" fmla="*/ 22 w 61"/>
              <a:gd name="T47" fmla="*/ 14 h 37"/>
              <a:gd name="T48" fmla="*/ 21 w 61"/>
              <a:gd name="T49" fmla="*/ 15 h 37"/>
              <a:gd name="T50" fmla="*/ 19 w 61"/>
              <a:gd name="T51" fmla="*/ 13 h 37"/>
              <a:gd name="T52" fmla="*/ 11 w 61"/>
              <a:gd name="T53" fmla="*/ 16 h 37"/>
              <a:gd name="T54" fmla="*/ 11 w 61"/>
              <a:gd name="T55" fmla="*/ 17 h 37"/>
              <a:gd name="T56" fmla="*/ 7 w 61"/>
              <a:gd name="T57" fmla="*/ 15 h 37"/>
              <a:gd name="T58" fmla="*/ 8 w 61"/>
              <a:gd name="T59" fmla="*/ 16 h 37"/>
              <a:gd name="T60" fmla="*/ 8 w 61"/>
              <a:gd name="T61" fmla="*/ 14 h 37"/>
              <a:gd name="T62" fmla="*/ 10 w 61"/>
              <a:gd name="T63" fmla="*/ 15 h 37"/>
              <a:gd name="T64" fmla="*/ 10 w 61"/>
              <a:gd name="T65" fmla="*/ 13 h 37"/>
              <a:gd name="T66" fmla="*/ 8 w 61"/>
              <a:gd name="T67" fmla="*/ 11 h 37"/>
              <a:gd name="T68" fmla="*/ 5 w 61"/>
              <a:gd name="T69" fmla="*/ 11 h 37"/>
              <a:gd name="T70" fmla="*/ 7 w 61"/>
              <a:gd name="T71" fmla="*/ 12 h 37"/>
              <a:gd name="T72" fmla="*/ 5 w 61"/>
              <a:gd name="T73" fmla="*/ 11 h 37"/>
              <a:gd name="T74" fmla="*/ 4 w 61"/>
              <a:gd name="T75" fmla="*/ 11 h 37"/>
              <a:gd name="T76" fmla="*/ 3 w 61"/>
              <a:gd name="T77" fmla="*/ 10 h 37"/>
              <a:gd name="T78" fmla="*/ 1 w 61"/>
              <a:gd name="T79" fmla="*/ 2 h 37"/>
              <a:gd name="T80" fmla="*/ 3 w 61"/>
              <a:gd name="T81" fmla="*/ 2 h 37"/>
              <a:gd name="T82" fmla="*/ 5 w 61"/>
              <a:gd name="T83" fmla="*/ 6 h 37"/>
              <a:gd name="T84" fmla="*/ 9 w 61"/>
              <a:gd name="T85" fmla="*/ 8 h 37"/>
              <a:gd name="T86" fmla="*/ 7 w 61"/>
              <a:gd name="T87" fmla="*/ 5 h 37"/>
              <a:gd name="T88" fmla="*/ 4 w 61"/>
              <a:gd name="T89" fmla="*/ 4 h 37"/>
              <a:gd name="T90" fmla="*/ 0 w 61"/>
              <a:gd name="T91" fmla="*/ 4 h 37"/>
              <a:gd name="T92" fmla="*/ 0 w 61"/>
              <a:gd name="T93" fmla="*/ 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 h="37">
                <a:moveTo>
                  <a:pt x="58" y="31"/>
                </a:moveTo>
                <a:cubicBezTo>
                  <a:pt x="59" y="30"/>
                  <a:pt x="59" y="30"/>
                  <a:pt x="59" y="30"/>
                </a:cubicBezTo>
                <a:cubicBezTo>
                  <a:pt x="60" y="30"/>
                  <a:pt x="60" y="30"/>
                  <a:pt x="60" y="30"/>
                </a:cubicBezTo>
                <a:cubicBezTo>
                  <a:pt x="61" y="31"/>
                  <a:pt x="61" y="31"/>
                  <a:pt x="61" y="31"/>
                </a:cubicBezTo>
                <a:cubicBezTo>
                  <a:pt x="60" y="32"/>
                  <a:pt x="60" y="32"/>
                  <a:pt x="60" y="32"/>
                </a:cubicBezTo>
                <a:cubicBezTo>
                  <a:pt x="58" y="32"/>
                  <a:pt x="58" y="32"/>
                  <a:pt x="58" y="32"/>
                </a:cubicBezTo>
                <a:cubicBezTo>
                  <a:pt x="58" y="31"/>
                  <a:pt x="58" y="31"/>
                  <a:pt x="58" y="31"/>
                </a:cubicBezTo>
                <a:close/>
                <a:moveTo>
                  <a:pt x="23" y="36"/>
                </a:moveTo>
                <a:cubicBezTo>
                  <a:pt x="24" y="36"/>
                  <a:pt x="24" y="36"/>
                  <a:pt x="24" y="36"/>
                </a:cubicBezTo>
                <a:cubicBezTo>
                  <a:pt x="25" y="36"/>
                  <a:pt x="25" y="36"/>
                  <a:pt x="25" y="36"/>
                </a:cubicBezTo>
                <a:cubicBezTo>
                  <a:pt x="26" y="37"/>
                  <a:pt x="26" y="37"/>
                  <a:pt x="26" y="37"/>
                </a:cubicBezTo>
                <a:cubicBezTo>
                  <a:pt x="25" y="37"/>
                  <a:pt x="25" y="37"/>
                  <a:pt x="25" y="37"/>
                </a:cubicBezTo>
                <a:cubicBezTo>
                  <a:pt x="24" y="37"/>
                  <a:pt x="24" y="37"/>
                  <a:pt x="24" y="37"/>
                </a:cubicBezTo>
                <a:cubicBezTo>
                  <a:pt x="23" y="37"/>
                  <a:pt x="23" y="37"/>
                  <a:pt x="23" y="37"/>
                </a:cubicBezTo>
                <a:cubicBezTo>
                  <a:pt x="23" y="36"/>
                  <a:pt x="23" y="36"/>
                  <a:pt x="23" y="36"/>
                </a:cubicBezTo>
                <a:cubicBezTo>
                  <a:pt x="23" y="36"/>
                  <a:pt x="23" y="36"/>
                  <a:pt x="23" y="36"/>
                </a:cubicBezTo>
                <a:close/>
                <a:moveTo>
                  <a:pt x="31" y="27"/>
                </a:moveTo>
                <a:cubicBezTo>
                  <a:pt x="33" y="27"/>
                  <a:pt x="33" y="27"/>
                  <a:pt x="33" y="27"/>
                </a:cubicBezTo>
                <a:cubicBezTo>
                  <a:pt x="34" y="29"/>
                  <a:pt x="34" y="29"/>
                  <a:pt x="34" y="29"/>
                </a:cubicBezTo>
                <a:cubicBezTo>
                  <a:pt x="36" y="29"/>
                  <a:pt x="36" y="29"/>
                  <a:pt x="36" y="29"/>
                </a:cubicBezTo>
                <a:cubicBezTo>
                  <a:pt x="37" y="30"/>
                  <a:pt x="37" y="30"/>
                  <a:pt x="37" y="30"/>
                </a:cubicBezTo>
                <a:cubicBezTo>
                  <a:pt x="37" y="31"/>
                  <a:pt x="37" y="31"/>
                  <a:pt x="37" y="31"/>
                </a:cubicBezTo>
                <a:cubicBezTo>
                  <a:pt x="37" y="32"/>
                  <a:pt x="37" y="32"/>
                  <a:pt x="37" y="32"/>
                </a:cubicBezTo>
                <a:cubicBezTo>
                  <a:pt x="36" y="32"/>
                  <a:pt x="36" y="32"/>
                  <a:pt x="36" y="32"/>
                </a:cubicBezTo>
                <a:cubicBezTo>
                  <a:pt x="34" y="31"/>
                  <a:pt x="34" y="31"/>
                  <a:pt x="34" y="31"/>
                </a:cubicBezTo>
                <a:cubicBezTo>
                  <a:pt x="32" y="29"/>
                  <a:pt x="32" y="29"/>
                  <a:pt x="32" y="29"/>
                </a:cubicBezTo>
                <a:cubicBezTo>
                  <a:pt x="32" y="28"/>
                  <a:pt x="32" y="28"/>
                  <a:pt x="32" y="28"/>
                </a:cubicBezTo>
                <a:cubicBezTo>
                  <a:pt x="31" y="27"/>
                  <a:pt x="31" y="27"/>
                  <a:pt x="31" y="27"/>
                </a:cubicBezTo>
                <a:close/>
                <a:moveTo>
                  <a:pt x="22" y="20"/>
                </a:moveTo>
                <a:cubicBezTo>
                  <a:pt x="23" y="21"/>
                  <a:pt x="23" y="21"/>
                  <a:pt x="23" y="21"/>
                </a:cubicBezTo>
                <a:cubicBezTo>
                  <a:pt x="25" y="21"/>
                  <a:pt x="25" y="21"/>
                  <a:pt x="25" y="21"/>
                </a:cubicBezTo>
                <a:cubicBezTo>
                  <a:pt x="27" y="22"/>
                  <a:pt x="27" y="22"/>
                  <a:pt x="27" y="22"/>
                </a:cubicBezTo>
                <a:cubicBezTo>
                  <a:pt x="28" y="23"/>
                  <a:pt x="28" y="23"/>
                  <a:pt x="28" y="23"/>
                </a:cubicBezTo>
                <a:cubicBezTo>
                  <a:pt x="28" y="23"/>
                  <a:pt x="28" y="23"/>
                  <a:pt x="28" y="23"/>
                </a:cubicBezTo>
                <a:cubicBezTo>
                  <a:pt x="29" y="24"/>
                  <a:pt x="29" y="24"/>
                  <a:pt x="29" y="24"/>
                </a:cubicBezTo>
                <a:cubicBezTo>
                  <a:pt x="28" y="25"/>
                  <a:pt x="28" y="25"/>
                  <a:pt x="28" y="25"/>
                </a:cubicBezTo>
                <a:cubicBezTo>
                  <a:pt x="27" y="25"/>
                  <a:pt x="27" y="25"/>
                  <a:pt x="27" y="25"/>
                </a:cubicBezTo>
                <a:cubicBezTo>
                  <a:pt x="26" y="24"/>
                  <a:pt x="26" y="24"/>
                  <a:pt x="26" y="24"/>
                </a:cubicBezTo>
                <a:cubicBezTo>
                  <a:pt x="24" y="24"/>
                  <a:pt x="24" y="24"/>
                  <a:pt x="24" y="24"/>
                </a:cubicBezTo>
                <a:cubicBezTo>
                  <a:pt x="23" y="24"/>
                  <a:pt x="23" y="24"/>
                  <a:pt x="23" y="24"/>
                </a:cubicBezTo>
                <a:cubicBezTo>
                  <a:pt x="21" y="22"/>
                  <a:pt x="21" y="22"/>
                  <a:pt x="21" y="22"/>
                </a:cubicBezTo>
                <a:cubicBezTo>
                  <a:pt x="22" y="20"/>
                  <a:pt x="22" y="20"/>
                  <a:pt x="22" y="20"/>
                </a:cubicBezTo>
                <a:cubicBezTo>
                  <a:pt x="22" y="20"/>
                  <a:pt x="22" y="20"/>
                  <a:pt x="22" y="20"/>
                </a:cubicBezTo>
                <a:close/>
                <a:moveTo>
                  <a:pt x="26" y="19"/>
                </a:moveTo>
                <a:cubicBezTo>
                  <a:pt x="25" y="18"/>
                  <a:pt x="25" y="18"/>
                  <a:pt x="25" y="18"/>
                </a:cubicBezTo>
                <a:cubicBezTo>
                  <a:pt x="25" y="19"/>
                  <a:pt x="25" y="19"/>
                  <a:pt x="25" y="19"/>
                </a:cubicBezTo>
                <a:cubicBezTo>
                  <a:pt x="27" y="20"/>
                  <a:pt x="27" y="20"/>
                  <a:pt x="27" y="20"/>
                </a:cubicBezTo>
                <a:cubicBezTo>
                  <a:pt x="26" y="19"/>
                  <a:pt x="26" y="19"/>
                  <a:pt x="26" y="19"/>
                </a:cubicBezTo>
                <a:close/>
                <a:moveTo>
                  <a:pt x="27" y="14"/>
                </a:moveTo>
                <a:cubicBezTo>
                  <a:pt x="27" y="15"/>
                  <a:pt x="27" y="15"/>
                  <a:pt x="27" y="15"/>
                </a:cubicBezTo>
                <a:cubicBezTo>
                  <a:pt x="28" y="15"/>
                  <a:pt x="28" y="15"/>
                  <a:pt x="28" y="15"/>
                </a:cubicBezTo>
                <a:cubicBezTo>
                  <a:pt x="28" y="16"/>
                  <a:pt x="28" y="16"/>
                  <a:pt x="28" y="16"/>
                </a:cubicBezTo>
                <a:cubicBezTo>
                  <a:pt x="29" y="17"/>
                  <a:pt x="29" y="17"/>
                  <a:pt x="29" y="17"/>
                </a:cubicBezTo>
                <a:cubicBezTo>
                  <a:pt x="29" y="19"/>
                  <a:pt x="29" y="19"/>
                  <a:pt x="29" y="19"/>
                </a:cubicBezTo>
                <a:cubicBezTo>
                  <a:pt x="31" y="21"/>
                  <a:pt x="31" y="21"/>
                  <a:pt x="31" y="21"/>
                </a:cubicBezTo>
                <a:cubicBezTo>
                  <a:pt x="32" y="22"/>
                  <a:pt x="32" y="22"/>
                  <a:pt x="32" y="22"/>
                </a:cubicBezTo>
                <a:cubicBezTo>
                  <a:pt x="33" y="23"/>
                  <a:pt x="33" y="23"/>
                  <a:pt x="33" y="23"/>
                </a:cubicBezTo>
                <a:cubicBezTo>
                  <a:pt x="34" y="23"/>
                  <a:pt x="34" y="23"/>
                  <a:pt x="34" y="23"/>
                </a:cubicBezTo>
                <a:cubicBezTo>
                  <a:pt x="34" y="22"/>
                  <a:pt x="34" y="22"/>
                  <a:pt x="34" y="22"/>
                </a:cubicBezTo>
                <a:cubicBezTo>
                  <a:pt x="33" y="20"/>
                  <a:pt x="33" y="20"/>
                  <a:pt x="33" y="20"/>
                </a:cubicBezTo>
                <a:cubicBezTo>
                  <a:pt x="32" y="20"/>
                  <a:pt x="32" y="20"/>
                  <a:pt x="32" y="20"/>
                </a:cubicBezTo>
                <a:cubicBezTo>
                  <a:pt x="31" y="19"/>
                  <a:pt x="31" y="19"/>
                  <a:pt x="31" y="19"/>
                </a:cubicBezTo>
                <a:cubicBezTo>
                  <a:pt x="30" y="17"/>
                  <a:pt x="30" y="17"/>
                  <a:pt x="30" y="17"/>
                </a:cubicBezTo>
                <a:cubicBezTo>
                  <a:pt x="30" y="16"/>
                  <a:pt x="30" y="16"/>
                  <a:pt x="30" y="16"/>
                </a:cubicBezTo>
                <a:cubicBezTo>
                  <a:pt x="29" y="14"/>
                  <a:pt x="29" y="14"/>
                  <a:pt x="29" y="14"/>
                </a:cubicBezTo>
                <a:cubicBezTo>
                  <a:pt x="27" y="14"/>
                  <a:pt x="27" y="14"/>
                  <a:pt x="27" y="14"/>
                </a:cubicBezTo>
                <a:close/>
                <a:moveTo>
                  <a:pt x="14" y="9"/>
                </a:moveTo>
                <a:cubicBezTo>
                  <a:pt x="17" y="9"/>
                  <a:pt x="17" y="9"/>
                  <a:pt x="17" y="9"/>
                </a:cubicBezTo>
                <a:cubicBezTo>
                  <a:pt x="18" y="10"/>
                  <a:pt x="18" y="10"/>
                  <a:pt x="18" y="10"/>
                </a:cubicBezTo>
                <a:cubicBezTo>
                  <a:pt x="20" y="11"/>
                  <a:pt x="20" y="11"/>
                  <a:pt x="20" y="11"/>
                </a:cubicBezTo>
                <a:cubicBezTo>
                  <a:pt x="23" y="14"/>
                  <a:pt x="23" y="14"/>
                  <a:pt x="23" y="14"/>
                </a:cubicBezTo>
                <a:cubicBezTo>
                  <a:pt x="22" y="14"/>
                  <a:pt x="22" y="14"/>
                  <a:pt x="22" y="14"/>
                </a:cubicBezTo>
                <a:cubicBezTo>
                  <a:pt x="22" y="15"/>
                  <a:pt x="22" y="15"/>
                  <a:pt x="22" y="15"/>
                </a:cubicBezTo>
                <a:cubicBezTo>
                  <a:pt x="22" y="15"/>
                  <a:pt x="22" y="15"/>
                  <a:pt x="22" y="15"/>
                </a:cubicBezTo>
                <a:cubicBezTo>
                  <a:pt x="21" y="15"/>
                  <a:pt x="21" y="15"/>
                  <a:pt x="21" y="15"/>
                </a:cubicBezTo>
                <a:cubicBezTo>
                  <a:pt x="21" y="14"/>
                  <a:pt x="21" y="14"/>
                  <a:pt x="21" y="14"/>
                </a:cubicBezTo>
                <a:cubicBezTo>
                  <a:pt x="20" y="14"/>
                  <a:pt x="20" y="14"/>
                  <a:pt x="20" y="14"/>
                </a:cubicBezTo>
                <a:cubicBezTo>
                  <a:pt x="19" y="13"/>
                  <a:pt x="19" y="13"/>
                  <a:pt x="19" y="13"/>
                </a:cubicBezTo>
                <a:cubicBezTo>
                  <a:pt x="16" y="10"/>
                  <a:pt x="16" y="10"/>
                  <a:pt x="16" y="10"/>
                </a:cubicBezTo>
                <a:cubicBezTo>
                  <a:pt x="16" y="10"/>
                  <a:pt x="14" y="9"/>
                  <a:pt x="14" y="9"/>
                </a:cubicBezTo>
                <a:close/>
                <a:moveTo>
                  <a:pt x="11" y="16"/>
                </a:moveTo>
                <a:cubicBezTo>
                  <a:pt x="12" y="16"/>
                  <a:pt x="12" y="16"/>
                  <a:pt x="12" y="16"/>
                </a:cubicBezTo>
                <a:cubicBezTo>
                  <a:pt x="12" y="17"/>
                  <a:pt x="12" y="17"/>
                  <a:pt x="12" y="17"/>
                </a:cubicBezTo>
                <a:cubicBezTo>
                  <a:pt x="11" y="17"/>
                  <a:pt x="11" y="17"/>
                  <a:pt x="11" y="17"/>
                </a:cubicBezTo>
                <a:cubicBezTo>
                  <a:pt x="11" y="16"/>
                  <a:pt x="11" y="16"/>
                  <a:pt x="11" y="16"/>
                </a:cubicBezTo>
                <a:cubicBezTo>
                  <a:pt x="11" y="16"/>
                  <a:pt x="11" y="16"/>
                  <a:pt x="11" y="16"/>
                </a:cubicBezTo>
                <a:close/>
                <a:moveTo>
                  <a:pt x="7" y="15"/>
                </a:moveTo>
                <a:cubicBezTo>
                  <a:pt x="7" y="15"/>
                  <a:pt x="7" y="15"/>
                  <a:pt x="7" y="15"/>
                </a:cubicBezTo>
                <a:cubicBezTo>
                  <a:pt x="8" y="15"/>
                  <a:pt x="8" y="15"/>
                  <a:pt x="8" y="15"/>
                </a:cubicBezTo>
                <a:cubicBezTo>
                  <a:pt x="8" y="16"/>
                  <a:pt x="8" y="16"/>
                  <a:pt x="8" y="16"/>
                </a:cubicBezTo>
                <a:cubicBezTo>
                  <a:pt x="7" y="15"/>
                  <a:pt x="7" y="15"/>
                  <a:pt x="7" y="15"/>
                </a:cubicBezTo>
                <a:close/>
                <a:moveTo>
                  <a:pt x="7" y="14"/>
                </a:moveTo>
                <a:cubicBezTo>
                  <a:pt x="8" y="14"/>
                  <a:pt x="8" y="14"/>
                  <a:pt x="8" y="14"/>
                </a:cubicBezTo>
                <a:cubicBezTo>
                  <a:pt x="9" y="14"/>
                  <a:pt x="9" y="14"/>
                  <a:pt x="9" y="14"/>
                </a:cubicBezTo>
                <a:cubicBezTo>
                  <a:pt x="9" y="15"/>
                  <a:pt x="9" y="15"/>
                  <a:pt x="9" y="15"/>
                </a:cubicBezTo>
                <a:cubicBezTo>
                  <a:pt x="10" y="15"/>
                  <a:pt x="10" y="15"/>
                  <a:pt x="10" y="15"/>
                </a:cubicBezTo>
                <a:cubicBezTo>
                  <a:pt x="10" y="15"/>
                  <a:pt x="10" y="15"/>
                  <a:pt x="10" y="15"/>
                </a:cubicBezTo>
                <a:cubicBezTo>
                  <a:pt x="11" y="14"/>
                  <a:pt x="11" y="14"/>
                  <a:pt x="11" y="14"/>
                </a:cubicBezTo>
                <a:cubicBezTo>
                  <a:pt x="10" y="13"/>
                  <a:pt x="10" y="13"/>
                  <a:pt x="10" y="13"/>
                </a:cubicBezTo>
                <a:cubicBezTo>
                  <a:pt x="9" y="13"/>
                  <a:pt x="9" y="13"/>
                  <a:pt x="9" y="13"/>
                </a:cubicBezTo>
                <a:cubicBezTo>
                  <a:pt x="9" y="12"/>
                  <a:pt x="9" y="12"/>
                  <a:pt x="9" y="12"/>
                </a:cubicBezTo>
                <a:cubicBezTo>
                  <a:pt x="8" y="11"/>
                  <a:pt x="8" y="11"/>
                  <a:pt x="8" y="11"/>
                </a:cubicBezTo>
                <a:cubicBezTo>
                  <a:pt x="7" y="12"/>
                  <a:pt x="7" y="12"/>
                  <a:pt x="7" y="12"/>
                </a:cubicBezTo>
                <a:cubicBezTo>
                  <a:pt x="7" y="14"/>
                  <a:pt x="7" y="14"/>
                  <a:pt x="7" y="14"/>
                </a:cubicBezTo>
                <a:close/>
                <a:moveTo>
                  <a:pt x="5" y="11"/>
                </a:moveTo>
                <a:cubicBezTo>
                  <a:pt x="6" y="11"/>
                  <a:pt x="6" y="11"/>
                  <a:pt x="6" y="11"/>
                </a:cubicBezTo>
                <a:cubicBezTo>
                  <a:pt x="7" y="11"/>
                  <a:pt x="7" y="11"/>
                  <a:pt x="7" y="11"/>
                </a:cubicBezTo>
                <a:cubicBezTo>
                  <a:pt x="7" y="12"/>
                  <a:pt x="7" y="12"/>
                  <a:pt x="7" y="12"/>
                </a:cubicBezTo>
                <a:cubicBezTo>
                  <a:pt x="6" y="12"/>
                  <a:pt x="6" y="12"/>
                  <a:pt x="6" y="12"/>
                </a:cubicBezTo>
                <a:cubicBezTo>
                  <a:pt x="5" y="12"/>
                  <a:pt x="5" y="12"/>
                  <a:pt x="5" y="12"/>
                </a:cubicBezTo>
                <a:cubicBezTo>
                  <a:pt x="5" y="12"/>
                  <a:pt x="5" y="11"/>
                  <a:pt x="5" y="11"/>
                </a:cubicBezTo>
                <a:close/>
                <a:moveTo>
                  <a:pt x="3" y="9"/>
                </a:moveTo>
                <a:cubicBezTo>
                  <a:pt x="4" y="10"/>
                  <a:pt x="4" y="10"/>
                  <a:pt x="4" y="10"/>
                </a:cubicBezTo>
                <a:cubicBezTo>
                  <a:pt x="4" y="11"/>
                  <a:pt x="4" y="11"/>
                  <a:pt x="4" y="11"/>
                </a:cubicBezTo>
                <a:cubicBezTo>
                  <a:pt x="3" y="11"/>
                  <a:pt x="3" y="11"/>
                  <a:pt x="3" y="11"/>
                </a:cubicBezTo>
                <a:cubicBezTo>
                  <a:pt x="3" y="11"/>
                  <a:pt x="3" y="11"/>
                  <a:pt x="3" y="11"/>
                </a:cubicBezTo>
                <a:cubicBezTo>
                  <a:pt x="3" y="10"/>
                  <a:pt x="3" y="10"/>
                  <a:pt x="3" y="10"/>
                </a:cubicBezTo>
                <a:cubicBezTo>
                  <a:pt x="3" y="9"/>
                  <a:pt x="3" y="9"/>
                  <a:pt x="3" y="9"/>
                </a:cubicBezTo>
                <a:close/>
                <a:moveTo>
                  <a:pt x="3" y="0"/>
                </a:moveTo>
                <a:cubicBezTo>
                  <a:pt x="1" y="2"/>
                  <a:pt x="1" y="2"/>
                  <a:pt x="1" y="2"/>
                </a:cubicBezTo>
                <a:cubicBezTo>
                  <a:pt x="3" y="1"/>
                  <a:pt x="3" y="1"/>
                  <a:pt x="3" y="1"/>
                </a:cubicBezTo>
                <a:cubicBezTo>
                  <a:pt x="3" y="0"/>
                  <a:pt x="3" y="0"/>
                  <a:pt x="3" y="0"/>
                </a:cubicBezTo>
                <a:close/>
                <a:moveTo>
                  <a:pt x="3" y="2"/>
                </a:moveTo>
                <a:cubicBezTo>
                  <a:pt x="2" y="3"/>
                  <a:pt x="2" y="3"/>
                  <a:pt x="2" y="3"/>
                </a:cubicBezTo>
                <a:cubicBezTo>
                  <a:pt x="3" y="5"/>
                  <a:pt x="3" y="5"/>
                  <a:pt x="3" y="5"/>
                </a:cubicBezTo>
                <a:cubicBezTo>
                  <a:pt x="5" y="6"/>
                  <a:pt x="5" y="6"/>
                  <a:pt x="5" y="6"/>
                </a:cubicBezTo>
                <a:cubicBezTo>
                  <a:pt x="6" y="7"/>
                  <a:pt x="6" y="7"/>
                  <a:pt x="6" y="7"/>
                </a:cubicBezTo>
                <a:cubicBezTo>
                  <a:pt x="8" y="8"/>
                  <a:pt x="8" y="8"/>
                  <a:pt x="8" y="8"/>
                </a:cubicBezTo>
                <a:cubicBezTo>
                  <a:pt x="9" y="8"/>
                  <a:pt x="9" y="8"/>
                  <a:pt x="9" y="8"/>
                </a:cubicBezTo>
                <a:cubicBezTo>
                  <a:pt x="9" y="7"/>
                  <a:pt x="9" y="7"/>
                  <a:pt x="9" y="7"/>
                </a:cubicBezTo>
                <a:cubicBezTo>
                  <a:pt x="8" y="6"/>
                  <a:pt x="8" y="6"/>
                  <a:pt x="8" y="6"/>
                </a:cubicBezTo>
                <a:cubicBezTo>
                  <a:pt x="7" y="5"/>
                  <a:pt x="7" y="5"/>
                  <a:pt x="7" y="5"/>
                </a:cubicBezTo>
                <a:cubicBezTo>
                  <a:pt x="7" y="4"/>
                  <a:pt x="7" y="4"/>
                  <a:pt x="7" y="4"/>
                </a:cubicBezTo>
                <a:cubicBezTo>
                  <a:pt x="6" y="4"/>
                  <a:pt x="6" y="4"/>
                  <a:pt x="6" y="4"/>
                </a:cubicBezTo>
                <a:cubicBezTo>
                  <a:pt x="4" y="4"/>
                  <a:pt x="4" y="4"/>
                  <a:pt x="4" y="4"/>
                </a:cubicBezTo>
                <a:cubicBezTo>
                  <a:pt x="3" y="2"/>
                  <a:pt x="3" y="2"/>
                  <a:pt x="3" y="2"/>
                </a:cubicBezTo>
                <a:cubicBezTo>
                  <a:pt x="3" y="2"/>
                  <a:pt x="3" y="2"/>
                  <a:pt x="3" y="2"/>
                </a:cubicBezTo>
                <a:close/>
                <a:moveTo>
                  <a:pt x="0" y="4"/>
                </a:moveTo>
                <a:cubicBezTo>
                  <a:pt x="0" y="4"/>
                  <a:pt x="0" y="4"/>
                  <a:pt x="0" y="4"/>
                </a:cubicBezTo>
                <a:cubicBezTo>
                  <a:pt x="0" y="5"/>
                  <a:pt x="0" y="5"/>
                  <a:pt x="0" y="5"/>
                </a:cubicBezTo>
                <a:lnTo>
                  <a:pt x="0" y="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5" name="Freeform 23">
            <a:extLst>
              <a:ext uri="{FF2B5EF4-FFF2-40B4-BE49-F238E27FC236}">
                <a16:creationId xmlns:a16="http://schemas.microsoft.com/office/drawing/2014/main" id="{1E796FBD-548D-43BF-1AC7-9B8F89690705}"/>
              </a:ext>
            </a:extLst>
          </p:cNvPr>
          <p:cNvSpPr>
            <a:spLocks noEditPoints="1"/>
          </p:cNvSpPr>
          <p:nvPr userDrawn="1"/>
        </p:nvSpPr>
        <p:spPr bwMode="auto">
          <a:xfrm>
            <a:off x="21991790" y="9467135"/>
            <a:ext cx="942915" cy="695326"/>
          </a:xfrm>
          <a:custGeom>
            <a:avLst/>
            <a:gdLst>
              <a:gd name="T0" fmla="*/ 76 w 95"/>
              <a:gd name="T1" fmla="*/ 68 h 70"/>
              <a:gd name="T2" fmla="*/ 76 w 95"/>
              <a:gd name="T3" fmla="*/ 68 h 70"/>
              <a:gd name="T4" fmla="*/ 40 w 95"/>
              <a:gd name="T5" fmla="*/ 7 h 70"/>
              <a:gd name="T6" fmla="*/ 90 w 95"/>
              <a:gd name="T7" fmla="*/ 31 h 70"/>
              <a:gd name="T8" fmla="*/ 91 w 95"/>
              <a:gd name="T9" fmla="*/ 37 h 70"/>
              <a:gd name="T10" fmla="*/ 88 w 95"/>
              <a:gd name="T11" fmla="*/ 28 h 70"/>
              <a:gd name="T12" fmla="*/ 84 w 95"/>
              <a:gd name="T13" fmla="*/ 22 h 70"/>
              <a:gd name="T14" fmla="*/ 66 w 95"/>
              <a:gd name="T15" fmla="*/ 11 h 70"/>
              <a:gd name="T16" fmla="*/ 77 w 95"/>
              <a:gd name="T17" fmla="*/ 20 h 70"/>
              <a:gd name="T18" fmla="*/ 74 w 95"/>
              <a:gd name="T19" fmla="*/ 17 h 70"/>
              <a:gd name="T20" fmla="*/ 56 w 95"/>
              <a:gd name="T21" fmla="*/ 0 h 70"/>
              <a:gd name="T22" fmla="*/ 61 w 95"/>
              <a:gd name="T23" fmla="*/ 11 h 70"/>
              <a:gd name="T24" fmla="*/ 58 w 95"/>
              <a:gd name="T25" fmla="*/ 24 h 70"/>
              <a:gd name="T26" fmla="*/ 52 w 95"/>
              <a:gd name="T27" fmla="*/ 33 h 70"/>
              <a:gd name="T28" fmla="*/ 63 w 95"/>
              <a:gd name="T29" fmla="*/ 34 h 70"/>
              <a:gd name="T30" fmla="*/ 71 w 95"/>
              <a:gd name="T31" fmla="*/ 29 h 70"/>
              <a:gd name="T32" fmla="*/ 72 w 95"/>
              <a:gd name="T33" fmla="*/ 20 h 70"/>
              <a:gd name="T34" fmla="*/ 68 w 95"/>
              <a:gd name="T35" fmla="*/ 25 h 70"/>
              <a:gd name="T36" fmla="*/ 60 w 95"/>
              <a:gd name="T37" fmla="*/ 28 h 70"/>
              <a:gd name="T38" fmla="*/ 56 w 95"/>
              <a:gd name="T39" fmla="*/ 28 h 70"/>
              <a:gd name="T40" fmla="*/ 43 w 95"/>
              <a:gd name="T41" fmla="*/ 29 h 70"/>
              <a:gd name="T42" fmla="*/ 39 w 95"/>
              <a:gd name="T43" fmla="*/ 28 h 70"/>
              <a:gd name="T44" fmla="*/ 33 w 95"/>
              <a:gd name="T45" fmla="*/ 23 h 70"/>
              <a:gd name="T46" fmla="*/ 73 w 95"/>
              <a:gd name="T47" fmla="*/ 51 h 70"/>
              <a:gd name="T48" fmla="*/ 65 w 95"/>
              <a:gd name="T49" fmla="*/ 49 h 70"/>
              <a:gd name="T50" fmla="*/ 63 w 95"/>
              <a:gd name="T51" fmla="*/ 58 h 70"/>
              <a:gd name="T52" fmla="*/ 62 w 95"/>
              <a:gd name="T53" fmla="*/ 58 h 70"/>
              <a:gd name="T54" fmla="*/ 62 w 95"/>
              <a:gd name="T55" fmla="*/ 56 h 70"/>
              <a:gd name="T56" fmla="*/ 60 w 95"/>
              <a:gd name="T57" fmla="*/ 54 h 70"/>
              <a:gd name="T58" fmla="*/ 59 w 95"/>
              <a:gd name="T59" fmla="*/ 53 h 70"/>
              <a:gd name="T60" fmla="*/ 23 w 95"/>
              <a:gd name="T61" fmla="*/ 43 h 70"/>
              <a:gd name="T62" fmla="*/ 23 w 95"/>
              <a:gd name="T63" fmla="*/ 43 h 70"/>
              <a:gd name="T64" fmla="*/ 19 w 95"/>
              <a:gd name="T65" fmla="*/ 44 h 70"/>
              <a:gd name="T66" fmla="*/ 16 w 95"/>
              <a:gd name="T67" fmla="*/ 49 h 70"/>
              <a:gd name="T68" fmla="*/ 14 w 95"/>
              <a:gd name="T69" fmla="*/ 49 h 70"/>
              <a:gd name="T70" fmla="*/ 16 w 95"/>
              <a:gd name="T71" fmla="*/ 46 h 70"/>
              <a:gd name="T72" fmla="*/ 1 w 95"/>
              <a:gd name="T73" fmla="*/ 10 h 70"/>
              <a:gd name="T74" fmla="*/ 4 w 95"/>
              <a:gd name="T75" fmla="*/ 52 h 70"/>
              <a:gd name="T76" fmla="*/ 14 w 95"/>
              <a:gd name="T77" fmla="*/ 52 h 70"/>
              <a:gd name="T78" fmla="*/ 8 w 95"/>
              <a:gd name="T79" fmla="*/ 47 h 70"/>
              <a:gd name="T80" fmla="*/ 4 w 95"/>
              <a:gd name="T81" fmla="*/ 42 h 70"/>
              <a:gd name="T82" fmla="*/ 10 w 95"/>
              <a:gd name="T83" fmla="*/ 48 h 70"/>
              <a:gd name="T84" fmla="*/ 15 w 95"/>
              <a:gd name="T85" fmla="*/ 45 h 70"/>
              <a:gd name="T86" fmla="*/ 17 w 95"/>
              <a:gd name="T87" fmla="*/ 44 h 70"/>
              <a:gd name="T88" fmla="*/ 19 w 95"/>
              <a:gd name="T89" fmla="*/ 43 h 70"/>
              <a:gd name="T90" fmla="*/ 21 w 95"/>
              <a:gd name="T91" fmla="*/ 42 h 70"/>
              <a:gd name="T92" fmla="*/ 26 w 95"/>
              <a:gd name="T93" fmla="*/ 42 h 70"/>
              <a:gd name="T94" fmla="*/ 34 w 95"/>
              <a:gd name="T95" fmla="*/ 49 h 70"/>
              <a:gd name="T96" fmla="*/ 42 w 95"/>
              <a:gd name="T97" fmla="*/ 59 h 70"/>
              <a:gd name="T98" fmla="*/ 52 w 95"/>
              <a:gd name="T99" fmla="*/ 60 h 70"/>
              <a:gd name="T100" fmla="*/ 58 w 95"/>
              <a:gd name="T101" fmla="*/ 63 h 70"/>
              <a:gd name="T102" fmla="*/ 61 w 95"/>
              <a:gd name="T103" fmla="*/ 60 h 70"/>
              <a:gd name="T104" fmla="*/ 56 w 95"/>
              <a:gd name="T105" fmla="*/ 56 h 70"/>
              <a:gd name="T106" fmla="*/ 51 w 95"/>
              <a:gd name="T107" fmla="*/ 52 h 70"/>
              <a:gd name="T108" fmla="*/ 45 w 95"/>
              <a:gd name="T109" fmla="*/ 45 h 70"/>
              <a:gd name="T110" fmla="*/ 38 w 95"/>
              <a:gd name="T111" fmla="*/ 38 h 70"/>
              <a:gd name="T112" fmla="*/ 40 w 95"/>
              <a:gd name="T113" fmla="*/ 32 h 70"/>
              <a:gd name="T114" fmla="*/ 31 w 95"/>
              <a:gd name="T115" fmla="*/ 25 h 70"/>
              <a:gd name="T116" fmla="*/ 24 w 95"/>
              <a:gd name="T117" fmla="*/ 19 h 70"/>
              <a:gd name="T118" fmla="*/ 12 w 95"/>
              <a:gd name="T119" fmla="*/ 14 h 70"/>
              <a:gd name="T120" fmla="*/ 2 w 95"/>
              <a:gd name="T121" fmla="*/ 1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 h="70">
                <a:moveTo>
                  <a:pt x="81" y="68"/>
                </a:moveTo>
                <a:cubicBezTo>
                  <a:pt x="82" y="67"/>
                  <a:pt x="82" y="67"/>
                  <a:pt x="82" y="67"/>
                </a:cubicBezTo>
                <a:cubicBezTo>
                  <a:pt x="83" y="67"/>
                  <a:pt x="83" y="67"/>
                  <a:pt x="83" y="67"/>
                </a:cubicBezTo>
                <a:cubicBezTo>
                  <a:pt x="83" y="68"/>
                  <a:pt x="83" y="68"/>
                  <a:pt x="83" y="68"/>
                </a:cubicBezTo>
                <a:cubicBezTo>
                  <a:pt x="82" y="68"/>
                  <a:pt x="82" y="68"/>
                  <a:pt x="82" y="68"/>
                </a:cubicBezTo>
                <a:cubicBezTo>
                  <a:pt x="81" y="68"/>
                  <a:pt x="81" y="68"/>
                  <a:pt x="81" y="68"/>
                </a:cubicBezTo>
                <a:cubicBezTo>
                  <a:pt x="81" y="68"/>
                  <a:pt x="81" y="68"/>
                  <a:pt x="81" y="68"/>
                </a:cubicBezTo>
                <a:close/>
                <a:moveTo>
                  <a:pt x="76" y="68"/>
                </a:moveTo>
                <a:cubicBezTo>
                  <a:pt x="78" y="69"/>
                  <a:pt x="78" y="69"/>
                  <a:pt x="78" y="69"/>
                </a:cubicBezTo>
                <a:cubicBezTo>
                  <a:pt x="78" y="69"/>
                  <a:pt x="78" y="69"/>
                  <a:pt x="78" y="69"/>
                </a:cubicBezTo>
                <a:cubicBezTo>
                  <a:pt x="79" y="70"/>
                  <a:pt x="79" y="70"/>
                  <a:pt x="79" y="70"/>
                </a:cubicBezTo>
                <a:cubicBezTo>
                  <a:pt x="80" y="69"/>
                  <a:pt x="80" y="69"/>
                  <a:pt x="80" y="69"/>
                </a:cubicBezTo>
                <a:cubicBezTo>
                  <a:pt x="79" y="69"/>
                  <a:pt x="79" y="69"/>
                  <a:pt x="79" y="69"/>
                </a:cubicBezTo>
                <a:cubicBezTo>
                  <a:pt x="78" y="69"/>
                  <a:pt x="78" y="69"/>
                  <a:pt x="78" y="69"/>
                </a:cubicBezTo>
                <a:cubicBezTo>
                  <a:pt x="77" y="68"/>
                  <a:pt x="77" y="68"/>
                  <a:pt x="77" y="68"/>
                </a:cubicBezTo>
                <a:cubicBezTo>
                  <a:pt x="76" y="68"/>
                  <a:pt x="76" y="68"/>
                  <a:pt x="76" y="68"/>
                </a:cubicBezTo>
                <a:close/>
                <a:moveTo>
                  <a:pt x="37" y="6"/>
                </a:moveTo>
                <a:cubicBezTo>
                  <a:pt x="37" y="5"/>
                  <a:pt x="37" y="5"/>
                  <a:pt x="37" y="5"/>
                </a:cubicBezTo>
                <a:cubicBezTo>
                  <a:pt x="38" y="5"/>
                  <a:pt x="38" y="5"/>
                  <a:pt x="38" y="5"/>
                </a:cubicBezTo>
                <a:cubicBezTo>
                  <a:pt x="39" y="5"/>
                  <a:pt x="39" y="5"/>
                  <a:pt x="39" y="5"/>
                </a:cubicBezTo>
                <a:cubicBezTo>
                  <a:pt x="40" y="6"/>
                  <a:pt x="40" y="6"/>
                  <a:pt x="40" y="6"/>
                </a:cubicBezTo>
                <a:cubicBezTo>
                  <a:pt x="41" y="5"/>
                  <a:pt x="41" y="5"/>
                  <a:pt x="41" y="5"/>
                </a:cubicBezTo>
                <a:cubicBezTo>
                  <a:pt x="41" y="6"/>
                  <a:pt x="41" y="6"/>
                  <a:pt x="41" y="6"/>
                </a:cubicBezTo>
                <a:cubicBezTo>
                  <a:pt x="40" y="7"/>
                  <a:pt x="40" y="7"/>
                  <a:pt x="40" y="7"/>
                </a:cubicBezTo>
                <a:cubicBezTo>
                  <a:pt x="39" y="7"/>
                  <a:pt x="39" y="7"/>
                  <a:pt x="39" y="7"/>
                </a:cubicBezTo>
                <a:cubicBezTo>
                  <a:pt x="38" y="7"/>
                  <a:pt x="38" y="7"/>
                  <a:pt x="38" y="7"/>
                </a:cubicBezTo>
                <a:cubicBezTo>
                  <a:pt x="37" y="7"/>
                  <a:pt x="37" y="7"/>
                  <a:pt x="37" y="7"/>
                </a:cubicBezTo>
                <a:cubicBezTo>
                  <a:pt x="37" y="7"/>
                  <a:pt x="37" y="6"/>
                  <a:pt x="37" y="6"/>
                </a:cubicBezTo>
                <a:close/>
                <a:moveTo>
                  <a:pt x="88" y="28"/>
                </a:moveTo>
                <a:cubicBezTo>
                  <a:pt x="89" y="28"/>
                  <a:pt x="89" y="28"/>
                  <a:pt x="89" y="28"/>
                </a:cubicBezTo>
                <a:cubicBezTo>
                  <a:pt x="90" y="29"/>
                  <a:pt x="90" y="29"/>
                  <a:pt x="90" y="29"/>
                </a:cubicBezTo>
                <a:cubicBezTo>
                  <a:pt x="90" y="31"/>
                  <a:pt x="90" y="31"/>
                  <a:pt x="90" y="31"/>
                </a:cubicBezTo>
                <a:cubicBezTo>
                  <a:pt x="92" y="31"/>
                  <a:pt x="92" y="31"/>
                  <a:pt x="92" y="31"/>
                </a:cubicBezTo>
                <a:cubicBezTo>
                  <a:pt x="94" y="33"/>
                  <a:pt x="94" y="33"/>
                  <a:pt x="94" y="33"/>
                </a:cubicBezTo>
                <a:cubicBezTo>
                  <a:pt x="95" y="34"/>
                  <a:pt x="95" y="34"/>
                  <a:pt x="95" y="34"/>
                </a:cubicBezTo>
                <a:cubicBezTo>
                  <a:pt x="95" y="36"/>
                  <a:pt x="95" y="36"/>
                  <a:pt x="95" y="36"/>
                </a:cubicBezTo>
                <a:cubicBezTo>
                  <a:pt x="94" y="36"/>
                  <a:pt x="94" y="36"/>
                  <a:pt x="94" y="36"/>
                </a:cubicBezTo>
                <a:cubicBezTo>
                  <a:pt x="94" y="37"/>
                  <a:pt x="94" y="37"/>
                  <a:pt x="94" y="37"/>
                </a:cubicBezTo>
                <a:cubicBezTo>
                  <a:pt x="92" y="37"/>
                  <a:pt x="92" y="37"/>
                  <a:pt x="92" y="37"/>
                </a:cubicBezTo>
                <a:cubicBezTo>
                  <a:pt x="91" y="37"/>
                  <a:pt x="91" y="37"/>
                  <a:pt x="91" y="37"/>
                </a:cubicBezTo>
                <a:cubicBezTo>
                  <a:pt x="90" y="37"/>
                  <a:pt x="90" y="37"/>
                  <a:pt x="90" y="37"/>
                </a:cubicBezTo>
                <a:cubicBezTo>
                  <a:pt x="90" y="36"/>
                  <a:pt x="90" y="36"/>
                  <a:pt x="90" y="36"/>
                </a:cubicBezTo>
                <a:cubicBezTo>
                  <a:pt x="90" y="35"/>
                  <a:pt x="90" y="35"/>
                  <a:pt x="90" y="35"/>
                </a:cubicBezTo>
                <a:cubicBezTo>
                  <a:pt x="89" y="33"/>
                  <a:pt x="89" y="33"/>
                  <a:pt x="89" y="33"/>
                </a:cubicBezTo>
                <a:cubicBezTo>
                  <a:pt x="88" y="32"/>
                  <a:pt x="88" y="32"/>
                  <a:pt x="88" y="32"/>
                </a:cubicBezTo>
                <a:cubicBezTo>
                  <a:pt x="88" y="30"/>
                  <a:pt x="88" y="30"/>
                  <a:pt x="88" y="30"/>
                </a:cubicBezTo>
                <a:cubicBezTo>
                  <a:pt x="87" y="29"/>
                  <a:pt x="87" y="29"/>
                  <a:pt x="87" y="29"/>
                </a:cubicBezTo>
                <a:cubicBezTo>
                  <a:pt x="88" y="28"/>
                  <a:pt x="88" y="28"/>
                  <a:pt x="88" y="28"/>
                </a:cubicBezTo>
                <a:close/>
                <a:moveTo>
                  <a:pt x="86" y="25"/>
                </a:moveTo>
                <a:cubicBezTo>
                  <a:pt x="86" y="26"/>
                  <a:pt x="86" y="26"/>
                  <a:pt x="86" y="26"/>
                </a:cubicBezTo>
                <a:cubicBezTo>
                  <a:pt x="87" y="27"/>
                  <a:pt x="87" y="27"/>
                  <a:pt x="87" y="27"/>
                </a:cubicBezTo>
                <a:cubicBezTo>
                  <a:pt x="87" y="28"/>
                  <a:pt x="87" y="28"/>
                  <a:pt x="87" y="28"/>
                </a:cubicBezTo>
                <a:cubicBezTo>
                  <a:pt x="87" y="27"/>
                  <a:pt x="87" y="27"/>
                  <a:pt x="87" y="27"/>
                </a:cubicBezTo>
                <a:cubicBezTo>
                  <a:pt x="87" y="25"/>
                  <a:pt x="87" y="25"/>
                  <a:pt x="87" y="25"/>
                </a:cubicBezTo>
                <a:cubicBezTo>
                  <a:pt x="86" y="25"/>
                  <a:pt x="86" y="25"/>
                  <a:pt x="86" y="25"/>
                </a:cubicBezTo>
                <a:close/>
                <a:moveTo>
                  <a:pt x="84" y="22"/>
                </a:moveTo>
                <a:cubicBezTo>
                  <a:pt x="85" y="22"/>
                  <a:pt x="85" y="22"/>
                  <a:pt x="85" y="22"/>
                </a:cubicBezTo>
                <a:cubicBezTo>
                  <a:pt x="85" y="21"/>
                  <a:pt x="85" y="21"/>
                  <a:pt x="85" y="21"/>
                </a:cubicBezTo>
                <a:cubicBezTo>
                  <a:pt x="86" y="22"/>
                  <a:pt x="86" y="22"/>
                  <a:pt x="86" y="22"/>
                </a:cubicBezTo>
                <a:cubicBezTo>
                  <a:pt x="85" y="23"/>
                  <a:pt x="85" y="23"/>
                  <a:pt x="85" y="23"/>
                </a:cubicBezTo>
                <a:cubicBezTo>
                  <a:pt x="84" y="23"/>
                  <a:pt x="84" y="23"/>
                  <a:pt x="84" y="23"/>
                </a:cubicBezTo>
                <a:cubicBezTo>
                  <a:pt x="84" y="22"/>
                  <a:pt x="84" y="22"/>
                  <a:pt x="84" y="22"/>
                </a:cubicBezTo>
                <a:close/>
                <a:moveTo>
                  <a:pt x="63" y="10"/>
                </a:moveTo>
                <a:cubicBezTo>
                  <a:pt x="66" y="11"/>
                  <a:pt x="66" y="11"/>
                  <a:pt x="66" y="11"/>
                </a:cubicBezTo>
                <a:cubicBezTo>
                  <a:pt x="68" y="12"/>
                  <a:pt x="68" y="12"/>
                  <a:pt x="68" y="12"/>
                </a:cubicBezTo>
                <a:cubicBezTo>
                  <a:pt x="70" y="14"/>
                  <a:pt x="70" y="14"/>
                  <a:pt x="70" y="14"/>
                </a:cubicBezTo>
                <a:cubicBezTo>
                  <a:pt x="72" y="14"/>
                  <a:pt x="72" y="14"/>
                  <a:pt x="72" y="14"/>
                </a:cubicBezTo>
                <a:cubicBezTo>
                  <a:pt x="73" y="15"/>
                  <a:pt x="73" y="15"/>
                  <a:pt x="73" y="15"/>
                </a:cubicBezTo>
                <a:cubicBezTo>
                  <a:pt x="74" y="16"/>
                  <a:pt x="74" y="16"/>
                  <a:pt x="74" y="16"/>
                </a:cubicBezTo>
                <a:cubicBezTo>
                  <a:pt x="75" y="18"/>
                  <a:pt x="75" y="18"/>
                  <a:pt x="75" y="18"/>
                </a:cubicBezTo>
                <a:cubicBezTo>
                  <a:pt x="76" y="18"/>
                  <a:pt x="76" y="18"/>
                  <a:pt x="76" y="18"/>
                </a:cubicBezTo>
                <a:cubicBezTo>
                  <a:pt x="77" y="20"/>
                  <a:pt x="77" y="20"/>
                  <a:pt x="77" y="20"/>
                </a:cubicBezTo>
                <a:cubicBezTo>
                  <a:pt x="78" y="21"/>
                  <a:pt x="78" y="21"/>
                  <a:pt x="78" y="21"/>
                </a:cubicBezTo>
                <a:cubicBezTo>
                  <a:pt x="78" y="22"/>
                  <a:pt x="78" y="22"/>
                  <a:pt x="78" y="22"/>
                </a:cubicBezTo>
                <a:cubicBezTo>
                  <a:pt x="77" y="23"/>
                  <a:pt x="77" y="23"/>
                  <a:pt x="77" y="23"/>
                </a:cubicBezTo>
                <a:cubicBezTo>
                  <a:pt x="77" y="24"/>
                  <a:pt x="77" y="24"/>
                  <a:pt x="77" y="24"/>
                </a:cubicBezTo>
                <a:cubicBezTo>
                  <a:pt x="75" y="23"/>
                  <a:pt x="75" y="23"/>
                  <a:pt x="75" y="23"/>
                </a:cubicBezTo>
                <a:cubicBezTo>
                  <a:pt x="75" y="22"/>
                  <a:pt x="75" y="22"/>
                  <a:pt x="75" y="22"/>
                </a:cubicBezTo>
                <a:cubicBezTo>
                  <a:pt x="75" y="21"/>
                  <a:pt x="75" y="21"/>
                  <a:pt x="75" y="21"/>
                </a:cubicBezTo>
                <a:cubicBezTo>
                  <a:pt x="74" y="17"/>
                  <a:pt x="74" y="17"/>
                  <a:pt x="74" y="17"/>
                </a:cubicBezTo>
                <a:cubicBezTo>
                  <a:pt x="72" y="15"/>
                  <a:pt x="72" y="15"/>
                  <a:pt x="72" y="15"/>
                </a:cubicBezTo>
                <a:cubicBezTo>
                  <a:pt x="71" y="15"/>
                  <a:pt x="71" y="15"/>
                  <a:pt x="71" y="15"/>
                </a:cubicBezTo>
                <a:cubicBezTo>
                  <a:pt x="68" y="14"/>
                  <a:pt x="68" y="14"/>
                  <a:pt x="68" y="14"/>
                </a:cubicBezTo>
                <a:cubicBezTo>
                  <a:pt x="64" y="11"/>
                  <a:pt x="64" y="11"/>
                  <a:pt x="64" y="11"/>
                </a:cubicBezTo>
                <a:cubicBezTo>
                  <a:pt x="63" y="10"/>
                  <a:pt x="63" y="10"/>
                  <a:pt x="63" y="10"/>
                </a:cubicBezTo>
                <a:cubicBezTo>
                  <a:pt x="63" y="10"/>
                  <a:pt x="63" y="10"/>
                  <a:pt x="63" y="10"/>
                </a:cubicBezTo>
                <a:close/>
                <a:moveTo>
                  <a:pt x="55" y="0"/>
                </a:moveTo>
                <a:cubicBezTo>
                  <a:pt x="56" y="0"/>
                  <a:pt x="56" y="0"/>
                  <a:pt x="56" y="0"/>
                </a:cubicBezTo>
                <a:cubicBezTo>
                  <a:pt x="56" y="1"/>
                  <a:pt x="56" y="1"/>
                  <a:pt x="56" y="1"/>
                </a:cubicBezTo>
                <a:cubicBezTo>
                  <a:pt x="56" y="2"/>
                  <a:pt x="56" y="2"/>
                  <a:pt x="56" y="2"/>
                </a:cubicBezTo>
                <a:cubicBezTo>
                  <a:pt x="55" y="1"/>
                  <a:pt x="55" y="1"/>
                  <a:pt x="55" y="1"/>
                </a:cubicBezTo>
                <a:cubicBezTo>
                  <a:pt x="55" y="0"/>
                  <a:pt x="55" y="0"/>
                  <a:pt x="55" y="0"/>
                </a:cubicBezTo>
                <a:close/>
                <a:moveTo>
                  <a:pt x="58" y="9"/>
                </a:moveTo>
                <a:cubicBezTo>
                  <a:pt x="60" y="9"/>
                  <a:pt x="60" y="9"/>
                  <a:pt x="60" y="9"/>
                </a:cubicBezTo>
                <a:cubicBezTo>
                  <a:pt x="61" y="9"/>
                  <a:pt x="61" y="9"/>
                  <a:pt x="61" y="9"/>
                </a:cubicBezTo>
                <a:cubicBezTo>
                  <a:pt x="61" y="11"/>
                  <a:pt x="61" y="11"/>
                  <a:pt x="61" y="11"/>
                </a:cubicBezTo>
                <a:cubicBezTo>
                  <a:pt x="59" y="11"/>
                  <a:pt x="59" y="11"/>
                  <a:pt x="59" y="11"/>
                </a:cubicBezTo>
                <a:cubicBezTo>
                  <a:pt x="58" y="10"/>
                  <a:pt x="58" y="10"/>
                  <a:pt x="58" y="10"/>
                </a:cubicBezTo>
                <a:cubicBezTo>
                  <a:pt x="58" y="9"/>
                  <a:pt x="58" y="9"/>
                  <a:pt x="58" y="9"/>
                </a:cubicBezTo>
                <a:close/>
                <a:moveTo>
                  <a:pt x="58" y="25"/>
                </a:moveTo>
                <a:cubicBezTo>
                  <a:pt x="59" y="26"/>
                  <a:pt x="59" y="26"/>
                  <a:pt x="59" y="26"/>
                </a:cubicBezTo>
                <a:cubicBezTo>
                  <a:pt x="60" y="25"/>
                  <a:pt x="60" y="25"/>
                  <a:pt x="60" y="25"/>
                </a:cubicBezTo>
                <a:cubicBezTo>
                  <a:pt x="59" y="24"/>
                  <a:pt x="59" y="24"/>
                  <a:pt x="59" y="24"/>
                </a:cubicBezTo>
                <a:cubicBezTo>
                  <a:pt x="58" y="24"/>
                  <a:pt x="58" y="24"/>
                  <a:pt x="58" y="24"/>
                </a:cubicBezTo>
                <a:cubicBezTo>
                  <a:pt x="58" y="25"/>
                  <a:pt x="58" y="25"/>
                  <a:pt x="58" y="25"/>
                </a:cubicBezTo>
                <a:close/>
                <a:moveTo>
                  <a:pt x="47" y="28"/>
                </a:moveTo>
                <a:cubicBezTo>
                  <a:pt x="47" y="29"/>
                  <a:pt x="47" y="29"/>
                  <a:pt x="47" y="29"/>
                </a:cubicBezTo>
                <a:cubicBezTo>
                  <a:pt x="48" y="31"/>
                  <a:pt x="48" y="31"/>
                  <a:pt x="48" y="31"/>
                </a:cubicBezTo>
                <a:cubicBezTo>
                  <a:pt x="49" y="31"/>
                  <a:pt x="49" y="31"/>
                  <a:pt x="49" y="31"/>
                </a:cubicBezTo>
                <a:cubicBezTo>
                  <a:pt x="51" y="32"/>
                  <a:pt x="51" y="32"/>
                  <a:pt x="51" y="32"/>
                </a:cubicBezTo>
                <a:cubicBezTo>
                  <a:pt x="51" y="33"/>
                  <a:pt x="51" y="33"/>
                  <a:pt x="51" y="33"/>
                </a:cubicBezTo>
                <a:cubicBezTo>
                  <a:pt x="52" y="33"/>
                  <a:pt x="52" y="33"/>
                  <a:pt x="52" y="33"/>
                </a:cubicBezTo>
                <a:cubicBezTo>
                  <a:pt x="54" y="33"/>
                  <a:pt x="54" y="33"/>
                  <a:pt x="54" y="33"/>
                </a:cubicBezTo>
                <a:cubicBezTo>
                  <a:pt x="55" y="34"/>
                  <a:pt x="55" y="34"/>
                  <a:pt x="55" y="34"/>
                </a:cubicBezTo>
                <a:cubicBezTo>
                  <a:pt x="56" y="34"/>
                  <a:pt x="56" y="34"/>
                  <a:pt x="56" y="34"/>
                </a:cubicBezTo>
                <a:cubicBezTo>
                  <a:pt x="57" y="34"/>
                  <a:pt x="57" y="34"/>
                  <a:pt x="57" y="34"/>
                </a:cubicBezTo>
                <a:cubicBezTo>
                  <a:pt x="60" y="33"/>
                  <a:pt x="60" y="33"/>
                  <a:pt x="60" y="33"/>
                </a:cubicBezTo>
                <a:cubicBezTo>
                  <a:pt x="61" y="34"/>
                  <a:pt x="61" y="34"/>
                  <a:pt x="61" y="34"/>
                </a:cubicBezTo>
                <a:cubicBezTo>
                  <a:pt x="62" y="33"/>
                  <a:pt x="62" y="33"/>
                  <a:pt x="62" y="33"/>
                </a:cubicBezTo>
                <a:cubicBezTo>
                  <a:pt x="63" y="34"/>
                  <a:pt x="63" y="34"/>
                  <a:pt x="63" y="34"/>
                </a:cubicBezTo>
                <a:cubicBezTo>
                  <a:pt x="64" y="33"/>
                  <a:pt x="64" y="33"/>
                  <a:pt x="64" y="33"/>
                </a:cubicBezTo>
                <a:cubicBezTo>
                  <a:pt x="64" y="32"/>
                  <a:pt x="64" y="32"/>
                  <a:pt x="64" y="32"/>
                </a:cubicBezTo>
                <a:cubicBezTo>
                  <a:pt x="66" y="32"/>
                  <a:pt x="66" y="32"/>
                  <a:pt x="66" y="32"/>
                </a:cubicBezTo>
                <a:cubicBezTo>
                  <a:pt x="68" y="30"/>
                  <a:pt x="68" y="30"/>
                  <a:pt x="68" y="30"/>
                </a:cubicBezTo>
                <a:cubicBezTo>
                  <a:pt x="68" y="29"/>
                  <a:pt x="68" y="29"/>
                  <a:pt x="68" y="29"/>
                </a:cubicBezTo>
                <a:cubicBezTo>
                  <a:pt x="69" y="28"/>
                  <a:pt x="69" y="28"/>
                  <a:pt x="69" y="28"/>
                </a:cubicBezTo>
                <a:cubicBezTo>
                  <a:pt x="69" y="29"/>
                  <a:pt x="69" y="29"/>
                  <a:pt x="69" y="29"/>
                </a:cubicBezTo>
                <a:cubicBezTo>
                  <a:pt x="71" y="29"/>
                  <a:pt x="71" y="29"/>
                  <a:pt x="71" y="29"/>
                </a:cubicBezTo>
                <a:cubicBezTo>
                  <a:pt x="72" y="27"/>
                  <a:pt x="72" y="27"/>
                  <a:pt x="72" y="27"/>
                </a:cubicBezTo>
                <a:cubicBezTo>
                  <a:pt x="70" y="26"/>
                  <a:pt x="70" y="26"/>
                  <a:pt x="70" y="26"/>
                </a:cubicBezTo>
                <a:cubicBezTo>
                  <a:pt x="70" y="25"/>
                  <a:pt x="70" y="25"/>
                  <a:pt x="70" y="25"/>
                </a:cubicBezTo>
                <a:cubicBezTo>
                  <a:pt x="71" y="25"/>
                  <a:pt x="71" y="25"/>
                  <a:pt x="71" y="25"/>
                </a:cubicBezTo>
                <a:cubicBezTo>
                  <a:pt x="72" y="25"/>
                  <a:pt x="72" y="25"/>
                  <a:pt x="72" y="25"/>
                </a:cubicBezTo>
                <a:cubicBezTo>
                  <a:pt x="73" y="24"/>
                  <a:pt x="73" y="24"/>
                  <a:pt x="73" y="24"/>
                </a:cubicBezTo>
                <a:cubicBezTo>
                  <a:pt x="73" y="21"/>
                  <a:pt x="73" y="21"/>
                  <a:pt x="73" y="21"/>
                </a:cubicBezTo>
                <a:cubicBezTo>
                  <a:pt x="72" y="20"/>
                  <a:pt x="72" y="20"/>
                  <a:pt x="72" y="20"/>
                </a:cubicBezTo>
                <a:cubicBezTo>
                  <a:pt x="71" y="20"/>
                  <a:pt x="71" y="20"/>
                  <a:pt x="71" y="20"/>
                </a:cubicBezTo>
                <a:cubicBezTo>
                  <a:pt x="71" y="21"/>
                  <a:pt x="71" y="21"/>
                  <a:pt x="71" y="21"/>
                </a:cubicBezTo>
                <a:cubicBezTo>
                  <a:pt x="70" y="20"/>
                  <a:pt x="70" y="20"/>
                  <a:pt x="70" y="20"/>
                </a:cubicBezTo>
                <a:cubicBezTo>
                  <a:pt x="68" y="20"/>
                  <a:pt x="68" y="20"/>
                  <a:pt x="68" y="20"/>
                </a:cubicBezTo>
                <a:cubicBezTo>
                  <a:pt x="68" y="21"/>
                  <a:pt x="68" y="21"/>
                  <a:pt x="68" y="21"/>
                </a:cubicBezTo>
                <a:cubicBezTo>
                  <a:pt x="68" y="24"/>
                  <a:pt x="68" y="24"/>
                  <a:pt x="68" y="24"/>
                </a:cubicBezTo>
                <a:cubicBezTo>
                  <a:pt x="69" y="24"/>
                  <a:pt x="69" y="24"/>
                  <a:pt x="69" y="24"/>
                </a:cubicBezTo>
                <a:cubicBezTo>
                  <a:pt x="68" y="25"/>
                  <a:pt x="68" y="25"/>
                  <a:pt x="68" y="25"/>
                </a:cubicBezTo>
                <a:cubicBezTo>
                  <a:pt x="67" y="25"/>
                  <a:pt x="67" y="25"/>
                  <a:pt x="67" y="25"/>
                </a:cubicBezTo>
                <a:cubicBezTo>
                  <a:pt x="65" y="27"/>
                  <a:pt x="65" y="27"/>
                  <a:pt x="65" y="27"/>
                </a:cubicBezTo>
                <a:cubicBezTo>
                  <a:pt x="64" y="28"/>
                  <a:pt x="64" y="28"/>
                  <a:pt x="64" y="28"/>
                </a:cubicBezTo>
                <a:cubicBezTo>
                  <a:pt x="63" y="29"/>
                  <a:pt x="63" y="29"/>
                  <a:pt x="63" y="29"/>
                </a:cubicBezTo>
                <a:cubicBezTo>
                  <a:pt x="63" y="28"/>
                  <a:pt x="63" y="28"/>
                  <a:pt x="63" y="28"/>
                </a:cubicBezTo>
                <a:cubicBezTo>
                  <a:pt x="62" y="29"/>
                  <a:pt x="62" y="29"/>
                  <a:pt x="62" y="29"/>
                </a:cubicBezTo>
                <a:cubicBezTo>
                  <a:pt x="61" y="28"/>
                  <a:pt x="61" y="28"/>
                  <a:pt x="61" y="28"/>
                </a:cubicBezTo>
                <a:cubicBezTo>
                  <a:pt x="60" y="28"/>
                  <a:pt x="60" y="28"/>
                  <a:pt x="60" y="28"/>
                </a:cubicBezTo>
                <a:cubicBezTo>
                  <a:pt x="59" y="29"/>
                  <a:pt x="59" y="29"/>
                  <a:pt x="59" y="29"/>
                </a:cubicBezTo>
                <a:cubicBezTo>
                  <a:pt x="58" y="29"/>
                  <a:pt x="58" y="29"/>
                  <a:pt x="58" y="29"/>
                </a:cubicBezTo>
                <a:cubicBezTo>
                  <a:pt x="58" y="28"/>
                  <a:pt x="58" y="28"/>
                  <a:pt x="58" y="28"/>
                </a:cubicBezTo>
                <a:cubicBezTo>
                  <a:pt x="58" y="27"/>
                  <a:pt x="58" y="27"/>
                  <a:pt x="58" y="27"/>
                </a:cubicBezTo>
                <a:cubicBezTo>
                  <a:pt x="57" y="26"/>
                  <a:pt x="57" y="26"/>
                  <a:pt x="57" y="26"/>
                </a:cubicBezTo>
                <a:cubicBezTo>
                  <a:pt x="57" y="27"/>
                  <a:pt x="57" y="27"/>
                  <a:pt x="57" y="27"/>
                </a:cubicBezTo>
                <a:cubicBezTo>
                  <a:pt x="57" y="28"/>
                  <a:pt x="57" y="28"/>
                  <a:pt x="57" y="28"/>
                </a:cubicBezTo>
                <a:cubicBezTo>
                  <a:pt x="56" y="28"/>
                  <a:pt x="56" y="28"/>
                  <a:pt x="56" y="28"/>
                </a:cubicBezTo>
                <a:cubicBezTo>
                  <a:pt x="55" y="28"/>
                  <a:pt x="55" y="28"/>
                  <a:pt x="55" y="28"/>
                </a:cubicBezTo>
                <a:cubicBezTo>
                  <a:pt x="53" y="29"/>
                  <a:pt x="53" y="29"/>
                  <a:pt x="53" y="29"/>
                </a:cubicBezTo>
                <a:cubicBezTo>
                  <a:pt x="52" y="29"/>
                  <a:pt x="52" y="29"/>
                  <a:pt x="52" y="29"/>
                </a:cubicBezTo>
                <a:cubicBezTo>
                  <a:pt x="51" y="28"/>
                  <a:pt x="51" y="28"/>
                  <a:pt x="51" y="28"/>
                </a:cubicBezTo>
                <a:cubicBezTo>
                  <a:pt x="50" y="28"/>
                  <a:pt x="50" y="28"/>
                  <a:pt x="50" y="28"/>
                </a:cubicBezTo>
                <a:cubicBezTo>
                  <a:pt x="49" y="28"/>
                  <a:pt x="49" y="28"/>
                  <a:pt x="49" y="28"/>
                </a:cubicBezTo>
                <a:cubicBezTo>
                  <a:pt x="47" y="28"/>
                  <a:pt x="47" y="28"/>
                  <a:pt x="47" y="28"/>
                </a:cubicBezTo>
                <a:close/>
                <a:moveTo>
                  <a:pt x="43" y="29"/>
                </a:moveTo>
                <a:cubicBezTo>
                  <a:pt x="44" y="28"/>
                  <a:pt x="44" y="28"/>
                  <a:pt x="44" y="28"/>
                </a:cubicBezTo>
                <a:cubicBezTo>
                  <a:pt x="45" y="29"/>
                  <a:pt x="45" y="29"/>
                  <a:pt x="45" y="29"/>
                </a:cubicBezTo>
                <a:cubicBezTo>
                  <a:pt x="45" y="30"/>
                  <a:pt x="45" y="30"/>
                  <a:pt x="45" y="30"/>
                </a:cubicBezTo>
                <a:cubicBezTo>
                  <a:pt x="45" y="31"/>
                  <a:pt x="45" y="31"/>
                  <a:pt x="45" y="31"/>
                </a:cubicBezTo>
                <a:cubicBezTo>
                  <a:pt x="44" y="30"/>
                  <a:pt x="44" y="30"/>
                  <a:pt x="44" y="30"/>
                </a:cubicBezTo>
                <a:cubicBezTo>
                  <a:pt x="43" y="29"/>
                  <a:pt x="43" y="29"/>
                  <a:pt x="43" y="29"/>
                </a:cubicBezTo>
                <a:close/>
                <a:moveTo>
                  <a:pt x="39" y="27"/>
                </a:moveTo>
                <a:cubicBezTo>
                  <a:pt x="39" y="28"/>
                  <a:pt x="39" y="28"/>
                  <a:pt x="39" y="28"/>
                </a:cubicBezTo>
                <a:cubicBezTo>
                  <a:pt x="39" y="28"/>
                  <a:pt x="39" y="28"/>
                  <a:pt x="39" y="28"/>
                </a:cubicBezTo>
                <a:cubicBezTo>
                  <a:pt x="40" y="28"/>
                  <a:pt x="40" y="28"/>
                  <a:pt x="40" y="28"/>
                </a:cubicBezTo>
                <a:cubicBezTo>
                  <a:pt x="40" y="27"/>
                  <a:pt x="40" y="27"/>
                  <a:pt x="40" y="27"/>
                </a:cubicBezTo>
                <a:cubicBezTo>
                  <a:pt x="39" y="27"/>
                  <a:pt x="39" y="27"/>
                  <a:pt x="39" y="27"/>
                </a:cubicBezTo>
                <a:close/>
                <a:moveTo>
                  <a:pt x="33" y="22"/>
                </a:moveTo>
                <a:cubicBezTo>
                  <a:pt x="32" y="23"/>
                  <a:pt x="32" y="23"/>
                  <a:pt x="32" y="23"/>
                </a:cubicBezTo>
                <a:cubicBezTo>
                  <a:pt x="32" y="24"/>
                  <a:pt x="32" y="24"/>
                  <a:pt x="32" y="24"/>
                </a:cubicBezTo>
                <a:cubicBezTo>
                  <a:pt x="33" y="23"/>
                  <a:pt x="33" y="23"/>
                  <a:pt x="33" y="23"/>
                </a:cubicBezTo>
                <a:cubicBezTo>
                  <a:pt x="33" y="22"/>
                  <a:pt x="33" y="22"/>
                  <a:pt x="33" y="22"/>
                </a:cubicBezTo>
                <a:close/>
                <a:moveTo>
                  <a:pt x="73" y="51"/>
                </a:moveTo>
                <a:cubicBezTo>
                  <a:pt x="73" y="52"/>
                  <a:pt x="73" y="52"/>
                  <a:pt x="73" y="52"/>
                </a:cubicBezTo>
                <a:cubicBezTo>
                  <a:pt x="73" y="53"/>
                  <a:pt x="73" y="53"/>
                  <a:pt x="73" y="53"/>
                </a:cubicBezTo>
                <a:cubicBezTo>
                  <a:pt x="74" y="53"/>
                  <a:pt x="74" y="53"/>
                  <a:pt x="74" y="53"/>
                </a:cubicBezTo>
                <a:cubicBezTo>
                  <a:pt x="75" y="54"/>
                  <a:pt x="75" y="54"/>
                  <a:pt x="75" y="54"/>
                </a:cubicBezTo>
                <a:cubicBezTo>
                  <a:pt x="75" y="53"/>
                  <a:pt x="75" y="53"/>
                  <a:pt x="75" y="53"/>
                </a:cubicBezTo>
                <a:cubicBezTo>
                  <a:pt x="73" y="51"/>
                  <a:pt x="73" y="51"/>
                  <a:pt x="73" y="51"/>
                </a:cubicBezTo>
                <a:close/>
                <a:moveTo>
                  <a:pt x="64" y="47"/>
                </a:moveTo>
                <a:cubicBezTo>
                  <a:pt x="63" y="48"/>
                  <a:pt x="63" y="48"/>
                  <a:pt x="63" y="48"/>
                </a:cubicBezTo>
                <a:cubicBezTo>
                  <a:pt x="64" y="49"/>
                  <a:pt x="64" y="49"/>
                  <a:pt x="64" y="49"/>
                </a:cubicBezTo>
                <a:cubicBezTo>
                  <a:pt x="64" y="49"/>
                  <a:pt x="64" y="49"/>
                  <a:pt x="64" y="49"/>
                </a:cubicBezTo>
                <a:cubicBezTo>
                  <a:pt x="64" y="50"/>
                  <a:pt x="64" y="50"/>
                  <a:pt x="64" y="50"/>
                </a:cubicBezTo>
                <a:cubicBezTo>
                  <a:pt x="64" y="50"/>
                  <a:pt x="64" y="50"/>
                  <a:pt x="64" y="50"/>
                </a:cubicBezTo>
                <a:cubicBezTo>
                  <a:pt x="64" y="50"/>
                  <a:pt x="64" y="50"/>
                  <a:pt x="64" y="50"/>
                </a:cubicBezTo>
                <a:cubicBezTo>
                  <a:pt x="65" y="49"/>
                  <a:pt x="65" y="49"/>
                  <a:pt x="65" y="49"/>
                </a:cubicBezTo>
                <a:cubicBezTo>
                  <a:pt x="64" y="47"/>
                  <a:pt x="64" y="47"/>
                  <a:pt x="64" y="47"/>
                </a:cubicBezTo>
                <a:cubicBezTo>
                  <a:pt x="64" y="47"/>
                  <a:pt x="64" y="47"/>
                  <a:pt x="64" y="47"/>
                </a:cubicBezTo>
                <a:close/>
                <a:moveTo>
                  <a:pt x="61" y="57"/>
                </a:moveTo>
                <a:cubicBezTo>
                  <a:pt x="62" y="57"/>
                  <a:pt x="62" y="57"/>
                  <a:pt x="62" y="57"/>
                </a:cubicBezTo>
                <a:cubicBezTo>
                  <a:pt x="62" y="57"/>
                  <a:pt x="62" y="57"/>
                  <a:pt x="62" y="57"/>
                </a:cubicBezTo>
                <a:cubicBezTo>
                  <a:pt x="63" y="58"/>
                  <a:pt x="63" y="58"/>
                  <a:pt x="63" y="58"/>
                </a:cubicBezTo>
                <a:cubicBezTo>
                  <a:pt x="63" y="58"/>
                  <a:pt x="63" y="58"/>
                  <a:pt x="63" y="58"/>
                </a:cubicBezTo>
                <a:cubicBezTo>
                  <a:pt x="63" y="58"/>
                  <a:pt x="63" y="58"/>
                  <a:pt x="63" y="58"/>
                </a:cubicBezTo>
                <a:cubicBezTo>
                  <a:pt x="64" y="58"/>
                  <a:pt x="64" y="58"/>
                  <a:pt x="64" y="58"/>
                </a:cubicBezTo>
                <a:cubicBezTo>
                  <a:pt x="65" y="58"/>
                  <a:pt x="65" y="58"/>
                  <a:pt x="65" y="58"/>
                </a:cubicBezTo>
                <a:cubicBezTo>
                  <a:pt x="65" y="58"/>
                  <a:pt x="65" y="58"/>
                  <a:pt x="65" y="58"/>
                </a:cubicBezTo>
                <a:cubicBezTo>
                  <a:pt x="64" y="59"/>
                  <a:pt x="64" y="59"/>
                  <a:pt x="64" y="59"/>
                </a:cubicBezTo>
                <a:cubicBezTo>
                  <a:pt x="64" y="59"/>
                  <a:pt x="64" y="59"/>
                  <a:pt x="64" y="59"/>
                </a:cubicBezTo>
                <a:cubicBezTo>
                  <a:pt x="63" y="59"/>
                  <a:pt x="63" y="59"/>
                  <a:pt x="63" y="59"/>
                </a:cubicBezTo>
                <a:cubicBezTo>
                  <a:pt x="62" y="59"/>
                  <a:pt x="62" y="59"/>
                  <a:pt x="62" y="59"/>
                </a:cubicBezTo>
                <a:cubicBezTo>
                  <a:pt x="62" y="58"/>
                  <a:pt x="62" y="58"/>
                  <a:pt x="62" y="58"/>
                </a:cubicBezTo>
                <a:cubicBezTo>
                  <a:pt x="62" y="58"/>
                  <a:pt x="62" y="58"/>
                  <a:pt x="62" y="58"/>
                </a:cubicBezTo>
                <a:cubicBezTo>
                  <a:pt x="62" y="57"/>
                  <a:pt x="62" y="57"/>
                  <a:pt x="62" y="57"/>
                </a:cubicBezTo>
                <a:cubicBezTo>
                  <a:pt x="61" y="57"/>
                  <a:pt x="61" y="57"/>
                  <a:pt x="61" y="57"/>
                </a:cubicBezTo>
                <a:cubicBezTo>
                  <a:pt x="61" y="57"/>
                  <a:pt x="61" y="57"/>
                  <a:pt x="61" y="57"/>
                </a:cubicBezTo>
                <a:close/>
                <a:moveTo>
                  <a:pt x="60" y="55"/>
                </a:moveTo>
                <a:cubicBezTo>
                  <a:pt x="60" y="56"/>
                  <a:pt x="60" y="56"/>
                  <a:pt x="60" y="56"/>
                </a:cubicBezTo>
                <a:cubicBezTo>
                  <a:pt x="61" y="56"/>
                  <a:pt x="61" y="56"/>
                  <a:pt x="61" y="56"/>
                </a:cubicBezTo>
                <a:cubicBezTo>
                  <a:pt x="62" y="56"/>
                  <a:pt x="62" y="56"/>
                  <a:pt x="62" y="56"/>
                </a:cubicBezTo>
                <a:cubicBezTo>
                  <a:pt x="62" y="56"/>
                  <a:pt x="62" y="56"/>
                  <a:pt x="62" y="56"/>
                </a:cubicBezTo>
                <a:cubicBezTo>
                  <a:pt x="62" y="56"/>
                  <a:pt x="62" y="56"/>
                  <a:pt x="62" y="56"/>
                </a:cubicBezTo>
                <a:cubicBezTo>
                  <a:pt x="62" y="55"/>
                  <a:pt x="62" y="55"/>
                  <a:pt x="62" y="55"/>
                </a:cubicBezTo>
                <a:cubicBezTo>
                  <a:pt x="62" y="55"/>
                  <a:pt x="62" y="55"/>
                  <a:pt x="62" y="55"/>
                </a:cubicBezTo>
                <a:cubicBezTo>
                  <a:pt x="62" y="55"/>
                  <a:pt x="62" y="55"/>
                  <a:pt x="62" y="55"/>
                </a:cubicBezTo>
                <a:cubicBezTo>
                  <a:pt x="61" y="55"/>
                  <a:pt x="61" y="55"/>
                  <a:pt x="61" y="55"/>
                </a:cubicBezTo>
                <a:cubicBezTo>
                  <a:pt x="61" y="55"/>
                  <a:pt x="61" y="55"/>
                  <a:pt x="61" y="55"/>
                </a:cubicBezTo>
                <a:cubicBezTo>
                  <a:pt x="60" y="54"/>
                  <a:pt x="60" y="54"/>
                  <a:pt x="60" y="54"/>
                </a:cubicBezTo>
                <a:cubicBezTo>
                  <a:pt x="60" y="55"/>
                  <a:pt x="60" y="55"/>
                  <a:pt x="60" y="55"/>
                </a:cubicBezTo>
                <a:close/>
                <a:moveTo>
                  <a:pt x="57" y="54"/>
                </a:moveTo>
                <a:cubicBezTo>
                  <a:pt x="58" y="55"/>
                  <a:pt x="58" y="55"/>
                  <a:pt x="58" y="55"/>
                </a:cubicBezTo>
                <a:cubicBezTo>
                  <a:pt x="58" y="55"/>
                  <a:pt x="58" y="55"/>
                  <a:pt x="58" y="55"/>
                </a:cubicBezTo>
                <a:cubicBezTo>
                  <a:pt x="59" y="55"/>
                  <a:pt x="59" y="55"/>
                  <a:pt x="59" y="55"/>
                </a:cubicBezTo>
                <a:cubicBezTo>
                  <a:pt x="59" y="55"/>
                  <a:pt x="59" y="55"/>
                  <a:pt x="59" y="55"/>
                </a:cubicBezTo>
                <a:cubicBezTo>
                  <a:pt x="59" y="55"/>
                  <a:pt x="59" y="55"/>
                  <a:pt x="59" y="55"/>
                </a:cubicBezTo>
                <a:cubicBezTo>
                  <a:pt x="59" y="53"/>
                  <a:pt x="59" y="53"/>
                  <a:pt x="59" y="53"/>
                </a:cubicBezTo>
                <a:cubicBezTo>
                  <a:pt x="58" y="53"/>
                  <a:pt x="58" y="53"/>
                  <a:pt x="58" y="53"/>
                </a:cubicBezTo>
                <a:cubicBezTo>
                  <a:pt x="57" y="54"/>
                  <a:pt x="57" y="54"/>
                  <a:pt x="57" y="54"/>
                </a:cubicBezTo>
                <a:close/>
                <a:moveTo>
                  <a:pt x="26" y="43"/>
                </a:moveTo>
                <a:cubicBezTo>
                  <a:pt x="25" y="43"/>
                  <a:pt x="25" y="43"/>
                  <a:pt x="25" y="43"/>
                </a:cubicBezTo>
                <a:cubicBezTo>
                  <a:pt x="26" y="44"/>
                  <a:pt x="26" y="44"/>
                  <a:pt x="26" y="44"/>
                </a:cubicBezTo>
                <a:cubicBezTo>
                  <a:pt x="26" y="44"/>
                  <a:pt x="26" y="43"/>
                  <a:pt x="26" y="43"/>
                </a:cubicBezTo>
                <a:close/>
                <a:moveTo>
                  <a:pt x="23" y="43"/>
                </a:moveTo>
                <a:cubicBezTo>
                  <a:pt x="23" y="43"/>
                  <a:pt x="23" y="43"/>
                  <a:pt x="23" y="43"/>
                </a:cubicBezTo>
                <a:cubicBezTo>
                  <a:pt x="24" y="43"/>
                  <a:pt x="24" y="43"/>
                  <a:pt x="24" y="43"/>
                </a:cubicBezTo>
                <a:cubicBezTo>
                  <a:pt x="23" y="43"/>
                  <a:pt x="23" y="43"/>
                  <a:pt x="23" y="43"/>
                </a:cubicBezTo>
                <a:close/>
                <a:moveTo>
                  <a:pt x="21" y="43"/>
                </a:moveTo>
                <a:cubicBezTo>
                  <a:pt x="21" y="44"/>
                  <a:pt x="21" y="44"/>
                  <a:pt x="21" y="44"/>
                </a:cubicBezTo>
                <a:cubicBezTo>
                  <a:pt x="22" y="44"/>
                  <a:pt x="22" y="44"/>
                  <a:pt x="22" y="44"/>
                </a:cubicBezTo>
                <a:cubicBezTo>
                  <a:pt x="22" y="43"/>
                  <a:pt x="22" y="43"/>
                  <a:pt x="22" y="43"/>
                </a:cubicBezTo>
                <a:cubicBezTo>
                  <a:pt x="21" y="43"/>
                  <a:pt x="21" y="43"/>
                  <a:pt x="21" y="43"/>
                </a:cubicBezTo>
                <a:close/>
                <a:moveTo>
                  <a:pt x="23" y="43"/>
                </a:moveTo>
                <a:cubicBezTo>
                  <a:pt x="22" y="43"/>
                  <a:pt x="22" y="43"/>
                  <a:pt x="22" y="43"/>
                </a:cubicBezTo>
                <a:cubicBezTo>
                  <a:pt x="22" y="42"/>
                  <a:pt x="22" y="42"/>
                  <a:pt x="22" y="42"/>
                </a:cubicBezTo>
                <a:cubicBezTo>
                  <a:pt x="23" y="42"/>
                  <a:pt x="23" y="42"/>
                  <a:pt x="23" y="42"/>
                </a:cubicBezTo>
                <a:cubicBezTo>
                  <a:pt x="23" y="43"/>
                  <a:pt x="23" y="43"/>
                  <a:pt x="23" y="43"/>
                </a:cubicBezTo>
                <a:cubicBezTo>
                  <a:pt x="23" y="43"/>
                  <a:pt x="23" y="43"/>
                  <a:pt x="23" y="43"/>
                </a:cubicBezTo>
                <a:close/>
                <a:moveTo>
                  <a:pt x="18" y="43"/>
                </a:moveTo>
                <a:cubicBezTo>
                  <a:pt x="19" y="44"/>
                  <a:pt x="19" y="44"/>
                  <a:pt x="19" y="44"/>
                </a:cubicBezTo>
                <a:cubicBezTo>
                  <a:pt x="19" y="44"/>
                  <a:pt x="19" y="44"/>
                  <a:pt x="19" y="44"/>
                </a:cubicBezTo>
                <a:cubicBezTo>
                  <a:pt x="19" y="44"/>
                  <a:pt x="19" y="44"/>
                  <a:pt x="19" y="44"/>
                </a:cubicBezTo>
                <a:cubicBezTo>
                  <a:pt x="18" y="43"/>
                  <a:pt x="18" y="43"/>
                  <a:pt x="18" y="43"/>
                </a:cubicBezTo>
                <a:close/>
                <a:moveTo>
                  <a:pt x="16" y="48"/>
                </a:moveTo>
                <a:cubicBezTo>
                  <a:pt x="17" y="48"/>
                  <a:pt x="17" y="48"/>
                  <a:pt x="17" y="48"/>
                </a:cubicBezTo>
                <a:cubicBezTo>
                  <a:pt x="18" y="48"/>
                  <a:pt x="18" y="48"/>
                  <a:pt x="18" y="48"/>
                </a:cubicBezTo>
                <a:cubicBezTo>
                  <a:pt x="18" y="48"/>
                  <a:pt x="18" y="48"/>
                  <a:pt x="18" y="48"/>
                </a:cubicBezTo>
                <a:cubicBezTo>
                  <a:pt x="18" y="48"/>
                  <a:pt x="16" y="48"/>
                  <a:pt x="16" y="48"/>
                </a:cubicBezTo>
                <a:close/>
                <a:moveTo>
                  <a:pt x="16" y="49"/>
                </a:moveTo>
                <a:cubicBezTo>
                  <a:pt x="17" y="49"/>
                  <a:pt x="17" y="49"/>
                  <a:pt x="17" y="49"/>
                </a:cubicBezTo>
                <a:cubicBezTo>
                  <a:pt x="17" y="49"/>
                  <a:pt x="17" y="49"/>
                  <a:pt x="17" y="49"/>
                </a:cubicBezTo>
                <a:cubicBezTo>
                  <a:pt x="16" y="49"/>
                  <a:pt x="16" y="49"/>
                  <a:pt x="16" y="49"/>
                </a:cubicBezTo>
                <a:close/>
                <a:moveTo>
                  <a:pt x="15" y="48"/>
                </a:moveTo>
                <a:cubicBezTo>
                  <a:pt x="15" y="49"/>
                  <a:pt x="15" y="49"/>
                  <a:pt x="15" y="49"/>
                </a:cubicBezTo>
                <a:cubicBezTo>
                  <a:pt x="16" y="48"/>
                  <a:pt x="16" y="48"/>
                  <a:pt x="16" y="48"/>
                </a:cubicBezTo>
                <a:cubicBezTo>
                  <a:pt x="15" y="48"/>
                  <a:pt x="15" y="48"/>
                  <a:pt x="15" y="48"/>
                </a:cubicBezTo>
                <a:close/>
                <a:moveTo>
                  <a:pt x="14" y="49"/>
                </a:moveTo>
                <a:cubicBezTo>
                  <a:pt x="14" y="49"/>
                  <a:pt x="16" y="50"/>
                  <a:pt x="16" y="50"/>
                </a:cubicBezTo>
                <a:cubicBezTo>
                  <a:pt x="17" y="51"/>
                  <a:pt x="17" y="51"/>
                  <a:pt x="17" y="51"/>
                </a:cubicBezTo>
                <a:cubicBezTo>
                  <a:pt x="14" y="49"/>
                  <a:pt x="14" y="49"/>
                  <a:pt x="14" y="49"/>
                </a:cubicBezTo>
                <a:close/>
                <a:moveTo>
                  <a:pt x="16" y="46"/>
                </a:moveTo>
                <a:cubicBezTo>
                  <a:pt x="17" y="46"/>
                  <a:pt x="17" y="46"/>
                  <a:pt x="17" y="46"/>
                </a:cubicBezTo>
                <a:cubicBezTo>
                  <a:pt x="17" y="46"/>
                  <a:pt x="17" y="46"/>
                  <a:pt x="17" y="46"/>
                </a:cubicBezTo>
                <a:cubicBezTo>
                  <a:pt x="16" y="46"/>
                  <a:pt x="16" y="46"/>
                  <a:pt x="16" y="46"/>
                </a:cubicBezTo>
                <a:cubicBezTo>
                  <a:pt x="16" y="46"/>
                  <a:pt x="16" y="46"/>
                  <a:pt x="16" y="46"/>
                </a:cubicBezTo>
                <a:close/>
                <a:moveTo>
                  <a:pt x="18" y="46"/>
                </a:moveTo>
                <a:cubicBezTo>
                  <a:pt x="17" y="45"/>
                  <a:pt x="17" y="45"/>
                  <a:pt x="17" y="45"/>
                </a:cubicBezTo>
                <a:cubicBezTo>
                  <a:pt x="17" y="44"/>
                  <a:pt x="17" y="44"/>
                  <a:pt x="17" y="44"/>
                </a:cubicBezTo>
                <a:cubicBezTo>
                  <a:pt x="18" y="44"/>
                  <a:pt x="18" y="44"/>
                  <a:pt x="18" y="44"/>
                </a:cubicBezTo>
                <a:cubicBezTo>
                  <a:pt x="18" y="45"/>
                  <a:pt x="18" y="45"/>
                  <a:pt x="18" y="45"/>
                </a:cubicBezTo>
                <a:cubicBezTo>
                  <a:pt x="18" y="46"/>
                  <a:pt x="18" y="46"/>
                  <a:pt x="18" y="46"/>
                </a:cubicBezTo>
                <a:cubicBezTo>
                  <a:pt x="18" y="46"/>
                  <a:pt x="18" y="46"/>
                  <a:pt x="18" y="46"/>
                </a:cubicBezTo>
                <a:close/>
                <a:moveTo>
                  <a:pt x="1" y="10"/>
                </a:moveTo>
                <a:cubicBezTo>
                  <a:pt x="0" y="34"/>
                  <a:pt x="0" y="34"/>
                  <a:pt x="0" y="34"/>
                </a:cubicBezTo>
                <a:cubicBezTo>
                  <a:pt x="0" y="36"/>
                  <a:pt x="0" y="36"/>
                  <a:pt x="0" y="36"/>
                </a:cubicBezTo>
                <a:cubicBezTo>
                  <a:pt x="0" y="37"/>
                  <a:pt x="0" y="37"/>
                  <a:pt x="0" y="37"/>
                </a:cubicBezTo>
                <a:cubicBezTo>
                  <a:pt x="0" y="37"/>
                  <a:pt x="0" y="37"/>
                  <a:pt x="0" y="37"/>
                </a:cubicBezTo>
                <a:cubicBezTo>
                  <a:pt x="0" y="52"/>
                  <a:pt x="0" y="52"/>
                  <a:pt x="0" y="52"/>
                </a:cubicBezTo>
                <a:cubicBezTo>
                  <a:pt x="2" y="52"/>
                  <a:pt x="2" y="52"/>
                  <a:pt x="2" y="52"/>
                </a:cubicBezTo>
                <a:cubicBezTo>
                  <a:pt x="3" y="53"/>
                  <a:pt x="3" y="53"/>
                  <a:pt x="3" y="53"/>
                </a:cubicBezTo>
                <a:cubicBezTo>
                  <a:pt x="4" y="52"/>
                  <a:pt x="4" y="52"/>
                  <a:pt x="4" y="52"/>
                </a:cubicBezTo>
                <a:cubicBezTo>
                  <a:pt x="7" y="53"/>
                  <a:pt x="7" y="53"/>
                  <a:pt x="7" y="53"/>
                </a:cubicBezTo>
                <a:cubicBezTo>
                  <a:pt x="8" y="52"/>
                  <a:pt x="8" y="52"/>
                  <a:pt x="8" y="52"/>
                </a:cubicBezTo>
                <a:cubicBezTo>
                  <a:pt x="8" y="53"/>
                  <a:pt x="8" y="53"/>
                  <a:pt x="8" y="53"/>
                </a:cubicBezTo>
                <a:cubicBezTo>
                  <a:pt x="9" y="54"/>
                  <a:pt x="9" y="54"/>
                  <a:pt x="9" y="54"/>
                </a:cubicBezTo>
                <a:cubicBezTo>
                  <a:pt x="10" y="54"/>
                  <a:pt x="10" y="54"/>
                  <a:pt x="10" y="54"/>
                </a:cubicBezTo>
                <a:cubicBezTo>
                  <a:pt x="11" y="53"/>
                  <a:pt x="11" y="53"/>
                  <a:pt x="11" y="53"/>
                </a:cubicBezTo>
                <a:cubicBezTo>
                  <a:pt x="13" y="53"/>
                  <a:pt x="13" y="53"/>
                  <a:pt x="13" y="53"/>
                </a:cubicBezTo>
                <a:cubicBezTo>
                  <a:pt x="14" y="52"/>
                  <a:pt x="14" y="52"/>
                  <a:pt x="14" y="52"/>
                </a:cubicBezTo>
                <a:cubicBezTo>
                  <a:pt x="14" y="53"/>
                  <a:pt x="14" y="53"/>
                  <a:pt x="14" y="53"/>
                </a:cubicBezTo>
                <a:cubicBezTo>
                  <a:pt x="15" y="52"/>
                  <a:pt x="15" y="52"/>
                  <a:pt x="15" y="52"/>
                </a:cubicBezTo>
                <a:cubicBezTo>
                  <a:pt x="15" y="50"/>
                  <a:pt x="15" y="50"/>
                  <a:pt x="15" y="50"/>
                </a:cubicBezTo>
                <a:cubicBezTo>
                  <a:pt x="13" y="49"/>
                  <a:pt x="13" y="49"/>
                  <a:pt x="13" y="49"/>
                </a:cubicBezTo>
                <a:cubicBezTo>
                  <a:pt x="11" y="48"/>
                  <a:pt x="11" y="48"/>
                  <a:pt x="11" y="48"/>
                </a:cubicBezTo>
                <a:cubicBezTo>
                  <a:pt x="10" y="48"/>
                  <a:pt x="10" y="48"/>
                  <a:pt x="10" y="48"/>
                </a:cubicBezTo>
                <a:cubicBezTo>
                  <a:pt x="9" y="47"/>
                  <a:pt x="9" y="47"/>
                  <a:pt x="9" y="47"/>
                </a:cubicBezTo>
                <a:cubicBezTo>
                  <a:pt x="8" y="47"/>
                  <a:pt x="8" y="47"/>
                  <a:pt x="8" y="47"/>
                </a:cubicBezTo>
                <a:cubicBezTo>
                  <a:pt x="8" y="47"/>
                  <a:pt x="8" y="47"/>
                  <a:pt x="8" y="47"/>
                </a:cubicBezTo>
                <a:cubicBezTo>
                  <a:pt x="7" y="47"/>
                  <a:pt x="7" y="47"/>
                  <a:pt x="7" y="47"/>
                </a:cubicBezTo>
                <a:cubicBezTo>
                  <a:pt x="7" y="45"/>
                  <a:pt x="7" y="45"/>
                  <a:pt x="7" y="45"/>
                </a:cubicBezTo>
                <a:cubicBezTo>
                  <a:pt x="6" y="44"/>
                  <a:pt x="6" y="44"/>
                  <a:pt x="6" y="44"/>
                </a:cubicBezTo>
                <a:cubicBezTo>
                  <a:pt x="5" y="43"/>
                  <a:pt x="5" y="43"/>
                  <a:pt x="5" y="43"/>
                </a:cubicBezTo>
                <a:cubicBezTo>
                  <a:pt x="4" y="42"/>
                  <a:pt x="4" y="42"/>
                  <a:pt x="4" y="42"/>
                </a:cubicBezTo>
                <a:cubicBezTo>
                  <a:pt x="4" y="42"/>
                  <a:pt x="4" y="42"/>
                  <a:pt x="4" y="42"/>
                </a:cubicBezTo>
                <a:cubicBezTo>
                  <a:pt x="4" y="42"/>
                  <a:pt x="4" y="42"/>
                  <a:pt x="4" y="42"/>
                </a:cubicBezTo>
                <a:cubicBezTo>
                  <a:pt x="5" y="43"/>
                  <a:pt x="5" y="43"/>
                  <a:pt x="5" y="43"/>
                </a:cubicBezTo>
                <a:cubicBezTo>
                  <a:pt x="5" y="43"/>
                  <a:pt x="5" y="43"/>
                  <a:pt x="5" y="43"/>
                </a:cubicBezTo>
                <a:cubicBezTo>
                  <a:pt x="7" y="44"/>
                  <a:pt x="7" y="44"/>
                  <a:pt x="7" y="44"/>
                </a:cubicBezTo>
                <a:cubicBezTo>
                  <a:pt x="7" y="45"/>
                  <a:pt x="7" y="45"/>
                  <a:pt x="7" y="45"/>
                </a:cubicBezTo>
                <a:cubicBezTo>
                  <a:pt x="7" y="46"/>
                  <a:pt x="7" y="46"/>
                  <a:pt x="7" y="46"/>
                </a:cubicBezTo>
                <a:cubicBezTo>
                  <a:pt x="8" y="46"/>
                  <a:pt x="8" y="46"/>
                  <a:pt x="8" y="46"/>
                </a:cubicBezTo>
                <a:cubicBezTo>
                  <a:pt x="9" y="47"/>
                  <a:pt x="9" y="47"/>
                  <a:pt x="9" y="47"/>
                </a:cubicBezTo>
                <a:cubicBezTo>
                  <a:pt x="10" y="48"/>
                  <a:pt x="10" y="48"/>
                  <a:pt x="10" y="48"/>
                </a:cubicBezTo>
                <a:cubicBezTo>
                  <a:pt x="11" y="48"/>
                  <a:pt x="11" y="48"/>
                  <a:pt x="11" y="48"/>
                </a:cubicBezTo>
                <a:cubicBezTo>
                  <a:pt x="12" y="48"/>
                  <a:pt x="12" y="48"/>
                  <a:pt x="12" y="48"/>
                </a:cubicBezTo>
                <a:cubicBezTo>
                  <a:pt x="14" y="47"/>
                  <a:pt x="14" y="47"/>
                  <a:pt x="14" y="47"/>
                </a:cubicBezTo>
                <a:cubicBezTo>
                  <a:pt x="15" y="47"/>
                  <a:pt x="15" y="47"/>
                  <a:pt x="15" y="47"/>
                </a:cubicBezTo>
                <a:cubicBezTo>
                  <a:pt x="16" y="47"/>
                  <a:pt x="16" y="47"/>
                  <a:pt x="16" y="47"/>
                </a:cubicBezTo>
                <a:cubicBezTo>
                  <a:pt x="16" y="46"/>
                  <a:pt x="16" y="46"/>
                  <a:pt x="16" y="46"/>
                </a:cubicBezTo>
                <a:cubicBezTo>
                  <a:pt x="15" y="46"/>
                  <a:pt x="15" y="46"/>
                  <a:pt x="15" y="46"/>
                </a:cubicBezTo>
                <a:cubicBezTo>
                  <a:pt x="15" y="45"/>
                  <a:pt x="15" y="45"/>
                  <a:pt x="15" y="45"/>
                </a:cubicBezTo>
                <a:cubicBezTo>
                  <a:pt x="14" y="45"/>
                  <a:pt x="14" y="45"/>
                  <a:pt x="14" y="45"/>
                </a:cubicBezTo>
                <a:cubicBezTo>
                  <a:pt x="13" y="44"/>
                  <a:pt x="13" y="44"/>
                  <a:pt x="13" y="44"/>
                </a:cubicBezTo>
                <a:cubicBezTo>
                  <a:pt x="14" y="45"/>
                  <a:pt x="14" y="45"/>
                  <a:pt x="14" y="45"/>
                </a:cubicBezTo>
                <a:cubicBezTo>
                  <a:pt x="15" y="44"/>
                  <a:pt x="15" y="44"/>
                  <a:pt x="15" y="44"/>
                </a:cubicBezTo>
                <a:cubicBezTo>
                  <a:pt x="16" y="46"/>
                  <a:pt x="16" y="46"/>
                  <a:pt x="16" y="46"/>
                </a:cubicBezTo>
                <a:cubicBezTo>
                  <a:pt x="17" y="46"/>
                  <a:pt x="17" y="46"/>
                  <a:pt x="17" y="46"/>
                </a:cubicBezTo>
                <a:cubicBezTo>
                  <a:pt x="17" y="45"/>
                  <a:pt x="17" y="45"/>
                  <a:pt x="17" y="45"/>
                </a:cubicBezTo>
                <a:cubicBezTo>
                  <a:pt x="17" y="44"/>
                  <a:pt x="17" y="44"/>
                  <a:pt x="17" y="44"/>
                </a:cubicBezTo>
                <a:cubicBezTo>
                  <a:pt x="17" y="44"/>
                  <a:pt x="17" y="44"/>
                  <a:pt x="17" y="44"/>
                </a:cubicBezTo>
                <a:cubicBezTo>
                  <a:pt x="18" y="43"/>
                  <a:pt x="18" y="43"/>
                  <a:pt x="18" y="43"/>
                </a:cubicBezTo>
                <a:cubicBezTo>
                  <a:pt x="17" y="42"/>
                  <a:pt x="17" y="42"/>
                  <a:pt x="17" y="42"/>
                </a:cubicBezTo>
                <a:cubicBezTo>
                  <a:pt x="17" y="41"/>
                  <a:pt x="17" y="41"/>
                  <a:pt x="17" y="41"/>
                </a:cubicBezTo>
                <a:cubicBezTo>
                  <a:pt x="17" y="41"/>
                  <a:pt x="17" y="41"/>
                  <a:pt x="17" y="41"/>
                </a:cubicBezTo>
                <a:cubicBezTo>
                  <a:pt x="18" y="41"/>
                  <a:pt x="18" y="41"/>
                  <a:pt x="18" y="41"/>
                </a:cubicBezTo>
                <a:cubicBezTo>
                  <a:pt x="18" y="42"/>
                  <a:pt x="18" y="42"/>
                  <a:pt x="18" y="42"/>
                </a:cubicBezTo>
                <a:cubicBezTo>
                  <a:pt x="19" y="43"/>
                  <a:pt x="19" y="43"/>
                  <a:pt x="19" y="43"/>
                </a:cubicBezTo>
                <a:cubicBezTo>
                  <a:pt x="20" y="43"/>
                  <a:pt x="20" y="43"/>
                  <a:pt x="20" y="43"/>
                </a:cubicBezTo>
                <a:cubicBezTo>
                  <a:pt x="20" y="43"/>
                  <a:pt x="20" y="43"/>
                  <a:pt x="20" y="43"/>
                </a:cubicBezTo>
                <a:cubicBezTo>
                  <a:pt x="20" y="42"/>
                  <a:pt x="20" y="42"/>
                  <a:pt x="20" y="42"/>
                </a:cubicBezTo>
                <a:cubicBezTo>
                  <a:pt x="20" y="42"/>
                  <a:pt x="20" y="42"/>
                  <a:pt x="20" y="42"/>
                </a:cubicBezTo>
                <a:cubicBezTo>
                  <a:pt x="21" y="43"/>
                  <a:pt x="21" y="43"/>
                  <a:pt x="21" y="43"/>
                </a:cubicBezTo>
                <a:cubicBezTo>
                  <a:pt x="21" y="43"/>
                  <a:pt x="21" y="43"/>
                  <a:pt x="21" y="43"/>
                </a:cubicBezTo>
                <a:cubicBezTo>
                  <a:pt x="21" y="42"/>
                  <a:pt x="21" y="42"/>
                  <a:pt x="21" y="42"/>
                </a:cubicBezTo>
                <a:cubicBezTo>
                  <a:pt x="21" y="42"/>
                  <a:pt x="21" y="42"/>
                  <a:pt x="21" y="42"/>
                </a:cubicBezTo>
                <a:cubicBezTo>
                  <a:pt x="21" y="40"/>
                  <a:pt x="21" y="40"/>
                  <a:pt x="21" y="40"/>
                </a:cubicBezTo>
                <a:cubicBezTo>
                  <a:pt x="22" y="41"/>
                  <a:pt x="22" y="41"/>
                  <a:pt x="22" y="41"/>
                </a:cubicBezTo>
                <a:cubicBezTo>
                  <a:pt x="23" y="42"/>
                  <a:pt x="23" y="42"/>
                  <a:pt x="23" y="42"/>
                </a:cubicBezTo>
                <a:cubicBezTo>
                  <a:pt x="24" y="42"/>
                  <a:pt x="24" y="42"/>
                  <a:pt x="24" y="42"/>
                </a:cubicBezTo>
                <a:cubicBezTo>
                  <a:pt x="24" y="43"/>
                  <a:pt x="24" y="43"/>
                  <a:pt x="24" y="43"/>
                </a:cubicBezTo>
                <a:cubicBezTo>
                  <a:pt x="25" y="43"/>
                  <a:pt x="25" y="43"/>
                  <a:pt x="25" y="43"/>
                </a:cubicBezTo>
                <a:cubicBezTo>
                  <a:pt x="26" y="43"/>
                  <a:pt x="26" y="43"/>
                  <a:pt x="26" y="43"/>
                </a:cubicBezTo>
                <a:cubicBezTo>
                  <a:pt x="26" y="42"/>
                  <a:pt x="26" y="42"/>
                  <a:pt x="26" y="42"/>
                </a:cubicBezTo>
                <a:cubicBezTo>
                  <a:pt x="26" y="43"/>
                  <a:pt x="26" y="43"/>
                  <a:pt x="26" y="43"/>
                </a:cubicBezTo>
                <a:cubicBezTo>
                  <a:pt x="26" y="44"/>
                  <a:pt x="26" y="44"/>
                  <a:pt x="26" y="44"/>
                </a:cubicBezTo>
                <a:cubicBezTo>
                  <a:pt x="27" y="44"/>
                  <a:pt x="27" y="44"/>
                  <a:pt x="27" y="44"/>
                </a:cubicBezTo>
                <a:cubicBezTo>
                  <a:pt x="28" y="45"/>
                  <a:pt x="28" y="45"/>
                  <a:pt x="28" y="45"/>
                </a:cubicBezTo>
                <a:cubicBezTo>
                  <a:pt x="31" y="46"/>
                  <a:pt x="31" y="46"/>
                  <a:pt x="31" y="46"/>
                </a:cubicBezTo>
                <a:cubicBezTo>
                  <a:pt x="32" y="46"/>
                  <a:pt x="32" y="46"/>
                  <a:pt x="32" y="46"/>
                </a:cubicBezTo>
                <a:cubicBezTo>
                  <a:pt x="33" y="47"/>
                  <a:pt x="33" y="47"/>
                  <a:pt x="33" y="47"/>
                </a:cubicBezTo>
                <a:cubicBezTo>
                  <a:pt x="34" y="49"/>
                  <a:pt x="34" y="49"/>
                  <a:pt x="34" y="49"/>
                </a:cubicBezTo>
                <a:cubicBezTo>
                  <a:pt x="35" y="51"/>
                  <a:pt x="35" y="51"/>
                  <a:pt x="35" y="51"/>
                </a:cubicBezTo>
                <a:cubicBezTo>
                  <a:pt x="35" y="52"/>
                  <a:pt x="35" y="52"/>
                  <a:pt x="35" y="52"/>
                </a:cubicBezTo>
                <a:cubicBezTo>
                  <a:pt x="37" y="52"/>
                  <a:pt x="37" y="52"/>
                  <a:pt x="37" y="52"/>
                </a:cubicBezTo>
                <a:cubicBezTo>
                  <a:pt x="37" y="53"/>
                  <a:pt x="37" y="53"/>
                  <a:pt x="37" y="53"/>
                </a:cubicBezTo>
                <a:cubicBezTo>
                  <a:pt x="38" y="54"/>
                  <a:pt x="38" y="54"/>
                  <a:pt x="38" y="54"/>
                </a:cubicBezTo>
                <a:cubicBezTo>
                  <a:pt x="40" y="57"/>
                  <a:pt x="40" y="57"/>
                  <a:pt x="40" y="57"/>
                </a:cubicBezTo>
                <a:cubicBezTo>
                  <a:pt x="41" y="58"/>
                  <a:pt x="41" y="58"/>
                  <a:pt x="41" y="58"/>
                </a:cubicBezTo>
                <a:cubicBezTo>
                  <a:pt x="42" y="59"/>
                  <a:pt x="42" y="59"/>
                  <a:pt x="42" y="59"/>
                </a:cubicBezTo>
                <a:cubicBezTo>
                  <a:pt x="43" y="59"/>
                  <a:pt x="43" y="59"/>
                  <a:pt x="43" y="59"/>
                </a:cubicBezTo>
                <a:cubicBezTo>
                  <a:pt x="44" y="59"/>
                  <a:pt x="44" y="59"/>
                  <a:pt x="44" y="59"/>
                </a:cubicBezTo>
                <a:cubicBezTo>
                  <a:pt x="45" y="59"/>
                  <a:pt x="45" y="59"/>
                  <a:pt x="45" y="59"/>
                </a:cubicBezTo>
                <a:cubicBezTo>
                  <a:pt x="46" y="60"/>
                  <a:pt x="46" y="60"/>
                  <a:pt x="46" y="60"/>
                </a:cubicBezTo>
                <a:cubicBezTo>
                  <a:pt x="48" y="59"/>
                  <a:pt x="48" y="59"/>
                  <a:pt x="48" y="59"/>
                </a:cubicBezTo>
                <a:cubicBezTo>
                  <a:pt x="49" y="60"/>
                  <a:pt x="49" y="60"/>
                  <a:pt x="49" y="60"/>
                </a:cubicBezTo>
                <a:cubicBezTo>
                  <a:pt x="50" y="60"/>
                  <a:pt x="50" y="60"/>
                  <a:pt x="50" y="60"/>
                </a:cubicBezTo>
                <a:cubicBezTo>
                  <a:pt x="52" y="60"/>
                  <a:pt x="52" y="60"/>
                  <a:pt x="52" y="60"/>
                </a:cubicBezTo>
                <a:cubicBezTo>
                  <a:pt x="53" y="61"/>
                  <a:pt x="53" y="61"/>
                  <a:pt x="53" y="61"/>
                </a:cubicBezTo>
                <a:cubicBezTo>
                  <a:pt x="54" y="60"/>
                  <a:pt x="54" y="60"/>
                  <a:pt x="54" y="60"/>
                </a:cubicBezTo>
                <a:cubicBezTo>
                  <a:pt x="55" y="61"/>
                  <a:pt x="55" y="61"/>
                  <a:pt x="55" y="61"/>
                </a:cubicBezTo>
                <a:cubicBezTo>
                  <a:pt x="56" y="61"/>
                  <a:pt x="56" y="61"/>
                  <a:pt x="56" y="61"/>
                </a:cubicBezTo>
                <a:cubicBezTo>
                  <a:pt x="56" y="61"/>
                  <a:pt x="56" y="61"/>
                  <a:pt x="56" y="61"/>
                </a:cubicBezTo>
                <a:cubicBezTo>
                  <a:pt x="56" y="62"/>
                  <a:pt x="56" y="62"/>
                  <a:pt x="56" y="62"/>
                </a:cubicBezTo>
                <a:cubicBezTo>
                  <a:pt x="57" y="62"/>
                  <a:pt x="57" y="62"/>
                  <a:pt x="57" y="62"/>
                </a:cubicBezTo>
                <a:cubicBezTo>
                  <a:pt x="58" y="63"/>
                  <a:pt x="58" y="63"/>
                  <a:pt x="58" y="63"/>
                </a:cubicBezTo>
                <a:cubicBezTo>
                  <a:pt x="60" y="63"/>
                  <a:pt x="60" y="63"/>
                  <a:pt x="60" y="63"/>
                </a:cubicBezTo>
                <a:cubicBezTo>
                  <a:pt x="60" y="62"/>
                  <a:pt x="60" y="62"/>
                  <a:pt x="60" y="62"/>
                </a:cubicBezTo>
                <a:cubicBezTo>
                  <a:pt x="59" y="61"/>
                  <a:pt x="59" y="61"/>
                  <a:pt x="59" y="61"/>
                </a:cubicBezTo>
                <a:cubicBezTo>
                  <a:pt x="58" y="61"/>
                  <a:pt x="58" y="61"/>
                  <a:pt x="58" y="61"/>
                </a:cubicBezTo>
                <a:cubicBezTo>
                  <a:pt x="58" y="60"/>
                  <a:pt x="58" y="60"/>
                  <a:pt x="58" y="60"/>
                </a:cubicBezTo>
                <a:cubicBezTo>
                  <a:pt x="59" y="60"/>
                  <a:pt x="59" y="60"/>
                  <a:pt x="59" y="60"/>
                </a:cubicBezTo>
                <a:cubicBezTo>
                  <a:pt x="60" y="61"/>
                  <a:pt x="60" y="61"/>
                  <a:pt x="60" y="61"/>
                </a:cubicBezTo>
                <a:cubicBezTo>
                  <a:pt x="61" y="60"/>
                  <a:pt x="61" y="60"/>
                  <a:pt x="61" y="60"/>
                </a:cubicBezTo>
                <a:cubicBezTo>
                  <a:pt x="59" y="59"/>
                  <a:pt x="59" y="59"/>
                  <a:pt x="59" y="59"/>
                </a:cubicBezTo>
                <a:cubicBezTo>
                  <a:pt x="56" y="59"/>
                  <a:pt x="56" y="59"/>
                  <a:pt x="56" y="59"/>
                </a:cubicBezTo>
                <a:cubicBezTo>
                  <a:pt x="55" y="58"/>
                  <a:pt x="55" y="58"/>
                  <a:pt x="55" y="58"/>
                </a:cubicBezTo>
                <a:cubicBezTo>
                  <a:pt x="54" y="57"/>
                  <a:pt x="54" y="57"/>
                  <a:pt x="54" y="57"/>
                </a:cubicBezTo>
                <a:cubicBezTo>
                  <a:pt x="56" y="57"/>
                  <a:pt x="56" y="57"/>
                  <a:pt x="56" y="57"/>
                </a:cubicBezTo>
                <a:cubicBezTo>
                  <a:pt x="56" y="57"/>
                  <a:pt x="56" y="57"/>
                  <a:pt x="56" y="57"/>
                </a:cubicBezTo>
                <a:cubicBezTo>
                  <a:pt x="57" y="56"/>
                  <a:pt x="57" y="56"/>
                  <a:pt x="57" y="56"/>
                </a:cubicBezTo>
                <a:cubicBezTo>
                  <a:pt x="56" y="56"/>
                  <a:pt x="56" y="56"/>
                  <a:pt x="56" y="56"/>
                </a:cubicBezTo>
                <a:cubicBezTo>
                  <a:pt x="54" y="56"/>
                  <a:pt x="54" y="56"/>
                  <a:pt x="54" y="56"/>
                </a:cubicBezTo>
                <a:cubicBezTo>
                  <a:pt x="52" y="56"/>
                  <a:pt x="52" y="56"/>
                  <a:pt x="52" y="56"/>
                </a:cubicBezTo>
                <a:cubicBezTo>
                  <a:pt x="51" y="55"/>
                  <a:pt x="51" y="55"/>
                  <a:pt x="51" y="55"/>
                </a:cubicBezTo>
                <a:cubicBezTo>
                  <a:pt x="51" y="54"/>
                  <a:pt x="51" y="54"/>
                  <a:pt x="51" y="54"/>
                </a:cubicBezTo>
                <a:cubicBezTo>
                  <a:pt x="52" y="53"/>
                  <a:pt x="52" y="53"/>
                  <a:pt x="52" y="53"/>
                </a:cubicBezTo>
                <a:cubicBezTo>
                  <a:pt x="52" y="52"/>
                  <a:pt x="52" y="52"/>
                  <a:pt x="52" y="52"/>
                </a:cubicBezTo>
                <a:cubicBezTo>
                  <a:pt x="52" y="52"/>
                  <a:pt x="52" y="52"/>
                  <a:pt x="52" y="52"/>
                </a:cubicBezTo>
                <a:cubicBezTo>
                  <a:pt x="51" y="52"/>
                  <a:pt x="51" y="52"/>
                  <a:pt x="51" y="52"/>
                </a:cubicBezTo>
                <a:cubicBezTo>
                  <a:pt x="50" y="52"/>
                  <a:pt x="50" y="52"/>
                  <a:pt x="50" y="52"/>
                </a:cubicBezTo>
                <a:cubicBezTo>
                  <a:pt x="49" y="52"/>
                  <a:pt x="49" y="52"/>
                  <a:pt x="49" y="52"/>
                </a:cubicBezTo>
                <a:cubicBezTo>
                  <a:pt x="49" y="52"/>
                  <a:pt x="49" y="52"/>
                  <a:pt x="49" y="52"/>
                </a:cubicBezTo>
                <a:cubicBezTo>
                  <a:pt x="47" y="51"/>
                  <a:pt x="47" y="51"/>
                  <a:pt x="47" y="51"/>
                </a:cubicBezTo>
                <a:cubicBezTo>
                  <a:pt x="47" y="49"/>
                  <a:pt x="47" y="49"/>
                  <a:pt x="47" y="49"/>
                </a:cubicBezTo>
                <a:cubicBezTo>
                  <a:pt x="46" y="48"/>
                  <a:pt x="46" y="48"/>
                  <a:pt x="46" y="48"/>
                </a:cubicBezTo>
                <a:cubicBezTo>
                  <a:pt x="45" y="46"/>
                  <a:pt x="45" y="46"/>
                  <a:pt x="45" y="46"/>
                </a:cubicBezTo>
                <a:cubicBezTo>
                  <a:pt x="45" y="45"/>
                  <a:pt x="45" y="45"/>
                  <a:pt x="45" y="45"/>
                </a:cubicBezTo>
                <a:cubicBezTo>
                  <a:pt x="44" y="44"/>
                  <a:pt x="44" y="44"/>
                  <a:pt x="44" y="44"/>
                </a:cubicBezTo>
                <a:cubicBezTo>
                  <a:pt x="43" y="44"/>
                  <a:pt x="43" y="44"/>
                  <a:pt x="43" y="44"/>
                </a:cubicBezTo>
                <a:cubicBezTo>
                  <a:pt x="42" y="44"/>
                  <a:pt x="42" y="44"/>
                  <a:pt x="42" y="44"/>
                </a:cubicBezTo>
                <a:cubicBezTo>
                  <a:pt x="41" y="43"/>
                  <a:pt x="41" y="43"/>
                  <a:pt x="41" y="43"/>
                </a:cubicBezTo>
                <a:cubicBezTo>
                  <a:pt x="40" y="41"/>
                  <a:pt x="40" y="41"/>
                  <a:pt x="40" y="41"/>
                </a:cubicBezTo>
                <a:cubicBezTo>
                  <a:pt x="40" y="40"/>
                  <a:pt x="40" y="40"/>
                  <a:pt x="40" y="40"/>
                </a:cubicBezTo>
                <a:cubicBezTo>
                  <a:pt x="39" y="39"/>
                  <a:pt x="39" y="39"/>
                  <a:pt x="39" y="39"/>
                </a:cubicBezTo>
                <a:cubicBezTo>
                  <a:pt x="38" y="38"/>
                  <a:pt x="38" y="38"/>
                  <a:pt x="38" y="38"/>
                </a:cubicBezTo>
                <a:cubicBezTo>
                  <a:pt x="38" y="37"/>
                  <a:pt x="38" y="37"/>
                  <a:pt x="38" y="37"/>
                </a:cubicBezTo>
                <a:cubicBezTo>
                  <a:pt x="41" y="37"/>
                  <a:pt x="41" y="37"/>
                  <a:pt x="41" y="37"/>
                </a:cubicBezTo>
                <a:cubicBezTo>
                  <a:pt x="43" y="36"/>
                  <a:pt x="43" y="36"/>
                  <a:pt x="43" y="36"/>
                </a:cubicBezTo>
                <a:cubicBezTo>
                  <a:pt x="44" y="35"/>
                  <a:pt x="44" y="35"/>
                  <a:pt x="44" y="35"/>
                </a:cubicBezTo>
                <a:cubicBezTo>
                  <a:pt x="43" y="34"/>
                  <a:pt x="43" y="34"/>
                  <a:pt x="43" y="34"/>
                </a:cubicBezTo>
                <a:cubicBezTo>
                  <a:pt x="42" y="32"/>
                  <a:pt x="42" y="32"/>
                  <a:pt x="42" y="32"/>
                </a:cubicBezTo>
                <a:cubicBezTo>
                  <a:pt x="40" y="32"/>
                  <a:pt x="40" y="32"/>
                  <a:pt x="40" y="32"/>
                </a:cubicBezTo>
                <a:cubicBezTo>
                  <a:pt x="40" y="32"/>
                  <a:pt x="40" y="32"/>
                  <a:pt x="40" y="32"/>
                </a:cubicBezTo>
                <a:cubicBezTo>
                  <a:pt x="38" y="31"/>
                  <a:pt x="38" y="31"/>
                  <a:pt x="38" y="31"/>
                </a:cubicBezTo>
                <a:cubicBezTo>
                  <a:pt x="36" y="30"/>
                  <a:pt x="36" y="30"/>
                  <a:pt x="36" y="30"/>
                </a:cubicBezTo>
                <a:cubicBezTo>
                  <a:pt x="35" y="29"/>
                  <a:pt x="35" y="29"/>
                  <a:pt x="35" y="29"/>
                </a:cubicBezTo>
                <a:cubicBezTo>
                  <a:pt x="34" y="29"/>
                  <a:pt x="34" y="29"/>
                  <a:pt x="34" y="29"/>
                </a:cubicBezTo>
                <a:cubicBezTo>
                  <a:pt x="31" y="28"/>
                  <a:pt x="31" y="28"/>
                  <a:pt x="31" y="28"/>
                </a:cubicBezTo>
                <a:cubicBezTo>
                  <a:pt x="30" y="27"/>
                  <a:pt x="30" y="27"/>
                  <a:pt x="30" y="27"/>
                </a:cubicBezTo>
                <a:cubicBezTo>
                  <a:pt x="31" y="26"/>
                  <a:pt x="31" y="26"/>
                  <a:pt x="31" y="26"/>
                </a:cubicBezTo>
                <a:cubicBezTo>
                  <a:pt x="31" y="25"/>
                  <a:pt x="31" y="25"/>
                  <a:pt x="31" y="25"/>
                </a:cubicBezTo>
                <a:cubicBezTo>
                  <a:pt x="31" y="24"/>
                  <a:pt x="31" y="24"/>
                  <a:pt x="31" y="24"/>
                </a:cubicBezTo>
                <a:cubicBezTo>
                  <a:pt x="28" y="21"/>
                  <a:pt x="28" y="21"/>
                  <a:pt x="28" y="21"/>
                </a:cubicBezTo>
                <a:cubicBezTo>
                  <a:pt x="28" y="22"/>
                  <a:pt x="28" y="22"/>
                  <a:pt x="28" y="22"/>
                </a:cubicBezTo>
                <a:cubicBezTo>
                  <a:pt x="27" y="22"/>
                  <a:pt x="27" y="22"/>
                  <a:pt x="27" y="22"/>
                </a:cubicBezTo>
                <a:cubicBezTo>
                  <a:pt x="27" y="21"/>
                  <a:pt x="27" y="21"/>
                  <a:pt x="27" y="21"/>
                </a:cubicBezTo>
                <a:cubicBezTo>
                  <a:pt x="25" y="20"/>
                  <a:pt x="25" y="20"/>
                  <a:pt x="25" y="20"/>
                </a:cubicBezTo>
                <a:cubicBezTo>
                  <a:pt x="25" y="19"/>
                  <a:pt x="25" y="19"/>
                  <a:pt x="25" y="19"/>
                </a:cubicBezTo>
                <a:cubicBezTo>
                  <a:pt x="24" y="19"/>
                  <a:pt x="24" y="19"/>
                  <a:pt x="24" y="19"/>
                </a:cubicBezTo>
                <a:cubicBezTo>
                  <a:pt x="23" y="18"/>
                  <a:pt x="23" y="18"/>
                  <a:pt x="23" y="18"/>
                </a:cubicBezTo>
                <a:cubicBezTo>
                  <a:pt x="22" y="18"/>
                  <a:pt x="22" y="18"/>
                  <a:pt x="22" y="18"/>
                </a:cubicBezTo>
                <a:cubicBezTo>
                  <a:pt x="21" y="18"/>
                  <a:pt x="21" y="18"/>
                  <a:pt x="21" y="18"/>
                </a:cubicBezTo>
                <a:cubicBezTo>
                  <a:pt x="20" y="17"/>
                  <a:pt x="20" y="17"/>
                  <a:pt x="20" y="17"/>
                </a:cubicBezTo>
                <a:cubicBezTo>
                  <a:pt x="19" y="16"/>
                  <a:pt x="19" y="16"/>
                  <a:pt x="19" y="16"/>
                </a:cubicBezTo>
                <a:cubicBezTo>
                  <a:pt x="17" y="16"/>
                  <a:pt x="17" y="16"/>
                  <a:pt x="17" y="16"/>
                </a:cubicBezTo>
                <a:cubicBezTo>
                  <a:pt x="15" y="15"/>
                  <a:pt x="15" y="15"/>
                  <a:pt x="15" y="15"/>
                </a:cubicBezTo>
                <a:cubicBezTo>
                  <a:pt x="12" y="14"/>
                  <a:pt x="12" y="14"/>
                  <a:pt x="12" y="14"/>
                </a:cubicBezTo>
                <a:cubicBezTo>
                  <a:pt x="10" y="14"/>
                  <a:pt x="10" y="14"/>
                  <a:pt x="10" y="14"/>
                </a:cubicBezTo>
                <a:cubicBezTo>
                  <a:pt x="10" y="13"/>
                  <a:pt x="10" y="13"/>
                  <a:pt x="10" y="13"/>
                </a:cubicBezTo>
                <a:cubicBezTo>
                  <a:pt x="9" y="13"/>
                  <a:pt x="9" y="13"/>
                  <a:pt x="9" y="13"/>
                </a:cubicBezTo>
                <a:cubicBezTo>
                  <a:pt x="8" y="13"/>
                  <a:pt x="8" y="13"/>
                  <a:pt x="8" y="13"/>
                </a:cubicBezTo>
                <a:cubicBezTo>
                  <a:pt x="6" y="12"/>
                  <a:pt x="6" y="12"/>
                  <a:pt x="6" y="12"/>
                </a:cubicBezTo>
                <a:cubicBezTo>
                  <a:pt x="5" y="12"/>
                  <a:pt x="5" y="12"/>
                  <a:pt x="5" y="12"/>
                </a:cubicBezTo>
                <a:cubicBezTo>
                  <a:pt x="4" y="11"/>
                  <a:pt x="4" y="11"/>
                  <a:pt x="4" y="11"/>
                </a:cubicBezTo>
                <a:cubicBezTo>
                  <a:pt x="2" y="10"/>
                  <a:pt x="2" y="10"/>
                  <a:pt x="2" y="10"/>
                </a:cubicBezTo>
                <a:lnTo>
                  <a:pt x="1" y="1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6" name="Freeform 24">
            <a:extLst>
              <a:ext uri="{FF2B5EF4-FFF2-40B4-BE49-F238E27FC236}">
                <a16:creationId xmlns:a16="http://schemas.microsoft.com/office/drawing/2014/main" id="{8EC4C9CB-57F1-766C-15C0-FBD3D101837B}"/>
              </a:ext>
            </a:extLst>
          </p:cNvPr>
          <p:cNvSpPr>
            <a:spLocks noEditPoints="1"/>
          </p:cNvSpPr>
          <p:nvPr userDrawn="1"/>
        </p:nvSpPr>
        <p:spPr bwMode="auto">
          <a:xfrm>
            <a:off x="20471063" y="8095531"/>
            <a:ext cx="625437" cy="933450"/>
          </a:xfrm>
          <a:custGeom>
            <a:avLst/>
            <a:gdLst>
              <a:gd name="T0" fmla="*/ 24 w 63"/>
              <a:gd name="T1" fmla="*/ 1 h 94"/>
              <a:gd name="T2" fmla="*/ 32 w 63"/>
              <a:gd name="T3" fmla="*/ 37 h 94"/>
              <a:gd name="T4" fmla="*/ 40 w 63"/>
              <a:gd name="T5" fmla="*/ 38 h 94"/>
              <a:gd name="T6" fmla="*/ 44 w 63"/>
              <a:gd name="T7" fmla="*/ 44 h 94"/>
              <a:gd name="T8" fmla="*/ 43 w 63"/>
              <a:gd name="T9" fmla="*/ 46 h 94"/>
              <a:gd name="T10" fmla="*/ 34 w 63"/>
              <a:gd name="T11" fmla="*/ 39 h 94"/>
              <a:gd name="T12" fmla="*/ 26 w 63"/>
              <a:gd name="T13" fmla="*/ 41 h 94"/>
              <a:gd name="T14" fmla="*/ 22 w 63"/>
              <a:gd name="T15" fmla="*/ 35 h 94"/>
              <a:gd name="T16" fmla="*/ 18 w 63"/>
              <a:gd name="T17" fmla="*/ 32 h 94"/>
              <a:gd name="T18" fmla="*/ 17 w 63"/>
              <a:gd name="T19" fmla="*/ 23 h 94"/>
              <a:gd name="T20" fmla="*/ 24 w 63"/>
              <a:gd name="T21" fmla="*/ 7 h 94"/>
              <a:gd name="T22" fmla="*/ 29 w 63"/>
              <a:gd name="T23" fmla="*/ 12 h 94"/>
              <a:gd name="T24" fmla="*/ 29 w 63"/>
              <a:gd name="T25" fmla="*/ 23 h 94"/>
              <a:gd name="T26" fmla="*/ 30 w 63"/>
              <a:gd name="T27" fmla="*/ 35 h 94"/>
              <a:gd name="T28" fmla="*/ 31 w 63"/>
              <a:gd name="T29" fmla="*/ 30 h 94"/>
              <a:gd name="T30" fmla="*/ 21 w 63"/>
              <a:gd name="T31" fmla="*/ 42 h 94"/>
              <a:gd name="T32" fmla="*/ 28 w 63"/>
              <a:gd name="T33" fmla="*/ 48 h 94"/>
              <a:gd name="T34" fmla="*/ 44 w 63"/>
              <a:gd name="T35" fmla="*/ 37 h 94"/>
              <a:gd name="T36" fmla="*/ 31 w 63"/>
              <a:gd name="T37" fmla="*/ 42 h 94"/>
              <a:gd name="T38" fmla="*/ 33 w 63"/>
              <a:gd name="T39" fmla="*/ 49 h 94"/>
              <a:gd name="T40" fmla="*/ 38 w 63"/>
              <a:gd name="T41" fmla="*/ 43 h 94"/>
              <a:gd name="T42" fmla="*/ 41 w 63"/>
              <a:gd name="T43" fmla="*/ 47 h 94"/>
              <a:gd name="T44" fmla="*/ 41 w 63"/>
              <a:gd name="T45" fmla="*/ 48 h 94"/>
              <a:gd name="T46" fmla="*/ 32 w 63"/>
              <a:gd name="T47" fmla="*/ 62 h 94"/>
              <a:gd name="T48" fmla="*/ 34 w 63"/>
              <a:gd name="T49" fmla="*/ 53 h 94"/>
              <a:gd name="T50" fmla="*/ 38 w 63"/>
              <a:gd name="T51" fmla="*/ 57 h 94"/>
              <a:gd name="T52" fmla="*/ 37 w 63"/>
              <a:gd name="T53" fmla="*/ 61 h 94"/>
              <a:gd name="T54" fmla="*/ 45 w 63"/>
              <a:gd name="T55" fmla="*/ 61 h 94"/>
              <a:gd name="T56" fmla="*/ 41 w 63"/>
              <a:gd name="T57" fmla="*/ 68 h 94"/>
              <a:gd name="T58" fmla="*/ 38 w 63"/>
              <a:gd name="T59" fmla="*/ 61 h 94"/>
              <a:gd name="T60" fmla="*/ 41 w 63"/>
              <a:gd name="T61" fmla="*/ 70 h 94"/>
              <a:gd name="T62" fmla="*/ 48 w 63"/>
              <a:gd name="T63" fmla="*/ 64 h 94"/>
              <a:gd name="T64" fmla="*/ 53 w 63"/>
              <a:gd name="T65" fmla="*/ 65 h 94"/>
              <a:gd name="T66" fmla="*/ 48 w 63"/>
              <a:gd name="T67" fmla="*/ 55 h 94"/>
              <a:gd name="T68" fmla="*/ 56 w 63"/>
              <a:gd name="T69" fmla="*/ 57 h 94"/>
              <a:gd name="T70" fmla="*/ 51 w 63"/>
              <a:gd name="T71" fmla="*/ 47 h 94"/>
              <a:gd name="T72" fmla="*/ 51 w 63"/>
              <a:gd name="T73" fmla="*/ 54 h 94"/>
              <a:gd name="T74" fmla="*/ 47 w 63"/>
              <a:gd name="T75" fmla="*/ 57 h 94"/>
              <a:gd name="T76" fmla="*/ 53 w 63"/>
              <a:gd name="T77" fmla="*/ 63 h 94"/>
              <a:gd name="T78" fmla="*/ 56 w 63"/>
              <a:gd name="T79" fmla="*/ 59 h 94"/>
              <a:gd name="T80" fmla="*/ 56 w 63"/>
              <a:gd name="T81" fmla="*/ 62 h 94"/>
              <a:gd name="T82" fmla="*/ 58 w 63"/>
              <a:gd name="T83" fmla="*/ 67 h 94"/>
              <a:gd name="T84" fmla="*/ 34 w 63"/>
              <a:gd name="T85" fmla="*/ 81 h 94"/>
              <a:gd name="T86" fmla="*/ 43 w 63"/>
              <a:gd name="T87" fmla="*/ 73 h 94"/>
              <a:gd name="T88" fmla="*/ 51 w 63"/>
              <a:gd name="T89" fmla="*/ 74 h 94"/>
              <a:gd name="T90" fmla="*/ 54 w 63"/>
              <a:gd name="T91" fmla="*/ 66 h 94"/>
              <a:gd name="T92" fmla="*/ 59 w 63"/>
              <a:gd name="T93" fmla="*/ 74 h 94"/>
              <a:gd name="T94" fmla="*/ 62 w 63"/>
              <a:gd name="T95" fmla="*/ 85 h 94"/>
              <a:gd name="T96" fmla="*/ 60 w 63"/>
              <a:gd name="T97" fmla="*/ 86 h 94"/>
              <a:gd name="T98" fmla="*/ 56 w 63"/>
              <a:gd name="T99" fmla="*/ 94 h 94"/>
              <a:gd name="T100" fmla="*/ 49 w 63"/>
              <a:gd name="T101" fmla="*/ 91 h 94"/>
              <a:gd name="T102" fmla="*/ 47 w 63"/>
              <a:gd name="T103" fmla="*/ 83 h 94"/>
              <a:gd name="T104" fmla="*/ 41 w 63"/>
              <a:gd name="T105" fmla="*/ 82 h 94"/>
              <a:gd name="T106" fmla="*/ 37 w 63"/>
              <a:gd name="T107" fmla="*/ 80 h 94"/>
              <a:gd name="T108" fmla="*/ 35 w 63"/>
              <a:gd name="T109" fmla="*/ 87 h 94"/>
              <a:gd name="T110" fmla="*/ 20 w 63"/>
              <a:gd name="T111" fmla="*/ 51 h 94"/>
              <a:gd name="T112" fmla="*/ 17 w 63"/>
              <a:gd name="T113" fmla="*/ 52 h 94"/>
              <a:gd name="T114" fmla="*/ 4 w 63"/>
              <a:gd name="T115" fmla="*/ 74 h 94"/>
              <a:gd name="T116" fmla="*/ 14 w 63"/>
              <a:gd name="T117" fmla="*/ 65 h 94"/>
              <a:gd name="T118" fmla="*/ 15 w 63"/>
              <a:gd name="T119" fmla="*/ 60 h 94"/>
              <a:gd name="T120" fmla="*/ 6 w 63"/>
              <a:gd name="T121" fmla="*/ 70 h 94"/>
              <a:gd name="T122" fmla="*/ 3 w 63"/>
              <a:gd name="T123" fmla="*/ 7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 h="94">
                <a:moveTo>
                  <a:pt x="23" y="4"/>
                </a:moveTo>
                <a:cubicBezTo>
                  <a:pt x="24" y="4"/>
                  <a:pt x="24" y="4"/>
                  <a:pt x="24" y="4"/>
                </a:cubicBezTo>
                <a:cubicBezTo>
                  <a:pt x="23" y="5"/>
                  <a:pt x="23" y="5"/>
                  <a:pt x="23" y="5"/>
                </a:cubicBezTo>
                <a:cubicBezTo>
                  <a:pt x="23" y="4"/>
                  <a:pt x="23" y="4"/>
                  <a:pt x="23" y="4"/>
                </a:cubicBezTo>
                <a:close/>
                <a:moveTo>
                  <a:pt x="22" y="2"/>
                </a:moveTo>
                <a:cubicBezTo>
                  <a:pt x="23" y="2"/>
                  <a:pt x="23" y="2"/>
                  <a:pt x="23" y="2"/>
                </a:cubicBezTo>
                <a:cubicBezTo>
                  <a:pt x="22" y="3"/>
                  <a:pt x="22" y="3"/>
                  <a:pt x="22" y="3"/>
                </a:cubicBezTo>
                <a:cubicBezTo>
                  <a:pt x="22" y="2"/>
                  <a:pt x="22" y="2"/>
                  <a:pt x="22" y="2"/>
                </a:cubicBezTo>
                <a:close/>
                <a:moveTo>
                  <a:pt x="24" y="0"/>
                </a:moveTo>
                <a:cubicBezTo>
                  <a:pt x="24" y="1"/>
                  <a:pt x="24" y="1"/>
                  <a:pt x="24" y="1"/>
                </a:cubicBezTo>
                <a:cubicBezTo>
                  <a:pt x="24" y="1"/>
                  <a:pt x="24" y="1"/>
                  <a:pt x="24" y="1"/>
                </a:cubicBezTo>
                <a:cubicBezTo>
                  <a:pt x="24" y="0"/>
                  <a:pt x="24" y="0"/>
                  <a:pt x="24" y="0"/>
                </a:cubicBezTo>
                <a:close/>
                <a:moveTo>
                  <a:pt x="27" y="3"/>
                </a:moveTo>
                <a:cubicBezTo>
                  <a:pt x="26" y="4"/>
                  <a:pt x="26" y="4"/>
                  <a:pt x="26" y="4"/>
                </a:cubicBezTo>
                <a:cubicBezTo>
                  <a:pt x="27" y="5"/>
                  <a:pt x="27" y="5"/>
                  <a:pt x="27" y="5"/>
                </a:cubicBezTo>
                <a:cubicBezTo>
                  <a:pt x="28" y="4"/>
                  <a:pt x="28" y="4"/>
                  <a:pt x="28" y="4"/>
                </a:cubicBezTo>
                <a:cubicBezTo>
                  <a:pt x="28" y="4"/>
                  <a:pt x="27" y="3"/>
                  <a:pt x="27" y="3"/>
                </a:cubicBezTo>
                <a:close/>
                <a:moveTo>
                  <a:pt x="28" y="35"/>
                </a:moveTo>
                <a:cubicBezTo>
                  <a:pt x="29" y="36"/>
                  <a:pt x="29" y="36"/>
                  <a:pt x="29" y="36"/>
                </a:cubicBezTo>
                <a:cubicBezTo>
                  <a:pt x="29" y="37"/>
                  <a:pt x="29" y="37"/>
                  <a:pt x="29" y="37"/>
                </a:cubicBezTo>
                <a:cubicBezTo>
                  <a:pt x="31" y="37"/>
                  <a:pt x="31" y="37"/>
                  <a:pt x="31" y="37"/>
                </a:cubicBezTo>
                <a:cubicBezTo>
                  <a:pt x="32" y="37"/>
                  <a:pt x="32" y="37"/>
                  <a:pt x="32" y="37"/>
                </a:cubicBezTo>
                <a:cubicBezTo>
                  <a:pt x="32" y="36"/>
                  <a:pt x="32" y="36"/>
                  <a:pt x="32" y="36"/>
                </a:cubicBezTo>
                <a:cubicBezTo>
                  <a:pt x="34" y="35"/>
                  <a:pt x="34" y="35"/>
                  <a:pt x="34" y="35"/>
                </a:cubicBezTo>
                <a:cubicBezTo>
                  <a:pt x="35" y="35"/>
                  <a:pt x="35" y="35"/>
                  <a:pt x="35" y="35"/>
                </a:cubicBezTo>
                <a:cubicBezTo>
                  <a:pt x="37" y="36"/>
                  <a:pt x="37" y="36"/>
                  <a:pt x="37" y="36"/>
                </a:cubicBezTo>
                <a:cubicBezTo>
                  <a:pt x="38" y="37"/>
                  <a:pt x="38" y="37"/>
                  <a:pt x="38" y="37"/>
                </a:cubicBezTo>
                <a:cubicBezTo>
                  <a:pt x="37" y="39"/>
                  <a:pt x="37" y="39"/>
                  <a:pt x="37" y="39"/>
                </a:cubicBezTo>
                <a:cubicBezTo>
                  <a:pt x="38" y="39"/>
                  <a:pt x="38" y="39"/>
                  <a:pt x="38" y="39"/>
                </a:cubicBezTo>
                <a:cubicBezTo>
                  <a:pt x="39" y="39"/>
                  <a:pt x="39" y="39"/>
                  <a:pt x="39" y="39"/>
                </a:cubicBezTo>
                <a:cubicBezTo>
                  <a:pt x="39" y="38"/>
                  <a:pt x="39" y="38"/>
                  <a:pt x="39" y="38"/>
                </a:cubicBezTo>
                <a:cubicBezTo>
                  <a:pt x="39" y="37"/>
                  <a:pt x="39" y="37"/>
                  <a:pt x="39" y="37"/>
                </a:cubicBezTo>
                <a:cubicBezTo>
                  <a:pt x="40" y="38"/>
                  <a:pt x="40" y="38"/>
                  <a:pt x="40" y="38"/>
                </a:cubicBezTo>
                <a:cubicBezTo>
                  <a:pt x="41" y="38"/>
                  <a:pt x="41" y="38"/>
                  <a:pt x="41" y="38"/>
                </a:cubicBezTo>
                <a:cubicBezTo>
                  <a:pt x="43" y="39"/>
                  <a:pt x="43" y="39"/>
                  <a:pt x="43" y="39"/>
                </a:cubicBezTo>
                <a:cubicBezTo>
                  <a:pt x="43" y="40"/>
                  <a:pt x="43" y="40"/>
                  <a:pt x="43" y="40"/>
                </a:cubicBezTo>
                <a:cubicBezTo>
                  <a:pt x="42" y="40"/>
                  <a:pt x="42" y="40"/>
                  <a:pt x="42" y="40"/>
                </a:cubicBezTo>
                <a:cubicBezTo>
                  <a:pt x="41" y="39"/>
                  <a:pt x="41" y="39"/>
                  <a:pt x="41" y="39"/>
                </a:cubicBezTo>
                <a:cubicBezTo>
                  <a:pt x="41" y="40"/>
                  <a:pt x="41" y="40"/>
                  <a:pt x="41" y="40"/>
                </a:cubicBezTo>
                <a:cubicBezTo>
                  <a:pt x="41" y="41"/>
                  <a:pt x="41" y="41"/>
                  <a:pt x="41" y="41"/>
                </a:cubicBezTo>
                <a:cubicBezTo>
                  <a:pt x="42" y="43"/>
                  <a:pt x="42" y="43"/>
                  <a:pt x="42" y="43"/>
                </a:cubicBezTo>
                <a:cubicBezTo>
                  <a:pt x="42" y="44"/>
                  <a:pt x="42" y="44"/>
                  <a:pt x="42" y="44"/>
                </a:cubicBezTo>
                <a:cubicBezTo>
                  <a:pt x="43" y="44"/>
                  <a:pt x="43" y="44"/>
                  <a:pt x="43" y="44"/>
                </a:cubicBezTo>
                <a:cubicBezTo>
                  <a:pt x="44" y="44"/>
                  <a:pt x="44" y="44"/>
                  <a:pt x="44" y="44"/>
                </a:cubicBezTo>
                <a:cubicBezTo>
                  <a:pt x="45" y="44"/>
                  <a:pt x="45" y="44"/>
                  <a:pt x="45" y="44"/>
                </a:cubicBezTo>
                <a:cubicBezTo>
                  <a:pt x="46" y="45"/>
                  <a:pt x="46" y="45"/>
                  <a:pt x="46" y="45"/>
                </a:cubicBezTo>
                <a:cubicBezTo>
                  <a:pt x="45" y="46"/>
                  <a:pt x="45" y="46"/>
                  <a:pt x="45" y="46"/>
                </a:cubicBezTo>
                <a:cubicBezTo>
                  <a:pt x="45" y="46"/>
                  <a:pt x="45" y="46"/>
                  <a:pt x="45" y="46"/>
                </a:cubicBezTo>
                <a:cubicBezTo>
                  <a:pt x="45" y="48"/>
                  <a:pt x="45" y="48"/>
                  <a:pt x="45" y="48"/>
                </a:cubicBezTo>
                <a:cubicBezTo>
                  <a:pt x="44" y="48"/>
                  <a:pt x="44" y="48"/>
                  <a:pt x="44" y="48"/>
                </a:cubicBezTo>
                <a:cubicBezTo>
                  <a:pt x="43" y="47"/>
                  <a:pt x="43" y="47"/>
                  <a:pt x="43" y="47"/>
                </a:cubicBezTo>
                <a:cubicBezTo>
                  <a:pt x="44" y="46"/>
                  <a:pt x="44" y="46"/>
                  <a:pt x="44" y="46"/>
                </a:cubicBezTo>
                <a:cubicBezTo>
                  <a:pt x="44" y="45"/>
                  <a:pt x="44" y="45"/>
                  <a:pt x="44" y="45"/>
                </a:cubicBezTo>
                <a:cubicBezTo>
                  <a:pt x="43" y="45"/>
                  <a:pt x="43" y="45"/>
                  <a:pt x="43" y="45"/>
                </a:cubicBezTo>
                <a:cubicBezTo>
                  <a:pt x="43" y="46"/>
                  <a:pt x="43" y="46"/>
                  <a:pt x="43" y="46"/>
                </a:cubicBezTo>
                <a:cubicBezTo>
                  <a:pt x="42" y="46"/>
                  <a:pt x="42" y="46"/>
                  <a:pt x="42" y="46"/>
                </a:cubicBezTo>
                <a:cubicBezTo>
                  <a:pt x="40" y="44"/>
                  <a:pt x="40" y="44"/>
                  <a:pt x="40" y="44"/>
                </a:cubicBezTo>
                <a:cubicBezTo>
                  <a:pt x="39" y="44"/>
                  <a:pt x="39" y="44"/>
                  <a:pt x="39" y="44"/>
                </a:cubicBezTo>
                <a:cubicBezTo>
                  <a:pt x="39" y="43"/>
                  <a:pt x="39" y="43"/>
                  <a:pt x="39" y="43"/>
                </a:cubicBezTo>
                <a:cubicBezTo>
                  <a:pt x="39" y="41"/>
                  <a:pt x="39" y="41"/>
                  <a:pt x="39" y="41"/>
                </a:cubicBezTo>
                <a:cubicBezTo>
                  <a:pt x="37" y="41"/>
                  <a:pt x="37" y="41"/>
                  <a:pt x="37" y="41"/>
                </a:cubicBezTo>
                <a:cubicBezTo>
                  <a:pt x="36" y="39"/>
                  <a:pt x="36" y="39"/>
                  <a:pt x="36" y="39"/>
                </a:cubicBezTo>
                <a:cubicBezTo>
                  <a:pt x="35" y="39"/>
                  <a:pt x="35" y="39"/>
                  <a:pt x="35" y="39"/>
                </a:cubicBezTo>
                <a:cubicBezTo>
                  <a:pt x="35" y="38"/>
                  <a:pt x="35" y="38"/>
                  <a:pt x="35" y="38"/>
                </a:cubicBezTo>
                <a:cubicBezTo>
                  <a:pt x="34" y="38"/>
                  <a:pt x="34" y="38"/>
                  <a:pt x="34" y="38"/>
                </a:cubicBezTo>
                <a:cubicBezTo>
                  <a:pt x="34" y="39"/>
                  <a:pt x="34" y="39"/>
                  <a:pt x="34" y="39"/>
                </a:cubicBezTo>
                <a:cubicBezTo>
                  <a:pt x="35" y="41"/>
                  <a:pt x="35" y="41"/>
                  <a:pt x="35" y="41"/>
                </a:cubicBezTo>
                <a:cubicBezTo>
                  <a:pt x="35" y="43"/>
                  <a:pt x="35" y="43"/>
                  <a:pt x="35" y="43"/>
                </a:cubicBezTo>
                <a:cubicBezTo>
                  <a:pt x="35" y="43"/>
                  <a:pt x="35" y="43"/>
                  <a:pt x="35" y="43"/>
                </a:cubicBezTo>
                <a:cubicBezTo>
                  <a:pt x="34" y="41"/>
                  <a:pt x="34" y="41"/>
                  <a:pt x="34" y="41"/>
                </a:cubicBezTo>
                <a:cubicBezTo>
                  <a:pt x="32" y="40"/>
                  <a:pt x="32" y="40"/>
                  <a:pt x="32" y="40"/>
                </a:cubicBezTo>
                <a:cubicBezTo>
                  <a:pt x="32" y="39"/>
                  <a:pt x="32" y="39"/>
                  <a:pt x="32" y="39"/>
                </a:cubicBezTo>
                <a:cubicBezTo>
                  <a:pt x="29" y="38"/>
                  <a:pt x="29" y="38"/>
                  <a:pt x="29" y="38"/>
                </a:cubicBezTo>
                <a:cubicBezTo>
                  <a:pt x="28" y="38"/>
                  <a:pt x="28" y="38"/>
                  <a:pt x="28" y="38"/>
                </a:cubicBezTo>
                <a:cubicBezTo>
                  <a:pt x="27" y="39"/>
                  <a:pt x="27" y="39"/>
                  <a:pt x="27" y="39"/>
                </a:cubicBezTo>
                <a:cubicBezTo>
                  <a:pt x="28" y="40"/>
                  <a:pt x="28" y="40"/>
                  <a:pt x="28" y="40"/>
                </a:cubicBezTo>
                <a:cubicBezTo>
                  <a:pt x="26" y="41"/>
                  <a:pt x="26" y="41"/>
                  <a:pt x="26" y="41"/>
                </a:cubicBezTo>
                <a:cubicBezTo>
                  <a:pt x="25" y="39"/>
                  <a:pt x="25" y="39"/>
                  <a:pt x="25" y="39"/>
                </a:cubicBezTo>
                <a:cubicBezTo>
                  <a:pt x="24" y="40"/>
                  <a:pt x="24" y="40"/>
                  <a:pt x="24" y="40"/>
                </a:cubicBezTo>
                <a:cubicBezTo>
                  <a:pt x="23" y="40"/>
                  <a:pt x="23" y="40"/>
                  <a:pt x="23" y="40"/>
                </a:cubicBezTo>
                <a:cubicBezTo>
                  <a:pt x="24" y="39"/>
                  <a:pt x="24" y="39"/>
                  <a:pt x="24" y="39"/>
                </a:cubicBezTo>
                <a:cubicBezTo>
                  <a:pt x="23" y="38"/>
                  <a:pt x="23" y="38"/>
                  <a:pt x="23" y="38"/>
                </a:cubicBezTo>
                <a:cubicBezTo>
                  <a:pt x="22" y="38"/>
                  <a:pt x="22" y="38"/>
                  <a:pt x="22" y="38"/>
                </a:cubicBezTo>
                <a:cubicBezTo>
                  <a:pt x="22" y="40"/>
                  <a:pt x="22" y="40"/>
                  <a:pt x="22" y="40"/>
                </a:cubicBezTo>
                <a:cubicBezTo>
                  <a:pt x="21" y="38"/>
                  <a:pt x="21" y="38"/>
                  <a:pt x="21" y="38"/>
                </a:cubicBezTo>
                <a:cubicBezTo>
                  <a:pt x="21" y="37"/>
                  <a:pt x="21" y="37"/>
                  <a:pt x="21" y="37"/>
                </a:cubicBezTo>
                <a:cubicBezTo>
                  <a:pt x="21" y="36"/>
                  <a:pt x="21" y="36"/>
                  <a:pt x="21" y="36"/>
                </a:cubicBezTo>
                <a:cubicBezTo>
                  <a:pt x="22" y="35"/>
                  <a:pt x="22" y="35"/>
                  <a:pt x="22" y="35"/>
                </a:cubicBezTo>
                <a:cubicBezTo>
                  <a:pt x="23" y="33"/>
                  <a:pt x="23" y="33"/>
                  <a:pt x="23" y="33"/>
                </a:cubicBezTo>
                <a:cubicBezTo>
                  <a:pt x="22" y="33"/>
                  <a:pt x="22" y="33"/>
                  <a:pt x="22" y="33"/>
                </a:cubicBezTo>
                <a:cubicBezTo>
                  <a:pt x="21" y="32"/>
                  <a:pt x="21" y="32"/>
                  <a:pt x="21" y="32"/>
                </a:cubicBezTo>
                <a:cubicBezTo>
                  <a:pt x="21" y="33"/>
                  <a:pt x="21" y="33"/>
                  <a:pt x="21" y="33"/>
                </a:cubicBezTo>
                <a:cubicBezTo>
                  <a:pt x="21" y="34"/>
                  <a:pt x="21" y="34"/>
                  <a:pt x="21" y="34"/>
                </a:cubicBezTo>
                <a:cubicBezTo>
                  <a:pt x="21" y="35"/>
                  <a:pt x="21" y="35"/>
                  <a:pt x="21" y="35"/>
                </a:cubicBezTo>
                <a:cubicBezTo>
                  <a:pt x="20" y="35"/>
                  <a:pt x="20" y="35"/>
                  <a:pt x="20" y="35"/>
                </a:cubicBezTo>
                <a:cubicBezTo>
                  <a:pt x="19" y="33"/>
                  <a:pt x="19" y="33"/>
                  <a:pt x="19" y="33"/>
                </a:cubicBezTo>
                <a:cubicBezTo>
                  <a:pt x="19" y="32"/>
                  <a:pt x="19" y="32"/>
                  <a:pt x="19" y="32"/>
                </a:cubicBezTo>
                <a:cubicBezTo>
                  <a:pt x="18" y="32"/>
                  <a:pt x="18" y="32"/>
                  <a:pt x="18" y="32"/>
                </a:cubicBezTo>
                <a:cubicBezTo>
                  <a:pt x="18" y="32"/>
                  <a:pt x="18" y="32"/>
                  <a:pt x="18" y="32"/>
                </a:cubicBezTo>
                <a:cubicBezTo>
                  <a:pt x="17" y="32"/>
                  <a:pt x="17" y="32"/>
                  <a:pt x="17" y="32"/>
                </a:cubicBezTo>
                <a:cubicBezTo>
                  <a:pt x="17" y="29"/>
                  <a:pt x="17" y="29"/>
                  <a:pt x="17" y="29"/>
                </a:cubicBezTo>
                <a:cubicBezTo>
                  <a:pt x="16" y="28"/>
                  <a:pt x="16" y="28"/>
                  <a:pt x="16" y="28"/>
                </a:cubicBezTo>
                <a:cubicBezTo>
                  <a:pt x="16" y="26"/>
                  <a:pt x="16" y="26"/>
                  <a:pt x="16" y="26"/>
                </a:cubicBezTo>
                <a:cubicBezTo>
                  <a:pt x="16" y="25"/>
                  <a:pt x="16" y="25"/>
                  <a:pt x="16" y="25"/>
                </a:cubicBezTo>
                <a:cubicBezTo>
                  <a:pt x="16" y="25"/>
                  <a:pt x="16" y="25"/>
                  <a:pt x="16" y="25"/>
                </a:cubicBezTo>
                <a:cubicBezTo>
                  <a:pt x="15" y="25"/>
                  <a:pt x="15" y="25"/>
                  <a:pt x="15" y="25"/>
                </a:cubicBezTo>
                <a:cubicBezTo>
                  <a:pt x="15" y="23"/>
                  <a:pt x="15" y="23"/>
                  <a:pt x="15" y="23"/>
                </a:cubicBezTo>
                <a:cubicBezTo>
                  <a:pt x="15" y="22"/>
                  <a:pt x="15" y="22"/>
                  <a:pt x="15" y="22"/>
                </a:cubicBezTo>
                <a:cubicBezTo>
                  <a:pt x="16" y="23"/>
                  <a:pt x="16" y="23"/>
                  <a:pt x="16" y="23"/>
                </a:cubicBezTo>
                <a:cubicBezTo>
                  <a:pt x="17" y="23"/>
                  <a:pt x="17" y="23"/>
                  <a:pt x="17" y="23"/>
                </a:cubicBezTo>
                <a:cubicBezTo>
                  <a:pt x="18" y="22"/>
                  <a:pt x="18" y="22"/>
                  <a:pt x="18" y="22"/>
                </a:cubicBezTo>
                <a:cubicBezTo>
                  <a:pt x="18" y="22"/>
                  <a:pt x="18" y="22"/>
                  <a:pt x="18" y="22"/>
                </a:cubicBezTo>
                <a:cubicBezTo>
                  <a:pt x="17" y="19"/>
                  <a:pt x="17" y="19"/>
                  <a:pt x="17" y="19"/>
                </a:cubicBezTo>
                <a:cubicBezTo>
                  <a:pt x="18" y="18"/>
                  <a:pt x="18" y="18"/>
                  <a:pt x="18" y="18"/>
                </a:cubicBezTo>
                <a:cubicBezTo>
                  <a:pt x="18" y="15"/>
                  <a:pt x="18" y="15"/>
                  <a:pt x="18" y="15"/>
                </a:cubicBezTo>
                <a:cubicBezTo>
                  <a:pt x="18" y="12"/>
                  <a:pt x="18" y="12"/>
                  <a:pt x="18" y="12"/>
                </a:cubicBezTo>
                <a:cubicBezTo>
                  <a:pt x="18" y="11"/>
                  <a:pt x="18" y="11"/>
                  <a:pt x="18" y="11"/>
                </a:cubicBezTo>
                <a:cubicBezTo>
                  <a:pt x="19" y="8"/>
                  <a:pt x="19" y="8"/>
                  <a:pt x="19" y="8"/>
                </a:cubicBezTo>
                <a:cubicBezTo>
                  <a:pt x="19" y="7"/>
                  <a:pt x="19" y="7"/>
                  <a:pt x="19" y="7"/>
                </a:cubicBezTo>
                <a:cubicBezTo>
                  <a:pt x="21" y="6"/>
                  <a:pt x="21" y="6"/>
                  <a:pt x="21" y="6"/>
                </a:cubicBezTo>
                <a:cubicBezTo>
                  <a:pt x="24" y="7"/>
                  <a:pt x="24" y="7"/>
                  <a:pt x="24" y="7"/>
                </a:cubicBezTo>
                <a:cubicBezTo>
                  <a:pt x="25" y="8"/>
                  <a:pt x="25" y="8"/>
                  <a:pt x="25" y="8"/>
                </a:cubicBezTo>
                <a:cubicBezTo>
                  <a:pt x="25" y="8"/>
                  <a:pt x="25" y="8"/>
                  <a:pt x="25" y="8"/>
                </a:cubicBezTo>
                <a:cubicBezTo>
                  <a:pt x="26" y="8"/>
                  <a:pt x="26" y="8"/>
                  <a:pt x="26" y="8"/>
                </a:cubicBezTo>
                <a:cubicBezTo>
                  <a:pt x="28" y="8"/>
                  <a:pt x="28" y="8"/>
                  <a:pt x="28" y="8"/>
                </a:cubicBezTo>
                <a:cubicBezTo>
                  <a:pt x="28" y="7"/>
                  <a:pt x="28" y="7"/>
                  <a:pt x="28" y="7"/>
                </a:cubicBezTo>
                <a:cubicBezTo>
                  <a:pt x="29" y="6"/>
                  <a:pt x="29" y="6"/>
                  <a:pt x="29" y="6"/>
                </a:cubicBezTo>
                <a:cubicBezTo>
                  <a:pt x="29" y="6"/>
                  <a:pt x="29" y="6"/>
                  <a:pt x="29" y="6"/>
                </a:cubicBezTo>
                <a:cubicBezTo>
                  <a:pt x="30" y="7"/>
                  <a:pt x="30" y="7"/>
                  <a:pt x="30" y="7"/>
                </a:cubicBezTo>
                <a:cubicBezTo>
                  <a:pt x="30" y="8"/>
                  <a:pt x="30" y="8"/>
                  <a:pt x="30" y="8"/>
                </a:cubicBezTo>
                <a:cubicBezTo>
                  <a:pt x="29" y="9"/>
                  <a:pt x="29" y="9"/>
                  <a:pt x="29" y="9"/>
                </a:cubicBezTo>
                <a:cubicBezTo>
                  <a:pt x="29" y="12"/>
                  <a:pt x="29" y="12"/>
                  <a:pt x="29" y="12"/>
                </a:cubicBezTo>
                <a:cubicBezTo>
                  <a:pt x="30" y="13"/>
                  <a:pt x="30" y="13"/>
                  <a:pt x="30" y="13"/>
                </a:cubicBezTo>
                <a:cubicBezTo>
                  <a:pt x="31" y="14"/>
                  <a:pt x="31" y="14"/>
                  <a:pt x="31" y="14"/>
                </a:cubicBezTo>
                <a:cubicBezTo>
                  <a:pt x="31" y="15"/>
                  <a:pt x="31" y="15"/>
                  <a:pt x="31" y="15"/>
                </a:cubicBezTo>
                <a:cubicBezTo>
                  <a:pt x="32" y="16"/>
                  <a:pt x="32" y="16"/>
                  <a:pt x="32" y="16"/>
                </a:cubicBezTo>
                <a:cubicBezTo>
                  <a:pt x="31" y="19"/>
                  <a:pt x="31" y="19"/>
                  <a:pt x="31" y="19"/>
                </a:cubicBezTo>
                <a:cubicBezTo>
                  <a:pt x="30" y="21"/>
                  <a:pt x="30" y="21"/>
                  <a:pt x="30" y="21"/>
                </a:cubicBezTo>
                <a:cubicBezTo>
                  <a:pt x="31" y="22"/>
                  <a:pt x="31" y="22"/>
                  <a:pt x="31" y="22"/>
                </a:cubicBezTo>
                <a:cubicBezTo>
                  <a:pt x="30" y="24"/>
                  <a:pt x="30" y="24"/>
                  <a:pt x="30" y="24"/>
                </a:cubicBezTo>
                <a:cubicBezTo>
                  <a:pt x="30" y="23"/>
                  <a:pt x="30" y="23"/>
                  <a:pt x="30" y="23"/>
                </a:cubicBezTo>
                <a:cubicBezTo>
                  <a:pt x="30" y="22"/>
                  <a:pt x="30" y="22"/>
                  <a:pt x="30" y="22"/>
                </a:cubicBezTo>
                <a:cubicBezTo>
                  <a:pt x="29" y="23"/>
                  <a:pt x="29" y="23"/>
                  <a:pt x="29" y="23"/>
                </a:cubicBezTo>
                <a:cubicBezTo>
                  <a:pt x="27" y="25"/>
                  <a:pt x="27" y="25"/>
                  <a:pt x="27" y="25"/>
                </a:cubicBezTo>
                <a:cubicBezTo>
                  <a:pt x="27" y="26"/>
                  <a:pt x="27" y="26"/>
                  <a:pt x="27" y="26"/>
                </a:cubicBezTo>
                <a:cubicBezTo>
                  <a:pt x="27" y="27"/>
                  <a:pt x="27" y="27"/>
                  <a:pt x="27" y="27"/>
                </a:cubicBezTo>
                <a:cubicBezTo>
                  <a:pt x="26" y="28"/>
                  <a:pt x="26" y="28"/>
                  <a:pt x="26" y="28"/>
                </a:cubicBezTo>
                <a:cubicBezTo>
                  <a:pt x="26" y="30"/>
                  <a:pt x="26" y="30"/>
                  <a:pt x="26" y="30"/>
                </a:cubicBezTo>
                <a:cubicBezTo>
                  <a:pt x="27" y="30"/>
                  <a:pt x="27" y="30"/>
                  <a:pt x="27" y="30"/>
                </a:cubicBezTo>
                <a:cubicBezTo>
                  <a:pt x="27" y="32"/>
                  <a:pt x="27" y="32"/>
                  <a:pt x="27" y="32"/>
                </a:cubicBezTo>
                <a:cubicBezTo>
                  <a:pt x="28" y="33"/>
                  <a:pt x="28" y="33"/>
                  <a:pt x="28" y="33"/>
                </a:cubicBezTo>
                <a:cubicBezTo>
                  <a:pt x="28" y="34"/>
                  <a:pt x="28" y="34"/>
                  <a:pt x="28" y="34"/>
                </a:cubicBezTo>
                <a:cubicBezTo>
                  <a:pt x="28" y="35"/>
                  <a:pt x="28" y="35"/>
                  <a:pt x="28" y="35"/>
                </a:cubicBezTo>
                <a:close/>
                <a:moveTo>
                  <a:pt x="30" y="35"/>
                </a:moveTo>
                <a:cubicBezTo>
                  <a:pt x="30" y="36"/>
                  <a:pt x="30" y="36"/>
                  <a:pt x="30" y="36"/>
                </a:cubicBezTo>
                <a:cubicBezTo>
                  <a:pt x="31" y="37"/>
                  <a:pt x="31" y="37"/>
                  <a:pt x="31" y="37"/>
                </a:cubicBezTo>
                <a:cubicBezTo>
                  <a:pt x="31" y="36"/>
                  <a:pt x="31" y="36"/>
                  <a:pt x="31" y="36"/>
                </a:cubicBezTo>
                <a:cubicBezTo>
                  <a:pt x="30" y="35"/>
                  <a:pt x="30" y="35"/>
                  <a:pt x="30" y="35"/>
                </a:cubicBezTo>
                <a:close/>
                <a:moveTo>
                  <a:pt x="29" y="31"/>
                </a:moveTo>
                <a:cubicBezTo>
                  <a:pt x="30" y="32"/>
                  <a:pt x="30" y="32"/>
                  <a:pt x="30" y="32"/>
                </a:cubicBezTo>
                <a:cubicBezTo>
                  <a:pt x="29" y="33"/>
                  <a:pt x="29" y="33"/>
                  <a:pt x="29" y="33"/>
                </a:cubicBezTo>
                <a:cubicBezTo>
                  <a:pt x="30" y="34"/>
                  <a:pt x="30" y="34"/>
                  <a:pt x="30" y="34"/>
                </a:cubicBezTo>
                <a:cubicBezTo>
                  <a:pt x="31" y="33"/>
                  <a:pt x="31" y="33"/>
                  <a:pt x="31" y="33"/>
                </a:cubicBezTo>
                <a:cubicBezTo>
                  <a:pt x="31" y="31"/>
                  <a:pt x="31" y="31"/>
                  <a:pt x="31" y="31"/>
                </a:cubicBezTo>
                <a:cubicBezTo>
                  <a:pt x="31" y="30"/>
                  <a:pt x="31" y="30"/>
                  <a:pt x="31" y="30"/>
                </a:cubicBezTo>
                <a:cubicBezTo>
                  <a:pt x="30" y="30"/>
                  <a:pt x="30" y="30"/>
                  <a:pt x="30" y="30"/>
                </a:cubicBezTo>
                <a:cubicBezTo>
                  <a:pt x="29" y="31"/>
                  <a:pt x="29" y="31"/>
                  <a:pt x="29" y="31"/>
                </a:cubicBezTo>
                <a:close/>
                <a:moveTo>
                  <a:pt x="18" y="39"/>
                </a:moveTo>
                <a:cubicBezTo>
                  <a:pt x="18" y="39"/>
                  <a:pt x="18" y="39"/>
                  <a:pt x="18" y="39"/>
                </a:cubicBezTo>
                <a:cubicBezTo>
                  <a:pt x="20" y="40"/>
                  <a:pt x="20" y="40"/>
                  <a:pt x="20" y="40"/>
                </a:cubicBezTo>
                <a:cubicBezTo>
                  <a:pt x="20" y="40"/>
                  <a:pt x="20" y="40"/>
                  <a:pt x="20" y="40"/>
                </a:cubicBezTo>
                <a:cubicBezTo>
                  <a:pt x="19" y="39"/>
                  <a:pt x="19" y="39"/>
                  <a:pt x="19" y="39"/>
                </a:cubicBezTo>
                <a:cubicBezTo>
                  <a:pt x="18" y="39"/>
                  <a:pt x="18" y="39"/>
                  <a:pt x="18" y="39"/>
                </a:cubicBezTo>
                <a:close/>
                <a:moveTo>
                  <a:pt x="20" y="41"/>
                </a:moveTo>
                <a:cubicBezTo>
                  <a:pt x="20" y="42"/>
                  <a:pt x="20" y="42"/>
                  <a:pt x="20" y="42"/>
                </a:cubicBezTo>
                <a:cubicBezTo>
                  <a:pt x="21" y="42"/>
                  <a:pt x="21" y="42"/>
                  <a:pt x="21" y="42"/>
                </a:cubicBezTo>
                <a:cubicBezTo>
                  <a:pt x="21" y="43"/>
                  <a:pt x="21" y="43"/>
                  <a:pt x="21" y="43"/>
                </a:cubicBezTo>
                <a:cubicBezTo>
                  <a:pt x="22" y="44"/>
                  <a:pt x="22" y="44"/>
                  <a:pt x="22" y="44"/>
                </a:cubicBezTo>
                <a:cubicBezTo>
                  <a:pt x="23" y="45"/>
                  <a:pt x="23" y="45"/>
                  <a:pt x="23" y="45"/>
                </a:cubicBezTo>
                <a:cubicBezTo>
                  <a:pt x="23" y="47"/>
                  <a:pt x="23" y="47"/>
                  <a:pt x="23" y="47"/>
                </a:cubicBezTo>
                <a:cubicBezTo>
                  <a:pt x="24" y="47"/>
                  <a:pt x="24" y="47"/>
                  <a:pt x="24" y="47"/>
                </a:cubicBezTo>
                <a:cubicBezTo>
                  <a:pt x="24" y="48"/>
                  <a:pt x="24" y="48"/>
                  <a:pt x="24" y="48"/>
                </a:cubicBezTo>
                <a:cubicBezTo>
                  <a:pt x="25" y="50"/>
                  <a:pt x="25" y="50"/>
                  <a:pt x="25" y="50"/>
                </a:cubicBezTo>
                <a:cubicBezTo>
                  <a:pt x="26" y="50"/>
                  <a:pt x="26" y="50"/>
                  <a:pt x="26" y="50"/>
                </a:cubicBezTo>
                <a:cubicBezTo>
                  <a:pt x="28" y="49"/>
                  <a:pt x="28" y="49"/>
                  <a:pt x="28" y="49"/>
                </a:cubicBezTo>
                <a:cubicBezTo>
                  <a:pt x="28" y="48"/>
                  <a:pt x="28" y="48"/>
                  <a:pt x="28" y="48"/>
                </a:cubicBezTo>
                <a:cubicBezTo>
                  <a:pt x="28" y="48"/>
                  <a:pt x="28" y="48"/>
                  <a:pt x="28" y="48"/>
                </a:cubicBezTo>
                <a:cubicBezTo>
                  <a:pt x="28" y="47"/>
                  <a:pt x="28" y="47"/>
                  <a:pt x="28" y="47"/>
                </a:cubicBezTo>
                <a:cubicBezTo>
                  <a:pt x="28" y="46"/>
                  <a:pt x="28" y="46"/>
                  <a:pt x="28" y="46"/>
                </a:cubicBezTo>
                <a:cubicBezTo>
                  <a:pt x="28" y="45"/>
                  <a:pt x="28" y="45"/>
                  <a:pt x="28" y="45"/>
                </a:cubicBezTo>
                <a:cubicBezTo>
                  <a:pt x="28" y="44"/>
                  <a:pt x="28" y="44"/>
                  <a:pt x="28" y="44"/>
                </a:cubicBezTo>
                <a:cubicBezTo>
                  <a:pt x="27" y="43"/>
                  <a:pt x="27" y="43"/>
                  <a:pt x="27" y="43"/>
                </a:cubicBezTo>
                <a:cubicBezTo>
                  <a:pt x="24" y="41"/>
                  <a:pt x="24" y="41"/>
                  <a:pt x="24" y="41"/>
                </a:cubicBezTo>
                <a:cubicBezTo>
                  <a:pt x="23" y="41"/>
                  <a:pt x="23" y="41"/>
                  <a:pt x="23" y="41"/>
                </a:cubicBezTo>
                <a:cubicBezTo>
                  <a:pt x="21" y="41"/>
                  <a:pt x="21" y="41"/>
                  <a:pt x="21" y="41"/>
                </a:cubicBezTo>
                <a:cubicBezTo>
                  <a:pt x="20" y="41"/>
                  <a:pt x="20" y="41"/>
                  <a:pt x="20" y="41"/>
                </a:cubicBezTo>
                <a:close/>
                <a:moveTo>
                  <a:pt x="45" y="37"/>
                </a:moveTo>
                <a:cubicBezTo>
                  <a:pt x="44" y="37"/>
                  <a:pt x="44" y="37"/>
                  <a:pt x="44" y="37"/>
                </a:cubicBezTo>
                <a:cubicBezTo>
                  <a:pt x="45" y="39"/>
                  <a:pt x="45" y="39"/>
                  <a:pt x="45" y="39"/>
                </a:cubicBezTo>
                <a:cubicBezTo>
                  <a:pt x="44" y="40"/>
                  <a:pt x="44" y="40"/>
                  <a:pt x="44" y="40"/>
                </a:cubicBezTo>
                <a:cubicBezTo>
                  <a:pt x="44" y="40"/>
                  <a:pt x="44" y="40"/>
                  <a:pt x="44" y="40"/>
                </a:cubicBezTo>
                <a:cubicBezTo>
                  <a:pt x="44" y="41"/>
                  <a:pt x="44" y="41"/>
                  <a:pt x="44" y="41"/>
                </a:cubicBezTo>
                <a:cubicBezTo>
                  <a:pt x="46" y="40"/>
                  <a:pt x="46" y="40"/>
                  <a:pt x="46" y="40"/>
                </a:cubicBezTo>
                <a:cubicBezTo>
                  <a:pt x="46" y="39"/>
                  <a:pt x="46" y="39"/>
                  <a:pt x="46" y="39"/>
                </a:cubicBezTo>
                <a:cubicBezTo>
                  <a:pt x="46" y="38"/>
                  <a:pt x="46" y="38"/>
                  <a:pt x="46" y="38"/>
                </a:cubicBezTo>
                <a:cubicBezTo>
                  <a:pt x="45" y="37"/>
                  <a:pt x="45" y="37"/>
                  <a:pt x="45" y="37"/>
                </a:cubicBezTo>
                <a:close/>
                <a:moveTo>
                  <a:pt x="30" y="42"/>
                </a:moveTo>
                <a:cubicBezTo>
                  <a:pt x="31" y="43"/>
                  <a:pt x="31" y="43"/>
                  <a:pt x="31" y="43"/>
                </a:cubicBezTo>
                <a:cubicBezTo>
                  <a:pt x="31" y="42"/>
                  <a:pt x="31" y="42"/>
                  <a:pt x="31" y="42"/>
                </a:cubicBezTo>
                <a:cubicBezTo>
                  <a:pt x="32" y="42"/>
                  <a:pt x="32" y="42"/>
                  <a:pt x="32" y="42"/>
                </a:cubicBezTo>
                <a:cubicBezTo>
                  <a:pt x="31" y="41"/>
                  <a:pt x="31" y="41"/>
                  <a:pt x="31" y="41"/>
                </a:cubicBezTo>
                <a:cubicBezTo>
                  <a:pt x="30" y="40"/>
                  <a:pt x="30" y="40"/>
                  <a:pt x="30" y="40"/>
                </a:cubicBezTo>
                <a:cubicBezTo>
                  <a:pt x="30" y="41"/>
                  <a:pt x="30" y="41"/>
                  <a:pt x="30" y="41"/>
                </a:cubicBezTo>
                <a:cubicBezTo>
                  <a:pt x="30" y="42"/>
                  <a:pt x="30" y="42"/>
                  <a:pt x="30" y="42"/>
                </a:cubicBezTo>
                <a:close/>
                <a:moveTo>
                  <a:pt x="32" y="47"/>
                </a:moveTo>
                <a:cubicBezTo>
                  <a:pt x="32" y="48"/>
                  <a:pt x="32" y="48"/>
                  <a:pt x="32" y="48"/>
                </a:cubicBezTo>
                <a:cubicBezTo>
                  <a:pt x="31" y="49"/>
                  <a:pt x="31" y="49"/>
                  <a:pt x="31" y="49"/>
                </a:cubicBezTo>
                <a:cubicBezTo>
                  <a:pt x="32" y="51"/>
                  <a:pt x="32" y="51"/>
                  <a:pt x="32" y="51"/>
                </a:cubicBezTo>
                <a:cubicBezTo>
                  <a:pt x="32" y="50"/>
                  <a:pt x="32" y="50"/>
                  <a:pt x="32" y="50"/>
                </a:cubicBezTo>
                <a:cubicBezTo>
                  <a:pt x="33" y="49"/>
                  <a:pt x="33" y="49"/>
                  <a:pt x="33" y="49"/>
                </a:cubicBezTo>
                <a:cubicBezTo>
                  <a:pt x="32" y="48"/>
                  <a:pt x="32" y="48"/>
                  <a:pt x="32" y="48"/>
                </a:cubicBezTo>
                <a:cubicBezTo>
                  <a:pt x="33" y="46"/>
                  <a:pt x="33" y="46"/>
                  <a:pt x="33" y="46"/>
                </a:cubicBezTo>
                <a:cubicBezTo>
                  <a:pt x="32" y="47"/>
                  <a:pt x="32" y="47"/>
                  <a:pt x="32" y="47"/>
                </a:cubicBezTo>
                <a:close/>
                <a:moveTo>
                  <a:pt x="35" y="48"/>
                </a:moveTo>
                <a:cubicBezTo>
                  <a:pt x="35" y="48"/>
                  <a:pt x="35" y="48"/>
                  <a:pt x="35" y="48"/>
                </a:cubicBezTo>
                <a:cubicBezTo>
                  <a:pt x="35" y="49"/>
                  <a:pt x="35" y="49"/>
                  <a:pt x="35" y="49"/>
                </a:cubicBezTo>
                <a:cubicBezTo>
                  <a:pt x="36" y="49"/>
                  <a:pt x="36" y="49"/>
                  <a:pt x="36" y="49"/>
                </a:cubicBezTo>
                <a:cubicBezTo>
                  <a:pt x="36" y="48"/>
                  <a:pt x="36" y="48"/>
                  <a:pt x="36" y="48"/>
                </a:cubicBezTo>
                <a:cubicBezTo>
                  <a:pt x="35" y="48"/>
                  <a:pt x="35" y="48"/>
                  <a:pt x="35" y="48"/>
                </a:cubicBezTo>
                <a:close/>
                <a:moveTo>
                  <a:pt x="39" y="45"/>
                </a:moveTo>
                <a:cubicBezTo>
                  <a:pt x="38" y="43"/>
                  <a:pt x="38" y="43"/>
                  <a:pt x="38" y="43"/>
                </a:cubicBezTo>
                <a:cubicBezTo>
                  <a:pt x="37" y="44"/>
                  <a:pt x="37" y="44"/>
                  <a:pt x="37" y="44"/>
                </a:cubicBezTo>
                <a:cubicBezTo>
                  <a:pt x="37" y="44"/>
                  <a:pt x="37" y="44"/>
                  <a:pt x="37" y="44"/>
                </a:cubicBezTo>
                <a:cubicBezTo>
                  <a:pt x="39" y="46"/>
                  <a:pt x="39" y="46"/>
                  <a:pt x="39" y="46"/>
                </a:cubicBezTo>
                <a:cubicBezTo>
                  <a:pt x="39" y="45"/>
                  <a:pt x="39" y="45"/>
                  <a:pt x="39" y="45"/>
                </a:cubicBezTo>
                <a:cubicBezTo>
                  <a:pt x="39" y="45"/>
                  <a:pt x="39" y="45"/>
                  <a:pt x="39" y="45"/>
                </a:cubicBezTo>
                <a:close/>
                <a:moveTo>
                  <a:pt x="41" y="47"/>
                </a:moveTo>
                <a:cubicBezTo>
                  <a:pt x="42" y="48"/>
                  <a:pt x="42" y="48"/>
                  <a:pt x="42" y="48"/>
                </a:cubicBezTo>
                <a:cubicBezTo>
                  <a:pt x="43" y="49"/>
                  <a:pt x="43" y="49"/>
                  <a:pt x="43" y="49"/>
                </a:cubicBezTo>
                <a:cubicBezTo>
                  <a:pt x="43" y="49"/>
                  <a:pt x="43" y="49"/>
                  <a:pt x="43" y="49"/>
                </a:cubicBezTo>
                <a:cubicBezTo>
                  <a:pt x="42" y="47"/>
                  <a:pt x="42" y="47"/>
                  <a:pt x="42" y="47"/>
                </a:cubicBezTo>
                <a:cubicBezTo>
                  <a:pt x="41" y="47"/>
                  <a:pt x="41" y="47"/>
                  <a:pt x="41" y="47"/>
                </a:cubicBezTo>
                <a:close/>
                <a:moveTo>
                  <a:pt x="39" y="52"/>
                </a:moveTo>
                <a:cubicBezTo>
                  <a:pt x="40" y="50"/>
                  <a:pt x="40" y="50"/>
                  <a:pt x="40" y="50"/>
                </a:cubicBezTo>
                <a:cubicBezTo>
                  <a:pt x="41" y="50"/>
                  <a:pt x="41" y="50"/>
                  <a:pt x="41" y="50"/>
                </a:cubicBezTo>
                <a:cubicBezTo>
                  <a:pt x="43" y="52"/>
                  <a:pt x="43" y="52"/>
                  <a:pt x="43" y="52"/>
                </a:cubicBezTo>
                <a:cubicBezTo>
                  <a:pt x="44" y="52"/>
                  <a:pt x="44" y="52"/>
                  <a:pt x="44" y="52"/>
                </a:cubicBezTo>
                <a:cubicBezTo>
                  <a:pt x="45" y="52"/>
                  <a:pt x="45" y="52"/>
                  <a:pt x="45" y="52"/>
                </a:cubicBezTo>
                <a:cubicBezTo>
                  <a:pt x="45" y="51"/>
                  <a:pt x="45" y="51"/>
                  <a:pt x="45" y="51"/>
                </a:cubicBezTo>
                <a:cubicBezTo>
                  <a:pt x="44" y="50"/>
                  <a:pt x="44" y="50"/>
                  <a:pt x="44" y="50"/>
                </a:cubicBezTo>
                <a:cubicBezTo>
                  <a:pt x="42" y="49"/>
                  <a:pt x="42" y="49"/>
                  <a:pt x="42" y="49"/>
                </a:cubicBezTo>
                <a:cubicBezTo>
                  <a:pt x="42" y="49"/>
                  <a:pt x="42" y="49"/>
                  <a:pt x="42" y="49"/>
                </a:cubicBezTo>
                <a:cubicBezTo>
                  <a:pt x="41" y="48"/>
                  <a:pt x="41" y="48"/>
                  <a:pt x="41" y="48"/>
                </a:cubicBezTo>
                <a:cubicBezTo>
                  <a:pt x="40" y="48"/>
                  <a:pt x="40" y="48"/>
                  <a:pt x="40" y="48"/>
                </a:cubicBezTo>
                <a:cubicBezTo>
                  <a:pt x="40" y="48"/>
                  <a:pt x="40" y="48"/>
                  <a:pt x="40" y="48"/>
                </a:cubicBezTo>
                <a:cubicBezTo>
                  <a:pt x="39" y="47"/>
                  <a:pt x="39" y="47"/>
                  <a:pt x="39" y="47"/>
                </a:cubicBezTo>
                <a:cubicBezTo>
                  <a:pt x="39" y="49"/>
                  <a:pt x="39" y="49"/>
                  <a:pt x="39" y="49"/>
                </a:cubicBezTo>
                <a:cubicBezTo>
                  <a:pt x="40" y="50"/>
                  <a:pt x="40" y="50"/>
                  <a:pt x="40" y="50"/>
                </a:cubicBezTo>
                <a:cubicBezTo>
                  <a:pt x="39" y="50"/>
                  <a:pt x="39" y="50"/>
                  <a:pt x="39" y="50"/>
                </a:cubicBezTo>
                <a:cubicBezTo>
                  <a:pt x="39" y="51"/>
                  <a:pt x="39" y="51"/>
                  <a:pt x="39" y="51"/>
                </a:cubicBezTo>
                <a:cubicBezTo>
                  <a:pt x="39" y="52"/>
                  <a:pt x="39" y="52"/>
                  <a:pt x="39" y="52"/>
                </a:cubicBezTo>
                <a:close/>
                <a:moveTo>
                  <a:pt x="33" y="61"/>
                </a:moveTo>
                <a:cubicBezTo>
                  <a:pt x="33" y="61"/>
                  <a:pt x="33" y="61"/>
                  <a:pt x="33" y="61"/>
                </a:cubicBezTo>
                <a:cubicBezTo>
                  <a:pt x="32" y="62"/>
                  <a:pt x="32" y="62"/>
                  <a:pt x="32" y="62"/>
                </a:cubicBezTo>
                <a:cubicBezTo>
                  <a:pt x="32" y="59"/>
                  <a:pt x="32" y="59"/>
                  <a:pt x="32" y="59"/>
                </a:cubicBezTo>
                <a:cubicBezTo>
                  <a:pt x="32" y="58"/>
                  <a:pt x="32" y="58"/>
                  <a:pt x="32" y="58"/>
                </a:cubicBezTo>
                <a:cubicBezTo>
                  <a:pt x="32" y="56"/>
                  <a:pt x="32" y="56"/>
                  <a:pt x="32" y="56"/>
                </a:cubicBezTo>
                <a:cubicBezTo>
                  <a:pt x="32" y="55"/>
                  <a:pt x="32" y="55"/>
                  <a:pt x="32" y="55"/>
                </a:cubicBezTo>
                <a:cubicBezTo>
                  <a:pt x="32" y="53"/>
                  <a:pt x="32" y="53"/>
                  <a:pt x="32" y="53"/>
                </a:cubicBezTo>
                <a:cubicBezTo>
                  <a:pt x="32" y="53"/>
                  <a:pt x="32" y="53"/>
                  <a:pt x="32" y="53"/>
                </a:cubicBezTo>
                <a:cubicBezTo>
                  <a:pt x="30" y="53"/>
                  <a:pt x="30" y="53"/>
                  <a:pt x="30" y="53"/>
                </a:cubicBezTo>
                <a:cubicBezTo>
                  <a:pt x="31" y="52"/>
                  <a:pt x="31" y="52"/>
                  <a:pt x="31" y="52"/>
                </a:cubicBezTo>
                <a:cubicBezTo>
                  <a:pt x="32" y="52"/>
                  <a:pt x="32" y="52"/>
                  <a:pt x="32" y="52"/>
                </a:cubicBezTo>
                <a:cubicBezTo>
                  <a:pt x="33" y="53"/>
                  <a:pt x="33" y="53"/>
                  <a:pt x="33" y="53"/>
                </a:cubicBezTo>
                <a:cubicBezTo>
                  <a:pt x="34" y="53"/>
                  <a:pt x="34" y="53"/>
                  <a:pt x="34" y="53"/>
                </a:cubicBezTo>
                <a:cubicBezTo>
                  <a:pt x="34" y="54"/>
                  <a:pt x="34" y="54"/>
                  <a:pt x="34" y="54"/>
                </a:cubicBezTo>
                <a:cubicBezTo>
                  <a:pt x="35" y="54"/>
                  <a:pt x="35" y="54"/>
                  <a:pt x="35" y="54"/>
                </a:cubicBezTo>
                <a:cubicBezTo>
                  <a:pt x="36" y="54"/>
                  <a:pt x="36" y="54"/>
                  <a:pt x="36" y="54"/>
                </a:cubicBezTo>
                <a:cubicBezTo>
                  <a:pt x="37" y="54"/>
                  <a:pt x="37" y="54"/>
                  <a:pt x="37" y="54"/>
                </a:cubicBezTo>
                <a:cubicBezTo>
                  <a:pt x="38" y="55"/>
                  <a:pt x="38" y="55"/>
                  <a:pt x="38" y="55"/>
                </a:cubicBezTo>
                <a:cubicBezTo>
                  <a:pt x="38" y="54"/>
                  <a:pt x="38" y="54"/>
                  <a:pt x="38" y="54"/>
                </a:cubicBezTo>
                <a:cubicBezTo>
                  <a:pt x="39" y="54"/>
                  <a:pt x="39" y="54"/>
                  <a:pt x="39" y="54"/>
                </a:cubicBezTo>
                <a:cubicBezTo>
                  <a:pt x="40" y="55"/>
                  <a:pt x="40" y="55"/>
                  <a:pt x="40" y="55"/>
                </a:cubicBezTo>
                <a:cubicBezTo>
                  <a:pt x="39" y="56"/>
                  <a:pt x="39" y="56"/>
                  <a:pt x="39" y="56"/>
                </a:cubicBezTo>
                <a:cubicBezTo>
                  <a:pt x="39" y="56"/>
                  <a:pt x="39" y="56"/>
                  <a:pt x="39" y="56"/>
                </a:cubicBezTo>
                <a:cubicBezTo>
                  <a:pt x="38" y="57"/>
                  <a:pt x="38" y="57"/>
                  <a:pt x="38" y="57"/>
                </a:cubicBezTo>
                <a:cubicBezTo>
                  <a:pt x="37" y="59"/>
                  <a:pt x="37" y="59"/>
                  <a:pt x="37" y="59"/>
                </a:cubicBezTo>
                <a:cubicBezTo>
                  <a:pt x="36" y="60"/>
                  <a:pt x="36" y="60"/>
                  <a:pt x="36" y="60"/>
                </a:cubicBezTo>
                <a:cubicBezTo>
                  <a:pt x="36" y="60"/>
                  <a:pt x="36" y="60"/>
                  <a:pt x="36" y="60"/>
                </a:cubicBezTo>
                <a:cubicBezTo>
                  <a:pt x="35" y="60"/>
                  <a:pt x="35" y="60"/>
                  <a:pt x="35" y="60"/>
                </a:cubicBezTo>
                <a:cubicBezTo>
                  <a:pt x="35" y="60"/>
                  <a:pt x="35" y="60"/>
                  <a:pt x="35" y="60"/>
                </a:cubicBezTo>
                <a:cubicBezTo>
                  <a:pt x="33" y="61"/>
                  <a:pt x="33" y="61"/>
                  <a:pt x="33" y="61"/>
                </a:cubicBezTo>
                <a:close/>
                <a:moveTo>
                  <a:pt x="36" y="60"/>
                </a:moveTo>
                <a:cubicBezTo>
                  <a:pt x="35" y="60"/>
                  <a:pt x="35" y="60"/>
                  <a:pt x="35" y="60"/>
                </a:cubicBezTo>
                <a:cubicBezTo>
                  <a:pt x="35" y="62"/>
                  <a:pt x="35" y="62"/>
                  <a:pt x="35" y="62"/>
                </a:cubicBezTo>
                <a:cubicBezTo>
                  <a:pt x="36" y="62"/>
                  <a:pt x="36" y="62"/>
                  <a:pt x="36" y="62"/>
                </a:cubicBezTo>
                <a:cubicBezTo>
                  <a:pt x="37" y="61"/>
                  <a:pt x="37" y="61"/>
                  <a:pt x="37" y="61"/>
                </a:cubicBezTo>
                <a:cubicBezTo>
                  <a:pt x="37" y="60"/>
                  <a:pt x="37" y="60"/>
                  <a:pt x="37" y="60"/>
                </a:cubicBezTo>
                <a:cubicBezTo>
                  <a:pt x="36" y="60"/>
                  <a:pt x="36" y="60"/>
                  <a:pt x="36" y="60"/>
                </a:cubicBezTo>
                <a:close/>
                <a:moveTo>
                  <a:pt x="47" y="60"/>
                </a:moveTo>
                <a:cubicBezTo>
                  <a:pt x="47" y="61"/>
                  <a:pt x="47" y="61"/>
                  <a:pt x="47" y="61"/>
                </a:cubicBezTo>
                <a:cubicBezTo>
                  <a:pt x="46" y="60"/>
                  <a:pt x="46" y="60"/>
                  <a:pt x="46" y="60"/>
                </a:cubicBezTo>
                <a:cubicBezTo>
                  <a:pt x="47" y="60"/>
                  <a:pt x="47" y="60"/>
                  <a:pt x="47" y="60"/>
                </a:cubicBezTo>
                <a:close/>
                <a:moveTo>
                  <a:pt x="41" y="68"/>
                </a:moveTo>
                <a:cubicBezTo>
                  <a:pt x="42" y="67"/>
                  <a:pt x="42" y="67"/>
                  <a:pt x="42" y="67"/>
                </a:cubicBezTo>
                <a:cubicBezTo>
                  <a:pt x="43" y="64"/>
                  <a:pt x="43" y="64"/>
                  <a:pt x="43" y="64"/>
                </a:cubicBezTo>
                <a:cubicBezTo>
                  <a:pt x="45" y="62"/>
                  <a:pt x="45" y="62"/>
                  <a:pt x="45" y="62"/>
                </a:cubicBezTo>
                <a:cubicBezTo>
                  <a:pt x="45" y="61"/>
                  <a:pt x="45" y="61"/>
                  <a:pt x="45" y="61"/>
                </a:cubicBezTo>
                <a:cubicBezTo>
                  <a:pt x="45" y="60"/>
                  <a:pt x="45" y="60"/>
                  <a:pt x="45" y="60"/>
                </a:cubicBezTo>
                <a:cubicBezTo>
                  <a:pt x="45" y="59"/>
                  <a:pt x="45" y="59"/>
                  <a:pt x="45" y="59"/>
                </a:cubicBezTo>
                <a:cubicBezTo>
                  <a:pt x="45" y="57"/>
                  <a:pt x="45" y="57"/>
                  <a:pt x="45" y="57"/>
                </a:cubicBezTo>
                <a:cubicBezTo>
                  <a:pt x="44" y="57"/>
                  <a:pt x="44" y="57"/>
                  <a:pt x="44" y="57"/>
                </a:cubicBezTo>
                <a:cubicBezTo>
                  <a:pt x="44" y="59"/>
                  <a:pt x="44" y="59"/>
                  <a:pt x="44" y="59"/>
                </a:cubicBezTo>
                <a:cubicBezTo>
                  <a:pt x="43" y="61"/>
                  <a:pt x="43" y="61"/>
                  <a:pt x="43" y="61"/>
                </a:cubicBezTo>
                <a:cubicBezTo>
                  <a:pt x="43" y="63"/>
                  <a:pt x="43" y="63"/>
                  <a:pt x="43" y="63"/>
                </a:cubicBezTo>
                <a:cubicBezTo>
                  <a:pt x="42" y="64"/>
                  <a:pt x="42" y="64"/>
                  <a:pt x="42" y="64"/>
                </a:cubicBezTo>
                <a:cubicBezTo>
                  <a:pt x="41" y="66"/>
                  <a:pt x="41" y="66"/>
                  <a:pt x="41" y="66"/>
                </a:cubicBezTo>
                <a:cubicBezTo>
                  <a:pt x="41" y="67"/>
                  <a:pt x="41" y="67"/>
                  <a:pt x="41" y="67"/>
                </a:cubicBezTo>
                <a:cubicBezTo>
                  <a:pt x="41" y="68"/>
                  <a:pt x="41" y="68"/>
                  <a:pt x="41" y="68"/>
                </a:cubicBezTo>
                <a:close/>
                <a:moveTo>
                  <a:pt x="40" y="67"/>
                </a:moveTo>
                <a:cubicBezTo>
                  <a:pt x="40" y="65"/>
                  <a:pt x="40" y="65"/>
                  <a:pt x="40" y="65"/>
                </a:cubicBezTo>
                <a:cubicBezTo>
                  <a:pt x="41" y="61"/>
                  <a:pt x="41" y="61"/>
                  <a:pt x="41" y="61"/>
                </a:cubicBezTo>
                <a:cubicBezTo>
                  <a:pt x="42" y="60"/>
                  <a:pt x="42" y="60"/>
                  <a:pt x="42" y="60"/>
                </a:cubicBezTo>
                <a:cubicBezTo>
                  <a:pt x="42" y="59"/>
                  <a:pt x="42" y="59"/>
                  <a:pt x="42" y="59"/>
                </a:cubicBezTo>
                <a:cubicBezTo>
                  <a:pt x="41" y="58"/>
                  <a:pt x="41" y="58"/>
                  <a:pt x="41" y="58"/>
                </a:cubicBezTo>
                <a:cubicBezTo>
                  <a:pt x="40" y="59"/>
                  <a:pt x="40" y="59"/>
                  <a:pt x="40" y="59"/>
                </a:cubicBezTo>
                <a:cubicBezTo>
                  <a:pt x="40" y="58"/>
                  <a:pt x="40" y="58"/>
                  <a:pt x="40" y="58"/>
                </a:cubicBezTo>
                <a:cubicBezTo>
                  <a:pt x="39" y="59"/>
                  <a:pt x="39" y="59"/>
                  <a:pt x="39" y="59"/>
                </a:cubicBezTo>
                <a:cubicBezTo>
                  <a:pt x="39" y="60"/>
                  <a:pt x="39" y="60"/>
                  <a:pt x="39" y="60"/>
                </a:cubicBezTo>
                <a:cubicBezTo>
                  <a:pt x="38" y="61"/>
                  <a:pt x="38" y="61"/>
                  <a:pt x="38" y="61"/>
                </a:cubicBezTo>
                <a:cubicBezTo>
                  <a:pt x="38" y="63"/>
                  <a:pt x="38" y="63"/>
                  <a:pt x="38" y="63"/>
                </a:cubicBezTo>
                <a:cubicBezTo>
                  <a:pt x="37" y="65"/>
                  <a:pt x="37" y="65"/>
                  <a:pt x="37" y="65"/>
                </a:cubicBezTo>
                <a:cubicBezTo>
                  <a:pt x="35" y="65"/>
                  <a:pt x="35" y="65"/>
                  <a:pt x="35" y="65"/>
                </a:cubicBezTo>
                <a:cubicBezTo>
                  <a:pt x="35" y="66"/>
                  <a:pt x="35" y="66"/>
                  <a:pt x="35" y="66"/>
                </a:cubicBezTo>
                <a:cubicBezTo>
                  <a:pt x="35" y="68"/>
                  <a:pt x="35" y="68"/>
                  <a:pt x="35" y="68"/>
                </a:cubicBezTo>
                <a:cubicBezTo>
                  <a:pt x="36" y="68"/>
                  <a:pt x="36" y="68"/>
                  <a:pt x="36" y="68"/>
                </a:cubicBezTo>
                <a:cubicBezTo>
                  <a:pt x="37" y="69"/>
                  <a:pt x="37" y="69"/>
                  <a:pt x="37" y="69"/>
                </a:cubicBezTo>
                <a:cubicBezTo>
                  <a:pt x="39" y="69"/>
                  <a:pt x="39" y="69"/>
                  <a:pt x="39" y="69"/>
                </a:cubicBezTo>
                <a:cubicBezTo>
                  <a:pt x="39" y="70"/>
                  <a:pt x="39" y="70"/>
                  <a:pt x="39" y="70"/>
                </a:cubicBezTo>
                <a:cubicBezTo>
                  <a:pt x="40" y="71"/>
                  <a:pt x="40" y="71"/>
                  <a:pt x="40" y="71"/>
                </a:cubicBezTo>
                <a:cubicBezTo>
                  <a:pt x="41" y="70"/>
                  <a:pt x="41" y="70"/>
                  <a:pt x="41" y="70"/>
                </a:cubicBezTo>
                <a:cubicBezTo>
                  <a:pt x="41" y="69"/>
                  <a:pt x="41" y="69"/>
                  <a:pt x="41" y="69"/>
                </a:cubicBezTo>
                <a:cubicBezTo>
                  <a:pt x="40" y="67"/>
                  <a:pt x="40" y="67"/>
                  <a:pt x="40" y="67"/>
                </a:cubicBezTo>
                <a:close/>
                <a:moveTo>
                  <a:pt x="43" y="69"/>
                </a:moveTo>
                <a:cubicBezTo>
                  <a:pt x="44" y="70"/>
                  <a:pt x="44" y="70"/>
                  <a:pt x="44" y="70"/>
                </a:cubicBezTo>
                <a:cubicBezTo>
                  <a:pt x="44" y="71"/>
                  <a:pt x="44" y="71"/>
                  <a:pt x="44" y="71"/>
                </a:cubicBezTo>
                <a:cubicBezTo>
                  <a:pt x="43" y="71"/>
                  <a:pt x="43" y="71"/>
                  <a:pt x="43" y="71"/>
                </a:cubicBezTo>
                <a:cubicBezTo>
                  <a:pt x="42" y="70"/>
                  <a:pt x="42" y="70"/>
                  <a:pt x="42" y="70"/>
                </a:cubicBezTo>
                <a:cubicBezTo>
                  <a:pt x="42" y="70"/>
                  <a:pt x="42" y="70"/>
                  <a:pt x="42" y="70"/>
                </a:cubicBezTo>
                <a:cubicBezTo>
                  <a:pt x="43" y="69"/>
                  <a:pt x="43" y="69"/>
                  <a:pt x="43" y="69"/>
                </a:cubicBezTo>
                <a:close/>
                <a:moveTo>
                  <a:pt x="47" y="64"/>
                </a:moveTo>
                <a:cubicBezTo>
                  <a:pt x="48" y="64"/>
                  <a:pt x="48" y="64"/>
                  <a:pt x="48" y="64"/>
                </a:cubicBezTo>
                <a:cubicBezTo>
                  <a:pt x="49" y="64"/>
                  <a:pt x="49" y="64"/>
                  <a:pt x="49" y="64"/>
                </a:cubicBezTo>
                <a:cubicBezTo>
                  <a:pt x="49" y="66"/>
                  <a:pt x="49" y="66"/>
                  <a:pt x="49" y="66"/>
                </a:cubicBezTo>
                <a:cubicBezTo>
                  <a:pt x="48" y="66"/>
                  <a:pt x="48" y="66"/>
                  <a:pt x="48" y="66"/>
                </a:cubicBezTo>
                <a:cubicBezTo>
                  <a:pt x="46" y="67"/>
                  <a:pt x="46" y="67"/>
                  <a:pt x="46" y="67"/>
                </a:cubicBezTo>
                <a:cubicBezTo>
                  <a:pt x="45" y="67"/>
                  <a:pt x="45" y="67"/>
                  <a:pt x="45" y="67"/>
                </a:cubicBezTo>
                <a:cubicBezTo>
                  <a:pt x="45" y="67"/>
                  <a:pt x="45" y="67"/>
                  <a:pt x="45" y="67"/>
                </a:cubicBezTo>
                <a:cubicBezTo>
                  <a:pt x="44" y="66"/>
                  <a:pt x="44" y="66"/>
                  <a:pt x="44" y="66"/>
                </a:cubicBezTo>
                <a:cubicBezTo>
                  <a:pt x="45" y="65"/>
                  <a:pt x="45" y="65"/>
                  <a:pt x="45" y="65"/>
                </a:cubicBezTo>
                <a:cubicBezTo>
                  <a:pt x="47" y="64"/>
                  <a:pt x="47" y="64"/>
                  <a:pt x="47" y="64"/>
                </a:cubicBezTo>
                <a:close/>
                <a:moveTo>
                  <a:pt x="53" y="64"/>
                </a:moveTo>
                <a:cubicBezTo>
                  <a:pt x="53" y="65"/>
                  <a:pt x="53" y="65"/>
                  <a:pt x="53" y="65"/>
                </a:cubicBezTo>
                <a:cubicBezTo>
                  <a:pt x="53" y="66"/>
                  <a:pt x="53" y="66"/>
                  <a:pt x="53" y="66"/>
                </a:cubicBezTo>
                <a:cubicBezTo>
                  <a:pt x="53" y="65"/>
                  <a:pt x="53" y="65"/>
                  <a:pt x="53" y="65"/>
                </a:cubicBezTo>
                <a:cubicBezTo>
                  <a:pt x="53" y="64"/>
                  <a:pt x="53" y="64"/>
                  <a:pt x="53" y="64"/>
                </a:cubicBezTo>
                <a:close/>
                <a:moveTo>
                  <a:pt x="49" y="69"/>
                </a:moveTo>
                <a:cubicBezTo>
                  <a:pt x="50" y="70"/>
                  <a:pt x="50" y="70"/>
                  <a:pt x="50" y="70"/>
                </a:cubicBezTo>
                <a:cubicBezTo>
                  <a:pt x="50" y="71"/>
                  <a:pt x="50" y="71"/>
                  <a:pt x="50" y="71"/>
                </a:cubicBezTo>
                <a:cubicBezTo>
                  <a:pt x="49" y="70"/>
                  <a:pt x="49" y="70"/>
                  <a:pt x="49" y="70"/>
                </a:cubicBezTo>
                <a:cubicBezTo>
                  <a:pt x="49" y="69"/>
                  <a:pt x="49" y="69"/>
                  <a:pt x="49" y="69"/>
                </a:cubicBezTo>
                <a:cubicBezTo>
                  <a:pt x="49" y="69"/>
                  <a:pt x="49" y="69"/>
                  <a:pt x="49" y="69"/>
                </a:cubicBezTo>
                <a:close/>
                <a:moveTo>
                  <a:pt x="48" y="54"/>
                </a:moveTo>
                <a:cubicBezTo>
                  <a:pt x="48" y="55"/>
                  <a:pt x="48" y="55"/>
                  <a:pt x="48" y="55"/>
                </a:cubicBezTo>
                <a:cubicBezTo>
                  <a:pt x="47" y="55"/>
                  <a:pt x="47" y="55"/>
                  <a:pt x="47" y="55"/>
                </a:cubicBezTo>
                <a:cubicBezTo>
                  <a:pt x="46" y="55"/>
                  <a:pt x="46" y="55"/>
                  <a:pt x="46" y="55"/>
                </a:cubicBezTo>
                <a:cubicBezTo>
                  <a:pt x="47" y="54"/>
                  <a:pt x="47" y="54"/>
                  <a:pt x="47" y="54"/>
                </a:cubicBezTo>
                <a:cubicBezTo>
                  <a:pt x="48" y="54"/>
                  <a:pt x="48" y="54"/>
                  <a:pt x="48" y="54"/>
                </a:cubicBezTo>
                <a:close/>
                <a:moveTo>
                  <a:pt x="51" y="56"/>
                </a:moveTo>
                <a:cubicBezTo>
                  <a:pt x="52" y="56"/>
                  <a:pt x="52" y="56"/>
                  <a:pt x="52" y="56"/>
                </a:cubicBezTo>
                <a:cubicBezTo>
                  <a:pt x="52" y="57"/>
                  <a:pt x="52" y="57"/>
                  <a:pt x="52" y="57"/>
                </a:cubicBezTo>
                <a:cubicBezTo>
                  <a:pt x="54" y="57"/>
                  <a:pt x="54" y="57"/>
                  <a:pt x="54" y="57"/>
                </a:cubicBezTo>
                <a:cubicBezTo>
                  <a:pt x="55" y="57"/>
                  <a:pt x="55" y="57"/>
                  <a:pt x="55" y="57"/>
                </a:cubicBezTo>
                <a:cubicBezTo>
                  <a:pt x="55" y="57"/>
                  <a:pt x="55" y="57"/>
                  <a:pt x="55" y="57"/>
                </a:cubicBezTo>
                <a:cubicBezTo>
                  <a:pt x="56" y="57"/>
                  <a:pt x="56" y="57"/>
                  <a:pt x="56" y="57"/>
                </a:cubicBezTo>
                <a:cubicBezTo>
                  <a:pt x="55" y="57"/>
                  <a:pt x="55" y="57"/>
                  <a:pt x="55" y="57"/>
                </a:cubicBezTo>
                <a:cubicBezTo>
                  <a:pt x="55" y="55"/>
                  <a:pt x="55" y="55"/>
                  <a:pt x="55" y="55"/>
                </a:cubicBezTo>
                <a:cubicBezTo>
                  <a:pt x="54" y="55"/>
                  <a:pt x="54" y="55"/>
                  <a:pt x="54" y="55"/>
                </a:cubicBezTo>
                <a:cubicBezTo>
                  <a:pt x="54" y="53"/>
                  <a:pt x="54" y="53"/>
                  <a:pt x="54" y="53"/>
                </a:cubicBezTo>
                <a:cubicBezTo>
                  <a:pt x="54" y="51"/>
                  <a:pt x="54" y="51"/>
                  <a:pt x="54" y="51"/>
                </a:cubicBezTo>
                <a:cubicBezTo>
                  <a:pt x="54" y="50"/>
                  <a:pt x="54" y="50"/>
                  <a:pt x="54" y="50"/>
                </a:cubicBezTo>
                <a:cubicBezTo>
                  <a:pt x="53" y="50"/>
                  <a:pt x="53" y="50"/>
                  <a:pt x="53" y="50"/>
                </a:cubicBezTo>
                <a:cubicBezTo>
                  <a:pt x="52" y="48"/>
                  <a:pt x="52" y="48"/>
                  <a:pt x="52" y="48"/>
                </a:cubicBezTo>
                <a:cubicBezTo>
                  <a:pt x="52" y="47"/>
                  <a:pt x="52" y="47"/>
                  <a:pt x="52" y="47"/>
                </a:cubicBezTo>
                <a:cubicBezTo>
                  <a:pt x="51" y="47"/>
                  <a:pt x="51" y="47"/>
                  <a:pt x="51" y="47"/>
                </a:cubicBezTo>
                <a:cubicBezTo>
                  <a:pt x="51" y="47"/>
                  <a:pt x="51" y="47"/>
                  <a:pt x="51" y="47"/>
                </a:cubicBezTo>
                <a:cubicBezTo>
                  <a:pt x="50" y="47"/>
                  <a:pt x="50" y="47"/>
                  <a:pt x="50" y="47"/>
                </a:cubicBezTo>
                <a:cubicBezTo>
                  <a:pt x="49" y="47"/>
                  <a:pt x="49" y="47"/>
                  <a:pt x="49" y="47"/>
                </a:cubicBezTo>
                <a:cubicBezTo>
                  <a:pt x="49" y="48"/>
                  <a:pt x="49" y="48"/>
                  <a:pt x="49" y="48"/>
                </a:cubicBezTo>
                <a:cubicBezTo>
                  <a:pt x="48" y="48"/>
                  <a:pt x="48" y="48"/>
                  <a:pt x="48" y="48"/>
                </a:cubicBezTo>
                <a:cubicBezTo>
                  <a:pt x="47" y="48"/>
                  <a:pt x="47" y="48"/>
                  <a:pt x="47" y="48"/>
                </a:cubicBezTo>
                <a:cubicBezTo>
                  <a:pt x="46" y="47"/>
                  <a:pt x="46" y="47"/>
                  <a:pt x="46" y="47"/>
                </a:cubicBezTo>
                <a:cubicBezTo>
                  <a:pt x="46" y="48"/>
                  <a:pt x="46" y="48"/>
                  <a:pt x="46" y="48"/>
                </a:cubicBezTo>
                <a:cubicBezTo>
                  <a:pt x="47" y="50"/>
                  <a:pt x="47" y="50"/>
                  <a:pt x="47" y="50"/>
                </a:cubicBezTo>
                <a:cubicBezTo>
                  <a:pt x="49" y="51"/>
                  <a:pt x="49" y="51"/>
                  <a:pt x="49" y="51"/>
                </a:cubicBezTo>
                <a:cubicBezTo>
                  <a:pt x="50" y="53"/>
                  <a:pt x="50" y="53"/>
                  <a:pt x="50" y="53"/>
                </a:cubicBezTo>
                <a:cubicBezTo>
                  <a:pt x="51" y="54"/>
                  <a:pt x="51" y="54"/>
                  <a:pt x="51" y="54"/>
                </a:cubicBezTo>
                <a:cubicBezTo>
                  <a:pt x="51" y="54"/>
                  <a:pt x="51" y="54"/>
                  <a:pt x="51" y="54"/>
                </a:cubicBezTo>
                <a:cubicBezTo>
                  <a:pt x="50" y="55"/>
                  <a:pt x="50" y="55"/>
                  <a:pt x="50" y="55"/>
                </a:cubicBezTo>
                <a:cubicBezTo>
                  <a:pt x="50" y="55"/>
                  <a:pt x="50" y="55"/>
                  <a:pt x="50" y="55"/>
                </a:cubicBezTo>
                <a:cubicBezTo>
                  <a:pt x="50" y="55"/>
                  <a:pt x="50" y="55"/>
                  <a:pt x="50" y="55"/>
                </a:cubicBezTo>
                <a:cubicBezTo>
                  <a:pt x="51" y="55"/>
                  <a:pt x="51" y="55"/>
                  <a:pt x="51" y="55"/>
                </a:cubicBezTo>
                <a:cubicBezTo>
                  <a:pt x="51" y="56"/>
                  <a:pt x="51" y="56"/>
                  <a:pt x="51" y="56"/>
                </a:cubicBezTo>
                <a:close/>
                <a:moveTo>
                  <a:pt x="50" y="56"/>
                </a:moveTo>
                <a:cubicBezTo>
                  <a:pt x="49" y="56"/>
                  <a:pt x="49" y="56"/>
                  <a:pt x="49" y="56"/>
                </a:cubicBezTo>
                <a:cubicBezTo>
                  <a:pt x="48" y="56"/>
                  <a:pt x="48" y="56"/>
                  <a:pt x="48" y="56"/>
                </a:cubicBezTo>
                <a:cubicBezTo>
                  <a:pt x="47" y="56"/>
                  <a:pt x="47" y="56"/>
                  <a:pt x="47" y="56"/>
                </a:cubicBezTo>
                <a:cubicBezTo>
                  <a:pt x="47" y="57"/>
                  <a:pt x="47" y="57"/>
                  <a:pt x="47" y="57"/>
                </a:cubicBezTo>
                <a:cubicBezTo>
                  <a:pt x="47" y="58"/>
                  <a:pt x="47" y="58"/>
                  <a:pt x="47" y="58"/>
                </a:cubicBezTo>
                <a:cubicBezTo>
                  <a:pt x="48" y="59"/>
                  <a:pt x="48" y="59"/>
                  <a:pt x="48" y="59"/>
                </a:cubicBezTo>
                <a:cubicBezTo>
                  <a:pt x="49" y="58"/>
                  <a:pt x="49" y="58"/>
                  <a:pt x="49" y="58"/>
                </a:cubicBezTo>
                <a:cubicBezTo>
                  <a:pt x="49" y="59"/>
                  <a:pt x="49" y="59"/>
                  <a:pt x="49" y="59"/>
                </a:cubicBezTo>
                <a:cubicBezTo>
                  <a:pt x="49" y="61"/>
                  <a:pt x="49" y="61"/>
                  <a:pt x="49" y="61"/>
                </a:cubicBezTo>
                <a:cubicBezTo>
                  <a:pt x="50" y="62"/>
                  <a:pt x="50" y="62"/>
                  <a:pt x="50" y="62"/>
                </a:cubicBezTo>
                <a:cubicBezTo>
                  <a:pt x="50" y="64"/>
                  <a:pt x="50" y="64"/>
                  <a:pt x="50" y="64"/>
                </a:cubicBezTo>
                <a:cubicBezTo>
                  <a:pt x="51" y="64"/>
                  <a:pt x="51" y="64"/>
                  <a:pt x="51" y="64"/>
                </a:cubicBezTo>
                <a:cubicBezTo>
                  <a:pt x="51" y="63"/>
                  <a:pt x="51" y="63"/>
                  <a:pt x="51" y="63"/>
                </a:cubicBezTo>
                <a:cubicBezTo>
                  <a:pt x="52" y="64"/>
                  <a:pt x="52" y="64"/>
                  <a:pt x="52" y="64"/>
                </a:cubicBezTo>
                <a:cubicBezTo>
                  <a:pt x="53" y="63"/>
                  <a:pt x="53" y="63"/>
                  <a:pt x="53" y="63"/>
                </a:cubicBezTo>
                <a:cubicBezTo>
                  <a:pt x="53" y="62"/>
                  <a:pt x="53" y="62"/>
                  <a:pt x="53" y="62"/>
                </a:cubicBezTo>
                <a:cubicBezTo>
                  <a:pt x="52" y="60"/>
                  <a:pt x="52" y="60"/>
                  <a:pt x="52" y="60"/>
                </a:cubicBezTo>
                <a:cubicBezTo>
                  <a:pt x="51" y="60"/>
                  <a:pt x="51" y="60"/>
                  <a:pt x="51" y="60"/>
                </a:cubicBezTo>
                <a:cubicBezTo>
                  <a:pt x="51" y="58"/>
                  <a:pt x="51" y="58"/>
                  <a:pt x="51" y="58"/>
                </a:cubicBezTo>
                <a:cubicBezTo>
                  <a:pt x="50" y="56"/>
                  <a:pt x="50" y="56"/>
                  <a:pt x="50" y="56"/>
                </a:cubicBezTo>
                <a:cubicBezTo>
                  <a:pt x="50" y="56"/>
                  <a:pt x="50" y="56"/>
                  <a:pt x="50" y="56"/>
                </a:cubicBezTo>
                <a:close/>
                <a:moveTo>
                  <a:pt x="56" y="59"/>
                </a:moveTo>
                <a:cubicBezTo>
                  <a:pt x="57" y="59"/>
                  <a:pt x="57" y="59"/>
                  <a:pt x="57" y="59"/>
                </a:cubicBezTo>
                <a:cubicBezTo>
                  <a:pt x="56" y="58"/>
                  <a:pt x="56" y="58"/>
                  <a:pt x="56" y="58"/>
                </a:cubicBezTo>
                <a:cubicBezTo>
                  <a:pt x="56" y="58"/>
                  <a:pt x="56" y="58"/>
                  <a:pt x="56" y="58"/>
                </a:cubicBezTo>
                <a:cubicBezTo>
                  <a:pt x="56" y="59"/>
                  <a:pt x="56" y="59"/>
                  <a:pt x="56" y="59"/>
                </a:cubicBezTo>
                <a:close/>
                <a:moveTo>
                  <a:pt x="56" y="60"/>
                </a:moveTo>
                <a:cubicBezTo>
                  <a:pt x="56" y="60"/>
                  <a:pt x="56" y="60"/>
                  <a:pt x="56" y="60"/>
                </a:cubicBezTo>
                <a:cubicBezTo>
                  <a:pt x="56" y="60"/>
                  <a:pt x="56" y="60"/>
                  <a:pt x="56" y="60"/>
                </a:cubicBezTo>
                <a:cubicBezTo>
                  <a:pt x="56" y="61"/>
                  <a:pt x="56" y="61"/>
                  <a:pt x="56" y="61"/>
                </a:cubicBezTo>
                <a:cubicBezTo>
                  <a:pt x="56" y="60"/>
                  <a:pt x="56" y="60"/>
                  <a:pt x="56" y="60"/>
                </a:cubicBezTo>
                <a:close/>
                <a:moveTo>
                  <a:pt x="56" y="66"/>
                </a:moveTo>
                <a:cubicBezTo>
                  <a:pt x="56" y="65"/>
                  <a:pt x="56" y="65"/>
                  <a:pt x="56" y="65"/>
                </a:cubicBezTo>
                <a:cubicBezTo>
                  <a:pt x="56" y="64"/>
                  <a:pt x="56" y="64"/>
                  <a:pt x="56" y="64"/>
                </a:cubicBezTo>
                <a:cubicBezTo>
                  <a:pt x="56" y="63"/>
                  <a:pt x="56" y="63"/>
                  <a:pt x="56" y="63"/>
                </a:cubicBezTo>
                <a:cubicBezTo>
                  <a:pt x="56" y="62"/>
                  <a:pt x="56" y="62"/>
                  <a:pt x="56" y="62"/>
                </a:cubicBezTo>
                <a:cubicBezTo>
                  <a:pt x="56" y="62"/>
                  <a:pt x="56" y="62"/>
                  <a:pt x="56" y="62"/>
                </a:cubicBezTo>
                <a:cubicBezTo>
                  <a:pt x="55" y="62"/>
                  <a:pt x="55" y="62"/>
                  <a:pt x="55" y="62"/>
                </a:cubicBezTo>
                <a:cubicBezTo>
                  <a:pt x="55" y="63"/>
                  <a:pt x="55" y="63"/>
                  <a:pt x="55" y="63"/>
                </a:cubicBezTo>
                <a:cubicBezTo>
                  <a:pt x="56" y="65"/>
                  <a:pt x="56" y="65"/>
                  <a:pt x="56" y="65"/>
                </a:cubicBezTo>
                <a:cubicBezTo>
                  <a:pt x="55" y="65"/>
                  <a:pt x="55" y="65"/>
                  <a:pt x="55" y="65"/>
                </a:cubicBezTo>
                <a:cubicBezTo>
                  <a:pt x="56" y="66"/>
                  <a:pt x="56" y="66"/>
                  <a:pt x="56" y="66"/>
                </a:cubicBezTo>
                <a:cubicBezTo>
                  <a:pt x="56" y="66"/>
                  <a:pt x="56" y="66"/>
                  <a:pt x="56" y="66"/>
                </a:cubicBezTo>
                <a:close/>
                <a:moveTo>
                  <a:pt x="58" y="67"/>
                </a:moveTo>
                <a:cubicBezTo>
                  <a:pt x="57" y="67"/>
                  <a:pt x="57" y="67"/>
                  <a:pt x="57" y="67"/>
                </a:cubicBezTo>
                <a:cubicBezTo>
                  <a:pt x="58" y="68"/>
                  <a:pt x="58" y="68"/>
                  <a:pt x="58" y="68"/>
                </a:cubicBezTo>
                <a:cubicBezTo>
                  <a:pt x="58" y="67"/>
                  <a:pt x="58" y="67"/>
                  <a:pt x="58" y="67"/>
                </a:cubicBezTo>
                <a:cubicBezTo>
                  <a:pt x="58" y="67"/>
                  <a:pt x="58" y="67"/>
                  <a:pt x="58" y="67"/>
                </a:cubicBezTo>
                <a:close/>
                <a:moveTo>
                  <a:pt x="58" y="64"/>
                </a:moveTo>
                <a:cubicBezTo>
                  <a:pt x="58" y="65"/>
                  <a:pt x="58" y="65"/>
                  <a:pt x="58" y="65"/>
                </a:cubicBezTo>
                <a:cubicBezTo>
                  <a:pt x="58" y="66"/>
                  <a:pt x="58" y="66"/>
                  <a:pt x="58" y="66"/>
                </a:cubicBezTo>
                <a:cubicBezTo>
                  <a:pt x="59" y="66"/>
                  <a:pt x="59" y="66"/>
                  <a:pt x="59" y="66"/>
                </a:cubicBezTo>
                <a:cubicBezTo>
                  <a:pt x="59" y="66"/>
                  <a:pt x="59" y="66"/>
                  <a:pt x="59" y="66"/>
                </a:cubicBezTo>
                <a:cubicBezTo>
                  <a:pt x="59" y="65"/>
                  <a:pt x="59" y="65"/>
                  <a:pt x="59" y="65"/>
                </a:cubicBezTo>
                <a:cubicBezTo>
                  <a:pt x="58" y="64"/>
                  <a:pt x="58" y="64"/>
                  <a:pt x="58" y="64"/>
                </a:cubicBezTo>
                <a:close/>
                <a:moveTo>
                  <a:pt x="34" y="86"/>
                </a:moveTo>
                <a:cubicBezTo>
                  <a:pt x="33" y="84"/>
                  <a:pt x="33" y="84"/>
                  <a:pt x="33" y="84"/>
                </a:cubicBezTo>
                <a:cubicBezTo>
                  <a:pt x="33" y="83"/>
                  <a:pt x="33" y="83"/>
                  <a:pt x="33" y="83"/>
                </a:cubicBezTo>
                <a:cubicBezTo>
                  <a:pt x="34" y="81"/>
                  <a:pt x="34" y="81"/>
                  <a:pt x="34" y="81"/>
                </a:cubicBezTo>
                <a:cubicBezTo>
                  <a:pt x="33" y="80"/>
                  <a:pt x="33" y="80"/>
                  <a:pt x="33" y="80"/>
                </a:cubicBezTo>
                <a:cubicBezTo>
                  <a:pt x="35" y="79"/>
                  <a:pt x="35" y="79"/>
                  <a:pt x="35" y="79"/>
                </a:cubicBezTo>
                <a:cubicBezTo>
                  <a:pt x="36" y="78"/>
                  <a:pt x="36" y="78"/>
                  <a:pt x="36" y="78"/>
                </a:cubicBezTo>
                <a:cubicBezTo>
                  <a:pt x="37" y="77"/>
                  <a:pt x="37" y="77"/>
                  <a:pt x="37" y="77"/>
                </a:cubicBezTo>
                <a:cubicBezTo>
                  <a:pt x="38" y="78"/>
                  <a:pt x="38" y="78"/>
                  <a:pt x="38" y="78"/>
                </a:cubicBezTo>
                <a:cubicBezTo>
                  <a:pt x="40" y="77"/>
                  <a:pt x="40" y="77"/>
                  <a:pt x="40" y="77"/>
                </a:cubicBezTo>
                <a:cubicBezTo>
                  <a:pt x="39" y="76"/>
                  <a:pt x="39" y="76"/>
                  <a:pt x="39" y="76"/>
                </a:cubicBezTo>
                <a:cubicBezTo>
                  <a:pt x="40" y="75"/>
                  <a:pt x="40" y="75"/>
                  <a:pt x="40" y="75"/>
                </a:cubicBezTo>
                <a:cubicBezTo>
                  <a:pt x="41" y="74"/>
                  <a:pt x="41" y="74"/>
                  <a:pt x="41" y="74"/>
                </a:cubicBezTo>
                <a:cubicBezTo>
                  <a:pt x="42" y="73"/>
                  <a:pt x="42" y="73"/>
                  <a:pt x="42" y="73"/>
                </a:cubicBezTo>
                <a:cubicBezTo>
                  <a:pt x="43" y="73"/>
                  <a:pt x="43" y="73"/>
                  <a:pt x="43" y="73"/>
                </a:cubicBezTo>
                <a:cubicBezTo>
                  <a:pt x="45" y="75"/>
                  <a:pt x="45" y="75"/>
                  <a:pt x="45" y="75"/>
                </a:cubicBezTo>
                <a:cubicBezTo>
                  <a:pt x="45" y="77"/>
                  <a:pt x="45" y="77"/>
                  <a:pt x="45" y="77"/>
                </a:cubicBezTo>
                <a:cubicBezTo>
                  <a:pt x="43" y="79"/>
                  <a:pt x="43" y="79"/>
                  <a:pt x="43" y="79"/>
                </a:cubicBezTo>
                <a:cubicBezTo>
                  <a:pt x="44" y="78"/>
                  <a:pt x="44" y="78"/>
                  <a:pt x="44" y="78"/>
                </a:cubicBezTo>
                <a:cubicBezTo>
                  <a:pt x="46" y="77"/>
                  <a:pt x="46" y="77"/>
                  <a:pt x="46" y="77"/>
                </a:cubicBezTo>
                <a:cubicBezTo>
                  <a:pt x="47" y="77"/>
                  <a:pt x="47" y="77"/>
                  <a:pt x="47" y="77"/>
                </a:cubicBezTo>
                <a:cubicBezTo>
                  <a:pt x="48" y="74"/>
                  <a:pt x="48" y="74"/>
                  <a:pt x="48" y="74"/>
                </a:cubicBezTo>
                <a:cubicBezTo>
                  <a:pt x="49" y="74"/>
                  <a:pt x="49" y="74"/>
                  <a:pt x="49" y="74"/>
                </a:cubicBezTo>
                <a:cubicBezTo>
                  <a:pt x="50" y="75"/>
                  <a:pt x="50" y="75"/>
                  <a:pt x="50" y="75"/>
                </a:cubicBezTo>
                <a:cubicBezTo>
                  <a:pt x="50" y="75"/>
                  <a:pt x="50" y="75"/>
                  <a:pt x="50" y="75"/>
                </a:cubicBezTo>
                <a:cubicBezTo>
                  <a:pt x="51" y="74"/>
                  <a:pt x="51" y="74"/>
                  <a:pt x="51" y="74"/>
                </a:cubicBezTo>
                <a:cubicBezTo>
                  <a:pt x="50" y="74"/>
                  <a:pt x="50" y="74"/>
                  <a:pt x="50" y="74"/>
                </a:cubicBezTo>
                <a:cubicBezTo>
                  <a:pt x="51" y="71"/>
                  <a:pt x="51" y="71"/>
                  <a:pt x="51" y="71"/>
                </a:cubicBezTo>
                <a:cubicBezTo>
                  <a:pt x="52" y="72"/>
                  <a:pt x="52" y="72"/>
                  <a:pt x="52" y="72"/>
                </a:cubicBezTo>
                <a:cubicBezTo>
                  <a:pt x="53" y="72"/>
                  <a:pt x="53" y="72"/>
                  <a:pt x="53" y="72"/>
                </a:cubicBezTo>
                <a:cubicBezTo>
                  <a:pt x="53" y="72"/>
                  <a:pt x="53" y="72"/>
                  <a:pt x="53" y="72"/>
                </a:cubicBezTo>
                <a:cubicBezTo>
                  <a:pt x="53" y="70"/>
                  <a:pt x="53" y="70"/>
                  <a:pt x="53" y="70"/>
                </a:cubicBezTo>
                <a:cubicBezTo>
                  <a:pt x="54" y="70"/>
                  <a:pt x="54" y="70"/>
                  <a:pt x="54" y="70"/>
                </a:cubicBezTo>
                <a:cubicBezTo>
                  <a:pt x="55" y="71"/>
                  <a:pt x="55" y="71"/>
                  <a:pt x="55" y="71"/>
                </a:cubicBezTo>
                <a:cubicBezTo>
                  <a:pt x="55" y="70"/>
                  <a:pt x="55" y="70"/>
                  <a:pt x="55" y="70"/>
                </a:cubicBezTo>
                <a:cubicBezTo>
                  <a:pt x="54" y="68"/>
                  <a:pt x="54" y="68"/>
                  <a:pt x="54" y="68"/>
                </a:cubicBezTo>
                <a:cubicBezTo>
                  <a:pt x="54" y="66"/>
                  <a:pt x="54" y="66"/>
                  <a:pt x="54" y="66"/>
                </a:cubicBezTo>
                <a:cubicBezTo>
                  <a:pt x="55" y="66"/>
                  <a:pt x="55" y="66"/>
                  <a:pt x="55" y="66"/>
                </a:cubicBezTo>
                <a:cubicBezTo>
                  <a:pt x="56" y="66"/>
                  <a:pt x="56" y="66"/>
                  <a:pt x="56" y="66"/>
                </a:cubicBezTo>
                <a:cubicBezTo>
                  <a:pt x="56" y="67"/>
                  <a:pt x="56" y="67"/>
                  <a:pt x="56" y="67"/>
                </a:cubicBezTo>
                <a:cubicBezTo>
                  <a:pt x="58" y="69"/>
                  <a:pt x="58" y="69"/>
                  <a:pt x="58" y="69"/>
                </a:cubicBezTo>
                <a:cubicBezTo>
                  <a:pt x="59" y="70"/>
                  <a:pt x="59" y="70"/>
                  <a:pt x="59" y="70"/>
                </a:cubicBezTo>
                <a:cubicBezTo>
                  <a:pt x="60" y="69"/>
                  <a:pt x="60" y="69"/>
                  <a:pt x="60" y="69"/>
                </a:cubicBezTo>
                <a:cubicBezTo>
                  <a:pt x="60" y="70"/>
                  <a:pt x="60" y="70"/>
                  <a:pt x="60" y="70"/>
                </a:cubicBezTo>
                <a:cubicBezTo>
                  <a:pt x="60" y="72"/>
                  <a:pt x="60" y="72"/>
                  <a:pt x="60" y="72"/>
                </a:cubicBezTo>
                <a:cubicBezTo>
                  <a:pt x="60" y="73"/>
                  <a:pt x="60" y="73"/>
                  <a:pt x="60" y="73"/>
                </a:cubicBezTo>
                <a:cubicBezTo>
                  <a:pt x="60" y="73"/>
                  <a:pt x="60" y="73"/>
                  <a:pt x="60" y="73"/>
                </a:cubicBezTo>
                <a:cubicBezTo>
                  <a:pt x="59" y="74"/>
                  <a:pt x="59" y="74"/>
                  <a:pt x="59" y="74"/>
                </a:cubicBezTo>
                <a:cubicBezTo>
                  <a:pt x="60" y="75"/>
                  <a:pt x="60" y="75"/>
                  <a:pt x="60" y="75"/>
                </a:cubicBezTo>
                <a:cubicBezTo>
                  <a:pt x="61" y="75"/>
                  <a:pt x="61" y="75"/>
                  <a:pt x="61" y="75"/>
                </a:cubicBezTo>
                <a:cubicBezTo>
                  <a:pt x="60" y="75"/>
                  <a:pt x="60" y="75"/>
                  <a:pt x="60" y="75"/>
                </a:cubicBezTo>
                <a:cubicBezTo>
                  <a:pt x="61" y="77"/>
                  <a:pt x="61" y="77"/>
                  <a:pt x="61" y="77"/>
                </a:cubicBezTo>
                <a:cubicBezTo>
                  <a:pt x="61" y="76"/>
                  <a:pt x="61" y="76"/>
                  <a:pt x="61" y="76"/>
                </a:cubicBezTo>
                <a:cubicBezTo>
                  <a:pt x="61" y="78"/>
                  <a:pt x="61" y="78"/>
                  <a:pt x="61" y="78"/>
                </a:cubicBezTo>
                <a:cubicBezTo>
                  <a:pt x="61" y="79"/>
                  <a:pt x="61" y="79"/>
                  <a:pt x="61" y="79"/>
                </a:cubicBezTo>
                <a:cubicBezTo>
                  <a:pt x="62" y="80"/>
                  <a:pt x="62" y="80"/>
                  <a:pt x="62" y="80"/>
                </a:cubicBezTo>
                <a:cubicBezTo>
                  <a:pt x="63" y="81"/>
                  <a:pt x="63" y="81"/>
                  <a:pt x="63" y="81"/>
                </a:cubicBezTo>
                <a:cubicBezTo>
                  <a:pt x="63" y="83"/>
                  <a:pt x="63" y="83"/>
                  <a:pt x="63" y="83"/>
                </a:cubicBezTo>
                <a:cubicBezTo>
                  <a:pt x="62" y="85"/>
                  <a:pt x="62" y="85"/>
                  <a:pt x="62" y="85"/>
                </a:cubicBezTo>
                <a:cubicBezTo>
                  <a:pt x="62" y="85"/>
                  <a:pt x="62" y="85"/>
                  <a:pt x="62" y="85"/>
                </a:cubicBezTo>
                <a:cubicBezTo>
                  <a:pt x="62" y="86"/>
                  <a:pt x="62" y="86"/>
                  <a:pt x="62" y="86"/>
                </a:cubicBezTo>
                <a:cubicBezTo>
                  <a:pt x="61" y="85"/>
                  <a:pt x="61" y="85"/>
                  <a:pt x="61" y="85"/>
                </a:cubicBezTo>
                <a:cubicBezTo>
                  <a:pt x="61" y="85"/>
                  <a:pt x="61" y="85"/>
                  <a:pt x="61" y="85"/>
                </a:cubicBezTo>
                <a:cubicBezTo>
                  <a:pt x="60" y="86"/>
                  <a:pt x="60" y="86"/>
                  <a:pt x="60" y="86"/>
                </a:cubicBezTo>
                <a:cubicBezTo>
                  <a:pt x="61" y="88"/>
                  <a:pt x="61" y="88"/>
                  <a:pt x="61" y="88"/>
                </a:cubicBezTo>
                <a:cubicBezTo>
                  <a:pt x="61" y="89"/>
                  <a:pt x="61" y="89"/>
                  <a:pt x="61" y="89"/>
                </a:cubicBezTo>
                <a:cubicBezTo>
                  <a:pt x="61" y="90"/>
                  <a:pt x="61" y="90"/>
                  <a:pt x="61" y="90"/>
                </a:cubicBezTo>
                <a:cubicBezTo>
                  <a:pt x="60" y="89"/>
                  <a:pt x="60" y="89"/>
                  <a:pt x="60" y="89"/>
                </a:cubicBezTo>
                <a:cubicBezTo>
                  <a:pt x="60" y="87"/>
                  <a:pt x="60" y="87"/>
                  <a:pt x="60" y="87"/>
                </a:cubicBezTo>
                <a:cubicBezTo>
                  <a:pt x="60" y="86"/>
                  <a:pt x="60" y="86"/>
                  <a:pt x="60" y="86"/>
                </a:cubicBezTo>
                <a:cubicBezTo>
                  <a:pt x="59" y="85"/>
                  <a:pt x="59" y="85"/>
                  <a:pt x="59" y="85"/>
                </a:cubicBezTo>
                <a:cubicBezTo>
                  <a:pt x="59" y="84"/>
                  <a:pt x="59" y="84"/>
                  <a:pt x="59" y="84"/>
                </a:cubicBezTo>
                <a:cubicBezTo>
                  <a:pt x="58" y="83"/>
                  <a:pt x="58" y="83"/>
                  <a:pt x="58" y="83"/>
                </a:cubicBezTo>
                <a:cubicBezTo>
                  <a:pt x="57" y="83"/>
                  <a:pt x="57" y="83"/>
                  <a:pt x="57" y="83"/>
                </a:cubicBezTo>
                <a:cubicBezTo>
                  <a:pt x="55" y="86"/>
                  <a:pt x="55" y="86"/>
                  <a:pt x="55" y="86"/>
                </a:cubicBezTo>
                <a:cubicBezTo>
                  <a:pt x="55" y="87"/>
                  <a:pt x="55" y="87"/>
                  <a:pt x="55" y="87"/>
                </a:cubicBezTo>
                <a:cubicBezTo>
                  <a:pt x="56" y="88"/>
                  <a:pt x="56" y="88"/>
                  <a:pt x="56" y="88"/>
                </a:cubicBezTo>
                <a:cubicBezTo>
                  <a:pt x="57" y="89"/>
                  <a:pt x="57" y="89"/>
                  <a:pt x="57" y="89"/>
                </a:cubicBezTo>
                <a:cubicBezTo>
                  <a:pt x="58" y="90"/>
                  <a:pt x="58" y="90"/>
                  <a:pt x="58" y="90"/>
                </a:cubicBezTo>
                <a:cubicBezTo>
                  <a:pt x="58" y="91"/>
                  <a:pt x="58" y="91"/>
                  <a:pt x="58" y="91"/>
                </a:cubicBezTo>
                <a:cubicBezTo>
                  <a:pt x="56" y="94"/>
                  <a:pt x="56" y="94"/>
                  <a:pt x="56" y="94"/>
                </a:cubicBezTo>
                <a:cubicBezTo>
                  <a:pt x="55" y="94"/>
                  <a:pt x="55" y="94"/>
                  <a:pt x="55" y="94"/>
                </a:cubicBezTo>
                <a:cubicBezTo>
                  <a:pt x="55" y="94"/>
                  <a:pt x="55" y="94"/>
                  <a:pt x="55" y="94"/>
                </a:cubicBezTo>
                <a:cubicBezTo>
                  <a:pt x="54" y="93"/>
                  <a:pt x="54" y="93"/>
                  <a:pt x="54" y="93"/>
                </a:cubicBezTo>
                <a:cubicBezTo>
                  <a:pt x="55" y="92"/>
                  <a:pt x="55" y="92"/>
                  <a:pt x="55" y="92"/>
                </a:cubicBezTo>
                <a:cubicBezTo>
                  <a:pt x="54" y="91"/>
                  <a:pt x="54" y="91"/>
                  <a:pt x="54" y="91"/>
                </a:cubicBezTo>
                <a:cubicBezTo>
                  <a:pt x="54" y="92"/>
                  <a:pt x="54" y="92"/>
                  <a:pt x="54" y="92"/>
                </a:cubicBezTo>
                <a:cubicBezTo>
                  <a:pt x="53" y="92"/>
                  <a:pt x="53" y="92"/>
                  <a:pt x="53" y="92"/>
                </a:cubicBezTo>
                <a:cubicBezTo>
                  <a:pt x="52" y="93"/>
                  <a:pt x="52" y="93"/>
                  <a:pt x="52" y="93"/>
                </a:cubicBezTo>
                <a:cubicBezTo>
                  <a:pt x="51" y="92"/>
                  <a:pt x="51" y="92"/>
                  <a:pt x="51" y="92"/>
                </a:cubicBezTo>
                <a:cubicBezTo>
                  <a:pt x="50" y="91"/>
                  <a:pt x="50" y="91"/>
                  <a:pt x="50" y="91"/>
                </a:cubicBezTo>
                <a:cubicBezTo>
                  <a:pt x="49" y="91"/>
                  <a:pt x="49" y="91"/>
                  <a:pt x="49" y="91"/>
                </a:cubicBezTo>
                <a:cubicBezTo>
                  <a:pt x="47" y="90"/>
                  <a:pt x="47" y="90"/>
                  <a:pt x="47" y="90"/>
                </a:cubicBezTo>
                <a:cubicBezTo>
                  <a:pt x="47" y="89"/>
                  <a:pt x="47" y="89"/>
                  <a:pt x="47" y="89"/>
                </a:cubicBezTo>
                <a:cubicBezTo>
                  <a:pt x="46" y="88"/>
                  <a:pt x="46" y="88"/>
                  <a:pt x="46" y="88"/>
                </a:cubicBezTo>
                <a:cubicBezTo>
                  <a:pt x="47" y="87"/>
                  <a:pt x="47" y="87"/>
                  <a:pt x="47" y="87"/>
                </a:cubicBezTo>
                <a:cubicBezTo>
                  <a:pt x="46" y="86"/>
                  <a:pt x="46" y="86"/>
                  <a:pt x="46" y="86"/>
                </a:cubicBezTo>
                <a:cubicBezTo>
                  <a:pt x="46" y="85"/>
                  <a:pt x="46" y="85"/>
                  <a:pt x="46" y="85"/>
                </a:cubicBezTo>
                <a:cubicBezTo>
                  <a:pt x="46" y="85"/>
                  <a:pt x="46" y="85"/>
                  <a:pt x="46" y="85"/>
                </a:cubicBezTo>
                <a:cubicBezTo>
                  <a:pt x="46" y="84"/>
                  <a:pt x="46" y="84"/>
                  <a:pt x="46" y="84"/>
                </a:cubicBezTo>
                <a:cubicBezTo>
                  <a:pt x="47" y="84"/>
                  <a:pt x="47" y="84"/>
                  <a:pt x="47" y="84"/>
                </a:cubicBezTo>
                <a:cubicBezTo>
                  <a:pt x="48" y="84"/>
                  <a:pt x="48" y="84"/>
                  <a:pt x="48" y="84"/>
                </a:cubicBezTo>
                <a:cubicBezTo>
                  <a:pt x="47" y="83"/>
                  <a:pt x="47" y="83"/>
                  <a:pt x="47" y="83"/>
                </a:cubicBezTo>
                <a:cubicBezTo>
                  <a:pt x="47" y="82"/>
                  <a:pt x="47" y="82"/>
                  <a:pt x="47" y="82"/>
                </a:cubicBezTo>
                <a:cubicBezTo>
                  <a:pt x="45" y="81"/>
                  <a:pt x="45" y="81"/>
                  <a:pt x="45" y="81"/>
                </a:cubicBezTo>
                <a:cubicBezTo>
                  <a:pt x="44" y="81"/>
                  <a:pt x="44" y="81"/>
                  <a:pt x="44" y="81"/>
                </a:cubicBezTo>
                <a:cubicBezTo>
                  <a:pt x="43" y="80"/>
                  <a:pt x="43" y="80"/>
                  <a:pt x="43" y="80"/>
                </a:cubicBezTo>
                <a:cubicBezTo>
                  <a:pt x="43" y="80"/>
                  <a:pt x="43" y="80"/>
                  <a:pt x="43" y="80"/>
                </a:cubicBezTo>
                <a:cubicBezTo>
                  <a:pt x="42" y="80"/>
                  <a:pt x="42" y="80"/>
                  <a:pt x="42" y="80"/>
                </a:cubicBezTo>
                <a:cubicBezTo>
                  <a:pt x="42" y="81"/>
                  <a:pt x="42" y="81"/>
                  <a:pt x="42" y="81"/>
                </a:cubicBezTo>
                <a:cubicBezTo>
                  <a:pt x="42" y="82"/>
                  <a:pt x="42" y="82"/>
                  <a:pt x="42" y="82"/>
                </a:cubicBezTo>
                <a:cubicBezTo>
                  <a:pt x="43" y="83"/>
                  <a:pt x="43" y="83"/>
                  <a:pt x="43" y="83"/>
                </a:cubicBezTo>
                <a:cubicBezTo>
                  <a:pt x="42" y="82"/>
                  <a:pt x="42" y="82"/>
                  <a:pt x="42" y="82"/>
                </a:cubicBezTo>
                <a:cubicBezTo>
                  <a:pt x="41" y="82"/>
                  <a:pt x="41" y="82"/>
                  <a:pt x="41" y="82"/>
                </a:cubicBezTo>
                <a:cubicBezTo>
                  <a:pt x="41" y="82"/>
                  <a:pt x="41" y="82"/>
                  <a:pt x="41" y="82"/>
                </a:cubicBezTo>
                <a:cubicBezTo>
                  <a:pt x="41" y="81"/>
                  <a:pt x="41" y="81"/>
                  <a:pt x="41" y="81"/>
                </a:cubicBezTo>
                <a:cubicBezTo>
                  <a:pt x="40" y="81"/>
                  <a:pt x="40" y="81"/>
                  <a:pt x="40" y="81"/>
                </a:cubicBezTo>
                <a:cubicBezTo>
                  <a:pt x="40" y="81"/>
                  <a:pt x="40" y="81"/>
                  <a:pt x="40" y="81"/>
                </a:cubicBezTo>
                <a:cubicBezTo>
                  <a:pt x="40" y="82"/>
                  <a:pt x="40" y="82"/>
                  <a:pt x="40" y="82"/>
                </a:cubicBezTo>
                <a:cubicBezTo>
                  <a:pt x="39" y="82"/>
                  <a:pt x="39" y="82"/>
                  <a:pt x="39" y="82"/>
                </a:cubicBezTo>
                <a:cubicBezTo>
                  <a:pt x="38" y="82"/>
                  <a:pt x="38" y="82"/>
                  <a:pt x="38" y="82"/>
                </a:cubicBezTo>
                <a:cubicBezTo>
                  <a:pt x="38" y="82"/>
                  <a:pt x="38" y="82"/>
                  <a:pt x="38" y="82"/>
                </a:cubicBezTo>
                <a:cubicBezTo>
                  <a:pt x="38" y="81"/>
                  <a:pt x="38" y="81"/>
                  <a:pt x="38" y="81"/>
                </a:cubicBezTo>
                <a:cubicBezTo>
                  <a:pt x="37" y="80"/>
                  <a:pt x="37" y="80"/>
                  <a:pt x="37" y="80"/>
                </a:cubicBezTo>
                <a:cubicBezTo>
                  <a:pt x="37" y="80"/>
                  <a:pt x="37" y="80"/>
                  <a:pt x="37" y="80"/>
                </a:cubicBezTo>
                <a:cubicBezTo>
                  <a:pt x="36" y="82"/>
                  <a:pt x="36" y="82"/>
                  <a:pt x="36" y="82"/>
                </a:cubicBezTo>
                <a:cubicBezTo>
                  <a:pt x="35" y="82"/>
                  <a:pt x="35" y="82"/>
                  <a:pt x="35" y="82"/>
                </a:cubicBezTo>
                <a:cubicBezTo>
                  <a:pt x="34" y="85"/>
                  <a:pt x="34" y="85"/>
                  <a:pt x="34" y="85"/>
                </a:cubicBezTo>
                <a:cubicBezTo>
                  <a:pt x="34" y="86"/>
                  <a:pt x="34" y="86"/>
                  <a:pt x="34" y="86"/>
                </a:cubicBezTo>
                <a:close/>
                <a:moveTo>
                  <a:pt x="32" y="87"/>
                </a:moveTo>
                <a:cubicBezTo>
                  <a:pt x="32" y="88"/>
                  <a:pt x="32" y="88"/>
                  <a:pt x="32" y="88"/>
                </a:cubicBezTo>
                <a:cubicBezTo>
                  <a:pt x="33" y="89"/>
                  <a:pt x="33" y="89"/>
                  <a:pt x="33" y="89"/>
                </a:cubicBezTo>
                <a:cubicBezTo>
                  <a:pt x="34" y="89"/>
                  <a:pt x="34" y="89"/>
                  <a:pt x="34" y="89"/>
                </a:cubicBezTo>
                <a:cubicBezTo>
                  <a:pt x="35" y="88"/>
                  <a:pt x="35" y="88"/>
                  <a:pt x="35" y="88"/>
                </a:cubicBezTo>
                <a:cubicBezTo>
                  <a:pt x="35" y="87"/>
                  <a:pt x="35" y="87"/>
                  <a:pt x="35" y="87"/>
                </a:cubicBezTo>
                <a:cubicBezTo>
                  <a:pt x="35" y="87"/>
                  <a:pt x="35" y="87"/>
                  <a:pt x="35" y="87"/>
                </a:cubicBezTo>
                <a:cubicBezTo>
                  <a:pt x="34" y="87"/>
                  <a:pt x="34" y="87"/>
                  <a:pt x="34" y="87"/>
                </a:cubicBezTo>
                <a:cubicBezTo>
                  <a:pt x="33" y="87"/>
                  <a:pt x="33" y="87"/>
                  <a:pt x="33" y="87"/>
                </a:cubicBezTo>
                <a:cubicBezTo>
                  <a:pt x="32" y="87"/>
                  <a:pt x="32" y="87"/>
                  <a:pt x="32" y="87"/>
                </a:cubicBezTo>
                <a:close/>
                <a:moveTo>
                  <a:pt x="18" y="51"/>
                </a:moveTo>
                <a:cubicBezTo>
                  <a:pt x="17" y="50"/>
                  <a:pt x="17" y="50"/>
                  <a:pt x="17" y="50"/>
                </a:cubicBezTo>
                <a:cubicBezTo>
                  <a:pt x="17" y="50"/>
                  <a:pt x="17" y="50"/>
                  <a:pt x="17" y="50"/>
                </a:cubicBezTo>
                <a:cubicBezTo>
                  <a:pt x="17" y="49"/>
                  <a:pt x="17" y="49"/>
                  <a:pt x="17" y="49"/>
                </a:cubicBezTo>
                <a:cubicBezTo>
                  <a:pt x="18" y="49"/>
                  <a:pt x="18" y="49"/>
                  <a:pt x="18" y="49"/>
                </a:cubicBezTo>
                <a:cubicBezTo>
                  <a:pt x="19" y="50"/>
                  <a:pt x="19" y="50"/>
                  <a:pt x="19" y="50"/>
                </a:cubicBezTo>
                <a:cubicBezTo>
                  <a:pt x="20" y="50"/>
                  <a:pt x="20" y="50"/>
                  <a:pt x="20" y="50"/>
                </a:cubicBezTo>
                <a:cubicBezTo>
                  <a:pt x="20" y="51"/>
                  <a:pt x="20" y="51"/>
                  <a:pt x="20" y="51"/>
                </a:cubicBezTo>
                <a:cubicBezTo>
                  <a:pt x="20" y="52"/>
                  <a:pt x="20" y="52"/>
                  <a:pt x="20" y="52"/>
                </a:cubicBezTo>
                <a:cubicBezTo>
                  <a:pt x="19" y="51"/>
                  <a:pt x="19" y="51"/>
                  <a:pt x="19" y="51"/>
                </a:cubicBezTo>
                <a:cubicBezTo>
                  <a:pt x="18" y="51"/>
                  <a:pt x="18" y="51"/>
                  <a:pt x="18" y="51"/>
                </a:cubicBezTo>
                <a:close/>
                <a:moveTo>
                  <a:pt x="17" y="52"/>
                </a:moveTo>
                <a:cubicBezTo>
                  <a:pt x="18" y="52"/>
                  <a:pt x="18" y="52"/>
                  <a:pt x="18" y="52"/>
                </a:cubicBezTo>
                <a:cubicBezTo>
                  <a:pt x="19" y="53"/>
                  <a:pt x="19" y="53"/>
                  <a:pt x="19" y="53"/>
                </a:cubicBezTo>
                <a:cubicBezTo>
                  <a:pt x="18" y="53"/>
                  <a:pt x="18" y="53"/>
                  <a:pt x="18" y="53"/>
                </a:cubicBezTo>
                <a:cubicBezTo>
                  <a:pt x="18" y="54"/>
                  <a:pt x="18" y="54"/>
                  <a:pt x="18" y="54"/>
                </a:cubicBezTo>
                <a:cubicBezTo>
                  <a:pt x="17" y="54"/>
                  <a:pt x="17" y="54"/>
                  <a:pt x="17" y="54"/>
                </a:cubicBezTo>
                <a:cubicBezTo>
                  <a:pt x="17" y="52"/>
                  <a:pt x="17" y="52"/>
                  <a:pt x="17" y="52"/>
                </a:cubicBezTo>
                <a:cubicBezTo>
                  <a:pt x="17" y="52"/>
                  <a:pt x="17" y="52"/>
                  <a:pt x="17" y="52"/>
                </a:cubicBezTo>
                <a:close/>
                <a:moveTo>
                  <a:pt x="18" y="61"/>
                </a:moveTo>
                <a:cubicBezTo>
                  <a:pt x="18" y="61"/>
                  <a:pt x="18" y="61"/>
                  <a:pt x="18" y="61"/>
                </a:cubicBezTo>
                <a:cubicBezTo>
                  <a:pt x="18" y="60"/>
                  <a:pt x="18" y="60"/>
                  <a:pt x="18" y="60"/>
                </a:cubicBezTo>
                <a:cubicBezTo>
                  <a:pt x="19" y="61"/>
                  <a:pt x="19" y="61"/>
                  <a:pt x="19" y="61"/>
                </a:cubicBezTo>
                <a:cubicBezTo>
                  <a:pt x="19" y="61"/>
                  <a:pt x="19" y="61"/>
                  <a:pt x="19" y="61"/>
                </a:cubicBezTo>
                <a:cubicBezTo>
                  <a:pt x="19" y="62"/>
                  <a:pt x="19" y="62"/>
                  <a:pt x="19" y="62"/>
                </a:cubicBezTo>
                <a:cubicBezTo>
                  <a:pt x="18" y="62"/>
                  <a:pt x="18" y="62"/>
                  <a:pt x="18" y="62"/>
                </a:cubicBezTo>
                <a:cubicBezTo>
                  <a:pt x="17" y="62"/>
                  <a:pt x="17" y="62"/>
                  <a:pt x="17" y="62"/>
                </a:cubicBezTo>
                <a:cubicBezTo>
                  <a:pt x="18" y="61"/>
                  <a:pt x="18" y="61"/>
                  <a:pt x="18" y="61"/>
                </a:cubicBezTo>
                <a:close/>
                <a:moveTo>
                  <a:pt x="2" y="75"/>
                </a:moveTo>
                <a:cubicBezTo>
                  <a:pt x="4" y="74"/>
                  <a:pt x="4" y="74"/>
                  <a:pt x="4" y="74"/>
                </a:cubicBezTo>
                <a:cubicBezTo>
                  <a:pt x="4" y="74"/>
                  <a:pt x="4" y="74"/>
                  <a:pt x="4" y="74"/>
                </a:cubicBezTo>
                <a:cubicBezTo>
                  <a:pt x="5" y="73"/>
                  <a:pt x="5" y="73"/>
                  <a:pt x="5" y="73"/>
                </a:cubicBezTo>
                <a:cubicBezTo>
                  <a:pt x="7" y="73"/>
                  <a:pt x="7" y="73"/>
                  <a:pt x="7" y="73"/>
                </a:cubicBezTo>
                <a:cubicBezTo>
                  <a:pt x="8" y="71"/>
                  <a:pt x="8" y="71"/>
                  <a:pt x="8" y="71"/>
                </a:cubicBezTo>
                <a:cubicBezTo>
                  <a:pt x="9" y="70"/>
                  <a:pt x="9" y="70"/>
                  <a:pt x="9" y="70"/>
                </a:cubicBezTo>
                <a:cubicBezTo>
                  <a:pt x="10" y="69"/>
                  <a:pt x="10" y="69"/>
                  <a:pt x="10" y="69"/>
                </a:cubicBezTo>
                <a:cubicBezTo>
                  <a:pt x="11" y="69"/>
                  <a:pt x="11" y="69"/>
                  <a:pt x="11" y="69"/>
                </a:cubicBezTo>
                <a:cubicBezTo>
                  <a:pt x="11" y="68"/>
                  <a:pt x="11" y="68"/>
                  <a:pt x="11" y="68"/>
                </a:cubicBezTo>
                <a:cubicBezTo>
                  <a:pt x="11" y="66"/>
                  <a:pt x="11" y="66"/>
                  <a:pt x="11" y="66"/>
                </a:cubicBezTo>
                <a:cubicBezTo>
                  <a:pt x="12" y="65"/>
                  <a:pt x="12" y="65"/>
                  <a:pt x="12" y="65"/>
                </a:cubicBezTo>
                <a:cubicBezTo>
                  <a:pt x="14" y="65"/>
                  <a:pt x="14" y="65"/>
                  <a:pt x="14" y="65"/>
                </a:cubicBezTo>
                <a:cubicBezTo>
                  <a:pt x="14" y="63"/>
                  <a:pt x="14" y="63"/>
                  <a:pt x="14" y="63"/>
                </a:cubicBezTo>
                <a:cubicBezTo>
                  <a:pt x="15" y="62"/>
                  <a:pt x="15" y="62"/>
                  <a:pt x="15" y="62"/>
                </a:cubicBezTo>
                <a:cubicBezTo>
                  <a:pt x="16" y="62"/>
                  <a:pt x="16" y="62"/>
                  <a:pt x="16" y="62"/>
                </a:cubicBezTo>
                <a:cubicBezTo>
                  <a:pt x="17" y="61"/>
                  <a:pt x="17" y="61"/>
                  <a:pt x="17" y="61"/>
                </a:cubicBezTo>
                <a:cubicBezTo>
                  <a:pt x="16" y="60"/>
                  <a:pt x="16" y="60"/>
                  <a:pt x="16" y="60"/>
                </a:cubicBezTo>
                <a:cubicBezTo>
                  <a:pt x="15" y="59"/>
                  <a:pt x="15" y="59"/>
                  <a:pt x="15" y="59"/>
                </a:cubicBezTo>
                <a:cubicBezTo>
                  <a:pt x="15" y="57"/>
                  <a:pt x="15" y="57"/>
                  <a:pt x="15" y="57"/>
                </a:cubicBezTo>
                <a:cubicBezTo>
                  <a:pt x="15" y="56"/>
                  <a:pt x="15" y="56"/>
                  <a:pt x="15" y="56"/>
                </a:cubicBezTo>
                <a:cubicBezTo>
                  <a:pt x="15" y="56"/>
                  <a:pt x="15" y="56"/>
                  <a:pt x="15" y="56"/>
                </a:cubicBezTo>
                <a:cubicBezTo>
                  <a:pt x="14" y="58"/>
                  <a:pt x="14" y="58"/>
                  <a:pt x="14" y="58"/>
                </a:cubicBezTo>
                <a:cubicBezTo>
                  <a:pt x="15" y="60"/>
                  <a:pt x="15" y="60"/>
                  <a:pt x="15" y="60"/>
                </a:cubicBezTo>
                <a:cubicBezTo>
                  <a:pt x="14" y="59"/>
                  <a:pt x="14" y="59"/>
                  <a:pt x="14" y="59"/>
                </a:cubicBezTo>
                <a:cubicBezTo>
                  <a:pt x="14" y="60"/>
                  <a:pt x="14" y="60"/>
                  <a:pt x="14" y="60"/>
                </a:cubicBezTo>
                <a:cubicBezTo>
                  <a:pt x="14" y="61"/>
                  <a:pt x="14" y="61"/>
                  <a:pt x="14" y="61"/>
                </a:cubicBezTo>
                <a:cubicBezTo>
                  <a:pt x="13" y="62"/>
                  <a:pt x="13" y="62"/>
                  <a:pt x="13" y="62"/>
                </a:cubicBezTo>
                <a:cubicBezTo>
                  <a:pt x="13" y="62"/>
                  <a:pt x="13" y="62"/>
                  <a:pt x="13" y="62"/>
                </a:cubicBezTo>
                <a:cubicBezTo>
                  <a:pt x="11" y="64"/>
                  <a:pt x="11" y="64"/>
                  <a:pt x="11" y="64"/>
                </a:cubicBezTo>
                <a:cubicBezTo>
                  <a:pt x="11" y="64"/>
                  <a:pt x="11" y="64"/>
                  <a:pt x="11" y="64"/>
                </a:cubicBezTo>
                <a:cubicBezTo>
                  <a:pt x="10" y="65"/>
                  <a:pt x="10" y="65"/>
                  <a:pt x="10" y="65"/>
                </a:cubicBezTo>
                <a:cubicBezTo>
                  <a:pt x="9" y="68"/>
                  <a:pt x="9" y="68"/>
                  <a:pt x="9" y="68"/>
                </a:cubicBezTo>
                <a:cubicBezTo>
                  <a:pt x="7" y="70"/>
                  <a:pt x="7" y="70"/>
                  <a:pt x="7" y="70"/>
                </a:cubicBezTo>
                <a:cubicBezTo>
                  <a:pt x="6" y="70"/>
                  <a:pt x="6" y="70"/>
                  <a:pt x="6" y="70"/>
                </a:cubicBezTo>
                <a:cubicBezTo>
                  <a:pt x="5" y="72"/>
                  <a:pt x="5" y="72"/>
                  <a:pt x="5" y="72"/>
                </a:cubicBezTo>
                <a:cubicBezTo>
                  <a:pt x="4" y="72"/>
                  <a:pt x="4" y="72"/>
                  <a:pt x="4" y="72"/>
                </a:cubicBezTo>
                <a:cubicBezTo>
                  <a:pt x="3" y="74"/>
                  <a:pt x="3" y="74"/>
                  <a:pt x="3" y="74"/>
                </a:cubicBezTo>
                <a:cubicBezTo>
                  <a:pt x="2" y="75"/>
                  <a:pt x="2" y="75"/>
                  <a:pt x="2" y="75"/>
                </a:cubicBezTo>
                <a:cubicBezTo>
                  <a:pt x="2" y="75"/>
                  <a:pt x="2" y="75"/>
                  <a:pt x="2" y="75"/>
                </a:cubicBezTo>
                <a:close/>
                <a:moveTo>
                  <a:pt x="3" y="76"/>
                </a:moveTo>
                <a:cubicBezTo>
                  <a:pt x="2" y="76"/>
                  <a:pt x="2" y="76"/>
                  <a:pt x="2" y="76"/>
                </a:cubicBezTo>
                <a:cubicBezTo>
                  <a:pt x="3" y="76"/>
                  <a:pt x="3" y="76"/>
                  <a:pt x="3" y="76"/>
                </a:cubicBezTo>
                <a:cubicBezTo>
                  <a:pt x="3" y="76"/>
                  <a:pt x="3" y="76"/>
                  <a:pt x="3" y="76"/>
                </a:cubicBezTo>
                <a:close/>
                <a:moveTo>
                  <a:pt x="3" y="76"/>
                </a:moveTo>
                <a:cubicBezTo>
                  <a:pt x="3" y="76"/>
                  <a:pt x="3" y="76"/>
                  <a:pt x="3" y="76"/>
                </a:cubicBezTo>
                <a:cubicBezTo>
                  <a:pt x="3" y="77"/>
                  <a:pt x="3" y="77"/>
                  <a:pt x="3" y="77"/>
                </a:cubicBezTo>
                <a:cubicBezTo>
                  <a:pt x="3" y="76"/>
                  <a:pt x="3" y="76"/>
                  <a:pt x="3" y="76"/>
                </a:cubicBezTo>
                <a:close/>
                <a:moveTo>
                  <a:pt x="1" y="77"/>
                </a:moveTo>
                <a:cubicBezTo>
                  <a:pt x="0" y="78"/>
                  <a:pt x="0" y="78"/>
                  <a:pt x="0" y="78"/>
                </a:cubicBezTo>
                <a:cubicBezTo>
                  <a:pt x="0" y="79"/>
                  <a:pt x="0" y="79"/>
                  <a:pt x="0" y="79"/>
                </a:cubicBezTo>
                <a:cubicBezTo>
                  <a:pt x="1" y="80"/>
                  <a:pt x="1" y="80"/>
                  <a:pt x="1" y="80"/>
                </a:cubicBezTo>
                <a:cubicBezTo>
                  <a:pt x="2" y="80"/>
                  <a:pt x="2" y="80"/>
                  <a:pt x="2" y="80"/>
                </a:cubicBezTo>
                <a:cubicBezTo>
                  <a:pt x="2" y="78"/>
                  <a:pt x="2" y="78"/>
                  <a:pt x="2" y="78"/>
                </a:cubicBezTo>
                <a:cubicBezTo>
                  <a:pt x="2" y="78"/>
                  <a:pt x="2" y="78"/>
                  <a:pt x="2" y="78"/>
                </a:cubicBezTo>
                <a:lnTo>
                  <a:pt x="1" y="7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7" name="Freeform 25">
            <a:extLst>
              <a:ext uri="{FF2B5EF4-FFF2-40B4-BE49-F238E27FC236}">
                <a16:creationId xmlns:a16="http://schemas.microsoft.com/office/drawing/2014/main" id="{8981A820-1401-4BFF-CBAF-D3AD2D0B5D85}"/>
              </a:ext>
            </a:extLst>
          </p:cNvPr>
          <p:cNvSpPr>
            <a:spLocks noEditPoints="1"/>
          </p:cNvSpPr>
          <p:nvPr userDrawn="1"/>
        </p:nvSpPr>
        <p:spPr bwMode="auto">
          <a:xfrm>
            <a:off x="19131303" y="8968656"/>
            <a:ext cx="2870013" cy="1143000"/>
          </a:xfrm>
          <a:custGeom>
            <a:avLst/>
            <a:gdLst>
              <a:gd name="T0" fmla="*/ 276 w 289"/>
              <a:gd name="T1" fmla="*/ 90 h 115"/>
              <a:gd name="T2" fmla="*/ 261 w 289"/>
              <a:gd name="T3" fmla="*/ 74 h 115"/>
              <a:gd name="T4" fmla="*/ 240 w 289"/>
              <a:gd name="T5" fmla="*/ 70 h 115"/>
              <a:gd name="T6" fmla="*/ 238 w 289"/>
              <a:gd name="T7" fmla="*/ 58 h 115"/>
              <a:gd name="T8" fmla="*/ 247 w 289"/>
              <a:gd name="T9" fmla="*/ 51 h 115"/>
              <a:gd name="T10" fmla="*/ 265 w 289"/>
              <a:gd name="T11" fmla="*/ 56 h 115"/>
              <a:gd name="T12" fmla="*/ 224 w 289"/>
              <a:gd name="T13" fmla="*/ 44 h 115"/>
              <a:gd name="T14" fmla="*/ 190 w 289"/>
              <a:gd name="T15" fmla="*/ 21 h 115"/>
              <a:gd name="T16" fmla="*/ 207 w 289"/>
              <a:gd name="T17" fmla="*/ 47 h 115"/>
              <a:gd name="T18" fmla="*/ 212 w 289"/>
              <a:gd name="T19" fmla="*/ 33 h 115"/>
              <a:gd name="T20" fmla="*/ 204 w 289"/>
              <a:gd name="T21" fmla="*/ 49 h 115"/>
              <a:gd name="T22" fmla="*/ 210 w 289"/>
              <a:gd name="T23" fmla="*/ 67 h 115"/>
              <a:gd name="T24" fmla="*/ 221 w 289"/>
              <a:gd name="T25" fmla="*/ 67 h 115"/>
              <a:gd name="T26" fmla="*/ 194 w 289"/>
              <a:gd name="T27" fmla="*/ 67 h 115"/>
              <a:gd name="T28" fmla="*/ 192 w 289"/>
              <a:gd name="T29" fmla="*/ 56 h 115"/>
              <a:gd name="T30" fmla="*/ 175 w 289"/>
              <a:gd name="T31" fmla="*/ 77 h 115"/>
              <a:gd name="T32" fmla="*/ 175 w 289"/>
              <a:gd name="T33" fmla="*/ 56 h 115"/>
              <a:gd name="T34" fmla="*/ 168 w 289"/>
              <a:gd name="T35" fmla="*/ 47 h 115"/>
              <a:gd name="T36" fmla="*/ 185 w 289"/>
              <a:gd name="T37" fmla="*/ 35 h 115"/>
              <a:gd name="T38" fmla="*/ 155 w 289"/>
              <a:gd name="T39" fmla="*/ 48 h 115"/>
              <a:gd name="T40" fmla="*/ 153 w 289"/>
              <a:gd name="T41" fmla="*/ 80 h 115"/>
              <a:gd name="T42" fmla="*/ 165 w 289"/>
              <a:gd name="T43" fmla="*/ 71 h 115"/>
              <a:gd name="T44" fmla="*/ 171 w 289"/>
              <a:gd name="T45" fmla="*/ 65 h 115"/>
              <a:gd name="T46" fmla="*/ 171 w 289"/>
              <a:gd name="T47" fmla="*/ 48 h 115"/>
              <a:gd name="T48" fmla="*/ 151 w 289"/>
              <a:gd name="T49" fmla="*/ 12 h 115"/>
              <a:gd name="T50" fmla="*/ 132 w 289"/>
              <a:gd name="T51" fmla="*/ 68 h 115"/>
              <a:gd name="T52" fmla="*/ 90 w 289"/>
              <a:gd name="T53" fmla="*/ 52 h 115"/>
              <a:gd name="T54" fmla="*/ 130 w 289"/>
              <a:gd name="T55" fmla="*/ 16 h 115"/>
              <a:gd name="T56" fmla="*/ 146 w 289"/>
              <a:gd name="T57" fmla="*/ 35 h 115"/>
              <a:gd name="T58" fmla="*/ 132 w 289"/>
              <a:gd name="T59" fmla="*/ 56 h 115"/>
              <a:gd name="T60" fmla="*/ 117 w 289"/>
              <a:gd name="T61" fmla="*/ 66 h 115"/>
              <a:gd name="T62" fmla="*/ 95 w 289"/>
              <a:gd name="T63" fmla="*/ 61 h 115"/>
              <a:gd name="T64" fmla="*/ 250 w 289"/>
              <a:gd name="T65" fmla="*/ 49 h 115"/>
              <a:gd name="T66" fmla="*/ 256 w 289"/>
              <a:gd name="T67" fmla="*/ 47 h 115"/>
              <a:gd name="T68" fmla="*/ 247 w 289"/>
              <a:gd name="T69" fmla="*/ 87 h 115"/>
              <a:gd name="T70" fmla="*/ 245 w 289"/>
              <a:gd name="T71" fmla="*/ 80 h 115"/>
              <a:gd name="T72" fmla="*/ 224 w 289"/>
              <a:gd name="T73" fmla="*/ 92 h 115"/>
              <a:gd name="T74" fmla="*/ 219 w 289"/>
              <a:gd name="T75" fmla="*/ 84 h 115"/>
              <a:gd name="T76" fmla="*/ 201 w 289"/>
              <a:gd name="T77" fmla="*/ 93 h 115"/>
              <a:gd name="T78" fmla="*/ 183 w 289"/>
              <a:gd name="T79" fmla="*/ 104 h 115"/>
              <a:gd name="T80" fmla="*/ 166 w 289"/>
              <a:gd name="T81" fmla="*/ 111 h 115"/>
              <a:gd name="T82" fmla="*/ 127 w 289"/>
              <a:gd name="T83" fmla="*/ 88 h 115"/>
              <a:gd name="T84" fmla="*/ 186 w 289"/>
              <a:gd name="T85" fmla="*/ 97 h 115"/>
              <a:gd name="T86" fmla="*/ 153 w 289"/>
              <a:gd name="T87" fmla="*/ 98 h 115"/>
              <a:gd name="T88" fmla="*/ 157 w 289"/>
              <a:gd name="T89" fmla="*/ 101 h 115"/>
              <a:gd name="T90" fmla="*/ 148 w 289"/>
              <a:gd name="T91" fmla="*/ 101 h 115"/>
              <a:gd name="T92" fmla="*/ 133 w 289"/>
              <a:gd name="T93" fmla="*/ 101 h 115"/>
              <a:gd name="T94" fmla="*/ 274 w 289"/>
              <a:gd name="T95" fmla="*/ 96 h 115"/>
              <a:gd name="T96" fmla="*/ 115 w 289"/>
              <a:gd name="T97" fmla="*/ 89 h 115"/>
              <a:gd name="T98" fmla="*/ 96 w 289"/>
              <a:gd name="T99" fmla="*/ 88 h 115"/>
              <a:gd name="T100" fmla="*/ 115 w 289"/>
              <a:gd name="T101" fmla="*/ 98 h 115"/>
              <a:gd name="T102" fmla="*/ 70 w 289"/>
              <a:gd name="T103" fmla="*/ 89 h 115"/>
              <a:gd name="T104" fmla="*/ 67 w 289"/>
              <a:gd name="T105" fmla="*/ 23 h 115"/>
              <a:gd name="T106" fmla="*/ 79 w 289"/>
              <a:gd name="T107" fmla="*/ 65 h 115"/>
              <a:gd name="T108" fmla="*/ 69 w 289"/>
              <a:gd name="T109" fmla="*/ 55 h 115"/>
              <a:gd name="T110" fmla="*/ 44 w 289"/>
              <a:gd name="T111" fmla="*/ 34 h 115"/>
              <a:gd name="T112" fmla="*/ 21 w 289"/>
              <a:gd name="T113" fmla="*/ 51 h 115"/>
              <a:gd name="T114" fmla="*/ 12 w 289"/>
              <a:gd name="T115" fmla="*/ 34 h 115"/>
              <a:gd name="T116" fmla="*/ 23 w 289"/>
              <a:gd name="T117" fmla="*/ 32 h 115"/>
              <a:gd name="T118" fmla="*/ 59 w 289"/>
              <a:gd name="T119" fmla="*/ 81 h 115"/>
              <a:gd name="T120" fmla="*/ 60 w 289"/>
              <a:gd name="T121" fmla="*/ 55 h 115"/>
              <a:gd name="T122" fmla="*/ 42 w 289"/>
              <a:gd name="T123" fmla="*/ 33 h 115"/>
              <a:gd name="T124" fmla="*/ 6 w 289"/>
              <a:gd name="T125" fmla="*/ 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9" h="115">
                <a:moveTo>
                  <a:pt x="289" y="60"/>
                </a:moveTo>
                <a:cubicBezTo>
                  <a:pt x="288" y="84"/>
                  <a:pt x="288" y="84"/>
                  <a:pt x="288" y="84"/>
                </a:cubicBezTo>
                <a:cubicBezTo>
                  <a:pt x="288" y="86"/>
                  <a:pt x="288" y="86"/>
                  <a:pt x="288" y="86"/>
                </a:cubicBezTo>
                <a:cubicBezTo>
                  <a:pt x="288" y="87"/>
                  <a:pt x="288" y="87"/>
                  <a:pt x="288" y="87"/>
                </a:cubicBezTo>
                <a:cubicBezTo>
                  <a:pt x="288" y="87"/>
                  <a:pt x="288" y="87"/>
                  <a:pt x="288" y="87"/>
                </a:cubicBezTo>
                <a:cubicBezTo>
                  <a:pt x="288" y="102"/>
                  <a:pt x="288" y="102"/>
                  <a:pt x="288" y="102"/>
                </a:cubicBezTo>
                <a:cubicBezTo>
                  <a:pt x="287" y="102"/>
                  <a:pt x="287" y="102"/>
                  <a:pt x="287" y="102"/>
                </a:cubicBezTo>
                <a:cubicBezTo>
                  <a:pt x="286" y="102"/>
                  <a:pt x="286" y="102"/>
                  <a:pt x="286" y="102"/>
                </a:cubicBezTo>
                <a:cubicBezTo>
                  <a:pt x="284" y="100"/>
                  <a:pt x="284" y="100"/>
                  <a:pt x="284" y="100"/>
                </a:cubicBezTo>
                <a:cubicBezTo>
                  <a:pt x="284" y="99"/>
                  <a:pt x="284" y="99"/>
                  <a:pt x="284" y="99"/>
                </a:cubicBezTo>
                <a:cubicBezTo>
                  <a:pt x="284" y="99"/>
                  <a:pt x="284" y="99"/>
                  <a:pt x="284" y="99"/>
                </a:cubicBezTo>
                <a:cubicBezTo>
                  <a:pt x="282" y="97"/>
                  <a:pt x="282" y="97"/>
                  <a:pt x="282" y="97"/>
                </a:cubicBezTo>
                <a:cubicBezTo>
                  <a:pt x="282" y="97"/>
                  <a:pt x="282" y="97"/>
                  <a:pt x="282" y="97"/>
                </a:cubicBezTo>
                <a:cubicBezTo>
                  <a:pt x="282" y="96"/>
                  <a:pt x="282" y="96"/>
                  <a:pt x="282" y="96"/>
                </a:cubicBezTo>
                <a:cubicBezTo>
                  <a:pt x="282" y="95"/>
                  <a:pt x="282" y="95"/>
                  <a:pt x="282" y="95"/>
                </a:cubicBezTo>
                <a:cubicBezTo>
                  <a:pt x="282" y="94"/>
                  <a:pt x="282" y="94"/>
                  <a:pt x="282" y="94"/>
                </a:cubicBezTo>
                <a:cubicBezTo>
                  <a:pt x="282" y="95"/>
                  <a:pt x="282" y="95"/>
                  <a:pt x="282" y="95"/>
                </a:cubicBezTo>
                <a:cubicBezTo>
                  <a:pt x="281" y="96"/>
                  <a:pt x="281" y="96"/>
                  <a:pt x="281" y="96"/>
                </a:cubicBezTo>
                <a:cubicBezTo>
                  <a:pt x="279" y="96"/>
                  <a:pt x="279" y="96"/>
                  <a:pt x="279" y="96"/>
                </a:cubicBezTo>
                <a:cubicBezTo>
                  <a:pt x="278" y="96"/>
                  <a:pt x="278" y="96"/>
                  <a:pt x="278" y="96"/>
                </a:cubicBezTo>
                <a:cubicBezTo>
                  <a:pt x="277" y="96"/>
                  <a:pt x="277" y="96"/>
                  <a:pt x="277" y="96"/>
                </a:cubicBezTo>
                <a:cubicBezTo>
                  <a:pt x="277" y="96"/>
                  <a:pt x="277" y="96"/>
                  <a:pt x="277" y="96"/>
                </a:cubicBezTo>
                <a:cubicBezTo>
                  <a:pt x="275" y="96"/>
                  <a:pt x="275" y="96"/>
                  <a:pt x="275" y="96"/>
                </a:cubicBezTo>
                <a:cubicBezTo>
                  <a:pt x="274" y="95"/>
                  <a:pt x="274" y="95"/>
                  <a:pt x="274" y="95"/>
                </a:cubicBezTo>
                <a:cubicBezTo>
                  <a:pt x="275" y="95"/>
                  <a:pt x="275" y="95"/>
                  <a:pt x="275" y="95"/>
                </a:cubicBezTo>
                <a:cubicBezTo>
                  <a:pt x="275" y="94"/>
                  <a:pt x="275" y="94"/>
                  <a:pt x="275" y="94"/>
                </a:cubicBezTo>
                <a:cubicBezTo>
                  <a:pt x="275" y="93"/>
                  <a:pt x="275" y="93"/>
                  <a:pt x="275" y="93"/>
                </a:cubicBezTo>
                <a:cubicBezTo>
                  <a:pt x="276" y="93"/>
                  <a:pt x="276" y="93"/>
                  <a:pt x="276" y="93"/>
                </a:cubicBezTo>
                <a:cubicBezTo>
                  <a:pt x="276" y="91"/>
                  <a:pt x="276" y="91"/>
                  <a:pt x="276" y="91"/>
                </a:cubicBezTo>
                <a:cubicBezTo>
                  <a:pt x="275" y="91"/>
                  <a:pt x="275" y="91"/>
                  <a:pt x="275" y="91"/>
                </a:cubicBezTo>
                <a:cubicBezTo>
                  <a:pt x="274" y="90"/>
                  <a:pt x="274" y="90"/>
                  <a:pt x="274" y="90"/>
                </a:cubicBezTo>
                <a:cubicBezTo>
                  <a:pt x="275" y="90"/>
                  <a:pt x="275" y="90"/>
                  <a:pt x="275" y="90"/>
                </a:cubicBezTo>
                <a:cubicBezTo>
                  <a:pt x="276" y="90"/>
                  <a:pt x="276" y="90"/>
                  <a:pt x="276" y="90"/>
                </a:cubicBezTo>
                <a:cubicBezTo>
                  <a:pt x="277" y="90"/>
                  <a:pt x="277" y="90"/>
                  <a:pt x="277" y="90"/>
                </a:cubicBezTo>
                <a:cubicBezTo>
                  <a:pt x="278" y="90"/>
                  <a:pt x="278" y="90"/>
                  <a:pt x="278" y="90"/>
                </a:cubicBezTo>
                <a:cubicBezTo>
                  <a:pt x="277" y="89"/>
                  <a:pt x="277" y="89"/>
                  <a:pt x="277" y="89"/>
                </a:cubicBezTo>
                <a:cubicBezTo>
                  <a:pt x="275" y="90"/>
                  <a:pt x="275" y="90"/>
                  <a:pt x="275" y="90"/>
                </a:cubicBezTo>
                <a:cubicBezTo>
                  <a:pt x="274" y="89"/>
                  <a:pt x="274" y="89"/>
                  <a:pt x="274" y="89"/>
                </a:cubicBezTo>
                <a:cubicBezTo>
                  <a:pt x="273" y="88"/>
                  <a:pt x="273" y="88"/>
                  <a:pt x="273" y="88"/>
                </a:cubicBezTo>
                <a:cubicBezTo>
                  <a:pt x="273" y="87"/>
                  <a:pt x="273" y="87"/>
                  <a:pt x="273" y="87"/>
                </a:cubicBezTo>
                <a:cubicBezTo>
                  <a:pt x="274" y="87"/>
                  <a:pt x="274" y="87"/>
                  <a:pt x="274" y="87"/>
                </a:cubicBezTo>
                <a:cubicBezTo>
                  <a:pt x="275" y="87"/>
                  <a:pt x="275" y="87"/>
                  <a:pt x="275" y="87"/>
                </a:cubicBezTo>
                <a:cubicBezTo>
                  <a:pt x="275" y="87"/>
                  <a:pt x="275" y="87"/>
                  <a:pt x="275" y="87"/>
                </a:cubicBezTo>
                <a:cubicBezTo>
                  <a:pt x="273" y="86"/>
                  <a:pt x="273" y="86"/>
                  <a:pt x="273" y="86"/>
                </a:cubicBezTo>
                <a:cubicBezTo>
                  <a:pt x="272" y="85"/>
                  <a:pt x="272" y="85"/>
                  <a:pt x="272" y="85"/>
                </a:cubicBezTo>
                <a:cubicBezTo>
                  <a:pt x="271" y="84"/>
                  <a:pt x="271" y="84"/>
                  <a:pt x="271" y="84"/>
                </a:cubicBezTo>
                <a:cubicBezTo>
                  <a:pt x="272" y="83"/>
                  <a:pt x="272" y="83"/>
                  <a:pt x="272" y="83"/>
                </a:cubicBezTo>
                <a:cubicBezTo>
                  <a:pt x="270" y="81"/>
                  <a:pt x="270" y="81"/>
                  <a:pt x="270" y="81"/>
                </a:cubicBezTo>
                <a:cubicBezTo>
                  <a:pt x="270" y="81"/>
                  <a:pt x="270" y="81"/>
                  <a:pt x="270" y="81"/>
                </a:cubicBezTo>
                <a:cubicBezTo>
                  <a:pt x="272" y="80"/>
                  <a:pt x="272" y="80"/>
                  <a:pt x="272" y="80"/>
                </a:cubicBezTo>
                <a:cubicBezTo>
                  <a:pt x="270" y="80"/>
                  <a:pt x="270" y="80"/>
                  <a:pt x="270" y="80"/>
                </a:cubicBezTo>
                <a:cubicBezTo>
                  <a:pt x="270" y="79"/>
                  <a:pt x="270" y="79"/>
                  <a:pt x="270" y="79"/>
                </a:cubicBezTo>
                <a:cubicBezTo>
                  <a:pt x="270" y="79"/>
                  <a:pt x="270" y="79"/>
                  <a:pt x="270" y="79"/>
                </a:cubicBezTo>
                <a:cubicBezTo>
                  <a:pt x="270" y="78"/>
                  <a:pt x="270" y="78"/>
                  <a:pt x="270" y="78"/>
                </a:cubicBezTo>
                <a:cubicBezTo>
                  <a:pt x="270" y="78"/>
                  <a:pt x="270" y="78"/>
                  <a:pt x="270" y="78"/>
                </a:cubicBezTo>
                <a:cubicBezTo>
                  <a:pt x="269" y="78"/>
                  <a:pt x="269" y="78"/>
                  <a:pt x="269" y="78"/>
                </a:cubicBezTo>
                <a:cubicBezTo>
                  <a:pt x="269" y="77"/>
                  <a:pt x="269" y="77"/>
                  <a:pt x="269" y="77"/>
                </a:cubicBezTo>
                <a:cubicBezTo>
                  <a:pt x="268" y="78"/>
                  <a:pt x="268" y="78"/>
                  <a:pt x="268" y="78"/>
                </a:cubicBezTo>
                <a:cubicBezTo>
                  <a:pt x="267" y="77"/>
                  <a:pt x="267" y="77"/>
                  <a:pt x="267" y="77"/>
                </a:cubicBezTo>
                <a:cubicBezTo>
                  <a:pt x="268" y="76"/>
                  <a:pt x="268" y="76"/>
                  <a:pt x="268" y="76"/>
                </a:cubicBezTo>
                <a:cubicBezTo>
                  <a:pt x="268" y="77"/>
                  <a:pt x="268" y="77"/>
                  <a:pt x="268" y="77"/>
                </a:cubicBezTo>
                <a:cubicBezTo>
                  <a:pt x="266" y="77"/>
                  <a:pt x="266" y="77"/>
                  <a:pt x="266" y="77"/>
                </a:cubicBezTo>
                <a:cubicBezTo>
                  <a:pt x="265" y="76"/>
                  <a:pt x="265" y="76"/>
                  <a:pt x="265" y="76"/>
                </a:cubicBezTo>
                <a:cubicBezTo>
                  <a:pt x="264" y="75"/>
                  <a:pt x="264" y="75"/>
                  <a:pt x="264" y="75"/>
                </a:cubicBezTo>
                <a:cubicBezTo>
                  <a:pt x="263" y="74"/>
                  <a:pt x="263" y="74"/>
                  <a:pt x="263" y="74"/>
                </a:cubicBezTo>
                <a:cubicBezTo>
                  <a:pt x="261" y="74"/>
                  <a:pt x="261" y="74"/>
                  <a:pt x="261" y="74"/>
                </a:cubicBezTo>
                <a:cubicBezTo>
                  <a:pt x="258" y="73"/>
                  <a:pt x="258" y="73"/>
                  <a:pt x="258" y="73"/>
                </a:cubicBezTo>
                <a:cubicBezTo>
                  <a:pt x="254" y="72"/>
                  <a:pt x="254" y="72"/>
                  <a:pt x="254" y="72"/>
                </a:cubicBezTo>
                <a:cubicBezTo>
                  <a:pt x="252" y="72"/>
                  <a:pt x="252" y="72"/>
                  <a:pt x="252" y="72"/>
                </a:cubicBezTo>
                <a:cubicBezTo>
                  <a:pt x="251" y="71"/>
                  <a:pt x="251" y="71"/>
                  <a:pt x="251" y="71"/>
                </a:cubicBezTo>
                <a:cubicBezTo>
                  <a:pt x="250" y="71"/>
                  <a:pt x="250" y="71"/>
                  <a:pt x="250" y="71"/>
                </a:cubicBezTo>
                <a:cubicBezTo>
                  <a:pt x="250" y="70"/>
                  <a:pt x="250" y="70"/>
                  <a:pt x="250" y="70"/>
                </a:cubicBezTo>
                <a:cubicBezTo>
                  <a:pt x="249" y="70"/>
                  <a:pt x="249" y="70"/>
                  <a:pt x="249" y="70"/>
                </a:cubicBezTo>
                <a:cubicBezTo>
                  <a:pt x="249" y="69"/>
                  <a:pt x="249" y="69"/>
                  <a:pt x="249" y="69"/>
                </a:cubicBezTo>
                <a:cubicBezTo>
                  <a:pt x="250" y="69"/>
                  <a:pt x="250" y="69"/>
                  <a:pt x="250" y="69"/>
                </a:cubicBezTo>
                <a:cubicBezTo>
                  <a:pt x="250" y="69"/>
                  <a:pt x="250" y="69"/>
                  <a:pt x="250" y="69"/>
                </a:cubicBezTo>
                <a:cubicBezTo>
                  <a:pt x="250" y="69"/>
                  <a:pt x="250" y="69"/>
                  <a:pt x="250" y="69"/>
                </a:cubicBezTo>
                <a:cubicBezTo>
                  <a:pt x="249" y="69"/>
                  <a:pt x="249" y="69"/>
                  <a:pt x="249" y="69"/>
                </a:cubicBezTo>
                <a:cubicBezTo>
                  <a:pt x="248" y="69"/>
                  <a:pt x="248" y="69"/>
                  <a:pt x="248" y="69"/>
                </a:cubicBezTo>
                <a:cubicBezTo>
                  <a:pt x="247" y="69"/>
                  <a:pt x="247" y="69"/>
                  <a:pt x="247" y="69"/>
                </a:cubicBezTo>
                <a:cubicBezTo>
                  <a:pt x="247" y="68"/>
                  <a:pt x="247" y="68"/>
                  <a:pt x="247" y="68"/>
                </a:cubicBezTo>
                <a:cubicBezTo>
                  <a:pt x="247" y="68"/>
                  <a:pt x="247" y="68"/>
                  <a:pt x="247" y="68"/>
                </a:cubicBezTo>
                <a:cubicBezTo>
                  <a:pt x="246" y="69"/>
                  <a:pt x="246" y="69"/>
                  <a:pt x="246" y="69"/>
                </a:cubicBezTo>
                <a:cubicBezTo>
                  <a:pt x="246" y="67"/>
                  <a:pt x="246" y="67"/>
                  <a:pt x="246" y="67"/>
                </a:cubicBezTo>
                <a:cubicBezTo>
                  <a:pt x="245" y="67"/>
                  <a:pt x="245" y="67"/>
                  <a:pt x="245" y="67"/>
                </a:cubicBezTo>
                <a:cubicBezTo>
                  <a:pt x="245" y="67"/>
                  <a:pt x="245" y="67"/>
                  <a:pt x="245" y="67"/>
                </a:cubicBezTo>
                <a:cubicBezTo>
                  <a:pt x="244" y="68"/>
                  <a:pt x="244" y="68"/>
                  <a:pt x="244" y="68"/>
                </a:cubicBezTo>
                <a:cubicBezTo>
                  <a:pt x="244" y="67"/>
                  <a:pt x="244" y="67"/>
                  <a:pt x="244" y="67"/>
                </a:cubicBezTo>
                <a:cubicBezTo>
                  <a:pt x="243" y="65"/>
                  <a:pt x="243" y="65"/>
                  <a:pt x="243" y="65"/>
                </a:cubicBezTo>
                <a:cubicBezTo>
                  <a:pt x="243" y="64"/>
                  <a:pt x="243" y="64"/>
                  <a:pt x="243" y="64"/>
                </a:cubicBezTo>
                <a:cubicBezTo>
                  <a:pt x="244" y="63"/>
                  <a:pt x="244" y="63"/>
                  <a:pt x="244" y="63"/>
                </a:cubicBezTo>
                <a:cubicBezTo>
                  <a:pt x="244" y="62"/>
                  <a:pt x="244" y="62"/>
                  <a:pt x="244" y="62"/>
                </a:cubicBezTo>
                <a:cubicBezTo>
                  <a:pt x="243" y="63"/>
                  <a:pt x="243" y="63"/>
                  <a:pt x="243" y="63"/>
                </a:cubicBezTo>
                <a:cubicBezTo>
                  <a:pt x="242" y="64"/>
                  <a:pt x="242" y="64"/>
                  <a:pt x="242" y="64"/>
                </a:cubicBezTo>
                <a:cubicBezTo>
                  <a:pt x="242" y="65"/>
                  <a:pt x="242" y="65"/>
                  <a:pt x="242" y="65"/>
                </a:cubicBezTo>
                <a:cubicBezTo>
                  <a:pt x="242" y="65"/>
                  <a:pt x="242" y="65"/>
                  <a:pt x="242" y="65"/>
                </a:cubicBezTo>
                <a:cubicBezTo>
                  <a:pt x="241" y="67"/>
                  <a:pt x="241" y="67"/>
                  <a:pt x="241" y="67"/>
                </a:cubicBezTo>
                <a:cubicBezTo>
                  <a:pt x="241" y="68"/>
                  <a:pt x="241" y="68"/>
                  <a:pt x="241" y="68"/>
                </a:cubicBezTo>
                <a:cubicBezTo>
                  <a:pt x="240" y="70"/>
                  <a:pt x="240" y="70"/>
                  <a:pt x="240" y="70"/>
                </a:cubicBezTo>
                <a:cubicBezTo>
                  <a:pt x="238" y="70"/>
                  <a:pt x="238" y="70"/>
                  <a:pt x="238" y="70"/>
                </a:cubicBezTo>
                <a:cubicBezTo>
                  <a:pt x="237" y="70"/>
                  <a:pt x="237" y="70"/>
                  <a:pt x="237" y="70"/>
                </a:cubicBezTo>
                <a:cubicBezTo>
                  <a:pt x="236" y="68"/>
                  <a:pt x="236" y="68"/>
                  <a:pt x="236" y="68"/>
                </a:cubicBezTo>
                <a:cubicBezTo>
                  <a:pt x="236" y="67"/>
                  <a:pt x="236" y="67"/>
                  <a:pt x="236" y="67"/>
                </a:cubicBezTo>
                <a:cubicBezTo>
                  <a:pt x="237" y="67"/>
                  <a:pt x="237" y="67"/>
                  <a:pt x="237" y="67"/>
                </a:cubicBezTo>
                <a:cubicBezTo>
                  <a:pt x="237" y="66"/>
                  <a:pt x="237" y="66"/>
                  <a:pt x="237" y="66"/>
                </a:cubicBezTo>
                <a:cubicBezTo>
                  <a:pt x="237" y="65"/>
                  <a:pt x="237" y="65"/>
                  <a:pt x="237" y="65"/>
                </a:cubicBezTo>
                <a:cubicBezTo>
                  <a:pt x="236" y="65"/>
                  <a:pt x="236" y="65"/>
                  <a:pt x="236" y="65"/>
                </a:cubicBezTo>
                <a:cubicBezTo>
                  <a:pt x="236" y="65"/>
                  <a:pt x="236" y="65"/>
                  <a:pt x="236" y="65"/>
                </a:cubicBezTo>
                <a:cubicBezTo>
                  <a:pt x="235" y="63"/>
                  <a:pt x="235" y="63"/>
                  <a:pt x="235" y="63"/>
                </a:cubicBezTo>
                <a:cubicBezTo>
                  <a:pt x="234" y="63"/>
                  <a:pt x="234" y="63"/>
                  <a:pt x="234" y="63"/>
                </a:cubicBezTo>
                <a:cubicBezTo>
                  <a:pt x="232" y="62"/>
                  <a:pt x="232" y="62"/>
                  <a:pt x="232" y="62"/>
                </a:cubicBezTo>
                <a:cubicBezTo>
                  <a:pt x="232" y="62"/>
                  <a:pt x="232" y="62"/>
                  <a:pt x="232" y="62"/>
                </a:cubicBezTo>
                <a:cubicBezTo>
                  <a:pt x="233" y="61"/>
                  <a:pt x="233" y="61"/>
                  <a:pt x="233" y="61"/>
                </a:cubicBezTo>
                <a:cubicBezTo>
                  <a:pt x="234" y="61"/>
                  <a:pt x="234" y="61"/>
                  <a:pt x="234" y="61"/>
                </a:cubicBezTo>
                <a:cubicBezTo>
                  <a:pt x="235" y="61"/>
                  <a:pt x="235" y="61"/>
                  <a:pt x="235" y="61"/>
                </a:cubicBezTo>
                <a:cubicBezTo>
                  <a:pt x="236" y="61"/>
                  <a:pt x="236" y="61"/>
                  <a:pt x="236" y="61"/>
                </a:cubicBezTo>
                <a:cubicBezTo>
                  <a:pt x="237" y="62"/>
                  <a:pt x="237" y="62"/>
                  <a:pt x="237" y="62"/>
                </a:cubicBezTo>
                <a:cubicBezTo>
                  <a:pt x="238" y="61"/>
                  <a:pt x="238" y="61"/>
                  <a:pt x="238" y="61"/>
                </a:cubicBezTo>
                <a:cubicBezTo>
                  <a:pt x="239" y="60"/>
                  <a:pt x="239" y="60"/>
                  <a:pt x="239" y="60"/>
                </a:cubicBezTo>
                <a:cubicBezTo>
                  <a:pt x="240" y="59"/>
                  <a:pt x="240" y="59"/>
                  <a:pt x="240" y="59"/>
                </a:cubicBezTo>
                <a:cubicBezTo>
                  <a:pt x="242" y="60"/>
                  <a:pt x="242" y="60"/>
                  <a:pt x="242" y="60"/>
                </a:cubicBezTo>
                <a:cubicBezTo>
                  <a:pt x="242" y="61"/>
                  <a:pt x="242" y="61"/>
                  <a:pt x="242" y="61"/>
                </a:cubicBezTo>
                <a:cubicBezTo>
                  <a:pt x="243" y="60"/>
                  <a:pt x="243" y="60"/>
                  <a:pt x="243" y="60"/>
                </a:cubicBezTo>
                <a:cubicBezTo>
                  <a:pt x="243" y="59"/>
                  <a:pt x="243" y="59"/>
                  <a:pt x="243" y="59"/>
                </a:cubicBezTo>
                <a:cubicBezTo>
                  <a:pt x="244" y="59"/>
                  <a:pt x="244" y="59"/>
                  <a:pt x="244" y="59"/>
                </a:cubicBezTo>
                <a:cubicBezTo>
                  <a:pt x="244" y="58"/>
                  <a:pt x="244" y="58"/>
                  <a:pt x="244" y="58"/>
                </a:cubicBezTo>
                <a:cubicBezTo>
                  <a:pt x="244" y="57"/>
                  <a:pt x="244" y="57"/>
                  <a:pt x="244" y="57"/>
                </a:cubicBezTo>
                <a:cubicBezTo>
                  <a:pt x="241" y="57"/>
                  <a:pt x="241" y="57"/>
                  <a:pt x="241" y="57"/>
                </a:cubicBezTo>
                <a:cubicBezTo>
                  <a:pt x="241" y="57"/>
                  <a:pt x="241" y="57"/>
                  <a:pt x="241" y="57"/>
                </a:cubicBezTo>
                <a:cubicBezTo>
                  <a:pt x="240" y="58"/>
                  <a:pt x="240" y="58"/>
                  <a:pt x="240" y="58"/>
                </a:cubicBezTo>
                <a:cubicBezTo>
                  <a:pt x="240" y="57"/>
                  <a:pt x="240" y="57"/>
                  <a:pt x="240" y="57"/>
                </a:cubicBezTo>
                <a:cubicBezTo>
                  <a:pt x="238" y="58"/>
                  <a:pt x="238" y="58"/>
                  <a:pt x="238" y="58"/>
                </a:cubicBezTo>
                <a:cubicBezTo>
                  <a:pt x="237" y="58"/>
                  <a:pt x="237" y="58"/>
                  <a:pt x="237" y="58"/>
                </a:cubicBezTo>
                <a:cubicBezTo>
                  <a:pt x="236" y="58"/>
                  <a:pt x="236" y="58"/>
                  <a:pt x="236" y="58"/>
                </a:cubicBezTo>
                <a:cubicBezTo>
                  <a:pt x="236" y="58"/>
                  <a:pt x="236" y="58"/>
                  <a:pt x="236" y="58"/>
                </a:cubicBezTo>
                <a:cubicBezTo>
                  <a:pt x="234" y="58"/>
                  <a:pt x="234" y="58"/>
                  <a:pt x="234" y="58"/>
                </a:cubicBezTo>
                <a:cubicBezTo>
                  <a:pt x="233" y="58"/>
                  <a:pt x="233" y="58"/>
                  <a:pt x="233" y="58"/>
                </a:cubicBezTo>
                <a:cubicBezTo>
                  <a:pt x="232" y="57"/>
                  <a:pt x="232" y="57"/>
                  <a:pt x="232" y="57"/>
                </a:cubicBezTo>
                <a:cubicBezTo>
                  <a:pt x="232" y="55"/>
                  <a:pt x="232" y="55"/>
                  <a:pt x="232" y="55"/>
                </a:cubicBezTo>
                <a:cubicBezTo>
                  <a:pt x="232" y="55"/>
                  <a:pt x="232" y="55"/>
                  <a:pt x="232" y="55"/>
                </a:cubicBezTo>
                <a:cubicBezTo>
                  <a:pt x="231" y="54"/>
                  <a:pt x="231" y="54"/>
                  <a:pt x="231" y="54"/>
                </a:cubicBezTo>
                <a:cubicBezTo>
                  <a:pt x="229" y="53"/>
                  <a:pt x="229" y="53"/>
                  <a:pt x="229" y="53"/>
                </a:cubicBezTo>
                <a:cubicBezTo>
                  <a:pt x="229" y="52"/>
                  <a:pt x="229" y="52"/>
                  <a:pt x="229" y="52"/>
                </a:cubicBezTo>
                <a:cubicBezTo>
                  <a:pt x="228" y="52"/>
                  <a:pt x="228" y="52"/>
                  <a:pt x="228" y="52"/>
                </a:cubicBezTo>
                <a:cubicBezTo>
                  <a:pt x="227" y="53"/>
                  <a:pt x="227" y="53"/>
                  <a:pt x="227" y="53"/>
                </a:cubicBezTo>
                <a:cubicBezTo>
                  <a:pt x="226" y="53"/>
                  <a:pt x="226" y="53"/>
                  <a:pt x="226" y="53"/>
                </a:cubicBezTo>
                <a:cubicBezTo>
                  <a:pt x="226" y="52"/>
                  <a:pt x="226" y="52"/>
                  <a:pt x="226" y="52"/>
                </a:cubicBezTo>
                <a:cubicBezTo>
                  <a:pt x="228" y="51"/>
                  <a:pt x="228" y="51"/>
                  <a:pt x="228" y="51"/>
                </a:cubicBezTo>
                <a:cubicBezTo>
                  <a:pt x="228" y="50"/>
                  <a:pt x="228" y="50"/>
                  <a:pt x="228" y="50"/>
                </a:cubicBezTo>
                <a:cubicBezTo>
                  <a:pt x="227" y="49"/>
                  <a:pt x="227" y="49"/>
                  <a:pt x="227" y="49"/>
                </a:cubicBezTo>
                <a:cubicBezTo>
                  <a:pt x="228" y="48"/>
                  <a:pt x="228" y="48"/>
                  <a:pt x="228" y="48"/>
                </a:cubicBezTo>
                <a:cubicBezTo>
                  <a:pt x="230" y="48"/>
                  <a:pt x="230" y="48"/>
                  <a:pt x="230" y="48"/>
                </a:cubicBezTo>
                <a:cubicBezTo>
                  <a:pt x="231" y="48"/>
                  <a:pt x="231" y="48"/>
                  <a:pt x="231" y="48"/>
                </a:cubicBezTo>
                <a:cubicBezTo>
                  <a:pt x="232" y="47"/>
                  <a:pt x="232" y="47"/>
                  <a:pt x="232" y="47"/>
                </a:cubicBezTo>
                <a:cubicBezTo>
                  <a:pt x="234" y="46"/>
                  <a:pt x="234" y="46"/>
                  <a:pt x="234" y="46"/>
                </a:cubicBezTo>
                <a:cubicBezTo>
                  <a:pt x="234" y="46"/>
                  <a:pt x="234" y="46"/>
                  <a:pt x="234" y="46"/>
                </a:cubicBezTo>
                <a:cubicBezTo>
                  <a:pt x="236" y="45"/>
                  <a:pt x="236" y="45"/>
                  <a:pt x="236" y="45"/>
                </a:cubicBezTo>
                <a:cubicBezTo>
                  <a:pt x="239" y="46"/>
                  <a:pt x="239" y="46"/>
                  <a:pt x="239" y="46"/>
                </a:cubicBezTo>
                <a:cubicBezTo>
                  <a:pt x="241" y="48"/>
                  <a:pt x="241" y="48"/>
                  <a:pt x="241" y="48"/>
                </a:cubicBezTo>
                <a:cubicBezTo>
                  <a:pt x="243" y="48"/>
                  <a:pt x="243" y="48"/>
                  <a:pt x="243" y="48"/>
                </a:cubicBezTo>
                <a:cubicBezTo>
                  <a:pt x="245" y="48"/>
                  <a:pt x="245" y="48"/>
                  <a:pt x="245" y="48"/>
                </a:cubicBezTo>
                <a:cubicBezTo>
                  <a:pt x="246" y="48"/>
                  <a:pt x="246" y="48"/>
                  <a:pt x="246" y="48"/>
                </a:cubicBezTo>
                <a:cubicBezTo>
                  <a:pt x="245" y="49"/>
                  <a:pt x="245" y="49"/>
                  <a:pt x="245" y="49"/>
                </a:cubicBezTo>
                <a:cubicBezTo>
                  <a:pt x="245" y="51"/>
                  <a:pt x="245" y="51"/>
                  <a:pt x="245" y="51"/>
                </a:cubicBezTo>
                <a:cubicBezTo>
                  <a:pt x="247" y="51"/>
                  <a:pt x="247" y="51"/>
                  <a:pt x="247" y="51"/>
                </a:cubicBezTo>
                <a:cubicBezTo>
                  <a:pt x="247" y="53"/>
                  <a:pt x="247" y="53"/>
                  <a:pt x="247" y="53"/>
                </a:cubicBezTo>
                <a:cubicBezTo>
                  <a:pt x="246" y="54"/>
                  <a:pt x="246" y="54"/>
                  <a:pt x="246" y="54"/>
                </a:cubicBezTo>
                <a:cubicBezTo>
                  <a:pt x="245" y="55"/>
                  <a:pt x="245" y="55"/>
                  <a:pt x="245" y="55"/>
                </a:cubicBezTo>
                <a:cubicBezTo>
                  <a:pt x="246" y="57"/>
                  <a:pt x="246" y="57"/>
                  <a:pt x="246" y="57"/>
                </a:cubicBezTo>
                <a:cubicBezTo>
                  <a:pt x="246" y="59"/>
                  <a:pt x="246" y="59"/>
                  <a:pt x="246" y="59"/>
                </a:cubicBezTo>
                <a:cubicBezTo>
                  <a:pt x="247" y="61"/>
                  <a:pt x="247" y="61"/>
                  <a:pt x="247" y="61"/>
                </a:cubicBezTo>
                <a:cubicBezTo>
                  <a:pt x="248" y="62"/>
                  <a:pt x="248" y="62"/>
                  <a:pt x="248" y="62"/>
                </a:cubicBezTo>
                <a:cubicBezTo>
                  <a:pt x="248" y="62"/>
                  <a:pt x="248" y="62"/>
                  <a:pt x="248" y="62"/>
                </a:cubicBezTo>
                <a:cubicBezTo>
                  <a:pt x="248" y="60"/>
                  <a:pt x="248" y="60"/>
                  <a:pt x="248" y="60"/>
                </a:cubicBezTo>
                <a:cubicBezTo>
                  <a:pt x="249" y="60"/>
                  <a:pt x="249" y="60"/>
                  <a:pt x="249" y="60"/>
                </a:cubicBezTo>
                <a:cubicBezTo>
                  <a:pt x="249" y="60"/>
                  <a:pt x="249" y="60"/>
                  <a:pt x="249" y="60"/>
                </a:cubicBezTo>
                <a:cubicBezTo>
                  <a:pt x="249" y="61"/>
                  <a:pt x="249" y="61"/>
                  <a:pt x="249" y="61"/>
                </a:cubicBezTo>
                <a:cubicBezTo>
                  <a:pt x="250" y="63"/>
                  <a:pt x="250" y="63"/>
                  <a:pt x="250" y="63"/>
                </a:cubicBezTo>
                <a:cubicBezTo>
                  <a:pt x="250" y="62"/>
                  <a:pt x="250" y="62"/>
                  <a:pt x="250" y="62"/>
                </a:cubicBezTo>
                <a:cubicBezTo>
                  <a:pt x="250" y="63"/>
                  <a:pt x="250" y="63"/>
                  <a:pt x="250" y="63"/>
                </a:cubicBezTo>
                <a:cubicBezTo>
                  <a:pt x="252" y="65"/>
                  <a:pt x="252" y="65"/>
                  <a:pt x="252" y="65"/>
                </a:cubicBezTo>
                <a:cubicBezTo>
                  <a:pt x="253" y="65"/>
                  <a:pt x="253" y="65"/>
                  <a:pt x="253" y="65"/>
                </a:cubicBezTo>
                <a:cubicBezTo>
                  <a:pt x="254" y="65"/>
                  <a:pt x="254" y="65"/>
                  <a:pt x="254" y="65"/>
                </a:cubicBezTo>
                <a:cubicBezTo>
                  <a:pt x="255" y="65"/>
                  <a:pt x="255" y="65"/>
                  <a:pt x="255" y="65"/>
                </a:cubicBezTo>
                <a:cubicBezTo>
                  <a:pt x="255" y="64"/>
                  <a:pt x="255" y="64"/>
                  <a:pt x="255" y="64"/>
                </a:cubicBezTo>
                <a:cubicBezTo>
                  <a:pt x="256" y="63"/>
                  <a:pt x="256" y="63"/>
                  <a:pt x="256" y="63"/>
                </a:cubicBezTo>
                <a:cubicBezTo>
                  <a:pt x="257" y="63"/>
                  <a:pt x="257" y="63"/>
                  <a:pt x="257" y="63"/>
                </a:cubicBezTo>
                <a:cubicBezTo>
                  <a:pt x="257" y="61"/>
                  <a:pt x="257" y="61"/>
                  <a:pt x="257" y="61"/>
                </a:cubicBezTo>
                <a:cubicBezTo>
                  <a:pt x="257" y="60"/>
                  <a:pt x="257" y="60"/>
                  <a:pt x="257" y="60"/>
                </a:cubicBezTo>
                <a:cubicBezTo>
                  <a:pt x="259" y="60"/>
                  <a:pt x="259" y="60"/>
                  <a:pt x="259" y="60"/>
                </a:cubicBezTo>
                <a:cubicBezTo>
                  <a:pt x="260" y="59"/>
                  <a:pt x="260" y="59"/>
                  <a:pt x="260" y="59"/>
                </a:cubicBezTo>
                <a:cubicBezTo>
                  <a:pt x="260" y="58"/>
                  <a:pt x="260" y="58"/>
                  <a:pt x="260" y="58"/>
                </a:cubicBezTo>
                <a:cubicBezTo>
                  <a:pt x="260" y="57"/>
                  <a:pt x="260" y="57"/>
                  <a:pt x="260" y="57"/>
                </a:cubicBezTo>
                <a:cubicBezTo>
                  <a:pt x="261" y="58"/>
                  <a:pt x="261" y="58"/>
                  <a:pt x="261" y="58"/>
                </a:cubicBezTo>
                <a:cubicBezTo>
                  <a:pt x="262" y="58"/>
                  <a:pt x="262" y="58"/>
                  <a:pt x="262" y="58"/>
                </a:cubicBezTo>
                <a:cubicBezTo>
                  <a:pt x="263" y="57"/>
                  <a:pt x="263" y="57"/>
                  <a:pt x="263" y="57"/>
                </a:cubicBezTo>
                <a:cubicBezTo>
                  <a:pt x="265" y="57"/>
                  <a:pt x="265" y="57"/>
                  <a:pt x="265" y="57"/>
                </a:cubicBezTo>
                <a:cubicBezTo>
                  <a:pt x="265" y="56"/>
                  <a:pt x="265" y="56"/>
                  <a:pt x="265" y="56"/>
                </a:cubicBezTo>
                <a:cubicBezTo>
                  <a:pt x="264" y="55"/>
                  <a:pt x="264" y="55"/>
                  <a:pt x="264" y="55"/>
                </a:cubicBezTo>
                <a:cubicBezTo>
                  <a:pt x="265" y="54"/>
                  <a:pt x="265" y="54"/>
                  <a:pt x="265" y="54"/>
                </a:cubicBezTo>
                <a:cubicBezTo>
                  <a:pt x="268" y="52"/>
                  <a:pt x="268" y="52"/>
                  <a:pt x="268" y="52"/>
                </a:cubicBezTo>
                <a:cubicBezTo>
                  <a:pt x="269" y="53"/>
                  <a:pt x="269" y="53"/>
                  <a:pt x="269" y="53"/>
                </a:cubicBezTo>
                <a:cubicBezTo>
                  <a:pt x="270" y="53"/>
                  <a:pt x="270" y="53"/>
                  <a:pt x="270" y="53"/>
                </a:cubicBezTo>
                <a:cubicBezTo>
                  <a:pt x="272" y="54"/>
                  <a:pt x="272" y="54"/>
                  <a:pt x="272" y="54"/>
                </a:cubicBezTo>
                <a:cubicBezTo>
                  <a:pt x="274" y="55"/>
                  <a:pt x="274" y="55"/>
                  <a:pt x="274" y="55"/>
                </a:cubicBezTo>
                <a:cubicBezTo>
                  <a:pt x="275" y="56"/>
                  <a:pt x="275" y="56"/>
                  <a:pt x="275" y="56"/>
                </a:cubicBezTo>
                <a:cubicBezTo>
                  <a:pt x="277" y="56"/>
                  <a:pt x="277" y="56"/>
                  <a:pt x="277" y="56"/>
                </a:cubicBezTo>
                <a:cubicBezTo>
                  <a:pt x="278" y="56"/>
                  <a:pt x="278" y="56"/>
                  <a:pt x="278" y="56"/>
                </a:cubicBezTo>
                <a:cubicBezTo>
                  <a:pt x="282" y="58"/>
                  <a:pt x="282" y="58"/>
                  <a:pt x="282" y="58"/>
                </a:cubicBezTo>
                <a:cubicBezTo>
                  <a:pt x="283" y="58"/>
                  <a:pt x="283" y="58"/>
                  <a:pt x="283" y="58"/>
                </a:cubicBezTo>
                <a:cubicBezTo>
                  <a:pt x="284" y="58"/>
                  <a:pt x="284" y="58"/>
                  <a:pt x="284" y="58"/>
                </a:cubicBezTo>
                <a:cubicBezTo>
                  <a:pt x="285" y="58"/>
                  <a:pt x="285" y="58"/>
                  <a:pt x="285" y="58"/>
                </a:cubicBezTo>
                <a:cubicBezTo>
                  <a:pt x="286" y="58"/>
                  <a:pt x="286" y="58"/>
                  <a:pt x="286" y="58"/>
                </a:cubicBezTo>
                <a:cubicBezTo>
                  <a:pt x="287" y="59"/>
                  <a:pt x="287" y="59"/>
                  <a:pt x="287" y="59"/>
                </a:cubicBezTo>
                <a:cubicBezTo>
                  <a:pt x="287" y="60"/>
                  <a:pt x="287" y="60"/>
                  <a:pt x="287" y="60"/>
                </a:cubicBezTo>
                <a:cubicBezTo>
                  <a:pt x="287" y="60"/>
                  <a:pt x="287" y="60"/>
                  <a:pt x="287" y="60"/>
                </a:cubicBezTo>
                <a:cubicBezTo>
                  <a:pt x="288" y="61"/>
                  <a:pt x="288" y="61"/>
                  <a:pt x="288" y="61"/>
                </a:cubicBezTo>
                <a:cubicBezTo>
                  <a:pt x="289" y="60"/>
                  <a:pt x="289" y="60"/>
                  <a:pt x="289" y="60"/>
                </a:cubicBezTo>
                <a:cubicBezTo>
                  <a:pt x="289" y="60"/>
                  <a:pt x="289" y="60"/>
                  <a:pt x="289" y="60"/>
                </a:cubicBezTo>
                <a:close/>
                <a:moveTo>
                  <a:pt x="214" y="43"/>
                </a:moveTo>
                <a:cubicBezTo>
                  <a:pt x="217" y="44"/>
                  <a:pt x="217" y="44"/>
                  <a:pt x="217" y="44"/>
                </a:cubicBezTo>
                <a:cubicBezTo>
                  <a:pt x="217" y="45"/>
                  <a:pt x="217" y="45"/>
                  <a:pt x="217" y="45"/>
                </a:cubicBezTo>
                <a:cubicBezTo>
                  <a:pt x="215" y="44"/>
                  <a:pt x="215" y="44"/>
                  <a:pt x="215" y="44"/>
                </a:cubicBezTo>
                <a:cubicBezTo>
                  <a:pt x="214" y="43"/>
                  <a:pt x="214" y="43"/>
                  <a:pt x="214" y="43"/>
                </a:cubicBezTo>
                <a:close/>
                <a:moveTo>
                  <a:pt x="227" y="45"/>
                </a:moveTo>
                <a:cubicBezTo>
                  <a:pt x="228" y="46"/>
                  <a:pt x="228" y="46"/>
                  <a:pt x="228" y="46"/>
                </a:cubicBezTo>
                <a:cubicBezTo>
                  <a:pt x="229" y="45"/>
                  <a:pt x="229" y="45"/>
                  <a:pt x="229" y="45"/>
                </a:cubicBezTo>
                <a:cubicBezTo>
                  <a:pt x="228" y="44"/>
                  <a:pt x="228" y="44"/>
                  <a:pt x="228" y="44"/>
                </a:cubicBezTo>
                <a:cubicBezTo>
                  <a:pt x="227" y="43"/>
                  <a:pt x="227" y="43"/>
                  <a:pt x="227" y="43"/>
                </a:cubicBezTo>
                <a:cubicBezTo>
                  <a:pt x="225" y="43"/>
                  <a:pt x="225" y="43"/>
                  <a:pt x="225" y="43"/>
                </a:cubicBezTo>
                <a:cubicBezTo>
                  <a:pt x="224" y="44"/>
                  <a:pt x="224" y="44"/>
                  <a:pt x="224" y="44"/>
                </a:cubicBezTo>
                <a:cubicBezTo>
                  <a:pt x="223" y="44"/>
                  <a:pt x="223" y="44"/>
                  <a:pt x="223" y="44"/>
                </a:cubicBezTo>
                <a:cubicBezTo>
                  <a:pt x="222" y="44"/>
                  <a:pt x="222" y="44"/>
                  <a:pt x="222" y="44"/>
                </a:cubicBezTo>
                <a:cubicBezTo>
                  <a:pt x="223" y="45"/>
                  <a:pt x="223" y="45"/>
                  <a:pt x="223" y="45"/>
                </a:cubicBezTo>
                <a:cubicBezTo>
                  <a:pt x="222" y="45"/>
                  <a:pt x="222" y="45"/>
                  <a:pt x="222" y="45"/>
                </a:cubicBezTo>
                <a:cubicBezTo>
                  <a:pt x="224" y="45"/>
                  <a:pt x="224" y="45"/>
                  <a:pt x="224" y="45"/>
                </a:cubicBezTo>
                <a:cubicBezTo>
                  <a:pt x="225" y="46"/>
                  <a:pt x="225" y="46"/>
                  <a:pt x="225" y="46"/>
                </a:cubicBezTo>
                <a:cubicBezTo>
                  <a:pt x="226" y="46"/>
                  <a:pt x="226" y="46"/>
                  <a:pt x="226" y="46"/>
                </a:cubicBezTo>
                <a:cubicBezTo>
                  <a:pt x="226" y="45"/>
                  <a:pt x="226" y="45"/>
                  <a:pt x="226" y="45"/>
                </a:cubicBezTo>
                <a:cubicBezTo>
                  <a:pt x="225" y="45"/>
                  <a:pt x="225" y="45"/>
                  <a:pt x="225" y="45"/>
                </a:cubicBezTo>
                <a:cubicBezTo>
                  <a:pt x="225" y="45"/>
                  <a:pt x="225" y="45"/>
                  <a:pt x="225" y="45"/>
                </a:cubicBezTo>
                <a:cubicBezTo>
                  <a:pt x="225" y="44"/>
                  <a:pt x="225" y="44"/>
                  <a:pt x="225" y="44"/>
                </a:cubicBezTo>
                <a:cubicBezTo>
                  <a:pt x="227" y="45"/>
                  <a:pt x="227" y="45"/>
                  <a:pt x="227" y="45"/>
                </a:cubicBezTo>
                <a:close/>
                <a:moveTo>
                  <a:pt x="225" y="49"/>
                </a:moveTo>
                <a:cubicBezTo>
                  <a:pt x="224" y="49"/>
                  <a:pt x="224" y="49"/>
                  <a:pt x="224" y="49"/>
                </a:cubicBezTo>
                <a:cubicBezTo>
                  <a:pt x="222" y="49"/>
                  <a:pt x="222" y="49"/>
                  <a:pt x="222" y="49"/>
                </a:cubicBezTo>
                <a:cubicBezTo>
                  <a:pt x="223" y="49"/>
                  <a:pt x="223" y="49"/>
                  <a:pt x="223" y="49"/>
                </a:cubicBezTo>
                <a:cubicBezTo>
                  <a:pt x="225" y="49"/>
                  <a:pt x="225" y="49"/>
                  <a:pt x="225" y="49"/>
                </a:cubicBezTo>
                <a:close/>
                <a:moveTo>
                  <a:pt x="226" y="48"/>
                </a:moveTo>
                <a:cubicBezTo>
                  <a:pt x="225" y="49"/>
                  <a:pt x="225" y="49"/>
                  <a:pt x="225" y="49"/>
                </a:cubicBezTo>
                <a:cubicBezTo>
                  <a:pt x="225" y="48"/>
                  <a:pt x="225" y="48"/>
                  <a:pt x="225" y="48"/>
                </a:cubicBezTo>
                <a:cubicBezTo>
                  <a:pt x="226" y="48"/>
                  <a:pt x="226" y="48"/>
                  <a:pt x="226" y="48"/>
                </a:cubicBezTo>
                <a:close/>
                <a:moveTo>
                  <a:pt x="226" y="49"/>
                </a:moveTo>
                <a:cubicBezTo>
                  <a:pt x="224" y="50"/>
                  <a:pt x="224" y="50"/>
                  <a:pt x="224" y="50"/>
                </a:cubicBezTo>
                <a:cubicBezTo>
                  <a:pt x="224" y="52"/>
                  <a:pt x="224" y="52"/>
                  <a:pt x="224" y="52"/>
                </a:cubicBezTo>
                <a:cubicBezTo>
                  <a:pt x="226" y="52"/>
                  <a:pt x="226" y="52"/>
                  <a:pt x="226" y="52"/>
                </a:cubicBezTo>
                <a:cubicBezTo>
                  <a:pt x="226" y="52"/>
                  <a:pt x="226" y="52"/>
                  <a:pt x="226" y="52"/>
                </a:cubicBezTo>
                <a:cubicBezTo>
                  <a:pt x="226" y="49"/>
                  <a:pt x="226" y="49"/>
                  <a:pt x="226" y="49"/>
                </a:cubicBezTo>
                <a:cubicBezTo>
                  <a:pt x="226" y="49"/>
                  <a:pt x="226" y="49"/>
                  <a:pt x="226" y="49"/>
                </a:cubicBezTo>
                <a:close/>
                <a:moveTo>
                  <a:pt x="190" y="18"/>
                </a:moveTo>
                <a:cubicBezTo>
                  <a:pt x="192" y="20"/>
                  <a:pt x="192" y="20"/>
                  <a:pt x="192" y="20"/>
                </a:cubicBezTo>
                <a:cubicBezTo>
                  <a:pt x="192" y="21"/>
                  <a:pt x="192" y="21"/>
                  <a:pt x="192" y="21"/>
                </a:cubicBezTo>
                <a:cubicBezTo>
                  <a:pt x="192" y="22"/>
                  <a:pt x="192" y="22"/>
                  <a:pt x="192" y="22"/>
                </a:cubicBezTo>
                <a:cubicBezTo>
                  <a:pt x="190" y="21"/>
                  <a:pt x="190" y="21"/>
                  <a:pt x="190" y="21"/>
                </a:cubicBezTo>
                <a:cubicBezTo>
                  <a:pt x="190" y="19"/>
                  <a:pt x="190" y="19"/>
                  <a:pt x="190" y="19"/>
                </a:cubicBezTo>
                <a:cubicBezTo>
                  <a:pt x="190" y="18"/>
                  <a:pt x="190" y="18"/>
                  <a:pt x="190" y="18"/>
                </a:cubicBezTo>
                <a:close/>
                <a:moveTo>
                  <a:pt x="198" y="14"/>
                </a:moveTo>
                <a:cubicBezTo>
                  <a:pt x="199" y="15"/>
                  <a:pt x="199" y="15"/>
                  <a:pt x="199" y="15"/>
                </a:cubicBezTo>
                <a:cubicBezTo>
                  <a:pt x="199" y="17"/>
                  <a:pt x="199" y="17"/>
                  <a:pt x="199" y="17"/>
                </a:cubicBezTo>
                <a:cubicBezTo>
                  <a:pt x="199" y="16"/>
                  <a:pt x="199" y="16"/>
                  <a:pt x="199" y="16"/>
                </a:cubicBezTo>
                <a:cubicBezTo>
                  <a:pt x="200" y="15"/>
                  <a:pt x="200" y="15"/>
                  <a:pt x="200" y="15"/>
                </a:cubicBezTo>
                <a:cubicBezTo>
                  <a:pt x="200" y="14"/>
                  <a:pt x="200" y="14"/>
                  <a:pt x="200" y="14"/>
                </a:cubicBezTo>
                <a:cubicBezTo>
                  <a:pt x="199" y="13"/>
                  <a:pt x="199" y="13"/>
                  <a:pt x="199" y="13"/>
                </a:cubicBezTo>
                <a:cubicBezTo>
                  <a:pt x="198" y="14"/>
                  <a:pt x="198" y="14"/>
                  <a:pt x="198" y="14"/>
                </a:cubicBezTo>
                <a:close/>
                <a:moveTo>
                  <a:pt x="198" y="17"/>
                </a:moveTo>
                <a:cubicBezTo>
                  <a:pt x="199" y="17"/>
                  <a:pt x="199" y="17"/>
                  <a:pt x="199" y="17"/>
                </a:cubicBezTo>
                <a:cubicBezTo>
                  <a:pt x="199" y="18"/>
                  <a:pt x="199" y="18"/>
                  <a:pt x="199" y="18"/>
                </a:cubicBezTo>
                <a:cubicBezTo>
                  <a:pt x="199" y="18"/>
                  <a:pt x="199" y="18"/>
                  <a:pt x="199" y="18"/>
                </a:cubicBezTo>
                <a:cubicBezTo>
                  <a:pt x="199" y="18"/>
                  <a:pt x="198" y="17"/>
                  <a:pt x="198" y="17"/>
                </a:cubicBezTo>
                <a:close/>
                <a:moveTo>
                  <a:pt x="208" y="29"/>
                </a:moveTo>
                <a:cubicBezTo>
                  <a:pt x="209" y="31"/>
                  <a:pt x="209" y="31"/>
                  <a:pt x="209" y="31"/>
                </a:cubicBezTo>
                <a:cubicBezTo>
                  <a:pt x="209" y="30"/>
                  <a:pt x="209" y="30"/>
                  <a:pt x="209" y="30"/>
                </a:cubicBezTo>
                <a:cubicBezTo>
                  <a:pt x="210" y="30"/>
                  <a:pt x="210" y="30"/>
                  <a:pt x="210" y="30"/>
                </a:cubicBezTo>
                <a:cubicBezTo>
                  <a:pt x="211" y="29"/>
                  <a:pt x="211" y="29"/>
                  <a:pt x="211" y="29"/>
                </a:cubicBezTo>
                <a:cubicBezTo>
                  <a:pt x="211" y="28"/>
                  <a:pt x="211" y="28"/>
                  <a:pt x="211" y="28"/>
                </a:cubicBezTo>
                <a:cubicBezTo>
                  <a:pt x="210" y="28"/>
                  <a:pt x="210" y="28"/>
                  <a:pt x="210" y="28"/>
                </a:cubicBezTo>
                <a:cubicBezTo>
                  <a:pt x="209" y="28"/>
                  <a:pt x="209" y="28"/>
                  <a:pt x="209" y="28"/>
                </a:cubicBezTo>
                <a:cubicBezTo>
                  <a:pt x="208" y="29"/>
                  <a:pt x="208" y="29"/>
                  <a:pt x="208" y="29"/>
                </a:cubicBezTo>
                <a:close/>
                <a:moveTo>
                  <a:pt x="207" y="45"/>
                </a:moveTo>
                <a:cubicBezTo>
                  <a:pt x="208" y="47"/>
                  <a:pt x="208" y="47"/>
                  <a:pt x="208" y="47"/>
                </a:cubicBezTo>
                <a:cubicBezTo>
                  <a:pt x="209" y="49"/>
                  <a:pt x="209" y="49"/>
                  <a:pt x="209" y="49"/>
                </a:cubicBezTo>
                <a:cubicBezTo>
                  <a:pt x="210" y="49"/>
                  <a:pt x="210" y="49"/>
                  <a:pt x="210" y="49"/>
                </a:cubicBezTo>
                <a:cubicBezTo>
                  <a:pt x="209" y="49"/>
                  <a:pt x="209" y="49"/>
                  <a:pt x="209" y="49"/>
                </a:cubicBezTo>
                <a:cubicBezTo>
                  <a:pt x="209" y="50"/>
                  <a:pt x="209" y="50"/>
                  <a:pt x="209" y="50"/>
                </a:cubicBezTo>
                <a:cubicBezTo>
                  <a:pt x="209" y="49"/>
                  <a:pt x="209" y="49"/>
                  <a:pt x="209" y="49"/>
                </a:cubicBezTo>
                <a:cubicBezTo>
                  <a:pt x="208" y="49"/>
                  <a:pt x="208" y="49"/>
                  <a:pt x="208" y="49"/>
                </a:cubicBezTo>
                <a:cubicBezTo>
                  <a:pt x="207" y="47"/>
                  <a:pt x="207" y="47"/>
                  <a:pt x="207" y="47"/>
                </a:cubicBezTo>
                <a:cubicBezTo>
                  <a:pt x="205" y="46"/>
                  <a:pt x="205" y="46"/>
                  <a:pt x="205" y="46"/>
                </a:cubicBezTo>
                <a:cubicBezTo>
                  <a:pt x="204" y="44"/>
                  <a:pt x="204" y="44"/>
                  <a:pt x="204" y="44"/>
                </a:cubicBezTo>
                <a:cubicBezTo>
                  <a:pt x="205" y="43"/>
                  <a:pt x="205" y="43"/>
                  <a:pt x="205" y="43"/>
                </a:cubicBezTo>
                <a:cubicBezTo>
                  <a:pt x="205" y="42"/>
                  <a:pt x="205" y="42"/>
                  <a:pt x="205" y="42"/>
                </a:cubicBezTo>
                <a:cubicBezTo>
                  <a:pt x="205" y="42"/>
                  <a:pt x="205" y="42"/>
                  <a:pt x="205" y="42"/>
                </a:cubicBezTo>
                <a:cubicBezTo>
                  <a:pt x="204" y="41"/>
                  <a:pt x="204" y="41"/>
                  <a:pt x="204" y="41"/>
                </a:cubicBezTo>
                <a:cubicBezTo>
                  <a:pt x="204" y="39"/>
                  <a:pt x="204" y="39"/>
                  <a:pt x="204" y="39"/>
                </a:cubicBezTo>
                <a:cubicBezTo>
                  <a:pt x="204" y="39"/>
                  <a:pt x="204" y="39"/>
                  <a:pt x="204" y="39"/>
                </a:cubicBezTo>
                <a:cubicBezTo>
                  <a:pt x="204" y="37"/>
                  <a:pt x="204" y="37"/>
                  <a:pt x="204" y="37"/>
                </a:cubicBezTo>
                <a:cubicBezTo>
                  <a:pt x="203" y="36"/>
                  <a:pt x="203" y="36"/>
                  <a:pt x="203" y="36"/>
                </a:cubicBezTo>
                <a:cubicBezTo>
                  <a:pt x="203" y="35"/>
                  <a:pt x="203" y="35"/>
                  <a:pt x="203" y="35"/>
                </a:cubicBezTo>
                <a:cubicBezTo>
                  <a:pt x="204" y="34"/>
                  <a:pt x="204" y="34"/>
                  <a:pt x="204" y="34"/>
                </a:cubicBezTo>
                <a:cubicBezTo>
                  <a:pt x="204" y="33"/>
                  <a:pt x="204" y="33"/>
                  <a:pt x="204" y="33"/>
                </a:cubicBezTo>
                <a:cubicBezTo>
                  <a:pt x="205" y="31"/>
                  <a:pt x="205" y="31"/>
                  <a:pt x="205" y="31"/>
                </a:cubicBezTo>
                <a:cubicBezTo>
                  <a:pt x="206" y="29"/>
                  <a:pt x="206" y="29"/>
                  <a:pt x="206" y="29"/>
                </a:cubicBezTo>
                <a:cubicBezTo>
                  <a:pt x="207" y="29"/>
                  <a:pt x="207" y="29"/>
                  <a:pt x="207" y="29"/>
                </a:cubicBezTo>
                <a:cubicBezTo>
                  <a:pt x="207" y="30"/>
                  <a:pt x="207" y="30"/>
                  <a:pt x="207" y="30"/>
                </a:cubicBezTo>
                <a:cubicBezTo>
                  <a:pt x="206" y="31"/>
                  <a:pt x="206" y="31"/>
                  <a:pt x="206" y="31"/>
                </a:cubicBezTo>
                <a:cubicBezTo>
                  <a:pt x="206" y="32"/>
                  <a:pt x="206" y="32"/>
                  <a:pt x="206" y="32"/>
                </a:cubicBezTo>
                <a:cubicBezTo>
                  <a:pt x="207" y="32"/>
                  <a:pt x="207" y="32"/>
                  <a:pt x="207" y="32"/>
                </a:cubicBezTo>
                <a:cubicBezTo>
                  <a:pt x="207" y="34"/>
                  <a:pt x="207" y="34"/>
                  <a:pt x="207" y="34"/>
                </a:cubicBezTo>
                <a:cubicBezTo>
                  <a:pt x="207" y="36"/>
                  <a:pt x="207" y="36"/>
                  <a:pt x="207" y="36"/>
                </a:cubicBezTo>
                <a:cubicBezTo>
                  <a:pt x="206" y="36"/>
                  <a:pt x="206" y="36"/>
                  <a:pt x="206" y="36"/>
                </a:cubicBezTo>
                <a:cubicBezTo>
                  <a:pt x="205" y="36"/>
                  <a:pt x="205" y="36"/>
                  <a:pt x="205" y="36"/>
                </a:cubicBezTo>
                <a:cubicBezTo>
                  <a:pt x="205" y="38"/>
                  <a:pt x="205" y="38"/>
                  <a:pt x="205" y="38"/>
                </a:cubicBezTo>
                <a:cubicBezTo>
                  <a:pt x="206" y="37"/>
                  <a:pt x="206" y="37"/>
                  <a:pt x="206" y="37"/>
                </a:cubicBezTo>
                <a:cubicBezTo>
                  <a:pt x="207" y="36"/>
                  <a:pt x="207" y="36"/>
                  <a:pt x="207" y="36"/>
                </a:cubicBezTo>
                <a:cubicBezTo>
                  <a:pt x="208" y="36"/>
                  <a:pt x="208" y="36"/>
                  <a:pt x="208" y="36"/>
                </a:cubicBezTo>
                <a:cubicBezTo>
                  <a:pt x="208" y="35"/>
                  <a:pt x="208" y="35"/>
                  <a:pt x="208" y="35"/>
                </a:cubicBezTo>
                <a:cubicBezTo>
                  <a:pt x="208" y="35"/>
                  <a:pt x="208" y="35"/>
                  <a:pt x="208" y="35"/>
                </a:cubicBezTo>
                <a:cubicBezTo>
                  <a:pt x="208" y="34"/>
                  <a:pt x="208" y="34"/>
                  <a:pt x="208" y="34"/>
                </a:cubicBezTo>
                <a:cubicBezTo>
                  <a:pt x="210" y="33"/>
                  <a:pt x="210" y="33"/>
                  <a:pt x="210" y="33"/>
                </a:cubicBezTo>
                <a:cubicBezTo>
                  <a:pt x="212" y="33"/>
                  <a:pt x="212" y="33"/>
                  <a:pt x="212" y="33"/>
                </a:cubicBezTo>
                <a:cubicBezTo>
                  <a:pt x="212" y="33"/>
                  <a:pt x="212" y="33"/>
                  <a:pt x="212" y="33"/>
                </a:cubicBezTo>
                <a:cubicBezTo>
                  <a:pt x="212" y="34"/>
                  <a:pt x="212" y="34"/>
                  <a:pt x="212" y="34"/>
                </a:cubicBezTo>
                <a:cubicBezTo>
                  <a:pt x="211" y="37"/>
                  <a:pt x="211" y="37"/>
                  <a:pt x="211" y="37"/>
                </a:cubicBezTo>
                <a:cubicBezTo>
                  <a:pt x="209" y="37"/>
                  <a:pt x="209" y="37"/>
                  <a:pt x="209" y="37"/>
                </a:cubicBezTo>
                <a:cubicBezTo>
                  <a:pt x="208" y="38"/>
                  <a:pt x="208" y="38"/>
                  <a:pt x="208" y="38"/>
                </a:cubicBezTo>
                <a:cubicBezTo>
                  <a:pt x="209" y="39"/>
                  <a:pt x="209" y="39"/>
                  <a:pt x="209" y="39"/>
                </a:cubicBezTo>
                <a:cubicBezTo>
                  <a:pt x="210" y="39"/>
                  <a:pt x="210" y="39"/>
                  <a:pt x="210" y="39"/>
                </a:cubicBezTo>
                <a:cubicBezTo>
                  <a:pt x="211" y="40"/>
                  <a:pt x="211" y="40"/>
                  <a:pt x="211" y="40"/>
                </a:cubicBezTo>
                <a:cubicBezTo>
                  <a:pt x="211" y="41"/>
                  <a:pt x="211" y="41"/>
                  <a:pt x="211" y="41"/>
                </a:cubicBezTo>
                <a:cubicBezTo>
                  <a:pt x="212" y="42"/>
                  <a:pt x="212" y="42"/>
                  <a:pt x="212" y="42"/>
                </a:cubicBezTo>
                <a:cubicBezTo>
                  <a:pt x="211" y="42"/>
                  <a:pt x="211" y="42"/>
                  <a:pt x="211" y="42"/>
                </a:cubicBezTo>
                <a:cubicBezTo>
                  <a:pt x="210" y="41"/>
                  <a:pt x="210" y="41"/>
                  <a:pt x="210" y="41"/>
                </a:cubicBezTo>
                <a:cubicBezTo>
                  <a:pt x="208" y="41"/>
                  <a:pt x="208" y="41"/>
                  <a:pt x="208" y="41"/>
                </a:cubicBezTo>
                <a:cubicBezTo>
                  <a:pt x="207" y="41"/>
                  <a:pt x="207" y="41"/>
                  <a:pt x="207" y="41"/>
                </a:cubicBezTo>
                <a:cubicBezTo>
                  <a:pt x="206" y="41"/>
                  <a:pt x="206" y="41"/>
                  <a:pt x="206" y="41"/>
                </a:cubicBezTo>
                <a:cubicBezTo>
                  <a:pt x="206" y="43"/>
                  <a:pt x="206" y="43"/>
                  <a:pt x="206" y="43"/>
                </a:cubicBezTo>
                <a:cubicBezTo>
                  <a:pt x="207" y="45"/>
                  <a:pt x="207" y="45"/>
                  <a:pt x="207" y="45"/>
                </a:cubicBezTo>
                <a:close/>
                <a:moveTo>
                  <a:pt x="202" y="48"/>
                </a:moveTo>
                <a:cubicBezTo>
                  <a:pt x="202" y="49"/>
                  <a:pt x="202" y="49"/>
                  <a:pt x="202" y="49"/>
                </a:cubicBezTo>
                <a:cubicBezTo>
                  <a:pt x="201" y="49"/>
                  <a:pt x="201" y="49"/>
                  <a:pt x="201" y="49"/>
                </a:cubicBezTo>
                <a:cubicBezTo>
                  <a:pt x="202" y="48"/>
                  <a:pt x="202" y="48"/>
                  <a:pt x="202" y="48"/>
                </a:cubicBezTo>
                <a:cubicBezTo>
                  <a:pt x="202" y="48"/>
                  <a:pt x="202" y="48"/>
                  <a:pt x="202" y="48"/>
                </a:cubicBezTo>
                <a:close/>
                <a:moveTo>
                  <a:pt x="202" y="46"/>
                </a:moveTo>
                <a:cubicBezTo>
                  <a:pt x="201" y="46"/>
                  <a:pt x="201" y="46"/>
                  <a:pt x="201" y="46"/>
                </a:cubicBezTo>
                <a:cubicBezTo>
                  <a:pt x="201" y="47"/>
                  <a:pt x="201" y="47"/>
                  <a:pt x="201" y="47"/>
                </a:cubicBezTo>
                <a:cubicBezTo>
                  <a:pt x="202" y="47"/>
                  <a:pt x="202" y="47"/>
                  <a:pt x="202" y="47"/>
                </a:cubicBezTo>
                <a:cubicBezTo>
                  <a:pt x="202" y="46"/>
                  <a:pt x="202" y="46"/>
                  <a:pt x="202" y="46"/>
                </a:cubicBezTo>
                <a:cubicBezTo>
                  <a:pt x="202" y="46"/>
                  <a:pt x="202" y="46"/>
                  <a:pt x="202" y="46"/>
                </a:cubicBezTo>
                <a:close/>
                <a:moveTo>
                  <a:pt x="203" y="46"/>
                </a:moveTo>
                <a:cubicBezTo>
                  <a:pt x="203" y="47"/>
                  <a:pt x="203" y="47"/>
                  <a:pt x="203" y="47"/>
                </a:cubicBezTo>
                <a:cubicBezTo>
                  <a:pt x="203" y="48"/>
                  <a:pt x="203" y="48"/>
                  <a:pt x="203" y="48"/>
                </a:cubicBezTo>
                <a:cubicBezTo>
                  <a:pt x="203" y="49"/>
                  <a:pt x="203" y="49"/>
                  <a:pt x="203" y="49"/>
                </a:cubicBezTo>
                <a:cubicBezTo>
                  <a:pt x="204" y="49"/>
                  <a:pt x="204" y="49"/>
                  <a:pt x="204" y="49"/>
                </a:cubicBezTo>
                <a:cubicBezTo>
                  <a:pt x="205" y="49"/>
                  <a:pt x="205" y="49"/>
                  <a:pt x="205" y="49"/>
                </a:cubicBezTo>
                <a:cubicBezTo>
                  <a:pt x="206" y="49"/>
                  <a:pt x="206" y="49"/>
                  <a:pt x="206" y="49"/>
                </a:cubicBezTo>
                <a:cubicBezTo>
                  <a:pt x="205" y="48"/>
                  <a:pt x="205" y="48"/>
                  <a:pt x="205" y="48"/>
                </a:cubicBezTo>
                <a:cubicBezTo>
                  <a:pt x="204" y="48"/>
                  <a:pt x="204" y="48"/>
                  <a:pt x="204" y="48"/>
                </a:cubicBezTo>
                <a:cubicBezTo>
                  <a:pt x="205" y="47"/>
                  <a:pt x="205" y="47"/>
                  <a:pt x="205" y="47"/>
                </a:cubicBezTo>
                <a:cubicBezTo>
                  <a:pt x="204" y="46"/>
                  <a:pt x="204" y="46"/>
                  <a:pt x="204" y="46"/>
                </a:cubicBezTo>
                <a:cubicBezTo>
                  <a:pt x="203" y="46"/>
                  <a:pt x="203" y="46"/>
                  <a:pt x="203" y="46"/>
                </a:cubicBezTo>
                <a:close/>
                <a:moveTo>
                  <a:pt x="203" y="54"/>
                </a:moveTo>
                <a:cubicBezTo>
                  <a:pt x="205" y="52"/>
                  <a:pt x="205" y="52"/>
                  <a:pt x="205" y="52"/>
                </a:cubicBezTo>
                <a:cubicBezTo>
                  <a:pt x="206" y="52"/>
                  <a:pt x="206" y="52"/>
                  <a:pt x="206" y="52"/>
                </a:cubicBezTo>
                <a:cubicBezTo>
                  <a:pt x="208" y="54"/>
                  <a:pt x="208" y="54"/>
                  <a:pt x="208" y="54"/>
                </a:cubicBezTo>
                <a:cubicBezTo>
                  <a:pt x="207" y="55"/>
                  <a:pt x="207" y="55"/>
                  <a:pt x="207" y="55"/>
                </a:cubicBezTo>
                <a:cubicBezTo>
                  <a:pt x="206" y="55"/>
                  <a:pt x="206" y="55"/>
                  <a:pt x="206" y="55"/>
                </a:cubicBezTo>
                <a:cubicBezTo>
                  <a:pt x="205" y="55"/>
                  <a:pt x="205" y="55"/>
                  <a:pt x="205" y="55"/>
                </a:cubicBezTo>
                <a:cubicBezTo>
                  <a:pt x="205" y="55"/>
                  <a:pt x="205" y="55"/>
                  <a:pt x="205" y="55"/>
                </a:cubicBezTo>
                <a:cubicBezTo>
                  <a:pt x="203" y="54"/>
                  <a:pt x="203" y="54"/>
                  <a:pt x="203" y="54"/>
                </a:cubicBezTo>
                <a:cubicBezTo>
                  <a:pt x="203" y="54"/>
                  <a:pt x="203" y="54"/>
                  <a:pt x="203" y="54"/>
                </a:cubicBezTo>
                <a:close/>
                <a:moveTo>
                  <a:pt x="221" y="54"/>
                </a:moveTo>
                <a:cubicBezTo>
                  <a:pt x="219" y="55"/>
                  <a:pt x="219" y="55"/>
                  <a:pt x="219" y="55"/>
                </a:cubicBezTo>
                <a:cubicBezTo>
                  <a:pt x="218" y="55"/>
                  <a:pt x="218" y="55"/>
                  <a:pt x="218" y="55"/>
                </a:cubicBezTo>
                <a:cubicBezTo>
                  <a:pt x="218" y="56"/>
                  <a:pt x="218" y="56"/>
                  <a:pt x="218" y="56"/>
                </a:cubicBezTo>
                <a:cubicBezTo>
                  <a:pt x="220" y="57"/>
                  <a:pt x="220" y="57"/>
                  <a:pt x="220" y="57"/>
                </a:cubicBezTo>
                <a:cubicBezTo>
                  <a:pt x="222" y="56"/>
                  <a:pt x="222" y="56"/>
                  <a:pt x="222" y="56"/>
                </a:cubicBezTo>
                <a:cubicBezTo>
                  <a:pt x="222" y="56"/>
                  <a:pt x="222" y="56"/>
                  <a:pt x="222" y="56"/>
                </a:cubicBezTo>
                <a:cubicBezTo>
                  <a:pt x="221" y="55"/>
                  <a:pt x="221" y="55"/>
                  <a:pt x="221" y="55"/>
                </a:cubicBezTo>
                <a:cubicBezTo>
                  <a:pt x="221" y="54"/>
                  <a:pt x="221" y="54"/>
                  <a:pt x="221" y="54"/>
                </a:cubicBezTo>
                <a:close/>
                <a:moveTo>
                  <a:pt x="210" y="67"/>
                </a:moveTo>
                <a:cubicBezTo>
                  <a:pt x="211" y="66"/>
                  <a:pt x="211" y="66"/>
                  <a:pt x="211" y="66"/>
                </a:cubicBezTo>
                <a:cubicBezTo>
                  <a:pt x="211" y="67"/>
                  <a:pt x="211" y="67"/>
                  <a:pt x="211" y="67"/>
                </a:cubicBezTo>
                <a:cubicBezTo>
                  <a:pt x="210" y="67"/>
                  <a:pt x="210" y="67"/>
                  <a:pt x="210" y="67"/>
                </a:cubicBezTo>
                <a:cubicBezTo>
                  <a:pt x="210" y="67"/>
                  <a:pt x="210" y="67"/>
                  <a:pt x="210" y="67"/>
                </a:cubicBezTo>
                <a:close/>
                <a:moveTo>
                  <a:pt x="209" y="67"/>
                </a:moveTo>
                <a:cubicBezTo>
                  <a:pt x="210" y="67"/>
                  <a:pt x="210" y="67"/>
                  <a:pt x="210" y="67"/>
                </a:cubicBezTo>
                <a:cubicBezTo>
                  <a:pt x="210" y="67"/>
                  <a:pt x="210" y="67"/>
                  <a:pt x="210" y="67"/>
                </a:cubicBezTo>
                <a:cubicBezTo>
                  <a:pt x="209" y="67"/>
                  <a:pt x="209" y="67"/>
                  <a:pt x="209" y="67"/>
                </a:cubicBezTo>
                <a:cubicBezTo>
                  <a:pt x="209" y="67"/>
                  <a:pt x="209" y="67"/>
                  <a:pt x="209" y="67"/>
                </a:cubicBezTo>
                <a:close/>
                <a:moveTo>
                  <a:pt x="206" y="67"/>
                </a:moveTo>
                <a:cubicBezTo>
                  <a:pt x="207" y="67"/>
                  <a:pt x="207" y="67"/>
                  <a:pt x="207" y="67"/>
                </a:cubicBezTo>
                <a:cubicBezTo>
                  <a:pt x="208" y="66"/>
                  <a:pt x="208" y="66"/>
                  <a:pt x="208" y="66"/>
                </a:cubicBezTo>
                <a:cubicBezTo>
                  <a:pt x="208" y="67"/>
                  <a:pt x="208" y="67"/>
                  <a:pt x="208" y="67"/>
                </a:cubicBezTo>
                <a:cubicBezTo>
                  <a:pt x="208" y="68"/>
                  <a:pt x="208" y="68"/>
                  <a:pt x="208" y="68"/>
                </a:cubicBezTo>
                <a:cubicBezTo>
                  <a:pt x="207" y="67"/>
                  <a:pt x="207" y="67"/>
                  <a:pt x="207" y="67"/>
                </a:cubicBezTo>
                <a:cubicBezTo>
                  <a:pt x="207" y="68"/>
                  <a:pt x="207" y="68"/>
                  <a:pt x="207" y="68"/>
                </a:cubicBezTo>
                <a:cubicBezTo>
                  <a:pt x="206" y="67"/>
                  <a:pt x="206" y="67"/>
                  <a:pt x="206" y="67"/>
                </a:cubicBezTo>
                <a:close/>
                <a:moveTo>
                  <a:pt x="205" y="63"/>
                </a:moveTo>
                <a:cubicBezTo>
                  <a:pt x="205" y="64"/>
                  <a:pt x="205" y="64"/>
                  <a:pt x="205" y="64"/>
                </a:cubicBezTo>
                <a:cubicBezTo>
                  <a:pt x="205" y="64"/>
                  <a:pt x="205" y="64"/>
                  <a:pt x="205" y="64"/>
                </a:cubicBezTo>
                <a:cubicBezTo>
                  <a:pt x="205" y="63"/>
                  <a:pt x="205" y="63"/>
                  <a:pt x="205" y="63"/>
                </a:cubicBezTo>
                <a:close/>
                <a:moveTo>
                  <a:pt x="207" y="62"/>
                </a:moveTo>
                <a:cubicBezTo>
                  <a:pt x="205" y="62"/>
                  <a:pt x="205" y="62"/>
                  <a:pt x="205" y="62"/>
                </a:cubicBezTo>
                <a:cubicBezTo>
                  <a:pt x="206" y="63"/>
                  <a:pt x="206" y="63"/>
                  <a:pt x="206" y="63"/>
                </a:cubicBezTo>
                <a:cubicBezTo>
                  <a:pt x="206" y="63"/>
                  <a:pt x="206" y="63"/>
                  <a:pt x="206" y="63"/>
                </a:cubicBezTo>
                <a:cubicBezTo>
                  <a:pt x="207" y="62"/>
                  <a:pt x="207" y="62"/>
                  <a:pt x="207" y="62"/>
                </a:cubicBezTo>
                <a:close/>
                <a:moveTo>
                  <a:pt x="207" y="66"/>
                </a:moveTo>
                <a:cubicBezTo>
                  <a:pt x="208" y="64"/>
                  <a:pt x="208" y="64"/>
                  <a:pt x="208" y="64"/>
                </a:cubicBezTo>
                <a:cubicBezTo>
                  <a:pt x="209" y="65"/>
                  <a:pt x="209" y="65"/>
                  <a:pt x="209" y="65"/>
                </a:cubicBezTo>
                <a:cubicBezTo>
                  <a:pt x="210" y="66"/>
                  <a:pt x="210" y="66"/>
                  <a:pt x="210" y="66"/>
                </a:cubicBezTo>
                <a:cubicBezTo>
                  <a:pt x="211" y="66"/>
                  <a:pt x="211" y="66"/>
                  <a:pt x="211" y="66"/>
                </a:cubicBezTo>
                <a:cubicBezTo>
                  <a:pt x="212" y="64"/>
                  <a:pt x="212" y="64"/>
                  <a:pt x="212" y="64"/>
                </a:cubicBezTo>
                <a:cubicBezTo>
                  <a:pt x="213" y="64"/>
                  <a:pt x="213" y="64"/>
                  <a:pt x="213" y="64"/>
                </a:cubicBezTo>
                <a:cubicBezTo>
                  <a:pt x="213" y="66"/>
                  <a:pt x="213" y="66"/>
                  <a:pt x="213" y="66"/>
                </a:cubicBezTo>
                <a:cubicBezTo>
                  <a:pt x="216" y="66"/>
                  <a:pt x="216" y="66"/>
                  <a:pt x="216" y="66"/>
                </a:cubicBezTo>
                <a:cubicBezTo>
                  <a:pt x="217" y="65"/>
                  <a:pt x="217" y="65"/>
                  <a:pt x="217" y="65"/>
                </a:cubicBezTo>
                <a:cubicBezTo>
                  <a:pt x="218" y="65"/>
                  <a:pt x="218" y="65"/>
                  <a:pt x="218" y="65"/>
                </a:cubicBezTo>
                <a:cubicBezTo>
                  <a:pt x="220" y="67"/>
                  <a:pt x="220" y="67"/>
                  <a:pt x="220" y="67"/>
                </a:cubicBezTo>
                <a:cubicBezTo>
                  <a:pt x="221" y="67"/>
                  <a:pt x="221" y="67"/>
                  <a:pt x="221" y="67"/>
                </a:cubicBezTo>
                <a:cubicBezTo>
                  <a:pt x="223" y="68"/>
                  <a:pt x="223" y="68"/>
                  <a:pt x="223" y="68"/>
                </a:cubicBezTo>
                <a:cubicBezTo>
                  <a:pt x="224" y="68"/>
                  <a:pt x="224" y="68"/>
                  <a:pt x="224" y="68"/>
                </a:cubicBezTo>
                <a:cubicBezTo>
                  <a:pt x="225" y="67"/>
                  <a:pt x="225" y="67"/>
                  <a:pt x="225" y="67"/>
                </a:cubicBezTo>
                <a:cubicBezTo>
                  <a:pt x="224" y="65"/>
                  <a:pt x="224" y="65"/>
                  <a:pt x="224" y="65"/>
                </a:cubicBezTo>
                <a:cubicBezTo>
                  <a:pt x="221" y="63"/>
                  <a:pt x="221" y="63"/>
                  <a:pt x="221" y="63"/>
                </a:cubicBezTo>
                <a:cubicBezTo>
                  <a:pt x="218" y="63"/>
                  <a:pt x="218" y="63"/>
                  <a:pt x="218" y="63"/>
                </a:cubicBezTo>
                <a:cubicBezTo>
                  <a:pt x="217" y="61"/>
                  <a:pt x="217" y="61"/>
                  <a:pt x="217" y="61"/>
                </a:cubicBezTo>
                <a:cubicBezTo>
                  <a:pt x="216" y="61"/>
                  <a:pt x="216" y="61"/>
                  <a:pt x="216" y="61"/>
                </a:cubicBezTo>
                <a:cubicBezTo>
                  <a:pt x="215" y="62"/>
                  <a:pt x="215" y="62"/>
                  <a:pt x="215" y="62"/>
                </a:cubicBezTo>
                <a:cubicBezTo>
                  <a:pt x="213" y="62"/>
                  <a:pt x="213" y="62"/>
                  <a:pt x="213" y="62"/>
                </a:cubicBezTo>
                <a:cubicBezTo>
                  <a:pt x="212" y="62"/>
                  <a:pt x="212" y="62"/>
                  <a:pt x="212" y="62"/>
                </a:cubicBezTo>
                <a:cubicBezTo>
                  <a:pt x="211" y="62"/>
                  <a:pt x="211" y="62"/>
                  <a:pt x="211" y="62"/>
                </a:cubicBezTo>
                <a:cubicBezTo>
                  <a:pt x="208" y="62"/>
                  <a:pt x="208" y="62"/>
                  <a:pt x="208" y="62"/>
                </a:cubicBezTo>
                <a:cubicBezTo>
                  <a:pt x="207" y="63"/>
                  <a:pt x="207" y="63"/>
                  <a:pt x="207" y="63"/>
                </a:cubicBezTo>
                <a:cubicBezTo>
                  <a:pt x="207" y="63"/>
                  <a:pt x="207" y="63"/>
                  <a:pt x="207" y="63"/>
                </a:cubicBezTo>
                <a:cubicBezTo>
                  <a:pt x="206" y="64"/>
                  <a:pt x="206" y="64"/>
                  <a:pt x="206" y="64"/>
                </a:cubicBezTo>
                <a:cubicBezTo>
                  <a:pt x="206" y="65"/>
                  <a:pt x="206" y="65"/>
                  <a:pt x="206" y="65"/>
                </a:cubicBezTo>
                <a:cubicBezTo>
                  <a:pt x="206" y="66"/>
                  <a:pt x="206" y="66"/>
                  <a:pt x="206" y="66"/>
                </a:cubicBezTo>
                <a:cubicBezTo>
                  <a:pt x="207" y="66"/>
                  <a:pt x="207" y="66"/>
                  <a:pt x="207" y="66"/>
                </a:cubicBezTo>
                <a:close/>
                <a:moveTo>
                  <a:pt x="195" y="64"/>
                </a:moveTo>
                <a:cubicBezTo>
                  <a:pt x="196" y="64"/>
                  <a:pt x="196" y="64"/>
                  <a:pt x="196" y="64"/>
                </a:cubicBezTo>
                <a:cubicBezTo>
                  <a:pt x="197" y="63"/>
                  <a:pt x="197" y="63"/>
                  <a:pt x="197" y="63"/>
                </a:cubicBezTo>
                <a:cubicBezTo>
                  <a:pt x="199" y="63"/>
                  <a:pt x="199" y="63"/>
                  <a:pt x="199" y="63"/>
                </a:cubicBezTo>
                <a:cubicBezTo>
                  <a:pt x="201" y="64"/>
                  <a:pt x="201" y="64"/>
                  <a:pt x="201" y="64"/>
                </a:cubicBezTo>
                <a:cubicBezTo>
                  <a:pt x="201" y="65"/>
                  <a:pt x="201" y="65"/>
                  <a:pt x="201" y="65"/>
                </a:cubicBezTo>
                <a:cubicBezTo>
                  <a:pt x="202" y="66"/>
                  <a:pt x="202" y="66"/>
                  <a:pt x="202" y="66"/>
                </a:cubicBezTo>
                <a:cubicBezTo>
                  <a:pt x="202" y="67"/>
                  <a:pt x="202" y="67"/>
                  <a:pt x="202" y="67"/>
                </a:cubicBezTo>
                <a:cubicBezTo>
                  <a:pt x="201" y="67"/>
                  <a:pt x="201" y="67"/>
                  <a:pt x="201" y="67"/>
                </a:cubicBezTo>
                <a:cubicBezTo>
                  <a:pt x="200" y="68"/>
                  <a:pt x="200" y="68"/>
                  <a:pt x="200" y="68"/>
                </a:cubicBezTo>
                <a:cubicBezTo>
                  <a:pt x="198" y="68"/>
                  <a:pt x="198" y="68"/>
                  <a:pt x="198" y="68"/>
                </a:cubicBezTo>
                <a:cubicBezTo>
                  <a:pt x="197" y="68"/>
                  <a:pt x="197" y="68"/>
                  <a:pt x="197" y="68"/>
                </a:cubicBezTo>
                <a:cubicBezTo>
                  <a:pt x="196" y="68"/>
                  <a:pt x="196" y="68"/>
                  <a:pt x="196" y="68"/>
                </a:cubicBezTo>
                <a:cubicBezTo>
                  <a:pt x="194" y="67"/>
                  <a:pt x="194" y="67"/>
                  <a:pt x="194" y="67"/>
                </a:cubicBezTo>
                <a:cubicBezTo>
                  <a:pt x="193" y="66"/>
                  <a:pt x="193" y="66"/>
                  <a:pt x="193" y="66"/>
                </a:cubicBezTo>
                <a:cubicBezTo>
                  <a:pt x="193" y="64"/>
                  <a:pt x="193" y="64"/>
                  <a:pt x="193" y="64"/>
                </a:cubicBezTo>
                <a:cubicBezTo>
                  <a:pt x="195" y="64"/>
                  <a:pt x="195" y="64"/>
                  <a:pt x="195" y="64"/>
                </a:cubicBezTo>
                <a:close/>
                <a:moveTo>
                  <a:pt x="160" y="90"/>
                </a:moveTo>
                <a:cubicBezTo>
                  <a:pt x="159" y="89"/>
                  <a:pt x="159" y="89"/>
                  <a:pt x="159" y="89"/>
                </a:cubicBezTo>
                <a:cubicBezTo>
                  <a:pt x="158" y="90"/>
                  <a:pt x="158" y="90"/>
                  <a:pt x="158" y="90"/>
                </a:cubicBezTo>
                <a:cubicBezTo>
                  <a:pt x="159" y="90"/>
                  <a:pt x="159" y="90"/>
                  <a:pt x="159" y="90"/>
                </a:cubicBezTo>
                <a:cubicBezTo>
                  <a:pt x="160" y="90"/>
                  <a:pt x="160" y="90"/>
                  <a:pt x="160" y="90"/>
                </a:cubicBezTo>
                <a:close/>
                <a:moveTo>
                  <a:pt x="158" y="81"/>
                </a:moveTo>
                <a:cubicBezTo>
                  <a:pt x="159" y="83"/>
                  <a:pt x="159" y="83"/>
                  <a:pt x="159" y="83"/>
                </a:cubicBezTo>
                <a:cubicBezTo>
                  <a:pt x="159" y="84"/>
                  <a:pt x="159" y="84"/>
                  <a:pt x="159" y="84"/>
                </a:cubicBezTo>
                <a:cubicBezTo>
                  <a:pt x="159" y="85"/>
                  <a:pt x="159" y="85"/>
                  <a:pt x="159" y="85"/>
                </a:cubicBezTo>
                <a:cubicBezTo>
                  <a:pt x="158" y="84"/>
                  <a:pt x="158" y="84"/>
                  <a:pt x="158" y="84"/>
                </a:cubicBezTo>
                <a:cubicBezTo>
                  <a:pt x="158" y="83"/>
                  <a:pt x="158" y="83"/>
                  <a:pt x="158" y="83"/>
                </a:cubicBezTo>
                <a:cubicBezTo>
                  <a:pt x="158" y="82"/>
                  <a:pt x="158" y="82"/>
                  <a:pt x="158" y="82"/>
                </a:cubicBezTo>
                <a:cubicBezTo>
                  <a:pt x="158" y="81"/>
                  <a:pt x="158" y="81"/>
                  <a:pt x="158" y="81"/>
                </a:cubicBezTo>
                <a:cubicBezTo>
                  <a:pt x="158" y="81"/>
                  <a:pt x="158" y="81"/>
                  <a:pt x="158" y="81"/>
                </a:cubicBezTo>
                <a:close/>
                <a:moveTo>
                  <a:pt x="193" y="57"/>
                </a:moveTo>
                <a:cubicBezTo>
                  <a:pt x="193" y="58"/>
                  <a:pt x="193" y="58"/>
                  <a:pt x="193" y="58"/>
                </a:cubicBezTo>
                <a:cubicBezTo>
                  <a:pt x="194" y="59"/>
                  <a:pt x="194" y="59"/>
                  <a:pt x="194" y="59"/>
                </a:cubicBezTo>
                <a:cubicBezTo>
                  <a:pt x="194" y="60"/>
                  <a:pt x="194" y="60"/>
                  <a:pt x="194" y="60"/>
                </a:cubicBezTo>
                <a:cubicBezTo>
                  <a:pt x="194" y="59"/>
                  <a:pt x="194" y="59"/>
                  <a:pt x="194" y="59"/>
                </a:cubicBezTo>
                <a:cubicBezTo>
                  <a:pt x="193" y="58"/>
                  <a:pt x="193" y="58"/>
                  <a:pt x="193" y="58"/>
                </a:cubicBezTo>
                <a:cubicBezTo>
                  <a:pt x="193" y="57"/>
                  <a:pt x="193" y="57"/>
                  <a:pt x="193" y="57"/>
                </a:cubicBezTo>
                <a:cubicBezTo>
                  <a:pt x="193" y="57"/>
                  <a:pt x="193" y="57"/>
                  <a:pt x="193" y="57"/>
                </a:cubicBezTo>
                <a:close/>
                <a:moveTo>
                  <a:pt x="190" y="55"/>
                </a:moveTo>
                <a:cubicBezTo>
                  <a:pt x="191" y="55"/>
                  <a:pt x="191" y="55"/>
                  <a:pt x="191" y="55"/>
                </a:cubicBezTo>
                <a:cubicBezTo>
                  <a:pt x="192" y="55"/>
                  <a:pt x="192" y="55"/>
                  <a:pt x="192" y="55"/>
                </a:cubicBezTo>
                <a:cubicBezTo>
                  <a:pt x="192" y="55"/>
                  <a:pt x="192" y="55"/>
                  <a:pt x="192" y="55"/>
                </a:cubicBezTo>
                <a:cubicBezTo>
                  <a:pt x="195" y="55"/>
                  <a:pt x="195" y="55"/>
                  <a:pt x="195" y="55"/>
                </a:cubicBezTo>
                <a:cubicBezTo>
                  <a:pt x="196" y="55"/>
                  <a:pt x="196" y="55"/>
                  <a:pt x="196" y="55"/>
                </a:cubicBezTo>
                <a:cubicBezTo>
                  <a:pt x="195" y="56"/>
                  <a:pt x="195" y="56"/>
                  <a:pt x="195" y="56"/>
                </a:cubicBezTo>
                <a:cubicBezTo>
                  <a:pt x="192" y="56"/>
                  <a:pt x="192" y="56"/>
                  <a:pt x="192" y="56"/>
                </a:cubicBezTo>
                <a:cubicBezTo>
                  <a:pt x="190" y="56"/>
                  <a:pt x="190" y="56"/>
                  <a:pt x="190" y="56"/>
                </a:cubicBezTo>
                <a:cubicBezTo>
                  <a:pt x="190" y="55"/>
                  <a:pt x="190" y="55"/>
                  <a:pt x="190" y="55"/>
                </a:cubicBezTo>
                <a:cubicBezTo>
                  <a:pt x="190" y="55"/>
                  <a:pt x="190" y="55"/>
                  <a:pt x="190" y="55"/>
                </a:cubicBezTo>
                <a:close/>
                <a:moveTo>
                  <a:pt x="184" y="55"/>
                </a:moveTo>
                <a:cubicBezTo>
                  <a:pt x="184" y="54"/>
                  <a:pt x="184" y="54"/>
                  <a:pt x="184" y="54"/>
                </a:cubicBezTo>
                <a:cubicBezTo>
                  <a:pt x="185" y="55"/>
                  <a:pt x="185" y="55"/>
                  <a:pt x="185" y="55"/>
                </a:cubicBezTo>
                <a:cubicBezTo>
                  <a:pt x="186" y="54"/>
                  <a:pt x="186" y="54"/>
                  <a:pt x="186" y="54"/>
                </a:cubicBezTo>
                <a:cubicBezTo>
                  <a:pt x="187" y="55"/>
                  <a:pt x="187" y="55"/>
                  <a:pt x="187" y="55"/>
                </a:cubicBezTo>
                <a:cubicBezTo>
                  <a:pt x="188" y="55"/>
                  <a:pt x="188" y="55"/>
                  <a:pt x="188" y="55"/>
                </a:cubicBezTo>
                <a:cubicBezTo>
                  <a:pt x="189" y="54"/>
                  <a:pt x="189" y="54"/>
                  <a:pt x="189" y="54"/>
                </a:cubicBezTo>
                <a:cubicBezTo>
                  <a:pt x="190" y="55"/>
                  <a:pt x="190" y="55"/>
                  <a:pt x="190" y="55"/>
                </a:cubicBezTo>
                <a:cubicBezTo>
                  <a:pt x="190" y="56"/>
                  <a:pt x="190" y="56"/>
                  <a:pt x="190" y="56"/>
                </a:cubicBezTo>
                <a:cubicBezTo>
                  <a:pt x="189" y="56"/>
                  <a:pt x="189" y="56"/>
                  <a:pt x="189" y="56"/>
                </a:cubicBezTo>
                <a:cubicBezTo>
                  <a:pt x="187" y="56"/>
                  <a:pt x="187" y="56"/>
                  <a:pt x="187" y="56"/>
                </a:cubicBezTo>
                <a:cubicBezTo>
                  <a:pt x="187" y="56"/>
                  <a:pt x="187" y="56"/>
                  <a:pt x="187" y="56"/>
                </a:cubicBezTo>
                <a:cubicBezTo>
                  <a:pt x="185" y="57"/>
                  <a:pt x="185" y="57"/>
                  <a:pt x="185" y="57"/>
                </a:cubicBezTo>
                <a:cubicBezTo>
                  <a:pt x="184" y="56"/>
                  <a:pt x="184" y="56"/>
                  <a:pt x="184" y="56"/>
                </a:cubicBezTo>
                <a:cubicBezTo>
                  <a:pt x="184" y="56"/>
                  <a:pt x="184" y="56"/>
                  <a:pt x="184" y="56"/>
                </a:cubicBezTo>
                <a:cubicBezTo>
                  <a:pt x="184" y="55"/>
                  <a:pt x="184" y="55"/>
                  <a:pt x="184" y="55"/>
                </a:cubicBezTo>
                <a:close/>
                <a:moveTo>
                  <a:pt x="173" y="78"/>
                </a:moveTo>
                <a:cubicBezTo>
                  <a:pt x="174" y="77"/>
                  <a:pt x="174" y="77"/>
                  <a:pt x="174" y="77"/>
                </a:cubicBezTo>
                <a:cubicBezTo>
                  <a:pt x="174" y="75"/>
                  <a:pt x="174" y="75"/>
                  <a:pt x="174" y="75"/>
                </a:cubicBezTo>
                <a:cubicBezTo>
                  <a:pt x="174" y="73"/>
                  <a:pt x="174" y="73"/>
                  <a:pt x="174" y="73"/>
                </a:cubicBezTo>
                <a:cubicBezTo>
                  <a:pt x="175" y="72"/>
                  <a:pt x="175" y="72"/>
                  <a:pt x="175" y="72"/>
                </a:cubicBezTo>
                <a:cubicBezTo>
                  <a:pt x="176" y="72"/>
                  <a:pt x="176" y="72"/>
                  <a:pt x="176" y="72"/>
                </a:cubicBezTo>
                <a:cubicBezTo>
                  <a:pt x="176" y="73"/>
                  <a:pt x="176" y="73"/>
                  <a:pt x="176" y="73"/>
                </a:cubicBezTo>
                <a:cubicBezTo>
                  <a:pt x="176" y="74"/>
                  <a:pt x="176" y="74"/>
                  <a:pt x="176" y="74"/>
                </a:cubicBezTo>
                <a:cubicBezTo>
                  <a:pt x="176" y="75"/>
                  <a:pt x="176" y="75"/>
                  <a:pt x="176" y="75"/>
                </a:cubicBezTo>
                <a:cubicBezTo>
                  <a:pt x="176" y="74"/>
                  <a:pt x="176" y="74"/>
                  <a:pt x="176" y="74"/>
                </a:cubicBezTo>
                <a:cubicBezTo>
                  <a:pt x="176" y="75"/>
                  <a:pt x="176" y="75"/>
                  <a:pt x="176" y="75"/>
                </a:cubicBezTo>
                <a:cubicBezTo>
                  <a:pt x="175" y="75"/>
                  <a:pt x="175" y="75"/>
                  <a:pt x="175" y="75"/>
                </a:cubicBezTo>
                <a:cubicBezTo>
                  <a:pt x="174" y="76"/>
                  <a:pt x="174" y="76"/>
                  <a:pt x="174" y="76"/>
                </a:cubicBezTo>
                <a:cubicBezTo>
                  <a:pt x="175" y="77"/>
                  <a:pt x="175" y="77"/>
                  <a:pt x="175" y="77"/>
                </a:cubicBezTo>
                <a:cubicBezTo>
                  <a:pt x="176" y="77"/>
                  <a:pt x="176" y="77"/>
                  <a:pt x="176" y="77"/>
                </a:cubicBezTo>
                <a:cubicBezTo>
                  <a:pt x="176" y="77"/>
                  <a:pt x="176" y="77"/>
                  <a:pt x="176" y="77"/>
                </a:cubicBezTo>
                <a:cubicBezTo>
                  <a:pt x="176" y="78"/>
                  <a:pt x="176" y="78"/>
                  <a:pt x="176" y="78"/>
                </a:cubicBezTo>
                <a:cubicBezTo>
                  <a:pt x="175" y="78"/>
                  <a:pt x="175" y="78"/>
                  <a:pt x="175" y="78"/>
                </a:cubicBezTo>
                <a:cubicBezTo>
                  <a:pt x="174" y="79"/>
                  <a:pt x="174" y="79"/>
                  <a:pt x="174" y="79"/>
                </a:cubicBezTo>
                <a:cubicBezTo>
                  <a:pt x="173" y="80"/>
                  <a:pt x="173" y="80"/>
                  <a:pt x="173" y="80"/>
                </a:cubicBezTo>
                <a:cubicBezTo>
                  <a:pt x="172" y="79"/>
                  <a:pt x="172" y="79"/>
                  <a:pt x="172" y="79"/>
                </a:cubicBezTo>
                <a:cubicBezTo>
                  <a:pt x="173" y="78"/>
                  <a:pt x="173" y="78"/>
                  <a:pt x="173" y="78"/>
                </a:cubicBezTo>
                <a:close/>
                <a:moveTo>
                  <a:pt x="170" y="77"/>
                </a:moveTo>
                <a:cubicBezTo>
                  <a:pt x="170" y="77"/>
                  <a:pt x="170" y="78"/>
                  <a:pt x="170" y="78"/>
                </a:cubicBezTo>
                <a:cubicBezTo>
                  <a:pt x="170" y="78"/>
                  <a:pt x="170" y="78"/>
                  <a:pt x="170" y="78"/>
                </a:cubicBezTo>
                <a:cubicBezTo>
                  <a:pt x="171" y="78"/>
                  <a:pt x="171" y="78"/>
                  <a:pt x="171" y="78"/>
                </a:cubicBezTo>
                <a:cubicBezTo>
                  <a:pt x="172" y="77"/>
                  <a:pt x="172" y="77"/>
                  <a:pt x="172" y="77"/>
                </a:cubicBezTo>
                <a:cubicBezTo>
                  <a:pt x="172" y="77"/>
                  <a:pt x="172" y="77"/>
                  <a:pt x="172" y="77"/>
                </a:cubicBezTo>
                <a:cubicBezTo>
                  <a:pt x="172" y="76"/>
                  <a:pt x="172" y="76"/>
                  <a:pt x="172" y="76"/>
                </a:cubicBezTo>
                <a:cubicBezTo>
                  <a:pt x="173" y="75"/>
                  <a:pt x="173" y="75"/>
                  <a:pt x="173" y="75"/>
                </a:cubicBezTo>
                <a:cubicBezTo>
                  <a:pt x="173" y="75"/>
                  <a:pt x="173" y="75"/>
                  <a:pt x="173" y="75"/>
                </a:cubicBezTo>
                <a:cubicBezTo>
                  <a:pt x="172" y="74"/>
                  <a:pt x="172" y="74"/>
                  <a:pt x="172" y="74"/>
                </a:cubicBezTo>
                <a:cubicBezTo>
                  <a:pt x="171" y="74"/>
                  <a:pt x="171" y="74"/>
                  <a:pt x="171" y="74"/>
                </a:cubicBezTo>
                <a:cubicBezTo>
                  <a:pt x="170" y="75"/>
                  <a:pt x="170" y="75"/>
                  <a:pt x="170" y="75"/>
                </a:cubicBezTo>
                <a:cubicBezTo>
                  <a:pt x="171" y="76"/>
                  <a:pt x="171" y="76"/>
                  <a:pt x="171" y="76"/>
                </a:cubicBezTo>
                <a:cubicBezTo>
                  <a:pt x="170" y="77"/>
                  <a:pt x="170" y="77"/>
                  <a:pt x="170" y="77"/>
                </a:cubicBezTo>
                <a:close/>
                <a:moveTo>
                  <a:pt x="167" y="76"/>
                </a:moveTo>
                <a:cubicBezTo>
                  <a:pt x="167" y="77"/>
                  <a:pt x="167" y="77"/>
                  <a:pt x="167" y="77"/>
                </a:cubicBezTo>
                <a:cubicBezTo>
                  <a:pt x="167" y="77"/>
                  <a:pt x="167" y="77"/>
                  <a:pt x="167" y="77"/>
                </a:cubicBezTo>
                <a:cubicBezTo>
                  <a:pt x="167" y="79"/>
                  <a:pt x="167" y="79"/>
                  <a:pt x="167" y="79"/>
                </a:cubicBezTo>
                <a:cubicBezTo>
                  <a:pt x="168" y="79"/>
                  <a:pt x="168" y="79"/>
                  <a:pt x="168" y="79"/>
                </a:cubicBezTo>
                <a:cubicBezTo>
                  <a:pt x="168" y="78"/>
                  <a:pt x="168" y="78"/>
                  <a:pt x="168" y="78"/>
                </a:cubicBezTo>
                <a:cubicBezTo>
                  <a:pt x="168" y="77"/>
                  <a:pt x="168" y="77"/>
                  <a:pt x="168" y="77"/>
                </a:cubicBezTo>
                <a:cubicBezTo>
                  <a:pt x="167" y="76"/>
                  <a:pt x="167" y="76"/>
                  <a:pt x="167" y="76"/>
                </a:cubicBezTo>
                <a:cubicBezTo>
                  <a:pt x="167" y="76"/>
                  <a:pt x="167" y="76"/>
                  <a:pt x="167" y="76"/>
                </a:cubicBezTo>
                <a:close/>
                <a:moveTo>
                  <a:pt x="176" y="56"/>
                </a:moveTo>
                <a:cubicBezTo>
                  <a:pt x="175" y="56"/>
                  <a:pt x="175" y="56"/>
                  <a:pt x="175" y="56"/>
                </a:cubicBezTo>
                <a:cubicBezTo>
                  <a:pt x="176" y="56"/>
                  <a:pt x="176" y="56"/>
                  <a:pt x="176" y="56"/>
                </a:cubicBezTo>
                <a:cubicBezTo>
                  <a:pt x="176" y="56"/>
                  <a:pt x="176" y="56"/>
                  <a:pt x="176" y="56"/>
                </a:cubicBezTo>
                <a:close/>
                <a:moveTo>
                  <a:pt x="177" y="55"/>
                </a:moveTo>
                <a:cubicBezTo>
                  <a:pt x="177" y="55"/>
                  <a:pt x="177" y="55"/>
                  <a:pt x="177" y="55"/>
                </a:cubicBezTo>
                <a:cubicBezTo>
                  <a:pt x="178" y="55"/>
                  <a:pt x="178" y="55"/>
                  <a:pt x="178" y="55"/>
                </a:cubicBezTo>
                <a:cubicBezTo>
                  <a:pt x="177" y="55"/>
                  <a:pt x="177" y="55"/>
                  <a:pt x="177" y="55"/>
                </a:cubicBezTo>
                <a:close/>
                <a:moveTo>
                  <a:pt x="179" y="54"/>
                </a:moveTo>
                <a:cubicBezTo>
                  <a:pt x="178" y="54"/>
                  <a:pt x="178" y="54"/>
                  <a:pt x="178" y="54"/>
                </a:cubicBezTo>
                <a:cubicBezTo>
                  <a:pt x="179" y="54"/>
                  <a:pt x="179" y="54"/>
                  <a:pt x="179" y="54"/>
                </a:cubicBezTo>
                <a:cubicBezTo>
                  <a:pt x="179" y="54"/>
                  <a:pt x="179" y="54"/>
                  <a:pt x="179" y="54"/>
                </a:cubicBezTo>
                <a:close/>
                <a:moveTo>
                  <a:pt x="174" y="52"/>
                </a:moveTo>
                <a:cubicBezTo>
                  <a:pt x="175" y="51"/>
                  <a:pt x="175" y="51"/>
                  <a:pt x="175" y="51"/>
                </a:cubicBezTo>
                <a:cubicBezTo>
                  <a:pt x="177" y="51"/>
                  <a:pt x="177" y="51"/>
                  <a:pt x="177" y="51"/>
                </a:cubicBezTo>
                <a:cubicBezTo>
                  <a:pt x="177" y="52"/>
                  <a:pt x="177" y="52"/>
                  <a:pt x="177" y="52"/>
                </a:cubicBezTo>
                <a:cubicBezTo>
                  <a:pt x="177" y="53"/>
                  <a:pt x="177" y="53"/>
                  <a:pt x="177" y="53"/>
                </a:cubicBezTo>
                <a:cubicBezTo>
                  <a:pt x="178" y="52"/>
                  <a:pt x="178" y="52"/>
                  <a:pt x="178" y="52"/>
                </a:cubicBezTo>
                <a:cubicBezTo>
                  <a:pt x="178" y="52"/>
                  <a:pt x="178" y="52"/>
                  <a:pt x="178" y="52"/>
                </a:cubicBezTo>
                <a:cubicBezTo>
                  <a:pt x="179" y="52"/>
                  <a:pt x="179" y="52"/>
                  <a:pt x="179" y="52"/>
                </a:cubicBezTo>
                <a:cubicBezTo>
                  <a:pt x="179" y="53"/>
                  <a:pt x="179" y="53"/>
                  <a:pt x="179" y="53"/>
                </a:cubicBezTo>
                <a:cubicBezTo>
                  <a:pt x="178" y="54"/>
                  <a:pt x="178" y="54"/>
                  <a:pt x="178" y="54"/>
                </a:cubicBezTo>
                <a:cubicBezTo>
                  <a:pt x="177" y="53"/>
                  <a:pt x="177" y="53"/>
                  <a:pt x="177" y="53"/>
                </a:cubicBezTo>
                <a:cubicBezTo>
                  <a:pt x="177" y="54"/>
                  <a:pt x="177" y="54"/>
                  <a:pt x="177" y="54"/>
                </a:cubicBezTo>
                <a:cubicBezTo>
                  <a:pt x="176" y="53"/>
                  <a:pt x="176" y="53"/>
                  <a:pt x="176" y="53"/>
                </a:cubicBezTo>
                <a:cubicBezTo>
                  <a:pt x="175" y="54"/>
                  <a:pt x="175" y="54"/>
                  <a:pt x="175" y="54"/>
                </a:cubicBezTo>
                <a:cubicBezTo>
                  <a:pt x="174" y="53"/>
                  <a:pt x="174" y="53"/>
                  <a:pt x="174" y="53"/>
                </a:cubicBezTo>
                <a:cubicBezTo>
                  <a:pt x="174" y="52"/>
                  <a:pt x="174" y="52"/>
                  <a:pt x="174" y="52"/>
                </a:cubicBezTo>
                <a:close/>
                <a:moveTo>
                  <a:pt x="167" y="46"/>
                </a:moveTo>
                <a:cubicBezTo>
                  <a:pt x="168" y="46"/>
                  <a:pt x="168" y="46"/>
                  <a:pt x="168" y="46"/>
                </a:cubicBezTo>
                <a:cubicBezTo>
                  <a:pt x="168" y="46"/>
                  <a:pt x="168" y="46"/>
                  <a:pt x="168" y="46"/>
                </a:cubicBezTo>
                <a:cubicBezTo>
                  <a:pt x="168" y="46"/>
                  <a:pt x="167" y="46"/>
                  <a:pt x="167" y="46"/>
                </a:cubicBezTo>
                <a:close/>
                <a:moveTo>
                  <a:pt x="166" y="46"/>
                </a:moveTo>
                <a:cubicBezTo>
                  <a:pt x="167" y="46"/>
                  <a:pt x="167" y="46"/>
                  <a:pt x="167" y="46"/>
                </a:cubicBezTo>
                <a:cubicBezTo>
                  <a:pt x="168" y="47"/>
                  <a:pt x="168" y="47"/>
                  <a:pt x="168" y="47"/>
                </a:cubicBezTo>
                <a:cubicBezTo>
                  <a:pt x="167" y="47"/>
                  <a:pt x="167" y="47"/>
                  <a:pt x="167" y="47"/>
                </a:cubicBezTo>
                <a:cubicBezTo>
                  <a:pt x="166" y="46"/>
                  <a:pt x="166" y="46"/>
                  <a:pt x="166" y="46"/>
                </a:cubicBezTo>
                <a:close/>
                <a:moveTo>
                  <a:pt x="158" y="41"/>
                </a:moveTo>
                <a:cubicBezTo>
                  <a:pt x="160" y="40"/>
                  <a:pt x="160" y="40"/>
                  <a:pt x="160" y="40"/>
                </a:cubicBezTo>
                <a:cubicBezTo>
                  <a:pt x="162" y="41"/>
                  <a:pt x="162" y="41"/>
                  <a:pt x="162" y="41"/>
                </a:cubicBezTo>
                <a:cubicBezTo>
                  <a:pt x="164" y="41"/>
                  <a:pt x="164" y="41"/>
                  <a:pt x="164" y="41"/>
                </a:cubicBezTo>
                <a:cubicBezTo>
                  <a:pt x="166" y="40"/>
                  <a:pt x="166" y="40"/>
                  <a:pt x="166" y="40"/>
                </a:cubicBezTo>
                <a:cubicBezTo>
                  <a:pt x="167" y="40"/>
                  <a:pt x="167" y="40"/>
                  <a:pt x="167" y="40"/>
                </a:cubicBezTo>
                <a:cubicBezTo>
                  <a:pt x="168" y="41"/>
                  <a:pt x="168" y="41"/>
                  <a:pt x="168" y="41"/>
                </a:cubicBezTo>
                <a:cubicBezTo>
                  <a:pt x="169" y="41"/>
                  <a:pt x="169" y="41"/>
                  <a:pt x="169" y="41"/>
                </a:cubicBezTo>
                <a:cubicBezTo>
                  <a:pt x="170" y="41"/>
                  <a:pt x="170" y="41"/>
                  <a:pt x="170" y="41"/>
                </a:cubicBezTo>
                <a:cubicBezTo>
                  <a:pt x="173" y="41"/>
                  <a:pt x="173" y="41"/>
                  <a:pt x="173" y="41"/>
                </a:cubicBezTo>
                <a:cubicBezTo>
                  <a:pt x="174" y="41"/>
                  <a:pt x="174" y="41"/>
                  <a:pt x="174" y="41"/>
                </a:cubicBezTo>
                <a:cubicBezTo>
                  <a:pt x="174" y="40"/>
                  <a:pt x="174" y="40"/>
                  <a:pt x="174" y="40"/>
                </a:cubicBezTo>
                <a:cubicBezTo>
                  <a:pt x="176" y="40"/>
                  <a:pt x="176" y="40"/>
                  <a:pt x="176" y="40"/>
                </a:cubicBezTo>
                <a:cubicBezTo>
                  <a:pt x="177" y="41"/>
                  <a:pt x="177" y="41"/>
                  <a:pt x="177" y="41"/>
                </a:cubicBezTo>
                <a:cubicBezTo>
                  <a:pt x="177" y="42"/>
                  <a:pt x="177" y="42"/>
                  <a:pt x="177" y="42"/>
                </a:cubicBezTo>
                <a:cubicBezTo>
                  <a:pt x="178" y="42"/>
                  <a:pt x="178" y="42"/>
                  <a:pt x="178" y="42"/>
                </a:cubicBezTo>
                <a:cubicBezTo>
                  <a:pt x="183" y="41"/>
                  <a:pt x="183" y="41"/>
                  <a:pt x="183" y="41"/>
                </a:cubicBezTo>
                <a:cubicBezTo>
                  <a:pt x="185" y="40"/>
                  <a:pt x="185" y="40"/>
                  <a:pt x="185" y="40"/>
                </a:cubicBezTo>
                <a:cubicBezTo>
                  <a:pt x="186" y="38"/>
                  <a:pt x="186" y="38"/>
                  <a:pt x="186" y="38"/>
                </a:cubicBezTo>
                <a:cubicBezTo>
                  <a:pt x="187" y="38"/>
                  <a:pt x="187" y="38"/>
                  <a:pt x="187" y="38"/>
                </a:cubicBezTo>
                <a:cubicBezTo>
                  <a:pt x="187" y="38"/>
                  <a:pt x="187" y="38"/>
                  <a:pt x="187" y="38"/>
                </a:cubicBezTo>
                <a:cubicBezTo>
                  <a:pt x="188" y="37"/>
                  <a:pt x="188" y="37"/>
                  <a:pt x="188" y="37"/>
                </a:cubicBezTo>
                <a:cubicBezTo>
                  <a:pt x="188" y="36"/>
                  <a:pt x="188" y="36"/>
                  <a:pt x="188" y="36"/>
                </a:cubicBezTo>
                <a:cubicBezTo>
                  <a:pt x="189" y="35"/>
                  <a:pt x="189" y="35"/>
                  <a:pt x="189" y="35"/>
                </a:cubicBezTo>
                <a:cubicBezTo>
                  <a:pt x="190" y="35"/>
                  <a:pt x="190" y="35"/>
                  <a:pt x="190" y="35"/>
                </a:cubicBezTo>
                <a:cubicBezTo>
                  <a:pt x="189" y="34"/>
                  <a:pt x="189" y="34"/>
                  <a:pt x="189" y="34"/>
                </a:cubicBezTo>
                <a:cubicBezTo>
                  <a:pt x="189" y="33"/>
                  <a:pt x="189" y="33"/>
                  <a:pt x="189" y="33"/>
                </a:cubicBezTo>
                <a:cubicBezTo>
                  <a:pt x="187" y="33"/>
                  <a:pt x="187" y="33"/>
                  <a:pt x="187" y="33"/>
                </a:cubicBezTo>
                <a:cubicBezTo>
                  <a:pt x="186" y="33"/>
                  <a:pt x="186" y="33"/>
                  <a:pt x="186" y="33"/>
                </a:cubicBezTo>
                <a:cubicBezTo>
                  <a:pt x="186" y="34"/>
                  <a:pt x="186" y="34"/>
                  <a:pt x="186" y="34"/>
                </a:cubicBezTo>
                <a:cubicBezTo>
                  <a:pt x="185" y="35"/>
                  <a:pt x="185" y="35"/>
                  <a:pt x="185" y="35"/>
                </a:cubicBezTo>
                <a:cubicBezTo>
                  <a:pt x="185" y="36"/>
                  <a:pt x="185" y="36"/>
                  <a:pt x="185" y="36"/>
                </a:cubicBezTo>
                <a:cubicBezTo>
                  <a:pt x="183" y="37"/>
                  <a:pt x="183" y="37"/>
                  <a:pt x="183" y="37"/>
                </a:cubicBezTo>
                <a:cubicBezTo>
                  <a:pt x="182" y="37"/>
                  <a:pt x="182" y="37"/>
                  <a:pt x="182" y="37"/>
                </a:cubicBezTo>
                <a:cubicBezTo>
                  <a:pt x="182" y="38"/>
                  <a:pt x="182" y="38"/>
                  <a:pt x="182" y="38"/>
                </a:cubicBezTo>
                <a:cubicBezTo>
                  <a:pt x="180" y="38"/>
                  <a:pt x="180" y="38"/>
                  <a:pt x="180" y="38"/>
                </a:cubicBezTo>
                <a:cubicBezTo>
                  <a:pt x="177" y="38"/>
                  <a:pt x="177" y="38"/>
                  <a:pt x="177" y="38"/>
                </a:cubicBezTo>
                <a:cubicBezTo>
                  <a:pt x="175" y="37"/>
                  <a:pt x="175" y="37"/>
                  <a:pt x="175" y="37"/>
                </a:cubicBezTo>
                <a:cubicBezTo>
                  <a:pt x="174" y="38"/>
                  <a:pt x="174" y="38"/>
                  <a:pt x="174" y="38"/>
                </a:cubicBezTo>
                <a:cubicBezTo>
                  <a:pt x="174" y="38"/>
                  <a:pt x="174" y="38"/>
                  <a:pt x="174" y="38"/>
                </a:cubicBezTo>
                <a:cubicBezTo>
                  <a:pt x="172" y="37"/>
                  <a:pt x="172" y="37"/>
                  <a:pt x="172" y="37"/>
                </a:cubicBezTo>
                <a:cubicBezTo>
                  <a:pt x="171" y="37"/>
                  <a:pt x="171" y="37"/>
                  <a:pt x="171" y="37"/>
                </a:cubicBezTo>
                <a:cubicBezTo>
                  <a:pt x="170" y="37"/>
                  <a:pt x="170" y="37"/>
                  <a:pt x="170" y="37"/>
                </a:cubicBezTo>
                <a:cubicBezTo>
                  <a:pt x="169" y="37"/>
                  <a:pt x="169" y="37"/>
                  <a:pt x="169" y="37"/>
                </a:cubicBezTo>
                <a:cubicBezTo>
                  <a:pt x="168" y="36"/>
                  <a:pt x="168" y="36"/>
                  <a:pt x="168" y="36"/>
                </a:cubicBezTo>
                <a:cubicBezTo>
                  <a:pt x="167" y="37"/>
                  <a:pt x="167" y="37"/>
                  <a:pt x="167" y="37"/>
                </a:cubicBezTo>
                <a:cubicBezTo>
                  <a:pt x="166" y="36"/>
                  <a:pt x="166" y="36"/>
                  <a:pt x="166" y="36"/>
                </a:cubicBezTo>
                <a:cubicBezTo>
                  <a:pt x="165" y="35"/>
                  <a:pt x="165" y="35"/>
                  <a:pt x="165" y="35"/>
                </a:cubicBezTo>
                <a:cubicBezTo>
                  <a:pt x="163" y="35"/>
                  <a:pt x="163" y="35"/>
                  <a:pt x="163" y="35"/>
                </a:cubicBezTo>
                <a:cubicBezTo>
                  <a:pt x="162" y="35"/>
                  <a:pt x="162" y="35"/>
                  <a:pt x="162" y="35"/>
                </a:cubicBezTo>
                <a:cubicBezTo>
                  <a:pt x="162" y="36"/>
                  <a:pt x="162" y="36"/>
                  <a:pt x="162" y="36"/>
                </a:cubicBezTo>
                <a:cubicBezTo>
                  <a:pt x="161" y="37"/>
                  <a:pt x="161" y="37"/>
                  <a:pt x="161" y="37"/>
                </a:cubicBezTo>
                <a:cubicBezTo>
                  <a:pt x="160" y="38"/>
                  <a:pt x="160" y="38"/>
                  <a:pt x="160" y="38"/>
                </a:cubicBezTo>
                <a:cubicBezTo>
                  <a:pt x="159" y="39"/>
                  <a:pt x="159" y="39"/>
                  <a:pt x="159" y="39"/>
                </a:cubicBezTo>
                <a:cubicBezTo>
                  <a:pt x="158" y="38"/>
                  <a:pt x="158" y="38"/>
                  <a:pt x="158" y="38"/>
                </a:cubicBezTo>
                <a:cubicBezTo>
                  <a:pt x="156" y="39"/>
                  <a:pt x="156" y="39"/>
                  <a:pt x="156" y="39"/>
                </a:cubicBezTo>
                <a:cubicBezTo>
                  <a:pt x="156" y="39"/>
                  <a:pt x="156" y="39"/>
                  <a:pt x="156" y="39"/>
                </a:cubicBezTo>
                <a:cubicBezTo>
                  <a:pt x="156" y="40"/>
                  <a:pt x="156" y="40"/>
                  <a:pt x="156" y="40"/>
                </a:cubicBezTo>
                <a:cubicBezTo>
                  <a:pt x="154" y="41"/>
                  <a:pt x="154" y="41"/>
                  <a:pt x="154" y="41"/>
                </a:cubicBezTo>
                <a:cubicBezTo>
                  <a:pt x="154" y="43"/>
                  <a:pt x="154" y="43"/>
                  <a:pt x="154" y="43"/>
                </a:cubicBezTo>
                <a:cubicBezTo>
                  <a:pt x="154" y="44"/>
                  <a:pt x="154" y="44"/>
                  <a:pt x="154" y="44"/>
                </a:cubicBezTo>
                <a:cubicBezTo>
                  <a:pt x="154" y="46"/>
                  <a:pt x="154" y="46"/>
                  <a:pt x="154" y="46"/>
                </a:cubicBezTo>
                <a:cubicBezTo>
                  <a:pt x="154" y="47"/>
                  <a:pt x="154" y="47"/>
                  <a:pt x="154" y="47"/>
                </a:cubicBezTo>
                <a:cubicBezTo>
                  <a:pt x="155" y="48"/>
                  <a:pt x="155" y="48"/>
                  <a:pt x="155" y="48"/>
                </a:cubicBezTo>
                <a:cubicBezTo>
                  <a:pt x="155" y="50"/>
                  <a:pt x="155" y="50"/>
                  <a:pt x="155" y="50"/>
                </a:cubicBezTo>
                <a:cubicBezTo>
                  <a:pt x="154" y="49"/>
                  <a:pt x="154" y="49"/>
                  <a:pt x="154" y="49"/>
                </a:cubicBezTo>
                <a:cubicBezTo>
                  <a:pt x="154" y="48"/>
                  <a:pt x="154" y="48"/>
                  <a:pt x="154" y="48"/>
                </a:cubicBezTo>
                <a:cubicBezTo>
                  <a:pt x="153" y="48"/>
                  <a:pt x="153" y="48"/>
                  <a:pt x="153" y="48"/>
                </a:cubicBezTo>
                <a:cubicBezTo>
                  <a:pt x="152" y="49"/>
                  <a:pt x="152" y="49"/>
                  <a:pt x="152" y="49"/>
                </a:cubicBezTo>
                <a:cubicBezTo>
                  <a:pt x="151" y="50"/>
                  <a:pt x="151" y="50"/>
                  <a:pt x="151" y="50"/>
                </a:cubicBezTo>
                <a:cubicBezTo>
                  <a:pt x="151" y="51"/>
                  <a:pt x="151" y="51"/>
                  <a:pt x="151" y="51"/>
                </a:cubicBezTo>
                <a:cubicBezTo>
                  <a:pt x="151" y="52"/>
                  <a:pt x="151" y="52"/>
                  <a:pt x="151" y="52"/>
                </a:cubicBezTo>
                <a:cubicBezTo>
                  <a:pt x="151" y="53"/>
                  <a:pt x="151" y="53"/>
                  <a:pt x="151" y="53"/>
                </a:cubicBezTo>
                <a:cubicBezTo>
                  <a:pt x="151" y="56"/>
                  <a:pt x="151" y="56"/>
                  <a:pt x="151" y="56"/>
                </a:cubicBezTo>
                <a:cubicBezTo>
                  <a:pt x="151" y="57"/>
                  <a:pt x="151" y="57"/>
                  <a:pt x="151" y="57"/>
                </a:cubicBezTo>
                <a:cubicBezTo>
                  <a:pt x="151" y="58"/>
                  <a:pt x="151" y="58"/>
                  <a:pt x="151" y="58"/>
                </a:cubicBezTo>
                <a:cubicBezTo>
                  <a:pt x="150" y="58"/>
                  <a:pt x="150" y="58"/>
                  <a:pt x="150" y="58"/>
                </a:cubicBezTo>
                <a:cubicBezTo>
                  <a:pt x="150" y="60"/>
                  <a:pt x="150" y="60"/>
                  <a:pt x="150" y="60"/>
                </a:cubicBezTo>
                <a:cubicBezTo>
                  <a:pt x="148" y="61"/>
                  <a:pt x="148" y="61"/>
                  <a:pt x="148" y="61"/>
                </a:cubicBezTo>
                <a:cubicBezTo>
                  <a:pt x="148" y="62"/>
                  <a:pt x="148" y="62"/>
                  <a:pt x="148" y="62"/>
                </a:cubicBezTo>
                <a:cubicBezTo>
                  <a:pt x="148" y="63"/>
                  <a:pt x="148" y="63"/>
                  <a:pt x="148" y="63"/>
                </a:cubicBezTo>
                <a:cubicBezTo>
                  <a:pt x="148" y="64"/>
                  <a:pt x="148" y="64"/>
                  <a:pt x="148" y="64"/>
                </a:cubicBezTo>
                <a:cubicBezTo>
                  <a:pt x="148" y="66"/>
                  <a:pt x="148" y="66"/>
                  <a:pt x="148" y="66"/>
                </a:cubicBezTo>
                <a:cubicBezTo>
                  <a:pt x="149" y="67"/>
                  <a:pt x="149" y="67"/>
                  <a:pt x="149" y="67"/>
                </a:cubicBezTo>
                <a:cubicBezTo>
                  <a:pt x="150" y="66"/>
                  <a:pt x="150" y="66"/>
                  <a:pt x="150" y="66"/>
                </a:cubicBezTo>
                <a:cubicBezTo>
                  <a:pt x="150" y="66"/>
                  <a:pt x="150" y="66"/>
                  <a:pt x="150" y="66"/>
                </a:cubicBezTo>
                <a:cubicBezTo>
                  <a:pt x="151" y="66"/>
                  <a:pt x="151" y="66"/>
                  <a:pt x="151" y="66"/>
                </a:cubicBezTo>
                <a:cubicBezTo>
                  <a:pt x="152" y="66"/>
                  <a:pt x="152" y="66"/>
                  <a:pt x="152" y="66"/>
                </a:cubicBezTo>
                <a:cubicBezTo>
                  <a:pt x="152" y="68"/>
                  <a:pt x="152" y="68"/>
                  <a:pt x="152" y="68"/>
                </a:cubicBezTo>
                <a:cubicBezTo>
                  <a:pt x="153" y="71"/>
                  <a:pt x="153" y="71"/>
                  <a:pt x="153" y="71"/>
                </a:cubicBezTo>
                <a:cubicBezTo>
                  <a:pt x="153" y="71"/>
                  <a:pt x="153" y="71"/>
                  <a:pt x="153" y="71"/>
                </a:cubicBezTo>
                <a:cubicBezTo>
                  <a:pt x="152" y="73"/>
                  <a:pt x="152" y="73"/>
                  <a:pt x="152" y="73"/>
                </a:cubicBezTo>
                <a:cubicBezTo>
                  <a:pt x="152" y="74"/>
                  <a:pt x="152" y="74"/>
                  <a:pt x="152" y="74"/>
                </a:cubicBezTo>
                <a:cubicBezTo>
                  <a:pt x="151" y="77"/>
                  <a:pt x="151" y="77"/>
                  <a:pt x="151" y="77"/>
                </a:cubicBezTo>
                <a:cubicBezTo>
                  <a:pt x="152" y="79"/>
                  <a:pt x="152" y="79"/>
                  <a:pt x="152" y="79"/>
                </a:cubicBezTo>
                <a:cubicBezTo>
                  <a:pt x="152" y="79"/>
                  <a:pt x="152" y="79"/>
                  <a:pt x="152" y="79"/>
                </a:cubicBezTo>
                <a:cubicBezTo>
                  <a:pt x="153" y="80"/>
                  <a:pt x="153" y="80"/>
                  <a:pt x="153" y="80"/>
                </a:cubicBezTo>
                <a:cubicBezTo>
                  <a:pt x="154" y="80"/>
                  <a:pt x="154" y="80"/>
                  <a:pt x="154" y="80"/>
                </a:cubicBezTo>
                <a:cubicBezTo>
                  <a:pt x="155" y="79"/>
                  <a:pt x="155" y="79"/>
                  <a:pt x="155" y="79"/>
                </a:cubicBezTo>
                <a:cubicBezTo>
                  <a:pt x="156" y="79"/>
                  <a:pt x="156" y="79"/>
                  <a:pt x="156" y="79"/>
                </a:cubicBezTo>
                <a:cubicBezTo>
                  <a:pt x="157" y="79"/>
                  <a:pt x="157" y="79"/>
                  <a:pt x="157" y="79"/>
                </a:cubicBezTo>
                <a:cubicBezTo>
                  <a:pt x="158" y="80"/>
                  <a:pt x="158" y="80"/>
                  <a:pt x="158" y="80"/>
                </a:cubicBezTo>
                <a:cubicBezTo>
                  <a:pt x="158" y="79"/>
                  <a:pt x="158" y="79"/>
                  <a:pt x="158" y="79"/>
                </a:cubicBezTo>
                <a:cubicBezTo>
                  <a:pt x="158" y="78"/>
                  <a:pt x="158" y="78"/>
                  <a:pt x="158" y="78"/>
                </a:cubicBezTo>
                <a:cubicBezTo>
                  <a:pt x="157" y="77"/>
                  <a:pt x="157" y="77"/>
                  <a:pt x="157" y="77"/>
                </a:cubicBezTo>
                <a:cubicBezTo>
                  <a:pt x="157" y="75"/>
                  <a:pt x="157" y="75"/>
                  <a:pt x="157" y="75"/>
                </a:cubicBezTo>
                <a:cubicBezTo>
                  <a:pt x="158" y="74"/>
                  <a:pt x="158" y="74"/>
                  <a:pt x="158" y="74"/>
                </a:cubicBezTo>
                <a:cubicBezTo>
                  <a:pt x="158" y="72"/>
                  <a:pt x="158" y="72"/>
                  <a:pt x="158" y="72"/>
                </a:cubicBezTo>
                <a:cubicBezTo>
                  <a:pt x="158" y="70"/>
                  <a:pt x="158" y="70"/>
                  <a:pt x="158" y="70"/>
                </a:cubicBezTo>
                <a:cubicBezTo>
                  <a:pt x="157" y="70"/>
                  <a:pt x="157" y="70"/>
                  <a:pt x="157" y="70"/>
                </a:cubicBezTo>
                <a:cubicBezTo>
                  <a:pt x="159" y="68"/>
                  <a:pt x="159" y="68"/>
                  <a:pt x="159" y="68"/>
                </a:cubicBezTo>
                <a:cubicBezTo>
                  <a:pt x="159" y="66"/>
                  <a:pt x="159" y="66"/>
                  <a:pt x="159" y="66"/>
                </a:cubicBezTo>
                <a:cubicBezTo>
                  <a:pt x="159" y="64"/>
                  <a:pt x="159" y="64"/>
                  <a:pt x="159" y="64"/>
                </a:cubicBezTo>
                <a:cubicBezTo>
                  <a:pt x="158" y="63"/>
                  <a:pt x="158" y="63"/>
                  <a:pt x="158" y="63"/>
                </a:cubicBezTo>
                <a:cubicBezTo>
                  <a:pt x="158" y="63"/>
                  <a:pt x="158" y="63"/>
                  <a:pt x="158" y="63"/>
                </a:cubicBezTo>
                <a:cubicBezTo>
                  <a:pt x="159" y="62"/>
                  <a:pt x="159" y="62"/>
                  <a:pt x="159" y="62"/>
                </a:cubicBezTo>
                <a:cubicBezTo>
                  <a:pt x="160" y="61"/>
                  <a:pt x="160" y="61"/>
                  <a:pt x="160" y="61"/>
                </a:cubicBezTo>
                <a:cubicBezTo>
                  <a:pt x="161" y="61"/>
                  <a:pt x="161" y="61"/>
                  <a:pt x="161" y="61"/>
                </a:cubicBezTo>
                <a:cubicBezTo>
                  <a:pt x="162" y="61"/>
                  <a:pt x="162" y="61"/>
                  <a:pt x="162" y="61"/>
                </a:cubicBezTo>
                <a:cubicBezTo>
                  <a:pt x="162" y="62"/>
                  <a:pt x="162" y="62"/>
                  <a:pt x="162" y="62"/>
                </a:cubicBezTo>
                <a:cubicBezTo>
                  <a:pt x="163" y="63"/>
                  <a:pt x="163" y="63"/>
                  <a:pt x="163" y="63"/>
                </a:cubicBezTo>
                <a:cubicBezTo>
                  <a:pt x="163" y="64"/>
                  <a:pt x="163" y="64"/>
                  <a:pt x="163" y="64"/>
                </a:cubicBezTo>
                <a:cubicBezTo>
                  <a:pt x="162" y="65"/>
                  <a:pt x="162" y="65"/>
                  <a:pt x="162" y="65"/>
                </a:cubicBezTo>
                <a:cubicBezTo>
                  <a:pt x="161" y="67"/>
                  <a:pt x="161" y="67"/>
                  <a:pt x="161" y="67"/>
                </a:cubicBezTo>
                <a:cubicBezTo>
                  <a:pt x="162" y="68"/>
                  <a:pt x="162" y="68"/>
                  <a:pt x="162" y="68"/>
                </a:cubicBezTo>
                <a:cubicBezTo>
                  <a:pt x="163" y="68"/>
                  <a:pt x="163" y="68"/>
                  <a:pt x="163" y="68"/>
                </a:cubicBezTo>
                <a:cubicBezTo>
                  <a:pt x="164" y="69"/>
                  <a:pt x="164" y="69"/>
                  <a:pt x="164" y="69"/>
                </a:cubicBezTo>
                <a:cubicBezTo>
                  <a:pt x="165" y="70"/>
                  <a:pt x="165" y="70"/>
                  <a:pt x="165" y="70"/>
                </a:cubicBezTo>
                <a:cubicBezTo>
                  <a:pt x="165" y="71"/>
                  <a:pt x="165" y="71"/>
                  <a:pt x="165" y="71"/>
                </a:cubicBezTo>
                <a:cubicBezTo>
                  <a:pt x="165" y="71"/>
                  <a:pt x="165" y="71"/>
                  <a:pt x="165" y="71"/>
                </a:cubicBezTo>
                <a:cubicBezTo>
                  <a:pt x="165" y="73"/>
                  <a:pt x="165" y="73"/>
                  <a:pt x="165" y="73"/>
                </a:cubicBezTo>
                <a:cubicBezTo>
                  <a:pt x="165" y="74"/>
                  <a:pt x="165" y="74"/>
                  <a:pt x="165" y="74"/>
                </a:cubicBezTo>
                <a:cubicBezTo>
                  <a:pt x="166" y="75"/>
                  <a:pt x="166" y="75"/>
                  <a:pt x="166" y="75"/>
                </a:cubicBezTo>
                <a:cubicBezTo>
                  <a:pt x="167" y="75"/>
                  <a:pt x="167" y="75"/>
                  <a:pt x="167" y="75"/>
                </a:cubicBezTo>
                <a:cubicBezTo>
                  <a:pt x="168" y="75"/>
                  <a:pt x="168" y="75"/>
                  <a:pt x="168" y="75"/>
                </a:cubicBezTo>
                <a:cubicBezTo>
                  <a:pt x="169" y="75"/>
                  <a:pt x="169" y="75"/>
                  <a:pt x="169" y="75"/>
                </a:cubicBezTo>
                <a:cubicBezTo>
                  <a:pt x="169" y="74"/>
                  <a:pt x="169" y="74"/>
                  <a:pt x="169" y="74"/>
                </a:cubicBezTo>
                <a:cubicBezTo>
                  <a:pt x="169" y="74"/>
                  <a:pt x="169" y="74"/>
                  <a:pt x="169" y="74"/>
                </a:cubicBezTo>
                <a:cubicBezTo>
                  <a:pt x="170" y="73"/>
                  <a:pt x="170" y="73"/>
                  <a:pt x="170" y="73"/>
                </a:cubicBezTo>
                <a:cubicBezTo>
                  <a:pt x="171" y="72"/>
                  <a:pt x="171" y="72"/>
                  <a:pt x="171" y="72"/>
                </a:cubicBezTo>
                <a:cubicBezTo>
                  <a:pt x="172" y="71"/>
                  <a:pt x="172" y="71"/>
                  <a:pt x="172" y="71"/>
                </a:cubicBezTo>
                <a:cubicBezTo>
                  <a:pt x="174" y="72"/>
                  <a:pt x="174" y="72"/>
                  <a:pt x="174" y="72"/>
                </a:cubicBezTo>
                <a:cubicBezTo>
                  <a:pt x="175" y="71"/>
                  <a:pt x="175" y="71"/>
                  <a:pt x="175" y="71"/>
                </a:cubicBezTo>
                <a:cubicBezTo>
                  <a:pt x="175" y="71"/>
                  <a:pt x="175" y="71"/>
                  <a:pt x="175" y="71"/>
                </a:cubicBezTo>
                <a:cubicBezTo>
                  <a:pt x="176" y="71"/>
                  <a:pt x="176" y="71"/>
                  <a:pt x="176" y="71"/>
                </a:cubicBezTo>
                <a:cubicBezTo>
                  <a:pt x="177" y="70"/>
                  <a:pt x="177" y="70"/>
                  <a:pt x="177" y="70"/>
                </a:cubicBezTo>
                <a:cubicBezTo>
                  <a:pt x="177" y="70"/>
                  <a:pt x="177" y="70"/>
                  <a:pt x="177" y="70"/>
                </a:cubicBezTo>
                <a:cubicBezTo>
                  <a:pt x="175" y="70"/>
                  <a:pt x="175" y="70"/>
                  <a:pt x="175" y="70"/>
                </a:cubicBezTo>
                <a:cubicBezTo>
                  <a:pt x="174" y="70"/>
                  <a:pt x="174" y="70"/>
                  <a:pt x="174" y="70"/>
                </a:cubicBezTo>
                <a:cubicBezTo>
                  <a:pt x="174" y="70"/>
                  <a:pt x="174" y="70"/>
                  <a:pt x="174" y="70"/>
                </a:cubicBezTo>
                <a:cubicBezTo>
                  <a:pt x="173" y="70"/>
                  <a:pt x="173" y="70"/>
                  <a:pt x="173" y="70"/>
                </a:cubicBezTo>
                <a:cubicBezTo>
                  <a:pt x="173" y="69"/>
                  <a:pt x="173" y="69"/>
                  <a:pt x="173" y="69"/>
                </a:cubicBezTo>
                <a:cubicBezTo>
                  <a:pt x="172" y="69"/>
                  <a:pt x="172" y="69"/>
                  <a:pt x="172" y="69"/>
                </a:cubicBezTo>
                <a:cubicBezTo>
                  <a:pt x="172" y="68"/>
                  <a:pt x="172" y="68"/>
                  <a:pt x="172" y="68"/>
                </a:cubicBezTo>
                <a:cubicBezTo>
                  <a:pt x="172" y="68"/>
                  <a:pt x="172" y="68"/>
                  <a:pt x="172" y="68"/>
                </a:cubicBezTo>
                <a:cubicBezTo>
                  <a:pt x="171" y="68"/>
                  <a:pt x="171" y="68"/>
                  <a:pt x="171" y="68"/>
                </a:cubicBezTo>
                <a:cubicBezTo>
                  <a:pt x="171" y="68"/>
                  <a:pt x="171" y="68"/>
                  <a:pt x="171" y="68"/>
                </a:cubicBezTo>
                <a:cubicBezTo>
                  <a:pt x="170" y="67"/>
                  <a:pt x="170" y="67"/>
                  <a:pt x="170" y="67"/>
                </a:cubicBezTo>
                <a:cubicBezTo>
                  <a:pt x="169" y="67"/>
                  <a:pt x="169" y="67"/>
                  <a:pt x="169" y="67"/>
                </a:cubicBezTo>
                <a:cubicBezTo>
                  <a:pt x="170" y="66"/>
                  <a:pt x="170" y="66"/>
                  <a:pt x="170" y="66"/>
                </a:cubicBezTo>
                <a:cubicBezTo>
                  <a:pt x="170" y="65"/>
                  <a:pt x="170" y="65"/>
                  <a:pt x="170" y="65"/>
                </a:cubicBezTo>
                <a:cubicBezTo>
                  <a:pt x="171" y="65"/>
                  <a:pt x="171" y="65"/>
                  <a:pt x="171" y="65"/>
                </a:cubicBezTo>
                <a:cubicBezTo>
                  <a:pt x="171" y="65"/>
                  <a:pt x="171" y="65"/>
                  <a:pt x="171" y="65"/>
                </a:cubicBezTo>
                <a:cubicBezTo>
                  <a:pt x="171" y="65"/>
                  <a:pt x="171" y="65"/>
                  <a:pt x="171" y="65"/>
                </a:cubicBezTo>
                <a:cubicBezTo>
                  <a:pt x="171" y="64"/>
                  <a:pt x="171" y="64"/>
                  <a:pt x="171" y="64"/>
                </a:cubicBezTo>
                <a:cubicBezTo>
                  <a:pt x="171" y="63"/>
                  <a:pt x="171" y="63"/>
                  <a:pt x="171" y="63"/>
                </a:cubicBezTo>
                <a:cubicBezTo>
                  <a:pt x="170" y="63"/>
                  <a:pt x="170" y="63"/>
                  <a:pt x="170" y="63"/>
                </a:cubicBezTo>
                <a:cubicBezTo>
                  <a:pt x="170" y="62"/>
                  <a:pt x="170" y="62"/>
                  <a:pt x="170" y="62"/>
                </a:cubicBezTo>
                <a:cubicBezTo>
                  <a:pt x="170" y="62"/>
                  <a:pt x="170" y="62"/>
                  <a:pt x="170" y="62"/>
                </a:cubicBezTo>
                <a:cubicBezTo>
                  <a:pt x="169" y="61"/>
                  <a:pt x="169" y="61"/>
                  <a:pt x="169" y="61"/>
                </a:cubicBezTo>
                <a:cubicBezTo>
                  <a:pt x="168" y="61"/>
                  <a:pt x="168" y="61"/>
                  <a:pt x="168" y="61"/>
                </a:cubicBezTo>
                <a:cubicBezTo>
                  <a:pt x="168" y="60"/>
                  <a:pt x="168" y="60"/>
                  <a:pt x="168" y="60"/>
                </a:cubicBezTo>
                <a:cubicBezTo>
                  <a:pt x="166" y="58"/>
                  <a:pt x="166" y="58"/>
                  <a:pt x="166" y="58"/>
                </a:cubicBezTo>
                <a:cubicBezTo>
                  <a:pt x="165" y="57"/>
                  <a:pt x="165" y="57"/>
                  <a:pt x="165" y="57"/>
                </a:cubicBezTo>
                <a:cubicBezTo>
                  <a:pt x="165" y="56"/>
                  <a:pt x="165" y="56"/>
                  <a:pt x="165" y="56"/>
                </a:cubicBezTo>
                <a:cubicBezTo>
                  <a:pt x="165" y="56"/>
                  <a:pt x="165" y="56"/>
                  <a:pt x="165" y="56"/>
                </a:cubicBezTo>
                <a:cubicBezTo>
                  <a:pt x="165" y="56"/>
                  <a:pt x="165" y="56"/>
                  <a:pt x="165" y="56"/>
                </a:cubicBezTo>
                <a:cubicBezTo>
                  <a:pt x="166" y="56"/>
                  <a:pt x="166" y="56"/>
                  <a:pt x="166" y="56"/>
                </a:cubicBezTo>
                <a:cubicBezTo>
                  <a:pt x="167" y="56"/>
                  <a:pt x="167" y="56"/>
                  <a:pt x="167" y="56"/>
                </a:cubicBezTo>
                <a:cubicBezTo>
                  <a:pt x="168" y="56"/>
                  <a:pt x="168" y="56"/>
                  <a:pt x="168" y="56"/>
                </a:cubicBezTo>
                <a:cubicBezTo>
                  <a:pt x="168" y="55"/>
                  <a:pt x="168" y="55"/>
                  <a:pt x="168" y="55"/>
                </a:cubicBezTo>
                <a:cubicBezTo>
                  <a:pt x="170" y="54"/>
                  <a:pt x="170" y="54"/>
                  <a:pt x="170" y="54"/>
                </a:cubicBezTo>
                <a:cubicBezTo>
                  <a:pt x="172" y="52"/>
                  <a:pt x="172" y="52"/>
                  <a:pt x="172" y="52"/>
                </a:cubicBezTo>
                <a:cubicBezTo>
                  <a:pt x="173" y="51"/>
                  <a:pt x="173" y="51"/>
                  <a:pt x="173" y="51"/>
                </a:cubicBezTo>
                <a:cubicBezTo>
                  <a:pt x="174" y="50"/>
                  <a:pt x="174" y="50"/>
                  <a:pt x="174" y="50"/>
                </a:cubicBezTo>
                <a:cubicBezTo>
                  <a:pt x="174" y="50"/>
                  <a:pt x="174" y="50"/>
                  <a:pt x="174" y="50"/>
                </a:cubicBezTo>
                <a:cubicBezTo>
                  <a:pt x="176" y="49"/>
                  <a:pt x="176" y="49"/>
                  <a:pt x="176" y="49"/>
                </a:cubicBezTo>
                <a:cubicBezTo>
                  <a:pt x="177" y="50"/>
                  <a:pt x="177" y="50"/>
                  <a:pt x="177" y="50"/>
                </a:cubicBezTo>
                <a:cubicBezTo>
                  <a:pt x="178" y="50"/>
                  <a:pt x="178" y="50"/>
                  <a:pt x="178" y="50"/>
                </a:cubicBezTo>
                <a:cubicBezTo>
                  <a:pt x="179" y="48"/>
                  <a:pt x="179" y="48"/>
                  <a:pt x="179" y="48"/>
                </a:cubicBezTo>
                <a:cubicBezTo>
                  <a:pt x="179" y="47"/>
                  <a:pt x="179" y="47"/>
                  <a:pt x="179" y="47"/>
                </a:cubicBezTo>
                <a:cubicBezTo>
                  <a:pt x="177" y="47"/>
                  <a:pt x="177" y="47"/>
                  <a:pt x="177" y="47"/>
                </a:cubicBezTo>
                <a:cubicBezTo>
                  <a:pt x="175" y="47"/>
                  <a:pt x="175" y="47"/>
                  <a:pt x="175" y="47"/>
                </a:cubicBezTo>
                <a:cubicBezTo>
                  <a:pt x="173" y="48"/>
                  <a:pt x="173" y="48"/>
                  <a:pt x="173" y="48"/>
                </a:cubicBezTo>
                <a:cubicBezTo>
                  <a:pt x="172" y="48"/>
                  <a:pt x="172" y="48"/>
                  <a:pt x="172" y="48"/>
                </a:cubicBezTo>
                <a:cubicBezTo>
                  <a:pt x="171" y="48"/>
                  <a:pt x="171" y="48"/>
                  <a:pt x="171" y="48"/>
                </a:cubicBezTo>
                <a:cubicBezTo>
                  <a:pt x="170" y="49"/>
                  <a:pt x="170" y="49"/>
                  <a:pt x="170" y="49"/>
                </a:cubicBezTo>
                <a:cubicBezTo>
                  <a:pt x="168" y="49"/>
                  <a:pt x="168" y="49"/>
                  <a:pt x="168" y="49"/>
                </a:cubicBezTo>
                <a:cubicBezTo>
                  <a:pt x="167" y="50"/>
                  <a:pt x="167" y="50"/>
                  <a:pt x="167" y="50"/>
                </a:cubicBezTo>
                <a:cubicBezTo>
                  <a:pt x="166" y="49"/>
                  <a:pt x="166" y="49"/>
                  <a:pt x="166" y="49"/>
                </a:cubicBezTo>
                <a:cubicBezTo>
                  <a:pt x="165" y="49"/>
                  <a:pt x="165" y="49"/>
                  <a:pt x="165" y="49"/>
                </a:cubicBezTo>
                <a:cubicBezTo>
                  <a:pt x="164" y="50"/>
                  <a:pt x="164" y="50"/>
                  <a:pt x="164" y="50"/>
                </a:cubicBezTo>
                <a:cubicBezTo>
                  <a:pt x="163" y="52"/>
                  <a:pt x="163" y="52"/>
                  <a:pt x="163" y="52"/>
                </a:cubicBezTo>
                <a:cubicBezTo>
                  <a:pt x="162" y="53"/>
                  <a:pt x="162" y="53"/>
                  <a:pt x="162" y="53"/>
                </a:cubicBezTo>
                <a:cubicBezTo>
                  <a:pt x="161" y="53"/>
                  <a:pt x="161" y="53"/>
                  <a:pt x="161" y="53"/>
                </a:cubicBezTo>
                <a:cubicBezTo>
                  <a:pt x="160" y="52"/>
                  <a:pt x="160" y="52"/>
                  <a:pt x="160" y="52"/>
                </a:cubicBezTo>
                <a:cubicBezTo>
                  <a:pt x="159" y="50"/>
                  <a:pt x="159" y="50"/>
                  <a:pt x="159" y="50"/>
                </a:cubicBezTo>
                <a:cubicBezTo>
                  <a:pt x="157" y="49"/>
                  <a:pt x="157" y="49"/>
                  <a:pt x="157" y="49"/>
                </a:cubicBezTo>
                <a:cubicBezTo>
                  <a:pt x="156" y="47"/>
                  <a:pt x="156" y="47"/>
                  <a:pt x="156" y="47"/>
                </a:cubicBezTo>
                <a:cubicBezTo>
                  <a:pt x="156" y="44"/>
                  <a:pt x="156" y="44"/>
                  <a:pt x="156" y="44"/>
                </a:cubicBezTo>
                <a:cubicBezTo>
                  <a:pt x="157" y="42"/>
                  <a:pt x="157" y="42"/>
                  <a:pt x="157" y="42"/>
                </a:cubicBezTo>
                <a:cubicBezTo>
                  <a:pt x="158" y="41"/>
                  <a:pt x="158" y="41"/>
                  <a:pt x="158" y="41"/>
                </a:cubicBezTo>
                <a:close/>
                <a:moveTo>
                  <a:pt x="160" y="0"/>
                </a:moveTo>
                <a:cubicBezTo>
                  <a:pt x="159" y="1"/>
                  <a:pt x="159" y="1"/>
                  <a:pt x="159" y="1"/>
                </a:cubicBezTo>
                <a:cubicBezTo>
                  <a:pt x="160" y="1"/>
                  <a:pt x="160" y="1"/>
                  <a:pt x="160" y="1"/>
                </a:cubicBezTo>
                <a:cubicBezTo>
                  <a:pt x="160" y="1"/>
                  <a:pt x="160" y="1"/>
                  <a:pt x="160" y="1"/>
                </a:cubicBezTo>
                <a:cubicBezTo>
                  <a:pt x="160" y="0"/>
                  <a:pt x="160" y="0"/>
                  <a:pt x="160" y="0"/>
                </a:cubicBezTo>
                <a:close/>
                <a:moveTo>
                  <a:pt x="161" y="4"/>
                </a:moveTo>
                <a:cubicBezTo>
                  <a:pt x="162" y="4"/>
                  <a:pt x="162" y="4"/>
                  <a:pt x="162" y="4"/>
                </a:cubicBezTo>
                <a:cubicBezTo>
                  <a:pt x="163" y="4"/>
                  <a:pt x="163" y="4"/>
                  <a:pt x="163" y="4"/>
                </a:cubicBezTo>
                <a:cubicBezTo>
                  <a:pt x="163" y="4"/>
                  <a:pt x="163" y="4"/>
                  <a:pt x="163" y="4"/>
                </a:cubicBezTo>
                <a:cubicBezTo>
                  <a:pt x="164" y="4"/>
                  <a:pt x="164" y="4"/>
                  <a:pt x="164" y="4"/>
                </a:cubicBezTo>
                <a:cubicBezTo>
                  <a:pt x="164" y="3"/>
                  <a:pt x="164" y="3"/>
                  <a:pt x="164" y="3"/>
                </a:cubicBezTo>
                <a:cubicBezTo>
                  <a:pt x="163" y="3"/>
                  <a:pt x="163" y="3"/>
                  <a:pt x="163" y="3"/>
                </a:cubicBezTo>
                <a:cubicBezTo>
                  <a:pt x="161" y="3"/>
                  <a:pt x="161" y="3"/>
                  <a:pt x="161" y="3"/>
                </a:cubicBezTo>
                <a:cubicBezTo>
                  <a:pt x="161" y="4"/>
                  <a:pt x="161" y="4"/>
                  <a:pt x="161" y="4"/>
                </a:cubicBezTo>
                <a:cubicBezTo>
                  <a:pt x="161" y="4"/>
                  <a:pt x="161" y="4"/>
                  <a:pt x="161" y="4"/>
                </a:cubicBezTo>
                <a:close/>
                <a:moveTo>
                  <a:pt x="152" y="11"/>
                </a:moveTo>
                <a:cubicBezTo>
                  <a:pt x="151" y="12"/>
                  <a:pt x="151" y="12"/>
                  <a:pt x="151" y="12"/>
                </a:cubicBezTo>
                <a:cubicBezTo>
                  <a:pt x="152" y="13"/>
                  <a:pt x="152" y="13"/>
                  <a:pt x="152" y="13"/>
                </a:cubicBezTo>
                <a:cubicBezTo>
                  <a:pt x="152" y="12"/>
                  <a:pt x="152" y="12"/>
                  <a:pt x="152" y="12"/>
                </a:cubicBezTo>
                <a:cubicBezTo>
                  <a:pt x="152" y="11"/>
                  <a:pt x="152" y="11"/>
                  <a:pt x="152" y="11"/>
                </a:cubicBezTo>
                <a:close/>
                <a:moveTo>
                  <a:pt x="154" y="9"/>
                </a:moveTo>
                <a:cubicBezTo>
                  <a:pt x="156" y="8"/>
                  <a:pt x="156" y="8"/>
                  <a:pt x="156" y="8"/>
                </a:cubicBezTo>
                <a:cubicBezTo>
                  <a:pt x="157" y="8"/>
                  <a:pt x="157" y="8"/>
                  <a:pt x="157" y="8"/>
                </a:cubicBezTo>
                <a:cubicBezTo>
                  <a:pt x="157" y="9"/>
                  <a:pt x="157" y="9"/>
                  <a:pt x="157" y="9"/>
                </a:cubicBezTo>
                <a:cubicBezTo>
                  <a:pt x="156" y="10"/>
                  <a:pt x="156" y="10"/>
                  <a:pt x="156" y="10"/>
                </a:cubicBezTo>
                <a:cubicBezTo>
                  <a:pt x="154" y="10"/>
                  <a:pt x="154" y="10"/>
                  <a:pt x="154" y="10"/>
                </a:cubicBezTo>
                <a:cubicBezTo>
                  <a:pt x="154" y="9"/>
                  <a:pt x="154" y="9"/>
                  <a:pt x="154" y="9"/>
                </a:cubicBezTo>
                <a:close/>
                <a:moveTo>
                  <a:pt x="141" y="16"/>
                </a:moveTo>
                <a:cubicBezTo>
                  <a:pt x="141" y="17"/>
                  <a:pt x="141" y="17"/>
                  <a:pt x="141" y="17"/>
                </a:cubicBezTo>
                <a:cubicBezTo>
                  <a:pt x="141" y="17"/>
                  <a:pt x="141" y="17"/>
                  <a:pt x="141" y="17"/>
                </a:cubicBezTo>
                <a:cubicBezTo>
                  <a:pt x="141" y="16"/>
                  <a:pt x="141" y="16"/>
                  <a:pt x="141" y="16"/>
                </a:cubicBezTo>
                <a:close/>
                <a:moveTo>
                  <a:pt x="141" y="16"/>
                </a:moveTo>
                <a:cubicBezTo>
                  <a:pt x="141" y="16"/>
                  <a:pt x="141" y="16"/>
                  <a:pt x="141" y="16"/>
                </a:cubicBezTo>
                <a:cubicBezTo>
                  <a:pt x="141" y="16"/>
                  <a:pt x="141" y="16"/>
                  <a:pt x="141" y="16"/>
                </a:cubicBezTo>
                <a:cubicBezTo>
                  <a:pt x="142" y="17"/>
                  <a:pt x="142" y="17"/>
                  <a:pt x="142" y="17"/>
                </a:cubicBezTo>
                <a:cubicBezTo>
                  <a:pt x="142" y="16"/>
                  <a:pt x="142" y="16"/>
                  <a:pt x="142" y="16"/>
                </a:cubicBezTo>
                <a:cubicBezTo>
                  <a:pt x="141" y="16"/>
                  <a:pt x="141" y="16"/>
                  <a:pt x="141" y="16"/>
                </a:cubicBezTo>
                <a:close/>
                <a:moveTo>
                  <a:pt x="142" y="19"/>
                </a:moveTo>
                <a:cubicBezTo>
                  <a:pt x="140" y="19"/>
                  <a:pt x="140" y="19"/>
                  <a:pt x="140" y="19"/>
                </a:cubicBezTo>
                <a:cubicBezTo>
                  <a:pt x="141" y="20"/>
                  <a:pt x="141" y="20"/>
                  <a:pt x="141" y="20"/>
                </a:cubicBezTo>
                <a:cubicBezTo>
                  <a:pt x="142" y="19"/>
                  <a:pt x="142" y="19"/>
                  <a:pt x="142" y="19"/>
                </a:cubicBezTo>
                <a:close/>
                <a:moveTo>
                  <a:pt x="140" y="20"/>
                </a:moveTo>
                <a:cubicBezTo>
                  <a:pt x="141" y="21"/>
                  <a:pt x="141" y="21"/>
                  <a:pt x="141" y="21"/>
                </a:cubicBezTo>
                <a:cubicBezTo>
                  <a:pt x="141" y="22"/>
                  <a:pt x="141" y="22"/>
                  <a:pt x="141" y="22"/>
                </a:cubicBezTo>
                <a:cubicBezTo>
                  <a:pt x="141" y="22"/>
                  <a:pt x="141" y="22"/>
                  <a:pt x="141" y="22"/>
                </a:cubicBezTo>
                <a:cubicBezTo>
                  <a:pt x="140" y="20"/>
                  <a:pt x="140" y="20"/>
                  <a:pt x="140" y="20"/>
                </a:cubicBezTo>
                <a:close/>
                <a:moveTo>
                  <a:pt x="133" y="66"/>
                </a:moveTo>
                <a:cubicBezTo>
                  <a:pt x="133" y="66"/>
                  <a:pt x="133" y="66"/>
                  <a:pt x="133" y="66"/>
                </a:cubicBezTo>
                <a:cubicBezTo>
                  <a:pt x="133" y="68"/>
                  <a:pt x="133" y="68"/>
                  <a:pt x="133" y="68"/>
                </a:cubicBezTo>
                <a:cubicBezTo>
                  <a:pt x="132" y="68"/>
                  <a:pt x="132" y="68"/>
                  <a:pt x="132" y="68"/>
                </a:cubicBezTo>
                <a:cubicBezTo>
                  <a:pt x="132" y="66"/>
                  <a:pt x="132" y="66"/>
                  <a:pt x="132" y="66"/>
                </a:cubicBezTo>
                <a:cubicBezTo>
                  <a:pt x="133" y="66"/>
                  <a:pt x="133" y="66"/>
                  <a:pt x="133" y="66"/>
                </a:cubicBezTo>
                <a:close/>
                <a:moveTo>
                  <a:pt x="132" y="66"/>
                </a:moveTo>
                <a:cubicBezTo>
                  <a:pt x="132" y="68"/>
                  <a:pt x="132" y="68"/>
                  <a:pt x="132" y="68"/>
                </a:cubicBezTo>
                <a:cubicBezTo>
                  <a:pt x="132" y="69"/>
                  <a:pt x="132" y="69"/>
                  <a:pt x="132" y="69"/>
                </a:cubicBezTo>
                <a:cubicBezTo>
                  <a:pt x="131" y="70"/>
                  <a:pt x="131" y="70"/>
                  <a:pt x="131" y="70"/>
                </a:cubicBezTo>
                <a:cubicBezTo>
                  <a:pt x="130" y="69"/>
                  <a:pt x="130" y="69"/>
                  <a:pt x="130" y="69"/>
                </a:cubicBezTo>
                <a:cubicBezTo>
                  <a:pt x="130" y="67"/>
                  <a:pt x="130" y="67"/>
                  <a:pt x="130" y="67"/>
                </a:cubicBezTo>
                <a:cubicBezTo>
                  <a:pt x="131" y="66"/>
                  <a:pt x="131" y="66"/>
                  <a:pt x="131" y="66"/>
                </a:cubicBezTo>
                <a:cubicBezTo>
                  <a:pt x="132" y="65"/>
                  <a:pt x="132" y="65"/>
                  <a:pt x="132" y="65"/>
                </a:cubicBezTo>
                <a:cubicBezTo>
                  <a:pt x="132" y="66"/>
                  <a:pt x="132" y="66"/>
                  <a:pt x="132" y="66"/>
                </a:cubicBezTo>
                <a:close/>
                <a:moveTo>
                  <a:pt x="89" y="46"/>
                </a:moveTo>
                <a:cubicBezTo>
                  <a:pt x="90" y="46"/>
                  <a:pt x="90" y="46"/>
                  <a:pt x="90" y="46"/>
                </a:cubicBezTo>
                <a:cubicBezTo>
                  <a:pt x="90" y="47"/>
                  <a:pt x="90" y="47"/>
                  <a:pt x="90" y="47"/>
                </a:cubicBezTo>
                <a:cubicBezTo>
                  <a:pt x="90" y="47"/>
                  <a:pt x="90" y="47"/>
                  <a:pt x="90" y="47"/>
                </a:cubicBezTo>
                <a:cubicBezTo>
                  <a:pt x="89" y="47"/>
                  <a:pt x="89" y="47"/>
                  <a:pt x="89" y="47"/>
                </a:cubicBezTo>
                <a:cubicBezTo>
                  <a:pt x="88" y="46"/>
                  <a:pt x="88" y="46"/>
                  <a:pt x="88" y="46"/>
                </a:cubicBezTo>
                <a:cubicBezTo>
                  <a:pt x="89" y="46"/>
                  <a:pt x="89" y="46"/>
                  <a:pt x="89" y="46"/>
                </a:cubicBezTo>
                <a:close/>
                <a:moveTo>
                  <a:pt x="89" y="49"/>
                </a:moveTo>
                <a:cubicBezTo>
                  <a:pt x="91" y="49"/>
                  <a:pt x="91" y="49"/>
                  <a:pt x="91" y="49"/>
                </a:cubicBezTo>
                <a:cubicBezTo>
                  <a:pt x="91" y="50"/>
                  <a:pt x="91" y="50"/>
                  <a:pt x="91" y="50"/>
                </a:cubicBezTo>
                <a:cubicBezTo>
                  <a:pt x="92" y="50"/>
                  <a:pt x="92" y="50"/>
                  <a:pt x="92" y="50"/>
                </a:cubicBezTo>
                <a:cubicBezTo>
                  <a:pt x="92" y="50"/>
                  <a:pt x="92" y="50"/>
                  <a:pt x="92" y="50"/>
                </a:cubicBezTo>
                <a:cubicBezTo>
                  <a:pt x="90" y="50"/>
                  <a:pt x="90" y="50"/>
                  <a:pt x="90" y="50"/>
                </a:cubicBezTo>
                <a:cubicBezTo>
                  <a:pt x="90" y="50"/>
                  <a:pt x="90" y="50"/>
                  <a:pt x="90" y="50"/>
                </a:cubicBezTo>
                <a:cubicBezTo>
                  <a:pt x="89" y="49"/>
                  <a:pt x="89" y="49"/>
                  <a:pt x="89" y="49"/>
                </a:cubicBezTo>
                <a:cubicBezTo>
                  <a:pt x="89" y="49"/>
                  <a:pt x="89" y="49"/>
                  <a:pt x="89" y="49"/>
                </a:cubicBezTo>
                <a:close/>
                <a:moveTo>
                  <a:pt x="90" y="51"/>
                </a:moveTo>
                <a:cubicBezTo>
                  <a:pt x="92" y="51"/>
                  <a:pt x="92" y="51"/>
                  <a:pt x="92" y="51"/>
                </a:cubicBezTo>
                <a:cubicBezTo>
                  <a:pt x="93" y="51"/>
                  <a:pt x="93" y="51"/>
                  <a:pt x="93" y="51"/>
                </a:cubicBezTo>
                <a:cubicBezTo>
                  <a:pt x="92" y="53"/>
                  <a:pt x="92" y="53"/>
                  <a:pt x="92" y="53"/>
                </a:cubicBezTo>
                <a:cubicBezTo>
                  <a:pt x="91" y="53"/>
                  <a:pt x="91" y="53"/>
                  <a:pt x="91" y="53"/>
                </a:cubicBezTo>
                <a:cubicBezTo>
                  <a:pt x="90" y="52"/>
                  <a:pt x="90" y="52"/>
                  <a:pt x="90" y="52"/>
                </a:cubicBezTo>
                <a:cubicBezTo>
                  <a:pt x="91" y="51"/>
                  <a:pt x="91" y="51"/>
                  <a:pt x="91" y="51"/>
                </a:cubicBezTo>
                <a:cubicBezTo>
                  <a:pt x="91" y="51"/>
                  <a:pt x="90" y="51"/>
                  <a:pt x="90" y="51"/>
                </a:cubicBezTo>
                <a:close/>
                <a:moveTo>
                  <a:pt x="87" y="36"/>
                </a:moveTo>
                <a:cubicBezTo>
                  <a:pt x="88" y="34"/>
                  <a:pt x="88" y="34"/>
                  <a:pt x="88" y="34"/>
                </a:cubicBezTo>
                <a:cubicBezTo>
                  <a:pt x="90" y="32"/>
                  <a:pt x="90" y="32"/>
                  <a:pt x="90" y="32"/>
                </a:cubicBezTo>
                <a:cubicBezTo>
                  <a:pt x="91" y="31"/>
                  <a:pt x="91" y="31"/>
                  <a:pt x="91" y="31"/>
                </a:cubicBezTo>
                <a:cubicBezTo>
                  <a:pt x="92" y="31"/>
                  <a:pt x="92" y="31"/>
                  <a:pt x="92" y="31"/>
                </a:cubicBezTo>
                <a:cubicBezTo>
                  <a:pt x="93" y="33"/>
                  <a:pt x="93" y="33"/>
                  <a:pt x="93" y="33"/>
                </a:cubicBezTo>
                <a:cubicBezTo>
                  <a:pt x="95" y="34"/>
                  <a:pt x="95" y="34"/>
                  <a:pt x="95" y="34"/>
                </a:cubicBezTo>
                <a:cubicBezTo>
                  <a:pt x="95" y="35"/>
                  <a:pt x="95" y="35"/>
                  <a:pt x="95" y="35"/>
                </a:cubicBezTo>
                <a:cubicBezTo>
                  <a:pt x="96" y="36"/>
                  <a:pt x="96" y="36"/>
                  <a:pt x="96" y="36"/>
                </a:cubicBezTo>
                <a:cubicBezTo>
                  <a:pt x="97" y="37"/>
                  <a:pt x="97" y="37"/>
                  <a:pt x="97" y="37"/>
                </a:cubicBezTo>
                <a:cubicBezTo>
                  <a:pt x="98" y="37"/>
                  <a:pt x="98" y="37"/>
                  <a:pt x="98" y="37"/>
                </a:cubicBezTo>
                <a:cubicBezTo>
                  <a:pt x="100" y="37"/>
                  <a:pt x="100" y="37"/>
                  <a:pt x="100" y="37"/>
                </a:cubicBezTo>
                <a:cubicBezTo>
                  <a:pt x="100" y="36"/>
                  <a:pt x="100" y="36"/>
                  <a:pt x="100" y="36"/>
                </a:cubicBezTo>
                <a:cubicBezTo>
                  <a:pt x="101" y="36"/>
                  <a:pt x="101" y="36"/>
                  <a:pt x="101" y="36"/>
                </a:cubicBezTo>
                <a:cubicBezTo>
                  <a:pt x="102" y="36"/>
                  <a:pt x="102" y="36"/>
                  <a:pt x="102" y="36"/>
                </a:cubicBezTo>
                <a:cubicBezTo>
                  <a:pt x="106" y="36"/>
                  <a:pt x="106" y="36"/>
                  <a:pt x="106" y="36"/>
                </a:cubicBezTo>
                <a:cubicBezTo>
                  <a:pt x="109" y="35"/>
                  <a:pt x="109" y="35"/>
                  <a:pt x="109" y="35"/>
                </a:cubicBezTo>
                <a:cubicBezTo>
                  <a:pt x="110" y="34"/>
                  <a:pt x="110" y="34"/>
                  <a:pt x="110" y="34"/>
                </a:cubicBezTo>
                <a:cubicBezTo>
                  <a:pt x="113" y="34"/>
                  <a:pt x="113" y="34"/>
                  <a:pt x="113" y="34"/>
                </a:cubicBezTo>
                <a:cubicBezTo>
                  <a:pt x="115" y="34"/>
                  <a:pt x="115" y="34"/>
                  <a:pt x="115" y="34"/>
                </a:cubicBezTo>
                <a:cubicBezTo>
                  <a:pt x="115" y="35"/>
                  <a:pt x="115" y="35"/>
                  <a:pt x="115" y="35"/>
                </a:cubicBezTo>
                <a:cubicBezTo>
                  <a:pt x="117" y="35"/>
                  <a:pt x="117" y="35"/>
                  <a:pt x="117" y="35"/>
                </a:cubicBezTo>
                <a:cubicBezTo>
                  <a:pt x="119" y="34"/>
                  <a:pt x="119" y="34"/>
                  <a:pt x="119" y="34"/>
                </a:cubicBezTo>
                <a:cubicBezTo>
                  <a:pt x="122" y="33"/>
                  <a:pt x="122" y="33"/>
                  <a:pt x="122" y="33"/>
                </a:cubicBezTo>
                <a:cubicBezTo>
                  <a:pt x="122" y="32"/>
                  <a:pt x="122" y="32"/>
                  <a:pt x="122" y="32"/>
                </a:cubicBezTo>
                <a:cubicBezTo>
                  <a:pt x="125" y="29"/>
                  <a:pt x="125" y="29"/>
                  <a:pt x="125" y="29"/>
                </a:cubicBezTo>
                <a:cubicBezTo>
                  <a:pt x="126" y="26"/>
                  <a:pt x="126" y="26"/>
                  <a:pt x="126" y="26"/>
                </a:cubicBezTo>
                <a:cubicBezTo>
                  <a:pt x="128" y="23"/>
                  <a:pt x="128" y="23"/>
                  <a:pt x="128" y="23"/>
                </a:cubicBezTo>
                <a:cubicBezTo>
                  <a:pt x="129" y="18"/>
                  <a:pt x="129" y="18"/>
                  <a:pt x="129" y="18"/>
                </a:cubicBezTo>
                <a:cubicBezTo>
                  <a:pt x="129" y="17"/>
                  <a:pt x="129" y="17"/>
                  <a:pt x="129" y="17"/>
                </a:cubicBezTo>
                <a:cubicBezTo>
                  <a:pt x="130" y="16"/>
                  <a:pt x="130" y="16"/>
                  <a:pt x="130" y="16"/>
                </a:cubicBezTo>
                <a:cubicBezTo>
                  <a:pt x="130" y="15"/>
                  <a:pt x="130" y="15"/>
                  <a:pt x="130" y="15"/>
                </a:cubicBezTo>
                <a:cubicBezTo>
                  <a:pt x="131" y="14"/>
                  <a:pt x="131" y="14"/>
                  <a:pt x="131" y="14"/>
                </a:cubicBezTo>
                <a:cubicBezTo>
                  <a:pt x="132" y="14"/>
                  <a:pt x="132" y="14"/>
                  <a:pt x="132" y="14"/>
                </a:cubicBezTo>
                <a:cubicBezTo>
                  <a:pt x="134" y="14"/>
                  <a:pt x="134" y="14"/>
                  <a:pt x="134" y="14"/>
                </a:cubicBezTo>
                <a:cubicBezTo>
                  <a:pt x="137" y="14"/>
                  <a:pt x="137" y="14"/>
                  <a:pt x="137" y="14"/>
                </a:cubicBezTo>
                <a:cubicBezTo>
                  <a:pt x="137" y="15"/>
                  <a:pt x="137" y="15"/>
                  <a:pt x="137" y="15"/>
                </a:cubicBezTo>
                <a:cubicBezTo>
                  <a:pt x="139" y="15"/>
                  <a:pt x="139" y="15"/>
                  <a:pt x="139" y="15"/>
                </a:cubicBezTo>
                <a:cubicBezTo>
                  <a:pt x="140" y="15"/>
                  <a:pt x="140" y="15"/>
                  <a:pt x="140" y="15"/>
                </a:cubicBezTo>
                <a:cubicBezTo>
                  <a:pt x="140" y="15"/>
                  <a:pt x="140" y="15"/>
                  <a:pt x="140" y="15"/>
                </a:cubicBezTo>
                <a:cubicBezTo>
                  <a:pt x="140" y="15"/>
                  <a:pt x="140" y="15"/>
                  <a:pt x="140" y="15"/>
                </a:cubicBezTo>
                <a:cubicBezTo>
                  <a:pt x="140" y="16"/>
                  <a:pt x="140" y="16"/>
                  <a:pt x="140" y="16"/>
                </a:cubicBezTo>
                <a:cubicBezTo>
                  <a:pt x="139" y="17"/>
                  <a:pt x="139" y="17"/>
                  <a:pt x="139" y="17"/>
                </a:cubicBezTo>
                <a:cubicBezTo>
                  <a:pt x="141" y="17"/>
                  <a:pt x="141" y="17"/>
                  <a:pt x="141" y="17"/>
                </a:cubicBezTo>
                <a:cubicBezTo>
                  <a:pt x="142" y="19"/>
                  <a:pt x="142" y="19"/>
                  <a:pt x="142" y="19"/>
                </a:cubicBezTo>
                <a:cubicBezTo>
                  <a:pt x="141" y="19"/>
                  <a:pt x="141" y="19"/>
                  <a:pt x="141" y="19"/>
                </a:cubicBezTo>
                <a:cubicBezTo>
                  <a:pt x="139" y="19"/>
                  <a:pt x="139" y="19"/>
                  <a:pt x="139" y="19"/>
                </a:cubicBezTo>
                <a:cubicBezTo>
                  <a:pt x="139" y="19"/>
                  <a:pt x="139" y="19"/>
                  <a:pt x="139" y="19"/>
                </a:cubicBezTo>
                <a:cubicBezTo>
                  <a:pt x="140" y="20"/>
                  <a:pt x="140" y="20"/>
                  <a:pt x="140" y="20"/>
                </a:cubicBezTo>
                <a:cubicBezTo>
                  <a:pt x="140" y="21"/>
                  <a:pt x="140" y="21"/>
                  <a:pt x="140" y="21"/>
                </a:cubicBezTo>
                <a:cubicBezTo>
                  <a:pt x="140" y="21"/>
                  <a:pt x="140" y="21"/>
                  <a:pt x="140" y="21"/>
                </a:cubicBezTo>
                <a:cubicBezTo>
                  <a:pt x="140" y="21"/>
                  <a:pt x="140" y="21"/>
                  <a:pt x="140" y="21"/>
                </a:cubicBezTo>
                <a:cubicBezTo>
                  <a:pt x="139" y="22"/>
                  <a:pt x="139" y="22"/>
                  <a:pt x="139" y="22"/>
                </a:cubicBezTo>
                <a:cubicBezTo>
                  <a:pt x="140" y="23"/>
                  <a:pt x="140" y="23"/>
                  <a:pt x="140" y="23"/>
                </a:cubicBezTo>
                <a:cubicBezTo>
                  <a:pt x="141" y="25"/>
                  <a:pt x="141" y="25"/>
                  <a:pt x="141" y="25"/>
                </a:cubicBezTo>
                <a:cubicBezTo>
                  <a:pt x="143" y="27"/>
                  <a:pt x="143" y="27"/>
                  <a:pt x="143" y="27"/>
                </a:cubicBezTo>
                <a:cubicBezTo>
                  <a:pt x="144" y="28"/>
                  <a:pt x="144" y="28"/>
                  <a:pt x="144" y="28"/>
                </a:cubicBezTo>
                <a:cubicBezTo>
                  <a:pt x="143" y="29"/>
                  <a:pt x="143" y="29"/>
                  <a:pt x="143" y="29"/>
                </a:cubicBezTo>
                <a:cubicBezTo>
                  <a:pt x="141" y="29"/>
                  <a:pt x="141" y="29"/>
                  <a:pt x="141" y="29"/>
                </a:cubicBezTo>
                <a:cubicBezTo>
                  <a:pt x="141" y="30"/>
                  <a:pt x="141" y="30"/>
                  <a:pt x="141" y="30"/>
                </a:cubicBezTo>
                <a:cubicBezTo>
                  <a:pt x="142" y="30"/>
                  <a:pt x="142" y="30"/>
                  <a:pt x="142" y="30"/>
                </a:cubicBezTo>
                <a:cubicBezTo>
                  <a:pt x="142" y="32"/>
                  <a:pt x="142" y="32"/>
                  <a:pt x="142" y="32"/>
                </a:cubicBezTo>
                <a:cubicBezTo>
                  <a:pt x="143" y="32"/>
                  <a:pt x="143" y="32"/>
                  <a:pt x="143" y="32"/>
                </a:cubicBezTo>
                <a:cubicBezTo>
                  <a:pt x="146" y="35"/>
                  <a:pt x="146" y="35"/>
                  <a:pt x="146" y="35"/>
                </a:cubicBezTo>
                <a:cubicBezTo>
                  <a:pt x="147" y="35"/>
                  <a:pt x="147" y="35"/>
                  <a:pt x="147" y="35"/>
                </a:cubicBezTo>
                <a:cubicBezTo>
                  <a:pt x="148" y="36"/>
                  <a:pt x="148" y="36"/>
                  <a:pt x="148" y="36"/>
                </a:cubicBezTo>
                <a:cubicBezTo>
                  <a:pt x="148" y="36"/>
                  <a:pt x="148" y="36"/>
                  <a:pt x="148" y="36"/>
                </a:cubicBezTo>
                <a:cubicBezTo>
                  <a:pt x="149" y="37"/>
                  <a:pt x="149" y="37"/>
                  <a:pt x="149" y="37"/>
                </a:cubicBezTo>
                <a:cubicBezTo>
                  <a:pt x="149" y="38"/>
                  <a:pt x="149" y="38"/>
                  <a:pt x="149" y="38"/>
                </a:cubicBezTo>
                <a:cubicBezTo>
                  <a:pt x="148" y="38"/>
                  <a:pt x="148" y="38"/>
                  <a:pt x="148" y="38"/>
                </a:cubicBezTo>
                <a:cubicBezTo>
                  <a:pt x="147" y="38"/>
                  <a:pt x="147" y="38"/>
                  <a:pt x="147" y="38"/>
                </a:cubicBezTo>
                <a:cubicBezTo>
                  <a:pt x="146" y="39"/>
                  <a:pt x="146" y="39"/>
                  <a:pt x="146" y="39"/>
                </a:cubicBezTo>
                <a:cubicBezTo>
                  <a:pt x="145" y="38"/>
                  <a:pt x="145" y="38"/>
                  <a:pt x="145" y="38"/>
                </a:cubicBezTo>
                <a:cubicBezTo>
                  <a:pt x="143" y="36"/>
                  <a:pt x="143" y="36"/>
                  <a:pt x="143" y="36"/>
                </a:cubicBezTo>
                <a:cubicBezTo>
                  <a:pt x="143" y="38"/>
                  <a:pt x="143" y="38"/>
                  <a:pt x="143" y="38"/>
                </a:cubicBezTo>
                <a:cubicBezTo>
                  <a:pt x="143" y="39"/>
                  <a:pt x="143" y="39"/>
                  <a:pt x="143" y="39"/>
                </a:cubicBezTo>
                <a:cubicBezTo>
                  <a:pt x="142" y="38"/>
                  <a:pt x="142" y="38"/>
                  <a:pt x="142" y="38"/>
                </a:cubicBezTo>
                <a:cubicBezTo>
                  <a:pt x="141" y="39"/>
                  <a:pt x="141" y="39"/>
                  <a:pt x="141" y="39"/>
                </a:cubicBezTo>
                <a:cubicBezTo>
                  <a:pt x="141" y="40"/>
                  <a:pt x="141" y="40"/>
                  <a:pt x="141" y="40"/>
                </a:cubicBezTo>
                <a:cubicBezTo>
                  <a:pt x="140" y="41"/>
                  <a:pt x="140" y="41"/>
                  <a:pt x="140" y="41"/>
                </a:cubicBezTo>
                <a:cubicBezTo>
                  <a:pt x="140" y="43"/>
                  <a:pt x="140" y="43"/>
                  <a:pt x="140" y="43"/>
                </a:cubicBezTo>
                <a:cubicBezTo>
                  <a:pt x="139" y="44"/>
                  <a:pt x="139" y="44"/>
                  <a:pt x="139" y="44"/>
                </a:cubicBezTo>
                <a:cubicBezTo>
                  <a:pt x="139" y="46"/>
                  <a:pt x="139" y="46"/>
                  <a:pt x="139" y="46"/>
                </a:cubicBezTo>
                <a:cubicBezTo>
                  <a:pt x="137" y="48"/>
                  <a:pt x="137" y="48"/>
                  <a:pt x="137" y="48"/>
                </a:cubicBezTo>
                <a:cubicBezTo>
                  <a:pt x="138" y="49"/>
                  <a:pt x="138" y="49"/>
                  <a:pt x="138" y="49"/>
                </a:cubicBezTo>
                <a:cubicBezTo>
                  <a:pt x="137" y="50"/>
                  <a:pt x="137" y="50"/>
                  <a:pt x="137" y="50"/>
                </a:cubicBezTo>
                <a:cubicBezTo>
                  <a:pt x="136" y="51"/>
                  <a:pt x="136" y="51"/>
                  <a:pt x="136" y="51"/>
                </a:cubicBezTo>
                <a:cubicBezTo>
                  <a:pt x="136" y="50"/>
                  <a:pt x="136" y="50"/>
                  <a:pt x="136" y="50"/>
                </a:cubicBezTo>
                <a:cubicBezTo>
                  <a:pt x="135" y="50"/>
                  <a:pt x="135" y="50"/>
                  <a:pt x="135" y="50"/>
                </a:cubicBezTo>
                <a:cubicBezTo>
                  <a:pt x="135" y="51"/>
                  <a:pt x="135" y="51"/>
                  <a:pt x="135" y="51"/>
                </a:cubicBezTo>
                <a:cubicBezTo>
                  <a:pt x="135" y="52"/>
                  <a:pt x="135" y="52"/>
                  <a:pt x="135" y="52"/>
                </a:cubicBezTo>
                <a:cubicBezTo>
                  <a:pt x="134" y="53"/>
                  <a:pt x="134" y="53"/>
                  <a:pt x="134" y="53"/>
                </a:cubicBezTo>
                <a:cubicBezTo>
                  <a:pt x="134" y="54"/>
                  <a:pt x="134" y="54"/>
                  <a:pt x="134" y="54"/>
                </a:cubicBezTo>
                <a:cubicBezTo>
                  <a:pt x="133" y="55"/>
                  <a:pt x="133" y="55"/>
                  <a:pt x="133" y="55"/>
                </a:cubicBezTo>
                <a:cubicBezTo>
                  <a:pt x="132" y="55"/>
                  <a:pt x="132" y="55"/>
                  <a:pt x="132" y="55"/>
                </a:cubicBezTo>
                <a:cubicBezTo>
                  <a:pt x="132" y="55"/>
                  <a:pt x="132" y="55"/>
                  <a:pt x="132" y="55"/>
                </a:cubicBezTo>
                <a:cubicBezTo>
                  <a:pt x="132" y="56"/>
                  <a:pt x="132" y="56"/>
                  <a:pt x="132" y="56"/>
                </a:cubicBezTo>
                <a:cubicBezTo>
                  <a:pt x="133" y="56"/>
                  <a:pt x="133" y="56"/>
                  <a:pt x="133" y="56"/>
                </a:cubicBezTo>
                <a:cubicBezTo>
                  <a:pt x="133" y="56"/>
                  <a:pt x="133" y="56"/>
                  <a:pt x="133" y="56"/>
                </a:cubicBezTo>
                <a:cubicBezTo>
                  <a:pt x="133" y="57"/>
                  <a:pt x="133" y="57"/>
                  <a:pt x="133" y="57"/>
                </a:cubicBezTo>
                <a:cubicBezTo>
                  <a:pt x="132" y="58"/>
                  <a:pt x="132" y="58"/>
                  <a:pt x="132" y="58"/>
                </a:cubicBezTo>
                <a:cubicBezTo>
                  <a:pt x="133" y="58"/>
                  <a:pt x="133" y="58"/>
                  <a:pt x="133" y="58"/>
                </a:cubicBezTo>
                <a:cubicBezTo>
                  <a:pt x="134" y="58"/>
                  <a:pt x="134" y="58"/>
                  <a:pt x="134" y="58"/>
                </a:cubicBezTo>
                <a:cubicBezTo>
                  <a:pt x="134" y="59"/>
                  <a:pt x="134" y="59"/>
                  <a:pt x="134" y="59"/>
                </a:cubicBezTo>
                <a:cubicBezTo>
                  <a:pt x="133" y="60"/>
                  <a:pt x="133" y="60"/>
                  <a:pt x="133" y="60"/>
                </a:cubicBezTo>
                <a:cubicBezTo>
                  <a:pt x="132" y="60"/>
                  <a:pt x="132" y="60"/>
                  <a:pt x="132" y="60"/>
                </a:cubicBezTo>
                <a:cubicBezTo>
                  <a:pt x="132" y="59"/>
                  <a:pt x="132" y="59"/>
                  <a:pt x="132" y="59"/>
                </a:cubicBezTo>
                <a:cubicBezTo>
                  <a:pt x="132" y="60"/>
                  <a:pt x="132" y="60"/>
                  <a:pt x="132" y="60"/>
                </a:cubicBezTo>
                <a:cubicBezTo>
                  <a:pt x="133" y="60"/>
                  <a:pt x="133" y="60"/>
                  <a:pt x="133" y="60"/>
                </a:cubicBezTo>
                <a:cubicBezTo>
                  <a:pt x="133" y="61"/>
                  <a:pt x="133" y="61"/>
                  <a:pt x="133" y="61"/>
                </a:cubicBezTo>
                <a:cubicBezTo>
                  <a:pt x="132" y="63"/>
                  <a:pt x="132" y="63"/>
                  <a:pt x="132" y="63"/>
                </a:cubicBezTo>
                <a:cubicBezTo>
                  <a:pt x="131" y="63"/>
                  <a:pt x="131" y="63"/>
                  <a:pt x="131" y="63"/>
                </a:cubicBezTo>
                <a:cubicBezTo>
                  <a:pt x="131" y="62"/>
                  <a:pt x="131" y="62"/>
                  <a:pt x="131" y="62"/>
                </a:cubicBezTo>
                <a:cubicBezTo>
                  <a:pt x="131" y="64"/>
                  <a:pt x="131" y="64"/>
                  <a:pt x="131" y="64"/>
                </a:cubicBezTo>
                <a:cubicBezTo>
                  <a:pt x="131" y="65"/>
                  <a:pt x="131" y="65"/>
                  <a:pt x="131" y="65"/>
                </a:cubicBezTo>
                <a:cubicBezTo>
                  <a:pt x="130" y="67"/>
                  <a:pt x="130" y="67"/>
                  <a:pt x="130" y="67"/>
                </a:cubicBezTo>
                <a:cubicBezTo>
                  <a:pt x="127" y="69"/>
                  <a:pt x="127" y="69"/>
                  <a:pt x="127" y="69"/>
                </a:cubicBezTo>
                <a:cubicBezTo>
                  <a:pt x="126" y="69"/>
                  <a:pt x="126" y="69"/>
                  <a:pt x="126" y="69"/>
                </a:cubicBezTo>
                <a:cubicBezTo>
                  <a:pt x="123" y="70"/>
                  <a:pt x="123" y="70"/>
                  <a:pt x="123" y="70"/>
                </a:cubicBezTo>
                <a:cubicBezTo>
                  <a:pt x="122" y="70"/>
                  <a:pt x="122" y="70"/>
                  <a:pt x="122" y="70"/>
                </a:cubicBezTo>
                <a:cubicBezTo>
                  <a:pt x="121" y="69"/>
                  <a:pt x="121" y="69"/>
                  <a:pt x="121" y="69"/>
                </a:cubicBezTo>
                <a:cubicBezTo>
                  <a:pt x="122" y="68"/>
                  <a:pt x="122" y="68"/>
                  <a:pt x="122" y="68"/>
                </a:cubicBezTo>
                <a:cubicBezTo>
                  <a:pt x="121" y="67"/>
                  <a:pt x="121" y="67"/>
                  <a:pt x="121" y="67"/>
                </a:cubicBezTo>
                <a:cubicBezTo>
                  <a:pt x="121" y="66"/>
                  <a:pt x="121" y="66"/>
                  <a:pt x="121" y="66"/>
                </a:cubicBezTo>
                <a:cubicBezTo>
                  <a:pt x="120" y="66"/>
                  <a:pt x="120" y="66"/>
                  <a:pt x="120" y="66"/>
                </a:cubicBezTo>
                <a:cubicBezTo>
                  <a:pt x="120" y="66"/>
                  <a:pt x="120" y="66"/>
                  <a:pt x="120" y="66"/>
                </a:cubicBezTo>
                <a:cubicBezTo>
                  <a:pt x="119" y="66"/>
                  <a:pt x="119" y="66"/>
                  <a:pt x="119" y="66"/>
                </a:cubicBezTo>
                <a:cubicBezTo>
                  <a:pt x="118" y="66"/>
                  <a:pt x="118" y="66"/>
                  <a:pt x="118" y="66"/>
                </a:cubicBezTo>
                <a:cubicBezTo>
                  <a:pt x="117" y="65"/>
                  <a:pt x="117" y="65"/>
                  <a:pt x="117" y="65"/>
                </a:cubicBezTo>
                <a:cubicBezTo>
                  <a:pt x="117" y="66"/>
                  <a:pt x="117" y="66"/>
                  <a:pt x="117" y="66"/>
                </a:cubicBezTo>
                <a:cubicBezTo>
                  <a:pt x="117" y="66"/>
                  <a:pt x="117" y="66"/>
                  <a:pt x="117" y="66"/>
                </a:cubicBezTo>
                <a:cubicBezTo>
                  <a:pt x="116" y="66"/>
                  <a:pt x="116" y="66"/>
                  <a:pt x="116" y="66"/>
                </a:cubicBezTo>
                <a:cubicBezTo>
                  <a:pt x="116" y="65"/>
                  <a:pt x="116" y="65"/>
                  <a:pt x="116" y="65"/>
                </a:cubicBezTo>
                <a:cubicBezTo>
                  <a:pt x="116" y="64"/>
                  <a:pt x="116" y="64"/>
                  <a:pt x="116" y="64"/>
                </a:cubicBezTo>
                <a:cubicBezTo>
                  <a:pt x="115" y="64"/>
                  <a:pt x="115" y="64"/>
                  <a:pt x="115" y="64"/>
                </a:cubicBezTo>
                <a:cubicBezTo>
                  <a:pt x="114" y="64"/>
                  <a:pt x="114" y="64"/>
                  <a:pt x="114" y="64"/>
                </a:cubicBezTo>
                <a:cubicBezTo>
                  <a:pt x="113" y="64"/>
                  <a:pt x="113" y="64"/>
                  <a:pt x="113" y="64"/>
                </a:cubicBezTo>
                <a:cubicBezTo>
                  <a:pt x="113" y="64"/>
                  <a:pt x="113" y="64"/>
                  <a:pt x="113" y="64"/>
                </a:cubicBezTo>
                <a:cubicBezTo>
                  <a:pt x="112" y="65"/>
                  <a:pt x="112" y="65"/>
                  <a:pt x="112" y="65"/>
                </a:cubicBezTo>
                <a:cubicBezTo>
                  <a:pt x="110" y="65"/>
                  <a:pt x="110" y="65"/>
                  <a:pt x="110" y="65"/>
                </a:cubicBezTo>
                <a:cubicBezTo>
                  <a:pt x="110" y="66"/>
                  <a:pt x="110" y="66"/>
                  <a:pt x="110" y="66"/>
                </a:cubicBezTo>
                <a:cubicBezTo>
                  <a:pt x="109" y="66"/>
                  <a:pt x="109" y="66"/>
                  <a:pt x="109" y="66"/>
                </a:cubicBezTo>
                <a:cubicBezTo>
                  <a:pt x="108" y="65"/>
                  <a:pt x="108" y="65"/>
                  <a:pt x="108" y="65"/>
                </a:cubicBezTo>
                <a:cubicBezTo>
                  <a:pt x="107" y="65"/>
                  <a:pt x="107" y="65"/>
                  <a:pt x="107" y="65"/>
                </a:cubicBezTo>
                <a:cubicBezTo>
                  <a:pt x="106" y="67"/>
                  <a:pt x="106" y="67"/>
                  <a:pt x="106" y="67"/>
                </a:cubicBezTo>
                <a:cubicBezTo>
                  <a:pt x="105" y="67"/>
                  <a:pt x="105" y="67"/>
                  <a:pt x="105" y="67"/>
                </a:cubicBezTo>
                <a:cubicBezTo>
                  <a:pt x="105" y="66"/>
                  <a:pt x="105" y="66"/>
                  <a:pt x="105" y="66"/>
                </a:cubicBezTo>
                <a:cubicBezTo>
                  <a:pt x="105" y="64"/>
                  <a:pt x="105" y="64"/>
                  <a:pt x="105" y="64"/>
                </a:cubicBezTo>
                <a:cubicBezTo>
                  <a:pt x="105" y="62"/>
                  <a:pt x="105" y="62"/>
                  <a:pt x="105" y="62"/>
                </a:cubicBezTo>
                <a:cubicBezTo>
                  <a:pt x="105" y="61"/>
                  <a:pt x="105" y="61"/>
                  <a:pt x="105" y="61"/>
                </a:cubicBezTo>
                <a:cubicBezTo>
                  <a:pt x="104" y="61"/>
                  <a:pt x="104" y="61"/>
                  <a:pt x="104" y="61"/>
                </a:cubicBezTo>
                <a:cubicBezTo>
                  <a:pt x="105" y="61"/>
                  <a:pt x="105" y="61"/>
                  <a:pt x="105" y="61"/>
                </a:cubicBezTo>
                <a:cubicBezTo>
                  <a:pt x="104" y="62"/>
                  <a:pt x="104" y="62"/>
                  <a:pt x="104" y="62"/>
                </a:cubicBezTo>
                <a:cubicBezTo>
                  <a:pt x="103" y="63"/>
                  <a:pt x="103" y="63"/>
                  <a:pt x="103" y="63"/>
                </a:cubicBezTo>
                <a:cubicBezTo>
                  <a:pt x="102" y="62"/>
                  <a:pt x="102" y="62"/>
                  <a:pt x="102" y="62"/>
                </a:cubicBezTo>
                <a:cubicBezTo>
                  <a:pt x="101" y="63"/>
                  <a:pt x="101" y="63"/>
                  <a:pt x="101" y="63"/>
                </a:cubicBezTo>
                <a:cubicBezTo>
                  <a:pt x="100" y="63"/>
                  <a:pt x="100" y="63"/>
                  <a:pt x="100" y="63"/>
                </a:cubicBezTo>
                <a:cubicBezTo>
                  <a:pt x="99" y="63"/>
                  <a:pt x="99" y="63"/>
                  <a:pt x="99" y="63"/>
                </a:cubicBezTo>
                <a:cubicBezTo>
                  <a:pt x="97" y="63"/>
                  <a:pt x="97" y="63"/>
                  <a:pt x="97" y="63"/>
                </a:cubicBezTo>
                <a:cubicBezTo>
                  <a:pt x="97" y="62"/>
                  <a:pt x="97" y="62"/>
                  <a:pt x="97" y="62"/>
                </a:cubicBezTo>
                <a:cubicBezTo>
                  <a:pt x="96" y="63"/>
                  <a:pt x="96" y="63"/>
                  <a:pt x="96" y="63"/>
                </a:cubicBezTo>
                <a:cubicBezTo>
                  <a:pt x="95" y="63"/>
                  <a:pt x="95" y="63"/>
                  <a:pt x="95" y="63"/>
                </a:cubicBezTo>
                <a:cubicBezTo>
                  <a:pt x="95" y="61"/>
                  <a:pt x="95" y="61"/>
                  <a:pt x="95" y="61"/>
                </a:cubicBezTo>
                <a:cubicBezTo>
                  <a:pt x="95" y="60"/>
                  <a:pt x="95" y="60"/>
                  <a:pt x="95" y="60"/>
                </a:cubicBezTo>
                <a:cubicBezTo>
                  <a:pt x="94" y="57"/>
                  <a:pt x="94" y="57"/>
                  <a:pt x="94" y="57"/>
                </a:cubicBezTo>
                <a:cubicBezTo>
                  <a:pt x="93" y="56"/>
                  <a:pt x="93" y="56"/>
                  <a:pt x="93" y="56"/>
                </a:cubicBezTo>
                <a:cubicBezTo>
                  <a:pt x="93" y="55"/>
                  <a:pt x="93" y="55"/>
                  <a:pt x="93" y="55"/>
                </a:cubicBezTo>
                <a:cubicBezTo>
                  <a:pt x="94" y="55"/>
                  <a:pt x="94" y="55"/>
                  <a:pt x="94" y="55"/>
                </a:cubicBezTo>
                <a:cubicBezTo>
                  <a:pt x="94" y="53"/>
                  <a:pt x="94" y="53"/>
                  <a:pt x="94" y="53"/>
                </a:cubicBezTo>
                <a:cubicBezTo>
                  <a:pt x="94" y="52"/>
                  <a:pt x="94" y="52"/>
                  <a:pt x="94" y="52"/>
                </a:cubicBezTo>
                <a:cubicBezTo>
                  <a:pt x="94" y="51"/>
                  <a:pt x="94" y="51"/>
                  <a:pt x="94" y="51"/>
                </a:cubicBezTo>
                <a:cubicBezTo>
                  <a:pt x="92" y="49"/>
                  <a:pt x="92" y="49"/>
                  <a:pt x="92" y="49"/>
                </a:cubicBezTo>
                <a:cubicBezTo>
                  <a:pt x="90" y="48"/>
                  <a:pt x="90" y="48"/>
                  <a:pt x="90" y="48"/>
                </a:cubicBezTo>
                <a:cubicBezTo>
                  <a:pt x="89" y="48"/>
                  <a:pt x="89" y="48"/>
                  <a:pt x="89" y="48"/>
                </a:cubicBezTo>
                <a:cubicBezTo>
                  <a:pt x="89" y="48"/>
                  <a:pt x="89" y="48"/>
                  <a:pt x="89" y="48"/>
                </a:cubicBezTo>
                <a:cubicBezTo>
                  <a:pt x="90" y="47"/>
                  <a:pt x="90" y="47"/>
                  <a:pt x="90" y="47"/>
                </a:cubicBezTo>
                <a:cubicBezTo>
                  <a:pt x="91" y="47"/>
                  <a:pt x="91" y="47"/>
                  <a:pt x="91" y="47"/>
                </a:cubicBezTo>
                <a:cubicBezTo>
                  <a:pt x="93" y="46"/>
                  <a:pt x="93" y="46"/>
                  <a:pt x="93" y="46"/>
                </a:cubicBezTo>
                <a:cubicBezTo>
                  <a:pt x="95" y="45"/>
                  <a:pt x="95" y="45"/>
                  <a:pt x="95" y="45"/>
                </a:cubicBezTo>
                <a:cubicBezTo>
                  <a:pt x="96" y="45"/>
                  <a:pt x="96" y="45"/>
                  <a:pt x="96" y="45"/>
                </a:cubicBezTo>
                <a:cubicBezTo>
                  <a:pt x="95" y="45"/>
                  <a:pt x="95" y="45"/>
                  <a:pt x="95" y="45"/>
                </a:cubicBezTo>
                <a:cubicBezTo>
                  <a:pt x="93" y="46"/>
                  <a:pt x="93" y="46"/>
                  <a:pt x="93" y="46"/>
                </a:cubicBezTo>
                <a:cubicBezTo>
                  <a:pt x="91" y="46"/>
                  <a:pt x="91" y="46"/>
                  <a:pt x="91" y="46"/>
                </a:cubicBezTo>
                <a:cubicBezTo>
                  <a:pt x="90" y="46"/>
                  <a:pt x="90" y="46"/>
                  <a:pt x="90" y="46"/>
                </a:cubicBezTo>
                <a:cubicBezTo>
                  <a:pt x="89" y="46"/>
                  <a:pt x="89" y="46"/>
                  <a:pt x="89" y="46"/>
                </a:cubicBezTo>
                <a:cubicBezTo>
                  <a:pt x="88" y="44"/>
                  <a:pt x="88" y="44"/>
                  <a:pt x="88" y="44"/>
                </a:cubicBezTo>
                <a:cubicBezTo>
                  <a:pt x="89" y="44"/>
                  <a:pt x="89" y="44"/>
                  <a:pt x="89" y="44"/>
                </a:cubicBezTo>
                <a:cubicBezTo>
                  <a:pt x="89" y="44"/>
                  <a:pt x="89" y="44"/>
                  <a:pt x="89" y="44"/>
                </a:cubicBezTo>
                <a:cubicBezTo>
                  <a:pt x="89" y="43"/>
                  <a:pt x="89" y="43"/>
                  <a:pt x="89" y="43"/>
                </a:cubicBezTo>
                <a:cubicBezTo>
                  <a:pt x="87" y="41"/>
                  <a:pt x="87" y="41"/>
                  <a:pt x="87" y="41"/>
                </a:cubicBezTo>
                <a:cubicBezTo>
                  <a:pt x="87" y="39"/>
                  <a:pt x="87" y="39"/>
                  <a:pt x="87" y="39"/>
                </a:cubicBezTo>
                <a:cubicBezTo>
                  <a:pt x="88" y="38"/>
                  <a:pt x="88" y="38"/>
                  <a:pt x="88" y="38"/>
                </a:cubicBezTo>
                <a:cubicBezTo>
                  <a:pt x="88" y="37"/>
                  <a:pt x="88" y="37"/>
                  <a:pt x="88" y="37"/>
                </a:cubicBezTo>
                <a:cubicBezTo>
                  <a:pt x="87" y="36"/>
                  <a:pt x="87" y="36"/>
                  <a:pt x="87" y="36"/>
                </a:cubicBezTo>
                <a:cubicBezTo>
                  <a:pt x="87" y="36"/>
                  <a:pt x="87" y="36"/>
                  <a:pt x="87" y="36"/>
                </a:cubicBezTo>
                <a:close/>
                <a:moveTo>
                  <a:pt x="250" y="49"/>
                </a:moveTo>
                <a:cubicBezTo>
                  <a:pt x="249" y="49"/>
                  <a:pt x="249" y="49"/>
                  <a:pt x="249" y="49"/>
                </a:cubicBezTo>
                <a:cubicBezTo>
                  <a:pt x="250" y="50"/>
                  <a:pt x="250" y="50"/>
                  <a:pt x="250" y="50"/>
                </a:cubicBezTo>
                <a:cubicBezTo>
                  <a:pt x="251" y="50"/>
                  <a:pt x="251" y="50"/>
                  <a:pt x="251" y="50"/>
                </a:cubicBezTo>
                <a:cubicBezTo>
                  <a:pt x="250" y="49"/>
                  <a:pt x="250" y="49"/>
                  <a:pt x="250" y="49"/>
                </a:cubicBezTo>
                <a:close/>
                <a:moveTo>
                  <a:pt x="253" y="53"/>
                </a:moveTo>
                <a:cubicBezTo>
                  <a:pt x="251" y="53"/>
                  <a:pt x="251" y="53"/>
                  <a:pt x="251" y="53"/>
                </a:cubicBezTo>
                <a:cubicBezTo>
                  <a:pt x="252" y="53"/>
                  <a:pt x="252" y="53"/>
                  <a:pt x="252" y="53"/>
                </a:cubicBezTo>
                <a:cubicBezTo>
                  <a:pt x="253" y="53"/>
                  <a:pt x="253" y="53"/>
                  <a:pt x="253" y="53"/>
                </a:cubicBezTo>
                <a:close/>
                <a:moveTo>
                  <a:pt x="254" y="54"/>
                </a:moveTo>
                <a:cubicBezTo>
                  <a:pt x="254" y="53"/>
                  <a:pt x="254" y="54"/>
                  <a:pt x="254" y="54"/>
                </a:cubicBezTo>
                <a:cubicBezTo>
                  <a:pt x="256" y="55"/>
                  <a:pt x="256" y="55"/>
                  <a:pt x="256" y="55"/>
                </a:cubicBezTo>
                <a:cubicBezTo>
                  <a:pt x="259" y="55"/>
                  <a:pt x="259" y="55"/>
                  <a:pt x="259" y="55"/>
                </a:cubicBezTo>
                <a:cubicBezTo>
                  <a:pt x="262" y="55"/>
                  <a:pt x="262" y="55"/>
                  <a:pt x="262" y="55"/>
                </a:cubicBezTo>
                <a:cubicBezTo>
                  <a:pt x="262" y="54"/>
                  <a:pt x="262" y="54"/>
                  <a:pt x="262" y="54"/>
                </a:cubicBezTo>
                <a:cubicBezTo>
                  <a:pt x="260" y="54"/>
                  <a:pt x="260" y="54"/>
                  <a:pt x="260" y="54"/>
                </a:cubicBezTo>
                <a:cubicBezTo>
                  <a:pt x="259" y="54"/>
                  <a:pt x="259" y="54"/>
                  <a:pt x="259" y="54"/>
                </a:cubicBezTo>
                <a:cubicBezTo>
                  <a:pt x="257" y="54"/>
                  <a:pt x="257" y="54"/>
                  <a:pt x="257" y="54"/>
                </a:cubicBezTo>
                <a:cubicBezTo>
                  <a:pt x="256" y="54"/>
                  <a:pt x="256" y="54"/>
                  <a:pt x="256" y="54"/>
                </a:cubicBezTo>
                <a:cubicBezTo>
                  <a:pt x="254" y="54"/>
                  <a:pt x="254" y="54"/>
                  <a:pt x="254" y="54"/>
                </a:cubicBezTo>
                <a:close/>
                <a:moveTo>
                  <a:pt x="254" y="48"/>
                </a:moveTo>
                <a:cubicBezTo>
                  <a:pt x="255" y="49"/>
                  <a:pt x="255" y="49"/>
                  <a:pt x="255" y="49"/>
                </a:cubicBezTo>
                <a:cubicBezTo>
                  <a:pt x="255" y="48"/>
                  <a:pt x="255" y="48"/>
                  <a:pt x="255" y="48"/>
                </a:cubicBezTo>
                <a:cubicBezTo>
                  <a:pt x="255" y="48"/>
                  <a:pt x="255" y="48"/>
                  <a:pt x="255" y="48"/>
                </a:cubicBezTo>
                <a:cubicBezTo>
                  <a:pt x="256" y="49"/>
                  <a:pt x="256" y="49"/>
                  <a:pt x="256" y="49"/>
                </a:cubicBezTo>
                <a:cubicBezTo>
                  <a:pt x="256" y="50"/>
                  <a:pt x="256" y="50"/>
                  <a:pt x="256" y="50"/>
                </a:cubicBezTo>
                <a:cubicBezTo>
                  <a:pt x="257" y="50"/>
                  <a:pt x="257" y="50"/>
                  <a:pt x="257" y="50"/>
                </a:cubicBezTo>
                <a:cubicBezTo>
                  <a:pt x="258" y="50"/>
                  <a:pt x="258" y="50"/>
                  <a:pt x="258" y="50"/>
                </a:cubicBezTo>
                <a:cubicBezTo>
                  <a:pt x="258" y="51"/>
                  <a:pt x="258" y="51"/>
                  <a:pt x="258" y="51"/>
                </a:cubicBezTo>
                <a:cubicBezTo>
                  <a:pt x="260" y="50"/>
                  <a:pt x="260" y="50"/>
                  <a:pt x="260" y="50"/>
                </a:cubicBezTo>
                <a:cubicBezTo>
                  <a:pt x="259" y="50"/>
                  <a:pt x="259" y="50"/>
                  <a:pt x="259" y="50"/>
                </a:cubicBezTo>
                <a:cubicBezTo>
                  <a:pt x="258" y="49"/>
                  <a:pt x="258" y="49"/>
                  <a:pt x="258" y="49"/>
                </a:cubicBezTo>
                <a:cubicBezTo>
                  <a:pt x="257" y="48"/>
                  <a:pt x="257" y="48"/>
                  <a:pt x="257" y="48"/>
                </a:cubicBezTo>
                <a:cubicBezTo>
                  <a:pt x="256" y="47"/>
                  <a:pt x="256" y="47"/>
                  <a:pt x="256" y="47"/>
                </a:cubicBezTo>
                <a:cubicBezTo>
                  <a:pt x="255" y="47"/>
                  <a:pt x="255" y="47"/>
                  <a:pt x="255" y="47"/>
                </a:cubicBezTo>
                <a:cubicBezTo>
                  <a:pt x="254" y="47"/>
                  <a:pt x="254" y="47"/>
                  <a:pt x="254" y="47"/>
                </a:cubicBezTo>
                <a:cubicBezTo>
                  <a:pt x="254" y="48"/>
                  <a:pt x="254" y="48"/>
                  <a:pt x="254" y="48"/>
                </a:cubicBezTo>
                <a:close/>
                <a:moveTo>
                  <a:pt x="236" y="79"/>
                </a:moveTo>
                <a:cubicBezTo>
                  <a:pt x="236" y="80"/>
                  <a:pt x="236" y="80"/>
                  <a:pt x="236" y="80"/>
                </a:cubicBezTo>
                <a:cubicBezTo>
                  <a:pt x="236" y="81"/>
                  <a:pt x="236" y="81"/>
                  <a:pt x="236" y="81"/>
                </a:cubicBezTo>
                <a:cubicBezTo>
                  <a:pt x="236" y="82"/>
                  <a:pt x="236" y="82"/>
                  <a:pt x="236" y="82"/>
                </a:cubicBezTo>
                <a:cubicBezTo>
                  <a:pt x="236" y="80"/>
                  <a:pt x="236" y="80"/>
                  <a:pt x="236" y="80"/>
                </a:cubicBezTo>
                <a:cubicBezTo>
                  <a:pt x="236" y="79"/>
                  <a:pt x="236" y="79"/>
                  <a:pt x="236" y="79"/>
                </a:cubicBezTo>
                <a:close/>
                <a:moveTo>
                  <a:pt x="239" y="78"/>
                </a:moveTo>
                <a:cubicBezTo>
                  <a:pt x="238" y="78"/>
                  <a:pt x="238" y="78"/>
                  <a:pt x="238" y="78"/>
                </a:cubicBezTo>
                <a:cubicBezTo>
                  <a:pt x="237" y="81"/>
                  <a:pt x="237" y="81"/>
                  <a:pt x="237" y="81"/>
                </a:cubicBezTo>
                <a:cubicBezTo>
                  <a:pt x="237" y="82"/>
                  <a:pt x="237" y="82"/>
                  <a:pt x="237" y="82"/>
                </a:cubicBezTo>
                <a:cubicBezTo>
                  <a:pt x="238" y="81"/>
                  <a:pt x="238" y="81"/>
                  <a:pt x="238" y="81"/>
                </a:cubicBezTo>
                <a:cubicBezTo>
                  <a:pt x="238" y="79"/>
                  <a:pt x="238" y="79"/>
                  <a:pt x="238" y="79"/>
                </a:cubicBezTo>
                <a:cubicBezTo>
                  <a:pt x="239" y="78"/>
                  <a:pt x="239" y="78"/>
                  <a:pt x="239" y="78"/>
                </a:cubicBezTo>
                <a:close/>
                <a:moveTo>
                  <a:pt x="249" y="86"/>
                </a:moveTo>
                <a:cubicBezTo>
                  <a:pt x="248" y="87"/>
                  <a:pt x="248" y="87"/>
                  <a:pt x="248" y="87"/>
                </a:cubicBezTo>
                <a:cubicBezTo>
                  <a:pt x="249" y="87"/>
                  <a:pt x="249" y="87"/>
                  <a:pt x="249" y="87"/>
                </a:cubicBezTo>
                <a:cubicBezTo>
                  <a:pt x="249" y="87"/>
                  <a:pt x="249" y="87"/>
                  <a:pt x="249" y="87"/>
                </a:cubicBezTo>
                <a:cubicBezTo>
                  <a:pt x="249" y="86"/>
                  <a:pt x="249" y="86"/>
                  <a:pt x="249" y="86"/>
                </a:cubicBezTo>
                <a:close/>
                <a:moveTo>
                  <a:pt x="245" y="84"/>
                </a:moveTo>
                <a:cubicBezTo>
                  <a:pt x="245" y="84"/>
                  <a:pt x="245" y="84"/>
                  <a:pt x="245" y="84"/>
                </a:cubicBezTo>
                <a:cubicBezTo>
                  <a:pt x="245" y="84"/>
                  <a:pt x="245" y="84"/>
                  <a:pt x="245" y="84"/>
                </a:cubicBezTo>
                <a:cubicBezTo>
                  <a:pt x="245" y="85"/>
                  <a:pt x="245" y="85"/>
                  <a:pt x="245" y="85"/>
                </a:cubicBezTo>
                <a:cubicBezTo>
                  <a:pt x="245" y="86"/>
                  <a:pt x="245" y="86"/>
                  <a:pt x="245" y="86"/>
                </a:cubicBezTo>
                <a:cubicBezTo>
                  <a:pt x="246" y="86"/>
                  <a:pt x="246" y="86"/>
                  <a:pt x="246" y="86"/>
                </a:cubicBezTo>
                <a:cubicBezTo>
                  <a:pt x="245" y="86"/>
                  <a:pt x="245" y="86"/>
                  <a:pt x="245" y="86"/>
                </a:cubicBezTo>
                <a:cubicBezTo>
                  <a:pt x="245" y="86"/>
                  <a:pt x="245" y="86"/>
                  <a:pt x="245" y="86"/>
                </a:cubicBezTo>
                <a:cubicBezTo>
                  <a:pt x="245" y="87"/>
                  <a:pt x="245" y="87"/>
                  <a:pt x="245" y="87"/>
                </a:cubicBezTo>
                <a:cubicBezTo>
                  <a:pt x="245" y="88"/>
                  <a:pt x="245" y="88"/>
                  <a:pt x="245" y="88"/>
                </a:cubicBezTo>
                <a:cubicBezTo>
                  <a:pt x="246" y="88"/>
                  <a:pt x="246" y="88"/>
                  <a:pt x="246" y="88"/>
                </a:cubicBezTo>
                <a:cubicBezTo>
                  <a:pt x="247" y="87"/>
                  <a:pt x="247" y="87"/>
                  <a:pt x="247" y="87"/>
                </a:cubicBezTo>
                <a:cubicBezTo>
                  <a:pt x="247" y="86"/>
                  <a:pt x="247" y="86"/>
                  <a:pt x="247" y="86"/>
                </a:cubicBezTo>
                <a:cubicBezTo>
                  <a:pt x="247" y="86"/>
                  <a:pt x="247" y="86"/>
                  <a:pt x="247" y="86"/>
                </a:cubicBezTo>
                <a:cubicBezTo>
                  <a:pt x="246" y="85"/>
                  <a:pt x="246" y="85"/>
                  <a:pt x="246" y="85"/>
                </a:cubicBezTo>
                <a:cubicBezTo>
                  <a:pt x="245" y="84"/>
                  <a:pt x="245" y="84"/>
                  <a:pt x="245" y="84"/>
                </a:cubicBezTo>
                <a:close/>
                <a:moveTo>
                  <a:pt x="247" y="84"/>
                </a:moveTo>
                <a:cubicBezTo>
                  <a:pt x="247" y="84"/>
                  <a:pt x="247" y="85"/>
                  <a:pt x="247" y="85"/>
                </a:cubicBezTo>
                <a:cubicBezTo>
                  <a:pt x="247" y="85"/>
                  <a:pt x="247" y="85"/>
                  <a:pt x="247" y="85"/>
                </a:cubicBezTo>
                <a:cubicBezTo>
                  <a:pt x="248" y="86"/>
                  <a:pt x="248" y="86"/>
                  <a:pt x="248" y="86"/>
                </a:cubicBezTo>
                <a:cubicBezTo>
                  <a:pt x="248" y="85"/>
                  <a:pt x="248" y="85"/>
                  <a:pt x="248" y="85"/>
                </a:cubicBezTo>
                <a:cubicBezTo>
                  <a:pt x="248" y="85"/>
                  <a:pt x="248" y="85"/>
                  <a:pt x="248" y="85"/>
                </a:cubicBezTo>
                <a:cubicBezTo>
                  <a:pt x="247" y="84"/>
                  <a:pt x="247" y="84"/>
                  <a:pt x="247" y="84"/>
                </a:cubicBezTo>
                <a:close/>
                <a:moveTo>
                  <a:pt x="246" y="82"/>
                </a:moveTo>
                <a:cubicBezTo>
                  <a:pt x="245" y="82"/>
                  <a:pt x="245" y="82"/>
                  <a:pt x="245" y="82"/>
                </a:cubicBezTo>
                <a:cubicBezTo>
                  <a:pt x="245" y="83"/>
                  <a:pt x="245" y="83"/>
                  <a:pt x="245" y="83"/>
                </a:cubicBezTo>
                <a:cubicBezTo>
                  <a:pt x="246" y="84"/>
                  <a:pt x="246" y="84"/>
                  <a:pt x="246" y="84"/>
                </a:cubicBezTo>
                <a:cubicBezTo>
                  <a:pt x="247" y="84"/>
                  <a:pt x="247" y="84"/>
                  <a:pt x="247" y="84"/>
                </a:cubicBezTo>
                <a:cubicBezTo>
                  <a:pt x="247" y="84"/>
                  <a:pt x="247" y="84"/>
                  <a:pt x="247" y="84"/>
                </a:cubicBezTo>
                <a:cubicBezTo>
                  <a:pt x="246" y="83"/>
                  <a:pt x="246" y="83"/>
                  <a:pt x="246" y="83"/>
                </a:cubicBezTo>
                <a:cubicBezTo>
                  <a:pt x="246" y="82"/>
                  <a:pt x="246" y="82"/>
                  <a:pt x="246" y="82"/>
                </a:cubicBezTo>
                <a:close/>
                <a:moveTo>
                  <a:pt x="248" y="82"/>
                </a:moveTo>
                <a:cubicBezTo>
                  <a:pt x="247" y="82"/>
                  <a:pt x="247" y="82"/>
                  <a:pt x="247" y="82"/>
                </a:cubicBezTo>
                <a:cubicBezTo>
                  <a:pt x="246" y="83"/>
                  <a:pt x="246" y="83"/>
                  <a:pt x="246" y="83"/>
                </a:cubicBezTo>
                <a:cubicBezTo>
                  <a:pt x="246" y="83"/>
                  <a:pt x="246" y="83"/>
                  <a:pt x="246" y="83"/>
                </a:cubicBezTo>
                <a:cubicBezTo>
                  <a:pt x="248" y="84"/>
                  <a:pt x="248" y="84"/>
                  <a:pt x="248" y="84"/>
                </a:cubicBezTo>
                <a:cubicBezTo>
                  <a:pt x="248" y="84"/>
                  <a:pt x="248" y="84"/>
                  <a:pt x="248" y="84"/>
                </a:cubicBezTo>
                <a:cubicBezTo>
                  <a:pt x="249" y="83"/>
                  <a:pt x="249" y="83"/>
                  <a:pt x="249" y="83"/>
                </a:cubicBezTo>
                <a:cubicBezTo>
                  <a:pt x="249" y="83"/>
                  <a:pt x="249" y="83"/>
                  <a:pt x="249" y="83"/>
                </a:cubicBezTo>
                <a:cubicBezTo>
                  <a:pt x="249" y="82"/>
                  <a:pt x="249" y="82"/>
                  <a:pt x="249" y="82"/>
                </a:cubicBezTo>
                <a:cubicBezTo>
                  <a:pt x="249" y="82"/>
                  <a:pt x="249" y="82"/>
                  <a:pt x="249" y="82"/>
                </a:cubicBezTo>
                <a:cubicBezTo>
                  <a:pt x="248" y="82"/>
                  <a:pt x="248" y="82"/>
                  <a:pt x="248" y="82"/>
                </a:cubicBezTo>
                <a:cubicBezTo>
                  <a:pt x="248" y="82"/>
                  <a:pt x="248" y="82"/>
                  <a:pt x="248" y="82"/>
                </a:cubicBezTo>
                <a:close/>
                <a:moveTo>
                  <a:pt x="246" y="80"/>
                </a:moveTo>
                <a:cubicBezTo>
                  <a:pt x="245" y="80"/>
                  <a:pt x="245" y="80"/>
                  <a:pt x="245" y="80"/>
                </a:cubicBezTo>
                <a:cubicBezTo>
                  <a:pt x="245" y="81"/>
                  <a:pt x="245" y="81"/>
                  <a:pt x="245" y="81"/>
                </a:cubicBezTo>
                <a:cubicBezTo>
                  <a:pt x="246" y="81"/>
                  <a:pt x="246" y="81"/>
                  <a:pt x="246" y="81"/>
                </a:cubicBezTo>
                <a:cubicBezTo>
                  <a:pt x="246" y="80"/>
                  <a:pt x="246" y="80"/>
                  <a:pt x="246" y="80"/>
                </a:cubicBezTo>
                <a:close/>
                <a:moveTo>
                  <a:pt x="248" y="78"/>
                </a:moveTo>
                <a:cubicBezTo>
                  <a:pt x="248" y="79"/>
                  <a:pt x="248" y="79"/>
                  <a:pt x="248" y="79"/>
                </a:cubicBezTo>
                <a:cubicBezTo>
                  <a:pt x="249" y="79"/>
                  <a:pt x="249" y="79"/>
                  <a:pt x="249" y="79"/>
                </a:cubicBezTo>
                <a:cubicBezTo>
                  <a:pt x="248" y="78"/>
                  <a:pt x="248" y="78"/>
                  <a:pt x="248" y="78"/>
                </a:cubicBezTo>
                <a:cubicBezTo>
                  <a:pt x="248" y="78"/>
                  <a:pt x="248" y="78"/>
                  <a:pt x="248" y="78"/>
                </a:cubicBezTo>
                <a:close/>
                <a:moveTo>
                  <a:pt x="247" y="79"/>
                </a:moveTo>
                <a:cubicBezTo>
                  <a:pt x="247" y="79"/>
                  <a:pt x="247" y="79"/>
                  <a:pt x="247" y="79"/>
                </a:cubicBezTo>
                <a:cubicBezTo>
                  <a:pt x="246" y="80"/>
                  <a:pt x="246" y="80"/>
                  <a:pt x="246" y="80"/>
                </a:cubicBezTo>
                <a:cubicBezTo>
                  <a:pt x="246" y="80"/>
                  <a:pt x="246" y="80"/>
                  <a:pt x="246" y="80"/>
                </a:cubicBezTo>
                <a:cubicBezTo>
                  <a:pt x="246" y="80"/>
                  <a:pt x="246" y="80"/>
                  <a:pt x="246" y="80"/>
                </a:cubicBezTo>
                <a:cubicBezTo>
                  <a:pt x="246" y="80"/>
                  <a:pt x="246" y="80"/>
                  <a:pt x="246" y="80"/>
                </a:cubicBezTo>
                <a:cubicBezTo>
                  <a:pt x="247" y="80"/>
                  <a:pt x="247" y="80"/>
                  <a:pt x="247" y="80"/>
                </a:cubicBezTo>
                <a:cubicBezTo>
                  <a:pt x="246" y="81"/>
                  <a:pt x="246" y="81"/>
                  <a:pt x="246" y="81"/>
                </a:cubicBezTo>
                <a:cubicBezTo>
                  <a:pt x="246" y="82"/>
                  <a:pt x="246" y="82"/>
                  <a:pt x="246" y="82"/>
                </a:cubicBezTo>
                <a:cubicBezTo>
                  <a:pt x="247" y="82"/>
                  <a:pt x="247" y="82"/>
                  <a:pt x="247" y="82"/>
                </a:cubicBezTo>
                <a:cubicBezTo>
                  <a:pt x="248" y="81"/>
                  <a:pt x="248" y="81"/>
                  <a:pt x="248" y="81"/>
                </a:cubicBezTo>
                <a:cubicBezTo>
                  <a:pt x="248" y="81"/>
                  <a:pt x="248" y="81"/>
                  <a:pt x="248" y="81"/>
                </a:cubicBezTo>
                <a:cubicBezTo>
                  <a:pt x="249" y="80"/>
                  <a:pt x="249" y="80"/>
                  <a:pt x="249" y="80"/>
                </a:cubicBezTo>
                <a:cubicBezTo>
                  <a:pt x="249" y="79"/>
                  <a:pt x="249" y="79"/>
                  <a:pt x="249" y="79"/>
                </a:cubicBezTo>
                <a:cubicBezTo>
                  <a:pt x="248" y="79"/>
                  <a:pt x="248" y="79"/>
                  <a:pt x="248" y="79"/>
                </a:cubicBezTo>
                <a:cubicBezTo>
                  <a:pt x="247" y="79"/>
                  <a:pt x="247" y="79"/>
                  <a:pt x="247" y="79"/>
                </a:cubicBezTo>
                <a:close/>
                <a:moveTo>
                  <a:pt x="231" y="89"/>
                </a:moveTo>
                <a:cubicBezTo>
                  <a:pt x="232" y="88"/>
                  <a:pt x="232" y="88"/>
                  <a:pt x="232" y="88"/>
                </a:cubicBezTo>
                <a:cubicBezTo>
                  <a:pt x="231" y="88"/>
                  <a:pt x="231" y="88"/>
                  <a:pt x="231" y="88"/>
                </a:cubicBezTo>
                <a:cubicBezTo>
                  <a:pt x="231" y="89"/>
                  <a:pt x="231" y="89"/>
                  <a:pt x="231" y="89"/>
                </a:cubicBezTo>
                <a:close/>
                <a:moveTo>
                  <a:pt x="230" y="89"/>
                </a:moveTo>
                <a:cubicBezTo>
                  <a:pt x="231" y="90"/>
                  <a:pt x="231" y="90"/>
                  <a:pt x="231" y="90"/>
                </a:cubicBezTo>
                <a:cubicBezTo>
                  <a:pt x="231" y="89"/>
                  <a:pt x="231" y="89"/>
                  <a:pt x="231" y="89"/>
                </a:cubicBezTo>
                <a:cubicBezTo>
                  <a:pt x="230" y="89"/>
                  <a:pt x="230" y="89"/>
                  <a:pt x="230" y="89"/>
                </a:cubicBezTo>
                <a:close/>
                <a:moveTo>
                  <a:pt x="224" y="92"/>
                </a:moveTo>
                <a:cubicBezTo>
                  <a:pt x="224" y="92"/>
                  <a:pt x="224" y="92"/>
                  <a:pt x="224" y="92"/>
                </a:cubicBezTo>
                <a:cubicBezTo>
                  <a:pt x="224" y="92"/>
                  <a:pt x="224" y="92"/>
                  <a:pt x="224" y="92"/>
                </a:cubicBezTo>
                <a:cubicBezTo>
                  <a:pt x="224" y="92"/>
                  <a:pt x="224" y="92"/>
                  <a:pt x="224" y="92"/>
                </a:cubicBezTo>
                <a:close/>
                <a:moveTo>
                  <a:pt x="226" y="91"/>
                </a:moveTo>
                <a:cubicBezTo>
                  <a:pt x="224" y="91"/>
                  <a:pt x="224" y="91"/>
                  <a:pt x="224" y="91"/>
                </a:cubicBezTo>
                <a:cubicBezTo>
                  <a:pt x="225" y="92"/>
                  <a:pt x="225" y="92"/>
                  <a:pt x="225" y="92"/>
                </a:cubicBezTo>
                <a:cubicBezTo>
                  <a:pt x="226" y="91"/>
                  <a:pt x="226" y="91"/>
                  <a:pt x="226" y="91"/>
                </a:cubicBezTo>
                <a:cubicBezTo>
                  <a:pt x="226" y="91"/>
                  <a:pt x="226" y="91"/>
                  <a:pt x="226" y="91"/>
                </a:cubicBezTo>
                <a:close/>
                <a:moveTo>
                  <a:pt x="226" y="96"/>
                </a:moveTo>
                <a:cubicBezTo>
                  <a:pt x="225" y="96"/>
                  <a:pt x="225" y="96"/>
                  <a:pt x="225" y="96"/>
                </a:cubicBezTo>
                <a:cubicBezTo>
                  <a:pt x="224" y="96"/>
                  <a:pt x="224" y="96"/>
                  <a:pt x="224" y="96"/>
                </a:cubicBezTo>
                <a:cubicBezTo>
                  <a:pt x="224" y="97"/>
                  <a:pt x="224" y="97"/>
                  <a:pt x="224" y="97"/>
                </a:cubicBezTo>
                <a:cubicBezTo>
                  <a:pt x="225" y="97"/>
                  <a:pt x="225" y="97"/>
                  <a:pt x="225" y="97"/>
                </a:cubicBezTo>
                <a:cubicBezTo>
                  <a:pt x="226" y="96"/>
                  <a:pt x="226" y="96"/>
                  <a:pt x="226" y="96"/>
                </a:cubicBezTo>
                <a:cubicBezTo>
                  <a:pt x="226" y="96"/>
                  <a:pt x="226" y="96"/>
                  <a:pt x="226" y="96"/>
                </a:cubicBezTo>
                <a:close/>
                <a:moveTo>
                  <a:pt x="228" y="90"/>
                </a:moveTo>
                <a:cubicBezTo>
                  <a:pt x="226" y="92"/>
                  <a:pt x="226" y="92"/>
                  <a:pt x="226" y="92"/>
                </a:cubicBezTo>
                <a:cubicBezTo>
                  <a:pt x="226" y="93"/>
                  <a:pt x="226" y="93"/>
                  <a:pt x="226" y="93"/>
                </a:cubicBezTo>
                <a:cubicBezTo>
                  <a:pt x="226" y="93"/>
                  <a:pt x="226" y="93"/>
                  <a:pt x="226" y="93"/>
                </a:cubicBezTo>
                <a:cubicBezTo>
                  <a:pt x="226" y="94"/>
                  <a:pt x="226" y="94"/>
                  <a:pt x="226" y="94"/>
                </a:cubicBezTo>
                <a:cubicBezTo>
                  <a:pt x="226" y="95"/>
                  <a:pt x="226" y="95"/>
                  <a:pt x="226" y="95"/>
                </a:cubicBezTo>
                <a:cubicBezTo>
                  <a:pt x="227" y="95"/>
                  <a:pt x="227" y="95"/>
                  <a:pt x="227" y="95"/>
                </a:cubicBezTo>
                <a:cubicBezTo>
                  <a:pt x="227" y="95"/>
                  <a:pt x="227" y="95"/>
                  <a:pt x="227" y="95"/>
                </a:cubicBezTo>
                <a:cubicBezTo>
                  <a:pt x="229" y="93"/>
                  <a:pt x="229" y="93"/>
                  <a:pt x="229" y="93"/>
                </a:cubicBezTo>
                <a:cubicBezTo>
                  <a:pt x="229" y="92"/>
                  <a:pt x="229" y="92"/>
                  <a:pt x="229" y="92"/>
                </a:cubicBezTo>
                <a:cubicBezTo>
                  <a:pt x="229" y="91"/>
                  <a:pt x="229" y="91"/>
                  <a:pt x="229" y="91"/>
                </a:cubicBezTo>
                <a:cubicBezTo>
                  <a:pt x="229" y="90"/>
                  <a:pt x="229" y="90"/>
                  <a:pt x="229" y="90"/>
                </a:cubicBezTo>
                <a:cubicBezTo>
                  <a:pt x="229" y="90"/>
                  <a:pt x="229" y="90"/>
                  <a:pt x="229" y="90"/>
                </a:cubicBezTo>
                <a:cubicBezTo>
                  <a:pt x="229" y="90"/>
                  <a:pt x="229" y="90"/>
                  <a:pt x="229" y="90"/>
                </a:cubicBezTo>
                <a:cubicBezTo>
                  <a:pt x="228" y="90"/>
                  <a:pt x="228" y="90"/>
                  <a:pt x="228" y="90"/>
                </a:cubicBezTo>
                <a:cubicBezTo>
                  <a:pt x="228" y="90"/>
                  <a:pt x="228" y="90"/>
                  <a:pt x="228" y="90"/>
                </a:cubicBezTo>
                <a:close/>
                <a:moveTo>
                  <a:pt x="219" y="84"/>
                </a:moveTo>
                <a:cubicBezTo>
                  <a:pt x="219" y="84"/>
                  <a:pt x="219" y="84"/>
                  <a:pt x="219" y="84"/>
                </a:cubicBezTo>
                <a:cubicBezTo>
                  <a:pt x="219" y="83"/>
                  <a:pt x="219" y="83"/>
                  <a:pt x="219" y="83"/>
                </a:cubicBezTo>
                <a:cubicBezTo>
                  <a:pt x="219" y="84"/>
                  <a:pt x="219" y="84"/>
                  <a:pt x="219" y="84"/>
                </a:cubicBezTo>
                <a:close/>
                <a:moveTo>
                  <a:pt x="216" y="86"/>
                </a:moveTo>
                <a:cubicBezTo>
                  <a:pt x="215" y="87"/>
                  <a:pt x="215" y="87"/>
                  <a:pt x="215" y="87"/>
                </a:cubicBezTo>
                <a:cubicBezTo>
                  <a:pt x="216" y="87"/>
                  <a:pt x="216" y="87"/>
                  <a:pt x="216" y="87"/>
                </a:cubicBezTo>
                <a:cubicBezTo>
                  <a:pt x="216" y="86"/>
                  <a:pt x="216" y="86"/>
                  <a:pt x="216" y="86"/>
                </a:cubicBezTo>
                <a:close/>
                <a:moveTo>
                  <a:pt x="218" y="96"/>
                </a:moveTo>
                <a:cubicBezTo>
                  <a:pt x="217" y="96"/>
                  <a:pt x="217" y="96"/>
                  <a:pt x="217" y="96"/>
                </a:cubicBezTo>
                <a:cubicBezTo>
                  <a:pt x="217" y="96"/>
                  <a:pt x="217" y="96"/>
                  <a:pt x="217" y="96"/>
                </a:cubicBezTo>
                <a:cubicBezTo>
                  <a:pt x="218" y="96"/>
                  <a:pt x="218" y="96"/>
                  <a:pt x="218" y="96"/>
                </a:cubicBezTo>
                <a:close/>
                <a:moveTo>
                  <a:pt x="216" y="94"/>
                </a:moveTo>
                <a:cubicBezTo>
                  <a:pt x="217" y="93"/>
                  <a:pt x="217" y="93"/>
                  <a:pt x="217" y="93"/>
                </a:cubicBezTo>
                <a:cubicBezTo>
                  <a:pt x="217" y="94"/>
                  <a:pt x="217" y="94"/>
                  <a:pt x="217" y="94"/>
                </a:cubicBezTo>
                <a:cubicBezTo>
                  <a:pt x="218" y="95"/>
                  <a:pt x="218" y="95"/>
                  <a:pt x="218" y="95"/>
                </a:cubicBezTo>
                <a:cubicBezTo>
                  <a:pt x="217" y="95"/>
                  <a:pt x="217" y="95"/>
                  <a:pt x="217" y="95"/>
                </a:cubicBezTo>
                <a:cubicBezTo>
                  <a:pt x="216" y="95"/>
                  <a:pt x="216" y="95"/>
                  <a:pt x="216" y="95"/>
                </a:cubicBezTo>
                <a:cubicBezTo>
                  <a:pt x="216" y="94"/>
                  <a:pt x="216" y="94"/>
                  <a:pt x="216" y="94"/>
                </a:cubicBezTo>
                <a:close/>
                <a:moveTo>
                  <a:pt x="209" y="90"/>
                </a:moveTo>
                <a:cubicBezTo>
                  <a:pt x="210" y="89"/>
                  <a:pt x="210" y="89"/>
                  <a:pt x="210" y="89"/>
                </a:cubicBezTo>
                <a:cubicBezTo>
                  <a:pt x="210" y="90"/>
                  <a:pt x="210" y="90"/>
                  <a:pt x="210" y="90"/>
                </a:cubicBezTo>
                <a:cubicBezTo>
                  <a:pt x="210" y="90"/>
                  <a:pt x="210" y="90"/>
                  <a:pt x="210" y="90"/>
                </a:cubicBezTo>
                <a:cubicBezTo>
                  <a:pt x="209" y="90"/>
                  <a:pt x="209" y="90"/>
                  <a:pt x="209" y="90"/>
                </a:cubicBezTo>
                <a:cubicBezTo>
                  <a:pt x="209" y="90"/>
                  <a:pt x="209" y="90"/>
                  <a:pt x="209" y="90"/>
                </a:cubicBezTo>
                <a:close/>
                <a:moveTo>
                  <a:pt x="211" y="97"/>
                </a:moveTo>
                <a:cubicBezTo>
                  <a:pt x="212" y="97"/>
                  <a:pt x="212" y="97"/>
                  <a:pt x="212" y="97"/>
                </a:cubicBezTo>
                <a:cubicBezTo>
                  <a:pt x="212" y="97"/>
                  <a:pt x="212" y="97"/>
                  <a:pt x="212" y="97"/>
                </a:cubicBezTo>
                <a:cubicBezTo>
                  <a:pt x="211" y="97"/>
                  <a:pt x="211" y="97"/>
                  <a:pt x="211" y="97"/>
                </a:cubicBezTo>
                <a:cubicBezTo>
                  <a:pt x="211" y="97"/>
                  <a:pt x="211" y="97"/>
                  <a:pt x="211" y="97"/>
                </a:cubicBezTo>
                <a:close/>
                <a:moveTo>
                  <a:pt x="201" y="93"/>
                </a:moveTo>
                <a:cubicBezTo>
                  <a:pt x="202" y="92"/>
                  <a:pt x="202" y="92"/>
                  <a:pt x="202" y="92"/>
                </a:cubicBezTo>
                <a:cubicBezTo>
                  <a:pt x="201" y="91"/>
                  <a:pt x="201" y="91"/>
                  <a:pt x="201" y="91"/>
                </a:cubicBezTo>
                <a:cubicBezTo>
                  <a:pt x="201" y="92"/>
                  <a:pt x="201" y="92"/>
                  <a:pt x="201" y="92"/>
                </a:cubicBezTo>
                <a:cubicBezTo>
                  <a:pt x="201" y="93"/>
                  <a:pt x="201" y="93"/>
                  <a:pt x="201" y="93"/>
                </a:cubicBezTo>
                <a:close/>
                <a:moveTo>
                  <a:pt x="204" y="96"/>
                </a:moveTo>
                <a:cubicBezTo>
                  <a:pt x="206" y="96"/>
                  <a:pt x="206" y="96"/>
                  <a:pt x="206" y="96"/>
                </a:cubicBezTo>
                <a:cubicBezTo>
                  <a:pt x="207" y="96"/>
                  <a:pt x="207" y="96"/>
                  <a:pt x="207" y="96"/>
                </a:cubicBezTo>
                <a:cubicBezTo>
                  <a:pt x="207" y="97"/>
                  <a:pt x="207" y="97"/>
                  <a:pt x="207" y="97"/>
                </a:cubicBezTo>
                <a:cubicBezTo>
                  <a:pt x="206" y="97"/>
                  <a:pt x="206" y="97"/>
                  <a:pt x="206" y="97"/>
                </a:cubicBezTo>
                <a:cubicBezTo>
                  <a:pt x="204" y="97"/>
                  <a:pt x="204" y="97"/>
                  <a:pt x="204" y="97"/>
                </a:cubicBezTo>
                <a:cubicBezTo>
                  <a:pt x="204" y="96"/>
                  <a:pt x="204" y="96"/>
                  <a:pt x="204" y="96"/>
                </a:cubicBezTo>
                <a:close/>
                <a:moveTo>
                  <a:pt x="202" y="97"/>
                </a:moveTo>
                <a:cubicBezTo>
                  <a:pt x="203" y="96"/>
                  <a:pt x="203" y="96"/>
                  <a:pt x="203" y="96"/>
                </a:cubicBezTo>
                <a:cubicBezTo>
                  <a:pt x="203" y="97"/>
                  <a:pt x="203" y="97"/>
                  <a:pt x="203" y="97"/>
                </a:cubicBezTo>
                <a:cubicBezTo>
                  <a:pt x="202" y="97"/>
                  <a:pt x="202" y="97"/>
                  <a:pt x="202" y="97"/>
                </a:cubicBezTo>
                <a:close/>
                <a:moveTo>
                  <a:pt x="200" y="96"/>
                </a:moveTo>
                <a:cubicBezTo>
                  <a:pt x="200" y="96"/>
                  <a:pt x="200" y="96"/>
                  <a:pt x="200" y="96"/>
                </a:cubicBezTo>
                <a:cubicBezTo>
                  <a:pt x="201" y="96"/>
                  <a:pt x="201" y="96"/>
                  <a:pt x="201" y="96"/>
                </a:cubicBezTo>
                <a:cubicBezTo>
                  <a:pt x="200" y="97"/>
                  <a:pt x="200" y="97"/>
                  <a:pt x="200" y="97"/>
                </a:cubicBezTo>
                <a:cubicBezTo>
                  <a:pt x="200" y="96"/>
                  <a:pt x="200" y="96"/>
                  <a:pt x="200" y="96"/>
                </a:cubicBezTo>
                <a:close/>
                <a:moveTo>
                  <a:pt x="176" y="109"/>
                </a:moveTo>
                <a:cubicBezTo>
                  <a:pt x="176" y="111"/>
                  <a:pt x="176" y="111"/>
                  <a:pt x="176" y="111"/>
                </a:cubicBezTo>
                <a:cubicBezTo>
                  <a:pt x="176" y="111"/>
                  <a:pt x="176" y="111"/>
                  <a:pt x="176" y="111"/>
                </a:cubicBezTo>
                <a:cubicBezTo>
                  <a:pt x="178" y="111"/>
                  <a:pt x="178" y="111"/>
                  <a:pt x="178" y="111"/>
                </a:cubicBezTo>
                <a:cubicBezTo>
                  <a:pt x="180" y="110"/>
                  <a:pt x="180" y="110"/>
                  <a:pt x="180" y="110"/>
                </a:cubicBezTo>
                <a:cubicBezTo>
                  <a:pt x="181" y="110"/>
                  <a:pt x="181" y="110"/>
                  <a:pt x="181" y="110"/>
                </a:cubicBezTo>
                <a:cubicBezTo>
                  <a:pt x="182" y="110"/>
                  <a:pt x="182" y="110"/>
                  <a:pt x="182" y="110"/>
                </a:cubicBezTo>
                <a:cubicBezTo>
                  <a:pt x="184" y="109"/>
                  <a:pt x="184" y="109"/>
                  <a:pt x="184" y="109"/>
                </a:cubicBezTo>
                <a:cubicBezTo>
                  <a:pt x="184" y="108"/>
                  <a:pt x="184" y="108"/>
                  <a:pt x="184" y="108"/>
                </a:cubicBezTo>
                <a:cubicBezTo>
                  <a:pt x="187" y="106"/>
                  <a:pt x="187" y="106"/>
                  <a:pt x="187" y="106"/>
                </a:cubicBezTo>
                <a:cubicBezTo>
                  <a:pt x="187" y="105"/>
                  <a:pt x="187" y="105"/>
                  <a:pt x="187" y="105"/>
                </a:cubicBezTo>
                <a:cubicBezTo>
                  <a:pt x="188" y="105"/>
                  <a:pt x="188" y="105"/>
                  <a:pt x="188" y="105"/>
                </a:cubicBezTo>
                <a:cubicBezTo>
                  <a:pt x="186" y="104"/>
                  <a:pt x="186" y="104"/>
                  <a:pt x="186" y="104"/>
                </a:cubicBezTo>
                <a:cubicBezTo>
                  <a:pt x="185" y="102"/>
                  <a:pt x="185" y="102"/>
                  <a:pt x="185" y="102"/>
                </a:cubicBezTo>
                <a:cubicBezTo>
                  <a:pt x="185" y="102"/>
                  <a:pt x="185" y="102"/>
                  <a:pt x="185" y="102"/>
                </a:cubicBezTo>
                <a:cubicBezTo>
                  <a:pt x="183" y="103"/>
                  <a:pt x="183" y="103"/>
                  <a:pt x="183" y="103"/>
                </a:cubicBezTo>
                <a:cubicBezTo>
                  <a:pt x="183" y="104"/>
                  <a:pt x="183" y="104"/>
                  <a:pt x="183" y="104"/>
                </a:cubicBezTo>
                <a:cubicBezTo>
                  <a:pt x="182" y="104"/>
                  <a:pt x="182" y="104"/>
                  <a:pt x="182" y="104"/>
                </a:cubicBezTo>
                <a:cubicBezTo>
                  <a:pt x="181" y="105"/>
                  <a:pt x="181" y="105"/>
                  <a:pt x="181" y="105"/>
                </a:cubicBezTo>
                <a:cubicBezTo>
                  <a:pt x="180" y="104"/>
                  <a:pt x="180" y="104"/>
                  <a:pt x="180" y="104"/>
                </a:cubicBezTo>
                <a:cubicBezTo>
                  <a:pt x="180" y="104"/>
                  <a:pt x="180" y="104"/>
                  <a:pt x="180" y="104"/>
                </a:cubicBezTo>
                <a:cubicBezTo>
                  <a:pt x="178" y="105"/>
                  <a:pt x="178" y="105"/>
                  <a:pt x="178" y="105"/>
                </a:cubicBezTo>
                <a:cubicBezTo>
                  <a:pt x="178" y="106"/>
                  <a:pt x="178" y="106"/>
                  <a:pt x="178" y="106"/>
                </a:cubicBezTo>
                <a:cubicBezTo>
                  <a:pt x="177" y="108"/>
                  <a:pt x="177" y="108"/>
                  <a:pt x="177" y="108"/>
                </a:cubicBezTo>
                <a:cubicBezTo>
                  <a:pt x="177" y="109"/>
                  <a:pt x="177" y="109"/>
                  <a:pt x="177" y="109"/>
                </a:cubicBezTo>
                <a:cubicBezTo>
                  <a:pt x="177" y="109"/>
                  <a:pt x="177" y="109"/>
                  <a:pt x="177" y="109"/>
                </a:cubicBezTo>
                <a:cubicBezTo>
                  <a:pt x="177" y="110"/>
                  <a:pt x="177" y="110"/>
                  <a:pt x="177" y="110"/>
                </a:cubicBezTo>
                <a:cubicBezTo>
                  <a:pt x="177" y="110"/>
                  <a:pt x="177" y="110"/>
                  <a:pt x="177" y="110"/>
                </a:cubicBezTo>
                <a:cubicBezTo>
                  <a:pt x="176" y="109"/>
                  <a:pt x="176" y="109"/>
                  <a:pt x="176" y="109"/>
                </a:cubicBezTo>
                <a:close/>
                <a:moveTo>
                  <a:pt x="175" y="111"/>
                </a:moveTo>
                <a:cubicBezTo>
                  <a:pt x="175" y="110"/>
                  <a:pt x="175" y="110"/>
                  <a:pt x="175" y="110"/>
                </a:cubicBezTo>
                <a:cubicBezTo>
                  <a:pt x="175" y="110"/>
                  <a:pt x="175" y="110"/>
                  <a:pt x="175" y="110"/>
                </a:cubicBezTo>
                <a:cubicBezTo>
                  <a:pt x="174" y="111"/>
                  <a:pt x="174" y="111"/>
                  <a:pt x="174" y="111"/>
                </a:cubicBezTo>
                <a:cubicBezTo>
                  <a:pt x="175" y="111"/>
                  <a:pt x="175" y="111"/>
                  <a:pt x="175" y="111"/>
                </a:cubicBezTo>
                <a:close/>
                <a:moveTo>
                  <a:pt x="175" y="112"/>
                </a:moveTo>
                <a:cubicBezTo>
                  <a:pt x="174" y="112"/>
                  <a:pt x="174" y="112"/>
                  <a:pt x="174" y="112"/>
                </a:cubicBezTo>
                <a:cubicBezTo>
                  <a:pt x="174" y="113"/>
                  <a:pt x="174" y="113"/>
                  <a:pt x="174" y="113"/>
                </a:cubicBezTo>
                <a:cubicBezTo>
                  <a:pt x="172" y="113"/>
                  <a:pt x="172" y="113"/>
                  <a:pt x="172" y="113"/>
                </a:cubicBezTo>
                <a:cubicBezTo>
                  <a:pt x="171" y="114"/>
                  <a:pt x="171" y="114"/>
                  <a:pt x="171" y="114"/>
                </a:cubicBezTo>
                <a:cubicBezTo>
                  <a:pt x="172" y="115"/>
                  <a:pt x="172" y="115"/>
                  <a:pt x="172" y="115"/>
                </a:cubicBezTo>
                <a:cubicBezTo>
                  <a:pt x="175" y="113"/>
                  <a:pt x="175" y="113"/>
                  <a:pt x="175" y="113"/>
                </a:cubicBezTo>
                <a:cubicBezTo>
                  <a:pt x="175" y="112"/>
                  <a:pt x="175" y="112"/>
                  <a:pt x="175" y="112"/>
                </a:cubicBezTo>
                <a:cubicBezTo>
                  <a:pt x="175" y="112"/>
                  <a:pt x="175" y="112"/>
                  <a:pt x="175" y="112"/>
                </a:cubicBezTo>
                <a:close/>
                <a:moveTo>
                  <a:pt x="166" y="111"/>
                </a:moveTo>
                <a:cubicBezTo>
                  <a:pt x="166" y="112"/>
                  <a:pt x="166" y="112"/>
                  <a:pt x="166" y="112"/>
                </a:cubicBezTo>
                <a:cubicBezTo>
                  <a:pt x="167" y="113"/>
                  <a:pt x="167" y="113"/>
                  <a:pt x="167" y="113"/>
                </a:cubicBezTo>
                <a:cubicBezTo>
                  <a:pt x="166" y="113"/>
                  <a:pt x="166" y="113"/>
                  <a:pt x="166" y="113"/>
                </a:cubicBezTo>
                <a:cubicBezTo>
                  <a:pt x="165" y="113"/>
                  <a:pt x="165" y="113"/>
                  <a:pt x="165" y="113"/>
                </a:cubicBezTo>
                <a:cubicBezTo>
                  <a:pt x="165" y="112"/>
                  <a:pt x="165" y="112"/>
                  <a:pt x="165" y="112"/>
                </a:cubicBezTo>
                <a:cubicBezTo>
                  <a:pt x="166" y="111"/>
                  <a:pt x="166" y="111"/>
                  <a:pt x="166" y="111"/>
                </a:cubicBezTo>
                <a:close/>
                <a:moveTo>
                  <a:pt x="148" y="105"/>
                </a:moveTo>
                <a:cubicBezTo>
                  <a:pt x="150" y="103"/>
                  <a:pt x="150" y="103"/>
                  <a:pt x="150" y="103"/>
                </a:cubicBezTo>
                <a:cubicBezTo>
                  <a:pt x="152" y="105"/>
                  <a:pt x="152" y="105"/>
                  <a:pt x="152" y="105"/>
                </a:cubicBezTo>
                <a:cubicBezTo>
                  <a:pt x="153" y="105"/>
                  <a:pt x="153" y="105"/>
                  <a:pt x="153" y="105"/>
                </a:cubicBezTo>
                <a:cubicBezTo>
                  <a:pt x="154" y="104"/>
                  <a:pt x="154" y="104"/>
                  <a:pt x="154" y="104"/>
                </a:cubicBezTo>
                <a:cubicBezTo>
                  <a:pt x="156" y="105"/>
                  <a:pt x="156" y="105"/>
                  <a:pt x="156" y="105"/>
                </a:cubicBezTo>
                <a:cubicBezTo>
                  <a:pt x="156" y="106"/>
                  <a:pt x="156" y="106"/>
                  <a:pt x="156" y="106"/>
                </a:cubicBezTo>
                <a:cubicBezTo>
                  <a:pt x="157" y="106"/>
                  <a:pt x="157" y="106"/>
                  <a:pt x="157" y="106"/>
                </a:cubicBezTo>
                <a:cubicBezTo>
                  <a:pt x="158" y="108"/>
                  <a:pt x="158" y="108"/>
                  <a:pt x="158" y="108"/>
                </a:cubicBezTo>
                <a:cubicBezTo>
                  <a:pt x="159" y="108"/>
                  <a:pt x="159" y="108"/>
                  <a:pt x="159" y="108"/>
                </a:cubicBezTo>
                <a:cubicBezTo>
                  <a:pt x="159" y="109"/>
                  <a:pt x="159" y="109"/>
                  <a:pt x="159" y="109"/>
                </a:cubicBezTo>
                <a:cubicBezTo>
                  <a:pt x="158" y="110"/>
                  <a:pt x="158" y="110"/>
                  <a:pt x="158" y="110"/>
                </a:cubicBezTo>
                <a:cubicBezTo>
                  <a:pt x="156" y="110"/>
                  <a:pt x="156" y="110"/>
                  <a:pt x="156" y="110"/>
                </a:cubicBezTo>
                <a:cubicBezTo>
                  <a:pt x="155" y="110"/>
                  <a:pt x="155" y="110"/>
                  <a:pt x="155" y="110"/>
                </a:cubicBezTo>
                <a:cubicBezTo>
                  <a:pt x="154" y="108"/>
                  <a:pt x="154" y="108"/>
                  <a:pt x="154" y="108"/>
                </a:cubicBezTo>
                <a:cubicBezTo>
                  <a:pt x="153" y="108"/>
                  <a:pt x="153" y="108"/>
                  <a:pt x="153" y="108"/>
                </a:cubicBezTo>
                <a:cubicBezTo>
                  <a:pt x="152" y="107"/>
                  <a:pt x="152" y="107"/>
                  <a:pt x="152" y="107"/>
                </a:cubicBezTo>
                <a:cubicBezTo>
                  <a:pt x="150" y="107"/>
                  <a:pt x="150" y="107"/>
                  <a:pt x="150" y="107"/>
                </a:cubicBezTo>
                <a:cubicBezTo>
                  <a:pt x="148" y="107"/>
                  <a:pt x="148" y="107"/>
                  <a:pt x="148" y="107"/>
                </a:cubicBezTo>
                <a:cubicBezTo>
                  <a:pt x="147" y="106"/>
                  <a:pt x="147" y="106"/>
                  <a:pt x="147" y="106"/>
                </a:cubicBezTo>
                <a:cubicBezTo>
                  <a:pt x="148" y="105"/>
                  <a:pt x="148" y="105"/>
                  <a:pt x="148" y="105"/>
                </a:cubicBezTo>
                <a:close/>
                <a:moveTo>
                  <a:pt x="128" y="90"/>
                </a:moveTo>
                <a:cubicBezTo>
                  <a:pt x="129" y="90"/>
                  <a:pt x="129" y="90"/>
                  <a:pt x="129" y="90"/>
                </a:cubicBezTo>
                <a:cubicBezTo>
                  <a:pt x="129" y="90"/>
                  <a:pt x="129" y="90"/>
                  <a:pt x="129" y="90"/>
                </a:cubicBezTo>
                <a:cubicBezTo>
                  <a:pt x="129" y="91"/>
                  <a:pt x="129" y="91"/>
                  <a:pt x="129" y="91"/>
                </a:cubicBezTo>
                <a:cubicBezTo>
                  <a:pt x="128" y="91"/>
                  <a:pt x="128" y="91"/>
                  <a:pt x="128" y="91"/>
                </a:cubicBezTo>
                <a:cubicBezTo>
                  <a:pt x="128" y="90"/>
                  <a:pt x="128" y="90"/>
                  <a:pt x="128" y="90"/>
                </a:cubicBezTo>
                <a:close/>
                <a:moveTo>
                  <a:pt x="124" y="88"/>
                </a:moveTo>
                <a:cubicBezTo>
                  <a:pt x="125" y="89"/>
                  <a:pt x="125" y="89"/>
                  <a:pt x="125" y="89"/>
                </a:cubicBezTo>
                <a:cubicBezTo>
                  <a:pt x="126" y="88"/>
                  <a:pt x="126" y="88"/>
                  <a:pt x="126" y="88"/>
                </a:cubicBezTo>
                <a:cubicBezTo>
                  <a:pt x="127" y="89"/>
                  <a:pt x="127" y="89"/>
                  <a:pt x="127" y="89"/>
                </a:cubicBezTo>
                <a:cubicBezTo>
                  <a:pt x="127" y="89"/>
                  <a:pt x="127" y="89"/>
                  <a:pt x="127" y="89"/>
                </a:cubicBezTo>
                <a:cubicBezTo>
                  <a:pt x="127" y="88"/>
                  <a:pt x="127" y="88"/>
                  <a:pt x="127" y="88"/>
                </a:cubicBezTo>
                <a:cubicBezTo>
                  <a:pt x="126" y="88"/>
                  <a:pt x="126" y="88"/>
                  <a:pt x="126" y="88"/>
                </a:cubicBezTo>
                <a:cubicBezTo>
                  <a:pt x="125" y="88"/>
                  <a:pt x="125" y="88"/>
                  <a:pt x="125" y="88"/>
                </a:cubicBezTo>
                <a:cubicBezTo>
                  <a:pt x="124" y="88"/>
                  <a:pt x="124" y="88"/>
                  <a:pt x="124" y="88"/>
                </a:cubicBezTo>
                <a:cubicBezTo>
                  <a:pt x="124" y="88"/>
                  <a:pt x="124" y="88"/>
                  <a:pt x="124" y="88"/>
                </a:cubicBezTo>
                <a:close/>
                <a:moveTo>
                  <a:pt x="192" y="95"/>
                </a:moveTo>
                <a:cubicBezTo>
                  <a:pt x="193" y="94"/>
                  <a:pt x="193" y="94"/>
                  <a:pt x="193" y="94"/>
                </a:cubicBezTo>
                <a:cubicBezTo>
                  <a:pt x="195" y="94"/>
                  <a:pt x="195" y="94"/>
                  <a:pt x="195" y="94"/>
                </a:cubicBezTo>
                <a:cubicBezTo>
                  <a:pt x="196" y="95"/>
                  <a:pt x="196" y="95"/>
                  <a:pt x="196" y="95"/>
                </a:cubicBezTo>
                <a:cubicBezTo>
                  <a:pt x="196" y="94"/>
                  <a:pt x="196" y="94"/>
                  <a:pt x="196" y="94"/>
                </a:cubicBezTo>
                <a:cubicBezTo>
                  <a:pt x="197" y="94"/>
                  <a:pt x="197" y="94"/>
                  <a:pt x="197" y="94"/>
                </a:cubicBezTo>
                <a:cubicBezTo>
                  <a:pt x="198" y="93"/>
                  <a:pt x="198" y="93"/>
                  <a:pt x="198" y="93"/>
                </a:cubicBezTo>
                <a:cubicBezTo>
                  <a:pt x="198" y="93"/>
                  <a:pt x="198" y="93"/>
                  <a:pt x="198" y="93"/>
                </a:cubicBezTo>
                <a:cubicBezTo>
                  <a:pt x="197" y="92"/>
                  <a:pt x="197" y="92"/>
                  <a:pt x="197" y="92"/>
                </a:cubicBezTo>
                <a:cubicBezTo>
                  <a:pt x="196" y="93"/>
                  <a:pt x="196" y="93"/>
                  <a:pt x="196" y="93"/>
                </a:cubicBezTo>
                <a:cubicBezTo>
                  <a:pt x="194" y="93"/>
                  <a:pt x="194" y="93"/>
                  <a:pt x="194" y="93"/>
                </a:cubicBezTo>
                <a:cubicBezTo>
                  <a:pt x="193" y="92"/>
                  <a:pt x="193" y="92"/>
                  <a:pt x="193" y="92"/>
                </a:cubicBezTo>
                <a:cubicBezTo>
                  <a:pt x="192" y="93"/>
                  <a:pt x="192" y="93"/>
                  <a:pt x="192" y="93"/>
                </a:cubicBezTo>
                <a:cubicBezTo>
                  <a:pt x="192" y="94"/>
                  <a:pt x="192" y="94"/>
                  <a:pt x="192" y="94"/>
                </a:cubicBezTo>
                <a:cubicBezTo>
                  <a:pt x="192" y="95"/>
                  <a:pt x="192" y="95"/>
                  <a:pt x="192" y="95"/>
                </a:cubicBezTo>
                <a:close/>
                <a:moveTo>
                  <a:pt x="190" y="97"/>
                </a:moveTo>
                <a:cubicBezTo>
                  <a:pt x="190" y="97"/>
                  <a:pt x="190" y="97"/>
                  <a:pt x="190" y="97"/>
                </a:cubicBezTo>
                <a:cubicBezTo>
                  <a:pt x="190" y="97"/>
                  <a:pt x="190" y="97"/>
                  <a:pt x="190" y="97"/>
                </a:cubicBezTo>
                <a:cubicBezTo>
                  <a:pt x="190" y="97"/>
                  <a:pt x="190" y="97"/>
                  <a:pt x="190" y="97"/>
                </a:cubicBezTo>
                <a:cubicBezTo>
                  <a:pt x="190" y="97"/>
                  <a:pt x="190" y="97"/>
                  <a:pt x="190" y="97"/>
                </a:cubicBezTo>
                <a:close/>
                <a:moveTo>
                  <a:pt x="184" y="96"/>
                </a:moveTo>
                <a:cubicBezTo>
                  <a:pt x="183" y="97"/>
                  <a:pt x="183" y="97"/>
                  <a:pt x="183" y="97"/>
                </a:cubicBezTo>
                <a:cubicBezTo>
                  <a:pt x="183" y="97"/>
                  <a:pt x="183" y="97"/>
                  <a:pt x="183" y="97"/>
                </a:cubicBezTo>
                <a:cubicBezTo>
                  <a:pt x="183" y="98"/>
                  <a:pt x="183" y="98"/>
                  <a:pt x="183" y="98"/>
                </a:cubicBezTo>
                <a:cubicBezTo>
                  <a:pt x="183" y="98"/>
                  <a:pt x="183" y="98"/>
                  <a:pt x="183" y="98"/>
                </a:cubicBezTo>
                <a:cubicBezTo>
                  <a:pt x="184" y="99"/>
                  <a:pt x="184" y="99"/>
                  <a:pt x="184" y="99"/>
                </a:cubicBezTo>
                <a:cubicBezTo>
                  <a:pt x="186" y="98"/>
                  <a:pt x="186" y="98"/>
                  <a:pt x="186" y="98"/>
                </a:cubicBezTo>
                <a:cubicBezTo>
                  <a:pt x="187" y="97"/>
                  <a:pt x="187" y="97"/>
                  <a:pt x="187" y="97"/>
                </a:cubicBezTo>
                <a:cubicBezTo>
                  <a:pt x="186" y="97"/>
                  <a:pt x="186" y="97"/>
                  <a:pt x="186" y="97"/>
                </a:cubicBezTo>
                <a:cubicBezTo>
                  <a:pt x="185" y="97"/>
                  <a:pt x="185" y="97"/>
                  <a:pt x="185" y="97"/>
                </a:cubicBezTo>
                <a:cubicBezTo>
                  <a:pt x="184" y="96"/>
                  <a:pt x="184" y="96"/>
                  <a:pt x="184" y="96"/>
                </a:cubicBezTo>
                <a:close/>
                <a:moveTo>
                  <a:pt x="180" y="99"/>
                </a:moveTo>
                <a:cubicBezTo>
                  <a:pt x="180" y="99"/>
                  <a:pt x="180" y="99"/>
                  <a:pt x="180" y="99"/>
                </a:cubicBezTo>
                <a:cubicBezTo>
                  <a:pt x="181" y="99"/>
                  <a:pt x="181" y="99"/>
                  <a:pt x="181" y="99"/>
                </a:cubicBezTo>
                <a:cubicBezTo>
                  <a:pt x="182" y="98"/>
                  <a:pt x="182" y="98"/>
                  <a:pt x="182" y="98"/>
                </a:cubicBezTo>
                <a:cubicBezTo>
                  <a:pt x="182" y="98"/>
                  <a:pt x="182" y="98"/>
                  <a:pt x="182" y="98"/>
                </a:cubicBezTo>
                <a:cubicBezTo>
                  <a:pt x="181" y="98"/>
                  <a:pt x="181" y="98"/>
                  <a:pt x="181" y="98"/>
                </a:cubicBezTo>
                <a:cubicBezTo>
                  <a:pt x="180" y="98"/>
                  <a:pt x="180" y="98"/>
                  <a:pt x="180" y="98"/>
                </a:cubicBezTo>
                <a:cubicBezTo>
                  <a:pt x="180" y="99"/>
                  <a:pt x="180" y="99"/>
                  <a:pt x="180" y="99"/>
                </a:cubicBezTo>
                <a:close/>
                <a:moveTo>
                  <a:pt x="176" y="99"/>
                </a:moveTo>
                <a:cubicBezTo>
                  <a:pt x="177" y="98"/>
                  <a:pt x="177" y="98"/>
                  <a:pt x="177" y="98"/>
                </a:cubicBezTo>
                <a:cubicBezTo>
                  <a:pt x="177" y="98"/>
                  <a:pt x="177" y="98"/>
                  <a:pt x="177" y="98"/>
                </a:cubicBezTo>
                <a:cubicBezTo>
                  <a:pt x="177" y="97"/>
                  <a:pt x="177" y="97"/>
                  <a:pt x="177" y="97"/>
                </a:cubicBezTo>
                <a:cubicBezTo>
                  <a:pt x="178" y="98"/>
                  <a:pt x="178" y="98"/>
                  <a:pt x="178" y="98"/>
                </a:cubicBezTo>
                <a:cubicBezTo>
                  <a:pt x="179" y="97"/>
                  <a:pt x="179" y="97"/>
                  <a:pt x="179" y="97"/>
                </a:cubicBezTo>
                <a:cubicBezTo>
                  <a:pt x="179" y="97"/>
                  <a:pt x="179" y="97"/>
                  <a:pt x="179" y="97"/>
                </a:cubicBezTo>
                <a:cubicBezTo>
                  <a:pt x="178" y="99"/>
                  <a:pt x="178" y="99"/>
                  <a:pt x="178" y="99"/>
                </a:cubicBezTo>
                <a:cubicBezTo>
                  <a:pt x="178" y="99"/>
                  <a:pt x="178" y="99"/>
                  <a:pt x="178" y="99"/>
                </a:cubicBezTo>
                <a:cubicBezTo>
                  <a:pt x="176" y="100"/>
                  <a:pt x="176" y="100"/>
                  <a:pt x="176" y="100"/>
                </a:cubicBezTo>
                <a:cubicBezTo>
                  <a:pt x="176" y="99"/>
                  <a:pt x="176" y="99"/>
                  <a:pt x="176" y="99"/>
                </a:cubicBezTo>
                <a:close/>
                <a:moveTo>
                  <a:pt x="175" y="99"/>
                </a:moveTo>
                <a:cubicBezTo>
                  <a:pt x="173" y="99"/>
                  <a:pt x="173" y="99"/>
                  <a:pt x="173" y="99"/>
                </a:cubicBezTo>
                <a:cubicBezTo>
                  <a:pt x="173" y="100"/>
                  <a:pt x="173" y="100"/>
                  <a:pt x="173" y="100"/>
                </a:cubicBezTo>
                <a:cubicBezTo>
                  <a:pt x="174" y="99"/>
                  <a:pt x="174" y="99"/>
                  <a:pt x="174" y="99"/>
                </a:cubicBezTo>
                <a:cubicBezTo>
                  <a:pt x="175" y="99"/>
                  <a:pt x="175" y="99"/>
                  <a:pt x="175" y="99"/>
                </a:cubicBezTo>
                <a:close/>
                <a:moveTo>
                  <a:pt x="175" y="97"/>
                </a:moveTo>
                <a:cubicBezTo>
                  <a:pt x="175" y="98"/>
                  <a:pt x="175" y="98"/>
                  <a:pt x="175" y="98"/>
                </a:cubicBezTo>
                <a:cubicBezTo>
                  <a:pt x="175" y="98"/>
                  <a:pt x="175" y="98"/>
                  <a:pt x="175" y="98"/>
                </a:cubicBezTo>
                <a:cubicBezTo>
                  <a:pt x="176" y="97"/>
                  <a:pt x="176" y="97"/>
                  <a:pt x="176" y="97"/>
                </a:cubicBezTo>
                <a:cubicBezTo>
                  <a:pt x="175" y="97"/>
                  <a:pt x="175" y="97"/>
                  <a:pt x="175" y="97"/>
                </a:cubicBezTo>
                <a:close/>
                <a:moveTo>
                  <a:pt x="153" y="99"/>
                </a:moveTo>
                <a:cubicBezTo>
                  <a:pt x="153" y="99"/>
                  <a:pt x="153" y="98"/>
                  <a:pt x="153" y="98"/>
                </a:cubicBezTo>
                <a:cubicBezTo>
                  <a:pt x="155" y="97"/>
                  <a:pt x="155" y="97"/>
                  <a:pt x="155" y="97"/>
                </a:cubicBezTo>
                <a:cubicBezTo>
                  <a:pt x="158" y="97"/>
                  <a:pt x="158" y="97"/>
                  <a:pt x="158" y="97"/>
                </a:cubicBezTo>
                <a:cubicBezTo>
                  <a:pt x="160" y="97"/>
                  <a:pt x="160" y="97"/>
                  <a:pt x="160" y="97"/>
                </a:cubicBezTo>
                <a:cubicBezTo>
                  <a:pt x="161" y="97"/>
                  <a:pt x="161" y="97"/>
                  <a:pt x="161" y="97"/>
                </a:cubicBezTo>
                <a:cubicBezTo>
                  <a:pt x="162" y="98"/>
                  <a:pt x="162" y="98"/>
                  <a:pt x="162" y="98"/>
                </a:cubicBezTo>
                <a:cubicBezTo>
                  <a:pt x="164" y="99"/>
                  <a:pt x="164" y="99"/>
                  <a:pt x="164" y="99"/>
                </a:cubicBezTo>
                <a:cubicBezTo>
                  <a:pt x="165" y="98"/>
                  <a:pt x="165" y="98"/>
                  <a:pt x="165" y="98"/>
                </a:cubicBezTo>
                <a:cubicBezTo>
                  <a:pt x="167" y="98"/>
                  <a:pt x="167" y="98"/>
                  <a:pt x="167" y="98"/>
                </a:cubicBezTo>
                <a:cubicBezTo>
                  <a:pt x="168" y="99"/>
                  <a:pt x="168" y="99"/>
                  <a:pt x="168" y="99"/>
                </a:cubicBezTo>
                <a:cubicBezTo>
                  <a:pt x="169" y="99"/>
                  <a:pt x="169" y="99"/>
                  <a:pt x="169" y="99"/>
                </a:cubicBezTo>
                <a:cubicBezTo>
                  <a:pt x="170" y="98"/>
                  <a:pt x="170" y="98"/>
                  <a:pt x="170" y="98"/>
                </a:cubicBezTo>
                <a:cubicBezTo>
                  <a:pt x="171" y="98"/>
                  <a:pt x="171" y="98"/>
                  <a:pt x="171" y="98"/>
                </a:cubicBezTo>
                <a:cubicBezTo>
                  <a:pt x="172" y="96"/>
                  <a:pt x="172" y="96"/>
                  <a:pt x="172" y="96"/>
                </a:cubicBezTo>
                <a:cubicBezTo>
                  <a:pt x="172" y="96"/>
                  <a:pt x="172" y="96"/>
                  <a:pt x="172" y="96"/>
                </a:cubicBezTo>
                <a:cubicBezTo>
                  <a:pt x="173" y="95"/>
                  <a:pt x="173" y="95"/>
                  <a:pt x="173" y="95"/>
                </a:cubicBezTo>
                <a:cubicBezTo>
                  <a:pt x="174" y="96"/>
                  <a:pt x="174" y="96"/>
                  <a:pt x="174" y="96"/>
                </a:cubicBezTo>
                <a:cubicBezTo>
                  <a:pt x="174" y="97"/>
                  <a:pt x="174" y="97"/>
                  <a:pt x="174" y="97"/>
                </a:cubicBezTo>
                <a:cubicBezTo>
                  <a:pt x="173" y="98"/>
                  <a:pt x="173" y="98"/>
                  <a:pt x="173" y="98"/>
                </a:cubicBezTo>
                <a:cubicBezTo>
                  <a:pt x="173" y="99"/>
                  <a:pt x="173" y="99"/>
                  <a:pt x="173" y="99"/>
                </a:cubicBezTo>
                <a:cubicBezTo>
                  <a:pt x="172" y="100"/>
                  <a:pt x="172" y="100"/>
                  <a:pt x="172" y="100"/>
                </a:cubicBezTo>
                <a:cubicBezTo>
                  <a:pt x="170" y="100"/>
                  <a:pt x="170" y="100"/>
                  <a:pt x="170" y="100"/>
                </a:cubicBezTo>
                <a:cubicBezTo>
                  <a:pt x="170" y="100"/>
                  <a:pt x="170" y="100"/>
                  <a:pt x="170" y="100"/>
                </a:cubicBezTo>
                <a:cubicBezTo>
                  <a:pt x="169" y="100"/>
                  <a:pt x="169" y="100"/>
                  <a:pt x="169" y="100"/>
                </a:cubicBezTo>
                <a:cubicBezTo>
                  <a:pt x="167" y="100"/>
                  <a:pt x="167" y="100"/>
                  <a:pt x="167" y="100"/>
                </a:cubicBezTo>
                <a:cubicBezTo>
                  <a:pt x="165" y="101"/>
                  <a:pt x="165" y="101"/>
                  <a:pt x="165" y="101"/>
                </a:cubicBezTo>
                <a:cubicBezTo>
                  <a:pt x="163" y="101"/>
                  <a:pt x="163" y="101"/>
                  <a:pt x="163" y="101"/>
                </a:cubicBezTo>
                <a:cubicBezTo>
                  <a:pt x="162" y="101"/>
                  <a:pt x="162" y="101"/>
                  <a:pt x="162" y="101"/>
                </a:cubicBezTo>
                <a:cubicBezTo>
                  <a:pt x="162" y="101"/>
                  <a:pt x="162" y="101"/>
                  <a:pt x="162" y="101"/>
                </a:cubicBezTo>
                <a:cubicBezTo>
                  <a:pt x="161" y="101"/>
                  <a:pt x="161" y="101"/>
                  <a:pt x="161" y="101"/>
                </a:cubicBezTo>
                <a:cubicBezTo>
                  <a:pt x="160" y="101"/>
                  <a:pt x="160" y="101"/>
                  <a:pt x="160" y="101"/>
                </a:cubicBezTo>
                <a:cubicBezTo>
                  <a:pt x="159" y="102"/>
                  <a:pt x="159" y="102"/>
                  <a:pt x="159" y="102"/>
                </a:cubicBezTo>
                <a:cubicBezTo>
                  <a:pt x="158" y="101"/>
                  <a:pt x="158" y="101"/>
                  <a:pt x="158" y="101"/>
                </a:cubicBezTo>
                <a:cubicBezTo>
                  <a:pt x="157" y="101"/>
                  <a:pt x="157" y="101"/>
                  <a:pt x="157" y="101"/>
                </a:cubicBezTo>
                <a:cubicBezTo>
                  <a:pt x="156" y="101"/>
                  <a:pt x="156" y="101"/>
                  <a:pt x="156" y="101"/>
                </a:cubicBezTo>
                <a:cubicBezTo>
                  <a:pt x="155" y="101"/>
                  <a:pt x="155" y="101"/>
                  <a:pt x="155" y="101"/>
                </a:cubicBezTo>
                <a:cubicBezTo>
                  <a:pt x="154" y="101"/>
                  <a:pt x="154" y="101"/>
                  <a:pt x="154" y="101"/>
                </a:cubicBezTo>
                <a:cubicBezTo>
                  <a:pt x="153" y="101"/>
                  <a:pt x="153" y="101"/>
                  <a:pt x="153" y="101"/>
                </a:cubicBezTo>
                <a:cubicBezTo>
                  <a:pt x="153" y="99"/>
                  <a:pt x="153" y="99"/>
                  <a:pt x="153" y="99"/>
                </a:cubicBezTo>
                <a:close/>
                <a:moveTo>
                  <a:pt x="152" y="99"/>
                </a:moveTo>
                <a:cubicBezTo>
                  <a:pt x="152" y="101"/>
                  <a:pt x="152" y="101"/>
                  <a:pt x="152" y="101"/>
                </a:cubicBezTo>
                <a:cubicBezTo>
                  <a:pt x="153" y="100"/>
                  <a:pt x="153" y="100"/>
                  <a:pt x="153" y="100"/>
                </a:cubicBezTo>
                <a:cubicBezTo>
                  <a:pt x="153" y="100"/>
                  <a:pt x="153" y="100"/>
                  <a:pt x="153" y="100"/>
                </a:cubicBezTo>
                <a:cubicBezTo>
                  <a:pt x="152" y="99"/>
                  <a:pt x="152" y="99"/>
                  <a:pt x="152" y="99"/>
                </a:cubicBezTo>
                <a:close/>
                <a:moveTo>
                  <a:pt x="152" y="99"/>
                </a:moveTo>
                <a:cubicBezTo>
                  <a:pt x="151" y="98"/>
                  <a:pt x="151" y="98"/>
                  <a:pt x="151" y="98"/>
                </a:cubicBezTo>
                <a:cubicBezTo>
                  <a:pt x="150" y="100"/>
                  <a:pt x="150" y="100"/>
                  <a:pt x="150" y="100"/>
                </a:cubicBezTo>
                <a:cubicBezTo>
                  <a:pt x="151" y="101"/>
                  <a:pt x="151" y="101"/>
                  <a:pt x="151" y="101"/>
                </a:cubicBezTo>
                <a:cubicBezTo>
                  <a:pt x="151" y="99"/>
                  <a:pt x="151" y="99"/>
                  <a:pt x="151" y="99"/>
                </a:cubicBezTo>
                <a:cubicBezTo>
                  <a:pt x="152" y="99"/>
                  <a:pt x="152" y="99"/>
                  <a:pt x="152" y="99"/>
                </a:cubicBezTo>
                <a:close/>
                <a:moveTo>
                  <a:pt x="134" y="100"/>
                </a:moveTo>
                <a:cubicBezTo>
                  <a:pt x="134" y="100"/>
                  <a:pt x="134" y="100"/>
                  <a:pt x="134" y="100"/>
                </a:cubicBezTo>
                <a:cubicBezTo>
                  <a:pt x="134" y="101"/>
                  <a:pt x="134" y="101"/>
                  <a:pt x="134" y="101"/>
                </a:cubicBezTo>
                <a:cubicBezTo>
                  <a:pt x="134" y="101"/>
                  <a:pt x="134" y="101"/>
                  <a:pt x="134" y="101"/>
                </a:cubicBezTo>
                <a:cubicBezTo>
                  <a:pt x="134" y="102"/>
                  <a:pt x="134" y="102"/>
                  <a:pt x="134" y="102"/>
                </a:cubicBezTo>
                <a:cubicBezTo>
                  <a:pt x="135" y="103"/>
                  <a:pt x="135" y="103"/>
                  <a:pt x="135" y="103"/>
                </a:cubicBezTo>
                <a:cubicBezTo>
                  <a:pt x="137" y="102"/>
                  <a:pt x="137" y="102"/>
                  <a:pt x="137" y="102"/>
                </a:cubicBezTo>
                <a:cubicBezTo>
                  <a:pt x="138" y="103"/>
                  <a:pt x="138" y="103"/>
                  <a:pt x="138" y="103"/>
                </a:cubicBezTo>
                <a:cubicBezTo>
                  <a:pt x="139" y="102"/>
                  <a:pt x="139" y="102"/>
                  <a:pt x="139" y="102"/>
                </a:cubicBezTo>
                <a:cubicBezTo>
                  <a:pt x="140" y="101"/>
                  <a:pt x="140" y="101"/>
                  <a:pt x="140" y="101"/>
                </a:cubicBezTo>
                <a:cubicBezTo>
                  <a:pt x="141" y="102"/>
                  <a:pt x="141" y="102"/>
                  <a:pt x="141" y="102"/>
                </a:cubicBezTo>
                <a:cubicBezTo>
                  <a:pt x="142" y="101"/>
                  <a:pt x="142" y="101"/>
                  <a:pt x="142" y="101"/>
                </a:cubicBezTo>
                <a:cubicBezTo>
                  <a:pt x="143" y="101"/>
                  <a:pt x="143" y="101"/>
                  <a:pt x="143" y="101"/>
                </a:cubicBezTo>
                <a:cubicBezTo>
                  <a:pt x="145" y="100"/>
                  <a:pt x="145" y="100"/>
                  <a:pt x="145" y="100"/>
                </a:cubicBezTo>
                <a:cubicBezTo>
                  <a:pt x="145" y="101"/>
                  <a:pt x="145" y="101"/>
                  <a:pt x="145" y="101"/>
                </a:cubicBezTo>
                <a:cubicBezTo>
                  <a:pt x="146" y="101"/>
                  <a:pt x="146" y="101"/>
                  <a:pt x="146" y="101"/>
                </a:cubicBezTo>
                <a:cubicBezTo>
                  <a:pt x="148" y="101"/>
                  <a:pt x="148" y="101"/>
                  <a:pt x="148" y="101"/>
                </a:cubicBezTo>
                <a:cubicBezTo>
                  <a:pt x="147" y="100"/>
                  <a:pt x="147" y="100"/>
                  <a:pt x="147" y="100"/>
                </a:cubicBezTo>
                <a:cubicBezTo>
                  <a:pt x="149" y="100"/>
                  <a:pt x="149" y="100"/>
                  <a:pt x="149" y="100"/>
                </a:cubicBezTo>
                <a:cubicBezTo>
                  <a:pt x="149" y="99"/>
                  <a:pt x="149" y="99"/>
                  <a:pt x="149" y="99"/>
                </a:cubicBezTo>
                <a:cubicBezTo>
                  <a:pt x="149" y="100"/>
                  <a:pt x="149" y="100"/>
                  <a:pt x="149" y="100"/>
                </a:cubicBezTo>
                <a:cubicBezTo>
                  <a:pt x="148" y="99"/>
                  <a:pt x="148" y="99"/>
                  <a:pt x="148" y="99"/>
                </a:cubicBezTo>
                <a:cubicBezTo>
                  <a:pt x="148" y="98"/>
                  <a:pt x="148" y="98"/>
                  <a:pt x="148" y="98"/>
                </a:cubicBezTo>
                <a:cubicBezTo>
                  <a:pt x="147" y="97"/>
                  <a:pt x="147" y="97"/>
                  <a:pt x="147" y="97"/>
                </a:cubicBezTo>
                <a:cubicBezTo>
                  <a:pt x="147" y="98"/>
                  <a:pt x="147" y="98"/>
                  <a:pt x="147" y="98"/>
                </a:cubicBezTo>
                <a:cubicBezTo>
                  <a:pt x="147" y="98"/>
                  <a:pt x="147" y="98"/>
                  <a:pt x="147" y="98"/>
                </a:cubicBezTo>
                <a:cubicBezTo>
                  <a:pt x="147" y="97"/>
                  <a:pt x="147" y="97"/>
                  <a:pt x="147" y="97"/>
                </a:cubicBezTo>
                <a:cubicBezTo>
                  <a:pt x="145" y="97"/>
                  <a:pt x="145" y="97"/>
                  <a:pt x="145" y="97"/>
                </a:cubicBezTo>
                <a:cubicBezTo>
                  <a:pt x="144" y="97"/>
                  <a:pt x="144" y="97"/>
                  <a:pt x="144" y="97"/>
                </a:cubicBezTo>
                <a:cubicBezTo>
                  <a:pt x="143" y="96"/>
                  <a:pt x="143" y="96"/>
                  <a:pt x="143" y="96"/>
                </a:cubicBezTo>
                <a:cubicBezTo>
                  <a:pt x="142" y="96"/>
                  <a:pt x="142" y="96"/>
                  <a:pt x="142" y="96"/>
                </a:cubicBezTo>
                <a:cubicBezTo>
                  <a:pt x="140" y="97"/>
                  <a:pt x="140" y="97"/>
                  <a:pt x="140" y="97"/>
                </a:cubicBezTo>
                <a:cubicBezTo>
                  <a:pt x="140" y="98"/>
                  <a:pt x="140" y="98"/>
                  <a:pt x="140" y="98"/>
                </a:cubicBezTo>
                <a:cubicBezTo>
                  <a:pt x="143" y="98"/>
                  <a:pt x="143" y="98"/>
                  <a:pt x="143" y="98"/>
                </a:cubicBezTo>
                <a:cubicBezTo>
                  <a:pt x="144" y="99"/>
                  <a:pt x="144" y="99"/>
                  <a:pt x="144" y="99"/>
                </a:cubicBezTo>
                <a:cubicBezTo>
                  <a:pt x="142" y="100"/>
                  <a:pt x="142" y="100"/>
                  <a:pt x="142" y="100"/>
                </a:cubicBezTo>
                <a:cubicBezTo>
                  <a:pt x="141" y="100"/>
                  <a:pt x="141" y="100"/>
                  <a:pt x="141" y="100"/>
                </a:cubicBezTo>
                <a:cubicBezTo>
                  <a:pt x="140" y="99"/>
                  <a:pt x="140" y="99"/>
                  <a:pt x="140" y="99"/>
                </a:cubicBezTo>
                <a:cubicBezTo>
                  <a:pt x="139" y="98"/>
                  <a:pt x="139" y="98"/>
                  <a:pt x="139" y="98"/>
                </a:cubicBezTo>
                <a:cubicBezTo>
                  <a:pt x="138" y="98"/>
                  <a:pt x="138" y="98"/>
                  <a:pt x="138" y="98"/>
                </a:cubicBezTo>
                <a:cubicBezTo>
                  <a:pt x="137" y="98"/>
                  <a:pt x="137" y="98"/>
                  <a:pt x="137" y="98"/>
                </a:cubicBezTo>
                <a:cubicBezTo>
                  <a:pt x="136" y="98"/>
                  <a:pt x="136" y="98"/>
                  <a:pt x="136" y="98"/>
                </a:cubicBezTo>
                <a:cubicBezTo>
                  <a:pt x="135" y="99"/>
                  <a:pt x="135" y="99"/>
                  <a:pt x="135" y="99"/>
                </a:cubicBezTo>
                <a:cubicBezTo>
                  <a:pt x="135" y="99"/>
                  <a:pt x="134" y="100"/>
                  <a:pt x="134" y="100"/>
                </a:cubicBezTo>
                <a:close/>
                <a:moveTo>
                  <a:pt x="130" y="98"/>
                </a:moveTo>
                <a:cubicBezTo>
                  <a:pt x="131" y="97"/>
                  <a:pt x="131" y="97"/>
                  <a:pt x="131" y="97"/>
                </a:cubicBezTo>
                <a:cubicBezTo>
                  <a:pt x="133" y="98"/>
                  <a:pt x="133" y="98"/>
                  <a:pt x="133" y="98"/>
                </a:cubicBezTo>
                <a:cubicBezTo>
                  <a:pt x="133" y="99"/>
                  <a:pt x="133" y="99"/>
                  <a:pt x="133" y="99"/>
                </a:cubicBezTo>
                <a:cubicBezTo>
                  <a:pt x="132" y="100"/>
                  <a:pt x="132" y="100"/>
                  <a:pt x="132" y="100"/>
                </a:cubicBezTo>
                <a:cubicBezTo>
                  <a:pt x="133" y="101"/>
                  <a:pt x="133" y="101"/>
                  <a:pt x="133" y="101"/>
                </a:cubicBezTo>
                <a:cubicBezTo>
                  <a:pt x="132" y="101"/>
                  <a:pt x="132" y="101"/>
                  <a:pt x="132" y="101"/>
                </a:cubicBezTo>
                <a:cubicBezTo>
                  <a:pt x="131" y="101"/>
                  <a:pt x="131" y="101"/>
                  <a:pt x="131" y="101"/>
                </a:cubicBezTo>
                <a:cubicBezTo>
                  <a:pt x="129" y="101"/>
                  <a:pt x="129" y="101"/>
                  <a:pt x="129" y="101"/>
                </a:cubicBezTo>
                <a:cubicBezTo>
                  <a:pt x="128" y="100"/>
                  <a:pt x="128" y="100"/>
                  <a:pt x="128" y="100"/>
                </a:cubicBezTo>
                <a:cubicBezTo>
                  <a:pt x="129" y="100"/>
                  <a:pt x="129" y="100"/>
                  <a:pt x="129" y="100"/>
                </a:cubicBezTo>
                <a:cubicBezTo>
                  <a:pt x="130" y="100"/>
                  <a:pt x="130" y="100"/>
                  <a:pt x="130" y="100"/>
                </a:cubicBezTo>
                <a:cubicBezTo>
                  <a:pt x="130" y="98"/>
                  <a:pt x="130" y="98"/>
                  <a:pt x="130" y="98"/>
                </a:cubicBezTo>
                <a:close/>
                <a:moveTo>
                  <a:pt x="126" y="100"/>
                </a:moveTo>
                <a:cubicBezTo>
                  <a:pt x="127" y="99"/>
                  <a:pt x="127" y="99"/>
                  <a:pt x="127" y="99"/>
                </a:cubicBezTo>
                <a:cubicBezTo>
                  <a:pt x="127" y="100"/>
                  <a:pt x="127" y="100"/>
                  <a:pt x="127" y="100"/>
                </a:cubicBezTo>
                <a:cubicBezTo>
                  <a:pt x="126" y="100"/>
                  <a:pt x="126" y="100"/>
                  <a:pt x="126" y="100"/>
                </a:cubicBezTo>
                <a:cubicBezTo>
                  <a:pt x="126" y="100"/>
                  <a:pt x="126" y="100"/>
                  <a:pt x="126" y="100"/>
                </a:cubicBezTo>
                <a:close/>
                <a:moveTo>
                  <a:pt x="120" y="96"/>
                </a:moveTo>
                <a:cubicBezTo>
                  <a:pt x="120" y="97"/>
                  <a:pt x="120" y="97"/>
                  <a:pt x="120" y="97"/>
                </a:cubicBezTo>
                <a:cubicBezTo>
                  <a:pt x="121" y="98"/>
                  <a:pt x="121" y="98"/>
                  <a:pt x="121" y="98"/>
                </a:cubicBezTo>
                <a:cubicBezTo>
                  <a:pt x="122" y="98"/>
                  <a:pt x="122" y="98"/>
                  <a:pt x="122" y="98"/>
                </a:cubicBezTo>
                <a:cubicBezTo>
                  <a:pt x="124" y="99"/>
                  <a:pt x="124" y="99"/>
                  <a:pt x="124" y="99"/>
                </a:cubicBezTo>
                <a:cubicBezTo>
                  <a:pt x="124" y="100"/>
                  <a:pt x="124" y="100"/>
                  <a:pt x="124" y="100"/>
                </a:cubicBezTo>
                <a:cubicBezTo>
                  <a:pt x="125" y="99"/>
                  <a:pt x="125" y="99"/>
                  <a:pt x="125" y="99"/>
                </a:cubicBezTo>
                <a:cubicBezTo>
                  <a:pt x="126" y="99"/>
                  <a:pt x="126" y="99"/>
                  <a:pt x="126" y="99"/>
                </a:cubicBezTo>
                <a:cubicBezTo>
                  <a:pt x="126" y="98"/>
                  <a:pt x="126" y="98"/>
                  <a:pt x="126" y="98"/>
                </a:cubicBezTo>
                <a:cubicBezTo>
                  <a:pt x="127" y="98"/>
                  <a:pt x="127" y="98"/>
                  <a:pt x="127" y="98"/>
                </a:cubicBezTo>
                <a:cubicBezTo>
                  <a:pt x="128" y="98"/>
                  <a:pt x="128" y="98"/>
                  <a:pt x="128" y="98"/>
                </a:cubicBezTo>
                <a:cubicBezTo>
                  <a:pt x="126" y="96"/>
                  <a:pt x="126" y="96"/>
                  <a:pt x="126" y="96"/>
                </a:cubicBezTo>
                <a:cubicBezTo>
                  <a:pt x="125" y="96"/>
                  <a:pt x="125" y="96"/>
                  <a:pt x="125" y="96"/>
                </a:cubicBezTo>
                <a:cubicBezTo>
                  <a:pt x="123" y="96"/>
                  <a:pt x="123" y="96"/>
                  <a:pt x="123" y="96"/>
                </a:cubicBezTo>
                <a:cubicBezTo>
                  <a:pt x="121" y="96"/>
                  <a:pt x="121" y="96"/>
                  <a:pt x="121" y="96"/>
                </a:cubicBezTo>
                <a:cubicBezTo>
                  <a:pt x="120" y="96"/>
                  <a:pt x="120" y="96"/>
                  <a:pt x="120" y="96"/>
                </a:cubicBezTo>
                <a:close/>
                <a:moveTo>
                  <a:pt x="273" y="97"/>
                </a:moveTo>
                <a:cubicBezTo>
                  <a:pt x="273" y="97"/>
                  <a:pt x="273" y="97"/>
                  <a:pt x="273" y="97"/>
                </a:cubicBezTo>
                <a:cubicBezTo>
                  <a:pt x="274" y="98"/>
                  <a:pt x="274" y="98"/>
                  <a:pt x="274" y="98"/>
                </a:cubicBezTo>
                <a:cubicBezTo>
                  <a:pt x="275" y="97"/>
                  <a:pt x="275" y="97"/>
                  <a:pt x="275" y="97"/>
                </a:cubicBezTo>
                <a:cubicBezTo>
                  <a:pt x="274" y="96"/>
                  <a:pt x="274" y="96"/>
                  <a:pt x="274" y="96"/>
                </a:cubicBezTo>
                <a:cubicBezTo>
                  <a:pt x="274" y="96"/>
                  <a:pt x="274" y="96"/>
                  <a:pt x="274" y="96"/>
                </a:cubicBezTo>
                <a:cubicBezTo>
                  <a:pt x="273" y="96"/>
                  <a:pt x="273" y="96"/>
                  <a:pt x="273" y="96"/>
                </a:cubicBezTo>
                <a:cubicBezTo>
                  <a:pt x="273" y="97"/>
                  <a:pt x="273" y="97"/>
                  <a:pt x="273" y="97"/>
                </a:cubicBezTo>
                <a:close/>
                <a:moveTo>
                  <a:pt x="266" y="97"/>
                </a:moveTo>
                <a:cubicBezTo>
                  <a:pt x="266" y="97"/>
                  <a:pt x="268" y="97"/>
                  <a:pt x="268" y="97"/>
                </a:cubicBezTo>
                <a:cubicBezTo>
                  <a:pt x="269" y="97"/>
                  <a:pt x="269" y="97"/>
                  <a:pt x="269" y="97"/>
                </a:cubicBezTo>
                <a:cubicBezTo>
                  <a:pt x="271" y="97"/>
                  <a:pt x="271" y="97"/>
                  <a:pt x="271" y="97"/>
                </a:cubicBezTo>
                <a:cubicBezTo>
                  <a:pt x="272" y="97"/>
                  <a:pt x="272" y="97"/>
                  <a:pt x="272" y="97"/>
                </a:cubicBezTo>
                <a:cubicBezTo>
                  <a:pt x="273" y="96"/>
                  <a:pt x="273" y="96"/>
                  <a:pt x="273" y="96"/>
                </a:cubicBezTo>
                <a:cubicBezTo>
                  <a:pt x="274" y="95"/>
                  <a:pt x="274" y="95"/>
                  <a:pt x="274" y="95"/>
                </a:cubicBezTo>
                <a:cubicBezTo>
                  <a:pt x="274" y="95"/>
                  <a:pt x="274" y="95"/>
                  <a:pt x="274" y="95"/>
                </a:cubicBezTo>
                <a:cubicBezTo>
                  <a:pt x="274" y="94"/>
                  <a:pt x="274" y="94"/>
                  <a:pt x="274" y="94"/>
                </a:cubicBezTo>
                <a:cubicBezTo>
                  <a:pt x="275" y="94"/>
                  <a:pt x="275" y="94"/>
                  <a:pt x="275" y="94"/>
                </a:cubicBezTo>
                <a:cubicBezTo>
                  <a:pt x="275" y="93"/>
                  <a:pt x="275" y="93"/>
                  <a:pt x="275" y="93"/>
                </a:cubicBezTo>
                <a:cubicBezTo>
                  <a:pt x="275" y="92"/>
                  <a:pt x="275" y="92"/>
                  <a:pt x="275" y="92"/>
                </a:cubicBezTo>
                <a:cubicBezTo>
                  <a:pt x="274" y="91"/>
                  <a:pt x="274" y="91"/>
                  <a:pt x="274" y="91"/>
                </a:cubicBezTo>
                <a:cubicBezTo>
                  <a:pt x="274" y="91"/>
                  <a:pt x="274" y="91"/>
                  <a:pt x="274" y="91"/>
                </a:cubicBezTo>
                <a:cubicBezTo>
                  <a:pt x="272" y="91"/>
                  <a:pt x="272" y="91"/>
                  <a:pt x="272" y="91"/>
                </a:cubicBezTo>
                <a:cubicBezTo>
                  <a:pt x="270" y="92"/>
                  <a:pt x="270" y="92"/>
                  <a:pt x="270" y="92"/>
                </a:cubicBezTo>
                <a:cubicBezTo>
                  <a:pt x="270" y="93"/>
                  <a:pt x="270" y="93"/>
                  <a:pt x="270" y="93"/>
                </a:cubicBezTo>
                <a:cubicBezTo>
                  <a:pt x="269" y="95"/>
                  <a:pt x="269" y="95"/>
                  <a:pt x="269" y="95"/>
                </a:cubicBezTo>
                <a:cubicBezTo>
                  <a:pt x="266" y="97"/>
                  <a:pt x="266" y="97"/>
                  <a:pt x="266" y="97"/>
                </a:cubicBezTo>
                <a:close/>
                <a:moveTo>
                  <a:pt x="110" y="88"/>
                </a:moveTo>
                <a:cubicBezTo>
                  <a:pt x="110" y="89"/>
                  <a:pt x="110" y="89"/>
                  <a:pt x="110" y="89"/>
                </a:cubicBezTo>
                <a:cubicBezTo>
                  <a:pt x="111" y="90"/>
                  <a:pt x="111" y="90"/>
                  <a:pt x="111" y="90"/>
                </a:cubicBezTo>
                <a:cubicBezTo>
                  <a:pt x="112" y="90"/>
                  <a:pt x="112" y="90"/>
                  <a:pt x="112" y="90"/>
                </a:cubicBezTo>
                <a:cubicBezTo>
                  <a:pt x="113" y="90"/>
                  <a:pt x="113" y="90"/>
                  <a:pt x="113" y="90"/>
                </a:cubicBezTo>
                <a:cubicBezTo>
                  <a:pt x="115" y="90"/>
                  <a:pt x="115" y="90"/>
                  <a:pt x="115" y="90"/>
                </a:cubicBezTo>
                <a:cubicBezTo>
                  <a:pt x="116" y="90"/>
                  <a:pt x="116" y="90"/>
                  <a:pt x="116" y="90"/>
                </a:cubicBezTo>
                <a:cubicBezTo>
                  <a:pt x="117" y="89"/>
                  <a:pt x="117" y="89"/>
                  <a:pt x="117" y="89"/>
                </a:cubicBezTo>
                <a:cubicBezTo>
                  <a:pt x="118" y="89"/>
                  <a:pt x="118" y="89"/>
                  <a:pt x="118" y="89"/>
                </a:cubicBezTo>
                <a:cubicBezTo>
                  <a:pt x="117" y="88"/>
                  <a:pt x="117" y="88"/>
                  <a:pt x="117" y="88"/>
                </a:cubicBezTo>
                <a:cubicBezTo>
                  <a:pt x="115" y="89"/>
                  <a:pt x="115" y="89"/>
                  <a:pt x="115" y="89"/>
                </a:cubicBezTo>
                <a:cubicBezTo>
                  <a:pt x="114" y="88"/>
                  <a:pt x="114" y="88"/>
                  <a:pt x="114" y="88"/>
                </a:cubicBezTo>
                <a:cubicBezTo>
                  <a:pt x="111" y="88"/>
                  <a:pt x="111" y="88"/>
                  <a:pt x="111" y="88"/>
                </a:cubicBezTo>
                <a:cubicBezTo>
                  <a:pt x="110" y="88"/>
                  <a:pt x="110" y="88"/>
                  <a:pt x="110" y="88"/>
                </a:cubicBezTo>
                <a:close/>
                <a:moveTo>
                  <a:pt x="63" y="86"/>
                </a:moveTo>
                <a:cubicBezTo>
                  <a:pt x="63" y="86"/>
                  <a:pt x="63" y="86"/>
                  <a:pt x="63" y="86"/>
                </a:cubicBezTo>
                <a:cubicBezTo>
                  <a:pt x="64" y="86"/>
                  <a:pt x="64" y="86"/>
                  <a:pt x="64" y="86"/>
                </a:cubicBezTo>
                <a:cubicBezTo>
                  <a:pt x="64" y="86"/>
                  <a:pt x="64" y="86"/>
                  <a:pt x="64" y="86"/>
                </a:cubicBezTo>
                <a:cubicBezTo>
                  <a:pt x="63" y="86"/>
                  <a:pt x="63" y="86"/>
                  <a:pt x="63" y="86"/>
                </a:cubicBezTo>
                <a:close/>
                <a:moveTo>
                  <a:pt x="64" y="87"/>
                </a:moveTo>
                <a:cubicBezTo>
                  <a:pt x="65" y="87"/>
                  <a:pt x="65" y="87"/>
                  <a:pt x="65" y="87"/>
                </a:cubicBezTo>
                <a:cubicBezTo>
                  <a:pt x="65" y="87"/>
                  <a:pt x="65" y="87"/>
                  <a:pt x="65" y="87"/>
                </a:cubicBezTo>
                <a:cubicBezTo>
                  <a:pt x="66" y="85"/>
                  <a:pt x="66" y="85"/>
                  <a:pt x="66" y="85"/>
                </a:cubicBezTo>
                <a:cubicBezTo>
                  <a:pt x="67" y="85"/>
                  <a:pt x="67" y="85"/>
                  <a:pt x="67" y="85"/>
                </a:cubicBezTo>
                <a:cubicBezTo>
                  <a:pt x="68" y="84"/>
                  <a:pt x="68" y="84"/>
                  <a:pt x="68" y="84"/>
                </a:cubicBezTo>
                <a:cubicBezTo>
                  <a:pt x="67" y="83"/>
                  <a:pt x="67" y="83"/>
                  <a:pt x="67" y="83"/>
                </a:cubicBezTo>
                <a:cubicBezTo>
                  <a:pt x="69" y="81"/>
                  <a:pt x="69" y="81"/>
                  <a:pt x="69" y="81"/>
                </a:cubicBezTo>
                <a:cubicBezTo>
                  <a:pt x="69" y="82"/>
                  <a:pt x="69" y="82"/>
                  <a:pt x="69" y="82"/>
                </a:cubicBezTo>
                <a:cubicBezTo>
                  <a:pt x="71" y="82"/>
                  <a:pt x="71" y="82"/>
                  <a:pt x="71" y="82"/>
                </a:cubicBezTo>
                <a:cubicBezTo>
                  <a:pt x="73" y="82"/>
                  <a:pt x="73" y="82"/>
                  <a:pt x="73" y="82"/>
                </a:cubicBezTo>
                <a:cubicBezTo>
                  <a:pt x="74" y="83"/>
                  <a:pt x="74" y="83"/>
                  <a:pt x="74" y="83"/>
                </a:cubicBezTo>
                <a:cubicBezTo>
                  <a:pt x="74" y="82"/>
                  <a:pt x="74" y="82"/>
                  <a:pt x="74" y="82"/>
                </a:cubicBezTo>
                <a:cubicBezTo>
                  <a:pt x="75" y="82"/>
                  <a:pt x="75" y="82"/>
                  <a:pt x="75" y="82"/>
                </a:cubicBezTo>
                <a:cubicBezTo>
                  <a:pt x="77" y="82"/>
                  <a:pt x="77" y="82"/>
                  <a:pt x="77" y="82"/>
                </a:cubicBezTo>
                <a:cubicBezTo>
                  <a:pt x="78" y="83"/>
                  <a:pt x="78" y="83"/>
                  <a:pt x="78" y="83"/>
                </a:cubicBezTo>
                <a:cubicBezTo>
                  <a:pt x="80" y="83"/>
                  <a:pt x="80" y="83"/>
                  <a:pt x="80" y="83"/>
                </a:cubicBezTo>
                <a:cubicBezTo>
                  <a:pt x="83" y="84"/>
                  <a:pt x="83" y="84"/>
                  <a:pt x="83" y="84"/>
                </a:cubicBezTo>
                <a:cubicBezTo>
                  <a:pt x="84" y="85"/>
                  <a:pt x="84" y="85"/>
                  <a:pt x="84" y="85"/>
                </a:cubicBezTo>
                <a:cubicBezTo>
                  <a:pt x="83" y="86"/>
                  <a:pt x="83" y="86"/>
                  <a:pt x="83" y="86"/>
                </a:cubicBezTo>
                <a:cubicBezTo>
                  <a:pt x="84" y="87"/>
                  <a:pt x="84" y="87"/>
                  <a:pt x="84" y="87"/>
                </a:cubicBezTo>
                <a:cubicBezTo>
                  <a:pt x="86" y="88"/>
                  <a:pt x="86" y="88"/>
                  <a:pt x="86" y="88"/>
                </a:cubicBezTo>
                <a:cubicBezTo>
                  <a:pt x="90" y="88"/>
                  <a:pt x="90" y="88"/>
                  <a:pt x="90" y="88"/>
                </a:cubicBezTo>
                <a:cubicBezTo>
                  <a:pt x="93" y="88"/>
                  <a:pt x="93" y="88"/>
                  <a:pt x="93" y="88"/>
                </a:cubicBezTo>
                <a:cubicBezTo>
                  <a:pt x="96" y="88"/>
                  <a:pt x="96" y="88"/>
                  <a:pt x="96" y="88"/>
                </a:cubicBezTo>
                <a:cubicBezTo>
                  <a:pt x="97" y="87"/>
                  <a:pt x="97" y="87"/>
                  <a:pt x="97" y="87"/>
                </a:cubicBezTo>
                <a:cubicBezTo>
                  <a:pt x="97" y="84"/>
                  <a:pt x="97" y="84"/>
                  <a:pt x="97" y="84"/>
                </a:cubicBezTo>
                <a:cubicBezTo>
                  <a:pt x="98" y="84"/>
                  <a:pt x="98" y="84"/>
                  <a:pt x="98" y="84"/>
                </a:cubicBezTo>
                <a:cubicBezTo>
                  <a:pt x="100" y="86"/>
                  <a:pt x="100" y="86"/>
                  <a:pt x="100" y="86"/>
                </a:cubicBezTo>
                <a:cubicBezTo>
                  <a:pt x="101" y="86"/>
                  <a:pt x="101" y="86"/>
                  <a:pt x="101" y="86"/>
                </a:cubicBezTo>
                <a:cubicBezTo>
                  <a:pt x="102" y="86"/>
                  <a:pt x="102" y="86"/>
                  <a:pt x="102" y="86"/>
                </a:cubicBezTo>
                <a:cubicBezTo>
                  <a:pt x="103" y="86"/>
                  <a:pt x="103" y="86"/>
                  <a:pt x="103" y="86"/>
                </a:cubicBezTo>
                <a:cubicBezTo>
                  <a:pt x="104" y="87"/>
                  <a:pt x="104" y="87"/>
                  <a:pt x="104" y="87"/>
                </a:cubicBezTo>
                <a:cubicBezTo>
                  <a:pt x="105" y="87"/>
                  <a:pt x="105" y="87"/>
                  <a:pt x="105" y="87"/>
                </a:cubicBezTo>
                <a:cubicBezTo>
                  <a:pt x="106" y="88"/>
                  <a:pt x="106" y="88"/>
                  <a:pt x="106" y="88"/>
                </a:cubicBezTo>
                <a:cubicBezTo>
                  <a:pt x="107" y="88"/>
                  <a:pt x="107" y="88"/>
                  <a:pt x="107" y="88"/>
                </a:cubicBezTo>
                <a:cubicBezTo>
                  <a:pt x="109" y="88"/>
                  <a:pt x="109" y="88"/>
                  <a:pt x="109" y="88"/>
                </a:cubicBezTo>
                <a:cubicBezTo>
                  <a:pt x="109" y="89"/>
                  <a:pt x="109" y="89"/>
                  <a:pt x="109" y="89"/>
                </a:cubicBezTo>
                <a:cubicBezTo>
                  <a:pt x="110" y="91"/>
                  <a:pt x="110" y="91"/>
                  <a:pt x="110" y="91"/>
                </a:cubicBezTo>
                <a:cubicBezTo>
                  <a:pt x="110" y="92"/>
                  <a:pt x="110" y="92"/>
                  <a:pt x="110" y="92"/>
                </a:cubicBezTo>
                <a:cubicBezTo>
                  <a:pt x="111" y="93"/>
                  <a:pt x="111" y="93"/>
                  <a:pt x="111" y="93"/>
                </a:cubicBezTo>
                <a:cubicBezTo>
                  <a:pt x="112" y="94"/>
                  <a:pt x="112" y="94"/>
                  <a:pt x="112" y="94"/>
                </a:cubicBezTo>
                <a:cubicBezTo>
                  <a:pt x="114" y="93"/>
                  <a:pt x="114" y="93"/>
                  <a:pt x="114" y="93"/>
                </a:cubicBezTo>
                <a:cubicBezTo>
                  <a:pt x="115" y="94"/>
                  <a:pt x="115" y="94"/>
                  <a:pt x="115" y="94"/>
                </a:cubicBezTo>
                <a:cubicBezTo>
                  <a:pt x="116" y="94"/>
                  <a:pt x="116" y="94"/>
                  <a:pt x="116" y="94"/>
                </a:cubicBezTo>
                <a:cubicBezTo>
                  <a:pt x="116" y="93"/>
                  <a:pt x="116" y="93"/>
                  <a:pt x="116" y="93"/>
                </a:cubicBezTo>
                <a:cubicBezTo>
                  <a:pt x="118" y="93"/>
                  <a:pt x="118" y="93"/>
                  <a:pt x="118" y="93"/>
                </a:cubicBezTo>
                <a:cubicBezTo>
                  <a:pt x="118" y="94"/>
                  <a:pt x="118" y="94"/>
                  <a:pt x="118" y="94"/>
                </a:cubicBezTo>
                <a:cubicBezTo>
                  <a:pt x="119" y="94"/>
                  <a:pt x="119" y="94"/>
                  <a:pt x="119" y="94"/>
                </a:cubicBezTo>
                <a:cubicBezTo>
                  <a:pt x="120" y="94"/>
                  <a:pt x="120" y="94"/>
                  <a:pt x="120" y="94"/>
                </a:cubicBezTo>
                <a:cubicBezTo>
                  <a:pt x="119" y="97"/>
                  <a:pt x="119" y="97"/>
                  <a:pt x="119" y="97"/>
                </a:cubicBezTo>
                <a:cubicBezTo>
                  <a:pt x="119" y="98"/>
                  <a:pt x="119" y="98"/>
                  <a:pt x="119" y="98"/>
                </a:cubicBezTo>
                <a:cubicBezTo>
                  <a:pt x="119" y="98"/>
                  <a:pt x="119" y="98"/>
                  <a:pt x="119" y="98"/>
                </a:cubicBezTo>
                <a:cubicBezTo>
                  <a:pt x="120" y="100"/>
                  <a:pt x="120" y="100"/>
                  <a:pt x="120" y="100"/>
                </a:cubicBezTo>
                <a:cubicBezTo>
                  <a:pt x="119" y="101"/>
                  <a:pt x="119" y="101"/>
                  <a:pt x="119" y="101"/>
                </a:cubicBezTo>
                <a:cubicBezTo>
                  <a:pt x="118" y="100"/>
                  <a:pt x="118" y="100"/>
                  <a:pt x="118" y="100"/>
                </a:cubicBezTo>
                <a:cubicBezTo>
                  <a:pt x="117" y="100"/>
                  <a:pt x="117" y="100"/>
                  <a:pt x="117" y="100"/>
                </a:cubicBezTo>
                <a:cubicBezTo>
                  <a:pt x="115" y="98"/>
                  <a:pt x="115" y="98"/>
                  <a:pt x="115" y="98"/>
                </a:cubicBezTo>
                <a:cubicBezTo>
                  <a:pt x="114" y="98"/>
                  <a:pt x="114" y="98"/>
                  <a:pt x="114" y="98"/>
                </a:cubicBezTo>
                <a:cubicBezTo>
                  <a:pt x="112" y="97"/>
                  <a:pt x="112" y="97"/>
                  <a:pt x="112" y="97"/>
                </a:cubicBezTo>
                <a:cubicBezTo>
                  <a:pt x="112" y="97"/>
                  <a:pt x="112" y="97"/>
                  <a:pt x="112" y="97"/>
                </a:cubicBezTo>
                <a:cubicBezTo>
                  <a:pt x="110" y="98"/>
                  <a:pt x="110" y="98"/>
                  <a:pt x="110" y="98"/>
                </a:cubicBezTo>
                <a:cubicBezTo>
                  <a:pt x="108" y="98"/>
                  <a:pt x="108" y="98"/>
                  <a:pt x="108" y="98"/>
                </a:cubicBezTo>
                <a:cubicBezTo>
                  <a:pt x="106" y="97"/>
                  <a:pt x="106" y="97"/>
                  <a:pt x="106" y="97"/>
                </a:cubicBezTo>
                <a:cubicBezTo>
                  <a:pt x="104" y="97"/>
                  <a:pt x="104" y="97"/>
                  <a:pt x="104" y="97"/>
                </a:cubicBezTo>
                <a:cubicBezTo>
                  <a:pt x="103" y="98"/>
                  <a:pt x="103" y="98"/>
                  <a:pt x="103" y="98"/>
                </a:cubicBezTo>
                <a:cubicBezTo>
                  <a:pt x="101" y="97"/>
                  <a:pt x="101" y="97"/>
                  <a:pt x="101" y="97"/>
                </a:cubicBezTo>
                <a:cubicBezTo>
                  <a:pt x="99" y="97"/>
                  <a:pt x="99" y="97"/>
                  <a:pt x="99" y="97"/>
                </a:cubicBezTo>
                <a:cubicBezTo>
                  <a:pt x="98" y="97"/>
                  <a:pt x="98" y="97"/>
                  <a:pt x="98" y="97"/>
                </a:cubicBezTo>
                <a:cubicBezTo>
                  <a:pt x="95" y="96"/>
                  <a:pt x="95" y="96"/>
                  <a:pt x="95" y="96"/>
                </a:cubicBezTo>
                <a:cubicBezTo>
                  <a:pt x="92" y="94"/>
                  <a:pt x="92" y="94"/>
                  <a:pt x="92" y="94"/>
                </a:cubicBezTo>
                <a:cubicBezTo>
                  <a:pt x="90" y="94"/>
                  <a:pt x="90" y="94"/>
                  <a:pt x="90" y="94"/>
                </a:cubicBezTo>
                <a:cubicBezTo>
                  <a:pt x="88" y="93"/>
                  <a:pt x="88" y="93"/>
                  <a:pt x="88" y="93"/>
                </a:cubicBezTo>
                <a:cubicBezTo>
                  <a:pt x="87" y="93"/>
                  <a:pt x="87" y="93"/>
                  <a:pt x="87" y="93"/>
                </a:cubicBezTo>
                <a:cubicBezTo>
                  <a:pt x="86" y="94"/>
                  <a:pt x="86" y="94"/>
                  <a:pt x="86" y="94"/>
                </a:cubicBezTo>
                <a:cubicBezTo>
                  <a:pt x="85" y="94"/>
                  <a:pt x="85" y="94"/>
                  <a:pt x="85" y="94"/>
                </a:cubicBezTo>
                <a:cubicBezTo>
                  <a:pt x="84" y="93"/>
                  <a:pt x="84" y="93"/>
                  <a:pt x="84" y="93"/>
                </a:cubicBezTo>
                <a:cubicBezTo>
                  <a:pt x="83" y="93"/>
                  <a:pt x="83" y="93"/>
                  <a:pt x="83" y="93"/>
                </a:cubicBezTo>
                <a:cubicBezTo>
                  <a:pt x="82" y="94"/>
                  <a:pt x="82" y="94"/>
                  <a:pt x="82" y="94"/>
                </a:cubicBezTo>
                <a:cubicBezTo>
                  <a:pt x="80" y="93"/>
                  <a:pt x="80" y="93"/>
                  <a:pt x="80" y="93"/>
                </a:cubicBezTo>
                <a:cubicBezTo>
                  <a:pt x="78" y="92"/>
                  <a:pt x="78" y="92"/>
                  <a:pt x="78" y="92"/>
                </a:cubicBezTo>
                <a:cubicBezTo>
                  <a:pt x="76" y="92"/>
                  <a:pt x="76" y="92"/>
                  <a:pt x="76" y="92"/>
                </a:cubicBezTo>
                <a:cubicBezTo>
                  <a:pt x="75" y="91"/>
                  <a:pt x="75" y="91"/>
                  <a:pt x="75" y="91"/>
                </a:cubicBezTo>
                <a:cubicBezTo>
                  <a:pt x="74" y="92"/>
                  <a:pt x="74" y="92"/>
                  <a:pt x="74" y="92"/>
                </a:cubicBezTo>
                <a:cubicBezTo>
                  <a:pt x="72" y="92"/>
                  <a:pt x="72" y="92"/>
                  <a:pt x="72" y="92"/>
                </a:cubicBezTo>
                <a:cubicBezTo>
                  <a:pt x="71" y="91"/>
                  <a:pt x="71" y="91"/>
                  <a:pt x="71" y="91"/>
                </a:cubicBezTo>
                <a:cubicBezTo>
                  <a:pt x="70" y="91"/>
                  <a:pt x="70" y="91"/>
                  <a:pt x="70" y="91"/>
                </a:cubicBezTo>
                <a:cubicBezTo>
                  <a:pt x="71" y="89"/>
                  <a:pt x="71" y="89"/>
                  <a:pt x="71" y="89"/>
                </a:cubicBezTo>
                <a:cubicBezTo>
                  <a:pt x="71" y="89"/>
                  <a:pt x="71" y="89"/>
                  <a:pt x="71" y="89"/>
                </a:cubicBezTo>
                <a:cubicBezTo>
                  <a:pt x="71" y="89"/>
                  <a:pt x="71" y="89"/>
                  <a:pt x="71" y="89"/>
                </a:cubicBezTo>
                <a:cubicBezTo>
                  <a:pt x="70" y="89"/>
                  <a:pt x="70" y="89"/>
                  <a:pt x="70" y="89"/>
                </a:cubicBezTo>
                <a:cubicBezTo>
                  <a:pt x="69" y="88"/>
                  <a:pt x="69" y="88"/>
                  <a:pt x="69" y="88"/>
                </a:cubicBezTo>
                <a:cubicBezTo>
                  <a:pt x="68" y="87"/>
                  <a:pt x="68" y="87"/>
                  <a:pt x="68" y="87"/>
                </a:cubicBezTo>
                <a:cubicBezTo>
                  <a:pt x="67" y="88"/>
                  <a:pt x="67" y="88"/>
                  <a:pt x="67" y="88"/>
                </a:cubicBezTo>
                <a:cubicBezTo>
                  <a:pt x="64" y="88"/>
                  <a:pt x="64" y="88"/>
                  <a:pt x="64" y="88"/>
                </a:cubicBezTo>
                <a:cubicBezTo>
                  <a:pt x="64" y="87"/>
                  <a:pt x="64" y="87"/>
                  <a:pt x="64" y="87"/>
                </a:cubicBezTo>
                <a:cubicBezTo>
                  <a:pt x="64" y="87"/>
                  <a:pt x="64" y="87"/>
                  <a:pt x="64" y="87"/>
                </a:cubicBezTo>
                <a:cubicBezTo>
                  <a:pt x="64" y="87"/>
                  <a:pt x="64" y="87"/>
                  <a:pt x="64" y="87"/>
                </a:cubicBezTo>
                <a:close/>
                <a:moveTo>
                  <a:pt x="80" y="16"/>
                </a:moveTo>
                <a:cubicBezTo>
                  <a:pt x="82" y="17"/>
                  <a:pt x="82" y="17"/>
                  <a:pt x="82" y="17"/>
                </a:cubicBezTo>
                <a:cubicBezTo>
                  <a:pt x="82" y="17"/>
                  <a:pt x="82" y="17"/>
                  <a:pt x="82" y="17"/>
                </a:cubicBezTo>
                <a:cubicBezTo>
                  <a:pt x="82" y="18"/>
                  <a:pt x="82" y="18"/>
                  <a:pt x="82" y="18"/>
                </a:cubicBezTo>
                <a:cubicBezTo>
                  <a:pt x="83" y="18"/>
                  <a:pt x="83" y="18"/>
                  <a:pt x="83" y="18"/>
                </a:cubicBezTo>
                <a:cubicBezTo>
                  <a:pt x="83" y="16"/>
                  <a:pt x="83" y="16"/>
                  <a:pt x="83" y="16"/>
                </a:cubicBezTo>
                <a:cubicBezTo>
                  <a:pt x="82" y="14"/>
                  <a:pt x="82" y="14"/>
                  <a:pt x="82" y="14"/>
                </a:cubicBezTo>
                <a:cubicBezTo>
                  <a:pt x="81" y="15"/>
                  <a:pt x="81" y="15"/>
                  <a:pt x="81" y="15"/>
                </a:cubicBezTo>
                <a:cubicBezTo>
                  <a:pt x="80" y="16"/>
                  <a:pt x="80" y="16"/>
                  <a:pt x="80" y="16"/>
                </a:cubicBezTo>
                <a:close/>
                <a:moveTo>
                  <a:pt x="70" y="24"/>
                </a:moveTo>
                <a:cubicBezTo>
                  <a:pt x="70" y="25"/>
                  <a:pt x="70" y="25"/>
                  <a:pt x="70" y="25"/>
                </a:cubicBezTo>
                <a:cubicBezTo>
                  <a:pt x="71" y="24"/>
                  <a:pt x="71" y="24"/>
                  <a:pt x="71" y="24"/>
                </a:cubicBezTo>
                <a:cubicBezTo>
                  <a:pt x="70" y="24"/>
                  <a:pt x="70" y="24"/>
                  <a:pt x="70" y="24"/>
                </a:cubicBezTo>
                <a:close/>
                <a:moveTo>
                  <a:pt x="70" y="21"/>
                </a:moveTo>
                <a:cubicBezTo>
                  <a:pt x="71" y="20"/>
                  <a:pt x="71" y="20"/>
                  <a:pt x="71" y="20"/>
                </a:cubicBezTo>
                <a:cubicBezTo>
                  <a:pt x="70" y="20"/>
                  <a:pt x="70" y="20"/>
                  <a:pt x="70" y="20"/>
                </a:cubicBezTo>
                <a:cubicBezTo>
                  <a:pt x="70" y="21"/>
                  <a:pt x="70" y="21"/>
                  <a:pt x="70" y="21"/>
                </a:cubicBezTo>
                <a:close/>
                <a:moveTo>
                  <a:pt x="70" y="22"/>
                </a:moveTo>
                <a:cubicBezTo>
                  <a:pt x="70" y="22"/>
                  <a:pt x="70" y="22"/>
                  <a:pt x="70" y="22"/>
                </a:cubicBezTo>
                <a:cubicBezTo>
                  <a:pt x="70" y="22"/>
                  <a:pt x="70" y="22"/>
                  <a:pt x="70" y="22"/>
                </a:cubicBezTo>
                <a:cubicBezTo>
                  <a:pt x="70" y="22"/>
                  <a:pt x="70" y="22"/>
                  <a:pt x="70" y="22"/>
                </a:cubicBezTo>
                <a:close/>
                <a:moveTo>
                  <a:pt x="66" y="23"/>
                </a:moveTo>
                <a:cubicBezTo>
                  <a:pt x="66" y="24"/>
                  <a:pt x="66" y="24"/>
                  <a:pt x="66" y="24"/>
                </a:cubicBezTo>
                <a:cubicBezTo>
                  <a:pt x="67" y="24"/>
                  <a:pt x="67" y="24"/>
                  <a:pt x="67" y="24"/>
                </a:cubicBezTo>
                <a:cubicBezTo>
                  <a:pt x="68" y="23"/>
                  <a:pt x="68" y="23"/>
                  <a:pt x="68" y="23"/>
                </a:cubicBezTo>
                <a:cubicBezTo>
                  <a:pt x="67" y="23"/>
                  <a:pt x="67" y="23"/>
                  <a:pt x="67" y="23"/>
                </a:cubicBezTo>
                <a:cubicBezTo>
                  <a:pt x="66" y="23"/>
                  <a:pt x="66" y="23"/>
                  <a:pt x="66" y="23"/>
                </a:cubicBezTo>
                <a:close/>
                <a:moveTo>
                  <a:pt x="55" y="37"/>
                </a:moveTo>
                <a:cubicBezTo>
                  <a:pt x="57" y="37"/>
                  <a:pt x="57" y="37"/>
                  <a:pt x="57" y="37"/>
                </a:cubicBezTo>
                <a:cubicBezTo>
                  <a:pt x="57" y="36"/>
                  <a:pt x="57" y="36"/>
                  <a:pt x="57" y="36"/>
                </a:cubicBezTo>
                <a:cubicBezTo>
                  <a:pt x="57" y="35"/>
                  <a:pt x="57" y="35"/>
                  <a:pt x="57" y="35"/>
                </a:cubicBezTo>
                <a:cubicBezTo>
                  <a:pt x="55" y="37"/>
                  <a:pt x="55" y="37"/>
                  <a:pt x="55" y="37"/>
                </a:cubicBezTo>
                <a:close/>
                <a:moveTo>
                  <a:pt x="58" y="35"/>
                </a:moveTo>
                <a:cubicBezTo>
                  <a:pt x="58" y="37"/>
                  <a:pt x="58" y="37"/>
                  <a:pt x="58" y="37"/>
                </a:cubicBezTo>
                <a:cubicBezTo>
                  <a:pt x="59" y="37"/>
                  <a:pt x="59" y="37"/>
                  <a:pt x="59" y="37"/>
                </a:cubicBezTo>
                <a:cubicBezTo>
                  <a:pt x="60" y="39"/>
                  <a:pt x="60" y="39"/>
                  <a:pt x="60" y="39"/>
                </a:cubicBezTo>
                <a:cubicBezTo>
                  <a:pt x="60" y="38"/>
                  <a:pt x="60" y="38"/>
                  <a:pt x="60" y="38"/>
                </a:cubicBezTo>
                <a:cubicBezTo>
                  <a:pt x="61" y="36"/>
                  <a:pt x="61" y="36"/>
                  <a:pt x="61" y="36"/>
                </a:cubicBezTo>
                <a:cubicBezTo>
                  <a:pt x="60" y="36"/>
                  <a:pt x="60" y="36"/>
                  <a:pt x="60" y="36"/>
                </a:cubicBezTo>
                <a:cubicBezTo>
                  <a:pt x="61" y="35"/>
                  <a:pt x="61" y="35"/>
                  <a:pt x="61" y="35"/>
                </a:cubicBezTo>
                <a:cubicBezTo>
                  <a:pt x="60" y="35"/>
                  <a:pt x="60" y="35"/>
                  <a:pt x="60" y="35"/>
                </a:cubicBezTo>
                <a:cubicBezTo>
                  <a:pt x="59" y="35"/>
                  <a:pt x="59" y="35"/>
                  <a:pt x="59" y="35"/>
                </a:cubicBezTo>
                <a:cubicBezTo>
                  <a:pt x="58" y="35"/>
                  <a:pt x="58" y="35"/>
                  <a:pt x="58" y="35"/>
                </a:cubicBezTo>
                <a:close/>
                <a:moveTo>
                  <a:pt x="86" y="54"/>
                </a:moveTo>
                <a:cubicBezTo>
                  <a:pt x="86" y="55"/>
                  <a:pt x="86" y="55"/>
                  <a:pt x="86" y="55"/>
                </a:cubicBezTo>
                <a:cubicBezTo>
                  <a:pt x="87" y="55"/>
                  <a:pt x="87" y="55"/>
                  <a:pt x="87" y="55"/>
                </a:cubicBezTo>
                <a:cubicBezTo>
                  <a:pt x="88" y="55"/>
                  <a:pt x="88" y="55"/>
                  <a:pt x="88" y="55"/>
                </a:cubicBezTo>
                <a:cubicBezTo>
                  <a:pt x="87" y="54"/>
                  <a:pt x="87" y="54"/>
                  <a:pt x="87" y="54"/>
                </a:cubicBezTo>
                <a:cubicBezTo>
                  <a:pt x="86" y="54"/>
                  <a:pt x="86" y="54"/>
                  <a:pt x="86" y="54"/>
                </a:cubicBezTo>
                <a:close/>
                <a:moveTo>
                  <a:pt x="78" y="60"/>
                </a:moveTo>
                <a:cubicBezTo>
                  <a:pt x="78" y="61"/>
                  <a:pt x="78" y="61"/>
                  <a:pt x="78" y="61"/>
                </a:cubicBezTo>
                <a:cubicBezTo>
                  <a:pt x="78" y="62"/>
                  <a:pt x="78" y="62"/>
                  <a:pt x="78" y="62"/>
                </a:cubicBezTo>
                <a:cubicBezTo>
                  <a:pt x="77" y="62"/>
                  <a:pt x="77" y="62"/>
                  <a:pt x="77" y="62"/>
                </a:cubicBezTo>
                <a:cubicBezTo>
                  <a:pt x="77" y="63"/>
                  <a:pt x="77" y="63"/>
                  <a:pt x="77" y="63"/>
                </a:cubicBezTo>
                <a:cubicBezTo>
                  <a:pt x="78" y="63"/>
                  <a:pt x="78" y="63"/>
                  <a:pt x="78" y="63"/>
                </a:cubicBezTo>
                <a:cubicBezTo>
                  <a:pt x="78" y="62"/>
                  <a:pt x="78" y="62"/>
                  <a:pt x="78" y="62"/>
                </a:cubicBezTo>
                <a:cubicBezTo>
                  <a:pt x="78" y="62"/>
                  <a:pt x="78" y="62"/>
                  <a:pt x="78" y="62"/>
                </a:cubicBezTo>
                <a:cubicBezTo>
                  <a:pt x="78" y="64"/>
                  <a:pt x="78" y="64"/>
                  <a:pt x="78" y="64"/>
                </a:cubicBezTo>
                <a:cubicBezTo>
                  <a:pt x="79" y="65"/>
                  <a:pt x="79" y="65"/>
                  <a:pt x="79" y="65"/>
                </a:cubicBezTo>
                <a:cubicBezTo>
                  <a:pt x="80" y="63"/>
                  <a:pt x="80" y="63"/>
                  <a:pt x="80" y="63"/>
                </a:cubicBezTo>
                <a:cubicBezTo>
                  <a:pt x="81" y="64"/>
                  <a:pt x="81" y="64"/>
                  <a:pt x="81" y="64"/>
                </a:cubicBezTo>
                <a:cubicBezTo>
                  <a:pt x="82" y="64"/>
                  <a:pt x="82" y="64"/>
                  <a:pt x="82" y="64"/>
                </a:cubicBezTo>
                <a:cubicBezTo>
                  <a:pt x="82" y="63"/>
                  <a:pt x="82" y="63"/>
                  <a:pt x="82" y="63"/>
                </a:cubicBezTo>
                <a:cubicBezTo>
                  <a:pt x="83" y="63"/>
                  <a:pt x="83" y="63"/>
                  <a:pt x="83" y="63"/>
                </a:cubicBezTo>
                <a:cubicBezTo>
                  <a:pt x="83" y="62"/>
                  <a:pt x="83" y="62"/>
                  <a:pt x="83" y="62"/>
                </a:cubicBezTo>
                <a:cubicBezTo>
                  <a:pt x="81" y="60"/>
                  <a:pt x="81" y="60"/>
                  <a:pt x="81" y="60"/>
                </a:cubicBezTo>
                <a:cubicBezTo>
                  <a:pt x="79" y="60"/>
                  <a:pt x="79" y="60"/>
                  <a:pt x="79" y="60"/>
                </a:cubicBezTo>
                <a:cubicBezTo>
                  <a:pt x="78" y="60"/>
                  <a:pt x="78" y="60"/>
                  <a:pt x="78" y="60"/>
                </a:cubicBezTo>
                <a:close/>
                <a:moveTo>
                  <a:pt x="74" y="62"/>
                </a:moveTo>
                <a:cubicBezTo>
                  <a:pt x="74" y="63"/>
                  <a:pt x="74" y="63"/>
                  <a:pt x="74" y="63"/>
                </a:cubicBezTo>
                <a:cubicBezTo>
                  <a:pt x="75" y="63"/>
                  <a:pt x="75" y="63"/>
                  <a:pt x="75" y="63"/>
                </a:cubicBezTo>
                <a:cubicBezTo>
                  <a:pt x="74" y="62"/>
                  <a:pt x="74" y="62"/>
                  <a:pt x="74" y="62"/>
                </a:cubicBezTo>
                <a:close/>
                <a:moveTo>
                  <a:pt x="65" y="54"/>
                </a:moveTo>
                <a:cubicBezTo>
                  <a:pt x="65" y="55"/>
                  <a:pt x="65" y="55"/>
                  <a:pt x="65" y="55"/>
                </a:cubicBezTo>
                <a:cubicBezTo>
                  <a:pt x="64" y="56"/>
                  <a:pt x="64" y="56"/>
                  <a:pt x="64" y="56"/>
                </a:cubicBezTo>
                <a:cubicBezTo>
                  <a:pt x="65" y="57"/>
                  <a:pt x="65" y="57"/>
                  <a:pt x="65" y="57"/>
                </a:cubicBezTo>
                <a:cubicBezTo>
                  <a:pt x="67" y="58"/>
                  <a:pt x="67" y="58"/>
                  <a:pt x="67" y="58"/>
                </a:cubicBezTo>
                <a:cubicBezTo>
                  <a:pt x="67" y="58"/>
                  <a:pt x="67" y="58"/>
                  <a:pt x="67" y="58"/>
                </a:cubicBezTo>
                <a:cubicBezTo>
                  <a:pt x="67" y="59"/>
                  <a:pt x="67" y="59"/>
                  <a:pt x="67" y="59"/>
                </a:cubicBezTo>
                <a:cubicBezTo>
                  <a:pt x="68" y="60"/>
                  <a:pt x="68" y="60"/>
                  <a:pt x="68" y="60"/>
                </a:cubicBezTo>
                <a:cubicBezTo>
                  <a:pt x="69" y="61"/>
                  <a:pt x="69" y="61"/>
                  <a:pt x="69" y="61"/>
                </a:cubicBezTo>
                <a:cubicBezTo>
                  <a:pt x="70" y="62"/>
                  <a:pt x="70" y="62"/>
                  <a:pt x="70" y="62"/>
                </a:cubicBezTo>
                <a:cubicBezTo>
                  <a:pt x="71" y="62"/>
                  <a:pt x="71" y="62"/>
                  <a:pt x="71" y="62"/>
                </a:cubicBezTo>
                <a:cubicBezTo>
                  <a:pt x="72" y="63"/>
                  <a:pt x="72" y="63"/>
                  <a:pt x="72" y="63"/>
                </a:cubicBezTo>
                <a:cubicBezTo>
                  <a:pt x="72" y="64"/>
                  <a:pt x="72" y="64"/>
                  <a:pt x="72" y="64"/>
                </a:cubicBezTo>
                <a:cubicBezTo>
                  <a:pt x="73" y="63"/>
                  <a:pt x="73" y="63"/>
                  <a:pt x="73" y="63"/>
                </a:cubicBezTo>
                <a:cubicBezTo>
                  <a:pt x="72" y="62"/>
                  <a:pt x="72" y="62"/>
                  <a:pt x="72" y="62"/>
                </a:cubicBezTo>
                <a:cubicBezTo>
                  <a:pt x="73" y="60"/>
                  <a:pt x="73" y="60"/>
                  <a:pt x="73" y="60"/>
                </a:cubicBezTo>
                <a:cubicBezTo>
                  <a:pt x="71" y="60"/>
                  <a:pt x="71" y="60"/>
                  <a:pt x="71" y="60"/>
                </a:cubicBezTo>
                <a:cubicBezTo>
                  <a:pt x="70" y="58"/>
                  <a:pt x="70" y="58"/>
                  <a:pt x="70" y="58"/>
                </a:cubicBezTo>
                <a:cubicBezTo>
                  <a:pt x="69" y="55"/>
                  <a:pt x="69" y="55"/>
                  <a:pt x="69" y="55"/>
                </a:cubicBezTo>
                <a:cubicBezTo>
                  <a:pt x="69" y="55"/>
                  <a:pt x="69" y="55"/>
                  <a:pt x="69" y="55"/>
                </a:cubicBezTo>
                <a:cubicBezTo>
                  <a:pt x="68" y="54"/>
                  <a:pt x="68" y="54"/>
                  <a:pt x="68" y="54"/>
                </a:cubicBezTo>
                <a:cubicBezTo>
                  <a:pt x="68" y="54"/>
                  <a:pt x="68" y="54"/>
                  <a:pt x="68" y="54"/>
                </a:cubicBezTo>
                <a:cubicBezTo>
                  <a:pt x="67" y="54"/>
                  <a:pt x="67" y="54"/>
                  <a:pt x="67" y="54"/>
                </a:cubicBezTo>
                <a:cubicBezTo>
                  <a:pt x="67" y="55"/>
                  <a:pt x="67" y="55"/>
                  <a:pt x="67" y="55"/>
                </a:cubicBezTo>
                <a:cubicBezTo>
                  <a:pt x="67" y="55"/>
                  <a:pt x="67" y="55"/>
                  <a:pt x="67" y="55"/>
                </a:cubicBezTo>
                <a:cubicBezTo>
                  <a:pt x="66" y="55"/>
                  <a:pt x="66" y="55"/>
                  <a:pt x="66" y="55"/>
                </a:cubicBezTo>
                <a:cubicBezTo>
                  <a:pt x="65" y="54"/>
                  <a:pt x="65" y="54"/>
                  <a:pt x="65" y="54"/>
                </a:cubicBezTo>
                <a:cubicBezTo>
                  <a:pt x="65" y="54"/>
                  <a:pt x="65" y="54"/>
                  <a:pt x="65" y="54"/>
                </a:cubicBezTo>
                <a:close/>
                <a:moveTo>
                  <a:pt x="59" y="47"/>
                </a:moveTo>
                <a:cubicBezTo>
                  <a:pt x="58" y="48"/>
                  <a:pt x="58" y="48"/>
                  <a:pt x="58" y="48"/>
                </a:cubicBezTo>
                <a:cubicBezTo>
                  <a:pt x="59" y="48"/>
                  <a:pt x="59" y="48"/>
                  <a:pt x="59" y="48"/>
                </a:cubicBezTo>
                <a:cubicBezTo>
                  <a:pt x="60" y="48"/>
                  <a:pt x="60" y="48"/>
                  <a:pt x="60" y="48"/>
                </a:cubicBezTo>
                <a:cubicBezTo>
                  <a:pt x="60" y="47"/>
                  <a:pt x="60" y="47"/>
                  <a:pt x="60" y="47"/>
                </a:cubicBezTo>
                <a:cubicBezTo>
                  <a:pt x="59" y="47"/>
                  <a:pt x="59" y="47"/>
                  <a:pt x="59" y="47"/>
                </a:cubicBezTo>
                <a:close/>
                <a:moveTo>
                  <a:pt x="60" y="44"/>
                </a:moveTo>
                <a:cubicBezTo>
                  <a:pt x="59" y="45"/>
                  <a:pt x="59" y="45"/>
                  <a:pt x="59" y="45"/>
                </a:cubicBezTo>
                <a:cubicBezTo>
                  <a:pt x="60" y="46"/>
                  <a:pt x="60" y="46"/>
                  <a:pt x="60" y="46"/>
                </a:cubicBezTo>
                <a:cubicBezTo>
                  <a:pt x="61" y="46"/>
                  <a:pt x="61" y="46"/>
                  <a:pt x="61" y="46"/>
                </a:cubicBezTo>
                <a:cubicBezTo>
                  <a:pt x="62" y="46"/>
                  <a:pt x="62" y="46"/>
                  <a:pt x="62" y="46"/>
                </a:cubicBezTo>
                <a:cubicBezTo>
                  <a:pt x="63" y="46"/>
                  <a:pt x="63" y="46"/>
                  <a:pt x="63" y="46"/>
                </a:cubicBezTo>
                <a:cubicBezTo>
                  <a:pt x="61" y="44"/>
                  <a:pt x="61" y="44"/>
                  <a:pt x="61" y="44"/>
                </a:cubicBezTo>
                <a:cubicBezTo>
                  <a:pt x="60" y="44"/>
                  <a:pt x="60" y="44"/>
                  <a:pt x="60" y="44"/>
                </a:cubicBezTo>
                <a:close/>
                <a:moveTo>
                  <a:pt x="47" y="36"/>
                </a:moveTo>
                <a:cubicBezTo>
                  <a:pt x="46" y="37"/>
                  <a:pt x="46" y="37"/>
                  <a:pt x="46" y="37"/>
                </a:cubicBezTo>
                <a:cubicBezTo>
                  <a:pt x="47" y="38"/>
                  <a:pt x="47" y="38"/>
                  <a:pt x="47" y="38"/>
                </a:cubicBezTo>
                <a:cubicBezTo>
                  <a:pt x="49" y="39"/>
                  <a:pt x="49" y="39"/>
                  <a:pt x="49" y="39"/>
                </a:cubicBezTo>
                <a:cubicBezTo>
                  <a:pt x="50" y="39"/>
                  <a:pt x="50" y="39"/>
                  <a:pt x="50" y="39"/>
                </a:cubicBezTo>
                <a:cubicBezTo>
                  <a:pt x="51" y="39"/>
                  <a:pt x="51" y="39"/>
                  <a:pt x="51" y="39"/>
                </a:cubicBezTo>
                <a:cubicBezTo>
                  <a:pt x="50" y="37"/>
                  <a:pt x="50" y="37"/>
                  <a:pt x="50" y="37"/>
                </a:cubicBezTo>
                <a:cubicBezTo>
                  <a:pt x="49" y="36"/>
                  <a:pt x="49" y="36"/>
                  <a:pt x="49" y="36"/>
                </a:cubicBezTo>
                <a:cubicBezTo>
                  <a:pt x="47" y="36"/>
                  <a:pt x="47" y="36"/>
                  <a:pt x="47" y="36"/>
                </a:cubicBezTo>
                <a:close/>
                <a:moveTo>
                  <a:pt x="44" y="34"/>
                </a:moveTo>
                <a:cubicBezTo>
                  <a:pt x="44" y="34"/>
                  <a:pt x="44" y="34"/>
                  <a:pt x="44" y="34"/>
                </a:cubicBezTo>
                <a:cubicBezTo>
                  <a:pt x="46" y="34"/>
                  <a:pt x="46" y="34"/>
                  <a:pt x="46" y="34"/>
                </a:cubicBezTo>
                <a:cubicBezTo>
                  <a:pt x="47" y="35"/>
                  <a:pt x="47" y="35"/>
                  <a:pt x="47" y="35"/>
                </a:cubicBezTo>
                <a:cubicBezTo>
                  <a:pt x="46" y="36"/>
                  <a:pt x="46" y="36"/>
                  <a:pt x="46" y="36"/>
                </a:cubicBezTo>
                <a:cubicBezTo>
                  <a:pt x="45" y="36"/>
                  <a:pt x="45" y="36"/>
                  <a:pt x="45" y="36"/>
                </a:cubicBezTo>
                <a:cubicBezTo>
                  <a:pt x="44" y="34"/>
                  <a:pt x="44" y="34"/>
                  <a:pt x="44" y="34"/>
                </a:cubicBezTo>
                <a:close/>
                <a:moveTo>
                  <a:pt x="39" y="31"/>
                </a:moveTo>
                <a:cubicBezTo>
                  <a:pt x="40" y="32"/>
                  <a:pt x="40" y="32"/>
                  <a:pt x="40" y="32"/>
                </a:cubicBezTo>
                <a:cubicBezTo>
                  <a:pt x="41" y="32"/>
                  <a:pt x="41" y="32"/>
                  <a:pt x="41" y="32"/>
                </a:cubicBezTo>
                <a:cubicBezTo>
                  <a:pt x="42" y="31"/>
                  <a:pt x="42" y="31"/>
                  <a:pt x="42" y="31"/>
                </a:cubicBezTo>
                <a:cubicBezTo>
                  <a:pt x="41" y="30"/>
                  <a:pt x="41" y="30"/>
                  <a:pt x="41" y="30"/>
                </a:cubicBezTo>
                <a:cubicBezTo>
                  <a:pt x="41" y="30"/>
                  <a:pt x="41" y="30"/>
                  <a:pt x="41" y="30"/>
                </a:cubicBezTo>
                <a:cubicBezTo>
                  <a:pt x="39" y="31"/>
                  <a:pt x="39" y="31"/>
                  <a:pt x="39" y="31"/>
                </a:cubicBezTo>
                <a:close/>
                <a:moveTo>
                  <a:pt x="44" y="78"/>
                </a:moveTo>
                <a:cubicBezTo>
                  <a:pt x="45" y="79"/>
                  <a:pt x="45" y="79"/>
                  <a:pt x="45" y="79"/>
                </a:cubicBezTo>
                <a:cubicBezTo>
                  <a:pt x="45" y="78"/>
                  <a:pt x="45" y="78"/>
                  <a:pt x="45" y="78"/>
                </a:cubicBezTo>
                <a:cubicBezTo>
                  <a:pt x="45" y="77"/>
                  <a:pt x="45" y="77"/>
                  <a:pt x="45" y="77"/>
                </a:cubicBezTo>
                <a:cubicBezTo>
                  <a:pt x="44" y="78"/>
                  <a:pt x="44" y="78"/>
                  <a:pt x="44" y="78"/>
                </a:cubicBezTo>
                <a:close/>
                <a:moveTo>
                  <a:pt x="32" y="62"/>
                </a:moveTo>
                <a:cubicBezTo>
                  <a:pt x="31" y="63"/>
                  <a:pt x="31" y="63"/>
                  <a:pt x="31" y="63"/>
                </a:cubicBezTo>
                <a:cubicBezTo>
                  <a:pt x="34" y="65"/>
                  <a:pt x="34" y="65"/>
                  <a:pt x="34" y="65"/>
                </a:cubicBezTo>
                <a:cubicBezTo>
                  <a:pt x="33" y="64"/>
                  <a:pt x="33" y="64"/>
                  <a:pt x="33" y="64"/>
                </a:cubicBezTo>
                <a:cubicBezTo>
                  <a:pt x="34" y="63"/>
                  <a:pt x="34" y="63"/>
                  <a:pt x="34" y="63"/>
                </a:cubicBezTo>
                <a:cubicBezTo>
                  <a:pt x="32" y="62"/>
                  <a:pt x="32" y="62"/>
                  <a:pt x="32" y="62"/>
                </a:cubicBezTo>
                <a:close/>
                <a:moveTo>
                  <a:pt x="30" y="61"/>
                </a:moveTo>
                <a:cubicBezTo>
                  <a:pt x="31" y="61"/>
                  <a:pt x="31" y="61"/>
                  <a:pt x="31" y="61"/>
                </a:cubicBezTo>
                <a:cubicBezTo>
                  <a:pt x="31" y="62"/>
                  <a:pt x="31" y="62"/>
                  <a:pt x="31" y="62"/>
                </a:cubicBezTo>
                <a:cubicBezTo>
                  <a:pt x="30" y="61"/>
                  <a:pt x="30" y="61"/>
                  <a:pt x="30" y="61"/>
                </a:cubicBezTo>
                <a:close/>
                <a:moveTo>
                  <a:pt x="28" y="57"/>
                </a:moveTo>
                <a:cubicBezTo>
                  <a:pt x="27" y="57"/>
                  <a:pt x="27" y="57"/>
                  <a:pt x="27" y="57"/>
                </a:cubicBezTo>
                <a:cubicBezTo>
                  <a:pt x="28" y="58"/>
                  <a:pt x="28" y="58"/>
                  <a:pt x="28" y="58"/>
                </a:cubicBezTo>
                <a:cubicBezTo>
                  <a:pt x="30" y="59"/>
                  <a:pt x="30" y="59"/>
                  <a:pt x="30" y="59"/>
                </a:cubicBezTo>
                <a:cubicBezTo>
                  <a:pt x="28" y="57"/>
                  <a:pt x="28" y="57"/>
                  <a:pt x="28" y="57"/>
                </a:cubicBezTo>
                <a:close/>
                <a:moveTo>
                  <a:pt x="21" y="51"/>
                </a:moveTo>
                <a:cubicBezTo>
                  <a:pt x="21" y="52"/>
                  <a:pt x="21" y="52"/>
                  <a:pt x="21" y="52"/>
                </a:cubicBezTo>
                <a:cubicBezTo>
                  <a:pt x="23" y="52"/>
                  <a:pt x="23" y="52"/>
                  <a:pt x="23" y="52"/>
                </a:cubicBezTo>
                <a:cubicBezTo>
                  <a:pt x="24" y="55"/>
                  <a:pt x="24" y="55"/>
                  <a:pt x="24" y="55"/>
                </a:cubicBezTo>
                <a:cubicBezTo>
                  <a:pt x="26" y="55"/>
                  <a:pt x="26" y="55"/>
                  <a:pt x="26" y="55"/>
                </a:cubicBezTo>
                <a:cubicBezTo>
                  <a:pt x="26" y="53"/>
                  <a:pt x="26" y="53"/>
                  <a:pt x="26" y="53"/>
                </a:cubicBezTo>
                <a:cubicBezTo>
                  <a:pt x="24" y="50"/>
                  <a:pt x="24" y="50"/>
                  <a:pt x="24" y="50"/>
                </a:cubicBezTo>
                <a:cubicBezTo>
                  <a:pt x="23" y="50"/>
                  <a:pt x="23" y="50"/>
                  <a:pt x="23" y="50"/>
                </a:cubicBezTo>
                <a:cubicBezTo>
                  <a:pt x="21" y="51"/>
                  <a:pt x="21" y="51"/>
                  <a:pt x="21" y="51"/>
                </a:cubicBezTo>
                <a:close/>
                <a:moveTo>
                  <a:pt x="20" y="46"/>
                </a:moveTo>
                <a:cubicBezTo>
                  <a:pt x="20" y="48"/>
                  <a:pt x="20" y="48"/>
                  <a:pt x="20" y="48"/>
                </a:cubicBezTo>
                <a:cubicBezTo>
                  <a:pt x="20" y="48"/>
                  <a:pt x="20" y="48"/>
                  <a:pt x="20" y="48"/>
                </a:cubicBezTo>
                <a:cubicBezTo>
                  <a:pt x="21" y="48"/>
                  <a:pt x="21" y="48"/>
                  <a:pt x="21" y="48"/>
                </a:cubicBezTo>
                <a:cubicBezTo>
                  <a:pt x="21" y="47"/>
                  <a:pt x="21" y="47"/>
                  <a:pt x="21" y="47"/>
                </a:cubicBezTo>
                <a:cubicBezTo>
                  <a:pt x="20" y="46"/>
                  <a:pt x="20" y="46"/>
                  <a:pt x="20" y="46"/>
                </a:cubicBezTo>
                <a:close/>
                <a:moveTo>
                  <a:pt x="21" y="43"/>
                </a:moveTo>
                <a:cubicBezTo>
                  <a:pt x="23" y="43"/>
                  <a:pt x="23" y="43"/>
                  <a:pt x="23" y="43"/>
                </a:cubicBezTo>
                <a:cubicBezTo>
                  <a:pt x="23" y="43"/>
                  <a:pt x="23" y="43"/>
                  <a:pt x="23" y="43"/>
                </a:cubicBezTo>
                <a:cubicBezTo>
                  <a:pt x="23" y="42"/>
                  <a:pt x="23" y="42"/>
                  <a:pt x="23" y="42"/>
                </a:cubicBezTo>
                <a:cubicBezTo>
                  <a:pt x="22" y="42"/>
                  <a:pt x="22" y="42"/>
                  <a:pt x="22" y="42"/>
                </a:cubicBezTo>
                <a:cubicBezTo>
                  <a:pt x="21" y="43"/>
                  <a:pt x="21" y="43"/>
                  <a:pt x="21" y="43"/>
                </a:cubicBezTo>
                <a:close/>
                <a:moveTo>
                  <a:pt x="12" y="34"/>
                </a:moveTo>
                <a:cubicBezTo>
                  <a:pt x="13" y="34"/>
                  <a:pt x="13" y="34"/>
                  <a:pt x="13" y="34"/>
                </a:cubicBezTo>
                <a:cubicBezTo>
                  <a:pt x="14" y="34"/>
                  <a:pt x="14" y="34"/>
                  <a:pt x="14" y="34"/>
                </a:cubicBezTo>
                <a:cubicBezTo>
                  <a:pt x="15" y="34"/>
                  <a:pt x="15" y="34"/>
                  <a:pt x="15" y="34"/>
                </a:cubicBezTo>
                <a:cubicBezTo>
                  <a:pt x="16" y="36"/>
                  <a:pt x="16" y="36"/>
                  <a:pt x="16" y="36"/>
                </a:cubicBezTo>
                <a:cubicBezTo>
                  <a:pt x="17" y="37"/>
                  <a:pt x="17" y="37"/>
                  <a:pt x="17" y="37"/>
                </a:cubicBezTo>
                <a:cubicBezTo>
                  <a:pt x="17" y="38"/>
                  <a:pt x="17" y="38"/>
                  <a:pt x="17" y="38"/>
                </a:cubicBezTo>
                <a:cubicBezTo>
                  <a:pt x="17" y="39"/>
                  <a:pt x="17" y="39"/>
                  <a:pt x="17" y="39"/>
                </a:cubicBezTo>
                <a:cubicBezTo>
                  <a:pt x="16" y="40"/>
                  <a:pt x="16" y="40"/>
                  <a:pt x="16" y="40"/>
                </a:cubicBezTo>
                <a:cubicBezTo>
                  <a:pt x="15" y="37"/>
                  <a:pt x="15" y="37"/>
                  <a:pt x="15" y="37"/>
                </a:cubicBezTo>
                <a:cubicBezTo>
                  <a:pt x="14" y="37"/>
                  <a:pt x="14" y="37"/>
                  <a:pt x="14" y="37"/>
                </a:cubicBezTo>
                <a:cubicBezTo>
                  <a:pt x="14" y="36"/>
                  <a:pt x="14" y="36"/>
                  <a:pt x="14" y="36"/>
                </a:cubicBezTo>
                <a:cubicBezTo>
                  <a:pt x="12" y="34"/>
                  <a:pt x="12" y="34"/>
                  <a:pt x="12" y="34"/>
                </a:cubicBezTo>
                <a:close/>
                <a:moveTo>
                  <a:pt x="12" y="30"/>
                </a:moveTo>
                <a:cubicBezTo>
                  <a:pt x="14" y="30"/>
                  <a:pt x="14" y="30"/>
                  <a:pt x="14" y="30"/>
                </a:cubicBezTo>
                <a:cubicBezTo>
                  <a:pt x="13" y="29"/>
                  <a:pt x="13" y="29"/>
                  <a:pt x="13" y="29"/>
                </a:cubicBezTo>
                <a:cubicBezTo>
                  <a:pt x="12" y="30"/>
                  <a:pt x="12" y="30"/>
                  <a:pt x="12" y="30"/>
                </a:cubicBezTo>
                <a:close/>
                <a:moveTo>
                  <a:pt x="4" y="24"/>
                </a:moveTo>
                <a:cubicBezTo>
                  <a:pt x="3" y="25"/>
                  <a:pt x="3" y="25"/>
                  <a:pt x="3" y="25"/>
                </a:cubicBezTo>
                <a:cubicBezTo>
                  <a:pt x="3" y="25"/>
                  <a:pt x="3" y="25"/>
                  <a:pt x="3" y="25"/>
                </a:cubicBezTo>
                <a:cubicBezTo>
                  <a:pt x="4" y="26"/>
                  <a:pt x="4" y="26"/>
                  <a:pt x="4" y="26"/>
                </a:cubicBezTo>
                <a:cubicBezTo>
                  <a:pt x="5" y="26"/>
                  <a:pt x="5" y="26"/>
                  <a:pt x="5" y="26"/>
                </a:cubicBezTo>
                <a:cubicBezTo>
                  <a:pt x="5" y="25"/>
                  <a:pt x="5" y="25"/>
                  <a:pt x="5" y="25"/>
                </a:cubicBezTo>
                <a:cubicBezTo>
                  <a:pt x="4" y="24"/>
                  <a:pt x="4" y="24"/>
                  <a:pt x="4" y="24"/>
                </a:cubicBezTo>
                <a:close/>
                <a:moveTo>
                  <a:pt x="0" y="6"/>
                </a:moveTo>
                <a:cubicBezTo>
                  <a:pt x="0" y="7"/>
                  <a:pt x="0" y="7"/>
                  <a:pt x="0" y="7"/>
                </a:cubicBezTo>
                <a:cubicBezTo>
                  <a:pt x="0" y="9"/>
                  <a:pt x="0" y="9"/>
                  <a:pt x="0" y="9"/>
                </a:cubicBezTo>
                <a:cubicBezTo>
                  <a:pt x="2" y="12"/>
                  <a:pt x="2" y="12"/>
                  <a:pt x="2" y="12"/>
                </a:cubicBezTo>
                <a:cubicBezTo>
                  <a:pt x="3" y="13"/>
                  <a:pt x="3" y="13"/>
                  <a:pt x="3" y="13"/>
                </a:cubicBezTo>
                <a:cubicBezTo>
                  <a:pt x="5" y="16"/>
                  <a:pt x="5" y="16"/>
                  <a:pt x="5" y="16"/>
                </a:cubicBezTo>
                <a:cubicBezTo>
                  <a:pt x="6" y="16"/>
                  <a:pt x="6" y="16"/>
                  <a:pt x="6" y="16"/>
                </a:cubicBezTo>
                <a:cubicBezTo>
                  <a:pt x="8" y="18"/>
                  <a:pt x="8" y="18"/>
                  <a:pt x="8" y="18"/>
                </a:cubicBezTo>
                <a:cubicBezTo>
                  <a:pt x="9" y="18"/>
                  <a:pt x="9" y="18"/>
                  <a:pt x="9" y="18"/>
                </a:cubicBezTo>
                <a:cubicBezTo>
                  <a:pt x="10" y="18"/>
                  <a:pt x="10" y="18"/>
                  <a:pt x="10" y="18"/>
                </a:cubicBezTo>
                <a:cubicBezTo>
                  <a:pt x="12" y="20"/>
                  <a:pt x="12" y="20"/>
                  <a:pt x="12" y="20"/>
                </a:cubicBezTo>
                <a:cubicBezTo>
                  <a:pt x="14" y="23"/>
                  <a:pt x="14" y="23"/>
                  <a:pt x="14" y="23"/>
                </a:cubicBezTo>
                <a:cubicBezTo>
                  <a:pt x="16" y="25"/>
                  <a:pt x="16" y="25"/>
                  <a:pt x="16" y="25"/>
                </a:cubicBezTo>
                <a:cubicBezTo>
                  <a:pt x="17" y="25"/>
                  <a:pt x="17" y="25"/>
                  <a:pt x="17" y="25"/>
                </a:cubicBezTo>
                <a:cubicBezTo>
                  <a:pt x="17" y="27"/>
                  <a:pt x="17" y="27"/>
                  <a:pt x="17" y="27"/>
                </a:cubicBezTo>
                <a:cubicBezTo>
                  <a:pt x="17" y="27"/>
                  <a:pt x="17" y="27"/>
                  <a:pt x="17" y="27"/>
                </a:cubicBezTo>
                <a:cubicBezTo>
                  <a:pt x="18" y="29"/>
                  <a:pt x="18" y="29"/>
                  <a:pt x="18" y="29"/>
                </a:cubicBezTo>
                <a:cubicBezTo>
                  <a:pt x="18" y="30"/>
                  <a:pt x="18" y="30"/>
                  <a:pt x="18" y="30"/>
                </a:cubicBezTo>
                <a:cubicBezTo>
                  <a:pt x="20" y="30"/>
                  <a:pt x="20" y="30"/>
                  <a:pt x="20" y="30"/>
                </a:cubicBezTo>
                <a:cubicBezTo>
                  <a:pt x="21" y="32"/>
                  <a:pt x="21" y="32"/>
                  <a:pt x="21" y="32"/>
                </a:cubicBezTo>
                <a:cubicBezTo>
                  <a:pt x="22" y="32"/>
                  <a:pt x="22" y="32"/>
                  <a:pt x="22" y="32"/>
                </a:cubicBezTo>
                <a:cubicBezTo>
                  <a:pt x="23" y="32"/>
                  <a:pt x="23" y="32"/>
                  <a:pt x="23" y="32"/>
                </a:cubicBezTo>
                <a:cubicBezTo>
                  <a:pt x="23" y="33"/>
                  <a:pt x="23" y="33"/>
                  <a:pt x="23" y="33"/>
                </a:cubicBezTo>
                <a:cubicBezTo>
                  <a:pt x="23" y="34"/>
                  <a:pt x="23" y="34"/>
                  <a:pt x="23" y="34"/>
                </a:cubicBezTo>
                <a:cubicBezTo>
                  <a:pt x="23" y="35"/>
                  <a:pt x="23" y="35"/>
                  <a:pt x="23" y="35"/>
                </a:cubicBezTo>
                <a:cubicBezTo>
                  <a:pt x="24" y="36"/>
                  <a:pt x="24" y="36"/>
                  <a:pt x="24" y="36"/>
                </a:cubicBezTo>
                <a:cubicBezTo>
                  <a:pt x="24" y="37"/>
                  <a:pt x="24" y="37"/>
                  <a:pt x="24" y="37"/>
                </a:cubicBezTo>
                <a:cubicBezTo>
                  <a:pt x="25" y="40"/>
                  <a:pt x="25" y="40"/>
                  <a:pt x="25" y="40"/>
                </a:cubicBezTo>
                <a:cubicBezTo>
                  <a:pt x="26" y="42"/>
                  <a:pt x="26" y="42"/>
                  <a:pt x="26" y="42"/>
                </a:cubicBezTo>
                <a:cubicBezTo>
                  <a:pt x="27" y="42"/>
                  <a:pt x="27" y="42"/>
                  <a:pt x="27" y="42"/>
                </a:cubicBezTo>
                <a:cubicBezTo>
                  <a:pt x="29" y="44"/>
                  <a:pt x="29" y="44"/>
                  <a:pt x="29" y="44"/>
                </a:cubicBezTo>
                <a:cubicBezTo>
                  <a:pt x="29" y="45"/>
                  <a:pt x="29" y="45"/>
                  <a:pt x="29" y="45"/>
                </a:cubicBezTo>
                <a:cubicBezTo>
                  <a:pt x="31" y="47"/>
                  <a:pt x="31" y="47"/>
                  <a:pt x="31" y="47"/>
                </a:cubicBezTo>
                <a:cubicBezTo>
                  <a:pt x="32" y="48"/>
                  <a:pt x="32" y="48"/>
                  <a:pt x="32" y="48"/>
                </a:cubicBezTo>
                <a:cubicBezTo>
                  <a:pt x="33" y="52"/>
                  <a:pt x="33" y="52"/>
                  <a:pt x="33" y="52"/>
                </a:cubicBezTo>
                <a:cubicBezTo>
                  <a:pt x="35" y="56"/>
                  <a:pt x="35" y="56"/>
                  <a:pt x="35" y="56"/>
                </a:cubicBezTo>
                <a:cubicBezTo>
                  <a:pt x="35" y="58"/>
                  <a:pt x="35" y="58"/>
                  <a:pt x="35" y="58"/>
                </a:cubicBezTo>
                <a:cubicBezTo>
                  <a:pt x="35" y="59"/>
                  <a:pt x="35" y="59"/>
                  <a:pt x="35" y="59"/>
                </a:cubicBezTo>
                <a:cubicBezTo>
                  <a:pt x="38" y="61"/>
                  <a:pt x="38" y="61"/>
                  <a:pt x="38" y="61"/>
                </a:cubicBezTo>
                <a:cubicBezTo>
                  <a:pt x="40" y="64"/>
                  <a:pt x="40" y="64"/>
                  <a:pt x="40" y="64"/>
                </a:cubicBezTo>
                <a:cubicBezTo>
                  <a:pt x="41" y="65"/>
                  <a:pt x="41" y="65"/>
                  <a:pt x="41" y="65"/>
                </a:cubicBezTo>
                <a:cubicBezTo>
                  <a:pt x="42" y="66"/>
                  <a:pt x="42" y="66"/>
                  <a:pt x="42" y="66"/>
                </a:cubicBezTo>
                <a:cubicBezTo>
                  <a:pt x="43" y="66"/>
                  <a:pt x="43" y="66"/>
                  <a:pt x="43" y="66"/>
                </a:cubicBezTo>
                <a:cubicBezTo>
                  <a:pt x="45" y="67"/>
                  <a:pt x="45" y="67"/>
                  <a:pt x="45" y="67"/>
                </a:cubicBezTo>
                <a:cubicBezTo>
                  <a:pt x="45" y="69"/>
                  <a:pt x="45" y="69"/>
                  <a:pt x="45" y="69"/>
                </a:cubicBezTo>
                <a:cubicBezTo>
                  <a:pt x="46" y="70"/>
                  <a:pt x="46" y="70"/>
                  <a:pt x="46" y="70"/>
                </a:cubicBezTo>
                <a:cubicBezTo>
                  <a:pt x="48" y="72"/>
                  <a:pt x="48" y="72"/>
                  <a:pt x="48" y="72"/>
                </a:cubicBezTo>
                <a:cubicBezTo>
                  <a:pt x="51" y="74"/>
                  <a:pt x="51" y="74"/>
                  <a:pt x="51" y="74"/>
                </a:cubicBezTo>
                <a:cubicBezTo>
                  <a:pt x="51" y="75"/>
                  <a:pt x="51" y="75"/>
                  <a:pt x="51" y="75"/>
                </a:cubicBezTo>
                <a:cubicBezTo>
                  <a:pt x="53" y="75"/>
                  <a:pt x="53" y="75"/>
                  <a:pt x="53" y="75"/>
                </a:cubicBezTo>
                <a:cubicBezTo>
                  <a:pt x="57" y="79"/>
                  <a:pt x="57" y="79"/>
                  <a:pt x="57" y="79"/>
                </a:cubicBezTo>
                <a:cubicBezTo>
                  <a:pt x="57" y="80"/>
                  <a:pt x="57" y="80"/>
                  <a:pt x="57" y="80"/>
                </a:cubicBezTo>
                <a:cubicBezTo>
                  <a:pt x="58" y="80"/>
                  <a:pt x="58" y="80"/>
                  <a:pt x="58" y="80"/>
                </a:cubicBezTo>
                <a:cubicBezTo>
                  <a:pt x="59" y="82"/>
                  <a:pt x="59" y="82"/>
                  <a:pt x="59" y="82"/>
                </a:cubicBezTo>
                <a:cubicBezTo>
                  <a:pt x="59" y="81"/>
                  <a:pt x="59" y="81"/>
                  <a:pt x="59" y="81"/>
                </a:cubicBezTo>
                <a:cubicBezTo>
                  <a:pt x="59" y="80"/>
                  <a:pt x="59" y="80"/>
                  <a:pt x="59" y="80"/>
                </a:cubicBezTo>
                <a:cubicBezTo>
                  <a:pt x="59" y="79"/>
                  <a:pt x="59" y="79"/>
                  <a:pt x="59" y="79"/>
                </a:cubicBezTo>
                <a:cubicBezTo>
                  <a:pt x="59" y="79"/>
                  <a:pt x="59" y="79"/>
                  <a:pt x="59" y="79"/>
                </a:cubicBezTo>
                <a:cubicBezTo>
                  <a:pt x="60" y="79"/>
                  <a:pt x="60" y="79"/>
                  <a:pt x="60" y="79"/>
                </a:cubicBezTo>
                <a:cubicBezTo>
                  <a:pt x="62" y="81"/>
                  <a:pt x="62" y="81"/>
                  <a:pt x="62" y="81"/>
                </a:cubicBezTo>
                <a:cubicBezTo>
                  <a:pt x="63" y="81"/>
                  <a:pt x="63" y="81"/>
                  <a:pt x="63" y="81"/>
                </a:cubicBezTo>
                <a:cubicBezTo>
                  <a:pt x="63" y="79"/>
                  <a:pt x="63" y="79"/>
                  <a:pt x="63" y="79"/>
                </a:cubicBezTo>
                <a:cubicBezTo>
                  <a:pt x="63" y="78"/>
                  <a:pt x="63" y="78"/>
                  <a:pt x="63" y="78"/>
                </a:cubicBezTo>
                <a:cubicBezTo>
                  <a:pt x="64" y="79"/>
                  <a:pt x="64" y="79"/>
                  <a:pt x="64" y="79"/>
                </a:cubicBezTo>
                <a:cubicBezTo>
                  <a:pt x="66" y="80"/>
                  <a:pt x="66" y="80"/>
                  <a:pt x="66" y="80"/>
                </a:cubicBezTo>
                <a:cubicBezTo>
                  <a:pt x="66" y="81"/>
                  <a:pt x="66" y="81"/>
                  <a:pt x="66" y="81"/>
                </a:cubicBezTo>
                <a:cubicBezTo>
                  <a:pt x="67" y="80"/>
                  <a:pt x="67" y="80"/>
                  <a:pt x="67" y="80"/>
                </a:cubicBezTo>
                <a:cubicBezTo>
                  <a:pt x="67" y="77"/>
                  <a:pt x="67" y="77"/>
                  <a:pt x="67" y="77"/>
                </a:cubicBezTo>
                <a:cubicBezTo>
                  <a:pt x="68" y="74"/>
                  <a:pt x="68" y="74"/>
                  <a:pt x="68" y="74"/>
                </a:cubicBezTo>
                <a:cubicBezTo>
                  <a:pt x="67" y="71"/>
                  <a:pt x="67" y="71"/>
                  <a:pt x="67" y="71"/>
                </a:cubicBezTo>
                <a:cubicBezTo>
                  <a:pt x="68" y="69"/>
                  <a:pt x="68" y="69"/>
                  <a:pt x="68" y="69"/>
                </a:cubicBezTo>
                <a:cubicBezTo>
                  <a:pt x="67" y="68"/>
                  <a:pt x="67" y="68"/>
                  <a:pt x="67" y="68"/>
                </a:cubicBezTo>
                <a:cubicBezTo>
                  <a:pt x="68" y="66"/>
                  <a:pt x="68" y="66"/>
                  <a:pt x="68" y="66"/>
                </a:cubicBezTo>
                <a:cubicBezTo>
                  <a:pt x="69" y="65"/>
                  <a:pt x="69" y="65"/>
                  <a:pt x="69" y="65"/>
                </a:cubicBezTo>
                <a:cubicBezTo>
                  <a:pt x="69" y="64"/>
                  <a:pt x="69" y="64"/>
                  <a:pt x="69" y="64"/>
                </a:cubicBezTo>
                <a:cubicBezTo>
                  <a:pt x="69" y="63"/>
                  <a:pt x="69" y="63"/>
                  <a:pt x="69" y="63"/>
                </a:cubicBezTo>
                <a:cubicBezTo>
                  <a:pt x="68" y="63"/>
                  <a:pt x="68" y="63"/>
                  <a:pt x="68" y="63"/>
                </a:cubicBezTo>
                <a:cubicBezTo>
                  <a:pt x="67" y="62"/>
                  <a:pt x="67" y="62"/>
                  <a:pt x="67" y="62"/>
                </a:cubicBezTo>
                <a:cubicBezTo>
                  <a:pt x="66" y="60"/>
                  <a:pt x="66" y="60"/>
                  <a:pt x="66" y="60"/>
                </a:cubicBezTo>
                <a:cubicBezTo>
                  <a:pt x="66" y="60"/>
                  <a:pt x="66" y="60"/>
                  <a:pt x="66" y="60"/>
                </a:cubicBezTo>
                <a:cubicBezTo>
                  <a:pt x="65" y="59"/>
                  <a:pt x="65" y="59"/>
                  <a:pt x="65" y="59"/>
                </a:cubicBezTo>
                <a:cubicBezTo>
                  <a:pt x="64" y="59"/>
                  <a:pt x="64" y="59"/>
                  <a:pt x="64" y="59"/>
                </a:cubicBezTo>
                <a:cubicBezTo>
                  <a:pt x="62" y="59"/>
                  <a:pt x="62" y="59"/>
                  <a:pt x="62" y="59"/>
                </a:cubicBezTo>
                <a:cubicBezTo>
                  <a:pt x="61" y="59"/>
                  <a:pt x="61" y="59"/>
                  <a:pt x="61" y="59"/>
                </a:cubicBezTo>
                <a:cubicBezTo>
                  <a:pt x="61" y="57"/>
                  <a:pt x="61" y="57"/>
                  <a:pt x="61" y="57"/>
                </a:cubicBezTo>
                <a:cubicBezTo>
                  <a:pt x="60" y="56"/>
                  <a:pt x="60" y="56"/>
                  <a:pt x="60" y="56"/>
                </a:cubicBezTo>
                <a:cubicBezTo>
                  <a:pt x="59" y="56"/>
                  <a:pt x="59" y="56"/>
                  <a:pt x="59" y="56"/>
                </a:cubicBezTo>
                <a:cubicBezTo>
                  <a:pt x="60" y="55"/>
                  <a:pt x="60" y="55"/>
                  <a:pt x="60" y="55"/>
                </a:cubicBezTo>
                <a:cubicBezTo>
                  <a:pt x="59" y="53"/>
                  <a:pt x="59" y="53"/>
                  <a:pt x="59" y="53"/>
                </a:cubicBezTo>
                <a:cubicBezTo>
                  <a:pt x="59" y="50"/>
                  <a:pt x="59" y="50"/>
                  <a:pt x="59" y="50"/>
                </a:cubicBezTo>
                <a:cubicBezTo>
                  <a:pt x="58" y="51"/>
                  <a:pt x="58" y="51"/>
                  <a:pt x="58" y="51"/>
                </a:cubicBezTo>
                <a:cubicBezTo>
                  <a:pt x="57" y="50"/>
                  <a:pt x="57" y="50"/>
                  <a:pt x="57" y="50"/>
                </a:cubicBezTo>
                <a:cubicBezTo>
                  <a:pt x="54" y="50"/>
                  <a:pt x="54" y="50"/>
                  <a:pt x="54" y="50"/>
                </a:cubicBezTo>
                <a:cubicBezTo>
                  <a:pt x="52" y="49"/>
                  <a:pt x="52" y="49"/>
                  <a:pt x="52" y="49"/>
                </a:cubicBezTo>
                <a:cubicBezTo>
                  <a:pt x="52" y="48"/>
                  <a:pt x="52" y="48"/>
                  <a:pt x="52" y="48"/>
                </a:cubicBezTo>
                <a:cubicBezTo>
                  <a:pt x="54" y="47"/>
                  <a:pt x="54" y="47"/>
                  <a:pt x="54" y="47"/>
                </a:cubicBezTo>
                <a:cubicBezTo>
                  <a:pt x="55" y="46"/>
                  <a:pt x="55" y="46"/>
                  <a:pt x="55" y="46"/>
                </a:cubicBezTo>
                <a:cubicBezTo>
                  <a:pt x="54" y="46"/>
                  <a:pt x="54" y="46"/>
                  <a:pt x="54" y="46"/>
                </a:cubicBezTo>
                <a:cubicBezTo>
                  <a:pt x="53" y="46"/>
                  <a:pt x="53" y="46"/>
                  <a:pt x="53" y="46"/>
                </a:cubicBezTo>
                <a:cubicBezTo>
                  <a:pt x="52" y="46"/>
                  <a:pt x="52" y="46"/>
                  <a:pt x="52" y="46"/>
                </a:cubicBezTo>
                <a:cubicBezTo>
                  <a:pt x="51" y="46"/>
                  <a:pt x="51" y="46"/>
                  <a:pt x="51" y="46"/>
                </a:cubicBezTo>
                <a:cubicBezTo>
                  <a:pt x="52" y="45"/>
                  <a:pt x="52" y="45"/>
                  <a:pt x="52" y="45"/>
                </a:cubicBezTo>
                <a:cubicBezTo>
                  <a:pt x="53" y="44"/>
                  <a:pt x="53" y="44"/>
                  <a:pt x="53" y="44"/>
                </a:cubicBezTo>
                <a:cubicBezTo>
                  <a:pt x="55" y="44"/>
                  <a:pt x="55" y="44"/>
                  <a:pt x="55" y="44"/>
                </a:cubicBezTo>
                <a:cubicBezTo>
                  <a:pt x="55" y="43"/>
                  <a:pt x="55" y="43"/>
                  <a:pt x="55" y="43"/>
                </a:cubicBezTo>
                <a:cubicBezTo>
                  <a:pt x="53" y="41"/>
                  <a:pt x="53" y="41"/>
                  <a:pt x="53" y="41"/>
                </a:cubicBezTo>
                <a:cubicBezTo>
                  <a:pt x="52" y="41"/>
                  <a:pt x="52" y="41"/>
                  <a:pt x="52" y="41"/>
                </a:cubicBezTo>
                <a:cubicBezTo>
                  <a:pt x="50" y="41"/>
                  <a:pt x="50" y="41"/>
                  <a:pt x="50" y="41"/>
                </a:cubicBezTo>
                <a:cubicBezTo>
                  <a:pt x="49" y="42"/>
                  <a:pt x="49" y="42"/>
                  <a:pt x="49" y="42"/>
                </a:cubicBezTo>
                <a:cubicBezTo>
                  <a:pt x="47" y="42"/>
                  <a:pt x="47" y="42"/>
                  <a:pt x="47" y="42"/>
                </a:cubicBezTo>
                <a:cubicBezTo>
                  <a:pt x="48" y="42"/>
                  <a:pt x="48" y="42"/>
                  <a:pt x="48" y="42"/>
                </a:cubicBezTo>
                <a:cubicBezTo>
                  <a:pt x="49" y="42"/>
                  <a:pt x="49" y="42"/>
                  <a:pt x="49" y="42"/>
                </a:cubicBezTo>
                <a:cubicBezTo>
                  <a:pt x="49" y="41"/>
                  <a:pt x="49" y="41"/>
                  <a:pt x="49" y="41"/>
                </a:cubicBezTo>
                <a:cubicBezTo>
                  <a:pt x="50" y="41"/>
                  <a:pt x="50" y="41"/>
                  <a:pt x="50" y="41"/>
                </a:cubicBezTo>
                <a:cubicBezTo>
                  <a:pt x="50" y="40"/>
                  <a:pt x="50" y="40"/>
                  <a:pt x="50" y="40"/>
                </a:cubicBezTo>
                <a:cubicBezTo>
                  <a:pt x="48" y="39"/>
                  <a:pt x="48" y="39"/>
                  <a:pt x="48" y="39"/>
                </a:cubicBezTo>
                <a:cubicBezTo>
                  <a:pt x="46" y="39"/>
                  <a:pt x="46" y="39"/>
                  <a:pt x="46" y="39"/>
                </a:cubicBezTo>
                <a:cubicBezTo>
                  <a:pt x="44" y="38"/>
                  <a:pt x="44" y="38"/>
                  <a:pt x="44" y="38"/>
                </a:cubicBezTo>
                <a:cubicBezTo>
                  <a:pt x="44" y="37"/>
                  <a:pt x="44" y="37"/>
                  <a:pt x="44" y="37"/>
                </a:cubicBezTo>
                <a:cubicBezTo>
                  <a:pt x="44" y="35"/>
                  <a:pt x="44" y="35"/>
                  <a:pt x="44" y="35"/>
                </a:cubicBezTo>
                <a:cubicBezTo>
                  <a:pt x="42" y="33"/>
                  <a:pt x="42" y="33"/>
                  <a:pt x="42" y="33"/>
                </a:cubicBezTo>
                <a:cubicBezTo>
                  <a:pt x="41" y="33"/>
                  <a:pt x="41" y="33"/>
                  <a:pt x="41" y="33"/>
                </a:cubicBezTo>
                <a:cubicBezTo>
                  <a:pt x="40" y="33"/>
                  <a:pt x="40" y="33"/>
                  <a:pt x="40" y="33"/>
                </a:cubicBezTo>
                <a:cubicBezTo>
                  <a:pt x="39" y="32"/>
                  <a:pt x="39" y="32"/>
                  <a:pt x="39" y="32"/>
                </a:cubicBezTo>
                <a:cubicBezTo>
                  <a:pt x="39" y="30"/>
                  <a:pt x="39" y="30"/>
                  <a:pt x="39" y="30"/>
                </a:cubicBezTo>
                <a:cubicBezTo>
                  <a:pt x="37" y="28"/>
                  <a:pt x="37" y="28"/>
                  <a:pt x="37" y="28"/>
                </a:cubicBezTo>
                <a:cubicBezTo>
                  <a:pt x="35" y="27"/>
                  <a:pt x="35" y="27"/>
                  <a:pt x="35" y="27"/>
                </a:cubicBezTo>
                <a:cubicBezTo>
                  <a:pt x="33" y="27"/>
                  <a:pt x="33" y="27"/>
                  <a:pt x="33" y="27"/>
                </a:cubicBezTo>
                <a:cubicBezTo>
                  <a:pt x="33" y="27"/>
                  <a:pt x="33" y="27"/>
                  <a:pt x="33" y="27"/>
                </a:cubicBezTo>
                <a:cubicBezTo>
                  <a:pt x="32" y="27"/>
                  <a:pt x="32" y="27"/>
                  <a:pt x="32" y="27"/>
                </a:cubicBezTo>
                <a:cubicBezTo>
                  <a:pt x="32" y="25"/>
                  <a:pt x="32" y="25"/>
                  <a:pt x="32" y="25"/>
                </a:cubicBezTo>
                <a:cubicBezTo>
                  <a:pt x="31" y="26"/>
                  <a:pt x="31" y="26"/>
                  <a:pt x="31" y="26"/>
                </a:cubicBezTo>
                <a:cubicBezTo>
                  <a:pt x="30" y="25"/>
                  <a:pt x="30" y="25"/>
                  <a:pt x="30" y="25"/>
                </a:cubicBezTo>
                <a:cubicBezTo>
                  <a:pt x="30" y="23"/>
                  <a:pt x="30" y="23"/>
                  <a:pt x="30" y="23"/>
                </a:cubicBezTo>
                <a:cubicBezTo>
                  <a:pt x="29" y="22"/>
                  <a:pt x="29" y="22"/>
                  <a:pt x="29" y="22"/>
                </a:cubicBezTo>
                <a:cubicBezTo>
                  <a:pt x="28" y="21"/>
                  <a:pt x="28" y="21"/>
                  <a:pt x="28" y="21"/>
                </a:cubicBezTo>
                <a:cubicBezTo>
                  <a:pt x="27" y="21"/>
                  <a:pt x="27" y="21"/>
                  <a:pt x="27" y="21"/>
                </a:cubicBezTo>
                <a:cubicBezTo>
                  <a:pt x="23" y="18"/>
                  <a:pt x="23" y="18"/>
                  <a:pt x="23" y="18"/>
                </a:cubicBezTo>
                <a:cubicBezTo>
                  <a:pt x="22" y="18"/>
                  <a:pt x="22" y="18"/>
                  <a:pt x="22" y="18"/>
                </a:cubicBezTo>
                <a:cubicBezTo>
                  <a:pt x="21" y="16"/>
                  <a:pt x="21" y="16"/>
                  <a:pt x="21" y="16"/>
                </a:cubicBezTo>
                <a:cubicBezTo>
                  <a:pt x="19" y="16"/>
                  <a:pt x="19" y="16"/>
                  <a:pt x="19" y="16"/>
                </a:cubicBezTo>
                <a:cubicBezTo>
                  <a:pt x="19" y="15"/>
                  <a:pt x="19" y="15"/>
                  <a:pt x="19" y="15"/>
                </a:cubicBezTo>
                <a:cubicBezTo>
                  <a:pt x="18" y="13"/>
                  <a:pt x="18" y="13"/>
                  <a:pt x="18" y="13"/>
                </a:cubicBezTo>
                <a:cubicBezTo>
                  <a:pt x="17" y="12"/>
                  <a:pt x="17" y="12"/>
                  <a:pt x="17" y="12"/>
                </a:cubicBezTo>
                <a:cubicBezTo>
                  <a:pt x="16" y="11"/>
                  <a:pt x="16" y="11"/>
                  <a:pt x="16" y="11"/>
                </a:cubicBezTo>
                <a:cubicBezTo>
                  <a:pt x="16" y="11"/>
                  <a:pt x="16" y="11"/>
                  <a:pt x="16" y="11"/>
                </a:cubicBezTo>
                <a:cubicBezTo>
                  <a:pt x="15" y="9"/>
                  <a:pt x="15" y="9"/>
                  <a:pt x="15" y="9"/>
                </a:cubicBezTo>
                <a:cubicBezTo>
                  <a:pt x="14" y="9"/>
                  <a:pt x="14" y="9"/>
                  <a:pt x="14" y="9"/>
                </a:cubicBezTo>
                <a:cubicBezTo>
                  <a:pt x="12" y="9"/>
                  <a:pt x="12" y="9"/>
                  <a:pt x="12" y="9"/>
                </a:cubicBezTo>
                <a:cubicBezTo>
                  <a:pt x="11" y="9"/>
                  <a:pt x="11" y="9"/>
                  <a:pt x="11" y="9"/>
                </a:cubicBezTo>
                <a:cubicBezTo>
                  <a:pt x="11" y="8"/>
                  <a:pt x="11" y="8"/>
                  <a:pt x="11" y="8"/>
                </a:cubicBezTo>
                <a:cubicBezTo>
                  <a:pt x="9" y="8"/>
                  <a:pt x="9" y="8"/>
                  <a:pt x="9" y="8"/>
                </a:cubicBezTo>
                <a:cubicBezTo>
                  <a:pt x="7" y="9"/>
                  <a:pt x="7" y="9"/>
                  <a:pt x="7" y="9"/>
                </a:cubicBezTo>
                <a:cubicBezTo>
                  <a:pt x="6" y="8"/>
                  <a:pt x="6" y="8"/>
                  <a:pt x="6" y="8"/>
                </a:cubicBezTo>
                <a:cubicBezTo>
                  <a:pt x="4" y="6"/>
                  <a:pt x="4" y="6"/>
                  <a:pt x="4" y="6"/>
                </a:cubicBezTo>
                <a:cubicBezTo>
                  <a:pt x="1" y="6"/>
                  <a:pt x="1" y="6"/>
                  <a:pt x="1" y="6"/>
                </a:cubicBezTo>
                <a:lnTo>
                  <a:pt x="0" y="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8" name="Freeform 26">
            <a:extLst>
              <a:ext uri="{FF2B5EF4-FFF2-40B4-BE49-F238E27FC236}">
                <a16:creationId xmlns:a16="http://schemas.microsoft.com/office/drawing/2014/main" id="{81E89C95-1C67-9E6E-807A-2A86F8BA12AF}"/>
              </a:ext>
            </a:extLst>
          </p:cNvPr>
          <p:cNvSpPr>
            <a:spLocks noEditPoints="1"/>
          </p:cNvSpPr>
          <p:nvPr userDrawn="1"/>
        </p:nvSpPr>
        <p:spPr bwMode="auto">
          <a:xfrm>
            <a:off x="20918711" y="9952909"/>
            <a:ext cx="200013" cy="60326"/>
          </a:xfrm>
          <a:custGeom>
            <a:avLst/>
            <a:gdLst>
              <a:gd name="T0" fmla="*/ 0 w 63"/>
              <a:gd name="T1" fmla="*/ 16 h 19"/>
              <a:gd name="T2" fmla="*/ 3 w 63"/>
              <a:gd name="T3" fmla="*/ 19 h 19"/>
              <a:gd name="T4" fmla="*/ 6 w 63"/>
              <a:gd name="T5" fmla="*/ 16 h 19"/>
              <a:gd name="T6" fmla="*/ 9 w 63"/>
              <a:gd name="T7" fmla="*/ 16 h 19"/>
              <a:gd name="T8" fmla="*/ 9 w 63"/>
              <a:gd name="T9" fmla="*/ 12 h 19"/>
              <a:gd name="T10" fmla="*/ 9 w 63"/>
              <a:gd name="T11" fmla="*/ 12 h 19"/>
              <a:gd name="T12" fmla="*/ 3 w 63"/>
              <a:gd name="T13" fmla="*/ 12 h 19"/>
              <a:gd name="T14" fmla="*/ 0 w 63"/>
              <a:gd name="T15" fmla="*/ 16 h 19"/>
              <a:gd name="T16" fmla="*/ 0 w 63"/>
              <a:gd name="T17" fmla="*/ 16 h 19"/>
              <a:gd name="T18" fmla="*/ 16 w 63"/>
              <a:gd name="T19" fmla="*/ 9 h 19"/>
              <a:gd name="T20" fmla="*/ 19 w 63"/>
              <a:gd name="T21" fmla="*/ 16 h 19"/>
              <a:gd name="T22" fmla="*/ 25 w 63"/>
              <a:gd name="T23" fmla="*/ 19 h 19"/>
              <a:gd name="T24" fmla="*/ 25 w 63"/>
              <a:gd name="T25" fmla="*/ 19 h 19"/>
              <a:gd name="T26" fmla="*/ 28 w 63"/>
              <a:gd name="T27" fmla="*/ 16 h 19"/>
              <a:gd name="T28" fmla="*/ 31 w 63"/>
              <a:gd name="T29" fmla="*/ 12 h 19"/>
              <a:gd name="T30" fmla="*/ 34 w 63"/>
              <a:gd name="T31" fmla="*/ 12 h 19"/>
              <a:gd name="T32" fmla="*/ 44 w 63"/>
              <a:gd name="T33" fmla="*/ 12 h 19"/>
              <a:gd name="T34" fmla="*/ 50 w 63"/>
              <a:gd name="T35" fmla="*/ 9 h 19"/>
              <a:gd name="T36" fmla="*/ 56 w 63"/>
              <a:gd name="T37" fmla="*/ 6 h 19"/>
              <a:gd name="T38" fmla="*/ 56 w 63"/>
              <a:gd name="T39" fmla="*/ 6 h 19"/>
              <a:gd name="T40" fmla="*/ 59 w 63"/>
              <a:gd name="T41" fmla="*/ 6 h 19"/>
              <a:gd name="T42" fmla="*/ 63 w 63"/>
              <a:gd name="T43" fmla="*/ 3 h 19"/>
              <a:gd name="T44" fmla="*/ 63 w 63"/>
              <a:gd name="T45" fmla="*/ 0 h 19"/>
              <a:gd name="T46" fmla="*/ 59 w 63"/>
              <a:gd name="T47" fmla="*/ 0 h 19"/>
              <a:gd name="T48" fmla="*/ 53 w 63"/>
              <a:gd name="T49" fmla="*/ 0 h 19"/>
              <a:gd name="T50" fmla="*/ 50 w 63"/>
              <a:gd name="T51" fmla="*/ 0 h 19"/>
              <a:gd name="T52" fmla="*/ 44 w 63"/>
              <a:gd name="T53" fmla="*/ 0 h 19"/>
              <a:gd name="T54" fmla="*/ 41 w 63"/>
              <a:gd name="T55" fmla="*/ 0 h 19"/>
              <a:gd name="T56" fmla="*/ 34 w 63"/>
              <a:gd name="T57" fmla="*/ 3 h 19"/>
              <a:gd name="T58" fmla="*/ 28 w 63"/>
              <a:gd name="T59" fmla="*/ 3 h 19"/>
              <a:gd name="T60" fmla="*/ 22 w 63"/>
              <a:gd name="T61" fmla="*/ 6 h 19"/>
              <a:gd name="T62" fmla="*/ 16 w 63"/>
              <a:gd name="T6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 h="19">
                <a:moveTo>
                  <a:pt x="0" y="16"/>
                </a:moveTo>
                <a:lnTo>
                  <a:pt x="3" y="19"/>
                </a:lnTo>
                <a:lnTo>
                  <a:pt x="6" y="16"/>
                </a:lnTo>
                <a:lnTo>
                  <a:pt x="9" y="16"/>
                </a:lnTo>
                <a:lnTo>
                  <a:pt x="9" y="12"/>
                </a:lnTo>
                <a:lnTo>
                  <a:pt x="9" y="12"/>
                </a:lnTo>
                <a:lnTo>
                  <a:pt x="3" y="12"/>
                </a:lnTo>
                <a:lnTo>
                  <a:pt x="0" y="16"/>
                </a:lnTo>
                <a:lnTo>
                  <a:pt x="0" y="16"/>
                </a:lnTo>
                <a:close/>
                <a:moveTo>
                  <a:pt x="16" y="9"/>
                </a:moveTo>
                <a:lnTo>
                  <a:pt x="19" y="16"/>
                </a:lnTo>
                <a:lnTo>
                  <a:pt x="25" y="19"/>
                </a:lnTo>
                <a:lnTo>
                  <a:pt x="25" y="19"/>
                </a:lnTo>
                <a:lnTo>
                  <a:pt x="28" y="16"/>
                </a:lnTo>
                <a:lnTo>
                  <a:pt x="31" y="12"/>
                </a:lnTo>
                <a:lnTo>
                  <a:pt x="34" y="12"/>
                </a:lnTo>
                <a:lnTo>
                  <a:pt x="44" y="12"/>
                </a:lnTo>
                <a:lnTo>
                  <a:pt x="50" y="9"/>
                </a:lnTo>
                <a:lnTo>
                  <a:pt x="56" y="6"/>
                </a:lnTo>
                <a:lnTo>
                  <a:pt x="56" y="6"/>
                </a:lnTo>
                <a:lnTo>
                  <a:pt x="59" y="6"/>
                </a:lnTo>
                <a:lnTo>
                  <a:pt x="63" y="3"/>
                </a:lnTo>
                <a:lnTo>
                  <a:pt x="63" y="0"/>
                </a:lnTo>
                <a:lnTo>
                  <a:pt x="59" y="0"/>
                </a:lnTo>
                <a:lnTo>
                  <a:pt x="53" y="0"/>
                </a:lnTo>
                <a:lnTo>
                  <a:pt x="50" y="0"/>
                </a:lnTo>
                <a:lnTo>
                  <a:pt x="44" y="0"/>
                </a:lnTo>
                <a:lnTo>
                  <a:pt x="41" y="0"/>
                </a:lnTo>
                <a:lnTo>
                  <a:pt x="34" y="3"/>
                </a:lnTo>
                <a:lnTo>
                  <a:pt x="28" y="3"/>
                </a:lnTo>
                <a:lnTo>
                  <a:pt x="22" y="6"/>
                </a:lnTo>
                <a:lnTo>
                  <a:pt x="16" y="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9" name="Freeform 27">
            <a:extLst>
              <a:ext uri="{FF2B5EF4-FFF2-40B4-BE49-F238E27FC236}">
                <a16:creationId xmlns:a16="http://schemas.microsoft.com/office/drawing/2014/main" id="{578AF1DD-6F84-6DC2-B445-5EB34D916CF6}"/>
              </a:ext>
            </a:extLst>
          </p:cNvPr>
          <p:cNvSpPr>
            <a:spLocks noEditPoints="1"/>
          </p:cNvSpPr>
          <p:nvPr userDrawn="1"/>
        </p:nvSpPr>
        <p:spPr bwMode="auto">
          <a:xfrm>
            <a:off x="19429734" y="8921033"/>
            <a:ext cx="1200072" cy="415926"/>
          </a:xfrm>
          <a:custGeom>
            <a:avLst/>
            <a:gdLst>
              <a:gd name="T0" fmla="*/ 228 w 378"/>
              <a:gd name="T1" fmla="*/ 97 h 131"/>
              <a:gd name="T2" fmla="*/ 3 w 378"/>
              <a:gd name="T3" fmla="*/ 40 h 131"/>
              <a:gd name="T4" fmla="*/ 0 w 378"/>
              <a:gd name="T5" fmla="*/ 34 h 131"/>
              <a:gd name="T6" fmla="*/ 207 w 378"/>
              <a:gd name="T7" fmla="*/ 128 h 131"/>
              <a:gd name="T8" fmla="*/ 222 w 378"/>
              <a:gd name="T9" fmla="*/ 128 h 131"/>
              <a:gd name="T10" fmla="*/ 260 w 378"/>
              <a:gd name="T11" fmla="*/ 122 h 131"/>
              <a:gd name="T12" fmla="*/ 288 w 378"/>
              <a:gd name="T13" fmla="*/ 118 h 131"/>
              <a:gd name="T14" fmla="*/ 310 w 378"/>
              <a:gd name="T15" fmla="*/ 71 h 131"/>
              <a:gd name="T16" fmla="*/ 319 w 378"/>
              <a:gd name="T17" fmla="*/ 59 h 131"/>
              <a:gd name="T18" fmla="*/ 344 w 378"/>
              <a:gd name="T19" fmla="*/ 62 h 131"/>
              <a:gd name="T20" fmla="*/ 363 w 378"/>
              <a:gd name="T21" fmla="*/ 62 h 131"/>
              <a:gd name="T22" fmla="*/ 369 w 378"/>
              <a:gd name="T23" fmla="*/ 50 h 131"/>
              <a:gd name="T24" fmla="*/ 369 w 378"/>
              <a:gd name="T25" fmla="*/ 40 h 131"/>
              <a:gd name="T26" fmla="*/ 353 w 378"/>
              <a:gd name="T27" fmla="*/ 34 h 131"/>
              <a:gd name="T28" fmla="*/ 347 w 378"/>
              <a:gd name="T29" fmla="*/ 31 h 131"/>
              <a:gd name="T30" fmla="*/ 347 w 378"/>
              <a:gd name="T31" fmla="*/ 18 h 131"/>
              <a:gd name="T32" fmla="*/ 335 w 378"/>
              <a:gd name="T33" fmla="*/ 6 h 131"/>
              <a:gd name="T34" fmla="*/ 328 w 378"/>
              <a:gd name="T35" fmla="*/ 12 h 131"/>
              <a:gd name="T36" fmla="*/ 316 w 378"/>
              <a:gd name="T37" fmla="*/ 28 h 131"/>
              <a:gd name="T38" fmla="*/ 297 w 378"/>
              <a:gd name="T39" fmla="*/ 43 h 131"/>
              <a:gd name="T40" fmla="*/ 303 w 378"/>
              <a:gd name="T41" fmla="*/ 46 h 131"/>
              <a:gd name="T42" fmla="*/ 300 w 378"/>
              <a:gd name="T43" fmla="*/ 62 h 131"/>
              <a:gd name="T44" fmla="*/ 297 w 378"/>
              <a:gd name="T45" fmla="*/ 53 h 131"/>
              <a:gd name="T46" fmla="*/ 288 w 378"/>
              <a:gd name="T47" fmla="*/ 62 h 131"/>
              <a:gd name="T48" fmla="*/ 275 w 378"/>
              <a:gd name="T49" fmla="*/ 62 h 131"/>
              <a:gd name="T50" fmla="*/ 257 w 378"/>
              <a:gd name="T51" fmla="*/ 84 h 131"/>
              <a:gd name="T52" fmla="*/ 238 w 378"/>
              <a:gd name="T53" fmla="*/ 103 h 131"/>
              <a:gd name="T54" fmla="*/ 225 w 378"/>
              <a:gd name="T55" fmla="*/ 109 h 131"/>
              <a:gd name="T56" fmla="*/ 207 w 378"/>
              <a:gd name="T57" fmla="*/ 118 h 131"/>
              <a:gd name="T58" fmla="*/ 194 w 378"/>
              <a:gd name="T59" fmla="*/ 112 h 131"/>
              <a:gd name="T60" fmla="*/ 332 w 378"/>
              <a:gd name="T61" fmla="*/ 0 h 131"/>
              <a:gd name="T62" fmla="*/ 338 w 378"/>
              <a:gd name="T63" fmla="*/ 3 h 131"/>
              <a:gd name="T64" fmla="*/ 225 w 378"/>
              <a:gd name="T65" fmla="*/ 103 h 131"/>
              <a:gd name="T66" fmla="*/ 228 w 378"/>
              <a:gd name="T67" fmla="*/ 103 h 131"/>
              <a:gd name="T68" fmla="*/ 235 w 378"/>
              <a:gd name="T69" fmla="*/ 93 h 131"/>
              <a:gd name="T70" fmla="*/ 232 w 378"/>
              <a:gd name="T71" fmla="*/ 97 h 131"/>
              <a:gd name="T72" fmla="*/ 3 w 378"/>
              <a:gd name="T73" fmla="*/ 12 h 131"/>
              <a:gd name="T74" fmla="*/ 19 w 378"/>
              <a:gd name="T75" fmla="*/ 18 h 131"/>
              <a:gd name="T76" fmla="*/ 25 w 378"/>
              <a:gd name="T77" fmla="*/ 31 h 131"/>
              <a:gd name="T78" fmla="*/ 38 w 378"/>
              <a:gd name="T79" fmla="*/ 25 h 131"/>
              <a:gd name="T80" fmla="*/ 44 w 378"/>
              <a:gd name="T81" fmla="*/ 21 h 131"/>
              <a:gd name="T82" fmla="*/ 66 w 378"/>
              <a:gd name="T83" fmla="*/ 59 h 131"/>
              <a:gd name="T84" fmla="*/ 69 w 378"/>
              <a:gd name="T85" fmla="*/ 84 h 131"/>
              <a:gd name="T86" fmla="*/ 78 w 378"/>
              <a:gd name="T87" fmla="*/ 97 h 131"/>
              <a:gd name="T88" fmla="*/ 82 w 378"/>
              <a:gd name="T89" fmla="*/ 109 h 131"/>
              <a:gd name="T90" fmla="*/ 85 w 378"/>
              <a:gd name="T91" fmla="*/ 118 h 131"/>
              <a:gd name="T92" fmla="*/ 82 w 378"/>
              <a:gd name="T93" fmla="*/ 118 h 131"/>
              <a:gd name="T94" fmla="*/ 72 w 378"/>
              <a:gd name="T95" fmla="*/ 122 h 131"/>
              <a:gd name="T96" fmla="*/ 53 w 378"/>
              <a:gd name="T97" fmla="*/ 109 h 131"/>
              <a:gd name="T98" fmla="*/ 38 w 378"/>
              <a:gd name="T99" fmla="*/ 97 h 131"/>
              <a:gd name="T100" fmla="*/ 28 w 378"/>
              <a:gd name="T101" fmla="*/ 81 h 131"/>
              <a:gd name="T102" fmla="*/ 13 w 378"/>
              <a:gd name="T103" fmla="*/ 65 h 131"/>
              <a:gd name="T104" fmla="*/ 10 w 378"/>
              <a:gd name="T105" fmla="*/ 4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8" h="131">
                <a:moveTo>
                  <a:pt x="228" y="97"/>
                </a:moveTo>
                <a:lnTo>
                  <a:pt x="228" y="100"/>
                </a:lnTo>
                <a:lnTo>
                  <a:pt x="228" y="100"/>
                </a:lnTo>
                <a:lnTo>
                  <a:pt x="228" y="97"/>
                </a:lnTo>
                <a:lnTo>
                  <a:pt x="228" y="97"/>
                </a:lnTo>
                <a:lnTo>
                  <a:pt x="228" y="97"/>
                </a:lnTo>
                <a:lnTo>
                  <a:pt x="228" y="97"/>
                </a:lnTo>
                <a:close/>
                <a:moveTo>
                  <a:pt x="0" y="34"/>
                </a:moveTo>
                <a:lnTo>
                  <a:pt x="3" y="40"/>
                </a:lnTo>
                <a:lnTo>
                  <a:pt x="3" y="40"/>
                </a:lnTo>
                <a:lnTo>
                  <a:pt x="7" y="40"/>
                </a:lnTo>
                <a:lnTo>
                  <a:pt x="7" y="37"/>
                </a:lnTo>
                <a:lnTo>
                  <a:pt x="3" y="34"/>
                </a:lnTo>
                <a:lnTo>
                  <a:pt x="0" y="34"/>
                </a:lnTo>
                <a:lnTo>
                  <a:pt x="0" y="34"/>
                </a:lnTo>
                <a:close/>
                <a:moveTo>
                  <a:pt x="194" y="112"/>
                </a:moveTo>
                <a:lnTo>
                  <a:pt x="197" y="118"/>
                </a:lnTo>
                <a:lnTo>
                  <a:pt x="203" y="122"/>
                </a:lnTo>
                <a:lnTo>
                  <a:pt x="203" y="125"/>
                </a:lnTo>
                <a:lnTo>
                  <a:pt x="207" y="128"/>
                </a:lnTo>
                <a:lnTo>
                  <a:pt x="210" y="131"/>
                </a:lnTo>
                <a:lnTo>
                  <a:pt x="213" y="131"/>
                </a:lnTo>
                <a:lnTo>
                  <a:pt x="219" y="131"/>
                </a:lnTo>
                <a:lnTo>
                  <a:pt x="219" y="128"/>
                </a:lnTo>
                <a:lnTo>
                  <a:pt x="222" y="128"/>
                </a:lnTo>
                <a:lnTo>
                  <a:pt x="225" y="128"/>
                </a:lnTo>
                <a:lnTo>
                  <a:pt x="238" y="128"/>
                </a:lnTo>
                <a:lnTo>
                  <a:pt x="247" y="125"/>
                </a:lnTo>
                <a:lnTo>
                  <a:pt x="250" y="122"/>
                </a:lnTo>
                <a:lnTo>
                  <a:pt x="260" y="122"/>
                </a:lnTo>
                <a:lnTo>
                  <a:pt x="266" y="122"/>
                </a:lnTo>
                <a:lnTo>
                  <a:pt x="266" y="125"/>
                </a:lnTo>
                <a:lnTo>
                  <a:pt x="272" y="125"/>
                </a:lnTo>
                <a:lnTo>
                  <a:pt x="278" y="122"/>
                </a:lnTo>
                <a:lnTo>
                  <a:pt x="288" y="118"/>
                </a:lnTo>
                <a:lnTo>
                  <a:pt x="288" y="115"/>
                </a:lnTo>
                <a:lnTo>
                  <a:pt x="297" y="106"/>
                </a:lnTo>
                <a:lnTo>
                  <a:pt x="300" y="97"/>
                </a:lnTo>
                <a:lnTo>
                  <a:pt x="307" y="87"/>
                </a:lnTo>
                <a:lnTo>
                  <a:pt x="310" y="71"/>
                </a:lnTo>
                <a:lnTo>
                  <a:pt x="310" y="68"/>
                </a:lnTo>
                <a:lnTo>
                  <a:pt x="313" y="65"/>
                </a:lnTo>
                <a:lnTo>
                  <a:pt x="313" y="62"/>
                </a:lnTo>
                <a:lnTo>
                  <a:pt x="316" y="59"/>
                </a:lnTo>
                <a:lnTo>
                  <a:pt x="319" y="59"/>
                </a:lnTo>
                <a:lnTo>
                  <a:pt x="325" y="59"/>
                </a:lnTo>
                <a:lnTo>
                  <a:pt x="335" y="59"/>
                </a:lnTo>
                <a:lnTo>
                  <a:pt x="335" y="62"/>
                </a:lnTo>
                <a:lnTo>
                  <a:pt x="341" y="62"/>
                </a:lnTo>
                <a:lnTo>
                  <a:pt x="344" y="62"/>
                </a:lnTo>
                <a:lnTo>
                  <a:pt x="347" y="59"/>
                </a:lnTo>
                <a:lnTo>
                  <a:pt x="350" y="62"/>
                </a:lnTo>
                <a:lnTo>
                  <a:pt x="353" y="65"/>
                </a:lnTo>
                <a:lnTo>
                  <a:pt x="357" y="62"/>
                </a:lnTo>
                <a:lnTo>
                  <a:pt x="363" y="62"/>
                </a:lnTo>
                <a:lnTo>
                  <a:pt x="363" y="59"/>
                </a:lnTo>
                <a:lnTo>
                  <a:pt x="357" y="56"/>
                </a:lnTo>
                <a:lnTo>
                  <a:pt x="357" y="50"/>
                </a:lnTo>
                <a:lnTo>
                  <a:pt x="360" y="46"/>
                </a:lnTo>
                <a:lnTo>
                  <a:pt x="369" y="50"/>
                </a:lnTo>
                <a:lnTo>
                  <a:pt x="375" y="46"/>
                </a:lnTo>
                <a:lnTo>
                  <a:pt x="378" y="43"/>
                </a:lnTo>
                <a:lnTo>
                  <a:pt x="378" y="40"/>
                </a:lnTo>
                <a:lnTo>
                  <a:pt x="375" y="40"/>
                </a:lnTo>
                <a:lnTo>
                  <a:pt x="369" y="40"/>
                </a:lnTo>
                <a:lnTo>
                  <a:pt x="366" y="37"/>
                </a:lnTo>
                <a:lnTo>
                  <a:pt x="363" y="37"/>
                </a:lnTo>
                <a:lnTo>
                  <a:pt x="360" y="31"/>
                </a:lnTo>
                <a:lnTo>
                  <a:pt x="357" y="31"/>
                </a:lnTo>
                <a:lnTo>
                  <a:pt x="353" y="34"/>
                </a:lnTo>
                <a:lnTo>
                  <a:pt x="350" y="34"/>
                </a:lnTo>
                <a:lnTo>
                  <a:pt x="357" y="31"/>
                </a:lnTo>
                <a:lnTo>
                  <a:pt x="353" y="28"/>
                </a:lnTo>
                <a:lnTo>
                  <a:pt x="350" y="28"/>
                </a:lnTo>
                <a:lnTo>
                  <a:pt x="347" y="31"/>
                </a:lnTo>
                <a:lnTo>
                  <a:pt x="347" y="31"/>
                </a:lnTo>
                <a:lnTo>
                  <a:pt x="344" y="28"/>
                </a:lnTo>
                <a:lnTo>
                  <a:pt x="344" y="25"/>
                </a:lnTo>
                <a:lnTo>
                  <a:pt x="350" y="21"/>
                </a:lnTo>
                <a:lnTo>
                  <a:pt x="347" y="18"/>
                </a:lnTo>
                <a:lnTo>
                  <a:pt x="344" y="15"/>
                </a:lnTo>
                <a:lnTo>
                  <a:pt x="341" y="18"/>
                </a:lnTo>
                <a:lnTo>
                  <a:pt x="338" y="15"/>
                </a:lnTo>
                <a:lnTo>
                  <a:pt x="338" y="9"/>
                </a:lnTo>
                <a:lnTo>
                  <a:pt x="335" y="6"/>
                </a:lnTo>
                <a:lnTo>
                  <a:pt x="332" y="6"/>
                </a:lnTo>
                <a:lnTo>
                  <a:pt x="335" y="12"/>
                </a:lnTo>
                <a:lnTo>
                  <a:pt x="328" y="15"/>
                </a:lnTo>
                <a:lnTo>
                  <a:pt x="328" y="15"/>
                </a:lnTo>
                <a:lnTo>
                  <a:pt x="328" y="12"/>
                </a:lnTo>
                <a:lnTo>
                  <a:pt x="328" y="9"/>
                </a:lnTo>
                <a:lnTo>
                  <a:pt x="325" y="9"/>
                </a:lnTo>
                <a:lnTo>
                  <a:pt x="322" y="15"/>
                </a:lnTo>
                <a:lnTo>
                  <a:pt x="319" y="18"/>
                </a:lnTo>
                <a:lnTo>
                  <a:pt x="316" y="28"/>
                </a:lnTo>
                <a:lnTo>
                  <a:pt x="316" y="31"/>
                </a:lnTo>
                <a:lnTo>
                  <a:pt x="310" y="40"/>
                </a:lnTo>
                <a:lnTo>
                  <a:pt x="307" y="40"/>
                </a:lnTo>
                <a:lnTo>
                  <a:pt x="300" y="40"/>
                </a:lnTo>
                <a:lnTo>
                  <a:pt x="297" y="43"/>
                </a:lnTo>
                <a:lnTo>
                  <a:pt x="300" y="43"/>
                </a:lnTo>
                <a:lnTo>
                  <a:pt x="297" y="46"/>
                </a:lnTo>
                <a:lnTo>
                  <a:pt x="300" y="46"/>
                </a:lnTo>
                <a:lnTo>
                  <a:pt x="303" y="46"/>
                </a:lnTo>
                <a:lnTo>
                  <a:pt x="303" y="46"/>
                </a:lnTo>
                <a:lnTo>
                  <a:pt x="300" y="50"/>
                </a:lnTo>
                <a:lnTo>
                  <a:pt x="300" y="50"/>
                </a:lnTo>
                <a:lnTo>
                  <a:pt x="300" y="53"/>
                </a:lnTo>
                <a:lnTo>
                  <a:pt x="303" y="59"/>
                </a:lnTo>
                <a:lnTo>
                  <a:pt x="300" y="62"/>
                </a:lnTo>
                <a:lnTo>
                  <a:pt x="297" y="59"/>
                </a:lnTo>
                <a:lnTo>
                  <a:pt x="297" y="56"/>
                </a:lnTo>
                <a:lnTo>
                  <a:pt x="297" y="53"/>
                </a:lnTo>
                <a:lnTo>
                  <a:pt x="297" y="53"/>
                </a:lnTo>
                <a:lnTo>
                  <a:pt x="297" y="53"/>
                </a:lnTo>
                <a:lnTo>
                  <a:pt x="294" y="53"/>
                </a:lnTo>
                <a:lnTo>
                  <a:pt x="291" y="56"/>
                </a:lnTo>
                <a:lnTo>
                  <a:pt x="294" y="62"/>
                </a:lnTo>
                <a:lnTo>
                  <a:pt x="291" y="65"/>
                </a:lnTo>
                <a:lnTo>
                  <a:pt x="288" y="62"/>
                </a:lnTo>
                <a:lnTo>
                  <a:pt x="285" y="56"/>
                </a:lnTo>
                <a:lnTo>
                  <a:pt x="282" y="56"/>
                </a:lnTo>
                <a:lnTo>
                  <a:pt x="278" y="53"/>
                </a:lnTo>
                <a:lnTo>
                  <a:pt x="275" y="59"/>
                </a:lnTo>
                <a:lnTo>
                  <a:pt x="275" y="62"/>
                </a:lnTo>
                <a:lnTo>
                  <a:pt x="272" y="65"/>
                </a:lnTo>
                <a:lnTo>
                  <a:pt x="269" y="71"/>
                </a:lnTo>
                <a:lnTo>
                  <a:pt x="263" y="75"/>
                </a:lnTo>
                <a:lnTo>
                  <a:pt x="263" y="81"/>
                </a:lnTo>
                <a:lnTo>
                  <a:pt x="257" y="84"/>
                </a:lnTo>
                <a:lnTo>
                  <a:pt x="253" y="90"/>
                </a:lnTo>
                <a:lnTo>
                  <a:pt x="238" y="93"/>
                </a:lnTo>
                <a:lnTo>
                  <a:pt x="235" y="93"/>
                </a:lnTo>
                <a:lnTo>
                  <a:pt x="235" y="100"/>
                </a:lnTo>
                <a:lnTo>
                  <a:pt x="238" y="103"/>
                </a:lnTo>
                <a:lnTo>
                  <a:pt x="235" y="100"/>
                </a:lnTo>
                <a:lnTo>
                  <a:pt x="232" y="103"/>
                </a:lnTo>
                <a:lnTo>
                  <a:pt x="228" y="103"/>
                </a:lnTo>
                <a:lnTo>
                  <a:pt x="225" y="106"/>
                </a:lnTo>
                <a:lnTo>
                  <a:pt x="225" y="109"/>
                </a:lnTo>
                <a:lnTo>
                  <a:pt x="225" y="115"/>
                </a:lnTo>
                <a:lnTo>
                  <a:pt x="222" y="118"/>
                </a:lnTo>
                <a:lnTo>
                  <a:pt x="222" y="122"/>
                </a:lnTo>
                <a:lnTo>
                  <a:pt x="213" y="122"/>
                </a:lnTo>
                <a:lnTo>
                  <a:pt x="207" y="118"/>
                </a:lnTo>
                <a:lnTo>
                  <a:pt x="200" y="118"/>
                </a:lnTo>
                <a:lnTo>
                  <a:pt x="197" y="115"/>
                </a:lnTo>
                <a:lnTo>
                  <a:pt x="194" y="112"/>
                </a:lnTo>
                <a:lnTo>
                  <a:pt x="194" y="112"/>
                </a:lnTo>
                <a:lnTo>
                  <a:pt x="194" y="112"/>
                </a:lnTo>
                <a:close/>
                <a:moveTo>
                  <a:pt x="332" y="0"/>
                </a:moveTo>
                <a:lnTo>
                  <a:pt x="328" y="3"/>
                </a:lnTo>
                <a:lnTo>
                  <a:pt x="328" y="3"/>
                </a:lnTo>
                <a:lnTo>
                  <a:pt x="332" y="0"/>
                </a:lnTo>
                <a:lnTo>
                  <a:pt x="332" y="0"/>
                </a:lnTo>
                <a:lnTo>
                  <a:pt x="332" y="0"/>
                </a:lnTo>
                <a:close/>
                <a:moveTo>
                  <a:pt x="338" y="0"/>
                </a:moveTo>
                <a:lnTo>
                  <a:pt x="335" y="3"/>
                </a:lnTo>
                <a:lnTo>
                  <a:pt x="335" y="3"/>
                </a:lnTo>
                <a:lnTo>
                  <a:pt x="338" y="3"/>
                </a:lnTo>
                <a:lnTo>
                  <a:pt x="338" y="0"/>
                </a:lnTo>
                <a:lnTo>
                  <a:pt x="338" y="0"/>
                </a:lnTo>
                <a:lnTo>
                  <a:pt x="338" y="0"/>
                </a:lnTo>
                <a:close/>
                <a:moveTo>
                  <a:pt x="228" y="103"/>
                </a:moveTo>
                <a:lnTo>
                  <a:pt x="225" y="103"/>
                </a:lnTo>
                <a:lnTo>
                  <a:pt x="228" y="100"/>
                </a:lnTo>
                <a:lnTo>
                  <a:pt x="228" y="103"/>
                </a:lnTo>
                <a:lnTo>
                  <a:pt x="228" y="103"/>
                </a:lnTo>
                <a:close/>
                <a:moveTo>
                  <a:pt x="232" y="100"/>
                </a:moveTo>
                <a:lnTo>
                  <a:pt x="228" y="103"/>
                </a:lnTo>
                <a:lnTo>
                  <a:pt x="228" y="100"/>
                </a:lnTo>
                <a:lnTo>
                  <a:pt x="228" y="100"/>
                </a:lnTo>
                <a:lnTo>
                  <a:pt x="232" y="100"/>
                </a:lnTo>
                <a:lnTo>
                  <a:pt x="232" y="100"/>
                </a:lnTo>
                <a:close/>
                <a:moveTo>
                  <a:pt x="235" y="93"/>
                </a:moveTo>
                <a:lnTo>
                  <a:pt x="235" y="100"/>
                </a:lnTo>
                <a:lnTo>
                  <a:pt x="232" y="100"/>
                </a:lnTo>
                <a:lnTo>
                  <a:pt x="228" y="97"/>
                </a:lnTo>
                <a:lnTo>
                  <a:pt x="228" y="97"/>
                </a:lnTo>
                <a:lnTo>
                  <a:pt x="232" y="97"/>
                </a:lnTo>
                <a:lnTo>
                  <a:pt x="232" y="97"/>
                </a:lnTo>
                <a:lnTo>
                  <a:pt x="235" y="93"/>
                </a:lnTo>
                <a:lnTo>
                  <a:pt x="235" y="93"/>
                </a:lnTo>
                <a:close/>
                <a:moveTo>
                  <a:pt x="3" y="18"/>
                </a:moveTo>
                <a:lnTo>
                  <a:pt x="3" y="12"/>
                </a:lnTo>
                <a:lnTo>
                  <a:pt x="7" y="9"/>
                </a:lnTo>
                <a:lnTo>
                  <a:pt x="10" y="12"/>
                </a:lnTo>
                <a:lnTo>
                  <a:pt x="16" y="15"/>
                </a:lnTo>
                <a:lnTo>
                  <a:pt x="16" y="18"/>
                </a:lnTo>
                <a:lnTo>
                  <a:pt x="19" y="18"/>
                </a:lnTo>
                <a:lnTo>
                  <a:pt x="22" y="18"/>
                </a:lnTo>
                <a:lnTo>
                  <a:pt x="22" y="25"/>
                </a:lnTo>
                <a:lnTo>
                  <a:pt x="19" y="28"/>
                </a:lnTo>
                <a:lnTo>
                  <a:pt x="19" y="31"/>
                </a:lnTo>
                <a:lnTo>
                  <a:pt x="25" y="31"/>
                </a:lnTo>
                <a:lnTo>
                  <a:pt x="28" y="28"/>
                </a:lnTo>
                <a:lnTo>
                  <a:pt x="32" y="28"/>
                </a:lnTo>
                <a:lnTo>
                  <a:pt x="35" y="31"/>
                </a:lnTo>
                <a:lnTo>
                  <a:pt x="38" y="28"/>
                </a:lnTo>
                <a:lnTo>
                  <a:pt x="38" y="25"/>
                </a:lnTo>
                <a:lnTo>
                  <a:pt x="38" y="25"/>
                </a:lnTo>
                <a:lnTo>
                  <a:pt x="38" y="25"/>
                </a:lnTo>
                <a:lnTo>
                  <a:pt x="41" y="25"/>
                </a:lnTo>
                <a:lnTo>
                  <a:pt x="44" y="21"/>
                </a:lnTo>
                <a:lnTo>
                  <a:pt x="44" y="21"/>
                </a:lnTo>
                <a:lnTo>
                  <a:pt x="47" y="28"/>
                </a:lnTo>
                <a:lnTo>
                  <a:pt x="63" y="40"/>
                </a:lnTo>
                <a:lnTo>
                  <a:pt x="66" y="50"/>
                </a:lnTo>
                <a:lnTo>
                  <a:pt x="69" y="56"/>
                </a:lnTo>
                <a:lnTo>
                  <a:pt x="66" y="59"/>
                </a:lnTo>
                <a:lnTo>
                  <a:pt x="69" y="68"/>
                </a:lnTo>
                <a:lnTo>
                  <a:pt x="66" y="68"/>
                </a:lnTo>
                <a:lnTo>
                  <a:pt x="66" y="71"/>
                </a:lnTo>
                <a:lnTo>
                  <a:pt x="69" y="75"/>
                </a:lnTo>
                <a:lnTo>
                  <a:pt x="69" y="84"/>
                </a:lnTo>
                <a:lnTo>
                  <a:pt x="72" y="90"/>
                </a:lnTo>
                <a:lnTo>
                  <a:pt x="75" y="93"/>
                </a:lnTo>
                <a:lnTo>
                  <a:pt x="78" y="93"/>
                </a:lnTo>
                <a:lnTo>
                  <a:pt x="78" y="97"/>
                </a:lnTo>
                <a:lnTo>
                  <a:pt x="78" y="97"/>
                </a:lnTo>
                <a:lnTo>
                  <a:pt x="78" y="103"/>
                </a:lnTo>
                <a:lnTo>
                  <a:pt x="82" y="106"/>
                </a:lnTo>
                <a:lnTo>
                  <a:pt x="82" y="106"/>
                </a:lnTo>
                <a:lnTo>
                  <a:pt x="82" y="106"/>
                </a:lnTo>
                <a:lnTo>
                  <a:pt x="82" y="109"/>
                </a:lnTo>
                <a:lnTo>
                  <a:pt x="88" y="115"/>
                </a:lnTo>
                <a:lnTo>
                  <a:pt x="88" y="122"/>
                </a:lnTo>
                <a:lnTo>
                  <a:pt x="85" y="122"/>
                </a:lnTo>
                <a:lnTo>
                  <a:pt x="85" y="118"/>
                </a:lnTo>
                <a:lnTo>
                  <a:pt x="85" y="118"/>
                </a:lnTo>
                <a:lnTo>
                  <a:pt x="82" y="115"/>
                </a:lnTo>
                <a:lnTo>
                  <a:pt x="82" y="115"/>
                </a:lnTo>
                <a:lnTo>
                  <a:pt x="82" y="118"/>
                </a:lnTo>
                <a:lnTo>
                  <a:pt x="82" y="118"/>
                </a:lnTo>
                <a:lnTo>
                  <a:pt x="82" y="118"/>
                </a:lnTo>
                <a:lnTo>
                  <a:pt x="82" y="122"/>
                </a:lnTo>
                <a:lnTo>
                  <a:pt x="78" y="122"/>
                </a:lnTo>
                <a:lnTo>
                  <a:pt x="78" y="122"/>
                </a:lnTo>
                <a:lnTo>
                  <a:pt x="75" y="122"/>
                </a:lnTo>
                <a:lnTo>
                  <a:pt x="72" y="122"/>
                </a:lnTo>
                <a:lnTo>
                  <a:pt x="69" y="118"/>
                </a:lnTo>
                <a:lnTo>
                  <a:pt x="63" y="115"/>
                </a:lnTo>
                <a:lnTo>
                  <a:pt x="57" y="112"/>
                </a:lnTo>
                <a:lnTo>
                  <a:pt x="53" y="109"/>
                </a:lnTo>
                <a:lnTo>
                  <a:pt x="53" y="109"/>
                </a:lnTo>
                <a:lnTo>
                  <a:pt x="50" y="109"/>
                </a:lnTo>
                <a:lnTo>
                  <a:pt x="47" y="109"/>
                </a:lnTo>
                <a:lnTo>
                  <a:pt x="41" y="103"/>
                </a:lnTo>
                <a:lnTo>
                  <a:pt x="41" y="100"/>
                </a:lnTo>
                <a:lnTo>
                  <a:pt x="38" y="97"/>
                </a:lnTo>
                <a:lnTo>
                  <a:pt x="28" y="93"/>
                </a:lnTo>
                <a:lnTo>
                  <a:pt x="28" y="90"/>
                </a:lnTo>
                <a:lnTo>
                  <a:pt x="28" y="87"/>
                </a:lnTo>
                <a:lnTo>
                  <a:pt x="32" y="84"/>
                </a:lnTo>
                <a:lnTo>
                  <a:pt x="28" y="81"/>
                </a:lnTo>
                <a:lnTo>
                  <a:pt x="25" y="78"/>
                </a:lnTo>
                <a:lnTo>
                  <a:pt x="22" y="75"/>
                </a:lnTo>
                <a:lnTo>
                  <a:pt x="16" y="71"/>
                </a:lnTo>
                <a:lnTo>
                  <a:pt x="13" y="68"/>
                </a:lnTo>
                <a:lnTo>
                  <a:pt x="13" y="65"/>
                </a:lnTo>
                <a:lnTo>
                  <a:pt x="13" y="62"/>
                </a:lnTo>
                <a:lnTo>
                  <a:pt x="10" y="59"/>
                </a:lnTo>
                <a:lnTo>
                  <a:pt x="13" y="56"/>
                </a:lnTo>
                <a:lnTo>
                  <a:pt x="13" y="50"/>
                </a:lnTo>
                <a:lnTo>
                  <a:pt x="10" y="46"/>
                </a:lnTo>
                <a:lnTo>
                  <a:pt x="10" y="40"/>
                </a:lnTo>
                <a:lnTo>
                  <a:pt x="7" y="25"/>
                </a:lnTo>
                <a:lnTo>
                  <a:pt x="3" y="18"/>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0" name="Freeform 28">
            <a:extLst>
              <a:ext uri="{FF2B5EF4-FFF2-40B4-BE49-F238E27FC236}">
                <a16:creationId xmlns:a16="http://schemas.microsoft.com/office/drawing/2014/main" id="{A9BA29C8-B3F5-FF8E-C2B3-D6A79D1980CF}"/>
              </a:ext>
            </a:extLst>
          </p:cNvPr>
          <p:cNvSpPr>
            <a:spLocks noEditPoints="1"/>
          </p:cNvSpPr>
          <p:nvPr userDrawn="1"/>
        </p:nvSpPr>
        <p:spPr bwMode="auto">
          <a:xfrm>
            <a:off x="20312324" y="9067083"/>
            <a:ext cx="79371" cy="60326"/>
          </a:xfrm>
          <a:custGeom>
            <a:avLst/>
            <a:gdLst>
              <a:gd name="T0" fmla="*/ 0 w 25"/>
              <a:gd name="T1" fmla="*/ 7 h 19"/>
              <a:gd name="T2" fmla="*/ 4 w 25"/>
              <a:gd name="T3" fmla="*/ 10 h 19"/>
              <a:gd name="T4" fmla="*/ 7 w 25"/>
              <a:gd name="T5" fmla="*/ 10 h 19"/>
              <a:gd name="T6" fmla="*/ 10 w 25"/>
              <a:gd name="T7" fmla="*/ 16 h 19"/>
              <a:gd name="T8" fmla="*/ 13 w 25"/>
              <a:gd name="T9" fmla="*/ 19 h 19"/>
              <a:gd name="T10" fmla="*/ 16 w 25"/>
              <a:gd name="T11" fmla="*/ 16 h 19"/>
              <a:gd name="T12" fmla="*/ 13 w 25"/>
              <a:gd name="T13" fmla="*/ 10 h 19"/>
              <a:gd name="T14" fmla="*/ 16 w 25"/>
              <a:gd name="T15" fmla="*/ 7 h 19"/>
              <a:gd name="T16" fmla="*/ 19 w 25"/>
              <a:gd name="T17" fmla="*/ 7 h 19"/>
              <a:gd name="T18" fmla="*/ 19 w 25"/>
              <a:gd name="T19" fmla="*/ 4 h 19"/>
              <a:gd name="T20" fmla="*/ 16 w 25"/>
              <a:gd name="T21" fmla="*/ 0 h 19"/>
              <a:gd name="T22" fmla="*/ 13 w 25"/>
              <a:gd name="T23" fmla="*/ 0 h 19"/>
              <a:gd name="T24" fmla="*/ 10 w 25"/>
              <a:gd name="T25" fmla="*/ 4 h 19"/>
              <a:gd name="T26" fmla="*/ 0 w 25"/>
              <a:gd name="T27" fmla="*/ 7 h 19"/>
              <a:gd name="T28" fmla="*/ 0 w 25"/>
              <a:gd name="T29" fmla="*/ 7 h 19"/>
              <a:gd name="T30" fmla="*/ 0 w 25"/>
              <a:gd name="T31" fmla="*/ 7 h 19"/>
              <a:gd name="T32" fmla="*/ 19 w 25"/>
              <a:gd name="T33" fmla="*/ 7 h 19"/>
              <a:gd name="T34" fmla="*/ 19 w 25"/>
              <a:gd name="T35" fmla="*/ 10 h 19"/>
              <a:gd name="T36" fmla="*/ 19 w 25"/>
              <a:gd name="T37" fmla="*/ 13 h 19"/>
              <a:gd name="T38" fmla="*/ 22 w 25"/>
              <a:gd name="T39" fmla="*/ 16 h 19"/>
              <a:gd name="T40" fmla="*/ 25 w 25"/>
              <a:gd name="T41" fmla="*/ 13 h 19"/>
              <a:gd name="T42" fmla="*/ 22 w 25"/>
              <a:gd name="T43" fmla="*/ 7 h 19"/>
              <a:gd name="T44" fmla="*/ 22 w 25"/>
              <a:gd name="T45" fmla="*/ 4 h 19"/>
              <a:gd name="T46" fmla="*/ 19 w 25"/>
              <a:gd name="T47" fmla="*/ 7 h 19"/>
              <a:gd name="T48" fmla="*/ 19 w 25"/>
              <a:gd name="T49"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19">
                <a:moveTo>
                  <a:pt x="0" y="7"/>
                </a:moveTo>
                <a:lnTo>
                  <a:pt x="4" y="10"/>
                </a:lnTo>
                <a:lnTo>
                  <a:pt x="7" y="10"/>
                </a:lnTo>
                <a:lnTo>
                  <a:pt x="10" y="16"/>
                </a:lnTo>
                <a:lnTo>
                  <a:pt x="13" y="19"/>
                </a:lnTo>
                <a:lnTo>
                  <a:pt x="16" y="16"/>
                </a:lnTo>
                <a:lnTo>
                  <a:pt x="13" y="10"/>
                </a:lnTo>
                <a:lnTo>
                  <a:pt x="16" y="7"/>
                </a:lnTo>
                <a:lnTo>
                  <a:pt x="19" y="7"/>
                </a:lnTo>
                <a:lnTo>
                  <a:pt x="19" y="4"/>
                </a:lnTo>
                <a:lnTo>
                  <a:pt x="16" y="0"/>
                </a:lnTo>
                <a:lnTo>
                  <a:pt x="13" y="0"/>
                </a:lnTo>
                <a:lnTo>
                  <a:pt x="10" y="4"/>
                </a:lnTo>
                <a:lnTo>
                  <a:pt x="0" y="7"/>
                </a:lnTo>
                <a:lnTo>
                  <a:pt x="0" y="7"/>
                </a:lnTo>
                <a:lnTo>
                  <a:pt x="0" y="7"/>
                </a:lnTo>
                <a:close/>
                <a:moveTo>
                  <a:pt x="19" y="7"/>
                </a:moveTo>
                <a:lnTo>
                  <a:pt x="19" y="10"/>
                </a:lnTo>
                <a:lnTo>
                  <a:pt x="19" y="13"/>
                </a:lnTo>
                <a:lnTo>
                  <a:pt x="22" y="16"/>
                </a:lnTo>
                <a:lnTo>
                  <a:pt x="25" y="13"/>
                </a:lnTo>
                <a:lnTo>
                  <a:pt x="22" y="7"/>
                </a:lnTo>
                <a:lnTo>
                  <a:pt x="22" y="4"/>
                </a:lnTo>
                <a:lnTo>
                  <a:pt x="19" y="7"/>
                </a:lnTo>
                <a:lnTo>
                  <a:pt x="19" y="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1" name="Freeform 29">
            <a:extLst>
              <a:ext uri="{FF2B5EF4-FFF2-40B4-BE49-F238E27FC236}">
                <a16:creationId xmlns:a16="http://schemas.microsoft.com/office/drawing/2014/main" id="{2FF733F3-75A2-2CF4-86FD-B99CCF367FE6}"/>
              </a:ext>
            </a:extLst>
          </p:cNvPr>
          <p:cNvSpPr>
            <a:spLocks noEditPoints="1"/>
          </p:cNvSpPr>
          <p:nvPr userDrawn="1"/>
        </p:nvSpPr>
        <p:spPr bwMode="auto">
          <a:xfrm>
            <a:off x="19490053" y="7838357"/>
            <a:ext cx="504793" cy="1003302"/>
          </a:xfrm>
          <a:custGeom>
            <a:avLst/>
            <a:gdLst>
              <a:gd name="T0" fmla="*/ 6 w 159"/>
              <a:gd name="T1" fmla="*/ 15 h 316"/>
              <a:gd name="T2" fmla="*/ 16 w 159"/>
              <a:gd name="T3" fmla="*/ 18 h 316"/>
              <a:gd name="T4" fmla="*/ 28 w 159"/>
              <a:gd name="T5" fmla="*/ 15 h 316"/>
              <a:gd name="T6" fmla="*/ 44 w 159"/>
              <a:gd name="T7" fmla="*/ 12 h 316"/>
              <a:gd name="T8" fmla="*/ 59 w 159"/>
              <a:gd name="T9" fmla="*/ 0 h 316"/>
              <a:gd name="T10" fmla="*/ 81 w 159"/>
              <a:gd name="T11" fmla="*/ 9 h 316"/>
              <a:gd name="T12" fmla="*/ 88 w 159"/>
              <a:gd name="T13" fmla="*/ 15 h 316"/>
              <a:gd name="T14" fmla="*/ 97 w 159"/>
              <a:gd name="T15" fmla="*/ 34 h 316"/>
              <a:gd name="T16" fmla="*/ 113 w 159"/>
              <a:gd name="T17" fmla="*/ 37 h 316"/>
              <a:gd name="T18" fmla="*/ 113 w 159"/>
              <a:gd name="T19" fmla="*/ 43 h 316"/>
              <a:gd name="T20" fmla="*/ 100 w 159"/>
              <a:gd name="T21" fmla="*/ 46 h 316"/>
              <a:gd name="T22" fmla="*/ 94 w 159"/>
              <a:gd name="T23" fmla="*/ 53 h 316"/>
              <a:gd name="T24" fmla="*/ 88 w 159"/>
              <a:gd name="T25" fmla="*/ 56 h 316"/>
              <a:gd name="T26" fmla="*/ 88 w 159"/>
              <a:gd name="T27" fmla="*/ 65 h 316"/>
              <a:gd name="T28" fmla="*/ 78 w 159"/>
              <a:gd name="T29" fmla="*/ 75 h 316"/>
              <a:gd name="T30" fmla="*/ 75 w 159"/>
              <a:gd name="T31" fmla="*/ 81 h 316"/>
              <a:gd name="T32" fmla="*/ 72 w 159"/>
              <a:gd name="T33" fmla="*/ 97 h 316"/>
              <a:gd name="T34" fmla="*/ 81 w 159"/>
              <a:gd name="T35" fmla="*/ 106 h 316"/>
              <a:gd name="T36" fmla="*/ 91 w 159"/>
              <a:gd name="T37" fmla="*/ 118 h 316"/>
              <a:gd name="T38" fmla="*/ 106 w 159"/>
              <a:gd name="T39" fmla="*/ 137 h 316"/>
              <a:gd name="T40" fmla="*/ 141 w 159"/>
              <a:gd name="T41" fmla="*/ 165 h 316"/>
              <a:gd name="T42" fmla="*/ 147 w 159"/>
              <a:gd name="T43" fmla="*/ 178 h 316"/>
              <a:gd name="T44" fmla="*/ 150 w 159"/>
              <a:gd name="T45" fmla="*/ 194 h 316"/>
              <a:gd name="T46" fmla="*/ 156 w 159"/>
              <a:gd name="T47" fmla="*/ 209 h 316"/>
              <a:gd name="T48" fmla="*/ 159 w 159"/>
              <a:gd name="T49" fmla="*/ 222 h 316"/>
              <a:gd name="T50" fmla="*/ 159 w 159"/>
              <a:gd name="T51" fmla="*/ 225 h 316"/>
              <a:gd name="T52" fmla="*/ 156 w 159"/>
              <a:gd name="T53" fmla="*/ 234 h 316"/>
              <a:gd name="T54" fmla="*/ 156 w 159"/>
              <a:gd name="T55" fmla="*/ 250 h 316"/>
              <a:gd name="T56" fmla="*/ 144 w 159"/>
              <a:gd name="T57" fmla="*/ 262 h 316"/>
              <a:gd name="T58" fmla="*/ 131 w 159"/>
              <a:gd name="T59" fmla="*/ 272 h 316"/>
              <a:gd name="T60" fmla="*/ 109 w 159"/>
              <a:gd name="T61" fmla="*/ 278 h 316"/>
              <a:gd name="T62" fmla="*/ 106 w 159"/>
              <a:gd name="T63" fmla="*/ 275 h 316"/>
              <a:gd name="T64" fmla="*/ 109 w 159"/>
              <a:gd name="T65" fmla="*/ 281 h 316"/>
              <a:gd name="T66" fmla="*/ 106 w 159"/>
              <a:gd name="T67" fmla="*/ 287 h 316"/>
              <a:gd name="T68" fmla="*/ 97 w 159"/>
              <a:gd name="T69" fmla="*/ 290 h 316"/>
              <a:gd name="T70" fmla="*/ 97 w 159"/>
              <a:gd name="T71" fmla="*/ 297 h 316"/>
              <a:gd name="T72" fmla="*/ 88 w 159"/>
              <a:gd name="T73" fmla="*/ 303 h 316"/>
              <a:gd name="T74" fmla="*/ 75 w 159"/>
              <a:gd name="T75" fmla="*/ 316 h 316"/>
              <a:gd name="T76" fmla="*/ 75 w 159"/>
              <a:gd name="T77" fmla="*/ 309 h 316"/>
              <a:gd name="T78" fmla="*/ 75 w 159"/>
              <a:gd name="T79" fmla="*/ 297 h 316"/>
              <a:gd name="T80" fmla="*/ 81 w 159"/>
              <a:gd name="T81" fmla="*/ 281 h 316"/>
              <a:gd name="T82" fmla="*/ 66 w 159"/>
              <a:gd name="T83" fmla="*/ 281 h 316"/>
              <a:gd name="T84" fmla="*/ 72 w 159"/>
              <a:gd name="T85" fmla="*/ 272 h 316"/>
              <a:gd name="T86" fmla="*/ 94 w 159"/>
              <a:gd name="T87" fmla="*/ 265 h 316"/>
              <a:gd name="T88" fmla="*/ 97 w 159"/>
              <a:gd name="T89" fmla="*/ 259 h 316"/>
              <a:gd name="T90" fmla="*/ 106 w 159"/>
              <a:gd name="T91" fmla="*/ 244 h 316"/>
              <a:gd name="T92" fmla="*/ 122 w 159"/>
              <a:gd name="T93" fmla="*/ 228 h 316"/>
              <a:gd name="T94" fmla="*/ 119 w 159"/>
              <a:gd name="T95" fmla="*/ 200 h 316"/>
              <a:gd name="T96" fmla="*/ 119 w 159"/>
              <a:gd name="T97" fmla="*/ 184 h 316"/>
              <a:gd name="T98" fmla="*/ 119 w 159"/>
              <a:gd name="T99" fmla="*/ 168 h 316"/>
              <a:gd name="T100" fmla="*/ 116 w 159"/>
              <a:gd name="T101" fmla="*/ 156 h 316"/>
              <a:gd name="T102" fmla="*/ 106 w 159"/>
              <a:gd name="T103" fmla="*/ 147 h 316"/>
              <a:gd name="T104" fmla="*/ 94 w 159"/>
              <a:gd name="T105" fmla="*/ 137 h 316"/>
              <a:gd name="T106" fmla="*/ 81 w 159"/>
              <a:gd name="T107" fmla="*/ 122 h 316"/>
              <a:gd name="T108" fmla="*/ 56 w 159"/>
              <a:gd name="T109" fmla="*/ 103 h 316"/>
              <a:gd name="T110" fmla="*/ 47 w 159"/>
              <a:gd name="T111" fmla="*/ 90 h 316"/>
              <a:gd name="T112" fmla="*/ 53 w 159"/>
              <a:gd name="T113" fmla="*/ 81 h 316"/>
              <a:gd name="T114" fmla="*/ 56 w 159"/>
              <a:gd name="T115" fmla="*/ 65 h 316"/>
              <a:gd name="T116" fmla="*/ 41 w 159"/>
              <a:gd name="T117" fmla="*/ 53 h 316"/>
              <a:gd name="T118" fmla="*/ 13 w 159"/>
              <a:gd name="T119" fmla="*/ 40 h 316"/>
              <a:gd name="T120" fmla="*/ 0 w 159"/>
              <a:gd name="T121" fmla="*/ 25 h 316"/>
              <a:gd name="T122" fmla="*/ 53 w 159"/>
              <a:gd name="T123" fmla="*/ 281 h 316"/>
              <a:gd name="T124" fmla="*/ 56 w 159"/>
              <a:gd name="T125" fmla="*/ 275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9" h="316">
                <a:moveTo>
                  <a:pt x="0" y="21"/>
                </a:moveTo>
                <a:lnTo>
                  <a:pt x="0" y="18"/>
                </a:lnTo>
                <a:lnTo>
                  <a:pt x="3" y="18"/>
                </a:lnTo>
                <a:lnTo>
                  <a:pt x="3" y="18"/>
                </a:lnTo>
                <a:lnTo>
                  <a:pt x="6" y="15"/>
                </a:lnTo>
                <a:lnTo>
                  <a:pt x="9" y="15"/>
                </a:lnTo>
                <a:lnTo>
                  <a:pt x="13" y="15"/>
                </a:lnTo>
                <a:lnTo>
                  <a:pt x="13" y="18"/>
                </a:lnTo>
                <a:lnTo>
                  <a:pt x="13" y="18"/>
                </a:lnTo>
                <a:lnTo>
                  <a:pt x="16" y="18"/>
                </a:lnTo>
                <a:lnTo>
                  <a:pt x="16" y="15"/>
                </a:lnTo>
                <a:lnTo>
                  <a:pt x="19" y="12"/>
                </a:lnTo>
                <a:lnTo>
                  <a:pt x="25" y="15"/>
                </a:lnTo>
                <a:lnTo>
                  <a:pt x="25" y="15"/>
                </a:lnTo>
                <a:lnTo>
                  <a:pt x="28" y="15"/>
                </a:lnTo>
                <a:lnTo>
                  <a:pt x="28" y="15"/>
                </a:lnTo>
                <a:lnTo>
                  <a:pt x="34" y="15"/>
                </a:lnTo>
                <a:lnTo>
                  <a:pt x="34" y="12"/>
                </a:lnTo>
                <a:lnTo>
                  <a:pt x="38" y="9"/>
                </a:lnTo>
                <a:lnTo>
                  <a:pt x="44" y="12"/>
                </a:lnTo>
                <a:lnTo>
                  <a:pt x="50" y="9"/>
                </a:lnTo>
                <a:lnTo>
                  <a:pt x="50" y="3"/>
                </a:lnTo>
                <a:lnTo>
                  <a:pt x="53" y="3"/>
                </a:lnTo>
                <a:lnTo>
                  <a:pt x="59" y="3"/>
                </a:lnTo>
                <a:lnTo>
                  <a:pt x="59" y="0"/>
                </a:lnTo>
                <a:lnTo>
                  <a:pt x="66" y="3"/>
                </a:lnTo>
                <a:lnTo>
                  <a:pt x="66" y="6"/>
                </a:lnTo>
                <a:lnTo>
                  <a:pt x="69" y="6"/>
                </a:lnTo>
                <a:lnTo>
                  <a:pt x="72" y="9"/>
                </a:lnTo>
                <a:lnTo>
                  <a:pt x="81" y="9"/>
                </a:lnTo>
                <a:lnTo>
                  <a:pt x="81" y="9"/>
                </a:lnTo>
                <a:lnTo>
                  <a:pt x="88" y="9"/>
                </a:lnTo>
                <a:lnTo>
                  <a:pt x="91" y="12"/>
                </a:lnTo>
                <a:lnTo>
                  <a:pt x="91" y="15"/>
                </a:lnTo>
                <a:lnTo>
                  <a:pt x="88" y="15"/>
                </a:lnTo>
                <a:lnTo>
                  <a:pt x="84" y="21"/>
                </a:lnTo>
                <a:lnTo>
                  <a:pt x="88" y="25"/>
                </a:lnTo>
                <a:lnTo>
                  <a:pt x="88" y="28"/>
                </a:lnTo>
                <a:lnTo>
                  <a:pt x="97" y="31"/>
                </a:lnTo>
                <a:lnTo>
                  <a:pt x="97" y="34"/>
                </a:lnTo>
                <a:lnTo>
                  <a:pt x="100" y="34"/>
                </a:lnTo>
                <a:lnTo>
                  <a:pt x="103" y="37"/>
                </a:lnTo>
                <a:lnTo>
                  <a:pt x="109" y="34"/>
                </a:lnTo>
                <a:lnTo>
                  <a:pt x="109" y="37"/>
                </a:lnTo>
                <a:lnTo>
                  <a:pt x="113" y="37"/>
                </a:lnTo>
                <a:lnTo>
                  <a:pt x="116" y="37"/>
                </a:lnTo>
                <a:lnTo>
                  <a:pt x="116" y="37"/>
                </a:lnTo>
                <a:lnTo>
                  <a:pt x="116" y="40"/>
                </a:lnTo>
                <a:lnTo>
                  <a:pt x="116" y="40"/>
                </a:lnTo>
                <a:lnTo>
                  <a:pt x="113" y="43"/>
                </a:lnTo>
                <a:lnTo>
                  <a:pt x="113" y="43"/>
                </a:lnTo>
                <a:lnTo>
                  <a:pt x="109" y="43"/>
                </a:lnTo>
                <a:lnTo>
                  <a:pt x="106" y="43"/>
                </a:lnTo>
                <a:lnTo>
                  <a:pt x="100" y="46"/>
                </a:lnTo>
                <a:lnTo>
                  <a:pt x="100" y="46"/>
                </a:lnTo>
                <a:lnTo>
                  <a:pt x="100" y="50"/>
                </a:lnTo>
                <a:lnTo>
                  <a:pt x="100" y="50"/>
                </a:lnTo>
                <a:lnTo>
                  <a:pt x="97" y="53"/>
                </a:lnTo>
                <a:lnTo>
                  <a:pt x="97" y="50"/>
                </a:lnTo>
                <a:lnTo>
                  <a:pt x="94" y="53"/>
                </a:lnTo>
                <a:lnTo>
                  <a:pt x="91" y="53"/>
                </a:lnTo>
                <a:lnTo>
                  <a:pt x="91" y="53"/>
                </a:lnTo>
                <a:lnTo>
                  <a:pt x="91" y="53"/>
                </a:lnTo>
                <a:lnTo>
                  <a:pt x="88" y="53"/>
                </a:lnTo>
                <a:lnTo>
                  <a:pt x="88" y="56"/>
                </a:lnTo>
                <a:lnTo>
                  <a:pt x="88" y="56"/>
                </a:lnTo>
                <a:lnTo>
                  <a:pt x="88" y="59"/>
                </a:lnTo>
                <a:lnTo>
                  <a:pt x="88" y="62"/>
                </a:lnTo>
                <a:lnTo>
                  <a:pt x="88" y="65"/>
                </a:lnTo>
                <a:lnTo>
                  <a:pt x="88" y="65"/>
                </a:lnTo>
                <a:lnTo>
                  <a:pt x="88" y="68"/>
                </a:lnTo>
                <a:lnTo>
                  <a:pt x="88" y="68"/>
                </a:lnTo>
                <a:lnTo>
                  <a:pt x="84" y="68"/>
                </a:lnTo>
                <a:lnTo>
                  <a:pt x="81" y="75"/>
                </a:lnTo>
                <a:lnTo>
                  <a:pt x="78" y="75"/>
                </a:lnTo>
                <a:lnTo>
                  <a:pt x="78" y="72"/>
                </a:lnTo>
                <a:lnTo>
                  <a:pt x="78" y="75"/>
                </a:lnTo>
                <a:lnTo>
                  <a:pt x="75" y="75"/>
                </a:lnTo>
                <a:lnTo>
                  <a:pt x="75" y="78"/>
                </a:lnTo>
                <a:lnTo>
                  <a:pt x="75" y="81"/>
                </a:lnTo>
                <a:lnTo>
                  <a:pt x="75" y="84"/>
                </a:lnTo>
                <a:lnTo>
                  <a:pt x="75" y="84"/>
                </a:lnTo>
                <a:lnTo>
                  <a:pt x="78" y="87"/>
                </a:lnTo>
                <a:lnTo>
                  <a:pt x="75" y="93"/>
                </a:lnTo>
                <a:lnTo>
                  <a:pt x="72" y="97"/>
                </a:lnTo>
                <a:lnTo>
                  <a:pt x="78" y="100"/>
                </a:lnTo>
                <a:lnTo>
                  <a:pt x="75" y="103"/>
                </a:lnTo>
                <a:lnTo>
                  <a:pt x="72" y="103"/>
                </a:lnTo>
                <a:lnTo>
                  <a:pt x="75" y="103"/>
                </a:lnTo>
                <a:lnTo>
                  <a:pt x="81" y="106"/>
                </a:lnTo>
                <a:lnTo>
                  <a:pt x="88" y="112"/>
                </a:lnTo>
                <a:lnTo>
                  <a:pt x="91" y="112"/>
                </a:lnTo>
                <a:lnTo>
                  <a:pt x="91" y="115"/>
                </a:lnTo>
                <a:lnTo>
                  <a:pt x="91" y="118"/>
                </a:lnTo>
                <a:lnTo>
                  <a:pt x="91" y="118"/>
                </a:lnTo>
                <a:lnTo>
                  <a:pt x="94" y="125"/>
                </a:lnTo>
                <a:lnTo>
                  <a:pt x="94" y="128"/>
                </a:lnTo>
                <a:lnTo>
                  <a:pt x="100" y="134"/>
                </a:lnTo>
                <a:lnTo>
                  <a:pt x="106" y="134"/>
                </a:lnTo>
                <a:lnTo>
                  <a:pt x="106" y="137"/>
                </a:lnTo>
                <a:lnTo>
                  <a:pt x="116" y="143"/>
                </a:lnTo>
                <a:lnTo>
                  <a:pt x="125" y="150"/>
                </a:lnTo>
                <a:lnTo>
                  <a:pt x="128" y="153"/>
                </a:lnTo>
                <a:lnTo>
                  <a:pt x="138" y="159"/>
                </a:lnTo>
                <a:lnTo>
                  <a:pt x="141" y="165"/>
                </a:lnTo>
                <a:lnTo>
                  <a:pt x="141" y="168"/>
                </a:lnTo>
                <a:lnTo>
                  <a:pt x="141" y="168"/>
                </a:lnTo>
                <a:lnTo>
                  <a:pt x="141" y="172"/>
                </a:lnTo>
                <a:lnTo>
                  <a:pt x="147" y="175"/>
                </a:lnTo>
                <a:lnTo>
                  <a:pt x="147" y="178"/>
                </a:lnTo>
                <a:lnTo>
                  <a:pt x="147" y="178"/>
                </a:lnTo>
                <a:lnTo>
                  <a:pt x="147" y="181"/>
                </a:lnTo>
                <a:lnTo>
                  <a:pt x="150" y="184"/>
                </a:lnTo>
                <a:lnTo>
                  <a:pt x="150" y="190"/>
                </a:lnTo>
                <a:lnTo>
                  <a:pt x="150" y="194"/>
                </a:lnTo>
                <a:lnTo>
                  <a:pt x="153" y="200"/>
                </a:lnTo>
                <a:lnTo>
                  <a:pt x="153" y="200"/>
                </a:lnTo>
                <a:lnTo>
                  <a:pt x="153" y="203"/>
                </a:lnTo>
                <a:lnTo>
                  <a:pt x="153" y="206"/>
                </a:lnTo>
                <a:lnTo>
                  <a:pt x="156" y="209"/>
                </a:lnTo>
                <a:lnTo>
                  <a:pt x="153" y="212"/>
                </a:lnTo>
                <a:lnTo>
                  <a:pt x="156" y="215"/>
                </a:lnTo>
                <a:lnTo>
                  <a:pt x="156" y="219"/>
                </a:lnTo>
                <a:lnTo>
                  <a:pt x="156" y="219"/>
                </a:lnTo>
                <a:lnTo>
                  <a:pt x="159" y="222"/>
                </a:lnTo>
                <a:lnTo>
                  <a:pt x="159" y="225"/>
                </a:lnTo>
                <a:lnTo>
                  <a:pt x="159" y="228"/>
                </a:lnTo>
                <a:lnTo>
                  <a:pt x="159" y="228"/>
                </a:lnTo>
                <a:lnTo>
                  <a:pt x="159" y="228"/>
                </a:lnTo>
                <a:lnTo>
                  <a:pt x="159" y="225"/>
                </a:lnTo>
                <a:lnTo>
                  <a:pt x="156" y="228"/>
                </a:lnTo>
                <a:lnTo>
                  <a:pt x="156" y="231"/>
                </a:lnTo>
                <a:lnTo>
                  <a:pt x="159" y="231"/>
                </a:lnTo>
                <a:lnTo>
                  <a:pt x="159" y="234"/>
                </a:lnTo>
                <a:lnTo>
                  <a:pt x="156" y="234"/>
                </a:lnTo>
                <a:lnTo>
                  <a:pt x="156" y="237"/>
                </a:lnTo>
                <a:lnTo>
                  <a:pt x="153" y="240"/>
                </a:lnTo>
                <a:lnTo>
                  <a:pt x="156" y="244"/>
                </a:lnTo>
                <a:lnTo>
                  <a:pt x="153" y="247"/>
                </a:lnTo>
                <a:lnTo>
                  <a:pt x="156" y="250"/>
                </a:lnTo>
                <a:lnTo>
                  <a:pt x="153" y="250"/>
                </a:lnTo>
                <a:lnTo>
                  <a:pt x="150" y="253"/>
                </a:lnTo>
                <a:lnTo>
                  <a:pt x="150" y="256"/>
                </a:lnTo>
                <a:lnTo>
                  <a:pt x="147" y="259"/>
                </a:lnTo>
                <a:lnTo>
                  <a:pt x="144" y="262"/>
                </a:lnTo>
                <a:lnTo>
                  <a:pt x="141" y="262"/>
                </a:lnTo>
                <a:lnTo>
                  <a:pt x="138" y="265"/>
                </a:lnTo>
                <a:lnTo>
                  <a:pt x="138" y="269"/>
                </a:lnTo>
                <a:lnTo>
                  <a:pt x="131" y="269"/>
                </a:lnTo>
                <a:lnTo>
                  <a:pt x="131" y="272"/>
                </a:lnTo>
                <a:lnTo>
                  <a:pt x="122" y="278"/>
                </a:lnTo>
                <a:lnTo>
                  <a:pt x="116" y="278"/>
                </a:lnTo>
                <a:lnTo>
                  <a:pt x="116" y="278"/>
                </a:lnTo>
                <a:lnTo>
                  <a:pt x="109" y="278"/>
                </a:lnTo>
                <a:lnTo>
                  <a:pt x="109" y="278"/>
                </a:lnTo>
                <a:lnTo>
                  <a:pt x="109" y="275"/>
                </a:lnTo>
                <a:lnTo>
                  <a:pt x="109" y="272"/>
                </a:lnTo>
                <a:lnTo>
                  <a:pt x="109" y="275"/>
                </a:lnTo>
                <a:lnTo>
                  <a:pt x="109" y="275"/>
                </a:lnTo>
                <a:lnTo>
                  <a:pt x="106" y="275"/>
                </a:lnTo>
                <a:lnTo>
                  <a:pt x="109" y="278"/>
                </a:lnTo>
                <a:lnTo>
                  <a:pt x="109" y="278"/>
                </a:lnTo>
                <a:lnTo>
                  <a:pt x="106" y="278"/>
                </a:lnTo>
                <a:lnTo>
                  <a:pt x="103" y="278"/>
                </a:lnTo>
                <a:lnTo>
                  <a:pt x="109" y="281"/>
                </a:lnTo>
                <a:lnTo>
                  <a:pt x="106" y="281"/>
                </a:lnTo>
                <a:lnTo>
                  <a:pt x="109" y="284"/>
                </a:lnTo>
                <a:lnTo>
                  <a:pt x="106" y="287"/>
                </a:lnTo>
                <a:lnTo>
                  <a:pt x="103" y="284"/>
                </a:lnTo>
                <a:lnTo>
                  <a:pt x="106" y="287"/>
                </a:lnTo>
                <a:lnTo>
                  <a:pt x="106" y="290"/>
                </a:lnTo>
                <a:lnTo>
                  <a:pt x="103" y="290"/>
                </a:lnTo>
                <a:lnTo>
                  <a:pt x="103" y="290"/>
                </a:lnTo>
                <a:lnTo>
                  <a:pt x="100" y="287"/>
                </a:lnTo>
                <a:lnTo>
                  <a:pt x="97" y="290"/>
                </a:lnTo>
                <a:lnTo>
                  <a:pt x="100" y="294"/>
                </a:lnTo>
                <a:lnTo>
                  <a:pt x="100" y="294"/>
                </a:lnTo>
                <a:lnTo>
                  <a:pt x="100" y="294"/>
                </a:lnTo>
                <a:lnTo>
                  <a:pt x="97" y="297"/>
                </a:lnTo>
                <a:lnTo>
                  <a:pt x="97" y="297"/>
                </a:lnTo>
                <a:lnTo>
                  <a:pt x="97" y="297"/>
                </a:lnTo>
                <a:lnTo>
                  <a:pt x="91" y="300"/>
                </a:lnTo>
                <a:lnTo>
                  <a:pt x="91" y="300"/>
                </a:lnTo>
                <a:lnTo>
                  <a:pt x="88" y="300"/>
                </a:lnTo>
                <a:lnTo>
                  <a:pt x="88" y="303"/>
                </a:lnTo>
                <a:lnTo>
                  <a:pt x="88" y="306"/>
                </a:lnTo>
                <a:lnTo>
                  <a:pt x="84" y="309"/>
                </a:lnTo>
                <a:lnTo>
                  <a:pt x="81" y="309"/>
                </a:lnTo>
                <a:lnTo>
                  <a:pt x="81" y="309"/>
                </a:lnTo>
                <a:lnTo>
                  <a:pt x="75" y="316"/>
                </a:lnTo>
                <a:lnTo>
                  <a:pt x="69" y="312"/>
                </a:lnTo>
                <a:lnTo>
                  <a:pt x="72" y="312"/>
                </a:lnTo>
                <a:lnTo>
                  <a:pt x="75" y="309"/>
                </a:lnTo>
                <a:lnTo>
                  <a:pt x="78" y="309"/>
                </a:lnTo>
                <a:lnTo>
                  <a:pt x="75" y="309"/>
                </a:lnTo>
                <a:lnTo>
                  <a:pt x="72" y="306"/>
                </a:lnTo>
                <a:lnTo>
                  <a:pt x="75" y="300"/>
                </a:lnTo>
                <a:lnTo>
                  <a:pt x="75" y="300"/>
                </a:lnTo>
                <a:lnTo>
                  <a:pt x="72" y="300"/>
                </a:lnTo>
                <a:lnTo>
                  <a:pt x="75" y="297"/>
                </a:lnTo>
                <a:lnTo>
                  <a:pt x="72" y="290"/>
                </a:lnTo>
                <a:lnTo>
                  <a:pt x="75" y="287"/>
                </a:lnTo>
                <a:lnTo>
                  <a:pt x="81" y="281"/>
                </a:lnTo>
                <a:lnTo>
                  <a:pt x="84" y="281"/>
                </a:lnTo>
                <a:lnTo>
                  <a:pt x="81" y="281"/>
                </a:lnTo>
                <a:lnTo>
                  <a:pt x="75" y="281"/>
                </a:lnTo>
                <a:lnTo>
                  <a:pt x="75" y="281"/>
                </a:lnTo>
                <a:lnTo>
                  <a:pt x="72" y="281"/>
                </a:lnTo>
                <a:lnTo>
                  <a:pt x="69" y="281"/>
                </a:lnTo>
                <a:lnTo>
                  <a:pt x="66" y="281"/>
                </a:lnTo>
                <a:lnTo>
                  <a:pt x="66" y="281"/>
                </a:lnTo>
                <a:lnTo>
                  <a:pt x="66" y="278"/>
                </a:lnTo>
                <a:lnTo>
                  <a:pt x="66" y="275"/>
                </a:lnTo>
                <a:lnTo>
                  <a:pt x="69" y="272"/>
                </a:lnTo>
                <a:lnTo>
                  <a:pt x="72" y="272"/>
                </a:lnTo>
                <a:lnTo>
                  <a:pt x="75" y="265"/>
                </a:lnTo>
                <a:lnTo>
                  <a:pt x="78" y="265"/>
                </a:lnTo>
                <a:lnTo>
                  <a:pt x="81" y="265"/>
                </a:lnTo>
                <a:lnTo>
                  <a:pt x="91" y="265"/>
                </a:lnTo>
                <a:lnTo>
                  <a:pt x="94" y="265"/>
                </a:lnTo>
                <a:lnTo>
                  <a:pt x="97" y="269"/>
                </a:lnTo>
                <a:lnTo>
                  <a:pt x="103" y="269"/>
                </a:lnTo>
                <a:lnTo>
                  <a:pt x="100" y="265"/>
                </a:lnTo>
                <a:lnTo>
                  <a:pt x="100" y="262"/>
                </a:lnTo>
                <a:lnTo>
                  <a:pt x="97" y="259"/>
                </a:lnTo>
                <a:lnTo>
                  <a:pt x="94" y="256"/>
                </a:lnTo>
                <a:lnTo>
                  <a:pt x="91" y="250"/>
                </a:lnTo>
                <a:lnTo>
                  <a:pt x="97" y="247"/>
                </a:lnTo>
                <a:lnTo>
                  <a:pt x="103" y="247"/>
                </a:lnTo>
                <a:lnTo>
                  <a:pt x="106" y="244"/>
                </a:lnTo>
                <a:lnTo>
                  <a:pt x="109" y="240"/>
                </a:lnTo>
                <a:lnTo>
                  <a:pt x="116" y="237"/>
                </a:lnTo>
                <a:lnTo>
                  <a:pt x="116" y="234"/>
                </a:lnTo>
                <a:lnTo>
                  <a:pt x="119" y="234"/>
                </a:lnTo>
                <a:lnTo>
                  <a:pt x="122" y="228"/>
                </a:lnTo>
                <a:lnTo>
                  <a:pt x="122" y="225"/>
                </a:lnTo>
                <a:lnTo>
                  <a:pt x="125" y="219"/>
                </a:lnTo>
                <a:lnTo>
                  <a:pt x="122" y="215"/>
                </a:lnTo>
                <a:lnTo>
                  <a:pt x="122" y="209"/>
                </a:lnTo>
                <a:lnTo>
                  <a:pt x="119" y="200"/>
                </a:lnTo>
                <a:lnTo>
                  <a:pt x="116" y="200"/>
                </a:lnTo>
                <a:lnTo>
                  <a:pt x="113" y="194"/>
                </a:lnTo>
                <a:lnTo>
                  <a:pt x="116" y="194"/>
                </a:lnTo>
                <a:lnTo>
                  <a:pt x="119" y="190"/>
                </a:lnTo>
                <a:lnTo>
                  <a:pt x="119" y="184"/>
                </a:lnTo>
                <a:lnTo>
                  <a:pt x="116" y="181"/>
                </a:lnTo>
                <a:lnTo>
                  <a:pt x="116" y="178"/>
                </a:lnTo>
                <a:lnTo>
                  <a:pt x="122" y="172"/>
                </a:lnTo>
                <a:lnTo>
                  <a:pt x="122" y="168"/>
                </a:lnTo>
                <a:lnTo>
                  <a:pt x="119" y="168"/>
                </a:lnTo>
                <a:lnTo>
                  <a:pt x="116" y="165"/>
                </a:lnTo>
                <a:lnTo>
                  <a:pt x="116" y="159"/>
                </a:lnTo>
                <a:lnTo>
                  <a:pt x="119" y="156"/>
                </a:lnTo>
                <a:lnTo>
                  <a:pt x="119" y="156"/>
                </a:lnTo>
                <a:lnTo>
                  <a:pt x="116" y="156"/>
                </a:lnTo>
                <a:lnTo>
                  <a:pt x="113" y="156"/>
                </a:lnTo>
                <a:lnTo>
                  <a:pt x="109" y="153"/>
                </a:lnTo>
                <a:lnTo>
                  <a:pt x="106" y="153"/>
                </a:lnTo>
                <a:lnTo>
                  <a:pt x="103" y="150"/>
                </a:lnTo>
                <a:lnTo>
                  <a:pt x="106" y="147"/>
                </a:lnTo>
                <a:lnTo>
                  <a:pt x="103" y="147"/>
                </a:lnTo>
                <a:lnTo>
                  <a:pt x="100" y="147"/>
                </a:lnTo>
                <a:lnTo>
                  <a:pt x="97" y="143"/>
                </a:lnTo>
                <a:lnTo>
                  <a:pt x="97" y="140"/>
                </a:lnTo>
                <a:lnTo>
                  <a:pt x="94" y="137"/>
                </a:lnTo>
                <a:lnTo>
                  <a:pt x="91" y="137"/>
                </a:lnTo>
                <a:lnTo>
                  <a:pt x="88" y="134"/>
                </a:lnTo>
                <a:lnTo>
                  <a:pt x="88" y="131"/>
                </a:lnTo>
                <a:lnTo>
                  <a:pt x="81" y="125"/>
                </a:lnTo>
                <a:lnTo>
                  <a:pt x="81" y="122"/>
                </a:lnTo>
                <a:lnTo>
                  <a:pt x="75" y="115"/>
                </a:lnTo>
                <a:lnTo>
                  <a:pt x="72" y="112"/>
                </a:lnTo>
                <a:lnTo>
                  <a:pt x="66" y="106"/>
                </a:lnTo>
                <a:lnTo>
                  <a:pt x="63" y="106"/>
                </a:lnTo>
                <a:lnTo>
                  <a:pt x="56" y="103"/>
                </a:lnTo>
                <a:lnTo>
                  <a:pt x="50" y="103"/>
                </a:lnTo>
                <a:lnTo>
                  <a:pt x="47" y="97"/>
                </a:lnTo>
                <a:lnTo>
                  <a:pt x="44" y="97"/>
                </a:lnTo>
                <a:lnTo>
                  <a:pt x="44" y="93"/>
                </a:lnTo>
                <a:lnTo>
                  <a:pt x="47" y="90"/>
                </a:lnTo>
                <a:lnTo>
                  <a:pt x="41" y="87"/>
                </a:lnTo>
                <a:lnTo>
                  <a:pt x="41" y="84"/>
                </a:lnTo>
                <a:lnTo>
                  <a:pt x="44" y="84"/>
                </a:lnTo>
                <a:lnTo>
                  <a:pt x="50" y="81"/>
                </a:lnTo>
                <a:lnTo>
                  <a:pt x="53" y="81"/>
                </a:lnTo>
                <a:lnTo>
                  <a:pt x="56" y="78"/>
                </a:lnTo>
                <a:lnTo>
                  <a:pt x="59" y="72"/>
                </a:lnTo>
                <a:lnTo>
                  <a:pt x="59" y="68"/>
                </a:lnTo>
                <a:lnTo>
                  <a:pt x="59" y="65"/>
                </a:lnTo>
                <a:lnTo>
                  <a:pt x="56" y="65"/>
                </a:lnTo>
                <a:lnTo>
                  <a:pt x="56" y="62"/>
                </a:lnTo>
                <a:lnTo>
                  <a:pt x="53" y="59"/>
                </a:lnTo>
                <a:lnTo>
                  <a:pt x="50" y="56"/>
                </a:lnTo>
                <a:lnTo>
                  <a:pt x="47" y="53"/>
                </a:lnTo>
                <a:lnTo>
                  <a:pt x="41" y="53"/>
                </a:lnTo>
                <a:lnTo>
                  <a:pt x="38" y="56"/>
                </a:lnTo>
                <a:lnTo>
                  <a:pt x="31" y="56"/>
                </a:lnTo>
                <a:lnTo>
                  <a:pt x="25" y="56"/>
                </a:lnTo>
                <a:lnTo>
                  <a:pt x="19" y="46"/>
                </a:lnTo>
                <a:lnTo>
                  <a:pt x="13" y="40"/>
                </a:lnTo>
                <a:lnTo>
                  <a:pt x="16" y="37"/>
                </a:lnTo>
                <a:lnTo>
                  <a:pt x="13" y="34"/>
                </a:lnTo>
                <a:lnTo>
                  <a:pt x="9" y="31"/>
                </a:lnTo>
                <a:lnTo>
                  <a:pt x="6" y="25"/>
                </a:lnTo>
                <a:lnTo>
                  <a:pt x="0" y="25"/>
                </a:lnTo>
                <a:lnTo>
                  <a:pt x="0" y="21"/>
                </a:lnTo>
                <a:lnTo>
                  <a:pt x="0" y="21"/>
                </a:lnTo>
                <a:close/>
                <a:moveTo>
                  <a:pt x="53" y="278"/>
                </a:moveTo>
                <a:lnTo>
                  <a:pt x="56" y="281"/>
                </a:lnTo>
                <a:lnTo>
                  <a:pt x="53" y="281"/>
                </a:lnTo>
                <a:lnTo>
                  <a:pt x="56" y="284"/>
                </a:lnTo>
                <a:lnTo>
                  <a:pt x="59" y="284"/>
                </a:lnTo>
                <a:lnTo>
                  <a:pt x="59" y="278"/>
                </a:lnTo>
                <a:lnTo>
                  <a:pt x="59" y="278"/>
                </a:lnTo>
                <a:lnTo>
                  <a:pt x="56" y="275"/>
                </a:lnTo>
                <a:lnTo>
                  <a:pt x="53" y="278"/>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2" name="Freeform 30">
            <a:extLst>
              <a:ext uri="{FF2B5EF4-FFF2-40B4-BE49-F238E27FC236}">
                <a16:creationId xmlns:a16="http://schemas.microsoft.com/office/drawing/2014/main" id="{5B5DC421-4FEA-4078-66DB-AA31031477B4}"/>
              </a:ext>
            </a:extLst>
          </p:cNvPr>
          <p:cNvSpPr>
            <a:spLocks/>
          </p:cNvSpPr>
          <p:nvPr userDrawn="1"/>
        </p:nvSpPr>
        <p:spPr bwMode="auto">
          <a:xfrm>
            <a:off x="19550377" y="8432080"/>
            <a:ext cx="336528" cy="279400"/>
          </a:xfrm>
          <a:custGeom>
            <a:avLst/>
            <a:gdLst>
              <a:gd name="T0" fmla="*/ 50 w 106"/>
              <a:gd name="T1" fmla="*/ 85 h 88"/>
              <a:gd name="T2" fmla="*/ 56 w 106"/>
              <a:gd name="T3" fmla="*/ 78 h 88"/>
              <a:gd name="T4" fmla="*/ 62 w 106"/>
              <a:gd name="T5" fmla="*/ 78 h 88"/>
              <a:gd name="T6" fmla="*/ 75 w 106"/>
              <a:gd name="T7" fmla="*/ 78 h 88"/>
              <a:gd name="T8" fmla="*/ 84 w 106"/>
              <a:gd name="T9" fmla="*/ 82 h 88"/>
              <a:gd name="T10" fmla="*/ 81 w 106"/>
              <a:gd name="T11" fmla="*/ 75 h 88"/>
              <a:gd name="T12" fmla="*/ 75 w 106"/>
              <a:gd name="T13" fmla="*/ 69 h 88"/>
              <a:gd name="T14" fmla="*/ 78 w 106"/>
              <a:gd name="T15" fmla="*/ 60 h 88"/>
              <a:gd name="T16" fmla="*/ 87 w 106"/>
              <a:gd name="T17" fmla="*/ 57 h 88"/>
              <a:gd name="T18" fmla="*/ 97 w 106"/>
              <a:gd name="T19" fmla="*/ 50 h 88"/>
              <a:gd name="T20" fmla="*/ 100 w 106"/>
              <a:gd name="T21" fmla="*/ 47 h 88"/>
              <a:gd name="T22" fmla="*/ 103 w 106"/>
              <a:gd name="T23" fmla="*/ 38 h 88"/>
              <a:gd name="T24" fmla="*/ 103 w 106"/>
              <a:gd name="T25" fmla="*/ 28 h 88"/>
              <a:gd name="T26" fmla="*/ 100 w 106"/>
              <a:gd name="T27" fmla="*/ 13 h 88"/>
              <a:gd name="T28" fmla="*/ 94 w 106"/>
              <a:gd name="T29" fmla="*/ 7 h 88"/>
              <a:gd name="T30" fmla="*/ 87 w 106"/>
              <a:gd name="T31" fmla="*/ 3 h 88"/>
              <a:gd name="T32" fmla="*/ 84 w 106"/>
              <a:gd name="T33" fmla="*/ 0 h 88"/>
              <a:gd name="T34" fmla="*/ 72 w 106"/>
              <a:gd name="T35" fmla="*/ 3 h 88"/>
              <a:gd name="T36" fmla="*/ 78 w 106"/>
              <a:gd name="T37" fmla="*/ 13 h 88"/>
              <a:gd name="T38" fmla="*/ 78 w 106"/>
              <a:gd name="T39" fmla="*/ 19 h 88"/>
              <a:gd name="T40" fmla="*/ 69 w 106"/>
              <a:gd name="T41" fmla="*/ 10 h 88"/>
              <a:gd name="T42" fmla="*/ 59 w 106"/>
              <a:gd name="T43" fmla="*/ 7 h 88"/>
              <a:gd name="T44" fmla="*/ 53 w 106"/>
              <a:gd name="T45" fmla="*/ 7 h 88"/>
              <a:gd name="T46" fmla="*/ 44 w 106"/>
              <a:gd name="T47" fmla="*/ 3 h 88"/>
              <a:gd name="T48" fmla="*/ 37 w 106"/>
              <a:gd name="T49" fmla="*/ 3 h 88"/>
              <a:gd name="T50" fmla="*/ 28 w 106"/>
              <a:gd name="T51" fmla="*/ 3 h 88"/>
              <a:gd name="T52" fmla="*/ 15 w 106"/>
              <a:gd name="T53" fmla="*/ 7 h 88"/>
              <a:gd name="T54" fmla="*/ 6 w 106"/>
              <a:gd name="T55" fmla="*/ 13 h 88"/>
              <a:gd name="T56" fmla="*/ 3 w 106"/>
              <a:gd name="T57" fmla="*/ 22 h 88"/>
              <a:gd name="T58" fmla="*/ 3 w 106"/>
              <a:gd name="T59" fmla="*/ 38 h 88"/>
              <a:gd name="T60" fmla="*/ 9 w 106"/>
              <a:gd name="T61" fmla="*/ 44 h 88"/>
              <a:gd name="T62" fmla="*/ 6 w 106"/>
              <a:gd name="T63" fmla="*/ 53 h 88"/>
              <a:gd name="T64" fmla="*/ 9 w 106"/>
              <a:gd name="T65" fmla="*/ 57 h 88"/>
              <a:gd name="T66" fmla="*/ 12 w 106"/>
              <a:gd name="T67" fmla="*/ 63 h 88"/>
              <a:gd name="T68" fmla="*/ 15 w 106"/>
              <a:gd name="T69" fmla="*/ 69 h 88"/>
              <a:gd name="T70" fmla="*/ 19 w 106"/>
              <a:gd name="T71" fmla="*/ 72 h 88"/>
              <a:gd name="T72" fmla="*/ 19 w 106"/>
              <a:gd name="T73" fmla="*/ 78 h 88"/>
              <a:gd name="T74" fmla="*/ 22 w 106"/>
              <a:gd name="T75" fmla="*/ 82 h 88"/>
              <a:gd name="T76" fmla="*/ 25 w 106"/>
              <a:gd name="T77" fmla="*/ 78 h 88"/>
              <a:gd name="T78" fmla="*/ 31 w 106"/>
              <a:gd name="T79" fmla="*/ 75 h 88"/>
              <a:gd name="T80" fmla="*/ 31 w 106"/>
              <a:gd name="T81" fmla="*/ 78 h 88"/>
              <a:gd name="T82" fmla="*/ 28 w 106"/>
              <a:gd name="T83" fmla="*/ 85 h 88"/>
              <a:gd name="T84" fmla="*/ 31 w 106"/>
              <a:gd name="T85" fmla="*/ 88 h 88"/>
              <a:gd name="T86" fmla="*/ 34 w 106"/>
              <a:gd name="T87" fmla="*/ 85 h 88"/>
              <a:gd name="T88" fmla="*/ 37 w 106"/>
              <a:gd name="T89" fmla="*/ 85 h 88"/>
              <a:gd name="T90" fmla="*/ 44 w 106"/>
              <a:gd name="T91" fmla="*/ 8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88">
                <a:moveTo>
                  <a:pt x="47" y="88"/>
                </a:moveTo>
                <a:lnTo>
                  <a:pt x="50" y="85"/>
                </a:lnTo>
                <a:lnTo>
                  <a:pt x="53" y="85"/>
                </a:lnTo>
                <a:lnTo>
                  <a:pt x="56" y="78"/>
                </a:lnTo>
                <a:lnTo>
                  <a:pt x="59" y="78"/>
                </a:lnTo>
                <a:lnTo>
                  <a:pt x="62" y="78"/>
                </a:lnTo>
                <a:lnTo>
                  <a:pt x="72" y="78"/>
                </a:lnTo>
                <a:lnTo>
                  <a:pt x="75" y="78"/>
                </a:lnTo>
                <a:lnTo>
                  <a:pt x="78" y="82"/>
                </a:lnTo>
                <a:lnTo>
                  <a:pt x="84" y="82"/>
                </a:lnTo>
                <a:lnTo>
                  <a:pt x="81" y="78"/>
                </a:lnTo>
                <a:lnTo>
                  <a:pt x="81" y="75"/>
                </a:lnTo>
                <a:lnTo>
                  <a:pt x="78" y="72"/>
                </a:lnTo>
                <a:lnTo>
                  <a:pt x="75" y="69"/>
                </a:lnTo>
                <a:lnTo>
                  <a:pt x="72" y="63"/>
                </a:lnTo>
                <a:lnTo>
                  <a:pt x="78" y="60"/>
                </a:lnTo>
                <a:lnTo>
                  <a:pt x="84" y="60"/>
                </a:lnTo>
                <a:lnTo>
                  <a:pt x="87" y="57"/>
                </a:lnTo>
                <a:lnTo>
                  <a:pt x="90" y="53"/>
                </a:lnTo>
                <a:lnTo>
                  <a:pt x="97" y="50"/>
                </a:lnTo>
                <a:lnTo>
                  <a:pt x="97" y="47"/>
                </a:lnTo>
                <a:lnTo>
                  <a:pt x="100" y="47"/>
                </a:lnTo>
                <a:lnTo>
                  <a:pt x="103" y="41"/>
                </a:lnTo>
                <a:lnTo>
                  <a:pt x="103" y="38"/>
                </a:lnTo>
                <a:lnTo>
                  <a:pt x="106" y="32"/>
                </a:lnTo>
                <a:lnTo>
                  <a:pt x="103" y="28"/>
                </a:lnTo>
                <a:lnTo>
                  <a:pt x="103" y="22"/>
                </a:lnTo>
                <a:lnTo>
                  <a:pt x="100" y="13"/>
                </a:lnTo>
                <a:lnTo>
                  <a:pt x="97" y="13"/>
                </a:lnTo>
                <a:lnTo>
                  <a:pt x="94" y="7"/>
                </a:lnTo>
                <a:lnTo>
                  <a:pt x="90" y="7"/>
                </a:lnTo>
                <a:lnTo>
                  <a:pt x="87" y="3"/>
                </a:lnTo>
                <a:lnTo>
                  <a:pt x="84" y="3"/>
                </a:lnTo>
                <a:lnTo>
                  <a:pt x="84" y="0"/>
                </a:lnTo>
                <a:lnTo>
                  <a:pt x="78" y="0"/>
                </a:lnTo>
                <a:lnTo>
                  <a:pt x="72" y="3"/>
                </a:lnTo>
                <a:lnTo>
                  <a:pt x="78" y="10"/>
                </a:lnTo>
                <a:lnTo>
                  <a:pt x="78" y="13"/>
                </a:lnTo>
                <a:lnTo>
                  <a:pt x="78" y="16"/>
                </a:lnTo>
                <a:lnTo>
                  <a:pt x="78" y="19"/>
                </a:lnTo>
                <a:lnTo>
                  <a:pt x="72" y="16"/>
                </a:lnTo>
                <a:lnTo>
                  <a:pt x="69" y="10"/>
                </a:lnTo>
                <a:lnTo>
                  <a:pt x="62" y="10"/>
                </a:lnTo>
                <a:lnTo>
                  <a:pt x="59" y="7"/>
                </a:lnTo>
                <a:lnTo>
                  <a:pt x="56" y="3"/>
                </a:lnTo>
                <a:lnTo>
                  <a:pt x="53" y="7"/>
                </a:lnTo>
                <a:lnTo>
                  <a:pt x="50" y="3"/>
                </a:lnTo>
                <a:lnTo>
                  <a:pt x="44" y="3"/>
                </a:lnTo>
                <a:lnTo>
                  <a:pt x="40" y="3"/>
                </a:lnTo>
                <a:lnTo>
                  <a:pt x="37" y="3"/>
                </a:lnTo>
                <a:lnTo>
                  <a:pt x="31" y="3"/>
                </a:lnTo>
                <a:lnTo>
                  <a:pt x="28" y="3"/>
                </a:lnTo>
                <a:lnTo>
                  <a:pt x="25" y="3"/>
                </a:lnTo>
                <a:lnTo>
                  <a:pt x="15" y="7"/>
                </a:lnTo>
                <a:lnTo>
                  <a:pt x="9" y="7"/>
                </a:lnTo>
                <a:lnTo>
                  <a:pt x="6" y="13"/>
                </a:lnTo>
                <a:lnTo>
                  <a:pt x="6" y="16"/>
                </a:lnTo>
                <a:lnTo>
                  <a:pt x="3" y="22"/>
                </a:lnTo>
                <a:lnTo>
                  <a:pt x="0" y="28"/>
                </a:lnTo>
                <a:lnTo>
                  <a:pt x="3" y="38"/>
                </a:lnTo>
                <a:lnTo>
                  <a:pt x="6" y="38"/>
                </a:lnTo>
                <a:lnTo>
                  <a:pt x="9" y="44"/>
                </a:lnTo>
                <a:lnTo>
                  <a:pt x="9" y="50"/>
                </a:lnTo>
                <a:lnTo>
                  <a:pt x="6" y="53"/>
                </a:lnTo>
                <a:lnTo>
                  <a:pt x="6" y="53"/>
                </a:lnTo>
                <a:lnTo>
                  <a:pt x="9" y="57"/>
                </a:lnTo>
                <a:lnTo>
                  <a:pt x="9" y="60"/>
                </a:lnTo>
                <a:lnTo>
                  <a:pt x="12" y="63"/>
                </a:lnTo>
                <a:lnTo>
                  <a:pt x="12" y="66"/>
                </a:lnTo>
                <a:lnTo>
                  <a:pt x="15" y="69"/>
                </a:lnTo>
                <a:lnTo>
                  <a:pt x="19" y="69"/>
                </a:lnTo>
                <a:lnTo>
                  <a:pt x="19" y="72"/>
                </a:lnTo>
                <a:lnTo>
                  <a:pt x="19" y="75"/>
                </a:lnTo>
                <a:lnTo>
                  <a:pt x="19" y="78"/>
                </a:lnTo>
                <a:lnTo>
                  <a:pt x="22" y="82"/>
                </a:lnTo>
                <a:lnTo>
                  <a:pt x="22" y="82"/>
                </a:lnTo>
                <a:lnTo>
                  <a:pt x="25" y="82"/>
                </a:lnTo>
                <a:lnTo>
                  <a:pt x="25" y="78"/>
                </a:lnTo>
                <a:lnTo>
                  <a:pt x="28" y="75"/>
                </a:lnTo>
                <a:lnTo>
                  <a:pt x="31" y="75"/>
                </a:lnTo>
                <a:lnTo>
                  <a:pt x="31" y="75"/>
                </a:lnTo>
                <a:lnTo>
                  <a:pt x="31" y="78"/>
                </a:lnTo>
                <a:lnTo>
                  <a:pt x="31" y="82"/>
                </a:lnTo>
                <a:lnTo>
                  <a:pt x="28" y="85"/>
                </a:lnTo>
                <a:lnTo>
                  <a:pt x="31" y="88"/>
                </a:lnTo>
                <a:lnTo>
                  <a:pt x="31" y="88"/>
                </a:lnTo>
                <a:lnTo>
                  <a:pt x="31" y="88"/>
                </a:lnTo>
                <a:lnTo>
                  <a:pt x="34" y="85"/>
                </a:lnTo>
                <a:lnTo>
                  <a:pt x="34" y="85"/>
                </a:lnTo>
                <a:lnTo>
                  <a:pt x="37" y="85"/>
                </a:lnTo>
                <a:lnTo>
                  <a:pt x="40" y="88"/>
                </a:lnTo>
                <a:lnTo>
                  <a:pt x="44" y="85"/>
                </a:lnTo>
                <a:lnTo>
                  <a:pt x="47" y="88"/>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3" name="Freeform 31">
            <a:extLst>
              <a:ext uri="{FF2B5EF4-FFF2-40B4-BE49-F238E27FC236}">
                <a16:creationId xmlns:a16="http://schemas.microsoft.com/office/drawing/2014/main" id="{B0DA7401-571D-4CFB-428F-412B0AD5D588}"/>
              </a:ext>
            </a:extLst>
          </p:cNvPr>
          <p:cNvSpPr>
            <a:spLocks/>
          </p:cNvSpPr>
          <p:nvPr userDrawn="1"/>
        </p:nvSpPr>
        <p:spPr bwMode="auto">
          <a:xfrm>
            <a:off x="19359887" y="7905032"/>
            <a:ext cx="517492" cy="587376"/>
          </a:xfrm>
          <a:custGeom>
            <a:avLst/>
            <a:gdLst>
              <a:gd name="T0" fmla="*/ 25 w 163"/>
              <a:gd name="T1" fmla="*/ 25 h 185"/>
              <a:gd name="T2" fmla="*/ 32 w 163"/>
              <a:gd name="T3" fmla="*/ 19 h 185"/>
              <a:gd name="T4" fmla="*/ 29 w 163"/>
              <a:gd name="T5" fmla="*/ 4 h 185"/>
              <a:gd name="T6" fmla="*/ 41 w 163"/>
              <a:gd name="T7" fmla="*/ 0 h 185"/>
              <a:gd name="T8" fmla="*/ 50 w 163"/>
              <a:gd name="T9" fmla="*/ 10 h 185"/>
              <a:gd name="T10" fmla="*/ 54 w 163"/>
              <a:gd name="T11" fmla="*/ 19 h 185"/>
              <a:gd name="T12" fmla="*/ 72 w 163"/>
              <a:gd name="T13" fmla="*/ 35 h 185"/>
              <a:gd name="T14" fmla="*/ 88 w 163"/>
              <a:gd name="T15" fmla="*/ 32 h 185"/>
              <a:gd name="T16" fmla="*/ 97 w 163"/>
              <a:gd name="T17" fmla="*/ 41 h 185"/>
              <a:gd name="T18" fmla="*/ 100 w 163"/>
              <a:gd name="T19" fmla="*/ 47 h 185"/>
              <a:gd name="T20" fmla="*/ 94 w 163"/>
              <a:gd name="T21" fmla="*/ 60 h 185"/>
              <a:gd name="T22" fmla="*/ 82 w 163"/>
              <a:gd name="T23" fmla="*/ 63 h 185"/>
              <a:gd name="T24" fmla="*/ 85 w 163"/>
              <a:gd name="T25" fmla="*/ 72 h 185"/>
              <a:gd name="T26" fmla="*/ 91 w 163"/>
              <a:gd name="T27" fmla="*/ 82 h 185"/>
              <a:gd name="T28" fmla="*/ 107 w 163"/>
              <a:gd name="T29" fmla="*/ 85 h 185"/>
              <a:gd name="T30" fmla="*/ 122 w 163"/>
              <a:gd name="T31" fmla="*/ 101 h 185"/>
              <a:gd name="T32" fmla="*/ 129 w 163"/>
              <a:gd name="T33" fmla="*/ 113 h 185"/>
              <a:gd name="T34" fmla="*/ 138 w 163"/>
              <a:gd name="T35" fmla="*/ 119 h 185"/>
              <a:gd name="T36" fmla="*/ 144 w 163"/>
              <a:gd name="T37" fmla="*/ 126 h 185"/>
              <a:gd name="T38" fmla="*/ 147 w 163"/>
              <a:gd name="T39" fmla="*/ 132 h 185"/>
              <a:gd name="T40" fmla="*/ 157 w 163"/>
              <a:gd name="T41" fmla="*/ 135 h 185"/>
              <a:gd name="T42" fmla="*/ 157 w 163"/>
              <a:gd name="T43" fmla="*/ 138 h 185"/>
              <a:gd name="T44" fmla="*/ 163 w 163"/>
              <a:gd name="T45" fmla="*/ 147 h 185"/>
              <a:gd name="T46" fmla="*/ 157 w 163"/>
              <a:gd name="T47" fmla="*/ 160 h 185"/>
              <a:gd name="T48" fmla="*/ 157 w 163"/>
              <a:gd name="T49" fmla="*/ 173 h 185"/>
              <a:gd name="T50" fmla="*/ 144 w 163"/>
              <a:gd name="T51" fmla="*/ 169 h 185"/>
              <a:gd name="T52" fmla="*/ 132 w 163"/>
              <a:gd name="T53" fmla="*/ 169 h 185"/>
              <a:gd name="T54" fmla="*/ 138 w 163"/>
              <a:gd name="T55" fmla="*/ 182 h 185"/>
              <a:gd name="T56" fmla="*/ 129 w 163"/>
              <a:gd name="T57" fmla="*/ 176 h 185"/>
              <a:gd name="T58" fmla="*/ 116 w 163"/>
              <a:gd name="T59" fmla="*/ 169 h 185"/>
              <a:gd name="T60" fmla="*/ 122 w 163"/>
              <a:gd name="T61" fmla="*/ 160 h 185"/>
              <a:gd name="T62" fmla="*/ 122 w 163"/>
              <a:gd name="T63" fmla="*/ 151 h 185"/>
              <a:gd name="T64" fmla="*/ 116 w 163"/>
              <a:gd name="T65" fmla="*/ 141 h 185"/>
              <a:gd name="T66" fmla="*/ 110 w 163"/>
              <a:gd name="T67" fmla="*/ 135 h 185"/>
              <a:gd name="T68" fmla="*/ 104 w 163"/>
              <a:gd name="T69" fmla="*/ 126 h 185"/>
              <a:gd name="T70" fmla="*/ 104 w 163"/>
              <a:gd name="T71" fmla="*/ 113 h 185"/>
              <a:gd name="T72" fmla="*/ 97 w 163"/>
              <a:gd name="T73" fmla="*/ 104 h 185"/>
              <a:gd name="T74" fmla="*/ 79 w 163"/>
              <a:gd name="T75" fmla="*/ 88 h 185"/>
              <a:gd name="T76" fmla="*/ 60 w 163"/>
              <a:gd name="T77" fmla="*/ 101 h 185"/>
              <a:gd name="T78" fmla="*/ 44 w 163"/>
              <a:gd name="T79" fmla="*/ 91 h 185"/>
              <a:gd name="T80" fmla="*/ 32 w 163"/>
              <a:gd name="T81" fmla="*/ 101 h 185"/>
              <a:gd name="T82" fmla="*/ 29 w 163"/>
              <a:gd name="T83" fmla="*/ 85 h 185"/>
              <a:gd name="T84" fmla="*/ 29 w 163"/>
              <a:gd name="T85" fmla="*/ 76 h 185"/>
              <a:gd name="T86" fmla="*/ 29 w 163"/>
              <a:gd name="T87" fmla="*/ 63 h 185"/>
              <a:gd name="T88" fmla="*/ 13 w 163"/>
              <a:gd name="T89" fmla="*/ 63 h 185"/>
              <a:gd name="T90" fmla="*/ 13 w 163"/>
              <a:gd name="T91" fmla="*/ 51 h 185"/>
              <a:gd name="T92" fmla="*/ 0 w 163"/>
              <a:gd name="T93" fmla="*/ 41 h 185"/>
              <a:gd name="T94" fmla="*/ 10 w 163"/>
              <a:gd name="T95" fmla="*/ 35 h 185"/>
              <a:gd name="T96" fmla="*/ 10 w 163"/>
              <a:gd name="T97" fmla="*/ 2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3" h="185">
                <a:moveTo>
                  <a:pt x="19" y="19"/>
                </a:moveTo>
                <a:lnTo>
                  <a:pt x="22" y="22"/>
                </a:lnTo>
                <a:lnTo>
                  <a:pt x="25" y="25"/>
                </a:lnTo>
                <a:lnTo>
                  <a:pt x="29" y="25"/>
                </a:lnTo>
                <a:lnTo>
                  <a:pt x="32" y="25"/>
                </a:lnTo>
                <a:lnTo>
                  <a:pt x="32" y="19"/>
                </a:lnTo>
                <a:lnTo>
                  <a:pt x="32" y="16"/>
                </a:lnTo>
                <a:lnTo>
                  <a:pt x="29" y="10"/>
                </a:lnTo>
                <a:lnTo>
                  <a:pt x="29" y="4"/>
                </a:lnTo>
                <a:lnTo>
                  <a:pt x="32" y="4"/>
                </a:lnTo>
                <a:lnTo>
                  <a:pt x="32" y="0"/>
                </a:lnTo>
                <a:lnTo>
                  <a:pt x="41" y="0"/>
                </a:lnTo>
                <a:lnTo>
                  <a:pt x="41" y="4"/>
                </a:lnTo>
                <a:lnTo>
                  <a:pt x="47" y="4"/>
                </a:lnTo>
                <a:lnTo>
                  <a:pt x="50" y="10"/>
                </a:lnTo>
                <a:lnTo>
                  <a:pt x="54" y="13"/>
                </a:lnTo>
                <a:lnTo>
                  <a:pt x="57" y="16"/>
                </a:lnTo>
                <a:lnTo>
                  <a:pt x="54" y="19"/>
                </a:lnTo>
                <a:lnTo>
                  <a:pt x="60" y="25"/>
                </a:lnTo>
                <a:lnTo>
                  <a:pt x="66" y="35"/>
                </a:lnTo>
                <a:lnTo>
                  <a:pt x="72" y="35"/>
                </a:lnTo>
                <a:lnTo>
                  <a:pt x="79" y="35"/>
                </a:lnTo>
                <a:lnTo>
                  <a:pt x="82" y="32"/>
                </a:lnTo>
                <a:lnTo>
                  <a:pt x="88" y="32"/>
                </a:lnTo>
                <a:lnTo>
                  <a:pt x="91" y="35"/>
                </a:lnTo>
                <a:lnTo>
                  <a:pt x="94" y="38"/>
                </a:lnTo>
                <a:lnTo>
                  <a:pt x="97" y="41"/>
                </a:lnTo>
                <a:lnTo>
                  <a:pt x="97" y="44"/>
                </a:lnTo>
                <a:lnTo>
                  <a:pt x="100" y="44"/>
                </a:lnTo>
                <a:lnTo>
                  <a:pt x="100" y="47"/>
                </a:lnTo>
                <a:lnTo>
                  <a:pt x="100" y="51"/>
                </a:lnTo>
                <a:lnTo>
                  <a:pt x="97" y="57"/>
                </a:lnTo>
                <a:lnTo>
                  <a:pt x="94" y="60"/>
                </a:lnTo>
                <a:lnTo>
                  <a:pt x="91" y="60"/>
                </a:lnTo>
                <a:lnTo>
                  <a:pt x="85" y="63"/>
                </a:lnTo>
                <a:lnTo>
                  <a:pt x="82" y="63"/>
                </a:lnTo>
                <a:lnTo>
                  <a:pt x="82" y="66"/>
                </a:lnTo>
                <a:lnTo>
                  <a:pt x="88" y="69"/>
                </a:lnTo>
                <a:lnTo>
                  <a:pt x="85" y="72"/>
                </a:lnTo>
                <a:lnTo>
                  <a:pt x="85" y="76"/>
                </a:lnTo>
                <a:lnTo>
                  <a:pt x="88" y="76"/>
                </a:lnTo>
                <a:lnTo>
                  <a:pt x="91" y="82"/>
                </a:lnTo>
                <a:lnTo>
                  <a:pt x="97" y="82"/>
                </a:lnTo>
                <a:lnTo>
                  <a:pt x="104" y="85"/>
                </a:lnTo>
                <a:lnTo>
                  <a:pt x="107" y="85"/>
                </a:lnTo>
                <a:lnTo>
                  <a:pt x="113" y="91"/>
                </a:lnTo>
                <a:lnTo>
                  <a:pt x="116" y="94"/>
                </a:lnTo>
                <a:lnTo>
                  <a:pt x="122" y="101"/>
                </a:lnTo>
                <a:lnTo>
                  <a:pt x="122" y="104"/>
                </a:lnTo>
                <a:lnTo>
                  <a:pt x="129" y="110"/>
                </a:lnTo>
                <a:lnTo>
                  <a:pt x="129" y="113"/>
                </a:lnTo>
                <a:lnTo>
                  <a:pt x="132" y="116"/>
                </a:lnTo>
                <a:lnTo>
                  <a:pt x="135" y="116"/>
                </a:lnTo>
                <a:lnTo>
                  <a:pt x="138" y="119"/>
                </a:lnTo>
                <a:lnTo>
                  <a:pt x="138" y="122"/>
                </a:lnTo>
                <a:lnTo>
                  <a:pt x="141" y="126"/>
                </a:lnTo>
                <a:lnTo>
                  <a:pt x="144" y="126"/>
                </a:lnTo>
                <a:lnTo>
                  <a:pt x="147" y="126"/>
                </a:lnTo>
                <a:lnTo>
                  <a:pt x="144" y="129"/>
                </a:lnTo>
                <a:lnTo>
                  <a:pt x="147" y="132"/>
                </a:lnTo>
                <a:lnTo>
                  <a:pt x="150" y="132"/>
                </a:lnTo>
                <a:lnTo>
                  <a:pt x="154" y="135"/>
                </a:lnTo>
                <a:lnTo>
                  <a:pt x="157" y="135"/>
                </a:lnTo>
                <a:lnTo>
                  <a:pt x="160" y="135"/>
                </a:lnTo>
                <a:lnTo>
                  <a:pt x="160" y="135"/>
                </a:lnTo>
                <a:lnTo>
                  <a:pt x="157" y="138"/>
                </a:lnTo>
                <a:lnTo>
                  <a:pt x="157" y="144"/>
                </a:lnTo>
                <a:lnTo>
                  <a:pt x="160" y="147"/>
                </a:lnTo>
                <a:lnTo>
                  <a:pt x="163" y="147"/>
                </a:lnTo>
                <a:lnTo>
                  <a:pt x="163" y="151"/>
                </a:lnTo>
                <a:lnTo>
                  <a:pt x="157" y="157"/>
                </a:lnTo>
                <a:lnTo>
                  <a:pt x="157" y="160"/>
                </a:lnTo>
                <a:lnTo>
                  <a:pt x="160" y="163"/>
                </a:lnTo>
                <a:lnTo>
                  <a:pt x="160" y="169"/>
                </a:lnTo>
                <a:lnTo>
                  <a:pt x="157" y="173"/>
                </a:lnTo>
                <a:lnTo>
                  <a:pt x="150" y="173"/>
                </a:lnTo>
                <a:lnTo>
                  <a:pt x="147" y="169"/>
                </a:lnTo>
                <a:lnTo>
                  <a:pt x="144" y="169"/>
                </a:lnTo>
                <a:lnTo>
                  <a:pt x="144" y="166"/>
                </a:lnTo>
                <a:lnTo>
                  <a:pt x="138" y="166"/>
                </a:lnTo>
                <a:lnTo>
                  <a:pt x="132" y="169"/>
                </a:lnTo>
                <a:lnTo>
                  <a:pt x="138" y="176"/>
                </a:lnTo>
                <a:lnTo>
                  <a:pt x="138" y="179"/>
                </a:lnTo>
                <a:lnTo>
                  <a:pt x="138" y="182"/>
                </a:lnTo>
                <a:lnTo>
                  <a:pt x="138" y="185"/>
                </a:lnTo>
                <a:lnTo>
                  <a:pt x="132" y="182"/>
                </a:lnTo>
                <a:lnTo>
                  <a:pt x="129" y="176"/>
                </a:lnTo>
                <a:lnTo>
                  <a:pt x="122" y="176"/>
                </a:lnTo>
                <a:lnTo>
                  <a:pt x="119" y="173"/>
                </a:lnTo>
                <a:lnTo>
                  <a:pt x="116" y="169"/>
                </a:lnTo>
                <a:lnTo>
                  <a:pt x="119" y="169"/>
                </a:lnTo>
                <a:lnTo>
                  <a:pt x="122" y="166"/>
                </a:lnTo>
                <a:lnTo>
                  <a:pt x="122" y="160"/>
                </a:lnTo>
                <a:lnTo>
                  <a:pt x="119" y="157"/>
                </a:lnTo>
                <a:lnTo>
                  <a:pt x="122" y="154"/>
                </a:lnTo>
                <a:lnTo>
                  <a:pt x="122" y="151"/>
                </a:lnTo>
                <a:lnTo>
                  <a:pt x="122" y="144"/>
                </a:lnTo>
                <a:lnTo>
                  <a:pt x="122" y="144"/>
                </a:lnTo>
                <a:lnTo>
                  <a:pt x="116" y="141"/>
                </a:lnTo>
                <a:lnTo>
                  <a:pt x="116" y="138"/>
                </a:lnTo>
                <a:lnTo>
                  <a:pt x="113" y="135"/>
                </a:lnTo>
                <a:lnTo>
                  <a:pt x="110" y="135"/>
                </a:lnTo>
                <a:lnTo>
                  <a:pt x="107" y="132"/>
                </a:lnTo>
                <a:lnTo>
                  <a:pt x="104" y="129"/>
                </a:lnTo>
                <a:lnTo>
                  <a:pt x="104" y="126"/>
                </a:lnTo>
                <a:lnTo>
                  <a:pt x="104" y="119"/>
                </a:lnTo>
                <a:lnTo>
                  <a:pt x="104" y="116"/>
                </a:lnTo>
                <a:lnTo>
                  <a:pt x="104" y="113"/>
                </a:lnTo>
                <a:lnTo>
                  <a:pt x="104" y="110"/>
                </a:lnTo>
                <a:lnTo>
                  <a:pt x="104" y="107"/>
                </a:lnTo>
                <a:lnTo>
                  <a:pt x="97" y="104"/>
                </a:lnTo>
                <a:lnTo>
                  <a:pt x="88" y="97"/>
                </a:lnTo>
                <a:lnTo>
                  <a:pt x="85" y="91"/>
                </a:lnTo>
                <a:lnTo>
                  <a:pt x="79" y="88"/>
                </a:lnTo>
                <a:lnTo>
                  <a:pt x="69" y="88"/>
                </a:lnTo>
                <a:lnTo>
                  <a:pt x="66" y="97"/>
                </a:lnTo>
                <a:lnTo>
                  <a:pt x="60" y="101"/>
                </a:lnTo>
                <a:lnTo>
                  <a:pt x="54" y="94"/>
                </a:lnTo>
                <a:lnTo>
                  <a:pt x="50" y="94"/>
                </a:lnTo>
                <a:lnTo>
                  <a:pt x="44" y="91"/>
                </a:lnTo>
                <a:lnTo>
                  <a:pt x="38" y="94"/>
                </a:lnTo>
                <a:lnTo>
                  <a:pt x="38" y="97"/>
                </a:lnTo>
                <a:lnTo>
                  <a:pt x="32" y="101"/>
                </a:lnTo>
                <a:lnTo>
                  <a:pt x="29" y="104"/>
                </a:lnTo>
                <a:lnTo>
                  <a:pt x="29" y="91"/>
                </a:lnTo>
                <a:lnTo>
                  <a:pt x="29" y="85"/>
                </a:lnTo>
                <a:lnTo>
                  <a:pt x="25" y="82"/>
                </a:lnTo>
                <a:lnTo>
                  <a:pt x="29" y="79"/>
                </a:lnTo>
                <a:lnTo>
                  <a:pt x="29" y="76"/>
                </a:lnTo>
                <a:lnTo>
                  <a:pt x="25" y="69"/>
                </a:lnTo>
                <a:lnTo>
                  <a:pt x="29" y="66"/>
                </a:lnTo>
                <a:lnTo>
                  <a:pt x="29" y="63"/>
                </a:lnTo>
                <a:lnTo>
                  <a:pt x="19" y="63"/>
                </a:lnTo>
                <a:lnTo>
                  <a:pt x="16" y="66"/>
                </a:lnTo>
                <a:lnTo>
                  <a:pt x="13" y="63"/>
                </a:lnTo>
                <a:lnTo>
                  <a:pt x="10" y="60"/>
                </a:lnTo>
                <a:lnTo>
                  <a:pt x="13" y="57"/>
                </a:lnTo>
                <a:lnTo>
                  <a:pt x="13" y="51"/>
                </a:lnTo>
                <a:lnTo>
                  <a:pt x="10" y="47"/>
                </a:lnTo>
                <a:lnTo>
                  <a:pt x="4" y="47"/>
                </a:lnTo>
                <a:lnTo>
                  <a:pt x="0" y="41"/>
                </a:lnTo>
                <a:lnTo>
                  <a:pt x="4" y="38"/>
                </a:lnTo>
                <a:lnTo>
                  <a:pt x="7" y="38"/>
                </a:lnTo>
                <a:lnTo>
                  <a:pt x="10" y="35"/>
                </a:lnTo>
                <a:lnTo>
                  <a:pt x="10" y="32"/>
                </a:lnTo>
                <a:lnTo>
                  <a:pt x="10" y="29"/>
                </a:lnTo>
                <a:lnTo>
                  <a:pt x="10" y="25"/>
                </a:lnTo>
                <a:lnTo>
                  <a:pt x="16" y="22"/>
                </a:lnTo>
                <a:lnTo>
                  <a:pt x="19" y="1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4" name="Freeform 32">
            <a:extLst>
              <a:ext uri="{FF2B5EF4-FFF2-40B4-BE49-F238E27FC236}">
                <a16:creationId xmlns:a16="http://schemas.microsoft.com/office/drawing/2014/main" id="{1A74BC14-32A2-B748-1B3C-54B1484DF7FB}"/>
              </a:ext>
            </a:extLst>
          </p:cNvPr>
          <p:cNvSpPr>
            <a:spLocks noEditPoints="1"/>
          </p:cNvSpPr>
          <p:nvPr userDrawn="1"/>
        </p:nvSpPr>
        <p:spPr bwMode="auto">
          <a:xfrm>
            <a:off x="19210670" y="8035209"/>
            <a:ext cx="536541" cy="984250"/>
          </a:xfrm>
          <a:custGeom>
            <a:avLst/>
            <a:gdLst>
              <a:gd name="T0" fmla="*/ 19 w 54"/>
              <a:gd name="T1" fmla="*/ 5 h 99"/>
              <a:gd name="T2" fmla="*/ 24 w 54"/>
              <a:gd name="T3" fmla="*/ 7 h 99"/>
              <a:gd name="T4" fmla="*/ 23 w 54"/>
              <a:gd name="T5" fmla="*/ 13 h 99"/>
              <a:gd name="T6" fmla="*/ 27 w 54"/>
              <a:gd name="T7" fmla="*/ 18 h 99"/>
              <a:gd name="T8" fmla="*/ 34 w 54"/>
              <a:gd name="T9" fmla="*/ 19 h 99"/>
              <a:gd name="T10" fmla="*/ 43 w 54"/>
              <a:gd name="T11" fmla="*/ 18 h 99"/>
              <a:gd name="T12" fmla="*/ 48 w 54"/>
              <a:gd name="T13" fmla="*/ 24 h 99"/>
              <a:gd name="T14" fmla="*/ 50 w 54"/>
              <a:gd name="T15" fmla="*/ 30 h 99"/>
              <a:gd name="T16" fmla="*/ 54 w 54"/>
              <a:gd name="T17" fmla="*/ 33 h 99"/>
              <a:gd name="T18" fmla="*/ 54 w 54"/>
              <a:gd name="T19" fmla="*/ 40 h 99"/>
              <a:gd name="T20" fmla="*/ 47 w 54"/>
              <a:gd name="T21" fmla="*/ 41 h 99"/>
              <a:gd name="T22" fmla="*/ 39 w 54"/>
              <a:gd name="T23" fmla="*/ 42 h 99"/>
              <a:gd name="T24" fmla="*/ 34 w 54"/>
              <a:gd name="T25" fmla="*/ 49 h 99"/>
              <a:gd name="T26" fmla="*/ 36 w 54"/>
              <a:gd name="T27" fmla="*/ 57 h 99"/>
              <a:gd name="T28" fmla="*/ 34 w 54"/>
              <a:gd name="T29" fmla="*/ 56 h 99"/>
              <a:gd name="T30" fmla="*/ 30 w 54"/>
              <a:gd name="T31" fmla="*/ 53 h 99"/>
              <a:gd name="T32" fmla="*/ 28 w 54"/>
              <a:gd name="T33" fmla="*/ 54 h 99"/>
              <a:gd name="T34" fmla="*/ 25 w 54"/>
              <a:gd name="T35" fmla="*/ 53 h 99"/>
              <a:gd name="T36" fmla="*/ 24 w 54"/>
              <a:gd name="T37" fmla="*/ 48 h 99"/>
              <a:gd name="T38" fmla="*/ 21 w 54"/>
              <a:gd name="T39" fmla="*/ 49 h 99"/>
              <a:gd name="T40" fmla="*/ 19 w 54"/>
              <a:gd name="T41" fmla="*/ 49 h 99"/>
              <a:gd name="T42" fmla="*/ 19 w 54"/>
              <a:gd name="T43" fmla="*/ 54 h 99"/>
              <a:gd name="T44" fmla="*/ 18 w 54"/>
              <a:gd name="T45" fmla="*/ 59 h 99"/>
              <a:gd name="T46" fmla="*/ 15 w 54"/>
              <a:gd name="T47" fmla="*/ 70 h 99"/>
              <a:gd name="T48" fmla="*/ 16 w 54"/>
              <a:gd name="T49" fmla="*/ 73 h 99"/>
              <a:gd name="T50" fmla="*/ 17 w 54"/>
              <a:gd name="T51" fmla="*/ 77 h 99"/>
              <a:gd name="T52" fmla="*/ 20 w 54"/>
              <a:gd name="T53" fmla="*/ 77 h 99"/>
              <a:gd name="T54" fmla="*/ 22 w 54"/>
              <a:gd name="T55" fmla="*/ 82 h 99"/>
              <a:gd name="T56" fmla="*/ 24 w 54"/>
              <a:gd name="T57" fmla="*/ 82 h 99"/>
              <a:gd name="T58" fmla="*/ 24 w 54"/>
              <a:gd name="T59" fmla="*/ 87 h 99"/>
              <a:gd name="T60" fmla="*/ 25 w 54"/>
              <a:gd name="T61" fmla="*/ 88 h 99"/>
              <a:gd name="T62" fmla="*/ 29 w 54"/>
              <a:gd name="T63" fmla="*/ 92 h 99"/>
              <a:gd name="T64" fmla="*/ 33 w 54"/>
              <a:gd name="T65" fmla="*/ 95 h 99"/>
              <a:gd name="T66" fmla="*/ 33 w 54"/>
              <a:gd name="T67" fmla="*/ 99 h 99"/>
              <a:gd name="T68" fmla="*/ 28 w 54"/>
              <a:gd name="T69" fmla="*/ 98 h 99"/>
              <a:gd name="T70" fmla="*/ 27 w 54"/>
              <a:gd name="T71" fmla="*/ 94 h 99"/>
              <a:gd name="T72" fmla="*/ 22 w 54"/>
              <a:gd name="T73" fmla="*/ 94 h 99"/>
              <a:gd name="T74" fmla="*/ 19 w 54"/>
              <a:gd name="T75" fmla="*/ 90 h 99"/>
              <a:gd name="T76" fmla="*/ 15 w 54"/>
              <a:gd name="T77" fmla="*/ 86 h 99"/>
              <a:gd name="T78" fmla="*/ 13 w 54"/>
              <a:gd name="T79" fmla="*/ 82 h 99"/>
              <a:gd name="T80" fmla="*/ 10 w 54"/>
              <a:gd name="T81" fmla="*/ 80 h 99"/>
              <a:gd name="T82" fmla="*/ 11 w 54"/>
              <a:gd name="T83" fmla="*/ 75 h 99"/>
              <a:gd name="T84" fmla="*/ 13 w 54"/>
              <a:gd name="T85" fmla="*/ 71 h 99"/>
              <a:gd name="T86" fmla="*/ 13 w 54"/>
              <a:gd name="T87" fmla="*/ 65 h 99"/>
              <a:gd name="T88" fmla="*/ 16 w 54"/>
              <a:gd name="T89" fmla="*/ 57 h 99"/>
              <a:gd name="T90" fmla="*/ 15 w 54"/>
              <a:gd name="T91" fmla="*/ 50 h 99"/>
              <a:gd name="T92" fmla="*/ 10 w 54"/>
              <a:gd name="T93" fmla="*/ 42 h 99"/>
              <a:gd name="T94" fmla="*/ 9 w 54"/>
              <a:gd name="T95" fmla="*/ 34 h 99"/>
              <a:gd name="T96" fmla="*/ 9 w 54"/>
              <a:gd name="T97" fmla="*/ 28 h 99"/>
              <a:gd name="T98" fmla="*/ 4 w 54"/>
              <a:gd name="T99" fmla="*/ 20 h 99"/>
              <a:gd name="T100" fmla="*/ 0 w 54"/>
              <a:gd name="T101" fmla="*/ 15 h 99"/>
              <a:gd name="T102" fmla="*/ 4 w 54"/>
              <a:gd name="T103" fmla="*/ 10 h 99"/>
              <a:gd name="T104" fmla="*/ 10 w 54"/>
              <a:gd name="T105" fmla="*/ 6 h 99"/>
              <a:gd name="T106" fmla="*/ 13 w 54"/>
              <a:gd name="T107" fmla="*/ 3 h 99"/>
              <a:gd name="T108" fmla="*/ 15 w 54"/>
              <a:gd name="T109" fmla="*/ 0 h 99"/>
              <a:gd name="T110" fmla="*/ 19 w 54"/>
              <a:gd name="T111" fmla="*/ 93 h 99"/>
              <a:gd name="T112" fmla="*/ 15 w 54"/>
              <a:gd name="T113" fmla="*/ 87 h 99"/>
              <a:gd name="T114" fmla="*/ 10 w 54"/>
              <a:gd name="T115" fmla="*/ 86 h 99"/>
              <a:gd name="T116" fmla="*/ 33 w 54"/>
              <a:gd name="T117" fmla="*/ 58 h 99"/>
              <a:gd name="T118" fmla="*/ 20 w 54"/>
              <a:gd name="T119" fmla="*/ 73 h 99"/>
              <a:gd name="T120" fmla="*/ 20 w 54"/>
              <a:gd name="T121" fmla="*/ 7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 h="99">
                <a:moveTo>
                  <a:pt x="15" y="0"/>
                </a:moveTo>
                <a:cubicBezTo>
                  <a:pt x="16" y="2"/>
                  <a:pt x="16" y="2"/>
                  <a:pt x="16" y="2"/>
                </a:cubicBezTo>
                <a:cubicBezTo>
                  <a:pt x="18" y="2"/>
                  <a:pt x="18" y="2"/>
                  <a:pt x="18" y="2"/>
                </a:cubicBezTo>
                <a:cubicBezTo>
                  <a:pt x="19" y="3"/>
                  <a:pt x="19" y="3"/>
                  <a:pt x="19" y="3"/>
                </a:cubicBezTo>
                <a:cubicBezTo>
                  <a:pt x="19" y="5"/>
                  <a:pt x="19" y="5"/>
                  <a:pt x="19" y="5"/>
                </a:cubicBezTo>
                <a:cubicBezTo>
                  <a:pt x="18" y="6"/>
                  <a:pt x="18" y="6"/>
                  <a:pt x="18" y="6"/>
                </a:cubicBezTo>
                <a:cubicBezTo>
                  <a:pt x="19" y="7"/>
                  <a:pt x="19" y="7"/>
                  <a:pt x="19" y="7"/>
                </a:cubicBezTo>
                <a:cubicBezTo>
                  <a:pt x="20" y="8"/>
                  <a:pt x="20" y="8"/>
                  <a:pt x="20" y="8"/>
                </a:cubicBezTo>
                <a:cubicBezTo>
                  <a:pt x="21" y="7"/>
                  <a:pt x="21" y="7"/>
                  <a:pt x="21" y="7"/>
                </a:cubicBezTo>
                <a:cubicBezTo>
                  <a:pt x="24" y="7"/>
                  <a:pt x="24" y="7"/>
                  <a:pt x="24" y="7"/>
                </a:cubicBezTo>
                <a:cubicBezTo>
                  <a:pt x="24" y="8"/>
                  <a:pt x="24" y="8"/>
                  <a:pt x="24" y="8"/>
                </a:cubicBezTo>
                <a:cubicBezTo>
                  <a:pt x="23" y="9"/>
                  <a:pt x="23" y="9"/>
                  <a:pt x="23" y="9"/>
                </a:cubicBezTo>
                <a:cubicBezTo>
                  <a:pt x="24" y="11"/>
                  <a:pt x="24" y="11"/>
                  <a:pt x="24" y="11"/>
                </a:cubicBezTo>
                <a:cubicBezTo>
                  <a:pt x="24" y="12"/>
                  <a:pt x="24" y="12"/>
                  <a:pt x="24" y="12"/>
                </a:cubicBezTo>
                <a:cubicBezTo>
                  <a:pt x="23" y="13"/>
                  <a:pt x="23" y="13"/>
                  <a:pt x="23" y="13"/>
                </a:cubicBezTo>
                <a:cubicBezTo>
                  <a:pt x="24" y="14"/>
                  <a:pt x="24" y="14"/>
                  <a:pt x="24" y="14"/>
                </a:cubicBezTo>
                <a:cubicBezTo>
                  <a:pt x="24" y="16"/>
                  <a:pt x="24" y="16"/>
                  <a:pt x="24" y="16"/>
                </a:cubicBezTo>
                <a:cubicBezTo>
                  <a:pt x="24" y="20"/>
                  <a:pt x="24" y="20"/>
                  <a:pt x="24" y="20"/>
                </a:cubicBezTo>
                <a:cubicBezTo>
                  <a:pt x="25" y="19"/>
                  <a:pt x="25" y="19"/>
                  <a:pt x="25" y="19"/>
                </a:cubicBezTo>
                <a:cubicBezTo>
                  <a:pt x="27" y="18"/>
                  <a:pt x="27" y="18"/>
                  <a:pt x="27" y="18"/>
                </a:cubicBezTo>
                <a:cubicBezTo>
                  <a:pt x="27" y="17"/>
                  <a:pt x="27" y="17"/>
                  <a:pt x="27" y="17"/>
                </a:cubicBezTo>
                <a:cubicBezTo>
                  <a:pt x="29" y="16"/>
                  <a:pt x="29" y="16"/>
                  <a:pt x="29" y="16"/>
                </a:cubicBezTo>
                <a:cubicBezTo>
                  <a:pt x="31" y="17"/>
                  <a:pt x="31" y="17"/>
                  <a:pt x="31" y="17"/>
                </a:cubicBezTo>
                <a:cubicBezTo>
                  <a:pt x="32" y="17"/>
                  <a:pt x="32" y="17"/>
                  <a:pt x="32" y="17"/>
                </a:cubicBezTo>
                <a:cubicBezTo>
                  <a:pt x="34" y="19"/>
                  <a:pt x="34" y="19"/>
                  <a:pt x="34" y="19"/>
                </a:cubicBezTo>
                <a:cubicBezTo>
                  <a:pt x="36" y="18"/>
                  <a:pt x="36" y="18"/>
                  <a:pt x="36" y="18"/>
                </a:cubicBezTo>
                <a:cubicBezTo>
                  <a:pt x="37" y="15"/>
                  <a:pt x="37" y="15"/>
                  <a:pt x="37" y="15"/>
                </a:cubicBezTo>
                <a:cubicBezTo>
                  <a:pt x="40" y="15"/>
                  <a:pt x="40" y="15"/>
                  <a:pt x="40" y="15"/>
                </a:cubicBezTo>
                <a:cubicBezTo>
                  <a:pt x="42" y="16"/>
                  <a:pt x="42" y="16"/>
                  <a:pt x="42" y="16"/>
                </a:cubicBezTo>
                <a:cubicBezTo>
                  <a:pt x="43" y="18"/>
                  <a:pt x="43" y="18"/>
                  <a:pt x="43" y="18"/>
                </a:cubicBezTo>
                <a:cubicBezTo>
                  <a:pt x="46" y="20"/>
                  <a:pt x="46" y="20"/>
                  <a:pt x="46" y="20"/>
                </a:cubicBezTo>
                <a:cubicBezTo>
                  <a:pt x="48" y="21"/>
                  <a:pt x="48" y="21"/>
                  <a:pt x="48" y="21"/>
                </a:cubicBezTo>
                <a:cubicBezTo>
                  <a:pt x="48" y="22"/>
                  <a:pt x="48" y="22"/>
                  <a:pt x="48" y="22"/>
                </a:cubicBezTo>
                <a:cubicBezTo>
                  <a:pt x="48" y="23"/>
                  <a:pt x="48" y="23"/>
                  <a:pt x="48" y="23"/>
                </a:cubicBezTo>
                <a:cubicBezTo>
                  <a:pt x="48" y="24"/>
                  <a:pt x="48" y="24"/>
                  <a:pt x="48" y="24"/>
                </a:cubicBezTo>
                <a:cubicBezTo>
                  <a:pt x="48" y="25"/>
                  <a:pt x="48" y="25"/>
                  <a:pt x="48" y="25"/>
                </a:cubicBezTo>
                <a:cubicBezTo>
                  <a:pt x="48" y="27"/>
                  <a:pt x="48" y="27"/>
                  <a:pt x="48" y="27"/>
                </a:cubicBezTo>
                <a:cubicBezTo>
                  <a:pt x="48" y="28"/>
                  <a:pt x="48" y="28"/>
                  <a:pt x="48" y="28"/>
                </a:cubicBezTo>
                <a:cubicBezTo>
                  <a:pt x="49" y="29"/>
                  <a:pt x="49" y="29"/>
                  <a:pt x="49" y="29"/>
                </a:cubicBezTo>
                <a:cubicBezTo>
                  <a:pt x="50" y="30"/>
                  <a:pt x="50" y="30"/>
                  <a:pt x="50" y="30"/>
                </a:cubicBezTo>
                <a:cubicBezTo>
                  <a:pt x="51" y="30"/>
                  <a:pt x="51" y="30"/>
                  <a:pt x="51" y="30"/>
                </a:cubicBezTo>
                <a:cubicBezTo>
                  <a:pt x="52" y="31"/>
                  <a:pt x="52" y="31"/>
                  <a:pt x="52" y="31"/>
                </a:cubicBezTo>
                <a:cubicBezTo>
                  <a:pt x="52" y="32"/>
                  <a:pt x="52" y="32"/>
                  <a:pt x="52" y="32"/>
                </a:cubicBezTo>
                <a:cubicBezTo>
                  <a:pt x="54" y="33"/>
                  <a:pt x="54" y="33"/>
                  <a:pt x="54" y="33"/>
                </a:cubicBezTo>
                <a:cubicBezTo>
                  <a:pt x="54" y="33"/>
                  <a:pt x="54" y="33"/>
                  <a:pt x="54" y="33"/>
                </a:cubicBezTo>
                <a:cubicBezTo>
                  <a:pt x="54" y="35"/>
                  <a:pt x="54" y="35"/>
                  <a:pt x="54" y="35"/>
                </a:cubicBezTo>
                <a:cubicBezTo>
                  <a:pt x="54" y="36"/>
                  <a:pt x="54" y="36"/>
                  <a:pt x="54" y="36"/>
                </a:cubicBezTo>
                <a:cubicBezTo>
                  <a:pt x="53" y="37"/>
                  <a:pt x="53" y="37"/>
                  <a:pt x="53" y="37"/>
                </a:cubicBezTo>
                <a:cubicBezTo>
                  <a:pt x="54" y="38"/>
                  <a:pt x="54" y="38"/>
                  <a:pt x="54" y="38"/>
                </a:cubicBezTo>
                <a:cubicBezTo>
                  <a:pt x="54" y="40"/>
                  <a:pt x="54" y="40"/>
                  <a:pt x="54" y="40"/>
                </a:cubicBezTo>
                <a:cubicBezTo>
                  <a:pt x="53" y="41"/>
                  <a:pt x="53" y="41"/>
                  <a:pt x="53" y="41"/>
                </a:cubicBezTo>
                <a:cubicBezTo>
                  <a:pt x="51" y="42"/>
                  <a:pt x="51" y="42"/>
                  <a:pt x="51" y="42"/>
                </a:cubicBezTo>
                <a:cubicBezTo>
                  <a:pt x="50" y="41"/>
                  <a:pt x="50" y="41"/>
                  <a:pt x="50" y="41"/>
                </a:cubicBezTo>
                <a:cubicBezTo>
                  <a:pt x="48" y="41"/>
                  <a:pt x="48" y="41"/>
                  <a:pt x="48" y="41"/>
                </a:cubicBezTo>
                <a:cubicBezTo>
                  <a:pt x="47" y="41"/>
                  <a:pt x="47" y="41"/>
                  <a:pt x="47" y="41"/>
                </a:cubicBezTo>
                <a:cubicBezTo>
                  <a:pt x="46" y="41"/>
                  <a:pt x="46" y="41"/>
                  <a:pt x="46" y="41"/>
                </a:cubicBezTo>
                <a:cubicBezTo>
                  <a:pt x="44" y="41"/>
                  <a:pt x="44" y="41"/>
                  <a:pt x="44" y="41"/>
                </a:cubicBezTo>
                <a:cubicBezTo>
                  <a:pt x="43" y="41"/>
                  <a:pt x="43" y="41"/>
                  <a:pt x="43" y="41"/>
                </a:cubicBezTo>
                <a:cubicBezTo>
                  <a:pt x="42" y="41"/>
                  <a:pt x="42" y="41"/>
                  <a:pt x="42" y="41"/>
                </a:cubicBezTo>
                <a:cubicBezTo>
                  <a:pt x="39" y="42"/>
                  <a:pt x="39" y="42"/>
                  <a:pt x="39" y="42"/>
                </a:cubicBezTo>
                <a:cubicBezTo>
                  <a:pt x="37" y="42"/>
                  <a:pt x="37" y="42"/>
                  <a:pt x="37" y="42"/>
                </a:cubicBezTo>
                <a:cubicBezTo>
                  <a:pt x="36" y="44"/>
                  <a:pt x="36" y="44"/>
                  <a:pt x="36" y="44"/>
                </a:cubicBezTo>
                <a:cubicBezTo>
                  <a:pt x="36" y="45"/>
                  <a:pt x="36" y="45"/>
                  <a:pt x="36" y="45"/>
                </a:cubicBezTo>
                <a:cubicBezTo>
                  <a:pt x="35" y="47"/>
                  <a:pt x="35" y="47"/>
                  <a:pt x="35" y="47"/>
                </a:cubicBezTo>
                <a:cubicBezTo>
                  <a:pt x="34" y="49"/>
                  <a:pt x="34" y="49"/>
                  <a:pt x="34" y="49"/>
                </a:cubicBezTo>
                <a:cubicBezTo>
                  <a:pt x="35" y="52"/>
                  <a:pt x="35" y="52"/>
                  <a:pt x="35" y="52"/>
                </a:cubicBezTo>
                <a:cubicBezTo>
                  <a:pt x="36" y="52"/>
                  <a:pt x="36" y="52"/>
                  <a:pt x="36" y="52"/>
                </a:cubicBezTo>
                <a:cubicBezTo>
                  <a:pt x="37" y="54"/>
                  <a:pt x="37" y="54"/>
                  <a:pt x="37" y="54"/>
                </a:cubicBezTo>
                <a:cubicBezTo>
                  <a:pt x="37" y="56"/>
                  <a:pt x="37" y="56"/>
                  <a:pt x="37" y="56"/>
                </a:cubicBezTo>
                <a:cubicBezTo>
                  <a:pt x="36" y="57"/>
                  <a:pt x="36" y="57"/>
                  <a:pt x="36" y="57"/>
                </a:cubicBezTo>
                <a:cubicBezTo>
                  <a:pt x="36" y="57"/>
                  <a:pt x="36" y="57"/>
                  <a:pt x="36" y="57"/>
                </a:cubicBezTo>
                <a:cubicBezTo>
                  <a:pt x="36" y="58"/>
                  <a:pt x="36" y="58"/>
                  <a:pt x="36" y="58"/>
                </a:cubicBezTo>
                <a:cubicBezTo>
                  <a:pt x="36" y="58"/>
                  <a:pt x="36" y="58"/>
                  <a:pt x="36" y="58"/>
                </a:cubicBezTo>
                <a:cubicBezTo>
                  <a:pt x="35" y="57"/>
                  <a:pt x="35" y="57"/>
                  <a:pt x="35" y="57"/>
                </a:cubicBezTo>
                <a:cubicBezTo>
                  <a:pt x="34" y="56"/>
                  <a:pt x="34" y="56"/>
                  <a:pt x="34" y="56"/>
                </a:cubicBezTo>
                <a:cubicBezTo>
                  <a:pt x="34" y="56"/>
                  <a:pt x="34" y="56"/>
                  <a:pt x="34" y="56"/>
                </a:cubicBezTo>
                <a:cubicBezTo>
                  <a:pt x="34" y="56"/>
                  <a:pt x="34" y="56"/>
                  <a:pt x="34" y="56"/>
                </a:cubicBezTo>
                <a:cubicBezTo>
                  <a:pt x="33" y="55"/>
                  <a:pt x="33" y="55"/>
                  <a:pt x="33" y="55"/>
                </a:cubicBezTo>
                <a:cubicBezTo>
                  <a:pt x="31" y="54"/>
                  <a:pt x="31" y="54"/>
                  <a:pt x="31" y="54"/>
                </a:cubicBezTo>
                <a:cubicBezTo>
                  <a:pt x="30" y="53"/>
                  <a:pt x="30" y="53"/>
                  <a:pt x="30" y="53"/>
                </a:cubicBezTo>
                <a:cubicBezTo>
                  <a:pt x="30" y="54"/>
                  <a:pt x="30" y="54"/>
                  <a:pt x="30" y="54"/>
                </a:cubicBezTo>
                <a:cubicBezTo>
                  <a:pt x="30" y="54"/>
                  <a:pt x="30" y="54"/>
                  <a:pt x="30" y="54"/>
                </a:cubicBezTo>
                <a:cubicBezTo>
                  <a:pt x="30" y="55"/>
                  <a:pt x="30" y="55"/>
                  <a:pt x="30" y="55"/>
                </a:cubicBezTo>
                <a:cubicBezTo>
                  <a:pt x="29" y="54"/>
                  <a:pt x="29" y="54"/>
                  <a:pt x="29" y="54"/>
                </a:cubicBezTo>
                <a:cubicBezTo>
                  <a:pt x="28" y="54"/>
                  <a:pt x="28" y="54"/>
                  <a:pt x="28" y="54"/>
                </a:cubicBezTo>
                <a:cubicBezTo>
                  <a:pt x="26" y="54"/>
                  <a:pt x="26" y="54"/>
                  <a:pt x="26" y="54"/>
                </a:cubicBezTo>
                <a:cubicBezTo>
                  <a:pt x="26" y="54"/>
                  <a:pt x="26" y="54"/>
                  <a:pt x="26" y="54"/>
                </a:cubicBezTo>
                <a:cubicBezTo>
                  <a:pt x="25" y="54"/>
                  <a:pt x="25" y="54"/>
                  <a:pt x="25" y="54"/>
                </a:cubicBezTo>
                <a:cubicBezTo>
                  <a:pt x="25" y="53"/>
                  <a:pt x="25" y="53"/>
                  <a:pt x="25" y="53"/>
                </a:cubicBezTo>
                <a:cubicBezTo>
                  <a:pt x="25" y="53"/>
                  <a:pt x="25" y="53"/>
                  <a:pt x="25" y="53"/>
                </a:cubicBezTo>
                <a:cubicBezTo>
                  <a:pt x="25" y="52"/>
                  <a:pt x="25" y="52"/>
                  <a:pt x="25" y="52"/>
                </a:cubicBezTo>
                <a:cubicBezTo>
                  <a:pt x="25" y="50"/>
                  <a:pt x="25" y="50"/>
                  <a:pt x="25" y="50"/>
                </a:cubicBezTo>
                <a:cubicBezTo>
                  <a:pt x="25" y="49"/>
                  <a:pt x="25" y="49"/>
                  <a:pt x="25" y="49"/>
                </a:cubicBezTo>
                <a:cubicBezTo>
                  <a:pt x="25" y="49"/>
                  <a:pt x="25" y="49"/>
                  <a:pt x="25" y="49"/>
                </a:cubicBezTo>
                <a:cubicBezTo>
                  <a:pt x="24" y="48"/>
                  <a:pt x="24" y="48"/>
                  <a:pt x="24" y="48"/>
                </a:cubicBezTo>
                <a:cubicBezTo>
                  <a:pt x="24" y="48"/>
                  <a:pt x="24" y="48"/>
                  <a:pt x="24" y="48"/>
                </a:cubicBezTo>
                <a:cubicBezTo>
                  <a:pt x="23" y="48"/>
                  <a:pt x="23" y="48"/>
                  <a:pt x="23" y="48"/>
                </a:cubicBezTo>
                <a:cubicBezTo>
                  <a:pt x="23" y="48"/>
                  <a:pt x="23" y="48"/>
                  <a:pt x="23" y="48"/>
                </a:cubicBezTo>
                <a:cubicBezTo>
                  <a:pt x="22" y="49"/>
                  <a:pt x="22" y="49"/>
                  <a:pt x="22" y="49"/>
                </a:cubicBezTo>
                <a:cubicBezTo>
                  <a:pt x="21" y="49"/>
                  <a:pt x="21" y="49"/>
                  <a:pt x="21" y="49"/>
                </a:cubicBezTo>
                <a:cubicBezTo>
                  <a:pt x="21" y="48"/>
                  <a:pt x="21" y="48"/>
                  <a:pt x="21" y="48"/>
                </a:cubicBezTo>
                <a:cubicBezTo>
                  <a:pt x="20" y="49"/>
                  <a:pt x="20" y="49"/>
                  <a:pt x="20" y="49"/>
                </a:cubicBezTo>
                <a:cubicBezTo>
                  <a:pt x="19" y="49"/>
                  <a:pt x="19" y="49"/>
                  <a:pt x="19" y="49"/>
                </a:cubicBezTo>
                <a:cubicBezTo>
                  <a:pt x="19" y="49"/>
                  <a:pt x="19" y="49"/>
                  <a:pt x="19" y="49"/>
                </a:cubicBezTo>
                <a:cubicBezTo>
                  <a:pt x="19" y="49"/>
                  <a:pt x="19" y="49"/>
                  <a:pt x="19" y="49"/>
                </a:cubicBezTo>
                <a:cubicBezTo>
                  <a:pt x="19" y="50"/>
                  <a:pt x="19" y="50"/>
                  <a:pt x="19" y="50"/>
                </a:cubicBezTo>
                <a:cubicBezTo>
                  <a:pt x="20" y="50"/>
                  <a:pt x="20" y="50"/>
                  <a:pt x="20" y="50"/>
                </a:cubicBezTo>
                <a:cubicBezTo>
                  <a:pt x="20" y="51"/>
                  <a:pt x="20" y="51"/>
                  <a:pt x="20" y="51"/>
                </a:cubicBezTo>
                <a:cubicBezTo>
                  <a:pt x="19" y="52"/>
                  <a:pt x="19" y="52"/>
                  <a:pt x="19" y="52"/>
                </a:cubicBezTo>
                <a:cubicBezTo>
                  <a:pt x="19" y="54"/>
                  <a:pt x="19" y="54"/>
                  <a:pt x="19" y="54"/>
                </a:cubicBezTo>
                <a:cubicBezTo>
                  <a:pt x="19" y="55"/>
                  <a:pt x="19" y="55"/>
                  <a:pt x="19" y="55"/>
                </a:cubicBezTo>
                <a:cubicBezTo>
                  <a:pt x="20" y="55"/>
                  <a:pt x="20" y="55"/>
                  <a:pt x="20" y="55"/>
                </a:cubicBezTo>
                <a:cubicBezTo>
                  <a:pt x="19" y="57"/>
                  <a:pt x="19" y="57"/>
                  <a:pt x="19" y="57"/>
                </a:cubicBezTo>
                <a:cubicBezTo>
                  <a:pt x="19" y="58"/>
                  <a:pt x="19" y="58"/>
                  <a:pt x="19" y="58"/>
                </a:cubicBezTo>
                <a:cubicBezTo>
                  <a:pt x="18" y="59"/>
                  <a:pt x="18" y="59"/>
                  <a:pt x="18" y="59"/>
                </a:cubicBezTo>
                <a:cubicBezTo>
                  <a:pt x="17" y="60"/>
                  <a:pt x="17" y="60"/>
                  <a:pt x="17" y="60"/>
                </a:cubicBezTo>
                <a:cubicBezTo>
                  <a:pt x="17" y="65"/>
                  <a:pt x="17" y="65"/>
                  <a:pt x="17" y="65"/>
                </a:cubicBezTo>
                <a:cubicBezTo>
                  <a:pt x="16" y="67"/>
                  <a:pt x="16" y="67"/>
                  <a:pt x="16" y="67"/>
                </a:cubicBezTo>
                <a:cubicBezTo>
                  <a:pt x="16" y="68"/>
                  <a:pt x="16" y="68"/>
                  <a:pt x="16" y="68"/>
                </a:cubicBezTo>
                <a:cubicBezTo>
                  <a:pt x="15" y="70"/>
                  <a:pt x="15" y="70"/>
                  <a:pt x="15" y="70"/>
                </a:cubicBezTo>
                <a:cubicBezTo>
                  <a:pt x="16" y="70"/>
                  <a:pt x="16" y="70"/>
                  <a:pt x="16" y="70"/>
                </a:cubicBezTo>
                <a:cubicBezTo>
                  <a:pt x="16" y="70"/>
                  <a:pt x="16" y="70"/>
                  <a:pt x="16" y="70"/>
                </a:cubicBezTo>
                <a:cubicBezTo>
                  <a:pt x="15" y="71"/>
                  <a:pt x="15" y="71"/>
                  <a:pt x="15" y="71"/>
                </a:cubicBezTo>
                <a:cubicBezTo>
                  <a:pt x="15" y="71"/>
                  <a:pt x="15" y="71"/>
                  <a:pt x="15" y="71"/>
                </a:cubicBezTo>
                <a:cubicBezTo>
                  <a:pt x="16" y="73"/>
                  <a:pt x="16" y="73"/>
                  <a:pt x="16" y="73"/>
                </a:cubicBezTo>
                <a:cubicBezTo>
                  <a:pt x="16" y="74"/>
                  <a:pt x="16" y="74"/>
                  <a:pt x="16" y="74"/>
                </a:cubicBezTo>
                <a:cubicBezTo>
                  <a:pt x="17" y="75"/>
                  <a:pt x="17" y="75"/>
                  <a:pt x="17" y="75"/>
                </a:cubicBezTo>
                <a:cubicBezTo>
                  <a:pt x="16" y="77"/>
                  <a:pt x="16" y="77"/>
                  <a:pt x="16" y="77"/>
                </a:cubicBezTo>
                <a:cubicBezTo>
                  <a:pt x="17" y="77"/>
                  <a:pt x="17" y="77"/>
                  <a:pt x="17" y="77"/>
                </a:cubicBezTo>
                <a:cubicBezTo>
                  <a:pt x="17" y="77"/>
                  <a:pt x="17" y="77"/>
                  <a:pt x="17" y="77"/>
                </a:cubicBezTo>
                <a:cubicBezTo>
                  <a:pt x="17" y="76"/>
                  <a:pt x="17" y="76"/>
                  <a:pt x="17" y="76"/>
                </a:cubicBezTo>
                <a:cubicBezTo>
                  <a:pt x="18" y="76"/>
                  <a:pt x="18" y="76"/>
                  <a:pt x="18" y="76"/>
                </a:cubicBezTo>
                <a:cubicBezTo>
                  <a:pt x="18" y="76"/>
                  <a:pt x="18" y="76"/>
                  <a:pt x="18" y="76"/>
                </a:cubicBezTo>
                <a:cubicBezTo>
                  <a:pt x="19" y="76"/>
                  <a:pt x="19" y="76"/>
                  <a:pt x="19" y="76"/>
                </a:cubicBezTo>
                <a:cubicBezTo>
                  <a:pt x="20" y="77"/>
                  <a:pt x="20" y="77"/>
                  <a:pt x="20" y="77"/>
                </a:cubicBezTo>
                <a:cubicBezTo>
                  <a:pt x="20" y="78"/>
                  <a:pt x="20" y="78"/>
                  <a:pt x="20" y="78"/>
                </a:cubicBezTo>
                <a:cubicBezTo>
                  <a:pt x="21" y="79"/>
                  <a:pt x="21" y="79"/>
                  <a:pt x="21" y="79"/>
                </a:cubicBezTo>
                <a:cubicBezTo>
                  <a:pt x="20" y="80"/>
                  <a:pt x="20" y="80"/>
                  <a:pt x="20" y="80"/>
                </a:cubicBezTo>
                <a:cubicBezTo>
                  <a:pt x="21" y="80"/>
                  <a:pt x="21" y="80"/>
                  <a:pt x="21" y="80"/>
                </a:cubicBezTo>
                <a:cubicBezTo>
                  <a:pt x="22" y="82"/>
                  <a:pt x="22" y="82"/>
                  <a:pt x="22" y="82"/>
                </a:cubicBezTo>
                <a:cubicBezTo>
                  <a:pt x="22" y="82"/>
                  <a:pt x="22" y="82"/>
                  <a:pt x="22" y="82"/>
                </a:cubicBezTo>
                <a:cubicBezTo>
                  <a:pt x="22" y="81"/>
                  <a:pt x="22" y="81"/>
                  <a:pt x="22" y="81"/>
                </a:cubicBezTo>
                <a:cubicBezTo>
                  <a:pt x="23" y="80"/>
                  <a:pt x="23" y="80"/>
                  <a:pt x="23" y="80"/>
                </a:cubicBezTo>
                <a:cubicBezTo>
                  <a:pt x="23" y="81"/>
                  <a:pt x="23" y="81"/>
                  <a:pt x="23" y="81"/>
                </a:cubicBezTo>
                <a:cubicBezTo>
                  <a:pt x="24" y="82"/>
                  <a:pt x="24" y="82"/>
                  <a:pt x="24" y="82"/>
                </a:cubicBezTo>
                <a:cubicBezTo>
                  <a:pt x="24" y="83"/>
                  <a:pt x="24" y="83"/>
                  <a:pt x="24" y="83"/>
                </a:cubicBezTo>
                <a:cubicBezTo>
                  <a:pt x="24" y="84"/>
                  <a:pt x="24" y="84"/>
                  <a:pt x="24" y="84"/>
                </a:cubicBezTo>
                <a:cubicBezTo>
                  <a:pt x="25" y="86"/>
                  <a:pt x="25" y="86"/>
                  <a:pt x="25" y="86"/>
                </a:cubicBezTo>
                <a:cubicBezTo>
                  <a:pt x="24" y="87"/>
                  <a:pt x="24" y="87"/>
                  <a:pt x="24" y="87"/>
                </a:cubicBezTo>
                <a:cubicBezTo>
                  <a:pt x="24" y="87"/>
                  <a:pt x="24" y="87"/>
                  <a:pt x="24" y="87"/>
                </a:cubicBezTo>
                <a:cubicBezTo>
                  <a:pt x="24" y="87"/>
                  <a:pt x="24" y="87"/>
                  <a:pt x="24" y="87"/>
                </a:cubicBezTo>
                <a:cubicBezTo>
                  <a:pt x="23" y="87"/>
                  <a:pt x="23" y="87"/>
                  <a:pt x="23" y="87"/>
                </a:cubicBezTo>
                <a:cubicBezTo>
                  <a:pt x="23" y="88"/>
                  <a:pt x="23" y="88"/>
                  <a:pt x="23" y="88"/>
                </a:cubicBezTo>
                <a:cubicBezTo>
                  <a:pt x="25" y="89"/>
                  <a:pt x="25" y="89"/>
                  <a:pt x="25" y="89"/>
                </a:cubicBezTo>
                <a:cubicBezTo>
                  <a:pt x="25" y="88"/>
                  <a:pt x="25" y="88"/>
                  <a:pt x="25" y="88"/>
                </a:cubicBezTo>
                <a:cubicBezTo>
                  <a:pt x="25" y="88"/>
                  <a:pt x="25" y="88"/>
                  <a:pt x="25" y="88"/>
                </a:cubicBezTo>
                <a:cubicBezTo>
                  <a:pt x="25" y="89"/>
                  <a:pt x="25" y="89"/>
                  <a:pt x="25" y="89"/>
                </a:cubicBezTo>
                <a:cubicBezTo>
                  <a:pt x="26" y="90"/>
                  <a:pt x="26" y="90"/>
                  <a:pt x="26" y="90"/>
                </a:cubicBezTo>
                <a:cubicBezTo>
                  <a:pt x="28" y="92"/>
                  <a:pt x="28" y="92"/>
                  <a:pt x="28" y="92"/>
                </a:cubicBezTo>
                <a:cubicBezTo>
                  <a:pt x="29" y="92"/>
                  <a:pt x="29" y="92"/>
                  <a:pt x="29" y="92"/>
                </a:cubicBezTo>
                <a:cubicBezTo>
                  <a:pt x="29" y="92"/>
                  <a:pt x="29" y="92"/>
                  <a:pt x="29" y="92"/>
                </a:cubicBezTo>
                <a:cubicBezTo>
                  <a:pt x="30" y="92"/>
                  <a:pt x="30" y="92"/>
                  <a:pt x="30" y="92"/>
                </a:cubicBezTo>
                <a:cubicBezTo>
                  <a:pt x="32" y="93"/>
                  <a:pt x="32" y="93"/>
                  <a:pt x="32" y="93"/>
                </a:cubicBezTo>
                <a:cubicBezTo>
                  <a:pt x="32" y="95"/>
                  <a:pt x="32" y="95"/>
                  <a:pt x="32" y="95"/>
                </a:cubicBezTo>
                <a:cubicBezTo>
                  <a:pt x="33" y="95"/>
                  <a:pt x="33" y="95"/>
                  <a:pt x="33" y="95"/>
                </a:cubicBezTo>
                <a:cubicBezTo>
                  <a:pt x="34" y="96"/>
                  <a:pt x="34" y="96"/>
                  <a:pt x="34" y="96"/>
                </a:cubicBezTo>
                <a:cubicBezTo>
                  <a:pt x="34" y="97"/>
                  <a:pt x="34" y="97"/>
                  <a:pt x="34" y="97"/>
                </a:cubicBezTo>
                <a:cubicBezTo>
                  <a:pt x="34" y="97"/>
                  <a:pt x="34" y="97"/>
                  <a:pt x="34" y="97"/>
                </a:cubicBezTo>
                <a:cubicBezTo>
                  <a:pt x="34" y="98"/>
                  <a:pt x="34" y="98"/>
                  <a:pt x="34" y="98"/>
                </a:cubicBezTo>
                <a:cubicBezTo>
                  <a:pt x="33" y="99"/>
                  <a:pt x="33" y="99"/>
                  <a:pt x="33" y="99"/>
                </a:cubicBezTo>
                <a:cubicBezTo>
                  <a:pt x="32" y="98"/>
                  <a:pt x="32" y="98"/>
                  <a:pt x="32" y="98"/>
                </a:cubicBezTo>
                <a:cubicBezTo>
                  <a:pt x="31" y="98"/>
                  <a:pt x="31" y="98"/>
                  <a:pt x="31" y="98"/>
                </a:cubicBezTo>
                <a:cubicBezTo>
                  <a:pt x="30" y="99"/>
                  <a:pt x="30" y="99"/>
                  <a:pt x="30" y="99"/>
                </a:cubicBezTo>
                <a:cubicBezTo>
                  <a:pt x="28" y="99"/>
                  <a:pt x="28" y="99"/>
                  <a:pt x="28" y="99"/>
                </a:cubicBezTo>
                <a:cubicBezTo>
                  <a:pt x="28" y="98"/>
                  <a:pt x="28" y="98"/>
                  <a:pt x="28" y="98"/>
                </a:cubicBezTo>
                <a:cubicBezTo>
                  <a:pt x="29" y="97"/>
                  <a:pt x="29" y="97"/>
                  <a:pt x="29" y="97"/>
                </a:cubicBezTo>
                <a:cubicBezTo>
                  <a:pt x="29" y="95"/>
                  <a:pt x="29" y="95"/>
                  <a:pt x="29" y="95"/>
                </a:cubicBezTo>
                <a:cubicBezTo>
                  <a:pt x="28" y="95"/>
                  <a:pt x="28" y="95"/>
                  <a:pt x="28" y="95"/>
                </a:cubicBezTo>
                <a:cubicBezTo>
                  <a:pt x="27" y="95"/>
                  <a:pt x="27" y="95"/>
                  <a:pt x="27" y="95"/>
                </a:cubicBezTo>
                <a:cubicBezTo>
                  <a:pt x="27" y="94"/>
                  <a:pt x="27" y="94"/>
                  <a:pt x="27" y="94"/>
                </a:cubicBezTo>
                <a:cubicBezTo>
                  <a:pt x="25" y="93"/>
                  <a:pt x="25" y="93"/>
                  <a:pt x="25" y="93"/>
                </a:cubicBezTo>
                <a:cubicBezTo>
                  <a:pt x="24" y="92"/>
                  <a:pt x="24" y="92"/>
                  <a:pt x="24" y="92"/>
                </a:cubicBezTo>
                <a:cubicBezTo>
                  <a:pt x="23" y="93"/>
                  <a:pt x="23" y="93"/>
                  <a:pt x="23" y="93"/>
                </a:cubicBezTo>
                <a:cubicBezTo>
                  <a:pt x="23" y="95"/>
                  <a:pt x="23" y="95"/>
                  <a:pt x="23" y="95"/>
                </a:cubicBezTo>
                <a:cubicBezTo>
                  <a:pt x="22" y="94"/>
                  <a:pt x="22" y="94"/>
                  <a:pt x="22" y="94"/>
                </a:cubicBezTo>
                <a:cubicBezTo>
                  <a:pt x="19" y="92"/>
                  <a:pt x="19" y="92"/>
                  <a:pt x="19" y="92"/>
                </a:cubicBezTo>
                <a:cubicBezTo>
                  <a:pt x="19" y="92"/>
                  <a:pt x="19" y="92"/>
                  <a:pt x="19" y="92"/>
                </a:cubicBezTo>
                <a:cubicBezTo>
                  <a:pt x="20" y="91"/>
                  <a:pt x="20" y="91"/>
                  <a:pt x="20" y="91"/>
                </a:cubicBezTo>
                <a:cubicBezTo>
                  <a:pt x="20" y="90"/>
                  <a:pt x="20" y="90"/>
                  <a:pt x="20" y="90"/>
                </a:cubicBezTo>
                <a:cubicBezTo>
                  <a:pt x="19" y="90"/>
                  <a:pt x="19" y="90"/>
                  <a:pt x="19" y="90"/>
                </a:cubicBezTo>
                <a:cubicBezTo>
                  <a:pt x="19" y="89"/>
                  <a:pt x="19" y="89"/>
                  <a:pt x="19" y="89"/>
                </a:cubicBezTo>
                <a:cubicBezTo>
                  <a:pt x="18" y="89"/>
                  <a:pt x="18" y="89"/>
                  <a:pt x="18" y="89"/>
                </a:cubicBezTo>
                <a:cubicBezTo>
                  <a:pt x="18" y="88"/>
                  <a:pt x="18" y="88"/>
                  <a:pt x="18" y="88"/>
                </a:cubicBezTo>
                <a:cubicBezTo>
                  <a:pt x="16" y="86"/>
                  <a:pt x="16" y="86"/>
                  <a:pt x="16" y="86"/>
                </a:cubicBezTo>
                <a:cubicBezTo>
                  <a:pt x="15" y="86"/>
                  <a:pt x="15" y="86"/>
                  <a:pt x="15" y="86"/>
                </a:cubicBezTo>
                <a:cubicBezTo>
                  <a:pt x="14" y="84"/>
                  <a:pt x="14" y="84"/>
                  <a:pt x="14" y="84"/>
                </a:cubicBezTo>
                <a:cubicBezTo>
                  <a:pt x="13" y="84"/>
                  <a:pt x="13" y="84"/>
                  <a:pt x="13" y="84"/>
                </a:cubicBezTo>
                <a:cubicBezTo>
                  <a:pt x="13" y="83"/>
                  <a:pt x="13" y="83"/>
                  <a:pt x="13" y="83"/>
                </a:cubicBezTo>
                <a:cubicBezTo>
                  <a:pt x="13" y="82"/>
                  <a:pt x="13" y="82"/>
                  <a:pt x="13" y="82"/>
                </a:cubicBezTo>
                <a:cubicBezTo>
                  <a:pt x="13" y="82"/>
                  <a:pt x="13" y="82"/>
                  <a:pt x="13" y="82"/>
                </a:cubicBezTo>
                <a:cubicBezTo>
                  <a:pt x="11" y="82"/>
                  <a:pt x="11" y="82"/>
                  <a:pt x="11" y="82"/>
                </a:cubicBezTo>
                <a:cubicBezTo>
                  <a:pt x="12" y="83"/>
                  <a:pt x="12" y="83"/>
                  <a:pt x="12" y="83"/>
                </a:cubicBezTo>
                <a:cubicBezTo>
                  <a:pt x="11" y="83"/>
                  <a:pt x="11" y="83"/>
                  <a:pt x="11" y="83"/>
                </a:cubicBezTo>
                <a:cubicBezTo>
                  <a:pt x="10" y="82"/>
                  <a:pt x="10" y="82"/>
                  <a:pt x="10" y="82"/>
                </a:cubicBezTo>
                <a:cubicBezTo>
                  <a:pt x="10" y="80"/>
                  <a:pt x="10" y="80"/>
                  <a:pt x="10" y="80"/>
                </a:cubicBezTo>
                <a:cubicBezTo>
                  <a:pt x="10" y="80"/>
                  <a:pt x="10" y="80"/>
                  <a:pt x="10" y="80"/>
                </a:cubicBezTo>
                <a:cubicBezTo>
                  <a:pt x="10" y="78"/>
                  <a:pt x="10" y="78"/>
                  <a:pt x="10" y="78"/>
                </a:cubicBezTo>
                <a:cubicBezTo>
                  <a:pt x="11" y="78"/>
                  <a:pt x="11" y="78"/>
                  <a:pt x="11" y="78"/>
                </a:cubicBezTo>
                <a:cubicBezTo>
                  <a:pt x="11" y="75"/>
                  <a:pt x="11" y="75"/>
                  <a:pt x="11" y="75"/>
                </a:cubicBezTo>
                <a:cubicBezTo>
                  <a:pt x="11" y="75"/>
                  <a:pt x="11" y="75"/>
                  <a:pt x="11" y="75"/>
                </a:cubicBezTo>
                <a:cubicBezTo>
                  <a:pt x="12" y="74"/>
                  <a:pt x="12" y="74"/>
                  <a:pt x="12" y="74"/>
                </a:cubicBezTo>
                <a:cubicBezTo>
                  <a:pt x="11" y="74"/>
                  <a:pt x="11" y="74"/>
                  <a:pt x="11" y="74"/>
                </a:cubicBezTo>
                <a:cubicBezTo>
                  <a:pt x="12" y="73"/>
                  <a:pt x="12" y="73"/>
                  <a:pt x="12" y="73"/>
                </a:cubicBezTo>
                <a:cubicBezTo>
                  <a:pt x="12" y="72"/>
                  <a:pt x="12" y="72"/>
                  <a:pt x="12" y="72"/>
                </a:cubicBezTo>
                <a:cubicBezTo>
                  <a:pt x="13" y="71"/>
                  <a:pt x="13" y="71"/>
                  <a:pt x="13" y="71"/>
                </a:cubicBezTo>
                <a:cubicBezTo>
                  <a:pt x="12" y="71"/>
                  <a:pt x="12" y="71"/>
                  <a:pt x="12" y="71"/>
                </a:cubicBezTo>
                <a:cubicBezTo>
                  <a:pt x="12" y="69"/>
                  <a:pt x="12" y="69"/>
                  <a:pt x="12" y="69"/>
                </a:cubicBezTo>
                <a:cubicBezTo>
                  <a:pt x="12" y="68"/>
                  <a:pt x="12" y="68"/>
                  <a:pt x="12" y="68"/>
                </a:cubicBezTo>
                <a:cubicBezTo>
                  <a:pt x="13" y="67"/>
                  <a:pt x="13" y="67"/>
                  <a:pt x="13" y="67"/>
                </a:cubicBezTo>
                <a:cubicBezTo>
                  <a:pt x="13" y="65"/>
                  <a:pt x="13" y="65"/>
                  <a:pt x="13" y="65"/>
                </a:cubicBezTo>
                <a:cubicBezTo>
                  <a:pt x="15" y="64"/>
                  <a:pt x="15" y="64"/>
                  <a:pt x="15" y="64"/>
                </a:cubicBezTo>
                <a:cubicBezTo>
                  <a:pt x="16" y="61"/>
                  <a:pt x="16" y="61"/>
                  <a:pt x="16" y="61"/>
                </a:cubicBezTo>
                <a:cubicBezTo>
                  <a:pt x="17" y="60"/>
                  <a:pt x="17" y="60"/>
                  <a:pt x="17" y="60"/>
                </a:cubicBezTo>
                <a:cubicBezTo>
                  <a:pt x="17" y="58"/>
                  <a:pt x="17" y="58"/>
                  <a:pt x="17" y="58"/>
                </a:cubicBezTo>
                <a:cubicBezTo>
                  <a:pt x="16" y="57"/>
                  <a:pt x="16" y="57"/>
                  <a:pt x="16" y="57"/>
                </a:cubicBezTo>
                <a:cubicBezTo>
                  <a:pt x="16" y="55"/>
                  <a:pt x="16" y="55"/>
                  <a:pt x="16" y="55"/>
                </a:cubicBezTo>
                <a:cubicBezTo>
                  <a:pt x="16" y="54"/>
                  <a:pt x="16" y="54"/>
                  <a:pt x="16" y="54"/>
                </a:cubicBezTo>
                <a:cubicBezTo>
                  <a:pt x="15" y="52"/>
                  <a:pt x="15" y="52"/>
                  <a:pt x="15" y="52"/>
                </a:cubicBezTo>
                <a:cubicBezTo>
                  <a:pt x="15" y="51"/>
                  <a:pt x="15" y="51"/>
                  <a:pt x="15" y="51"/>
                </a:cubicBezTo>
                <a:cubicBezTo>
                  <a:pt x="15" y="50"/>
                  <a:pt x="15" y="50"/>
                  <a:pt x="15" y="50"/>
                </a:cubicBezTo>
                <a:cubicBezTo>
                  <a:pt x="14" y="48"/>
                  <a:pt x="14" y="48"/>
                  <a:pt x="14" y="48"/>
                </a:cubicBezTo>
                <a:cubicBezTo>
                  <a:pt x="15" y="47"/>
                  <a:pt x="15" y="47"/>
                  <a:pt x="15" y="47"/>
                </a:cubicBezTo>
                <a:cubicBezTo>
                  <a:pt x="14" y="45"/>
                  <a:pt x="14" y="45"/>
                  <a:pt x="14" y="45"/>
                </a:cubicBezTo>
                <a:cubicBezTo>
                  <a:pt x="12" y="43"/>
                  <a:pt x="12" y="43"/>
                  <a:pt x="12" y="43"/>
                </a:cubicBezTo>
                <a:cubicBezTo>
                  <a:pt x="10" y="42"/>
                  <a:pt x="10" y="42"/>
                  <a:pt x="10" y="42"/>
                </a:cubicBezTo>
                <a:cubicBezTo>
                  <a:pt x="9" y="40"/>
                  <a:pt x="9" y="40"/>
                  <a:pt x="9" y="40"/>
                </a:cubicBezTo>
                <a:cubicBezTo>
                  <a:pt x="9" y="38"/>
                  <a:pt x="9" y="38"/>
                  <a:pt x="9" y="38"/>
                </a:cubicBezTo>
                <a:cubicBezTo>
                  <a:pt x="8" y="36"/>
                  <a:pt x="8" y="36"/>
                  <a:pt x="8" y="36"/>
                </a:cubicBezTo>
                <a:cubicBezTo>
                  <a:pt x="9" y="35"/>
                  <a:pt x="9" y="35"/>
                  <a:pt x="9" y="35"/>
                </a:cubicBezTo>
                <a:cubicBezTo>
                  <a:pt x="9" y="34"/>
                  <a:pt x="9" y="34"/>
                  <a:pt x="9" y="34"/>
                </a:cubicBezTo>
                <a:cubicBezTo>
                  <a:pt x="9" y="31"/>
                  <a:pt x="9" y="31"/>
                  <a:pt x="9" y="31"/>
                </a:cubicBezTo>
                <a:cubicBezTo>
                  <a:pt x="9" y="30"/>
                  <a:pt x="9" y="30"/>
                  <a:pt x="9" y="30"/>
                </a:cubicBezTo>
                <a:cubicBezTo>
                  <a:pt x="10" y="30"/>
                  <a:pt x="10" y="30"/>
                  <a:pt x="10" y="30"/>
                </a:cubicBezTo>
                <a:cubicBezTo>
                  <a:pt x="10" y="28"/>
                  <a:pt x="10" y="28"/>
                  <a:pt x="10" y="28"/>
                </a:cubicBezTo>
                <a:cubicBezTo>
                  <a:pt x="9" y="28"/>
                  <a:pt x="9" y="28"/>
                  <a:pt x="9" y="28"/>
                </a:cubicBezTo>
                <a:cubicBezTo>
                  <a:pt x="9" y="26"/>
                  <a:pt x="9" y="26"/>
                  <a:pt x="9" y="26"/>
                </a:cubicBezTo>
                <a:cubicBezTo>
                  <a:pt x="8" y="25"/>
                  <a:pt x="8" y="25"/>
                  <a:pt x="8" y="25"/>
                </a:cubicBezTo>
                <a:cubicBezTo>
                  <a:pt x="7" y="24"/>
                  <a:pt x="7" y="24"/>
                  <a:pt x="7" y="24"/>
                </a:cubicBezTo>
                <a:cubicBezTo>
                  <a:pt x="5" y="21"/>
                  <a:pt x="5" y="21"/>
                  <a:pt x="5" y="21"/>
                </a:cubicBezTo>
                <a:cubicBezTo>
                  <a:pt x="4" y="20"/>
                  <a:pt x="4" y="20"/>
                  <a:pt x="4" y="20"/>
                </a:cubicBezTo>
                <a:cubicBezTo>
                  <a:pt x="3" y="19"/>
                  <a:pt x="3" y="19"/>
                  <a:pt x="3" y="19"/>
                </a:cubicBezTo>
                <a:cubicBezTo>
                  <a:pt x="3" y="18"/>
                  <a:pt x="3" y="18"/>
                  <a:pt x="3" y="18"/>
                </a:cubicBezTo>
                <a:cubicBezTo>
                  <a:pt x="1" y="16"/>
                  <a:pt x="1" y="16"/>
                  <a:pt x="1" y="16"/>
                </a:cubicBezTo>
                <a:cubicBezTo>
                  <a:pt x="1" y="16"/>
                  <a:pt x="1" y="16"/>
                  <a:pt x="1" y="16"/>
                </a:cubicBezTo>
                <a:cubicBezTo>
                  <a:pt x="0" y="15"/>
                  <a:pt x="0" y="15"/>
                  <a:pt x="0" y="15"/>
                </a:cubicBezTo>
                <a:cubicBezTo>
                  <a:pt x="2" y="15"/>
                  <a:pt x="2" y="15"/>
                  <a:pt x="2" y="15"/>
                </a:cubicBezTo>
                <a:cubicBezTo>
                  <a:pt x="3" y="14"/>
                  <a:pt x="3" y="14"/>
                  <a:pt x="3" y="14"/>
                </a:cubicBezTo>
                <a:cubicBezTo>
                  <a:pt x="3" y="13"/>
                  <a:pt x="3" y="13"/>
                  <a:pt x="3" y="13"/>
                </a:cubicBezTo>
                <a:cubicBezTo>
                  <a:pt x="3" y="11"/>
                  <a:pt x="3" y="11"/>
                  <a:pt x="3" y="11"/>
                </a:cubicBezTo>
                <a:cubicBezTo>
                  <a:pt x="4" y="10"/>
                  <a:pt x="4" y="10"/>
                  <a:pt x="4" y="10"/>
                </a:cubicBezTo>
                <a:cubicBezTo>
                  <a:pt x="3" y="8"/>
                  <a:pt x="3" y="8"/>
                  <a:pt x="3" y="8"/>
                </a:cubicBezTo>
                <a:cubicBezTo>
                  <a:pt x="4" y="6"/>
                  <a:pt x="4" y="6"/>
                  <a:pt x="4" y="6"/>
                </a:cubicBezTo>
                <a:cubicBezTo>
                  <a:pt x="7" y="7"/>
                  <a:pt x="7" y="7"/>
                  <a:pt x="7" y="7"/>
                </a:cubicBezTo>
                <a:cubicBezTo>
                  <a:pt x="8" y="6"/>
                  <a:pt x="8" y="6"/>
                  <a:pt x="8" y="6"/>
                </a:cubicBezTo>
                <a:cubicBezTo>
                  <a:pt x="10" y="6"/>
                  <a:pt x="10" y="6"/>
                  <a:pt x="10" y="6"/>
                </a:cubicBezTo>
                <a:cubicBezTo>
                  <a:pt x="10" y="6"/>
                  <a:pt x="10" y="6"/>
                  <a:pt x="10" y="6"/>
                </a:cubicBezTo>
                <a:cubicBezTo>
                  <a:pt x="10" y="4"/>
                  <a:pt x="10" y="4"/>
                  <a:pt x="10" y="4"/>
                </a:cubicBezTo>
                <a:cubicBezTo>
                  <a:pt x="11" y="3"/>
                  <a:pt x="11" y="3"/>
                  <a:pt x="11" y="3"/>
                </a:cubicBezTo>
                <a:cubicBezTo>
                  <a:pt x="12" y="3"/>
                  <a:pt x="12" y="3"/>
                  <a:pt x="12" y="3"/>
                </a:cubicBezTo>
                <a:cubicBezTo>
                  <a:pt x="13" y="3"/>
                  <a:pt x="13" y="3"/>
                  <a:pt x="13" y="3"/>
                </a:cubicBezTo>
                <a:cubicBezTo>
                  <a:pt x="12" y="2"/>
                  <a:pt x="12" y="2"/>
                  <a:pt x="12" y="2"/>
                </a:cubicBezTo>
                <a:cubicBezTo>
                  <a:pt x="12" y="1"/>
                  <a:pt x="12" y="1"/>
                  <a:pt x="12" y="1"/>
                </a:cubicBezTo>
                <a:cubicBezTo>
                  <a:pt x="14" y="1"/>
                  <a:pt x="14" y="1"/>
                  <a:pt x="14" y="1"/>
                </a:cubicBezTo>
                <a:cubicBezTo>
                  <a:pt x="15" y="1"/>
                  <a:pt x="15" y="1"/>
                  <a:pt x="15" y="1"/>
                </a:cubicBezTo>
                <a:cubicBezTo>
                  <a:pt x="15" y="0"/>
                  <a:pt x="15" y="0"/>
                  <a:pt x="15" y="0"/>
                </a:cubicBezTo>
                <a:close/>
                <a:moveTo>
                  <a:pt x="19" y="93"/>
                </a:moveTo>
                <a:cubicBezTo>
                  <a:pt x="19" y="94"/>
                  <a:pt x="19" y="94"/>
                  <a:pt x="19" y="94"/>
                </a:cubicBezTo>
                <a:cubicBezTo>
                  <a:pt x="20" y="94"/>
                  <a:pt x="20" y="94"/>
                  <a:pt x="20" y="94"/>
                </a:cubicBezTo>
                <a:cubicBezTo>
                  <a:pt x="20" y="93"/>
                  <a:pt x="20" y="93"/>
                  <a:pt x="20" y="93"/>
                </a:cubicBezTo>
                <a:cubicBezTo>
                  <a:pt x="19" y="93"/>
                  <a:pt x="19" y="93"/>
                  <a:pt x="19" y="93"/>
                </a:cubicBezTo>
                <a:cubicBezTo>
                  <a:pt x="19" y="93"/>
                  <a:pt x="19" y="93"/>
                  <a:pt x="19" y="93"/>
                </a:cubicBezTo>
                <a:close/>
                <a:moveTo>
                  <a:pt x="15" y="87"/>
                </a:moveTo>
                <a:cubicBezTo>
                  <a:pt x="15" y="88"/>
                  <a:pt x="15" y="88"/>
                  <a:pt x="15" y="88"/>
                </a:cubicBezTo>
                <a:cubicBezTo>
                  <a:pt x="15" y="87"/>
                  <a:pt x="15" y="87"/>
                  <a:pt x="15" y="87"/>
                </a:cubicBezTo>
                <a:cubicBezTo>
                  <a:pt x="15" y="87"/>
                  <a:pt x="15" y="87"/>
                  <a:pt x="15" y="87"/>
                </a:cubicBezTo>
                <a:cubicBezTo>
                  <a:pt x="15" y="87"/>
                  <a:pt x="15" y="87"/>
                  <a:pt x="15" y="87"/>
                </a:cubicBezTo>
                <a:close/>
                <a:moveTo>
                  <a:pt x="11" y="84"/>
                </a:moveTo>
                <a:cubicBezTo>
                  <a:pt x="10" y="85"/>
                  <a:pt x="10" y="85"/>
                  <a:pt x="10" y="85"/>
                </a:cubicBezTo>
                <a:cubicBezTo>
                  <a:pt x="11" y="85"/>
                  <a:pt x="11" y="85"/>
                  <a:pt x="11" y="85"/>
                </a:cubicBezTo>
                <a:cubicBezTo>
                  <a:pt x="10" y="86"/>
                  <a:pt x="10" y="86"/>
                  <a:pt x="10" y="86"/>
                </a:cubicBezTo>
                <a:cubicBezTo>
                  <a:pt x="11" y="85"/>
                  <a:pt x="11" y="85"/>
                  <a:pt x="11" y="85"/>
                </a:cubicBezTo>
                <a:cubicBezTo>
                  <a:pt x="11" y="84"/>
                  <a:pt x="11" y="84"/>
                  <a:pt x="11" y="84"/>
                </a:cubicBezTo>
                <a:cubicBezTo>
                  <a:pt x="11" y="84"/>
                  <a:pt x="11" y="84"/>
                  <a:pt x="11" y="84"/>
                </a:cubicBezTo>
                <a:close/>
                <a:moveTo>
                  <a:pt x="33" y="57"/>
                </a:moveTo>
                <a:cubicBezTo>
                  <a:pt x="33" y="58"/>
                  <a:pt x="33" y="58"/>
                  <a:pt x="33" y="58"/>
                </a:cubicBezTo>
                <a:cubicBezTo>
                  <a:pt x="34" y="59"/>
                  <a:pt x="34" y="59"/>
                  <a:pt x="34" y="59"/>
                </a:cubicBezTo>
                <a:cubicBezTo>
                  <a:pt x="35" y="58"/>
                  <a:pt x="35" y="58"/>
                  <a:pt x="35" y="58"/>
                </a:cubicBezTo>
                <a:cubicBezTo>
                  <a:pt x="33" y="57"/>
                  <a:pt x="33" y="57"/>
                  <a:pt x="33" y="57"/>
                </a:cubicBezTo>
                <a:close/>
                <a:moveTo>
                  <a:pt x="21" y="72"/>
                </a:moveTo>
                <a:cubicBezTo>
                  <a:pt x="20" y="73"/>
                  <a:pt x="20" y="73"/>
                  <a:pt x="20" y="73"/>
                </a:cubicBezTo>
                <a:cubicBezTo>
                  <a:pt x="21" y="73"/>
                  <a:pt x="21" y="73"/>
                  <a:pt x="21" y="73"/>
                </a:cubicBezTo>
                <a:cubicBezTo>
                  <a:pt x="21" y="72"/>
                  <a:pt x="21" y="72"/>
                  <a:pt x="21" y="72"/>
                </a:cubicBezTo>
                <a:close/>
                <a:moveTo>
                  <a:pt x="21" y="74"/>
                </a:moveTo>
                <a:cubicBezTo>
                  <a:pt x="20" y="74"/>
                  <a:pt x="20" y="74"/>
                  <a:pt x="20" y="74"/>
                </a:cubicBezTo>
                <a:cubicBezTo>
                  <a:pt x="20" y="75"/>
                  <a:pt x="20" y="75"/>
                  <a:pt x="20" y="75"/>
                </a:cubicBezTo>
                <a:cubicBezTo>
                  <a:pt x="21" y="76"/>
                  <a:pt x="21" y="76"/>
                  <a:pt x="21" y="76"/>
                </a:cubicBezTo>
                <a:cubicBezTo>
                  <a:pt x="22" y="74"/>
                  <a:pt x="22" y="74"/>
                  <a:pt x="22" y="74"/>
                </a:cubicBezTo>
                <a:lnTo>
                  <a:pt x="21" y="7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5" name="Freeform 33">
            <a:extLst>
              <a:ext uri="{FF2B5EF4-FFF2-40B4-BE49-F238E27FC236}">
                <a16:creationId xmlns:a16="http://schemas.microsoft.com/office/drawing/2014/main" id="{95E54B2B-62DF-FF2A-C6C5-E98F2F592D05}"/>
              </a:ext>
            </a:extLst>
          </p:cNvPr>
          <p:cNvSpPr>
            <a:spLocks noEditPoints="1"/>
          </p:cNvSpPr>
          <p:nvPr userDrawn="1"/>
        </p:nvSpPr>
        <p:spPr bwMode="auto">
          <a:xfrm>
            <a:off x="18874144" y="7498633"/>
            <a:ext cx="555590" cy="1250950"/>
          </a:xfrm>
          <a:custGeom>
            <a:avLst/>
            <a:gdLst>
              <a:gd name="T0" fmla="*/ 97 w 175"/>
              <a:gd name="T1" fmla="*/ 6 h 394"/>
              <a:gd name="T2" fmla="*/ 113 w 175"/>
              <a:gd name="T3" fmla="*/ 31 h 394"/>
              <a:gd name="T4" fmla="*/ 106 w 175"/>
              <a:gd name="T5" fmla="*/ 60 h 394"/>
              <a:gd name="T6" fmla="*/ 97 w 175"/>
              <a:gd name="T7" fmla="*/ 69 h 394"/>
              <a:gd name="T8" fmla="*/ 100 w 175"/>
              <a:gd name="T9" fmla="*/ 85 h 394"/>
              <a:gd name="T10" fmla="*/ 119 w 175"/>
              <a:gd name="T11" fmla="*/ 94 h 394"/>
              <a:gd name="T12" fmla="*/ 128 w 175"/>
              <a:gd name="T13" fmla="*/ 110 h 394"/>
              <a:gd name="T14" fmla="*/ 144 w 175"/>
              <a:gd name="T15" fmla="*/ 113 h 394"/>
              <a:gd name="T16" fmla="*/ 135 w 175"/>
              <a:gd name="T17" fmla="*/ 135 h 394"/>
              <a:gd name="T18" fmla="*/ 150 w 175"/>
              <a:gd name="T19" fmla="*/ 141 h 394"/>
              <a:gd name="T20" fmla="*/ 175 w 175"/>
              <a:gd name="T21" fmla="*/ 144 h 394"/>
              <a:gd name="T22" fmla="*/ 163 w 175"/>
              <a:gd name="T23" fmla="*/ 163 h 394"/>
              <a:gd name="T24" fmla="*/ 144 w 175"/>
              <a:gd name="T25" fmla="*/ 175 h 394"/>
              <a:gd name="T26" fmla="*/ 138 w 175"/>
              <a:gd name="T27" fmla="*/ 188 h 394"/>
              <a:gd name="T28" fmla="*/ 116 w 175"/>
              <a:gd name="T29" fmla="*/ 204 h 394"/>
              <a:gd name="T30" fmla="*/ 110 w 175"/>
              <a:gd name="T31" fmla="*/ 219 h 394"/>
              <a:gd name="T32" fmla="*/ 132 w 175"/>
              <a:gd name="T33" fmla="*/ 247 h 394"/>
              <a:gd name="T34" fmla="*/ 135 w 175"/>
              <a:gd name="T35" fmla="*/ 266 h 394"/>
              <a:gd name="T36" fmla="*/ 138 w 175"/>
              <a:gd name="T37" fmla="*/ 301 h 394"/>
              <a:gd name="T38" fmla="*/ 153 w 175"/>
              <a:gd name="T39" fmla="*/ 329 h 394"/>
              <a:gd name="T40" fmla="*/ 160 w 175"/>
              <a:gd name="T41" fmla="*/ 357 h 394"/>
              <a:gd name="T42" fmla="*/ 144 w 175"/>
              <a:gd name="T43" fmla="*/ 385 h 394"/>
              <a:gd name="T44" fmla="*/ 138 w 175"/>
              <a:gd name="T45" fmla="*/ 379 h 394"/>
              <a:gd name="T46" fmla="*/ 144 w 175"/>
              <a:gd name="T47" fmla="*/ 369 h 394"/>
              <a:gd name="T48" fmla="*/ 144 w 175"/>
              <a:gd name="T49" fmla="*/ 351 h 394"/>
              <a:gd name="T50" fmla="*/ 138 w 175"/>
              <a:gd name="T51" fmla="*/ 322 h 394"/>
              <a:gd name="T52" fmla="*/ 132 w 175"/>
              <a:gd name="T53" fmla="*/ 316 h 394"/>
              <a:gd name="T54" fmla="*/ 122 w 175"/>
              <a:gd name="T55" fmla="*/ 291 h 394"/>
              <a:gd name="T56" fmla="*/ 116 w 175"/>
              <a:gd name="T57" fmla="*/ 266 h 394"/>
              <a:gd name="T58" fmla="*/ 113 w 175"/>
              <a:gd name="T59" fmla="*/ 257 h 394"/>
              <a:gd name="T60" fmla="*/ 100 w 175"/>
              <a:gd name="T61" fmla="*/ 241 h 394"/>
              <a:gd name="T62" fmla="*/ 100 w 175"/>
              <a:gd name="T63" fmla="*/ 244 h 394"/>
              <a:gd name="T64" fmla="*/ 88 w 175"/>
              <a:gd name="T65" fmla="*/ 254 h 394"/>
              <a:gd name="T66" fmla="*/ 85 w 175"/>
              <a:gd name="T67" fmla="*/ 260 h 394"/>
              <a:gd name="T68" fmla="*/ 66 w 175"/>
              <a:gd name="T69" fmla="*/ 269 h 394"/>
              <a:gd name="T70" fmla="*/ 56 w 175"/>
              <a:gd name="T71" fmla="*/ 272 h 394"/>
              <a:gd name="T72" fmla="*/ 53 w 175"/>
              <a:gd name="T73" fmla="*/ 266 h 394"/>
              <a:gd name="T74" fmla="*/ 56 w 175"/>
              <a:gd name="T75" fmla="*/ 241 h 394"/>
              <a:gd name="T76" fmla="*/ 47 w 175"/>
              <a:gd name="T77" fmla="*/ 219 h 394"/>
              <a:gd name="T78" fmla="*/ 35 w 175"/>
              <a:gd name="T79" fmla="*/ 197 h 394"/>
              <a:gd name="T80" fmla="*/ 22 w 175"/>
              <a:gd name="T81" fmla="*/ 197 h 394"/>
              <a:gd name="T82" fmla="*/ 31 w 175"/>
              <a:gd name="T83" fmla="*/ 197 h 394"/>
              <a:gd name="T84" fmla="*/ 31 w 175"/>
              <a:gd name="T85" fmla="*/ 185 h 394"/>
              <a:gd name="T86" fmla="*/ 16 w 175"/>
              <a:gd name="T87" fmla="*/ 182 h 394"/>
              <a:gd name="T88" fmla="*/ 13 w 175"/>
              <a:gd name="T89" fmla="*/ 179 h 394"/>
              <a:gd name="T90" fmla="*/ 0 w 175"/>
              <a:gd name="T91" fmla="*/ 157 h 394"/>
              <a:gd name="T92" fmla="*/ 13 w 175"/>
              <a:gd name="T93" fmla="*/ 138 h 394"/>
              <a:gd name="T94" fmla="*/ 19 w 175"/>
              <a:gd name="T95" fmla="*/ 119 h 394"/>
              <a:gd name="T96" fmla="*/ 28 w 175"/>
              <a:gd name="T97" fmla="*/ 97 h 394"/>
              <a:gd name="T98" fmla="*/ 41 w 175"/>
              <a:gd name="T99" fmla="*/ 57 h 394"/>
              <a:gd name="T100" fmla="*/ 56 w 175"/>
              <a:gd name="T101" fmla="*/ 25 h 394"/>
              <a:gd name="T102" fmla="*/ 75 w 175"/>
              <a:gd name="T103" fmla="*/ 16 h 394"/>
              <a:gd name="T104" fmla="*/ 25 w 175"/>
              <a:gd name="T105" fmla="*/ 2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5" h="394">
                <a:moveTo>
                  <a:pt x="78" y="3"/>
                </a:moveTo>
                <a:lnTo>
                  <a:pt x="81" y="0"/>
                </a:lnTo>
                <a:lnTo>
                  <a:pt x="88" y="3"/>
                </a:lnTo>
                <a:lnTo>
                  <a:pt x="91" y="0"/>
                </a:lnTo>
                <a:lnTo>
                  <a:pt x="94" y="0"/>
                </a:lnTo>
                <a:lnTo>
                  <a:pt x="97" y="6"/>
                </a:lnTo>
                <a:lnTo>
                  <a:pt x="100" y="10"/>
                </a:lnTo>
                <a:lnTo>
                  <a:pt x="103" y="16"/>
                </a:lnTo>
                <a:lnTo>
                  <a:pt x="106" y="16"/>
                </a:lnTo>
                <a:lnTo>
                  <a:pt x="110" y="19"/>
                </a:lnTo>
                <a:lnTo>
                  <a:pt x="110" y="25"/>
                </a:lnTo>
                <a:lnTo>
                  <a:pt x="113" y="31"/>
                </a:lnTo>
                <a:lnTo>
                  <a:pt x="113" y="38"/>
                </a:lnTo>
                <a:lnTo>
                  <a:pt x="113" y="47"/>
                </a:lnTo>
                <a:lnTo>
                  <a:pt x="113" y="50"/>
                </a:lnTo>
                <a:lnTo>
                  <a:pt x="110" y="53"/>
                </a:lnTo>
                <a:lnTo>
                  <a:pt x="106" y="53"/>
                </a:lnTo>
                <a:lnTo>
                  <a:pt x="106" y="60"/>
                </a:lnTo>
                <a:lnTo>
                  <a:pt x="103" y="60"/>
                </a:lnTo>
                <a:lnTo>
                  <a:pt x="103" y="63"/>
                </a:lnTo>
                <a:lnTo>
                  <a:pt x="106" y="66"/>
                </a:lnTo>
                <a:lnTo>
                  <a:pt x="103" y="69"/>
                </a:lnTo>
                <a:lnTo>
                  <a:pt x="100" y="66"/>
                </a:lnTo>
                <a:lnTo>
                  <a:pt x="97" y="69"/>
                </a:lnTo>
                <a:lnTo>
                  <a:pt x="97" y="72"/>
                </a:lnTo>
                <a:lnTo>
                  <a:pt x="97" y="75"/>
                </a:lnTo>
                <a:lnTo>
                  <a:pt x="97" y="78"/>
                </a:lnTo>
                <a:lnTo>
                  <a:pt x="97" y="82"/>
                </a:lnTo>
                <a:lnTo>
                  <a:pt x="100" y="82"/>
                </a:lnTo>
                <a:lnTo>
                  <a:pt x="100" y="85"/>
                </a:lnTo>
                <a:lnTo>
                  <a:pt x="103" y="88"/>
                </a:lnTo>
                <a:lnTo>
                  <a:pt x="103" y="94"/>
                </a:lnTo>
                <a:lnTo>
                  <a:pt x="106" y="97"/>
                </a:lnTo>
                <a:lnTo>
                  <a:pt x="110" y="94"/>
                </a:lnTo>
                <a:lnTo>
                  <a:pt x="119" y="91"/>
                </a:lnTo>
                <a:lnTo>
                  <a:pt x="119" y="94"/>
                </a:lnTo>
                <a:lnTo>
                  <a:pt x="119" y="97"/>
                </a:lnTo>
                <a:lnTo>
                  <a:pt x="122" y="100"/>
                </a:lnTo>
                <a:lnTo>
                  <a:pt x="125" y="97"/>
                </a:lnTo>
                <a:lnTo>
                  <a:pt x="128" y="100"/>
                </a:lnTo>
                <a:lnTo>
                  <a:pt x="125" y="107"/>
                </a:lnTo>
                <a:lnTo>
                  <a:pt x="128" y="110"/>
                </a:lnTo>
                <a:lnTo>
                  <a:pt x="135" y="110"/>
                </a:lnTo>
                <a:lnTo>
                  <a:pt x="132" y="110"/>
                </a:lnTo>
                <a:lnTo>
                  <a:pt x="135" y="113"/>
                </a:lnTo>
                <a:lnTo>
                  <a:pt x="135" y="113"/>
                </a:lnTo>
                <a:lnTo>
                  <a:pt x="141" y="113"/>
                </a:lnTo>
                <a:lnTo>
                  <a:pt x="144" y="113"/>
                </a:lnTo>
                <a:lnTo>
                  <a:pt x="144" y="116"/>
                </a:lnTo>
                <a:lnTo>
                  <a:pt x="141" y="119"/>
                </a:lnTo>
                <a:lnTo>
                  <a:pt x="141" y="122"/>
                </a:lnTo>
                <a:lnTo>
                  <a:pt x="138" y="128"/>
                </a:lnTo>
                <a:lnTo>
                  <a:pt x="135" y="135"/>
                </a:lnTo>
                <a:lnTo>
                  <a:pt x="135" y="135"/>
                </a:lnTo>
                <a:lnTo>
                  <a:pt x="138" y="135"/>
                </a:lnTo>
                <a:lnTo>
                  <a:pt x="144" y="135"/>
                </a:lnTo>
                <a:lnTo>
                  <a:pt x="144" y="138"/>
                </a:lnTo>
                <a:lnTo>
                  <a:pt x="147" y="135"/>
                </a:lnTo>
                <a:lnTo>
                  <a:pt x="150" y="138"/>
                </a:lnTo>
                <a:lnTo>
                  <a:pt x="150" y="141"/>
                </a:lnTo>
                <a:lnTo>
                  <a:pt x="150" y="147"/>
                </a:lnTo>
                <a:lnTo>
                  <a:pt x="157" y="147"/>
                </a:lnTo>
                <a:lnTo>
                  <a:pt x="160" y="147"/>
                </a:lnTo>
                <a:lnTo>
                  <a:pt x="163" y="147"/>
                </a:lnTo>
                <a:lnTo>
                  <a:pt x="172" y="141"/>
                </a:lnTo>
                <a:lnTo>
                  <a:pt x="175" y="144"/>
                </a:lnTo>
                <a:lnTo>
                  <a:pt x="175" y="147"/>
                </a:lnTo>
                <a:lnTo>
                  <a:pt x="169" y="150"/>
                </a:lnTo>
                <a:lnTo>
                  <a:pt x="163" y="153"/>
                </a:lnTo>
                <a:lnTo>
                  <a:pt x="163" y="157"/>
                </a:lnTo>
                <a:lnTo>
                  <a:pt x="163" y="160"/>
                </a:lnTo>
                <a:lnTo>
                  <a:pt x="163" y="163"/>
                </a:lnTo>
                <a:lnTo>
                  <a:pt x="160" y="166"/>
                </a:lnTo>
                <a:lnTo>
                  <a:pt x="157" y="166"/>
                </a:lnTo>
                <a:lnTo>
                  <a:pt x="153" y="172"/>
                </a:lnTo>
                <a:lnTo>
                  <a:pt x="150" y="172"/>
                </a:lnTo>
                <a:lnTo>
                  <a:pt x="144" y="172"/>
                </a:lnTo>
                <a:lnTo>
                  <a:pt x="144" y="175"/>
                </a:lnTo>
                <a:lnTo>
                  <a:pt x="147" y="179"/>
                </a:lnTo>
                <a:lnTo>
                  <a:pt x="144" y="179"/>
                </a:lnTo>
                <a:lnTo>
                  <a:pt x="141" y="179"/>
                </a:lnTo>
                <a:lnTo>
                  <a:pt x="138" y="182"/>
                </a:lnTo>
                <a:lnTo>
                  <a:pt x="138" y="188"/>
                </a:lnTo>
                <a:lnTo>
                  <a:pt x="138" y="188"/>
                </a:lnTo>
                <a:lnTo>
                  <a:pt x="132" y="188"/>
                </a:lnTo>
                <a:lnTo>
                  <a:pt x="128" y="191"/>
                </a:lnTo>
                <a:lnTo>
                  <a:pt x="119" y="188"/>
                </a:lnTo>
                <a:lnTo>
                  <a:pt x="116" y="194"/>
                </a:lnTo>
                <a:lnTo>
                  <a:pt x="119" y="200"/>
                </a:lnTo>
                <a:lnTo>
                  <a:pt x="116" y="204"/>
                </a:lnTo>
                <a:lnTo>
                  <a:pt x="116" y="210"/>
                </a:lnTo>
                <a:lnTo>
                  <a:pt x="116" y="213"/>
                </a:lnTo>
                <a:lnTo>
                  <a:pt x="113" y="216"/>
                </a:lnTo>
                <a:lnTo>
                  <a:pt x="106" y="216"/>
                </a:lnTo>
                <a:lnTo>
                  <a:pt x="110" y="219"/>
                </a:lnTo>
                <a:lnTo>
                  <a:pt x="110" y="219"/>
                </a:lnTo>
                <a:lnTo>
                  <a:pt x="116" y="225"/>
                </a:lnTo>
                <a:lnTo>
                  <a:pt x="116" y="229"/>
                </a:lnTo>
                <a:lnTo>
                  <a:pt x="119" y="232"/>
                </a:lnTo>
                <a:lnTo>
                  <a:pt x="122" y="235"/>
                </a:lnTo>
                <a:lnTo>
                  <a:pt x="128" y="244"/>
                </a:lnTo>
                <a:lnTo>
                  <a:pt x="132" y="247"/>
                </a:lnTo>
                <a:lnTo>
                  <a:pt x="135" y="250"/>
                </a:lnTo>
                <a:lnTo>
                  <a:pt x="135" y="257"/>
                </a:lnTo>
                <a:lnTo>
                  <a:pt x="138" y="257"/>
                </a:lnTo>
                <a:lnTo>
                  <a:pt x="138" y="263"/>
                </a:lnTo>
                <a:lnTo>
                  <a:pt x="135" y="263"/>
                </a:lnTo>
                <a:lnTo>
                  <a:pt x="135" y="266"/>
                </a:lnTo>
                <a:lnTo>
                  <a:pt x="135" y="275"/>
                </a:lnTo>
                <a:lnTo>
                  <a:pt x="135" y="279"/>
                </a:lnTo>
                <a:lnTo>
                  <a:pt x="132" y="282"/>
                </a:lnTo>
                <a:lnTo>
                  <a:pt x="135" y="288"/>
                </a:lnTo>
                <a:lnTo>
                  <a:pt x="135" y="294"/>
                </a:lnTo>
                <a:lnTo>
                  <a:pt x="138" y="301"/>
                </a:lnTo>
                <a:lnTo>
                  <a:pt x="144" y="304"/>
                </a:lnTo>
                <a:lnTo>
                  <a:pt x="150" y="310"/>
                </a:lnTo>
                <a:lnTo>
                  <a:pt x="153" y="316"/>
                </a:lnTo>
                <a:lnTo>
                  <a:pt x="150" y="319"/>
                </a:lnTo>
                <a:lnTo>
                  <a:pt x="153" y="326"/>
                </a:lnTo>
                <a:lnTo>
                  <a:pt x="153" y="329"/>
                </a:lnTo>
                <a:lnTo>
                  <a:pt x="153" y="332"/>
                </a:lnTo>
                <a:lnTo>
                  <a:pt x="157" y="338"/>
                </a:lnTo>
                <a:lnTo>
                  <a:pt x="157" y="341"/>
                </a:lnTo>
                <a:lnTo>
                  <a:pt x="157" y="347"/>
                </a:lnTo>
                <a:lnTo>
                  <a:pt x="160" y="351"/>
                </a:lnTo>
                <a:lnTo>
                  <a:pt x="160" y="357"/>
                </a:lnTo>
                <a:lnTo>
                  <a:pt x="157" y="360"/>
                </a:lnTo>
                <a:lnTo>
                  <a:pt x="153" y="369"/>
                </a:lnTo>
                <a:lnTo>
                  <a:pt x="147" y="372"/>
                </a:lnTo>
                <a:lnTo>
                  <a:pt x="147" y="379"/>
                </a:lnTo>
                <a:lnTo>
                  <a:pt x="144" y="382"/>
                </a:lnTo>
                <a:lnTo>
                  <a:pt x="144" y="385"/>
                </a:lnTo>
                <a:lnTo>
                  <a:pt x="144" y="385"/>
                </a:lnTo>
                <a:lnTo>
                  <a:pt x="144" y="388"/>
                </a:lnTo>
                <a:lnTo>
                  <a:pt x="141" y="394"/>
                </a:lnTo>
                <a:lnTo>
                  <a:pt x="141" y="388"/>
                </a:lnTo>
                <a:lnTo>
                  <a:pt x="141" y="382"/>
                </a:lnTo>
                <a:lnTo>
                  <a:pt x="138" y="379"/>
                </a:lnTo>
                <a:lnTo>
                  <a:pt x="138" y="379"/>
                </a:lnTo>
                <a:lnTo>
                  <a:pt x="141" y="379"/>
                </a:lnTo>
                <a:lnTo>
                  <a:pt x="141" y="379"/>
                </a:lnTo>
                <a:lnTo>
                  <a:pt x="144" y="372"/>
                </a:lnTo>
                <a:lnTo>
                  <a:pt x="144" y="369"/>
                </a:lnTo>
                <a:lnTo>
                  <a:pt x="144" y="369"/>
                </a:lnTo>
                <a:lnTo>
                  <a:pt x="144" y="363"/>
                </a:lnTo>
                <a:lnTo>
                  <a:pt x="144" y="363"/>
                </a:lnTo>
                <a:lnTo>
                  <a:pt x="144" y="360"/>
                </a:lnTo>
                <a:lnTo>
                  <a:pt x="144" y="357"/>
                </a:lnTo>
                <a:lnTo>
                  <a:pt x="147" y="354"/>
                </a:lnTo>
                <a:lnTo>
                  <a:pt x="144" y="351"/>
                </a:lnTo>
                <a:lnTo>
                  <a:pt x="141" y="347"/>
                </a:lnTo>
                <a:lnTo>
                  <a:pt x="141" y="341"/>
                </a:lnTo>
                <a:lnTo>
                  <a:pt x="144" y="341"/>
                </a:lnTo>
                <a:lnTo>
                  <a:pt x="141" y="338"/>
                </a:lnTo>
                <a:lnTo>
                  <a:pt x="141" y="335"/>
                </a:lnTo>
                <a:lnTo>
                  <a:pt x="138" y="322"/>
                </a:lnTo>
                <a:lnTo>
                  <a:pt x="135" y="322"/>
                </a:lnTo>
                <a:lnTo>
                  <a:pt x="135" y="316"/>
                </a:lnTo>
                <a:lnTo>
                  <a:pt x="132" y="313"/>
                </a:lnTo>
                <a:lnTo>
                  <a:pt x="132" y="319"/>
                </a:lnTo>
                <a:lnTo>
                  <a:pt x="132" y="319"/>
                </a:lnTo>
                <a:lnTo>
                  <a:pt x="132" y="316"/>
                </a:lnTo>
                <a:lnTo>
                  <a:pt x="128" y="313"/>
                </a:lnTo>
                <a:lnTo>
                  <a:pt x="128" y="304"/>
                </a:lnTo>
                <a:lnTo>
                  <a:pt x="125" y="301"/>
                </a:lnTo>
                <a:lnTo>
                  <a:pt x="125" y="297"/>
                </a:lnTo>
                <a:lnTo>
                  <a:pt x="128" y="294"/>
                </a:lnTo>
                <a:lnTo>
                  <a:pt x="122" y="291"/>
                </a:lnTo>
                <a:lnTo>
                  <a:pt x="122" y="285"/>
                </a:lnTo>
                <a:lnTo>
                  <a:pt x="122" y="285"/>
                </a:lnTo>
                <a:lnTo>
                  <a:pt x="119" y="269"/>
                </a:lnTo>
                <a:lnTo>
                  <a:pt x="116" y="269"/>
                </a:lnTo>
                <a:lnTo>
                  <a:pt x="116" y="266"/>
                </a:lnTo>
                <a:lnTo>
                  <a:pt x="116" y="266"/>
                </a:lnTo>
                <a:lnTo>
                  <a:pt x="116" y="263"/>
                </a:lnTo>
                <a:lnTo>
                  <a:pt x="116" y="257"/>
                </a:lnTo>
                <a:lnTo>
                  <a:pt x="116" y="257"/>
                </a:lnTo>
                <a:lnTo>
                  <a:pt x="116" y="254"/>
                </a:lnTo>
                <a:lnTo>
                  <a:pt x="116" y="257"/>
                </a:lnTo>
                <a:lnTo>
                  <a:pt x="113" y="257"/>
                </a:lnTo>
                <a:lnTo>
                  <a:pt x="110" y="257"/>
                </a:lnTo>
                <a:lnTo>
                  <a:pt x="106" y="254"/>
                </a:lnTo>
                <a:lnTo>
                  <a:pt x="106" y="250"/>
                </a:lnTo>
                <a:lnTo>
                  <a:pt x="103" y="241"/>
                </a:lnTo>
                <a:lnTo>
                  <a:pt x="100" y="241"/>
                </a:lnTo>
                <a:lnTo>
                  <a:pt x="100" y="241"/>
                </a:lnTo>
                <a:lnTo>
                  <a:pt x="100" y="238"/>
                </a:lnTo>
                <a:lnTo>
                  <a:pt x="97" y="235"/>
                </a:lnTo>
                <a:lnTo>
                  <a:pt x="97" y="238"/>
                </a:lnTo>
                <a:lnTo>
                  <a:pt x="97" y="241"/>
                </a:lnTo>
                <a:lnTo>
                  <a:pt x="97" y="241"/>
                </a:lnTo>
                <a:lnTo>
                  <a:pt x="100" y="244"/>
                </a:lnTo>
                <a:lnTo>
                  <a:pt x="100" y="247"/>
                </a:lnTo>
                <a:lnTo>
                  <a:pt x="97" y="250"/>
                </a:lnTo>
                <a:lnTo>
                  <a:pt x="97" y="254"/>
                </a:lnTo>
                <a:lnTo>
                  <a:pt x="94" y="257"/>
                </a:lnTo>
                <a:lnTo>
                  <a:pt x="91" y="257"/>
                </a:lnTo>
                <a:lnTo>
                  <a:pt x="88" y="254"/>
                </a:lnTo>
                <a:lnTo>
                  <a:pt x="85" y="254"/>
                </a:lnTo>
                <a:lnTo>
                  <a:pt x="88" y="257"/>
                </a:lnTo>
                <a:lnTo>
                  <a:pt x="88" y="257"/>
                </a:lnTo>
                <a:lnTo>
                  <a:pt x="91" y="257"/>
                </a:lnTo>
                <a:lnTo>
                  <a:pt x="85" y="260"/>
                </a:lnTo>
                <a:lnTo>
                  <a:pt x="85" y="260"/>
                </a:lnTo>
                <a:lnTo>
                  <a:pt x="81" y="260"/>
                </a:lnTo>
                <a:lnTo>
                  <a:pt x="81" y="263"/>
                </a:lnTo>
                <a:lnTo>
                  <a:pt x="72" y="269"/>
                </a:lnTo>
                <a:lnTo>
                  <a:pt x="69" y="269"/>
                </a:lnTo>
                <a:lnTo>
                  <a:pt x="69" y="269"/>
                </a:lnTo>
                <a:lnTo>
                  <a:pt x="66" y="269"/>
                </a:lnTo>
                <a:lnTo>
                  <a:pt x="66" y="266"/>
                </a:lnTo>
                <a:lnTo>
                  <a:pt x="66" y="269"/>
                </a:lnTo>
                <a:lnTo>
                  <a:pt x="63" y="269"/>
                </a:lnTo>
                <a:lnTo>
                  <a:pt x="60" y="266"/>
                </a:lnTo>
                <a:lnTo>
                  <a:pt x="56" y="269"/>
                </a:lnTo>
                <a:lnTo>
                  <a:pt x="56" y="272"/>
                </a:lnTo>
                <a:lnTo>
                  <a:pt x="53" y="272"/>
                </a:lnTo>
                <a:lnTo>
                  <a:pt x="53" y="266"/>
                </a:lnTo>
                <a:lnTo>
                  <a:pt x="60" y="263"/>
                </a:lnTo>
                <a:lnTo>
                  <a:pt x="60" y="257"/>
                </a:lnTo>
                <a:lnTo>
                  <a:pt x="56" y="263"/>
                </a:lnTo>
                <a:lnTo>
                  <a:pt x="53" y="266"/>
                </a:lnTo>
                <a:lnTo>
                  <a:pt x="50" y="269"/>
                </a:lnTo>
                <a:lnTo>
                  <a:pt x="47" y="269"/>
                </a:lnTo>
                <a:lnTo>
                  <a:pt x="50" y="266"/>
                </a:lnTo>
                <a:lnTo>
                  <a:pt x="47" y="263"/>
                </a:lnTo>
                <a:lnTo>
                  <a:pt x="50" y="244"/>
                </a:lnTo>
                <a:lnTo>
                  <a:pt x="56" y="241"/>
                </a:lnTo>
                <a:lnTo>
                  <a:pt x="53" y="238"/>
                </a:lnTo>
                <a:lnTo>
                  <a:pt x="50" y="232"/>
                </a:lnTo>
                <a:lnTo>
                  <a:pt x="50" y="222"/>
                </a:lnTo>
                <a:lnTo>
                  <a:pt x="47" y="222"/>
                </a:lnTo>
                <a:lnTo>
                  <a:pt x="47" y="219"/>
                </a:lnTo>
                <a:lnTo>
                  <a:pt x="47" y="219"/>
                </a:lnTo>
                <a:lnTo>
                  <a:pt x="44" y="216"/>
                </a:lnTo>
                <a:lnTo>
                  <a:pt x="44" y="210"/>
                </a:lnTo>
                <a:lnTo>
                  <a:pt x="41" y="207"/>
                </a:lnTo>
                <a:lnTo>
                  <a:pt x="41" y="204"/>
                </a:lnTo>
                <a:lnTo>
                  <a:pt x="41" y="200"/>
                </a:lnTo>
                <a:lnTo>
                  <a:pt x="35" y="197"/>
                </a:lnTo>
                <a:lnTo>
                  <a:pt x="38" y="200"/>
                </a:lnTo>
                <a:lnTo>
                  <a:pt x="38" y="210"/>
                </a:lnTo>
                <a:lnTo>
                  <a:pt x="31" y="207"/>
                </a:lnTo>
                <a:lnTo>
                  <a:pt x="28" y="204"/>
                </a:lnTo>
                <a:lnTo>
                  <a:pt x="25" y="200"/>
                </a:lnTo>
                <a:lnTo>
                  <a:pt x="22" y="197"/>
                </a:lnTo>
                <a:lnTo>
                  <a:pt x="22" y="194"/>
                </a:lnTo>
                <a:lnTo>
                  <a:pt x="25" y="194"/>
                </a:lnTo>
                <a:lnTo>
                  <a:pt x="28" y="197"/>
                </a:lnTo>
                <a:lnTo>
                  <a:pt x="31" y="200"/>
                </a:lnTo>
                <a:lnTo>
                  <a:pt x="31" y="197"/>
                </a:lnTo>
                <a:lnTo>
                  <a:pt x="31" y="197"/>
                </a:lnTo>
                <a:lnTo>
                  <a:pt x="28" y="194"/>
                </a:lnTo>
                <a:lnTo>
                  <a:pt x="31" y="194"/>
                </a:lnTo>
                <a:lnTo>
                  <a:pt x="31" y="194"/>
                </a:lnTo>
                <a:lnTo>
                  <a:pt x="35" y="194"/>
                </a:lnTo>
                <a:lnTo>
                  <a:pt x="35" y="191"/>
                </a:lnTo>
                <a:lnTo>
                  <a:pt x="31" y="185"/>
                </a:lnTo>
                <a:lnTo>
                  <a:pt x="25" y="185"/>
                </a:lnTo>
                <a:lnTo>
                  <a:pt x="22" y="182"/>
                </a:lnTo>
                <a:lnTo>
                  <a:pt x="19" y="182"/>
                </a:lnTo>
                <a:lnTo>
                  <a:pt x="19" y="179"/>
                </a:lnTo>
                <a:lnTo>
                  <a:pt x="19" y="182"/>
                </a:lnTo>
                <a:lnTo>
                  <a:pt x="16" y="182"/>
                </a:lnTo>
                <a:lnTo>
                  <a:pt x="16" y="179"/>
                </a:lnTo>
                <a:lnTo>
                  <a:pt x="19" y="175"/>
                </a:lnTo>
                <a:lnTo>
                  <a:pt x="13" y="175"/>
                </a:lnTo>
                <a:lnTo>
                  <a:pt x="10" y="175"/>
                </a:lnTo>
                <a:lnTo>
                  <a:pt x="10" y="175"/>
                </a:lnTo>
                <a:lnTo>
                  <a:pt x="13" y="179"/>
                </a:lnTo>
                <a:lnTo>
                  <a:pt x="3" y="172"/>
                </a:lnTo>
                <a:lnTo>
                  <a:pt x="3" y="166"/>
                </a:lnTo>
                <a:lnTo>
                  <a:pt x="0" y="163"/>
                </a:lnTo>
                <a:lnTo>
                  <a:pt x="0" y="163"/>
                </a:lnTo>
                <a:lnTo>
                  <a:pt x="0" y="160"/>
                </a:lnTo>
                <a:lnTo>
                  <a:pt x="0" y="157"/>
                </a:lnTo>
                <a:lnTo>
                  <a:pt x="3" y="153"/>
                </a:lnTo>
                <a:lnTo>
                  <a:pt x="6" y="153"/>
                </a:lnTo>
                <a:lnTo>
                  <a:pt x="10" y="150"/>
                </a:lnTo>
                <a:lnTo>
                  <a:pt x="10" y="141"/>
                </a:lnTo>
                <a:lnTo>
                  <a:pt x="10" y="138"/>
                </a:lnTo>
                <a:lnTo>
                  <a:pt x="13" y="138"/>
                </a:lnTo>
                <a:lnTo>
                  <a:pt x="13" y="138"/>
                </a:lnTo>
                <a:lnTo>
                  <a:pt x="16" y="132"/>
                </a:lnTo>
                <a:lnTo>
                  <a:pt x="16" y="128"/>
                </a:lnTo>
                <a:lnTo>
                  <a:pt x="16" y="122"/>
                </a:lnTo>
                <a:lnTo>
                  <a:pt x="16" y="119"/>
                </a:lnTo>
                <a:lnTo>
                  <a:pt x="19" y="119"/>
                </a:lnTo>
                <a:lnTo>
                  <a:pt x="19" y="110"/>
                </a:lnTo>
                <a:lnTo>
                  <a:pt x="19" y="107"/>
                </a:lnTo>
                <a:lnTo>
                  <a:pt x="16" y="97"/>
                </a:lnTo>
                <a:lnTo>
                  <a:pt x="22" y="97"/>
                </a:lnTo>
                <a:lnTo>
                  <a:pt x="25" y="97"/>
                </a:lnTo>
                <a:lnTo>
                  <a:pt x="28" y="97"/>
                </a:lnTo>
                <a:lnTo>
                  <a:pt x="31" y="91"/>
                </a:lnTo>
                <a:lnTo>
                  <a:pt x="35" y="82"/>
                </a:lnTo>
                <a:lnTo>
                  <a:pt x="38" y="72"/>
                </a:lnTo>
                <a:lnTo>
                  <a:pt x="35" y="69"/>
                </a:lnTo>
                <a:lnTo>
                  <a:pt x="35" y="66"/>
                </a:lnTo>
                <a:lnTo>
                  <a:pt x="41" y="57"/>
                </a:lnTo>
                <a:lnTo>
                  <a:pt x="41" y="50"/>
                </a:lnTo>
                <a:lnTo>
                  <a:pt x="41" y="47"/>
                </a:lnTo>
                <a:lnTo>
                  <a:pt x="41" y="44"/>
                </a:lnTo>
                <a:lnTo>
                  <a:pt x="47" y="31"/>
                </a:lnTo>
                <a:lnTo>
                  <a:pt x="53" y="31"/>
                </a:lnTo>
                <a:lnTo>
                  <a:pt x="56" y="25"/>
                </a:lnTo>
                <a:lnTo>
                  <a:pt x="60" y="19"/>
                </a:lnTo>
                <a:lnTo>
                  <a:pt x="66" y="19"/>
                </a:lnTo>
                <a:lnTo>
                  <a:pt x="69" y="16"/>
                </a:lnTo>
                <a:lnTo>
                  <a:pt x="75" y="16"/>
                </a:lnTo>
                <a:lnTo>
                  <a:pt x="78" y="19"/>
                </a:lnTo>
                <a:lnTo>
                  <a:pt x="75" y="16"/>
                </a:lnTo>
                <a:lnTo>
                  <a:pt x="75" y="10"/>
                </a:lnTo>
                <a:lnTo>
                  <a:pt x="81" y="6"/>
                </a:lnTo>
                <a:lnTo>
                  <a:pt x="78" y="3"/>
                </a:lnTo>
                <a:lnTo>
                  <a:pt x="78" y="3"/>
                </a:lnTo>
                <a:lnTo>
                  <a:pt x="78" y="3"/>
                </a:lnTo>
                <a:close/>
                <a:moveTo>
                  <a:pt x="25" y="210"/>
                </a:moveTo>
                <a:lnTo>
                  <a:pt x="28" y="213"/>
                </a:lnTo>
                <a:lnTo>
                  <a:pt x="31" y="216"/>
                </a:lnTo>
                <a:lnTo>
                  <a:pt x="31" y="213"/>
                </a:lnTo>
                <a:lnTo>
                  <a:pt x="28" y="210"/>
                </a:lnTo>
                <a:lnTo>
                  <a:pt x="25" y="21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6" name="Freeform 34">
            <a:extLst>
              <a:ext uri="{FF2B5EF4-FFF2-40B4-BE49-F238E27FC236}">
                <a16:creationId xmlns:a16="http://schemas.microsoft.com/office/drawing/2014/main" id="{05631AEE-C463-EC61-914A-B345926258E6}"/>
              </a:ext>
            </a:extLst>
          </p:cNvPr>
          <p:cNvSpPr>
            <a:spLocks noEditPoints="1"/>
          </p:cNvSpPr>
          <p:nvPr userDrawn="1"/>
        </p:nvSpPr>
        <p:spPr bwMode="auto">
          <a:xfrm>
            <a:off x="18150290" y="8759107"/>
            <a:ext cx="139693" cy="250826"/>
          </a:xfrm>
          <a:custGeom>
            <a:avLst/>
            <a:gdLst>
              <a:gd name="T0" fmla="*/ 0 w 44"/>
              <a:gd name="T1" fmla="*/ 35 h 79"/>
              <a:gd name="T2" fmla="*/ 3 w 44"/>
              <a:gd name="T3" fmla="*/ 29 h 79"/>
              <a:gd name="T4" fmla="*/ 0 w 44"/>
              <a:gd name="T5" fmla="*/ 32 h 79"/>
              <a:gd name="T6" fmla="*/ 0 w 44"/>
              <a:gd name="T7" fmla="*/ 38 h 79"/>
              <a:gd name="T8" fmla="*/ 6 w 44"/>
              <a:gd name="T9" fmla="*/ 7 h 79"/>
              <a:gd name="T10" fmla="*/ 3 w 44"/>
              <a:gd name="T11" fmla="*/ 0 h 79"/>
              <a:gd name="T12" fmla="*/ 9 w 44"/>
              <a:gd name="T13" fmla="*/ 0 h 79"/>
              <a:gd name="T14" fmla="*/ 6 w 44"/>
              <a:gd name="T15" fmla="*/ 4 h 79"/>
              <a:gd name="T16" fmla="*/ 6 w 44"/>
              <a:gd name="T17" fmla="*/ 7 h 79"/>
              <a:gd name="T18" fmla="*/ 16 w 44"/>
              <a:gd name="T19" fmla="*/ 0 h 79"/>
              <a:gd name="T20" fmla="*/ 19 w 44"/>
              <a:gd name="T21" fmla="*/ 7 h 79"/>
              <a:gd name="T22" fmla="*/ 19 w 44"/>
              <a:gd name="T23" fmla="*/ 7 h 79"/>
              <a:gd name="T24" fmla="*/ 16 w 44"/>
              <a:gd name="T25" fmla="*/ 7 h 79"/>
              <a:gd name="T26" fmla="*/ 9 w 44"/>
              <a:gd name="T27" fmla="*/ 4 h 79"/>
              <a:gd name="T28" fmla="*/ 13 w 44"/>
              <a:gd name="T29" fmla="*/ 4 h 79"/>
              <a:gd name="T30" fmla="*/ 13 w 44"/>
              <a:gd name="T31" fmla="*/ 0 h 79"/>
              <a:gd name="T32" fmla="*/ 9 w 44"/>
              <a:gd name="T33" fmla="*/ 7 h 79"/>
              <a:gd name="T34" fmla="*/ 9 w 44"/>
              <a:gd name="T35" fmla="*/ 10 h 79"/>
              <a:gd name="T36" fmla="*/ 9 w 44"/>
              <a:gd name="T37" fmla="*/ 13 h 79"/>
              <a:gd name="T38" fmla="*/ 6 w 44"/>
              <a:gd name="T39" fmla="*/ 19 h 79"/>
              <a:gd name="T40" fmla="*/ 3 w 44"/>
              <a:gd name="T41" fmla="*/ 16 h 79"/>
              <a:gd name="T42" fmla="*/ 0 w 44"/>
              <a:gd name="T43" fmla="*/ 16 h 79"/>
              <a:gd name="T44" fmla="*/ 3 w 44"/>
              <a:gd name="T45" fmla="*/ 19 h 79"/>
              <a:gd name="T46" fmla="*/ 3 w 44"/>
              <a:gd name="T47" fmla="*/ 22 h 79"/>
              <a:gd name="T48" fmla="*/ 3 w 44"/>
              <a:gd name="T49" fmla="*/ 32 h 79"/>
              <a:gd name="T50" fmla="*/ 3 w 44"/>
              <a:gd name="T51" fmla="*/ 41 h 79"/>
              <a:gd name="T52" fmla="*/ 3 w 44"/>
              <a:gd name="T53" fmla="*/ 51 h 79"/>
              <a:gd name="T54" fmla="*/ 6 w 44"/>
              <a:gd name="T55" fmla="*/ 63 h 79"/>
              <a:gd name="T56" fmla="*/ 13 w 44"/>
              <a:gd name="T57" fmla="*/ 79 h 79"/>
              <a:gd name="T58" fmla="*/ 19 w 44"/>
              <a:gd name="T59" fmla="*/ 79 h 79"/>
              <a:gd name="T60" fmla="*/ 31 w 44"/>
              <a:gd name="T61" fmla="*/ 76 h 79"/>
              <a:gd name="T62" fmla="*/ 41 w 44"/>
              <a:gd name="T63" fmla="*/ 63 h 79"/>
              <a:gd name="T64" fmla="*/ 44 w 44"/>
              <a:gd name="T65" fmla="*/ 57 h 79"/>
              <a:gd name="T66" fmla="*/ 44 w 44"/>
              <a:gd name="T67" fmla="*/ 51 h 79"/>
              <a:gd name="T68" fmla="*/ 44 w 44"/>
              <a:gd name="T69" fmla="*/ 44 h 79"/>
              <a:gd name="T70" fmla="*/ 38 w 44"/>
              <a:gd name="T71" fmla="*/ 35 h 79"/>
              <a:gd name="T72" fmla="*/ 31 w 44"/>
              <a:gd name="T73" fmla="*/ 29 h 79"/>
              <a:gd name="T74" fmla="*/ 28 w 44"/>
              <a:gd name="T75" fmla="*/ 29 h 79"/>
              <a:gd name="T76" fmla="*/ 31 w 44"/>
              <a:gd name="T77" fmla="*/ 22 h 79"/>
              <a:gd name="T78" fmla="*/ 25 w 44"/>
              <a:gd name="T79" fmla="*/ 19 h 79"/>
              <a:gd name="T80" fmla="*/ 22 w 44"/>
              <a:gd name="T81" fmla="*/ 16 h 79"/>
              <a:gd name="T82" fmla="*/ 22 w 44"/>
              <a:gd name="T83" fmla="*/ 10 h 79"/>
              <a:gd name="T84" fmla="*/ 16 w 44"/>
              <a:gd name="T85" fmla="*/ 10 h 79"/>
              <a:gd name="T86" fmla="*/ 13 w 44"/>
              <a:gd name="T87" fmla="*/ 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 h="79">
                <a:moveTo>
                  <a:pt x="0" y="38"/>
                </a:moveTo>
                <a:lnTo>
                  <a:pt x="0" y="35"/>
                </a:lnTo>
                <a:lnTo>
                  <a:pt x="0" y="32"/>
                </a:lnTo>
                <a:lnTo>
                  <a:pt x="3" y="29"/>
                </a:lnTo>
                <a:lnTo>
                  <a:pt x="3" y="32"/>
                </a:lnTo>
                <a:lnTo>
                  <a:pt x="0" y="32"/>
                </a:lnTo>
                <a:lnTo>
                  <a:pt x="3" y="35"/>
                </a:lnTo>
                <a:lnTo>
                  <a:pt x="0" y="38"/>
                </a:lnTo>
                <a:lnTo>
                  <a:pt x="0" y="38"/>
                </a:lnTo>
                <a:close/>
                <a:moveTo>
                  <a:pt x="6" y="7"/>
                </a:moveTo>
                <a:lnTo>
                  <a:pt x="3" y="4"/>
                </a:lnTo>
                <a:lnTo>
                  <a:pt x="3" y="0"/>
                </a:lnTo>
                <a:lnTo>
                  <a:pt x="9" y="0"/>
                </a:lnTo>
                <a:lnTo>
                  <a:pt x="9" y="0"/>
                </a:lnTo>
                <a:lnTo>
                  <a:pt x="9" y="4"/>
                </a:lnTo>
                <a:lnTo>
                  <a:pt x="6" y="4"/>
                </a:lnTo>
                <a:lnTo>
                  <a:pt x="6" y="7"/>
                </a:lnTo>
                <a:lnTo>
                  <a:pt x="6" y="7"/>
                </a:lnTo>
                <a:close/>
                <a:moveTo>
                  <a:pt x="13" y="0"/>
                </a:moveTo>
                <a:lnTo>
                  <a:pt x="16" y="0"/>
                </a:lnTo>
                <a:lnTo>
                  <a:pt x="16" y="4"/>
                </a:lnTo>
                <a:lnTo>
                  <a:pt x="19" y="7"/>
                </a:lnTo>
                <a:lnTo>
                  <a:pt x="22" y="10"/>
                </a:lnTo>
                <a:lnTo>
                  <a:pt x="19" y="7"/>
                </a:lnTo>
                <a:lnTo>
                  <a:pt x="16" y="7"/>
                </a:lnTo>
                <a:lnTo>
                  <a:pt x="16" y="7"/>
                </a:lnTo>
                <a:lnTo>
                  <a:pt x="9" y="4"/>
                </a:lnTo>
                <a:lnTo>
                  <a:pt x="9" y="4"/>
                </a:lnTo>
                <a:lnTo>
                  <a:pt x="13" y="4"/>
                </a:lnTo>
                <a:lnTo>
                  <a:pt x="13" y="4"/>
                </a:lnTo>
                <a:lnTo>
                  <a:pt x="13" y="0"/>
                </a:lnTo>
                <a:lnTo>
                  <a:pt x="13" y="0"/>
                </a:lnTo>
                <a:close/>
                <a:moveTo>
                  <a:pt x="9" y="7"/>
                </a:moveTo>
                <a:lnTo>
                  <a:pt x="9" y="7"/>
                </a:lnTo>
                <a:lnTo>
                  <a:pt x="9" y="10"/>
                </a:lnTo>
                <a:lnTo>
                  <a:pt x="9" y="10"/>
                </a:lnTo>
                <a:lnTo>
                  <a:pt x="9" y="10"/>
                </a:lnTo>
                <a:lnTo>
                  <a:pt x="9" y="13"/>
                </a:lnTo>
                <a:lnTo>
                  <a:pt x="9" y="13"/>
                </a:lnTo>
                <a:lnTo>
                  <a:pt x="6" y="19"/>
                </a:lnTo>
                <a:lnTo>
                  <a:pt x="6" y="16"/>
                </a:lnTo>
                <a:lnTo>
                  <a:pt x="3" y="16"/>
                </a:lnTo>
                <a:lnTo>
                  <a:pt x="0" y="16"/>
                </a:lnTo>
                <a:lnTo>
                  <a:pt x="0" y="16"/>
                </a:lnTo>
                <a:lnTo>
                  <a:pt x="3" y="16"/>
                </a:lnTo>
                <a:lnTo>
                  <a:pt x="3" y="19"/>
                </a:lnTo>
                <a:lnTo>
                  <a:pt x="3" y="19"/>
                </a:lnTo>
                <a:lnTo>
                  <a:pt x="3" y="22"/>
                </a:lnTo>
                <a:lnTo>
                  <a:pt x="3" y="29"/>
                </a:lnTo>
                <a:lnTo>
                  <a:pt x="3" y="32"/>
                </a:lnTo>
                <a:lnTo>
                  <a:pt x="3" y="41"/>
                </a:lnTo>
                <a:lnTo>
                  <a:pt x="3" y="41"/>
                </a:lnTo>
                <a:lnTo>
                  <a:pt x="0" y="44"/>
                </a:lnTo>
                <a:lnTo>
                  <a:pt x="3" y="51"/>
                </a:lnTo>
                <a:lnTo>
                  <a:pt x="3" y="54"/>
                </a:lnTo>
                <a:lnTo>
                  <a:pt x="6" y="63"/>
                </a:lnTo>
                <a:lnTo>
                  <a:pt x="9" y="72"/>
                </a:lnTo>
                <a:lnTo>
                  <a:pt x="13" y="79"/>
                </a:lnTo>
                <a:lnTo>
                  <a:pt x="16" y="79"/>
                </a:lnTo>
                <a:lnTo>
                  <a:pt x="19" y="79"/>
                </a:lnTo>
                <a:lnTo>
                  <a:pt x="25" y="79"/>
                </a:lnTo>
                <a:lnTo>
                  <a:pt x="31" y="76"/>
                </a:lnTo>
                <a:lnTo>
                  <a:pt x="38" y="69"/>
                </a:lnTo>
                <a:lnTo>
                  <a:pt x="41" y="63"/>
                </a:lnTo>
                <a:lnTo>
                  <a:pt x="44" y="60"/>
                </a:lnTo>
                <a:lnTo>
                  <a:pt x="44" y="57"/>
                </a:lnTo>
                <a:lnTo>
                  <a:pt x="44" y="57"/>
                </a:lnTo>
                <a:lnTo>
                  <a:pt x="44" y="51"/>
                </a:lnTo>
                <a:lnTo>
                  <a:pt x="41" y="47"/>
                </a:lnTo>
                <a:lnTo>
                  <a:pt x="44" y="44"/>
                </a:lnTo>
                <a:lnTo>
                  <a:pt x="41" y="44"/>
                </a:lnTo>
                <a:lnTo>
                  <a:pt x="38" y="35"/>
                </a:lnTo>
                <a:lnTo>
                  <a:pt x="34" y="29"/>
                </a:lnTo>
                <a:lnTo>
                  <a:pt x="31" y="29"/>
                </a:lnTo>
                <a:lnTo>
                  <a:pt x="31" y="29"/>
                </a:lnTo>
                <a:lnTo>
                  <a:pt x="28" y="29"/>
                </a:lnTo>
                <a:lnTo>
                  <a:pt x="31" y="26"/>
                </a:lnTo>
                <a:lnTo>
                  <a:pt x="31" y="22"/>
                </a:lnTo>
                <a:lnTo>
                  <a:pt x="28" y="22"/>
                </a:lnTo>
                <a:lnTo>
                  <a:pt x="25" y="19"/>
                </a:lnTo>
                <a:lnTo>
                  <a:pt x="25" y="19"/>
                </a:lnTo>
                <a:lnTo>
                  <a:pt x="22" y="16"/>
                </a:lnTo>
                <a:lnTo>
                  <a:pt x="22" y="13"/>
                </a:lnTo>
                <a:lnTo>
                  <a:pt x="22" y="10"/>
                </a:lnTo>
                <a:lnTo>
                  <a:pt x="16" y="10"/>
                </a:lnTo>
                <a:lnTo>
                  <a:pt x="16" y="10"/>
                </a:lnTo>
                <a:lnTo>
                  <a:pt x="13" y="10"/>
                </a:lnTo>
                <a:lnTo>
                  <a:pt x="13" y="7"/>
                </a:lnTo>
                <a:lnTo>
                  <a:pt x="9" y="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7" name="Freeform 35">
            <a:extLst>
              <a:ext uri="{FF2B5EF4-FFF2-40B4-BE49-F238E27FC236}">
                <a16:creationId xmlns:a16="http://schemas.microsoft.com/office/drawing/2014/main" id="{0EBC6A7B-56C6-A77E-D094-FBBC13C53B83}"/>
              </a:ext>
            </a:extLst>
          </p:cNvPr>
          <p:cNvSpPr>
            <a:spLocks noEditPoints="1"/>
          </p:cNvSpPr>
          <p:nvPr userDrawn="1"/>
        </p:nvSpPr>
        <p:spPr bwMode="auto">
          <a:xfrm>
            <a:off x="17375639" y="7162083"/>
            <a:ext cx="1755662" cy="1708150"/>
          </a:xfrm>
          <a:custGeom>
            <a:avLst/>
            <a:gdLst>
              <a:gd name="T0" fmla="*/ 188 w 553"/>
              <a:gd name="T1" fmla="*/ 47 h 538"/>
              <a:gd name="T2" fmla="*/ 219 w 553"/>
              <a:gd name="T3" fmla="*/ 62 h 538"/>
              <a:gd name="T4" fmla="*/ 225 w 553"/>
              <a:gd name="T5" fmla="*/ 103 h 538"/>
              <a:gd name="T6" fmla="*/ 288 w 553"/>
              <a:gd name="T7" fmla="*/ 128 h 538"/>
              <a:gd name="T8" fmla="*/ 360 w 553"/>
              <a:gd name="T9" fmla="*/ 147 h 538"/>
              <a:gd name="T10" fmla="*/ 388 w 553"/>
              <a:gd name="T11" fmla="*/ 119 h 538"/>
              <a:gd name="T12" fmla="*/ 419 w 553"/>
              <a:gd name="T13" fmla="*/ 144 h 538"/>
              <a:gd name="T14" fmla="*/ 444 w 553"/>
              <a:gd name="T15" fmla="*/ 122 h 538"/>
              <a:gd name="T16" fmla="*/ 472 w 553"/>
              <a:gd name="T17" fmla="*/ 100 h 538"/>
              <a:gd name="T18" fmla="*/ 513 w 553"/>
              <a:gd name="T19" fmla="*/ 87 h 538"/>
              <a:gd name="T20" fmla="*/ 535 w 553"/>
              <a:gd name="T21" fmla="*/ 87 h 538"/>
              <a:gd name="T22" fmla="*/ 550 w 553"/>
              <a:gd name="T23" fmla="*/ 109 h 538"/>
              <a:gd name="T24" fmla="*/ 525 w 553"/>
              <a:gd name="T25" fmla="*/ 137 h 538"/>
              <a:gd name="T26" fmla="*/ 503 w 553"/>
              <a:gd name="T27" fmla="*/ 197 h 538"/>
              <a:gd name="T28" fmla="*/ 488 w 553"/>
              <a:gd name="T29" fmla="*/ 234 h 538"/>
              <a:gd name="T30" fmla="*/ 478 w 553"/>
              <a:gd name="T31" fmla="*/ 244 h 538"/>
              <a:gd name="T32" fmla="*/ 463 w 553"/>
              <a:gd name="T33" fmla="*/ 209 h 538"/>
              <a:gd name="T34" fmla="*/ 450 w 553"/>
              <a:gd name="T35" fmla="*/ 216 h 538"/>
              <a:gd name="T36" fmla="*/ 457 w 553"/>
              <a:gd name="T37" fmla="*/ 200 h 538"/>
              <a:gd name="T38" fmla="*/ 453 w 553"/>
              <a:gd name="T39" fmla="*/ 175 h 538"/>
              <a:gd name="T40" fmla="*/ 413 w 553"/>
              <a:gd name="T41" fmla="*/ 163 h 538"/>
              <a:gd name="T42" fmla="*/ 400 w 553"/>
              <a:gd name="T43" fmla="*/ 153 h 538"/>
              <a:gd name="T44" fmla="*/ 388 w 553"/>
              <a:gd name="T45" fmla="*/ 150 h 538"/>
              <a:gd name="T46" fmla="*/ 394 w 553"/>
              <a:gd name="T47" fmla="*/ 175 h 538"/>
              <a:gd name="T48" fmla="*/ 400 w 553"/>
              <a:gd name="T49" fmla="*/ 219 h 538"/>
              <a:gd name="T50" fmla="*/ 407 w 553"/>
              <a:gd name="T51" fmla="*/ 256 h 538"/>
              <a:gd name="T52" fmla="*/ 391 w 553"/>
              <a:gd name="T53" fmla="*/ 250 h 538"/>
              <a:gd name="T54" fmla="*/ 388 w 553"/>
              <a:gd name="T55" fmla="*/ 250 h 538"/>
              <a:gd name="T56" fmla="*/ 366 w 553"/>
              <a:gd name="T57" fmla="*/ 278 h 538"/>
              <a:gd name="T58" fmla="*/ 341 w 553"/>
              <a:gd name="T59" fmla="*/ 294 h 538"/>
              <a:gd name="T60" fmla="*/ 303 w 553"/>
              <a:gd name="T61" fmla="*/ 341 h 538"/>
              <a:gd name="T62" fmla="*/ 269 w 553"/>
              <a:gd name="T63" fmla="*/ 375 h 538"/>
              <a:gd name="T64" fmla="*/ 247 w 553"/>
              <a:gd name="T65" fmla="*/ 413 h 538"/>
              <a:gd name="T66" fmla="*/ 244 w 553"/>
              <a:gd name="T67" fmla="*/ 494 h 538"/>
              <a:gd name="T68" fmla="*/ 238 w 553"/>
              <a:gd name="T69" fmla="*/ 519 h 538"/>
              <a:gd name="T70" fmla="*/ 213 w 553"/>
              <a:gd name="T71" fmla="*/ 535 h 538"/>
              <a:gd name="T72" fmla="*/ 169 w 553"/>
              <a:gd name="T73" fmla="*/ 485 h 538"/>
              <a:gd name="T74" fmla="*/ 144 w 553"/>
              <a:gd name="T75" fmla="*/ 438 h 538"/>
              <a:gd name="T76" fmla="*/ 122 w 553"/>
              <a:gd name="T77" fmla="*/ 391 h 538"/>
              <a:gd name="T78" fmla="*/ 103 w 553"/>
              <a:gd name="T79" fmla="*/ 331 h 538"/>
              <a:gd name="T80" fmla="*/ 91 w 553"/>
              <a:gd name="T81" fmla="*/ 288 h 538"/>
              <a:gd name="T82" fmla="*/ 88 w 553"/>
              <a:gd name="T83" fmla="*/ 256 h 538"/>
              <a:gd name="T84" fmla="*/ 88 w 553"/>
              <a:gd name="T85" fmla="*/ 241 h 538"/>
              <a:gd name="T86" fmla="*/ 72 w 553"/>
              <a:gd name="T87" fmla="*/ 272 h 538"/>
              <a:gd name="T88" fmla="*/ 13 w 553"/>
              <a:gd name="T89" fmla="*/ 244 h 538"/>
              <a:gd name="T90" fmla="*/ 28 w 553"/>
              <a:gd name="T91" fmla="*/ 244 h 538"/>
              <a:gd name="T92" fmla="*/ 32 w 553"/>
              <a:gd name="T93" fmla="*/ 234 h 538"/>
              <a:gd name="T94" fmla="*/ 0 w 553"/>
              <a:gd name="T95" fmla="*/ 216 h 538"/>
              <a:gd name="T96" fmla="*/ 44 w 553"/>
              <a:gd name="T97" fmla="*/ 197 h 538"/>
              <a:gd name="T98" fmla="*/ 41 w 553"/>
              <a:gd name="T99" fmla="*/ 169 h 538"/>
              <a:gd name="T100" fmla="*/ 13 w 553"/>
              <a:gd name="T101" fmla="*/ 144 h 538"/>
              <a:gd name="T102" fmla="*/ 47 w 553"/>
              <a:gd name="T103" fmla="*/ 122 h 538"/>
              <a:gd name="T104" fmla="*/ 91 w 553"/>
              <a:gd name="T105" fmla="*/ 69 h 538"/>
              <a:gd name="T106" fmla="*/ 110 w 553"/>
              <a:gd name="T107" fmla="*/ 25 h 538"/>
              <a:gd name="T108" fmla="*/ 163 w 553"/>
              <a:gd name="T109" fmla="*/ 6 h 538"/>
              <a:gd name="T110" fmla="*/ 400 w 553"/>
              <a:gd name="T111" fmla="*/ 253 h 538"/>
              <a:gd name="T112" fmla="*/ 394 w 553"/>
              <a:gd name="T113" fmla="*/ 259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3" h="538">
                <a:moveTo>
                  <a:pt x="178" y="15"/>
                </a:moveTo>
                <a:lnTo>
                  <a:pt x="178" y="19"/>
                </a:lnTo>
                <a:lnTo>
                  <a:pt x="178" y="22"/>
                </a:lnTo>
                <a:lnTo>
                  <a:pt x="185" y="25"/>
                </a:lnTo>
                <a:lnTo>
                  <a:pt x="185" y="31"/>
                </a:lnTo>
                <a:lnTo>
                  <a:pt x="185" y="34"/>
                </a:lnTo>
                <a:lnTo>
                  <a:pt x="185" y="37"/>
                </a:lnTo>
                <a:lnTo>
                  <a:pt x="188" y="41"/>
                </a:lnTo>
                <a:lnTo>
                  <a:pt x="188" y="44"/>
                </a:lnTo>
                <a:lnTo>
                  <a:pt x="188" y="47"/>
                </a:lnTo>
                <a:lnTo>
                  <a:pt x="191" y="47"/>
                </a:lnTo>
                <a:lnTo>
                  <a:pt x="191" y="50"/>
                </a:lnTo>
                <a:lnTo>
                  <a:pt x="197" y="53"/>
                </a:lnTo>
                <a:lnTo>
                  <a:pt x="197" y="50"/>
                </a:lnTo>
                <a:lnTo>
                  <a:pt x="203" y="50"/>
                </a:lnTo>
                <a:lnTo>
                  <a:pt x="203" y="50"/>
                </a:lnTo>
                <a:lnTo>
                  <a:pt x="210" y="53"/>
                </a:lnTo>
                <a:lnTo>
                  <a:pt x="213" y="56"/>
                </a:lnTo>
                <a:lnTo>
                  <a:pt x="216" y="56"/>
                </a:lnTo>
                <a:lnTo>
                  <a:pt x="219" y="62"/>
                </a:lnTo>
                <a:lnTo>
                  <a:pt x="222" y="62"/>
                </a:lnTo>
                <a:lnTo>
                  <a:pt x="222" y="66"/>
                </a:lnTo>
                <a:lnTo>
                  <a:pt x="222" y="66"/>
                </a:lnTo>
                <a:lnTo>
                  <a:pt x="225" y="72"/>
                </a:lnTo>
                <a:lnTo>
                  <a:pt x="222" y="81"/>
                </a:lnTo>
                <a:lnTo>
                  <a:pt x="222" y="87"/>
                </a:lnTo>
                <a:lnTo>
                  <a:pt x="216" y="97"/>
                </a:lnTo>
                <a:lnTo>
                  <a:pt x="219" y="100"/>
                </a:lnTo>
                <a:lnTo>
                  <a:pt x="222" y="100"/>
                </a:lnTo>
                <a:lnTo>
                  <a:pt x="225" y="103"/>
                </a:lnTo>
                <a:lnTo>
                  <a:pt x="228" y="103"/>
                </a:lnTo>
                <a:lnTo>
                  <a:pt x="232" y="106"/>
                </a:lnTo>
                <a:lnTo>
                  <a:pt x="238" y="109"/>
                </a:lnTo>
                <a:lnTo>
                  <a:pt x="247" y="112"/>
                </a:lnTo>
                <a:lnTo>
                  <a:pt x="253" y="122"/>
                </a:lnTo>
                <a:lnTo>
                  <a:pt x="263" y="122"/>
                </a:lnTo>
                <a:lnTo>
                  <a:pt x="266" y="125"/>
                </a:lnTo>
                <a:lnTo>
                  <a:pt x="272" y="125"/>
                </a:lnTo>
                <a:lnTo>
                  <a:pt x="278" y="131"/>
                </a:lnTo>
                <a:lnTo>
                  <a:pt x="288" y="128"/>
                </a:lnTo>
                <a:lnTo>
                  <a:pt x="291" y="131"/>
                </a:lnTo>
                <a:lnTo>
                  <a:pt x="300" y="128"/>
                </a:lnTo>
                <a:lnTo>
                  <a:pt x="310" y="131"/>
                </a:lnTo>
                <a:lnTo>
                  <a:pt x="313" y="137"/>
                </a:lnTo>
                <a:lnTo>
                  <a:pt x="316" y="141"/>
                </a:lnTo>
                <a:lnTo>
                  <a:pt x="328" y="144"/>
                </a:lnTo>
                <a:lnTo>
                  <a:pt x="332" y="141"/>
                </a:lnTo>
                <a:lnTo>
                  <a:pt x="338" y="141"/>
                </a:lnTo>
                <a:lnTo>
                  <a:pt x="353" y="147"/>
                </a:lnTo>
                <a:lnTo>
                  <a:pt x="360" y="147"/>
                </a:lnTo>
                <a:lnTo>
                  <a:pt x="366" y="150"/>
                </a:lnTo>
                <a:lnTo>
                  <a:pt x="378" y="147"/>
                </a:lnTo>
                <a:lnTo>
                  <a:pt x="378" y="137"/>
                </a:lnTo>
                <a:lnTo>
                  <a:pt x="375" y="131"/>
                </a:lnTo>
                <a:lnTo>
                  <a:pt x="378" y="122"/>
                </a:lnTo>
                <a:lnTo>
                  <a:pt x="375" y="116"/>
                </a:lnTo>
                <a:lnTo>
                  <a:pt x="375" y="116"/>
                </a:lnTo>
                <a:lnTo>
                  <a:pt x="382" y="112"/>
                </a:lnTo>
                <a:lnTo>
                  <a:pt x="385" y="112"/>
                </a:lnTo>
                <a:lnTo>
                  <a:pt x="388" y="119"/>
                </a:lnTo>
                <a:lnTo>
                  <a:pt x="388" y="122"/>
                </a:lnTo>
                <a:lnTo>
                  <a:pt x="391" y="125"/>
                </a:lnTo>
                <a:lnTo>
                  <a:pt x="391" y="125"/>
                </a:lnTo>
                <a:lnTo>
                  <a:pt x="391" y="128"/>
                </a:lnTo>
                <a:lnTo>
                  <a:pt x="391" y="134"/>
                </a:lnTo>
                <a:lnTo>
                  <a:pt x="394" y="137"/>
                </a:lnTo>
                <a:lnTo>
                  <a:pt x="400" y="141"/>
                </a:lnTo>
                <a:lnTo>
                  <a:pt x="403" y="137"/>
                </a:lnTo>
                <a:lnTo>
                  <a:pt x="413" y="144"/>
                </a:lnTo>
                <a:lnTo>
                  <a:pt x="419" y="144"/>
                </a:lnTo>
                <a:lnTo>
                  <a:pt x="422" y="141"/>
                </a:lnTo>
                <a:lnTo>
                  <a:pt x="425" y="137"/>
                </a:lnTo>
                <a:lnTo>
                  <a:pt x="428" y="141"/>
                </a:lnTo>
                <a:lnTo>
                  <a:pt x="438" y="137"/>
                </a:lnTo>
                <a:lnTo>
                  <a:pt x="441" y="137"/>
                </a:lnTo>
                <a:lnTo>
                  <a:pt x="450" y="137"/>
                </a:lnTo>
                <a:lnTo>
                  <a:pt x="450" y="134"/>
                </a:lnTo>
                <a:lnTo>
                  <a:pt x="450" y="128"/>
                </a:lnTo>
                <a:lnTo>
                  <a:pt x="444" y="125"/>
                </a:lnTo>
                <a:lnTo>
                  <a:pt x="444" y="122"/>
                </a:lnTo>
                <a:lnTo>
                  <a:pt x="444" y="116"/>
                </a:lnTo>
                <a:lnTo>
                  <a:pt x="447" y="116"/>
                </a:lnTo>
                <a:lnTo>
                  <a:pt x="453" y="116"/>
                </a:lnTo>
                <a:lnTo>
                  <a:pt x="457" y="116"/>
                </a:lnTo>
                <a:lnTo>
                  <a:pt x="460" y="109"/>
                </a:lnTo>
                <a:lnTo>
                  <a:pt x="463" y="106"/>
                </a:lnTo>
                <a:lnTo>
                  <a:pt x="466" y="109"/>
                </a:lnTo>
                <a:lnTo>
                  <a:pt x="466" y="106"/>
                </a:lnTo>
                <a:lnTo>
                  <a:pt x="469" y="103"/>
                </a:lnTo>
                <a:lnTo>
                  <a:pt x="472" y="100"/>
                </a:lnTo>
                <a:lnTo>
                  <a:pt x="475" y="97"/>
                </a:lnTo>
                <a:lnTo>
                  <a:pt x="478" y="97"/>
                </a:lnTo>
                <a:lnTo>
                  <a:pt x="485" y="94"/>
                </a:lnTo>
                <a:lnTo>
                  <a:pt x="491" y="87"/>
                </a:lnTo>
                <a:lnTo>
                  <a:pt x="491" y="84"/>
                </a:lnTo>
                <a:lnTo>
                  <a:pt x="494" y="84"/>
                </a:lnTo>
                <a:lnTo>
                  <a:pt x="497" y="81"/>
                </a:lnTo>
                <a:lnTo>
                  <a:pt x="500" y="84"/>
                </a:lnTo>
                <a:lnTo>
                  <a:pt x="507" y="84"/>
                </a:lnTo>
                <a:lnTo>
                  <a:pt x="513" y="87"/>
                </a:lnTo>
                <a:lnTo>
                  <a:pt x="516" y="84"/>
                </a:lnTo>
                <a:lnTo>
                  <a:pt x="516" y="81"/>
                </a:lnTo>
                <a:lnTo>
                  <a:pt x="522" y="75"/>
                </a:lnTo>
                <a:lnTo>
                  <a:pt x="525" y="78"/>
                </a:lnTo>
                <a:lnTo>
                  <a:pt x="528" y="81"/>
                </a:lnTo>
                <a:lnTo>
                  <a:pt x="532" y="78"/>
                </a:lnTo>
                <a:lnTo>
                  <a:pt x="532" y="81"/>
                </a:lnTo>
                <a:lnTo>
                  <a:pt x="528" y="87"/>
                </a:lnTo>
                <a:lnTo>
                  <a:pt x="532" y="91"/>
                </a:lnTo>
                <a:lnTo>
                  <a:pt x="535" y="87"/>
                </a:lnTo>
                <a:lnTo>
                  <a:pt x="535" y="87"/>
                </a:lnTo>
                <a:lnTo>
                  <a:pt x="538" y="91"/>
                </a:lnTo>
                <a:lnTo>
                  <a:pt x="541" y="94"/>
                </a:lnTo>
                <a:lnTo>
                  <a:pt x="541" y="97"/>
                </a:lnTo>
                <a:lnTo>
                  <a:pt x="538" y="100"/>
                </a:lnTo>
                <a:lnTo>
                  <a:pt x="538" y="103"/>
                </a:lnTo>
                <a:lnTo>
                  <a:pt x="541" y="106"/>
                </a:lnTo>
                <a:lnTo>
                  <a:pt x="544" y="103"/>
                </a:lnTo>
                <a:lnTo>
                  <a:pt x="547" y="106"/>
                </a:lnTo>
                <a:lnTo>
                  <a:pt x="550" y="109"/>
                </a:lnTo>
                <a:lnTo>
                  <a:pt x="553" y="112"/>
                </a:lnTo>
                <a:lnTo>
                  <a:pt x="547" y="116"/>
                </a:lnTo>
                <a:lnTo>
                  <a:pt x="547" y="122"/>
                </a:lnTo>
                <a:lnTo>
                  <a:pt x="550" y="125"/>
                </a:lnTo>
                <a:lnTo>
                  <a:pt x="547" y="122"/>
                </a:lnTo>
                <a:lnTo>
                  <a:pt x="541" y="122"/>
                </a:lnTo>
                <a:lnTo>
                  <a:pt x="538" y="125"/>
                </a:lnTo>
                <a:lnTo>
                  <a:pt x="532" y="125"/>
                </a:lnTo>
                <a:lnTo>
                  <a:pt x="528" y="131"/>
                </a:lnTo>
                <a:lnTo>
                  <a:pt x="525" y="137"/>
                </a:lnTo>
                <a:lnTo>
                  <a:pt x="519" y="137"/>
                </a:lnTo>
                <a:lnTo>
                  <a:pt x="513" y="150"/>
                </a:lnTo>
                <a:lnTo>
                  <a:pt x="513" y="153"/>
                </a:lnTo>
                <a:lnTo>
                  <a:pt x="513" y="156"/>
                </a:lnTo>
                <a:lnTo>
                  <a:pt x="513" y="163"/>
                </a:lnTo>
                <a:lnTo>
                  <a:pt x="507" y="172"/>
                </a:lnTo>
                <a:lnTo>
                  <a:pt x="507" y="175"/>
                </a:lnTo>
                <a:lnTo>
                  <a:pt x="510" y="178"/>
                </a:lnTo>
                <a:lnTo>
                  <a:pt x="507" y="188"/>
                </a:lnTo>
                <a:lnTo>
                  <a:pt x="503" y="197"/>
                </a:lnTo>
                <a:lnTo>
                  <a:pt x="500" y="203"/>
                </a:lnTo>
                <a:lnTo>
                  <a:pt x="497" y="203"/>
                </a:lnTo>
                <a:lnTo>
                  <a:pt x="494" y="203"/>
                </a:lnTo>
                <a:lnTo>
                  <a:pt x="488" y="203"/>
                </a:lnTo>
                <a:lnTo>
                  <a:pt x="491" y="213"/>
                </a:lnTo>
                <a:lnTo>
                  <a:pt x="491" y="216"/>
                </a:lnTo>
                <a:lnTo>
                  <a:pt x="491" y="225"/>
                </a:lnTo>
                <a:lnTo>
                  <a:pt x="488" y="225"/>
                </a:lnTo>
                <a:lnTo>
                  <a:pt x="488" y="228"/>
                </a:lnTo>
                <a:lnTo>
                  <a:pt x="488" y="234"/>
                </a:lnTo>
                <a:lnTo>
                  <a:pt x="488" y="238"/>
                </a:lnTo>
                <a:lnTo>
                  <a:pt x="485" y="244"/>
                </a:lnTo>
                <a:lnTo>
                  <a:pt x="485" y="244"/>
                </a:lnTo>
                <a:lnTo>
                  <a:pt x="482" y="244"/>
                </a:lnTo>
                <a:lnTo>
                  <a:pt x="482" y="247"/>
                </a:lnTo>
                <a:lnTo>
                  <a:pt x="482" y="250"/>
                </a:lnTo>
                <a:lnTo>
                  <a:pt x="478" y="250"/>
                </a:lnTo>
                <a:lnTo>
                  <a:pt x="478" y="247"/>
                </a:lnTo>
                <a:lnTo>
                  <a:pt x="478" y="247"/>
                </a:lnTo>
                <a:lnTo>
                  <a:pt x="478" y="244"/>
                </a:lnTo>
                <a:lnTo>
                  <a:pt x="475" y="241"/>
                </a:lnTo>
                <a:lnTo>
                  <a:pt x="475" y="238"/>
                </a:lnTo>
                <a:lnTo>
                  <a:pt x="472" y="228"/>
                </a:lnTo>
                <a:lnTo>
                  <a:pt x="472" y="225"/>
                </a:lnTo>
                <a:lnTo>
                  <a:pt x="472" y="222"/>
                </a:lnTo>
                <a:lnTo>
                  <a:pt x="472" y="216"/>
                </a:lnTo>
                <a:lnTo>
                  <a:pt x="469" y="213"/>
                </a:lnTo>
                <a:lnTo>
                  <a:pt x="469" y="213"/>
                </a:lnTo>
                <a:lnTo>
                  <a:pt x="466" y="213"/>
                </a:lnTo>
                <a:lnTo>
                  <a:pt x="463" y="209"/>
                </a:lnTo>
                <a:lnTo>
                  <a:pt x="460" y="213"/>
                </a:lnTo>
                <a:lnTo>
                  <a:pt x="463" y="213"/>
                </a:lnTo>
                <a:lnTo>
                  <a:pt x="460" y="216"/>
                </a:lnTo>
                <a:lnTo>
                  <a:pt x="460" y="216"/>
                </a:lnTo>
                <a:lnTo>
                  <a:pt x="460" y="219"/>
                </a:lnTo>
                <a:lnTo>
                  <a:pt x="460" y="222"/>
                </a:lnTo>
                <a:lnTo>
                  <a:pt x="460" y="225"/>
                </a:lnTo>
                <a:lnTo>
                  <a:pt x="457" y="225"/>
                </a:lnTo>
                <a:lnTo>
                  <a:pt x="453" y="219"/>
                </a:lnTo>
                <a:lnTo>
                  <a:pt x="450" y="216"/>
                </a:lnTo>
                <a:lnTo>
                  <a:pt x="450" y="216"/>
                </a:lnTo>
                <a:lnTo>
                  <a:pt x="447" y="213"/>
                </a:lnTo>
                <a:lnTo>
                  <a:pt x="447" y="209"/>
                </a:lnTo>
                <a:lnTo>
                  <a:pt x="447" y="206"/>
                </a:lnTo>
                <a:lnTo>
                  <a:pt x="447" y="203"/>
                </a:lnTo>
                <a:lnTo>
                  <a:pt x="450" y="203"/>
                </a:lnTo>
                <a:lnTo>
                  <a:pt x="453" y="200"/>
                </a:lnTo>
                <a:lnTo>
                  <a:pt x="453" y="200"/>
                </a:lnTo>
                <a:lnTo>
                  <a:pt x="457" y="200"/>
                </a:lnTo>
                <a:lnTo>
                  <a:pt x="457" y="200"/>
                </a:lnTo>
                <a:lnTo>
                  <a:pt x="457" y="197"/>
                </a:lnTo>
                <a:lnTo>
                  <a:pt x="460" y="194"/>
                </a:lnTo>
                <a:lnTo>
                  <a:pt x="463" y="188"/>
                </a:lnTo>
                <a:lnTo>
                  <a:pt x="463" y="184"/>
                </a:lnTo>
                <a:lnTo>
                  <a:pt x="466" y="178"/>
                </a:lnTo>
                <a:lnTo>
                  <a:pt x="463" y="178"/>
                </a:lnTo>
                <a:lnTo>
                  <a:pt x="460" y="175"/>
                </a:lnTo>
                <a:lnTo>
                  <a:pt x="457" y="175"/>
                </a:lnTo>
                <a:lnTo>
                  <a:pt x="457" y="175"/>
                </a:lnTo>
                <a:lnTo>
                  <a:pt x="453" y="175"/>
                </a:lnTo>
                <a:lnTo>
                  <a:pt x="447" y="175"/>
                </a:lnTo>
                <a:lnTo>
                  <a:pt x="441" y="175"/>
                </a:lnTo>
                <a:lnTo>
                  <a:pt x="432" y="175"/>
                </a:lnTo>
                <a:lnTo>
                  <a:pt x="428" y="175"/>
                </a:lnTo>
                <a:lnTo>
                  <a:pt x="422" y="172"/>
                </a:lnTo>
                <a:lnTo>
                  <a:pt x="419" y="175"/>
                </a:lnTo>
                <a:lnTo>
                  <a:pt x="416" y="172"/>
                </a:lnTo>
                <a:lnTo>
                  <a:pt x="416" y="169"/>
                </a:lnTo>
                <a:lnTo>
                  <a:pt x="416" y="166"/>
                </a:lnTo>
                <a:lnTo>
                  <a:pt x="413" y="163"/>
                </a:lnTo>
                <a:lnTo>
                  <a:pt x="413" y="159"/>
                </a:lnTo>
                <a:lnTo>
                  <a:pt x="410" y="153"/>
                </a:lnTo>
                <a:lnTo>
                  <a:pt x="410" y="153"/>
                </a:lnTo>
                <a:lnTo>
                  <a:pt x="410" y="156"/>
                </a:lnTo>
                <a:lnTo>
                  <a:pt x="403" y="153"/>
                </a:lnTo>
                <a:lnTo>
                  <a:pt x="403" y="153"/>
                </a:lnTo>
                <a:lnTo>
                  <a:pt x="400" y="150"/>
                </a:lnTo>
                <a:lnTo>
                  <a:pt x="397" y="150"/>
                </a:lnTo>
                <a:lnTo>
                  <a:pt x="397" y="153"/>
                </a:lnTo>
                <a:lnTo>
                  <a:pt x="400" y="153"/>
                </a:lnTo>
                <a:lnTo>
                  <a:pt x="397" y="153"/>
                </a:lnTo>
                <a:lnTo>
                  <a:pt x="394" y="153"/>
                </a:lnTo>
                <a:lnTo>
                  <a:pt x="391" y="150"/>
                </a:lnTo>
                <a:lnTo>
                  <a:pt x="391" y="147"/>
                </a:lnTo>
                <a:lnTo>
                  <a:pt x="388" y="144"/>
                </a:lnTo>
                <a:lnTo>
                  <a:pt x="388" y="144"/>
                </a:lnTo>
                <a:lnTo>
                  <a:pt x="385" y="147"/>
                </a:lnTo>
                <a:lnTo>
                  <a:pt x="385" y="147"/>
                </a:lnTo>
                <a:lnTo>
                  <a:pt x="385" y="147"/>
                </a:lnTo>
                <a:lnTo>
                  <a:pt x="388" y="150"/>
                </a:lnTo>
                <a:lnTo>
                  <a:pt x="385" y="156"/>
                </a:lnTo>
                <a:lnTo>
                  <a:pt x="382" y="159"/>
                </a:lnTo>
                <a:lnTo>
                  <a:pt x="382" y="166"/>
                </a:lnTo>
                <a:lnTo>
                  <a:pt x="388" y="169"/>
                </a:lnTo>
                <a:lnTo>
                  <a:pt x="394" y="166"/>
                </a:lnTo>
                <a:lnTo>
                  <a:pt x="397" y="166"/>
                </a:lnTo>
                <a:lnTo>
                  <a:pt x="397" y="169"/>
                </a:lnTo>
                <a:lnTo>
                  <a:pt x="397" y="175"/>
                </a:lnTo>
                <a:lnTo>
                  <a:pt x="394" y="175"/>
                </a:lnTo>
                <a:lnTo>
                  <a:pt x="394" y="175"/>
                </a:lnTo>
                <a:lnTo>
                  <a:pt x="391" y="178"/>
                </a:lnTo>
                <a:lnTo>
                  <a:pt x="388" y="181"/>
                </a:lnTo>
                <a:lnTo>
                  <a:pt x="385" y="184"/>
                </a:lnTo>
                <a:lnTo>
                  <a:pt x="385" y="191"/>
                </a:lnTo>
                <a:lnTo>
                  <a:pt x="388" y="197"/>
                </a:lnTo>
                <a:lnTo>
                  <a:pt x="394" y="197"/>
                </a:lnTo>
                <a:lnTo>
                  <a:pt x="400" y="203"/>
                </a:lnTo>
                <a:lnTo>
                  <a:pt x="400" y="209"/>
                </a:lnTo>
                <a:lnTo>
                  <a:pt x="400" y="216"/>
                </a:lnTo>
                <a:lnTo>
                  <a:pt x="400" y="219"/>
                </a:lnTo>
                <a:lnTo>
                  <a:pt x="400" y="225"/>
                </a:lnTo>
                <a:lnTo>
                  <a:pt x="407" y="234"/>
                </a:lnTo>
                <a:lnTo>
                  <a:pt x="407" y="238"/>
                </a:lnTo>
                <a:lnTo>
                  <a:pt x="410" y="241"/>
                </a:lnTo>
                <a:lnTo>
                  <a:pt x="410" y="247"/>
                </a:lnTo>
                <a:lnTo>
                  <a:pt x="407" y="247"/>
                </a:lnTo>
                <a:lnTo>
                  <a:pt x="410" y="253"/>
                </a:lnTo>
                <a:lnTo>
                  <a:pt x="410" y="256"/>
                </a:lnTo>
                <a:lnTo>
                  <a:pt x="407" y="253"/>
                </a:lnTo>
                <a:lnTo>
                  <a:pt x="407" y="256"/>
                </a:lnTo>
                <a:lnTo>
                  <a:pt x="403" y="253"/>
                </a:lnTo>
                <a:lnTo>
                  <a:pt x="400" y="250"/>
                </a:lnTo>
                <a:lnTo>
                  <a:pt x="400" y="247"/>
                </a:lnTo>
                <a:lnTo>
                  <a:pt x="400" y="250"/>
                </a:lnTo>
                <a:lnTo>
                  <a:pt x="400" y="250"/>
                </a:lnTo>
                <a:lnTo>
                  <a:pt x="400" y="250"/>
                </a:lnTo>
                <a:lnTo>
                  <a:pt x="397" y="250"/>
                </a:lnTo>
                <a:lnTo>
                  <a:pt x="394" y="250"/>
                </a:lnTo>
                <a:lnTo>
                  <a:pt x="394" y="253"/>
                </a:lnTo>
                <a:lnTo>
                  <a:pt x="391" y="250"/>
                </a:lnTo>
                <a:lnTo>
                  <a:pt x="391" y="247"/>
                </a:lnTo>
                <a:lnTo>
                  <a:pt x="391" y="244"/>
                </a:lnTo>
                <a:lnTo>
                  <a:pt x="388" y="241"/>
                </a:lnTo>
                <a:lnTo>
                  <a:pt x="385" y="241"/>
                </a:lnTo>
                <a:lnTo>
                  <a:pt x="385" y="241"/>
                </a:lnTo>
                <a:lnTo>
                  <a:pt x="388" y="241"/>
                </a:lnTo>
                <a:lnTo>
                  <a:pt x="391" y="244"/>
                </a:lnTo>
                <a:lnTo>
                  <a:pt x="388" y="244"/>
                </a:lnTo>
                <a:lnTo>
                  <a:pt x="388" y="247"/>
                </a:lnTo>
                <a:lnTo>
                  <a:pt x="388" y="250"/>
                </a:lnTo>
                <a:lnTo>
                  <a:pt x="385" y="253"/>
                </a:lnTo>
                <a:lnTo>
                  <a:pt x="372" y="259"/>
                </a:lnTo>
                <a:lnTo>
                  <a:pt x="369" y="259"/>
                </a:lnTo>
                <a:lnTo>
                  <a:pt x="369" y="263"/>
                </a:lnTo>
                <a:lnTo>
                  <a:pt x="366" y="266"/>
                </a:lnTo>
                <a:lnTo>
                  <a:pt x="369" y="269"/>
                </a:lnTo>
                <a:lnTo>
                  <a:pt x="369" y="272"/>
                </a:lnTo>
                <a:lnTo>
                  <a:pt x="369" y="275"/>
                </a:lnTo>
                <a:lnTo>
                  <a:pt x="369" y="275"/>
                </a:lnTo>
                <a:lnTo>
                  <a:pt x="366" y="278"/>
                </a:lnTo>
                <a:lnTo>
                  <a:pt x="366" y="281"/>
                </a:lnTo>
                <a:lnTo>
                  <a:pt x="363" y="285"/>
                </a:lnTo>
                <a:lnTo>
                  <a:pt x="363" y="285"/>
                </a:lnTo>
                <a:lnTo>
                  <a:pt x="357" y="291"/>
                </a:lnTo>
                <a:lnTo>
                  <a:pt x="357" y="294"/>
                </a:lnTo>
                <a:lnTo>
                  <a:pt x="347" y="297"/>
                </a:lnTo>
                <a:lnTo>
                  <a:pt x="344" y="297"/>
                </a:lnTo>
                <a:lnTo>
                  <a:pt x="344" y="294"/>
                </a:lnTo>
                <a:lnTo>
                  <a:pt x="344" y="294"/>
                </a:lnTo>
                <a:lnTo>
                  <a:pt x="341" y="294"/>
                </a:lnTo>
                <a:lnTo>
                  <a:pt x="338" y="297"/>
                </a:lnTo>
                <a:lnTo>
                  <a:pt x="338" y="297"/>
                </a:lnTo>
                <a:lnTo>
                  <a:pt x="335" y="303"/>
                </a:lnTo>
                <a:lnTo>
                  <a:pt x="338" y="300"/>
                </a:lnTo>
                <a:lnTo>
                  <a:pt x="341" y="300"/>
                </a:lnTo>
                <a:lnTo>
                  <a:pt x="341" y="300"/>
                </a:lnTo>
                <a:lnTo>
                  <a:pt x="328" y="313"/>
                </a:lnTo>
                <a:lnTo>
                  <a:pt x="325" y="322"/>
                </a:lnTo>
                <a:lnTo>
                  <a:pt x="307" y="335"/>
                </a:lnTo>
                <a:lnTo>
                  <a:pt x="303" y="341"/>
                </a:lnTo>
                <a:lnTo>
                  <a:pt x="300" y="344"/>
                </a:lnTo>
                <a:lnTo>
                  <a:pt x="294" y="347"/>
                </a:lnTo>
                <a:lnTo>
                  <a:pt x="288" y="353"/>
                </a:lnTo>
                <a:lnTo>
                  <a:pt x="288" y="356"/>
                </a:lnTo>
                <a:lnTo>
                  <a:pt x="288" y="360"/>
                </a:lnTo>
                <a:lnTo>
                  <a:pt x="285" y="366"/>
                </a:lnTo>
                <a:lnTo>
                  <a:pt x="282" y="369"/>
                </a:lnTo>
                <a:lnTo>
                  <a:pt x="272" y="366"/>
                </a:lnTo>
                <a:lnTo>
                  <a:pt x="269" y="369"/>
                </a:lnTo>
                <a:lnTo>
                  <a:pt x="269" y="375"/>
                </a:lnTo>
                <a:lnTo>
                  <a:pt x="263" y="381"/>
                </a:lnTo>
                <a:lnTo>
                  <a:pt x="260" y="381"/>
                </a:lnTo>
                <a:lnTo>
                  <a:pt x="257" y="378"/>
                </a:lnTo>
                <a:lnTo>
                  <a:pt x="257" y="378"/>
                </a:lnTo>
                <a:lnTo>
                  <a:pt x="250" y="385"/>
                </a:lnTo>
                <a:lnTo>
                  <a:pt x="247" y="388"/>
                </a:lnTo>
                <a:lnTo>
                  <a:pt x="247" y="394"/>
                </a:lnTo>
                <a:lnTo>
                  <a:pt x="250" y="403"/>
                </a:lnTo>
                <a:lnTo>
                  <a:pt x="247" y="410"/>
                </a:lnTo>
                <a:lnTo>
                  <a:pt x="247" y="413"/>
                </a:lnTo>
                <a:lnTo>
                  <a:pt x="247" y="428"/>
                </a:lnTo>
                <a:lnTo>
                  <a:pt x="253" y="432"/>
                </a:lnTo>
                <a:lnTo>
                  <a:pt x="253" y="441"/>
                </a:lnTo>
                <a:lnTo>
                  <a:pt x="250" y="453"/>
                </a:lnTo>
                <a:lnTo>
                  <a:pt x="244" y="463"/>
                </a:lnTo>
                <a:lnTo>
                  <a:pt x="244" y="469"/>
                </a:lnTo>
                <a:lnTo>
                  <a:pt x="247" y="472"/>
                </a:lnTo>
                <a:lnTo>
                  <a:pt x="247" y="488"/>
                </a:lnTo>
                <a:lnTo>
                  <a:pt x="247" y="494"/>
                </a:lnTo>
                <a:lnTo>
                  <a:pt x="244" y="494"/>
                </a:lnTo>
                <a:lnTo>
                  <a:pt x="241" y="494"/>
                </a:lnTo>
                <a:lnTo>
                  <a:pt x="238" y="494"/>
                </a:lnTo>
                <a:lnTo>
                  <a:pt x="235" y="497"/>
                </a:lnTo>
                <a:lnTo>
                  <a:pt x="235" y="500"/>
                </a:lnTo>
                <a:lnTo>
                  <a:pt x="232" y="507"/>
                </a:lnTo>
                <a:lnTo>
                  <a:pt x="228" y="510"/>
                </a:lnTo>
                <a:lnTo>
                  <a:pt x="228" y="513"/>
                </a:lnTo>
                <a:lnTo>
                  <a:pt x="235" y="516"/>
                </a:lnTo>
                <a:lnTo>
                  <a:pt x="238" y="516"/>
                </a:lnTo>
                <a:lnTo>
                  <a:pt x="238" y="519"/>
                </a:lnTo>
                <a:lnTo>
                  <a:pt x="235" y="516"/>
                </a:lnTo>
                <a:lnTo>
                  <a:pt x="232" y="516"/>
                </a:lnTo>
                <a:lnTo>
                  <a:pt x="225" y="519"/>
                </a:lnTo>
                <a:lnTo>
                  <a:pt x="222" y="516"/>
                </a:lnTo>
                <a:lnTo>
                  <a:pt x="216" y="519"/>
                </a:lnTo>
                <a:lnTo>
                  <a:pt x="213" y="525"/>
                </a:lnTo>
                <a:lnTo>
                  <a:pt x="213" y="525"/>
                </a:lnTo>
                <a:lnTo>
                  <a:pt x="213" y="529"/>
                </a:lnTo>
                <a:lnTo>
                  <a:pt x="213" y="529"/>
                </a:lnTo>
                <a:lnTo>
                  <a:pt x="213" y="535"/>
                </a:lnTo>
                <a:lnTo>
                  <a:pt x="203" y="538"/>
                </a:lnTo>
                <a:lnTo>
                  <a:pt x="197" y="538"/>
                </a:lnTo>
                <a:lnTo>
                  <a:pt x="191" y="535"/>
                </a:lnTo>
                <a:lnTo>
                  <a:pt x="185" y="525"/>
                </a:lnTo>
                <a:lnTo>
                  <a:pt x="178" y="513"/>
                </a:lnTo>
                <a:lnTo>
                  <a:pt x="178" y="503"/>
                </a:lnTo>
                <a:lnTo>
                  <a:pt x="175" y="497"/>
                </a:lnTo>
                <a:lnTo>
                  <a:pt x="172" y="488"/>
                </a:lnTo>
                <a:lnTo>
                  <a:pt x="172" y="485"/>
                </a:lnTo>
                <a:lnTo>
                  <a:pt x="169" y="485"/>
                </a:lnTo>
                <a:lnTo>
                  <a:pt x="169" y="478"/>
                </a:lnTo>
                <a:lnTo>
                  <a:pt x="166" y="472"/>
                </a:lnTo>
                <a:lnTo>
                  <a:pt x="160" y="466"/>
                </a:lnTo>
                <a:lnTo>
                  <a:pt x="157" y="460"/>
                </a:lnTo>
                <a:lnTo>
                  <a:pt x="157" y="460"/>
                </a:lnTo>
                <a:lnTo>
                  <a:pt x="150" y="453"/>
                </a:lnTo>
                <a:lnTo>
                  <a:pt x="147" y="450"/>
                </a:lnTo>
                <a:lnTo>
                  <a:pt x="147" y="447"/>
                </a:lnTo>
                <a:lnTo>
                  <a:pt x="147" y="441"/>
                </a:lnTo>
                <a:lnTo>
                  <a:pt x="144" y="438"/>
                </a:lnTo>
                <a:lnTo>
                  <a:pt x="141" y="428"/>
                </a:lnTo>
                <a:lnTo>
                  <a:pt x="138" y="422"/>
                </a:lnTo>
                <a:lnTo>
                  <a:pt x="138" y="416"/>
                </a:lnTo>
                <a:lnTo>
                  <a:pt x="135" y="413"/>
                </a:lnTo>
                <a:lnTo>
                  <a:pt x="135" y="407"/>
                </a:lnTo>
                <a:lnTo>
                  <a:pt x="135" y="407"/>
                </a:lnTo>
                <a:lnTo>
                  <a:pt x="128" y="400"/>
                </a:lnTo>
                <a:lnTo>
                  <a:pt x="128" y="397"/>
                </a:lnTo>
                <a:lnTo>
                  <a:pt x="128" y="397"/>
                </a:lnTo>
                <a:lnTo>
                  <a:pt x="122" y="391"/>
                </a:lnTo>
                <a:lnTo>
                  <a:pt x="122" y="388"/>
                </a:lnTo>
                <a:lnTo>
                  <a:pt x="119" y="385"/>
                </a:lnTo>
                <a:lnTo>
                  <a:pt x="119" y="381"/>
                </a:lnTo>
                <a:lnTo>
                  <a:pt x="116" y="378"/>
                </a:lnTo>
                <a:lnTo>
                  <a:pt x="113" y="369"/>
                </a:lnTo>
                <a:lnTo>
                  <a:pt x="113" y="360"/>
                </a:lnTo>
                <a:lnTo>
                  <a:pt x="103" y="341"/>
                </a:lnTo>
                <a:lnTo>
                  <a:pt x="103" y="338"/>
                </a:lnTo>
                <a:lnTo>
                  <a:pt x="100" y="331"/>
                </a:lnTo>
                <a:lnTo>
                  <a:pt x="103" y="331"/>
                </a:lnTo>
                <a:lnTo>
                  <a:pt x="97" y="322"/>
                </a:lnTo>
                <a:lnTo>
                  <a:pt x="97" y="319"/>
                </a:lnTo>
                <a:lnTo>
                  <a:pt x="100" y="319"/>
                </a:lnTo>
                <a:lnTo>
                  <a:pt x="100" y="316"/>
                </a:lnTo>
                <a:lnTo>
                  <a:pt x="97" y="313"/>
                </a:lnTo>
                <a:lnTo>
                  <a:pt x="94" y="300"/>
                </a:lnTo>
                <a:lnTo>
                  <a:pt x="91" y="294"/>
                </a:lnTo>
                <a:lnTo>
                  <a:pt x="94" y="294"/>
                </a:lnTo>
                <a:lnTo>
                  <a:pt x="91" y="291"/>
                </a:lnTo>
                <a:lnTo>
                  <a:pt x="91" y="288"/>
                </a:lnTo>
                <a:lnTo>
                  <a:pt x="94" y="285"/>
                </a:lnTo>
                <a:lnTo>
                  <a:pt x="94" y="278"/>
                </a:lnTo>
                <a:lnTo>
                  <a:pt x="91" y="272"/>
                </a:lnTo>
                <a:lnTo>
                  <a:pt x="91" y="272"/>
                </a:lnTo>
                <a:lnTo>
                  <a:pt x="88" y="263"/>
                </a:lnTo>
                <a:lnTo>
                  <a:pt x="91" y="259"/>
                </a:lnTo>
                <a:lnTo>
                  <a:pt x="94" y="256"/>
                </a:lnTo>
                <a:lnTo>
                  <a:pt x="97" y="256"/>
                </a:lnTo>
                <a:lnTo>
                  <a:pt x="94" y="256"/>
                </a:lnTo>
                <a:lnTo>
                  <a:pt x="88" y="256"/>
                </a:lnTo>
                <a:lnTo>
                  <a:pt x="88" y="256"/>
                </a:lnTo>
                <a:lnTo>
                  <a:pt x="88" y="253"/>
                </a:lnTo>
                <a:lnTo>
                  <a:pt x="85" y="250"/>
                </a:lnTo>
                <a:lnTo>
                  <a:pt x="85" y="247"/>
                </a:lnTo>
                <a:lnTo>
                  <a:pt x="88" y="244"/>
                </a:lnTo>
                <a:lnTo>
                  <a:pt x="88" y="244"/>
                </a:lnTo>
                <a:lnTo>
                  <a:pt x="94" y="241"/>
                </a:lnTo>
                <a:lnTo>
                  <a:pt x="94" y="241"/>
                </a:lnTo>
                <a:lnTo>
                  <a:pt x="91" y="241"/>
                </a:lnTo>
                <a:lnTo>
                  <a:pt x="88" y="241"/>
                </a:lnTo>
                <a:lnTo>
                  <a:pt x="85" y="241"/>
                </a:lnTo>
                <a:lnTo>
                  <a:pt x="82" y="238"/>
                </a:lnTo>
                <a:lnTo>
                  <a:pt x="82" y="241"/>
                </a:lnTo>
                <a:lnTo>
                  <a:pt x="82" y="244"/>
                </a:lnTo>
                <a:lnTo>
                  <a:pt x="78" y="253"/>
                </a:lnTo>
                <a:lnTo>
                  <a:pt x="82" y="256"/>
                </a:lnTo>
                <a:lnTo>
                  <a:pt x="82" y="263"/>
                </a:lnTo>
                <a:lnTo>
                  <a:pt x="78" y="266"/>
                </a:lnTo>
                <a:lnTo>
                  <a:pt x="78" y="269"/>
                </a:lnTo>
                <a:lnTo>
                  <a:pt x="72" y="272"/>
                </a:lnTo>
                <a:lnTo>
                  <a:pt x="60" y="278"/>
                </a:lnTo>
                <a:lnTo>
                  <a:pt x="57" y="278"/>
                </a:lnTo>
                <a:lnTo>
                  <a:pt x="50" y="278"/>
                </a:lnTo>
                <a:lnTo>
                  <a:pt x="35" y="266"/>
                </a:lnTo>
                <a:lnTo>
                  <a:pt x="28" y="256"/>
                </a:lnTo>
                <a:lnTo>
                  <a:pt x="28" y="256"/>
                </a:lnTo>
                <a:lnTo>
                  <a:pt x="25" y="256"/>
                </a:lnTo>
                <a:lnTo>
                  <a:pt x="22" y="253"/>
                </a:lnTo>
                <a:lnTo>
                  <a:pt x="16" y="247"/>
                </a:lnTo>
                <a:lnTo>
                  <a:pt x="13" y="244"/>
                </a:lnTo>
                <a:lnTo>
                  <a:pt x="16" y="241"/>
                </a:lnTo>
                <a:lnTo>
                  <a:pt x="16" y="241"/>
                </a:lnTo>
                <a:lnTo>
                  <a:pt x="19" y="241"/>
                </a:lnTo>
                <a:lnTo>
                  <a:pt x="19" y="241"/>
                </a:lnTo>
                <a:lnTo>
                  <a:pt x="19" y="247"/>
                </a:lnTo>
                <a:lnTo>
                  <a:pt x="22" y="247"/>
                </a:lnTo>
                <a:lnTo>
                  <a:pt x="25" y="244"/>
                </a:lnTo>
                <a:lnTo>
                  <a:pt x="25" y="244"/>
                </a:lnTo>
                <a:lnTo>
                  <a:pt x="28" y="247"/>
                </a:lnTo>
                <a:lnTo>
                  <a:pt x="28" y="244"/>
                </a:lnTo>
                <a:lnTo>
                  <a:pt x="38" y="238"/>
                </a:lnTo>
                <a:lnTo>
                  <a:pt x="41" y="238"/>
                </a:lnTo>
                <a:lnTo>
                  <a:pt x="44" y="231"/>
                </a:lnTo>
                <a:lnTo>
                  <a:pt x="44" y="231"/>
                </a:lnTo>
                <a:lnTo>
                  <a:pt x="47" y="228"/>
                </a:lnTo>
                <a:lnTo>
                  <a:pt x="41" y="228"/>
                </a:lnTo>
                <a:lnTo>
                  <a:pt x="41" y="228"/>
                </a:lnTo>
                <a:lnTo>
                  <a:pt x="41" y="228"/>
                </a:lnTo>
                <a:lnTo>
                  <a:pt x="41" y="231"/>
                </a:lnTo>
                <a:lnTo>
                  <a:pt x="32" y="234"/>
                </a:lnTo>
                <a:lnTo>
                  <a:pt x="28" y="234"/>
                </a:lnTo>
                <a:lnTo>
                  <a:pt x="25" y="234"/>
                </a:lnTo>
                <a:lnTo>
                  <a:pt x="13" y="231"/>
                </a:lnTo>
                <a:lnTo>
                  <a:pt x="7" y="225"/>
                </a:lnTo>
                <a:lnTo>
                  <a:pt x="3" y="222"/>
                </a:lnTo>
                <a:lnTo>
                  <a:pt x="3" y="219"/>
                </a:lnTo>
                <a:lnTo>
                  <a:pt x="7" y="213"/>
                </a:lnTo>
                <a:lnTo>
                  <a:pt x="13" y="213"/>
                </a:lnTo>
                <a:lnTo>
                  <a:pt x="7" y="213"/>
                </a:lnTo>
                <a:lnTo>
                  <a:pt x="0" y="216"/>
                </a:lnTo>
                <a:lnTo>
                  <a:pt x="0" y="209"/>
                </a:lnTo>
                <a:lnTo>
                  <a:pt x="3" y="209"/>
                </a:lnTo>
                <a:lnTo>
                  <a:pt x="7" y="206"/>
                </a:lnTo>
                <a:lnTo>
                  <a:pt x="10" y="203"/>
                </a:lnTo>
                <a:lnTo>
                  <a:pt x="13" y="203"/>
                </a:lnTo>
                <a:lnTo>
                  <a:pt x="16" y="200"/>
                </a:lnTo>
                <a:lnTo>
                  <a:pt x="28" y="203"/>
                </a:lnTo>
                <a:lnTo>
                  <a:pt x="38" y="200"/>
                </a:lnTo>
                <a:lnTo>
                  <a:pt x="38" y="197"/>
                </a:lnTo>
                <a:lnTo>
                  <a:pt x="44" y="197"/>
                </a:lnTo>
                <a:lnTo>
                  <a:pt x="41" y="200"/>
                </a:lnTo>
                <a:lnTo>
                  <a:pt x="44" y="200"/>
                </a:lnTo>
                <a:lnTo>
                  <a:pt x="47" y="200"/>
                </a:lnTo>
                <a:lnTo>
                  <a:pt x="50" y="197"/>
                </a:lnTo>
                <a:lnTo>
                  <a:pt x="50" y="197"/>
                </a:lnTo>
                <a:lnTo>
                  <a:pt x="50" y="194"/>
                </a:lnTo>
                <a:lnTo>
                  <a:pt x="47" y="181"/>
                </a:lnTo>
                <a:lnTo>
                  <a:pt x="41" y="175"/>
                </a:lnTo>
                <a:lnTo>
                  <a:pt x="44" y="172"/>
                </a:lnTo>
                <a:lnTo>
                  <a:pt x="41" y="169"/>
                </a:lnTo>
                <a:lnTo>
                  <a:pt x="38" y="172"/>
                </a:lnTo>
                <a:lnTo>
                  <a:pt x="32" y="166"/>
                </a:lnTo>
                <a:lnTo>
                  <a:pt x="28" y="159"/>
                </a:lnTo>
                <a:lnTo>
                  <a:pt x="28" y="153"/>
                </a:lnTo>
                <a:lnTo>
                  <a:pt x="25" y="147"/>
                </a:lnTo>
                <a:lnTo>
                  <a:pt x="22" y="147"/>
                </a:lnTo>
                <a:lnTo>
                  <a:pt x="22" y="150"/>
                </a:lnTo>
                <a:lnTo>
                  <a:pt x="16" y="147"/>
                </a:lnTo>
                <a:lnTo>
                  <a:pt x="13" y="147"/>
                </a:lnTo>
                <a:lnTo>
                  <a:pt x="13" y="144"/>
                </a:lnTo>
                <a:lnTo>
                  <a:pt x="16" y="134"/>
                </a:lnTo>
                <a:lnTo>
                  <a:pt x="19" y="134"/>
                </a:lnTo>
                <a:lnTo>
                  <a:pt x="25" y="125"/>
                </a:lnTo>
                <a:lnTo>
                  <a:pt x="25" y="122"/>
                </a:lnTo>
                <a:lnTo>
                  <a:pt x="28" y="122"/>
                </a:lnTo>
                <a:lnTo>
                  <a:pt x="32" y="119"/>
                </a:lnTo>
                <a:lnTo>
                  <a:pt x="35" y="122"/>
                </a:lnTo>
                <a:lnTo>
                  <a:pt x="38" y="125"/>
                </a:lnTo>
                <a:lnTo>
                  <a:pt x="38" y="125"/>
                </a:lnTo>
                <a:lnTo>
                  <a:pt x="47" y="122"/>
                </a:lnTo>
                <a:lnTo>
                  <a:pt x="57" y="122"/>
                </a:lnTo>
                <a:lnTo>
                  <a:pt x="63" y="116"/>
                </a:lnTo>
                <a:lnTo>
                  <a:pt x="66" y="103"/>
                </a:lnTo>
                <a:lnTo>
                  <a:pt x="75" y="97"/>
                </a:lnTo>
                <a:lnTo>
                  <a:pt x="78" y="91"/>
                </a:lnTo>
                <a:lnTo>
                  <a:pt x="78" y="84"/>
                </a:lnTo>
                <a:lnTo>
                  <a:pt x="85" y="78"/>
                </a:lnTo>
                <a:lnTo>
                  <a:pt x="91" y="75"/>
                </a:lnTo>
                <a:lnTo>
                  <a:pt x="91" y="72"/>
                </a:lnTo>
                <a:lnTo>
                  <a:pt x="91" y="69"/>
                </a:lnTo>
                <a:lnTo>
                  <a:pt x="91" y="66"/>
                </a:lnTo>
                <a:lnTo>
                  <a:pt x="94" y="59"/>
                </a:lnTo>
                <a:lnTo>
                  <a:pt x="97" y="56"/>
                </a:lnTo>
                <a:lnTo>
                  <a:pt x="97" y="53"/>
                </a:lnTo>
                <a:lnTo>
                  <a:pt x="100" y="44"/>
                </a:lnTo>
                <a:lnTo>
                  <a:pt x="97" y="34"/>
                </a:lnTo>
                <a:lnTo>
                  <a:pt x="97" y="34"/>
                </a:lnTo>
                <a:lnTo>
                  <a:pt x="103" y="28"/>
                </a:lnTo>
                <a:lnTo>
                  <a:pt x="107" y="28"/>
                </a:lnTo>
                <a:lnTo>
                  <a:pt x="110" y="25"/>
                </a:lnTo>
                <a:lnTo>
                  <a:pt x="113" y="25"/>
                </a:lnTo>
                <a:lnTo>
                  <a:pt x="119" y="19"/>
                </a:lnTo>
                <a:lnTo>
                  <a:pt x="122" y="9"/>
                </a:lnTo>
                <a:lnTo>
                  <a:pt x="128" y="3"/>
                </a:lnTo>
                <a:lnTo>
                  <a:pt x="135" y="3"/>
                </a:lnTo>
                <a:lnTo>
                  <a:pt x="138" y="0"/>
                </a:lnTo>
                <a:lnTo>
                  <a:pt x="141" y="0"/>
                </a:lnTo>
                <a:lnTo>
                  <a:pt x="150" y="6"/>
                </a:lnTo>
                <a:lnTo>
                  <a:pt x="157" y="3"/>
                </a:lnTo>
                <a:lnTo>
                  <a:pt x="163" y="6"/>
                </a:lnTo>
                <a:lnTo>
                  <a:pt x="166" y="12"/>
                </a:lnTo>
                <a:lnTo>
                  <a:pt x="169" y="9"/>
                </a:lnTo>
                <a:lnTo>
                  <a:pt x="178" y="15"/>
                </a:lnTo>
                <a:lnTo>
                  <a:pt x="178" y="15"/>
                </a:lnTo>
                <a:lnTo>
                  <a:pt x="178" y="15"/>
                </a:lnTo>
                <a:close/>
                <a:moveTo>
                  <a:pt x="400" y="253"/>
                </a:moveTo>
                <a:lnTo>
                  <a:pt x="400" y="256"/>
                </a:lnTo>
                <a:lnTo>
                  <a:pt x="400" y="256"/>
                </a:lnTo>
                <a:lnTo>
                  <a:pt x="400" y="253"/>
                </a:lnTo>
                <a:lnTo>
                  <a:pt x="400" y="253"/>
                </a:lnTo>
                <a:close/>
                <a:moveTo>
                  <a:pt x="397" y="253"/>
                </a:moveTo>
                <a:lnTo>
                  <a:pt x="397" y="253"/>
                </a:lnTo>
                <a:lnTo>
                  <a:pt x="397" y="256"/>
                </a:lnTo>
                <a:lnTo>
                  <a:pt x="397" y="256"/>
                </a:lnTo>
                <a:lnTo>
                  <a:pt x="397" y="253"/>
                </a:lnTo>
                <a:lnTo>
                  <a:pt x="397" y="253"/>
                </a:lnTo>
                <a:lnTo>
                  <a:pt x="397" y="253"/>
                </a:lnTo>
                <a:close/>
                <a:moveTo>
                  <a:pt x="394" y="253"/>
                </a:moveTo>
                <a:lnTo>
                  <a:pt x="394" y="256"/>
                </a:lnTo>
                <a:lnTo>
                  <a:pt x="394" y="259"/>
                </a:lnTo>
                <a:lnTo>
                  <a:pt x="394" y="256"/>
                </a:lnTo>
                <a:lnTo>
                  <a:pt x="394" y="253"/>
                </a:lnTo>
                <a:lnTo>
                  <a:pt x="394" y="253"/>
                </a:lnTo>
                <a:close/>
                <a:moveTo>
                  <a:pt x="388" y="253"/>
                </a:moveTo>
                <a:lnTo>
                  <a:pt x="388" y="256"/>
                </a:lnTo>
                <a:lnTo>
                  <a:pt x="388" y="256"/>
                </a:lnTo>
                <a:lnTo>
                  <a:pt x="391" y="250"/>
                </a:lnTo>
                <a:lnTo>
                  <a:pt x="391" y="250"/>
                </a:lnTo>
                <a:lnTo>
                  <a:pt x="388" y="253"/>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8" name="Freeform 36">
            <a:extLst>
              <a:ext uri="{FF2B5EF4-FFF2-40B4-BE49-F238E27FC236}">
                <a16:creationId xmlns:a16="http://schemas.microsoft.com/office/drawing/2014/main" id="{81877DC8-D975-B54F-5496-4F957CEBC3AC}"/>
              </a:ext>
            </a:extLst>
          </p:cNvPr>
          <p:cNvSpPr>
            <a:spLocks noEditPoints="1"/>
          </p:cNvSpPr>
          <p:nvPr userDrawn="1"/>
        </p:nvSpPr>
        <p:spPr bwMode="auto">
          <a:xfrm>
            <a:off x="18588411" y="7619283"/>
            <a:ext cx="317481" cy="415926"/>
          </a:xfrm>
          <a:custGeom>
            <a:avLst/>
            <a:gdLst>
              <a:gd name="T0" fmla="*/ 31 w 32"/>
              <a:gd name="T1" fmla="*/ 37 h 42"/>
              <a:gd name="T2" fmla="*/ 29 w 32"/>
              <a:gd name="T3" fmla="*/ 39 h 42"/>
              <a:gd name="T4" fmla="*/ 29 w 32"/>
              <a:gd name="T5" fmla="*/ 42 h 42"/>
              <a:gd name="T6" fmla="*/ 27 w 32"/>
              <a:gd name="T7" fmla="*/ 38 h 42"/>
              <a:gd name="T8" fmla="*/ 27 w 32"/>
              <a:gd name="T9" fmla="*/ 35 h 42"/>
              <a:gd name="T10" fmla="*/ 26 w 32"/>
              <a:gd name="T11" fmla="*/ 36 h 42"/>
              <a:gd name="T12" fmla="*/ 26 w 32"/>
              <a:gd name="T13" fmla="*/ 33 h 42"/>
              <a:gd name="T14" fmla="*/ 23 w 32"/>
              <a:gd name="T15" fmla="*/ 27 h 42"/>
              <a:gd name="T16" fmla="*/ 22 w 32"/>
              <a:gd name="T17" fmla="*/ 27 h 42"/>
              <a:gd name="T18" fmla="*/ 19 w 32"/>
              <a:gd name="T19" fmla="*/ 26 h 42"/>
              <a:gd name="T20" fmla="*/ 16 w 32"/>
              <a:gd name="T21" fmla="*/ 24 h 42"/>
              <a:gd name="T22" fmla="*/ 17 w 32"/>
              <a:gd name="T23" fmla="*/ 28 h 42"/>
              <a:gd name="T24" fmla="*/ 18 w 32"/>
              <a:gd name="T25" fmla="*/ 30 h 42"/>
              <a:gd name="T26" fmla="*/ 15 w 32"/>
              <a:gd name="T27" fmla="*/ 34 h 42"/>
              <a:gd name="T28" fmla="*/ 15 w 32"/>
              <a:gd name="T29" fmla="*/ 32 h 42"/>
              <a:gd name="T30" fmla="*/ 14 w 32"/>
              <a:gd name="T31" fmla="*/ 33 h 42"/>
              <a:gd name="T32" fmla="*/ 14 w 32"/>
              <a:gd name="T33" fmla="*/ 29 h 42"/>
              <a:gd name="T34" fmla="*/ 13 w 32"/>
              <a:gd name="T35" fmla="*/ 30 h 42"/>
              <a:gd name="T36" fmla="*/ 13 w 32"/>
              <a:gd name="T37" fmla="*/ 33 h 42"/>
              <a:gd name="T38" fmla="*/ 13 w 32"/>
              <a:gd name="T39" fmla="*/ 34 h 42"/>
              <a:gd name="T40" fmla="*/ 11 w 32"/>
              <a:gd name="T41" fmla="*/ 35 h 42"/>
              <a:gd name="T42" fmla="*/ 9 w 32"/>
              <a:gd name="T43" fmla="*/ 33 h 42"/>
              <a:gd name="T44" fmla="*/ 8 w 32"/>
              <a:gd name="T45" fmla="*/ 30 h 42"/>
              <a:gd name="T46" fmla="*/ 6 w 32"/>
              <a:gd name="T47" fmla="*/ 24 h 42"/>
              <a:gd name="T48" fmla="*/ 6 w 32"/>
              <a:gd name="T49" fmla="*/ 19 h 42"/>
              <a:gd name="T50" fmla="*/ 1 w 32"/>
              <a:gd name="T51" fmla="*/ 15 h 42"/>
              <a:gd name="T52" fmla="*/ 3 w 32"/>
              <a:gd name="T53" fmla="*/ 11 h 42"/>
              <a:gd name="T54" fmla="*/ 5 w 32"/>
              <a:gd name="T55" fmla="*/ 10 h 42"/>
              <a:gd name="T56" fmla="*/ 4 w 32"/>
              <a:gd name="T57" fmla="*/ 7 h 42"/>
              <a:gd name="T58" fmla="*/ 0 w 32"/>
              <a:gd name="T59" fmla="*/ 5 h 42"/>
              <a:gd name="T60" fmla="*/ 1 w 32"/>
              <a:gd name="T61" fmla="*/ 1 h 42"/>
              <a:gd name="T62" fmla="*/ 2 w 32"/>
              <a:gd name="T63" fmla="*/ 0 h 42"/>
              <a:gd name="T64" fmla="*/ 3 w 32"/>
              <a:gd name="T65" fmla="*/ 2 h 42"/>
              <a:gd name="T66" fmla="*/ 6 w 32"/>
              <a:gd name="T67" fmla="*/ 3 h 42"/>
              <a:gd name="T68" fmla="*/ 6 w 32"/>
              <a:gd name="T69" fmla="*/ 2 h 42"/>
              <a:gd name="T70" fmla="*/ 9 w 32"/>
              <a:gd name="T71" fmla="*/ 4 h 42"/>
              <a:gd name="T72" fmla="*/ 10 w 32"/>
              <a:gd name="T73" fmla="*/ 5 h 42"/>
              <a:gd name="T74" fmla="*/ 11 w 32"/>
              <a:gd name="T75" fmla="*/ 8 h 42"/>
              <a:gd name="T76" fmla="*/ 13 w 32"/>
              <a:gd name="T77" fmla="*/ 9 h 42"/>
              <a:gd name="T78" fmla="*/ 19 w 32"/>
              <a:gd name="T79" fmla="*/ 10 h 42"/>
              <a:gd name="T80" fmla="*/ 24 w 32"/>
              <a:gd name="T81" fmla="*/ 10 h 42"/>
              <a:gd name="T82" fmla="*/ 26 w 32"/>
              <a:gd name="T83" fmla="*/ 11 h 42"/>
              <a:gd name="T84" fmla="*/ 26 w 32"/>
              <a:gd name="T85" fmla="*/ 14 h 42"/>
              <a:gd name="T86" fmla="*/ 24 w 32"/>
              <a:gd name="T87" fmla="*/ 18 h 42"/>
              <a:gd name="T88" fmla="*/ 23 w 32"/>
              <a:gd name="T89" fmla="*/ 18 h 42"/>
              <a:gd name="T90" fmla="*/ 21 w 32"/>
              <a:gd name="T91" fmla="*/ 20 h 42"/>
              <a:gd name="T92" fmla="*/ 22 w 32"/>
              <a:gd name="T93" fmla="*/ 23 h 42"/>
              <a:gd name="T94" fmla="*/ 24 w 32"/>
              <a:gd name="T95" fmla="*/ 26 h 42"/>
              <a:gd name="T96" fmla="*/ 25 w 32"/>
              <a:gd name="T97" fmla="*/ 24 h 42"/>
              <a:gd name="T98" fmla="*/ 26 w 32"/>
              <a:gd name="T99" fmla="*/ 22 h 42"/>
              <a:gd name="T100" fmla="*/ 27 w 32"/>
              <a:gd name="T101" fmla="*/ 22 h 42"/>
              <a:gd name="T102" fmla="*/ 29 w 32"/>
              <a:gd name="T103" fmla="*/ 23 h 42"/>
              <a:gd name="T104" fmla="*/ 29 w 32"/>
              <a:gd name="T105" fmla="*/ 27 h 42"/>
              <a:gd name="T106" fmla="*/ 31 w 32"/>
              <a:gd name="T107" fmla="*/ 32 h 42"/>
              <a:gd name="T108" fmla="*/ 31 w 32"/>
              <a:gd name="T109" fmla="*/ 34 h 42"/>
              <a:gd name="T110" fmla="*/ 23 w 32"/>
              <a:gd name="T111" fmla="*/ 29 h 42"/>
              <a:gd name="T112" fmla="*/ 23 w 32"/>
              <a:gd name="T113" fmla="*/ 30 h 42"/>
              <a:gd name="T114" fmla="*/ 21 w 32"/>
              <a:gd name="T115" fmla="*/ 30 h 42"/>
              <a:gd name="T116" fmla="*/ 22 w 32"/>
              <a:gd name="T117" fmla="*/ 30 h 42"/>
              <a:gd name="T118" fmla="*/ 20 w 32"/>
              <a:gd name="T119" fmla="*/ 29 h 42"/>
              <a:gd name="T120" fmla="*/ 18 w 32"/>
              <a:gd name="T121" fmla="*/ 29 h 42"/>
              <a:gd name="T122" fmla="*/ 19 w 32"/>
              <a:gd name="T123" fmla="*/ 2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 h="42">
                <a:moveTo>
                  <a:pt x="32" y="34"/>
                </a:moveTo>
                <a:cubicBezTo>
                  <a:pt x="32" y="36"/>
                  <a:pt x="32" y="36"/>
                  <a:pt x="32" y="36"/>
                </a:cubicBezTo>
                <a:cubicBezTo>
                  <a:pt x="31" y="37"/>
                  <a:pt x="31" y="37"/>
                  <a:pt x="31" y="37"/>
                </a:cubicBezTo>
                <a:cubicBezTo>
                  <a:pt x="30" y="37"/>
                  <a:pt x="30" y="37"/>
                  <a:pt x="30" y="37"/>
                </a:cubicBezTo>
                <a:cubicBezTo>
                  <a:pt x="29" y="38"/>
                  <a:pt x="29" y="38"/>
                  <a:pt x="29" y="38"/>
                </a:cubicBezTo>
                <a:cubicBezTo>
                  <a:pt x="29" y="39"/>
                  <a:pt x="29" y="39"/>
                  <a:pt x="29" y="39"/>
                </a:cubicBezTo>
                <a:cubicBezTo>
                  <a:pt x="29" y="40"/>
                  <a:pt x="29" y="40"/>
                  <a:pt x="29" y="40"/>
                </a:cubicBezTo>
                <a:cubicBezTo>
                  <a:pt x="29" y="40"/>
                  <a:pt x="29" y="40"/>
                  <a:pt x="29" y="40"/>
                </a:cubicBezTo>
                <a:cubicBezTo>
                  <a:pt x="29" y="42"/>
                  <a:pt x="29" y="42"/>
                  <a:pt x="29" y="42"/>
                </a:cubicBezTo>
                <a:cubicBezTo>
                  <a:pt x="29" y="42"/>
                  <a:pt x="29" y="42"/>
                  <a:pt x="29" y="42"/>
                </a:cubicBezTo>
                <a:cubicBezTo>
                  <a:pt x="28" y="39"/>
                  <a:pt x="28" y="39"/>
                  <a:pt x="28" y="39"/>
                </a:cubicBezTo>
                <a:cubicBezTo>
                  <a:pt x="27" y="38"/>
                  <a:pt x="27" y="38"/>
                  <a:pt x="27" y="38"/>
                </a:cubicBezTo>
                <a:cubicBezTo>
                  <a:pt x="27" y="37"/>
                  <a:pt x="27" y="37"/>
                  <a:pt x="27" y="37"/>
                </a:cubicBezTo>
                <a:cubicBezTo>
                  <a:pt x="27" y="36"/>
                  <a:pt x="27" y="36"/>
                  <a:pt x="27" y="36"/>
                </a:cubicBezTo>
                <a:cubicBezTo>
                  <a:pt x="27" y="35"/>
                  <a:pt x="27" y="35"/>
                  <a:pt x="27" y="35"/>
                </a:cubicBezTo>
                <a:cubicBezTo>
                  <a:pt x="27" y="36"/>
                  <a:pt x="27" y="36"/>
                  <a:pt x="27" y="36"/>
                </a:cubicBezTo>
                <a:cubicBezTo>
                  <a:pt x="26" y="37"/>
                  <a:pt x="26" y="37"/>
                  <a:pt x="26" y="37"/>
                </a:cubicBezTo>
                <a:cubicBezTo>
                  <a:pt x="26" y="36"/>
                  <a:pt x="26" y="36"/>
                  <a:pt x="26" y="36"/>
                </a:cubicBezTo>
                <a:cubicBezTo>
                  <a:pt x="26" y="34"/>
                  <a:pt x="26" y="34"/>
                  <a:pt x="26" y="34"/>
                </a:cubicBezTo>
                <a:cubicBezTo>
                  <a:pt x="26" y="34"/>
                  <a:pt x="26" y="34"/>
                  <a:pt x="26" y="34"/>
                </a:cubicBezTo>
                <a:cubicBezTo>
                  <a:pt x="26" y="33"/>
                  <a:pt x="26" y="33"/>
                  <a:pt x="26" y="33"/>
                </a:cubicBezTo>
                <a:cubicBezTo>
                  <a:pt x="26" y="32"/>
                  <a:pt x="26" y="32"/>
                  <a:pt x="26" y="32"/>
                </a:cubicBezTo>
                <a:cubicBezTo>
                  <a:pt x="25" y="31"/>
                  <a:pt x="25" y="31"/>
                  <a:pt x="25" y="31"/>
                </a:cubicBezTo>
                <a:cubicBezTo>
                  <a:pt x="23" y="27"/>
                  <a:pt x="23" y="27"/>
                  <a:pt x="23" y="27"/>
                </a:cubicBezTo>
                <a:cubicBezTo>
                  <a:pt x="23" y="27"/>
                  <a:pt x="23" y="27"/>
                  <a:pt x="23" y="27"/>
                </a:cubicBezTo>
                <a:cubicBezTo>
                  <a:pt x="23" y="27"/>
                  <a:pt x="23" y="27"/>
                  <a:pt x="23" y="27"/>
                </a:cubicBezTo>
                <a:cubicBezTo>
                  <a:pt x="22" y="27"/>
                  <a:pt x="22" y="27"/>
                  <a:pt x="22" y="27"/>
                </a:cubicBezTo>
                <a:cubicBezTo>
                  <a:pt x="21" y="28"/>
                  <a:pt x="21" y="28"/>
                  <a:pt x="21" y="28"/>
                </a:cubicBezTo>
                <a:cubicBezTo>
                  <a:pt x="19" y="27"/>
                  <a:pt x="19" y="27"/>
                  <a:pt x="19" y="27"/>
                </a:cubicBezTo>
                <a:cubicBezTo>
                  <a:pt x="19" y="26"/>
                  <a:pt x="19" y="26"/>
                  <a:pt x="19" y="26"/>
                </a:cubicBezTo>
                <a:cubicBezTo>
                  <a:pt x="18" y="26"/>
                  <a:pt x="18" y="26"/>
                  <a:pt x="18" y="26"/>
                </a:cubicBezTo>
                <a:cubicBezTo>
                  <a:pt x="17" y="25"/>
                  <a:pt x="17" y="25"/>
                  <a:pt x="17" y="25"/>
                </a:cubicBezTo>
                <a:cubicBezTo>
                  <a:pt x="16" y="24"/>
                  <a:pt x="16" y="24"/>
                  <a:pt x="16" y="24"/>
                </a:cubicBezTo>
                <a:cubicBezTo>
                  <a:pt x="17" y="26"/>
                  <a:pt x="17" y="26"/>
                  <a:pt x="17" y="26"/>
                </a:cubicBezTo>
                <a:cubicBezTo>
                  <a:pt x="17" y="27"/>
                  <a:pt x="17" y="27"/>
                  <a:pt x="17" y="27"/>
                </a:cubicBezTo>
                <a:cubicBezTo>
                  <a:pt x="17" y="28"/>
                  <a:pt x="17" y="28"/>
                  <a:pt x="17" y="28"/>
                </a:cubicBezTo>
                <a:cubicBezTo>
                  <a:pt x="16" y="28"/>
                  <a:pt x="16" y="28"/>
                  <a:pt x="16" y="28"/>
                </a:cubicBezTo>
                <a:cubicBezTo>
                  <a:pt x="17" y="28"/>
                  <a:pt x="17" y="28"/>
                  <a:pt x="17" y="28"/>
                </a:cubicBezTo>
                <a:cubicBezTo>
                  <a:pt x="18" y="30"/>
                  <a:pt x="18" y="30"/>
                  <a:pt x="18" y="30"/>
                </a:cubicBezTo>
                <a:cubicBezTo>
                  <a:pt x="17" y="32"/>
                  <a:pt x="17" y="32"/>
                  <a:pt x="17" y="32"/>
                </a:cubicBezTo>
                <a:cubicBezTo>
                  <a:pt x="16" y="32"/>
                  <a:pt x="16" y="32"/>
                  <a:pt x="16" y="32"/>
                </a:cubicBezTo>
                <a:cubicBezTo>
                  <a:pt x="15" y="34"/>
                  <a:pt x="15" y="34"/>
                  <a:pt x="15" y="34"/>
                </a:cubicBezTo>
                <a:cubicBezTo>
                  <a:pt x="14" y="33"/>
                  <a:pt x="14" y="33"/>
                  <a:pt x="14" y="33"/>
                </a:cubicBezTo>
                <a:cubicBezTo>
                  <a:pt x="15" y="32"/>
                  <a:pt x="15" y="32"/>
                  <a:pt x="15" y="32"/>
                </a:cubicBezTo>
                <a:cubicBezTo>
                  <a:pt x="15" y="32"/>
                  <a:pt x="15" y="32"/>
                  <a:pt x="15" y="32"/>
                </a:cubicBezTo>
                <a:cubicBezTo>
                  <a:pt x="16" y="31"/>
                  <a:pt x="16" y="31"/>
                  <a:pt x="16" y="31"/>
                </a:cubicBezTo>
                <a:cubicBezTo>
                  <a:pt x="15" y="32"/>
                  <a:pt x="15" y="32"/>
                  <a:pt x="15" y="32"/>
                </a:cubicBezTo>
                <a:cubicBezTo>
                  <a:pt x="14" y="33"/>
                  <a:pt x="14" y="33"/>
                  <a:pt x="14" y="33"/>
                </a:cubicBezTo>
                <a:cubicBezTo>
                  <a:pt x="13" y="32"/>
                  <a:pt x="13" y="32"/>
                  <a:pt x="13" y="32"/>
                </a:cubicBezTo>
                <a:cubicBezTo>
                  <a:pt x="14" y="30"/>
                  <a:pt x="14" y="30"/>
                  <a:pt x="14" y="30"/>
                </a:cubicBezTo>
                <a:cubicBezTo>
                  <a:pt x="14" y="29"/>
                  <a:pt x="14" y="29"/>
                  <a:pt x="14" y="29"/>
                </a:cubicBezTo>
                <a:cubicBezTo>
                  <a:pt x="13" y="29"/>
                  <a:pt x="13" y="29"/>
                  <a:pt x="13" y="29"/>
                </a:cubicBezTo>
                <a:cubicBezTo>
                  <a:pt x="14" y="29"/>
                  <a:pt x="14" y="29"/>
                  <a:pt x="14" y="29"/>
                </a:cubicBezTo>
                <a:cubicBezTo>
                  <a:pt x="13" y="30"/>
                  <a:pt x="13" y="30"/>
                  <a:pt x="13" y="30"/>
                </a:cubicBezTo>
                <a:cubicBezTo>
                  <a:pt x="13" y="31"/>
                  <a:pt x="13" y="31"/>
                  <a:pt x="13" y="31"/>
                </a:cubicBezTo>
                <a:cubicBezTo>
                  <a:pt x="13" y="32"/>
                  <a:pt x="13" y="32"/>
                  <a:pt x="13" y="32"/>
                </a:cubicBezTo>
                <a:cubicBezTo>
                  <a:pt x="13" y="33"/>
                  <a:pt x="13" y="33"/>
                  <a:pt x="13" y="33"/>
                </a:cubicBezTo>
                <a:cubicBezTo>
                  <a:pt x="13" y="34"/>
                  <a:pt x="13" y="34"/>
                  <a:pt x="13" y="34"/>
                </a:cubicBezTo>
                <a:cubicBezTo>
                  <a:pt x="13" y="34"/>
                  <a:pt x="13" y="34"/>
                  <a:pt x="13" y="34"/>
                </a:cubicBezTo>
                <a:cubicBezTo>
                  <a:pt x="13" y="34"/>
                  <a:pt x="13" y="34"/>
                  <a:pt x="13" y="34"/>
                </a:cubicBezTo>
                <a:cubicBezTo>
                  <a:pt x="12" y="34"/>
                  <a:pt x="12" y="34"/>
                  <a:pt x="12" y="34"/>
                </a:cubicBezTo>
                <a:cubicBezTo>
                  <a:pt x="11" y="34"/>
                  <a:pt x="11" y="34"/>
                  <a:pt x="11" y="34"/>
                </a:cubicBezTo>
                <a:cubicBezTo>
                  <a:pt x="11" y="35"/>
                  <a:pt x="11" y="35"/>
                  <a:pt x="11" y="35"/>
                </a:cubicBezTo>
                <a:cubicBezTo>
                  <a:pt x="10" y="35"/>
                  <a:pt x="10" y="35"/>
                  <a:pt x="10" y="35"/>
                </a:cubicBezTo>
                <a:cubicBezTo>
                  <a:pt x="10" y="34"/>
                  <a:pt x="10" y="34"/>
                  <a:pt x="10" y="34"/>
                </a:cubicBezTo>
                <a:cubicBezTo>
                  <a:pt x="9" y="33"/>
                  <a:pt x="9" y="33"/>
                  <a:pt x="9" y="33"/>
                </a:cubicBezTo>
                <a:cubicBezTo>
                  <a:pt x="9" y="33"/>
                  <a:pt x="9" y="33"/>
                  <a:pt x="9" y="33"/>
                </a:cubicBezTo>
                <a:cubicBezTo>
                  <a:pt x="9" y="31"/>
                  <a:pt x="9" y="31"/>
                  <a:pt x="9" y="31"/>
                </a:cubicBezTo>
                <a:cubicBezTo>
                  <a:pt x="8" y="30"/>
                  <a:pt x="8" y="30"/>
                  <a:pt x="8" y="30"/>
                </a:cubicBezTo>
                <a:cubicBezTo>
                  <a:pt x="8" y="29"/>
                  <a:pt x="8" y="29"/>
                  <a:pt x="8" y="29"/>
                </a:cubicBezTo>
                <a:cubicBezTo>
                  <a:pt x="6" y="26"/>
                  <a:pt x="6" y="26"/>
                  <a:pt x="6" y="26"/>
                </a:cubicBezTo>
                <a:cubicBezTo>
                  <a:pt x="6" y="24"/>
                  <a:pt x="6" y="24"/>
                  <a:pt x="6" y="24"/>
                </a:cubicBezTo>
                <a:cubicBezTo>
                  <a:pt x="6" y="23"/>
                  <a:pt x="6" y="23"/>
                  <a:pt x="6" y="23"/>
                </a:cubicBezTo>
                <a:cubicBezTo>
                  <a:pt x="6" y="21"/>
                  <a:pt x="6" y="21"/>
                  <a:pt x="6" y="21"/>
                </a:cubicBezTo>
                <a:cubicBezTo>
                  <a:pt x="6" y="19"/>
                  <a:pt x="6" y="19"/>
                  <a:pt x="6" y="19"/>
                </a:cubicBezTo>
                <a:cubicBezTo>
                  <a:pt x="4" y="17"/>
                  <a:pt x="4" y="17"/>
                  <a:pt x="4" y="17"/>
                </a:cubicBezTo>
                <a:cubicBezTo>
                  <a:pt x="2" y="17"/>
                  <a:pt x="2" y="17"/>
                  <a:pt x="2" y="17"/>
                </a:cubicBezTo>
                <a:cubicBezTo>
                  <a:pt x="1" y="15"/>
                  <a:pt x="1" y="15"/>
                  <a:pt x="1" y="15"/>
                </a:cubicBezTo>
                <a:cubicBezTo>
                  <a:pt x="1" y="13"/>
                  <a:pt x="1" y="13"/>
                  <a:pt x="1" y="13"/>
                </a:cubicBezTo>
                <a:cubicBezTo>
                  <a:pt x="2" y="12"/>
                  <a:pt x="2" y="12"/>
                  <a:pt x="2" y="12"/>
                </a:cubicBezTo>
                <a:cubicBezTo>
                  <a:pt x="3" y="11"/>
                  <a:pt x="3" y="11"/>
                  <a:pt x="3" y="11"/>
                </a:cubicBezTo>
                <a:cubicBezTo>
                  <a:pt x="4" y="10"/>
                  <a:pt x="4" y="10"/>
                  <a:pt x="4" y="10"/>
                </a:cubicBezTo>
                <a:cubicBezTo>
                  <a:pt x="4" y="10"/>
                  <a:pt x="4" y="10"/>
                  <a:pt x="4" y="10"/>
                </a:cubicBezTo>
                <a:cubicBezTo>
                  <a:pt x="5" y="10"/>
                  <a:pt x="5" y="10"/>
                  <a:pt x="5" y="10"/>
                </a:cubicBezTo>
                <a:cubicBezTo>
                  <a:pt x="5" y="8"/>
                  <a:pt x="5" y="8"/>
                  <a:pt x="5" y="8"/>
                </a:cubicBezTo>
                <a:cubicBezTo>
                  <a:pt x="5" y="7"/>
                  <a:pt x="5" y="7"/>
                  <a:pt x="5" y="7"/>
                </a:cubicBezTo>
                <a:cubicBezTo>
                  <a:pt x="4" y="7"/>
                  <a:pt x="4" y="7"/>
                  <a:pt x="4" y="7"/>
                </a:cubicBezTo>
                <a:cubicBezTo>
                  <a:pt x="2" y="8"/>
                  <a:pt x="2" y="8"/>
                  <a:pt x="2" y="8"/>
                </a:cubicBezTo>
                <a:cubicBezTo>
                  <a:pt x="0" y="7"/>
                  <a:pt x="0" y="7"/>
                  <a:pt x="0" y="7"/>
                </a:cubicBezTo>
                <a:cubicBezTo>
                  <a:pt x="0" y="5"/>
                  <a:pt x="0" y="5"/>
                  <a:pt x="0" y="5"/>
                </a:cubicBezTo>
                <a:cubicBezTo>
                  <a:pt x="1" y="4"/>
                  <a:pt x="1" y="4"/>
                  <a:pt x="1" y="4"/>
                </a:cubicBezTo>
                <a:cubicBezTo>
                  <a:pt x="2" y="2"/>
                  <a:pt x="2" y="2"/>
                  <a:pt x="2" y="2"/>
                </a:cubicBezTo>
                <a:cubicBezTo>
                  <a:pt x="1" y="1"/>
                  <a:pt x="1" y="1"/>
                  <a:pt x="1" y="1"/>
                </a:cubicBezTo>
                <a:cubicBezTo>
                  <a:pt x="1" y="1"/>
                  <a:pt x="1" y="1"/>
                  <a:pt x="1" y="1"/>
                </a:cubicBezTo>
                <a:cubicBezTo>
                  <a:pt x="1" y="1"/>
                  <a:pt x="1" y="1"/>
                  <a:pt x="1" y="1"/>
                </a:cubicBezTo>
                <a:cubicBezTo>
                  <a:pt x="2" y="0"/>
                  <a:pt x="2" y="0"/>
                  <a:pt x="2" y="0"/>
                </a:cubicBezTo>
                <a:cubicBezTo>
                  <a:pt x="2" y="0"/>
                  <a:pt x="2" y="0"/>
                  <a:pt x="2" y="0"/>
                </a:cubicBezTo>
                <a:cubicBezTo>
                  <a:pt x="3" y="1"/>
                  <a:pt x="3" y="1"/>
                  <a:pt x="3" y="1"/>
                </a:cubicBezTo>
                <a:cubicBezTo>
                  <a:pt x="3" y="2"/>
                  <a:pt x="3" y="2"/>
                  <a:pt x="3" y="2"/>
                </a:cubicBezTo>
                <a:cubicBezTo>
                  <a:pt x="4" y="3"/>
                  <a:pt x="4" y="3"/>
                  <a:pt x="4" y="3"/>
                </a:cubicBezTo>
                <a:cubicBezTo>
                  <a:pt x="5" y="3"/>
                  <a:pt x="5" y="3"/>
                  <a:pt x="5" y="3"/>
                </a:cubicBezTo>
                <a:cubicBezTo>
                  <a:pt x="6" y="3"/>
                  <a:pt x="6" y="3"/>
                  <a:pt x="6" y="3"/>
                </a:cubicBezTo>
                <a:cubicBezTo>
                  <a:pt x="5" y="3"/>
                  <a:pt x="5" y="3"/>
                  <a:pt x="5" y="3"/>
                </a:cubicBezTo>
                <a:cubicBezTo>
                  <a:pt x="5" y="2"/>
                  <a:pt x="5" y="2"/>
                  <a:pt x="5" y="2"/>
                </a:cubicBezTo>
                <a:cubicBezTo>
                  <a:pt x="6" y="2"/>
                  <a:pt x="6" y="2"/>
                  <a:pt x="6" y="2"/>
                </a:cubicBezTo>
                <a:cubicBezTo>
                  <a:pt x="7" y="3"/>
                  <a:pt x="7" y="3"/>
                  <a:pt x="7" y="3"/>
                </a:cubicBezTo>
                <a:cubicBezTo>
                  <a:pt x="7" y="3"/>
                  <a:pt x="7" y="3"/>
                  <a:pt x="7" y="3"/>
                </a:cubicBezTo>
                <a:cubicBezTo>
                  <a:pt x="9" y="4"/>
                  <a:pt x="9" y="4"/>
                  <a:pt x="9" y="4"/>
                </a:cubicBezTo>
                <a:cubicBezTo>
                  <a:pt x="9" y="3"/>
                  <a:pt x="9" y="3"/>
                  <a:pt x="9" y="3"/>
                </a:cubicBezTo>
                <a:cubicBezTo>
                  <a:pt x="9" y="3"/>
                  <a:pt x="9" y="3"/>
                  <a:pt x="9" y="3"/>
                </a:cubicBezTo>
                <a:cubicBezTo>
                  <a:pt x="10" y="5"/>
                  <a:pt x="10" y="5"/>
                  <a:pt x="10" y="5"/>
                </a:cubicBezTo>
                <a:cubicBezTo>
                  <a:pt x="10" y="6"/>
                  <a:pt x="10" y="6"/>
                  <a:pt x="10" y="6"/>
                </a:cubicBezTo>
                <a:cubicBezTo>
                  <a:pt x="11" y="7"/>
                  <a:pt x="11" y="7"/>
                  <a:pt x="11" y="7"/>
                </a:cubicBezTo>
                <a:cubicBezTo>
                  <a:pt x="11" y="8"/>
                  <a:pt x="11" y="8"/>
                  <a:pt x="11" y="8"/>
                </a:cubicBezTo>
                <a:cubicBezTo>
                  <a:pt x="11" y="9"/>
                  <a:pt x="11" y="9"/>
                  <a:pt x="11" y="9"/>
                </a:cubicBezTo>
                <a:cubicBezTo>
                  <a:pt x="12" y="10"/>
                  <a:pt x="12" y="10"/>
                  <a:pt x="12" y="10"/>
                </a:cubicBezTo>
                <a:cubicBezTo>
                  <a:pt x="13" y="9"/>
                  <a:pt x="13" y="9"/>
                  <a:pt x="13" y="9"/>
                </a:cubicBezTo>
                <a:cubicBezTo>
                  <a:pt x="15" y="10"/>
                  <a:pt x="15" y="10"/>
                  <a:pt x="15" y="10"/>
                </a:cubicBezTo>
                <a:cubicBezTo>
                  <a:pt x="16" y="10"/>
                  <a:pt x="16" y="10"/>
                  <a:pt x="16" y="10"/>
                </a:cubicBezTo>
                <a:cubicBezTo>
                  <a:pt x="19" y="10"/>
                  <a:pt x="19" y="10"/>
                  <a:pt x="19" y="10"/>
                </a:cubicBezTo>
                <a:cubicBezTo>
                  <a:pt x="21" y="10"/>
                  <a:pt x="21" y="10"/>
                  <a:pt x="21" y="10"/>
                </a:cubicBezTo>
                <a:cubicBezTo>
                  <a:pt x="23" y="10"/>
                  <a:pt x="23" y="10"/>
                  <a:pt x="23" y="10"/>
                </a:cubicBezTo>
                <a:cubicBezTo>
                  <a:pt x="24" y="10"/>
                  <a:pt x="24" y="10"/>
                  <a:pt x="24" y="10"/>
                </a:cubicBezTo>
                <a:cubicBezTo>
                  <a:pt x="24" y="10"/>
                  <a:pt x="24" y="10"/>
                  <a:pt x="24" y="10"/>
                </a:cubicBezTo>
                <a:cubicBezTo>
                  <a:pt x="25" y="10"/>
                  <a:pt x="25" y="10"/>
                  <a:pt x="25" y="10"/>
                </a:cubicBezTo>
                <a:cubicBezTo>
                  <a:pt x="26" y="11"/>
                  <a:pt x="26" y="11"/>
                  <a:pt x="26" y="11"/>
                </a:cubicBezTo>
                <a:cubicBezTo>
                  <a:pt x="27" y="11"/>
                  <a:pt x="27" y="11"/>
                  <a:pt x="27" y="11"/>
                </a:cubicBezTo>
                <a:cubicBezTo>
                  <a:pt x="26" y="13"/>
                  <a:pt x="26" y="13"/>
                  <a:pt x="26" y="13"/>
                </a:cubicBezTo>
                <a:cubicBezTo>
                  <a:pt x="26" y="14"/>
                  <a:pt x="26" y="14"/>
                  <a:pt x="26" y="14"/>
                </a:cubicBezTo>
                <a:cubicBezTo>
                  <a:pt x="25" y="16"/>
                  <a:pt x="25" y="16"/>
                  <a:pt x="25" y="16"/>
                </a:cubicBezTo>
                <a:cubicBezTo>
                  <a:pt x="24" y="17"/>
                  <a:pt x="24" y="17"/>
                  <a:pt x="24" y="17"/>
                </a:cubicBezTo>
                <a:cubicBezTo>
                  <a:pt x="24" y="18"/>
                  <a:pt x="24" y="18"/>
                  <a:pt x="24" y="18"/>
                </a:cubicBezTo>
                <a:cubicBezTo>
                  <a:pt x="24" y="18"/>
                  <a:pt x="24" y="18"/>
                  <a:pt x="24" y="18"/>
                </a:cubicBezTo>
                <a:cubicBezTo>
                  <a:pt x="23" y="18"/>
                  <a:pt x="23" y="18"/>
                  <a:pt x="23" y="18"/>
                </a:cubicBezTo>
                <a:cubicBezTo>
                  <a:pt x="23" y="18"/>
                  <a:pt x="23" y="18"/>
                  <a:pt x="23" y="18"/>
                </a:cubicBezTo>
                <a:cubicBezTo>
                  <a:pt x="22" y="19"/>
                  <a:pt x="22" y="19"/>
                  <a:pt x="22" y="19"/>
                </a:cubicBezTo>
                <a:cubicBezTo>
                  <a:pt x="21" y="19"/>
                  <a:pt x="21" y="19"/>
                  <a:pt x="21" y="19"/>
                </a:cubicBezTo>
                <a:cubicBezTo>
                  <a:pt x="21" y="20"/>
                  <a:pt x="21" y="20"/>
                  <a:pt x="21" y="20"/>
                </a:cubicBezTo>
                <a:cubicBezTo>
                  <a:pt x="21" y="21"/>
                  <a:pt x="21" y="21"/>
                  <a:pt x="21" y="21"/>
                </a:cubicBezTo>
                <a:cubicBezTo>
                  <a:pt x="21" y="22"/>
                  <a:pt x="21" y="22"/>
                  <a:pt x="21" y="22"/>
                </a:cubicBezTo>
                <a:cubicBezTo>
                  <a:pt x="22" y="23"/>
                  <a:pt x="22" y="23"/>
                  <a:pt x="22" y="23"/>
                </a:cubicBezTo>
                <a:cubicBezTo>
                  <a:pt x="22" y="23"/>
                  <a:pt x="22" y="23"/>
                  <a:pt x="22" y="23"/>
                </a:cubicBezTo>
                <a:cubicBezTo>
                  <a:pt x="23" y="24"/>
                  <a:pt x="23" y="24"/>
                  <a:pt x="23" y="24"/>
                </a:cubicBezTo>
                <a:cubicBezTo>
                  <a:pt x="24" y="26"/>
                  <a:pt x="24" y="26"/>
                  <a:pt x="24" y="26"/>
                </a:cubicBezTo>
                <a:cubicBezTo>
                  <a:pt x="25" y="26"/>
                  <a:pt x="25" y="26"/>
                  <a:pt x="25" y="26"/>
                </a:cubicBezTo>
                <a:cubicBezTo>
                  <a:pt x="25" y="25"/>
                  <a:pt x="25" y="25"/>
                  <a:pt x="25" y="25"/>
                </a:cubicBezTo>
                <a:cubicBezTo>
                  <a:pt x="25" y="24"/>
                  <a:pt x="25" y="24"/>
                  <a:pt x="25" y="24"/>
                </a:cubicBezTo>
                <a:cubicBezTo>
                  <a:pt x="25" y="23"/>
                  <a:pt x="25" y="23"/>
                  <a:pt x="25" y="23"/>
                </a:cubicBezTo>
                <a:cubicBezTo>
                  <a:pt x="25" y="23"/>
                  <a:pt x="25" y="23"/>
                  <a:pt x="25" y="23"/>
                </a:cubicBezTo>
                <a:cubicBezTo>
                  <a:pt x="26" y="22"/>
                  <a:pt x="26" y="22"/>
                  <a:pt x="26" y="22"/>
                </a:cubicBezTo>
                <a:cubicBezTo>
                  <a:pt x="25" y="22"/>
                  <a:pt x="25" y="22"/>
                  <a:pt x="25" y="22"/>
                </a:cubicBezTo>
                <a:cubicBezTo>
                  <a:pt x="26" y="21"/>
                  <a:pt x="26" y="21"/>
                  <a:pt x="26" y="21"/>
                </a:cubicBezTo>
                <a:cubicBezTo>
                  <a:pt x="27" y="22"/>
                  <a:pt x="27" y="22"/>
                  <a:pt x="27" y="22"/>
                </a:cubicBezTo>
                <a:cubicBezTo>
                  <a:pt x="28" y="22"/>
                  <a:pt x="28" y="22"/>
                  <a:pt x="28" y="22"/>
                </a:cubicBezTo>
                <a:cubicBezTo>
                  <a:pt x="28" y="22"/>
                  <a:pt x="28" y="22"/>
                  <a:pt x="28" y="22"/>
                </a:cubicBezTo>
                <a:cubicBezTo>
                  <a:pt x="29" y="23"/>
                  <a:pt x="29" y="23"/>
                  <a:pt x="29" y="23"/>
                </a:cubicBezTo>
                <a:cubicBezTo>
                  <a:pt x="29" y="25"/>
                  <a:pt x="29" y="25"/>
                  <a:pt x="29" y="25"/>
                </a:cubicBezTo>
                <a:cubicBezTo>
                  <a:pt x="29" y="26"/>
                  <a:pt x="29" y="26"/>
                  <a:pt x="29" y="26"/>
                </a:cubicBezTo>
                <a:cubicBezTo>
                  <a:pt x="29" y="27"/>
                  <a:pt x="29" y="27"/>
                  <a:pt x="29" y="27"/>
                </a:cubicBezTo>
                <a:cubicBezTo>
                  <a:pt x="30" y="30"/>
                  <a:pt x="30" y="30"/>
                  <a:pt x="30" y="30"/>
                </a:cubicBezTo>
                <a:cubicBezTo>
                  <a:pt x="30" y="31"/>
                  <a:pt x="30" y="31"/>
                  <a:pt x="30" y="31"/>
                </a:cubicBezTo>
                <a:cubicBezTo>
                  <a:pt x="31" y="32"/>
                  <a:pt x="31" y="32"/>
                  <a:pt x="31" y="32"/>
                </a:cubicBezTo>
                <a:cubicBezTo>
                  <a:pt x="31" y="33"/>
                  <a:pt x="31" y="33"/>
                  <a:pt x="31" y="33"/>
                </a:cubicBezTo>
                <a:cubicBezTo>
                  <a:pt x="31" y="33"/>
                  <a:pt x="31" y="33"/>
                  <a:pt x="31" y="33"/>
                </a:cubicBezTo>
                <a:cubicBezTo>
                  <a:pt x="31" y="34"/>
                  <a:pt x="31" y="34"/>
                  <a:pt x="31" y="34"/>
                </a:cubicBezTo>
                <a:cubicBezTo>
                  <a:pt x="32" y="34"/>
                  <a:pt x="32" y="34"/>
                  <a:pt x="32" y="34"/>
                </a:cubicBezTo>
                <a:close/>
                <a:moveTo>
                  <a:pt x="23" y="29"/>
                </a:moveTo>
                <a:cubicBezTo>
                  <a:pt x="23" y="29"/>
                  <a:pt x="23" y="29"/>
                  <a:pt x="23" y="29"/>
                </a:cubicBezTo>
                <a:cubicBezTo>
                  <a:pt x="22" y="29"/>
                  <a:pt x="22" y="29"/>
                  <a:pt x="22" y="29"/>
                </a:cubicBezTo>
                <a:cubicBezTo>
                  <a:pt x="22" y="30"/>
                  <a:pt x="22" y="30"/>
                  <a:pt x="22" y="30"/>
                </a:cubicBezTo>
                <a:cubicBezTo>
                  <a:pt x="23" y="30"/>
                  <a:pt x="23" y="30"/>
                  <a:pt x="23" y="30"/>
                </a:cubicBezTo>
                <a:cubicBezTo>
                  <a:pt x="23" y="29"/>
                  <a:pt x="23" y="29"/>
                  <a:pt x="23" y="29"/>
                </a:cubicBezTo>
                <a:close/>
                <a:moveTo>
                  <a:pt x="20" y="29"/>
                </a:moveTo>
                <a:cubicBezTo>
                  <a:pt x="21" y="30"/>
                  <a:pt x="21" y="30"/>
                  <a:pt x="21" y="30"/>
                </a:cubicBezTo>
                <a:cubicBezTo>
                  <a:pt x="20" y="31"/>
                  <a:pt x="20" y="31"/>
                  <a:pt x="20" y="31"/>
                </a:cubicBezTo>
                <a:cubicBezTo>
                  <a:pt x="21" y="32"/>
                  <a:pt x="21" y="32"/>
                  <a:pt x="21" y="32"/>
                </a:cubicBezTo>
                <a:cubicBezTo>
                  <a:pt x="22" y="30"/>
                  <a:pt x="22" y="30"/>
                  <a:pt x="22" y="30"/>
                </a:cubicBezTo>
                <a:cubicBezTo>
                  <a:pt x="21" y="29"/>
                  <a:pt x="21" y="29"/>
                  <a:pt x="21" y="29"/>
                </a:cubicBezTo>
                <a:cubicBezTo>
                  <a:pt x="20" y="28"/>
                  <a:pt x="20" y="28"/>
                  <a:pt x="20" y="28"/>
                </a:cubicBezTo>
                <a:cubicBezTo>
                  <a:pt x="20" y="28"/>
                  <a:pt x="20" y="29"/>
                  <a:pt x="20" y="29"/>
                </a:cubicBezTo>
                <a:close/>
                <a:moveTo>
                  <a:pt x="19" y="28"/>
                </a:moveTo>
                <a:cubicBezTo>
                  <a:pt x="17" y="28"/>
                  <a:pt x="17" y="28"/>
                  <a:pt x="17" y="28"/>
                </a:cubicBezTo>
                <a:cubicBezTo>
                  <a:pt x="18" y="29"/>
                  <a:pt x="18" y="29"/>
                  <a:pt x="18" y="29"/>
                </a:cubicBezTo>
                <a:cubicBezTo>
                  <a:pt x="18" y="31"/>
                  <a:pt x="18" y="31"/>
                  <a:pt x="18" y="31"/>
                </a:cubicBezTo>
                <a:cubicBezTo>
                  <a:pt x="20" y="31"/>
                  <a:pt x="20" y="31"/>
                  <a:pt x="20" y="31"/>
                </a:cubicBezTo>
                <a:cubicBezTo>
                  <a:pt x="19" y="29"/>
                  <a:pt x="19" y="29"/>
                  <a:pt x="19" y="29"/>
                </a:cubicBezTo>
                <a:lnTo>
                  <a:pt x="19" y="28"/>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9" name="Freeform 37">
            <a:extLst>
              <a:ext uri="{FF2B5EF4-FFF2-40B4-BE49-F238E27FC236}">
                <a16:creationId xmlns:a16="http://schemas.microsoft.com/office/drawing/2014/main" id="{11CF9471-B7F1-C599-0021-134AD647234B}"/>
              </a:ext>
            </a:extLst>
          </p:cNvPr>
          <p:cNvSpPr>
            <a:spLocks/>
          </p:cNvSpPr>
          <p:nvPr userDrawn="1"/>
        </p:nvSpPr>
        <p:spPr bwMode="auto">
          <a:xfrm>
            <a:off x="18616987" y="7508157"/>
            <a:ext cx="187314" cy="111126"/>
          </a:xfrm>
          <a:custGeom>
            <a:avLst/>
            <a:gdLst>
              <a:gd name="T0" fmla="*/ 0 w 59"/>
              <a:gd name="T1" fmla="*/ 16 h 35"/>
              <a:gd name="T2" fmla="*/ 3 w 59"/>
              <a:gd name="T3" fmla="*/ 13 h 35"/>
              <a:gd name="T4" fmla="*/ 9 w 59"/>
              <a:gd name="T5" fmla="*/ 7 h 35"/>
              <a:gd name="T6" fmla="*/ 19 w 59"/>
              <a:gd name="T7" fmla="*/ 0 h 35"/>
              <a:gd name="T8" fmla="*/ 25 w 59"/>
              <a:gd name="T9" fmla="*/ 0 h 35"/>
              <a:gd name="T10" fmla="*/ 28 w 59"/>
              <a:gd name="T11" fmla="*/ 3 h 35"/>
              <a:gd name="T12" fmla="*/ 37 w 59"/>
              <a:gd name="T13" fmla="*/ 3 h 35"/>
              <a:gd name="T14" fmla="*/ 41 w 59"/>
              <a:gd name="T15" fmla="*/ 3 h 35"/>
              <a:gd name="T16" fmla="*/ 44 w 59"/>
              <a:gd name="T17" fmla="*/ 3 h 35"/>
              <a:gd name="T18" fmla="*/ 50 w 59"/>
              <a:gd name="T19" fmla="*/ 3 h 35"/>
              <a:gd name="T20" fmla="*/ 53 w 59"/>
              <a:gd name="T21" fmla="*/ 7 h 35"/>
              <a:gd name="T22" fmla="*/ 53 w 59"/>
              <a:gd name="T23" fmla="*/ 7 h 35"/>
              <a:gd name="T24" fmla="*/ 53 w 59"/>
              <a:gd name="T25" fmla="*/ 13 h 35"/>
              <a:gd name="T26" fmla="*/ 53 w 59"/>
              <a:gd name="T27" fmla="*/ 16 h 35"/>
              <a:gd name="T28" fmla="*/ 59 w 59"/>
              <a:gd name="T29" fmla="*/ 19 h 35"/>
              <a:gd name="T30" fmla="*/ 59 w 59"/>
              <a:gd name="T31" fmla="*/ 25 h 35"/>
              <a:gd name="T32" fmla="*/ 59 w 59"/>
              <a:gd name="T33" fmla="*/ 28 h 35"/>
              <a:gd name="T34" fmla="*/ 50 w 59"/>
              <a:gd name="T35" fmla="*/ 28 h 35"/>
              <a:gd name="T36" fmla="*/ 47 w 59"/>
              <a:gd name="T37" fmla="*/ 28 h 35"/>
              <a:gd name="T38" fmla="*/ 37 w 59"/>
              <a:gd name="T39" fmla="*/ 32 h 35"/>
              <a:gd name="T40" fmla="*/ 34 w 59"/>
              <a:gd name="T41" fmla="*/ 28 h 35"/>
              <a:gd name="T42" fmla="*/ 31 w 59"/>
              <a:gd name="T43" fmla="*/ 32 h 35"/>
              <a:gd name="T44" fmla="*/ 28 w 59"/>
              <a:gd name="T45" fmla="*/ 35 h 35"/>
              <a:gd name="T46" fmla="*/ 22 w 59"/>
              <a:gd name="T47" fmla="*/ 35 h 35"/>
              <a:gd name="T48" fmla="*/ 12 w 59"/>
              <a:gd name="T49" fmla="*/ 28 h 35"/>
              <a:gd name="T50" fmla="*/ 9 w 59"/>
              <a:gd name="T51" fmla="*/ 32 h 35"/>
              <a:gd name="T52" fmla="*/ 3 w 59"/>
              <a:gd name="T53" fmla="*/ 28 h 35"/>
              <a:gd name="T54" fmla="*/ 0 w 59"/>
              <a:gd name="T55" fmla="*/ 25 h 35"/>
              <a:gd name="T56" fmla="*/ 0 w 59"/>
              <a:gd name="T57" fmla="*/ 19 h 35"/>
              <a:gd name="T58" fmla="*/ 0 w 59"/>
              <a:gd name="T59" fmla="*/ 1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9" h="35">
                <a:moveTo>
                  <a:pt x="0" y="16"/>
                </a:moveTo>
                <a:lnTo>
                  <a:pt x="3" y="13"/>
                </a:lnTo>
                <a:lnTo>
                  <a:pt x="9" y="7"/>
                </a:lnTo>
                <a:lnTo>
                  <a:pt x="19" y="0"/>
                </a:lnTo>
                <a:lnTo>
                  <a:pt x="25" y="0"/>
                </a:lnTo>
                <a:lnTo>
                  <a:pt x="28" y="3"/>
                </a:lnTo>
                <a:lnTo>
                  <a:pt x="37" y="3"/>
                </a:lnTo>
                <a:lnTo>
                  <a:pt x="41" y="3"/>
                </a:lnTo>
                <a:lnTo>
                  <a:pt x="44" y="3"/>
                </a:lnTo>
                <a:lnTo>
                  <a:pt x="50" y="3"/>
                </a:lnTo>
                <a:lnTo>
                  <a:pt x="53" y="7"/>
                </a:lnTo>
                <a:lnTo>
                  <a:pt x="53" y="7"/>
                </a:lnTo>
                <a:lnTo>
                  <a:pt x="53" y="13"/>
                </a:lnTo>
                <a:lnTo>
                  <a:pt x="53" y="16"/>
                </a:lnTo>
                <a:lnTo>
                  <a:pt x="59" y="19"/>
                </a:lnTo>
                <a:lnTo>
                  <a:pt x="59" y="25"/>
                </a:lnTo>
                <a:lnTo>
                  <a:pt x="59" y="28"/>
                </a:lnTo>
                <a:lnTo>
                  <a:pt x="50" y="28"/>
                </a:lnTo>
                <a:lnTo>
                  <a:pt x="47" y="28"/>
                </a:lnTo>
                <a:lnTo>
                  <a:pt x="37" y="32"/>
                </a:lnTo>
                <a:lnTo>
                  <a:pt x="34" y="28"/>
                </a:lnTo>
                <a:lnTo>
                  <a:pt x="31" y="32"/>
                </a:lnTo>
                <a:lnTo>
                  <a:pt x="28" y="35"/>
                </a:lnTo>
                <a:lnTo>
                  <a:pt x="22" y="35"/>
                </a:lnTo>
                <a:lnTo>
                  <a:pt x="12" y="28"/>
                </a:lnTo>
                <a:lnTo>
                  <a:pt x="9" y="32"/>
                </a:lnTo>
                <a:lnTo>
                  <a:pt x="3" y="28"/>
                </a:lnTo>
                <a:lnTo>
                  <a:pt x="0" y="25"/>
                </a:lnTo>
                <a:lnTo>
                  <a:pt x="0" y="19"/>
                </a:lnTo>
                <a:lnTo>
                  <a:pt x="0" y="1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0" name="Freeform 38">
            <a:extLst>
              <a:ext uri="{FF2B5EF4-FFF2-40B4-BE49-F238E27FC236}">
                <a16:creationId xmlns:a16="http://schemas.microsoft.com/office/drawing/2014/main" id="{F14DD383-CD13-C224-A9E6-3BFF9D6B5D46}"/>
              </a:ext>
            </a:extLst>
          </p:cNvPr>
          <p:cNvSpPr>
            <a:spLocks/>
          </p:cNvSpPr>
          <p:nvPr userDrawn="1"/>
        </p:nvSpPr>
        <p:spPr bwMode="auto">
          <a:xfrm>
            <a:off x="18061397" y="7358932"/>
            <a:ext cx="514317" cy="279400"/>
          </a:xfrm>
          <a:custGeom>
            <a:avLst/>
            <a:gdLst>
              <a:gd name="T0" fmla="*/ 9 w 162"/>
              <a:gd name="T1" fmla="*/ 0 h 88"/>
              <a:gd name="T2" fmla="*/ 16 w 162"/>
              <a:gd name="T3" fmla="*/ 7 h 88"/>
              <a:gd name="T4" fmla="*/ 22 w 162"/>
              <a:gd name="T5" fmla="*/ 7 h 88"/>
              <a:gd name="T6" fmla="*/ 28 w 162"/>
              <a:gd name="T7" fmla="*/ 4 h 88"/>
              <a:gd name="T8" fmla="*/ 37 w 162"/>
              <a:gd name="T9" fmla="*/ 10 h 88"/>
              <a:gd name="T10" fmla="*/ 47 w 162"/>
              <a:gd name="T11" fmla="*/ 10 h 88"/>
              <a:gd name="T12" fmla="*/ 56 w 162"/>
              <a:gd name="T13" fmla="*/ 16 h 88"/>
              <a:gd name="T14" fmla="*/ 62 w 162"/>
              <a:gd name="T15" fmla="*/ 22 h 88"/>
              <a:gd name="T16" fmla="*/ 66 w 162"/>
              <a:gd name="T17" fmla="*/ 29 h 88"/>
              <a:gd name="T18" fmla="*/ 69 w 162"/>
              <a:gd name="T19" fmla="*/ 22 h 88"/>
              <a:gd name="T20" fmla="*/ 72 w 162"/>
              <a:gd name="T21" fmla="*/ 22 h 88"/>
              <a:gd name="T22" fmla="*/ 81 w 162"/>
              <a:gd name="T23" fmla="*/ 25 h 88"/>
              <a:gd name="T24" fmla="*/ 87 w 162"/>
              <a:gd name="T25" fmla="*/ 35 h 88"/>
              <a:gd name="T26" fmla="*/ 97 w 162"/>
              <a:gd name="T27" fmla="*/ 35 h 88"/>
              <a:gd name="T28" fmla="*/ 100 w 162"/>
              <a:gd name="T29" fmla="*/ 47 h 88"/>
              <a:gd name="T30" fmla="*/ 109 w 162"/>
              <a:gd name="T31" fmla="*/ 47 h 88"/>
              <a:gd name="T32" fmla="*/ 116 w 162"/>
              <a:gd name="T33" fmla="*/ 44 h 88"/>
              <a:gd name="T34" fmla="*/ 125 w 162"/>
              <a:gd name="T35" fmla="*/ 41 h 88"/>
              <a:gd name="T36" fmla="*/ 131 w 162"/>
              <a:gd name="T37" fmla="*/ 50 h 88"/>
              <a:gd name="T38" fmla="*/ 141 w 162"/>
              <a:gd name="T39" fmla="*/ 57 h 88"/>
              <a:gd name="T40" fmla="*/ 150 w 162"/>
              <a:gd name="T41" fmla="*/ 57 h 88"/>
              <a:gd name="T42" fmla="*/ 156 w 162"/>
              <a:gd name="T43" fmla="*/ 54 h 88"/>
              <a:gd name="T44" fmla="*/ 162 w 162"/>
              <a:gd name="T45" fmla="*/ 60 h 88"/>
              <a:gd name="T46" fmla="*/ 162 w 162"/>
              <a:gd name="T47" fmla="*/ 75 h 88"/>
              <a:gd name="T48" fmla="*/ 150 w 162"/>
              <a:gd name="T49" fmla="*/ 88 h 88"/>
              <a:gd name="T50" fmla="*/ 137 w 162"/>
              <a:gd name="T51" fmla="*/ 85 h 88"/>
              <a:gd name="T52" fmla="*/ 116 w 162"/>
              <a:gd name="T53" fmla="*/ 79 h 88"/>
              <a:gd name="T54" fmla="*/ 100 w 162"/>
              <a:gd name="T55" fmla="*/ 79 h 88"/>
              <a:gd name="T56" fmla="*/ 94 w 162"/>
              <a:gd name="T57" fmla="*/ 69 h 88"/>
              <a:gd name="T58" fmla="*/ 75 w 162"/>
              <a:gd name="T59" fmla="*/ 69 h 88"/>
              <a:gd name="T60" fmla="*/ 62 w 162"/>
              <a:gd name="T61" fmla="*/ 69 h 88"/>
              <a:gd name="T62" fmla="*/ 50 w 162"/>
              <a:gd name="T63" fmla="*/ 63 h 88"/>
              <a:gd name="T64" fmla="*/ 37 w 162"/>
              <a:gd name="T65" fmla="*/ 60 h 88"/>
              <a:gd name="T66" fmla="*/ 22 w 162"/>
              <a:gd name="T67" fmla="*/ 47 h 88"/>
              <a:gd name="T68" fmla="*/ 12 w 162"/>
              <a:gd name="T69" fmla="*/ 41 h 88"/>
              <a:gd name="T70" fmla="*/ 6 w 162"/>
              <a:gd name="T71" fmla="*/ 38 h 88"/>
              <a:gd name="T72" fmla="*/ 0 w 162"/>
              <a:gd name="T73" fmla="*/ 35 h 88"/>
              <a:gd name="T74" fmla="*/ 6 w 162"/>
              <a:gd name="T75" fmla="*/ 19 h 88"/>
              <a:gd name="T76" fmla="*/ 6 w 162"/>
              <a:gd name="T77" fmla="*/ 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88">
                <a:moveTo>
                  <a:pt x="6" y="4"/>
                </a:moveTo>
                <a:lnTo>
                  <a:pt x="9" y="0"/>
                </a:lnTo>
                <a:lnTo>
                  <a:pt x="16" y="4"/>
                </a:lnTo>
                <a:lnTo>
                  <a:pt x="16" y="7"/>
                </a:lnTo>
                <a:lnTo>
                  <a:pt x="19" y="7"/>
                </a:lnTo>
                <a:lnTo>
                  <a:pt x="22" y="7"/>
                </a:lnTo>
                <a:lnTo>
                  <a:pt x="25" y="4"/>
                </a:lnTo>
                <a:lnTo>
                  <a:pt x="28" y="4"/>
                </a:lnTo>
                <a:lnTo>
                  <a:pt x="37" y="7"/>
                </a:lnTo>
                <a:lnTo>
                  <a:pt x="37" y="10"/>
                </a:lnTo>
                <a:lnTo>
                  <a:pt x="44" y="10"/>
                </a:lnTo>
                <a:lnTo>
                  <a:pt x="47" y="10"/>
                </a:lnTo>
                <a:lnTo>
                  <a:pt x="53" y="16"/>
                </a:lnTo>
                <a:lnTo>
                  <a:pt x="56" y="16"/>
                </a:lnTo>
                <a:lnTo>
                  <a:pt x="59" y="19"/>
                </a:lnTo>
                <a:lnTo>
                  <a:pt x="62" y="22"/>
                </a:lnTo>
                <a:lnTo>
                  <a:pt x="66" y="25"/>
                </a:lnTo>
                <a:lnTo>
                  <a:pt x="66" y="29"/>
                </a:lnTo>
                <a:lnTo>
                  <a:pt x="69" y="29"/>
                </a:lnTo>
                <a:lnTo>
                  <a:pt x="69" y="22"/>
                </a:lnTo>
                <a:lnTo>
                  <a:pt x="72" y="22"/>
                </a:lnTo>
                <a:lnTo>
                  <a:pt x="72" y="22"/>
                </a:lnTo>
                <a:lnTo>
                  <a:pt x="78" y="22"/>
                </a:lnTo>
                <a:lnTo>
                  <a:pt x="81" y="25"/>
                </a:lnTo>
                <a:lnTo>
                  <a:pt x="81" y="32"/>
                </a:lnTo>
                <a:lnTo>
                  <a:pt x="87" y="35"/>
                </a:lnTo>
                <a:lnTo>
                  <a:pt x="94" y="35"/>
                </a:lnTo>
                <a:lnTo>
                  <a:pt x="97" y="35"/>
                </a:lnTo>
                <a:lnTo>
                  <a:pt x="97" y="41"/>
                </a:lnTo>
                <a:lnTo>
                  <a:pt x="100" y="47"/>
                </a:lnTo>
                <a:lnTo>
                  <a:pt x="103" y="47"/>
                </a:lnTo>
                <a:lnTo>
                  <a:pt x="109" y="47"/>
                </a:lnTo>
                <a:lnTo>
                  <a:pt x="109" y="47"/>
                </a:lnTo>
                <a:lnTo>
                  <a:pt x="116" y="44"/>
                </a:lnTo>
                <a:lnTo>
                  <a:pt x="119" y="41"/>
                </a:lnTo>
                <a:lnTo>
                  <a:pt x="125" y="41"/>
                </a:lnTo>
                <a:lnTo>
                  <a:pt x="131" y="44"/>
                </a:lnTo>
                <a:lnTo>
                  <a:pt x="131" y="50"/>
                </a:lnTo>
                <a:lnTo>
                  <a:pt x="137" y="50"/>
                </a:lnTo>
                <a:lnTo>
                  <a:pt x="141" y="57"/>
                </a:lnTo>
                <a:lnTo>
                  <a:pt x="144" y="57"/>
                </a:lnTo>
                <a:lnTo>
                  <a:pt x="150" y="57"/>
                </a:lnTo>
                <a:lnTo>
                  <a:pt x="150" y="57"/>
                </a:lnTo>
                <a:lnTo>
                  <a:pt x="156" y="54"/>
                </a:lnTo>
                <a:lnTo>
                  <a:pt x="159" y="54"/>
                </a:lnTo>
                <a:lnTo>
                  <a:pt x="162" y="60"/>
                </a:lnTo>
                <a:lnTo>
                  <a:pt x="159" y="69"/>
                </a:lnTo>
                <a:lnTo>
                  <a:pt x="162" y="75"/>
                </a:lnTo>
                <a:lnTo>
                  <a:pt x="162" y="85"/>
                </a:lnTo>
                <a:lnTo>
                  <a:pt x="150" y="88"/>
                </a:lnTo>
                <a:lnTo>
                  <a:pt x="144" y="85"/>
                </a:lnTo>
                <a:lnTo>
                  <a:pt x="137" y="85"/>
                </a:lnTo>
                <a:lnTo>
                  <a:pt x="122" y="79"/>
                </a:lnTo>
                <a:lnTo>
                  <a:pt x="116" y="79"/>
                </a:lnTo>
                <a:lnTo>
                  <a:pt x="112" y="82"/>
                </a:lnTo>
                <a:lnTo>
                  <a:pt x="100" y="79"/>
                </a:lnTo>
                <a:lnTo>
                  <a:pt x="97" y="75"/>
                </a:lnTo>
                <a:lnTo>
                  <a:pt x="94" y="69"/>
                </a:lnTo>
                <a:lnTo>
                  <a:pt x="84" y="66"/>
                </a:lnTo>
                <a:lnTo>
                  <a:pt x="75" y="69"/>
                </a:lnTo>
                <a:lnTo>
                  <a:pt x="72" y="66"/>
                </a:lnTo>
                <a:lnTo>
                  <a:pt x="62" y="69"/>
                </a:lnTo>
                <a:lnTo>
                  <a:pt x="56" y="63"/>
                </a:lnTo>
                <a:lnTo>
                  <a:pt x="50" y="63"/>
                </a:lnTo>
                <a:lnTo>
                  <a:pt x="47" y="60"/>
                </a:lnTo>
                <a:lnTo>
                  <a:pt x="37" y="60"/>
                </a:lnTo>
                <a:lnTo>
                  <a:pt x="31" y="50"/>
                </a:lnTo>
                <a:lnTo>
                  <a:pt x="22" y="47"/>
                </a:lnTo>
                <a:lnTo>
                  <a:pt x="16" y="44"/>
                </a:lnTo>
                <a:lnTo>
                  <a:pt x="12" y="41"/>
                </a:lnTo>
                <a:lnTo>
                  <a:pt x="9" y="41"/>
                </a:lnTo>
                <a:lnTo>
                  <a:pt x="6" y="38"/>
                </a:lnTo>
                <a:lnTo>
                  <a:pt x="3" y="38"/>
                </a:lnTo>
                <a:lnTo>
                  <a:pt x="0" y="35"/>
                </a:lnTo>
                <a:lnTo>
                  <a:pt x="6" y="25"/>
                </a:lnTo>
                <a:lnTo>
                  <a:pt x="6" y="19"/>
                </a:lnTo>
                <a:lnTo>
                  <a:pt x="9" y="10"/>
                </a:lnTo>
                <a:lnTo>
                  <a:pt x="6" y="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1" name="Freeform 39">
            <a:extLst>
              <a:ext uri="{FF2B5EF4-FFF2-40B4-BE49-F238E27FC236}">
                <a16:creationId xmlns:a16="http://schemas.microsoft.com/office/drawing/2014/main" id="{E1CD081F-6D7B-1DAE-9FD8-3557668C3584}"/>
              </a:ext>
            </a:extLst>
          </p:cNvPr>
          <p:cNvSpPr>
            <a:spLocks/>
          </p:cNvSpPr>
          <p:nvPr userDrawn="1"/>
        </p:nvSpPr>
        <p:spPr bwMode="auto">
          <a:xfrm>
            <a:off x="16880371" y="6904907"/>
            <a:ext cx="863544" cy="952502"/>
          </a:xfrm>
          <a:custGeom>
            <a:avLst/>
            <a:gdLst>
              <a:gd name="T0" fmla="*/ 163 w 272"/>
              <a:gd name="T1" fmla="*/ 287 h 300"/>
              <a:gd name="T2" fmla="*/ 184 w 272"/>
              <a:gd name="T3" fmla="*/ 284 h 300"/>
              <a:gd name="T4" fmla="*/ 197 w 272"/>
              <a:gd name="T5" fmla="*/ 281 h 300"/>
              <a:gd name="T6" fmla="*/ 206 w 272"/>
              <a:gd name="T7" fmla="*/ 278 h 300"/>
              <a:gd name="T8" fmla="*/ 200 w 272"/>
              <a:gd name="T9" fmla="*/ 253 h 300"/>
              <a:gd name="T10" fmla="*/ 184 w 272"/>
              <a:gd name="T11" fmla="*/ 240 h 300"/>
              <a:gd name="T12" fmla="*/ 178 w 272"/>
              <a:gd name="T13" fmla="*/ 231 h 300"/>
              <a:gd name="T14" fmla="*/ 172 w 272"/>
              <a:gd name="T15" fmla="*/ 215 h 300"/>
              <a:gd name="T16" fmla="*/ 184 w 272"/>
              <a:gd name="T17" fmla="*/ 203 h 300"/>
              <a:gd name="T18" fmla="*/ 194 w 272"/>
              <a:gd name="T19" fmla="*/ 206 h 300"/>
              <a:gd name="T20" fmla="*/ 222 w 272"/>
              <a:gd name="T21" fmla="*/ 184 h 300"/>
              <a:gd name="T22" fmla="*/ 241 w 272"/>
              <a:gd name="T23" fmla="*/ 159 h 300"/>
              <a:gd name="T24" fmla="*/ 247 w 272"/>
              <a:gd name="T25" fmla="*/ 147 h 300"/>
              <a:gd name="T26" fmla="*/ 256 w 272"/>
              <a:gd name="T27" fmla="*/ 125 h 300"/>
              <a:gd name="T28" fmla="*/ 263 w 272"/>
              <a:gd name="T29" fmla="*/ 109 h 300"/>
              <a:gd name="T30" fmla="*/ 272 w 272"/>
              <a:gd name="T31" fmla="*/ 96 h 300"/>
              <a:gd name="T32" fmla="*/ 253 w 272"/>
              <a:gd name="T33" fmla="*/ 90 h 300"/>
              <a:gd name="T34" fmla="*/ 231 w 272"/>
              <a:gd name="T35" fmla="*/ 75 h 300"/>
              <a:gd name="T36" fmla="*/ 228 w 272"/>
              <a:gd name="T37" fmla="*/ 46 h 300"/>
              <a:gd name="T38" fmla="*/ 228 w 272"/>
              <a:gd name="T39" fmla="*/ 34 h 300"/>
              <a:gd name="T40" fmla="*/ 213 w 272"/>
              <a:gd name="T41" fmla="*/ 18 h 300"/>
              <a:gd name="T42" fmla="*/ 203 w 272"/>
              <a:gd name="T43" fmla="*/ 9 h 300"/>
              <a:gd name="T44" fmla="*/ 200 w 272"/>
              <a:gd name="T45" fmla="*/ 0 h 300"/>
              <a:gd name="T46" fmla="*/ 181 w 272"/>
              <a:gd name="T47" fmla="*/ 12 h 300"/>
              <a:gd name="T48" fmla="*/ 175 w 272"/>
              <a:gd name="T49" fmla="*/ 46 h 300"/>
              <a:gd name="T50" fmla="*/ 169 w 272"/>
              <a:gd name="T51" fmla="*/ 65 h 300"/>
              <a:gd name="T52" fmla="*/ 163 w 272"/>
              <a:gd name="T53" fmla="*/ 71 h 300"/>
              <a:gd name="T54" fmla="*/ 156 w 272"/>
              <a:gd name="T55" fmla="*/ 84 h 300"/>
              <a:gd name="T56" fmla="*/ 153 w 272"/>
              <a:gd name="T57" fmla="*/ 103 h 300"/>
              <a:gd name="T58" fmla="*/ 144 w 272"/>
              <a:gd name="T59" fmla="*/ 112 h 300"/>
              <a:gd name="T60" fmla="*/ 134 w 272"/>
              <a:gd name="T61" fmla="*/ 115 h 300"/>
              <a:gd name="T62" fmla="*/ 125 w 272"/>
              <a:gd name="T63" fmla="*/ 125 h 300"/>
              <a:gd name="T64" fmla="*/ 109 w 272"/>
              <a:gd name="T65" fmla="*/ 131 h 300"/>
              <a:gd name="T66" fmla="*/ 100 w 272"/>
              <a:gd name="T67" fmla="*/ 140 h 300"/>
              <a:gd name="T68" fmla="*/ 103 w 272"/>
              <a:gd name="T69" fmla="*/ 159 h 300"/>
              <a:gd name="T70" fmla="*/ 81 w 272"/>
              <a:gd name="T71" fmla="*/ 168 h 300"/>
              <a:gd name="T72" fmla="*/ 56 w 272"/>
              <a:gd name="T73" fmla="*/ 172 h 300"/>
              <a:gd name="T74" fmla="*/ 0 w 272"/>
              <a:gd name="T75" fmla="*/ 165 h 300"/>
              <a:gd name="T76" fmla="*/ 22 w 272"/>
              <a:gd name="T77" fmla="*/ 193 h 300"/>
              <a:gd name="T78" fmla="*/ 34 w 272"/>
              <a:gd name="T79" fmla="*/ 200 h 300"/>
              <a:gd name="T80" fmla="*/ 41 w 272"/>
              <a:gd name="T81" fmla="*/ 215 h 300"/>
              <a:gd name="T82" fmla="*/ 53 w 272"/>
              <a:gd name="T83" fmla="*/ 231 h 300"/>
              <a:gd name="T84" fmla="*/ 34 w 272"/>
              <a:gd name="T85" fmla="*/ 234 h 300"/>
              <a:gd name="T86" fmla="*/ 22 w 272"/>
              <a:gd name="T87" fmla="*/ 250 h 300"/>
              <a:gd name="T88" fmla="*/ 25 w 272"/>
              <a:gd name="T89" fmla="*/ 265 h 300"/>
              <a:gd name="T90" fmla="*/ 37 w 272"/>
              <a:gd name="T91" fmla="*/ 265 h 300"/>
              <a:gd name="T92" fmla="*/ 47 w 272"/>
              <a:gd name="T93" fmla="*/ 262 h 300"/>
              <a:gd name="T94" fmla="*/ 56 w 272"/>
              <a:gd name="T95" fmla="*/ 262 h 300"/>
              <a:gd name="T96" fmla="*/ 66 w 272"/>
              <a:gd name="T97" fmla="*/ 262 h 300"/>
              <a:gd name="T98" fmla="*/ 72 w 272"/>
              <a:gd name="T99" fmla="*/ 262 h 300"/>
              <a:gd name="T100" fmla="*/ 87 w 272"/>
              <a:gd name="T101" fmla="*/ 259 h 300"/>
              <a:gd name="T102" fmla="*/ 97 w 272"/>
              <a:gd name="T103" fmla="*/ 259 h 300"/>
              <a:gd name="T104" fmla="*/ 116 w 272"/>
              <a:gd name="T105" fmla="*/ 259 h 300"/>
              <a:gd name="T106" fmla="*/ 122 w 272"/>
              <a:gd name="T107" fmla="*/ 269 h 300"/>
              <a:gd name="T108" fmla="*/ 128 w 272"/>
              <a:gd name="T109" fmla="*/ 269 h 300"/>
              <a:gd name="T110" fmla="*/ 134 w 272"/>
              <a:gd name="T111" fmla="*/ 284 h 300"/>
              <a:gd name="T112" fmla="*/ 137 w 272"/>
              <a:gd name="T113" fmla="*/ 290 h 300"/>
              <a:gd name="T114" fmla="*/ 153 w 272"/>
              <a:gd name="T115" fmla="*/ 29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2" h="300">
                <a:moveTo>
                  <a:pt x="156" y="297"/>
                </a:moveTo>
                <a:lnTo>
                  <a:pt x="156" y="290"/>
                </a:lnTo>
                <a:lnTo>
                  <a:pt x="159" y="290"/>
                </a:lnTo>
                <a:lnTo>
                  <a:pt x="163" y="287"/>
                </a:lnTo>
                <a:lnTo>
                  <a:pt x="166" y="284"/>
                </a:lnTo>
                <a:lnTo>
                  <a:pt x="169" y="284"/>
                </a:lnTo>
                <a:lnTo>
                  <a:pt x="172" y="281"/>
                </a:lnTo>
                <a:lnTo>
                  <a:pt x="184" y="284"/>
                </a:lnTo>
                <a:lnTo>
                  <a:pt x="194" y="281"/>
                </a:lnTo>
                <a:lnTo>
                  <a:pt x="194" y="278"/>
                </a:lnTo>
                <a:lnTo>
                  <a:pt x="200" y="278"/>
                </a:lnTo>
                <a:lnTo>
                  <a:pt x="197" y="281"/>
                </a:lnTo>
                <a:lnTo>
                  <a:pt x="200" y="281"/>
                </a:lnTo>
                <a:lnTo>
                  <a:pt x="203" y="281"/>
                </a:lnTo>
                <a:lnTo>
                  <a:pt x="206" y="278"/>
                </a:lnTo>
                <a:lnTo>
                  <a:pt x="206" y="278"/>
                </a:lnTo>
                <a:lnTo>
                  <a:pt x="206" y="275"/>
                </a:lnTo>
                <a:lnTo>
                  <a:pt x="203" y="262"/>
                </a:lnTo>
                <a:lnTo>
                  <a:pt x="197" y="256"/>
                </a:lnTo>
                <a:lnTo>
                  <a:pt x="200" y="253"/>
                </a:lnTo>
                <a:lnTo>
                  <a:pt x="197" y="250"/>
                </a:lnTo>
                <a:lnTo>
                  <a:pt x="194" y="253"/>
                </a:lnTo>
                <a:lnTo>
                  <a:pt x="188" y="247"/>
                </a:lnTo>
                <a:lnTo>
                  <a:pt x="184" y="240"/>
                </a:lnTo>
                <a:lnTo>
                  <a:pt x="184" y="234"/>
                </a:lnTo>
                <a:lnTo>
                  <a:pt x="181" y="228"/>
                </a:lnTo>
                <a:lnTo>
                  <a:pt x="178" y="228"/>
                </a:lnTo>
                <a:lnTo>
                  <a:pt x="178" y="231"/>
                </a:lnTo>
                <a:lnTo>
                  <a:pt x="172" y="228"/>
                </a:lnTo>
                <a:lnTo>
                  <a:pt x="169" y="228"/>
                </a:lnTo>
                <a:lnTo>
                  <a:pt x="169" y="225"/>
                </a:lnTo>
                <a:lnTo>
                  <a:pt x="172" y="215"/>
                </a:lnTo>
                <a:lnTo>
                  <a:pt x="175" y="215"/>
                </a:lnTo>
                <a:lnTo>
                  <a:pt x="181" y="206"/>
                </a:lnTo>
                <a:lnTo>
                  <a:pt x="181" y="203"/>
                </a:lnTo>
                <a:lnTo>
                  <a:pt x="184" y="203"/>
                </a:lnTo>
                <a:lnTo>
                  <a:pt x="188" y="200"/>
                </a:lnTo>
                <a:lnTo>
                  <a:pt x="191" y="203"/>
                </a:lnTo>
                <a:lnTo>
                  <a:pt x="194" y="206"/>
                </a:lnTo>
                <a:lnTo>
                  <a:pt x="194" y="206"/>
                </a:lnTo>
                <a:lnTo>
                  <a:pt x="203" y="203"/>
                </a:lnTo>
                <a:lnTo>
                  <a:pt x="213" y="203"/>
                </a:lnTo>
                <a:lnTo>
                  <a:pt x="219" y="197"/>
                </a:lnTo>
                <a:lnTo>
                  <a:pt x="222" y="184"/>
                </a:lnTo>
                <a:lnTo>
                  <a:pt x="231" y="178"/>
                </a:lnTo>
                <a:lnTo>
                  <a:pt x="234" y="172"/>
                </a:lnTo>
                <a:lnTo>
                  <a:pt x="234" y="165"/>
                </a:lnTo>
                <a:lnTo>
                  <a:pt x="241" y="159"/>
                </a:lnTo>
                <a:lnTo>
                  <a:pt x="247" y="156"/>
                </a:lnTo>
                <a:lnTo>
                  <a:pt x="247" y="153"/>
                </a:lnTo>
                <a:lnTo>
                  <a:pt x="247" y="150"/>
                </a:lnTo>
                <a:lnTo>
                  <a:pt x="247" y="147"/>
                </a:lnTo>
                <a:lnTo>
                  <a:pt x="250" y="140"/>
                </a:lnTo>
                <a:lnTo>
                  <a:pt x="253" y="137"/>
                </a:lnTo>
                <a:lnTo>
                  <a:pt x="253" y="134"/>
                </a:lnTo>
                <a:lnTo>
                  <a:pt x="256" y="125"/>
                </a:lnTo>
                <a:lnTo>
                  <a:pt x="253" y="115"/>
                </a:lnTo>
                <a:lnTo>
                  <a:pt x="253" y="115"/>
                </a:lnTo>
                <a:lnTo>
                  <a:pt x="259" y="109"/>
                </a:lnTo>
                <a:lnTo>
                  <a:pt x="263" y="109"/>
                </a:lnTo>
                <a:lnTo>
                  <a:pt x="266" y="106"/>
                </a:lnTo>
                <a:lnTo>
                  <a:pt x="269" y="106"/>
                </a:lnTo>
                <a:lnTo>
                  <a:pt x="272" y="103"/>
                </a:lnTo>
                <a:lnTo>
                  <a:pt x="272" y="96"/>
                </a:lnTo>
                <a:lnTo>
                  <a:pt x="266" y="96"/>
                </a:lnTo>
                <a:lnTo>
                  <a:pt x="263" y="96"/>
                </a:lnTo>
                <a:lnTo>
                  <a:pt x="256" y="96"/>
                </a:lnTo>
                <a:lnTo>
                  <a:pt x="253" y="90"/>
                </a:lnTo>
                <a:lnTo>
                  <a:pt x="247" y="87"/>
                </a:lnTo>
                <a:lnTo>
                  <a:pt x="241" y="87"/>
                </a:lnTo>
                <a:lnTo>
                  <a:pt x="231" y="81"/>
                </a:lnTo>
                <a:lnTo>
                  <a:pt x="231" y="75"/>
                </a:lnTo>
                <a:lnTo>
                  <a:pt x="228" y="62"/>
                </a:lnTo>
                <a:lnTo>
                  <a:pt x="225" y="56"/>
                </a:lnTo>
                <a:lnTo>
                  <a:pt x="225" y="50"/>
                </a:lnTo>
                <a:lnTo>
                  <a:pt x="228" y="46"/>
                </a:lnTo>
                <a:lnTo>
                  <a:pt x="228" y="43"/>
                </a:lnTo>
                <a:lnTo>
                  <a:pt x="234" y="40"/>
                </a:lnTo>
                <a:lnTo>
                  <a:pt x="234" y="37"/>
                </a:lnTo>
                <a:lnTo>
                  <a:pt x="228" y="34"/>
                </a:lnTo>
                <a:lnTo>
                  <a:pt x="228" y="31"/>
                </a:lnTo>
                <a:lnTo>
                  <a:pt x="222" y="28"/>
                </a:lnTo>
                <a:lnTo>
                  <a:pt x="216" y="21"/>
                </a:lnTo>
                <a:lnTo>
                  <a:pt x="213" y="18"/>
                </a:lnTo>
                <a:lnTo>
                  <a:pt x="209" y="18"/>
                </a:lnTo>
                <a:lnTo>
                  <a:pt x="206" y="21"/>
                </a:lnTo>
                <a:lnTo>
                  <a:pt x="203" y="18"/>
                </a:lnTo>
                <a:lnTo>
                  <a:pt x="203" y="9"/>
                </a:lnTo>
                <a:lnTo>
                  <a:pt x="213" y="3"/>
                </a:lnTo>
                <a:lnTo>
                  <a:pt x="209" y="0"/>
                </a:lnTo>
                <a:lnTo>
                  <a:pt x="206" y="0"/>
                </a:lnTo>
                <a:lnTo>
                  <a:pt x="200" y="0"/>
                </a:lnTo>
                <a:lnTo>
                  <a:pt x="194" y="3"/>
                </a:lnTo>
                <a:lnTo>
                  <a:pt x="188" y="6"/>
                </a:lnTo>
                <a:lnTo>
                  <a:pt x="184" y="6"/>
                </a:lnTo>
                <a:lnTo>
                  <a:pt x="181" y="12"/>
                </a:lnTo>
                <a:lnTo>
                  <a:pt x="178" y="15"/>
                </a:lnTo>
                <a:lnTo>
                  <a:pt x="184" y="28"/>
                </a:lnTo>
                <a:lnTo>
                  <a:pt x="184" y="34"/>
                </a:lnTo>
                <a:lnTo>
                  <a:pt x="175" y="46"/>
                </a:lnTo>
                <a:lnTo>
                  <a:pt x="181" y="53"/>
                </a:lnTo>
                <a:lnTo>
                  <a:pt x="181" y="59"/>
                </a:lnTo>
                <a:lnTo>
                  <a:pt x="175" y="65"/>
                </a:lnTo>
                <a:lnTo>
                  <a:pt x="169" y="65"/>
                </a:lnTo>
                <a:lnTo>
                  <a:pt x="163" y="62"/>
                </a:lnTo>
                <a:lnTo>
                  <a:pt x="156" y="65"/>
                </a:lnTo>
                <a:lnTo>
                  <a:pt x="159" y="71"/>
                </a:lnTo>
                <a:lnTo>
                  <a:pt x="163" y="71"/>
                </a:lnTo>
                <a:lnTo>
                  <a:pt x="166" y="78"/>
                </a:lnTo>
                <a:lnTo>
                  <a:pt x="166" y="81"/>
                </a:lnTo>
                <a:lnTo>
                  <a:pt x="159" y="84"/>
                </a:lnTo>
                <a:lnTo>
                  <a:pt x="156" y="84"/>
                </a:lnTo>
                <a:lnTo>
                  <a:pt x="153" y="87"/>
                </a:lnTo>
                <a:lnTo>
                  <a:pt x="153" y="93"/>
                </a:lnTo>
                <a:lnTo>
                  <a:pt x="153" y="100"/>
                </a:lnTo>
                <a:lnTo>
                  <a:pt x="153" y="103"/>
                </a:lnTo>
                <a:lnTo>
                  <a:pt x="150" y="103"/>
                </a:lnTo>
                <a:lnTo>
                  <a:pt x="153" y="112"/>
                </a:lnTo>
                <a:lnTo>
                  <a:pt x="147" y="118"/>
                </a:lnTo>
                <a:lnTo>
                  <a:pt x="144" y="112"/>
                </a:lnTo>
                <a:lnTo>
                  <a:pt x="141" y="112"/>
                </a:lnTo>
                <a:lnTo>
                  <a:pt x="141" y="115"/>
                </a:lnTo>
                <a:lnTo>
                  <a:pt x="137" y="115"/>
                </a:lnTo>
                <a:lnTo>
                  <a:pt x="134" y="115"/>
                </a:lnTo>
                <a:lnTo>
                  <a:pt x="131" y="115"/>
                </a:lnTo>
                <a:lnTo>
                  <a:pt x="128" y="118"/>
                </a:lnTo>
                <a:lnTo>
                  <a:pt x="122" y="122"/>
                </a:lnTo>
                <a:lnTo>
                  <a:pt x="125" y="125"/>
                </a:lnTo>
                <a:lnTo>
                  <a:pt x="122" y="128"/>
                </a:lnTo>
                <a:lnTo>
                  <a:pt x="116" y="131"/>
                </a:lnTo>
                <a:lnTo>
                  <a:pt x="112" y="128"/>
                </a:lnTo>
                <a:lnTo>
                  <a:pt x="109" y="131"/>
                </a:lnTo>
                <a:lnTo>
                  <a:pt x="106" y="131"/>
                </a:lnTo>
                <a:lnTo>
                  <a:pt x="106" y="134"/>
                </a:lnTo>
                <a:lnTo>
                  <a:pt x="103" y="137"/>
                </a:lnTo>
                <a:lnTo>
                  <a:pt x="100" y="140"/>
                </a:lnTo>
                <a:lnTo>
                  <a:pt x="100" y="147"/>
                </a:lnTo>
                <a:lnTo>
                  <a:pt x="100" y="153"/>
                </a:lnTo>
                <a:lnTo>
                  <a:pt x="100" y="156"/>
                </a:lnTo>
                <a:lnTo>
                  <a:pt x="103" y="159"/>
                </a:lnTo>
                <a:lnTo>
                  <a:pt x="100" y="162"/>
                </a:lnTo>
                <a:lnTo>
                  <a:pt x="94" y="165"/>
                </a:lnTo>
                <a:lnTo>
                  <a:pt x="87" y="165"/>
                </a:lnTo>
                <a:lnTo>
                  <a:pt x="81" y="168"/>
                </a:lnTo>
                <a:lnTo>
                  <a:pt x="69" y="168"/>
                </a:lnTo>
                <a:lnTo>
                  <a:pt x="62" y="168"/>
                </a:lnTo>
                <a:lnTo>
                  <a:pt x="62" y="172"/>
                </a:lnTo>
                <a:lnTo>
                  <a:pt x="56" y="172"/>
                </a:lnTo>
                <a:lnTo>
                  <a:pt x="47" y="175"/>
                </a:lnTo>
                <a:lnTo>
                  <a:pt x="25" y="175"/>
                </a:lnTo>
                <a:lnTo>
                  <a:pt x="0" y="165"/>
                </a:lnTo>
                <a:lnTo>
                  <a:pt x="0" y="165"/>
                </a:lnTo>
                <a:lnTo>
                  <a:pt x="9" y="181"/>
                </a:lnTo>
                <a:lnTo>
                  <a:pt x="12" y="184"/>
                </a:lnTo>
                <a:lnTo>
                  <a:pt x="16" y="190"/>
                </a:lnTo>
                <a:lnTo>
                  <a:pt x="22" y="193"/>
                </a:lnTo>
                <a:lnTo>
                  <a:pt x="22" y="193"/>
                </a:lnTo>
                <a:lnTo>
                  <a:pt x="28" y="193"/>
                </a:lnTo>
                <a:lnTo>
                  <a:pt x="34" y="197"/>
                </a:lnTo>
                <a:lnTo>
                  <a:pt x="34" y="200"/>
                </a:lnTo>
                <a:lnTo>
                  <a:pt x="37" y="200"/>
                </a:lnTo>
                <a:lnTo>
                  <a:pt x="37" y="206"/>
                </a:lnTo>
                <a:lnTo>
                  <a:pt x="41" y="209"/>
                </a:lnTo>
                <a:lnTo>
                  <a:pt x="41" y="215"/>
                </a:lnTo>
                <a:lnTo>
                  <a:pt x="41" y="218"/>
                </a:lnTo>
                <a:lnTo>
                  <a:pt x="47" y="218"/>
                </a:lnTo>
                <a:lnTo>
                  <a:pt x="53" y="222"/>
                </a:lnTo>
                <a:lnTo>
                  <a:pt x="53" y="231"/>
                </a:lnTo>
                <a:lnTo>
                  <a:pt x="50" y="234"/>
                </a:lnTo>
                <a:lnTo>
                  <a:pt x="44" y="231"/>
                </a:lnTo>
                <a:lnTo>
                  <a:pt x="34" y="234"/>
                </a:lnTo>
                <a:lnTo>
                  <a:pt x="34" y="234"/>
                </a:lnTo>
                <a:lnTo>
                  <a:pt x="28" y="237"/>
                </a:lnTo>
                <a:lnTo>
                  <a:pt x="25" y="240"/>
                </a:lnTo>
                <a:lnTo>
                  <a:pt x="25" y="247"/>
                </a:lnTo>
                <a:lnTo>
                  <a:pt x="22" y="250"/>
                </a:lnTo>
                <a:lnTo>
                  <a:pt x="25" y="253"/>
                </a:lnTo>
                <a:lnTo>
                  <a:pt x="25" y="262"/>
                </a:lnTo>
                <a:lnTo>
                  <a:pt x="25" y="265"/>
                </a:lnTo>
                <a:lnTo>
                  <a:pt x="25" y="265"/>
                </a:lnTo>
                <a:lnTo>
                  <a:pt x="25" y="269"/>
                </a:lnTo>
                <a:lnTo>
                  <a:pt x="28" y="269"/>
                </a:lnTo>
                <a:lnTo>
                  <a:pt x="34" y="265"/>
                </a:lnTo>
                <a:lnTo>
                  <a:pt x="37" y="265"/>
                </a:lnTo>
                <a:lnTo>
                  <a:pt x="37" y="265"/>
                </a:lnTo>
                <a:lnTo>
                  <a:pt x="41" y="265"/>
                </a:lnTo>
                <a:lnTo>
                  <a:pt x="44" y="262"/>
                </a:lnTo>
                <a:lnTo>
                  <a:pt x="47" y="262"/>
                </a:lnTo>
                <a:lnTo>
                  <a:pt x="50" y="262"/>
                </a:lnTo>
                <a:lnTo>
                  <a:pt x="53" y="262"/>
                </a:lnTo>
                <a:lnTo>
                  <a:pt x="53" y="262"/>
                </a:lnTo>
                <a:lnTo>
                  <a:pt x="56" y="262"/>
                </a:lnTo>
                <a:lnTo>
                  <a:pt x="56" y="262"/>
                </a:lnTo>
                <a:lnTo>
                  <a:pt x="59" y="259"/>
                </a:lnTo>
                <a:lnTo>
                  <a:pt x="62" y="262"/>
                </a:lnTo>
                <a:lnTo>
                  <a:pt x="66" y="262"/>
                </a:lnTo>
                <a:lnTo>
                  <a:pt x="66" y="259"/>
                </a:lnTo>
                <a:lnTo>
                  <a:pt x="69" y="259"/>
                </a:lnTo>
                <a:lnTo>
                  <a:pt x="69" y="262"/>
                </a:lnTo>
                <a:lnTo>
                  <a:pt x="72" y="262"/>
                </a:lnTo>
                <a:lnTo>
                  <a:pt x="75" y="265"/>
                </a:lnTo>
                <a:lnTo>
                  <a:pt x="78" y="265"/>
                </a:lnTo>
                <a:lnTo>
                  <a:pt x="81" y="259"/>
                </a:lnTo>
                <a:lnTo>
                  <a:pt x="87" y="259"/>
                </a:lnTo>
                <a:lnTo>
                  <a:pt x="91" y="262"/>
                </a:lnTo>
                <a:lnTo>
                  <a:pt x="94" y="259"/>
                </a:lnTo>
                <a:lnTo>
                  <a:pt x="97" y="259"/>
                </a:lnTo>
                <a:lnTo>
                  <a:pt x="97" y="259"/>
                </a:lnTo>
                <a:lnTo>
                  <a:pt x="100" y="259"/>
                </a:lnTo>
                <a:lnTo>
                  <a:pt x="103" y="259"/>
                </a:lnTo>
                <a:lnTo>
                  <a:pt x="109" y="259"/>
                </a:lnTo>
                <a:lnTo>
                  <a:pt x="116" y="259"/>
                </a:lnTo>
                <a:lnTo>
                  <a:pt x="119" y="262"/>
                </a:lnTo>
                <a:lnTo>
                  <a:pt x="122" y="265"/>
                </a:lnTo>
                <a:lnTo>
                  <a:pt x="122" y="269"/>
                </a:lnTo>
                <a:lnTo>
                  <a:pt x="122" y="269"/>
                </a:lnTo>
                <a:lnTo>
                  <a:pt x="119" y="269"/>
                </a:lnTo>
                <a:lnTo>
                  <a:pt x="119" y="272"/>
                </a:lnTo>
                <a:lnTo>
                  <a:pt x="122" y="272"/>
                </a:lnTo>
                <a:lnTo>
                  <a:pt x="128" y="269"/>
                </a:lnTo>
                <a:lnTo>
                  <a:pt x="128" y="272"/>
                </a:lnTo>
                <a:lnTo>
                  <a:pt x="134" y="278"/>
                </a:lnTo>
                <a:lnTo>
                  <a:pt x="134" y="284"/>
                </a:lnTo>
                <a:lnTo>
                  <a:pt x="134" y="284"/>
                </a:lnTo>
                <a:lnTo>
                  <a:pt x="134" y="287"/>
                </a:lnTo>
                <a:lnTo>
                  <a:pt x="134" y="290"/>
                </a:lnTo>
                <a:lnTo>
                  <a:pt x="134" y="290"/>
                </a:lnTo>
                <a:lnTo>
                  <a:pt x="137" y="290"/>
                </a:lnTo>
                <a:lnTo>
                  <a:pt x="137" y="294"/>
                </a:lnTo>
                <a:lnTo>
                  <a:pt x="141" y="294"/>
                </a:lnTo>
                <a:lnTo>
                  <a:pt x="147" y="294"/>
                </a:lnTo>
                <a:lnTo>
                  <a:pt x="153" y="297"/>
                </a:lnTo>
                <a:lnTo>
                  <a:pt x="153" y="300"/>
                </a:lnTo>
                <a:lnTo>
                  <a:pt x="156" y="29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2" name="Freeform 40">
            <a:extLst>
              <a:ext uri="{FF2B5EF4-FFF2-40B4-BE49-F238E27FC236}">
                <a16:creationId xmlns:a16="http://schemas.microsoft.com/office/drawing/2014/main" id="{EF75F18B-48DB-3DA4-661D-37CB0987743A}"/>
              </a:ext>
            </a:extLst>
          </p:cNvPr>
          <p:cNvSpPr>
            <a:spLocks/>
          </p:cNvSpPr>
          <p:nvPr userDrawn="1"/>
        </p:nvSpPr>
        <p:spPr bwMode="auto">
          <a:xfrm>
            <a:off x="17524857" y="6854109"/>
            <a:ext cx="457170" cy="377826"/>
          </a:xfrm>
          <a:custGeom>
            <a:avLst/>
            <a:gdLst>
              <a:gd name="T0" fmla="*/ 72 w 144"/>
              <a:gd name="T1" fmla="*/ 116 h 119"/>
              <a:gd name="T2" fmla="*/ 81 w 144"/>
              <a:gd name="T3" fmla="*/ 100 h 119"/>
              <a:gd name="T4" fmla="*/ 91 w 144"/>
              <a:gd name="T5" fmla="*/ 97 h 119"/>
              <a:gd name="T6" fmla="*/ 103 w 144"/>
              <a:gd name="T7" fmla="*/ 103 h 119"/>
              <a:gd name="T8" fmla="*/ 116 w 144"/>
              <a:gd name="T9" fmla="*/ 103 h 119"/>
              <a:gd name="T10" fmla="*/ 122 w 144"/>
              <a:gd name="T11" fmla="*/ 106 h 119"/>
              <a:gd name="T12" fmla="*/ 138 w 144"/>
              <a:gd name="T13" fmla="*/ 106 h 119"/>
              <a:gd name="T14" fmla="*/ 141 w 144"/>
              <a:gd name="T15" fmla="*/ 109 h 119"/>
              <a:gd name="T16" fmla="*/ 141 w 144"/>
              <a:gd name="T17" fmla="*/ 100 h 119"/>
              <a:gd name="T18" fmla="*/ 135 w 144"/>
              <a:gd name="T19" fmla="*/ 91 h 119"/>
              <a:gd name="T20" fmla="*/ 131 w 144"/>
              <a:gd name="T21" fmla="*/ 72 h 119"/>
              <a:gd name="T22" fmla="*/ 122 w 144"/>
              <a:gd name="T23" fmla="*/ 62 h 119"/>
              <a:gd name="T24" fmla="*/ 113 w 144"/>
              <a:gd name="T25" fmla="*/ 47 h 119"/>
              <a:gd name="T26" fmla="*/ 100 w 144"/>
              <a:gd name="T27" fmla="*/ 41 h 119"/>
              <a:gd name="T28" fmla="*/ 94 w 144"/>
              <a:gd name="T29" fmla="*/ 34 h 119"/>
              <a:gd name="T30" fmla="*/ 78 w 144"/>
              <a:gd name="T31" fmla="*/ 34 h 119"/>
              <a:gd name="T32" fmla="*/ 72 w 144"/>
              <a:gd name="T33" fmla="*/ 31 h 119"/>
              <a:gd name="T34" fmla="*/ 69 w 144"/>
              <a:gd name="T35" fmla="*/ 22 h 119"/>
              <a:gd name="T36" fmla="*/ 56 w 144"/>
              <a:gd name="T37" fmla="*/ 3 h 119"/>
              <a:gd name="T38" fmla="*/ 50 w 144"/>
              <a:gd name="T39" fmla="*/ 0 h 119"/>
              <a:gd name="T40" fmla="*/ 47 w 144"/>
              <a:gd name="T41" fmla="*/ 3 h 119"/>
              <a:gd name="T42" fmla="*/ 41 w 144"/>
              <a:gd name="T43" fmla="*/ 3 h 119"/>
              <a:gd name="T44" fmla="*/ 35 w 144"/>
              <a:gd name="T45" fmla="*/ 0 h 119"/>
              <a:gd name="T46" fmla="*/ 35 w 144"/>
              <a:gd name="T47" fmla="*/ 3 h 119"/>
              <a:gd name="T48" fmla="*/ 22 w 144"/>
              <a:gd name="T49" fmla="*/ 12 h 119"/>
              <a:gd name="T50" fmla="*/ 10 w 144"/>
              <a:gd name="T51" fmla="*/ 19 h 119"/>
              <a:gd name="T52" fmla="*/ 0 w 144"/>
              <a:gd name="T53" fmla="*/ 34 h 119"/>
              <a:gd name="T54" fmla="*/ 6 w 144"/>
              <a:gd name="T55" fmla="*/ 34 h 119"/>
              <a:gd name="T56" fmla="*/ 13 w 144"/>
              <a:gd name="T57" fmla="*/ 37 h 119"/>
              <a:gd name="T58" fmla="*/ 25 w 144"/>
              <a:gd name="T59" fmla="*/ 47 h 119"/>
              <a:gd name="T60" fmla="*/ 31 w 144"/>
              <a:gd name="T61" fmla="*/ 53 h 119"/>
              <a:gd name="T62" fmla="*/ 25 w 144"/>
              <a:gd name="T63" fmla="*/ 59 h 119"/>
              <a:gd name="T64" fmla="*/ 22 w 144"/>
              <a:gd name="T65" fmla="*/ 66 h 119"/>
              <a:gd name="T66" fmla="*/ 25 w 144"/>
              <a:gd name="T67" fmla="*/ 78 h 119"/>
              <a:gd name="T68" fmla="*/ 28 w 144"/>
              <a:gd name="T69" fmla="*/ 97 h 119"/>
              <a:gd name="T70" fmla="*/ 44 w 144"/>
              <a:gd name="T71" fmla="*/ 103 h 119"/>
              <a:gd name="T72" fmla="*/ 53 w 144"/>
              <a:gd name="T73" fmla="*/ 112 h 119"/>
              <a:gd name="T74" fmla="*/ 63 w 144"/>
              <a:gd name="T75" fmla="*/ 112 h 119"/>
              <a:gd name="T76" fmla="*/ 69 w 144"/>
              <a:gd name="T7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4" h="119">
                <a:moveTo>
                  <a:pt x="69" y="119"/>
                </a:moveTo>
                <a:lnTo>
                  <a:pt x="72" y="116"/>
                </a:lnTo>
                <a:lnTo>
                  <a:pt x="75" y="106"/>
                </a:lnTo>
                <a:lnTo>
                  <a:pt x="81" y="100"/>
                </a:lnTo>
                <a:lnTo>
                  <a:pt x="88" y="100"/>
                </a:lnTo>
                <a:lnTo>
                  <a:pt x="91" y="97"/>
                </a:lnTo>
                <a:lnTo>
                  <a:pt x="94" y="97"/>
                </a:lnTo>
                <a:lnTo>
                  <a:pt x="103" y="103"/>
                </a:lnTo>
                <a:lnTo>
                  <a:pt x="110" y="100"/>
                </a:lnTo>
                <a:lnTo>
                  <a:pt x="116" y="103"/>
                </a:lnTo>
                <a:lnTo>
                  <a:pt x="119" y="109"/>
                </a:lnTo>
                <a:lnTo>
                  <a:pt x="122" y="106"/>
                </a:lnTo>
                <a:lnTo>
                  <a:pt x="131" y="112"/>
                </a:lnTo>
                <a:lnTo>
                  <a:pt x="138" y="106"/>
                </a:lnTo>
                <a:lnTo>
                  <a:pt x="141" y="106"/>
                </a:lnTo>
                <a:lnTo>
                  <a:pt x="141" y="109"/>
                </a:lnTo>
                <a:lnTo>
                  <a:pt x="144" y="106"/>
                </a:lnTo>
                <a:lnTo>
                  <a:pt x="141" y="100"/>
                </a:lnTo>
                <a:lnTo>
                  <a:pt x="138" y="91"/>
                </a:lnTo>
                <a:lnTo>
                  <a:pt x="135" y="91"/>
                </a:lnTo>
                <a:lnTo>
                  <a:pt x="131" y="81"/>
                </a:lnTo>
                <a:lnTo>
                  <a:pt x="131" y="72"/>
                </a:lnTo>
                <a:lnTo>
                  <a:pt x="128" y="66"/>
                </a:lnTo>
                <a:lnTo>
                  <a:pt x="122" y="62"/>
                </a:lnTo>
                <a:lnTo>
                  <a:pt x="116" y="56"/>
                </a:lnTo>
                <a:lnTo>
                  <a:pt x="113" y="47"/>
                </a:lnTo>
                <a:lnTo>
                  <a:pt x="106" y="44"/>
                </a:lnTo>
                <a:lnTo>
                  <a:pt x="100" y="41"/>
                </a:lnTo>
                <a:lnTo>
                  <a:pt x="97" y="37"/>
                </a:lnTo>
                <a:lnTo>
                  <a:pt x="94" y="34"/>
                </a:lnTo>
                <a:lnTo>
                  <a:pt x="88" y="37"/>
                </a:lnTo>
                <a:lnTo>
                  <a:pt x="78" y="34"/>
                </a:lnTo>
                <a:lnTo>
                  <a:pt x="75" y="31"/>
                </a:lnTo>
                <a:lnTo>
                  <a:pt x="72" y="31"/>
                </a:lnTo>
                <a:lnTo>
                  <a:pt x="72" y="25"/>
                </a:lnTo>
                <a:lnTo>
                  <a:pt x="69" y="22"/>
                </a:lnTo>
                <a:lnTo>
                  <a:pt x="60" y="9"/>
                </a:lnTo>
                <a:lnTo>
                  <a:pt x="56" y="3"/>
                </a:lnTo>
                <a:lnTo>
                  <a:pt x="53" y="0"/>
                </a:lnTo>
                <a:lnTo>
                  <a:pt x="50" y="0"/>
                </a:lnTo>
                <a:lnTo>
                  <a:pt x="50" y="0"/>
                </a:lnTo>
                <a:lnTo>
                  <a:pt x="47" y="3"/>
                </a:lnTo>
                <a:lnTo>
                  <a:pt x="44" y="3"/>
                </a:lnTo>
                <a:lnTo>
                  <a:pt x="41" y="3"/>
                </a:lnTo>
                <a:lnTo>
                  <a:pt x="38" y="0"/>
                </a:lnTo>
                <a:lnTo>
                  <a:pt x="35" y="0"/>
                </a:lnTo>
                <a:lnTo>
                  <a:pt x="35" y="3"/>
                </a:lnTo>
                <a:lnTo>
                  <a:pt x="35" y="3"/>
                </a:lnTo>
                <a:lnTo>
                  <a:pt x="31" y="9"/>
                </a:lnTo>
                <a:lnTo>
                  <a:pt x="22" y="12"/>
                </a:lnTo>
                <a:lnTo>
                  <a:pt x="6" y="16"/>
                </a:lnTo>
                <a:lnTo>
                  <a:pt x="10" y="19"/>
                </a:lnTo>
                <a:lnTo>
                  <a:pt x="0" y="25"/>
                </a:lnTo>
                <a:lnTo>
                  <a:pt x="0" y="34"/>
                </a:lnTo>
                <a:lnTo>
                  <a:pt x="3" y="37"/>
                </a:lnTo>
                <a:lnTo>
                  <a:pt x="6" y="34"/>
                </a:lnTo>
                <a:lnTo>
                  <a:pt x="10" y="34"/>
                </a:lnTo>
                <a:lnTo>
                  <a:pt x="13" y="37"/>
                </a:lnTo>
                <a:lnTo>
                  <a:pt x="19" y="44"/>
                </a:lnTo>
                <a:lnTo>
                  <a:pt x="25" y="47"/>
                </a:lnTo>
                <a:lnTo>
                  <a:pt x="25" y="50"/>
                </a:lnTo>
                <a:lnTo>
                  <a:pt x="31" y="53"/>
                </a:lnTo>
                <a:lnTo>
                  <a:pt x="31" y="56"/>
                </a:lnTo>
                <a:lnTo>
                  <a:pt x="25" y="59"/>
                </a:lnTo>
                <a:lnTo>
                  <a:pt x="25" y="62"/>
                </a:lnTo>
                <a:lnTo>
                  <a:pt x="22" y="66"/>
                </a:lnTo>
                <a:lnTo>
                  <a:pt x="22" y="72"/>
                </a:lnTo>
                <a:lnTo>
                  <a:pt x="25" y="78"/>
                </a:lnTo>
                <a:lnTo>
                  <a:pt x="28" y="91"/>
                </a:lnTo>
                <a:lnTo>
                  <a:pt x="28" y="97"/>
                </a:lnTo>
                <a:lnTo>
                  <a:pt x="38" y="103"/>
                </a:lnTo>
                <a:lnTo>
                  <a:pt x="44" y="103"/>
                </a:lnTo>
                <a:lnTo>
                  <a:pt x="50" y="106"/>
                </a:lnTo>
                <a:lnTo>
                  <a:pt x="53" y="112"/>
                </a:lnTo>
                <a:lnTo>
                  <a:pt x="60" y="112"/>
                </a:lnTo>
                <a:lnTo>
                  <a:pt x="63" y="112"/>
                </a:lnTo>
                <a:lnTo>
                  <a:pt x="69" y="112"/>
                </a:lnTo>
                <a:lnTo>
                  <a:pt x="69" y="11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3" name="Freeform 41">
            <a:extLst>
              <a:ext uri="{FF2B5EF4-FFF2-40B4-BE49-F238E27FC236}">
                <a16:creationId xmlns:a16="http://schemas.microsoft.com/office/drawing/2014/main" id="{CEB80832-BD29-51A3-376B-BB36B7A8A1EC}"/>
              </a:ext>
            </a:extLst>
          </p:cNvPr>
          <p:cNvSpPr>
            <a:spLocks/>
          </p:cNvSpPr>
          <p:nvPr userDrawn="1"/>
        </p:nvSpPr>
        <p:spPr bwMode="auto">
          <a:xfrm>
            <a:off x="16810531" y="6765209"/>
            <a:ext cx="834972" cy="695326"/>
          </a:xfrm>
          <a:custGeom>
            <a:avLst/>
            <a:gdLst>
              <a:gd name="T0" fmla="*/ 241 w 263"/>
              <a:gd name="T1" fmla="*/ 22 h 219"/>
              <a:gd name="T2" fmla="*/ 253 w 263"/>
              <a:gd name="T3" fmla="*/ 22 h 219"/>
              <a:gd name="T4" fmla="*/ 256 w 263"/>
              <a:gd name="T5" fmla="*/ 31 h 219"/>
              <a:gd name="T6" fmla="*/ 247 w 263"/>
              <a:gd name="T7" fmla="*/ 40 h 219"/>
              <a:gd name="T8" fmla="*/ 216 w 263"/>
              <a:gd name="T9" fmla="*/ 47 h 219"/>
              <a:gd name="T10" fmla="*/ 203 w 263"/>
              <a:gd name="T11" fmla="*/ 56 h 219"/>
              <a:gd name="T12" fmla="*/ 206 w 263"/>
              <a:gd name="T13" fmla="*/ 78 h 219"/>
              <a:gd name="T14" fmla="*/ 203 w 263"/>
              <a:gd name="T15" fmla="*/ 103 h 219"/>
              <a:gd name="T16" fmla="*/ 185 w 263"/>
              <a:gd name="T17" fmla="*/ 106 h 219"/>
              <a:gd name="T18" fmla="*/ 185 w 263"/>
              <a:gd name="T19" fmla="*/ 115 h 219"/>
              <a:gd name="T20" fmla="*/ 181 w 263"/>
              <a:gd name="T21" fmla="*/ 128 h 219"/>
              <a:gd name="T22" fmla="*/ 175 w 263"/>
              <a:gd name="T23" fmla="*/ 137 h 219"/>
              <a:gd name="T24" fmla="*/ 172 w 263"/>
              <a:gd name="T25" fmla="*/ 147 h 219"/>
              <a:gd name="T26" fmla="*/ 166 w 263"/>
              <a:gd name="T27" fmla="*/ 156 h 219"/>
              <a:gd name="T28" fmla="*/ 159 w 263"/>
              <a:gd name="T29" fmla="*/ 159 h 219"/>
              <a:gd name="T30" fmla="*/ 150 w 263"/>
              <a:gd name="T31" fmla="*/ 162 h 219"/>
              <a:gd name="T32" fmla="*/ 144 w 263"/>
              <a:gd name="T33" fmla="*/ 172 h 219"/>
              <a:gd name="T34" fmla="*/ 131 w 263"/>
              <a:gd name="T35" fmla="*/ 175 h 219"/>
              <a:gd name="T36" fmla="*/ 125 w 263"/>
              <a:gd name="T37" fmla="*/ 181 h 219"/>
              <a:gd name="T38" fmla="*/ 122 w 263"/>
              <a:gd name="T39" fmla="*/ 197 h 219"/>
              <a:gd name="T40" fmla="*/ 122 w 263"/>
              <a:gd name="T41" fmla="*/ 206 h 219"/>
              <a:gd name="T42" fmla="*/ 103 w 263"/>
              <a:gd name="T43" fmla="*/ 212 h 219"/>
              <a:gd name="T44" fmla="*/ 84 w 263"/>
              <a:gd name="T45" fmla="*/ 216 h 219"/>
              <a:gd name="T46" fmla="*/ 47 w 263"/>
              <a:gd name="T47" fmla="*/ 219 h 219"/>
              <a:gd name="T48" fmla="*/ 38 w 263"/>
              <a:gd name="T49" fmla="*/ 187 h 219"/>
              <a:gd name="T50" fmla="*/ 31 w 263"/>
              <a:gd name="T51" fmla="*/ 169 h 219"/>
              <a:gd name="T52" fmla="*/ 13 w 263"/>
              <a:gd name="T53" fmla="*/ 156 h 219"/>
              <a:gd name="T54" fmla="*/ 6 w 263"/>
              <a:gd name="T55" fmla="*/ 134 h 219"/>
              <a:gd name="T56" fmla="*/ 13 w 263"/>
              <a:gd name="T57" fmla="*/ 122 h 219"/>
              <a:gd name="T58" fmla="*/ 3 w 263"/>
              <a:gd name="T59" fmla="*/ 109 h 219"/>
              <a:gd name="T60" fmla="*/ 3 w 263"/>
              <a:gd name="T61" fmla="*/ 100 h 219"/>
              <a:gd name="T62" fmla="*/ 9 w 263"/>
              <a:gd name="T63" fmla="*/ 94 h 219"/>
              <a:gd name="T64" fmla="*/ 9 w 263"/>
              <a:gd name="T65" fmla="*/ 87 h 219"/>
              <a:gd name="T66" fmla="*/ 9 w 263"/>
              <a:gd name="T67" fmla="*/ 75 h 219"/>
              <a:gd name="T68" fmla="*/ 16 w 263"/>
              <a:gd name="T69" fmla="*/ 75 h 219"/>
              <a:gd name="T70" fmla="*/ 25 w 263"/>
              <a:gd name="T71" fmla="*/ 75 h 219"/>
              <a:gd name="T72" fmla="*/ 34 w 263"/>
              <a:gd name="T73" fmla="*/ 81 h 219"/>
              <a:gd name="T74" fmla="*/ 44 w 263"/>
              <a:gd name="T75" fmla="*/ 81 h 219"/>
              <a:gd name="T76" fmla="*/ 50 w 263"/>
              <a:gd name="T77" fmla="*/ 72 h 219"/>
              <a:gd name="T78" fmla="*/ 63 w 263"/>
              <a:gd name="T79" fmla="*/ 65 h 219"/>
              <a:gd name="T80" fmla="*/ 69 w 263"/>
              <a:gd name="T81" fmla="*/ 59 h 219"/>
              <a:gd name="T82" fmla="*/ 75 w 263"/>
              <a:gd name="T83" fmla="*/ 44 h 219"/>
              <a:gd name="T84" fmla="*/ 72 w 263"/>
              <a:gd name="T85" fmla="*/ 37 h 219"/>
              <a:gd name="T86" fmla="*/ 81 w 263"/>
              <a:gd name="T87" fmla="*/ 34 h 219"/>
              <a:gd name="T88" fmla="*/ 94 w 263"/>
              <a:gd name="T89" fmla="*/ 28 h 219"/>
              <a:gd name="T90" fmla="*/ 103 w 263"/>
              <a:gd name="T91" fmla="*/ 31 h 219"/>
              <a:gd name="T92" fmla="*/ 116 w 263"/>
              <a:gd name="T93" fmla="*/ 34 h 219"/>
              <a:gd name="T94" fmla="*/ 125 w 263"/>
              <a:gd name="T95" fmla="*/ 31 h 219"/>
              <a:gd name="T96" fmla="*/ 141 w 263"/>
              <a:gd name="T97" fmla="*/ 37 h 219"/>
              <a:gd name="T98" fmla="*/ 150 w 263"/>
              <a:gd name="T99" fmla="*/ 31 h 219"/>
              <a:gd name="T100" fmla="*/ 156 w 263"/>
              <a:gd name="T101" fmla="*/ 34 h 219"/>
              <a:gd name="T102" fmla="*/ 159 w 263"/>
              <a:gd name="T103" fmla="*/ 28 h 219"/>
              <a:gd name="T104" fmla="*/ 166 w 263"/>
              <a:gd name="T105" fmla="*/ 22 h 219"/>
              <a:gd name="T106" fmla="*/ 172 w 263"/>
              <a:gd name="T107" fmla="*/ 25 h 219"/>
              <a:gd name="T108" fmla="*/ 175 w 263"/>
              <a:gd name="T109" fmla="*/ 12 h 219"/>
              <a:gd name="T110" fmla="*/ 181 w 263"/>
              <a:gd name="T111" fmla="*/ 0 h 219"/>
              <a:gd name="T112" fmla="*/ 194 w 263"/>
              <a:gd name="T113" fmla="*/ 6 h 219"/>
              <a:gd name="T114" fmla="*/ 194 w 263"/>
              <a:gd name="T115" fmla="*/ 15 h 219"/>
              <a:gd name="T116" fmla="*/ 197 w 263"/>
              <a:gd name="T117" fmla="*/ 25 h 219"/>
              <a:gd name="T118" fmla="*/ 200 w 263"/>
              <a:gd name="T119" fmla="*/ 40 h 219"/>
              <a:gd name="T120" fmla="*/ 210 w 263"/>
              <a:gd name="T121" fmla="*/ 44 h 219"/>
              <a:gd name="T122" fmla="*/ 222 w 263"/>
              <a:gd name="T123" fmla="*/ 37 h 219"/>
              <a:gd name="T124" fmla="*/ 228 w 263"/>
              <a:gd name="T125" fmla="*/ 28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3" h="219">
                <a:moveTo>
                  <a:pt x="228" y="28"/>
                </a:moveTo>
                <a:lnTo>
                  <a:pt x="238" y="22"/>
                </a:lnTo>
                <a:lnTo>
                  <a:pt x="241" y="22"/>
                </a:lnTo>
                <a:lnTo>
                  <a:pt x="244" y="25"/>
                </a:lnTo>
                <a:lnTo>
                  <a:pt x="250" y="25"/>
                </a:lnTo>
                <a:lnTo>
                  <a:pt x="253" y="22"/>
                </a:lnTo>
                <a:lnTo>
                  <a:pt x="260" y="22"/>
                </a:lnTo>
                <a:lnTo>
                  <a:pt x="263" y="25"/>
                </a:lnTo>
                <a:lnTo>
                  <a:pt x="256" y="31"/>
                </a:lnTo>
                <a:lnTo>
                  <a:pt x="260" y="31"/>
                </a:lnTo>
                <a:lnTo>
                  <a:pt x="256" y="37"/>
                </a:lnTo>
                <a:lnTo>
                  <a:pt x="247" y="40"/>
                </a:lnTo>
                <a:lnTo>
                  <a:pt x="228" y="44"/>
                </a:lnTo>
                <a:lnTo>
                  <a:pt x="222" y="44"/>
                </a:lnTo>
                <a:lnTo>
                  <a:pt x="216" y="47"/>
                </a:lnTo>
                <a:lnTo>
                  <a:pt x="210" y="50"/>
                </a:lnTo>
                <a:lnTo>
                  <a:pt x="206" y="50"/>
                </a:lnTo>
                <a:lnTo>
                  <a:pt x="203" y="56"/>
                </a:lnTo>
                <a:lnTo>
                  <a:pt x="200" y="59"/>
                </a:lnTo>
                <a:lnTo>
                  <a:pt x="206" y="72"/>
                </a:lnTo>
                <a:lnTo>
                  <a:pt x="206" y="78"/>
                </a:lnTo>
                <a:lnTo>
                  <a:pt x="197" y="90"/>
                </a:lnTo>
                <a:lnTo>
                  <a:pt x="203" y="97"/>
                </a:lnTo>
                <a:lnTo>
                  <a:pt x="203" y="103"/>
                </a:lnTo>
                <a:lnTo>
                  <a:pt x="197" y="109"/>
                </a:lnTo>
                <a:lnTo>
                  <a:pt x="191" y="109"/>
                </a:lnTo>
                <a:lnTo>
                  <a:pt x="185" y="106"/>
                </a:lnTo>
                <a:lnTo>
                  <a:pt x="178" y="109"/>
                </a:lnTo>
                <a:lnTo>
                  <a:pt x="181" y="115"/>
                </a:lnTo>
                <a:lnTo>
                  <a:pt x="185" y="115"/>
                </a:lnTo>
                <a:lnTo>
                  <a:pt x="188" y="122"/>
                </a:lnTo>
                <a:lnTo>
                  <a:pt x="188" y="125"/>
                </a:lnTo>
                <a:lnTo>
                  <a:pt x="181" y="128"/>
                </a:lnTo>
                <a:lnTo>
                  <a:pt x="178" y="128"/>
                </a:lnTo>
                <a:lnTo>
                  <a:pt x="175" y="131"/>
                </a:lnTo>
                <a:lnTo>
                  <a:pt x="175" y="137"/>
                </a:lnTo>
                <a:lnTo>
                  <a:pt x="175" y="144"/>
                </a:lnTo>
                <a:lnTo>
                  <a:pt x="175" y="147"/>
                </a:lnTo>
                <a:lnTo>
                  <a:pt x="172" y="147"/>
                </a:lnTo>
                <a:lnTo>
                  <a:pt x="175" y="156"/>
                </a:lnTo>
                <a:lnTo>
                  <a:pt x="169" y="162"/>
                </a:lnTo>
                <a:lnTo>
                  <a:pt x="166" y="156"/>
                </a:lnTo>
                <a:lnTo>
                  <a:pt x="163" y="156"/>
                </a:lnTo>
                <a:lnTo>
                  <a:pt x="163" y="159"/>
                </a:lnTo>
                <a:lnTo>
                  <a:pt x="159" y="159"/>
                </a:lnTo>
                <a:lnTo>
                  <a:pt x="156" y="159"/>
                </a:lnTo>
                <a:lnTo>
                  <a:pt x="153" y="159"/>
                </a:lnTo>
                <a:lnTo>
                  <a:pt x="150" y="162"/>
                </a:lnTo>
                <a:lnTo>
                  <a:pt x="144" y="166"/>
                </a:lnTo>
                <a:lnTo>
                  <a:pt x="147" y="169"/>
                </a:lnTo>
                <a:lnTo>
                  <a:pt x="144" y="172"/>
                </a:lnTo>
                <a:lnTo>
                  <a:pt x="138" y="175"/>
                </a:lnTo>
                <a:lnTo>
                  <a:pt x="134" y="172"/>
                </a:lnTo>
                <a:lnTo>
                  <a:pt x="131" y="175"/>
                </a:lnTo>
                <a:lnTo>
                  <a:pt x="128" y="175"/>
                </a:lnTo>
                <a:lnTo>
                  <a:pt x="128" y="178"/>
                </a:lnTo>
                <a:lnTo>
                  <a:pt x="125" y="181"/>
                </a:lnTo>
                <a:lnTo>
                  <a:pt x="122" y="184"/>
                </a:lnTo>
                <a:lnTo>
                  <a:pt x="122" y="191"/>
                </a:lnTo>
                <a:lnTo>
                  <a:pt x="122" y="197"/>
                </a:lnTo>
                <a:lnTo>
                  <a:pt x="122" y="200"/>
                </a:lnTo>
                <a:lnTo>
                  <a:pt x="125" y="203"/>
                </a:lnTo>
                <a:lnTo>
                  <a:pt x="122" y="206"/>
                </a:lnTo>
                <a:lnTo>
                  <a:pt x="116" y="209"/>
                </a:lnTo>
                <a:lnTo>
                  <a:pt x="109" y="209"/>
                </a:lnTo>
                <a:lnTo>
                  <a:pt x="103" y="212"/>
                </a:lnTo>
                <a:lnTo>
                  <a:pt x="91" y="212"/>
                </a:lnTo>
                <a:lnTo>
                  <a:pt x="84" y="212"/>
                </a:lnTo>
                <a:lnTo>
                  <a:pt x="84" y="216"/>
                </a:lnTo>
                <a:lnTo>
                  <a:pt x="78" y="216"/>
                </a:lnTo>
                <a:lnTo>
                  <a:pt x="69" y="219"/>
                </a:lnTo>
                <a:lnTo>
                  <a:pt x="47" y="219"/>
                </a:lnTo>
                <a:lnTo>
                  <a:pt x="22" y="209"/>
                </a:lnTo>
                <a:lnTo>
                  <a:pt x="34" y="191"/>
                </a:lnTo>
                <a:lnTo>
                  <a:pt x="38" y="187"/>
                </a:lnTo>
                <a:lnTo>
                  <a:pt x="34" y="181"/>
                </a:lnTo>
                <a:lnTo>
                  <a:pt x="34" y="175"/>
                </a:lnTo>
                <a:lnTo>
                  <a:pt x="31" y="169"/>
                </a:lnTo>
                <a:lnTo>
                  <a:pt x="16" y="169"/>
                </a:lnTo>
                <a:lnTo>
                  <a:pt x="16" y="159"/>
                </a:lnTo>
                <a:lnTo>
                  <a:pt x="13" y="156"/>
                </a:lnTo>
                <a:lnTo>
                  <a:pt x="13" y="153"/>
                </a:lnTo>
                <a:lnTo>
                  <a:pt x="13" y="144"/>
                </a:lnTo>
                <a:lnTo>
                  <a:pt x="6" y="134"/>
                </a:lnTo>
                <a:lnTo>
                  <a:pt x="6" y="131"/>
                </a:lnTo>
                <a:lnTo>
                  <a:pt x="13" y="122"/>
                </a:lnTo>
                <a:lnTo>
                  <a:pt x="13" y="122"/>
                </a:lnTo>
                <a:lnTo>
                  <a:pt x="3" y="122"/>
                </a:lnTo>
                <a:lnTo>
                  <a:pt x="3" y="115"/>
                </a:lnTo>
                <a:lnTo>
                  <a:pt x="3" y="109"/>
                </a:lnTo>
                <a:lnTo>
                  <a:pt x="3" y="109"/>
                </a:lnTo>
                <a:lnTo>
                  <a:pt x="6" y="103"/>
                </a:lnTo>
                <a:lnTo>
                  <a:pt x="3" y="100"/>
                </a:lnTo>
                <a:lnTo>
                  <a:pt x="0" y="100"/>
                </a:lnTo>
                <a:lnTo>
                  <a:pt x="6" y="97"/>
                </a:lnTo>
                <a:lnTo>
                  <a:pt x="9" y="94"/>
                </a:lnTo>
                <a:lnTo>
                  <a:pt x="9" y="90"/>
                </a:lnTo>
                <a:lnTo>
                  <a:pt x="13" y="90"/>
                </a:lnTo>
                <a:lnTo>
                  <a:pt x="9" y="87"/>
                </a:lnTo>
                <a:lnTo>
                  <a:pt x="9" y="84"/>
                </a:lnTo>
                <a:lnTo>
                  <a:pt x="9" y="81"/>
                </a:lnTo>
                <a:lnTo>
                  <a:pt x="9" y="75"/>
                </a:lnTo>
                <a:lnTo>
                  <a:pt x="9" y="75"/>
                </a:lnTo>
                <a:lnTo>
                  <a:pt x="13" y="75"/>
                </a:lnTo>
                <a:lnTo>
                  <a:pt x="16" y="75"/>
                </a:lnTo>
                <a:lnTo>
                  <a:pt x="19" y="78"/>
                </a:lnTo>
                <a:lnTo>
                  <a:pt x="22" y="78"/>
                </a:lnTo>
                <a:lnTo>
                  <a:pt x="25" y="75"/>
                </a:lnTo>
                <a:lnTo>
                  <a:pt x="28" y="75"/>
                </a:lnTo>
                <a:lnTo>
                  <a:pt x="31" y="78"/>
                </a:lnTo>
                <a:lnTo>
                  <a:pt x="34" y="81"/>
                </a:lnTo>
                <a:lnTo>
                  <a:pt x="34" y="84"/>
                </a:lnTo>
                <a:lnTo>
                  <a:pt x="38" y="81"/>
                </a:lnTo>
                <a:lnTo>
                  <a:pt x="44" y="81"/>
                </a:lnTo>
                <a:lnTo>
                  <a:pt x="47" y="78"/>
                </a:lnTo>
                <a:lnTo>
                  <a:pt x="47" y="75"/>
                </a:lnTo>
                <a:lnTo>
                  <a:pt x="50" y="72"/>
                </a:lnTo>
                <a:lnTo>
                  <a:pt x="47" y="69"/>
                </a:lnTo>
                <a:lnTo>
                  <a:pt x="53" y="65"/>
                </a:lnTo>
                <a:lnTo>
                  <a:pt x="63" y="65"/>
                </a:lnTo>
                <a:lnTo>
                  <a:pt x="63" y="62"/>
                </a:lnTo>
                <a:lnTo>
                  <a:pt x="66" y="59"/>
                </a:lnTo>
                <a:lnTo>
                  <a:pt x="69" y="59"/>
                </a:lnTo>
                <a:lnTo>
                  <a:pt x="69" y="53"/>
                </a:lnTo>
                <a:lnTo>
                  <a:pt x="69" y="50"/>
                </a:lnTo>
                <a:lnTo>
                  <a:pt x="75" y="44"/>
                </a:lnTo>
                <a:lnTo>
                  <a:pt x="75" y="40"/>
                </a:lnTo>
                <a:lnTo>
                  <a:pt x="72" y="40"/>
                </a:lnTo>
                <a:lnTo>
                  <a:pt x="72" y="37"/>
                </a:lnTo>
                <a:lnTo>
                  <a:pt x="75" y="37"/>
                </a:lnTo>
                <a:lnTo>
                  <a:pt x="78" y="34"/>
                </a:lnTo>
                <a:lnTo>
                  <a:pt x="81" y="34"/>
                </a:lnTo>
                <a:lnTo>
                  <a:pt x="84" y="34"/>
                </a:lnTo>
                <a:lnTo>
                  <a:pt x="91" y="28"/>
                </a:lnTo>
                <a:lnTo>
                  <a:pt x="94" y="28"/>
                </a:lnTo>
                <a:lnTo>
                  <a:pt x="97" y="31"/>
                </a:lnTo>
                <a:lnTo>
                  <a:pt x="103" y="28"/>
                </a:lnTo>
                <a:lnTo>
                  <a:pt x="103" y="31"/>
                </a:lnTo>
                <a:lnTo>
                  <a:pt x="109" y="28"/>
                </a:lnTo>
                <a:lnTo>
                  <a:pt x="116" y="31"/>
                </a:lnTo>
                <a:lnTo>
                  <a:pt x="116" y="34"/>
                </a:lnTo>
                <a:lnTo>
                  <a:pt x="119" y="34"/>
                </a:lnTo>
                <a:lnTo>
                  <a:pt x="122" y="31"/>
                </a:lnTo>
                <a:lnTo>
                  <a:pt x="125" y="31"/>
                </a:lnTo>
                <a:lnTo>
                  <a:pt x="131" y="37"/>
                </a:lnTo>
                <a:lnTo>
                  <a:pt x="134" y="37"/>
                </a:lnTo>
                <a:lnTo>
                  <a:pt x="141" y="37"/>
                </a:lnTo>
                <a:lnTo>
                  <a:pt x="144" y="34"/>
                </a:lnTo>
                <a:lnTo>
                  <a:pt x="147" y="31"/>
                </a:lnTo>
                <a:lnTo>
                  <a:pt x="150" y="31"/>
                </a:lnTo>
                <a:lnTo>
                  <a:pt x="150" y="28"/>
                </a:lnTo>
                <a:lnTo>
                  <a:pt x="153" y="31"/>
                </a:lnTo>
                <a:lnTo>
                  <a:pt x="156" y="34"/>
                </a:lnTo>
                <a:lnTo>
                  <a:pt x="163" y="34"/>
                </a:lnTo>
                <a:lnTo>
                  <a:pt x="163" y="31"/>
                </a:lnTo>
                <a:lnTo>
                  <a:pt x="159" y="28"/>
                </a:lnTo>
                <a:lnTo>
                  <a:pt x="159" y="25"/>
                </a:lnTo>
                <a:lnTo>
                  <a:pt x="166" y="25"/>
                </a:lnTo>
                <a:lnTo>
                  <a:pt x="166" y="22"/>
                </a:lnTo>
                <a:lnTo>
                  <a:pt x="169" y="22"/>
                </a:lnTo>
                <a:lnTo>
                  <a:pt x="169" y="25"/>
                </a:lnTo>
                <a:lnTo>
                  <a:pt x="172" y="25"/>
                </a:lnTo>
                <a:lnTo>
                  <a:pt x="175" y="22"/>
                </a:lnTo>
                <a:lnTo>
                  <a:pt x="175" y="15"/>
                </a:lnTo>
                <a:lnTo>
                  <a:pt x="175" y="12"/>
                </a:lnTo>
                <a:lnTo>
                  <a:pt x="178" y="9"/>
                </a:lnTo>
                <a:lnTo>
                  <a:pt x="178" y="3"/>
                </a:lnTo>
                <a:lnTo>
                  <a:pt x="181" y="0"/>
                </a:lnTo>
                <a:lnTo>
                  <a:pt x="185" y="0"/>
                </a:lnTo>
                <a:lnTo>
                  <a:pt x="188" y="3"/>
                </a:lnTo>
                <a:lnTo>
                  <a:pt x="194" y="6"/>
                </a:lnTo>
                <a:lnTo>
                  <a:pt x="194" y="9"/>
                </a:lnTo>
                <a:lnTo>
                  <a:pt x="191" y="12"/>
                </a:lnTo>
                <a:lnTo>
                  <a:pt x="194" y="15"/>
                </a:lnTo>
                <a:lnTo>
                  <a:pt x="197" y="15"/>
                </a:lnTo>
                <a:lnTo>
                  <a:pt x="197" y="18"/>
                </a:lnTo>
                <a:lnTo>
                  <a:pt x="197" y="25"/>
                </a:lnTo>
                <a:lnTo>
                  <a:pt x="197" y="28"/>
                </a:lnTo>
                <a:lnTo>
                  <a:pt x="197" y="37"/>
                </a:lnTo>
                <a:lnTo>
                  <a:pt x="200" y="40"/>
                </a:lnTo>
                <a:lnTo>
                  <a:pt x="200" y="44"/>
                </a:lnTo>
                <a:lnTo>
                  <a:pt x="203" y="44"/>
                </a:lnTo>
                <a:lnTo>
                  <a:pt x="210" y="44"/>
                </a:lnTo>
                <a:lnTo>
                  <a:pt x="213" y="40"/>
                </a:lnTo>
                <a:lnTo>
                  <a:pt x="213" y="40"/>
                </a:lnTo>
                <a:lnTo>
                  <a:pt x="222" y="37"/>
                </a:lnTo>
                <a:lnTo>
                  <a:pt x="225" y="34"/>
                </a:lnTo>
                <a:lnTo>
                  <a:pt x="225" y="31"/>
                </a:lnTo>
                <a:lnTo>
                  <a:pt x="228" y="28"/>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4" name="Freeform 42">
            <a:extLst>
              <a:ext uri="{FF2B5EF4-FFF2-40B4-BE49-F238E27FC236}">
                <a16:creationId xmlns:a16="http://schemas.microsoft.com/office/drawing/2014/main" id="{3ACBBCA8-3F6C-4F52-B72A-1D059B9D4D77}"/>
              </a:ext>
            </a:extLst>
          </p:cNvPr>
          <p:cNvSpPr>
            <a:spLocks noEditPoints="1"/>
          </p:cNvSpPr>
          <p:nvPr userDrawn="1"/>
        </p:nvSpPr>
        <p:spPr bwMode="auto">
          <a:xfrm>
            <a:off x="13584939" y="5285656"/>
            <a:ext cx="387325" cy="307976"/>
          </a:xfrm>
          <a:custGeom>
            <a:avLst/>
            <a:gdLst>
              <a:gd name="T0" fmla="*/ 30 w 39"/>
              <a:gd name="T1" fmla="*/ 30 h 31"/>
              <a:gd name="T2" fmla="*/ 31 w 39"/>
              <a:gd name="T3" fmla="*/ 28 h 31"/>
              <a:gd name="T4" fmla="*/ 28 w 39"/>
              <a:gd name="T5" fmla="*/ 28 h 31"/>
              <a:gd name="T6" fmla="*/ 28 w 39"/>
              <a:gd name="T7" fmla="*/ 29 h 31"/>
              <a:gd name="T8" fmla="*/ 37 w 39"/>
              <a:gd name="T9" fmla="*/ 24 h 31"/>
              <a:gd name="T10" fmla="*/ 37 w 39"/>
              <a:gd name="T11" fmla="*/ 22 h 31"/>
              <a:gd name="T12" fmla="*/ 25 w 39"/>
              <a:gd name="T13" fmla="*/ 19 h 31"/>
              <a:gd name="T14" fmla="*/ 21 w 39"/>
              <a:gd name="T15" fmla="*/ 24 h 31"/>
              <a:gd name="T16" fmla="*/ 18 w 39"/>
              <a:gd name="T17" fmla="*/ 22 h 31"/>
              <a:gd name="T18" fmla="*/ 18 w 39"/>
              <a:gd name="T19" fmla="*/ 19 h 31"/>
              <a:gd name="T20" fmla="*/ 19 w 39"/>
              <a:gd name="T21" fmla="*/ 19 h 31"/>
              <a:gd name="T22" fmla="*/ 22 w 39"/>
              <a:gd name="T23" fmla="*/ 19 h 31"/>
              <a:gd name="T24" fmla="*/ 22 w 39"/>
              <a:gd name="T25" fmla="*/ 16 h 31"/>
              <a:gd name="T26" fmla="*/ 24 w 39"/>
              <a:gd name="T27" fmla="*/ 20 h 31"/>
              <a:gd name="T28" fmla="*/ 24 w 39"/>
              <a:gd name="T29" fmla="*/ 22 h 31"/>
              <a:gd name="T30" fmla="*/ 22 w 39"/>
              <a:gd name="T31" fmla="*/ 25 h 31"/>
              <a:gd name="T32" fmla="*/ 24 w 39"/>
              <a:gd name="T33" fmla="*/ 25 h 31"/>
              <a:gd name="T34" fmla="*/ 18 w 39"/>
              <a:gd name="T35" fmla="*/ 25 h 31"/>
              <a:gd name="T36" fmla="*/ 21 w 39"/>
              <a:gd name="T37" fmla="*/ 26 h 31"/>
              <a:gd name="T38" fmla="*/ 22 w 39"/>
              <a:gd name="T39" fmla="*/ 27 h 31"/>
              <a:gd name="T40" fmla="*/ 20 w 39"/>
              <a:gd name="T41" fmla="*/ 28 h 31"/>
              <a:gd name="T42" fmla="*/ 17 w 39"/>
              <a:gd name="T43" fmla="*/ 27 h 31"/>
              <a:gd name="T44" fmla="*/ 13 w 39"/>
              <a:gd name="T45" fmla="*/ 19 h 31"/>
              <a:gd name="T46" fmla="*/ 14 w 39"/>
              <a:gd name="T47" fmla="*/ 19 h 31"/>
              <a:gd name="T48" fmla="*/ 14 w 39"/>
              <a:gd name="T49" fmla="*/ 26 h 31"/>
              <a:gd name="T50" fmla="*/ 15 w 39"/>
              <a:gd name="T51" fmla="*/ 26 h 31"/>
              <a:gd name="T52" fmla="*/ 15 w 39"/>
              <a:gd name="T53" fmla="*/ 24 h 31"/>
              <a:gd name="T54" fmla="*/ 14 w 39"/>
              <a:gd name="T55" fmla="*/ 21 h 31"/>
              <a:gd name="T56" fmla="*/ 13 w 39"/>
              <a:gd name="T57" fmla="*/ 25 h 31"/>
              <a:gd name="T58" fmla="*/ 9 w 39"/>
              <a:gd name="T59" fmla="*/ 22 h 31"/>
              <a:gd name="T60" fmla="*/ 17 w 39"/>
              <a:gd name="T61" fmla="*/ 4 h 31"/>
              <a:gd name="T62" fmla="*/ 3 w 39"/>
              <a:gd name="T63" fmla="*/ 9 h 31"/>
              <a:gd name="T64" fmla="*/ 4 w 39"/>
              <a:gd name="T65" fmla="*/ 10 h 31"/>
              <a:gd name="T66" fmla="*/ 3 w 39"/>
              <a:gd name="T67" fmla="*/ 9 h 31"/>
              <a:gd name="T68" fmla="*/ 8 w 39"/>
              <a:gd name="T69" fmla="*/ 8 h 31"/>
              <a:gd name="T70" fmla="*/ 12 w 39"/>
              <a:gd name="T71" fmla="*/ 8 h 31"/>
              <a:gd name="T72" fmla="*/ 13 w 39"/>
              <a:gd name="T73" fmla="*/ 2 h 31"/>
              <a:gd name="T74" fmla="*/ 10 w 39"/>
              <a:gd name="T75" fmla="*/ 3 h 31"/>
              <a:gd name="T76" fmla="*/ 6 w 39"/>
              <a:gd name="T77" fmla="*/ 6 h 31"/>
              <a:gd name="T78" fmla="*/ 2 w 39"/>
              <a:gd name="T79" fmla="*/ 7 h 31"/>
              <a:gd name="T80" fmla="*/ 2 w 39"/>
              <a:gd name="T81" fmla="*/ 10 h 31"/>
              <a:gd name="T82" fmla="*/ 9 w 39"/>
              <a:gd name="T83" fmla="*/ 25 h 31"/>
              <a:gd name="T84" fmla="*/ 8 w 39"/>
              <a:gd name="T85" fmla="*/ 23 h 31"/>
              <a:gd name="T86" fmla="*/ 10 w 39"/>
              <a:gd name="T87" fmla="*/ 20 h 31"/>
              <a:gd name="T88" fmla="*/ 12 w 39"/>
              <a:gd name="T89" fmla="*/ 18 h 31"/>
              <a:gd name="T90" fmla="*/ 14 w 39"/>
              <a:gd name="T91" fmla="*/ 14 h 31"/>
              <a:gd name="T92" fmla="*/ 16 w 39"/>
              <a:gd name="T93" fmla="*/ 14 h 31"/>
              <a:gd name="T94" fmla="*/ 13 w 39"/>
              <a:gd name="T95" fmla="*/ 13 h 31"/>
              <a:gd name="T96" fmla="*/ 11 w 39"/>
              <a:gd name="T97" fmla="*/ 10 h 31"/>
              <a:gd name="T98" fmla="*/ 7 w 39"/>
              <a:gd name="T99" fmla="*/ 8 h 31"/>
              <a:gd name="T100" fmla="*/ 7 w 39"/>
              <a:gd name="T101" fmla="*/ 11 h 31"/>
              <a:gd name="T102" fmla="*/ 6 w 39"/>
              <a:gd name="T103" fmla="*/ 12 h 31"/>
              <a:gd name="T104" fmla="*/ 5 w 39"/>
              <a:gd name="T105" fmla="*/ 10 h 31"/>
              <a:gd name="T106" fmla="*/ 3 w 39"/>
              <a:gd name="T107" fmla="*/ 12 h 31"/>
              <a:gd name="T108" fmla="*/ 2 w 39"/>
              <a:gd name="T109" fmla="*/ 13 h 31"/>
              <a:gd name="T110" fmla="*/ 0 w 39"/>
              <a:gd name="T111" fmla="*/ 16 h 31"/>
              <a:gd name="T112" fmla="*/ 0 w 39"/>
              <a:gd name="T113" fmla="*/ 19 h 31"/>
              <a:gd name="T114" fmla="*/ 3 w 39"/>
              <a:gd name="T115" fmla="*/ 22 h 31"/>
              <a:gd name="T116" fmla="*/ 4 w 39"/>
              <a:gd name="T117"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 h="31">
                <a:moveTo>
                  <a:pt x="28" y="30"/>
                </a:moveTo>
                <a:cubicBezTo>
                  <a:pt x="28" y="31"/>
                  <a:pt x="28" y="31"/>
                  <a:pt x="28" y="31"/>
                </a:cubicBezTo>
                <a:cubicBezTo>
                  <a:pt x="30" y="31"/>
                  <a:pt x="30" y="31"/>
                  <a:pt x="30" y="31"/>
                </a:cubicBezTo>
                <a:cubicBezTo>
                  <a:pt x="30" y="30"/>
                  <a:pt x="30" y="30"/>
                  <a:pt x="30" y="30"/>
                </a:cubicBezTo>
                <a:cubicBezTo>
                  <a:pt x="31" y="30"/>
                  <a:pt x="31" y="30"/>
                  <a:pt x="31" y="30"/>
                </a:cubicBezTo>
                <a:cubicBezTo>
                  <a:pt x="31" y="30"/>
                  <a:pt x="31" y="30"/>
                  <a:pt x="31" y="30"/>
                </a:cubicBezTo>
                <a:cubicBezTo>
                  <a:pt x="31" y="29"/>
                  <a:pt x="31" y="29"/>
                  <a:pt x="31" y="29"/>
                </a:cubicBezTo>
                <a:cubicBezTo>
                  <a:pt x="31" y="28"/>
                  <a:pt x="31" y="28"/>
                  <a:pt x="31" y="28"/>
                </a:cubicBezTo>
                <a:cubicBezTo>
                  <a:pt x="30" y="28"/>
                  <a:pt x="30" y="28"/>
                  <a:pt x="30" y="28"/>
                </a:cubicBezTo>
                <a:cubicBezTo>
                  <a:pt x="30" y="28"/>
                  <a:pt x="30" y="28"/>
                  <a:pt x="30" y="28"/>
                </a:cubicBezTo>
                <a:cubicBezTo>
                  <a:pt x="29" y="28"/>
                  <a:pt x="29" y="28"/>
                  <a:pt x="29" y="28"/>
                </a:cubicBezTo>
                <a:cubicBezTo>
                  <a:pt x="28" y="28"/>
                  <a:pt x="28" y="28"/>
                  <a:pt x="28" y="28"/>
                </a:cubicBezTo>
                <a:cubicBezTo>
                  <a:pt x="28" y="29"/>
                  <a:pt x="28" y="29"/>
                  <a:pt x="28" y="29"/>
                </a:cubicBezTo>
                <a:cubicBezTo>
                  <a:pt x="29" y="29"/>
                  <a:pt x="29" y="29"/>
                  <a:pt x="29" y="29"/>
                </a:cubicBezTo>
                <a:cubicBezTo>
                  <a:pt x="29" y="29"/>
                  <a:pt x="29" y="29"/>
                  <a:pt x="29" y="29"/>
                </a:cubicBezTo>
                <a:cubicBezTo>
                  <a:pt x="28" y="29"/>
                  <a:pt x="28" y="29"/>
                  <a:pt x="28" y="29"/>
                </a:cubicBezTo>
                <a:cubicBezTo>
                  <a:pt x="28" y="30"/>
                  <a:pt x="28" y="30"/>
                  <a:pt x="28" y="30"/>
                </a:cubicBezTo>
                <a:close/>
                <a:moveTo>
                  <a:pt x="37" y="22"/>
                </a:moveTo>
                <a:cubicBezTo>
                  <a:pt x="37" y="23"/>
                  <a:pt x="37" y="23"/>
                  <a:pt x="37" y="23"/>
                </a:cubicBezTo>
                <a:cubicBezTo>
                  <a:pt x="37" y="24"/>
                  <a:pt x="37" y="24"/>
                  <a:pt x="37" y="24"/>
                </a:cubicBezTo>
                <a:cubicBezTo>
                  <a:pt x="39" y="25"/>
                  <a:pt x="39" y="25"/>
                  <a:pt x="39" y="25"/>
                </a:cubicBezTo>
                <a:cubicBezTo>
                  <a:pt x="39" y="24"/>
                  <a:pt x="39" y="24"/>
                  <a:pt x="39" y="24"/>
                </a:cubicBezTo>
                <a:cubicBezTo>
                  <a:pt x="38" y="22"/>
                  <a:pt x="38" y="22"/>
                  <a:pt x="38" y="22"/>
                </a:cubicBezTo>
                <a:cubicBezTo>
                  <a:pt x="37" y="22"/>
                  <a:pt x="37" y="22"/>
                  <a:pt x="37" y="22"/>
                </a:cubicBezTo>
                <a:close/>
                <a:moveTo>
                  <a:pt x="25" y="19"/>
                </a:moveTo>
                <a:cubicBezTo>
                  <a:pt x="24" y="20"/>
                  <a:pt x="24" y="20"/>
                  <a:pt x="24" y="20"/>
                </a:cubicBezTo>
                <a:cubicBezTo>
                  <a:pt x="25" y="20"/>
                  <a:pt x="25" y="20"/>
                  <a:pt x="25" y="20"/>
                </a:cubicBezTo>
                <a:cubicBezTo>
                  <a:pt x="25" y="19"/>
                  <a:pt x="25" y="19"/>
                  <a:pt x="25" y="19"/>
                </a:cubicBezTo>
                <a:close/>
                <a:moveTo>
                  <a:pt x="22" y="25"/>
                </a:moveTo>
                <a:cubicBezTo>
                  <a:pt x="21" y="25"/>
                  <a:pt x="21" y="25"/>
                  <a:pt x="21" y="25"/>
                </a:cubicBezTo>
                <a:cubicBezTo>
                  <a:pt x="20" y="24"/>
                  <a:pt x="20" y="24"/>
                  <a:pt x="20" y="24"/>
                </a:cubicBezTo>
                <a:cubicBezTo>
                  <a:pt x="21" y="24"/>
                  <a:pt x="21" y="24"/>
                  <a:pt x="21" y="24"/>
                </a:cubicBezTo>
                <a:cubicBezTo>
                  <a:pt x="21" y="23"/>
                  <a:pt x="21" y="23"/>
                  <a:pt x="21" y="23"/>
                </a:cubicBezTo>
                <a:cubicBezTo>
                  <a:pt x="19" y="23"/>
                  <a:pt x="19" y="23"/>
                  <a:pt x="19" y="23"/>
                </a:cubicBezTo>
                <a:cubicBezTo>
                  <a:pt x="18" y="23"/>
                  <a:pt x="18" y="23"/>
                  <a:pt x="18" y="23"/>
                </a:cubicBezTo>
                <a:cubicBezTo>
                  <a:pt x="18" y="22"/>
                  <a:pt x="18" y="22"/>
                  <a:pt x="18" y="22"/>
                </a:cubicBezTo>
                <a:cubicBezTo>
                  <a:pt x="18" y="21"/>
                  <a:pt x="18" y="21"/>
                  <a:pt x="18" y="21"/>
                </a:cubicBezTo>
                <a:cubicBezTo>
                  <a:pt x="17" y="20"/>
                  <a:pt x="17" y="20"/>
                  <a:pt x="17" y="20"/>
                </a:cubicBezTo>
                <a:cubicBezTo>
                  <a:pt x="17" y="19"/>
                  <a:pt x="17" y="19"/>
                  <a:pt x="17" y="19"/>
                </a:cubicBezTo>
                <a:cubicBezTo>
                  <a:pt x="18" y="19"/>
                  <a:pt x="18" y="19"/>
                  <a:pt x="18" y="19"/>
                </a:cubicBezTo>
                <a:cubicBezTo>
                  <a:pt x="18" y="18"/>
                  <a:pt x="18" y="18"/>
                  <a:pt x="18" y="18"/>
                </a:cubicBezTo>
                <a:cubicBezTo>
                  <a:pt x="19" y="17"/>
                  <a:pt x="19" y="17"/>
                  <a:pt x="19" y="17"/>
                </a:cubicBezTo>
                <a:cubicBezTo>
                  <a:pt x="19" y="18"/>
                  <a:pt x="19" y="18"/>
                  <a:pt x="19" y="18"/>
                </a:cubicBezTo>
                <a:cubicBezTo>
                  <a:pt x="19" y="19"/>
                  <a:pt x="19" y="19"/>
                  <a:pt x="19" y="19"/>
                </a:cubicBezTo>
                <a:cubicBezTo>
                  <a:pt x="21" y="19"/>
                  <a:pt x="21" y="19"/>
                  <a:pt x="21" y="19"/>
                </a:cubicBezTo>
                <a:cubicBezTo>
                  <a:pt x="21" y="19"/>
                  <a:pt x="21" y="19"/>
                  <a:pt x="21" y="19"/>
                </a:cubicBezTo>
                <a:cubicBezTo>
                  <a:pt x="22" y="19"/>
                  <a:pt x="22" y="19"/>
                  <a:pt x="22" y="19"/>
                </a:cubicBezTo>
                <a:cubicBezTo>
                  <a:pt x="22" y="19"/>
                  <a:pt x="22" y="19"/>
                  <a:pt x="22" y="19"/>
                </a:cubicBezTo>
                <a:cubicBezTo>
                  <a:pt x="21" y="18"/>
                  <a:pt x="21" y="18"/>
                  <a:pt x="21" y="18"/>
                </a:cubicBezTo>
                <a:cubicBezTo>
                  <a:pt x="20" y="17"/>
                  <a:pt x="20" y="17"/>
                  <a:pt x="20" y="17"/>
                </a:cubicBezTo>
                <a:cubicBezTo>
                  <a:pt x="21" y="16"/>
                  <a:pt x="21" y="16"/>
                  <a:pt x="21" y="16"/>
                </a:cubicBezTo>
                <a:cubicBezTo>
                  <a:pt x="22" y="16"/>
                  <a:pt x="22" y="16"/>
                  <a:pt x="22" y="16"/>
                </a:cubicBezTo>
                <a:cubicBezTo>
                  <a:pt x="24" y="16"/>
                  <a:pt x="24" y="16"/>
                  <a:pt x="24" y="16"/>
                </a:cubicBezTo>
                <a:cubicBezTo>
                  <a:pt x="24" y="17"/>
                  <a:pt x="24" y="17"/>
                  <a:pt x="24" y="17"/>
                </a:cubicBezTo>
                <a:cubicBezTo>
                  <a:pt x="24" y="18"/>
                  <a:pt x="24" y="18"/>
                  <a:pt x="24" y="18"/>
                </a:cubicBezTo>
                <a:cubicBezTo>
                  <a:pt x="24" y="20"/>
                  <a:pt x="24" y="20"/>
                  <a:pt x="24" y="20"/>
                </a:cubicBezTo>
                <a:cubicBezTo>
                  <a:pt x="23" y="20"/>
                  <a:pt x="23" y="20"/>
                  <a:pt x="23" y="20"/>
                </a:cubicBezTo>
                <a:cubicBezTo>
                  <a:pt x="23" y="21"/>
                  <a:pt x="23" y="21"/>
                  <a:pt x="23" y="21"/>
                </a:cubicBezTo>
                <a:cubicBezTo>
                  <a:pt x="24" y="22"/>
                  <a:pt x="24" y="22"/>
                  <a:pt x="24" y="22"/>
                </a:cubicBezTo>
                <a:cubicBezTo>
                  <a:pt x="24" y="22"/>
                  <a:pt x="24" y="22"/>
                  <a:pt x="24" y="22"/>
                </a:cubicBezTo>
                <a:cubicBezTo>
                  <a:pt x="23" y="23"/>
                  <a:pt x="23" y="23"/>
                  <a:pt x="23" y="23"/>
                </a:cubicBezTo>
                <a:cubicBezTo>
                  <a:pt x="22" y="23"/>
                  <a:pt x="22" y="23"/>
                  <a:pt x="22" y="23"/>
                </a:cubicBezTo>
                <a:cubicBezTo>
                  <a:pt x="22" y="24"/>
                  <a:pt x="22" y="24"/>
                  <a:pt x="22" y="24"/>
                </a:cubicBezTo>
                <a:cubicBezTo>
                  <a:pt x="22" y="25"/>
                  <a:pt x="22" y="25"/>
                  <a:pt x="22" y="25"/>
                </a:cubicBezTo>
                <a:close/>
                <a:moveTo>
                  <a:pt x="22" y="25"/>
                </a:moveTo>
                <a:cubicBezTo>
                  <a:pt x="23" y="26"/>
                  <a:pt x="23" y="26"/>
                  <a:pt x="23" y="26"/>
                </a:cubicBezTo>
                <a:cubicBezTo>
                  <a:pt x="23" y="25"/>
                  <a:pt x="23" y="25"/>
                  <a:pt x="23" y="25"/>
                </a:cubicBezTo>
                <a:cubicBezTo>
                  <a:pt x="24" y="25"/>
                  <a:pt x="24" y="25"/>
                  <a:pt x="24" y="25"/>
                </a:cubicBezTo>
                <a:cubicBezTo>
                  <a:pt x="24" y="24"/>
                  <a:pt x="24" y="24"/>
                  <a:pt x="24" y="24"/>
                </a:cubicBezTo>
                <a:cubicBezTo>
                  <a:pt x="23" y="25"/>
                  <a:pt x="23" y="25"/>
                  <a:pt x="23" y="25"/>
                </a:cubicBezTo>
                <a:cubicBezTo>
                  <a:pt x="22" y="25"/>
                  <a:pt x="22" y="25"/>
                  <a:pt x="22" y="25"/>
                </a:cubicBezTo>
                <a:close/>
                <a:moveTo>
                  <a:pt x="18" y="25"/>
                </a:moveTo>
                <a:cubicBezTo>
                  <a:pt x="19" y="27"/>
                  <a:pt x="19" y="27"/>
                  <a:pt x="19" y="27"/>
                </a:cubicBezTo>
                <a:cubicBezTo>
                  <a:pt x="20" y="27"/>
                  <a:pt x="20" y="27"/>
                  <a:pt x="20" y="27"/>
                </a:cubicBezTo>
                <a:cubicBezTo>
                  <a:pt x="20" y="27"/>
                  <a:pt x="20" y="27"/>
                  <a:pt x="20" y="27"/>
                </a:cubicBezTo>
                <a:cubicBezTo>
                  <a:pt x="21" y="26"/>
                  <a:pt x="21" y="26"/>
                  <a:pt x="21" y="26"/>
                </a:cubicBezTo>
                <a:cubicBezTo>
                  <a:pt x="22" y="26"/>
                  <a:pt x="22" y="26"/>
                  <a:pt x="22" y="26"/>
                </a:cubicBezTo>
                <a:cubicBezTo>
                  <a:pt x="22" y="25"/>
                  <a:pt x="22" y="25"/>
                  <a:pt x="22" y="25"/>
                </a:cubicBezTo>
                <a:cubicBezTo>
                  <a:pt x="22" y="26"/>
                  <a:pt x="22" y="26"/>
                  <a:pt x="22" y="26"/>
                </a:cubicBezTo>
                <a:cubicBezTo>
                  <a:pt x="22" y="27"/>
                  <a:pt x="22" y="27"/>
                  <a:pt x="22" y="27"/>
                </a:cubicBezTo>
                <a:cubicBezTo>
                  <a:pt x="22" y="28"/>
                  <a:pt x="22" y="28"/>
                  <a:pt x="22" y="28"/>
                </a:cubicBezTo>
                <a:cubicBezTo>
                  <a:pt x="21" y="28"/>
                  <a:pt x="21" y="28"/>
                  <a:pt x="21" y="28"/>
                </a:cubicBezTo>
                <a:cubicBezTo>
                  <a:pt x="21" y="27"/>
                  <a:pt x="21" y="27"/>
                  <a:pt x="21" y="27"/>
                </a:cubicBezTo>
                <a:cubicBezTo>
                  <a:pt x="20" y="28"/>
                  <a:pt x="20" y="28"/>
                  <a:pt x="20" y="28"/>
                </a:cubicBezTo>
                <a:cubicBezTo>
                  <a:pt x="19" y="28"/>
                  <a:pt x="19" y="28"/>
                  <a:pt x="19" y="28"/>
                </a:cubicBezTo>
                <a:cubicBezTo>
                  <a:pt x="17" y="28"/>
                  <a:pt x="17" y="28"/>
                  <a:pt x="17" y="28"/>
                </a:cubicBezTo>
                <a:cubicBezTo>
                  <a:pt x="16" y="27"/>
                  <a:pt x="16" y="27"/>
                  <a:pt x="16" y="27"/>
                </a:cubicBezTo>
                <a:cubicBezTo>
                  <a:pt x="17" y="27"/>
                  <a:pt x="17" y="27"/>
                  <a:pt x="17" y="27"/>
                </a:cubicBezTo>
                <a:cubicBezTo>
                  <a:pt x="17" y="26"/>
                  <a:pt x="17" y="26"/>
                  <a:pt x="17" y="26"/>
                </a:cubicBezTo>
                <a:cubicBezTo>
                  <a:pt x="17" y="25"/>
                  <a:pt x="17" y="25"/>
                  <a:pt x="17" y="25"/>
                </a:cubicBezTo>
                <a:cubicBezTo>
                  <a:pt x="18" y="25"/>
                  <a:pt x="18" y="25"/>
                  <a:pt x="18" y="25"/>
                </a:cubicBezTo>
                <a:close/>
                <a:moveTo>
                  <a:pt x="13" y="19"/>
                </a:moveTo>
                <a:cubicBezTo>
                  <a:pt x="14" y="18"/>
                  <a:pt x="14" y="18"/>
                  <a:pt x="14" y="18"/>
                </a:cubicBezTo>
                <a:cubicBezTo>
                  <a:pt x="14" y="16"/>
                  <a:pt x="14" y="16"/>
                  <a:pt x="14" y="16"/>
                </a:cubicBezTo>
                <a:cubicBezTo>
                  <a:pt x="14" y="18"/>
                  <a:pt x="14" y="18"/>
                  <a:pt x="14" y="18"/>
                </a:cubicBezTo>
                <a:cubicBezTo>
                  <a:pt x="14" y="19"/>
                  <a:pt x="14" y="19"/>
                  <a:pt x="14" y="19"/>
                </a:cubicBezTo>
                <a:cubicBezTo>
                  <a:pt x="13" y="19"/>
                  <a:pt x="13" y="19"/>
                  <a:pt x="13" y="19"/>
                </a:cubicBezTo>
                <a:close/>
                <a:moveTo>
                  <a:pt x="13" y="26"/>
                </a:moveTo>
                <a:cubicBezTo>
                  <a:pt x="14" y="27"/>
                  <a:pt x="14" y="27"/>
                  <a:pt x="14" y="27"/>
                </a:cubicBezTo>
                <a:cubicBezTo>
                  <a:pt x="14" y="26"/>
                  <a:pt x="14" y="26"/>
                  <a:pt x="14" y="26"/>
                </a:cubicBezTo>
                <a:cubicBezTo>
                  <a:pt x="13" y="26"/>
                  <a:pt x="13" y="26"/>
                  <a:pt x="13" y="26"/>
                </a:cubicBezTo>
                <a:close/>
                <a:moveTo>
                  <a:pt x="15" y="24"/>
                </a:moveTo>
                <a:cubicBezTo>
                  <a:pt x="15" y="25"/>
                  <a:pt x="15" y="25"/>
                  <a:pt x="15" y="25"/>
                </a:cubicBezTo>
                <a:cubicBezTo>
                  <a:pt x="15" y="26"/>
                  <a:pt x="15" y="26"/>
                  <a:pt x="15" y="26"/>
                </a:cubicBezTo>
                <a:cubicBezTo>
                  <a:pt x="15" y="27"/>
                  <a:pt x="15" y="27"/>
                  <a:pt x="15" y="27"/>
                </a:cubicBezTo>
                <a:cubicBezTo>
                  <a:pt x="16" y="26"/>
                  <a:pt x="16" y="26"/>
                  <a:pt x="16" y="26"/>
                </a:cubicBezTo>
                <a:cubicBezTo>
                  <a:pt x="16" y="25"/>
                  <a:pt x="16" y="25"/>
                  <a:pt x="16" y="25"/>
                </a:cubicBezTo>
                <a:cubicBezTo>
                  <a:pt x="16" y="25"/>
                  <a:pt x="15" y="24"/>
                  <a:pt x="15" y="24"/>
                </a:cubicBezTo>
                <a:close/>
                <a:moveTo>
                  <a:pt x="10" y="20"/>
                </a:moveTo>
                <a:cubicBezTo>
                  <a:pt x="12" y="20"/>
                  <a:pt x="12" y="20"/>
                  <a:pt x="12" y="20"/>
                </a:cubicBezTo>
                <a:cubicBezTo>
                  <a:pt x="13" y="21"/>
                  <a:pt x="13" y="21"/>
                  <a:pt x="13" y="21"/>
                </a:cubicBezTo>
                <a:cubicBezTo>
                  <a:pt x="14" y="21"/>
                  <a:pt x="14" y="21"/>
                  <a:pt x="14" y="21"/>
                </a:cubicBezTo>
                <a:cubicBezTo>
                  <a:pt x="15" y="22"/>
                  <a:pt x="15" y="22"/>
                  <a:pt x="15" y="22"/>
                </a:cubicBezTo>
                <a:cubicBezTo>
                  <a:pt x="15" y="23"/>
                  <a:pt x="15" y="23"/>
                  <a:pt x="15" y="23"/>
                </a:cubicBezTo>
                <a:cubicBezTo>
                  <a:pt x="14" y="25"/>
                  <a:pt x="14" y="25"/>
                  <a:pt x="14" y="25"/>
                </a:cubicBezTo>
                <a:cubicBezTo>
                  <a:pt x="13" y="25"/>
                  <a:pt x="13" y="25"/>
                  <a:pt x="13" y="25"/>
                </a:cubicBezTo>
                <a:cubicBezTo>
                  <a:pt x="12" y="25"/>
                  <a:pt x="12" y="25"/>
                  <a:pt x="12" y="25"/>
                </a:cubicBezTo>
                <a:cubicBezTo>
                  <a:pt x="11" y="25"/>
                  <a:pt x="11" y="25"/>
                  <a:pt x="11" y="25"/>
                </a:cubicBezTo>
                <a:cubicBezTo>
                  <a:pt x="10" y="23"/>
                  <a:pt x="10" y="23"/>
                  <a:pt x="10" y="23"/>
                </a:cubicBezTo>
                <a:cubicBezTo>
                  <a:pt x="9" y="22"/>
                  <a:pt x="9" y="22"/>
                  <a:pt x="9" y="22"/>
                </a:cubicBezTo>
                <a:cubicBezTo>
                  <a:pt x="10" y="20"/>
                  <a:pt x="10" y="20"/>
                  <a:pt x="10" y="20"/>
                </a:cubicBezTo>
                <a:close/>
                <a:moveTo>
                  <a:pt x="15" y="5"/>
                </a:moveTo>
                <a:cubicBezTo>
                  <a:pt x="15" y="4"/>
                  <a:pt x="15" y="4"/>
                  <a:pt x="15" y="4"/>
                </a:cubicBezTo>
                <a:cubicBezTo>
                  <a:pt x="17" y="4"/>
                  <a:pt x="17" y="4"/>
                  <a:pt x="17" y="4"/>
                </a:cubicBezTo>
                <a:cubicBezTo>
                  <a:pt x="16" y="5"/>
                  <a:pt x="16" y="5"/>
                  <a:pt x="16" y="5"/>
                </a:cubicBezTo>
                <a:cubicBezTo>
                  <a:pt x="15" y="5"/>
                  <a:pt x="15" y="5"/>
                  <a:pt x="15" y="5"/>
                </a:cubicBezTo>
                <a:close/>
                <a:moveTo>
                  <a:pt x="4" y="11"/>
                </a:moveTo>
                <a:cubicBezTo>
                  <a:pt x="3" y="9"/>
                  <a:pt x="3" y="9"/>
                  <a:pt x="3" y="9"/>
                </a:cubicBezTo>
                <a:cubicBezTo>
                  <a:pt x="4" y="8"/>
                  <a:pt x="4" y="8"/>
                  <a:pt x="4" y="8"/>
                </a:cubicBezTo>
                <a:cubicBezTo>
                  <a:pt x="5" y="8"/>
                  <a:pt x="5" y="8"/>
                  <a:pt x="5" y="8"/>
                </a:cubicBezTo>
                <a:cubicBezTo>
                  <a:pt x="5" y="9"/>
                  <a:pt x="5" y="9"/>
                  <a:pt x="5" y="9"/>
                </a:cubicBezTo>
                <a:cubicBezTo>
                  <a:pt x="4" y="10"/>
                  <a:pt x="4" y="10"/>
                  <a:pt x="4" y="10"/>
                </a:cubicBezTo>
                <a:cubicBezTo>
                  <a:pt x="4" y="11"/>
                  <a:pt x="4" y="11"/>
                  <a:pt x="4" y="11"/>
                </a:cubicBezTo>
                <a:close/>
                <a:moveTo>
                  <a:pt x="3" y="11"/>
                </a:moveTo>
                <a:cubicBezTo>
                  <a:pt x="3" y="10"/>
                  <a:pt x="3" y="10"/>
                  <a:pt x="3" y="10"/>
                </a:cubicBezTo>
                <a:cubicBezTo>
                  <a:pt x="3" y="9"/>
                  <a:pt x="3" y="9"/>
                  <a:pt x="3" y="9"/>
                </a:cubicBezTo>
                <a:cubicBezTo>
                  <a:pt x="5" y="7"/>
                  <a:pt x="5" y="7"/>
                  <a:pt x="5" y="7"/>
                </a:cubicBezTo>
                <a:cubicBezTo>
                  <a:pt x="5" y="8"/>
                  <a:pt x="5" y="8"/>
                  <a:pt x="5" y="8"/>
                </a:cubicBezTo>
                <a:cubicBezTo>
                  <a:pt x="7" y="7"/>
                  <a:pt x="7" y="7"/>
                  <a:pt x="7" y="7"/>
                </a:cubicBezTo>
                <a:cubicBezTo>
                  <a:pt x="8" y="8"/>
                  <a:pt x="8" y="8"/>
                  <a:pt x="8" y="8"/>
                </a:cubicBezTo>
                <a:cubicBezTo>
                  <a:pt x="9" y="7"/>
                  <a:pt x="9" y="7"/>
                  <a:pt x="9" y="7"/>
                </a:cubicBezTo>
                <a:cubicBezTo>
                  <a:pt x="10" y="7"/>
                  <a:pt x="10" y="7"/>
                  <a:pt x="10" y="7"/>
                </a:cubicBezTo>
                <a:cubicBezTo>
                  <a:pt x="11" y="8"/>
                  <a:pt x="11" y="8"/>
                  <a:pt x="11" y="8"/>
                </a:cubicBezTo>
                <a:cubicBezTo>
                  <a:pt x="12" y="8"/>
                  <a:pt x="12" y="8"/>
                  <a:pt x="12" y="8"/>
                </a:cubicBezTo>
                <a:cubicBezTo>
                  <a:pt x="13" y="5"/>
                  <a:pt x="13" y="5"/>
                  <a:pt x="13" y="5"/>
                </a:cubicBezTo>
                <a:cubicBezTo>
                  <a:pt x="13" y="4"/>
                  <a:pt x="13" y="4"/>
                  <a:pt x="13" y="4"/>
                </a:cubicBezTo>
                <a:cubicBezTo>
                  <a:pt x="13" y="4"/>
                  <a:pt x="13" y="4"/>
                  <a:pt x="13" y="4"/>
                </a:cubicBezTo>
                <a:cubicBezTo>
                  <a:pt x="13" y="2"/>
                  <a:pt x="13" y="2"/>
                  <a:pt x="13" y="2"/>
                </a:cubicBezTo>
                <a:cubicBezTo>
                  <a:pt x="14" y="1"/>
                  <a:pt x="14" y="1"/>
                  <a:pt x="14" y="1"/>
                </a:cubicBezTo>
                <a:cubicBezTo>
                  <a:pt x="13" y="0"/>
                  <a:pt x="13" y="0"/>
                  <a:pt x="13" y="0"/>
                </a:cubicBezTo>
                <a:cubicBezTo>
                  <a:pt x="12" y="2"/>
                  <a:pt x="12" y="2"/>
                  <a:pt x="12" y="2"/>
                </a:cubicBezTo>
                <a:cubicBezTo>
                  <a:pt x="10" y="3"/>
                  <a:pt x="10" y="3"/>
                  <a:pt x="10" y="3"/>
                </a:cubicBezTo>
                <a:cubicBezTo>
                  <a:pt x="9" y="3"/>
                  <a:pt x="9" y="3"/>
                  <a:pt x="9" y="3"/>
                </a:cubicBezTo>
                <a:cubicBezTo>
                  <a:pt x="8" y="4"/>
                  <a:pt x="8" y="4"/>
                  <a:pt x="8" y="4"/>
                </a:cubicBezTo>
                <a:cubicBezTo>
                  <a:pt x="8" y="5"/>
                  <a:pt x="8" y="5"/>
                  <a:pt x="8" y="5"/>
                </a:cubicBezTo>
                <a:cubicBezTo>
                  <a:pt x="6" y="6"/>
                  <a:pt x="6" y="6"/>
                  <a:pt x="6" y="6"/>
                </a:cubicBezTo>
                <a:cubicBezTo>
                  <a:pt x="5" y="6"/>
                  <a:pt x="5" y="6"/>
                  <a:pt x="5" y="6"/>
                </a:cubicBezTo>
                <a:cubicBezTo>
                  <a:pt x="3" y="7"/>
                  <a:pt x="3" y="7"/>
                  <a:pt x="3" y="7"/>
                </a:cubicBezTo>
                <a:cubicBezTo>
                  <a:pt x="3" y="7"/>
                  <a:pt x="3" y="7"/>
                  <a:pt x="3" y="7"/>
                </a:cubicBezTo>
                <a:cubicBezTo>
                  <a:pt x="2" y="7"/>
                  <a:pt x="2" y="7"/>
                  <a:pt x="2" y="7"/>
                </a:cubicBezTo>
                <a:cubicBezTo>
                  <a:pt x="2" y="9"/>
                  <a:pt x="2" y="9"/>
                  <a:pt x="2" y="9"/>
                </a:cubicBezTo>
                <a:cubicBezTo>
                  <a:pt x="1" y="10"/>
                  <a:pt x="1" y="10"/>
                  <a:pt x="1" y="10"/>
                </a:cubicBezTo>
                <a:cubicBezTo>
                  <a:pt x="1" y="10"/>
                  <a:pt x="1" y="10"/>
                  <a:pt x="1" y="10"/>
                </a:cubicBezTo>
                <a:cubicBezTo>
                  <a:pt x="2" y="10"/>
                  <a:pt x="2" y="10"/>
                  <a:pt x="2" y="10"/>
                </a:cubicBezTo>
                <a:cubicBezTo>
                  <a:pt x="3" y="11"/>
                  <a:pt x="3" y="11"/>
                  <a:pt x="3" y="11"/>
                </a:cubicBezTo>
                <a:close/>
                <a:moveTo>
                  <a:pt x="9" y="26"/>
                </a:moveTo>
                <a:cubicBezTo>
                  <a:pt x="8" y="26"/>
                  <a:pt x="8" y="26"/>
                  <a:pt x="8" y="26"/>
                </a:cubicBezTo>
                <a:cubicBezTo>
                  <a:pt x="9" y="25"/>
                  <a:pt x="9" y="25"/>
                  <a:pt x="9" y="25"/>
                </a:cubicBezTo>
                <a:cubicBezTo>
                  <a:pt x="8" y="24"/>
                  <a:pt x="8" y="24"/>
                  <a:pt x="8" y="24"/>
                </a:cubicBezTo>
                <a:cubicBezTo>
                  <a:pt x="7" y="24"/>
                  <a:pt x="7" y="24"/>
                  <a:pt x="7" y="24"/>
                </a:cubicBezTo>
                <a:cubicBezTo>
                  <a:pt x="8" y="24"/>
                  <a:pt x="8" y="24"/>
                  <a:pt x="8" y="24"/>
                </a:cubicBezTo>
                <a:cubicBezTo>
                  <a:pt x="8" y="23"/>
                  <a:pt x="8" y="23"/>
                  <a:pt x="8" y="23"/>
                </a:cubicBezTo>
                <a:cubicBezTo>
                  <a:pt x="8" y="22"/>
                  <a:pt x="8" y="22"/>
                  <a:pt x="8" y="22"/>
                </a:cubicBezTo>
                <a:cubicBezTo>
                  <a:pt x="8" y="22"/>
                  <a:pt x="8" y="22"/>
                  <a:pt x="8" y="22"/>
                </a:cubicBezTo>
                <a:cubicBezTo>
                  <a:pt x="8" y="21"/>
                  <a:pt x="8" y="21"/>
                  <a:pt x="8" y="21"/>
                </a:cubicBezTo>
                <a:cubicBezTo>
                  <a:pt x="10" y="20"/>
                  <a:pt x="10" y="20"/>
                  <a:pt x="10" y="20"/>
                </a:cubicBezTo>
                <a:cubicBezTo>
                  <a:pt x="10" y="19"/>
                  <a:pt x="10" y="19"/>
                  <a:pt x="10" y="19"/>
                </a:cubicBezTo>
                <a:cubicBezTo>
                  <a:pt x="11" y="18"/>
                  <a:pt x="11" y="18"/>
                  <a:pt x="11" y="18"/>
                </a:cubicBezTo>
                <a:cubicBezTo>
                  <a:pt x="11" y="18"/>
                  <a:pt x="11" y="18"/>
                  <a:pt x="11" y="18"/>
                </a:cubicBezTo>
                <a:cubicBezTo>
                  <a:pt x="12" y="18"/>
                  <a:pt x="12" y="18"/>
                  <a:pt x="12" y="18"/>
                </a:cubicBezTo>
                <a:cubicBezTo>
                  <a:pt x="12" y="16"/>
                  <a:pt x="12" y="16"/>
                  <a:pt x="12" y="16"/>
                </a:cubicBezTo>
                <a:cubicBezTo>
                  <a:pt x="12" y="15"/>
                  <a:pt x="12" y="15"/>
                  <a:pt x="12" y="15"/>
                </a:cubicBezTo>
                <a:cubicBezTo>
                  <a:pt x="13" y="14"/>
                  <a:pt x="13" y="14"/>
                  <a:pt x="13" y="14"/>
                </a:cubicBezTo>
                <a:cubicBezTo>
                  <a:pt x="14" y="14"/>
                  <a:pt x="14" y="14"/>
                  <a:pt x="14" y="14"/>
                </a:cubicBezTo>
                <a:cubicBezTo>
                  <a:pt x="14" y="15"/>
                  <a:pt x="14" y="15"/>
                  <a:pt x="14" y="15"/>
                </a:cubicBezTo>
                <a:cubicBezTo>
                  <a:pt x="15" y="15"/>
                  <a:pt x="15" y="15"/>
                  <a:pt x="15" y="15"/>
                </a:cubicBezTo>
                <a:cubicBezTo>
                  <a:pt x="15" y="15"/>
                  <a:pt x="15" y="15"/>
                  <a:pt x="15" y="15"/>
                </a:cubicBezTo>
                <a:cubicBezTo>
                  <a:pt x="16" y="14"/>
                  <a:pt x="16" y="14"/>
                  <a:pt x="16" y="14"/>
                </a:cubicBezTo>
                <a:cubicBezTo>
                  <a:pt x="16" y="13"/>
                  <a:pt x="16" y="13"/>
                  <a:pt x="16" y="13"/>
                </a:cubicBezTo>
                <a:cubicBezTo>
                  <a:pt x="15" y="12"/>
                  <a:pt x="15" y="12"/>
                  <a:pt x="15" y="12"/>
                </a:cubicBezTo>
                <a:cubicBezTo>
                  <a:pt x="14" y="13"/>
                  <a:pt x="14" y="13"/>
                  <a:pt x="14" y="13"/>
                </a:cubicBezTo>
                <a:cubicBezTo>
                  <a:pt x="13" y="13"/>
                  <a:pt x="13" y="13"/>
                  <a:pt x="13" y="13"/>
                </a:cubicBezTo>
                <a:cubicBezTo>
                  <a:pt x="12" y="12"/>
                  <a:pt x="12" y="12"/>
                  <a:pt x="12" y="12"/>
                </a:cubicBezTo>
                <a:cubicBezTo>
                  <a:pt x="12" y="11"/>
                  <a:pt x="12" y="11"/>
                  <a:pt x="12" y="11"/>
                </a:cubicBezTo>
                <a:cubicBezTo>
                  <a:pt x="11" y="11"/>
                  <a:pt x="11" y="11"/>
                  <a:pt x="11" y="11"/>
                </a:cubicBezTo>
                <a:cubicBezTo>
                  <a:pt x="11" y="10"/>
                  <a:pt x="11" y="10"/>
                  <a:pt x="11" y="10"/>
                </a:cubicBezTo>
                <a:cubicBezTo>
                  <a:pt x="11" y="9"/>
                  <a:pt x="11" y="9"/>
                  <a:pt x="11" y="9"/>
                </a:cubicBezTo>
                <a:cubicBezTo>
                  <a:pt x="10" y="8"/>
                  <a:pt x="10" y="8"/>
                  <a:pt x="10" y="8"/>
                </a:cubicBezTo>
                <a:cubicBezTo>
                  <a:pt x="8" y="8"/>
                  <a:pt x="8" y="8"/>
                  <a:pt x="8" y="8"/>
                </a:cubicBezTo>
                <a:cubicBezTo>
                  <a:pt x="7" y="8"/>
                  <a:pt x="7" y="8"/>
                  <a:pt x="7" y="8"/>
                </a:cubicBezTo>
                <a:cubicBezTo>
                  <a:pt x="6" y="8"/>
                  <a:pt x="6" y="8"/>
                  <a:pt x="6" y="8"/>
                </a:cubicBezTo>
                <a:cubicBezTo>
                  <a:pt x="6" y="9"/>
                  <a:pt x="6" y="9"/>
                  <a:pt x="6" y="9"/>
                </a:cubicBezTo>
                <a:cubicBezTo>
                  <a:pt x="7" y="10"/>
                  <a:pt x="7" y="10"/>
                  <a:pt x="7" y="10"/>
                </a:cubicBezTo>
                <a:cubicBezTo>
                  <a:pt x="7" y="11"/>
                  <a:pt x="7" y="11"/>
                  <a:pt x="7" y="11"/>
                </a:cubicBezTo>
                <a:cubicBezTo>
                  <a:pt x="8" y="12"/>
                  <a:pt x="8" y="12"/>
                  <a:pt x="8" y="12"/>
                </a:cubicBezTo>
                <a:cubicBezTo>
                  <a:pt x="8" y="12"/>
                  <a:pt x="8" y="12"/>
                  <a:pt x="8" y="12"/>
                </a:cubicBezTo>
                <a:cubicBezTo>
                  <a:pt x="7" y="12"/>
                  <a:pt x="7" y="12"/>
                  <a:pt x="7" y="12"/>
                </a:cubicBezTo>
                <a:cubicBezTo>
                  <a:pt x="6" y="12"/>
                  <a:pt x="6" y="12"/>
                  <a:pt x="6" y="12"/>
                </a:cubicBezTo>
                <a:cubicBezTo>
                  <a:pt x="5" y="12"/>
                  <a:pt x="5" y="12"/>
                  <a:pt x="5" y="12"/>
                </a:cubicBezTo>
                <a:cubicBezTo>
                  <a:pt x="6" y="11"/>
                  <a:pt x="6" y="11"/>
                  <a:pt x="6" y="11"/>
                </a:cubicBezTo>
                <a:cubicBezTo>
                  <a:pt x="5" y="10"/>
                  <a:pt x="5" y="10"/>
                  <a:pt x="5" y="10"/>
                </a:cubicBezTo>
                <a:cubicBezTo>
                  <a:pt x="5" y="10"/>
                  <a:pt x="5" y="10"/>
                  <a:pt x="5" y="10"/>
                </a:cubicBezTo>
                <a:cubicBezTo>
                  <a:pt x="4" y="11"/>
                  <a:pt x="4" y="11"/>
                  <a:pt x="4" y="11"/>
                </a:cubicBezTo>
                <a:cubicBezTo>
                  <a:pt x="5" y="12"/>
                  <a:pt x="5" y="12"/>
                  <a:pt x="5" y="12"/>
                </a:cubicBezTo>
                <a:cubicBezTo>
                  <a:pt x="4" y="13"/>
                  <a:pt x="4" y="13"/>
                  <a:pt x="4" y="13"/>
                </a:cubicBezTo>
                <a:cubicBezTo>
                  <a:pt x="3" y="12"/>
                  <a:pt x="3" y="12"/>
                  <a:pt x="3" y="12"/>
                </a:cubicBezTo>
                <a:cubicBezTo>
                  <a:pt x="2" y="12"/>
                  <a:pt x="2" y="12"/>
                  <a:pt x="2" y="12"/>
                </a:cubicBezTo>
                <a:cubicBezTo>
                  <a:pt x="1" y="11"/>
                  <a:pt x="1" y="11"/>
                  <a:pt x="1" y="11"/>
                </a:cubicBezTo>
                <a:cubicBezTo>
                  <a:pt x="0" y="12"/>
                  <a:pt x="0" y="12"/>
                  <a:pt x="0" y="12"/>
                </a:cubicBezTo>
                <a:cubicBezTo>
                  <a:pt x="2" y="13"/>
                  <a:pt x="2" y="13"/>
                  <a:pt x="2" y="13"/>
                </a:cubicBezTo>
                <a:cubicBezTo>
                  <a:pt x="2" y="15"/>
                  <a:pt x="2" y="15"/>
                  <a:pt x="2" y="15"/>
                </a:cubicBezTo>
                <a:cubicBezTo>
                  <a:pt x="1" y="14"/>
                  <a:pt x="1" y="14"/>
                  <a:pt x="1" y="14"/>
                </a:cubicBezTo>
                <a:cubicBezTo>
                  <a:pt x="0" y="14"/>
                  <a:pt x="0" y="14"/>
                  <a:pt x="0" y="14"/>
                </a:cubicBezTo>
                <a:cubicBezTo>
                  <a:pt x="0" y="16"/>
                  <a:pt x="0" y="16"/>
                  <a:pt x="0" y="16"/>
                </a:cubicBezTo>
                <a:cubicBezTo>
                  <a:pt x="1" y="16"/>
                  <a:pt x="1" y="16"/>
                  <a:pt x="1" y="16"/>
                </a:cubicBezTo>
                <a:cubicBezTo>
                  <a:pt x="1" y="18"/>
                  <a:pt x="1" y="18"/>
                  <a:pt x="1" y="18"/>
                </a:cubicBezTo>
                <a:cubicBezTo>
                  <a:pt x="2" y="18"/>
                  <a:pt x="2" y="18"/>
                  <a:pt x="2" y="18"/>
                </a:cubicBezTo>
                <a:cubicBezTo>
                  <a:pt x="0" y="19"/>
                  <a:pt x="0" y="19"/>
                  <a:pt x="0" y="19"/>
                </a:cubicBezTo>
                <a:cubicBezTo>
                  <a:pt x="0" y="21"/>
                  <a:pt x="0" y="21"/>
                  <a:pt x="0" y="21"/>
                </a:cubicBezTo>
                <a:cubicBezTo>
                  <a:pt x="0" y="21"/>
                  <a:pt x="0" y="21"/>
                  <a:pt x="0" y="21"/>
                </a:cubicBezTo>
                <a:cubicBezTo>
                  <a:pt x="1" y="21"/>
                  <a:pt x="1" y="21"/>
                  <a:pt x="1" y="21"/>
                </a:cubicBezTo>
                <a:cubicBezTo>
                  <a:pt x="3" y="22"/>
                  <a:pt x="3" y="22"/>
                  <a:pt x="3" y="22"/>
                </a:cubicBezTo>
                <a:cubicBezTo>
                  <a:pt x="3" y="24"/>
                  <a:pt x="3" y="24"/>
                  <a:pt x="3" y="24"/>
                </a:cubicBezTo>
                <a:cubicBezTo>
                  <a:pt x="3" y="24"/>
                  <a:pt x="3" y="24"/>
                  <a:pt x="3" y="24"/>
                </a:cubicBezTo>
                <a:cubicBezTo>
                  <a:pt x="3" y="25"/>
                  <a:pt x="3" y="25"/>
                  <a:pt x="3" y="25"/>
                </a:cubicBezTo>
                <a:cubicBezTo>
                  <a:pt x="4" y="25"/>
                  <a:pt x="4" y="25"/>
                  <a:pt x="4" y="25"/>
                </a:cubicBezTo>
                <a:cubicBezTo>
                  <a:pt x="7" y="26"/>
                  <a:pt x="7" y="26"/>
                  <a:pt x="7" y="26"/>
                </a:cubicBezTo>
                <a:cubicBezTo>
                  <a:pt x="7" y="26"/>
                  <a:pt x="7" y="26"/>
                  <a:pt x="7" y="26"/>
                </a:cubicBezTo>
                <a:lnTo>
                  <a:pt x="9" y="2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5" name="Freeform 43">
            <a:extLst>
              <a:ext uri="{FF2B5EF4-FFF2-40B4-BE49-F238E27FC236}">
                <a16:creationId xmlns:a16="http://schemas.microsoft.com/office/drawing/2014/main" id="{0E7476C6-83FD-51F6-1CFF-62791C16F857}"/>
              </a:ext>
            </a:extLst>
          </p:cNvPr>
          <p:cNvSpPr>
            <a:spLocks noEditPoints="1"/>
          </p:cNvSpPr>
          <p:nvPr userDrawn="1"/>
        </p:nvSpPr>
        <p:spPr bwMode="auto">
          <a:xfrm>
            <a:off x="13388102" y="3815633"/>
            <a:ext cx="1260396" cy="1457326"/>
          </a:xfrm>
          <a:custGeom>
            <a:avLst/>
            <a:gdLst>
              <a:gd name="T0" fmla="*/ 122 w 127"/>
              <a:gd name="T1" fmla="*/ 18 h 147"/>
              <a:gd name="T2" fmla="*/ 126 w 127"/>
              <a:gd name="T3" fmla="*/ 10 h 147"/>
              <a:gd name="T4" fmla="*/ 117 w 127"/>
              <a:gd name="T5" fmla="*/ 6 h 147"/>
              <a:gd name="T6" fmla="*/ 111 w 127"/>
              <a:gd name="T7" fmla="*/ 7 h 147"/>
              <a:gd name="T8" fmla="*/ 108 w 127"/>
              <a:gd name="T9" fmla="*/ 0 h 147"/>
              <a:gd name="T10" fmla="*/ 104 w 127"/>
              <a:gd name="T11" fmla="*/ 9 h 147"/>
              <a:gd name="T12" fmla="*/ 95 w 127"/>
              <a:gd name="T13" fmla="*/ 13 h 147"/>
              <a:gd name="T14" fmla="*/ 91 w 127"/>
              <a:gd name="T15" fmla="*/ 5 h 147"/>
              <a:gd name="T16" fmla="*/ 88 w 127"/>
              <a:gd name="T17" fmla="*/ 15 h 147"/>
              <a:gd name="T18" fmla="*/ 81 w 127"/>
              <a:gd name="T19" fmla="*/ 17 h 147"/>
              <a:gd name="T20" fmla="*/ 72 w 127"/>
              <a:gd name="T21" fmla="*/ 25 h 147"/>
              <a:gd name="T22" fmla="*/ 69 w 127"/>
              <a:gd name="T23" fmla="*/ 27 h 147"/>
              <a:gd name="T24" fmla="*/ 62 w 127"/>
              <a:gd name="T25" fmla="*/ 27 h 147"/>
              <a:gd name="T26" fmla="*/ 56 w 127"/>
              <a:gd name="T27" fmla="*/ 36 h 147"/>
              <a:gd name="T28" fmla="*/ 55 w 127"/>
              <a:gd name="T29" fmla="*/ 40 h 147"/>
              <a:gd name="T30" fmla="*/ 49 w 127"/>
              <a:gd name="T31" fmla="*/ 45 h 147"/>
              <a:gd name="T32" fmla="*/ 50 w 127"/>
              <a:gd name="T33" fmla="*/ 50 h 147"/>
              <a:gd name="T34" fmla="*/ 44 w 127"/>
              <a:gd name="T35" fmla="*/ 57 h 147"/>
              <a:gd name="T36" fmla="*/ 43 w 127"/>
              <a:gd name="T37" fmla="*/ 62 h 147"/>
              <a:gd name="T38" fmla="*/ 40 w 127"/>
              <a:gd name="T39" fmla="*/ 71 h 147"/>
              <a:gd name="T40" fmla="*/ 33 w 127"/>
              <a:gd name="T41" fmla="*/ 79 h 147"/>
              <a:gd name="T42" fmla="*/ 25 w 127"/>
              <a:gd name="T43" fmla="*/ 89 h 147"/>
              <a:gd name="T44" fmla="*/ 34 w 127"/>
              <a:gd name="T45" fmla="*/ 88 h 147"/>
              <a:gd name="T46" fmla="*/ 23 w 127"/>
              <a:gd name="T47" fmla="*/ 92 h 147"/>
              <a:gd name="T48" fmla="*/ 20 w 127"/>
              <a:gd name="T49" fmla="*/ 98 h 147"/>
              <a:gd name="T50" fmla="*/ 14 w 127"/>
              <a:gd name="T51" fmla="*/ 99 h 147"/>
              <a:gd name="T52" fmla="*/ 12 w 127"/>
              <a:gd name="T53" fmla="*/ 104 h 147"/>
              <a:gd name="T54" fmla="*/ 2 w 127"/>
              <a:gd name="T55" fmla="*/ 106 h 147"/>
              <a:gd name="T56" fmla="*/ 3 w 127"/>
              <a:gd name="T57" fmla="*/ 112 h 147"/>
              <a:gd name="T58" fmla="*/ 9 w 127"/>
              <a:gd name="T59" fmla="*/ 114 h 147"/>
              <a:gd name="T60" fmla="*/ 12 w 127"/>
              <a:gd name="T61" fmla="*/ 117 h 147"/>
              <a:gd name="T62" fmla="*/ 3 w 127"/>
              <a:gd name="T63" fmla="*/ 120 h 147"/>
              <a:gd name="T64" fmla="*/ 11 w 127"/>
              <a:gd name="T65" fmla="*/ 122 h 147"/>
              <a:gd name="T66" fmla="*/ 5 w 127"/>
              <a:gd name="T67" fmla="*/ 131 h 147"/>
              <a:gd name="T68" fmla="*/ 9 w 127"/>
              <a:gd name="T69" fmla="*/ 138 h 147"/>
              <a:gd name="T70" fmla="*/ 15 w 127"/>
              <a:gd name="T71" fmla="*/ 147 h 147"/>
              <a:gd name="T72" fmla="*/ 26 w 127"/>
              <a:gd name="T73" fmla="*/ 136 h 147"/>
              <a:gd name="T74" fmla="*/ 31 w 127"/>
              <a:gd name="T75" fmla="*/ 132 h 147"/>
              <a:gd name="T76" fmla="*/ 39 w 127"/>
              <a:gd name="T77" fmla="*/ 137 h 147"/>
              <a:gd name="T78" fmla="*/ 40 w 127"/>
              <a:gd name="T79" fmla="*/ 103 h 147"/>
              <a:gd name="T80" fmla="*/ 48 w 127"/>
              <a:gd name="T81" fmla="*/ 62 h 147"/>
              <a:gd name="T82" fmla="*/ 64 w 127"/>
              <a:gd name="T83" fmla="*/ 38 h 147"/>
              <a:gd name="T84" fmla="*/ 75 w 127"/>
              <a:gd name="T85" fmla="*/ 28 h 147"/>
              <a:gd name="T86" fmla="*/ 97 w 127"/>
              <a:gd name="T87" fmla="*/ 31 h 147"/>
              <a:gd name="T88" fmla="*/ 112 w 127"/>
              <a:gd name="T89" fmla="*/ 15 h 147"/>
              <a:gd name="T90" fmla="*/ 4 w 127"/>
              <a:gd name="T91" fmla="*/ 127 h 147"/>
              <a:gd name="T92" fmla="*/ 2 w 127"/>
              <a:gd name="T93" fmla="*/ 124 h 147"/>
              <a:gd name="T94" fmla="*/ 5 w 127"/>
              <a:gd name="T95" fmla="*/ 104 h 147"/>
              <a:gd name="T96" fmla="*/ 22 w 127"/>
              <a:gd name="T97" fmla="*/ 90 h 147"/>
              <a:gd name="T98" fmla="*/ 37 w 127"/>
              <a:gd name="T99" fmla="*/ 68 h 147"/>
              <a:gd name="T100" fmla="*/ 38 w 127"/>
              <a:gd name="T101" fmla="*/ 46 h 147"/>
              <a:gd name="T102" fmla="*/ 47 w 127"/>
              <a:gd name="T103" fmla="*/ 35 h 147"/>
              <a:gd name="T104" fmla="*/ 51 w 127"/>
              <a:gd name="T105" fmla="*/ 30 h 147"/>
              <a:gd name="T106" fmla="*/ 50 w 127"/>
              <a:gd name="T107" fmla="*/ 34 h 147"/>
              <a:gd name="T108" fmla="*/ 62 w 127"/>
              <a:gd name="T109" fmla="*/ 25 h 147"/>
              <a:gd name="T110" fmla="*/ 62 w 127"/>
              <a:gd name="T111" fmla="*/ 25 h 147"/>
              <a:gd name="T112" fmla="*/ 69 w 127"/>
              <a:gd name="T113" fmla="*/ 19 h 147"/>
              <a:gd name="T114" fmla="*/ 72 w 127"/>
              <a:gd name="T115" fmla="*/ 15 h 147"/>
              <a:gd name="T116" fmla="*/ 88 w 127"/>
              <a:gd name="T117" fmla="*/ 9 h 147"/>
              <a:gd name="T118" fmla="*/ 88 w 127"/>
              <a:gd name="T119" fmla="*/ 6 h 147"/>
              <a:gd name="T120" fmla="*/ 100 w 127"/>
              <a:gd name="T121" fmla="*/ 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7" h="147">
                <a:moveTo>
                  <a:pt x="118" y="26"/>
                </a:moveTo>
                <a:cubicBezTo>
                  <a:pt x="119" y="26"/>
                  <a:pt x="119" y="26"/>
                  <a:pt x="119" y="26"/>
                </a:cubicBezTo>
                <a:cubicBezTo>
                  <a:pt x="119" y="24"/>
                  <a:pt x="119" y="24"/>
                  <a:pt x="119" y="24"/>
                </a:cubicBezTo>
                <a:cubicBezTo>
                  <a:pt x="121" y="22"/>
                  <a:pt x="121" y="22"/>
                  <a:pt x="121" y="22"/>
                </a:cubicBezTo>
                <a:cubicBezTo>
                  <a:pt x="122" y="22"/>
                  <a:pt x="122" y="22"/>
                  <a:pt x="122" y="22"/>
                </a:cubicBezTo>
                <a:cubicBezTo>
                  <a:pt x="123" y="21"/>
                  <a:pt x="123" y="21"/>
                  <a:pt x="123" y="21"/>
                </a:cubicBezTo>
                <a:cubicBezTo>
                  <a:pt x="123" y="19"/>
                  <a:pt x="123" y="19"/>
                  <a:pt x="123" y="19"/>
                </a:cubicBezTo>
                <a:cubicBezTo>
                  <a:pt x="124" y="19"/>
                  <a:pt x="124" y="19"/>
                  <a:pt x="124" y="19"/>
                </a:cubicBezTo>
                <a:cubicBezTo>
                  <a:pt x="125" y="19"/>
                  <a:pt x="125" y="19"/>
                  <a:pt x="125" y="19"/>
                </a:cubicBezTo>
                <a:cubicBezTo>
                  <a:pt x="126" y="18"/>
                  <a:pt x="126" y="18"/>
                  <a:pt x="126" y="18"/>
                </a:cubicBezTo>
                <a:cubicBezTo>
                  <a:pt x="126" y="17"/>
                  <a:pt x="126" y="17"/>
                  <a:pt x="126" y="17"/>
                </a:cubicBezTo>
                <a:cubicBezTo>
                  <a:pt x="126" y="17"/>
                  <a:pt x="126" y="17"/>
                  <a:pt x="126" y="17"/>
                </a:cubicBezTo>
                <a:cubicBezTo>
                  <a:pt x="125" y="16"/>
                  <a:pt x="125" y="16"/>
                  <a:pt x="125" y="16"/>
                </a:cubicBezTo>
                <a:cubicBezTo>
                  <a:pt x="124" y="16"/>
                  <a:pt x="124" y="16"/>
                  <a:pt x="124" y="16"/>
                </a:cubicBezTo>
                <a:cubicBezTo>
                  <a:pt x="124" y="17"/>
                  <a:pt x="124" y="17"/>
                  <a:pt x="124" y="17"/>
                </a:cubicBezTo>
                <a:cubicBezTo>
                  <a:pt x="124" y="17"/>
                  <a:pt x="124" y="17"/>
                  <a:pt x="124" y="17"/>
                </a:cubicBezTo>
                <a:cubicBezTo>
                  <a:pt x="123" y="17"/>
                  <a:pt x="123" y="17"/>
                  <a:pt x="123" y="17"/>
                </a:cubicBezTo>
                <a:cubicBezTo>
                  <a:pt x="123" y="16"/>
                  <a:pt x="123" y="16"/>
                  <a:pt x="123" y="16"/>
                </a:cubicBezTo>
                <a:cubicBezTo>
                  <a:pt x="122" y="16"/>
                  <a:pt x="122" y="16"/>
                  <a:pt x="122" y="16"/>
                </a:cubicBezTo>
                <a:cubicBezTo>
                  <a:pt x="123" y="17"/>
                  <a:pt x="123" y="17"/>
                  <a:pt x="123" y="17"/>
                </a:cubicBezTo>
                <a:cubicBezTo>
                  <a:pt x="122" y="18"/>
                  <a:pt x="122" y="18"/>
                  <a:pt x="122" y="18"/>
                </a:cubicBezTo>
                <a:cubicBezTo>
                  <a:pt x="122" y="18"/>
                  <a:pt x="122" y="18"/>
                  <a:pt x="122" y="18"/>
                </a:cubicBezTo>
                <a:cubicBezTo>
                  <a:pt x="121" y="17"/>
                  <a:pt x="121" y="17"/>
                  <a:pt x="121" y="17"/>
                </a:cubicBezTo>
                <a:cubicBezTo>
                  <a:pt x="120" y="18"/>
                  <a:pt x="120" y="18"/>
                  <a:pt x="120" y="18"/>
                </a:cubicBezTo>
                <a:cubicBezTo>
                  <a:pt x="120" y="18"/>
                  <a:pt x="120" y="18"/>
                  <a:pt x="120" y="18"/>
                </a:cubicBezTo>
                <a:cubicBezTo>
                  <a:pt x="120" y="17"/>
                  <a:pt x="120" y="17"/>
                  <a:pt x="120" y="17"/>
                </a:cubicBezTo>
                <a:cubicBezTo>
                  <a:pt x="120" y="16"/>
                  <a:pt x="120" y="16"/>
                  <a:pt x="120" y="16"/>
                </a:cubicBezTo>
                <a:cubicBezTo>
                  <a:pt x="119" y="16"/>
                  <a:pt x="119" y="16"/>
                  <a:pt x="119" y="16"/>
                </a:cubicBezTo>
                <a:cubicBezTo>
                  <a:pt x="119" y="15"/>
                  <a:pt x="119" y="15"/>
                  <a:pt x="119" y="15"/>
                </a:cubicBezTo>
                <a:cubicBezTo>
                  <a:pt x="118" y="14"/>
                  <a:pt x="118" y="14"/>
                  <a:pt x="118" y="14"/>
                </a:cubicBezTo>
                <a:cubicBezTo>
                  <a:pt x="117" y="14"/>
                  <a:pt x="117" y="14"/>
                  <a:pt x="117" y="14"/>
                </a:cubicBezTo>
                <a:cubicBezTo>
                  <a:pt x="116" y="14"/>
                  <a:pt x="116" y="14"/>
                  <a:pt x="116" y="14"/>
                </a:cubicBezTo>
                <a:cubicBezTo>
                  <a:pt x="115" y="14"/>
                  <a:pt x="115" y="14"/>
                  <a:pt x="115" y="14"/>
                </a:cubicBezTo>
                <a:cubicBezTo>
                  <a:pt x="114" y="13"/>
                  <a:pt x="114" y="13"/>
                  <a:pt x="114" y="13"/>
                </a:cubicBezTo>
                <a:cubicBezTo>
                  <a:pt x="114" y="13"/>
                  <a:pt x="114" y="13"/>
                  <a:pt x="114" y="13"/>
                </a:cubicBezTo>
                <a:cubicBezTo>
                  <a:pt x="116" y="13"/>
                  <a:pt x="116" y="13"/>
                  <a:pt x="116" y="13"/>
                </a:cubicBezTo>
                <a:cubicBezTo>
                  <a:pt x="118" y="13"/>
                  <a:pt x="118" y="13"/>
                  <a:pt x="118" y="13"/>
                </a:cubicBezTo>
                <a:cubicBezTo>
                  <a:pt x="119" y="13"/>
                  <a:pt x="119" y="13"/>
                  <a:pt x="119" y="13"/>
                </a:cubicBezTo>
                <a:cubicBezTo>
                  <a:pt x="121" y="14"/>
                  <a:pt x="121" y="14"/>
                  <a:pt x="121" y="14"/>
                </a:cubicBezTo>
                <a:cubicBezTo>
                  <a:pt x="123" y="13"/>
                  <a:pt x="123" y="13"/>
                  <a:pt x="123" y="13"/>
                </a:cubicBezTo>
                <a:cubicBezTo>
                  <a:pt x="124" y="11"/>
                  <a:pt x="124" y="11"/>
                  <a:pt x="124" y="11"/>
                </a:cubicBezTo>
                <a:cubicBezTo>
                  <a:pt x="126" y="10"/>
                  <a:pt x="126" y="10"/>
                  <a:pt x="126" y="10"/>
                </a:cubicBezTo>
                <a:cubicBezTo>
                  <a:pt x="127" y="9"/>
                  <a:pt x="127" y="9"/>
                  <a:pt x="127" y="9"/>
                </a:cubicBezTo>
                <a:cubicBezTo>
                  <a:pt x="127" y="9"/>
                  <a:pt x="127" y="9"/>
                  <a:pt x="127" y="9"/>
                </a:cubicBezTo>
                <a:cubicBezTo>
                  <a:pt x="127" y="9"/>
                  <a:pt x="127" y="9"/>
                  <a:pt x="127" y="9"/>
                </a:cubicBezTo>
                <a:cubicBezTo>
                  <a:pt x="126" y="8"/>
                  <a:pt x="126" y="8"/>
                  <a:pt x="126" y="8"/>
                </a:cubicBezTo>
                <a:cubicBezTo>
                  <a:pt x="126" y="8"/>
                  <a:pt x="126" y="8"/>
                  <a:pt x="126" y="8"/>
                </a:cubicBezTo>
                <a:cubicBezTo>
                  <a:pt x="125" y="8"/>
                  <a:pt x="125" y="8"/>
                  <a:pt x="125" y="8"/>
                </a:cubicBezTo>
                <a:cubicBezTo>
                  <a:pt x="123" y="7"/>
                  <a:pt x="123" y="7"/>
                  <a:pt x="123" y="7"/>
                </a:cubicBezTo>
                <a:cubicBezTo>
                  <a:pt x="122" y="7"/>
                  <a:pt x="122" y="7"/>
                  <a:pt x="122" y="7"/>
                </a:cubicBezTo>
                <a:cubicBezTo>
                  <a:pt x="121" y="8"/>
                  <a:pt x="121" y="8"/>
                  <a:pt x="121" y="8"/>
                </a:cubicBezTo>
                <a:cubicBezTo>
                  <a:pt x="121" y="8"/>
                  <a:pt x="121" y="8"/>
                  <a:pt x="121" y="8"/>
                </a:cubicBezTo>
                <a:cubicBezTo>
                  <a:pt x="120" y="7"/>
                  <a:pt x="120" y="7"/>
                  <a:pt x="120" y="7"/>
                </a:cubicBezTo>
                <a:cubicBezTo>
                  <a:pt x="121" y="7"/>
                  <a:pt x="121" y="7"/>
                  <a:pt x="121" y="7"/>
                </a:cubicBezTo>
                <a:cubicBezTo>
                  <a:pt x="121" y="6"/>
                  <a:pt x="121" y="6"/>
                  <a:pt x="121" y="6"/>
                </a:cubicBezTo>
                <a:cubicBezTo>
                  <a:pt x="120" y="5"/>
                  <a:pt x="120" y="5"/>
                  <a:pt x="120" y="5"/>
                </a:cubicBezTo>
                <a:cubicBezTo>
                  <a:pt x="120" y="5"/>
                  <a:pt x="120" y="5"/>
                  <a:pt x="120" y="5"/>
                </a:cubicBezTo>
                <a:cubicBezTo>
                  <a:pt x="119" y="5"/>
                  <a:pt x="119" y="5"/>
                  <a:pt x="119" y="5"/>
                </a:cubicBezTo>
                <a:cubicBezTo>
                  <a:pt x="118" y="7"/>
                  <a:pt x="118" y="7"/>
                  <a:pt x="118" y="7"/>
                </a:cubicBezTo>
                <a:cubicBezTo>
                  <a:pt x="118" y="7"/>
                  <a:pt x="118" y="7"/>
                  <a:pt x="118" y="7"/>
                </a:cubicBezTo>
                <a:cubicBezTo>
                  <a:pt x="118" y="6"/>
                  <a:pt x="118" y="6"/>
                  <a:pt x="118" y="6"/>
                </a:cubicBezTo>
                <a:cubicBezTo>
                  <a:pt x="117" y="6"/>
                  <a:pt x="117" y="6"/>
                  <a:pt x="117" y="6"/>
                </a:cubicBezTo>
                <a:cubicBezTo>
                  <a:pt x="117" y="6"/>
                  <a:pt x="117" y="6"/>
                  <a:pt x="117" y="6"/>
                </a:cubicBezTo>
                <a:cubicBezTo>
                  <a:pt x="116" y="6"/>
                  <a:pt x="116" y="6"/>
                  <a:pt x="116" y="6"/>
                </a:cubicBezTo>
                <a:cubicBezTo>
                  <a:pt x="116" y="6"/>
                  <a:pt x="116" y="6"/>
                  <a:pt x="116" y="6"/>
                </a:cubicBezTo>
                <a:cubicBezTo>
                  <a:pt x="117" y="5"/>
                  <a:pt x="117" y="5"/>
                  <a:pt x="117" y="5"/>
                </a:cubicBezTo>
                <a:cubicBezTo>
                  <a:pt x="117" y="4"/>
                  <a:pt x="117" y="4"/>
                  <a:pt x="117" y="4"/>
                </a:cubicBezTo>
                <a:cubicBezTo>
                  <a:pt x="116" y="4"/>
                  <a:pt x="116" y="4"/>
                  <a:pt x="116" y="4"/>
                </a:cubicBezTo>
                <a:cubicBezTo>
                  <a:pt x="115" y="4"/>
                  <a:pt x="115" y="4"/>
                  <a:pt x="115" y="4"/>
                </a:cubicBezTo>
                <a:cubicBezTo>
                  <a:pt x="114" y="4"/>
                  <a:pt x="114" y="4"/>
                  <a:pt x="114" y="4"/>
                </a:cubicBezTo>
                <a:cubicBezTo>
                  <a:pt x="114" y="6"/>
                  <a:pt x="114" y="6"/>
                  <a:pt x="114" y="6"/>
                </a:cubicBezTo>
                <a:cubicBezTo>
                  <a:pt x="113" y="6"/>
                  <a:pt x="113" y="6"/>
                  <a:pt x="113" y="6"/>
                </a:cubicBezTo>
                <a:cubicBezTo>
                  <a:pt x="113" y="7"/>
                  <a:pt x="113" y="7"/>
                  <a:pt x="113" y="7"/>
                </a:cubicBezTo>
                <a:cubicBezTo>
                  <a:pt x="114" y="9"/>
                  <a:pt x="114" y="9"/>
                  <a:pt x="114" y="9"/>
                </a:cubicBezTo>
                <a:cubicBezTo>
                  <a:pt x="113" y="9"/>
                  <a:pt x="113" y="9"/>
                  <a:pt x="113" y="9"/>
                </a:cubicBezTo>
                <a:cubicBezTo>
                  <a:pt x="113" y="10"/>
                  <a:pt x="113" y="10"/>
                  <a:pt x="113" y="10"/>
                </a:cubicBezTo>
                <a:cubicBezTo>
                  <a:pt x="112" y="9"/>
                  <a:pt x="112" y="9"/>
                  <a:pt x="112" y="9"/>
                </a:cubicBezTo>
                <a:cubicBezTo>
                  <a:pt x="112" y="9"/>
                  <a:pt x="112" y="9"/>
                  <a:pt x="112" y="9"/>
                </a:cubicBezTo>
                <a:cubicBezTo>
                  <a:pt x="111" y="9"/>
                  <a:pt x="111" y="9"/>
                  <a:pt x="111" y="9"/>
                </a:cubicBezTo>
                <a:cubicBezTo>
                  <a:pt x="110" y="9"/>
                  <a:pt x="110" y="9"/>
                  <a:pt x="110" y="9"/>
                </a:cubicBezTo>
                <a:cubicBezTo>
                  <a:pt x="109" y="10"/>
                  <a:pt x="109" y="10"/>
                  <a:pt x="109" y="10"/>
                </a:cubicBezTo>
                <a:cubicBezTo>
                  <a:pt x="110" y="8"/>
                  <a:pt x="110" y="8"/>
                  <a:pt x="110" y="8"/>
                </a:cubicBezTo>
                <a:cubicBezTo>
                  <a:pt x="111" y="8"/>
                  <a:pt x="111" y="8"/>
                  <a:pt x="111" y="8"/>
                </a:cubicBezTo>
                <a:cubicBezTo>
                  <a:pt x="111" y="7"/>
                  <a:pt x="111" y="7"/>
                  <a:pt x="111" y="7"/>
                </a:cubicBezTo>
                <a:cubicBezTo>
                  <a:pt x="111" y="6"/>
                  <a:pt x="111" y="6"/>
                  <a:pt x="111" y="6"/>
                </a:cubicBezTo>
                <a:cubicBezTo>
                  <a:pt x="111" y="6"/>
                  <a:pt x="111" y="6"/>
                  <a:pt x="111" y="6"/>
                </a:cubicBezTo>
                <a:cubicBezTo>
                  <a:pt x="110" y="7"/>
                  <a:pt x="110" y="7"/>
                  <a:pt x="110" y="7"/>
                </a:cubicBezTo>
                <a:cubicBezTo>
                  <a:pt x="109" y="7"/>
                  <a:pt x="109" y="7"/>
                  <a:pt x="109" y="7"/>
                </a:cubicBezTo>
                <a:cubicBezTo>
                  <a:pt x="109" y="6"/>
                  <a:pt x="109" y="6"/>
                  <a:pt x="109" y="6"/>
                </a:cubicBezTo>
                <a:cubicBezTo>
                  <a:pt x="110" y="6"/>
                  <a:pt x="110" y="6"/>
                  <a:pt x="110" y="6"/>
                </a:cubicBezTo>
                <a:cubicBezTo>
                  <a:pt x="110" y="5"/>
                  <a:pt x="110" y="5"/>
                  <a:pt x="110" y="5"/>
                </a:cubicBezTo>
                <a:cubicBezTo>
                  <a:pt x="109" y="5"/>
                  <a:pt x="109" y="5"/>
                  <a:pt x="109" y="5"/>
                </a:cubicBezTo>
                <a:cubicBezTo>
                  <a:pt x="109" y="4"/>
                  <a:pt x="109" y="4"/>
                  <a:pt x="109" y="4"/>
                </a:cubicBezTo>
                <a:cubicBezTo>
                  <a:pt x="110" y="4"/>
                  <a:pt x="110" y="4"/>
                  <a:pt x="110" y="4"/>
                </a:cubicBezTo>
                <a:cubicBezTo>
                  <a:pt x="110" y="4"/>
                  <a:pt x="110" y="4"/>
                  <a:pt x="110" y="4"/>
                </a:cubicBezTo>
                <a:cubicBezTo>
                  <a:pt x="111" y="4"/>
                  <a:pt x="111" y="4"/>
                  <a:pt x="111" y="4"/>
                </a:cubicBezTo>
                <a:cubicBezTo>
                  <a:pt x="112" y="2"/>
                  <a:pt x="112" y="2"/>
                  <a:pt x="112" y="2"/>
                </a:cubicBezTo>
                <a:cubicBezTo>
                  <a:pt x="112" y="2"/>
                  <a:pt x="112" y="2"/>
                  <a:pt x="112" y="2"/>
                </a:cubicBezTo>
                <a:cubicBezTo>
                  <a:pt x="111" y="2"/>
                  <a:pt x="111" y="2"/>
                  <a:pt x="111" y="2"/>
                </a:cubicBezTo>
                <a:cubicBezTo>
                  <a:pt x="110" y="2"/>
                  <a:pt x="110" y="2"/>
                  <a:pt x="110" y="2"/>
                </a:cubicBezTo>
                <a:cubicBezTo>
                  <a:pt x="110" y="1"/>
                  <a:pt x="110" y="1"/>
                  <a:pt x="110" y="1"/>
                </a:cubicBezTo>
                <a:cubicBezTo>
                  <a:pt x="110" y="0"/>
                  <a:pt x="110" y="0"/>
                  <a:pt x="110" y="0"/>
                </a:cubicBezTo>
                <a:cubicBezTo>
                  <a:pt x="109" y="1"/>
                  <a:pt x="109" y="1"/>
                  <a:pt x="109" y="1"/>
                </a:cubicBezTo>
                <a:cubicBezTo>
                  <a:pt x="108" y="0"/>
                  <a:pt x="108" y="0"/>
                  <a:pt x="108" y="0"/>
                </a:cubicBezTo>
                <a:cubicBezTo>
                  <a:pt x="108" y="0"/>
                  <a:pt x="108" y="0"/>
                  <a:pt x="108" y="0"/>
                </a:cubicBezTo>
                <a:cubicBezTo>
                  <a:pt x="107" y="1"/>
                  <a:pt x="107" y="1"/>
                  <a:pt x="107" y="1"/>
                </a:cubicBezTo>
                <a:cubicBezTo>
                  <a:pt x="107" y="1"/>
                  <a:pt x="107" y="1"/>
                  <a:pt x="107" y="1"/>
                </a:cubicBezTo>
                <a:cubicBezTo>
                  <a:pt x="108" y="2"/>
                  <a:pt x="108" y="2"/>
                  <a:pt x="108" y="2"/>
                </a:cubicBezTo>
                <a:cubicBezTo>
                  <a:pt x="107" y="3"/>
                  <a:pt x="107" y="3"/>
                  <a:pt x="107" y="3"/>
                </a:cubicBezTo>
                <a:cubicBezTo>
                  <a:pt x="107" y="3"/>
                  <a:pt x="107" y="3"/>
                  <a:pt x="107" y="3"/>
                </a:cubicBezTo>
                <a:cubicBezTo>
                  <a:pt x="106" y="2"/>
                  <a:pt x="106" y="2"/>
                  <a:pt x="106" y="2"/>
                </a:cubicBezTo>
                <a:cubicBezTo>
                  <a:pt x="105" y="2"/>
                  <a:pt x="105" y="2"/>
                  <a:pt x="105" y="2"/>
                </a:cubicBezTo>
                <a:cubicBezTo>
                  <a:pt x="105" y="3"/>
                  <a:pt x="105" y="3"/>
                  <a:pt x="105" y="3"/>
                </a:cubicBezTo>
                <a:cubicBezTo>
                  <a:pt x="105" y="4"/>
                  <a:pt x="105" y="4"/>
                  <a:pt x="105" y="4"/>
                </a:cubicBezTo>
                <a:cubicBezTo>
                  <a:pt x="106" y="4"/>
                  <a:pt x="106" y="4"/>
                  <a:pt x="106" y="4"/>
                </a:cubicBezTo>
                <a:cubicBezTo>
                  <a:pt x="106" y="4"/>
                  <a:pt x="106" y="4"/>
                  <a:pt x="106" y="4"/>
                </a:cubicBezTo>
                <a:cubicBezTo>
                  <a:pt x="106" y="5"/>
                  <a:pt x="106" y="5"/>
                  <a:pt x="106" y="5"/>
                </a:cubicBezTo>
                <a:cubicBezTo>
                  <a:pt x="106" y="5"/>
                  <a:pt x="106" y="5"/>
                  <a:pt x="106" y="5"/>
                </a:cubicBezTo>
                <a:cubicBezTo>
                  <a:pt x="106" y="6"/>
                  <a:pt x="106" y="6"/>
                  <a:pt x="106" y="6"/>
                </a:cubicBezTo>
                <a:cubicBezTo>
                  <a:pt x="105" y="6"/>
                  <a:pt x="105" y="6"/>
                  <a:pt x="105" y="6"/>
                </a:cubicBezTo>
                <a:cubicBezTo>
                  <a:pt x="105" y="7"/>
                  <a:pt x="105" y="7"/>
                  <a:pt x="105" y="7"/>
                </a:cubicBezTo>
                <a:cubicBezTo>
                  <a:pt x="105" y="8"/>
                  <a:pt x="105" y="8"/>
                  <a:pt x="105" y="8"/>
                </a:cubicBezTo>
                <a:cubicBezTo>
                  <a:pt x="104" y="8"/>
                  <a:pt x="104" y="8"/>
                  <a:pt x="104" y="8"/>
                </a:cubicBezTo>
                <a:cubicBezTo>
                  <a:pt x="105" y="9"/>
                  <a:pt x="105" y="9"/>
                  <a:pt x="105" y="9"/>
                </a:cubicBezTo>
                <a:cubicBezTo>
                  <a:pt x="104" y="10"/>
                  <a:pt x="104" y="10"/>
                  <a:pt x="104" y="10"/>
                </a:cubicBezTo>
                <a:cubicBezTo>
                  <a:pt x="104" y="9"/>
                  <a:pt x="104" y="9"/>
                  <a:pt x="104" y="9"/>
                </a:cubicBezTo>
                <a:cubicBezTo>
                  <a:pt x="103" y="10"/>
                  <a:pt x="103" y="10"/>
                  <a:pt x="103" y="10"/>
                </a:cubicBezTo>
                <a:cubicBezTo>
                  <a:pt x="103" y="10"/>
                  <a:pt x="103" y="10"/>
                  <a:pt x="103" y="10"/>
                </a:cubicBezTo>
                <a:cubicBezTo>
                  <a:pt x="102" y="11"/>
                  <a:pt x="102" y="11"/>
                  <a:pt x="102" y="11"/>
                </a:cubicBezTo>
                <a:cubicBezTo>
                  <a:pt x="102" y="9"/>
                  <a:pt x="102" y="9"/>
                  <a:pt x="102" y="9"/>
                </a:cubicBezTo>
                <a:cubicBezTo>
                  <a:pt x="103" y="7"/>
                  <a:pt x="103" y="7"/>
                  <a:pt x="103" y="7"/>
                </a:cubicBezTo>
                <a:cubicBezTo>
                  <a:pt x="102" y="7"/>
                  <a:pt x="102" y="7"/>
                  <a:pt x="102" y="7"/>
                </a:cubicBezTo>
                <a:cubicBezTo>
                  <a:pt x="102" y="6"/>
                  <a:pt x="102" y="6"/>
                  <a:pt x="102" y="6"/>
                </a:cubicBezTo>
                <a:cubicBezTo>
                  <a:pt x="103" y="6"/>
                  <a:pt x="103" y="6"/>
                  <a:pt x="103" y="6"/>
                </a:cubicBezTo>
                <a:cubicBezTo>
                  <a:pt x="103" y="4"/>
                  <a:pt x="103" y="4"/>
                  <a:pt x="103" y="4"/>
                </a:cubicBezTo>
                <a:cubicBezTo>
                  <a:pt x="102" y="3"/>
                  <a:pt x="102" y="3"/>
                  <a:pt x="102" y="3"/>
                </a:cubicBezTo>
                <a:cubicBezTo>
                  <a:pt x="102" y="3"/>
                  <a:pt x="102" y="3"/>
                  <a:pt x="102" y="3"/>
                </a:cubicBezTo>
                <a:cubicBezTo>
                  <a:pt x="100" y="6"/>
                  <a:pt x="100" y="6"/>
                  <a:pt x="100" y="6"/>
                </a:cubicBezTo>
                <a:cubicBezTo>
                  <a:pt x="100" y="7"/>
                  <a:pt x="100" y="7"/>
                  <a:pt x="100" y="7"/>
                </a:cubicBezTo>
                <a:cubicBezTo>
                  <a:pt x="99" y="9"/>
                  <a:pt x="99" y="9"/>
                  <a:pt x="99" y="9"/>
                </a:cubicBezTo>
                <a:cubicBezTo>
                  <a:pt x="98" y="11"/>
                  <a:pt x="98" y="11"/>
                  <a:pt x="98" y="11"/>
                </a:cubicBezTo>
                <a:cubicBezTo>
                  <a:pt x="98" y="12"/>
                  <a:pt x="98" y="12"/>
                  <a:pt x="98" y="12"/>
                </a:cubicBezTo>
                <a:cubicBezTo>
                  <a:pt x="98" y="13"/>
                  <a:pt x="98" y="13"/>
                  <a:pt x="98" y="13"/>
                </a:cubicBezTo>
                <a:cubicBezTo>
                  <a:pt x="97" y="15"/>
                  <a:pt x="97" y="15"/>
                  <a:pt x="97" y="15"/>
                </a:cubicBezTo>
                <a:cubicBezTo>
                  <a:pt x="96" y="15"/>
                  <a:pt x="96" y="15"/>
                  <a:pt x="96" y="15"/>
                </a:cubicBezTo>
                <a:cubicBezTo>
                  <a:pt x="96" y="14"/>
                  <a:pt x="96" y="14"/>
                  <a:pt x="96" y="14"/>
                </a:cubicBezTo>
                <a:cubicBezTo>
                  <a:pt x="95" y="13"/>
                  <a:pt x="95" y="13"/>
                  <a:pt x="95" y="13"/>
                </a:cubicBezTo>
                <a:cubicBezTo>
                  <a:pt x="97" y="11"/>
                  <a:pt x="97" y="11"/>
                  <a:pt x="97" y="11"/>
                </a:cubicBezTo>
                <a:cubicBezTo>
                  <a:pt x="96" y="10"/>
                  <a:pt x="96" y="10"/>
                  <a:pt x="96" y="10"/>
                </a:cubicBezTo>
                <a:cubicBezTo>
                  <a:pt x="97" y="10"/>
                  <a:pt x="97" y="10"/>
                  <a:pt x="97" y="10"/>
                </a:cubicBezTo>
                <a:cubicBezTo>
                  <a:pt x="96" y="8"/>
                  <a:pt x="96" y="8"/>
                  <a:pt x="96" y="8"/>
                </a:cubicBezTo>
                <a:cubicBezTo>
                  <a:pt x="98" y="6"/>
                  <a:pt x="98" y="6"/>
                  <a:pt x="98" y="6"/>
                </a:cubicBezTo>
                <a:cubicBezTo>
                  <a:pt x="98" y="5"/>
                  <a:pt x="98" y="5"/>
                  <a:pt x="98" y="5"/>
                </a:cubicBezTo>
                <a:cubicBezTo>
                  <a:pt x="99" y="5"/>
                  <a:pt x="99" y="5"/>
                  <a:pt x="99" y="5"/>
                </a:cubicBezTo>
                <a:cubicBezTo>
                  <a:pt x="99" y="4"/>
                  <a:pt x="99" y="4"/>
                  <a:pt x="99" y="4"/>
                </a:cubicBezTo>
                <a:cubicBezTo>
                  <a:pt x="98" y="4"/>
                  <a:pt x="98" y="4"/>
                  <a:pt x="98" y="4"/>
                </a:cubicBezTo>
                <a:cubicBezTo>
                  <a:pt x="97" y="3"/>
                  <a:pt x="97" y="3"/>
                  <a:pt x="97" y="3"/>
                </a:cubicBezTo>
                <a:cubicBezTo>
                  <a:pt x="96" y="3"/>
                  <a:pt x="96" y="3"/>
                  <a:pt x="96" y="3"/>
                </a:cubicBezTo>
                <a:cubicBezTo>
                  <a:pt x="96" y="4"/>
                  <a:pt x="96" y="4"/>
                  <a:pt x="96" y="4"/>
                </a:cubicBezTo>
                <a:cubicBezTo>
                  <a:pt x="96" y="5"/>
                  <a:pt x="96" y="5"/>
                  <a:pt x="96" y="5"/>
                </a:cubicBezTo>
                <a:cubicBezTo>
                  <a:pt x="95" y="4"/>
                  <a:pt x="95" y="4"/>
                  <a:pt x="95" y="4"/>
                </a:cubicBezTo>
                <a:cubicBezTo>
                  <a:pt x="95" y="3"/>
                  <a:pt x="95" y="3"/>
                  <a:pt x="95" y="3"/>
                </a:cubicBezTo>
                <a:cubicBezTo>
                  <a:pt x="94" y="3"/>
                  <a:pt x="94" y="3"/>
                  <a:pt x="94" y="3"/>
                </a:cubicBezTo>
                <a:cubicBezTo>
                  <a:pt x="93" y="4"/>
                  <a:pt x="93" y="4"/>
                  <a:pt x="93" y="4"/>
                </a:cubicBezTo>
                <a:cubicBezTo>
                  <a:pt x="93" y="5"/>
                  <a:pt x="93" y="5"/>
                  <a:pt x="93" y="5"/>
                </a:cubicBezTo>
                <a:cubicBezTo>
                  <a:pt x="93" y="6"/>
                  <a:pt x="93" y="6"/>
                  <a:pt x="93" y="6"/>
                </a:cubicBezTo>
                <a:cubicBezTo>
                  <a:pt x="92" y="5"/>
                  <a:pt x="92" y="5"/>
                  <a:pt x="92" y="5"/>
                </a:cubicBezTo>
                <a:cubicBezTo>
                  <a:pt x="91" y="5"/>
                  <a:pt x="91" y="5"/>
                  <a:pt x="91" y="5"/>
                </a:cubicBezTo>
                <a:cubicBezTo>
                  <a:pt x="91" y="5"/>
                  <a:pt x="91" y="5"/>
                  <a:pt x="91" y="5"/>
                </a:cubicBezTo>
                <a:cubicBezTo>
                  <a:pt x="91" y="6"/>
                  <a:pt x="91" y="6"/>
                  <a:pt x="91" y="6"/>
                </a:cubicBezTo>
                <a:cubicBezTo>
                  <a:pt x="93" y="7"/>
                  <a:pt x="93" y="7"/>
                  <a:pt x="93" y="7"/>
                </a:cubicBezTo>
                <a:cubicBezTo>
                  <a:pt x="93" y="8"/>
                  <a:pt x="93" y="8"/>
                  <a:pt x="93" y="8"/>
                </a:cubicBezTo>
                <a:cubicBezTo>
                  <a:pt x="93" y="8"/>
                  <a:pt x="93" y="8"/>
                  <a:pt x="93" y="8"/>
                </a:cubicBezTo>
                <a:cubicBezTo>
                  <a:pt x="92" y="8"/>
                  <a:pt x="92" y="8"/>
                  <a:pt x="92" y="8"/>
                </a:cubicBezTo>
                <a:cubicBezTo>
                  <a:pt x="91" y="8"/>
                  <a:pt x="91" y="8"/>
                  <a:pt x="91" y="8"/>
                </a:cubicBezTo>
                <a:cubicBezTo>
                  <a:pt x="91" y="9"/>
                  <a:pt x="91" y="9"/>
                  <a:pt x="91" y="9"/>
                </a:cubicBezTo>
                <a:cubicBezTo>
                  <a:pt x="91" y="9"/>
                  <a:pt x="91" y="9"/>
                  <a:pt x="91" y="9"/>
                </a:cubicBezTo>
                <a:cubicBezTo>
                  <a:pt x="91" y="10"/>
                  <a:pt x="91" y="10"/>
                  <a:pt x="91" y="10"/>
                </a:cubicBezTo>
                <a:cubicBezTo>
                  <a:pt x="90" y="9"/>
                  <a:pt x="90" y="9"/>
                  <a:pt x="90" y="9"/>
                </a:cubicBezTo>
                <a:cubicBezTo>
                  <a:pt x="89" y="9"/>
                  <a:pt x="89" y="9"/>
                  <a:pt x="89" y="9"/>
                </a:cubicBezTo>
                <a:cubicBezTo>
                  <a:pt x="89" y="10"/>
                  <a:pt x="89" y="10"/>
                  <a:pt x="89" y="10"/>
                </a:cubicBezTo>
                <a:cubicBezTo>
                  <a:pt x="88" y="11"/>
                  <a:pt x="88" y="11"/>
                  <a:pt x="88" y="11"/>
                </a:cubicBezTo>
                <a:cubicBezTo>
                  <a:pt x="88" y="11"/>
                  <a:pt x="88" y="11"/>
                  <a:pt x="88" y="11"/>
                </a:cubicBezTo>
                <a:cubicBezTo>
                  <a:pt x="88" y="12"/>
                  <a:pt x="88" y="12"/>
                  <a:pt x="88" y="12"/>
                </a:cubicBezTo>
                <a:cubicBezTo>
                  <a:pt x="87" y="12"/>
                  <a:pt x="87" y="12"/>
                  <a:pt x="87" y="12"/>
                </a:cubicBezTo>
                <a:cubicBezTo>
                  <a:pt x="87" y="13"/>
                  <a:pt x="87" y="13"/>
                  <a:pt x="87" y="13"/>
                </a:cubicBezTo>
                <a:cubicBezTo>
                  <a:pt x="88" y="14"/>
                  <a:pt x="88" y="14"/>
                  <a:pt x="88" y="14"/>
                </a:cubicBezTo>
                <a:cubicBezTo>
                  <a:pt x="87" y="15"/>
                  <a:pt x="87" y="15"/>
                  <a:pt x="87" y="15"/>
                </a:cubicBezTo>
                <a:cubicBezTo>
                  <a:pt x="88" y="15"/>
                  <a:pt x="88" y="15"/>
                  <a:pt x="88" y="15"/>
                </a:cubicBezTo>
                <a:cubicBezTo>
                  <a:pt x="89" y="16"/>
                  <a:pt x="89" y="16"/>
                  <a:pt x="89" y="16"/>
                </a:cubicBezTo>
                <a:cubicBezTo>
                  <a:pt x="88" y="16"/>
                  <a:pt x="88" y="16"/>
                  <a:pt x="88" y="16"/>
                </a:cubicBezTo>
                <a:cubicBezTo>
                  <a:pt x="86" y="16"/>
                  <a:pt x="86" y="16"/>
                  <a:pt x="86" y="16"/>
                </a:cubicBezTo>
                <a:cubicBezTo>
                  <a:pt x="86" y="15"/>
                  <a:pt x="86" y="15"/>
                  <a:pt x="86" y="15"/>
                </a:cubicBezTo>
                <a:cubicBezTo>
                  <a:pt x="85" y="14"/>
                  <a:pt x="85" y="14"/>
                  <a:pt x="85" y="14"/>
                </a:cubicBezTo>
                <a:cubicBezTo>
                  <a:pt x="86" y="14"/>
                  <a:pt x="86" y="14"/>
                  <a:pt x="86" y="14"/>
                </a:cubicBezTo>
                <a:cubicBezTo>
                  <a:pt x="85" y="13"/>
                  <a:pt x="85" y="13"/>
                  <a:pt x="85" y="13"/>
                </a:cubicBezTo>
                <a:cubicBezTo>
                  <a:pt x="84" y="13"/>
                  <a:pt x="84" y="13"/>
                  <a:pt x="84" y="13"/>
                </a:cubicBezTo>
                <a:cubicBezTo>
                  <a:pt x="83" y="13"/>
                  <a:pt x="83" y="13"/>
                  <a:pt x="83" y="13"/>
                </a:cubicBezTo>
                <a:cubicBezTo>
                  <a:pt x="81" y="12"/>
                  <a:pt x="81" y="12"/>
                  <a:pt x="81" y="12"/>
                </a:cubicBezTo>
                <a:cubicBezTo>
                  <a:pt x="80" y="12"/>
                  <a:pt x="80" y="12"/>
                  <a:pt x="80" y="12"/>
                </a:cubicBezTo>
                <a:cubicBezTo>
                  <a:pt x="80" y="12"/>
                  <a:pt x="80" y="12"/>
                  <a:pt x="80" y="12"/>
                </a:cubicBezTo>
                <a:cubicBezTo>
                  <a:pt x="79" y="12"/>
                  <a:pt x="79" y="12"/>
                  <a:pt x="79" y="12"/>
                </a:cubicBezTo>
                <a:cubicBezTo>
                  <a:pt x="78" y="12"/>
                  <a:pt x="78" y="12"/>
                  <a:pt x="78" y="12"/>
                </a:cubicBezTo>
                <a:cubicBezTo>
                  <a:pt x="77" y="13"/>
                  <a:pt x="77" y="13"/>
                  <a:pt x="77" y="13"/>
                </a:cubicBezTo>
                <a:cubicBezTo>
                  <a:pt x="77" y="13"/>
                  <a:pt x="77" y="13"/>
                  <a:pt x="77" y="13"/>
                </a:cubicBezTo>
                <a:cubicBezTo>
                  <a:pt x="78" y="15"/>
                  <a:pt x="78" y="15"/>
                  <a:pt x="78" y="15"/>
                </a:cubicBezTo>
                <a:cubicBezTo>
                  <a:pt x="79" y="15"/>
                  <a:pt x="79" y="15"/>
                  <a:pt x="79" y="15"/>
                </a:cubicBezTo>
                <a:cubicBezTo>
                  <a:pt x="80" y="15"/>
                  <a:pt x="80" y="15"/>
                  <a:pt x="80" y="15"/>
                </a:cubicBezTo>
                <a:cubicBezTo>
                  <a:pt x="81" y="16"/>
                  <a:pt x="81" y="16"/>
                  <a:pt x="81" y="16"/>
                </a:cubicBezTo>
                <a:cubicBezTo>
                  <a:pt x="81" y="17"/>
                  <a:pt x="81" y="17"/>
                  <a:pt x="81" y="17"/>
                </a:cubicBezTo>
                <a:cubicBezTo>
                  <a:pt x="81" y="18"/>
                  <a:pt x="81" y="18"/>
                  <a:pt x="81" y="18"/>
                </a:cubicBezTo>
                <a:cubicBezTo>
                  <a:pt x="82" y="19"/>
                  <a:pt x="82" y="19"/>
                  <a:pt x="82" y="19"/>
                </a:cubicBezTo>
                <a:cubicBezTo>
                  <a:pt x="81" y="20"/>
                  <a:pt x="81" y="20"/>
                  <a:pt x="81" y="20"/>
                </a:cubicBezTo>
                <a:cubicBezTo>
                  <a:pt x="81" y="19"/>
                  <a:pt x="81" y="19"/>
                  <a:pt x="81" y="19"/>
                </a:cubicBezTo>
                <a:cubicBezTo>
                  <a:pt x="80" y="18"/>
                  <a:pt x="80" y="18"/>
                  <a:pt x="80" y="18"/>
                </a:cubicBezTo>
                <a:cubicBezTo>
                  <a:pt x="79" y="17"/>
                  <a:pt x="79" y="17"/>
                  <a:pt x="79" y="17"/>
                </a:cubicBezTo>
                <a:cubicBezTo>
                  <a:pt x="78" y="17"/>
                  <a:pt x="78" y="17"/>
                  <a:pt x="78" y="17"/>
                </a:cubicBezTo>
                <a:cubicBezTo>
                  <a:pt x="78" y="18"/>
                  <a:pt x="78" y="18"/>
                  <a:pt x="78" y="18"/>
                </a:cubicBezTo>
                <a:cubicBezTo>
                  <a:pt x="77" y="19"/>
                  <a:pt x="77" y="19"/>
                  <a:pt x="77" y="19"/>
                </a:cubicBezTo>
                <a:cubicBezTo>
                  <a:pt x="77" y="17"/>
                  <a:pt x="77" y="17"/>
                  <a:pt x="77" y="17"/>
                </a:cubicBezTo>
                <a:cubicBezTo>
                  <a:pt x="76" y="18"/>
                  <a:pt x="76" y="18"/>
                  <a:pt x="76" y="18"/>
                </a:cubicBezTo>
                <a:cubicBezTo>
                  <a:pt x="76" y="18"/>
                  <a:pt x="76" y="18"/>
                  <a:pt x="76" y="18"/>
                </a:cubicBezTo>
                <a:cubicBezTo>
                  <a:pt x="75" y="19"/>
                  <a:pt x="75" y="19"/>
                  <a:pt x="75" y="19"/>
                </a:cubicBezTo>
                <a:cubicBezTo>
                  <a:pt x="75" y="20"/>
                  <a:pt x="75" y="20"/>
                  <a:pt x="75" y="20"/>
                </a:cubicBezTo>
                <a:cubicBezTo>
                  <a:pt x="76" y="21"/>
                  <a:pt x="76" y="21"/>
                  <a:pt x="76" y="21"/>
                </a:cubicBezTo>
                <a:cubicBezTo>
                  <a:pt x="77" y="22"/>
                  <a:pt x="77" y="22"/>
                  <a:pt x="77" y="22"/>
                </a:cubicBezTo>
                <a:cubicBezTo>
                  <a:pt x="76" y="22"/>
                  <a:pt x="76" y="22"/>
                  <a:pt x="76" y="22"/>
                </a:cubicBezTo>
                <a:cubicBezTo>
                  <a:pt x="75" y="21"/>
                  <a:pt x="75" y="21"/>
                  <a:pt x="75" y="21"/>
                </a:cubicBezTo>
                <a:cubicBezTo>
                  <a:pt x="74" y="23"/>
                  <a:pt x="74" y="23"/>
                  <a:pt x="74" y="23"/>
                </a:cubicBezTo>
                <a:cubicBezTo>
                  <a:pt x="74" y="24"/>
                  <a:pt x="74" y="24"/>
                  <a:pt x="74" y="24"/>
                </a:cubicBezTo>
                <a:cubicBezTo>
                  <a:pt x="72" y="25"/>
                  <a:pt x="72" y="25"/>
                  <a:pt x="72" y="25"/>
                </a:cubicBezTo>
                <a:cubicBezTo>
                  <a:pt x="72" y="24"/>
                  <a:pt x="72" y="24"/>
                  <a:pt x="72" y="24"/>
                </a:cubicBezTo>
                <a:cubicBezTo>
                  <a:pt x="73" y="23"/>
                  <a:pt x="73" y="23"/>
                  <a:pt x="73" y="23"/>
                </a:cubicBezTo>
                <a:cubicBezTo>
                  <a:pt x="73" y="23"/>
                  <a:pt x="73" y="23"/>
                  <a:pt x="73" y="23"/>
                </a:cubicBezTo>
                <a:cubicBezTo>
                  <a:pt x="74" y="21"/>
                  <a:pt x="74" y="21"/>
                  <a:pt x="74" y="21"/>
                </a:cubicBezTo>
                <a:cubicBezTo>
                  <a:pt x="73" y="17"/>
                  <a:pt x="73" y="17"/>
                  <a:pt x="73" y="17"/>
                </a:cubicBezTo>
                <a:cubicBezTo>
                  <a:pt x="72" y="18"/>
                  <a:pt x="72" y="18"/>
                  <a:pt x="72" y="18"/>
                </a:cubicBezTo>
                <a:cubicBezTo>
                  <a:pt x="71" y="20"/>
                  <a:pt x="71" y="20"/>
                  <a:pt x="71" y="20"/>
                </a:cubicBezTo>
                <a:cubicBezTo>
                  <a:pt x="71" y="22"/>
                  <a:pt x="71" y="22"/>
                  <a:pt x="71" y="22"/>
                </a:cubicBezTo>
                <a:cubicBezTo>
                  <a:pt x="71" y="22"/>
                  <a:pt x="71" y="22"/>
                  <a:pt x="71" y="22"/>
                </a:cubicBezTo>
                <a:cubicBezTo>
                  <a:pt x="70" y="24"/>
                  <a:pt x="70" y="24"/>
                  <a:pt x="70" y="24"/>
                </a:cubicBezTo>
                <a:cubicBezTo>
                  <a:pt x="70" y="22"/>
                  <a:pt x="70" y="22"/>
                  <a:pt x="70" y="22"/>
                </a:cubicBezTo>
                <a:cubicBezTo>
                  <a:pt x="71" y="21"/>
                  <a:pt x="71" y="21"/>
                  <a:pt x="71" y="21"/>
                </a:cubicBezTo>
                <a:cubicBezTo>
                  <a:pt x="70" y="19"/>
                  <a:pt x="70" y="19"/>
                  <a:pt x="70" y="19"/>
                </a:cubicBezTo>
                <a:cubicBezTo>
                  <a:pt x="70" y="19"/>
                  <a:pt x="70" y="19"/>
                  <a:pt x="70" y="19"/>
                </a:cubicBezTo>
                <a:cubicBezTo>
                  <a:pt x="68" y="20"/>
                  <a:pt x="68" y="20"/>
                  <a:pt x="68" y="20"/>
                </a:cubicBezTo>
                <a:cubicBezTo>
                  <a:pt x="67" y="22"/>
                  <a:pt x="67" y="22"/>
                  <a:pt x="67" y="22"/>
                </a:cubicBezTo>
                <a:cubicBezTo>
                  <a:pt x="68" y="23"/>
                  <a:pt x="68" y="23"/>
                  <a:pt x="68" y="23"/>
                </a:cubicBezTo>
                <a:cubicBezTo>
                  <a:pt x="68" y="24"/>
                  <a:pt x="68" y="24"/>
                  <a:pt x="68" y="24"/>
                </a:cubicBezTo>
                <a:cubicBezTo>
                  <a:pt x="70" y="25"/>
                  <a:pt x="70" y="25"/>
                  <a:pt x="70" y="25"/>
                </a:cubicBezTo>
                <a:cubicBezTo>
                  <a:pt x="70" y="26"/>
                  <a:pt x="70" y="26"/>
                  <a:pt x="70" y="26"/>
                </a:cubicBezTo>
                <a:cubicBezTo>
                  <a:pt x="69" y="27"/>
                  <a:pt x="69" y="27"/>
                  <a:pt x="69" y="27"/>
                </a:cubicBezTo>
                <a:cubicBezTo>
                  <a:pt x="69" y="26"/>
                  <a:pt x="69" y="26"/>
                  <a:pt x="69" y="26"/>
                </a:cubicBezTo>
                <a:cubicBezTo>
                  <a:pt x="68" y="25"/>
                  <a:pt x="68" y="25"/>
                  <a:pt x="68" y="25"/>
                </a:cubicBezTo>
                <a:cubicBezTo>
                  <a:pt x="67" y="23"/>
                  <a:pt x="67" y="23"/>
                  <a:pt x="67" y="23"/>
                </a:cubicBezTo>
                <a:cubicBezTo>
                  <a:pt x="66" y="23"/>
                  <a:pt x="66" y="23"/>
                  <a:pt x="66" y="23"/>
                </a:cubicBezTo>
                <a:cubicBezTo>
                  <a:pt x="65" y="23"/>
                  <a:pt x="65" y="23"/>
                  <a:pt x="65" y="23"/>
                </a:cubicBezTo>
                <a:cubicBezTo>
                  <a:pt x="65" y="24"/>
                  <a:pt x="65" y="24"/>
                  <a:pt x="65" y="24"/>
                </a:cubicBezTo>
                <a:cubicBezTo>
                  <a:pt x="66" y="25"/>
                  <a:pt x="66" y="25"/>
                  <a:pt x="66" y="25"/>
                </a:cubicBezTo>
                <a:cubicBezTo>
                  <a:pt x="67" y="25"/>
                  <a:pt x="67" y="25"/>
                  <a:pt x="67" y="25"/>
                </a:cubicBezTo>
                <a:cubicBezTo>
                  <a:pt x="67" y="26"/>
                  <a:pt x="67" y="26"/>
                  <a:pt x="67" y="26"/>
                </a:cubicBezTo>
                <a:cubicBezTo>
                  <a:pt x="66" y="26"/>
                  <a:pt x="66" y="26"/>
                  <a:pt x="66" y="26"/>
                </a:cubicBezTo>
                <a:cubicBezTo>
                  <a:pt x="65" y="26"/>
                  <a:pt x="65" y="26"/>
                  <a:pt x="65" y="26"/>
                </a:cubicBezTo>
                <a:cubicBezTo>
                  <a:pt x="66" y="27"/>
                  <a:pt x="66" y="27"/>
                  <a:pt x="66" y="27"/>
                </a:cubicBezTo>
                <a:cubicBezTo>
                  <a:pt x="65" y="26"/>
                  <a:pt x="65" y="26"/>
                  <a:pt x="65" y="26"/>
                </a:cubicBezTo>
                <a:cubicBezTo>
                  <a:pt x="65" y="25"/>
                  <a:pt x="65" y="25"/>
                  <a:pt x="65" y="25"/>
                </a:cubicBezTo>
                <a:cubicBezTo>
                  <a:pt x="64" y="24"/>
                  <a:pt x="64" y="24"/>
                  <a:pt x="64" y="24"/>
                </a:cubicBezTo>
                <a:cubicBezTo>
                  <a:pt x="64" y="24"/>
                  <a:pt x="64" y="24"/>
                  <a:pt x="64" y="24"/>
                </a:cubicBezTo>
                <a:cubicBezTo>
                  <a:pt x="63" y="24"/>
                  <a:pt x="63" y="24"/>
                  <a:pt x="63" y="24"/>
                </a:cubicBezTo>
                <a:cubicBezTo>
                  <a:pt x="63" y="26"/>
                  <a:pt x="63" y="26"/>
                  <a:pt x="63" y="26"/>
                </a:cubicBezTo>
                <a:cubicBezTo>
                  <a:pt x="63" y="26"/>
                  <a:pt x="63" y="26"/>
                  <a:pt x="63" y="26"/>
                </a:cubicBezTo>
                <a:cubicBezTo>
                  <a:pt x="63" y="28"/>
                  <a:pt x="63" y="28"/>
                  <a:pt x="63" y="28"/>
                </a:cubicBezTo>
                <a:cubicBezTo>
                  <a:pt x="62" y="27"/>
                  <a:pt x="62" y="27"/>
                  <a:pt x="62" y="27"/>
                </a:cubicBezTo>
                <a:cubicBezTo>
                  <a:pt x="61" y="27"/>
                  <a:pt x="61" y="27"/>
                  <a:pt x="61" y="27"/>
                </a:cubicBezTo>
                <a:cubicBezTo>
                  <a:pt x="60" y="29"/>
                  <a:pt x="60" y="29"/>
                  <a:pt x="60" y="29"/>
                </a:cubicBezTo>
                <a:cubicBezTo>
                  <a:pt x="60" y="29"/>
                  <a:pt x="60" y="29"/>
                  <a:pt x="60" y="29"/>
                </a:cubicBezTo>
                <a:cubicBezTo>
                  <a:pt x="61" y="29"/>
                  <a:pt x="61" y="29"/>
                  <a:pt x="61" y="29"/>
                </a:cubicBezTo>
                <a:cubicBezTo>
                  <a:pt x="62" y="30"/>
                  <a:pt x="62" y="30"/>
                  <a:pt x="62" y="30"/>
                </a:cubicBezTo>
                <a:cubicBezTo>
                  <a:pt x="61" y="30"/>
                  <a:pt x="61" y="30"/>
                  <a:pt x="61" y="30"/>
                </a:cubicBezTo>
                <a:cubicBezTo>
                  <a:pt x="60" y="30"/>
                  <a:pt x="60" y="30"/>
                  <a:pt x="60" y="30"/>
                </a:cubicBezTo>
                <a:cubicBezTo>
                  <a:pt x="61" y="31"/>
                  <a:pt x="61" y="31"/>
                  <a:pt x="61" y="31"/>
                </a:cubicBezTo>
                <a:cubicBezTo>
                  <a:pt x="61" y="32"/>
                  <a:pt x="61" y="32"/>
                  <a:pt x="61" y="32"/>
                </a:cubicBezTo>
                <a:cubicBezTo>
                  <a:pt x="60" y="32"/>
                  <a:pt x="60" y="32"/>
                  <a:pt x="60" y="32"/>
                </a:cubicBezTo>
                <a:cubicBezTo>
                  <a:pt x="60" y="32"/>
                  <a:pt x="60" y="32"/>
                  <a:pt x="60" y="32"/>
                </a:cubicBezTo>
                <a:cubicBezTo>
                  <a:pt x="60" y="32"/>
                  <a:pt x="60" y="32"/>
                  <a:pt x="60" y="32"/>
                </a:cubicBezTo>
                <a:cubicBezTo>
                  <a:pt x="59" y="33"/>
                  <a:pt x="59" y="33"/>
                  <a:pt x="59" y="33"/>
                </a:cubicBezTo>
                <a:cubicBezTo>
                  <a:pt x="59" y="32"/>
                  <a:pt x="59" y="32"/>
                  <a:pt x="59" y="32"/>
                </a:cubicBezTo>
                <a:cubicBezTo>
                  <a:pt x="58" y="32"/>
                  <a:pt x="58" y="32"/>
                  <a:pt x="58" y="32"/>
                </a:cubicBezTo>
                <a:cubicBezTo>
                  <a:pt x="57" y="33"/>
                  <a:pt x="57" y="33"/>
                  <a:pt x="57" y="33"/>
                </a:cubicBezTo>
                <a:cubicBezTo>
                  <a:pt x="57" y="34"/>
                  <a:pt x="57" y="34"/>
                  <a:pt x="57" y="34"/>
                </a:cubicBezTo>
                <a:cubicBezTo>
                  <a:pt x="57" y="34"/>
                  <a:pt x="57" y="34"/>
                  <a:pt x="57" y="34"/>
                </a:cubicBezTo>
                <a:cubicBezTo>
                  <a:pt x="56" y="34"/>
                  <a:pt x="56" y="34"/>
                  <a:pt x="56" y="34"/>
                </a:cubicBezTo>
                <a:cubicBezTo>
                  <a:pt x="55" y="36"/>
                  <a:pt x="55" y="36"/>
                  <a:pt x="55" y="36"/>
                </a:cubicBezTo>
                <a:cubicBezTo>
                  <a:pt x="56" y="36"/>
                  <a:pt x="56" y="36"/>
                  <a:pt x="56" y="36"/>
                </a:cubicBezTo>
                <a:cubicBezTo>
                  <a:pt x="59" y="35"/>
                  <a:pt x="59" y="35"/>
                  <a:pt x="59" y="35"/>
                </a:cubicBezTo>
                <a:cubicBezTo>
                  <a:pt x="59" y="35"/>
                  <a:pt x="59" y="35"/>
                  <a:pt x="59" y="35"/>
                </a:cubicBezTo>
                <a:cubicBezTo>
                  <a:pt x="61" y="35"/>
                  <a:pt x="61" y="35"/>
                  <a:pt x="61" y="35"/>
                </a:cubicBezTo>
                <a:cubicBezTo>
                  <a:pt x="61" y="35"/>
                  <a:pt x="61" y="35"/>
                  <a:pt x="61" y="35"/>
                </a:cubicBezTo>
                <a:cubicBezTo>
                  <a:pt x="61" y="36"/>
                  <a:pt x="61" y="36"/>
                  <a:pt x="61" y="36"/>
                </a:cubicBezTo>
                <a:cubicBezTo>
                  <a:pt x="61" y="37"/>
                  <a:pt x="61" y="37"/>
                  <a:pt x="61" y="37"/>
                </a:cubicBezTo>
                <a:cubicBezTo>
                  <a:pt x="60" y="38"/>
                  <a:pt x="60" y="38"/>
                  <a:pt x="60" y="38"/>
                </a:cubicBezTo>
                <a:cubicBezTo>
                  <a:pt x="60" y="39"/>
                  <a:pt x="60" y="39"/>
                  <a:pt x="60" y="39"/>
                </a:cubicBezTo>
                <a:cubicBezTo>
                  <a:pt x="60" y="38"/>
                  <a:pt x="60" y="38"/>
                  <a:pt x="60" y="38"/>
                </a:cubicBezTo>
                <a:cubicBezTo>
                  <a:pt x="59" y="37"/>
                  <a:pt x="59" y="37"/>
                  <a:pt x="59" y="37"/>
                </a:cubicBezTo>
                <a:cubicBezTo>
                  <a:pt x="58" y="37"/>
                  <a:pt x="58" y="37"/>
                  <a:pt x="58" y="37"/>
                </a:cubicBezTo>
                <a:cubicBezTo>
                  <a:pt x="58" y="37"/>
                  <a:pt x="58" y="37"/>
                  <a:pt x="58" y="37"/>
                </a:cubicBezTo>
                <a:cubicBezTo>
                  <a:pt x="57" y="37"/>
                  <a:pt x="57" y="37"/>
                  <a:pt x="57" y="37"/>
                </a:cubicBezTo>
                <a:cubicBezTo>
                  <a:pt x="57" y="37"/>
                  <a:pt x="57" y="37"/>
                  <a:pt x="57" y="37"/>
                </a:cubicBezTo>
                <a:cubicBezTo>
                  <a:pt x="57" y="38"/>
                  <a:pt x="57" y="38"/>
                  <a:pt x="57" y="38"/>
                </a:cubicBezTo>
                <a:cubicBezTo>
                  <a:pt x="56" y="37"/>
                  <a:pt x="56" y="37"/>
                  <a:pt x="56" y="37"/>
                </a:cubicBezTo>
                <a:cubicBezTo>
                  <a:pt x="55" y="38"/>
                  <a:pt x="55" y="38"/>
                  <a:pt x="55" y="38"/>
                </a:cubicBezTo>
                <a:cubicBezTo>
                  <a:pt x="56" y="38"/>
                  <a:pt x="56" y="38"/>
                  <a:pt x="56" y="38"/>
                </a:cubicBezTo>
                <a:cubicBezTo>
                  <a:pt x="56" y="39"/>
                  <a:pt x="56" y="39"/>
                  <a:pt x="56" y="39"/>
                </a:cubicBezTo>
                <a:cubicBezTo>
                  <a:pt x="56" y="39"/>
                  <a:pt x="56" y="39"/>
                  <a:pt x="56" y="39"/>
                </a:cubicBezTo>
                <a:cubicBezTo>
                  <a:pt x="55" y="40"/>
                  <a:pt x="55" y="40"/>
                  <a:pt x="55" y="40"/>
                </a:cubicBezTo>
                <a:cubicBezTo>
                  <a:pt x="56" y="41"/>
                  <a:pt x="56" y="41"/>
                  <a:pt x="56" y="41"/>
                </a:cubicBezTo>
                <a:cubicBezTo>
                  <a:pt x="55" y="41"/>
                  <a:pt x="55" y="41"/>
                  <a:pt x="55" y="41"/>
                </a:cubicBezTo>
                <a:cubicBezTo>
                  <a:pt x="55" y="41"/>
                  <a:pt x="55" y="41"/>
                  <a:pt x="55" y="41"/>
                </a:cubicBezTo>
                <a:cubicBezTo>
                  <a:pt x="55" y="40"/>
                  <a:pt x="55" y="40"/>
                  <a:pt x="55" y="40"/>
                </a:cubicBezTo>
                <a:cubicBezTo>
                  <a:pt x="54" y="38"/>
                  <a:pt x="54" y="38"/>
                  <a:pt x="54" y="38"/>
                </a:cubicBezTo>
                <a:cubicBezTo>
                  <a:pt x="53" y="39"/>
                  <a:pt x="53" y="39"/>
                  <a:pt x="53" y="39"/>
                </a:cubicBezTo>
                <a:cubicBezTo>
                  <a:pt x="52" y="40"/>
                  <a:pt x="52" y="40"/>
                  <a:pt x="52" y="40"/>
                </a:cubicBezTo>
                <a:cubicBezTo>
                  <a:pt x="52" y="39"/>
                  <a:pt x="52" y="39"/>
                  <a:pt x="52" y="39"/>
                </a:cubicBezTo>
                <a:cubicBezTo>
                  <a:pt x="52" y="38"/>
                  <a:pt x="52" y="38"/>
                  <a:pt x="52" y="38"/>
                </a:cubicBezTo>
                <a:cubicBezTo>
                  <a:pt x="51" y="38"/>
                  <a:pt x="51" y="38"/>
                  <a:pt x="51" y="38"/>
                </a:cubicBezTo>
                <a:cubicBezTo>
                  <a:pt x="50" y="39"/>
                  <a:pt x="50" y="39"/>
                  <a:pt x="50" y="39"/>
                </a:cubicBezTo>
                <a:cubicBezTo>
                  <a:pt x="51" y="40"/>
                  <a:pt x="51" y="40"/>
                  <a:pt x="51" y="40"/>
                </a:cubicBezTo>
                <a:cubicBezTo>
                  <a:pt x="53" y="40"/>
                  <a:pt x="53" y="40"/>
                  <a:pt x="53" y="40"/>
                </a:cubicBezTo>
                <a:cubicBezTo>
                  <a:pt x="54" y="41"/>
                  <a:pt x="54" y="41"/>
                  <a:pt x="54" y="41"/>
                </a:cubicBezTo>
                <a:cubicBezTo>
                  <a:pt x="53" y="42"/>
                  <a:pt x="53" y="42"/>
                  <a:pt x="53" y="42"/>
                </a:cubicBezTo>
                <a:cubicBezTo>
                  <a:pt x="51" y="42"/>
                  <a:pt x="51" y="42"/>
                  <a:pt x="51" y="42"/>
                </a:cubicBezTo>
                <a:cubicBezTo>
                  <a:pt x="50" y="42"/>
                  <a:pt x="50" y="42"/>
                  <a:pt x="50" y="42"/>
                </a:cubicBezTo>
                <a:cubicBezTo>
                  <a:pt x="49" y="42"/>
                  <a:pt x="49" y="42"/>
                  <a:pt x="49" y="42"/>
                </a:cubicBezTo>
                <a:cubicBezTo>
                  <a:pt x="49" y="43"/>
                  <a:pt x="49" y="43"/>
                  <a:pt x="49" y="43"/>
                </a:cubicBezTo>
                <a:cubicBezTo>
                  <a:pt x="50" y="44"/>
                  <a:pt x="50" y="44"/>
                  <a:pt x="50" y="44"/>
                </a:cubicBezTo>
                <a:cubicBezTo>
                  <a:pt x="49" y="45"/>
                  <a:pt x="49" y="45"/>
                  <a:pt x="49" y="45"/>
                </a:cubicBezTo>
                <a:cubicBezTo>
                  <a:pt x="50" y="44"/>
                  <a:pt x="50" y="44"/>
                  <a:pt x="50" y="44"/>
                </a:cubicBezTo>
                <a:cubicBezTo>
                  <a:pt x="51" y="43"/>
                  <a:pt x="51" y="43"/>
                  <a:pt x="51" y="43"/>
                </a:cubicBezTo>
                <a:cubicBezTo>
                  <a:pt x="52" y="43"/>
                  <a:pt x="52" y="43"/>
                  <a:pt x="52" y="43"/>
                </a:cubicBezTo>
                <a:cubicBezTo>
                  <a:pt x="53" y="44"/>
                  <a:pt x="53" y="44"/>
                  <a:pt x="53" y="44"/>
                </a:cubicBezTo>
                <a:cubicBezTo>
                  <a:pt x="51" y="44"/>
                  <a:pt x="51" y="44"/>
                  <a:pt x="51" y="44"/>
                </a:cubicBezTo>
                <a:cubicBezTo>
                  <a:pt x="51" y="45"/>
                  <a:pt x="51" y="45"/>
                  <a:pt x="51" y="45"/>
                </a:cubicBezTo>
                <a:cubicBezTo>
                  <a:pt x="51" y="46"/>
                  <a:pt x="51" y="46"/>
                  <a:pt x="51" y="46"/>
                </a:cubicBezTo>
                <a:cubicBezTo>
                  <a:pt x="53" y="47"/>
                  <a:pt x="53" y="47"/>
                  <a:pt x="53" y="47"/>
                </a:cubicBezTo>
                <a:cubicBezTo>
                  <a:pt x="53" y="48"/>
                  <a:pt x="53" y="48"/>
                  <a:pt x="53" y="48"/>
                </a:cubicBezTo>
                <a:cubicBezTo>
                  <a:pt x="52" y="47"/>
                  <a:pt x="52" y="47"/>
                  <a:pt x="52" y="47"/>
                </a:cubicBezTo>
                <a:cubicBezTo>
                  <a:pt x="51" y="47"/>
                  <a:pt x="51" y="47"/>
                  <a:pt x="51" y="47"/>
                </a:cubicBezTo>
                <a:cubicBezTo>
                  <a:pt x="50" y="46"/>
                  <a:pt x="50" y="46"/>
                  <a:pt x="50" y="46"/>
                </a:cubicBezTo>
                <a:cubicBezTo>
                  <a:pt x="49" y="46"/>
                  <a:pt x="49" y="46"/>
                  <a:pt x="49" y="46"/>
                </a:cubicBezTo>
                <a:cubicBezTo>
                  <a:pt x="49" y="47"/>
                  <a:pt x="49" y="47"/>
                  <a:pt x="49" y="47"/>
                </a:cubicBezTo>
                <a:cubicBezTo>
                  <a:pt x="50" y="48"/>
                  <a:pt x="50" y="48"/>
                  <a:pt x="50" y="48"/>
                </a:cubicBezTo>
                <a:cubicBezTo>
                  <a:pt x="48" y="48"/>
                  <a:pt x="48" y="48"/>
                  <a:pt x="48" y="48"/>
                </a:cubicBezTo>
                <a:cubicBezTo>
                  <a:pt x="47" y="49"/>
                  <a:pt x="47" y="49"/>
                  <a:pt x="47" y="49"/>
                </a:cubicBezTo>
                <a:cubicBezTo>
                  <a:pt x="47" y="49"/>
                  <a:pt x="47" y="49"/>
                  <a:pt x="47" y="49"/>
                </a:cubicBezTo>
                <a:cubicBezTo>
                  <a:pt x="48" y="50"/>
                  <a:pt x="48" y="50"/>
                  <a:pt x="48" y="50"/>
                </a:cubicBezTo>
                <a:cubicBezTo>
                  <a:pt x="49" y="49"/>
                  <a:pt x="49" y="49"/>
                  <a:pt x="49" y="49"/>
                </a:cubicBezTo>
                <a:cubicBezTo>
                  <a:pt x="50" y="50"/>
                  <a:pt x="50" y="50"/>
                  <a:pt x="50" y="50"/>
                </a:cubicBezTo>
                <a:cubicBezTo>
                  <a:pt x="51" y="50"/>
                  <a:pt x="51" y="50"/>
                  <a:pt x="51" y="50"/>
                </a:cubicBezTo>
                <a:cubicBezTo>
                  <a:pt x="52" y="51"/>
                  <a:pt x="52" y="51"/>
                  <a:pt x="52" y="51"/>
                </a:cubicBezTo>
                <a:cubicBezTo>
                  <a:pt x="52" y="51"/>
                  <a:pt x="52" y="51"/>
                  <a:pt x="52" y="51"/>
                </a:cubicBezTo>
                <a:cubicBezTo>
                  <a:pt x="52" y="52"/>
                  <a:pt x="52" y="52"/>
                  <a:pt x="52" y="52"/>
                </a:cubicBezTo>
                <a:cubicBezTo>
                  <a:pt x="51" y="51"/>
                  <a:pt x="51" y="51"/>
                  <a:pt x="51" y="51"/>
                </a:cubicBezTo>
                <a:cubicBezTo>
                  <a:pt x="49" y="51"/>
                  <a:pt x="49" y="51"/>
                  <a:pt x="49" y="51"/>
                </a:cubicBezTo>
                <a:cubicBezTo>
                  <a:pt x="49" y="51"/>
                  <a:pt x="49" y="51"/>
                  <a:pt x="49" y="51"/>
                </a:cubicBezTo>
                <a:cubicBezTo>
                  <a:pt x="47" y="51"/>
                  <a:pt x="47" y="51"/>
                  <a:pt x="47" y="51"/>
                </a:cubicBezTo>
                <a:cubicBezTo>
                  <a:pt x="47" y="52"/>
                  <a:pt x="47" y="52"/>
                  <a:pt x="47" y="52"/>
                </a:cubicBezTo>
                <a:cubicBezTo>
                  <a:pt x="46" y="53"/>
                  <a:pt x="46" y="53"/>
                  <a:pt x="46" y="53"/>
                </a:cubicBezTo>
                <a:cubicBezTo>
                  <a:pt x="46" y="52"/>
                  <a:pt x="46" y="52"/>
                  <a:pt x="46" y="52"/>
                </a:cubicBezTo>
                <a:cubicBezTo>
                  <a:pt x="44" y="53"/>
                  <a:pt x="44" y="53"/>
                  <a:pt x="44" y="53"/>
                </a:cubicBezTo>
                <a:cubicBezTo>
                  <a:pt x="43" y="53"/>
                  <a:pt x="43" y="53"/>
                  <a:pt x="43" y="53"/>
                </a:cubicBezTo>
                <a:cubicBezTo>
                  <a:pt x="43" y="54"/>
                  <a:pt x="43" y="54"/>
                  <a:pt x="43" y="54"/>
                </a:cubicBezTo>
                <a:cubicBezTo>
                  <a:pt x="44" y="54"/>
                  <a:pt x="44" y="54"/>
                  <a:pt x="44" y="54"/>
                </a:cubicBezTo>
                <a:cubicBezTo>
                  <a:pt x="45" y="55"/>
                  <a:pt x="45" y="55"/>
                  <a:pt x="45" y="55"/>
                </a:cubicBezTo>
                <a:cubicBezTo>
                  <a:pt x="44" y="55"/>
                  <a:pt x="44" y="55"/>
                  <a:pt x="44" y="55"/>
                </a:cubicBezTo>
                <a:cubicBezTo>
                  <a:pt x="43" y="55"/>
                  <a:pt x="43" y="55"/>
                  <a:pt x="43" y="55"/>
                </a:cubicBezTo>
                <a:cubicBezTo>
                  <a:pt x="43" y="56"/>
                  <a:pt x="43" y="56"/>
                  <a:pt x="43" y="56"/>
                </a:cubicBezTo>
                <a:cubicBezTo>
                  <a:pt x="44" y="56"/>
                  <a:pt x="44" y="56"/>
                  <a:pt x="44" y="56"/>
                </a:cubicBezTo>
                <a:cubicBezTo>
                  <a:pt x="44" y="57"/>
                  <a:pt x="44" y="57"/>
                  <a:pt x="44" y="57"/>
                </a:cubicBezTo>
                <a:cubicBezTo>
                  <a:pt x="42" y="57"/>
                  <a:pt x="42" y="57"/>
                  <a:pt x="42" y="57"/>
                </a:cubicBezTo>
                <a:cubicBezTo>
                  <a:pt x="42" y="56"/>
                  <a:pt x="42" y="56"/>
                  <a:pt x="42" y="56"/>
                </a:cubicBezTo>
                <a:cubicBezTo>
                  <a:pt x="42" y="57"/>
                  <a:pt x="42" y="57"/>
                  <a:pt x="42" y="57"/>
                </a:cubicBezTo>
                <a:cubicBezTo>
                  <a:pt x="43" y="57"/>
                  <a:pt x="43" y="57"/>
                  <a:pt x="43" y="57"/>
                </a:cubicBezTo>
                <a:cubicBezTo>
                  <a:pt x="42" y="58"/>
                  <a:pt x="42" y="58"/>
                  <a:pt x="42" y="58"/>
                </a:cubicBezTo>
                <a:cubicBezTo>
                  <a:pt x="42" y="58"/>
                  <a:pt x="42" y="58"/>
                  <a:pt x="42" y="58"/>
                </a:cubicBezTo>
                <a:cubicBezTo>
                  <a:pt x="43" y="58"/>
                  <a:pt x="43" y="58"/>
                  <a:pt x="43" y="58"/>
                </a:cubicBezTo>
                <a:cubicBezTo>
                  <a:pt x="42" y="59"/>
                  <a:pt x="42" y="59"/>
                  <a:pt x="42" y="59"/>
                </a:cubicBezTo>
                <a:cubicBezTo>
                  <a:pt x="42" y="59"/>
                  <a:pt x="42" y="59"/>
                  <a:pt x="42" y="59"/>
                </a:cubicBezTo>
                <a:cubicBezTo>
                  <a:pt x="41" y="59"/>
                  <a:pt x="41" y="59"/>
                  <a:pt x="41" y="59"/>
                </a:cubicBezTo>
                <a:cubicBezTo>
                  <a:pt x="41" y="59"/>
                  <a:pt x="41" y="59"/>
                  <a:pt x="41" y="59"/>
                </a:cubicBezTo>
                <a:cubicBezTo>
                  <a:pt x="41" y="60"/>
                  <a:pt x="41" y="60"/>
                  <a:pt x="41" y="60"/>
                </a:cubicBezTo>
                <a:cubicBezTo>
                  <a:pt x="41" y="60"/>
                  <a:pt x="41" y="60"/>
                  <a:pt x="41" y="60"/>
                </a:cubicBezTo>
                <a:cubicBezTo>
                  <a:pt x="43" y="61"/>
                  <a:pt x="43" y="61"/>
                  <a:pt x="43" y="61"/>
                </a:cubicBezTo>
                <a:cubicBezTo>
                  <a:pt x="43" y="62"/>
                  <a:pt x="43" y="62"/>
                  <a:pt x="43" y="62"/>
                </a:cubicBezTo>
                <a:cubicBezTo>
                  <a:pt x="44" y="62"/>
                  <a:pt x="44" y="62"/>
                  <a:pt x="44" y="62"/>
                </a:cubicBezTo>
                <a:cubicBezTo>
                  <a:pt x="45" y="61"/>
                  <a:pt x="45" y="61"/>
                  <a:pt x="45" y="61"/>
                </a:cubicBezTo>
                <a:cubicBezTo>
                  <a:pt x="44" y="62"/>
                  <a:pt x="44" y="62"/>
                  <a:pt x="44" y="62"/>
                </a:cubicBezTo>
                <a:cubicBezTo>
                  <a:pt x="44" y="63"/>
                  <a:pt x="44" y="63"/>
                  <a:pt x="44" y="63"/>
                </a:cubicBezTo>
                <a:cubicBezTo>
                  <a:pt x="43" y="63"/>
                  <a:pt x="43" y="63"/>
                  <a:pt x="43" y="63"/>
                </a:cubicBezTo>
                <a:cubicBezTo>
                  <a:pt x="43" y="62"/>
                  <a:pt x="43" y="62"/>
                  <a:pt x="43" y="62"/>
                </a:cubicBezTo>
                <a:cubicBezTo>
                  <a:pt x="41" y="62"/>
                  <a:pt x="41" y="62"/>
                  <a:pt x="41" y="62"/>
                </a:cubicBezTo>
                <a:cubicBezTo>
                  <a:pt x="40" y="63"/>
                  <a:pt x="40" y="63"/>
                  <a:pt x="40" y="63"/>
                </a:cubicBezTo>
                <a:cubicBezTo>
                  <a:pt x="40" y="64"/>
                  <a:pt x="40" y="64"/>
                  <a:pt x="40" y="64"/>
                </a:cubicBezTo>
                <a:cubicBezTo>
                  <a:pt x="41" y="64"/>
                  <a:pt x="41" y="64"/>
                  <a:pt x="41" y="64"/>
                </a:cubicBezTo>
                <a:cubicBezTo>
                  <a:pt x="41" y="64"/>
                  <a:pt x="41" y="64"/>
                  <a:pt x="41" y="64"/>
                </a:cubicBezTo>
                <a:cubicBezTo>
                  <a:pt x="42" y="65"/>
                  <a:pt x="42" y="65"/>
                  <a:pt x="42" y="65"/>
                </a:cubicBezTo>
                <a:cubicBezTo>
                  <a:pt x="42" y="66"/>
                  <a:pt x="42" y="66"/>
                  <a:pt x="42" y="66"/>
                </a:cubicBezTo>
                <a:cubicBezTo>
                  <a:pt x="41" y="65"/>
                  <a:pt x="41" y="65"/>
                  <a:pt x="41" y="65"/>
                </a:cubicBezTo>
                <a:cubicBezTo>
                  <a:pt x="41" y="65"/>
                  <a:pt x="41" y="65"/>
                  <a:pt x="41" y="65"/>
                </a:cubicBezTo>
                <a:cubicBezTo>
                  <a:pt x="40" y="66"/>
                  <a:pt x="40" y="66"/>
                  <a:pt x="40" y="66"/>
                </a:cubicBezTo>
                <a:cubicBezTo>
                  <a:pt x="40" y="67"/>
                  <a:pt x="40" y="67"/>
                  <a:pt x="40" y="67"/>
                </a:cubicBezTo>
                <a:cubicBezTo>
                  <a:pt x="40" y="67"/>
                  <a:pt x="40" y="67"/>
                  <a:pt x="40" y="67"/>
                </a:cubicBezTo>
                <a:cubicBezTo>
                  <a:pt x="40" y="68"/>
                  <a:pt x="40" y="68"/>
                  <a:pt x="40" y="68"/>
                </a:cubicBezTo>
                <a:cubicBezTo>
                  <a:pt x="41" y="68"/>
                  <a:pt x="41" y="68"/>
                  <a:pt x="41" y="68"/>
                </a:cubicBezTo>
                <a:cubicBezTo>
                  <a:pt x="40" y="68"/>
                  <a:pt x="40" y="68"/>
                  <a:pt x="40" y="68"/>
                </a:cubicBezTo>
                <a:cubicBezTo>
                  <a:pt x="39" y="68"/>
                  <a:pt x="39" y="68"/>
                  <a:pt x="39" y="68"/>
                </a:cubicBezTo>
                <a:cubicBezTo>
                  <a:pt x="39" y="68"/>
                  <a:pt x="39" y="68"/>
                  <a:pt x="39" y="68"/>
                </a:cubicBezTo>
                <a:cubicBezTo>
                  <a:pt x="39" y="69"/>
                  <a:pt x="39" y="69"/>
                  <a:pt x="39" y="69"/>
                </a:cubicBezTo>
                <a:cubicBezTo>
                  <a:pt x="40" y="69"/>
                  <a:pt x="40" y="69"/>
                  <a:pt x="40" y="69"/>
                </a:cubicBezTo>
                <a:cubicBezTo>
                  <a:pt x="40" y="70"/>
                  <a:pt x="40" y="70"/>
                  <a:pt x="40" y="70"/>
                </a:cubicBezTo>
                <a:cubicBezTo>
                  <a:pt x="40" y="71"/>
                  <a:pt x="40" y="71"/>
                  <a:pt x="40" y="71"/>
                </a:cubicBezTo>
                <a:cubicBezTo>
                  <a:pt x="39" y="70"/>
                  <a:pt x="39" y="70"/>
                  <a:pt x="39" y="70"/>
                </a:cubicBezTo>
                <a:cubicBezTo>
                  <a:pt x="38" y="70"/>
                  <a:pt x="38" y="70"/>
                  <a:pt x="38" y="70"/>
                </a:cubicBezTo>
                <a:cubicBezTo>
                  <a:pt x="38" y="71"/>
                  <a:pt x="38" y="71"/>
                  <a:pt x="38" y="71"/>
                </a:cubicBezTo>
                <a:cubicBezTo>
                  <a:pt x="39" y="71"/>
                  <a:pt x="39" y="71"/>
                  <a:pt x="39" y="71"/>
                </a:cubicBezTo>
                <a:cubicBezTo>
                  <a:pt x="39" y="72"/>
                  <a:pt x="39" y="72"/>
                  <a:pt x="39" y="72"/>
                </a:cubicBezTo>
                <a:cubicBezTo>
                  <a:pt x="39" y="73"/>
                  <a:pt x="39" y="73"/>
                  <a:pt x="39" y="73"/>
                </a:cubicBezTo>
                <a:cubicBezTo>
                  <a:pt x="40" y="73"/>
                  <a:pt x="40" y="73"/>
                  <a:pt x="40" y="73"/>
                </a:cubicBezTo>
                <a:cubicBezTo>
                  <a:pt x="40" y="72"/>
                  <a:pt x="40" y="72"/>
                  <a:pt x="40" y="72"/>
                </a:cubicBezTo>
                <a:cubicBezTo>
                  <a:pt x="41" y="72"/>
                  <a:pt x="41" y="72"/>
                  <a:pt x="41" y="72"/>
                </a:cubicBezTo>
                <a:cubicBezTo>
                  <a:pt x="40" y="74"/>
                  <a:pt x="40" y="74"/>
                  <a:pt x="40" y="74"/>
                </a:cubicBezTo>
                <a:cubicBezTo>
                  <a:pt x="39" y="74"/>
                  <a:pt x="39" y="74"/>
                  <a:pt x="39" y="74"/>
                </a:cubicBezTo>
                <a:cubicBezTo>
                  <a:pt x="38" y="75"/>
                  <a:pt x="38" y="75"/>
                  <a:pt x="38" y="75"/>
                </a:cubicBezTo>
                <a:cubicBezTo>
                  <a:pt x="38" y="75"/>
                  <a:pt x="38" y="75"/>
                  <a:pt x="38" y="75"/>
                </a:cubicBezTo>
                <a:cubicBezTo>
                  <a:pt x="37" y="75"/>
                  <a:pt x="37" y="75"/>
                  <a:pt x="37" y="75"/>
                </a:cubicBezTo>
                <a:cubicBezTo>
                  <a:pt x="37" y="76"/>
                  <a:pt x="37" y="76"/>
                  <a:pt x="37" y="76"/>
                </a:cubicBezTo>
                <a:cubicBezTo>
                  <a:pt x="36" y="76"/>
                  <a:pt x="36" y="76"/>
                  <a:pt x="36" y="76"/>
                </a:cubicBezTo>
                <a:cubicBezTo>
                  <a:pt x="35" y="77"/>
                  <a:pt x="35" y="77"/>
                  <a:pt x="35" y="77"/>
                </a:cubicBezTo>
                <a:cubicBezTo>
                  <a:pt x="36" y="77"/>
                  <a:pt x="36" y="77"/>
                  <a:pt x="36" y="77"/>
                </a:cubicBezTo>
                <a:cubicBezTo>
                  <a:pt x="36" y="78"/>
                  <a:pt x="36" y="78"/>
                  <a:pt x="36" y="78"/>
                </a:cubicBezTo>
                <a:cubicBezTo>
                  <a:pt x="34" y="78"/>
                  <a:pt x="34" y="78"/>
                  <a:pt x="34" y="78"/>
                </a:cubicBezTo>
                <a:cubicBezTo>
                  <a:pt x="33" y="79"/>
                  <a:pt x="33" y="79"/>
                  <a:pt x="33" y="79"/>
                </a:cubicBezTo>
                <a:cubicBezTo>
                  <a:pt x="33" y="80"/>
                  <a:pt x="33" y="80"/>
                  <a:pt x="33" y="80"/>
                </a:cubicBezTo>
                <a:cubicBezTo>
                  <a:pt x="35" y="80"/>
                  <a:pt x="35" y="80"/>
                  <a:pt x="35" y="80"/>
                </a:cubicBezTo>
                <a:cubicBezTo>
                  <a:pt x="34" y="80"/>
                  <a:pt x="34" y="80"/>
                  <a:pt x="34" y="80"/>
                </a:cubicBezTo>
                <a:cubicBezTo>
                  <a:pt x="33" y="81"/>
                  <a:pt x="33" y="81"/>
                  <a:pt x="33" y="81"/>
                </a:cubicBezTo>
                <a:cubicBezTo>
                  <a:pt x="32" y="82"/>
                  <a:pt x="32" y="82"/>
                  <a:pt x="32" y="82"/>
                </a:cubicBezTo>
                <a:cubicBezTo>
                  <a:pt x="32" y="81"/>
                  <a:pt x="32" y="81"/>
                  <a:pt x="32" y="81"/>
                </a:cubicBezTo>
                <a:cubicBezTo>
                  <a:pt x="31" y="80"/>
                  <a:pt x="31" y="80"/>
                  <a:pt x="31" y="80"/>
                </a:cubicBezTo>
                <a:cubicBezTo>
                  <a:pt x="31" y="81"/>
                  <a:pt x="31" y="81"/>
                  <a:pt x="31" y="81"/>
                </a:cubicBezTo>
                <a:cubicBezTo>
                  <a:pt x="30" y="81"/>
                  <a:pt x="30" y="81"/>
                  <a:pt x="30" y="81"/>
                </a:cubicBezTo>
                <a:cubicBezTo>
                  <a:pt x="30" y="81"/>
                  <a:pt x="30" y="81"/>
                  <a:pt x="30" y="81"/>
                </a:cubicBezTo>
                <a:cubicBezTo>
                  <a:pt x="30" y="82"/>
                  <a:pt x="30" y="82"/>
                  <a:pt x="30" y="82"/>
                </a:cubicBezTo>
                <a:cubicBezTo>
                  <a:pt x="30" y="83"/>
                  <a:pt x="30" y="83"/>
                  <a:pt x="30" y="83"/>
                </a:cubicBezTo>
                <a:cubicBezTo>
                  <a:pt x="30" y="83"/>
                  <a:pt x="30" y="83"/>
                  <a:pt x="30" y="83"/>
                </a:cubicBezTo>
                <a:cubicBezTo>
                  <a:pt x="29" y="83"/>
                  <a:pt x="29" y="83"/>
                  <a:pt x="29" y="83"/>
                </a:cubicBezTo>
                <a:cubicBezTo>
                  <a:pt x="28" y="84"/>
                  <a:pt x="28" y="84"/>
                  <a:pt x="28" y="84"/>
                </a:cubicBezTo>
                <a:cubicBezTo>
                  <a:pt x="28" y="85"/>
                  <a:pt x="28" y="85"/>
                  <a:pt x="28" y="85"/>
                </a:cubicBezTo>
                <a:cubicBezTo>
                  <a:pt x="27" y="86"/>
                  <a:pt x="27" y="86"/>
                  <a:pt x="27" y="86"/>
                </a:cubicBezTo>
                <a:cubicBezTo>
                  <a:pt x="27" y="86"/>
                  <a:pt x="27" y="86"/>
                  <a:pt x="27" y="86"/>
                </a:cubicBezTo>
                <a:cubicBezTo>
                  <a:pt x="27" y="87"/>
                  <a:pt x="27" y="87"/>
                  <a:pt x="27" y="87"/>
                </a:cubicBezTo>
                <a:cubicBezTo>
                  <a:pt x="26" y="88"/>
                  <a:pt x="26" y="88"/>
                  <a:pt x="26" y="88"/>
                </a:cubicBezTo>
                <a:cubicBezTo>
                  <a:pt x="25" y="89"/>
                  <a:pt x="25" y="89"/>
                  <a:pt x="25" y="89"/>
                </a:cubicBezTo>
                <a:cubicBezTo>
                  <a:pt x="25" y="90"/>
                  <a:pt x="25" y="90"/>
                  <a:pt x="25" y="90"/>
                </a:cubicBezTo>
                <a:cubicBezTo>
                  <a:pt x="27" y="89"/>
                  <a:pt x="27" y="89"/>
                  <a:pt x="27" y="89"/>
                </a:cubicBezTo>
                <a:cubicBezTo>
                  <a:pt x="27" y="89"/>
                  <a:pt x="27" y="89"/>
                  <a:pt x="27" y="89"/>
                </a:cubicBezTo>
                <a:cubicBezTo>
                  <a:pt x="27" y="89"/>
                  <a:pt x="27" y="89"/>
                  <a:pt x="27" y="89"/>
                </a:cubicBezTo>
                <a:cubicBezTo>
                  <a:pt x="26" y="90"/>
                  <a:pt x="26" y="90"/>
                  <a:pt x="26" y="90"/>
                </a:cubicBezTo>
                <a:cubicBezTo>
                  <a:pt x="26" y="91"/>
                  <a:pt x="26" y="91"/>
                  <a:pt x="26" y="91"/>
                </a:cubicBezTo>
                <a:cubicBezTo>
                  <a:pt x="27" y="92"/>
                  <a:pt x="27" y="92"/>
                  <a:pt x="27" y="92"/>
                </a:cubicBezTo>
                <a:cubicBezTo>
                  <a:pt x="28" y="91"/>
                  <a:pt x="28" y="91"/>
                  <a:pt x="28" y="91"/>
                </a:cubicBezTo>
                <a:cubicBezTo>
                  <a:pt x="30" y="91"/>
                  <a:pt x="30" y="91"/>
                  <a:pt x="30" y="91"/>
                </a:cubicBezTo>
                <a:cubicBezTo>
                  <a:pt x="32" y="89"/>
                  <a:pt x="32" y="89"/>
                  <a:pt x="32" y="89"/>
                </a:cubicBezTo>
                <a:cubicBezTo>
                  <a:pt x="32" y="88"/>
                  <a:pt x="32" y="88"/>
                  <a:pt x="32" y="88"/>
                </a:cubicBezTo>
                <a:cubicBezTo>
                  <a:pt x="31" y="89"/>
                  <a:pt x="31" y="89"/>
                  <a:pt x="31" y="89"/>
                </a:cubicBezTo>
                <a:cubicBezTo>
                  <a:pt x="32" y="88"/>
                  <a:pt x="32" y="88"/>
                  <a:pt x="32" y="88"/>
                </a:cubicBezTo>
                <a:cubicBezTo>
                  <a:pt x="32" y="86"/>
                  <a:pt x="32" y="86"/>
                  <a:pt x="32" y="86"/>
                </a:cubicBezTo>
                <a:cubicBezTo>
                  <a:pt x="32" y="86"/>
                  <a:pt x="32" y="86"/>
                  <a:pt x="32" y="86"/>
                </a:cubicBezTo>
                <a:cubicBezTo>
                  <a:pt x="33" y="86"/>
                  <a:pt x="33" y="86"/>
                  <a:pt x="33" y="86"/>
                </a:cubicBezTo>
                <a:cubicBezTo>
                  <a:pt x="34" y="86"/>
                  <a:pt x="34" y="86"/>
                  <a:pt x="34" y="86"/>
                </a:cubicBezTo>
                <a:cubicBezTo>
                  <a:pt x="35" y="86"/>
                  <a:pt x="35" y="86"/>
                  <a:pt x="35" y="86"/>
                </a:cubicBezTo>
                <a:cubicBezTo>
                  <a:pt x="33" y="87"/>
                  <a:pt x="33" y="87"/>
                  <a:pt x="33" y="87"/>
                </a:cubicBezTo>
                <a:cubicBezTo>
                  <a:pt x="33" y="88"/>
                  <a:pt x="33" y="88"/>
                  <a:pt x="33" y="88"/>
                </a:cubicBezTo>
                <a:cubicBezTo>
                  <a:pt x="34" y="88"/>
                  <a:pt x="34" y="88"/>
                  <a:pt x="34" y="88"/>
                </a:cubicBezTo>
                <a:cubicBezTo>
                  <a:pt x="34" y="89"/>
                  <a:pt x="34" y="89"/>
                  <a:pt x="34" y="89"/>
                </a:cubicBezTo>
                <a:cubicBezTo>
                  <a:pt x="33" y="89"/>
                  <a:pt x="33" y="89"/>
                  <a:pt x="33" y="89"/>
                </a:cubicBezTo>
                <a:cubicBezTo>
                  <a:pt x="31" y="91"/>
                  <a:pt x="31" y="91"/>
                  <a:pt x="31" y="91"/>
                </a:cubicBezTo>
                <a:cubicBezTo>
                  <a:pt x="32" y="91"/>
                  <a:pt x="32" y="91"/>
                  <a:pt x="32" y="91"/>
                </a:cubicBezTo>
                <a:cubicBezTo>
                  <a:pt x="32" y="92"/>
                  <a:pt x="32" y="92"/>
                  <a:pt x="32" y="92"/>
                </a:cubicBezTo>
                <a:cubicBezTo>
                  <a:pt x="32" y="93"/>
                  <a:pt x="32" y="93"/>
                  <a:pt x="32" y="93"/>
                </a:cubicBezTo>
                <a:cubicBezTo>
                  <a:pt x="31" y="93"/>
                  <a:pt x="31" y="93"/>
                  <a:pt x="31" y="93"/>
                </a:cubicBezTo>
                <a:cubicBezTo>
                  <a:pt x="30" y="92"/>
                  <a:pt x="30" y="92"/>
                  <a:pt x="30" y="92"/>
                </a:cubicBezTo>
                <a:cubicBezTo>
                  <a:pt x="28" y="92"/>
                  <a:pt x="28" y="92"/>
                  <a:pt x="28" y="92"/>
                </a:cubicBezTo>
                <a:cubicBezTo>
                  <a:pt x="28" y="93"/>
                  <a:pt x="28" y="93"/>
                  <a:pt x="28" y="93"/>
                </a:cubicBezTo>
                <a:cubicBezTo>
                  <a:pt x="28" y="94"/>
                  <a:pt x="28" y="94"/>
                  <a:pt x="28" y="94"/>
                </a:cubicBezTo>
                <a:cubicBezTo>
                  <a:pt x="27" y="95"/>
                  <a:pt x="27" y="95"/>
                  <a:pt x="27" y="95"/>
                </a:cubicBezTo>
                <a:cubicBezTo>
                  <a:pt x="26" y="95"/>
                  <a:pt x="26" y="95"/>
                  <a:pt x="26" y="95"/>
                </a:cubicBezTo>
                <a:cubicBezTo>
                  <a:pt x="26" y="94"/>
                  <a:pt x="26" y="94"/>
                  <a:pt x="26" y="94"/>
                </a:cubicBezTo>
                <a:cubicBezTo>
                  <a:pt x="27" y="94"/>
                  <a:pt x="27" y="94"/>
                  <a:pt x="27" y="94"/>
                </a:cubicBezTo>
                <a:cubicBezTo>
                  <a:pt x="26" y="93"/>
                  <a:pt x="26" y="93"/>
                  <a:pt x="26" y="93"/>
                </a:cubicBezTo>
                <a:cubicBezTo>
                  <a:pt x="26" y="92"/>
                  <a:pt x="26" y="92"/>
                  <a:pt x="26" y="92"/>
                </a:cubicBezTo>
                <a:cubicBezTo>
                  <a:pt x="25" y="91"/>
                  <a:pt x="25" y="91"/>
                  <a:pt x="25" y="91"/>
                </a:cubicBezTo>
                <a:cubicBezTo>
                  <a:pt x="24" y="91"/>
                  <a:pt x="24" y="91"/>
                  <a:pt x="24" y="91"/>
                </a:cubicBezTo>
                <a:cubicBezTo>
                  <a:pt x="24" y="91"/>
                  <a:pt x="24" y="91"/>
                  <a:pt x="24" y="91"/>
                </a:cubicBezTo>
                <a:cubicBezTo>
                  <a:pt x="23" y="92"/>
                  <a:pt x="23" y="92"/>
                  <a:pt x="23" y="92"/>
                </a:cubicBezTo>
                <a:cubicBezTo>
                  <a:pt x="23" y="92"/>
                  <a:pt x="23" y="92"/>
                  <a:pt x="23" y="92"/>
                </a:cubicBezTo>
                <a:cubicBezTo>
                  <a:pt x="24" y="92"/>
                  <a:pt x="24" y="92"/>
                  <a:pt x="24" y="92"/>
                </a:cubicBezTo>
                <a:cubicBezTo>
                  <a:pt x="23" y="94"/>
                  <a:pt x="23" y="94"/>
                  <a:pt x="23" y="94"/>
                </a:cubicBezTo>
                <a:cubicBezTo>
                  <a:pt x="22" y="93"/>
                  <a:pt x="22" y="93"/>
                  <a:pt x="22" y="93"/>
                </a:cubicBezTo>
                <a:cubicBezTo>
                  <a:pt x="21" y="93"/>
                  <a:pt x="21" y="93"/>
                  <a:pt x="21" y="93"/>
                </a:cubicBezTo>
                <a:cubicBezTo>
                  <a:pt x="20" y="94"/>
                  <a:pt x="20" y="94"/>
                  <a:pt x="20" y="94"/>
                </a:cubicBezTo>
                <a:cubicBezTo>
                  <a:pt x="20" y="95"/>
                  <a:pt x="20" y="95"/>
                  <a:pt x="20" y="95"/>
                </a:cubicBezTo>
                <a:cubicBezTo>
                  <a:pt x="21" y="94"/>
                  <a:pt x="21" y="94"/>
                  <a:pt x="21" y="94"/>
                </a:cubicBezTo>
                <a:cubicBezTo>
                  <a:pt x="21" y="95"/>
                  <a:pt x="21" y="95"/>
                  <a:pt x="21" y="95"/>
                </a:cubicBezTo>
                <a:cubicBezTo>
                  <a:pt x="20" y="95"/>
                  <a:pt x="20" y="95"/>
                  <a:pt x="20" y="95"/>
                </a:cubicBezTo>
                <a:cubicBezTo>
                  <a:pt x="19" y="96"/>
                  <a:pt x="19" y="96"/>
                  <a:pt x="19" y="96"/>
                </a:cubicBezTo>
                <a:cubicBezTo>
                  <a:pt x="19" y="96"/>
                  <a:pt x="19" y="96"/>
                  <a:pt x="19" y="96"/>
                </a:cubicBezTo>
                <a:cubicBezTo>
                  <a:pt x="18" y="96"/>
                  <a:pt x="18" y="96"/>
                  <a:pt x="18" y="96"/>
                </a:cubicBezTo>
                <a:cubicBezTo>
                  <a:pt x="18" y="96"/>
                  <a:pt x="18" y="96"/>
                  <a:pt x="18" y="96"/>
                </a:cubicBezTo>
                <a:cubicBezTo>
                  <a:pt x="19" y="97"/>
                  <a:pt x="19" y="97"/>
                  <a:pt x="19" y="97"/>
                </a:cubicBezTo>
                <a:cubicBezTo>
                  <a:pt x="21" y="97"/>
                  <a:pt x="21" y="97"/>
                  <a:pt x="21" y="97"/>
                </a:cubicBezTo>
                <a:cubicBezTo>
                  <a:pt x="21" y="98"/>
                  <a:pt x="21" y="98"/>
                  <a:pt x="21" y="98"/>
                </a:cubicBezTo>
                <a:cubicBezTo>
                  <a:pt x="21" y="98"/>
                  <a:pt x="21" y="98"/>
                  <a:pt x="21" y="98"/>
                </a:cubicBezTo>
                <a:cubicBezTo>
                  <a:pt x="21" y="99"/>
                  <a:pt x="21" y="99"/>
                  <a:pt x="21" y="99"/>
                </a:cubicBezTo>
                <a:cubicBezTo>
                  <a:pt x="20" y="98"/>
                  <a:pt x="20" y="98"/>
                  <a:pt x="20" y="98"/>
                </a:cubicBezTo>
                <a:cubicBezTo>
                  <a:pt x="20" y="98"/>
                  <a:pt x="20" y="98"/>
                  <a:pt x="20" y="98"/>
                </a:cubicBezTo>
                <a:cubicBezTo>
                  <a:pt x="18" y="98"/>
                  <a:pt x="18" y="98"/>
                  <a:pt x="18" y="98"/>
                </a:cubicBezTo>
                <a:cubicBezTo>
                  <a:pt x="17" y="97"/>
                  <a:pt x="17" y="97"/>
                  <a:pt x="17" y="97"/>
                </a:cubicBezTo>
                <a:cubicBezTo>
                  <a:pt x="17" y="96"/>
                  <a:pt x="17" y="96"/>
                  <a:pt x="17" y="96"/>
                </a:cubicBezTo>
                <a:cubicBezTo>
                  <a:pt x="17" y="96"/>
                  <a:pt x="17" y="96"/>
                  <a:pt x="17" y="96"/>
                </a:cubicBezTo>
                <a:cubicBezTo>
                  <a:pt x="16" y="97"/>
                  <a:pt x="16" y="97"/>
                  <a:pt x="16" y="97"/>
                </a:cubicBezTo>
                <a:cubicBezTo>
                  <a:pt x="18" y="98"/>
                  <a:pt x="18" y="98"/>
                  <a:pt x="18" y="98"/>
                </a:cubicBezTo>
                <a:cubicBezTo>
                  <a:pt x="19" y="99"/>
                  <a:pt x="19" y="99"/>
                  <a:pt x="19" y="99"/>
                </a:cubicBezTo>
                <a:cubicBezTo>
                  <a:pt x="20" y="99"/>
                  <a:pt x="20" y="99"/>
                  <a:pt x="20" y="99"/>
                </a:cubicBezTo>
                <a:cubicBezTo>
                  <a:pt x="20" y="100"/>
                  <a:pt x="20" y="100"/>
                  <a:pt x="20" y="100"/>
                </a:cubicBezTo>
                <a:cubicBezTo>
                  <a:pt x="19" y="100"/>
                  <a:pt x="19" y="100"/>
                  <a:pt x="19" y="100"/>
                </a:cubicBezTo>
                <a:cubicBezTo>
                  <a:pt x="17" y="99"/>
                  <a:pt x="17" y="99"/>
                  <a:pt x="17" y="99"/>
                </a:cubicBezTo>
                <a:cubicBezTo>
                  <a:pt x="16" y="97"/>
                  <a:pt x="16" y="97"/>
                  <a:pt x="16" y="97"/>
                </a:cubicBezTo>
                <a:cubicBezTo>
                  <a:pt x="15" y="98"/>
                  <a:pt x="15" y="98"/>
                  <a:pt x="15" y="98"/>
                </a:cubicBezTo>
                <a:cubicBezTo>
                  <a:pt x="14" y="97"/>
                  <a:pt x="14" y="97"/>
                  <a:pt x="14" y="97"/>
                </a:cubicBezTo>
                <a:cubicBezTo>
                  <a:pt x="13" y="97"/>
                  <a:pt x="13" y="97"/>
                  <a:pt x="13" y="97"/>
                </a:cubicBezTo>
                <a:cubicBezTo>
                  <a:pt x="12" y="97"/>
                  <a:pt x="12" y="97"/>
                  <a:pt x="12" y="97"/>
                </a:cubicBezTo>
                <a:cubicBezTo>
                  <a:pt x="12" y="97"/>
                  <a:pt x="12" y="97"/>
                  <a:pt x="12" y="97"/>
                </a:cubicBezTo>
                <a:cubicBezTo>
                  <a:pt x="12" y="98"/>
                  <a:pt x="12" y="98"/>
                  <a:pt x="12" y="98"/>
                </a:cubicBezTo>
                <a:cubicBezTo>
                  <a:pt x="11" y="99"/>
                  <a:pt x="11" y="99"/>
                  <a:pt x="11" y="99"/>
                </a:cubicBezTo>
                <a:cubicBezTo>
                  <a:pt x="12" y="100"/>
                  <a:pt x="12" y="100"/>
                  <a:pt x="12" y="100"/>
                </a:cubicBezTo>
                <a:cubicBezTo>
                  <a:pt x="14" y="99"/>
                  <a:pt x="14" y="99"/>
                  <a:pt x="14" y="99"/>
                </a:cubicBezTo>
                <a:cubicBezTo>
                  <a:pt x="15" y="100"/>
                  <a:pt x="15" y="100"/>
                  <a:pt x="15" y="100"/>
                </a:cubicBezTo>
                <a:cubicBezTo>
                  <a:pt x="14" y="100"/>
                  <a:pt x="14" y="100"/>
                  <a:pt x="14" y="100"/>
                </a:cubicBezTo>
                <a:cubicBezTo>
                  <a:pt x="14" y="100"/>
                  <a:pt x="14" y="100"/>
                  <a:pt x="14" y="100"/>
                </a:cubicBezTo>
                <a:cubicBezTo>
                  <a:pt x="16" y="100"/>
                  <a:pt x="16" y="100"/>
                  <a:pt x="16" y="100"/>
                </a:cubicBezTo>
                <a:cubicBezTo>
                  <a:pt x="16" y="100"/>
                  <a:pt x="16" y="100"/>
                  <a:pt x="16" y="100"/>
                </a:cubicBezTo>
                <a:cubicBezTo>
                  <a:pt x="16" y="100"/>
                  <a:pt x="16" y="100"/>
                  <a:pt x="16" y="100"/>
                </a:cubicBezTo>
                <a:cubicBezTo>
                  <a:pt x="14" y="101"/>
                  <a:pt x="14" y="101"/>
                  <a:pt x="14" y="101"/>
                </a:cubicBezTo>
                <a:cubicBezTo>
                  <a:pt x="14" y="102"/>
                  <a:pt x="14" y="102"/>
                  <a:pt x="14" y="102"/>
                </a:cubicBezTo>
                <a:cubicBezTo>
                  <a:pt x="12" y="102"/>
                  <a:pt x="12" y="102"/>
                  <a:pt x="12" y="102"/>
                </a:cubicBezTo>
                <a:cubicBezTo>
                  <a:pt x="11" y="100"/>
                  <a:pt x="11" y="100"/>
                  <a:pt x="11" y="100"/>
                </a:cubicBezTo>
                <a:cubicBezTo>
                  <a:pt x="11" y="100"/>
                  <a:pt x="11" y="100"/>
                  <a:pt x="11" y="100"/>
                </a:cubicBezTo>
                <a:cubicBezTo>
                  <a:pt x="10" y="101"/>
                  <a:pt x="10" y="101"/>
                  <a:pt x="10" y="101"/>
                </a:cubicBezTo>
                <a:cubicBezTo>
                  <a:pt x="9" y="100"/>
                  <a:pt x="9" y="100"/>
                  <a:pt x="9" y="100"/>
                </a:cubicBezTo>
                <a:cubicBezTo>
                  <a:pt x="8" y="101"/>
                  <a:pt x="8" y="101"/>
                  <a:pt x="8" y="101"/>
                </a:cubicBezTo>
                <a:cubicBezTo>
                  <a:pt x="8" y="100"/>
                  <a:pt x="8" y="100"/>
                  <a:pt x="8" y="100"/>
                </a:cubicBezTo>
                <a:cubicBezTo>
                  <a:pt x="7" y="101"/>
                  <a:pt x="7" y="101"/>
                  <a:pt x="7" y="101"/>
                </a:cubicBezTo>
                <a:cubicBezTo>
                  <a:pt x="7" y="101"/>
                  <a:pt x="7" y="101"/>
                  <a:pt x="7" y="101"/>
                </a:cubicBezTo>
                <a:cubicBezTo>
                  <a:pt x="9" y="102"/>
                  <a:pt x="9" y="102"/>
                  <a:pt x="9" y="102"/>
                </a:cubicBezTo>
                <a:cubicBezTo>
                  <a:pt x="10" y="102"/>
                  <a:pt x="10" y="102"/>
                  <a:pt x="10" y="102"/>
                </a:cubicBezTo>
                <a:cubicBezTo>
                  <a:pt x="12" y="103"/>
                  <a:pt x="12" y="103"/>
                  <a:pt x="12" y="103"/>
                </a:cubicBezTo>
                <a:cubicBezTo>
                  <a:pt x="12" y="104"/>
                  <a:pt x="12" y="104"/>
                  <a:pt x="12" y="104"/>
                </a:cubicBezTo>
                <a:cubicBezTo>
                  <a:pt x="12" y="105"/>
                  <a:pt x="12" y="105"/>
                  <a:pt x="12" y="105"/>
                </a:cubicBezTo>
                <a:cubicBezTo>
                  <a:pt x="11" y="106"/>
                  <a:pt x="11" y="106"/>
                  <a:pt x="11" y="106"/>
                </a:cubicBezTo>
                <a:cubicBezTo>
                  <a:pt x="11" y="105"/>
                  <a:pt x="11" y="105"/>
                  <a:pt x="11" y="105"/>
                </a:cubicBezTo>
                <a:cubicBezTo>
                  <a:pt x="11" y="103"/>
                  <a:pt x="11" y="103"/>
                  <a:pt x="11" y="103"/>
                </a:cubicBezTo>
                <a:cubicBezTo>
                  <a:pt x="10" y="103"/>
                  <a:pt x="10" y="103"/>
                  <a:pt x="10" y="103"/>
                </a:cubicBezTo>
                <a:cubicBezTo>
                  <a:pt x="9" y="103"/>
                  <a:pt x="9" y="103"/>
                  <a:pt x="9" y="103"/>
                </a:cubicBezTo>
                <a:cubicBezTo>
                  <a:pt x="9" y="104"/>
                  <a:pt x="9" y="104"/>
                  <a:pt x="9" y="104"/>
                </a:cubicBezTo>
                <a:cubicBezTo>
                  <a:pt x="9" y="105"/>
                  <a:pt x="9" y="105"/>
                  <a:pt x="9" y="105"/>
                </a:cubicBezTo>
                <a:cubicBezTo>
                  <a:pt x="7" y="104"/>
                  <a:pt x="7" y="104"/>
                  <a:pt x="7" y="104"/>
                </a:cubicBezTo>
                <a:cubicBezTo>
                  <a:pt x="6" y="105"/>
                  <a:pt x="6" y="105"/>
                  <a:pt x="6" y="105"/>
                </a:cubicBezTo>
                <a:cubicBezTo>
                  <a:pt x="7" y="106"/>
                  <a:pt x="7" y="106"/>
                  <a:pt x="7" y="106"/>
                </a:cubicBezTo>
                <a:cubicBezTo>
                  <a:pt x="6" y="106"/>
                  <a:pt x="6" y="106"/>
                  <a:pt x="6" y="106"/>
                </a:cubicBezTo>
                <a:cubicBezTo>
                  <a:pt x="6" y="106"/>
                  <a:pt x="6" y="106"/>
                  <a:pt x="6" y="106"/>
                </a:cubicBezTo>
                <a:cubicBezTo>
                  <a:pt x="5" y="105"/>
                  <a:pt x="5" y="105"/>
                  <a:pt x="5" y="105"/>
                </a:cubicBezTo>
                <a:cubicBezTo>
                  <a:pt x="4" y="105"/>
                  <a:pt x="4" y="105"/>
                  <a:pt x="4" y="105"/>
                </a:cubicBezTo>
                <a:cubicBezTo>
                  <a:pt x="4" y="106"/>
                  <a:pt x="4" y="106"/>
                  <a:pt x="4" y="106"/>
                </a:cubicBezTo>
                <a:cubicBezTo>
                  <a:pt x="4" y="107"/>
                  <a:pt x="4" y="107"/>
                  <a:pt x="4" y="107"/>
                </a:cubicBezTo>
                <a:cubicBezTo>
                  <a:pt x="3" y="106"/>
                  <a:pt x="3" y="106"/>
                  <a:pt x="3" y="106"/>
                </a:cubicBezTo>
                <a:cubicBezTo>
                  <a:pt x="2" y="105"/>
                  <a:pt x="2" y="105"/>
                  <a:pt x="2" y="105"/>
                </a:cubicBezTo>
                <a:cubicBezTo>
                  <a:pt x="2" y="105"/>
                  <a:pt x="2" y="105"/>
                  <a:pt x="2" y="105"/>
                </a:cubicBezTo>
                <a:cubicBezTo>
                  <a:pt x="2" y="106"/>
                  <a:pt x="2" y="106"/>
                  <a:pt x="2" y="106"/>
                </a:cubicBezTo>
                <a:cubicBezTo>
                  <a:pt x="3" y="107"/>
                  <a:pt x="3" y="107"/>
                  <a:pt x="3" y="107"/>
                </a:cubicBezTo>
                <a:cubicBezTo>
                  <a:pt x="2" y="107"/>
                  <a:pt x="2" y="107"/>
                  <a:pt x="2" y="107"/>
                </a:cubicBezTo>
                <a:cubicBezTo>
                  <a:pt x="3" y="108"/>
                  <a:pt x="3" y="108"/>
                  <a:pt x="3" y="108"/>
                </a:cubicBezTo>
                <a:cubicBezTo>
                  <a:pt x="4" y="107"/>
                  <a:pt x="4" y="107"/>
                  <a:pt x="4" y="107"/>
                </a:cubicBezTo>
                <a:cubicBezTo>
                  <a:pt x="6" y="108"/>
                  <a:pt x="6" y="108"/>
                  <a:pt x="6" y="108"/>
                </a:cubicBezTo>
                <a:cubicBezTo>
                  <a:pt x="7" y="109"/>
                  <a:pt x="7" y="109"/>
                  <a:pt x="7" y="109"/>
                </a:cubicBezTo>
                <a:cubicBezTo>
                  <a:pt x="9" y="109"/>
                  <a:pt x="9" y="109"/>
                  <a:pt x="9" y="109"/>
                </a:cubicBezTo>
                <a:cubicBezTo>
                  <a:pt x="10" y="108"/>
                  <a:pt x="10" y="108"/>
                  <a:pt x="10" y="108"/>
                </a:cubicBezTo>
                <a:cubicBezTo>
                  <a:pt x="11" y="108"/>
                  <a:pt x="11" y="108"/>
                  <a:pt x="11" y="108"/>
                </a:cubicBezTo>
                <a:cubicBezTo>
                  <a:pt x="9" y="109"/>
                  <a:pt x="9" y="109"/>
                  <a:pt x="9" y="109"/>
                </a:cubicBezTo>
                <a:cubicBezTo>
                  <a:pt x="8" y="109"/>
                  <a:pt x="8" y="109"/>
                  <a:pt x="8" y="109"/>
                </a:cubicBezTo>
                <a:cubicBezTo>
                  <a:pt x="7" y="109"/>
                  <a:pt x="7" y="109"/>
                  <a:pt x="7" y="109"/>
                </a:cubicBezTo>
                <a:cubicBezTo>
                  <a:pt x="5" y="108"/>
                  <a:pt x="5" y="108"/>
                  <a:pt x="5" y="108"/>
                </a:cubicBezTo>
                <a:cubicBezTo>
                  <a:pt x="4" y="109"/>
                  <a:pt x="4" y="109"/>
                  <a:pt x="4" y="109"/>
                </a:cubicBezTo>
                <a:cubicBezTo>
                  <a:pt x="3" y="108"/>
                  <a:pt x="3" y="108"/>
                  <a:pt x="3" y="108"/>
                </a:cubicBezTo>
                <a:cubicBezTo>
                  <a:pt x="2" y="109"/>
                  <a:pt x="2" y="109"/>
                  <a:pt x="2" y="109"/>
                </a:cubicBezTo>
                <a:cubicBezTo>
                  <a:pt x="1" y="109"/>
                  <a:pt x="1" y="109"/>
                  <a:pt x="1" y="109"/>
                </a:cubicBezTo>
                <a:cubicBezTo>
                  <a:pt x="1" y="110"/>
                  <a:pt x="1" y="110"/>
                  <a:pt x="1" y="110"/>
                </a:cubicBezTo>
                <a:cubicBezTo>
                  <a:pt x="3" y="111"/>
                  <a:pt x="3" y="111"/>
                  <a:pt x="3" y="111"/>
                </a:cubicBezTo>
                <a:cubicBezTo>
                  <a:pt x="2" y="112"/>
                  <a:pt x="2" y="112"/>
                  <a:pt x="2" y="112"/>
                </a:cubicBezTo>
                <a:cubicBezTo>
                  <a:pt x="3" y="112"/>
                  <a:pt x="3" y="112"/>
                  <a:pt x="3" y="112"/>
                </a:cubicBezTo>
                <a:cubicBezTo>
                  <a:pt x="4" y="112"/>
                  <a:pt x="4" y="112"/>
                  <a:pt x="4" y="112"/>
                </a:cubicBezTo>
                <a:cubicBezTo>
                  <a:pt x="6" y="112"/>
                  <a:pt x="6" y="112"/>
                  <a:pt x="6" y="112"/>
                </a:cubicBezTo>
                <a:cubicBezTo>
                  <a:pt x="4" y="112"/>
                  <a:pt x="4" y="112"/>
                  <a:pt x="4" y="112"/>
                </a:cubicBezTo>
                <a:cubicBezTo>
                  <a:pt x="3" y="112"/>
                  <a:pt x="3" y="112"/>
                  <a:pt x="3" y="112"/>
                </a:cubicBezTo>
                <a:cubicBezTo>
                  <a:pt x="2" y="113"/>
                  <a:pt x="2" y="113"/>
                  <a:pt x="2" y="113"/>
                </a:cubicBezTo>
                <a:cubicBezTo>
                  <a:pt x="2" y="112"/>
                  <a:pt x="2" y="112"/>
                  <a:pt x="2" y="112"/>
                </a:cubicBezTo>
                <a:cubicBezTo>
                  <a:pt x="2" y="113"/>
                  <a:pt x="2" y="113"/>
                  <a:pt x="2" y="113"/>
                </a:cubicBezTo>
                <a:cubicBezTo>
                  <a:pt x="3" y="113"/>
                  <a:pt x="3" y="113"/>
                  <a:pt x="3" y="113"/>
                </a:cubicBezTo>
                <a:cubicBezTo>
                  <a:pt x="3" y="113"/>
                  <a:pt x="3" y="113"/>
                  <a:pt x="3" y="113"/>
                </a:cubicBezTo>
                <a:cubicBezTo>
                  <a:pt x="2" y="114"/>
                  <a:pt x="2" y="114"/>
                  <a:pt x="2" y="114"/>
                </a:cubicBezTo>
                <a:cubicBezTo>
                  <a:pt x="2" y="114"/>
                  <a:pt x="2" y="114"/>
                  <a:pt x="2" y="114"/>
                </a:cubicBezTo>
                <a:cubicBezTo>
                  <a:pt x="2" y="115"/>
                  <a:pt x="2" y="115"/>
                  <a:pt x="2" y="115"/>
                </a:cubicBezTo>
                <a:cubicBezTo>
                  <a:pt x="2" y="115"/>
                  <a:pt x="2" y="115"/>
                  <a:pt x="2" y="115"/>
                </a:cubicBezTo>
                <a:cubicBezTo>
                  <a:pt x="3" y="116"/>
                  <a:pt x="3" y="116"/>
                  <a:pt x="3" y="116"/>
                </a:cubicBezTo>
                <a:cubicBezTo>
                  <a:pt x="4" y="116"/>
                  <a:pt x="4" y="116"/>
                  <a:pt x="4" y="116"/>
                </a:cubicBezTo>
                <a:cubicBezTo>
                  <a:pt x="5" y="115"/>
                  <a:pt x="5" y="115"/>
                  <a:pt x="5" y="115"/>
                </a:cubicBezTo>
                <a:cubicBezTo>
                  <a:pt x="7" y="115"/>
                  <a:pt x="7" y="115"/>
                  <a:pt x="7" y="115"/>
                </a:cubicBezTo>
                <a:cubicBezTo>
                  <a:pt x="8" y="115"/>
                  <a:pt x="8" y="115"/>
                  <a:pt x="8" y="115"/>
                </a:cubicBezTo>
                <a:cubicBezTo>
                  <a:pt x="9" y="115"/>
                  <a:pt x="9" y="115"/>
                  <a:pt x="9" y="115"/>
                </a:cubicBezTo>
                <a:cubicBezTo>
                  <a:pt x="9" y="115"/>
                  <a:pt x="9" y="115"/>
                  <a:pt x="9" y="115"/>
                </a:cubicBezTo>
                <a:cubicBezTo>
                  <a:pt x="9" y="114"/>
                  <a:pt x="9" y="114"/>
                  <a:pt x="9" y="114"/>
                </a:cubicBezTo>
                <a:cubicBezTo>
                  <a:pt x="10" y="114"/>
                  <a:pt x="10" y="114"/>
                  <a:pt x="10" y="114"/>
                </a:cubicBezTo>
                <a:cubicBezTo>
                  <a:pt x="11" y="115"/>
                  <a:pt x="11" y="115"/>
                  <a:pt x="11" y="115"/>
                </a:cubicBezTo>
                <a:cubicBezTo>
                  <a:pt x="12" y="115"/>
                  <a:pt x="12" y="115"/>
                  <a:pt x="12" y="115"/>
                </a:cubicBezTo>
                <a:cubicBezTo>
                  <a:pt x="13" y="114"/>
                  <a:pt x="13" y="114"/>
                  <a:pt x="13" y="114"/>
                </a:cubicBezTo>
                <a:cubicBezTo>
                  <a:pt x="13" y="114"/>
                  <a:pt x="13" y="114"/>
                  <a:pt x="13" y="114"/>
                </a:cubicBezTo>
                <a:cubicBezTo>
                  <a:pt x="13" y="114"/>
                  <a:pt x="13" y="114"/>
                  <a:pt x="13" y="114"/>
                </a:cubicBezTo>
                <a:cubicBezTo>
                  <a:pt x="13" y="115"/>
                  <a:pt x="13" y="115"/>
                  <a:pt x="13" y="115"/>
                </a:cubicBezTo>
                <a:cubicBezTo>
                  <a:pt x="14" y="115"/>
                  <a:pt x="14" y="115"/>
                  <a:pt x="14" y="115"/>
                </a:cubicBezTo>
                <a:cubicBezTo>
                  <a:pt x="14" y="114"/>
                  <a:pt x="14" y="114"/>
                  <a:pt x="14" y="114"/>
                </a:cubicBezTo>
                <a:cubicBezTo>
                  <a:pt x="14" y="114"/>
                  <a:pt x="14" y="114"/>
                  <a:pt x="14" y="114"/>
                </a:cubicBezTo>
                <a:cubicBezTo>
                  <a:pt x="15" y="112"/>
                  <a:pt x="15" y="112"/>
                  <a:pt x="15" y="112"/>
                </a:cubicBezTo>
                <a:cubicBezTo>
                  <a:pt x="15" y="113"/>
                  <a:pt x="15" y="113"/>
                  <a:pt x="15" y="113"/>
                </a:cubicBezTo>
                <a:cubicBezTo>
                  <a:pt x="16" y="115"/>
                  <a:pt x="16" y="115"/>
                  <a:pt x="16" y="115"/>
                </a:cubicBezTo>
                <a:cubicBezTo>
                  <a:pt x="15" y="116"/>
                  <a:pt x="15" y="116"/>
                  <a:pt x="15" y="116"/>
                </a:cubicBezTo>
                <a:cubicBezTo>
                  <a:pt x="13" y="116"/>
                  <a:pt x="13" y="116"/>
                  <a:pt x="13" y="116"/>
                </a:cubicBezTo>
                <a:cubicBezTo>
                  <a:pt x="13" y="117"/>
                  <a:pt x="13" y="117"/>
                  <a:pt x="13" y="117"/>
                </a:cubicBezTo>
                <a:cubicBezTo>
                  <a:pt x="13" y="117"/>
                  <a:pt x="13" y="117"/>
                  <a:pt x="13" y="117"/>
                </a:cubicBezTo>
                <a:cubicBezTo>
                  <a:pt x="12" y="118"/>
                  <a:pt x="12" y="118"/>
                  <a:pt x="12" y="118"/>
                </a:cubicBezTo>
                <a:cubicBezTo>
                  <a:pt x="11" y="118"/>
                  <a:pt x="11" y="118"/>
                  <a:pt x="11" y="118"/>
                </a:cubicBezTo>
                <a:cubicBezTo>
                  <a:pt x="11" y="117"/>
                  <a:pt x="11" y="117"/>
                  <a:pt x="11" y="117"/>
                </a:cubicBezTo>
                <a:cubicBezTo>
                  <a:pt x="12" y="117"/>
                  <a:pt x="12" y="117"/>
                  <a:pt x="12" y="117"/>
                </a:cubicBezTo>
                <a:cubicBezTo>
                  <a:pt x="12" y="116"/>
                  <a:pt x="12" y="116"/>
                  <a:pt x="12" y="116"/>
                </a:cubicBezTo>
                <a:cubicBezTo>
                  <a:pt x="10" y="116"/>
                  <a:pt x="10" y="116"/>
                  <a:pt x="10" y="116"/>
                </a:cubicBezTo>
                <a:cubicBezTo>
                  <a:pt x="9" y="117"/>
                  <a:pt x="9" y="117"/>
                  <a:pt x="9" y="117"/>
                </a:cubicBezTo>
                <a:cubicBezTo>
                  <a:pt x="9" y="117"/>
                  <a:pt x="9" y="117"/>
                  <a:pt x="9" y="117"/>
                </a:cubicBezTo>
                <a:cubicBezTo>
                  <a:pt x="8" y="116"/>
                  <a:pt x="8" y="116"/>
                  <a:pt x="8" y="116"/>
                </a:cubicBezTo>
                <a:cubicBezTo>
                  <a:pt x="7" y="116"/>
                  <a:pt x="7" y="116"/>
                  <a:pt x="7" y="116"/>
                </a:cubicBezTo>
                <a:cubicBezTo>
                  <a:pt x="6" y="116"/>
                  <a:pt x="6" y="116"/>
                  <a:pt x="6" y="116"/>
                </a:cubicBezTo>
                <a:cubicBezTo>
                  <a:pt x="5" y="116"/>
                  <a:pt x="5" y="116"/>
                  <a:pt x="5" y="116"/>
                </a:cubicBezTo>
                <a:cubicBezTo>
                  <a:pt x="3" y="117"/>
                  <a:pt x="3" y="117"/>
                  <a:pt x="3" y="117"/>
                </a:cubicBezTo>
                <a:cubicBezTo>
                  <a:pt x="3" y="117"/>
                  <a:pt x="3" y="117"/>
                  <a:pt x="3" y="117"/>
                </a:cubicBezTo>
                <a:cubicBezTo>
                  <a:pt x="2" y="116"/>
                  <a:pt x="2" y="116"/>
                  <a:pt x="2" y="116"/>
                </a:cubicBezTo>
                <a:cubicBezTo>
                  <a:pt x="1" y="116"/>
                  <a:pt x="1" y="116"/>
                  <a:pt x="1" y="116"/>
                </a:cubicBezTo>
                <a:cubicBezTo>
                  <a:pt x="2" y="118"/>
                  <a:pt x="2" y="118"/>
                  <a:pt x="2" y="118"/>
                </a:cubicBezTo>
                <a:cubicBezTo>
                  <a:pt x="1" y="118"/>
                  <a:pt x="1" y="118"/>
                  <a:pt x="1" y="118"/>
                </a:cubicBezTo>
                <a:cubicBezTo>
                  <a:pt x="2" y="119"/>
                  <a:pt x="2" y="119"/>
                  <a:pt x="2" y="119"/>
                </a:cubicBezTo>
                <a:cubicBezTo>
                  <a:pt x="3" y="118"/>
                  <a:pt x="3" y="118"/>
                  <a:pt x="3" y="118"/>
                </a:cubicBezTo>
                <a:cubicBezTo>
                  <a:pt x="3" y="118"/>
                  <a:pt x="3" y="118"/>
                  <a:pt x="3" y="118"/>
                </a:cubicBezTo>
                <a:cubicBezTo>
                  <a:pt x="4" y="118"/>
                  <a:pt x="4" y="118"/>
                  <a:pt x="4" y="118"/>
                </a:cubicBezTo>
                <a:cubicBezTo>
                  <a:pt x="3" y="119"/>
                  <a:pt x="3" y="119"/>
                  <a:pt x="3" y="119"/>
                </a:cubicBezTo>
                <a:cubicBezTo>
                  <a:pt x="3" y="120"/>
                  <a:pt x="3" y="120"/>
                  <a:pt x="3" y="120"/>
                </a:cubicBezTo>
                <a:cubicBezTo>
                  <a:pt x="3" y="120"/>
                  <a:pt x="3" y="120"/>
                  <a:pt x="3" y="120"/>
                </a:cubicBezTo>
                <a:cubicBezTo>
                  <a:pt x="2" y="120"/>
                  <a:pt x="2" y="120"/>
                  <a:pt x="2" y="120"/>
                </a:cubicBezTo>
                <a:cubicBezTo>
                  <a:pt x="2" y="121"/>
                  <a:pt x="2" y="121"/>
                  <a:pt x="2" y="121"/>
                </a:cubicBezTo>
                <a:cubicBezTo>
                  <a:pt x="3" y="122"/>
                  <a:pt x="3" y="122"/>
                  <a:pt x="3" y="122"/>
                </a:cubicBezTo>
                <a:cubicBezTo>
                  <a:pt x="5" y="120"/>
                  <a:pt x="5" y="120"/>
                  <a:pt x="5" y="120"/>
                </a:cubicBezTo>
                <a:cubicBezTo>
                  <a:pt x="6" y="120"/>
                  <a:pt x="6" y="120"/>
                  <a:pt x="6" y="120"/>
                </a:cubicBezTo>
                <a:cubicBezTo>
                  <a:pt x="6" y="121"/>
                  <a:pt x="6" y="121"/>
                  <a:pt x="6" y="121"/>
                </a:cubicBezTo>
                <a:cubicBezTo>
                  <a:pt x="6" y="122"/>
                  <a:pt x="6" y="122"/>
                  <a:pt x="6" y="122"/>
                </a:cubicBezTo>
                <a:cubicBezTo>
                  <a:pt x="4" y="123"/>
                  <a:pt x="4" y="123"/>
                  <a:pt x="4" y="123"/>
                </a:cubicBezTo>
                <a:cubicBezTo>
                  <a:pt x="5" y="123"/>
                  <a:pt x="5" y="123"/>
                  <a:pt x="5" y="123"/>
                </a:cubicBezTo>
                <a:cubicBezTo>
                  <a:pt x="5" y="123"/>
                  <a:pt x="5" y="123"/>
                  <a:pt x="5" y="123"/>
                </a:cubicBezTo>
                <a:cubicBezTo>
                  <a:pt x="5" y="124"/>
                  <a:pt x="5" y="124"/>
                  <a:pt x="5" y="124"/>
                </a:cubicBezTo>
                <a:cubicBezTo>
                  <a:pt x="6" y="125"/>
                  <a:pt x="6" y="125"/>
                  <a:pt x="6" y="125"/>
                </a:cubicBezTo>
                <a:cubicBezTo>
                  <a:pt x="5" y="126"/>
                  <a:pt x="5" y="126"/>
                  <a:pt x="5" y="126"/>
                </a:cubicBezTo>
                <a:cubicBezTo>
                  <a:pt x="6" y="126"/>
                  <a:pt x="6" y="126"/>
                  <a:pt x="6" y="126"/>
                </a:cubicBezTo>
                <a:cubicBezTo>
                  <a:pt x="7" y="125"/>
                  <a:pt x="7" y="125"/>
                  <a:pt x="7" y="125"/>
                </a:cubicBezTo>
                <a:cubicBezTo>
                  <a:pt x="7" y="124"/>
                  <a:pt x="7" y="124"/>
                  <a:pt x="7" y="124"/>
                </a:cubicBezTo>
                <a:cubicBezTo>
                  <a:pt x="8" y="123"/>
                  <a:pt x="8" y="123"/>
                  <a:pt x="8" y="123"/>
                </a:cubicBezTo>
                <a:cubicBezTo>
                  <a:pt x="10" y="122"/>
                  <a:pt x="10" y="122"/>
                  <a:pt x="10" y="122"/>
                </a:cubicBezTo>
                <a:cubicBezTo>
                  <a:pt x="11" y="122"/>
                  <a:pt x="11" y="122"/>
                  <a:pt x="11" y="122"/>
                </a:cubicBezTo>
                <a:cubicBezTo>
                  <a:pt x="12" y="122"/>
                  <a:pt x="12" y="122"/>
                  <a:pt x="12" y="122"/>
                </a:cubicBezTo>
                <a:cubicBezTo>
                  <a:pt x="11" y="122"/>
                  <a:pt x="11" y="122"/>
                  <a:pt x="11" y="122"/>
                </a:cubicBezTo>
                <a:cubicBezTo>
                  <a:pt x="10" y="123"/>
                  <a:pt x="10" y="123"/>
                  <a:pt x="10" y="123"/>
                </a:cubicBezTo>
                <a:cubicBezTo>
                  <a:pt x="10" y="125"/>
                  <a:pt x="10" y="125"/>
                  <a:pt x="10" y="125"/>
                </a:cubicBezTo>
                <a:cubicBezTo>
                  <a:pt x="10" y="125"/>
                  <a:pt x="10" y="125"/>
                  <a:pt x="10" y="125"/>
                </a:cubicBezTo>
                <a:cubicBezTo>
                  <a:pt x="10" y="125"/>
                  <a:pt x="10" y="125"/>
                  <a:pt x="10" y="125"/>
                </a:cubicBezTo>
                <a:cubicBezTo>
                  <a:pt x="9" y="123"/>
                  <a:pt x="9" y="123"/>
                  <a:pt x="9" y="123"/>
                </a:cubicBezTo>
                <a:cubicBezTo>
                  <a:pt x="9" y="123"/>
                  <a:pt x="9" y="123"/>
                  <a:pt x="9" y="123"/>
                </a:cubicBezTo>
                <a:cubicBezTo>
                  <a:pt x="8" y="125"/>
                  <a:pt x="8" y="125"/>
                  <a:pt x="8" y="125"/>
                </a:cubicBezTo>
                <a:cubicBezTo>
                  <a:pt x="7" y="125"/>
                  <a:pt x="7" y="125"/>
                  <a:pt x="7" y="125"/>
                </a:cubicBezTo>
                <a:cubicBezTo>
                  <a:pt x="8" y="125"/>
                  <a:pt x="8" y="125"/>
                  <a:pt x="8" y="125"/>
                </a:cubicBezTo>
                <a:cubicBezTo>
                  <a:pt x="7" y="127"/>
                  <a:pt x="7" y="127"/>
                  <a:pt x="7" y="127"/>
                </a:cubicBezTo>
                <a:cubicBezTo>
                  <a:pt x="7" y="127"/>
                  <a:pt x="7" y="127"/>
                  <a:pt x="7" y="127"/>
                </a:cubicBezTo>
                <a:cubicBezTo>
                  <a:pt x="6" y="128"/>
                  <a:pt x="6" y="128"/>
                  <a:pt x="6" y="128"/>
                </a:cubicBezTo>
                <a:cubicBezTo>
                  <a:pt x="7" y="128"/>
                  <a:pt x="7" y="128"/>
                  <a:pt x="7" y="128"/>
                </a:cubicBezTo>
                <a:cubicBezTo>
                  <a:pt x="9" y="128"/>
                  <a:pt x="9" y="128"/>
                  <a:pt x="9" y="128"/>
                </a:cubicBezTo>
                <a:cubicBezTo>
                  <a:pt x="9" y="129"/>
                  <a:pt x="9" y="129"/>
                  <a:pt x="9" y="129"/>
                </a:cubicBezTo>
                <a:cubicBezTo>
                  <a:pt x="8" y="129"/>
                  <a:pt x="8" y="129"/>
                  <a:pt x="8" y="129"/>
                </a:cubicBezTo>
                <a:cubicBezTo>
                  <a:pt x="7" y="129"/>
                  <a:pt x="7" y="129"/>
                  <a:pt x="7" y="129"/>
                </a:cubicBezTo>
                <a:cubicBezTo>
                  <a:pt x="7" y="130"/>
                  <a:pt x="7" y="130"/>
                  <a:pt x="7" y="130"/>
                </a:cubicBezTo>
                <a:cubicBezTo>
                  <a:pt x="6" y="129"/>
                  <a:pt x="6" y="129"/>
                  <a:pt x="6" y="129"/>
                </a:cubicBezTo>
                <a:cubicBezTo>
                  <a:pt x="5" y="130"/>
                  <a:pt x="5" y="130"/>
                  <a:pt x="5" y="130"/>
                </a:cubicBezTo>
                <a:cubicBezTo>
                  <a:pt x="5" y="131"/>
                  <a:pt x="5" y="131"/>
                  <a:pt x="5" y="131"/>
                </a:cubicBezTo>
                <a:cubicBezTo>
                  <a:pt x="5" y="130"/>
                  <a:pt x="5" y="130"/>
                  <a:pt x="5" y="130"/>
                </a:cubicBezTo>
                <a:cubicBezTo>
                  <a:pt x="4" y="130"/>
                  <a:pt x="4" y="130"/>
                  <a:pt x="4" y="130"/>
                </a:cubicBezTo>
                <a:cubicBezTo>
                  <a:pt x="3" y="132"/>
                  <a:pt x="3" y="132"/>
                  <a:pt x="3" y="132"/>
                </a:cubicBezTo>
                <a:cubicBezTo>
                  <a:pt x="3" y="133"/>
                  <a:pt x="3" y="133"/>
                  <a:pt x="3" y="133"/>
                </a:cubicBezTo>
                <a:cubicBezTo>
                  <a:pt x="5" y="134"/>
                  <a:pt x="5" y="134"/>
                  <a:pt x="5" y="134"/>
                </a:cubicBezTo>
                <a:cubicBezTo>
                  <a:pt x="5" y="133"/>
                  <a:pt x="5" y="133"/>
                  <a:pt x="5" y="133"/>
                </a:cubicBezTo>
                <a:cubicBezTo>
                  <a:pt x="6" y="134"/>
                  <a:pt x="6" y="134"/>
                  <a:pt x="6" y="134"/>
                </a:cubicBezTo>
                <a:cubicBezTo>
                  <a:pt x="7" y="133"/>
                  <a:pt x="7" y="133"/>
                  <a:pt x="7" y="133"/>
                </a:cubicBezTo>
                <a:cubicBezTo>
                  <a:pt x="6" y="133"/>
                  <a:pt x="6" y="133"/>
                  <a:pt x="6" y="133"/>
                </a:cubicBezTo>
                <a:cubicBezTo>
                  <a:pt x="7" y="132"/>
                  <a:pt x="7" y="132"/>
                  <a:pt x="7" y="132"/>
                </a:cubicBezTo>
                <a:cubicBezTo>
                  <a:pt x="8" y="133"/>
                  <a:pt x="8" y="133"/>
                  <a:pt x="8" y="133"/>
                </a:cubicBezTo>
                <a:cubicBezTo>
                  <a:pt x="8" y="133"/>
                  <a:pt x="8" y="133"/>
                  <a:pt x="8" y="133"/>
                </a:cubicBezTo>
                <a:cubicBezTo>
                  <a:pt x="8" y="134"/>
                  <a:pt x="8" y="134"/>
                  <a:pt x="8" y="134"/>
                </a:cubicBezTo>
                <a:cubicBezTo>
                  <a:pt x="8" y="135"/>
                  <a:pt x="8" y="135"/>
                  <a:pt x="8" y="135"/>
                </a:cubicBezTo>
                <a:cubicBezTo>
                  <a:pt x="7" y="135"/>
                  <a:pt x="7" y="135"/>
                  <a:pt x="7" y="135"/>
                </a:cubicBezTo>
                <a:cubicBezTo>
                  <a:pt x="8" y="137"/>
                  <a:pt x="8" y="137"/>
                  <a:pt x="8" y="137"/>
                </a:cubicBezTo>
                <a:cubicBezTo>
                  <a:pt x="9" y="137"/>
                  <a:pt x="9" y="137"/>
                  <a:pt x="9" y="137"/>
                </a:cubicBezTo>
                <a:cubicBezTo>
                  <a:pt x="10" y="136"/>
                  <a:pt x="10" y="136"/>
                  <a:pt x="10" y="136"/>
                </a:cubicBezTo>
                <a:cubicBezTo>
                  <a:pt x="11" y="137"/>
                  <a:pt x="11" y="137"/>
                  <a:pt x="11" y="137"/>
                </a:cubicBezTo>
                <a:cubicBezTo>
                  <a:pt x="9" y="137"/>
                  <a:pt x="9" y="137"/>
                  <a:pt x="9" y="137"/>
                </a:cubicBezTo>
                <a:cubicBezTo>
                  <a:pt x="9" y="138"/>
                  <a:pt x="9" y="138"/>
                  <a:pt x="9" y="138"/>
                </a:cubicBezTo>
                <a:cubicBezTo>
                  <a:pt x="9" y="139"/>
                  <a:pt x="9" y="139"/>
                  <a:pt x="9" y="139"/>
                </a:cubicBezTo>
                <a:cubicBezTo>
                  <a:pt x="9" y="139"/>
                  <a:pt x="9" y="139"/>
                  <a:pt x="9" y="139"/>
                </a:cubicBezTo>
                <a:cubicBezTo>
                  <a:pt x="7" y="137"/>
                  <a:pt x="7" y="137"/>
                  <a:pt x="7" y="137"/>
                </a:cubicBezTo>
                <a:cubicBezTo>
                  <a:pt x="6" y="138"/>
                  <a:pt x="6" y="138"/>
                  <a:pt x="6" y="138"/>
                </a:cubicBezTo>
                <a:cubicBezTo>
                  <a:pt x="6" y="137"/>
                  <a:pt x="6" y="137"/>
                  <a:pt x="6" y="137"/>
                </a:cubicBezTo>
                <a:cubicBezTo>
                  <a:pt x="5" y="137"/>
                  <a:pt x="5" y="137"/>
                  <a:pt x="5" y="137"/>
                </a:cubicBezTo>
                <a:cubicBezTo>
                  <a:pt x="5" y="138"/>
                  <a:pt x="5" y="138"/>
                  <a:pt x="5" y="138"/>
                </a:cubicBezTo>
                <a:cubicBezTo>
                  <a:pt x="4" y="139"/>
                  <a:pt x="4" y="139"/>
                  <a:pt x="4" y="139"/>
                </a:cubicBezTo>
                <a:cubicBezTo>
                  <a:pt x="6" y="141"/>
                  <a:pt x="6" y="141"/>
                  <a:pt x="6" y="141"/>
                </a:cubicBezTo>
                <a:cubicBezTo>
                  <a:pt x="7" y="142"/>
                  <a:pt x="7" y="142"/>
                  <a:pt x="7" y="142"/>
                </a:cubicBezTo>
                <a:cubicBezTo>
                  <a:pt x="9" y="143"/>
                  <a:pt x="9" y="143"/>
                  <a:pt x="9" y="143"/>
                </a:cubicBezTo>
                <a:cubicBezTo>
                  <a:pt x="11" y="144"/>
                  <a:pt x="11" y="144"/>
                  <a:pt x="11" y="144"/>
                </a:cubicBezTo>
                <a:cubicBezTo>
                  <a:pt x="11" y="145"/>
                  <a:pt x="11" y="145"/>
                  <a:pt x="11" y="145"/>
                </a:cubicBezTo>
                <a:cubicBezTo>
                  <a:pt x="11" y="145"/>
                  <a:pt x="11" y="145"/>
                  <a:pt x="11" y="145"/>
                </a:cubicBezTo>
                <a:cubicBezTo>
                  <a:pt x="12" y="146"/>
                  <a:pt x="12" y="146"/>
                  <a:pt x="12" y="146"/>
                </a:cubicBezTo>
                <a:cubicBezTo>
                  <a:pt x="12" y="146"/>
                  <a:pt x="12" y="146"/>
                  <a:pt x="12" y="146"/>
                </a:cubicBezTo>
                <a:cubicBezTo>
                  <a:pt x="12" y="144"/>
                  <a:pt x="12" y="144"/>
                  <a:pt x="12" y="144"/>
                </a:cubicBezTo>
                <a:cubicBezTo>
                  <a:pt x="13" y="144"/>
                  <a:pt x="13" y="144"/>
                  <a:pt x="13" y="144"/>
                </a:cubicBezTo>
                <a:cubicBezTo>
                  <a:pt x="14" y="145"/>
                  <a:pt x="14" y="145"/>
                  <a:pt x="14" y="145"/>
                </a:cubicBezTo>
                <a:cubicBezTo>
                  <a:pt x="13" y="145"/>
                  <a:pt x="13" y="145"/>
                  <a:pt x="13" y="145"/>
                </a:cubicBezTo>
                <a:cubicBezTo>
                  <a:pt x="15" y="147"/>
                  <a:pt x="15" y="147"/>
                  <a:pt x="15" y="147"/>
                </a:cubicBezTo>
                <a:cubicBezTo>
                  <a:pt x="15" y="146"/>
                  <a:pt x="15" y="146"/>
                  <a:pt x="15" y="146"/>
                </a:cubicBezTo>
                <a:cubicBezTo>
                  <a:pt x="16" y="146"/>
                  <a:pt x="16" y="146"/>
                  <a:pt x="16" y="146"/>
                </a:cubicBezTo>
                <a:cubicBezTo>
                  <a:pt x="17" y="146"/>
                  <a:pt x="17" y="146"/>
                  <a:pt x="17" y="146"/>
                </a:cubicBezTo>
                <a:cubicBezTo>
                  <a:pt x="18" y="145"/>
                  <a:pt x="18" y="145"/>
                  <a:pt x="18" y="145"/>
                </a:cubicBezTo>
                <a:cubicBezTo>
                  <a:pt x="19" y="145"/>
                  <a:pt x="19" y="145"/>
                  <a:pt x="19" y="145"/>
                </a:cubicBezTo>
                <a:cubicBezTo>
                  <a:pt x="19" y="144"/>
                  <a:pt x="19" y="144"/>
                  <a:pt x="19" y="144"/>
                </a:cubicBezTo>
                <a:cubicBezTo>
                  <a:pt x="19" y="144"/>
                  <a:pt x="19" y="144"/>
                  <a:pt x="19" y="144"/>
                </a:cubicBezTo>
                <a:cubicBezTo>
                  <a:pt x="20" y="145"/>
                  <a:pt x="20" y="145"/>
                  <a:pt x="20" y="145"/>
                </a:cubicBezTo>
                <a:cubicBezTo>
                  <a:pt x="21" y="145"/>
                  <a:pt x="21" y="145"/>
                  <a:pt x="21" y="145"/>
                </a:cubicBezTo>
                <a:cubicBezTo>
                  <a:pt x="23" y="143"/>
                  <a:pt x="23" y="143"/>
                  <a:pt x="23" y="143"/>
                </a:cubicBezTo>
                <a:cubicBezTo>
                  <a:pt x="23" y="142"/>
                  <a:pt x="23" y="142"/>
                  <a:pt x="23" y="142"/>
                </a:cubicBezTo>
                <a:cubicBezTo>
                  <a:pt x="22" y="141"/>
                  <a:pt x="22" y="141"/>
                  <a:pt x="22" y="141"/>
                </a:cubicBezTo>
                <a:cubicBezTo>
                  <a:pt x="23" y="142"/>
                  <a:pt x="23" y="142"/>
                  <a:pt x="23" y="142"/>
                </a:cubicBezTo>
                <a:cubicBezTo>
                  <a:pt x="25" y="141"/>
                  <a:pt x="25" y="141"/>
                  <a:pt x="25" y="141"/>
                </a:cubicBezTo>
                <a:cubicBezTo>
                  <a:pt x="24" y="140"/>
                  <a:pt x="24" y="140"/>
                  <a:pt x="24" y="140"/>
                </a:cubicBezTo>
                <a:cubicBezTo>
                  <a:pt x="25" y="140"/>
                  <a:pt x="25" y="140"/>
                  <a:pt x="25" y="140"/>
                </a:cubicBezTo>
                <a:cubicBezTo>
                  <a:pt x="25" y="139"/>
                  <a:pt x="25" y="139"/>
                  <a:pt x="25" y="139"/>
                </a:cubicBezTo>
                <a:cubicBezTo>
                  <a:pt x="26" y="138"/>
                  <a:pt x="26" y="138"/>
                  <a:pt x="26" y="138"/>
                </a:cubicBezTo>
                <a:cubicBezTo>
                  <a:pt x="27" y="138"/>
                  <a:pt x="27" y="138"/>
                  <a:pt x="27" y="138"/>
                </a:cubicBezTo>
                <a:cubicBezTo>
                  <a:pt x="27" y="137"/>
                  <a:pt x="27" y="137"/>
                  <a:pt x="27" y="137"/>
                </a:cubicBezTo>
                <a:cubicBezTo>
                  <a:pt x="26" y="136"/>
                  <a:pt x="26" y="136"/>
                  <a:pt x="26" y="136"/>
                </a:cubicBezTo>
                <a:cubicBezTo>
                  <a:pt x="27" y="135"/>
                  <a:pt x="27" y="135"/>
                  <a:pt x="27" y="135"/>
                </a:cubicBezTo>
                <a:cubicBezTo>
                  <a:pt x="26" y="134"/>
                  <a:pt x="26" y="134"/>
                  <a:pt x="26" y="134"/>
                </a:cubicBezTo>
                <a:cubicBezTo>
                  <a:pt x="25" y="133"/>
                  <a:pt x="25" y="133"/>
                  <a:pt x="25" y="133"/>
                </a:cubicBezTo>
                <a:cubicBezTo>
                  <a:pt x="25" y="132"/>
                  <a:pt x="25" y="132"/>
                  <a:pt x="25" y="132"/>
                </a:cubicBezTo>
                <a:cubicBezTo>
                  <a:pt x="25" y="133"/>
                  <a:pt x="25" y="133"/>
                  <a:pt x="25" y="133"/>
                </a:cubicBezTo>
                <a:cubicBezTo>
                  <a:pt x="26" y="134"/>
                  <a:pt x="26" y="134"/>
                  <a:pt x="26" y="134"/>
                </a:cubicBezTo>
                <a:cubicBezTo>
                  <a:pt x="27" y="136"/>
                  <a:pt x="27" y="136"/>
                  <a:pt x="27" y="136"/>
                </a:cubicBezTo>
                <a:cubicBezTo>
                  <a:pt x="27" y="136"/>
                  <a:pt x="27" y="136"/>
                  <a:pt x="27" y="136"/>
                </a:cubicBezTo>
                <a:cubicBezTo>
                  <a:pt x="28" y="136"/>
                  <a:pt x="28" y="136"/>
                  <a:pt x="28" y="136"/>
                </a:cubicBezTo>
                <a:cubicBezTo>
                  <a:pt x="28" y="137"/>
                  <a:pt x="28" y="137"/>
                  <a:pt x="28" y="137"/>
                </a:cubicBezTo>
                <a:cubicBezTo>
                  <a:pt x="28" y="138"/>
                  <a:pt x="28" y="138"/>
                  <a:pt x="28" y="138"/>
                </a:cubicBezTo>
                <a:cubicBezTo>
                  <a:pt x="30" y="137"/>
                  <a:pt x="30" y="137"/>
                  <a:pt x="30" y="137"/>
                </a:cubicBezTo>
                <a:cubicBezTo>
                  <a:pt x="29" y="136"/>
                  <a:pt x="29" y="136"/>
                  <a:pt x="29" y="136"/>
                </a:cubicBezTo>
                <a:cubicBezTo>
                  <a:pt x="29" y="136"/>
                  <a:pt x="29" y="136"/>
                  <a:pt x="29" y="136"/>
                </a:cubicBezTo>
                <a:cubicBezTo>
                  <a:pt x="29" y="135"/>
                  <a:pt x="29" y="135"/>
                  <a:pt x="29" y="135"/>
                </a:cubicBezTo>
                <a:cubicBezTo>
                  <a:pt x="30" y="136"/>
                  <a:pt x="30" y="136"/>
                  <a:pt x="30" y="136"/>
                </a:cubicBezTo>
                <a:cubicBezTo>
                  <a:pt x="30" y="137"/>
                  <a:pt x="30" y="137"/>
                  <a:pt x="30" y="137"/>
                </a:cubicBezTo>
                <a:cubicBezTo>
                  <a:pt x="32" y="135"/>
                  <a:pt x="32" y="135"/>
                  <a:pt x="32" y="135"/>
                </a:cubicBezTo>
                <a:cubicBezTo>
                  <a:pt x="32" y="134"/>
                  <a:pt x="32" y="134"/>
                  <a:pt x="32" y="134"/>
                </a:cubicBezTo>
                <a:cubicBezTo>
                  <a:pt x="32" y="132"/>
                  <a:pt x="32" y="132"/>
                  <a:pt x="32" y="132"/>
                </a:cubicBezTo>
                <a:cubicBezTo>
                  <a:pt x="31" y="132"/>
                  <a:pt x="31" y="132"/>
                  <a:pt x="31" y="132"/>
                </a:cubicBezTo>
                <a:cubicBezTo>
                  <a:pt x="31" y="131"/>
                  <a:pt x="31" y="131"/>
                  <a:pt x="31" y="131"/>
                </a:cubicBezTo>
                <a:cubicBezTo>
                  <a:pt x="31" y="131"/>
                  <a:pt x="31" y="131"/>
                  <a:pt x="31" y="131"/>
                </a:cubicBezTo>
                <a:cubicBezTo>
                  <a:pt x="31" y="131"/>
                  <a:pt x="31" y="131"/>
                  <a:pt x="31" y="131"/>
                </a:cubicBezTo>
                <a:cubicBezTo>
                  <a:pt x="32" y="130"/>
                  <a:pt x="32" y="130"/>
                  <a:pt x="32" y="130"/>
                </a:cubicBezTo>
                <a:cubicBezTo>
                  <a:pt x="32" y="130"/>
                  <a:pt x="32" y="130"/>
                  <a:pt x="32" y="130"/>
                </a:cubicBezTo>
                <a:cubicBezTo>
                  <a:pt x="32" y="129"/>
                  <a:pt x="32" y="129"/>
                  <a:pt x="32" y="129"/>
                </a:cubicBezTo>
                <a:cubicBezTo>
                  <a:pt x="32" y="128"/>
                  <a:pt x="32" y="128"/>
                  <a:pt x="32" y="128"/>
                </a:cubicBezTo>
                <a:cubicBezTo>
                  <a:pt x="33" y="127"/>
                  <a:pt x="33" y="127"/>
                  <a:pt x="33" y="127"/>
                </a:cubicBezTo>
                <a:cubicBezTo>
                  <a:pt x="34" y="128"/>
                  <a:pt x="34" y="128"/>
                  <a:pt x="34" y="128"/>
                </a:cubicBezTo>
                <a:cubicBezTo>
                  <a:pt x="33" y="129"/>
                  <a:pt x="33" y="129"/>
                  <a:pt x="33" y="129"/>
                </a:cubicBezTo>
                <a:cubicBezTo>
                  <a:pt x="33" y="131"/>
                  <a:pt x="33" y="131"/>
                  <a:pt x="33" y="131"/>
                </a:cubicBezTo>
                <a:cubicBezTo>
                  <a:pt x="33" y="132"/>
                  <a:pt x="33" y="132"/>
                  <a:pt x="33" y="132"/>
                </a:cubicBezTo>
                <a:cubicBezTo>
                  <a:pt x="34" y="133"/>
                  <a:pt x="34" y="133"/>
                  <a:pt x="34" y="133"/>
                </a:cubicBezTo>
                <a:cubicBezTo>
                  <a:pt x="34" y="134"/>
                  <a:pt x="34" y="134"/>
                  <a:pt x="34" y="134"/>
                </a:cubicBezTo>
                <a:cubicBezTo>
                  <a:pt x="35" y="135"/>
                  <a:pt x="35" y="135"/>
                  <a:pt x="35" y="135"/>
                </a:cubicBezTo>
                <a:cubicBezTo>
                  <a:pt x="37" y="135"/>
                  <a:pt x="37" y="135"/>
                  <a:pt x="37" y="135"/>
                </a:cubicBezTo>
                <a:cubicBezTo>
                  <a:pt x="37" y="135"/>
                  <a:pt x="37" y="135"/>
                  <a:pt x="37" y="135"/>
                </a:cubicBezTo>
                <a:cubicBezTo>
                  <a:pt x="37" y="136"/>
                  <a:pt x="37" y="136"/>
                  <a:pt x="37" y="136"/>
                </a:cubicBezTo>
                <a:cubicBezTo>
                  <a:pt x="38" y="137"/>
                  <a:pt x="38" y="137"/>
                  <a:pt x="38" y="137"/>
                </a:cubicBezTo>
                <a:cubicBezTo>
                  <a:pt x="38" y="138"/>
                  <a:pt x="38" y="138"/>
                  <a:pt x="38" y="138"/>
                </a:cubicBezTo>
                <a:cubicBezTo>
                  <a:pt x="39" y="137"/>
                  <a:pt x="39" y="137"/>
                  <a:pt x="39" y="137"/>
                </a:cubicBezTo>
                <a:cubicBezTo>
                  <a:pt x="39" y="133"/>
                  <a:pt x="39" y="133"/>
                  <a:pt x="39" y="133"/>
                </a:cubicBezTo>
                <a:cubicBezTo>
                  <a:pt x="38" y="131"/>
                  <a:pt x="38" y="131"/>
                  <a:pt x="38" y="131"/>
                </a:cubicBezTo>
                <a:cubicBezTo>
                  <a:pt x="38" y="130"/>
                  <a:pt x="38" y="130"/>
                  <a:pt x="38" y="130"/>
                </a:cubicBezTo>
                <a:cubicBezTo>
                  <a:pt x="39" y="129"/>
                  <a:pt x="39" y="129"/>
                  <a:pt x="39" y="129"/>
                </a:cubicBezTo>
                <a:cubicBezTo>
                  <a:pt x="39" y="128"/>
                  <a:pt x="39" y="128"/>
                  <a:pt x="39" y="128"/>
                </a:cubicBezTo>
                <a:cubicBezTo>
                  <a:pt x="39" y="127"/>
                  <a:pt x="39" y="127"/>
                  <a:pt x="39" y="127"/>
                </a:cubicBezTo>
                <a:cubicBezTo>
                  <a:pt x="41" y="127"/>
                  <a:pt x="41" y="127"/>
                  <a:pt x="41" y="127"/>
                </a:cubicBezTo>
                <a:cubicBezTo>
                  <a:pt x="41" y="126"/>
                  <a:pt x="41" y="126"/>
                  <a:pt x="41" y="126"/>
                </a:cubicBezTo>
                <a:cubicBezTo>
                  <a:pt x="41" y="125"/>
                  <a:pt x="41" y="125"/>
                  <a:pt x="41" y="125"/>
                </a:cubicBezTo>
                <a:cubicBezTo>
                  <a:pt x="42" y="123"/>
                  <a:pt x="42" y="123"/>
                  <a:pt x="42" y="123"/>
                </a:cubicBezTo>
                <a:cubicBezTo>
                  <a:pt x="41" y="122"/>
                  <a:pt x="41" y="122"/>
                  <a:pt x="41" y="122"/>
                </a:cubicBezTo>
                <a:cubicBezTo>
                  <a:pt x="41" y="119"/>
                  <a:pt x="41" y="119"/>
                  <a:pt x="41" y="119"/>
                </a:cubicBezTo>
                <a:cubicBezTo>
                  <a:pt x="40" y="117"/>
                  <a:pt x="40" y="117"/>
                  <a:pt x="40" y="117"/>
                </a:cubicBezTo>
                <a:cubicBezTo>
                  <a:pt x="40" y="116"/>
                  <a:pt x="40" y="116"/>
                  <a:pt x="40" y="116"/>
                </a:cubicBezTo>
                <a:cubicBezTo>
                  <a:pt x="43" y="115"/>
                  <a:pt x="43" y="115"/>
                  <a:pt x="43" y="115"/>
                </a:cubicBezTo>
                <a:cubicBezTo>
                  <a:pt x="43" y="113"/>
                  <a:pt x="43" y="113"/>
                  <a:pt x="43" y="113"/>
                </a:cubicBezTo>
                <a:cubicBezTo>
                  <a:pt x="43" y="111"/>
                  <a:pt x="43" y="111"/>
                  <a:pt x="43" y="111"/>
                </a:cubicBezTo>
                <a:cubicBezTo>
                  <a:pt x="41" y="109"/>
                  <a:pt x="41" y="109"/>
                  <a:pt x="41" y="109"/>
                </a:cubicBezTo>
                <a:cubicBezTo>
                  <a:pt x="39" y="108"/>
                  <a:pt x="39" y="108"/>
                  <a:pt x="39" y="108"/>
                </a:cubicBezTo>
                <a:cubicBezTo>
                  <a:pt x="39" y="106"/>
                  <a:pt x="39" y="106"/>
                  <a:pt x="39" y="106"/>
                </a:cubicBezTo>
                <a:cubicBezTo>
                  <a:pt x="40" y="103"/>
                  <a:pt x="40" y="103"/>
                  <a:pt x="40" y="103"/>
                </a:cubicBezTo>
                <a:cubicBezTo>
                  <a:pt x="39" y="101"/>
                  <a:pt x="39" y="101"/>
                  <a:pt x="39" y="101"/>
                </a:cubicBezTo>
                <a:cubicBezTo>
                  <a:pt x="39" y="99"/>
                  <a:pt x="39" y="99"/>
                  <a:pt x="39" y="99"/>
                </a:cubicBezTo>
                <a:cubicBezTo>
                  <a:pt x="39" y="97"/>
                  <a:pt x="39" y="97"/>
                  <a:pt x="39" y="97"/>
                </a:cubicBezTo>
                <a:cubicBezTo>
                  <a:pt x="39" y="94"/>
                  <a:pt x="39" y="94"/>
                  <a:pt x="39" y="94"/>
                </a:cubicBezTo>
                <a:cubicBezTo>
                  <a:pt x="38" y="91"/>
                  <a:pt x="38" y="91"/>
                  <a:pt x="38" y="91"/>
                </a:cubicBezTo>
                <a:cubicBezTo>
                  <a:pt x="39" y="88"/>
                  <a:pt x="39" y="88"/>
                  <a:pt x="39" y="88"/>
                </a:cubicBezTo>
                <a:cubicBezTo>
                  <a:pt x="40" y="85"/>
                  <a:pt x="40" y="85"/>
                  <a:pt x="40" y="85"/>
                </a:cubicBezTo>
                <a:cubicBezTo>
                  <a:pt x="41" y="84"/>
                  <a:pt x="41" y="84"/>
                  <a:pt x="41" y="84"/>
                </a:cubicBezTo>
                <a:cubicBezTo>
                  <a:pt x="43" y="85"/>
                  <a:pt x="43" y="85"/>
                  <a:pt x="43" y="85"/>
                </a:cubicBezTo>
                <a:cubicBezTo>
                  <a:pt x="45" y="85"/>
                  <a:pt x="45" y="85"/>
                  <a:pt x="45" y="85"/>
                </a:cubicBezTo>
                <a:cubicBezTo>
                  <a:pt x="46" y="83"/>
                  <a:pt x="46" y="83"/>
                  <a:pt x="46" y="83"/>
                </a:cubicBezTo>
                <a:cubicBezTo>
                  <a:pt x="46" y="81"/>
                  <a:pt x="46" y="81"/>
                  <a:pt x="46" y="81"/>
                </a:cubicBezTo>
                <a:cubicBezTo>
                  <a:pt x="46" y="80"/>
                  <a:pt x="46" y="80"/>
                  <a:pt x="46" y="80"/>
                </a:cubicBezTo>
                <a:cubicBezTo>
                  <a:pt x="46" y="79"/>
                  <a:pt x="46" y="79"/>
                  <a:pt x="46" y="79"/>
                </a:cubicBezTo>
                <a:cubicBezTo>
                  <a:pt x="48" y="73"/>
                  <a:pt x="48" y="73"/>
                  <a:pt x="48" y="73"/>
                </a:cubicBezTo>
                <a:cubicBezTo>
                  <a:pt x="48" y="70"/>
                  <a:pt x="48" y="70"/>
                  <a:pt x="48" y="70"/>
                </a:cubicBezTo>
                <a:cubicBezTo>
                  <a:pt x="48" y="68"/>
                  <a:pt x="48" y="68"/>
                  <a:pt x="48" y="68"/>
                </a:cubicBezTo>
                <a:cubicBezTo>
                  <a:pt x="49" y="66"/>
                  <a:pt x="49" y="66"/>
                  <a:pt x="49" y="66"/>
                </a:cubicBezTo>
                <a:cubicBezTo>
                  <a:pt x="49" y="64"/>
                  <a:pt x="49" y="64"/>
                  <a:pt x="49" y="64"/>
                </a:cubicBezTo>
                <a:cubicBezTo>
                  <a:pt x="48" y="63"/>
                  <a:pt x="48" y="63"/>
                  <a:pt x="48" y="63"/>
                </a:cubicBezTo>
                <a:cubicBezTo>
                  <a:pt x="48" y="62"/>
                  <a:pt x="48" y="62"/>
                  <a:pt x="48" y="62"/>
                </a:cubicBezTo>
                <a:cubicBezTo>
                  <a:pt x="50" y="61"/>
                  <a:pt x="50" y="61"/>
                  <a:pt x="50" y="61"/>
                </a:cubicBezTo>
                <a:cubicBezTo>
                  <a:pt x="52" y="60"/>
                  <a:pt x="52" y="60"/>
                  <a:pt x="52" y="60"/>
                </a:cubicBezTo>
                <a:cubicBezTo>
                  <a:pt x="53" y="59"/>
                  <a:pt x="53" y="59"/>
                  <a:pt x="53" y="59"/>
                </a:cubicBezTo>
                <a:cubicBezTo>
                  <a:pt x="53" y="58"/>
                  <a:pt x="53" y="58"/>
                  <a:pt x="53" y="58"/>
                </a:cubicBezTo>
                <a:cubicBezTo>
                  <a:pt x="55" y="55"/>
                  <a:pt x="55" y="55"/>
                  <a:pt x="55" y="55"/>
                </a:cubicBezTo>
                <a:cubicBezTo>
                  <a:pt x="57" y="53"/>
                  <a:pt x="57" y="53"/>
                  <a:pt x="57" y="53"/>
                </a:cubicBezTo>
                <a:cubicBezTo>
                  <a:pt x="57" y="51"/>
                  <a:pt x="57" y="51"/>
                  <a:pt x="57" y="51"/>
                </a:cubicBezTo>
                <a:cubicBezTo>
                  <a:pt x="57" y="49"/>
                  <a:pt x="57" y="49"/>
                  <a:pt x="57" y="49"/>
                </a:cubicBezTo>
                <a:cubicBezTo>
                  <a:pt x="56" y="49"/>
                  <a:pt x="56" y="49"/>
                  <a:pt x="56" y="49"/>
                </a:cubicBezTo>
                <a:cubicBezTo>
                  <a:pt x="56" y="46"/>
                  <a:pt x="56" y="46"/>
                  <a:pt x="56" y="46"/>
                </a:cubicBezTo>
                <a:cubicBezTo>
                  <a:pt x="57" y="45"/>
                  <a:pt x="57" y="45"/>
                  <a:pt x="57" y="45"/>
                </a:cubicBezTo>
                <a:cubicBezTo>
                  <a:pt x="58" y="44"/>
                  <a:pt x="58" y="44"/>
                  <a:pt x="58" y="44"/>
                </a:cubicBezTo>
                <a:cubicBezTo>
                  <a:pt x="58" y="43"/>
                  <a:pt x="58" y="43"/>
                  <a:pt x="58" y="43"/>
                </a:cubicBezTo>
                <a:cubicBezTo>
                  <a:pt x="59" y="42"/>
                  <a:pt x="59" y="42"/>
                  <a:pt x="59" y="42"/>
                </a:cubicBezTo>
                <a:cubicBezTo>
                  <a:pt x="60" y="40"/>
                  <a:pt x="60" y="40"/>
                  <a:pt x="60" y="40"/>
                </a:cubicBezTo>
                <a:cubicBezTo>
                  <a:pt x="61" y="39"/>
                  <a:pt x="61" y="39"/>
                  <a:pt x="61" y="39"/>
                </a:cubicBezTo>
                <a:cubicBezTo>
                  <a:pt x="63" y="40"/>
                  <a:pt x="63" y="40"/>
                  <a:pt x="63" y="40"/>
                </a:cubicBezTo>
                <a:cubicBezTo>
                  <a:pt x="63" y="41"/>
                  <a:pt x="63" y="41"/>
                  <a:pt x="63" y="41"/>
                </a:cubicBezTo>
                <a:cubicBezTo>
                  <a:pt x="64" y="40"/>
                  <a:pt x="64" y="40"/>
                  <a:pt x="64" y="40"/>
                </a:cubicBezTo>
                <a:cubicBezTo>
                  <a:pt x="65" y="40"/>
                  <a:pt x="65" y="40"/>
                  <a:pt x="65" y="40"/>
                </a:cubicBezTo>
                <a:cubicBezTo>
                  <a:pt x="64" y="38"/>
                  <a:pt x="64" y="38"/>
                  <a:pt x="64" y="38"/>
                </a:cubicBezTo>
                <a:cubicBezTo>
                  <a:pt x="65" y="38"/>
                  <a:pt x="65" y="38"/>
                  <a:pt x="65" y="38"/>
                </a:cubicBezTo>
                <a:cubicBezTo>
                  <a:pt x="65" y="37"/>
                  <a:pt x="65" y="37"/>
                  <a:pt x="65" y="37"/>
                </a:cubicBezTo>
                <a:cubicBezTo>
                  <a:pt x="65" y="36"/>
                  <a:pt x="65" y="36"/>
                  <a:pt x="65" y="36"/>
                </a:cubicBezTo>
                <a:cubicBezTo>
                  <a:pt x="64" y="35"/>
                  <a:pt x="64" y="35"/>
                  <a:pt x="64" y="35"/>
                </a:cubicBezTo>
                <a:cubicBezTo>
                  <a:pt x="65" y="34"/>
                  <a:pt x="65" y="34"/>
                  <a:pt x="65" y="34"/>
                </a:cubicBezTo>
                <a:cubicBezTo>
                  <a:pt x="67" y="34"/>
                  <a:pt x="67" y="34"/>
                  <a:pt x="67" y="34"/>
                </a:cubicBezTo>
                <a:cubicBezTo>
                  <a:pt x="68" y="33"/>
                  <a:pt x="68" y="33"/>
                  <a:pt x="68" y="33"/>
                </a:cubicBezTo>
                <a:cubicBezTo>
                  <a:pt x="70" y="34"/>
                  <a:pt x="70" y="34"/>
                  <a:pt x="70" y="34"/>
                </a:cubicBezTo>
                <a:cubicBezTo>
                  <a:pt x="71" y="35"/>
                  <a:pt x="71" y="35"/>
                  <a:pt x="71" y="35"/>
                </a:cubicBezTo>
                <a:cubicBezTo>
                  <a:pt x="73" y="35"/>
                  <a:pt x="73" y="35"/>
                  <a:pt x="73" y="35"/>
                </a:cubicBezTo>
                <a:cubicBezTo>
                  <a:pt x="74" y="36"/>
                  <a:pt x="74" y="36"/>
                  <a:pt x="74" y="36"/>
                </a:cubicBezTo>
                <a:cubicBezTo>
                  <a:pt x="74" y="35"/>
                  <a:pt x="74" y="35"/>
                  <a:pt x="74" y="35"/>
                </a:cubicBezTo>
                <a:cubicBezTo>
                  <a:pt x="75" y="36"/>
                  <a:pt x="75" y="36"/>
                  <a:pt x="75" y="36"/>
                </a:cubicBezTo>
                <a:cubicBezTo>
                  <a:pt x="75" y="34"/>
                  <a:pt x="75" y="34"/>
                  <a:pt x="75" y="34"/>
                </a:cubicBezTo>
                <a:cubicBezTo>
                  <a:pt x="74" y="33"/>
                  <a:pt x="74" y="33"/>
                  <a:pt x="74" y="33"/>
                </a:cubicBezTo>
                <a:cubicBezTo>
                  <a:pt x="74" y="31"/>
                  <a:pt x="74" y="31"/>
                  <a:pt x="74" y="31"/>
                </a:cubicBezTo>
                <a:cubicBezTo>
                  <a:pt x="75" y="31"/>
                  <a:pt x="75" y="31"/>
                  <a:pt x="75" y="31"/>
                </a:cubicBezTo>
                <a:cubicBezTo>
                  <a:pt x="75" y="30"/>
                  <a:pt x="75" y="30"/>
                  <a:pt x="75" y="30"/>
                </a:cubicBezTo>
                <a:cubicBezTo>
                  <a:pt x="74" y="29"/>
                  <a:pt x="74" y="29"/>
                  <a:pt x="74" y="29"/>
                </a:cubicBezTo>
                <a:cubicBezTo>
                  <a:pt x="74" y="28"/>
                  <a:pt x="74" y="28"/>
                  <a:pt x="74" y="28"/>
                </a:cubicBezTo>
                <a:cubicBezTo>
                  <a:pt x="75" y="28"/>
                  <a:pt x="75" y="28"/>
                  <a:pt x="75" y="28"/>
                </a:cubicBezTo>
                <a:cubicBezTo>
                  <a:pt x="77" y="28"/>
                  <a:pt x="77" y="28"/>
                  <a:pt x="77" y="28"/>
                </a:cubicBezTo>
                <a:cubicBezTo>
                  <a:pt x="77" y="28"/>
                  <a:pt x="77" y="28"/>
                  <a:pt x="77" y="28"/>
                </a:cubicBezTo>
                <a:cubicBezTo>
                  <a:pt x="77" y="28"/>
                  <a:pt x="77" y="28"/>
                  <a:pt x="77" y="28"/>
                </a:cubicBezTo>
                <a:cubicBezTo>
                  <a:pt x="77" y="27"/>
                  <a:pt x="77" y="27"/>
                  <a:pt x="77" y="27"/>
                </a:cubicBezTo>
                <a:cubicBezTo>
                  <a:pt x="78" y="28"/>
                  <a:pt x="78" y="28"/>
                  <a:pt x="78" y="28"/>
                </a:cubicBezTo>
                <a:cubicBezTo>
                  <a:pt x="78" y="27"/>
                  <a:pt x="78" y="27"/>
                  <a:pt x="78" y="27"/>
                </a:cubicBezTo>
                <a:cubicBezTo>
                  <a:pt x="78" y="26"/>
                  <a:pt x="78" y="26"/>
                  <a:pt x="78" y="26"/>
                </a:cubicBezTo>
                <a:cubicBezTo>
                  <a:pt x="78" y="25"/>
                  <a:pt x="78" y="25"/>
                  <a:pt x="78" y="25"/>
                </a:cubicBezTo>
                <a:cubicBezTo>
                  <a:pt x="79" y="24"/>
                  <a:pt x="79" y="24"/>
                  <a:pt x="79" y="24"/>
                </a:cubicBezTo>
                <a:cubicBezTo>
                  <a:pt x="80" y="25"/>
                  <a:pt x="80" y="25"/>
                  <a:pt x="80" y="25"/>
                </a:cubicBezTo>
                <a:cubicBezTo>
                  <a:pt x="81" y="26"/>
                  <a:pt x="81" y="26"/>
                  <a:pt x="81" y="26"/>
                </a:cubicBezTo>
                <a:cubicBezTo>
                  <a:pt x="84" y="28"/>
                  <a:pt x="84" y="28"/>
                  <a:pt x="84" y="28"/>
                </a:cubicBezTo>
                <a:cubicBezTo>
                  <a:pt x="84" y="30"/>
                  <a:pt x="84" y="30"/>
                  <a:pt x="84" y="30"/>
                </a:cubicBezTo>
                <a:cubicBezTo>
                  <a:pt x="85" y="31"/>
                  <a:pt x="85" y="31"/>
                  <a:pt x="85" y="31"/>
                </a:cubicBezTo>
                <a:cubicBezTo>
                  <a:pt x="87" y="32"/>
                  <a:pt x="87" y="32"/>
                  <a:pt x="87" y="32"/>
                </a:cubicBezTo>
                <a:cubicBezTo>
                  <a:pt x="90" y="32"/>
                  <a:pt x="90" y="32"/>
                  <a:pt x="90" y="32"/>
                </a:cubicBezTo>
                <a:cubicBezTo>
                  <a:pt x="92" y="30"/>
                  <a:pt x="92" y="30"/>
                  <a:pt x="92" y="30"/>
                </a:cubicBezTo>
                <a:cubicBezTo>
                  <a:pt x="93" y="29"/>
                  <a:pt x="93" y="29"/>
                  <a:pt x="93" y="29"/>
                </a:cubicBezTo>
                <a:cubicBezTo>
                  <a:pt x="94" y="29"/>
                  <a:pt x="94" y="29"/>
                  <a:pt x="94" y="29"/>
                </a:cubicBezTo>
                <a:cubicBezTo>
                  <a:pt x="96" y="31"/>
                  <a:pt x="96" y="31"/>
                  <a:pt x="96" y="31"/>
                </a:cubicBezTo>
                <a:cubicBezTo>
                  <a:pt x="97" y="31"/>
                  <a:pt x="97" y="31"/>
                  <a:pt x="97" y="31"/>
                </a:cubicBezTo>
                <a:cubicBezTo>
                  <a:pt x="98" y="30"/>
                  <a:pt x="98" y="30"/>
                  <a:pt x="98" y="30"/>
                </a:cubicBezTo>
                <a:cubicBezTo>
                  <a:pt x="99" y="29"/>
                  <a:pt x="99" y="29"/>
                  <a:pt x="99" y="29"/>
                </a:cubicBezTo>
                <a:cubicBezTo>
                  <a:pt x="100" y="28"/>
                  <a:pt x="100" y="28"/>
                  <a:pt x="100" y="28"/>
                </a:cubicBezTo>
                <a:cubicBezTo>
                  <a:pt x="101" y="28"/>
                  <a:pt x="101" y="28"/>
                  <a:pt x="101" y="28"/>
                </a:cubicBezTo>
                <a:cubicBezTo>
                  <a:pt x="102" y="28"/>
                  <a:pt x="102" y="28"/>
                  <a:pt x="102" y="28"/>
                </a:cubicBezTo>
                <a:cubicBezTo>
                  <a:pt x="102" y="27"/>
                  <a:pt x="102" y="27"/>
                  <a:pt x="102" y="27"/>
                </a:cubicBezTo>
                <a:cubicBezTo>
                  <a:pt x="102" y="26"/>
                  <a:pt x="102" y="26"/>
                  <a:pt x="102" y="26"/>
                </a:cubicBezTo>
                <a:cubicBezTo>
                  <a:pt x="101" y="24"/>
                  <a:pt x="101" y="24"/>
                  <a:pt x="101" y="24"/>
                </a:cubicBezTo>
                <a:cubicBezTo>
                  <a:pt x="102" y="21"/>
                  <a:pt x="102" y="21"/>
                  <a:pt x="102" y="21"/>
                </a:cubicBezTo>
                <a:cubicBezTo>
                  <a:pt x="102" y="20"/>
                  <a:pt x="102" y="20"/>
                  <a:pt x="102" y="20"/>
                </a:cubicBezTo>
                <a:cubicBezTo>
                  <a:pt x="102" y="19"/>
                  <a:pt x="102" y="19"/>
                  <a:pt x="102" y="19"/>
                </a:cubicBezTo>
                <a:cubicBezTo>
                  <a:pt x="102" y="18"/>
                  <a:pt x="102" y="18"/>
                  <a:pt x="102" y="18"/>
                </a:cubicBezTo>
                <a:cubicBezTo>
                  <a:pt x="103" y="17"/>
                  <a:pt x="103" y="17"/>
                  <a:pt x="103" y="17"/>
                </a:cubicBezTo>
                <a:cubicBezTo>
                  <a:pt x="103" y="16"/>
                  <a:pt x="103" y="16"/>
                  <a:pt x="103" y="16"/>
                </a:cubicBezTo>
                <a:cubicBezTo>
                  <a:pt x="104" y="16"/>
                  <a:pt x="104" y="16"/>
                  <a:pt x="104" y="16"/>
                </a:cubicBezTo>
                <a:cubicBezTo>
                  <a:pt x="106" y="16"/>
                  <a:pt x="106" y="16"/>
                  <a:pt x="106" y="16"/>
                </a:cubicBezTo>
                <a:cubicBezTo>
                  <a:pt x="107" y="16"/>
                  <a:pt x="107" y="16"/>
                  <a:pt x="107" y="16"/>
                </a:cubicBezTo>
                <a:cubicBezTo>
                  <a:pt x="107" y="15"/>
                  <a:pt x="107" y="15"/>
                  <a:pt x="107" y="15"/>
                </a:cubicBezTo>
                <a:cubicBezTo>
                  <a:pt x="108" y="14"/>
                  <a:pt x="108" y="14"/>
                  <a:pt x="108" y="14"/>
                </a:cubicBezTo>
                <a:cubicBezTo>
                  <a:pt x="111" y="14"/>
                  <a:pt x="111" y="14"/>
                  <a:pt x="111" y="14"/>
                </a:cubicBezTo>
                <a:cubicBezTo>
                  <a:pt x="112" y="15"/>
                  <a:pt x="112" y="15"/>
                  <a:pt x="112" y="15"/>
                </a:cubicBezTo>
                <a:cubicBezTo>
                  <a:pt x="113" y="17"/>
                  <a:pt x="113" y="17"/>
                  <a:pt x="113" y="17"/>
                </a:cubicBezTo>
                <a:cubicBezTo>
                  <a:pt x="114" y="18"/>
                  <a:pt x="114" y="18"/>
                  <a:pt x="114" y="18"/>
                </a:cubicBezTo>
                <a:cubicBezTo>
                  <a:pt x="116" y="18"/>
                  <a:pt x="116" y="18"/>
                  <a:pt x="116" y="18"/>
                </a:cubicBezTo>
                <a:cubicBezTo>
                  <a:pt x="118" y="18"/>
                  <a:pt x="118" y="18"/>
                  <a:pt x="118" y="18"/>
                </a:cubicBezTo>
                <a:cubicBezTo>
                  <a:pt x="118" y="19"/>
                  <a:pt x="118" y="19"/>
                  <a:pt x="118" y="19"/>
                </a:cubicBezTo>
                <a:cubicBezTo>
                  <a:pt x="119" y="21"/>
                  <a:pt x="119" y="21"/>
                  <a:pt x="119" y="21"/>
                </a:cubicBezTo>
                <a:cubicBezTo>
                  <a:pt x="119" y="22"/>
                  <a:pt x="119" y="22"/>
                  <a:pt x="119" y="22"/>
                </a:cubicBezTo>
                <a:cubicBezTo>
                  <a:pt x="118" y="24"/>
                  <a:pt x="118" y="24"/>
                  <a:pt x="118" y="24"/>
                </a:cubicBezTo>
                <a:cubicBezTo>
                  <a:pt x="118" y="26"/>
                  <a:pt x="118" y="26"/>
                  <a:pt x="118" y="26"/>
                </a:cubicBezTo>
                <a:close/>
                <a:moveTo>
                  <a:pt x="5" y="135"/>
                </a:moveTo>
                <a:cubicBezTo>
                  <a:pt x="6" y="136"/>
                  <a:pt x="6" y="136"/>
                  <a:pt x="6" y="136"/>
                </a:cubicBezTo>
                <a:cubicBezTo>
                  <a:pt x="5" y="136"/>
                  <a:pt x="5" y="136"/>
                  <a:pt x="5" y="136"/>
                </a:cubicBezTo>
                <a:cubicBezTo>
                  <a:pt x="5" y="135"/>
                  <a:pt x="5" y="135"/>
                  <a:pt x="5" y="135"/>
                </a:cubicBezTo>
                <a:close/>
                <a:moveTo>
                  <a:pt x="2" y="128"/>
                </a:moveTo>
                <a:cubicBezTo>
                  <a:pt x="2" y="128"/>
                  <a:pt x="3" y="128"/>
                  <a:pt x="3" y="128"/>
                </a:cubicBezTo>
                <a:cubicBezTo>
                  <a:pt x="4" y="129"/>
                  <a:pt x="4" y="129"/>
                  <a:pt x="4" y="129"/>
                </a:cubicBezTo>
                <a:cubicBezTo>
                  <a:pt x="3" y="130"/>
                  <a:pt x="3" y="130"/>
                  <a:pt x="3" y="130"/>
                </a:cubicBezTo>
                <a:cubicBezTo>
                  <a:pt x="2" y="128"/>
                  <a:pt x="2" y="128"/>
                  <a:pt x="2" y="128"/>
                </a:cubicBezTo>
                <a:close/>
                <a:moveTo>
                  <a:pt x="5" y="126"/>
                </a:moveTo>
                <a:cubicBezTo>
                  <a:pt x="5" y="127"/>
                  <a:pt x="5" y="127"/>
                  <a:pt x="5" y="127"/>
                </a:cubicBezTo>
                <a:cubicBezTo>
                  <a:pt x="4" y="127"/>
                  <a:pt x="4" y="127"/>
                  <a:pt x="4" y="127"/>
                </a:cubicBezTo>
                <a:cubicBezTo>
                  <a:pt x="5" y="126"/>
                  <a:pt x="5" y="126"/>
                  <a:pt x="5" y="126"/>
                </a:cubicBezTo>
                <a:close/>
                <a:moveTo>
                  <a:pt x="4" y="125"/>
                </a:moveTo>
                <a:cubicBezTo>
                  <a:pt x="3" y="126"/>
                  <a:pt x="3" y="126"/>
                  <a:pt x="3" y="126"/>
                </a:cubicBezTo>
                <a:cubicBezTo>
                  <a:pt x="2" y="126"/>
                  <a:pt x="2" y="126"/>
                  <a:pt x="2" y="126"/>
                </a:cubicBezTo>
                <a:cubicBezTo>
                  <a:pt x="4" y="125"/>
                  <a:pt x="4" y="125"/>
                  <a:pt x="4" y="125"/>
                </a:cubicBezTo>
                <a:close/>
                <a:moveTo>
                  <a:pt x="1" y="120"/>
                </a:moveTo>
                <a:cubicBezTo>
                  <a:pt x="0" y="120"/>
                  <a:pt x="0" y="120"/>
                  <a:pt x="0" y="120"/>
                </a:cubicBezTo>
                <a:cubicBezTo>
                  <a:pt x="1" y="119"/>
                  <a:pt x="1" y="119"/>
                  <a:pt x="1" y="119"/>
                </a:cubicBezTo>
                <a:cubicBezTo>
                  <a:pt x="1" y="119"/>
                  <a:pt x="1" y="120"/>
                  <a:pt x="1" y="120"/>
                </a:cubicBezTo>
                <a:close/>
                <a:moveTo>
                  <a:pt x="1" y="121"/>
                </a:moveTo>
                <a:cubicBezTo>
                  <a:pt x="2" y="121"/>
                  <a:pt x="2" y="121"/>
                  <a:pt x="2" y="121"/>
                </a:cubicBezTo>
                <a:cubicBezTo>
                  <a:pt x="1" y="122"/>
                  <a:pt x="1" y="122"/>
                  <a:pt x="1" y="122"/>
                </a:cubicBezTo>
                <a:cubicBezTo>
                  <a:pt x="1" y="121"/>
                  <a:pt x="1" y="121"/>
                  <a:pt x="1" y="121"/>
                </a:cubicBezTo>
                <a:close/>
                <a:moveTo>
                  <a:pt x="3" y="123"/>
                </a:moveTo>
                <a:cubicBezTo>
                  <a:pt x="3" y="123"/>
                  <a:pt x="4" y="124"/>
                  <a:pt x="4" y="124"/>
                </a:cubicBezTo>
                <a:cubicBezTo>
                  <a:pt x="4" y="125"/>
                  <a:pt x="4" y="125"/>
                  <a:pt x="4" y="125"/>
                </a:cubicBezTo>
                <a:cubicBezTo>
                  <a:pt x="3" y="123"/>
                  <a:pt x="3" y="123"/>
                  <a:pt x="3" y="123"/>
                </a:cubicBezTo>
                <a:close/>
                <a:moveTo>
                  <a:pt x="2" y="124"/>
                </a:moveTo>
                <a:cubicBezTo>
                  <a:pt x="1" y="123"/>
                  <a:pt x="1" y="123"/>
                  <a:pt x="1" y="123"/>
                </a:cubicBezTo>
                <a:cubicBezTo>
                  <a:pt x="2" y="123"/>
                  <a:pt x="2" y="123"/>
                  <a:pt x="2" y="123"/>
                </a:cubicBezTo>
                <a:cubicBezTo>
                  <a:pt x="2" y="124"/>
                  <a:pt x="2" y="124"/>
                  <a:pt x="2" y="124"/>
                </a:cubicBezTo>
                <a:close/>
                <a:moveTo>
                  <a:pt x="1" y="117"/>
                </a:moveTo>
                <a:cubicBezTo>
                  <a:pt x="0" y="118"/>
                  <a:pt x="0" y="118"/>
                  <a:pt x="0" y="118"/>
                </a:cubicBezTo>
                <a:cubicBezTo>
                  <a:pt x="0" y="118"/>
                  <a:pt x="0" y="118"/>
                  <a:pt x="0" y="118"/>
                </a:cubicBezTo>
                <a:cubicBezTo>
                  <a:pt x="1" y="117"/>
                  <a:pt x="1" y="117"/>
                  <a:pt x="1" y="117"/>
                </a:cubicBezTo>
                <a:cubicBezTo>
                  <a:pt x="1" y="117"/>
                  <a:pt x="1" y="117"/>
                  <a:pt x="1" y="117"/>
                </a:cubicBezTo>
                <a:close/>
                <a:moveTo>
                  <a:pt x="0" y="108"/>
                </a:moveTo>
                <a:cubicBezTo>
                  <a:pt x="2" y="109"/>
                  <a:pt x="2" y="109"/>
                  <a:pt x="2" y="109"/>
                </a:cubicBezTo>
                <a:cubicBezTo>
                  <a:pt x="1" y="109"/>
                  <a:pt x="1" y="109"/>
                  <a:pt x="1" y="109"/>
                </a:cubicBezTo>
                <a:cubicBezTo>
                  <a:pt x="0" y="108"/>
                  <a:pt x="0" y="108"/>
                  <a:pt x="0" y="108"/>
                </a:cubicBezTo>
                <a:close/>
                <a:moveTo>
                  <a:pt x="1" y="106"/>
                </a:moveTo>
                <a:cubicBezTo>
                  <a:pt x="2" y="107"/>
                  <a:pt x="2" y="107"/>
                  <a:pt x="2" y="107"/>
                </a:cubicBezTo>
                <a:cubicBezTo>
                  <a:pt x="1" y="107"/>
                  <a:pt x="1" y="107"/>
                  <a:pt x="1" y="107"/>
                </a:cubicBezTo>
                <a:cubicBezTo>
                  <a:pt x="1" y="106"/>
                  <a:pt x="1" y="106"/>
                  <a:pt x="1" y="106"/>
                </a:cubicBezTo>
                <a:close/>
                <a:moveTo>
                  <a:pt x="4" y="103"/>
                </a:moveTo>
                <a:cubicBezTo>
                  <a:pt x="5" y="104"/>
                  <a:pt x="5" y="104"/>
                  <a:pt x="5" y="104"/>
                </a:cubicBezTo>
                <a:cubicBezTo>
                  <a:pt x="3" y="104"/>
                  <a:pt x="3" y="104"/>
                  <a:pt x="3" y="104"/>
                </a:cubicBezTo>
                <a:cubicBezTo>
                  <a:pt x="4" y="103"/>
                  <a:pt x="4" y="103"/>
                  <a:pt x="4" y="103"/>
                </a:cubicBezTo>
                <a:close/>
                <a:moveTo>
                  <a:pt x="5" y="103"/>
                </a:moveTo>
                <a:cubicBezTo>
                  <a:pt x="6" y="103"/>
                  <a:pt x="6" y="103"/>
                  <a:pt x="6" y="103"/>
                </a:cubicBezTo>
                <a:cubicBezTo>
                  <a:pt x="7" y="104"/>
                  <a:pt x="7" y="104"/>
                  <a:pt x="7" y="104"/>
                </a:cubicBezTo>
                <a:cubicBezTo>
                  <a:pt x="5" y="104"/>
                  <a:pt x="5" y="104"/>
                  <a:pt x="5" y="104"/>
                </a:cubicBezTo>
                <a:cubicBezTo>
                  <a:pt x="5" y="103"/>
                  <a:pt x="5" y="103"/>
                  <a:pt x="5" y="103"/>
                </a:cubicBezTo>
                <a:close/>
                <a:moveTo>
                  <a:pt x="16" y="95"/>
                </a:moveTo>
                <a:cubicBezTo>
                  <a:pt x="16" y="95"/>
                  <a:pt x="18" y="94"/>
                  <a:pt x="18" y="94"/>
                </a:cubicBezTo>
                <a:cubicBezTo>
                  <a:pt x="18" y="95"/>
                  <a:pt x="18" y="95"/>
                  <a:pt x="18" y="95"/>
                </a:cubicBezTo>
                <a:cubicBezTo>
                  <a:pt x="17" y="95"/>
                  <a:pt x="17" y="95"/>
                  <a:pt x="17" y="95"/>
                </a:cubicBezTo>
                <a:cubicBezTo>
                  <a:pt x="16" y="95"/>
                  <a:pt x="16" y="95"/>
                  <a:pt x="16" y="95"/>
                </a:cubicBezTo>
                <a:close/>
                <a:moveTo>
                  <a:pt x="17" y="93"/>
                </a:moveTo>
                <a:cubicBezTo>
                  <a:pt x="17" y="93"/>
                  <a:pt x="16" y="93"/>
                  <a:pt x="16" y="93"/>
                </a:cubicBezTo>
                <a:cubicBezTo>
                  <a:pt x="15" y="92"/>
                  <a:pt x="15" y="92"/>
                  <a:pt x="15" y="92"/>
                </a:cubicBezTo>
                <a:cubicBezTo>
                  <a:pt x="16" y="92"/>
                  <a:pt x="16" y="92"/>
                  <a:pt x="16" y="92"/>
                </a:cubicBezTo>
                <a:cubicBezTo>
                  <a:pt x="17" y="93"/>
                  <a:pt x="17" y="93"/>
                  <a:pt x="17" y="93"/>
                </a:cubicBezTo>
                <a:close/>
                <a:moveTo>
                  <a:pt x="18" y="90"/>
                </a:moveTo>
                <a:cubicBezTo>
                  <a:pt x="20" y="88"/>
                  <a:pt x="20" y="88"/>
                  <a:pt x="20" y="88"/>
                </a:cubicBezTo>
                <a:cubicBezTo>
                  <a:pt x="21" y="89"/>
                  <a:pt x="21" y="89"/>
                  <a:pt x="21" y="89"/>
                </a:cubicBezTo>
                <a:cubicBezTo>
                  <a:pt x="20" y="90"/>
                  <a:pt x="20" y="90"/>
                  <a:pt x="20" y="90"/>
                </a:cubicBezTo>
                <a:cubicBezTo>
                  <a:pt x="18" y="90"/>
                  <a:pt x="18" y="90"/>
                  <a:pt x="18" y="90"/>
                </a:cubicBezTo>
                <a:close/>
                <a:moveTo>
                  <a:pt x="18" y="92"/>
                </a:moveTo>
                <a:cubicBezTo>
                  <a:pt x="19" y="91"/>
                  <a:pt x="19" y="91"/>
                  <a:pt x="19" y="91"/>
                </a:cubicBezTo>
                <a:cubicBezTo>
                  <a:pt x="20" y="91"/>
                  <a:pt x="20" y="91"/>
                  <a:pt x="20" y="91"/>
                </a:cubicBezTo>
                <a:cubicBezTo>
                  <a:pt x="21" y="90"/>
                  <a:pt x="21" y="90"/>
                  <a:pt x="21" y="90"/>
                </a:cubicBezTo>
                <a:cubicBezTo>
                  <a:pt x="22" y="90"/>
                  <a:pt x="22" y="90"/>
                  <a:pt x="22" y="90"/>
                </a:cubicBezTo>
                <a:cubicBezTo>
                  <a:pt x="22" y="91"/>
                  <a:pt x="22" y="91"/>
                  <a:pt x="22" y="91"/>
                </a:cubicBezTo>
                <a:cubicBezTo>
                  <a:pt x="21" y="92"/>
                  <a:pt x="21" y="92"/>
                  <a:pt x="21" y="92"/>
                </a:cubicBezTo>
                <a:cubicBezTo>
                  <a:pt x="20" y="92"/>
                  <a:pt x="20" y="92"/>
                  <a:pt x="20" y="92"/>
                </a:cubicBezTo>
                <a:cubicBezTo>
                  <a:pt x="19" y="92"/>
                  <a:pt x="19" y="92"/>
                  <a:pt x="19" y="92"/>
                </a:cubicBezTo>
                <a:cubicBezTo>
                  <a:pt x="18" y="92"/>
                  <a:pt x="18" y="92"/>
                  <a:pt x="18" y="92"/>
                </a:cubicBezTo>
                <a:close/>
                <a:moveTo>
                  <a:pt x="35" y="75"/>
                </a:moveTo>
                <a:cubicBezTo>
                  <a:pt x="35" y="74"/>
                  <a:pt x="35" y="74"/>
                  <a:pt x="35" y="74"/>
                </a:cubicBezTo>
                <a:cubicBezTo>
                  <a:pt x="37" y="73"/>
                  <a:pt x="37" y="73"/>
                  <a:pt x="37" y="73"/>
                </a:cubicBezTo>
                <a:cubicBezTo>
                  <a:pt x="35" y="75"/>
                  <a:pt x="35" y="75"/>
                  <a:pt x="35" y="75"/>
                </a:cubicBezTo>
                <a:cubicBezTo>
                  <a:pt x="35" y="75"/>
                  <a:pt x="35" y="75"/>
                  <a:pt x="35" y="75"/>
                </a:cubicBezTo>
                <a:close/>
                <a:moveTo>
                  <a:pt x="33" y="78"/>
                </a:moveTo>
                <a:cubicBezTo>
                  <a:pt x="33" y="77"/>
                  <a:pt x="33" y="77"/>
                  <a:pt x="33" y="77"/>
                </a:cubicBezTo>
                <a:cubicBezTo>
                  <a:pt x="32" y="77"/>
                  <a:pt x="32" y="77"/>
                  <a:pt x="32" y="77"/>
                </a:cubicBezTo>
                <a:cubicBezTo>
                  <a:pt x="33" y="76"/>
                  <a:pt x="33" y="76"/>
                  <a:pt x="33" y="76"/>
                </a:cubicBezTo>
                <a:cubicBezTo>
                  <a:pt x="34" y="76"/>
                  <a:pt x="34" y="76"/>
                  <a:pt x="34" y="76"/>
                </a:cubicBezTo>
                <a:cubicBezTo>
                  <a:pt x="35" y="75"/>
                  <a:pt x="35" y="75"/>
                  <a:pt x="35" y="75"/>
                </a:cubicBezTo>
                <a:cubicBezTo>
                  <a:pt x="34" y="77"/>
                  <a:pt x="34" y="77"/>
                  <a:pt x="34" y="77"/>
                </a:cubicBezTo>
                <a:cubicBezTo>
                  <a:pt x="33" y="78"/>
                  <a:pt x="33" y="78"/>
                  <a:pt x="33" y="78"/>
                </a:cubicBezTo>
                <a:close/>
                <a:moveTo>
                  <a:pt x="36" y="67"/>
                </a:moveTo>
                <a:cubicBezTo>
                  <a:pt x="37" y="67"/>
                  <a:pt x="37" y="67"/>
                  <a:pt x="37" y="67"/>
                </a:cubicBezTo>
                <a:cubicBezTo>
                  <a:pt x="37" y="68"/>
                  <a:pt x="37" y="68"/>
                  <a:pt x="37" y="68"/>
                </a:cubicBezTo>
                <a:cubicBezTo>
                  <a:pt x="36" y="69"/>
                  <a:pt x="36" y="69"/>
                  <a:pt x="36" y="69"/>
                </a:cubicBezTo>
                <a:cubicBezTo>
                  <a:pt x="36" y="68"/>
                  <a:pt x="36" y="68"/>
                  <a:pt x="36" y="68"/>
                </a:cubicBezTo>
                <a:cubicBezTo>
                  <a:pt x="36" y="67"/>
                  <a:pt x="36" y="67"/>
                  <a:pt x="36" y="67"/>
                </a:cubicBezTo>
                <a:close/>
                <a:moveTo>
                  <a:pt x="39" y="65"/>
                </a:moveTo>
                <a:cubicBezTo>
                  <a:pt x="39" y="64"/>
                  <a:pt x="39" y="64"/>
                  <a:pt x="39" y="64"/>
                </a:cubicBezTo>
                <a:cubicBezTo>
                  <a:pt x="40" y="64"/>
                  <a:pt x="40" y="64"/>
                  <a:pt x="40" y="64"/>
                </a:cubicBezTo>
                <a:cubicBezTo>
                  <a:pt x="39" y="65"/>
                  <a:pt x="39" y="65"/>
                  <a:pt x="39" y="65"/>
                </a:cubicBezTo>
                <a:cubicBezTo>
                  <a:pt x="39" y="65"/>
                  <a:pt x="39" y="65"/>
                  <a:pt x="39" y="65"/>
                </a:cubicBezTo>
                <a:close/>
                <a:moveTo>
                  <a:pt x="38" y="62"/>
                </a:moveTo>
                <a:cubicBezTo>
                  <a:pt x="39" y="61"/>
                  <a:pt x="39" y="61"/>
                  <a:pt x="39" y="61"/>
                </a:cubicBezTo>
                <a:cubicBezTo>
                  <a:pt x="39" y="62"/>
                  <a:pt x="39" y="62"/>
                  <a:pt x="39" y="62"/>
                </a:cubicBezTo>
                <a:cubicBezTo>
                  <a:pt x="38" y="64"/>
                  <a:pt x="38" y="64"/>
                  <a:pt x="38" y="64"/>
                </a:cubicBezTo>
                <a:cubicBezTo>
                  <a:pt x="38" y="62"/>
                  <a:pt x="38" y="62"/>
                  <a:pt x="38" y="62"/>
                </a:cubicBezTo>
                <a:close/>
                <a:moveTo>
                  <a:pt x="46" y="51"/>
                </a:moveTo>
                <a:cubicBezTo>
                  <a:pt x="46" y="51"/>
                  <a:pt x="46" y="51"/>
                  <a:pt x="46" y="51"/>
                </a:cubicBezTo>
                <a:cubicBezTo>
                  <a:pt x="47" y="51"/>
                  <a:pt x="47" y="51"/>
                  <a:pt x="47" y="51"/>
                </a:cubicBezTo>
                <a:cubicBezTo>
                  <a:pt x="46" y="52"/>
                  <a:pt x="46" y="52"/>
                  <a:pt x="46" y="52"/>
                </a:cubicBezTo>
                <a:cubicBezTo>
                  <a:pt x="46" y="51"/>
                  <a:pt x="46" y="51"/>
                  <a:pt x="46" y="51"/>
                </a:cubicBezTo>
                <a:close/>
                <a:moveTo>
                  <a:pt x="38" y="45"/>
                </a:moveTo>
                <a:cubicBezTo>
                  <a:pt x="39" y="45"/>
                  <a:pt x="39" y="45"/>
                  <a:pt x="39" y="45"/>
                </a:cubicBezTo>
                <a:cubicBezTo>
                  <a:pt x="38" y="46"/>
                  <a:pt x="38" y="46"/>
                  <a:pt x="38" y="46"/>
                </a:cubicBezTo>
                <a:cubicBezTo>
                  <a:pt x="38" y="46"/>
                  <a:pt x="38" y="46"/>
                  <a:pt x="38" y="46"/>
                </a:cubicBezTo>
                <a:cubicBezTo>
                  <a:pt x="38" y="45"/>
                  <a:pt x="38" y="45"/>
                  <a:pt x="38" y="45"/>
                </a:cubicBezTo>
                <a:close/>
                <a:moveTo>
                  <a:pt x="40" y="42"/>
                </a:moveTo>
                <a:cubicBezTo>
                  <a:pt x="39" y="43"/>
                  <a:pt x="39" y="43"/>
                  <a:pt x="39" y="43"/>
                </a:cubicBezTo>
                <a:cubicBezTo>
                  <a:pt x="39" y="42"/>
                  <a:pt x="39" y="42"/>
                  <a:pt x="39" y="42"/>
                </a:cubicBezTo>
                <a:cubicBezTo>
                  <a:pt x="40" y="40"/>
                  <a:pt x="40" y="40"/>
                  <a:pt x="40" y="40"/>
                </a:cubicBezTo>
                <a:cubicBezTo>
                  <a:pt x="40" y="42"/>
                  <a:pt x="40" y="42"/>
                  <a:pt x="40" y="42"/>
                </a:cubicBezTo>
                <a:close/>
                <a:moveTo>
                  <a:pt x="41" y="41"/>
                </a:moveTo>
                <a:cubicBezTo>
                  <a:pt x="41" y="40"/>
                  <a:pt x="41" y="40"/>
                  <a:pt x="41" y="40"/>
                </a:cubicBezTo>
                <a:cubicBezTo>
                  <a:pt x="41" y="39"/>
                  <a:pt x="41" y="39"/>
                  <a:pt x="41" y="39"/>
                </a:cubicBezTo>
                <a:cubicBezTo>
                  <a:pt x="42" y="40"/>
                  <a:pt x="42" y="40"/>
                  <a:pt x="42" y="40"/>
                </a:cubicBezTo>
                <a:cubicBezTo>
                  <a:pt x="41" y="41"/>
                  <a:pt x="41" y="41"/>
                  <a:pt x="41" y="41"/>
                </a:cubicBezTo>
                <a:close/>
                <a:moveTo>
                  <a:pt x="45" y="38"/>
                </a:moveTo>
                <a:cubicBezTo>
                  <a:pt x="45" y="39"/>
                  <a:pt x="45" y="39"/>
                  <a:pt x="45" y="39"/>
                </a:cubicBezTo>
                <a:cubicBezTo>
                  <a:pt x="42" y="41"/>
                  <a:pt x="42" y="41"/>
                  <a:pt x="42" y="41"/>
                </a:cubicBezTo>
                <a:cubicBezTo>
                  <a:pt x="43" y="38"/>
                  <a:pt x="43" y="38"/>
                  <a:pt x="43" y="38"/>
                </a:cubicBezTo>
                <a:cubicBezTo>
                  <a:pt x="45" y="38"/>
                  <a:pt x="45" y="38"/>
                  <a:pt x="45" y="38"/>
                </a:cubicBezTo>
                <a:close/>
                <a:moveTo>
                  <a:pt x="47" y="35"/>
                </a:moveTo>
                <a:cubicBezTo>
                  <a:pt x="48" y="34"/>
                  <a:pt x="48" y="34"/>
                  <a:pt x="48" y="34"/>
                </a:cubicBezTo>
                <a:cubicBezTo>
                  <a:pt x="49" y="35"/>
                  <a:pt x="49" y="35"/>
                  <a:pt x="49" y="35"/>
                </a:cubicBezTo>
                <a:cubicBezTo>
                  <a:pt x="47" y="35"/>
                  <a:pt x="47" y="35"/>
                  <a:pt x="47" y="35"/>
                </a:cubicBezTo>
                <a:close/>
                <a:moveTo>
                  <a:pt x="48" y="36"/>
                </a:moveTo>
                <a:cubicBezTo>
                  <a:pt x="48" y="38"/>
                  <a:pt x="48" y="38"/>
                  <a:pt x="48" y="38"/>
                </a:cubicBezTo>
                <a:cubicBezTo>
                  <a:pt x="47" y="37"/>
                  <a:pt x="47" y="37"/>
                  <a:pt x="47" y="37"/>
                </a:cubicBezTo>
                <a:cubicBezTo>
                  <a:pt x="45" y="38"/>
                  <a:pt x="45" y="38"/>
                  <a:pt x="45" y="38"/>
                </a:cubicBezTo>
                <a:cubicBezTo>
                  <a:pt x="46" y="37"/>
                  <a:pt x="46" y="37"/>
                  <a:pt x="46" y="37"/>
                </a:cubicBezTo>
                <a:cubicBezTo>
                  <a:pt x="48" y="36"/>
                  <a:pt x="48" y="36"/>
                  <a:pt x="48" y="36"/>
                </a:cubicBezTo>
                <a:close/>
                <a:moveTo>
                  <a:pt x="49" y="29"/>
                </a:moveTo>
                <a:cubicBezTo>
                  <a:pt x="50" y="31"/>
                  <a:pt x="50" y="31"/>
                  <a:pt x="50" y="31"/>
                </a:cubicBezTo>
                <a:cubicBezTo>
                  <a:pt x="50" y="33"/>
                  <a:pt x="50" y="33"/>
                  <a:pt x="50" y="33"/>
                </a:cubicBezTo>
                <a:cubicBezTo>
                  <a:pt x="48" y="34"/>
                  <a:pt x="48" y="34"/>
                  <a:pt x="48" y="34"/>
                </a:cubicBezTo>
                <a:cubicBezTo>
                  <a:pt x="47" y="33"/>
                  <a:pt x="47" y="33"/>
                  <a:pt x="47" y="33"/>
                </a:cubicBezTo>
                <a:cubicBezTo>
                  <a:pt x="49" y="32"/>
                  <a:pt x="49" y="32"/>
                  <a:pt x="49" y="32"/>
                </a:cubicBezTo>
                <a:cubicBezTo>
                  <a:pt x="48" y="32"/>
                  <a:pt x="48" y="32"/>
                  <a:pt x="48" y="32"/>
                </a:cubicBezTo>
                <a:cubicBezTo>
                  <a:pt x="46" y="33"/>
                  <a:pt x="46" y="33"/>
                  <a:pt x="46" y="33"/>
                </a:cubicBezTo>
                <a:cubicBezTo>
                  <a:pt x="46" y="32"/>
                  <a:pt x="46" y="32"/>
                  <a:pt x="46" y="32"/>
                </a:cubicBezTo>
                <a:cubicBezTo>
                  <a:pt x="46" y="31"/>
                  <a:pt x="46" y="31"/>
                  <a:pt x="46" y="31"/>
                </a:cubicBezTo>
                <a:cubicBezTo>
                  <a:pt x="48" y="31"/>
                  <a:pt x="48" y="31"/>
                  <a:pt x="48" y="31"/>
                </a:cubicBezTo>
                <a:cubicBezTo>
                  <a:pt x="49" y="30"/>
                  <a:pt x="49" y="30"/>
                  <a:pt x="49" y="30"/>
                </a:cubicBezTo>
                <a:cubicBezTo>
                  <a:pt x="48" y="30"/>
                  <a:pt x="48" y="30"/>
                  <a:pt x="48" y="30"/>
                </a:cubicBezTo>
                <a:cubicBezTo>
                  <a:pt x="49" y="29"/>
                  <a:pt x="49" y="29"/>
                  <a:pt x="49" y="29"/>
                </a:cubicBezTo>
                <a:close/>
                <a:moveTo>
                  <a:pt x="51" y="30"/>
                </a:moveTo>
                <a:cubicBezTo>
                  <a:pt x="50" y="30"/>
                  <a:pt x="50" y="30"/>
                  <a:pt x="50" y="30"/>
                </a:cubicBezTo>
                <a:cubicBezTo>
                  <a:pt x="50" y="28"/>
                  <a:pt x="50" y="28"/>
                  <a:pt x="50" y="28"/>
                </a:cubicBezTo>
                <a:cubicBezTo>
                  <a:pt x="52" y="27"/>
                  <a:pt x="52" y="27"/>
                  <a:pt x="52" y="27"/>
                </a:cubicBezTo>
                <a:cubicBezTo>
                  <a:pt x="52" y="25"/>
                  <a:pt x="52" y="25"/>
                  <a:pt x="52" y="25"/>
                </a:cubicBezTo>
                <a:cubicBezTo>
                  <a:pt x="53" y="25"/>
                  <a:pt x="53" y="25"/>
                  <a:pt x="53" y="25"/>
                </a:cubicBezTo>
                <a:cubicBezTo>
                  <a:pt x="54" y="26"/>
                  <a:pt x="54" y="26"/>
                  <a:pt x="54" y="26"/>
                </a:cubicBezTo>
                <a:cubicBezTo>
                  <a:pt x="52" y="27"/>
                  <a:pt x="52" y="27"/>
                  <a:pt x="52" y="27"/>
                </a:cubicBezTo>
                <a:cubicBezTo>
                  <a:pt x="52" y="28"/>
                  <a:pt x="52" y="28"/>
                  <a:pt x="52" y="28"/>
                </a:cubicBezTo>
                <a:cubicBezTo>
                  <a:pt x="51" y="30"/>
                  <a:pt x="51" y="30"/>
                  <a:pt x="51" y="30"/>
                </a:cubicBezTo>
                <a:close/>
                <a:moveTo>
                  <a:pt x="55" y="31"/>
                </a:moveTo>
                <a:cubicBezTo>
                  <a:pt x="56" y="32"/>
                  <a:pt x="56" y="32"/>
                  <a:pt x="56" y="32"/>
                </a:cubicBezTo>
                <a:cubicBezTo>
                  <a:pt x="54" y="35"/>
                  <a:pt x="54" y="35"/>
                  <a:pt x="54" y="35"/>
                </a:cubicBezTo>
                <a:cubicBezTo>
                  <a:pt x="53" y="36"/>
                  <a:pt x="53" y="36"/>
                  <a:pt x="53" y="36"/>
                </a:cubicBezTo>
                <a:cubicBezTo>
                  <a:pt x="52" y="37"/>
                  <a:pt x="52" y="37"/>
                  <a:pt x="52" y="37"/>
                </a:cubicBezTo>
                <a:cubicBezTo>
                  <a:pt x="51" y="36"/>
                  <a:pt x="51" y="36"/>
                  <a:pt x="51" y="36"/>
                </a:cubicBezTo>
                <a:cubicBezTo>
                  <a:pt x="51" y="35"/>
                  <a:pt x="51" y="35"/>
                  <a:pt x="51" y="35"/>
                </a:cubicBezTo>
                <a:cubicBezTo>
                  <a:pt x="50" y="37"/>
                  <a:pt x="50" y="37"/>
                  <a:pt x="50" y="37"/>
                </a:cubicBezTo>
                <a:cubicBezTo>
                  <a:pt x="49" y="37"/>
                  <a:pt x="49" y="37"/>
                  <a:pt x="49" y="37"/>
                </a:cubicBezTo>
                <a:cubicBezTo>
                  <a:pt x="50" y="35"/>
                  <a:pt x="50" y="35"/>
                  <a:pt x="50" y="35"/>
                </a:cubicBezTo>
                <a:cubicBezTo>
                  <a:pt x="50" y="35"/>
                  <a:pt x="50" y="35"/>
                  <a:pt x="50" y="35"/>
                </a:cubicBezTo>
                <a:cubicBezTo>
                  <a:pt x="50" y="34"/>
                  <a:pt x="50" y="34"/>
                  <a:pt x="50" y="34"/>
                </a:cubicBezTo>
                <a:cubicBezTo>
                  <a:pt x="51" y="33"/>
                  <a:pt x="51" y="33"/>
                  <a:pt x="51" y="33"/>
                </a:cubicBezTo>
                <a:cubicBezTo>
                  <a:pt x="51" y="32"/>
                  <a:pt x="51" y="32"/>
                  <a:pt x="51" y="32"/>
                </a:cubicBezTo>
                <a:cubicBezTo>
                  <a:pt x="52" y="29"/>
                  <a:pt x="52" y="29"/>
                  <a:pt x="52" y="29"/>
                </a:cubicBezTo>
                <a:cubicBezTo>
                  <a:pt x="52" y="33"/>
                  <a:pt x="52" y="33"/>
                  <a:pt x="52" y="33"/>
                </a:cubicBezTo>
                <a:cubicBezTo>
                  <a:pt x="52" y="34"/>
                  <a:pt x="52" y="34"/>
                  <a:pt x="52" y="34"/>
                </a:cubicBezTo>
                <a:cubicBezTo>
                  <a:pt x="53" y="32"/>
                  <a:pt x="53" y="32"/>
                  <a:pt x="53" y="32"/>
                </a:cubicBezTo>
                <a:cubicBezTo>
                  <a:pt x="55" y="32"/>
                  <a:pt x="55" y="32"/>
                  <a:pt x="55" y="32"/>
                </a:cubicBezTo>
                <a:cubicBezTo>
                  <a:pt x="54" y="31"/>
                  <a:pt x="54" y="31"/>
                  <a:pt x="54" y="31"/>
                </a:cubicBezTo>
                <a:cubicBezTo>
                  <a:pt x="54" y="30"/>
                  <a:pt x="54" y="30"/>
                  <a:pt x="54" y="30"/>
                </a:cubicBezTo>
                <a:cubicBezTo>
                  <a:pt x="55" y="31"/>
                  <a:pt x="55" y="31"/>
                  <a:pt x="55" y="31"/>
                </a:cubicBezTo>
                <a:close/>
                <a:moveTo>
                  <a:pt x="55" y="29"/>
                </a:moveTo>
                <a:cubicBezTo>
                  <a:pt x="54" y="29"/>
                  <a:pt x="54" y="29"/>
                  <a:pt x="54" y="29"/>
                </a:cubicBezTo>
                <a:cubicBezTo>
                  <a:pt x="55" y="29"/>
                  <a:pt x="55" y="29"/>
                  <a:pt x="55" y="29"/>
                </a:cubicBezTo>
                <a:cubicBezTo>
                  <a:pt x="56" y="29"/>
                  <a:pt x="56" y="29"/>
                  <a:pt x="56" y="29"/>
                </a:cubicBezTo>
                <a:cubicBezTo>
                  <a:pt x="56" y="30"/>
                  <a:pt x="56" y="30"/>
                  <a:pt x="56" y="30"/>
                </a:cubicBezTo>
                <a:cubicBezTo>
                  <a:pt x="55" y="29"/>
                  <a:pt x="55" y="29"/>
                  <a:pt x="55" y="29"/>
                </a:cubicBezTo>
                <a:close/>
                <a:moveTo>
                  <a:pt x="58" y="31"/>
                </a:moveTo>
                <a:cubicBezTo>
                  <a:pt x="58" y="30"/>
                  <a:pt x="58" y="30"/>
                  <a:pt x="58" y="30"/>
                </a:cubicBezTo>
                <a:cubicBezTo>
                  <a:pt x="59" y="31"/>
                  <a:pt x="59" y="31"/>
                  <a:pt x="59" y="31"/>
                </a:cubicBezTo>
                <a:cubicBezTo>
                  <a:pt x="58" y="31"/>
                  <a:pt x="58" y="31"/>
                  <a:pt x="58" y="31"/>
                </a:cubicBezTo>
                <a:close/>
                <a:moveTo>
                  <a:pt x="62" y="25"/>
                </a:moveTo>
                <a:cubicBezTo>
                  <a:pt x="62" y="25"/>
                  <a:pt x="62" y="25"/>
                  <a:pt x="62" y="25"/>
                </a:cubicBezTo>
                <a:cubicBezTo>
                  <a:pt x="62" y="26"/>
                  <a:pt x="62" y="26"/>
                  <a:pt x="62" y="26"/>
                </a:cubicBezTo>
                <a:cubicBezTo>
                  <a:pt x="61" y="27"/>
                  <a:pt x="61" y="27"/>
                  <a:pt x="61" y="27"/>
                </a:cubicBezTo>
                <a:cubicBezTo>
                  <a:pt x="61" y="27"/>
                  <a:pt x="61" y="27"/>
                  <a:pt x="61" y="27"/>
                </a:cubicBezTo>
                <a:cubicBezTo>
                  <a:pt x="59" y="27"/>
                  <a:pt x="59" y="27"/>
                  <a:pt x="59" y="27"/>
                </a:cubicBezTo>
                <a:cubicBezTo>
                  <a:pt x="59" y="29"/>
                  <a:pt x="59" y="29"/>
                  <a:pt x="59" y="29"/>
                </a:cubicBezTo>
                <a:cubicBezTo>
                  <a:pt x="58" y="29"/>
                  <a:pt x="58" y="29"/>
                  <a:pt x="58" y="29"/>
                </a:cubicBezTo>
                <a:cubicBezTo>
                  <a:pt x="58" y="28"/>
                  <a:pt x="58" y="28"/>
                  <a:pt x="58" y="28"/>
                </a:cubicBezTo>
                <a:cubicBezTo>
                  <a:pt x="57" y="27"/>
                  <a:pt x="57" y="27"/>
                  <a:pt x="57" y="27"/>
                </a:cubicBezTo>
                <a:cubicBezTo>
                  <a:pt x="58" y="26"/>
                  <a:pt x="58" y="26"/>
                  <a:pt x="58" y="26"/>
                </a:cubicBezTo>
                <a:cubicBezTo>
                  <a:pt x="57" y="26"/>
                  <a:pt x="57" y="26"/>
                  <a:pt x="57" y="26"/>
                </a:cubicBezTo>
                <a:cubicBezTo>
                  <a:pt x="57" y="25"/>
                  <a:pt x="57" y="25"/>
                  <a:pt x="57" y="25"/>
                </a:cubicBezTo>
                <a:cubicBezTo>
                  <a:pt x="59" y="24"/>
                  <a:pt x="59" y="24"/>
                  <a:pt x="59" y="24"/>
                </a:cubicBezTo>
                <a:cubicBezTo>
                  <a:pt x="58" y="24"/>
                  <a:pt x="58" y="24"/>
                  <a:pt x="58" y="24"/>
                </a:cubicBezTo>
                <a:cubicBezTo>
                  <a:pt x="58" y="22"/>
                  <a:pt x="58" y="22"/>
                  <a:pt x="58" y="22"/>
                </a:cubicBezTo>
                <a:cubicBezTo>
                  <a:pt x="59" y="23"/>
                  <a:pt x="59" y="23"/>
                  <a:pt x="59" y="23"/>
                </a:cubicBezTo>
                <a:cubicBezTo>
                  <a:pt x="59" y="22"/>
                  <a:pt x="59" y="22"/>
                  <a:pt x="59" y="22"/>
                </a:cubicBezTo>
                <a:cubicBezTo>
                  <a:pt x="61" y="22"/>
                  <a:pt x="61" y="22"/>
                  <a:pt x="61" y="22"/>
                </a:cubicBezTo>
                <a:cubicBezTo>
                  <a:pt x="61" y="23"/>
                  <a:pt x="61" y="23"/>
                  <a:pt x="61" y="23"/>
                </a:cubicBezTo>
                <a:cubicBezTo>
                  <a:pt x="62" y="23"/>
                  <a:pt x="62" y="23"/>
                  <a:pt x="62" y="23"/>
                </a:cubicBezTo>
                <a:cubicBezTo>
                  <a:pt x="62" y="25"/>
                  <a:pt x="62" y="25"/>
                  <a:pt x="62" y="25"/>
                </a:cubicBezTo>
                <a:close/>
                <a:moveTo>
                  <a:pt x="62" y="21"/>
                </a:moveTo>
                <a:cubicBezTo>
                  <a:pt x="64" y="21"/>
                  <a:pt x="64" y="21"/>
                  <a:pt x="64" y="21"/>
                </a:cubicBezTo>
                <a:cubicBezTo>
                  <a:pt x="64" y="20"/>
                  <a:pt x="64" y="20"/>
                  <a:pt x="64" y="20"/>
                </a:cubicBezTo>
                <a:cubicBezTo>
                  <a:pt x="66" y="20"/>
                  <a:pt x="66" y="20"/>
                  <a:pt x="66" y="20"/>
                </a:cubicBezTo>
                <a:cubicBezTo>
                  <a:pt x="66" y="19"/>
                  <a:pt x="66" y="19"/>
                  <a:pt x="66" y="19"/>
                </a:cubicBezTo>
                <a:cubicBezTo>
                  <a:pt x="67" y="20"/>
                  <a:pt x="67" y="20"/>
                  <a:pt x="67" y="20"/>
                </a:cubicBezTo>
                <a:cubicBezTo>
                  <a:pt x="66" y="21"/>
                  <a:pt x="66" y="21"/>
                  <a:pt x="66" y="21"/>
                </a:cubicBezTo>
                <a:cubicBezTo>
                  <a:pt x="66" y="22"/>
                  <a:pt x="66" y="22"/>
                  <a:pt x="66" y="22"/>
                </a:cubicBezTo>
                <a:cubicBezTo>
                  <a:pt x="65" y="22"/>
                  <a:pt x="65" y="22"/>
                  <a:pt x="65" y="22"/>
                </a:cubicBezTo>
                <a:cubicBezTo>
                  <a:pt x="64" y="23"/>
                  <a:pt x="64" y="23"/>
                  <a:pt x="64" y="23"/>
                </a:cubicBezTo>
                <a:cubicBezTo>
                  <a:pt x="62" y="21"/>
                  <a:pt x="62" y="21"/>
                  <a:pt x="62" y="21"/>
                </a:cubicBezTo>
                <a:close/>
                <a:moveTo>
                  <a:pt x="67" y="14"/>
                </a:moveTo>
                <a:cubicBezTo>
                  <a:pt x="67" y="13"/>
                  <a:pt x="67" y="13"/>
                  <a:pt x="67" y="13"/>
                </a:cubicBezTo>
                <a:cubicBezTo>
                  <a:pt x="68" y="13"/>
                  <a:pt x="68" y="13"/>
                  <a:pt x="68" y="13"/>
                </a:cubicBezTo>
                <a:cubicBezTo>
                  <a:pt x="67" y="14"/>
                  <a:pt x="67" y="14"/>
                  <a:pt x="67" y="14"/>
                </a:cubicBezTo>
                <a:close/>
                <a:moveTo>
                  <a:pt x="65" y="16"/>
                </a:moveTo>
                <a:cubicBezTo>
                  <a:pt x="65" y="15"/>
                  <a:pt x="65" y="15"/>
                  <a:pt x="65" y="15"/>
                </a:cubicBezTo>
                <a:cubicBezTo>
                  <a:pt x="67" y="14"/>
                  <a:pt x="67" y="14"/>
                  <a:pt x="67" y="14"/>
                </a:cubicBezTo>
                <a:cubicBezTo>
                  <a:pt x="67" y="15"/>
                  <a:pt x="67" y="15"/>
                  <a:pt x="67" y="15"/>
                </a:cubicBezTo>
                <a:cubicBezTo>
                  <a:pt x="67" y="15"/>
                  <a:pt x="65" y="16"/>
                  <a:pt x="65" y="16"/>
                </a:cubicBezTo>
                <a:close/>
                <a:moveTo>
                  <a:pt x="69" y="19"/>
                </a:moveTo>
                <a:cubicBezTo>
                  <a:pt x="70" y="17"/>
                  <a:pt x="70" y="17"/>
                  <a:pt x="70" y="17"/>
                </a:cubicBezTo>
                <a:cubicBezTo>
                  <a:pt x="70" y="18"/>
                  <a:pt x="70" y="18"/>
                  <a:pt x="70" y="18"/>
                </a:cubicBezTo>
                <a:cubicBezTo>
                  <a:pt x="69" y="19"/>
                  <a:pt x="69" y="19"/>
                  <a:pt x="69" y="19"/>
                </a:cubicBezTo>
                <a:close/>
                <a:moveTo>
                  <a:pt x="69" y="18"/>
                </a:moveTo>
                <a:cubicBezTo>
                  <a:pt x="68" y="19"/>
                  <a:pt x="68" y="19"/>
                  <a:pt x="68" y="19"/>
                </a:cubicBezTo>
                <a:cubicBezTo>
                  <a:pt x="67" y="19"/>
                  <a:pt x="67" y="19"/>
                  <a:pt x="67" y="19"/>
                </a:cubicBezTo>
                <a:cubicBezTo>
                  <a:pt x="66" y="17"/>
                  <a:pt x="66" y="17"/>
                  <a:pt x="66" y="17"/>
                </a:cubicBezTo>
                <a:cubicBezTo>
                  <a:pt x="68" y="16"/>
                  <a:pt x="68" y="16"/>
                  <a:pt x="68" y="16"/>
                </a:cubicBezTo>
                <a:cubicBezTo>
                  <a:pt x="68" y="16"/>
                  <a:pt x="68" y="16"/>
                  <a:pt x="68" y="16"/>
                </a:cubicBezTo>
                <a:cubicBezTo>
                  <a:pt x="69" y="16"/>
                  <a:pt x="69" y="16"/>
                  <a:pt x="69" y="16"/>
                </a:cubicBezTo>
                <a:cubicBezTo>
                  <a:pt x="70" y="16"/>
                  <a:pt x="70" y="16"/>
                  <a:pt x="70" y="16"/>
                </a:cubicBezTo>
                <a:cubicBezTo>
                  <a:pt x="69" y="17"/>
                  <a:pt x="69" y="17"/>
                  <a:pt x="69" y="17"/>
                </a:cubicBezTo>
                <a:cubicBezTo>
                  <a:pt x="69" y="18"/>
                  <a:pt x="69" y="18"/>
                  <a:pt x="69" y="18"/>
                </a:cubicBezTo>
                <a:close/>
                <a:moveTo>
                  <a:pt x="72" y="15"/>
                </a:moveTo>
                <a:cubicBezTo>
                  <a:pt x="71" y="16"/>
                  <a:pt x="71" y="16"/>
                  <a:pt x="71" y="16"/>
                </a:cubicBezTo>
                <a:cubicBezTo>
                  <a:pt x="70" y="15"/>
                  <a:pt x="70" y="15"/>
                  <a:pt x="70" y="15"/>
                </a:cubicBezTo>
                <a:cubicBezTo>
                  <a:pt x="70" y="14"/>
                  <a:pt x="70" y="14"/>
                  <a:pt x="70" y="14"/>
                </a:cubicBezTo>
                <a:cubicBezTo>
                  <a:pt x="69" y="12"/>
                  <a:pt x="69" y="12"/>
                  <a:pt x="69" y="12"/>
                </a:cubicBezTo>
                <a:cubicBezTo>
                  <a:pt x="70" y="12"/>
                  <a:pt x="70" y="12"/>
                  <a:pt x="70" y="12"/>
                </a:cubicBezTo>
                <a:cubicBezTo>
                  <a:pt x="70" y="14"/>
                  <a:pt x="70" y="14"/>
                  <a:pt x="70" y="14"/>
                </a:cubicBezTo>
                <a:cubicBezTo>
                  <a:pt x="72" y="15"/>
                  <a:pt x="72" y="15"/>
                  <a:pt x="72" y="15"/>
                </a:cubicBezTo>
                <a:cubicBezTo>
                  <a:pt x="72" y="15"/>
                  <a:pt x="72" y="15"/>
                  <a:pt x="72" y="15"/>
                </a:cubicBezTo>
                <a:close/>
                <a:moveTo>
                  <a:pt x="75" y="17"/>
                </a:moveTo>
                <a:cubicBezTo>
                  <a:pt x="75" y="16"/>
                  <a:pt x="75" y="16"/>
                  <a:pt x="75" y="16"/>
                </a:cubicBezTo>
                <a:cubicBezTo>
                  <a:pt x="74" y="16"/>
                  <a:pt x="74" y="16"/>
                  <a:pt x="74" y="16"/>
                </a:cubicBezTo>
                <a:cubicBezTo>
                  <a:pt x="74" y="14"/>
                  <a:pt x="74" y="14"/>
                  <a:pt x="74" y="14"/>
                </a:cubicBezTo>
                <a:cubicBezTo>
                  <a:pt x="74" y="13"/>
                  <a:pt x="74" y="13"/>
                  <a:pt x="74" y="13"/>
                </a:cubicBezTo>
                <a:cubicBezTo>
                  <a:pt x="76" y="14"/>
                  <a:pt x="76" y="14"/>
                  <a:pt x="76" y="14"/>
                </a:cubicBezTo>
                <a:cubicBezTo>
                  <a:pt x="75" y="15"/>
                  <a:pt x="75" y="15"/>
                  <a:pt x="75" y="15"/>
                </a:cubicBezTo>
                <a:cubicBezTo>
                  <a:pt x="76" y="16"/>
                  <a:pt x="76" y="16"/>
                  <a:pt x="76" y="16"/>
                </a:cubicBezTo>
                <a:cubicBezTo>
                  <a:pt x="75" y="17"/>
                  <a:pt x="75" y="17"/>
                  <a:pt x="75" y="17"/>
                </a:cubicBezTo>
                <a:close/>
                <a:moveTo>
                  <a:pt x="85" y="12"/>
                </a:moveTo>
                <a:cubicBezTo>
                  <a:pt x="84" y="12"/>
                  <a:pt x="84" y="12"/>
                  <a:pt x="84" y="12"/>
                </a:cubicBezTo>
                <a:cubicBezTo>
                  <a:pt x="82" y="11"/>
                  <a:pt x="82" y="11"/>
                  <a:pt x="82" y="11"/>
                </a:cubicBezTo>
                <a:cubicBezTo>
                  <a:pt x="83" y="11"/>
                  <a:pt x="83" y="11"/>
                  <a:pt x="83" y="11"/>
                </a:cubicBezTo>
                <a:cubicBezTo>
                  <a:pt x="85" y="11"/>
                  <a:pt x="85" y="11"/>
                  <a:pt x="85" y="11"/>
                </a:cubicBezTo>
                <a:cubicBezTo>
                  <a:pt x="85" y="11"/>
                  <a:pt x="85" y="11"/>
                  <a:pt x="85" y="11"/>
                </a:cubicBezTo>
                <a:cubicBezTo>
                  <a:pt x="85" y="12"/>
                  <a:pt x="85" y="12"/>
                  <a:pt x="85" y="12"/>
                </a:cubicBezTo>
                <a:close/>
                <a:moveTo>
                  <a:pt x="86" y="11"/>
                </a:moveTo>
                <a:cubicBezTo>
                  <a:pt x="85" y="10"/>
                  <a:pt x="85" y="10"/>
                  <a:pt x="85" y="10"/>
                </a:cubicBezTo>
                <a:cubicBezTo>
                  <a:pt x="87" y="8"/>
                  <a:pt x="87" y="8"/>
                  <a:pt x="87" y="8"/>
                </a:cubicBezTo>
                <a:cubicBezTo>
                  <a:pt x="88" y="9"/>
                  <a:pt x="88" y="9"/>
                  <a:pt x="88" y="9"/>
                </a:cubicBezTo>
                <a:cubicBezTo>
                  <a:pt x="87" y="10"/>
                  <a:pt x="87" y="10"/>
                  <a:pt x="87" y="10"/>
                </a:cubicBezTo>
                <a:cubicBezTo>
                  <a:pt x="86" y="11"/>
                  <a:pt x="86" y="11"/>
                  <a:pt x="86" y="11"/>
                </a:cubicBezTo>
                <a:close/>
                <a:moveTo>
                  <a:pt x="84" y="9"/>
                </a:moveTo>
                <a:cubicBezTo>
                  <a:pt x="83" y="9"/>
                  <a:pt x="83" y="9"/>
                  <a:pt x="83" y="9"/>
                </a:cubicBezTo>
                <a:cubicBezTo>
                  <a:pt x="81" y="9"/>
                  <a:pt x="81" y="9"/>
                  <a:pt x="81" y="9"/>
                </a:cubicBezTo>
                <a:cubicBezTo>
                  <a:pt x="80" y="7"/>
                  <a:pt x="80" y="7"/>
                  <a:pt x="80" y="7"/>
                </a:cubicBezTo>
                <a:cubicBezTo>
                  <a:pt x="82" y="8"/>
                  <a:pt x="82" y="8"/>
                  <a:pt x="82" y="8"/>
                </a:cubicBezTo>
                <a:cubicBezTo>
                  <a:pt x="83" y="7"/>
                  <a:pt x="83" y="7"/>
                  <a:pt x="83" y="7"/>
                </a:cubicBezTo>
                <a:cubicBezTo>
                  <a:pt x="83" y="8"/>
                  <a:pt x="83" y="8"/>
                  <a:pt x="83" y="8"/>
                </a:cubicBezTo>
                <a:cubicBezTo>
                  <a:pt x="84" y="6"/>
                  <a:pt x="84" y="6"/>
                  <a:pt x="84" y="6"/>
                </a:cubicBezTo>
                <a:cubicBezTo>
                  <a:pt x="85" y="7"/>
                  <a:pt x="85" y="7"/>
                  <a:pt x="85" y="7"/>
                </a:cubicBezTo>
                <a:cubicBezTo>
                  <a:pt x="87" y="5"/>
                  <a:pt x="87" y="5"/>
                  <a:pt x="87" y="5"/>
                </a:cubicBezTo>
                <a:cubicBezTo>
                  <a:pt x="87" y="6"/>
                  <a:pt x="87" y="6"/>
                  <a:pt x="87" y="6"/>
                </a:cubicBezTo>
                <a:cubicBezTo>
                  <a:pt x="84" y="9"/>
                  <a:pt x="84" y="9"/>
                  <a:pt x="84" y="9"/>
                </a:cubicBezTo>
                <a:close/>
                <a:moveTo>
                  <a:pt x="88" y="6"/>
                </a:moveTo>
                <a:cubicBezTo>
                  <a:pt x="88" y="6"/>
                  <a:pt x="89" y="6"/>
                  <a:pt x="89" y="6"/>
                </a:cubicBezTo>
                <a:cubicBezTo>
                  <a:pt x="91" y="7"/>
                  <a:pt x="91" y="7"/>
                  <a:pt x="91" y="7"/>
                </a:cubicBezTo>
                <a:cubicBezTo>
                  <a:pt x="90" y="8"/>
                  <a:pt x="90" y="8"/>
                  <a:pt x="90" y="8"/>
                </a:cubicBezTo>
                <a:cubicBezTo>
                  <a:pt x="89" y="9"/>
                  <a:pt x="89" y="9"/>
                  <a:pt x="89" y="9"/>
                </a:cubicBezTo>
                <a:cubicBezTo>
                  <a:pt x="89" y="7"/>
                  <a:pt x="89" y="7"/>
                  <a:pt x="89" y="7"/>
                </a:cubicBezTo>
                <a:cubicBezTo>
                  <a:pt x="88" y="6"/>
                  <a:pt x="88" y="6"/>
                  <a:pt x="88" y="6"/>
                </a:cubicBezTo>
                <a:close/>
                <a:moveTo>
                  <a:pt x="91" y="3"/>
                </a:moveTo>
                <a:cubicBezTo>
                  <a:pt x="91" y="4"/>
                  <a:pt x="91" y="4"/>
                  <a:pt x="91" y="4"/>
                </a:cubicBezTo>
                <a:cubicBezTo>
                  <a:pt x="90" y="4"/>
                  <a:pt x="90" y="4"/>
                  <a:pt x="90" y="4"/>
                </a:cubicBezTo>
                <a:cubicBezTo>
                  <a:pt x="89" y="3"/>
                  <a:pt x="89" y="3"/>
                  <a:pt x="89" y="3"/>
                </a:cubicBezTo>
                <a:cubicBezTo>
                  <a:pt x="90" y="3"/>
                  <a:pt x="90" y="3"/>
                  <a:pt x="90" y="3"/>
                </a:cubicBezTo>
                <a:cubicBezTo>
                  <a:pt x="91" y="3"/>
                  <a:pt x="91" y="3"/>
                  <a:pt x="91" y="3"/>
                </a:cubicBezTo>
                <a:close/>
                <a:moveTo>
                  <a:pt x="94" y="2"/>
                </a:moveTo>
                <a:cubicBezTo>
                  <a:pt x="93" y="1"/>
                  <a:pt x="93" y="1"/>
                  <a:pt x="93" y="1"/>
                </a:cubicBezTo>
                <a:cubicBezTo>
                  <a:pt x="93" y="1"/>
                  <a:pt x="93" y="1"/>
                  <a:pt x="93" y="1"/>
                </a:cubicBezTo>
                <a:cubicBezTo>
                  <a:pt x="94" y="1"/>
                  <a:pt x="94" y="1"/>
                  <a:pt x="94" y="1"/>
                </a:cubicBezTo>
                <a:cubicBezTo>
                  <a:pt x="94" y="2"/>
                  <a:pt x="94" y="2"/>
                  <a:pt x="94" y="2"/>
                </a:cubicBezTo>
                <a:close/>
                <a:moveTo>
                  <a:pt x="96" y="2"/>
                </a:moveTo>
                <a:cubicBezTo>
                  <a:pt x="96" y="2"/>
                  <a:pt x="96" y="2"/>
                  <a:pt x="96" y="2"/>
                </a:cubicBezTo>
                <a:cubicBezTo>
                  <a:pt x="96" y="1"/>
                  <a:pt x="96" y="1"/>
                  <a:pt x="96" y="1"/>
                </a:cubicBezTo>
                <a:cubicBezTo>
                  <a:pt x="97" y="1"/>
                  <a:pt x="97" y="1"/>
                  <a:pt x="97" y="1"/>
                </a:cubicBezTo>
                <a:cubicBezTo>
                  <a:pt x="97" y="1"/>
                  <a:pt x="97" y="1"/>
                  <a:pt x="97" y="1"/>
                </a:cubicBezTo>
                <a:cubicBezTo>
                  <a:pt x="98" y="0"/>
                  <a:pt x="98" y="0"/>
                  <a:pt x="98" y="0"/>
                </a:cubicBezTo>
                <a:cubicBezTo>
                  <a:pt x="98" y="0"/>
                  <a:pt x="98" y="0"/>
                  <a:pt x="98" y="0"/>
                </a:cubicBezTo>
                <a:cubicBezTo>
                  <a:pt x="99" y="1"/>
                  <a:pt x="99" y="1"/>
                  <a:pt x="99" y="1"/>
                </a:cubicBezTo>
                <a:cubicBezTo>
                  <a:pt x="99" y="2"/>
                  <a:pt x="99" y="2"/>
                  <a:pt x="99" y="2"/>
                </a:cubicBezTo>
                <a:cubicBezTo>
                  <a:pt x="100" y="2"/>
                  <a:pt x="100" y="2"/>
                  <a:pt x="100" y="2"/>
                </a:cubicBezTo>
                <a:cubicBezTo>
                  <a:pt x="99" y="3"/>
                  <a:pt x="99" y="3"/>
                  <a:pt x="99" y="3"/>
                </a:cubicBezTo>
                <a:cubicBezTo>
                  <a:pt x="98" y="3"/>
                  <a:pt x="98" y="3"/>
                  <a:pt x="98" y="3"/>
                </a:cubicBezTo>
                <a:cubicBezTo>
                  <a:pt x="97" y="2"/>
                  <a:pt x="97" y="2"/>
                  <a:pt x="97" y="2"/>
                </a:cubicBezTo>
                <a:lnTo>
                  <a:pt x="96" y="2"/>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6" name="Freeform 44">
            <a:extLst>
              <a:ext uri="{FF2B5EF4-FFF2-40B4-BE49-F238E27FC236}">
                <a16:creationId xmlns:a16="http://schemas.microsoft.com/office/drawing/2014/main" id="{89FD7F2F-CD13-1839-AFAF-B688873840D2}"/>
              </a:ext>
            </a:extLst>
          </p:cNvPr>
          <p:cNvSpPr>
            <a:spLocks noEditPoints="1"/>
          </p:cNvSpPr>
          <p:nvPr userDrawn="1"/>
        </p:nvSpPr>
        <p:spPr bwMode="auto">
          <a:xfrm>
            <a:off x="13743678" y="4091856"/>
            <a:ext cx="615910" cy="1400176"/>
          </a:xfrm>
          <a:custGeom>
            <a:avLst/>
            <a:gdLst>
              <a:gd name="T0" fmla="*/ 7 w 194"/>
              <a:gd name="T1" fmla="*/ 319 h 441"/>
              <a:gd name="T2" fmla="*/ 19 w 194"/>
              <a:gd name="T3" fmla="*/ 297 h 441"/>
              <a:gd name="T4" fmla="*/ 22 w 194"/>
              <a:gd name="T5" fmla="*/ 260 h 441"/>
              <a:gd name="T6" fmla="*/ 10 w 194"/>
              <a:gd name="T7" fmla="*/ 216 h 441"/>
              <a:gd name="T8" fmla="*/ 28 w 194"/>
              <a:gd name="T9" fmla="*/ 179 h 441"/>
              <a:gd name="T10" fmla="*/ 38 w 194"/>
              <a:gd name="T11" fmla="*/ 125 h 441"/>
              <a:gd name="T12" fmla="*/ 53 w 194"/>
              <a:gd name="T13" fmla="*/ 97 h 441"/>
              <a:gd name="T14" fmla="*/ 63 w 194"/>
              <a:gd name="T15" fmla="*/ 57 h 441"/>
              <a:gd name="T16" fmla="*/ 85 w 194"/>
              <a:gd name="T17" fmla="*/ 38 h 441"/>
              <a:gd name="T18" fmla="*/ 91 w 194"/>
              <a:gd name="T19" fmla="*/ 25 h 441"/>
              <a:gd name="T20" fmla="*/ 116 w 194"/>
              <a:gd name="T21" fmla="*/ 22 h 441"/>
              <a:gd name="T22" fmla="*/ 122 w 194"/>
              <a:gd name="T23" fmla="*/ 10 h 441"/>
              <a:gd name="T24" fmla="*/ 132 w 194"/>
              <a:gd name="T25" fmla="*/ 3 h 441"/>
              <a:gd name="T26" fmla="*/ 166 w 194"/>
              <a:gd name="T27" fmla="*/ 25 h 441"/>
              <a:gd name="T28" fmla="*/ 178 w 194"/>
              <a:gd name="T29" fmla="*/ 41 h 441"/>
              <a:gd name="T30" fmla="*/ 182 w 194"/>
              <a:gd name="T31" fmla="*/ 66 h 441"/>
              <a:gd name="T32" fmla="*/ 188 w 194"/>
              <a:gd name="T33" fmla="*/ 100 h 441"/>
              <a:gd name="T34" fmla="*/ 188 w 194"/>
              <a:gd name="T35" fmla="*/ 116 h 441"/>
              <a:gd name="T36" fmla="*/ 169 w 194"/>
              <a:gd name="T37" fmla="*/ 116 h 441"/>
              <a:gd name="T38" fmla="*/ 157 w 194"/>
              <a:gd name="T39" fmla="*/ 119 h 441"/>
              <a:gd name="T40" fmla="*/ 157 w 194"/>
              <a:gd name="T41" fmla="*/ 135 h 441"/>
              <a:gd name="T42" fmla="*/ 157 w 194"/>
              <a:gd name="T43" fmla="*/ 138 h 441"/>
              <a:gd name="T44" fmla="*/ 157 w 194"/>
              <a:gd name="T45" fmla="*/ 157 h 441"/>
              <a:gd name="T46" fmla="*/ 150 w 194"/>
              <a:gd name="T47" fmla="*/ 175 h 441"/>
              <a:gd name="T48" fmla="*/ 135 w 194"/>
              <a:gd name="T49" fmla="*/ 194 h 441"/>
              <a:gd name="T50" fmla="*/ 122 w 194"/>
              <a:gd name="T51" fmla="*/ 207 h 441"/>
              <a:gd name="T52" fmla="*/ 110 w 194"/>
              <a:gd name="T53" fmla="*/ 210 h 441"/>
              <a:gd name="T54" fmla="*/ 100 w 194"/>
              <a:gd name="T55" fmla="*/ 229 h 441"/>
              <a:gd name="T56" fmla="*/ 97 w 194"/>
              <a:gd name="T57" fmla="*/ 250 h 441"/>
              <a:gd name="T58" fmla="*/ 97 w 194"/>
              <a:gd name="T59" fmla="*/ 266 h 441"/>
              <a:gd name="T60" fmla="*/ 100 w 194"/>
              <a:gd name="T61" fmla="*/ 285 h 441"/>
              <a:gd name="T62" fmla="*/ 119 w 194"/>
              <a:gd name="T63" fmla="*/ 297 h 441"/>
              <a:gd name="T64" fmla="*/ 119 w 194"/>
              <a:gd name="T65" fmla="*/ 326 h 441"/>
              <a:gd name="T66" fmla="*/ 100 w 194"/>
              <a:gd name="T67" fmla="*/ 319 h 441"/>
              <a:gd name="T68" fmla="*/ 85 w 194"/>
              <a:gd name="T69" fmla="*/ 322 h 441"/>
              <a:gd name="T70" fmla="*/ 97 w 194"/>
              <a:gd name="T71" fmla="*/ 326 h 441"/>
              <a:gd name="T72" fmla="*/ 119 w 194"/>
              <a:gd name="T73" fmla="*/ 332 h 441"/>
              <a:gd name="T74" fmla="*/ 110 w 194"/>
              <a:gd name="T75" fmla="*/ 335 h 441"/>
              <a:gd name="T76" fmla="*/ 97 w 194"/>
              <a:gd name="T77" fmla="*/ 347 h 441"/>
              <a:gd name="T78" fmla="*/ 91 w 194"/>
              <a:gd name="T79" fmla="*/ 357 h 441"/>
              <a:gd name="T80" fmla="*/ 94 w 194"/>
              <a:gd name="T81" fmla="*/ 372 h 441"/>
              <a:gd name="T82" fmla="*/ 94 w 194"/>
              <a:gd name="T83" fmla="*/ 397 h 441"/>
              <a:gd name="T84" fmla="*/ 78 w 194"/>
              <a:gd name="T85" fmla="*/ 419 h 441"/>
              <a:gd name="T86" fmla="*/ 57 w 194"/>
              <a:gd name="T87" fmla="*/ 435 h 441"/>
              <a:gd name="T88" fmla="*/ 35 w 194"/>
              <a:gd name="T89" fmla="*/ 438 h 441"/>
              <a:gd name="T90" fmla="*/ 35 w 194"/>
              <a:gd name="T91" fmla="*/ 413 h 441"/>
              <a:gd name="T92" fmla="*/ 16 w 194"/>
              <a:gd name="T93" fmla="*/ 388 h 441"/>
              <a:gd name="T94" fmla="*/ 10 w 194"/>
              <a:gd name="T95" fmla="*/ 369 h 441"/>
              <a:gd name="T96" fmla="*/ 7 w 194"/>
              <a:gd name="T97" fmla="*/ 360 h 441"/>
              <a:gd name="T98" fmla="*/ 0 w 194"/>
              <a:gd name="T99" fmla="*/ 347 h 441"/>
              <a:gd name="T100" fmla="*/ 122 w 194"/>
              <a:gd name="T101" fmla="*/ 332 h 441"/>
              <a:gd name="T102" fmla="*/ 7 w 194"/>
              <a:gd name="T103" fmla="*/ 366 h 441"/>
              <a:gd name="T104" fmla="*/ 138 w 194"/>
              <a:gd name="T105" fmla="*/ 357 h 441"/>
              <a:gd name="T106" fmla="*/ 141 w 194"/>
              <a:gd name="T107" fmla="*/ 372 h 441"/>
              <a:gd name="T108" fmla="*/ 128 w 194"/>
              <a:gd name="T109" fmla="*/ 401 h 441"/>
              <a:gd name="T110" fmla="*/ 135 w 194"/>
              <a:gd name="T111" fmla="*/ 385 h 441"/>
              <a:gd name="T112" fmla="*/ 128 w 194"/>
              <a:gd name="T113" fmla="*/ 376 h 441"/>
              <a:gd name="T114" fmla="*/ 125 w 194"/>
              <a:gd name="T115" fmla="*/ 394 h 441"/>
              <a:gd name="T116" fmla="*/ 94 w 194"/>
              <a:gd name="T117" fmla="*/ 419 h 441"/>
              <a:gd name="T118" fmla="*/ 100 w 194"/>
              <a:gd name="T119" fmla="*/ 39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4" h="441">
                <a:moveTo>
                  <a:pt x="3" y="338"/>
                </a:moveTo>
                <a:lnTo>
                  <a:pt x="7" y="341"/>
                </a:lnTo>
                <a:lnTo>
                  <a:pt x="7" y="344"/>
                </a:lnTo>
                <a:lnTo>
                  <a:pt x="10" y="341"/>
                </a:lnTo>
                <a:lnTo>
                  <a:pt x="10" y="329"/>
                </a:lnTo>
                <a:lnTo>
                  <a:pt x="7" y="322"/>
                </a:lnTo>
                <a:lnTo>
                  <a:pt x="7" y="319"/>
                </a:lnTo>
                <a:lnTo>
                  <a:pt x="10" y="316"/>
                </a:lnTo>
                <a:lnTo>
                  <a:pt x="10" y="313"/>
                </a:lnTo>
                <a:lnTo>
                  <a:pt x="10" y="310"/>
                </a:lnTo>
                <a:lnTo>
                  <a:pt x="16" y="310"/>
                </a:lnTo>
                <a:lnTo>
                  <a:pt x="16" y="307"/>
                </a:lnTo>
                <a:lnTo>
                  <a:pt x="16" y="304"/>
                </a:lnTo>
                <a:lnTo>
                  <a:pt x="19" y="297"/>
                </a:lnTo>
                <a:lnTo>
                  <a:pt x="16" y="294"/>
                </a:lnTo>
                <a:lnTo>
                  <a:pt x="16" y="285"/>
                </a:lnTo>
                <a:lnTo>
                  <a:pt x="13" y="279"/>
                </a:lnTo>
                <a:lnTo>
                  <a:pt x="13" y="275"/>
                </a:lnTo>
                <a:lnTo>
                  <a:pt x="22" y="272"/>
                </a:lnTo>
                <a:lnTo>
                  <a:pt x="22" y="266"/>
                </a:lnTo>
                <a:lnTo>
                  <a:pt x="22" y="260"/>
                </a:lnTo>
                <a:lnTo>
                  <a:pt x="16" y="254"/>
                </a:lnTo>
                <a:lnTo>
                  <a:pt x="10" y="250"/>
                </a:lnTo>
                <a:lnTo>
                  <a:pt x="10" y="244"/>
                </a:lnTo>
                <a:lnTo>
                  <a:pt x="13" y="235"/>
                </a:lnTo>
                <a:lnTo>
                  <a:pt x="10" y="229"/>
                </a:lnTo>
                <a:lnTo>
                  <a:pt x="10" y="222"/>
                </a:lnTo>
                <a:lnTo>
                  <a:pt x="10" y="216"/>
                </a:lnTo>
                <a:lnTo>
                  <a:pt x="10" y="207"/>
                </a:lnTo>
                <a:lnTo>
                  <a:pt x="7" y="197"/>
                </a:lnTo>
                <a:lnTo>
                  <a:pt x="10" y="188"/>
                </a:lnTo>
                <a:lnTo>
                  <a:pt x="13" y="179"/>
                </a:lnTo>
                <a:lnTo>
                  <a:pt x="16" y="175"/>
                </a:lnTo>
                <a:lnTo>
                  <a:pt x="22" y="179"/>
                </a:lnTo>
                <a:lnTo>
                  <a:pt x="28" y="179"/>
                </a:lnTo>
                <a:lnTo>
                  <a:pt x="32" y="172"/>
                </a:lnTo>
                <a:lnTo>
                  <a:pt x="32" y="166"/>
                </a:lnTo>
                <a:lnTo>
                  <a:pt x="32" y="163"/>
                </a:lnTo>
                <a:lnTo>
                  <a:pt x="32" y="160"/>
                </a:lnTo>
                <a:lnTo>
                  <a:pt x="38" y="141"/>
                </a:lnTo>
                <a:lnTo>
                  <a:pt x="38" y="132"/>
                </a:lnTo>
                <a:lnTo>
                  <a:pt x="38" y="125"/>
                </a:lnTo>
                <a:lnTo>
                  <a:pt x="41" y="119"/>
                </a:lnTo>
                <a:lnTo>
                  <a:pt x="41" y="113"/>
                </a:lnTo>
                <a:lnTo>
                  <a:pt x="38" y="110"/>
                </a:lnTo>
                <a:lnTo>
                  <a:pt x="38" y="107"/>
                </a:lnTo>
                <a:lnTo>
                  <a:pt x="44" y="103"/>
                </a:lnTo>
                <a:lnTo>
                  <a:pt x="50" y="100"/>
                </a:lnTo>
                <a:lnTo>
                  <a:pt x="53" y="97"/>
                </a:lnTo>
                <a:lnTo>
                  <a:pt x="53" y="94"/>
                </a:lnTo>
                <a:lnTo>
                  <a:pt x="60" y="85"/>
                </a:lnTo>
                <a:lnTo>
                  <a:pt x="66" y="78"/>
                </a:lnTo>
                <a:lnTo>
                  <a:pt x="66" y="72"/>
                </a:lnTo>
                <a:lnTo>
                  <a:pt x="66" y="66"/>
                </a:lnTo>
                <a:lnTo>
                  <a:pt x="63" y="66"/>
                </a:lnTo>
                <a:lnTo>
                  <a:pt x="63" y="57"/>
                </a:lnTo>
                <a:lnTo>
                  <a:pt x="66" y="53"/>
                </a:lnTo>
                <a:lnTo>
                  <a:pt x="69" y="50"/>
                </a:lnTo>
                <a:lnTo>
                  <a:pt x="69" y="47"/>
                </a:lnTo>
                <a:lnTo>
                  <a:pt x="72" y="44"/>
                </a:lnTo>
                <a:lnTo>
                  <a:pt x="75" y="38"/>
                </a:lnTo>
                <a:lnTo>
                  <a:pt x="78" y="35"/>
                </a:lnTo>
                <a:lnTo>
                  <a:pt x="85" y="38"/>
                </a:lnTo>
                <a:lnTo>
                  <a:pt x="85" y="41"/>
                </a:lnTo>
                <a:lnTo>
                  <a:pt x="88" y="38"/>
                </a:lnTo>
                <a:lnTo>
                  <a:pt x="91" y="38"/>
                </a:lnTo>
                <a:lnTo>
                  <a:pt x="88" y="31"/>
                </a:lnTo>
                <a:lnTo>
                  <a:pt x="91" y="31"/>
                </a:lnTo>
                <a:lnTo>
                  <a:pt x="91" y="28"/>
                </a:lnTo>
                <a:lnTo>
                  <a:pt x="91" y="25"/>
                </a:lnTo>
                <a:lnTo>
                  <a:pt x="88" y="22"/>
                </a:lnTo>
                <a:lnTo>
                  <a:pt x="91" y="19"/>
                </a:lnTo>
                <a:lnTo>
                  <a:pt x="97" y="19"/>
                </a:lnTo>
                <a:lnTo>
                  <a:pt x="100" y="16"/>
                </a:lnTo>
                <a:lnTo>
                  <a:pt x="107" y="19"/>
                </a:lnTo>
                <a:lnTo>
                  <a:pt x="110" y="22"/>
                </a:lnTo>
                <a:lnTo>
                  <a:pt x="116" y="22"/>
                </a:lnTo>
                <a:lnTo>
                  <a:pt x="119" y="25"/>
                </a:lnTo>
                <a:lnTo>
                  <a:pt x="119" y="22"/>
                </a:lnTo>
                <a:lnTo>
                  <a:pt x="122" y="25"/>
                </a:lnTo>
                <a:lnTo>
                  <a:pt x="122" y="19"/>
                </a:lnTo>
                <a:lnTo>
                  <a:pt x="119" y="16"/>
                </a:lnTo>
                <a:lnTo>
                  <a:pt x="119" y="10"/>
                </a:lnTo>
                <a:lnTo>
                  <a:pt x="122" y="10"/>
                </a:lnTo>
                <a:lnTo>
                  <a:pt x="122" y="6"/>
                </a:lnTo>
                <a:lnTo>
                  <a:pt x="119" y="3"/>
                </a:lnTo>
                <a:lnTo>
                  <a:pt x="119" y="0"/>
                </a:lnTo>
                <a:lnTo>
                  <a:pt x="122" y="0"/>
                </a:lnTo>
                <a:lnTo>
                  <a:pt x="128" y="0"/>
                </a:lnTo>
                <a:lnTo>
                  <a:pt x="128" y="0"/>
                </a:lnTo>
                <a:lnTo>
                  <a:pt x="132" y="3"/>
                </a:lnTo>
                <a:lnTo>
                  <a:pt x="138" y="6"/>
                </a:lnTo>
                <a:lnTo>
                  <a:pt x="144" y="13"/>
                </a:lnTo>
                <a:lnTo>
                  <a:pt x="150" y="16"/>
                </a:lnTo>
                <a:lnTo>
                  <a:pt x="157" y="19"/>
                </a:lnTo>
                <a:lnTo>
                  <a:pt x="160" y="19"/>
                </a:lnTo>
                <a:lnTo>
                  <a:pt x="163" y="19"/>
                </a:lnTo>
                <a:lnTo>
                  <a:pt x="166" y="25"/>
                </a:lnTo>
                <a:lnTo>
                  <a:pt x="169" y="28"/>
                </a:lnTo>
                <a:lnTo>
                  <a:pt x="169" y="28"/>
                </a:lnTo>
                <a:lnTo>
                  <a:pt x="172" y="28"/>
                </a:lnTo>
                <a:lnTo>
                  <a:pt x="175" y="35"/>
                </a:lnTo>
                <a:lnTo>
                  <a:pt x="178" y="35"/>
                </a:lnTo>
                <a:lnTo>
                  <a:pt x="178" y="38"/>
                </a:lnTo>
                <a:lnTo>
                  <a:pt x="178" y="41"/>
                </a:lnTo>
                <a:lnTo>
                  <a:pt x="178" y="44"/>
                </a:lnTo>
                <a:lnTo>
                  <a:pt x="175" y="50"/>
                </a:lnTo>
                <a:lnTo>
                  <a:pt x="178" y="53"/>
                </a:lnTo>
                <a:lnTo>
                  <a:pt x="182" y="53"/>
                </a:lnTo>
                <a:lnTo>
                  <a:pt x="185" y="60"/>
                </a:lnTo>
                <a:lnTo>
                  <a:pt x="182" y="63"/>
                </a:lnTo>
                <a:lnTo>
                  <a:pt x="182" y="66"/>
                </a:lnTo>
                <a:lnTo>
                  <a:pt x="185" y="69"/>
                </a:lnTo>
                <a:lnTo>
                  <a:pt x="185" y="78"/>
                </a:lnTo>
                <a:lnTo>
                  <a:pt x="185" y="82"/>
                </a:lnTo>
                <a:lnTo>
                  <a:pt x="185" y="85"/>
                </a:lnTo>
                <a:lnTo>
                  <a:pt x="185" y="91"/>
                </a:lnTo>
                <a:lnTo>
                  <a:pt x="185" y="94"/>
                </a:lnTo>
                <a:lnTo>
                  <a:pt x="188" y="100"/>
                </a:lnTo>
                <a:lnTo>
                  <a:pt x="191" y="100"/>
                </a:lnTo>
                <a:lnTo>
                  <a:pt x="194" y="107"/>
                </a:lnTo>
                <a:lnTo>
                  <a:pt x="194" y="110"/>
                </a:lnTo>
                <a:lnTo>
                  <a:pt x="194" y="116"/>
                </a:lnTo>
                <a:lnTo>
                  <a:pt x="194" y="116"/>
                </a:lnTo>
                <a:lnTo>
                  <a:pt x="194" y="116"/>
                </a:lnTo>
                <a:lnTo>
                  <a:pt x="188" y="116"/>
                </a:lnTo>
                <a:lnTo>
                  <a:pt x="188" y="113"/>
                </a:lnTo>
                <a:lnTo>
                  <a:pt x="182" y="116"/>
                </a:lnTo>
                <a:lnTo>
                  <a:pt x="178" y="116"/>
                </a:lnTo>
                <a:lnTo>
                  <a:pt x="178" y="119"/>
                </a:lnTo>
                <a:lnTo>
                  <a:pt x="175" y="116"/>
                </a:lnTo>
                <a:lnTo>
                  <a:pt x="172" y="113"/>
                </a:lnTo>
                <a:lnTo>
                  <a:pt x="169" y="116"/>
                </a:lnTo>
                <a:lnTo>
                  <a:pt x="166" y="113"/>
                </a:lnTo>
                <a:lnTo>
                  <a:pt x="166" y="116"/>
                </a:lnTo>
                <a:lnTo>
                  <a:pt x="166" y="119"/>
                </a:lnTo>
                <a:lnTo>
                  <a:pt x="163" y="122"/>
                </a:lnTo>
                <a:lnTo>
                  <a:pt x="160" y="122"/>
                </a:lnTo>
                <a:lnTo>
                  <a:pt x="160" y="119"/>
                </a:lnTo>
                <a:lnTo>
                  <a:pt x="157" y="119"/>
                </a:lnTo>
                <a:lnTo>
                  <a:pt x="160" y="122"/>
                </a:lnTo>
                <a:lnTo>
                  <a:pt x="160" y="125"/>
                </a:lnTo>
                <a:lnTo>
                  <a:pt x="157" y="128"/>
                </a:lnTo>
                <a:lnTo>
                  <a:pt x="153" y="128"/>
                </a:lnTo>
                <a:lnTo>
                  <a:pt x="150" y="128"/>
                </a:lnTo>
                <a:lnTo>
                  <a:pt x="157" y="132"/>
                </a:lnTo>
                <a:lnTo>
                  <a:pt x="157" y="135"/>
                </a:lnTo>
                <a:lnTo>
                  <a:pt x="153" y="135"/>
                </a:lnTo>
                <a:lnTo>
                  <a:pt x="153" y="132"/>
                </a:lnTo>
                <a:lnTo>
                  <a:pt x="150" y="132"/>
                </a:lnTo>
                <a:lnTo>
                  <a:pt x="150" y="132"/>
                </a:lnTo>
                <a:lnTo>
                  <a:pt x="150" y="135"/>
                </a:lnTo>
                <a:lnTo>
                  <a:pt x="153" y="135"/>
                </a:lnTo>
                <a:lnTo>
                  <a:pt x="157" y="138"/>
                </a:lnTo>
                <a:lnTo>
                  <a:pt x="153" y="141"/>
                </a:lnTo>
                <a:lnTo>
                  <a:pt x="150" y="147"/>
                </a:lnTo>
                <a:lnTo>
                  <a:pt x="153" y="150"/>
                </a:lnTo>
                <a:lnTo>
                  <a:pt x="147" y="150"/>
                </a:lnTo>
                <a:lnTo>
                  <a:pt x="150" y="153"/>
                </a:lnTo>
                <a:lnTo>
                  <a:pt x="153" y="153"/>
                </a:lnTo>
                <a:lnTo>
                  <a:pt x="157" y="157"/>
                </a:lnTo>
                <a:lnTo>
                  <a:pt x="153" y="157"/>
                </a:lnTo>
                <a:lnTo>
                  <a:pt x="157" y="160"/>
                </a:lnTo>
                <a:lnTo>
                  <a:pt x="160" y="160"/>
                </a:lnTo>
                <a:lnTo>
                  <a:pt x="153" y="166"/>
                </a:lnTo>
                <a:lnTo>
                  <a:pt x="153" y="166"/>
                </a:lnTo>
                <a:lnTo>
                  <a:pt x="150" y="169"/>
                </a:lnTo>
                <a:lnTo>
                  <a:pt x="150" y="175"/>
                </a:lnTo>
                <a:lnTo>
                  <a:pt x="147" y="182"/>
                </a:lnTo>
                <a:lnTo>
                  <a:pt x="144" y="182"/>
                </a:lnTo>
                <a:lnTo>
                  <a:pt x="141" y="188"/>
                </a:lnTo>
                <a:lnTo>
                  <a:pt x="138" y="185"/>
                </a:lnTo>
                <a:lnTo>
                  <a:pt x="138" y="188"/>
                </a:lnTo>
                <a:lnTo>
                  <a:pt x="138" y="191"/>
                </a:lnTo>
                <a:lnTo>
                  <a:pt x="135" y="194"/>
                </a:lnTo>
                <a:lnTo>
                  <a:pt x="132" y="197"/>
                </a:lnTo>
                <a:lnTo>
                  <a:pt x="128" y="197"/>
                </a:lnTo>
                <a:lnTo>
                  <a:pt x="128" y="194"/>
                </a:lnTo>
                <a:lnTo>
                  <a:pt x="125" y="194"/>
                </a:lnTo>
                <a:lnTo>
                  <a:pt x="125" y="197"/>
                </a:lnTo>
                <a:lnTo>
                  <a:pt x="125" y="204"/>
                </a:lnTo>
                <a:lnTo>
                  <a:pt x="122" y="207"/>
                </a:lnTo>
                <a:lnTo>
                  <a:pt x="119" y="204"/>
                </a:lnTo>
                <a:lnTo>
                  <a:pt x="119" y="204"/>
                </a:lnTo>
                <a:lnTo>
                  <a:pt x="116" y="207"/>
                </a:lnTo>
                <a:lnTo>
                  <a:pt x="116" y="207"/>
                </a:lnTo>
                <a:lnTo>
                  <a:pt x="113" y="207"/>
                </a:lnTo>
                <a:lnTo>
                  <a:pt x="110" y="207"/>
                </a:lnTo>
                <a:lnTo>
                  <a:pt x="110" y="210"/>
                </a:lnTo>
                <a:lnTo>
                  <a:pt x="113" y="213"/>
                </a:lnTo>
                <a:lnTo>
                  <a:pt x="113" y="213"/>
                </a:lnTo>
                <a:lnTo>
                  <a:pt x="107" y="219"/>
                </a:lnTo>
                <a:lnTo>
                  <a:pt x="103" y="219"/>
                </a:lnTo>
                <a:lnTo>
                  <a:pt x="103" y="219"/>
                </a:lnTo>
                <a:lnTo>
                  <a:pt x="103" y="222"/>
                </a:lnTo>
                <a:lnTo>
                  <a:pt x="100" y="229"/>
                </a:lnTo>
                <a:lnTo>
                  <a:pt x="94" y="229"/>
                </a:lnTo>
                <a:lnTo>
                  <a:pt x="91" y="229"/>
                </a:lnTo>
                <a:lnTo>
                  <a:pt x="97" y="235"/>
                </a:lnTo>
                <a:lnTo>
                  <a:pt x="97" y="238"/>
                </a:lnTo>
                <a:lnTo>
                  <a:pt x="97" y="241"/>
                </a:lnTo>
                <a:lnTo>
                  <a:pt x="97" y="244"/>
                </a:lnTo>
                <a:lnTo>
                  <a:pt x="97" y="250"/>
                </a:lnTo>
                <a:lnTo>
                  <a:pt x="97" y="254"/>
                </a:lnTo>
                <a:lnTo>
                  <a:pt x="97" y="257"/>
                </a:lnTo>
                <a:lnTo>
                  <a:pt x="97" y="254"/>
                </a:lnTo>
                <a:lnTo>
                  <a:pt x="94" y="257"/>
                </a:lnTo>
                <a:lnTo>
                  <a:pt x="97" y="263"/>
                </a:lnTo>
                <a:lnTo>
                  <a:pt x="94" y="266"/>
                </a:lnTo>
                <a:lnTo>
                  <a:pt x="97" y="266"/>
                </a:lnTo>
                <a:lnTo>
                  <a:pt x="97" y="269"/>
                </a:lnTo>
                <a:lnTo>
                  <a:pt x="94" y="269"/>
                </a:lnTo>
                <a:lnTo>
                  <a:pt x="97" y="275"/>
                </a:lnTo>
                <a:lnTo>
                  <a:pt x="94" y="279"/>
                </a:lnTo>
                <a:lnTo>
                  <a:pt x="97" y="282"/>
                </a:lnTo>
                <a:lnTo>
                  <a:pt x="97" y="282"/>
                </a:lnTo>
                <a:lnTo>
                  <a:pt x="100" y="285"/>
                </a:lnTo>
                <a:lnTo>
                  <a:pt x="100" y="288"/>
                </a:lnTo>
                <a:lnTo>
                  <a:pt x="103" y="285"/>
                </a:lnTo>
                <a:lnTo>
                  <a:pt x="103" y="291"/>
                </a:lnTo>
                <a:lnTo>
                  <a:pt x="107" y="285"/>
                </a:lnTo>
                <a:lnTo>
                  <a:pt x="110" y="288"/>
                </a:lnTo>
                <a:lnTo>
                  <a:pt x="113" y="291"/>
                </a:lnTo>
                <a:lnTo>
                  <a:pt x="119" y="297"/>
                </a:lnTo>
                <a:lnTo>
                  <a:pt x="116" y="301"/>
                </a:lnTo>
                <a:lnTo>
                  <a:pt x="122" y="304"/>
                </a:lnTo>
                <a:lnTo>
                  <a:pt x="122" y="307"/>
                </a:lnTo>
                <a:lnTo>
                  <a:pt x="128" y="310"/>
                </a:lnTo>
                <a:lnTo>
                  <a:pt x="125" y="316"/>
                </a:lnTo>
                <a:lnTo>
                  <a:pt x="119" y="319"/>
                </a:lnTo>
                <a:lnTo>
                  <a:pt x="119" y="326"/>
                </a:lnTo>
                <a:lnTo>
                  <a:pt x="113" y="326"/>
                </a:lnTo>
                <a:lnTo>
                  <a:pt x="110" y="322"/>
                </a:lnTo>
                <a:lnTo>
                  <a:pt x="110" y="322"/>
                </a:lnTo>
                <a:lnTo>
                  <a:pt x="107" y="319"/>
                </a:lnTo>
                <a:lnTo>
                  <a:pt x="103" y="319"/>
                </a:lnTo>
                <a:lnTo>
                  <a:pt x="103" y="319"/>
                </a:lnTo>
                <a:lnTo>
                  <a:pt x="100" y="319"/>
                </a:lnTo>
                <a:lnTo>
                  <a:pt x="100" y="319"/>
                </a:lnTo>
                <a:lnTo>
                  <a:pt x="97" y="319"/>
                </a:lnTo>
                <a:lnTo>
                  <a:pt x="94" y="319"/>
                </a:lnTo>
                <a:lnTo>
                  <a:pt x="91" y="322"/>
                </a:lnTo>
                <a:lnTo>
                  <a:pt x="91" y="319"/>
                </a:lnTo>
                <a:lnTo>
                  <a:pt x="88" y="322"/>
                </a:lnTo>
                <a:lnTo>
                  <a:pt x="85" y="322"/>
                </a:lnTo>
                <a:lnTo>
                  <a:pt x="82" y="322"/>
                </a:lnTo>
                <a:lnTo>
                  <a:pt x="82" y="326"/>
                </a:lnTo>
                <a:lnTo>
                  <a:pt x="88" y="326"/>
                </a:lnTo>
                <a:lnTo>
                  <a:pt x="88" y="326"/>
                </a:lnTo>
                <a:lnTo>
                  <a:pt x="88" y="326"/>
                </a:lnTo>
                <a:lnTo>
                  <a:pt x="94" y="326"/>
                </a:lnTo>
                <a:lnTo>
                  <a:pt x="97" y="326"/>
                </a:lnTo>
                <a:lnTo>
                  <a:pt x="100" y="326"/>
                </a:lnTo>
                <a:lnTo>
                  <a:pt x="103" y="329"/>
                </a:lnTo>
                <a:lnTo>
                  <a:pt x="107" y="329"/>
                </a:lnTo>
                <a:lnTo>
                  <a:pt x="110" y="329"/>
                </a:lnTo>
                <a:lnTo>
                  <a:pt x="113" y="326"/>
                </a:lnTo>
                <a:lnTo>
                  <a:pt x="116" y="329"/>
                </a:lnTo>
                <a:lnTo>
                  <a:pt x="119" y="332"/>
                </a:lnTo>
                <a:lnTo>
                  <a:pt x="119" y="335"/>
                </a:lnTo>
                <a:lnTo>
                  <a:pt x="116" y="335"/>
                </a:lnTo>
                <a:lnTo>
                  <a:pt x="116" y="335"/>
                </a:lnTo>
                <a:lnTo>
                  <a:pt x="110" y="341"/>
                </a:lnTo>
                <a:lnTo>
                  <a:pt x="110" y="341"/>
                </a:lnTo>
                <a:lnTo>
                  <a:pt x="110" y="338"/>
                </a:lnTo>
                <a:lnTo>
                  <a:pt x="110" y="335"/>
                </a:lnTo>
                <a:lnTo>
                  <a:pt x="107" y="338"/>
                </a:lnTo>
                <a:lnTo>
                  <a:pt x="107" y="341"/>
                </a:lnTo>
                <a:lnTo>
                  <a:pt x="103" y="341"/>
                </a:lnTo>
                <a:lnTo>
                  <a:pt x="103" y="344"/>
                </a:lnTo>
                <a:lnTo>
                  <a:pt x="100" y="347"/>
                </a:lnTo>
                <a:lnTo>
                  <a:pt x="97" y="344"/>
                </a:lnTo>
                <a:lnTo>
                  <a:pt x="97" y="347"/>
                </a:lnTo>
                <a:lnTo>
                  <a:pt x="97" y="351"/>
                </a:lnTo>
                <a:lnTo>
                  <a:pt x="94" y="351"/>
                </a:lnTo>
                <a:lnTo>
                  <a:pt x="94" y="351"/>
                </a:lnTo>
                <a:lnTo>
                  <a:pt x="91" y="351"/>
                </a:lnTo>
                <a:lnTo>
                  <a:pt x="94" y="354"/>
                </a:lnTo>
                <a:lnTo>
                  <a:pt x="97" y="357"/>
                </a:lnTo>
                <a:lnTo>
                  <a:pt x="91" y="357"/>
                </a:lnTo>
                <a:lnTo>
                  <a:pt x="97" y="360"/>
                </a:lnTo>
                <a:lnTo>
                  <a:pt x="97" y="360"/>
                </a:lnTo>
                <a:lnTo>
                  <a:pt x="94" y="366"/>
                </a:lnTo>
                <a:lnTo>
                  <a:pt x="100" y="369"/>
                </a:lnTo>
                <a:lnTo>
                  <a:pt x="94" y="369"/>
                </a:lnTo>
                <a:lnTo>
                  <a:pt x="91" y="369"/>
                </a:lnTo>
                <a:lnTo>
                  <a:pt x="94" y="372"/>
                </a:lnTo>
                <a:lnTo>
                  <a:pt x="91" y="376"/>
                </a:lnTo>
                <a:lnTo>
                  <a:pt x="94" y="379"/>
                </a:lnTo>
                <a:lnTo>
                  <a:pt x="91" y="382"/>
                </a:lnTo>
                <a:lnTo>
                  <a:pt x="94" y="385"/>
                </a:lnTo>
                <a:lnTo>
                  <a:pt x="91" y="388"/>
                </a:lnTo>
                <a:lnTo>
                  <a:pt x="91" y="394"/>
                </a:lnTo>
                <a:lnTo>
                  <a:pt x="94" y="397"/>
                </a:lnTo>
                <a:lnTo>
                  <a:pt x="94" y="401"/>
                </a:lnTo>
                <a:lnTo>
                  <a:pt x="91" y="410"/>
                </a:lnTo>
                <a:lnTo>
                  <a:pt x="88" y="413"/>
                </a:lnTo>
                <a:lnTo>
                  <a:pt x="88" y="419"/>
                </a:lnTo>
                <a:lnTo>
                  <a:pt x="85" y="426"/>
                </a:lnTo>
                <a:lnTo>
                  <a:pt x="82" y="423"/>
                </a:lnTo>
                <a:lnTo>
                  <a:pt x="78" y="419"/>
                </a:lnTo>
                <a:lnTo>
                  <a:pt x="72" y="423"/>
                </a:lnTo>
                <a:lnTo>
                  <a:pt x="66" y="423"/>
                </a:lnTo>
                <a:lnTo>
                  <a:pt x="66" y="419"/>
                </a:lnTo>
                <a:lnTo>
                  <a:pt x="63" y="426"/>
                </a:lnTo>
                <a:lnTo>
                  <a:pt x="57" y="426"/>
                </a:lnTo>
                <a:lnTo>
                  <a:pt x="57" y="432"/>
                </a:lnTo>
                <a:lnTo>
                  <a:pt x="57" y="435"/>
                </a:lnTo>
                <a:lnTo>
                  <a:pt x="57" y="438"/>
                </a:lnTo>
                <a:lnTo>
                  <a:pt x="53" y="441"/>
                </a:lnTo>
                <a:lnTo>
                  <a:pt x="50" y="438"/>
                </a:lnTo>
                <a:lnTo>
                  <a:pt x="38" y="441"/>
                </a:lnTo>
                <a:lnTo>
                  <a:pt x="35" y="441"/>
                </a:lnTo>
                <a:lnTo>
                  <a:pt x="32" y="441"/>
                </a:lnTo>
                <a:lnTo>
                  <a:pt x="35" y="438"/>
                </a:lnTo>
                <a:lnTo>
                  <a:pt x="35" y="429"/>
                </a:lnTo>
                <a:lnTo>
                  <a:pt x="28" y="426"/>
                </a:lnTo>
                <a:lnTo>
                  <a:pt x="28" y="423"/>
                </a:lnTo>
                <a:lnTo>
                  <a:pt x="25" y="423"/>
                </a:lnTo>
                <a:lnTo>
                  <a:pt x="25" y="419"/>
                </a:lnTo>
                <a:lnTo>
                  <a:pt x="32" y="419"/>
                </a:lnTo>
                <a:lnTo>
                  <a:pt x="35" y="413"/>
                </a:lnTo>
                <a:lnTo>
                  <a:pt x="35" y="407"/>
                </a:lnTo>
                <a:lnTo>
                  <a:pt x="28" y="410"/>
                </a:lnTo>
                <a:lnTo>
                  <a:pt x="25" y="407"/>
                </a:lnTo>
                <a:lnTo>
                  <a:pt x="25" y="404"/>
                </a:lnTo>
                <a:lnTo>
                  <a:pt x="19" y="401"/>
                </a:lnTo>
                <a:lnTo>
                  <a:pt x="19" y="397"/>
                </a:lnTo>
                <a:lnTo>
                  <a:pt x="16" y="388"/>
                </a:lnTo>
                <a:lnTo>
                  <a:pt x="16" y="388"/>
                </a:lnTo>
                <a:lnTo>
                  <a:pt x="13" y="382"/>
                </a:lnTo>
                <a:lnTo>
                  <a:pt x="10" y="382"/>
                </a:lnTo>
                <a:lnTo>
                  <a:pt x="7" y="379"/>
                </a:lnTo>
                <a:lnTo>
                  <a:pt x="10" y="376"/>
                </a:lnTo>
                <a:lnTo>
                  <a:pt x="10" y="372"/>
                </a:lnTo>
                <a:lnTo>
                  <a:pt x="10" y="369"/>
                </a:lnTo>
                <a:lnTo>
                  <a:pt x="10" y="366"/>
                </a:lnTo>
                <a:lnTo>
                  <a:pt x="13" y="363"/>
                </a:lnTo>
                <a:lnTo>
                  <a:pt x="13" y="360"/>
                </a:lnTo>
                <a:lnTo>
                  <a:pt x="10" y="360"/>
                </a:lnTo>
                <a:lnTo>
                  <a:pt x="10" y="357"/>
                </a:lnTo>
                <a:lnTo>
                  <a:pt x="7" y="357"/>
                </a:lnTo>
                <a:lnTo>
                  <a:pt x="7" y="360"/>
                </a:lnTo>
                <a:lnTo>
                  <a:pt x="10" y="363"/>
                </a:lnTo>
                <a:lnTo>
                  <a:pt x="7" y="363"/>
                </a:lnTo>
                <a:lnTo>
                  <a:pt x="7" y="360"/>
                </a:lnTo>
                <a:lnTo>
                  <a:pt x="7" y="360"/>
                </a:lnTo>
                <a:lnTo>
                  <a:pt x="3" y="357"/>
                </a:lnTo>
                <a:lnTo>
                  <a:pt x="3" y="351"/>
                </a:lnTo>
                <a:lnTo>
                  <a:pt x="0" y="347"/>
                </a:lnTo>
                <a:lnTo>
                  <a:pt x="0" y="341"/>
                </a:lnTo>
                <a:lnTo>
                  <a:pt x="3" y="338"/>
                </a:lnTo>
                <a:lnTo>
                  <a:pt x="3" y="338"/>
                </a:lnTo>
                <a:lnTo>
                  <a:pt x="3" y="338"/>
                </a:lnTo>
                <a:close/>
                <a:moveTo>
                  <a:pt x="119" y="326"/>
                </a:moveTo>
                <a:lnTo>
                  <a:pt x="122" y="332"/>
                </a:lnTo>
                <a:lnTo>
                  <a:pt x="122" y="332"/>
                </a:lnTo>
                <a:lnTo>
                  <a:pt x="122" y="329"/>
                </a:lnTo>
                <a:lnTo>
                  <a:pt x="125" y="326"/>
                </a:lnTo>
                <a:lnTo>
                  <a:pt x="125" y="319"/>
                </a:lnTo>
                <a:lnTo>
                  <a:pt x="122" y="319"/>
                </a:lnTo>
                <a:lnTo>
                  <a:pt x="119" y="326"/>
                </a:lnTo>
                <a:lnTo>
                  <a:pt x="119" y="326"/>
                </a:lnTo>
                <a:close/>
                <a:moveTo>
                  <a:pt x="7" y="366"/>
                </a:moveTo>
                <a:lnTo>
                  <a:pt x="3" y="369"/>
                </a:lnTo>
                <a:lnTo>
                  <a:pt x="7" y="369"/>
                </a:lnTo>
                <a:lnTo>
                  <a:pt x="7" y="366"/>
                </a:lnTo>
                <a:lnTo>
                  <a:pt x="7" y="366"/>
                </a:lnTo>
                <a:lnTo>
                  <a:pt x="7" y="366"/>
                </a:lnTo>
                <a:close/>
                <a:moveTo>
                  <a:pt x="135" y="354"/>
                </a:moveTo>
                <a:lnTo>
                  <a:pt x="138" y="357"/>
                </a:lnTo>
                <a:lnTo>
                  <a:pt x="138" y="354"/>
                </a:lnTo>
                <a:lnTo>
                  <a:pt x="138" y="354"/>
                </a:lnTo>
                <a:lnTo>
                  <a:pt x="135" y="354"/>
                </a:lnTo>
                <a:lnTo>
                  <a:pt x="135" y="354"/>
                </a:lnTo>
                <a:close/>
                <a:moveTo>
                  <a:pt x="138" y="372"/>
                </a:moveTo>
                <a:lnTo>
                  <a:pt x="138" y="372"/>
                </a:lnTo>
                <a:lnTo>
                  <a:pt x="141" y="372"/>
                </a:lnTo>
                <a:lnTo>
                  <a:pt x="144" y="369"/>
                </a:lnTo>
                <a:lnTo>
                  <a:pt x="144" y="369"/>
                </a:lnTo>
                <a:lnTo>
                  <a:pt x="138" y="369"/>
                </a:lnTo>
                <a:lnTo>
                  <a:pt x="138" y="372"/>
                </a:lnTo>
                <a:lnTo>
                  <a:pt x="138" y="372"/>
                </a:lnTo>
                <a:close/>
                <a:moveTo>
                  <a:pt x="122" y="401"/>
                </a:moveTo>
                <a:lnTo>
                  <a:pt x="128" y="401"/>
                </a:lnTo>
                <a:lnTo>
                  <a:pt x="128" y="397"/>
                </a:lnTo>
                <a:lnTo>
                  <a:pt x="128" y="397"/>
                </a:lnTo>
                <a:lnTo>
                  <a:pt x="128" y="394"/>
                </a:lnTo>
                <a:lnTo>
                  <a:pt x="132" y="391"/>
                </a:lnTo>
                <a:lnTo>
                  <a:pt x="135" y="388"/>
                </a:lnTo>
                <a:lnTo>
                  <a:pt x="135" y="385"/>
                </a:lnTo>
                <a:lnTo>
                  <a:pt x="135" y="385"/>
                </a:lnTo>
                <a:lnTo>
                  <a:pt x="132" y="382"/>
                </a:lnTo>
                <a:lnTo>
                  <a:pt x="135" y="379"/>
                </a:lnTo>
                <a:lnTo>
                  <a:pt x="135" y="376"/>
                </a:lnTo>
                <a:lnTo>
                  <a:pt x="138" y="376"/>
                </a:lnTo>
                <a:lnTo>
                  <a:pt x="135" y="372"/>
                </a:lnTo>
                <a:lnTo>
                  <a:pt x="132" y="376"/>
                </a:lnTo>
                <a:lnTo>
                  <a:pt x="128" y="376"/>
                </a:lnTo>
                <a:lnTo>
                  <a:pt x="125" y="379"/>
                </a:lnTo>
                <a:lnTo>
                  <a:pt x="122" y="382"/>
                </a:lnTo>
                <a:lnTo>
                  <a:pt x="122" y="385"/>
                </a:lnTo>
                <a:lnTo>
                  <a:pt x="122" y="388"/>
                </a:lnTo>
                <a:lnTo>
                  <a:pt x="119" y="388"/>
                </a:lnTo>
                <a:lnTo>
                  <a:pt x="125" y="394"/>
                </a:lnTo>
                <a:lnTo>
                  <a:pt x="125" y="394"/>
                </a:lnTo>
                <a:lnTo>
                  <a:pt x="125" y="397"/>
                </a:lnTo>
                <a:lnTo>
                  <a:pt x="122" y="401"/>
                </a:lnTo>
                <a:lnTo>
                  <a:pt x="122" y="401"/>
                </a:lnTo>
                <a:lnTo>
                  <a:pt x="122" y="401"/>
                </a:lnTo>
                <a:close/>
                <a:moveTo>
                  <a:pt x="94" y="413"/>
                </a:moveTo>
                <a:lnTo>
                  <a:pt x="94" y="416"/>
                </a:lnTo>
                <a:lnTo>
                  <a:pt x="94" y="419"/>
                </a:lnTo>
                <a:lnTo>
                  <a:pt x="97" y="423"/>
                </a:lnTo>
                <a:lnTo>
                  <a:pt x="97" y="419"/>
                </a:lnTo>
                <a:lnTo>
                  <a:pt x="100" y="413"/>
                </a:lnTo>
                <a:lnTo>
                  <a:pt x="100" y="404"/>
                </a:lnTo>
                <a:lnTo>
                  <a:pt x="103" y="397"/>
                </a:lnTo>
                <a:lnTo>
                  <a:pt x="103" y="394"/>
                </a:lnTo>
                <a:lnTo>
                  <a:pt x="100" y="391"/>
                </a:lnTo>
                <a:lnTo>
                  <a:pt x="97" y="394"/>
                </a:lnTo>
                <a:lnTo>
                  <a:pt x="100" y="397"/>
                </a:lnTo>
                <a:lnTo>
                  <a:pt x="97" y="401"/>
                </a:lnTo>
                <a:lnTo>
                  <a:pt x="94" y="404"/>
                </a:lnTo>
                <a:lnTo>
                  <a:pt x="94" y="413"/>
                </a:lnTo>
                <a:close/>
              </a:path>
            </a:pathLst>
          </a:custGeom>
          <a:solidFill>
            <a:schemeClr val="bg2"/>
          </a:solidFill>
          <a:ln>
            <a:solidFill>
              <a:schemeClr val="bg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7" name="Freeform 45">
            <a:extLst>
              <a:ext uri="{FF2B5EF4-FFF2-40B4-BE49-F238E27FC236}">
                <a16:creationId xmlns:a16="http://schemas.microsoft.com/office/drawing/2014/main" id="{3AD9F6E7-A387-2424-A86E-B39DF1D1198A}"/>
              </a:ext>
            </a:extLst>
          </p:cNvPr>
          <p:cNvSpPr>
            <a:spLocks noEditPoints="1"/>
          </p:cNvSpPr>
          <p:nvPr userDrawn="1"/>
        </p:nvSpPr>
        <p:spPr bwMode="auto">
          <a:xfrm>
            <a:off x="14150050" y="3952159"/>
            <a:ext cx="625437" cy="1123950"/>
          </a:xfrm>
          <a:custGeom>
            <a:avLst/>
            <a:gdLst>
              <a:gd name="T0" fmla="*/ 57 w 63"/>
              <a:gd name="T1" fmla="*/ 93 h 113"/>
              <a:gd name="T2" fmla="*/ 58 w 63"/>
              <a:gd name="T3" fmla="*/ 76 h 113"/>
              <a:gd name="T4" fmla="*/ 54 w 63"/>
              <a:gd name="T5" fmla="*/ 64 h 113"/>
              <a:gd name="T6" fmla="*/ 52 w 63"/>
              <a:gd name="T7" fmla="*/ 56 h 113"/>
              <a:gd name="T8" fmla="*/ 50 w 63"/>
              <a:gd name="T9" fmla="*/ 43 h 113"/>
              <a:gd name="T10" fmla="*/ 48 w 63"/>
              <a:gd name="T11" fmla="*/ 28 h 113"/>
              <a:gd name="T12" fmla="*/ 41 w 63"/>
              <a:gd name="T13" fmla="*/ 22 h 113"/>
              <a:gd name="T14" fmla="*/ 40 w 63"/>
              <a:gd name="T15" fmla="*/ 13 h 113"/>
              <a:gd name="T16" fmla="*/ 41 w 63"/>
              <a:gd name="T17" fmla="*/ 4 h 113"/>
              <a:gd name="T18" fmla="*/ 31 w 63"/>
              <a:gd name="T19" fmla="*/ 0 h 113"/>
              <a:gd name="T20" fmla="*/ 26 w 63"/>
              <a:gd name="T21" fmla="*/ 3 h 113"/>
              <a:gd name="T22" fmla="*/ 25 w 63"/>
              <a:gd name="T23" fmla="*/ 12 h 113"/>
              <a:gd name="T24" fmla="*/ 21 w 63"/>
              <a:gd name="T25" fmla="*/ 16 h 113"/>
              <a:gd name="T26" fmla="*/ 13 w 63"/>
              <a:gd name="T27" fmla="*/ 18 h 113"/>
              <a:gd name="T28" fmla="*/ 3 w 63"/>
              <a:gd name="T29" fmla="*/ 11 h 113"/>
              <a:gd name="T30" fmla="*/ 0 w 63"/>
              <a:gd name="T31" fmla="*/ 13 h 113"/>
              <a:gd name="T32" fmla="*/ 9 w 63"/>
              <a:gd name="T33" fmla="*/ 20 h 113"/>
              <a:gd name="T34" fmla="*/ 14 w 63"/>
              <a:gd name="T35" fmla="*/ 23 h 113"/>
              <a:gd name="T36" fmla="*/ 15 w 63"/>
              <a:gd name="T37" fmla="*/ 30 h 113"/>
              <a:gd name="T38" fmla="*/ 18 w 63"/>
              <a:gd name="T39" fmla="*/ 36 h 113"/>
              <a:gd name="T40" fmla="*/ 19 w 63"/>
              <a:gd name="T41" fmla="*/ 46 h 113"/>
              <a:gd name="T42" fmla="*/ 23 w 63"/>
              <a:gd name="T43" fmla="*/ 51 h 113"/>
              <a:gd name="T44" fmla="*/ 28 w 63"/>
              <a:gd name="T45" fmla="*/ 57 h 113"/>
              <a:gd name="T46" fmla="*/ 29 w 63"/>
              <a:gd name="T47" fmla="*/ 61 h 113"/>
              <a:gd name="T48" fmla="*/ 23 w 63"/>
              <a:gd name="T49" fmla="*/ 64 h 113"/>
              <a:gd name="T50" fmla="*/ 19 w 63"/>
              <a:gd name="T51" fmla="*/ 68 h 113"/>
              <a:gd name="T52" fmla="*/ 18 w 63"/>
              <a:gd name="T53" fmla="*/ 74 h 113"/>
              <a:gd name="T54" fmla="*/ 14 w 63"/>
              <a:gd name="T55" fmla="*/ 75 h 113"/>
              <a:gd name="T56" fmla="*/ 13 w 63"/>
              <a:gd name="T57" fmla="*/ 79 h 113"/>
              <a:gd name="T58" fmla="*/ 10 w 63"/>
              <a:gd name="T59" fmla="*/ 80 h 113"/>
              <a:gd name="T60" fmla="*/ 9 w 63"/>
              <a:gd name="T61" fmla="*/ 85 h 113"/>
              <a:gd name="T62" fmla="*/ 10 w 63"/>
              <a:gd name="T63" fmla="*/ 89 h 113"/>
              <a:gd name="T64" fmla="*/ 13 w 63"/>
              <a:gd name="T65" fmla="*/ 96 h 113"/>
              <a:gd name="T66" fmla="*/ 12 w 63"/>
              <a:gd name="T67" fmla="*/ 104 h 113"/>
              <a:gd name="T68" fmla="*/ 16 w 63"/>
              <a:gd name="T69" fmla="*/ 106 h 113"/>
              <a:gd name="T70" fmla="*/ 20 w 63"/>
              <a:gd name="T71" fmla="*/ 107 h 113"/>
              <a:gd name="T72" fmla="*/ 22 w 63"/>
              <a:gd name="T73" fmla="*/ 113 h 113"/>
              <a:gd name="T74" fmla="*/ 26 w 63"/>
              <a:gd name="T75" fmla="*/ 111 h 113"/>
              <a:gd name="T76" fmla="*/ 35 w 63"/>
              <a:gd name="T77" fmla="*/ 107 h 113"/>
              <a:gd name="T78" fmla="*/ 38 w 63"/>
              <a:gd name="T79" fmla="*/ 106 h 113"/>
              <a:gd name="T80" fmla="*/ 40 w 63"/>
              <a:gd name="T81" fmla="*/ 106 h 113"/>
              <a:gd name="T82" fmla="*/ 44 w 63"/>
              <a:gd name="T83" fmla="*/ 105 h 113"/>
              <a:gd name="T84" fmla="*/ 48 w 63"/>
              <a:gd name="T85" fmla="*/ 104 h 113"/>
              <a:gd name="T86" fmla="*/ 25 w 63"/>
              <a:gd name="T87" fmla="*/ 59 h 113"/>
              <a:gd name="T88" fmla="*/ 26 w 63"/>
              <a:gd name="T89" fmla="*/ 59 h 113"/>
              <a:gd name="T90" fmla="*/ 8 w 63"/>
              <a:gd name="T91" fmla="*/ 77 h 113"/>
              <a:gd name="T92" fmla="*/ 8 w 63"/>
              <a:gd name="T93" fmla="*/ 77 h 113"/>
              <a:gd name="T94" fmla="*/ 21 w 63"/>
              <a:gd name="T95" fmla="*/ 110 h 113"/>
              <a:gd name="T96" fmla="*/ 19 w 63"/>
              <a:gd name="T97" fmla="*/ 107 h 113"/>
              <a:gd name="T98" fmla="*/ 16 w 63"/>
              <a:gd name="T99" fmla="*/ 107 h 113"/>
              <a:gd name="T100" fmla="*/ 12 w 63"/>
              <a:gd name="T101" fmla="*/ 107 h 113"/>
              <a:gd name="T102" fmla="*/ 4 w 63"/>
              <a:gd name="T103" fmla="*/ 106 h 113"/>
              <a:gd name="T104" fmla="*/ 6 w 63"/>
              <a:gd name="T105" fmla="*/ 110 h 113"/>
              <a:gd name="T106" fmla="*/ 4 w 63"/>
              <a:gd name="T107" fmla="*/ 10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3" h="113">
                <a:moveTo>
                  <a:pt x="50" y="104"/>
                </a:moveTo>
                <a:cubicBezTo>
                  <a:pt x="50" y="103"/>
                  <a:pt x="50" y="103"/>
                  <a:pt x="50" y="103"/>
                </a:cubicBezTo>
                <a:cubicBezTo>
                  <a:pt x="53" y="100"/>
                  <a:pt x="53" y="100"/>
                  <a:pt x="53" y="100"/>
                </a:cubicBezTo>
                <a:cubicBezTo>
                  <a:pt x="54" y="99"/>
                  <a:pt x="54" y="99"/>
                  <a:pt x="54" y="99"/>
                </a:cubicBezTo>
                <a:cubicBezTo>
                  <a:pt x="56" y="96"/>
                  <a:pt x="56" y="96"/>
                  <a:pt x="56" y="96"/>
                </a:cubicBezTo>
                <a:cubicBezTo>
                  <a:pt x="57" y="93"/>
                  <a:pt x="57" y="93"/>
                  <a:pt x="57" y="93"/>
                </a:cubicBezTo>
                <a:cubicBezTo>
                  <a:pt x="59" y="90"/>
                  <a:pt x="59" y="90"/>
                  <a:pt x="59" y="90"/>
                </a:cubicBezTo>
                <a:cubicBezTo>
                  <a:pt x="61" y="86"/>
                  <a:pt x="61" y="86"/>
                  <a:pt x="61" y="86"/>
                </a:cubicBezTo>
                <a:cubicBezTo>
                  <a:pt x="63" y="82"/>
                  <a:pt x="63" y="82"/>
                  <a:pt x="63" y="82"/>
                </a:cubicBezTo>
                <a:cubicBezTo>
                  <a:pt x="63" y="80"/>
                  <a:pt x="63" y="80"/>
                  <a:pt x="63" y="80"/>
                </a:cubicBezTo>
                <a:cubicBezTo>
                  <a:pt x="60" y="77"/>
                  <a:pt x="60" y="77"/>
                  <a:pt x="60" y="77"/>
                </a:cubicBezTo>
                <a:cubicBezTo>
                  <a:pt x="58" y="76"/>
                  <a:pt x="58" y="76"/>
                  <a:pt x="58" y="76"/>
                </a:cubicBezTo>
                <a:cubicBezTo>
                  <a:pt x="55" y="72"/>
                  <a:pt x="55" y="72"/>
                  <a:pt x="55" y="72"/>
                </a:cubicBezTo>
                <a:cubicBezTo>
                  <a:pt x="56" y="70"/>
                  <a:pt x="56" y="70"/>
                  <a:pt x="56" y="70"/>
                </a:cubicBezTo>
                <a:cubicBezTo>
                  <a:pt x="57" y="68"/>
                  <a:pt x="57" y="68"/>
                  <a:pt x="57" y="68"/>
                </a:cubicBezTo>
                <a:cubicBezTo>
                  <a:pt x="57" y="67"/>
                  <a:pt x="57" y="67"/>
                  <a:pt x="57" y="67"/>
                </a:cubicBezTo>
                <a:cubicBezTo>
                  <a:pt x="55" y="65"/>
                  <a:pt x="55" y="65"/>
                  <a:pt x="55" y="65"/>
                </a:cubicBezTo>
                <a:cubicBezTo>
                  <a:pt x="54" y="64"/>
                  <a:pt x="54" y="64"/>
                  <a:pt x="54" y="64"/>
                </a:cubicBezTo>
                <a:cubicBezTo>
                  <a:pt x="54" y="62"/>
                  <a:pt x="54" y="62"/>
                  <a:pt x="54" y="62"/>
                </a:cubicBezTo>
                <a:cubicBezTo>
                  <a:pt x="55" y="61"/>
                  <a:pt x="55" y="61"/>
                  <a:pt x="55" y="61"/>
                </a:cubicBezTo>
                <a:cubicBezTo>
                  <a:pt x="54" y="60"/>
                  <a:pt x="54" y="60"/>
                  <a:pt x="54" y="60"/>
                </a:cubicBezTo>
                <a:cubicBezTo>
                  <a:pt x="53" y="59"/>
                  <a:pt x="53" y="59"/>
                  <a:pt x="53" y="59"/>
                </a:cubicBezTo>
                <a:cubicBezTo>
                  <a:pt x="52" y="58"/>
                  <a:pt x="52" y="58"/>
                  <a:pt x="52" y="58"/>
                </a:cubicBezTo>
                <a:cubicBezTo>
                  <a:pt x="52" y="56"/>
                  <a:pt x="52" y="56"/>
                  <a:pt x="52" y="56"/>
                </a:cubicBezTo>
                <a:cubicBezTo>
                  <a:pt x="53" y="55"/>
                  <a:pt x="53" y="55"/>
                  <a:pt x="53" y="55"/>
                </a:cubicBezTo>
                <a:cubicBezTo>
                  <a:pt x="52" y="55"/>
                  <a:pt x="52" y="55"/>
                  <a:pt x="52" y="55"/>
                </a:cubicBezTo>
                <a:cubicBezTo>
                  <a:pt x="52" y="54"/>
                  <a:pt x="52" y="54"/>
                  <a:pt x="52" y="54"/>
                </a:cubicBezTo>
                <a:cubicBezTo>
                  <a:pt x="52" y="50"/>
                  <a:pt x="52" y="50"/>
                  <a:pt x="52" y="50"/>
                </a:cubicBezTo>
                <a:cubicBezTo>
                  <a:pt x="53" y="49"/>
                  <a:pt x="53" y="49"/>
                  <a:pt x="53" y="49"/>
                </a:cubicBezTo>
                <a:cubicBezTo>
                  <a:pt x="50" y="43"/>
                  <a:pt x="50" y="43"/>
                  <a:pt x="50" y="43"/>
                </a:cubicBezTo>
                <a:cubicBezTo>
                  <a:pt x="48" y="38"/>
                  <a:pt x="48" y="38"/>
                  <a:pt x="48" y="38"/>
                </a:cubicBezTo>
                <a:cubicBezTo>
                  <a:pt x="47" y="36"/>
                  <a:pt x="47" y="36"/>
                  <a:pt x="47" y="36"/>
                </a:cubicBezTo>
                <a:cubicBezTo>
                  <a:pt x="46" y="35"/>
                  <a:pt x="46" y="35"/>
                  <a:pt x="46" y="35"/>
                </a:cubicBezTo>
                <a:cubicBezTo>
                  <a:pt x="47" y="32"/>
                  <a:pt x="47" y="32"/>
                  <a:pt x="47" y="32"/>
                </a:cubicBezTo>
                <a:cubicBezTo>
                  <a:pt x="48" y="30"/>
                  <a:pt x="48" y="30"/>
                  <a:pt x="48" y="30"/>
                </a:cubicBezTo>
                <a:cubicBezTo>
                  <a:pt x="48" y="28"/>
                  <a:pt x="48" y="28"/>
                  <a:pt x="48" y="28"/>
                </a:cubicBezTo>
                <a:cubicBezTo>
                  <a:pt x="48" y="27"/>
                  <a:pt x="48" y="27"/>
                  <a:pt x="48" y="27"/>
                </a:cubicBezTo>
                <a:cubicBezTo>
                  <a:pt x="45" y="25"/>
                  <a:pt x="45" y="25"/>
                  <a:pt x="45" y="25"/>
                </a:cubicBezTo>
                <a:cubicBezTo>
                  <a:pt x="44" y="24"/>
                  <a:pt x="44" y="24"/>
                  <a:pt x="44" y="24"/>
                </a:cubicBezTo>
                <a:cubicBezTo>
                  <a:pt x="43" y="23"/>
                  <a:pt x="43" y="23"/>
                  <a:pt x="43" y="23"/>
                </a:cubicBezTo>
                <a:cubicBezTo>
                  <a:pt x="42" y="22"/>
                  <a:pt x="42" y="22"/>
                  <a:pt x="42" y="22"/>
                </a:cubicBezTo>
                <a:cubicBezTo>
                  <a:pt x="41" y="22"/>
                  <a:pt x="41" y="22"/>
                  <a:pt x="41" y="22"/>
                </a:cubicBezTo>
                <a:cubicBezTo>
                  <a:pt x="40" y="19"/>
                  <a:pt x="40" y="19"/>
                  <a:pt x="40" y="19"/>
                </a:cubicBezTo>
                <a:cubicBezTo>
                  <a:pt x="39" y="18"/>
                  <a:pt x="39" y="18"/>
                  <a:pt x="39" y="18"/>
                </a:cubicBezTo>
                <a:cubicBezTo>
                  <a:pt x="39" y="16"/>
                  <a:pt x="39" y="16"/>
                  <a:pt x="39" y="16"/>
                </a:cubicBezTo>
                <a:cubicBezTo>
                  <a:pt x="40" y="14"/>
                  <a:pt x="40" y="14"/>
                  <a:pt x="40" y="14"/>
                </a:cubicBezTo>
                <a:cubicBezTo>
                  <a:pt x="39" y="14"/>
                  <a:pt x="39" y="14"/>
                  <a:pt x="39" y="14"/>
                </a:cubicBezTo>
                <a:cubicBezTo>
                  <a:pt x="40" y="13"/>
                  <a:pt x="40" y="13"/>
                  <a:pt x="40" y="13"/>
                </a:cubicBezTo>
                <a:cubicBezTo>
                  <a:pt x="41" y="12"/>
                  <a:pt x="41" y="12"/>
                  <a:pt x="41" y="12"/>
                </a:cubicBezTo>
                <a:cubicBezTo>
                  <a:pt x="41" y="10"/>
                  <a:pt x="41" y="10"/>
                  <a:pt x="41" y="10"/>
                </a:cubicBezTo>
                <a:cubicBezTo>
                  <a:pt x="42" y="8"/>
                  <a:pt x="42" y="8"/>
                  <a:pt x="42" y="8"/>
                </a:cubicBezTo>
                <a:cubicBezTo>
                  <a:pt x="42" y="7"/>
                  <a:pt x="42" y="7"/>
                  <a:pt x="42" y="7"/>
                </a:cubicBezTo>
                <a:cubicBezTo>
                  <a:pt x="41" y="5"/>
                  <a:pt x="41" y="5"/>
                  <a:pt x="41" y="5"/>
                </a:cubicBezTo>
                <a:cubicBezTo>
                  <a:pt x="41" y="4"/>
                  <a:pt x="41" y="4"/>
                  <a:pt x="41" y="4"/>
                </a:cubicBezTo>
                <a:cubicBezTo>
                  <a:pt x="39" y="4"/>
                  <a:pt x="39" y="4"/>
                  <a:pt x="39" y="4"/>
                </a:cubicBezTo>
                <a:cubicBezTo>
                  <a:pt x="37" y="4"/>
                  <a:pt x="37" y="4"/>
                  <a:pt x="37" y="4"/>
                </a:cubicBezTo>
                <a:cubicBezTo>
                  <a:pt x="36" y="3"/>
                  <a:pt x="36" y="3"/>
                  <a:pt x="36" y="3"/>
                </a:cubicBezTo>
                <a:cubicBezTo>
                  <a:pt x="35" y="1"/>
                  <a:pt x="35" y="1"/>
                  <a:pt x="35" y="1"/>
                </a:cubicBezTo>
                <a:cubicBezTo>
                  <a:pt x="34" y="0"/>
                  <a:pt x="34" y="0"/>
                  <a:pt x="34" y="0"/>
                </a:cubicBezTo>
                <a:cubicBezTo>
                  <a:pt x="31" y="0"/>
                  <a:pt x="31" y="0"/>
                  <a:pt x="31" y="0"/>
                </a:cubicBezTo>
                <a:cubicBezTo>
                  <a:pt x="30" y="1"/>
                  <a:pt x="30" y="1"/>
                  <a:pt x="30" y="1"/>
                </a:cubicBezTo>
                <a:cubicBezTo>
                  <a:pt x="30" y="2"/>
                  <a:pt x="30" y="2"/>
                  <a:pt x="30" y="2"/>
                </a:cubicBezTo>
                <a:cubicBezTo>
                  <a:pt x="29" y="2"/>
                  <a:pt x="29" y="2"/>
                  <a:pt x="29" y="2"/>
                </a:cubicBezTo>
                <a:cubicBezTo>
                  <a:pt x="27" y="2"/>
                  <a:pt x="27" y="2"/>
                  <a:pt x="27" y="2"/>
                </a:cubicBezTo>
                <a:cubicBezTo>
                  <a:pt x="26" y="2"/>
                  <a:pt x="26" y="2"/>
                  <a:pt x="26" y="2"/>
                </a:cubicBezTo>
                <a:cubicBezTo>
                  <a:pt x="26" y="3"/>
                  <a:pt x="26" y="3"/>
                  <a:pt x="26" y="3"/>
                </a:cubicBezTo>
                <a:cubicBezTo>
                  <a:pt x="25" y="4"/>
                  <a:pt x="25" y="4"/>
                  <a:pt x="25" y="4"/>
                </a:cubicBezTo>
                <a:cubicBezTo>
                  <a:pt x="25" y="5"/>
                  <a:pt x="25" y="5"/>
                  <a:pt x="25" y="5"/>
                </a:cubicBezTo>
                <a:cubicBezTo>
                  <a:pt x="25" y="6"/>
                  <a:pt x="25" y="6"/>
                  <a:pt x="25" y="6"/>
                </a:cubicBezTo>
                <a:cubicBezTo>
                  <a:pt x="25" y="7"/>
                  <a:pt x="25" y="7"/>
                  <a:pt x="25" y="7"/>
                </a:cubicBezTo>
                <a:cubicBezTo>
                  <a:pt x="24" y="10"/>
                  <a:pt x="24" y="10"/>
                  <a:pt x="24" y="10"/>
                </a:cubicBezTo>
                <a:cubicBezTo>
                  <a:pt x="25" y="12"/>
                  <a:pt x="25" y="12"/>
                  <a:pt x="25" y="12"/>
                </a:cubicBezTo>
                <a:cubicBezTo>
                  <a:pt x="25" y="13"/>
                  <a:pt x="25" y="13"/>
                  <a:pt x="25" y="13"/>
                </a:cubicBezTo>
                <a:cubicBezTo>
                  <a:pt x="25" y="14"/>
                  <a:pt x="25" y="14"/>
                  <a:pt x="25" y="14"/>
                </a:cubicBezTo>
                <a:cubicBezTo>
                  <a:pt x="24" y="14"/>
                  <a:pt x="24" y="14"/>
                  <a:pt x="24" y="14"/>
                </a:cubicBezTo>
                <a:cubicBezTo>
                  <a:pt x="23" y="14"/>
                  <a:pt x="23" y="14"/>
                  <a:pt x="23" y="14"/>
                </a:cubicBezTo>
                <a:cubicBezTo>
                  <a:pt x="22" y="15"/>
                  <a:pt x="22" y="15"/>
                  <a:pt x="22" y="15"/>
                </a:cubicBezTo>
                <a:cubicBezTo>
                  <a:pt x="21" y="16"/>
                  <a:pt x="21" y="16"/>
                  <a:pt x="21" y="16"/>
                </a:cubicBezTo>
                <a:cubicBezTo>
                  <a:pt x="20" y="17"/>
                  <a:pt x="20" y="17"/>
                  <a:pt x="20" y="17"/>
                </a:cubicBezTo>
                <a:cubicBezTo>
                  <a:pt x="19" y="17"/>
                  <a:pt x="19" y="17"/>
                  <a:pt x="19" y="17"/>
                </a:cubicBezTo>
                <a:cubicBezTo>
                  <a:pt x="17" y="15"/>
                  <a:pt x="17" y="15"/>
                  <a:pt x="17" y="15"/>
                </a:cubicBezTo>
                <a:cubicBezTo>
                  <a:pt x="16" y="15"/>
                  <a:pt x="16" y="15"/>
                  <a:pt x="16" y="15"/>
                </a:cubicBezTo>
                <a:cubicBezTo>
                  <a:pt x="15" y="16"/>
                  <a:pt x="15" y="16"/>
                  <a:pt x="15" y="16"/>
                </a:cubicBezTo>
                <a:cubicBezTo>
                  <a:pt x="13" y="18"/>
                  <a:pt x="13" y="18"/>
                  <a:pt x="13" y="18"/>
                </a:cubicBezTo>
                <a:cubicBezTo>
                  <a:pt x="10" y="18"/>
                  <a:pt x="10" y="18"/>
                  <a:pt x="10" y="18"/>
                </a:cubicBezTo>
                <a:cubicBezTo>
                  <a:pt x="8" y="17"/>
                  <a:pt x="8" y="17"/>
                  <a:pt x="8" y="17"/>
                </a:cubicBezTo>
                <a:cubicBezTo>
                  <a:pt x="7" y="16"/>
                  <a:pt x="7" y="16"/>
                  <a:pt x="7" y="16"/>
                </a:cubicBezTo>
                <a:cubicBezTo>
                  <a:pt x="7" y="14"/>
                  <a:pt x="7" y="14"/>
                  <a:pt x="7" y="14"/>
                </a:cubicBezTo>
                <a:cubicBezTo>
                  <a:pt x="4" y="12"/>
                  <a:pt x="4" y="12"/>
                  <a:pt x="4" y="12"/>
                </a:cubicBezTo>
                <a:cubicBezTo>
                  <a:pt x="3" y="11"/>
                  <a:pt x="3" y="11"/>
                  <a:pt x="3" y="11"/>
                </a:cubicBezTo>
                <a:cubicBezTo>
                  <a:pt x="2" y="10"/>
                  <a:pt x="2" y="10"/>
                  <a:pt x="2" y="10"/>
                </a:cubicBezTo>
                <a:cubicBezTo>
                  <a:pt x="1" y="11"/>
                  <a:pt x="1" y="11"/>
                  <a:pt x="1" y="11"/>
                </a:cubicBezTo>
                <a:cubicBezTo>
                  <a:pt x="1" y="12"/>
                  <a:pt x="1" y="12"/>
                  <a:pt x="1" y="12"/>
                </a:cubicBezTo>
                <a:cubicBezTo>
                  <a:pt x="1" y="13"/>
                  <a:pt x="1" y="13"/>
                  <a:pt x="1" y="13"/>
                </a:cubicBezTo>
                <a:cubicBezTo>
                  <a:pt x="1" y="14"/>
                  <a:pt x="1" y="14"/>
                  <a:pt x="1" y="14"/>
                </a:cubicBezTo>
                <a:cubicBezTo>
                  <a:pt x="0" y="13"/>
                  <a:pt x="0" y="13"/>
                  <a:pt x="0" y="13"/>
                </a:cubicBezTo>
                <a:cubicBezTo>
                  <a:pt x="0" y="14"/>
                  <a:pt x="0" y="14"/>
                  <a:pt x="0" y="14"/>
                </a:cubicBezTo>
                <a:cubicBezTo>
                  <a:pt x="1" y="15"/>
                  <a:pt x="1" y="15"/>
                  <a:pt x="1" y="15"/>
                </a:cubicBezTo>
                <a:cubicBezTo>
                  <a:pt x="3" y="16"/>
                  <a:pt x="3" y="16"/>
                  <a:pt x="3" y="16"/>
                </a:cubicBezTo>
                <a:cubicBezTo>
                  <a:pt x="5" y="18"/>
                  <a:pt x="5" y="18"/>
                  <a:pt x="5" y="18"/>
                </a:cubicBezTo>
                <a:cubicBezTo>
                  <a:pt x="7" y="19"/>
                  <a:pt x="7" y="19"/>
                  <a:pt x="7" y="19"/>
                </a:cubicBezTo>
                <a:cubicBezTo>
                  <a:pt x="9" y="20"/>
                  <a:pt x="9" y="20"/>
                  <a:pt x="9" y="20"/>
                </a:cubicBezTo>
                <a:cubicBezTo>
                  <a:pt x="10" y="20"/>
                  <a:pt x="10" y="20"/>
                  <a:pt x="10" y="20"/>
                </a:cubicBezTo>
                <a:cubicBezTo>
                  <a:pt x="11" y="20"/>
                  <a:pt x="11" y="20"/>
                  <a:pt x="11" y="20"/>
                </a:cubicBezTo>
                <a:cubicBezTo>
                  <a:pt x="12" y="22"/>
                  <a:pt x="12" y="22"/>
                  <a:pt x="12" y="22"/>
                </a:cubicBezTo>
                <a:cubicBezTo>
                  <a:pt x="13" y="23"/>
                  <a:pt x="13" y="23"/>
                  <a:pt x="13" y="23"/>
                </a:cubicBezTo>
                <a:cubicBezTo>
                  <a:pt x="13" y="23"/>
                  <a:pt x="13" y="23"/>
                  <a:pt x="13" y="23"/>
                </a:cubicBezTo>
                <a:cubicBezTo>
                  <a:pt x="14" y="23"/>
                  <a:pt x="14" y="23"/>
                  <a:pt x="14" y="23"/>
                </a:cubicBezTo>
                <a:cubicBezTo>
                  <a:pt x="15" y="25"/>
                  <a:pt x="15" y="25"/>
                  <a:pt x="15" y="25"/>
                </a:cubicBezTo>
                <a:cubicBezTo>
                  <a:pt x="16" y="25"/>
                  <a:pt x="16" y="25"/>
                  <a:pt x="16" y="25"/>
                </a:cubicBezTo>
                <a:cubicBezTo>
                  <a:pt x="16" y="26"/>
                  <a:pt x="16" y="26"/>
                  <a:pt x="16" y="26"/>
                </a:cubicBezTo>
                <a:cubicBezTo>
                  <a:pt x="16" y="27"/>
                  <a:pt x="16" y="27"/>
                  <a:pt x="16" y="27"/>
                </a:cubicBezTo>
                <a:cubicBezTo>
                  <a:pt x="16" y="28"/>
                  <a:pt x="16" y="28"/>
                  <a:pt x="16" y="28"/>
                </a:cubicBezTo>
                <a:cubicBezTo>
                  <a:pt x="15" y="30"/>
                  <a:pt x="15" y="30"/>
                  <a:pt x="15" y="30"/>
                </a:cubicBezTo>
                <a:cubicBezTo>
                  <a:pt x="16" y="31"/>
                  <a:pt x="16" y="31"/>
                  <a:pt x="16" y="31"/>
                </a:cubicBezTo>
                <a:cubicBezTo>
                  <a:pt x="17" y="31"/>
                  <a:pt x="17" y="31"/>
                  <a:pt x="17" y="31"/>
                </a:cubicBezTo>
                <a:cubicBezTo>
                  <a:pt x="18" y="33"/>
                  <a:pt x="18" y="33"/>
                  <a:pt x="18" y="33"/>
                </a:cubicBezTo>
                <a:cubicBezTo>
                  <a:pt x="17" y="34"/>
                  <a:pt x="17" y="34"/>
                  <a:pt x="17" y="34"/>
                </a:cubicBezTo>
                <a:cubicBezTo>
                  <a:pt x="17" y="35"/>
                  <a:pt x="17" y="35"/>
                  <a:pt x="17" y="35"/>
                </a:cubicBezTo>
                <a:cubicBezTo>
                  <a:pt x="18" y="36"/>
                  <a:pt x="18" y="36"/>
                  <a:pt x="18" y="36"/>
                </a:cubicBezTo>
                <a:cubicBezTo>
                  <a:pt x="18" y="39"/>
                  <a:pt x="18" y="39"/>
                  <a:pt x="18" y="39"/>
                </a:cubicBezTo>
                <a:cubicBezTo>
                  <a:pt x="18" y="40"/>
                  <a:pt x="18" y="40"/>
                  <a:pt x="18" y="40"/>
                </a:cubicBezTo>
                <a:cubicBezTo>
                  <a:pt x="18" y="41"/>
                  <a:pt x="18" y="41"/>
                  <a:pt x="18" y="41"/>
                </a:cubicBezTo>
                <a:cubicBezTo>
                  <a:pt x="18" y="43"/>
                  <a:pt x="18" y="43"/>
                  <a:pt x="18" y="43"/>
                </a:cubicBezTo>
                <a:cubicBezTo>
                  <a:pt x="18" y="44"/>
                  <a:pt x="18" y="44"/>
                  <a:pt x="18" y="44"/>
                </a:cubicBezTo>
                <a:cubicBezTo>
                  <a:pt x="19" y="46"/>
                  <a:pt x="19" y="46"/>
                  <a:pt x="19" y="46"/>
                </a:cubicBezTo>
                <a:cubicBezTo>
                  <a:pt x="20" y="46"/>
                  <a:pt x="20" y="46"/>
                  <a:pt x="20" y="46"/>
                </a:cubicBezTo>
                <a:cubicBezTo>
                  <a:pt x="21" y="48"/>
                  <a:pt x="21" y="48"/>
                  <a:pt x="21" y="48"/>
                </a:cubicBezTo>
                <a:cubicBezTo>
                  <a:pt x="21" y="49"/>
                  <a:pt x="21" y="49"/>
                  <a:pt x="21" y="49"/>
                </a:cubicBezTo>
                <a:cubicBezTo>
                  <a:pt x="21" y="51"/>
                  <a:pt x="21" y="51"/>
                  <a:pt x="21" y="51"/>
                </a:cubicBezTo>
                <a:cubicBezTo>
                  <a:pt x="22" y="51"/>
                  <a:pt x="22" y="51"/>
                  <a:pt x="22" y="51"/>
                </a:cubicBezTo>
                <a:cubicBezTo>
                  <a:pt x="23" y="51"/>
                  <a:pt x="23" y="51"/>
                  <a:pt x="23" y="51"/>
                </a:cubicBezTo>
                <a:cubicBezTo>
                  <a:pt x="24" y="52"/>
                  <a:pt x="24" y="52"/>
                  <a:pt x="24" y="52"/>
                </a:cubicBezTo>
                <a:cubicBezTo>
                  <a:pt x="27" y="52"/>
                  <a:pt x="27" y="52"/>
                  <a:pt x="27" y="52"/>
                </a:cubicBezTo>
                <a:cubicBezTo>
                  <a:pt x="28" y="54"/>
                  <a:pt x="28" y="54"/>
                  <a:pt x="28" y="54"/>
                </a:cubicBezTo>
                <a:cubicBezTo>
                  <a:pt x="27" y="54"/>
                  <a:pt x="27" y="54"/>
                  <a:pt x="27" y="54"/>
                </a:cubicBezTo>
                <a:cubicBezTo>
                  <a:pt x="28" y="55"/>
                  <a:pt x="28" y="55"/>
                  <a:pt x="28" y="55"/>
                </a:cubicBezTo>
                <a:cubicBezTo>
                  <a:pt x="28" y="57"/>
                  <a:pt x="28" y="57"/>
                  <a:pt x="28" y="57"/>
                </a:cubicBezTo>
                <a:cubicBezTo>
                  <a:pt x="28" y="57"/>
                  <a:pt x="28" y="57"/>
                  <a:pt x="28" y="57"/>
                </a:cubicBezTo>
                <a:cubicBezTo>
                  <a:pt x="29" y="59"/>
                  <a:pt x="29" y="59"/>
                  <a:pt x="29" y="59"/>
                </a:cubicBezTo>
                <a:cubicBezTo>
                  <a:pt x="28" y="59"/>
                  <a:pt x="28" y="59"/>
                  <a:pt x="28" y="59"/>
                </a:cubicBezTo>
                <a:cubicBezTo>
                  <a:pt x="28" y="59"/>
                  <a:pt x="28" y="59"/>
                  <a:pt x="28" y="59"/>
                </a:cubicBezTo>
                <a:cubicBezTo>
                  <a:pt x="29" y="60"/>
                  <a:pt x="29" y="60"/>
                  <a:pt x="29" y="60"/>
                </a:cubicBezTo>
                <a:cubicBezTo>
                  <a:pt x="29" y="61"/>
                  <a:pt x="29" y="61"/>
                  <a:pt x="29" y="61"/>
                </a:cubicBezTo>
                <a:cubicBezTo>
                  <a:pt x="27" y="60"/>
                  <a:pt x="27" y="60"/>
                  <a:pt x="27" y="60"/>
                </a:cubicBezTo>
                <a:cubicBezTo>
                  <a:pt x="26" y="60"/>
                  <a:pt x="26" y="60"/>
                  <a:pt x="26" y="60"/>
                </a:cubicBezTo>
                <a:cubicBezTo>
                  <a:pt x="24" y="61"/>
                  <a:pt x="24" y="61"/>
                  <a:pt x="24" y="61"/>
                </a:cubicBezTo>
                <a:cubicBezTo>
                  <a:pt x="24" y="62"/>
                  <a:pt x="24" y="62"/>
                  <a:pt x="24" y="62"/>
                </a:cubicBezTo>
                <a:cubicBezTo>
                  <a:pt x="23" y="63"/>
                  <a:pt x="23" y="63"/>
                  <a:pt x="23" y="63"/>
                </a:cubicBezTo>
                <a:cubicBezTo>
                  <a:pt x="23" y="64"/>
                  <a:pt x="23" y="64"/>
                  <a:pt x="23" y="64"/>
                </a:cubicBezTo>
                <a:cubicBezTo>
                  <a:pt x="22" y="65"/>
                  <a:pt x="22" y="65"/>
                  <a:pt x="22" y="65"/>
                </a:cubicBezTo>
                <a:cubicBezTo>
                  <a:pt x="21" y="67"/>
                  <a:pt x="21" y="67"/>
                  <a:pt x="21" y="67"/>
                </a:cubicBezTo>
                <a:cubicBezTo>
                  <a:pt x="20" y="69"/>
                  <a:pt x="20" y="69"/>
                  <a:pt x="20" y="69"/>
                </a:cubicBezTo>
                <a:cubicBezTo>
                  <a:pt x="20" y="69"/>
                  <a:pt x="20" y="69"/>
                  <a:pt x="20" y="69"/>
                </a:cubicBezTo>
                <a:cubicBezTo>
                  <a:pt x="19" y="68"/>
                  <a:pt x="19" y="68"/>
                  <a:pt x="19" y="68"/>
                </a:cubicBezTo>
                <a:cubicBezTo>
                  <a:pt x="19" y="68"/>
                  <a:pt x="19" y="68"/>
                  <a:pt x="19" y="68"/>
                </a:cubicBezTo>
                <a:cubicBezTo>
                  <a:pt x="19" y="70"/>
                  <a:pt x="19" y="70"/>
                  <a:pt x="19" y="70"/>
                </a:cubicBezTo>
                <a:cubicBezTo>
                  <a:pt x="19" y="71"/>
                  <a:pt x="19" y="71"/>
                  <a:pt x="19" y="71"/>
                </a:cubicBezTo>
                <a:cubicBezTo>
                  <a:pt x="18" y="71"/>
                  <a:pt x="18" y="71"/>
                  <a:pt x="18" y="71"/>
                </a:cubicBezTo>
                <a:cubicBezTo>
                  <a:pt x="17" y="72"/>
                  <a:pt x="17" y="72"/>
                  <a:pt x="17" y="72"/>
                </a:cubicBezTo>
                <a:cubicBezTo>
                  <a:pt x="17" y="73"/>
                  <a:pt x="17" y="73"/>
                  <a:pt x="17" y="73"/>
                </a:cubicBezTo>
                <a:cubicBezTo>
                  <a:pt x="18" y="74"/>
                  <a:pt x="18" y="74"/>
                  <a:pt x="18" y="74"/>
                </a:cubicBezTo>
                <a:cubicBezTo>
                  <a:pt x="17" y="74"/>
                  <a:pt x="17" y="74"/>
                  <a:pt x="17" y="74"/>
                </a:cubicBezTo>
                <a:cubicBezTo>
                  <a:pt x="16" y="73"/>
                  <a:pt x="16" y="73"/>
                  <a:pt x="16" y="73"/>
                </a:cubicBezTo>
                <a:cubicBezTo>
                  <a:pt x="15" y="73"/>
                  <a:pt x="15" y="73"/>
                  <a:pt x="15" y="73"/>
                </a:cubicBezTo>
                <a:cubicBezTo>
                  <a:pt x="15" y="75"/>
                  <a:pt x="15" y="75"/>
                  <a:pt x="15" y="75"/>
                </a:cubicBezTo>
                <a:cubicBezTo>
                  <a:pt x="15" y="75"/>
                  <a:pt x="15" y="75"/>
                  <a:pt x="15" y="75"/>
                </a:cubicBezTo>
                <a:cubicBezTo>
                  <a:pt x="14" y="75"/>
                  <a:pt x="14" y="75"/>
                  <a:pt x="14" y="75"/>
                </a:cubicBezTo>
                <a:cubicBezTo>
                  <a:pt x="14" y="75"/>
                  <a:pt x="14" y="75"/>
                  <a:pt x="14" y="75"/>
                </a:cubicBezTo>
                <a:cubicBezTo>
                  <a:pt x="15" y="76"/>
                  <a:pt x="15" y="76"/>
                  <a:pt x="15" y="76"/>
                </a:cubicBezTo>
                <a:cubicBezTo>
                  <a:pt x="15" y="77"/>
                  <a:pt x="15" y="77"/>
                  <a:pt x="15" y="77"/>
                </a:cubicBezTo>
                <a:cubicBezTo>
                  <a:pt x="14" y="78"/>
                  <a:pt x="14" y="78"/>
                  <a:pt x="14" y="78"/>
                </a:cubicBezTo>
                <a:cubicBezTo>
                  <a:pt x="14" y="78"/>
                  <a:pt x="14" y="78"/>
                  <a:pt x="14" y="78"/>
                </a:cubicBezTo>
                <a:cubicBezTo>
                  <a:pt x="13" y="79"/>
                  <a:pt x="13" y="79"/>
                  <a:pt x="13" y="79"/>
                </a:cubicBezTo>
                <a:cubicBezTo>
                  <a:pt x="12" y="79"/>
                  <a:pt x="12" y="79"/>
                  <a:pt x="12" y="79"/>
                </a:cubicBezTo>
                <a:cubicBezTo>
                  <a:pt x="12" y="78"/>
                  <a:pt x="12" y="78"/>
                  <a:pt x="12" y="78"/>
                </a:cubicBezTo>
                <a:cubicBezTo>
                  <a:pt x="11" y="78"/>
                  <a:pt x="11" y="78"/>
                  <a:pt x="11" y="78"/>
                </a:cubicBezTo>
                <a:cubicBezTo>
                  <a:pt x="10" y="78"/>
                  <a:pt x="10" y="78"/>
                  <a:pt x="10" y="78"/>
                </a:cubicBezTo>
                <a:cubicBezTo>
                  <a:pt x="10" y="79"/>
                  <a:pt x="10" y="79"/>
                  <a:pt x="10" y="79"/>
                </a:cubicBezTo>
                <a:cubicBezTo>
                  <a:pt x="10" y="80"/>
                  <a:pt x="10" y="80"/>
                  <a:pt x="10" y="80"/>
                </a:cubicBezTo>
                <a:cubicBezTo>
                  <a:pt x="10" y="81"/>
                  <a:pt x="10" y="81"/>
                  <a:pt x="10" y="81"/>
                </a:cubicBezTo>
                <a:cubicBezTo>
                  <a:pt x="10" y="82"/>
                  <a:pt x="10" y="82"/>
                  <a:pt x="10" y="82"/>
                </a:cubicBezTo>
                <a:cubicBezTo>
                  <a:pt x="9" y="82"/>
                  <a:pt x="9" y="82"/>
                  <a:pt x="9" y="82"/>
                </a:cubicBezTo>
                <a:cubicBezTo>
                  <a:pt x="9" y="83"/>
                  <a:pt x="9" y="83"/>
                  <a:pt x="9" y="83"/>
                </a:cubicBezTo>
                <a:cubicBezTo>
                  <a:pt x="9" y="85"/>
                  <a:pt x="9" y="85"/>
                  <a:pt x="9" y="85"/>
                </a:cubicBezTo>
                <a:cubicBezTo>
                  <a:pt x="9" y="85"/>
                  <a:pt x="9" y="85"/>
                  <a:pt x="9" y="85"/>
                </a:cubicBezTo>
                <a:cubicBezTo>
                  <a:pt x="9" y="86"/>
                  <a:pt x="9" y="86"/>
                  <a:pt x="9" y="86"/>
                </a:cubicBezTo>
                <a:cubicBezTo>
                  <a:pt x="9" y="87"/>
                  <a:pt x="9" y="87"/>
                  <a:pt x="9" y="87"/>
                </a:cubicBezTo>
                <a:cubicBezTo>
                  <a:pt x="10" y="87"/>
                  <a:pt x="10" y="87"/>
                  <a:pt x="10" y="87"/>
                </a:cubicBezTo>
                <a:cubicBezTo>
                  <a:pt x="11" y="87"/>
                  <a:pt x="11" y="87"/>
                  <a:pt x="11" y="87"/>
                </a:cubicBezTo>
                <a:cubicBezTo>
                  <a:pt x="10" y="89"/>
                  <a:pt x="10" y="89"/>
                  <a:pt x="10" y="89"/>
                </a:cubicBezTo>
                <a:cubicBezTo>
                  <a:pt x="10" y="89"/>
                  <a:pt x="10" y="89"/>
                  <a:pt x="10" y="89"/>
                </a:cubicBezTo>
                <a:cubicBezTo>
                  <a:pt x="11" y="91"/>
                  <a:pt x="11" y="91"/>
                  <a:pt x="11" y="91"/>
                </a:cubicBezTo>
                <a:cubicBezTo>
                  <a:pt x="10" y="91"/>
                  <a:pt x="10" y="91"/>
                  <a:pt x="10" y="91"/>
                </a:cubicBezTo>
                <a:cubicBezTo>
                  <a:pt x="12" y="93"/>
                  <a:pt x="12" y="93"/>
                  <a:pt x="12" y="93"/>
                </a:cubicBezTo>
                <a:cubicBezTo>
                  <a:pt x="12" y="94"/>
                  <a:pt x="12" y="94"/>
                  <a:pt x="12" y="94"/>
                </a:cubicBezTo>
                <a:cubicBezTo>
                  <a:pt x="12" y="94"/>
                  <a:pt x="12" y="94"/>
                  <a:pt x="12" y="94"/>
                </a:cubicBezTo>
                <a:cubicBezTo>
                  <a:pt x="13" y="96"/>
                  <a:pt x="13" y="96"/>
                  <a:pt x="13" y="96"/>
                </a:cubicBezTo>
                <a:cubicBezTo>
                  <a:pt x="12" y="96"/>
                  <a:pt x="12" y="96"/>
                  <a:pt x="12" y="96"/>
                </a:cubicBezTo>
                <a:cubicBezTo>
                  <a:pt x="12" y="98"/>
                  <a:pt x="12" y="98"/>
                  <a:pt x="12" y="98"/>
                </a:cubicBezTo>
                <a:cubicBezTo>
                  <a:pt x="12" y="99"/>
                  <a:pt x="12" y="99"/>
                  <a:pt x="12" y="99"/>
                </a:cubicBezTo>
                <a:cubicBezTo>
                  <a:pt x="11" y="102"/>
                  <a:pt x="11" y="102"/>
                  <a:pt x="11" y="102"/>
                </a:cubicBezTo>
                <a:cubicBezTo>
                  <a:pt x="12" y="102"/>
                  <a:pt x="12" y="102"/>
                  <a:pt x="12" y="102"/>
                </a:cubicBezTo>
                <a:cubicBezTo>
                  <a:pt x="12" y="104"/>
                  <a:pt x="12" y="104"/>
                  <a:pt x="12" y="104"/>
                </a:cubicBezTo>
                <a:cubicBezTo>
                  <a:pt x="12" y="105"/>
                  <a:pt x="12" y="105"/>
                  <a:pt x="12" y="105"/>
                </a:cubicBezTo>
                <a:cubicBezTo>
                  <a:pt x="12" y="105"/>
                  <a:pt x="12" y="105"/>
                  <a:pt x="12" y="105"/>
                </a:cubicBezTo>
                <a:cubicBezTo>
                  <a:pt x="14" y="105"/>
                  <a:pt x="14" y="105"/>
                  <a:pt x="14" y="105"/>
                </a:cubicBezTo>
                <a:cubicBezTo>
                  <a:pt x="14" y="105"/>
                  <a:pt x="14" y="105"/>
                  <a:pt x="14" y="105"/>
                </a:cubicBezTo>
                <a:cubicBezTo>
                  <a:pt x="15" y="104"/>
                  <a:pt x="15" y="104"/>
                  <a:pt x="15" y="104"/>
                </a:cubicBezTo>
                <a:cubicBezTo>
                  <a:pt x="16" y="106"/>
                  <a:pt x="16" y="106"/>
                  <a:pt x="16" y="106"/>
                </a:cubicBezTo>
                <a:cubicBezTo>
                  <a:pt x="17" y="106"/>
                  <a:pt x="17" y="106"/>
                  <a:pt x="17" y="106"/>
                </a:cubicBezTo>
                <a:cubicBezTo>
                  <a:pt x="18" y="107"/>
                  <a:pt x="18" y="107"/>
                  <a:pt x="18" y="107"/>
                </a:cubicBezTo>
                <a:cubicBezTo>
                  <a:pt x="19" y="106"/>
                  <a:pt x="19" y="106"/>
                  <a:pt x="19" y="106"/>
                </a:cubicBezTo>
                <a:cubicBezTo>
                  <a:pt x="20" y="107"/>
                  <a:pt x="20" y="107"/>
                  <a:pt x="20" y="107"/>
                </a:cubicBezTo>
                <a:cubicBezTo>
                  <a:pt x="20" y="107"/>
                  <a:pt x="20" y="107"/>
                  <a:pt x="20" y="107"/>
                </a:cubicBezTo>
                <a:cubicBezTo>
                  <a:pt x="20" y="107"/>
                  <a:pt x="20" y="107"/>
                  <a:pt x="20" y="107"/>
                </a:cubicBezTo>
                <a:cubicBezTo>
                  <a:pt x="22" y="106"/>
                  <a:pt x="22" y="106"/>
                  <a:pt x="22" y="106"/>
                </a:cubicBezTo>
                <a:cubicBezTo>
                  <a:pt x="22" y="107"/>
                  <a:pt x="22" y="107"/>
                  <a:pt x="22" y="107"/>
                </a:cubicBezTo>
                <a:cubicBezTo>
                  <a:pt x="21" y="108"/>
                  <a:pt x="21" y="108"/>
                  <a:pt x="21" y="108"/>
                </a:cubicBezTo>
                <a:cubicBezTo>
                  <a:pt x="23" y="111"/>
                  <a:pt x="23" y="111"/>
                  <a:pt x="23" y="111"/>
                </a:cubicBezTo>
                <a:cubicBezTo>
                  <a:pt x="23" y="111"/>
                  <a:pt x="23" y="111"/>
                  <a:pt x="23" y="111"/>
                </a:cubicBezTo>
                <a:cubicBezTo>
                  <a:pt x="22" y="113"/>
                  <a:pt x="22" y="113"/>
                  <a:pt x="22" y="113"/>
                </a:cubicBezTo>
                <a:cubicBezTo>
                  <a:pt x="23" y="113"/>
                  <a:pt x="23" y="113"/>
                  <a:pt x="23" y="113"/>
                </a:cubicBezTo>
                <a:cubicBezTo>
                  <a:pt x="24" y="111"/>
                  <a:pt x="24" y="111"/>
                  <a:pt x="24" y="111"/>
                </a:cubicBezTo>
                <a:cubicBezTo>
                  <a:pt x="24" y="111"/>
                  <a:pt x="24" y="111"/>
                  <a:pt x="24" y="111"/>
                </a:cubicBezTo>
                <a:cubicBezTo>
                  <a:pt x="24" y="111"/>
                  <a:pt x="24" y="111"/>
                  <a:pt x="24" y="111"/>
                </a:cubicBezTo>
                <a:cubicBezTo>
                  <a:pt x="26" y="111"/>
                  <a:pt x="26" y="111"/>
                  <a:pt x="26" y="111"/>
                </a:cubicBezTo>
                <a:cubicBezTo>
                  <a:pt x="26" y="111"/>
                  <a:pt x="26" y="111"/>
                  <a:pt x="26" y="111"/>
                </a:cubicBezTo>
                <a:cubicBezTo>
                  <a:pt x="28" y="109"/>
                  <a:pt x="28" y="109"/>
                  <a:pt x="28" y="109"/>
                </a:cubicBezTo>
                <a:cubicBezTo>
                  <a:pt x="30" y="109"/>
                  <a:pt x="30" y="109"/>
                  <a:pt x="30" y="109"/>
                </a:cubicBezTo>
                <a:cubicBezTo>
                  <a:pt x="32" y="108"/>
                  <a:pt x="32" y="108"/>
                  <a:pt x="32" y="108"/>
                </a:cubicBezTo>
                <a:cubicBezTo>
                  <a:pt x="32" y="107"/>
                  <a:pt x="32" y="107"/>
                  <a:pt x="32" y="107"/>
                </a:cubicBezTo>
                <a:cubicBezTo>
                  <a:pt x="34" y="108"/>
                  <a:pt x="34" y="108"/>
                  <a:pt x="34" y="108"/>
                </a:cubicBezTo>
                <a:cubicBezTo>
                  <a:pt x="35" y="107"/>
                  <a:pt x="35" y="107"/>
                  <a:pt x="35" y="107"/>
                </a:cubicBezTo>
                <a:cubicBezTo>
                  <a:pt x="36" y="106"/>
                  <a:pt x="36" y="106"/>
                  <a:pt x="36" y="106"/>
                </a:cubicBezTo>
                <a:cubicBezTo>
                  <a:pt x="36" y="106"/>
                  <a:pt x="36" y="106"/>
                  <a:pt x="36" y="106"/>
                </a:cubicBezTo>
                <a:cubicBezTo>
                  <a:pt x="36" y="107"/>
                  <a:pt x="36" y="107"/>
                  <a:pt x="36" y="107"/>
                </a:cubicBezTo>
                <a:cubicBezTo>
                  <a:pt x="36" y="108"/>
                  <a:pt x="36" y="108"/>
                  <a:pt x="36" y="108"/>
                </a:cubicBezTo>
                <a:cubicBezTo>
                  <a:pt x="37" y="106"/>
                  <a:pt x="37" y="106"/>
                  <a:pt x="37" y="106"/>
                </a:cubicBezTo>
                <a:cubicBezTo>
                  <a:pt x="38" y="106"/>
                  <a:pt x="38" y="106"/>
                  <a:pt x="38" y="106"/>
                </a:cubicBezTo>
                <a:cubicBezTo>
                  <a:pt x="37" y="105"/>
                  <a:pt x="37" y="105"/>
                  <a:pt x="37" y="105"/>
                </a:cubicBezTo>
                <a:cubicBezTo>
                  <a:pt x="38" y="105"/>
                  <a:pt x="38" y="105"/>
                  <a:pt x="38" y="105"/>
                </a:cubicBezTo>
                <a:cubicBezTo>
                  <a:pt x="38" y="106"/>
                  <a:pt x="38" y="106"/>
                  <a:pt x="38" y="106"/>
                </a:cubicBezTo>
                <a:cubicBezTo>
                  <a:pt x="39" y="106"/>
                  <a:pt x="39" y="106"/>
                  <a:pt x="39" y="106"/>
                </a:cubicBezTo>
                <a:cubicBezTo>
                  <a:pt x="39" y="105"/>
                  <a:pt x="39" y="105"/>
                  <a:pt x="39" y="105"/>
                </a:cubicBezTo>
                <a:cubicBezTo>
                  <a:pt x="40" y="106"/>
                  <a:pt x="40" y="106"/>
                  <a:pt x="40" y="106"/>
                </a:cubicBezTo>
                <a:cubicBezTo>
                  <a:pt x="41" y="106"/>
                  <a:pt x="41" y="106"/>
                  <a:pt x="41" y="106"/>
                </a:cubicBezTo>
                <a:cubicBezTo>
                  <a:pt x="41" y="105"/>
                  <a:pt x="41" y="105"/>
                  <a:pt x="41" y="105"/>
                </a:cubicBezTo>
                <a:cubicBezTo>
                  <a:pt x="41" y="105"/>
                  <a:pt x="41" y="105"/>
                  <a:pt x="41" y="105"/>
                </a:cubicBezTo>
                <a:cubicBezTo>
                  <a:pt x="42" y="106"/>
                  <a:pt x="42" y="106"/>
                  <a:pt x="42" y="106"/>
                </a:cubicBezTo>
                <a:cubicBezTo>
                  <a:pt x="42" y="105"/>
                  <a:pt x="42" y="105"/>
                  <a:pt x="42" y="105"/>
                </a:cubicBezTo>
                <a:cubicBezTo>
                  <a:pt x="44" y="105"/>
                  <a:pt x="44" y="105"/>
                  <a:pt x="44" y="105"/>
                </a:cubicBezTo>
                <a:cubicBezTo>
                  <a:pt x="45" y="106"/>
                  <a:pt x="45" y="106"/>
                  <a:pt x="45" y="106"/>
                </a:cubicBezTo>
                <a:cubicBezTo>
                  <a:pt x="47" y="106"/>
                  <a:pt x="47" y="106"/>
                  <a:pt x="47" y="106"/>
                </a:cubicBezTo>
                <a:cubicBezTo>
                  <a:pt x="47" y="105"/>
                  <a:pt x="47" y="105"/>
                  <a:pt x="47" y="105"/>
                </a:cubicBezTo>
                <a:cubicBezTo>
                  <a:pt x="47" y="104"/>
                  <a:pt x="47" y="104"/>
                  <a:pt x="47" y="104"/>
                </a:cubicBezTo>
                <a:cubicBezTo>
                  <a:pt x="47" y="104"/>
                  <a:pt x="47" y="104"/>
                  <a:pt x="47" y="104"/>
                </a:cubicBezTo>
                <a:cubicBezTo>
                  <a:pt x="48" y="104"/>
                  <a:pt x="48" y="104"/>
                  <a:pt x="48" y="104"/>
                </a:cubicBezTo>
                <a:cubicBezTo>
                  <a:pt x="48" y="105"/>
                  <a:pt x="48" y="105"/>
                  <a:pt x="48" y="105"/>
                </a:cubicBezTo>
                <a:cubicBezTo>
                  <a:pt x="49" y="105"/>
                  <a:pt x="49" y="105"/>
                  <a:pt x="49" y="105"/>
                </a:cubicBezTo>
                <a:cubicBezTo>
                  <a:pt x="49" y="105"/>
                  <a:pt x="50" y="105"/>
                  <a:pt x="50" y="104"/>
                </a:cubicBezTo>
                <a:close/>
                <a:moveTo>
                  <a:pt x="26" y="59"/>
                </a:moveTo>
                <a:cubicBezTo>
                  <a:pt x="26" y="59"/>
                  <a:pt x="26" y="59"/>
                  <a:pt x="26" y="59"/>
                </a:cubicBezTo>
                <a:cubicBezTo>
                  <a:pt x="25" y="59"/>
                  <a:pt x="25" y="59"/>
                  <a:pt x="25" y="59"/>
                </a:cubicBezTo>
                <a:cubicBezTo>
                  <a:pt x="24" y="58"/>
                  <a:pt x="24" y="58"/>
                  <a:pt x="24" y="58"/>
                </a:cubicBezTo>
                <a:cubicBezTo>
                  <a:pt x="25" y="57"/>
                  <a:pt x="25" y="57"/>
                  <a:pt x="25" y="57"/>
                </a:cubicBezTo>
                <a:cubicBezTo>
                  <a:pt x="27" y="57"/>
                  <a:pt x="27" y="57"/>
                  <a:pt x="27" y="57"/>
                </a:cubicBezTo>
                <a:cubicBezTo>
                  <a:pt x="27" y="58"/>
                  <a:pt x="27" y="58"/>
                  <a:pt x="27" y="58"/>
                </a:cubicBezTo>
                <a:cubicBezTo>
                  <a:pt x="26" y="58"/>
                  <a:pt x="26" y="58"/>
                  <a:pt x="26" y="58"/>
                </a:cubicBezTo>
                <a:cubicBezTo>
                  <a:pt x="26" y="59"/>
                  <a:pt x="26" y="59"/>
                  <a:pt x="26" y="59"/>
                </a:cubicBezTo>
                <a:close/>
                <a:moveTo>
                  <a:pt x="9" y="77"/>
                </a:moveTo>
                <a:cubicBezTo>
                  <a:pt x="9" y="76"/>
                  <a:pt x="9" y="76"/>
                  <a:pt x="9" y="76"/>
                </a:cubicBezTo>
                <a:cubicBezTo>
                  <a:pt x="10" y="76"/>
                  <a:pt x="10" y="76"/>
                  <a:pt x="10" y="76"/>
                </a:cubicBezTo>
                <a:cubicBezTo>
                  <a:pt x="9" y="77"/>
                  <a:pt x="9" y="77"/>
                  <a:pt x="9" y="77"/>
                </a:cubicBezTo>
                <a:cubicBezTo>
                  <a:pt x="9" y="77"/>
                  <a:pt x="9" y="77"/>
                  <a:pt x="9" y="77"/>
                </a:cubicBezTo>
                <a:close/>
                <a:moveTo>
                  <a:pt x="8" y="77"/>
                </a:moveTo>
                <a:cubicBezTo>
                  <a:pt x="9" y="78"/>
                  <a:pt x="9" y="78"/>
                  <a:pt x="9" y="78"/>
                </a:cubicBezTo>
                <a:cubicBezTo>
                  <a:pt x="10" y="78"/>
                  <a:pt x="10" y="78"/>
                  <a:pt x="10" y="78"/>
                </a:cubicBezTo>
                <a:cubicBezTo>
                  <a:pt x="10" y="79"/>
                  <a:pt x="10" y="79"/>
                  <a:pt x="10" y="79"/>
                </a:cubicBezTo>
                <a:cubicBezTo>
                  <a:pt x="9" y="79"/>
                  <a:pt x="9" y="79"/>
                  <a:pt x="9" y="79"/>
                </a:cubicBezTo>
                <a:cubicBezTo>
                  <a:pt x="8" y="78"/>
                  <a:pt x="8" y="78"/>
                  <a:pt x="8" y="78"/>
                </a:cubicBezTo>
                <a:cubicBezTo>
                  <a:pt x="8" y="77"/>
                  <a:pt x="8" y="77"/>
                  <a:pt x="8" y="77"/>
                </a:cubicBezTo>
                <a:close/>
                <a:moveTo>
                  <a:pt x="21" y="110"/>
                </a:moveTo>
                <a:cubicBezTo>
                  <a:pt x="21" y="111"/>
                  <a:pt x="21" y="111"/>
                  <a:pt x="21" y="111"/>
                </a:cubicBezTo>
                <a:cubicBezTo>
                  <a:pt x="21" y="112"/>
                  <a:pt x="21" y="112"/>
                  <a:pt x="21" y="112"/>
                </a:cubicBezTo>
                <a:cubicBezTo>
                  <a:pt x="20" y="111"/>
                  <a:pt x="20" y="111"/>
                  <a:pt x="20" y="111"/>
                </a:cubicBezTo>
                <a:cubicBezTo>
                  <a:pt x="21" y="111"/>
                  <a:pt x="21" y="111"/>
                  <a:pt x="21" y="111"/>
                </a:cubicBezTo>
                <a:cubicBezTo>
                  <a:pt x="21" y="110"/>
                  <a:pt x="21" y="110"/>
                  <a:pt x="21" y="110"/>
                </a:cubicBezTo>
                <a:close/>
                <a:moveTo>
                  <a:pt x="20" y="109"/>
                </a:moveTo>
                <a:cubicBezTo>
                  <a:pt x="20" y="109"/>
                  <a:pt x="20" y="110"/>
                  <a:pt x="20" y="110"/>
                </a:cubicBezTo>
                <a:cubicBezTo>
                  <a:pt x="19" y="110"/>
                  <a:pt x="19" y="110"/>
                  <a:pt x="19" y="110"/>
                </a:cubicBezTo>
                <a:cubicBezTo>
                  <a:pt x="20" y="109"/>
                  <a:pt x="20" y="109"/>
                  <a:pt x="20" y="109"/>
                </a:cubicBezTo>
                <a:close/>
                <a:moveTo>
                  <a:pt x="17" y="108"/>
                </a:moveTo>
                <a:cubicBezTo>
                  <a:pt x="19" y="107"/>
                  <a:pt x="19" y="107"/>
                  <a:pt x="19" y="107"/>
                </a:cubicBezTo>
                <a:cubicBezTo>
                  <a:pt x="19" y="108"/>
                  <a:pt x="19" y="108"/>
                  <a:pt x="19" y="108"/>
                </a:cubicBezTo>
                <a:cubicBezTo>
                  <a:pt x="18" y="109"/>
                  <a:pt x="18" y="109"/>
                  <a:pt x="18" y="109"/>
                </a:cubicBezTo>
                <a:cubicBezTo>
                  <a:pt x="17" y="108"/>
                  <a:pt x="17" y="108"/>
                  <a:pt x="17" y="108"/>
                </a:cubicBezTo>
                <a:cubicBezTo>
                  <a:pt x="17" y="108"/>
                  <a:pt x="17" y="108"/>
                  <a:pt x="17" y="108"/>
                </a:cubicBezTo>
                <a:close/>
                <a:moveTo>
                  <a:pt x="14" y="106"/>
                </a:moveTo>
                <a:cubicBezTo>
                  <a:pt x="16" y="107"/>
                  <a:pt x="16" y="107"/>
                  <a:pt x="16" y="107"/>
                </a:cubicBezTo>
                <a:cubicBezTo>
                  <a:pt x="15" y="107"/>
                  <a:pt x="15" y="107"/>
                  <a:pt x="15" y="107"/>
                </a:cubicBezTo>
                <a:cubicBezTo>
                  <a:pt x="14" y="107"/>
                  <a:pt x="14" y="107"/>
                  <a:pt x="14" y="107"/>
                </a:cubicBezTo>
                <a:cubicBezTo>
                  <a:pt x="14" y="106"/>
                  <a:pt x="14" y="106"/>
                  <a:pt x="14" y="106"/>
                </a:cubicBezTo>
                <a:close/>
                <a:moveTo>
                  <a:pt x="12" y="106"/>
                </a:moveTo>
                <a:cubicBezTo>
                  <a:pt x="13" y="106"/>
                  <a:pt x="13" y="106"/>
                  <a:pt x="13" y="106"/>
                </a:cubicBezTo>
                <a:cubicBezTo>
                  <a:pt x="12" y="107"/>
                  <a:pt x="12" y="107"/>
                  <a:pt x="12" y="107"/>
                </a:cubicBezTo>
                <a:cubicBezTo>
                  <a:pt x="12" y="107"/>
                  <a:pt x="12" y="106"/>
                  <a:pt x="12" y="106"/>
                </a:cubicBezTo>
                <a:close/>
                <a:moveTo>
                  <a:pt x="3" y="108"/>
                </a:moveTo>
                <a:cubicBezTo>
                  <a:pt x="5" y="108"/>
                  <a:pt x="5" y="108"/>
                  <a:pt x="5" y="108"/>
                </a:cubicBezTo>
                <a:cubicBezTo>
                  <a:pt x="5" y="108"/>
                  <a:pt x="5" y="108"/>
                  <a:pt x="5" y="108"/>
                </a:cubicBezTo>
                <a:cubicBezTo>
                  <a:pt x="4" y="107"/>
                  <a:pt x="4" y="107"/>
                  <a:pt x="4" y="107"/>
                </a:cubicBezTo>
                <a:cubicBezTo>
                  <a:pt x="4" y="106"/>
                  <a:pt x="4" y="106"/>
                  <a:pt x="4" y="106"/>
                </a:cubicBezTo>
                <a:cubicBezTo>
                  <a:pt x="5" y="106"/>
                  <a:pt x="5" y="106"/>
                  <a:pt x="5" y="106"/>
                </a:cubicBezTo>
                <a:cubicBezTo>
                  <a:pt x="7" y="107"/>
                  <a:pt x="7" y="107"/>
                  <a:pt x="7" y="107"/>
                </a:cubicBezTo>
                <a:cubicBezTo>
                  <a:pt x="7" y="108"/>
                  <a:pt x="7" y="108"/>
                  <a:pt x="7" y="108"/>
                </a:cubicBezTo>
                <a:cubicBezTo>
                  <a:pt x="6" y="108"/>
                  <a:pt x="6" y="108"/>
                  <a:pt x="6" y="108"/>
                </a:cubicBezTo>
                <a:cubicBezTo>
                  <a:pt x="6" y="109"/>
                  <a:pt x="6" y="109"/>
                  <a:pt x="6" y="109"/>
                </a:cubicBezTo>
                <a:cubicBezTo>
                  <a:pt x="6" y="110"/>
                  <a:pt x="6" y="110"/>
                  <a:pt x="6" y="110"/>
                </a:cubicBezTo>
                <a:cubicBezTo>
                  <a:pt x="7" y="110"/>
                  <a:pt x="7" y="110"/>
                  <a:pt x="7" y="110"/>
                </a:cubicBezTo>
                <a:cubicBezTo>
                  <a:pt x="7" y="111"/>
                  <a:pt x="7" y="111"/>
                  <a:pt x="7" y="111"/>
                </a:cubicBezTo>
                <a:cubicBezTo>
                  <a:pt x="7" y="111"/>
                  <a:pt x="7" y="111"/>
                  <a:pt x="7" y="111"/>
                </a:cubicBezTo>
                <a:cubicBezTo>
                  <a:pt x="5" y="110"/>
                  <a:pt x="5" y="110"/>
                  <a:pt x="5" y="110"/>
                </a:cubicBezTo>
                <a:cubicBezTo>
                  <a:pt x="4" y="110"/>
                  <a:pt x="4" y="110"/>
                  <a:pt x="4" y="110"/>
                </a:cubicBezTo>
                <a:cubicBezTo>
                  <a:pt x="4" y="109"/>
                  <a:pt x="4" y="109"/>
                  <a:pt x="4" y="109"/>
                </a:cubicBezTo>
                <a:cubicBezTo>
                  <a:pt x="3" y="109"/>
                  <a:pt x="3" y="109"/>
                  <a:pt x="3" y="109"/>
                </a:cubicBezTo>
                <a:lnTo>
                  <a:pt x="3" y="108"/>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8" name="Freeform 46">
            <a:extLst>
              <a:ext uri="{FF2B5EF4-FFF2-40B4-BE49-F238E27FC236}">
                <a16:creationId xmlns:a16="http://schemas.microsoft.com/office/drawing/2014/main" id="{BBD057DD-1111-FBC9-8E85-930CB025E0DE}"/>
              </a:ext>
            </a:extLst>
          </p:cNvPr>
          <p:cNvSpPr>
            <a:spLocks noEditPoints="1"/>
          </p:cNvSpPr>
          <p:nvPr userDrawn="1"/>
        </p:nvSpPr>
        <p:spPr bwMode="auto">
          <a:xfrm>
            <a:off x="14321491" y="5076108"/>
            <a:ext cx="336528" cy="228600"/>
          </a:xfrm>
          <a:custGeom>
            <a:avLst/>
            <a:gdLst>
              <a:gd name="T0" fmla="*/ 103 w 106"/>
              <a:gd name="T1" fmla="*/ 66 h 72"/>
              <a:gd name="T2" fmla="*/ 106 w 106"/>
              <a:gd name="T3" fmla="*/ 59 h 72"/>
              <a:gd name="T4" fmla="*/ 96 w 106"/>
              <a:gd name="T5" fmla="*/ 41 h 72"/>
              <a:gd name="T6" fmla="*/ 100 w 106"/>
              <a:gd name="T7" fmla="*/ 25 h 72"/>
              <a:gd name="T8" fmla="*/ 103 w 106"/>
              <a:gd name="T9" fmla="*/ 12 h 72"/>
              <a:gd name="T10" fmla="*/ 106 w 106"/>
              <a:gd name="T11" fmla="*/ 12 h 72"/>
              <a:gd name="T12" fmla="*/ 103 w 106"/>
              <a:gd name="T13" fmla="*/ 9 h 72"/>
              <a:gd name="T14" fmla="*/ 81 w 106"/>
              <a:gd name="T15" fmla="*/ 6 h 72"/>
              <a:gd name="T16" fmla="*/ 68 w 106"/>
              <a:gd name="T17" fmla="*/ 3 h 72"/>
              <a:gd name="T18" fmla="*/ 62 w 106"/>
              <a:gd name="T19" fmla="*/ 0 h 72"/>
              <a:gd name="T20" fmla="*/ 59 w 106"/>
              <a:gd name="T21" fmla="*/ 3 h 72"/>
              <a:gd name="T22" fmla="*/ 59 w 106"/>
              <a:gd name="T23" fmla="*/ 6 h 72"/>
              <a:gd name="T24" fmla="*/ 56 w 106"/>
              <a:gd name="T25" fmla="*/ 9 h 72"/>
              <a:gd name="T26" fmla="*/ 46 w 106"/>
              <a:gd name="T27" fmla="*/ 6 h 72"/>
              <a:gd name="T28" fmla="*/ 43 w 106"/>
              <a:gd name="T29" fmla="*/ 9 h 72"/>
              <a:gd name="T30" fmla="*/ 37 w 106"/>
              <a:gd name="T31" fmla="*/ 16 h 72"/>
              <a:gd name="T32" fmla="*/ 28 w 106"/>
              <a:gd name="T33" fmla="*/ 16 h 72"/>
              <a:gd name="T34" fmla="*/ 28 w 106"/>
              <a:gd name="T35" fmla="*/ 31 h 72"/>
              <a:gd name="T36" fmla="*/ 31 w 106"/>
              <a:gd name="T37" fmla="*/ 31 h 72"/>
              <a:gd name="T38" fmla="*/ 34 w 106"/>
              <a:gd name="T39" fmla="*/ 34 h 72"/>
              <a:gd name="T40" fmla="*/ 31 w 106"/>
              <a:gd name="T41" fmla="*/ 41 h 72"/>
              <a:gd name="T42" fmla="*/ 40 w 106"/>
              <a:gd name="T43" fmla="*/ 50 h 72"/>
              <a:gd name="T44" fmla="*/ 40 w 106"/>
              <a:gd name="T45" fmla="*/ 47 h 72"/>
              <a:gd name="T46" fmla="*/ 46 w 106"/>
              <a:gd name="T47" fmla="*/ 47 h 72"/>
              <a:gd name="T48" fmla="*/ 43 w 106"/>
              <a:gd name="T49" fmla="*/ 59 h 72"/>
              <a:gd name="T50" fmla="*/ 53 w 106"/>
              <a:gd name="T51" fmla="*/ 53 h 72"/>
              <a:gd name="T52" fmla="*/ 62 w 106"/>
              <a:gd name="T53" fmla="*/ 56 h 72"/>
              <a:gd name="T54" fmla="*/ 65 w 106"/>
              <a:gd name="T55" fmla="*/ 53 h 72"/>
              <a:gd name="T56" fmla="*/ 68 w 106"/>
              <a:gd name="T57" fmla="*/ 59 h 72"/>
              <a:gd name="T58" fmla="*/ 78 w 106"/>
              <a:gd name="T59" fmla="*/ 62 h 72"/>
              <a:gd name="T60" fmla="*/ 84 w 106"/>
              <a:gd name="T61" fmla="*/ 69 h 72"/>
              <a:gd name="T62" fmla="*/ 93 w 106"/>
              <a:gd name="T63" fmla="*/ 69 h 72"/>
              <a:gd name="T64" fmla="*/ 100 w 106"/>
              <a:gd name="T65" fmla="*/ 72 h 72"/>
              <a:gd name="T66" fmla="*/ 25 w 106"/>
              <a:gd name="T67" fmla="*/ 25 h 72"/>
              <a:gd name="T68" fmla="*/ 21 w 106"/>
              <a:gd name="T69" fmla="*/ 28 h 72"/>
              <a:gd name="T70" fmla="*/ 21 w 106"/>
              <a:gd name="T71" fmla="*/ 25 h 72"/>
              <a:gd name="T72" fmla="*/ 12 w 106"/>
              <a:gd name="T73" fmla="*/ 31 h 72"/>
              <a:gd name="T74" fmla="*/ 3 w 106"/>
              <a:gd name="T75" fmla="*/ 31 h 72"/>
              <a:gd name="T76" fmla="*/ 9 w 106"/>
              <a:gd name="T77" fmla="*/ 28 h 72"/>
              <a:gd name="T78" fmla="*/ 12 w 106"/>
              <a:gd name="T79" fmla="*/ 25 h 72"/>
              <a:gd name="T80" fmla="*/ 15 w 106"/>
              <a:gd name="T81" fmla="*/ 25 h 72"/>
              <a:gd name="T82" fmla="*/ 21 w 106"/>
              <a:gd name="T83" fmla="*/ 31 h 72"/>
              <a:gd name="T84" fmla="*/ 15 w 106"/>
              <a:gd name="T85" fmla="*/ 31 h 72"/>
              <a:gd name="T86" fmla="*/ 12 w 106"/>
              <a:gd name="T87" fmla="*/ 34 h 72"/>
              <a:gd name="T88" fmla="*/ 21 w 106"/>
              <a:gd name="T89" fmla="*/ 34 h 72"/>
              <a:gd name="T90" fmla="*/ 28 w 106"/>
              <a:gd name="T91" fmla="*/ 41 h 72"/>
              <a:gd name="T92" fmla="*/ 21 w 106"/>
              <a:gd name="T93" fmla="*/ 37 h 72"/>
              <a:gd name="T94" fmla="*/ 3 w 106"/>
              <a:gd name="T95" fmla="*/ 59 h 72"/>
              <a:gd name="T96" fmla="*/ 9 w 106"/>
              <a:gd name="T97" fmla="*/ 56 h 72"/>
              <a:gd name="T98" fmla="*/ 9 w 106"/>
              <a:gd name="T99" fmla="*/ 50 h 72"/>
              <a:gd name="T100" fmla="*/ 18 w 106"/>
              <a:gd name="T101" fmla="*/ 47 h 72"/>
              <a:gd name="T102" fmla="*/ 21 w 106"/>
              <a:gd name="T103" fmla="*/ 44 h 72"/>
              <a:gd name="T104" fmla="*/ 21 w 106"/>
              <a:gd name="T105" fmla="*/ 41 h 72"/>
              <a:gd name="T106" fmla="*/ 18 w 106"/>
              <a:gd name="T107" fmla="*/ 37 h 72"/>
              <a:gd name="T108" fmla="*/ 9 w 106"/>
              <a:gd name="T109" fmla="*/ 37 h 72"/>
              <a:gd name="T110" fmla="*/ 6 w 106"/>
              <a:gd name="T111" fmla="*/ 41 h 72"/>
              <a:gd name="T112" fmla="*/ 6 w 106"/>
              <a:gd name="T113" fmla="*/ 41 h 72"/>
              <a:gd name="T114" fmla="*/ 3 w 106"/>
              <a:gd name="T115" fmla="*/ 41 h 72"/>
              <a:gd name="T116" fmla="*/ 3 w 106"/>
              <a:gd name="T117" fmla="*/ 44 h 72"/>
              <a:gd name="T118" fmla="*/ 0 w 106"/>
              <a:gd name="T119" fmla="*/ 47 h 72"/>
              <a:gd name="T120" fmla="*/ 3 w 106"/>
              <a:gd name="T121" fmla="*/ 50 h 72"/>
              <a:gd name="T122" fmla="*/ 6 w 106"/>
              <a:gd name="T123" fmla="*/ 56 h 72"/>
              <a:gd name="T124" fmla="*/ 3 w 106"/>
              <a:gd name="T125" fmla="*/ 5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 h="72">
                <a:moveTo>
                  <a:pt x="100" y="72"/>
                </a:moveTo>
                <a:lnTo>
                  <a:pt x="103" y="66"/>
                </a:lnTo>
                <a:lnTo>
                  <a:pt x="103" y="62"/>
                </a:lnTo>
                <a:lnTo>
                  <a:pt x="106" y="59"/>
                </a:lnTo>
                <a:lnTo>
                  <a:pt x="106" y="56"/>
                </a:lnTo>
                <a:lnTo>
                  <a:pt x="96" y="41"/>
                </a:lnTo>
                <a:lnTo>
                  <a:pt x="96" y="25"/>
                </a:lnTo>
                <a:lnTo>
                  <a:pt x="100" y="25"/>
                </a:lnTo>
                <a:lnTo>
                  <a:pt x="100" y="19"/>
                </a:lnTo>
                <a:lnTo>
                  <a:pt x="103" y="12"/>
                </a:lnTo>
                <a:lnTo>
                  <a:pt x="106" y="12"/>
                </a:lnTo>
                <a:lnTo>
                  <a:pt x="106" y="12"/>
                </a:lnTo>
                <a:lnTo>
                  <a:pt x="103" y="9"/>
                </a:lnTo>
                <a:lnTo>
                  <a:pt x="103" y="9"/>
                </a:lnTo>
                <a:lnTo>
                  <a:pt x="87" y="9"/>
                </a:lnTo>
                <a:lnTo>
                  <a:pt x="81" y="6"/>
                </a:lnTo>
                <a:lnTo>
                  <a:pt x="71" y="6"/>
                </a:lnTo>
                <a:lnTo>
                  <a:pt x="68" y="3"/>
                </a:lnTo>
                <a:lnTo>
                  <a:pt x="65" y="6"/>
                </a:lnTo>
                <a:lnTo>
                  <a:pt x="62" y="0"/>
                </a:lnTo>
                <a:lnTo>
                  <a:pt x="62" y="3"/>
                </a:lnTo>
                <a:lnTo>
                  <a:pt x="59" y="3"/>
                </a:lnTo>
                <a:lnTo>
                  <a:pt x="59" y="6"/>
                </a:lnTo>
                <a:lnTo>
                  <a:pt x="59" y="6"/>
                </a:lnTo>
                <a:lnTo>
                  <a:pt x="56" y="9"/>
                </a:lnTo>
                <a:lnTo>
                  <a:pt x="56" y="9"/>
                </a:lnTo>
                <a:lnTo>
                  <a:pt x="46" y="9"/>
                </a:lnTo>
                <a:lnTo>
                  <a:pt x="46" y="6"/>
                </a:lnTo>
                <a:lnTo>
                  <a:pt x="46" y="9"/>
                </a:lnTo>
                <a:lnTo>
                  <a:pt x="43" y="9"/>
                </a:lnTo>
                <a:lnTo>
                  <a:pt x="37" y="9"/>
                </a:lnTo>
                <a:lnTo>
                  <a:pt x="37" y="16"/>
                </a:lnTo>
                <a:lnTo>
                  <a:pt x="34" y="12"/>
                </a:lnTo>
                <a:lnTo>
                  <a:pt x="28" y="16"/>
                </a:lnTo>
                <a:lnTo>
                  <a:pt x="28" y="19"/>
                </a:lnTo>
                <a:lnTo>
                  <a:pt x="28" y="31"/>
                </a:lnTo>
                <a:lnTo>
                  <a:pt x="31" y="34"/>
                </a:lnTo>
                <a:lnTo>
                  <a:pt x="31" y="31"/>
                </a:lnTo>
                <a:lnTo>
                  <a:pt x="34" y="31"/>
                </a:lnTo>
                <a:lnTo>
                  <a:pt x="34" y="34"/>
                </a:lnTo>
                <a:lnTo>
                  <a:pt x="31" y="34"/>
                </a:lnTo>
                <a:lnTo>
                  <a:pt x="31" y="41"/>
                </a:lnTo>
                <a:lnTo>
                  <a:pt x="34" y="44"/>
                </a:lnTo>
                <a:lnTo>
                  <a:pt x="40" y="50"/>
                </a:lnTo>
                <a:lnTo>
                  <a:pt x="40" y="50"/>
                </a:lnTo>
                <a:lnTo>
                  <a:pt x="40" y="47"/>
                </a:lnTo>
                <a:lnTo>
                  <a:pt x="43" y="44"/>
                </a:lnTo>
                <a:lnTo>
                  <a:pt x="46" y="47"/>
                </a:lnTo>
                <a:lnTo>
                  <a:pt x="43" y="56"/>
                </a:lnTo>
                <a:lnTo>
                  <a:pt x="43" y="59"/>
                </a:lnTo>
                <a:lnTo>
                  <a:pt x="46" y="59"/>
                </a:lnTo>
                <a:lnTo>
                  <a:pt x="53" y="53"/>
                </a:lnTo>
                <a:lnTo>
                  <a:pt x="56" y="53"/>
                </a:lnTo>
                <a:lnTo>
                  <a:pt x="62" y="56"/>
                </a:lnTo>
                <a:lnTo>
                  <a:pt x="65" y="56"/>
                </a:lnTo>
                <a:lnTo>
                  <a:pt x="65" y="53"/>
                </a:lnTo>
                <a:lnTo>
                  <a:pt x="68" y="56"/>
                </a:lnTo>
                <a:lnTo>
                  <a:pt x="68" y="59"/>
                </a:lnTo>
                <a:lnTo>
                  <a:pt x="71" y="59"/>
                </a:lnTo>
                <a:lnTo>
                  <a:pt x="78" y="62"/>
                </a:lnTo>
                <a:lnTo>
                  <a:pt x="81" y="66"/>
                </a:lnTo>
                <a:lnTo>
                  <a:pt x="84" y="69"/>
                </a:lnTo>
                <a:lnTo>
                  <a:pt x="87" y="72"/>
                </a:lnTo>
                <a:lnTo>
                  <a:pt x="93" y="69"/>
                </a:lnTo>
                <a:lnTo>
                  <a:pt x="100" y="72"/>
                </a:lnTo>
                <a:lnTo>
                  <a:pt x="100" y="72"/>
                </a:lnTo>
                <a:close/>
                <a:moveTo>
                  <a:pt x="21" y="25"/>
                </a:moveTo>
                <a:lnTo>
                  <a:pt x="25" y="25"/>
                </a:lnTo>
                <a:lnTo>
                  <a:pt x="25" y="28"/>
                </a:lnTo>
                <a:lnTo>
                  <a:pt x="21" y="28"/>
                </a:lnTo>
                <a:lnTo>
                  <a:pt x="21" y="25"/>
                </a:lnTo>
                <a:lnTo>
                  <a:pt x="21" y="25"/>
                </a:lnTo>
                <a:close/>
                <a:moveTo>
                  <a:pt x="12" y="34"/>
                </a:moveTo>
                <a:lnTo>
                  <a:pt x="12" y="31"/>
                </a:lnTo>
                <a:lnTo>
                  <a:pt x="9" y="31"/>
                </a:lnTo>
                <a:lnTo>
                  <a:pt x="3" y="31"/>
                </a:lnTo>
                <a:lnTo>
                  <a:pt x="3" y="31"/>
                </a:lnTo>
                <a:lnTo>
                  <a:pt x="9" y="28"/>
                </a:lnTo>
                <a:lnTo>
                  <a:pt x="12" y="25"/>
                </a:lnTo>
                <a:lnTo>
                  <a:pt x="12" y="25"/>
                </a:lnTo>
                <a:lnTo>
                  <a:pt x="12" y="25"/>
                </a:lnTo>
                <a:lnTo>
                  <a:pt x="15" y="25"/>
                </a:lnTo>
                <a:lnTo>
                  <a:pt x="18" y="28"/>
                </a:lnTo>
                <a:lnTo>
                  <a:pt x="21" y="31"/>
                </a:lnTo>
                <a:lnTo>
                  <a:pt x="18" y="31"/>
                </a:lnTo>
                <a:lnTo>
                  <a:pt x="15" y="31"/>
                </a:lnTo>
                <a:lnTo>
                  <a:pt x="12" y="34"/>
                </a:lnTo>
                <a:lnTo>
                  <a:pt x="12" y="34"/>
                </a:lnTo>
                <a:close/>
                <a:moveTo>
                  <a:pt x="21" y="37"/>
                </a:moveTo>
                <a:lnTo>
                  <a:pt x="21" y="34"/>
                </a:lnTo>
                <a:lnTo>
                  <a:pt x="25" y="34"/>
                </a:lnTo>
                <a:lnTo>
                  <a:pt x="28" y="41"/>
                </a:lnTo>
                <a:lnTo>
                  <a:pt x="25" y="41"/>
                </a:lnTo>
                <a:lnTo>
                  <a:pt x="21" y="37"/>
                </a:lnTo>
                <a:lnTo>
                  <a:pt x="21" y="37"/>
                </a:lnTo>
                <a:close/>
                <a:moveTo>
                  <a:pt x="3" y="59"/>
                </a:moveTo>
                <a:lnTo>
                  <a:pt x="6" y="59"/>
                </a:lnTo>
                <a:lnTo>
                  <a:pt x="9" y="56"/>
                </a:lnTo>
                <a:lnTo>
                  <a:pt x="9" y="56"/>
                </a:lnTo>
                <a:lnTo>
                  <a:pt x="9" y="50"/>
                </a:lnTo>
                <a:lnTo>
                  <a:pt x="15" y="50"/>
                </a:lnTo>
                <a:lnTo>
                  <a:pt x="18" y="47"/>
                </a:lnTo>
                <a:lnTo>
                  <a:pt x="21" y="44"/>
                </a:lnTo>
                <a:lnTo>
                  <a:pt x="21" y="44"/>
                </a:lnTo>
                <a:lnTo>
                  <a:pt x="25" y="44"/>
                </a:lnTo>
                <a:lnTo>
                  <a:pt x="21" y="41"/>
                </a:lnTo>
                <a:lnTo>
                  <a:pt x="21" y="41"/>
                </a:lnTo>
                <a:lnTo>
                  <a:pt x="18" y="37"/>
                </a:lnTo>
                <a:lnTo>
                  <a:pt x="12" y="37"/>
                </a:lnTo>
                <a:lnTo>
                  <a:pt x="9" y="37"/>
                </a:lnTo>
                <a:lnTo>
                  <a:pt x="9" y="41"/>
                </a:lnTo>
                <a:lnTo>
                  <a:pt x="6" y="41"/>
                </a:lnTo>
                <a:lnTo>
                  <a:pt x="6" y="41"/>
                </a:lnTo>
                <a:lnTo>
                  <a:pt x="6" y="41"/>
                </a:lnTo>
                <a:lnTo>
                  <a:pt x="3" y="41"/>
                </a:lnTo>
                <a:lnTo>
                  <a:pt x="3" y="41"/>
                </a:lnTo>
                <a:lnTo>
                  <a:pt x="0" y="41"/>
                </a:lnTo>
                <a:lnTo>
                  <a:pt x="3" y="44"/>
                </a:lnTo>
                <a:lnTo>
                  <a:pt x="3" y="44"/>
                </a:lnTo>
                <a:lnTo>
                  <a:pt x="0" y="47"/>
                </a:lnTo>
                <a:lnTo>
                  <a:pt x="0" y="47"/>
                </a:lnTo>
                <a:lnTo>
                  <a:pt x="3" y="50"/>
                </a:lnTo>
                <a:lnTo>
                  <a:pt x="6" y="53"/>
                </a:lnTo>
                <a:lnTo>
                  <a:pt x="6" y="56"/>
                </a:lnTo>
                <a:lnTo>
                  <a:pt x="6" y="56"/>
                </a:lnTo>
                <a:lnTo>
                  <a:pt x="3" y="5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9" name="Freeform 47">
            <a:extLst>
              <a:ext uri="{FF2B5EF4-FFF2-40B4-BE49-F238E27FC236}">
                <a16:creationId xmlns:a16="http://schemas.microsoft.com/office/drawing/2014/main" id="{E31A3B04-C675-7E5F-6949-1BCE5871EB0F}"/>
              </a:ext>
            </a:extLst>
          </p:cNvPr>
          <p:cNvSpPr>
            <a:spLocks/>
          </p:cNvSpPr>
          <p:nvPr userDrawn="1"/>
        </p:nvSpPr>
        <p:spPr bwMode="auto">
          <a:xfrm>
            <a:off x="14289741" y="5244381"/>
            <a:ext cx="396852" cy="219078"/>
          </a:xfrm>
          <a:custGeom>
            <a:avLst/>
            <a:gdLst>
              <a:gd name="T0" fmla="*/ 125 w 125"/>
              <a:gd name="T1" fmla="*/ 47 h 69"/>
              <a:gd name="T2" fmla="*/ 119 w 125"/>
              <a:gd name="T3" fmla="*/ 38 h 69"/>
              <a:gd name="T4" fmla="*/ 116 w 125"/>
              <a:gd name="T5" fmla="*/ 31 h 69"/>
              <a:gd name="T6" fmla="*/ 116 w 125"/>
              <a:gd name="T7" fmla="*/ 25 h 69"/>
              <a:gd name="T8" fmla="*/ 113 w 125"/>
              <a:gd name="T9" fmla="*/ 22 h 69"/>
              <a:gd name="T10" fmla="*/ 103 w 125"/>
              <a:gd name="T11" fmla="*/ 16 h 69"/>
              <a:gd name="T12" fmla="*/ 94 w 125"/>
              <a:gd name="T13" fmla="*/ 16 h 69"/>
              <a:gd name="T14" fmla="*/ 88 w 125"/>
              <a:gd name="T15" fmla="*/ 9 h 69"/>
              <a:gd name="T16" fmla="*/ 78 w 125"/>
              <a:gd name="T17" fmla="*/ 6 h 69"/>
              <a:gd name="T18" fmla="*/ 75 w 125"/>
              <a:gd name="T19" fmla="*/ 0 h 69"/>
              <a:gd name="T20" fmla="*/ 72 w 125"/>
              <a:gd name="T21" fmla="*/ 3 h 69"/>
              <a:gd name="T22" fmla="*/ 63 w 125"/>
              <a:gd name="T23" fmla="*/ 0 h 69"/>
              <a:gd name="T24" fmla="*/ 53 w 125"/>
              <a:gd name="T25" fmla="*/ 6 h 69"/>
              <a:gd name="T26" fmla="*/ 56 w 125"/>
              <a:gd name="T27" fmla="*/ 19 h 69"/>
              <a:gd name="T28" fmla="*/ 47 w 125"/>
              <a:gd name="T29" fmla="*/ 31 h 69"/>
              <a:gd name="T30" fmla="*/ 38 w 125"/>
              <a:gd name="T31" fmla="*/ 28 h 69"/>
              <a:gd name="T32" fmla="*/ 28 w 125"/>
              <a:gd name="T33" fmla="*/ 16 h 69"/>
              <a:gd name="T34" fmla="*/ 25 w 125"/>
              <a:gd name="T35" fmla="*/ 9 h 69"/>
              <a:gd name="T36" fmla="*/ 19 w 125"/>
              <a:gd name="T37" fmla="*/ 16 h 69"/>
              <a:gd name="T38" fmla="*/ 13 w 125"/>
              <a:gd name="T39" fmla="*/ 16 h 69"/>
              <a:gd name="T40" fmla="*/ 10 w 125"/>
              <a:gd name="T41" fmla="*/ 25 h 69"/>
              <a:gd name="T42" fmla="*/ 6 w 125"/>
              <a:gd name="T43" fmla="*/ 31 h 69"/>
              <a:gd name="T44" fmla="*/ 3 w 125"/>
              <a:gd name="T45" fmla="*/ 41 h 69"/>
              <a:gd name="T46" fmla="*/ 0 w 125"/>
              <a:gd name="T47" fmla="*/ 47 h 69"/>
              <a:gd name="T48" fmla="*/ 3 w 125"/>
              <a:gd name="T49" fmla="*/ 60 h 69"/>
              <a:gd name="T50" fmla="*/ 6 w 125"/>
              <a:gd name="T51" fmla="*/ 60 h 69"/>
              <a:gd name="T52" fmla="*/ 16 w 125"/>
              <a:gd name="T53" fmla="*/ 50 h 69"/>
              <a:gd name="T54" fmla="*/ 31 w 125"/>
              <a:gd name="T55" fmla="*/ 47 h 69"/>
              <a:gd name="T56" fmla="*/ 38 w 125"/>
              <a:gd name="T57" fmla="*/ 50 h 69"/>
              <a:gd name="T58" fmla="*/ 44 w 125"/>
              <a:gd name="T59" fmla="*/ 47 h 69"/>
              <a:gd name="T60" fmla="*/ 50 w 125"/>
              <a:gd name="T61" fmla="*/ 50 h 69"/>
              <a:gd name="T62" fmla="*/ 60 w 125"/>
              <a:gd name="T63" fmla="*/ 53 h 69"/>
              <a:gd name="T64" fmla="*/ 66 w 125"/>
              <a:gd name="T65" fmla="*/ 50 h 69"/>
              <a:gd name="T66" fmla="*/ 81 w 125"/>
              <a:gd name="T67" fmla="*/ 53 h 69"/>
              <a:gd name="T68" fmla="*/ 91 w 125"/>
              <a:gd name="T69" fmla="*/ 60 h 69"/>
              <a:gd name="T70" fmla="*/ 100 w 125"/>
              <a:gd name="T71" fmla="*/ 66 h 69"/>
              <a:gd name="T72" fmla="*/ 100 w 125"/>
              <a:gd name="T73" fmla="*/ 69 h 69"/>
              <a:gd name="T74" fmla="*/ 116 w 125"/>
              <a:gd name="T75" fmla="*/ 63 h 69"/>
              <a:gd name="T76" fmla="*/ 119 w 125"/>
              <a:gd name="T77" fmla="*/ 56 h 69"/>
              <a:gd name="T78" fmla="*/ 125 w 125"/>
              <a:gd name="T79" fmla="*/ 5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5" h="69">
                <a:moveTo>
                  <a:pt x="125" y="53"/>
                </a:moveTo>
                <a:lnTo>
                  <a:pt x="125" y="47"/>
                </a:lnTo>
                <a:lnTo>
                  <a:pt x="122" y="44"/>
                </a:lnTo>
                <a:lnTo>
                  <a:pt x="119" y="38"/>
                </a:lnTo>
                <a:lnTo>
                  <a:pt x="119" y="34"/>
                </a:lnTo>
                <a:lnTo>
                  <a:pt x="116" y="31"/>
                </a:lnTo>
                <a:lnTo>
                  <a:pt x="116" y="28"/>
                </a:lnTo>
                <a:lnTo>
                  <a:pt x="116" y="25"/>
                </a:lnTo>
                <a:lnTo>
                  <a:pt x="113" y="25"/>
                </a:lnTo>
                <a:lnTo>
                  <a:pt x="113" y="22"/>
                </a:lnTo>
                <a:lnTo>
                  <a:pt x="113" y="19"/>
                </a:lnTo>
                <a:lnTo>
                  <a:pt x="103" y="16"/>
                </a:lnTo>
                <a:lnTo>
                  <a:pt x="97" y="19"/>
                </a:lnTo>
                <a:lnTo>
                  <a:pt x="94" y="16"/>
                </a:lnTo>
                <a:lnTo>
                  <a:pt x="91" y="13"/>
                </a:lnTo>
                <a:lnTo>
                  <a:pt x="88" y="9"/>
                </a:lnTo>
                <a:lnTo>
                  <a:pt x="81" y="6"/>
                </a:lnTo>
                <a:lnTo>
                  <a:pt x="78" y="6"/>
                </a:lnTo>
                <a:lnTo>
                  <a:pt x="78" y="3"/>
                </a:lnTo>
                <a:lnTo>
                  <a:pt x="75" y="0"/>
                </a:lnTo>
                <a:lnTo>
                  <a:pt x="75" y="3"/>
                </a:lnTo>
                <a:lnTo>
                  <a:pt x="72" y="3"/>
                </a:lnTo>
                <a:lnTo>
                  <a:pt x="66" y="0"/>
                </a:lnTo>
                <a:lnTo>
                  <a:pt x="63" y="0"/>
                </a:lnTo>
                <a:lnTo>
                  <a:pt x="56" y="6"/>
                </a:lnTo>
                <a:lnTo>
                  <a:pt x="53" y="6"/>
                </a:lnTo>
                <a:lnTo>
                  <a:pt x="53" y="9"/>
                </a:lnTo>
                <a:lnTo>
                  <a:pt x="56" y="19"/>
                </a:lnTo>
                <a:lnTo>
                  <a:pt x="53" y="25"/>
                </a:lnTo>
                <a:lnTo>
                  <a:pt x="47" y="31"/>
                </a:lnTo>
                <a:lnTo>
                  <a:pt x="44" y="31"/>
                </a:lnTo>
                <a:lnTo>
                  <a:pt x="38" y="28"/>
                </a:lnTo>
                <a:lnTo>
                  <a:pt x="38" y="25"/>
                </a:lnTo>
                <a:lnTo>
                  <a:pt x="28" y="16"/>
                </a:lnTo>
                <a:lnTo>
                  <a:pt x="28" y="9"/>
                </a:lnTo>
                <a:lnTo>
                  <a:pt x="25" y="9"/>
                </a:lnTo>
                <a:lnTo>
                  <a:pt x="22" y="13"/>
                </a:lnTo>
                <a:lnTo>
                  <a:pt x="19" y="16"/>
                </a:lnTo>
                <a:lnTo>
                  <a:pt x="16" y="16"/>
                </a:lnTo>
                <a:lnTo>
                  <a:pt x="13" y="16"/>
                </a:lnTo>
                <a:lnTo>
                  <a:pt x="10" y="22"/>
                </a:lnTo>
                <a:lnTo>
                  <a:pt x="10" y="25"/>
                </a:lnTo>
                <a:lnTo>
                  <a:pt x="6" y="25"/>
                </a:lnTo>
                <a:lnTo>
                  <a:pt x="6" y="31"/>
                </a:lnTo>
                <a:lnTo>
                  <a:pt x="3" y="38"/>
                </a:lnTo>
                <a:lnTo>
                  <a:pt x="3" y="41"/>
                </a:lnTo>
                <a:lnTo>
                  <a:pt x="3" y="44"/>
                </a:lnTo>
                <a:lnTo>
                  <a:pt x="0" y="47"/>
                </a:lnTo>
                <a:lnTo>
                  <a:pt x="0" y="56"/>
                </a:lnTo>
                <a:lnTo>
                  <a:pt x="3" y="60"/>
                </a:lnTo>
                <a:lnTo>
                  <a:pt x="3" y="60"/>
                </a:lnTo>
                <a:lnTo>
                  <a:pt x="6" y="60"/>
                </a:lnTo>
                <a:lnTo>
                  <a:pt x="10" y="53"/>
                </a:lnTo>
                <a:lnTo>
                  <a:pt x="16" y="50"/>
                </a:lnTo>
                <a:lnTo>
                  <a:pt x="22" y="47"/>
                </a:lnTo>
                <a:lnTo>
                  <a:pt x="31" y="47"/>
                </a:lnTo>
                <a:lnTo>
                  <a:pt x="35" y="47"/>
                </a:lnTo>
                <a:lnTo>
                  <a:pt x="38" y="50"/>
                </a:lnTo>
                <a:lnTo>
                  <a:pt x="41" y="47"/>
                </a:lnTo>
                <a:lnTo>
                  <a:pt x="44" y="47"/>
                </a:lnTo>
                <a:lnTo>
                  <a:pt x="47" y="50"/>
                </a:lnTo>
                <a:lnTo>
                  <a:pt x="50" y="50"/>
                </a:lnTo>
                <a:lnTo>
                  <a:pt x="53" y="53"/>
                </a:lnTo>
                <a:lnTo>
                  <a:pt x="60" y="53"/>
                </a:lnTo>
                <a:lnTo>
                  <a:pt x="60" y="53"/>
                </a:lnTo>
                <a:lnTo>
                  <a:pt x="66" y="50"/>
                </a:lnTo>
                <a:lnTo>
                  <a:pt x="75" y="53"/>
                </a:lnTo>
                <a:lnTo>
                  <a:pt x="81" y="53"/>
                </a:lnTo>
                <a:lnTo>
                  <a:pt x="85" y="60"/>
                </a:lnTo>
                <a:lnTo>
                  <a:pt x="91" y="60"/>
                </a:lnTo>
                <a:lnTo>
                  <a:pt x="94" y="66"/>
                </a:lnTo>
                <a:lnTo>
                  <a:pt x="100" y="66"/>
                </a:lnTo>
                <a:lnTo>
                  <a:pt x="100" y="69"/>
                </a:lnTo>
                <a:lnTo>
                  <a:pt x="100" y="69"/>
                </a:lnTo>
                <a:lnTo>
                  <a:pt x="106" y="66"/>
                </a:lnTo>
                <a:lnTo>
                  <a:pt x="116" y="63"/>
                </a:lnTo>
                <a:lnTo>
                  <a:pt x="116" y="60"/>
                </a:lnTo>
                <a:lnTo>
                  <a:pt x="119" y="56"/>
                </a:lnTo>
                <a:lnTo>
                  <a:pt x="122" y="53"/>
                </a:lnTo>
                <a:lnTo>
                  <a:pt x="125" y="53"/>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0" name="Freeform 48">
            <a:extLst>
              <a:ext uri="{FF2B5EF4-FFF2-40B4-BE49-F238E27FC236}">
                <a16:creationId xmlns:a16="http://schemas.microsoft.com/office/drawing/2014/main" id="{73478B3B-959B-2208-AE1D-39D80EC1055F}"/>
              </a:ext>
            </a:extLst>
          </p:cNvPr>
          <p:cNvSpPr>
            <a:spLocks/>
          </p:cNvSpPr>
          <p:nvPr userDrawn="1"/>
        </p:nvSpPr>
        <p:spPr bwMode="auto">
          <a:xfrm>
            <a:off x="14299267" y="5393608"/>
            <a:ext cx="307956" cy="228600"/>
          </a:xfrm>
          <a:custGeom>
            <a:avLst/>
            <a:gdLst>
              <a:gd name="T0" fmla="*/ 32 w 97"/>
              <a:gd name="T1" fmla="*/ 50 h 72"/>
              <a:gd name="T2" fmla="*/ 32 w 97"/>
              <a:gd name="T3" fmla="*/ 44 h 72"/>
              <a:gd name="T4" fmla="*/ 35 w 97"/>
              <a:gd name="T5" fmla="*/ 41 h 72"/>
              <a:gd name="T6" fmla="*/ 32 w 97"/>
              <a:gd name="T7" fmla="*/ 41 h 72"/>
              <a:gd name="T8" fmla="*/ 28 w 97"/>
              <a:gd name="T9" fmla="*/ 38 h 72"/>
              <a:gd name="T10" fmla="*/ 28 w 97"/>
              <a:gd name="T11" fmla="*/ 34 h 72"/>
              <a:gd name="T12" fmla="*/ 25 w 97"/>
              <a:gd name="T13" fmla="*/ 34 h 72"/>
              <a:gd name="T14" fmla="*/ 19 w 97"/>
              <a:gd name="T15" fmla="*/ 34 h 72"/>
              <a:gd name="T16" fmla="*/ 13 w 97"/>
              <a:gd name="T17" fmla="*/ 31 h 72"/>
              <a:gd name="T18" fmla="*/ 10 w 97"/>
              <a:gd name="T19" fmla="*/ 25 h 72"/>
              <a:gd name="T20" fmla="*/ 3 w 97"/>
              <a:gd name="T21" fmla="*/ 28 h 72"/>
              <a:gd name="T22" fmla="*/ 0 w 97"/>
              <a:gd name="T23" fmla="*/ 25 h 72"/>
              <a:gd name="T24" fmla="*/ 3 w 97"/>
              <a:gd name="T25" fmla="*/ 22 h 72"/>
              <a:gd name="T26" fmla="*/ 0 w 97"/>
              <a:gd name="T27" fmla="*/ 19 h 72"/>
              <a:gd name="T28" fmla="*/ 0 w 97"/>
              <a:gd name="T29" fmla="*/ 13 h 72"/>
              <a:gd name="T30" fmla="*/ 3 w 97"/>
              <a:gd name="T31" fmla="*/ 13 h 72"/>
              <a:gd name="T32" fmla="*/ 7 w 97"/>
              <a:gd name="T33" fmla="*/ 6 h 72"/>
              <a:gd name="T34" fmla="*/ 13 w 97"/>
              <a:gd name="T35" fmla="*/ 3 h 72"/>
              <a:gd name="T36" fmla="*/ 19 w 97"/>
              <a:gd name="T37" fmla="*/ 0 h 72"/>
              <a:gd name="T38" fmla="*/ 28 w 97"/>
              <a:gd name="T39" fmla="*/ 0 h 72"/>
              <a:gd name="T40" fmla="*/ 32 w 97"/>
              <a:gd name="T41" fmla="*/ 0 h 72"/>
              <a:gd name="T42" fmla="*/ 35 w 97"/>
              <a:gd name="T43" fmla="*/ 3 h 72"/>
              <a:gd name="T44" fmla="*/ 38 w 97"/>
              <a:gd name="T45" fmla="*/ 0 h 72"/>
              <a:gd name="T46" fmla="*/ 41 w 97"/>
              <a:gd name="T47" fmla="*/ 0 h 72"/>
              <a:gd name="T48" fmla="*/ 44 w 97"/>
              <a:gd name="T49" fmla="*/ 3 h 72"/>
              <a:gd name="T50" fmla="*/ 47 w 97"/>
              <a:gd name="T51" fmla="*/ 3 h 72"/>
              <a:gd name="T52" fmla="*/ 50 w 97"/>
              <a:gd name="T53" fmla="*/ 6 h 72"/>
              <a:gd name="T54" fmla="*/ 57 w 97"/>
              <a:gd name="T55" fmla="*/ 6 h 72"/>
              <a:gd name="T56" fmla="*/ 57 w 97"/>
              <a:gd name="T57" fmla="*/ 6 h 72"/>
              <a:gd name="T58" fmla="*/ 63 w 97"/>
              <a:gd name="T59" fmla="*/ 3 h 72"/>
              <a:gd name="T60" fmla="*/ 72 w 97"/>
              <a:gd name="T61" fmla="*/ 6 h 72"/>
              <a:gd name="T62" fmla="*/ 78 w 97"/>
              <a:gd name="T63" fmla="*/ 6 h 72"/>
              <a:gd name="T64" fmla="*/ 82 w 97"/>
              <a:gd name="T65" fmla="*/ 13 h 72"/>
              <a:gd name="T66" fmla="*/ 88 w 97"/>
              <a:gd name="T67" fmla="*/ 13 h 72"/>
              <a:gd name="T68" fmla="*/ 91 w 97"/>
              <a:gd name="T69" fmla="*/ 19 h 72"/>
              <a:gd name="T70" fmla="*/ 97 w 97"/>
              <a:gd name="T71" fmla="*/ 19 h 72"/>
              <a:gd name="T72" fmla="*/ 97 w 97"/>
              <a:gd name="T73" fmla="*/ 22 h 72"/>
              <a:gd name="T74" fmla="*/ 94 w 97"/>
              <a:gd name="T75" fmla="*/ 28 h 72"/>
              <a:gd name="T76" fmla="*/ 97 w 97"/>
              <a:gd name="T77" fmla="*/ 28 h 72"/>
              <a:gd name="T78" fmla="*/ 97 w 97"/>
              <a:gd name="T79" fmla="*/ 31 h 72"/>
              <a:gd name="T80" fmla="*/ 91 w 97"/>
              <a:gd name="T81" fmla="*/ 34 h 72"/>
              <a:gd name="T82" fmla="*/ 88 w 97"/>
              <a:gd name="T83" fmla="*/ 41 h 72"/>
              <a:gd name="T84" fmla="*/ 85 w 97"/>
              <a:gd name="T85" fmla="*/ 44 h 72"/>
              <a:gd name="T86" fmla="*/ 82 w 97"/>
              <a:gd name="T87" fmla="*/ 50 h 72"/>
              <a:gd name="T88" fmla="*/ 88 w 97"/>
              <a:gd name="T89" fmla="*/ 50 h 72"/>
              <a:gd name="T90" fmla="*/ 88 w 97"/>
              <a:gd name="T91" fmla="*/ 56 h 72"/>
              <a:gd name="T92" fmla="*/ 85 w 97"/>
              <a:gd name="T93" fmla="*/ 56 h 72"/>
              <a:gd name="T94" fmla="*/ 82 w 97"/>
              <a:gd name="T95" fmla="*/ 53 h 72"/>
              <a:gd name="T96" fmla="*/ 78 w 97"/>
              <a:gd name="T97" fmla="*/ 53 h 72"/>
              <a:gd name="T98" fmla="*/ 75 w 97"/>
              <a:gd name="T99" fmla="*/ 59 h 72"/>
              <a:gd name="T100" fmla="*/ 72 w 97"/>
              <a:gd name="T101" fmla="*/ 59 h 72"/>
              <a:gd name="T102" fmla="*/ 72 w 97"/>
              <a:gd name="T103" fmla="*/ 66 h 72"/>
              <a:gd name="T104" fmla="*/ 69 w 97"/>
              <a:gd name="T105" fmla="*/ 66 h 72"/>
              <a:gd name="T106" fmla="*/ 66 w 97"/>
              <a:gd name="T107" fmla="*/ 69 h 72"/>
              <a:gd name="T108" fmla="*/ 60 w 97"/>
              <a:gd name="T109" fmla="*/ 66 h 72"/>
              <a:gd name="T110" fmla="*/ 53 w 97"/>
              <a:gd name="T111" fmla="*/ 69 h 72"/>
              <a:gd name="T112" fmla="*/ 47 w 97"/>
              <a:gd name="T113" fmla="*/ 72 h 72"/>
              <a:gd name="T114" fmla="*/ 44 w 97"/>
              <a:gd name="T115" fmla="*/ 66 h 72"/>
              <a:gd name="T116" fmla="*/ 47 w 97"/>
              <a:gd name="T117" fmla="*/ 63 h 72"/>
              <a:gd name="T118" fmla="*/ 44 w 97"/>
              <a:gd name="T119" fmla="*/ 56 h 72"/>
              <a:gd name="T120" fmla="*/ 41 w 97"/>
              <a:gd name="T121" fmla="*/ 53 h 72"/>
              <a:gd name="T122" fmla="*/ 38 w 97"/>
              <a:gd name="T123" fmla="*/ 50 h 72"/>
              <a:gd name="T124" fmla="*/ 32 w 97"/>
              <a:gd name="T125" fmla="*/ 5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7" h="72">
                <a:moveTo>
                  <a:pt x="32" y="50"/>
                </a:moveTo>
                <a:lnTo>
                  <a:pt x="32" y="44"/>
                </a:lnTo>
                <a:lnTo>
                  <a:pt x="35" y="41"/>
                </a:lnTo>
                <a:lnTo>
                  <a:pt x="32" y="41"/>
                </a:lnTo>
                <a:lnTo>
                  <a:pt x="28" y="38"/>
                </a:lnTo>
                <a:lnTo>
                  <a:pt x="28" y="34"/>
                </a:lnTo>
                <a:lnTo>
                  <a:pt x="25" y="34"/>
                </a:lnTo>
                <a:lnTo>
                  <a:pt x="19" y="34"/>
                </a:lnTo>
                <a:lnTo>
                  <a:pt x="13" y="31"/>
                </a:lnTo>
                <a:lnTo>
                  <a:pt x="10" y="25"/>
                </a:lnTo>
                <a:lnTo>
                  <a:pt x="3" y="28"/>
                </a:lnTo>
                <a:lnTo>
                  <a:pt x="0" y="25"/>
                </a:lnTo>
                <a:lnTo>
                  <a:pt x="3" y="22"/>
                </a:lnTo>
                <a:lnTo>
                  <a:pt x="0" y="19"/>
                </a:lnTo>
                <a:lnTo>
                  <a:pt x="0" y="13"/>
                </a:lnTo>
                <a:lnTo>
                  <a:pt x="3" y="13"/>
                </a:lnTo>
                <a:lnTo>
                  <a:pt x="7" y="6"/>
                </a:lnTo>
                <a:lnTo>
                  <a:pt x="13" y="3"/>
                </a:lnTo>
                <a:lnTo>
                  <a:pt x="19" y="0"/>
                </a:lnTo>
                <a:lnTo>
                  <a:pt x="28" y="0"/>
                </a:lnTo>
                <a:lnTo>
                  <a:pt x="32" y="0"/>
                </a:lnTo>
                <a:lnTo>
                  <a:pt x="35" y="3"/>
                </a:lnTo>
                <a:lnTo>
                  <a:pt x="38" y="0"/>
                </a:lnTo>
                <a:lnTo>
                  <a:pt x="41" y="0"/>
                </a:lnTo>
                <a:lnTo>
                  <a:pt x="44" y="3"/>
                </a:lnTo>
                <a:lnTo>
                  <a:pt x="47" y="3"/>
                </a:lnTo>
                <a:lnTo>
                  <a:pt x="50" y="6"/>
                </a:lnTo>
                <a:lnTo>
                  <a:pt x="57" y="6"/>
                </a:lnTo>
                <a:lnTo>
                  <a:pt x="57" y="6"/>
                </a:lnTo>
                <a:lnTo>
                  <a:pt x="63" y="3"/>
                </a:lnTo>
                <a:lnTo>
                  <a:pt x="72" y="6"/>
                </a:lnTo>
                <a:lnTo>
                  <a:pt x="78" y="6"/>
                </a:lnTo>
                <a:lnTo>
                  <a:pt x="82" y="13"/>
                </a:lnTo>
                <a:lnTo>
                  <a:pt x="88" y="13"/>
                </a:lnTo>
                <a:lnTo>
                  <a:pt x="91" y="19"/>
                </a:lnTo>
                <a:lnTo>
                  <a:pt x="97" y="19"/>
                </a:lnTo>
                <a:lnTo>
                  <a:pt x="97" y="22"/>
                </a:lnTo>
                <a:lnTo>
                  <a:pt x="94" y="28"/>
                </a:lnTo>
                <a:lnTo>
                  <a:pt x="97" y="28"/>
                </a:lnTo>
                <a:lnTo>
                  <a:pt x="97" y="31"/>
                </a:lnTo>
                <a:lnTo>
                  <a:pt x="91" y="34"/>
                </a:lnTo>
                <a:lnTo>
                  <a:pt x="88" y="41"/>
                </a:lnTo>
                <a:lnTo>
                  <a:pt x="85" y="44"/>
                </a:lnTo>
                <a:lnTo>
                  <a:pt x="82" y="50"/>
                </a:lnTo>
                <a:lnTo>
                  <a:pt x="88" y="50"/>
                </a:lnTo>
                <a:lnTo>
                  <a:pt x="88" y="56"/>
                </a:lnTo>
                <a:lnTo>
                  <a:pt x="85" y="56"/>
                </a:lnTo>
                <a:lnTo>
                  <a:pt x="82" y="53"/>
                </a:lnTo>
                <a:lnTo>
                  <a:pt x="78" y="53"/>
                </a:lnTo>
                <a:lnTo>
                  <a:pt x="75" y="59"/>
                </a:lnTo>
                <a:lnTo>
                  <a:pt x="72" y="59"/>
                </a:lnTo>
                <a:lnTo>
                  <a:pt x="72" y="66"/>
                </a:lnTo>
                <a:lnTo>
                  <a:pt x="69" y="66"/>
                </a:lnTo>
                <a:lnTo>
                  <a:pt x="66" y="69"/>
                </a:lnTo>
                <a:lnTo>
                  <a:pt x="60" y="66"/>
                </a:lnTo>
                <a:lnTo>
                  <a:pt x="53" y="69"/>
                </a:lnTo>
                <a:lnTo>
                  <a:pt x="47" y="72"/>
                </a:lnTo>
                <a:lnTo>
                  <a:pt x="44" y="66"/>
                </a:lnTo>
                <a:lnTo>
                  <a:pt x="47" y="63"/>
                </a:lnTo>
                <a:lnTo>
                  <a:pt x="44" y="56"/>
                </a:lnTo>
                <a:lnTo>
                  <a:pt x="41" y="53"/>
                </a:lnTo>
                <a:lnTo>
                  <a:pt x="38" y="50"/>
                </a:lnTo>
                <a:lnTo>
                  <a:pt x="32" y="5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1" name="Freeform 49">
            <a:extLst>
              <a:ext uri="{FF2B5EF4-FFF2-40B4-BE49-F238E27FC236}">
                <a16:creationId xmlns:a16="http://schemas.microsoft.com/office/drawing/2014/main" id="{99298F62-8D5E-06AC-CB19-7CE5DF2B2E3F}"/>
              </a:ext>
            </a:extLst>
          </p:cNvPr>
          <p:cNvSpPr>
            <a:spLocks/>
          </p:cNvSpPr>
          <p:nvPr userDrawn="1"/>
        </p:nvSpPr>
        <p:spPr bwMode="auto">
          <a:xfrm>
            <a:off x="14448482" y="5412657"/>
            <a:ext cx="527016" cy="396878"/>
          </a:xfrm>
          <a:custGeom>
            <a:avLst/>
            <a:gdLst>
              <a:gd name="T0" fmla="*/ 6 w 166"/>
              <a:gd name="T1" fmla="*/ 63 h 125"/>
              <a:gd name="T2" fmla="*/ 19 w 166"/>
              <a:gd name="T3" fmla="*/ 63 h 125"/>
              <a:gd name="T4" fmla="*/ 25 w 166"/>
              <a:gd name="T5" fmla="*/ 60 h 125"/>
              <a:gd name="T6" fmla="*/ 28 w 166"/>
              <a:gd name="T7" fmla="*/ 53 h 125"/>
              <a:gd name="T8" fmla="*/ 35 w 166"/>
              <a:gd name="T9" fmla="*/ 47 h 125"/>
              <a:gd name="T10" fmla="*/ 41 w 166"/>
              <a:gd name="T11" fmla="*/ 50 h 125"/>
              <a:gd name="T12" fmla="*/ 35 w 166"/>
              <a:gd name="T13" fmla="*/ 44 h 125"/>
              <a:gd name="T14" fmla="*/ 41 w 166"/>
              <a:gd name="T15" fmla="*/ 35 h 125"/>
              <a:gd name="T16" fmla="*/ 50 w 166"/>
              <a:gd name="T17" fmla="*/ 25 h 125"/>
              <a:gd name="T18" fmla="*/ 47 w 166"/>
              <a:gd name="T19" fmla="*/ 22 h 125"/>
              <a:gd name="T20" fmla="*/ 56 w 166"/>
              <a:gd name="T21" fmla="*/ 13 h 125"/>
              <a:gd name="T22" fmla="*/ 66 w 166"/>
              <a:gd name="T23" fmla="*/ 7 h 125"/>
              <a:gd name="T24" fmla="*/ 72 w 166"/>
              <a:gd name="T25" fmla="*/ 0 h 125"/>
              <a:gd name="T26" fmla="*/ 78 w 166"/>
              <a:gd name="T27" fmla="*/ 0 h 125"/>
              <a:gd name="T28" fmla="*/ 88 w 166"/>
              <a:gd name="T29" fmla="*/ 7 h 125"/>
              <a:gd name="T30" fmla="*/ 97 w 166"/>
              <a:gd name="T31" fmla="*/ 3 h 125"/>
              <a:gd name="T32" fmla="*/ 106 w 166"/>
              <a:gd name="T33" fmla="*/ 7 h 125"/>
              <a:gd name="T34" fmla="*/ 113 w 166"/>
              <a:gd name="T35" fmla="*/ 7 h 125"/>
              <a:gd name="T36" fmla="*/ 125 w 166"/>
              <a:gd name="T37" fmla="*/ 10 h 125"/>
              <a:gd name="T38" fmla="*/ 125 w 166"/>
              <a:gd name="T39" fmla="*/ 19 h 125"/>
              <a:gd name="T40" fmla="*/ 128 w 166"/>
              <a:gd name="T41" fmla="*/ 28 h 125"/>
              <a:gd name="T42" fmla="*/ 135 w 166"/>
              <a:gd name="T43" fmla="*/ 41 h 125"/>
              <a:gd name="T44" fmla="*/ 144 w 166"/>
              <a:gd name="T45" fmla="*/ 50 h 125"/>
              <a:gd name="T46" fmla="*/ 153 w 166"/>
              <a:gd name="T47" fmla="*/ 60 h 125"/>
              <a:gd name="T48" fmla="*/ 160 w 166"/>
              <a:gd name="T49" fmla="*/ 69 h 125"/>
              <a:gd name="T50" fmla="*/ 163 w 166"/>
              <a:gd name="T51" fmla="*/ 72 h 125"/>
              <a:gd name="T52" fmla="*/ 150 w 166"/>
              <a:gd name="T53" fmla="*/ 82 h 125"/>
              <a:gd name="T54" fmla="*/ 144 w 166"/>
              <a:gd name="T55" fmla="*/ 82 h 125"/>
              <a:gd name="T56" fmla="*/ 147 w 166"/>
              <a:gd name="T57" fmla="*/ 91 h 125"/>
              <a:gd name="T58" fmla="*/ 150 w 166"/>
              <a:gd name="T59" fmla="*/ 103 h 125"/>
              <a:gd name="T60" fmla="*/ 150 w 166"/>
              <a:gd name="T61" fmla="*/ 107 h 125"/>
              <a:gd name="T62" fmla="*/ 138 w 166"/>
              <a:gd name="T63" fmla="*/ 110 h 125"/>
              <a:gd name="T64" fmla="*/ 135 w 166"/>
              <a:gd name="T65" fmla="*/ 125 h 125"/>
              <a:gd name="T66" fmla="*/ 125 w 166"/>
              <a:gd name="T67" fmla="*/ 122 h 125"/>
              <a:gd name="T68" fmla="*/ 116 w 166"/>
              <a:gd name="T69" fmla="*/ 122 h 125"/>
              <a:gd name="T70" fmla="*/ 110 w 166"/>
              <a:gd name="T71" fmla="*/ 125 h 125"/>
              <a:gd name="T72" fmla="*/ 103 w 166"/>
              <a:gd name="T73" fmla="*/ 122 h 125"/>
              <a:gd name="T74" fmla="*/ 94 w 166"/>
              <a:gd name="T75" fmla="*/ 125 h 125"/>
              <a:gd name="T76" fmla="*/ 85 w 166"/>
              <a:gd name="T77" fmla="*/ 122 h 125"/>
              <a:gd name="T78" fmla="*/ 81 w 166"/>
              <a:gd name="T79" fmla="*/ 122 h 125"/>
              <a:gd name="T80" fmla="*/ 69 w 166"/>
              <a:gd name="T81" fmla="*/ 122 h 125"/>
              <a:gd name="T82" fmla="*/ 66 w 166"/>
              <a:gd name="T83" fmla="*/ 119 h 125"/>
              <a:gd name="T84" fmla="*/ 47 w 166"/>
              <a:gd name="T85" fmla="*/ 113 h 125"/>
              <a:gd name="T86" fmla="*/ 41 w 166"/>
              <a:gd name="T87" fmla="*/ 119 h 125"/>
              <a:gd name="T88" fmla="*/ 22 w 166"/>
              <a:gd name="T89" fmla="*/ 119 h 125"/>
              <a:gd name="T90" fmla="*/ 13 w 166"/>
              <a:gd name="T91" fmla="*/ 119 h 125"/>
              <a:gd name="T92" fmla="*/ 10 w 166"/>
              <a:gd name="T93" fmla="*/ 116 h 125"/>
              <a:gd name="T94" fmla="*/ 3 w 166"/>
              <a:gd name="T95" fmla="*/ 103 h 125"/>
              <a:gd name="T96" fmla="*/ 10 w 166"/>
              <a:gd name="T97" fmla="*/ 97 h 125"/>
              <a:gd name="T98" fmla="*/ 10 w 166"/>
              <a:gd name="T99" fmla="*/ 85 h 125"/>
              <a:gd name="T100" fmla="*/ 3 w 166"/>
              <a:gd name="T101" fmla="*/ 75 h 125"/>
              <a:gd name="T102" fmla="*/ 0 w 166"/>
              <a:gd name="T103" fmla="*/ 6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6" h="125">
                <a:moveTo>
                  <a:pt x="0" y="66"/>
                </a:moveTo>
                <a:lnTo>
                  <a:pt x="6" y="63"/>
                </a:lnTo>
                <a:lnTo>
                  <a:pt x="13" y="60"/>
                </a:lnTo>
                <a:lnTo>
                  <a:pt x="19" y="63"/>
                </a:lnTo>
                <a:lnTo>
                  <a:pt x="22" y="60"/>
                </a:lnTo>
                <a:lnTo>
                  <a:pt x="25" y="60"/>
                </a:lnTo>
                <a:lnTo>
                  <a:pt x="25" y="53"/>
                </a:lnTo>
                <a:lnTo>
                  <a:pt x="28" y="53"/>
                </a:lnTo>
                <a:lnTo>
                  <a:pt x="31" y="47"/>
                </a:lnTo>
                <a:lnTo>
                  <a:pt x="35" y="47"/>
                </a:lnTo>
                <a:lnTo>
                  <a:pt x="38" y="50"/>
                </a:lnTo>
                <a:lnTo>
                  <a:pt x="41" y="50"/>
                </a:lnTo>
                <a:lnTo>
                  <a:pt x="41" y="44"/>
                </a:lnTo>
                <a:lnTo>
                  <a:pt x="35" y="44"/>
                </a:lnTo>
                <a:lnTo>
                  <a:pt x="38" y="38"/>
                </a:lnTo>
                <a:lnTo>
                  <a:pt x="41" y="35"/>
                </a:lnTo>
                <a:lnTo>
                  <a:pt x="44" y="28"/>
                </a:lnTo>
                <a:lnTo>
                  <a:pt x="50" y="25"/>
                </a:lnTo>
                <a:lnTo>
                  <a:pt x="50" y="22"/>
                </a:lnTo>
                <a:lnTo>
                  <a:pt x="47" y="22"/>
                </a:lnTo>
                <a:lnTo>
                  <a:pt x="50" y="16"/>
                </a:lnTo>
                <a:lnTo>
                  <a:pt x="56" y="13"/>
                </a:lnTo>
                <a:lnTo>
                  <a:pt x="66" y="10"/>
                </a:lnTo>
                <a:lnTo>
                  <a:pt x="66" y="7"/>
                </a:lnTo>
                <a:lnTo>
                  <a:pt x="69" y="3"/>
                </a:lnTo>
                <a:lnTo>
                  <a:pt x="72" y="0"/>
                </a:lnTo>
                <a:lnTo>
                  <a:pt x="75" y="0"/>
                </a:lnTo>
                <a:lnTo>
                  <a:pt x="78" y="0"/>
                </a:lnTo>
                <a:lnTo>
                  <a:pt x="85" y="0"/>
                </a:lnTo>
                <a:lnTo>
                  <a:pt x="88" y="7"/>
                </a:lnTo>
                <a:lnTo>
                  <a:pt x="94" y="3"/>
                </a:lnTo>
                <a:lnTo>
                  <a:pt x="97" y="3"/>
                </a:lnTo>
                <a:lnTo>
                  <a:pt x="100" y="10"/>
                </a:lnTo>
                <a:lnTo>
                  <a:pt x="106" y="7"/>
                </a:lnTo>
                <a:lnTo>
                  <a:pt x="113" y="3"/>
                </a:lnTo>
                <a:lnTo>
                  <a:pt x="113" y="7"/>
                </a:lnTo>
                <a:lnTo>
                  <a:pt x="116" y="7"/>
                </a:lnTo>
                <a:lnTo>
                  <a:pt x="125" y="10"/>
                </a:lnTo>
                <a:lnTo>
                  <a:pt x="125" y="16"/>
                </a:lnTo>
                <a:lnTo>
                  <a:pt x="125" y="19"/>
                </a:lnTo>
                <a:lnTo>
                  <a:pt x="128" y="25"/>
                </a:lnTo>
                <a:lnTo>
                  <a:pt x="128" y="28"/>
                </a:lnTo>
                <a:lnTo>
                  <a:pt x="131" y="35"/>
                </a:lnTo>
                <a:lnTo>
                  <a:pt x="135" y="41"/>
                </a:lnTo>
                <a:lnTo>
                  <a:pt x="141" y="47"/>
                </a:lnTo>
                <a:lnTo>
                  <a:pt x="144" y="50"/>
                </a:lnTo>
                <a:lnTo>
                  <a:pt x="147" y="57"/>
                </a:lnTo>
                <a:lnTo>
                  <a:pt x="153" y="60"/>
                </a:lnTo>
                <a:lnTo>
                  <a:pt x="160" y="66"/>
                </a:lnTo>
                <a:lnTo>
                  <a:pt x="160" y="69"/>
                </a:lnTo>
                <a:lnTo>
                  <a:pt x="166" y="72"/>
                </a:lnTo>
                <a:lnTo>
                  <a:pt x="163" y="72"/>
                </a:lnTo>
                <a:lnTo>
                  <a:pt x="160" y="82"/>
                </a:lnTo>
                <a:lnTo>
                  <a:pt x="150" y="82"/>
                </a:lnTo>
                <a:lnTo>
                  <a:pt x="144" y="78"/>
                </a:lnTo>
                <a:lnTo>
                  <a:pt x="144" y="82"/>
                </a:lnTo>
                <a:lnTo>
                  <a:pt x="144" y="85"/>
                </a:lnTo>
                <a:lnTo>
                  <a:pt x="147" y="91"/>
                </a:lnTo>
                <a:lnTo>
                  <a:pt x="147" y="97"/>
                </a:lnTo>
                <a:lnTo>
                  <a:pt x="150" y="103"/>
                </a:lnTo>
                <a:lnTo>
                  <a:pt x="150" y="107"/>
                </a:lnTo>
                <a:lnTo>
                  <a:pt x="150" y="107"/>
                </a:lnTo>
                <a:lnTo>
                  <a:pt x="141" y="110"/>
                </a:lnTo>
                <a:lnTo>
                  <a:pt x="138" y="110"/>
                </a:lnTo>
                <a:lnTo>
                  <a:pt x="135" y="116"/>
                </a:lnTo>
                <a:lnTo>
                  <a:pt x="135" y="125"/>
                </a:lnTo>
                <a:lnTo>
                  <a:pt x="128" y="125"/>
                </a:lnTo>
                <a:lnTo>
                  <a:pt x="125" y="122"/>
                </a:lnTo>
                <a:lnTo>
                  <a:pt x="119" y="122"/>
                </a:lnTo>
                <a:lnTo>
                  <a:pt x="116" y="122"/>
                </a:lnTo>
                <a:lnTo>
                  <a:pt x="113" y="122"/>
                </a:lnTo>
                <a:lnTo>
                  <a:pt x="110" y="125"/>
                </a:lnTo>
                <a:lnTo>
                  <a:pt x="106" y="125"/>
                </a:lnTo>
                <a:lnTo>
                  <a:pt x="103" y="122"/>
                </a:lnTo>
                <a:lnTo>
                  <a:pt x="100" y="119"/>
                </a:lnTo>
                <a:lnTo>
                  <a:pt x="94" y="125"/>
                </a:lnTo>
                <a:lnTo>
                  <a:pt x="91" y="122"/>
                </a:lnTo>
                <a:lnTo>
                  <a:pt x="85" y="122"/>
                </a:lnTo>
                <a:lnTo>
                  <a:pt x="81" y="122"/>
                </a:lnTo>
                <a:lnTo>
                  <a:pt x="81" y="122"/>
                </a:lnTo>
                <a:lnTo>
                  <a:pt x="78" y="122"/>
                </a:lnTo>
                <a:lnTo>
                  <a:pt x="69" y="122"/>
                </a:lnTo>
                <a:lnTo>
                  <a:pt x="69" y="122"/>
                </a:lnTo>
                <a:lnTo>
                  <a:pt x="66" y="119"/>
                </a:lnTo>
                <a:lnTo>
                  <a:pt x="53" y="116"/>
                </a:lnTo>
                <a:lnTo>
                  <a:pt x="47" y="113"/>
                </a:lnTo>
                <a:lnTo>
                  <a:pt x="47" y="113"/>
                </a:lnTo>
                <a:lnTo>
                  <a:pt x="41" y="119"/>
                </a:lnTo>
                <a:lnTo>
                  <a:pt x="35" y="119"/>
                </a:lnTo>
                <a:lnTo>
                  <a:pt x="22" y="119"/>
                </a:lnTo>
                <a:lnTo>
                  <a:pt x="19" y="122"/>
                </a:lnTo>
                <a:lnTo>
                  <a:pt x="13" y="119"/>
                </a:lnTo>
                <a:lnTo>
                  <a:pt x="10" y="119"/>
                </a:lnTo>
                <a:lnTo>
                  <a:pt x="10" y="116"/>
                </a:lnTo>
                <a:lnTo>
                  <a:pt x="6" y="110"/>
                </a:lnTo>
                <a:lnTo>
                  <a:pt x="3" y="103"/>
                </a:lnTo>
                <a:lnTo>
                  <a:pt x="6" y="100"/>
                </a:lnTo>
                <a:lnTo>
                  <a:pt x="10" y="97"/>
                </a:lnTo>
                <a:lnTo>
                  <a:pt x="10" y="85"/>
                </a:lnTo>
                <a:lnTo>
                  <a:pt x="10" y="85"/>
                </a:lnTo>
                <a:lnTo>
                  <a:pt x="6" y="78"/>
                </a:lnTo>
                <a:lnTo>
                  <a:pt x="3" y="75"/>
                </a:lnTo>
                <a:lnTo>
                  <a:pt x="3" y="66"/>
                </a:lnTo>
                <a:lnTo>
                  <a:pt x="0" y="6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2" name="Freeform 50">
            <a:extLst>
              <a:ext uri="{FF2B5EF4-FFF2-40B4-BE49-F238E27FC236}">
                <a16:creationId xmlns:a16="http://schemas.microsoft.com/office/drawing/2014/main" id="{E040B357-EC93-20CD-95CC-92375C1BEA56}"/>
              </a:ext>
            </a:extLst>
          </p:cNvPr>
          <p:cNvSpPr>
            <a:spLocks/>
          </p:cNvSpPr>
          <p:nvPr userDrawn="1"/>
        </p:nvSpPr>
        <p:spPr bwMode="auto">
          <a:xfrm>
            <a:off x="14410383" y="5730156"/>
            <a:ext cx="1031811" cy="638176"/>
          </a:xfrm>
          <a:custGeom>
            <a:avLst/>
            <a:gdLst>
              <a:gd name="T0" fmla="*/ 47 w 325"/>
              <a:gd name="T1" fmla="*/ 19 h 201"/>
              <a:gd name="T2" fmla="*/ 78 w 325"/>
              <a:gd name="T3" fmla="*/ 19 h 201"/>
              <a:gd name="T4" fmla="*/ 93 w 325"/>
              <a:gd name="T5" fmla="*/ 22 h 201"/>
              <a:gd name="T6" fmla="*/ 115 w 325"/>
              <a:gd name="T7" fmla="*/ 22 h 201"/>
              <a:gd name="T8" fmla="*/ 131 w 325"/>
              <a:gd name="T9" fmla="*/ 22 h 201"/>
              <a:gd name="T10" fmla="*/ 150 w 325"/>
              <a:gd name="T11" fmla="*/ 10 h 201"/>
              <a:gd name="T12" fmla="*/ 172 w 325"/>
              <a:gd name="T13" fmla="*/ 3 h 201"/>
              <a:gd name="T14" fmla="*/ 203 w 325"/>
              <a:gd name="T15" fmla="*/ 0 h 201"/>
              <a:gd name="T16" fmla="*/ 225 w 325"/>
              <a:gd name="T17" fmla="*/ 22 h 201"/>
              <a:gd name="T18" fmla="*/ 234 w 325"/>
              <a:gd name="T19" fmla="*/ 44 h 201"/>
              <a:gd name="T20" fmla="*/ 262 w 325"/>
              <a:gd name="T21" fmla="*/ 50 h 201"/>
              <a:gd name="T22" fmla="*/ 284 w 325"/>
              <a:gd name="T23" fmla="*/ 63 h 201"/>
              <a:gd name="T24" fmla="*/ 306 w 325"/>
              <a:gd name="T25" fmla="*/ 63 h 201"/>
              <a:gd name="T26" fmla="*/ 325 w 325"/>
              <a:gd name="T27" fmla="*/ 69 h 201"/>
              <a:gd name="T28" fmla="*/ 322 w 325"/>
              <a:gd name="T29" fmla="*/ 94 h 201"/>
              <a:gd name="T30" fmla="*/ 306 w 325"/>
              <a:gd name="T31" fmla="*/ 113 h 201"/>
              <a:gd name="T32" fmla="*/ 297 w 325"/>
              <a:gd name="T33" fmla="*/ 132 h 201"/>
              <a:gd name="T34" fmla="*/ 278 w 325"/>
              <a:gd name="T35" fmla="*/ 138 h 201"/>
              <a:gd name="T36" fmla="*/ 262 w 325"/>
              <a:gd name="T37" fmla="*/ 144 h 201"/>
              <a:gd name="T38" fmla="*/ 247 w 325"/>
              <a:gd name="T39" fmla="*/ 144 h 201"/>
              <a:gd name="T40" fmla="*/ 243 w 325"/>
              <a:gd name="T41" fmla="*/ 157 h 201"/>
              <a:gd name="T42" fmla="*/ 243 w 325"/>
              <a:gd name="T43" fmla="*/ 151 h 201"/>
              <a:gd name="T44" fmla="*/ 231 w 325"/>
              <a:gd name="T45" fmla="*/ 160 h 201"/>
              <a:gd name="T46" fmla="*/ 215 w 325"/>
              <a:gd name="T47" fmla="*/ 160 h 201"/>
              <a:gd name="T48" fmla="*/ 231 w 325"/>
              <a:gd name="T49" fmla="*/ 166 h 201"/>
              <a:gd name="T50" fmla="*/ 234 w 325"/>
              <a:gd name="T51" fmla="*/ 172 h 201"/>
              <a:gd name="T52" fmla="*/ 243 w 325"/>
              <a:gd name="T53" fmla="*/ 179 h 201"/>
              <a:gd name="T54" fmla="*/ 234 w 325"/>
              <a:gd name="T55" fmla="*/ 160 h 201"/>
              <a:gd name="T56" fmla="*/ 253 w 325"/>
              <a:gd name="T57" fmla="*/ 182 h 201"/>
              <a:gd name="T58" fmla="*/ 268 w 325"/>
              <a:gd name="T59" fmla="*/ 176 h 201"/>
              <a:gd name="T60" fmla="*/ 268 w 325"/>
              <a:gd name="T61" fmla="*/ 185 h 201"/>
              <a:gd name="T62" fmla="*/ 240 w 325"/>
              <a:gd name="T63" fmla="*/ 191 h 201"/>
              <a:gd name="T64" fmla="*/ 215 w 325"/>
              <a:gd name="T65" fmla="*/ 197 h 201"/>
              <a:gd name="T66" fmla="*/ 206 w 325"/>
              <a:gd name="T67" fmla="*/ 182 h 201"/>
              <a:gd name="T68" fmla="*/ 215 w 325"/>
              <a:gd name="T69" fmla="*/ 169 h 201"/>
              <a:gd name="T70" fmla="*/ 212 w 325"/>
              <a:gd name="T71" fmla="*/ 163 h 201"/>
              <a:gd name="T72" fmla="*/ 190 w 325"/>
              <a:gd name="T73" fmla="*/ 160 h 201"/>
              <a:gd name="T74" fmla="*/ 181 w 325"/>
              <a:gd name="T75" fmla="*/ 154 h 201"/>
              <a:gd name="T76" fmla="*/ 187 w 325"/>
              <a:gd name="T77" fmla="*/ 151 h 201"/>
              <a:gd name="T78" fmla="*/ 184 w 325"/>
              <a:gd name="T79" fmla="*/ 144 h 201"/>
              <a:gd name="T80" fmla="*/ 175 w 325"/>
              <a:gd name="T81" fmla="*/ 147 h 201"/>
              <a:gd name="T82" fmla="*/ 162 w 325"/>
              <a:gd name="T83" fmla="*/ 157 h 201"/>
              <a:gd name="T84" fmla="*/ 147 w 325"/>
              <a:gd name="T85" fmla="*/ 176 h 201"/>
              <a:gd name="T86" fmla="*/ 147 w 325"/>
              <a:gd name="T87" fmla="*/ 182 h 201"/>
              <a:gd name="T88" fmla="*/ 128 w 325"/>
              <a:gd name="T89" fmla="*/ 182 h 201"/>
              <a:gd name="T90" fmla="*/ 125 w 325"/>
              <a:gd name="T91" fmla="*/ 172 h 201"/>
              <a:gd name="T92" fmla="*/ 134 w 325"/>
              <a:gd name="T93" fmla="*/ 154 h 201"/>
              <a:gd name="T94" fmla="*/ 147 w 325"/>
              <a:gd name="T95" fmla="*/ 147 h 201"/>
              <a:gd name="T96" fmla="*/ 134 w 325"/>
              <a:gd name="T97" fmla="*/ 132 h 201"/>
              <a:gd name="T98" fmla="*/ 118 w 325"/>
              <a:gd name="T99" fmla="*/ 110 h 201"/>
              <a:gd name="T100" fmla="*/ 100 w 325"/>
              <a:gd name="T101" fmla="*/ 104 h 201"/>
              <a:gd name="T102" fmla="*/ 84 w 325"/>
              <a:gd name="T103" fmla="*/ 100 h 201"/>
              <a:gd name="T104" fmla="*/ 81 w 325"/>
              <a:gd name="T105" fmla="*/ 113 h 201"/>
              <a:gd name="T106" fmla="*/ 53 w 325"/>
              <a:gd name="T107" fmla="*/ 125 h 201"/>
              <a:gd name="T108" fmla="*/ 28 w 325"/>
              <a:gd name="T109" fmla="*/ 119 h 201"/>
              <a:gd name="T110" fmla="*/ 9 w 325"/>
              <a:gd name="T111" fmla="*/ 113 h 201"/>
              <a:gd name="T112" fmla="*/ 6 w 325"/>
              <a:gd name="T113" fmla="*/ 91 h 201"/>
              <a:gd name="T114" fmla="*/ 25 w 325"/>
              <a:gd name="T115" fmla="*/ 60 h 201"/>
              <a:gd name="T116" fmla="*/ 28 w 325"/>
              <a:gd name="T117" fmla="*/ 44 h 201"/>
              <a:gd name="T118" fmla="*/ 22 w 325"/>
              <a:gd name="T119" fmla="*/ 2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5" h="201">
                <a:moveTo>
                  <a:pt x="22" y="19"/>
                </a:moveTo>
                <a:lnTo>
                  <a:pt x="25" y="19"/>
                </a:lnTo>
                <a:lnTo>
                  <a:pt x="31" y="22"/>
                </a:lnTo>
                <a:lnTo>
                  <a:pt x="34" y="19"/>
                </a:lnTo>
                <a:lnTo>
                  <a:pt x="47" y="19"/>
                </a:lnTo>
                <a:lnTo>
                  <a:pt x="53" y="19"/>
                </a:lnTo>
                <a:lnTo>
                  <a:pt x="59" y="13"/>
                </a:lnTo>
                <a:lnTo>
                  <a:pt x="59" y="13"/>
                </a:lnTo>
                <a:lnTo>
                  <a:pt x="65" y="16"/>
                </a:lnTo>
                <a:lnTo>
                  <a:pt x="78" y="19"/>
                </a:lnTo>
                <a:lnTo>
                  <a:pt x="81" y="22"/>
                </a:lnTo>
                <a:lnTo>
                  <a:pt x="81" y="22"/>
                </a:lnTo>
                <a:lnTo>
                  <a:pt x="90" y="22"/>
                </a:lnTo>
                <a:lnTo>
                  <a:pt x="93" y="22"/>
                </a:lnTo>
                <a:lnTo>
                  <a:pt x="93" y="22"/>
                </a:lnTo>
                <a:lnTo>
                  <a:pt x="97" y="22"/>
                </a:lnTo>
                <a:lnTo>
                  <a:pt x="103" y="22"/>
                </a:lnTo>
                <a:lnTo>
                  <a:pt x="106" y="25"/>
                </a:lnTo>
                <a:lnTo>
                  <a:pt x="112" y="19"/>
                </a:lnTo>
                <a:lnTo>
                  <a:pt x="115" y="22"/>
                </a:lnTo>
                <a:lnTo>
                  <a:pt x="118" y="25"/>
                </a:lnTo>
                <a:lnTo>
                  <a:pt x="122" y="25"/>
                </a:lnTo>
                <a:lnTo>
                  <a:pt x="125" y="22"/>
                </a:lnTo>
                <a:lnTo>
                  <a:pt x="128" y="22"/>
                </a:lnTo>
                <a:lnTo>
                  <a:pt x="131" y="22"/>
                </a:lnTo>
                <a:lnTo>
                  <a:pt x="137" y="22"/>
                </a:lnTo>
                <a:lnTo>
                  <a:pt x="140" y="25"/>
                </a:lnTo>
                <a:lnTo>
                  <a:pt x="147" y="25"/>
                </a:lnTo>
                <a:lnTo>
                  <a:pt x="147" y="16"/>
                </a:lnTo>
                <a:lnTo>
                  <a:pt x="150" y="10"/>
                </a:lnTo>
                <a:lnTo>
                  <a:pt x="153" y="10"/>
                </a:lnTo>
                <a:lnTo>
                  <a:pt x="162" y="7"/>
                </a:lnTo>
                <a:lnTo>
                  <a:pt x="165" y="7"/>
                </a:lnTo>
                <a:lnTo>
                  <a:pt x="172" y="7"/>
                </a:lnTo>
                <a:lnTo>
                  <a:pt x="172" y="3"/>
                </a:lnTo>
                <a:lnTo>
                  <a:pt x="175" y="0"/>
                </a:lnTo>
                <a:lnTo>
                  <a:pt x="184" y="3"/>
                </a:lnTo>
                <a:lnTo>
                  <a:pt x="193" y="3"/>
                </a:lnTo>
                <a:lnTo>
                  <a:pt x="197" y="0"/>
                </a:lnTo>
                <a:lnTo>
                  <a:pt x="203" y="0"/>
                </a:lnTo>
                <a:lnTo>
                  <a:pt x="206" y="10"/>
                </a:lnTo>
                <a:lnTo>
                  <a:pt x="209" y="13"/>
                </a:lnTo>
                <a:lnTo>
                  <a:pt x="206" y="19"/>
                </a:lnTo>
                <a:lnTo>
                  <a:pt x="212" y="25"/>
                </a:lnTo>
                <a:lnTo>
                  <a:pt x="225" y="22"/>
                </a:lnTo>
                <a:lnTo>
                  <a:pt x="228" y="25"/>
                </a:lnTo>
                <a:lnTo>
                  <a:pt x="228" y="32"/>
                </a:lnTo>
                <a:lnTo>
                  <a:pt x="231" y="32"/>
                </a:lnTo>
                <a:lnTo>
                  <a:pt x="231" y="38"/>
                </a:lnTo>
                <a:lnTo>
                  <a:pt x="234" y="44"/>
                </a:lnTo>
                <a:lnTo>
                  <a:pt x="243" y="50"/>
                </a:lnTo>
                <a:lnTo>
                  <a:pt x="247" y="47"/>
                </a:lnTo>
                <a:lnTo>
                  <a:pt x="253" y="50"/>
                </a:lnTo>
                <a:lnTo>
                  <a:pt x="256" y="50"/>
                </a:lnTo>
                <a:lnTo>
                  <a:pt x="262" y="50"/>
                </a:lnTo>
                <a:lnTo>
                  <a:pt x="268" y="44"/>
                </a:lnTo>
                <a:lnTo>
                  <a:pt x="272" y="44"/>
                </a:lnTo>
                <a:lnTo>
                  <a:pt x="275" y="54"/>
                </a:lnTo>
                <a:lnTo>
                  <a:pt x="281" y="60"/>
                </a:lnTo>
                <a:lnTo>
                  <a:pt x="284" y="63"/>
                </a:lnTo>
                <a:lnTo>
                  <a:pt x="284" y="60"/>
                </a:lnTo>
                <a:lnTo>
                  <a:pt x="293" y="60"/>
                </a:lnTo>
                <a:lnTo>
                  <a:pt x="297" y="60"/>
                </a:lnTo>
                <a:lnTo>
                  <a:pt x="303" y="63"/>
                </a:lnTo>
                <a:lnTo>
                  <a:pt x="306" y="63"/>
                </a:lnTo>
                <a:lnTo>
                  <a:pt x="312" y="66"/>
                </a:lnTo>
                <a:lnTo>
                  <a:pt x="315" y="66"/>
                </a:lnTo>
                <a:lnTo>
                  <a:pt x="319" y="63"/>
                </a:lnTo>
                <a:lnTo>
                  <a:pt x="322" y="69"/>
                </a:lnTo>
                <a:lnTo>
                  <a:pt x="325" y="69"/>
                </a:lnTo>
                <a:lnTo>
                  <a:pt x="325" y="75"/>
                </a:lnTo>
                <a:lnTo>
                  <a:pt x="322" y="79"/>
                </a:lnTo>
                <a:lnTo>
                  <a:pt x="315" y="82"/>
                </a:lnTo>
                <a:lnTo>
                  <a:pt x="315" y="88"/>
                </a:lnTo>
                <a:lnTo>
                  <a:pt x="322" y="94"/>
                </a:lnTo>
                <a:lnTo>
                  <a:pt x="322" y="97"/>
                </a:lnTo>
                <a:lnTo>
                  <a:pt x="319" y="107"/>
                </a:lnTo>
                <a:lnTo>
                  <a:pt x="322" y="110"/>
                </a:lnTo>
                <a:lnTo>
                  <a:pt x="315" y="113"/>
                </a:lnTo>
                <a:lnTo>
                  <a:pt x="306" y="113"/>
                </a:lnTo>
                <a:lnTo>
                  <a:pt x="303" y="122"/>
                </a:lnTo>
                <a:lnTo>
                  <a:pt x="300" y="122"/>
                </a:lnTo>
                <a:lnTo>
                  <a:pt x="300" y="132"/>
                </a:lnTo>
                <a:lnTo>
                  <a:pt x="297" y="132"/>
                </a:lnTo>
                <a:lnTo>
                  <a:pt x="297" y="132"/>
                </a:lnTo>
                <a:lnTo>
                  <a:pt x="293" y="132"/>
                </a:lnTo>
                <a:lnTo>
                  <a:pt x="287" y="132"/>
                </a:lnTo>
                <a:lnTo>
                  <a:pt x="284" y="132"/>
                </a:lnTo>
                <a:lnTo>
                  <a:pt x="281" y="135"/>
                </a:lnTo>
                <a:lnTo>
                  <a:pt x="278" y="138"/>
                </a:lnTo>
                <a:lnTo>
                  <a:pt x="275" y="138"/>
                </a:lnTo>
                <a:lnTo>
                  <a:pt x="272" y="141"/>
                </a:lnTo>
                <a:lnTo>
                  <a:pt x="268" y="144"/>
                </a:lnTo>
                <a:lnTo>
                  <a:pt x="268" y="144"/>
                </a:lnTo>
                <a:lnTo>
                  <a:pt x="262" y="144"/>
                </a:lnTo>
                <a:lnTo>
                  <a:pt x="259" y="147"/>
                </a:lnTo>
                <a:lnTo>
                  <a:pt x="256" y="147"/>
                </a:lnTo>
                <a:lnTo>
                  <a:pt x="250" y="147"/>
                </a:lnTo>
                <a:lnTo>
                  <a:pt x="250" y="147"/>
                </a:lnTo>
                <a:lnTo>
                  <a:pt x="247" y="144"/>
                </a:lnTo>
                <a:lnTo>
                  <a:pt x="243" y="144"/>
                </a:lnTo>
                <a:lnTo>
                  <a:pt x="247" y="147"/>
                </a:lnTo>
                <a:lnTo>
                  <a:pt x="247" y="151"/>
                </a:lnTo>
                <a:lnTo>
                  <a:pt x="247" y="151"/>
                </a:lnTo>
                <a:lnTo>
                  <a:pt x="243" y="157"/>
                </a:lnTo>
                <a:lnTo>
                  <a:pt x="240" y="160"/>
                </a:lnTo>
                <a:lnTo>
                  <a:pt x="240" y="157"/>
                </a:lnTo>
                <a:lnTo>
                  <a:pt x="240" y="157"/>
                </a:lnTo>
                <a:lnTo>
                  <a:pt x="243" y="151"/>
                </a:lnTo>
                <a:lnTo>
                  <a:pt x="243" y="151"/>
                </a:lnTo>
                <a:lnTo>
                  <a:pt x="240" y="151"/>
                </a:lnTo>
                <a:lnTo>
                  <a:pt x="240" y="151"/>
                </a:lnTo>
                <a:lnTo>
                  <a:pt x="234" y="157"/>
                </a:lnTo>
                <a:lnTo>
                  <a:pt x="231" y="157"/>
                </a:lnTo>
                <a:lnTo>
                  <a:pt x="231" y="160"/>
                </a:lnTo>
                <a:lnTo>
                  <a:pt x="228" y="160"/>
                </a:lnTo>
                <a:lnTo>
                  <a:pt x="225" y="160"/>
                </a:lnTo>
                <a:lnTo>
                  <a:pt x="222" y="160"/>
                </a:lnTo>
                <a:lnTo>
                  <a:pt x="218" y="160"/>
                </a:lnTo>
                <a:lnTo>
                  <a:pt x="215" y="160"/>
                </a:lnTo>
                <a:lnTo>
                  <a:pt x="218" y="163"/>
                </a:lnTo>
                <a:lnTo>
                  <a:pt x="225" y="163"/>
                </a:lnTo>
                <a:lnTo>
                  <a:pt x="228" y="166"/>
                </a:lnTo>
                <a:lnTo>
                  <a:pt x="231" y="166"/>
                </a:lnTo>
                <a:lnTo>
                  <a:pt x="231" y="166"/>
                </a:lnTo>
                <a:lnTo>
                  <a:pt x="234" y="169"/>
                </a:lnTo>
                <a:lnTo>
                  <a:pt x="231" y="169"/>
                </a:lnTo>
                <a:lnTo>
                  <a:pt x="231" y="172"/>
                </a:lnTo>
                <a:lnTo>
                  <a:pt x="234" y="172"/>
                </a:lnTo>
                <a:lnTo>
                  <a:pt x="234" y="172"/>
                </a:lnTo>
                <a:lnTo>
                  <a:pt x="234" y="176"/>
                </a:lnTo>
                <a:lnTo>
                  <a:pt x="237" y="172"/>
                </a:lnTo>
                <a:lnTo>
                  <a:pt x="240" y="172"/>
                </a:lnTo>
                <a:lnTo>
                  <a:pt x="240" y="179"/>
                </a:lnTo>
                <a:lnTo>
                  <a:pt x="243" y="179"/>
                </a:lnTo>
                <a:lnTo>
                  <a:pt x="247" y="182"/>
                </a:lnTo>
                <a:lnTo>
                  <a:pt x="250" y="182"/>
                </a:lnTo>
                <a:lnTo>
                  <a:pt x="243" y="176"/>
                </a:lnTo>
                <a:lnTo>
                  <a:pt x="234" y="166"/>
                </a:lnTo>
                <a:lnTo>
                  <a:pt x="234" y="160"/>
                </a:lnTo>
                <a:lnTo>
                  <a:pt x="234" y="160"/>
                </a:lnTo>
                <a:lnTo>
                  <a:pt x="237" y="163"/>
                </a:lnTo>
                <a:lnTo>
                  <a:pt x="240" y="169"/>
                </a:lnTo>
                <a:lnTo>
                  <a:pt x="250" y="179"/>
                </a:lnTo>
                <a:lnTo>
                  <a:pt x="253" y="182"/>
                </a:lnTo>
                <a:lnTo>
                  <a:pt x="256" y="176"/>
                </a:lnTo>
                <a:lnTo>
                  <a:pt x="256" y="176"/>
                </a:lnTo>
                <a:lnTo>
                  <a:pt x="259" y="179"/>
                </a:lnTo>
                <a:lnTo>
                  <a:pt x="262" y="176"/>
                </a:lnTo>
                <a:lnTo>
                  <a:pt x="268" y="176"/>
                </a:lnTo>
                <a:lnTo>
                  <a:pt x="275" y="176"/>
                </a:lnTo>
                <a:lnTo>
                  <a:pt x="272" y="179"/>
                </a:lnTo>
                <a:lnTo>
                  <a:pt x="272" y="179"/>
                </a:lnTo>
                <a:lnTo>
                  <a:pt x="272" y="182"/>
                </a:lnTo>
                <a:lnTo>
                  <a:pt x="268" y="185"/>
                </a:lnTo>
                <a:lnTo>
                  <a:pt x="262" y="185"/>
                </a:lnTo>
                <a:lnTo>
                  <a:pt x="256" y="185"/>
                </a:lnTo>
                <a:lnTo>
                  <a:pt x="250" y="188"/>
                </a:lnTo>
                <a:lnTo>
                  <a:pt x="247" y="191"/>
                </a:lnTo>
                <a:lnTo>
                  <a:pt x="240" y="191"/>
                </a:lnTo>
                <a:lnTo>
                  <a:pt x="231" y="197"/>
                </a:lnTo>
                <a:lnTo>
                  <a:pt x="225" y="201"/>
                </a:lnTo>
                <a:lnTo>
                  <a:pt x="218" y="201"/>
                </a:lnTo>
                <a:lnTo>
                  <a:pt x="215" y="197"/>
                </a:lnTo>
                <a:lnTo>
                  <a:pt x="215" y="197"/>
                </a:lnTo>
                <a:lnTo>
                  <a:pt x="218" y="191"/>
                </a:lnTo>
                <a:lnTo>
                  <a:pt x="218" y="188"/>
                </a:lnTo>
                <a:lnTo>
                  <a:pt x="212" y="182"/>
                </a:lnTo>
                <a:lnTo>
                  <a:pt x="209" y="182"/>
                </a:lnTo>
                <a:lnTo>
                  <a:pt x="206" y="182"/>
                </a:lnTo>
                <a:lnTo>
                  <a:pt x="203" y="182"/>
                </a:lnTo>
                <a:lnTo>
                  <a:pt x="200" y="182"/>
                </a:lnTo>
                <a:lnTo>
                  <a:pt x="203" y="176"/>
                </a:lnTo>
                <a:lnTo>
                  <a:pt x="209" y="172"/>
                </a:lnTo>
                <a:lnTo>
                  <a:pt x="215" y="169"/>
                </a:lnTo>
                <a:lnTo>
                  <a:pt x="218" y="169"/>
                </a:lnTo>
                <a:lnTo>
                  <a:pt x="215" y="166"/>
                </a:lnTo>
                <a:lnTo>
                  <a:pt x="215" y="160"/>
                </a:lnTo>
                <a:lnTo>
                  <a:pt x="212" y="160"/>
                </a:lnTo>
                <a:lnTo>
                  <a:pt x="212" y="163"/>
                </a:lnTo>
                <a:lnTo>
                  <a:pt x="209" y="163"/>
                </a:lnTo>
                <a:lnTo>
                  <a:pt x="203" y="160"/>
                </a:lnTo>
                <a:lnTo>
                  <a:pt x="200" y="160"/>
                </a:lnTo>
                <a:lnTo>
                  <a:pt x="193" y="163"/>
                </a:lnTo>
                <a:lnTo>
                  <a:pt x="190" y="160"/>
                </a:lnTo>
                <a:lnTo>
                  <a:pt x="187" y="160"/>
                </a:lnTo>
                <a:lnTo>
                  <a:pt x="184" y="157"/>
                </a:lnTo>
                <a:lnTo>
                  <a:pt x="187" y="157"/>
                </a:lnTo>
                <a:lnTo>
                  <a:pt x="187" y="154"/>
                </a:lnTo>
                <a:lnTo>
                  <a:pt x="181" y="154"/>
                </a:lnTo>
                <a:lnTo>
                  <a:pt x="175" y="154"/>
                </a:lnTo>
                <a:lnTo>
                  <a:pt x="175" y="151"/>
                </a:lnTo>
                <a:lnTo>
                  <a:pt x="178" y="151"/>
                </a:lnTo>
                <a:lnTo>
                  <a:pt x="184" y="151"/>
                </a:lnTo>
                <a:lnTo>
                  <a:pt x="187" y="151"/>
                </a:lnTo>
                <a:lnTo>
                  <a:pt x="190" y="151"/>
                </a:lnTo>
                <a:lnTo>
                  <a:pt x="193" y="147"/>
                </a:lnTo>
                <a:lnTo>
                  <a:pt x="190" y="147"/>
                </a:lnTo>
                <a:lnTo>
                  <a:pt x="187" y="147"/>
                </a:lnTo>
                <a:lnTo>
                  <a:pt x="184" y="144"/>
                </a:lnTo>
                <a:lnTo>
                  <a:pt x="181" y="144"/>
                </a:lnTo>
                <a:lnTo>
                  <a:pt x="181" y="147"/>
                </a:lnTo>
                <a:lnTo>
                  <a:pt x="178" y="147"/>
                </a:lnTo>
                <a:lnTo>
                  <a:pt x="175" y="147"/>
                </a:lnTo>
                <a:lnTo>
                  <a:pt x="175" y="147"/>
                </a:lnTo>
                <a:lnTo>
                  <a:pt x="175" y="144"/>
                </a:lnTo>
                <a:lnTo>
                  <a:pt x="168" y="151"/>
                </a:lnTo>
                <a:lnTo>
                  <a:pt x="165" y="151"/>
                </a:lnTo>
                <a:lnTo>
                  <a:pt x="162" y="154"/>
                </a:lnTo>
                <a:lnTo>
                  <a:pt x="162" y="157"/>
                </a:lnTo>
                <a:lnTo>
                  <a:pt x="159" y="163"/>
                </a:lnTo>
                <a:lnTo>
                  <a:pt x="156" y="163"/>
                </a:lnTo>
                <a:lnTo>
                  <a:pt x="156" y="166"/>
                </a:lnTo>
                <a:lnTo>
                  <a:pt x="150" y="176"/>
                </a:lnTo>
                <a:lnTo>
                  <a:pt x="147" y="176"/>
                </a:lnTo>
                <a:lnTo>
                  <a:pt x="147" y="172"/>
                </a:lnTo>
                <a:lnTo>
                  <a:pt x="147" y="176"/>
                </a:lnTo>
                <a:lnTo>
                  <a:pt x="143" y="176"/>
                </a:lnTo>
                <a:lnTo>
                  <a:pt x="147" y="179"/>
                </a:lnTo>
                <a:lnTo>
                  <a:pt x="147" y="182"/>
                </a:lnTo>
                <a:lnTo>
                  <a:pt x="147" y="182"/>
                </a:lnTo>
                <a:lnTo>
                  <a:pt x="143" y="179"/>
                </a:lnTo>
                <a:lnTo>
                  <a:pt x="137" y="182"/>
                </a:lnTo>
                <a:lnTo>
                  <a:pt x="134" y="182"/>
                </a:lnTo>
                <a:lnTo>
                  <a:pt x="128" y="182"/>
                </a:lnTo>
                <a:lnTo>
                  <a:pt x="122" y="182"/>
                </a:lnTo>
                <a:lnTo>
                  <a:pt x="118" y="176"/>
                </a:lnTo>
                <a:lnTo>
                  <a:pt x="122" y="172"/>
                </a:lnTo>
                <a:lnTo>
                  <a:pt x="125" y="176"/>
                </a:lnTo>
                <a:lnTo>
                  <a:pt x="125" y="172"/>
                </a:lnTo>
                <a:lnTo>
                  <a:pt x="128" y="166"/>
                </a:lnTo>
                <a:lnTo>
                  <a:pt x="131" y="166"/>
                </a:lnTo>
                <a:lnTo>
                  <a:pt x="131" y="160"/>
                </a:lnTo>
                <a:lnTo>
                  <a:pt x="131" y="154"/>
                </a:lnTo>
                <a:lnTo>
                  <a:pt x="134" y="154"/>
                </a:lnTo>
                <a:lnTo>
                  <a:pt x="140" y="151"/>
                </a:lnTo>
                <a:lnTo>
                  <a:pt x="143" y="154"/>
                </a:lnTo>
                <a:lnTo>
                  <a:pt x="147" y="154"/>
                </a:lnTo>
                <a:lnTo>
                  <a:pt x="150" y="151"/>
                </a:lnTo>
                <a:lnTo>
                  <a:pt x="147" y="147"/>
                </a:lnTo>
                <a:lnTo>
                  <a:pt x="147" y="144"/>
                </a:lnTo>
                <a:lnTo>
                  <a:pt x="147" y="141"/>
                </a:lnTo>
                <a:lnTo>
                  <a:pt x="140" y="138"/>
                </a:lnTo>
                <a:lnTo>
                  <a:pt x="137" y="135"/>
                </a:lnTo>
                <a:lnTo>
                  <a:pt x="134" y="132"/>
                </a:lnTo>
                <a:lnTo>
                  <a:pt x="131" y="129"/>
                </a:lnTo>
                <a:lnTo>
                  <a:pt x="131" y="125"/>
                </a:lnTo>
                <a:lnTo>
                  <a:pt x="131" y="116"/>
                </a:lnTo>
                <a:lnTo>
                  <a:pt x="125" y="116"/>
                </a:lnTo>
                <a:lnTo>
                  <a:pt x="118" y="110"/>
                </a:lnTo>
                <a:lnTo>
                  <a:pt x="118" y="110"/>
                </a:lnTo>
                <a:lnTo>
                  <a:pt x="115" y="110"/>
                </a:lnTo>
                <a:lnTo>
                  <a:pt x="109" y="110"/>
                </a:lnTo>
                <a:lnTo>
                  <a:pt x="103" y="104"/>
                </a:lnTo>
                <a:lnTo>
                  <a:pt x="100" y="104"/>
                </a:lnTo>
                <a:lnTo>
                  <a:pt x="97" y="100"/>
                </a:lnTo>
                <a:lnTo>
                  <a:pt x="93" y="100"/>
                </a:lnTo>
                <a:lnTo>
                  <a:pt x="90" y="100"/>
                </a:lnTo>
                <a:lnTo>
                  <a:pt x="87" y="104"/>
                </a:lnTo>
                <a:lnTo>
                  <a:pt x="84" y="100"/>
                </a:lnTo>
                <a:lnTo>
                  <a:pt x="84" y="104"/>
                </a:lnTo>
                <a:lnTo>
                  <a:pt x="81" y="100"/>
                </a:lnTo>
                <a:lnTo>
                  <a:pt x="81" y="107"/>
                </a:lnTo>
                <a:lnTo>
                  <a:pt x="81" y="110"/>
                </a:lnTo>
                <a:lnTo>
                  <a:pt x="81" y="113"/>
                </a:lnTo>
                <a:lnTo>
                  <a:pt x="78" y="116"/>
                </a:lnTo>
                <a:lnTo>
                  <a:pt x="72" y="116"/>
                </a:lnTo>
                <a:lnTo>
                  <a:pt x="59" y="119"/>
                </a:lnTo>
                <a:lnTo>
                  <a:pt x="56" y="122"/>
                </a:lnTo>
                <a:lnTo>
                  <a:pt x="53" y="125"/>
                </a:lnTo>
                <a:lnTo>
                  <a:pt x="47" y="125"/>
                </a:lnTo>
                <a:lnTo>
                  <a:pt x="40" y="125"/>
                </a:lnTo>
                <a:lnTo>
                  <a:pt x="40" y="122"/>
                </a:lnTo>
                <a:lnTo>
                  <a:pt x="34" y="119"/>
                </a:lnTo>
                <a:lnTo>
                  <a:pt x="28" y="119"/>
                </a:lnTo>
                <a:lnTo>
                  <a:pt x="22" y="113"/>
                </a:lnTo>
                <a:lnTo>
                  <a:pt x="18" y="113"/>
                </a:lnTo>
                <a:lnTo>
                  <a:pt x="15" y="116"/>
                </a:lnTo>
                <a:lnTo>
                  <a:pt x="12" y="116"/>
                </a:lnTo>
                <a:lnTo>
                  <a:pt x="9" y="113"/>
                </a:lnTo>
                <a:lnTo>
                  <a:pt x="6" y="110"/>
                </a:lnTo>
                <a:lnTo>
                  <a:pt x="0" y="107"/>
                </a:lnTo>
                <a:lnTo>
                  <a:pt x="3" y="104"/>
                </a:lnTo>
                <a:lnTo>
                  <a:pt x="3" y="97"/>
                </a:lnTo>
                <a:lnTo>
                  <a:pt x="6" y="91"/>
                </a:lnTo>
                <a:lnTo>
                  <a:pt x="9" y="91"/>
                </a:lnTo>
                <a:lnTo>
                  <a:pt x="12" y="85"/>
                </a:lnTo>
                <a:lnTo>
                  <a:pt x="9" y="79"/>
                </a:lnTo>
                <a:lnTo>
                  <a:pt x="22" y="66"/>
                </a:lnTo>
                <a:lnTo>
                  <a:pt x="25" y="60"/>
                </a:lnTo>
                <a:lnTo>
                  <a:pt x="28" y="57"/>
                </a:lnTo>
                <a:lnTo>
                  <a:pt x="31" y="57"/>
                </a:lnTo>
                <a:lnTo>
                  <a:pt x="31" y="50"/>
                </a:lnTo>
                <a:lnTo>
                  <a:pt x="31" y="47"/>
                </a:lnTo>
                <a:lnTo>
                  <a:pt x="28" y="44"/>
                </a:lnTo>
                <a:lnTo>
                  <a:pt x="31" y="41"/>
                </a:lnTo>
                <a:lnTo>
                  <a:pt x="25" y="41"/>
                </a:lnTo>
                <a:lnTo>
                  <a:pt x="25" y="35"/>
                </a:lnTo>
                <a:lnTo>
                  <a:pt x="22" y="32"/>
                </a:lnTo>
                <a:lnTo>
                  <a:pt x="22" y="22"/>
                </a:lnTo>
                <a:lnTo>
                  <a:pt x="22" y="1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3" name="Freeform 51">
            <a:extLst>
              <a:ext uri="{FF2B5EF4-FFF2-40B4-BE49-F238E27FC236}">
                <a16:creationId xmlns:a16="http://schemas.microsoft.com/office/drawing/2014/main" id="{54ABFC5D-212F-F1EB-9626-435D73F29D21}"/>
              </a:ext>
            </a:extLst>
          </p:cNvPr>
          <p:cNvSpPr>
            <a:spLocks/>
          </p:cNvSpPr>
          <p:nvPr userDrawn="1"/>
        </p:nvSpPr>
        <p:spPr bwMode="auto">
          <a:xfrm>
            <a:off x="14667542" y="6047657"/>
            <a:ext cx="219064" cy="241302"/>
          </a:xfrm>
          <a:custGeom>
            <a:avLst/>
            <a:gdLst>
              <a:gd name="T0" fmla="*/ 0 w 69"/>
              <a:gd name="T1" fmla="*/ 13 h 76"/>
              <a:gd name="T2" fmla="*/ 0 w 69"/>
              <a:gd name="T3" fmla="*/ 10 h 76"/>
              <a:gd name="T4" fmla="*/ 0 w 69"/>
              <a:gd name="T5" fmla="*/ 7 h 76"/>
              <a:gd name="T6" fmla="*/ 0 w 69"/>
              <a:gd name="T7" fmla="*/ 0 h 76"/>
              <a:gd name="T8" fmla="*/ 3 w 69"/>
              <a:gd name="T9" fmla="*/ 4 h 76"/>
              <a:gd name="T10" fmla="*/ 3 w 69"/>
              <a:gd name="T11" fmla="*/ 0 h 76"/>
              <a:gd name="T12" fmla="*/ 6 w 69"/>
              <a:gd name="T13" fmla="*/ 4 h 76"/>
              <a:gd name="T14" fmla="*/ 9 w 69"/>
              <a:gd name="T15" fmla="*/ 0 h 76"/>
              <a:gd name="T16" fmla="*/ 12 w 69"/>
              <a:gd name="T17" fmla="*/ 0 h 76"/>
              <a:gd name="T18" fmla="*/ 16 w 69"/>
              <a:gd name="T19" fmla="*/ 0 h 76"/>
              <a:gd name="T20" fmla="*/ 19 w 69"/>
              <a:gd name="T21" fmla="*/ 4 h 76"/>
              <a:gd name="T22" fmla="*/ 22 w 69"/>
              <a:gd name="T23" fmla="*/ 4 h 76"/>
              <a:gd name="T24" fmla="*/ 28 w 69"/>
              <a:gd name="T25" fmla="*/ 10 h 76"/>
              <a:gd name="T26" fmla="*/ 34 w 69"/>
              <a:gd name="T27" fmla="*/ 10 h 76"/>
              <a:gd name="T28" fmla="*/ 37 w 69"/>
              <a:gd name="T29" fmla="*/ 10 h 76"/>
              <a:gd name="T30" fmla="*/ 37 w 69"/>
              <a:gd name="T31" fmla="*/ 10 h 76"/>
              <a:gd name="T32" fmla="*/ 44 w 69"/>
              <a:gd name="T33" fmla="*/ 16 h 76"/>
              <a:gd name="T34" fmla="*/ 50 w 69"/>
              <a:gd name="T35" fmla="*/ 16 h 76"/>
              <a:gd name="T36" fmla="*/ 50 w 69"/>
              <a:gd name="T37" fmla="*/ 25 h 76"/>
              <a:gd name="T38" fmla="*/ 50 w 69"/>
              <a:gd name="T39" fmla="*/ 29 h 76"/>
              <a:gd name="T40" fmla="*/ 53 w 69"/>
              <a:gd name="T41" fmla="*/ 32 h 76"/>
              <a:gd name="T42" fmla="*/ 56 w 69"/>
              <a:gd name="T43" fmla="*/ 35 h 76"/>
              <a:gd name="T44" fmla="*/ 59 w 69"/>
              <a:gd name="T45" fmla="*/ 38 h 76"/>
              <a:gd name="T46" fmla="*/ 66 w 69"/>
              <a:gd name="T47" fmla="*/ 41 h 76"/>
              <a:gd name="T48" fmla="*/ 66 w 69"/>
              <a:gd name="T49" fmla="*/ 44 h 76"/>
              <a:gd name="T50" fmla="*/ 66 w 69"/>
              <a:gd name="T51" fmla="*/ 47 h 76"/>
              <a:gd name="T52" fmla="*/ 69 w 69"/>
              <a:gd name="T53" fmla="*/ 51 h 76"/>
              <a:gd name="T54" fmla="*/ 66 w 69"/>
              <a:gd name="T55" fmla="*/ 54 h 76"/>
              <a:gd name="T56" fmla="*/ 62 w 69"/>
              <a:gd name="T57" fmla="*/ 54 h 76"/>
              <a:gd name="T58" fmla="*/ 59 w 69"/>
              <a:gd name="T59" fmla="*/ 51 h 76"/>
              <a:gd name="T60" fmla="*/ 53 w 69"/>
              <a:gd name="T61" fmla="*/ 54 h 76"/>
              <a:gd name="T62" fmla="*/ 50 w 69"/>
              <a:gd name="T63" fmla="*/ 54 h 76"/>
              <a:gd name="T64" fmla="*/ 50 w 69"/>
              <a:gd name="T65" fmla="*/ 60 h 76"/>
              <a:gd name="T66" fmla="*/ 50 w 69"/>
              <a:gd name="T67" fmla="*/ 66 h 76"/>
              <a:gd name="T68" fmla="*/ 47 w 69"/>
              <a:gd name="T69" fmla="*/ 66 h 76"/>
              <a:gd name="T70" fmla="*/ 44 w 69"/>
              <a:gd name="T71" fmla="*/ 72 h 76"/>
              <a:gd name="T72" fmla="*/ 44 w 69"/>
              <a:gd name="T73" fmla="*/ 76 h 76"/>
              <a:gd name="T74" fmla="*/ 41 w 69"/>
              <a:gd name="T75" fmla="*/ 72 h 76"/>
              <a:gd name="T76" fmla="*/ 37 w 69"/>
              <a:gd name="T77" fmla="*/ 76 h 76"/>
              <a:gd name="T78" fmla="*/ 37 w 69"/>
              <a:gd name="T79" fmla="*/ 76 h 76"/>
              <a:gd name="T80" fmla="*/ 34 w 69"/>
              <a:gd name="T81" fmla="*/ 69 h 76"/>
              <a:gd name="T82" fmla="*/ 34 w 69"/>
              <a:gd name="T83" fmla="*/ 51 h 76"/>
              <a:gd name="T84" fmla="*/ 31 w 69"/>
              <a:gd name="T85" fmla="*/ 47 h 76"/>
              <a:gd name="T86" fmla="*/ 31 w 69"/>
              <a:gd name="T87" fmla="*/ 41 h 76"/>
              <a:gd name="T88" fmla="*/ 19 w 69"/>
              <a:gd name="T89" fmla="*/ 32 h 76"/>
              <a:gd name="T90" fmla="*/ 19 w 69"/>
              <a:gd name="T91" fmla="*/ 29 h 76"/>
              <a:gd name="T92" fmla="*/ 9 w 69"/>
              <a:gd name="T93" fmla="*/ 22 h 76"/>
              <a:gd name="T94" fmla="*/ 9 w 69"/>
              <a:gd name="T95" fmla="*/ 13 h 76"/>
              <a:gd name="T96" fmla="*/ 0 w 69"/>
              <a:gd name="T97" fmla="*/ 1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 h="76">
                <a:moveTo>
                  <a:pt x="0" y="13"/>
                </a:moveTo>
                <a:lnTo>
                  <a:pt x="0" y="10"/>
                </a:lnTo>
                <a:lnTo>
                  <a:pt x="0" y="7"/>
                </a:lnTo>
                <a:lnTo>
                  <a:pt x="0" y="0"/>
                </a:lnTo>
                <a:lnTo>
                  <a:pt x="3" y="4"/>
                </a:lnTo>
                <a:lnTo>
                  <a:pt x="3" y="0"/>
                </a:lnTo>
                <a:lnTo>
                  <a:pt x="6" y="4"/>
                </a:lnTo>
                <a:lnTo>
                  <a:pt x="9" y="0"/>
                </a:lnTo>
                <a:lnTo>
                  <a:pt x="12" y="0"/>
                </a:lnTo>
                <a:lnTo>
                  <a:pt x="16" y="0"/>
                </a:lnTo>
                <a:lnTo>
                  <a:pt x="19" y="4"/>
                </a:lnTo>
                <a:lnTo>
                  <a:pt x="22" y="4"/>
                </a:lnTo>
                <a:lnTo>
                  <a:pt x="28" y="10"/>
                </a:lnTo>
                <a:lnTo>
                  <a:pt x="34" y="10"/>
                </a:lnTo>
                <a:lnTo>
                  <a:pt x="37" y="10"/>
                </a:lnTo>
                <a:lnTo>
                  <a:pt x="37" y="10"/>
                </a:lnTo>
                <a:lnTo>
                  <a:pt x="44" y="16"/>
                </a:lnTo>
                <a:lnTo>
                  <a:pt x="50" y="16"/>
                </a:lnTo>
                <a:lnTo>
                  <a:pt x="50" y="25"/>
                </a:lnTo>
                <a:lnTo>
                  <a:pt x="50" y="29"/>
                </a:lnTo>
                <a:lnTo>
                  <a:pt x="53" y="32"/>
                </a:lnTo>
                <a:lnTo>
                  <a:pt x="56" y="35"/>
                </a:lnTo>
                <a:lnTo>
                  <a:pt x="59" y="38"/>
                </a:lnTo>
                <a:lnTo>
                  <a:pt x="66" y="41"/>
                </a:lnTo>
                <a:lnTo>
                  <a:pt x="66" y="44"/>
                </a:lnTo>
                <a:lnTo>
                  <a:pt x="66" y="47"/>
                </a:lnTo>
                <a:lnTo>
                  <a:pt x="69" y="51"/>
                </a:lnTo>
                <a:lnTo>
                  <a:pt x="66" y="54"/>
                </a:lnTo>
                <a:lnTo>
                  <a:pt x="62" y="54"/>
                </a:lnTo>
                <a:lnTo>
                  <a:pt x="59" y="51"/>
                </a:lnTo>
                <a:lnTo>
                  <a:pt x="53" y="54"/>
                </a:lnTo>
                <a:lnTo>
                  <a:pt x="50" y="54"/>
                </a:lnTo>
                <a:lnTo>
                  <a:pt x="50" y="60"/>
                </a:lnTo>
                <a:lnTo>
                  <a:pt x="50" y="66"/>
                </a:lnTo>
                <a:lnTo>
                  <a:pt x="47" y="66"/>
                </a:lnTo>
                <a:lnTo>
                  <a:pt x="44" y="72"/>
                </a:lnTo>
                <a:lnTo>
                  <a:pt x="44" y="76"/>
                </a:lnTo>
                <a:lnTo>
                  <a:pt x="41" y="72"/>
                </a:lnTo>
                <a:lnTo>
                  <a:pt x="37" y="76"/>
                </a:lnTo>
                <a:lnTo>
                  <a:pt x="37" y="76"/>
                </a:lnTo>
                <a:lnTo>
                  <a:pt x="34" y="69"/>
                </a:lnTo>
                <a:lnTo>
                  <a:pt x="34" y="51"/>
                </a:lnTo>
                <a:lnTo>
                  <a:pt x="31" y="47"/>
                </a:lnTo>
                <a:lnTo>
                  <a:pt x="31" y="41"/>
                </a:lnTo>
                <a:lnTo>
                  <a:pt x="19" y="32"/>
                </a:lnTo>
                <a:lnTo>
                  <a:pt x="19" y="29"/>
                </a:lnTo>
                <a:lnTo>
                  <a:pt x="9" y="22"/>
                </a:lnTo>
                <a:lnTo>
                  <a:pt x="9" y="13"/>
                </a:lnTo>
                <a:lnTo>
                  <a:pt x="0" y="13"/>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4" name="Freeform 52">
            <a:extLst>
              <a:ext uri="{FF2B5EF4-FFF2-40B4-BE49-F238E27FC236}">
                <a16:creationId xmlns:a16="http://schemas.microsoft.com/office/drawing/2014/main" id="{2663AFAC-2AEC-512C-15F1-54599A3221FE}"/>
              </a:ext>
            </a:extLst>
          </p:cNvPr>
          <p:cNvSpPr>
            <a:spLocks/>
          </p:cNvSpPr>
          <p:nvPr userDrawn="1"/>
        </p:nvSpPr>
        <p:spPr bwMode="auto">
          <a:xfrm>
            <a:off x="14321491" y="6088933"/>
            <a:ext cx="555590" cy="346078"/>
          </a:xfrm>
          <a:custGeom>
            <a:avLst/>
            <a:gdLst>
              <a:gd name="T0" fmla="*/ 43 w 175"/>
              <a:gd name="T1" fmla="*/ 3 h 109"/>
              <a:gd name="T2" fmla="*/ 50 w 175"/>
              <a:gd name="T3" fmla="*/ 0 h 109"/>
              <a:gd name="T4" fmla="*/ 62 w 175"/>
              <a:gd name="T5" fmla="*/ 6 h 109"/>
              <a:gd name="T6" fmla="*/ 68 w 175"/>
              <a:gd name="T7" fmla="*/ 12 h 109"/>
              <a:gd name="T8" fmla="*/ 81 w 175"/>
              <a:gd name="T9" fmla="*/ 12 h 109"/>
              <a:gd name="T10" fmla="*/ 87 w 175"/>
              <a:gd name="T11" fmla="*/ 6 h 109"/>
              <a:gd name="T12" fmla="*/ 106 w 175"/>
              <a:gd name="T13" fmla="*/ 3 h 109"/>
              <a:gd name="T14" fmla="*/ 118 w 175"/>
              <a:gd name="T15" fmla="*/ 9 h 109"/>
              <a:gd name="T16" fmla="*/ 128 w 175"/>
              <a:gd name="T17" fmla="*/ 19 h 109"/>
              <a:gd name="T18" fmla="*/ 140 w 175"/>
              <a:gd name="T19" fmla="*/ 34 h 109"/>
              <a:gd name="T20" fmla="*/ 143 w 175"/>
              <a:gd name="T21" fmla="*/ 56 h 109"/>
              <a:gd name="T22" fmla="*/ 150 w 175"/>
              <a:gd name="T23" fmla="*/ 69 h 109"/>
              <a:gd name="T24" fmla="*/ 162 w 175"/>
              <a:gd name="T25" fmla="*/ 69 h 109"/>
              <a:gd name="T26" fmla="*/ 171 w 175"/>
              <a:gd name="T27" fmla="*/ 66 h 109"/>
              <a:gd name="T28" fmla="*/ 171 w 175"/>
              <a:gd name="T29" fmla="*/ 72 h 109"/>
              <a:gd name="T30" fmla="*/ 175 w 175"/>
              <a:gd name="T31" fmla="*/ 75 h 109"/>
              <a:gd name="T32" fmla="*/ 168 w 175"/>
              <a:gd name="T33" fmla="*/ 81 h 109"/>
              <a:gd name="T34" fmla="*/ 159 w 175"/>
              <a:gd name="T35" fmla="*/ 88 h 109"/>
              <a:gd name="T36" fmla="*/ 159 w 175"/>
              <a:gd name="T37" fmla="*/ 94 h 109"/>
              <a:gd name="T38" fmla="*/ 156 w 175"/>
              <a:gd name="T39" fmla="*/ 100 h 109"/>
              <a:gd name="T40" fmla="*/ 153 w 175"/>
              <a:gd name="T41" fmla="*/ 106 h 109"/>
              <a:gd name="T42" fmla="*/ 146 w 175"/>
              <a:gd name="T43" fmla="*/ 103 h 109"/>
              <a:gd name="T44" fmla="*/ 140 w 175"/>
              <a:gd name="T45" fmla="*/ 100 h 109"/>
              <a:gd name="T46" fmla="*/ 128 w 175"/>
              <a:gd name="T47" fmla="*/ 97 h 109"/>
              <a:gd name="T48" fmla="*/ 112 w 175"/>
              <a:gd name="T49" fmla="*/ 103 h 109"/>
              <a:gd name="T50" fmla="*/ 106 w 175"/>
              <a:gd name="T51" fmla="*/ 109 h 109"/>
              <a:gd name="T52" fmla="*/ 96 w 175"/>
              <a:gd name="T53" fmla="*/ 109 h 109"/>
              <a:gd name="T54" fmla="*/ 87 w 175"/>
              <a:gd name="T55" fmla="*/ 106 h 109"/>
              <a:gd name="T56" fmla="*/ 81 w 175"/>
              <a:gd name="T57" fmla="*/ 109 h 109"/>
              <a:gd name="T58" fmla="*/ 68 w 175"/>
              <a:gd name="T59" fmla="*/ 109 h 109"/>
              <a:gd name="T60" fmla="*/ 65 w 175"/>
              <a:gd name="T61" fmla="*/ 106 h 109"/>
              <a:gd name="T62" fmla="*/ 56 w 175"/>
              <a:gd name="T63" fmla="*/ 109 h 109"/>
              <a:gd name="T64" fmla="*/ 53 w 175"/>
              <a:gd name="T65" fmla="*/ 103 h 109"/>
              <a:gd name="T66" fmla="*/ 53 w 175"/>
              <a:gd name="T67" fmla="*/ 100 h 109"/>
              <a:gd name="T68" fmla="*/ 46 w 175"/>
              <a:gd name="T69" fmla="*/ 94 h 109"/>
              <a:gd name="T70" fmla="*/ 46 w 175"/>
              <a:gd name="T71" fmla="*/ 88 h 109"/>
              <a:gd name="T72" fmla="*/ 37 w 175"/>
              <a:gd name="T73" fmla="*/ 91 h 109"/>
              <a:gd name="T74" fmla="*/ 31 w 175"/>
              <a:gd name="T75" fmla="*/ 88 h 109"/>
              <a:gd name="T76" fmla="*/ 21 w 175"/>
              <a:gd name="T77" fmla="*/ 84 h 109"/>
              <a:gd name="T78" fmla="*/ 25 w 175"/>
              <a:gd name="T79" fmla="*/ 78 h 109"/>
              <a:gd name="T80" fmla="*/ 12 w 175"/>
              <a:gd name="T81" fmla="*/ 69 h 109"/>
              <a:gd name="T82" fmla="*/ 6 w 175"/>
              <a:gd name="T83" fmla="*/ 59 h 109"/>
              <a:gd name="T84" fmla="*/ 0 w 175"/>
              <a:gd name="T85" fmla="*/ 56 h 109"/>
              <a:gd name="T86" fmla="*/ 9 w 175"/>
              <a:gd name="T87" fmla="*/ 50 h 109"/>
              <a:gd name="T88" fmla="*/ 15 w 175"/>
              <a:gd name="T89" fmla="*/ 47 h 109"/>
              <a:gd name="T90" fmla="*/ 18 w 175"/>
              <a:gd name="T91" fmla="*/ 41 h 109"/>
              <a:gd name="T92" fmla="*/ 31 w 175"/>
              <a:gd name="T93" fmla="*/ 19 h 109"/>
              <a:gd name="T94" fmla="*/ 37 w 175"/>
              <a:gd name="T95" fmla="*/ 9 h 109"/>
              <a:gd name="T96" fmla="*/ 40 w 175"/>
              <a:gd name="T97" fmla="*/ 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5" h="109">
                <a:moveTo>
                  <a:pt x="40" y="3"/>
                </a:moveTo>
                <a:lnTo>
                  <a:pt x="43" y="3"/>
                </a:lnTo>
                <a:lnTo>
                  <a:pt x="46" y="0"/>
                </a:lnTo>
                <a:lnTo>
                  <a:pt x="50" y="0"/>
                </a:lnTo>
                <a:lnTo>
                  <a:pt x="56" y="6"/>
                </a:lnTo>
                <a:lnTo>
                  <a:pt x="62" y="6"/>
                </a:lnTo>
                <a:lnTo>
                  <a:pt x="68" y="9"/>
                </a:lnTo>
                <a:lnTo>
                  <a:pt x="68" y="12"/>
                </a:lnTo>
                <a:lnTo>
                  <a:pt x="75" y="12"/>
                </a:lnTo>
                <a:lnTo>
                  <a:pt x="81" y="12"/>
                </a:lnTo>
                <a:lnTo>
                  <a:pt x="84" y="9"/>
                </a:lnTo>
                <a:lnTo>
                  <a:pt x="87" y="6"/>
                </a:lnTo>
                <a:lnTo>
                  <a:pt x="100" y="3"/>
                </a:lnTo>
                <a:lnTo>
                  <a:pt x="106" y="3"/>
                </a:lnTo>
                <a:lnTo>
                  <a:pt x="118" y="0"/>
                </a:lnTo>
                <a:lnTo>
                  <a:pt x="118" y="9"/>
                </a:lnTo>
                <a:lnTo>
                  <a:pt x="128" y="16"/>
                </a:lnTo>
                <a:lnTo>
                  <a:pt x="128" y="19"/>
                </a:lnTo>
                <a:lnTo>
                  <a:pt x="140" y="28"/>
                </a:lnTo>
                <a:lnTo>
                  <a:pt x="140" y="34"/>
                </a:lnTo>
                <a:lnTo>
                  <a:pt x="143" y="38"/>
                </a:lnTo>
                <a:lnTo>
                  <a:pt x="143" y="56"/>
                </a:lnTo>
                <a:lnTo>
                  <a:pt x="146" y="63"/>
                </a:lnTo>
                <a:lnTo>
                  <a:pt x="150" y="69"/>
                </a:lnTo>
                <a:lnTo>
                  <a:pt x="156" y="69"/>
                </a:lnTo>
                <a:lnTo>
                  <a:pt x="162" y="69"/>
                </a:lnTo>
                <a:lnTo>
                  <a:pt x="165" y="69"/>
                </a:lnTo>
                <a:lnTo>
                  <a:pt x="171" y="66"/>
                </a:lnTo>
                <a:lnTo>
                  <a:pt x="175" y="69"/>
                </a:lnTo>
                <a:lnTo>
                  <a:pt x="171" y="72"/>
                </a:lnTo>
                <a:lnTo>
                  <a:pt x="175" y="72"/>
                </a:lnTo>
                <a:lnTo>
                  <a:pt x="175" y="75"/>
                </a:lnTo>
                <a:lnTo>
                  <a:pt x="171" y="81"/>
                </a:lnTo>
                <a:lnTo>
                  <a:pt x="168" y="81"/>
                </a:lnTo>
                <a:lnTo>
                  <a:pt x="159" y="81"/>
                </a:lnTo>
                <a:lnTo>
                  <a:pt x="159" y="88"/>
                </a:lnTo>
                <a:lnTo>
                  <a:pt x="156" y="91"/>
                </a:lnTo>
                <a:lnTo>
                  <a:pt x="159" y="94"/>
                </a:lnTo>
                <a:lnTo>
                  <a:pt x="159" y="97"/>
                </a:lnTo>
                <a:lnTo>
                  <a:pt x="156" y="100"/>
                </a:lnTo>
                <a:lnTo>
                  <a:pt x="159" y="106"/>
                </a:lnTo>
                <a:lnTo>
                  <a:pt x="153" y="106"/>
                </a:lnTo>
                <a:lnTo>
                  <a:pt x="153" y="103"/>
                </a:lnTo>
                <a:lnTo>
                  <a:pt x="146" y="103"/>
                </a:lnTo>
                <a:lnTo>
                  <a:pt x="143" y="103"/>
                </a:lnTo>
                <a:lnTo>
                  <a:pt x="140" y="100"/>
                </a:lnTo>
                <a:lnTo>
                  <a:pt x="134" y="97"/>
                </a:lnTo>
                <a:lnTo>
                  <a:pt x="128" y="97"/>
                </a:lnTo>
                <a:lnTo>
                  <a:pt x="125" y="100"/>
                </a:lnTo>
                <a:lnTo>
                  <a:pt x="112" y="103"/>
                </a:lnTo>
                <a:lnTo>
                  <a:pt x="109" y="106"/>
                </a:lnTo>
                <a:lnTo>
                  <a:pt x="106" y="109"/>
                </a:lnTo>
                <a:lnTo>
                  <a:pt x="103" y="109"/>
                </a:lnTo>
                <a:lnTo>
                  <a:pt x="96" y="109"/>
                </a:lnTo>
                <a:lnTo>
                  <a:pt x="93" y="109"/>
                </a:lnTo>
                <a:lnTo>
                  <a:pt x="87" y="106"/>
                </a:lnTo>
                <a:lnTo>
                  <a:pt x="84" y="109"/>
                </a:lnTo>
                <a:lnTo>
                  <a:pt x="81" y="109"/>
                </a:lnTo>
                <a:lnTo>
                  <a:pt x="75" y="109"/>
                </a:lnTo>
                <a:lnTo>
                  <a:pt x="68" y="109"/>
                </a:lnTo>
                <a:lnTo>
                  <a:pt x="65" y="109"/>
                </a:lnTo>
                <a:lnTo>
                  <a:pt x="65" y="106"/>
                </a:lnTo>
                <a:lnTo>
                  <a:pt x="59" y="106"/>
                </a:lnTo>
                <a:lnTo>
                  <a:pt x="56" y="109"/>
                </a:lnTo>
                <a:lnTo>
                  <a:pt x="53" y="106"/>
                </a:lnTo>
                <a:lnTo>
                  <a:pt x="53" y="103"/>
                </a:lnTo>
                <a:lnTo>
                  <a:pt x="53" y="100"/>
                </a:lnTo>
                <a:lnTo>
                  <a:pt x="53" y="100"/>
                </a:lnTo>
                <a:lnTo>
                  <a:pt x="46" y="97"/>
                </a:lnTo>
                <a:lnTo>
                  <a:pt x="46" y="94"/>
                </a:lnTo>
                <a:lnTo>
                  <a:pt x="43" y="91"/>
                </a:lnTo>
                <a:lnTo>
                  <a:pt x="46" y="88"/>
                </a:lnTo>
                <a:lnTo>
                  <a:pt x="40" y="84"/>
                </a:lnTo>
                <a:lnTo>
                  <a:pt x="37" y="91"/>
                </a:lnTo>
                <a:lnTo>
                  <a:pt x="34" y="88"/>
                </a:lnTo>
                <a:lnTo>
                  <a:pt x="31" y="88"/>
                </a:lnTo>
                <a:lnTo>
                  <a:pt x="28" y="84"/>
                </a:lnTo>
                <a:lnTo>
                  <a:pt x="21" y="84"/>
                </a:lnTo>
                <a:lnTo>
                  <a:pt x="21" y="81"/>
                </a:lnTo>
                <a:lnTo>
                  <a:pt x="25" y="78"/>
                </a:lnTo>
                <a:lnTo>
                  <a:pt x="18" y="72"/>
                </a:lnTo>
                <a:lnTo>
                  <a:pt x="12" y="69"/>
                </a:lnTo>
                <a:lnTo>
                  <a:pt x="12" y="66"/>
                </a:lnTo>
                <a:lnTo>
                  <a:pt x="6" y="59"/>
                </a:lnTo>
                <a:lnTo>
                  <a:pt x="6" y="56"/>
                </a:lnTo>
                <a:lnTo>
                  <a:pt x="0" y="56"/>
                </a:lnTo>
                <a:lnTo>
                  <a:pt x="6" y="50"/>
                </a:lnTo>
                <a:lnTo>
                  <a:pt x="9" y="50"/>
                </a:lnTo>
                <a:lnTo>
                  <a:pt x="9" y="47"/>
                </a:lnTo>
                <a:lnTo>
                  <a:pt x="15" y="47"/>
                </a:lnTo>
                <a:lnTo>
                  <a:pt x="18" y="44"/>
                </a:lnTo>
                <a:lnTo>
                  <a:pt x="18" y="41"/>
                </a:lnTo>
                <a:lnTo>
                  <a:pt x="25" y="31"/>
                </a:lnTo>
                <a:lnTo>
                  <a:pt x="31" y="19"/>
                </a:lnTo>
                <a:lnTo>
                  <a:pt x="34" y="9"/>
                </a:lnTo>
                <a:lnTo>
                  <a:pt x="37" y="9"/>
                </a:lnTo>
                <a:lnTo>
                  <a:pt x="40" y="6"/>
                </a:lnTo>
                <a:lnTo>
                  <a:pt x="40" y="3"/>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5" name="Freeform 53">
            <a:extLst>
              <a:ext uri="{FF2B5EF4-FFF2-40B4-BE49-F238E27FC236}">
                <a16:creationId xmlns:a16="http://schemas.microsoft.com/office/drawing/2014/main" id="{1D2E6A65-E949-A9BB-6C2C-70BA5DCB6AB9}"/>
              </a:ext>
            </a:extLst>
          </p:cNvPr>
          <p:cNvSpPr>
            <a:spLocks/>
          </p:cNvSpPr>
          <p:nvPr userDrawn="1"/>
        </p:nvSpPr>
        <p:spPr bwMode="auto">
          <a:xfrm>
            <a:off x="14092905" y="6069880"/>
            <a:ext cx="355577" cy="228600"/>
          </a:xfrm>
          <a:custGeom>
            <a:avLst/>
            <a:gdLst>
              <a:gd name="T0" fmla="*/ 72 w 112"/>
              <a:gd name="T1" fmla="*/ 62 h 72"/>
              <a:gd name="T2" fmla="*/ 78 w 112"/>
              <a:gd name="T3" fmla="*/ 56 h 72"/>
              <a:gd name="T4" fmla="*/ 81 w 112"/>
              <a:gd name="T5" fmla="*/ 56 h 72"/>
              <a:gd name="T6" fmla="*/ 81 w 112"/>
              <a:gd name="T7" fmla="*/ 53 h 72"/>
              <a:gd name="T8" fmla="*/ 87 w 112"/>
              <a:gd name="T9" fmla="*/ 53 h 72"/>
              <a:gd name="T10" fmla="*/ 90 w 112"/>
              <a:gd name="T11" fmla="*/ 50 h 72"/>
              <a:gd name="T12" fmla="*/ 90 w 112"/>
              <a:gd name="T13" fmla="*/ 47 h 72"/>
              <a:gd name="T14" fmla="*/ 97 w 112"/>
              <a:gd name="T15" fmla="*/ 37 h 72"/>
              <a:gd name="T16" fmla="*/ 103 w 112"/>
              <a:gd name="T17" fmla="*/ 25 h 72"/>
              <a:gd name="T18" fmla="*/ 106 w 112"/>
              <a:gd name="T19" fmla="*/ 15 h 72"/>
              <a:gd name="T20" fmla="*/ 109 w 112"/>
              <a:gd name="T21" fmla="*/ 15 h 72"/>
              <a:gd name="T22" fmla="*/ 112 w 112"/>
              <a:gd name="T23" fmla="*/ 12 h 72"/>
              <a:gd name="T24" fmla="*/ 109 w 112"/>
              <a:gd name="T25" fmla="*/ 6 h 72"/>
              <a:gd name="T26" fmla="*/ 106 w 112"/>
              <a:gd name="T27" fmla="*/ 3 h 72"/>
              <a:gd name="T28" fmla="*/ 100 w 112"/>
              <a:gd name="T29" fmla="*/ 0 h 72"/>
              <a:gd name="T30" fmla="*/ 97 w 112"/>
              <a:gd name="T31" fmla="*/ 3 h 72"/>
              <a:gd name="T32" fmla="*/ 90 w 112"/>
              <a:gd name="T33" fmla="*/ 0 h 72"/>
              <a:gd name="T34" fmla="*/ 84 w 112"/>
              <a:gd name="T35" fmla="*/ 0 h 72"/>
              <a:gd name="T36" fmla="*/ 78 w 112"/>
              <a:gd name="T37" fmla="*/ 0 h 72"/>
              <a:gd name="T38" fmla="*/ 72 w 112"/>
              <a:gd name="T39" fmla="*/ 0 h 72"/>
              <a:gd name="T40" fmla="*/ 68 w 112"/>
              <a:gd name="T41" fmla="*/ 6 h 72"/>
              <a:gd name="T42" fmla="*/ 65 w 112"/>
              <a:gd name="T43" fmla="*/ 9 h 72"/>
              <a:gd name="T44" fmla="*/ 65 w 112"/>
              <a:gd name="T45" fmla="*/ 12 h 72"/>
              <a:gd name="T46" fmla="*/ 59 w 112"/>
              <a:gd name="T47" fmla="*/ 6 h 72"/>
              <a:gd name="T48" fmla="*/ 53 w 112"/>
              <a:gd name="T49" fmla="*/ 12 h 72"/>
              <a:gd name="T50" fmla="*/ 47 w 112"/>
              <a:gd name="T51" fmla="*/ 12 h 72"/>
              <a:gd name="T52" fmla="*/ 47 w 112"/>
              <a:gd name="T53" fmla="*/ 15 h 72"/>
              <a:gd name="T54" fmla="*/ 37 w 112"/>
              <a:gd name="T55" fmla="*/ 18 h 72"/>
              <a:gd name="T56" fmla="*/ 28 w 112"/>
              <a:gd name="T57" fmla="*/ 18 h 72"/>
              <a:gd name="T58" fmla="*/ 22 w 112"/>
              <a:gd name="T59" fmla="*/ 18 h 72"/>
              <a:gd name="T60" fmla="*/ 9 w 112"/>
              <a:gd name="T61" fmla="*/ 12 h 72"/>
              <a:gd name="T62" fmla="*/ 9 w 112"/>
              <a:gd name="T63" fmla="*/ 12 h 72"/>
              <a:gd name="T64" fmla="*/ 9 w 112"/>
              <a:gd name="T65" fmla="*/ 18 h 72"/>
              <a:gd name="T66" fmla="*/ 9 w 112"/>
              <a:gd name="T67" fmla="*/ 22 h 72"/>
              <a:gd name="T68" fmla="*/ 0 w 112"/>
              <a:gd name="T69" fmla="*/ 22 h 72"/>
              <a:gd name="T70" fmla="*/ 0 w 112"/>
              <a:gd name="T71" fmla="*/ 25 h 72"/>
              <a:gd name="T72" fmla="*/ 3 w 112"/>
              <a:gd name="T73" fmla="*/ 28 h 72"/>
              <a:gd name="T74" fmla="*/ 3 w 112"/>
              <a:gd name="T75" fmla="*/ 31 h 72"/>
              <a:gd name="T76" fmla="*/ 3 w 112"/>
              <a:gd name="T77" fmla="*/ 34 h 72"/>
              <a:gd name="T78" fmla="*/ 3 w 112"/>
              <a:gd name="T79" fmla="*/ 40 h 72"/>
              <a:gd name="T80" fmla="*/ 0 w 112"/>
              <a:gd name="T81" fmla="*/ 44 h 72"/>
              <a:gd name="T82" fmla="*/ 0 w 112"/>
              <a:gd name="T83" fmla="*/ 44 h 72"/>
              <a:gd name="T84" fmla="*/ 6 w 112"/>
              <a:gd name="T85" fmla="*/ 50 h 72"/>
              <a:gd name="T86" fmla="*/ 6 w 112"/>
              <a:gd name="T87" fmla="*/ 56 h 72"/>
              <a:gd name="T88" fmla="*/ 9 w 112"/>
              <a:gd name="T89" fmla="*/ 56 h 72"/>
              <a:gd name="T90" fmla="*/ 15 w 112"/>
              <a:gd name="T91" fmla="*/ 62 h 72"/>
              <a:gd name="T92" fmla="*/ 22 w 112"/>
              <a:gd name="T93" fmla="*/ 65 h 72"/>
              <a:gd name="T94" fmla="*/ 25 w 112"/>
              <a:gd name="T95" fmla="*/ 69 h 72"/>
              <a:gd name="T96" fmla="*/ 34 w 112"/>
              <a:gd name="T97" fmla="*/ 69 h 72"/>
              <a:gd name="T98" fmla="*/ 40 w 112"/>
              <a:gd name="T99" fmla="*/ 72 h 72"/>
              <a:gd name="T100" fmla="*/ 43 w 112"/>
              <a:gd name="T101" fmla="*/ 69 h 72"/>
              <a:gd name="T102" fmla="*/ 47 w 112"/>
              <a:gd name="T103" fmla="*/ 69 h 72"/>
              <a:gd name="T104" fmla="*/ 50 w 112"/>
              <a:gd name="T105" fmla="*/ 65 h 72"/>
              <a:gd name="T106" fmla="*/ 53 w 112"/>
              <a:gd name="T107" fmla="*/ 65 h 72"/>
              <a:gd name="T108" fmla="*/ 56 w 112"/>
              <a:gd name="T109" fmla="*/ 65 h 72"/>
              <a:gd name="T110" fmla="*/ 59 w 112"/>
              <a:gd name="T111" fmla="*/ 62 h 72"/>
              <a:gd name="T112" fmla="*/ 62 w 112"/>
              <a:gd name="T113" fmla="*/ 59 h 72"/>
              <a:gd name="T114" fmla="*/ 65 w 112"/>
              <a:gd name="T115" fmla="*/ 59 h 72"/>
              <a:gd name="T116" fmla="*/ 72 w 112"/>
              <a:gd name="T117" fmla="*/ 59 h 72"/>
              <a:gd name="T118" fmla="*/ 72 w 112"/>
              <a:gd name="T119"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2" h="72">
                <a:moveTo>
                  <a:pt x="72" y="62"/>
                </a:moveTo>
                <a:lnTo>
                  <a:pt x="78" y="56"/>
                </a:lnTo>
                <a:lnTo>
                  <a:pt x="81" y="56"/>
                </a:lnTo>
                <a:lnTo>
                  <a:pt x="81" y="53"/>
                </a:lnTo>
                <a:lnTo>
                  <a:pt x="87" y="53"/>
                </a:lnTo>
                <a:lnTo>
                  <a:pt x="90" y="50"/>
                </a:lnTo>
                <a:lnTo>
                  <a:pt x="90" y="47"/>
                </a:lnTo>
                <a:lnTo>
                  <a:pt x="97" y="37"/>
                </a:lnTo>
                <a:lnTo>
                  <a:pt x="103" y="25"/>
                </a:lnTo>
                <a:lnTo>
                  <a:pt x="106" y="15"/>
                </a:lnTo>
                <a:lnTo>
                  <a:pt x="109" y="15"/>
                </a:lnTo>
                <a:lnTo>
                  <a:pt x="112" y="12"/>
                </a:lnTo>
                <a:lnTo>
                  <a:pt x="109" y="6"/>
                </a:lnTo>
                <a:lnTo>
                  <a:pt x="106" y="3"/>
                </a:lnTo>
                <a:lnTo>
                  <a:pt x="100" y="0"/>
                </a:lnTo>
                <a:lnTo>
                  <a:pt x="97" y="3"/>
                </a:lnTo>
                <a:lnTo>
                  <a:pt x="90" y="0"/>
                </a:lnTo>
                <a:lnTo>
                  <a:pt x="84" y="0"/>
                </a:lnTo>
                <a:lnTo>
                  <a:pt x="78" y="0"/>
                </a:lnTo>
                <a:lnTo>
                  <a:pt x="72" y="0"/>
                </a:lnTo>
                <a:lnTo>
                  <a:pt x="68" y="6"/>
                </a:lnTo>
                <a:lnTo>
                  <a:pt x="65" y="9"/>
                </a:lnTo>
                <a:lnTo>
                  <a:pt x="65" y="12"/>
                </a:lnTo>
                <a:lnTo>
                  <a:pt x="59" y="6"/>
                </a:lnTo>
                <a:lnTo>
                  <a:pt x="53" y="12"/>
                </a:lnTo>
                <a:lnTo>
                  <a:pt x="47" y="12"/>
                </a:lnTo>
                <a:lnTo>
                  <a:pt x="47" y="15"/>
                </a:lnTo>
                <a:lnTo>
                  <a:pt x="37" y="18"/>
                </a:lnTo>
                <a:lnTo>
                  <a:pt x="28" y="18"/>
                </a:lnTo>
                <a:lnTo>
                  <a:pt x="22" y="18"/>
                </a:lnTo>
                <a:lnTo>
                  <a:pt x="9" y="12"/>
                </a:lnTo>
                <a:lnTo>
                  <a:pt x="9" y="12"/>
                </a:lnTo>
                <a:lnTo>
                  <a:pt x="9" y="18"/>
                </a:lnTo>
                <a:lnTo>
                  <a:pt x="9" y="22"/>
                </a:lnTo>
                <a:lnTo>
                  <a:pt x="0" y="22"/>
                </a:lnTo>
                <a:lnTo>
                  <a:pt x="0" y="25"/>
                </a:lnTo>
                <a:lnTo>
                  <a:pt x="3" y="28"/>
                </a:lnTo>
                <a:lnTo>
                  <a:pt x="3" y="31"/>
                </a:lnTo>
                <a:lnTo>
                  <a:pt x="3" y="34"/>
                </a:lnTo>
                <a:lnTo>
                  <a:pt x="3" y="40"/>
                </a:lnTo>
                <a:lnTo>
                  <a:pt x="0" y="44"/>
                </a:lnTo>
                <a:lnTo>
                  <a:pt x="0" y="44"/>
                </a:lnTo>
                <a:lnTo>
                  <a:pt x="6" y="50"/>
                </a:lnTo>
                <a:lnTo>
                  <a:pt x="6" y="56"/>
                </a:lnTo>
                <a:lnTo>
                  <a:pt x="9" y="56"/>
                </a:lnTo>
                <a:lnTo>
                  <a:pt x="15" y="62"/>
                </a:lnTo>
                <a:lnTo>
                  <a:pt x="22" y="65"/>
                </a:lnTo>
                <a:lnTo>
                  <a:pt x="25" y="69"/>
                </a:lnTo>
                <a:lnTo>
                  <a:pt x="34" y="69"/>
                </a:lnTo>
                <a:lnTo>
                  <a:pt x="40" y="72"/>
                </a:lnTo>
                <a:lnTo>
                  <a:pt x="43" y="69"/>
                </a:lnTo>
                <a:lnTo>
                  <a:pt x="47" y="69"/>
                </a:lnTo>
                <a:lnTo>
                  <a:pt x="50" y="65"/>
                </a:lnTo>
                <a:lnTo>
                  <a:pt x="53" y="65"/>
                </a:lnTo>
                <a:lnTo>
                  <a:pt x="56" y="65"/>
                </a:lnTo>
                <a:lnTo>
                  <a:pt x="59" y="62"/>
                </a:lnTo>
                <a:lnTo>
                  <a:pt x="62" y="59"/>
                </a:lnTo>
                <a:lnTo>
                  <a:pt x="65" y="59"/>
                </a:lnTo>
                <a:lnTo>
                  <a:pt x="72" y="59"/>
                </a:lnTo>
                <a:lnTo>
                  <a:pt x="72" y="62"/>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6" name="Freeform 54">
            <a:extLst>
              <a:ext uri="{FF2B5EF4-FFF2-40B4-BE49-F238E27FC236}">
                <a16:creationId xmlns:a16="http://schemas.microsoft.com/office/drawing/2014/main" id="{B3F79F7F-C229-21C0-753A-FF664F1631B9}"/>
              </a:ext>
            </a:extLst>
          </p:cNvPr>
          <p:cNvSpPr>
            <a:spLocks/>
          </p:cNvSpPr>
          <p:nvPr userDrawn="1"/>
        </p:nvSpPr>
        <p:spPr bwMode="auto">
          <a:xfrm>
            <a:off x="14121479" y="6000032"/>
            <a:ext cx="307956" cy="127000"/>
          </a:xfrm>
          <a:custGeom>
            <a:avLst/>
            <a:gdLst>
              <a:gd name="T0" fmla="*/ 0 w 97"/>
              <a:gd name="T1" fmla="*/ 34 h 40"/>
              <a:gd name="T2" fmla="*/ 13 w 97"/>
              <a:gd name="T3" fmla="*/ 40 h 40"/>
              <a:gd name="T4" fmla="*/ 19 w 97"/>
              <a:gd name="T5" fmla="*/ 40 h 40"/>
              <a:gd name="T6" fmla="*/ 28 w 97"/>
              <a:gd name="T7" fmla="*/ 40 h 40"/>
              <a:gd name="T8" fmla="*/ 38 w 97"/>
              <a:gd name="T9" fmla="*/ 37 h 40"/>
              <a:gd name="T10" fmla="*/ 38 w 97"/>
              <a:gd name="T11" fmla="*/ 34 h 40"/>
              <a:gd name="T12" fmla="*/ 44 w 97"/>
              <a:gd name="T13" fmla="*/ 34 h 40"/>
              <a:gd name="T14" fmla="*/ 50 w 97"/>
              <a:gd name="T15" fmla="*/ 28 h 40"/>
              <a:gd name="T16" fmla="*/ 56 w 97"/>
              <a:gd name="T17" fmla="*/ 34 h 40"/>
              <a:gd name="T18" fmla="*/ 56 w 97"/>
              <a:gd name="T19" fmla="*/ 31 h 40"/>
              <a:gd name="T20" fmla="*/ 59 w 97"/>
              <a:gd name="T21" fmla="*/ 28 h 40"/>
              <a:gd name="T22" fmla="*/ 63 w 97"/>
              <a:gd name="T23" fmla="*/ 22 h 40"/>
              <a:gd name="T24" fmla="*/ 69 w 97"/>
              <a:gd name="T25" fmla="*/ 22 h 40"/>
              <a:gd name="T26" fmla="*/ 75 w 97"/>
              <a:gd name="T27" fmla="*/ 22 h 40"/>
              <a:gd name="T28" fmla="*/ 81 w 97"/>
              <a:gd name="T29" fmla="*/ 22 h 40"/>
              <a:gd name="T30" fmla="*/ 88 w 97"/>
              <a:gd name="T31" fmla="*/ 25 h 40"/>
              <a:gd name="T32" fmla="*/ 94 w 97"/>
              <a:gd name="T33" fmla="*/ 19 h 40"/>
              <a:gd name="T34" fmla="*/ 94 w 97"/>
              <a:gd name="T35" fmla="*/ 12 h 40"/>
              <a:gd name="T36" fmla="*/ 97 w 97"/>
              <a:gd name="T37" fmla="*/ 6 h 40"/>
              <a:gd name="T38" fmla="*/ 97 w 97"/>
              <a:gd name="T39" fmla="*/ 6 h 40"/>
              <a:gd name="T40" fmla="*/ 88 w 97"/>
              <a:gd name="T41" fmla="*/ 0 h 40"/>
              <a:gd name="T42" fmla="*/ 81 w 97"/>
              <a:gd name="T43" fmla="*/ 0 h 40"/>
              <a:gd name="T44" fmla="*/ 78 w 97"/>
              <a:gd name="T45" fmla="*/ 0 h 40"/>
              <a:gd name="T46" fmla="*/ 75 w 97"/>
              <a:gd name="T47" fmla="*/ 0 h 40"/>
              <a:gd name="T48" fmla="*/ 72 w 97"/>
              <a:gd name="T49" fmla="*/ 0 h 40"/>
              <a:gd name="T50" fmla="*/ 72 w 97"/>
              <a:gd name="T51" fmla="*/ 3 h 40"/>
              <a:gd name="T52" fmla="*/ 69 w 97"/>
              <a:gd name="T53" fmla="*/ 0 h 40"/>
              <a:gd name="T54" fmla="*/ 63 w 97"/>
              <a:gd name="T55" fmla="*/ 0 h 40"/>
              <a:gd name="T56" fmla="*/ 59 w 97"/>
              <a:gd name="T57" fmla="*/ 0 h 40"/>
              <a:gd name="T58" fmla="*/ 56 w 97"/>
              <a:gd name="T59" fmla="*/ 0 h 40"/>
              <a:gd name="T60" fmla="*/ 53 w 97"/>
              <a:gd name="T61" fmla="*/ 6 h 40"/>
              <a:gd name="T62" fmla="*/ 50 w 97"/>
              <a:gd name="T63" fmla="*/ 6 h 40"/>
              <a:gd name="T64" fmla="*/ 50 w 97"/>
              <a:gd name="T65" fmla="*/ 3 h 40"/>
              <a:gd name="T66" fmla="*/ 50 w 97"/>
              <a:gd name="T67" fmla="*/ 3 h 40"/>
              <a:gd name="T68" fmla="*/ 41 w 97"/>
              <a:gd name="T69" fmla="*/ 3 h 40"/>
              <a:gd name="T70" fmla="*/ 38 w 97"/>
              <a:gd name="T71" fmla="*/ 6 h 40"/>
              <a:gd name="T72" fmla="*/ 31 w 97"/>
              <a:gd name="T73" fmla="*/ 9 h 40"/>
              <a:gd name="T74" fmla="*/ 25 w 97"/>
              <a:gd name="T75" fmla="*/ 12 h 40"/>
              <a:gd name="T76" fmla="*/ 19 w 97"/>
              <a:gd name="T77" fmla="*/ 15 h 40"/>
              <a:gd name="T78" fmla="*/ 13 w 97"/>
              <a:gd name="T79" fmla="*/ 19 h 40"/>
              <a:gd name="T80" fmla="*/ 9 w 97"/>
              <a:gd name="T81" fmla="*/ 15 h 40"/>
              <a:gd name="T82" fmla="*/ 6 w 97"/>
              <a:gd name="T83" fmla="*/ 15 h 40"/>
              <a:gd name="T84" fmla="*/ 0 w 97"/>
              <a:gd name="T85" fmla="*/ 19 h 40"/>
              <a:gd name="T86" fmla="*/ 0 w 97"/>
              <a:gd name="T87" fmla="*/ 19 h 40"/>
              <a:gd name="T88" fmla="*/ 0 w 97"/>
              <a:gd name="T89" fmla="*/ 25 h 40"/>
              <a:gd name="T90" fmla="*/ 0 w 97"/>
              <a:gd name="T91" fmla="*/ 3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40">
                <a:moveTo>
                  <a:pt x="0" y="34"/>
                </a:moveTo>
                <a:lnTo>
                  <a:pt x="13" y="40"/>
                </a:lnTo>
                <a:lnTo>
                  <a:pt x="19" y="40"/>
                </a:lnTo>
                <a:lnTo>
                  <a:pt x="28" y="40"/>
                </a:lnTo>
                <a:lnTo>
                  <a:pt x="38" y="37"/>
                </a:lnTo>
                <a:lnTo>
                  <a:pt x="38" y="34"/>
                </a:lnTo>
                <a:lnTo>
                  <a:pt x="44" y="34"/>
                </a:lnTo>
                <a:lnTo>
                  <a:pt x="50" y="28"/>
                </a:lnTo>
                <a:lnTo>
                  <a:pt x="56" y="34"/>
                </a:lnTo>
                <a:lnTo>
                  <a:pt x="56" y="31"/>
                </a:lnTo>
                <a:lnTo>
                  <a:pt x="59" y="28"/>
                </a:lnTo>
                <a:lnTo>
                  <a:pt x="63" y="22"/>
                </a:lnTo>
                <a:lnTo>
                  <a:pt x="69" y="22"/>
                </a:lnTo>
                <a:lnTo>
                  <a:pt x="75" y="22"/>
                </a:lnTo>
                <a:lnTo>
                  <a:pt x="81" y="22"/>
                </a:lnTo>
                <a:lnTo>
                  <a:pt x="88" y="25"/>
                </a:lnTo>
                <a:lnTo>
                  <a:pt x="94" y="19"/>
                </a:lnTo>
                <a:lnTo>
                  <a:pt x="94" y="12"/>
                </a:lnTo>
                <a:lnTo>
                  <a:pt x="97" y="6"/>
                </a:lnTo>
                <a:lnTo>
                  <a:pt x="97" y="6"/>
                </a:lnTo>
                <a:lnTo>
                  <a:pt x="88" y="0"/>
                </a:lnTo>
                <a:lnTo>
                  <a:pt x="81" y="0"/>
                </a:lnTo>
                <a:lnTo>
                  <a:pt x="78" y="0"/>
                </a:lnTo>
                <a:lnTo>
                  <a:pt x="75" y="0"/>
                </a:lnTo>
                <a:lnTo>
                  <a:pt x="72" y="0"/>
                </a:lnTo>
                <a:lnTo>
                  <a:pt x="72" y="3"/>
                </a:lnTo>
                <a:lnTo>
                  <a:pt x="69" y="0"/>
                </a:lnTo>
                <a:lnTo>
                  <a:pt x="63" y="0"/>
                </a:lnTo>
                <a:lnTo>
                  <a:pt x="59" y="0"/>
                </a:lnTo>
                <a:lnTo>
                  <a:pt x="56" y="0"/>
                </a:lnTo>
                <a:lnTo>
                  <a:pt x="53" y="6"/>
                </a:lnTo>
                <a:lnTo>
                  <a:pt x="50" y="6"/>
                </a:lnTo>
                <a:lnTo>
                  <a:pt x="50" y="3"/>
                </a:lnTo>
                <a:lnTo>
                  <a:pt x="50" y="3"/>
                </a:lnTo>
                <a:lnTo>
                  <a:pt x="41" y="3"/>
                </a:lnTo>
                <a:lnTo>
                  <a:pt x="38" y="6"/>
                </a:lnTo>
                <a:lnTo>
                  <a:pt x="31" y="9"/>
                </a:lnTo>
                <a:lnTo>
                  <a:pt x="25" y="12"/>
                </a:lnTo>
                <a:lnTo>
                  <a:pt x="19" y="15"/>
                </a:lnTo>
                <a:lnTo>
                  <a:pt x="13" y="19"/>
                </a:lnTo>
                <a:lnTo>
                  <a:pt x="9" y="15"/>
                </a:lnTo>
                <a:lnTo>
                  <a:pt x="6" y="15"/>
                </a:lnTo>
                <a:lnTo>
                  <a:pt x="0" y="19"/>
                </a:lnTo>
                <a:lnTo>
                  <a:pt x="0" y="19"/>
                </a:lnTo>
                <a:lnTo>
                  <a:pt x="0" y="25"/>
                </a:lnTo>
                <a:lnTo>
                  <a:pt x="0" y="3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7" name="Freeform 55">
            <a:extLst>
              <a:ext uri="{FF2B5EF4-FFF2-40B4-BE49-F238E27FC236}">
                <a16:creationId xmlns:a16="http://schemas.microsoft.com/office/drawing/2014/main" id="{6283180F-B03D-B8B6-D208-8180118EE81A}"/>
              </a:ext>
            </a:extLst>
          </p:cNvPr>
          <p:cNvSpPr>
            <a:spLocks/>
          </p:cNvSpPr>
          <p:nvPr userDrawn="1"/>
        </p:nvSpPr>
        <p:spPr bwMode="auto">
          <a:xfrm>
            <a:off x="14458008" y="6396908"/>
            <a:ext cx="368278" cy="228600"/>
          </a:xfrm>
          <a:custGeom>
            <a:avLst/>
            <a:gdLst>
              <a:gd name="T0" fmla="*/ 10 w 116"/>
              <a:gd name="T1" fmla="*/ 3 h 72"/>
              <a:gd name="T2" fmla="*/ 10 w 116"/>
              <a:gd name="T3" fmla="*/ 6 h 72"/>
              <a:gd name="T4" fmla="*/ 13 w 116"/>
              <a:gd name="T5" fmla="*/ 12 h 72"/>
              <a:gd name="T6" fmla="*/ 22 w 116"/>
              <a:gd name="T7" fmla="*/ 9 h 72"/>
              <a:gd name="T8" fmla="*/ 25 w 116"/>
              <a:gd name="T9" fmla="*/ 12 h 72"/>
              <a:gd name="T10" fmla="*/ 38 w 116"/>
              <a:gd name="T11" fmla="*/ 12 h 72"/>
              <a:gd name="T12" fmla="*/ 44 w 116"/>
              <a:gd name="T13" fmla="*/ 9 h 72"/>
              <a:gd name="T14" fmla="*/ 53 w 116"/>
              <a:gd name="T15" fmla="*/ 12 h 72"/>
              <a:gd name="T16" fmla="*/ 63 w 116"/>
              <a:gd name="T17" fmla="*/ 12 h 72"/>
              <a:gd name="T18" fmla="*/ 69 w 116"/>
              <a:gd name="T19" fmla="*/ 6 h 72"/>
              <a:gd name="T20" fmla="*/ 85 w 116"/>
              <a:gd name="T21" fmla="*/ 0 h 72"/>
              <a:gd name="T22" fmla="*/ 97 w 116"/>
              <a:gd name="T23" fmla="*/ 3 h 72"/>
              <a:gd name="T24" fmla="*/ 103 w 116"/>
              <a:gd name="T25" fmla="*/ 6 h 72"/>
              <a:gd name="T26" fmla="*/ 110 w 116"/>
              <a:gd name="T27" fmla="*/ 9 h 72"/>
              <a:gd name="T28" fmla="*/ 116 w 116"/>
              <a:gd name="T29" fmla="*/ 9 h 72"/>
              <a:gd name="T30" fmla="*/ 113 w 116"/>
              <a:gd name="T31" fmla="*/ 19 h 72"/>
              <a:gd name="T32" fmla="*/ 103 w 116"/>
              <a:gd name="T33" fmla="*/ 25 h 72"/>
              <a:gd name="T34" fmla="*/ 103 w 116"/>
              <a:gd name="T35" fmla="*/ 38 h 72"/>
              <a:gd name="T36" fmla="*/ 97 w 116"/>
              <a:gd name="T37" fmla="*/ 44 h 72"/>
              <a:gd name="T38" fmla="*/ 103 w 116"/>
              <a:gd name="T39" fmla="*/ 50 h 72"/>
              <a:gd name="T40" fmla="*/ 107 w 116"/>
              <a:gd name="T41" fmla="*/ 53 h 72"/>
              <a:gd name="T42" fmla="*/ 100 w 116"/>
              <a:gd name="T43" fmla="*/ 56 h 72"/>
              <a:gd name="T44" fmla="*/ 88 w 116"/>
              <a:gd name="T45" fmla="*/ 50 h 72"/>
              <a:gd name="T46" fmla="*/ 85 w 116"/>
              <a:gd name="T47" fmla="*/ 53 h 72"/>
              <a:gd name="T48" fmla="*/ 82 w 116"/>
              <a:gd name="T49" fmla="*/ 56 h 72"/>
              <a:gd name="T50" fmla="*/ 72 w 116"/>
              <a:gd name="T51" fmla="*/ 63 h 72"/>
              <a:gd name="T52" fmla="*/ 75 w 116"/>
              <a:gd name="T53" fmla="*/ 69 h 72"/>
              <a:gd name="T54" fmla="*/ 63 w 116"/>
              <a:gd name="T55" fmla="*/ 72 h 72"/>
              <a:gd name="T56" fmla="*/ 57 w 116"/>
              <a:gd name="T57" fmla="*/ 72 h 72"/>
              <a:gd name="T58" fmla="*/ 50 w 116"/>
              <a:gd name="T59" fmla="*/ 72 h 72"/>
              <a:gd name="T60" fmla="*/ 47 w 116"/>
              <a:gd name="T61" fmla="*/ 69 h 72"/>
              <a:gd name="T62" fmla="*/ 35 w 116"/>
              <a:gd name="T63" fmla="*/ 69 h 72"/>
              <a:gd name="T64" fmla="*/ 28 w 116"/>
              <a:gd name="T65" fmla="*/ 72 h 72"/>
              <a:gd name="T66" fmla="*/ 19 w 116"/>
              <a:gd name="T67" fmla="*/ 72 h 72"/>
              <a:gd name="T68" fmla="*/ 19 w 116"/>
              <a:gd name="T69" fmla="*/ 69 h 72"/>
              <a:gd name="T70" fmla="*/ 13 w 116"/>
              <a:gd name="T71" fmla="*/ 53 h 72"/>
              <a:gd name="T72" fmla="*/ 3 w 116"/>
              <a:gd name="T73" fmla="*/ 47 h 72"/>
              <a:gd name="T74" fmla="*/ 3 w 116"/>
              <a:gd name="T75" fmla="*/ 41 h 72"/>
              <a:gd name="T76" fmla="*/ 10 w 116"/>
              <a:gd name="T77" fmla="*/ 31 h 72"/>
              <a:gd name="T78" fmla="*/ 10 w 116"/>
              <a:gd name="T79" fmla="*/ 22 h 72"/>
              <a:gd name="T80" fmla="*/ 0 w 116"/>
              <a:gd name="T81" fmla="*/ 9 h 72"/>
              <a:gd name="T82" fmla="*/ 3 w 116"/>
              <a:gd name="T83"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6" h="72">
                <a:moveTo>
                  <a:pt x="3" y="0"/>
                </a:moveTo>
                <a:lnTo>
                  <a:pt x="10" y="3"/>
                </a:lnTo>
                <a:lnTo>
                  <a:pt x="10" y="3"/>
                </a:lnTo>
                <a:lnTo>
                  <a:pt x="10" y="6"/>
                </a:lnTo>
                <a:lnTo>
                  <a:pt x="10" y="9"/>
                </a:lnTo>
                <a:lnTo>
                  <a:pt x="13" y="12"/>
                </a:lnTo>
                <a:lnTo>
                  <a:pt x="16" y="9"/>
                </a:lnTo>
                <a:lnTo>
                  <a:pt x="22" y="9"/>
                </a:lnTo>
                <a:lnTo>
                  <a:pt x="22" y="12"/>
                </a:lnTo>
                <a:lnTo>
                  <a:pt x="25" y="12"/>
                </a:lnTo>
                <a:lnTo>
                  <a:pt x="32" y="12"/>
                </a:lnTo>
                <a:lnTo>
                  <a:pt x="38" y="12"/>
                </a:lnTo>
                <a:lnTo>
                  <a:pt x="41" y="12"/>
                </a:lnTo>
                <a:lnTo>
                  <a:pt x="44" y="9"/>
                </a:lnTo>
                <a:lnTo>
                  <a:pt x="50" y="12"/>
                </a:lnTo>
                <a:lnTo>
                  <a:pt x="53" y="12"/>
                </a:lnTo>
                <a:lnTo>
                  <a:pt x="60" y="12"/>
                </a:lnTo>
                <a:lnTo>
                  <a:pt x="63" y="12"/>
                </a:lnTo>
                <a:lnTo>
                  <a:pt x="66" y="9"/>
                </a:lnTo>
                <a:lnTo>
                  <a:pt x="69" y="6"/>
                </a:lnTo>
                <a:lnTo>
                  <a:pt x="82" y="3"/>
                </a:lnTo>
                <a:lnTo>
                  <a:pt x="85" y="0"/>
                </a:lnTo>
                <a:lnTo>
                  <a:pt x="91" y="0"/>
                </a:lnTo>
                <a:lnTo>
                  <a:pt x="97" y="3"/>
                </a:lnTo>
                <a:lnTo>
                  <a:pt x="100" y="6"/>
                </a:lnTo>
                <a:lnTo>
                  <a:pt x="103" y="6"/>
                </a:lnTo>
                <a:lnTo>
                  <a:pt x="110" y="6"/>
                </a:lnTo>
                <a:lnTo>
                  <a:pt x="110" y="9"/>
                </a:lnTo>
                <a:lnTo>
                  <a:pt x="116" y="9"/>
                </a:lnTo>
                <a:lnTo>
                  <a:pt x="116" y="9"/>
                </a:lnTo>
                <a:lnTo>
                  <a:pt x="113" y="19"/>
                </a:lnTo>
                <a:lnTo>
                  <a:pt x="113" y="19"/>
                </a:lnTo>
                <a:lnTo>
                  <a:pt x="107" y="19"/>
                </a:lnTo>
                <a:lnTo>
                  <a:pt x="103" y="25"/>
                </a:lnTo>
                <a:lnTo>
                  <a:pt x="103" y="34"/>
                </a:lnTo>
                <a:lnTo>
                  <a:pt x="103" y="38"/>
                </a:lnTo>
                <a:lnTo>
                  <a:pt x="97" y="41"/>
                </a:lnTo>
                <a:lnTo>
                  <a:pt x="97" y="44"/>
                </a:lnTo>
                <a:lnTo>
                  <a:pt x="100" y="44"/>
                </a:lnTo>
                <a:lnTo>
                  <a:pt x="103" y="50"/>
                </a:lnTo>
                <a:lnTo>
                  <a:pt x="107" y="53"/>
                </a:lnTo>
                <a:lnTo>
                  <a:pt x="107" y="53"/>
                </a:lnTo>
                <a:lnTo>
                  <a:pt x="103" y="53"/>
                </a:lnTo>
                <a:lnTo>
                  <a:pt x="100" y="56"/>
                </a:lnTo>
                <a:lnTo>
                  <a:pt x="94" y="50"/>
                </a:lnTo>
                <a:lnTo>
                  <a:pt x="88" y="50"/>
                </a:lnTo>
                <a:lnTo>
                  <a:pt x="88" y="53"/>
                </a:lnTo>
                <a:lnTo>
                  <a:pt x="85" y="53"/>
                </a:lnTo>
                <a:lnTo>
                  <a:pt x="82" y="56"/>
                </a:lnTo>
                <a:lnTo>
                  <a:pt x="82" y="56"/>
                </a:lnTo>
                <a:lnTo>
                  <a:pt x="78" y="56"/>
                </a:lnTo>
                <a:lnTo>
                  <a:pt x="72" y="63"/>
                </a:lnTo>
                <a:lnTo>
                  <a:pt x="72" y="66"/>
                </a:lnTo>
                <a:lnTo>
                  <a:pt x="75" y="69"/>
                </a:lnTo>
                <a:lnTo>
                  <a:pt x="72" y="72"/>
                </a:lnTo>
                <a:lnTo>
                  <a:pt x="63" y="72"/>
                </a:lnTo>
                <a:lnTo>
                  <a:pt x="60" y="72"/>
                </a:lnTo>
                <a:lnTo>
                  <a:pt x="57" y="72"/>
                </a:lnTo>
                <a:lnTo>
                  <a:pt x="53" y="72"/>
                </a:lnTo>
                <a:lnTo>
                  <a:pt x="50" y="72"/>
                </a:lnTo>
                <a:lnTo>
                  <a:pt x="47" y="72"/>
                </a:lnTo>
                <a:lnTo>
                  <a:pt x="47" y="69"/>
                </a:lnTo>
                <a:lnTo>
                  <a:pt x="41" y="69"/>
                </a:lnTo>
                <a:lnTo>
                  <a:pt x="35" y="69"/>
                </a:lnTo>
                <a:lnTo>
                  <a:pt x="32" y="72"/>
                </a:lnTo>
                <a:lnTo>
                  <a:pt x="28" y="72"/>
                </a:lnTo>
                <a:lnTo>
                  <a:pt x="22" y="72"/>
                </a:lnTo>
                <a:lnTo>
                  <a:pt x="19" y="72"/>
                </a:lnTo>
                <a:lnTo>
                  <a:pt x="19" y="72"/>
                </a:lnTo>
                <a:lnTo>
                  <a:pt x="19" y="69"/>
                </a:lnTo>
                <a:lnTo>
                  <a:pt x="19" y="63"/>
                </a:lnTo>
                <a:lnTo>
                  <a:pt x="13" y="53"/>
                </a:lnTo>
                <a:lnTo>
                  <a:pt x="3" y="47"/>
                </a:lnTo>
                <a:lnTo>
                  <a:pt x="3" y="47"/>
                </a:lnTo>
                <a:lnTo>
                  <a:pt x="7" y="44"/>
                </a:lnTo>
                <a:lnTo>
                  <a:pt x="3" y="41"/>
                </a:lnTo>
                <a:lnTo>
                  <a:pt x="3" y="38"/>
                </a:lnTo>
                <a:lnTo>
                  <a:pt x="10" y="31"/>
                </a:lnTo>
                <a:lnTo>
                  <a:pt x="13" y="28"/>
                </a:lnTo>
                <a:lnTo>
                  <a:pt x="10" y="22"/>
                </a:lnTo>
                <a:lnTo>
                  <a:pt x="3" y="16"/>
                </a:lnTo>
                <a:lnTo>
                  <a:pt x="0" y="9"/>
                </a:lnTo>
                <a:lnTo>
                  <a:pt x="3" y="6"/>
                </a:lnTo>
                <a:lnTo>
                  <a:pt x="3"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8" name="Freeform 56">
            <a:extLst>
              <a:ext uri="{FF2B5EF4-FFF2-40B4-BE49-F238E27FC236}">
                <a16:creationId xmlns:a16="http://schemas.microsoft.com/office/drawing/2014/main" id="{0C21C5A5-0BFD-47A6-7CA9-70A9477BAF06}"/>
              </a:ext>
            </a:extLst>
          </p:cNvPr>
          <p:cNvSpPr>
            <a:spLocks/>
          </p:cNvSpPr>
          <p:nvPr userDrawn="1"/>
        </p:nvSpPr>
        <p:spPr bwMode="auto">
          <a:xfrm>
            <a:off x="14359590" y="6546130"/>
            <a:ext cx="158740" cy="130176"/>
          </a:xfrm>
          <a:custGeom>
            <a:avLst/>
            <a:gdLst>
              <a:gd name="T0" fmla="*/ 34 w 50"/>
              <a:gd name="T1" fmla="*/ 0 h 41"/>
              <a:gd name="T2" fmla="*/ 44 w 50"/>
              <a:gd name="T3" fmla="*/ 6 h 41"/>
              <a:gd name="T4" fmla="*/ 50 w 50"/>
              <a:gd name="T5" fmla="*/ 16 h 41"/>
              <a:gd name="T6" fmla="*/ 50 w 50"/>
              <a:gd name="T7" fmla="*/ 22 h 41"/>
              <a:gd name="T8" fmla="*/ 50 w 50"/>
              <a:gd name="T9" fmla="*/ 25 h 41"/>
              <a:gd name="T10" fmla="*/ 47 w 50"/>
              <a:gd name="T11" fmla="*/ 28 h 41"/>
              <a:gd name="T12" fmla="*/ 44 w 50"/>
              <a:gd name="T13" fmla="*/ 28 h 41"/>
              <a:gd name="T14" fmla="*/ 41 w 50"/>
              <a:gd name="T15" fmla="*/ 31 h 41"/>
              <a:gd name="T16" fmla="*/ 31 w 50"/>
              <a:gd name="T17" fmla="*/ 31 h 41"/>
              <a:gd name="T18" fmla="*/ 25 w 50"/>
              <a:gd name="T19" fmla="*/ 31 h 41"/>
              <a:gd name="T20" fmla="*/ 25 w 50"/>
              <a:gd name="T21" fmla="*/ 34 h 41"/>
              <a:gd name="T22" fmla="*/ 19 w 50"/>
              <a:gd name="T23" fmla="*/ 34 h 41"/>
              <a:gd name="T24" fmla="*/ 13 w 50"/>
              <a:gd name="T25" fmla="*/ 41 h 41"/>
              <a:gd name="T26" fmla="*/ 13 w 50"/>
              <a:gd name="T27" fmla="*/ 41 h 41"/>
              <a:gd name="T28" fmla="*/ 9 w 50"/>
              <a:gd name="T29" fmla="*/ 37 h 41"/>
              <a:gd name="T30" fmla="*/ 6 w 50"/>
              <a:gd name="T31" fmla="*/ 34 h 41"/>
              <a:gd name="T32" fmla="*/ 3 w 50"/>
              <a:gd name="T33" fmla="*/ 28 h 41"/>
              <a:gd name="T34" fmla="*/ 0 w 50"/>
              <a:gd name="T35" fmla="*/ 22 h 41"/>
              <a:gd name="T36" fmla="*/ 3 w 50"/>
              <a:gd name="T37" fmla="*/ 12 h 41"/>
              <a:gd name="T38" fmla="*/ 3 w 50"/>
              <a:gd name="T39" fmla="*/ 16 h 41"/>
              <a:gd name="T40" fmla="*/ 3 w 50"/>
              <a:gd name="T41" fmla="*/ 12 h 41"/>
              <a:gd name="T42" fmla="*/ 3 w 50"/>
              <a:gd name="T43" fmla="*/ 9 h 41"/>
              <a:gd name="T44" fmla="*/ 9 w 50"/>
              <a:gd name="T45" fmla="*/ 6 h 41"/>
              <a:gd name="T46" fmla="*/ 13 w 50"/>
              <a:gd name="T47" fmla="*/ 6 h 41"/>
              <a:gd name="T48" fmla="*/ 16 w 50"/>
              <a:gd name="T49" fmla="*/ 3 h 41"/>
              <a:gd name="T50" fmla="*/ 25 w 50"/>
              <a:gd name="T51" fmla="*/ 3 h 41"/>
              <a:gd name="T52" fmla="*/ 28 w 50"/>
              <a:gd name="T53" fmla="*/ 3 h 41"/>
              <a:gd name="T54" fmla="*/ 31 w 50"/>
              <a:gd name="T55" fmla="*/ 0 h 41"/>
              <a:gd name="T56" fmla="*/ 34 w 50"/>
              <a:gd name="T5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1">
                <a:moveTo>
                  <a:pt x="34" y="0"/>
                </a:moveTo>
                <a:lnTo>
                  <a:pt x="44" y="6"/>
                </a:lnTo>
                <a:lnTo>
                  <a:pt x="50" y="16"/>
                </a:lnTo>
                <a:lnTo>
                  <a:pt x="50" y="22"/>
                </a:lnTo>
                <a:lnTo>
                  <a:pt x="50" y="25"/>
                </a:lnTo>
                <a:lnTo>
                  <a:pt x="47" y="28"/>
                </a:lnTo>
                <a:lnTo>
                  <a:pt x="44" y="28"/>
                </a:lnTo>
                <a:lnTo>
                  <a:pt x="41" y="31"/>
                </a:lnTo>
                <a:lnTo>
                  <a:pt x="31" y="31"/>
                </a:lnTo>
                <a:lnTo>
                  <a:pt x="25" y="31"/>
                </a:lnTo>
                <a:lnTo>
                  <a:pt x="25" y="34"/>
                </a:lnTo>
                <a:lnTo>
                  <a:pt x="19" y="34"/>
                </a:lnTo>
                <a:lnTo>
                  <a:pt x="13" y="41"/>
                </a:lnTo>
                <a:lnTo>
                  <a:pt x="13" y="41"/>
                </a:lnTo>
                <a:lnTo>
                  <a:pt x="9" y="37"/>
                </a:lnTo>
                <a:lnTo>
                  <a:pt x="6" y="34"/>
                </a:lnTo>
                <a:lnTo>
                  <a:pt x="3" y="28"/>
                </a:lnTo>
                <a:lnTo>
                  <a:pt x="0" y="22"/>
                </a:lnTo>
                <a:lnTo>
                  <a:pt x="3" y="12"/>
                </a:lnTo>
                <a:lnTo>
                  <a:pt x="3" y="16"/>
                </a:lnTo>
                <a:lnTo>
                  <a:pt x="3" y="12"/>
                </a:lnTo>
                <a:lnTo>
                  <a:pt x="3" y="9"/>
                </a:lnTo>
                <a:lnTo>
                  <a:pt x="9" y="6"/>
                </a:lnTo>
                <a:lnTo>
                  <a:pt x="13" y="6"/>
                </a:lnTo>
                <a:lnTo>
                  <a:pt x="16" y="3"/>
                </a:lnTo>
                <a:lnTo>
                  <a:pt x="25" y="3"/>
                </a:lnTo>
                <a:lnTo>
                  <a:pt x="28" y="3"/>
                </a:lnTo>
                <a:lnTo>
                  <a:pt x="31" y="0"/>
                </a:lnTo>
                <a:lnTo>
                  <a:pt x="34"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9" name="Freeform 57">
            <a:extLst>
              <a:ext uri="{FF2B5EF4-FFF2-40B4-BE49-F238E27FC236}">
                <a16:creationId xmlns:a16="http://schemas.microsoft.com/office/drawing/2014/main" id="{D0EE23B8-A6EA-FA9A-56A4-34888B259B72}"/>
              </a:ext>
            </a:extLst>
          </p:cNvPr>
          <p:cNvSpPr>
            <a:spLocks/>
          </p:cNvSpPr>
          <p:nvPr userDrawn="1"/>
        </p:nvSpPr>
        <p:spPr bwMode="auto">
          <a:xfrm>
            <a:off x="14280220" y="6527080"/>
            <a:ext cx="120642" cy="228600"/>
          </a:xfrm>
          <a:custGeom>
            <a:avLst/>
            <a:gdLst>
              <a:gd name="T0" fmla="*/ 28 w 38"/>
              <a:gd name="T1" fmla="*/ 18 h 72"/>
              <a:gd name="T2" fmla="*/ 25 w 38"/>
              <a:gd name="T3" fmla="*/ 28 h 72"/>
              <a:gd name="T4" fmla="*/ 28 w 38"/>
              <a:gd name="T5" fmla="*/ 34 h 72"/>
              <a:gd name="T6" fmla="*/ 31 w 38"/>
              <a:gd name="T7" fmla="*/ 40 h 72"/>
              <a:gd name="T8" fmla="*/ 34 w 38"/>
              <a:gd name="T9" fmla="*/ 43 h 72"/>
              <a:gd name="T10" fmla="*/ 38 w 38"/>
              <a:gd name="T11" fmla="*/ 47 h 72"/>
              <a:gd name="T12" fmla="*/ 38 w 38"/>
              <a:gd name="T13" fmla="*/ 53 h 72"/>
              <a:gd name="T14" fmla="*/ 34 w 38"/>
              <a:gd name="T15" fmla="*/ 59 h 72"/>
              <a:gd name="T16" fmla="*/ 25 w 38"/>
              <a:gd name="T17" fmla="*/ 59 h 72"/>
              <a:gd name="T18" fmla="*/ 25 w 38"/>
              <a:gd name="T19" fmla="*/ 65 h 72"/>
              <a:gd name="T20" fmla="*/ 22 w 38"/>
              <a:gd name="T21" fmla="*/ 72 h 72"/>
              <a:gd name="T22" fmla="*/ 19 w 38"/>
              <a:gd name="T23" fmla="*/ 72 h 72"/>
              <a:gd name="T24" fmla="*/ 16 w 38"/>
              <a:gd name="T25" fmla="*/ 68 h 72"/>
              <a:gd name="T26" fmla="*/ 13 w 38"/>
              <a:gd name="T27" fmla="*/ 59 h 72"/>
              <a:gd name="T28" fmla="*/ 6 w 38"/>
              <a:gd name="T29" fmla="*/ 59 h 72"/>
              <a:gd name="T30" fmla="*/ 3 w 38"/>
              <a:gd name="T31" fmla="*/ 56 h 72"/>
              <a:gd name="T32" fmla="*/ 6 w 38"/>
              <a:gd name="T33" fmla="*/ 53 h 72"/>
              <a:gd name="T34" fmla="*/ 3 w 38"/>
              <a:gd name="T35" fmla="*/ 50 h 72"/>
              <a:gd name="T36" fmla="*/ 3 w 38"/>
              <a:gd name="T37" fmla="*/ 43 h 72"/>
              <a:gd name="T38" fmla="*/ 6 w 38"/>
              <a:gd name="T39" fmla="*/ 40 h 72"/>
              <a:gd name="T40" fmla="*/ 3 w 38"/>
              <a:gd name="T41" fmla="*/ 34 h 72"/>
              <a:gd name="T42" fmla="*/ 3 w 38"/>
              <a:gd name="T43" fmla="*/ 25 h 72"/>
              <a:gd name="T44" fmla="*/ 6 w 38"/>
              <a:gd name="T45" fmla="*/ 25 h 72"/>
              <a:gd name="T46" fmla="*/ 6 w 38"/>
              <a:gd name="T47" fmla="*/ 22 h 72"/>
              <a:gd name="T48" fmla="*/ 0 w 38"/>
              <a:gd name="T49" fmla="*/ 18 h 72"/>
              <a:gd name="T50" fmla="*/ 0 w 38"/>
              <a:gd name="T51" fmla="*/ 12 h 72"/>
              <a:gd name="T52" fmla="*/ 3 w 38"/>
              <a:gd name="T53" fmla="*/ 6 h 72"/>
              <a:gd name="T54" fmla="*/ 9 w 38"/>
              <a:gd name="T55" fmla="*/ 0 h 72"/>
              <a:gd name="T56" fmla="*/ 9 w 38"/>
              <a:gd name="T57" fmla="*/ 3 h 72"/>
              <a:gd name="T58" fmla="*/ 13 w 38"/>
              <a:gd name="T59" fmla="*/ 6 h 72"/>
              <a:gd name="T60" fmla="*/ 16 w 38"/>
              <a:gd name="T61" fmla="*/ 0 h 72"/>
              <a:gd name="T62" fmla="*/ 16 w 38"/>
              <a:gd name="T63" fmla="*/ 0 h 72"/>
              <a:gd name="T64" fmla="*/ 16 w 38"/>
              <a:gd name="T65" fmla="*/ 3 h 72"/>
              <a:gd name="T66" fmla="*/ 19 w 38"/>
              <a:gd name="T67" fmla="*/ 6 h 72"/>
              <a:gd name="T68" fmla="*/ 22 w 38"/>
              <a:gd name="T69" fmla="*/ 6 h 72"/>
              <a:gd name="T70" fmla="*/ 25 w 38"/>
              <a:gd name="T71" fmla="*/ 9 h 72"/>
              <a:gd name="T72" fmla="*/ 25 w 38"/>
              <a:gd name="T73" fmla="*/ 12 h 72"/>
              <a:gd name="T74" fmla="*/ 25 w 38"/>
              <a:gd name="T75" fmla="*/ 18 h 72"/>
              <a:gd name="T76" fmla="*/ 28 w 38"/>
              <a:gd name="T77" fmla="*/ 1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 h="72">
                <a:moveTo>
                  <a:pt x="28" y="18"/>
                </a:moveTo>
                <a:lnTo>
                  <a:pt x="25" y="28"/>
                </a:lnTo>
                <a:lnTo>
                  <a:pt x="28" y="34"/>
                </a:lnTo>
                <a:lnTo>
                  <a:pt x="31" y="40"/>
                </a:lnTo>
                <a:lnTo>
                  <a:pt x="34" y="43"/>
                </a:lnTo>
                <a:lnTo>
                  <a:pt x="38" y="47"/>
                </a:lnTo>
                <a:lnTo>
                  <a:pt x="38" y="53"/>
                </a:lnTo>
                <a:lnTo>
                  <a:pt x="34" y="59"/>
                </a:lnTo>
                <a:lnTo>
                  <a:pt x="25" y="59"/>
                </a:lnTo>
                <a:lnTo>
                  <a:pt x="25" y="65"/>
                </a:lnTo>
                <a:lnTo>
                  <a:pt x="22" y="72"/>
                </a:lnTo>
                <a:lnTo>
                  <a:pt x="19" y="72"/>
                </a:lnTo>
                <a:lnTo>
                  <a:pt x="16" y="68"/>
                </a:lnTo>
                <a:lnTo>
                  <a:pt x="13" y="59"/>
                </a:lnTo>
                <a:lnTo>
                  <a:pt x="6" y="59"/>
                </a:lnTo>
                <a:lnTo>
                  <a:pt x="3" y="56"/>
                </a:lnTo>
                <a:lnTo>
                  <a:pt x="6" y="53"/>
                </a:lnTo>
                <a:lnTo>
                  <a:pt x="3" y="50"/>
                </a:lnTo>
                <a:lnTo>
                  <a:pt x="3" y="43"/>
                </a:lnTo>
                <a:lnTo>
                  <a:pt x="6" y="40"/>
                </a:lnTo>
                <a:lnTo>
                  <a:pt x="3" y="34"/>
                </a:lnTo>
                <a:lnTo>
                  <a:pt x="3" y="25"/>
                </a:lnTo>
                <a:lnTo>
                  <a:pt x="6" y="25"/>
                </a:lnTo>
                <a:lnTo>
                  <a:pt x="6" y="22"/>
                </a:lnTo>
                <a:lnTo>
                  <a:pt x="0" y="18"/>
                </a:lnTo>
                <a:lnTo>
                  <a:pt x="0" y="12"/>
                </a:lnTo>
                <a:lnTo>
                  <a:pt x="3" y="6"/>
                </a:lnTo>
                <a:lnTo>
                  <a:pt x="9" y="0"/>
                </a:lnTo>
                <a:lnTo>
                  <a:pt x="9" y="3"/>
                </a:lnTo>
                <a:lnTo>
                  <a:pt x="13" y="6"/>
                </a:lnTo>
                <a:lnTo>
                  <a:pt x="16" y="0"/>
                </a:lnTo>
                <a:lnTo>
                  <a:pt x="16" y="0"/>
                </a:lnTo>
                <a:lnTo>
                  <a:pt x="16" y="3"/>
                </a:lnTo>
                <a:lnTo>
                  <a:pt x="19" y="6"/>
                </a:lnTo>
                <a:lnTo>
                  <a:pt x="22" y="6"/>
                </a:lnTo>
                <a:lnTo>
                  <a:pt x="25" y="9"/>
                </a:lnTo>
                <a:lnTo>
                  <a:pt x="25" y="12"/>
                </a:lnTo>
                <a:lnTo>
                  <a:pt x="25" y="18"/>
                </a:lnTo>
                <a:lnTo>
                  <a:pt x="28" y="18"/>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0" name="Freeform 58">
            <a:extLst>
              <a:ext uri="{FF2B5EF4-FFF2-40B4-BE49-F238E27FC236}">
                <a16:creationId xmlns:a16="http://schemas.microsoft.com/office/drawing/2014/main" id="{8051A9B8-277E-1527-9635-3324B81C21D7}"/>
              </a:ext>
            </a:extLst>
          </p:cNvPr>
          <p:cNvSpPr>
            <a:spLocks/>
          </p:cNvSpPr>
          <p:nvPr userDrawn="1"/>
        </p:nvSpPr>
        <p:spPr bwMode="auto">
          <a:xfrm>
            <a:off x="14242119" y="6257209"/>
            <a:ext cx="257159" cy="339726"/>
          </a:xfrm>
          <a:custGeom>
            <a:avLst/>
            <a:gdLst>
              <a:gd name="T0" fmla="*/ 3 w 81"/>
              <a:gd name="T1" fmla="*/ 6 h 107"/>
              <a:gd name="T2" fmla="*/ 9 w 81"/>
              <a:gd name="T3" fmla="*/ 6 h 107"/>
              <a:gd name="T4" fmla="*/ 15 w 81"/>
              <a:gd name="T5" fmla="*/ 0 h 107"/>
              <a:gd name="T6" fmla="*/ 25 w 81"/>
              <a:gd name="T7" fmla="*/ 0 h 107"/>
              <a:gd name="T8" fmla="*/ 31 w 81"/>
              <a:gd name="T9" fmla="*/ 6 h 107"/>
              <a:gd name="T10" fmla="*/ 37 w 81"/>
              <a:gd name="T11" fmla="*/ 16 h 107"/>
              <a:gd name="T12" fmla="*/ 50 w 81"/>
              <a:gd name="T13" fmla="*/ 25 h 107"/>
              <a:gd name="T14" fmla="*/ 46 w 81"/>
              <a:gd name="T15" fmla="*/ 31 h 107"/>
              <a:gd name="T16" fmla="*/ 56 w 81"/>
              <a:gd name="T17" fmla="*/ 35 h 107"/>
              <a:gd name="T18" fmla="*/ 62 w 81"/>
              <a:gd name="T19" fmla="*/ 38 h 107"/>
              <a:gd name="T20" fmla="*/ 71 w 81"/>
              <a:gd name="T21" fmla="*/ 35 h 107"/>
              <a:gd name="T22" fmla="*/ 71 w 81"/>
              <a:gd name="T23" fmla="*/ 41 h 107"/>
              <a:gd name="T24" fmla="*/ 68 w 81"/>
              <a:gd name="T25" fmla="*/ 53 h 107"/>
              <a:gd name="T26" fmla="*/ 78 w 81"/>
              <a:gd name="T27" fmla="*/ 66 h 107"/>
              <a:gd name="T28" fmla="*/ 78 w 81"/>
              <a:gd name="T29" fmla="*/ 75 h 107"/>
              <a:gd name="T30" fmla="*/ 71 w 81"/>
              <a:gd name="T31" fmla="*/ 85 h 107"/>
              <a:gd name="T32" fmla="*/ 71 w 81"/>
              <a:gd name="T33" fmla="*/ 91 h 107"/>
              <a:gd name="T34" fmla="*/ 65 w 81"/>
              <a:gd name="T35" fmla="*/ 94 h 107"/>
              <a:gd name="T36" fmla="*/ 53 w 81"/>
              <a:gd name="T37" fmla="*/ 94 h 107"/>
              <a:gd name="T38" fmla="*/ 46 w 81"/>
              <a:gd name="T39" fmla="*/ 97 h 107"/>
              <a:gd name="T40" fmla="*/ 40 w 81"/>
              <a:gd name="T41" fmla="*/ 103 h 107"/>
              <a:gd name="T42" fmla="*/ 37 w 81"/>
              <a:gd name="T43" fmla="*/ 103 h 107"/>
              <a:gd name="T44" fmla="*/ 37 w 81"/>
              <a:gd name="T45" fmla="*/ 94 h 107"/>
              <a:gd name="T46" fmla="*/ 31 w 81"/>
              <a:gd name="T47" fmla="*/ 91 h 107"/>
              <a:gd name="T48" fmla="*/ 28 w 81"/>
              <a:gd name="T49" fmla="*/ 85 h 107"/>
              <a:gd name="T50" fmla="*/ 31 w 81"/>
              <a:gd name="T51" fmla="*/ 82 h 107"/>
              <a:gd name="T52" fmla="*/ 25 w 81"/>
              <a:gd name="T53" fmla="*/ 75 h 107"/>
              <a:gd name="T54" fmla="*/ 18 w 81"/>
              <a:gd name="T55" fmla="*/ 72 h 107"/>
              <a:gd name="T56" fmla="*/ 15 w 81"/>
              <a:gd name="T57" fmla="*/ 69 h 107"/>
              <a:gd name="T58" fmla="*/ 12 w 81"/>
              <a:gd name="T59" fmla="*/ 63 h 107"/>
              <a:gd name="T60" fmla="*/ 9 w 81"/>
              <a:gd name="T61" fmla="*/ 53 h 107"/>
              <a:gd name="T62" fmla="*/ 15 w 81"/>
              <a:gd name="T63" fmla="*/ 53 h 107"/>
              <a:gd name="T64" fmla="*/ 12 w 81"/>
              <a:gd name="T65" fmla="*/ 50 h 107"/>
              <a:gd name="T66" fmla="*/ 6 w 81"/>
              <a:gd name="T67" fmla="*/ 44 h 107"/>
              <a:gd name="T68" fmla="*/ 9 w 81"/>
              <a:gd name="T69" fmla="*/ 35 h 107"/>
              <a:gd name="T70" fmla="*/ 6 w 81"/>
              <a:gd name="T71" fmla="*/ 31 h 107"/>
              <a:gd name="T72" fmla="*/ 3 w 81"/>
              <a:gd name="T73" fmla="*/ 31 h 107"/>
              <a:gd name="T74" fmla="*/ 9 w 81"/>
              <a:gd name="T75" fmla="*/ 25 h 107"/>
              <a:gd name="T76" fmla="*/ 9 w 81"/>
              <a:gd name="T77" fmla="*/ 25 h 107"/>
              <a:gd name="T78" fmla="*/ 3 w 81"/>
              <a:gd name="T79" fmla="*/ 22 h 107"/>
              <a:gd name="T80" fmla="*/ 0 w 81"/>
              <a:gd name="T81" fmla="*/ 1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07">
                <a:moveTo>
                  <a:pt x="0" y="10"/>
                </a:moveTo>
                <a:lnTo>
                  <a:pt x="3" y="6"/>
                </a:lnTo>
                <a:lnTo>
                  <a:pt x="6" y="6"/>
                </a:lnTo>
                <a:lnTo>
                  <a:pt x="9" y="6"/>
                </a:lnTo>
                <a:lnTo>
                  <a:pt x="12" y="3"/>
                </a:lnTo>
                <a:lnTo>
                  <a:pt x="15" y="0"/>
                </a:lnTo>
                <a:lnTo>
                  <a:pt x="18" y="0"/>
                </a:lnTo>
                <a:lnTo>
                  <a:pt x="25" y="0"/>
                </a:lnTo>
                <a:lnTo>
                  <a:pt x="31" y="3"/>
                </a:lnTo>
                <a:lnTo>
                  <a:pt x="31" y="6"/>
                </a:lnTo>
                <a:lnTo>
                  <a:pt x="37" y="13"/>
                </a:lnTo>
                <a:lnTo>
                  <a:pt x="37" y="16"/>
                </a:lnTo>
                <a:lnTo>
                  <a:pt x="43" y="19"/>
                </a:lnTo>
                <a:lnTo>
                  <a:pt x="50" y="25"/>
                </a:lnTo>
                <a:lnTo>
                  <a:pt x="46" y="28"/>
                </a:lnTo>
                <a:lnTo>
                  <a:pt x="46" y="31"/>
                </a:lnTo>
                <a:lnTo>
                  <a:pt x="53" y="31"/>
                </a:lnTo>
                <a:lnTo>
                  <a:pt x="56" y="35"/>
                </a:lnTo>
                <a:lnTo>
                  <a:pt x="59" y="35"/>
                </a:lnTo>
                <a:lnTo>
                  <a:pt x="62" y="38"/>
                </a:lnTo>
                <a:lnTo>
                  <a:pt x="65" y="31"/>
                </a:lnTo>
                <a:lnTo>
                  <a:pt x="71" y="35"/>
                </a:lnTo>
                <a:lnTo>
                  <a:pt x="68" y="38"/>
                </a:lnTo>
                <a:lnTo>
                  <a:pt x="71" y="41"/>
                </a:lnTo>
                <a:lnTo>
                  <a:pt x="71" y="50"/>
                </a:lnTo>
                <a:lnTo>
                  <a:pt x="68" y="53"/>
                </a:lnTo>
                <a:lnTo>
                  <a:pt x="71" y="60"/>
                </a:lnTo>
                <a:lnTo>
                  <a:pt x="78" y="66"/>
                </a:lnTo>
                <a:lnTo>
                  <a:pt x="81" y="72"/>
                </a:lnTo>
                <a:lnTo>
                  <a:pt x="78" y="75"/>
                </a:lnTo>
                <a:lnTo>
                  <a:pt x="71" y="82"/>
                </a:lnTo>
                <a:lnTo>
                  <a:pt x="71" y="85"/>
                </a:lnTo>
                <a:lnTo>
                  <a:pt x="75" y="88"/>
                </a:lnTo>
                <a:lnTo>
                  <a:pt x="71" y="91"/>
                </a:lnTo>
                <a:lnTo>
                  <a:pt x="68" y="91"/>
                </a:lnTo>
                <a:lnTo>
                  <a:pt x="65" y="94"/>
                </a:lnTo>
                <a:lnTo>
                  <a:pt x="62" y="94"/>
                </a:lnTo>
                <a:lnTo>
                  <a:pt x="53" y="94"/>
                </a:lnTo>
                <a:lnTo>
                  <a:pt x="50" y="97"/>
                </a:lnTo>
                <a:lnTo>
                  <a:pt x="46" y="97"/>
                </a:lnTo>
                <a:lnTo>
                  <a:pt x="40" y="100"/>
                </a:lnTo>
                <a:lnTo>
                  <a:pt x="40" y="103"/>
                </a:lnTo>
                <a:lnTo>
                  <a:pt x="40" y="107"/>
                </a:lnTo>
                <a:lnTo>
                  <a:pt x="37" y="103"/>
                </a:lnTo>
                <a:lnTo>
                  <a:pt x="37" y="97"/>
                </a:lnTo>
                <a:lnTo>
                  <a:pt x="37" y="94"/>
                </a:lnTo>
                <a:lnTo>
                  <a:pt x="34" y="91"/>
                </a:lnTo>
                <a:lnTo>
                  <a:pt x="31" y="91"/>
                </a:lnTo>
                <a:lnTo>
                  <a:pt x="28" y="88"/>
                </a:lnTo>
                <a:lnTo>
                  <a:pt x="28" y="85"/>
                </a:lnTo>
                <a:lnTo>
                  <a:pt x="28" y="85"/>
                </a:lnTo>
                <a:lnTo>
                  <a:pt x="31" y="82"/>
                </a:lnTo>
                <a:lnTo>
                  <a:pt x="31" y="75"/>
                </a:lnTo>
                <a:lnTo>
                  <a:pt x="25" y="75"/>
                </a:lnTo>
                <a:lnTo>
                  <a:pt x="21" y="72"/>
                </a:lnTo>
                <a:lnTo>
                  <a:pt x="18" y="72"/>
                </a:lnTo>
                <a:lnTo>
                  <a:pt x="15" y="72"/>
                </a:lnTo>
                <a:lnTo>
                  <a:pt x="15" y="69"/>
                </a:lnTo>
                <a:lnTo>
                  <a:pt x="12" y="63"/>
                </a:lnTo>
                <a:lnTo>
                  <a:pt x="12" y="63"/>
                </a:lnTo>
                <a:lnTo>
                  <a:pt x="9" y="56"/>
                </a:lnTo>
                <a:lnTo>
                  <a:pt x="9" y="53"/>
                </a:lnTo>
                <a:lnTo>
                  <a:pt x="12" y="50"/>
                </a:lnTo>
                <a:lnTo>
                  <a:pt x="15" y="53"/>
                </a:lnTo>
                <a:lnTo>
                  <a:pt x="15" y="50"/>
                </a:lnTo>
                <a:lnTo>
                  <a:pt x="12" y="50"/>
                </a:lnTo>
                <a:lnTo>
                  <a:pt x="12" y="47"/>
                </a:lnTo>
                <a:lnTo>
                  <a:pt x="6" y="44"/>
                </a:lnTo>
                <a:lnTo>
                  <a:pt x="6" y="41"/>
                </a:lnTo>
                <a:lnTo>
                  <a:pt x="9" y="35"/>
                </a:lnTo>
                <a:lnTo>
                  <a:pt x="9" y="31"/>
                </a:lnTo>
                <a:lnTo>
                  <a:pt x="6" y="31"/>
                </a:lnTo>
                <a:lnTo>
                  <a:pt x="6" y="31"/>
                </a:lnTo>
                <a:lnTo>
                  <a:pt x="3" y="31"/>
                </a:lnTo>
                <a:lnTo>
                  <a:pt x="3" y="28"/>
                </a:lnTo>
                <a:lnTo>
                  <a:pt x="9" y="25"/>
                </a:lnTo>
                <a:lnTo>
                  <a:pt x="9" y="25"/>
                </a:lnTo>
                <a:lnTo>
                  <a:pt x="9" y="25"/>
                </a:lnTo>
                <a:lnTo>
                  <a:pt x="6" y="22"/>
                </a:lnTo>
                <a:lnTo>
                  <a:pt x="3" y="22"/>
                </a:lnTo>
                <a:lnTo>
                  <a:pt x="3" y="16"/>
                </a:lnTo>
                <a:lnTo>
                  <a:pt x="0" y="10"/>
                </a:lnTo>
                <a:lnTo>
                  <a:pt x="0" y="1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1" name="Freeform 59">
            <a:extLst>
              <a:ext uri="{FF2B5EF4-FFF2-40B4-BE49-F238E27FC236}">
                <a16:creationId xmlns:a16="http://schemas.microsoft.com/office/drawing/2014/main" id="{A8F52D4C-83F9-5B28-34EE-4D7D1A25460C}"/>
              </a:ext>
            </a:extLst>
          </p:cNvPr>
          <p:cNvSpPr>
            <a:spLocks/>
          </p:cNvSpPr>
          <p:nvPr userDrawn="1"/>
        </p:nvSpPr>
        <p:spPr bwMode="auto">
          <a:xfrm>
            <a:off x="14229421" y="6447711"/>
            <a:ext cx="111119" cy="136526"/>
          </a:xfrm>
          <a:custGeom>
            <a:avLst/>
            <a:gdLst>
              <a:gd name="T0" fmla="*/ 16 w 35"/>
              <a:gd name="T1" fmla="*/ 43 h 43"/>
              <a:gd name="T2" fmla="*/ 16 w 35"/>
              <a:gd name="T3" fmla="*/ 37 h 43"/>
              <a:gd name="T4" fmla="*/ 19 w 35"/>
              <a:gd name="T5" fmla="*/ 31 h 43"/>
              <a:gd name="T6" fmla="*/ 25 w 35"/>
              <a:gd name="T7" fmla="*/ 25 h 43"/>
              <a:gd name="T8" fmla="*/ 25 w 35"/>
              <a:gd name="T9" fmla="*/ 28 h 43"/>
              <a:gd name="T10" fmla="*/ 29 w 35"/>
              <a:gd name="T11" fmla="*/ 31 h 43"/>
              <a:gd name="T12" fmla="*/ 32 w 35"/>
              <a:gd name="T13" fmla="*/ 25 h 43"/>
              <a:gd name="T14" fmla="*/ 32 w 35"/>
              <a:gd name="T15" fmla="*/ 25 h 43"/>
              <a:gd name="T16" fmla="*/ 35 w 35"/>
              <a:gd name="T17" fmla="*/ 22 h 43"/>
              <a:gd name="T18" fmla="*/ 35 w 35"/>
              <a:gd name="T19" fmla="*/ 15 h 43"/>
              <a:gd name="T20" fmla="*/ 29 w 35"/>
              <a:gd name="T21" fmla="*/ 15 h 43"/>
              <a:gd name="T22" fmla="*/ 25 w 35"/>
              <a:gd name="T23" fmla="*/ 12 h 43"/>
              <a:gd name="T24" fmla="*/ 22 w 35"/>
              <a:gd name="T25" fmla="*/ 12 h 43"/>
              <a:gd name="T26" fmla="*/ 19 w 35"/>
              <a:gd name="T27" fmla="*/ 12 h 43"/>
              <a:gd name="T28" fmla="*/ 19 w 35"/>
              <a:gd name="T29" fmla="*/ 9 h 43"/>
              <a:gd name="T30" fmla="*/ 16 w 35"/>
              <a:gd name="T31" fmla="*/ 3 h 43"/>
              <a:gd name="T32" fmla="*/ 16 w 35"/>
              <a:gd name="T33" fmla="*/ 3 h 43"/>
              <a:gd name="T34" fmla="*/ 13 w 35"/>
              <a:gd name="T35" fmla="*/ 3 h 43"/>
              <a:gd name="T36" fmla="*/ 10 w 35"/>
              <a:gd name="T37" fmla="*/ 0 h 43"/>
              <a:gd name="T38" fmla="*/ 7 w 35"/>
              <a:gd name="T39" fmla="*/ 3 h 43"/>
              <a:gd name="T40" fmla="*/ 7 w 35"/>
              <a:gd name="T41" fmla="*/ 6 h 43"/>
              <a:gd name="T42" fmla="*/ 10 w 35"/>
              <a:gd name="T43" fmla="*/ 6 h 43"/>
              <a:gd name="T44" fmla="*/ 10 w 35"/>
              <a:gd name="T45" fmla="*/ 9 h 43"/>
              <a:gd name="T46" fmla="*/ 7 w 35"/>
              <a:gd name="T47" fmla="*/ 12 h 43"/>
              <a:gd name="T48" fmla="*/ 7 w 35"/>
              <a:gd name="T49" fmla="*/ 12 h 43"/>
              <a:gd name="T50" fmla="*/ 4 w 35"/>
              <a:gd name="T51" fmla="*/ 15 h 43"/>
              <a:gd name="T52" fmla="*/ 4 w 35"/>
              <a:gd name="T53" fmla="*/ 22 h 43"/>
              <a:gd name="T54" fmla="*/ 0 w 35"/>
              <a:gd name="T55" fmla="*/ 25 h 43"/>
              <a:gd name="T56" fmla="*/ 0 w 35"/>
              <a:gd name="T57" fmla="*/ 25 h 43"/>
              <a:gd name="T58" fmla="*/ 0 w 35"/>
              <a:gd name="T59" fmla="*/ 28 h 43"/>
              <a:gd name="T60" fmla="*/ 4 w 35"/>
              <a:gd name="T61" fmla="*/ 31 h 43"/>
              <a:gd name="T62" fmla="*/ 13 w 35"/>
              <a:gd name="T63" fmla="*/ 40 h 43"/>
              <a:gd name="T64" fmla="*/ 13 w 35"/>
              <a:gd name="T65" fmla="*/ 40 h 43"/>
              <a:gd name="T66" fmla="*/ 16 w 35"/>
              <a:gd name="T6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3">
                <a:moveTo>
                  <a:pt x="16" y="43"/>
                </a:moveTo>
                <a:lnTo>
                  <a:pt x="16" y="37"/>
                </a:lnTo>
                <a:lnTo>
                  <a:pt x="19" y="31"/>
                </a:lnTo>
                <a:lnTo>
                  <a:pt x="25" y="25"/>
                </a:lnTo>
                <a:lnTo>
                  <a:pt x="25" y="28"/>
                </a:lnTo>
                <a:lnTo>
                  <a:pt x="29" y="31"/>
                </a:lnTo>
                <a:lnTo>
                  <a:pt x="32" y="25"/>
                </a:lnTo>
                <a:lnTo>
                  <a:pt x="32" y="25"/>
                </a:lnTo>
                <a:lnTo>
                  <a:pt x="35" y="22"/>
                </a:lnTo>
                <a:lnTo>
                  <a:pt x="35" y="15"/>
                </a:lnTo>
                <a:lnTo>
                  <a:pt x="29" y="15"/>
                </a:lnTo>
                <a:lnTo>
                  <a:pt x="25" y="12"/>
                </a:lnTo>
                <a:lnTo>
                  <a:pt x="22" y="12"/>
                </a:lnTo>
                <a:lnTo>
                  <a:pt x="19" y="12"/>
                </a:lnTo>
                <a:lnTo>
                  <a:pt x="19" y="9"/>
                </a:lnTo>
                <a:lnTo>
                  <a:pt x="16" y="3"/>
                </a:lnTo>
                <a:lnTo>
                  <a:pt x="16" y="3"/>
                </a:lnTo>
                <a:lnTo>
                  <a:pt x="13" y="3"/>
                </a:lnTo>
                <a:lnTo>
                  <a:pt x="10" y="0"/>
                </a:lnTo>
                <a:lnTo>
                  <a:pt x="7" y="3"/>
                </a:lnTo>
                <a:lnTo>
                  <a:pt x="7" y="6"/>
                </a:lnTo>
                <a:lnTo>
                  <a:pt x="10" y="6"/>
                </a:lnTo>
                <a:lnTo>
                  <a:pt x="10" y="9"/>
                </a:lnTo>
                <a:lnTo>
                  <a:pt x="7" y="12"/>
                </a:lnTo>
                <a:lnTo>
                  <a:pt x="7" y="12"/>
                </a:lnTo>
                <a:lnTo>
                  <a:pt x="4" y="15"/>
                </a:lnTo>
                <a:lnTo>
                  <a:pt x="4" y="22"/>
                </a:lnTo>
                <a:lnTo>
                  <a:pt x="0" y="25"/>
                </a:lnTo>
                <a:lnTo>
                  <a:pt x="0" y="25"/>
                </a:lnTo>
                <a:lnTo>
                  <a:pt x="0" y="28"/>
                </a:lnTo>
                <a:lnTo>
                  <a:pt x="4" y="31"/>
                </a:lnTo>
                <a:lnTo>
                  <a:pt x="13" y="40"/>
                </a:lnTo>
                <a:lnTo>
                  <a:pt x="13" y="40"/>
                </a:lnTo>
                <a:lnTo>
                  <a:pt x="16" y="43"/>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2" name="Freeform 60">
            <a:extLst>
              <a:ext uri="{FF2B5EF4-FFF2-40B4-BE49-F238E27FC236}">
                <a16:creationId xmlns:a16="http://schemas.microsoft.com/office/drawing/2014/main" id="{6DEBDA55-8335-A6F8-E0E1-8BB6B3830C20}"/>
              </a:ext>
            </a:extLst>
          </p:cNvPr>
          <p:cNvSpPr>
            <a:spLocks noEditPoints="1"/>
          </p:cNvSpPr>
          <p:nvPr userDrawn="1"/>
        </p:nvSpPr>
        <p:spPr bwMode="auto">
          <a:xfrm>
            <a:off x="13934166" y="6247680"/>
            <a:ext cx="336528" cy="257176"/>
          </a:xfrm>
          <a:custGeom>
            <a:avLst/>
            <a:gdLst>
              <a:gd name="T0" fmla="*/ 34 w 34"/>
              <a:gd name="T1" fmla="*/ 9 h 26"/>
              <a:gd name="T2" fmla="*/ 33 w 34"/>
              <a:gd name="T3" fmla="*/ 8 h 26"/>
              <a:gd name="T4" fmla="*/ 31 w 34"/>
              <a:gd name="T5" fmla="*/ 4 h 26"/>
              <a:gd name="T6" fmla="*/ 27 w 34"/>
              <a:gd name="T7" fmla="*/ 4 h 26"/>
              <a:gd name="T8" fmla="*/ 21 w 34"/>
              <a:gd name="T9" fmla="*/ 2 h 26"/>
              <a:gd name="T10" fmla="*/ 18 w 34"/>
              <a:gd name="T11" fmla="*/ 0 h 26"/>
              <a:gd name="T12" fmla="*/ 11 w 34"/>
              <a:gd name="T13" fmla="*/ 4 h 26"/>
              <a:gd name="T14" fmla="*/ 7 w 34"/>
              <a:gd name="T15" fmla="*/ 7 h 26"/>
              <a:gd name="T16" fmla="*/ 2 w 34"/>
              <a:gd name="T17" fmla="*/ 7 h 26"/>
              <a:gd name="T18" fmla="*/ 0 w 34"/>
              <a:gd name="T19" fmla="*/ 10 h 26"/>
              <a:gd name="T20" fmla="*/ 2 w 34"/>
              <a:gd name="T21" fmla="*/ 12 h 26"/>
              <a:gd name="T22" fmla="*/ 5 w 34"/>
              <a:gd name="T23" fmla="*/ 8 h 26"/>
              <a:gd name="T24" fmla="*/ 8 w 34"/>
              <a:gd name="T25" fmla="*/ 10 h 26"/>
              <a:gd name="T26" fmla="*/ 11 w 34"/>
              <a:gd name="T27" fmla="*/ 15 h 26"/>
              <a:gd name="T28" fmla="*/ 12 w 34"/>
              <a:gd name="T29" fmla="*/ 16 h 26"/>
              <a:gd name="T30" fmla="*/ 11 w 34"/>
              <a:gd name="T31" fmla="*/ 18 h 26"/>
              <a:gd name="T32" fmla="*/ 15 w 34"/>
              <a:gd name="T33" fmla="*/ 20 h 26"/>
              <a:gd name="T34" fmla="*/ 17 w 34"/>
              <a:gd name="T35" fmla="*/ 22 h 26"/>
              <a:gd name="T36" fmla="*/ 25 w 34"/>
              <a:gd name="T37" fmla="*/ 26 h 26"/>
              <a:gd name="T38" fmla="*/ 23 w 34"/>
              <a:gd name="T39" fmla="*/ 26 h 26"/>
              <a:gd name="T40" fmla="*/ 25 w 34"/>
              <a:gd name="T41" fmla="*/ 25 h 26"/>
              <a:gd name="T42" fmla="*/ 15 w 34"/>
              <a:gd name="T43" fmla="*/ 15 h 26"/>
              <a:gd name="T44" fmla="*/ 15 w 34"/>
              <a:gd name="T45" fmla="*/ 13 h 26"/>
              <a:gd name="T46" fmla="*/ 13 w 34"/>
              <a:gd name="T47" fmla="*/ 10 h 26"/>
              <a:gd name="T48" fmla="*/ 14 w 34"/>
              <a:gd name="T49" fmla="*/ 8 h 26"/>
              <a:gd name="T50" fmla="*/ 16 w 34"/>
              <a:gd name="T51" fmla="*/ 10 h 26"/>
              <a:gd name="T52" fmla="*/ 18 w 34"/>
              <a:gd name="T53" fmla="*/ 9 h 26"/>
              <a:gd name="T54" fmla="*/ 21 w 34"/>
              <a:gd name="T55" fmla="*/ 8 h 26"/>
              <a:gd name="T56" fmla="*/ 23 w 34"/>
              <a:gd name="T57" fmla="*/ 9 h 26"/>
              <a:gd name="T58" fmla="*/ 26 w 34"/>
              <a:gd name="T59" fmla="*/ 9 h 26"/>
              <a:gd name="T60" fmla="*/ 29 w 34"/>
              <a:gd name="T61" fmla="*/ 9 h 26"/>
              <a:gd name="T62" fmla="*/ 32 w 34"/>
              <a:gd name="T63" fmla="*/ 11 h 26"/>
              <a:gd name="T64" fmla="*/ 22 w 34"/>
              <a:gd name="T65" fmla="*/ 26 h 26"/>
              <a:gd name="T66" fmla="*/ 18 w 34"/>
              <a:gd name="T67" fmla="*/ 24 h 26"/>
              <a:gd name="T68" fmla="*/ 18 w 34"/>
              <a:gd name="T69" fmla="*/ 24 h 26"/>
              <a:gd name="T70" fmla="*/ 21 w 34"/>
              <a:gd name="T71" fmla="*/ 23 h 26"/>
              <a:gd name="T72" fmla="*/ 18 w 34"/>
              <a:gd name="T73" fmla="*/ 23 h 26"/>
              <a:gd name="T74" fmla="*/ 11 w 34"/>
              <a:gd name="T75" fmla="*/ 16 h 26"/>
              <a:gd name="T76" fmla="*/ 8 w 34"/>
              <a:gd name="T77" fmla="*/ 13 h 26"/>
              <a:gd name="T78" fmla="*/ 8 w 34"/>
              <a:gd name="T79" fmla="*/ 13 h 26"/>
              <a:gd name="T80" fmla="*/ 10 w 34"/>
              <a:gd name="T81" fmla="*/ 19 h 26"/>
              <a:gd name="T82" fmla="*/ 8 w 34"/>
              <a:gd name="T83" fmla="*/ 15 h 26"/>
              <a:gd name="T84" fmla="*/ 5 w 34"/>
              <a:gd name="T85" fmla="*/ 11 h 26"/>
              <a:gd name="T86" fmla="*/ 6 w 34"/>
              <a:gd name="T87" fmla="*/ 14 h 26"/>
              <a:gd name="T88" fmla="*/ 5 w 34"/>
              <a:gd name="T89" fmla="*/ 11 h 26"/>
              <a:gd name="T90" fmla="*/ 6 w 34"/>
              <a:gd name="T91" fmla="*/ 12 h 26"/>
              <a:gd name="T92" fmla="*/ 5 w 34"/>
              <a:gd name="T93" fmla="*/ 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 h="26">
                <a:moveTo>
                  <a:pt x="32" y="11"/>
                </a:moveTo>
                <a:cubicBezTo>
                  <a:pt x="32" y="10"/>
                  <a:pt x="32" y="10"/>
                  <a:pt x="32" y="10"/>
                </a:cubicBezTo>
                <a:cubicBezTo>
                  <a:pt x="34" y="9"/>
                  <a:pt x="34" y="9"/>
                  <a:pt x="34" y="9"/>
                </a:cubicBezTo>
                <a:cubicBezTo>
                  <a:pt x="34" y="9"/>
                  <a:pt x="34" y="9"/>
                  <a:pt x="34" y="9"/>
                </a:cubicBezTo>
                <a:cubicBezTo>
                  <a:pt x="34" y="9"/>
                  <a:pt x="34" y="9"/>
                  <a:pt x="34" y="9"/>
                </a:cubicBezTo>
                <a:cubicBezTo>
                  <a:pt x="33" y="8"/>
                  <a:pt x="33" y="8"/>
                  <a:pt x="33" y="8"/>
                </a:cubicBezTo>
                <a:cubicBezTo>
                  <a:pt x="32" y="8"/>
                  <a:pt x="32" y="8"/>
                  <a:pt x="32" y="8"/>
                </a:cubicBezTo>
                <a:cubicBezTo>
                  <a:pt x="32" y="6"/>
                  <a:pt x="32" y="6"/>
                  <a:pt x="32" y="6"/>
                </a:cubicBezTo>
                <a:cubicBezTo>
                  <a:pt x="31" y="4"/>
                  <a:pt x="31" y="4"/>
                  <a:pt x="31" y="4"/>
                </a:cubicBezTo>
                <a:cubicBezTo>
                  <a:pt x="30" y="4"/>
                  <a:pt x="30" y="4"/>
                  <a:pt x="30" y="4"/>
                </a:cubicBezTo>
                <a:cubicBezTo>
                  <a:pt x="29" y="5"/>
                  <a:pt x="29" y="5"/>
                  <a:pt x="29" y="5"/>
                </a:cubicBezTo>
                <a:cubicBezTo>
                  <a:pt x="27" y="4"/>
                  <a:pt x="27" y="4"/>
                  <a:pt x="27" y="4"/>
                </a:cubicBezTo>
                <a:cubicBezTo>
                  <a:pt x="24" y="4"/>
                  <a:pt x="24" y="4"/>
                  <a:pt x="24" y="4"/>
                </a:cubicBezTo>
                <a:cubicBezTo>
                  <a:pt x="23" y="3"/>
                  <a:pt x="23" y="3"/>
                  <a:pt x="23" y="3"/>
                </a:cubicBezTo>
                <a:cubicBezTo>
                  <a:pt x="21" y="2"/>
                  <a:pt x="21" y="2"/>
                  <a:pt x="21" y="2"/>
                </a:cubicBezTo>
                <a:cubicBezTo>
                  <a:pt x="19" y="0"/>
                  <a:pt x="19" y="0"/>
                  <a:pt x="19" y="0"/>
                </a:cubicBezTo>
                <a:cubicBezTo>
                  <a:pt x="18" y="0"/>
                  <a:pt x="18" y="0"/>
                  <a:pt x="18" y="0"/>
                </a:cubicBezTo>
                <a:cubicBezTo>
                  <a:pt x="18" y="0"/>
                  <a:pt x="18" y="0"/>
                  <a:pt x="18" y="0"/>
                </a:cubicBezTo>
                <a:cubicBezTo>
                  <a:pt x="15" y="0"/>
                  <a:pt x="15" y="0"/>
                  <a:pt x="15" y="0"/>
                </a:cubicBezTo>
                <a:cubicBezTo>
                  <a:pt x="11" y="2"/>
                  <a:pt x="11" y="2"/>
                  <a:pt x="11" y="2"/>
                </a:cubicBezTo>
                <a:cubicBezTo>
                  <a:pt x="11" y="4"/>
                  <a:pt x="11" y="4"/>
                  <a:pt x="11" y="4"/>
                </a:cubicBezTo>
                <a:cubicBezTo>
                  <a:pt x="9" y="5"/>
                  <a:pt x="9" y="5"/>
                  <a:pt x="9" y="5"/>
                </a:cubicBezTo>
                <a:cubicBezTo>
                  <a:pt x="9" y="7"/>
                  <a:pt x="9" y="7"/>
                  <a:pt x="9" y="7"/>
                </a:cubicBezTo>
                <a:cubicBezTo>
                  <a:pt x="7" y="7"/>
                  <a:pt x="7" y="7"/>
                  <a:pt x="7" y="7"/>
                </a:cubicBezTo>
                <a:cubicBezTo>
                  <a:pt x="5" y="6"/>
                  <a:pt x="5" y="6"/>
                  <a:pt x="5" y="6"/>
                </a:cubicBezTo>
                <a:cubicBezTo>
                  <a:pt x="4" y="6"/>
                  <a:pt x="4" y="6"/>
                  <a:pt x="4" y="6"/>
                </a:cubicBezTo>
                <a:cubicBezTo>
                  <a:pt x="2" y="7"/>
                  <a:pt x="2" y="7"/>
                  <a:pt x="2" y="7"/>
                </a:cubicBezTo>
                <a:cubicBezTo>
                  <a:pt x="0" y="8"/>
                  <a:pt x="0" y="8"/>
                  <a:pt x="0" y="8"/>
                </a:cubicBezTo>
                <a:cubicBezTo>
                  <a:pt x="0" y="8"/>
                  <a:pt x="0" y="8"/>
                  <a:pt x="0" y="8"/>
                </a:cubicBezTo>
                <a:cubicBezTo>
                  <a:pt x="0" y="10"/>
                  <a:pt x="0" y="10"/>
                  <a:pt x="0" y="10"/>
                </a:cubicBezTo>
                <a:cubicBezTo>
                  <a:pt x="2" y="12"/>
                  <a:pt x="2" y="12"/>
                  <a:pt x="2" y="12"/>
                </a:cubicBezTo>
                <a:cubicBezTo>
                  <a:pt x="2" y="12"/>
                  <a:pt x="2" y="12"/>
                  <a:pt x="2" y="12"/>
                </a:cubicBezTo>
                <a:cubicBezTo>
                  <a:pt x="2" y="12"/>
                  <a:pt x="2" y="12"/>
                  <a:pt x="2" y="12"/>
                </a:cubicBezTo>
                <a:cubicBezTo>
                  <a:pt x="4" y="10"/>
                  <a:pt x="4" y="10"/>
                  <a:pt x="4" y="10"/>
                </a:cubicBezTo>
                <a:cubicBezTo>
                  <a:pt x="4" y="9"/>
                  <a:pt x="4" y="9"/>
                  <a:pt x="4" y="9"/>
                </a:cubicBezTo>
                <a:cubicBezTo>
                  <a:pt x="5" y="8"/>
                  <a:pt x="5" y="8"/>
                  <a:pt x="5" y="8"/>
                </a:cubicBezTo>
                <a:cubicBezTo>
                  <a:pt x="6" y="8"/>
                  <a:pt x="6" y="8"/>
                  <a:pt x="6" y="8"/>
                </a:cubicBezTo>
                <a:cubicBezTo>
                  <a:pt x="7" y="9"/>
                  <a:pt x="7" y="9"/>
                  <a:pt x="7" y="9"/>
                </a:cubicBezTo>
                <a:cubicBezTo>
                  <a:pt x="8" y="10"/>
                  <a:pt x="8" y="10"/>
                  <a:pt x="8" y="10"/>
                </a:cubicBezTo>
                <a:cubicBezTo>
                  <a:pt x="8" y="12"/>
                  <a:pt x="8" y="12"/>
                  <a:pt x="8" y="12"/>
                </a:cubicBezTo>
                <a:cubicBezTo>
                  <a:pt x="9" y="13"/>
                  <a:pt x="9" y="13"/>
                  <a:pt x="9" y="13"/>
                </a:cubicBezTo>
                <a:cubicBezTo>
                  <a:pt x="11" y="15"/>
                  <a:pt x="11" y="15"/>
                  <a:pt x="11" y="15"/>
                </a:cubicBezTo>
                <a:cubicBezTo>
                  <a:pt x="12" y="15"/>
                  <a:pt x="12" y="15"/>
                  <a:pt x="12" y="15"/>
                </a:cubicBezTo>
                <a:cubicBezTo>
                  <a:pt x="13" y="16"/>
                  <a:pt x="13" y="16"/>
                  <a:pt x="13" y="16"/>
                </a:cubicBezTo>
                <a:cubicBezTo>
                  <a:pt x="12" y="16"/>
                  <a:pt x="12" y="16"/>
                  <a:pt x="12" y="16"/>
                </a:cubicBezTo>
                <a:cubicBezTo>
                  <a:pt x="11" y="16"/>
                  <a:pt x="11" y="16"/>
                  <a:pt x="11" y="16"/>
                </a:cubicBezTo>
                <a:cubicBezTo>
                  <a:pt x="10" y="17"/>
                  <a:pt x="10" y="17"/>
                  <a:pt x="10" y="17"/>
                </a:cubicBezTo>
                <a:cubicBezTo>
                  <a:pt x="11" y="18"/>
                  <a:pt x="11" y="18"/>
                  <a:pt x="11" y="18"/>
                </a:cubicBezTo>
                <a:cubicBezTo>
                  <a:pt x="12" y="18"/>
                  <a:pt x="12" y="18"/>
                  <a:pt x="12" y="18"/>
                </a:cubicBezTo>
                <a:cubicBezTo>
                  <a:pt x="14" y="20"/>
                  <a:pt x="14" y="20"/>
                  <a:pt x="14" y="20"/>
                </a:cubicBezTo>
                <a:cubicBezTo>
                  <a:pt x="15" y="20"/>
                  <a:pt x="15" y="20"/>
                  <a:pt x="15" y="20"/>
                </a:cubicBezTo>
                <a:cubicBezTo>
                  <a:pt x="15" y="21"/>
                  <a:pt x="15" y="21"/>
                  <a:pt x="15" y="21"/>
                </a:cubicBezTo>
                <a:cubicBezTo>
                  <a:pt x="16" y="22"/>
                  <a:pt x="16" y="22"/>
                  <a:pt x="16" y="22"/>
                </a:cubicBezTo>
                <a:cubicBezTo>
                  <a:pt x="17" y="22"/>
                  <a:pt x="17" y="22"/>
                  <a:pt x="17" y="22"/>
                </a:cubicBezTo>
                <a:cubicBezTo>
                  <a:pt x="20" y="22"/>
                  <a:pt x="20" y="22"/>
                  <a:pt x="20" y="22"/>
                </a:cubicBezTo>
                <a:cubicBezTo>
                  <a:pt x="22" y="23"/>
                  <a:pt x="22" y="23"/>
                  <a:pt x="22" y="23"/>
                </a:cubicBezTo>
                <a:cubicBezTo>
                  <a:pt x="25" y="26"/>
                  <a:pt x="25" y="26"/>
                  <a:pt x="25" y="26"/>
                </a:cubicBezTo>
                <a:cubicBezTo>
                  <a:pt x="24" y="26"/>
                  <a:pt x="24" y="26"/>
                  <a:pt x="24" y="26"/>
                </a:cubicBezTo>
                <a:cubicBezTo>
                  <a:pt x="22" y="25"/>
                  <a:pt x="22" y="25"/>
                  <a:pt x="22" y="25"/>
                </a:cubicBezTo>
                <a:cubicBezTo>
                  <a:pt x="23" y="26"/>
                  <a:pt x="23" y="26"/>
                  <a:pt x="23" y="26"/>
                </a:cubicBezTo>
                <a:cubicBezTo>
                  <a:pt x="25" y="26"/>
                  <a:pt x="25" y="26"/>
                  <a:pt x="25" y="26"/>
                </a:cubicBezTo>
                <a:cubicBezTo>
                  <a:pt x="25" y="26"/>
                  <a:pt x="25" y="26"/>
                  <a:pt x="25" y="26"/>
                </a:cubicBezTo>
                <a:cubicBezTo>
                  <a:pt x="25" y="25"/>
                  <a:pt x="25" y="25"/>
                  <a:pt x="25" y="25"/>
                </a:cubicBezTo>
                <a:cubicBezTo>
                  <a:pt x="21" y="20"/>
                  <a:pt x="21" y="20"/>
                  <a:pt x="21" y="20"/>
                </a:cubicBezTo>
                <a:cubicBezTo>
                  <a:pt x="16" y="16"/>
                  <a:pt x="16" y="16"/>
                  <a:pt x="16" y="16"/>
                </a:cubicBezTo>
                <a:cubicBezTo>
                  <a:pt x="15" y="15"/>
                  <a:pt x="15" y="15"/>
                  <a:pt x="15" y="15"/>
                </a:cubicBezTo>
                <a:cubicBezTo>
                  <a:pt x="16" y="15"/>
                  <a:pt x="16" y="15"/>
                  <a:pt x="16" y="15"/>
                </a:cubicBezTo>
                <a:cubicBezTo>
                  <a:pt x="15" y="14"/>
                  <a:pt x="15" y="14"/>
                  <a:pt x="15" y="14"/>
                </a:cubicBezTo>
                <a:cubicBezTo>
                  <a:pt x="15" y="13"/>
                  <a:pt x="15" y="13"/>
                  <a:pt x="15" y="13"/>
                </a:cubicBezTo>
                <a:cubicBezTo>
                  <a:pt x="13" y="11"/>
                  <a:pt x="13" y="11"/>
                  <a:pt x="13" y="11"/>
                </a:cubicBezTo>
                <a:cubicBezTo>
                  <a:pt x="13" y="11"/>
                  <a:pt x="13" y="11"/>
                  <a:pt x="13" y="11"/>
                </a:cubicBezTo>
                <a:cubicBezTo>
                  <a:pt x="13" y="10"/>
                  <a:pt x="13" y="10"/>
                  <a:pt x="13" y="10"/>
                </a:cubicBezTo>
                <a:cubicBezTo>
                  <a:pt x="13" y="10"/>
                  <a:pt x="13" y="10"/>
                  <a:pt x="13" y="10"/>
                </a:cubicBezTo>
                <a:cubicBezTo>
                  <a:pt x="13" y="8"/>
                  <a:pt x="13" y="8"/>
                  <a:pt x="13" y="8"/>
                </a:cubicBezTo>
                <a:cubicBezTo>
                  <a:pt x="14" y="8"/>
                  <a:pt x="14" y="8"/>
                  <a:pt x="14" y="8"/>
                </a:cubicBezTo>
                <a:cubicBezTo>
                  <a:pt x="15" y="9"/>
                  <a:pt x="15" y="9"/>
                  <a:pt x="15" y="9"/>
                </a:cubicBezTo>
                <a:cubicBezTo>
                  <a:pt x="16" y="10"/>
                  <a:pt x="16" y="10"/>
                  <a:pt x="16" y="10"/>
                </a:cubicBezTo>
                <a:cubicBezTo>
                  <a:pt x="16" y="10"/>
                  <a:pt x="16" y="10"/>
                  <a:pt x="16" y="10"/>
                </a:cubicBezTo>
                <a:cubicBezTo>
                  <a:pt x="16" y="9"/>
                  <a:pt x="16" y="9"/>
                  <a:pt x="16" y="9"/>
                </a:cubicBezTo>
                <a:cubicBezTo>
                  <a:pt x="18" y="8"/>
                  <a:pt x="18" y="8"/>
                  <a:pt x="18" y="8"/>
                </a:cubicBezTo>
                <a:cubicBezTo>
                  <a:pt x="18" y="9"/>
                  <a:pt x="18" y="9"/>
                  <a:pt x="18" y="9"/>
                </a:cubicBezTo>
                <a:cubicBezTo>
                  <a:pt x="19" y="8"/>
                  <a:pt x="19" y="8"/>
                  <a:pt x="19" y="8"/>
                </a:cubicBezTo>
                <a:cubicBezTo>
                  <a:pt x="20" y="8"/>
                  <a:pt x="20" y="8"/>
                  <a:pt x="20" y="8"/>
                </a:cubicBezTo>
                <a:cubicBezTo>
                  <a:pt x="21" y="8"/>
                  <a:pt x="21" y="8"/>
                  <a:pt x="21" y="8"/>
                </a:cubicBezTo>
                <a:cubicBezTo>
                  <a:pt x="22" y="8"/>
                  <a:pt x="22" y="8"/>
                  <a:pt x="22" y="8"/>
                </a:cubicBezTo>
                <a:cubicBezTo>
                  <a:pt x="22" y="9"/>
                  <a:pt x="22" y="9"/>
                  <a:pt x="22" y="9"/>
                </a:cubicBezTo>
                <a:cubicBezTo>
                  <a:pt x="23" y="9"/>
                  <a:pt x="23" y="9"/>
                  <a:pt x="23" y="9"/>
                </a:cubicBezTo>
                <a:cubicBezTo>
                  <a:pt x="24" y="9"/>
                  <a:pt x="24" y="9"/>
                  <a:pt x="24" y="9"/>
                </a:cubicBezTo>
                <a:cubicBezTo>
                  <a:pt x="25" y="9"/>
                  <a:pt x="25" y="9"/>
                  <a:pt x="25" y="9"/>
                </a:cubicBezTo>
                <a:cubicBezTo>
                  <a:pt x="26" y="9"/>
                  <a:pt x="26" y="9"/>
                  <a:pt x="26" y="9"/>
                </a:cubicBezTo>
                <a:cubicBezTo>
                  <a:pt x="27" y="9"/>
                  <a:pt x="27" y="9"/>
                  <a:pt x="27" y="9"/>
                </a:cubicBezTo>
                <a:cubicBezTo>
                  <a:pt x="28" y="9"/>
                  <a:pt x="28" y="9"/>
                  <a:pt x="28" y="9"/>
                </a:cubicBezTo>
                <a:cubicBezTo>
                  <a:pt x="29" y="9"/>
                  <a:pt x="29" y="9"/>
                  <a:pt x="29" y="9"/>
                </a:cubicBezTo>
                <a:cubicBezTo>
                  <a:pt x="31" y="10"/>
                  <a:pt x="31" y="10"/>
                  <a:pt x="31" y="10"/>
                </a:cubicBezTo>
                <a:cubicBezTo>
                  <a:pt x="32" y="10"/>
                  <a:pt x="32" y="10"/>
                  <a:pt x="32" y="10"/>
                </a:cubicBezTo>
                <a:cubicBezTo>
                  <a:pt x="32" y="11"/>
                  <a:pt x="32" y="11"/>
                  <a:pt x="32" y="11"/>
                </a:cubicBezTo>
                <a:close/>
                <a:moveTo>
                  <a:pt x="19" y="25"/>
                </a:moveTo>
                <a:cubicBezTo>
                  <a:pt x="19" y="25"/>
                  <a:pt x="22" y="25"/>
                  <a:pt x="22" y="25"/>
                </a:cubicBezTo>
                <a:cubicBezTo>
                  <a:pt x="22" y="26"/>
                  <a:pt x="22" y="26"/>
                  <a:pt x="22" y="26"/>
                </a:cubicBezTo>
                <a:cubicBezTo>
                  <a:pt x="20" y="26"/>
                  <a:pt x="20" y="26"/>
                  <a:pt x="20" y="26"/>
                </a:cubicBezTo>
                <a:cubicBezTo>
                  <a:pt x="19" y="25"/>
                  <a:pt x="19" y="25"/>
                  <a:pt x="19" y="25"/>
                </a:cubicBezTo>
                <a:close/>
                <a:moveTo>
                  <a:pt x="18" y="24"/>
                </a:moveTo>
                <a:cubicBezTo>
                  <a:pt x="21" y="24"/>
                  <a:pt x="21" y="24"/>
                  <a:pt x="21" y="24"/>
                </a:cubicBezTo>
                <a:cubicBezTo>
                  <a:pt x="20" y="25"/>
                  <a:pt x="20" y="25"/>
                  <a:pt x="20" y="25"/>
                </a:cubicBezTo>
                <a:cubicBezTo>
                  <a:pt x="18" y="24"/>
                  <a:pt x="18" y="24"/>
                  <a:pt x="18" y="24"/>
                </a:cubicBezTo>
                <a:close/>
                <a:moveTo>
                  <a:pt x="18" y="23"/>
                </a:moveTo>
                <a:cubicBezTo>
                  <a:pt x="20" y="23"/>
                  <a:pt x="20" y="23"/>
                  <a:pt x="20" y="23"/>
                </a:cubicBezTo>
                <a:cubicBezTo>
                  <a:pt x="21" y="23"/>
                  <a:pt x="21" y="23"/>
                  <a:pt x="21" y="23"/>
                </a:cubicBezTo>
                <a:cubicBezTo>
                  <a:pt x="20" y="24"/>
                  <a:pt x="20" y="24"/>
                  <a:pt x="20" y="24"/>
                </a:cubicBezTo>
                <a:cubicBezTo>
                  <a:pt x="19" y="23"/>
                  <a:pt x="19" y="23"/>
                  <a:pt x="19" y="23"/>
                </a:cubicBezTo>
                <a:cubicBezTo>
                  <a:pt x="18" y="23"/>
                  <a:pt x="18" y="23"/>
                  <a:pt x="18" y="23"/>
                </a:cubicBezTo>
                <a:close/>
                <a:moveTo>
                  <a:pt x="9" y="15"/>
                </a:moveTo>
                <a:cubicBezTo>
                  <a:pt x="10" y="15"/>
                  <a:pt x="10" y="15"/>
                  <a:pt x="10" y="15"/>
                </a:cubicBezTo>
                <a:cubicBezTo>
                  <a:pt x="11" y="16"/>
                  <a:pt x="11" y="16"/>
                  <a:pt x="11" y="16"/>
                </a:cubicBezTo>
                <a:cubicBezTo>
                  <a:pt x="10" y="16"/>
                  <a:pt x="10" y="16"/>
                  <a:pt x="10" y="16"/>
                </a:cubicBezTo>
                <a:cubicBezTo>
                  <a:pt x="9" y="15"/>
                  <a:pt x="9" y="15"/>
                  <a:pt x="9" y="15"/>
                </a:cubicBezTo>
                <a:close/>
                <a:moveTo>
                  <a:pt x="8" y="13"/>
                </a:moveTo>
                <a:cubicBezTo>
                  <a:pt x="9" y="14"/>
                  <a:pt x="9" y="14"/>
                  <a:pt x="9" y="14"/>
                </a:cubicBezTo>
                <a:cubicBezTo>
                  <a:pt x="8" y="14"/>
                  <a:pt x="8" y="14"/>
                  <a:pt x="8" y="14"/>
                </a:cubicBezTo>
                <a:cubicBezTo>
                  <a:pt x="8" y="13"/>
                  <a:pt x="8" y="13"/>
                  <a:pt x="8" y="13"/>
                </a:cubicBezTo>
                <a:close/>
                <a:moveTo>
                  <a:pt x="8" y="17"/>
                </a:moveTo>
                <a:cubicBezTo>
                  <a:pt x="10" y="18"/>
                  <a:pt x="10" y="18"/>
                  <a:pt x="10" y="18"/>
                </a:cubicBezTo>
                <a:cubicBezTo>
                  <a:pt x="10" y="19"/>
                  <a:pt x="10" y="19"/>
                  <a:pt x="10" y="19"/>
                </a:cubicBezTo>
                <a:cubicBezTo>
                  <a:pt x="8" y="17"/>
                  <a:pt x="8" y="17"/>
                  <a:pt x="8" y="17"/>
                </a:cubicBezTo>
                <a:close/>
                <a:moveTo>
                  <a:pt x="7" y="15"/>
                </a:moveTo>
                <a:cubicBezTo>
                  <a:pt x="8" y="15"/>
                  <a:pt x="8" y="15"/>
                  <a:pt x="8" y="15"/>
                </a:cubicBezTo>
                <a:cubicBezTo>
                  <a:pt x="8" y="16"/>
                  <a:pt x="8" y="16"/>
                  <a:pt x="8" y="16"/>
                </a:cubicBezTo>
                <a:cubicBezTo>
                  <a:pt x="7" y="15"/>
                  <a:pt x="7" y="15"/>
                  <a:pt x="7" y="15"/>
                </a:cubicBezTo>
                <a:close/>
                <a:moveTo>
                  <a:pt x="5" y="11"/>
                </a:moveTo>
                <a:cubicBezTo>
                  <a:pt x="6" y="12"/>
                  <a:pt x="6" y="12"/>
                  <a:pt x="6" y="12"/>
                </a:cubicBezTo>
                <a:cubicBezTo>
                  <a:pt x="7" y="14"/>
                  <a:pt x="7" y="14"/>
                  <a:pt x="7" y="14"/>
                </a:cubicBezTo>
                <a:cubicBezTo>
                  <a:pt x="6" y="14"/>
                  <a:pt x="6" y="14"/>
                  <a:pt x="6" y="14"/>
                </a:cubicBezTo>
                <a:cubicBezTo>
                  <a:pt x="5" y="13"/>
                  <a:pt x="5" y="13"/>
                  <a:pt x="5" y="13"/>
                </a:cubicBezTo>
                <a:cubicBezTo>
                  <a:pt x="5" y="13"/>
                  <a:pt x="5" y="13"/>
                  <a:pt x="5" y="13"/>
                </a:cubicBezTo>
                <a:cubicBezTo>
                  <a:pt x="5" y="11"/>
                  <a:pt x="5" y="11"/>
                  <a:pt x="5" y="11"/>
                </a:cubicBezTo>
                <a:close/>
                <a:moveTo>
                  <a:pt x="6" y="9"/>
                </a:moveTo>
                <a:cubicBezTo>
                  <a:pt x="7" y="11"/>
                  <a:pt x="7" y="11"/>
                  <a:pt x="7" y="11"/>
                </a:cubicBezTo>
                <a:cubicBezTo>
                  <a:pt x="6" y="12"/>
                  <a:pt x="6" y="12"/>
                  <a:pt x="6" y="12"/>
                </a:cubicBezTo>
                <a:cubicBezTo>
                  <a:pt x="6" y="11"/>
                  <a:pt x="6" y="11"/>
                  <a:pt x="6" y="11"/>
                </a:cubicBezTo>
                <a:cubicBezTo>
                  <a:pt x="5" y="11"/>
                  <a:pt x="5" y="11"/>
                  <a:pt x="5" y="11"/>
                </a:cubicBezTo>
                <a:cubicBezTo>
                  <a:pt x="5" y="9"/>
                  <a:pt x="5" y="9"/>
                  <a:pt x="5" y="9"/>
                </a:cubicBezTo>
                <a:cubicBezTo>
                  <a:pt x="5" y="9"/>
                  <a:pt x="5" y="9"/>
                  <a:pt x="6" y="9"/>
                </a:cubicBez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3" name="Freeform 61">
            <a:extLst>
              <a:ext uri="{FF2B5EF4-FFF2-40B4-BE49-F238E27FC236}">
                <a16:creationId xmlns:a16="http://schemas.microsoft.com/office/drawing/2014/main" id="{AE1C3309-A63A-A2F1-86C8-ACE4C0326D5C}"/>
              </a:ext>
            </a:extLst>
          </p:cNvPr>
          <p:cNvSpPr>
            <a:spLocks/>
          </p:cNvSpPr>
          <p:nvPr userDrawn="1"/>
        </p:nvSpPr>
        <p:spPr bwMode="auto">
          <a:xfrm>
            <a:off x="14061155" y="6327059"/>
            <a:ext cx="228585" cy="200026"/>
          </a:xfrm>
          <a:custGeom>
            <a:avLst/>
            <a:gdLst>
              <a:gd name="T0" fmla="*/ 38 w 72"/>
              <a:gd name="T1" fmla="*/ 53 h 63"/>
              <a:gd name="T2" fmla="*/ 10 w 72"/>
              <a:gd name="T3" fmla="*/ 25 h 63"/>
              <a:gd name="T4" fmla="*/ 10 w 72"/>
              <a:gd name="T5" fmla="*/ 22 h 63"/>
              <a:gd name="T6" fmla="*/ 7 w 72"/>
              <a:gd name="T7" fmla="*/ 16 h 63"/>
              <a:gd name="T8" fmla="*/ 0 w 72"/>
              <a:gd name="T9" fmla="*/ 9 h 63"/>
              <a:gd name="T10" fmla="*/ 0 w 72"/>
              <a:gd name="T11" fmla="*/ 6 h 63"/>
              <a:gd name="T12" fmla="*/ 3 w 72"/>
              <a:gd name="T13" fmla="*/ 0 h 63"/>
              <a:gd name="T14" fmla="*/ 10 w 72"/>
              <a:gd name="T15" fmla="*/ 6 h 63"/>
              <a:gd name="T16" fmla="*/ 10 w 72"/>
              <a:gd name="T17" fmla="*/ 3 h 63"/>
              <a:gd name="T18" fmla="*/ 16 w 72"/>
              <a:gd name="T19" fmla="*/ 3 h 63"/>
              <a:gd name="T20" fmla="*/ 22 w 72"/>
              <a:gd name="T21" fmla="*/ 0 h 63"/>
              <a:gd name="T22" fmla="*/ 28 w 72"/>
              <a:gd name="T23" fmla="*/ 0 h 63"/>
              <a:gd name="T24" fmla="*/ 32 w 72"/>
              <a:gd name="T25" fmla="*/ 3 h 63"/>
              <a:gd name="T26" fmla="*/ 38 w 72"/>
              <a:gd name="T27" fmla="*/ 3 h 63"/>
              <a:gd name="T28" fmla="*/ 44 w 72"/>
              <a:gd name="T29" fmla="*/ 3 h 63"/>
              <a:gd name="T30" fmla="*/ 50 w 72"/>
              <a:gd name="T31" fmla="*/ 3 h 63"/>
              <a:gd name="T32" fmla="*/ 60 w 72"/>
              <a:gd name="T33" fmla="*/ 6 h 63"/>
              <a:gd name="T34" fmla="*/ 63 w 72"/>
              <a:gd name="T35" fmla="*/ 9 h 63"/>
              <a:gd name="T36" fmla="*/ 66 w 72"/>
              <a:gd name="T37" fmla="*/ 13 h 63"/>
              <a:gd name="T38" fmla="*/ 63 w 72"/>
              <a:gd name="T39" fmla="*/ 22 h 63"/>
              <a:gd name="T40" fmla="*/ 69 w 72"/>
              <a:gd name="T41" fmla="*/ 28 h 63"/>
              <a:gd name="T42" fmla="*/ 72 w 72"/>
              <a:gd name="T43" fmla="*/ 31 h 63"/>
              <a:gd name="T44" fmla="*/ 66 w 72"/>
              <a:gd name="T45" fmla="*/ 31 h 63"/>
              <a:gd name="T46" fmla="*/ 69 w 72"/>
              <a:gd name="T47" fmla="*/ 41 h 63"/>
              <a:gd name="T48" fmla="*/ 66 w 72"/>
              <a:gd name="T49" fmla="*/ 41 h 63"/>
              <a:gd name="T50" fmla="*/ 60 w 72"/>
              <a:gd name="T51" fmla="*/ 41 h 63"/>
              <a:gd name="T52" fmla="*/ 63 w 72"/>
              <a:gd name="T53" fmla="*/ 44 h 63"/>
              <a:gd name="T54" fmla="*/ 60 w 72"/>
              <a:gd name="T55" fmla="*/ 50 h 63"/>
              <a:gd name="T56" fmla="*/ 57 w 72"/>
              <a:gd name="T57" fmla="*/ 53 h 63"/>
              <a:gd name="T58" fmla="*/ 53 w 72"/>
              <a:gd name="T59" fmla="*/ 63 h 63"/>
              <a:gd name="T60" fmla="*/ 47 w 72"/>
              <a:gd name="T61" fmla="*/ 60 h 63"/>
              <a:gd name="T62" fmla="*/ 38 w 72"/>
              <a:gd name="T63" fmla="*/ 60 h 63"/>
              <a:gd name="T64" fmla="*/ 38 w 72"/>
              <a:gd name="T65" fmla="*/ 5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63">
                <a:moveTo>
                  <a:pt x="38" y="56"/>
                </a:moveTo>
                <a:lnTo>
                  <a:pt x="38" y="53"/>
                </a:lnTo>
                <a:lnTo>
                  <a:pt x="25" y="38"/>
                </a:lnTo>
                <a:lnTo>
                  <a:pt x="10" y="25"/>
                </a:lnTo>
                <a:lnTo>
                  <a:pt x="7" y="22"/>
                </a:lnTo>
                <a:lnTo>
                  <a:pt x="10" y="22"/>
                </a:lnTo>
                <a:lnTo>
                  <a:pt x="7" y="19"/>
                </a:lnTo>
                <a:lnTo>
                  <a:pt x="7" y="16"/>
                </a:lnTo>
                <a:lnTo>
                  <a:pt x="0" y="9"/>
                </a:lnTo>
                <a:lnTo>
                  <a:pt x="0" y="9"/>
                </a:lnTo>
                <a:lnTo>
                  <a:pt x="0" y="6"/>
                </a:lnTo>
                <a:lnTo>
                  <a:pt x="0" y="6"/>
                </a:lnTo>
                <a:lnTo>
                  <a:pt x="0" y="0"/>
                </a:lnTo>
                <a:lnTo>
                  <a:pt x="3" y="0"/>
                </a:lnTo>
                <a:lnTo>
                  <a:pt x="7" y="3"/>
                </a:lnTo>
                <a:lnTo>
                  <a:pt x="10" y="6"/>
                </a:lnTo>
                <a:lnTo>
                  <a:pt x="10" y="6"/>
                </a:lnTo>
                <a:lnTo>
                  <a:pt x="10" y="3"/>
                </a:lnTo>
                <a:lnTo>
                  <a:pt x="16" y="0"/>
                </a:lnTo>
                <a:lnTo>
                  <a:pt x="16" y="3"/>
                </a:lnTo>
                <a:lnTo>
                  <a:pt x="19" y="0"/>
                </a:lnTo>
                <a:lnTo>
                  <a:pt x="22" y="0"/>
                </a:lnTo>
                <a:lnTo>
                  <a:pt x="25" y="0"/>
                </a:lnTo>
                <a:lnTo>
                  <a:pt x="28" y="0"/>
                </a:lnTo>
                <a:lnTo>
                  <a:pt x="28" y="3"/>
                </a:lnTo>
                <a:lnTo>
                  <a:pt x="32" y="3"/>
                </a:lnTo>
                <a:lnTo>
                  <a:pt x="35" y="3"/>
                </a:lnTo>
                <a:lnTo>
                  <a:pt x="38" y="3"/>
                </a:lnTo>
                <a:lnTo>
                  <a:pt x="41" y="3"/>
                </a:lnTo>
                <a:lnTo>
                  <a:pt x="44" y="3"/>
                </a:lnTo>
                <a:lnTo>
                  <a:pt x="47" y="3"/>
                </a:lnTo>
                <a:lnTo>
                  <a:pt x="50" y="3"/>
                </a:lnTo>
                <a:lnTo>
                  <a:pt x="57" y="6"/>
                </a:lnTo>
                <a:lnTo>
                  <a:pt x="60" y="6"/>
                </a:lnTo>
                <a:lnTo>
                  <a:pt x="63" y="9"/>
                </a:lnTo>
                <a:lnTo>
                  <a:pt x="63" y="9"/>
                </a:lnTo>
                <a:lnTo>
                  <a:pt x="66" y="9"/>
                </a:lnTo>
                <a:lnTo>
                  <a:pt x="66" y="13"/>
                </a:lnTo>
                <a:lnTo>
                  <a:pt x="63" y="19"/>
                </a:lnTo>
                <a:lnTo>
                  <a:pt x="63" y="22"/>
                </a:lnTo>
                <a:lnTo>
                  <a:pt x="69" y="25"/>
                </a:lnTo>
                <a:lnTo>
                  <a:pt x="69" y="28"/>
                </a:lnTo>
                <a:lnTo>
                  <a:pt x="72" y="28"/>
                </a:lnTo>
                <a:lnTo>
                  <a:pt x="72" y="31"/>
                </a:lnTo>
                <a:lnTo>
                  <a:pt x="69" y="28"/>
                </a:lnTo>
                <a:lnTo>
                  <a:pt x="66" y="31"/>
                </a:lnTo>
                <a:lnTo>
                  <a:pt x="66" y="34"/>
                </a:lnTo>
                <a:lnTo>
                  <a:pt x="69" y="41"/>
                </a:lnTo>
                <a:lnTo>
                  <a:pt x="69" y="41"/>
                </a:lnTo>
                <a:lnTo>
                  <a:pt x="66" y="41"/>
                </a:lnTo>
                <a:lnTo>
                  <a:pt x="63" y="38"/>
                </a:lnTo>
                <a:lnTo>
                  <a:pt x="60" y="41"/>
                </a:lnTo>
                <a:lnTo>
                  <a:pt x="60" y="44"/>
                </a:lnTo>
                <a:lnTo>
                  <a:pt x="63" y="44"/>
                </a:lnTo>
                <a:lnTo>
                  <a:pt x="63" y="47"/>
                </a:lnTo>
                <a:lnTo>
                  <a:pt x="60" y="50"/>
                </a:lnTo>
                <a:lnTo>
                  <a:pt x="60" y="50"/>
                </a:lnTo>
                <a:lnTo>
                  <a:pt x="57" y="53"/>
                </a:lnTo>
                <a:lnTo>
                  <a:pt x="57" y="60"/>
                </a:lnTo>
                <a:lnTo>
                  <a:pt x="53" y="63"/>
                </a:lnTo>
                <a:lnTo>
                  <a:pt x="53" y="63"/>
                </a:lnTo>
                <a:lnTo>
                  <a:pt x="47" y="60"/>
                </a:lnTo>
                <a:lnTo>
                  <a:pt x="47" y="60"/>
                </a:lnTo>
                <a:lnTo>
                  <a:pt x="38" y="60"/>
                </a:lnTo>
                <a:lnTo>
                  <a:pt x="38" y="56"/>
                </a:lnTo>
                <a:lnTo>
                  <a:pt x="38" y="5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4" name="Freeform 62">
            <a:extLst>
              <a:ext uri="{FF2B5EF4-FFF2-40B4-BE49-F238E27FC236}">
                <a16:creationId xmlns:a16="http://schemas.microsoft.com/office/drawing/2014/main" id="{97B7A77F-8433-BE01-679E-3BA4F6A72EB4}"/>
              </a:ext>
            </a:extLst>
          </p:cNvPr>
          <p:cNvSpPr>
            <a:spLocks/>
          </p:cNvSpPr>
          <p:nvPr userDrawn="1"/>
        </p:nvSpPr>
        <p:spPr bwMode="auto">
          <a:xfrm>
            <a:off x="13924643" y="6209581"/>
            <a:ext cx="187314" cy="117478"/>
          </a:xfrm>
          <a:custGeom>
            <a:avLst/>
            <a:gdLst>
              <a:gd name="T0" fmla="*/ 3 w 59"/>
              <a:gd name="T1" fmla="*/ 37 h 37"/>
              <a:gd name="T2" fmla="*/ 9 w 59"/>
              <a:gd name="T3" fmla="*/ 34 h 37"/>
              <a:gd name="T4" fmla="*/ 15 w 59"/>
              <a:gd name="T5" fmla="*/ 31 h 37"/>
              <a:gd name="T6" fmla="*/ 18 w 59"/>
              <a:gd name="T7" fmla="*/ 31 h 37"/>
              <a:gd name="T8" fmla="*/ 25 w 59"/>
              <a:gd name="T9" fmla="*/ 34 h 37"/>
              <a:gd name="T10" fmla="*/ 31 w 59"/>
              <a:gd name="T11" fmla="*/ 34 h 37"/>
              <a:gd name="T12" fmla="*/ 31 w 59"/>
              <a:gd name="T13" fmla="*/ 28 h 37"/>
              <a:gd name="T14" fmla="*/ 37 w 59"/>
              <a:gd name="T15" fmla="*/ 25 h 37"/>
              <a:gd name="T16" fmla="*/ 37 w 59"/>
              <a:gd name="T17" fmla="*/ 18 h 37"/>
              <a:gd name="T18" fmla="*/ 50 w 59"/>
              <a:gd name="T19" fmla="*/ 12 h 37"/>
              <a:gd name="T20" fmla="*/ 59 w 59"/>
              <a:gd name="T21" fmla="*/ 12 h 37"/>
              <a:gd name="T22" fmla="*/ 59 w 59"/>
              <a:gd name="T23" fmla="*/ 6 h 37"/>
              <a:gd name="T24" fmla="*/ 53 w 59"/>
              <a:gd name="T25" fmla="*/ 0 h 37"/>
              <a:gd name="T26" fmla="*/ 46 w 59"/>
              <a:gd name="T27" fmla="*/ 0 h 37"/>
              <a:gd name="T28" fmla="*/ 40 w 59"/>
              <a:gd name="T29" fmla="*/ 6 h 37"/>
              <a:gd name="T30" fmla="*/ 37 w 59"/>
              <a:gd name="T31" fmla="*/ 6 h 37"/>
              <a:gd name="T32" fmla="*/ 34 w 59"/>
              <a:gd name="T33" fmla="*/ 6 h 37"/>
              <a:gd name="T34" fmla="*/ 31 w 59"/>
              <a:gd name="T35" fmla="*/ 9 h 37"/>
              <a:gd name="T36" fmla="*/ 25 w 59"/>
              <a:gd name="T37" fmla="*/ 9 h 37"/>
              <a:gd name="T38" fmla="*/ 21 w 59"/>
              <a:gd name="T39" fmla="*/ 9 h 37"/>
              <a:gd name="T40" fmla="*/ 18 w 59"/>
              <a:gd name="T41" fmla="*/ 6 h 37"/>
              <a:gd name="T42" fmla="*/ 9 w 59"/>
              <a:gd name="T43" fmla="*/ 6 h 37"/>
              <a:gd name="T44" fmla="*/ 6 w 59"/>
              <a:gd name="T45" fmla="*/ 6 h 37"/>
              <a:gd name="T46" fmla="*/ 3 w 59"/>
              <a:gd name="T47" fmla="*/ 12 h 37"/>
              <a:gd name="T48" fmla="*/ 3 w 59"/>
              <a:gd name="T49" fmla="*/ 15 h 37"/>
              <a:gd name="T50" fmla="*/ 0 w 59"/>
              <a:gd name="T51" fmla="*/ 21 h 37"/>
              <a:gd name="T52" fmla="*/ 3 w 59"/>
              <a:gd name="T53" fmla="*/ 28 h 37"/>
              <a:gd name="T54" fmla="*/ 3 w 59"/>
              <a:gd name="T55" fmla="*/ 28 h 37"/>
              <a:gd name="T56" fmla="*/ 6 w 59"/>
              <a:gd name="T57" fmla="*/ 28 h 37"/>
              <a:gd name="T58" fmla="*/ 6 w 59"/>
              <a:gd name="T59" fmla="*/ 31 h 37"/>
              <a:gd name="T60" fmla="*/ 3 w 59"/>
              <a:gd name="T61" fmla="*/ 31 h 37"/>
              <a:gd name="T62" fmla="*/ 3 w 59"/>
              <a:gd name="T6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 h="37">
                <a:moveTo>
                  <a:pt x="3" y="37"/>
                </a:moveTo>
                <a:lnTo>
                  <a:pt x="9" y="34"/>
                </a:lnTo>
                <a:lnTo>
                  <a:pt x="15" y="31"/>
                </a:lnTo>
                <a:lnTo>
                  <a:pt x="18" y="31"/>
                </a:lnTo>
                <a:lnTo>
                  <a:pt x="25" y="34"/>
                </a:lnTo>
                <a:lnTo>
                  <a:pt x="31" y="34"/>
                </a:lnTo>
                <a:lnTo>
                  <a:pt x="31" y="28"/>
                </a:lnTo>
                <a:lnTo>
                  <a:pt x="37" y="25"/>
                </a:lnTo>
                <a:lnTo>
                  <a:pt x="37" y="18"/>
                </a:lnTo>
                <a:lnTo>
                  <a:pt x="50" y="12"/>
                </a:lnTo>
                <a:lnTo>
                  <a:pt x="59" y="12"/>
                </a:lnTo>
                <a:lnTo>
                  <a:pt x="59" y="6"/>
                </a:lnTo>
                <a:lnTo>
                  <a:pt x="53" y="0"/>
                </a:lnTo>
                <a:lnTo>
                  <a:pt x="46" y="0"/>
                </a:lnTo>
                <a:lnTo>
                  <a:pt x="40" y="6"/>
                </a:lnTo>
                <a:lnTo>
                  <a:pt x="37" y="6"/>
                </a:lnTo>
                <a:lnTo>
                  <a:pt x="34" y="6"/>
                </a:lnTo>
                <a:lnTo>
                  <a:pt x="31" y="9"/>
                </a:lnTo>
                <a:lnTo>
                  <a:pt x="25" y="9"/>
                </a:lnTo>
                <a:lnTo>
                  <a:pt x="21" y="9"/>
                </a:lnTo>
                <a:lnTo>
                  <a:pt x="18" y="6"/>
                </a:lnTo>
                <a:lnTo>
                  <a:pt x="9" y="6"/>
                </a:lnTo>
                <a:lnTo>
                  <a:pt x="6" y="6"/>
                </a:lnTo>
                <a:lnTo>
                  <a:pt x="3" y="12"/>
                </a:lnTo>
                <a:lnTo>
                  <a:pt x="3" y="15"/>
                </a:lnTo>
                <a:lnTo>
                  <a:pt x="0" y="21"/>
                </a:lnTo>
                <a:lnTo>
                  <a:pt x="3" y="28"/>
                </a:lnTo>
                <a:lnTo>
                  <a:pt x="3" y="28"/>
                </a:lnTo>
                <a:lnTo>
                  <a:pt x="6" y="28"/>
                </a:lnTo>
                <a:lnTo>
                  <a:pt x="6" y="31"/>
                </a:lnTo>
                <a:lnTo>
                  <a:pt x="3" y="31"/>
                </a:lnTo>
                <a:lnTo>
                  <a:pt x="3" y="3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5" name="Freeform 63">
            <a:extLst>
              <a:ext uri="{FF2B5EF4-FFF2-40B4-BE49-F238E27FC236}">
                <a16:creationId xmlns:a16="http://schemas.microsoft.com/office/drawing/2014/main" id="{02F5B7E7-4EAA-829B-C130-6DBC8032A7BF}"/>
              </a:ext>
            </a:extLst>
          </p:cNvPr>
          <p:cNvSpPr>
            <a:spLocks/>
          </p:cNvSpPr>
          <p:nvPr userDrawn="1"/>
        </p:nvSpPr>
        <p:spPr bwMode="auto">
          <a:xfrm>
            <a:off x="13696058" y="6028609"/>
            <a:ext cx="425422" cy="209550"/>
          </a:xfrm>
          <a:custGeom>
            <a:avLst/>
            <a:gdLst>
              <a:gd name="T0" fmla="*/ 81 w 134"/>
              <a:gd name="T1" fmla="*/ 63 h 66"/>
              <a:gd name="T2" fmla="*/ 93 w 134"/>
              <a:gd name="T3" fmla="*/ 66 h 66"/>
              <a:gd name="T4" fmla="*/ 103 w 134"/>
              <a:gd name="T5" fmla="*/ 66 h 66"/>
              <a:gd name="T6" fmla="*/ 109 w 134"/>
              <a:gd name="T7" fmla="*/ 63 h 66"/>
              <a:gd name="T8" fmla="*/ 118 w 134"/>
              <a:gd name="T9" fmla="*/ 57 h 66"/>
              <a:gd name="T10" fmla="*/ 128 w 134"/>
              <a:gd name="T11" fmla="*/ 53 h 66"/>
              <a:gd name="T12" fmla="*/ 128 w 134"/>
              <a:gd name="T13" fmla="*/ 44 h 66"/>
              <a:gd name="T14" fmla="*/ 125 w 134"/>
              <a:gd name="T15" fmla="*/ 38 h 66"/>
              <a:gd name="T16" fmla="*/ 134 w 134"/>
              <a:gd name="T17" fmla="*/ 35 h 66"/>
              <a:gd name="T18" fmla="*/ 134 w 134"/>
              <a:gd name="T19" fmla="*/ 25 h 66"/>
              <a:gd name="T20" fmla="*/ 134 w 134"/>
              <a:gd name="T21" fmla="*/ 10 h 66"/>
              <a:gd name="T22" fmla="*/ 122 w 134"/>
              <a:gd name="T23" fmla="*/ 6 h 66"/>
              <a:gd name="T24" fmla="*/ 112 w 134"/>
              <a:gd name="T25" fmla="*/ 6 h 66"/>
              <a:gd name="T26" fmla="*/ 100 w 134"/>
              <a:gd name="T27" fmla="*/ 3 h 66"/>
              <a:gd name="T28" fmla="*/ 93 w 134"/>
              <a:gd name="T29" fmla="*/ 3 h 66"/>
              <a:gd name="T30" fmla="*/ 90 w 134"/>
              <a:gd name="T31" fmla="*/ 10 h 66"/>
              <a:gd name="T32" fmla="*/ 84 w 134"/>
              <a:gd name="T33" fmla="*/ 13 h 66"/>
              <a:gd name="T34" fmla="*/ 72 w 134"/>
              <a:gd name="T35" fmla="*/ 6 h 66"/>
              <a:gd name="T36" fmla="*/ 72 w 134"/>
              <a:gd name="T37" fmla="*/ 13 h 66"/>
              <a:gd name="T38" fmla="*/ 65 w 134"/>
              <a:gd name="T39" fmla="*/ 16 h 66"/>
              <a:gd name="T40" fmla="*/ 56 w 134"/>
              <a:gd name="T41" fmla="*/ 25 h 66"/>
              <a:gd name="T42" fmla="*/ 62 w 134"/>
              <a:gd name="T43" fmla="*/ 31 h 66"/>
              <a:gd name="T44" fmla="*/ 59 w 134"/>
              <a:gd name="T45" fmla="*/ 35 h 66"/>
              <a:gd name="T46" fmla="*/ 50 w 134"/>
              <a:gd name="T47" fmla="*/ 35 h 66"/>
              <a:gd name="T48" fmla="*/ 43 w 134"/>
              <a:gd name="T49" fmla="*/ 35 h 66"/>
              <a:gd name="T50" fmla="*/ 34 w 134"/>
              <a:gd name="T51" fmla="*/ 38 h 66"/>
              <a:gd name="T52" fmla="*/ 28 w 134"/>
              <a:gd name="T53" fmla="*/ 38 h 66"/>
              <a:gd name="T54" fmla="*/ 18 w 134"/>
              <a:gd name="T55" fmla="*/ 35 h 66"/>
              <a:gd name="T56" fmla="*/ 15 w 134"/>
              <a:gd name="T57" fmla="*/ 41 h 66"/>
              <a:gd name="T58" fmla="*/ 9 w 134"/>
              <a:gd name="T59" fmla="*/ 41 h 66"/>
              <a:gd name="T60" fmla="*/ 3 w 134"/>
              <a:gd name="T61" fmla="*/ 38 h 66"/>
              <a:gd name="T62" fmla="*/ 0 w 134"/>
              <a:gd name="T63" fmla="*/ 38 h 66"/>
              <a:gd name="T64" fmla="*/ 0 w 134"/>
              <a:gd name="T65" fmla="*/ 44 h 66"/>
              <a:gd name="T66" fmla="*/ 3 w 134"/>
              <a:gd name="T67" fmla="*/ 50 h 66"/>
              <a:gd name="T68" fmla="*/ 9 w 134"/>
              <a:gd name="T69" fmla="*/ 47 h 66"/>
              <a:gd name="T70" fmla="*/ 15 w 134"/>
              <a:gd name="T71" fmla="*/ 50 h 66"/>
              <a:gd name="T72" fmla="*/ 22 w 134"/>
              <a:gd name="T73" fmla="*/ 53 h 66"/>
              <a:gd name="T74" fmla="*/ 28 w 134"/>
              <a:gd name="T75" fmla="*/ 53 h 66"/>
              <a:gd name="T76" fmla="*/ 40 w 134"/>
              <a:gd name="T77" fmla="*/ 50 h 66"/>
              <a:gd name="T78" fmla="*/ 47 w 134"/>
              <a:gd name="T79" fmla="*/ 53 h 66"/>
              <a:gd name="T80" fmla="*/ 68 w 134"/>
              <a:gd name="T81" fmla="*/ 63 h 66"/>
              <a:gd name="T82" fmla="*/ 78 w 134"/>
              <a:gd name="T83" fmla="*/ 6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4" h="66">
                <a:moveTo>
                  <a:pt x="78" y="63"/>
                </a:moveTo>
                <a:lnTo>
                  <a:pt x="81" y="63"/>
                </a:lnTo>
                <a:lnTo>
                  <a:pt x="90" y="63"/>
                </a:lnTo>
                <a:lnTo>
                  <a:pt x="93" y="66"/>
                </a:lnTo>
                <a:lnTo>
                  <a:pt x="97" y="66"/>
                </a:lnTo>
                <a:lnTo>
                  <a:pt x="103" y="66"/>
                </a:lnTo>
                <a:lnTo>
                  <a:pt x="106" y="63"/>
                </a:lnTo>
                <a:lnTo>
                  <a:pt x="109" y="63"/>
                </a:lnTo>
                <a:lnTo>
                  <a:pt x="112" y="63"/>
                </a:lnTo>
                <a:lnTo>
                  <a:pt x="118" y="57"/>
                </a:lnTo>
                <a:lnTo>
                  <a:pt x="125" y="57"/>
                </a:lnTo>
                <a:lnTo>
                  <a:pt x="128" y="53"/>
                </a:lnTo>
                <a:lnTo>
                  <a:pt x="128" y="47"/>
                </a:lnTo>
                <a:lnTo>
                  <a:pt x="128" y="44"/>
                </a:lnTo>
                <a:lnTo>
                  <a:pt x="128" y="41"/>
                </a:lnTo>
                <a:lnTo>
                  <a:pt x="125" y="38"/>
                </a:lnTo>
                <a:lnTo>
                  <a:pt x="125" y="35"/>
                </a:lnTo>
                <a:lnTo>
                  <a:pt x="134" y="35"/>
                </a:lnTo>
                <a:lnTo>
                  <a:pt x="134" y="31"/>
                </a:lnTo>
                <a:lnTo>
                  <a:pt x="134" y="25"/>
                </a:lnTo>
                <a:lnTo>
                  <a:pt x="134" y="16"/>
                </a:lnTo>
                <a:lnTo>
                  <a:pt x="134" y="10"/>
                </a:lnTo>
                <a:lnTo>
                  <a:pt x="125" y="6"/>
                </a:lnTo>
                <a:lnTo>
                  <a:pt x="122" y="6"/>
                </a:lnTo>
                <a:lnTo>
                  <a:pt x="118" y="6"/>
                </a:lnTo>
                <a:lnTo>
                  <a:pt x="112" y="6"/>
                </a:lnTo>
                <a:lnTo>
                  <a:pt x="106" y="3"/>
                </a:lnTo>
                <a:lnTo>
                  <a:pt x="100" y="3"/>
                </a:lnTo>
                <a:lnTo>
                  <a:pt x="97" y="0"/>
                </a:lnTo>
                <a:lnTo>
                  <a:pt x="93" y="3"/>
                </a:lnTo>
                <a:lnTo>
                  <a:pt x="93" y="6"/>
                </a:lnTo>
                <a:lnTo>
                  <a:pt x="90" y="10"/>
                </a:lnTo>
                <a:lnTo>
                  <a:pt x="87" y="10"/>
                </a:lnTo>
                <a:lnTo>
                  <a:pt x="84" y="13"/>
                </a:lnTo>
                <a:lnTo>
                  <a:pt x="75" y="6"/>
                </a:lnTo>
                <a:lnTo>
                  <a:pt x="72" y="6"/>
                </a:lnTo>
                <a:lnTo>
                  <a:pt x="72" y="10"/>
                </a:lnTo>
                <a:lnTo>
                  <a:pt x="72" y="13"/>
                </a:lnTo>
                <a:lnTo>
                  <a:pt x="68" y="13"/>
                </a:lnTo>
                <a:lnTo>
                  <a:pt x="65" y="16"/>
                </a:lnTo>
                <a:lnTo>
                  <a:pt x="62" y="19"/>
                </a:lnTo>
                <a:lnTo>
                  <a:pt x="56" y="25"/>
                </a:lnTo>
                <a:lnTo>
                  <a:pt x="56" y="28"/>
                </a:lnTo>
                <a:lnTo>
                  <a:pt x="62" y="31"/>
                </a:lnTo>
                <a:lnTo>
                  <a:pt x="62" y="35"/>
                </a:lnTo>
                <a:lnTo>
                  <a:pt x="59" y="35"/>
                </a:lnTo>
                <a:lnTo>
                  <a:pt x="56" y="35"/>
                </a:lnTo>
                <a:lnTo>
                  <a:pt x="50" y="35"/>
                </a:lnTo>
                <a:lnTo>
                  <a:pt x="47" y="35"/>
                </a:lnTo>
                <a:lnTo>
                  <a:pt x="43" y="35"/>
                </a:lnTo>
                <a:lnTo>
                  <a:pt x="37" y="38"/>
                </a:lnTo>
                <a:lnTo>
                  <a:pt x="34" y="38"/>
                </a:lnTo>
                <a:lnTo>
                  <a:pt x="31" y="38"/>
                </a:lnTo>
                <a:lnTo>
                  <a:pt x="28" y="38"/>
                </a:lnTo>
                <a:lnTo>
                  <a:pt x="25" y="38"/>
                </a:lnTo>
                <a:lnTo>
                  <a:pt x="18" y="35"/>
                </a:lnTo>
                <a:lnTo>
                  <a:pt x="12" y="38"/>
                </a:lnTo>
                <a:lnTo>
                  <a:pt x="15" y="41"/>
                </a:lnTo>
                <a:lnTo>
                  <a:pt x="12" y="41"/>
                </a:lnTo>
                <a:lnTo>
                  <a:pt x="9" y="41"/>
                </a:lnTo>
                <a:lnTo>
                  <a:pt x="6" y="38"/>
                </a:lnTo>
                <a:lnTo>
                  <a:pt x="3" y="38"/>
                </a:lnTo>
                <a:lnTo>
                  <a:pt x="0" y="38"/>
                </a:lnTo>
                <a:lnTo>
                  <a:pt x="0" y="38"/>
                </a:lnTo>
                <a:lnTo>
                  <a:pt x="0" y="41"/>
                </a:lnTo>
                <a:lnTo>
                  <a:pt x="0" y="44"/>
                </a:lnTo>
                <a:lnTo>
                  <a:pt x="3" y="44"/>
                </a:lnTo>
                <a:lnTo>
                  <a:pt x="3" y="50"/>
                </a:lnTo>
                <a:lnTo>
                  <a:pt x="6" y="50"/>
                </a:lnTo>
                <a:lnTo>
                  <a:pt x="9" y="47"/>
                </a:lnTo>
                <a:lnTo>
                  <a:pt x="12" y="53"/>
                </a:lnTo>
                <a:lnTo>
                  <a:pt x="15" y="50"/>
                </a:lnTo>
                <a:lnTo>
                  <a:pt x="18" y="50"/>
                </a:lnTo>
                <a:lnTo>
                  <a:pt x="22" y="53"/>
                </a:lnTo>
                <a:lnTo>
                  <a:pt x="22" y="53"/>
                </a:lnTo>
                <a:lnTo>
                  <a:pt x="28" y="53"/>
                </a:lnTo>
                <a:lnTo>
                  <a:pt x="37" y="50"/>
                </a:lnTo>
                <a:lnTo>
                  <a:pt x="40" y="50"/>
                </a:lnTo>
                <a:lnTo>
                  <a:pt x="50" y="50"/>
                </a:lnTo>
                <a:lnTo>
                  <a:pt x="47" y="53"/>
                </a:lnTo>
                <a:lnTo>
                  <a:pt x="56" y="60"/>
                </a:lnTo>
                <a:lnTo>
                  <a:pt x="68" y="63"/>
                </a:lnTo>
                <a:lnTo>
                  <a:pt x="75" y="60"/>
                </a:lnTo>
                <a:lnTo>
                  <a:pt x="78" y="63"/>
                </a:lnTo>
                <a:lnTo>
                  <a:pt x="78" y="63"/>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6" name="Freeform 64">
            <a:extLst>
              <a:ext uri="{FF2B5EF4-FFF2-40B4-BE49-F238E27FC236}">
                <a16:creationId xmlns:a16="http://schemas.microsoft.com/office/drawing/2014/main" id="{A853D176-7B95-95F0-0F45-E7520FB6DEDD}"/>
              </a:ext>
            </a:extLst>
          </p:cNvPr>
          <p:cNvSpPr>
            <a:spLocks/>
          </p:cNvSpPr>
          <p:nvPr userDrawn="1"/>
        </p:nvSpPr>
        <p:spPr bwMode="auto">
          <a:xfrm>
            <a:off x="13934164" y="5533306"/>
            <a:ext cx="574641" cy="485776"/>
          </a:xfrm>
          <a:custGeom>
            <a:avLst/>
            <a:gdLst>
              <a:gd name="T0" fmla="*/ 109 w 181"/>
              <a:gd name="T1" fmla="*/ 153 h 153"/>
              <a:gd name="T2" fmla="*/ 115 w 181"/>
              <a:gd name="T3" fmla="*/ 147 h 153"/>
              <a:gd name="T4" fmla="*/ 122 w 181"/>
              <a:gd name="T5" fmla="*/ 147 h 153"/>
              <a:gd name="T6" fmla="*/ 131 w 181"/>
              <a:gd name="T7" fmla="*/ 150 h 153"/>
              <a:gd name="T8" fmla="*/ 134 w 181"/>
              <a:gd name="T9" fmla="*/ 147 h 153"/>
              <a:gd name="T10" fmla="*/ 140 w 181"/>
              <a:gd name="T11" fmla="*/ 147 h 153"/>
              <a:gd name="T12" fmla="*/ 156 w 181"/>
              <a:gd name="T13" fmla="*/ 153 h 153"/>
              <a:gd name="T14" fmla="*/ 162 w 181"/>
              <a:gd name="T15" fmla="*/ 147 h 153"/>
              <a:gd name="T16" fmla="*/ 172 w 181"/>
              <a:gd name="T17" fmla="*/ 128 h 153"/>
              <a:gd name="T18" fmla="*/ 178 w 181"/>
              <a:gd name="T19" fmla="*/ 119 h 153"/>
              <a:gd name="T20" fmla="*/ 181 w 181"/>
              <a:gd name="T21" fmla="*/ 112 h 153"/>
              <a:gd name="T22" fmla="*/ 178 w 181"/>
              <a:gd name="T23" fmla="*/ 106 h 153"/>
              <a:gd name="T24" fmla="*/ 175 w 181"/>
              <a:gd name="T25" fmla="*/ 103 h 153"/>
              <a:gd name="T26" fmla="*/ 172 w 181"/>
              <a:gd name="T27" fmla="*/ 94 h 153"/>
              <a:gd name="T28" fmla="*/ 172 w 181"/>
              <a:gd name="T29" fmla="*/ 78 h 153"/>
              <a:gd name="T30" fmla="*/ 165 w 181"/>
              <a:gd name="T31" fmla="*/ 65 h 153"/>
              <a:gd name="T32" fmla="*/ 172 w 181"/>
              <a:gd name="T33" fmla="*/ 59 h 153"/>
              <a:gd name="T34" fmla="*/ 172 w 181"/>
              <a:gd name="T35" fmla="*/ 47 h 153"/>
              <a:gd name="T36" fmla="*/ 165 w 181"/>
              <a:gd name="T37" fmla="*/ 37 h 153"/>
              <a:gd name="T38" fmla="*/ 159 w 181"/>
              <a:gd name="T39" fmla="*/ 22 h 153"/>
              <a:gd name="T40" fmla="*/ 159 w 181"/>
              <a:gd name="T41" fmla="*/ 12 h 153"/>
              <a:gd name="T42" fmla="*/ 153 w 181"/>
              <a:gd name="T43" fmla="*/ 6 h 153"/>
              <a:gd name="T44" fmla="*/ 100 w 181"/>
              <a:gd name="T45" fmla="*/ 9 h 153"/>
              <a:gd name="T46" fmla="*/ 90 w 181"/>
              <a:gd name="T47" fmla="*/ 15 h 153"/>
              <a:gd name="T48" fmla="*/ 84 w 181"/>
              <a:gd name="T49" fmla="*/ 15 h 153"/>
              <a:gd name="T50" fmla="*/ 97 w 181"/>
              <a:gd name="T51" fmla="*/ 6 h 153"/>
              <a:gd name="T52" fmla="*/ 90 w 181"/>
              <a:gd name="T53" fmla="*/ 12 h 153"/>
              <a:gd name="T54" fmla="*/ 75 w 181"/>
              <a:gd name="T55" fmla="*/ 12 h 153"/>
              <a:gd name="T56" fmla="*/ 75 w 181"/>
              <a:gd name="T57" fmla="*/ 3 h 153"/>
              <a:gd name="T58" fmla="*/ 81 w 181"/>
              <a:gd name="T59" fmla="*/ 6 h 153"/>
              <a:gd name="T60" fmla="*/ 75 w 181"/>
              <a:gd name="T61" fmla="*/ 3 h 153"/>
              <a:gd name="T62" fmla="*/ 56 w 181"/>
              <a:gd name="T63" fmla="*/ 3 h 153"/>
              <a:gd name="T64" fmla="*/ 47 w 181"/>
              <a:gd name="T65" fmla="*/ 6 h 153"/>
              <a:gd name="T66" fmla="*/ 37 w 181"/>
              <a:gd name="T67" fmla="*/ 9 h 153"/>
              <a:gd name="T68" fmla="*/ 34 w 181"/>
              <a:gd name="T69" fmla="*/ 19 h 153"/>
              <a:gd name="T70" fmla="*/ 18 w 181"/>
              <a:gd name="T71" fmla="*/ 22 h 153"/>
              <a:gd name="T72" fmla="*/ 9 w 181"/>
              <a:gd name="T73" fmla="*/ 28 h 153"/>
              <a:gd name="T74" fmla="*/ 6 w 181"/>
              <a:gd name="T75" fmla="*/ 34 h 153"/>
              <a:gd name="T76" fmla="*/ 6 w 181"/>
              <a:gd name="T77" fmla="*/ 34 h 153"/>
              <a:gd name="T78" fmla="*/ 6 w 181"/>
              <a:gd name="T79" fmla="*/ 50 h 153"/>
              <a:gd name="T80" fmla="*/ 0 w 181"/>
              <a:gd name="T81" fmla="*/ 56 h 153"/>
              <a:gd name="T82" fmla="*/ 6 w 181"/>
              <a:gd name="T83" fmla="*/ 65 h 153"/>
              <a:gd name="T84" fmla="*/ 9 w 181"/>
              <a:gd name="T85" fmla="*/ 75 h 153"/>
              <a:gd name="T86" fmla="*/ 9 w 181"/>
              <a:gd name="T87" fmla="*/ 81 h 153"/>
              <a:gd name="T88" fmla="*/ 15 w 181"/>
              <a:gd name="T89" fmla="*/ 91 h 153"/>
              <a:gd name="T90" fmla="*/ 18 w 181"/>
              <a:gd name="T91" fmla="*/ 103 h 153"/>
              <a:gd name="T92" fmla="*/ 18 w 181"/>
              <a:gd name="T93" fmla="*/ 109 h 153"/>
              <a:gd name="T94" fmla="*/ 22 w 181"/>
              <a:gd name="T95" fmla="*/ 106 h 153"/>
              <a:gd name="T96" fmla="*/ 34 w 181"/>
              <a:gd name="T97" fmla="*/ 106 h 153"/>
              <a:gd name="T98" fmla="*/ 37 w 181"/>
              <a:gd name="T99" fmla="*/ 112 h 153"/>
              <a:gd name="T100" fmla="*/ 43 w 181"/>
              <a:gd name="T101" fmla="*/ 116 h 153"/>
              <a:gd name="T102" fmla="*/ 40 w 181"/>
              <a:gd name="T103" fmla="*/ 122 h 153"/>
              <a:gd name="T104" fmla="*/ 43 w 181"/>
              <a:gd name="T105" fmla="*/ 128 h 153"/>
              <a:gd name="T106" fmla="*/ 47 w 181"/>
              <a:gd name="T107" fmla="*/ 125 h 153"/>
              <a:gd name="T108" fmla="*/ 47 w 181"/>
              <a:gd name="T109" fmla="*/ 119 h 153"/>
              <a:gd name="T110" fmla="*/ 56 w 181"/>
              <a:gd name="T111" fmla="*/ 125 h 153"/>
              <a:gd name="T112" fmla="*/ 62 w 181"/>
              <a:gd name="T113" fmla="*/ 125 h 153"/>
              <a:gd name="T114" fmla="*/ 72 w 181"/>
              <a:gd name="T115" fmla="*/ 128 h 153"/>
              <a:gd name="T116" fmla="*/ 90 w 181"/>
              <a:gd name="T117" fmla="*/ 137 h 153"/>
              <a:gd name="T118" fmla="*/ 97 w 181"/>
              <a:gd name="T119" fmla="*/ 144 h 153"/>
              <a:gd name="T120" fmla="*/ 106 w 181"/>
              <a:gd name="T121" fmla="*/ 144 h 153"/>
              <a:gd name="T122" fmla="*/ 109 w 181"/>
              <a:gd name="T123" fmla="*/ 1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 h="153">
                <a:moveTo>
                  <a:pt x="109" y="150"/>
                </a:moveTo>
                <a:lnTo>
                  <a:pt x="109" y="153"/>
                </a:lnTo>
                <a:lnTo>
                  <a:pt x="112" y="153"/>
                </a:lnTo>
                <a:lnTo>
                  <a:pt x="115" y="147"/>
                </a:lnTo>
                <a:lnTo>
                  <a:pt x="118" y="147"/>
                </a:lnTo>
                <a:lnTo>
                  <a:pt x="122" y="147"/>
                </a:lnTo>
                <a:lnTo>
                  <a:pt x="128" y="147"/>
                </a:lnTo>
                <a:lnTo>
                  <a:pt x="131" y="150"/>
                </a:lnTo>
                <a:lnTo>
                  <a:pt x="131" y="147"/>
                </a:lnTo>
                <a:lnTo>
                  <a:pt x="134" y="147"/>
                </a:lnTo>
                <a:lnTo>
                  <a:pt x="137" y="147"/>
                </a:lnTo>
                <a:lnTo>
                  <a:pt x="140" y="147"/>
                </a:lnTo>
                <a:lnTo>
                  <a:pt x="147" y="147"/>
                </a:lnTo>
                <a:lnTo>
                  <a:pt x="156" y="153"/>
                </a:lnTo>
                <a:lnTo>
                  <a:pt x="159" y="153"/>
                </a:lnTo>
                <a:lnTo>
                  <a:pt x="162" y="147"/>
                </a:lnTo>
                <a:lnTo>
                  <a:pt x="159" y="141"/>
                </a:lnTo>
                <a:lnTo>
                  <a:pt x="172" y="128"/>
                </a:lnTo>
                <a:lnTo>
                  <a:pt x="175" y="122"/>
                </a:lnTo>
                <a:lnTo>
                  <a:pt x="178" y="119"/>
                </a:lnTo>
                <a:lnTo>
                  <a:pt x="181" y="119"/>
                </a:lnTo>
                <a:lnTo>
                  <a:pt x="181" y="112"/>
                </a:lnTo>
                <a:lnTo>
                  <a:pt x="181" y="109"/>
                </a:lnTo>
                <a:lnTo>
                  <a:pt x="178" y="106"/>
                </a:lnTo>
                <a:lnTo>
                  <a:pt x="181" y="103"/>
                </a:lnTo>
                <a:lnTo>
                  <a:pt x="175" y="103"/>
                </a:lnTo>
                <a:lnTo>
                  <a:pt x="175" y="97"/>
                </a:lnTo>
                <a:lnTo>
                  <a:pt x="172" y="94"/>
                </a:lnTo>
                <a:lnTo>
                  <a:pt x="172" y="84"/>
                </a:lnTo>
                <a:lnTo>
                  <a:pt x="172" y="78"/>
                </a:lnTo>
                <a:lnTo>
                  <a:pt x="168" y="72"/>
                </a:lnTo>
                <a:lnTo>
                  <a:pt x="165" y="65"/>
                </a:lnTo>
                <a:lnTo>
                  <a:pt x="168" y="62"/>
                </a:lnTo>
                <a:lnTo>
                  <a:pt x="172" y="59"/>
                </a:lnTo>
                <a:lnTo>
                  <a:pt x="172" y="47"/>
                </a:lnTo>
                <a:lnTo>
                  <a:pt x="172" y="47"/>
                </a:lnTo>
                <a:lnTo>
                  <a:pt x="168" y="40"/>
                </a:lnTo>
                <a:lnTo>
                  <a:pt x="165" y="37"/>
                </a:lnTo>
                <a:lnTo>
                  <a:pt x="165" y="28"/>
                </a:lnTo>
                <a:lnTo>
                  <a:pt x="159" y="22"/>
                </a:lnTo>
                <a:lnTo>
                  <a:pt x="162" y="19"/>
                </a:lnTo>
                <a:lnTo>
                  <a:pt x="159" y="12"/>
                </a:lnTo>
                <a:lnTo>
                  <a:pt x="156" y="9"/>
                </a:lnTo>
                <a:lnTo>
                  <a:pt x="153" y="6"/>
                </a:lnTo>
                <a:lnTo>
                  <a:pt x="125" y="9"/>
                </a:lnTo>
                <a:lnTo>
                  <a:pt x="100" y="9"/>
                </a:lnTo>
                <a:lnTo>
                  <a:pt x="100" y="9"/>
                </a:lnTo>
                <a:lnTo>
                  <a:pt x="90" y="15"/>
                </a:lnTo>
                <a:lnTo>
                  <a:pt x="87" y="15"/>
                </a:lnTo>
                <a:lnTo>
                  <a:pt x="84" y="15"/>
                </a:lnTo>
                <a:lnTo>
                  <a:pt x="90" y="12"/>
                </a:lnTo>
                <a:lnTo>
                  <a:pt x="97" y="6"/>
                </a:lnTo>
                <a:lnTo>
                  <a:pt x="93" y="6"/>
                </a:lnTo>
                <a:lnTo>
                  <a:pt x="90" y="12"/>
                </a:lnTo>
                <a:lnTo>
                  <a:pt x="81" y="15"/>
                </a:lnTo>
                <a:lnTo>
                  <a:pt x="75" y="12"/>
                </a:lnTo>
                <a:lnTo>
                  <a:pt x="72" y="6"/>
                </a:lnTo>
                <a:lnTo>
                  <a:pt x="75" y="3"/>
                </a:lnTo>
                <a:lnTo>
                  <a:pt x="78" y="6"/>
                </a:lnTo>
                <a:lnTo>
                  <a:pt x="81" y="6"/>
                </a:lnTo>
                <a:lnTo>
                  <a:pt x="81" y="6"/>
                </a:lnTo>
                <a:lnTo>
                  <a:pt x="75" y="3"/>
                </a:lnTo>
                <a:lnTo>
                  <a:pt x="65" y="0"/>
                </a:lnTo>
                <a:lnTo>
                  <a:pt x="56" y="3"/>
                </a:lnTo>
                <a:lnTo>
                  <a:pt x="53" y="3"/>
                </a:lnTo>
                <a:lnTo>
                  <a:pt x="47" y="6"/>
                </a:lnTo>
                <a:lnTo>
                  <a:pt x="43" y="9"/>
                </a:lnTo>
                <a:lnTo>
                  <a:pt x="37" y="9"/>
                </a:lnTo>
                <a:lnTo>
                  <a:pt x="34" y="15"/>
                </a:lnTo>
                <a:lnTo>
                  <a:pt x="34" y="19"/>
                </a:lnTo>
                <a:lnTo>
                  <a:pt x="28" y="19"/>
                </a:lnTo>
                <a:lnTo>
                  <a:pt x="18" y="22"/>
                </a:lnTo>
                <a:lnTo>
                  <a:pt x="12" y="22"/>
                </a:lnTo>
                <a:lnTo>
                  <a:pt x="9" y="28"/>
                </a:lnTo>
                <a:lnTo>
                  <a:pt x="6" y="31"/>
                </a:lnTo>
                <a:lnTo>
                  <a:pt x="6" y="34"/>
                </a:lnTo>
                <a:lnTo>
                  <a:pt x="6" y="34"/>
                </a:lnTo>
                <a:lnTo>
                  <a:pt x="6" y="34"/>
                </a:lnTo>
                <a:lnTo>
                  <a:pt x="6" y="44"/>
                </a:lnTo>
                <a:lnTo>
                  <a:pt x="6" y="50"/>
                </a:lnTo>
                <a:lnTo>
                  <a:pt x="0" y="53"/>
                </a:lnTo>
                <a:lnTo>
                  <a:pt x="0" y="56"/>
                </a:lnTo>
                <a:lnTo>
                  <a:pt x="6" y="62"/>
                </a:lnTo>
                <a:lnTo>
                  <a:pt x="6" y="65"/>
                </a:lnTo>
                <a:lnTo>
                  <a:pt x="9" y="72"/>
                </a:lnTo>
                <a:lnTo>
                  <a:pt x="9" y="75"/>
                </a:lnTo>
                <a:lnTo>
                  <a:pt x="9" y="78"/>
                </a:lnTo>
                <a:lnTo>
                  <a:pt x="9" y="81"/>
                </a:lnTo>
                <a:lnTo>
                  <a:pt x="12" y="87"/>
                </a:lnTo>
                <a:lnTo>
                  <a:pt x="15" y="91"/>
                </a:lnTo>
                <a:lnTo>
                  <a:pt x="18" y="94"/>
                </a:lnTo>
                <a:lnTo>
                  <a:pt x="18" y="103"/>
                </a:lnTo>
                <a:lnTo>
                  <a:pt x="15" y="106"/>
                </a:lnTo>
                <a:lnTo>
                  <a:pt x="18" y="109"/>
                </a:lnTo>
                <a:lnTo>
                  <a:pt x="18" y="106"/>
                </a:lnTo>
                <a:lnTo>
                  <a:pt x="22" y="106"/>
                </a:lnTo>
                <a:lnTo>
                  <a:pt x="25" y="106"/>
                </a:lnTo>
                <a:lnTo>
                  <a:pt x="34" y="106"/>
                </a:lnTo>
                <a:lnTo>
                  <a:pt x="34" y="109"/>
                </a:lnTo>
                <a:lnTo>
                  <a:pt x="37" y="112"/>
                </a:lnTo>
                <a:lnTo>
                  <a:pt x="40" y="112"/>
                </a:lnTo>
                <a:lnTo>
                  <a:pt x="43" y="116"/>
                </a:lnTo>
                <a:lnTo>
                  <a:pt x="40" y="119"/>
                </a:lnTo>
                <a:lnTo>
                  <a:pt x="40" y="122"/>
                </a:lnTo>
                <a:lnTo>
                  <a:pt x="43" y="122"/>
                </a:lnTo>
                <a:lnTo>
                  <a:pt x="43" y="128"/>
                </a:lnTo>
                <a:lnTo>
                  <a:pt x="47" y="128"/>
                </a:lnTo>
                <a:lnTo>
                  <a:pt x="47" y="125"/>
                </a:lnTo>
                <a:lnTo>
                  <a:pt x="50" y="125"/>
                </a:lnTo>
                <a:lnTo>
                  <a:pt x="47" y="119"/>
                </a:lnTo>
                <a:lnTo>
                  <a:pt x="47" y="119"/>
                </a:lnTo>
                <a:lnTo>
                  <a:pt x="56" y="125"/>
                </a:lnTo>
                <a:lnTo>
                  <a:pt x="62" y="122"/>
                </a:lnTo>
                <a:lnTo>
                  <a:pt x="62" y="125"/>
                </a:lnTo>
                <a:lnTo>
                  <a:pt x="65" y="131"/>
                </a:lnTo>
                <a:lnTo>
                  <a:pt x="72" y="128"/>
                </a:lnTo>
                <a:lnTo>
                  <a:pt x="78" y="131"/>
                </a:lnTo>
                <a:lnTo>
                  <a:pt x="90" y="137"/>
                </a:lnTo>
                <a:lnTo>
                  <a:pt x="93" y="144"/>
                </a:lnTo>
                <a:lnTo>
                  <a:pt x="97" y="144"/>
                </a:lnTo>
                <a:lnTo>
                  <a:pt x="100" y="144"/>
                </a:lnTo>
                <a:lnTo>
                  <a:pt x="106" y="144"/>
                </a:lnTo>
                <a:lnTo>
                  <a:pt x="109" y="147"/>
                </a:lnTo>
                <a:lnTo>
                  <a:pt x="109" y="15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7" name="Freeform 65">
            <a:extLst>
              <a:ext uri="{FF2B5EF4-FFF2-40B4-BE49-F238E27FC236}">
                <a16:creationId xmlns:a16="http://schemas.microsoft.com/office/drawing/2014/main" id="{D0EED0F1-2DF2-07D5-4365-4462ECF724FC}"/>
              </a:ext>
            </a:extLst>
          </p:cNvPr>
          <p:cNvSpPr>
            <a:spLocks/>
          </p:cNvSpPr>
          <p:nvPr userDrawn="1"/>
        </p:nvSpPr>
        <p:spPr bwMode="auto">
          <a:xfrm>
            <a:off x="13823046" y="5869859"/>
            <a:ext cx="457170" cy="200026"/>
          </a:xfrm>
          <a:custGeom>
            <a:avLst/>
            <a:gdLst>
              <a:gd name="T0" fmla="*/ 53 w 144"/>
              <a:gd name="T1" fmla="*/ 3 h 63"/>
              <a:gd name="T2" fmla="*/ 57 w 144"/>
              <a:gd name="T3" fmla="*/ 0 h 63"/>
              <a:gd name="T4" fmla="*/ 69 w 144"/>
              <a:gd name="T5" fmla="*/ 0 h 63"/>
              <a:gd name="T6" fmla="*/ 72 w 144"/>
              <a:gd name="T7" fmla="*/ 6 h 63"/>
              <a:gd name="T8" fmla="*/ 78 w 144"/>
              <a:gd name="T9" fmla="*/ 10 h 63"/>
              <a:gd name="T10" fmla="*/ 75 w 144"/>
              <a:gd name="T11" fmla="*/ 16 h 63"/>
              <a:gd name="T12" fmla="*/ 78 w 144"/>
              <a:gd name="T13" fmla="*/ 22 h 63"/>
              <a:gd name="T14" fmla="*/ 82 w 144"/>
              <a:gd name="T15" fmla="*/ 19 h 63"/>
              <a:gd name="T16" fmla="*/ 82 w 144"/>
              <a:gd name="T17" fmla="*/ 13 h 63"/>
              <a:gd name="T18" fmla="*/ 91 w 144"/>
              <a:gd name="T19" fmla="*/ 19 h 63"/>
              <a:gd name="T20" fmla="*/ 97 w 144"/>
              <a:gd name="T21" fmla="*/ 19 h 63"/>
              <a:gd name="T22" fmla="*/ 107 w 144"/>
              <a:gd name="T23" fmla="*/ 22 h 63"/>
              <a:gd name="T24" fmla="*/ 125 w 144"/>
              <a:gd name="T25" fmla="*/ 31 h 63"/>
              <a:gd name="T26" fmla="*/ 132 w 144"/>
              <a:gd name="T27" fmla="*/ 38 h 63"/>
              <a:gd name="T28" fmla="*/ 141 w 144"/>
              <a:gd name="T29" fmla="*/ 38 h 63"/>
              <a:gd name="T30" fmla="*/ 144 w 144"/>
              <a:gd name="T31" fmla="*/ 44 h 63"/>
              <a:gd name="T32" fmla="*/ 132 w 144"/>
              <a:gd name="T33" fmla="*/ 47 h 63"/>
              <a:gd name="T34" fmla="*/ 119 w 144"/>
              <a:gd name="T35" fmla="*/ 53 h 63"/>
              <a:gd name="T36" fmla="*/ 107 w 144"/>
              <a:gd name="T37" fmla="*/ 60 h 63"/>
              <a:gd name="T38" fmla="*/ 100 w 144"/>
              <a:gd name="T39" fmla="*/ 56 h 63"/>
              <a:gd name="T40" fmla="*/ 85 w 144"/>
              <a:gd name="T41" fmla="*/ 56 h 63"/>
              <a:gd name="T42" fmla="*/ 78 w 144"/>
              <a:gd name="T43" fmla="*/ 56 h 63"/>
              <a:gd name="T44" fmla="*/ 66 w 144"/>
              <a:gd name="T45" fmla="*/ 53 h 63"/>
              <a:gd name="T46" fmla="*/ 57 w 144"/>
              <a:gd name="T47" fmla="*/ 50 h 63"/>
              <a:gd name="T48" fmla="*/ 53 w 144"/>
              <a:gd name="T49" fmla="*/ 56 h 63"/>
              <a:gd name="T50" fmla="*/ 47 w 144"/>
              <a:gd name="T51" fmla="*/ 60 h 63"/>
              <a:gd name="T52" fmla="*/ 35 w 144"/>
              <a:gd name="T53" fmla="*/ 56 h 63"/>
              <a:gd name="T54" fmla="*/ 32 w 144"/>
              <a:gd name="T55" fmla="*/ 56 h 63"/>
              <a:gd name="T56" fmla="*/ 19 w 144"/>
              <a:gd name="T57" fmla="*/ 44 h 63"/>
              <a:gd name="T58" fmla="*/ 10 w 144"/>
              <a:gd name="T59" fmla="*/ 38 h 63"/>
              <a:gd name="T60" fmla="*/ 10 w 144"/>
              <a:gd name="T61" fmla="*/ 28 h 63"/>
              <a:gd name="T62" fmla="*/ 0 w 144"/>
              <a:gd name="T63" fmla="*/ 19 h 63"/>
              <a:gd name="T64" fmla="*/ 0 w 144"/>
              <a:gd name="T65" fmla="*/ 16 h 63"/>
              <a:gd name="T66" fmla="*/ 7 w 144"/>
              <a:gd name="T67" fmla="*/ 19 h 63"/>
              <a:gd name="T68" fmla="*/ 16 w 144"/>
              <a:gd name="T69" fmla="*/ 13 h 63"/>
              <a:gd name="T70" fmla="*/ 25 w 144"/>
              <a:gd name="T71" fmla="*/ 6 h 63"/>
              <a:gd name="T72" fmla="*/ 35 w 144"/>
              <a:gd name="T73" fmla="*/ 3 h 63"/>
              <a:gd name="T74" fmla="*/ 38 w 144"/>
              <a:gd name="T75" fmla="*/ 3 h 63"/>
              <a:gd name="T76" fmla="*/ 44 w 144"/>
              <a:gd name="T77" fmla="*/ 0 h 63"/>
              <a:gd name="T78" fmla="*/ 50 w 144"/>
              <a:gd name="T7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4" h="63">
                <a:moveTo>
                  <a:pt x="50" y="0"/>
                </a:moveTo>
                <a:lnTo>
                  <a:pt x="53" y="3"/>
                </a:lnTo>
                <a:lnTo>
                  <a:pt x="53" y="0"/>
                </a:lnTo>
                <a:lnTo>
                  <a:pt x="57" y="0"/>
                </a:lnTo>
                <a:lnTo>
                  <a:pt x="60" y="0"/>
                </a:lnTo>
                <a:lnTo>
                  <a:pt x="69" y="0"/>
                </a:lnTo>
                <a:lnTo>
                  <a:pt x="69" y="3"/>
                </a:lnTo>
                <a:lnTo>
                  <a:pt x="72" y="6"/>
                </a:lnTo>
                <a:lnTo>
                  <a:pt x="75" y="6"/>
                </a:lnTo>
                <a:lnTo>
                  <a:pt x="78" y="10"/>
                </a:lnTo>
                <a:lnTo>
                  <a:pt x="75" y="13"/>
                </a:lnTo>
                <a:lnTo>
                  <a:pt x="75" y="16"/>
                </a:lnTo>
                <a:lnTo>
                  <a:pt x="78" y="16"/>
                </a:lnTo>
                <a:lnTo>
                  <a:pt x="78" y="22"/>
                </a:lnTo>
                <a:lnTo>
                  <a:pt x="82" y="22"/>
                </a:lnTo>
                <a:lnTo>
                  <a:pt x="82" y="19"/>
                </a:lnTo>
                <a:lnTo>
                  <a:pt x="85" y="19"/>
                </a:lnTo>
                <a:lnTo>
                  <a:pt x="82" y="13"/>
                </a:lnTo>
                <a:lnTo>
                  <a:pt x="82" y="13"/>
                </a:lnTo>
                <a:lnTo>
                  <a:pt x="91" y="19"/>
                </a:lnTo>
                <a:lnTo>
                  <a:pt x="97" y="16"/>
                </a:lnTo>
                <a:lnTo>
                  <a:pt x="97" y="19"/>
                </a:lnTo>
                <a:lnTo>
                  <a:pt x="100" y="25"/>
                </a:lnTo>
                <a:lnTo>
                  <a:pt x="107" y="22"/>
                </a:lnTo>
                <a:lnTo>
                  <a:pt x="113" y="25"/>
                </a:lnTo>
                <a:lnTo>
                  <a:pt x="125" y="31"/>
                </a:lnTo>
                <a:lnTo>
                  <a:pt x="128" y="38"/>
                </a:lnTo>
                <a:lnTo>
                  <a:pt x="132" y="38"/>
                </a:lnTo>
                <a:lnTo>
                  <a:pt x="135" y="38"/>
                </a:lnTo>
                <a:lnTo>
                  <a:pt x="141" y="38"/>
                </a:lnTo>
                <a:lnTo>
                  <a:pt x="144" y="41"/>
                </a:lnTo>
                <a:lnTo>
                  <a:pt x="144" y="44"/>
                </a:lnTo>
                <a:lnTo>
                  <a:pt x="135" y="44"/>
                </a:lnTo>
                <a:lnTo>
                  <a:pt x="132" y="47"/>
                </a:lnTo>
                <a:lnTo>
                  <a:pt x="125" y="50"/>
                </a:lnTo>
                <a:lnTo>
                  <a:pt x="119" y="53"/>
                </a:lnTo>
                <a:lnTo>
                  <a:pt x="113" y="56"/>
                </a:lnTo>
                <a:lnTo>
                  <a:pt x="107" y="60"/>
                </a:lnTo>
                <a:lnTo>
                  <a:pt x="103" y="56"/>
                </a:lnTo>
                <a:lnTo>
                  <a:pt x="100" y="56"/>
                </a:lnTo>
                <a:lnTo>
                  <a:pt x="94" y="60"/>
                </a:lnTo>
                <a:lnTo>
                  <a:pt x="85" y="56"/>
                </a:lnTo>
                <a:lnTo>
                  <a:pt x="82" y="56"/>
                </a:lnTo>
                <a:lnTo>
                  <a:pt x="78" y="56"/>
                </a:lnTo>
                <a:lnTo>
                  <a:pt x="72" y="56"/>
                </a:lnTo>
                <a:lnTo>
                  <a:pt x="66" y="53"/>
                </a:lnTo>
                <a:lnTo>
                  <a:pt x="60" y="53"/>
                </a:lnTo>
                <a:lnTo>
                  <a:pt x="57" y="50"/>
                </a:lnTo>
                <a:lnTo>
                  <a:pt x="53" y="53"/>
                </a:lnTo>
                <a:lnTo>
                  <a:pt x="53" y="56"/>
                </a:lnTo>
                <a:lnTo>
                  <a:pt x="50" y="60"/>
                </a:lnTo>
                <a:lnTo>
                  <a:pt x="47" y="60"/>
                </a:lnTo>
                <a:lnTo>
                  <a:pt x="44" y="63"/>
                </a:lnTo>
                <a:lnTo>
                  <a:pt x="35" y="56"/>
                </a:lnTo>
                <a:lnTo>
                  <a:pt x="32" y="56"/>
                </a:lnTo>
                <a:lnTo>
                  <a:pt x="32" y="56"/>
                </a:lnTo>
                <a:lnTo>
                  <a:pt x="25" y="47"/>
                </a:lnTo>
                <a:lnTo>
                  <a:pt x="19" y="44"/>
                </a:lnTo>
                <a:lnTo>
                  <a:pt x="13" y="41"/>
                </a:lnTo>
                <a:lnTo>
                  <a:pt x="10" y="38"/>
                </a:lnTo>
                <a:lnTo>
                  <a:pt x="10" y="35"/>
                </a:lnTo>
                <a:lnTo>
                  <a:pt x="10" y="28"/>
                </a:lnTo>
                <a:lnTo>
                  <a:pt x="3" y="22"/>
                </a:lnTo>
                <a:lnTo>
                  <a:pt x="0" y="19"/>
                </a:lnTo>
                <a:lnTo>
                  <a:pt x="0" y="16"/>
                </a:lnTo>
                <a:lnTo>
                  <a:pt x="0" y="16"/>
                </a:lnTo>
                <a:lnTo>
                  <a:pt x="3" y="19"/>
                </a:lnTo>
                <a:lnTo>
                  <a:pt x="7" y="19"/>
                </a:lnTo>
                <a:lnTo>
                  <a:pt x="13" y="13"/>
                </a:lnTo>
                <a:lnTo>
                  <a:pt x="16" y="13"/>
                </a:lnTo>
                <a:lnTo>
                  <a:pt x="19" y="6"/>
                </a:lnTo>
                <a:lnTo>
                  <a:pt x="25" y="6"/>
                </a:lnTo>
                <a:lnTo>
                  <a:pt x="25" y="3"/>
                </a:lnTo>
                <a:lnTo>
                  <a:pt x="35" y="3"/>
                </a:lnTo>
                <a:lnTo>
                  <a:pt x="35" y="6"/>
                </a:lnTo>
                <a:lnTo>
                  <a:pt x="38" y="3"/>
                </a:lnTo>
                <a:lnTo>
                  <a:pt x="38" y="0"/>
                </a:lnTo>
                <a:lnTo>
                  <a:pt x="44" y="0"/>
                </a:lnTo>
                <a:lnTo>
                  <a:pt x="47" y="0"/>
                </a:lnTo>
                <a:lnTo>
                  <a:pt x="50" y="0"/>
                </a:lnTo>
                <a:lnTo>
                  <a:pt x="50" y="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8" name="Freeform 66">
            <a:extLst>
              <a:ext uri="{FF2B5EF4-FFF2-40B4-BE49-F238E27FC236}">
                <a16:creationId xmlns:a16="http://schemas.microsoft.com/office/drawing/2014/main" id="{3BAF052D-6FEE-BAA5-C27F-8C70DFCE5D77}"/>
              </a:ext>
            </a:extLst>
          </p:cNvPr>
          <p:cNvSpPr>
            <a:spLocks/>
          </p:cNvSpPr>
          <p:nvPr userDrawn="1"/>
        </p:nvSpPr>
        <p:spPr bwMode="auto">
          <a:xfrm>
            <a:off x="13467470" y="5533307"/>
            <a:ext cx="523844" cy="625478"/>
          </a:xfrm>
          <a:custGeom>
            <a:avLst/>
            <a:gdLst>
              <a:gd name="T0" fmla="*/ 59 w 165"/>
              <a:gd name="T1" fmla="*/ 3 h 197"/>
              <a:gd name="T2" fmla="*/ 69 w 165"/>
              <a:gd name="T3" fmla="*/ 12 h 197"/>
              <a:gd name="T4" fmla="*/ 72 w 165"/>
              <a:gd name="T5" fmla="*/ 22 h 197"/>
              <a:gd name="T6" fmla="*/ 81 w 165"/>
              <a:gd name="T7" fmla="*/ 19 h 197"/>
              <a:gd name="T8" fmla="*/ 90 w 165"/>
              <a:gd name="T9" fmla="*/ 19 h 197"/>
              <a:gd name="T10" fmla="*/ 84 w 165"/>
              <a:gd name="T11" fmla="*/ 25 h 197"/>
              <a:gd name="T12" fmla="*/ 94 w 165"/>
              <a:gd name="T13" fmla="*/ 28 h 197"/>
              <a:gd name="T14" fmla="*/ 109 w 165"/>
              <a:gd name="T15" fmla="*/ 22 h 197"/>
              <a:gd name="T16" fmla="*/ 115 w 165"/>
              <a:gd name="T17" fmla="*/ 15 h 197"/>
              <a:gd name="T18" fmla="*/ 115 w 165"/>
              <a:gd name="T19" fmla="*/ 19 h 197"/>
              <a:gd name="T20" fmla="*/ 122 w 165"/>
              <a:gd name="T21" fmla="*/ 19 h 197"/>
              <a:gd name="T22" fmla="*/ 134 w 165"/>
              <a:gd name="T23" fmla="*/ 25 h 197"/>
              <a:gd name="T24" fmla="*/ 144 w 165"/>
              <a:gd name="T25" fmla="*/ 34 h 197"/>
              <a:gd name="T26" fmla="*/ 153 w 165"/>
              <a:gd name="T27" fmla="*/ 44 h 197"/>
              <a:gd name="T28" fmla="*/ 153 w 165"/>
              <a:gd name="T29" fmla="*/ 62 h 197"/>
              <a:gd name="T30" fmla="*/ 156 w 165"/>
              <a:gd name="T31" fmla="*/ 78 h 197"/>
              <a:gd name="T32" fmla="*/ 165 w 165"/>
              <a:gd name="T33" fmla="*/ 94 h 197"/>
              <a:gd name="T34" fmla="*/ 156 w 165"/>
              <a:gd name="T35" fmla="*/ 106 h 197"/>
              <a:gd name="T36" fmla="*/ 147 w 165"/>
              <a:gd name="T37" fmla="*/ 109 h 197"/>
              <a:gd name="T38" fmla="*/ 128 w 165"/>
              <a:gd name="T39" fmla="*/ 119 h 197"/>
              <a:gd name="T40" fmla="*/ 112 w 165"/>
              <a:gd name="T41" fmla="*/ 122 h 197"/>
              <a:gd name="T42" fmla="*/ 122 w 165"/>
              <a:gd name="T43" fmla="*/ 134 h 197"/>
              <a:gd name="T44" fmla="*/ 131 w 165"/>
              <a:gd name="T45" fmla="*/ 150 h 197"/>
              <a:gd name="T46" fmla="*/ 144 w 165"/>
              <a:gd name="T47" fmla="*/ 169 h 197"/>
              <a:gd name="T48" fmla="*/ 128 w 165"/>
              <a:gd name="T49" fmla="*/ 181 h 197"/>
              <a:gd name="T50" fmla="*/ 131 w 165"/>
              <a:gd name="T51" fmla="*/ 191 h 197"/>
              <a:gd name="T52" fmla="*/ 115 w 165"/>
              <a:gd name="T53" fmla="*/ 191 h 197"/>
              <a:gd name="T54" fmla="*/ 100 w 165"/>
              <a:gd name="T55" fmla="*/ 194 h 197"/>
              <a:gd name="T56" fmla="*/ 87 w 165"/>
              <a:gd name="T57" fmla="*/ 197 h 197"/>
              <a:gd name="T58" fmla="*/ 75 w 165"/>
              <a:gd name="T59" fmla="*/ 194 h 197"/>
              <a:gd name="T60" fmla="*/ 62 w 165"/>
              <a:gd name="T61" fmla="*/ 191 h 197"/>
              <a:gd name="T62" fmla="*/ 56 w 165"/>
              <a:gd name="T63" fmla="*/ 187 h 197"/>
              <a:gd name="T64" fmla="*/ 44 w 165"/>
              <a:gd name="T65" fmla="*/ 191 h 197"/>
              <a:gd name="T66" fmla="*/ 37 w 165"/>
              <a:gd name="T67" fmla="*/ 187 h 197"/>
              <a:gd name="T68" fmla="*/ 37 w 165"/>
              <a:gd name="T69" fmla="*/ 172 h 197"/>
              <a:gd name="T70" fmla="*/ 40 w 165"/>
              <a:gd name="T71" fmla="*/ 156 h 197"/>
              <a:gd name="T72" fmla="*/ 25 w 165"/>
              <a:gd name="T73" fmla="*/ 153 h 197"/>
              <a:gd name="T74" fmla="*/ 15 w 165"/>
              <a:gd name="T75" fmla="*/ 150 h 197"/>
              <a:gd name="T76" fmla="*/ 9 w 165"/>
              <a:gd name="T77" fmla="*/ 137 h 197"/>
              <a:gd name="T78" fmla="*/ 6 w 165"/>
              <a:gd name="T79" fmla="*/ 122 h 197"/>
              <a:gd name="T80" fmla="*/ 3 w 165"/>
              <a:gd name="T81" fmla="*/ 109 h 197"/>
              <a:gd name="T82" fmla="*/ 3 w 165"/>
              <a:gd name="T83" fmla="*/ 91 h 197"/>
              <a:gd name="T84" fmla="*/ 19 w 165"/>
              <a:gd name="T85" fmla="*/ 84 h 197"/>
              <a:gd name="T86" fmla="*/ 22 w 165"/>
              <a:gd name="T87" fmla="*/ 72 h 197"/>
              <a:gd name="T88" fmla="*/ 15 w 165"/>
              <a:gd name="T89" fmla="*/ 65 h 197"/>
              <a:gd name="T90" fmla="*/ 25 w 165"/>
              <a:gd name="T91" fmla="*/ 59 h 197"/>
              <a:gd name="T92" fmla="*/ 28 w 165"/>
              <a:gd name="T93" fmla="*/ 50 h 197"/>
              <a:gd name="T94" fmla="*/ 22 w 165"/>
              <a:gd name="T95" fmla="*/ 44 h 197"/>
              <a:gd name="T96" fmla="*/ 37 w 165"/>
              <a:gd name="T97" fmla="*/ 37 h 197"/>
              <a:gd name="T98" fmla="*/ 40 w 165"/>
              <a:gd name="T99" fmla="*/ 40 h 197"/>
              <a:gd name="T100" fmla="*/ 44 w 165"/>
              <a:gd name="T101" fmla="*/ 44 h 197"/>
              <a:gd name="T102" fmla="*/ 47 w 165"/>
              <a:gd name="T103" fmla="*/ 37 h 197"/>
              <a:gd name="T104" fmla="*/ 59 w 165"/>
              <a:gd name="T105" fmla="*/ 31 h 197"/>
              <a:gd name="T106" fmla="*/ 59 w 165"/>
              <a:gd name="T107" fmla="*/ 31 h 197"/>
              <a:gd name="T108" fmla="*/ 56 w 165"/>
              <a:gd name="T109" fmla="*/ 25 h 197"/>
              <a:gd name="T110" fmla="*/ 47 w 165"/>
              <a:gd name="T111" fmla="*/ 15 h 197"/>
              <a:gd name="T112" fmla="*/ 50 w 165"/>
              <a:gd name="T113" fmla="*/ 6 h 197"/>
              <a:gd name="T114" fmla="*/ 47 w 165"/>
              <a:gd name="T11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5" h="197">
                <a:moveTo>
                  <a:pt x="47" y="0"/>
                </a:moveTo>
                <a:lnTo>
                  <a:pt x="50" y="0"/>
                </a:lnTo>
                <a:lnTo>
                  <a:pt x="59" y="3"/>
                </a:lnTo>
                <a:lnTo>
                  <a:pt x="59" y="3"/>
                </a:lnTo>
                <a:lnTo>
                  <a:pt x="65" y="3"/>
                </a:lnTo>
                <a:lnTo>
                  <a:pt x="69" y="6"/>
                </a:lnTo>
                <a:lnTo>
                  <a:pt x="72" y="6"/>
                </a:lnTo>
                <a:lnTo>
                  <a:pt x="69" y="12"/>
                </a:lnTo>
                <a:lnTo>
                  <a:pt x="69" y="15"/>
                </a:lnTo>
                <a:lnTo>
                  <a:pt x="69" y="15"/>
                </a:lnTo>
                <a:lnTo>
                  <a:pt x="72" y="19"/>
                </a:lnTo>
                <a:lnTo>
                  <a:pt x="72" y="22"/>
                </a:lnTo>
                <a:lnTo>
                  <a:pt x="75" y="19"/>
                </a:lnTo>
                <a:lnTo>
                  <a:pt x="78" y="15"/>
                </a:lnTo>
                <a:lnTo>
                  <a:pt x="78" y="15"/>
                </a:lnTo>
                <a:lnTo>
                  <a:pt x="81" y="19"/>
                </a:lnTo>
                <a:lnTo>
                  <a:pt x="84" y="22"/>
                </a:lnTo>
                <a:lnTo>
                  <a:pt x="87" y="19"/>
                </a:lnTo>
                <a:lnTo>
                  <a:pt x="90" y="15"/>
                </a:lnTo>
                <a:lnTo>
                  <a:pt x="90" y="19"/>
                </a:lnTo>
                <a:lnTo>
                  <a:pt x="90" y="22"/>
                </a:lnTo>
                <a:lnTo>
                  <a:pt x="87" y="25"/>
                </a:lnTo>
                <a:lnTo>
                  <a:pt x="87" y="25"/>
                </a:lnTo>
                <a:lnTo>
                  <a:pt x="84" y="25"/>
                </a:lnTo>
                <a:lnTo>
                  <a:pt x="87" y="28"/>
                </a:lnTo>
                <a:lnTo>
                  <a:pt x="90" y="28"/>
                </a:lnTo>
                <a:lnTo>
                  <a:pt x="94" y="28"/>
                </a:lnTo>
                <a:lnTo>
                  <a:pt x="94" y="28"/>
                </a:lnTo>
                <a:lnTo>
                  <a:pt x="100" y="28"/>
                </a:lnTo>
                <a:lnTo>
                  <a:pt x="100" y="25"/>
                </a:lnTo>
                <a:lnTo>
                  <a:pt x="103" y="22"/>
                </a:lnTo>
                <a:lnTo>
                  <a:pt x="109" y="22"/>
                </a:lnTo>
                <a:lnTo>
                  <a:pt x="109" y="19"/>
                </a:lnTo>
                <a:lnTo>
                  <a:pt x="112" y="19"/>
                </a:lnTo>
                <a:lnTo>
                  <a:pt x="112" y="15"/>
                </a:lnTo>
                <a:lnTo>
                  <a:pt x="115" y="15"/>
                </a:lnTo>
                <a:lnTo>
                  <a:pt x="122" y="15"/>
                </a:lnTo>
                <a:lnTo>
                  <a:pt x="115" y="15"/>
                </a:lnTo>
                <a:lnTo>
                  <a:pt x="115" y="19"/>
                </a:lnTo>
                <a:lnTo>
                  <a:pt x="115" y="19"/>
                </a:lnTo>
                <a:lnTo>
                  <a:pt x="112" y="19"/>
                </a:lnTo>
                <a:lnTo>
                  <a:pt x="112" y="22"/>
                </a:lnTo>
                <a:lnTo>
                  <a:pt x="119" y="19"/>
                </a:lnTo>
                <a:lnTo>
                  <a:pt x="122" y="19"/>
                </a:lnTo>
                <a:lnTo>
                  <a:pt x="125" y="19"/>
                </a:lnTo>
                <a:lnTo>
                  <a:pt x="125" y="19"/>
                </a:lnTo>
                <a:lnTo>
                  <a:pt x="128" y="19"/>
                </a:lnTo>
                <a:lnTo>
                  <a:pt x="134" y="25"/>
                </a:lnTo>
                <a:lnTo>
                  <a:pt x="137" y="25"/>
                </a:lnTo>
                <a:lnTo>
                  <a:pt x="140" y="28"/>
                </a:lnTo>
                <a:lnTo>
                  <a:pt x="137" y="31"/>
                </a:lnTo>
                <a:lnTo>
                  <a:pt x="144" y="34"/>
                </a:lnTo>
                <a:lnTo>
                  <a:pt x="147" y="34"/>
                </a:lnTo>
                <a:lnTo>
                  <a:pt x="147" y="34"/>
                </a:lnTo>
                <a:lnTo>
                  <a:pt x="153" y="34"/>
                </a:lnTo>
                <a:lnTo>
                  <a:pt x="153" y="44"/>
                </a:lnTo>
                <a:lnTo>
                  <a:pt x="153" y="50"/>
                </a:lnTo>
                <a:lnTo>
                  <a:pt x="147" y="53"/>
                </a:lnTo>
                <a:lnTo>
                  <a:pt x="147" y="56"/>
                </a:lnTo>
                <a:lnTo>
                  <a:pt x="153" y="62"/>
                </a:lnTo>
                <a:lnTo>
                  <a:pt x="153" y="65"/>
                </a:lnTo>
                <a:lnTo>
                  <a:pt x="156" y="72"/>
                </a:lnTo>
                <a:lnTo>
                  <a:pt x="156" y="75"/>
                </a:lnTo>
                <a:lnTo>
                  <a:pt x="156" y="78"/>
                </a:lnTo>
                <a:lnTo>
                  <a:pt x="156" y="81"/>
                </a:lnTo>
                <a:lnTo>
                  <a:pt x="159" y="87"/>
                </a:lnTo>
                <a:lnTo>
                  <a:pt x="162" y="91"/>
                </a:lnTo>
                <a:lnTo>
                  <a:pt x="165" y="94"/>
                </a:lnTo>
                <a:lnTo>
                  <a:pt x="165" y="103"/>
                </a:lnTo>
                <a:lnTo>
                  <a:pt x="162" y="106"/>
                </a:lnTo>
                <a:lnTo>
                  <a:pt x="159" y="106"/>
                </a:lnTo>
                <a:lnTo>
                  <a:pt x="156" y="106"/>
                </a:lnTo>
                <a:lnTo>
                  <a:pt x="150" y="106"/>
                </a:lnTo>
                <a:lnTo>
                  <a:pt x="150" y="109"/>
                </a:lnTo>
                <a:lnTo>
                  <a:pt x="147" y="112"/>
                </a:lnTo>
                <a:lnTo>
                  <a:pt x="147" y="109"/>
                </a:lnTo>
                <a:lnTo>
                  <a:pt x="137" y="109"/>
                </a:lnTo>
                <a:lnTo>
                  <a:pt x="137" y="112"/>
                </a:lnTo>
                <a:lnTo>
                  <a:pt x="131" y="112"/>
                </a:lnTo>
                <a:lnTo>
                  <a:pt x="128" y="119"/>
                </a:lnTo>
                <a:lnTo>
                  <a:pt x="125" y="119"/>
                </a:lnTo>
                <a:lnTo>
                  <a:pt x="119" y="125"/>
                </a:lnTo>
                <a:lnTo>
                  <a:pt x="115" y="125"/>
                </a:lnTo>
                <a:lnTo>
                  <a:pt x="112" y="122"/>
                </a:lnTo>
                <a:lnTo>
                  <a:pt x="112" y="122"/>
                </a:lnTo>
                <a:lnTo>
                  <a:pt x="112" y="125"/>
                </a:lnTo>
                <a:lnTo>
                  <a:pt x="115" y="128"/>
                </a:lnTo>
                <a:lnTo>
                  <a:pt x="122" y="134"/>
                </a:lnTo>
                <a:lnTo>
                  <a:pt x="122" y="141"/>
                </a:lnTo>
                <a:lnTo>
                  <a:pt x="122" y="144"/>
                </a:lnTo>
                <a:lnTo>
                  <a:pt x="125" y="147"/>
                </a:lnTo>
                <a:lnTo>
                  <a:pt x="131" y="150"/>
                </a:lnTo>
                <a:lnTo>
                  <a:pt x="137" y="153"/>
                </a:lnTo>
                <a:lnTo>
                  <a:pt x="144" y="162"/>
                </a:lnTo>
                <a:lnTo>
                  <a:pt x="144" y="166"/>
                </a:lnTo>
                <a:lnTo>
                  <a:pt x="144" y="169"/>
                </a:lnTo>
                <a:lnTo>
                  <a:pt x="140" y="169"/>
                </a:lnTo>
                <a:lnTo>
                  <a:pt x="137" y="172"/>
                </a:lnTo>
                <a:lnTo>
                  <a:pt x="134" y="175"/>
                </a:lnTo>
                <a:lnTo>
                  <a:pt x="128" y="181"/>
                </a:lnTo>
                <a:lnTo>
                  <a:pt x="128" y="184"/>
                </a:lnTo>
                <a:lnTo>
                  <a:pt x="134" y="187"/>
                </a:lnTo>
                <a:lnTo>
                  <a:pt x="134" y="191"/>
                </a:lnTo>
                <a:lnTo>
                  <a:pt x="131" y="191"/>
                </a:lnTo>
                <a:lnTo>
                  <a:pt x="128" y="191"/>
                </a:lnTo>
                <a:lnTo>
                  <a:pt x="122" y="191"/>
                </a:lnTo>
                <a:lnTo>
                  <a:pt x="119" y="191"/>
                </a:lnTo>
                <a:lnTo>
                  <a:pt x="115" y="191"/>
                </a:lnTo>
                <a:lnTo>
                  <a:pt x="109" y="194"/>
                </a:lnTo>
                <a:lnTo>
                  <a:pt x="106" y="194"/>
                </a:lnTo>
                <a:lnTo>
                  <a:pt x="103" y="194"/>
                </a:lnTo>
                <a:lnTo>
                  <a:pt x="100" y="194"/>
                </a:lnTo>
                <a:lnTo>
                  <a:pt x="97" y="194"/>
                </a:lnTo>
                <a:lnTo>
                  <a:pt x="90" y="191"/>
                </a:lnTo>
                <a:lnTo>
                  <a:pt x="84" y="194"/>
                </a:lnTo>
                <a:lnTo>
                  <a:pt x="87" y="197"/>
                </a:lnTo>
                <a:lnTo>
                  <a:pt x="84" y="197"/>
                </a:lnTo>
                <a:lnTo>
                  <a:pt x="81" y="197"/>
                </a:lnTo>
                <a:lnTo>
                  <a:pt x="78" y="194"/>
                </a:lnTo>
                <a:lnTo>
                  <a:pt x="75" y="194"/>
                </a:lnTo>
                <a:lnTo>
                  <a:pt x="72" y="194"/>
                </a:lnTo>
                <a:lnTo>
                  <a:pt x="72" y="194"/>
                </a:lnTo>
                <a:lnTo>
                  <a:pt x="69" y="194"/>
                </a:lnTo>
                <a:lnTo>
                  <a:pt x="62" y="191"/>
                </a:lnTo>
                <a:lnTo>
                  <a:pt x="59" y="191"/>
                </a:lnTo>
                <a:lnTo>
                  <a:pt x="59" y="191"/>
                </a:lnTo>
                <a:lnTo>
                  <a:pt x="56" y="191"/>
                </a:lnTo>
                <a:lnTo>
                  <a:pt x="56" y="187"/>
                </a:lnTo>
                <a:lnTo>
                  <a:pt x="50" y="187"/>
                </a:lnTo>
                <a:lnTo>
                  <a:pt x="50" y="191"/>
                </a:lnTo>
                <a:lnTo>
                  <a:pt x="50" y="194"/>
                </a:lnTo>
                <a:lnTo>
                  <a:pt x="44" y="191"/>
                </a:lnTo>
                <a:lnTo>
                  <a:pt x="40" y="194"/>
                </a:lnTo>
                <a:lnTo>
                  <a:pt x="37" y="194"/>
                </a:lnTo>
                <a:lnTo>
                  <a:pt x="37" y="194"/>
                </a:lnTo>
                <a:lnTo>
                  <a:pt x="37" y="187"/>
                </a:lnTo>
                <a:lnTo>
                  <a:pt x="34" y="187"/>
                </a:lnTo>
                <a:lnTo>
                  <a:pt x="34" y="181"/>
                </a:lnTo>
                <a:lnTo>
                  <a:pt x="34" y="175"/>
                </a:lnTo>
                <a:lnTo>
                  <a:pt x="37" y="172"/>
                </a:lnTo>
                <a:lnTo>
                  <a:pt x="37" y="169"/>
                </a:lnTo>
                <a:lnTo>
                  <a:pt x="40" y="162"/>
                </a:lnTo>
                <a:lnTo>
                  <a:pt x="44" y="159"/>
                </a:lnTo>
                <a:lnTo>
                  <a:pt x="40" y="156"/>
                </a:lnTo>
                <a:lnTo>
                  <a:pt x="37" y="156"/>
                </a:lnTo>
                <a:lnTo>
                  <a:pt x="31" y="153"/>
                </a:lnTo>
                <a:lnTo>
                  <a:pt x="28" y="153"/>
                </a:lnTo>
                <a:lnTo>
                  <a:pt x="25" y="153"/>
                </a:lnTo>
                <a:lnTo>
                  <a:pt x="22" y="153"/>
                </a:lnTo>
                <a:lnTo>
                  <a:pt x="19" y="156"/>
                </a:lnTo>
                <a:lnTo>
                  <a:pt x="15" y="153"/>
                </a:lnTo>
                <a:lnTo>
                  <a:pt x="15" y="150"/>
                </a:lnTo>
                <a:lnTo>
                  <a:pt x="12" y="147"/>
                </a:lnTo>
                <a:lnTo>
                  <a:pt x="12" y="147"/>
                </a:lnTo>
                <a:lnTo>
                  <a:pt x="12" y="141"/>
                </a:lnTo>
                <a:lnTo>
                  <a:pt x="9" y="137"/>
                </a:lnTo>
                <a:lnTo>
                  <a:pt x="9" y="134"/>
                </a:lnTo>
                <a:lnTo>
                  <a:pt x="6" y="128"/>
                </a:lnTo>
                <a:lnTo>
                  <a:pt x="3" y="128"/>
                </a:lnTo>
                <a:lnTo>
                  <a:pt x="6" y="122"/>
                </a:lnTo>
                <a:lnTo>
                  <a:pt x="3" y="119"/>
                </a:lnTo>
                <a:lnTo>
                  <a:pt x="3" y="116"/>
                </a:lnTo>
                <a:lnTo>
                  <a:pt x="0" y="112"/>
                </a:lnTo>
                <a:lnTo>
                  <a:pt x="3" y="109"/>
                </a:lnTo>
                <a:lnTo>
                  <a:pt x="0" y="109"/>
                </a:lnTo>
                <a:lnTo>
                  <a:pt x="3" y="103"/>
                </a:lnTo>
                <a:lnTo>
                  <a:pt x="3" y="97"/>
                </a:lnTo>
                <a:lnTo>
                  <a:pt x="3" y="91"/>
                </a:lnTo>
                <a:lnTo>
                  <a:pt x="6" y="87"/>
                </a:lnTo>
                <a:lnTo>
                  <a:pt x="9" y="84"/>
                </a:lnTo>
                <a:lnTo>
                  <a:pt x="12" y="84"/>
                </a:lnTo>
                <a:lnTo>
                  <a:pt x="19" y="84"/>
                </a:lnTo>
                <a:lnTo>
                  <a:pt x="22" y="81"/>
                </a:lnTo>
                <a:lnTo>
                  <a:pt x="19" y="78"/>
                </a:lnTo>
                <a:lnTo>
                  <a:pt x="22" y="78"/>
                </a:lnTo>
                <a:lnTo>
                  <a:pt x="22" y="72"/>
                </a:lnTo>
                <a:lnTo>
                  <a:pt x="22" y="72"/>
                </a:lnTo>
                <a:lnTo>
                  <a:pt x="22" y="69"/>
                </a:lnTo>
                <a:lnTo>
                  <a:pt x="15" y="69"/>
                </a:lnTo>
                <a:lnTo>
                  <a:pt x="15" y="65"/>
                </a:lnTo>
                <a:lnTo>
                  <a:pt x="19" y="62"/>
                </a:lnTo>
                <a:lnTo>
                  <a:pt x="22" y="65"/>
                </a:lnTo>
                <a:lnTo>
                  <a:pt x="25" y="62"/>
                </a:lnTo>
                <a:lnTo>
                  <a:pt x="25" y="59"/>
                </a:lnTo>
                <a:lnTo>
                  <a:pt x="25" y="56"/>
                </a:lnTo>
                <a:lnTo>
                  <a:pt x="25" y="53"/>
                </a:lnTo>
                <a:lnTo>
                  <a:pt x="28" y="50"/>
                </a:lnTo>
                <a:lnTo>
                  <a:pt x="28" y="50"/>
                </a:lnTo>
                <a:lnTo>
                  <a:pt x="28" y="50"/>
                </a:lnTo>
                <a:lnTo>
                  <a:pt x="28" y="47"/>
                </a:lnTo>
                <a:lnTo>
                  <a:pt x="22" y="47"/>
                </a:lnTo>
                <a:lnTo>
                  <a:pt x="22" y="44"/>
                </a:lnTo>
                <a:lnTo>
                  <a:pt x="22" y="37"/>
                </a:lnTo>
                <a:lnTo>
                  <a:pt x="31" y="37"/>
                </a:lnTo>
                <a:lnTo>
                  <a:pt x="31" y="34"/>
                </a:lnTo>
                <a:lnTo>
                  <a:pt x="37" y="37"/>
                </a:lnTo>
                <a:lnTo>
                  <a:pt x="37" y="44"/>
                </a:lnTo>
                <a:lnTo>
                  <a:pt x="40" y="47"/>
                </a:lnTo>
                <a:lnTo>
                  <a:pt x="44" y="44"/>
                </a:lnTo>
                <a:lnTo>
                  <a:pt x="40" y="40"/>
                </a:lnTo>
                <a:lnTo>
                  <a:pt x="40" y="37"/>
                </a:lnTo>
                <a:lnTo>
                  <a:pt x="44" y="37"/>
                </a:lnTo>
                <a:lnTo>
                  <a:pt x="44" y="40"/>
                </a:lnTo>
                <a:lnTo>
                  <a:pt x="44" y="44"/>
                </a:lnTo>
                <a:lnTo>
                  <a:pt x="50" y="50"/>
                </a:lnTo>
                <a:lnTo>
                  <a:pt x="47" y="47"/>
                </a:lnTo>
                <a:lnTo>
                  <a:pt x="47" y="40"/>
                </a:lnTo>
                <a:lnTo>
                  <a:pt x="47" y="37"/>
                </a:lnTo>
                <a:lnTo>
                  <a:pt x="50" y="34"/>
                </a:lnTo>
                <a:lnTo>
                  <a:pt x="53" y="31"/>
                </a:lnTo>
                <a:lnTo>
                  <a:pt x="56" y="34"/>
                </a:lnTo>
                <a:lnTo>
                  <a:pt x="59" y="31"/>
                </a:lnTo>
                <a:lnTo>
                  <a:pt x="65" y="40"/>
                </a:lnTo>
                <a:lnTo>
                  <a:pt x="75" y="40"/>
                </a:lnTo>
                <a:lnTo>
                  <a:pt x="65" y="37"/>
                </a:lnTo>
                <a:lnTo>
                  <a:pt x="59" y="31"/>
                </a:lnTo>
                <a:lnTo>
                  <a:pt x="56" y="31"/>
                </a:lnTo>
                <a:lnTo>
                  <a:pt x="53" y="28"/>
                </a:lnTo>
                <a:lnTo>
                  <a:pt x="53" y="25"/>
                </a:lnTo>
                <a:lnTo>
                  <a:pt x="56" y="25"/>
                </a:lnTo>
                <a:lnTo>
                  <a:pt x="53" y="22"/>
                </a:lnTo>
                <a:lnTo>
                  <a:pt x="53" y="19"/>
                </a:lnTo>
                <a:lnTo>
                  <a:pt x="47" y="19"/>
                </a:lnTo>
                <a:lnTo>
                  <a:pt x="47" y="15"/>
                </a:lnTo>
                <a:lnTo>
                  <a:pt x="50" y="15"/>
                </a:lnTo>
                <a:lnTo>
                  <a:pt x="56" y="12"/>
                </a:lnTo>
                <a:lnTo>
                  <a:pt x="50" y="9"/>
                </a:lnTo>
                <a:lnTo>
                  <a:pt x="50" y="6"/>
                </a:lnTo>
                <a:lnTo>
                  <a:pt x="50" y="6"/>
                </a:lnTo>
                <a:lnTo>
                  <a:pt x="47" y="6"/>
                </a:lnTo>
                <a:lnTo>
                  <a:pt x="47" y="3"/>
                </a:lnTo>
                <a:lnTo>
                  <a:pt x="47" y="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9" name="Freeform 67">
            <a:extLst>
              <a:ext uri="{FF2B5EF4-FFF2-40B4-BE49-F238E27FC236}">
                <a16:creationId xmlns:a16="http://schemas.microsoft.com/office/drawing/2014/main" id="{E4FBC5A0-5349-97B7-A00A-2FDB0A2347A5}"/>
              </a:ext>
            </a:extLst>
          </p:cNvPr>
          <p:cNvSpPr>
            <a:spLocks/>
          </p:cNvSpPr>
          <p:nvPr userDrawn="1"/>
        </p:nvSpPr>
        <p:spPr bwMode="auto">
          <a:xfrm>
            <a:off x="13696056" y="6168307"/>
            <a:ext cx="9525" cy="19050"/>
          </a:xfrm>
          <a:custGeom>
            <a:avLst/>
            <a:gdLst>
              <a:gd name="T0" fmla="*/ 0 w 3"/>
              <a:gd name="T1" fmla="*/ 0 h 6"/>
              <a:gd name="T2" fmla="*/ 3 w 3"/>
              <a:gd name="T3" fmla="*/ 0 h 6"/>
              <a:gd name="T4" fmla="*/ 3 w 3"/>
              <a:gd name="T5" fmla="*/ 6 h 6"/>
              <a:gd name="T6" fmla="*/ 0 w 3"/>
              <a:gd name="T7" fmla="*/ 6 h 6"/>
              <a:gd name="T8" fmla="*/ 0 w 3"/>
              <a:gd name="T9" fmla="*/ 3 h 6"/>
              <a:gd name="T10" fmla="*/ 0 w 3"/>
              <a:gd name="T11" fmla="*/ 0 h 6"/>
              <a:gd name="T12" fmla="*/ 0 w 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 h="6">
                <a:moveTo>
                  <a:pt x="0" y="0"/>
                </a:moveTo>
                <a:lnTo>
                  <a:pt x="3" y="0"/>
                </a:lnTo>
                <a:lnTo>
                  <a:pt x="3" y="6"/>
                </a:lnTo>
                <a:lnTo>
                  <a:pt x="0" y="6"/>
                </a:lnTo>
                <a:lnTo>
                  <a:pt x="0" y="3"/>
                </a:lnTo>
                <a:lnTo>
                  <a:pt x="0" y="0"/>
                </a:lnTo>
                <a:lnTo>
                  <a:pt x="0" y="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0" name="Freeform 68">
            <a:extLst>
              <a:ext uri="{FF2B5EF4-FFF2-40B4-BE49-F238E27FC236}">
                <a16:creationId xmlns:a16="http://schemas.microsoft.com/office/drawing/2014/main" id="{7DDF81D5-4C50-6EC4-D10E-3377107E7EF7}"/>
              </a:ext>
            </a:extLst>
          </p:cNvPr>
          <p:cNvSpPr>
            <a:spLocks/>
          </p:cNvSpPr>
          <p:nvPr userDrawn="1"/>
        </p:nvSpPr>
        <p:spPr bwMode="auto">
          <a:xfrm>
            <a:off x="13476998" y="6127033"/>
            <a:ext cx="288907" cy="161926"/>
          </a:xfrm>
          <a:custGeom>
            <a:avLst/>
            <a:gdLst>
              <a:gd name="T0" fmla="*/ 37 w 91"/>
              <a:gd name="T1" fmla="*/ 7 h 51"/>
              <a:gd name="T2" fmla="*/ 47 w 91"/>
              <a:gd name="T3" fmla="*/ 7 h 51"/>
              <a:gd name="T4" fmla="*/ 47 w 91"/>
              <a:gd name="T5" fmla="*/ 0 h 51"/>
              <a:gd name="T6" fmla="*/ 53 w 91"/>
              <a:gd name="T7" fmla="*/ 4 h 51"/>
              <a:gd name="T8" fmla="*/ 56 w 91"/>
              <a:gd name="T9" fmla="*/ 4 h 51"/>
              <a:gd name="T10" fmla="*/ 66 w 91"/>
              <a:gd name="T11" fmla="*/ 7 h 51"/>
              <a:gd name="T12" fmla="*/ 69 w 91"/>
              <a:gd name="T13" fmla="*/ 13 h 51"/>
              <a:gd name="T14" fmla="*/ 69 w 91"/>
              <a:gd name="T15" fmla="*/ 19 h 51"/>
              <a:gd name="T16" fmla="*/ 78 w 91"/>
              <a:gd name="T17" fmla="*/ 16 h 51"/>
              <a:gd name="T18" fmla="*/ 84 w 91"/>
              <a:gd name="T19" fmla="*/ 19 h 51"/>
              <a:gd name="T20" fmla="*/ 91 w 91"/>
              <a:gd name="T21" fmla="*/ 22 h 51"/>
              <a:gd name="T22" fmla="*/ 87 w 91"/>
              <a:gd name="T23" fmla="*/ 32 h 51"/>
              <a:gd name="T24" fmla="*/ 78 w 91"/>
              <a:gd name="T25" fmla="*/ 41 h 51"/>
              <a:gd name="T26" fmla="*/ 72 w 91"/>
              <a:gd name="T27" fmla="*/ 38 h 51"/>
              <a:gd name="T28" fmla="*/ 62 w 91"/>
              <a:gd name="T29" fmla="*/ 41 h 51"/>
              <a:gd name="T30" fmla="*/ 59 w 91"/>
              <a:gd name="T31" fmla="*/ 44 h 51"/>
              <a:gd name="T32" fmla="*/ 53 w 91"/>
              <a:gd name="T33" fmla="*/ 38 h 51"/>
              <a:gd name="T34" fmla="*/ 41 w 91"/>
              <a:gd name="T35" fmla="*/ 47 h 51"/>
              <a:gd name="T36" fmla="*/ 28 w 91"/>
              <a:gd name="T37" fmla="*/ 51 h 51"/>
              <a:gd name="T38" fmla="*/ 22 w 91"/>
              <a:gd name="T39" fmla="*/ 44 h 51"/>
              <a:gd name="T40" fmla="*/ 19 w 91"/>
              <a:gd name="T41" fmla="*/ 38 h 51"/>
              <a:gd name="T42" fmla="*/ 12 w 91"/>
              <a:gd name="T43" fmla="*/ 35 h 51"/>
              <a:gd name="T44" fmla="*/ 9 w 91"/>
              <a:gd name="T45" fmla="*/ 41 h 51"/>
              <a:gd name="T46" fmla="*/ 3 w 91"/>
              <a:gd name="T47" fmla="*/ 44 h 51"/>
              <a:gd name="T48" fmla="*/ 3 w 91"/>
              <a:gd name="T49" fmla="*/ 38 h 51"/>
              <a:gd name="T50" fmla="*/ 6 w 91"/>
              <a:gd name="T51" fmla="*/ 35 h 51"/>
              <a:gd name="T52" fmla="*/ 12 w 91"/>
              <a:gd name="T53" fmla="*/ 22 h 51"/>
              <a:gd name="T54" fmla="*/ 19 w 91"/>
              <a:gd name="T55" fmla="*/ 16 h 51"/>
              <a:gd name="T56" fmla="*/ 22 w 91"/>
              <a:gd name="T57" fmla="*/ 10 h 51"/>
              <a:gd name="T58" fmla="*/ 19 w 91"/>
              <a:gd name="T59" fmla="*/ 4 h 51"/>
              <a:gd name="T60" fmla="*/ 25 w 91"/>
              <a:gd name="T61" fmla="*/ 7 h 51"/>
              <a:gd name="T62" fmla="*/ 34 w 91"/>
              <a:gd name="T63" fmla="*/ 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51">
                <a:moveTo>
                  <a:pt x="34" y="7"/>
                </a:moveTo>
                <a:lnTo>
                  <a:pt x="37" y="7"/>
                </a:lnTo>
                <a:lnTo>
                  <a:pt x="41" y="4"/>
                </a:lnTo>
                <a:lnTo>
                  <a:pt x="47" y="7"/>
                </a:lnTo>
                <a:lnTo>
                  <a:pt x="47" y="4"/>
                </a:lnTo>
                <a:lnTo>
                  <a:pt x="47" y="0"/>
                </a:lnTo>
                <a:lnTo>
                  <a:pt x="53" y="0"/>
                </a:lnTo>
                <a:lnTo>
                  <a:pt x="53" y="4"/>
                </a:lnTo>
                <a:lnTo>
                  <a:pt x="56" y="4"/>
                </a:lnTo>
                <a:lnTo>
                  <a:pt x="56" y="4"/>
                </a:lnTo>
                <a:lnTo>
                  <a:pt x="59" y="4"/>
                </a:lnTo>
                <a:lnTo>
                  <a:pt x="66" y="7"/>
                </a:lnTo>
                <a:lnTo>
                  <a:pt x="69" y="10"/>
                </a:lnTo>
                <a:lnTo>
                  <a:pt x="69" y="13"/>
                </a:lnTo>
                <a:lnTo>
                  <a:pt x="69" y="16"/>
                </a:lnTo>
                <a:lnTo>
                  <a:pt x="69" y="19"/>
                </a:lnTo>
                <a:lnTo>
                  <a:pt x="75" y="19"/>
                </a:lnTo>
                <a:lnTo>
                  <a:pt x="78" y="16"/>
                </a:lnTo>
                <a:lnTo>
                  <a:pt x="81" y="22"/>
                </a:lnTo>
                <a:lnTo>
                  <a:pt x="84" y="19"/>
                </a:lnTo>
                <a:lnTo>
                  <a:pt x="87" y="19"/>
                </a:lnTo>
                <a:lnTo>
                  <a:pt x="91" y="22"/>
                </a:lnTo>
                <a:lnTo>
                  <a:pt x="84" y="26"/>
                </a:lnTo>
                <a:lnTo>
                  <a:pt x="87" y="32"/>
                </a:lnTo>
                <a:lnTo>
                  <a:pt x="81" y="35"/>
                </a:lnTo>
                <a:lnTo>
                  <a:pt x="78" y="41"/>
                </a:lnTo>
                <a:lnTo>
                  <a:pt x="75" y="38"/>
                </a:lnTo>
                <a:lnTo>
                  <a:pt x="72" y="38"/>
                </a:lnTo>
                <a:lnTo>
                  <a:pt x="62" y="35"/>
                </a:lnTo>
                <a:lnTo>
                  <a:pt x="62" y="41"/>
                </a:lnTo>
                <a:lnTo>
                  <a:pt x="59" y="47"/>
                </a:lnTo>
                <a:lnTo>
                  <a:pt x="59" y="44"/>
                </a:lnTo>
                <a:lnTo>
                  <a:pt x="53" y="41"/>
                </a:lnTo>
                <a:lnTo>
                  <a:pt x="53" y="38"/>
                </a:lnTo>
                <a:lnTo>
                  <a:pt x="47" y="35"/>
                </a:lnTo>
                <a:lnTo>
                  <a:pt x="41" y="47"/>
                </a:lnTo>
                <a:lnTo>
                  <a:pt x="34" y="44"/>
                </a:lnTo>
                <a:lnTo>
                  <a:pt x="28" y="51"/>
                </a:lnTo>
                <a:lnTo>
                  <a:pt x="25" y="47"/>
                </a:lnTo>
                <a:lnTo>
                  <a:pt x="22" y="44"/>
                </a:lnTo>
                <a:lnTo>
                  <a:pt x="22" y="44"/>
                </a:lnTo>
                <a:lnTo>
                  <a:pt x="19" y="38"/>
                </a:lnTo>
                <a:lnTo>
                  <a:pt x="19" y="35"/>
                </a:lnTo>
                <a:lnTo>
                  <a:pt x="12" y="35"/>
                </a:lnTo>
                <a:lnTo>
                  <a:pt x="9" y="38"/>
                </a:lnTo>
                <a:lnTo>
                  <a:pt x="9" y="41"/>
                </a:lnTo>
                <a:lnTo>
                  <a:pt x="6" y="44"/>
                </a:lnTo>
                <a:lnTo>
                  <a:pt x="3" y="44"/>
                </a:lnTo>
                <a:lnTo>
                  <a:pt x="0" y="41"/>
                </a:lnTo>
                <a:lnTo>
                  <a:pt x="3" y="38"/>
                </a:lnTo>
                <a:lnTo>
                  <a:pt x="6" y="38"/>
                </a:lnTo>
                <a:lnTo>
                  <a:pt x="6" y="35"/>
                </a:lnTo>
                <a:lnTo>
                  <a:pt x="6" y="29"/>
                </a:lnTo>
                <a:lnTo>
                  <a:pt x="12" y="22"/>
                </a:lnTo>
                <a:lnTo>
                  <a:pt x="16" y="19"/>
                </a:lnTo>
                <a:lnTo>
                  <a:pt x="19" y="16"/>
                </a:lnTo>
                <a:lnTo>
                  <a:pt x="22" y="13"/>
                </a:lnTo>
                <a:lnTo>
                  <a:pt x="22" y="10"/>
                </a:lnTo>
                <a:lnTo>
                  <a:pt x="19" y="7"/>
                </a:lnTo>
                <a:lnTo>
                  <a:pt x="19" y="4"/>
                </a:lnTo>
                <a:lnTo>
                  <a:pt x="25" y="4"/>
                </a:lnTo>
                <a:lnTo>
                  <a:pt x="25" y="7"/>
                </a:lnTo>
                <a:lnTo>
                  <a:pt x="28" y="7"/>
                </a:lnTo>
                <a:lnTo>
                  <a:pt x="34" y="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1" name="Freeform 69">
            <a:extLst>
              <a:ext uri="{FF2B5EF4-FFF2-40B4-BE49-F238E27FC236}">
                <a16:creationId xmlns:a16="http://schemas.microsoft.com/office/drawing/2014/main" id="{B36EF9A7-06E3-9340-8321-C72B67438A75}"/>
              </a:ext>
            </a:extLst>
          </p:cNvPr>
          <p:cNvSpPr>
            <a:spLocks noEditPoints="1"/>
          </p:cNvSpPr>
          <p:nvPr userDrawn="1"/>
        </p:nvSpPr>
        <p:spPr bwMode="auto">
          <a:xfrm>
            <a:off x="13327779" y="5673008"/>
            <a:ext cx="228585" cy="206376"/>
          </a:xfrm>
          <a:custGeom>
            <a:avLst/>
            <a:gdLst>
              <a:gd name="T0" fmla="*/ 47 w 72"/>
              <a:gd name="T1" fmla="*/ 59 h 65"/>
              <a:gd name="T2" fmla="*/ 47 w 72"/>
              <a:gd name="T3" fmla="*/ 47 h 65"/>
              <a:gd name="T4" fmla="*/ 53 w 72"/>
              <a:gd name="T5" fmla="*/ 40 h 65"/>
              <a:gd name="T6" fmla="*/ 63 w 72"/>
              <a:gd name="T7" fmla="*/ 40 h 65"/>
              <a:gd name="T8" fmla="*/ 63 w 72"/>
              <a:gd name="T9" fmla="*/ 34 h 65"/>
              <a:gd name="T10" fmla="*/ 66 w 72"/>
              <a:gd name="T11" fmla="*/ 28 h 65"/>
              <a:gd name="T12" fmla="*/ 66 w 72"/>
              <a:gd name="T13" fmla="*/ 25 h 65"/>
              <a:gd name="T14" fmla="*/ 59 w 72"/>
              <a:gd name="T15" fmla="*/ 21 h 65"/>
              <a:gd name="T16" fmla="*/ 66 w 72"/>
              <a:gd name="T17" fmla="*/ 21 h 65"/>
              <a:gd name="T18" fmla="*/ 69 w 72"/>
              <a:gd name="T19" fmla="*/ 15 h 65"/>
              <a:gd name="T20" fmla="*/ 69 w 72"/>
              <a:gd name="T21" fmla="*/ 9 h 65"/>
              <a:gd name="T22" fmla="*/ 72 w 72"/>
              <a:gd name="T23" fmla="*/ 6 h 65"/>
              <a:gd name="T24" fmla="*/ 66 w 72"/>
              <a:gd name="T25" fmla="*/ 3 h 65"/>
              <a:gd name="T26" fmla="*/ 53 w 72"/>
              <a:gd name="T27" fmla="*/ 0 h 65"/>
              <a:gd name="T28" fmla="*/ 47 w 72"/>
              <a:gd name="T29" fmla="*/ 3 h 65"/>
              <a:gd name="T30" fmla="*/ 41 w 72"/>
              <a:gd name="T31" fmla="*/ 3 h 65"/>
              <a:gd name="T32" fmla="*/ 28 w 72"/>
              <a:gd name="T33" fmla="*/ 12 h 65"/>
              <a:gd name="T34" fmla="*/ 22 w 72"/>
              <a:gd name="T35" fmla="*/ 12 h 65"/>
              <a:gd name="T36" fmla="*/ 19 w 72"/>
              <a:gd name="T37" fmla="*/ 21 h 65"/>
              <a:gd name="T38" fmla="*/ 19 w 72"/>
              <a:gd name="T39" fmla="*/ 31 h 65"/>
              <a:gd name="T40" fmla="*/ 16 w 72"/>
              <a:gd name="T41" fmla="*/ 34 h 65"/>
              <a:gd name="T42" fmla="*/ 12 w 72"/>
              <a:gd name="T43" fmla="*/ 40 h 65"/>
              <a:gd name="T44" fmla="*/ 22 w 72"/>
              <a:gd name="T45" fmla="*/ 47 h 65"/>
              <a:gd name="T46" fmla="*/ 16 w 72"/>
              <a:gd name="T47" fmla="*/ 47 h 65"/>
              <a:gd name="T48" fmla="*/ 16 w 72"/>
              <a:gd name="T49" fmla="*/ 50 h 65"/>
              <a:gd name="T50" fmla="*/ 19 w 72"/>
              <a:gd name="T51" fmla="*/ 53 h 65"/>
              <a:gd name="T52" fmla="*/ 9 w 72"/>
              <a:gd name="T53" fmla="*/ 50 h 65"/>
              <a:gd name="T54" fmla="*/ 3 w 72"/>
              <a:gd name="T55" fmla="*/ 50 h 65"/>
              <a:gd name="T56" fmla="*/ 9 w 72"/>
              <a:gd name="T57" fmla="*/ 53 h 65"/>
              <a:gd name="T58" fmla="*/ 12 w 72"/>
              <a:gd name="T59" fmla="*/ 53 h 65"/>
              <a:gd name="T60" fmla="*/ 12 w 72"/>
              <a:gd name="T61" fmla="*/ 56 h 65"/>
              <a:gd name="T62" fmla="*/ 6 w 72"/>
              <a:gd name="T63" fmla="*/ 53 h 65"/>
              <a:gd name="T64" fmla="*/ 0 w 72"/>
              <a:gd name="T65" fmla="*/ 53 h 65"/>
              <a:gd name="T66" fmla="*/ 6 w 72"/>
              <a:gd name="T67" fmla="*/ 59 h 65"/>
              <a:gd name="T68" fmla="*/ 9 w 72"/>
              <a:gd name="T69" fmla="*/ 59 h 65"/>
              <a:gd name="T70" fmla="*/ 16 w 72"/>
              <a:gd name="T71" fmla="*/ 56 h 65"/>
              <a:gd name="T72" fmla="*/ 19 w 72"/>
              <a:gd name="T73" fmla="*/ 56 h 65"/>
              <a:gd name="T74" fmla="*/ 28 w 72"/>
              <a:gd name="T75" fmla="*/ 53 h 65"/>
              <a:gd name="T76" fmla="*/ 34 w 72"/>
              <a:gd name="T77" fmla="*/ 56 h 65"/>
              <a:gd name="T78" fmla="*/ 41 w 72"/>
              <a:gd name="T79" fmla="*/ 56 h 65"/>
              <a:gd name="T80" fmla="*/ 41 w 72"/>
              <a:gd name="T81" fmla="*/ 62 h 65"/>
              <a:gd name="T82" fmla="*/ 44 w 72"/>
              <a:gd name="T83" fmla="*/ 65 h 65"/>
              <a:gd name="T84" fmla="*/ 12 w 72"/>
              <a:gd name="T85" fmla="*/ 47 h 65"/>
              <a:gd name="T86" fmla="*/ 9 w 72"/>
              <a:gd name="T87" fmla="*/ 50 h 65"/>
              <a:gd name="T88" fmla="*/ 6 w 72"/>
              <a:gd name="T89" fmla="*/ 47 h 65"/>
              <a:gd name="T90" fmla="*/ 9 w 72"/>
              <a:gd name="T91" fmla="*/ 43 h 65"/>
              <a:gd name="T92" fmla="*/ 16 w 72"/>
              <a:gd name="T93" fmla="*/ 43 h 65"/>
              <a:gd name="T94" fmla="*/ 12 w 72"/>
              <a:gd name="T95" fmla="*/ 47 h 65"/>
              <a:gd name="T96" fmla="*/ 9 w 72"/>
              <a:gd name="T97" fmla="*/ 4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 h="65">
                <a:moveTo>
                  <a:pt x="44" y="65"/>
                </a:moveTo>
                <a:lnTo>
                  <a:pt x="47" y="59"/>
                </a:lnTo>
                <a:lnTo>
                  <a:pt x="47" y="53"/>
                </a:lnTo>
                <a:lnTo>
                  <a:pt x="47" y="47"/>
                </a:lnTo>
                <a:lnTo>
                  <a:pt x="50" y="43"/>
                </a:lnTo>
                <a:lnTo>
                  <a:pt x="53" y="40"/>
                </a:lnTo>
                <a:lnTo>
                  <a:pt x="56" y="40"/>
                </a:lnTo>
                <a:lnTo>
                  <a:pt x="63" y="40"/>
                </a:lnTo>
                <a:lnTo>
                  <a:pt x="66" y="37"/>
                </a:lnTo>
                <a:lnTo>
                  <a:pt x="63" y="34"/>
                </a:lnTo>
                <a:lnTo>
                  <a:pt x="66" y="34"/>
                </a:lnTo>
                <a:lnTo>
                  <a:pt x="66" y="28"/>
                </a:lnTo>
                <a:lnTo>
                  <a:pt x="66" y="28"/>
                </a:lnTo>
                <a:lnTo>
                  <a:pt x="66" y="25"/>
                </a:lnTo>
                <a:lnTo>
                  <a:pt x="59" y="25"/>
                </a:lnTo>
                <a:lnTo>
                  <a:pt x="59" y="21"/>
                </a:lnTo>
                <a:lnTo>
                  <a:pt x="63" y="18"/>
                </a:lnTo>
                <a:lnTo>
                  <a:pt x="66" y="21"/>
                </a:lnTo>
                <a:lnTo>
                  <a:pt x="69" y="18"/>
                </a:lnTo>
                <a:lnTo>
                  <a:pt x="69" y="15"/>
                </a:lnTo>
                <a:lnTo>
                  <a:pt x="69" y="12"/>
                </a:lnTo>
                <a:lnTo>
                  <a:pt x="69" y="9"/>
                </a:lnTo>
                <a:lnTo>
                  <a:pt x="72" y="6"/>
                </a:lnTo>
                <a:lnTo>
                  <a:pt x="72" y="6"/>
                </a:lnTo>
                <a:lnTo>
                  <a:pt x="69" y="6"/>
                </a:lnTo>
                <a:lnTo>
                  <a:pt x="66" y="3"/>
                </a:lnTo>
                <a:lnTo>
                  <a:pt x="59" y="0"/>
                </a:lnTo>
                <a:lnTo>
                  <a:pt x="53" y="0"/>
                </a:lnTo>
                <a:lnTo>
                  <a:pt x="50" y="3"/>
                </a:lnTo>
                <a:lnTo>
                  <a:pt x="47" y="3"/>
                </a:lnTo>
                <a:lnTo>
                  <a:pt x="44" y="3"/>
                </a:lnTo>
                <a:lnTo>
                  <a:pt x="41" y="3"/>
                </a:lnTo>
                <a:lnTo>
                  <a:pt x="34" y="9"/>
                </a:lnTo>
                <a:lnTo>
                  <a:pt x="28" y="12"/>
                </a:lnTo>
                <a:lnTo>
                  <a:pt x="25" y="12"/>
                </a:lnTo>
                <a:lnTo>
                  <a:pt x="22" y="12"/>
                </a:lnTo>
                <a:lnTo>
                  <a:pt x="22" y="18"/>
                </a:lnTo>
                <a:lnTo>
                  <a:pt x="19" y="21"/>
                </a:lnTo>
                <a:lnTo>
                  <a:pt x="19" y="25"/>
                </a:lnTo>
                <a:lnTo>
                  <a:pt x="19" y="31"/>
                </a:lnTo>
                <a:lnTo>
                  <a:pt x="16" y="34"/>
                </a:lnTo>
                <a:lnTo>
                  <a:pt x="16" y="34"/>
                </a:lnTo>
                <a:lnTo>
                  <a:pt x="12" y="37"/>
                </a:lnTo>
                <a:lnTo>
                  <a:pt x="12" y="40"/>
                </a:lnTo>
                <a:lnTo>
                  <a:pt x="19" y="43"/>
                </a:lnTo>
                <a:lnTo>
                  <a:pt x="22" y="47"/>
                </a:lnTo>
                <a:lnTo>
                  <a:pt x="16" y="47"/>
                </a:lnTo>
                <a:lnTo>
                  <a:pt x="16" y="47"/>
                </a:lnTo>
                <a:lnTo>
                  <a:pt x="12" y="50"/>
                </a:lnTo>
                <a:lnTo>
                  <a:pt x="16" y="50"/>
                </a:lnTo>
                <a:lnTo>
                  <a:pt x="19" y="53"/>
                </a:lnTo>
                <a:lnTo>
                  <a:pt x="19" y="53"/>
                </a:lnTo>
                <a:lnTo>
                  <a:pt x="12" y="53"/>
                </a:lnTo>
                <a:lnTo>
                  <a:pt x="9" y="50"/>
                </a:lnTo>
                <a:lnTo>
                  <a:pt x="6" y="50"/>
                </a:lnTo>
                <a:lnTo>
                  <a:pt x="3" y="50"/>
                </a:lnTo>
                <a:lnTo>
                  <a:pt x="6" y="53"/>
                </a:lnTo>
                <a:lnTo>
                  <a:pt x="9" y="53"/>
                </a:lnTo>
                <a:lnTo>
                  <a:pt x="12" y="56"/>
                </a:lnTo>
                <a:lnTo>
                  <a:pt x="12" y="53"/>
                </a:lnTo>
                <a:lnTo>
                  <a:pt x="16" y="56"/>
                </a:lnTo>
                <a:lnTo>
                  <a:pt x="12" y="56"/>
                </a:lnTo>
                <a:lnTo>
                  <a:pt x="9" y="56"/>
                </a:lnTo>
                <a:lnTo>
                  <a:pt x="6" y="53"/>
                </a:lnTo>
                <a:lnTo>
                  <a:pt x="0" y="53"/>
                </a:lnTo>
                <a:lnTo>
                  <a:pt x="0" y="53"/>
                </a:lnTo>
                <a:lnTo>
                  <a:pt x="3" y="56"/>
                </a:lnTo>
                <a:lnTo>
                  <a:pt x="6" y="59"/>
                </a:lnTo>
                <a:lnTo>
                  <a:pt x="9" y="59"/>
                </a:lnTo>
                <a:lnTo>
                  <a:pt x="9" y="59"/>
                </a:lnTo>
                <a:lnTo>
                  <a:pt x="12" y="59"/>
                </a:lnTo>
                <a:lnTo>
                  <a:pt x="16" y="56"/>
                </a:lnTo>
                <a:lnTo>
                  <a:pt x="16" y="56"/>
                </a:lnTo>
                <a:lnTo>
                  <a:pt x="19" y="56"/>
                </a:lnTo>
                <a:lnTo>
                  <a:pt x="22" y="53"/>
                </a:lnTo>
                <a:lnTo>
                  <a:pt x="28" y="53"/>
                </a:lnTo>
                <a:lnTo>
                  <a:pt x="31" y="56"/>
                </a:lnTo>
                <a:lnTo>
                  <a:pt x="34" y="56"/>
                </a:lnTo>
                <a:lnTo>
                  <a:pt x="34" y="59"/>
                </a:lnTo>
                <a:lnTo>
                  <a:pt x="41" y="56"/>
                </a:lnTo>
                <a:lnTo>
                  <a:pt x="41" y="59"/>
                </a:lnTo>
                <a:lnTo>
                  <a:pt x="41" y="62"/>
                </a:lnTo>
                <a:lnTo>
                  <a:pt x="44" y="65"/>
                </a:lnTo>
                <a:lnTo>
                  <a:pt x="44" y="65"/>
                </a:lnTo>
                <a:close/>
                <a:moveTo>
                  <a:pt x="6" y="47"/>
                </a:moveTo>
                <a:lnTo>
                  <a:pt x="12" y="47"/>
                </a:lnTo>
                <a:lnTo>
                  <a:pt x="12" y="47"/>
                </a:lnTo>
                <a:lnTo>
                  <a:pt x="9" y="50"/>
                </a:lnTo>
                <a:lnTo>
                  <a:pt x="9" y="47"/>
                </a:lnTo>
                <a:lnTo>
                  <a:pt x="6" y="47"/>
                </a:lnTo>
                <a:lnTo>
                  <a:pt x="6" y="47"/>
                </a:lnTo>
                <a:close/>
                <a:moveTo>
                  <a:pt x="9" y="43"/>
                </a:moveTo>
                <a:lnTo>
                  <a:pt x="12" y="43"/>
                </a:lnTo>
                <a:lnTo>
                  <a:pt x="16" y="43"/>
                </a:lnTo>
                <a:lnTo>
                  <a:pt x="16" y="47"/>
                </a:lnTo>
                <a:lnTo>
                  <a:pt x="12" y="47"/>
                </a:lnTo>
                <a:lnTo>
                  <a:pt x="12" y="43"/>
                </a:lnTo>
                <a:lnTo>
                  <a:pt x="9" y="43"/>
                </a:lnTo>
                <a:lnTo>
                  <a:pt x="9" y="43"/>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2" name="Freeform 70">
            <a:extLst>
              <a:ext uri="{FF2B5EF4-FFF2-40B4-BE49-F238E27FC236}">
                <a16:creationId xmlns:a16="http://schemas.microsoft.com/office/drawing/2014/main" id="{DAC5685F-802A-EC37-2518-BD6487F9D724}"/>
              </a:ext>
            </a:extLst>
          </p:cNvPr>
          <p:cNvSpPr>
            <a:spLocks/>
          </p:cNvSpPr>
          <p:nvPr userDrawn="1"/>
        </p:nvSpPr>
        <p:spPr bwMode="auto">
          <a:xfrm>
            <a:off x="13308732" y="5841283"/>
            <a:ext cx="177788" cy="149226"/>
          </a:xfrm>
          <a:custGeom>
            <a:avLst/>
            <a:gdLst>
              <a:gd name="T0" fmla="*/ 53 w 56"/>
              <a:gd name="T1" fmla="*/ 31 h 47"/>
              <a:gd name="T2" fmla="*/ 56 w 56"/>
              <a:gd name="T3" fmla="*/ 25 h 47"/>
              <a:gd name="T4" fmla="*/ 53 w 56"/>
              <a:gd name="T5" fmla="*/ 22 h 47"/>
              <a:gd name="T6" fmla="*/ 53 w 56"/>
              <a:gd name="T7" fmla="*/ 19 h 47"/>
              <a:gd name="T8" fmla="*/ 50 w 56"/>
              <a:gd name="T9" fmla="*/ 15 h 47"/>
              <a:gd name="T10" fmla="*/ 53 w 56"/>
              <a:gd name="T11" fmla="*/ 12 h 47"/>
              <a:gd name="T12" fmla="*/ 47 w 56"/>
              <a:gd name="T13" fmla="*/ 9 h 47"/>
              <a:gd name="T14" fmla="*/ 47 w 56"/>
              <a:gd name="T15" fmla="*/ 6 h 47"/>
              <a:gd name="T16" fmla="*/ 47 w 56"/>
              <a:gd name="T17" fmla="*/ 3 h 47"/>
              <a:gd name="T18" fmla="*/ 40 w 56"/>
              <a:gd name="T19" fmla="*/ 6 h 47"/>
              <a:gd name="T20" fmla="*/ 40 w 56"/>
              <a:gd name="T21" fmla="*/ 3 h 47"/>
              <a:gd name="T22" fmla="*/ 37 w 56"/>
              <a:gd name="T23" fmla="*/ 3 h 47"/>
              <a:gd name="T24" fmla="*/ 34 w 56"/>
              <a:gd name="T25" fmla="*/ 0 h 47"/>
              <a:gd name="T26" fmla="*/ 28 w 56"/>
              <a:gd name="T27" fmla="*/ 0 h 47"/>
              <a:gd name="T28" fmla="*/ 25 w 56"/>
              <a:gd name="T29" fmla="*/ 3 h 47"/>
              <a:gd name="T30" fmla="*/ 22 w 56"/>
              <a:gd name="T31" fmla="*/ 3 h 47"/>
              <a:gd name="T32" fmla="*/ 22 w 56"/>
              <a:gd name="T33" fmla="*/ 3 h 47"/>
              <a:gd name="T34" fmla="*/ 18 w 56"/>
              <a:gd name="T35" fmla="*/ 6 h 47"/>
              <a:gd name="T36" fmla="*/ 15 w 56"/>
              <a:gd name="T37" fmla="*/ 6 h 47"/>
              <a:gd name="T38" fmla="*/ 15 w 56"/>
              <a:gd name="T39" fmla="*/ 6 h 47"/>
              <a:gd name="T40" fmla="*/ 12 w 56"/>
              <a:gd name="T41" fmla="*/ 6 h 47"/>
              <a:gd name="T42" fmla="*/ 9 w 56"/>
              <a:gd name="T43" fmla="*/ 3 h 47"/>
              <a:gd name="T44" fmla="*/ 6 w 56"/>
              <a:gd name="T45" fmla="*/ 0 h 47"/>
              <a:gd name="T46" fmla="*/ 3 w 56"/>
              <a:gd name="T47" fmla="*/ 3 h 47"/>
              <a:gd name="T48" fmla="*/ 0 w 56"/>
              <a:gd name="T49" fmla="*/ 9 h 47"/>
              <a:gd name="T50" fmla="*/ 3 w 56"/>
              <a:gd name="T51" fmla="*/ 9 h 47"/>
              <a:gd name="T52" fmla="*/ 3 w 56"/>
              <a:gd name="T53" fmla="*/ 19 h 47"/>
              <a:gd name="T54" fmla="*/ 9 w 56"/>
              <a:gd name="T55" fmla="*/ 19 h 47"/>
              <a:gd name="T56" fmla="*/ 9 w 56"/>
              <a:gd name="T57" fmla="*/ 22 h 47"/>
              <a:gd name="T58" fmla="*/ 15 w 56"/>
              <a:gd name="T59" fmla="*/ 28 h 47"/>
              <a:gd name="T60" fmla="*/ 15 w 56"/>
              <a:gd name="T61" fmla="*/ 28 h 47"/>
              <a:gd name="T62" fmla="*/ 18 w 56"/>
              <a:gd name="T63" fmla="*/ 28 h 47"/>
              <a:gd name="T64" fmla="*/ 22 w 56"/>
              <a:gd name="T65" fmla="*/ 31 h 47"/>
              <a:gd name="T66" fmla="*/ 22 w 56"/>
              <a:gd name="T67" fmla="*/ 34 h 47"/>
              <a:gd name="T68" fmla="*/ 25 w 56"/>
              <a:gd name="T69" fmla="*/ 37 h 47"/>
              <a:gd name="T70" fmla="*/ 28 w 56"/>
              <a:gd name="T71" fmla="*/ 37 h 47"/>
              <a:gd name="T72" fmla="*/ 31 w 56"/>
              <a:gd name="T73" fmla="*/ 37 h 47"/>
              <a:gd name="T74" fmla="*/ 31 w 56"/>
              <a:gd name="T75" fmla="*/ 37 h 47"/>
              <a:gd name="T76" fmla="*/ 34 w 56"/>
              <a:gd name="T77" fmla="*/ 37 h 47"/>
              <a:gd name="T78" fmla="*/ 40 w 56"/>
              <a:gd name="T79" fmla="*/ 44 h 47"/>
              <a:gd name="T80" fmla="*/ 43 w 56"/>
              <a:gd name="T81" fmla="*/ 44 h 47"/>
              <a:gd name="T82" fmla="*/ 47 w 56"/>
              <a:gd name="T83" fmla="*/ 47 h 47"/>
              <a:gd name="T84" fmla="*/ 50 w 56"/>
              <a:gd name="T85" fmla="*/ 47 h 47"/>
              <a:gd name="T86" fmla="*/ 53 w 56"/>
              <a:gd name="T87" fmla="*/ 47 h 47"/>
              <a:gd name="T88" fmla="*/ 53 w 56"/>
              <a:gd name="T89" fmla="*/ 44 h 47"/>
              <a:gd name="T90" fmla="*/ 50 w 56"/>
              <a:gd name="T91" fmla="*/ 44 h 47"/>
              <a:gd name="T92" fmla="*/ 50 w 56"/>
              <a:gd name="T93" fmla="*/ 40 h 47"/>
              <a:gd name="T94" fmla="*/ 50 w 56"/>
              <a:gd name="T95" fmla="*/ 37 h 47"/>
              <a:gd name="T96" fmla="*/ 50 w 56"/>
              <a:gd name="T97" fmla="*/ 34 h 47"/>
              <a:gd name="T98" fmla="*/ 53 w 56"/>
              <a:gd name="T99" fmla="*/ 31 h 47"/>
              <a:gd name="T100" fmla="*/ 53 w 56"/>
              <a:gd name="T101" fmla="*/ 3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 h="47">
                <a:moveTo>
                  <a:pt x="53" y="31"/>
                </a:moveTo>
                <a:lnTo>
                  <a:pt x="56" y="25"/>
                </a:lnTo>
                <a:lnTo>
                  <a:pt x="53" y="22"/>
                </a:lnTo>
                <a:lnTo>
                  <a:pt x="53" y="19"/>
                </a:lnTo>
                <a:lnTo>
                  <a:pt x="50" y="15"/>
                </a:lnTo>
                <a:lnTo>
                  <a:pt x="53" y="12"/>
                </a:lnTo>
                <a:lnTo>
                  <a:pt x="47" y="9"/>
                </a:lnTo>
                <a:lnTo>
                  <a:pt x="47" y="6"/>
                </a:lnTo>
                <a:lnTo>
                  <a:pt x="47" y="3"/>
                </a:lnTo>
                <a:lnTo>
                  <a:pt x="40" y="6"/>
                </a:lnTo>
                <a:lnTo>
                  <a:pt x="40" y="3"/>
                </a:lnTo>
                <a:lnTo>
                  <a:pt x="37" y="3"/>
                </a:lnTo>
                <a:lnTo>
                  <a:pt x="34" y="0"/>
                </a:lnTo>
                <a:lnTo>
                  <a:pt x="28" y="0"/>
                </a:lnTo>
                <a:lnTo>
                  <a:pt x="25" y="3"/>
                </a:lnTo>
                <a:lnTo>
                  <a:pt x="22" y="3"/>
                </a:lnTo>
                <a:lnTo>
                  <a:pt x="22" y="3"/>
                </a:lnTo>
                <a:lnTo>
                  <a:pt x="18" y="6"/>
                </a:lnTo>
                <a:lnTo>
                  <a:pt x="15" y="6"/>
                </a:lnTo>
                <a:lnTo>
                  <a:pt x="15" y="6"/>
                </a:lnTo>
                <a:lnTo>
                  <a:pt x="12" y="6"/>
                </a:lnTo>
                <a:lnTo>
                  <a:pt x="9" y="3"/>
                </a:lnTo>
                <a:lnTo>
                  <a:pt x="6" y="0"/>
                </a:lnTo>
                <a:lnTo>
                  <a:pt x="3" y="3"/>
                </a:lnTo>
                <a:lnTo>
                  <a:pt x="0" y="9"/>
                </a:lnTo>
                <a:lnTo>
                  <a:pt x="3" y="9"/>
                </a:lnTo>
                <a:lnTo>
                  <a:pt x="3" y="19"/>
                </a:lnTo>
                <a:lnTo>
                  <a:pt x="9" y="19"/>
                </a:lnTo>
                <a:lnTo>
                  <a:pt x="9" y="22"/>
                </a:lnTo>
                <a:lnTo>
                  <a:pt x="15" y="28"/>
                </a:lnTo>
                <a:lnTo>
                  <a:pt x="15" y="28"/>
                </a:lnTo>
                <a:lnTo>
                  <a:pt x="18" y="28"/>
                </a:lnTo>
                <a:lnTo>
                  <a:pt x="22" y="31"/>
                </a:lnTo>
                <a:lnTo>
                  <a:pt x="22" y="34"/>
                </a:lnTo>
                <a:lnTo>
                  <a:pt x="25" y="37"/>
                </a:lnTo>
                <a:lnTo>
                  <a:pt x="28" y="37"/>
                </a:lnTo>
                <a:lnTo>
                  <a:pt x="31" y="37"/>
                </a:lnTo>
                <a:lnTo>
                  <a:pt x="31" y="37"/>
                </a:lnTo>
                <a:lnTo>
                  <a:pt x="34" y="37"/>
                </a:lnTo>
                <a:lnTo>
                  <a:pt x="40" y="44"/>
                </a:lnTo>
                <a:lnTo>
                  <a:pt x="43" y="44"/>
                </a:lnTo>
                <a:lnTo>
                  <a:pt x="47" y="47"/>
                </a:lnTo>
                <a:lnTo>
                  <a:pt x="50" y="47"/>
                </a:lnTo>
                <a:lnTo>
                  <a:pt x="53" y="47"/>
                </a:lnTo>
                <a:lnTo>
                  <a:pt x="53" y="44"/>
                </a:lnTo>
                <a:lnTo>
                  <a:pt x="50" y="44"/>
                </a:lnTo>
                <a:lnTo>
                  <a:pt x="50" y="40"/>
                </a:lnTo>
                <a:lnTo>
                  <a:pt x="50" y="37"/>
                </a:lnTo>
                <a:lnTo>
                  <a:pt x="50" y="34"/>
                </a:lnTo>
                <a:lnTo>
                  <a:pt x="53" y="31"/>
                </a:lnTo>
                <a:lnTo>
                  <a:pt x="53" y="31"/>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3" name="Freeform 71">
            <a:extLst>
              <a:ext uri="{FF2B5EF4-FFF2-40B4-BE49-F238E27FC236}">
                <a16:creationId xmlns:a16="http://schemas.microsoft.com/office/drawing/2014/main" id="{A4177FDA-15C5-3B80-EC95-D1F92566B90F}"/>
              </a:ext>
            </a:extLst>
          </p:cNvPr>
          <p:cNvSpPr>
            <a:spLocks/>
          </p:cNvSpPr>
          <p:nvPr userDrawn="1"/>
        </p:nvSpPr>
        <p:spPr bwMode="auto">
          <a:xfrm>
            <a:off x="13467470" y="5939709"/>
            <a:ext cx="38100" cy="60326"/>
          </a:xfrm>
          <a:custGeom>
            <a:avLst/>
            <a:gdLst>
              <a:gd name="T0" fmla="*/ 3 w 12"/>
              <a:gd name="T1" fmla="*/ 16 h 19"/>
              <a:gd name="T2" fmla="*/ 3 w 12"/>
              <a:gd name="T3" fmla="*/ 13 h 19"/>
              <a:gd name="T4" fmla="*/ 0 w 12"/>
              <a:gd name="T5" fmla="*/ 13 h 19"/>
              <a:gd name="T6" fmla="*/ 0 w 12"/>
              <a:gd name="T7" fmla="*/ 9 h 19"/>
              <a:gd name="T8" fmla="*/ 0 w 12"/>
              <a:gd name="T9" fmla="*/ 6 h 19"/>
              <a:gd name="T10" fmla="*/ 0 w 12"/>
              <a:gd name="T11" fmla="*/ 3 h 19"/>
              <a:gd name="T12" fmla="*/ 3 w 12"/>
              <a:gd name="T13" fmla="*/ 0 h 19"/>
              <a:gd name="T14" fmla="*/ 6 w 12"/>
              <a:gd name="T15" fmla="*/ 0 h 19"/>
              <a:gd name="T16" fmla="*/ 9 w 12"/>
              <a:gd name="T17" fmla="*/ 6 h 19"/>
              <a:gd name="T18" fmla="*/ 9 w 12"/>
              <a:gd name="T19" fmla="*/ 9 h 19"/>
              <a:gd name="T20" fmla="*/ 12 w 12"/>
              <a:gd name="T21" fmla="*/ 13 h 19"/>
              <a:gd name="T22" fmla="*/ 12 w 12"/>
              <a:gd name="T23" fmla="*/ 19 h 19"/>
              <a:gd name="T24" fmla="*/ 9 w 12"/>
              <a:gd name="T25" fmla="*/ 19 h 19"/>
              <a:gd name="T26" fmla="*/ 3 w 12"/>
              <a:gd name="T27" fmla="*/ 19 h 19"/>
              <a:gd name="T28" fmla="*/ 3 w 12"/>
              <a:gd name="T29" fmla="*/ 16 h 19"/>
              <a:gd name="T30" fmla="*/ 3 w 12"/>
              <a:gd name="T31"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9">
                <a:moveTo>
                  <a:pt x="3" y="16"/>
                </a:moveTo>
                <a:lnTo>
                  <a:pt x="3" y="13"/>
                </a:lnTo>
                <a:lnTo>
                  <a:pt x="0" y="13"/>
                </a:lnTo>
                <a:lnTo>
                  <a:pt x="0" y="9"/>
                </a:lnTo>
                <a:lnTo>
                  <a:pt x="0" y="6"/>
                </a:lnTo>
                <a:lnTo>
                  <a:pt x="0" y="3"/>
                </a:lnTo>
                <a:lnTo>
                  <a:pt x="3" y="0"/>
                </a:lnTo>
                <a:lnTo>
                  <a:pt x="6" y="0"/>
                </a:lnTo>
                <a:lnTo>
                  <a:pt x="9" y="6"/>
                </a:lnTo>
                <a:lnTo>
                  <a:pt x="9" y="9"/>
                </a:lnTo>
                <a:lnTo>
                  <a:pt x="12" y="13"/>
                </a:lnTo>
                <a:lnTo>
                  <a:pt x="12" y="19"/>
                </a:lnTo>
                <a:lnTo>
                  <a:pt x="9" y="19"/>
                </a:lnTo>
                <a:lnTo>
                  <a:pt x="3" y="19"/>
                </a:lnTo>
                <a:lnTo>
                  <a:pt x="3" y="16"/>
                </a:lnTo>
                <a:lnTo>
                  <a:pt x="3" y="1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4" name="Freeform 72">
            <a:extLst>
              <a:ext uri="{FF2B5EF4-FFF2-40B4-BE49-F238E27FC236}">
                <a16:creationId xmlns:a16="http://schemas.microsoft.com/office/drawing/2014/main" id="{F79750A8-9725-333F-BE2E-01353D19D9DC}"/>
              </a:ext>
            </a:extLst>
          </p:cNvPr>
          <p:cNvSpPr>
            <a:spLocks noEditPoints="1"/>
          </p:cNvSpPr>
          <p:nvPr userDrawn="1"/>
        </p:nvSpPr>
        <p:spPr bwMode="auto">
          <a:xfrm>
            <a:off x="12772187" y="4837983"/>
            <a:ext cx="38100" cy="98426"/>
          </a:xfrm>
          <a:custGeom>
            <a:avLst/>
            <a:gdLst>
              <a:gd name="T0" fmla="*/ 2 w 4"/>
              <a:gd name="T1" fmla="*/ 8 h 10"/>
              <a:gd name="T2" fmla="*/ 3 w 4"/>
              <a:gd name="T3" fmla="*/ 10 h 10"/>
              <a:gd name="T4" fmla="*/ 3 w 4"/>
              <a:gd name="T5" fmla="*/ 9 h 10"/>
              <a:gd name="T6" fmla="*/ 3 w 4"/>
              <a:gd name="T7" fmla="*/ 8 h 10"/>
              <a:gd name="T8" fmla="*/ 2 w 4"/>
              <a:gd name="T9" fmla="*/ 8 h 10"/>
              <a:gd name="T10" fmla="*/ 3 w 4"/>
              <a:gd name="T11" fmla="*/ 5 h 10"/>
              <a:gd name="T12" fmla="*/ 2 w 4"/>
              <a:gd name="T13" fmla="*/ 5 h 10"/>
              <a:gd name="T14" fmla="*/ 3 w 4"/>
              <a:gd name="T15" fmla="*/ 6 h 10"/>
              <a:gd name="T16" fmla="*/ 3 w 4"/>
              <a:gd name="T17" fmla="*/ 5 h 10"/>
              <a:gd name="T18" fmla="*/ 3 w 4"/>
              <a:gd name="T19" fmla="*/ 5 h 10"/>
              <a:gd name="T20" fmla="*/ 0 w 4"/>
              <a:gd name="T21" fmla="*/ 1 h 10"/>
              <a:gd name="T22" fmla="*/ 0 w 4"/>
              <a:gd name="T23" fmla="*/ 2 h 10"/>
              <a:gd name="T24" fmla="*/ 1 w 4"/>
              <a:gd name="T25" fmla="*/ 3 h 10"/>
              <a:gd name="T26" fmla="*/ 0 w 4"/>
              <a:gd name="T27" fmla="*/ 1 h 10"/>
              <a:gd name="T28" fmla="*/ 3 w 4"/>
              <a:gd name="T29" fmla="*/ 0 h 10"/>
              <a:gd name="T30" fmla="*/ 4 w 4"/>
              <a:gd name="T31" fmla="*/ 1 h 10"/>
              <a:gd name="T32" fmla="*/ 4 w 4"/>
              <a:gd name="T33" fmla="*/ 0 h 10"/>
              <a:gd name="T34" fmla="*/ 3 w 4"/>
              <a:gd name="T35" fmla="*/ 0 h 10"/>
              <a:gd name="T36" fmla="*/ 1 w 4"/>
              <a:gd name="T37" fmla="*/ 0 h 10"/>
              <a:gd name="T38" fmla="*/ 2 w 4"/>
              <a:gd name="T39" fmla="*/ 0 h 10"/>
              <a:gd name="T40" fmla="*/ 3 w 4"/>
              <a:gd name="T41" fmla="*/ 1 h 10"/>
              <a:gd name="T42" fmla="*/ 3 w 4"/>
              <a:gd name="T43" fmla="*/ 2 h 10"/>
              <a:gd name="T44" fmla="*/ 2 w 4"/>
              <a:gd name="T45" fmla="*/ 1 h 10"/>
              <a:gd name="T46" fmla="*/ 1 w 4"/>
              <a:gd name="T47" fmla="*/ 0 h 10"/>
              <a:gd name="T48" fmla="*/ 1 w 4"/>
              <a:gd name="T49" fmla="*/ 0 h 10"/>
              <a:gd name="T50" fmla="*/ 3 w 4"/>
              <a:gd name="T51" fmla="*/ 3 h 10"/>
              <a:gd name="T52" fmla="*/ 4 w 4"/>
              <a:gd name="T53" fmla="*/ 4 h 10"/>
              <a:gd name="T54" fmla="*/ 3 w 4"/>
              <a:gd name="T55" fmla="*/ 4 h 10"/>
              <a:gd name="T56" fmla="*/ 1 w 4"/>
              <a:gd name="T57" fmla="*/ 2 h 10"/>
              <a:gd name="T58" fmla="*/ 1 w 4"/>
              <a:gd name="T59" fmla="*/ 1 h 10"/>
              <a:gd name="T60" fmla="*/ 1 w 4"/>
              <a:gd name="T6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 h="10">
                <a:moveTo>
                  <a:pt x="2" y="8"/>
                </a:moveTo>
                <a:cubicBezTo>
                  <a:pt x="3" y="10"/>
                  <a:pt x="3" y="10"/>
                  <a:pt x="3" y="10"/>
                </a:cubicBezTo>
                <a:cubicBezTo>
                  <a:pt x="3" y="9"/>
                  <a:pt x="3" y="9"/>
                  <a:pt x="3" y="9"/>
                </a:cubicBezTo>
                <a:cubicBezTo>
                  <a:pt x="3" y="8"/>
                  <a:pt x="3" y="8"/>
                  <a:pt x="3" y="8"/>
                </a:cubicBezTo>
                <a:cubicBezTo>
                  <a:pt x="2" y="8"/>
                  <a:pt x="2" y="8"/>
                  <a:pt x="2" y="8"/>
                </a:cubicBezTo>
                <a:close/>
                <a:moveTo>
                  <a:pt x="3" y="5"/>
                </a:moveTo>
                <a:cubicBezTo>
                  <a:pt x="2" y="5"/>
                  <a:pt x="2" y="5"/>
                  <a:pt x="2" y="5"/>
                </a:cubicBezTo>
                <a:cubicBezTo>
                  <a:pt x="3" y="6"/>
                  <a:pt x="3" y="6"/>
                  <a:pt x="3" y="6"/>
                </a:cubicBezTo>
                <a:cubicBezTo>
                  <a:pt x="3" y="5"/>
                  <a:pt x="3" y="5"/>
                  <a:pt x="3" y="5"/>
                </a:cubicBezTo>
                <a:cubicBezTo>
                  <a:pt x="3" y="5"/>
                  <a:pt x="3" y="5"/>
                  <a:pt x="3" y="5"/>
                </a:cubicBezTo>
                <a:close/>
                <a:moveTo>
                  <a:pt x="0" y="1"/>
                </a:moveTo>
                <a:cubicBezTo>
                  <a:pt x="0" y="2"/>
                  <a:pt x="0" y="2"/>
                  <a:pt x="0" y="2"/>
                </a:cubicBezTo>
                <a:cubicBezTo>
                  <a:pt x="1" y="3"/>
                  <a:pt x="1" y="3"/>
                  <a:pt x="1" y="3"/>
                </a:cubicBezTo>
                <a:cubicBezTo>
                  <a:pt x="0" y="1"/>
                  <a:pt x="0" y="1"/>
                  <a:pt x="0" y="1"/>
                </a:cubicBezTo>
                <a:close/>
                <a:moveTo>
                  <a:pt x="3" y="0"/>
                </a:moveTo>
                <a:cubicBezTo>
                  <a:pt x="4" y="1"/>
                  <a:pt x="4" y="1"/>
                  <a:pt x="4" y="1"/>
                </a:cubicBezTo>
                <a:cubicBezTo>
                  <a:pt x="4" y="0"/>
                  <a:pt x="4" y="0"/>
                  <a:pt x="4" y="0"/>
                </a:cubicBezTo>
                <a:cubicBezTo>
                  <a:pt x="3" y="0"/>
                  <a:pt x="3" y="0"/>
                  <a:pt x="3" y="0"/>
                </a:cubicBezTo>
                <a:close/>
                <a:moveTo>
                  <a:pt x="1" y="0"/>
                </a:moveTo>
                <a:cubicBezTo>
                  <a:pt x="1" y="0"/>
                  <a:pt x="2" y="0"/>
                  <a:pt x="2" y="0"/>
                </a:cubicBezTo>
                <a:cubicBezTo>
                  <a:pt x="3" y="1"/>
                  <a:pt x="3" y="1"/>
                  <a:pt x="3" y="1"/>
                </a:cubicBezTo>
                <a:cubicBezTo>
                  <a:pt x="3" y="2"/>
                  <a:pt x="3" y="2"/>
                  <a:pt x="3" y="2"/>
                </a:cubicBezTo>
                <a:cubicBezTo>
                  <a:pt x="2" y="1"/>
                  <a:pt x="2" y="1"/>
                  <a:pt x="2" y="1"/>
                </a:cubicBezTo>
                <a:cubicBezTo>
                  <a:pt x="1" y="0"/>
                  <a:pt x="1" y="0"/>
                  <a:pt x="1" y="0"/>
                </a:cubicBezTo>
                <a:close/>
                <a:moveTo>
                  <a:pt x="1" y="0"/>
                </a:moveTo>
                <a:cubicBezTo>
                  <a:pt x="3" y="3"/>
                  <a:pt x="3" y="3"/>
                  <a:pt x="3" y="3"/>
                </a:cubicBezTo>
                <a:cubicBezTo>
                  <a:pt x="4" y="4"/>
                  <a:pt x="4" y="4"/>
                  <a:pt x="4" y="4"/>
                </a:cubicBezTo>
                <a:cubicBezTo>
                  <a:pt x="3" y="4"/>
                  <a:pt x="3" y="4"/>
                  <a:pt x="3" y="4"/>
                </a:cubicBezTo>
                <a:cubicBezTo>
                  <a:pt x="1" y="2"/>
                  <a:pt x="1" y="2"/>
                  <a:pt x="1" y="2"/>
                </a:cubicBezTo>
                <a:cubicBezTo>
                  <a:pt x="1" y="1"/>
                  <a:pt x="1" y="1"/>
                  <a:pt x="1" y="1"/>
                </a:cubicBezTo>
                <a:lnTo>
                  <a:pt x="1"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5" name="Freeform 73">
            <a:extLst>
              <a:ext uri="{FF2B5EF4-FFF2-40B4-BE49-F238E27FC236}">
                <a16:creationId xmlns:a16="http://schemas.microsoft.com/office/drawing/2014/main" id="{2BA1BC17-A3E3-8031-DDB4-979C88C0B844}"/>
              </a:ext>
            </a:extLst>
          </p:cNvPr>
          <p:cNvSpPr>
            <a:spLocks/>
          </p:cNvSpPr>
          <p:nvPr userDrawn="1"/>
        </p:nvSpPr>
        <p:spPr bwMode="auto">
          <a:xfrm>
            <a:off x="12572181" y="5492033"/>
            <a:ext cx="250810" cy="339726"/>
          </a:xfrm>
          <a:custGeom>
            <a:avLst/>
            <a:gdLst>
              <a:gd name="T0" fmla="*/ 35 w 79"/>
              <a:gd name="T1" fmla="*/ 104 h 107"/>
              <a:gd name="T2" fmla="*/ 41 w 79"/>
              <a:gd name="T3" fmla="*/ 97 h 107"/>
              <a:gd name="T4" fmla="*/ 47 w 79"/>
              <a:gd name="T5" fmla="*/ 94 h 107"/>
              <a:gd name="T6" fmla="*/ 60 w 79"/>
              <a:gd name="T7" fmla="*/ 91 h 107"/>
              <a:gd name="T8" fmla="*/ 66 w 79"/>
              <a:gd name="T9" fmla="*/ 88 h 107"/>
              <a:gd name="T10" fmla="*/ 69 w 79"/>
              <a:gd name="T11" fmla="*/ 85 h 107"/>
              <a:gd name="T12" fmla="*/ 75 w 79"/>
              <a:gd name="T13" fmla="*/ 75 h 107"/>
              <a:gd name="T14" fmla="*/ 79 w 79"/>
              <a:gd name="T15" fmla="*/ 60 h 107"/>
              <a:gd name="T16" fmla="*/ 79 w 79"/>
              <a:gd name="T17" fmla="*/ 53 h 107"/>
              <a:gd name="T18" fmla="*/ 72 w 79"/>
              <a:gd name="T19" fmla="*/ 41 h 107"/>
              <a:gd name="T20" fmla="*/ 72 w 79"/>
              <a:gd name="T21" fmla="*/ 38 h 107"/>
              <a:gd name="T22" fmla="*/ 60 w 79"/>
              <a:gd name="T23" fmla="*/ 25 h 107"/>
              <a:gd name="T24" fmla="*/ 54 w 79"/>
              <a:gd name="T25" fmla="*/ 35 h 107"/>
              <a:gd name="T26" fmla="*/ 54 w 79"/>
              <a:gd name="T27" fmla="*/ 16 h 107"/>
              <a:gd name="T28" fmla="*/ 60 w 79"/>
              <a:gd name="T29" fmla="*/ 10 h 107"/>
              <a:gd name="T30" fmla="*/ 66 w 79"/>
              <a:gd name="T31" fmla="*/ 7 h 107"/>
              <a:gd name="T32" fmla="*/ 60 w 79"/>
              <a:gd name="T33" fmla="*/ 3 h 107"/>
              <a:gd name="T34" fmla="*/ 54 w 79"/>
              <a:gd name="T35" fmla="*/ 13 h 107"/>
              <a:gd name="T36" fmla="*/ 54 w 79"/>
              <a:gd name="T37" fmla="*/ 3 h 107"/>
              <a:gd name="T38" fmla="*/ 50 w 79"/>
              <a:gd name="T39" fmla="*/ 7 h 107"/>
              <a:gd name="T40" fmla="*/ 44 w 79"/>
              <a:gd name="T41" fmla="*/ 10 h 107"/>
              <a:gd name="T42" fmla="*/ 44 w 79"/>
              <a:gd name="T43" fmla="*/ 13 h 107"/>
              <a:gd name="T44" fmla="*/ 41 w 79"/>
              <a:gd name="T45" fmla="*/ 16 h 107"/>
              <a:gd name="T46" fmla="*/ 41 w 79"/>
              <a:gd name="T47" fmla="*/ 22 h 107"/>
              <a:gd name="T48" fmla="*/ 47 w 79"/>
              <a:gd name="T49" fmla="*/ 22 h 107"/>
              <a:gd name="T50" fmla="*/ 38 w 79"/>
              <a:gd name="T51" fmla="*/ 28 h 107"/>
              <a:gd name="T52" fmla="*/ 29 w 79"/>
              <a:gd name="T53" fmla="*/ 32 h 107"/>
              <a:gd name="T54" fmla="*/ 16 w 79"/>
              <a:gd name="T55" fmla="*/ 28 h 107"/>
              <a:gd name="T56" fmla="*/ 13 w 79"/>
              <a:gd name="T57" fmla="*/ 32 h 107"/>
              <a:gd name="T58" fmla="*/ 16 w 79"/>
              <a:gd name="T59" fmla="*/ 38 h 107"/>
              <a:gd name="T60" fmla="*/ 10 w 79"/>
              <a:gd name="T61" fmla="*/ 35 h 107"/>
              <a:gd name="T62" fmla="*/ 19 w 79"/>
              <a:gd name="T63" fmla="*/ 41 h 107"/>
              <a:gd name="T64" fmla="*/ 16 w 79"/>
              <a:gd name="T65" fmla="*/ 47 h 107"/>
              <a:gd name="T66" fmla="*/ 10 w 79"/>
              <a:gd name="T67" fmla="*/ 50 h 107"/>
              <a:gd name="T68" fmla="*/ 13 w 79"/>
              <a:gd name="T69" fmla="*/ 53 h 107"/>
              <a:gd name="T70" fmla="*/ 29 w 79"/>
              <a:gd name="T71" fmla="*/ 57 h 107"/>
              <a:gd name="T72" fmla="*/ 19 w 79"/>
              <a:gd name="T73" fmla="*/ 66 h 107"/>
              <a:gd name="T74" fmla="*/ 10 w 79"/>
              <a:gd name="T75" fmla="*/ 75 h 107"/>
              <a:gd name="T76" fmla="*/ 19 w 79"/>
              <a:gd name="T77" fmla="*/ 75 h 107"/>
              <a:gd name="T78" fmla="*/ 29 w 79"/>
              <a:gd name="T79" fmla="*/ 72 h 107"/>
              <a:gd name="T80" fmla="*/ 16 w 79"/>
              <a:gd name="T81" fmla="*/ 75 h 107"/>
              <a:gd name="T82" fmla="*/ 13 w 79"/>
              <a:gd name="T83" fmla="*/ 82 h 107"/>
              <a:gd name="T84" fmla="*/ 10 w 79"/>
              <a:gd name="T85" fmla="*/ 85 h 107"/>
              <a:gd name="T86" fmla="*/ 7 w 79"/>
              <a:gd name="T87" fmla="*/ 82 h 107"/>
              <a:gd name="T88" fmla="*/ 13 w 79"/>
              <a:gd name="T89" fmla="*/ 88 h 107"/>
              <a:gd name="T90" fmla="*/ 4 w 79"/>
              <a:gd name="T91" fmla="*/ 94 h 107"/>
              <a:gd name="T92" fmla="*/ 16 w 79"/>
              <a:gd name="T93" fmla="*/ 94 h 107"/>
              <a:gd name="T94" fmla="*/ 10 w 79"/>
              <a:gd name="T95" fmla="*/ 100 h 107"/>
              <a:gd name="T96" fmla="*/ 10 w 79"/>
              <a:gd name="T97" fmla="*/ 104 h 107"/>
              <a:gd name="T98" fmla="*/ 19 w 79"/>
              <a:gd name="T99" fmla="*/ 10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 h="107">
                <a:moveTo>
                  <a:pt x="19" y="107"/>
                </a:moveTo>
                <a:lnTo>
                  <a:pt x="29" y="104"/>
                </a:lnTo>
                <a:lnTo>
                  <a:pt x="35" y="104"/>
                </a:lnTo>
                <a:lnTo>
                  <a:pt x="38" y="100"/>
                </a:lnTo>
                <a:lnTo>
                  <a:pt x="38" y="94"/>
                </a:lnTo>
                <a:lnTo>
                  <a:pt x="41" y="97"/>
                </a:lnTo>
                <a:lnTo>
                  <a:pt x="38" y="97"/>
                </a:lnTo>
                <a:lnTo>
                  <a:pt x="44" y="97"/>
                </a:lnTo>
                <a:lnTo>
                  <a:pt x="47" y="94"/>
                </a:lnTo>
                <a:lnTo>
                  <a:pt x="50" y="94"/>
                </a:lnTo>
                <a:lnTo>
                  <a:pt x="50" y="91"/>
                </a:lnTo>
                <a:lnTo>
                  <a:pt x="60" y="91"/>
                </a:lnTo>
                <a:lnTo>
                  <a:pt x="63" y="88"/>
                </a:lnTo>
                <a:lnTo>
                  <a:pt x="63" y="91"/>
                </a:lnTo>
                <a:lnTo>
                  <a:pt x="66" y="88"/>
                </a:lnTo>
                <a:lnTo>
                  <a:pt x="69" y="88"/>
                </a:lnTo>
                <a:lnTo>
                  <a:pt x="75" y="88"/>
                </a:lnTo>
                <a:lnTo>
                  <a:pt x="69" y="85"/>
                </a:lnTo>
                <a:lnTo>
                  <a:pt x="72" y="82"/>
                </a:lnTo>
                <a:lnTo>
                  <a:pt x="75" y="78"/>
                </a:lnTo>
                <a:lnTo>
                  <a:pt x="75" y="75"/>
                </a:lnTo>
                <a:lnTo>
                  <a:pt x="79" y="72"/>
                </a:lnTo>
                <a:lnTo>
                  <a:pt x="79" y="69"/>
                </a:lnTo>
                <a:lnTo>
                  <a:pt x="79" y="60"/>
                </a:lnTo>
                <a:lnTo>
                  <a:pt x="75" y="57"/>
                </a:lnTo>
                <a:lnTo>
                  <a:pt x="79" y="57"/>
                </a:lnTo>
                <a:lnTo>
                  <a:pt x="79" y="53"/>
                </a:lnTo>
                <a:lnTo>
                  <a:pt x="75" y="47"/>
                </a:lnTo>
                <a:lnTo>
                  <a:pt x="75" y="44"/>
                </a:lnTo>
                <a:lnTo>
                  <a:pt x="72" y="41"/>
                </a:lnTo>
                <a:lnTo>
                  <a:pt x="75" y="41"/>
                </a:lnTo>
                <a:lnTo>
                  <a:pt x="79" y="41"/>
                </a:lnTo>
                <a:lnTo>
                  <a:pt x="72" y="38"/>
                </a:lnTo>
                <a:lnTo>
                  <a:pt x="69" y="38"/>
                </a:lnTo>
                <a:lnTo>
                  <a:pt x="66" y="28"/>
                </a:lnTo>
                <a:lnTo>
                  <a:pt x="60" y="25"/>
                </a:lnTo>
                <a:lnTo>
                  <a:pt x="60" y="28"/>
                </a:lnTo>
                <a:lnTo>
                  <a:pt x="57" y="35"/>
                </a:lnTo>
                <a:lnTo>
                  <a:pt x="54" y="35"/>
                </a:lnTo>
                <a:lnTo>
                  <a:pt x="47" y="25"/>
                </a:lnTo>
                <a:lnTo>
                  <a:pt x="50" y="19"/>
                </a:lnTo>
                <a:lnTo>
                  <a:pt x="54" y="16"/>
                </a:lnTo>
                <a:lnTo>
                  <a:pt x="57" y="13"/>
                </a:lnTo>
                <a:lnTo>
                  <a:pt x="60" y="13"/>
                </a:lnTo>
                <a:lnTo>
                  <a:pt x="60" y="10"/>
                </a:lnTo>
                <a:lnTo>
                  <a:pt x="60" y="10"/>
                </a:lnTo>
                <a:lnTo>
                  <a:pt x="63" y="7"/>
                </a:lnTo>
                <a:lnTo>
                  <a:pt x="66" y="7"/>
                </a:lnTo>
                <a:lnTo>
                  <a:pt x="63" y="3"/>
                </a:lnTo>
                <a:lnTo>
                  <a:pt x="60" y="0"/>
                </a:lnTo>
                <a:lnTo>
                  <a:pt x="60" y="3"/>
                </a:lnTo>
                <a:lnTo>
                  <a:pt x="57" y="3"/>
                </a:lnTo>
                <a:lnTo>
                  <a:pt x="57" y="7"/>
                </a:lnTo>
                <a:lnTo>
                  <a:pt x="54" y="13"/>
                </a:lnTo>
                <a:lnTo>
                  <a:pt x="54" y="10"/>
                </a:lnTo>
                <a:lnTo>
                  <a:pt x="57" y="7"/>
                </a:lnTo>
                <a:lnTo>
                  <a:pt x="54" y="3"/>
                </a:lnTo>
                <a:lnTo>
                  <a:pt x="50" y="3"/>
                </a:lnTo>
                <a:lnTo>
                  <a:pt x="54" y="7"/>
                </a:lnTo>
                <a:lnTo>
                  <a:pt x="50" y="7"/>
                </a:lnTo>
                <a:lnTo>
                  <a:pt x="47" y="7"/>
                </a:lnTo>
                <a:lnTo>
                  <a:pt x="44" y="7"/>
                </a:lnTo>
                <a:lnTo>
                  <a:pt x="44" y="10"/>
                </a:lnTo>
                <a:lnTo>
                  <a:pt x="41" y="10"/>
                </a:lnTo>
                <a:lnTo>
                  <a:pt x="41" y="13"/>
                </a:lnTo>
                <a:lnTo>
                  <a:pt x="44" y="13"/>
                </a:lnTo>
                <a:lnTo>
                  <a:pt x="41" y="16"/>
                </a:lnTo>
                <a:lnTo>
                  <a:pt x="38" y="16"/>
                </a:lnTo>
                <a:lnTo>
                  <a:pt x="41" y="16"/>
                </a:lnTo>
                <a:lnTo>
                  <a:pt x="35" y="19"/>
                </a:lnTo>
                <a:lnTo>
                  <a:pt x="38" y="22"/>
                </a:lnTo>
                <a:lnTo>
                  <a:pt x="41" y="22"/>
                </a:lnTo>
                <a:lnTo>
                  <a:pt x="41" y="22"/>
                </a:lnTo>
                <a:lnTo>
                  <a:pt x="44" y="22"/>
                </a:lnTo>
                <a:lnTo>
                  <a:pt x="47" y="22"/>
                </a:lnTo>
                <a:lnTo>
                  <a:pt x="41" y="25"/>
                </a:lnTo>
                <a:lnTo>
                  <a:pt x="35" y="28"/>
                </a:lnTo>
                <a:lnTo>
                  <a:pt x="38" y="28"/>
                </a:lnTo>
                <a:lnTo>
                  <a:pt x="32" y="32"/>
                </a:lnTo>
                <a:lnTo>
                  <a:pt x="29" y="28"/>
                </a:lnTo>
                <a:lnTo>
                  <a:pt x="29" y="32"/>
                </a:lnTo>
                <a:lnTo>
                  <a:pt x="25" y="28"/>
                </a:lnTo>
                <a:lnTo>
                  <a:pt x="16" y="28"/>
                </a:lnTo>
                <a:lnTo>
                  <a:pt x="16" y="28"/>
                </a:lnTo>
                <a:lnTo>
                  <a:pt x="13" y="28"/>
                </a:lnTo>
                <a:lnTo>
                  <a:pt x="10" y="32"/>
                </a:lnTo>
                <a:lnTo>
                  <a:pt x="13" y="32"/>
                </a:lnTo>
                <a:lnTo>
                  <a:pt x="13" y="35"/>
                </a:lnTo>
                <a:lnTo>
                  <a:pt x="16" y="35"/>
                </a:lnTo>
                <a:lnTo>
                  <a:pt x="16" y="38"/>
                </a:lnTo>
                <a:lnTo>
                  <a:pt x="13" y="38"/>
                </a:lnTo>
                <a:lnTo>
                  <a:pt x="13" y="35"/>
                </a:lnTo>
                <a:lnTo>
                  <a:pt x="10" y="35"/>
                </a:lnTo>
                <a:lnTo>
                  <a:pt x="16" y="41"/>
                </a:lnTo>
                <a:lnTo>
                  <a:pt x="19" y="38"/>
                </a:lnTo>
                <a:lnTo>
                  <a:pt x="19" y="41"/>
                </a:lnTo>
                <a:lnTo>
                  <a:pt x="16" y="44"/>
                </a:lnTo>
                <a:lnTo>
                  <a:pt x="13" y="44"/>
                </a:lnTo>
                <a:lnTo>
                  <a:pt x="16" y="47"/>
                </a:lnTo>
                <a:lnTo>
                  <a:pt x="10" y="47"/>
                </a:lnTo>
                <a:lnTo>
                  <a:pt x="10" y="50"/>
                </a:lnTo>
                <a:lnTo>
                  <a:pt x="10" y="50"/>
                </a:lnTo>
                <a:lnTo>
                  <a:pt x="13" y="53"/>
                </a:lnTo>
                <a:lnTo>
                  <a:pt x="16" y="53"/>
                </a:lnTo>
                <a:lnTo>
                  <a:pt x="13" y="53"/>
                </a:lnTo>
                <a:lnTo>
                  <a:pt x="19" y="53"/>
                </a:lnTo>
                <a:lnTo>
                  <a:pt x="19" y="57"/>
                </a:lnTo>
                <a:lnTo>
                  <a:pt x="29" y="57"/>
                </a:lnTo>
                <a:lnTo>
                  <a:pt x="25" y="63"/>
                </a:lnTo>
                <a:lnTo>
                  <a:pt x="22" y="60"/>
                </a:lnTo>
                <a:lnTo>
                  <a:pt x="19" y="66"/>
                </a:lnTo>
                <a:lnTo>
                  <a:pt x="22" y="66"/>
                </a:lnTo>
                <a:lnTo>
                  <a:pt x="19" y="72"/>
                </a:lnTo>
                <a:lnTo>
                  <a:pt x="10" y="75"/>
                </a:lnTo>
                <a:lnTo>
                  <a:pt x="13" y="75"/>
                </a:lnTo>
                <a:lnTo>
                  <a:pt x="19" y="72"/>
                </a:lnTo>
                <a:lnTo>
                  <a:pt x="19" y="75"/>
                </a:lnTo>
                <a:lnTo>
                  <a:pt x="25" y="75"/>
                </a:lnTo>
                <a:lnTo>
                  <a:pt x="29" y="72"/>
                </a:lnTo>
                <a:lnTo>
                  <a:pt x="29" y="72"/>
                </a:lnTo>
                <a:lnTo>
                  <a:pt x="32" y="72"/>
                </a:lnTo>
                <a:lnTo>
                  <a:pt x="22" y="75"/>
                </a:lnTo>
                <a:lnTo>
                  <a:pt x="16" y="75"/>
                </a:lnTo>
                <a:lnTo>
                  <a:pt x="16" y="78"/>
                </a:lnTo>
                <a:lnTo>
                  <a:pt x="10" y="78"/>
                </a:lnTo>
                <a:lnTo>
                  <a:pt x="13" y="82"/>
                </a:lnTo>
                <a:lnTo>
                  <a:pt x="13" y="85"/>
                </a:lnTo>
                <a:lnTo>
                  <a:pt x="13" y="85"/>
                </a:lnTo>
                <a:lnTo>
                  <a:pt x="10" y="85"/>
                </a:lnTo>
                <a:lnTo>
                  <a:pt x="7" y="82"/>
                </a:lnTo>
                <a:lnTo>
                  <a:pt x="7" y="85"/>
                </a:lnTo>
                <a:lnTo>
                  <a:pt x="7" y="82"/>
                </a:lnTo>
                <a:lnTo>
                  <a:pt x="0" y="85"/>
                </a:lnTo>
                <a:lnTo>
                  <a:pt x="0" y="88"/>
                </a:lnTo>
                <a:lnTo>
                  <a:pt x="13" y="88"/>
                </a:lnTo>
                <a:lnTo>
                  <a:pt x="10" y="91"/>
                </a:lnTo>
                <a:lnTo>
                  <a:pt x="4" y="91"/>
                </a:lnTo>
                <a:lnTo>
                  <a:pt x="4" y="94"/>
                </a:lnTo>
                <a:lnTo>
                  <a:pt x="7" y="94"/>
                </a:lnTo>
                <a:lnTo>
                  <a:pt x="7" y="97"/>
                </a:lnTo>
                <a:lnTo>
                  <a:pt x="16" y="94"/>
                </a:lnTo>
                <a:lnTo>
                  <a:pt x="10" y="100"/>
                </a:lnTo>
                <a:lnTo>
                  <a:pt x="7" y="100"/>
                </a:lnTo>
                <a:lnTo>
                  <a:pt x="10" y="100"/>
                </a:lnTo>
                <a:lnTo>
                  <a:pt x="16" y="97"/>
                </a:lnTo>
                <a:lnTo>
                  <a:pt x="16" y="100"/>
                </a:lnTo>
                <a:lnTo>
                  <a:pt x="10" y="104"/>
                </a:lnTo>
                <a:lnTo>
                  <a:pt x="13" y="104"/>
                </a:lnTo>
                <a:lnTo>
                  <a:pt x="13" y="104"/>
                </a:lnTo>
                <a:lnTo>
                  <a:pt x="19" y="104"/>
                </a:lnTo>
                <a:lnTo>
                  <a:pt x="19" y="10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6" name="Freeform 74">
            <a:extLst>
              <a:ext uri="{FF2B5EF4-FFF2-40B4-BE49-F238E27FC236}">
                <a16:creationId xmlns:a16="http://schemas.microsoft.com/office/drawing/2014/main" id="{DC1883C7-77E8-DEE7-E566-29F0A9830EBA}"/>
              </a:ext>
            </a:extLst>
          </p:cNvPr>
          <p:cNvSpPr>
            <a:spLocks noEditPoints="1"/>
          </p:cNvSpPr>
          <p:nvPr userDrawn="1"/>
        </p:nvSpPr>
        <p:spPr bwMode="auto">
          <a:xfrm>
            <a:off x="12721394" y="4987205"/>
            <a:ext cx="536541" cy="981078"/>
          </a:xfrm>
          <a:custGeom>
            <a:avLst/>
            <a:gdLst>
              <a:gd name="T0" fmla="*/ 2 w 54"/>
              <a:gd name="T1" fmla="*/ 56 h 99"/>
              <a:gd name="T2" fmla="*/ 12 w 54"/>
              <a:gd name="T3" fmla="*/ 57 h 99"/>
              <a:gd name="T4" fmla="*/ 11 w 54"/>
              <a:gd name="T5" fmla="*/ 62 h 99"/>
              <a:gd name="T6" fmla="*/ 39 w 54"/>
              <a:gd name="T7" fmla="*/ 0 h 99"/>
              <a:gd name="T8" fmla="*/ 38 w 54"/>
              <a:gd name="T9" fmla="*/ 1 h 99"/>
              <a:gd name="T10" fmla="*/ 36 w 54"/>
              <a:gd name="T11" fmla="*/ 4 h 99"/>
              <a:gd name="T12" fmla="*/ 50 w 54"/>
              <a:gd name="T13" fmla="*/ 86 h 99"/>
              <a:gd name="T14" fmla="*/ 36 w 54"/>
              <a:gd name="T15" fmla="*/ 93 h 99"/>
              <a:gd name="T16" fmla="*/ 6 w 54"/>
              <a:gd name="T17" fmla="*/ 41 h 99"/>
              <a:gd name="T18" fmla="*/ 9 w 54"/>
              <a:gd name="T19" fmla="*/ 37 h 99"/>
              <a:gd name="T20" fmla="*/ 26 w 54"/>
              <a:gd name="T21" fmla="*/ 19 h 99"/>
              <a:gd name="T22" fmla="*/ 25 w 54"/>
              <a:gd name="T23" fmla="*/ 22 h 99"/>
              <a:gd name="T24" fmla="*/ 11 w 54"/>
              <a:gd name="T25" fmla="*/ 26 h 99"/>
              <a:gd name="T26" fmla="*/ 7 w 54"/>
              <a:gd name="T27" fmla="*/ 29 h 99"/>
              <a:gd name="T28" fmla="*/ 4 w 54"/>
              <a:gd name="T29" fmla="*/ 33 h 99"/>
              <a:gd name="T30" fmla="*/ 5 w 54"/>
              <a:gd name="T31" fmla="*/ 35 h 99"/>
              <a:gd name="T32" fmla="*/ 9 w 54"/>
              <a:gd name="T33" fmla="*/ 34 h 99"/>
              <a:gd name="T34" fmla="*/ 11 w 54"/>
              <a:gd name="T35" fmla="*/ 34 h 99"/>
              <a:gd name="T36" fmla="*/ 12 w 54"/>
              <a:gd name="T37" fmla="*/ 42 h 99"/>
              <a:gd name="T38" fmla="*/ 12 w 54"/>
              <a:gd name="T39" fmla="*/ 47 h 99"/>
              <a:gd name="T40" fmla="*/ 16 w 54"/>
              <a:gd name="T41" fmla="*/ 52 h 99"/>
              <a:gd name="T42" fmla="*/ 17 w 54"/>
              <a:gd name="T43" fmla="*/ 63 h 99"/>
              <a:gd name="T44" fmla="*/ 16 w 54"/>
              <a:gd name="T45" fmla="*/ 98 h 99"/>
              <a:gd name="T46" fmla="*/ 24 w 54"/>
              <a:gd name="T47" fmla="*/ 97 h 99"/>
              <a:gd name="T48" fmla="*/ 31 w 54"/>
              <a:gd name="T49" fmla="*/ 93 h 99"/>
              <a:gd name="T50" fmla="*/ 40 w 54"/>
              <a:gd name="T51" fmla="*/ 92 h 99"/>
              <a:gd name="T52" fmla="*/ 51 w 54"/>
              <a:gd name="T53" fmla="*/ 89 h 99"/>
              <a:gd name="T54" fmla="*/ 48 w 54"/>
              <a:gd name="T55" fmla="*/ 86 h 99"/>
              <a:gd name="T56" fmla="*/ 50 w 54"/>
              <a:gd name="T57" fmla="*/ 82 h 99"/>
              <a:gd name="T58" fmla="*/ 53 w 54"/>
              <a:gd name="T59" fmla="*/ 80 h 99"/>
              <a:gd name="T60" fmla="*/ 44 w 54"/>
              <a:gd name="T61" fmla="*/ 73 h 99"/>
              <a:gd name="T62" fmla="*/ 40 w 54"/>
              <a:gd name="T63" fmla="*/ 66 h 99"/>
              <a:gd name="T64" fmla="*/ 42 w 54"/>
              <a:gd name="T65" fmla="*/ 62 h 99"/>
              <a:gd name="T66" fmla="*/ 33 w 54"/>
              <a:gd name="T67" fmla="*/ 50 h 99"/>
              <a:gd name="T68" fmla="*/ 23 w 54"/>
              <a:gd name="T69" fmla="*/ 45 h 99"/>
              <a:gd name="T70" fmla="*/ 25 w 54"/>
              <a:gd name="T71" fmla="*/ 43 h 99"/>
              <a:gd name="T72" fmla="*/ 31 w 54"/>
              <a:gd name="T73" fmla="*/ 34 h 99"/>
              <a:gd name="T74" fmla="*/ 24 w 54"/>
              <a:gd name="T75" fmla="*/ 32 h 99"/>
              <a:gd name="T76" fmla="*/ 21 w 54"/>
              <a:gd name="T77" fmla="*/ 29 h 99"/>
              <a:gd name="T78" fmla="*/ 22 w 54"/>
              <a:gd name="T79" fmla="*/ 24 h 99"/>
              <a:gd name="T80" fmla="*/ 16 w 54"/>
              <a:gd name="T81" fmla="*/ 24 h 99"/>
              <a:gd name="T82" fmla="*/ 14 w 54"/>
              <a:gd name="T83" fmla="*/ 30 h 99"/>
              <a:gd name="T84" fmla="*/ 13 w 54"/>
              <a:gd name="T85" fmla="*/ 33 h 99"/>
              <a:gd name="T86" fmla="*/ 13 w 54"/>
              <a:gd name="T87" fmla="*/ 35 h 99"/>
              <a:gd name="T88" fmla="*/ 12 w 54"/>
              <a:gd name="T89" fmla="*/ 39 h 99"/>
              <a:gd name="T90" fmla="*/ 13 w 54"/>
              <a:gd name="T91" fmla="*/ 42 h 99"/>
              <a:gd name="T92" fmla="*/ 13 w 54"/>
              <a:gd name="T93" fmla="*/ 48 h 99"/>
              <a:gd name="T94" fmla="*/ 14 w 54"/>
              <a:gd name="T95" fmla="*/ 48 h 99"/>
              <a:gd name="T96" fmla="*/ 17 w 54"/>
              <a:gd name="T97" fmla="*/ 45 h 99"/>
              <a:gd name="T98" fmla="*/ 16 w 54"/>
              <a:gd name="T99" fmla="*/ 56 h 99"/>
              <a:gd name="T100" fmla="*/ 22 w 54"/>
              <a:gd name="T101" fmla="*/ 57 h 99"/>
              <a:gd name="T102" fmla="*/ 28 w 54"/>
              <a:gd name="T103" fmla="*/ 62 h 99"/>
              <a:gd name="T104" fmla="*/ 27 w 54"/>
              <a:gd name="T105" fmla="*/ 69 h 99"/>
              <a:gd name="T106" fmla="*/ 17 w 54"/>
              <a:gd name="T107" fmla="*/ 74 h 99"/>
              <a:gd name="T108" fmla="*/ 19 w 54"/>
              <a:gd name="T109" fmla="*/ 80 h 99"/>
              <a:gd name="T110" fmla="*/ 16 w 54"/>
              <a:gd name="T111" fmla="*/ 85 h 99"/>
              <a:gd name="T112" fmla="*/ 24 w 54"/>
              <a:gd name="T113" fmla="*/ 86 h 99"/>
              <a:gd name="T114" fmla="*/ 27 w 54"/>
              <a:gd name="T115" fmla="*/ 89 h 99"/>
              <a:gd name="T116" fmla="*/ 16 w 54"/>
              <a:gd name="T117" fmla="*/ 94 h 99"/>
              <a:gd name="T118" fmla="*/ 15 w 54"/>
              <a:gd name="T119"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 h="99">
                <a:moveTo>
                  <a:pt x="10" y="64"/>
                </a:moveTo>
                <a:cubicBezTo>
                  <a:pt x="8" y="63"/>
                  <a:pt x="8" y="63"/>
                  <a:pt x="8" y="63"/>
                </a:cubicBezTo>
                <a:cubicBezTo>
                  <a:pt x="7" y="63"/>
                  <a:pt x="7" y="63"/>
                  <a:pt x="7" y="63"/>
                </a:cubicBezTo>
                <a:cubicBezTo>
                  <a:pt x="6" y="60"/>
                  <a:pt x="6" y="60"/>
                  <a:pt x="6" y="60"/>
                </a:cubicBezTo>
                <a:cubicBezTo>
                  <a:pt x="4" y="59"/>
                  <a:pt x="4" y="59"/>
                  <a:pt x="4" y="59"/>
                </a:cubicBezTo>
                <a:cubicBezTo>
                  <a:pt x="4" y="60"/>
                  <a:pt x="4" y="60"/>
                  <a:pt x="4" y="60"/>
                </a:cubicBezTo>
                <a:cubicBezTo>
                  <a:pt x="3" y="62"/>
                  <a:pt x="3" y="62"/>
                  <a:pt x="3" y="62"/>
                </a:cubicBezTo>
                <a:cubicBezTo>
                  <a:pt x="2" y="62"/>
                  <a:pt x="2" y="62"/>
                  <a:pt x="2" y="62"/>
                </a:cubicBezTo>
                <a:cubicBezTo>
                  <a:pt x="0" y="59"/>
                  <a:pt x="0" y="59"/>
                  <a:pt x="0" y="59"/>
                </a:cubicBezTo>
                <a:cubicBezTo>
                  <a:pt x="1" y="57"/>
                  <a:pt x="1" y="57"/>
                  <a:pt x="1" y="57"/>
                </a:cubicBezTo>
                <a:cubicBezTo>
                  <a:pt x="2" y="56"/>
                  <a:pt x="2" y="56"/>
                  <a:pt x="2" y="56"/>
                </a:cubicBezTo>
                <a:cubicBezTo>
                  <a:pt x="3" y="55"/>
                  <a:pt x="3" y="55"/>
                  <a:pt x="3" y="55"/>
                </a:cubicBezTo>
                <a:cubicBezTo>
                  <a:pt x="4" y="55"/>
                  <a:pt x="4" y="55"/>
                  <a:pt x="4" y="55"/>
                </a:cubicBezTo>
                <a:cubicBezTo>
                  <a:pt x="4" y="54"/>
                  <a:pt x="4" y="54"/>
                  <a:pt x="4" y="54"/>
                </a:cubicBezTo>
                <a:cubicBezTo>
                  <a:pt x="5" y="54"/>
                  <a:pt x="5" y="54"/>
                  <a:pt x="5" y="54"/>
                </a:cubicBezTo>
                <a:cubicBezTo>
                  <a:pt x="6" y="54"/>
                  <a:pt x="6" y="54"/>
                  <a:pt x="6" y="54"/>
                </a:cubicBezTo>
                <a:cubicBezTo>
                  <a:pt x="7" y="54"/>
                  <a:pt x="7" y="54"/>
                  <a:pt x="7" y="54"/>
                </a:cubicBezTo>
                <a:cubicBezTo>
                  <a:pt x="8" y="53"/>
                  <a:pt x="8" y="53"/>
                  <a:pt x="8" y="53"/>
                </a:cubicBezTo>
                <a:cubicBezTo>
                  <a:pt x="10" y="53"/>
                  <a:pt x="10" y="53"/>
                  <a:pt x="10" y="53"/>
                </a:cubicBezTo>
                <a:cubicBezTo>
                  <a:pt x="11" y="53"/>
                  <a:pt x="11" y="53"/>
                  <a:pt x="11" y="53"/>
                </a:cubicBezTo>
                <a:cubicBezTo>
                  <a:pt x="11" y="55"/>
                  <a:pt x="11" y="55"/>
                  <a:pt x="11" y="55"/>
                </a:cubicBezTo>
                <a:cubicBezTo>
                  <a:pt x="12" y="57"/>
                  <a:pt x="12" y="57"/>
                  <a:pt x="12" y="57"/>
                </a:cubicBezTo>
                <a:cubicBezTo>
                  <a:pt x="12" y="58"/>
                  <a:pt x="12" y="58"/>
                  <a:pt x="12" y="58"/>
                </a:cubicBezTo>
                <a:cubicBezTo>
                  <a:pt x="13" y="58"/>
                  <a:pt x="13" y="58"/>
                  <a:pt x="13" y="58"/>
                </a:cubicBezTo>
                <a:cubicBezTo>
                  <a:pt x="14" y="61"/>
                  <a:pt x="14" y="61"/>
                  <a:pt x="14" y="61"/>
                </a:cubicBezTo>
                <a:cubicBezTo>
                  <a:pt x="13" y="59"/>
                  <a:pt x="13" y="59"/>
                  <a:pt x="13" y="59"/>
                </a:cubicBezTo>
                <a:cubicBezTo>
                  <a:pt x="12" y="59"/>
                  <a:pt x="12" y="59"/>
                  <a:pt x="12" y="59"/>
                </a:cubicBezTo>
                <a:cubicBezTo>
                  <a:pt x="13" y="59"/>
                  <a:pt x="13" y="59"/>
                  <a:pt x="13" y="59"/>
                </a:cubicBezTo>
                <a:cubicBezTo>
                  <a:pt x="12" y="60"/>
                  <a:pt x="12" y="60"/>
                  <a:pt x="12" y="60"/>
                </a:cubicBezTo>
                <a:cubicBezTo>
                  <a:pt x="13" y="61"/>
                  <a:pt x="13" y="61"/>
                  <a:pt x="13" y="61"/>
                </a:cubicBezTo>
                <a:cubicBezTo>
                  <a:pt x="13" y="62"/>
                  <a:pt x="13" y="62"/>
                  <a:pt x="13" y="62"/>
                </a:cubicBezTo>
                <a:cubicBezTo>
                  <a:pt x="11" y="61"/>
                  <a:pt x="11" y="61"/>
                  <a:pt x="11" y="61"/>
                </a:cubicBezTo>
                <a:cubicBezTo>
                  <a:pt x="11" y="62"/>
                  <a:pt x="11" y="62"/>
                  <a:pt x="11" y="62"/>
                </a:cubicBezTo>
                <a:cubicBezTo>
                  <a:pt x="10" y="63"/>
                  <a:pt x="10" y="63"/>
                  <a:pt x="10" y="63"/>
                </a:cubicBezTo>
                <a:cubicBezTo>
                  <a:pt x="10" y="63"/>
                  <a:pt x="10" y="63"/>
                  <a:pt x="10" y="63"/>
                </a:cubicBezTo>
                <a:cubicBezTo>
                  <a:pt x="10" y="64"/>
                  <a:pt x="10" y="64"/>
                  <a:pt x="10" y="64"/>
                </a:cubicBezTo>
                <a:cubicBezTo>
                  <a:pt x="10" y="64"/>
                  <a:pt x="10" y="64"/>
                  <a:pt x="10" y="64"/>
                </a:cubicBezTo>
                <a:close/>
                <a:moveTo>
                  <a:pt x="36" y="9"/>
                </a:moveTo>
                <a:cubicBezTo>
                  <a:pt x="37" y="8"/>
                  <a:pt x="37" y="8"/>
                  <a:pt x="37" y="8"/>
                </a:cubicBezTo>
                <a:cubicBezTo>
                  <a:pt x="37" y="8"/>
                  <a:pt x="37" y="8"/>
                  <a:pt x="37" y="8"/>
                </a:cubicBezTo>
                <a:cubicBezTo>
                  <a:pt x="36" y="9"/>
                  <a:pt x="36" y="9"/>
                  <a:pt x="36" y="9"/>
                </a:cubicBezTo>
                <a:close/>
                <a:moveTo>
                  <a:pt x="38" y="1"/>
                </a:moveTo>
                <a:cubicBezTo>
                  <a:pt x="38" y="1"/>
                  <a:pt x="38" y="1"/>
                  <a:pt x="38" y="1"/>
                </a:cubicBezTo>
                <a:cubicBezTo>
                  <a:pt x="39" y="0"/>
                  <a:pt x="39" y="0"/>
                  <a:pt x="39" y="0"/>
                </a:cubicBezTo>
                <a:cubicBezTo>
                  <a:pt x="38" y="1"/>
                  <a:pt x="38" y="1"/>
                  <a:pt x="38" y="1"/>
                </a:cubicBezTo>
                <a:close/>
                <a:moveTo>
                  <a:pt x="36" y="4"/>
                </a:moveTo>
                <a:cubicBezTo>
                  <a:pt x="36" y="3"/>
                  <a:pt x="36" y="3"/>
                  <a:pt x="36" y="3"/>
                </a:cubicBezTo>
                <a:cubicBezTo>
                  <a:pt x="35" y="3"/>
                  <a:pt x="35" y="3"/>
                  <a:pt x="35" y="3"/>
                </a:cubicBezTo>
                <a:cubicBezTo>
                  <a:pt x="35" y="4"/>
                  <a:pt x="35" y="4"/>
                  <a:pt x="35" y="4"/>
                </a:cubicBezTo>
                <a:cubicBezTo>
                  <a:pt x="35" y="4"/>
                  <a:pt x="36" y="4"/>
                  <a:pt x="36" y="4"/>
                </a:cubicBezTo>
                <a:close/>
                <a:moveTo>
                  <a:pt x="37" y="3"/>
                </a:moveTo>
                <a:cubicBezTo>
                  <a:pt x="36" y="3"/>
                  <a:pt x="36" y="3"/>
                  <a:pt x="36" y="3"/>
                </a:cubicBezTo>
                <a:cubicBezTo>
                  <a:pt x="37" y="2"/>
                  <a:pt x="37" y="2"/>
                  <a:pt x="37" y="2"/>
                </a:cubicBezTo>
                <a:cubicBezTo>
                  <a:pt x="37" y="1"/>
                  <a:pt x="37" y="1"/>
                  <a:pt x="37" y="1"/>
                </a:cubicBezTo>
                <a:cubicBezTo>
                  <a:pt x="38" y="1"/>
                  <a:pt x="38" y="1"/>
                  <a:pt x="38" y="1"/>
                </a:cubicBezTo>
                <a:cubicBezTo>
                  <a:pt x="38" y="3"/>
                  <a:pt x="38" y="3"/>
                  <a:pt x="38" y="3"/>
                </a:cubicBezTo>
                <a:cubicBezTo>
                  <a:pt x="37" y="3"/>
                  <a:pt x="37" y="3"/>
                  <a:pt x="37" y="3"/>
                </a:cubicBezTo>
                <a:close/>
                <a:moveTo>
                  <a:pt x="37" y="7"/>
                </a:moveTo>
                <a:cubicBezTo>
                  <a:pt x="36" y="6"/>
                  <a:pt x="36" y="6"/>
                  <a:pt x="36" y="6"/>
                </a:cubicBezTo>
                <a:cubicBezTo>
                  <a:pt x="35" y="6"/>
                  <a:pt x="35" y="6"/>
                  <a:pt x="35" y="6"/>
                </a:cubicBezTo>
                <a:cubicBezTo>
                  <a:pt x="34" y="5"/>
                  <a:pt x="34" y="5"/>
                  <a:pt x="34" y="5"/>
                </a:cubicBezTo>
                <a:cubicBezTo>
                  <a:pt x="35" y="5"/>
                  <a:pt x="35" y="5"/>
                  <a:pt x="35" y="5"/>
                </a:cubicBezTo>
                <a:cubicBezTo>
                  <a:pt x="36" y="5"/>
                  <a:pt x="36" y="5"/>
                  <a:pt x="36" y="5"/>
                </a:cubicBezTo>
                <a:cubicBezTo>
                  <a:pt x="36" y="5"/>
                  <a:pt x="36" y="5"/>
                  <a:pt x="36" y="5"/>
                </a:cubicBezTo>
                <a:cubicBezTo>
                  <a:pt x="36" y="4"/>
                  <a:pt x="36" y="4"/>
                  <a:pt x="36" y="4"/>
                </a:cubicBezTo>
                <a:cubicBezTo>
                  <a:pt x="36" y="4"/>
                  <a:pt x="36" y="4"/>
                  <a:pt x="36" y="4"/>
                </a:cubicBezTo>
                <a:cubicBezTo>
                  <a:pt x="37" y="4"/>
                  <a:pt x="37" y="4"/>
                  <a:pt x="37" y="4"/>
                </a:cubicBezTo>
                <a:cubicBezTo>
                  <a:pt x="38" y="4"/>
                  <a:pt x="38" y="4"/>
                  <a:pt x="38" y="4"/>
                </a:cubicBezTo>
                <a:cubicBezTo>
                  <a:pt x="37" y="5"/>
                  <a:pt x="37" y="5"/>
                  <a:pt x="37" y="5"/>
                </a:cubicBezTo>
                <a:cubicBezTo>
                  <a:pt x="38" y="6"/>
                  <a:pt x="38" y="6"/>
                  <a:pt x="38" y="6"/>
                </a:cubicBezTo>
                <a:cubicBezTo>
                  <a:pt x="37" y="6"/>
                  <a:pt x="37" y="6"/>
                  <a:pt x="37" y="6"/>
                </a:cubicBezTo>
                <a:cubicBezTo>
                  <a:pt x="37" y="7"/>
                  <a:pt x="37" y="7"/>
                  <a:pt x="37" y="7"/>
                </a:cubicBezTo>
                <a:cubicBezTo>
                  <a:pt x="37" y="7"/>
                  <a:pt x="37" y="7"/>
                  <a:pt x="37" y="7"/>
                </a:cubicBezTo>
                <a:close/>
                <a:moveTo>
                  <a:pt x="49" y="86"/>
                </a:moveTo>
                <a:cubicBezTo>
                  <a:pt x="49" y="86"/>
                  <a:pt x="49" y="86"/>
                  <a:pt x="49" y="86"/>
                </a:cubicBezTo>
                <a:cubicBezTo>
                  <a:pt x="50" y="86"/>
                  <a:pt x="50" y="86"/>
                  <a:pt x="50" y="86"/>
                </a:cubicBezTo>
                <a:cubicBezTo>
                  <a:pt x="50" y="86"/>
                  <a:pt x="50" y="86"/>
                  <a:pt x="50" y="86"/>
                </a:cubicBezTo>
                <a:cubicBezTo>
                  <a:pt x="49" y="85"/>
                  <a:pt x="49" y="85"/>
                  <a:pt x="49" y="85"/>
                </a:cubicBezTo>
                <a:cubicBezTo>
                  <a:pt x="49" y="86"/>
                  <a:pt x="49" y="86"/>
                  <a:pt x="49" y="86"/>
                </a:cubicBezTo>
                <a:close/>
                <a:moveTo>
                  <a:pt x="36" y="93"/>
                </a:moveTo>
                <a:cubicBezTo>
                  <a:pt x="37" y="92"/>
                  <a:pt x="37" y="92"/>
                  <a:pt x="37" y="92"/>
                </a:cubicBezTo>
                <a:cubicBezTo>
                  <a:pt x="38" y="92"/>
                  <a:pt x="38" y="92"/>
                  <a:pt x="38" y="92"/>
                </a:cubicBezTo>
                <a:cubicBezTo>
                  <a:pt x="39" y="92"/>
                  <a:pt x="39" y="92"/>
                  <a:pt x="39" y="92"/>
                </a:cubicBezTo>
                <a:cubicBezTo>
                  <a:pt x="38" y="93"/>
                  <a:pt x="38" y="93"/>
                  <a:pt x="38" y="93"/>
                </a:cubicBezTo>
                <a:cubicBezTo>
                  <a:pt x="38" y="94"/>
                  <a:pt x="38" y="94"/>
                  <a:pt x="38" y="94"/>
                </a:cubicBezTo>
                <a:cubicBezTo>
                  <a:pt x="37" y="94"/>
                  <a:pt x="37" y="94"/>
                  <a:pt x="37" y="94"/>
                </a:cubicBezTo>
                <a:cubicBezTo>
                  <a:pt x="37" y="93"/>
                  <a:pt x="37" y="93"/>
                  <a:pt x="37" y="93"/>
                </a:cubicBezTo>
                <a:cubicBezTo>
                  <a:pt x="36" y="93"/>
                  <a:pt x="36" y="93"/>
                  <a:pt x="36" y="93"/>
                </a:cubicBezTo>
                <a:close/>
                <a:moveTo>
                  <a:pt x="16" y="47"/>
                </a:moveTo>
                <a:cubicBezTo>
                  <a:pt x="15" y="48"/>
                  <a:pt x="15" y="48"/>
                  <a:pt x="15" y="48"/>
                </a:cubicBezTo>
                <a:cubicBezTo>
                  <a:pt x="16" y="49"/>
                  <a:pt x="16" y="49"/>
                  <a:pt x="16" y="49"/>
                </a:cubicBezTo>
                <a:cubicBezTo>
                  <a:pt x="16" y="48"/>
                  <a:pt x="16" y="48"/>
                  <a:pt x="16" y="48"/>
                </a:cubicBezTo>
                <a:cubicBezTo>
                  <a:pt x="16" y="47"/>
                  <a:pt x="16" y="47"/>
                  <a:pt x="16" y="47"/>
                </a:cubicBezTo>
                <a:close/>
                <a:moveTo>
                  <a:pt x="10" y="46"/>
                </a:moveTo>
                <a:cubicBezTo>
                  <a:pt x="10" y="45"/>
                  <a:pt x="10" y="45"/>
                  <a:pt x="10" y="45"/>
                </a:cubicBezTo>
                <a:cubicBezTo>
                  <a:pt x="10" y="46"/>
                  <a:pt x="10" y="46"/>
                  <a:pt x="10" y="46"/>
                </a:cubicBezTo>
                <a:cubicBezTo>
                  <a:pt x="10" y="46"/>
                  <a:pt x="10" y="46"/>
                  <a:pt x="10" y="46"/>
                </a:cubicBezTo>
                <a:close/>
                <a:moveTo>
                  <a:pt x="6" y="42"/>
                </a:moveTo>
                <a:cubicBezTo>
                  <a:pt x="6" y="41"/>
                  <a:pt x="6" y="41"/>
                  <a:pt x="6" y="41"/>
                </a:cubicBezTo>
                <a:cubicBezTo>
                  <a:pt x="7" y="41"/>
                  <a:pt x="7" y="41"/>
                  <a:pt x="7" y="41"/>
                </a:cubicBezTo>
                <a:cubicBezTo>
                  <a:pt x="6" y="42"/>
                  <a:pt x="6" y="42"/>
                  <a:pt x="6" y="42"/>
                </a:cubicBezTo>
                <a:close/>
                <a:moveTo>
                  <a:pt x="8" y="41"/>
                </a:moveTo>
                <a:cubicBezTo>
                  <a:pt x="9" y="40"/>
                  <a:pt x="9" y="40"/>
                  <a:pt x="9" y="40"/>
                </a:cubicBezTo>
                <a:cubicBezTo>
                  <a:pt x="9" y="41"/>
                  <a:pt x="9" y="41"/>
                  <a:pt x="9" y="41"/>
                </a:cubicBezTo>
                <a:cubicBezTo>
                  <a:pt x="8" y="41"/>
                  <a:pt x="8" y="41"/>
                  <a:pt x="8" y="41"/>
                </a:cubicBezTo>
                <a:close/>
                <a:moveTo>
                  <a:pt x="10" y="39"/>
                </a:moveTo>
                <a:cubicBezTo>
                  <a:pt x="11" y="38"/>
                  <a:pt x="11" y="38"/>
                  <a:pt x="11" y="38"/>
                </a:cubicBezTo>
                <a:cubicBezTo>
                  <a:pt x="10" y="38"/>
                  <a:pt x="10" y="38"/>
                  <a:pt x="10" y="38"/>
                </a:cubicBezTo>
                <a:cubicBezTo>
                  <a:pt x="10" y="39"/>
                  <a:pt x="10" y="39"/>
                  <a:pt x="10" y="39"/>
                </a:cubicBezTo>
                <a:close/>
                <a:moveTo>
                  <a:pt x="9" y="37"/>
                </a:moveTo>
                <a:cubicBezTo>
                  <a:pt x="10" y="38"/>
                  <a:pt x="10" y="38"/>
                  <a:pt x="10" y="38"/>
                </a:cubicBezTo>
                <a:cubicBezTo>
                  <a:pt x="10" y="38"/>
                  <a:pt x="10" y="38"/>
                  <a:pt x="10" y="38"/>
                </a:cubicBezTo>
                <a:cubicBezTo>
                  <a:pt x="10" y="37"/>
                  <a:pt x="10" y="37"/>
                  <a:pt x="10" y="37"/>
                </a:cubicBezTo>
                <a:cubicBezTo>
                  <a:pt x="9" y="37"/>
                  <a:pt x="9" y="37"/>
                  <a:pt x="9" y="37"/>
                </a:cubicBezTo>
                <a:close/>
                <a:moveTo>
                  <a:pt x="25" y="18"/>
                </a:moveTo>
                <a:cubicBezTo>
                  <a:pt x="26" y="19"/>
                  <a:pt x="26" y="19"/>
                  <a:pt x="26" y="19"/>
                </a:cubicBezTo>
                <a:cubicBezTo>
                  <a:pt x="26" y="18"/>
                  <a:pt x="26" y="18"/>
                  <a:pt x="26" y="18"/>
                </a:cubicBezTo>
                <a:cubicBezTo>
                  <a:pt x="25" y="18"/>
                  <a:pt x="25" y="18"/>
                  <a:pt x="25" y="18"/>
                </a:cubicBezTo>
                <a:close/>
                <a:moveTo>
                  <a:pt x="24" y="19"/>
                </a:moveTo>
                <a:cubicBezTo>
                  <a:pt x="25" y="19"/>
                  <a:pt x="25" y="19"/>
                  <a:pt x="25" y="19"/>
                </a:cubicBezTo>
                <a:cubicBezTo>
                  <a:pt x="26" y="19"/>
                  <a:pt x="26" y="19"/>
                  <a:pt x="26" y="19"/>
                </a:cubicBezTo>
                <a:cubicBezTo>
                  <a:pt x="25" y="20"/>
                  <a:pt x="25" y="20"/>
                  <a:pt x="25" y="20"/>
                </a:cubicBezTo>
                <a:cubicBezTo>
                  <a:pt x="27" y="20"/>
                  <a:pt x="27" y="20"/>
                  <a:pt x="27" y="20"/>
                </a:cubicBezTo>
                <a:cubicBezTo>
                  <a:pt x="27" y="21"/>
                  <a:pt x="27" y="21"/>
                  <a:pt x="27" y="21"/>
                </a:cubicBezTo>
                <a:cubicBezTo>
                  <a:pt x="26" y="20"/>
                  <a:pt x="26" y="20"/>
                  <a:pt x="26" y="20"/>
                </a:cubicBezTo>
                <a:cubicBezTo>
                  <a:pt x="25" y="20"/>
                  <a:pt x="25" y="20"/>
                  <a:pt x="25" y="20"/>
                </a:cubicBezTo>
                <a:cubicBezTo>
                  <a:pt x="25" y="20"/>
                  <a:pt x="25" y="20"/>
                  <a:pt x="25" y="20"/>
                </a:cubicBezTo>
                <a:cubicBezTo>
                  <a:pt x="25" y="20"/>
                  <a:pt x="25" y="20"/>
                  <a:pt x="25" y="20"/>
                </a:cubicBezTo>
                <a:cubicBezTo>
                  <a:pt x="24" y="20"/>
                  <a:pt x="24" y="20"/>
                  <a:pt x="24" y="20"/>
                </a:cubicBezTo>
                <a:cubicBezTo>
                  <a:pt x="24" y="19"/>
                  <a:pt x="24" y="19"/>
                  <a:pt x="24" y="19"/>
                </a:cubicBezTo>
                <a:close/>
                <a:moveTo>
                  <a:pt x="24" y="21"/>
                </a:moveTo>
                <a:cubicBezTo>
                  <a:pt x="25" y="22"/>
                  <a:pt x="25" y="22"/>
                  <a:pt x="25" y="22"/>
                </a:cubicBezTo>
                <a:cubicBezTo>
                  <a:pt x="25" y="21"/>
                  <a:pt x="25" y="21"/>
                  <a:pt x="25" y="21"/>
                </a:cubicBezTo>
                <a:cubicBezTo>
                  <a:pt x="25" y="21"/>
                  <a:pt x="25" y="21"/>
                  <a:pt x="25" y="21"/>
                </a:cubicBezTo>
                <a:cubicBezTo>
                  <a:pt x="24" y="21"/>
                  <a:pt x="24" y="21"/>
                  <a:pt x="24" y="21"/>
                </a:cubicBezTo>
                <a:close/>
                <a:moveTo>
                  <a:pt x="6" y="28"/>
                </a:moveTo>
                <a:cubicBezTo>
                  <a:pt x="7" y="28"/>
                  <a:pt x="7" y="28"/>
                  <a:pt x="7" y="28"/>
                </a:cubicBezTo>
                <a:cubicBezTo>
                  <a:pt x="6" y="27"/>
                  <a:pt x="6" y="27"/>
                  <a:pt x="6" y="27"/>
                </a:cubicBezTo>
                <a:cubicBezTo>
                  <a:pt x="7" y="26"/>
                  <a:pt x="7" y="26"/>
                  <a:pt x="7" y="26"/>
                </a:cubicBezTo>
                <a:cubicBezTo>
                  <a:pt x="8" y="27"/>
                  <a:pt x="8" y="27"/>
                  <a:pt x="8" y="27"/>
                </a:cubicBezTo>
                <a:cubicBezTo>
                  <a:pt x="8" y="26"/>
                  <a:pt x="8" y="26"/>
                  <a:pt x="8" y="26"/>
                </a:cubicBezTo>
                <a:cubicBezTo>
                  <a:pt x="10" y="24"/>
                  <a:pt x="10" y="24"/>
                  <a:pt x="10" y="24"/>
                </a:cubicBezTo>
                <a:cubicBezTo>
                  <a:pt x="11" y="26"/>
                  <a:pt x="11" y="26"/>
                  <a:pt x="11" y="26"/>
                </a:cubicBezTo>
                <a:cubicBezTo>
                  <a:pt x="10" y="27"/>
                  <a:pt x="10" y="27"/>
                  <a:pt x="10" y="27"/>
                </a:cubicBezTo>
                <a:cubicBezTo>
                  <a:pt x="9" y="28"/>
                  <a:pt x="9" y="28"/>
                  <a:pt x="9" y="28"/>
                </a:cubicBezTo>
                <a:cubicBezTo>
                  <a:pt x="10" y="28"/>
                  <a:pt x="10" y="28"/>
                  <a:pt x="10" y="28"/>
                </a:cubicBezTo>
                <a:cubicBezTo>
                  <a:pt x="9" y="29"/>
                  <a:pt x="9" y="29"/>
                  <a:pt x="9" y="29"/>
                </a:cubicBezTo>
                <a:cubicBezTo>
                  <a:pt x="8" y="29"/>
                  <a:pt x="8" y="29"/>
                  <a:pt x="8" y="29"/>
                </a:cubicBezTo>
                <a:cubicBezTo>
                  <a:pt x="7" y="29"/>
                  <a:pt x="7" y="29"/>
                  <a:pt x="7" y="29"/>
                </a:cubicBezTo>
                <a:cubicBezTo>
                  <a:pt x="6" y="28"/>
                  <a:pt x="6" y="28"/>
                  <a:pt x="6" y="28"/>
                </a:cubicBezTo>
                <a:close/>
                <a:moveTo>
                  <a:pt x="6" y="30"/>
                </a:moveTo>
                <a:cubicBezTo>
                  <a:pt x="7" y="31"/>
                  <a:pt x="7" y="31"/>
                  <a:pt x="7" y="31"/>
                </a:cubicBezTo>
                <a:cubicBezTo>
                  <a:pt x="8" y="30"/>
                  <a:pt x="8" y="30"/>
                  <a:pt x="8" y="30"/>
                </a:cubicBezTo>
                <a:cubicBezTo>
                  <a:pt x="7" y="29"/>
                  <a:pt x="7" y="29"/>
                  <a:pt x="7" y="29"/>
                </a:cubicBezTo>
                <a:cubicBezTo>
                  <a:pt x="7" y="29"/>
                  <a:pt x="7" y="29"/>
                  <a:pt x="7" y="29"/>
                </a:cubicBezTo>
                <a:cubicBezTo>
                  <a:pt x="6" y="30"/>
                  <a:pt x="6" y="30"/>
                  <a:pt x="6" y="30"/>
                </a:cubicBezTo>
                <a:cubicBezTo>
                  <a:pt x="6" y="30"/>
                  <a:pt x="6" y="30"/>
                  <a:pt x="6" y="30"/>
                </a:cubicBezTo>
                <a:close/>
                <a:moveTo>
                  <a:pt x="6" y="32"/>
                </a:moveTo>
                <a:cubicBezTo>
                  <a:pt x="5" y="32"/>
                  <a:pt x="5" y="32"/>
                  <a:pt x="5" y="32"/>
                </a:cubicBezTo>
                <a:cubicBezTo>
                  <a:pt x="4" y="32"/>
                  <a:pt x="4" y="32"/>
                  <a:pt x="4" y="32"/>
                </a:cubicBezTo>
                <a:cubicBezTo>
                  <a:pt x="4" y="31"/>
                  <a:pt x="4" y="31"/>
                  <a:pt x="4" y="31"/>
                </a:cubicBezTo>
                <a:cubicBezTo>
                  <a:pt x="6" y="31"/>
                  <a:pt x="6" y="31"/>
                  <a:pt x="6" y="31"/>
                </a:cubicBezTo>
                <a:cubicBezTo>
                  <a:pt x="6" y="32"/>
                  <a:pt x="6" y="32"/>
                  <a:pt x="6" y="32"/>
                </a:cubicBezTo>
                <a:close/>
                <a:moveTo>
                  <a:pt x="5" y="34"/>
                </a:moveTo>
                <a:cubicBezTo>
                  <a:pt x="4" y="33"/>
                  <a:pt x="4" y="33"/>
                  <a:pt x="4" y="33"/>
                </a:cubicBezTo>
                <a:cubicBezTo>
                  <a:pt x="4" y="33"/>
                  <a:pt x="4" y="33"/>
                  <a:pt x="4" y="33"/>
                </a:cubicBezTo>
                <a:cubicBezTo>
                  <a:pt x="5" y="33"/>
                  <a:pt x="5" y="33"/>
                  <a:pt x="5" y="33"/>
                </a:cubicBezTo>
                <a:cubicBezTo>
                  <a:pt x="5" y="34"/>
                  <a:pt x="5" y="34"/>
                  <a:pt x="5" y="34"/>
                </a:cubicBezTo>
                <a:close/>
                <a:moveTo>
                  <a:pt x="4" y="37"/>
                </a:moveTo>
                <a:cubicBezTo>
                  <a:pt x="4" y="37"/>
                  <a:pt x="4" y="37"/>
                  <a:pt x="4" y="37"/>
                </a:cubicBezTo>
                <a:cubicBezTo>
                  <a:pt x="3" y="38"/>
                  <a:pt x="3" y="38"/>
                  <a:pt x="3" y="38"/>
                </a:cubicBezTo>
                <a:cubicBezTo>
                  <a:pt x="3" y="37"/>
                  <a:pt x="3" y="37"/>
                  <a:pt x="3" y="37"/>
                </a:cubicBezTo>
                <a:cubicBezTo>
                  <a:pt x="4" y="37"/>
                  <a:pt x="4" y="37"/>
                  <a:pt x="4" y="37"/>
                </a:cubicBezTo>
                <a:close/>
                <a:moveTo>
                  <a:pt x="5" y="36"/>
                </a:moveTo>
                <a:cubicBezTo>
                  <a:pt x="5" y="35"/>
                  <a:pt x="5" y="35"/>
                  <a:pt x="5" y="35"/>
                </a:cubicBezTo>
                <a:cubicBezTo>
                  <a:pt x="5" y="35"/>
                  <a:pt x="5" y="35"/>
                  <a:pt x="5" y="35"/>
                </a:cubicBezTo>
                <a:cubicBezTo>
                  <a:pt x="5" y="34"/>
                  <a:pt x="5" y="34"/>
                  <a:pt x="5" y="34"/>
                </a:cubicBezTo>
                <a:cubicBezTo>
                  <a:pt x="4" y="34"/>
                  <a:pt x="4" y="34"/>
                  <a:pt x="4" y="34"/>
                </a:cubicBezTo>
                <a:cubicBezTo>
                  <a:pt x="4" y="34"/>
                  <a:pt x="4" y="34"/>
                  <a:pt x="4" y="34"/>
                </a:cubicBezTo>
                <a:cubicBezTo>
                  <a:pt x="4" y="35"/>
                  <a:pt x="4" y="35"/>
                  <a:pt x="4" y="35"/>
                </a:cubicBezTo>
                <a:cubicBezTo>
                  <a:pt x="4" y="36"/>
                  <a:pt x="4" y="36"/>
                  <a:pt x="4" y="36"/>
                </a:cubicBezTo>
                <a:cubicBezTo>
                  <a:pt x="5" y="36"/>
                  <a:pt x="5" y="36"/>
                  <a:pt x="5" y="36"/>
                </a:cubicBezTo>
                <a:close/>
                <a:moveTo>
                  <a:pt x="11" y="37"/>
                </a:moveTo>
                <a:cubicBezTo>
                  <a:pt x="11" y="36"/>
                  <a:pt x="11" y="36"/>
                  <a:pt x="11" y="36"/>
                </a:cubicBezTo>
                <a:cubicBezTo>
                  <a:pt x="10" y="36"/>
                  <a:pt x="10" y="36"/>
                  <a:pt x="10" y="36"/>
                </a:cubicBezTo>
                <a:cubicBezTo>
                  <a:pt x="9" y="34"/>
                  <a:pt x="9" y="34"/>
                  <a:pt x="9" y="34"/>
                </a:cubicBezTo>
                <a:cubicBezTo>
                  <a:pt x="9" y="34"/>
                  <a:pt x="9" y="34"/>
                  <a:pt x="9" y="34"/>
                </a:cubicBezTo>
                <a:cubicBezTo>
                  <a:pt x="9" y="34"/>
                  <a:pt x="9" y="34"/>
                  <a:pt x="9" y="34"/>
                </a:cubicBezTo>
                <a:cubicBezTo>
                  <a:pt x="9" y="34"/>
                  <a:pt x="9" y="34"/>
                  <a:pt x="9" y="34"/>
                </a:cubicBezTo>
                <a:cubicBezTo>
                  <a:pt x="7" y="33"/>
                  <a:pt x="7" y="33"/>
                  <a:pt x="7" y="33"/>
                </a:cubicBezTo>
                <a:cubicBezTo>
                  <a:pt x="8" y="33"/>
                  <a:pt x="8" y="33"/>
                  <a:pt x="8" y="33"/>
                </a:cubicBezTo>
                <a:cubicBezTo>
                  <a:pt x="8" y="33"/>
                  <a:pt x="8" y="33"/>
                  <a:pt x="8" y="33"/>
                </a:cubicBezTo>
                <a:cubicBezTo>
                  <a:pt x="8" y="32"/>
                  <a:pt x="8" y="32"/>
                  <a:pt x="8" y="32"/>
                </a:cubicBezTo>
                <a:cubicBezTo>
                  <a:pt x="10" y="33"/>
                  <a:pt x="10" y="33"/>
                  <a:pt x="10" y="33"/>
                </a:cubicBezTo>
                <a:cubicBezTo>
                  <a:pt x="9" y="32"/>
                  <a:pt x="9" y="32"/>
                  <a:pt x="9" y="32"/>
                </a:cubicBezTo>
                <a:cubicBezTo>
                  <a:pt x="10" y="31"/>
                  <a:pt x="10" y="31"/>
                  <a:pt x="10" y="31"/>
                </a:cubicBezTo>
                <a:cubicBezTo>
                  <a:pt x="11" y="32"/>
                  <a:pt x="11" y="32"/>
                  <a:pt x="11" y="32"/>
                </a:cubicBezTo>
                <a:cubicBezTo>
                  <a:pt x="11" y="34"/>
                  <a:pt x="11" y="34"/>
                  <a:pt x="11" y="34"/>
                </a:cubicBezTo>
                <a:cubicBezTo>
                  <a:pt x="12" y="35"/>
                  <a:pt x="12" y="35"/>
                  <a:pt x="12" y="35"/>
                </a:cubicBezTo>
                <a:cubicBezTo>
                  <a:pt x="12" y="35"/>
                  <a:pt x="12" y="35"/>
                  <a:pt x="12" y="35"/>
                </a:cubicBezTo>
                <a:cubicBezTo>
                  <a:pt x="13" y="35"/>
                  <a:pt x="13" y="35"/>
                  <a:pt x="13" y="35"/>
                </a:cubicBezTo>
                <a:cubicBezTo>
                  <a:pt x="12" y="36"/>
                  <a:pt x="12" y="36"/>
                  <a:pt x="12" y="36"/>
                </a:cubicBezTo>
                <a:cubicBezTo>
                  <a:pt x="12" y="37"/>
                  <a:pt x="12" y="37"/>
                  <a:pt x="12" y="37"/>
                </a:cubicBezTo>
                <a:cubicBezTo>
                  <a:pt x="11" y="37"/>
                  <a:pt x="11" y="37"/>
                  <a:pt x="11" y="37"/>
                </a:cubicBezTo>
                <a:close/>
                <a:moveTo>
                  <a:pt x="9" y="44"/>
                </a:moveTo>
                <a:cubicBezTo>
                  <a:pt x="12" y="43"/>
                  <a:pt x="12" y="43"/>
                  <a:pt x="12" y="43"/>
                </a:cubicBezTo>
                <a:cubicBezTo>
                  <a:pt x="12" y="44"/>
                  <a:pt x="12" y="44"/>
                  <a:pt x="12" y="44"/>
                </a:cubicBezTo>
                <a:cubicBezTo>
                  <a:pt x="13" y="43"/>
                  <a:pt x="13" y="43"/>
                  <a:pt x="13" y="43"/>
                </a:cubicBezTo>
                <a:cubicBezTo>
                  <a:pt x="12" y="42"/>
                  <a:pt x="12" y="42"/>
                  <a:pt x="12" y="42"/>
                </a:cubicBezTo>
                <a:cubicBezTo>
                  <a:pt x="12" y="42"/>
                  <a:pt x="12" y="42"/>
                  <a:pt x="12" y="42"/>
                </a:cubicBezTo>
                <a:cubicBezTo>
                  <a:pt x="11" y="40"/>
                  <a:pt x="11" y="40"/>
                  <a:pt x="11" y="40"/>
                </a:cubicBezTo>
                <a:cubicBezTo>
                  <a:pt x="9" y="41"/>
                  <a:pt x="9" y="41"/>
                  <a:pt x="9" y="41"/>
                </a:cubicBezTo>
                <a:cubicBezTo>
                  <a:pt x="11" y="42"/>
                  <a:pt x="11" y="42"/>
                  <a:pt x="11" y="42"/>
                </a:cubicBezTo>
                <a:cubicBezTo>
                  <a:pt x="10" y="43"/>
                  <a:pt x="10" y="43"/>
                  <a:pt x="10" y="43"/>
                </a:cubicBezTo>
                <a:cubicBezTo>
                  <a:pt x="10" y="43"/>
                  <a:pt x="10" y="43"/>
                  <a:pt x="10" y="43"/>
                </a:cubicBezTo>
                <a:cubicBezTo>
                  <a:pt x="9" y="44"/>
                  <a:pt x="9" y="44"/>
                  <a:pt x="9" y="44"/>
                </a:cubicBezTo>
                <a:close/>
                <a:moveTo>
                  <a:pt x="11" y="48"/>
                </a:moveTo>
                <a:cubicBezTo>
                  <a:pt x="11" y="47"/>
                  <a:pt x="11" y="47"/>
                  <a:pt x="11" y="47"/>
                </a:cubicBezTo>
                <a:cubicBezTo>
                  <a:pt x="13" y="45"/>
                  <a:pt x="13" y="45"/>
                  <a:pt x="13" y="45"/>
                </a:cubicBezTo>
                <a:cubicBezTo>
                  <a:pt x="12" y="47"/>
                  <a:pt x="12" y="47"/>
                  <a:pt x="12" y="47"/>
                </a:cubicBezTo>
                <a:cubicBezTo>
                  <a:pt x="11" y="48"/>
                  <a:pt x="11" y="48"/>
                  <a:pt x="11" y="48"/>
                </a:cubicBezTo>
                <a:close/>
                <a:moveTo>
                  <a:pt x="9" y="50"/>
                </a:moveTo>
                <a:cubicBezTo>
                  <a:pt x="11" y="49"/>
                  <a:pt x="11" y="49"/>
                  <a:pt x="11" y="49"/>
                </a:cubicBezTo>
                <a:cubicBezTo>
                  <a:pt x="10" y="47"/>
                  <a:pt x="10" y="47"/>
                  <a:pt x="10" y="47"/>
                </a:cubicBezTo>
                <a:cubicBezTo>
                  <a:pt x="8" y="48"/>
                  <a:pt x="8" y="48"/>
                  <a:pt x="8" y="48"/>
                </a:cubicBezTo>
                <a:cubicBezTo>
                  <a:pt x="8" y="49"/>
                  <a:pt x="8" y="49"/>
                  <a:pt x="8" y="49"/>
                </a:cubicBezTo>
                <a:cubicBezTo>
                  <a:pt x="10" y="48"/>
                  <a:pt x="10" y="48"/>
                  <a:pt x="10" y="48"/>
                </a:cubicBezTo>
                <a:cubicBezTo>
                  <a:pt x="9" y="50"/>
                  <a:pt x="9" y="50"/>
                  <a:pt x="9" y="50"/>
                </a:cubicBezTo>
                <a:close/>
                <a:moveTo>
                  <a:pt x="14" y="49"/>
                </a:moveTo>
                <a:cubicBezTo>
                  <a:pt x="14" y="51"/>
                  <a:pt x="14" y="51"/>
                  <a:pt x="14" y="51"/>
                </a:cubicBezTo>
                <a:cubicBezTo>
                  <a:pt x="16" y="52"/>
                  <a:pt x="16" y="52"/>
                  <a:pt x="16" y="52"/>
                </a:cubicBezTo>
                <a:cubicBezTo>
                  <a:pt x="16" y="50"/>
                  <a:pt x="16" y="50"/>
                  <a:pt x="16" y="50"/>
                </a:cubicBezTo>
                <a:cubicBezTo>
                  <a:pt x="15" y="49"/>
                  <a:pt x="15" y="49"/>
                  <a:pt x="15" y="49"/>
                </a:cubicBezTo>
                <a:cubicBezTo>
                  <a:pt x="14" y="49"/>
                  <a:pt x="14" y="49"/>
                  <a:pt x="14" y="49"/>
                </a:cubicBezTo>
                <a:close/>
                <a:moveTo>
                  <a:pt x="18" y="70"/>
                </a:moveTo>
                <a:cubicBezTo>
                  <a:pt x="20" y="71"/>
                  <a:pt x="20" y="71"/>
                  <a:pt x="20" y="71"/>
                </a:cubicBezTo>
                <a:cubicBezTo>
                  <a:pt x="21" y="70"/>
                  <a:pt x="21" y="70"/>
                  <a:pt x="21" y="70"/>
                </a:cubicBezTo>
                <a:cubicBezTo>
                  <a:pt x="20" y="70"/>
                  <a:pt x="20" y="70"/>
                  <a:pt x="20" y="70"/>
                </a:cubicBezTo>
                <a:cubicBezTo>
                  <a:pt x="20" y="69"/>
                  <a:pt x="20" y="69"/>
                  <a:pt x="20" y="69"/>
                </a:cubicBezTo>
                <a:cubicBezTo>
                  <a:pt x="19" y="69"/>
                  <a:pt x="19" y="69"/>
                  <a:pt x="19" y="69"/>
                </a:cubicBezTo>
                <a:cubicBezTo>
                  <a:pt x="19" y="69"/>
                  <a:pt x="18" y="70"/>
                  <a:pt x="18" y="70"/>
                </a:cubicBezTo>
                <a:close/>
                <a:moveTo>
                  <a:pt x="17" y="63"/>
                </a:moveTo>
                <a:cubicBezTo>
                  <a:pt x="17" y="62"/>
                  <a:pt x="17" y="62"/>
                  <a:pt x="17" y="62"/>
                </a:cubicBezTo>
                <a:cubicBezTo>
                  <a:pt x="20" y="60"/>
                  <a:pt x="20" y="60"/>
                  <a:pt x="20" y="60"/>
                </a:cubicBezTo>
                <a:cubicBezTo>
                  <a:pt x="19" y="61"/>
                  <a:pt x="19" y="61"/>
                  <a:pt x="19" y="61"/>
                </a:cubicBezTo>
                <a:cubicBezTo>
                  <a:pt x="20" y="62"/>
                  <a:pt x="20" y="62"/>
                  <a:pt x="20" y="62"/>
                </a:cubicBezTo>
                <a:cubicBezTo>
                  <a:pt x="18" y="63"/>
                  <a:pt x="18" y="63"/>
                  <a:pt x="18" y="63"/>
                </a:cubicBezTo>
                <a:cubicBezTo>
                  <a:pt x="17" y="63"/>
                  <a:pt x="17" y="63"/>
                  <a:pt x="17" y="63"/>
                </a:cubicBezTo>
                <a:close/>
                <a:moveTo>
                  <a:pt x="15" y="99"/>
                </a:moveTo>
                <a:cubicBezTo>
                  <a:pt x="15" y="98"/>
                  <a:pt x="15" y="98"/>
                  <a:pt x="15" y="98"/>
                </a:cubicBezTo>
                <a:cubicBezTo>
                  <a:pt x="15" y="98"/>
                  <a:pt x="15" y="98"/>
                  <a:pt x="15" y="98"/>
                </a:cubicBezTo>
                <a:cubicBezTo>
                  <a:pt x="16" y="97"/>
                  <a:pt x="16" y="97"/>
                  <a:pt x="16" y="97"/>
                </a:cubicBezTo>
                <a:cubicBezTo>
                  <a:pt x="16" y="98"/>
                  <a:pt x="16" y="98"/>
                  <a:pt x="16" y="98"/>
                </a:cubicBezTo>
                <a:cubicBezTo>
                  <a:pt x="17" y="97"/>
                  <a:pt x="17" y="97"/>
                  <a:pt x="17" y="97"/>
                </a:cubicBezTo>
                <a:cubicBezTo>
                  <a:pt x="17" y="97"/>
                  <a:pt x="17" y="97"/>
                  <a:pt x="17" y="97"/>
                </a:cubicBezTo>
                <a:cubicBezTo>
                  <a:pt x="18" y="96"/>
                  <a:pt x="18" y="96"/>
                  <a:pt x="18" y="96"/>
                </a:cubicBezTo>
                <a:cubicBezTo>
                  <a:pt x="19" y="96"/>
                  <a:pt x="19" y="96"/>
                  <a:pt x="19" y="96"/>
                </a:cubicBezTo>
                <a:cubicBezTo>
                  <a:pt x="20" y="96"/>
                  <a:pt x="20" y="96"/>
                  <a:pt x="20" y="96"/>
                </a:cubicBezTo>
                <a:cubicBezTo>
                  <a:pt x="20" y="96"/>
                  <a:pt x="20" y="96"/>
                  <a:pt x="20" y="96"/>
                </a:cubicBezTo>
                <a:cubicBezTo>
                  <a:pt x="21" y="96"/>
                  <a:pt x="21" y="96"/>
                  <a:pt x="21" y="96"/>
                </a:cubicBezTo>
                <a:cubicBezTo>
                  <a:pt x="21" y="96"/>
                  <a:pt x="21" y="96"/>
                  <a:pt x="21" y="96"/>
                </a:cubicBezTo>
                <a:cubicBezTo>
                  <a:pt x="22" y="96"/>
                  <a:pt x="22" y="96"/>
                  <a:pt x="22" y="96"/>
                </a:cubicBezTo>
                <a:cubicBezTo>
                  <a:pt x="23" y="97"/>
                  <a:pt x="23" y="97"/>
                  <a:pt x="23" y="97"/>
                </a:cubicBezTo>
                <a:cubicBezTo>
                  <a:pt x="24" y="97"/>
                  <a:pt x="24" y="97"/>
                  <a:pt x="24" y="97"/>
                </a:cubicBezTo>
                <a:cubicBezTo>
                  <a:pt x="24" y="96"/>
                  <a:pt x="24" y="96"/>
                  <a:pt x="24" y="96"/>
                </a:cubicBezTo>
                <a:cubicBezTo>
                  <a:pt x="25" y="96"/>
                  <a:pt x="25" y="96"/>
                  <a:pt x="25" y="96"/>
                </a:cubicBezTo>
                <a:cubicBezTo>
                  <a:pt x="25" y="95"/>
                  <a:pt x="25" y="95"/>
                  <a:pt x="25" y="95"/>
                </a:cubicBezTo>
                <a:cubicBezTo>
                  <a:pt x="25" y="94"/>
                  <a:pt x="25" y="94"/>
                  <a:pt x="25" y="94"/>
                </a:cubicBezTo>
                <a:cubicBezTo>
                  <a:pt x="25" y="94"/>
                  <a:pt x="25" y="94"/>
                  <a:pt x="25" y="94"/>
                </a:cubicBezTo>
                <a:cubicBezTo>
                  <a:pt x="26" y="93"/>
                  <a:pt x="26" y="93"/>
                  <a:pt x="26" y="93"/>
                </a:cubicBezTo>
                <a:cubicBezTo>
                  <a:pt x="26" y="93"/>
                  <a:pt x="26" y="93"/>
                  <a:pt x="26" y="93"/>
                </a:cubicBezTo>
                <a:cubicBezTo>
                  <a:pt x="28" y="93"/>
                  <a:pt x="28" y="93"/>
                  <a:pt x="28" y="93"/>
                </a:cubicBezTo>
                <a:cubicBezTo>
                  <a:pt x="29" y="93"/>
                  <a:pt x="29" y="93"/>
                  <a:pt x="29" y="93"/>
                </a:cubicBezTo>
                <a:cubicBezTo>
                  <a:pt x="31" y="94"/>
                  <a:pt x="31" y="94"/>
                  <a:pt x="31" y="94"/>
                </a:cubicBezTo>
                <a:cubicBezTo>
                  <a:pt x="31" y="93"/>
                  <a:pt x="31" y="93"/>
                  <a:pt x="31" y="93"/>
                </a:cubicBezTo>
                <a:cubicBezTo>
                  <a:pt x="33" y="93"/>
                  <a:pt x="33" y="93"/>
                  <a:pt x="33" y="93"/>
                </a:cubicBezTo>
                <a:cubicBezTo>
                  <a:pt x="34" y="94"/>
                  <a:pt x="34" y="94"/>
                  <a:pt x="34" y="94"/>
                </a:cubicBezTo>
                <a:cubicBezTo>
                  <a:pt x="34" y="93"/>
                  <a:pt x="34" y="93"/>
                  <a:pt x="34" y="93"/>
                </a:cubicBezTo>
                <a:cubicBezTo>
                  <a:pt x="35" y="92"/>
                  <a:pt x="35" y="92"/>
                  <a:pt x="35" y="92"/>
                </a:cubicBezTo>
                <a:cubicBezTo>
                  <a:pt x="36" y="92"/>
                  <a:pt x="36" y="92"/>
                  <a:pt x="36" y="92"/>
                </a:cubicBezTo>
                <a:cubicBezTo>
                  <a:pt x="37" y="91"/>
                  <a:pt x="37" y="91"/>
                  <a:pt x="37" y="91"/>
                </a:cubicBezTo>
                <a:cubicBezTo>
                  <a:pt x="38" y="92"/>
                  <a:pt x="38" y="92"/>
                  <a:pt x="38" y="92"/>
                </a:cubicBezTo>
                <a:cubicBezTo>
                  <a:pt x="39" y="92"/>
                  <a:pt x="39" y="92"/>
                  <a:pt x="39" y="92"/>
                </a:cubicBezTo>
                <a:cubicBezTo>
                  <a:pt x="40" y="91"/>
                  <a:pt x="40" y="91"/>
                  <a:pt x="40" y="91"/>
                </a:cubicBezTo>
                <a:cubicBezTo>
                  <a:pt x="40" y="92"/>
                  <a:pt x="40" y="92"/>
                  <a:pt x="40" y="92"/>
                </a:cubicBezTo>
                <a:cubicBezTo>
                  <a:pt x="40" y="92"/>
                  <a:pt x="40" y="92"/>
                  <a:pt x="40" y="92"/>
                </a:cubicBezTo>
                <a:cubicBezTo>
                  <a:pt x="41" y="91"/>
                  <a:pt x="41" y="91"/>
                  <a:pt x="41" y="91"/>
                </a:cubicBezTo>
                <a:cubicBezTo>
                  <a:pt x="43" y="91"/>
                  <a:pt x="43" y="91"/>
                  <a:pt x="43" y="91"/>
                </a:cubicBezTo>
                <a:cubicBezTo>
                  <a:pt x="45" y="91"/>
                  <a:pt x="45" y="91"/>
                  <a:pt x="45" y="91"/>
                </a:cubicBezTo>
                <a:cubicBezTo>
                  <a:pt x="46" y="92"/>
                  <a:pt x="46" y="92"/>
                  <a:pt x="46" y="92"/>
                </a:cubicBezTo>
                <a:cubicBezTo>
                  <a:pt x="47" y="92"/>
                  <a:pt x="47" y="92"/>
                  <a:pt x="47" y="92"/>
                </a:cubicBezTo>
                <a:cubicBezTo>
                  <a:pt x="47" y="91"/>
                  <a:pt x="47" y="91"/>
                  <a:pt x="47" y="91"/>
                </a:cubicBezTo>
                <a:cubicBezTo>
                  <a:pt x="49" y="91"/>
                  <a:pt x="49" y="91"/>
                  <a:pt x="49" y="91"/>
                </a:cubicBezTo>
                <a:cubicBezTo>
                  <a:pt x="49" y="90"/>
                  <a:pt x="49" y="90"/>
                  <a:pt x="49" y="90"/>
                </a:cubicBezTo>
                <a:cubicBezTo>
                  <a:pt x="50" y="90"/>
                  <a:pt x="50" y="90"/>
                  <a:pt x="50" y="90"/>
                </a:cubicBezTo>
                <a:cubicBezTo>
                  <a:pt x="51" y="90"/>
                  <a:pt x="51" y="90"/>
                  <a:pt x="51" y="90"/>
                </a:cubicBezTo>
                <a:cubicBezTo>
                  <a:pt x="51" y="89"/>
                  <a:pt x="51" y="89"/>
                  <a:pt x="51" y="89"/>
                </a:cubicBezTo>
                <a:cubicBezTo>
                  <a:pt x="52" y="88"/>
                  <a:pt x="52" y="88"/>
                  <a:pt x="52" y="88"/>
                </a:cubicBezTo>
                <a:cubicBezTo>
                  <a:pt x="53" y="88"/>
                  <a:pt x="53" y="88"/>
                  <a:pt x="53" y="88"/>
                </a:cubicBezTo>
                <a:cubicBezTo>
                  <a:pt x="53" y="87"/>
                  <a:pt x="53" y="87"/>
                  <a:pt x="53" y="87"/>
                </a:cubicBezTo>
                <a:cubicBezTo>
                  <a:pt x="53" y="87"/>
                  <a:pt x="53" y="87"/>
                  <a:pt x="53" y="87"/>
                </a:cubicBezTo>
                <a:cubicBezTo>
                  <a:pt x="53" y="86"/>
                  <a:pt x="53" y="86"/>
                  <a:pt x="53" y="86"/>
                </a:cubicBezTo>
                <a:cubicBezTo>
                  <a:pt x="51" y="86"/>
                  <a:pt x="51" y="86"/>
                  <a:pt x="51" y="86"/>
                </a:cubicBezTo>
                <a:cubicBezTo>
                  <a:pt x="50" y="86"/>
                  <a:pt x="50" y="86"/>
                  <a:pt x="50" y="86"/>
                </a:cubicBezTo>
                <a:cubicBezTo>
                  <a:pt x="50" y="86"/>
                  <a:pt x="50" y="86"/>
                  <a:pt x="50" y="86"/>
                </a:cubicBezTo>
                <a:cubicBezTo>
                  <a:pt x="48" y="86"/>
                  <a:pt x="48" y="86"/>
                  <a:pt x="48" y="86"/>
                </a:cubicBezTo>
                <a:cubicBezTo>
                  <a:pt x="48" y="86"/>
                  <a:pt x="48" y="86"/>
                  <a:pt x="48" y="86"/>
                </a:cubicBezTo>
                <a:cubicBezTo>
                  <a:pt x="48" y="86"/>
                  <a:pt x="48" y="86"/>
                  <a:pt x="48" y="86"/>
                </a:cubicBezTo>
                <a:cubicBezTo>
                  <a:pt x="49" y="85"/>
                  <a:pt x="49" y="85"/>
                  <a:pt x="49" y="85"/>
                </a:cubicBezTo>
                <a:cubicBezTo>
                  <a:pt x="49" y="85"/>
                  <a:pt x="49" y="85"/>
                  <a:pt x="49" y="85"/>
                </a:cubicBezTo>
                <a:cubicBezTo>
                  <a:pt x="48" y="85"/>
                  <a:pt x="48" y="85"/>
                  <a:pt x="48" y="85"/>
                </a:cubicBezTo>
                <a:cubicBezTo>
                  <a:pt x="47" y="85"/>
                  <a:pt x="47" y="85"/>
                  <a:pt x="47" y="85"/>
                </a:cubicBezTo>
                <a:cubicBezTo>
                  <a:pt x="48" y="84"/>
                  <a:pt x="48" y="84"/>
                  <a:pt x="48" y="84"/>
                </a:cubicBezTo>
                <a:cubicBezTo>
                  <a:pt x="49" y="85"/>
                  <a:pt x="49" y="85"/>
                  <a:pt x="49" y="85"/>
                </a:cubicBezTo>
                <a:cubicBezTo>
                  <a:pt x="50" y="84"/>
                  <a:pt x="50" y="84"/>
                  <a:pt x="50" y="84"/>
                </a:cubicBezTo>
                <a:cubicBezTo>
                  <a:pt x="50" y="83"/>
                  <a:pt x="50" y="83"/>
                  <a:pt x="50" y="83"/>
                </a:cubicBezTo>
                <a:cubicBezTo>
                  <a:pt x="49" y="83"/>
                  <a:pt x="49" y="83"/>
                  <a:pt x="49" y="83"/>
                </a:cubicBezTo>
                <a:cubicBezTo>
                  <a:pt x="49" y="83"/>
                  <a:pt x="49" y="83"/>
                  <a:pt x="49" y="83"/>
                </a:cubicBezTo>
                <a:cubicBezTo>
                  <a:pt x="50" y="82"/>
                  <a:pt x="50" y="82"/>
                  <a:pt x="50" y="82"/>
                </a:cubicBezTo>
                <a:cubicBezTo>
                  <a:pt x="51" y="83"/>
                  <a:pt x="51" y="83"/>
                  <a:pt x="51" y="83"/>
                </a:cubicBezTo>
                <a:cubicBezTo>
                  <a:pt x="51" y="82"/>
                  <a:pt x="51" y="82"/>
                  <a:pt x="51" y="82"/>
                </a:cubicBezTo>
                <a:cubicBezTo>
                  <a:pt x="52" y="81"/>
                  <a:pt x="52" y="81"/>
                  <a:pt x="52" y="81"/>
                </a:cubicBezTo>
                <a:cubicBezTo>
                  <a:pt x="51" y="81"/>
                  <a:pt x="51" y="81"/>
                  <a:pt x="51" y="81"/>
                </a:cubicBezTo>
                <a:cubicBezTo>
                  <a:pt x="52" y="81"/>
                  <a:pt x="52" y="81"/>
                  <a:pt x="52" y="81"/>
                </a:cubicBezTo>
                <a:cubicBezTo>
                  <a:pt x="51" y="81"/>
                  <a:pt x="51" y="81"/>
                  <a:pt x="51" y="81"/>
                </a:cubicBezTo>
                <a:cubicBezTo>
                  <a:pt x="51" y="80"/>
                  <a:pt x="51" y="80"/>
                  <a:pt x="51" y="80"/>
                </a:cubicBezTo>
                <a:cubicBezTo>
                  <a:pt x="52" y="80"/>
                  <a:pt x="52" y="80"/>
                  <a:pt x="52" y="80"/>
                </a:cubicBezTo>
                <a:cubicBezTo>
                  <a:pt x="52" y="81"/>
                  <a:pt x="52" y="81"/>
                  <a:pt x="52" y="81"/>
                </a:cubicBezTo>
                <a:cubicBezTo>
                  <a:pt x="53" y="80"/>
                  <a:pt x="53" y="80"/>
                  <a:pt x="53" y="80"/>
                </a:cubicBezTo>
                <a:cubicBezTo>
                  <a:pt x="53" y="80"/>
                  <a:pt x="53" y="80"/>
                  <a:pt x="53" y="80"/>
                </a:cubicBezTo>
                <a:cubicBezTo>
                  <a:pt x="53" y="78"/>
                  <a:pt x="53" y="78"/>
                  <a:pt x="53" y="78"/>
                </a:cubicBezTo>
                <a:cubicBezTo>
                  <a:pt x="54" y="76"/>
                  <a:pt x="54" y="76"/>
                  <a:pt x="54" y="76"/>
                </a:cubicBezTo>
                <a:cubicBezTo>
                  <a:pt x="54" y="75"/>
                  <a:pt x="54" y="75"/>
                  <a:pt x="54" y="75"/>
                </a:cubicBezTo>
                <a:cubicBezTo>
                  <a:pt x="53" y="74"/>
                  <a:pt x="53" y="74"/>
                  <a:pt x="53" y="74"/>
                </a:cubicBezTo>
                <a:cubicBezTo>
                  <a:pt x="51" y="72"/>
                  <a:pt x="51" y="72"/>
                  <a:pt x="51" y="72"/>
                </a:cubicBezTo>
                <a:cubicBezTo>
                  <a:pt x="48" y="72"/>
                  <a:pt x="48" y="72"/>
                  <a:pt x="48" y="72"/>
                </a:cubicBezTo>
                <a:cubicBezTo>
                  <a:pt x="46" y="72"/>
                  <a:pt x="46" y="72"/>
                  <a:pt x="46" y="72"/>
                </a:cubicBezTo>
                <a:cubicBezTo>
                  <a:pt x="46" y="73"/>
                  <a:pt x="46" y="73"/>
                  <a:pt x="46" y="73"/>
                </a:cubicBezTo>
                <a:cubicBezTo>
                  <a:pt x="46" y="74"/>
                  <a:pt x="46" y="74"/>
                  <a:pt x="46" y="74"/>
                </a:cubicBezTo>
                <a:cubicBezTo>
                  <a:pt x="45" y="73"/>
                  <a:pt x="45" y="73"/>
                  <a:pt x="45" y="73"/>
                </a:cubicBezTo>
                <a:cubicBezTo>
                  <a:pt x="44" y="73"/>
                  <a:pt x="44" y="73"/>
                  <a:pt x="44" y="73"/>
                </a:cubicBezTo>
                <a:cubicBezTo>
                  <a:pt x="46" y="71"/>
                  <a:pt x="46" y="71"/>
                  <a:pt x="46" y="71"/>
                </a:cubicBezTo>
                <a:cubicBezTo>
                  <a:pt x="46" y="70"/>
                  <a:pt x="46" y="70"/>
                  <a:pt x="46" y="70"/>
                </a:cubicBezTo>
                <a:cubicBezTo>
                  <a:pt x="44" y="68"/>
                  <a:pt x="44" y="68"/>
                  <a:pt x="44" y="68"/>
                </a:cubicBezTo>
                <a:cubicBezTo>
                  <a:pt x="44" y="68"/>
                  <a:pt x="44" y="68"/>
                  <a:pt x="44" y="68"/>
                </a:cubicBezTo>
                <a:cubicBezTo>
                  <a:pt x="42" y="67"/>
                  <a:pt x="42" y="67"/>
                  <a:pt x="42" y="67"/>
                </a:cubicBezTo>
                <a:cubicBezTo>
                  <a:pt x="42" y="66"/>
                  <a:pt x="42" y="66"/>
                  <a:pt x="42" y="66"/>
                </a:cubicBezTo>
                <a:cubicBezTo>
                  <a:pt x="41" y="66"/>
                  <a:pt x="41" y="66"/>
                  <a:pt x="41" y="66"/>
                </a:cubicBezTo>
                <a:cubicBezTo>
                  <a:pt x="41" y="66"/>
                  <a:pt x="41" y="66"/>
                  <a:pt x="41" y="66"/>
                </a:cubicBezTo>
                <a:cubicBezTo>
                  <a:pt x="40" y="66"/>
                  <a:pt x="40" y="66"/>
                  <a:pt x="40" y="66"/>
                </a:cubicBezTo>
                <a:cubicBezTo>
                  <a:pt x="39" y="66"/>
                  <a:pt x="39" y="66"/>
                  <a:pt x="39" y="66"/>
                </a:cubicBezTo>
                <a:cubicBezTo>
                  <a:pt x="40" y="66"/>
                  <a:pt x="40" y="66"/>
                  <a:pt x="40" y="66"/>
                </a:cubicBezTo>
                <a:cubicBezTo>
                  <a:pt x="41" y="66"/>
                  <a:pt x="41" y="66"/>
                  <a:pt x="41" y="66"/>
                </a:cubicBezTo>
                <a:cubicBezTo>
                  <a:pt x="42" y="66"/>
                  <a:pt x="42" y="66"/>
                  <a:pt x="42" y="66"/>
                </a:cubicBezTo>
                <a:cubicBezTo>
                  <a:pt x="42" y="66"/>
                  <a:pt x="42" y="66"/>
                  <a:pt x="42" y="66"/>
                </a:cubicBezTo>
                <a:cubicBezTo>
                  <a:pt x="43" y="66"/>
                  <a:pt x="43" y="66"/>
                  <a:pt x="43" y="66"/>
                </a:cubicBezTo>
                <a:cubicBezTo>
                  <a:pt x="43" y="66"/>
                  <a:pt x="43" y="66"/>
                  <a:pt x="43" y="66"/>
                </a:cubicBezTo>
                <a:cubicBezTo>
                  <a:pt x="44" y="66"/>
                  <a:pt x="44" y="66"/>
                  <a:pt x="44" y="66"/>
                </a:cubicBezTo>
                <a:cubicBezTo>
                  <a:pt x="42" y="64"/>
                  <a:pt x="42" y="64"/>
                  <a:pt x="42" y="64"/>
                </a:cubicBezTo>
                <a:cubicBezTo>
                  <a:pt x="42" y="63"/>
                  <a:pt x="42" y="63"/>
                  <a:pt x="42" y="63"/>
                </a:cubicBezTo>
                <a:cubicBezTo>
                  <a:pt x="42" y="63"/>
                  <a:pt x="42" y="63"/>
                  <a:pt x="42" y="63"/>
                </a:cubicBezTo>
                <a:cubicBezTo>
                  <a:pt x="43" y="62"/>
                  <a:pt x="43" y="62"/>
                  <a:pt x="43" y="62"/>
                </a:cubicBezTo>
                <a:cubicBezTo>
                  <a:pt x="42" y="62"/>
                  <a:pt x="42" y="62"/>
                  <a:pt x="42" y="62"/>
                </a:cubicBezTo>
                <a:cubicBezTo>
                  <a:pt x="41" y="61"/>
                  <a:pt x="41" y="61"/>
                  <a:pt x="41" y="61"/>
                </a:cubicBezTo>
                <a:cubicBezTo>
                  <a:pt x="41" y="61"/>
                  <a:pt x="41" y="61"/>
                  <a:pt x="41" y="61"/>
                </a:cubicBezTo>
                <a:cubicBezTo>
                  <a:pt x="40" y="59"/>
                  <a:pt x="40" y="59"/>
                  <a:pt x="40" y="59"/>
                </a:cubicBezTo>
                <a:cubicBezTo>
                  <a:pt x="39" y="59"/>
                  <a:pt x="39" y="59"/>
                  <a:pt x="39" y="59"/>
                </a:cubicBezTo>
                <a:cubicBezTo>
                  <a:pt x="36" y="58"/>
                  <a:pt x="36" y="58"/>
                  <a:pt x="36" y="58"/>
                </a:cubicBezTo>
                <a:cubicBezTo>
                  <a:pt x="36" y="57"/>
                  <a:pt x="36" y="57"/>
                  <a:pt x="36" y="57"/>
                </a:cubicBezTo>
                <a:cubicBezTo>
                  <a:pt x="36" y="57"/>
                  <a:pt x="36" y="57"/>
                  <a:pt x="36" y="57"/>
                </a:cubicBezTo>
                <a:cubicBezTo>
                  <a:pt x="35" y="55"/>
                  <a:pt x="35" y="55"/>
                  <a:pt x="35" y="55"/>
                </a:cubicBezTo>
                <a:cubicBezTo>
                  <a:pt x="34" y="54"/>
                  <a:pt x="34" y="54"/>
                  <a:pt x="34" y="54"/>
                </a:cubicBezTo>
                <a:cubicBezTo>
                  <a:pt x="34" y="51"/>
                  <a:pt x="34" y="51"/>
                  <a:pt x="34" y="51"/>
                </a:cubicBezTo>
                <a:cubicBezTo>
                  <a:pt x="33" y="50"/>
                  <a:pt x="33" y="50"/>
                  <a:pt x="33" y="50"/>
                </a:cubicBezTo>
                <a:cubicBezTo>
                  <a:pt x="33" y="50"/>
                  <a:pt x="33" y="50"/>
                  <a:pt x="33" y="50"/>
                </a:cubicBezTo>
                <a:cubicBezTo>
                  <a:pt x="31" y="47"/>
                  <a:pt x="31" y="47"/>
                  <a:pt x="31" y="47"/>
                </a:cubicBezTo>
                <a:cubicBezTo>
                  <a:pt x="30" y="47"/>
                  <a:pt x="30" y="47"/>
                  <a:pt x="30" y="47"/>
                </a:cubicBezTo>
                <a:cubicBezTo>
                  <a:pt x="29" y="46"/>
                  <a:pt x="29" y="46"/>
                  <a:pt x="29" y="46"/>
                </a:cubicBezTo>
                <a:cubicBezTo>
                  <a:pt x="28" y="46"/>
                  <a:pt x="28" y="46"/>
                  <a:pt x="28" y="46"/>
                </a:cubicBezTo>
                <a:cubicBezTo>
                  <a:pt x="27" y="46"/>
                  <a:pt x="27" y="46"/>
                  <a:pt x="27" y="46"/>
                </a:cubicBezTo>
                <a:cubicBezTo>
                  <a:pt x="26" y="47"/>
                  <a:pt x="26" y="47"/>
                  <a:pt x="26" y="47"/>
                </a:cubicBezTo>
                <a:cubicBezTo>
                  <a:pt x="25" y="46"/>
                  <a:pt x="25" y="46"/>
                  <a:pt x="25" y="46"/>
                </a:cubicBezTo>
                <a:cubicBezTo>
                  <a:pt x="24" y="46"/>
                  <a:pt x="24" y="46"/>
                  <a:pt x="24" y="46"/>
                </a:cubicBezTo>
                <a:cubicBezTo>
                  <a:pt x="23" y="46"/>
                  <a:pt x="23" y="46"/>
                  <a:pt x="23" y="46"/>
                </a:cubicBezTo>
                <a:cubicBezTo>
                  <a:pt x="23" y="45"/>
                  <a:pt x="23" y="45"/>
                  <a:pt x="23" y="45"/>
                </a:cubicBezTo>
                <a:cubicBezTo>
                  <a:pt x="23" y="46"/>
                  <a:pt x="23" y="46"/>
                  <a:pt x="23" y="46"/>
                </a:cubicBezTo>
                <a:cubicBezTo>
                  <a:pt x="25" y="46"/>
                  <a:pt x="25" y="46"/>
                  <a:pt x="25" y="46"/>
                </a:cubicBezTo>
                <a:cubicBezTo>
                  <a:pt x="26" y="45"/>
                  <a:pt x="26" y="45"/>
                  <a:pt x="26" y="45"/>
                </a:cubicBezTo>
                <a:cubicBezTo>
                  <a:pt x="26" y="45"/>
                  <a:pt x="26" y="45"/>
                  <a:pt x="26" y="45"/>
                </a:cubicBezTo>
                <a:cubicBezTo>
                  <a:pt x="27" y="45"/>
                  <a:pt x="27" y="45"/>
                  <a:pt x="27" y="45"/>
                </a:cubicBezTo>
                <a:cubicBezTo>
                  <a:pt x="28" y="44"/>
                  <a:pt x="28" y="44"/>
                  <a:pt x="28" y="44"/>
                </a:cubicBezTo>
                <a:cubicBezTo>
                  <a:pt x="27" y="43"/>
                  <a:pt x="27" y="43"/>
                  <a:pt x="27" y="43"/>
                </a:cubicBezTo>
                <a:cubicBezTo>
                  <a:pt x="27" y="43"/>
                  <a:pt x="27" y="43"/>
                  <a:pt x="27" y="43"/>
                </a:cubicBezTo>
                <a:cubicBezTo>
                  <a:pt x="27" y="42"/>
                  <a:pt x="27" y="42"/>
                  <a:pt x="27" y="42"/>
                </a:cubicBezTo>
                <a:cubicBezTo>
                  <a:pt x="25" y="43"/>
                  <a:pt x="25" y="43"/>
                  <a:pt x="25" y="43"/>
                </a:cubicBezTo>
                <a:cubicBezTo>
                  <a:pt x="25" y="43"/>
                  <a:pt x="25" y="43"/>
                  <a:pt x="25" y="43"/>
                </a:cubicBezTo>
                <a:cubicBezTo>
                  <a:pt x="26" y="42"/>
                  <a:pt x="26" y="42"/>
                  <a:pt x="26" y="42"/>
                </a:cubicBezTo>
                <a:cubicBezTo>
                  <a:pt x="28" y="42"/>
                  <a:pt x="28" y="42"/>
                  <a:pt x="28" y="42"/>
                </a:cubicBezTo>
                <a:cubicBezTo>
                  <a:pt x="28" y="41"/>
                  <a:pt x="28" y="41"/>
                  <a:pt x="28" y="41"/>
                </a:cubicBezTo>
                <a:cubicBezTo>
                  <a:pt x="29" y="41"/>
                  <a:pt x="29" y="41"/>
                  <a:pt x="29" y="41"/>
                </a:cubicBezTo>
                <a:cubicBezTo>
                  <a:pt x="29" y="40"/>
                  <a:pt x="29" y="40"/>
                  <a:pt x="29" y="40"/>
                </a:cubicBezTo>
                <a:cubicBezTo>
                  <a:pt x="30" y="39"/>
                  <a:pt x="30" y="39"/>
                  <a:pt x="30" y="39"/>
                </a:cubicBezTo>
                <a:cubicBezTo>
                  <a:pt x="31" y="38"/>
                  <a:pt x="31" y="38"/>
                  <a:pt x="31" y="38"/>
                </a:cubicBezTo>
                <a:cubicBezTo>
                  <a:pt x="30" y="37"/>
                  <a:pt x="30" y="37"/>
                  <a:pt x="30" y="37"/>
                </a:cubicBezTo>
                <a:cubicBezTo>
                  <a:pt x="31" y="36"/>
                  <a:pt x="31" y="36"/>
                  <a:pt x="31" y="36"/>
                </a:cubicBezTo>
                <a:cubicBezTo>
                  <a:pt x="31" y="36"/>
                  <a:pt x="31" y="36"/>
                  <a:pt x="31" y="36"/>
                </a:cubicBezTo>
                <a:cubicBezTo>
                  <a:pt x="31" y="34"/>
                  <a:pt x="31" y="34"/>
                  <a:pt x="31" y="34"/>
                </a:cubicBezTo>
                <a:cubicBezTo>
                  <a:pt x="32" y="33"/>
                  <a:pt x="32" y="33"/>
                  <a:pt x="32" y="33"/>
                </a:cubicBezTo>
                <a:cubicBezTo>
                  <a:pt x="32" y="33"/>
                  <a:pt x="32" y="33"/>
                  <a:pt x="32" y="33"/>
                </a:cubicBezTo>
                <a:cubicBezTo>
                  <a:pt x="31" y="31"/>
                  <a:pt x="31" y="31"/>
                  <a:pt x="31" y="31"/>
                </a:cubicBezTo>
                <a:cubicBezTo>
                  <a:pt x="31" y="31"/>
                  <a:pt x="31" y="31"/>
                  <a:pt x="31" y="31"/>
                </a:cubicBezTo>
                <a:cubicBezTo>
                  <a:pt x="28" y="31"/>
                  <a:pt x="28" y="31"/>
                  <a:pt x="28" y="31"/>
                </a:cubicBezTo>
                <a:cubicBezTo>
                  <a:pt x="27" y="31"/>
                  <a:pt x="27" y="31"/>
                  <a:pt x="27" y="31"/>
                </a:cubicBezTo>
                <a:cubicBezTo>
                  <a:pt x="26" y="32"/>
                  <a:pt x="26" y="32"/>
                  <a:pt x="26" y="32"/>
                </a:cubicBezTo>
                <a:cubicBezTo>
                  <a:pt x="25" y="32"/>
                  <a:pt x="25" y="32"/>
                  <a:pt x="25" y="32"/>
                </a:cubicBezTo>
                <a:cubicBezTo>
                  <a:pt x="24" y="31"/>
                  <a:pt x="24" y="31"/>
                  <a:pt x="24" y="31"/>
                </a:cubicBezTo>
                <a:cubicBezTo>
                  <a:pt x="24" y="31"/>
                  <a:pt x="24" y="31"/>
                  <a:pt x="24" y="31"/>
                </a:cubicBezTo>
                <a:cubicBezTo>
                  <a:pt x="24" y="32"/>
                  <a:pt x="24" y="32"/>
                  <a:pt x="24" y="32"/>
                </a:cubicBezTo>
                <a:cubicBezTo>
                  <a:pt x="23" y="32"/>
                  <a:pt x="23" y="32"/>
                  <a:pt x="23" y="32"/>
                </a:cubicBezTo>
                <a:cubicBezTo>
                  <a:pt x="22" y="32"/>
                  <a:pt x="22" y="32"/>
                  <a:pt x="22" y="32"/>
                </a:cubicBezTo>
                <a:cubicBezTo>
                  <a:pt x="21" y="32"/>
                  <a:pt x="21" y="32"/>
                  <a:pt x="21" y="32"/>
                </a:cubicBezTo>
                <a:cubicBezTo>
                  <a:pt x="21" y="33"/>
                  <a:pt x="21" y="33"/>
                  <a:pt x="21" y="33"/>
                </a:cubicBezTo>
                <a:cubicBezTo>
                  <a:pt x="20" y="33"/>
                  <a:pt x="20" y="33"/>
                  <a:pt x="20" y="33"/>
                </a:cubicBezTo>
                <a:cubicBezTo>
                  <a:pt x="21" y="32"/>
                  <a:pt x="21" y="32"/>
                  <a:pt x="21" y="32"/>
                </a:cubicBezTo>
                <a:cubicBezTo>
                  <a:pt x="22" y="30"/>
                  <a:pt x="22" y="30"/>
                  <a:pt x="22" y="30"/>
                </a:cubicBezTo>
                <a:cubicBezTo>
                  <a:pt x="22" y="30"/>
                  <a:pt x="22" y="30"/>
                  <a:pt x="22" y="30"/>
                </a:cubicBezTo>
                <a:cubicBezTo>
                  <a:pt x="21" y="30"/>
                  <a:pt x="21" y="30"/>
                  <a:pt x="21" y="30"/>
                </a:cubicBezTo>
                <a:cubicBezTo>
                  <a:pt x="21" y="30"/>
                  <a:pt x="21" y="30"/>
                  <a:pt x="21" y="30"/>
                </a:cubicBezTo>
                <a:cubicBezTo>
                  <a:pt x="21" y="29"/>
                  <a:pt x="21" y="29"/>
                  <a:pt x="21" y="29"/>
                </a:cubicBezTo>
                <a:cubicBezTo>
                  <a:pt x="24" y="27"/>
                  <a:pt x="24" y="27"/>
                  <a:pt x="24" y="27"/>
                </a:cubicBezTo>
                <a:cubicBezTo>
                  <a:pt x="25" y="26"/>
                  <a:pt x="25" y="26"/>
                  <a:pt x="25" y="26"/>
                </a:cubicBezTo>
                <a:cubicBezTo>
                  <a:pt x="25" y="26"/>
                  <a:pt x="25" y="26"/>
                  <a:pt x="25" y="26"/>
                </a:cubicBezTo>
                <a:cubicBezTo>
                  <a:pt x="26" y="25"/>
                  <a:pt x="26" y="25"/>
                  <a:pt x="26" y="25"/>
                </a:cubicBezTo>
                <a:cubicBezTo>
                  <a:pt x="25" y="24"/>
                  <a:pt x="25" y="24"/>
                  <a:pt x="25" y="24"/>
                </a:cubicBezTo>
                <a:cubicBezTo>
                  <a:pt x="26" y="23"/>
                  <a:pt x="26" y="23"/>
                  <a:pt x="26" y="23"/>
                </a:cubicBezTo>
                <a:cubicBezTo>
                  <a:pt x="26" y="23"/>
                  <a:pt x="26" y="23"/>
                  <a:pt x="26" y="23"/>
                </a:cubicBezTo>
                <a:cubicBezTo>
                  <a:pt x="25" y="23"/>
                  <a:pt x="25" y="23"/>
                  <a:pt x="25" y="23"/>
                </a:cubicBezTo>
                <a:cubicBezTo>
                  <a:pt x="24" y="23"/>
                  <a:pt x="24" y="23"/>
                  <a:pt x="24" y="23"/>
                </a:cubicBezTo>
                <a:cubicBezTo>
                  <a:pt x="23" y="23"/>
                  <a:pt x="23" y="23"/>
                  <a:pt x="23" y="23"/>
                </a:cubicBezTo>
                <a:cubicBezTo>
                  <a:pt x="22" y="24"/>
                  <a:pt x="22" y="24"/>
                  <a:pt x="22" y="24"/>
                </a:cubicBezTo>
                <a:cubicBezTo>
                  <a:pt x="21" y="24"/>
                  <a:pt x="21" y="24"/>
                  <a:pt x="21" y="24"/>
                </a:cubicBezTo>
                <a:cubicBezTo>
                  <a:pt x="20" y="24"/>
                  <a:pt x="20" y="24"/>
                  <a:pt x="20" y="24"/>
                </a:cubicBezTo>
                <a:cubicBezTo>
                  <a:pt x="20" y="24"/>
                  <a:pt x="20" y="24"/>
                  <a:pt x="20" y="24"/>
                </a:cubicBezTo>
                <a:cubicBezTo>
                  <a:pt x="19" y="25"/>
                  <a:pt x="19" y="25"/>
                  <a:pt x="19" y="25"/>
                </a:cubicBezTo>
                <a:cubicBezTo>
                  <a:pt x="19" y="24"/>
                  <a:pt x="19" y="24"/>
                  <a:pt x="19" y="24"/>
                </a:cubicBezTo>
                <a:cubicBezTo>
                  <a:pt x="19" y="24"/>
                  <a:pt x="19" y="24"/>
                  <a:pt x="19" y="24"/>
                </a:cubicBezTo>
                <a:cubicBezTo>
                  <a:pt x="18" y="25"/>
                  <a:pt x="18" y="25"/>
                  <a:pt x="18" y="25"/>
                </a:cubicBezTo>
                <a:cubicBezTo>
                  <a:pt x="18" y="24"/>
                  <a:pt x="18" y="24"/>
                  <a:pt x="18" y="24"/>
                </a:cubicBezTo>
                <a:cubicBezTo>
                  <a:pt x="16" y="23"/>
                  <a:pt x="16" y="23"/>
                  <a:pt x="16" y="23"/>
                </a:cubicBezTo>
                <a:cubicBezTo>
                  <a:pt x="16" y="24"/>
                  <a:pt x="16" y="24"/>
                  <a:pt x="16" y="24"/>
                </a:cubicBezTo>
                <a:cubicBezTo>
                  <a:pt x="16" y="24"/>
                  <a:pt x="16" y="24"/>
                  <a:pt x="16" y="24"/>
                </a:cubicBezTo>
                <a:cubicBezTo>
                  <a:pt x="16" y="25"/>
                  <a:pt x="16" y="25"/>
                  <a:pt x="16" y="25"/>
                </a:cubicBezTo>
                <a:cubicBezTo>
                  <a:pt x="16" y="25"/>
                  <a:pt x="16" y="25"/>
                  <a:pt x="16" y="25"/>
                </a:cubicBezTo>
                <a:cubicBezTo>
                  <a:pt x="16" y="26"/>
                  <a:pt x="16" y="26"/>
                  <a:pt x="16" y="26"/>
                </a:cubicBezTo>
                <a:cubicBezTo>
                  <a:pt x="15" y="26"/>
                  <a:pt x="15" y="26"/>
                  <a:pt x="15" y="26"/>
                </a:cubicBezTo>
                <a:cubicBezTo>
                  <a:pt x="15" y="27"/>
                  <a:pt x="15" y="27"/>
                  <a:pt x="15" y="27"/>
                </a:cubicBezTo>
                <a:cubicBezTo>
                  <a:pt x="15" y="28"/>
                  <a:pt x="15" y="28"/>
                  <a:pt x="15" y="28"/>
                </a:cubicBezTo>
                <a:cubicBezTo>
                  <a:pt x="14" y="28"/>
                  <a:pt x="14" y="28"/>
                  <a:pt x="14" y="28"/>
                </a:cubicBezTo>
                <a:cubicBezTo>
                  <a:pt x="15" y="29"/>
                  <a:pt x="15" y="29"/>
                  <a:pt x="15" y="29"/>
                </a:cubicBezTo>
                <a:cubicBezTo>
                  <a:pt x="16" y="30"/>
                  <a:pt x="16" y="30"/>
                  <a:pt x="16" y="30"/>
                </a:cubicBezTo>
                <a:cubicBezTo>
                  <a:pt x="15" y="29"/>
                  <a:pt x="15" y="29"/>
                  <a:pt x="15" y="29"/>
                </a:cubicBezTo>
                <a:cubicBezTo>
                  <a:pt x="14" y="30"/>
                  <a:pt x="14" y="30"/>
                  <a:pt x="14" y="30"/>
                </a:cubicBezTo>
                <a:cubicBezTo>
                  <a:pt x="13" y="29"/>
                  <a:pt x="13" y="29"/>
                  <a:pt x="13" y="29"/>
                </a:cubicBezTo>
                <a:cubicBezTo>
                  <a:pt x="13" y="30"/>
                  <a:pt x="13" y="30"/>
                  <a:pt x="13" y="30"/>
                </a:cubicBezTo>
                <a:cubicBezTo>
                  <a:pt x="13" y="30"/>
                  <a:pt x="13" y="30"/>
                  <a:pt x="13" y="30"/>
                </a:cubicBezTo>
                <a:cubicBezTo>
                  <a:pt x="13" y="31"/>
                  <a:pt x="13" y="31"/>
                  <a:pt x="13" y="31"/>
                </a:cubicBezTo>
                <a:cubicBezTo>
                  <a:pt x="13" y="30"/>
                  <a:pt x="13" y="30"/>
                  <a:pt x="13" y="30"/>
                </a:cubicBezTo>
                <a:cubicBezTo>
                  <a:pt x="12" y="31"/>
                  <a:pt x="12" y="31"/>
                  <a:pt x="12" y="31"/>
                </a:cubicBezTo>
                <a:cubicBezTo>
                  <a:pt x="13" y="31"/>
                  <a:pt x="13" y="31"/>
                  <a:pt x="13" y="31"/>
                </a:cubicBezTo>
                <a:cubicBezTo>
                  <a:pt x="12" y="32"/>
                  <a:pt x="12" y="32"/>
                  <a:pt x="12" y="32"/>
                </a:cubicBezTo>
                <a:cubicBezTo>
                  <a:pt x="13" y="33"/>
                  <a:pt x="13" y="33"/>
                  <a:pt x="13" y="33"/>
                </a:cubicBezTo>
                <a:cubicBezTo>
                  <a:pt x="14" y="33"/>
                  <a:pt x="14" y="33"/>
                  <a:pt x="14" y="33"/>
                </a:cubicBezTo>
                <a:cubicBezTo>
                  <a:pt x="13" y="33"/>
                  <a:pt x="13" y="33"/>
                  <a:pt x="13" y="33"/>
                </a:cubicBezTo>
                <a:cubicBezTo>
                  <a:pt x="12" y="32"/>
                  <a:pt x="12" y="32"/>
                  <a:pt x="12" y="32"/>
                </a:cubicBezTo>
                <a:cubicBezTo>
                  <a:pt x="12" y="34"/>
                  <a:pt x="12" y="34"/>
                  <a:pt x="12" y="34"/>
                </a:cubicBezTo>
                <a:cubicBezTo>
                  <a:pt x="12" y="34"/>
                  <a:pt x="12" y="34"/>
                  <a:pt x="12" y="34"/>
                </a:cubicBezTo>
                <a:cubicBezTo>
                  <a:pt x="14" y="34"/>
                  <a:pt x="14" y="34"/>
                  <a:pt x="14" y="34"/>
                </a:cubicBezTo>
                <a:cubicBezTo>
                  <a:pt x="13" y="35"/>
                  <a:pt x="13" y="35"/>
                  <a:pt x="13" y="35"/>
                </a:cubicBezTo>
                <a:cubicBezTo>
                  <a:pt x="13" y="35"/>
                  <a:pt x="13" y="35"/>
                  <a:pt x="13" y="35"/>
                </a:cubicBezTo>
                <a:cubicBezTo>
                  <a:pt x="13" y="35"/>
                  <a:pt x="13" y="35"/>
                  <a:pt x="13" y="35"/>
                </a:cubicBezTo>
                <a:cubicBezTo>
                  <a:pt x="14" y="35"/>
                  <a:pt x="14" y="35"/>
                  <a:pt x="14" y="35"/>
                </a:cubicBezTo>
                <a:cubicBezTo>
                  <a:pt x="14" y="35"/>
                  <a:pt x="14" y="35"/>
                  <a:pt x="14" y="35"/>
                </a:cubicBezTo>
                <a:cubicBezTo>
                  <a:pt x="14" y="35"/>
                  <a:pt x="14" y="35"/>
                  <a:pt x="14" y="35"/>
                </a:cubicBezTo>
                <a:cubicBezTo>
                  <a:pt x="13" y="35"/>
                  <a:pt x="13" y="35"/>
                  <a:pt x="13" y="35"/>
                </a:cubicBezTo>
                <a:cubicBezTo>
                  <a:pt x="13" y="35"/>
                  <a:pt x="13" y="35"/>
                  <a:pt x="13" y="35"/>
                </a:cubicBezTo>
                <a:cubicBezTo>
                  <a:pt x="13" y="36"/>
                  <a:pt x="13" y="36"/>
                  <a:pt x="13" y="36"/>
                </a:cubicBezTo>
                <a:cubicBezTo>
                  <a:pt x="13" y="36"/>
                  <a:pt x="13" y="36"/>
                  <a:pt x="13" y="36"/>
                </a:cubicBezTo>
                <a:cubicBezTo>
                  <a:pt x="13" y="36"/>
                  <a:pt x="13" y="36"/>
                  <a:pt x="13" y="36"/>
                </a:cubicBezTo>
                <a:cubicBezTo>
                  <a:pt x="12" y="37"/>
                  <a:pt x="12" y="37"/>
                  <a:pt x="12" y="37"/>
                </a:cubicBezTo>
                <a:cubicBezTo>
                  <a:pt x="13" y="37"/>
                  <a:pt x="13" y="37"/>
                  <a:pt x="13" y="37"/>
                </a:cubicBezTo>
                <a:cubicBezTo>
                  <a:pt x="13" y="38"/>
                  <a:pt x="13" y="38"/>
                  <a:pt x="13" y="38"/>
                </a:cubicBezTo>
                <a:cubicBezTo>
                  <a:pt x="12" y="37"/>
                  <a:pt x="12" y="37"/>
                  <a:pt x="12" y="37"/>
                </a:cubicBezTo>
                <a:cubicBezTo>
                  <a:pt x="12" y="38"/>
                  <a:pt x="12" y="38"/>
                  <a:pt x="12" y="38"/>
                </a:cubicBezTo>
                <a:cubicBezTo>
                  <a:pt x="12" y="38"/>
                  <a:pt x="12" y="38"/>
                  <a:pt x="12" y="38"/>
                </a:cubicBezTo>
                <a:cubicBezTo>
                  <a:pt x="12" y="39"/>
                  <a:pt x="12" y="39"/>
                  <a:pt x="12" y="39"/>
                </a:cubicBezTo>
                <a:cubicBezTo>
                  <a:pt x="12" y="39"/>
                  <a:pt x="12" y="39"/>
                  <a:pt x="12" y="39"/>
                </a:cubicBezTo>
                <a:cubicBezTo>
                  <a:pt x="10" y="39"/>
                  <a:pt x="10" y="39"/>
                  <a:pt x="10" y="39"/>
                </a:cubicBezTo>
                <a:cubicBezTo>
                  <a:pt x="10" y="40"/>
                  <a:pt x="10" y="40"/>
                  <a:pt x="10" y="40"/>
                </a:cubicBezTo>
                <a:cubicBezTo>
                  <a:pt x="10" y="40"/>
                  <a:pt x="10" y="40"/>
                  <a:pt x="10" y="40"/>
                </a:cubicBezTo>
                <a:cubicBezTo>
                  <a:pt x="11" y="40"/>
                  <a:pt x="11" y="40"/>
                  <a:pt x="11" y="40"/>
                </a:cubicBezTo>
                <a:cubicBezTo>
                  <a:pt x="12" y="40"/>
                  <a:pt x="12" y="40"/>
                  <a:pt x="12" y="40"/>
                </a:cubicBezTo>
                <a:cubicBezTo>
                  <a:pt x="12" y="40"/>
                  <a:pt x="12" y="40"/>
                  <a:pt x="12" y="40"/>
                </a:cubicBezTo>
                <a:cubicBezTo>
                  <a:pt x="11" y="40"/>
                  <a:pt x="11" y="40"/>
                  <a:pt x="11" y="40"/>
                </a:cubicBezTo>
                <a:cubicBezTo>
                  <a:pt x="12" y="41"/>
                  <a:pt x="12" y="41"/>
                  <a:pt x="12" y="41"/>
                </a:cubicBezTo>
                <a:cubicBezTo>
                  <a:pt x="12" y="41"/>
                  <a:pt x="12" y="41"/>
                  <a:pt x="12" y="41"/>
                </a:cubicBezTo>
                <a:cubicBezTo>
                  <a:pt x="13" y="42"/>
                  <a:pt x="13" y="42"/>
                  <a:pt x="13" y="42"/>
                </a:cubicBezTo>
                <a:cubicBezTo>
                  <a:pt x="15" y="39"/>
                  <a:pt x="15" y="39"/>
                  <a:pt x="15" y="39"/>
                </a:cubicBezTo>
                <a:cubicBezTo>
                  <a:pt x="15" y="40"/>
                  <a:pt x="15" y="40"/>
                  <a:pt x="15" y="40"/>
                </a:cubicBezTo>
                <a:cubicBezTo>
                  <a:pt x="15" y="40"/>
                  <a:pt x="15" y="40"/>
                  <a:pt x="15" y="40"/>
                </a:cubicBezTo>
                <a:cubicBezTo>
                  <a:pt x="15" y="40"/>
                  <a:pt x="15" y="40"/>
                  <a:pt x="15" y="40"/>
                </a:cubicBezTo>
                <a:cubicBezTo>
                  <a:pt x="14" y="42"/>
                  <a:pt x="14" y="42"/>
                  <a:pt x="14" y="42"/>
                </a:cubicBezTo>
                <a:cubicBezTo>
                  <a:pt x="14" y="42"/>
                  <a:pt x="14" y="42"/>
                  <a:pt x="14" y="42"/>
                </a:cubicBezTo>
                <a:cubicBezTo>
                  <a:pt x="13" y="44"/>
                  <a:pt x="13" y="44"/>
                  <a:pt x="13" y="44"/>
                </a:cubicBezTo>
                <a:cubicBezTo>
                  <a:pt x="14" y="44"/>
                  <a:pt x="14" y="44"/>
                  <a:pt x="14" y="44"/>
                </a:cubicBezTo>
                <a:cubicBezTo>
                  <a:pt x="13" y="46"/>
                  <a:pt x="13" y="46"/>
                  <a:pt x="13" y="46"/>
                </a:cubicBezTo>
                <a:cubicBezTo>
                  <a:pt x="13" y="47"/>
                  <a:pt x="13" y="47"/>
                  <a:pt x="13" y="47"/>
                </a:cubicBezTo>
                <a:cubicBezTo>
                  <a:pt x="13" y="48"/>
                  <a:pt x="13" y="48"/>
                  <a:pt x="13" y="48"/>
                </a:cubicBezTo>
                <a:cubicBezTo>
                  <a:pt x="13" y="48"/>
                  <a:pt x="13" y="48"/>
                  <a:pt x="13" y="48"/>
                </a:cubicBezTo>
                <a:cubicBezTo>
                  <a:pt x="13" y="48"/>
                  <a:pt x="13" y="48"/>
                  <a:pt x="13" y="48"/>
                </a:cubicBezTo>
                <a:cubicBezTo>
                  <a:pt x="13" y="49"/>
                  <a:pt x="13" y="49"/>
                  <a:pt x="13" y="49"/>
                </a:cubicBezTo>
                <a:cubicBezTo>
                  <a:pt x="13" y="51"/>
                  <a:pt x="13" y="51"/>
                  <a:pt x="13" y="51"/>
                </a:cubicBezTo>
                <a:cubicBezTo>
                  <a:pt x="12" y="52"/>
                  <a:pt x="12" y="52"/>
                  <a:pt x="12" y="52"/>
                </a:cubicBezTo>
                <a:cubicBezTo>
                  <a:pt x="12" y="52"/>
                  <a:pt x="12" y="52"/>
                  <a:pt x="12" y="52"/>
                </a:cubicBezTo>
                <a:cubicBezTo>
                  <a:pt x="13" y="52"/>
                  <a:pt x="13" y="52"/>
                  <a:pt x="13" y="52"/>
                </a:cubicBezTo>
                <a:cubicBezTo>
                  <a:pt x="13" y="51"/>
                  <a:pt x="13" y="51"/>
                  <a:pt x="13" y="51"/>
                </a:cubicBezTo>
                <a:cubicBezTo>
                  <a:pt x="14" y="50"/>
                  <a:pt x="14" y="50"/>
                  <a:pt x="14" y="50"/>
                </a:cubicBezTo>
                <a:cubicBezTo>
                  <a:pt x="14" y="49"/>
                  <a:pt x="14" y="49"/>
                  <a:pt x="14" y="49"/>
                </a:cubicBezTo>
                <a:cubicBezTo>
                  <a:pt x="14" y="48"/>
                  <a:pt x="14" y="48"/>
                  <a:pt x="14" y="48"/>
                </a:cubicBezTo>
                <a:cubicBezTo>
                  <a:pt x="14" y="46"/>
                  <a:pt x="14" y="46"/>
                  <a:pt x="14" y="46"/>
                </a:cubicBezTo>
                <a:cubicBezTo>
                  <a:pt x="14" y="46"/>
                  <a:pt x="14" y="46"/>
                  <a:pt x="14" y="46"/>
                </a:cubicBezTo>
                <a:cubicBezTo>
                  <a:pt x="16" y="44"/>
                  <a:pt x="16" y="44"/>
                  <a:pt x="16" y="44"/>
                </a:cubicBezTo>
                <a:cubicBezTo>
                  <a:pt x="15" y="46"/>
                  <a:pt x="15" y="46"/>
                  <a:pt x="15" y="46"/>
                </a:cubicBezTo>
                <a:cubicBezTo>
                  <a:pt x="15" y="47"/>
                  <a:pt x="15" y="47"/>
                  <a:pt x="15" y="47"/>
                </a:cubicBezTo>
                <a:cubicBezTo>
                  <a:pt x="15" y="47"/>
                  <a:pt x="15" y="47"/>
                  <a:pt x="15" y="47"/>
                </a:cubicBezTo>
                <a:cubicBezTo>
                  <a:pt x="15" y="47"/>
                  <a:pt x="15" y="47"/>
                  <a:pt x="15" y="47"/>
                </a:cubicBezTo>
                <a:cubicBezTo>
                  <a:pt x="16" y="46"/>
                  <a:pt x="16" y="46"/>
                  <a:pt x="16" y="46"/>
                </a:cubicBezTo>
                <a:cubicBezTo>
                  <a:pt x="16" y="47"/>
                  <a:pt x="16" y="47"/>
                  <a:pt x="16" y="47"/>
                </a:cubicBezTo>
                <a:cubicBezTo>
                  <a:pt x="17" y="46"/>
                  <a:pt x="17" y="46"/>
                  <a:pt x="17" y="46"/>
                </a:cubicBezTo>
                <a:cubicBezTo>
                  <a:pt x="17" y="45"/>
                  <a:pt x="17" y="45"/>
                  <a:pt x="17" y="45"/>
                </a:cubicBezTo>
                <a:cubicBezTo>
                  <a:pt x="17" y="44"/>
                  <a:pt x="17" y="44"/>
                  <a:pt x="17" y="44"/>
                </a:cubicBezTo>
                <a:cubicBezTo>
                  <a:pt x="17" y="46"/>
                  <a:pt x="17" y="46"/>
                  <a:pt x="17" y="46"/>
                </a:cubicBezTo>
                <a:cubicBezTo>
                  <a:pt x="18" y="47"/>
                  <a:pt x="18" y="47"/>
                  <a:pt x="18" y="47"/>
                </a:cubicBezTo>
                <a:cubicBezTo>
                  <a:pt x="17" y="46"/>
                  <a:pt x="17" y="46"/>
                  <a:pt x="17" y="46"/>
                </a:cubicBezTo>
                <a:cubicBezTo>
                  <a:pt x="17" y="48"/>
                  <a:pt x="17" y="48"/>
                  <a:pt x="17" y="48"/>
                </a:cubicBezTo>
                <a:cubicBezTo>
                  <a:pt x="17" y="49"/>
                  <a:pt x="17" y="49"/>
                  <a:pt x="17" y="49"/>
                </a:cubicBezTo>
                <a:cubicBezTo>
                  <a:pt x="18" y="50"/>
                  <a:pt x="18" y="50"/>
                  <a:pt x="18" y="50"/>
                </a:cubicBezTo>
                <a:cubicBezTo>
                  <a:pt x="18" y="51"/>
                  <a:pt x="18" y="51"/>
                  <a:pt x="18" y="51"/>
                </a:cubicBezTo>
                <a:cubicBezTo>
                  <a:pt x="17" y="52"/>
                  <a:pt x="17" y="52"/>
                  <a:pt x="17" y="52"/>
                </a:cubicBezTo>
                <a:cubicBezTo>
                  <a:pt x="16" y="54"/>
                  <a:pt x="16" y="54"/>
                  <a:pt x="16" y="54"/>
                </a:cubicBezTo>
                <a:cubicBezTo>
                  <a:pt x="16" y="56"/>
                  <a:pt x="16" y="56"/>
                  <a:pt x="16" y="56"/>
                </a:cubicBezTo>
                <a:cubicBezTo>
                  <a:pt x="15" y="55"/>
                  <a:pt x="15" y="55"/>
                  <a:pt x="15" y="55"/>
                </a:cubicBezTo>
                <a:cubicBezTo>
                  <a:pt x="16" y="56"/>
                  <a:pt x="16" y="56"/>
                  <a:pt x="16" y="56"/>
                </a:cubicBezTo>
                <a:cubicBezTo>
                  <a:pt x="17" y="58"/>
                  <a:pt x="17" y="58"/>
                  <a:pt x="17" y="58"/>
                </a:cubicBezTo>
                <a:cubicBezTo>
                  <a:pt x="16" y="56"/>
                  <a:pt x="16" y="56"/>
                  <a:pt x="16" y="56"/>
                </a:cubicBezTo>
                <a:cubicBezTo>
                  <a:pt x="17" y="56"/>
                  <a:pt x="17" y="56"/>
                  <a:pt x="17" y="56"/>
                </a:cubicBezTo>
                <a:cubicBezTo>
                  <a:pt x="19" y="58"/>
                  <a:pt x="19" y="58"/>
                  <a:pt x="19" y="58"/>
                </a:cubicBezTo>
                <a:cubicBezTo>
                  <a:pt x="19" y="57"/>
                  <a:pt x="19" y="57"/>
                  <a:pt x="19" y="57"/>
                </a:cubicBezTo>
                <a:cubicBezTo>
                  <a:pt x="19" y="56"/>
                  <a:pt x="19" y="56"/>
                  <a:pt x="19" y="56"/>
                </a:cubicBezTo>
                <a:cubicBezTo>
                  <a:pt x="19" y="56"/>
                  <a:pt x="19" y="56"/>
                  <a:pt x="19" y="56"/>
                </a:cubicBezTo>
                <a:cubicBezTo>
                  <a:pt x="21" y="57"/>
                  <a:pt x="21" y="57"/>
                  <a:pt x="21" y="57"/>
                </a:cubicBezTo>
                <a:cubicBezTo>
                  <a:pt x="22" y="57"/>
                  <a:pt x="22" y="57"/>
                  <a:pt x="22" y="57"/>
                </a:cubicBezTo>
                <a:cubicBezTo>
                  <a:pt x="22" y="56"/>
                  <a:pt x="22" y="56"/>
                  <a:pt x="22" y="56"/>
                </a:cubicBezTo>
                <a:cubicBezTo>
                  <a:pt x="23" y="56"/>
                  <a:pt x="23" y="56"/>
                  <a:pt x="23" y="56"/>
                </a:cubicBezTo>
                <a:cubicBezTo>
                  <a:pt x="24" y="55"/>
                  <a:pt x="24" y="55"/>
                  <a:pt x="24" y="55"/>
                </a:cubicBezTo>
                <a:cubicBezTo>
                  <a:pt x="27" y="55"/>
                  <a:pt x="27" y="55"/>
                  <a:pt x="27" y="55"/>
                </a:cubicBezTo>
                <a:cubicBezTo>
                  <a:pt x="25" y="56"/>
                  <a:pt x="25" y="56"/>
                  <a:pt x="25" y="56"/>
                </a:cubicBezTo>
                <a:cubicBezTo>
                  <a:pt x="23" y="59"/>
                  <a:pt x="23" y="59"/>
                  <a:pt x="23" y="59"/>
                </a:cubicBezTo>
                <a:cubicBezTo>
                  <a:pt x="25" y="62"/>
                  <a:pt x="25" y="62"/>
                  <a:pt x="25" y="62"/>
                </a:cubicBezTo>
                <a:cubicBezTo>
                  <a:pt x="26" y="62"/>
                  <a:pt x="26" y="62"/>
                  <a:pt x="26" y="62"/>
                </a:cubicBezTo>
                <a:cubicBezTo>
                  <a:pt x="26" y="63"/>
                  <a:pt x="26" y="63"/>
                  <a:pt x="26" y="63"/>
                </a:cubicBezTo>
                <a:cubicBezTo>
                  <a:pt x="27" y="62"/>
                  <a:pt x="27" y="62"/>
                  <a:pt x="27" y="62"/>
                </a:cubicBezTo>
                <a:cubicBezTo>
                  <a:pt x="28" y="62"/>
                  <a:pt x="28" y="62"/>
                  <a:pt x="28" y="62"/>
                </a:cubicBezTo>
                <a:cubicBezTo>
                  <a:pt x="28" y="63"/>
                  <a:pt x="28" y="63"/>
                  <a:pt x="28" y="63"/>
                </a:cubicBezTo>
                <a:cubicBezTo>
                  <a:pt x="28" y="64"/>
                  <a:pt x="28" y="64"/>
                  <a:pt x="28" y="64"/>
                </a:cubicBezTo>
                <a:cubicBezTo>
                  <a:pt x="27" y="65"/>
                  <a:pt x="27" y="65"/>
                  <a:pt x="27" y="65"/>
                </a:cubicBezTo>
                <a:cubicBezTo>
                  <a:pt x="27" y="66"/>
                  <a:pt x="27" y="66"/>
                  <a:pt x="27" y="66"/>
                </a:cubicBezTo>
                <a:cubicBezTo>
                  <a:pt x="26" y="68"/>
                  <a:pt x="26" y="68"/>
                  <a:pt x="26" y="68"/>
                </a:cubicBezTo>
                <a:cubicBezTo>
                  <a:pt x="27" y="69"/>
                  <a:pt x="27" y="69"/>
                  <a:pt x="27" y="69"/>
                </a:cubicBezTo>
                <a:cubicBezTo>
                  <a:pt x="28" y="69"/>
                  <a:pt x="28" y="69"/>
                  <a:pt x="28" y="69"/>
                </a:cubicBezTo>
                <a:cubicBezTo>
                  <a:pt x="29" y="70"/>
                  <a:pt x="29" y="70"/>
                  <a:pt x="29" y="70"/>
                </a:cubicBezTo>
                <a:cubicBezTo>
                  <a:pt x="28" y="70"/>
                  <a:pt x="28" y="70"/>
                  <a:pt x="28" y="70"/>
                </a:cubicBezTo>
                <a:cubicBezTo>
                  <a:pt x="27" y="70"/>
                  <a:pt x="27" y="70"/>
                  <a:pt x="27" y="70"/>
                </a:cubicBezTo>
                <a:cubicBezTo>
                  <a:pt x="27" y="69"/>
                  <a:pt x="27" y="69"/>
                  <a:pt x="27" y="69"/>
                </a:cubicBezTo>
                <a:cubicBezTo>
                  <a:pt x="26" y="69"/>
                  <a:pt x="26" y="69"/>
                  <a:pt x="26" y="69"/>
                </a:cubicBezTo>
                <a:cubicBezTo>
                  <a:pt x="27" y="70"/>
                  <a:pt x="27" y="70"/>
                  <a:pt x="27" y="70"/>
                </a:cubicBezTo>
                <a:cubicBezTo>
                  <a:pt x="27" y="71"/>
                  <a:pt x="27" y="71"/>
                  <a:pt x="27" y="71"/>
                </a:cubicBezTo>
                <a:cubicBezTo>
                  <a:pt x="26" y="70"/>
                  <a:pt x="26" y="70"/>
                  <a:pt x="26" y="70"/>
                </a:cubicBezTo>
                <a:cubicBezTo>
                  <a:pt x="25" y="70"/>
                  <a:pt x="25" y="70"/>
                  <a:pt x="25" y="70"/>
                </a:cubicBezTo>
                <a:cubicBezTo>
                  <a:pt x="23" y="70"/>
                  <a:pt x="23" y="70"/>
                  <a:pt x="23" y="70"/>
                </a:cubicBezTo>
                <a:cubicBezTo>
                  <a:pt x="23" y="70"/>
                  <a:pt x="23" y="70"/>
                  <a:pt x="23" y="70"/>
                </a:cubicBezTo>
                <a:cubicBezTo>
                  <a:pt x="21" y="71"/>
                  <a:pt x="21" y="71"/>
                  <a:pt x="21" y="71"/>
                </a:cubicBezTo>
                <a:cubicBezTo>
                  <a:pt x="19" y="73"/>
                  <a:pt x="19" y="73"/>
                  <a:pt x="19" y="73"/>
                </a:cubicBezTo>
                <a:cubicBezTo>
                  <a:pt x="18" y="74"/>
                  <a:pt x="18" y="74"/>
                  <a:pt x="18" y="74"/>
                </a:cubicBezTo>
                <a:cubicBezTo>
                  <a:pt x="17" y="74"/>
                  <a:pt x="17" y="74"/>
                  <a:pt x="17" y="74"/>
                </a:cubicBezTo>
                <a:cubicBezTo>
                  <a:pt x="18" y="74"/>
                  <a:pt x="18" y="74"/>
                  <a:pt x="18" y="74"/>
                </a:cubicBezTo>
                <a:cubicBezTo>
                  <a:pt x="19" y="74"/>
                  <a:pt x="19" y="74"/>
                  <a:pt x="19" y="74"/>
                </a:cubicBezTo>
                <a:cubicBezTo>
                  <a:pt x="19" y="74"/>
                  <a:pt x="19" y="74"/>
                  <a:pt x="19" y="74"/>
                </a:cubicBezTo>
                <a:cubicBezTo>
                  <a:pt x="21" y="73"/>
                  <a:pt x="21" y="73"/>
                  <a:pt x="21" y="73"/>
                </a:cubicBezTo>
                <a:cubicBezTo>
                  <a:pt x="21" y="74"/>
                  <a:pt x="21" y="74"/>
                  <a:pt x="21" y="74"/>
                </a:cubicBezTo>
                <a:cubicBezTo>
                  <a:pt x="22" y="75"/>
                  <a:pt x="22" y="75"/>
                  <a:pt x="22" y="75"/>
                </a:cubicBezTo>
                <a:cubicBezTo>
                  <a:pt x="21" y="76"/>
                  <a:pt x="21" y="76"/>
                  <a:pt x="21" y="76"/>
                </a:cubicBezTo>
                <a:cubicBezTo>
                  <a:pt x="21" y="77"/>
                  <a:pt x="21" y="77"/>
                  <a:pt x="21" y="77"/>
                </a:cubicBezTo>
                <a:cubicBezTo>
                  <a:pt x="22" y="77"/>
                  <a:pt x="22" y="77"/>
                  <a:pt x="22" y="77"/>
                </a:cubicBezTo>
                <a:cubicBezTo>
                  <a:pt x="20" y="79"/>
                  <a:pt x="20" y="79"/>
                  <a:pt x="20" y="79"/>
                </a:cubicBezTo>
                <a:cubicBezTo>
                  <a:pt x="19" y="80"/>
                  <a:pt x="19" y="80"/>
                  <a:pt x="19" y="80"/>
                </a:cubicBezTo>
                <a:cubicBezTo>
                  <a:pt x="18" y="80"/>
                  <a:pt x="18" y="80"/>
                  <a:pt x="18" y="80"/>
                </a:cubicBezTo>
                <a:cubicBezTo>
                  <a:pt x="18" y="80"/>
                  <a:pt x="18" y="80"/>
                  <a:pt x="18" y="80"/>
                </a:cubicBezTo>
                <a:cubicBezTo>
                  <a:pt x="17" y="81"/>
                  <a:pt x="17" y="81"/>
                  <a:pt x="17" y="81"/>
                </a:cubicBezTo>
                <a:cubicBezTo>
                  <a:pt x="16" y="81"/>
                  <a:pt x="16" y="81"/>
                  <a:pt x="16" y="81"/>
                </a:cubicBezTo>
                <a:cubicBezTo>
                  <a:pt x="14" y="82"/>
                  <a:pt x="14" y="82"/>
                  <a:pt x="14" y="82"/>
                </a:cubicBezTo>
                <a:cubicBezTo>
                  <a:pt x="15" y="82"/>
                  <a:pt x="15" y="82"/>
                  <a:pt x="15" y="82"/>
                </a:cubicBezTo>
                <a:cubicBezTo>
                  <a:pt x="15" y="83"/>
                  <a:pt x="15" y="83"/>
                  <a:pt x="15" y="83"/>
                </a:cubicBezTo>
                <a:cubicBezTo>
                  <a:pt x="15" y="84"/>
                  <a:pt x="15" y="84"/>
                  <a:pt x="15" y="84"/>
                </a:cubicBezTo>
                <a:cubicBezTo>
                  <a:pt x="16" y="84"/>
                  <a:pt x="16" y="84"/>
                  <a:pt x="16" y="84"/>
                </a:cubicBezTo>
                <a:cubicBezTo>
                  <a:pt x="16" y="84"/>
                  <a:pt x="16" y="84"/>
                  <a:pt x="16" y="84"/>
                </a:cubicBezTo>
                <a:cubicBezTo>
                  <a:pt x="16" y="85"/>
                  <a:pt x="16" y="85"/>
                  <a:pt x="16" y="85"/>
                </a:cubicBezTo>
                <a:cubicBezTo>
                  <a:pt x="17" y="84"/>
                  <a:pt x="17" y="84"/>
                  <a:pt x="17" y="84"/>
                </a:cubicBezTo>
                <a:cubicBezTo>
                  <a:pt x="18" y="84"/>
                  <a:pt x="18" y="84"/>
                  <a:pt x="18" y="84"/>
                </a:cubicBezTo>
                <a:cubicBezTo>
                  <a:pt x="20" y="83"/>
                  <a:pt x="20" y="83"/>
                  <a:pt x="20" y="83"/>
                </a:cubicBezTo>
                <a:cubicBezTo>
                  <a:pt x="20" y="84"/>
                  <a:pt x="20" y="84"/>
                  <a:pt x="20" y="84"/>
                </a:cubicBezTo>
                <a:cubicBezTo>
                  <a:pt x="21" y="84"/>
                  <a:pt x="21" y="84"/>
                  <a:pt x="21" y="84"/>
                </a:cubicBezTo>
                <a:cubicBezTo>
                  <a:pt x="20" y="85"/>
                  <a:pt x="20" y="85"/>
                  <a:pt x="20" y="85"/>
                </a:cubicBezTo>
                <a:cubicBezTo>
                  <a:pt x="20" y="85"/>
                  <a:pt x="20" y="85"/>
                  <a:pt x="20" y="85"/>
                </a:cubicBezTo>
                <a:cubicBezTo>
                  <a:pt x="22" y="85"/>
                  <a:pt x="22" y="85"/>
                  <a:pt x="22" y="85"/>
                </a:cubicBezTo>
                <a:cubicBezTo>
                  <a:pt x="22" y="85"/>
                  <a:pt x="22" y="85"/>
                  <a:pt x="22" y="85"/>
                </a:cubicBezTo>
                <a:cubicBezTo>
                  <a:pt x="23" y="85"/>
                  <a:pt x="23" y="85"/>
                  <a:pt x="23" y="85"/>
                </a:cubicBezTo>
                <a:cubicBezTo>
                  <a:pt x="24" y="86"/>
                  <a:pt x="24" y="86"/>
                  <a:pt x="24" y="86"/>
                </a:cubicBezTo>
                <a:cubicBezTo>
                  <a:pt x="24" y="87"/>
                  <a:pt x="24" y="87"/>
                  <a:pt x="24" y="87"/>
                </a:cubicBezTo>
                <a:cubicBezTo>
                  <a:pt x="26" y="87"/>
                  <a:pt x="26" y="87"/>
                  <a:pt x="26" y="87"/>
                </a:cubicBezTo>
                <a:cubicBezTo>
                  <a:pt x="27" y="86"/>
                  <a:pt x="27" y="86"/>
                  <a:pt x="27" y="86"/>
                </a:cubicBezTo>
                <a:cubicBezTo>
                  <a:pt x="28" y="85"/>
                  <a:pt x="28" y="85"/>
                  <a:pt x="28" y="85"/>
                </a:cubicBezTo>
                <a:cubicBezTo>
                  <a:pt x="29" y="85"/>
                  <a:pt x="29" y="85"/>
                  <a:pt x="29" y="85"/>
                </a:cubicBezTo>
                <a:cubicBezTo>
                  <a:pt x="30" y="84"/>
                  <a:pt x="30" y="84"/>
                  <a:pt x="30" y="84"/>
                </a:cubicBezTo>
                <a:cubicBezTo>
                  <a:pt x="31" y="84"/>
                  <a:pt x="31" y="84"/>
                  <a:pt x="31" y="84"/>
                </a:cubicBezTo>
                <a:cubicBezTo>
                  <a:pt x="29" y="85"/>
                  <a:pt x="29" y="85"/>
                  <a:pt x="29" y="85"/>
                </a:cubicBezTo>
                <a:cubicBezTo>
                  <a:pt x="28" y="87"/>
                  <a:pt x="28" y="87"/>
                  <a:pt x="28" y="87"/>
                </a:cubicBezTo>
                <a:cubicBezTo>
                  <a:pt x="28" y="89"/>
                  <a:pt x="28" y="89"/>
                  <a:pt x="28" y="89"/>
                </a:cubicBezTo>
                <a:cubicBezTo>
                  <a:pt x="27" y="89"/>
                  <a:pt x="27" y="89"/>
                  <a:pt x="27" y="89"/>
                </a:cubicBezTo>
                <a:cubicBezTo>
                  <a:pt x="26" y="89"/>
                  <a:pt x="26" y="89"/>
                  <a:pt x="26" y="89"/>
                </a:cubicBezTo>
                <a:cubicBezTo>
                  <a:pt x="25" y="88"/>
                  <a:pt x="25" y="88"/>
                  <a:pt x="25" y="88"/>
                </a:cubicBezTo>
                <a:cubicBezTo>
                  <a:pt x="22" y="88"/>
                  <a:pt x="22" y="88"/>
                  <a:pt x="22" y="88"/>
                </a:cubicBezTo>
                <a:cubicBezTo>
                  <a:pt x="20" y="89"/>
                  <a:pt x="20" y="89"/>
                  <a:pt x="20" y="89"/>
                </a:cubicBezTo>
                <a:cubicBezTo>
                  <a:pt x="20" y="89"/>
                  <a:pt x="20" y="89"/>
                  <a:pt x="20" y="89"/>
                </a:cubicBezTo>
                <a:cubicBezTo>
                  <a:pt x="20" y="90"/>
                  <a:pt x="20" y="90"/>
                  <a:pt x="20" y="90"/>
                </a:cubicBezTo>
                <a:cubicBezTo>
                  <a:pt x="19" y="90"/>
                  <a:pt x="19" y="90"/>
                  <a:pt x="19" y="90"/>
                </a:cubicBezTo>
                <a:cubicBezTo>
                  <a:pt x="18" y="92"/>
                  <a:pt x="18" y="92"/>
                  <a:pt x="18" y="92"/>
                </a:cubicBezTo>
                <a:cubicBezTo>
                  <a:pt x="17" y="93"/>
                  <a:pt x="17" y="93"/>
                  <a:pt x="17" y="93"/>
                </a:cubicBezTo>
                <a:cubicBezTo>
                  <a:pt x="17" y="94"/>
                  <a:pt x="17" y="94"/>
                  <a:pt x="17" y="94"/>
                </a:cubicBezTo>
                <a:cubicBezTo>
                  <a:pt x="16" y="94"/>
                  <a:pt x="16" y="94"/>
                  <a:pt x="16" y="94"/>
                </a:cubicBezTo>
                <a:cubicBezTo>
                  <a:pt x="16" y="95"/>
                  <a:pt x="16" y="95"/>
                  <a:pt x="16" y="95"/>
                </a:cubicBezTo>
                <a:cubicBezTo>
                  <a:pt x="15" y="95"/>
                  <a:pt x="15" y="95"/>
                  <a:pt x="15" y="95"/>
                </a:cubicBezTo>
                <a:cubicBezTo>
                  <a:pt x="15" y="96"/>
                  <a:pt x="15" y="96"/>
                  <a:pt x="15" y="96"/>
                </a:cubicBezTo>
                <a:cubicBezTo>
                  <a:pt x="13" y="97"/>
                  <a:pt x="13" y="97"/>
                  <a:pt x="13" y="97"/>
                </a:cubicBezTo>
                <a:cubicBezTo>
                  <a:pt x="13" y="97"/>
                  <a:pt x="13" y="97"/>
                  <a:pt x="13" y="97"/>
                </a:cubicBezTo>
                <a:cubicBezTo>
                  <a:pt x="12" y="98"/>
                  <a:pt x="12" y="98"/>
                  <a:pt x="12" y="98"/>
                </a:cubicBezTo>
                <a:cubicBezTo>
                  <a:pt x="12" y="99"/>
                  <a:pt x="12" y="99"/>
                  <a:pt x="12" y="99"/>
                </a:cubicBezTo>
                <a:cubicBezTo>
                  <a:pt x="13" y="99"/>
                  <a:pt x="13" y="99"/>
                  <a:pt x="13" y="99"/>
                </a:cubicBezTo>
                <a:cubicBezTo>
                  <a:pt x="13" y="98"/>
                  <a:pt x="13" y="98"/>
                  <a:pt x="13" y="98"/>
                </a:cubicBezTo>
                <a:cubicBezTo>
                  <a:pt x="14" y="98"/>
                  <a:pt x="14" y="98"/>
                  <a:pt x="14" y="98"/>
                </a:cubicBezTo>
                <a:lnTo>
                  <a:pt x="15" y="9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7" name="Freeform 75">
            <a:extLst>
              <a:ext uri="{FF2B5EF4-FFF2-40B4-BE49-F238E27FC236}">
                <a16:creationId xmlns:a16="http://schemas.microsoft.com/office/drawing/2014/main" id="{3E1B5730-BCA9-FC8A-FC99-A7AEB9E18597}"/>
              </a:ext>
            </a:extLst>
          </p:cNvPr>
          <p:cNvSpPr>
            <a:spLocks noEditPoints="1"/>
          </p:cNvSpPr>
          <p:nvPr userDrawn="1"/>
        </p:nvSpPr>
        <p:spPr bwMode="auto">
          <a:xfrm>
            <a:off x="12889659" y="5869861"/>
            <a:ext cx="815923" cy="755650"/>
          </a:xfrm>
          <a:custGeom>
            <a:avLst/>
            <a:gdLst>
              <a:gd name="T0" fmla="*/ 204 w 257"/>
              <a:gd name="T1" fmla="*/ 116 h 238"/>
              <a:gd name="T2" fmla="*/ 188 w 257"/>
              <a:gd name="T3" fmla="*/ 125 h 238"/>
              <a:gd name="T4" fmla="*/ 191 w 257"/>
              <a:gd name="T5" fmla="*/ 110 h 238"/>
              <a:gd name="T6" fmla="*/ 207 w 257"/>
              <a:gd name="T7" fmla="*/ 91 h 238"/>
              <a:gd name="T8" fmla="*/ 213 w 257"/>
              <a:gd name="T9" fmla="*/ 88 h 238"/>
              <a:gd name="T10" fmla="*/ 216 w 257"/>
              <a:gd name="T11" fmla="*/ 69 h 238"/>
              <a:gd name="T12" fmla="*/ 222 w 257"/>
              <a:gd name="T13" fmla="*/ 50 h 238"/>
              <a:gd name="T14" fmla="*/ 204 w 257"/>
              <a:gd name="T15" fmla="*/ 47 h 238"/>
              <a:gd name="T16" fmla="*/ 191 w 257"/>
              <a:gd name="T17" fmla="*/ 41 h 238"/>
              <a:gd name="T18" fmla="*/ 175 w 257"/>
              <a:gd name="T19" fmla="*/ 35 h 238"/>
              <a:gd name="T20" fmla="*/ 160 w 257"/>
              <a:gd name="T21" fmla="*/ 28 h 238"/>
              <a:gd name="T22" fmla="*/ 147 w 257"/>
              <a:gd name="T23" fmla="*/ 19 h 238"/>
              <a:gd name="T24" fmla="*/ 135 w 257"/>
              <a:gd name="T25" fmla="*/ 0 h 238"/>
              <a:gd name="T26" fmla="*/ 119 w 257"/>
              <a:gd name="T27" fmla="*/ 6 h 238"/>
              <a:gd name="T28" fmla="*/ 110 w 257"/>
              <a:gd name="T29" fmla="*/ 28 h 238"/>
              <a:gd name="T30" fmla="*/ 88 w 257"/>
              <a:gd name="T31" fmla="*/ 38 h 238"/>
              <a:gd name="T32" fmla="*/ 75 w 257"/>
              <a:gd name="T33" fmla="*/ 44 h 238"/>
              <a:gd name="T34" fmla="*/ 66 w 257"/>
              <a:gd name="T35" fmla="*/ 35 h 238"/>
              <a:gd name="T36" fmla="*/ 54 w 257"/>
              <a:gd name="T37" fmla="*/ 38 h 238"/>
              <a:gd name="T38" fmla="*/ 60 w 257"/>
              <a:gd name="T39" fmla="*/ 56 h 238"/>
              <a:gd name="T40" fmla="*/ 50 w 257"/>
              <a:gd name="T41" fmla="*/ 60 h 238"/>
              <a:gd name="T42" fmla="*/ 32 w 257"/>
              <a:gd name="T43" fmla="*/ 56 h 238"/>
              <a:gd name="T44" fmla="*/ 16 w 257"/>
              <a:gd name="T45" fmla="*/ 60 h 238"/>
              <a:gd name="T46" fmla="*/ 4 w 257"/>
              <a:gd name="T47" fmla="*/ 69 h 238"/>
              <a:gd name="T48" fmla="*/ 7 w 257"/>
              <a:gd name="T49" fmla="*/ 69 h 238"/>
              <a:gd name="T50" fmla="*/ 10 w 257"/>
              <a:gd name="T51" fmla="*/ 75 h 238"/>
              <a:gd name="T52" fmla="*/ 10 w 257"/>
              <a:gd name="T53" fmla="*/ 85 h 238"/>
              <a:gd name="T54" fmla="*/ 25 w 257"/>
              <a:gd name="T55" fmla="*/ 85 h 238"/>
              <a:gd name="T56" fmla="*/ 38 w 257"/>
              <a:gd name="T57" fmla="*/ 88 h 238"/>
              <a:gd name="T58" fmla="*/ 44 w 257"/>
              <a:gd name="T59" fmla="*/ 97 h 238"/>
              <a:gd name="T60" fmla="*/ 54 w 257"/>
              <a:gd name="T61" fmla="*/ 97 h 238"/>
              <a:gd name="T62" fmla="*/ 47 w 257"/>
              <a:gd name="T63" fmla="*/ 107 h 238"/>
              <a:gd name="T64" fmla="*/ 66 w 257"/>
              <a:gd name="T65" fmla="*/ 119 h 238"/>
              <a:gd name="T66" fmla="*/ 66 w 257"/>
              <a:gd name="T67" fmla="*/ 135 h 238"/>
              <a:gd name="T68" fmla="*/ 72 w 257"/>
              <a:gd name="T69" fmla="*/ 141 h 238"/>
              <a:gd name="T70" fmla="*/ 69 w 257"/>
              <a:gd name="T71" fmla="*/ 160 h 238"/>
              <a:gd name="T72" fmla="*/ 60 w 257"/>
              <a:gd name="T73" fmla="*/ 191 h 238"/>
              <a:gd name="T74" fmla="*/ 69 w 257"/>
              <a:gd name="T75" fmla="*/ 197 h 238"/>
              <a:gd name="T76" fmla="*/ 94 w 257"/>
              <a:gd name="T77" fmla="*/ 207 h 238"/>
              <a:gd name="T78" fmla="*/ 116 w 257"/>
              <a:gd name="T79" fmla="*/ 207 h 238"/>
              <a:gd name="T80" fmla="*/ 141 w 257"/>
              <a:gd name="T81" fmla="*/ 213 h 238"/>
              <a:gd name="T82" fmla="*/ 154 w 257"/>
              <a:gd name="T83" fmla="*/ 185 h 238"/>
              <a:gd name="T84" fmla="*/ 169 w 257"/>
              <a:gd name="T85" fmla="*/ 191 h 238"/>
              <a:gd name="T86" fmla="*/ 201 w 257"/>
              <a:gd name="T87" fmla="*/ 197 h 238"/>
              <a:gd name="T88" fmla="*/ 219 w 257"/>
              <a:gd name="T89" fmla="*/ 178 h 238"/>
              <a:gd name="T90" fmla="*/ 207 w 257"/>
              <a:gd name="T91" fmla="*/ 153 h 238"/>
              <a:gd name="T92" fmla="*/ 207 w 257"/>
              <a:gd name="T93" fmla="*/ 135 h 238"/>
              <a:gd name="T94" fmla="*/ 251 w 257"/>
              <a:gd name="T95" fmla="*/ 238 h 238"/>
              <a:gd name="T96" fmla="*/ 244 w 257"/>
              <a:gd name="T97" fmla="*/ 229 h 238"/>
              <a:gd name="T98" fmla="*/ 241 w 257"/>
              <a:gd name="T99" fmla="*/ 222 h 238"/>
              <a:gd name="T100" fmla="*/ 241 w 257"/>
              <a:gd name="T101" fmla="*/ 216 h 238"/>
              <a:gd name="T102" fmla="*/ 251 w 257"/>
              <a:gd name="T103" fmla="*/ 207 h 238"/>
              <a:gd name="T104" fmla="*/ 254 w 257"/>
              <a:gd name="T105" fmla="*/ 197 h 238"/>
              <a:gd name="T106" fmla="*/ 257 w 257"/>
              <a:gd name="T107" fmla="*/ 22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7" h="238">
                <a:moveTo>
                  <a:pt x="210" y="128"/>
                </a:moveTo>
                <a:lnTo>
                  <a:pt x="207" y="125"/>
                </a:lnTo>
                <a:lnTo>
                  <a:pt x="207" y="125"/>
                </a:lnTo>
                <a:lnTo>
                  <a:pt x="204" y="119"/>
                </a:lnTo>
                <a:lnTo>
                  <a:pt x="204" y="116"/>
                </a:lnTo>
                <a:lnTo>
                  <a:pt x="197" y="116"/>
                </a:lnTo>
                <a:lnTo>
                  <a:pt x="194" y="119"/>
                </a:lnTo>
                <a:lnTo>
                  <a:pt x="194" y="122"/>
                </a:lnTo>
                <a:lnTo>
                  <a:pt x="191" y="125"/>
                </a:lnTo>
                <a:lnTo>
                  <a:pt x="188" y="125"/>
                </a:lnTo>
                <a:lnTo>
                  <a:pt x="185" y="122"/>
                </a:lnTo>
                <a:lnTo>
                  <a:pt x="188" y="119"/>
                </a:lnTo>
                <a:lnTo>
                  <a:pt x="191" y="119"/>
                </a:lnTo>
                <a:lnTo>
                  <a:pt x="191" y="116"/>
                </a:lnTo>
                <a:lnTo>
                  <a:pt x="191" y="110"/>
                </a:lnTo>
                <a:lnTo>
                  <a:pt x="197" y="103"/>
                </a:lnTo>
                <a:lnTo>
                  <a:pt x="201" y="100"/>
                </a:lnTo>
                <a:lnTo>
                  <a:pt x="204" y="97"/>
                </a:lnTo>
                <a:lnTo>
                  <a:pt x="207" y="94"/>
                </a:lnTo>
                <a:lnTo>
                  <a:pt x="207" y="91"/>
                </a:lnTo>
                <a:lnTo>
                  <a:pt x="204" y="88"/>
                </a:lnTo>
                <a:lnTo>
                  <a:pt x="204" y="85"/>
                </a:lnTo>
                <a:lnTo>
                  <a:pt x="210" y="85"/>
                </a:lnTo>
                <a:lnTo>
                  <a:pt x="210" y="88"/>
                </a:lnTo>
                <a:lnTo>
                  <a:pt x="213" y="88"/>
                </a:lnTo>
                <a:lnTo>
                  <a:pt x="219" y="88"/>
                </a:lnTo>
                <a:lnTo>
                  <a:pt x="219" y="81"/>
                </a:lnTo>
                <a:lnTo>
                  <a:pt x="216" y="81"/>
                </a:lnTo>
                <a:lnTo>
                  <a:pt x="216" y="75"/>
                </a:lnTo>
                <a:lnTo>
                  <a:pt x="216" y="69"/>
                </a:lnTo>
                <a:lnTo>
                  <a:pt x="219" y="66"/>
                </a:lnTo>
                <a:lnTo>
                  <a:pt x="219" y="63"/>
                </a:lnTo>
                <a:lnTo>
                  <a:pt x="222" y="56"/>
                </a:lnTo>
                <a:lnTo>
                  <a:pt x="226" y="53"/>
                </a:lnTo>
                <a:lnTo>
                  <a:pt x="222" y="50"/>
                </a:lnTo>
                <a:lnTo>
                  <a:pt x="219" y="50"/>
                </a:lnTo>
                <a:lnTo>
                  <a:pt x="213" y="47"/>
                </a:lnTo>
                <a:lnTo>
                  <a:pt x="210" y="47"/>
                </a:lnTo>
                <a:lnTo>
                  <a:pt x="207" y="47"/>
                </a:lnTo>
                <a:lnTo>
                  <a:pt x="204" y="47"/>
                </a:lnTo>
                <a:lnTo>
                  <a:pt x="201" y="50"/>
                </a:lnTo>
                <a:lnTo>
                  <a:pt x="197" y="47"/>
                </a:lnTo>
                <a:lnTo>
                  <a:pt x="197" y="44"/>
                </a:lnTo>
                <a:lnTo>
                  <a:pt x="194" y="41"/>
                </a:lnTo>
                <a:lnTo>
                  <a:pt x="191" y="41"/>
                </a:lnTo>
                <a:lnTo>
                  <a:pt x="185" y="41"/>
                </a:lnTo>
                <a:lnTo>
                  <a:pt x="185" y="38"/>
                </a:lnTo>
                <a:lnTo>
                  <a:pt x="182" y="38"/>
                </a:lnTo>
                <a:lnTo>
                  <a:pt x="179" y="38"/>
                </a:lnTo>
                <a:lnTo>
                  <a:pt x="175" y="35"/>
                </a:lnTo>
                <a:lnTo>
                  <a:pt x="172" y="35"/>
                </a:lnTo>
                <a:lnTo>
                  <a:pt x="166" y="28"/>
                </a:lnTo>
                <a:lnTo>
                  <a:pt x="163" y="28"/>
                </a:lnTo>
                <a:lnTo>
                  <a:pt x="163" y="28"/>
                </a:lnTo>
                <a:lnTo>
                  <a:pt x="160" y="28"/>
                </a:lnTo>
                <a:lnTo>
                  <a:pt x="157" y="28"/>
                </a:lnTo>
                <a:lnTo>
                  <a:pt x="154" y="25"/>
                </a:lnTo>
                <a:lnTo>
                  <a:pt x="154" y="22"/>
                </a:lnTo>
                <a:lnTo>
                  <a:pt x="150" y="19"/>
                </a:lnTo>
                <a:lnTo>
                  <a:pt x="147" y="19"/>
                </a:lnTo>
                <a:lnTo>
                  <a:pt x="147" y="19"/>
                </a:lnTo>
                <a:lnTo>
                  <a:pt x="141" y="13"/>
                </a:lnTo>
                <a:lnTo>
                  <a:pt x="141" y="10"/>
                </a:lnTo>
                <a:lnTo>
                  <a:pt x="135" y="10"/>
                </a:lnTo>
                <a:lnTo>
                  <a:pt x="135" y="0"/>
                </a:lnTo>
                <a:lnTo>
                  <a:pt x="132" y="0"/>
                </a:lnTo>
                <a:lnTo>
                  <a:pt x="132" y="0"/>
                </a:lnTo>
                <a:lnTo>
                  <a:pt x="125" y="3"/>
                </a:lnTo>
                <a:lnTo>
                  <a:pt x="122" y="3"/>
                </a:lnTo>
                <a:lnTo>
                  <a:pt x="119" y="6"/>
                </a:lnTo>
                <a:lnTo>
                  <a:pt x="116" y="10"/>
                </a:lnTo>
                <a:lnTo>
                  <a:pt x="116" y="13"/>
                </a:lnTo>
                <a:lnTo>
                  <a:pt x="116" y="22"/>
                </a:lnTo>
                <a:lnTo>
                  <a:pt x="110" y="25"/>
                </a:lnTo>
                <a:lnTo>
                  <a:pt x="110" y="28"/>
                </a:lnTo>
                <a:lnTo>
                  <a:pt x="104" y="31"/>
                </a:lnTo>
                <a:lnTo>
                  <a:pt x="100" y="31"/>
                </a:lnTo>
                <a:lnTo>
                  <a:pt x="97" y="28"/>
                </a:lnTo>
                <a:lnTo>
                  <a:pt x="91" y="35"/>
                </a:lnTo>
                <a:lnTo>
                  <a:pt x="88" y="38"/>
                </a:lnTo>
                <a:lnTo>
                  <a:pt x="88" y="38"/>
                </a:lnTo>
                <a:lnTo>
                  <a:pt x="94" y="41"/>
                </a:lnTo>
                <a:lnTo>
                  <a:pt x="88" y="44"/>
                </a:lnTo>
                <a:lnTo>
                  <a:pt x="82" y="44"/>
                </a:lnTo>
                <a:lnTo>
                  <a:pt x="75" y="44"/>
                </a:lnTo>
                <a:lnTo>
                  <a:pt x="72" y="41"/>
                </a:lnTo>
                <a:lnTo>
                  <a:pt x="69" y="44"/>
                </a:lnTo>
                <a:lnTo>
                  <a:pt x="66" y="41"/>
                </a:lnTo>
                <a:lnTo>
                  <a:pt x="66" y="38"/>
                </a:lnTo>
                <a:lnTo>
                  <a:pt x="66" y="35"/>
                </a:lnTo>
                <a:lnTo>
                  <a:pt x="63" y="35"/>
                </a:lnTo>
                <a:lnTo>
                  <a:pt x="60" y="35"/>
                </a:lnTo>
                <a:lnTo>
                  <a:pt x="57" y="35"/>
                </a:lnTo>
                <a:lnTo>
                  <a:pt x="54" y="35"/>
                </a:lnTo>
                <a:lnTo>
                  <a:pt x="54" y="38"/>
                </a:lnTo>
                <a:lnTo>
                  <a:pt x="54" y="41"/>
                </a:lnTo>
                <a:lnTo>
                  <a:pt x="60" y="47"/>
                </a:lnTo>
                <a:lnTo>
                  <a:pt x="60" y="50"/>
                </a:lnTo>
                <a:lnTo>
                  <a:pt x="60" y="53"/>
                </a:lnTo>
                <a:lnTo>
                  <a:pt x="60" y="56"/>
                </a:lnTo>
                <a:lnTo>
                  <a:pt x="60" y="56"/>
                </a:lnTo>
                <a:lnTo>
                  <a:pt x="63" y="60"/>
                </a:lnTo>
                <a:lnTo>
                  <a:pt x="54" y="60"/>
                </a:lnTo>
                <a:lnTo>
                  <a:pt x="50" y="63"/>
                </a:lnTo>
                <a:lnTo>
                  <a:pt x="50" y="60"/>
                </a:lnTo>
                <a:lnTo>
                  <a:pt x="44" y="63"/>
                </a:lnTo>
                <a:lnTo>
                  <a:pt x="44" y="60"/>
                </a:lnTo>
                <a:lnTo>
                  <a:pt x="41" y="63"/>
                </a:lnTo>
                <a:lnTo>
                  <a:pt x="35" y="56"/>
                </a:lnTo>
                <a:lnTo>
                  <a:pt x="32" y="56"/>
                </a:lnTo>
                <a:lnTo>
                  <a:pt x="25" y="56"/>
                </a:lnTo>
                <a:lnTo>
                  <a:pt x="22" y="60"/>
                </a:lnTo>
                <a:lnTo>
                  <a:pt x="22" y="60"/>
                </a:lnTo>
                <a:lnTo>
                  <a:pt x="19" y="60"/>
                </a:lnTo>
                <a:lnTo>
                  <a:pt x="16" y="60"/>
                </a:lnTo>
                <a:lnTo>
                  <a:pt x="13" y="60"/>
                </a:lnTo>
                <a:lnTo>
                  <a:pt x="10" y="63"/>
                </a:lnTo>
                <a:lnTo>
                  <a:pt x="4" y="63"/>
                </a:lnTo>
                <a:lnTo>
                  <a:pt x="0" y="66"/>
                </a:lnTo>
                <a:lnTo>
                  <a:pt x="4" y="69"/>
                </a:lnTo>
                <a:lnTo>
                  <a:pt x="7" y="66"/>
                </a:lnTo>
                <a:lnTo>
                  <a:pt x="10" y="69"/>
                </a:lnTo>
                <a:lnTo>
                  <a:pt x="10" y="69"/>
                </a:lnTo>
                <a:lnTo>
                  <a:pt x="7" y="69"/>
                </a:lnTo>
                <a:lnTo>
                  <a:pt x="7" y="69"/>
                </a:lnTo>
                <a:lnTo>
                  <a:pt x="7" y="72"/>
                </a:lnTo>
                <a:lnTo>
                  <a:pt x="7" y="69"/>
                </a:lnTo>
                <a:lnTo>
                  <a:pt x="10" y="72"/>
                </a:lnTo>
                <a:lnTo>
                  <a:pt x="10" y="72"/>
                </a:lnTo>
                <a:lnTo>
                  <a:pt x="10" y="75"/>
                </a:lnTo>
                <a:lnTo>
                  <a:pt x="4" y="75"/>
                </a:lnTo>
                <a:lnTo>
                  <a:pt x="4" y="75"/>
                </a:lnTo>
                <a:lnTo>
                  <a:pt x="10" y="75"/>
                </a:lnTo>
                <a:lnTo>
                  <a:pt x="10" y="81"/>
                </a:lnTo>
                <a:lnTo>
                  <a:pt x="10" y="85"/>
                </a:lnTo>
                <a:lnTo>
                  <a:pt x="13" y="81"/>
                </a:lnTo>
                <a:lnTo>
                  <a:pt x="16" y="81"/>
                </a:lnTo>
                <a:lnTo>
                  <a:pt x="19" y="81"/>
                </a:lnTo>
                <a:lnTo>
                  <a:pt x="25" y="85"/>
                </a:lnTo>
                <a:lnTo>
                  <a:pt x="25" y="85"/>
                </a:lnTo>
                <a:lnTo>
                  <a:pt x="29" y="85"/>
                </a:lnTo>
                <a:lnTo>
                  <a:pt x="32" y="88"/>
                </a:lnTo>
                <a:lnTo>
                  <a:pt x="35" y="85"/>
                </a:lnTo>
                <a:lnTo>
                  <a:pt x="38" y="85"/>
                </a:lnTo>
                <a:lnTo>
                  <a:pt x="38" y="88"/>
                </a:lnTo>
                <a:lnTo>
                  <a:pt x="38" y="91"/>
                </a:lnTo>
                <a:lnTo>
                  <a:pt x="41" y="88"/>
                </a:lnTo>
                <a:lnTo>
                  <a:pt x="44" y="91"/>
                </a:lnTo>
                <a:lnTo>
                  <a:pt x="41" y="94"/>
                </a:lnTo>
                <a:lnTo>
                  <a:pt x="44" y="97"/>
                </a:lnTo>
                <a:lnTo>
                  <a:pt x="47" y="97"/>
                </a:lnTo>
                <a:lnTo>
                  <a:pt x="50" y="94"/>
                </a:lnTo>
                <a:lnTo>
                  <a:pt x="54" y="94"/>
                </a:lnTo>
                <a:lnTo>
                  <a:pt x="57" y="97"/>
                </a:lnTo>
                <a:lnTo>
                  <a:pt x="54" y="97"/>
                </a:lnTo>
                <a:lnTo>
                  <a:pt x="50" y="97"/>
                </a:lnTo>
                <a:lnTo>
                  <a:pt x="47" y="100"/>
                </a:lnTo>
                <a:lnTo>
                  <a:pt x="50" y="100"/>
                </a:lnTo>
                <a:lnTo>
                  <a:pt x="50" y="103"/>
                </a:lnTo>
                <a:lnTo>
                  <a:pt x="47" y="107"/>
                </a:lnTo>
                <a:lnTo>
                  <a:pt x="50" y="110"/>
                </a:lnTo>
                <a:lnTo>
                  <a:pt x="54" y="110"/>
                </a:lnTo>
                <a:lnTo>
                  <a:pt x="57" y="116"/>
                </a:lnTo>
                <a:lnTo>
                  <a:pt x="63" y="116"/>
                </a:lnTo>
                <a:lnTo>
                  <a:pt x="66" y="119"/>
                </a:lnTo>
                <a:lnTo>
                  <a:pt x="66" y="122"/>
                </a:lnTo>
                <a:lnTo>
                  <a:pt x="69" y="125"/>
                </a:lnTo>
                <a:lnTo>
                  <a:pt x="66" y="132"/>
                </a:lnTo>
                <a:lnTo>
                  <a:pt x="66" y="132"/>
                </a:lnTo>
                <a:lnTo>
                  <a:pt x="66" y="135"/>
                </a:lnTo>
                <a:lnTo>
                  <a:pt x="69" y="135"/>
                </a:lnTo>
                <a:lnTo>
                  <a:pt x="75" y="138"/>
                </a:lnTo>
                <a:lnTo>
                  <a:pt x="79" y="150"/>
                </a:lnTo>
                <a:lnTo>
                  <a:pt x="75" y="144"/>
                </a:lnTo>
                <a:lnTo>
                  <a:pt x="72" y="141"/>
                </a:lnTo>
                <a:lnTo>
                  <a:pt x="69" y="138"/>
                </a:lnTo>
                <a:lnTo>
                  <a:pt x="66" y="141"/>
                </a:lnTo>
                <a:lnTo>
                  <a:pt x="66" y="150"/>
                </a:lnTo>
                <a:lnTo>
                  <a:pt x="66" y="157"/>
                </a:lnTo>
                <a:lnTo>
                  <a:pt x="69" y="160"/>
                </a:lnTo>
                <a:lnTo>
                  <a:pt x="66" y="160"/>
                </a:lnTo>
                <a:lnTo>
                  <a:pt x="63" y="175"/>
                </a:lnTo>
                <a:lnTo>
                  <a:pt x="60" y="185"/>
                </a:lnTo>
                <a:lnTo>
                  <a:pt x="57" y="188"/>
                </a:lnTo>
                <a:lnTo>
                  <a:pt x="60" y="191"/>
                </a:lnTo>
                <a:lnTo>
                  <a:pt x="60" y="191"/>
                </a:lnTo>
                <a:lnTo>
                  <a:pt x="63" y="191"/>
                </a:lnTo>
                <a:lnTo>
                  <a:pt x="63" y="197"/>
                </a:lnTo>
                <a:lnTo>
                  <a:pt x="63" y="200"/>
                </a:lnTo>
                <a:lnTo>
                  <a:pt x="69" y="197"/>
                </a:lnTo>
                <a:lnTo>
                  <a:pt x="75" y="200"/>
                </a:lnTo>
                <a:lnTo>
                  <a:pt x="79" y="207"/>
                </a:lnTo>
                <a:lnTo>
                  <a:pt x="85" y="204"/>
                </a:lnTo>
                <a:lnTo>
                  <a:pt x="88" y="210"/>
                </a:lnTo>
                <a:lnTo>
                  <a:pt x="94" y="207"/>
                </a:lnTo>
                <a:lnTo>
                  <a:pt x="97" y="210"/>
                </a:lnTo>
                <a:lnTo>
                  <a:pt x="100" y="207"/>
                </a:lnTo>
                <a:lnTo>
                  <a:pt x="110" y="207"/>
                </a:lnTo>
                <a:lnTo>
                  <a:pt x="113" y="207"/>
                </a:lnTo>
                <a:lnTo>
                  <a:pt x="116" y="207"/>
                </a:lnTo>
                <a:lnTo>
                  <a:pt x="122" y="210"/>
                </a:lnTo>
                <a:lnTo>
                  <a:pt x="132" y="210"/>
                </a:lnTo>
                <a:lnTo>
                  <a:pt x="138" y="213"/>
                </a:lnTo>
                <a:lnTo>
                  <a:pt x="141" y="213"/>
                </a:lnTo>
                <a:lnTo>
                  <a:pt x="141" y="213"/>
                </a:lnTo>
                <a:lnTo>
                  <a:pt x="141" y="207"/>
                </a:lnTo>
                <a:lnTo>
                  <a:pt x="141" y="200"/>
                </a:lnTo>
                <a:lnTo>
                  <a:pt x="141" y="197"/>
                </a:lnTo>
                <a:lnTo>
                  <a:pt x="147" y="191"/>
                </a:lnTo>
                <a:lnTo>
                  <a:pt x="154" y="185"/>
                </a:lnTo>
                <a:lnTo>
                  <a:pt x="154" y="185"/>
                </a:lnTo>
                <a:lnTo>
                  <a:pt x="157" y="188"/>
                </a:lnTo>
                <a:lnTo>
                  <a:pt x="163" y="188"/>
                </a:lnTo>
                <a:lnTo>
                  <a:pt x="166" y="191"/>
                </a:lnTo>
                <a:lnTo>
                  <a:pt x="169" y="191"/>
                </a:lnTo>
                <a:lnTo>
                  <a:pt x="172" y="188"/>
                </a:lnTo>
                <a:lnTo>
                  <a:pt x="175" y="188"/>
                </a:lnTo>
                <a:lnTo>
                  <a:pt x="188" y="194"/>
                </a:lnTo>
                <a:lnTo>
                  <a:pt x="191" y="197"/>
                </a:lnTo>
                <a:lnTo>
                  <a:pt x="201" y="197"/>
                </a:lnTo>
                <a:lnTo>
                  <a:pt x="204" y="194"/>
                </a:lnTo>
                <a:lnTo>
                  <a:pt x="204" y="194"/>
                </a:lnTo>
                <a:lnTo>
                  <a:pt x="207" y="188"/>
                </a:lnTo>
                <a:lnTo>
                  <a:pt x="219" y="178"/>
                </a:lnTo>
                <a:lnTo>
                  <a:pt x="219" y="178"/>
                </a:lnTo>
                <a:lnTo>
                  <a:pt x="216" y="175"/>
                </a:lnTo>
                <a:lnTo>
                  <a:pt x="219" y="169"/>
                </a:lnTo>
                <a:lnTo>
                  <a:pt x="213" y="169"/>
                </a:lnTo>
                <a:lnTo>
                  <a:pt x="207" y="166"/>
                </a:lnTo>
                <a:lnTo>
                  <a:pt x="207" y="153"/>
                </a:lnTo>
                <a:lnTo>
                  <a:pt x="204" y="150"/>
                </a:lnTo>
                <a:lnTo>
                  <a:pt x="204" y="147"/>
                </a:lnTo>
                <a:lnTo>
                  <a:pt x="210" y="147"/>
                </a:lnTo>
                <a:lnTo>
                  <a:pt x="210" y="141"/>
                </a:lnTo>
                <a:lnTo>
                  <a:pt x="207" y="135"/>
                </a:lnTo>
                <a:lnTo>
                  <a:pt x="207" y="132"/>
                </a:lnTo>
                <a:lnTo>
                  <a:pt x="207" y="128"/>
                </a:lnTo>
                <a:lnTo>
                  <a:pt x="210" y="128"/>
                </a:lnTo>
                <a:lnTo>
                  <a:pt x="210" y="128"/>
                </a:lnTo>
                <a:close/>
                <a:moveTo>
                  <a:pt x="251" y="238"/>
                </a:moveTo>
                <a:lnTo>
                  <a:pt x="244" y="235"/>
                </a:lnTo>
                <a:lnTo>
                  <a:pt x="241" y="232"/>
                </a:lnTo>
                <a:lnTo>
                  <a:pt x="244" y="232"/>
                </a:lnTo>
                <a:lnTo>
                  <a:pt x="244" y="232"/>
                </a:lnTo>
                <a:lnTo>
                  <a:pt x="244" y="229"/>
                </a:lnTo>
                <a:lnTo>
                  <a:pt x="244" y="229"/>
                </a:lnTo>
                <a:lnTo>
                  <a:pt x="244" y="225"/>
                </a:lnTo>
                <a:lnTo>
                  <a:pt x="241" y="225"/>
                </a:lnTo>
                <a:lnTo>
                  <a:pt x="238" y="222"/>
                </a:lnTo>
                <a:lnTo>
                  <a:pt x="241" y="222"/>
                </a:lnTo>
                <a:lnTo>
                  <a:pt x="241" y="222"/>
                </a:lnTo>
                <a:lnTo>
                  <a:pt x="238" y="219"/>
                </a:lnTo>
                <a:lnTo>
                  <a:pt x="238" y="216"/>
                </a:lnTo>
                <a:lnTo>
                  <a:pt x="238" y="216"/>
                </a:lnTo>
                <a:lnTo>
                  <a:pt x="241" y="216"/>
                </a:lnTo>
                <a:lnTo>
                  <a:pt x="238" y="213"/>
                </a:lnTo>
                <a:lnTo>
                  <a:pt x="241" y="207"/>
                </a:lnTo>
                <a:lnTo>
                  <a:pt x="247" y="207"/>
                </a:lnTo>
                <a:lnTo>
                  <a:pt x="247" y="204"/>
                </a:lnTo>
                <a:lnTo>
                  <a:pt x="251" y="207"/>
                </a:lnTo>
                <a:lnTo>
                  <a:pt x="254" y="207"/>
                </a:lnTo>
                <a:lnTo>
                  <a:pt x="254" y="204"/>
                </a:lnTo>
                <a:lnTo>
                  <a:pt x="254" y="200"/>
                </a:lnTo>
                <a:lnTo>
                  <a:pt x="254" y="197"/>
                </a:lnTo>
                <a:lnTo>
                  <a:pt x="254" y="197"/>
                </a:lnTo>
                <a:lnTo>
                  <a:pt x="257" y="204"/>
                </a:lnTo>
                <a:lnTo>
                  <a:pt x="257" y="207"/>
                </a:lnTo>
                <a:lnTo>
                  <a:pt x="257" y="216"/>
                </a:lnTo>
                <a:lnTo>
                  <a:pt x="254" y="225"/>
                </a:lnTo>
                <a:lnTo>
                  <a:pt x="257" y="229"/>
                </a:lnTo>
                <a:lnTo>
                  <a:pt x="254" y="235"/>
                </a:lnTo>
                <a:lnTo>
                  <a:pt x="251" y="238"/>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8" name="Freeform 76">
            <a:extLst>
              <a:ext uri="{FF2B5EF4-FFF2-40B4-BE49-F238E27FC236}">
                <a16:creationId xmlns:a16="http://schemas.microsoft.com/office/drawing/2014/main" id="{F08762F7-E9B7-93CF-639B-C3CE9FA8BB2D}"/>
              </a:ext>
            </a:extLst>
          </p:cNvPr>
          <p:cNvSpPr>
            <a:spLocks/>
          </p:cNvSpPr>
          <p:nvPr userDrawn="1"/>
        </p:nvSpPr>
        <p:spPr bwMode="auto">
          <a:xfrm>
            <a:off x="14013537" y="7031907"/>
            <a:ext cx="19049" cy="19050"/>
          </a:xfrm>
          <a:custGeom>
            <a:avLst/>
            <a:gdLst>
              <a:gd name="T0" fmla="*/ 0 w 6"/>
              <a:gd name="T1" fmla="*/ 0 h 6"/>
              <a:gd name="T2" fmla="*/ 0 w 6"/>
              <a:gd name="T3" fmla="*/ 3 h 6"/>
              <a:gd name="T4" fmla="*/ 3 w 6"/>
              <a:gd name="T5" fmla="*/ 6 h 6"/>
              <a:gd name="T6" fmla="*/ 6 w 6"/>
              <a:gd name="T7" fmla="*/ 3 h 6"/>
              <a:gd name="T8" fmla="*/ 6 w 6"/>
              <a:gd name="T9" fmla="*/ 0 h 6"/>
              <a:gd name="T10" fmla="*/ 0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0" y="0"/>
                </a:moveTo>
                <a:lnTo>
                  <a:pt x="0" y="3"/>
                </a:lnTo>
                <a:lnTo>
                  <a:pt x="3" y="6"/>
                </a:lnTo>
                <a:lnTo>
                  <a:pt x="6" y="3"/>
                </a:lnTo>
                <a:lnTo>
                  <a:pt x="6" y="0"/>
                </a:lnTo>
                <a:lnTo>
                  <a:pt x="0" y="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9" name="Freeform 77">
            <a:extLst>
              <a:ext uri="{FF2B5EF4-FFF2-40B4-BE49-F238E27FC236}">
                <a16:creationId xmlns:a16="http://schemas.microsoft.com/office/drawing/2014/main" id="{F33C48FF-74FE-7EC6-0B97-DCB2E5F08E2B}"/>
              </a:ext>
            </a:extLst>
          </p:cNvPr>
          <p:cNvSpPr>
            <a:spLocks noEditPoints="1"/>
          </p:cNvSpPr>
          <p:nvPr userDrawn="1"/>
        </p:nvSpPr>
        <p:spPr bwMode="auto">
          <a:xfrm>
            <a:off x="13537320" y="6187359"/>
            <a:ext cx="704804" cy="796926"/>
          </a:xfrm>
          <a:custGeom>
            <a:avLst/>
            <a:gdLst>
              <a:gd name="T0" fmla="*/ 3 w 222"/>
              <a:gd name="T1" fmla="*/ 66 h 251"/>
              <a:gd name="T2" fmla="*/ 6 w 222"/>
              <a:gd name="T3" fmla="*/ 41 h 251"/>
              <a:gd name="T4" fmla="*/ 15 w 222"/>
              <a:gd name="T5" fmla="*/ 25 h 251"/>
              <a:gd name="T6" fmla="*/ 40 w 222"/>
              <a:gd name="T7" fmla="*/ 25 h 251"/>
              <a:gd name="T8" fmla="*/ 56 w 222"/>
              <a:gd name="T9" fmla="*/ 19 h 251"/>
              <a:gd name="T10" fmla="*/ 72 w 222"/>
              <a:gd name="T11" fmla="*/ 3 h 251"/>
              <a:gd name="T12" fmla="*/ 97 w 222"/>
              <a:gd name="T13" fmla="*/ 3 h 251"/>
              <a:gd name="T14" fmla="*/ 125 w 222"/>
              <a:gd name="T15" fmla="*/ 19 h 251"/>
              <a:gd name="T16" fmla="*/ 115 w 222"/>
              <a:gd name="T17" fmla="*/ 35 h 251"/>
              <a:gd name="T18" fmla="*/ 100 w 222"/>
              <a:gd name="T19" fmla="*/ 44 h 251"/>
              <a:gd name="T20" fmla="*/ 103 w 222"/>
              <a:gd name="T21" fmla="*/ 63 h 251"/>
              <a:gd name="T22" fmla="*/ 122 w 222"/>
              <a:gd name="T23" fmla="*/ 82 h 251"/>
              <a:gd name="T24" fmla="*/ 137 w 222"/>
              <a:gd name="T25" fmla="*/ 107 h 251"/>
              <a:gd name="T26" fmla="*/ 156 w 222"/>
              <a:gd name="T27" fmla="*/ 122 h 251"/>
              <a:gd name="T28" fmla="*/ 178 w 222"/>
              <a:gd name="T29" fmla="*/ 125 h 251"/>
              <a:gd name="T30" fmla="*/ 178 w 222"/>
              <a:gd name="T31" fmla="*/ 138 h 251"/>
              <a:gd name="T32" fmla="*/ 218 w 222"/>
              <a:gd name="T33" fmla="*/ 157 h 251"/>
              <a:gd name="T34" fmla="*/ 222 w 222"/>
              <a:gd name="T35" fmla="*/ 172 h 251"/>
              <a:gd name="T36" fmla="*/ 212 w 222"/>
              <a:gd name="T37" fmla="*/ 166 h 251"/>
              <a:gd name="T38" fmla="*/ 197 w 222"/>
              <a:gd name="T39" fmla="*/ 160 h 251"/>
              <a:gd name="T40" fmla="*/ 190 w 222"/>
              <a:gd name="T41" fmla="*/ 169 h 251"/>
              <a:gd name="T42" fmla="*/ 190 w 222"/>
              <a:gd name="T43" fmla="*/ 179 h 251"/>
              <a:gd name="T44" fmla="*/ 197 w 222"/>
              <a:gd name="T45" fmla="*/ 197 h 251"/>
              <a:gd name="T46" fmla="*/ 184 w 222"/>
              <a:gd name="T47" fmla="*/ 219 h 251"/>
              <a:gd name="T48" fmla="*/ 172 w 222"/>
              <a:gd name="T49" fmla="*/ 213 h 251"/>
              <a:gd name="T50" fmla="*/ 178 w 222"/>
              <a:gd name="T51" fmla="*/ 200 h 251"/>
              <a:gd name="T52" fmla="*/ 178 w 222"/>
              <a:gd name="T53" fmla="*/ 185 h 251"/>
              <a:gd name="T54" fmla="*/ 168 w 222"/>
              <a:gd name="T55" fmla="*/ 169 h 251"/>
              <a:gd name="T56" fmla="*/ 156 w 222"/>
              <a:gd name="T57" fmla="*/ 163 h 251"/>
              <a:gd name="T58" fmla="*/ 147 w 222"/>
              <a:gd name="T59" fmla="*/ 150 h 251"/>
              <a:gd name="T60" fmla="*/ 131 w 222"/>
              <a:gd name="T61" fmla="*/ 141 h 251"/>
              <a:gd name="T62" fmla="*/ 118 w 222"/>
              <a:gd name="T63" fmla="*/ 138 h 251"/>
              <a:gd name="T64" fmla="*/ 93 w 222"/>
              <a:gd name="T65" fmla="*/ 116 h 251"/>
              <a:gd name="T66" fmla="*/ 75 w 222"/>
              <a:gd name="T67" fmla="*/ 100 h 251"/>
              <a:gd name="T68" fmla="*/ 65 w 222"/>
              <a:gd name="T69" fmla="*/ 82 h 251"/>
              <a:gd name="T70" fmla="*/ 50 w 222"/>
              <a:gd name="T71" fmla="*/ 69 h 251"/>
              <a:gd name="T72" fmla="*/ 15 w 222"/>
              <a:gd name="T73" fmla="*/ 78 h 251"/>
              <a:gd name="T74" fmla="*/ 34 w 222"/>
              <a:gd name="T75" fmla="*/ 141 h 251"/>
              <a:gd name="T76" fmla="*/ 28 w 222"/>
              <a:gd name="T77" fmla="*/ 144 h 251"/>
              <a:gd name="T78" fmla="*/ 78 w 222"/>
              <a:gd name="T79" fmla="*/ 113 h 251"/>
              <a:gd name="T80" fmla="*/ 72 w 222"/>
              <a:gd name="T81" fmla="*/ 104 h 251"/>
              <a:gd name="T82" fmla="*/ 62 w 222"/>
              <a:gd name="T83" fmla="*/ 104 h 251"/>
              <a:gd name="T84" fmla="*/ 47 w 222"/>
              <a:gd name="T85" fmla="*/ 194 h 251"/>
              <a:gd name="T86" fmla="*/ 56 w 222"/>
              <a:gd name="T87" fmla="*/ 191 h 251"/>
              <a:gd name="T88" fmla="*/ 53 w 222"/>
              <a:gd name="T89" fmla="*/ 160 h 251"/>
              <a:gd name="T90" fmla="*/ 53 w 222"/>
              <a:gd name="T91" fmla="*/ 144 h 251"/>
              <a:gd name="T92" fmla="*/ 34 w 222"/>
              <a:gd name="T93" fmla="*/ 150 h 251"/>
              <a:gd name="T94" fmla="*/ 31 w 222"/>
              <a:gd name="T95" fmla="*/ 160 h 251"/>
              <a:gd name="T96" fmla="*/ 37 w 222"/>
              <a:gd name="T97" fmla="*/ 172 h 251"/>
              <a:gd name="T98" fmla="*/ 37 w 222"/>
              <a:gd name="T99" fmla="*/ 194 h 251"/>
              <a:gd name="T100" fmla="*/ 165 w 222"/>
              <a:gd name="T101" fmla="*/ 244 h 251"/>
              <a:gd name="T102" fmla="*/ 168 w 222"/>
              <a:gd name="T103" fmla="*/ 216 h 251"/>
              <a:gd name="T104" fmla="*/ 150 w 222"/>
              <a:gd name="T105" fmla="*/ 219 h 251"/>
              <a:gd name="T106" fmla="*/ 122 w 222"/>
              <a:gd name="T107" fmla="*/ 216 h 251"/>
              <a:gd name="T108" fmla="*/ 115 w 222"/>
              <a:gd name="T109" fmla="*/ 229 h 251"/>
              <a:gd name="T110" fmla="*/ 143 w 222"/>
              <a:gd name="T111" fmla="*/ 241 h 251"/>
              <a:gd name="T112" fmla="*/ 162 w 222"/>
              <a:gd name="T113" fmla="*/ 251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2" h="251">
                <a:moveTo>
                  <a:pt x="15" y="78"/>
                </a:moveTo>
                <a:lnTo>
                  <a:pt x="12" y="75"/>
                </a:lnTo>
                <a:lnTo>
                  <a:pt x="15" y="69"/>
                </a:lnTo>
                <a:lnTo>
                  <a:pt x="9" y="69"/>
                </a:lnTo>
                <a:lnTo>
                  <a:pt x="3" y="66"/>
                </a:lnTo>
                <a:lnTo>
                  <a:pt x="3" y="53"/>
                </a:lnTo>
                <a:lnTo>
                  <a:pt x="0" y="50"/>
                </a:lnTo>
                <a:lnTo>
                  <a:pt x="0" y="47"/>
                </a:lnTo>
                <a:lnTo>
                  <a:pt x="6" y="47"/>
                </a:lnTo>
                <a:lnTo>
                  <a:pt x="6" y="41"/>
                </a:lnTo>
                <a:lnTo>
                  <a:pt x="3" y="35"/>
                </a:lnTo>
                <a:lnTo>
                  <a:pt x="3" y="32"/>
                </a:lnTo>
                <a:lnTo>
                  <a:pt x="3" y="28"/>
                </a:lnTo>
                <a:lnTo>
                  <a:pt x="9" y="32"/>
                </a:lnTo>
                <a:lnTo>
                  <a:pt x="15" y="25"/>
                </a:lnTo>
                <a:lnTo>
                  <a:pt x="22" y="28"/>
                </a:lnTo>
                <a:lnTo>
                  <a:pt x="28" y="16"/>
                </a:lnTo>
                <a:lnTo>
                  <a:pt x="34" y="19"/>
                </a:lnTo>
                <a:lnTo>
                  <a:pt x="34" y="22"/>
                </a:lnTo>
                <a:lnTo>
                  <a:pt x="40" y="25"/>
                </a:lnTo>
                <a:lnTo>
                  <a:pt x="40" y="28"/>
                </a:lnTo>
                <a:lnTo>
                  <a:pt x="43" y="22"/>
                </a:lnTo>
                <a:lnTo>
                  <a:pt x="43" y="16"/>
                </a:lnTo>
                <a:lnTo>
                  <a:pt x="53" y="19"/>
                </a:lnTo>
                <a:lnTo>
                  <a:pt x="56" y="19"/>
                </a:lnTo>
                <a:lnTo>
                  <a:pt x="59" y="22"/>
                </a:lnTo>
                <a:lnTo>
                  <a:pt x="62" y="16"/>
                </a:lnTo>
                <a:lnTo>
                  <a:pt x="68" y="13"/>
                </a:lnTo>
                <a:lnTo>
                  <a:pt x="65" y="7"/>
                </a:lnTo>
                <a:lnTo>
                  <a:pt x="72" y="3"/>
                </a:lnTo>
                <a:lnTo>
                  <a:pt x="78" y="3"/>
                </a:lnTo>
                <a:lnTo>
                  <a:pt x="87" y="0"/>
                </a:lnTo>
                <a:lnTo>
                  <a:pt x="90" y="0"/>
                </a:lnTo>
                <a:lnTo>
                  <a:pt x="100" y="0"/>
                </a:lnTo>
                <a:lnTo>
                  <a:pt x="97" y="3"/>
                </a:lnTo>
                <a:lnTo>
                  <a:pt x="106" y="10"/>
                </a:lnTo>
                <a:lnTo>
                  <a:pt x="118" y="13"/>
                </a:lnTo>
                <a:lnTo>
                  <a:pt x="125" y="10"/>
                </a:lnTo>
                <a:lnTo>
                  <a:pt x="128" y="13"/>
                </a:lnTo>
                <a:lnTo>
                  <a:pt x="125" y="19"/>
                </a:lnTo>
                <a:lnTo>
                  <a:pt x="125" y="22"/>
                </a:lnTo>
                <a:lnTo>
                  <a:pt x="122" y="28"/>
                </a:lnTo>
                <a:lnTo>
                  <a:pt x="125" y="35"/>
                </a:lnTo>
                <a:lnTo>
                  <a:pt x="118" y="32"/>
                </a:lnTo>
                <a:lnTo>
                  <a:pt x="115" y="35"/>
                </a:lnTo>
                <a:lnTo>
                  <a:pt x="115" y="38"/>
                </a:lnTo>
                <a:lnTo>
                  <a:pt x="109" y="38"/>
                </a:lnTo>
                <a:lnTo>
                  <a:pt x="106" y="41"/>
                </a:lnTo>
                <a:lnTo>
                  <a:pt x="103" y="41"/>
                </a:lnTo>
                <a:lnTo>
                  <a:pt x="100" y="44"/>
                </a:lnTo>
                <a:lnTo>
                  <a:pt x="103" y="47"/>
                </a:lnTo>
                <a:lnTo>
                  <a:pt x="106" y="50"/>
                </a:lnTo>
                <a:lnTo>
                  <a:pt x="103" y="57"/>
                </a:lnTo>
                <a:lnTo>
                  <a:pt x="100" y="57"/>
                </a:lnTo>
                <a:lnTo>
                  <a:pt x="103" y="63"/>
                </a:lnTo>
                <a:lnTo>
                  <a:pt x="103" y="69"/>
                </a:lnTo>
                <a:lnTo>
                  <a:pt x="106" y="72"/>
                </a:lnTo>
                <a:lnTo>
                  <a:pt x="112" y="75"/>
                </a:lnTo>
                <a:lnTo>
                  <a:pt x="118" y="78"/>
                </a:lnTo>
                <a:lnTo>
                  <a:pt x="122" y="82"/>
                </a:lnTo>
                <a:lnTo>
                  <a:pt x="134" y="94"/>
                </a:lnTo>
                <a:lnTo>
                  <a:pt x="134" y="97"/>
                </a:lnTo>
                <a:lnTo>
                  <a:pt x="134" y="97"/>
                </a:lnTo>
                <a:lnTo>
                  <a:pt x="134" y="104"/>
                </a:lnTo>
                <a:lnTo>
                  <a:pt x="137" y="107"/>
                </a:lnTo>
                <a:lnTo>
                  <a:pt x="140" y="110"/>
                </a:lnTo>
                <a:lnTo>
                  <a:pt x="143" y="116"/>
                </a:lnTo>
                <a:lnTo>
                  <a:pt x="150" y="119"/>
                </a:lnTo>
                <a:lnTo>
                  <a:pt x="153" y="122"/>
                </a:lnTo>
                <a:lnTo>
                  <a:pt x="156" y="122"/>
                </a:lnTo>
                <a:lnTo>
                  <a:pt x="159" y="125"/>
                </a:lnTo>
                <a:lnTo>
                  <a:pt x="165" y="125"/>
                </a:lnTo>
                <a:lnTo>
                  <a:pt x="168" y="125"/>
                </a:lnTo>
                <a:lnTo>
                  <a:pt x="175" y="125"/>
                </a:lnTo>
                <a:lnTo>
                  <a:pt x="178" y="125"/>
                </a:lnTo>
                <a:lnTo>
                  <a:pt x="178" y="129"/>
                </a:lnTo>
                <a:lnTo>
                  <a:pt x="172" y="132"/>
                </a:lnTo>
                <a:lnTo>
                  <a:pt x="172" y="135"/>
                </a:lnTo>
                <a:lnTo>
                  <a:pt x="175" y="138"/>
                </a:lnTo>
                <a:lnTo>
                  <a:pt x="178" y="138"/>
                </a:lnTo>
                <a:lnTo>
                  <a:pt x="184" y="138"/>
                </a:lnTo>
                <a:lnTo>
                  <a:pt x="200" y="147"/>
                </a:lnTo>
                <a:lnTo>
                  <a:pt x="206" y="150"/>
                </a:lnTo>
                <a:lnTo>
                  <a:pt x="212" y="157"/>
                </a:lnTo>
                <a:lnTo>
                  <a:pt x="218" y="157"/>
                </a:lnTo>
                <a:lnTo>
                  <a:pt x="222" y="160"/>
                </a:lnTo>
                <a:lnTo>
                  <a:pt x="222" y="163"/>
                </a:lnTo>
                <a:lnTo>
                  <a:pt x="222" y="166"/>
                </a:lnTo>
                <a:lnTo>
                  <a:pt x="218" y="169"/>
                </a:lnTo>
                <a:lnTo>
                  <a:pt x="222" y="172"/>
                </a:lnTo>
                <a:lnTo>
                  <a:pt x="218" y="172"/>
                </a:lnTo>
                <a:lnTo>
                  <a:pt x="218" y="175"/>
                </a:lnTo>
                <a:lnTo>
                  <a:pt x="215" y="172"/>
                </a:lnTo>
                <a:lnTo>
                  <a:pt x="212" y="169"/>
                </a:lnTo>
                <a:lnTo>
                  <a:pt x="212" y="166"/>
                </a:lnTo>
                <a:lnTo>
                  <a:pt x="212" y="163"/>
                </a:lnTo>
                <a:lnTo>
                  <a:pt x="209" y="163"/>
                </a:lnTo>
                <a:lnTo>
                  <a:pt x="203" y="163"/>
                </a:lnTo>
                <a:lnTo>
                  <a:pt x="203" y="160"/>
                </a:lnTo>
                <a:lnTo>
                  <a:pt x="197" y="160"/>
                </a:lnTo>
                <a:lnTo>
                  <a:pt x="197" y="160"/>
                </a:lnTo>
                <a:lnTo>
                  <a:pt x="193" y="160"/>
                </a:lnTo>
                <a:lnTo>
                  <a:pt x="193" y="166"/>
                </a:lnTo>
                <a:lnTo>
                  <a:pt x="190" y="166"/>
                </a:lnTo>
                <a:lnTo>
                  <a:pt x="190" y="169"/>
                </a:lnTo>
                <a:lnTo>
                  <a:pt x="190" y="172"/>
                </a:lnTo>
                <a:lnTo>
                  <a:pt x="187" y="175"/>
                </a:lnTo>
                <a:lnTo>
                  <a:pt x="187" y="179"/>
                </a:lnTo>
                <a:lnTo>
                  <a:pt x="187" y="179"/>
                </a:lnTo>
                <a:lnTo>
                  <a:pt x="190" y="179"/>
                </a:lnTo>
                <a:lnTo>
                  <a:pt x="197" y="185"/>
                </a:lnTo>
                <a:lnTo>
                  <a:pt x="197" y="188"/>
                </a:lnTo>
                <a:lnTo>
                  <a:pt x="197" y="191"/>
                </a:lnTo>
                <a:lnTo>
                  <a:pt x="200" y="194"/>
                </a:lnTo>
                <a:lnTo>
                  <a:pt x="197" y="197"/>
                </a:lnTo>
                <a:lnTo>
                  <a:pt x="193" y="197"/>
                </a:lnTo>
                <a:lnTo>
                  <a:pt x="190" y="200"/>
                </a:lnTo>
                <a:lnTo>
                  <a:pt x="190" y="210"/>
                </a:lnTo>
                <a:lnTo>
                  <a:pt x="184" y="213"/>
                </a:lnTo>
                <a:lnTo>
                  <a:pt x="184" y="219"/>
                </a:lnTo>
                <a:lnTo>
                  <a:pt x="181" y="222"/>
                </a:lnTo>
                <a:lnTo>
                  <a:pt x="175" y="222"/>
                </a:lnTo>
                <a:lnTo>
                  <a:pt x="172" y="219"/>
                </a:lnTo>
                <a:lnTo>
                  <a:pt x="172" y="216"/>
                </a:lnTo>
                <a:lnTo>
                  <a:pt x="172" y="213"/>
                </a:lnTo>
                <a:lnTo>
                  <a:pt x="175" y="213"/>
                </a:lnTo>
                <a:lnTo>
                  <a:pt x="178" y="210"/>
                </a:lnTo>
                <a:lnTo>
                  <a:pt x="178" y="207"/>
                </a:lnTo>
                <a:lnTo>
                  <a:pt x="178" y="204"/>
                </a:lnTo>
                <a:lnTo>
                  <a:pt x="178" y="200"/>
                </a:lnTo>
                <a:lnTo>
                  <a:pt x="178" y="200"/>
                </a:lnTo>
                <a:lnTo>
                  <a:pt x="181" y="200"/>
                </a:lnTo>
                <a:lnTo>
                  <a:pt x="181" y="194"/>
                </a:lnTo>
                <a:lnTo>
                  <a:pt x="178" y="191"/>
                </a:lnTo>
                <a:lnTo>
                  <a:pt x="178" y="185"/>
                </a:lnTo>
                <a:lnTo>
                  <a:pt x="175" y="182"/>
                </a:lnTo>
                <a:lnTo>
                  <a:pt x="175" y="175"/>
                </a:lnTo>
                <a:lnTo>
                  <a:pt x="172" y="169"/>
                </a:lnTo>
                <a:lnTo>
                  <a:pt x="168" y="169"/>
                </a:lnTo>
                <a:lnTo>
                  <a:pt x="168" y="169"/>
                </a:lnTo>
                <a:lnTo>
                  <a:pt x="162" y="169"/>
                </a:lnTo>
                <a:lnTo>
                  <a:pt x="162" y="166"/>
                </a:lnTo>
                <a:lnTo>
                  <a:pt x="156" y="166"/>
                </a:lnTo>
                <a:lnTo>
                  <a:pt x="156" y="163"/>
                </a:lnTo>
                <a:lnTo>
                  <a:pt x="156" y="163"/>
                </a:lnTo>
                <a:lnTo>
                  <a:pt x="156" y="157"/>
                </a:lnTo>
                <a:lnTo>
                  <a:pt x="153" y="154"/>
                </a:lnTo>
                <a:lnTo>
                  <a:pt x="150" y="154"/>
                </a:lnTo>
                <a:lnTo>
                  <a:pt x="147" y="154"/>
                </a:lnTo>
                <a:lnTo>
                  <a:pt x="147" y="150"/>
                </a:lnTo>
                <a:lnTo>
                  <a:pt x="143" y="150"/>
                </a:lnTo>
                <a:lnTo>
                  <a:pt x="140" y="150"/>
                </a:lnTo>
                <a:lnTo>
                  <a:pt x="140" y="150"/>
                </a:lnTo>
                <a:lnTo>
                  <a:pt x="134" y="141"/>
                </a:lnTo>
                <a:lnTo>
                  <a:pt x="131" y="141"/>
                </a:lnTo>
                <a:lnTo>
                  <a:pt x="128" y="141"/>
                </a:lnTo>
                <a:lnTo>
                  <a:pt x="125" y="144"/>
                </a:lnTo>
                <a:lnTo>
                  <a:pt x="122" y="144"/>
                </a:lnTo>
                <a:lnTo>
                  <a:pt x="122" y="138"/>
                </a:lnTo>
                <a:lnTo>
                  <a:pt x="118" y="138"/>
                </a:lnTo>
                <a:lnTo>
                  <a:pt x="112" y="138"/>
                </a:lnTo>
                <a:lnTo>
                  <a:pt x="106" y="132"/>
                </a:lnTo>
                <a:lnTo>
                  <a:pt x="97" y="119"/>
                </a:lnTo>
                <a:lnTo>
                  <a:pt x="97" y="119"/>
                </a:lnTo>
                <a:lnTo>
                  <a:pt x="93" y="116"/>
                </a:lnTo>
                <a:lnTo>
                  <a:pt x="90" y="113"/>
                </a:lnTo>
                <a:lnTo>
                  <a:pt x="84" y="113"/>
                </a:lnTo>
                <a:lnTo>
                  <a:pt x="84" y="107"/>
                </a:lnTo>
                <a:lnTo>
                  <a:pt x="78" y="104"/>
                </a:lnTo>
                <a:lnTo>
                  <a:pt x="75" y="100"/>
                </a:lnTo>
                <a:lnTo>
                  <a:pt x="72" y="97"/>
                </a:lnTo>
                <a:lnTo>
                  <a:pt x="72" y="91"/>
                </a:lnTo>
                <a:lnTo>
                  <a:pt x="68" y="91"/>
                </a:lnTo>
                <a:lnTo>
                  <a:pt x="68" y="85"/>
                </a:lnTo>
                <a:lnTo>
                  <a:pt x="65" y="82"/>
                </a:lnTo>
                <a:lnTo>
                  <a:pt x="62" y="78"/>
                </a:lnTo>
                <a:lnTo>
                  <a:pt x="62" y="75"/>
                </a:lnTo>
                <a:lnTo>
                  <a:pt x="62" y="72"/>
                </a:lnTo>
                <a:lnTo>
                  <a:pt x="56" y="69"/>
                </a:lnTo>
                <a:lnTo>
                  <a:pt x="50" y="69"/>
                </a:lnTo>
                <a:lnTo>
                  <a:pt x="37" y="66"/>
                </a:lnTo>
                <a:lnTo>
                  <a:pt x="28" y="69"/>
                </a:lnTo>
                <a:lnTo>
                  <a:pt x="28" y="72"/>
                </a:lnTo>
                <a:lnTo>
                  <a:pt x="25" y="78"/>
                </a:lnTo>
                <a:lnTo>
                  <a:pt x="15" y="78"/>
                </a:lnTo>
                <a:lnTo>
                  <a:pt x="15" y="78"/>
                </a:lnTo>
                <a:close/>
                <a:moveTo>
                  <a:pt x="28" y="144"/>
                </a:moveTo>
                <a:lnTo>
                  <a:pt x="31" y="144"/>
                </a:lnTo>
                <a:lnTo>
                  <a:pt x="31" y="144"/>
                </a:lnTo>
                <a:lnTo>
                  <a:pt x="34" y="141"/>
                </a:lnTo>
                <a:lnTo>
                  <a:pt x="31" y="141"/>
                </a:lnTo>
                <a:lnTo>
                  <a:pt x="31" y="141"/>
                </a:lnTo>
                <a:lnTo>
                  <a:pt x="28" y="144"/>
                </a:lnTo>
                <a:lnTo>
                  <a:pt x="28" y="144"/>
                </a:lnTo>
                <a:lnTo>
                  <a:pt x="28" y="144"/>
                </a:lnTo>
                <a:close/>
                <a:moveTo>
                  <a:pt x="78" y="113"/>
                </a:moveTo>
                <a:lnTo>
                  <a:pt x="81" y="116"/>
                </a:lnTo>
                <a:lnTo>
                  <a:pt x="81" y="113"/>
                </a:lnTo>
                <a:lnTo>
                  <a:pt x="78" y="113"/>
                </a:lnTo>
                <a:lnTo>
                  <a:pt x="78" y="113"/>
                </a:lnTo>
                <a:close/>
                <a:moveTo>
                  <a:pt x="62" y="104"/>
                </a:moveTo>
                <a:lnTo>
                  <a:pt x="62" y="104"/>
                </a:lnTo>
                <a:lnTo>
                  <a:pt x="65" y="107"/>
                </a:lnTo>
                <a:lnTo>
                  <a:pt x="68" y="104"/>
                </a:lnTo>
                <a:lnTo>
                  <a:pt x="72" y="104"/>
                </a:lnTo>
                <a:lnTo>
                  <a:pt x="72" y="100"/>
                </a:lnTo>
                <a:lnTo>
                  <a:pt x="68" y="100"/>
                </a:lnTo>
                <a:lnTo>
                  <a:pt x="68" y="100"/>
                </a:lnTo>
                <a:lnTo>
                  <a:pt x="62" y="104"/>
                </a:lnTo>
                <a:lnTo>
                  <a:pt x="62" y="104"/>
                </a:lnTo>
                <a:close/>
                <a:moveTo>
                  <a:pt x="40" y="197"/>
                </a:moveTo>
                <a:lnTo>
                  <a:pt x="40" y="197"/>
                </a:lnTo>
                <a:lnTo>
                  <a:pt x="43" y="197"/>
                </a:lnTo>
                <a:lnTo>
                  <a:pt x="47" y="197"/>
                </a:lnTo>
                <a:lnTo>
                  <a:pt x="47" y="194"/>
                </a:lnTo>
                <a:lnTo>
                  <a:pt x="47" y="191"/>
                </a:lnTo>
                <a:lnTo>
                  <a:pt x="50" y="191"/>
                </a:lnTo>
                <a:lnTo>
                  <a:pt x="53" y="194"/>
                </a:lnTo>
                <a:lnTo>
                  <a:pt x="56" y="194"/>
                </a:lnTo>
                <a:lnTo>
                  <a:pt x="56" y="191"/>
                </a:lnTo>
                <a:lnTo>
                  <a:pt x="56" y="182"/>
                </a:lnTo>
                <a:lnTo>
                  <a:pt x="59" y="182"/>
                </a:lnTo>
                <a:lnTo>
                  <a:pt x="56" y="172"/>
                </a:lnTo>
                <a:lnTo>
                  <a:pt x="59" y="166"/>
                </a:lnTo>
                <a:lnTo>
                  <a:pt x="53" y="160"/>
                </a:lnTo>
                <a:lnTo>
                  <a:pt x="59" y="160"/>
                </a:lnTo>
                <a:lnTo>
                  <a:pt x="59" y="157"/>
                </a:lnTo>
                <a:lnTo>
                  <a:pt x="56" y="150"/>
                </a:lnTo>
                <a:lnTo>
                  <a:pt x="56" y="147"/>
                </a:lnTo>
                <a:lnTo>
                  <a:pt x="53" y="144"/>
                </a:lnTo>
                <a:lnTo>
                  <a:pt x="50" y="144"/>
                </a:lnTo>
                <a:lnTo>
                  <a:pt x="47" y="141"/>
                </a:lnTo>
                <a:lnTo>
                  <a:pt x="43" y="141"/>
                </a:lnTo>
                <a:lnTo>
                  <a:pt x="37" y="150"/>
                </a:lnTo>
                <a:lnTo>
                  <a:pt x="34" y="150"/>
                </a:lnTo>
                <a:lnTo>
                  <a:pt x="28" y="147"/>
                </a:lnTo>
                <a:lnTo>
                  <a:pt x="28" y="154"/>
                </a:lnTo>
                <a:lnTo>
                  <a:pt x="28" y="154"/>
                </a:lnTo>
                <a:lnTo>
                  <a:pt x="31" y="157"/>
                </a:lnTo>
                <a:lnTo>
                  <a:pt x="31" y="160"/>
                </a:lnTo>
                <a:lnTo>
                  <a:pt x="34" y="163"/>
                </a:lnTo>
                <a:lnTo>
                  <a:pt x="34" y="169"/>
                </a:lnTo>
                <a:lnTo>
                  <a:pt x="31" y="172"/>
                </a:lnTo>
                <a:lnTo>
                  <a:pt x="34" y="172"/>
                </a:lnTo>
                <a:lnTo>
                  <a:pt x="37" y="172"/>
                </a:lnTo>
                <a:lnTo>
                  <a:pt x="37" y="175"/>
                </a:lnTo>
                <a:lnTo>
                  <a:pt x="34" y="179"/>
                </a:lnTo>
                <a:lnTo>
                  <a:pt x="34" y="185"/>
                </a:lnTo>
                <a:lnTo>
                  <a:pt x="34" y="188"/>
                </a:lnTo>
                <a:lnTo>
                  <a:pt x="37" y="194"/>
                </a:lnTo>
                <a:lnTo>
                  <a:pt x="40" y="197"/>
                </a:lnTo>
                <a:lnTo>
                  <a:pt x="40" y="197"/>
                </a:lnTo>
                <a:close/>
                <a:moveTo>
                  <a:pt x="162" y="251"/>
                </a:moveTo>
                <a:lnTo>
                  <a:pt x="162" y="244"/>
                </a:lnTo>
                <a:lnTo>
                  <a:pt x="165" y="244"/>
                </a:lnTo>
                <a:lnTo>
                  <a:pt x="165" y="238"/>
                </a:lnTo>
                <a:lnTo>
                  <a:pt x="162" y="235"/>
                </a:lnTo>
                <a:lnTo>
                  <a:pt x="165" y="226"/>
                </a:lnTo>
                <a:lnTo>
                  <a:pt x="168" y="222"/>
                </a:lnTo>
                <a:lnTo>
                  <a:pt x="168" y="216"/>
                </a:lnTo>
                <a:lnTo>
                  <a:pt x="165" y="213"/>
                </a:lnTo>
                <a:lnTo>
                  <a:pt x="162" y="216"/>
                </a:lnTo>
                <a:lnTo>
                  <a:pt x="159" y="216"/>
                </a:lnTo>
                <a:lnTo>
                  <a:pt x="156" y="213"/>
                </a:lnTo>
                <a:lnTo>
                  <a:pt x="150" y="219"/>
                </a:lnTo>
                <a:lnTo>
                  <a:pt x="140" y="219"/>
                </a:lnTo>
                <a:lnTo>
                  <a:pt x="134" y="219"/>
                </a:lnTo>
                <a:lnTo>
                  <a:pt x="128" y="219"/>
                </a:lnTo>
                <a:lnTo>
                  <a:pt x="125" y="216"/>
                </a:lnTo>
                <a:lnTo>
                  <a:pt x="122" y="216"/>
                </a:lnTo>
                <a:lnTo>
                  <a:pt x="118" y="219"/>
                </a:lnTo>
                <a:lnTo>
                  <a:pt x="118" y="216"/>
                </a:lnTo>
                <a:lnTo>
                  <a:pt x="112" y="219"/>
                </a:lnTo>
                <a:lnTo>
                  <a:pt x="112" y="226"/>
                </a:lnTo>
                <a:lnTo>
                  <a:pt x="115" y="229"/>
                </a:lnTo>
                <a:lnTo>
                  <a:pt x="122" y="229"/>
                </a:lnTo>
                <a:lnTo>
                  <a:pt x="128" y="235"/>
                </a:lnTo>
                <a:lnTo>
                  <a:pt x="131" y="235"/>
                </a:lnTo>
                <a:lnTo>
                  <a:pt x="137" y="238"/>
                </a:lnTo>
                <a:lnTo>
                  <a:pt x="143" y="241"/>
                </a:lnTo>
                <a:lnTo>
                  <a:pt x="147" y="241"/>
                </a:lnTo>
                <a:lnTo>
                  <a:pt x="150" y="244"/>
                </a:lnTo>
                <a:lnTo>
                  <a:pt x="150" y="247"/>
                </a:lnTo>
                <a:lnTo>
                  <a:pt x="159" y="251"/>
                </a:lnTo>
                <a:lnTo>
                  <a:pt x="162" y="251"/>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0" name="Freeform 78">
            <a:extLst>
              <a:ext uri="{FF2B5EF4-FFF2-40B4-BE49-F238E27FC236}">
                <a16:creationId xmlns:a16="http://schemas.microsoft.com/office/drawing/2014/main" id="{4AED8873-22A0-5B23-479A-4AF076176712}"/>
              </a:ext>
            </a:extLst>
          </p:cNvPr>
          <p:cNvSpPr>
            <a:spLocks noEditPoints="1"/>
          </p:cNvSpPr>
          <p:nvPr userDrawn="1"/>
        </p:nvSpPr>
        <p:spPr bwMode="auto">
          <a:xfrm>
            <a:off x="12632501" y="6435008"/>
            <a:ext cx="774652" cy="587376"/>
          </a:xfrm>
          <a:custGeom>
            <a:avLst/>
            <a:gdLst>
              <a:gd name="T0" fmla="*/ 45 w 78"/>
              <a:gd name="T1" fmla="*/ 4 h 59"/>
              <a:gd name="T2" fmla="*/ 46 w 78"/>
              <a:gd name="T3" fmla="*/ 7 h 59"/>
              <a:gd name="T4" fmla="*/ 51 w 78"/>
              <a:gd name="T5" fmla="*/ 9 h 59"/>
              <a:gd name="T6" fmla="*/ 56 w 78"/>
              <a:gd name="T7" fmla="*/ 9 h 59"/>
              <a:gd name="T8" fmla="*/ 61 w 78"/>
              <a:gd name="T9" fmla="*/ 9 h 59"/>
              <a:gd name="T10" fmla="*/ 65 w 78"/>
              <a:gd name="T11" fmla="*/ 10 h 59"/>
              <a:gd name="T12" fmla="*/ 71 w 78"/>
              <a:gd name="T13" fmla="*/ 11 h 59"/>
              <a:gd name="T14" fmla="*/ 70 w 78"/>
              <a:gd name="T15" fmla="*/ 15 h 59"/>
              <a:gd name="T16" fmla="*/ 67 w 78"/>
              <a:gd name="T17" fmla="*/ 19 h 59"/>
              <a:gd name="T18" fmla="*/ 62 w 78"/>
              <a:gd name="T19" fmla="*/ 21 h 59"/>
              <a:gd name="T20" fmla="*/ 60 w 78"/>
              <a:gd name="T21" fmla="*/ 23 h 59"/>
              <a:gd name="T22" fmla="*/ 58 w 78"/>
              <a:gd name="T23" fmla="*/ 25 h 59"/>
              <a:gd name="T24" fmla="*/ 56 w 78"/>
              <a:gd name="T25" fmla="*/ 28 h 59"/>
              <a:gd name="T26" fmla="*/ 52 w 78"/>
              <a:gd name="T27" fmla="*/ 33 h 59"/>
              <a:gd name="T28" fmla="*/ 54 w 78"/>
              <a:gd name="T29" fmla="*/ 37 h 59"/>
              <a:gd name="T30" fmla="*/ 52 w 78"/>
              <a:gd name="T31" fmla="*/ 41 h 59"/>
              <a:gd name="T32" fmla="*/ 50 w 78"/>
              <a:gd name="T33" fmla="*/ 47 h 59"/>
              <a:gd name="T34" fmla="*/ 48 w 78"/>
              <a:gd name="T35" fmla="*/ 49 h 59"/>
              <a:gd name="T36" fmla="*/ 42 w 78"/>
              <a:gd name="T37" fmla="*/ 54 h 59"/>
              <a:gd name="T38" fmla="*/ 39 w 78"/>
              <a:gd name="T39" fmla="*/ 53 h 59"/>
              <a:gd name="T40" fmla="*/ 36 w 78"/>
              <a:gd name="T41" fmla="*/ 53 h 59"/>
              <a:gd name="T42" fmla="*/ 31 w 78"/>
              <a:gd name="T43" fmla="*/ 53 h 59"/>
              <a:gd name="T44" fmla="*/ 26 w 78"/>
              <a:gd name="T45" fmla="*/ 56 h 59"/>
              <a:gd name="T46" fmla="*/ 23 w 78"/>
              <a:gd name="T47" fmla="*/ 58 h 59"/>
              <a:gd name="T48" fmla="*/ 17 w 78"/>
              <a:gd name="T49" fmla="*/ 57 h 59"/>
              <a:gd name="T50" fmla="*/ 13 w 78"/>
              <a:gd name="T51" fmla="*/ 51 h 59"/>
              <a:gd name="T52" fmla="*/ 10 w 78"/>
              <a:gd name="T53" fmla="*/ 49 h 59"/>
              <a:gd name="T54" fmla="*/ 13 w 78"/>
              <a:gd name="T55" fmla="*/ 43 h 59"/>
              <a:gd name="T56" fmla="*/ 10 w 78"/>
              <a:gd name="T57" fmla="*/ 40 h 59"/>
              <a:gd name="T58" fmla="*/ 11 w 78"/>
              <a:gd name="T59" fmla="*/ 35 h 59"/>
              <a:gd name="T60" fmla="*/ 12 w 78"/>
              <a:gd name="T61" fmla="*/ 32 h 59"/>
              <a:gd name="T62" fmla="*/ 14 w 78"/>
              <a:gd name="T63" fmla="*/ 27 h 59"/>
              <a:gd name="T64" fmla="*/ 16 w 78"/>
              <a:gd name="T65" fmla="*/ 19 h 59"/>
              <a:gd name="T66" fmla="*/ 16 w 78"/>
              <a:gd name="T67" fmla="*/ 16 h 59"/>
              <a:gd name="T68" fmla="*/ 12 w 78"/>
              <a:gd name="T69" fmla="*/ 15 h 59"/>
              <a:gd name="T70" fmla="*/ 6 w 78"/>
              <a:gd name="T71" fmla="*/ 15 h 59"/>
              <a:gd name="T72" fmla="*/ 2 w 78"/>
              <a:gd name="T73" fmla="*/ 13 h 59"/>
              <a:gd name="T74" fmla="*/ 2 w 78"/>
              <a:gd name="T75" fmla="*/ 12 h 59"/>
              <a:gd name="T76" fmla="*/ 3 w 78"/>
              <a:gd name="T77" fmla="*/ 9 h 59"/>
              <a:gd name="T78" fmla="*/ 2 w 78"/>
              <a:gd name="T79" fmla="*/ 8 h 59"/>
              <a:gd name="T80" fmla="*/ 0 w 78"/>
              <a:gd name="T81" fmla="*/ 7 h 59"/>
              <a:gd name="T82" fmla="*/ 3 w 78"/>
              <a:gd name="T83" fmla="*/ 4 h 59"/>
              <a:gd name="T84" fmla="*/ 7 w 78"/>
              <a:gd name="T85" fmla="*/ 3 h 59"/>
              <a:gd name="T86" fmla="*/ 8 w 78"/>
              <a:gd name="T87" fmla="*/ 1 h 59"/>
              <a:gd name="T88" fmla="*/ 11 w 78"/>
              <a:gd name="T89" fmla="*/ 1 h 59"/>
              <a:gd name="T90" fmla="*/ 15 w 78"/>
              <a:gd name="T91" fmla="*/ 1 h 59"/>
              <a:gd name="T92" fmla="*/ 20 w 78"/>
              <a:gd name="T93" fmla="*/ 1 h 59"/>
              <a:gd name="T94" fmla="*/ 26 w 78"/>
              <a:gd name="T95" fmla="*/ 3 h 59"/>
              <a:gd name="T96" fmla="*/ 34 w 78"/>
              <a:gd name="T97" fmla="*/ 2 h 59"/>
              <a:gd name="T98" fmla="*/ 37 w 78"/>
              <a:gd name="T99" fmla="*/ 3 h 59"/>
              <a:gd name="T100" fmla="*/ 42 w 78"/>
              <a:gd name="T101" fmla="*/ 4 h 59"/>
              <a:gd name="T102" fmla="*/ 74 w 78"/>
              <a:gd name="T103" fmla="*/ 31 h 59"/>
              <a:gd name="T104" fmla="*/ 78 w 78"/>
              <a:gd name="T105" fmla="*/ 31 h 59"/>
              <a:gd name="T106" fmla="*/ 74 w 78"/>
              <a:gd name="T107" fmla="*/ 31 h 59"/>
              <a:gd name="T108" fmla="*/ 73 w 78"/>
              <a:gd name="T109" fmla="*/ 32 h 59"/>
              <a:gd name="T110" fmla="*/ 69 w 78"/>
              <a:gd name="T111" fmla="*/ 33 h 59"/>
              <a:gd name="T112" fmla="*/ 71 w 78"/>
              <a:gd name="T113" fmla="*/ 35 h 59"/>
              <a:gd name="T114" fmla="*/ 64 w 78"/>
              <a:gd name="T115" fmla="*/ 37 h 59"/>
              <a:gd name="T116" fmla="*/ 62 w 78"/>
              <a:gd name="T117" fmla="*/ 3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 h="59">
                <a:moveTo>
                  <a:pt x="44" y="3"/>
                </a:moveTo>
                <a:cubicBezTo>
                  <a:pt x="45" y="4"/>
                  <a:pt x="45" y="4"/>
                  <a:pt x="45" y="4"/>
                </a:cubicBezTo>
                <a:cubicBezTo>
                  <a:pt x="45" y="4"/>
                  <a:pt x="45" y="4"/>
                  <a:pt x="45" y="4"/>
                </a:cubicBezTo>
                <a:cubicBezTo>
                  <a:pt x="46" y="4"/>
                  <a:pt x="46" y="4"/>
                  <a:pt x="46" y="4"/>
                </a:cubicBezTo>
                <a:cubicBezTo>
                  <a:pt x="46" y="6"/>
                  <a:pt x="46" y="6"/>
                  <a:pt x="46" y="6"/>
                </a:cubicBezTo>
                <a:cubicBezTo>
                  <a:pt x="46" y="7"/>
                  <a:pt x="46" y="7"/>
                  <a:pt x="46" y="7"/>
                </a:cubicBezTo>
                <a:cubicBezTo>
                  <a:pt x="48" y="6"/>
                  <a:pt x="48" y="6"/>
                  <a:pt x="48" y="6"/>
                </a:cubicBezTo>
                <a:cubicBezTo>
                  <a:pt x="50" y="7"/>
                  <a:pt x="50" y="7"/>
                  <a:pt x="50" y="7"/>
                </a:cubicBezTo>
                <a:cubicBezTo>
                  <a:pt x="51" y="9"/>
                  <a:pt x="51" y="9"/>
                  <a:pt x="51" y="9"/>
                </a:cubicBezTo>
                <a:cubicBezTo>
                  <a:pt x="53" y="8"/>
                  <a:pt x="53" y="8"/>
                  <a:pt x="53" y="8"/>
                </a:cubicBezTo>
                <a:cubicBezTo>
                  <a:pt x="54" y="10"/>
                  <a:pt x="54" y="10"/>
                  <a:pt x="54" y="10"/>
                </a:cubicBezTo>
                <a:cubicBezTo>
                  <a:pt x="56" y="9"/>
                  <a:pt x="56" y="9"/>
                  <a:pt x="56" y="9"/>
                </a:cubicBezTo>
                <a:cubicBezTo>
                  <a:pt x="57" y="10"/>
                  <a:pt x="57" y="10"/>
                  <a:pt x="57" y="10"/>
                </a:cubicBezTo>
                <a:cubicBezTo>
                  <a:pt x="58" y="9"/>
                  <a:pt x="58" y="9"/>
                  <a:pt x="58" y="9"/>
                </a:cubicBezTo>
                <a:cubicBezTo>
                  <a:pt x="61" y="9"/>
                  <a:pt x="61" y="9"/>
                  <a:pt x="61" y="9"/>
                </a:cubicBezTo>
                <a:cubicBezTo>
                  <a:pt x="62" y="9"/>
                  <a:pt x="62" y="9"/>
                  <a:pt x="62" y="9"/>
                </a:cubicBezTo>
                <a:cubicBezTo>
                  <a:pt x="63" y="9"/>
                  <a:pt x="63" y="9"/>
                  <a:pt x="63" y="9"/>
                </a:cubicBezTo>
                <a:cubicBezTo>
                  <a:pt x="65" y="10"/>
                  <a:pt x="65" y="10"/>
                  <a:pt x="65" y="10"/>
                </a:cubicBezTo>
                <a:cubicBezTo>
                  <a:pt x="68" y="10"/>
                  <a:pt x="68" y="10"/>
                  <a:pt x="68" y="10"/>
                </a:cubicBezTo>
                <a:cubicBezTo>
                  <a:pt x="70" y="11"/>
                  <a:pt x="70" y="11"/>
                  <a:pt x="70" y="11"/>
                </a:cubicBezTo>
                <a:cubicBezTo>
                  <a:pt x="71" y="11"/>
                  <a:pt x="71" y="11"/>
                  <a:pt x="71" y="11"/>
                </a:cubicBezTo>
                <a:cubicBezTo>
                  <a:pt x="71" y="12"/>
                  <a:pt x="71" y="12"/>
                  <a:pt x="71" y="12"/>
                </a:cubicBezTo>
                <a:cubicBezTo>
                  <a:pt x="70" y="13"/>
                  <a:pt x="70" y="13"/>
                  <a:pt x="70" y="13"/>
                </a:cubicBezTo>
                <a:cubicBezTo>
                  <a:pt x="70" y="15"/>
                  <a:pt x="70" y="15"/>
                  <a:pt x="70" y="15"/>
                </a:cubicBezTo>
                <a:cubicBezTo>
                  <a:pt x="70" y="16"/>
                  <a:pt x="70" y="16"/>
                  <a:pt x="70" y="16"/>
                </a:cubicBezTo>
                <a:cubicBezTo>
                  <a:pt x="70" y="17"/>
                  <a:pt x="70" y="17"/>
                  <a:pt x="70" y="17"/>
                </a:cubicBezTo>
                <a:cubicBezTo>
                  <a:pt x="67" y="19"/>
                  <a:pt x="67" y="19"/>
                  <a:pt x="67" y="19"/>
                </a:cubicBezTo>
                <a:cubicBezTo>
                  <a:pt x="67" y="19"/>
                  <a:pt x="66" y="20"/>
                  <a:pt x="66" y="20"/>
                </a:cubicBezTo>
                <a:cubicBezTo>
                  <a:pt x="66" y="20"/>
                  <a:pt x="64" y="21"/>
                  <a:pt x="64" y="21"/>
                </a:cubicBezTo>
                <a:cubicBezTo>
                  <a:pt x="62" y="21"/>
                  <a:pt x="62" y="21"/>
                  <a:pt x="62" y="21"/>
                </a:cubicBezTo>
                <a:cubicBezTo>
                  <a:pt x="60" y="22"/>
                  <a:pt x="60" y="22"/>
                  <a:pt x="60" y="22"/>
                </a:cubicBezTo>
                <a:cubicBezTo>
                  <a:pt x="59" y="23"/>
                  <a:pt x="59" y="23"/>
                  <a:pt x="59" y="23"/>
                </a:cubicBezTo>
                <a:cubicBezTo>
                  <a:pt x="60" y="23"/>
                  <a:pt x="60" y="23"/>
                  <a:pt x="60" y="23"/>
                </a:cubicBezTo>
                <a:cubicBezTo>
                  <a:pt x="59" y="25"/>
                  <a:pt x="59" y="25"/>
                  <a:pt x="59" y="25"/>
                </a:cubicBezTo>
                <a:cubicBezTo>
                  <a:pt x="58" y="25"/>
                  <a:pt x="58" y="25"/>
                  <a:pt x="58" y="25"/>
                </a:cubicBezTo>
                <a:cubicBezTo>
                  <a:pt x="58" y="25"/>
                  <a:pt x="58" y="25"/>
                  <a:pt x="58" y="25"/>
                </a:cubicBezTo>
                <a:cubicBezTo>
                  <a:pt x="58" y="25"/>
                  <a:pt x="58" y="25"/>
                  <a:pt x="58" y="25"/>
                </a:cubicBezTo>
                <a:cubicBezTo>
                  <a:pt x="58" y="25"/>
                  <a:pt x="58" y="25"/>
                  <a:pt x="58" y="25"/>
                </a:cubicBezTo>
                <a:cubicBezTo>
                  <a:pt x="56" y="28"/>
                  <a:pt x="56" y="28"/>
                  <a:pt x="56" y="28"/>
                </a:cubicBezTo>
                <a:cubicBezTo>
                  <a:pt x="55" y="28"/>
                  <a:pt x="55" y="28"/>
                  <a:pt x="55" y="28"/>
                </a:cubicBezTo>
                <a:cubicBezTo>
                  <a:pt x="52" y="32"/>
                  <a:pt x="52" y="32"/>
                  <a:pt x="52" y="32"/>
                </a:cubicBezTo>
                <a:cubicBezTo>
                  <a:pt x="52" y="33"/>
                  <a:pt x="52" y="33"/>
                  <a:pt x="52" y="33"/>
                </a:cubicBezTo>
                <a:cubicBezTo>
                  <a:pt x="53" y="35"/>
                  <a:pt x="53" y="35"/>
                  <a:pt x="53" y="35"/>
                </a:cubicBezTo>
                <a:cubicBezTo>
                  <a:pt x="53" y="36"/>
                  <a:pt x="53" y="36"/>
                  <a:pt x="53" y="36"/>
                </a:cubicBezTo>
                <a:cubicBezTo>
                  <a:pt x="54" y="37"/>
                  <a:pt x="54" y="37"/>
                  <a:pt x="54" y="37"/>
                </a:cubicBezTo>
                <a:cubicBezTo>
                  <a:pt x="55" y="39"/>
                  <a:pt x="55" y="39"/>
                  <a:pt x="55" y="39"/>
                </a:cubicBezTo>
                <a:cubicBezTo>
                  <a:pt x="54" y="40"/>
                  <a:pt x="54" y="40"/>
                  <a:pt x="54" y="40"/>
                </a:cubicBezTo>
                <a:cubicBezTo>
                  <a:pt x="52" y="41"/>
                  <a:pt x="52" y="41"/>
                  <a:pt x="52" y="41"/>
                </a:cubicBezTo>
                <a:cubicBezTo>
                  <a:pt x="52" y="42"/>
                  <a:pt x="52" y="42"/>
                  <a:pt x="52" y="42"/>
                </a:cubicBezTo>
                <a:cubicBezTo>
                  <a:pt x="50" y="45"/>
                  <a:pt x="50" y="45"/>
                  <a:pt x="50" y="45"/>
                </a:cubicBezTo>
                <a:cubicBezTo>
                  <a:pt x="50" y="47"/>
                  <a:pt x="50" y="47"/>
                  <a:pt x="50" y="47"/>
                </a:cubicBezTo>
                <a:cubicBezTo>
                  <a:pt x="50" y="48"/>
                  <a:pt x="50" y="48"/>
                  <a:pt x="50" y="48"/>
                </a:cubicBezTo>
                <a:cubicBezTo>
                  <a:pt x="50" y="48"/>
                  <a:pt x="50" y="48"/>
                  <a:pt x="50" y="48"/>
                </a:cubicBezTo>
                <a:cubicBezTo>
                  <a:pt x="48" y="49"/>
                  <a:pt x="48" y="49"/>
                  <a:pt x="48" y="49"/>
                </a:cubicBezTo>
                <a:cubicBezTo>
                  <a:pt x="44" y="50"/>
                  <a:pt x="44" y="50"/>
                  <a:pt x="44" y="50"/>
                </a:cubicBezTo>
                <a:cubicBezTo>
                  <a:pt x="44" y="52"/>
                  <a:pt x="44" y="52"/>
                  <a:pt x="44" y="52"/>
                </a:cubicBezTo>
                <a:cubicBezTo>
                  <a:pt x="42" y="54"/>
                  <a:pt x="42" y="54"/>
                  <a:pt x="42" y="54"/>
                </a:cubicBezTo>
                <a:cubicBezTo>
                  <a:pt x="41" y="53"/>
                  <a:pt x="41" y="53"/>
                  <a:pt x="41" y="53"/>
                </a:cubicBezTo>
                <a:cubicBezTo>
                  <a:pt x="40" y="52"/>
                  <a:pt x="40" y="52"/>
                  <a:pt x="40" y="52"/>
                </a:cubicBezTo>
                <a:cubicBezTo>
                  <a:pt x="39" y="53"/>
                  <a:pt x="39" y="53"/>
                  <a:pt x="39" y="53"/>
                </a:cubicBezTo>
                <a:cubicBezTo>
                  <a:pt x="38" y="54"/>
                  <a:pt x="38" y="54"/>
                  <a:pt x="38" y="54"/>
                </a:cubicBezTo>
                <a:cubicBezTo>
                  <a:pt x="37" y="53"/>
                  <a:pt x="37" y="53"/>
                  <a:pt x="37" y="53"/>
                </a:cubicBezTo>
                <a:cubicBezTo>
                  <a:pt x="36" y="53"/>
                  <a:pt x="36" y="53"/>
                  <a:pt x="36" y="53"/>
                </a:cubicBezTo>
                <a:cubicBezTo>
                  <a:pt x="36" y="54"/>
                  <a:pt x="36" y="54"/>
                  <a:pt x="36" y="54"/>
                </a:cubicBezTo>
                <a:cubicBezTo>
                  <a:pt x="34" y="54"/>
                  <a:pt x="34" y="54"/>
                  <a:pt x="34" y="54"/>
                </a:cubicBezTo>
                <a:cubicBezTo>
                  <a:pt x="31" y="53"/>
                  <a:pt x="31" y="53"/>
                  <a:pt x="31" y="53"/>
                </a:cubicBezTo>
                <a:cubicBezTo>
                  <a:pt x="30" y="54"/>
                  <a:pt x="30" y="54"/>
                  <a:pt x="30" y="54"/>
                </a:cubicBezTo>
                <a:cubicBezTo>
                  <a:pt x="28" y="54"/>
                  <a:pt x="28" y="54"/>
                  <a:pt x="28" y="54"/>
                </a:cubicBezTo>
                <a:cubicBezTo>
                  <a:pt x="26" y="56"/>
                  <a:pt x="26" y="56"/>
                  <a:pt x="26" y="56"/>
                </a:cubicBezTo>
                <a:cubicBezTo>
                  <a:pt x="24" y="56"/>
                  <a:pt x="24" y="56"/>
                  <a:pt x="24" y="56"/>
                </a:cubicBezTo>
                <a:cubicBezTo>
                  <a:pt x="23" y="57"/>
                  <a:pt x="23" y="57"/>
                  <a:pt x="23" y="57"/>
                </a:cubicBezTo>
                <a:cubicBezTo>
                  <a:pt x="23" y="58"/>
                  <a:pt x="23" y="58"/>
                  <a:pt x="23" y="58"/>
                </a:cubicBezTo>
                <a:cubicBezTo>
                  <a:pt x="21" y="59"/>
                  <a:pt x="21" y="59"/>
                  <a:pt x="21" y="59"/>
                </a:cubicBezTo>
                <a:cubicBezTo>
                  <a:pt x="19" y="59"/>
                  <a:pt x="19" y="59"/>
                  <a:pt x="19" y="59"/>
                </a:cubicBezTo>
                <a:cubicBezTo>
                  <a:pt x="17" y="57"/>
                  <a:pt x="17" y="57"/>
                  <a:pt x="17" y="57"/>
                </a:cubicBezTo>
                <a:cubicBezTo>
                  <a:pt x="16" y="54"/>
                  <a:pt x="16" y="54"/>
                  <a:pt x="16" y="54"/>
                </a:cubicBezTo>
                <a:cubicBezTo>
                  <a:pt x="16" y="53"/>
                  <a:pt x="16" y="53"/>
                  <a:pt x="16" y="53"/>
                </a:cubicBezTo>
                <a:cubicBezTo>
                  <a:pt x="13" y="51"/>
                  <a:pt x="13" y="51"/>
                  <a:pt x="13" y="51"/>
                </a:cubicBezTo>
                <a:cubicBezTo>
                  <a:pt x="12" y="51"/>
                  <a:pt x="12" y="51"/>
                  <a:pt x="12" y="51"/>
                </a:cubicBezTo>
                <a:cubicBezTo>
                  <a:pt x="11" y="50"/>
                  <a:pt x="11" y="50"/>
                  <a:pt x="11" y="50"/>
                </a:cubicBezTo>
                <a:cubicBezTo>
                  <a:pt x="10" y="49"/>
                  <a:pt x="10" y="49"/>
                  <a:pt x="10" y="49"/>
                </a:cubicBezTo>
                <a:cubicBezTo>
                  <a:pt x="10" y="47"/>
                  <a:pt x="10" y="47"/>
                  <a:pt x="10" y="47"/>
                </a:cubicBezTo>
                <a:cubicBezTo>
                  <a:pt x="11" y="45"/>
                  <a:pt x="11" y="45"/>
                  <a:pt x="11" y="45"/>
                </a:cubicBezTo>
                <a:cubicBezTo>
                  <a:pt x="13" y="43"/>
                  <a:pt x="13" y="43"/>
                  <a:pt x="13" y="43"/>
                </a:cubicBezTo>
                <a:cubicBezTo>
                  <a:pt x="13" y="42"/>
                  <a:pt x="13" y="42"/>
                  <a:pt x="13" y="42"/>
                </a:cubicBezTo>
                <a:cubicBezTo>
                  <a:pt x="11" y="42"/>
                  <a:pt x="11" y="42"/>
                  <a:pt x="11" y="42"/>
                </a:cubicBezTo>
                <a:cubicBezTo>
                  <a:pt x="10" y="40"/>
                  <a:pt x="10" y="40"/>
                  <a:pt x="10" y="40"/>
                </a:cubicBezTo>
                <a:cubicBezTo>
                  <a:pt x="12" y="38"/>
                  <a:pt x="12" y="38"/>
                  <a:pt x="12" y="38"/>
                </a:cubicBezTo>
                <a:cubicBezTo>
                  <a:pt x="12" y="36"/>
                  <a:pt x="12" y="36"/>
                  <a:pt x="12" y="36"/>
                </a:cubicBezTo>
                <a:cubicBezTo>
                  <a:pt x="11" y="35"/>
                  <a:pt x="11" y="35"/>
                  <a:pt x="11" y="35"/>
                </a:cubicBezTo>
                <a:cubicBezTo>
                  <a:pt x="9" y="32"/>
                  <a:pt x="9" y="32"/>
                  <a:pt x="9" y="32"/>
                </a:cubicBezTo>
                <a:cubicBezTo>
                  <a:pt x="11" y="31"/>
                  <a:pt x="11" y="31"/>
                  <a:pt x="11" y="31"/>
                </a:cubicBezTo>
                <a:cubicBezTo>
                  <a:pt x="12" y="32"/>
                  <a:pt x="12" y="32"/>
                  <a:pt x="12" y="32"/>
                </a:cubicBezTo>
                <a:cubicBezTo>
                  <a:pt x="14" y="29"/>
                  <a:pt x="14" y="29"/>
                  <a:pt x="14" y="29"/>
                </a:cubicBezTo>
                <a:cubicBezTo>
                  <a:pt x="12" y="28"/>
                  <a:pt x="12" y="28"/>
                  <a:pt x="12" y="28"/>
                </a:cubicBezTo>
                <a:cubicBezTo>
                  <a:pt x="14" y="27"/>
                  <a:pt x="14" y="27"/>
                  <a:pt x="14" y="27"/>
                </a:cubicBezTo>
                <a:cubicBezTo>
                  <a:pt x="14" y="23"/>
                  <a:pt x="14" y="23"/>
                  <a:pt x="14" y="23"/>
                </a:cubicBezTo>
                <a:cubicBezTo>
                  <a:pt x="14" y="21"/>
                  <a:pt x="14" y="21"/>
                  <a:pt x="14" y="21"/>
                </a:cubicBezTo>
                <a:cubicBezTo>
                  <a:pt x="16" y="19"/>
                  <a:pt x="16" y="19"/>
                  <a:pt x="16" y="19"/>
                </a:cubicBezTo>
                <a:cubicBezTo>
                  <a:pt x="17" y="19"/>
                  <a:pt x="17" y="19"/>
                  <a:pt x="17" y="19"/>
                </a:cubicBezTo>
                <a:cubicBezTo>
                  <a:pt x="17" y="18"/>
                  <a:pt x="17" y="18"/>
                  <a:pt x="17" y="18"/>
                </a:cubicBezTo>
                <a:cubicBezTo>
                  <a:pt x="16" y="16"/>
                  <a:pt x="16" y="16"/>
                  <a:pt x="16" y="16"/>
                </a:cubicBezTo>
                <a:cubicBezTo>
                  <a:pt x="16" y="14"/>
                  <a:pt x="16" y="14"/>
                  <a:pt x="16" y="14"/>
                </a:cubicBezTo>
                <a:cubicBezTo>
                  <a:pt x="13" y="14"/>
                  <a:pt x="13" y="14"/>
                  <a:pt x="13" y="14"/>
                </a:cubicBezTo>
                <a:cubicBezTo>
                  <a:pt x="12" y="15"/>
                  <a:pt x="12" y="15"/>
                  <a:pt x="12" y="15"/>
                </a:cubicBezTo>
                <a:cubicBezTo>
                  <a:pt x="8" y="14"/>
                  <a:pt x="8" y="14"/>
                  <a:pt x="8" y="14"/>
                </a:cubicBezTo>
                <a:cubicBezTo>
                  <a:pt x="6" y="16"/>
                  <a:pt x="6" y="16"/>
                  <a:pt x="6" y="16"/>
                </a:cubicBezTo>
                <a:cubicBezTo>
                  <a:pt x="6" y="15"/>
                  <a:pt x="6" y="15"/>
                  <a:pt x="6" y="15"/>
                </a:cubicBezTo>
                <a:cubicBezTo>
                  <a:pt x="6" y="13"/>
                  <a:pt x="6" y="13"/>
                  <a:pt x="6" y="13"/>
                </a:cubicBezTo>
                <a:cubicBezTo>
                  <a:pt x="5" y="13"/>
                  <a:pt x="5" y="13"/>
                  <a:pt x="5" y="13"/>
                </a:cubicBezTo>
                <a:cubicBezTo>
                  <a:pt x="2" y="13"/>
                  <a:pt x="2" y="13"/>
                  <a:pt x="2" y="13"/>
                </a:cubicBezTo>
                <a:cubicBezTo>
                  <a:pt x="2" y="13"/>
                  <a:pt x="2" y="13"/>
                  <a:pt x="2" y="13"/>
                </a:cubicBezTo>
                <a:cubicBezTo>
                  <a:pt x="3" y="12"/>
                  <a:pt x="3" y="12"/>
                  <a:pt x="3" y="12"/>
                </a:cubicBezTo>
                <a:cubicBezTo>
                  <a:pt x="2" y="12"/>
                  <a:pt x="2" y="12"/>
                  <a:pt x="2" y="12"/>
                </a:cubicBezTo>
                <a:cubicBezTo>
                  <a:pt x="3" y="11"/>
                  <a:pt x="3" y="11"/>
                  <a:pt x="3" y="11"/>
                </a:cubicBezTo>
                <a:cubicBezTo>
                  <a:pt x="3" y="10"/>
                  <a:pt x="3" y="10"/>
                  <a:pt x="3" y="10"/>
                </a:cubicBezTo>
                <a:cubicBezTo>
                  <a:pt x="3" y="9"/>
                  <a:pt x="3" y="9"/>
                  <a:pt x="3" y="9"/>
                </a:cubicBezTo>
                <a:cubicBezTo>
                  <a:pt x="2" y="10"/>
                  <a:pt x="2" y="10"/>
                  <a:pt x="2" y="10"/>
                </a:cubicBezTo>
                <a:cubicBezTo>
                  <a:pt x="1" y="10"/>
                  <a:pt x="1" y="10"/>
                  <a:pt x="1" y="10"/>
                </a:cubicBezTo>
                <a:cubicBezTo>
                  <a:pt x="2" y="8"/>
                  <a:pt x="2" y="8"/>
                  <a:pt x="2" y="8"/>
                </a:cubicBezTo>
                <a:cubicBezTo>
                  <a:pt x="1" y="8"/>
                  <a:pt x="1" y="8"/>
                  <a:pt x="1" y="8"/>
                </a:cubicBezTo>
                <a:cubicBezTo>
                  <a:pt x="1" y="7"/>
                  <a:pt x="1" y="7"/>
                  <a:pt x="1" y="7"/>
                </a:cubicBezTo>
                <a:cubicBezTo>
                  <a:pt x="0" y="7"/>
                  <a:pt x="0" y="7"/>
                  <a:pt x="0" y="7"/>
                </a:cubicBezTo>
                <a:cubicBezTo>
                  <a:pt x="0" y="6"/>
                  <a:pt x="0" y="6"/>
                  <a:pt x="0" y="6"/>
                </a:cubicBezTo>
                <a:cubicBezTo>
                  <a:pt x="1" y="5"/>
                  <a:pt x="1" y="5"/>
                  <a:pt x="1" y="5"/>
                </a:cubicBezTo>
                <a:cubicBezTo>
                  <a:pt x="3" y="4"/>
                  <a:pt x="3" y="4"/>
                  <a:pt x="3" y="4"/>
                </a:cubicBezTo>
                <a:cubicBezTo>
                  <a:pt x="4" y="4"/>
                  <a:pt x="4" y="4"/>
                  <a:pt x="4" y="4"/>
                </a:cubicBezTo>
                <a:cubicBezTo>
                  <a:pt x="6" y="4"/>
                  <a:pt x="6" y="4"/>
                  <a:pt x="6" y="4"/>
                </a:cubicBezTo>
                <a:cubicBezTo>
                  <a:pt x="7" y="3"/>
                  <a:pt x="7" y="3"/>
                  <a:pt x="7" y="3"/>
                </a:cubicBezTo>
                <a:cubicBezTo>
                  <a:pt x="6" y="3"/>
                  <a:pt x="6" y="3"/>
                  <a:pt x="6" y="3"/>
                </a:cubicBezTo>
                <a:cubicBezTo>
                  <a:pt x="6" y="2"/>
                  <a:pt x="6" y="2"/>
                  <a:pt x="6" y="2"/>
                </a:cubicBezTo>
                <a:cubicBezTo>
                  <a:pt x="8" y="1"/>
                  <a:pt x="8" y="1"/>
                  <a:pt x="8" y="1"/>
                </a:cubicBezTo>
                <a:cubicBezTo>
                  <a:pt x="8" y="1"/>
                  <a:pt x="8" y="1"/>
                  <a:pt x="8" y="1"/>
                </a:cubicBezTo>
                <a:cubicBezTo>
                  <a:pt x="9" y="0"/>
                  <a:pt x="9" y="0"/>
                  <a:pt x="9" y="0"/>
                </a:cubicBezTo>
                <a:cubicBezTo>
                  <a:pt x="11" y="1"/>
                  <a:pt x="11" y="1"/>
                  <a:pt x="11" y="1"/>
                </a:cubicBezTo>
                <a:cubicBezTo>
                  <a:pt x="12" y="2"/>
                  <a:pt x="12" y="2"/>
                  <a:pt x="12" y="2"/>
                </a:cubicBezTo>
                <a:cubicBezTo>
                  <a:pt x="13" y="1"/>
                  <a:pt x="13" y="1"/>
                  <a:pt x="13" y="1"/>
                </a:cubicBezTo>
                <a:cubicBezTo>
                  <a:pt x="15" y="1"/>
                  <a:pt x="15" y="1"/>
                  <a:pt x="15" y="1"/>
                </a:cubicBezTo>
                <a:cubicBezTo>
                  <a:pt x="16" y="2"/>
                  <a:pt x="16" y="2"/>
                  <a:pt x="16" y="2"/>
                </a:cubicBezTo>
                <a:cubicBezTo>
                  <a:pt x="18" y="1"/>
                  <a:pt x="18" y="1"/>
                  <a:pt x="18" y="1"/>
                </a:cubicBezTo>
                <a:cubicBezTo>
                  <a:pt x="20" y="1"/>
                  <a:pt x="20" y="1"/>
                  <a:pt x="20" y="1"/>
                </a:cubicBezTo>
                <a:cubicBezTo>
                  <a:pt x="20" y="1"/>
                  <a:pt x="20" y="1"/>
                  <a:pt x="20" y="1"/>
                </a:cubicBezTo>
                <a:cubicBezTo>
                  <a:pt x="22" y="2"/>
                  <a:pt x="22" y="2"/>
                  <a:pt x="22" y="2"/>
                </a:cubicBezTo>
                <a:cubicBezTo>
                  <a:pt x="26" y="3"/>
                  <a:pt x="26" y="3"/>
                  <a:pt x="26" y="3"/>
                </a:cubicBezTo>
                <a:cubicBezTo>
                  <a:pt x="28" y="3"/>
                  <a:pt x="28" y="3"/>
                  <a:pt x="28" y="3"/>
                </a:cubicBezTo>
                <a:cubicBezTo>
                  <a:pt x="31" y="2"/>
                  <a:pt x="31" y="2"/>
                  <a:pt x="31" y="2"/>
                </a:cubicBezTo>
                <a:cubicBezTo>
                  <a:pt x="34" y="2"/>
                  <a:pt x="34" y="2"/>
                  <a:pt x="34" y="2"/>
                </a:cubicBezTo>
                <a:cubicBezTo>
                  <a:pt x="34" y="3"/>
                  <a:pt x="34" y="3"/>
                  <a:pt x="34" y="3"/>
                </a:cubicBezTo>
                <a:cubicBezTo>
                  <a:pt x="36" y="4"/>
                  <a:pt x="36" y="4"/>
                  <a:pt x="36" y="4"/>
                </a:cubicBezTo>
                <a:cubicBezTo>
                  <a:pt x="37" y="3"/>
                  <a:pt x="37" y="3"/>
                  <a:pt x="37" y="3"/>
                </a:cubicBezTo>
                <a:cubicBezTo>
                  <a:pt x="39" y="3"/>
                  <a:pt x="39" y="3"/>
                  <a:pt x="39" y="3"/>
                </a:cubicBezTo>
                <a:cubicBezTo>
                  <a:pt x="42" y="5"/>
                  <a:pt x="42" y="5"/>
                  <a:pt x="42" y="5"/>
                </a:cubicBezTo>
                <a:cubicBezTo>
                  <a:pt x="42" y="4"/>
                  <a:pt x="42" y="4"/>
                  <a:pt x="42" y="4"/>
                </a:cubicBezTo>
                <a:cubicBezTo>
                  <a:pt x="43" y="4"/>
                  <a:pt x="43" y="4"/>
                  <a:pt x="43" y="4"/>
                </a:cubicBezTo>
                <a:cubicBezTo>
                  <a:pt x="44" y="3"/>
                  <a:pt x="44" y="3"/>
                  <a:pt x="44" y="3"/>
                </a:cubicBezTo>
                <a:close/>
                <a:moveTo>
                  <a:pt x="74" y="31"/>
                </a:moveTo>
                <a:cubicBezTo>
                  <a:pt x="76" y="31"/>
                  <a:pt x="76" y="31"/>
                  <a:pt x="76" y="31"/>
                </a:cubicBezTo>
                <a:cubicBezTo>
                  <a:pt x="77" y="31"/>
                  <a:pt x="77" y="31"/>
                  <a:pt x="77" y="31"/>
                </a:cubicBezTo>
                <a:cubicBezTo>
                  <a:pt x="78" y="31"/>
                  <a:pt x="78" y="31"/>
                  <a:pt x="78" y="31"/>
                </a:cubicBezTo>
                <a:cubicBezTo>
                  <a:pt x="76" y="30"/>
                  <a:pt x="76" y="30"/>
                  <a:pt x="76" y="30"/>
                </a:cubicBezTo>
                <a:cubicBezTo>
                  <a:pt x="74" y="30"/>
                  <a:pt x="74" y="30"/>
                  <a:pt x="74" y="30"/>
                </a:cubicBezTo>
                <a:cubicBezTo>
                  <a:pt x="74" y="31"/>
                  <a:pt x="74" y="31"/>
                  <a:pt x="74" y="31"/>
                </a:cubicBezTo>
                <a:close/>
                <a:moveTo>
                  <a:pt x="71" y="35"/>
                </a:moveTo>
                <a:cubicBezTo>
                  <a:pt x="71" y="33"/>
                  <a:pt x="71" y="33"/>
                  <a:pt x="71" y="33"/>
                </a:cubicBezTo>
                <a:cubicBezTo>
                  <a:pt x="73" y="32"/>
                  <a:pt x="73" y="32"/>
                  <a:pt x="73" y="32"/>
                </a:cubicBezTo>
                <a:cubicBezTo>
                  <a:pt x="71" y="32"/>
                  <a:pt x="71" y="32"/>
                  <a:pt x="71" y="32"/>
                </a:cubicBezTo>
                <a:cubicBezTo>
                  <a:pt x="70" y="32"/>
                  <a:pt x="70" y="32"/>
                  <a:pt x="70" y="32"/>
                </a:cubicBezTo>
                <a:cubicBezTo>
                  <a:pt x="69" y="33"/>
                  <a:pt x="69" y="33"/>
                  <a:pt x="69" y="33"/>
                </a:cubicBezTo>
                <a:cubicBezTo>
                  <a:pt x="68" y="34"/>
                  <a:pt x="68" y="34"/>
                  <a:pt x="68" y="34"/>
                </a:cubicBezTo>
                <a:cubicBezTo>
                  <a:pt x="70" y="34"/>
                  <a:pt x="70" y="34"/>
                  <a:pt x="70" y="34"/>
                </a:cubicBezTo>
                <a:cubicBezTo>
                  <a:pt x="71" y="35"/>
                  <a:pt x="71" y="35"/>
                  <a:pt x="71" y="35"/>
                </a:cubicBezTo>
                <a:close/>
                <a:moveTo>
                  <a:pt x="63" y="39"/>
                </a:moveTo>
                <a:cubicBezTo>
                  <a:pt x="64" y="38"/>
                  <a:pt x="64" y="38"/>
                  <a:pt x="64" y="38"/>
                </a:cubicBezTo>
                <a:cubicBezTo>
                  <a:pt x="64" y="37"/>
                  <a:pt x="64" y="37"/>
                  <a:pt x="64" y="37"/>
                </a:cubicBezTo>
                <a:cubicBezTo>
                  <a:pt x="64" y="37"/>
                  <a:pt x="64" y="37"/>
                  <a:pt x="64" y="37"/>
                </a:cubicBezTo>
                <a:cubicBezTo>
                  <a:pt x="62" y="37"/>
                  <a:pt x="62" y="37"/>
                  <a:pt x="62" y="37"/>
                </a:cubicBezTo>
                <a:cubicBezTo>
                  <a:pt x="62" y="38"/>
                  <a:pt x="62" y="38"/>
                  <a:pt x="62" y="38"/>
                </a:cubicBezTo>
                <a:lnTo>
                  <a:pt x="63" y="3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1" name="Freeform 79">
            <a:extLst>
              <a:ext uri="{FF2B5EF4-FFF2-40B4-BE49-F238E27FC236}">
                <a16:creationId xmlns:a16="http://schemas.microsoft.com/office/drawing/2014/main" id="{0C2E9019-2DB8-DB83-A415-165CE5E5A2E3}"/>
              </a:ext>
            </a:extLst>
          </p:cNvPr>
          <p:cNvSpPr>
            <a:spLocks/>
          </p:cNvSpPr>
          <p:nvPr userDrawn="1"/>
        </p:nvSpPr>
        <p:spPr bwMode="auto">
          <a:xfrm>
            <a:off x="12613454" y="6565181"/>
            <a:ext cx="187314" cy="387350"/>
          </a:xfrm>
          <a:custGeom>
            <a:avLst/>
            <a:gdLst>
              <a:gd name="T0" fmla="*/ 37 w 59"/>
              <a:gd name="T1" fmla="*/ 113 h 122"/>
              <a:gd name="T2" fmla="*/ 41 w 59"/>
              <a:gd name="T3" fmla="*/ 100 h 122"/>
              <a:gd name="T4" fmla="*/ 47 w 59"/>
              <a:gd name="T5" fmla="*/ 91 h 122"/>
              <a:gd name="T6" fmla="*/ 37 w 59"/>
              <a:gd name="T7" fmla="*/ 85 h 122"/>
              <a:gd name="T8" fmla="*/ 44 w 59"/>
              <a:gd name="T9" fmla="*/ 72 h 122"/>
              <a:gd name="T10" fmla="*/ 34 w 59"/>
              <a:gd name="T11" fmla="*/ 60 h 122"/>
              <a:gd name="T12" fmla="*/ 44 w 59"/>
              <a:gd name="T13" fmla="*/ 60 h 122"/>
              <a:gd name="T14" fmla="*/ 44 w 59"/>
              <a:gd name="T15" fmla="*/ 47 h 122"/>
              <a:gd name="T16" fmla="*/ 50 w 59"/>
              <a:gd name="T17" fmla="*/ 31 h 122"/>
              <a:gd name="T18" fmla="*/ 56 w 59"/>
              <a:gd name="T19" fmla="*/ 19 h 122"/>
              <a:gd name="T20" fmla="*/ 59 w 59"/>
              <a:gd name="T21" fmla="*/ 16 h 122"/>
              <a:gd name="T22" fmla="*/ 56 w 59"/>
              <a:gd name="T23" fmla="*/ 3 h 122"/>
              <a:gd name="T24" fmla="*/ 44 w 59"/>
              <a:gd name="T25" fmla="*/ 6 h 122"/>
              <a:gd name="T26" fmla="*/ 25 w 59"/>
              <a:gd name="T27" fmla="*/ 10 h 122"/>
              <a:gd name="T28" fmla="*/ 25 w 59"/>
              <a:gd name="T29" fmla="*/ 0 h 122"/>
              <a:gd name="T30" fmla="*/ 12 w 59"/>
              <a:gd name="T31" fmla="*/ 0 h 122"/>
              <a:gd name="T32" fmla="*/ 16 w 59"/>
              <a:gd name="T33" fmla="*/ 13 h 122"/>
              <a:gd name="T34" fmla="*/ 16 w 59"/>
              <a:gd name="T35" fmla="*/ 25 h 122"/>
              <a:gd name="T36" fmla="*/ 16 w 59"/>
              <a:gd name="T37" fmla="*/ 35 h 122"/>
              <a:gd name="T38" fmla="*/ 12 w 59"/>
              <a:gd name="T39" fmla="*/ 44 h 122"/>
              <a:gd name="T40" fmla="*/ 6 w 59"/>
              <a:gd name="T41" fmla="*/ 56 h 122"/>
              <a:gd name="T42" fmla="*/ 3 w 59"/>
              <a:gd name="T43" fmla="*/ 66 h 122"/>
              <a:gd name="T44" fmla="*/ 0 w 59"/>
              <a:gd name="T45" fmla="*/ 81 h 122"/>
              <a:gd name="T46" fmla="*/ 6 w 59"/>
              <a:gd name="T47" fmla="*/ 78 h 122"/>
              <a:gd name="T48" fmla="*/ 9 w 59"/>
              <a:gd name="T49" fmla="*/ 78 h 122"/>
              <a:gd name="T50" fmla="*/ 3 w 59"/>
              <a:gd name="T51" fmla="*/ 85 h 122"/>
              <a:gd name="T52" fmla="*/ 6 w 59"/>
              <a:gd name="T53" fmla="*/ 91 h 122"/>
              <a:gd name="T54" fmla="*/ 12 w 59"/>
              <a:gd name="T55" fmla="*/ 88 h 122"/>
              <a:gd name="T56" fmla="*/ 12 w 59"/>
              <a:gd name="T57" fmla="*/ 94 h 122"/>
              <a:gd name="T58" fmla="*/ 12 w 59"/>
              <a:gd name="T59" fmla="*/ 110 h 122"/>
              <a:gd name="T60" fmla="*/ 9 w 59"/>
              <a:gd name="T61" fmla="*/ 119 h 122"/>
              <a:gd name="T62" fmla="*/ 16 w 59"/>
              <a:gd name="T63" fmla="*/ 116 h 122"/>
              <a:gd name="T64" fmla="*/ 28 w 59"/>
              <a:gd name="T65" fmla="*/ 122 h 122"/>
              <a:gd name="T66" fmla="*/ 37 w 59"/>
              <a:gd name="T67" fmla="*/ 119 h 122"/>
              <a:gd name="T68" fmla="*/ 41 w 59"/>
              <a:gd name="T69" fmla="*/ 11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122">
                <a:moveTo>
                  <a:pt x="41" y="116"/>
                </a:moveTo>
                <a:lnTo>
                  <a:pt x="37" y="113"/>
                </a:lnTo>
                <a:lnTo>
                  <a:pt x="37" y="107"/>
                </a:lnTo>
                <a:lnTo>
                  <a:pt x="41" y="100"/>
                </a:lnTo>
                <a:lnTo>
                  <a:pt x="47" y="94"/>
                </a:lnTo>
                <a:lnTo>
                  <a:pt x="47" y="91"/>
                </a:lnTo>
                <a:lnTo>
                  <a:pt x="41" y="91"/>
                </a:lnTo>
                <a:lnTo>
                  <a:pt x="37" y="85"/>
                </a:lnTo>
                <a:lnTo>
                  <a:pt x="44" y="78"/>
                </a:lnTo>
                <a:lnTo>
                  <a:pt x="44" y="72"/>
                </a:lnTo>
                <a:lnTo>
                  <a:pt x="41" y="69"/>
                </a:lnTo>
                <a:lnTo>
                  <a:pt x="34" y="60"/>
                </a:lnTo>
                <a:lnTo>
                  <a:pt x="41" y="56"/>
                </a:lnTo>
                <a:lnTo>
                  <a:pt x="44" y="60"/>
                </a:lnTo>
                <a:lnTo>
                  <a:pt x="50" y="50"/>
                </a:lnTo>
                <a:lnTo>
                  <a:pt x="44" y="47"/>
                </a:lnTo>
                <a:lnTo>
                  <a:pt x="50" y="44"/>
                </a:lnTo>
                <a:lnTo>
                  <a:pt x="50" y="31"/>
                </a:lnTo>
                <a:lnTo>
                  <a:pt x="50" y="25"/>
                </a:lnTo>
                <a:lnTo>
                  <a:pt x="56" y="19"/>
                </a:lnTo>
                <a:lnTo>
                  <a:pt x="59" y="19"/>
                </a:lnTo>
                <a:lnTo>
                  <a:pt x="59" y="16"/>
                </a:lnTo>
                <a:lnTo>
                  <a:pt x="56" y="10"/>
                </a:lnTo>
                <a:lnTo>
                  <a:pt x="56" y="3"/>
                </a:lnTo>
                <a:lnTo>
                  <a:pt x="47" y="3"/>
                </a:lnTo>
                <a:lnTo>
                  <a:pt x="44" y="6"/>
                </a:lnTo>
                <a:lnTo>
                  <a:pt x="31" y="3"/>
                </a:lnTo>
                <a:lnTo>
                  <a:pt x="25" y="10"/>
                </a:lnTo>
                <a:lnTo>
                  <a:pt x="25" y="6"/>
                </a:lnTo>
                <a:lnTo>
                  <a:pt x="25" y="0"/>
                </a:lnTo>
                <a:lnTo>
                  <a:pt x="22" y="0"/>
                </a:lnTo>
                <a:lnTo>
                  <a:pt x="12" y="0"/>
                </a:lnTo>
                <a:lnTo>
                  <a:pt x="12" y="6"/>
                </a:lnTo>
                <a:lnTo>
                  <a:pt x="16" y="13"/>
                </a:lnTo>
                <a:lnTo>
                  <a:pt x="16" y="25"/>
                </a:lnTo>
                <a:lnTo>
                  <a:pt x="16" y="25"/>
                </a:lnTo>
                <a:lnTo>
                  <a:pt x="12" y="31"/>
                </a:lnTo>
                <a:lnTo>
                  <a:pt x="16" y="35"/>
                </a:lnTo>
                <a:lnTo>
                  <a:pt x="16" y="38"/>
                </a:lnTo>
                <a:lnTo>
                  <a:pt x="12" y="44"/>
                </a:lnTo>
                <a:lnTo>
                  <a:pt x="12" y="50"/>
                </a:lnTo>
                <a:lnTo>
                  <a:pt x="6" y="56"/>
                </a:lnTo>
                <a:lnTo>
                  <a:pt x="6" y="60"/>
                </a:lnTo>
                <a:lnTo>
                  <a:pt x="3" y="66"/>
                </a:lnTo>
                <a:lnTo>
                  <a:pt x="0" y="78"/>
                </a:lnTo>
                <a:lnTo>
                  <a:pt x="0" y="81"/>
                </a:lnTo>
                <a:lnTo>
                  <a:pt x="3" y="81"/>
                </a:lnTo>
                <a:lnTo>
                  <a:pt x="6" y="78"/>
                </a:lnTo>
                <a:lnTo>
                  <a:pt x="9" y="75"/>
                </a:lnTo>
                <a:lnTo>
                  <a:pt x="9" y="78"/>
                </a:lnTo>
                <a:lnTo>
                  <a:pt x="9" y="81"/>
                </a:lnTo>
                <a:lnTo>
                  <a:pt x="3" y="85"/>
                </a:lnTo>
                <a:lnTo>
                  <a:pt x="3" y="88"/>
                </a:lnTo>
                <a:lnTo>
                  <a:pt x="6" y="91"/>
                </a:lnTo>
                <a:lnTo>
                  <a:pt x="9" y="88"/>
                </a:lnTo>
                <a:lnTo>
                  <a:pt x="12" y="88"/>
                </a:lnTo>
                <a:lnTo>
                  <a:pt x="12" y="91"/>
                </a:lnTo>
                <a:lnTo>
                  <a:pt x="12" y="94"/>
                </a:lnTo>
                <a:lnTo>
                  <a:pt x="12" y="100"/>
                </a:lnTo>
                <a:lnTo>
                  <a:pt x="12" y="110"/>
                </a:lnTo>
                <a:lnTo>
                  <a:pt x="9" y="116"/>
                </a:lnTo>
                <a:lnTo>
                  <a:pt x="9" y="119"/>
                </a:lnTo>
                <a:lnTo>
                  <a:pt x="9" y="119"/>
                </a:lnTo>
                <a:lnTo>
                  <a:pt x="16" y="116"/>
                </a:lnTo>
                <a:lnTo>
                  <a:pt x="22" y="119"/>
                </a:lnTo>
                <a:lnTo>
                  <a:pt x="28" y="122"/>
                </a:lnTo>
                <a:lnTo>
                  <a:pt x="34" y="119"/>
                </a:lnTo>
                <a:lnTo>
                  <a:pt x="37" y="119"/>
                </a:lnTo>
                <a:lnTo>
                  <a:pt x="37" y="116"/>
                </a:lnTo>
                <a:lnTo>
                  <a:pt x="41" y="11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2" name="Freeform 80">
            <a:extLst>
              <a:ext uri="{FF2B5EF4-FFF2-40B4-BE49-F238E27FC236}">
                <a16:creationId xmlns:a16="http://schemas.microsoft.com/office/drawing/2014/main" id="{CA301A15-4F2F-F086-955C-468CB385F47F}"/>
              </a:ext>
            </a:extLst>
          </p:cNvPr>
          <p:cNvSpPr>
            <a:spLocks noEditPoints="1"/>
          </p:cNvSpPr>
          <p:nvPr userDrawn="1"/>
        </p:nvSpPr>
        <p:spPr bwMode="auto">
          <a:xfrm>
            <a:off x="14308789" y="6574707"/>
            <a:ext cx="536541" cy="527050"/>
          </a:xfrm>
          <a:custGeom>
            <a:avLst/>
            <a:gdLst>
              <a:gd name="T0" fmla="*/ 33 w 54"/>
              <a:gd name="T1" fmla="*/ 5 h 53"/>
              <a:gd name="T2" fmla="*/ 22 w 54"/>
              <a:gd name="T3" fmla="*/ 5 h 53"/>
              <a:gd name="T4" fmla="*/ 9 w 54"/>
              <a:gd name="T5" fmla="*/ 10 h 53"/>
              <a:gd name="T6" fmla="*/ 6 w 54"/>
              <a:gd name="T7" fmla="*/ 22 h 53"/>
              <a:gd name="T8" fmla="*/ 14 w 54"/>
              <a:gd name="T9" fmla="*/ 29 h 53"/>
              <a:gd name="T10" fmla="*/ 20 w 54"/>
              <a:gd name="T11" fmla="*/ 31 h 53"/>
              <a:gd name="T12" fmla="*/ 10 w 54"/>
              <a:gd name="T13" fmla="*/ 31 h 53"/>
              <a:gd name="T14" fmla="*/ 16 w 54"/>
              <a:gd name="T15" fmla="*/ 40 h 53"/>
              <a:gd name="T16" fmla="*/ 19 w 54"/>
              <a:gd name="T17" fmla="*/ 41 h 53"/>
              <a:gd name="T18" fmla="*/ 20 w 54"/>
              <a:gd name="T19" fmla="*/ 35 h 53"/>
              <a:gd name="T20" fmla="*/ 24 w 54"/>
              <a:gd name="T21" fmla="*/ 35 h 53"/>
              <a:gd name="T22" fmla="*/ 26 w 54"/>
              <a:gd name="T23" fmla="*/ 32 h 53"/>
              <a:gd name="T24" fmla="*/ 22 w 54"/>
              <a:gd name="T25" fmla="*/ 26 h 53"/>
              <a:gd name="T26" fmla="*/ 20 w 54"/>
              <a:gd name="T27" fmla="*/ 21 h 53"/>
              <a:gd name="T28" fmla="*/ 20 w 54"/>
              <a:gd name="T29" fmla="*/ 18 h 53"/>
              <a:gd name="T30" fmla="*/ 19 w 54"/>
              <a:gd name="T31" fmla="*/ 12 h 53"/>
              <a:gd name="T32" fmla="*/ 24 w 54"/>
              <a:gd name="T33" fmla="*/ 14 h 53"/>
              <a:gd name="T34" fmla="*/ 28 w 54"/>
              <a:gd name="T35" fmla="*/ 13 h 53"/>
              <a:gd name="T36" fmla="*/ 30 w 54"/>
              <a:gd name="T37" fmla="*/ 9 h 53"/>
              <a:gd name="T38" fmla="*/ 40 w 54"/>
              <a:gd name="T39" fmla="*/ 7 h 53"/>
              <a:gd name="T40" fmla="*/ 26 w 54"/>
              <a:gd name="T41" fmla="*/ 50 h 53"/>
              <a:gd name="T42" fmla="*/ 35 w 54"/>
              <a:gd name="T43" fmla="*/ 53 h 53"/>
              <a:gd name="T44" fmla="*/ 42 w 54"/>
              <a:gd name="T45" fmla="*/ 50 h 53"/>
              <a:gd name="T46" fmla="*/ 37 w 54"/>
              <a:gd name="T47" fmla="*/ 49 h 53"/>
              <a:gd name="T48" fmla="*/ 29 w 54"/>
              <a:gd name="T49" fmla="*/ 48 h 53"/>
              <a:gd name="T50" fmla="*/ 27 w 54"/>
              <a:gd name="T51" fmla="*/ 49 h 53"/>
              <a:gd name="T52" fmla="*/ 1 w 54"/>
              <a:gd name="T53" fmla="*/ 19 h 53"/>
              <a:gd name="T54" fmla="*/ 7 w 54"/>
              <a:gd name="T55" fmla="*/ 25 h 53"/>
              <a:gd name="T56" fmla="*/ 7 w 54"/>
              <a:gd name="T57" fmla="*/ 29 h 53"/>
              <a:gd name="T58" fmla="*/ 6 w 54"/>
              <a:gd name="T59" fmla="*/ 30 h 53"/>
              <a:gd name="T60" fmla="*/ 8 w 54"/>
              <a:gd name="T61" fmla="*/ 34 h 53"/>
              <a:gd name="T62" fmla="*/ 48 w 54"/>
              <a:gd name="T63" fmla="*/ 46 h 53"/>
              <a:gd name="T64" fmla="*/ 48 w 54"/>
              <a:gd name="T65" fmla="*/ 50 h 53"/>
              <a:gd name="T66" fmla="*/ 54 w 54"/>
              <a:gd name="T67" fmla="*/ 42 h 53"/>
              <a:gd name="T68" fmla="*/ 51 w 54"/>
              <a:gd name="T69" fmla="*/ 46 h 53"/>
              <a:gd name="T70" fmla="*/ 43 w 54"/>
              <a:gd name="T71" fmla="*/ 32 h 53"/>
              <a:gd name="T72" fmla="*/ 43 w 54"/>
              <a:gd name="T73" fmla="*/ 33 h 53"/>
              <a:gd name="T74" fmla="*/ 39 w 54"/>
              <a:gd name="T75" fmla="*/ 28 h 53"/>
              <a:gd name="T76" fmla="*/ 38 w 54"/>
              <a:gd name="T77" fmla="*/ 22 h 53"/>
              <a:gd name="T78" fmla="*/ 42 w 54"/>
              <a:gd name="T79" fmla="*/ 23 h 53"/>
              <a:gd name="T80" fmla="*/ 39 w 54"/>
              <a:gd name="T81" fmla="*/ 23 h 53"/>
              <a:gd name="T82" fmla="*/ 33 w 54"/>
              <a:gd name="T83" fmla="*/ 15 h 53"/>
              <a:gd name="T84" fmla="*/ 33 w 54"/>
              <a:gd name="T85" fmla="*/ 16 h 53"/>
              <a:gd name="T86" fmla="*/ 29 w 54"/>
              <a:gd name="T87" fmla="*/ 10 h 53"/>
              <a:gd name="T88" fmla="*/ 23 w 54"/>
              <a:gd name="T89" fmla="*/ 22 h 53"/>
              <a:gd name="T90" fmla="*/ 31 w 54"/>
              <a:gd name="T91" fmla="*/ 25 h 53"/>
              <a:gd name="T92" fmla="*/ 40 w 54"/>
              <a:gd name="T93" fmla="*/ 35 h 53"/>
              <a:gd name="T94" fmla="*/ 31 w 54"/>
              <a:gd name="T95" fmla="*/ 38 h 53"/>
              <a:gd name="T96" fmla="*/ 30 w 54"/>
              <a:gd name="T97" fmla="*/ 34 h 53"/>
              <a:gd name="T98" fmla="*/ 37 w 54"/>
              <a:gd name="T99" fmla="*/ 39 h 53"/>
              <a:gd name="T100" fmla="*/ 37 w 54"/>
              <a:gd name="T101" fmla="*/ 35 h 53"/>
              <a:gd name="T102" fmla="*/ 32 w 54"/>
              <a:gd name="T103" fmla="*/ 32 h 53"/>
              <a:gd name="T104" fmla="*/ 21 w 54"/>
              <a:gd name="T105" fmla="*/ 23 h 53"/>
              <a:gd name="T106" fmla="*/ 29 w 54"/>
              <a:gd name="T107" fmla="*/ 28 h 53"/>
              <a:gd name="T108" fmla="*/ 30 w 54"/>
              <a:gd name="T109" fmla="*/ 32 h 53"/>
              <a:gd name="T110" fmla="*/ 24 w 54"/>
              <a:gd name="T111" fmla="*/ 26 h 53"/>
              <a:gd name="T112" fmla="*/ 22 w 54"/>
              <a:gd name="T113" fmla="*/ 42 h 53"/>
              <a:gd name="T114" fmla="*/ 22 w 54"/>
              <a:gd name="T115" fmla="*/ 4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53">
                <a:moveTo>
                  <a:pt x="41" y="0"/>
                </a:moveTo>
                <a:cubicBezTo>
                  <a:pt x="40" y="0"/>
                  <a:pt x="40" y="0"/>
                  <a:pt x="40" y="0"/>
                </a:cubicBezTo>
                <a:cubicBezTo>
                  <a:pt x="38" y="2"/>
                  <a:pt x="38" y="2"/>
                  <a:pt x="38" y="2"/>
                </a:cubicBezTo>
                <a:cubicBezTo>
                  <a:pt x="38" y="3"/>
                  <a:pt x="38" y="3"/>
                  <a:pt x="38" y="3"/>
                </a:cubicBezTo>
                <a:cubicBezTo>
                  <a:pt x="39" y="4"/>
                  <a:pt x="39" y="4"/>
                  <a:pt x="39" y="4"/>
                </a:cubicBezTo>
                <a:cubicBezTo>
                  <a:pt x="38" y="5"/>
                  <a:pt x="38" y="5"/>
                  <a:pt x="38" y="5"/>
                </a:cubicBezTo>
                <a:cubicBezTo>
                  <a:pt x="35" y="5"/>
                  <a:pt x="35" y="5"/>
                  <a:pt x="35" y="5"/>
                </a:cubicBezTo>
                <a:cubicBezTo>
                  <a:pt x="34" y="5"/>
                  <a:pt x="34" y="5"/>
                  <a:pt x="34" y="5"/>
                </a:cubicBezTo>
                <a:cubicBezTo>
                  <a:pt x="33" y="5"/>
                  <a:pt x="33" y="5"/>
                  <a:pt x="33" y="5"/>
                </a:cubicBezTo>
                <a:cubicBezTo>
                  <a:pt x="32" y="5"/>
                  <a:pt x="32" y="5"/>
                  <a:pt x="32" y="5"/>
                </a:cubicBezTo>
                <a:cubicBezTo>
                  <a:pt x="31" y="5"/>
                  <a:pt x="31" y="5"/>
                  <a:pt x="31" y="5"/>
                </a:cubicBezTo>
                <a:cubicBezTo>
                  <a:pt x="30" y="5"/>
                  <a:pt x="30" y="5"/>
                  <a:pt x="30" y="5"/>
                </a:cubicBezTo>
                <a:cubicBezTo>
                  <a:pt x="30" y="4"/>
                  <a:pt x="30" y="4"/>
                  <a:pt x="30" y="4"/>
                </a:cubicBezTo>
                <a:cubicBezTo>
                  <a:pt x="28" y="4"/>
                  <a:pt x="28" y="4"/>
                  <a:pt x="28" y="4"/>
                </a:cubicBezTo>
                <a:cubicBezTo>
                  <a:pt x="26" y="4"/>
                  <a:pt x="26" y="4"/>
                  <a:pt x="26" y="4"/>
                </a:cubicBezTo>
                <a:cubicBezTo>
                  <a:pt x="25" y="5"/>
                  <a:pt x="25" y="5"/>
                  <a:pt x="25" y="5"/>
                </a:cubicBezTo>
                <a:cubicBezTo>
                  <a:pt x="24" y="5"/>
                  <a:pt x="24" y="5"/>
                  <a:pt x="24" y="5"/>
                </a:cubicBezTo>
                <a:cubicBezTo>
                  <a:pt x="22" y="5"/>
                  <a:pt x="22" y="5"/>
                  <a:pt x="22" y="5"/>
                </a:cubicBezTo>
                <a:cubicBezTo>
                  <a:pt x="21" y="5"/>
                  <a:pt x="21" y="5"/>
                  <a:pt x="21" y="5"/>
                </a:cubicBezTo>
                <a:cubicBezTo>
                  <a:pt x="20" y="6"/>
                  <a:pt x="20" y="6"/>
                  <a:pt x="20" y="6"/>
                </a:cubicBezTo>
                <a:cubicBezTo>
                  <a:pt x="19" y="6"/>
                  <a:pt x="19" y="6"/>
                  <a:pt x="19" y="6"/>
                </a:cubicBezTo>
                <a:cubicBezTo>
                  <a:pt x="18" y="7"/>
                  <a:pt x="18" y="7"/>
                  <a:pt x="18" y="7"/>
                </a:cubicBezTo>
                <a:cubicBezTo>
                  <a:pt x="15" y="7"/>
                  <a:pt x="15" y="7"/>
                  <a:pt x="15" y="7"/>
                </a:cubicBezTo>
                <a:cubicBezTo>
                  <a:pt x="13" y="7"/>
                  <a:pt x="13" y="7"/>
                  <a:pt x="13" y="7"/>
                </a:cubicBezTo>
                <a:cubicBezTo>
                  <a:pt x="13" y="8"/>
                  <a:pt x="13" y="8"/>
                  <a:pt x="13" y="8"/>
                </a:cubicBezTo>
                <a:cubicBezTo>
                  <a:pt x="11" y="8"/>
                  <a:pt x="11" y="8"/>
                  <a:pt x="11" y="8"/>
                </a:cubicBezTo>
                <a:cubicBezTo>
                  <a:pt x="9" y="10"/>
                  <a:pt x="9" y="10"/>
                  <a:pt x="9" y="10"/>
                </a:cubicBezTo>
                <a:cubicBezTo>
                  <a:pt x="9" y="12"/>
                  <a:pt x="9" y="12"/>
                  <a:pt x="9" y="12"/>
                </a:cubicBezTo>
                <a:cubicBezTo>
                  <a:pt x="8" y="14"/>
                  <a:pt x="8" y="14"/>
                  <a:pt x="8" y="14"/>
                </a:cubicBezTo>
                <a:cubicBezTo>
                  <a:pt x="5" y="14"/>
                  <a:pt x="5" y="14"/>
                  <a:pt x="5" y="14"/>
                </a:cubicBezTo>
                <a:cubicBezTo>
                  <a:pt x="5" y="16"/>
                  <a:pt x="5" y="16"/>
                  <a:pt x="5" y="16"/>
                </a:cubicBezTo>
                <a:cubicBezTo>
                  <a:pt x="4" y="18"/>
                  <a:pt x="4" y="18"/>
                  <a:pt x="4" y="18"/>
                </a:cubicBezTo>
                <a:cubicBezTo>
                  <a:pt x="3" y="18"/>
                  <a:pt x="3" y="18"/>
                  <a:pt x="3" y="18"/>
                </a:cubicBezTo>
                <a:cubicBezTo>
                  <a:pt x="4" y="18"/>
                  <a:pt x="4" y="18"/>
                  <a:pt x="4" y="18"/>
                </a:cubicBezTo>
                <a:cubicBezTo>
                  <a:pt x="4" y="20"/>
                  <a:pt x="4" y="20"/>
                  <a:pt x="4" y="20"/>
                </a:cubicBezTo>
                <a:cubicBezTo>
                  <a:pt x="6" y="22"/>
                  <a:pt x="6" y="22"/>
                  <a:pt x="6" y="22"/>
                </a:cubicBezTo>
                <a:cubicBezTo>
                  <a:pt x="7" y="24"/>
                  <a:pt x="7" y="24"/>
                  <a:pt x="7" y="24"/>
                </a:cubicBezTo>
                <a:cubicBezTo>
                  <a:pt x="8" y="24"/>
                  <a:pt x="8" y="24"/>
                  <a:pt x="8" y="24"/>
                </a:cubicBezTo>
                <a:cubicBezTo>
                  <a:pt x="8" y="24"/>
                  <a:pt x="8" y="24"/>
                  <a:pt x="8" y="24"/>
                </a:cubicBezTo>
                <a:cubicBezTo>
                  <a:pt x="9" y="27"/>
                  <a:pt x="9" y="27"/>
                  <a:pt x="9" y="27"/>
                </a:cubicBezTo>
                <a:cubicBezTo>
                  <a:pt x="10" y="28"/>
                  <a:pt x="10" y="28"/>
                  <a:pt x="10" y="28"/>
                </a:cubicBezTo>
                <a:cubicBezTo>
                  <a:pt x="11" y="29"/>
                  <a:pt x="11" y="29"/>
                  <a:pt x="11" y="29"/>
                </a:cubicBezTo>
                <a:cubicBezTo>
                  <a:pt x="12" y="27"/>
                  <a:pt x="12" y="27"/>
                  <a:pt x="12" y="27"/>
                </a:cubicBezTo>
                <a:cubicBezTo>
                  <a:pt x="13" y="29"/>
                  <a:pt x="13" y="29"/>
                  <a:pt x="13" y="29"/>
                </a:cubicBezTo>
                <a:cubicBezTo>
                  <a:pt x="14" y="29"/>
                  <a:pt x="14" y="29"/>
                  <a:pt x="14" y="29"/>
                </a:cubicBezTo>
                <a:cubicBezTo>
                  <a:pt x="15" y="28"/>
                  <a:pt x="15" y="28"/>
                  <a:pt x="15" y="28"/>
                </a:cubicBezTo>
                <a:cubicBezTo>
                  <a:pt x="16" y="28"/>
                  <a:pt x="16" y="28"/>
                  <a:pt x="16" y="28"/>
                </a:cubicBezTo>
                <a:cubicBezTo>
                  <a:pt x="17" y="29"/>
                  <a:pt x="17" y="29"/>
                  <a:pt x="17" y="29"/>
                </a:cubicBezTo>
                <a:cubicBezTo>
                  <a:pt x="18" y="29"/>
                  <a:pt x="18" y="29"/>
                  <a:pt x="18" y="29"/>
                </a:cubicBezTo>
                <a:cubicBezTo>
                  <a:pt x="19" y="29"/>
                  <a:pt x="19" y="29"/>
                  <a:pt x="19" y="29"/>
                </a:cubicBezTo>
                <a:cubicBezTo>
                  <a:pt x="19" y="29"/>
                  <a:pt x="19" y="29"/>
                  <a:pt x="19" y="29"/>
                </a:cubicBezTo>
                <a:cubicBezTo>
                  <a:pt x="20" y="30"/>
                  <a:pt x="20" y="30"/>
                  <a:pt x="20" y="30"/>
                </a:cubicBezTo>
                <a:cubicBezTo>
                  <a:pt x="21" y="30"/>
                  <a:pt x="21" y="30"/>
                  <a:pt x="21" y="30"/>
                </a:cubicBezTo>
                <a:cubicBezTo>
                  <a:pt x="20" y="31"/>
                  <a:pt x="20" y="31"/>
                  <a:pt x="20" y="31"/>
                </a:cubicBezTo>
                <a:cubicBezTo>
                  <a:pt x="20" y="32"/>
                  <a:pt x="20" y="32"/>
                  <a:pt x="20" y="32"/>
                </a:cubicBezTo>
                <a:cubicBezTo>
                  <a:pt x="19" y="31"/>
                  <a:pt x="19" y="31"/>
                  <a:pt x="19" y="31"/>
                </a:cubicBezTo>
                <a:cubicBezTo>
                  <a:pt x="18" y="31"/>
                  <a:pt x="18" y="31"/>
                  <a:pt x="18" y="31"/>
                </a:cubicBezTo>
                <a:cubicBezTo>
                  <a:pt x="15" y="29"/>
                  <a:pt x="15" y="29"/>
                  <a:pt x="15" y="29"/>
                </a:cubicBezTo>
                <a:cubicBezTo>
                  <a:pt x="14" y="29"/>
                  <a:pt x="14" y="29"/>
                  <a:pt x="14" y="29"/>
                </a:cubicBezTo>
                <a:cubicBezTo>
                  <a:pt x="13" y="30"/>
                  <a:pt x="13" y="30"/>
                  <a:pt x="13" y="30"/>
                </a:cubicBezTo>
                <a:cubicBezTo>
                  <a:pt x="12" y="29"/>
                  <a:pt x="12" y="29"/>
                  <a:pt x="12" y="29"/>
                </a:cubicBezTo>
                <a:cubicBezTo>
                  <a:pt x="11" y="31"/>
                  <a:pt x="11" y="31"/>
                  <a:pt x="11" y="31"/>
                </a:cubicBezTo>
                <a:cubicBezTo>
                  <a:pt x="10" y="31"/>
                  <a:pt x="10" y="31"/>
                  <a:pt x="10" y="31"/>
                </a:cubicBezTo>
                <a:cubicBezTo>
                  <a:pt x="10" y="32"/>
                  <a:pt x="10" y="32"/>
                  <a:pt x="10" y="32"/>
                </a:cubicBezTo>
                <a:cubicBezTo>
                  <a:pt x="11" y="33"/>
                  <a:pt x="11" y="33"/>
                  <a:pt x="11" y="33"/>
                </a:cubicBezTo>
                <a:cubicBezTo>
                  <a:pt x="13" y="34"/>
                  <a:pt x="13" y="34"/>
                  <a:pt x="13" y="34"/>
                </a:cubicBezTo>
                <a:cubicBezTo>
                  <a:pt x="14" y="35"/>
                  <a:pt x="14" y="35"/>
                  <a:pt x="14" y="35"/>
                </a:cubicBezTo>
                <a:cubicBezTo>
                  <a:pt x="14" y="36"/>
                  <a:pt x="14" y="36"/>
                  <a:pt x="14" y="36"/>
                </a:cubicBezTo>
                <a:cubicBezTo>
                  <a:pt x="14" y="37"/>
                  <a:pt x="14" y="37"/>
                  <a:pt x="14" y="37"/>
                </a:cubicBezTo>
                <a:cubicBezTo>
                  <a:pt x="14" y="38"/>
                  <a:pt x="14" y="38"/>
                  <a:pt x="14" y="38"/>
                </a:cubicBezTo>
                <a:cubicBezTo>
                  <a:pt x="15" y="39"/>
                  <a:pt x="15" y="39"/>
                  <a:pt x="15" y="39"/>
                </a:cubicBezTo>
                <a:cubicBezTo>
                  <a:pt x="16" y="40"/>
                  <a:pt x="16" y="40"/>
                  <a:pt x="16" y="40"/>
                </a:cubicBezTo>
                <a:cubicBezTo>
                  <a:pt x="16" y="39"/>
                  <a:pt x="16" y="39"/>
                  <a:pt x="16" y="39"/>
                </a:cubicBezTo>
                <a:cubicBezTo>
                  <a:pt x="16" y="39"/>
                  <a:pt x="16" y="39"/>
                  <a:pt x="16" y="39"/>
                </a:cubicBezTo>
                <a:cubicBezTo>
                  <a:pt x="16" y="38"/>
                  <a:pt x="16" y="38"/>
                  <a:pt x="16" y="38"/>
                </a:cubicBezTo>
                <a:cubicBezTo>
                  <a:pt x="17" y="39"/>
                  <a:pt x="17" y="39"/>
                  <a:pt x="17" y="39"/>
                </a:cubicBezTo>
                <a:cubicBezTo>
                  <a:pt x="18" y="40"/>
                  <a:pt x="18" y="40"/>
                  <a:pt x="18" y="40"/>
                </a:cubicBezTo>
                <a:cubicBezTo>
                  <a:pt x="19" y="41"/>
                  <a:pt x="19" y="41"/>
                  <a:pt x="19" y="41"/>
                </a:cubicBezTo>
                <a:cubicBezTo>
                  <a:pt x="18" y="42"/>
                  <a:pt x="18" y="42"/>
                  <a:pt x="18" y="42"/>
                </a:cubicBezTo>
                <a:cubicBezTo>
                  <a:pt x="19" y="43"/>
                  <a:pt x="19" y="43"/>
                  <a:pt x="19" y="43"/>
                </a:cubicBezTo>
                <a:cubicBezTo>
                  <a:pt x="19" y="41"/>
                  <a:pt x="19" y="41"/>
                  <a:pt x="19" y="41"/>
                </a:cubicBezTo>
                <a:cubicBezTo>
                  <a:pt x="20" y="39"/>
                  <a:pt x="20" y="39"/>
                  <a:pt x="20" y="39"/>
                </a:cubicBezTo>
                <a:cubicBezTo>
                  <a:pt x="21" y="39"/>
                  <a:pt x="21" y="39"/>
                  <a:pt x="21" y="39"/>
                </a:cubicBezTo>
                <a:cubicBezTo>
                  <a:pt x="21" y="41"/>
                  <a:pt x="21" y="41"/>
                  <a:pt x="21" y="41"/>
                </a:cubicBezTo>
                <a:cubicBezTo>
                  <a:pt x="23" y="42"/>
                  <a:pt x="23" y="42"/>
                  <a:pt x="23" y="42"/>
                </a:cubicBezTo>
                <a:cubicBezTo>
                  <a:pt x="22" y="41"/>
                  <a:pt x="22" y="41"/>
                  <a:pt x="22" y="41"/>
                </a:cubicBezTo>
                <a:cubicBezTo>
                  <a:pt x="22" y="40"/>
                  <a:pt x="22" y="40"/>
                  <a:pt x="22" y="40"/>
                </a:cubicBezTo>
                <a:cubicBezTo>
                  <a:pt x="22" y="38"/>
                  <a:pt x="22" y="38"/>
                  <a:pt x="22" y="38"/>
                </a:cubicBezTo>
                <a:cubicBezTo>
                  <a:pt x="21" y="36"/>
                  <a:pt x="21" y="36"/>
                  <a:pt x="21" y="36"/>
                </a:cubicBezTo>
                <a:cubicBezTo>
                  <a:pt x="20" y="35"/>
                  <a:pt x="20" y="35"/>
                  <a:pt x="20" y="35"/>
                </a:cubicBezTo>
                <a:cubicBezTo>
                  <a:pt x="20" y="35"/>
                  <a:pt x="20" y="35"/>
                  <a:pt x="20" y="35"/>
                </a:cubicBezTo>
                <a:cubicBezTo>
                  <a:pt x="21" y="35"/>
                  <a:pt x="21" y="35"/>
                  <a:pt x="21" y="35"/>
                </a:cubicBezTo>
                <a:cubicBezTo>
                  <a:pt x="22" y="35"/>
                  <a:pt x="22" y="35"/>
                  <a:pt x="22" y="35"/>
                </a:cubicBezTo>
                <a:cubicBezTo>
                  <a:pt x="22" y="36"/>
                  <a:pt x="22" y="36"/>
                  <a:pt x="22" y="36"/>
                </a:cubicBezTo>
                <a:cubicBezTo>
                  <a:pt x="22" y="36"/>
                  <a:pt x="22" y="36"/>
                  <a:pt x="22" y="36"/>
                </a:cubicBezTo>
                <a:cubicBezTo>
                  <a:pt x="23" y="36"/>
                  <a:pt x="23" y="36"/>
                  <a:pt x="23" y="36"/>
                </a:cubicBezTo>
                <a:cubicBezTo>
                  <a:pt x="25" y="36"/>
                  <a:pt x="25" y="36"/>
                  <a:pt x="25" y="36"/>
                </a:cubicBezTo>
                <a:cubicBezTo>
                  <a:pt x="25" y="36"/>
                  <a:pt x="25" y="36"/>
                  <a:pt x="25" y="36"/>
                </a:cubicBezTo>
                <a:cubicBezTo>
                  <a:pt x="24" y="35"/>
                  <a:pt x="24" y="35"/>
                  <a:pt x="24" y="35"/>
                </a:cubicBezTo>
                <a:cubicBezTo>
                  <a:pt x="24" y="35"/>
                  <a:pt x="24" y="35"/>
                  <a:pt x="24" y="35"/>
                </a:cubicBezTo>
                <a:cubicBezTo>
                  <a:pt x="23" y="35"/>
                  <a:pt x="23" y="35"/>
                  <a:pt x="23" y="35"/>
                </a:cubicBezTo>
                <a:cubicBezTo>
                  <a:pt x="22" y="34"/>
                  <a:pt x="22" y="34"/>
                  <a:pt x="22" y="34"/>
                </a:cubicBezTo>
                <a:cubicBezTo>
                  <a:pt x="22" y="33"/>
                  <a:pt x="22" y="33"/>
                  <a:pt x="22" y="33"/>
                </a:cubicBezTo>
                <a:cubicBezTo>
                  <a:pt x="21" y="32"/>
                  <a:pt x="21" y="32"/>
                  <a:pt x="21" y="32"/>
                </a:cubicBezTo>
                <a:cubicBezTo>
                  <a:pt x="22" y="32"/>
                  <a:pt x="22" y="32"/>
                  <a:pt x="22" y="32"/>
                </a:cubicBezTo>
                <a:cubicBezTo>
                  <a:pt x="23" y="32"/>
                  <a:pt x="23" y="32"/>
                  <a:pt x="23" y="32"/>
                </a:cubicBezTo>
                <a:cubicBezTo>
                  <a:pt x="24" y="31"/>
                  <a:pt x="24" y="31"/>
                  <a:pt x="24" y="31"/>
                </a:cubicBezTo>
                <a:cubicBezTo>
                  <a:pt x="26" y="32"/>
                  <a:pt x="26" y="32"/>
                  <a:pt x="26" y="32"/>
                </a:cubicBezTo>
                <a:cubicBezTo>
                  <a:pt x="26" y="33"/>
                  <a:pt x="26" y="33"/>
                  <a:pt x="26" y="33"/>
                </a:cubicBezTo>
                <a:cubicBezTo>
                  <a:pt x="27" y="33"/>
                  <a:pt x="27" y="33"/>
                  <a:pt x="27" y="33"/>
                </a:cubicBezTo>
                <a:cubicBezTo>
                  <a:pt x="28" y="32"/>
                  <a:pt x="28" y="32"/>
                  <a:pt x="28" y="32"/>
                </a:cubicBezTo>
                <a:cubicBezTo>
                  <a:pt x="27" y="31"/>
                  <a:pt x="27" y="31"/>
                  <a:pt x="27" y="31"/>
                </a:cubicBezTo>
                <a:cubicBezTo>
                  <a:pt x="27" y="29"/>
                  <a:pt x="27" y="29"/>
                  <a:pt x="27" y="29"/>
                </a:cubicBezTo>
                <a:cubicBezTo>
                  <a:pt x="26" y="29"/>
                  <a:pt x="26" y="29"/>
                  <a:pt x="26" y="29"/>
                </a:cubicBezTo>
                <a:cubicBezTo>
                  <a:pt x="23" y="27"/>
                  <a:pt x="23" y="27"/>
                  <a:pt x="23" y="27"/>
                </a:cubicBezTo>
                <a:cubicBezTo>
                  <a:pt x="23" y="27"/>
                  <a:pt x="23" y="27"/>
                  <a:pt x="23" y="27"/>
                </a:cubicBezTo>
                <a:cubicBezTo>
                  <a:pt x="22" y="26"/>
                  <a:pt x="22" y="26"/>
                  <a:pt x="22" y="26"/>
                </a:cubicBezTo>
                <a:cubicBezTo>
                  <a:pt x="21" y="26"/>
                  <a:pt x="21" y="26"/>
                  <a:pt x="21" y="26"/>
                </a:cubicBezTo>
                <a:cubicBezTo>
                  <a:pt x="21" y="25"/>
                  <a:pt x="21" y="25"/>
                  <a:pt x="21" y="25"/>
                </a:cubicBezTo>
                <a:cubicBezTo>
                  <a:pt x="20" y="25"/>
                  <a:pt x="20" y="25"/>
                  <a:pt x="20" y="25"/>
                </a:cubicBezTo>
                <a:cubicBezTo>
                  <a:pt x="18" y="24"/>
                  <a:pt x="18" y="24"/>
                  <a:pt x="18" y="24"/>
                </a:cubicBezTo>
                <a:cubicBezTo>
                  <a:pt x="20" y="24"/>
                  <a:pt x="20" y="24"/>
                  <a:pt x="20" y="24"/>
                </a:cubicBezTo>
                <a:cubicBezTo>
                  <a:pt x="20" y="23"/>
                  <a:pt x="20" y="23"/>
                  <a:pt x="20" y="23"/>
                </a:cubicBezTo>
                <a:cubicBezTo>
                  <a:pt x="20" y="22"/>
                  <a:pt x="20" y="22"/>
                  <a:pt x="20" y="22"/>
                </a:cubicBezTo>
                <a:cubicBezTo>
                  <a:pt x="19" y="22"/>
                  <a:pt x="19" y="22"/>
                  <a:pt x="19" y="22"/>
                </a:cubicBezTo>
                <a:cubicBezTo>
                  <a:pt x="20" y="21"/>
                  <a:pt x="20" y="21"/>
                  <a:pt x="20" y="21"/>
                </a:cubicBezTo>
                <a:cubicBezTo>
                  <a:pt x="20" y="20"/>
                  <a:pt x="20" y="20"/>
                  <a:pt x="20" y="20"/>
                </a:cubicBezTo>
                <a:cubicBezTo>
                  <a:pt x="21" y="21"/>
                  <a:pt x="21" y="21"/>
                  <a:pt x="21" y="21"/>
                </a:cubicBezTo>
                <a:cubicBezTo>
                  <a:pt x="22" y="21"/>
                  <a:pt x="22" y="21"/>
                  <a:pt x="22" y="21"/>
                </a:cubicBezTo>
                <a:cubicBezTo>
                  <a:pt x="21" y="22"/>
                  <a:pt x="21" y="22"/>
                  <a:pt x="21" y="22"/>
                </a:cubicBezTo>
                <a:cubicBezTo>
                  <a:pt x="21" y="23"/>
                  <a:pt x="21" y="23"/>
                  <a:pt x="21" y="23"/>
                </a:cubicBezTo>
                <a:cubicBezTo>
                  <a:pt x="22" y="23"/>
                  <a:pt x="22" y="23"/>
                  <a:pt x="22" y="23"/>
                </a:cubicBezTo>
                <a:cubicBezTo>
                  <a:pt x="22" y="21"/>
                  <a:pt x="22" y="21"/>
                  <a:pt x="22" y="21"/>
                </a:cubicBezTo>
                <a:cubicBezTo>
                  <a:pt x="22" y="20"/>
                  <a:pt x="22" y="20"/>
                  <a:pt x="22" y="20"/>
                </a:cubicBezTo>
                <a:cubicBezTo>
                  <a:pt x="20" y="18"/>
                  <a:pt x="20" y="18"/>
                  <a:pt x="20" y="18"/>
                </a:cubicBezTo>
                <a:cubicBezTo>
                  <a:pt x="19" y="17"/>
                  <a:pt x="19" y="17"/>
                  <a:pt x="19" y="17"/>
                </a:cubicBezTo>
                <a:cubicBezTo>
                  <a:pt x="19" y="16"/>
                  <a:pt x="19" y="16"/>
                  <a:pt x="19" y="16"/>
                </a:cubicBezTo>
                <a:cubicBezTo>
                  <a:pt x="17" y="15"/>
                  <a:pt x="17" y="15"/>
                  <a:pt x="17" y="15"/>
                </a:cubicBezTo>
                <a:cubicBezTo>
                  <a:pt x="18" y="14"/>
                  <a:pt x="18" y="14"/>
                  <a:pt x="18" y="14"/>
                </a:cubicBezTo>
                <a:cubicBezTo>
                  <a:pt x="17" y="12"/>
                  <a:pt x="17" y="12"/>
                  <a:pt x="17" y="12"/>
                </a:cubicBezTo>
                <a:cubicBezTo>
                  <a:pt x="18" y="11"/>
                  <a:pt x="18" y="11"/>
                  <a:pt x="18" y="11"/>
                </a:cubicBezTo>
                <a:cubicBezTo>
                  <a:pt x="20" y="10"/>
                  <a:pt x="20" y="10"/>
                  <a:pt x="20" y="10"/>
                </a:cubicBezTo>
                <a:cubicBezTo>
                  <a:pt x="20" y="12"/>
                  <a:pt x="20" y="12"/>
                  <a:pt x="20" y="12"/>
                </a:cubicBezTo>
                <a:cubicBezTo>
                  <a:pt x="19" y="12"/>
                  <a:pt x="19" y="12"/>
                  <a:pt x="19" y="12"/>
                </a:cubicBezTo>
                <a:cubicBezTo>
                  <a:pt x="19" y="12"/>
                  <a:pt x="19" y="12"/>
                  <a:pt x="19" y="12"/>
                </a:cubicBezTo>
                <a:cubicBezTo>
                  <a:pt x="21" y="13"/>
                  <a:pt x="21" y="13"/>
                  <a:pt x="21" y="13"/>
                </a:cubicBezTo>
                <a:cubicBezTo>
                  <a:pt x="22" y="15"/>
                  <a:pt x="22" y="15"/>
                  <a:pt x="22" y="15"/>
                </a:cubicBezTo>
                <a:cubicBezTo>
                  <a:pt x="23" y="16"/>
                  <a:pt x="23" y="16"/>
                  <a:pt x="23" y="16"/>
                </a:cubicBezTo>
                <a:cubicBezTo>
                  <a:pt x="24" y="16"/>
                  <a:pt x="24" y="16"/>
                  <a:pt x="24" y="16"/>
                </a:cubicBezTo>
                <a:cubicBezTo>
                  <a:pt x="23" y="15"/>
                  <a:pt x="23" y="15"/>
                  <a:pt x="23" y="15"/>
                </a:cubicBezTo>
                <a:cubicBezTo>
                  <a:pt x="23" y="14"/>
                  <a:pt x="23" y="14"/>
                  <a:pt x="23" y="14"/>
                </a:cubicBezTo>
                <a:cubicBezTo>
                  <a:pt x="23" y="13"/>
                  <a:pt x="23" y="13"/>
                  <a:pt x="23" y="13"/>
                </a:cubicBezTo>
                <a:cubicBezTo>
                  <a:pt x="24" y="14"/>
                  <a:pt x="24" y="14"/>
                  <a:pt x="24" y="14"/>
                </a:cubicBezTo>
                <a:cubicBezTo>
                  <a:pt x="25" y="15"/>
                  <a:pt x="25" y="15"/>
                  <a:pt x="25" y="15"/>
                </a:cubicBezTo>
                <a:cubicBezTo>
                  <a:pt x="26" y="15"/>
                  <a:pt x="26" y="15"/>
                  <a:pt x="26" y="15"/>
                </a:cubicBezTo>
                <a:cubicBezTo>
                  <a:pt x="26" y="14"/>
                  <a:pt x="26" y="14"/>
                  <a:pt x="26" y="14"/>
                </a:cubicBezTo>
                <a:cubicBezTo>
                  <a:pt x="26" y="14"/>
                  <a:pt x="26" y="14"/>
                  <a:pt x="26" y="14"/>
                </a:cubicBezTo>
                <a:cubicBezTo>
                  <a:pt x="25" y="13"/>
                  <a:pt x="25" y="13"/>
                  <a:pt x="25" y="13"/>
                </a:cubicBezTo>
                <a:cubicBezTo>
                  <a:pt x="25" y="13"/>
                  <a:pt x="25" y="13"/>
                  <a:pt x="25" y="13"/>
                </a:cubicBezTo>
                <a:cubicBezTo>
                  <a:pt x="27" y="13"/>
                  <a:pt x="27" y="13"/>
                  <a:pt x="27" y="13"/>
                </a:cubicBezTo>
                <a:cubicBezTo>
                  <a:pt x="28" y="14"/>
                  <a:pt x="28" y="14"/>
                  <a:pt x="28" y="14"/>
                </a:cubicBezTo>
                <a:cubicBezTo>
                  <a:pt x="28" y="13"/>
                  <a:pt x="28" y="13"/>
                  <a:pt x="28" y="13"/>
                </a:cubicBezTo>
                <a:cubicBezTo>
                  <a:pt x="27" y="12"/>
                  <a:pt x="27" y="12"/>
                  <a:pt x="27" y="12"/>
                </a:cubicBezTo>
                <a:cubicBezTo>
                  <a:pt x="26" y="12"/>
                  <a:pt x="26" y="12"/>
                  <a:pt x="26" y="12"/>
                </a:cubicBezTo>
                <a:cubicBezTo>
                  <a:pt x="24" y="10"/>
                  <a:pt x="24" y="10"/>
                  <a:pt x="24" y="10"/>
                </a:cubicBezTo>
                <a:cubicBezTo>
                  <a:pt x="25" y="10"/>
                  <a:pt x="25" y="10"/>
                  <a:pt x="25" y="10"/>
                </a:cubicBezTo>
                <a:cubicBezTo>
                  <a:pt x="26" y="10"/>
                  <a:pt x="26" y="10"/>
                  <a:pt x="26" y="10"/>
                </a:cubicBezTo>
                <a:cubicBezTo>
                  <a:pt x="27" y="9"/>
                  <a:pt x="27" y="9"/>
                  <a:pt x="27" y="9"/>
                </a:cubicBezTo>
                <a:cubicBezTo>
                  <a:pt x="28" y="8"/>
                  <a:pt x="28" y="8"/>
                  <a:pt x="28" y="8"/>
                </a:cubicBezTo>
                <a:cubicBezTo>
                  <a:pt x="29" y="7"/>
                  <a:pt x="29" y="7"/>
                  <a:pt x="29" y="7"/>
                </a:cubicBezTo>
                <a:cubicBezTo>
                  <a:pt x="30" y="9"/>
                  <a:pt x="30" y="9"/>
                  <a:pt x="30" y="9"/>
                </a:cubicBezTo>
                <a:cubicBezTo>
                  <a:pt x="31" y="9"/>
                  <a:pt x="31" y="9"/>
                  <a:pt x="31" y="9"/>
                </a:cubicBezTo>
                <a:cubicBezTo>
                  <a:pt x="32" y="7"/>
                  <a:pt x="32" y="7"/>
                  <a:pt x="32" y="7"/>
                </a:cubicBezTo>
                <a:cubicBezTo>
                  <a:pt x="32" y="7"/>
                  <a:pt x="32" y="7"/>
                  <a:pt x="32" y="7"/>
                </a:cubicBezTo>
                <a:cubicBezTo>
                  <a:pt x="33" y="7"/>
                  <a:pt x="33" y="7"/>
                  <a:pt x="33" y="7"/>
                </a:cubicBezTo>
                <a:cubicBezTo>
                  <a:pt x="34" y="8"/>
                  <a:pt x="34" y="8"/>
                  <a:pt x="34" y="8"/>
                </a:cubicBezTo>
                <a:cubicBezTo>
                  <a:pt x="36" y="8"/>
                  <a:pt x="36" y="8"/>
                  <a:pt x="36" y="8"/>
                </a:cubicBezTo>
                <a:cubicBezTo>
                  <a:pt x="38" y="8"/>
                  <a:pt x="38" y="8"/>
                  <a:pt x="38" y="8"/>
                </a:cubicBezTo>
                <a:cubicBezTo>
                  <a:pt x="40" y="8"/>
                  <a:pt x="40" y="8"/>
                  <a:pt x="40" y="8"/>
                </a:cubicBezTo>
                <a:cubicBezTo>
                  <a:pt x="40" y="7"/>
                  <a:pt x="40" y="7"/>
                  <a:pt x="40" y="7"/>
                </a:cubicBezTo>
                <a:cubicBezTo>
                  <a:pt x="40" y="5"/>
                  <a:pt x="40" y="5"/>
                  <a:pt x="40" y="5"/>
                </a:cubicBezTo>
                <a:cubicBezTo>
                  <a:pt x="42" y="4"/>
                  <a:pt x="42" y="4"/>
                  <a:pt x="42" y="4"/>
                </a:cubicBezTo>
                <a:cubicBezTo>
                  <a:pt x="42" y="3"/>
                  <a:pt x="42" y="3"/>
                  <a:pt x="42" y="3"/>
                </a:cubicBezTo>
                <a:cubicBezTo>
                  <a:pt x="40" y="2"/>
                  <a:pt x="40" y="2"/>
                  <a:pt x="40" y="2"/>
                </a:cubicBezTo>
                <a:cubicBezTo>
                  <a:pt x="41" y="0"/>
                  <a:pt x="41" y="0"/>
                  <a:pt x="41" y="0"/>
                </a:cubicBezTo>
                <a:close/>
                <a:moveTo>
                  <a:pt x="27" y="49"/>
                </a:moveTo>
                <a:cubicBezTo>
                  <a:pt x="26" y="48"/>
                  <a:pt x="26" y="48"/>
                  <a:pt x="26" y="48"/>
                </a:cubicBezTo>
                <a:cubicBezTo>
                  <a:pt x="26" y="49"/>
                  <a:pt x="26" y="49"/>
                  <a:pt x="26" y="49"/>
                </a:cubicBezTo>
                <a:cubicBezTo>
                  <a:pt x="26" y="50"/>
                  <a:pt x="26" y="50"/>
                  <a:pt x="26" y="50"/>
                </a:cubicBezTo>
                <a:cubicBezTo>
                  <a:pt x="26" y="51"/>
                  <a:pt x="26" y="51"/>
                  <a:pt x="26" y="51"/>
                </a:cubicBezTo>
                <a:cubicBezTo>
                  <a:pt x="27" y="51"/>
                  <a:pt x="27" y="51"/>
                  <a:pt x="27" y="51"/>
                </a:cubicBezTo>
                <a:cubicBezTo>
                  <a:pt x="29" y="51"/>
                  <a:pt x="29" y="51"/>
                  <a:pt x="29" y="51"/>
                </a:cubicBezTo>
                <a:cubicBezTo>
                  <a:pt x="30" y="51"/>
                  <a:pt x="30" y="51"/>
                  <a:pt x="30" y="51"/>
                </a:cubicBezTo>
                <a:cubicBezTo>
                  <a:pt x="31" y="51"/>
                  <a:pt x="31" y="51"/>
                  <a:pt x="31" y="51"/>
                </a:cubicBezTo>
                <a:cubicBezTo>
                  <a:pt x="32" y="51"/>
                  <a:pt x="32" y="51"/>
                  <a:pt x="32" y="51"/>
                </a:cubicBezTo>
                <a:cubicBezTo>
                  <a:pt x="33" y="52"/>
                  <a:pt x="33" y="52"/>
                  <a:pt x="33" y="52"/>
                </a:cubicBezTo>
                <a:cubicBezTo>
                  <a:pt x="33" y="53"/>
                  <a:pt x="33" y="53"/>
                  <a:pt x="33" y="53"/>
                </a:cubicBezTo>
                <a:cubicBezTo>
                  <a:pt x="35" y="53"/>
                  <a:pt x="35" y="53"/>
                  <a:pt x="35" y="53"/>
                </a:cubicBezTo>
                <a:cubicBezTo>
                  <a:pt x="36" y="52"/>
                  <a:pt x="36" y="52"/>
                  <a:pt x="36" y="52"/>
                </a:cubicBezTo>
                <a:cubicBezTo>
                  <a:pt x="38" y="52"/>
                  <a:pt x="38" y="52"/>
                  <a:pt x="38" y="52"/>
                </a:cubicBezTo>
                <a:cubicBezTo>
                  <a:pt x="40" y="52"/>
                  <a:pt x="40" y="52"/>
                  <a:pt x="40" y="52"/>
                </a:cubicBezTo>
                <a:cubicBezTo>
                  <a:pt x="42" y="52"/>
                  <a:pt x="42" y="52"/>
                  <a:pt x="42" y="52"/>
                </a:cubicBezTo>
                <a:cubicBezTo>
                  <a:pt x="43" y="52"/>
                  <a:pt x="43" y="52"/>
                  <a:pt x="43" y="52"/>
                </a:cubicBezTo>
                <a:cubicBezTo>
                  <a:pt x="43" y="51"/>
                  <a:pt x="43" y="51"/>
                  <a:pt x="43" y="51"/>
                </a:cubicBezTo>
                <a:cubicBezTo>
                  <a:pt x="43" y="50"/>
                  <a:pt x="43" y="50"/>
                  <a:pt x="43" y="50"/>
                </a:cubicBezTo>
                <a:cubicBezTo>
                  <a:pt x="43" y="49"/>
                  <a:pt x="43" y="49"/>
                  <a:pt x="43" y="49"/>
                </a:cubicBezTo>
                <a:cubicBezTo>
                  <a:pt x="42" y="50"/>
                  <a:pt x="42" y="50"/>
                  <a:pt x="42" y="50"/>
                </a:cubicBezTo>
                <a:cubicBezTo>
                  <a:pt x="42" y="51"/>
                  <a:pt x="42" y="51"/>
                  <a:pt x="42" y="51"/>
                </a:cubicBezTo>
                <a:cubicBezTo>
                  <a:pt x="42" y="51"/>
                  <a:pt x="42" y="51"/>
                  <a:pt x="42" y="51"/>
                </a:cubicBezTo>
                <a:cubicBezTo>
                  <a:pt x="41" y="51"/>
                  <a:pt x="41" y="51"/>
                  <a:pt x="41" y="51"/>
                </a:cubicBezTo>
                <a:cubicBezTo>
                  <a:pt x="40" y="51"/>
                  <a:pt x="40" y="51"/>
                  <a:pt x="40" y="51"/>
                </a:cubicBezTo>
                <a:cubicBezTo>
                  <a:pt x="40" y="51"/>
                  <a:pt x="40" y="51"/>
                  <a:pt x="40" y="51"/>
                </a:cubicBezTo>
                <a:cubicBezTo>
                  <a:pt x="40" y="50"/>
                  <a:pt x="40" y="50"/>
                  <a:pt x="40" y="50"/>
                </a:cubicBezTo>
                <a:cubicBezTo>
                  <a:pt x="39" y="49"/>
                  <a:pt x="39" y="49"/>
                  <a:pt x="39" y="49"/>
                </a:cubicBezTo>
                <a:cubicBezTo>
                  <a:pt x="39" y="49"/>
                  <a:pt x="39" y="49"/>
                  <a:pt x="39" y="49"/>
                </a:cubicBezTo>
                <a:cubicBezTo>
                  <a:pt x="37" y="49"/>
                  <a:pt x="37" y="49"/>
                  <a:pt x="37" y="49"/>
                </a:cubicBezTo>
                <a:cubicBezTo>
                  <a:pt x="36" y="49"/>
                  <a:pt x="36" y="49"/>
                  <a:pt x="36" y="49"/>
                </a:cubicBezTo>
                <a:cubicBezTo>
                  <a:pt x="34" y="49"/>
                  <a:pt x="34" y="49"/>
                  <a:pt x="34" y="49"/>
                </a:cubicBezTo>
                <a:cubicBezTo>
                  <a:pt x="33" y="50"/>
                  <a:pt x="33" y="50"/>
                  <a:pt x="33" y="50"/>
                </a:cubicBezTo>
                <a:cubicBezTo>
                  <a:pt x="31" y="50"/>
                  <a:pt x="31" y="50"/>
                  <a:pt x="31" y="50"/>
                </a:cubicBezTo>
                <a:cubicBezTo>
                  <a:pt x="31" y="49"/>
                  <a:pt x="31" y="49"/>
                  <a:pt x="31" y="49"/>
                </a:cubicBezTo>
                <a:cubicBezTo>
                  <a:pt x="30" y="49"/>
                  <a:pt x="30" y="49"/>
                  <a:pt x="30" y="49"/>
                </a:cubicBezTo>
                <a:cubicBezTo>
                  <a:pt x="29" y="49"/>
                  <a:pt x="29" y="49"/>
                  <a:pt x="29" y="49"/>
                </a:cubicBezTo>
                <a:cubicBezTo>
                  <a:pt x="30" y="49"/>
                  <a:pt x="30" y="49"/>
                  <a:pt x="30" y="49"/>
                </a:cubicBezTo>
                <a:cubicBezTo>
                  <a:pt x="29" y="48"/>
                  <a:pt x="29" y="48"/>
                  <a:pt x="29" y="48"/>
                </a:cubicBezTo>
                <a:cubicBezTo>
                  <a:pt x="28" y="48"/>
                  <a:pt x="28" y="48"/>
                  <a:pt x="28" y="48"/>
                </a:cubicBezTo>
                <a:cubicBezTo>
                  <a:pt x="29" y="48"/>
                  <a:pt x="29" y="48"/>
                  <a:pt x="29" y="48"/>
                </a:cubicBezTo>
                <a:cubicBezTo>
                  <a:pt x="29" y="48"/>
                  <a:pt x="29" y="48"/>
                  <a:pt x="29" y="48"/>
                </a:cubicBezTo>
                <a:cubicBezTo>
                  <a:pt x="29" y="49"/>
                  <a:pt x="29" y="49"/>
                  <a:pt x="29" y="49"/>
                </a:cubicBezTo>
                <a:cubicBezTo>
                  <a:pt x="28" y="49"/>
                  <a:pt x="28" y="49"/>
                  <a:pt x="28" y="49"/>
                </a:cubicBezTo>
                <a:cubicBezTo>
                  <a:pt x="27" y="48"/>
                  <a:pt x="27" y="48"/>
                  <a:pt x="27" y="48"/>
                </a:cubicBezTo>
                <a:cubicBezTo>
                  <a:pt x="27" y="48"/>
                  <a:pt x="27" y="48"/>
                  <a:pt x="27" y="48"/>
                </a:cubicBezTo>
                <a:cubicBezTo>
                  <a:pt x="27" y="48"/>
                  <a:pt x="27" y="48"/>
                  <a:pt x="27" y="48"/>
                </a:cubicBezTo>
                <a:cubicBezTo>
                  <a:pt x="27" y="49"/>
                  <a:pt x="27" y="49"/>
                  <a:pt x="27" y="49"/>
                </a:cubicBezTo>
                <a:cubicBezTo>
                  <a:pt x="27" y="49"/>
                  <a:pt x="27" y="49"/>
                  <a:pt x="27" y="49"/>
                </a:cubicBezTo>
                <a:close/>
                <a:moveTo>
                  <a:pt x="2" y="17"/>
                </a:moveTo>
                <a:cubicBezTo>
                  <a:pt x="2" y="19"/>
                  <a:pt x="2" y="19"/>
                  <a:pt x="2" y="19"/>
                </a:cubicBezTo>
                <a:cubicBezTo>
                  <a:pt x="2" y="19"/>
                  <a:pt x="2" y="19"/>
                  <a:pt x="2" y="19"/>
                </a:cubicBezTo>
                <a:cubicBezTo>
                  <a:pt x="3" y="20"/>
                  <a:pt x="3" y="20"/>
                  <a:pt x="3" y="20"/>
                </a:cubicBezTo>
                <a:cubicBezTo>
                  <a:pt x="3" y="20"/>
                  <a:pt x="3" y="20"/>
                  <a:pt x="3" y="20"/>
                </a:cubicBezTo>
                <a:cubicBezTo>
                  <a:pt x="3" y="20"/>
                  <a:pt x="3" y="20"/>
                  <a:pt x="3" y="20"/>
                </a:cubicBezTo>
                <a:cubicBezTo>
                  <a:pt x="2" y="20"/>
                  <a:pt x="2" y="20"/>
                  <a:pt x="2" y="20"/>
                </a:cubicBezTo>
                <a:cubicBezTo>
                  <a:pt x="1" y="19"/>
                  <a:pt x="1" y="19"/>
                  <a:pt x="1" y="19"/>
                </a:cubicBezTo>
                <a:cubicBezTo>
                  <a:pt x="1" y="18"/>
                  <a:pt x="1" y="18"/>
                  <a:pt x="1" y="18"/>
                </a:cubicBezTo>
                <a:cubicBezTo>
                  <a:pt x="0" y="18"/>
                  <a:pt x="0" y="18"/>
                  <a:pt x="0" y="18"/>
                </a:cubicBezTo>
                <a:cubicBezTo>
                  <a:pt x="0" y="18"/>
                  <a:pt x="0" y="18"/>
                  <a:pt x="0" y="18"/>
                </a:cubicBezTo>
                <a:cubicBezTo>
                  <a:pt x="1" y="17"/>
                  <a:pt x="1" y="17"/>
                  <a:pt x="1" y="17"/>
                </a:cubicBezTo>
                <a:cubicBezTo>
                  <a:pt x="2" y="17"/>
                  <a:pt x="2" y="17"/>
                  <a:pt x="2" y="17"/>
                </a:cubicBezTo>
                <a:close/>
                <a:moveTo>
                  <a:pt x="6" y="26"/>
                </a:moveTo>
                <a:cubicBezTo>
                  <a:pt x="6" y="26"/>
                  <a:pt x="6" y="26"/>
                  <a:pt x="6" y="26"/>
                </a:cubicBezTo>
                <a:cubicBezTo>
                  <a:pt x="7" y="25"/>
                  <a:pt x="7" y="25"/>
                  <a:pt x="7" y="25"/>
                </a:cubicBezTo>
                <a:cubicBezTo>
                  <a:pt x="7" y="25"/>
                  <a:pt x="7" y="25"/>
                  <a:pt x="7" y="25"/>
                </a:cubicBezTo>
                <a:cubicBezTo>
                  <a:pt x="8" y="26"/>
                  <a:pt x="8" y="26"/>
                  <a:pt x="8" y="26"/>
                </a:cubicBezTo>
                <a:cubicBezTo>
                  <a:pt x="7" y="26"/>
                  <a:pt x="7" y="26"/>
                  <a:pt x="7" y="26"/>
                </a:cubicBezTo>
                <a:cubicBezTo>
                  <a:pt x="7" y="27"/>
                  <a:pt x="7" y="27"/>
                  <a:pt x="7" y="27"/>
                </a:cubicBezTo>
                <a:cubicBezTo>
                  <a:pt x="6" y="26"/>
                  <a:pt x="6" y="26"/>
                  <a:pt x="6" y="26"/>
                </a:cubicBezTo>
                <a:close/>
                <a:moveTo>
                  <a:pt x="7" y="28"/>
                </a:moveTo>
                <a:cubicBezTo>
                  <a:pt x="7" y="27"/>
                  <a:pt x="7" y="27"/>
                  <a:pt x="7" y="27"/>
                </a:cubicBezTo>
                <a:cubicBezTo>
                  <a:pt x="7" y="27"/>
                  <a:pt x="7" y="27"/>
                  <a:pt x="7" y="27"/>
                </a:cubicBezTo>
                <a:cubicBezTo>
                  <a:pt x="8" y="28"/>
                  <a:pt x="8" y="28"/>
                  <a:pt x="8" y="28"/>
                </a:cubicBezTo>
                <a:cubicBezTo>
                  <a:pt x="7" y="29"/>
                  <a:pt x="7" y="29"/>
                  <a:pt x="7" y="29"/>
                </a:cubicBezTo>
                <a:cubicBezTo>
                  <a:pt x="8" y="29"/>
                  <a:pt x="8" y="29"/>
                  <a:pt x="8" y="29"/>
                </a:cubicBezTo>
                <a:cubicBezTo>
                  <a:pt x="8" y="30"/>
                  <a:pt x="8" y="30"/>
                  <a:pt x="8" y="30"/>
                </a:cubicBezTo>
                <a:cubicBezTo>
                  <a:pt x="8" y="30"/>
                  <a:pt x="8" y="30"/>
                  <a:pt x="8" y="30"/>
                </a:cubicBezTo>
                <a:cubicBezTo>
                  <a:pt x="8" y="31"/>
                  <a:pt x="8" y="31"/>
                  <a:pt x="8" y="31"/>
                </a:cubicBezTo>
                <a:cubicBezTo>
                  <a:pt x="7" y="31"/>
                  <a:pt x="7" y="31"/>
                  <a:pt x="7" y="31"/>
                </a:cubicBezTo>
                <a:cubicBezTo>
                  <a:pt x="6" y="30"/>
                  <a:pt x="6" y="30"/>
                  <a:pt x="6" y="30"/>
                </a:cubicBezTo>
                <a:cubicBezTo>
                  <a:pt x="6" y="30"/>
                  <a:pt x="6" y="30"/>
                  <a:pt x="6" y="30"/>
                </a:cubicBezTo>
                <a:cubicBezTo>
                  <a:pt x="6" y="29"/>
                  <a:pt x="6" y="29"/>
                  <a:pt x="6" y="29"/>
                </a:cubicBezTo>
                <a:cubicBezTo>
                  <a:pt x="6" y="30"/>
                  <a:pt x="6" y="30"/>
                  <a:pt x="6" y="30"/>
                </a:cubicBezTo>
                <a:cubicBezTo>
                  <a:pt x="6" y="30"/>
                  <a:pt x="6" y="30"/>
                  <a:pt x="6" y="30"/>
                </a:cubicBezTo>
                <a:cubicBezTo>
                  <a:pt x="5" y="30"/>
                  <a:pt x="5" y="30"/>
                  <a:pt x="5" y="30"/>
                </a:cubicBezTo>
                <a:cubicBezTo>
                  <a:pt x="5" y="29"/>
                  <a:pt x="5" y="29"/>
                  <a:pt x="5" y="29"/>
                </a:cubicBezTo>
                <a:cubicBezTo>
                  <a:pt x="6" y="28"/>
                  <a:pt x="6" y="28"/>
                  <a:pt x="6" y="28"/>
                </a:cubicBezTo>
                <a:cubicBezTo>
                  <a:pt x="7" y="28"/>
                  <a:pt x="7" y="28"/>
                  <a:pt x="7" y="28"/>
                </a:cubicBezTo>
                <a:close/>
                <a:moveTo>
                  <a:pt x="9" y="33"/>
                </a:moveTo>
                <a:cubicBezTo>
                  <a:pt x="9" y="33"/>
                  <a:pt x="9" y="33"/>
                  <a:pt x="9" y="33"/>
                </a:cubicBezTo>
                <a:cubicBezTo>
                  <a:pt x="9" y="33"/>
                  <a:pt x="9" y="33"/>
                  <a:pt x="9" y="33"/>
                </a:cubicBezTo>
                <a:cubicBezTo>
                  <a:pt x="8" y="34"/>
                  <a:pt x="8" y="34"/>
                  <a:pt x="8" y="34"/>
                </a:cubicBezTo>
                <a:cubicBezTo>
                  <a:pt x="8" y="34"/>
                  <a:pt x="8" y="34"/>
                  <a:pt x="8" y="34"/>
                </a:cubicBezTo>
                <a:cubicBezTo>
                  <a:pt x="7" y="33"/>
                  <a:pt x="7" y="33"/>
                  <a:pt x="7" y="33"/>
                </a:cubicBezTo>
                <a:cubicBezTo>
                  <a:pt x="7" y="32"/>
                  <a:pt x="7" y="32"/>
                  <a:pt x="7" y="32"/>
                </a:cubicBezTo>
                <a:cubicBezTo>
                  <a:pt x="7" y="32"/>
                  <a:pt x="7" y="32"/>
                  <a:pt x="7" y="32"/>
                </a:cubicBezTo>
                <a:cubicBezTo>
                  <a:pt x="8" y="32"/>
                  <a:pt x="8" y="32"/>
                  <a:pt x="8" y="32"/>
                </a:cubicBezTo>
                <a:cubicBezTo>
                  <a:pt x="9" y="33"/>
                  <a:pt x="9" y="33"/>
                  <a:pt x="9" y="33"/>
                </a:cubicBezTo>
                <a:close/>
                <a:moveTo>
                  <a:pt x="48" y="47"/>
                </a:moveTo>
                <a:cubicBezTo>
                  <a:pt x="48" y="46"/>
                  <a:pt x="48" y="46"/>
                  <a:pt x="48" y="46"/>
                </a:cubicBezTo>
                <a:cubicBezTo>
                  <a:pt x="48" y="46"/>
                  <a:pt x="48" y="46"/>
                  <a:pt x="48" y="46"/>
                </a:cubicBezTo>
                <a:cubicBezTo>
                  <a:pt x="48" y="46"/>
                  <a:pt x="48" y="46"/>
                  <a:pt x="48" y="46"/>
                </a:cubicBezTo>
                <a:cubicBezTo>
                  <a:pt x="48" y="47"/>
                  <a:pt x="48" y="47"/>
                  <a:pt x="48" y="47"/>
                </a:cubicBezTo>
                <a:close/>
                <a:moveTo>
                  <a:pt x="48" y="50"/>
                </a:moveTo>
                <a:cubicBezTo>
                  <a:pt x="47" y="49"/>
                  <a:pt x="47" y="49"/>
                  <a:pt x="47" y="49"/>
                </a:cubicBezTo>
                <a:cubicBezTo>
                  <a:pt x="47" y="48"/>
                  <a:pt x="47" y="48"/>
                  <a:pt x="47" y="48"/>
                </a:cubicBezTo>
                <a:cubicBezTo>
                  <a:pt x="48" y="47"/>
                  <a:pt x="48" y="47"/>
                  <a:pt x="48" y="47"/>
                </a:cubicBezTo>
                <a:cubicBezTo>
                  <a:pt x="48" y="48"/>
                  <a:pt x="48" y="48"/>
                  <a:pt x="48" y="48"/>
                </a:cubicBezTo>
                <a:cubicBezTo>
                  <a:pt x="48" y="48"/>
                  <a:pt x="48" y="48"/>
                  <a:pt x="48" y="48"/>
                </a:cubicBezTo>
                <a:cubicBezTo>
                  <a:pt x="48" y="50"/>
                  <a:pt x="48" y="50"/>
                  <a:pt x="48" y="50"/>
                </a:cubicBezTo>
                <a:cubicBezTo>
                  <a:pt x="48" y="50"/>
                  <a:pt x="48" y="50"/>
                  <a:pt x="48" y="50"/>
                </a:cubicBezTo>
                <a:close/>
                <a:moveTo>
                  <a:pt x="51" y="46"/>
                </a:moveTo>
                <a:cubicBezTo>
                  <a:pt x="50" y="46"/>
                  <a:pt x="50" y="46"/>
                  <a:pt x="50" y="46"/>
                </a:cubicBezTo>
                <a:cubicBezTo>
                  <a:pt x="51" y="45"/>
                  <a:pt x="51" y="45"/>
                  <a:pt x="51" y="45"/>
                </a:cubicBezTo>
                <a:cubicBezTo>
                  <a:pt x="51" y="45"/>
                  <a:pt x="51" y="45"/>
                  <a:pt x="51" y="45"/>
                </a:cubicBezTo>
                <a:cubicBezTo>
                  <a:pt x="51" y="44"/>
                  <a:pt x="51" y="44"/>
                  <a:pt x="51" y="44"/>
                </a:cubicBezTo>
                <a:cubicBezTo>
                  <a:pt x="52" y="43"/>
                  <a:pt x="52" y="43"/>
                  <a:pt x="52" y="43"/>
                </a:cubicBezTo>
                <a:cubicBezTo>
                  <a:pt x="53" y="42"/>
                  <a:pt x="53" y="42"/>
                  <a:pt x="53" y="42"/>
                </a:cubicBezTo>
                <a:cubicBezTo>
                  <a:pt x="54" y="42"/>
                  <a:pt x="54" y="42"/>
                  <a:pt x="54" y="42"/>
                </a:cubicBezTo>
                <a:cubicBezTo>
                  <a:pt x="54" y="43"/>
                  <a:pt x="54" y="43"/>
                  <a:pt x="54" y="43"/>
                </a:cubicBezTo>
                <a:cubicBezTo>
                  <a:pt x="54" y="43"/>
                  <a:pt x="54" y="43"/>
                  <a:pt x="54" y="43"/>
                </a:cubicBezTo>
                <a:cubicBezTo>
                  <a:pt x="54" y="44"/>
                  <a:pt x="54" y="44"/>
                  <a:pt x="54" y="44"/>
                </a:cubicBezTo>
                <a:cubicBezTo>
                  <a:pt x="53" y="44"/>
                  <a:pt x="53" y="44"/>
                  <a:pt x="53" y="44"/>
                </a:cubicBezTo>
                <a:cubicBezTo>
                  <a:pt x="53" y="45"/>
                  <a:pt x="53" y="45"/>
                  <a:pt x="53" y="45"/>
                </a:cubicBezTo>
                <a:cubicBezTo>
                  <a:pt x="53" y="45"/>
                  <a:pt x="53" y="45"/>
                  <a:pt x="53" y="45"/>
                </a:cubicBezTo>
                <a:cubicBezTo>
                  <a:pt x="52" y="45"/>
                  <a:pt x="52" y="45"/>
                  <a:pt x="52" y="45"/>
                </a:cubicBezTo>
                <a:cubicBezTo>
                  <a:pt x="51" y="46"/>
                  <a:pt x="51" y="46"/>
                  <a:pt x="51" y="46"/>
                </a:cubicBezTo>
                <a:cubicBezTo>
                  <a:pt x="51" y="46"/>
                  <a:pt x="51" y="46"/>
                  <a:pt x="51" y="46"/>
                </a:cubicBezTo>
                <a:close/>
                <a:moveTo>
                  <a:pt x="42" y="42"/>
                </a:moveTo>
                <a:cubicBezTo>
                  <a:pt x="42" y="42"/>
                  <a:pt x="42" y="42"/>
                  <a:pt x="42" y="42"/>
                </a:cubicBezTo>
                <a:cubicBezTo>
                  <a:pt x="42" y="41"/>
                  <a:pt x="42" y="41"/>
                  <a:pt x="42" y="41"/>
                </a:cubicBezTo>
                <a:cubicBezTo>
                  <a:pt x="43" y="41"/>
                  <a:pt x="43" y="41"/>
                  <a:pt x="43" y="41"/>
                </a:cubicBezTo>
                <a:cubicBezTo>
                  <a:pt x="44" y="41"/>
                  <a:pt x="44" y="41"/>
                  <a:pt x="44" y="41"/>
                </a:cubicBezTo>
                <a:cubicBezTo>
                  <a:pt x="43" y="42"/>
                  <a:pt x="43" y="42"/>
                  <a:pt x="43" y="42"/>
                </a:cubicBezTo>
                <a:cubicBezTo>
                  <a:pt x="43" y="42"/>
                  <a:pt x="42" y="42"/>
                  <a:pt x="42" y="42"/>
                </a:cubicBezTo>
                <a:close/>
                <a:moveTo>
                  <a:pt x="42" y="33"/>
                </a:moveTo>
                <a:cubicBezTo>
                  <a:pt x="43" y="32"/>
                  <a:pt x="43" y="32"/>
                  <a:pt x="43" y="32"/>
                </a:cubicBezTo>
                <a:cubicBezTo>
                  <a:pt x="44" y="32"/>
                  <a:pt x="44" y="32"/>
                  <a:pt x="44" y="32"/>
                </a:cubicBezTo>
                <a:cubicBezTo>
                  <a:pt x="45" y="33"/>
                  <a:pt x="45" y="33"/>
                  <a:pt x="45" y="33"/>
                </a:cubicBezTo>
                <a:cubicBezTo>
                  <a:pt x="45" y="33"/>
                  <a:pt x="45" y="33"/>
                  <a:pt x="45" y="33"/>
                </a:cubicBezTo>
                <a:cubicBezTo>
                  <a:pt x="45" y="33"/>
                  <a:pt x="45" y="33"/>
                  <a:pt x="45" y="33"/>
                </a:cubicBezTo>
                <a:cubicBezTo>
                  <a:pt x="46" y="33"/>
                  <a:pt x="46" y="33"/>
                  <a:pt x="46" y="33"/>
                </a:cubicBezTo>
                <a:cubicBezTo>
                  <a:pt x="45" y="34"/>
                  <a:pt x="45" y="34"/>
                  <a:pt x="45" y="34"/>
                </a:cubicBezTo>
                <a:cubicBezTo>
                  <a:pt x="45" y="34"/>
                  <a:pt x="45" y="34"/>
                  <a:pt x="45" y="34"/>
                </a:cubicBezTo>
                <a:cubicBezTo>
                  <a:pt x="44" y="34"/>
                  <a:pt x="44" y="34"/>
                  <a:pt x="44" y="34"/>
                </a:cubicBezTo>
                <a:cubicBezTo>
                  <a:pt x="43" y="33"/>
                  <a:pt x="43" y="33"/>
                  <a:pt x="43" y="33"/>
                </a:cubicBezTo>
                <a:cubicBezTo>
                  <a:pt x="43" y="33"/>
                  <a:pt x="43" y="33"/>
                  <a:pt x="43" y="33"/>
                </a:cubicBezTo>
                <a:cubicBezTo>
                  <a:pt x="42" y="34"/>
                  <a:pt x="42" y="34"/>
                  <a:pt x="42" y="34"/>
                </a:cubicBezTo>
                <a:cubicBezTo>
                  <a:pt x="42" y="33"/>
                  <a:pt x="42" y="33"/>
                  <a:pt x="42" y="33"/>
                </a:cubicBezTo>
                <a:close/>
                <a:moveTo>
                  <a:pt x="40" y="26"/>
                </a:moveTo>
                <a:cubicBezTo>
                  <a:pt x="40" y="28"/>
                  <a:pt x="40" y="28"/>
                  <a:pt x="40" y="28"/>
                </a:cubicBezTo>
                <a:cubicBezTo>
                  <a:pt x="40" y="29"/>
                  <a:pt x="40" y="29"/>
                  <a:pt x="40" y="29"/>
                </a:cubicBezTo>
                <a:cubicBezTo>
                  <a:pt x="39" y="29"/>
                  <a:pt x="39" y="29"/>
                  <a:pt x="39" y="29"/>
                </a:cubicBezTo>
                <a:cubicBezTo>
                  <a:pt x="39" y="29"/>
                  <a:pt x="39" y="29"/>
                  <a:pt x="39" y="29"/>
                </a:cubicBezTo>
                <a:cubicBezTo>
                  <a:pt x="39" y="28"/>
                  <a:pt x="39" y="28"/>
                  <a:pt x="39" y="28"/>
                </a:cubicBezTo>
                <a:cubicBezTo>
                  <a:pt x="39" y="28"/>
                  <a:pt x="39" y="28"/>
                  <a:pt x="39" y="28"/>
                </a:cubicBezTo>
                <a:cubicBezTo>
                  <a:pt x="39" y="27"/>
                  <a:pt x="39" y="27"/>
                  <a:pt x="39" y="27"/>
                </a:cubicBezTo>
                <a:cubicBezTo>
                  <a:pt x="38" y="27"/>
                  <a:pt x="38" y="27"/>
                  <a:pt x="38" y="27"/>
                </a:cubicBezTo>
                <a:cubicBezTo>
                  <a:pt x="38" y="26"/>
                  <a:pt x="38" y="26"/>
                  <a:pt x="38" y="26"/>
                </a:cubicBezTo>
                <a:cubicBezTo>
                  <a:pt x="39" y="26"/>
                  <a:pt x="39" y="26"/>
                  <a:pt x="39" y="26"/>
                </a:cubicBezTo>
                <a:cubicBezTo>
                  <a:pt x="40" y="26"/>
                  <a:pt x="40" y="26"/>
                  <a:pt x="40" y="26"/>
                </a:cubicBezTo>
                <a:cubicBezTo>
                  <a:pt x="40" y="26"/>
                  <a:pt x="40" y="26"/>
                  <a:pt x="40" y="26"/>
                </a:cubicBezTo>
                <a:close/>
                <a:moveTo>
                  <a:pt x="39" y="23"/>
                </a:moveTo>
                <a:cubicBezTo>
                  <a:pt x="38" y="22"/>
                  <a:pt x="38" y="22"/>
                  <a:pt x="38" y="22"/>
                </a:cubicBezTo>
                <a:cubicBezTo>
                  <a:pt x="38" y="21"/>
                  <a:pt x="38" y="21"/>
                  <a:pt x="38" y="21"/>
                </a:cubicBezTo>
                <a:cubicBezTo>
                  <a:pt x="40" y="21"/>
                  <a:pt x="40" y="21"/>
                  <a:pt x="40" y="21"/>
                </a:cubicBezTo>
                <a:cubicBezTo>
                  <a:pt x="40" y="20"/>
                  <a:pt x="40" y="20"/>
                  <a:pt x="40" y="20"/>
                </a:cubicBezTo>
                <a:cubicBezTo>
                  <a:pt x="42" y="20"/>
                  <a:pt x="42" y="20"/>
                  <a:pt x="42" y="20"/>
                </a:cubicBezTo>
                <a:cubicBezTo>
                  <a:pt x="42" y="20"/>
                  <a:pt x="42" y="20"/>
                  <a:pt x="42" y="20"/>
                </a:cubicBezTo>
                <a:cubicBezTo>
                  <a:pt x="42" y="21"/>
                  <a:pt x="42" y="21"/>
                  <a:pt x="42" y="21"/>
                </a:cubicBezTo>
                <a:cubicBezTo>
                  <a:pt x="42" y="21"/>
                  <a:pt x="42" y="21"/>
                  <a:pt x="42" y="21"/>
                </a:cubicBezTo>
                <a:cubicBezTo>
                  <a:pt x="42" y="22"/>
                  <a:pt x="42" y="22"/>
                  <a:pt x="42" y="22"/>
                </a:cubicBezTo>
                <a:cubicBezTo>
                  <a:pt x="42" y="23"/>
                  <a:pt x="42" y="23"/>
                  <a:pt x="42" y="23"/>
                </a:cubicBezTo>
                <a:cubicBezTo>
                  <a:pt x="41" y="23"/>
                  <a:pt x="41" y="23"/>
                  <a:pt x="41" y="23"/>
                </a:cubicBezTo>
                <a:cubicBezTo>
                  <a:pt x="40" y="23"/>
                  <a:pt x="40" y="23"/>
                  <a:pt x="40" y="23"/>
                </a:cubicBezTo>
                <a:cubicBezTo>
                  <a:pt x="40" y="22"/>
                  <a:pt x="40" y="22"/>
                  <a:pt x="40" y="22"/>
                </a:cubicBezTo>
                <a:cubicBezTo>
                  <a:pt x="41" y="22"/>
                  <a:pt x="41" y="22"/>
                  <a:pt x="41" y="22"/>
                </a:cubicBezTo>
                <a:cubicBezTo>
                  <a:pt x="41" y="21"/>
                  <a:pt x="41" y="21"/>
                  <a:pt x="41" y="21"/>
                </a:cubicBezTo>
                <a:cubicBezTo>
                  <a:pt x="40" y="21"/>
                  <a:pt x="40" y="21"/>
                  <a:pt x="40" y="21"/>
                </a:cubicBezTo>
                <a:cubicBezTo>
                  <a:pt x="40" y="22"/>
                  <a:pt x="40" y="22"/>
                  <a:pt x="40" y="22"/>
                </a:cubicBezTo>
                <a:cubicBezTo>
                  <a:pt x="39" y="23"/>
                  <a:pt x="39" y="23"/>
                  <a:pt x="39" y="23"/>
                </a:cubicBezTo>
                <a:cubicBezTo>
                  <a:pt x="39" y="23"/>
                  <a:pt x="39" y="23"/>
                  <a:pt x="39" y="23"/>
                </a:cubicBezTo>
                <a:cubicBezTo>
                  <a:pt x="39" y="23"/>
                  <a:pt x="39" y="23"/>
                  <a:pt x="39" y="23"/>
                </a:cubicBezTo>
                <a:close/>
                <a:moveTo>
                  <a:pt x="35" y="11"/>
                </a:moveTo>
                <a:cubicBezTo>
                  <a:pt x="36" y="11"/>
                  <a:pt x="36" y="11"/>
                  <a:pt x="36" y="11"/>
                </a:cubicBezTo>
                <a:cubicBezTo>
                  <a:pt x="36" y="11"/>
                  <a:pt x="36" y="11"/>
                  <a:pt x="36" y="11"/>
                </a:cubicBezTo>
                <a:cubicBezTo>
                  <a:pt x="37" y="11"/>
                  <a:pt x="37" y="11"/>
                  <a:pt x="37" y="11"/>
                </a:cubicBezTo>
                <a:cubicBezTo>
                  <a:pt x="37" y="12"/>
                  <a:pt x="37" y="12"/>
                  <a:pt x="37" y="12"/>
                </a:cubicBezTo>
                <a:cubicBezTo>
                  <a:pt x="37" y="12"/>
                  <a:pt x="37" y="12"/>
                  <a:pt x="37" y="12"/>
                </a:cubicBezTo>
                <a:cubicBezTo>
                  <a:pt x="35" y="11"/>
                  <a:pt x="35" y="11"/>
                  <a:pt x="35" y="11"/>
                </a:cubicBezTo>
                <a:close/>
                <a:moveTo>
                  <a:pt x="33" y="15"/>
                </a:moveTo>
                <a:cubicBezTo>
                  <a:pt x="34" y="15"/>
                  <a:pt x="34" y="15"/>
                  <a:pt x="34" y="15"/>
                </a:cubicBezTo>
                <a:cubicBezTo>
                  <a:pt x="34" y="15"/>
                  <a:pt x="34" y="15"/>
                  <a:pt x="34" y="15"/>
                </a:cubicBezTo>
                <a:cubicBezTo>
                  <a:pt x="35" y="14"/>
                  <a:pt x="35" y="14"/>
                  <a:pt x="35" y="14"/>
                </a:cubicBezTo>
                <a:cubicBezTo>
                  <a:pt x="35" y="15"/>
                  <a:pt x="35" y="15"/>
                  <a:pt x="35" y="15"/>
                </a:cubicBezTo>
                <a:cubicBezTo>
                  <a:pt x="35" y="16"/>
                  <a:pt x="35" y="16"/>
                  <a:pt x="35" y="16"/>
                </a:cubicBezTo>
                <a:cubicBezTo>
                  <a:pt x="34" y="17"/>
                  <a:pt x="34" y="17"/>
                  <a:pt x="34" y="17"/>
                </a:cubicBezTo>
                <a:cubicBezTo>
                  <a:pt x="34" y="16"/>
                  <a:pt x="34" y="16"/>
                  <a:pt x="34" y="16"/>
                </a:cubicBezTo>
                <a:cubicBezTo>
                  <a:pt x="33" y="17"/>
                  <a:pt x="33" y="17"/>
                  <a:pt x="33" y="17"/>
                </a:cubicBezTo>
                <a:cubicBezTo>
                  <a:pt x="33" y="16"/>
                  <a:pt x="33" y="16"/>
                  <a:pt x="33" y="16"/>
                </a:cubicBezTo>
                <a:cubicBezTo>
                  <a:pt x="32" y="15"/>
                  <a:pt x="32" y="15"/>
                  <a:pt x="32" y="15"/>
                </a:cubicBezTo>
                <a:cubicBezTo>
                  <a:pt x="33" y="15"/>
                  <a:pt x="33" y="15"/>
                  <a:pt x="33" y="15"/>
                </a:cubicBezTo>
                <a:close/>
                <a:moveTo>
                  <a:pt x="30" y="9"/>
                </a:moveTo>
                <a:cubicBezTo>
                  <a:pt x="30" y="9"/>
                  <a:pt x="30" y="9"/>
                  <a:pt x="30" y="9"/>
                </a:cubicBezTo>
                <a:cubicBezTo>
                  <a:pt x="31" y="9"/>
                  <a:pt x="31" y="9"/>
                  <a:pt x="31" y="9"/>
                </a:cubicBezTo>
                <a:cubicBezTo>
                  <a:pt x="31" y="10"/>
                  <a:pt x="31" y="10"/>
                  <a:pt x="31" y="10"/>
                </a:cubicBezTo>
                <a:cubicBezTo>
                  <a:pt x="30" y="11"/>
                  <a:pt x="30" y="11"/>
                  <a:pt x="30" y="11"/>
                </a:cubicBezTo>
                <a:cubicBezTo>
                  <a:pt x="30" y="10"/>
                  <a:pt x="30" y="10"/>
                  <a:pt x="30" y="10"/>
                </a:cubicBezTo>
                <a:cubicBezTo>
                  <a:pt x="29" y="10"/>
                  <a:pt x="29" y="10"/>
                  <a:pt x="29" y="10"/>
                </a:cubicBezTo>
                <a:cubicBezTo>
                  <a:pt x="30" y="9"/>
                  <a:pt x="30" y="9"/>
                  <a:pt x="30" y="9"/>
                </a:cubicBezTo>
                <a:close/>
                <a:moveTo>
                  <a:pt x="24" y="22"/>
                </a:moveTo>
                <a:cubicBezTo>
                  <a:pt x="24" y="22"/>
                  <a:pt x="24" y="22"/>
                  <a:pt x="24" y="22"/>
                </a:cubicBezTo>
                <a:cubicBezTo>
                  <a:pt x="25" y="22"/>
                  <a:pt x="25" y="22"/>
                  <a:pt x="25" y="22"/>
                </a:cubicBezTo>
                <a:cubicBezTo>
                  <a:pt x="25" y="23"/>
                  <a:pt x="25" y="23"/>
                  <a:pt x="25" y="23"/>
                </a:cubicBezTo>
                <a:cubicBezTo>
                  <a:pt x="25" y="23"/>
                  <a:pt x="25" y="23"/>
                  <a:pt x="25" y="23"/>
                </a:cubicBezTo>
                <a:cubicBezTo>
                  <a:pt x="24" y="22"/>
                  <a:pt x="24" y="22"/>
                  <a:pt x="24" y="22"/>
                </a:cubicBezTo>
                <a:close/>
                <a:moveTo>
                  <a:pt x="23" y="22"/>
                </a:moveTo>
                <a:cubicBezTo>
                  <a:pt x="23" y="22"/>
                  <a:pt x="23" y="22"/>
                  <a:pt x="23" y="22"/>
                </a:cubicBezTo>
                <a:cubicBezTo>
                  <a:pt x="24" y="22"/>
                  <a:pt x="24" y="22"/>
                  <a:pt x="24" y="22"/>
                </a:cubicBezTo>
                <a:cubicBezTo>
                  <a:pt x="23" y="22"/>
                  <a:pt x="23" y="22"/>
                  <a:pt x="23" y="22"/>
                </a:cubicBezTo>
                <a:cubicBezTo>
                  <a:pt x="23" y="22"/>
                  <a:pt x="23" y="22"/>
                  <a:pt x="23" y="22"/>
                </a:cubicBezTo>
                <a:close/>
                <a:moveTo>
                  <a:pt x="30" y="23"/>
                </a:moveTo>
                <a:cubicBezTo>
                  <a:pt x="30" y="23"/>
                  <a:pt x="30" y="23"/>
                  <a:pt x="30" y="23"/>
                </a:cubicBezTo>
                <a:cubicBezTo>
                  <a:pt x="31" y="24"/>
                  <a:pt x="31" y="24"/>
                  <a:pt x="31" y="24"/>
                </a:cubicBezTo>
                <a:cubicBezTo>
                  <a:pt x="32" y="24"/>
                  <a:pt x="32" y="24"/>
                  <a:pt x="32" y="24"/>
                </a:cubicBezTo>
                <a:cubicBezTo>
                  <a:pt x="32" y="25"/>
                  <a:pt x="32" y="25"/>
                  <a:pt x="32" y="25"/>
                </a:cubicBezTo>
                <a:cubicBezTo>
                  <a:pt x="31" y="25"/>
                  <a:pt x="31" y="25"/>
                  <a:pt x="31" y="25"/>
                </a:cubicBezTo>
                <a:cubicBezTo>
                  <a:pt x="31" y="24"/>
                  <a:pt x="31" y="24"/>
                  <a:pt x="31" y="24"/>
                </a:cubicBezTo>
                <a:cubicBezTo>
                  <a:pt x="31" y="24"/>
                  <a:pt x="31" y="24"/>
                  <a:pt x="31" y="24"/>
                </a:cubicBezTo>
                <a:cubicBezTo>
                  <a:pt x="30" y="23"/>
                  <a:pt x="30" y="23"/>
                  <a:pt x="30" y="23"/>
                </a:cubicBezTo>
                <a:close/>
                <a:moveTo>
                  <a:pt x="40" y="35"/>
                </a:moveTo>
                <a:cubicBezTo>
                  <a:pt x="40" y="35"/>
                  <a:pt x="40" y="35"/>
                  <a:pt x="40" y="35"/>
                </a:cubicBezTo>
                <a:cubicBezTo>
                  <a:pt x="40" y="34"/>
                  <a:pt x="40" y="34"/>
                  <a:pt x="40" y="34"/>
                </a:cubicBezTo>
                <a:cubicBezTo>
                  <a:pt x="41" y="34"/>
                  <a:pt x="41" y="34"/>
                  <a:pt x="41" y="34"/>
                </a:cubicBezTo>
                <a:cubicBezTo>
                  <a:pt x="41" y="34"/>
                  <a:pt x="41" y="34"/>
                  <a:pt x="41" y="34"/>
                </a:cubicBezTo>
                <a:cubicBezTo>
                  <a:pt x="40" y="35"/>
                  <a:pt x="40" y="35"/>
                  <a:pt x="40" y="35"/>
                </a:cubicBezTo>
                <a:close/>
                <a:moveTo>
                  <a:pt x="30" y="42"/>
                </a:moveTo>
                <a:cubicBezTo>
                  <a:pt x="30" y="41"/>
                  <a:pt x="30" y="41"/>
                  <a:pt x="30" y="41"/>
                </a:cubicBezTo>
                <a:cubicBezTo>
                  <a:pt x="31" y="41"/>
                  <a:pt x="31" y="41"/>
                  <a:pt x="31" y="41"/>
                </a:cubicBezTo>
                <a:cubicBezTo>
                  <a:pt x="31" y="41"/>
                  <a:pt x="31" y="41"/>
                  <a:pt x="31" y="41"/>
                </a:cubicBezTo>
                <a:cubicBezTo>
                  <a:pt x="30" y="42"/>
                  <a:pt x="30" y="42"/>
                  <a:pt x="30" y="42"/>
                </a:cubicBezTo>
                <a:cubicBezTo>
                  <a:pt x="30" y="42"/>
                  <a:pt x="30" y="42"/>
                  <a:pt x="30" y="42"/>
                </a:cubicBezTo>
                <a:close/>
                <a:moveTo>
                  <a:pt x="30" y="38"/>
                </a:moveTo>
                <a:cubicBezTo>
                  <a:pt x="31" y="37"/>
                  <a:pt x="31" y="37"/>
                  <a:pt x="31" y="37"/>
                </a:cubicBezTo>
                <a:cubicBezTo>
                  <a:pt x="31" y="38"/>
                  <a:pt x="31" y="38"/>
                  <a:pt x="31" y="38"/>
                </a:cubicBezTo>
                <a:cubicBezTo>
                  <a:pt x="30" y="38"/>
                  <a:pt x="30" y="38"/>
                  <a:pt x="30" y="38"/>
                </a:cubicBezTo>
                <a:close/>
                <a:moveTo>
                  <a:pt x="30" y="37"/>
                </a:moveTo>
                <a:cubicBezTo>
                  <a:pt x="30" y="36"/>
                  <a:pt x="30" y="36"/>
                  <a:pt x="30" y="36"/>
                </a:cubicBezTo>
                <a:cubicBezTo>
                  <a:pt x="31" y="36"/>
                  <a:pt x="31" y="36"/>
                  <a:pt x="31" y="36"/>
                </a:cubicBezTo>
                <a:cubicBezTo>
                  <a:pt x="31" y="36"/>
                  <a:pt x="31" y="36"/>
                  <a:pt x="31" y="36"/>
                </a:cubicBezTo>
                <a:cubicBezTo>
                  <a:pt x="31" y="36"/>
                  <a:pt x="30" y="37"/>
                  <a:pt x="30" y="37"/>
                </a:cubicBezTo>
                <a:close/>
                <a:moveTo>
                  <a:pt x="29" y="35"/>
                </a:moveTo>
                <a:cubicBezTo>
                  <a:pt x="29" y="35"/>
                  <a:pt x="29" y="35"/>
                  <a:pt x="29" y="35"/>
                </a:cubicBezTo>
                <a:cubicBezTo>
                  <a:pt x="30" y="34"/>
                  <a:pt x="30" y="34"/>
                  <a:pt x="30" y="34"/>
                </a:cubicBezTo>
                <a:cubicBezTo>
                  <a:pt x="30" y="35"/>
                  <a:pt x="30" y="35"/>
                  <a:pt x="30" y="35"/>
                </a:cubicBezTo>
                <a:cubicBezTo>
                  <a:pt x="29" y="35"/>
                  <a:pt x="29" y="35"/>
                  <a:pt x="29" y="35"/>
                </a:cubicBezTo>
                <a:close/>
                <a:moveTo>
                  <a:pt x="35" y="39"/>
                </a:moveTo>
                <a:cubicBezTo>
                  <a:pt x="35" y="38"/>
                  <a:pt x="35" y="38"/>
                  <a:pt x="35" y="38"/>
                </a:cubicBezTo>
                <a:cubicBezTo>
                  <a:pt x="35" y="37"/>
                  <a:pt x="35" y="37"/>
                  <a:pt x="35" y="37"/>
                </a:cubicBezTo>
                <a:cubicBezTo>
                  <a:pt x="35" y="37"/>
                  <a:pt x="35" y="37"/>
                  <a:pt x="35" y="37"/>
                </a:cubicBezTo>
                <a:cubicBezTo>
                  <a:pt x="36" y="38"/>
                  <a:pt x="36" y="38"/>
                  <a:pt x="36" y="38"/>
                </a:cubicBezTo>
                <a:cubicBezTo>
                  <a:pt x="35" y="39"/>
                  <a:pt x="35" y="39"/>
                  <a:pt x="35" y="39"/>
                </a:cubicBezTo>
                <a:close/>
                <a:moveTo>
                  <a:pt x="37" y="39"/>
                </a:moveTo>
                <a:cubicBezTo>
                  <a:pt x="36" y="38"/>
                  <a:pt x="36" y="38"/>
                  <a:pt x="36" y="38"/>
                </a:cubicBezTo>
                <a:cubicBezTo>
                  <a:pt x="37" y="37"/>
                  <a:pt x="37" y="37"/>
                  <a:pt x="37" y="37"/>
                </a:cubicBezTo>
                <a:cubicBezTo>
                  <a:pt x="38" y="37"/>
                  <a:pt x="38" y="37"/>
                  <a:pt x="38" y="37"/>
                </a:cubicBezTo>
                <a:cubicBezTo>
                  <a:pt x="38" y="38"/>
                  <a:pt x="38" y="38"/>
                  <a:pt x="38" y="38"/>
                </a:cubicBezTo>
                <a:cubicBezTo>
                  <a:pt x="37" y="39"/>
                  <a:pt x="37" y="39"/>
                  <a:pt x="37" y="39"/>
                </a:cubicBezTo>
                <a:cubicBezTo>
                  <a:pt x="37" y="39"/>
                  <a:pt x="37" y="39"/>
                  <a:pt x="37" y="39"/>
                </a:cubicBezTo>
                <a:close/>
                <a:moveTo>
                  <a:pt x="36" y="36"/>
                </a:moveTo>
                <a:cubicBezTo>
                  <a:pt x="36" y="35"/>
                  <a:pt x="36" y="35"/>
                  <a:pt x="36" y="35"/>
                </a:cubicBezTo>
                <a:cubicBezTo>
                  <a:pt x="37" y="35"/>
                  <a:pt x="37" y="35"/>
                  <a:pt x="37" y="35"/>
                </a:cubicBezTo>
                <a:cubicBezTo>
                  <a:pt x="36" y="36"/>
                  <a:pt x="36" y="36"/>
                  <a:pt x="36" y="36"/>
                </a:cubicBezTo>
                <a:close/>
                <a:moveTo>
                  <a:pt x="34" y="34"/>
                </a:moveTo>
                <a:cubicBezTo>
                  <a:pt x="35" y="34"/>
                  <a:pt x="35" y="34"/>
                  <a:pt x="35" y="34"/>
                </a:cubicBezTo>
                <a:cubicBezTo>
                  <a:pt x="36" y="35"/>
                  <a:pt x="36" y="35"/>
                  <a:pt x="36" y="35"/>
                </a:cubicBezTo>
                <a:cubicBezTo>
                  <a:pt x="36" y="35"/>
                  <a:pt x="36" y="35"/>
                  <a:pt x="36" y="35"/>
                </a:cubicBezTo>
                <a:cubicBezTo>
                  <a:pt x="35" y="35"/>
                  <a:pt x="35" y="35"/>
                  <a:pt x="35" y="35"/>
                </a:cubicBezTo>
                <a:cubicBezTo>
                  <a:pt x="34" y="34"/>
                  <a:pt x="34" y="34"/>
                  <a:pt x="34" y="34"/>
                </a:cubicBezTo>
                <a:close/>
                <a:moveTo>
                  <a:pt x="32" y="32"/>
                </a:moveTo>
                <a:cubicBezTo>
                  <a:pt x="32" y="32"/>
                  <a:pt x="32" y="32"/>
                  <a:pt x="32" y="32"/>
                </a:cubicBezTo>
                <a:cubicBezTo>
                  <a:pt x="33" y="32"/>
                  <a:pt x="33" y="32"/>
                  <a:pt x="33" y="32"/>
                </a:cubicBezTo>
                <a:cubicBezTo>
                  <a:pt x="34" y="33"/>
                  <a:pt x="34" y="33"/>
                  <a:pt x="34" y="33"/>
                </a:cubicBezTo>
                <a:cubicBezTo>
                  <a:pt x="34" y="34"/>
                  <a:pt x="34" y="34"/>
                  <a:pt x="34" y="34"/>
                </a:cubicBezTo>
                <a:cubicBezTo>
                  <a:pt x="33" y="34"/>
                  <a:pt x="33" y="34"/>
                  <a:pt x="33" y="34"/>
                </a:cubicBezTo>
                <a:cubicBezTo>
                  <a:pt x="32" y="33"/>
                  <a:pt x="32" y="33"/>
                  <a:pt x="32" y="33"/>
                </a:cubicBezTo>
                <a:cubicBezTo>
                  <a:pt x="31" y="32"/>
                  <a:pt x="31" y="32"/>
                  <a:pt x="31" y="32"/>
                </a:cubicBezTo>
                <a:cubicBezTo>
                  <a:pt x="32" y="32"/>
                  <a:pt x="32" y="32"/>
                  <a:pt x="32" y="32"/>
                </a:cubicBezTo>
                <a:close/>
                <a:moveTo>
                  <a:pt x="20" y="24"/>
                </a:moveTo>
                <a:cubicBezTo>
                  <a:pt x="21" y="23"/>
                  <a:pt x="21" y="23"/>
                  <a:pt x="21" y="23"/>
                </a:cubicBezTo>
                <a:cubicBezTo>
                  <a:pt x="22" y="23"/>
                  <a:pt x="22" y="23"/>
                  <a:pt x="22" y="23"/>
                </a:cubicBezTo>
                <a:cubicBezTo>
                  <a:pt x="23" y="24"/>
                  <a:pt x="23" y="24"/>
                  <a:pt x="23" y="24"/>
                </a:cubicBezTo>
                <a:cubicBezTo>
                  <a:pt x="25" y="25"/>
                  <a:pt x="25" y="25"/>
                  <a:pt x="25" y="25"/>
                </a:cubicBezTo>
                <a:cubicBezTo>
                  <a:pt x="26" y="25"/>
                  <a:pt x="26" y="25"/>
                  <a:pt x="26" y="25"/>
                </a:cubicBezTo>
                <a:cubicBezTo>
                  <a:pt x="26" y="25"/>
                  <a:pt x="26" y="25"/>
                  <a:pt x="26" y="25"/>
                </a:cubicBezTo>
                <a:cubicBezTo>
                  <a:pt x="27" y="25"/>
                  <a:pt x="27" y="25"/>
                  <a:pt x="27" y="25"/>
                </a:cubicBezTo>
                <a:cubicBezTo>
                  <a:pt x="27" y="25"/>
                  <a:pt x="27" y="25"/>
                  <a:pt x="27" y="25"/>
                </a:cubicBezTo>
                <a:cubicBezTo>
                  <a:pt x="28" y="27"/>
                  <a:pt x="28" y="27"/>
                  <a:pt x="28" y="27"/>
                </a:cubicBezTo>
                <a:cubicBezTo>
                  <a:pt x="29" y="28"/>
                  <a:pt x="29" y="28"/>
                  <a:pt x="29" y="28"/>
                </a:cubicBezTo>
                <a:cubicBezTo>
                  <a:pt x="29" y="28"/>
                  <a:pt x="29" y="28"/>
                  <a:pt x="29" y="28"/>
                </a:cubicBezTo>
                <a:cubicBezTo>
                  <a:pt x="29" y="29"/>
                  <a:pt x="29" y="29"/>
                  <a:pt x="29" y="29"/>
                </a:cubicBezTo>
                <a:cubicBezTo>
                  <a:pt x="29" y="30"/>
                  <a:pt x="29" y="30"/>
                  <a:pt x="29" y="30"/>
                </a:cubicBezTo>
                <a:cubicBezTo>
                  <a:pt x="30" y="31"/>
                  <a:pt x="30" y="31"/>
                  <a:pt x="30" y="31"/>
                </a:cubicBezTo>
                <a:cubicBezTo>
                  <a:pt x="30" y="30"/>
                  <a:pt x="30" y="30"/>
                  <a:pt x="30" y="30"/>
                </a:cubicBezTo>
                <a:cubicBezTo>
                  <a:pt x="31" y="30"/>
                  <a:pt x="31" y="30"/>
                  <a:pt x="31" y="30"/>
                </a:cubicBezTo>
                <a:cubicBezTo>
                  <a:pt x="31" y="32"/>
                  <a:pt x="31" y="32"/>
                  <a:pt x="31" y="32"/>
                </a:cubicBezTo>
                <a:cubicBezTo>
                  <a:pt x="30" y="31"/>
                  <a:pt x="30" y="31"/>
                  <a:pt x="30" y="31"/>
                </a:cubicBezTo>
                <a:cubicBezTo>
                  <a:pt x="30" y="32"/>
                  <a:pt x="30" y="32"/>
                  <a:pt x="30" y="32"/>
                </a:cubicBezTo>
                <a:cubicBezTo>
                  <a:pt x="29" y="31"/>
                  <a:pt x="29" y="31"/>
                  <a:pt x="29" y="31"/>
                </a:cubicBezTo>
                <a:cubicBezTo>
                  <a:pt x="28" y="30"/>
                  <a:pt x="28" y="30"/>
                  <a:pt x="28" y="30"/>
                </a:cubicBezTo>
                <a:cubicBezTo>
                  <a:pt x="28" y="30"/>
                  <a:pt x="28" y="30"/>
                  <a:pt x="28" y="30"/>
                </a:cubicBezTo>
                <a:cubicBezTo>
                  <a:pt x="28" y="29"/>
                  <a:pt x="28" y="29"/>
                  <a:pt x="28" y="29"/>
                </a:cubicBezTo>
                <a:cubicBezTo>
                  <a:pt x="27" y="28"/>
                  <a:pt x="27" y="28"/>
                  <a:pt x="27" y="28"/>
                </a:cubicBezTo>
                <a:cubicBezTo>
                  <a:pt x="27" y="28"/>
                  <a:pt x="27" y="28"/>
                  <a:pt x="27" y="28"/>
                </a:cubicBezTo>
                <a:cubicBezTo>
                  <a:pt x="26" y="28"/>
                  <a:pt x="26" y="28"/>
                  <a:pt x="26" y="28"/>
                </a:cubicBezTo>
                <a:cubicBezTo>
                  <a:pt x="25" y="27"/>
                  <a:pt x="25" y="27"/>
                  <a:pt x="25" y="27"/>
                </a:cubicBezTo>
                <a:cubicBezTo>
                  <a:pt x="24" y="26"/>
                  <a:pt x="24" y="26"/>
                  <a:pt x="24" y="26"/>
                </a:cubicBezTo>
                <a:cubicBezTo>
                  <a:pt x="24" y="26"/>
                  <a:pt x="24" y="26"/>
                  <a:pt x="24" y="26"/>
                </a:cubicBezTo>
                <a:cubicBezTo>
                  <a:pt x="23" y="25"/>
                  <a:pt x="23" y="25"/>
                  <a:pt x="23" y="25"/>
                </a:cubicBezTo>
                <a:cubicBezTo>
                  <a:pt x="22" y="25"/>
                  <a:pt x="22" y="25"/>
                  <a:pt x="22" y="25"/>
                </a:cubicBezTo>
                <a:cubicBezTo>
                  <a:pt x="22" y="25"/>
                  <a:pt x="22" y="25"/>
                  <a:pt x="22" y="25"/>
                </a:cubicBezTo>
                <a:cubicBezTo>
                  <a:pt x="22" y="24"/>
                  <a:pt x="22" y="24"/>
                  <a:pt x="22" y="24"/>
                </a:cubicBezTo>
                <a:cubicBezTo>
                  <a:pt x="21" y="24"/>
                  <a:pt x="21" y="24"/>
                  <a:pt x="21" y="24"/>
                </a:cubicBezTo>
                <a:cubicBezTo>
                  <a:pt x="20" y="24"/>
                  <a:pt x="20" y="24"/>
                  <a:pt x="20" y="24"/>
                </a:cubicBezTo>
                <a:close/>
                <a:moveTo>
                  <a:pt x="22" y="43"/>
                </a:moveTo>
                <a:cubicBezTo>
                  <a:pt x="22" y="42"/>
                  <a:pt x="22" y="42"/>
                  <a:pt x="22" y="42"/>
                </a:cubicBezTo>
                <a:cubicBezTo>
                  <a:pt x="22" y="43"/>
                  <a:pt x="22" y="43"/>
                  <a:pt x="22" y="43"/>
                </a:cubicBezTo>
                <a:cubicBezTo>
                  <a:pt x="23" y="44"/>
                  <a:pt x="23" y="44"/>
                  <a:pt x="23" y="44"/>
                </a:cubicBezTo>
                <a:cubicBezTo>
                  <a:pt x="22" y="45"/>
                  <a:pt x="22" y="45"/>
                  <a:pt x="22" y="45"/>
                </a:cubicBezTo>
                <a:cubicBezTo>
                  <a:pt x="22" y="45"/>
                  <a:pt x="22" y="45"/>
                  <a:pt x="22" y="45"/>
                </a:cubicBezTo>
                <a:cubicBezTo>
                  <a:pt x="22" y="44"/>
                  <a:pt x="22" y="44"/>
                  <a:pt x="22" y="44"/>
                </a:cubicBezTo>
                <a:cubicBezTo>
                  <a:pt x="21" y="43"/>
                  <a:pt x="21" y="43"/>
                  <a:pt x="21" y="43"/>
                </a:cubicBezTo>
                <a:cubicBezTo>
                  <a:pt x="22" y="43"/>
                  <a:pt x="22" y="43"/>
                  <a:pt x="22" y="43"/>
                </a:cubicBezTo>
                <a:close/>
                <a:moveTo>
                  <a:pt x="22" y="42"/>
                </a:moveTo>
                <a:cubicBezTo>
                  <a:pt x="22" y="42"/>
                  <a:pt x="22" y="42"/>
                  <a:pt x="22" y="42"/>
                </a:cubicBezTo>
                <a:cubicBezTo>
                  <a:pt x="22" y="42"/>
                  <a:pt x="22" y="42"/>
                  <a:pt x="22" y="42"/>
                </a:cubicBez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3" name="Freeform 81">
            <a:extLst>
              <a:ext uri="{FF2B5EF4-FFF2-40B4-BE49-F238E27FC236}">
                <a16:creationId xmlns:a16="http://schemas.microsoft.com/office/drawing/2014/main" id="{EEECA377-8AC4-DACF-343B-9CF53DE9D8FF}"/>
              </a:ext>
            </a:extLst>
          </p:cNvPr>
          <p:cNvSpPr>
            <a:spLocks noEditPoints="1"/>
          </p:cNvSpPr>
          <p:nvPr userDrawn="1"/>
        </p:nvSpPr>
        <p:spPr bwMode="auto">
          <a:xfrm>
            <a:off x="15797771" y="6546135"/>
            <a:ext cx="339704" cy="288926"/>
          </a:xfrm>
          <a:custGeom>
            <a:avLst/>
            <a:gdLst>
              <a:gd name="T0" fmla="*/ 0 w 107"/>
              <a:gd name="T1" fmla="*/ 16 h 91"/>
              <a:gd name="T2" fmla="*/ 19 w 107"/>
              <a:gd name="T3" fmla="*/ 19 h 91"/>
              <a:gd name="T4" fmla="*/ 35 w 107"/>
              <a:gd name="T5" fmla="*/ 22 h 91"/>
              <a:gd name="T6" fmla="*/ 32 w 107"/>
              <a:gd name="T7" fmla="*/ 12 h 91"/>
              <a:gd name="T8" fmla="*/ 28 w 107"/>
              <a:gd name="T9" fmla="*/ 3 h 91"/>
              <a:gd name="T10" fmla="*/ 44 w 107"/>
              <a:gd name="T11" fmla="*/ 9 h 91"/>
              <a:gd name="T12" fmla="*/ 57 w 107"/>
              <a:gd name="T13" fmla="*/ 16 h 91"/>
              <a:gd name="T14" fmla="*/ 63 w 107"/>
              <a:gd name="T15" fmla="*/ 9 h 91"/>
              <a:gd name="T16" fmla="*/ 75 w 107"/>
              <a:gd name="T17" fmla="*/ 3 h 91"/>
              <a:gd name="T18" fmla="*/ 82 w 107"/>
              <a:gd name="T19" fmla="*/ 16 h 91"/>
              <a:gd name="T20" fmla="*/ 91 w 107"/>
              <a:gd name="T21" fmla="*/ 25 h 91"/>
              <a:gd name="T22" fmla="*/ 94 w 107"/>
              <a:gd name="T23" fmla="*/ 31 h 91"/>
              <a:gd name="T24" fmla="*/ 103 w 107"/>
              <a:gd name="T25" fmla="*/ 34 h 91"/>
              <a:gd name="T26" fmla="*/ 103 w 107"/>
              <a:gd name="T27" fmla="*/ 37 h 91"/>
              <a:gd name="T28" fmla="*/ 97 w 107"/>
              <a:gd name="T29" fmla="*/ 41 h 91"/>
              <a:gd name="T30" fmla="*/ 91 w 107"/>
              <a:gd name="T31" fmla="*/ 50 h 91"/>
              <a:gd name="T32" fmla="*/ 91 w 107"/>
              <a:gd name="T33" fmla="*/ 56 h 91"/>
              <a:gd name="T34" fmla="*/ 91 w 107"/>
              <a:gd name="T35" fmla="*/ 62 h 91"/>
              <a:gd name="T36" fmla="*/ 88 w 107"/>
              <a:gd name="T37" fmla="*/ 66 h 91"/>
              <a:gd name="T38" fmla="*/ 88 w 107"/>
              <a:gd name="T39" fmla="*/ 75 h 91"/>
              <a:gd name="T40" fmla="*/ 88 w 107"/>
              <a:gd name="T41" fmla="*/ 69 h 91"/>
              <a:gd name="T42" fmla="*/ 85 w 107"/>
              <a:gd name="T43" fmla="*/ 69 h 91"/>
              <a:gd name="T44" fmla="*/ 85 w 107"/>
              <a:gd name="T45" fmla="*/ 75 h 91"/>
              <a:gd name="T46" fmla="*/ 85 w 107"/>
              <a:gd name="T47" fmla="*/ 81 h 91"/>
              <a:gd name="T48" fmla="*/ 82 w 107"/>
              <a:gd name="T49" fmla="*/ 91 h 91"/>
              <a:gd name="T50" fmla="*/ 78 w 107"/>
              <a:gd name="T51" fmla="*/ 87 h 91"/>
              <a:gd name="T52" fmla="*/ 69 w 107"/>
              <a:gd name="T53" fmla="*/ 78 h 91"/>
              <a:gd name="T54" fmla="*/ 69 w 107"/>
              <a:gd name="T55" fmla="*/ 72 h 91"/>
              <a:gd name="T56" fmla="*/ 72 w 107"/>
              <a:gd name="T57" fmla="*/ 66 h 91"/>
              <a:gd name="T58" fmla="*/ 66 w 107"/>
              <a:gd name="T59" fmla="*/ 62 h 91"/>
              <a:gd name="T60" fmla="*/ 66 w 107"/>
              <a:gd name="T61" fmla="*/ 59 h 91"/>
              <a:gd name="T62" fmla="*/ 60 w 107"/>
              <a:gd name="T63" fmla="*/ 62 h 91"/>
              <a:gd name="T64" fmla="*/ 53 w 107"/>
              <a:gd name="T65" fmla="*/ 66 h 91"/>
              <a:gd name="T66" fmla="*/ 47 w 107"/>
              <a:gd name="T67" fmla="*/ 72 h 91"/>
              <a:gd name="T68" fmla="*/ 44 w 107"/>
              <a:gd name="T69" fmla="*/ 75 h 91"/>
              <a:gd name="T70" fmla="*/ 41 w 107"/>
              <a:gd name="T71" fmla="*/ 78 h 91"/>
              <a:gd name="T72" fmla="*/ 38 w 107"/>
              <a:gd name="T73" fmla="*/ 75 h 91"/>
              <a:gd name="T74" fmla="*/ 41 w 107"/>
              <a:gd name="T75" fmla="*/ 72 h 91"/>
              <a:gd name="T76" fmla="*/ 41 w 107"/>
              <a:gd name="T77" fmla="*/ 66 h 91"/>
              <a:gd name="T78" fmla="*/ 32 w 107"/>
              <a:gd name="T79" fmla="*/ 59 h 91"/>
              <a:gd name="T80" fmla="*/ 19 w 107"/>
              <a:gd name="T81" fmla="*/ 50 h 91"/>
              <a:gd name="T82" fmla="*/ 22 w 107"/>
              <a:gd name="T83" fmla="*/ 44 h 91"/>
              <a:gd name="T84" fmla="*/ 16 w 107"/>
              <a:gd name="T85" fmla="*/ 31 h 91"/>
              <a:gd name="T86" fmla="*/ 13 w 107"/>
              <a:gd name="T87" fmla="*/ 22 h 91"/>
              <a:gd name="T88" fmla="*/ 0 w 107"/>
              <a:gd name="T89" fmla="*/ 19 h 91"/>
              <a:gd name="T90" fmla="*/ 35 w 107"/>
              <a:gd name="T91" fmla="*/ 78 h 91"/>
              <a:gd name="T92" fmla="*/ 19 w 107"/>
              <a:gd name="T93" fmla="*/ 62 h 91"/>
              <a:gd name="T94" fmla="*/ 13 w 107"/>
              <a:gd name="T95" fmla="*/ 56 h 91"/>
              <a:gd name="T96" fmla="*/ 7 w 107"/>
              <a:gd name="T97" fmla="*/ 53 h 91"/>
              <a:gd name="T98" fmla="*/ 0 w 107"/>
              <a:gd name="T99" fmla="*/ 56 h 91"/>
              <a:gd name="T100" fmla="*/ 0 w 107"/>
              <a:gd name="T101" fmla="*/ 56 h 91"/>
              <a:gd name="T102" fmla="*/ 7 w 107"/>
              <a:gd name="T103" fmla="*/ 59 h 91"/>
              <a:gd name="T104" fmla="*/ 7 w 107"/>
              <a:gd name="T105" fmla="*/ 66 h 91"/>
              <a:gd name="T106" fmla="*/ 16 w 107"/>
              <a:gd name="T107" fmla="*/ 75 h 91"/>
              <a:gd name="T108" fmla="*/ 28 w 107"/>
              <a:gd name="T109" fmla="*/ 78 h 91"/>
              <a:gd name="T110" fmla="*/ 35 w 107"/>
              <a:gd name="T111" fmla="*/ 7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 h="91">
                <a:moveTo>
                  <a:pt x="0" y="19"/>
                </a:moveTo>
                <a:lnTo>
                  <a:pt x="0" y="16"/>
                </a:lnTo>
                <a:lnTo>
                  <a:pt x="10" y="12"/>
                </a:lnTo>
                <a:lnTo>
                  <a:pt x="19" y="19"/>
                </a:lnTo>
                <a:lnTo>
                  <a:pt x="28" y="19"/>
                </a:lnTo>
                <a:lnTo>
                  <a:pt x="35" y="22"/>
                </a:lnTo>
                <a:lnTo>
                  <a:pt x="35" y="16"/>
                </a:lnTo>
                <a:lnTo>
                  <a:pt x="32" y="12"/>
                </a:lnTo>
                <a:lnTo>
                  <a:pt x="28" y="9"/>
                </a:lnTo>
                <a:lnTo>
                  <a:pt x="28" y="3"/>
                </a:lnTo>
                <a:lnTo>
                  <a:pt x="35" y="3"/>
                </a:lnTo>
                <a:lnTo>
                  <a:pt x="44" y="9"/>
                </a:lnTo>
                <a:lnTo>
                  <a:pt x="47" y="16"/>
                </a:lnTo>
                <a:lnTo>
                  <a:pt x="57" y="16"/>
                </a:lnTo>
                <a:lnTo>
                  <a:pt x="57" y="12"/>
                </a:lnTo>
                <a:lnTo>
                  <a:pt x="63" y="9"/>
                </a:lnTo>
                <a:lnTo>
                  <a:pt x="69" y="0"/>
                </a:lnTo>
                <a:lnTo>
                  <a:pt x="75" y="3"/>
                </a:lnTo>
                <a:lnTo>
                  <a:pt x="82" y="12"/>
                </a:lnTo>
                <a:lnTo>
                  <a:pt x="82" y="16"/>
                </a:lnTo>
                <a:lnTo>
                  <a:pt x="82" y="22"/>
                </a:lnTo>
                <a:lnTo>
                  <a:pt x="91" y="25"/>
                </a:lnTo>
                <a:lnTo>
                  <a:pt x="91" y="28"/>
                </a:lnTo>
                <a:lnTo>
                  <a:pt x="94" y="31"/>
                </a:lnTo>
                <a:lnTo>
                  <a:pt x="100" y="31"/>
                </a:lnTo>
                <a:lnTo>
                  <a:pt x="103" y="34"/>
                </a:lnTo>
                <a:lnTo>
                  <a:pt x="107" y="37"/>
                </a:lnTo>
                <a:lnTo>
                  <a:pt x="103" y="37"/>
                </a:lnTo>
                <a:lnTo>
                  <a:pt x="103" y="41"/>
                </a:lnTo>
                <a:lnTo>
                  <a:pt x="97" y="41"/>
                </a:lnTo>
                <a:lnTo>
                  <a:pt x="91" y="44"/>
                </a:lnTo>
                <a:lnTo>
                  <a:pt x="91" y="50"/>
                </a:lnTo>
                <a:lnTo>
                  <a:pt x="91" y="53"/>
                </a:lnTo>
                <a:lnTo>
                  <a:pt x="91" y="56"/>
                </a:lnTo>
                <a:lnTo>
                  <a:pt x="91" y="59"/>
                </a:lnTo>
                <a:lnTo>
                  <a:pt x="91" y="62"/>
                </a:lnTo>
                <a:lnTo>
                  <a:pt x="91" y="66"/>
                </a:lnTo>
                <a:lnTo>
                  <a:pt x="88" y="66"/>
                </a:lnTo>
                <a:lnTo>
                  <a:pt x="88" y="72"/>
                </a:lnTo>
                <a:lnTo>
                  <a:pt x="88" y="75"/>
                </a:lnTo>
                <a:lnTo>
                  <a:pt x="88" y="75"/>
                </a:lnTo>
                <a:lnTo>
                  <a:pt x="88" y="69"/>
                </a:lnTo>
                <a:lnTo>
                  <a:pt x="85" y="66"/>
                </a:lnTo>
                <a:lnTo>
                  <a:pt x="85" y="69"/>
                </a:lnTo>
                <a:lnTo>
                  <a:pt x="82" y="72"/>
                </a:lnTo>
                <a:lnTo>
                  <a:pt x="85" y="75"/>
                </a:lnTo>
                <a:lnTo>
                  <a:pt x="85" y="78"/>
                </a:lnTo>
                <a:lnTo>
                  <a:pt x="85" y="81"/>
                </a:lnTo>
                <a:lnTo>
                  <a:pt x="85" y="87"/>
                </a:lnTo>
                <a:lnTo>
                  <a:pt x="82" y="91"/>
                </a:lnTo>
                <a:lnTo>
                  <a:pt x="78" y="87"/>
                </a:lnTo>
                <a:lnTo>
                  <a:pt x="78" y="87"/>
                </a:lnTo>
                <a:lnTo>
                  <a:pt x="75" y="84"/>
                </a:lnTo>
                <a:lnTo>
                  <a:pt x="69" y="78"/>
                </a:lnTo>
                <a:lnTo>
                  <a:pt x="75" y="72"/>
                </a:lnTo>
                <a:lnTo>
                  <a:pt x="69" y="72"/>
                </a:lnTo>
                <a:lnTo>
                  <a:pt x="69" y="69"/>
                </a:lnTo>
                <a:lnTo>
                  <a:pt x="72" y="66"/>
                </a:lnTo>
                <a:lnTo>
                  <a:pt x="69" y="62"/>
                </a:lnTo>
                <a:lnTo>
                  <a:pt x="66" y="62"/>
                </a:lnTo>
                <a:lnTo>
                  <a:pt x="66" y="59"/>
                </a:lnTo>
                <a:lnTo>
                  <a:pt x="66" y="59"/>
                </a:lnTo>
                <a:lnTo>
                  <a:pt x="63" y="59"/>
                </a:lnTo>
                <a:lnTo>
                  <a:pt x="60" y="62"/>
                </a:lnTo>
                <a:lnTo>
                  <a:pt x="57" y="62"/>
                </a:lnTo>
                <a:lnTo>
                  <a:pt x="53" y="66"/>
                </a:lnTo>
                <a:lnTo>
                  <a:pt x="53" y="66"/>
                </a:lnTo>
                <a:lnTo>
                  <a:pt x="47" y="72"/>
                </a:lnTo>
                <a:lnTo>
                  <a:pt x="47" y="72"/>
                </a:lnTo>
                <a:lnTo>
                  <a:pt x="44" y="75"/>
                </a:lnTo>
                <a:lnTo>
                  <a:pt x="44" y="75"/>
                </a:lnTo>
                <a:lnTo>
                  <a:pt x="41" y="78"/>
                </a:lnTo>
                <a:lnTo>
                  <a:pt x="38" y="75"/>
                </a:lnTo>
                <a:lnTo>
                  <a:pt x="38" y="75"/>
                </a:lnTo>
                <a:lnTo>
                  <a:pt x="38" y="72"/>
                </a:lnTo>
                <a:lnTo>
                  <a:pt x="41" y="72"/>
                </a:lnTo>
                <a:lnTo>
                  <a:pt x="38" y="66"/>
                </a:lnTo>
                <a:lnTo>
                  <a:pt x="41" y="66"/>
                </a:lnTo>
                <a:lnTo>
                  <a:pt x="38" y="59"/>
                </a:lnTo>
                <a:lnTo>
                  <a:pt x="32" y="59"/>
                </a:lnTo>
                <a:lnTo>
                  <a:pt x="22" y="56"/>
                </a:lnTo>
                <a:lnTo>
                  <a:pt x="19" y="50"/>
                </a:lnTo>
                <a:lnTo>
                  <a:pt x="22" y="47"/>
                </a:lnTo>
                <a:lnTo>
                  <a:pt x="22" y="44"/>
                </a:lnTo>
                <a:lnTo>
                  <a:pt x="16" y="34"/>
                </a:lnTo>
                <a:lnTo>
                  <a:pt x="16" y="31"/>
                </a:lnTo>
                <a:lnTo>
                  <a:pt x="16" y="28"/>
                </a:lnTo>
                <a:lnTo>
                  <a:pt x="13" y="22"/>
                </a:lnTo>
                <a:lnTo>
                  <a:pt x="3" y="22"/>
                </a:lnTo>
                <a:lnTo>
                  <a:pt x="0" y="19"/>
                </a:lnTo>
                <a:lnTo>
                  <a:pt x="0" y="19"/>
                </a:lnTo>
                <a:close/>
                <a:moveTo>
                  <a:pt x="35" y="78"/>
                </a:moveTo>
                <a:lnTo>
                  <a:pt x="25" y="62"/>
                </a:lnTo>
                <a:lnTo>
                  <a:pt x="19" y="62"/>
                </a:lnTo>
                <a:lnTo>
                  <a:pt x="16" y="56"/>
                </a:lnTo>
                <a:lnTo>
                  <a:pt x="13" y="56"/>
                </a:lnTo>
                <a:lnTo>
                  <a:pt x="13" y="59"/>
                </a:lnTo>
                <a:lnTo>
                  <a:pt x="7" y="53"/>
                </a:lnTo>
                <a:lnTo>
                  <a:pt x="3" y="56"/>
                </a:lnTo>
                <a:lnTo>
                  <a:pt x="0" y="56"/>
                </a:lnTo>
                <a:lnTo>
                  <a:pt x="0" y="56"/>
                </a:lnTo>
                <a:lnTo>
                  <a:pt x="0" y="56"/>
                </a:lnTo>
                <a:lnTo>
                  <a:pt x="3" y="59"/>
                </a:lnTo>
                <a:lnTo>
                  <a:pt x="7" y="59"/>
                </a:lnTo>
                <a:lnTo>
                  <a:pt x="10" y="62"/>
                </a:lnTo>
                <a:lnTo>
                  <a:pt x="7" y="66"/>
                </a:lnTo>
                <a:lnTo>
                  <a:pt x="16" y="72"/>
                </a:lnTo>
                <a:lnTo>
                  <a:pt x="16" y="75"/>
                </a:lnTo>
                <a:lnTo>
                  <a:pt x="22" y="78"/>
                </a:lnTo>
                <a:lnTo>
                  <a:pt x="28" y="78"/>
                </a:lnTo>
                <a:lnTo>
                  <a:pt x="32" y="81"/>
                </a:lnTo>
                <a:lnTo>
                  <a:pt x="35" y="78"/>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4" name="Freeform 82">
            <a:extLst>
              <a:ext uri="{FF2B5EF4-FFF2-40B4-BE49-F238E27FC236}">
                <a16:creationId xmlns:a16="http://schemas.microsoft.com/office/drawing/2014/main" id="{DE9BCCB0-08C2-2007-D231-67770D30D14F}"/>
              </a:ext>
            </a:extLst>
          </p:cNvPr>
          <p:cNvSpPr>
            <a:spLocks/>
          </p:cNvSpPr>
          <p:nvPr userDrawn="1"/>
        </p:nvSpPr>
        <p:spPr bwMode="auto">
          <a:xfrm>
            <a:off x="15769196" y="6723931"/>
            <a:ext cx="1279443" cy="1035050"/>
          </a:xfrm>
          <a:custGeom>
            <a:avLst/>
            <a:gdLst>
              <a:gd name="T0" fmla="*/ 19 w 403"/>
              <a:gd name="T1" fmla="*/ 6 h 326"/>
              <a:gd name="T2" fmla="*/ 37 w 403"/>
              <a:gd name="T3" fmla="*/ 22 h 326"/>
              <a:gd name="T4" fmla="*/ 50 w 403"/>
              <a:gd name="T5" fmla="*/ 22 h 326"/>
              <a:gd name="T6" fmla="*/ 62 w 403"/>
              <a:gd name="T7" fmla="*/ 10 h 326"/>
              <a:gd name="T8" fmla="*/ 75 w 403"/>
              <a:gd name="T9" fmla="*/ 3 h 326"/>
              <a:gd name="T10" fmla="*/ 78 w 403"/>
              <a:gd name="T11" fmla="*/ 13 h 326"/>
              <a:gd name="T12" fmla="*/ 87 w 403"/>
              <a:gd name="T13" fmla="*/ 31 h 326"/>
              <a:gd name="T14" fmla="*/ 97 w 403"/>
              <a:gd name="T15" fmla="*/ 38 h 326"/>
              <a:gd name="T16" fmla="*/ 103 w 403"/>
              <a:gd name="T17" fmla="*/ 53 h 326"/>
              <a:gd name="T18" fmla="*/ 125 w 403"/>
              <a:gd name="T19" fmla="*/ 57 h 326"/>
              <a:gd name="T20" fmla="*/ 153 w 403"/>
              <a:gd name="T21" fmla="*/ 72 h 326"/>
              <a:gd name="T22" fmla="*/ 200 w 403"/>
              <a:gd name="T23" fmla="*/ 69 h 326"/>
              <a:gd name="T24" fmla="*/ 209 w 403"/>
              <a:gd name="T25" fmla="*/ 50 h 326"/>
              <a:gd name="T26" fmla="*/ 234 w 403"/>
              <a:gd name="T27" fmla="*/ 35 h 326"/>
              <a:gd name="T28" fmla="*/ 253 w 403"/>
              <a:gd name="T29" fmla="*/ 31 h 326"/>
              <a:gd name="T30" fmla="*/ 284 w 403"/>
              <a:gd name="T31" fmla="*/ 44 h 326"/>
              <a:gd name="T32" fmla="*/ 303 w 403"/>
              <a:gd name="T33" fmla="*/ 53 h 326"/>
              <a:gd name="T34" fmla="*/ 334 w 403"/>
              <a:gd name="T35" fmla="*/ 75 h 326"/>
              <a:gd name="T36" fmla="*/ 337 w 403"/>
              <a:gd name="T37" fmla="*/ 94 h 326"/>
              <a:gd name="T38" fmla="*/ 337 w 403"/>
              <a:gd name="T39" fmla="*/ 107 h 326"/>
              <a:gd name="T40" fmla="*/ 331 w 403"/>
              <a:gd name="T41" fmla="*/ 122 h 326"/>
              <a:gd name="T42" fmla="*/ 341 w 403"/>
              <a:gd name="T43" fmla="*/ 135 h 326"/>
              <a:gd name="T44" fmla="*/ 341 w 403"/>
              <a:gd name="T45" fmla="*/ 169 h 326"/>
              <a:gd name="T46" fmla="*/ 362 w 403"/>
              <a:gd name="T47" fmla="*/ 194 h 326"/>
              <a:gd name="T48" fmla="*/ 362 w 403"/>
              <a:gd name="T49" fmla="*/ 241 h 326"/>
              <a:gd name="T50" fmla="*/ 384 w 403"/>
              <a:gd name="T51" fmla="*/ 254 h 326"/>
              <a:gd name="T52" fmla="*/ 391 w 403"/>
              <a:gd name="T53" fmla="*/ 272 h 326"/>
              <a:gd name="T54" fmla="*/ 400 w 403"/>
              <a:gd name="T55" fmla="*/ 291 h 326"/>
              <a:gd name="T56" fmla="*/ 375 w 403"/>
              <a:gd name="T57" fmla="*/ 297 h 326"/>
              <a:gd name="T58" fmla="*/ 375 w 403"/>
              <a:gd name="T59" fmla="*/ 322 h 326"/>
              <a:gd name="T60" fmla="*/ 356 w 403"/>
              <a:gd name="T61" fmla="*/ 319 h 326"/>
              <a:gd name="T62" fmla="*/ 347 w 403"/>
              <a:gd name="T63" fmla="*/ 319 h 326"/>
              <a:gd name="T64" fmla="*/ 319 w 403"/>
              <a:gd name="T65" fmla="*/ 316 h 326"/>
              <a:gd name="T66" fmla="*/ 297 w 403"/>
              <a:gd name="T67" fmla="*/ 313 h 326"/>
              <a:gd name="T68" fmla="*/ 281 w 403"/>
              <a:gd name="T69" fmla="*/ 297 h 326"/>
              <a:gd name="T70" fmla="*/ 272 w 403"/>
              <a:gd name="T71" fmla="*/ 282 h 326"/>
              <a:gd name="T72" fmla="*/ 253 w 403"/>
              <a:gd name="T73" fmla="*/ 282 h 326"/>
              <a:gd name="T74" fmla="*/ 222 w 403"/>
              <a:gd name="T75" fmla="*/ 288 h 326"/>
              <a:gd name="T76" fmla="*/ 203 w 403"/>
              <a:gd name="T77" fmla="*/ 282 h 326"/>
              <a:gd name="T78" fmla="*/ 191 w 403"/>
              <a:gd name="T79" fmla="*/ 272 h 326"/>
              <a:gd name="T80" fmla="*/ 169 w 403"/>
              <a:gd name="T81" fmla="*/ 266 h 326"/>
              <a:gd name="T82" fmla="*/ 153 w 403"/>
              <a:gd name="T83" fmla="*/ 244 h 326"/>
              <a:gd name="T84" fmla="*/ 153 w 403"/>
              <a:gd name="T85" fmla="*/ 241 h 326"/>
              <a:gd name="T86" fmla="*/ 137 w 403"/>
              <a:gd name="T87" fmla="*/ 216 h 326"/>
              <a:gd name="T88" fmla="*/ 125 w 403"/>
              <a:gd name="T89" fmla="*/ 216 h 326"/>
              <a:gd name="T90" fmla="*/ 116 w 403"/>
              <a:gd name="T91" fmla="*/ 213 h 326"/>
              <a:gd name="T92" fmla="*/ 112 w 403"/>
              <a:gd name="T93" fmla="*/ 219 h 326"/>
              <a:gd name="T94" fmla="*/ 103 w 403"/>
              <a:gd name="T95" fmla="*/ 213 h 326"/>
              <a:gd name="T96" fmla="*/ 91 w 403"/>
              <a:gd name="T97" fmla="*/ 188 h 326"/>
              <a:gd name="T98" fmla="*/ 81 w 403"/>
              <a:gd name="T99" fmla="*/ 163 h 326"/>
              <a:gd name="T100" fmla="*/ 53 w 403"/>
              <a:gd name="T101" fmla="*/ 153 h 326"/>
              <a:gd name="T102" fmla="*/ 50 w 403"/>
              <a:gd name="T103" fmla="*/ 141 h 326"/>
              <a:gd name="T104" fmla="*/ 44 w 403"/>
              <a:gd name="T105" fmla="*/ 132 h 326"/>
              <a:gd name="T106" fmla="*/ 47 w 403"/>
              <a:gd name="T107" fmla="*/ 113 h 326"/>
              <a:gd name="T108" fmla="*/ 50 w 403"/>
              <a:gd name="T109" fmla="*/ 97 h 326"/>
              <a:gd name="T110" fmla="*/ 53 w 403"/>
              <a:gd name="T111" fmla="*/ 91 h 326"/>
              <a:gd name="T112" fmla="*/ 31 w 403"/>
              <a:gd name="T113" fmla="*/ 85 h 326"/>
              <a:gd name="T114" fmla="*/ 22 w 403"/>
              <a:gd name="T115" fmla="*/ 69 h 326"/>
              <a:gd name="T116" fmla="*/ 16 w 403"/>
              <a:gd name="T117" fmla="*/ 57 h 326"/>
              <a:gd name="T118" fmla="*/ 9 w 403"/>
              <a:gd name="T119" fmla="*/ 35 h 326"/>
              <a:gd name="T120" fmla="*/ 3 w 403"/>
              <a:gd name="T121" fmla="*/ 13 h 326"/>
              <a:gd name="T122" fmla="*/ 9 w 403"/>
              <a:gd name="T123"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3" h="326">
                <a:moveTo>
                  <a:pt x="9" y="0"/>
                </a:moveTo>
                <a:lnTo>
                  <a:pt x="9" y="0"/>
                </a:lnTo>
                <a:lnTo>
                  <a:pt x="12" y="3"/>
                </a:lnTo>
                <a:lnTo>
                  <a:pt x="16" y="3"/>
                </a:lnTo>
                <a:lnTo>
                  <a:pt x="19" y="6"/>
                </a:lnTo>
                <a:lnTo>
                  <a:pt x="16" y="10"/>
                </a:lnTo>
                <a:lnTo>
                  <a:pt x="25" y="16"/>
                </a:lnTo>
                <a:lnTo>
                  <a:pt x="25" y="19"/>
                </a:lnTo>
                <a:lnTo>
                  <a:pt x="31" y="22"/>
                </a:lnTo>
                <a:lnTo>
                  <a:pt x="37" y="22"/>
                </a:lnTo>
                <a:lnTo>
                  <a:pt x="41" y="25"/>
                </a:lnTo>
                <a:lnTo>
                  <a:pt x="44" y="22"/>
                </a:lnTo>
                <a:lnTo>
                  <a:pt x="44" y="22"/>
                </a:lnTo>
                <a:lnTo>
                  <a:pt x="47" y="19"/>
                </a:lnTo>
                <a:lnTo>
                  <a:pt x="50" y="22"/>
                </a:lnTo>
                <a:lnTo>
                  <a:pt x="53" y="19"/>
                </a:lnTo>
                <a:lnTo>
                  <a:pt x="53" y="19"/>
                </a:lnTo>
                <a:lnTo>
                  <a:pt x="56" y="16"/>
                </a:lnTo>
                <a:lnTo>
                  <a:pt x="56" y="16"/>
                </a:lnTo>
                <a:lnTo>
                  <a:pt x="62" y="10"/>
                </a:lnTo>
                <a:lnTo>
                  <a:pt x="62" y="10"/>
                </a:lnTo>
                <a:lnTo>
                  <a:pt x="66" y="6"/>
                </a:lnTo>
                <a:lnTo>
                  <a:pt x="69" y="6"/>
                </a:lnTo>
                <a:lnTo>
                  <a:pt x="72" y="3"/>
                </a:lnTo>
                <a:lnTo>
                  <a:pt x="75" y="3"/>
                </a:lnTo>
                <a:lnTo>
                  <a:pt x="75" y="3"/>
                </a:lnTo>
                <a:lnTo>
                  <a:pt x="75" y="6"/>
                </a:lnTo>
                <a:lnTo>
                  <a:pt x="78" y="6"/>
                </a:lnTo>
                <a:lnTo>
                  <a:pt x="81" y="10"/>
                </a:lnTo>
                <a:lnTo>
                  <a:pt x="78" y="13"/>
                </a:lnTo>
                <a:lnTo>
                  <a:pt x="78" y="16"/>
                </a:lnTo>
                <a:lnTo>
                  <a:pt x="84" y="16"/>
                </a:lnTo>
                <a:lnTo>
                  <a:pt x="78" y="22"/>
                </a:lnTo>
                <a:lnTo>
                  <a:pt x="84" y="28"/>
                </a:lnTo>
                <a:lnTo>
                  <a:pt x="87" y="31"/>
                </a:lnTo>
                <a:lnTo>
                  <a:pt x="87" y="31"/>
                </a:lnTo>
                <a:lnTo>
                  <a:pt x="91" y="35"/>
                </a:lnTo>
                <a:lnTo>
                  <a:pt x="94" y="31"/>
                </a:lnTo>
                <a:lnTo>
                  <a:pt x="94" y="35"/>
                </a:lnTo>
                <a:lnTo>
                  <a:pt x="97" y="38"/>
                </a:lnTo>
                <a:lnTo>
                  <a:pt x="97" y="41"/>
                </a:lnTo>
                <a:lnTo>
                  <a:pt x="97" y="47"/>
                </a:lnTo>
                <a:lnTo>
                  <a:pt x="97" y="47"/>
                </a:lnTo>
                <a:lnTo>
                  <a:pt x="100" y="50"/>
                </a:lnTo>
                <a:lnTo>
                  <a:pt x="103" y="53"/>
                </a:lnTo>
                <a:lnTo>
                  <a:pt x="109" y="53"/>
                </a:lnTo>
                <a:lnTo>
                  <a:pt x="112" y="53"/>
                </a:lnTo>
                <a:lnTo>
                  <a:pt x="116" y="53"/>
                </a:lnTo>
                <a:lnTo>
                  <a:pt x="122" y="57"/>
                </a:lnTo>
                <a:lnTo>
                  <a:pt x="125" y="57"/>
                </a:lnTo>
                <a:lnTo>
                  <a:pt x="125" y="60"/>
                </a:lnTo>
                <a:lnTo>
                  <a:pt x="128" y="63"/>
                </a:lnTo>
                <a:lnTo>
                  <a:pt x="137" y="69"/>
                </a:lnTo>
                <a:lnTo>
                  <a:pt x="144" y="69"/>
                </a:lnTo>
                <a:lnTo>
                  <a:pt x="153" y="72"/>
                </a:lnTo>
                <a:lnTo>
                  <a:pt x="159" y="72"/>
                </a:lnTo>
                <a:lnTo>
                  <a:pt x="172" y="69"/>
                </a:lnTo>
                <a:lnTo>
                  <a:pt x="184" y="66"/>
                </a:lnTo>
                <a:lnTo>
                  <a:pt x="194" y="66"/>
                </a:lnTo>
                <a:lnTo>
                  <a:pt x="200" y="69"/>
                </a:lnTo>
                <a:lnTo>
                  <a:pt x="200" y="63"/>
                </a:lnTo>
                <a:lnTo>
                  <a:pt x="197" y="60"/>
                </a:lnTo>
                <a:lnTo>
                  <a:pt x="197" y="53"/>
                </a:lnTo>
                <a:lnTo>
                  <a:pt x="200" y="50"/>
                </a:lnTo>
                <a:lnTo>
                  <a:pt x="209" y="50"/>
                </a:lnTo>
                <a:lnTo>
                  <a:pt x="209" y="44"/>
                </a:lnTo>
                <a:lnTo>
                  <a:pt x="212" y="41"/>
                </a:lnTo>
                <a:lnTo>
                  <a:pt x="216" y="41"/>
                </a:lnTo>
                <a:lnTo>
                  <a:pt x="225" y="35"/>
                </a:lnTo>
                <a:lnTo>
                  <a:pt x="234" y="35"/>
                </a:lnTo>
                <a:lnTo>
                  <a:pt x="241" y="35"/>
                </a:lnTo>
                <a:lnTo>
                  <a:pt x="241" y="31"/>
                </a:lnTo>
                <a:lnTo>
                  <a:pt x="247" y="28"/>
                </a:lnTo>
                <a:lnTo>
                  <a:pt x="250" y="31"/>
                </a:lnTo>
                <a:lnTo>
                  <a:pt x="253" y="31"/>
                </a:lnTo>
                <a:lnTo>
                  <a:pt x="262" y="38"/>
                </a:lnTo>
                <a:lnTo>
                  <a:pt x="266" y="38"/>
                </a:lnTo>
                <a:lnTo>
                  <a:pt x="278" y="44"/>
                </a:lnTo>
                <a:lnTo>
                  <a:pt x="281" y="44"/>
                </a:lnTo>
                <a:lnTo>
                  <a:pt x="284" y="44"/>
                </a:lnTo>
                <a:lnTo>
                  <a:pt x="294" y="47"/>
                </a:lnTo>
                <a:lnTo>
                  <a:pt x="297" y="47"/>
                </a:lnTo>
                <a:lnTo>
                  <a:pt x="297" y="53"/>
                </a:lnTo>
                <a:lnTo>
                  <a:pt x="300" y="53"/>
                </a:lnTo>
                <a:lnTo>
                  <a:pt x="303" y="53"/>
                </a:lnTo>
                <a:lnTo>
                  <a:pt x="312" y="57"/>
                </a:lnTo>
                <a:lnTo>
                  <a:pt x="319" y="66"/>
                </a:lnTo>
                <a:lnTo>
                  <a:pt x="328" y="66"/>
                </a:lnTo>
                <a:lnTo>
                  <a:pt x="331" y="69"/>
                </a:lnTo>
                <a:lnTo>
                  <a:pt x="334" y="75"/>
                </a:lnTo>
                <a:lnTo>
                  <a:pt x="334" y="78"/>
                </a:lnTo>
                <a:lnTo>
                  <a:pt x="337" y="82"/>
                </a:lnTo>
                <a:lnTo>
                  <a:pt x="337" y="85"/>
                </a:lnTo>
                <a:lnTo>
                  <a:pt x="337" y="88"/>
                </a:lnTo>
                <a:lnTo>
                  <a:pt x="337" y="94"/>
                </a:lnTo>
                <a:lnTo>
                  <a:pt x="337" y="97"/>
                </a:lnTo>
                <a:lnTo>
                  <a:pt x="337" y="100"/>
                </a:lnTo>
                <a:lnTo>
                  <a:pt x="341" y="103"/>
                </a:lnTo>
                <a:lnTo>
                  <a:pt x="337" y="103"/>
                </a:lnTo>
                <a:lnTo>
                  <a:pt x="337" y="107"/>
                </a:lnTo>
                <a:lnTo>
                  <a:pt x="334" y="110"/>
                </a:lnTo>
                <a:lnTo>
                  <a:pt x="328" y="113"/>
                </a:lnTo>
                <a:lnTo>
                  <a:pt x="331" y="113"/>
                </a:lnTo>
                <a:lnTo>
                  <a:pt x="334" y="116"/>
                </a:lnTo>
                <a:lnTo>
                  <a:pt x="331" y="122"/>
                </a:lnTo>
                <a:lnTo>
                  <a:pt x="331" y="122"/>
                </a:lnTo>
                <a:lnTo>
                  <a:pt x="331" y="128"/>
                </a:lnTo>
                <a:lnTo>
                  <a:pt x="331" y="135"/>
                </a:lnTo>
                <a:lnTo>
                  <a:pt x="341" y="135"/>
                </a:lnTo>
                <a:lnTo>
                  <a:pt x="341" y="135"/>
                </a:lnTo>
                <a:lnTo>
                  <a:pt x="334" y="144"/>
                </a:lnTo>
                <a:lnTo>
                  <a:pt x="334" y="147"/>
                </a:lnTo>
                <a:lnTo>
                  <a:pt x="341" y="157"/>
                </a:lnTo>
                <a:lnTo>
                  <a:pt x="341" y="166"/>
                </a:lnTo>
                <a:lnTo>
                  <a:pt x="341" y="169"/>
                </a:lnTo>
                <a:lnTo>
                  <a:pt x="344" y="172"/>
                </a:lnTo>
                <a:lnTo>
                  <a:pt x="344" y="182"/>
                </a:lnTo>
                <a:lnTo>
                  <a:pt x="359" y="182"/>
                </a:lnTo>
                <a:lnTo>
                  <a:pt x="362" y="188"/>
                </a:lnTo>
                <a:lnTo>
                  <a:pt x="362" y="194"/>
                </a:lnTo>
                <a:lnTo>
                  <a:pt x="366" y="200"/>
                </a:lnTo>
                <a:lnTo>
                  <a:pt x="362" y="204"/>
                </a:lnTo>
                <a:lnTo>
                  <a:pt x="350" y="222"/>
                </a:lnTo>
                <a:lnTo>
                  <a:pt x="359" y="238"/>
                </a:lnTo>
                <a:lnTo>
                  <a:pt x="362" y="241"/>
                </a:lnTo>
                <a:lnTo>
                  <a:pt x="366" y="247"/>
                </a:lnTo>
                <a:lnTo>
                  <a:pt x="372" y="250"/>
                </a:lnTo>
                <a:lnTo>
                  <a:pt x="372" y="250"/>
                </a:lnTo>
                <a:lnTo>
                  <a:pt x="378" y="250"/>
                </a:lnTo>
                <a:lnTo>
                  <a:pt x="384" y="254"/>
                </a:lnTo>
                <a:lnTo>
                  <a:pt x="384" y="257"/>
                </a:lnTo>
                <a:lnTo>
                  <a:pt x="387" y="257"/>
                </a:lnTo>
                <a:lnTo>
                  <a:pt x="387" y="263"/>
                </a:lnTo>
                <a:lnTo>
                  <a:pt x="391" y="266"/>
                </a:lnTo>
                <a:lnTo>
                  <a:pt x="391" y="272"/>
                </a:lnTo>
                <a:lnTo>
                  <a:pt x="391" y="275"/>
                </a:lnTo>
                <a:lnTo>
                  <a:pt x="397" y="275"/>
                </a:lnTo>
                <a:lnTo>
                  <a:pt x="403" y="279"/>
                </a:lnTo>
                <a:lnTo>
                  <a:pt x="403" y="288"/>
                </a:lnTo>
                <a:lnTo>
                  <a:pt x="400" y="291"/>
                </a:lnTo>
                <a:lnTo>
                  <a:pt x="394" y="288"/>
                </a:lnTo>
                <a:lnTo>
                  <a:pt x="384" y="291"/>
                </a:lnTo>
                <a:lnTo>
                  <a:pt x="384" y="291"/>
                </a:lnTo>
                <a:lnTo>
                  <a:pt x="378" y="294"/>
                </a:lnTo>
                <a:lnTo>
                  <a:pt x="375" y="297"/>
                </a:lnTo>
                <a:lnTo>
                  <a:pt x="375" y="304"/>
                </a:lnTo>
                <a:lnTo>
                  <a:pt x="372" y="307"/>
                </a:lnTo>
                <a:lnTo>
                  <a:pt x="375" y="310"/>
                </a:lnTo>
                <a:lnTo>
                  <a:pt x="375" y="319"/>
                </a:lnTo>
                <a:lnTo>
                  <a:pt x="375" y="322"/>
                </a:lnTo>
                <a:lnTo>
                  <a:pt x="372" y="322"/>
                </a:lnTo>
                <a:lnTo>
                  <a:pt x="372" y="322"/>
                </a:lnTo>
                <a:lnTo>
                  <a:pt x="369" y="326"/>
                </a:lnTo>
                <a:lnTo>
                  <a:pt x="362" y="322"/>
                </a:lnTo>
                <a:lnTo>
                  <a:pt x="356" y="319"/>
                </a:lnTo>
                <a:lnTo>
                  <a:pt x="356" y="316"/>
                </a:lnTo>
                <a:lnTo>
                  <a:pt x="353" y="316"/>
                </a:lnTo>
                <a:lnTo>
                  <a:pt x="353" y="319"/>
                </a:lnTo>
                <a:lnTo>
                  <a:pt x="350" y="322"/>
                </a:lnTo>
                <a:lnTo>
                  <a:pt x="347" y="319"/>
                </a:lnTo>
                <a:lnTo>
                  <a:pt x="347" y="319"/>
                </a:lnTo>
                <a:lnTo>
                  <a:pt x="344" y="319"/>
                </a:lnTo>
                <a:lnTo>
                  <a:pt x="334" y="316"/>
                </a:lnTo>
                <a:lnTo>
                  <a:pt x="328" y="316"/>
                </a:lnTo>
                <a:lnTo>
                  <a:pt x="319" y="316"/>
                </a:lnTo>
                <a:lnTo>
                  <a:pt x="312" y="310"/>
                </a:lnTo>
                <a:lnTo>
                  <a:pt x="309" y="310"/>
                </a:lnTo>
                <a:lnTo>
                  <a:pt x="306" y="316"/>
                </a:lnTo>
                <a:lnTo>
                  <a:pt x="303" y="313"/>
                </a:lnTo>
                <a:lnTo>
                  <a:pt x="297" y="313"/>
                </a:lnTo>
                <a:lnTo>
                  <a:pt x="287" y="313"/>
                </a:lnTo>
                <a:lnTo>
                  <a:pt x="287" y="310"/>
                </a:lnTo>
                <a:lnTo>
                  <a:pt x="284" y="310"/>
                </a:lnTo>
                <a:lnTo>
                  <a:pt x="284" y="304"/>
                </a:lnTo>
                <a:lnTo>
                  <a:pt x="281" y="297"/>
                </a:lnTo>
                <a:lnTo>
                  <a:pt x="278" y="288"/>
                </a:lnTo>
                <a:lnTo>
                  <a:pt x="275" y="285"/>
                </a:lnTo>
                <a:lnTo>
                  <a:pt x="275" y="282"/>
                </a:lnTo>
                <a:lnTo>
                  <a:pt x="272" y="282"/>
                </a:lnTo>
                <a:lnTo>
                  <a:pt x="272" y="282"/>
                </a:lnTo>
                <a:lnTo>
                  <a:pt x="266" y="279"/>
                </a:lnTo>
                <a:lnTo>
                  <a:pt x="262" y="282"/>
                </a:lnTo>
                <a:lnTo>
                  <a:pt x="256" y="285"/>
                </a:lnTo>
                <a:lnTo>
                  <a:pt x="253" y="285"/>
                </a:lnTo>
                <a:lnTo>
                  <a:pt x="253" y="282"/>
                </a:lnTo>
                <a:lnTo>
                  <a:pt x="253" y="285"/>
                </a:lnTo>
                <a:lnTo>
                  <a:pt x="244" y="291"/>
                </a:lnTo>
                <a:lnTo>
                  <a:pt x="237" y="297"/>
                </a:lnTo>
                <a:lnTo>
                  <a:pt x="228" y="291"/>
                </a:lnTo>
                <a:lnTo>
                  <a:pt x="222" y="288"/>
                </a:lnTo>
                <a:lnTo>
                  <a:pt x="219" y="291"/>
                </a:lnTo>
                <a:lnTo>
                  <a:pt x="216" y="291"/>
                </a:lnTo>
                <a:lnTo>
                  <a:pt x="209" y="285"/>
                </a:lnTo>
                <a:lnTo>
                  <a:pt x="206" y="285"/>
                </a:lnTo>
                <a:lnTo>
                  <a:pt x="203" y="282"/>
                </a:lnTo>
                <a:lnTo>
                  <a:pt x="200" y="282"/>
                </a:lnTo>
                <a:lnTo>
                  <a:pt x="194" y="275"/>
                </a:lnTo>
                <a:lnTo>
                  <a:pt x="194" y="272"/>
                </a:lnTo>
                <a:lnTo>
                  <a:pt x="194" y="272"/>
                </a:lnTo>
                <a:lnTo>
                  <a:pt x="191" y="272"/>
                </a:lnTo>
                <a:lnTo>
                  <a:pt x="191" y="269"/>
                </a:lnTo>
                <a:lnTo>
                  <a:pt x="184" y="269"/>
                </a:lnTo>
                <a:lnTo>
                  <a:pt x="181" y="266"/>
                </a:lnTo>
                <a:lnTo>
                  <a:pt x="175" y="266"/>
                </a:lnTo>
                <a:lnTo>
                  <a:pt x="169" y="266"/>
                </a:lnTo>
                <a:lnTo>
                  <a:pt x="166" y="263"/>
                </a:lnTo>
                <a:lnTo>
                  <a:pt x="159" y="250"/>
                </a:lnTo>
                <a:lnTo>
                  <a:pt x="159" y="247"/>
                </a:lnTo>
                <a:lnTo>
                  <a:pt x="156" y="247"/>
                </a:lnTo>
                <a:lnTo>
                  <a:pt x="153" y="244"/>
                </a:lnTo>
                <a:lnTo>
                  <a:pt x="153" y="244"/>
                </a:lnTo>
                <a:lnTo>
                  <a:pt x="156" y="244"/>
                </a:lnTo>
                <a:lnTo>
                  <a:pt x="156" y="244"/>
                </a:lnTo>
                <a:lnTo>
                  <a:pt x="156" y="241"/>
                </a:lnTo>
                <a:lnTo>
                  <a:pt x="153" y="241"/>
                </a:lnTo>
                <a:lnTo>
                  <a:pt x="150" y="241"/>
                </a:lnTo>
                <a:lnTo>
                  <a:pt x="150" y="235"/>
                </a:lnTo>
                <a:lnTo>
                  <a:pt x="144" y="225"/>
                </a:lnTo>
                <a:lnTo>
                  <a:pt x="141" y="222"/>
                </a:lnTo>
                <a:lnTo>
                  <a:pt x="137" y="216"/>
                </a:lnTo>
                <a:lnTo>
                  <a:pt x="134" y="216"/>
                </a:lnTo>
                <a:lnTo>
                  <a:pt x="128" y="219"/>
                </a:lnTo>
                <a:lnTo>
                  <a:pt x="128" y="219"/>
                </a:lnTo>
                <a:lnTo>
                  <a:pt x="125" y="216"/>
                </a:lnTo>
                <a:lnTo>
                  <a:pt x="125" y="216"/>
                </a:lnTo>
                <a:lnTo>
                  <a:pt x="119" y="216"/>
                </a:lnTo>
                <a:lnTo>
                  <a:pt x="119" y="213"/>
                </a:lnTo>
                <a:lnTo>
                  <a:pt x="122" y="210"/>
                </a:lnTo>
                <a:lnTo>
                  <a:pt x="119" y="213"/>
                </a:lnTo>
                <a:lnTo>
                  <a:pt x="116" y="213"/>
                </a:lnTo>
                <a:lnTo>
                  <a:pt x="116" y="213"/>
                </a:lnTo>
                <a:lnTo>
                  <a:pt x="119" y="213"/>
                </a:lnTo>
                <a:lnTo>
                  <a:pt x="119" y="219"/>
                </a:lnTo>
                <a:lnTo>
                  <a:pt x="116" y="219"/>
                </a:lnTo>
                <a:lnTo>
                  <a:pt x="112" y="219"/>
                </a:lnTo>
                <a:lnTo>
                  <a:pt x="109" y="216"/>
                </a:lnTo>
                <a:lnTo>
                  <a:pt x="109" y="216"/>
                </a:lnTo>
                <a:lnTo>
                  <a:pt x="109" y="216"/>
                </a:lnTo>
                <a:lnTo>
                  <a:pt x="106" y="216"/>
                </a:lnTo>
                <a:lnTo>
                  <a:pt x="103" y="213"/>
                </a:lnTo>
                <a:lnTo>
                  <a:pt x="100" y="210"/>
                </a:lnTo>
                <a:lnTo>
                  <a:pt x="97" y="197"/>
                </a:lnTo>
                <a:lnTo>
                  <a:pt x="91" y="197"/>
                </a:lnTo>
                <a:lnTo>
                  <a:pt x="91" y="194"/>
                </a:lnTo>
                <a:lnTo>
                  <a:pt x="91" y="188"/>
                </a:lnTo>
                <a:lnTo>
                  <a:pt x="94" y="185"/>
                </a:lnTo>
                <a:lnTo>
                  <a:pt x="91" y="175"/>
                </a:lnTo>
                <a:lnTo>
                  <a:pt x="87" y="172"/>
                </a:lnTo>
                <a:lnTo>
                  <a:pt x="84" y="166"/>
                </a:lnTo>
                <a:lnTo>
                  <a:pt x="81" y="163"/>
                </a:lnTo>
                <a:lnTo>
                  <a:pt x="78" y="166"/>
                </a:lnTo>
                <a:lnTo>
                  <a:pt x="62" y="157"/>
                </a:lnTo>
                <a:lnTo>
                  <a:pt x="59" y="157"/>
                </a:lnTo>
                <a:lnTo>
                  <a:pt x="59" y="157"/>
                </a:lnTo>
                <a:lnTo>
                  <a:pt x="53" y="153"/>
                </a:lnTo>
                <a:lnTo>
                  <a:pt x="56" y="150"/>
                </a:lnTo>
                <a:lnTo>
                  <a:pt x="53" y="150"/>
                </a:lnTo>
                <a:lnTo>
                  <a:pt x="56" y="147"/>
                </a:lnTo>
                <a:lnTo>
                  <a:pt x="53" y="144"/>
                </a:lnTo>
                <a:lnTo>
                  <a:pt x="50" y="141"/>
                </a:lnTo>
                <a:lnTo>
                  <a:pt x="47" y="138"/>
                </a:lnTo>
                <a:lnTo>
                  <a:pt x="44" y="135"/>
                </a:lnTo>
                <a:lnTo>
                  <a:pt x="41" y="135"/>
                </a:lnTo>
                <a:lnTo>
                  <a:pt x="41" y="135"/>
                </a:lnTo>
                <a:lnTo>
                  <a:pt x="44" y="132"/>
                </a:lnTo>
                <a:lnTo>
                  <a:pt x="41" y="128"/>
                </a:lnTo>
                <a:lnTo>
                  <a:pt x="44" y="125"/>
                </a:lnTo>
                <a:lnTo>
                  <a:pt x="44" y="119"/>
                </a:lnTo>
                <a:lnTo>
                  <a:pt x="47" y="116"/>
                </a:lnTo>
                <a:lnTo>
                  <a:pt x="47" y="113"/>
                </a:lnTo>
                <a:lnTo>
                  <a:pt x="50" y="113"/>
                </a:lnTo>
                <a:lnTo>
                  <a:pt x="50" y="110"/>
                </a:lnTo>
                <a:lnTo>
                  <a:pt x="50" y="103"/>
                </a:lnTo>
                <a:lnTo>
                  <a:pt x="50" y="103"/>
                </a:lnTo>
                <a:lnTo>
                  <a:pt x="50" y="97"/>
                </a:lnTo>
                <a:lnTo>
                  <a:pt x="50" y="97"/>
                </a:lnTo>
                <a:lnTo>
                  <a:pt x="56" y="94"/>
                </a:lnTo>
                <a:lnTo>
                  <a:pt x="56" y="94"/>
                </a:lnTo>
                <a:lnTo>
                  <a:pt x="56" y="94"/>
                </a:lnTo>
                <a:lnTo>
                  <a:pt x="53" y="91"/>
                </a:lnTo>
                <a:lnTo>
                  <a:pt x="47" y="94"/>
                </a:lnTo>
                <a:lnTo>
                  <a:pt x="44" y="91"/>
                </a:lnTo>
                <a:lnTo>
                  <a:pt x="37" y="88"/>
                </a:lnTo>
                <a:lnTo>
                  <a:pt x="34" y="88"/>
                </a:lnTo>
                <a:lnTo>
                  <a:pt x="31" y="85"/>
                </a:lnTo>
                <a:lnTo>
                  <a:pt x="31" y="82"/>
                </a:lnTo>
                <a:lnTo>
                  <a:pt x="28" y="78"/>
                </a:lnTo>
                <a:lnTo>
                  <a:pt x="25" y="78"/>
                </a:lnTo>
                <a:lnTo>
                  <a:pt x="22" y="72"/>
                </a:lnTo>
                <a:lnTo>
                  <a:pt x="22" y="69"/>
                </a:lnTo>
                <a:lnTo>
                  <a:pt x="22" y="66"/>
                </a:lnTo>
                <a:lnTo>
                  <a:pt x="19" y="66"/>
                </a:lnTo>
                <a:lnTo>
                  <a:pt x="19" y="66"/>
                </a:lnTo>
                <a:lnTo>
                  <a:pt x="19" y="63"/>
                </a:lnTo>
                <a:lnTo>
                  <a:pt x="16" y="57"/>
                </a:lnTo>
                <a:lnTo>
                  <a:pt x="12" y="50"/>
                </a:lnTo>
                <a:lnTo>
                  <a:pt x="6" y="47"/>
                </a:lnTo>
                <a:lnTo>
                  <a:pt x="6" y="44"/>
                </a:lnTo>
                <a:lnTo>
                  <a:pt x="6" y="38"/>
                </a:lnTo>
                <a:lnTo>
                  <a:pt x="9" y="35"/>
                </a:lnTo>
                <a:lnTo>
                  <a:pt x="9" y="31"/>
                </a:lnTo>
                <a:lnTo>
                  <a:pt x="3" y="31"/>
                </a:lnTo>
                <a:lnTo>
                  <a:pt x="3" y="25"/>
                </a:lnTo>
                <a:lnTo>
                  <a:pt x="3" y="22"/>
                </a:lnTo>
                <a:lnTo>
                  <a:pt x="3" y="13"/>
                </a:lnTo>
                <a:lnTo>
                  <a:pt x="0" y="10"/>
                </a:lnTo>
                <a:lnTo>
                  <a:pt x="0" y="10"/>
                </a:lnTo>
                <a:lnTo>
                  <a:pt x="6" y="6"/>
                </a:lnTo>
                <a:lnTo>
                  <a:pt x="6" y="3"/>
                </a:lnTo>
                <a:lnTo>
                  <a:pt x="9" y="0"/>
                </a:lnTo>
                <a:lnTo>
                  <a:pt x="9" y="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5" name="Freeform 83">
            <a:extLst>
              <a:ext uri="{FF2B5EF4-FFF2-40B4-BE49-F238E27FC236}">
                <a16:creationId xmlns:a16="http://schemas.microsoft.com/office/drawing/2014/main" id="{81077EF9-181D-0F61-8857-1AEC3AF4FC7D}"/>
              </a:ext>
            </a:extLst>
          </p:cNvPr>
          <p:cNvSpPr>
            <a:spLocks/>
          </p:cNvSpPr>
          <p:nvPr userDrawn="1"/>
        </p:nvSpPr>
        <p:spPr bwMode="auto">
          <a:xfrm>
            <a:off x="15708874" y="6606461"/>
            <a:ext cx="219064" cy="187326"/>
          </a:xfrm>
          <a:custGeom>
            <a:avLst/>
            <a:gdLst>
              <a:gd name="T0" fmla="*/ 0 w 69"/>
              <a:gd name="T1" fmla="*/ 3 h 59"/>
              <a:gd name="T2" fmla="*/ 6 w 69"/>
              <a:gd name="T3" fmla="*/ 0 h 59"/>
              <a:gd name="T4" fmla="*/ 16 w 69"/>
              <a:gd name="T5" fmla="*/ 0 h 59"/>
              <a:gd name="T6" fmla="*/ 16 w 69"/>
              <a:gd name="T7" fmla="*/ 0 h 59"/>
              <a:gd name="T8" fmla="*/ 28 w 69"/>
              <a:gd name="T9" fmla="*/ 0 h 59"/>
              <a:gd name="T10" fmla="*/ 31 w 69"/>
              <a:gd name="T11" fmla="*/ 3 h 59"/>
              <a:gd name="T12" fmla="*/ 41 w 69"/>
              <a:gd name="T13" fmla="*/ 3 h 59"/>
              <a:gd name="T14" fmla="*/ 44 w 69"/>
              <a:gd name="T15" fmla="*/ 9 h 59"/>
              <a:gd name="T16" fmla="*/ 44 w 69"/>
              <a:gd name="T17" fmla="*/ 12 h 59"/>
              <a:gd name="T18" fmla="*/ 44 w 69"/>
              <a:gd name="T19" fmla="*/ 15 h 59"/>
              <a:gd name="T20" fmla="*/ 50 w 69"/>
              <a:gd name="T21" fmla="*/ 25 h 59"/>
              <a:gd name="T22" fmla="*/ 50 w 69"/>
              <a:gd name="T23" fmla="*/ 28 h 59"/>
              <a:gd name="T24" fmla="*/ 47 w 69"/>
              <a:gd name="T25" fmla="*/ 31 h 59"/>
              <a:gd name="T26" fmla="*/ 50 w 69"/>
              <a:gd name="T27" fmla="*/ 37 h 59"/>
              <a:gd name="T28" fmla="*/ 60 w 69"/>
              <a:gd name="T29" fmla="*/ 40 h 59"/>
              <a:gd name="T30" fmla="*/ 66 w 69"/>
              <a:gd name="T31" fmla="*/ 40 h 59"/>
              <a:gd name="T32" fmla="*/ 69 w 69"/>
              <a:gd name="T33" fmla="*/ 47 h 59"/>
              <a:gd name="T34" fmla="*/ 66 w 69"/>
              <a:gd name="T35" fmla="*/ 47 h 59"/>
              <a:gd name="T36" fmla="*/ 69 w 69"/>
              <a:gd name="T37" fmla="*/ 53 h 59"/>
              <a:gd name="T38" fmla="*/ 66 w 69"/>
              <a:gd name="T39" fmla="*/ 53 h 59"/>
              <a:gd name="T40" fmla="*/ 66 w 69"/>
              <a:gd name="T41" fmla="*/ 56 h 59"/>
              <a:gd name="T42" fmla="*/ 63 w 69"/>
              <a:gd name="T43" fmla="*/ 59 h 59"/>
              <a:gd name="T44" fmla="*/ 53 w 69"/>
              <a:gd name="T45" fmla="*/ 43 h 59"/>
              <a:gd name="T46" fmla="*/ 47 w 69"/>
              <a:gd name="T47" fmla="*/ 43 h 59"/>
              <a:gd name="T48" fmla="*/ 44 w 69"/>
              <a:gd name="T49" fmla="*/ 37 h 59"/>
              <a:gd name="T50" fmla="*/ 41 w 69"/>
              <a:gd name="T51" fmla="*/ 37 h 59"/>
              <a:gd name="T52" fmla="*/ 41 w 69"/>
              <a:gd name="T53" fmla="*/ 40 h 59"/>
              <a:gd name="T54" fmla="*/ 35 w 69"/>
              <a:gd name="T55" fmla="*/ 34 h 59"/>
              <a:gd name="T56" fmla="*/ 31 w 69"/>
              <a:gd name="T57" fmla="*/ 37 h 59"/>
              <a:gd name="T58" fmla="*/ 28 w 69"/>
              <a:gd name="T59" fmla="*/ 37 h 59"/>
              <a:gd name="T60" fmla="*/ 25 w 69"/>
              <a:gd name="T61" fmla="*/ 34 h 59"/>
              <a:gd name="T62" fmla="*/ 22 w 69"/>
              <a:gd name="T63" fmla="*/ 31 h 59"/>
              <a:gd name="T64" fmla="*/ 19 w 69"/>
              <a:gd name="T65" fmla="*/ 31 h 59"/>
              <a:gd name="T66" fmla="*/ 13 w 69"/>
              <a:gd name="T67" fmla="*/ 31 h 59"/>
              <a:gd name="T68" fmla="*/ 6 w 69"/>
              <a:gd name="T69" fmla="*/ 28 h 59"/>
              <a:gd name="T70" fmla="*/ 6 w 69"/>
              <a:gd name="T71" fmla="*/ 18 h 59"/>
              <a:gd name="T72" fmla="*/ 10 w 69"/>
              <a:gd name="T73" fmla="*/ 12 h 59"/>
              <a:gd name="T74" fmla="*/ 6 w 69"/>
              <a:gd name="T75" fmla="*/ 9 h 59"/>
              <a:gd name="T76" fmla="*/ 3 w 69"/>
              <a:gd name="T77" fmla="*/ 9 h 59"/>
              <a:gd name="T78" fmla="*/ 3 w 69"/>
              <a:gd name="T79" fmla="*/ 6 h 59"/>
              <a:gd name="T80" fmla="*/ 0 w 69"/>
              <a:gd name="T81"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9" h="59">
                <a:moveTo>
                  <a:pt x="0" y="3"/>
                </a:moveTo>
                <a:lnTo>
                  <a:pt x="6" y="0"/>
                </a:lnTo>
                <a:lnTo>
                  <a:pt x="16" y="0"/>
                </a:lnTo>
                <a:lnTo>
                  <a:pt x="16" y="0"/>
                </a:lnTo>
                <a:lnTo>
                  <a:pt x="28" y="0"/>
                </a:lnTo>
                <a:lnTo>
                  <a:pt x="31" y="3"/>
                </a:lnTo>
                <a:lnTo>
                  <a:pt x="41" y="3"/>
                </a:lnTo>
                <a:lnTo>
                  <a:pt x="44" y="9"/>
                </a:lnTo>
                <a:lnTo>
                  <a:pt x="44" y="12"/>
                </a:lnTo>
                <a:lnTo>
                  <a:pt x="44" y="15"/>
                </a:lnTo>
                <a:lnTo>
                  <a:pt x="50" y="25"/>
                </a:lnTo>
                <a:lnTo>
                  <a:pt x="50" y="28"/>
                </a:lnTo>
                <a:lnTo>
                  <a:pt x="47" y="31"/>
                </a:lnTo>
                <a:lnTo>
                  <a:pt x="50" y="37"/>
                </a:lnTo>
                <a:lnTo>
                  <a:pt x="60" y="40"/>
                </a:lnTo>
                <a:lnTo>
                  <a:pt x="66" y="40"/>
                </a:lnTo>
                <a:lnTo>
                  <a:pt x="69" y="47"/>
                </a:lnTo>
                <a:lnTo>
                  <a:pt x="66" y="47"/>
                </a:lnTo>
                <a:lnTo>
                  <a:pt x="69" y="53"/>
                </a:lnTo>
                <a:lnTo>
                  <a:pt x="66" y="53"/>
                </a:lnTo>
                <a:lnTo>
                  <a:pt x="66" y="56"/>
                </a:lnTo>
                <a:lnTo>
                  <a:pt x="63" y="59"/>
                </a:lnTo>
                <a:lnTo>
                  <a:pt x="53" y="43"/>
                </a:lnTo>
                <a:lnTo>
                  <a:pt x="47" y="43"/>
                </a:lnTo>
                <a:lnTo>
                  <a:pt x="44" y="37"/>
                </a:lnTo>
                <a:lnTo>
                  <a:pt x="41" y="37"/>
                </a:lnTo>
                <a:lnTo>
                  <a:pt x="41" y="40"/>
                </a:lnTo>
                <a:lnTo>
                  <a:pt x="35" y="34"/>
                </a:lnTo>
                <a:lnTo>
                  <a:pt x="31" y="37"/>
                </a:lnTo>
                <a:lnTo>
                  <a:pt x="28" y="37"/>
                </a:lnTo>
                <a:lnTo>
                  <a:pt x="25" y="34"/>
                </a:lnTo>
                <a:lnTo>
                  <a:pt x="22" y="31"/>
                </a:lnTo>
                <a:lnTo>
                  <a:pt x="19" y="31"/>
                </a:lnTo>
                <a:lnTo>
                  <a:pt x="13" y="31"/>
                </a:lnTo>
                <a:lnTo>
                  <a:pt x="6" y="28"/>
                </a:lnTo>
                <a:lnTo>
                  <a:pt x="6" y="18"/>
                </a:lnTo>
                <a:lnTo>
                  <a:pt x="10" y="12"/>
                </a:lnTo>
                <a:lnTo>
                  <a:pt x="6" y="9"/>
                </a:lnTo>
                <a:lnTo>
                  <a:pt x="3" y="9"/>
                </a:lnTo>
                <a:lnTo>
                  <a:pt x="3" y="6"/>
                </a:lnTo>
                <a:lnTo>
                  <a:pt x="0" y="3"/>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6" name="Freeform 84">
            <a:extLst>
              <a:ext uri="{FF2B5EF4-FFF2-40B4-BE49-F238E27FC236}">
                <a16:creationId xmlns:a16="http://schemas.microsoft.com/office/drawing/2014/main" id="{C6E24D87-74E0-8C03-D90B-BF66EDB66FAB}"/>
              </a:ext>
            </a:extLst>
          </p:cNvPr>
          <p:cNvSpPr>
            <a:spLocks noEditPoints="1"/>
          </p:cNvSpPr>
          <p:nvPr userDrawn="1"/>
        </p:nvSpPr>
        <p:spPr bwMode="auto">
          <a:xfrm>
            <a:off x="14667545" y="6555659"/>
            <a:ext cx="1161974" cy="466726"/>
          </a:xfrm>
          <a:custGeom>
            <a:avLst/>
            <a:gdLst>
              <a:gd name="T0" fmla="*/ 19 w 366"/>
              <a:gd name="T1" fmla="*/ 16 h 147"/>
              <a:gd name="T2" fmla="*/ 28 w 366"/>
              <a:gd name="T3" fmla="*/ 0 h 147"/>
              <a:gd name="T4" fmla="*/ 53 w 366"/>
              <a:gd name="T5" fmla="*/ 16 h 147"/>
              <a:gd name="T6" fmla="*/ 50 w 366"/>
              <a:gd name="T7" fmla="*/ 28 h 147"/>
              <a:gd name="T8" fmla="*/ 22 w 366"/>
              <a:gd name="T9" fmla="*/ 41 h 147"/>
              <a:gd name="T10" fmla="*/ 16 w 366"/>
              <a:gd name="T11" fmla="*/ 38 h 147"/>
              <a:gd name="T12" fmla="*/ 6 w 366"/>
              <a:gd name="T13" fmla="*/ 31 h 147"/>
              <a:gd name="T14" fmla="*/ 278 w 366"/>
              <a:gd name="T15" fmla="*/ 25 h 147"/>
              <a:gd name="T16" fmla="*/ 256 w 366"/>
              <a:gd name="T17" fmla="*/ 22 h 147"/>
              <a:gd name="T18" fmla="*/ 222 w 366"/>
              <a:gd name="T19" fmla="*/ 25 h 147"/>
              <a:gd name="T20" fmla="*/ 197 w 366"/>
              <a:gd name="T21" fmla="*/ 19 h 147"/>
              <a:gd name="T22" fmla="*/ 181 w 366"/>
              <a:gd name="T23" fmla="*/ 9 h 147"/>
              <a:gd name="T24" fmla="*/ 159 w 366"/>
              <a:gd name="T25" fmla="*/ 3 h 147"/>
              <a:gd name="T26" fmla="*/ 125 w 366"/>
              <a:gd name="T27" fmla="*/ 6 h 147"/>
              <a:gd name="T28" fmla="*/ 106 w 366"/>
              <a:gd name="T29" fmla="*/ 22 h 147"/>
              <a:gd name="T30" fmla="*/ 81 w 366"/>
              <a:gd name="T31" fmla="*/ 22 h 147"/>
              <a:gd name="T32" fmla="*/ 66 w 366"/>
              <a:gd name="T33" fmla="*/ 34 h 147"/>
              <a:gd name="T34" fmla="*/ 56 w 366"/>
              <a:gd name="T35" fmla="*/ 41 h 147"/>
              <a:gd name="T36" fmla="*/ 47 w 366"/>
              <a:gd name="T37" fmla="*/ 44 h 147"/>
              <a:gd name="T38" fmla="*/ 28 w 366"/>
              <a:gd name="T39" fmla="*/ 44 h 147"/>
              <a:gd name="T40" fmla="*/ 12 w 366"/>
              <a:gd name="T41" fmla="*/ 63 h 147"/>
              <a:gd name="T42" fmla="*/ 28 w 366"/>
              <a:gd name="T43" fmla="*/ 66 h 147"/>
              <a:gd name="T44" fmla="*/ 25 w 366"/>
              <a:gd name="T45" fmla="*/ 81 h 147"/>
              <a:gd name="T46" fmla="*/ 28 w 366"/>
              <a:gd name="T47" fmla="*/ 88 h 147"/>
              <a:gd name="T48" fmla="*/ 16 w 366"/>
              <a:gd name="T49" fmla="*/ 91 h 147"/>
              <a:gd name="T50" fmla="*/ 25 w 366"/>
              <a:gd name="T51" fmla="*/ 100 h 147"/>
              <a:gd name="T52" fmla="*/ 34 w 366"/>
              <a:gd name="T53" fmla="*/ 116 h 147"/>
              <a:gd name="T54" fmla="*/ 37 w 366"/>
              <a:gd name="T55" fmla="*/ 125 h 147"/>
              <a:gd name="T56" fmla="*/ 37 w 366"/>
              <a:gd name="T57" fmla="*/ 131 h 147"/>
              <a:gd name="T58" fmla="*/ 50 w 366"/>
              <a:gd name="T59" fmla="*/ 135 h 147"/>
              <a:gd name="T60" fmla="*/ 62 w 366"/>
              <a:gd name="T61" fmla="*/ 131 h 147"/>
              <a:gd name="T62" fmla="*/ 72 w 366"/>
              <a:gd name="T63" fmla="*/ 138 h 147"/>
              <a:gd name="T64" fmla="*/ 87 w 366"/>
              <a:gd name="T65" fmla="*/ 141 h 147"/>
              <a:gd name="T66" fmla="*/ 100 w 366"/>
              <a:gd name="T67" fmla="*/ 131 h 147"/>
              <a:gd name="T68" fmla="*/ 134 w 366"/>
              <a:gd name="T69" fmla="*/ 141 h 147"/>
              <a:gd name="T70" fmla="*/ 169 w 366"/>
              <a:gd name="T71" fmla="*/ 141 h 147"/>
              <a:gd name="T72" fmla="*/ 197 w 366"/>
              <a:gd name="T73" fmla="*/ 131 h 147"/>
              <a:gd name="T74" fmla="*/ 200 w 366"/>
              <a:gd name="T75" fmla="*/ 138 h 147"/>
              <a:gd name="T76" fmla="*/ 216 w 366"/>
              <a:gd name="T77" fmla="*/ 144 h 147"/>
              <a:gd name="T78" fmla="*/ 228 w 366"/>
              <a:gd name="T79" fmla="*/ 131 h 147"/>
              <a:gd name="T80" fmla="*/ 256 w 366"/>
              <a:gd name="T81" fmla="*/ 125 h 147"/>
              <a:gd name="T82" fmla="*/ 288 w 366"/>
              <a:gd name="T83" fmla="*/ 119 h 147"/>
              <a:gd name="T84" fmla="*/ 322 w 366"/>
              <a:gd name="T85" fmla="*/ 119 h 147"/>
              <a:gd name="T86" fmla="*/ 353 w 366"/>
              <a:gd name="T87" fmla="*/ 113 h 147"/>
              <a:gd name="T88" fmla="*/ 363 w 366"/>
              <a:gd name="T89" fmla="*/ 110 h 147"/>
              <a:gd name="T90" fmla="*/ 356 w 366"/>
              <a:gd name="T91" fmla="*/ 84 h 147"/>
              <a:gd name="T92" fmla="*/ 347 w 366"/>
              <a:gd name="T93" fmla="*/ 63 h 147"/>
              <a:gd name="T94" fmla="*/ 347 w 366"/>
              <a:gd name="T95" fmla="*/ 47 h 147"/>
              <a:gd name="T96" fmla="*/ 331 w 366"/>
              <a:gd name="T97" fmla="*/ 25 h 147"/>
              <a:gd name="T98" fmla="*/ 309 w 366"/>
              <a:gd name="T99" fmla="*/ 13 h 147"/>
              <a:gd name="T100" fmla="*/ 294 w 366"/>
              <a:gd name="T101" fmla="*/ 9 h 147"/>
              <a:gd name="T102" fmla="*/ 47 w 366"/>
              <a:gd name="T103" fmla="*/ 138 h 147"/>
              <a:gd name="T104" fmla="*/ 9 w 366"/>
              <a:gd name="T105" fmla="*/ 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6" h="147">
                <a:moveTo>
                  <a:pt x="6" y="31"/>
                </a:moveTo>
                <a:lnTo>
                  <a:pt x="12" y="31"/>
                </a:lnTo>
                <a:lnTo>
                  <a:pt x="12" y="28"/>
                </a:lnTo>
                <a:lnTo>
                  <a:pt x="12" y="22"/>
                </a:lnTo>
                <a:lnTo>
                  <a:pt x="19" y="19"/>
                </a:lnTo>
                <a:lnTo>
                  <a:pt x="19" y="16"/>
                </a:lnTo>
                <a:lnTo>
                  <a:pt x="12" y="13"/>
                </a:lnTo>
                <a:lnTo>
                  <a:pt x="16" y="6"/>
                </a:lnTo>
                <a:lnTo>
                  <a:pt x="19" y="3"/>
                </a:lnTo>
                <a:lnTo>
                  <a:pt x="22" y="3"/>
                </a:lnTo>
                <a:lnTo>
                  <a:pt x="22" y="0"/>
                </a:lnTo>
                <a:lnTo>
                  <a:pt x="28" y="0"/>
                </a:lnTo>
                <a:lnTo>
                  <a:pt x="34" y="6"/>
                </a:lnTo>
                <a:lnTo>
                  <a:pt x="37" y="3"/>
                </a:lnTo>
                <a:lnTo>
                  <a:pt x="41" y="3"/>
                </a:lnTo>
                <a:lnTo>
                  <a:pt x="41" y="13"/>
                </a:lnTo>
                <a:lnTo>
                  <a:pt x="47" y="16"/>
                </a:lnTo>
                <a:lnTo>
                  <a:pt x="53" y="16"/>
                </a:lnTo>
                <a:lnTo>
                  <a:pt x="56" y="22"/>
                </a:lnTo>
                <a:lnTo>
                  <a:pt x="59" y="25"/>
                </a:lnTo>
                <a:lnTo>
                  <a:pt x="59" y="25"/>
                </a:lnTo>
                <a:lnTo>
                  <a:pt x="56" y="31"/>
                </a:lnTo>
                <a:lnTo>
                  <a:pt x="53" y="28"/>
                </a:lnTo>
                <a:lnTo>
                  <a:pt x="50" y="28"/>
                </a:lnTo>
                <a:lnTo>
                  <a:pt x="44" y="28"/>
                </a:lnTo>
                <a:lnTo>
                  <a:pt x="44" y="28"/>
                </a:lnTo>
                <a:lnTo>
                  <a:pt x="37" y="28"/>
                </a:lnTo>
                <a:lnTo>
                  <a:pt x="34" y="31"/>
                </a:lnTo>
                <a:lnTo>
                  <a:pt x="31" y="38"/>
                </a:lnTo>
                <a:lnTo>
                  <a:pt x="22" y="41"/>
                </a:lnTo>
                <a:lnTo>
                  <a:pt x="12" y="50"/>
                </a:lnTo>
                <a:lnTo>
                  <a:pt x="12" y="47"/>
                </a:lnTo>
                <a:lnTo>
                  <a:pt x="12" y="41"/>
                </a:lnTo>
                <a:lnTo>
                  <a:pt x="16" y="41"/>
                </a:lnTo>
                <a:lnTo>
                  <a:pt x="19" y="38"/>
                </a:lnTo>
                <a:lnTo>
                  <a:pt x="16" y="38"/>
                </a:lnTo>
                <a:lnTo>
                  <a:pt x="12" y="38"/>
                </a:lnTo>
                <a:lnTo>
                  <a:pt x="12" y="38"/>
                </a:lnTo>
                <a:lnTo>
                  <a:pt x="9" y="34"/>
                </a:lnTo>
                <a:lnTo>
                  <a:pt x="6" y="31"/>
                </a:lnTo>
                <a:lnTo>
                  <a:pt x="6" y="31"/>
                </a:lnTo>
                <a:lnTo>
                  <a:pt x="6" y="31"/>
                </a:lnTo>
                <a:close/>
                <a:moveTo>
                  <a:pt x="294" y="9"/>
                </a:moveTo>
                <a:lnTo>
                  <a:pt x="294" y="9"/>
                </a:lnTo>
                <a:lnTo>
                  <a:pt x="291" y="16"/>
                </a:lnTo>
                <a:lnTo>
                  <a:pt x="288" y="19"/>
                </a:lnTo>
                <a:lnTo>
                  <a:pt x="281" y="22"/>
                </a:lnTo>
                <a:lnTo>
                  <a:pt x="278" y="25"/>
                </a:lnTo>
                <a:lnTo>
                  <a:pt x="272" y="25"/>
                </a:lnTo>
                <a:lnTo>
                  <a:pt x="269" y="25"/>
                </a:lnTo>
                <a:lnTo>
                  <a:pt x="263" y="25"/>
                </a:lnTo>
                <a:lnTo>
                  <a:pt x="259" y="22"/>
                </a:lnTo>
                <a:lnTo>
                  <a:pt x="256" y="22"/>
                </a:lnTo>
                <a:lnTo>
                  <a:pt x="256" y="22"/>
                </a:lnTo>
                <a:lnTo>
                  <a:pt x="253" y="22"/>
                </a:lnTo>
                <a:lnTo>
                  <a:pt x="244" y="25"/>
                </a:lnTo>
                <a:lnTo>
                  <a:pt x="238" y="28"/>
                </a:lnTo>
                <a:lnTo>
                  <a:pt x="231" y="25"/>
                </a:lnTo>
                <a:lnTo>
                  <a:pt x="225" y="22"/>
                </a:lnTo>
                <a:lnTo>
                  <a:pt x="222" y="25"/>
                </a:lnTo>
                <a:lnTo>
                  <a:pt x="216" y="22"/>
                </a:lnTo>
                <a:lnTo>
                  <a:pt x="212" y="19"/>
                </a:lnTo>
                <a:lnTo>
                  <a:pt x="203" y="16"/>
                </a:lnTo>
                <a:lnTo>
                  <a:pt x="203" y="16"/>
                </a:lnTo>
                <a:lnTo>
                  <a:pt x="200" y="19"/>
                </a:lnTo>
                <a:lnTo>
                  <a:pt x="197" y="19"/>
                </a:lnTo>
                <a:lnTo>
                  <a:pt x="194" y="13"/>
                </a:lnTo>
                <a:lnTo>
                  <a:pt x="194" y="9"/>
                </a:lnTo>
                <a:lnTo>
                  <a:pt x="191" y="6"/>
                </a:lnTo>
                <a:lnTo>
                  <a:pt x="187" y="6"/>
                </a:lnTo>
                <a:lnTo>
                  <a:pt x="184" y="9"/>
                </a:lnTo>
                <a:lnTo>
                  <a:pt x="181" y="9"/>
                </a:lnTo>
                <a:lnTo>
                  <a:pt x="181" y="9"/>
                </a:lnTo>
                <a:lnTo>
                  <a:pt x="172" y="3"/>
                </a:lnTo>
                <a:lnTo>
                  <a:pt x="172" y="0"/>
                </a:lnTo>
                <a:lnTo>
                  <a:pt x="172" y="0"/>
                </a:lnTo>
                <a:lnTo>
                  <a:pt x="166" y="3"/>
                </a:lnTo>
                <a:lnTo>
                  <a:pt x="159" y="3"/>
                </a:lnTo>
                <a:lnTo>
                  <a:pt x="156" y="0"/>
                </a:lnTo>
                <a:lnTo>
                  <a:pt x="153" y="3"/>
                </a:lnTo>
                <a:lnTo>
                  <a:pt x="144" y="3"/>
                </a:lnTo>
                <a:lnTo>
                  <a:pt x="137" y="3"/>
                </a:lnTo>
                <a:lnTo>
                  <a:pt x="128" y="6"/>
                </a:lnTo>
                <a:lnTo>
                  <a:pt x="125" y="6"/>
                </a:lnTo>
                <a:lnTo>
                  <a:pt x="119" y="9"/>
                </a:lnTo>
                <a:lnTo>
                  <a:pt x="116" y="13"/>
                </a:lnTo>
                <a:lnTo>
                  <a:pt x="112" y="13"/>
                </a:lnTo>
                <a:lnTo>
                  <a:pt x="109" y="16"/>
                </a:lnTo>
                <a:lnTo>
                  <a:pt x="106" y="16"/>
                </a:lnTo>
                <a:lnTo>
                  <a:pt x="106" y="22"/>
                </a:lnTo>
                <a:lnTo>
                  <a:pt x="103" y="22"/>
                </a:lnTo>
                <a:lnTo>
                  <a:pt x="103" y="25"/>
                </a:lnTo>
                <a:lnTo>
                  <a:pt x="97" y="25"/>
                </a:lnTo>
                <a:lnTo>
                  <a:pt x="87" y="22"/>
                </a:lnTo>
                <a:lnTo>
                  <a:pt x="84" y="22"/>
                </a:lnTo>
                <a:lnTo>
                  <a:pt x="81" y="22"/>
                </a:lnTo>
                <a:lnTo>
                  <a:pt x="78" y="22"/>
                </a:lnTo>
                <a:lnTo>
                  <a:pt x="72" y="25"/>
                </a:lnTo>
                <a:lnTo>
                  <a:pt x="69" y="22"/>
                </a:lnTo>
                <a:lnTo>
                  <a:pt x="62" y="25"/>
                </a:lnTo>
                <a:lnTo>
                  <a:pt x="62" y="28"/>
                </a:lnTo>
                <a:lnTo>
                  <a:pt x="66" y="34"/>
                </a:lnTo>
                <a:lnTo>
                  <a:pt x="72" y="34"/>
                </a:lnTo>
                <a:lnTo>
                  <a:pt x="75" y="34"/>
                </a:lnTo>
                <a:lnTo>
                  <a:pt x="75" y="34"/>
                </a:lnTo>
                <a:lnTo>
                  <a:pt x="66" y="38"/>
                </a:lnTo>
                <a:lnTo>
                  <a:pt x="59" y="38"/>
                </a:lnTo>
                <a:lnTo>
                  <a:pt x="56" y="41"/>
                </a:lnTo>
                <a:lnTo>
                  <a:pt x="59" y="44"/>
                </a:lnTo>
                <a:lnTo>
                  <a:pt x="62" y="41"/>
                </a:lnTo>
                <a:lnTo>
                  <a:pt x="66" y="44"/>
                </a:lnTo>
                <a:lnTo>
                  <a:pt x="62" y="47"/>
                </a:lnTo>
                <a:lnTo>
                  <a:pt x="53" y="47"/>
                </a:lnTo>
                <a:lnTo>
                  <a:pt x="47" y="44"/>
                </a:lnTo>
                <a:lnTo>
                  <a:pt x="44" y="47"/>
                </a:lnTo>
                <a:lnTo>
                  <a:pt x="41" y="44"/>
                </a:lnTo>
                <a:lnTo>
                  <a:pt x="37" y="44"/>
                </a:lnTo>
                <a:lnTo>
                  <a:pt x="34" y="47"/>
                </a:lnTo>
                <a:lnTo>
                  <a:pt x="31" y="47"/>
                </a:lnTo>
                <a:lnTo>
                  <a:pt x="28" y="44"/>
                </a:lnTo>
                <a:lnTo>
                  <a:pt x="22" y="44"/>
                </a:lnTo>
                <a:lnTo>
                  <a:pt x="12" y="50"/>
                </a:lnTo>
                <a:lnTo>
                  <a:pt x="12" y="53"/>
                </a:lnTo>
                <a:lnTo>
                  <a:pt x="12" y="56"/>
                </a:lnTo>
                <a:lnTo>
                  <a:pt x="12" y="59"/>
                </a:lnTo>
                <a:lnTo>
                  <a:pt x="12" y="63"/>
                </a:lnTo>
                <a:lnTo>
                  <a:pt x="12" y="66"/>
                </a:lnTo>
                <a:lnTo>
                  <a:pt x="12" y="66"/>
                </a:lnTo>
                <a:lnTo>
                  <a:pt x="19" y="66"/>
                </a:lnTo>
                <a:lnTo>
                  <a:pt x="19" y="66"/>
                </a:lnTo>
                <a:lnTo>
                  <a:pt x="22" y="66"/>
                </a:lnTo>
                <a:lnTo>
                  <a:pt x="28" y="66"/>
                </a:lnTo>
                <a:lnTo>
                  <a:pt x="22" y="69"/>
                </a:lnTo>
                <a:lnTo>
                  <a:pt x="25" y="72"/>
                </a:lnTo>
                <a:lnTo>
                  <a:pt x="25" y="75"/>
                </a:lnTo>
                <a:lnTo>
                  <a:pt x="25" y="78"/>
                </a:lnTo>
                <a:lnTo>
                  <a:pt x="25" y="78"/>
                </a:lnTo>
                <a:lnTo>
                  <a:pt x="25" y="81"/>
                </a:lnTo>
                <a:lnTo>
                  <a:pt x="31" y="78"/>
                </a:lnTo>
                <a:lnTo>
                  <a:pt x="31" y="81"/>
                </a:lnTo>
                <a:lnTo>
                  <a:pt x="28" y="81"/>
                </a:lnTo>
                <a:lnTo>
                  <a:pt x="22" y="84"/>
                </a:lnTo>
                <a:lnTo>
                  <a:pt x="25" y="88"/>
                </a:lnTo>
                <a:lnTo>
                  <a:pt x="28" y="88"/>
                </a:lnTo>
                <a:lnTo>
                  <a:pt x="25" y="88"/>
                </a:lnTo>
                <a:lnTo>
                  <a:pt x="22" y="91"/>
                </a:lnTo>
                <a:lnTo>
                  <a:pt x="22" y="91"/>
                </a:lnTo>
                <a:lnTo>
                  <a:pt x="19" y="88"/>
                </a:lnTo>
                <a:lnTo>
                  <a:pt x="19" y="88"/>
                </a:lnTo>
                <a:lnTo>
                  <a:pt x="16" y="91"/>
                </a:lnTo>
                <a:lnTo>
                  <a:pt x="19" y="94"/>
                </a:lnTo>
                <a:lnTo>
                  <a:pt x="16" y="94"/>
                </a:lnTo>
                <a:lnTo>
                  <a:pt x="16" y="97"/>
                </a:lnTo>
                <a:lnTo>
                  <a:pt x="19" y="100"/>
                </a:lnTo>
                <a:lnTo>
                  <a:pt x="22" y="97"/>
                </a:lnTo>
                <a:lnTo>
                  <a:pt x="25" y="100"/>
                </a:lnTo>
                <a:lnTo>
                  <a:pt x="28" y="100"/>
                </a:lnTo>
                <a:lnTo>
                  <a:pt x="31" y="103"/>
                </a:lnTo>
                <a:lnTo>
                  <a:pt x="34" y="110"/>
                </a:lnTo>
                <a:lnTo>
                  <a:pt x="31" y="113"/>
                </a:lnTo>
                <a:lnTo>
                  <a:pt x="34" y="113"/>
                </a:lnTo>
                <a:lnTo>
                  <a:pt x="34" y="116"/>
                </a:lnTo>
                <a:lnTo>
                  <a:pt x="34" y="116"/>
                </a:lnTo>
                <a:lnTo>
                  <a:pt x="41" y="122"/>
                </a:lnTo>
                <a:lnTo>
                  <a:pt x="37" y="125"/>
                </a:lnTo>
                <a:lnTo>
                  <a:pt x="34" y="122"/>
                </a:lnTo>
                <a:lnTo>
                  <a:pt x="34" y="125"/>
                </a:lnTo>
                <a:lnTo>
                  <a:pt x="37" y="125"/>
                </a:lnTo>
                <a:lnTo>
                  <a:pt x="44" y="125"/>
                </a:lnTo>
                <a:lnTo>
                  <a:pt x="50" y="125"/>
                </a:lnTo>
                <a:lnTo>
                  <a:pt x="50" y="125"/>
                </a:lnTo>
                <a:lnTo>
                  <a:pt x="50" y="128"/>
                </a:lnTo>
                <a:lnTo>
                  <a:pt x="44" y="131"/>
                </a:lnTo>
                <a:lnTo>
                  <a:pt x="37" y="131"/>
                </a:lnTo>
                <a:lnTo>
                  <a:pt x="37" y="131"/>
                </a:lnTo>
                <a:lnTo>
                  <a:pt x="41" y="135"/>
                </a:lnTo>
                <a:lnTo>
                  <a:pt x="44" y="131"/>
                </a:lnTo>
                <a:lnTo>
                  <a:pt x="47" y="131"/>
                </a:lnTo>
                <a:lnTo>
                  <a:pt x="50" y="131"/>
                </a:lnTo>
                <a:lnTo>
                  <a:pt x="50" y="135"/>
                </a:lnTo>
                <a:lnTo>
                  <a:pt x="50" y="135"/>
                </a:lnTo>
                <a:lnTo>
                  <a:pt x="53" y="131"/>
                </a:lnTo>
                <a:lnTo>
                  <a:pt x="56" y="128"/>
                </a:lnTo>
                <a:lnTo>
                  <a:pt x="59" y="128"/>
                </a:lnTo>
                <a:lnTo>
                  <a:pt x="59" y="131"/>
                </a:lnTo>
                <a:lnTo>
                  <a:pt x="62" y="131"/>
                </a:lnTo>
                <a:lnTo>
                  <a:pt x="66" y="135"/>
                </a:lnTo>
                <a:lnTo>
                  <a:pt x="69" y="131"/>
                </a:lnTo>
                <a:lnTo>
                  <a:pt x="72" y="131"/>
                </a:lnTo>
                <a:lnTo>
                  <a:pt x="72" y="135"/>
                </a:lnTo>
                <a:lnTo>
                  <a:pt x="69" y="135"/>
                </a:lnTo>
                <a:lnTo>
                  <a:pt x="72" y="138"/>
                </a:lnTo>
                <a:lnTo>
                  <a:pt x="72" y="141"/>
                </a:lnTo>
                <a:lnTo>
                  <a:pt x="75" y="144"/>
                </a:lnTo>
                <a:lnTo>
                  <a:pt x="78" y="141"/>
                </a:lnTo>
                <a:lnTo>
                  <a:pt x="81" y="144"/>
                </a:lnTo>
                <a:lnTo>
                  <a:pt x="87" y="144"/>
                </a:lnTo>
                <a:lnTo>
                  <a:pt x="87" y="141"/>
                </a:lnTo>
                <a:lnTo>
                  <a:pt x="91" y="141"/>
                </a:lnTo>
                <a:lnTo>
                  <a:pt x="94" y="141"/>
                </a:lnTo>
                <a:lnTo>
                  <a:pt x="97" y="141"/>
                </a:lnTo>
                <a:lnTo>
                  <a:pt x="100" y="141"/>
                </a:lnTo>
                <a:lnTo>
                  <a:pt x="100" y="135"/>
                </a:lnTo>
                <a:lnTo>
                  <a:pt x="100" y="131"/>
                </a:lnTo>
                <a:lnTo>
                  <a:pt x="100" y="128"/>
                </a:lnTo>
                <a:lnTo>
                  <a:pt x="109" y="128"/>
                </a:lnTo>
                <a:lnTo>
                  <a:pt x="116" y="128"/>
                </a:lnTo>
                <a:lnTo>
                  <a:pt x="125" y="135"/>
                </a:lnTo>
                <a:lnTo>
                  <a:pt x="128" y="135"/>
                </a:lnTo>
                <a:lnTo>
                  <a:pt x="134" y="141"/>
                </a:lnTo>
                <a:lnTo>
                  <a:pt x="141" y="144"/>
                </a:lnTo>
                <a:lnTo>
                  <a:pt x="156" y="144"/>
                </a:lnTo>
                <a:lnTo>
                  <a:pt x="162" y="141"/>
                </a:lnTo>
                <a:lnTo>
                  <a:pt x="166" y="141"/>
                </a:lnTo>
                <a:lnTo>
                  <a:pt x="166" y="141"/>
                </a:lnTo>
                <a:lnTo>
                  <a:pt x="169" y="141"/>
                </a:lnTo>
                <a:lnTo>
                  <a:pt x="169" y="138"/>
                </a:lnTo>
                <a:lnTo>
                  <a:pt x="178" y="125"/>
                </a:lnTo>
                <a:lnTo>
                  <a:pt x="178" y="125"/>
                </a:lnTo>
                <a:lnTo>
                  <a:pt x="187" y="128"/>
                </a:lnTo>
                <a:lnTo>
                  <a:pt x="194" y="131"/>
                </a:lnTo>
                <a:lnTo>
                  <a:pt x="197" y="131"/>
                </a:lnTo>
                <a:lnTo>
                  <a:pt x="200" y="128"/>
                </a:lnTo>
                <a:lnTo>
                  <a:pt x="203" y="125"/>
                </a:lnTo>
                <a:lnTo>
                  <a:pt x="206" y="125"/>
                </a:lnTo>
                <a:lnTo>
                  <a:pt x="206" y="128"/>
                </a:lnTo>
                <a:lnTo>
                  <a:pt x="203" y="135"/>
                </a:lnTo>
                <a:lnTo>
                  <a:pt x="200" y="138"/>
                </a:lnTo>
                <a:lnTo>
                  <a:pt x="200" y="138"/>
                </a:lnTo>
                <a:lnTo>
                  <a:pt x="203" y="144"/>
                </a:lnTo>
                <a:lnTo>
                  <a:pt x="203" y="147"/>
                </a:lnTo>
                <a:lnTo>
                  <a:pt x="206" y="147"/>
                </a:lnTo>
                <a:lnTo>
                  <a:pt x="209" y="147"/>
                </a:lnTo>
                <a:lnTo>
                  <a:pt x="216" y="144"/>
                </a:lnTo>
                <a:lnTo>
                  <a:pt x="216" y="141"/>
                </a:lnTo>
                <a:lnTo>
                  <a:pt x="216" y="138"/>
                </a:lnTo>
                <a:lnTo>
                  <a:pt x="216" y="131"/>
                </a:lnTo>
                <a:lnTo>
                  <a:pt x="219" y="128"/>
                </a:lnTo>
                <a:lnTo>
                  <a:pt x="225" y="128"/>
                </a:lnTo>
                <a:lnTo>
                  <a:pt x="228" y="131"/>
                </a:lnTo>
                <a:lnTo>
                  <a:pt x="238" y="125"/>
                </a:lnTo>
                <a:lnTo>
                  <a:pt x="238" y="125"/>
                </a:lnTo>
                <a:lnTo>
                  <a:pt x="241" y="125"/>
                </a:lnTo>
                <a:lnTo>
                  <a:pt x="253" y="122"/>
                </a:lnTo>
                <a:lnTo>
                  <a:pt x="256" y="125"/>
                </a:lnTo>
                <a:lnTo>
                  <a:pt x="256" y="125"/>
                </a:lnTo>
                <a:lnTo>
                  <a:pt x="263" y="128"/>
                </a:lnTo>
                <a:lnTo>
                  <a:pt x="272" y="128"/>
                </a:lnTo>
                <a:lnTo>
                  <a:pt x="275" y="125"/>
                </a:lnTo>
                <a:lnTo>
                  <a:pt x="278" y="125"/>
                </a:lnTo>
                <a:lnTo>
                  <a:pt x="281" y="122"/>
                </a:lnTo>
                <a:lnTo>
                  <a:pt x="288" y="119"/>
                </a:lnTo>
                <a:lnTo>
                  <a:pt x="294" y="119"/>
                </a:lnTo>
                <a:lnTo>
                  <a:pt x="297" y="119"/>
                </a:lnTo>
                <a:lnTo>
                  <a:pt x="306" y="119"/>
                </a:lnTo>
                <a:lnTo>
                  <a:pt x="316" y="116"/>
                </a:lnTo>
                <a:lnTo>
                  <a:pt x="322" y="116"/>
                </a:lnTo>
                <a:lnTo>
                  <a:pt x="322" y="119"/>
                </a:lnTo>
                <a:lnTo>
                  <a:pt x="328" y="113"/>
                </a:lnTo>
                <a:lnTo>
                  <a:pt x="331" y="113"/>
                </a:lnTo>
                <a:lnTo>
                  <a:pt x="334" y="113"/>
                </a:lnTo>
                <a:lnTo>
                  <a:pt x="341" y="113"/>
                </a:lnTo>
                <a:lnTo>
                  <a:pt x="350" y="113"/>
                </a:lnTo>
                <a:lnTo>
                  <a:pt x="353" y="113"/>
                </a:lnTo>
                <a:lnTo>
                  <a:pt x="356" y="113"/>
                </a:lnTo>
                <a:lnTo>
                  <a:pt x="356" y="119"/>
                </a:lnTo>
                <a:lnTo>
                  <a:pt x="359" y="119"/>
                </a:lnTo>
                <a:lnTo>
                  <a:pt x="366" y="119"/>
                </a:lnTo>
                <a:lnTo>
                  <a:pt x="366" y="116"/>
                </a:lnTo>
                <a:lnTo>
                  <a:pt x="363" y="110"/>
                </a:lnTo>
                <a:lnTo>
                  <a:pt x="359" y="103"/>
                </a:lnTo>
                <a:lnTo>
                  <a:pt x="353" y="100"/>
                </a:lnTo>
                <a:lnTo>
                  <a:pt x="353" y="97"/>
                </a:lnTo>
                <a:lnTo>
                  <a:pt x="353" y="91"/>
                </a:lnTo>
                <a:lnTo>
                  <a:pt x="356" y="88"/>
                </a:lnTo>
                <a:lnTo>
                  <a:pt x="356" y="84"/>
                </a:lnTo>
                <a:lnTo>
                  <a:pt x="350" y="84"/>
                </a:lnTo>
                <a:lnTo>
                  <a:pt x="350" y="78"/>
                </a:lnTo>
                <a:lnTo>
                  <a:pt x="350" y="75"/>
                </a:lnTo>
                <a:lnTo>
                  <a:pt x="350" y="66"/>
                </a:lnTo>
                <a:lnTo>
                  <a:pt x="347" y="63"/>
                </a:lnTo>
                <a:lnTo>
                  <a:pt x="347" y="63"/>
                </a:lnTo>
                <a:lnTo>
                  <a:pt x="353" y="59"/>
                </a:lnTo>
                <a:lnTo>
                  <a:pt x="353" y="56"/>
                </a:lnTo>
                <a:lnTo>
                  <a:pt x="356" y="53"/>
                </a:lnTo>
                <a:lnTo>
                  <a:pt x="353" y="50"/>
                </a:lnTo>
                <a:lnTo>
                  <a:pt x="350" y="47"/>
                </a:lnTo>
                <a:lnTo>
                  <a:pt x="347" y="47"/>
                </a:lnTo>
                <a:lnTo>
                  <a:pt x="341" y="47"/>
                </a:lnTo>
                <a:lnTo>
                  <a:pt x="334" y="44"/>
                </a:lnTo>
                <a:lnTo>
                  <a:pt x="334" y="34"/>
                </a:lnTo>
                <a:lnTo>
                  <a:pt x="338" y="28"/>
                </a:lnTo>
                <a:lnTo>
                  <a:pt x="334" y="25"/>
                </a:lnTo>
                <a:lnTo>
                  <a:pt x="331" y="25"/>
                </a:lnTo>
                <a:lnTo>
                  <a:pt x="331" y="22"/>
                </a:lnTo>
                <a:lnTo>
                  <a:pt x="328" y="19"/>
                </a:lnTo>
                <a:lnTo>
                  <a:pt x="325" y="19"/>
                </a:lnTo>
                <a:lnTo>
                  <a:pt x="316" y="9"/>
                </a:lnTo>
                <a:lnTo>
                  <a:pt x="313" y="9"/>
                </a:lnTo>
                <a:lnTo>
                  <a:pt x="309" y="13"/>
                </a:lnTo>
                <a:lnTo>
                  <a:pt x="306" y="13"/>
                </a:lnTo>
                <a:lnTo>
                  <a:pt x="303" y="9"/>
                </a:lnTo>
                <a:lnTo>
                  <a:pt x="300" y="13"/>
                </a:lnTo>
                <a:lnTo>
                  <a:pt x="297" y="13"/>
                </a:lnTo>
                <a:lnTo>
                  <a:pt x="297" y="9"/>
                </a:lnTo>
                <a:lnTo>
                  <a:pt x="294" y="9"/>
                </a:lnTo>
                <a:lnTo>
                  <a:pt x="294" y="9"/>
                </a:lnTo>
                <a:close/>
                <a:moveTo>
                  <a:pt x="44" y="135"/>
                </a:moveTo>
                <a:lnTo>
                  <a:pt x="47" y="135"/>
                </a:lnTo>
                <a:lnTo>
                  <a:pt x="47" y="135"/>
                </a:lnTo>
                <a:lnTo>
                  <a:pt x="47" y="135"/>
                </a:lnTo>
                <a:lnTo>
                  <a:pt x="47" y="138"/>
                </a:lnTo>
                <a:lnTo>
                  <a:pt x="44" y="135"/>
                </a:lnTo>
                <a:lnTo>
                  <a:pt x="44" y="135"/>
                </a:lnTo>
                <a:close/>
                <a:moveTo>
                  <a:pt x="0" y="47"/>
                </a:moveTo>
                <a:lnTo>
                  <a:pt x="3" y="50"/>
                </a:lnTo>
                <a:lnTo>
                  <a:pt x="9" y="47"/>
                </a:lnTo>
                <a:lnTo>
                  <a:pt x="9" y="47"/>
                </a:lnTo>
                <a:lnTo>
                  <a:pt x="6" y="44"/>
                </a:lnTo>
                <a:lnTo>
                  <a:pt x="6" y="47"/>
                </a:lnTo>
                <a:lnTo>
                  <a:pt x="3" y="47"/>
                </a:lnTo>
                <a:lnTo>
                  <a:pt x="0" y="4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7" name="Freeform 85">
            <a:extLst>
              <a:ext uri="{FF2B5EF4-FFF2-40B4-BE49-F238E27FC236}">
                <a16:creationId xmlns:a16="http://schemas.microsoft.com/office/drawing/2014/main" id="{22EBD02A-0AE3-DF38-08C5-A9ADFFE9D284}"/>
              </a:ext>
            </a:extLst>
          </p:cNvPr>
          <p:cNvSpPr>
            <a:spLocks/>
          </p:cNvSpPr>
          <p:nvPr userDrawn="1"/>
        </p:nvSpPr>
        <p:spPr bwMode="auto">
          <a:xfrm>
            <a:off x="15512041" y="6914429"/>
            <a:ext cx="603211" cy="574678"/>
          </a:xfrm>
          <a:custGeom>
            <a:avLst/>
            <a:gdLst>
              <a:gd name="T0" fmla="*/ 187 w 190"/>
              <a:gd name="T1" fmla="*/ 156 h 181"/>
              <a:gd name="T2" fmla="*/ 181 w 190"/>
              <a:gd name="T3" fmla="*/ 150 h 181"/>
              <a:gd name="T4" fmla="*/ 172 w 190"/>
              <a:gd name="T5" fmla="*/ 137 h 181"/>
              <a:gd name="T6" fmla="*/ 172 w 190"/>
              <a:gd name="T7" fmla="*/ 128 h 181"/>
              <a:gd name="T8" fmla="*/ 172 w 190"/>
              <a:gd name="T9" fmla="*/ 115 h 181"/>
              <a:gd name="T10" fmla="*/ 165 w 190"/>
              <a:gd name="T11" fmla="*/ 106 h 181"/>
              <a:gd name="T12" fmla="*/ 159 w 190"/>
              <a:gd name="T13" fmla="*/ 106 h 181"/>
              <a:gd name="T14" fmla="*/ 140 w 190"/>
              <a:gd name="T15" fmla="*/ 97 h 181"/>
              <a:gd name="T16" fmla="*/ 134 w 190"/>
              <a:gd name="T17" fmla="*/ 93 h 181"/>
              <a:gd name="T18" fmla="*/ 134 w 190"/>
              <a:gd name="T19" fmla="*/ 90 h 181"/>
              <a:gd name="T20" fmla="*/ 134 w 190"/>
              <a:gd name="T21" fmla="*/ 84 h 181"/>
              <a:gd name="T22" fmla="*/ 128 w 190"/>
              <a:gd name="T23" fmla="*/ 78 h 181"/>
              <a:gd name="T24" fmla="*/ 122 w 190"/>
              <a:gd name="T25" fmla="*/ 75 h 181"/>
              <a:gd name="T26" fmla="*/ 125 w 190"/>
              <a:gd name="T27" fmla="*/ 72 h 181"/>
              <a:gd name="T28" fmla="*/ 125 w 190"/>
              <a:gd name="T29" fmla="*/ 65 h 181"/>
              <a:gd name="T30" fmla="*/ 128 w 190"/>
              <a:gd name="T31" fmla="*/ 56 h 181"/>
              <a:gd name="T32" fmla="*/ 131 w 190"/>
              <a:gd name="T33" fmla="*/ 53 h 181"/>
              <a:gd name="T34" fmla="*/ 131 w 190"/>
              <a:gd name="T35" fmla="*/ 43 h 181"/>
              <a:gd name="T36" fmla="*/ 131 w 190"/>
              <a:gd name="T37" fmla="*/ 37 h 181"/>
              <a:gd name="T38" fmla="*/ 137 w 190"/>
              <a:gd name="T39" fmla="*/ 34 h 181"/>
              <a:gd name="T40" fmla="*/ 137 w 190"/>
              <a:gd name="T41" fmla="*/ 34 h 181"/>
              <a:gd name="T42" fmla="*/ 128 w 190"/>
              <a:gd name="T43" fmla="*/ 34 h 181"/>
              <a:gd name="T44" fmla="*/ 118 w 190"/>
              <a:gd name="T45" fmla="*/ 28 h 181"/>
              <a:gd name="T46" fmla="*/ 112 w 190"/>
              <a:gd name="T47" fmla="*/ 25 h 181"/>
              <a:gd name="T48" fmla="*/ 109 w 190"/>
              <a:gd name="T49" fmla="*/ 18 h 181"/>
              <a:gd name="T50" fmla="*/ 103 w 190"/>
              <a:gd name="T51" fmla="*/ 12 h 181"/>
              <a:gd name="T52" fmla="*/ 103 w 190"/>
              <a:gd name="T53" fmla="*/ 6 h 181"/>
              <a:gd name="T54" fmla="*/ 93 w 190"/>
              <a:gd name="T55" fmla="*/ 6 h 181"/>
              <a:gd name="T56" fmla="*/ 90 w 190"/>
              <a:gd name="T57" fmla="*/ 0 h 181"/>
              <a:gd name="T58" fmla="*/ 84 w 190"/>
              <a:gd name="T59" fmla="*/ 0 h 181"/>
              <a:gd name="T60" fmla="*/ 68 w 190"/>
              <a:gd name="T61" fmla="*/ 0 h 181"/>
              <a:gd name="T62" fmla="*/ 62 w 190"/>
              <a:gd name="T63" fmla="*/ 0 h 181"/>
              <a:gd name="T64" fmla="*/ 56 w 190"/>
              <a:gd name="T65" fmla="*/ 6 h 181"/>
              <a:gd name="T66" fmla="*/ 53 w 190"/>
              <a:gd name="T67" fmla="*/ 9 h 181"/>
              <a:gd name="T68" fmla="*/ 40 w 190"/>
              <a:gd name="T69" fmla="*/ 15 h 181"/>
              <a:gd name="T70" fmla="*/ 37 w 190"/>
              <a:gd name="T71" fmla="*/ 28 h 181"/>
              <a:gd name="T72" fmla="*/ 40 w 190"/>
              <a:gd name="T73" fmla="*/ 40 h 181"/>
              <a:gd name="T74" fmla="*/ 37 w 190"/>
              <a:gd name="T75" fmla="*/ 50 h 181"/>
              <a:gd name="T76" fmla="*/ 34 w 190"/>
              <a:gd name="T77" fmla="*/ 62 h 181"/>
              <a:gd name="T78" fmla="*/ 0 w 190"/>
              <a:gd name="T79" fmla="*/ 90 h 181"/>
              <a:gd name="T80" fmla="*/ 0 w 190"/>
              <a:gd name="T81" fmla="*/ 90 h 181"/>
              <a:gd name="T82" fmla="*/ 25 w 190"/>
              <a:gd name="T83" fmla="*/ 115 h 181"/>
              <a:gd name="T84" fmla="*/ 156 w 190"/>
              <a:gd name="T85" fmla="*/ 181 h 181"/>
              <a:gd name="T86" fmla="*/ 162 w 190"/>
              <a:gd name="T87" fmla="*/ 162 h 181"/>
              <a:gd name="T88" fmla="*/ 178 w 190"/>
              <a:gd name="T89" fmla="*/ 162 h 181"/>
              <a:gd name="T90" fmla="*/ 184 w 190"/>
              <a:gd name="T91" fmla="*/ 162 h 181"/>
              <a:gd name="T92" fmla="*/ 190 w 190"/>
              <a:gd name="T93" fmla="*/ 15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0" h="181">
                <a:moveTo>
                  <a:pt x="190" y="156"/>
                </a:moveTo>
                <a:lnTo>
                  <a:pt x="187" y="156"/>
                </a:lnTo>
                <a:lnTo>
                  <a:pt x="184" y="153"/>
                </a:lnTo>
                <a:lnTo>
                  <a:pt x="181" y="150"/>
                </a:lnTo>
                <a:lnTo>
                  <a:pt x="178" y="137"/>
                </a:lnTo>
                <a:lnTo>
                  <a:pt x="172" y="137"/>
                </a:lnTo>
                <a:lnTo>
                  <a:pt x="172" y="134"/>
                </a:lnTo>
                <a:lnTo>
                  <a:pt x="172" y="128"/>
                </a:lnTo>
                <a:lnTo>
                  <a:pt x="175" y="125"/>
                </a:lnTo>
                <a:lnTo>
                  <a:pt x="172" y="115"/>
                </a:lnTo>
                <a:lnTo>
                  <a:pt x="168" y="112"/>
                </a:lnTo>
                <a:lnTo>
                  <a:pt x="165" y="106"/>
                </a:lnTo>
                <a:lnTo>
                  <a:pt x="162" y="103"/>
                </a:lnTo>
                <a:lnTo>
                  <a:pt x="159" y="106"/>
                </a:lnTo>
                <a:lnTo>
                  <a:pt x="143" y="97"/>
                </a:lnTo>
                <a:lnTo>
                  <a:pt x="140" y="97"/>
                </a:lnTo>
                <a:lnTo>
                  <a:pt x="140" y="97"/>
                </a:lnTo>
                <a:lnTo>
                  <a:pt x="134" y="93"/>
                </a:lnTo>
                <a:lnTo>
                  <a:pt x="137" y="90"/>
                </a:lnTo>
                <a:lnTo>
                  <a:pt x="134" y="90"/>
                </a:lnTo>
                <a:lnTo>
                  <a:pt x="137" y="87"/>
                </a:lnTo>
                <a:lnTo>
                  <a:pt x="134" y="84"/>
                </a:lnTo>
                <a:lnTo>
                  <a:pt x="131" y="81"/>
                </a:lnTo>
                <a:lnTo>
                  <a:pt x="128" y="78"/>
                </a:lnTo>
                <a:lnTo>
                  <a:pt x="125" y="75"/>
                </a:lnTo>
                <a:lnTo>
                  <a:pt x="122" y="75"/>
                </a:lnTo>
                <a:lnTo>
                  <a:pt x="122" y="75"/>
                </a:lnTo>
                <a:lnTo>
                  <a:pt x="125" y="72"/>
                </a:lnTo>
                <a:lnTo>
                  <a:pt x="122" y="68"/>
                </a:lnTo>
                <a:lnTo>
                  <a:pt x="125" y="65"/>
                </a:lnTo>
                <a:lnTo>
                  <a:pt x="125" y="59"/>
                </a:lnTo>
                <a:lnTo>
                  <a:pt x="128" y="56"/>
                </a:lnTo>
                <a:lnTo>
                  <a:pt x="128" y="53"/>
                </a:lnTo>
                <a:lnTo>
                  <a:pt x="131" y="53"/>
                </a:lnTo>
                <a:lnTo>
                  <a:pt x="131" y="50"/>
                </a:lnTo>
                <a:lnTo>
                  <a:pt x="131" y="43"/>
                </a:lnTo>
                <a:lnTo>
                  <a:pt x="131" y="43"/>
                </a:lnTo>
                <a:lnTo>
                  <a:pt x="131" y="37"/>
                </a:lnTo>
                <a:lnTo>
                  <a:pt x="131" y="37"/>
                </a:lnTo>
                <a:lnTo>
                  <a:pt x="137" y="34"/>
                </a:lnTo>
                <a:lnTo>
                  <a:pt x="137" y="34"/>
                </a:lnTo>
                <a:lnTo>
                  <a:pt x="137" y="34"/>
                </a:lnTo>
                <a:lnTo>
                  <a:pt x="134" y="31"/>
                </a:lnTo>
                <a:lnTo>
                  <a:pt x="128" y="34"/>
                </a:lnTo>
                <a:lnTo>
                  <a:pt x="125" y="31"/>
                </a:lnTo>
                <a:lnTo>
                  <a:pt x="118" y="28"/>
                </a:lnTo>
                <a:lnTo>
                  <a:pt x="115" y="28"/>
                </a:lnTo>
                <a:lnTo>
                  <a:pt x="112" y="25"/>
                </a:lnTo>
                <a:lnTo>
                  <a:pt x="112" y="22"/>
                </a:lnTo>
                <a:lnTo>
                  <a:pt x="109" y="18"/>
                </a:lnTo>
                <a:lnTo>
                  <a:pt x="106" y="18"/>
                </a:lnTo>
                <a:lnTo>
                  <a:pt x="103" y="12"/>
                </a:lnTo>
                <a:lnTo>
                  <a:pt x="103" y="9"/>
                </a:lnTo>
                <a:lnTo>
                  <a:pt x="103" y="6"/>
                </a:lnTo>
                <a:lnTo>
                  <a:pt x="100" y="6"/>
                </a:lnTo>
                <a:lnTo>
                  <a:pt x="93" y="6"/>
                </a:lnTo>
                <a:lnTo>
                  <a:pt x="90" y="6"/>
                </a:lnTo>
                <a:lnTo>
                  <a:pt x="90" y="0"/>
                </a:lnTo>
                <a:lnTo>
                  <a:pt x="87" y="0"/>
                </a:lnTo>
                <a:lnTo>
                  <a:pt x="84" y="0"/>
                </a:lnTo>
                <a:lnTo>
                  <a:pt x="75" y="0"/>
                </a:lnTo>
                <a:lnTo>
                  <a:pt x="68" y="0"/>
                </a:lnTo>
                <a:lnTo>
                  <a:pt x="65" y="0"/>
                </a:lnTo>
                <a:lnTo>
                  <a:pt x="62" y="0"/>
                </a:lnTo>
                <a:lnTo>
                  <a:pt x="56" y="6"/>
                </a:lnTo>
                <a:lnTo>
                  <a:pt x="56" y="6"/>
                </a:lnTo>
                <a:lnTo>
                  <a:pt x="56" y="9"/>
                </a:lnTo>
                <a:lnTo>
                  <a:pt x="53" y="9"/>
                </a:lnTo>
                <a:lnTo>
                  <a:pt x="50" y="12"/>
                </a:lnTo>
                <a:lnTo>
                  <a:pt x="40" y="15"/>
                </a:lnTo>
                <a:lnTo>
                  <a:pt x="37" y="22"/>
                </a:lnTo>
                <a:lnTo>
                  <a:pt x="37" y="28"/>
                </a:lnTo>
                <a:lnTo>
                  <a:pt x="40" y="34"/>
                </a:lnTo>
                <a:lnTo>
                  <a:pt x="40" y="40"/>
                </a:lnTo>
                <a:lnTo>
                  <a:pt x="37" y="47"/>
                </a:lnTo>
                <a:lnTo>
                  <a:pt x="37" y="50"/>
                </a:lnTo>
                <a:lnTo>
                  <a:pt x="37" y="56"/>
                </a:lnTo>
                <a:lnTo>
                  <a:pt x="34" y="62"/>
                </a:lnTo>
                <a:lnTo>
                  <a:pt x="34" y="65"/>
                </a:lnTo>
                <a:lnTo>
                  <a:pt x="0" y="90"/>
                </a:lnTo>
                <a:lnTo>
                  <a:pt x="0" y="90"/>
                </a:lnTo>
                <a:lnTo>
                  <a:pt x="0" y="90"/>
                </a:lnTo>
                <a:lnTo>
                  <a:pt x="9" y="115"/>
                </a:lnTo>
                <a:lnTo>
                  <a:pt x="25" y="115"/>
                </a:lnTo>
                <a:lnTo>
                  <a:pt x="118" y="181"/>
                </a:lnTo>
                <a:lnTo>
                  <a:pt x="156" y="181"/>
                </a:lnTo>
                <a:lnTo>
                  <a:pt x="159" y="172"/>
                </a:lnTo>
                <a:lnTo>
                  <a:pt x="162" y="162"/>
                </a:lnTo>
                <a:lnTo>
                  <a:pt x="172" y="159"/>
                </a:lnTo>
                <a:lnTo>
                  <a:pt x="178" y="162"/>
                </a:lnTo>
                <a:lnTo>
                  <a:pt x="184" y="159"/>
                </a:lnTo>
                <a:lnTo>
                  <a:pt x="184" y="162"/>
                </a:lnTo>
                <a:lnTo>
                  <a:pt x="187" y="156"/>
                </a:lnTo>
                <a:lnTo>
                  <a:pt x="190" y="15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8" name="Freeform 86">
            <a:extLst>
              <a:ext uri="{FF2B5EF4-FFF2-40B4-BE49-F238E27FC236}">
                <a16:creationId xmlns:a16="http://schemas.microsoft.com/office/drawing/2014/main" id="{239BC775-BCCD-2BB4-6489-846312735CCE}"/>
              </a:ext>
            </a:extLst>
          </p:cNvPr>
          <p:cNvSpPr>
            <a:spLocks/>
          </p:cNvSpPr>
          <p:nvPr userDrawn="1"/>
        </p:nvSpPr>
        <p:spPr bwMode="auto">
          <a:xfrm>
            <a:off x="16007307" y="7419259"/>
            <a:ext cx="98420" cy="111126"/>
          </a:xfrm>
          <a:custGeom>
            <a:avLst/>
            <a:gdLst>
              <a:gd name="T0" fmla="*/ 0 w 31"/>
              <a:gd name="T1" fmla="*/ 22 h 35"/>
              <a:gd name="T2" fmla="*/ 3 w 31"/>
              <a:gd name="T3" fmla="*/ 13 h 35"/>
              <a:gd name="T4" fmla="*/ 6 w 31"/>
              <a:gd name="T5" fmla="*/ 3 h 35"/>
              <a:gd name="T6" fmla="*/ 16 w 31"/>
              <a:gd name="T7" fmla="*/ 0 h 35"/>
              <a:gd name="T8" fmla="*/ 22 w 31"/>
              <a:gd name="T9" fmla="*/ 3 h 35"/>
              <a:gd name="T10" fmla="*/ 28 w 31"/>
              <a:gd name="T11" fmla="*/ 0 h 35"/>
              <a:gd name="T12" fmla="*/ 28 w 31"/>
              <a:gd name="T13" fmla="*/ 3 h 35"/>
              <a:gd name="T14" fmla="*/ 28 w 31"/>
              <a:gd name="T15" fmla="*/ 3 h 35"/>
              <a:gd name="T16" fmla="*/ 31 w 31"/>
              <a:gd name="T17" fmla="*/ 13 h 35"/>
              <a:gd name="T18" fmla="*/ 19 w 31"/>
              <a:gd name="T19" fmla="*/ 16 h 35"/>
              <a:gd name="T20" fmla="*/ 28 w 31"/>
              <a:gd name="T21" fmla="*/ 19 h 35"/>
              <a:gd name="T22" fmla="*/ 28 w 31"/>
              <a:gd name="T23" fmla="*/ 19 h 35"/>
              <a:gd name="T24" fmla="*/ 28 w 31"/>
              <a:gd name="T25" fmla="*/ 22 h 35"/>
              <a:gd name="T26" fmla="*/ 28 w 31"/>
              <a:gd name="T27" fmla="*/ 25 h 35"/>
              <a:gd name="T28" fmla="*/ 31 w 31"/>
              <a:gd name="T29" fmla="*/ 25 h 35"/>
              <a:gd name="T30" fmla="*/ 31 w 31"/>
              <a:gd name="T31" fmla="*/ 25 h 35"/>
              <a:gd name="T32" fmla="*/ 31 w 31"/>
              <a:gd name="T33" fmla="*/ 28 h 35"/>
              <a:gd name="T34" fmla="*/ 31 w 31"/>
              <a:gd name="T35" fmla="*/ 28 h 35"/>
              <a:gd name="T36" fmla="*/ 19 w 31"/>
              <a:gd name="T37" fmla="*/ 35 h 35"/>
              <a:gd name="T38" fmla="*/ 19 w 31"/>
              <a:gd name="T39" fmla="*/ 28 h 35"/>
              <a:gd name="T40" fmla="*/ 0 w 31"/>
              <a:gd name="T41" fmla="*/ 22 h 35"/>
              <a:gd name="T42" fmla="*/ 0 w 31"/>
              <a:gd name="T43"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5">
                <a:moveTo>
                  <a:pt x="0" y="22"/>
                </a:moveTo>
                <a:lnTo>
                  <a:pt x="3" y="13"/>
                </a:lnTo>
                <a:lnTo>
                  <a:pt x="6" y="3"/>
                </a:lnTo>
                <a:lnTo>
                  <a:pt x="16" y="0"/>
                </a:lnTo>
                <a:lnTo>
                  <a:pt x="22" y="3"/>
                </a:lnTo>
                <a:lnTo>
                  <a:pt x="28" y="0"/>
                </a:lnTo>
                <a:lnTo>
                  <a:pt x="28" y="3"/>
                </a:lnTo>
                <a:lnTo>
                  <a:pt x="28" y="3"/>
                </a:lnTo>
                <a:lnTo>
                  <a:pt x="31" y="13"/>
                </a:lnTo>
                <a:lnTo>
                  <a:pt x="19" y="16"/>
                </a:lnTo>
                <a:lnTo>
                  <a:pt x="28" y="19"/>
                </a:lnTo>
                <a:lnTo>
                  <a:pt x="28" y="19"/>
                </a:lnTo>
                <a:lnTo>
                  <a:pt x="28" y="22"/>
                </a:lnTo>
                <a:lnTo>
                  <a:pt x="28" y="25"/>
                </a:lnTo>
                <a:lnTo>
                  <a:pt x="31" y="25"/>
                </a:lnTo>
                <a:lnTo>
                  <a:pt x="31" y="25"/>
                </a:lnTo>
                <a:lnTo>
                  <a:pt x="31" y="28"/>
                </a:lnTo>
                <a:lnTo>
                  <a:pt x="31" y="28"/>
                </a:lnTo>
                <a:lnTo>
                  <a:pt x="19" y="35"/>
                </a:lnTo>
                <a:lnTo>
                  <a:pt x="19" y="28"/>
                </a:lnTo>
                <a:lnTo>
                  <a:pt x="0" y="22"/>
                </a:lnTo>
                <a:lnTo>
                  <a:pt x="0" y="22"/>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9" name="Freeform 87">
            <a:extLst>
              <a:ext uri="{FF2B5EF4-FFF2-40B4-BE49-F238E27FC236}">
                <a16:creationId xmlns:a16="http://schemas.microsoft.com/office/drawing/2014/main" id="{6951549B-0CB6-8403-7057-290677120776}"/>
              </a:ext>
            </a:extLst>
          </p:cNvPr>
          <p:cNvSpPr>
            <a:spLocks/>
          </p:cNvSpPr>
          <p:nvPr userDrawn="1"/>
        </p:nvSpPr>
        <p:spPr bwMode="auto">
          <a:xfrm>
            <a:off x="15092965" y="7041432"/>
            <a:ext cx="139693" cy="79376"/>
          </a:xfrm>
          <a:custGeom>
            <a:avLst/>
            <a:gdLst>
              <a:gd name="T0" fmla="*/ 10 w 44"/>
              <a:gd name="T1" fmla="*/ 25 h 25"/>
              <a:gd name="T2" fmla="*/ 3 w 44"/>
              <a:gd name="T3" fmla="*/ 22 h 25"/>
              <a:gd name="T4" fmla="*/ 0 w 44"/>
              <a:gd name="T5" fmla="*/ 19 h 25"/>
              <a:gd name="T6" fmla="*/ 0 w 44"/>
              <a:gd name="T7" fmla="*/ 13 h 25"/>
              <a:gd name="T8" fmla="*/ 3 w 44"/>
              <a:gd name="T9" fmla="*/ 13 h 25"/>
              <a:gd name="T10" fmla="*/ 7 w 44"/>
              <a:gd name="T11" fmla="*/ 10 h 25"/>
              <a:gd name="T12" fmla="*/ 10 w 44"/>
              <a:gd name="T13" fmla="*/ 13 h 25"/>
              <a:gd name="T14" fmla="*/ 13 w 44"/>
              <a:gd name="T15" fmla="*/ 13 h 25"/>
              <a:gd name="T16" fmla="*/ 13 w 44"/>
              <a:gd name="T17" fmla="*/ 10 h 25"/>
              <a:gd name="T18" fmla="*/ 13 w 44"/>
              <a:gd name="T19" fmla="*/ 7 h 25"/>
              <a:gd name="T20" fmla="*/ 19 w 44"/>
              <a:gd name="T21" fmla="*/ 7 h 25"/>
              <a:gd name="T22" fmla="*/ 22 w 44"/>
              <a:gd name="T23" fmla="*/ 10 h 25"/>
              <a:gd name="T24" fmla="*/ 25 w 44"/>
              <a:gd name="T25" fmla="*/ 7 h 25"/>
              <a:gd name="T26" fmla="*/ 35 w 44"/>
              <a:gd name="T27" fmla="*/ 3 h 25"/>
              <a:gd name="T28" fmla="*/ 41 w 44"/>
              <a:gd name="T29" fmla="*/ 0 h 25"/>
              <a:gd name="T30" fmla="*/ 44 w 44"/>
              <a:gd name="T31" fmla="*/ 0 h 25"/>
              <a:gd name="T32" fmla="*/ 44 w 44"/>
              <a:gd name="T33" fmla="*/ 0 h 25"/>
              <a:gd name="T34" fmla="*/ 44 w 44"/>
              <a:gd name="T35" fmla="*/ 3 h 25"/>
              <a:gd name="T36" fmla="*/ 38 w 44"/>
              <a:gd name="T37" fmla="*/ 7 h 25"/>
              <a:gd name="T38" fmla="*/ 35 w 44"/>
              <a:gd name="T39" fmla="*/ 10 h 25"/>
              <a:gd name="T40" fmla="*/ 35 w 44"/>
              <a:gd name="T41" fmla="*/ 16 h 25"/>
              <a:gd name="T42" fmla="*/ 35 w 44"/>
              <a:gd name="T43" fmla="*/ 19 h 25"/>
              <a:gd name="T44" fmla="*/ 32 w 44"/>
              <a:gd name="T45" fmla="*/ 19 h 25"/>
              <a:gd name="T46" fmla="*/ 28 w 44"/>
              <a:gd name="T47" fmla="*/ 19 h 25"/>
              <a:gd name="T48" fmla="*/ 22 w 44"/>
              <a:gd name="T49" fmla="*/ 22 h 25"/>
              <a:gd name="T50" fmla="*/ 19 w 44"/>
              <a:gd name="T51" fmla="*/ 25 h 25"/>
              <a:gd name="T52" fmla="*/ 16 w 44"/>
              <a:gd name="T53" fmla="*/ 25 h 25"/>
              <a:gd name="T54" fmla="*/ 13 w 44"/>
              <a:gd name="T55" fmla="*/ 25 h 25"/>
              <a:gd name="T56" fmla="*/ 10 w 44"/>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 h="25">
                <a:moveTo>
                  <a:pt x="10" y="25"/>
                </a:moveTo>
                <a:lnTo>
                  <a:pt x="3" y="22"/>
                </a:lnTo>
                <a:lnTo>
                  <a:pt x="0" y="19"/>
                </a:lnTo>
                <a:lnTo>
                  <a:pt x="0" y="13"/>
                </a:lnTo>
                <a:lnTo>
                  <a:pt x="3" y="13"/>
                </a:lnTo>
                <a:lnTo>
                  <a:pt x="7" y="10"/>
                </a:lnTo>
                <a:lnTo>
                  <a:pt x="10" y="13"/>
                </a:lnTo>
                <a:lnTo>
                  <a:pt x="13" y="13"/>
                </a:lnTo>
                <a:lnTo>
                  <a:pt x="13" y="10"/>
                </a:lnTo>
                <a:lnTo>
                  <a:pt x="13" y="7"/>
                </a:lnTo>
                <a:lnTo>
                  <a:pt x="19" y="7"/>
                </a:lnTo>
                <a:lnTo>
                  <a:pt x="22" y="10"/>
                </a:lnTo>
                <a:lnTo>
                  <a:pt x="25" y="7"/>
                </a:lnTo>
                <a:lnTo>
                  <a:pt x="35" y="3"/>
                </a:lnTo>
                <a:lnTo>
                  <a:pt x="41" y="0"/>
                </a:lnTo>
                <a:lnTo>
                  <a:pt x="44" y="0"/>
                </a:lnTo>
                <a:lnTo>
                  <a:pt x="44" y="0"/>
                </a:lnTo>
                <a:lnTo>
                  <a:pt x="44" y="3"/>
                </a:lnTo>
                <a:lnTo>
                  <a:pt x="38" y="7"/>
                </a:lnTo>
                <a:lnTo>
                  <a:pt x="35" y="10"/>
                </a:lnTo>
                <a:lnTo>
                  <a:pt x="35" y="16"/>
                </a:lnTo>
                <a:lnTo>
                  <a:pt x="35" y="19"/>
                </a:lnTo>
                <a:lnTo>
                  <a:pt x="32" y="19"/>
                </a:lnTo>
                <a:lnTo>
                  <a:pt x="28" y="19"/>
                </a:lnTo>
                <a:lnTo>
                  <a:pt x="22" y="22"/>
                </a:lnTo>
                <a:lnTo>
                  <a:pt x="19" y="25"/>
                </a:lnTo>
                <a:lnTo>
                  <a:pt x="16" y="25"/>
                </a:lnTo>
                <a:lnTo>
                  <a:pt x="13" y="25"/>
                </a:lnTo>
                <a:lnTo>
                  <a:pt x="10" y="25"/>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0" name="Freeform 88">
            <a:extLst>
              <a:ext uri="{FF2B5EF4-FFF2-40B4-BE49-F238E27FC236}">
                <a16:creationId xmlns:a16="http://schemas.microsoft.com/office/drawing/2014/main" id="{A9F214AB-770D-1909-1CD0-6A6BC67938CE}"/>
              </a:ext>
            </a:extLst>
          </p:cNvPr>
          <p:cNvSpPr>
            <a:spLocks/>
          </p:cNvSpPr>
          <p:nvPr userDrawn="1"/>
        </p:nvSpPr>
        <p:spPr bwMode="auto">
          <a:xfrm>
            <a:off x="15302503" y="6923959"/>
            <a:ext cx="387325" cy="346078"/>
          </a:xfrm>
          <a:custGeom>
            <a:avLst/>
            <a:gdLst>
              <a:gd name="T0" fmla="*/ 100 w 122"/>
              <a:gd name="T1" fmla="*/ 62 h 109"/>
              <a:gd name="T2" fmla="*/ 103 w 122"/>
              <a:gd name="T3" fmla="*/ 53 h 109"/>
              <a:gd name="T4" fmla="*/ 103 w 122"/>
              <a:gd name="T5" fmla="*/ 44 h 109"/>
              <a:gd name="T6" fmla="*/ 106 w 122"/>
              <a:gd name="T7" fmla="*/ 31 h 109"/>
              <a:gd name="T8" fmla="*/ 103 w 122"/>
              <a:gd name="T9" fmla="*/ 19 h 109"/>
              <a:gd name="T10" fmla="*/ 116 w 122"/>
              <a:gd name="T11" fmla="*/ 9 h 109"/>
              <a:gd name="T12" fmla="*/ 122 w 122"/>
              <a:gd name="T13" fmla="*/ 6 h 109"/>
              <a:gd name="T14" fmla="*/ 122 w 122"/>
              <a:gd name="T15" fmla="*/ 0 h 109"/>
              <a:gd name="T16" fmla="*/ 106 w 122"/>
              <a:gd name="T17" fmla="*/ 3 h 109"/>
              <a:gd name="T18" fmla="*/ 94 w 122"/>
              <a:gd name="T19" fmla="*/ 3 h 109"/>
              <a:gd name="T20" fmla="*/ 81 w 122"/>
              <a:gd name="T21" fmla="*/ 6 h 109"/>
              <a:gd name="T22" fmla="*/ 75 w 122"/>
              <a:gd name="T23" fmla="*/ 9 h 109"/>
              <a:gd name="T24" fmla="*/ 63 w 122"/>
              <a:gd name="T25" fmla="*/ 12 h 109"/>
              <a:gd name="T26" fmla="*/ 56 w 122"/>
              <a:gd name="T27" fmla="*/ 9 h 109"/>
              <a:gd name="T28" fmla="*/ 41 w 122"/>
              <a:gd name="T29" fmla="*/ 9 h 109"/>
              <a:gd name="T30" fmla="*/ 38 w 122"/>
              <a:gd name="T31" fmla="*/ 9 h 109"/>
              <a:gd name="T32" fmla="*/ 25 w 122"/>
              <a:gd name="T33" fmla="*/ 12 h 109"/>
              <a:gd name="T34" fmla="*/ 16 w 122"/>
              <a:gd name="T35" fmla="*/ 15 h 109"/>
              <a:gd name="T36" fmla="*/ 16 w 122"/>
              <a:gd name="T37" fmla="*/ 25 h 109"/>
              <a:gd name="T38" fmla="*/ 9 w 122"/>
              <a:gd name="T39" fmla="*/ 31 h 109"/>
              <a:gd name="T40" fmla="*/ 3 w 122"/>
              <a:gd name="T41" fmla="*/ 31 h 109"/>
              <a:gd name="T42" fmla="*/ 0 w 122"/>
              <a:gd name="T43" fmla="*/ 31 h 109"/>
              <a:gd name="T44" fmla="*/ 3 w 122"/>
              <a:gd name="T45" fmla="*/ 44 h 109"/>
              <a:gd name="T46" fmla="*/ 3 w 122"/>
              <a:gd name="T47" fmla="*/ 53 h 109"/>
              <a:gd name="T48" fmla="*/ 12 w 122"/>
              <a:gd name="T49" fmla="*/ 62 h 109"/>
              <a:gd name="T50" fmla="*/ 19 w 122"/>
              <a:gd name="T51" fmla="*/ 65 h 109"/>
              <a:gd name="T52" fmla="*/ 19 w 122"/>
              <a:gd name="T53" fmla="*/ 75 h 109"/>
              <a:gd name="T54" fmla="*/ 16 w 122"/>
              <a:gd name="T55" fmla="*/ 78 h 109"/>
              <a:gd name="T56" fmla="*/ 9 w 122"/>
              <a:gd name="T57" fmla="*/ 84 h 109"/>
              <a:gd name="T58" fmla="*/ 6 w 122"/>
              <a:gd name="T59" fmla="*/ 87 h 109"/>
              <a:gd name="T60" fmla="*/ 9 w 122"/>
              <a:gd name="T61" fmla="*/ 94 h 109"/>
              <a:gd name="T62" fmla="*/ 9 w 122"/>
              <a:gd name="T63" fmla="*/ 103 h 109"/>
              <a:gd name="T64" fmla="*/ 19 w 122"/>
              <a:gd name="T65" fmla="*/ 106 h 109"/>
              <a:gd name="T66" fmla="*/ 22 w 122"/>
              <a:gd name="T67" fmla="*/ 109 h 109"/>
              <a:gd name="T68" fmla="*/ 66 w 122"/>
              <a:gd name="T69" fmla="*/ 8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2" h="109">
                <a:moveTo>
                  <a:pt x="66" y="87"/>
                </a:moveTo>
                <a:lnTo>
                  <a:pt x="100" y="62"/>
                </a:lnTo>
                <a:lnTo>
                  <a:pt x="100" y="59"/>
                </a:lnTo>
                <a:lnTo>
                  <a:pt x="103" y="53"/>
                </a:lnTo>
                <a:lnTo>
                  <a:pt x="103" y="47"/>
                </a:lnTo>
                <a:lnTo>
                  <a:pt x="103" y="44"/>
                </a:lnTo>
                <a:lnTo>
                  <a:pt x="106" y="37"/>
                </a:lnTo>
                <a:lnTo>
                  <a:pt x="106" y="31"/>
                </a:lnTo>
                <a:lnTo>
                  <a:pt x="103" y="25"/>
                </a:lnTo>
                <a:lnTo>
                  <a:pt x="103" y="19"/>
                </a:lnTo>
                <a:lnTo>
                  <a:pt x="106" y="12"/>
                </a:lnTo>
                <a:lnTo>
                  <a:pt x="116" y="9"/>
                </a:lnTo>
                <a:lnTo>
                  <a:pt x="119" y="6"/>
                </a:lnTo>
                <a:lnTo>
                  <a:pt x="122" y="6"/>
                </a:lnTo>
                <a:lnTo>
                  <a:pt x="122" y="3"/>
                </a:lnTo>
                <a:lnTo>
                  <a:pt x="122" y="0"/>
                </a:lnTo>
                <a:lnTo>
                  <a:pt x="116" y="0"/>
                </a:lnTo>
                <a:lnTo>
                  <a:pt x="106" y="3"/>
                </a:lnTo>
                <a:lnTo>
                  <a:pt x="97" y="3"/>
                </a:lnTo>
                <a:lnTo>
                  <a:pt x="94" y="3"/>
                </a:lnTo>
                <a:lnTo>
                  <a:pt x="88" y="3"/>
                </a:lnTo>
                <a:lnTo>
                  <a:pt x="81" y="6"/>
                </a:lnTo>
                <a:lnTo>
                  <a:pt x="78" y="9"/>
                </a:lnTo>
                <a:lnTo>
                  <a:pt x="75" y="9"/>
                </a:lnTo>
                <a:lnTo>
                  <a:pt x="72" y="12"/>
                </a:lnTo>
                <a:lnTo>
                  <a:pt x="63" y="12"/>
                </a:lnTo>
                <a:lnTo>
                  <a:pt x="56" y="9"/>
                </a:lnTo>
                <a:lnTo>
                  <a:pt x="56" y="9"/>
                </a:lnTo>
                <a:lnTo>
                  <a:pt x="53" y="6"/>
                </a:lnTo>
                <a:lnTo>
                  <a:pt x="41" y="9"/>
                </a:lnTo>
                <a:lnTo>
                  <a:pt x="38" y="9"/>
                </a:lnTo>
                <a:lnTo>
                  <a:pt x="38" y="9"/>
                </a:lnTo>
                <a:lnTo>
                  <a:pt x="28" y="15"/>
                </a:lnTo>
                <a:lnTo>
                  <a:pt x="25" y="12"/>
                </a:lnTo>
                <a:lnTo>
                  <a:pt x="19" y="12"/>
                </a:lnTo>
                <a:lnTo>
                  <a:pt x="16" y="15"/>
                </a:lnTo>
                <a:lnTo>
                  <a:pt x="16" y="22"/>
                </a:lnTo>
                <a:lnTo>
                  <a:pt x="16" y="25"/>
                </a:lnTo>
                <a:lnTo>
                  <a:pt x="16" y="28"/>
                </a:lnTo>
                <a:lnTo>
                  <a:pt x="9" y="31"/>
                </a:lnTo>
                <a:lnTo>
                  <a:pt x="6" y="31"/>
                </a:lnTo>
                <a:lnTo>
                  <a:pt x="3" y="31"/>
                </a:lnTo>
                <a:lnTo>
                  <a:pt x="3" y="31"/>
                </a:lnTo>
                <a:lnTo>
                  <a:pt x="0" y="31"/>
                </a:lnTo>
                <a:lnTo>
                  <a:pt x="0" y="37"/>
                </a:lnTo>
                <a:lnTo>
                  <a:pt x="3" y="44"/>
                </a:lnTo>
                <a:lnTo>
                  <a:pt x="6" y="50"/>
                </a:lnTo>
                <a:lnTo>
                  <a:pt x="3" y="53"/>
                </a:lnTo>
                <a:lnTo>
                  <a:pt x="3" y="59"/>
                </a:lnTo>
                <a:lnTo>
                  <a:pt x="12" y="62"/>
                </a:lnTo>
                <a:lnTo>
                  <a:pt x="16" y="65"/>
                </a:lnTo>
                <a:lnTo>
                  <a:pt x="19" y="65"/>
                </a:lnTo>
                <a:lnTo>
                  <a:pt x="19" y="72"/>
                </a:lnTo>
                <a:lnTo>
                  <a:pt x="19" y="75"/>
                </a:lnTo>
                <a:lnTo>
                  <a:pt x="16" y="78"/>
                </a:lnTo>
                <a:lnTo>
                  <a:pt x="16" y="78"/>
                </a:lnTo>
                <a:lnTo>
                  <a:pt x="9" y="78"/>
                </a:lnTo>
                <a:lnTo>
                  <a:pt x="9" y="84"/>
                </a:lnTo>
                <a:lnTo>
                  <a:pt x="6" y="87"/>
                </a:lnTo>
                <a:lnTo>
                  <a:pt x="6" y="87"/>
                </a:lnTo>
                <a:lnTo>
                  <a:pt x="6" y="90"/>
                </a:lnTo>
                <a:lnTo>
                  <a:pt x="9" y="94"/>
                </a:lnTo>
                <a:lnTo>
                  <a:pt x="9" y="100"/>
                </a:lnTo>
                <a:lnTo>
                  <a:pt x="9" y="103"/>
                </a:lnTo>
                <a:lnTo>
                  <a:pt x="12" y="103"/>
                </a:lnTo>
                <a:lnTo>
                  <a:pt x="19" y="106"/>
                </a:lnTo>
                <a:lnTo>
                  <a:pt x="22" y="109"/>
                </a:lnTo>
                <a:lnTo>
                  <a:pt x="22" y="109"/>
                </a:lnTo>
                <a:lnTo>
                  <a:pt x="25" y="109"/>
                </a:lnTo>
                <a:lnTo>
                  <a:pt x="66" y="87"/>
                </a:lnTo>
                <a:lnTo>
                  <a:pt x="66" y="8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1" name="Freeform 89">
            <a:extLst>
              <a:ext uri="{FF2B5EF4-FFF2-40B4-BE49-F238E27FC236}">
                <a16:creationId xmlns:a16="http://schemas.microsoft.com/office/drawing/2014/main" id="{1F848FEE-3FEE-988B-C64F-C2442FDC3FCC}"/>
              </a:ext>
            </a:extLst>
          </p:cNvPr>
          <p:cNvSpPr>
            <a:spLocks/>
          </p:cNvSpPr>
          <p:nvPr userDrawn="1"/>
        </p:nvSpPr>
        <p:spPr bwMode="auto">
          <a:xfrm>
            <a:off x="15223130" y="7200182"/>
            <a:ext cx="98420" cy="279400"/>
          </a:xfrm>
          <a:custGeom>
            <a:avLst/>
            <a:gdLst>
              <a:gd name="T0" fmla="*/ 19 w 31"/>
              <a:gd name="T1" fmla="*/ 88 h 88"/>
              <a:gd name="T2" fmla="*/ 22 w 31"/>
              <a:gd name="T3" fmla="*/ 85 h 88"/>
              <a:gd name="T4" fmla="*/ 22 w 31"/>
              <a:gd name="T5" fmla="*/ 85 h 88"/>
              <a:gd name="T6" fmla="*/ 22 w 31"/>
              <a:gd name="T7" fmla="*/ 82 h 88"/>
              <a:gd name="T8" fmla="*/ 25 w 31"/>
              <a:gd name="T9" fmla="*/ 79 h 88"/>
              <a:gd name="T10" fmla="*/ 25 w 31"/>
              <a:gd name="T11" fmla="*/ 75 h 88"/>
              <a:gd name="T12" fmla="*/ 25 w 31"/>
              <a:gd name="T13" fmla="*/ 69 h 88"/>
              <a:gd name="T14" fmla="*/ 25 w 31"/>
              <a:gd name="T15" fmla="*/ 63 h 88"/>
              <a:gd name="T16" fmla="*/ 25 w 31"/>
              <a:gd name="T17" fmla="*/ 63 h 88"/>
              <a:gd name="T18" fmla="*/ 25 w 31"/>
              <a:gd name="T19" fmla="*/ 60 h 88"/>
              <a:gd name="T20" fmla="*/ 28 w 31"/>
              <a:gd name="T21" fmla="*/ 54 h 88"/>
              <a:gd name="T22" fmla="*/ 28 w 31"/>
              <a:gd name="T23" fmla="*/ 50 h 88"/>
              <a:gd name="T24" fmla="*/ 28 w 31"/>
              <a:gd name="T25" fmla="*/ 44 h 88"/>
              <a:gd name="T26" fmla="*/ 25 w 31"/>
              <a:gd name="T27" fmla="*/ 44 h 88"/>
              <a:gd name="T28" fmla="*/ 25 w 31"/>
              <a:gd name="T29" fmla="*/ 44 h 88"/>
              <a:gd name="T30" fmla="*/ 22 w 31"/>
              <a:gd name="T31" fmla="*/ 44 h 88"/>
              <a:gd name="T32" fmla="*/ 19 w 31"/>
              <a:gd name="T33" fmla="*/ 44 h 88"/>
              <a:gd name="T34" fmla="*/ 19 w 31"/>
              <a:gd name="T35" fmla="*/ 38 h 88"/>
              <a:gd name="T36" fmla="*/ 19 w 31"/>
              <a:gd name="T37" fmla="*/ 29 h 88"/>
              <a:gd name="T38" fmla="*/ 19 w 31"/>
              <a:gd name="T39" fmla="*/ 25 h 88"/>
              <a:gd name="T40" fmla="*/ 19 w 31"/>
              <a:gd name="T41" fmla="*/ 19 h 88"/>
              <a:gd name="T42" fmla="*/ 25 w 31"/>
              <a:gd name="T43" fmla="*/ 19 h 88"/>
              <a:gd name="T44" fmla="*/ 25 w 31"/>
              <a:gd name="T45" fmla="*/ 22 h 88"/>
              <a:gd name="T46" fmla="*/ 25 w 31"/>
              <a:gd name="T47" fmla="*/ 25 h 88"/>
              <a:gd name="T48" fmla="*/ 28 w 31"/>
              <a:gd name="T49" fmla="*/ 22 h 88"/>
              <a:gd name="T50" fmla="*/ 28 w 31"/>
              <a:gd name="T51" fmla="*/ 19 h 88"/>
              <a:gd name="T52" fmla="*/ 28 w 31"/>
              <a:gd name="T53" fmla="*/ 19 h 88"/>
              <a:gd name="T54" fmla="*/ 28 w 31"/>
              <a:gd name="T55" fmla="*/ 19 h 88"/>
              <a:gd name="T56" fmla="*/ 28 w 31"/>
              <a:gd name="T57" fmla="*/ 16 h 88"/>
              <a:gd name="T58" fmla="*/ 28 w 31"/>
              <a:gd name="T59" fmla="*/ 10 h 88"/>
              <a:gd name="T60" fmla="*/ 28 w 31"/>
              <a:gd name="T61" fmla="*/ 3 h 88"/>
              <a:gd name="T62" fmla="*/ 31 w 31"/>
              <a:gd name="T63" fmla="*/ 0 h 88"/>
              <a:gd name="T64" fmla="*/ 28 w 31"/>
              <a:gd name="T65" fmla="*/ 0 h 88"/>
              <a:gd name="T66" fmla="*/ 28 w 31"/>
              <a:gd name="T67" fmla="*/ 7 h 88"/>
              <a:gd name="T68" fmla="*/ 22 w 31"/>
              <a:gd name="T69" fmla="*/ 7 h 88"/>
              <a:gd name="T70" fmla="*/ 19 w 31"/>
              <a:gd name="T71" fmla="*/ 7 h 88"/>
              <a:gd name="T72" fmla="*/ 12 w 31"/>
              <a:gd name="T73" fmla="*/ 10 h 88"/>
              <a:gd name="T74" fmla="*/ 12 w 31"/>
              <a:gd name="T75" fmla="*/ 25 h 88"/>
              <a:gd name="T76" fmla="*/ 6 w 31"/>
              <a:gd name="T77" fmla="*/ 35 h 88"/>
              <a:gd name="T78" fmla="*/ 0 w 31"/>
              <a:gd name="T79" fmla="*/ 44 h 88"/>
              <a:gd name="T80" fmla="*/ 3 w 31"/>
              <a:gd name="T81" fmla="*/ 44 h 88"/>
              <a:gd name="T82" fmla="*/ 6 w 31"/>
              <a:gd name="T83" fmla="*/ 50 h 88"/>
              <a:gd name="T84" fmla="*/ 9 w 31"/>
              <a:gd name="T85" fmla="*/ 57 h 88"/>
              <a:gd name="T86" fmla="*/ 16 w 31"/>
              <a:gd name="T87" fmla="*/ 66 h 88"/>
              <a:gd name="T88" fmla="*/ 19 w 31"/>
              <a:gd name="T89" fmla="*/ 75 h 88"/>
              <a:gd name="T90" fmla="*/ 16 w 31"/>
              <a:gd name="T91" fmla="*/ 82 h 88"/>
              <a:gd name="T92" fmla="*/ 19 w 31"/>
              <a:gd name="T9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1" h="88">
                <a:moveTo>
                  <a:pt x="19" y="88"/>
                </a:moveTo>
                <a:lnTo>
                  <a:pt x="22" y="85"/>
                </a:lnTo>
                <a:lnTo>
                  <a:pt x="22" y="85"/>
                </a:lnTo>
                <a:lnTo>
                  <a:pt x="22" y="82"/>
                </a:lnTo>
                <a:lnTo>
                  <a:pt x="25" y="79"/>
                </a:lnTo>
                <a:lnTo>
                  <a:pt x="25" y="75"/>
                </a:lnTo>
                <a:lnTo>
                  <a:pt x="25" y="69"/>
                </a:lnTo>
                <a:lnTo>
                  <a:pt x="25" y="63"/>
                </a:lnTo>
                <a:lnTo>
                  <a:pt x="25" y="63"/>
                </a:lnTo>
                <a:lnTo>
                  <a:pt x="25" y="60"/>
                </a:lnTo>
                <a:lnTo>
                  <a:pt x="28" y="54"/>
                </a:lnTo>
                <a:lnTo>
                  <a:pt x="28" y="50"/>
                </a:lnTo>
                <a:lnTo>
                  <a:pt x="28" y="44"/>
                </a:lnTo>
                <a:lnTo>
                  <a:pt x="25" y="44"/>
                </a:lnTo>
                <a:lnTo>
                  <a:pt x="25" y="44"/>
                </a:lnTo>
                <a:lnTo>
                  <a:pt x="22" y="44"/>
                </a:lnTo>
                <a:lnTo>
                  <a:pt x="19" y="44"/>
                </a:lnTo>
                <a:lnTo>
                  <a:pt x="19" y="38"/>
                </a:lnTo>
                <a:lnTo>
                  <a:pt x="19" y="29"/>
                </a:lnTo>
                <a:lnTo>
                  <a:pt x="19" y="25"/>
                </a:lnTo>
                <a:lnTo>
                  <a:pt x="19" y="19"/>
                </a:lnTo>
                <a:lnTo>
                  <a:pt x="25" y="19"/>
                </a:lnTo>
                <a:lnTo>
                  <a:pt x="25" y="22"/>
                </a:lnTo>
                <a:lnTo>
                  <a:pt x="25" y="25"/>
                </a:lnTo>
                <a:lnTo>
                  <a:pt x="28" y="22"/>
                </a:lnTo>
                <a:lnTo>
                  <a:pt x="28" y="19"/>
                </a:lnTo>
                <a:lnTo>
                  <a:pt x="28" y="19"/>
                </a:lnTo>
                <a:lnTo>
                  <a:pt x="28" y="19"/>
                </a:lnTo>
                <a:lnTo>
                  <a:pt x="28" y="16"/>
                </a:lnTo>
                <a:lnTo>
                  <a:pt x="28" y="10"/>
                </a:lnTo>
                <a:lnTo>
                  <a:pt x="28" y="3"/>
                </a:lnTo>
                <a:lnTo>
                  <a:pt x="31" y="0"/>
                </a:lnTo>
                <a:lnTo>
                  <a:pt x="28" y="0"/>
                </a:lnTo>
                <a:lnTo>
                  <a:pt x="28" y="7"/>
                </a:lnTo>
                <a:lnTo>
                  <a:pt x="22" y="7"/>
                </a:lnTo>
                <a:lnTo>
                  <a:pt x="19" y="7"/>
                </a:lnTo>
                <a:lnTo>
                  <a:pt x="12" y="10"/>
                </a:lnTo>
                <a:lnTo>
                  <a:pt x="12" y="25"/>
                </a:lnTo>
                <a:lnTo>
                  <a:pt x="6" y="35"/>
                </a:lnTo>
                <a:lnTo>
                  <a:pt x="0" y="44"/>
                </a:lnTo>
                <a:lnTo>
                  <a:pt x="3" y="44"/>
                </a:lnTo>
                <a:lnTo>
                  <a:pt x="6" y="50"/>
                </a:lnTo>
                <a:lnTo>
                  <a:pt x="9" y="57"/>
                </a:lnTo>
                <a:lnTo>
                  <a:pt x="16" y="66"/>
                </a:lnTo>
                <a:lnTo>
                  <a:pt x="19" y="75"/>
                </a:lnTo>
                <a:lnTo>
                  <a:pt x="16" y="82"/>
                </a:lnTo>
                <a:lnTo>
                  <a:pt x="19" y="88"/>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2" name="Freeform 90">
            <a:extLst>
              <a:ext uri="{FF2B5EF4-FFF2-40B4-BE49-F238E27FC236}">
                <a16:creationId xmlns:a16="http://schemas.microsoft.com/office/drawing/2014/main" id="{CFFA66D9-E570-6028-038D-5E4D639F2DC9}"/>
              </a:ext>
            </a:extLst>
          </p:cNvPr>
          <p:cNvSpPr>
            <a:spLocks/>
          </p:cNvSpPr>
          <p:nvPr userDrawn="1"/>
        </p:nvSpPr>
        <p:spPr bwMode="auto">
          <a:xfrm>
            <a:off x="15312026" y="7200181"/>
            <a:ext cx="19049" cy="60326"/>
          </a:xfrm>
          <a:custGeom>
            <a:avLst/>
            <a:gdLst>
              <a:gd name="T0" fmla="*/ 0 w 6"/>
              <a:gd name="T1" fmla="*/ 19 h 19"/>
              <a:gd name="T2" fmla="*/ 0 w 6"/>
              <a:gd name="T3" fmla="*/ 19 h 19"/>
              <a:gd name="T4" fmla="*/ 0 w 6"/>
              <a:gd name="T5" fmla="*/ 16 h 19"/>
              <a:gd name="T6" fmla="*/ 0 w 6"/>
              <a:gd name="T7" fmla="*/ 10 h 19"/>
              <a:gd name="T8" fmla="*/ 0 w 6"/>
              <a:gd name="T9" fmla="*/ 3 h 19"/>
              <a:gd name="T10" fmla="*/ 3 w 6"/>
              <a:gd name="T11" fmla="*/ 0 h 19"/>
              <a:gd name="T12" fmla="*/ 3 w 6"/>
              <a:gd name="T13" fmla="*/ 0 h 19"/>
              <a:gd name="T14" fmla="*/ 3 w 6"/>
              <a:gd name="T15" fmla="*/ 3 h 19"/>
              <a:gd name="T16" fmla="*/ 6 w 6"/>
              <a:gd name="T17" fmla="*/ 7 h 19"/>
              <a:gd name="T18" fmla="*/ 6 w 6"/>
              <a:gd name="T19" fmla="*/ 13 h 19"/>
              <a:gd name="T20" fmla="*/ 6 w 6"/>
              <a:gd name="T21" fmla="*/ 16 h 19"/>
              <a:gd name="T22" fmla="*/ 6 w 6"/>
              <a:gd name="T23" fmla="*/ 16 h 19"/>
              <a:gd name="T24" fmla="*/ 3 w 6"/>
              <a:gd name="T25" fmla="*/ 19 h 19"/>
              <a:gd name="T26" fmla="*/ 3 w 6"/>
              <a:gd name="T27" fmla="*/ 19 h 19"/>
              <a:gd name="T28" fmla="*/ 0 w 6"/>
              <a:gd name="T2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19">
                <a:moveTo>
                  <a:pt x="0" y="19"/>
                </a:moveTo>
                <a:lnTo>
                  <a:pt x="0" y="19"/>
                </a:lnTo>
                <a:lnTo>
                  <a:pt x="0" y="16"/>
                </a:lnTo>
                <a:lnTo>
                  <a:pt x="0" y="10"/>
                </a:lnTo>
                <a:lnTo>
                  <a:pt x="0" y="3"/>
                </a:lnTo>
                <a:lnTo>
                  <a:pt x="3" y="0"/>
                </a:lnTo>
                <a:lnTo>
                  <a:pt x="3" y="0"/>
                </a:lnTo>
                <a:lnTo>
                  <a:pt x="3" y="3"/>
                </a:lnTo>
                <a:lnTo>
                  <a:pt x="6" y="7"/>
                </a:lnTo>
                <a:lnTo>
                  <a:pt x="6" y="13"/>
                </a:lnTo>
                <a:lnTo>
                  <a:pt x="6" y="16"/>
                </a:lnTo>
                <a:lnTo>
                  <a:pt x="6" y="16"/>
                </a:lnTo>
                <a:lnTo>
                  <a:pt x="3" y="19"/>
                </a:lnTo>
                <a:lnTo>
                  <a:pt x="3" y="19"/>
                </a:lnTo>
                <a:lnTo>
                  <a:pt x="0" y="1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3" name="Freeform 91">
            <a:extLst>
              <a:ext uri="{FF2B5EF4-FFF2-40B4-BE49-F238E27FC236}">
                <a16:creationId xmlns:a16="http://schemas.microsoft.com/office/drawing/2014/main" id="{BE593F9C-1812-016E-E4FF-B02A0B51C4B1}"/>
              </a:ext>
            </a:extLst>
          </p:cNvPr>
          <p:cNvSpPr>
            <a:spLocks/>
          </p:cNvSpPr>
          <p:nvPr userDrawn="1"/>
        </p:nvSpPr>
        <p:spPr bwMode="auto">
          <a:xfrm>
            <a:off x="15283451" y="7260506"/>
            <a:ext cx="28574" cy="79376"/>
          </a:xfrm>
          <a:custGeom>
            <a:avLst/>
            <a:gdLst>
              <a:gd name="T0" fmla="*/ 6 w 9"/>
              <a:gd name="T1" fmla="*/ 25 h 25"/>
              <a:gd name="T2" fmla="*/ 6 w 9"/>
              <a:gd name="T3" fmla="*/ 25 h 25"/>
              <a:gd name="T4" fmla="*/ 3 w 9"/>
              <a:gd name="T5" fmla="*/ 25 h 25"/>
              <a:gd name="T6" fmla="*/ 0 w 9"/>
              <a:gd name="T7" fmla="*/ 25 h 25"/>
              <a:gd name="T8" fmla="*/ 0 w 9"/>
              <a:gd name="T9" fmla="*/ 19 h 25"/>
              <a:gd name="T10" fmla="*/ 0 w 9"/>
              <a:gd name="T11" fmla="*/ 10 h 25"/>
              <a:gd name="T12" fmla="*/ 0 w 9"/>
              <a:gd name="T13" fmla="*/ 6 h 25"/>
              <a:gd name="T14" fmla="*/ 0 w 9"/>
              <a:gd name="T15" fmla="*/ 0 h 25"/>
              <a:gd name="T16" fmla="*/ 6 w 9"/>
              <a:gd name="T17" fmla="*/ 0 h 25"/>
              <a:gd name="T18" fmla="*/ 6 w 9"/>
              <a:gd name="T19" fmla="*/ 3 h 25"/>
              <a:gd name="T20" fmla="*/ 6 w 9"/>
              <a:gd name="T21" fmla="*/ 6 h 25"/>
              <a:gd name="T22" fmla="*/ 9 w 9"/>
              <a:gd name="T23" fmla="*/ 3 h 25"/>
              <a:gd name="T24" fmla="*/ 9 w 9"/>
              <a:gd name="T25" fmla="*/ 3 h 25"/>
              <a:gd name="T26" fmla="*/ 9 w 9"/>
              <a:gd name="T27" fmla="*/ 6 h 25"/>
              <a:gd name="T28" fmla="*/ 9 w 9"/>
              <a:gd name="T29" fmla="*/ 10 h 25"/>
              <a:gd name="T30" fmla="*/ 9 w 9"/>
              <a:gd name="T31" fmla="*/ 13 h 25"/>
              <a:gd name="T32" fmla="*/ 9 w 9"/>
              <a:gd name="T33" fmla="*/ 16 h 25"/>
              <a:gd name="T34" fmla="*/ 9 w 9"/>
              <a:gd name="T35" fmla="*/ 25 h 25"/>
              <a:gd name="T36" fmla="*/ 6 w 9"/>
              <a:gd name="T3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25">
                <a:moveTo>
                  <a:pt x="6" y="25"/>
                </a:moveTo>
                <a:lnTo>
                  <a:pt x="6" y="25"/>
                </a:lnTo>
                <a:lnTo>
                  <a:pt x="3" y="25"/>
                </a:lnTo>
                <a:lnTo>
                  <a:pt x="0" y="25"/>
                </a:lnTo>
                <a:lnTo>
                  <a:pt x="0" y="19"/>
                </a:lnTo>
                <a:lnTo>
                  <a:pt x="0" y="10"/>
                </a:lnTo>
                <a:lnTo>
                  <a:pt x="0" y="6"/>
                </a:lnTo>
                <a:lnTo>
                  <a:pt x="0" y="0"/>
                </a:lnTo>
                <a:lnTo>
                  <a:pt x="6" y="0"/>
                </a:lnTo>
                <a:lnTo>
                  <a:pt x="6" y="3"/>
                </a:lnTo>
                <a:lnTo>
                  <a:pt x="6" y="6"/>
                </a:lnTo>
                <a:lnTo>
                  <a:pt x="9" y="3"/>
                </a:lnTo>
                <a:lnTo>
                  <a:pt x="9" y="3"/>
                </a:lnTo>
                <a:lnTo>
                  <a:pt x="9" y="6"/>
                </a:lnTo>
                <a:lnTo>
                  <a:pt x="9" y="10"/>
                </a:lnTo>
                <a:lnTo>
                  <a:pt x="9" y="13"/>
                </a:lnTo>
                <a:lnTo>
                  <a:pt x="9" y="16"/>
                </a:lnTo>
                <a:lnTo>
                  <a:pt x="9" y="25"/>
                </a:lnTo>
                <a:lnTo>
                  <a:pt x="6" y="25"/>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4" name="Freeform 92">
            <a:extLst>
              <a:ext uri="{FF2B5EF4-FFF2-40B4-BE49-F238E27FC236}">
                <a16:creationId xmlns:a16="http://schemas.microsoft.com/office/drawing/2014/main" id="{D925FD80-E3F1-940A-AEF5-6D54017A2971}"/>
              </a:ext>
            </a:extLst>
          </p:cNvPr>
          <p:cNvSpPr>
            <a:spLocks/>
          </p:cNvSpPr>
          <p:nvPr userDrawn="1"/>
        </p:nvSpPr>
        <p:spPr bwMode="auto">
          <a:xfrm>
            <a:off x="15283451" y="7111283"/>
            <a:ext cx="79371" cy="111126"/>
          </a:xfrm>
          <a:custGeom>
            <a:avLst/>
            <a:gdLst>
              <a:gd name="T0" fmla="*/ 0 w 25"/>
              <a:gd name="T1" fmla="*/ 35 h 35"/>
              <a:gd name="T2" fmla="*/ 3 w 25"/>
              <a:gd name="T3" fmla="*/ 35 h 35"/>
              <a:gd name="T4" fmla="*/ 9 w 25"/>
              <a:gd name="T5" fmla="*/ 35 h 35"/>
              <a:gd name="T6" fmla="*/ 9 w 25"/>
              <a:gd name="T7" fmla="*/ 28 h 35"/>
              <a:gd name="T8" fmla="*/ 12 w 25"/>
              <a:gd name="T9" fmla="*/ 28 h 35"/>
              <a:gd name="T10" fmla="*/ 15 w 25"/>
              <a:gd name="T11" fmla="*/ 25 h 35"/>
              <a:gd name="T12" fmla="*/ 15 w 25"/>
              <a:gd name="T13" fmla="*/ 19 h 35"/>
              <a:gd name="T14" fmla="*/ 22 w 25"/>
              <a:gd name="T15" fmla="*/ 19 h 35"/>
              <a:gd name="T16" fmla="*/ 22 w 25"/>
              <a:gd name="T17" fmla="*/ 19 h 35"/>
              <a:gd name="T18" fmla="*/ 25 w 25"/>
              <a:gd name="T19" fmla="*/ 16 h 35"/>
              <a:gd name="T20" fmla="*/ 25 w 25"/>
              <a:gd name="T21" fmla="*/ 13 h 35"/>
              <a:gd name="T22" fmla="*/ 25 w 25"/>
              <a:gd name="T23" fmla="*/ 6 h 35"/>
              <a:gd name="T24" fmla="*/ 22 w 25"/>
              <a:gd name="T25" fmla="*/ 6 h 35"/>
              <a:gd name="T26" fmla="*/ 18 w 25"/>
              <a:gd name="T27" fmla="*/ 3 h 35"/>
              <a:gd name="T28" fmla="*/ 9 w 25"/>
              <a:gd name="T29" fmla="*/ 0 h 35"/>
              <a:gd name="T30" fmla="*/ 9 w 25"/>
              <a:gd name="T31" fmla="*/ 3 h 35"/>
              <a:gd name="T32" fmla="*/ 6 w 25"/>
              <a:gd name="T33" fmla="*/ 3 h 35"/>
              <a:gd name="T34" fmla="*/ 6 w 25"/>
              <a:gd name="T35" fmla="*/ 16 h 35"/>
              <a:gd name="T36" fmla="*/ 3 w 25"/>
              <a:gd name="T37" fmla="*/ 22 h 35"/>
              <a:gd name="T38" fmla="*/ 0 w 25"/>
              <a:gd name="T39" fmla="*/ 28 h 35"/>
              <a:gd name="T40" fmla="*/ 0 w 25"/>
              <a:gd name="T41" fmla="*/ 31 h 35"/>
              <a:gd name="T42" fmla="*/ 0 w 25"/>
              <a:gd name="T4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35">
                <a:moveTo>
                  <a:pt x="0" y="35"/>
                </a:moveTo>
                <a:lnTo>
                  <a:pt x="3" y="35"/>
                </a:lnTo>
                <a:lnTo>
                  <a:pt x="9" y="35"/>
                </a:lnTo>
                <a:lnTo>
                  <a:pt x="9" y="28"/>
                </a:lnTo>
                <a:lnTo>
                  <a:pt x="12" y="28"/>
                </a:lnTo>
                <a:lnTo>
                  <a:pt x="15" y="25"/>
                </a:lnTo>
                <a:lnTo>
                  <a:pt x="15" y="19"/>
                </a:lnTo>
                <a:lnTo>
                  <a:pt x="22" y="19"/>
                </a:lnTo>
                <a:lnTo>
                  <a:pt x="22" y="19"/>
                </a:lnTo>
                <a:lnTo>
                  <a:pt x="25" y="16"/>
                </a:lnTo>
                <a:lnTo>
                  <a:pt x="25" y="13"/>
                </a:lnTo>
                <a:lnTo>
                  <a:pt x="25" y="6"/>
                </a:lnTo>
                <a:lnTo>
                  <a:pt x="22" y="6"/>
                </a:lnTo>
                <a:lnTo>
                  <a:pt x="18" y="3"/>
                </a:lnTo>
                <a:lnTo>
                  <a:pt x="9" y="0"/>
                </a:lnTo>
                <a:lnTo>
                  <a:pt x="9" y="3"/>
                </a:lnTo>
                <a:lnTo>
                  <a:pt x="6" y="3"/>
                </a:lnTo>
                <a:lnTo>
                  <a:pt x="6" y="16"/>
                </a:lnTo>
                <a:lnTo>
                  <a:pt x="3" y="22"/>
                </a:lnTo>
                <a:lnTo>
                  <a:pt x="0" y="28"/>
                </a:lnTo>
                <a:lnTo>
                  <a:pt x="0" y="31"/>
                </a:lnTo>
                <a:lnTo>
                  <a:pt x="0" y="35"/>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5" name="Freeform 93">
            <a:extLst>
              <a:ext uri="{FF2B5EF4-FFF2-40B4-BE49-F238E27FC236}">
                <a16:creationId xmlns:a16="http://schemas.microsoft.com/office/drawing/2014/main" id="{14B79F9A-3E2F-786E-C342-5B5A8613AD4C}"/>
              </a:ext>
            </a:extLst>
          </p:cNvPr>
          <p:cNvSpPr>
            <a:spLocks/>
          </p:cNvSpPr>
          <p:nvPr userDrawn="1"/>
        </p:nvSpPr>
        <p:spPr bwMode="auto">
          <a:xfrm>
            <a:off x="15283451" y="7200182"/>
            <a:ext cx="257159" cy="307976"/>
          </a:xfrm>
          <a:custGeom>
            <a:avLst/>
            <a:gdLst>
              <a:gd name="T0" fmla="*/ 3 w 81"/>
              <a:gd name="T1" fmla="*/ 85 h 97"/>
              <a:gd name="T2" fmla="*/ 3 w 81"/>
              <a:gd name="T3" fmla="*/ 85 h 97"/>
              <a:gd name="T4" fmla="*/ 3 w 81"/>
              <a:gd name="T5" fmla="*/ 82 h 97"/>
              <a:gd name="T6" fmla="*/ 6 w 81"/>
              <a:gd name="T7" fmla="*/ 79 h 97"/>
              <a:gd name="T8" fmla="*/ 6 w 81"/>
              <a:gd name="T9" fmla="*/ 75 h 97"/>
              <a:gd name="T10" fmla="*/ 6 w 81"/>
              <a:gd name="T11" fmla="*/ 69 h 97"/>
              <a:gd name="T12" fmla="*/ 6 w 81"/>
              <a:gd name="T13" fmla="*/ 63 h 97"/>
              <a:gd name="T14" fmla="*/ 6 w 81"/>
              <a:gd name="T15" fmla="*/ 63 h 97"/>
              <a:gd name="T16" fmla="*/ 6 w 81"/>
              <a:gd name="T17" fmla="*/ 60 h 97"/>
              <a:gd name="T18" fmla="*/ 9 w 81"/>
              <a:gd name="T19" fmla="*/ 54 h 97"/>
              <a:gd name="T20" fmla="*/ 9 w 81"/>
              <a:gd name="T21" fmla="*/ 50 h 97"/>
              <a:gd name="T22" fmla="*/ 9 w 81"/>
              <a:gd name="T23" fmla="*/ 35 h 97"/>
              <a:gd name="T24" fmla="*/ 9 w 81"/>
              <a:gd name="T25" fmla="*/ 32 h 97"/>
              <a:gd name="T26" fmla="*/ 9 w 81"/>
              <a:gd name="T27" fmla="*/ 29 h 97"/>
              <a:gd name="T28" fmla="*/ 9 w 81"/>
              <a:gd name="T29" fmla="*/ 25 h 97"/>
              <a:gd name="T30" fmla="*/ 9 w 81"/>
              <a:gd name="T31" fmla="*/ 22 h 97"/>
              <a:gd name="T32" fmla="*/ 9 w 81"/>
              <a:gd name="T33" fmla="*/ 19 h 97"/>
              <a:gd name="T34" fmla="*/ 12 w 81"/>
              <a:gd name="T35" fmla="*/ 19 h 97"/>
              <a:gd name="T36" fmla="*/ 12 w 81"/>
              <a:gd name="T37" fmla="*/ 19 h 97"/>
              <a:gd name="T38" fmla="*/ 15 w 81"/>
              <a:gd name="T39" fmla="*/ 16 h 97"/>
              <a:gd name="T40" fmla="*/ 18 w 81"/>
              <a:gd name="T41" fmla="*/ 16 h 97"/>
              <a:gd name="T42" fmla="*/ 25 w 81"/>
              <a:gd name="T43" fmla="*/ 19 h 97"/>
              <a:gd name="T44" fmla="*/ 28 w 81"/>
              <a:gd name="T45" fmla="*/ 22 h 97"/>
              <a:gd name="T46" fmla="*/ 28 w 81"/>
              <a:gd name="T47" fmla="*/ 22 h 97"/>
              <a:gd name="T48" fmla="*/ 31 w 81"/>
              <a:gd name="T49" fmla="*/ 22 h 97"/>
              <a:gd name="T50" fmla="*/ 72 w 81"/>
              <a:gd name="T51" fmla="*/ 0 h 97"/>
              <a:gd name="T52" fmla="*/ 81 w 81"/>
              <a:gd name="T53" fmla="*/ 25 h 97"/>
              <a:gd name="T54" fmla="*/ 78 w 81"/>
              <a:gd name="T55" fmla="*/ 25 h 97"/>
              <a:gd name="T56" fmla="*/ 72 w 81"/>
              <a:gd name="T57" fmla="*/ 32 h 97"/>
              <a:gd name="T58" fmla="*/ 44 w 81"/>
              <a:gd name="T59" fmla="*/ 41 h 97"/>
              <a:gd name="T60" fmla="*/ 65 w 81"/>
              <a:gd name="T61" fmla="*/ 66 h 97"/>
              <a:gd name="T62" fmla="*/ 56 w 81"/>
              <a:gd name="T63" fmla="*/ 75 h 97"/>
              <a:gd name="T64" fmla="*/ 56 w 81"/>
              <a:gd name="T65" fmla="*/ 82 h 97"/>
              <a:gd name="T66" fmla="*/ 40 w 81"/>
              <a:gd name="T67" fmla="*/ 82 h 97"/>
              <a:gd name="T68" fmla="*/ 28 w 81"/>
              <a:gd name="T69" fmla="*/ 97 h 97"/>
              <a:gd name="T70" fmla="*/ 6 w 81"/>
              <a:gd name="T71" fmla="*/ 91 h 97"/>
              <a:gd name="T72" fmla="*/ 0 w 81"/>
              <a:gd name="T73" fmla="*/ 91 h 97"/>
              <a:gd name="T74" fmla="*/ 3 w 81"/>
              <a:gd name="T75" fmla="*/ 91 h 97"/>
              <a:gd name="T76" fmla="*/ 3 w 81"/>
              <a:gd name="T77" fmla="*/ 85 h 97"/>
              <a:gd name="T78" fmla="*/ 3 w 81"/>
              <a:gd name="T79" fmla="*/ 85 h 97"/>
              <a:gd name="T80" fmla="*/ 3 w 81"/>
              <a:gd name="T81" fmla="*/ 8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97">
                <a:moveTo>
                  <a:pt x="3" y="85"/>
                </a:moveTo>
                <a:lnTo>
                  <a:pt x="3" y="85"/>
                </a:lnTo>
                <a:lnTo>
                  <a:pt x="3" y="82"/>
                </a:lnTo>
                <a:lnTo>
                  <a:pt x="6" y="79"/>
                </a:lnTo>
                <a:lnTo>
                  <a:pt x="6" y="75"/>
                </a:lnTo>
                <a:lnTo>
                  <a:pt x="6" y="69"/>
                </a:lnTo>
                <a:lnTo>
                  <a:pt x="6" y="63"/>
                </a:lnTo>
                <a:lnTo>
                  <a:pt x="6" y="63"/>
                </a:lnTo>
                <a:lnTo>
                  <a:pt x="6" y="60"/>
                </a:lnTo>
                <a:lnTo>
                  <a:pt x="9" y="54"/>
                </a:lnTo>
                <a:lnTo>
                  <a:pt x="9" y="50"/>
                </a:lnTo>
                <a:lnTo>
                  <a:pt x="9" y="35"/>
                </a:lnTo>
                <a:lnTo>
                  <a:pt x="9" y="32"/>
                </a:lnTo>
                <a:lnTo>
                  <a:pt x="9" y="29"/>
                </a:lnTo>
                <a:lnTo>
                  <a:pt x="9" y="25"/>
                </a:lnTo>
                <a:lnTo>
                  <a:pt x="9" y="22"/>
                </a:lnTo>
                <a:lnTo>
                  <a:pt x="9" y="19"/>
                </a:lnTo>
                <a:lnTo>
                  <a:pt x="12" y="19"/>
                </a:lnTo>
                <a:lnTo>
                  <a:pt x="12" y="19"/>
                </a:lnTo>
                <a:lnTo>
                  <a:pt x="15" y="16"/>
                </a:lnTo>
                <a:lnTo>
                  <a:pt x="18" y="16"/>
                </a:lnTo>
                <a:lnTo>
                  <a:pt x="25" y="19"/>
                </a:lnTo>
                <a:lnTo>
                  <a:pt x="28" y="22"/>
                </a:lnTo>
                <a:lnTo>
                  <a:pt x="28" y="22"/>
                </a:lnTo>
                <a:lnTo>
                  <a:pt x="31" y="22"/>
                </a:lnTo>
                <a:lnTo>
                  <a:pt x="72" y="0"/>
                </a:lnTo>
                <a:lnTo>
                  <a:pt x="81" y="25"/>
                </a:lnTo>
                <a:lnTo>
                  <a:pt x="78" y="25"/>
                </a:lnTo>
                <a:lnTo>
                  <a:pt x="72" y="32"/>
                </a:lnTo>
                <a:lnTo>
                  <a:pt x="44" y="41"/>
                </a:lnTo>
                <a:lnTo>
                  <a:pt x="65" y="66"/>
                </a:lnTo>
                <a:lnTo>
                  <a:pt x="56" y="75"/>
                </a:lnTo>
                <a:lnTo>
                  <a:pt x="56" y="82"/>
                </a:lnTo>
                <a:lnTo>
                  <a:pt x="40" y="82"/>
                </a:lnTo>
                <a:lnTo>
                  <a:pt x="28" y="97"/>
                </a:lnTo>
                <a:lnTo>
                  <a:pt x="6" y="91"/>
                </a:lnTo>
                <a:lnTo>
                  <a:pt x="0" y="91"/>
                </a:lnTo>
                <a:lnTo>
                  <a:pt x="3" y="91"/>
                </a:lnTo>
                <a:lnTo>
                  <a:pt x="3" y="85"/>
                </a:lnTo>
                <a:lnTo>
                  <a:pt x="3" y="85"/>
                </a:lnTo>
                <a:lnTo>
                  <a:pt x="3" y="85"/>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6" name="Freeform 94">
            <a:extLst>
              <a:ext uri="{FF2B5EF4-FFF2-40B4-BE49-F238E27FC236}">
                <a16:creationId xmlns:a16="http://schemas.microsoft.com/office/drawing/2014/main" id="{C128A7BA-E35E-E6E8-D3E8-8DB53DFC319A}"/>
              </a:ext>
            </a:extLst>
          </p:cNvPr>
          <p:cNvSpPr>
            <a:spLocks/>
          </p:cNvSpPr>
          <p:nvPr userDrawn="1"/>
        </p:nvSpPr>
        <p:spPr bwMode="auto">
          <a:xfrm>
            <a:off x="15283454" y="7279558"/>
            <a:ext cx="1288966" cy="1092200"/>
          </a:xfrm>
          <a:custGeom>
            <a:avLst/>
            <a:gdLst>
              <a:gd name="T0" fmla="*/ 247 w 406"/>
              <a:gd name="T1" fmla="*/ 72 h 344"/>
              <a:gd name="T2" fmla="*/ 97 w 406"/>
              <a:gd name="T3" fmla="*/ 0 h 344"/>
              <a:gd name="T4" fmla="*/ 44 w 406"/>
              <a:gd name="T5" fmla="*/ 16 h 344"/>
              <a:gd name="T6" fmla="*/ 56 w 406"/>
              <a:gd name="T7" fmla="*/ 57 h 344"/>
              <a:gd name="T8" fmla="*/ 6 w 406"/>
              <a:gd name="T9" fmla="*/ 66 h 344"/>
              <a:gd name="T10" fmla="*/ 0 w 406"/>
              <a:gd name="T11" fmla="*/ 82 h 344"/>
              <a:gd name="T12" fmla="*/ 3 w 406"/>
              <a:gd name="T13" fmla="*/ 88 h 344"/>
              <a:gd name="T14" fmla="*/ 9 w 406"/>
              <a:gd name="T15" fmla="*/ 91 h 344"/>
              <a:gd name="T16" fmla="*/ 18 w 406"/>
              <a:gd name="T17" fmla="*/ 107 h 344"/>
              <a:gd name="T18" fmla="*/ 25 w 406"/>
              <a:gd name="T19" fmla="*/ 113 h 344"/>
              <a:gd name="T20" fmla="*/ 34 w 406"/>
              <a:gd name="T21" fmla="*/ 129 h 344"/>
              <a:gd name="T22" fmla="*/ 37 w 406"/>
              <a:gd name="T23" fmla="*/ 135 h 344"/>
              <a:gd name="T24" fmla="*/ 50 w 406"/>
              <a:gd name="T25" fmla="*/ 151 h 344"/>
              <a:gd name="T26" fmla="*/ 53 w 406"/>
              <a:gd name="T27" fmla="*/ 160 h 344"/>
              <a:gd name="T28" fmla="*/ 56 w 406"/>
              <a:gd name="T29" fmla="*/ 169 h 344"/>
              <a:gd name="T30" fmla="*/ 65 w 406"/>
              <a:gd name="T31" fmla="*/ 172 h 344"/>
              <a:gd name="T32" fmla="*/ 78 w 406"/>
              <a:gd name="T33" fmla="*/ 185 h 344"/>
              <a:gd name="T34" fmla="*/ 81 w 406"/>
              <a:gd name="T35" fmla="*/ 191 h 344"/>
              <a:gd name="T36" fmla="*/ 90 w 406"/>
              <a:gd name="T37" fmla="*/ 207 h 344"/>
              <a:gd name="T38" fmla="*/ 87 w 406"/>
              <a:gd name="T39" fmla="*/ 216 h 344"/>
              <a:gd name="T40" fmla="*/ 90 w 406"/>
              <a:gd name="T41" fmla="*/ 235 h 344"/>
              <a:gd name="T42" fmla="*/ 106 w 406"/>
              <a:gd name="T43" fmla="*/ 251 h 344"/>
              <a:gd name="T44" fmla="*/ 115 w 406"/>
              <a:gd name="T45" fmla="*/ 257 h 344"/>
              <a:gd name="T46" fmla="*/ 125 w 406"/>
              <a:gd name="T47" fmla="*/ 266 h 344"/>
              <a:gd name="T48" fmla="*/ 131 w 406"/>
              <a:gd name="T49" fmla="*/ 269 h 344"/>
              <a:gd name="T50" fmla="*/ 140 w 406"/>
              <a:gd name="T51" fmla="*/ 294 h 344"/>
              <a:gd name="T52" fmla="*/ 159 w 406"/>
              <a:gd name="T53" fmla="*/ 319 h 344"/>
              <a:gd name="T54" fmla="*/ 172 w 406"/>
              <a:gd name="T55" fmla="*/ 329 h 344"/>
              <a:gd name="T56" fmla="*/ 181 w 406"/>
              <a:gd name="T57" fmla="*/ 323 h 344"/>
              <a:gd name="T58" fmla="*/ 184 w 406"/>
              <a:gd name="T59" fmla="*/ 307 h 344"/>
              <a:gd name="T60" fmla="*/ 222 w 406"/>
              <a:gd name="T61" fmla="*/ 316 h 344"/>
              <a:gd name="T62" fmla="*/ 275 w 406"/>
              <a:gd name="T63" fmla="*/ 294 h 344"/>
              <a:gd name="T64" fmla="*/ 403 w 406"/>
              <a:gd name="T65" fmla="*/ 197 h 344"/>
              <a:gd name="T66" fmla="*/ 337 w 406"/>
              <a:gd name="T67" fmla="*/ 194 h 344"/>
              <a:gd name="T68" fmla="*/ 331 w 406"/>
              <a:gd name="T69" fmla="*/ 169 h 344"/>
              <a:gd name="T70" fmla="*/ 328 w 406"/>
              <a:gd name="T71" fmla="*/ 166 h 344"/>
              <a:gd name="T72" fmla="*/ 325 w 406"/>
              <a:gd name="T73" fmla="*/ 160 h 344"/>
              <a:gd name="T74" fmla="*/ 315 w 406"/>
              <a:gd name="T75" fmla="*/ 157 h 344"/>
              <a:gd name="T76" fmla="*/ 309 w 406"/>
              <a:gd name="T77" fmla="*/ 151 h 344"/>
              <a:gd name="T78" fmla="*/ 297 w 406"/>
              <a:gd name="T79" fmla="*/ 129 h 344"/>
              <a:gd name="T80" fmla="*/ 297 w 406"/>
              <a:gd name="T81" fmla="*/ 119 h 344"/>
              <a:gd name="T82" fmla="*/ 290 w 406"/>
              <a:gd name="T83" fmla="*/ 113 h 344"/>
              <a:gd name="T84" fmla="*/ 281 w 406"/>
              <a:gd name="T85" fmla="*/ 100 h 344"/>
              <a:gd name="T86" fmla="*/ 284 w 406"/>
              <a:gd name="T87" fmla="*/ 97 h 344"/>
              <a:gd name="T88" fmla="*/ 272 w 406"/>
              <a:gd name="T89" fmla="*/ 94 h 344"/>
              <a:gd name="T90" fmla="*/ 262 w 406"/>
              <a:gd name="T91" fmla="*/ 79 h 344"/>
              <a:gd name="T92" fmla="*/ 259 w 406"/>
              <a:gd name="T93" fmla="*/ 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6" h="344">
                <a:moveTo>
                  <a:pt x="259" y="72"/>
                </a:moveTo>
                <a:lnTo>
                  <a:pt x="247" y="79"/>
                </a:lnTo>
                <a:lnTo>
                  <a:pt x="247" y="72"/>
                </a:lnTo>
                <a:lnTo>
                  <a:pt x="228" y="66"/>
                </a:lnTo>
                <a:lnTo>
                  <a:pt x="190" y="66"/>
                </a:lnTo>
                <a:lnTo>
                  <a:pt x="97" y="0"/>
                </a:lnTo>
                <a:lnTo>
                  <a:pt x="78" y="0"/>
                </a:lnTo>
                <a:lnTo>
                  <a:pt x="72" y="7"/>
                </a:lnTo>
                <a:lnTo>
                  <a:pt x="44" y="16"/>
                </a:lnTo>
                <a:lnTo>
                  <a:pt x="65" y="41"/>
                </a:lnTo>
                <a:lnTo>
                  <a:pt x="56" y="50"/>
                </a:lnTo>
                <a:lnTo>
                  <a:pt x="56" y="57"/>
                </a:lnTo>
                <a:lnTo>
                  <a:pt x="40" y="57"/>
                </a:lnTo>
                <a:lnTo>
                  <a:pt x="28" y="72"/>
                </a:lnTo>
                <a:lnTo>
                  <a:pt x="6" y="66"/>
                </a:lnTo>
                <a:lnTo>
                  <a:pt x="0" y="66"/>
                </a:lnTo>
                <a:lnTo>
                  <a:pt x="0" y="72"/>
                </a:lnTo>
                <a:lnTo>
                  <a:pt x="0" y="82"/>
                </a:lnTo>
                <a:lnTo>
                  <a:pt x="0" y="88"/>
                </a:lnTo>
                <a:lnTo>
                  <a:pt x="0" y="91"/>
                </a:lnTo>
                <a:lnTo>
                  <a:pt x="3" y="88"/>
                </a:lnTo>
                <a:lnTo>
                  <a:pt x="3" y="91"/>
                </a:lnTo>
                <a:lnTo>
                  <a:pt x="6" y="88"/>
                </a:lnTo>
                <a:lnTo>
                  <a:pt x="9" y="91"/>
                </a:lnTo>
                <a:lnTo>
                  <a:pt x="9" y="91"/>
                </a:lnTo>
                <a:lnTo>
                  <a:pt x="18" y="100"/>
                </a:lnTo>
                <a:lnTo>
                  <a:pt x="18" y="107"/>
                </a:lnTo>
                <a:lnTo>
                  <a:pt x="22" y="107"/>
                </a:lnTo>
                <a:lnTo>
                  <a:pt x="22" y="110"/>
                </a:lnTo>
                <a:lnTo>
                  <a:pt x="25" y="113"/>
                </a:lnTo>
                <a:lnTo>
                  <a:pt x="28" y="113"/>
                </a:lnTo>
                <a:lnTo>
                  <a:pt x="34" y="126"/>
                </a:lnTo>
                <a:lnTo>
                  <a:pt x="34" y="129"/>
                </a:lnTo>
                <a:lnTo>
                  <a:pt x="34" y="132"/>
                </a:lnTo>
                <a:lnTo>
                  <a:pt x="37" y="132"/>
                </a:lnTo>
                <a:lnTo>
                  <a:pt x="37" y="135"/>
                </a:lnTo>
                <a:lnTo>
                  <a:pt x="40" y="138"/>
                </a:lnTo>
                <a:lnTo>
                  <a:pt x="47" y="141"/>
                </a:lnTo>
                <a:lnTo>
                  <a:pt x="50" y="151"/>
                </a:lnTo>
                <a:lnTo>
                  <a:pt x="53" y="151"/>
                </a:lnTo>
                <a:lnTo>
                  <a:pt x="53" y="157"/>
                </a:lnTo>
                <a:lnTo>
                  <a:pt x="53" y="160"/>
                </a:lnTo>
                <a:lnTo>
                  <a:pt x="53" y="163"/>
                </a:lnTo>
                <a:lnTo>
                  <a:pt x="56" y="166"/>
                </a:lnTo>
                <a:lnTo>
                  <a:pt x="56" y="169"/>
                </a:lnTo>
                <a:lnTo>
                  <a:pt x="59" y="172"/>
                </a:lnTo>
                <a:lnTo>
                  <a:pt x="62" y="169"/>
                </a:lnTo>
                <a:lnTo>
                  <a:pt x="65" y="172"/>
                </a:lnTo>
                <a:lnTo>
                  <a:pt x="72" y="176"/>
                </a:lnTo>
                <a:lnTo>
                  <a:pt x="78" y="179"/>
                </a:lnTo>
                <a:lnTo>
                  <a:pt x="78" y="185"/>
                </a:lnTo>
                <a:lnTo>
                  <a:pt x="81" y="185"/>
                </a:lnTo>
                <a:lnTo>
                  <a:pt x="81" y="188"/>
                </a:lnTo>
                <a:lnTo>
                  <a:pt x="81" y="191"/>
                </a:lnTo>
                <a:lnTo>
                  <a:pt x="84" y="197"/>
                </a:lnTo>
                <a:lnTo>
                  <a:pt x="87" y="201"/>
                </a:lnTo>
                <a:lnTo>
                  <a:pt x="90" y="207"/>
                </a:lnTo>
                <a:lnTo>
                  <a:pt x="90" y="210"/>
                </a:lnTo>
                <a:lnTo>
                  <a:pt x="87" y="216"/>
                </a:lnTo>
                <a:lnTo>
                  <a:pt x="87" y="216"/>
                </a:lnTo>
                <a:lnTo>
                  <a:pt x="87" y="219"/>
                </a:lnTo>
                <a:lnTo>
                  <a:pt x="90" y="229"/>
                </a:lnTo>
                <a:lnTo>
                  <a:pt x="90" y="235"/>
                </a:lnTo>
                <a:lnTo>
                  <a:pt x="94" y="238"/>
                </a:lnTo>
                <a:lnTo>
                  <a:pt x="97" y="241"/>
                </a:lnTo>
                <a:lnTo>
                  <a:pt x="106" y="251"/>
                </a:lnTo>
                <a:lnTo>
                  <a:pt x="109" y="254"/>
                </a:lnTo>
                <a:lnTo>
                  <a:pt x="112" y="254"/>
                </a:lnTo>
                <a:lnTo>
                  <a:pt x="115" y="257"/>
                </a:lnTo>
                <a:lnTo>
                  <a:pt x="119" y="257"/>
                </a:lnTo>
                <a:lnTo>
                  <a:pt x="122" y="263"/>
                </a:lnTo>
                <a:lnTo>
                  <a:pt x="125" y="266"/>
                </a:lnTo>
                <a:lnTo>
                  <a:pt x="128" y="266"/>
                </a:lnTo>
                <a:lnTo>
                  <a:pt x="128" y="269"/>
                </a:lnTo>
                <a:lnTo>
                  <a:pt x="131" y="269"/>
                </a:lnTo>
                <a:lnTo>
                  <a:pt x="134" y="288"/>
                </a:lnTo>
                <a:lnTo>
                  <a:pt x="140" y="288"/>
                </a:lnTo>
                <a:lnTo>
                  <a:pt x="140" y="294"/>
                </a:lnTo>
                <a:lnTo>
                  <a:pt x="153" y="310"/>
                </a:lnTo>
                <a:lnTo>
                  <a:pt x="156" y="310"/>
                </a:lnTo>
                <a:lnTo>
                  <a:pt x="159" y="319"/>
                </a:lnTo>
                <a:lnTo>
                  <a:pt x="165" y="319"/>
                </a:lnTo>
                <a:lnTo>
                  <a:pt x="169" y="329"/>
                </a:lnTo>
                <a:lnTo>
                  <a:pt x="172" y="329"/>
                </a:lnTo>
                <a:lnTo>
                  <a:pt x="175" y="332"/>
                </a:lnTo>
                <a:lnTo>
                  <a:pt x="175" y="329"/>
                </a:lnTo>
                <a:lnTo>
                  <a:pt x="181" y="323"/>
                </a:lnTo>
                <a:lnTo>
                  <a:pt x="178" y="316"/>
                </a:lnTo>
                <a:lnTo>
                  <a:pt x="181" y="307"/>
                </a:lnTo>
                <a:lnTo>
                  <a:pt x="184" y="307"/>
                </a:lnTo>
                <a:lnTo>
                  <a:pt x="190" y="310"/>
                </a:lnTo>
                <a:lnTo>
                  <a:pt x="203" y="310"/>
                </a:lnTo>
                <a:lnTo>
                  <a:pt x="222" y="316"/>
                </a:lnTo>
                <a:lnTo>
                  <a:pt x="237" y="326"/>
                </a:lnTo>
                <a:lnTo>
                  <a:pt x="237" y="344"/>
                </a:lnTo>
                <a:lnTo>
                  <a:pt x="275" y="294"/>
                </a:lnTo>
                <a:lnTo>
                  <a:pt x="403" y="257"/>
                </a:lnTo>
                <a:lnTo>
                  <a:pt x="406" y="213"/>
                </a:lnTo>
                <a:lnTo>
                  <a:pt x="403" y="197"/>
                </a:lnTo>
                <a:lnTo>
                  <a:pt x="403" y="197"/>
                </a:lnTo>
                <a:lnTo>
                  <a:pt x="397" y="204"/>
                </a:lnTo>
                <a:lnTo>
                  <a:pt x="337" y="194"/>
                </a:lnTo>
                <a:lnTo>
                  <a:pt x="334" y="179"/>
                </a:lnTo>
                <a:lnTo>
                  <a:pt x="331" y="176"/>
                </a:lnTo>
                <a:lnTo>
                  <a:pt x="331" y="169"/>
                </a:lnTo>
                <a:lnTo>
                  <a:pt x="331" y="169"/>
                </a:lnTo>
                <a:lnTo>
                  <a:pt x="328" y="169"/>
                </a:lnTo>
                <a:lnTo>
                  <a:pt x="328" y="166"/>
                </a:lnTo>
                <a:lnTo>
                  <a:pt x="328" y="163"/>
                </a:lnTo>
                <a:lnTo>
                  <a:pt x="328" y="160"/>
                </a:lnTo>
                <a:lnTo>
                  <a:pt x="325" y="160"/>
                </a:lnTo>
                <a:lnTo>
                  <a:pt x="325" y="160"/>
                </a:lnTo>
                <a:lnTo>
                  <a:pt x="322" y="160"/>
                </a:lnTo>
                <a:lnTo>
                  <a:pt x="315" y="157"/>
                </a:lnTo>
                <a:lnTo>
                  <a:pt x="315" y="154"/>
                </a:lnTo>
                <a:lnTo>
                  <a:pt x="312" y="157"/>
                </a:lnTo>
                <a:lnTo>
                  <a:pt x="309" y="151"/>
                </a:lnTo>
                <a:lnTo>
                  <a:pt x="309" y="147"/>
                </a:lnTo>
                <a:lnTo>
                  <a:pt x="300" y="135"/>
                </a:lnTo>
                <a:lnTo>
                  <a:pt x="297" y="129"/>
                </a:lnTo>
                <a:lnTo>
                  <a:pt x="300" y="129"/>
                </a:lnTo>
                <a:lnTo>
                  <a:pt x="300" y="129"/>
                </a:lnTo>
                <a:lnTo>
                  <a:pt x="297" y="119"/>
                </a:lnTo>
                <a:lnTo>
                  <a:pt x="297" y="116"/>
                </a:lnTo>
                <a:lnTo>
                  <a:pt x="294" y="113"/>
                </a:lnTo>
                <a:lnTo>
                  <a:pt x="290" y="113"/>
                </a:lnTo>
                <a:lnTo>
                  <a:pt x="284" y="104"/>
                </a:lnTo>
                <a:lnTo>
                  <a:pt x="281" y="104"/>
                </a:lnTo>
                <a:lnTo>
                  <a:pt x="281" y="100"/>
                </a:lnTo>
                <a:lnTo>
                  <a:pt x="281" y="97"/>
                </a:lnTo>
                <a:lnTo>
                  <a:pt x="281" y="97"/>
                </a:lnTo>
                <a:lnTo>
                  <a:pt x="284" y="97"/>
                </a:lnTo>
                <a:lnTo>
                  <a:pt x="281" y="97"/>
                </a:lnTo>
                <a:lnTo>
                  <a:pt x="278" y="94"/>
                </a:lnTo>
                <a:lnTo>
                  <a:pt x="272" y="94"/>
                </a:lnTo>
                <a:lnTo>
                  <a:pt x="269" y="85"/>
                </a:lnTo>
                <a:lnTo>
                  <a:pt x="265" y="79"/>
                </a:lnTo>
                <a:lnTo>
                  <a:pt x="262" y="79"/>
                </a:lnTo>
                <a:lnTo>
                  <a:pt x="262" y="75"/>
                </a:lnTo>
                <a:lnTo>
                  <a:pt x="262" y="75"/>
                </a:lnTo>
                <a:lnTo>
                  <a:pt x="259" y="72"/>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7" name="Freeform 95">
            <a:extLst>
              <a:ext uri="{FF2B5EF4-FFF2-40B4-BE49-F238E27FC236}">
                <a16:creationId xmlns:a16="http://schemas.microsoft.com/office/drawing/2014/main" id="{C66698BB-650A-3C9C-6301-3E84B12E28A2}"/>
              </a:ext>
            </a:extLst>
          </p:cNvPr>
          <p:cNvSpPr>
            <a:spLocks/>
          </p:cNvSpPr>
          <p:nvPr userDrawn="1"/>
        </p:nvSpPr>
        <p:spPr bwMode="auto">
          <a:xfrm>
            <a:off x="16273987" y="7689131"/>
            <a:ext cx="50797" cy="98426"/>
          </a:xfrm>
          <a:custGeom>
            <a:avLst/>
            <a:gdLst>
              <a:gd name="T0" fmla="*/ 13 w 16"/>
              <a:gd name="T1" fmla="*/ 31 h 31"/>
              <a:gd name="T2" fmla="*/ 10 w 16"/>
              <a:gd name="T3" fmla="*/ 31 h 31"/>
              <a:gd name="T4" fmla="*/ 3 w 16"/>
              <a:gd name="T5" fmla="*/ 28 h 31"/>
              <a:gd name="T6" fmla="*/ 3 w 16"/>
              <a:gd name="T7" fmla="*/ 25 h 31"/>
              <a:gd name="T8" fmla="*/ 3 w 16"/>
              <a:gd name="T9" fmla="*/ 25 h 31"/>
              <a:gd name="T10" fmla="*/ 3 w 16"/>
              <a:gd name="T11" fmla="*/ 22 h 31"/>
              <a:gd name="T12" fmla="*/ 3 w 16"/>
              <a:gd name="T13" fmla="*/ 18 h 31"/>
              <a:gd name="T14" fmla="*/ 0 w 16"/>
              <a:gd name="T15" fmla="*/ 18 h 31"/>
              <a:gd name="T16" fmla="*/ 3 w 16"/>
              <a:gd name="T17" fmla="*/ 12 h 31"/>
              <a:gd name="T18" fmla="*/ 3 w 16"/>
              <a:gd name="T19" fmla="*/ 12 h 31"/>
              <a:gd name="T20" fmla="*/ 3 w 16"/>
              <a:gd name="T21" fmla="*/ 12 h 31"/>
              <a:gd name="T22" fmla="*/ 3 w 16"/>
              <a:gd name="T23" fmla="*/ 6 h 31"/>
              <a:gd name="T24" fmla="*/ 3 w 16"/>
              <a:gd name="T25" fmla="*/ 6 h 31"/>
              <a:gd name="T26" fmla="*/ 3 w 16"/>
              <a:gd name="T27" fmla="*/ 3 h 31"/>
              <a:gd name="T28" fmla="*/ 7 w 16"/>
              <a:gd name="T29" fmla="*/ 3 h 31"/>
              <a:gd name="T30" fmla="*/ 7 w 16"/>
              <a:gd name="T31" fmla="*/ 0 h 31"/>
              <a:gd name="T32" fmla="*/ 7 w 16"/>
              <a:gd name="T33" fmla="*/ 0 h 31"/>
              <a:gd name="T34" fmla="*/ 7 w 16"/>
              <a:gd name="T35" fmla="*/ 0 h 31"/>
              <a:gd name="T36" fmla="*/ 10 w 16"/>
              <a:gd name="T37" fmla="*/ 0 h 31"/>
              <a:gd name="T38" fmla="*/ 13 w 16"/>
              <a:gd name="T39" fmla="*/ 0 h 31"/>
              <a:gd name="T40" fmla="*/ 13 w 16"/>
              <a:gd name="T41" fmla="*/ 3 h 31"/>
              <a:gd name="T42" fmla="*/ 13 w 16"/>
              <a:gd name="T43" fmla="*/ 3 h 31"/>
              <a:gd name="T44" fmla="*/ 16 w 16"/>
              <a:gd name="T45" fmla="*/ 3 h 31"/>
              <a:gd name="T46" fmla="*/ 13 w 16"/>
              <a:gd name="T47" fmla="*/ 12 h 31"/>
              <a:gd name="T48" fmla="*/ 13 w 16"/>
              <a:gd name="T49" fmla="*/ 12 h 31"/>
              <a:gd name="T50" fmla="*/ 13 w 16"/>
              <a:gd name="T51" fmla="*/ 18 h 31"/>
              <a:gd name="T52" fmla="*/ 16 w 16"/>
              <a:gd name="T53" fmla="*/ 18 h 31"/>
              <a:gd name="T54" fmla="*/ 16 w 16"/>
              <a:gd name="T55" fmla="*/ 22 h 31"/>
              <a:gd name="T56" fmla="*/ 16 w 16"/>
              <a:gd name="T57" fmla="*/ 31 h 31"/>
              <a:gd name="T58" fmla="*/ 13 w 16"/>
              <a:gd name="T59" fmla="*/ 31 h 31"/>
              <a:gd name="T60" fmla="*/ 13 w 16"/>
              <a:gd name="T6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 h="31">
                <a:moveTo>
                  <a:pt x="13" y="31"/>
                </a:moveTo>
                <a:lnTo>
                  <a:pt x="10" y="31"/>
                </a:lnTo>
                <a:lnTo>
                  <a:pt x="3" y="28"/>
                </a:lnTo>
                <a:lnTo>
                  <a:pt x="3" y="25"/>
                </a:lnTo>
                <a:lnTo>
                  <a:pt x="3" y="25"/>
                </a:lnTo>
                <a:lnTo>
                  <a:pt x="3" y="22"/>
                </a:lnTo>
                <a:lnTo>
                  <a:pt x="3" y="18"/>
                </a:lnTo>
                <a:lnTo>
                  <a:pt x="0" y="18"/>
                </a:lnTo>
                <a:lnTo>
                  <a:pt x="3" y="12"/>
                </a:lnTo>
                <a:lnTo>
                  <a:pt x="3" y="12"/>
                </a:lnTo>
                <a:lnTo>
                  <a:pt x="3" y="12"/>
                </a:lnTo>
                <a:lnTo>
                  <a:pt x="3" y="6"/>
                </a:lnTo>
                <a:lnTo>
                  <a:pt x="3" y="6"/>
                </a:lnTo>
                <a:lnTo>
                  <a:pt x="3" y="3"/>
                </a:lnTo>
                <a:lnTo>
                  <a:pt x="7" y="3"/>
                </a:lnTo>
                <a:lnTo>
                  <a:pt x="7" y="0"/>
                </a:lnTo>
                <a:lnTo>
                  <a:pt x="7" y="0"/>
                </a:lnTo>
                <a:lnTo>
                  <a:pt x="7" y="0"/>
                </a:lnTo>
                <a:lnTo>
                  <a:pt x="10" y="0"/>
                </a:lnTo>
                <a:lnTo>
                  <a:pt x="13" y="0"/>
                </a:lnTo>
                <a:lnTo>
                  <a:pt x="13" y="3"/>
                </a:lnTo>
                <a:lnTo>
                  <a:pt x="13" y="3"/>
                </a:lnTo>
                <a:lnTo>
                  <a:pt x="16" y="3"/>
                </a:lnTo>
                <a:lnTo>
                  <a:pt x="13" y="12"/>
                </a:lnTo>
                <a:lnTo>
                  <a:pt x="13" y="12"/>
                </a:lnTo>
                <a:lnTo>
                  <a:pt x="13" y="18"/>
                </a:lnTo>
                <a:lnTo>
                  <a:pt x="16" y="18"/>
                </a:lnTo>
                <a:lnTo>
                  <a:pt x="16" y="22"/>
                </a:lnTo>
                <a:lnTo>
                  <a:pt x="16" y="31"/>
                </a:lnTo>
                <a:lnTo>
                  <a:pt x="13" y="31"/>
                </a:lnTo>
                <a:lnTo>
                  <a:pt x="13" y="31"/>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8" name="Freeform 96">
            <a:extLst>
              <a:ext uri="{FF2B5EF4-FFF2-40B4-BE49-F238E27FC236}">
                <a16:creationId xmlns:a16="http://schemas.microsoft.com/office/drawing/2014/main" id="{4D8C8FF9-133B-C058-D6F4-BB6AFBB2CE32}"/>
              </a:ext>
            </a:extLst>
          </p:cNvPr>
          <p:cNvSpPr>
            <a:spLocks/>
          </p:cNvSpPr>
          <p:nvPr userDrawn="1"/>
        </p:nvSpPr>
        <p:spPr bwMode="auto">
          <a:xfrm>
            <a:off x="16334310" y="7689135"/>
            <a:ext cx="298431" cy="238126"/>
          </a:xfrm>
          <a:custGeom>
            <a:avLst/>
            <a:gdLst>
              <a:gd name="T0" fmla="*/ 0 w 94"/>
              <a:gd name="T1" fmla="*/ 40 h 75"/>
              <a:gd name="T2" fmla="*/ 0 w 94"/>
              <a:gd name="T3" fmla="*/ 47 h 75"/>
              <a:gd name="T4" fmla="*/ 3 w 94"/>
              <a:gd name="T5" fmla="*/ 50 h 75"/>
              <a:gd name="T6" fmla="*/ 6 w 94"/>
              <a:gd name="T7" fmla="*/ 65 h 75"/>
              <a:gd name="T8" fmla="*/ 66 w 94"/>
              <a:gd name="T9" fmla="*/ 75 h 75"/>
              <a:gd name="T10" fmla="*/ 72 w 94"/>
              <a:gd name="T11" fmla="*/ 68 h 75"/>
              <a:gd name="T12" fmla="*/ 88 w 94"/>
              <a:gd name="T13" fmla="*/ 18 h 75"/>
              <a:gd name="T14" fmla="*/ 94 w 94"/>
              <a:gd name="T15" fmla="*/ 18 h 75"/>
              <a:gd name="T16" fmla="*/ 91 w 94"/>
              <a:gd name="T17" fmla="*/ 12 h 75"/>
              <a:gd name="T18" fmla="*/ 91 w 94"/>
              <a:gd name="T19" fmla="*/ 9 h 75"/>
              <a:gd name="T20" fmla="*/ 91 w 94"/>
              <a:gd name="T21" fmla="*/ 9 h 75"/>
              <a:gd name="T22" fmla="*/ 88 w 94"/>
              <a:gd name="T23" fmla="*/ 9 h 75"/>
              <a:gd name="T24" fmla="*/ 88 w 94"/>
              <a:gd name="T25" fmla="*/ 9 h 75"/>
              <a:gd name="T26" fmla="*/ 88 w 94"/>
              <a:gd name="T27" fmla="*/ 9 h 75"/>
              <a:gd name="T28" fmla="*/ 88 w 94"/>
              <a:gd name="T29" fmla="*/ 3 h 75"/>
              <a:gd name="T30" fmla="*/ 84 w 94"/>
              <a:gd name="T31" fmla="*/ 0 h 75"/>
              <a:gd name="T32" fmla="*/ 84 w 94"/>
              <a:gd name="T33" fmla="*/ 3 h 75"/>
              <a:gd name="T34" fmla="*/ 81 w 94"/>
              <a:gd name="T35" fmla="*/ 6 h 75"/>
              <a:gd name="T36" fmla="*/ 69 w 94"/>
              <a:gd name="T37" fmla="*/ 12 h 75"/>
              <a:gd name="T38" fmla="*/ 69 w 94"/>
              <a:gd name="T39" fmla="*/ 18 h 75"/>
              <a:gd name="T40" fmla="*/ 59 w 94"/>
              <a:gd name="T41" fmla="*/ 28 h 75"/>
              <a:gd name="T42" fmla="*/ 56 w 94"/>
              <a:gd name="T43" fmla="*/ 31 h 75"/>
              <a:gd name="T44" fmla="*/ 59 w 94"/>
              <a:gd name="T45" fmla="*/ 31 h 75"/>
              <a:gd name="T46" fmla="*/ 59 w 94"/>
              <a:gd name="T47" fmla="*/ 34 h 75"/>
              <a:gd name="T48" fmla="*/ 56 w 94"/>
              <a:gd name="T49" fmla="*/ 40 h 75"/>
              <a:gd name="T50" fmla="*/ 53 w 94"/>
              <a:gd name="T51" fmla="*/ 37 h 75"/>
              <a:gd name="T52" fmla="*/ 50 w 94"/>
              <a:gd name="T53" fmla="*/ 37 h 75"/>
              <a:gd name="T54" fmla="*/ 50 w 94"/>
              <a:gd name="T55" fmla="*/ 37 h 75"/>
              <a:gd name="T56" fmla="*/ 50 w 94"/>
              <a:gd name="T57" fmla="*/ 40 h 75"/>
              <a:gd name="T58" fmla="*/ 47 w 94"/>
              <a:gd name="T59" fmla="*/ 40 h 75"/>
              <a:gd name="T60" fmla="*/ 47 w 94"/>
              <a:gd name="T61" fmla="*/ 43 h 75"/>
              <a:gd name="T62" fmla="*/ 41 w 94"/>
              <a:gd name="T63" fmla="*/ 43 h 75"/>
              <a:gd name="T64" fmla="*/ 38 w 94"/>
              <a:gd name="T65" fmla="*/ 43 h 75"/>
              <a:gd name="T66" fmla="*/ 34 w 94"/>
              <a:gd name="T67" fmla="*/ 43 h 75"/>
              <a:gd name="T68" fmla="*/ 31 w 94"/>
              <a:gd name="T69" fmla="*/ 43 h 75"/>
              <a:gd name="T70" fmla="*/ 31 w 94"/>
              <a:gd name="T71" fmla="*/ 40 h 75"/>
              <a:gd name="T72" fmla="*/ 28 w 94"/>
              <a:gd name="T73" fmla="*/ 43 h 75"/>
              <a:gd name="T74" fmla="*/ 22 w 94"/>
              <a:gd name="T75" fmla="*/ 40 h 75"/>
              <a:gd name="T76" fmla="*/ 13 w 94"/>
              <a:gd name="T77" fmla="*/ 47 h 75"/>
              <a:gd name="T78" fmla="*/ 9 w 94"/>
              <a:gd name="T79" fmla="*/ 47 h 75"/>
              <a:gd name="T80" fmla="*/ 6 w 94"/>
              <a:gd name="T81" fmla="*/ 47 h 75"/>
              <a:gd name="T82" fmla="*/ 3 w 94"/>
              <a:gd name="T83" fmla="*/ 47 h 75"/>
              <a:gd name="T84" fmla="*/ 3 w 94"/>
              <a:gd name="T85" fmla="*/ 37 h 75"/>
              <a:gd name="T86" fmla="*/ 0 w 94"/>
              <a:gd name="T87" fmla="*/ 40 h 75"/>
              <a:gd name="T88" fmla="*/ 0 w 94"/>
              <a:gd name="T89" fmla="*/ 4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75">
                <a:moveTo>
                  <a:pt x="0" y="40"/>
                </a:moveTo>
                <a:lnTo>
                  <a:pt x="0" y="47"/>
                </a:lnTo>
                <a:lnTo>
                  <a:pt x="3" y="50"/>
                </a:lnTo>
                <a:lnTo>
                  <a:pt x="6" y="65"/>
                </a:lnTo>
                <a:lnTo>
                  <a:pt x="66" y="75"/>
                </a:lnTo>
                <a:lnTo>
                  <a:pt x="72" y="68"/>
                </a:lnTo>
                <a:lnTo>
                  <a:pt x="88" y="18"/>
                </a:lnTo>
                <a:lnTo>
                  <a:pt x="94" y="18"/>
                </a:lnTo>
                <a:lnTo>
                  <a:pt x="91" y="12"/>
                </a:lnTo>
                <a:lnTo>
                  <a:pt x="91" y="9"/>
                </a:lnTo>
                <a:lnTo>
                  <a:pt x="91" y="9"/>
                </a:lnTo>
                <a:lnTo>
                  <a:pt x="88" y="9"/>
                </a:lnTo>
                <a:lnTo>
                  <a:pt x="88" y="9"/>
                </a:lnTo>
                <a:lnTo>
                  <a:pt x="88" y="9"/>
                </a:lnTo>
                <a:lnTo>
                  <a:pt x="88" y="3"/>
                </a:lnTo>
                <a:lnTo>
                  <a:pt x="84" y="0"/>
                </a:lnTo>
                <a:lnTo>
                  <a:pt x="84" y="3"/>
                </a:lnTo>
                <a:lnTo>
                  <a:pt x="81" y="6"/>
                </a:lnTo>
                <a:lnTo>
                  <a:pt x="69" y="12"/>
                </a:lnTo>
                <a:lnTo>
                  <a:pt x="69" y="18"/>
                </a:lnTo>
                <a:lnTo>
                  <a:pt x="59" y="28"/>
                </a:lnTo>
                <a:lnTo>
                  <a:pt x="56" y="31"/>
                </a:lnTo>
                <a:lnTo>
                  <a:pt x="59" y="31"/>
                </a:lnTo>
                <a:lnTo>
                  <a:pt x="59" y="34"/>
                </a:lnTo>
                <a:lnTo>
                  <a:pt x="56" y="40"/>
                </a:lnTo>
                <a:lnTo>
                  <a:pt x="53" y="37"/>
                </a:lnTo>
                <a:lnTo>
                  <a:pt x="50" y="37"/>
                </a:lnTo>
                <a:lnTo>
                  <a:pt x="50" y="37"/>
                </a:lnTo>
                <a:lnTo>
                  <a:pt x="50" y="40"/>
                </a:lnTo>
                <a:lnTo>
                  <a:pt x="47" y="40"/>
                </a:lnTo>
                <a:lnTo>
                  <a:pt x="47" y="43"/>
                </a:lnTo>
                <a:lnTo>
                  <a:pt x="41" y="43"/>
                </a:lnTo>
                <a:lnTo>
                  <a:pt x="38" y="43"/>
                </a:lnTo>
                <a:lnTo>
                  <a:pt x="34" y="43"/>
                </a:lnTo>
                <a:lnTo>
                  <a:pt x="31" y="43"/>
                </a:lnTo>
                <a:lnTo>
                  <a:pt x="31" y="40"/>
                </a:lnTo>
                <a:lnTo>
                  <a:pt x="28" y="43"/>
                </a:lnTo>
                <a:lnTo>
                  <a:pt x="22" y="40"/>
                </a:lnTo>
                <a:lnTo>
                  <a:pt x="13" y="47"/>
                </a:lnTo>
                <a:lnTo>
                  <a:pt x="9" y="47"/>
                </a:lnTo>
                <a:lnTo>
                  <a:pt x="6" y="47"/>
                </a:lnTo>
                <a:lnTo>
                  <a:pt x="3" y="47"/>
                </a:lnTo>
                <a:lnTo>
                  <a:pt x="3" y="37"/>
                </a:lnTo>
                <a:lnTo>
                  <a:pt x="0" y="40"/>
                </a:lnTo>
                <a:lnTo>
                  <a:pt x="0" y="4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9" name="Freeform 97">
            <a:extLst>
              <a:ext uri="{FF2B5EF4-FFF2-40B4-BE49-F238E27FC236}">
                <a16:creationId xmlns:a16="http://schemas.microsoft.com/office/drawing/2014/main" id="{DBBE649A-91DD-412E-E9F9-4EC6B0209ACE}"/>
              </a:ext>
            </a:extLst>
          </p:cNvPr>
          <p:cNvSpPr>
            <a:spLocks noEditPoints="1"/>
          </p:cNvSpPr>
          <p:nvPr userDrawn="1"/>
        </p:nvSpPr>
        <p:spPr bwMode="auto">
          <a:xfrm>
            <a:off x="11470524" y="6812832"/>
            <a:ext cx="190490" cy="79376"/>
          </a:xfrm>
          <a:custGeom>
            <a:avLst/>
            <a:gdLst>
              <a:gd name="T0" fmla="*/ 25 w 60"/>
              <a:gd name="T1" fmla="*/ 0 h 25"/>
              <a:gd name="T2" fmla="*/ 29 w 60"/>
              <a:gd name="T3" fmla="*/ 0 h 25"/>
              <a:gd name="T4" fmla="*/ 29 w 60"/>
              <a:gd name="T5" fmla="*/ 0 h 25"/>
              <a:gd name="T6" fmla="*/ 25 w 60"/>
              <a:gd name="T7" fmla="*/ 0 h 25"/>
              <a:gd name="T8" fmla="*/ 25 w 60"/>
              <a:gd name="T9" fmla="*/ 0 h 25"/>
              <a:gd name="T10" fmla="*/ 25 w 60"/>
              <a:gd name="T11" fmla="*/ 0 h 25"/>
              <a:gd name="T12" fmla="*/ 7 w 60"/>
              <a:gd name="T13" fmla="*/ 0 h 25"/>
              <a:gd name="T14" fmla="*/ 13 w 60"/>
              <a:gd name="T15" fmla="*/ 3 h 25"/>
              <a:gd name="T16" fmla="*/ 10 w 60"/>
              <a:gd name="T17" fmla="*/ 0 h 25"/>
              <a:gd name="T18" fmla="*/ 7 w 60"/>
              <a:gd name="T19" fmla="*/ 0 h 25"/>
              <a:gd name="T20" fmla="*/ 7 w 60"/>
              <a:gd name="T21" fmla="*/ 0 h 25"/>
              <a:gd name="T22" fmla="*/ 0 w 60"/>
              <a:gd name="T23" fmla="*/ 3 h 25"/>
              <a:gd name="T24" fmla="*/ 0 w 60"/>
              <a:gd name="T25" fmla="*/ 7 h 25"/>
              <a:gd name="T26" fmla="*/ 7 w 60"/>
              <a:gd name="T27" fmla="*/ 7 h 25"/>
              <a:gd name="T28" fmla="*/ 7 w 60"/>
              <a:gd name="T29" fmla="*/ 7 h 25"/>
              <a:gd name="T30" fmla="*/ 4 w 60"/>
              <a:gd name="T31" fmla="*/ 3 h 25"/>
              <a:gd name="T32" fmla="*/ 0 w 60"/>
              <a:gd name="T33" fmla="*/ 3 h 25"/>
              <a:gd name="T34" fmla="*/ 0 w 60"/>
              <a:gd name="T35" fmla="*/ 3 h 25"/>
              <a:gd name="T36" fmla="*/ 54 w 60"/>
              <a:gd name="T37" fmla="*/ 22 h 25"/>
              <a:gd name="T38" fmla="*/ 51 w 60"/>
              <a:gd name="T39" fmla="*/ 22 h 25"/>
              <a:gd name="T40" fmla="*/ 54 w 60"/>
              <a:gd name="T41" fmla="*/ 25 h 25"/>
              <a:gd name="T42" fmla="*/ 57 w 60"/>
              <a:gd name="T43" fmla="*/ 25 h 25"/>
              <a:gd name="T44" fmla="*/ 60 w 60"/>
              <a:gd name="T45" fmla="*/ 22 h 25"/>
              <a:gd name="T46" fmla="*/ 57 w 60"/>
              <a:gd name="T47" fmla="*/ 22 h 25"/>
              <a:gd name="T48" fmla="*/ 54 w 60"/>
              <a:gd name="T49" fmla="*/ 2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25">
                <a:moveTo>
                  <a:pt x="25" y="0"/>
                </a:moveTo>
                <a:lnTo>
                  <a:pt x="29" y="0"/>
                </a:lnTo>
                <a:lnTo>
                  <a:pt x="29" y="0"/>
                </a:lnTo>
                <a:lnTo>
                  <a:pt x="25" y="0"/>
                </a:lnTo>
                <a:lnTo>
                  <a:pt x="25" y="0"/>
                </a:lnTo>
                <a:lnTo>
                  <a:pt x="25" y="0"/>
                </a:lnTo>
                <a:close/>
                <a:moveTo>
                  <a:pt x="7" y="0"/>
                </a:moveTo>
                <a:lnTo>
                  <a:pt x="13" y="3"/>
                </a:lnTo>
                <a:lnTo>
                  <a:pt x="10" y="0"/>
                </a:lnTo>
                <a:lnTo>
                  <a:pt x="7" y="0"/>
                </a:lnTo>
                <a:lnTo>
                  <a:pt x="7" y="0"/>
                </a:lnTo>
                <a:close/>
                <a:moveTo>
                  <a:pt x="0" y="3"/>
                </a:moveTo>
                <a:lnTo>
                  <a:pt x="0" y="7"/>
                </a:lnTo>
                <a:lnTo>
                  <a:pt x="7" y="7"/>
                </a:lnTo>
                <a:lnTo>
                  <a:pt x="7" y="7"/>
                </a:lnTo>
                <a:lnTo>
                  <a:pt x="4" y="3"/>
                </a:lnTo>
                <a:lnTo>
                  <a:pt x="0" y="3"/>
                </a:lnTo>
                <a:lnTo>
                  <a:pt x="0" y="3"/>
                </a:lnTo>
                <a:close/>
                <a:moveTo>
                  <a:pt x="54" y="22"/>
                </a:moveTo>
                <a:lnTo>
                  <a:pt x="51" y="22"/>
                </a:lnTo>
                <a:lnTo>
                  <a:pt x="54" y="25"/>
                </a:lnTo>
                <a:lnTo>
                  <a:pt x="57" y="25"/>
                </a:lnTo>
                <a:lnTo>
                  <a:pt x="60" y="22"/>
                </a:lnTo>
                <a:lnTo>
                  <a:pt x="57" y="22"/>
                </a:lnTo>
                <a:lnTo>
                  <a:pt x="54" y="22"/>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0" name="Freeform 98">
            <a:extLst>
              <a:ext uri="{FF2B5EF4-FFF2-40B4-BE49-F238E27FC236}">
                <a16:creationId xmlns:a16="http://schemas.microsoft.com/office/drawing/2014/main" id="{E579E179-B3FD-62F8-AFF8-4CD284D2A47B}"/>
              </a:ext>
            </a:extLst>
          </p:cNvPr>
          <p:cNvSpPr>
            <a:spLocks/>
          </p:cNvSpPr>
          <p:nvPr userDrawn="1"/>
        </p:nvSpPr>
        <p:spPr bwMode="auto">
          <a:xfrm>
            <a:off x="12137232" y="7241459"/>
            <a:ext cx="28574" cy="19050"/>
          </a:xfrm>
          <a:custGeom>
            <a:avLst/>
            <a:gdLst>
              <a:gd name="T0" fmla="*/ 2 w 3"/>
              <a:gd name="T1" fmla="*/ 2 h 2"/>
              <a:gd name="T2" fmla="*/ 1 w 3"/>
              <a:gd name="T3" fmla="*/ 1 h 2"/>
              <a:gd name="T4" fmla="*/ 0 w 3"/>
              <a:gd name="T5" fmla="*/ 1 h 2"/>
              <a:gd name="T6" fmla="*/ 2 w 3"/>
              <a:gd name="T7" fmla="*/ 0 h 2"/>
              <a:gd name="T8" fmla="*/ 3 w 3"/>
              <a:gd name="T9" fmla="*/ 2 h 2"/>
              <a:gd name="T10" fmla="*/ 2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2" y="2"/>
                </a:moveTo>
                <a:cubicBezTo>
                  <a:pt x="1" y="1"/>
                  <a:pt x="1" y="1"/>
                  <a:pt x="1" y="1"/>
                </a:cubicBezTo>
                <a:cubicBezTo>
                  <a:pt x="0" y="1"/>
                  <a:pt x="0" y="1"/>
                  <a:pt x="0" y="1"/>
                </a:cubicBezTo>
                <a:cubicBezTo>
                  <a:pt x="2" y="0"/>
                  <a:pt x="2" y="0"/>
                  <a:pt x="2" y="0"/>
                </a:cubicBezTo>
                <a:cubicBezTo>
                  <a:pt x="3" y="2"/>
                  <a:pt x="3" y="2"/>
                  <a:pt x="3" y="2"/>
                </a:cubicBezTo>
                <a:cubicBezTo>
                  <a:pt x="3" y="2"/>
                  <a:pt x="2" y="2"/>
                  <a:pt x="2" y="2"/>
                </a:cubicBez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1" name="Freeform 99">
            <a:extLst>
              <a:ext uri="{FF2B5EF4-FFF2-40B4-BE49-F238E27FC236}">
                <a16:creationId xmlns:a16="http://schemas.microsoft.com/office/drawing/2014/main" id="{B098398C-7962-95BC-3C49-7BB86C43B29D}"/>
              </a:ext>
            </a:extLst>
          </p:cNvPr>
          <p:cNvSpPr>
            <a:spLocks noEditPoints="1"/>
          </p:cNvSpPr>
          <p:nvPr userDrawn="1"/>
        </p:nvSpPr>
        <p:spPr bwMode="auto">
          <a:xfrm>
            <a:off x="12076915" y="7508156"/>
            <a:ext cx="288907" cy="101600"/>
          </a:xfrm>
          <a:custGeom>
            <a:avLst/>
            <a:gdLst>
              <a:gd name="T0" fmla="*/ 5 w 29"/>
              <a:gd name="T1" fmla="*/ 7 h 10"/>
              <a:gd name="T2" fmla="*/ 5 w 29"/>
              <a:gd name="T3" fmla="*/ 7 h 10"/>
              <a:gd name="T4" fmla="*/ 5 w 29"/>
              <a:gd name="T5" fmla="*/ 6 h 10"/>
              <a:gd name="T6" fmla="*/ 5 w 29"/>
              <a:gd name="T7" fmla="*/ 6 h 10"/>
              <a:gd name="T8" fmla="*/ 5 w 29"/>
              <a:gd name="T9" fmla="*/ 7 h 10"/>
              <a:gd name="T10" fmla="*/ 5 w 29"/>
              <a:gd name="T11" fmla="*/ 7 h 10"/>
              <a:gd name="T12" fmla="*/ 1 w 29"/>
              <a:gd name="T13" fmla="*/ 10 h 10"/>
              <a:gd name="T14" fmla="*/ 0 w 29"/>
              <a:gd name="T15" fmla="*/ 9 h 10"/>
              <a:gd name="T16" fmla="*/ 1 w 29"/>
              <a:gd name="T17" fmla="*/ 9 h 10"/>
              <a:gd name="T18" fmla="*/ 1 w 29"/>
              <a:gd name="T19" fmla="*/ 9 h 10"/>
              <a:gd name="T20" fmla="*/ 1 w 29"/>
              <a:gd name="T21" fmla="*/ 9 h 10"/>
              <a:gd name="T22" fmla="*/ 1 w 29"/>
              <a:gd name="T23" fmla="*/ 10 h 10"/>
              <a:gd name="T24" fmla="*/ 1 w 29"/>
              <a:gd name="T25" fmla="*/ 10 h 10"/>
              <a:gd name="T26" fmla="*/ 2 w 29"/>
              <a:gd name="T27" fmla="*/ 4 h 10"/>
              <a:gd name="T28" fmla="*/ 2 w 29"/>
              <a:gd name="T29" fmla="*/ 3 h 10"/>
              <a:gd name="T30" fmla="*/ 1 w 29"/>
              <a:gd name="T31" fmla="*/ 2 h 10"/>
              <a:gd name="T32" fmla="*/ 2 w 29"/>
              <a:gd name="T33" fmla="*/ 1 h 10"/>
              <a:gd name="T34" fmla="*/ 3 w 29"/>
              <a:gd name="T35" fmla="*/ 2 h 10"/>
              <a:gd name="T36" fmla="*/ 3 w 29"/>
              <a:gd name="T37" fmla="*/ 4 h 10"/>
              <a:gd name="T38" fmla="*/ 2 w 29"/>
              <a:gd name="T39" fmla="*/ 4 h 10"/>
              <a:gd name="T40" fmla="*/ 12 w 29"/>
              <a:gd name="T41" fmla="*/ 6 h 10"/>
              <a:gd name="T42" fmla="*/ 10 w 29"/>
              <a:gd name="T43" fmla="*/ 6 h 10"/>
              <a:gd name="T44" fmla="*/ 8 w 29"/>
              <a:gd name="T45" fmla="*/ 7 h 10"/>
              <a:gd name="T46" fmla="*/ 7 w 29"/>
              <a:gd name="T47" fmla="*/ 7 h 10"/>
              <a:gd name="T48" fmla="*/ 7 w 29"/>
              <a:gd name="T49" fmla="*/ 6 h 10"/>
              <a:gd name="T50" fmla="*/ 8 w 29"/>
              <a:gd name="T51" fmla="*/ 5 h 10"/>
              <a:gd name="T52" fmla="*/ 9 w 29"/>
              <a:gd name="T53" fmla="*/ 5 h 10"/>
              <a:gd name="T54" fmla="*/ 10 w 29"/>
              <a:gd name="T55" fmla="*/ 5 h 10"/>
              <a:gd name="T56" fmla="*/ 11 w 29"/>
              <a:gd name="T57" fmla="*/ 4 h 10"/>
              <a:gd name="T58" fmla="*/ 12 w 29"/>
              <a:gd name="T59" fmla="*/ 4 h 10"/>
              <a:gd name="T60" fmla="*/ 12 w 29"/>
              <a:gd name="T61" fmla="*/ 6 h 10"/>
              <a:gd name="T62" fmla="*/ 14 w 29"/>
              <a:gd name="T63" fmla="*/ 6 h 10"/>
              <a:gd name="T64" fmla="*/ 14 w 29"/>
              <a:gd name="T65" fmla="*/ 8 h 10"/>
              <a:gd name="T66" fmla="*/ 15 w 29"/>
              <a:gd name="T67" fmla="*/ 9 h 10"/>
              <a:gd name="T68" fmla="*/ 16 w 29"/>
              <a:gd name="T69" fmla="*/ 8 h 10"/>
              <a:gd name="T70" fmla="*/ 17 w 29"/>
              <a:gd name="T71" fmla="*/ 8 h 10"/>
              <a:gd name="T72" fmla="*/ 16 w 29"/>
              <a:gd name="T73" fmla="*/ 7 h 10"/>
              <a:gd name="T74" fmla="*/ 15 w 29"/>
              <a:gd name="T75" fmla="*/ 6 h 10"/>
              <a:gd name="T76" fmla="*/ 14 w 29"/>
              <a:gd name="T77" fmla="*/ 6 h 10"/>
              <a:gd name="T78" fmla="*/ 26 w 29"/>
              <a:gd name="T79" fmla="*/ 2 h 10"/>
              <a:gd name="T80" fmla="*/ 27 w 29"/>
              <a:gd name="T81" fmla="*/ 0 h 10"/>
              <a:gd name="T82" fmla="*/ 28 w 29"/>
              <a:gd name="T83" fmla="*/ 0 h 10"/>
              <a:gd name="T84" fmla="*/ 29 w 29"/>
              <a:gd name="T85" fmla="*/ 1 h 10"/>
              <a:gd name="T86" fmla="*/ 27 w 29"/>
              <a:gd name="T87" fmla="*/ 1 h 10"/>
              <a:gd name="T88" fmla="*/ 26 w 29"/>
              <a:gd name="T89" fmla="*/ 2 h 10"/>
              <a:gd name="T90" fmla="*/ 22 w 29"/>
              <a:gd name="T91" fmla="*/ 7 h 10"/>
              <a:gd name="T92" fmla="*/ 24 w 29"/>
              <a:gd name="T93" fmla="*/ 5 h 10"/>
              <a:gd name="T94" fmla="*/ 24 w 29"/>
              <a:gd name="T95" fmla="*/ 4 h 10"/>
              <a:gd name="T96" fmla="*/ 26 w 29"/>
              <a:gd name="T97" fmla="*/ 3 h 10"/>
              <a:gd name="T98" fmla="*/ 26 w 29"/>
              <a:gd name="T99" fmla="*/ 5 h 10"/>
              <a:gd name="T100" fmla="*/ 24 w 29"/>
              <a:gd name="T101" fmla="*/ 7 h 10"/>
              <a:gd name="T102" fmla="*/ 23 w 29"/>
              <a:gd name="T103" fmla="*/ 7 h 10"/>
              <a:gd name="T104" fmla="*/ 22 w 29"/>
              <a:gd name="T105"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 h="10">
                <a:moveTo>
                  <a:pt x="5" y="7"/>
                </a:moveTo>
                <a:cubicBezTo>
                  <a:pt x="5" y="7"/>
                  <a:pt x="5" y="7"/>
                  <a:pt x="5" y="7"/>
                </a:cubicBezTo>
                <a:cubicBezTo>
                  <a:pt x="5" y="6"/>
                  <a:pt x="5" y="6"/>
                  <a:pt x="5" y="6"/>
                </a:cubicBezTo>
                <a:cubicBezTo>
                  <a:pt x="5" y="6"/>
                  <a:pt x="5" y="6"/>
                  <a:pt x="5" y="6"/>
                </a:cubicBezTo>
                <a:cubicBezTo>
                  <a:pt x="5" y="7"/>
                  <a:pt x="5" y="7"/>
                  <a:pt x="5" y="7"/>
                </a:cubicBezTo>
                <a:cubicBezTo>
                  <a:pt x="5" y="7"/>
                  <a:pt x="5" y="7"/>
                  <a:pt x="5" y="7"/>
                </a:cubicBezTo>
                <a:close/>
                <a:moveTo>
                  <a:pt x="1" y="10"/>
                </a:moveTo>
                <a:cubicBezTo>
                  <a:pt x="0" y="9"/>
                  <a:pt x="0" y="9"/>
                  <a:pt x="0" y="9"/>
                </a:cubicBezTo>
                <a:cubicBezTo>
                  <a:pt x="1" y="9"/>
                  <a:pt x="1" y="9"/>
                  <a:pt x="1" y="9"/>
                </a:cubicBezTo>
                <a:cubicBezTo>
                  <a:pt x="1" y="9"/>
                  <a:pt x="1" y="9"/>
                  <a:pt x="1" y="9"/>
                </a:cubicBezTo>
                <a:cubicBezTo>
                  <a:pt x="1" y="9"/>
                  <a:pt x="1" y="9"/>
                  <a:pt x="1" y="9"/>
                </a:cubicBezTo>
                <a:cubicBezTo>
                  <a:pt x="1" y="10"/>
                  <a:pt x="1" y="10"/>
                  <a:pt x="1" y="10"/>
                </a:cubicBezTo>
                <a:cubicBezTo>
                  <a:pt x="1" y="10"/>
                  <a:pt x="1" y="10"/>
                  <a:pt x="1" y="10"/>
                </a:cubicBezTo>
                <a:close/>
                <a:moveTo>
                  <a:pt x="2" y="4"/>
                </a:moveTo>
                <a:cubicBezTo>
                  <a:pt x="2" y="3"/>
                  <a:pt x="2" y="3"/>
                  <a:pt x="2" y="3"/>
                </a:cubicBezTo>
                <a:cubicBezTo>
                  <a:pt x="1" y="2"/>
                  <a:pt x="1" y="2"/>
                  <a:pt x="1" y="2"/>
                </a:cubicBezTo>
                <a:cubicBezTo>
                  <a:pt x="1" y="2"/>
                  <a:pt x="2" y="1"/>
                  <a:pt x="2" y="1"/>
                </a:cubicBezTo>
                <a:cubicBezTo>
                  <a:pt x="2" y="1"/>
                  <a:pt x="3" y="2"/>
                  <a:pt x="3" y="2"/>
                </a:cubicBezTo>
                <a:cubicBezTo>
                  <a:pt x="3" y="4"/>
                  <a:pt x="3" y="4"/>
                  <a:pt x="3" y="4"/>
                </a:cubicBezTo>
                <a:cubicBezTo>
                  <a:pt x="3" y="4"/>
                  <a:pt x="2" y="4"/>
                  <a:pt x="2" y="4"/>
                </a:cubicBezTo>
                <a:close/>
                <a:moveTo>
                  <a:pt x="12" y="6"/>
                </a:moveTo>
                <a:cubicBezTo>
                  <a:pt x="10" y="6"/>
                  <a:pt x="10" y="6"/>
                  <a:pt x="10" y="6"/>
                </a:cubicBezTo>
                <a:cubicBezTo>
                  <a:pt x="8" y="7"/>
                  <a:pt x="8" y="7"/>
                  <a:pt x="8" y="7"/>
                </a:cubicBezTo>
                <a:cubicBezTo>
                  <a:pt x="7" y="7"/>
                  <a:pt x="7" y="7"/>
                  <a:pt x="7" y="7"/>
                </a:cubicBezTo>
                <a:cubicBezTo>
                  <a:pt x="7" y="6"/>
                  <a:pt x="7" y="6"/>
                  <a:pt x="7" y="6"/>
                </a:cubicBezTo>
                <a:cubicBezTo>
                  <a:pt x="8" y="5"/>
                  <a:pt x="8" y="5"/>
                  <a:pt x="8" y="5"/>
                </a:cubicBezTo>
                <a:cubicBezTo>
                  <a:pt x="9" y="5"/>
                  <a:pt x="9" y="5"/>
                  <a:pt x="9" y="5"/>
                </a:cubicBezTo>
                <a:cubicBezTo>
                  <a:pt x="10" y="5"/>
                  <a:pt x="10" y="5"/>
                  <a:pt x="10" y="5"/>
                </a:cubicBezTo>
                <a:cubicBezTo>
                  <a:pt x="11" y="4"/>
                  <a:pt x="11" y="4"/>
                  <a:pt x="11" y="4"/>
                </a:cubicBezTo>
                <a:cubicBezTo>
                  <a:pt x="12" y="4"/>
                  <a:pt x="12" y="4"/>
                  <a:pt x="12" y="4"/>
                </a:cubicBezTo>
                <a:cubicBezTo>
                  <a:pt x="12" y="6"/>
                  <a:pt x="12" y="6"/>
                  <a:pt x="12" y="6"/>
                </a:cubicBezTo>
                <a:close/>
                <a:moveTo>
                  <a:pt x="14" y="6"/>
                </a:moveTo>
                <a:cubicBezTo>
                  <a:pt x="14" y="8"/>
                  <a:pt x="14" y="8"/>
                  <a:pt x="14" y="8"/>
                </a:cubicBezTo>
                <a:cubicBezTo>
                  <a:pt x="15" y="9"/>
                  <a:pt x="15" y="9"/>
                  <a:pt x="15" y="9"/>
                </a:cubicBezTo>
                <a:cubicBezTo>
                  <a:pt x="16" y="8"/>
                  <a:pt x="16" y="8"/>
                  <a:pt x="16" y="8"/>
                </a:cubicBezTo>
                <a:cubicBezTo>
                  <a:pt x="17" y="8"/>
                  <a:pt x="17" y="8"/>
                  <a:pt x="17" y="8"/>
                </a:cubicBezTo>
                <a:cubicBezTo>
                  <a:pt x="16" y="7"/>
                  <a:pt x="16" y="7"/>
                  <a:pt x="16" y="7"/>
                </a:cubicBezTo>
                <a:cubicBezTo>
                  <a:pt x="15" y="6"/>
                  <a:pt x="15" y="6"/>
                  <a:pt x="15" y="6"/>
                </a:cubicBezTo>
                <a:cubicBezTo>
                  <a:pt x="14" y="6"/>
                  <a:pt x="14" y="6"/>
                  <a:pt x="14" y="6"/>
                </a:cubicBezTo>
                <a:close/>
                <a:moveTo>
                  <a:pt x="26" y="2"/>
                </a:moveTo>
                <a:cubicBezTo>
                  <a:pt x="27" y="0"/>
                  <a:pt x="27" y="0"/>
                  <a:pt x="27" y="0"/>
                </a:cubicBezTo>
                <a:cubicBezTo>
                  <a:pt x="28" y="0"/>
                  <a:pt x="28" y="0"/>
                  <a:pt x="28" y="0"/>
                </a:cubicBezTo>
                <a:cubicBezTo>
                  <a:pt x="29" y="1"/>
                  <a:pt x="29" y="1"/>
                  <a:pt x="29" y="1"/>
                </a:cubicBezTo>
                <a:cubicBezTo>
                  <a:pt x="27" y="1"/>
                  <a:pt x="27" y="1"/>
                  <a:pt x="27" y="1"/>
                </a:cubicBezTo>
                <a:cubicBezTo>
                  <a:pt x="26" y="2"/>
                  <a:pt x="26" y="2"/>
                  <a:pt x="26" y="2"/>
                </a:cubicBezTo>
                <a:close/>
                <a:moveTo>
                  <a:pt x="22" y="7"/>
                </a:moveTo>
                <a:cubicBezTo>
                  <a:pt x="24" y="5"/>
                  <a:pt x="24" y="5"/>
                  <a:pt x="24" y="5"/>
                </a:cubicBezTo>
                <a:cubicBezTo>
                  <a:pt x="24" y="4"/>
                  <a:pt x="24" y="4"/>
                  <a:pt x="24" y="4"/>
                </a:cubicBezTo>
                <a:cubicBezTo>
                  <a:pt x="26" y="3"/>
                  <a:pt x="26" y="3"/>
                  <a:pt x="26" y="3"/>
                </a:cubicBezTo>
                <a:cubicBezTo>
                  <a:pt x="26" y="5"/>
                  <a:pt x="26" y="5"/>
                  <a:pt x="26" y="5"/>
                </a:cubicBezTo>
                <a:cubicBezTo>
                  <a:pt x="24" y="7"/>
                  <a:pt x="24" y="7"/>
                  <a:pt x="24" y="7"/>
                </a:cubicBezTo>
                <a:cubicBezTo>
                  <a:pt x="23" y="7"/>
                  <a:pt x="23" y="7"/>
                  <a:pt x="23" y="7"/>
                </a:cubicBezTo>
                <a:lnTo>
                  <a:pt x="22" y="7"/>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2" name="Freeform 100">
            <a:extLst>
              <a:ext uri="{FF2B5EF4-FFF2-40B4-BE49-F238E27FC236}">
                <a16:creationId xmlns:a16="http://schemas.microsoft.com/office/drawing/2014/main" id="{CC0C2875-68AC-4012-FA16-ECCD3C8D43C7}"/>
              </a:ext>
            </a:extLst>
          </p:cNvPr>
          <p:cNvSpPr>
            <a:spLocks noEditPoints="1"/>
          </p:cNvSpPr>
          <p:nvPr userDrawn="1"/>
        </p:nvSpPr>
        <p:spPr bwMode="auto">
          <a:xfrm>
            <a:off x="11610217" y="8282859"/>
            <a:ext cx="158740" cy="149226"/>
          </a:xfrm>
          <a:custGeom>
            <a:avLst/>
            <a:gdLst>
              <a:gd name="T0" fmla="*/ 2 w 16"/>
              <a:gd name="T1" fmla="*/ 1 h 15"/>
              <a:gd name="T2" fmla="*/ 3 w 16"/>
              <a:gd name="T3" fmla="*/ 0 h 15"/>
              <a:gd name="T4" fmla="*/ 3 w 16"/>
              <a:gd name="T5" fmla="*/ 0 h 15"/>
              <a:gd name="T6" fmla="*/ 2 w 16"/>
              <a:gd name="T7" fmla="*/ 0 h 15"/>
              <a:gd name="T8" fmla="*/ 1 w 16"/>
              <a:gd name="T9" fmla="*/ 0 h 15"/>
              <a:gd name="T10" fmla="*/ 0 w 16"/>
              <a:gd name="T11" fmla="*/ 0 h 15"/>
              <a:gd name="T12" fmla="*/ 1 w 16"/>
              <a:gd name="T13" fmla="*/ 1 h 15"/>
              <a:gd name="T14" fmla="*/ 2 w 16"/>
              <a:gd name="T15" fmla="*/ 1 h 15"/>
              <a:gd name="T16" fmla="*/ 3 w 16"/>
              <a:gd name="T17" fmla="*/ 2 h 15"/>
              <a:gd name="T18" fmla="*/ 3 w 16"/>
              <a:gd name="T19" fmla="*/ 1 h 15"/>
              <a:gd name="T20" fmla="*/ 3 w 16"/>
              <a:gd name="T21" fmla="*/ 1 h 15"/>
              <a:gd name="T22" fmla="*/ 4 w 16"/>
              <a:gd name="T23" fmla="*/ 1 h 15"/>
              <a:gd name="T24" fmla="*/ 4 w 16"/>
              <a:gd name="T25" fmla="*/ 2 h 15"/>
              <a:gd name="T26" fmla="*/ 3 w 16"/>
              <a:gd name="T27" fmla="*/ 2 h 15"/>
              <a:gd name="T28" fmla="*/ 8 w 16"/>
              <a:gd name="T29" fmla="*/ 4 h 15"/>
              <a:gd name="T30" fmla="*/ 8 w 16"/>
              <a:gd name="T31" fmla="*/ 4 h 15"/>
              <a:gd name="T32" fmla="*/ 7 w 16"/>
              <a:gd name="T33" fmla="*/ 4 h 15"/>
              <a:gd name="T34" fmla="*/ 7 w 16"/>
              <a:gd name="T35" fmla="*/ 3 h 15"/>
              <a:gd name="T36" fmla="*/ 7 w 16"/>
              <a:gd name="T37" fmla="*/ 3 h 15"/>
              <a:gd name="T38" fmla="*/ 8 w 16"/>
              <a:gd name="T39" fmla="*/ 3 h 15"/>
              <a:gd name="T40" fmla="*/ 8 w 16"/>
              <a:gd name="T41" fmla="*/ 3 h 15"/>
              <a:gd name="T42" fmla="*/ 8 w 16"/>
              <a:gd name="T43" fmla="*/ 4 h 15"/>
              <a:gd name="T44" fmla="*/ 8 w 16"/>
              <a:gd name="T45" fmla="*/ 4 h 15"/>
              <a:gd name="T46" fmla="*/ 10 w 16"/>
              <a:gd name="T47" fmla="*/ 4 h 15"/>
              <a:gd name="T48" fmla="*/ 9 w 16"/>
              <a:gd name="T49" fmla="*/ 4 h 15"/>
              <a:gd name="T50" fmla="*/ 9 w 16"/>
              <a:gd name="T51" fmla="*/ 3 h 15"/>
              <a:gd name="T52" fmla="*/ 9 w 16"/>
              <a:gd name="T53" fmla="*/ 3 h 15"/>
              <a:gd name="T54" fmla="*/ 10 w 16"/>
              <a:gd name="T55" fmla="*/ 4 h 15"/>
              <a:gd name="T56" fmla="*/ 15 w 16"/>
              <a:gd name="T57" fmla="*/ 3 h 15"/>
              <a:gd name="T58" fmla="*/ 15 w 16"/>
              <a:gd name="T59" fmla="*/ 2 h 15"/>
              <a:gd name="T60" fmla="*/ 16 w 16"/>
              <a:gd name="T61" fmla="*/ 1 h 15"/>
              <a:gd name="T62" fmla="*/ 16 w 16"/>
              <a:gd name="T63" fmla="*/ 3 h 15"/>
              <a:gd name="T64" fmla="*/ 15 w 16"/>
              <a:gd name="T65" fmla="*/ 3 h 15"/>
              <a:gd name="T66" fmla="*/ 15 w 16"/>
              <a:gd name="T67" fmla="*/ 7 h 15"/>
              <a:gd name="T68" fmla="*/ 14 w 16"/>
              <a:gd name="T69" fmla="*/ 6 h 15"/>
              <a:gd name="T70" fmla="*/ 15 w 16"/>
              <a:gd name="T71" fmla="*/ 6 h 15"/>
              <a:gd name="T72" fmla="*/ 16 w 16"/>
              <a:gd name="T73" fmla="*/ 6 h 15"/>
              <a:gd name="T74" fmla="*/ 16 w 16"/>
              <a:gd name="T75" fmla="*/ 7 h 15"/>
              <a:gd name="T76" fmla="*/ 16 w 16"/>
              <a:gd name="T77" fmla="*/ 7 h 15"/>
              <a:gd name="T78" fmla="*/ 15 w 16"/>
              <a:gd name="T79" fmla="*/ 7 h 15"/>
              <a:gd name="T80" fmla="*/ 14 w 16"/>
              <a:gd name="T81" fmla="*/ 13 h 15"/>
              <a:gd name="T82" fmla="*/ 13 w 16"/>
              <a:gd name="T83" fmla="*/ 12 h 15"/>
              <a:gd name="T84" fmla="*/ 14 w 16"/>
              <a:gd name="T85" fmla="*/ 12 h 15"/>
              <a:gd name="T86" fmla="*/ 14 w 16"/>
              <a:gd name="T87" fmla="*/ 13 h 15"/>
              <a:gd name="T88" fmla="*/ 14 w 16"/>
              <a:gd name="T89" fmla="*/ 13 h 15"/>
              <a:gd name="T90" fmla="*/ 10 w 16"/>
              <a:gd name="T91" fmla="*/ 14 h 15"/>
              <a:gd name="T92" fmla="*/ 10 w 16"/>
              <a:gd name="T93" fmla="*/ 13 h 15"/>
              <a:gd name="T94" fmla="*/ 10 w 16"/>
              <a:gd name="T95" fmla="*/ 12 h 15"/>
              <a:gd name="T96" fmla="*/ 11 w 16"/>
              <a:gd name="T97" fmla="*/ 12 h 15"/>
              <a:gd name="T98" fmla="*/ 12 w 16"/>
              <a:gd name="T99" fmla="*/ 14 h 15"/>
              <a:gd name="T100" fmla="*/ 12 w 16"/>
              <a:gd name="T101" fmla="*/ 15 h 15"/>
              <a:gd name="T102" fmla="*/ 10 w 16"/>
              <a:gd name="T103"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 h="15">
                <a:moveTo>
                  <a:pt x="2" y="1"/>
                </a:moveTo>
                <a:cubicBezTo>
                  <a:pt x="3" y="0"/>
                  <a:pt x="3" y="0"/>
                  <a:pt x="3" y="0"/>
                </a:cubicBezTo>
                <a:cubicBezTo>
                  <a:pt x="3" y="0"/>
                  <a:pt x="3" y="0"/>
                  <a:pt x="3" y="0"/>
                </a:cubicBezTo>
                <a:cubicBezTo>
                  <a:pt x="2" y="0"/>
                  <a:pt x="2" y="0"/>
                  <a:pt x="2" y="0"/>
                </a:cubicBezTo>
                <a:cubicBezTo>
                  <a:pt x="1" y="0"/>
                  <a:pt x="1" y="0"/>
                  <a:pt x="1" y="0"/>
                </a:cubicBezTo>
                <a:cubicBezTo>
                  <a:pt x="0" y="0"/>
                  <a:pt x="0" y="0"/>
                  <a:pt x="0" y="0"/>
                </a:cubicBezTo>
                <a:cubicBezTo>
                  <a:pt x="1" y="1"/>
                  <a:pt x="1" y="1"/>
                  <a:pt x="1" y="1"/>
                </a:cubicBezTo>
                <a:cubicBezTo>
                  <a:pt x="1" y="1"/>
                  <a:pt x="1" y="1"/>
                  <a:pt x="2" y="1"/>
                </a:cubicBezTo>
                <a:close/>
                <a:moveTo>
                  <a:pt x="3" y="2"/>
                </a:moveTo>
                <a:cubicBezTo>
                  <a:pt x="3" y="1"/>
                  <a:pt x="3" y="1"/>
                  <a:pt x="3" y="1"/>
                </a:cubicBezTo>
                <a:cubicBezTo>
                  <a:pt x="3" y="1"/>
                  <a:pt x="3" y="1"/>
                  <a:pt x="3" y="1"/>
                </a:cubicBezTo>
                <a:cubicBezTo>
                  <a:pt x="4" y="1"/>
                  <a:pt x="4" y="1"/>
                  <a:pt x="4" y="1"/>
                </a:cubicBezTo>
                <a:cubicBezTo>
                  <a:pt x="4" y="2"/>
                  <a:pt x="4" y="2"/>
                  <a:pt x="4" y="2"/>
                </a:cubicBezTo>
                <a:cubicBezTo>
                  <a:pt x="4" y="2"/>
                  <a:pt x="3" y="2"/>
                  <a:pt x="3" y="2"/>
                </a:cubicBezTo>
                <a:close/>
                <a:moveTo>
                  <a:pt x="8" y="4"/>
                </a:moveTo>
                <a:cubicBezTo>
                  <a:pt x="8" y="4"/>
                  <a:pt x="8" y="4"/>
                  <a:pt x="8" y="4"/>
                </a:cubicBezTo>
                <a:cubicBezTo>
                  <a:pt x="7" y="4"/>
                  <a:pt x="7" y="4"/>
                  <a:pt x="7" y="4"/>
                </a:cubicBezTo>
                <a:cubicBezTo>
                  <a:pt x="7" y="3"/>
                  <a:pt x="7" y="3"/>
                  <a:pt x="7" y="3"/>
                </a:cubicBezTo>
                <a:cubicBezTo>
                  <a:pt x="7" y="3"/>
                  <a:pt x="7" y="3"/>
                  <a:pt x="7" y="3"/>
                </a:cubicBezTo>
                <a:cubicBezTo>
                  <a:pt x="8" y="3"/>
                  <a:pt x="8" y="3"/>
                  <a:pt x="8" y="3"/>
                </a:cubicBezTo>
                <a:cubicBezTo>
                  <a:pt x="8" y="3"/>
                  <a:pt x="8" y="3"/>
                  <a:pt x="8" y="3"/>
                </a:cubicBezTo>
                <a:cubicBezTo>
                  <a:pt x="8" y="4"/>
                  <a:pt x="8" y="4"/>
                  <a:pt x="8" y="4"/>
                </a:cubicBezTo>
                <a:cubicBezTo>
                  <a:pt x="8" y="4"/>
                  <a:pt x="8" y="4"/>
                  <a:pt x="8" y="4"/>
                </a:cubicBezTo>
                <a:close/>
                <a:moveTo>
                  <a:pt x="10" y="4"/>
                </a:moveTo>
                <a:cubicBezTo>
                  <a:pt x="9" y="4"/>
                  <a:pt x="9" y="4"/>
                  <a:pt x="9" y="4"/>
                </a:cubicBezTo>
                <a:cubicBezTo>
                  <a:pt x="9" y="3"/>
                  <a:pt x="9" y="3"/>
                  <a:pt x="9" y="3"/>
                </a:cubicBezTo>
                <a:cubicBezTo>
                  <a:pt x="9" y="3"/>
                  <a:pt x="9" y="3"/>
                  <a:pt x="9" y="3"/>
                </a:cubicBezTo>
                <a:cubicBezTo>
                  <a:pt x="10" y="4"/>
                  <a:pt x="10" y="4"/>
                  <a:pt x="10" y="4"/>
                </a:cubicBezTo>
                <a:close/>
                <a:moveTo>
                  <a:pt x="15" y="3"/>
                </a:moveTo>
                <a:cubicBezTo>
                  <a:pt x="15" y="2"/>
                  <a:pt x="15" y="2"/>
                  <a:pt x="15" y="2"/>
                </a:cubicBezTo>
                <a:cubicBezTo>
                  <a:pt x="16" y="1"/>
                  <a:pt x="16" y="1"/>
                  <a:pt x="16" y="1"/>
                </a:cubicBezTo>
                <a:cubicBezTo>
                  <a:pt x="16" y="3"/>
                  <a:pt x="16" y="3"/>
                  <a:pt x="16" y="3"/>
                </a:cubicBezTo>
                <a:cubicBezTo>
                  <a:pt x="15" y="3"/>
                  <a:pt x="15" y="3"/>
                  <a:pt x="15" y="3"/>
                </a:cubicBezTo>
                <a:close/>
                <a:moveTo>
                  <a:pt x="15" y="7"/>
                </a:moveTo>
                <a:cubicBezTo>
                  <a:pt x="14" y="6"/>
                  <a:pt x="14" y="6"/>
                  <a:pt x="14" y="6"/>
                </a:cubicBezTo>
                <a:cubicBezTo>
                  <a:pt x="15" y="6"/>
                  <a:pt x="15" y="6"/>
                  <a:pt x="15" y="6"/>
                </a:cubicBezTo>
                <a:cubicBezTo>
                  <a:pt x="16" y="6"/>
                  <a:pt x="16" y="6"/>
                  <a:pt x="16" y="6"/>
                </a:cubicBezTo>
                <a:cubicBezTo>
                  <a:pt x="16" y="7"/>
                  <a:pt x="16" y="7"/>
                  <a:pt x="16" y="7"/>
                </a:cubicBezTo>
                <a:cubicBezTo>
                  <a:pt x="16" y="7"/>
                  <a:pt x="16" y="7"/>
                  <a:pt x="16" y="7"/>
                </a:cubicBezTo>
                <a:cubicBezTo>
                  <a:pt x="15" y="7"/>
                  <a:pt x="15" y="7"/>
                  <a:pt x="15" y="7"/>
                </a:cubicBezTo>
                <a:close/>
                <a:moveTo>
                  <a:pt x="14" y="13"/>
                </a:moveTo>
                <a:cubicBezTo>
                  <a:pt x="13" y="12"/>
                  <a:pt x="13" y="12"/>
                  <a:pt x="13" y="12"/>
                </a:cubicBezTo>
                <a:cubicBezTo>
                  <a:pt x="14" y="12"/>
                  <a:pt x="14" y="12"/>
                  <a:pt x="14" y="12"/>
                </a:cubicBezTo>
                <a:cubicBezTo>
                  <a:pt x="14" y="13"/>
                  <a:pt x="14" y="13"/>
                  <a:pt x="14" y="13"/>
                </a:cubicBezTo>
                <a:cubicBezTo>
                  <a:pt x="14" y="13"/>
                  <a:pt x="14" y="13"/>
                  <a:pt x="14" y="13"/>
                </a:cubicBezTo>
                <a:close/>
                <a:moveTo>
                  <a:pt x="10" y="14"/>
                </a:moveTo>
                <a:cubicBezTo>
                  <a:pt x="10" y="13"/>
                  <a:pt x="10" y="13"/>
                  <a:pt x="10" y="13"/>
                </a:cubicBezTo>
                <a:cubicBezTo>
                  <a:pt x="10" y="12"/>
                  <a:pt x="10" y="12"/>
                  <a:pt x="10" y="12"/>
                </a:cubicBezTo>
                <a:cubicBezTo>
                  <a:pt x="11" y="12"/>
                  <a:pt x="11" y="12"/>
                  <a:pt x="11" y="12"/>
                </a:cubicBezTo>
                <a:cubicBezTo>
                  <a:pt x="12" y="14"/>
                  <a:pt x="12" y="14"/>
                  <a:pt x="12" y="14"/>
                </a:cubicBezTo>
                <a:cubicBezTo>
                  <a:pt x="12" y="15"/>
                  <a:pt x="12" y="15"/>
                  <a:pt x="12" y="15"/>
                </a:cubicBezTo>
                <a:lnTo>
                  <a:pt x="10" y="1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3" name="Freeform 101">
            <a:extLst>
              <a:ext uri="{FF2B5EF4-FFF2-40B4-BE49-F238E27FC236}">
                <a16:creationId xmlns:a16="http://schemas.microsoft.com/office/drawing/2014/main" id="{79DD08C0-E6B2-D617-C333-B26FB0AC0D1B}"/>
              </a:ext>
            </a:extLst>
          </p:cNvPr>
          <p:cNvSpPr>
            <a:spLocks noEditPoints="1"/>
          </p:cNvSpPr>
          <p:nvPr userDrawn="1"/>
        </p:nvSpPr>
        <p:spPr bwMode="auto">
          <a:xfrm>
            <a:off x="16385104" y="7657383"/>
            <a:ext cx="466696" cy="666750"/>
          </a:xfrm>
          <a:custGeom>
            <a:avLst/>
            <a:gdLst>
              <a:gd name="T0" fmla="*/ 56 w 147"/>
              <a:gd name="T1" fmla="*/ 138 h 210"/>
              <a:gd name="T2" fmla="*/ 56 w 147"/>
              <a:gd name="T3" fmla="*/ 78 h 210"/>
              <a:gd name="T4" fmla="*/ 78 w 147"/>
              <a:gd name="T5" fmla="*/ 28 h 210"/>
              <a:gd name="T6" fmla="*/ 84 w 147"/>
              <a:gd name="T7" fmla="*/ 47 h 210"/>
              <a:gd name="T8" fmla="*/ 97 w 147"/>
              <a:gd name="T9" fmla="*/ 60 h 210"/>
              <a:gd name="T10" fmla="*/ 103 w 147"/>
              <a:gd name="T11" fmla="*/ 60 h 210"/>
              <a:gd name="T12" fmla="*/ 115 w 147"/>
              <a:gd name="T13" fmla="*/ 60 h 210"/>
              <a:gd name="T14" fmla="*/ 122 w 147"/>
              <a:gd name="T15" fmla="*/ 60 h 210"/>
              <a:gd name="T16" fmla="*/ 131 w 147"/>
              <a:gd name="T17" fmla="*/ 72 h 210"/>
              <a:gd name="T18" fmla="*/ 134 w 147"/>
              <a:gd name="T19" fmla="*/ 78 h 210"/>
              <a:gd name="T20" fmla="*/ 147 w 147"/>
              <a:gd name="T21" fmla="*/ 85 h 210"/>
              <a:gd name="T22" fmla="*/ 147 w 147"/>
              <a:gd name="T23" fmla="*/ 91 h 210"/>
              <a:gd name="T24" fmla="*/ 143 w 147"/>
              <a:gd name="T25" fmla="*/ 97 h 210"/>
              <a:gd name="T26" fmla="*/ 137 w 147"/>
              <a:gd name="T27" fmla="*/ 113 h 210"/>
              <a:gd name="T28" fmla="*/ 131 w 147"/>
              <a:gd name="T29" fmla="*/ 119 h 210"/>
              <a:gd name="T30" fmla="*/ 125 w 147"/>
              <a:gd name="T31" fmla="*/ 129 h 210"/>
              <a:gd name="T32" fmla="*/ 122 w 147"/>
              <a:gd name="T33" fmla="*/ 129 h 210"/>
              <a:gd name="T34" fmla="*/ 122 w 147"/>
              <a:gd name="T35" fmla="*/ 125 h 210"/>
              <a:gd name="T36" fmla="*/ 118 w 147"/>
              <a:gd name="T37" fmla="*/ 125 h 210"/>
              <a:gd name="T38" fmla="*/ 115 w 147"/>
              <a:gd name="T39" fmla="*/ 129 h 210"/>
              <a:gd name="T40" fmla="*/ 115 w 147"/>
              <a:gd name="T41" fmla="*/ 132 h 210"/>
              <a:gd name="T42" fmla="*/ 112 w 147"/>
              <a:gd name="T43" fmla="*/ 144 h 210"/>
              <a:gd name="T44" fmla="*/ 112 w 147"/>
              <a:gd name="T45" fmla="*/ 147 h 210"/>
              <a:gd name="T46" fmla="*/ 112 w 147"/>
              <a:gd name="T47" fmla="*/ 150 h 210"/>
              <a:gd name="T48" fmla="*/ 115 w 147"/>
              <a:gd name="T49" fmla="*/ 160 h 210"/>
              <a:gd name="T50" fmla="*/ 106 w 147"/>
              <a:gd name="T51" fmla="*/ 160 h 210"/>
              <a:gd name="T52" fmla="*/ 100 w 147"/>
              <a:gd name="T53" fmla="*/ 160 h 210"/>
              <a:gd name="T54" fmla="*/ 90 w 147"/>
              <a:gd name="T55" fmla="*/ 172 h 210"/>
              <a:gd name="T56" fmla="*/ 87 w 147"/>
              <a:gd name="T57" fmla="*/ 179 h 210"/>
              <a:gd name="T58" fmla="*/ 81 w 147"/>
              <a:gd name="T59" fmla="*/ 182 h 210"/>
              <a:gd name="T60" fmla="*/ 68 w 147"/>
              <a:gd name="T61" fmla="*/ 182 h 210"/>
              <a:gd name="T62" fmla="*/ 65 w 147"/>
              <a:gd name="T63" fmla="*/ 188 h 210"/>
              <a:gd name="T64" fmla="*/ 65 w 147"/>
              <a:gd name="T65" fmla="*/ 191 h 210"/>
              <a:gd name="T66" fmla="*/ 65 w 147"/>
              <a:gd name="T67" fmla="*/ 194 h 210"/>
              <a:gd name="T68" fmla="*/ 65 w 147"/>
              <a:gd name="T69" fmla="*/ 194 h 210"/>
              <a:gd name="T70" fmla="*/ 59 w 147"/>
              <a:gd name="T71" fmla="*/ 204 h 210"/>
              <a:gd name="T72" fmla="*/ 53 w 147"/>
              <a:gd name="T73" fmla="*/ 200 h 210"/>
              <a:gd name="T74" fmla="*/ 40 w 147"/>
              <a:gd name="T75" fmla="*/ 204 h 210"/>
              <a:gd name="T76" fmla="*/ 34 w 147"/>
              <a:gd name="T77" fmla="*/ 210 h 210"/>
              <a:gd name="T78" fmla="*/ 31 w 147"/>
              <a:gd name="T79" fmla="*/ 210 h 210"/>
              <a:gd name="T80" fmla="*/ 15 w 147"/>
              <a:gd name="T81" fmla="*/ 194 h 210"/>
              <a:gd name="T82" fmla="*/ 0 w 147"/>
              <a:gd name="T83" fmla="*/ 163 h 210"/>
              <a:gd name="T84" fmla="*/ 3 w 147"/>
              <a:gd name="T85" fmla="*/ 154 h 210"/>
              <a:gd name="T86" fmla="*/ 72 w 147"/>
              <a:gd name="T87" fmla="*/ 16 h 210"/>
              <a:gd name="T88" fmla="*/ 75 w 147"/>
              <a:gd name="T89" fmla="*/ 7 h 210"/>
              <a:gd name="T90" fmla="*/ 75 w 147"/>
              <a:gd name="T91" fmla="*/ 3 h 210"/>
              <a:gd name="T92" fmla="*/ 75 w 147"/>
              <a:gd name="T93" fmla="*/ 3 h 210"/>
              <a:gd name="T94" fmla="*/ 75 w 147"/>
              <a:gd name="T95" fmla="*/ 0 h 210"/>
              <a:gd name="T96" fmla="*/ 72 w 147"/>
              <a:gd name="T97" fmla="*/ 0 h 210"/>
              <a:gd name="T98" fmla="*/ 68 w 147"/>
              <a:gd name="T99" fmla="*/ 10 h 210"/>
              <a:gd name="T100" fmla="*/ 68 w 147"/>
              <a:gd name="T101" fmla="*/ 10 h 210"/>
              <a:gd name="T102" fmla="*/ 72 w 147"/>
              <a:gd name="T103" fmla="*/ 13 h 210"/>
              <a:gd name="T104" fmla="*/ 72 w 147"/>
              <a:gd name="T105" fmla="*/ 1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7" h="210">
                <a:moveTo>
                  <a:pt x="3" y="154"/>
                </a:moveTo>
                <a:lnTo>
                  <a:pt x="56" y="138"/>
                </a:lnTo>
                <a:lnTo>
                  <a:pt x="59" y="94"/>
                </a:lnTo>
                <a:lnTo>
                  <a:pt x="56" y="78"/>
                </a:lnTo>
                <a:lnTo>
                  <a:pt x="72" y="28"/>
                </a:lnTo>
                <a:lnTo>
                  <a:pt x="78" y="28"/>
                </a:lnTo>
                <a:lnTo>
                  <a:pt x="78" y="38"/>
                </a:lnTo>
                <a:lnTo>
                  <a:pt x="84" y="47"/>
                </a:lnTo>
                <a:lnTo>
                  <a:pt x="84" y="50"/>
                </a:lnTo>
                <a:lnTo>
                  <a:pt x="97" y="60"/>
                </a:lnTo>
                <a:lnTo>
                  <a:pt x="100" y="60"/>
                </a:lnTo>
                <a:lnTo>
                  <a:pt x="103" y="60"/>
                </a:lnTo>
                <a:lnTo>
                  <a:pt x="106" y="60"/>
                </a:lnTo>
                <a:lnTo>
                  <a:pt x="115" y="60"/>
                </a:lnTo>
                <a:lnTo>
                  <a:pt x="122" y="60"/>
                </a:lnTo>
                <a:lnTo>
                  <a:pt x="122" y="60"/>
                </a:lnTo>
                <a:lnTo>
                  <a:pt x="128" y="66"/>
                </a:lnTo>
                <a:lnTo>
                  <a:pt x="131" y="72"/>
                </a:lnTo>
                <a:lnTo>
                  <a:pt x="134" y="75"/>
                </a:lnTo>
                <a:lnTo>
                  <a:pt x="134" y="78"/>
                </a:lnTo>
                <a:lnTo>
                  <a:pt x="143" y="85"/>
                </a:lnTo>
                <a:lnTo>
                  <a:pt x="147" y="85"/>
                </a:lnTo>
                <a:lnTo>
                  <a:pt x="147" y="88"/>
                </a:lnTo>
                <a:lnTo>
                  <a:pt x="147" y="91"/>
                </a:lnTo>
                <a:lnTo>
                  <a:pt x="143" y="94"/>
                </a:lnTo>
                <a:lnTo>
                  <a:pt x="143" y="97"/>
                </a:lnTo>
                <a:lnTo>
                  <a:pt x="143" y="100"/>
                </a:lnTo>
                <a:lnTo>
                  <a:pt x="137" y="113"/>
                </a:lnTo>
                <a:lnTo>
                  <a:pt x="131" y="116"/>
                </a:lnTo>
                <a:lnTo>
                  <a:pt x="131" y="119"/>
                </a:lnTo>
                <a:lnTo>
                  <a:pt x="128" y="122"/>
                </a:lnTo>
                <a:lnTo>
                  <a:pt x="125" y="129"/>
                </a:lnTo>
                <a:lnTo>
                  <a:pt x="125" y="129"/>
                </a:lnTo>
                <a:lnTo>
                  <a:pt x="122" y="129"/>
                </a:lnTo>
                <a:lnTo>
                  <a:pt x="122" y="125"/>
                </a:lnTo>
                <a:lnTo>
                  <a:pt x="122" y="125"/>
                </a:lnTo>
                <a:lnTo>
                  <a:pt x="122" y="122"/>
                </a:lnTo>
                <a:lnTo>
                  <a:pt x="118" y="125"/>
                </a:lnTo>
                <a:lnTo>
                  <a:pt x="115" y="129"/>
                </a:lnTo>
                <a:lnTo>
                  <a:pt x="115" y="129"/>
                </a:lnTo>
                <a:lnTo>
                  <a:pt x="118" y="132"/>
                </a:lnTo>
                <a:lnTo>
                  <a:pt x="115" y="132"/>
                </a:lnTo>
                <a:lnTo>
                  <a:pt x="112" y="138"/>
                </a:lnTo>
                <a:lnTo>
                  <a:pt x="112" y="144"/>
                </a:lnTo>
                <a:lnTo>
                  <a:pt x="109" y="147"/>
                </a:lnTo>
                <a:lnTo>
                  <a:pt x="112" y="147"/>
                </a:lnTo>
                <a:lnTo>
                  <a:pt x="112" y="150"/>
                </a:lnTo>
                <a:lnTo>
                  <a:pt x="112" y="150"/>
                </a:lnTo>
                <a:lnTo>
                  <a:pt x="115" y="157"/>
                </a:lnTo>
                <a:lnTo>
                  <a:pt x="115" y="160"/>
                </a:lnTo>
                <a:lnTo>
                  <a:pt x="115" y="160"/>
                </a:lnTo>
                <a:lnTo>
                  <a:pt x="106" y="160"/>
                </a:lnTo>
                <a:lnTo>
                  <a:pt x="103" y="163"/>
                </a:lnTo>
                <a:lnTo>
                  <a:pt x="100" y="160"/>
                </a:lnTo>
                <a:lnTo>
                  <a:pt x="97" y="163"/>
                </a:lnTo>
                <a:lnTo>
                  <a:pt x="90" y="172"/>
                </a:lnTo>
                <a:lnTo>
                  <a:pt x="90" y="179"/>
                </a:lnTo>
                <a:lnTo>
                  <a:pt x="87" y="179"/>
                </a:lnTo>
                <a:lnTo>
                  <a:pt x="84" y="182"/>
                </a:lnTo>
                <a:lnTo>
                  <a:pt x="81" y="182"/>
                </a:lnTo>
                <a:lnTo>
                  <a:pt x="75" y="182"/>
                </a:lnTo>
                <a:lnTo>
                  <a:pt x="68" y="182"/>
                </a:lnTo>
                <a:lnTo>
                  <a:pt x="68" y="185"/>
                </a:lnTo>
                <a:lnTo>
                  <a:pt x="65" y="188"/>
                </a:lnTo>
                <a:lnTo>
                  <a:pt x="65" y="188"/>
                </a:lnTo>
                <a:lnTo>
                  <a:pt x="65" y="191"/>
                </a:lnTo>
                <a:lnTo>
                  <a:pt x="65" y="191"/>
                </a:lnTo>
                <a:lnTo>
                  <a:pt x="65" y="194"/>
                </a:lnTo>
                <a:lnTo>
                  <a:pt x="65" y="194"/>
                </a:lnTo>
                <a:lnTo>
                  <a:pt x="65" y="194"/>
                </a:lnTo>
                <a:lnTo>
                  <a:pt x="62" y="204"/>
                </a:lnTo>
                <a:lnTo>
                  <a:pt x="59" y="204"/>
                </a:lnTo>
                <a:lnTo>
                  <a:pt x="56" y="200"/>
                </a:lnTo>
                <a:lnTo>
                  <a:pt x="53" y="200"/>
                </a:lnTo>
                <a:lnTo>
                  <a:pt x="50" y="200"/>
                </a:lnTo>
                <a:lnTo>
                  <a:pt x="40" y="204"/>
                </a:lnTo>
                <a:lnTo>
                  <a:pt x="37" y="204"/>
                </a:lnTo>
                <a:lnTo>
                  <a:pt x="34" y="210"/>
                </a:lnTo>
                <a:lnTo>
                  <a:pt x="31" y="210"/>
                </a:lnTo>
                <a:lnTo>
                  <a:pt x="31" y="210"/>
                </a:lnTo>
                <a:lnTo>
                  <a:pt x="28" y="210"/>
                </a:lnTo>
                <a:lnTo>
                  <a:pt x="15" y="194"/>
                </a:lnTo>
                <a:lnTo>
                  <a:pt x="18" y="188"/>
                </a:lnTo>
                <a:lnTo>
                  <a:pt x="0" y="163"/>
                </a:lnTo>
                <a:lnTo>
                  <a:pt x="3" y="154"/>
                </a:lnTo>
                <a:lnTo>
                  <a:pt x="3" y="154"/>
                </a:lnTo>
                <a:close/>
                <a:moveTo>
                  <a:pt x="72" y="19"/>
                </a:moveTo>
                <a:lnTo>
                  <a:pt x="72" y="16"/>
                </a:lnTo>
                <a:lnTo>
                  <a:pt x="75" y="13"/>
                </a:lnTo>
                <a:lnTo>
                  <a:pt x="75" y="7"/>
                </a:lnTo>
                <a:lnTo>
                  <a:pt x="75" y="7"/>
                </a:lnTo>
                <a:lnTo>
                  <a:pt x="75" y="3"/>
                </a:lnTo>
                <a:lnTo>
                  <a:pt x="75" y="3"/>
                </a:lnTo>
                <a:lnTo>
                  <a:pt x="75" y="3"/>
                </a:lnTo>
                <a:lnTo>
                  <a:pt x="75" y="3"/>
                </a:lnTo>
                <a:lnTo>
                  <a:pt x="75" y="0"/>
                </a:lnTo>
                <a:lnTo>
                  <a:pt x="72" y="3"/>
                </a:lnTo>
                <a:lnTo>
                  <a:pt x="72" y="0"/>
                </a:lnTo>
                <a:lnTo>
                  <a:pt x="72" y="7"/>
                </a:lnTo>
                <a:lnTo>
                  <a:pt x="68" y="10"/>
                </a:lnTo>
                <a:lnTo>
                  <a:pt x="68" y="7"/>
                </a:lnTo>
                <a:lnTo>
                  <a:pt x="68" y="10"/>
                </a:lnTo>
                <a:lnTo>
                  <a:pt x="68" y="10"/>
                </a:lnTo>
                <a:lnTo>
                  <a:pt x="72" y="13"/>
                </a:lnTo>
                <a:lnTo>
                  <a:pt x="72" y="19"/>
                </a:lnTo>
                <a:lnTo>
                  <a:pt x="72" y="1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4" name="Freeform 102">
            <a:extLst>
              <a:ext uri="{FF2B5EF4-FFF2-40B4-BE49-F238E27FC236}">
                <a16:creationId xmlns:a16="http://schemas.microsoft.com/office/drawing/2014/main" id="{AE2672CD-7498-1E06-78DD-70D596BE1FC3}"/>
              </a:ext>
            </a:extLst>
          </p:cNvPr>
          <p:cNvSpPr>
            <a:spLocks noEditPoints="1"/>
          </p:cNvSpPr>
          <p:nvPr userDrawn="1"/>
        </p:nvSpPr>
        <p:spPr bwMode="auto">
          <a:xfrm>
            <a:off x="15807294" y="8146333"/>
            <a:ext cx="755601" cy="466726"/>
          </a:xfrm>
          <a:custGeom>
            <a:avLst/>
            <a:gdLst>
              <a:gd name="T0" fmla="*/ 7 w 238"/>
              <a:gd name="T1" fmla="*/ 56 h 147"/>
              <a:gd name="T2" fmla="*/ 10 w 238"/>
              <a:gd name="T3" fmla="*/ 56 h 147"/>
              <a:gd name="T4" fmla="*/ 13 w 238"/>
              <a:gd name="T5" fmla="*/ 43 h 147"/>
              <a:gd name="T6" fmla="*/ 19 w 238"/>
              <a:gd name="T7" fmla="*/ 34 h 147"/>
              <a:gd name="T8" fmla="*/ 38 w 238"/>
              <a:gd name="T9" fmla="*/ 37 h 147"/>
              <a:gd name="T10" fmla="*/ 72 w 238"/>
              <a:gd name="T11" fmla="*/ 53 h 147"/>
              <a:gd name="T12" fmla="*/ 110 w 238"/>
              <a:gd name="T13" fmla="*/ 21 h 147"/>
              <a:gd name="T14" fmla="*/ 182 w 238"/>
              <a:gd name="T15" fmla="*/ 9 h 147"/>
              <a:gd name="T16" fmla="*/ 197 w 238"/>
              <a:gd name="T17" fmla="*/ 40 h 147"/>
              <a:gd name="T18" fmla="*/ 204 w 238"/>
              <a:gd name="T19" fmla="*/ 56 h 147"/>
              <a:gd name="T20" fmla="*/ 191 w 238"/>
              <a:gd name="T21" fmla="*/ 65 h 147"/>
              <a:gd name="T22" fmla="*/ 191 w 238"/>
              <a:gd name="T23" fmla="*/ 71 h 147"/>
              <a:gd name="T24" fmla="*/ 191 w 238"/>
              <a:gd name="T25" fmla="*/ 75 h 147"/>
              <a:gd name="T26" fmla="*/ 179 w 238"/>
              <a:gd name="T27" fmla="*/ 81 h 147"/>
              <a:gd name="T28" fmla="*/ 160 w 238"/>
              <a:gd name="T29" fmla="*/ 87 h 147"/>
              <a:gd name="T30" fmla="*/ 135 w 238"/>
              <a:gd name="T31" fmla="*/ 97 h 147"/>
              <a:gd name="T32" fmla="*/ 132 w 238"/>
              <a:gd name="T33" fmla="*/ 97 h 147"/>
              <a:gd name="T34" fmla="*/ 119 w 238"/>
              <a:gd name="T35" fmla="*/ 109 h 147"/>
              <a:gd name="T36" fmla="*/ 116 w 238"/>
              <a:gd name="T37" fmla="*/ 109 h 147"/>
              <a:gd name="T38" fmla="*/ 113 w 238"/>
              <a:gd name="T39" fmla="*/ 109 h 147"/>
              <a:gd name="T40" fmla="*/ 107 w 238"/>
              <a:gd name="T41" fmla="*/ 109 h 147"/>
              <a:gd name="T42" fmla="*/ 100 w 238"/>
              <a:gd name="T43" fmla="*/ 115 h 147"/>
              <a:gd name="T44" fmla="*/ 88 w 238"/>
              <a:gd name="T45" fmla="*/ 118 h 147"/>
              <a:gd name="T46" fmla="*/ 75 w 238"/>
              <a:gd name="T47" fmla="*/ 122 h 147"/>
              <a:gd name="T48" fmla="*/ 69 w 238"/>
              <a:gd name="T49" fmla="*/ 122 h 147"/>
              <a:gd name="T50" fmla="*/ 66 w 238"/>
              <a:gd name="T51" fmla="*/ 118 h 147"/>
              <a:gd name="T52" fmla="*/ 57 w 238"/>
              <a:gd name="T53" fmla="*/ 122 h 147"/>
              <a:gd name="T54" fmla="*/ 54 w 238"/>
              <a:gd name="T55" fmla="*/ 128 h 147"/>
              <a:gd name="T56" fmla="*/ 47 w 238"/>
              <a:gd name="T57" fmla="*/ 134 h 147"/>
              <a:gd name="T58" fmla="*/ 41 w 238"/>
              <a:gd name="T59" fmla="*/ 134 h 147"/>
              <a:gd name="T60" fmla="*/ 32 w 238"/>
              <a:gd name="T61" fmla="*/ 137 h 147"/>
              <a:gd name="T62" fmla="*/ 25 w 238"/>
              <a:gd name="T63" fmla="*/ 137 h 147"/>
              <a:gd name="T64" fmla="*/ 22 w 238"/>
              <a:gd name="T65" fmla="*/ 134 h 147"/>
              <a:gd name="T66" fmla="*/ 16 w 238"/>
              <a:gd name="T67" fmla="*/ 125 h 147"/>
              <a:gd name="T68" fmla="*/ 16 w 238"/>
              <a:gd name="T69" fmla="*/ 118 h 147"/>
              <a:gd name="T70" fmla="*/ 10 w 238"/>
              <a:gd name="T71" fmla="*/ 109 h 147"/>
              <a:gd name="T72" fmla="*/ 4 w 238"/>
              <a:gd name="T73" fmla="*/ 84 h 147"/>
              <a:gd name="T74" fmla="*/ 0 w 238"/>
              <a:gd name="T75" fmla="*/ 81 h 147"/>
              <a:gd name="T76" fmla="*/ 4 w 238"/>
              <a:gd name="T77" fmla="*/ 78 h 147"/>
              <a:gd name="T78" fmla="*/ 4 w 238"/>
              <a:gd name="T79" fmla="*/ 78 h 147"/>
              <a:gd name="T80" fmla="*/ 4 w 238"/>
              <a:gd name="T81" fmla="*/ 59 h 147"/>
              <a:gd name="T82" fmla="*/ 4 w 238"/>
              <a:gd name="T83" fmla="*/ 56 h 147"/>
              <a:gd name="T84" fmla="*/ 194 w 238"/>
              <a:gd name="T85" fmla="*/ 147 h 147"/>
              <a:gd name="T86" fmla="*/ 194 w 238"/>
              <a:gd name="T87" fmla="*/ 147 h 147"/>
              <a:gd name="T88" fmla="*/ 191 w 238"/>
              <a:gd name="T89" fmla="*/ 147 h 147"/>
              <a:gd name="T90" fmla="*/ 216 w 238"/>
              <a:gd name="T91" fmla="*/ 140 h 147"/>
              <a:gd name="T92" fmla="*/ 219 w 238"/>
              <a:gd name="T93" fmla="*/ 134 h 147"/>
              <a:gd name="T94" fmla="*/ 222 w 238"/>
              <a:gd name="T95" fmla="*/ 137 h 147"/>
              <a:gd name="T96" fmla="*/ 229 w 238"/>
              <a:gd name="T97" fmla="*/ 137 h 147"/>
              <a:gd name="T98" fmla="*/ 235 w 238"/>
              <a:gd name="T99" fmla="*/ 137 h 147"/>
              <a:gd name="T100" fmla="*/ 238 w 238"/>
              <a:gd name="T101" fmla="*/ 140 h 147"/>
              <a:gd name="T102" fmla="*/ 235 w 238"/>
              <a:gd name="T103" fmla="*/ 140 h 147"/>
              <a:gd name="T104" fmla="*/ 225 w 238"/>
              <a:gd name="T105" fmla="*/ 143 h 147"/>
              <a:gd name="T106" fmla="*/ 216 w 238"/>
              <a:gd name="T107" fmla="*/ 14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8" h="147">
                <a:moveTo>
                  <a:pt x="4" y="56"/>
                </a:moveTo>
                <a:lnTo>
                  <a:pt x="7" y="56"/>
                </a:lnTo>
                <a:lnTo>
                  <a:pt x="10" y="59"/>
                </a:lnTo>
                <a:lnTo>
                  <a:pt x="10" y="56"/>
                </a:lnTo>
                <a:lnTo>
                  <a:pt x="16" y="50"/>
                </a:lnTo>
                <a:lnTo>
                  <a:pt x="13" y="43"/>
                </a:lnTo>
                <a:lnTo>
                  <a:pt x="16" y="34"/>
                </a:lnTo>
                <a:lnTo>
                  <a:pt x="19" y="34"/>
                </a:lnTo>
                <a:lnTo>
                  <a:pt x="25" y="37"/>
                </a:lnTo>
                <a:lnTo>
                  <a:pt x="38" y="37"/>
                </a:lnTo>
                <a:lnTo>
                  <a:pt x="57" y="43"/>
                </a:lnTo>
                <a:lnTo>
                  <a:pt x="72" y="53"/>
                </a:lnTo>
                <a:lnTo>
                  <a:pt x="72" y="71"/>
                </a:lnTo>
                <a:lnTo>
                  <a:pt x="110" y="21"/>
                </a:lnTo>
                <a:lnTo>
                  <a:pt x="185" y="0"/>
                </a:lnTo>
                <a:lnTo>
                  <a:pt x="182" y="9"/>
                </a:lnTo>
                <a:lnTo>
                  <a:pt x="200" y="34"/>
                </a:lnTo>
                <a:lnTo>
                  <a:pt x="197" y="40"/>
                </a:lnTo>
                <a:lnTo>
                  <a:pt x="210" y="56"/>
                </a:lnTo>
                <a:lnTo>
                  <a:pt x="204" y="56"/>
                </a:lnTo>
                <a:lnTo>
                  <a:pt x="197" y="59"/>
                </a:lnTo>
                <a:lnTo>
                  <a:pt x="191" y="65"/>
                </a:lnTo>
                <a:lnTo>
                  <a:pt x="191" y="71"/>
                </a:lnTo>
                <a:lnTo>
                  <a:pt x="191" y="71"/>
                </a:lnTo>
                <a:lnTo>
                  <a:pt x="191" y="75"/>
                </a:lnTo>
                <a:lnTo>
                  <a:pt x="191" y="75"/>
                </a:lnTo>
                <a:lnTo>
                  <a:pt x="182" y="78"/>
                </a:lnTo>
                <a:lnTo>
                  <a:pt x="179" y="81"/>
                </a:lnTo>
                <a:lnTo>
                  <a:pt x="172" y="84"/>
                </a:lnTo>
                <a:lnTo>
                  <a:pt x="160" y="87"/>
                </a:lnTo>
                <a:lnTo>
                  <a:pt x="157" y="90"/>
                </a:lnTo>
                <a:lnTo>
                  <a:pt x="135" y="97"/>
                </a:lnTo>
                <a:lnTo>
                  <a:pt x="135" y="97"/>
                </a:lnTo>
                <a:lnTo>
                  <a:pt x="132" y="97"/>
                </a:lnTo>
                <a:lnTo>
                  <a:pt x="125" y="103"/>
                </a:lnTo>
                <a:lnTo>
                  <a:pt x="119" y="109"/>
                </a:lnTo>
                <a:lnTo>
                  <a:pt x="119" y="109"/>
                </a:lnTo>
                <a:lnTo>
                  <a:pt x="116" y="109"/>
                </a:lnTo>
                <a:lnTo>
                  <a:pt x="116" y="109"/>
                </a:lnTo>
                <a:lnTo>
                  <a:pt x="113" y="109"/>
                </a:lnTo>
                <a:lnTo>
                  <a:pt x="110" y="109"/>
                </a:lnTo>
                <a:lnTo>
                  <a:pt x="107" y="109"/>
                </a:lnTo>
                <a:lnTo>
                  <a:pt x="100" y="112"/>
                </a:lnTo>
                <a:lnTo>
                  <a:pt x="100" y="115"/>
                </a:lnTo>
                <a:lnTo>
                  <a:pt x="97" y="118"/>
                </a:lnTo>
                <a:lnTo>
                  <a:pt x="88" y="118"/>
                </a:lnTo>
                <a:lnTo>
                  <a:pt x="79" y="122"/>
                </a:lnTo>
                <a:lnTo>
                  <a:pt x="75" y="122"/>
                </a:lnTo>
                <a:lnTo>
                  <a:pt x="75" y="118"/>
                </a:lnTo>
                <a:lnTo>
                  <a:pt x="69" y="122"/>
                </a:lnTo>
                <a:lnTo>
                  <a:pt x="69" y="118"/>
                </a:lnTo>
                <a:lnTo>
                  <a:pt x="66" y="118"/>
                </a:lnTo>
                <a:lnTo>
                  <a:pt x="63" y="118"/>
                </a:lnTo>
                <a:lnTo>
                  <a:pt x="57" y="122"/>
                </a:lnTo>
                <a:lnTo>
                  <a:pt x="57" y="128"/>
                </a:lnTo>
                <a:lnTo>
                  <a:pt x="54" y="128"/>
                </a:lnTo>
                <a:lnTo>
                  <a:pt x="50" y="134"/>
                </a:lnTo>
                <a:lnTo>
                  <a:pt x="47" y="134"/>
                </a:lnTo>
                <a:lnTo>
                  <a:pt x="44" y="134"/>
                </a:lnTo>
                <a:lnTo>
                  <a:pt x="41" y="134"/>
                </a:lnTo>
                <a:lnTo>
                  <a:pt x="35" y="137"/>
                </a:lnTo>
                <a:lnTo>
                  <a:pt x="32" y="137"/>
                </a:lnTo>
                <a:lnTo>
                  <a:pt x="29" y="134"/>
                </a:lnTo>
                <a:lnTo>
                  <a:pt x="25" y="137"/>
                </a:lnTo>
                <a:lnTo>
                  <a:pt x="22" y="137"/>
                </a:lnTo>
                <a:lnTo>
                  <a:pt x="22" y="134"/>
                </a:lnTo>
                <a:lnTo>
                  <a:pt x="19" y="128"/>
                </a:lnTo>
                <a:lnTo>
                  <a:pt x="16" y="125"/>
                </a:lnTo>
                <a:lnTo>
                  <a:pt x="13" y="118"/>
                </a:lnTo>
                <a:lnTo>
                  <a:pt x="16" y="118"/>
                </a:lnTo>
                <a:lnTo>
                  <a:pt x="16" y="112"/>
                </a:lnTo>
                <a:lnTo>
                  <a:pt x="10" y="109"/>
                </a:lnTo>
                <a:lnTo>
                  <a:pt x="7" y="90"/>
                </a:lnTo>
                <a:lnTo>
                  <a:pt x="4" y="84"/>
                </a:lnTo>
                <a:lnTo>
                  <a:pt x="4" y="81"/>
                </a:lnTo>
                <a:lnTo>
                  <a:pt x="0" y="81"/>
                </a:lnTo>
                <a:lnTo>
                  <a:pt x="0" y="78"/>
                </a:lnTo>
                <a:lnTo>
                  <a:pt x="4" y="78"/>
                </a:lnTo>
                <a:lnTo>
                  <a:pt x="4" y="78"/>
                </a:lnTo>
                <a:lnTo>
                  <a:pt x="4" y="78"/>
                </a:lnTo>
                <a:lnTo>
                  <a:pt x="7" y="71"/>
                </a:lnTo>
                <a:lnTo>
                  <a:pt x="4" y="59"/>
                </a:lnTo>
                <a:lnTo>
                  <a:pt x="4" y="56"/>
                </a:lnTo>
                <a:lnTo>
                  <a:pt x="4" y="56"/>
                </a:lnTo>
                <a:close/>
                <a:moveTo>
                  <a:pt x="191" y="147"/>
                </a:moveTo>
                <a:lnTo>
                  <a:pt x="194" y="147"/>
                </a:lnTo>
                <a:lnTo>
                  <a:pt x="200" y="147"/>
                </a:lnTo>
                <a:lnTo>
                  <a:pt x="194" y="147"/>
                </a:lnTo>
                <a:lnTo>
                  <a:pt x="191" y="147"/>
                </a:lnTo>
                <a:lnTo>
                  <a:pt x="191" y="147"/>
                </a:lnTo>
                <a:close/>
                <a:moveTo>
                  <a:pt x="216" y="140"/>
                </a:moveTo>
                <a:lnTo>
                  <a:pt x="216" y="140"/>
                </a:lnTo>
                <a:lnTo>
                  <a:pt x="216" y="137"/>
                </a:lnTo>
                <a:lnTo>
                  <a:pt x="219" y="134"/>
                </a:lnTo>
                <a:lnTo>
                  <a:pt x="222" y="134"/>
                </a:lnTo>
                <a:lnTo>
                  <a:pt x="222" y="137"/>
                </a:lnTo>
                <a:lnTo>
                  <a:pt x="225" y="137"/>
                </a:lnTo>
                <a:lnTo>
                  <a:pt x="229" y="137"/>
                </a:lnTo>
                <a:lnTo>
                  <a:pt x="232" y="137"/>
                </a:lnTo>
                <a:lnTo>
                  <a:pt x="235" y="137"/>
                </a:lnTo>
                <a:lnTo>
                  <a:pt x="238" y="137"/>
                </a:lnTo>
                <a:lnTo>
                  <a:pt x="238" y="140"/>
                </a:lnTo>
                <a:lnTo>
                  <a:pt x="238" y="140"/>
                </a:lnTo>
                <a:lnTo>
                  <a:pt x="235" y="140"/>
                </a:lnTo>
                <a:lnTo>
                  <a:pt x="229" y="143"/>
                </a:lnTo>
                <a:lnTo>
                  <a:pt x="225" y="143"/>
                </a:lnTo>
                <a:lnTo>
                  <a:pt x="219" y="143"/>
                </a:lnTo>
                <a:lnTo>
                  <a:pt x="216" y="143"/>
                </a:lnTo>
                <a:lnTo>
                  <a:pt x="216" y="14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5" name="Freeform 103">
            <a:extLst>
              <a:ext uri="{FF2B5EF4-FFF2-40B4-BE49-F238E27FC236}">
                <a16:creationId xmlns:a16="http://schemas.microsoft.com/office/drawing/2014/main" id="{DFBB5B58-F92C-7E82-6714-7E6C209E4B74}"/>
              </a:ext>
            </a:extLst>
          </p:cNvPr>
          <p:cNvSpPr>
            <a:spLocks/>
          </p:cNvSpPr>
          <p:nvPr userDrawn="1"/>
        </p:nvSpPr>
        <p:spPr bwMode="auto">
          <a:xfrm>
            <a:off x="14658019" y="7320835"/>
            <a:ext cx="784175" cy="654050"/>
          </a:xfrm>
          <a:custGeom>
            <a:avLst/>
            <a:gdLst>
              <a:gd name="T0" fmla="*/ 197 w 247"/>
              <a:gd name="T1" fmla="*/ 37 h 206"/>
              <a:gd name="T2" fmla="*/ 184 w 247"/>
              <a:gd name="T3" fmla="*/ 12 h 206"/>
              <a:gd name="T4" fmla="*/ 175 w 247"/>
              <a:gd name="T5" fmla="*/ 9 h 206"/>
              <a:gd name="T6" fmla="*/ 150 w 247"/>
              <a:gd name="T7" fmla="*/ 12 h 206"/>
              <a:gd name="T8" fmla="*/ 144 w 247"/>
              <a:gd name="T9" fmla="*/ 16 h 206"/>
              <a:gd name="T10" fmla="*/ 137 w 247"/>
              <a:gd name="T11" fmla="*/ 9 h 206"/>
              <a:gd name="T12" fmla="*/ 134 w 247"/>
              <a:gd name="T13" fmla="*/ 3 h 206"/>
              <a:gd name="T14" fmla="*/ 122 w 247"/>
              <a:gd name="T15" fmla="*/ 3 h 206"/>
              <a:gd name="T16" fmla="*/ 125 w 247"/>
              <a:gd name="T17" fmla="*/ 6 h 206"/>
              <a:gd name="T18" fmla="*/ 112 w 247"/>
              <a:gd name="T19" fmla="*/ 6 h 206"/>
              <a:gd name="T20" fmla="*/ 115 w 247"/>
              <a:gd name="T21" fmla="*/ 3 h 206"/>
              <a:gd name="T22" fmla="*/ 109 w 247"/>
              <a:gd name="T23" fmla="*/ 3 h 206"/>
              <a:gd name="T24" fmla="*/ 100 w 247"/>
              <a:gd name="T25" fmla="*/ 9 h 206"/>
              <a:gd name="T26" fmla="*/ 87 w 247"/>
              <a:gd name="T27" fmla="*/ 16 h 206"/>
              <a:gd name="T28" fmla="*/ 72 w 247"/>
              <a:gd name="T29" fmla="*/ 12 h 206"/>
              <a:gd name="T30" fmla="*/ 56 w 247"/>
              <a:gd name="T31" fmla="*/ 9 h 206"/>
              <a:gd name="T32" fmla="*/ 40 w 247"/>
              <a:gd name="T33" fmla="*/ 6 h 206"/>
              <a:gd name="T34" fmla="*/ 9 w 247"/>
              <a:gd name="T35" fmla="*/ 3 h 206"/>
              <a:gd name="T36" fmla="*/ 6 w 247"/>
              <a:gd name="T37" fmla="*/ 6 h 206"/>
              <a:gd name="T38" fmla="*/ 6 w 247"/>
              <a:gd name="T39" fmla="*/ 25 h 206"/>
              <a:gd name="T40" fmla="*/ 3 w 247"/>
              <a:gd name="T41" fmla="*/ 41 h 206"/>
              <a:gd name="T42" fmla="*/ 247 w 247"/>
              <a:gd name="T43" fmla="*/ 206 h 206"/>
              <a:gd name="T44" fmla="*/ 241 w 247"/>
              <a:gd name="T45" fmla="*/ 200 h 206"/>
              <a:gd name="T46" fmla="*/ 231 w 247"/>
              <a:gd name="T47" fmla="*/ 191 h 206"/>
              <a:gd name="T48" fmla="*/ 219 w 247"/>
              <a:gd name="T49" fmla="*/ 188 h 206"/>
              <a:gd name="T50" fmla="*/ 215 w 247"/>
              <a:gd name="T51" fmla="*/ 169 h 206"/>
              <a:gd name="T52" fmla="*/ 219 w 247"/>
              <a:gd name="T53" fmla="*/ 166 h 206"/>
              <a:gd name="T54" fmla="*/ 219 w 247"/>
              <a:gd name="T55" fmla="*/ 166 h 206"/>
              <a:gd name="T56" fmla="*/ 215 w 247"/>
              <a:gd name="T57" fmla="*/ 159 h 206"/>
              <a:gd name="T58" fmla="*/ 203 w 247"/>
              <a:gd name="T59" fmla="*/ 141 h 206"/>
              <a:gd name="T60" fmla="*/ 187 w 247"/>
              <a:gd name="T61" fmla="*/ 116 h 206"/>
              <a:gd name="T62" fmla="*/ 184 w 247"/>
              <a:gd name="T63" fmla="*/ 100 h 206"/>
              <a:gd name="T64" fmla="*/ 175 w 247"/>
              <a:gd name="T65" fmla="*/ 87 h 206"/>
              <a:gd name="T66" fmla="*/ 172 w 247"/>
              <a:gd name="T67" fmla="*/ 78 h 206"/>
              <a:gd name="T68" fmla="*/ 153 w 247"/>
              <a:gd name="T69" fmla="*/ 56 h 206"/>
              <a:gd name="T70" fmla="*/ 150 w 247"/>
              <a:gd name="T71" fmla="*/ 44 h 206"/>
              <a:gd name="T72" fmla="*/ 150 w 247"/>
              <a:gd name="T73" fmla="*/ 41 h 206"/>
              <a:gd name="T74" fmla="*/ 156 w 247"/>
              <a:gd name="T75" fmla="*/ 50 h 206"/>
              <a:gd name="T76" fmla="*/ 165 w 247"/>
              <a:gd name="T77" fmla="*/ 62 h 206"/>
              <a:gd name="T78" fmla="*/ 172 w 247"/>
              <a:gd name="T79" fmla="*/ 72 h 206"/>
              <a:gd name="T80" fmla="*/ 187 w 247"/>
              <a:gd name="T81" fmla="*/ 84 h 206"/>
              <a:gd name="T82" fmla="*/ 194 w 247"/>
              <a:gd name="T83" fmla="*/ 75 h 206"/>
              <a:gd name="T84" fmla="*/ 194 w 247"/>
              <a:gd name="T85" fmla="*/ 6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7" h="206">
                <a:moveTo>
                  <a:pt x="197" y="50"/>
                </a:moveTo>
                <a:lnTo>
                  <a:pt x="194" y="44"/>
                </a:lnTo>
                <a:lnTo>
                  <a:pt x="197" y="37"/>
                </a:lnTo>
                <a:lnTo>
                  <a:pt x="194" y="28"/>
                </a:lnTo>
                <a:lnTo>
                  <a:pt x="187" y="19"/>
                </a:lnTo>
                <a:lnTo>
                  <a:pt x="184" y="12"/>
                </a:lnTo>
                <a:lnTo>
                  <a:pt x="181" y="6"/>
                </a:lnTo>
                <a:lnTo>
                  <a:pt x="178" y="6"/>
                </a:lnTo>
                <a:lnTo>
                  <a:pt x="175" y="9"/>
                </a:lnTo>
                <a:lnTo>
                  <a:pt x="172" y="12"/>
                </a:lnTo>
                <a:lnTo>
                  <a:pt x="159" y="9"/>
                </a:lnTo>
                <a:lnTo>
                  <a:pt x="150" y="12"/>
                </a:lnTo>
                <a:lnTo>
                  <a:pt x="140" y="6"/>
                </a:lnTo>
                <a:lnTo>
                  <a:pt x="140" y="9"/>
                </a:lnTo>
                <a:lnTo>
                  <a:pt x="144" y="16"/>
                </a:lnTo>
                <a:lnTo>
                  <a:pt x="144" y="16"/>
                </a:lnTo>
                <a:lnTo>
                  <a:pt x="140" y="12"/>
                </a:lnTo>
                <a:lnTo>
                  <a:pt x="137" y="9"/>
                </a:lnTo>
                <a:lnTo>
                  <a:pt x="134" y="6"/>
                </a:lnTo>
                <a:lnTo>
                  <a:pt x="137" y="6"/>
                </a:lnTo>
                <a:lnTo>
                  <a:pt x="134" y="3"/>
                </a:lnTo>
                <a:lnTo>
                  <a:pt x="131" y="6"/>
                </a:lnTo>
                <a:lnTo>
                  <a:pt x="128" y="3"/>
                </a:lnTo>
                <a:lnTo>
                  <a:pt x="122" y="3"/>
                </a:lnTo>
                <a:lnTo>
                  <a:pt x="122" y="3"/>
                </a:lnTo>
                <a:lnTo>
                  <a:pt x="125" y="3"/>
                </a:lnTo>
                <a:lnTo>
                  <a:pt x="125" y="6"/>
                </a:lnTo>
                <a:lnTo>
                  <a:pt x="122" y="6"/>
                </a:lnTo>
                <a:lnTo>
                  <a:pt x="115" y="6"/>
                </a:lnTo>
                <a:lnTo>
                  <a:pt x="112" y="6"/>
                </a:lnTo>
                <a:lnTo>
                  <a:pt x="112" y="6"/>
                </a:lnTo>
                <a:lnTo>
                  <a:pt x="112" y="3"/>
                </a:lnTo>
                <a:lnTo>
                  <a:pt x="115" y="3"/>
                </a:lnTo>
                <a:lnTo>
                  <a:pt x="119" y="3"/>
                </a:lnTo>
                <a:lnTo>
                  <a:pt x="115" y="3"/>
                </a:lnTo>
                <a:lnTo>
                  <a:pt x="109" y="3"/>
                </a:lnTo>
                <a:lnTo>
                  <a:pt x="106" y="6"/>
                </a:lnTo>
                <a:lnTo>
                  <a:pt x="100" y="9"/>
                </a:lnTo>
                <a:lnTo>
                  <a:pt x="100" y="9"/>
                </a:lnTo>
                <a:lnTo>
                  <a:pt x="94" y="12"/>
                </a:lnTo>
                <a:lnTo>
                  <a:pt x="90" y="16"/>
                </a:lnTo>
                <a:lnTo>
                  <a:pt x="87" y="16"/>
                </a:lnTo>
                <a:lnTo>
                  <a:pt x="81" y="16"/>
                </a:lnTo>
                <a:lnTo>
                  <a:pt x="75" y="12"/>
                </a:lnTo>
                <a:lnTo>
                  <a:pt x="72" y="12"/>
                </a:lnTo>
                <a:lnTo>
                  <a:pt x="62" y="12"/>
                </a:lnTo>
                <a:lnTo>
                  <a:pt x="59" y="9"/>
                </a:lnTo>
                <a:lnTo>
                  <a:pt x="56" y="9"/>
                </a:lnTo>
                <a:lnTo>
                  <a:pt x="53" y="9"/>
                </a:lnTo>
                <a:lnTo>
                  <a:pt x="47" y="6"/>
                </a:lnTo>
                <a:lnTo>
                  <a:pt x="40" y="6"/>
                </a:lnTo>
                <a:lnTo>
                  <a:pt x="25" y="3"/>
                </a:lnTo>
                <a:lnTo>
                  <a:pt x="19" y="0"/>
                </a:lnTo>
                <a:lnTo>
                  <a:pt x="9" y="3"/>
                </a:lnTo>
                <a:lnTo>
                  <a:pt x="6" y="3"/>
                </a:lnTo>
                <a:lnTo>
                  <a:pt x="6" y="3"/>
                </a:lnTo>
                <a:lnTo>
                  <a:pt x="6" y="6"/>
                </a:lnTo>
                <a:lnTo>
                  <a:pt x="3" y="12"/>
                </a:lnTo>
                <a:lnTo>
                  <a:pt x="6" y="19"/>
                </a:lnTo>
                <a:lnTo>
                  <a:pt x="6" y="25"/>
                </a:lnTo>
                <a:lnTo>
                  <a:pt x="3" y="31"/>
                </a:lnTo>
                <a:lnTo>
                  <a:pt x="0" y="37"/>
                </a:lnTo>
                <a:lnTo>
                  <a:pt x="3" y="41"/>
                </a:lnTo>
                <a:lnTo>
                  <a:pt x="6" y="53"/>
                </a:lnTo>
                <a:lnTo>
                  <a:pt x="12" y="206"/>
                </a:lnTo>
                <a:lnTo>
                  <a:pt x="247" y="206"/>
                </a:lnTo>
                <a:lnTo>
                  <a:pt x="247" y="206"/>
                </a:lnTo>
                <a:lnTo>
                  <a:pt x="244" y="203"/>
                </a:lnTo>
                <a:lnTo>
                  <a:pt x="241" y="200"/>
                </a:lnTo>
                <a:lnTo>
                  <a:pt x="237" y="197"/>
                </a:lnTo>
                <a:lnTo>
                  <a:pt x="234" y="197"/>
                </a:lnTo>
                <a:lnTo>
                  <a:pt x="231" y="191"/>
                </a:lnTo>
                <a:lnTo>
                  <a:pt x="228" y="191"/>
                </a:lnTo>
                <a:lnTo>
                  <a:pt x="225" y="191"/>
                </a:lnTo>
                <a:lnTo>
                  <a:pt x="219" y="188"/>
                </a:lnTo>
                <a:lnTo>
                  <a:pt x="215" y="178"/>
                </a:lnTo>
                <a:lnTo>
                  <a:pt x="215" y="175"/>
                </a:lnTo>
                <a:lnTo>
                  <a:pt x="215" y="169"/>
                </a:lnTo>
                <a:lnTo>
                  <a:pt x="215" y="166"/>
                </a:lnTo>
                <a:lnTo>
                  <a:pt x="215" y="166"/>
                </a:lnTo>
                <a:lnTo>
                  <a:pt x="219" y="166"/>
                </a:lnTo>
                <a:lnTo>
                  <a:pt x="222" y="166"/>
                </a:lnTo>
                <a:lnTo>
                  <a:pt x="222" y="166"/>
                </a:lnTo>
                <a:lnTo>
                  <a:pt x="219" y="166"/>
                </a:lnTo>
                <a:lnTo>
                  <a:pt x="215" y="159"/>
                </a:lnTo>
                <a:lnTo>
                  <a:pt x="215" y="159"/>
                </a:lnTo>
                <a:lnTo>
                  <a:pt x="215" y="159"/>
                </a:lnTo>
                <a:lnTo>
                  <a:pt x="212" y="156"/>
                </a:lnTo>
                <a:lnTo>
                  <a:pt x="209" y="153"/>
                </a:lnTo>
                <a:lnTo>
                  <a:pt x="203" y="141"/>
                </a:lnTo>
                <a:lnTo>
                  <a:pt x="200" y="138"/>
                </a:lnTo>
                <a:lnTo>
                  <a:pt x="197" y="131"/>
                </a:lnTo>
                <a:lnTo>
                  <a:pt x="187" y="116"/>
                </a:lnTo>
                <a:lnTo>
                  <a:pt x="187" y="109"/>
                </a:lnTo>
                <a:lnTo>
                  <a:pt x="184" y="106"/>
                </a:lnTo>
                <a:lnTo>
                  <a:pt x="184" y="100"/>
                </a:lnTo>
                <a:lnTo>
                  <a:pt x="181" y="97"/>
                </a:lnTo>
                <a:lnTo>
                  <a:pt x="181" y="94"/>
                </a:lnTo>
                <a:lnTo>
                  <a:pt x="175" y="87"/>
                </a:lnTo>
                <a:lnTo>
                  <a:pt x="175" y="84"/>
                </a:lnTo>
                <a:lnTo>
                  <a:pt x="175" y="81"/>
                </a:lnTo>
                <a:lnTo>
                  <a:pt x="172" y="78"/>
                </a:lnTo>
                <a:lnTo>
                  <a:pt x="162" y="69"/>
                </a:lnTo>
                <a:lnTo>
                  <a:pt x="162" y="66"/>
                </a:lnTo>
                <a:lnTo>
                  <a:pt x="153" y="56"/>
                </a:lnTo>
                <a:lnTo>
                  <a:pt x="153" y="53"/>
                </a:lnTo>
                <a:lnTo>
                  <a:pt x="150" y="47"/>
                </a:lnTo>
                <a:lnTo>
                  <a:pt x="150" y="44"/>
                </a:lnTo>
                <a:lnTo>
                  <a:pt x="150" y="41"/>
                </a:lnTo>
                <a:lnTo>
                  <a:pt x="150" y="41"/>
                </a:lnTo>
                <a:lnTo>
                  <a:pt x="150" y="41"/>
                </a:lnTo>
                <a:lnTo>
                  <a:pt x="153" y="41"/>
                </a:lnTo>
                <a:lnTo>
                  <a:pt x="153" y="47"/>
                </a:lnTo>
                <a:lnTo>
                  <a:pt x="156" y="50"/>
                </a:lnTo>
                <a:lnTo>
                  <a:pt x="156" y="50"/>
                </a:lnTo>
                <a:lnTo>
                  <a:pt x="165" y="59"/>
                </a:lnTo>
                <a:lnTo>
                  <a:pt x="165" y="62"/>
                </a:lnTo>
                <a:lnTo>
                  <a:pt x="165" y="66"/>
                </a:lnTo>
                <a:lnTo>
                  <a:pt x="172" y="69"/>
                </a:lnTo>
                <a:lnTo>
                  <a:pt x="172" y="72"/>
                </a:lnTo>
                <a:lnTo>
                  <a:pt x="181" y="81"/>
                </a:lnTo>
                <a:lnTo>
                  <a:pt x="187" y="84"/>
                </a:lnTo>
                <a:lnTo>
                  <a:pt x="187" y="84"/>
                </a:lnTo>
                <a:lnTo>
                  <a:pt x="187" y="84"/>
                </a:lnTo>
                <a:lnTo>
                  <a:pt x="190" y="81"/>
                </a:lnTo>
                <a:lnTo>
                  <a:pt x="194" y="75"/>
                </a:lnTo>
                <a:lnTo>
                  <a:pt x="190" y="72"/>
                </a:lnTo>
                <a:lnTo>
                  <a:pt x="194" y="66"/>
                </a:lnTo>
                <a:lnTo>
                  <a:pt x="194" y="62"/>
                </a:lnTo>
                <a:lnTo>
                  <a:pt x="197" y="50"/>
                </a:lnTo>
                <a:lnTo>
                  <a:pt x="197" y="5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6" name="Freeform 104">
            <a:extLst>
              <a:ext uri="{FF2B5EF4-FFF2-40B4-BE49-F238E27FC236}">
                <a16:creationId xmlns:a16="http://schemas.microsoft.com/office/drawing/2014/main" id="{D2717C56-0CA3-E711-DF12-62A7CBA3542F}"/>
              </a:ext>
            </a:extLst>
          </p:cNvPr>
          <p:cNvSpPr>
            <a:spLocks/>
          </p:cNvSpPr>
          <p:nvPr userDrawn="1"/>
        </p:nvSpPr>
        <p:spPr bwMode="auto">
          <a:xfrm>
            <a:off x="14518326" y="7974881"/>
            <a:ext cx="1031811" cy="1184278"/>
          </a:xfrm>
          <a:custGeom>
            <a:avLst/>
            <a:gdLst>
              <a:gd name="T0" fmla="*/ 291 w 325"/>
              <a:gd name="T1" fmla="*/ 3 h 373"/>
              <a:gd name="T2" fmla="*/ 294 w 325"/>
              <a:gd name="T3" fmla="*/ 13 h 373"/>
              <a:gd name="T4" fmla="*/ 294 w 325"/>
              <a:gd name="T5" fmla="*/ 16 h 373"/>
              <a:gd name="T6" fmla="*/ 300 w 325"/>
              <a:gd name="T7" fmla="*/ 50 h 373"/>
              <a:gd name="T8" fmla="*/ 316 w 325"/>
              <a:gd name="T9" fmla="*/ 75 h 373"/>
              <a:gd name="T10" fmla="*/ 325 w 325"/>
              <a:gd name="T11" fmla="*/ 85 h 373"/>
              <a:gd name="T12" fmla="*/ 310 w 325"/>
              <a:gd name="T13" fmla="*/ 91 h 373"/>
              <a:gd name="T14" fmla="*/ 300 w 325"/>
              <a:gd name="T15" fmla="*/ 97 h 373"/>
              <a:gd name="T16" fmla="*/ 300 w 325"/>
              <a:gd name="T17" fmla="*/ 113 h 373"/>
              <a:gd name="T18" fmla="*/ 291 w 325"/>
              <a:gd name="T19" fmla="*/ 138 h 373"/>
              <a:gd name="T20" fmla="*/ 291 w 325"/>
              <a:gd name="T21" fmla="*/ 157 h 373"/>
              <a:gd name="T22" fmla="*/ 281 w 325"/>
              <a:gd name="T23" fmla="*/ 188 h 373"/>
              <a:gd name="T24" fmla="*/ 269 w 325"/>
              <a:gd name="T25" fmla="*/ 201 h 373"/>
              <a:gd name="T26" fmla="*/ 253 w 325"/>
              <a:gd name="T27" fmla="*/ 226 h 373"/>
              <a:gd name="T28" fmla="*/ 250 w 325"/>
              <a:gd name="T29" fmla="*/ 244 h 373"/>
              <a:gd name="T30" fmla="*/ 244 w 325"/>
              <a:gd name="T31" fmla="*/ 273 h 373"/>
              <a:gd name="T32" fmla="*/ 228 w 325"/>
              <a:gd name="T33" fmla="*/ 273 h 373"/>
              <a:gd name="T34" fmla="*/ 228 w 325"/>
              <a:gd name="T35" fmla="*/ 288 h 373"/>
              <a:gd name="T36" fmla="*/ 244 w 325"/>
              <a:gd name="T37" fmla="*/ 298 h 373"/>
              <a:gd name="T38" fmla="*/ 256 w 325"/>
              <a:gd name="T39" fmla="*/ 307 h 373"/>
              <a:gd name="T40" fmla="*/ 266 w 325"/>
              <a:gd name="T41" fmla="*/ 329 h 373"/>
              <a:gd name="T42" fmla="*/ 250 w 325"/>
              <a:gd name="T43" fmla="*/ 351 h 373"/>
              <a:gd name="T44" fmla="*/ 241 w 325"/>
              <a:gd name="T45" fmla="*/ 360 h 373"/>
              <a:gd name="T46" fmla="*/ 219 w 325"/>
              <a:gd name="T47" fmla="*/ 366 h 373"/>
              <a:gd name="T48" fmla="*/ 209 w 325"/>
              <a:gd name="T49" fmla="*/ 373 h 373"/>
              <a:gd name="T50" fmla="*/ 194 w 325"/>
              <a:gd name="T51" fmla="*/ 369 h 373"/>
              <a:gd name="T52" fmla="*/ 184 w 325"/>
              <a:gd name="T53" fmla="*/ 373 h 373"/>
              <a:gd name="T54" fmla="*/ 175 w 325"/>
              <a:gd name="T55" fmla="*/ 369 h 373"/>
              <a:gd name="T56" fmla="*/ 166 w 325"/>
              <a:gd name="T57" fmla="*/ 357 h 373"/>
              <a:gd name="T58" fmla="*/ 153 w 325"/>
              <a:gd name="T59" fmla="*/ 348 h 373"/>
              <a:gd name="T60" fmla="*/ 144 w 325"/>
              <a:gd name="T61" fmla="*/ 354 h 373"/>
              <a:gd name="T62" fmla="*/ 131 w 325"/>
              <a:gd name="T63" fmla="*/ 357 h 373"/>
              <a:gd name="T64" fmla="*/ 116 w 325"/>
              <a:gd name="T65" fmla="*/ 348 h 373"/>
              <a:gd name="T66" fmla="*/ 109 w 325"/>
              <a:gd name="T67" fmla="*/ 338 h 373"/>
              <a:gd name="T68" fmla="*/ 97 w 325"/>
              <a:gd name="T69" fmla="*/ 323 h 373"/>
              <a:gd name="T70" fmla="*/ 88 w 325"/>
              <a:gd name="T71" fmla="*/ 313 h 373"/>
              <a:gd name="T72" fmla="*/ 75 w 325"/>
              <a:gd name="T73" fmla="*/ 301 h 373"/>
              <a:gd name="T74" fmla="*/ 69 w 325"/>
              <a:gd name="T75" fmla="*/ 294 h 373"/>
              <a:gd name="T76" fmla="*/ 63 w 325"/>
              <a:gd name="T77" fmla="*/ 285 h 373"/>
              <a:gd name="T78" fmla="*/ 47 w 325"/>
              <a:gd name="T79" fmla="*/ 276 h 373"/>
              <a:gd name="T80" fmla="*/ 41 w 325"/>
              <a:gd name="T81" fmla="*/ 269 h 373"/>
              <a:gd name="T82" fmla="*/ 34 w 325"/>
              <a:gd name="T83" fmla="*/ 254 h 373"/>
              <a:gd name="T84" fmla="*/ 25 w 325"/>
              <a:gd name="T85" fmla="*/ 232 h 373"/>
              <a:gd name="T86" fmla="*/ 19 w 325"/>
              <a:gd name="T87" fmla="*/ 219 h 373"/>
              <a:gd name="T88" fmla="*/ 13 w 325"/>
              <a:gd name="T89" fmla="*/ 207 h 373"/>
              <a:gd name="T90" fmla="*/ 9 w 325"/>
              <a:gd name="T91" fmla="*/ 191 h 373"/>
              <a:gd name="T92" fmla="*/ 0 w 325"/>
              <a:gd name="T93" fmla="*/ 185 h 373"/>
              <a:gd name="T94" fmla="*/ 6 w 325"/>
              <a:gd name="T95" fmla="*/ 166 h 373"/>
              <a:gd name="T96" fmla="*/ 13 w 325"/>
              <a:gd name="T97" fmla="*/ 151 h 373"/>
              <a:gd name="T98" fmla="*/ 22 w 325"/>
              <a:gd name="T99" fmla="*/ 132 h 373"/>
              <a:gd name="T100" fmla="*/ 41 w 325"/>
              <a:gd name="T101" fmla="*/ 125 h 373"/>
              <a:gd name="T102" fmla="*/ 56 w 325"/>
              <a:gd name="T103"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5" h="373">
                <a:moveTo>
                  <a:pt x="56" y="0"/>
                </a:moveTo>
                <a:lnTo>
                  <a:pt x="291" y="0"/>
                </a:lnTo>
                <a:lnTo>
                  <a:pt x="291" y="0"/>
                </a:lnTo>
                <a:lnTo>
                  <a:pt x="291" y="3"/>
                </a:lnTo>
                <a:lnTo>
                  <a:pt x="291" y="3"/>
                </a:lnTo>
                <a:lnTo>
                  <a:pt x="291" y="7"/>
                </a:lnTo>
                <a:lnTo>
                  <a:pt x="291" y="7"/>
                </a:lnTo>
                <a:lnTo>
                  <a:pt x="291" y="7"/>
                </a:lnTo>
                <a:lnTo>
                  <a:pt x="291" y="10"/>
                </a:lnTo>
                <a:lnTo>
                  <a:pt x="294" y="13"/>
                </a:lnTo>
                <a:lnTo>
                  <a:pt x="297" y="19"/>
                </a:lnTo>
                <a:lnTo>
                  <a:pt x="297" y="19"/>
                </a:lnTo>
                <a:lnTo>
                  <a:pt x="297" y="19"/>
                </a:lnTo>
                <a:lnTo>
                  <a:pt x="297" y="19"/>
                </a:lnTo>
                <a:lnTo>
                  <a:pt x="294" y="16"/>
                </a:lnTo>
                <a:lnTo>
                  <a:pt x="294" y="19"/>
                </a:lnTo>
                <a:lnTo>
                  <a:pt x="294" y="22"/>
                </a:lnTo>
                <a:lnTo>
                  <a:pt x="300" y="35"/>
                </a:lnTo>
                <a:lnTo>
                  <a:pt x="300" y="44"/>
                </a:lnTo>
                <a:lnTo>
                  <a:pt x="300" y="50"/>
                </a:lnTo>
                <a:lnTo>
                  <a:pt x="300" y="60"/>
                </a:lnTo>
                <a:lnTo>
                  <a:pt x="306" y="66"/>
                </a:lnTo>
                <a:lnTo>
                  <a:pt x="310" y="66"/>
                </a:lnTo>
                <a:lnTo>
                  <a:pt x="316" y="72"/>
                </a:lnTo>
                <a:lnTo>
                  <a:pt x="316" y="75"/>
                </a:lnTo>
                <a:lnTo>
                  <a:pt x="322" y="75"/>
                </a:lnTo>
                <a:lnTo>
                  <a:pt x="325" y="79"/>
                </a:lnTo>
                <a:lnTo>
                  <a:pt x="325" y="82"/>
                </a:lnTo>
                <a:lnTo>
                  <a:pt x="325" y="82"/>
                </a:lnTo>
                <a:lnTo>
                  <a:pt x="325" y="85"/>
                </a:lnTo>
                <a:lnTo>
                  <a:pt x="322" y="88"/>
                </a:lnTo>
                <a:lnTo>
                  <a:pt x="316" y="88"/>
                </a:lnTo>
                <a:lnTo>
                  <a:pt x="316" y="91"/>
                </a:lnTo>
                <a:lnTo>
                  <a:pt x="313" y="91"/>
                </a:lnTo>
                <a:lnTo>
                  <a:pt x="310" y="91"/>
                </a:lnTo>
                <a:lnTo>
                  <a:pt x="306" y="91"/>
                </a:lnTo>
                <a:lnTo>
                  <a:pt x="306" y="94"/>
                </a:lnTo>
                <a:lnTo>
                  <a:pt x="306" y="97"/>
                </a:lnTo>
                <a:lnTo>
                  <a:pt x="306" y="97"/>
                </a:lnTo>
                <a:lnTo>
                  <a:pt x="300" y="97"/>
                </a:lnTo>
                <a:lnTo>
                  <a:pt x="297" y="100"/>
                </a:lnTo>
                <a:lnTo>
                  <a:pt x="297" y="104"/>
                </a:lnTo>
                <a:lnTo>
                  <a:pt x="297" y="110"/>
                </a:lnTo>
                <a:lnTo>
                  <a:pt x="297" y="110"/>
                </a:lnTo>
                <a:lnTo>
                  <a:pt x="300" y="113"/>
                </a:lnTo>
                <a:lnTo>
                  <a:pt x="297" y="113"/>
                </a:lnTo>
                <a:lnTo>
                  <a:pt x="294" y="119"/>
                </a:lnTo>
                <a:lnTo>
                  <a:pt x="294" y="129"/>
                </a:lnTo>
                <a:lnTo>
                  <a:pt x="291" y="135"/>
                </a:lnTo>
                <a:lnTo>
                  <a:pt x="291" y="138"/>
                </a:lnTo>
                <a:lnTo>
                  <a:pt x="288" y="141"/>
                </a:lnTo>
                <a:lnTo>
                  <a:pt x="288" y="144"/>
                </a:lnTo>
                <a:lnTo>
                  <a:pt x="291" y="154"/>
                </a:lnTo>
                <a:lnTo>
                  <a:pt x="291" y="157"/>
                </a:lnTo>
                <a:lnTo>
                  <a:pt x="291" y="157"/>
                </a:lnTo>
                <a:lnTo>
                  <a:pt x="291" y="160"/>
                </a:lnTo>
                <a:lnTo>
                  <a:pt x="288" y="163"/>
                </a:lnTo>
                <a:lnTo>
                  <a:pt x="288" y="172"/>
                </a:lnTo>
                <a:lnTo>
                  <a:pt x="285" y="182"/>
                </a:lnTo>
                <a:lnTo>
                  <a:pt x="281" y="188"/>
                </a:lnTo>
                <a:lnTo>
                  <a:pt x="278" y="185"/>
                </a:lnTo>
                <a:lnTo>
                  <a:pt x="275" y="188"/>
                </a:lnTo>
                <a:lnTo>
                  <a:pt x="275" y="191"/>
                </a:lnTo>
                <a:lnTo>
                  <a:pt x="272" y="197"/>
                </a:lnTo>
                <a:lnTo>
                  <a:pt x="269" y="201"/>
                </a:lnTo>
                <a:lnTo>
                  <a:pt x="266" y="207"/>
                </a:lnTo>
                <a:lnTo>
                  <a:pt x="263" y="210"/>
                </a:lnTo>
                <a:lnTo>
                  <a:pt x="259" y="226"/>
                </a:lnTo>
                <a:lnTo>
                  <a:pt x="256" y="226"/>
                </a:lnTo>
                <a:lnTo>
                  <a:pt x="253" y="226"/>
                </a:lnTo>
                <a:lnTo>
                  <a:pt x="253" y="229"/>
                </a:lnTo>
                <a:lnTo>
                  <a:pt x="250" y="235"/>
                </a:lnTo>
                <a:lnTo>
                  <a:pt x="247" y="238"/>
                </a:lnTo>
                <a:lnTo>
                  <a:pt x="250" y="241"/>
                </a:lnTo>
                <a:lnTo>
                  <a:pt x="250" y="244"/>
                </a:lnTo>
                <a:lnTo>
                  <a:pt x="247" y="247"/>
                </a:lnTo>
                <a:lnTo>
                  <a:pt x="244" y="254"/>
                </a:lnTo>
                <a:lnTo>
                  <a:pt x="247" y="263"/>
                </a:lnTo>
                <a:lnTo>
                  <a:pt x="244" y="273"/>
                </a:lnTo>
                <a:lnTo>
                  <a:pt x="244" y="273"/>
                </a:lnTo>
                <a:lnTo>
                  <a:pt x="241" y="276"/>
                </a:lnTo>
                <a:lnTo>
                  <a:pt x="238" y="276"/>
                </a:lnTo>
                <a:lnTo>
                  <a:pt x="238" y="273"/>
                </a:lnTo>
                <a:lnTo>
                  <a:pt x="234" y="276"/>
                </a:lnTo>
                <a:lnTo>
                  <a:pt x="228" y="273"/>
                </a:lnTo>
                <a:lnTo>
                  <a:pt x="228" y="279"/>
                </a:lnTo>
                <a:lnTo>
                  <a:pt x="225" y="279"/>
                </a:lnTo>
                <a:lnTo>
                  <a:pt x="222" y="282"/>
                </a:lnTo>
                <a:lnTo>
                  <a:pt x="225" y="285"/>
                </a:lnTo>
                <a:lnTo>
                  <a:pt x="228" y="288"/>
                </a:lnTo>
                <a:lnTo>
                  <a:pt x="238" y="288"/>
                </a:lnTo>
                <a:lnTo>
                  <a:pt x="238" y="288"/>
                </a:lnTo>
                <a:lnTo>
                  <a:pt x="241" y="294"/>
                </a:lnTo>
                <a:lnTo>
                  <a:pt x="244" y="294"/>
                </a:lnTo>
                <a:lnTo>
                  <a:pt x="244" y="298"/>
                </a:lnTo>
                <a:lnTo>
                  <a:pt x="247" y="304"/>
                </a:lnTo>
                <a:lnTo>
                  <a:pt x="250" y="304"/>
                </a:lnTo>
                <a:lnTo>
                  <a:pt x="250" y="307"/>
                </a:lnTo>
                <a:lnTo>
                  <a:pt x="253" y="307"/>
                </a:lnTo>
                <a:lnTo>
                  <a:pt x="256" y="307"/>
                </a:lnTo>
                <a:lnTo>
                  <a:pt x="259" y="310"/>
                </a:lnTo>
                <a:lnTo>
                  <a:pt x="259" y="313"/>
                </a:lnTo>
                <a:lnTo>
                  <a:pt x="263" y="316"/>
                </a:lnTo>
                <a:lnTo>
                  <a:pt x="266" y="326"/>
                </a:lnTo>
                <a:lnTo>
                  <a:pt x="266" y="329"/>
                </a:lnTo>
                <a:lnTo>
                  <a:pt x="269" y="335"/>
                </a:lnTo>
                <a:lnTo>
                  <a:pt x="263" y="341"/>
                </a:lnTo>
                <a:lnTo>
                  <a:pt x="256" y="348"/>
                </a:lnTo>
                <a:lnTo>
                  <a:pt x="253" y="348"/>
                </a:lnTo>
                <a:lnTo>
                  <a:pt x="250" y="351"/>
                </a:lnTo>
                <a:lnTo>
                  <a:pt x="250" y="354"/>
                </a:lnTo>
                <a:lnTo>
                  <a:pt x="247" y="354"/>
                </a:lnTo>
                <a:lnTo>
                  <a:pt x="244" y="357"/>
                </a:lnTo>
                <a:lnTo>
                  <a:pt x="244" y="357"/>
                </a:lnTo>
                <a:lnTo>
                  <a:pt x="241" y="360"/>
                </a:lnTo>
                <a:lnTo>
                  <a:pt x="238" y="363"/>
                </a:lnTo>
                <a:lnTo>
                  <a:pt x="234" y="366"/>
                </a:lnTo>
                <a:lnTo>
                  <a:pt x="228" y="366"/>
                </a:lnTo>
                <a:lnTo>
                  <a:pt x="222" y="366"/>
                </a:lnTo>
                <a:lnTo>
                  <a:pt x="219" y="366"/>
                </a:lnTo>
                <a:lnTo>
                  <a:pt x="216" y="366"/>
                </a:lnTo>
                <a:lnTo>
                  <a:pt x="213" y="369"/>
                </a:lnTo>
                <a:lnTo>
                  <a:pt x="209" y="366"/>
                </a:lnTo>
                <a:lnTo>
                  <a:pt x="209" y="369"/>
                </a:lnTo>
                <a:lnTo>
                  <a:pt x="209" y="373"/>
                </a:lnTo>
                <a:lnTo>
                  <a:pt x="206" y="373"/>
                </a:lnTo>
                <a:lnTo>
                  <a:pt x="200" y="373"/>
                </a:lnTo>
                <a:lnTo>
                  <a:pt x="200" y="369"/>
                </a:lnTo>
                <a:lnTo>
                  <a:pt x="197" y="366"/>
                </a:lnTo>
                <a:lnTo>
                  <a:pt x="194" y="369"/>
                </a:lnTo>
                <a:lnTo>
                  <a:pt x="191" y="366"/>
                </a:lnTo>
                <a:lnTo>
                  <a:pt x="184" y="366"/>
                </a:lnTo>
                <a:lnTo>
                  <a:pt x="184" y="366"/>
                </a:lnTo>
                <a:lnTo>
                  <a:pt x="184" y="369"/>
                </a:lnTo>
                <a:lnTo>
                  <a:pt x="184" y="373"/>
                </a:lnTo>
                <a:lnTo>
                  <a:pt x="184" y="373"/>
                </a:lnTo>
                <a:lnTo>
                  <a:pt x="181" y="373"/>
                </a:lnTo>
                <a:lnTo>
                  <a:pt x="178" y="373"/>
                </a:lnTo>
                <a:lnTo>
                  <a:pt x="175" y="373"/>
                </a:lnTo>
                <a:lnTo>
                  <a:pt x="175" y="369"/>
                </a:lnTo>
                <a:lnTo>
                  <a:pt x="175" y="366"/>
                </a:lnTo>
                <a:lnTo>
                  <a:pt x="175" y="366"/>
                </a:lnTo>
                <a:lnTo>
                  <a:pt x="172" y="363"/>
                </a:lnTo>
                <a:lnTo>
                  <a:pt x="169" y="360"/>
                </a:lnTo>
                <a:lnTo>
                  <a:pt x="166" y="357"/>
                </a:lnTo>
                <a:lnTo>
                  <a:pt x="163" y="357"/>
                </a:lnTo>
                <a:lnTo>
                  <a:pt x="163" y="354"/>
                </a:lnTo>
                <a:lnTo>
                  <a:pt x="159" y="348"/>
                </a:lnTo>
                <a:lnTo>
                  <a:pt x="156" y="348"/>
                </a:lnTo>
                <a:lnTo>
                  <a:pt x="153" y="348"/>
                </a:lnTo>
                <a:lnTo>
                  <a:pt x="150" y="351"/>
                </a:lnTo>
                <a:lnTo>
                  <a:pt x="150" y="354"/>
                </a:lnTo>
                <a:lnTo>
                  <a:pt x="147" y="354"/>
                </a:lnTo>
                <a:lnTo>
                  <a:pt x="144" y="354"/>
                </a:lnTo>
                <a:lnTo>
                  <a:pt x="144" y="354"/>
                </a:lnTo>
                <a:lnTo>
                  <a:pt x="141" y="354"/>
                </a:lnTo>
                <a:lnTo>
                  <a:pt x="138" y="354"/>
                </a:lnTo>
                <a:lnTo>
                  <a:pt x="134" y="354"/>
                </a:lnTo>
                <a:lnTo>
                  <a:pt x="131" y="357"/>
                </a:lnTo>
                <a:lnTo>
                  <a:pt x="131" y="357"/>
                </a:lnTo>
                <a:lnTo>
                  <a:pt x="125" y="354"/>
                </a:lnTo>
                <a:lnTo>
                  <a:pt x="122" y="351"/>
                </a:lnTo>
                <a:lnTo>
                  <a:pt x="119" y="351"/>
                </a:lnTo>
                <a:lnTo>
                  <a:pt x="119" y="348"/>
                </a:lnTo>
                <a:lnTo>
                  <a:pt x="116" y="348"/>
                </a:lnTo>
                <a:lnTo>
                  <a:pt x="116" y="344"/>
                </a:lnTo>
                <a:lnTo>
                  <a:pt x="116" y="344"/>
                </a:lnTo>
                <a:lnTo>
                  <a:pt x="116" y="341"/>
                </a:lnTo>
                <a:lnTo>
                  <a:pt x="113" y="341"/>
                </a:lnTo>
                <a:lnTo>
                  <a:pt x="109" y="338"/>
                </a:lnTo>
                <a:lnTo>
                  <a:pt x="106" y="335"/>
                </a:lnTo>
                <a:lnTo>
                  <a:pt x="106" y="329"/>
                </a:lnTo>
                <a:lnTo>
                  <a:pt x="106" y="329"/>
                </a:lnTo>
                <a:lnTo>
                  <a:pt x="103" y="326"/>
                </a:lnTo>
                <a:lnTo>
                  <a:pt x="97" y="323"/>
                </a:lnTo>
                <a:lnTo>
                  <a:pt x="97" y="323"/>
                </a:lnTo>
                <a:lnTo>
                  <a:pt x="97" y="319"/>
                </a:lnTo>
                <a:lnTo>
                  <a:pt x="94" y="316"/>
                </a:lnTo>
                <a:lnTo>
                  <a:pt x="91" y="316"/>
                </a:lnTo>
                <a:lnTo>
                  <a:pt x="88" y="313"/>
                </a:lnTo>
                <a:lnTo>
                  <a:pt x="88" y="307"/>
                </a:lnTo>
                <a:lnTo>
                  <a:pt x="88" y="307"/>
                </a:lnTo>
                <a:lnTo>
                  <a:pt x="81" y="301"/>
                </a:lnTo>
                <a:lnTo>
                  <a:pt x="78" y="301"/>
                </a:lnTo>
                <a:lnTo>
                  <a:pt x="75" y="301"/>
                </a:lnTo>
                <a:lnTo>
                  <a:pt x="75" y="301"/>
                </a:lnTo>
                <a:lnTo>
                  <a:pt x="72" y="301"/>
                </a:lnTo>
                <a:lnTo>
                  <a:pt x="66" y="298"/>
                </a:lnTo>
                <a:lnTo>
                  <a:pt x="69" y="294"/>
                </a:lnTo>
                <a:lnTo>
                  <a:pt x="69" y="294"/>
                </a:lnTo>
                <a:lnTo>
                  <a:pt x="72" y="291"/>
                </a:lnTo>
                <a:lnTo>
                  <a:pt x="72" y="288"/>
                </a:lnTo>
                <a:lnTo>
                  <a:pt x="72" y="285"/>
                </a:lnTo>
                <a:lnTo>
                  <a:pt x="69" y="285"/>
                </a:lnTo>
                <a:lnTo>
                  <a:pt x="63" y="285"/>
                </a:lnTo>
                <a:lnTo>
                  <a:pt x="63" y="282"/>
                </a:lnTo>
                <a:lnTo>
                  <a:pt x="59" y="279"/>
                </a:lnTo>
                <a:lnTo>
                  <a:pt x="56" y="279"/>
                </a:lnTo>
                <a:lnTo>
                  <a:pt x="53" y="279"/>
                </a:lnTo>
                <a:lnTo>
                  <a:pt x="47" y="276"/>
                </a:lnTo>
                <a:lnTo>
                  <a:pt x="47" y="273"/>
                </a:lnTo>
                <a:lnTo>
                  <a:pt x="50" y="269"/>
                </a:lnTo>
                <a:lnTo>
                  <a:pt x="47" y="266"/>
                </a:lnTo>
                <a:lnTo>
                  <a:pt x="41" y="266"/>
                </a:lnTo>
                <a:lnTo>
                  <a:pt x="41" y="269"/>
                </a:lnTo>
                <a:lnTo>
                  <a:pt x="34" y="269"/>
                </a:lnTo>
                <a:lnTo>
                  <a:pt x="31" y="266"/>
                </a:lnTo>
                <a:lnTo>
                  <a:pt x="31" y="260"/>
                </a:lnTo>
                <a:lnTo>
                  <a:pt x="34" y="257"/>
                </a:lnTo>
                <a:lnTo>
                  <a:pt x="34" y="254"/>
                </a:lnTo>
                <a:lnTo>
                  <a:pt x="34" y="251"/>
                </a:lnTo>
                <a:lnTo>
                  <a:pt x="34" y="247"/>
                </a:lnTo>
                <a:lnTo>
                  <a:pt x="31" y="241"/>
                </a:lnTo>
                <a:lnTo>
                  <a:pt x="25" y="232"/>
                </a:lnTo>
                <a:lnTo>
                  <a:pt x="25" y="232"/>
                </a:lnTo>
                <a:lnTo>
                  <a:pt x="22" y="229"/>
                </a:lnTo>
                <a:lnTo>
                  <a:pt x="22" y="226"/>
                </a:lnTo>
                <a:lnTo>
                  <a:pt x="22" y="222"/>
                </a:lnTo>
                <a:lnTo>
                  <a:pt x="19" y="222"/>
                </a:lnTo>
                <a:lnTo>
                  <a:pt x="19" y="219"/>
                </a:lnTo>
                <a:lnTo>
                  <a:pt x="19" y="216"/>
                </a:lnTo>
                <a:lnTo>
                  <a:pt x="22" y="216"/>
                </a:lnTo>
                <a:lnTo>
                  <a:pt x="19" y="213"/>
                </a:lnTo>
                <a:lnTo>
                  <a:pt x="13" y="210"/>
                </a:lnTo>
                <a:lnTo>
                  <a:pt x="13" y="207"/>
                </a:lnTo>
                <a:lnTo>
                  <a:pt x="13" y="201"/>
                </a:lnTo>
                <a:lnTo>
                  <a:pt x="9" y="197"/>
                </a:lnTo>
                <a:lnTo>
                  <a:pt x="13" y="194"/>
                </a:lnTo>
                <a:lnTo>
                  <a:pt x="9" y="194"/>
                </a:lnTo>
                <a:lnTo>
                  <a:pt x="9" y="191"/>
                </a:lnTo>
                <a:lnTo>
                  <a:pt x="9" y="188"/>
                </a:lnTo>
                <a:lnTo>
                  <a:pt x="9" y="188"/>
                </a:lnTo>
                <a:lnTo>
                  <a:pt x="3" y="191"/>
                </a:lnTo>
                <a:lnTo>
                  <a:pt x="0" y="188"/>
                </a:lnTo>
                <a:lnTo>
                  <a:pt x="0" y="185"/>
                </a:lnTo>
                <a:lnTo>
                  <a:pt x="6" y="179"/>
                </a:lnTo>
                <a:lnTo>
                  <a:pt x="9" y="176"/>
                </a:lnTo>
                <a:lnTo>
                  <a:pt x="9" y="172"/>
                </a:lnTo>
                <a:lnTo>
                  <a:pt x="6" y="169"/>
                </a:lnTo>
                <a:lnTo>
                  <a:pt x="6" y="166"/>
                </a:lnTo>
                <a:lnTo>
                  <a:pt x="9" y="163"/>
                </a:lnTo>
                <a:lnTo>
                  <a:pt x="13" y="160"/>
                </a:lnTo>
                <a:lnTo>
                  <a:pt x="9" y="157"/>
                </a:lnTo>
                <a:lnTo>
                  <a:pt x="9" y="154"/>
                </a:lnTo>
                <a:lnTo>
                  <a:pt x="13" y="151"/>
                </a:lnTo>
                <a:lnTo>
                  <a:pt x="16" y="151"/>
                </a:lnTo>
                <a:lnTo>
                  <a:pt x="22" y="144"/>
                </a:lnTo>
                <a:lnTo>
                  <a:pt x="25" y="138"/>
                </a:lnTo>
                <a:lnTo>
                  <a:pt x="22" y="135"/>
                </a:lnTo>
                <a:lnTo>
                  <a:pt x="22" y="132"/>
                </a:lnTo>
                <a:lnTo>
                  <a:pt x="25" y="129"/>
                </a:lnTo>
                <a:lnTo>
                  <a:pt x="31" y="129"/>
                </a:lnTo>
                <a:lnTo>
                  <a:pt x="34" y="129"/>
                </a:lnTo>
                <a:lnTo>
                  <a:pt x="38" y="129"/>
                </a:lnTo>
                <a:lnTo>
                  <a:pt x="41" y="125"/>
                </a:lnTo>
                <a:lnTo>
                  <a:pt x="41" y="50"/>
                </a:lnTo>
                <a:lnTo>
                  <a:pt x="41" y="50"/>
                </a:lnTo>
                <a:lnTo>
                  <a:pt x="41" y="41"/>
                </a:lnTo>
                <a:lnTo>
                  <a:pt x="59" y="41"/>
                </a:lnTo>
                <a:lnTo>
                  <a:pt x="56"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7" name="Freeform 105">
            <a:extLst>
              <a:ext uri="{FF2B5EF4-FFF2-40B4-BE49-F238E27FC236}">
                <a16:creationId xmlns:a16="http://schemas.microsoft.com/office/drawing/2014/main" id="{78091744-904B-AC32-4490-3FC354D2570E}"/>
              </a:ext>
            </a:extLst>
          </p:cNvPr>
          <p:cNvSpPr>
            <a:spLocks/>
          </p:cNvSpPr>
          <p:nvPr userDrawn="1"/>
        </p:nvSpPr>
        <p:spPr bwMode="auto">
          <a:xfrm>
            <a:off x="15223130" y="8432081"/>
            <a:ext cx="952440" cy="727078"/>
          </a:xfrm>
          <a:custGeom>
            <a:avLst/>
            <a:gdLst>
              <a:gd name="T0" fmla="*/ 44 w 300"/>
              <a:gd name="T1" fmla="*/ 182 h 229"/>
              <a:gd name="T2" fmla="*/ 37 w 300"/>
              <a:gd name="T3" fmla="*/ 166 h 229"/>
              <a:gd name="T4" fmla="*/ 28 w 300"/>
              <a:gd name="T5" fmla="*/ 163 h 229"/>
              <a:gd name="T6" fmla="*/ 22 w 300"/>
              <a:gd name="T7" fmla="*/ 154 h 229"/>
              <a:gd name="T8" fmla="*/ 16 w 300"/>
              <a:gd name="T9" fmla="*/ 144 h 229"/>
              <a:gd name="T10" fmla="*/ 3 w 300"/>
              <a:gd name="T11" fmla="*/ 141 h 229"/>
              <a:gd name="T12" fmla="*/ 6 w 300"/>
              <a:gd name="T13" fmla="*/ 135 h 229"/>
              <a:gd name="T14" fmla="*/ 16 w 300"/>
              <a:gd name="T15" fmla="*/ 129 h 229"/>
              <a:gd name="T16" fmla="*/ 22 w 300"/>
              <a:gd name="T17" fmla="*/ 129 h 229"/>
              <a:gd name="T18" fmla="*/ 22 w 300"/>
              <a:gd name="T19" fmla="*/ 110 h 229"/>
              <a:gd name="T20" fmla="*/ 28 w 300"/>
              <a:gd name="T21" fmla="*/ 97 h 229"/>
              <a:gd name="T22" fmla="*/ 31 w 300"/>
              <a:gd name="T23" fmla="*/ 85 h 229"/>
              <a:gd name="T24" fmla="*/ 37 w 300"/>
              <a:gd name="T25" fmla="*/ 82 h 229"/>
              <a:gd name="T26" fmla="*/ 47 w 300"/>
              <a:gd name="T27" fmla="*/ 57 h 229"/>
              <a:gd name="T28" fmla="*/ 53 w 300"/>
              <a:gd name="T29" fmla="*/ 44 h 229"/>
              <a:gd name="T30" fmla="*/ 63 w 300"/>
              <a:gd name="T31" fmla="*/ 38 h 229"/>
              <a:gd name="T32" fmla="*/ 69 w 300"/>
              <a:gd name="T33" fmla="*/ 16 h 229"/>
              <a:gd name="T34" fmla="*/ 78 w 300"/>
              <a:gd name="T35" fmla="*/ 13 h 229"/>
              <a:gd name="T36" fmla="*/ 88 w 300"/>
              <a:gd name="T37" fmla="*/ 0 h 229"/>
              <a:gd name="T38" fmla="*/ 97 w 300"/>
              <a:gd name="T39" fmla="*/ 7 h 229"/>
              <a:gd name="T40" fmla="*/ 109 w 300"/>
              <a:gd name="T41" fmla="*/ 3 h 229"/>
              <a:gd name="T42" fmla="*/ 116 w 300"/>
              <a:gd name="T43" fmla="*/ 3 h 229"/>
              <a:gd name="T44" fmla="*/ 125 w 300"/>
              <a:gd name="T45" fmla="*/ 7 h 229"/>
              <a:gd name="T46" fmla="*/ 138 w 300"/>
              <a:gd name="T47" fmla="*/ 13 h 229"/>
              <a:gd name="T48" fmla="*/ 150 w 300"/>
              <a:gd name="T49" fmla="*/ 22 h 229"/>
              <a:gd name="T50" fmla="*/ 156 w 300"/>
              <a:gd name="T51" fmla="*/ 25 h 229"/>
              <a:gd name="T52" fmla="*/ 172 w 300"/>
              <a:gd name="T53" fmla="*/ 35 h 229"/>
              <a:gd name="T54" fmla="*/ 175 w 300"/>
              <a:gd name="T55" fmla="*/ 47 h 229"/>
              <a:gd name="T56" fmla="*/ 181 w 300"/>
              <a:gd name="T57" fmla="*/ 53 h 229"/>
              <a:gd name="T58" fmla="*/ 178 w 300"/>
              <a:gd name="T59" fmla="*/ 69 h 229"/>
              <a:gd name="T60" fmla="*/ 172 w 300"/>
              <a:gd name="T61" fmla="*/ 78 h 229"/>
              <a:gd name="T62" fmla="*/ 188 w 300"/>
              <a:gd name="T63" fmla="*/ 78 h 229"/>
              <a:gd name="T64" fmla="*/ 194 w 300"/>
              <a:gd name="T65" fmla="*/ 82 h 229"/>
              <a:gd name="T66" fmla="*/ 203 w 300"/>
              <a:gd name="T67" fmla="*/ 103 h 229"/>
              <a:gd name="T68" fmla="*/ 213 w 300"/>
              <a:gd name="T69" fmla="*/ 116 h 229"/>
              <a:gd name="T70" fmla="*/ 300 w 300"/>
              <a:gd name="T71" fmla="*/ 138 h 229"/>
              <a:gd name="T72" fmla="*/ 216 w 300"/>
              <a:gd name="T73" fmla="*/ 197 h 229"/>
              <a:gd name="T74" fmla="*/ 203 w 300"/>
              <a:gd name="T75" fmla="*/ 204 h 229"/>
              <a:gd name="T76" fmla="*/ 194 w 300"/>
              <a:gd name="T77" fmla="*/ 213 h 229"/>
              <a:gd name="T78" fmla="*/ 178 w 300"/>
              <a:gd name="T79" fmla="*/ 219 h 229"/>
              <a:gd name="T80" fmla="*/ 166 w 300"/>
              <a:gd name="T81" fmla="*/ 219 h 229"/>
              <a:gd name="T82" fmla="*/ 156 w 300"/>
              <a:gd name="T83" fmla="*/ 213 h 229"/>
              <a:gd name="T84" fmla="*/ 144 w 300"/>
              <a:gd name="T85" fmla="*/ 216 h 229"/>
              <a:gd name="T86" fmla="*/ 131 w 300"/>
              <a:gd name="T87" fmla="*/ 229 h 229"/>
              <a:gd name="T88" fmla="*/ 122 w 300"/>
              <a:gd name="T89" fmla="*/ 225 h 229"/>
              <a:gd name="T90" fmla="*/ 106 w 300"/>
              <a:gd name="T91" fmla="*/ 225 h 229"/>
              <a:gd name="T92" fmla="*/ 94 w 300"/>
              <a:gd name="T93" fmla="*/ 216 h 229"/>
              <a:gd name="T94" fmla="*/ 72 w 300"/>
              <a:gd name="T95" fmla="*/ 207 h 229"/>
              <a:gd name="T96" fmla="*/ 59 w 300"/>
              <a:gd name="T97" fmla="*/ 207 h 229"/>
              <a:gd name="T98" fmla="*/ 53 w 300"/>
              <a:gd name="T99" fmla="*/ 191 h 229"/>
              <a:gd name="T100" fmla="*/ 47 w 300"/>
              <a:gd name="T101" fmla="*/ 19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229">
                <a:moveTo>
                  <a:pt x="47" y="191"/>
                </a:moveTo>
                <a:lnTo>
                  <a:pt x="44" y="185"/>
                </a:lnTo>
                <a:lnTo>
                  <a:pt x="44" y="182"/>
                </a:lnTo>
                <a:lnTo>
                  <a:pt x="41" y="172"/>
                </a:lnTo>
                <a:lnTo>
                  <a:pt x="37" y="169"/>
                </a:lnTo>
                <a:lnTo>
                  <a:pt x="37" y="166"/>
                </a:lnTo>
                <a:lnTo>
                  <a:pt x="34" y="163"/>
                </a:lnTo>
                <a:lnTo>
                  <a:pt x="31" y="163"/>
                </a:lnTo>
                <a:lnTo>
                  <a:pt x="28" y="163"/>
                </a:lnTo>
                <a:lnTo>
                  <a:pt x="28" y="160"/>
                </a:lnTo>
                <a:lnTo>
                  <a:pt x="25" y="160"/>
                </a:lnTo>
                <a:lnTo>
                  <a:pt x="22" y="154"/>
                </a:lnTo>
                <a:lnTo>
                  <a:pt x="22" y="150"/>
                </a:lnTo>
                <a:lnTo>
                  <a:pt x="19" y="150"/>
                </a:lnTo>
                <a:lnTo>
                  <a:pt x="16" y="144"/>
                </a:lnTo>
                <a:lnTo>
                  <a:pt x="16" y="144"/>
                </a:lnTo>
                <a:lnTo>
                  <a:pt x="6" y="144"/>
                </a:lnTo>
                <a:lnTo>
                  <a:pt x="3" y="141"/>
                </a:lnTo>
                <a:lnTo>
                  <a:pt x="0" y="138"/>
                </a:lnTo>
                <a:lnTo>
                  <a:pt x="3" y="135"/>
                </a:lnTo>
                <a:lnTo>
                  <a:pt x="6" y="135"/>
                </a:lnTo>
                <a:lnTo>
                  <a:pt x="6" y="129"/>
                </a:lnTo>
                <a:lnTo>
                  <a:pt x="12" y="132"/>
                </a:lnTo>
                <a:lnTo>
                  <a:pt x="16" y="129"/>
                </a:lnTo>
                <a:lnTo>
                  <a:pt x="16" y="132"/>
                </a:lnTo>
                <a:lnTo>
                  <a:pt x="19" y="132"/>
                </a:lnTo>
                <a:lnTo>
                  <a:pt x="22" y="129"/>
                </a:lnTo>
                <a:lnTo>
                  <a:pt x="22" y="129"/>
                </a:lnTo>
                <a:lnTo>
                  <a:pt x="25" y="119"/>
                </a:lnTo>
                <a:lnTo>
                  <a:pt x="22" y="110"/>
                </a:lnTo>
                <a:lnTo>
                  <a:pt x="25" y="103"/>
                </a:lnTo>
                <a:lnTo>
                  <a:pt x="28" y="100"/>
                </a:lnTo>
                <a:lnTo>
                  <a:pt x="28" y="97"/>
                </a:lnTo>
                <a:lnTo>
                  <a:pt x="25" y="94"/>
                </a:lnTo>
                <a:lnTo>
                  <a:pt x="28" y="91"/>
                </a:lnTo>
                <a:lnTo>
                  <a:pt x="31" y="85"/>
                </a:lnTo>
                <a:lnTo>
                  <a:pt x="31" y="82"/>
                </a:lnTo>
                <a:lnTo>
                  <a:pt x="34" y="82"/>
                </a:lnTo>
                <a:lnTo>
                  <a:pt x="37" y="82"/>
                </a:lnTo>
                <a:lnTo>
                  <a:pt x="41" y="66"/>
                </a:lnTo>
                <a:lnTo>
                  <a:pt x="44" y="63"/>
                </a:lnTo>
                <a:lnTo>
                  <a:pt x="47" y="57"/>
                </a:lnTo>
                <a:lnTo>
                  <a:pt x="50" y="53"/>
                </a:lnTo>
                <a:lnTo>
                  <a:pt x="53" y="47"/>
                </a:lnTo>
                <a:lnTo>
                  <a:pt x="53" y="44"/>
                </a:lnTo>
                <a:lnTo>
                  <a:pt x="56" y="41"/>
                </a:lnTo>
                <a:lnTo>
                  <a:pt x="59" y="44"/>
                </a:lnTo>
                <a:lnTo>
                  <a:pt x="63" y="38"/>
                </a:lnTo>
                <a:lnTo>
                  <a:pt x="66" y="28"/>
                </a:lnTo>
                <a:lnTo>
                  <a:pt x="66" y="19"/>
                </a:lnTo>
                <a:lnTo>
                  <a:pt x="69" y="16"/>
                </a:lnTo>
                <a:lnTo>
                  <a:pt x="69" y="13"/>
                </a:lnTo>
                <a:lnTo>
                  <a:pt x="72" y="13"/>
                </a:lnTo>
                <a:lnTo>
                  <a:pt x="78" y="13"/>
                </a:lnTo>
                <a:lnTo>
                  <a:pt x="78" y="13"/>
                </a:lnTo>
                <a:lnTo>
                  <a:pt x="81" y="13"/>
                </a:lnTo>
                <a:lnTo>
                  <a:pt x="88" y="0"/>
                </a:lnTo>
                <a:lnTo>
                  <a:pt x="88" y="3"/>
                </a:lnTo>
                <a:lnTo>
                  <a:pt x="91" y="3"/>
                </a:lnTo>
                <a:lnTo>
                  <a:pt x="97" y="7"/>
                </a:lnTo>
                <a:lnTo>
                  <a:pt x="100" y="7"/>
                </a:lnTo>
                <a:lnTo>
                  <a:pt x="106" y="3"/>
                </a:lnTo>
                <a:lnTo>
                  <a:pt x="109" y="3"/>
                </a:lnTo>
                <a:lnTo>
                  <a:pt x="113" y="7"/>
                </a:lnTo>
                <a:lnTo>
                  <a:pt x="113" y="3"/>
                </a:lnTo>
                <a:lnTo>
                  <a:pt x="116" y="3"/>
                </a:lnTo>
                <a:lnTo>
                  <a:pt x="122" y="10"/>
                </a:lnTo>
                <a:lnTo>
                  <a:pt x="122" y="10"/>
                </a:lnTo>
                <a:lnTo>
                  <a:pt x="125" y="7"/>
                </a:lnTo>
                <a:lnTo>
                  <a:pt x="131" y="10"/>
                </a:lnTo>
                <a:lnTo>
                  <a:pt x="134" y="13"/>
                </a:lnTo>
                <a:lnTo>
                  <a:pt x="138" y="13"/>
                </a:lnTo>
                <a:lnTo>
                  <a:pt x="144" y="19"/>
                </a:lnTo>
                <a:lnTo>
                  <a:pt x="144" y="22"/>
                </a:lnTo>
                <a:lnTo>
                  <a:pt x="150" y="22"/>
                </a:lnTo>
                <a:lnTo>
                  <a:pt x="150" y="22"/>
                </a:lnTo>
                <a:lnTo>
                  <a:pt x="156" y="25"/>
                </a:lnTo>
                <a:lnTo>
                  <a:pt x="156" y="25"/>
                </a:lnTo>
                <a:lnTo>
                  <a:pt x="163" y="28"/>
                </a:lnTo>
                <a:lnTo>
                  <a:pt x="166" y="35"/>
                </a:lnTo>
                <a:lnTo>
                  <a:pt x="172" y="35"/>
                </a:lnTo>
                <a:lnTo>
                  <a:pt x="175" y="41"/>
                </a:lnTo>
                <a:lnTo>
                  <a:pt x="175" y="44"/>
                </a:lnTo>
                <a:lnTo>
                  <a:pt x="175" y="47"/>
                </a:lnTo>
                <a:lnTo>
                  <a:pt x="178" y="47"/>
                </a:lnTo>
                <a:lnTo>
                  <a:pt x="184" y="53"/>
                </a:lnTo>
                <a:lnTo>
                  <a:pt x="181" y="53"/>
                </a:lnTo>
                <a:lnTo>
                  <a:pt x="178" y="60"/>
                </a:lnTo>
                <a:lnTo>
                  <a:pt x="178" y="63"/>
                </a:lnTo>
                <a:lnTo>
                  <a:pt x="178" y="69"/>
                </a:lnTo>
                <a:lnTo>
                  <a:pt x="175" y="72"/>
                </a:lnTo>
                <a:lnTo>
                  <a:pt x="175" y="75"/>
                </a:lnTo>
                <a:lnTo>
                  <a:pt x="172" y="78"/>
                </a:lnTo>
                <a:lnTo>
                  <a:pt x="175" y="82"/>
                </a:lnTo>
                <a:lnTo>
                  <a:pt x="181" y="82"/>
                </a:lnTo>
                <a:lnTo>
                  <a:pt x="188" y="78"/>
                </a:lnTo>
                <a:lnTo>
                  <a:pt x="191" y="78"/>
                </a:lnTo>
                <a:lnTo>
                  <a:pt x="197" y="78"/>
                </a:lnTo>
                <a:lnTo>
                  <a:pt x="194" y="82"/>
                </a:lnTo>
                <a:lnTo>
                  <a:pt x="197" y="88"/>
                </a:lnTo>
                <a:lnTo>
                  <a:pt x="200" y="100"/>
                </a:lnTo>
                <a:lnTo>
                  <a:pt x="203" y="103"/>
                </a:lnTo>
                <a:lnTo>
                  <a:pt x="203" y="110"/>
                </a:lnTo>
                <a:lnTo>
                  <a:pt x="206" y="113"/>
                </a:lnTo>
                <a:lnTo>
                  <a:pt x="213" y="116"/>
                </a:lnTo>
                <a:lnTo>
                  <a:pt x="219" y="119"/>
                </a:lnTo>
                <a:lnTo>
                  <a:pt x="275" y="138"/>
                </a:lnTo>
                <a:lnTo>
                  <a:pt x="300" y="138"/>
                </a:lnTo>
                <a:lnTo>
                  <a:pt x="241" y="197"/>
                </a:lnTo>
                <a:lnTo>
                  <a:pt x="228" y="197"/>
                </a:lnTo>
                <a:lnTo>
                  <a:pt x="216" y="197"/>
                </a:lnTo>
                <a:lnTo>
                  <a:pt x="213" y="200"/>
                </a:lnTo>
                <a:lnTo>
                  <a:pt x="209" y="200"/>
                </a:lnTo>
                <a:lnTo>
                  <a:pt x="203" y="204"/>
                </a:lnTo>
                <a:lnTo>
                  <a:pt x="203" y="207"/>
                </a:lnTo>
                <a:lnTo>
                  <a:pt x="197" y="210"/>
                </a:lnTo>
                <a:lnTo>
                  <a:pt x="194" y="213"/>
                </a:lnTo>
                <a:lnTo>
                  <a:pt x="188" y="213"/>
                </a:lnTo>
                <a:lnTo>
                  <a:pt x="181" y="216"/>
                </a:lnTo>
                <a:lnTo>
                  <a:pt x="178" y="219"/>
                </a:lnTo>
                <a:lnTo>
                  <a:pt x="178" y="219"/>
                </a:lnTo>
                <a:lnTo>
                  <a:pt x="172" y="219"/>
                </a:lnTo>
                <a:lnTo>
                  <a:pt x="166" y="219"/>
                </a:lnTo>
                <a:lnTo>
                  <a:pt x="163" y="219"/>
                </a:lnTo>
                <a:lnTo>
                  <a:pt x="159" y="216"/>
                </a:lnTo>
                <a:lnTo>
                  <a:pt x="156" y="213"/>
                </a:lnTo>
                <a:lnTo>
                  <a:pt x="147" y="213"/>
                </a:lnTo>
                <a:lnTo>
                  <a:pt x="147" y="216"/>
                </a:lnTo>
                <a:lnTo>
                  <a:pt x="144" y="216"/>
                </a:lnTo>
                <a:lnTo>
                  <a:pt x="141" y="216"/>
                </a:lnTo>
                <a:lnTo>
                  <a:pt x="138" y="219"/>
                </a:lnTo>
                <a:lnTo>
                  <a:pt x="131" y="229"/>
                </a:lnTo>
                <a:lnTo>
                  <a:pt x="128" y="229"/>
                </a:lnTo>
                <a:lnTo>
                  <a:pt x="125" y="229"/>
                </a:lnTo>
                <a:lnTo>
                  <a:pt x="122" y="225"/>
                </a:lnTo>
                <a:lnTo>
                  <a:pt x="116" y="229"/>
                </a:lnTo>
                <a:lnTo>
                  <a:pt x="113" y="225"/>
                </a:lnTo>
                <a:lnTo>
                  <a:pt x="106" y="225"/>
                </a:lnTo>
                <a:lnTo>
                  <a:pt x="103" y="225"/>
                </a:lnTo>
                <a:lnTo>
                  <a:pt x="100" y="222"/>
                </a:lnTo>
                <a:lnTo>
                  <a:pt x="94" y="216"/>
                </a:lnTo>
                <a:lnTo>
                  <a:pt x="88" y="210"/>
                </a:lnTo>
                <a:lnTo>
                  <a:pt x="81" y="207"/>
                </a:lnTo>
                <a:lnTo>
                  <a:pt x="72" y="207"/>
                </a:lnTo>
                <a:lnTo>
                  <a:pt x="69" y="207"/>
                </a:lnTo>
                <a:lnTo>
                  <a:pt x="63" y="210"/>
                </a:lnTo>
                <a:lnTo>
                  <a:pt x="59" y="207"/>
                </a:lnTo>
                <a:lnTo>
                  <a:pt x="56" y="204"/>
                </a:lnTo>
                <a:lnTo>
                  <a:pt x="56" y="191"/>
                </a:lnTo>
                <a:lnTo>
                  <a:pt x="53" y="191"/>
                </a:lnTo>
                <a:lnTo>
                  <a:pt x="50" y="191"/>
                </a:lnTo>
                <a:lnTo>
                  <a:pt x="47" y="188"/>
                </a:lnTo>
                <a:lnTo>
                  <a:pt x="47" y="191"/>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8" name="Freeform 106">
            <a:extLst>
              <a:ext uri="{FF2B5EF4-FFF2-40B4-BE49-F238E27FC236}">
                <a16:creationId xmlns:a16="http://schemas.microsoft.com/office/drawing/2014/main" id="{A33C3AF8-0FFA-0F1B-D757-BDDA8E465DDB}"/>
              </a:ext>
            </a:extLst>
          </p:cNvPr>
          <p:cNvSpPr>
            <a:spLocks/>
          </p:cNvSpPr>
          <p:nvPr userDrawn="1"/>
        </p:nvSpPr>
        <p:spPr bwMode="auto">
          <a:xfrm>
            <a:off x="15432668" y="8235233"/>
            <a:ext cx="415899" cy="365126"/>
          </a:xfrm>
          <a:custGeom>
            <a:avLst/>
            <a:gdLst>
              <a:gd name="T0" fmla="*/ 112 w 131"/>
              <a:gd name="T1" fmla="*/ 109 h 115"/>
              <a:gd name="T2" fmla="*/ 109 w 131"/>
              <a:gd name="T3" fmla="*/ 106 h 115"/>
              <a:gd name="T4" fmla="*/ 106 w 131"/>
              <a:gd name="T5" fmla="*/ 97 h 115"/>
              <a:gd name="T6" fmla="*/ 97 w 131"/>
              <a:gd name="T7" fmla="*/ 90 h 115"/>
              <a:gd name="T8" fmla="*/ 90 w 131"/>
              <a:gd name="T9" fmla="*/ 87 h 115"/>
              <a:gd name="T10" fmla="*/ 84 w 131"/>
              <a:gd name="T11" fmla="*/ 84 h 115"/>
              <a:gd name="T12" fmla="*/ 78 w 131"/>
              <a:gd name="T13" fmla="*/ 81 h 115"/>
              <a:gd name="T14" fmla="*/ 68 w 131"/>
              <a:gd name="T15" fmla="*/ 75 h 115"/>
              <a:gd name="T16" fmla="*/ 59 w 131"/>
              <a:gd name="T17" fmla="*/ 69 h 115"/>
              <a:gd name="T18" fmla="*/ 56 w 131"/>
              <a:gd name="T19" fmla="*/ 72 h 115"/>
              <a:gd name="T20" fmla="*/ 47 w 131"/>
              <a:gd name="T21" fmla="*/ 65 h 115"/>
              <a:gd name="T22" fmla="*/ 43 w 131"/>
              <a:gd name="T23" fmla="*/ 65 h 115"/>
              <a:gd name="T24" fmla="*/ 34 w 131"/>
              <a:gd name="T25" fmla="*/ 69 h 115"/>
              <a:gd name="T26" fmla="*/ 25 w 131"/>
              <a:gd name="T27" fmla="*/ 65 h 115"/>
              <a:gd name="T28" fmla="*/ 22 w 131"/>
              <a:gd name="T29" fmla="*/ 62 h 115"/>
              <a:gd name="T30" fmla="*/ 12 w 131"/>
              <a:gd name="T31" fmla="*/ 75 h 115"/>
              <a:gd name="T32" fmla="*/ 6 w 131"/>
              <a:gd name="T33" fmla="*/ 75 h 115"/>
              <a:gd name="T34" fmla="*/ 3 w 131"/>
              <a:gd name="T35" fmla="*/ 72 h 115"/>
              <a:gd name="T36" fmla="*/ 0 w 131"/>
              <a:gd name="T37" fmla="*/ 59 h 115"/>
              <a:gd name="T38" fmla="*/ 3 w 131"/>
              <a:gd name="T39" fmla="*/ 53 h 115"/>
              <a:gd name="T40" fmla="*/ 6 w 131"/>
              <a:gd name="T41" fmla="*/ 37 h 115"/>
              <a:gd name="T42" fmla="*/ 12 w 131"/>
              <a:gd name="T43" fmla="*/ 31 h 115"/>
              <a:gd name="T44" fmla="*/ 9 w 131"/>
              <a:gd name="T45" fmla="*/ 28 h 115"/>
              <a:gd name="T46" fmla="*/ 9 w 131"/>
              <a:gd name="T47" fmla="*/ 18 h 115"/>
              <a:gd name="T48" fmla="*/ 18 w 131"/>
              <a:gd name="T49" fmla="*/ 15 h 115"/>
              <a:gd name="T50" fmla="*/ 18 w 131"/>
              <a:gd name="T51" fmla="*/ 12 h 115"/>
              <a:gd name="T52" fmla="*/ 22 w 131"/>
              <a:gd name="T53" fmla="*/ 9 h 115"/>
              <a:gd name="T54" fmla="*/ 28 w 131"/>
              <a:gd name="T55" fmla="*/ 9 h 115"/>
              <a:gd name="T56" fmla="*/ 34 w 131"/>
              <a:gd name="T57" fmla="*/ 6 h 115"/>
              <a:gd name="T58" fmla="*/ 37 w 131"/>
              <a:gd name="T59" fmla="*/ 0 h 115"/>
              <a:gd name="T60" fmla="*/ 43 w 131"/>
              <a:gd name="T61" fmla="*/ 3 h 115"/>
              <a:gd name="T62" fmla="*/ 53 w 131"/>
              <a:gd name="T63" fmla="*/ 40 h 115"/>
              <a:gd name="T64" fmla="*/ 56 w 131"/>
              <a:gd name="T65" fmla="*/ 47 h 115"/>
              <a:gd name="T66" fmla="*/ 59 w 131"/>
              <a:gd name="T67" fmla="*/ 47 h 115"/>
              <a:gd name="T68" fmla="*/ 62 w 131"/>
              <a:gd name="T69" fmla="*/ 59 h 115"/>
              <a:gd name="T70" fmla="*/ 65 w 131"/>
              <a:gd name="T71" fmla="*/ 53 h 115"/>
              <a:gd name="T72" fmla="*/ 65 w 131"/>
              <a:gd name="T73" fmla="*/ 50 h 115"/>
              <a:gd name="T74" fmla="*/ 68 w 131"/>
              <a:gd name="T75" fmla="*/ 53 h 115"/>
              <a:gd name="T76" fmla="*/ 72 w 131"/>
              <a:gd name="T77" fmla="*/ 59 h 115"/>
              <a:gd name="T78" fmla="*/ 75 w 131"/>
              <a:gd name="T79" fmla="*/ 62 h 115"/>
              <a:gd name="T80" fmla="*/ 81 w 131"/>
              <a:gd name="T81" fmla="*/ 62 h 115"/>
              <a:gd name="T82" fmla="*/ 87 w 131"/>
              <a:gd name="T83" fmla="*/ 65 h 115"/>
              <a:gd name="T84" fmla="*/ 93 w 131"/>
              <a:gd name="T85" fmla="*/ 69 h 115"/>
              <a:gd name="T86" fmla="*/ 100 w 131"/>
              <a:gd name="T87" fmla="*/ 78 h 115"/>
              <a:gd name="T88" fmla="*/ 109 w 131"/>
              <a:gd name="T89" fmla="*/ 84 h 115"/>
              <a:gd name="T90" fmla="*/ 112 w 131"/>
              <a:gd name="T91" fmla="*/ 87 h 115"/>
              <a:gd name="T92" fmla="*/ 115 w 131"/>
              <a:gd name="T93" fmla="*/ 90 h 115"/>
              <a:gd name="T94" fmla="*/ 118 w 131"/>
              <a:gd name="T95" fmla="*/ 97 h 115"/>
              <a:gd name="T96" fmla="*/ 122 w 131"/>
              <a:gd name="T97" fmla="*/ 103 h 115"/>
              <a:gd name="T98" fmla="*/ 125 w 131"/>
              <a:gd name="T99" fmla="*/ 106 h 115"/>
              <a:gd name="T100" fmla="*/ 128 w 131"/>
              <a:gd name="T101" fmla="*/ 106 h 115"/>
              <a:gd name="T102" fmla="*/ 131 w 131"/>
              <a:gd name="T103" fmla="*/ 109 h 115"/>
              <a:gd name="T104" fmla="*/ 125 w 131"/>
              <a:gd name="T105" fmla="*/ 112 h 115"/>
              <a:gd name="T106" fmla="*/ 118 w 131"/>
              <a:gd name="T10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1" h="115">
                <a:moveTo>
                  <a:pt x="118" y="115"/>
                </a:moveTo>
                <a:lnTo>
                  <a:pt x="112" y="109"/>
                </a:lnTo>
                <a:lnTo>
                  <a:pt x="109" y="109"/>
                </a:lnTo>
                <a:lnTo>
                  <a:pt x="109" y="106"/>
                </a:lnTo>
                <a:lnTo>
                  <a:pt x="109" y="103"/>
                </a:lnTo>
                <a:lnTo>
                  <a:pt x="106" y="97"/>
                </a:lnTo>
                <a:lnTo>
                  <a:pt x="100" y="97"/>
                </a:lnTo>
                <a:lnTo>
                  <a:pt x="97" y="90"/>
                </a:lnTo>
                <a:lnTo>
                  <a:pt x="90" y="87"/>
                </a:lnTo>
                <a:lnTo>
                  <a:pt x="90" y="87"/>
                </a:lnTo>
                <a:lnTo>
                  <a:pt x="84" y="84"/>
                </a:lnTo>
                <a:lnTo>
                  <a:pt x="84" y="84"/>
                </a:lnTo>
                <a:lnTo>
                  <a:pt x="78" y="84"/>
                </a:lnTo>
                <a:lnTo>
                  <a:pt x="78" y="81"/>
                </a:lnTo>
                <a:lnTo>
                  <a:pt x="72" y="75"/>
                </a:lnTo>
                <a:lnTo>
                  <a:pt x="68" y="75"/>
                </a:lnTo>
                <a:lnTo>
                  <a:pt x="65" y="72"/>
                </a:lnTo>
                <a:lnTo>
                  <a:pt x="59" y="69"/>
                </a:lnTo>
                <a:lnTo>
                  <a:pt x="56" y="72"/>
                </a:lnTo>
                <a:lnTo>
                  <a:pt x="56" y="72"/>
                </a:lnTo>
                <a:lnTo>
                  <a:pt x="50" y="65"/>
                </a:lnTo>
                <a:lnTo>
                  <a:pt x="47" y="65"/>
                </a:lnTo>
                <a:lnTo>
                  <a:pt x="47" y="69"/>
                </a:lnTo>
                <a:lnTo>
                  <a:pt x="43" y="65"/>
                </a:lnTo>
                <a:lnTo>
                  <a:pt x="40" y="65"/>
                </a:lnTo>
                <a:lnTo>
                  <a:pt x="34" y="69"/>
                </a:lnTo>
                <a:lnTo>
                  <a:pt x="31" y="69"/>
                </a:lnTo>
                <a:lnTo>
                  <a:pt x="25" y="65"/>
                </a:lnTo>
                <a:lnTo>
                  <a:pt x="22" y="65"/>
                </a:lnTo>
                <a:lnTo>
                  <a:pt x="22" y="62"/>
                </a:lnTo>
                <a:lnTo>
                  <a:pt x="15" y="75"/>
                </a:lnTo>
                <a:lnTo>
                  <a:pt x="12" y="75"/>
                </a:lnTo>
                <a:lnTo>
                  <a:pt x="12" y="75"/>
                </a:lnTo>
                <a:lnTo>
                  <a:pt x="6" y="75"/>
                </a:lnTo>
                <a:lnTo>
                  <a:pt x="3" y="75"/>
                </a:lnTo>
                <a:lnTo>
                  <a:pt x="3" y="72"/>
                </a:lnTo>
                <a:lnTo>
                  <a:pt x="0" y="62"/>
                </a:lnTo>
                <a:lnTo>
                  <a:pt x="0" y="59"/>
                </a:lnTo>
                <a:lnTo>
                  <a:pt x="3" y="56"/>
                </a:lnTo>
                <a:lnTo>
                  <a:pt x="3" y="53"/>
                </a:lnTo>
                <a:lnTo>
                  <a:pt x="6" y="47"/>
                </a:lnTo>
                <a:lnTo>
                  <a:pt x="6" y="37"/>
                </a:lnTo>
                <a:lnTo>
                  <a:pt x="9" y="31"/>
                </a:lnTo>
                <a:lnTo>
                  <a:pt x="12" y="31"/>
                </a:lnTo>
                <a:lnTo>
                  <a:pt x="9" y="28"/>
                </a:lnTo>
                <a:lnTo>
                  <a:pt x="9" y="28"/>
                </a:lnTo>
                <a:lnTo>
                  <a:pt x="9" y="22"/>
                </a:lnTo>
                <a:lnTo>
                  <a:pt x="9" y="18"/>
                </a:lnTo>
                <a:lnTo>
                  <a:pt x="12" y="15"/>
                </a:lnTo>
                <a:lnTo>
                  <a:pt x="18" y="15"/>
                </a:lnTo>
                <a:lnTo>
                  <a:pt x="18" y="15"/>
                </a:lnTo>
                <a:lnTo>
                  <a:pt x="18" y="12"/>
                </a:lnTo>
                <a:lnTo>
                  <a:pt x="18" y="9"/>
                </a:lnTo>
                <a:lnTo>
                  <a:pt x="22" y="9"/>
                </a:lnTo>
                <a:lnTo>
                  <a:pt x="25" y="9"/>
                </a:lnTo>
                <a:lnTo>
                  <a:pt x="28" y="9"/>
                </a:lnTo>
                <a:lnTo>
                  <a:pt x="28" y="6"/>
                </a:lnTo>
                <a:lnTo>
                  <a:pt x="34" y="6"/>
                </a:lnTo>
                <a:lnTo>
                  <a:pt x="37" y="3"/>
                </a:lnTo>
                <a:lnTo>
                  <a:pt x="37" y="0"/>
                </a:lnTo>
                <a:lnTo>
                  <a:pt x="37" y="0"/>
                </a:lnTo>
                <a:lnTo>
                  <a:pt x="43" y="3"/>
                </a:lnTo>
                <a:lnTo>
                  <a:pt x="53" y="25"/>
                </a:lnTo>
                <a:lnTo>
                  <a:pt x="53" y="40"/>
                </a:lnTo>
                <a:lnTo>
                  <a:pt x="56" y="40"/>
                </a:lnTo>
                <a:lnTo>
                  <a:pt x="56" y="47"/>
                </a:lnTo>
                <a:lnTo>
                  <a:pt x="56" y="47"/>
                </a:lnTo>
                <a:lnTo>
                  <a:pt x="59" y="47"/>
                </a:lnTo>
                <a:lnTo>
                  <a:pt x="62" y="53"/>
                </a:lnTo>
                <a:lnTo>
                  <a:pt x="62" y="59"/>
                </a:lnTo>
                <a:lnTo>
                  <a:pt x="65" y="59"/>
                </a:lnTo>
                <a:lnTo>
                  <a:pt x="65" y="53"/>
                </a:lnTo>
                <a:lnTo>
                  <a:pt x="65" y="53"/>
                </a:lnTo>
                <a:lnTo>
                  <a:pt x="65" y="50"/>
                </a:lnTo>
                <a:lnTo>
                  <a:pt x="65" y="50"/>
                </a:lnTo>
                <a:lnTo>
                  <a:pt x="68" y="53"/>
                </a:lnTo>
                <a:lnTo>
                  <a:pt x="68" y="56"/>
                </a:lnTo>
                <a:lnTo>
                  <a:pt x="72" y="59"/>
                </a:lnTo>
                <a:lnTo>
                  <a:pt x="75" y="62"/>
                </a:lnTo>
                <a:lnTo>
                  <a:pt x="75" y="62"/>
                </a:lnTo>
                <a:lnTo>
                  <a:pt x="78" y="62"/>
                </a:lnTo>
                <a:lnTo>
                  <a:pt x="81" y="62"/>
                </a:lnTo>
                <a:lnTo>
                  <a:pt x="81" y="62"/>
                </a:lnTo>
                <a:lnTo>
                  <a:pt x="87" y="65"/>
                </a:lnTo>
                <a:lnTo>
                  <a:pt x="87" y="69"/>
                </a:lnTo>
                <a:lnTo>
                  <a:pt x="93" y="69"/>
                </a:lnTo>
                <a:lnTo>
                  <a:pt x="93" y="72"/>
                </a:lnTo>
                <a:lnTo>
                  <a:pt x="100" y="78"/>
                </a:lnTo>
                <a:lnTo>
                  <a:pt x="103" y="84"/>
                </a:lnTo>
                <a:lnTo>
                  <a:pt x="109" y="84"/>
                </a:lnTo>
                <a:lnTo>
                  <a:pt x="112" y="87"/>
                </a:lnTo>
                <a:lnTo>
                  <a:pt x="112" y="87"/>
                </a:lnTo>
                <a:lnTo>
                  <a:pt x="112" y="87"/>
                </a:lnTo>
                <a:lnTo>
                  <a:pt x="115" y="90"/>
                </a:lnTo>
                <a:lnTo>
                  <a:pt x="118" y="97"/>
                </a:lnTo>
                <a:lnTo>
                  <a:pt x="118" y="97"/>
                </a:lnTo>
                <a:lnTo>
                  <a:pt x="122" y="103"/>
                </a:lnTo>
                <a:lnTo>
                  <a:pt x="122" y="103"/>
                </a:lnTo>
                <a:lnTo>
                  <a:pt x="125" y="106"/>
                </a:lnTo>
                <a:lnTo>
                  <a:pt x="125" y="106"/>
                </a:lnTo>
                <a:lnTo>
                  <a:pt x="128" y="106"/>
                </a:lnTo>
                <a:lnTo>
                  <a:pt x="128" y="106"/>
                </a:lnTo>
                <a:lnTo>
                  <a:pt x="131" y="106"/>
                </a:lnTo>
                <a:lnTo>
                  <a:pt x="131" y="109"/>
                </a:lnTo>
                <a:lnTo>
                  <a:pt x="128" y="112"/>
                </a:lnTo>
                <a:lnTo>
                  <a:pt x="125" y="112"/>
                </a:lnTo>
                <a:lnTo>
                  <a:pt x="122" y="115"/>
                </a:lnTo>
                <a:lnTo>
                  <a:pt x="118" y="115"/>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9" name="Freeform 107">
            <a:extLst>
              <a:ext uri="{FF2B5EF4-FFF2-40B4-BE49-F238E27FC236}">
                <a16:creationId xmlns:a16="http://schemas.microsoft.com/office/drawing/2014/main" id="{6C5E7DDC-1570-0808-97E9-35745D32FDAF}"/>
              </a:ext>
            </a:extLst>
          </p:cNvPr>
          <p:cNvSpPr>
            <a:spLocks/>
          </p:cNvSpPr>
          <p:nvPr userDrawn="1"/>
        </p:nvSpPr>
        <p:spPr bwMode="auto">
          <a:xfrm>
            <a:off x="15769196" y="8581309"/>
            <a:ext cx="98420" cy="111126"/>
          </a:xfrm>
          <a:custGeom>
            <a:avLst/>
            <a:gdLst>
              <a:gd name="T0" fmla="*/ 25 w 31"/>
              <a:gd name="T1" fmla="*/ 31 h 35"/>
              <a:gd name="T2" fmla="*/ 19 w 31"/>
              <a:gd name="T3" fmla="*/ 31 h 35"/>
              <a:gd name="T4" fmla="*/ 16 w 31"/>
              <a:gd name="T5" fmla="*/ 31 h 35"/>
              <a:gd name="T6" fmla="*/ 9 w 31"/>
              <a:gd name="T7" fmla="*/ 35 h 35"/>
              <a:gd name="T8" fmla="*/ 3 w 31"/>
              <a:gd name="T9" fmla="*/ 35 h 35"/>
              <a:gd name="T10" fmla="*/ 0 w 31"/>
              <a:gd name="T11" fmla="*/ 31 h 35"/>
              <a:gd name="T12" fmla="*/ 3 w 31"/>
              <a:gd name="T13" fmla="*/ 28 h 35"/>
              <a:gd name="T14" fmla="*/ 3 w 31"/>
              <a:gd name="T15" fmla="*/ 25 h 35"/>
              <a:gd name="T16" fmla="*/ 6 w 31"/>
              <a:gd name="T17" fmla="*/ 22 h 35"/>
              <a:gd name="T18" fmla="*/ 6 w 31"/>
              <a:gd name="T19" fmla="*/ 16 h 35"/>
              <a:gd name="T20" fmla="*/ 6 w 31"/>
              <a:gd name="T21" fmla="*/ 13 h 35"/>
              <a:gd name="T22" fmla="*/ 9 w 31"/>
              <a:gd name="T23" fmla="*/ 6 h 35"/>
              <a:gd name="T24" fmla="*/ 16 w 31"/>
              <a:gd name="T25" fmla="*/ 6 h 35"/>
              <a:gd name="T26" fmla="*/ 19 w 31"/>
              <a:gd name="T27" fmla="*/ 3 h 35"/>
              <a:gd name="T28" fmla="*/ 22 w 31"/>
              <a:gd name="T29" fmla="*/ 3 h 35"/>
              <a:gd name="T30" fmla="*/ 25 w 31"/>
              <a:gd name="T31" fmla="*/ 0 h 35"/>
              <a:gd name="T32" fmla="*/ 25 w 31"/>
              <a:gd name="T33" fmla="*/ 0 h 35"/>
              <a:gd name="T34" fmla="*/ 25 w 31"/>
              <a:gd name="T35" fmla="*/ 0 h 35"/>
              <a:gd name="T36" fmla="*/ 28 w 31"/>
              <a:gd name="T37" fmla="*/ 3 h 35"/>
              <a:gd name="T38" fmla="*/ 31 w 31"/>
              <a:gd name="T39" fmla="*/ 3 h 35"/>
              <a:gd name="T40" fmla="*/ 31 w 31"/>
              <a:gd name="T41" fmla="*/ 6 h 35"/>
              <a:gd name="T42" fmla="*/ 31 w 31"/>
              <a:gd name="T43" fmla="*/ 13 h 35"/>
              <a:gd name="T44" fmla="*/ 28 w 31"/>
              <a:gd name="T45" fmla="*/ 13 h 35"/>
              <a:gd name="T46" fmla="*/ 25 w 31"/>
              <a:gd name="T47" fmla="*/ 19 h 35"/>
              <a:gd name="T48" fmla="*/ 22 w 31"/>
              <a:gd name="T49" fmla="*/ 19 h 35"/>
              <a:gd name="T50" fmla="*/ 22 w 31"/>
              <a:gd name="T51" fmla="*/ 22 h 35"/>
              <a:gd name="T52" fmla="*/ 16 w 31"/>
              <a:gd name="T53" fmla="*/ 22 h 35"/>
              <a:gd name="T54" fmla="*/ 19 w 31"/>
              <a:gd name="T55" fmla="*/ 22 h 35"/>
              <a:gd name="T56" fmla="*/ 19 w 31"/>
              <a:gd name="T57" fmla="*/ 22 h 35"/>
              <a:gd name="T58" fmla="*/ 22 w 31"/>
              <a:gd name="T59" fmla="*/ 22 h 35"/>
              <a:gd name="T60" fmla="*/ 28 w 31"/>
              <a:gd name="T61" fmla="*/ 22 h 35"/>
              <a:gd name="T62" fmla="*/ 28 w 31"/>
              <a:gd name="T63" fmla="*/ 22 h 35"/>
              <a:gd name="T64" fmla="*/ 25 w 31"/>
              <a:gd name="T65" fmla="*/ 31 h 35"/>
              <a:gd name="T66" fmla="*/ 25 w 31"/>
              <a:gd name="T67"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 h="35">
                <a:moveTo>
                  <a:pt x="25" y="31"/>
                </a:moveTo>
                <a:lnTo>
                  <a:pt x="19" y="31"/>
                </a:lnTo>
                <a:lnTo>
                  <a:pt x="16" y="31"/>
                </a:lnTo>
                <a:lnTo>
                  <a:pt x="9" y="35"/>
                </a:lnTo>
                <a:lnTo>
                  <a:pt x="3" y="35"/>
                </a:lnTo>
                <a:lnTo>
                  <a:pt x="0" y="31"/>
                </a:lnTo>
                <a:lnTo>
                  <a:pt x="3" y="28"/>
                </a:lnTo>
                <a:lnTo>
                  <a:pt x="3" y="25"/>
                </a:lnTo>
                <a:lnTo>
                  <a:pt x="6" y="22"/>
                </a:lnTo>
                <a:lnTo>
                  <a:pt x="6" y="16"/>
                </a:lnTo>
                <a:lnTo>
                  <a:pt x="6" y="13"/>
                </a:lnTo>
                <a:lnTo>
                  <a:pt x="9" y="6"/>
                </a:lnTo>
                <a:lnTo>
                  <a:pt x="16" y="6"/>
                </a:lnTo>
                <a:lnTo>
                  <a:pt x="19" y="3"/>
                </a:lnTo>
                <a:lnTo>
                  <a:pt x="22" y="3"/>
                </a:lnTo>
                <a:lnTo>
                  <a:pt x="25" y="0"/>
                </a:lnTo>
                <a:lnTo>
                  <a:pt x="25" y="0"/>
                </a:lnTo>
                <a:lnTo>
                  <a:pt x="25" y="0"/>
                </a:lnTo>
                <a:lnTo>
                  <a:pt x="28" y="3"/>
                </a:lnTo>
                <a:lnTo>
                  <a:pt x="31" y="3"/>
                </a:lnTo>
                <a:lnTo>
                  <a:pt x="31" y="6"/>
                </a:lnTo>
                <a:lnTo>
                  <a:pt x="31" y="13"/>
                </a:lnTo>
                <a:lnTo>
                  <a:pt x="28" y="13"/>
                </a:lnTo>
                <a:lnTo>
                  <a:pt x="25" y="19"/>
                </a:lnTo>
                <a:lnTo>
                  <a:pt x="22" y="19"/>
                </a:lnTo>
                <a:lnTo>
                  <a:pt x="22" y="22"/>
                </a:lnTo>
                <a:lnTo>
                  <a:pt x="16" y="22"/>
                </a:lnTo>
                <a:lnTo>
                  <a:pt x="19" y="22"/>
                </a:lnTo>
                <a:lnTo>
                  <a:pt x="19" y="22"/>
                </a:lnTo>
                <a:lnTo>
                  <a:pt x="22" y="22"/>
                </a:lnTo>
                <a:lnTo>
                  <a:pt x="28" y="22"/>
                </a:lnTo>
                <a:lnTo>
                  <a:pt x="28" y="22"/>
                </a:lnTo>
                <a:lnTo>
                  <a:pt x="25" y="31"/>
                </a:lnTo>
                <a:lnTo>
                  <a:pt x="25" y="31"/>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0" name="Freeform 108">
            <a:extLst>
              <a:ext uri="{FF2B5EF4-FFF2-40B4-BE49-F238E27FC236}">
                <a16:creationId xmlns:a16="http://schemas.microsoft.com/office/drawing/2014/main" id="{D33FA7C1-8373-6F3E-717F-3BC291EFAC19}"/>
              </a:ext>
            </a:extLst>
          </p:cNvPr>
          <p:cNvSpPr>
            <a:spLocks/>
          </p:cNvSpPr>
          <p:nvPr userDrawn="1"/>
        </p:nvSpPr>
        <p:spPr bwMode="auto">
          <a:xfrm>
            <a:off x="15727923" y="8622583"/>
            <a:ext cx="647660" cy="854078"/>
          </a:xfrm>
          <a:custGeom>
            <a:avLst/>
            <a:gdLst>
              <a:gd name="T0" fmla="*/ 22 w 204"/>
              <a:gd name="T1" fmla="*/ 156 h 269"/>
              <a:gd name="T2" fmla="*/ 38 w 204"/>
              <a:gd name="T3" fmla="*/ 150 h 269"/>
              <a:gd name="T4" fmla="*/ 50 w 204"/>
              <a:gd name="T5" fmla="*/ 140 h 269"/>
              <a:gd name="T6" fmla="*/ 69 w 204"/>
              <a:gd name="T7" fmla="*/ 137 h 269"/>
              <a:gd name="T8" fmla="*/ 116 w 204"/>
              <a:gd name="T9" fmla="*/ 78 h 269"/>
              <a:gd name="T10" fmla="*/ 47 w 204"/>
              <a:gd name="T11" fmla="*/ 53 h 269"/>
              <a:gd name="T12" fmla="*/ 41 w 204"/>
              <a:gd name="T13" fmla="*/ 40 h 269"/>
              <a:gd name="T14" fmla="*/ 38 w 204"/>
              <a:gd name="T15" fmla="*/ 18 h 269"/>
              <a:gd name="T16" fmla="*/ 44 w 204"/>
              <a:gd name="T17" fmla="*/ 12 h 269"/>
              <a:gd name="T18" fmla="*/ 60 w 204"/>
              <a:gd name="T19" fmla="*/ 31 h 269"/>
              <a:gd name="T20" fmla="*/ 75 w 204"/>
              <a:gd name="T21" fmla="*/ 34 h 269"/>
              <a:gd name="T22" fmla="*/ 85 w 204"/>
              <a:gd name="T23" fmla="*/ 28 h 269"/>
              <a:gd name="T24" fmla="*/ 94 w 204"/>
              <a:gd name="T25" fmla="*/ 25 h 269"/>
              <a:gd name="T26" fmla="*/ 107 w 204"/>
              <a:gd name="T27" fmla="*/ 25 h 269"/>
              <a:gd name="T28" fmla="*/ 125 w 204"/>
              <a:gd name="T29" fmla="*/ 18 h 269"/>
              <a:gd name="T30" fmla="*/ 138 w 204"/>
              <a:gd name="T31" fmla="*/ 18 h 269"/>
              <a:gd name="T32" fmla="*/ 154 w 204"/>
              <a:gd name="T33" fmla="*/ 15 h 269"/>
              <a:gd name="T34" fmla="*/ 169 w 204"/>
              <a:gd name="T35" fmla="*/ 12 h 269"/>
              <a:gd name="T36" fmla="*/ 175 w 204"/>
              <a:gd name="T37" fmla="*/ 9 h 269"/>
              <a:gd name="T38" fmla="*/ 185 w 204"/>
              <a:gd name="T39" fmla="*/ 6 h 269"/>
              <a:gd name="T40" fmla="*/ 188 w 204"/>
              <a:gd name="T41" fmla="*/ 0 h 269"/>
              <a:gd name="T42" fmla="*/ 194 w 204"/>
              <a:gd name="T43" fmla="*/ 3 h 269"/>
              <a:gd name="T44" fmla="*/ 200 w 204"/>
              <a:gd name="T45" fmla="*/ 3 h 269"/>
              <a:gd name="T46" fmla="*/ 197 w 204"/>
              <a:gd name="T47" fmla="*/ 12 h 269"/>
              <a:gd name="T48" fmla="*/ 200 w 204"/>
              <a:gd name="T49" fmla="*/ 18 h 269"/>
              <a:gd name="T50" fmla="*/ 197 w 204"/>
              <a:gd name="T51" fmla="*/ 25 h 269"/>
              <a:gd name="T52" fmla="*/ 197 w 204"/>
              <a:gd name="T53" fmla="*/ 34 h 269"/>
              <a:gd name="T54" fmla="*/ 200 w 204"/>
              <a:gd name="T55" fmla="*/ 31 h 269"/>
              <a:gd name="T56" fmla="*/ 200 w 204"/>
              <a:gd name="T57" fmla="*/ 34 h 269"/>
              <a:gd name="T58" fmla="*/ 194 w 204"/>
              <a:gd name="T59" fmla="*/ 40 h 269"/>
              <a:gd name="T60" fmla="*/ 194 w 204"/>
              <a:gd name="T61" fmla="*/ 50 h 269"/>
              <a:gd name="T62" fmla="*/ 182 w 204"/>
              <a:gd name="T63" fmla="*/ 75 h 269"/>
              <a:gd name="T64" fmla="*/ 172 w 204"/>
              <a:gd name="T65" fmla="*/ 81 h 269"/>
              <a:gd name="T66" fmla="*/ 172 w 204"/>
              <a:gd name="T67" fmla="*/ 87 h 269"/>
              <a:gd name="T68" fmla="*/ 154 w 204"/>
              <a:gd name="T69" fmla="*/ 125 h 269"/>
              <a:gd name="T70" fmla="*/ 138 w 204"/>
              <a:gd name="T71" fmla="*/ 153 h 269"/>
              <a:gd name="T72" fmla="*/ 100 w 204"/>
              <a:gd name="T73" fmla="*/ 191 h 269"/>
              <a:gd name="T74" fmla="*/ 79 w 204"/>
              <a:gd name="T75" fmla="*/ 203 h 269"/>
              <a:gd name="T76" fmla="*/ 57 w 204"/>
              <a:gd name="T77" fmla="*/ 222 h 269"/>
              <a:gd name="T78" fmla="*/ 41 w 204"/>
              <a:gd name="T79" fmla="*/ 241 h 269"/>
              <a:gd name="T80" fmla="*/ 32 w 204"/>
              <a:gd name="T81" fmla="*/ 250 h 269"/>
              <a:gd name="T82" fmla="*/ 0 w 204"/>
              <a:gd name="T83" fmla="*/ 256 h 269"/>
              <a:gd name="T84" fmla="*/ 19 w 204"/>
              <a:gd name="T85" fmla="*/ 15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4" h="269">
                <a:moveTo>
                  <a:pt x="19" y="159"/>
                </a:moveTo>
                <a:lnTo>
                  <a:pt x="19" y="159"/>
                </a:lnTo>
                <a:lnTo>
                  <a:pt x="22" y="156"/>
                </a:lnTo>
                <a:lnTo>
                  <a:pt x="29" y="153"/>
                </a:lnTo>
                <a:lnTo>
                  <a:pt x="35" y="153"/>
                </a:lnTo>
                <a:lnTo>
                  <a:pt x="38" y="150"/>
                </a:lnTo>
                <a:lnTo>
                  <a:pt x="44" y="147"/>
                </a:lnTo>
                <a:lnTo>
                  <a:pt x="44" y="144"/>
                </a:lnTo>
                <a:lnTo>
                  <a:pt x="50" y="140"/>
                </a:lnTo>
                <a:lnTo>
                  <a:pt x="54" y="140"/>
                </a:lnTo>
                <a:lnTo>
                  <a:pt x="57" y="137"/>
                </a:lnTo>
                <a:lnTo>
                  <a:pt x="69" y="137"/>
                </a:lnTo>
                <a:lnTo>
                  <a:pt x="82" y="137"/>
                </a:lnTo>
                <a:lnTo>
                  <a:pt x="141" y="78"/>
                </a:lnTo>
                <a:lnTo>
                  <a:pt x="116" y="78"/>
                </a:lnTo>
                <a:lnTo>
                  <a:pt x="60" y="59"/>
                </a:lnTo>
                <a:lnTo>
                  <a:pt x="54" y="56"/>
                </a:lnTo>
                <a:lnTo>
                  <a:pt x="47" y="53"/>
                </a:lnTo>
                <a:lnTo>
                  <a:pt x="44" y="50"/>
                </a:lnTo>
                <a:lnTo>
                  <a:pt x="44" y="43"/>
                </a:lnTo>
                <a:lnTo>
                  <a:pt x="41" y="40"/>
                </a:lnTo>
                <a:lnTo>
                  <a:pt x="38" y="28"/>
                </a:lnTo>
                <a:lnTo>
                  <a:pt x="35" y="22"/>
                </a:lnTo>
                <a:lnTo>
                  <a:pt x="38" y="18"/>
                </a:lnTo>
                <a:lnTo>
                  <a:pt x="41" y="9"/>
                </a:lnTo>
                <a:lnTo>
                  <a:pt x="44" y="12"/>
                </a:lnTo>
                <a:lnTo>
                  <a:pt x="44" y="12"/>
                </a:lnTo>
                <a:lnTo>
                  <a:pt x="57" y="28"/>
                </a:lnTo>
                <a:lnTo>
                  <a:pt x="57" y="28"/>
                </a:lnTo>
                <a:lnTo>
                  <a:pt x="60" y="31"/>
                </a:lnTo>
                <a:lnTo>
                  <a:pt x="63" y="34"/>
                </a:lnTo>
                <a:lnTo>
                  <a:pt x="69" y="34"/>
                </a:lnTo>
                <a:lnTo>
                  <a:pt x="75" y="34"/>
                </a:lnTo>
                <a:lnTo>
                  <a:pt x="75" y="34"/>
                </a:lnTo>
                <a:lnTo>
                  <a:pt x="82" y="31"/>
                </a:lnTo>
                <a:lnTo>
                  <a:pt x="85" y="28"/>
                </a:lnTo>
                <a:lnTo>
                  <a:pt x="91" y="25"/>
                </a:lnTo>
                <a:lnTo>
                  <a:pt x="94" y="25"/>
                </a:lnTo>
                <a:lnTo>
                  <a:pt x="94" y="25"/>
                </a:lnTo>
                <a:lnTo>
                  <a:pt x="100" y="25"/>
                </a:lnTo>
                <a:lnTo>
                  <a:pt x="100" y="25"/>
                </a:lnTo>
                <a:lnTo>
                  <a:pt x="107" y="25"/>
                </a:lnTo>
                <a:lnTo>
                  <a:pt x="110" y="25"/>
                </a:lnTo>
                <a:lnTo>
                  <a:pt x="122" y="18"/>
                </a:lnTo>
                <a:lnTo>
                  <a:pt x="125" y="18"/>
                </a:lnTo>
                <a:lnTo>
                  <a:pt x="132" y="18"/>
                </a:lnTo>
                <a:lnTo>
                  <a:pt x="135" y="18"/>
                </a:lnTo>
                <a:lnTo>
                  <a:pt x="138" y="18"/>
                </a:lnTo>
                <a:lnTo>
                  <a:pt x="144" y="15"/>
                </a:lnTo>
                <a:lnTo>
                  <a:pt x="150" y="15"/>
                </a:lnTo>
                <a:lnTo>
                  <a:pt x="154" y="15"/>
                </a:lnTo>
                <a:lnTo>
                  <a:pt x="154" y="15"/>
                </a:lnTo>
                <a:lnTo>
                  <a:pt x="163" y="15"/>
                </a:lnTo>
                <a:lnTo>
                  <a:pt x="169" y="12"/>
                </a:lnTo>
                <a:lnTo>
                  <a:pt x="172" y="12"/>
                </a:lnTo>
                <a:lnTo>
                  <a:pt x="175" y="12"/>
                </a:lnTo>
                <a:lnTo>
                  <a:pt x="175" y="9"/>
                </a:lnTo>
                <a:lnTo>
                  <a:pt x="182" y="9"/>
                </a:lnTo>
                <a:lnTo>
                  <a:pt x="185" y="6"/>
                </a:lnTo>
                <a:lnTo>
                  <a:pt x="185" y="6"/>
                </a:lnTo>
                <a:lnTo>
                  <a:pt x="188" y="3"/>
                </a:lnTo>
                <a:lnTo>
                  <a:pt x="188" y="3"/>
                </a:lnTo>
                <a:lnTo>
                  <a:pt x="188" y="0"/>
                </a:lnTo>
                <a:lnTo>
                  <a:pt x="191" y="3"/>
                </a:lnTo>
                <a:lnTo>
                  <a:pt x="191" y="0"/>
                </a:lnTo>
                <a:lnTo>
                  <a:pt x="194" y="3"/>
                </a:lnTo>
                <a:lnTo>
                  <a:pt x="197" y="3"/>
                </a:lnTo>
                <a:lnTo>
                  <a:pt x="200" y="3"/>
                </a:lnTo>
                <a:lnTo>
                  <a:pt x="200" y="3"/>
                </a:lnTo>
                <a:lnTo>
                  <a:pt x="200" y="6"/>
                </a:lnTo>
                <a:lnTo>
                  <a:pt x="197" y="9"/>
                </a:lnTo>
                <a:lnTo>
                  <a:pt x="197" y="12"/>
                </a:lnTo>
                <a:lnTo>
                  <a:pt x="197" y="15"/>
                </a:lnTo>
                <a:lnTo>
                  <a:pt x="197" y="18"/>
                </a:lnTo>
                <a:lnTo>
                  <a:pt x="200" y="18"/>
                </a:lnTo>
                <a:lnTo>
                  <a:pt x="200" y="18"/>
                </a:lnTo>
                <a:lnTo>
                  <a:pt x="197" y="22"/>
                </a:lnTo>
                <a:lnTo>
                  <a:pt x="197" y="25"/>
                </a:lnTo>
                <a:lnTo>
                  <a:pt x="197" y="28"/>
                </a:lnTo>
                <a:lnTo>
                  <a:pt x="200" y="31"/>
                </a:lnTo>
                <a:lnTo>
                  <a:pt x="197" y="34"/>
                </a:lnTo>
                <a:lnTo>
                  <a:pt x="200" y="34"/>
                </a:lnTo>
                <a:lnTo>
                  <a:pt x="200" y="31"/>
                </a:lnTo>
                <a:lnTo>
                  <a:pt x="200" y="31"/>
                </a:lnTo>
                <a:lnTo>
                  <a:pt x="204" y="34"/>
                </a:lnTo>
                <a:lnTo>
                  <a:pt x="200" y="34"/>
                </a:lnTo>
                <a:lnTo>
                  <a:pt x="200" y="34"/>
                </a:lnTo>
                <a:lnTo>
                  <a:pt x="197" y="34"/>
                </a:lnTo>
                <a:lnTo>
                  <a:pt x="197" y="34"/>
                </a:lnTo>
                <a:lnTo>
                  <a:pt x="194" y="40"/>
                </a:lnTo>
                <a:lnTo>
                  <a:pt x="194" y="43"/>
                </a:lnTo>
                <a:lnTo>
                  <a:pt x="194" y="47"/>
                </a:lnTo>
                <a:lnTo>
                  <a:pt x="194" y="50"/>
                </a:lnTo>
                <a:lnTo>
                  <a:pt x="194" y="53"/>
                </a:lnTo>
                <a:lnTo>
                  <a:pt x="188" y="62"/>
                </a:lnTo>
                <a:lnTo>
                  <a:pt x="182" y="75"/>
                </a:lnTo>
                <a:lnTo>
                  <a:pt x="179" y="78"/>
                </a:lnTo>
                <a:lnTo>
                  <a:pt x="179" y="78"/>
                </a:lnTo>
                <a:lnTo>
                  <a:pt x="172" y="81"/>
                </a:lnTo>
                <a:lnTo>
                  <a:pt x="172" y="84"/>
                </a:lnTo>
                <a:lnTo>
                  <a:pt x="175" y="87"/>
                </a:lnTo>
                <a:lnTo>
                  <a:pt x="172" y="87"/>
                </a:lnTo>
                <a:lnTo>
                  <a:pt x="160" y="109"/>
                </a:lnTo>
                <a:lnTo>
                  <a:pt x="160" y="115"/>
                </a:lnTo>
                <a:lnTo>
                  <a:pt x="154" y="125"/>
                </a:lnTo>
                <a:lnTo>
                  <a:pt x="154" y="128"/>
                </a:lnTo>
                <a:lnTo>
                  <a:pt x="141" y="147"/>
                </a:lnTo>
                <a:lnTo>
                  <a:pt x="138" y="153"/>
                </a:lnTo>
                <a:lnTo>
                  <a:pt x="132" y="159"/>
                </a:lnTo>
                <a:lnTo>
                  <a:pt x="122" y="172"/>
                </a:lnTo>
                <a:lnTo>
                  <a:pt x="100" y="191"/>
                </a:lnTo>
                <a:lnTo>
                  <a:pt x="91" y="197"/>
                </a:lnTo>
                <a:lnTo>
                  <a:pt x="85" y="200"/>
                </a:lnTo>
                <a:lnTo>
                  <a:pt x="79" y="203"/>
                </a:lnTo>
                <a:lnTo>
                  <a:pt x="72" y="209"/>
                </a:lnTo>
                <a:lnTo>
                  <a:pt x="60" y="222"/>
                </a:lnTo>
                <a:lnTo>
                  <a:pt x="57" y="222"/>
                </a:lnTo>
                <a:lnTo>
                  <a:pt x="44" y="234"/>
                </a:lnTo>
                <a:lnTo>
                  <a:pt x="44" y="237"/>
                </a:lnTo>
                <a:lnTo>
                  <a:pt x="41" y="241"/>
                </a:lnTo>
                <a:lnTo>
                  <a:pt x="38" y="241"/>
                </a:lnTo>
                <a:lnTo>
                  <a:pt x="32" y="244"/>
                </a:lnTo>
                <a:lnTo>
                  <a:pt x="32" y="250"/>
                </a:lnTo>
                <a:lnTo>
                  <a:pt x="16" y="266"/>
                </a:lnTo>
                <a:lnTo>
                  <a:pt x="16" y="269"/>
                </a:lnTo>
                <a:lnTo>
                  <a:pt x="0" y="256"/>
                </a:lnTo>
                <a:lnTo>
                  <a:pt x="0" y="178"/>
                </a:lnTo>
                <a:lnTo>
                  <a:pt x="19" y="159"/>
                </a:lnTo>
                <a:lnTo>
                  <a:pt x="19" y="15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1" name="Freeform 109">
            <a:extLst>
              <a:ext uri="{FF2B5EF4-FFF2-40B4-BE49-F238E27FC236}">
                <a16:creationId xmlns:a16="http://schemas.microsoft.com/office/drawing/2014/main" id="{03582BF7-9EC8-C967-E3A8-F7D8EE4EBBC9}"/>
              </a:ext>
            </a:extLst>
          </p:cNvPr>
          <p:cNvSpPr>
            <a:spLocks noEditPoints="1"/>
          </p:cNvSpPr>
          <p:nvPr userDrawn="1"/>
        </p:nvSpPr>
        <p:spPr bwMode="auto">
          <a:xfrm>
            <a:off x="15134240" y="9028982"/>
            <a:ext cx="654007" cy="635000"/>
          </a:xfrm>
          <a:custGeom>
            <a:avLst/>
            <a:gdLst>
              <a:gd name="T0" fmla="*/ 53 w 206"/>
              <a:gd name="T1" fmla="*/ 22 h 200"/>
              <a:gd name="T2" fmla="*/ 56 w 206"/>
              <a:gd name="T3" fmla="*/ 19 h 200"/>
              <a:gd name="T4" fmla="*/ 62 w 206"/>
              <a:gd name="T5" fmla="*/ 16 h 200"/>
              <a:gd name="T6" fmla="*/ 75 w 206"/>
              <a:gd name="T7" fmla="*/ 0 h 200"/>
              <a:gd name="T8" fmla="*/ 81 w 206"/>
              <a:gd name="T9" fmla="*/ 3 h 200"/>
              <a:gd name="T10" fmla="*/ 84 w 206"/>
              <a:gd name="T11" fmla="*/ 16 h 200"/>
              <a:gd name="T12" fmla="*/ 91 w 206"/>
              <a:gd name="T13" fmla="*/ 22 h 200"/>
              <a:gd name="T14" fmla="*/ 100 w 206"/>
              <a:gd name="T15" fmla="*/ 19 h 200"/>
              <a:gd name="T16" fmla="*/ 116 w 206"/>
              <a:gd name="T17" fmla="*/ 22 h 200"/>
              <a:gd name="T18" fmla="*/ 128 w 206"/>
              <a:gd name="T19" fmla="*/ 34 h 200"/>
              <a:gd name="T20" fmla="*/ 134 w 206"/>
              <a:gd name="T21" fmla="*/ 37 h 200"/>
              <a:gd name="T22" fmla="*/ 144 w 206"/>
              <a:gd name="T23" fmla="*/ 41 h 200"/>
              <a:gd name="T24" fmla="*/ 153 w 206"/>
              <a:gd name="T25" fmla="*/ 41 h 200"/>
              <a:gd name="T26" fmla="*/ 159 w 206"/>
              <a:gd name="T27" fmla="*/ 41 h 200"/>
              <a:gd name="T28" fmla="*/ 169 w 206"/>
              <a:gd name="T29" fmla="*/ 28 h 200"/>
              <a:gd name="T30" fmla="*/ 175 w 206"/>
              <a:gd name="T31" fmla="*/ 28 h 200"/>
              <a:gd name="T32" fmla="*/ 184 w 206"/>
              <a:gd name="T33" fmla="*/ 25 h 200"/>
              <a:gd name="T34" fmla="*/ 191 w 206"/>
              <a:gd name="T35" fmla="*/ 31 h 200"/>
              <a:gd name="T36" fmla="*/ 200 w 206"/>
              <a:gd name="T37" fmla="*/ 31 h 200"/>
              <a:gd name="T38" fmla="*/ 187 w 206"/>
              <a:gd name="T39" fmla="*/ 50 h 200"/>
              <a:gd name="T40" fmla="*/ 203 w 206"/>
              <a:gd name="T41" fmla="*/ 141 h 200"/>
              <a:gd name="T42" fmla="*/ 194 w 206"/>
              <a:gd name="T43" fmla="*/ 147 h 200"/>
              <a:gd name="T44" fmla="*/ 191 w 206"/>
              <a:gd name="T45" fmla="*/ 150 h 200"/>
              <a:gd name="T46" fmla="*/ 184 w 206"/>
              <a:gd name="T47" fmla="*/ 156 h 200"/>
              <a:gd name="T48" fmla="*/ 175 w 206"/>
              <a:gd name="T49" fmla="*/ 159 h 200"/>
              <a:gd name="T50" fmla="*/ 175 w 206"/>
              <a:gd name="T51" fmla="*/ 163 h 200"/>
              <a:gd name="T52" fmla="*/ 172 w 206"/>
              <a:gd name="T53" fmla="*/ 169 h 200"/>
              <a:gd name="T54" fmla="*/ 169 w 206"/>
              <a:gd name="T55" fmla="*/ 175 h 200"/>
              <a:gd name="T56" fmla="*/ 166 w 206"/>
              <a:gd name="T57" fmla="*/ 181 h 200"/>
              <a:gd name="T58" fmla="*/ 156 w 206"/>
              <a:gd name="T59" fmla="*/ 200 h 200"/>
              <a:gd name="T60" fmla="*/ 150 w 206"/>
              <a:gd name="T61" fmla="*/ 200 h 200"/>
              <a:gd name="T62" fmla="*/ 125 w 206"/>
              <a:gd name="T63" fmla="*/ 181 h 200"/>
              <a:gd name="T64" fmla="*/ 125 w 206"/>
              <a:gd name="T65" fmla="*/ 178 h 200"/>
              <a:gd name="T66" fmla="*/ 47 w 206"/>
              <a:gd name="T67" fmla="*/ 128 h 200"/>
              <a:gd name="T68" fmla="*/ 47 w 206"/>
              <a:gd name="T69" fmla="*/ 109 h 200"/>
              <a:gd name="T70" fmla="*/ 53 w 206"/>
              <a:gd name="T71" fmla="*/ 100 h 200"/>
              <a:gd name="T72" fmla="*/ 56 w 206"/>
              <a:gd name="T73" fmla="*/ 94 h 200"/>
              <a:gd name="T74" fmla="*/ 62 w 206"/>
              <a:gd name="T75" fmla="*/ 88 h 200"/>
              <a:gd name="T76" fmla="*/ 69 w 206"/>
              <a:gd name="T77" fmla="*/ 84 h 200"/>
              <a:gd name="T78" fmla="*/ 69 w 206"/>
              <a:gd name="T79" fmla="*/ 78 h 200"/>
              <a:gd name="T80" fmla="*/ 75 w 206"/>
              <a:gd name="T81" fmla="*/ 69 h 200"/>
              <a:gd name="T82" fmla="*/ 69 w 206"/>
              <a:gd name="T83" fmla="*/ 63 h 200"/>
              <a:gd name="T84" fmla="*/ 69 w 206"/>
              <a:gd name="T85" fmla="*/ 59 h 200"/>
              <a:gd name="T86" fmla="*/ 65 w 206"/>
              <a:gd name="T87" fmla="*/ 50 h 200"/>
              <a:gd name="T88" fmla="*/ 59 w 206"/>
              <a:gd name="T89" fmla="*/ 44 h 200"/>
              <a:gd name="T90" fmla="*/ 56 w 206"/>
              <a:gd name="T91" fmla="*/ 37 h 200"/>
              <a:gd name="T92" fmla="*/ 53 w 206"/>
              <a:gd name="T93" fmla="*/ 34 h 200"/>
              <a:gd name="T94" fmla="*/ 50 w 206"/>
              <a:gd name="T95" fmla="*/ 25 h 200"/>
              <a:gd name="T96" fmla="*/ 50 w 206"/>
              <a:gd name="T97" fmla="*/ 25 h 200"/>
              <a:gd name="T98" fmla="*/ 0 w 206"/>
              <a:gd name="T99" fmla="*/ 131 h 200"/>
              <a:gd name="T100" fmla="*/ 15 w 206"/>
              <a:gd name="T101" fmla="*/ 131 h 200"/>
              <a:gd name="T102" fmla="*/ 0 w 206"/>
              <a:gd name="T103" fmla="*/ 13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6" h="200">
                <a:moveTo>
                  <a:pt x="50" y="25"/>
                </a:moveTo>
                <a:lnTo>
                  <a:pt x="53" y="22"/>
                </a:lnTo>
                <a:lnTo>
                  <a:pt x="56" y="22"/>
                </a:lnTo>
                <a:lnTo>
                  <a:pt x="56" y="19"/>
                </a:lnTo>
                <a:lnTo>
                  <a:pt x="59" y="16"/>
                </a:lnTo>
                <a:lnTo>
                  <a:pt x="62" y="16"/>
                </a:lnTo>
                <a:lnTo>
                  <a:pt x="69" y="9"/>
                </a:lnTo>
                <a:lnTo>
                  <a:pt x="75" y="0"/>
                </a:lnTo>
                <a:lnTo>
                  <a:pt x="78" y="3"/>
                </a:lnTo>
                <a:lnTo>
                  <a:pt x="81" y="3"/>
                </a:lnTo>
                <a:lnTo>
                  <a:pt x="84" y="3"/>
                </a:lnTo>
                <a:lnTo>
                  <a:pt x="84" y="16"/>
                </a:lnTo>
                <a:lnTo>
                  <a:pt x="87" y="19"/>
                </a:lnTo>
                <a:lnTo>
                  <a:pt x="91" y="22"/>
                </a:lnTo>
                <a:lnTo>
                  <a:pt x="97" y="19"/>
                </a:lnTo>
                <a:lnTo>
                  <a:pt x="100" y="19"/>
                </a:lnTo>
                <a:lnTo>
                  <a:pt x="109" y="19"/>
                </a:lnTo>
                <a:lnTo>
                  <a:pt x="116" y="22"/>
                </a:lnTo>
                <a:lnTo>
                  <a:pt x="122" y="28"/>
                </a:lnTo>
                <a:lnTo>
                  <a:pt x="128" y="34"/>
                </a:lnTo>
                <a:lnTo>
                  <a:pt x="131" y="37"/>
                </a:lnTo>
                <a:lnTo>
                  <a:pt x="134" y="37"/>
                </a:lnTo>
                <a:lnTo>
                  <a:pt x="141" y="37"/>
                </a:lnTo>
                <a:lnTo>
                  <a:pt x="144" y="41"/>
                </a:lnTo>
                <a:lnTo>
                  <a:pt x="150" y="37"/>
                </a:lnTo>
                <a:lnTo>
                  <a:pt x="153" y="41"/>
                </a:lnTo>
                <a:lnTo>
                  <a:pt x="156" y="41"/>
                </a:lnTo>
                <a:lnTo>
                  <a:pt x="159" y="41"/>
                </a:lnTo>
                <a:lnTo>
                  <a:pt x="166" y="31"/>
                </a:lnTo>
                <a:lnTo>
                  <a:pt x="169" y="28"/>
                </a:lnTo>
                <a:lnTo>
                  <a:pt x="172" y="28"/>
                </a:lnTo>
                <a:lnTo>
                  <a:pt x="175" y="28"/>
                </a:lnTo>
                <a:lnTo>
                  <a:pt x="175" y="25"/>
                </a:lnTo>
                <a:lnTo>
                  <a:pt x="184" y="25"/>
                </a:lnTo>
                <a:lnTo>
                  <a:pt x="187" y="28"/>
                </a:lnTo>
                <a:lnTo>
                  <a:pt x="191" y="31"/>
                </a:lnTo>
                <a:lnTo>
                  <a:pt x="194" y="31"/>
                </a:lnTo>
                <a:lnTo>
                  <a:pt x="200" y="31"/>
                </a:lnTo>
                <a:lnTo>
                  <a:pt x="206" y="31"/>
                </a:lnTo>
                <a:lnTo>
                  <a:pt x="187" y="50"/>
                </a:lnTo>
                <a:lnTo>
                  <a:pt x="187" y="128"/>
                </a:lnTo>
                <a:lnTo>
                  <a:pt x="203" y="141"/>
                </a:lnTo>
                <a:lnTo>
                  <a:pt x="203" y="141"/>
                </a:lnTo>
                <a:lnTo>
                  <a:pt x="194" y="147"/>
                </a:lnTo>
                <a:lnTo>
                  <a:pt x="194" y="150"/>
                </a:lnTo>
                <a:lnTo>
                  <a:pt x="191" y="150"/>
                </a:lnTo>
                <a:lnTo>
                  <a:pt x="194" y="153"/>
                </a:lnTo>
                <a:lnTo>
                  <a:pt x="184" y="156"/>
                </a:lnTo>
                <a:lnTo>
                  <a:pt x="181" y="159"/>
                </a:lnTo>
                <a:lnTo>
                  <a:pt x="175" y="159"/>
                </a:lnTo>
                <a:lnTo>
                  <a:pt x="175" y="163"/>
                </a:lnTo>
                <a:lnTo>
                  <a:pt x="175" y="163"/>
                </a:lnTo>
                <a:lnTo>
                  <a:pt x="172" y="166"/>
                </a:lnTo>
                <a:lnTo>
                  <a:pt x="172" y="169"/>
                </a:lnTo>
                <a:lnTo>
                  <a:pt x="172" y="169"/>
                </a:lnTo>
                <a:lnTo>
                  <a:pt x="169" y="175"/>
                </a:lnTo>
                <a:lnTo>
                  <a:pt x="166" y="178"/>
                </a:lnTo>
                <a:lnTo>
                  <a:pt x="166" y="181"/>
                </a:lnTo>
                <a:lnTo>
                  <a:pt x="162" y="188"/>
                </a:lnTo>
                <a:lnTo>
                  <a:pt x="156" y="200"/>
                </a:lnTo>
                <a:lnTo>
                  <a:pt x="150" y="200"/>
                </a:lnTo>
                <a:lnTo>
                  <a:pt x="150" y="200"/>
                </a:lnTo>
                <a:lnTo>
                  <a:pt x="125" y="185"/>
                </a:lnTo>
                <a:lnTo>
                  <a:pt x="125" y="181"/>
                </a:lnTo>
                <a:lnTo>
                  <a:pt x="122" y="178"/>
                </a:lnTo>
                <a:lnTo>
                  <a:pt x="125" y="178"/>
                </a:lnTo>
                <a:lnTo>
                  <a:pt x="119" y="172"/>
                </a:lnTo>
                <a:lnTo>
                  <a:pt x="47" y="128"/>
                </a:lnTo>
                <a:lnTo>
                  <a:pt x="44" y="128"/>
                </a:lnTo>
                <a:lnTo>
                  <a:pt x="47" y="109"/>
                </a:lnTo>
                <a:lnTo>
                  <a:pt x="47" y="103"/>
                </a:lnTo>
                <a:lnTo>
                  <a:pt x="53" y="100"/>
                </a:lnTo>
                <a:lnTo>
                  <a:pt x="53" y="97"/>
                </a:lnTo>
                <a:lnTo>
                  <a:pt x="56" y="94"/>
                </a:lnTo>
                <a:lnTo>
                  <a:pt x="59" y="91"/>
                </a:lnTo>
                <a:lnTo>
                  <a:pt x="62" y="88"/>
                </a:lnTo>
                <a:lnTo>
                  <a:pt x="59" y="84"/>
                </a:lnTo>
                <a:lnTo>
                  <a:pt x="69" y="84"/>
                </a:lnTo>
                <a:lnTo>
                  <a:pt x="69" y="81"/>
                </a:lnTo>
                <a:lnTo>
                  <a:pt x="69" y="78"/>
                </a:lnTo>
                <a:lnTo>
                  <a:pt x="75" y="72"/>
                </a:lnTo>
                <a:lnTo>
                  <a:pt x="75" y="69"/>
                </a:lnTo>
                <a:lnTo>
                  <a:pt x="72" y="66"/>
                </a:lnTo>
                <a:lnTo>
                  <a:pt x="69" y="63"/>
                </a:lnTo>
                <a:lnTo>
                  <a:pt x="72" y="59"/>
                </a:lnTo>
                <a:lnTo>
                  <a:pt x="69" y="59"/>
                </a:lnTo>
                <a:lnTo>
                  <a:pt x="65" y="56"/>
                </a:lnTo>
                <a:lnTo>
                  <a:pt x="65" y="50"/>
                </a:lnTo>
                <a:lnTo>
                  <a:pt x="59" y="47"/>
                </a:lnTo>
                <a:lnTo>
                  <a:pt x="59" y="44"/>
                </a:lnTo>
                <a:lnTo>
                  <a:pt x="59" y="37"/>
                </a:lnTo>
                <a:lnTo>
                  <a:pt x="56" y="37"/>
                </a:lnTo>
                <a:lnTo>
                  <a:pt x="56" y="34"/>
                </a:lnTo>
                <a:lnTo>
                  <a:pt x="53" y="34"/>
                </a:lnTo>
                <a:lnTo>
                  <a:pt x="53" y="28"/>
                </a:lnTo>
                <a:lnTo>
                  <a:pt x="50" y="25"/>
                </a:lnTo>
                <a:lnTo>
                  <a:pt x="50" y="25"/>
                </a:lnTo>
                <a:lnTo>
                  <a:pt x="50" y="25"/>
                </a:lnTo>
                <a:lnTo>
                  <a:pt x="50" y="25"/>
                </a:lnTo>
                <a:close/>
                <a:moveTo>
                  <a:pt x="0" y="131"/>
                </a:moveTo>
                <a:lnTo>
                  <a:pt x="6" y="131"/>
                </a:lnTo>
                <a:lnTo>
                  <a:pt x="15" y="131"/>
                </a:lnTo>
                <a:lnTo>
                  <a:pt x="0" y="131"/>
                </a:lnTo>
                <a:lnTo>
                  <a:pt x="0" y="131"/>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2" name="Freeform 110">
            <a:extLst>
              <a:ext uri="{FF2B5EF4-FFF2-40B4-BE49-F238E27FC236}">
                <a16:creationId xmlns:a16="http://schemas.microsoft.com/office/drawing/2014/main" id="{E0EBD3E9-9003-52B9-FA3B-D9676863D9F0}"/>
              </a:ext>
            </a:extLst>
          </p:cNvPr>
          <p:cNvSpPr>
            <a:spLocks/>
          </p:cNvSpPr>
          <p:nvPr userDrawn="1"/>
        </p:nvSpPr>
        <p:spPr bwMode="auto">
          <a:xfrm>
            <a:off x="15004070" y="9108358"/>
            <a:ext cx="368278" cy="358776"/>
          </a:xfrm>
          <a:custGeom>
            <a:avLst/>
            <a:gdLst>
              <a:gd name="T0" fmla="*/ 88 w 116"/>
              <a:gd name="T1" fmla="*/ 78 h 113"/>
              <a:gd name="T2" fmla="*/ 94 w 116"/>
              <a:gd name="T3" fmla="*/ 72 h 113"/>
              <a:gd name="T4" fmla="*/ 100 w 116"/>
              <a:gd name="T5" fmla="*/ 66 h 113"/>
              <a:gd name="T6" fmla="*/ 100 w 116"/>
              <a:gd name="T7" fmla="*/ 59 h 113"/>
              <a:gd name="T8" fmla="*/ 110 w 116"/>
              <a:gd name="T9" fmla="*/ 56 h 113"/>
              <a:gd name="T10" fmla="*/ 116 w 116"/>
              <a:gd name="T11" fmla="*/ 47 h 113"/>
              <a:gd name="T12" fmla="*/ 113 w 116"/>
              <a:gd name="T13" fmla="*/ 41 h 113"/>
              <a:gd name="T14" fmla="*/ 113 w 116"/>
              <a:gd name="T15" fmla="*/ 34 h 113"/>
              <a:gd name="T16" fmla="*/ 106 w 116"/>
              <a:gd name="T17" fmla="*/ 31 h 113"/>
              <a:gd name="T18" fmla="*/ 100 w 116"/>
              <a:gd name="T19" fmla="*/ 22 h 113"/>
              <a:gd name="T20" fmla="*/ 100 w 116"/>
              <a:gd name="T21" fmla="*/ 12 h 113"/>
              <a:gd name="T22" fmla="*/ 97 w 116"/>
              <a:gd name="T23" fmla="*/ 9 h 113"/>
              <a:gd name="T24" fmla="*/ 94 w 116"/>
              <a:gd name="T25" fmla="*/ 3 h 113"/>
              <a:gd name="T26" fmla="*/ 88 w 116"/>
              <a:gd name="T27" fmla="*/ 3 h 113"/>
              <a:gd name="T28" fmla="*/ 81 w 116"/>
              <a:gd name="T29" fmla="*/ 9 h 113"/>
              <a:gd name="T30" fmla="*/ 69 w 116"/>
              <a:gd name="T31" fmla="*/ 9 h 113"/>
              <a:gd name="T32" fmla="*/ 63 w 116"/>
              <a:gd name="T33" fmla="*/ 9 h 113"/>
              <a:gd name="T34" fmla="*/ 56 w 116"/>
              <a:gd name="T35" fmla="*/ 9 h 113"/>
              <a:gd name="T36" fmla="*/ 56 w 116"/>
              <a:gd name="T37" fmla="*/ 16 h 113"/>
              <a:gd name="T38" fmla="*/ 47 w 116"/>
              <a:gd name="T39" fmla="*/ 16 h 113"/>
              <a:gd name="T40" fmla="*/ 44 w 116"/>
              <a:gd name="T41" fmla="*/ 9 h 113"/>
              <a:gd name="T42" fmla="*/ 38 w 116"/>
              <a:gd name="T43" fmla="*/ 9 h 113"/>
              <a:gd name="T44" fmla="*/ 31 w 116"/>
              <a:gd name="T45" fmla="*/ 9 h 113"/>
              <a:gd name="T46" fmla="*/ 31 w 116"/>
              <a:gd name="T47" fmla="*/ 16 h 113"/>
              <a:gd name="T48" fmla="*/ 31 w 116"/>
              <a:gd name="T49" fmla="*/ 16 h 113"/>
              <a:gd name="T50" fmla="*/ 28 w 116"/>
              <a:gd name="T51" fmla="*/ 22 h 113"/>
              <a:gd name="T52" fmla="*/ 25 w 116"/>
              <a:gd name="T53" fmla="*/ 34 h 113"/>
              <a:gd name="T54" fmla="*/ 28 w 116"/>
              <a:gd name="T55" fmla="*/ 41 h 113"/>
              <a:gd name="T56" fmla="*/ 31 w 116"/>
              <a:gd name="T57" fmla="*/ 47 h 113"/>
              <a:gd name="T58" fmla="*/ 22 w 116"/>
              <a:gd name="T59" fmla="*/ 63 h 113"/>
              <a:gd name="T60" fmla="*/ 13 w 116"/>
              <a:gd name="T61" fmla="*/ 72 h 113"/>
              <a:gd name="T62" fmla="*/ 3 w 116"/>
              <a:gd name="T63" fmla="*/ 88 h 113"/>
              <a:gd name="T64" fmla="*/ 3 w 116"/>
              <a:gd name="T65" fmla="*/ 100 h 113"/>
              <a:gd name="T66" fmla="*/ 0 w 116"/>
              <a:gd name="T67" fmla="*/ 113 h 113"/>
              <a:gd name="T68" fmla="*/ 0 w 116"/>
              <a:gd name="T69" fmla="*/ 113 h 113"/>
              <a:gd name="T70" fmla="*/ 10 w 116"/>
              <a:gd name="T71" fmla="*/ 109 h 113"/>
              <a:gd name="T72" fmla="*/ 13 w 116"/>
              <a:gd name="T73" fmla="*/ 113 h 113"/>
              <a:gd name="T74" fmla="*/ 16 w 116"/>
              <a:gd name="T75" fmla="*/ 113 h 113"/>
              <a:gd name="T76" fmla="*/ 19 w 116"/>
              <a:gd name="T77" fmla="*/ 109 h 113"/>
              <a:gd name="T78" fmla="*/ 22 w 116"/>
              <a:gd name="T79" fmla="*/ 106 h 113"/>
              <a:gd name="T80" fmla="*/ 25 w 116"/>
              <a:gd name="T81" fmla="*/ 106 h 113"/>
              <a:gd name="T82" fmla="*/ 41 w 116"/>
              <a:gd name="T83" fmla="*/ 106 h 113"/>
              <a:gd name="T84" fmla="*/ 85 w 116"/>
              <a:gd name="T85" fmla="*/ 10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6" h="113">
                <a:moveTo>
                  <a:pt x="88" y="84"/>
                </a:moveTo>
                <a:lnTo>
                  <a:pt x="88" y="78"/>
                </a:lnTo>
                <a:lnTo>
                  <a:pt x="94" y="75"/>
                </a:lnTo>
                <a:lnTo>
                  <a:pt x="94" y="72"/>
                </a:lnTo>
                <a:lnTo>
                  <a:pt x="97" y="69"/>
                </a:lnTo>
                <a:lnTo>
                  <a:pt x="100" y="66"/>
                </a:lnTo>
                <a:lnTo>
                  <a:pt x="103" y="63"/>
                </a:lnTo>
                <a:lnTo>
                  <a:pt x="100" y="59"/>
                </a:lnTo>
                <a:lnTo>
                  <a:pt x="110" y="59"/>
                </a:lnTo>
                <a:lnTo>
                  <a:pt x="110" y="56"/>
                </a:lnTo>
                <a:lnTo>
                  <a:pt x="110" y="53"/>
                </a:lnTo>
                <a:lnTo>
                  <a:pt x="116" y="47"/>
                </a:lnTo>
                <a:lnTo>
                  <a:pt x="116" y="44"/>
                </a:lnTo>
                <a:lnTo>
                  <a:pt x="113" y="41"/>
                </a:lnTo>
                <a:lnTo>
                  <a:pt x="110" y="38"/>
                </a:lnTo>
                <a:lnTo>
                  <a:pt x="113" y="34"/>
                </a:lnTo>
                <a:lnTo>
                  <a:pt x="110" y="34"/>
                </a:lnTo>
                <a:lnTo>
                  <a:pt x="106" y="31"/>
                </a:lnTo>
                <a:lnTo>
                  <a:pt x="106" y="25"/>
                </a:lnTo>
                <a:lnTo>
                  <a:pt x="100" y="22"/>
                </a:lnTo>
                <a:lnTo>
                  <a:pt x="100" y="19"/>
                </a:lnTo>
                <a:lnTo>
                  <a:pt x="100" y="12"/>
                </a:lnTo>
                <a:lnTo>
                  <a:pt x="97" y="12"/>
                </a:lnTo>
                <a:lnTo>
                  <a:pt x="97" y="9"/>
                </a:lnTo>
                <a:lnTo>
                  <a:pt x="94" y="9"/>
                </a:lnTo>
                <a:lnTo>
                  <a:pt x="94" y="3"/>
                </a:lnTo>
                <a:lnTo>
                  <a:pt x="91" y="0"/>
                </a:lnTo>
                <a:lnTo>
                  <a:pt x="88" y="3"/>
                </a:lnTo>
                <a:lnTo>
                  <a:pt x="85" y="6"/>
                </a:lnTo>
                <a:lnTo>
                  <a:pt x="81" y="9"/>
                </a:lnTo>
                <a:lnTo>
                  <a:pt x="75" y="9"/>
                </a:lnTo>
                <a:lnTo>
                  <a:pt x="69" y="9"/>
                </a:lnTo>
                <a:lnTo>
                  <a:pt x="66" y="9"/>
                </a:lnTo>
                <a:lnTo>
                  <a:pt x="63" y="9"/>
                </a:lnTo>
                <a:lnTo>
                  <a:pt x="60" y="12"/>
                </a:lnTo>
                <a:lnTo>
                  <a:pt x="56" y="9"/>
                </a:lnTo>
                <a:lnTo>
                  <a:pt x="56" y="12"/>
                </a:lnTo>
                <a:lnTo>
                  <a:pt x="56" y="16"/>
                </a:lnTo>
                <a:lnTo>
                  <a:pt x="53" y="16"/>
                </a:lnTo>
                <a:lnTo>
                  <a:pt x="47" y="16"/>
                </a:lnTo>
                <a:lnTo>
                  <a:pt x="47" y="12"/>
                </a:lnTo>
                <a:lnTo>
                  <a:pt x="44" y="9"/>
                </a:lnTo>
                <a:lnTo>
                  <a:pt x="41" y="12"/>
                </a:lnTo>
                <a:lnTo>
                  <a:pt x="38" y="9"/>
                </a:lnTo>
                <a:lnTo>
                  <a:pt x="31" y="9"/>
                </a:lnTo>
                <a:lnTo>
                  <a:pt x="31" y="9"/>
                </a:lnTo>
                <a:lnTo>
                  <a:pt x="31" y="12"/>
                </a:lnTo>
                <a:lnTo>
                  <a:pt x="31" y="16"/>
                </a:lnTo>
                <a:lnTo>
                  <a:pt x="31" y="16"/>
                </a:lnTo>
                <a:lnTo>
                  <a:pt x="31" y="16"/>
                </a:lnTo>
                <a:lnTo>
                  <a:pt x="28" y="19"/>
                </a:lnTo>
                <a:lnTo>
                  <a:pt x="28" y="22"/>
                </a:lnTo>
                <a:lnTo>
                  <a:pt x="28" y="28"/>
                </a:lnTo>
                <a:lnTo>
                  <a:pt x="25" y="34"/>
                </a:lnTo>
                <a:lnTo>
                  <a:pt x="25" y="38"/>
                </a:lnTo>
                <a:lnTo>
                  <a:pt x="28" y="41"/>
                </a:lnTo>
                <a:lnTo>
                  <a:pt x="31" y="44"/>
                </a:lnTo>
                <a:lnTo>
                  <a:pt x="31" y="47"/>
                </a:lnTo>
                <a:lnTo>
                  <a:pt x="31" y="50"/>
                </a:lnTo>
                <a:lnTo>
                  <a:pt x="22" y="63"/>
                </a:lnTo>
                <a:lnTo>
                  <a:pt x="16" y="69"/>
                </a:lnTo>
                <a:lnTo>
                  <a:pt x="13" y="72"/>
                </a:lnTo>
                <a:lnTo>
                  <a:pt x="6" y="84"/>
                </a:lnTo>
                <a:lnTo>
                  <a:pt x="3" y="88"/>
                </a:lnTo>
                <a:lnTo>
                  <a:pt x="3" y="94"/>
                </a:lnTo>
                <a:lnTo>
                  <a:pt x="3" y="100"/>
                </a:lnTo>
                <a:lnTo>
                  <a:pt x="0" y="106"/>
                </a:lnTo>
                <a:lnTo>
                  <a:pt x="0" y="113"/>
                </a:lnTo>
                <a:lnTo>
                  <a:pt x="0" y="113"/>
                </a:lnTo>
                <a:lnTo>
                  <a:pt x="0" y="113"/>
                </a:lnTo>
                <a:lnTo>
                  <a:pt x="3" y="113"/>
                </a:lnTo>
                <a:lnTo>
                  <a:pt x="10" y="109"/>
                </a:lnTo>
                <a:lnTo>
                  <a:pt x="10" y="113"/>
                </a:lnTo>
                <a:lnTo>
                  <a:pt x="13" y="113"/>
                </a:lnTo>
                <a:lnTo>
                  <a:pt x="16" y="113"/>
                </a:lnTo>
                <a:lnTo>
                  <a:pt x="16" y="113"/>
                </a:lnTo>
                <a:lnTo>
                  <a:pt x="16" y="109"/>
                </a:lnTo>
                <a:lnTo>
                  <a:pt x="19" y="109"/>
                </a:lnTo>
                <a:lnTo>
                  <a:pt x="19" y="109"/>
                </a:lnTo>
                <a:lnTo>
                  <a:pt x="22" y="106"/>
                </a:lnTo>
                <a:lnTo>
                  <a:pt x="22" y="106"/>
                </a:lnTo>
                <a:lnTo>
                  <a:pt x="25" y="106"/>
                </a:lnTo>
                <a:lnTo>
                  <a:pt x="41" y="106"/>
                </a:lnTo>
                <a:lnTo>
                  <a:pt x="41" y="106"/>
                </a:lnTo>
                <a:lnTo>
                  <a:pt x="56" y="106"/>
                </a:lnTo>
                <a:lnTo>
                  <a:pt x="85" y="103"/>
                </a:lnTo>
                <a:lnTo>
                  <a:pt x="88" y="8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3" name="Freeform 111">
            <a:extLst>
              <a:ext uri="{FF2B5EF4-FFF2-40B4-BE49-F238E27FC236}">
                <a16:creationId xmlns:a16="http://schemas.microsoft.com/office/drawing/2014/main" id="{DB9F04C6-5A37-A0A1-C344-0C16117E3E28}"/>
              </a:ext>
            </a:extLst>
          </p:cNvPr>
          <p:cNvSpPr>
            <a:spLocks/>
          </p:cNvSpPr>
          <p:nvPr userDrawn="1"/>
        </p:nvSpPr>
        <p:spPr bwMode="auto">
          <a:xfrm>
            <a:off x="14070682" y="8679733"/>
            <a:ext cx="815923" cy="549278"/>
          </a:xfrm>
          <a:custGeom>
            <a:avLst/>
            <a:gdLst>
              <a:gd name="T0" fmla="*/ 163 w 257"/>
              <a:gd name="T1" fmla="*/ 7 h 173"/>
              <a:gd name="T2" fmla="*/ 175 w 257"/>
              <a:gd name="T3" fmla="*/ 25 h 173"/>
              <a:gd name="T4" fmla="*/ 172 w 257"/>
              <a:gd name="T5" fmla="*/ 38 h 173"/>
              <a:gd name="T6" fmla="*/ 182 w 257"/>
              <a:gd name="T7" fmla="*/ 44 h 173"/>
              <a:gd name="T8" fmla="*/ 188 w 257"/>
              <a:gd name="T9" fmla="*/ 54 h 173"/>
              <a:gd name="T10" fmla="*/ 204 w 257"/>
              <a:gd name="T11" fmla="*/ 60 h 173"/>
              <a:gd name="T12" fmla="*/ 213 w 257"/>
              <a:gd name="T13" fmla="*/ 66 h 173"/>
              <a:gd name="T14" fmla="*/ 207 w 257"/>
              <a:gd name="T15" fmla="*/ 76 h 173"/>
              <a:gd name="T16" fmla="*/ 219 w 257"/>
              <a:gd name="T17" fmla="*/ 79 h 173"/>
              <a:gd name="T18" fmla="*/ 229 w 257"/>
              <a:gd name="T19" fmla="*/ 91 h 173"/>
              <a:gd name="T20" fmla="*/ 238 w 257"/>
              <a:gd name="T21" fmla="*/ 101 h 173"/>
              <a:gd name="T22" fmla="*/ 247 w 257"/>
              <a:gd name="T23" fmla="*/ 107 h 173"/>
              <a:gd name="T24" fmla="*/ 257 w 257"/>
              <a:gd name="T25" fmla="*/ 119 h 173"/>
              <a:gd name="T26" fmla="*/ 247 w 257"/>
              <a:gd name="T27" fmla="*/ 119 h 173"/>
              <a:gd name="T28" fmla="*/ 229 w 257"/>
              <a:gd name="T29" fmla="*/ 119 h 173"/>
              <a:gd name="T30" fmla="*/ 219 w 257"/>
              <a:gd name="T31" fmla="*/ 116 h 173"/>
              <a:gd name="T32" fmla="*/ 213 w 257"/>
              <a:gd name="T33" fmla="*/ 116 h 173"/>
              <a:gd name="T34" fmla="*/ 200 w 257"/>
              <a:gd name="T35" fmla="*/ 122 h 173"/>
              <a:gd name="T36" fmla="*/ 194 w 257"/>
              <a:gd name="T37" fmla="*/ 122 h 173"/>
              <a:gd name="T38" fmla="*/ 182 w 257"/>
              <a:gd name="T39" fmla="*/ 126 h 173"/>
              <a:gd name="T40" fmla="*/ 166 w 257"/>
              <a:gd name="T41" fmla="*/ 126 h 173"/>
              <a:gd name="T42" fmla="*/ 154 w 257"/>
              <a:gd name="T43" fmla="*/ 132 h 173"/>
              <a:gd name="T44" fmla="*/ 150 w 257"/>
              <a:gd name="T45" fmla="*/ 138 h 173"/>
              <a:gd name="T46" fmla="*/ 138 w 257"/>
              <a:gd name="T47" fmla="*/ 135 h 173"/>
              <a:gd name="T48" fmla="*/ 122 w 257"/>
              <a:gd name="T49" fmla="*/ 132 h 173"/>
              <a:gd name="T50" fmla="*/ 110 w 257"/>
              <a:gd name="T51" fmla="*/ 126 h 173"/>
              <a:gd name="T52" fmla="*/ 97 w 257"/>
              <a:gd name="T53" fmla="*/ 119 h 173"/>
              <a:gd name="T54" fmla="*/ 88 w 257"/>
              <a:gd name="T55" fmla="*/ 122 h 173"/>
              <a:gd name="T56" fmla="*/ 85 w 257"/>
              <a:gd name="T57" fmla="*/ 132 h 173"/>
              <a:gd name="T58" fmla="*/ 82 w 257"/>
              <a:gd name="T59" fmla="*/ 141 h 173"/>
              <a:gd name="T60" fmla="*/ 79 w 257"/>
              <a:gd name="T61" fmla="*/ 147 h 173"/>
              <a:gd name="T62" fmla="*/ 69 w 257"/>
              <a:gd name="T63" fmla="*/ 144 h 173"/>
              <a:gd name="T64" fmla="*/ 50 w 257"/>
              <a:gd name="T65" fmla="*/ 151 h 173"/>
              <a:gd name="T66" fmla="*/ 32 w 257"/>
              <a:gd name="T67" fmla="*/ 173 h 173"/>
              <a:gd name="T68" fmla="*/ 32 w 257"/>
              <a:gd name="T69" fmla="*/ 163 h 173"/>
              <a:gd name="T70" fmla="*/ 16 w 257"/>
              <a:gd name="T71" fmla="*/ 144 h 173"/>
              <a:gd name="T72" fmla="*/ 4 w 257"/>
              <a:gd name="T73" fmla="*/ 132 h 173"/>
              <a:gd name="T74" fmla="*/ 0 w 257"/>
              <a:gd name="T75" fmla="*/ 110 h 173"/>
              <a:gd name="T76" fmla="*/ 4 w 257"/>
              <a:gd name="T77" fmla="*/ 94 h 173"/>
              <a:gd name="T78" fmla="*/ 16 w 257"/>
              <a:gd name="T79" fmla="*/ 76 h 173"/>
              <a:gd name="T80" fmla="*/ 22 w 257"/>
              <a:gd name="T81" fmla="*/ 69 h 173"/>
              <a:gd name="T82" fmla="*/ 35 w 257"/>
              <a:gd name="T83" fmla="*/ 72 h 173"/>
              <a:gd name="T84" fmla="*/ 44 w 257"/>
              <a:gd name="T85" fmla="*/ 63 h 173"/>
              <a:gd name="T86" fmla="*/ 54 w 257"/>
              <a:gd name="T87" fmla="*/ 66 h 173"/>
              <a:gd name="T88" fmla="*/ 82 w 257"/>
              <a:gd name="T89" fmla="*/ 57 h 173"/>
              <a:gd name="T90" fmla="*/ 88 w 257"/>
              <a:gd name="T91" fmla="*/ 47 h 173"/>
              <a:gd name="T92" fmla="*/ 91 w 257"/>
              <a:gd name="T93" fmla="*/ 41 h 173"/>
              <a:gd name="T94" fmla="*/ 110 w 257"/>
              <a:gd name="T95" fmla="*/ 41 h 173"/>
              <a:gd name="T96" fmla="*/ 122 w 257"/>
              <a:gd name="T97" fmla="*/ 32 h 173"/>
              <a:gd name="T98" fmla="*/ 125 w 257"/>
              <a:gd name="T99" fmla="*/ 22 h 173"/>
              <a:gd name="T100" fmla="*/ 138 w 257"/>
              <a:gd name="T101" fmla="*/ 13 h 173"/>
              <a:gd name="T102" fmla="*/ 144 w 257"/>
              <a:gd name="T103" fmla="*/ 4 h 173"/>
              <a:gd name="T104" fmla="*/ 160 w 257"/>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7" h="173">
                <a:moveTo>
                  <a:pt x="160" y="0"/>
                </a:moveTo>
                <a:lnTo>
                  <a:pt x="163" y="0"/>
                </a:lnTo>
                <a:lnTo>
                  <a:pt x="163" y="4"/>
                </a:lnTo>
                <a:lnTo>
                  <a:pt x="163" y="7"/>
                </a:lnTo>
                <a:lnTo>
                  <a:pt x="166" y="10"/>
                </a:lnTo>
                <a:lnTo>
                  <a:pt x="166" y="10"/>
                </a:lnTo>
                <a:lnTo>
                  <a:pt x="172" y="19"/>
                </a:lnTo>
                <a:lnTo>
                  <a:pt x="175" y="25"/>
                </a:lnTo>
                <a:lnTo>
                  <a:pt x="175" y="29"/>
                </a:lnTo>
                <a:lnTo>
                  <a:pt x="175" y="32"/>
                </a:lnTo>
                <a:lnTo>
                  <a:pt x="175" y="35"/>
                </a:lnTo>
                <a:lnTo>
                  <a:pt x="172" y="38"/>
                </a:lnTo>
                <a:lnTo>
                  <a:pt x="172" y="44"/>
                </a:lnTo>
                <a:lnTo>
                  <a:pt x="175" y="47"/>
                </a:lnTo>
                <a:lnTo>
                  <a:pt x="182" y="47"/>
                </a:lnTo>
                <a:lnTo>
                  <a:pt x="182" y="44"/>
                </a:lnTo>
                <a:lnTo>
                  <a:pt x="188" y="44"/>
                </a:lnTo>
                <a:lnTo>
                  <a:pt x="191" y="47"/>
                </a:lnTo>
                <a:lnTo>
                  <a:pt x="188" y="51"/>
                </a:lnTo>
                <a:lnTo>
                  <a:pt x="188" y="54"/>
                </a:lnTo>
                <a:lnTo>
                  <a:pt x="194" y="57"/>
                </a:lnTo>
                <a:lnTo>
                  <a:pt x="197" y="57"/>
                </a:lnTo>
                <a:lnTo>
                  <a:pt x="200" y="57"/>
                </a:lnTo>
                <a:lnTo>
                  <a:pt x="204" y="60"/>
                </a:lnTo>
                <a:lnTo>
                  <a:pt x="204" y="63"/>
                </a:lnTo>
                <a:lnTo>
                  <a:pt x="210" y="63"/>
                </a:lnTo>
                <a:lnTo>
                  <a:pt x="213" y="63"/>
                </a:lnTo>
                <a:lnTo>
                  <a:pt x="213" y="66"/>
                </a:lnTo>
                <a:lnTo>
                  <a:pt x="213" y="69"/>
                </a:lnTo>
                <a:lnTo>
                  <a:pt x="210" y="72"/>
                </a:lnTo>
                <a:lnTo>
                  <a:pt x="210" y="72"/>
                </a:lnTo>
                <a:lnTo>
                  <a:pt x="207" y="76"/>
                </a:lnTo>
                <a:lnTo>
                  <a:pt x="213" y="79"/>
                </a:lnTo>
                <a:lnTo>
                  <a:pt x="216" y="79"/>
                </a:lnTo>
                <a:lnTo>
                  <a:pt x="216" y="79"/>
                </a:lnTo>
                <a:lnTo>
                  <a:pt x="219" y="79"/>
                </a:lnTo>
                <a:lnTo>
                  <a:pt x="222" y="79"/>
                </a:lnTo>
                <a:lnTo>
                  <a:pt x="229" y="85"/>
                </a:lnTo>
                <a:lnTo>
                  <a:pt x="229" y="85"/>
                </a:lnTo>
                <a:lnTo>
                  <a:pt x="229" y="91"/>
                </a:lnTo>
                <a:lnTo>
                  <a:pt x="232" y="94"/>
                </a:lnTo>
                <a:lnTo>
                  <a:pt x="235" y="94"/>
                </a:lnTo>
                <a:lnTo>
                  <a:pt x="238" y="97"/>
                </a:lnTo>
                <a:lnTo>
                  <a:pt x="238" y="101"/>
                </a:lnTo>
                <a:lnTo>
                  <a:pt x="238" y="101"/>
                </a:lnTo>
                <a:lnTo>
                  <a:pt x="244" y="104"/>
                </a:lnTo>
                <a:lnTo>
                  <a:pt x="247" y="107"/>
                </a:lnTo>
                <a:lnTo>
                  <a:pt x="247" y="107"/>
                </a:lnTo>
                <a:lnTo>
                  <a:pt x="247" y="113"/>
                </a:lnTo>
                <a:lnTo>
                  <a:pt x="250" y="116"/>
                </a:lnTo>
                <a:lnTo>
                  <a:pt x="254" y="119"/>
                </a:lnTo>
                <a:lnTo>
                  <a:pt x="257" y="119"/>
                </a:lnTo>
                <a:lnTo>
                  <a:pt x="257" y="122"/>
                </a:lnTo>
                <a:lnTo>
                  <a:pt x="254" y="119"/>
                </a:lnTo>
                <a:lnTo>
                  <a:pt x="250" y="119"/>
                </a:lnTo>
                <a:lnTo>
                  <a:pt x="247" y="119"/>
                </a:lnTo>
                <a:lnTo>
                  <a:pt x="241" y="122"/>
                </a:lnTo>
                <a:lnTo>
                  <a:pt x="238" y="119"/>
                </a:lnTo>
                <a:lnTo>
                  <a:pt x="232" y="119"/>
                </a:lnTo>
                <a:lnTo>
                  <a:pt x="229" y="119"/>
                </a:lnTo>
                <a:lnTo>
                  <a:pt x="225" y="119"/>
                </a:lnTo>
                <a:lnTo>
                  <a:pt x="225" y="116"/>
                </a:lnTo>
                <a:lnTo>
                  <a:pt x="222" y="116"/>
                </a:lnTo>
                <a:lnTo>
                  <a:pt x="219" y="116"/>
                </a:lnTo>
                <a:lnTo>
                  <a:pt x="216" y="113"/>
                </a:lnTo>
                <a:lnTo>
                  <a:pt x="213" y="116"/>
                </a:lnTo>
                <a:lnTo>
                  <a:pt x="213" y="116"/>
                </a:lnTo>
                <a:lnTo>
                  <a:pt x="213" y="116"/>
                </a:lnTo>
                <a:lnTo>
                  <a:pt x="210" y="122"/>
                </a:lnTo>
                <a:lnTo>
                  <a:pt x="210" y="122"/>
                </a:lnTo>
                <a:lnTo>
                  <a:pt x="207" y="122"/>
                </a:lnTo>
                <a:lnTo>
                  <a:pt x="200" y="122"/>
                </a:lnTo>
                <a:lnTo>
                  <a:pt x="200" y="122"/>
                </a:lnTo>
                <a:lnTo>
                  <a:pt x="197" y="122"/>
                </a:lnTo>
                <a:lnTo>
                  <a:pt x="197" y="122"/>
                </a:lnTo>
                <a:lnTo>
                  <a:pt x="194" y="122"/>
                </a:lnTo>
                <a:lnTo>
                  <a:pt x="194" y="119"/>
                </a:lnTo>
                <a:lnTo>
                  <a:pt x="191" y="119"/>
                </a:lnTo>
                <a:lnTo>
                  <a:pt x="185" y="122"/>
                </a:lnTo>
                <a:lnTo>
                  <a:pt x="182" y="126"/>
                </a:lnTo>
                <a:lnTo>
                  <a:pt x="179" y="126"/>
                </a:lnTo>
                <a:lnTo>
                  <a:pt x="172" y="129"/>
                </a:lnTo>
                <a:lnTo>
                  <a:pt x="169" y="129"/>
                </a:lnTo>
                <a:lnTo>
                  <a:pt x="166" y="126"/>
                </a:lnTo>
                <a:lnTo>
                  <a:pt x="163" y="126"/>
                </a:lnTo>
                <a:lnTo>
                  <a:pt x="160" y="126"/>
                </a:lnTo>
                <a:lnTo>
                  <a:pt x="157" y="129"/>
                </a:lnTo>
                <a:lnTo>
                  <a:pt x="154" y="132"/>
                </a:lnTo>
                <a:lnTo>
                  <a:pt x="154" y="135"/>
                </a:lnTo>
                <a:lnTo>
                  <a:pt x="154" y="135"/>
                </a:lnTo>
                <a:lnTo>
                  <a:pt x="154" y="138"/>
                </a:lnTo>
                <a:lnTo>
                  <a:pt x="150" y="138"/>
                </a:lnTo>
                <a:lnTo>
                  <a:pt x="147" y="138"/>
                </a:lnTo>
                <a:lnTo>
                  <a:pt x="144" y="135"/>
                </a:lnTo>
                <a:lnTo>
                  <a:pt x="141" y="135"/>
                </a:lnTo>
                <a:lnTo>
                  <a:pt x="138" y="135"/>
                </a:lnTo>
                <a:lnTo>
                  <a:pt x="135" y="135"/>
                </a:lnTo>
                <a:lnTo>
                  <a:pt x="132" y="135"/>
                </a:lnTo>
                <a:lnTo>
                  <a:pt x="129" y="135"/>
                </a:lnTo>
                <a:lnTo>
                  <a:pt x="122" y="132"/>
                </a:lnTo>
                <a:lnTo>
                  <a:pt x="119" y="132"/>
                </a:lnTo>
                <a:lnTo>
                  <a:pt x="119" y="132"/>
                </a:lnTo>
                <a:lnTo>
                  <a:pt x="113" y="129"/>
                </a:lnTo>
                <a:lnTo>
                  <a:pt x="110" y="126"/>
                </a:lnTo>
                <a:lnTo>
                  <a:pt x="104" y="122"/>
                </a:lnTo>
                <a:lnTo>
                  <a:pt x="100" y="122"/>
                </a:lnTo>
                <a:lnTo>
                  <a:pt x="97" y="119"/>
                </a:lnTo>
                <a:lnTo>
                  <a:pt x="97" y="119"/>
                </a:lnTo>
                <a:lnTo>
                  <a:pt x="97" y="122"/>
                </a:lnTo>
                <a:lnTo>
                  <a:pt x="94" y="119"/>
                </a:lnTo>
                <a:lnTo>
                  <a:pt x="91" y="122"/>
                </a:lnTo>
                <a:lnTo>
                  <a:pt x="88" y="122"/>
                </a:lnTo>
                <a:lnTo>
                  <a:pt x="85" y="126"/>
                </a:lnTo>
                <a:lnTo>
                  <a:pt x="85" y="129"/>
                </a:lnTo>
                <a:lnTo>
                  <a:pt x="85" y="129"/>
                </a:lnTo>
                <a:lnTo>
                  <a:pt x="85" y="132"/>
                </a:lnTo>
                <a:lnTo>
                  <a:pt x="82" y="132"/>
                </a:lnTo>
                <a:lnTo>
                  <a:pt x="79" y="135"/>
                </a:lnTo>
                <a:lnTo>
                  <a:pt x="79" y="135"/>
                </a:lnTo>
                <a:lnTo>
                  <a:pt x="82" y="141"/>
                </a:lnTo>
                <a:lnTo>
                  <a:pt x="82" y="141"/>
                </a:lnTo>
                <a:lnTo>
                  <a:pt x="82" y="144"/>
                </a:lnTo>
                <a:lnTo>
                  <a:pt x="82" y="147"/>
                </a:lnTo>
                <a:lnTo>
                  <a:pt x="79" y="147"/>
                </a:lnTo>
                <a:lnTo>
                  <a:pt x="75" y="147"/>
                </a:lnTo>
                <a:lnTo>
                  <a:pt x="72" y="147"/>
                </a:lnTo>
                <a:lnTo>
                  <a:pt x="72" y="144"/>
                </a:lnTo>
                <a:lnTo>
                  <a:pt x="69" y="144"/>
                </a:lnTo>
                <a:lnTo>
                  <a:pt x="66" y="144"/>
                </a:lnTo>
                <a:lnTo>
                  <a:pt x="63" y="147"/>
                </a:lnTo>
                <a:lnTo>
                  <a:pt x="60" y="147"/>
                </a:lnTo>
                <a:lnTo>
                  <a:pt x="50" y="151"/>
                </a:lnTo>
                <a:lnTo>
                  <a:pt x="50" y="151"/>
                </a:lnTo>
                <a:lnTo>
                  <a:pt x="47" y="154"/>
                </a:lnTo>
                <a:lnTo>
                  <a:pt x="41" y="157"/>
                </a:lnTo>
                <a:lnTo>
                  <a:pt x="32" y="173"/>
                </a:lnTo>
                <a:lnTo>
                  <a:pt x="32" y="173"/>
                </a:lnTo>
                <a:lnTo>
                  <a:pt x="32" y="169"/>
                </a:lnTo>
                <a:lnTo>
                  <a:pt x="32" y="166"/>
                </a:lnTo>
                <a:lnTo>
                  <a:pt x="32" y="163"/>
                </a:lnTo>
                <a:lnTo>
                  <a:pt x="25" y="157"/>
                </a:lnTo>
                <a:lnTo>
                  <a:pt x="22" y="157"/>
                </a:lnTo>
                <a:lnTo>
                  <a:pt x="19" y="151"/>
                </a:lnTo>
                <a:lnTo>
                  <a:pt x="16" y="144"/>
                </a:lnTo>
                <a:lnTo>
                  <a:pt x="13" y="138"/>
                </a:lnTo>
                <a:lnTo>
                  <a:pt x="10" y="135"/>
                </a:lnTo>
                <a:lnTo>
                  <a:pt x="4" y="132"/>
                </a:lnTo>
                <a:lnTo>
                  <a:pt x="4" y="132"/>
                </a:lnTo>
                <a:lnTo>
                  <a:pt x="4" y="122"/>
                </a:lnTo>
                <a:lnTo>
                  <a:pt x="4" y="119"/>
                </a:lnTo>
                <a:lnTo>
                  <a:pt x="0" y="113"/>
                </a:lnTo>
                <a:lnTo>
                  <a:pt x="0" y="110"/>
                </a:lnTo>
                <a:lnTo>
                  <a:pt x="0" y="104"/>
                </a:lnTo>
                <a:lnTo>
                  <a:pt x="0" y="101"/>
                </a:lnTo>
                <a:lnTo>
                  <a:pt x="0" y="97"/>
                </a:lnTo>
                <a:lnTo>
                  <a:pt x="4" y="94"/>
                </a:lnTo>
                <a:lnTo>
                  <a:pt x="7" y="91"/>
                </a:lnTo>
                <a:lnTo>
                  <a:pt x="10" y="85"/>
                </a:lnTo>
                <a:lnTo>
                  <a:pt x="13" y="79"/>
                </a:lnTo>
                <a:lnTo>
                  <a:pt x="16" y="76"/>
                </a:lnTo>
                <a:lnTo>
                  <a:pt x="19" y="72"/>
                </a:lnTo>
                <a:lnTo>
                  <a:pt x="22" y="69"/>
                </a:lnTo>
                <a:lnTo>
                  <a:pt x="22" y="66"/>
                </a:lnTo>
                <a:lnTo>
                  <a:pt x="22" y="69"/>
                </a:lnTo>
                <a:lnTo>
                  <a:pt x="25" y="72"/>
                </a:lnTo>
                <a:lnTo>
                  <a:pt x="29" y="72"/>
                </a:lnTo>
                <a:lnTo>
                  <a:pt x="32" y="72"/>
                </a:lnTo>
                <a:lnTo>
                  <a:pt x="35" y="72"/>
                </a:lnTo>
                <a:lnTo>
                  <a:pt x="38" y="69"/>
                </a:lnTo>
                <a:lnTo>
                  <a:pt x="38" y="63"/>
                </a:lnTo>
                <a:lnTo>
                  <a:pt x="41" y="63"/>
                </a:lnTo>
                <a:lnTo>
                  <a:pt x="44" y="63"/>
                </a:lnTo>
                <a:lnTo>
                  <a:pt x="44" y="69"/>
                </a:lnTo>
                <a:lnTo>
                  <a:pt x="47" y="69"/>
                </a:lnTo>
                <a:lnTo>
                  <a:pt x="50" y="69"/>
                </a:lnTo>
                <a:lnTo>
                  <a:pt x="54" y="66"/>
                </a:lnTo>
                <a:lnTo>
                  <a:pt x="60" y="63"/>
                </a:lnTo>
                <a:lnTo>
                  <a:pt x="66" y="60"/>
                </a:lnTo>
                <a:lnTo>
                  <a:pt x="75" y="57"/>
                </a:lnTo>
                <a:lnTo>
                  <a:pt x="82" y="57"/>
                </a:lnTo>
                <a:lnTo>
                  <a:pt x="85" y="54"/>
                </a:lnTo>
                <a:lnTo>
                  <a:pt x="91" y="51"/>
                </a:lnTo>
                <a:lnTo>
                  <a:pt x="91" y="47"/>
                </a:lnTo>
                <a:lnTo>
                  <a:pt x="88" y="47"/>
                </a:lnTo>
                <a:lnTo>
                  <a:pt x="85" y="44"/>
                </a:lnTo>
                <a:lnTo>
                  <a:pt x="85" y="41"/>
                </a:lnTo>
                <a:lnTo>
                  <a:pt x="88" y="38"/>
                </a:lnTo>
                <a:lnTo>
                  <a:pt x="91" y="41"/>
                </a:lnTo>
                <a:lnTo>
                  <a:pt x="94" y="38"/>
                </a:lnTo>
                <a:lnTo>
                  <a:pt x="97" y="41"/>
                </a:lnTo>
                <a:lnTo>
                  <a:pt x="104" y="41"/>
                </a:lnTo>
                <a:lnTo>
                  <a:pt x="110" y="41"/>
                </a:lnTo>
                <a:lnTo>
                  <a:pt x="116" y="41"/>
                </a:lnTo>
                <a:lnTo>
                  <a:pt x="119" y="38"/>
                </a:lnTo>
                <a:lnTo>
                  <a:pt x="122" y="35"/>
                </a:lnTo>
                <a:lnTo>
                  <a:pt x="122" y="32"/>
                </a:lnTo>
                <a:lnTo>
                  <a:pt x="122" y="29"/>
                </a:lnTo>
                <a:lnTo>
                  <a:pt x="122" y="25"/>
                </a:lnTo>
                <a:lnTo>
                  <a:pt x="125" y="25"/>
                </a:lnTo>
                <a:lnTo>
                  <a:pt x="125" y="22"/>
                </a:lnTo>
                <a:lnTo>
                  <a:pt x="129" y="19"/>
                </a:lnTo>
                <a:lnTo>
                  <a:pt x="132" y="19"/>
                </a:lnTo>
                <a:lnTo>
                  <a:pt x="132" y="19"/>
                </a:lnTo>
                <a:lnTo>
                  <a:pt x="138" y="13"/>
                </a:lnTo>
                <a:lnTo>
                  <a:pt x="138" y="13"/>
                </a:lnTo>
                <a:lnTo>
                  <a:pt x="138" y="10"/>
                </a:lnTo>
                <a:lnTo>
                  <a:pt x="138" y="7"/>
                </a:lnTo>
                <a:lnTo>
                  <a:pt x="144" y="4"/>
                </a:lnTo>
                <a:lnTo>
                  <a:pt x="147" y="0"/>
                </a:lnTo>
                <a:lnTo>
                  <a:pt x="154" y="0"/>
                </a:lnTo>
                <a:lnTo>
                  <a:pt x="154" y="4"/>
                </a:lnTo>
                <a:lnTo>
                  <a:pt x="160" y="0"/>
                </a:lnTo>
                <a:lnTo>
                  <a:pt x="160"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4" name="Freeform 112">
            <a:extLst>
              <a:ext uri="{FF2B5EF4-FFF2-40B4-BE49-F238E27FC236}">
                <a16:creationId xmlns:a16="http://schemas.microsoft.com/office/drawing/2014/main" id="{2E9068E9-7B1C-2387-F7CF-B38D02113EB4}"/>
              </a:ext>
            </a:extLst>
          </p:cNvPr>
          <p:cNvSpPr>
            <a:spLocks/>
          </p:cNvSpPr>
          <p:nvPr userDrawn="1"/>
        </p:nvSpPr>
        <p:spPr bwMode="auto">
          <a:xfrm>
            <a:off x="13734157" y="7231931"/>
            <a:ext cx="971487" cy="901702"/>
          </a:xfrm>
          <a:custGeom>
            <a:avLst/>
            <a:gdLst>
              <a:gd name="T0" fmla="*/ 288 w 306"/>
              <a:gd name="T1" fmla="*/ 275 h 284"/>
              <a:gd name="T2" fmla="*/ 297 w 306"/>
              <a:gd name="T3" fmla="*/ 81 h 284"/>
              <a:gd name="T4" fmla="*/ 291 w 306"/>
              <a:gd name="T5" fmla="*/ 65 h 284"/>
              <a:gd name="T6" fmla="*/ 297 w 306"/>
              <a:gd name="T7" fmla="*/ 53 h 284"/>
              <a:gd name="T8" fmla="*/ 294 w 306"/>
              <a:gd name="T9" fmla="*/ 40 h 284"/>
              <a:gd name="T10" fmla="*/ 297 w 306"/>
              <a:gd name="T11" fmla="*/ 31 h 284"/>
              <a:gd name="T12" fmla="*/ 294 w 306"/>
              <a:gd name="T13" fmla="*/ 22 h 284"/>
              <a:gd name="T14" fmla="*/ 285 w 306"/>
              <a:gd name="T15" fmla="*/ 22 h 284"/>
              <a:gd name="T16" fmla="*/ 269 w 306"/>
              <a:gd name="T17" fmla="*/ 19 h 284"/>
              <a:gd name="T18" fmla="*/ 260 w 306"/>
              <a:gd name="T19" fmla="*/ 15 h 284"/>
              <a:gd name="T20" fmla="*/ 260 w 306"/>
              <a:gd name="T21" fmla="*/ 12 h 284"/>
              <a:gd name="T22" fmla="*/ 250 w 306"/>
              <a:gd name="T23" fmla="*/ 6 h 284"/>
              <a:gd name="T24" fmla="*/ 238 w 306"/>
              <a:gd name="T25" fmla="*/ 3 h 284"/>
              <a:gd name="T26" fmla="*/ 235 w 306"/>
              <a:gd name="T27" fmla="*/ 6 h 284"/>
              <a:gd name="T28" fmla="*/ 228 w 306"/>
              <a:gd name="T29" fmla="*/ 3 h 284"/>
              <a:gd name="T30" fmla="*/ 213 w 306"/>
              <a:gd name="T31" fmla="*/ 6 h 284"/>
              <a:gd name="T32" fmla="*/ 200 w 306"/>
              <a:gd name="T33" fmla="*/ 15 h 284"/>
              <a:gd name="T34" fmla="*/ 197 w 306"/>
              <a:gd name="T35" fmla="*/ 22 h 284"/>
              <a:gd name="T36" fmla="*/ 200 w 306"/>
              <a:gd name="T37" fmla="*/ 37 h 284"/>
              <a:gd name="T38" fmla="*/ 200 w 306"/>
              <a:gd name="T39" fmla="*/ 50 h 284"/>
              <a:gd name="T40" fmla="*/ 194 w 306"/>
              <a:gd name="T41" fmla="*/ 56 h 284"/>
              <a:gd name="T42" fmla="*/ 185 w 306"/>
              <a:gd name="T43" fmla="*/ 65 h 284"/>
              <a:gd name="T44" fmla="*/ 169 w 306"/>
              <a:gd name="T45" fmla="*/ 56 h 284"/>
              <a:gd name="T46" fmla="*/ 153 w 306"/>
              <a:gd name="T47" fmla="*/ 47 h 284"/>
              <a:gd name="T48" fmla="*/ 131 w 306"/>
              <a:gd name="T49" fmla="*/ 37 h 284"/>
              <a:gd name="T50" fmla="*/ 122 w 306"/>
              <a:gd name="T51" fmla="*/ 40 h 284"/>
              <a:gd name="T52" fmla="*/ 110 w 306"/>
              <a:gd name="T53" fmla="*/ 25 h 284"/>
              <a:gd name="T54" fmla="*/ 103 w 306"/>
              <a:gd name="T55" fmla="*/ 12 h 284"/>
              <a:gd name="T56" fmla="*/ 85 w 306"/>
              <a:gd name="T57" fmla="*/ 6 h 284"/>
              <a:gd name="T58" fmla="*/ 69 w 306"/>
              <a:gd name="T59" fmla="*/ 3 h 284"/>
              <a:gd name="T60" fmla="*/ 44 w 306"/>
              <a:gd name="T61" fmla="*/ 3 h 284"/>
              <a:gd name="T62" fmla="*/ 38 w 306"/>
              <a:gd name="T63" fmla="*/ 0 h 284"/>
              <a:gd name="T64" fmla="*/ 38 w 306"/>
              <a:gd name="T65" fmla="*/ 9 h 284"/>
              <a:gd name="T66" fmla="*/ 35 w 306"/>
              <a:gd name="T67" fmla="*/ 15 h 284"/>
              <a:gd name="T68" fmla="*/ 22 w 306"/>
              <a:gd name="T69" fmla="*/ 28 h 284"/>
              <a:gd name="T70" fmla="*/ 16 w 306"/>
              <a:gd name="T71" fmla="*/ 31 h 284"/>
              <a:gd name="T72" fmla="*/ 13 w 306"/>
              <a:gd name="T73" fmla="*/ 34 h 284"/>
              <a:gd name="T74" fmla="*/ 13 w 306"/>
              <a:gd name="T75" fmla="*/ 44 h 284"/>
              <a:gd name="T76" fmla="*/ 13 w 306"/>
              <a:gd name="T77" fmla="*/ 50 h 284"/>
              <a:gd name="T78" fmla="*/ 13 w 306"/>
              <a:gd name="T79" fmla="*/ 53 h 284"/>
              <a:gd name="T80" fmla="*/ 6 w 306"/>
              <a:gd name="T81" fmla="*/ 59 h 284"/>
              <a:gd name="T82" fmla="*/ 3 w 306"/>
              <a:gd name="T83" fmla="*/ 59 h 284"/>
              <a:gd name="T84" fmla="*/ 0 w 306"/>
              <a:gd name="T85" fmla="*/ 62 h 284"/>
              <a:gd name="T86" fmla="*/ 3 w 306"/>
              <a:gd name="T87" fmla="*/ 69 h 284"/>
              <a:gd name="T88" fmla="*/ 6 w 306"/>
              <a:gd name="T89" fmla="*/ 87 h 284"/>
              <a:gd name="T90" fmla="*/ 6 w 306"/>
              <a:gd name="T91" fmla="*/ 97 h 284"/>
              <a:gd name="T92" fmla="*/ 10 w 306"/>
              <a:gd name="T93" fmla="*/ 112 h 284"/>
              <a:gd name="T94" fmla="*/ 6 w 306"/>
              <a:gd name="T95" fmla="*/ 125 h 284"/>
              <a:gd name="T96" fmla="*/ 10 w 306"/>
              <a:gd name="T97" fmla="*/ 137 h 284"/>
              <a:gd name="T98" fmla="*/ 3 w 306"/>
              <a:gd name="T99" fmla="*/ 141 h 284"/>
              <a:gd name="T100" fmla="*/ 0 w 306"/>
              <a:gd name="T101" fmla="*/ 147 h 284"/>
              <a:gd name="T102" fmla="*/ 6 w 306"/>
              <a:gd name="T103" fmla="*/ 156 h 284"/>
              <a:gd name="T104" fmla="*/ 13 w 306"/>
              <a:gd name="T105" fmla="*/ 162 h 284"/>
              <a:gd name="T106" fmla="*/ 13 w 306"/>
              <a:gd name="T107" fmla="*/ 172 h 284"/>
              <a:gd name="T108" fmla="*/ 16 w 306"/>
              <a:gd name="T109" fmla="*/ 178 h 284"/>
              <a:gd name="T110" fmla="*/ 19 w 306"/>
              <a:gd name="T111" fmla="*/ 184 h 284"/>
              <a:gd name="T112" fmla="*/ 35 w 306"/>
              <a:gd name="T113" fmla="*/ 184 h 284"/>
              <a:gd name="T114" fmla="*/ 41 w 306"/>
              <a:gd name="T115" fmla="*/ 191 h 284"/>
              <a:gd name="T116" fmla="*/ 47 w 306"/>
              <a:gd name="T117" fmla="*/ 203 h 284"/>
              <a:gd name="T118" fmla="*/ 50 w 306"/>
              <a:gd name="T119" fmla="*/ 206 h 284"/>
              <a:gd name="T120" fmla="*/ 88 w 306"/>
              <a:gd name="T121" fmla="*/ 219 h 284"/>
              <a:gd name="T122" fmla="*/ 288 w 306"/>
              <a:gd name="T123" fmla="*/ 284 h 284"/>
              <a:gd name="T124" fmla="*/ 288 w 306"/>
              <a:gd name="T125"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 h="284">
                <a:moveTo>
                  <a:pt x="288" y="284"/>
                </a:moveTo>
                <a:lnTo>
                  <a:pt x="288" y="275"/>
                </a:lnTo>
                <a:lnTo>
                  <a:pt x="306" y="275"/>
                </a:lnTo>
                <a:lnTo>
                  <a:pt x="297" y="81"/>
                </a:lnTo>
                <a:lnTo>
                  <a:pt x="294" y="69"/>
                </a:lnTo>
                <a:lnTo>
                  <a:pt x="291" y="65"/>
                </a:lnTo>
                <a:lnTo>
                  <a:pt x="294" y="59"/>
                </a:lnTo>
                <a:lnTo>
                  <a:pt x="297" y="53"/>
                </a:lnTo>
                <a:lnTo>
                  <a:pt x="297" y="47"/>
                </a:lnTo>
                <a:lnTo>
                  <a:pt x="294" y="40"/>
                </a:lnTo>
                <a:lnTo>
                  <a:pt x="297" y="34"/>
                </a:lnTo>
                <a:lnTo>
                  <a:pt x="297" y="31"/>
                </a:lnTo>
                <a:lnTo>
                  <a:pt x="297" y="25"/>
                </a:lnTo>
                <a:lnTo>
                  <a:pt x="294" y="22"/>
                </a:lnTo>
                <a:lnTo>
                  <a:pt x="291" y="22"/>
                </a:lnTo>
                <a:lnTo>
                  <a:pt x="285" y="22"/>
                </a:lnTo>
                <a:lnTo>
                  <a:pt x="272" y="19"/>
                </a:lnTo>
                <a:lnTo>
                  <a:pt x="269" y="19"/>
                </a:lnTo>
                <a:lnTo>
                  <a:pt x="266" y="19"/>
                </a:lnTo>
                <a:lnTo>
                  <a:pt x="260" y="15"/>
                </a:lnTo>
                <a:lnTo>
                  <a:pt x="256" y="12"/>
                </a:lnTo>
                <a:lnTo>
                  <a:pt x="260" y="12"/>
                </a:lnTo>
                <a:lnTo>
                  <a:pt x="256" y="9"/>
                </a:lnTo>
                <a:lnTo>
                  <a:pt x="250" y="6"/>
                </a:lnTo>
                <a:lnTo>
                  <a:pt x="244" y="6"/>
                </a:lnTo>
                <a:lnTo>
                  <a:pt x="238" y="3"/>
                </a:lnTo>
                <a:lnTo>
                  <a:pt x="238" y="3"/>
                </a:lnTo>
                <a:lnTo>
                  <a:pt x="235" y="6"/>
                </a:lnTo>
                <a:lnTo>
                  <a:pt x="231" y="3"/>
                </a:lnTo>
                <a:lnTo>
                  <a:pt x="228" y="3"/>
                </a:lnTo>
                <a:lnTo>
                  <a:pt x="222" y="6"/>
                </a:lnTo>
                <a:lnTo>
                  <a:pt x="213" y="6"/>
                </a:lnTo>
                <a:lnTo>
                  <a:pt x="206" y="9"/>
                </a:lnTo>
                <a:lnTo>
                  <a:pt x="200" y="15"/>
                </a:lnTo>
                <a:lnTo>
                  <a:pt x="200" y="22"/>
                </a:lnTo>
                <a:lnTo>
                  <a:pt x="197" y="22"/>
                </a:lnTo>
                <a:lnTo>
                  <a:pt x="197" y="31"/>
                </a:lnTo>
                <a:lnTo>
                  <a:pt x="200" y="37"/>
                </a:lnTo>
                <a:lnTo>
                  <a:pt x="203" y="47"/>
                </a:lnTo>
                <a:lnTo>
                  <a:pt x="200" y="50"/>
                </a:lnTo>
                <a:lnTo>
                  <a:pt x="194" y="56"/>
                </a:lnTo>
                <a:lnTo>
                  <a:pt x="194" y="56"/>
                </a:lnTo>
                <a:lnTo>
                  <a:pt x="188" y="62"/>
                </a:lnTo>
                <a:lnTo>
                  <a:pt x="185" y="65"/>
                </a:lnTo>
                <a:lnTo>
                  <a:pt x="175" y="62"/>
                </a:lnTo>
                <a:lnTo>
                  <a:pt x="169" y="56"/>
                </a:lnTo>
                <a:lnTo>
                  <a:pt x="163" y="50"/>
                </a:lnTo>
                <a:lnTo>
                  <a:pt x="153" y="47"/>
                </a:lnTo>
                <a:lnTo>
                  <a:pt x="138" y="40"/>
                </a:lnTo>
                <a:lnTo>
                  <a:pt x="131" y="37"/>
                </a:lnTo>
                <a:lnTo>
                  <a:pt x="128" y="40"/>
                </a:lnTo>
                <a:lnTo>
                  <a:pt x="122" y="40"/>
                </a:lnTo>
                <a:lnTo>
                  <a:pt x="116" y="37"/>
                </a:lnTo>
                <a:lnTo>
                  <a:pt x="110" y="25"/>
                </a:lnTo>
                <a:lnTo>
                  <a:pt x="110" y="19"/>
                </a:lnTo>
                <a:lnTo>
                  <a:pt x="103" y="12"/>
                </a:lnTo>
                <a:lnTo>
                  <a:pt x="91" y="9"/>
                </a:lnTo>
                <a:lnTo>
                  <a:pt x="85" y="6"/>
                </a:lnTo>
                <a:lnTo>
                  <a:pt x="75" y="6"/>
                </a:lnTo>
                <a:lnTo>
                  <a:pt x="69" y="3"/>
                </a:lnTo>
                <a:lnTo>
                  <a:pt x="53" y="6"/>
                </a:lnTo>
                <a:lnTo>
                  <a:pt x="44" y="3"/>
                </a:lnTo>
                <a:lnTo>
                  <a:pt x="41" y="0"/>
                </a:lnTo>
                <a:lnTo>
                  <a:pt x="38" y="0"/>
                </a:lnTo>
                <a:lnTo>
                  <a:pt x="38" y="0"/>
                </a:lnTo>
                <a:lnTo>
                  <a:pt x="38" y="9"/>
                </a:lnTo>
                <a:lnTo>
                  <a:pt x="38" y="9"/>
                </a:lnTo>
                <a:lnTo>
                  <a:pt x="35" y="15"/>
                </a:lnTo>
                <a:lnTo>
                  <a:pt x="22" y="25"/>
                </a:lnTo>
                <a:lnTo>
                  <a:pt x="22" y="28"/>
                </a:lnTo>
                <a:lnTo>
                  <a:pt x="19" y="31"/>
                </a:lnTo>
                <a:lnTo>
                  <a:pt x="16" y="31"/>
                </a:lnTo>
                <a:lnTo>
                  <a:pt x="13" y="34"/>
                </a:lnTo>
                <a:lnTo>
                  <a:pt x="13" y="34"/>
                </a:lnTo>
                <a:lnTo>
                  <a:pt x="13" y="37"/>
                </a:lnTo>
                <a:lnTo>
                  <a:pt x="13" y="44"/>
                </a:lnTo>
                <a:lnTo>
                  <a:pt x="13" y="50"/>
                </a:lnTo>
                <a:lnTo>
                  <a:pt x="13" y="50"/>
                </a:lnTo>
                <a:lnTo>
                  <a:pt x="13" y="53"/>
                </a:lnTo>
                <a:lnTo>
                  <a:pt x="13" y="53"/>
                </a:lnTo>
                <a:lnTo>
                  <a:pt x="10" y="56"/>
                </a:lnTo>
                <a:lnTo>
                  <a:pt x="6" y="59"/>
                </a:lnTo>
                <a:lnTo>
                  <a:pt x="6" y="59"/>
                </a:lnTo>
                <a:lnTo>
                  <a:pt x="3" y="59"/>
                </a:lnTo>
                <a:lnTo>
                  <a:pt x="3" y="59"/>
                </a:lnTo>
                <a:lnTo>
                  <a:pt x="0" y="62"/>
                </a:lnTo>
                <a:lnTo>
                  <a:pt x="0" y="69"/>
                </a:lnTo>
                <a:lnTo>
                  <a:pt x="3" y="69"/>
                </a:lnTo>
                <a:lnTo>
                  <a:pt x="6" y="75"/>
                </a:lnTo>
                <a:lnTo>
                  <a:pt x="6" y="87"/>
                </a:lnTo>
                <a:lnTo>
                  <a:pt x="6" y="94"/>
                </a:lnTo>
                <a:lnTo>
                  <a:pt x="6" y="97"/>
                </a:lnTo>
                <a:lnTo>
                  <a:pt x="6" y="106"/>
                </a:lnTo>
                <a:lnTo>
                  <a:pt x="10" y="112"/>
                </a:lnTo>
                <a:lnTo>
                  <a:pt x="6" y="122"/>
                </a:lnTo>
                <a:lnTo>
                  <a:pt x="6" y="125"/>
                </a:lnTo>
                <a:lnTo>
                  <a:pt x="10" y="128"/>
                </a:lnTo>
                <a:lnTo>
                  <a:pt x="10" y="137"/>
                </a:lnTo>
                <a:lnTo>
                  <a:pt x="6" y="137"/>
                </a:lnTo>
                <a:lnTo>
                  <a:pt x="3" y="141"/>
                </a:lnTo>
                <a:lnTo>
                  <a:pt x="0" y="144"/>
                </a:lnTo>
                <a:lnTo>
                  <a:pt x="0" y="147"/>
                </a:lnTo>
                <a:lnTo>
                  <a:pt x="3" y="150"/>
                </a:lnTo>
                <a:lnTo>
                  <a:pt x="6" y="156"/>
                </a:lnTo>
                <a:lnTo>
                  <a:pt x="13" y="162"/>
                </a:lnTo>
                <a:lnTo>
                  <a:pt x="13" y="162"/>
                </a:lnTo>
                <a:lnTo>
                  <a:pt x="13" y="169"/>
                </a:lnTo>
                <a:lnTo>
                  <a:pt x="13" y="172"/>
                </a:lnTo>
                <a:lnTo>
                  <a:pt x="13" y="175"/>
                </a:lnTo>
                <a:lnTo>
                  <a:pt x="16" y="178"/>
                </a:lnTo>
                <a:lnTo>
                  <a:pt x="16" y="181"/>
                </a:lnTo>
                <a:lnTo>
                  <a:pt x="19" y="184"/>
                </a:lnTo>
                <a:lnTo>
                  <a:pt x="25" y="184"/>
                </a:lnTo>
                <a:lnTo>
                  <a:pt x="35" y="184"/>
                </a:lnTo>
                <a:lnTo>
                  <a:pt x="38" y="187"/>
                </a:lnTo>
                <a:lnTo>
                  <a:pt x="41" y="191"/>
                </a:lnTo>
                <a:lnTo>
                  <a:pt x="44" y="200"/>
                </a:lnTo>
                <a:lnTo>
                  <a:pt x="47" y="203"/>
                </a:lnTo>
                <a:lnTo>
                  <a:pt x="47" y="206"/>
                </a:lnTo>
                <a:lnTo>
                  <a:pt x="50" y="206"/>
                </a:lnTo>
                <a:lnTo>
                  <a:pt x="85" y="216"/>
                </a:lnTo>
                <a:lnTo>
                  <a:pt x="88" y="219"/>
                </a:lnTo>
                <a:lnTo>
                  <a:pt x="128" y="203"/>
                </a:lnTo>
                <a:lnTo>
                  <a:pt x="288" y="284"/>
                </a:lnTo>
                <a:lnTo>
                  <a:pt x="288" y="284"/>
                </a:lnTo>
                <a:lnTo>
                  <a:pt x="288" y="28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5" name="Freeform 113">
            <a:extLst>
              <a:ext uri="{FF2B5EF4-FFF2-40B4-BE49-F238E27FC236}">
                <a16:creationId xmlns:a16="http://schemas.microsoft.com/office/drawing/2014/main" id="{110F2053-89AE-A154-378B-F0E5264E54C7}"/>
              </a:ext>
            </a:extLst>
          </p:cNvPr>
          <p:cNvSpPr>
            <a:spLocks noEditPoints="1"/>
          </p:cNvSpPr>
          <p:nvPr userDrawn="1"/>
        </p:nvSpPr>
        <p:spPr bwMode="auto">
          <a:xfrm>
            <a:off x="13616686" y="6933480"/>
            <a:ext cx="238111" cy="485776"/>
          </a:xfrm>
          <a:custGeom>
            <a:avLst/>
            <a:gdLst>
              <a:gd name="T0" fmla="*/ 43 w 75"/>
              <a:gd name="T1" fmla="*/ 153 h 153"/>
              <a:gd name="T2" fmla="*/ 47 w 75"/>
              <a:gd name="T3" fmla="*/ 150 h 153"/>
              <a:gd name="T4" fmla="*/ 50 w 75"/>
              <a:gd name="T5" fmla="*/ 147 h 153"/>
              <a:gd name="T6" fmla="*/ 50 w 75"/>
              <a:gd name="T7" fmla="*/ 144 h 153"/>
              <a:gd name="T8" fmla="*/ 50 w 75"/>
              <a:gd name="T9" fmla="*/ 131 h 153"/>
              <a:gd name="T10" fmla="*/ 50 w 75"/>
              <a:gd name="T11" fmla="*/ 128 h 153"/>
              <a:gd name="T12" fmla="*/ 56 w 75"/>
              <a:gd name="T13" fmla="*/ 125 h 153"/>
              <a:gd name="T14" fmla="*/ 59 w 75"/>
              <a:gd name="T15" fmla="*/ 119 h 153"/>
              <a:gd name="T16" fmla="*/ 75 w 75"/>
              <a:gd name="T17" fmla="*/ 103 h 153"/>
              <a:gd name="T18" fmla="*/ 75 w 75"/>
              <a:gd name="T19" fmla="*/ 94 h 153"/>
              <a:gd name="T20" fmla="*/ 72 w 75"/>
              <a:gd name="T21" fmla="*/ 94 h 153"/>
              <a:gd name="T22" fmla="*/ 65 w 75"/>
              <a:gd name="T23" fmla="*/ 87 h 153"/>
              <a:gd name="T24" fmla="*/ 62 w 75"/>
              <a:gd name="T25" fmla="*/ 84 h 153"/>
              <a:gd name="T26" fmla="*/ 62 w 75"/>
              <a:gd name="T27" fmla="*/ 84 h 153"/>
              <a:gd name="T28" fmla="*/ 56 w 75"/>
              <a:gd name="T29" fmla="*/ 84 h 153"/>
              <a:gd name="T30" fmla="*/ 53 w 75"/>
              <a:gd name="T31" fmla="*/ 84 h 153"/>
              <a:gd name="T32" fmla="*/ 43 w 75"/>
              <a:gd name="T33" fmla="*/ 72 h 153"/>
              <a:gd name="T34" fmla="*/ 56 w 75"/>
              <a:gd name="T35" fmla="*/ 59 h 153"/>
              <a:gd name="T36" fmla="*/ 62 w 75"/>
              <a:gd name="T37" fmla="*/ 53 h 153"/>
              <a:gd name="T38" fmla="*/ 62 w 75"/>
              <a:gd name="T39" fmla="*/ 50 h 153"/>
              <a:gd name="T40" fmla="*/ 62 w 75"/>
              <a:gd name="T41" fmla="*/ 44 h 153"/>
              <a:gd name="T42" fmla="*/ 56 w 75"/>
              <a:gd name="T43" fmla="*/ 37 h 153"/>
              <a:gd name="T44" fmla="*/ 53 w 75"/>
              <a:gd name="T45" fmla="*/ 25 h 153"/>
              <a:gd name="T46" fmla="*/ 56 w 75"/>
              <a:gd name="T47" fmla="*/ 19 h 153"/>
              <a:gd name="T48" fmla="*/ 59 w 75"/>
              <a:gd name="T49" fmla="*/ 9 h 153"/>
              <a:gd name="T50" fmla="*/ 53 w 75"/>
              <a:gd name="T51" fmla="*/ 12 h 153"/>
              <a:gd name="T52" fmla="*/ 47 w 75"/>
              <a:gd name="T53" fmla="*/ 16 h 153"/>
              <a:gd name="T54" fmla="*/ 43 w 75"/>
              <a:gd name="T55" fmla="*/ 6 h 153"/>
              <a:gd name="T56" fmla="*/ 40 w 75"/>
              <a:gd name="T57" fmla="*/ 0 h 153"/>
              <a:gd name="T58" fmla="*/ 37 w 75"/>
              <a:gd name="T59" fmla="*/ 3 h 153"/>
              <a:gd name="T60" fmla="*/ 28 w 75"/>
              <a:gd name="T61" fmla="*/ 3 h 153"/>
              <a:gd name="T62" fmla="*/ 15 w 75"/>
              <a:gd name="T63" fmla="*/ 9 h 153"/>
              <a:gd name="T64" fmla="*/ 15 w 75"/>
              <a:gd name="T65" fmla="*/ 12 h 153"/>
              <a:gd name="T66" fmla="*/ 15 w 75"/>
              <a:gd name="T67" fmla="*/ 22 h 153"/>
              <a:gd name="T68" fmla="*/ 12 w 75"/>
              <a:gd name="T69" fmla="*/ 37 h 153"/>
              <a:gd name="T70" fmla="*/ 15 w 75"/>
              <a:gd name="T71" fmla="*/ 47 h 153"/>
              <a:gd name="T72" fmla="*/ 15 w 75"/>
              <a:gd name="T73" fmla="*/ 47 h 153"/>
              <a:gd name="T74" fmla="*/ 15 w 75"/>
              <a:gd name="T75" fmla="*/ 53 h 153"/>
              <a:gd name="T76" fmla="*/ 12 w 75"/>
              <a:gd name="T77" fmla="*/ 62 h 153"/>
              <a:gd name="T78" fmla="*/ 9 w 75"/>
              <a:gd name="T79" fmla="*/ 66 h 153"/>
              <a:gd name="T80" fmla="*/ 3 w 75"/>
              <a:gd name="T81" fmla="*/ 72 h 153"/>
              <a:gd name="T82" fmla="*/ 0 w 75"/>
              <a:gd name="T83" fmla="*/ 84 h 153"/>
              <a:gd name="T84" fmla="*/ 3 w 75"/>
              <a:gd name="T85" fmla="*/ 91 h 153"/>
              <a:gd name="T86" fmla="*/ 6 w 75"/>
              <a:gd name="T87" fmla="*/ 94 h 153"/>
              <a:gd name="T88" fmla="*/ 12 w 75"/>
              <a:gd name="T89" fmla="*/ 103 h 153"/>
              <a:gd name="T90" fmla="*/ 18 w 75"/>
              <a:gd name="T91" fmla="*/ 109 h 153"/>
              <a:gd name="T92" fmla="*/ 28 w 75"/>
              <a:gd name="T93" fmla="*/ 116 h 153"/>
              <a:gd name="T94" fmla="*/ 40 w 75"/>
              <a:gd name="T95" fmla="*/ 153 h 153"/>
              <a:gd name="T96" fmla="*/ 59 w 75"/>
              <a:gd name="T97" fmla="*/ 78 h 153"/>
              <a:gd name="T98" fmla="*/ 62 w 75"/>
              <a:gd name="T99" fmla="*/ 81 h 153"/>
              <a:gd name="T100" fmla="*/ 56 w 75"/>
              <a:gd name="T101" fmla="*/ 7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5" h="153">
                <a:moveTo>
                  <a:pt x="40" y="153"/>
                </a:moveTo>
                <a:lnTo>
                  <a:pt x="43" y="153"/>
                </a:lnTo>
                <a:lnTo>
                  <a:pt x="43" y="153"/>
                </a:lnTo>
                <a:lnTo>
                  <a:pt x="47" y="150"/>
                </a:lnTo>
                <a:lnTo>
                  <a:pt x="50" y="147"/>
                </a:lnTo>
                <a:lnTo>
                  <a:pt x="50" y="147"/>
                </a:lnTo>
                <a:lnTo>
                  <a:pt x="50" y="144"/>
                </a:lnTo>
                <a:lnTo>
                  <a:pt x="50" y="144"/>
                </a:lnTo>
                <a:lnTo>
                  <a:pt x="50" y="138"/>
                </a:lnTo>
                <a:lnTo>
                  <a:pt x="50" y="131"/>
                </a:lnTo>
                <a:lnTo>
                  <a:pt x="50" y="128"/>
                </a:lnTo>
                <a:lnTo>
                  <a:pt x="50" y="128"/>
                </a:lnTo>
                <a:lnTo>
                  <a:pt x="53" y="125"/>
                </a:lnTo>
                <a:lnTo>
                  <a:pt x="56" y="125"/>
                </a:lnTo>
                <a:lnTo>
                  <a:pt x="59" y="122"/>
                </a:lnTo>
                <a:lnTo>
                  <a:pt x="59" y="119"/>
                </a:lnTo>
                <a:lnTo>
                  <a:pt x="72" y="109"/>
                </a:lnTo>
                <a:lnTo>
                  <a:pt x="75" y="103"/>
                </a:lnTo>
                <a:lnTo>
                  <a:pt x="75" y="103"/>
                </a:lnTo>
                <a:lnTo>
                  <a:pt x="75" y="94"/>
                </a:lnTo>
                <a:lnTo>
                  <a:pt x="75" y="94"/>
                </a:lnTo>
                <a:lnTo>
                  <a:pt x="72" y="94"/>
                </a:lnTo>
                <a:lnTo>
                  <a:pt x="65" y="91"/>
                </a:lnTo>
                <a:lnTo>
                  <a:pt x="65" y="87"/>
                </a:lnTo>
                <a:lnTo>
                  <a:pt x="65" y="84"/>
                </a:lnTo>
                <a:lnTo>
                  <a:pt x="62" y="84"/>
                </a:lnTo>
                <a:lnTo>
                  <a:pt x="62" y="84"/>
                </a:lnTo>
                <a:lnTo>
                  <a:pt x="62" y="84"/>
                </a:lnTo>
                <a:lnTo>
                  <a:pt x="59" y="87"/>
                </a:lnTo>
                <a:lnTo>
                  <a:pt x="56" y="84"/>
                </a:lnTo>
                <a:lnTo>
                  <a:pt x="56" y="81"/>
                </a:lnTo>
                <a:lnTo>
                  <a:pt x="53" y="84"/>
                </a:lnTo>
                <a:lnTo>
                  <a:pt x="47" y="78"/>
                </a:lnTo>
                <a:lnTo>
                  <a:pt x="43" y="72"/>
                </a:lnTo>
                <a:lnTo>
                  <a:pt x="47" y="66"/>
                </a:lnTo>
                <a:lnTo>
                  <a:pt x="56" y="59"/>
                </a:lnTo>
                <a:lnTo>
                  <a:pt x="62" y="53"/>
                </a:lnTo>
                <a:lnTo>
                  <a:pt x="62" y="53"/>
                </a:lnTo>
                <a:lnTo>
                  <a:pt x="62" y="50"/>
                </a:lnTo>
                <a:lnTo>
                  <a:pt x="62" y="50"/>
                </a:lnTo>
                <a:lnTo>
                  <a:pt x="62" y="47"/>
                </a:lnTo>
                <a:lnTo>
                  <a:pt x="62" y="44"/>
                </a:lnTo>
                <a:lnTo>
                  <a:pt x="62" y="37"/>
                </a:lnTo>
                <a:lnTo>
                  <a:pt x="56" y="37"/>
                </a:lnTo>
                <a:lnTo>
                  <a:pt x="50" y="28"/>
                </a:lnTo>
                <a:lnTo>
                  <a:pt x="53" y="25"/>
                </a:lnTo>
                <a:lnTo>
                  <a:pt x="56" y="22"/>
                </a:lnTo>
                <a:lnTo>
                  <a:pt x="56" y="19"/>
                </a:lnTo>
                <a:lnTo>
                  <a:pt x="59" y="12"/>
                </a:lnTo>
                <a:lnTo>
                  <a:pt x="59" y="9"/>
                </a:lnTo>
                <a:lnTo>
                  <a:pt x="59" y="6"/>
                </a:lnTo>
                <a:lnTo>
                  <a:pt x="53" y="12"/>
                </a:lnTo>
                <a:lnTo>
                  <a:pt x="50" y="16"/>
                </a:lnTo>
                <a:lnTo>
                  <a:pt x="47" y="16"/>
                </a:lnTo>
                <a:lnTo>
                  <a:pt x="43" y="6"/>
                </a:lnTo>
                <a:lnTo>
                  <a:pt x="43" y="6"/>
                </a:lnTo>
                <a:lnTo>
                  <a:pt x="43" y="3"/>
                </a:lnTo>
                <a:lnTo>
                  <a:pt x="40" y="0"/>
                </a:lnTo>
                <a:lnTo>
                  <a:pt x="37" y="3"/>
                </a:lnTo>
                <a:lnTo>
                  <a:pt x="37" y="3"/>
                </a:lnTo>
                <a:lnTo>
                  <a:pt x="34" y="3"/>
                </a:lnTo>
                <a:lnTo>
                  <a:pt x="28" y="3"/>
                </a:lnTo>
                <a:lnTo>
                  <a:pt x="22" y="6"/>
                </a:lnTo>
                <a:lnTo>
                  <a:pt x="15" y="9"/>
                </a:lnTo>
                <a:lnTo>
                  <a:pt x="15" y="9"/>
                </a:lnTo>
                <a:lnTo>
                  <a:pt x="15" y="12"/>
                </a:lnTo>
                <a:lnTo>
                  <a:pt x="15" y="16"/>
                </a:lnTo>
                <a:lnTo>
                  <a:pt x="15" y="22"/>
                </a:lnTo>
                <a:lnTo>
                  <a:pt x="15" y="28"/>
                </a:lnTo>
                <a:lnTo>
                  <a:pt x="12" y="37"/>
                </a:lnTo>
                <a:lnTo>
                  <a:pt x="12" y="44"/>
                </a:lnTo>
                <a:lnTo>
                  <a:pt x="15" y="47"/>
                </a:lnTo>
                <a:lnTo>
                  <a:pt x="15" y="47"/>
                </a:lnTo>
                <a:lnTo>
                  <a:pt x="15" y="47"/>
                </a:lnTo>
                <a:lnTo>
                  <a:pt x="12" y="50"/>
                </a:lnTo>
                <a:lnTo>
                  <a:pt x="15" y="53"/>
                </a:lnTo>
                <a:lnTo>
                  <a:pt x="15" y="56"/>
                </a:lnTo>
                <a:lnTo>
                  <a:pt x="12" y="62"/>
                </a:lnTo>
                <a:lnTo>
                  <a:pt x="9" y="66"/>
                </a:lnTo>
                <a:lnTo>
                  <a:pt x="9" y="66"/>
                </a:lnTo>
                <a:lnTo>
                  <a:pt x="6" y="69"/>
                </a:lnTo>
                <a:lnTo>
                  <a:pt x="3" y="72"/>
                </a:lnTo>
                <a:lnTo>
                  <a:pt x="0" y="81"/>
                </a:lnTo>
                <a:lnTo>
                  <a:pt x="0" y="84"/>
                </a:lnTo>
                <a:lnTo>
                  <a:pt x="3" y="87"/>
                </a:lnTo>
                <a:lnTo>
                  <a:pt x="3" y="91"/>
                </a:lnTo>
                <a:lnTo>
                  <a:pt x="6" y="94"/>
                </a:lnTo>
                <a:lnTo>
                  <a:pt x="6" y="94"/>
                </a:lnTo>
                <a:lnTo>
                  <a:pt x="12" y="100"/>
                </a:lnTo>
                <a:lnTo>
                  <a:pt x="12" y="103"/>
                </a:lnTo>
                <a:lnTo>
                  <a:pt x="18" y="106"/>
                </a:lnTo>
                <a:lnTo>
                  <a:pt x="18" y="109"/>
                </a:lnTo>
                <a:lnTo>
                  <a:pt x="22" y="109"/>
                </a:lnTo>
                <a:lnTo>
                  <a:pt x="28" y="116"/>
                </a:lnTo>
                <a:lnTo>
                  <a:pt x="40" y="153"/>
                </a:lnTo>
                <a:lnTo>
                  <a:pt x="40" y="153"/>
                </a:lnTo>
                <a:close/>
                <a:moveTo>
                  <a:pt x="56" y="78"/>
                </a:moveTo>
                <a:lnTo>
                  <a:pt x="59" y="78"/>
                </a:lnTo>
                <a:lnTo>
                  <a:pt x="62" y="78"/>
                </a:lnTo>
                <a:lnTo>
                  <a:pt x="62" y="81"/>
                </a:lnTo>
                <a:lnTo>
                  <a:pt x="59" y="81"/>
                </a:lnTo>
                <a:lnTo>
                  <a:pt x="56" y="78"/>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6" name="Freeform 114">
            <a:extLst>
              <a:ext uri="{FF2B5EF4-FFF2-40B4-BE49-F238E27FC236}">
                <a16:creationId xmlns:a16="http://schemas.microsoft.com/office/drawing/2014/main" id="{E920A03B-2FF5-5BCE-10F0-C715AC6434E3}"/>
              </a:ext>
            </a:extLst>
          </p:cNvPr>
          <p:cNvSpPr>
            <a:spLocks/>
          </p:cNvSpPr>
          <p:nvPr userDrawn="1"/>
        </p:nvSpPr>
        <p:spPr bwMode="auto">
          <a:xfrm>
            <a:off x="12642026" y="6952533"/>
            <a:ext cx="1250869" cy="1212850"/>
          </a:xfrm>
          <a:custGeom>
            <a:avLst/>
            <a:gdLst>
              <a:gd name="T0" fmla="*/ 391 w 394"/>
              <a:gd name="T1" fmla="*/ 291 h 382"/>
              <a:gd name="T2" fmla="*/ 382 w 394"/>
              <a:gd name="T3" fmla="*/ 275 h 382"/>
              <a:gd name="T4" fmla="*/ 363 w 394"/>
              <a:gd name="T5" fmla="*/ 272 h 382"/>
              <a:gd name="T6" fmla="*/ 357 w 394"/>
              <a:gd name="T7" fmla="*/ 263 h 382"/>
              <a:gd name="T8" fmla="*/ 357 w 394"/>
              <a:gd name="T9" fmla="*/ 250 h 382"/>
              <a:gd name="T10" fmla="*/ 347 w 394"/>
              <a:gd name="T11" fmla="*/ 238 h 382"/>
              <a:gd name="T12" fmla="*/ 347 w 394"/>
              <a:gd name="T13" fmla="*/ 229 h 382"/>
              <a:gd name="T14" fmla="*/ 354 w 394"/>
              <a:gd name="T15" fmla="*/ 216 h 382"/>
              <a:gd name="T16" fmla="*/ 354 w 394"/>
              <a:gd name="T17" fmla="*/ 200 h 382"/>
              <a:gd name="T18" fmla="*/ 350 w 394"/>
              <a:gd name="T19" fmla="*/ 182 h 382"/>
              <a:gd name="T20" fmla="*/ 347 w 394"/>
              <a:gd name="T21" fmla="*/ 157 h 382"/>
              <a:gd name="T22" fmla="*/ 347 w 394"/>
              <a:gd name="T23" fmla="*/ 147 h 382"/>
              <a:gd name="T24" fmla="*/ 325 w 394"/>
              <a:gd name="T25" fmla="*/ 103 h 382"/>
              <a:gd name="T26" fmla="*/ 319 w 394"/>
              <a:gd name="T27" fmla="*/ 94 h 382"/>
              <a:gd name="T28" fmla="*/ 310 w 394"/>
              <a:gd name="T29" fmla="*/ 85 h 382"/>
              <a:gd name="T30" fmla="*/ 307 w 394"/>
              <a:gd name="T31" fmla="*/ 75 h 382"/>
              <a:gd name="T32" fmla="*/ 316 w 394"/>
              <a:gd name="T33" fmla="*/ 60 h 382"/>
              <a:gd name="T34" fmla="*/ 322 w 394"/>
              <a:gd name="T35" fmla="*/ 50 h 382"/>
              <a:gd name="T36" fmla="*/ 322 w 394"/>
              <a:gd name="T37" fmla="*/ 41 h 382"/>
              <a:gd name="T38" fmla="*/ 319 w 394"/>
              <a:gd name="T39" fmla="*/ 38 h 382"/>
              <a:gd name="T40" fmla="*/ 322 w 394"/>
              <a:gd name="T41" fmla="*/ 16 h 382"/>
              <a:gd name="T42" fmla="*/ 322 w 394"/>
              <a:gd name="T43" fmla="*/ 3 h 382"/>
              <a:gd name="T44" fmla="*/ 313 w 394"/>
              <a:gd name="T45" fmla="*/ 3 h 382"/>
              <a:gd name="T46" fmla="*/ 297 w 394"/>
              <a:gd name="T47" fmla="*/ 0 h 382"/>
              <a:gd name="T48" fmla="*/ 285 w 394"/>
              <a:gd name="T49" fmla="*/ 6 h 382"/>
              <a:gd name="T50" fmla="*/ 279 w 394"/>
              <a:gd name="T51" fmla="*/ 0 h 382"/>
              <a:gd name="T52" fmla="*/ 272 w 394"/>
              <a:gd name="T53" fmla="*/ 6 h 382"/>
              <a:gd name="T54" fmla="*/ 263 w 394"/>
              <a:gd name="T55" fmla="*/ 10 h 382"/>
              <a:gd name="T56" fmla="*/ 250 w 394"/>
              <a:gd name="T57" fmla="*/ 6 h 382"/>
              <a:gd name="T58" fmla="*/ 238 w 394"/>
              <a:gd name="T59" fmla="*/ 6 h 382"/>
              <a:gd name="T60" fmla="*/ 232 w 394"/>
              <a:gd name="T61" fmla="*/ 3 h 382"/>
              <a:gd name="T62" fmla="*/ 219 w 394"/>
              <a:gd name="T63" fmla="*/ 6 h 382"/>
              <a:gd name="T64" fmla="*/ 207 w 394"/>
              <a:gd name="T65" fmla="*/ 10 h 382"/>
              <a:gd name="T66" fmla="*/ 191 w 394"/>
              <a:gd name="T67" fmla="*/ 10 h 382"/>
              <a:gd name="T68" fmla="*/ 175 w 394"/>
              <a:gd name="T69" fmla="*/ 19 h 382"/>
              <a:gd name="T70" fmla="*/ 166 w 394"/>
              <a:gd name="T71" fmla="*/ 28 h 382"/>
              <a:gd name="T72" fmla="*/ 160 w 394"/>
              <a:gd name="T73" fmla="*/ 28 h 382"/>
              <a:gd name="T74" fmla="*/ 150 w 394"/>
              <a:gd name="T75" fmla="*/ 31 h 382"/>
              <a:gd name="T76" fmla="*/ 144 w 394"/>
              <a:gd name="T77" fmla="*/ 38 h 382"/>
              <a:gd name="T78" fmla="*/ 128 w 394"/>
              <a:gd name="T79" fmla="*/ 44 h 382"/>
              <a:gd name="T80" fmla="*/ 135 w 394"/>
              <a:gd name="T81" fmla="*/ 50 h 382"/>
              <a:gd name="T82" fmla="*/ 135 w 394"/>
              <a:gd name="T83" fmla="*/ 63 h 382"/>
              <a:gd name="T84" fmla="*/ 138 w 394"/>
              <a:gd name="T85" fmla="*/ 88 h 382"/>
              <a:gd name="T86" fmla="*/ 144 w 394"/>
              <a:gd name="T87" fmla="*/ 97 h 382"/>
              <a:gd name="T88" fmla="*/ 150 w 394"/>
              <a:gd name="T89" fmla="*/ 100 h 382"/>
              <a:gd name="T90" fmla="*/ 144 w 394"/>
              <a:gd name="T91" fmla="*/ 113 h 382"/>
              <a:gd name="T92" fmla="*/ 113 w 394"/>
              <a:gd name="T93" fmla="*/ 119 h 382"/>
              <a:gd name="T94" fmla="*/ 107 w 394"/>
              <a:gd name="T95" fmla="*/ 135 h 382"/>
              <a:gd name="T96" fmla="*/ 72 w 394"/>
              <a:gd name="T97" fmla="*/ 160 h 382"/>
              <a:gd name="T98" fmla="*/ 41 w 394"/>
              <a:gd name="T99" fmla="*/ 172 h 382"/>
              <a:gd name="T100" fmla="*/ 19 w 394"/>
              <a:gd name="T101" fmla="*/ 175 h 382"/>
              <a:gd name="T102" fmla="*/ 0 w 394"/>
              <a:gd name="T103" fmla="*/ 191 h 382"/>
              <a:gd name="T104" fmla="*/ 0 w 394"/>
              <a:gd name="T105" fmla="*/ 213 h 382"/>
              <a:gd name="T106" fmla="*/ 72 w 394"/>
              <a:gd name="T107" fmla="*/ 260 h 382"/>
              <a:gd name="T108" fmla="*/ 203 w 394"/>
              <a:gd name="T109" fmla="*/ 354 h 382"/>
              <a:gd name="T110" fmla="*/ 219 w 394"/>
              <a:gd name="T111" fmla="*/ 360 h 382"/>
              <a:gd name="T112" fmla="*/ 232 w 394"/>
              <a:gd name="T113" fmla="*/ 369 h 382"/>
              <a:gd name="T114" fmla="*/ 232 w 394"/>
              <a:gd name="T115" fmla="*/ 382 h 382"/>
              <a:gd name="T116" fmla="*/ 253 w 394"/>
              <a:gd name="T117" fmla="*/ 379 h 382"/>
              <a:gd name="T118" fmla="*/ 282 w 394"/>
              <a:gd name="T119" fmla="*/ 372 h 382"/>
              <a:gd name="T120" fmla="*/ 394 w 394"/>
              <a:gd name="T121" fmla="*/ 294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4" h="382">
                <a:moveTo>
                  <a:pt x="394" y="294"/>
                </a:moveTo>
                <a:lnTo>
                  <a:pt x="391" y="294"/>
                </a:lnTo>
                <a:lnTo>
                  <a:pt x="391" y="291"/>
                </a:lnTo>
                <a:lnTo>
                  <a:pt x="388" y="288"/>
                </a:lnTo>
                <a:lnTo>
                  <a:pt x="385" y="279"/>
                </a:lnTo>
                <a:lnTo>
                  <a:pt x="382" y="275"/>
                </a:lnTo>
                <a:lnTo>
                  <a:pt x="379" y="272"/>
                </a:lnTo>
                <a:lnTo>
                  <a:pt x="369" y="272"/>
                </a:lnTo>
                <a:lnTo>
                  <a:pt x="363" y="272"/>
                </a:lnTo>
                <a:lnTo>
                  <a:pt x="360" y="269"/>
                </a:lnTo>
                <a:lnTo>
                  <a:pt x="360" y="266"/>
                </a:lnTo>
                <a:lnTo>
                  <a:pt x="357" y="263"/>
                </a:lnTo>
                <a:lnTo>
                  <a:pt x="357" y="260"/>
                </a:lnTo>
                <a:lnTo>
                  <a:pt x="357" y="257"/>
                </a:lnTo>
                <a:lnTo>
                  <a:pt x="357" y="250"/>
                </a:lnTo>
                <a:lnTo>
                  <a:pt x="357" y="250"/>
                </a:lnTo>
                <a:lnTo>
                  <a:pt x="350" y="244"/>
                </a:lnTo>
                <a:lnTo>
                  <a:pt x="347" y="238"/>
                </a:lnTo>
                <a:lnTo>
                  <a:pt x="344" y="235"/>
                </a:lnTo>
                <a:lnTo>
                  <a:pt x="344" y="232"/>
                </a:lnTo>
                <a:lnTo>
                  <a:pt x="347" y="229"/>
                </a:lnTo>
                <a:lnTo>
                  <a:pt x="350" y="225"/>
                </a:lnTo>
                <a:lnTo>
                  <a:pt x="354" y="225"/>
                </a:lnTo>
                <a:lnTo>
                  <a:pt x="354" y="216"/>
                </a:lnTo>
                <a:lnTo>
                  <a:pt x="350" y="213"/>
                </a:lnTo>
                <a:lnTo>
                  <a:pt x="350" y="210"/>
                </a:lnTo>
                <a:lnTo>
                  <a:pt x="354" y="200"/>
                </a:lnTo>
                <a:lnTo>
                  <a:pt x="350" y="194"/>
                </a:lnTo>
                <a:lnTo>
                  <a:pt x="350" y="185"/>
                </a:lnTo>
                <a:lnTo>
                  <a:pt x="350" y="182"/>
                </a:lnTo>
                <a:lnTo>
                  <a:pt x="350" y="175"/>
                </a:lnTo>
                <a:lnTo>
                  <a:pt x="350" y="163"/>
                </a:lnTo>
                <a:lnTo>
                  <a:pt x="347" y="157"/>
                </a:lnTo>
                <a:lnTo>
                  <a:pt x="344" y="157"/>
                </a:lnTo>
                <a:lnTo>
                  <a:pt x="344" y="150"/>
                </a:lnTo>
                <a:lnTo>
                  <a:pt x="347" y="147"/>
                </a:lnTo>
                <a:lnTo>
                  <a:pt x="335" y="110"/>
                </a:lnTo>
                <a:lnTo>
                  <a:pt x="329" y="103"/>
                </a:lnTo>
                <a:lnTo>
                  <a:pt x="325" y="103"/>
                </a:lnTo>
                <a:lnTo>
                  <a:pt x="325" y="100"/>
                </a:lnTo>
                <a:lnTo>
                  <a:pt x="319" y="97"/>
                </a:lnTo>
                <a:lnTo>
                  <a:pt x="319" y="94"/>
                </a:lnTo>
                <a:lnTo>
                  <a:pt x="313" y="88"/>
                </a:lnTo>
                <a:lnTo>
                  <a:pt x="313" y="88"/>
                </a:lnTo>
                <a:lnTo>
                  <a:pt x="310" y="85"/>
                </a:lnTo>
                <a:lnTo>
                  <a:pt x="310" y="81"/>
                </a:lnTo>
                <a:lnTo>
                  <a:pt x="307" y="78"/>
                </a:lnTo>
                <a:lnTo>
                  <a:pt x="307" y="75"/>
                </a:lnTo>
                <a:lnTo>
                  <a:pt x="310" y="66"/>
                </a:lnTo>
                <a:lnTo>
                  <a:pt x="313" y="63"/>
                </a:lnTo>
                <a:lnTo>
                  <a:pt x="316" y="60"/>
                </a:lnTo>
                <a:lnTo>
                  <a:pt x="316" y="60"/>
                </a:lnTo>
                <a:lnTo>
                  <a:pt x="319" y="56"/>
                </a:lnTo>
                <a:lnTo>
                  <a:pt x="322" y="50"/>
                </a:lnTo>
                <a:lnTo>
                  <a:pt x="322" y="47"/>
                </a:lnTo>
                <a:lnTo>
                  <a:pt x="319" y="44"/>
                </a:lnTo>
                <a:lnTo>
                  <a:pt x="322" y="41"/>
                </a:lnTo>
                <a:lnTo>
                  <a:pt x="322" y="41"/>
                </a:lnTo>
                <a:lnTo>
                  <a:pt x="322" y="41"/>
                </a:lnTo>
                <a:lnTo>
                  <a:pt x="319" y="38"/>
                </a:lnTo>
                <a:lnTo>
                  <a:pt x="319" y="31"/>
                </a:lnTo>
                <a:lnTo>
                  <a:pt x="322" y="22"/>
                </a:lnTo>
                <a:lnTo>
                  <a:pt x="322" y="16"/>
                </a:lnTo>
                <a:lnTo>
                  <a:pt x="322" y="10"/>
                </a:lnTo>
                <a:lnTo>
                  <a:pt x="322" y="6"/>
                </a:lnTo>
                <a:lnTo>
                  <a:pt x="322" y="3"/>
                </a:lnTo>
                <a:lnTo>
                  <a:pt x="322" y="3"/>
                </a:lnTo>
                <a:lnTo>
                  <a:pt x="316" y="3"/>
                </a:lnTo>
                <a:lnTo>
                  <a:pt x="313" y="3"/>
                </a:lnTo>
                <a:lnTo>
                  <a:pt x="307" y="6"/>
                </a:lnTo>
                <a:lnTo>
                  <a:pt x="300" y="3"/>
                </a:lnTo>
                <a:lnTo>
                  <a:pt x="297" y="0"/>
                </a:lnTo>
                <a:lnTo>
                  <a:pt x="297" y="3"/>
                </a:lnTo>
                <a:lnTo>
                  <a:pt x="291" y="6"/>
                </a:lnTo>
                <a:lnTo>
                  <a:pt x="285" y="6"/>
                </a:lnTo>
                <a:lnTo>
                  <a:pt x="285" y="3"/>
                </a:lnTo>
                <a:lnTo>
                  <a:pt x="282" y="0"/>
                </a:lnTo>
                <a:lnTo>
                  <a:pt x="279" y="0"/>
                </a:lnTo>
                <a:lnTo>
                  <a:pt x="279" y="3"/>
                </a:lnTo>
                <a:lnTo>
                  <a:pt x="272" y="3"/>
                </a:lnTo>
                <a:lnTo>
                  <a:pt x="272" y="6"/>
                </a:lnTo>
                <a:lnTo>
                  <a:pt x="269" y="6"/>
                </a:lnTo>
                <a:lnTo>
                  <a:pt x="266" y="6"/>
                </a:lnTo>
                <a:lnTo>
                  <a:pt x="263" y="10"/>
                </a:lnTo>
                <a:lnTo>
                  <a:pt x="257" y="10"/>
                </a:lnTo>
                <a:lnTo>
                  <a:pt x="257" y="6"/>
                </a:lnTo>
                <a:lnTo>
                  <a:pt x="250" y="6"/>
                </a:lnTo>
                <a:lnTo>
                  <a:pt x="247" y="3"/>
                </a:lnTo>
                <a:lnTo>
                  <a:pt x="241" y="6"/>
                </a:lnTo>
                <a:lnTo>
                  <a:pt x="238" y="6"/>
                </a:lnTo>
                <a:lnTo>
                  <a:pt x="235" y="6"/>
                </a:lnTo>
                <a:lnTo>
                  <a:pt x="232" y="3"/>
                </a:lnTo>
                <a:lnTo>
                  <a:pt x="232" y="3"/>
                </a:lnTo>
                <a:lnTo>
                  <a:pt x="228" y="10"/>
                </a:lnTo>
                <a:lnTo>
                  <a:pt x="225" y="10"/>
                </a:lnTo>
                <a:lnTo>
                  <a:pt x="219" y="6"/>
                </a:lnTo>
                <a:lnTo>
                  <a:pt x="216" y="13"/>
                </a:lnTo>
                <a:lnTo>
                  <a:pt x="213" y="13"/>
                </a:lnTo>
                <a:lnTo>
                  <a:pt x="207" y="10"/>
                </a:lnTo>
                <a:lnTo>
                  <a:pt x="203" y="10"/>
                </a:lnTo>
                <a:lnTo>
                  <a:pt x="197" y="13"/>
                </a:lnTo>
                <a:lnTo>
                  <a:pt x="191" y="10"/>
                </a:lnTo>
                <a:lnTo>
                  <a:pt x="182" y="19"/>
                </a:lnTo>
                <a:lnTo>
                  <a:pt x="175" y="19"/>
                </a:lnTo>
                <a:lnTo>
                  <a:pt x="175" y="19"/>
                </a:lnTo>
                <a:lnTo>
                  <a:pt x="169" y="22"/>
                </a:lnTo>
                <a:lnTo>
                  <a:pt x="169" y="25"/>
                </a:lnTo>
                <a:lnTo>
                  <a:pt x="166" y="28"/>
                </a:lnTo>
                <a:lnTo>
                  <a:pt x="166" y="28"/>
                </a:lnTo>
                <a:lnTo>
                  <a:pt x="163" y="28"/>
                </a:lnTo>
                <a:lnTo>
                  <a:pt x="160" y="28"/>
                </a:lnTo>
                <a:lnTo>
                  <a:pt x="160" y="28"/>
                </a:lnTo>
                <a:lnTo>
                  <a:pt x="157" y="31"/>
                </a:lnTo>
                <a:lnTo>
                  <a:pt x="150" y="31"/>
                </a:lnTo>
                <a:lnTo>
                  <a:pt x="147" y="31"/>
                </a:lnTo>
                <a:lnTo>
                  <a:pt x="144" y="35"/>
                </a:lnTo>
                <a:lnTo>
                  <a:pt x="144" y="38"/>
                </a:lnTo>
                <a:lnTo>
                  <a:pt x="141" y="41"/>
                </a:lnTo>
                <a:lnTo>
                  <a:pt x="135" y="44"/>
                </a:lnTo>
                <a:lnTo>
                  <a:pt x="128" y="44"/>
                </a:lnTo>
                <a:lnTo>
                  <a:pt x="132" y="47"/>
                </a:lnTo>
                <a:lnTo>
                  <a:pt x="132" y="47"/>
                </a:lnTo>
                <a:lnTo>
                  <a:pt x="135" y="50"/>
                </a:lnTo>
                <a:lnTo>
                  <a:pt x="135" y="53"/>
                </a:lnTo>
                <a:lnTo>
                  <a:pt x="135" y="56"/>
                </a:lnTo>
                <a:lnTo>
                  <a:pt x="135" y="63"/>
                </a:lnTo>
                <a:lnTo>
                  <a:pt x="135" y="69"/>
                </a:lnTo>
                <a:lnTo>
                  <a:pt x="135" y="72"/>
                </a:lnTo>
                <a:lnTo>
                  <a:pt x="138" y="88"/>
                </a:lnTo>
                <a:lnTo>
                  <a:pt x="141" y="94"/>
                </a:lnTo>
                <a:lnTo>
                  <a:pt x="141" y="97"/>
                </a:lnTo>
                <a:lnTo>
                  <a:pt x="144" y="97"/>
                </a:lnTo>
                <a:lnTo>
                  <a:pt x="147" y="100"/>
                </a:lnTo>
                <a:lnTo>
                  <a:pt x="147" y="100"/>
                </a:lnTo>
                <a:lnTo>
                  <a:pt x="150" y="100"/>
                </a:lnTo>
                <a:lnTo>
                  <a:pt x="147" y="107"/>
                </a:lnTo>
                <a:lnTo>
                  <a:pt x="147" y="107"/>
                </a:lnTo>
                <a:lnTo>
                  <a:pt x="144" y="113"/>
                </a:lnTo>
                <a:lnTo>
                  <a:pt x="122" y="113"/>
                </a:lnTo>
                <a:lnTo>
                  <a:pt x="119" y="113"/>
                </a:lnTo>
                <a:lnTo>
                  <a:pt x="113" y="119"/>
                </a:lnTo>
                <a:lnTo>
                  <a:pt x="110" y="122"/>
                </a:lnTo>
                <a:lnTo>
                  <a:pt x="107" y="128"/>
                </a:lnTo>
                <a:lnTo>
                  <a:pt x="107" y="135"/>
                </a:lnTo>
                <a:lnTo>
                  <a:pt x="107" y="138"/>
                </a:lnTo>
                <a:lnTo>
                  <a:pt x="91" y="147"/>
                </a:lnTo>
                <a:lnTo>
                  <a:pt x="72" y="160"/>
                </a:lnTo>
                <a:lnTo>
                  <a:pt x="53" y="169"/>
                </a:lnTo>
                <a:lnTo>
                  <a:pt x="47" y="172"/>
                </a:lnTo>
                <a:lnTo>
                  <a:pt x="41" y="172"/>
                </a:lnTo>
                <a:lnTo>
                  <a:pt x="35" y="172"/>
                </a:lnTo>
                <a:lnTo>
                  <a:pt x="32" y="172"/>
                </a:lnTo>
                <a:lnTo>
                  <a:pt x="19" y="175"/>
                </a:lnTo>
                <a:lnTo>
                  <a:pt x="13" y="178"/>
                </a:lnTo>
                <a:lnTo>
                  <a:pt x="10" y="182"/>
                </a:lnTo>
                <a:lnTo>
                  <a:pt x="0" y="191"/>
                </a:lnTo>
                <a:lnTo>
                  <a:pt x="0" y="207"/>
                </a:lnTo>
                <a:lnTo>
                  <a:pt x="0" y="207"/>
                </a:lnTo>
                <a:lnTo>
                  <a:pt x="0" y="213"/>
                </a:lnTo>
                <a:lnTo>
                  <a:pt x="0" y="213"/>
                </a:lnTo>
                <a:lnTo>
                  <a:pt x="0" y="213"/>
                </a:lnTo>
                <a:lnTo>
                  <a:pt x="72" y="260"/>
                </a:lnTo>
                <a:lnTo>
                  <a:pt x="72" y="260"/>
                </a:lnTo>
                <a:lnTo>
                  <a:pt x="200" y="344"/>
                </a:lnTo>
                <a:lnTo>
                  <a:pt x="203" y="354"/>
                </a:lnTo>
                <a:lnTo>
                  <a:pt x="207" y="357"/>
                </a:lnTo>
                <a:lnTo>
                  <a:pt x="213" y="357"/>
                </a:lnTo>
                <a:lnTo>
                  <a:pt x="219" y="360"/>
                </a:lnTo>
                <a:lnTo>
                  <a:pt x="222" y="363"/>
                </a:lnTo>
                <a:lnTo>
                  <a:pt x="228" y="366"/>
                </a:lnTo>
                <a:lnTo>
                  <a:pt x="232" y="369"/>
                </a:lnTo>
                <a:lnTo>
                  <a:pt x="232" y="372"/>
                </a:lnTo>
                <a:lnTo>
                  <a:pt x="228" y="379"/>
                </a:lnTo>
                <a:lnTo>
                  <a:pt x="232" y="382"/>
                </a:lnTo>
                <a:lnTo>
                  <a:pt x="235" y="382"/>
                </a:lnTo>
                <a:lnTo>
                  <a:pt x="244" y="382"/>
                </a:lnTo>
                <a:lnTo>
                  <a:pt x="253" y="379"/>
                </a:lnTo>
                <a:lnTo>
                  <a:pt x="253" y="379"/>
                </a:lnTo>
                <a:lnTo>
                  <a:pt x="253" y="379"/>
                </a:lnTo>
                <a:lnTo>
                  <a:pt x="282" y="372"/>
                </a:lnTo>
                <a:lnTo>
                  <a:pt x="307" y="351"/>
                </a:lnTo>
                <a:lnTo>
                  <a:pt x="394" y="294"/>
                </a:lnTo>
                <a:lnTo>
                  <a:pt x="394" y="29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7" name="Freeform 115">
            <a:extLst>
              <a:ext uri="{FF2B5EF4-FFF2-40B4-BE49-F238E27FC236}">
                <a16:creationId xmlns:a16="http://schemas.microsoft.com/office/drawing/2014/main" id="{3178F600-193A-5956-2E3F-5727CB179D45}"/>
              </a:ext>
            </a:extLst>
          </p:cNvPr>
          <p:cNvSpPr>
            <a:spLocks/>
          </p:cNvSpPr>
          <p:nvPr userDrawn="1"/>
        </p:nvSpPr>
        <p:spPr bwMode="auto">
          <a:xfrm>
            <a:off x="12394390" y="7031907"/>
            <a:ext cx="723855" cy="577850"/>
          </a:xfrm>
          <a:custGeom>
            <a:avLst/>
            <a:gdLst>
              <a:gd name="T0" fmla="*/ 78 w 228"/>
              <a:gd name="T1" fmla="*/ 166 h 182"/>
              <a:gd name="T2" fmla="*/ 91 w 228"/>
              <a:gd name="T3" fmla="*/ 153 h 182"/>
              <a:gd name="T4" fmla="*/ 110 w 228"/>
              <a:gd name="T5" fmla="*/ 147 h 182"/>
              <a:gd name="T6" fmla="*/ 119 w 228"/>
              <a:gd name="T7" fmla="*/ 147 h 182"/>
              <a:gd name="T8" fmla="*/ 131 w 228"/>
              <a:gd name="T9" fmla="*/ 144 h 182"/>
              <a:gd name="T10" fmla="*/ 169 w 228"/>
              <a:gd name="T11" fmla="*/ 122 h 182"/>
              <a:gd name="T12" fmla="*/ 185 w 228"/>
              <a:gd name="T13" fmla="*/ 110 h 182"/>
              <a:gd name="T14" fmla="*/ 188 w 228"/>
              <a:gd name="T15" fmla="*/ 97 h 182"/>
              <a:gd name="T16" fmla="*/ 197 w 228"/>
              <a:gd name="T17" fmla="*/ 88 h 182"/>
              <a:gd name="T18" fmla="*/ 222 w 228"/>
              <a:gd name="T19" fmla="*/ 88 h 182"/>
              <a:gd name="T20" fmla="*/ 225 w 228"/>
              <a:gd name="T21" fmla="*/ 82 h 182"/>
              <a:gd name="T22" fmla="*/ 225 w 228"/>
              <a:gd name="T23" fmla="*/ 75 h 182"/>
              <a:gd name="T24" fmla="*/ 222 w 228"/>
              <a:gd name="T25" fmla="*/ 72 h 182"/>
              <a:gd name="T26" fmla="*/ 219 w 228"/>
              <a:gd name="T27" fmla="*/ 69 h 182"/>
              <a:gd name="T28" fmla="*/ 213 w 228"/>
              <a:gd name="T29" fmla="*/ 47 h 182"/>
              <a:gd name="T30" fmla="*/ 213 w 228"/>
              <a:gd name="T31" fmla="*/ 38 h 182"/>
              <a:gd name="T32" fmla="*/ 213 w 228"/>
              <a:gd name="T33" fmla="*/ 28 h 182"/>
              <a:gd name="T34" fmla="*/ 210 w 228"/>
              <a:gd name="T35" fmla="*/ 22 h 182"/>
              <a:gd name="T36" fmla="*/ 206 w 228"/>
              <a:gd name="T37" fmla="*/ 19 h 182"/>
              <a:gd name="T38" fmla="*/ 194 w 228"/>
              <a:gd name="T39" fmla="*/ 19 h 182"/>
              <a:gd name="T40" fmla="*/ 191 w 228"/>
              <a:gd name="T41" fmla="*/ 13 h 182"/>
              <a:gd name="T42" fmla="*/ 188 w 228"/>
              <a:gd name="T43" fmla="*/ 10 h 182"/>
              <a:gd name="T44" fmla="*/ 178 w 228"/>
              <a:gd name="T45" fmla="*/ 16 h 182"/>
              <a:gd name="T46" fmla="*/ 169 w 228"/>
              <a:gd name="T47" fmla="*/ 13 h 182"/>
              <a:gd name="T48" fmla="*/ 160 w 228"/>
              <a:gd name="T49" fmla="*/ 16 h 182"/>
              <a:gd name="T50" fmla="*/ 150 w 228"/>
              <a:gd name="T51" fmla="*/ 10 h 182"/>
              <a:gd name="T52" fmla="*/ 147 w 228"/>
              <a:gd name="T53" fmla="*/ 6 h 182"/>
              <a:gd name="T54" fmla="*/ 147 w 228"/>
              <a:gd name="T55" fmla="*/ 3 h 182"/>
              <a:gd name="T56" fmla="*/ 141 w 228"/>
              <a:gd name="T57" fmla="*/ 3 h 182"/>
              <a:gd name="T58" fmla="*/ 138 w 228"/>
              <a:gd name="T59" fmla="*/ 3 h 182"/>
              <a:gd name="T60" fmla="*/ 131 w 228"/>
              <a:gd name="T61" fmla="*/ 19 h 182"/>
              <a:gd name="T62" fmla="*/ 128 w 228"/>
              <a:gd name="T63" fmla="*/ 31 h 182"/>
              <a:gd name="T64" fmla="*/ 116 w 228"/>
              <a:gd name="T65" fmla="*/ 44 h 182"/>
              <a:gd name="T66" fmla="*/ 110 w 228"/>
              <a:gd name="T67" fmla="*/ 47 h 182"/>
              <a:gd name="T68" fmla="*/ 97 w 228"/>
              <a:gd name="T69" fmla="*/ 56 h 182"/>
              <a:gd name="T70" fmla="*/ 88 w 228"/>
              <a:gd name="T71" fmla="*/ 63 h 182"/>
              <a:gd name="T72" fmla="*/ 78 w 228"/>
              <a:gd name="T73" fmla="*/ 69 h 182"/>
              <a:gd name="T74" fmla="*/ 72 w 228"/>
              <a:gd name="T75" fmla="*/ 82 h 182"/>
              <a:gd name="T76" fmla="*/ 66 w 228"/>
              <a:gd name="T77" fmla="*/ 94 h 182"/>
              <a:gd name="T78" fmla="*/ 60 w 228"/>
              <a:gd name="T79" fmla="*/ 107 h 182"/>
              <a:gd name="T80" fmla="*/ 60 w 228"/>
              <a:gd name="T81" fmla="*/ 122 h 182"/>
              <a:gd name="T82" fmla="*/ 63 w 228"/>
              <a:gd name="T83" fmla="*/ 125 h 182"/>
              <a:gd name="T84" fmla="*/ 50 w 228"/>
              <a:gd name="T85" fmla="*/ 144 h 182"/>
              <a:gd name="T86" fmla="*/ 44 w 228"/>
              <a:gd name="T87" fmla="*/ 157 h 182"/>
              <a:gd name="T88" fmla="*/ 25 w 228"/>
              <a:gd name="T89" fmla="*/ 169 h 182"/>
              <a:gd name="T90" fmla="*/ 0 w 228"/>
              <a:gd name="T91" fmla="*/ 182 h 182"/>
              <a:gd name="T92" fmla="*/ 78 w 228"/>
              <a:gd name="T93"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8" h="182">
                <a:moveTo>
                  <a:pt x="78" y="182"/>
                </a:moveTo>
                <a:lnTo>
                  <a:pt x="78" y="166"/>
                </a:lnTo>
                <a:lnTo>
                  <a:pt x="88" y="157"/>
                </a:lnTo>
                <a:lnTo>
                  <a:pt x="91" y="153"/>
                </a:lnTo>
                <a:lnTo>
                  <a:pt x="97" y="150"/>
                </a:lnTo>
                <a:lnTo>
                  <a:pt x="110" y="147"/>
                </a:lnTo>
                <a:lnTo>
                  <a:pt x="113" y="147"/>
                </a:lnTo>
                <a:lnTo>
                  <a:pt x="119" y="147"/>
                </a:lnTo>
                <a:lnTo>
                  <a:pt x="125" y="147"/>
                </a:lnTo>
                <a:lnTo>
                  <a:pt x="131" y="144"/>
                </a:lnTo>
                <a:lnTo>
                  <a:pt x="150" y="135"/>
                </a:lnTo>
                <a:lnTo>
                  <a:pt x="169" y="122"/>
                </a:lnTo>
                <a:lnTo>
                  <a:pt x="185" y="113"/>
                </a:lnTo>
                <a:lnTo>
                  <a:pt x="185" y="110"/>
                </a:lnTo>
                <a:lnTo>
                  <a:pt x="185" y="103"/>
                </a:lnTo>
                <a:lnTo>
                  <a:pt x="188" y="97"/>
                </a:lnTo>
                <a:lnTo>
                  <a:pt x="191" y="94"/>
                </a:lnTo>
                <a:lnTo>
                  <a:pt x="197" y="88"/>
                </a:lnTo>
                <a:lnTo>
                  <a:pt x="200" y="88"/>
                </a:lnTo>
                <a:lnTo>
                  <a:pt x="222" y="88"/>
                </a:lnTo>
                <a:lnTo>
                  <a:pt x="225" y="82"/>
                </a:lnTo>
                <a:lnTo>
                  <a:pt x="225" y="82"/>
                </a:lnTo>
                <a:lnTo>
                  <a:pt x="228" y="75"/>
                </a:lnTo>
                <a:lnTo>
                  <a:pt x="225" y="75"/>
                </a:lnTo>
                <a:lnTo>
                  <a:pt x="225" y="75"/>
                </a:lnTo>
                <a:lnTo>
                  <a:pt x="222" y="72"/>
                </a:lnTo>
                <a:lnTo>
                  <a:pt x="219" y="72"/>
                </a:lnTo>
                <a:lnTo>
                  <a:pt x="219" y="69"/>
                </a:lnTo>
                <a:lnTo>
                  <a:pt x="216" y="63"/>
                </a:lnTo>
                <a:lnTo>
                  <a:pt x="213" y="47"/>
                </a:lnTo>
                <a:lnTo>
                  <a:pt x="213" y="44"/>
                </a:lnTo>
                <a:lnTo>
                  <a:pt x="213" y="38"/>
                </a:lnTo>
                <a:lnTo>
                  <a:pt x="213" y="31"/>
                </a:lnTo>
                <a:lnTo>
                  <a:pt x="213" y="28"/>
                </a:lnTo>
                <a:lnTo>
                  <a:pt x="213" y="25"/>
                </a:lnTo>
                <a:lnTo>
                  <a:pt x="210" y="22"/>
                </a:lnTo>
                <a:lnTo>
                  <a:pt x="210" y="22"/>
                </a:lnTo>
                <a:lnTo>
                  <a:pt x="206" y="19"/>
                </a:lnTo>
                <a:lnTo>
                  <a:pt x="203" y="19"/>
                </a:lnTo>
                <a:lnTo>
                  <a:pt x="194" y="19"/>
                </a:lnTo>
                <a:lnTo>
                  <a:pt x="191" y="16"/>
                </a:lnTo>
                <a:lnTo>
                  <a:pt x="191" y="13"/>
                </a:lnTo>
                <a:lnTo>
                  <a:pt x="188" y="10"/>
                </a:lnTo>
                <a:lnTo>
                  <a:pt x="188" y="10"/>
                </a:lnTo>
                <a:lnTo>
                  <a:pt x="185" y="16"/>
                </a:lnTo>
                <a:lnTo>
                  <a:pt x="178" y="16"/>
                </a:lnTo>
                <a:lnTo>
                  <a:pt x="172" y="16"/>
                </a:lnTo>
                <a:lnTo>
                  <a:pt x="169" y="13"/>
                </a:lnTo>
                <a:lnTo>
                  <a:pt x="166" y="16"/>
                </a:lnTo>
                <a:lnTo>
                  <a:pt x="160" y="16"/>
                </a:lnTo>
                <a:lnTo>
                  <a:pt x="153" y="16"/>
                </a:lnTo>
                <a:lnTo>
                  <a:pt x="150" y="10"/>
                </a:lnTo>
                <a:lnTo>
                  <a:pt x="147" y="10"/>
                </a:lnTo>
                <a:lnTo>
                  <a:pt x="147" y="6"/>
                </a:lnTo>
                <a:lnTo>
                  <a:pt x="147" y="3"/>
                </a:lnTo>
                <a:lnTo>
                  <a:pt x="147" y="3"/>
                </a:lnTo>
                <a:lnTo>
                  <a:pt x="144" y="0"/>
                </a:lnTo>
                <a:lnTo>
                  <a:pt x="141" y="3"/>
                </a:lnTo>
                <a:lnTo>
                  <a:pt x="141" y="3"/>
                </a:lnTo>
                <a:lnTo>
                  <a:pt x="138" y="3"/>
                </a:lnTo>
                <a:lnTo>
                  <a:pt x="135" y="6"/>
                </a:lnTo>
                <a:lnTo>
                  <a:pt x="131" y="19"/>
                </a:lnTo>
                <a:lnTo>
                  <a:pt x="128" y="25"/>
                </a:lnTo>
                <a:lnTo>
                  <a:pt x="128" y="31"/>
                </a:lnTo>
                <a:lnTo>
                  <a:pt x="125" y="38"/>
                </a:lnTo>
                <a:lnTo>
                  <a:pt x="116" y="44"/>
                </a:lnTo>
                <a:lnTo>
                  <a:pt x="113" y="44"/>
                </a:lnTo>
                <a:lnTo>
                  <a:pt x="110" y="47"/>
                </a:lnTo>
                <a:lnTo>
                  <a:pt x="103" y="50"/>
                </a:lnTo>
                <a:lnTo>
                  <a:pt x="97" y="56"/>
                </a:lnTo>
                <a:lnTo>
                  <a:pt x="94" y="56"/>
                </a:lnTo>
                <a:lnTo>
                  <a:pt x="88" y="63"/>
                </a:lnTo>
                <a:lnTo>
                  <a:pt x="81" y="63"/>
                </a:lnTo>
                <a:lnTo>
                  <a:pt x="78" y="69"/>
                </a:lnTo>
                <a:lnTo>
                  <a:pt x="69" y="75"/>
                </a:lnTo>
                <a:lnTo>
                  <a:pt x="72" y="82"/>
                </a:lnTo>
                <a:lnTo>
                  <a:pt x="72" y="85"/>
                </a:lnTo>
                <a:lnTo>
                  <a:pt x="66" y="94"/>
                </a:lnTo>
                <a:lnTo>
                  <a:pt x="60" y="103"/>
                </a:lnTo>
                <a:lnTo>
                  <a:pt x="60" y="107"/>
                </a:lnTo>
                <a:lnTo>
                  <a:pt x="63" y="113"/>
                </a:lnTo>
                <a:lnTo>
                  <a:pt x="60" y="122"/>
                </a:lnTo>
                <a:lnTo>
                  <a:pt x="63" y="122"/>
                </a:lnTo>
                <a:lnTo>
                  <a:pt x="63" y="125"/>
                </a:lnTo>
                <a:lnTo>
                  <a:pt x="63" y="132"/>
                </a:lnTo>
                <a:lnTo>
                  <a:pt x="50" y="144"/>
                </a:lnTo>
                <a:lnTo>
                  <a:pt x="50" y="150"/>
                </a:lnTo>
                <a:lnTo>
                  <a:pt x="44" y="157"/>
                </a:lnTo>
                <a:lnTo>
                  <a:pt x="38" y="157"/>
                </a:lnTo>
                <a:lnTo>
                  <a:pt x="25" y="169"/>
                </a:lnTo>
                <a:lnTo>
                  <a:pt x="3" y="172"/>
                </a:lnTo>
                <a:lnTo>
                  <a:pt x="0" y="182"/>
                </a:lnTo>
                <a:lnTo>
                  <a:pt x="78" y="182"/>
                </a:lnTo>
                <a:lnTo>
                  <a:pt x="78" y="182"/>
                </a:lnTo>
                <a:lnTo>
                  <a:pt x="78" y="182"/>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8" name="Freeform 116">
            <a:extLst>
              <a:ext uri="{FF2B5EF4-FFF2-40B4-BE49-F238E27FC236}">
                <a16:creationId xmlns:a16="http://schemas.microsoft.com/office/drawing/2014/main" id="{410972D6-96EE-C511-5928-A4D17BAEC05E}"/>
              </a:ext>
            </a:extLst>
          </p:cNvPr>
          <p:cNvSpPr>
            <a:spLocks/>
          </p:cNvSpPr>
          <p:nvPr userDrawn="1"/>
        </p:nvSpPr>
        <p:spPr bwMode="auto">
          <a:xfrm>
            <a:off x="12137233" y="7609756"/>
            <a:ext cx="504793" cy="406400"/>
          </a:xfrm>
          <a:custGeom>
            <a:avLst/>
            <a:gdLst>
              <a:gd name="T0" fmla="*/ 159 w 159"/>
              <a:gd name="T1" fmla="*/ 6 h 128"/>
              <a:gd name="T2" fmla="*/ 159 w 159"/>
              <a:gd name="T3" fmla="*/ 0 h 128"/>
              <a:gd name="T4" fmla="*/ 81 w 159"/>
              <a:gd name="T5" fmla="*/ 0 h 128"/>
              <a:gd name="T6" fmla="*/ 72 w 159"/>
              <a:gd name="T7" fmla="*/ 9 h 128"/>
              <a:gd name="T8" fmla="*/ 72 w 159"/>
              <a:gd name="T9" fmla="*/ 15 h 128"/>
              <a:gd name="T10" fmla="*/ 69 w 159"/>
              <a:gd name="T11" fmla="*/ 15 h 128"/>
              <a:gd name="T12" fmla="*/ 56 w 159"/>
              <a:gd name="T13" fmla="*/ 25 h 128"/>
              <a:gd name="T14" fmla="*/ 56 w 159"/>
              <a:gd name="T15" fmla="*/ 28 h 128"/>
              <a:gd name="T16" fmla="*/ 50 w 159"/>
              <a:gd name="T17" fmla="*/ 31 h 128"/>
              <a:gd name="T18" fmla="*/ 50 w 159"/>
              <a:gd name="T19" fmla="*/ 37 h 128"/>
              <a:gd name="T20" fmla="*/ 37 w 159"/>
              <a:gd name="T21" fmla="*/ 53 h 128"/>
              <a:gd name="T22" fmla="*/ 37 w 159"/>
              <a:gd name="T23" fmla="*/ 59 h 128"/>
              <a:gd name="T24" fmla="*/ 28 w 159"/>
              <a:gd name="T25" fmla="*/ 68 h 128"/>
              <a:gd name="T26" fmla="*/ 25 w 159"/>
              <a:gd name="T27" fmla="*/ 68 h 128"/>
              <a:gd name="T28" fmla="*/ 22 w 159"/>
              <a:gd name="T29" fmla="*/ 81 h 128"/>
              <a:gd name="T30" fmla="*/ 22 w 159"/>
              <a:gd name="T31" fmla="*/ 84 h 128"/>
              <a:gd name="T32" fmla="*/ 12 w 159"/>
              <a:gd name="T33" fmla="*/ 93 h 128"/>
              <a:gd name="T34" fmla="*/ 12 w 159"/>
              <a:gd name="T35" fmla="*/ 97 h 128"/>
              <a:gd name="T36" fmla="*/ 16 w 159"/>
              <a:gd name="T37" fmla="*/ 97 h 128"/>
              <a:gd name="T38" fmla="*/ 12 w 159"/>
              <a:gd name="T39" fmla="*/ 100 h 128"/>
              <a:gd name="T40" fmla="*/ 6 w 159"/>
              <a:gd name="T41" fmla="*/ 109 h 128"/>
              <a:gd name="T42" fmla="*/ 3 w 159"/>
              <a:gd name="T43" fmla="*/ 109 h 128"/>
              <a:gd name="T44" fmla="*/ 0 w 159"/>
              <a:gd name="T45" fmla="*/ 112 h 128"/>
              <a:gd name="T46" fmla="*/ 0 w 159"/>
              <a:gd name="T47" fmla="*/ 118 h 128"/>
              <a:gd name="T48" fmla="*/ 0 w 159"/>
              <a:gd name="T49" fmla="*/ 122 h 128"/>
              <a:gd name="T50" fmla="*/ 0 w 159"/>
              <a:gd name="T51" fmla="*/ 128 h 128"/>
              <a:gd name="T52" fmla="*/ 78 w 159"/>
              <a:gd name="T53" fmla="*/ 128 h 128"/>
              <a:gd name="T54" fmla="*/ 78 w 159"/>
              <a:gd name="T55" fmla="*/ 93 h 128"/>
              <a:gd name="T56" fmla="*/ 81 w 159"/>
              <a:gd name="T57" fmla="*/ 87 h 128"/>
              <a:gd name="T58" fmla="*/ 84 w 159"/>
              <a:gd name="T59" fmla="*/ 84 h 128"/>
              <a:gd name="T60" fmla="*/ 91 w 159"/>
              <a:gd name="T61" fmla="*/ 84 h 128"/>
              <a:gd name="T62" fmla="*/ 97 w 159"/>
              <a:gd name="T63" fmla="*/ 84 h 128"/>
              <a:gd name="T64" fmla="*/ 97 w 159"/>
              <a:gd name="T65" fmla="*/ 31 h 128"/>
              <a:gd name="T66" fmla="*/ 159 w 159"/>
              <a:gd name="T67" fmla="*/ 34 h 128"/>
              <a:gd name="T68" fmla="*/ 159 w 159"/>
              <a:gd name="T69" fmla="*/ 6 h 128"/>
              <a:gd name="T70" fmla="*/ 159 w 159"/>
              <a:gd name="T71" fmla="*/ 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28">
                <a:moveTo>
                  <a:pt x="159" y="6"/>
                </a:moveTo>
                <a:lnTo>
                  <a:pt x="159" y="0"/>
                </a:lnTo>
                <a:lnTo>
                  <a:pt x="81" y="0"/>
                </a:lnTo>
                <a:lnTo>
                  <a:pt x="72" y="9"/>
                </a:lnTo>
                <a:lnTo>
                  <a:pt x="72" y="15"/>
                </a:lnTo>
                <a:lnTo>
                  <a:pt x="69" y="15"/>
                </a:lnTo>
                <a:lnTo>
                  <a:pt x="56" y="25"/>
                </a:lnTo>
                <a:lnTo>
                  <a:pt x="56" y="28"/>
                </a:lnTo>
                <a:lnTo>
                  <a:pt x="50" y="31"/>
                </a:lnTo>
                <a:lnTo>
                  <a:pt x="50" y="37"/>
                </a:lnTo>
                <a:lnTo>
                  <a:pt x="37" y="53"/>
                </a:lnTo>
                <a:lnTo>
                  <a:pt x="37" y="59"/>
                </a:lnTo>
                <a:lnTo>
                  <a:pt x="28" y="68"/>
                </a:lnTo>
                <a:lnTo>
                  <a:pt x="25" y="68"/>
                </a:lnTo>
                <a:lnTo>
                  <a:pt x="22" y="81"/>
                </a:lnTo>
                <a:lnTo>
                  <a:pt x="22" y="84"/>
                </a:lnTo>
                <a:lnTo>
                  <a:pt x="12" y="93"/>
                </a:lnTo>
                <a:lnTo>
                  <a:pt x="12" y="97"/>
                </a:lnTo>
                <a:lnTo>
                  <a:pt x="16" y="97"/>
                </a:lnTo>
                <a:lnTo>
                  <a:pt x="12" y="100"/>
                </a:lnTo>
                <a:lnTo>
                  <a:pt x="6" y="109"/>
                </a:lnTo>
                <a:lnTo>
                  <a:pt x="3" y="109"/>
                </a:lnTo>
                <a:lnTo>
                  <a:pt x="0" y="112"/>
                </a:lnTo>
                <a:lnTo>
                  <a:pt x="0" y="118"/>
                </a:lnTo>
                <a:lnTo>
                  <a:pt x="0" y="122"/>
                </a:lnTo>
                <a:lnTo>
                  <a:pt x="0" y="128"/>
                </a:lnTo>
                <a:lnTo>
                  <a:pt x="78" y="128"/>
                </a:lnTo>
                <a:lnTo>
                  <a:pt x="78" y="93"/>
                </a:lnTo>
                <a:lnTo>
                  <a:pt x="81" y="87"/>
                </a:lnTo>
                <a:lnTo>
                  <a:pt x="84" y="84"/>
                </a:lnTo>
                <a:lnTo>
                  <a:pt x="91" y="84"/>
                </a:lnTo>
                <a:lnTo>
                  <a:pt x="97" y="84"/>
                </a:lnTo>
                <a:lnTo>
                  <a:pt x="97" y="31"/>
                </a:lnTo>
                <a:lnTo>
                  <a:pt x="159" y="34"/>
                </a:lnTo>
                <a:lnTo>
                  <a:pt x="159" y="6"/>
                </a:lnTo>
                <a:lnTo>
                  <a:pt x="159" y="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9" name="Freeform 117">
            <a:extLst>
              <a:ext uri="{FF2B5EF4-FFF2-40B4-BE49-F238E27FC236}">
                <a16:creationId xmlns:a16="http://schemas.microsoft.com/office/drawing/2014/main" id="{9F97AA04-E302-134D-90C9-36CDDF49BD4C}"/>
              </a:ext>
            </a:extLst>
          </p:cNvPr>
          <p:cNvSpPr>
            <a:spLocks/>
          </p:cNvSpPr>
          <p:nvPr userDrawn="1"/>
        </p:nvSpPr>
        <p:spPr bwMode="auto">
          <a:xfrm>
            <a:off x="12127709" y="7628807"/>
            <a:ext cx="742902" cy="803278"/>
          </a:xfrm>
          <a:custGeom>
            <a:avLst/>
            <a:gdLst>
              <a:gd name="T0" fmla="*/ 81 w 234"/>
              <a:gd name="T1" fmla="*/ 122 h 253"/>
              <a:gd name="T2" fmla="*/ 84 w 234"/>
              <a:gd name="T3" fmla="*/ 81 h 253"/>
              <a:gd name="T4" fmla="*/ 94 w 234"/>
              <a:gd name="T5" fmla="*/ 78 h 253"/>
              <a:gd name="T6" fmla="*/ 100 w 234"/>
              <a:gd name="T7" fmla="*/ 25 h 253"/>
              <a:gd name="T8" fmla="*/ 162 w 234"/>
              <a:gd name="T9" fmla="*/ 0 h 253"/>
              <a:gd name="T10" fmla="*/ 234 w 234"/>
              <a:gd name="T11" fmla="*/ 47 h 253"/>
              <a:gd name="T12" fmla="*/ 209 w 234"/>
              <a:gd name="T13" fmla="*/ 47 h 253"/>
              <a:gd name="T14" fmla="*/ 231 w 234"/>
              <a:gd name="T15" fmla="*/ 225 h 253"/>
              <a:gd name="T16" fmla="*/ 156 w 234"/>
              <a:gd name="T17" fmla="*/ 241 h 253"/>
              <a:gd name="T18" fmla="*/ 150 w 234"/>
              <a:gd name="T19" fmla="*/ 238 h 253"/>
              <a:gd name="T20" fmla="*/ 144 w 234"/>
              <a:gd name="T21" fmla="*/ 241 h 253"/>
              <a:gd name="T22" fmla="*/ 144 w 234"/>
              <a:gd name="T23" fmla="*/ 234 h 253"/>
              <a:gd name="T24" fmla="*/ 128 w 234"/>
              <a:gd name="T25" fmla="*/ 238 h 253"/>
              <a:gd name="T26" fmla="*/ 122 w 234"/>
              <a:gd name="T27" fmla="*/ 244 h 253"/>
              <a:gd name="T28" fmla="*/ 119 w 234"/>
              <a:gd name="T29" fmla="*/ 234 h 253"/>
              <a:gd name="T30" fmla="*/ 106 w 234"/>
              <a:gd name="T31" fmla="*/ 234 h 253"/>
              <a:gd name="T32" fmla="*/ 106 w 234"/>
              <a:gd name="T33" fmla="*/ 244 h 253"/>
              <a:gd name="T34" fmla="*/ 100 w 234"/>
              <a:gd name="T35" fmla="*/ 250 h 253"/>
              <a:gd name="T36" fmla="*/ 94 w 234"/>
              <a:gd name="T37" fmla="*/ 253 h 253"/>
              <a:gd name="T38" fmla="*/ 87 w 234"/>
              <a:gd name="T39" fmla="*/ 247 h 253"/>
              <a:gd name="T40" fmla="*/ 84 w 234"/>
              <a:gd name="T41" fmla="*/ 244 h 253"/>
              <a:gd name="T42" fmla="*/ 78 w 234"/>
              <a:gd name="T43" fmla="*/ 238 h 253"/>
              <a:gd name="T44" fmla="*/ 75 w 234"/>
              <a:gd name="T45" fmla="*/ 228 h 253"/>
              <a:gd name="T46" fmla="*/ 69 w 234"/>
              <a:gd name="T47" fmla="*/ 228 h 253"/>
              <a:gd name="T48" fmla="*/ 65 w 234"/>
              <a:gd name="T49" fmla="*/ 228 h 253"/>
              <a:gd name="T50" fmla="*/ 62 w 234"/>
              <a:gd name="T51" fmla="*/ 225 h 253"/>
              <a:gd name="T52" fmla="*/ 53 w 234"/>
              <a:gd name="T53" fmla="*/ 219 h 253"/>
              <a:gd name="T54" fmla="*/ 40 w 234"/>
              <a:gd name="T55" fmla="*/ 216 h 253"/>
              <a:gd name="T56" fmla="*/ 19 w 234"/>
              <a:gd name="T57" fmla="*/ 222 h 253"/>
              <a:gd name="T58" fmla="*/ 12 w 234"/>
              <a:gd name="T59" fmla="*/ 225 h 253"/>
              <a:gd name="T60" fmla="*/ 9 w 234"/>
              <a:gd name="T61" fmla="*/ 219 h 253"/>
              <a:gd name="T62" fmla="*/ 19 w 234"/>
              <a:gd name="T63" fmla="*/ 200 h 253"/>
              <a:gd name="T64" fmla="*/ 15 w 234"/>
              <a:gd name="T65" fmla="*/ 166 h 253"/>
              <a:gd name="T66" fmla="*/ 12 w 234"/>
              <a:gd name="T67" fmla="*/ 156 h 253"/>
              <a:gd name="T68" fmla="*/ 15 w 234"/>
              <a:gd name="T69" fmla="*/ 150 h 253"/>
              <a:gd name="T70" fmla="*/ 15 w 234"/>
              <a:gd name="T71" fmla="*/ 144 h 253"/>
              <a:gd name="T72" fmla="*/ 9 w 234"/>
              <a:gd name="T73" fmla="*/ 138 h 253"/>
              <a:gd name="T74" fmla="*/ 6 w 234"/>
              <a:gd name="T75" fmla="*/ 131 h 253"/>
              <a:gd name="T76" fmla="*/ 0 w 234"/>
              <a:gd name="T77" fmla="*/ 128 h 253"/>
              <a:gd name="T78" fmla="*/ 3 w 234"/>
              <a:gd name="T79" fmla="*/ 122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253">
                <a:moveTo>
                  <a:pt x="3" y="122"/>
                </a:moveTo>
                <a:lnTo>
                  <a:pt x="81" y="122"/>
                </a:lnTo>
                <a:lnTo>
                  <a:pt x="81" y="87"/>
                </a:lnTo>
                <a:lnTo>
                  <a:pt x="84" y="81"/>
                </a:lnTo>
                <a:lnTo>
                  <a:pt x="87" y="78"/>
                </a:lnTo>
                <a:lnTo>
                  <a:pt x="94" y="78"/>
                </a:lnTo>
                <a:lnTo>
                  <a:pt x="100" y="78"/>
                </a:lnTo>
                <a:lnTo>
                  <a:pt x="100" y="25"/>
                </a:lnTo>
                <a:lnTo>
                  <a:pt x="162" y="28"/>
                </a:lnTo>
                <a:lnTo>
                  <a:pt x="162" y="0"/>
                </a:lnTo>
                <a:lnTo>
                  <a:pt x="234" y="47"/>
                </a:lnTo>
                <a:lnTo>
                  <a:pt x="234" y="47"/>
                </a:lnTo>
                <a:lnTo>
                  <a:pt x="234" y="47"/>
                </a:lnTo>
                <a:lnTo>
                  <a:pt x="209" y="47"/>
                </a:lnTo>
                <a:lnTo>
                  <a:pt x="225" y="219"/>
                </a:lnTo>
                <a:lnTo>
                  <a:pt x="231" y="225"/>
                </a:lnTo>
                <a:lnTo>
                  <a:pt x="225" y="241"/>
                </a:lnTo>
                <a:lnTo>
                  <a:pt x="156" y="241"/>
                </a:lnTo>
                <a:lnTo>
                  <a:pt x="153" y="241"/>
                </a:lnTo>
                <a:lnTo>
                  <a:pt x="150" y="238"/>
                </a:lnTo>
                <a:lnTo>
                  <a:pt x="147" y="238"/>
                </a:lnTo>
                <a:lnTo>
                  <a:pt x="144" y="241"/>
                </a:lnTo>
                <a:lnTo>
                  <a:pt x="144" y="241"/>
                </a:lnTo>
                <a:lnTo>
                  <a:pt x="144" y="234"/>
                </a:lnTo>
                <a:lnTo>
                  <a:pt x="137" y="231"/>
                </a:lnTo>
                <a:lnTo>
                  <a:pt x="128" y="238"/>
                </a:lnTo>
                <a:lnTo>
                  <a:pt x="122" y="247"/>
                </a:lnTo>
                <a:lnTo>
                  <a:pt x="122" y="244"/>
                </a:lnTo>
                <a:lnTo>
                  <a:pt x="119" y="238"/>
                </a:lnTo>
                <a:lnTo>
                  <a:pt x="119" y="234"/>
                </a:lnTo>
                <a:lnTo>
                  <a:pt x="112" y="234"/>
                </a:lnTo>
                <a:lnTo>
                  <a:pt x="106" y="234"/>
                </a:lnTo>
                <a:lnTo>
                  <a:pt x="106" y="244"/>
                </a:lnTo>
                <a:lnTo>
                  <a:pt x="106" y="244"/>
                </a:lnTo>
                <a:lnTo>
                  <a:pt x="103" y="250"/>
                </a:lnTo>
                <a:lnTo>
                  <a:pt x="100" y="250"/>
                </a:lnTo>
                <a:lnTo>
                  <a:pt x="94" y="253"/>
                </a:lnTo>
                <a:lnTo>
                  <a:pt x="94" y="253"/>
                </a:lnTo>
                <a:lnTo>
                  <a:pt x="94" y="250"/>
                </a:lnTo>
                <a:lnTo>
                  <a:pt x="87" y="247"/>
                </a:lnTo>
                <a:lnTo>
                  <a:pt x="84" y="247"/>
                </a:lnTo>
                <a:lnTo>
                  <a:pt x="84" y="244"/>
                </a:lnTo>
                <a:lnTo>
                  <a:pt x="78" y="241"/>
                </a:lnTo>
                <a:lnTo>
                  <a:pt x="78" y="238"/>
                </a:lnTo>
                <a:lnTo>
                  <a:pt x="75" y="234"/>
                </a:lnTo>
                <a:lnTo>
                  <a:pt x="75" y="228"/>
                </a:lnTo>
                <a:lnTo>
                  <a:pt x="72" y="228"/>
                </a:lnTo>
                <a:lnTo>
                  <a:pt x="69" y="228"/>
                </a:lnTo>
                <a:lnTo>
                  <a:pt x="69" y="228"/>
                </a:lnTo>
                <a:lnTo>
                  <a:pt x="65" y="228"/>
                </a:lnTo>
                <a:lnTo>
                  <a:pt x="62" y="228"/>
                </a:lnTo>
                <a:lnTo>
                  <a:pt x="62" y="225"/>
                </a:lnTo>
                <a:lnTo>
                  <a:pt x="56" y="219"/>
                </a:lnTo>
                <a:lnTo>
                  <a:pt x="53" y="219"/>
                </a:lnTo>
                <a:lnTo>
                  <a:pt x="44" y="216"/>
                </a:lnTo>
                <a:lnTo>
                  <a:pt x="40" y="216"/>
                </a:lnTo>
                <a:lnTo>
                  <a:pt x="28" y="219"/>
                </a:lnTo>
                <a:lnTo>
                  <a:pt x="19" y="222"/>
                </a:lnTo>
                <a:lnTo>
                  <a:pt x="15" y="225"/>
                </a:lnTo>
                <a:lnTo>
                  <a:pt x="12" y="225"/>
                </a:lnTo>
                <a:lnTo>
                  <a:pt x="9" y="228"/>
                </a:lnTo>
                <a:lnTo>
                  <a:pt x="9" y="219"/>
                </a:lnTo>
                <a:lnTo>
                  <a:pt x="12" y="206"/>
                </a:lnTo>
                <a:lnTo>
                  <a:pt x="19" y="200"/>
                </a:lnTo>
                <a:lnTo>
                  <a:pt x="19" y="188"/>
                </a:lnTo>
                <a:lnTo>
                  <a:pt x="15" y="166"/>
                </a:lnTo>
                <a:lnTo>
                  <a:pt x="9" y="156"/>
                </a:lnTo>
                <a:lnTo>
                  <a:pt x="12" y="156"/>
                </a:lnTo>
                <a:lnTo>
                  <a:pt x="15" y="156"/>
                </a:lnTo>
                <a:lnTo>
                  <a:pt x="15" y="150"/>
                </a:lnTo>
                <a:lnTo>
                  <a:pt x="15" y="144"/>
                </a:lnTo>
                <a:lnTo>
                  <a:pt x="15" y="144"/>
                </a:lnTo>
                <a:lnTo>
                  <a:pt x="12" y="134"/>
                </a:lnTo>
                <a:lnTo>
                  <a:pt x="9" y="138"/>
                </a:lnTo>
                <a:lnTo>
                  <a:pt x="6" y="134"/>
                </a:lnTo>
                <a:lnTo>
                  <a:pt x="6" y="131"/>
                </a:lnTo>
                <a:lnTo>
                  <a:pt x="0" y="134"/>
                </a:lnTo>
                <a:lnTo>
                  <a:pt x="0" y="128"/>
                </a:lnTo>
                <a:lnTo>
                  <a:pt x="3" y="125"/>
                </a:lnTo>
                <a:lnTo>
                  <a:pt x="3" y="122"/>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0" name="Freeform 118">
            <a:extLst>
              <a:ext uri="{FF2B5EF4-FFF2-40B4-BE49-F238E27FC236}">
                <a16:creationId xmlns:a16="http://schemas.microsoft.com/office/drawing/2014/main" id="{71C38E70-D65E-47CF-03BC-BE49FD036274}"/>
              </a:ext>
            </a:extLst>
          </p:cNvPr>
          <p:cNvSpPr>
            <a:spLocks/>
          </p:cNvSpPr>
          <p:nvPr userDrawn="1"/>
        </p:nvSpPr>
        <p:spPr bwMode="auto">
          <a:xfrm>
            <a:off x="12426139" y="7778032"/>
            <a:ext cx="1019110" cy="942976"/>
          </a:xfrm>
          <a:custGeom>
            <a:avLst/>
            <a:gdLst>
              <a:gd name="T0" fmla="*/ 9 w 321"/>
              <a:gd name="T1" fmla="*/ 203 h 297"/>
              <a:gd name="T2" fmla="*/ 12 w 321"/>
              <a:gd name="T3" fmla="*/ 187 h 297"/>
              <a:gd name="T4" fmla="*/ 25 w 321"/>
              <a:gd name="T5" fmla="*/ 191 h 297"/>
              <a:gd name="T6" fmla="*/ 34 w 321"/>
              <a:gd name="T7" fmla="*/ 191 h 297"/>
              <a:gd name="T8" fmla="*/ 50 w 321"/>
              <a:gd name="T9" fmla="*/ 194 h 297"/>
              <a:gd name="T10" fmla="*/ 56 w 321"/>
              <a:gd name="T11" fmla="*/ 191 h 297"/>
              <a:gd name="T12" fmla="*/ 131 w 321"/>
              <a:gd name="T13" fmla="*/ 194 h 297"/>
              <a:gd name="T14" fmla="*/ 115 w 321"/>
              <a:gd name="T15" fmla="*/ 0 h 297"/>
              <a:gd name="T16" fmla="*/ 271 w 321"/>
              <a:gd name="T17" fmla="*/ 94 h 297"/>
              <a:gd name="T18" fmla="*/ 287 w 321"/>
              <a:gd name="T19" fmla="*/ 100 h 297"/>
              <a:gd name="T20" fmla="*/ 300 w 321"/>
              <a:gd name="T21" fmla="*/ 109 h 297"/>
              <a:gd name="T22" fmla="*/ 300 w 321"/>
              <a:gd name="T23" fmla="*/ 122 h 297"/>
              <a:gd name="T24" fmla="*/ 321 w 321"/>
              <a:gd name="T25" fmla="*/ 119 h 297"/>
              <a:gd name="T26" fmla="*/ 318 w 321"/>
              <a:gd name="T27" fmla="*/ 175 h 297"/>
              <a:gd name="T28" fmla="*/ 312 w 321"/>
              <a:gd name="T29" fmla="*/ 187 h 297"/>
              <a:gd name="T30" fmla="*/ 290 w 321"/>
              <a:gd name="T31" fmla="*/ 197 h 297"/>
              <a:gd name="T32" fmla="*/ 275 w 321"/>
              <a:gd name="T33" fmla="*/ 200 h 297"/>
              <a:gd name="T34" fmla="*/ 250 w 321"/>
              <a:gd name="T35" fmla="*/ 203 h 297"/>
              <a:gd name="T36" fmla="*/ 243 w 321"/>
              <a:gd name="T37" fmla="*/ 203 h 297"/>
              <a:gd name="T38" fmla="*/ 231 w 321"/>
              <a:gd name="T39" fmla="*/ 200 h 297"/>
              <a:gd name="T40" fmla="*/ 209 w 321"/>
              <a:gd name="T41" fmla="*/ 209 h 297"/>
              <a:gd name="T42" fmla="*/ 181 w 321"/>
              <a:gd name="T43" fmla="*/ 228 h 297"/>
              <a:gd name="T44" fmla="*/ 162 w 321"/>
              <a:gd name="T45" fmla="*/ 231 h 297"/>
              <a:gd name="T46" fmla="*/ 156 w 321"/>
              <a:gd name="T47" fmla="*/ 244 h 297"/>
              <a:gd name="T48" fmla="*/ 146 w 321"/>
              <a:gd name="T49" fmla="*/ 263 h 297"/>
              <a:gd name="T50" fmla="*/ 137 w 321"/>
              <a:gd name="T51" fmla="*/ 272 h 297"/>
              <a:gd name="T52" fmla="*/ 134 w 321"/>
              <a:gd name="T53" fmla="*/ 281 h 297"/>
              <a:gd name="T54" fmla="*/ 134 w 321"/>
              <a:gd name="T55" fmla="*/ 291 h 297"/>
              <a:gd name="T56" fmla="*/ 121 w 321"/>
              <a:gd name="T57" fmla="*/ 294 h 297"/>
              <a:gd name="T58" fmla="*/ 112 w 321"/>
              <a:gd name="T59" fmla="*/ 294 h 297"/>
              <a:gd name="T60" fmla="*/ 103 w 321"/>
              <a:gd name="T61" fmla="*/ 294 h 297"/>
              <a:gd name="T62" fmla="*/ 87 w 321"/>
              <a:gd name="T63" fmla="*/ 297 h 297"/>
              <a:gd name="T64" fmla="*/ 81 w 321"/>
              <a:gd name="T65" fmla="*/ 291 h 297"/>
              <a:gd name="T66" fmla="*/ 81 w 321"/>
              <a:gd name="T67" fmla="*/ 284 h 297"/>
              <a:gd name="T68" fmla="*/ 71 w 321"/>
              <a:gd name="T69" fmla="*/ 288 h 297"/>
              <a:gd name="T70" fmla="*/ 78 w 321"/>
              <a:gd name="T71" fmla="*/ 275 h 297"/>
              <a:gd name="T72" fmla="*/ 71 w 321"/>
              <a:gd name="T73" fmla="*/ 266 h 297"/>
              <a:gd name="T74" fmla="*/ 65 w 321"/>
              <a:gd name="T75" fmla="*/ 256 h 297"/>
              <a:gd name="T76" fmla="*/ 56 w 321"/>
              <a:gd name="T77" fmla="*/ 256 h 297"/>
              <a:gd name="T78" fmla="*/ 43 w 321"/>
              <a:gd name="T79" fmla="*/ 263 h 297"/>
              <a:gd name="T80" fmla="*/ 31 w 321"/>
              <a:gd name="T81" fmla="*/ 263 h 297"/>
              <a:gd name="T82" fmla="*/ 21 w 321"/>
              <a:gd name="T83" fmla="*/ 263 h 297"/>
              <a:gd name="T84" fmla="*/ 25 w 321"/>
              <a:gd name="T85" fmla="*/ 256 h 297"/>
              <a:gd name="T86" fmla="*/ 18 w 321"/>
              <a:gd name="T87" fmla="*/ 247 h 297"/>
              <a:gd name="T88" fmla="*/ 15 w 321"/>
              <a:gd name="T89" fmla="*/ 241 h 297"/>
              <a:gd name="T90" fmla="*/ 9 w 321"/>
              <a:gd name="T91" fmla="*/ 238 h 297"/>
              <a:gd name="T92" fmla="*/ 3 w 321"/>
              <a:gd name="T93" fmla="*/ 225 h 297"/>
              <a:gd name="T94" fmla="*/ 3 w 321"/>
              <a:gd name="T95" fmla="*/ 209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1" h="297">
                <a:moveTo>
                  <a:pt x="0" y="206"/>
                </a:moveTo>
                <a:lnTo>
                  <a:pt x="6" y="203"/>
                </a:lnTo>
                <a:lnTo>
                  <a:pt x="9" y="203"/>
                </a:lnTo>
                <a:lnTo>
                  <a:pt x="12" y="197"/>
                </a:lnTo>
                <a:lnTo>
                  <a:pt x="12" y="197"/>
                </a:lnTo>
                <a:lnTo>
                  <a:pt x="12" y="187"/>
                </a:lnTo>
                <a:lnTo>
                  <a:pt x="18" y="187"/>
                </a:lnTo>
                <a:lnTo>
                  <a:pt x="25" y="187"/>
                </a:lnTo>
                <a:lnTo>
                  <a:pt x="25" y="191"/>
                </a:lnTo>
                <a:lnTo>
                  <a:pt x="28" y="197"/>
                </a:lnTo>
                <a:lnTo>
                  <a:pt x="28" y="200"/>
                </a:lnTo>
                <a:lnTo>
                  <a:pt x="34" y="191"/>
                </a:lnTo>
                <a:lnTo>
                  <a:pt x="43" y="184"/>
                </a:lnTo>
                <a:lnTo>
                  <a:pt x="50" y="187"/>
                </a:lnTo>
                <a:lnTo>
                  <a:pt x="50" y="194"/>
                </a:lnTo>
                <a:lnTo>
                  <a:pt x="50" y="194"/>
                </a:lnTo>
                <a:lnTo>
                  <a:pt x="53" y="191"/>
                </a:lnTo>
                <a:lnTo>
                  <a:pt x="56" y="191"/>
                </a:lnTo>
                <a:lnTo>
                  <a:pt x="59" y="194"/>
                </a:lnTo>
                <a:lnTo>
                  <a:pt x="62" y="194"/>
                </a:lnTo>
                <a:lnTo>
                  <a:pt x="131" y="194"/>
                </a:lnTo>
                <a:lnTo>
                  <a:pt x="137" y="178"/>
                </a:lnTo>
                <a:lnTo>
                  <a:pt x="131" y="172"/>
                </a:lnTo>
                <a:lnTo>
                  <a:pt x="115" y="0"/>
                </a:lnTo>
                <a:lnTo>
                  <a:pt x="140" y="0"/>
                </a:lnTo>
                <a:lnTo>
                  <a:pt x="268" y="84"/>
                </a:lnTo>
                <a:lnTo>
                  <a:pt x="271" y="94"/>
                </a:lnTo>
                <a:lnTo>
                  <a:pt x="275" y="97"/>
                </a:lnTo>
                <a:lnTo>
                  <a:pt x="281" y="97"/>
                </a:lnTo>
                <a:lnTo>
                  <a:pt x="287" y="100"/>
                </a:lnTo>
                <a:lnTo>
                  <a:pt x="290" y="103"/>
                </a:lnTo>
                <a:lnTo>
                  <a:pt x="296" y="106"/>
                </a:lnTo>
                <a:lnTo>
                  <a:pt x="300" y="109"/>
                </a:lnTo>
                <a:lnTo>
                  <a:pt x="300" y="112"/>
                </a:lnTo>
                <a:lnTo>
                  <a:pt x="296" y="119"/>
                </a:lnTo>
                <a:lnTo>
                  <a:pt x="300" y="122"/>
                </a:lnTo>
                <a:lnTo>
                  <a:pt x="303" y="122"/>
                </a:lnTo>
                <a:lnTo>
                  <a:pt x="312" y="122"/>
                </a:lnTo>
                <a:lnTo>
                  <a:pt x="321" y="119"/>
                </a:lnTo>
                <a:lnTo>
                  <a:pt x="321" y="119"/>
                </a:lnTo>
                <a:lnTo>
                  <a:pt x="318" y="156"/>
                </a:lnTo>
                <a:lnTo>
                  <a:pt x="318" y="175"/>
                </a:lnTo>
                <a:lnTo>
                  <a:pt x="315" y="178"/>
                </a:lnTo>
                <a:lnTo>
                  <a:pt x="315" y="184"/>
                </a:lnTo>
                <a:lnTo>
                  <a:pt x="312" y="187"/>
                </a:lnTo>
                <a:lnTo>
                  <a:pt x="303" y="194"/>
                </a:lnTo>
                <a:lnTo>
                  <a:pt x="296" y="197"/>
                </a:lnTo>
                <a:lnTo>
                  <a:pt x="290" y="197"/>
                </a:lnTo>
                <a:lnTo>
                  <a:pt x="287" y="200"/>
                </a:lnTo>
                <a:lnTo>
                  <a:pt x="281" y="200"/>
                </a:lnTo>
                <a:lnTo>
                  <a:pt x="275" y="200"/>
                </a:lnTo>
                <a:lnTo>
                  <a:pt x="268" y="203"/>
                </a:lnTo>
                <a:lnTo>
                  <a:pt x="262" y="203"/>
                </a:lnTo>
                <a:lnTo>
                  <a:pt x="250" y="203"/>
                </a:lnTo>
                <a:lnTo>
                  <a:pt x="246" y="203"/>
                </a:lnTo>
                <a:lnTo>
                  <a:pt x="246" y="203"/>
                </a:lnTo>
                <a:lnTo>
                  <a:pt x="243" y="203"/>
                </a:lnTo>
                <a:lnTo>
                  <a:pt x="240" y="203"/>
                </a:lnTo>
                <a:lnTo>
                  <a:pt x="234" y="200"/>
                </a:lnTo>
                <a:lnTo>
                  <a:pt x="231" y="200"/>
                </a:lnTo>
                <a:lnTo>
                  <a:pt x="221" y="203"/>
                </a:lnTo>
                <a:lnTo>
                  <a:pt x="215" y="206"/>
                </a:lnTo>
                <a:lnTo>
                  <a:pt x="209" y="209"/>
                </a:lnTo>
                <a:lnTo>
                  <a:pt x="193" y="219"/>
                </a:lnTo>
                <a:lnTo>
                  <a:pt x="184" y="225"/>
                </a:lnTo>
                <a:lnTo>
                  <a:pt x="181" y="228"/>
                </a:lnTo>
                <a:lnTo>
                  <a:pt x="171" y="231"/>
                </a:lnTo>
                <a:lnTo>
                  <a:pt x="168" y="231"/>
                </a:lnTo>
                <a:lnTo>
                  <a:pt x="162" y="231"/>
                </a:lnTo>
                <a:lnTo>
                  <a:pt x="162" y="234"/>
                </a:lnTo>
                <a:lnTo>
                  <a:pt x="159" y="234"/>
                </a:lnTo>
                <a:lnTo>
                  <a:pt x="156" y="244"/>
                </a:lnTo>
                <a:lnTo>
                  <a:pt x="156" y="247"/>
                </a:lnTo>
                <a:lnTo>
                  <a:pt x="150" y="253"/>
                </a:lnTo>
                <a:lnTo>
                  <a:pt x="146" y="263"/>
                </a:lnTo>
                <a:lnTo>
                  <a:pt x="140" y="266"/>
                </a:lnTo>
                <a:lnTo>
                  <a:pt x="137" y="269"/>
                </a:lnTo>
                <a:lnTo>
                  <a:pt x="137" y="272"/>
                </a:lnTo>
                <a:lnTo>
                  <a:pt x="140" y="278"/>
                </a:lnTo>
                <a:lnTo>
                  <a:pt x="134" y="278"/>
                </a:lnTo>
                <a:lnTo>
                  <a:pt x="134" y="281"/>
                </a:lnTo>
                <a:lnTo>
                  <a:pt x="137" y="284"/>
                </a:lnTo>
                <a:lnTo>
                  <a:pt x="134" y="291"/>
                </a:lnTo>
                <a:lnTo>
                  <a:pt x="134" y="291"/>
                </a:lnTo>
                <a:lnTo>
                  <a:pt x="131" y="297"/>
                </a:lnTo>
                <a:lnTo>
                  <a:pt x="125" y="297"/>
                </a:lnTo>
                <a:lnTo>
                  <a:pt x="121" y="294"/>
                </a:lnTo>
                <a:lnTo>
                  <a:pt x="121" y="291"/>
                </a:lnTo>
                <a:lnTo>
                  <a:pt x="118" y="291"/>
                </a:lnTo>
                <a:lnTo>
                  <a:pt x="112" y="294"/>
                </a:lnTo>
                <a:lnTo>
                  <a:pt x="112" y="294"/>
                </a:lnTo>
                <a:lnTo>
                  <a:pt x="109" y="297"/>
                </a:lnTo>
                <a:lnTo>
                  <a:pt x="103" y="294"/>
                </a:lnTo>
                <a:lnTo>
                  <a:pt x="96" y="294"/>
                </a:lnTo>
                <a:lnTo>
                  <a:pt x="93" y="294"/>
                </a:lnTo>
                <a:lnTo>
                  <a:pt x="87" y="297"/>
                </a:lnTo>
                <a:lnTo>
                  <a:pt x="87" y="294"/>
                </a:lnTo>
                <a:lnTo>
                  <a:pt x="87" y="291"/>
                </a:lnTo>
                <a:lnTo>
                  <a:pt x="81" y="291"/>
                </a:lnTo>
                <a:lnTo>
                  <a:pt x="81" y="291"/>
                </a:lnTo>
                <a:lnTo>
                  <a:pt x="81" y="288"/>
                </a:lnTo>
                <a:lnTo>
                  <a:pt x="81" y="284"/>
                </a:lnTo>
                <a:lnTo>
                  <a:pt x="78" y="284"/>
                </a:lnTo>
                <a:lnTo>
                  <a:pt x="75" y="284"/>
                </a:lnTo>
                <a:lnTo>
                  <a:pt x="71" y="288"/>
                </a:lnTo>
                <a:lnTo>
                  <a:pt x="75" y="281"/>
                </a:lnTo>
                <a:lnTo>
                  <a:pt x="78" y="275"/>
                </a:lnTo>
                <a:lnTo>
                  <a:pt x="78" y="275"/>
                </a:lnTo>
                <a:lnTo>
                  <a:pt x="71" y="272"/>
                </a:lnTo>
                <a:lnTo>
                  <a:pt x="71" y="272"/>
                </a:lnTo>
                <a:lnTo>
                  <a:pt x="71" y="266"/>
                </a:lnTo>
                <a:lnTo>
                  <a:pt x="71" y="263"/>
                </a:lnTo>
                <a:lnTo>
                  <a:pt x="65" y="259"/>
                </a:lnTo>
                <a:lnTo>
                  <a:pt x="65" y="256"/>
                </a:lnTo>
                <a:lnTo>
                  <a:pt x="62" y="256"/>
                </a:lnTo>
                <a:lnTo>
                  <a:pt x="59" y="259"/>
                </a:lnTo>
                <a:lnTo>
                  <a:pt x="56" y="256"/>
                </a:lnTo>
                <a:lnTo>
                  <a:pt x="50" y="256"/>
                </a:lnTo>
                <a:lnTo>
                  <a:pt x="46" y="263"/>
                </a:lnTo>
                <a:lnTo>
                  <a:pt x="43" y="263"/>
                </a:lnTo>
                <a:lnTo>
                  <a:pt x="40" y="266"/>
                </a:lnTo>
                <a:lnTo>
                  <a:pt x="37" y="266"/>
                </a:lnTo>
                <a:lnTo>
                  <a:pt x="31" y="263"/>
                </a:lnTo>
                <a:lnTo>
                  <a:pt x="28" y="263"/>
                </a:lnTo>
                <a:lnTo>
                  <a:pt x="25" y="263"/>
                </a:lnTo>
                <a:lnTo>
                  <a:pt x="21" y="263"/>
                </a:lnTo>
                <a:lnTo>
                  <a:pt x="21" y="263"/>
                </a:lnTo>
                <a:lnTo>
                  <a:pt x="25" y="259"/>
                </a:lnTo>
                <a:lnTo>
                  <a:pt x="25" y="256"/>
                </a:lnTo>
                <a:lnTo>
                  <a:pt x="18" y="253"/>
                </a:lnTo>
                <a:lnTo>
                  <a:pt x="18" y="250"/>
                </a:lnTo>
                <a:lnTo>
                  <a:pt x="18" y="247"/>
                </a:lnTo>
                <a:lnTo>
                  <a:pt x="18" y="247"/>
                </a:lnTo>
                <a:lnTo>
                  <a:pt x="15" y="244"/>
                </a:lnTo>
                <a:lnTo>
                  <a:pt x="15" y="241"/>
                </a:lnTo>
                <a:lnTo>
                  <a:pt x="12" y="238"/>
                </a:lnTo>
                <a:lnTo>
                  <a:pt x="12" y="238"/>
                </a:lnTo>
                <a:lnTo>
                  <a:pt x="9" y="238"/>
                </a:lnTo>
                <a:lnTo>
                  <a:pt x="6" y="231"/>
                </a:lnTo>
                <a:lnTo>
                  <a:pt x="3" y="228"/>
                </a:lnTo>
                <a:lnTo>
                  <a:pt x="3" y="225"/>
                </a:lnTo>
                <a:lnTo>
                  <a:pt x="3" y="216"/>
                </a:lnTo>
                <a:lnTo>
                  <a:pt x="3" y="213"/>
                </a:lnTo>
                <a:lnTo>
                  <a:pt x="3" y="209"/>
                </a:lnTo>
                <a:lnTo>
                  <a:pt x="0" y="20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1" name="Freeform 119">
            <a:extLst>
              <a:ext uri="{FF2B5EF4-FFF2-40B4-BE49-F238E27FC236}">
                <a16:creationId xmlns:a16="http://schemas.microsoft.com/office/drawing/2014/main" id="{F41BA9EA-3123-4343-6262-66564A7208E8}"/>
              </a:ext>
            </a:extLst>
          </p:cNvPr>
          <p:cNvSpPr>
            <a:spLocks/>
          </p:cNvSpPr>
          <p:nvPr userDrawn="1"/>
        </p:nvSpPr>
        <p:spPr bwMode="auto">
          <a:xfrm>
            <a:off x="12851563" y="8413031"/>
            <a:ext cx="476219" cy="346078"/>
          </a:xfrm>
          <a:custGeom>
            <a:avLst/>
            <a:gdLst>
              <a:gd name="T0" fmla="*/ 3 w 150"/>
              <a:gd name="T1" fmla="*/ 84 h 109"/>
              <a:gd name="T2" fmla="*/ 0 w 150"/>
              <a:gd name="T3" fmla="*/ 78 h 109"/>
              <a:gd name="T4" fmla="*/ 3 w 150"/>
              <a:gd name="T5" fmla="*/ 72 h 109"/>
              <a:gd name="T6" fmla="*/ 6 w 150"/>
              <a:gd name="T7" fmla="*/ 66 h 109"/>
              <a:gd name="T8" fmla="*/ 16 w 150"/>
              <a:gd name="T9" fmla="*/ 53 h 109"/>
              <a:gd name="T10" fmla="*/ 22 w 150"/>
              <a:gd name="T11" fmla="*/ 44 h 109"/>
              <a:gd name="T12" fmla="*/ 28 w 150"/>
              <a:gd name="T13" fmla="*/ 34 h 109"/>
              <a:gd name="T14" fmla="*/ 34 w 150"/>
              <a:gd name="T15" fmla="*/ 31 h 109"/>
              <a:gd name="T16" fmla="*/ 47 w 150"/>
              <a:gd name="T17" fmla="*/ 28 h 109"/>
              <a:gd name="T18" fmla="*/ 59 w 150"/>
              <a:gd name="T19" fmla="*/ 19 h 109"/>
              <a:gd name="T20" fmla="*/ 81 w 150"/>
              <a:gd name="T21" fmla="*/ 6 h 109"/>
              <a:gd name="T22" fmla="*/ 97 w 150"/>
              <a:gd name="T23" fmla="*/ 0 h 109"/>
              <a:gd name="T24" fmla="*/ 106 w 150"/>
              <a:gd name="T25" fmla="*/ 3 h 109"/>
              <a:gd name="T26" fmla="*/ 112 w 150"/>
              <a:gd name="T27" fmla="*/ 3 h 109"/>
              <a:gd name="T28" fmla="*/ 109 w 150"/>
              <a:gd name="T29" fmla="*/ 9 h 109"/>
              <a:gd name="T30" fmla="*/ 106 w 150"/>
              <a:gd name="T31" fmla="*/ 22 h 109"/>
              <a:gd name="T32" fmla="*/ 125 w 150"/>
              <a:gd name="T33" fmla="*/ 41 h 109"/>
              <a:gd name="T34" fmla="*/ 141 w 150"/>
              <a:gd name="T35" fmla="*/ 41 h 109"/>
              <a:gd name="T36" fmla="*/ 144 w 150"/>
              <a:gd name="T37" fmla="*/ 44 h 109"/>
              <a:gd name="T38" fmla="*/ 147 w 150"/>
              <a:gd name="T39" fmla="*/ 50 h 109"/>
              <a:gd name="T40" fmla="*/ 147 w 150"/>
              <a:gd name="T41" fmla="*/ 59 h 109"/>
              <a:gd name="T42" fmla="*/ 150 w 150"/>
              <a:gd name="T43" fmla="*/ 63 h 109"/>
              <a:gd name="T44" fmla="*/ 141 w 150"/>
              <a:gd name="T45" fmla="*/ 69 h 109"/>
              <a:gd name="T46" fmla="*/ 134 w 150"/>
              <a:gd name="T47" fmla="*/ 69 h 109"/>
              <a:gd name="T48" fmla="*/ 128 w 150"/>
              <a:gd name="T49" fmla="*/ 75 h 109"/>
              <a:gd name="T50" fmla="*/ 128 w 150"/>
              <a:gd name="T51" fmla="*/ 81 h 109"/>
              <a:gd name="T52" fmla="*/ 122 w 150"/>
              <a:gd name="T53" fmla="*/ 84 h 109"/>
              <a:gd name="T54" fmla="*/ 100 w 150"/>
              <a:gd name="T55" fmla="*/ 78 h 109"/>
              <a:gd name="T56" fmla="*/ 97 w 150"/>
              <a:gd name="T57" fmla="*/ 78 h 109"/>
              <a:gd name="T58" fmla="*/ 87 w 150"/>
              <a:gd name="T59" fmla="*/ 81 h 109"/>
              <a:gd name="T60" fmla="*/ 72 w 150"/>
              <a:gd name="T61" fmla="*/ 81 h 109"/>
              <a:gd name="T62" fmla="*/ 56 w 150"/>
              <a:gd name="T63" fmla="*/ 84 h 109"/>
              <a:gd name="T64" fmla="*/ 47 w 150"/>
              <a:gd name="T65" fmla="*/ 88 h 109"/>
              <a:gd name="T66" fmla="*/ 50 w 150"/>
              <a:gd name="T67" fmla="*/ 97 h 109"/>
              <a:gd name="T68" fmla="*/ 53 w 150"/>
              <a:gd name="T69" fmla="*/ 106 h 109"/>
              <a:gd name="T70" fmla="*/ 47 w 150"/>
              <a:gd name="T71" fmla="*/ 103 h 109"/>
              <a:gd name="T72" fmla="*/ 41 w 150"/>
              <a:gd name="T73" fmla="*/ 106 h 109"/>
              <a:gd name="T74" fmla="*/ 28 w 150"/>
              <a:gd name="T75" fmla="*/ 106 h 109"/>
              <a:gd name="T76" fmla="*/ 22 w 150"/>
              <a:gd name="T77" fmla="*/ 100 h 109"/>
              <a:gd name="T78" fmla="*/ 19 w 150"/>
              <a:gd name="T79" fmla="*/ 100 h 109"/>
              <a:gd name="T80" fmla="*/ 6 w 150"/>
              <a:gd name="T81" fmla="*/ 94 h 109"/>
              <a:gd name="T82" fmla="*/ 0 w 150"/>
              <a:gd name="T83" fmla="*/ 9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09">
                <a:moveTo>
                  <a:pt x="0" y="91"/>
                </a:moveTo>
                <a:lnTo>
                  <a:pt x="3" y="84"/>
                </a:lnTo>
                <a:lnTo>
                  <a:pt x="0" y="81"/>
                </a:lnTo>
                <a:lnTo>
                  <a:pt x="0" y="78"/>
                </a:lnTo>
                <a:lnTo>
                  <a:pt x="6" y="78"/>
                </a:lnTo>
                <a:lnTo>
                  <a:pt x="3" y="72"/>
                </a:lnTo>
                <a:lnTo>
                  <a:pt x="3" y="69"/>
                </a:lnTo>
                <a:lnTo>
                  <a:pt x="6" y="66"/>
                </a:lnTo>
                <a:lnTo>
                  <a:pt x="12" y="63"/>
                </a:lnTo>
                <a:lnTo>
                  <a:pt x="16" y="53"/>
                </a:lnTo>
                <a:lnTo>
                  <a:pt x="22" y="47"/>
                </a:lnTo>
                <a:lnTo>
                  <a:pt x="22" y="44"/>
                </a:lnTo>
                <a:lnTo>
                  <a:pt x="25" y="34"/>
                </a:lnTo>
                <a:lnTo>
                  <a:pt x="28" y="34"/>
                </a:lnTo>
                <a:lnTo>
                  <a:pt x="28" y="31"/>
                </a:lnTo>
                <a:lnTo>
                  <a:pt x="34" y="31"/>
                </a:lnTo>
                <a:lnTo>
                  <a:pt x="37" y="31"/>
                </a:lnTo>
                <a:lnTo>
                  <a:pt x="47" y="28"/>
                </a:lnTo>
                <a:lnTo>
                  <a:pt x="50" y="25"/>
                </a:lnTo>
                <a:lnTo>
                  <a:pt x="59" y="19"/>
                </a:lnTo>
                <a:lnTo>
                  <a:pt x="75" y="9"/>
                </a:lnTo>
                <a:lnTo>
                  <a:pt x="81" y="6"/>
                </a:lnTo>
                <a:lnTo>
                  <a:pt x="87" y="3"/>
                </a:lnTo>
                <a:lnTo>
                  <a:pt x="97" y="0"/>
                </a:lnTo>
                <a:lnTo>
                  <a:pt x="100" y="0"/>
                </a:lnTo>
                <a:lnTo>
                  <a:pt x="106" y="3"/>
                </a:lnTo>
                <a:lnTo>
                  <a:pt x="109" y="3"/>
                </a:lnTo>
                <a:lnTo>
                  <a:pt x="112" y="3"/>
                </a:lnTo>
                <a:lnTo>
                  <a:pt x="109" y="6"/>
                </a:lnTo>
                <a:lnTo>
                  <a:pt x="109" y="9"/>
                </a:lnTo>
                <a:lnTo>
                  <a:pt x="106" y="16"/>
                </a:lnTo>
                <a:lnTo>
                  <a:pt x="106" y="22"/>
                </a:lnTo>
                <a:lnTo>
                  <a:pt x="125" y="34"/>
                </a:lnTo>
                <a:lnTo>
                  <a:pt x="125" y="41"/>
                </a:lnTo>
                <a:lnTo>
                  <a:pt x="134" y="47"/>
                </a:lnTo>
                <a:lnTo>
                  <a:pt x="141" y="41"/>
                </a:lnTo>
                <a:lnTo>
                  <a:pt x="144" y="44"/>
                </a:lnTo>
                <a:lnTo>
                  <a:pt x="144" y="44"/>
                </a:lnTo>
                <a:lnTo>
                  <a:pt x="147" y="47"/>
                </a:lnTo>
                <a:lnTo>
                  <a:pt x="147" y="50"/>
                </a:lnTo>
                <a:lnTo>
                  <a:pt x="144" y="53"/>
                </a:lnTo>
                <a:lnTo>
                  <a:pt x="147" y="59"/>
                </a:lnTo>
                <a:lnTo>
                  <a:pt x="150" y="59"/>
                </a:lnTo>
                <a:lnTo>
                  <a:pt x="150" y="63"/>
                </a:lnTo>
                <a:lnTo>
                  <a:pt x="144" y="66"/>
                </a:lnTo>
                <a:lnTo>
                  <a:pt x="141" y="69"/>
                </a:lnTo>
                <a:lnTo>
                  <a:pt x="134" y="72"/>
                </a:lnTo>
                <a:lnTo>
                  <a:pt x="134" y="69"/>
                </a:lnTo>
                <a:lnTo>
                  <a:pt x="128" y="72"/>
                </a:lnTo>
                <a:lnTo>
                  <a:pt x="128" y="75"/>
                </a:lnTo>
                <a:lnTo>
                  <a:pt x="125" y="78"/>
                </a:lnTo>
                <a:lnTo>
                  <a:pt x="128" y="81"/>
                </a:lnTo>
                <a:lnTo>
                  <a:pt x="122" y="81"/>
                </a:lnTo>
                <a:lnTo>
                  <a:pt x="122" y="84"/>
                </a:lnTo>
                <a:lnTo>
                  <a:pt x="100" y="78"/>
                </a:lnTo>
                <a:lnTo>
                  <a:pt x="100" y="78"/>
                </a:lnTo>
                <a:lnTo>
                  <a:pt x="100" y="78"/>
                </a:lnTo>
                <a:lnTo>
                  <a:pt x="97" y="78"/>
                </a:lnTo>
                <a:lnTo>
                  <a:pt x="94" y="81"/>
                </a:lnTo>
                <a:lnTo>
                  <a:pt x="87" y="81"/>
                </a:lnTo>
                <a:lnTo>
                  <a:pt x="81" y="81"/>
                </a:lnTo>
                <a:lnTo>
                  <a:pt x="72" y="81"/>
                </a:lnTo>
                <a:lnTo>
                  <a:pt x="69" y="84"/>
                </a:lnTo>
                <a:lnTo>
                  <a:pt x="56" y="84"/>
                </a:lnTo>
                <a:lnTo>
                  <a:pt x="47" y="84"/>
                </a:lnTo>
                <a:lnTo>
                  <a:pt x="47" y="88"/>
                </a:lnTo>
                <a:lnTo>
                  <a:pt x="50" y="94"/>
                </a:lnTo>
                <a:lnTo>
                  <a:pt x="50" y="97"/>
                </a:lnTo>
                <a:lnTo>
                  <a:pt x="53" y="100"/>
                </a:lnTo>
                <a:lnTo>
                  <a:pt x="53" y="106"/>
                </a:lnTo>
                <a:lnTo>
                  <a:pt x="50" y="106"/>
                </a:lnTo>
                <a:lnTo>
                  <a:pt x="47" y="103"/>
                </a:lnTo>
                <a:lnTo>
                  <a:pt x="44" y="103"/>
                </a:lnTo>
                <a:lnTo>
                  <a:pt x="41" y="106"/>
                </a:lnTo>
                <a:lnTo>
                  <a:pt x="34" y="109"/>
                </a:lnTo>
                <a:lnTo>
                  <a:pt x="28" y="106"/>
                </a:lnTo>
                <a:lnTo>
                  <a:pt x="28" y="103"/>
                </a:lnTo>
                <a:lnTo>
                  <a:pt x="22" y="100"/>
                </a:lnTo>
                <a:lnTo>
                  <a:pt x="19" y="100"/>
                </a:lnTo>
                <a:lnTo>
                  <a:pt x="19" y="100"/>
                </a:lnTo>
                <a:lnTo>
                  <a:pt x="16" y="100"/>
                </a:lnTo>
                <a:lnTo>
                  <a:pt x="6" y="94"/>
                </a:lnTo>
                <a:lnTo>
                  <a:pt x="3" y="91"/>
                </a:lnTo>
                <a:lnTo>
                  <a:pt x="0" y="91"/>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2" name="Freeform 120">
            <a:extLst>
              <a:ext uri="{FF2B5EF4-FFF2-40B4-BE49-F238E27FC236}">
                <a16:creationId xmlns:a16="http://schemas.microsoft.com/office/drawing/2014/main" id="{4302D1DE-5C0F-9D2E-EF90-40F0AEB86807}"/>
              </a:ext>
            </a:extLst>
          </p:cNvPr>
          <p:cNvSpPr>
            <a:spLocks/>
          </p:cNvSpPr>
          <p:nvPr userDrawn="1"/>
        </p:nvSpPr>
        <p:spPr bwMode="auto">
          <a:xfrm>
            <a:off x="12095961" y="8314611"/>
            <a:ext cx="409549" cy="298450"/>
          </a:xfrm>
          <a:custGeom>
            <a:avLst/>
            <a:gdLst>
              <a:gd name="T0" fmla="*/ 22 w 129"/>
              <a:gd name="T1" fmla="*/ 9 h 94"/>
              <a:gd name="T2" fmla="*/ 29 w 129"/>
              <a:gd name="T3" fmla="*/ 6 h 94"/>
              <a:gd name="T4" fmla="*/ 50 w 129"/>
              <a:gd name="T5" fmla="*/ 0 h 94"/>
              <a:gd name="T6" fmla="*/ 63 w 129"/>
              <a:gd name="T7" fmla="*/ 3 h 94"/>
              <a:gd name="T8" fmla="*/ 72 w 129"/>
              <a:gd name="T9" fmla="*/ 9 h 94"/>
              <a:gd name="T10" fmla="*/ 75 w 129"/>
              <a:gd name="T11" fmla="*/ 12 h 94"/>
              <a:gd name="T12" fmla="*/ 79 w 129"/>
              <a:gd name="T13" fmla="*/ 12 h 94"/>
              <a:gd name="T14" fmla="*/ 85 w 129"/>
              <a:gd name="T15" fmla="*/ 12 h 94"/>
              <a:gd name="T16" fmla="*/ 88 w 129"/>
              <a:gd name="T17" fmla="*/ 22 h 94"/>
              <a:gd name="T18" fmla="*/ 94 w 129"/>
              <a:gd name="T19" fmla="*/ 28 h 94"/>
              <a:gd name="T20" fmla="*/ 97 w 129"/>
              <a:gd name="T21" fmla="*/ 31 h 94"/>
              <a:gd name="T22" fmla="*/ 104 w 129"/>
              <a:gd name="T23" fmla="*/ 37 h 94"/>
              <a:gd name="T24" fmla="*/ 107 w 129"/>
              <a:gd name="T25" fmla="*/ 44 h 94"/>
              <a:gd name="T26" fmla="*/ 107 w 129"/>
              <a:gd name="T27" fmla="*/ 56 h 94"/>
              <a:gd name="T28" fmla="*/ 110 w 129"/>
              <a:gd name="T29" fmla="*/ 62 h 94"/>
              <a:gd name="T30" fmla="*/ 116 w 129"/>
              <a:gd name="T31" fmla="*/ 69 h 94"/>
              <a:gd name="T32" fmla="*/ 119 w 129"/>
              <a:gd name="T33" fmla="*/ 72 h 94"/>
              <a:gd name="T34" fmla="*/ 122 w 129"/>
              <a:gd name="T35" fmla="*/ 78 h 94"/>
              <a:gd name="T36" fmla="*/ 122 w 129"/>
              <a:gd name="T37" fmla="*/ 81 h 94"/>
              <a:gd name="T38" fmla="*/ 129 w 129"/>
              <a:gd name="T39" fmla="*/ 87 h 94"/>
              <a:gd name="T40" fmla="*/ 125 w 129"/>
              <a:gd name="T41" fmla="*/ 94 h 94"/>
              <a:gd name="T42" fmla="*/ 122 w 129"/>
              <a:gd name="T43" fmla="*/ 90 h 94"/>
              <a:gd name="T44" fmla="*/ 116 w 129"/>
              <a:gd name="T45" fmla="*/ 87 h 94"/>
              <a:gd name="T46" fmla="*/ 107 w 129"/>
              <a:gd name="T47" fmla="*/ 87 h 94"/>
              <a:gd name="T48" fmla="*/ 97 w 129"/>
              <a:gd name="T49" fmla="*/ 84 h 94"/>
              <a:gd name="T50" fmla="*/ 75 w 129"/>
              <a:gd name="T51" fmla="*/ 81 h 94"/>
              <a:gd name="T52" fmla="*/ 72 w 129"/>
              <a:gd name="T53" fmla="*/ 81 h 94"/>
              <a:gd name="T54" fmla="*/ 50 w 129"/>
              <a:gd name="T55" fmla="*/ 78 h 94"/>
              <a:gd name="T56" fmla="*/ 41 w 129"/>
              <a:gd name="T57" fmla="*/ 87 h 94"/>
              <a:gd name="T58" fmla="*/ 19 w 129"/>
              <a:gd name="T59" fmla="*/ 87 h 94"/>
              <a:gd name="T60" fmla="*/ 16 w 129"/>
              <a:gd name="T61" fmla="*/ 84 h 94"/>
              <a:gd name="T62" fmla="*/ 16 w 129"/>
              <a:gd name="T63" fmla="*/ 84 h 94"/>
              <a:gd name="T64" fmla="*/ 22 w 129"/>
              <a:gd name="T65" fmla="*/ 81 h 94"/>
              <a:gd name="T66" fmla="*/ 13 w 129"/>
              <a:gd name="T67" fmla="*/ 81 h 94"/>
              <a:gd name="T68" fmla="*/ 13 w 129"/>
              <a:gd name="T69" fmla="*/ 78 h 94"/>
              <a:gd name="T70" fmla="*/ 16 w 129"/>
              <a:gd name="T71" fmla="*/ 72 h 94"/>
              <a:gd name="T72" fmla="*/ 32 w 129"/>
              <a:gd name="T73" fmla="*/ 69 h 94"/>
              <a:gd name="T74" fmla="*/ 38 w 129"/>
              <a:gd name="T75" fmla="*/ 62 h 94"/>
              <a:gd name="T76" fmla="*/ 41 w 129"/>
              <a:gd name="T77" fmla="*/ 65 h 94"/>
              <a:gd name="T78" fmla="*/ 47 w 129"/>
              <a:gd name="T79" fmla="*/ 62 h 94"/>
              <a:gd name="T80" fmla="*/ 57 w 129"/>
              <a:gd name="T81" fmla="*/ 65 h 94"/>
              <a:gd name="T82" fmla="*/ 66 w 129"/>
              <a:gd name="T83" fmla="*/ 69 h 94"/>
              <a:gd name="T84" fmla="*/ 72 w 129"/>
              <a:gd name="T85" fmla="*/ 65 h 94"/>
              <a:gd name="T86" fmla="*/ 69 w 129"/>
              <a:gd name="T87" fmla="*/ 65 h 94"/>
              <a:gd name="T88" fmla="*/ 57 w 129"/>
              <a:gd name="T89" fmla="*/ 59 h 94"/>
              <a:gd name="T90" fmla="*/ 47 w 129"/>
              <a:gd name="T91" fmla="*/ 56 h 94"/>
              <a:gd name="T92" fmla="*/ 38 w 129"/>
              <a:gd name="T93" fmla="*/ 56 h 94"/>
              <a:gd name="T94" fmla="*/ 29 w 129"/>
              <a:gd name="T95" fmla="*/ 62 h 94"/>
              <a:gd name="T96" fmla="*/ 16 w 129"/>
              <a:gd name="T97" fmla="*/ 62 h 94"/>
              <a:gd name="T98" fmla="*/ 19 w 129"/>
              <a:gd name="T99" fmla="*/ 59 h 94"/>
              <a:gd name="T100" fmla="*/ 16 w 129"/>
              <a:gd name="T101" fmla="*/ 56 h 94"/>
              <a:gd name="T102" fmla="*/ 13 w 129"/>
              <a:gd name="T103" fmla="*/ 53 h 94"/>
              <a:gd name="T104" fmla="*/ 0 w 129"/>
              <a:gd name="T105" fmla="*/ 37 h 94"/>
              <a:gd name="T106" fmla="*/ 19 w 129"/>
              <a:gd name="T107" fmla="*/ 1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9" h="94">
                <a:moveTo>
                  <a:pt x="19" y="12"/>
                </a:moveTo>
                <a:lnTo>
                  <a:pt x="22" y="9"/>
                </a:lnTo>
                <a:lnTo>
                  <a:pt x="25" y="9"/>
                </a:lnTo>
                <a:lnTo>
                  <a:pt x="29" y="6"/>
                </a:lnTo>
                <a:lnTo>
                  <a:pt x="38" y="3"/>
                </a:lnTo>
                <a:lnTo>
                  <a:pt x="50" y="0"/>
                </a:lnTo>
                <a:lnTo>
                  <a:pt x="54" y="0"/>
                </a:lnTo>
                <a:lnTo>
                  <a:pt x="63" y="3"/>
                </a:lnTo>
                <a:lnTo>
                  <a:pt x="66" y="3"/>
                </a:lnTo>
                <a:lnTo>
                  <a:pt x="72" y="9"/>
                </a:lnTo>
                <a:lnTo>
                  <a:pt x="72" y="12"/>
                </a:lnTo>
                <a:lnTo>
                  <a:pt x="75" y="12"/>
                </a:lnTo>
                <a:lnTo>
                  <a:pt x="79" y="12"/>
                </a:lnTo>
                <a:lnTo>
                  <a:pt x="79" y="12"/>
                </a:lnTo>
                <a:lnTo>
                  <a:pt x="82" y="12"/>
                </a:lnTo>
                <a:lnTo>
                  <a:pt x="85" y="12"/>
                </a:lnTo>
                <a:lnTo>
                  <a:pt x="85" y="18"/>
                </a:lnTo>
                <a:lnTo>
                  <a:pt x="88" y="22"/>
                </a:lnTo>
                <a:lnTo>
                  <a:pt x="88" y="25"/>
                </a:lnTo>
                <a:lnTo>
                  <a:pt x="94" y="28"/>
                </a:lnTo>
                <a:lnTo>
                  <a:pt x="94" y="31"/>
                </a:lnTo>
                <a:lnTo>
                  <a:pt x="97" y="31"/>
                </a:lnTo>
                <a:lnTo>
                  <a:pt x="104" y="34"/>
                </a:lnTo>
                <a:lnTo>
                  <a:pt x="104" y="37"/>
                </a:lnTo>
                <a:lnTo>
                  <a:pt x="107" y="40"/>
                </a:lnTo>
                <a:lnTo>
                  <a:pt x="107" y="44"/>
                </a:lnTo>
                <a:lnTo>
                  <a:pt x="107" y="47"/>
                </a:lnTo>
                <a:lnTo>
                  <a:pt x="107" y="56"/>
                </a:lnTo>
                <a:lnTo>
                  <a:pt x="107" y="59"/>
                </a:lnTo>
                <a:lnTo>
                  <a:pt x="110" y="62"/>
                </a:lnTo>
                <a:lnTo>
                  <a:pt x="113" y="69"/>
                </a:lnTo>
                <a:lnTo>
                  <a:pt x="116" y="69"/>
                </a:lnTo>
                <a:lnTo>
                  <a:pt x="116" y="69"/>
                </a:lnTo>
                <a:lnTo>
                  <a:pt x="119" y="72"/>
                </a:lnTo>
                <a:lnTo>
                  <a:pt x="119" y="75"/>
                </a:lnTo>
                <a:lnTo>
                  <a:pt x="122" y="78"/>
                </a:lnTo>
                <a:lnTo>
                  <a:pt x="122" y="78"/>
                </a:lnTo>
                <a:lnTo>
                  <a:pt x="122" y="81"/>
                </a:lnTo>
                <a:lnTo>
                  <a:pt x="122" y="84"/>
                </a:lnTo>
                <a:lnTo>
                  <a:pt x="129" y="87"/>
                </a:lnTo>
                <a:lnTo>
                  <a:pt x="129" y="90"/>
                </a:lnTo>
                <a:lnTo>
                  <a:pt x="125" y="94"/>
                </a:lnTo>
                <a:lnTo>
                  <a:pt x="125" y="90"/>
                </a:lnTo>
                <a:lnTo>
                  <a:pt x="122" y="90"/>
                </a:lnTo>
                <a:lnTo>
                  <a:pt x="119" y="87"/>
                </a:lnTo>
                <a:lnTo>
                  <a:pt x="116" y="87"/>
                </a:lnTo>
                <a:lnTo>
                  <a:pt x="113" y="87"/>
                </a:lnTo>
                <a:lnTo>
                  <a:pt x="107" y="87"/>
                </a:lnTo>
                <a:lnTo>
                  <a:pt x="100" y="87"/>
                </a:lnTo>
                <a:lnTo>
                  <a:pt x="97" y="84"/>
                </a:lnTo>
                <a:lnTo>
                  <a:pt x="88" y="81"/>
                </a:lnTo>
                <a:lnTo>
                  <a:pt x="75" y="81"/>
                </a:lnTo>
                <a:lnTo>
                  <a:pt x="72" y="81"/>
                </a:lnTo>
                <a:lnTo>
                  <a:pt x="72" y="81"/>
                </a:lnTo>
                <a:lnTo>
                  <a:pt x="69" y="78"/>
                </a:lnTo>
                <a:lnTo>
                  <a:pt x="50" y="78"/>
                </a:lnTo>
                <a:lnTo>
                  <a:pt x="44" y="81"/>
                </a:lnTo>
                <a:lnTo>
                  <a:pt x="41" y="87"/>
                </a:lnTo>
                <a:lnTo>
                  <a:pt x="25" y="84"/>
                </a:lnTo>
                <a:lnTo>
                  <a:pt x="19" y="87"/>
                </a:lnTo>
                <a:lnTo>
                  <a:pt x="16" y="87"/>
                </a:lnTo>
                <a:lnTo>
                  <a:pt x="16" y="84"/>
                </a:lnTo>
                <a:lnTo>
                  <a:pt x="13" y="81"/>
                </a:lnTo>
                <a:lnTo>
                  <a:pt x="16" y="84"/>
                </a:lnTo>
                <a:lnTo>
                  <a:pt x="19" y="84"/>
                </a:lnTo>
                <a:lnTo>
                  <a:pt x="22" y="81"/>
                </a:lnTo>
                <a:lnTo>
                  <a:pt x="16" y="78"/>
                </a:lnTo>
                <a:lnTo>
                  <a:pt x="13" y="81"/>
                </a:lnTo>
                <a:lnTo>
                  <a:pt x="10" y="81"/>
                </a:lnTo>
                <a:lnTo>
                  <a:pt x="13" y="78"/>
                </a:lnTo>
                <a:lnTo>
                  <a:pt x="13" y="72"/>
                </a:lnTo>
                <a:lnTo>
                  <a:pt x="16" y="72"/>
                </a:lnTo>
                <a:lnTo>
                  <a:pt x="29" y="72"/>
                </a:lnTo>
                <a:lnTo>
                  <a:pt x="32" y="69"/>
                </a:lnTo>
                <a:lnTo>
                  <a:pt x="35" y="65"/>
                </a:lnTo>
                <a:lnTo>
                  <a:pt x="38" y="62"/>
                </a:lnTo>
                <a:lnTo>
                  <a:pt x="41" y="65"/>
                </a:lnTo>
                <a:lnTo>
                  <a:pt x="41" y="65"/>
                </a:lnTo>
                <a:lnTo>
                  <a:pt x="44" y="62"/>
                </a:lnTo>
                <a:lnTo>
                  <a:pt x="47" y="62"/>
                </a:lnTo>
                <a:lnTo>
                  <a:pt x="50" y="65"/>
                </a:lnTo>
                <a:lnTo>
                  <a:pt x="57" y="65"/>
                </a:lnTo>
                <a:lnTo>
                  <a:pt x="60" y="65"/>
                </a:lnTo>
                <a:lnTo>
                  <a:pt x="66" y="69"/>
                </a:lnTo>
                <a:lnTo>
                  <a:pt x="72" y="69"/>
                </a:lnTo>
                <a:lnTo>
                  <a:pt x="72" y="65"/>
                </a:lnTo>
                <a:lnTo>
                  <a:pt x="72" y="65"/>
                </a:lnTo>
                <a:lnTo>
                  <a:pt x="69" y="65"/>
                </a:lnTo>
                <a:lnTo>
                  <a:pt x="63" y="59"/>
                </a:lnTo>
                <a:lnTo>
                  <a:pt x="57" y="59"/>
                </a:lnTo>
                <a:lnTo>
                  <a:pt x="50" y="56"/>
                </a:lnTo>
                <a:lnTo>
                  <a:pt x="47" y="56"/>
                </a:lnTo>
                <a:lnTo>
                  <a:pt x="44" y="53"/>
                </a:lnTo>
                <a:lnTo>
                  <a:pt x="38" y="56"/>
                </a:lnTo>
                <a:lnTo>
                  <a:pt x="32" y="62"/>
                </a:lnTo>
                <a:lnTo>
                  <a:pt x="29" y="62"/>
                </a:lnTo>
                <a:lnTo>
                  <a:pt x="25" y="62"/>
                </a:lnTo>
                <a:lnTo>
                  <a:pt x="16" y="62"/>
                </a:lnTo>
                <a:lnTo>
                  <a:pt x="16" y="62"/>
                </a:lnTo>
                <a:lnTo>
                  <a:pt x="19" y="59"/>
                </a:lnTo>
                <a:lnTo>
                  <a:pt x="13" y="56"/>
                </a:lnTo>
                <a:lnTo>
                  <a:pt x="16" y="56"/>
                </a:lnTo>
                <a:lnTo>
                  <a:pt x="16" y="53"/>
                </a:lnTo>
                <a:lnTo>
                  <a:pt x="13" y="53"/>
                </a:lnTo>
                <a:lnTo>
                  <a:pt x="7" y="44"/>
                </a:lnTo>
                <a:lnTo>
                  <a:pt x="0" y="37"/>
                </a:lnTo>
                <a:lnTo>
                  <a:pt x="13" y="28"/>
                </a:lnTo>
                <a:lnTo>
                  <a:pt x="19" y="18"/>
                </a:lnTo>
                <a:lnTo>
                  <a:pt x="19" y="12"/>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3" name="Freeform 121">
            <a:extLst>
              <a:ext uri="{FF2B5EF4-FFF2-40B4-BE49-F238E27FC236}">
                <a16:creationId xmlns:a16="http://schemas.microsoft.com/office/drawing/2014/main" id="{96F1264B-D7F3-A9BF-CB18-4FBBF2D2D0B0}"/>
              </a:ext>
            </a:extLst>
          </p:cNvPr>
          <p:cNvSpPr>
            <a:spLocks/>
          </p:cNvSpPr>
          <p:nvPr userDrawn="1"/>
        </p:nvSpPr>
        <p:spPr bwMode="auto">
          <a:xfrm>
            <a:off x="12127710" y="8482883"/>
            <a:ext cx="196837" cy="60326"/>
          </a:xfrm>
          <a:custGeom>
            <a:avLst/>
            <a:gdLst>
              <a:gd name="T0" fmla="*/ 3 w 62"/>
              <a:gd name="T1" fmla="*/ 19 h 19"/>
              <a:gd name="T2" fmla="*/ 6 w 62"/>
              <a:gd name="T3" fmla="*/ 19 h 19"/>
              <a:gd name="T4" fmla="*/ 19 w 62"/>
              <a:gd name="T5" fmla="*/ 19 h 19"/>
              <a:gd name="T6" fmla="*/ 22 w 62"/>
              <a:gd name="T7" fmla="*/ 16 h 19"/>
              <a:gd name="T8" fmla="*/ 25 w 62"/>
              <a:gd name="T9" fmla="*/ 12 h 19"/>
              <a:gd name="T10" fmla="*/ 28 w 62"/>
              <a:gd name="T11" fmla="*/ 9 h 19"/>
              <a:gd name="T12" fmla="*/ 31 w 62"/>
              <a:gd name="T13" fmla="*/ 12 h 19"/>
              <a:gd name="T14" fmla="*/ 31 w 62"/>
              <a:gd name="T15" fmla="*/ 12 h 19"/>
              <a:gd name="T16" fmla="*/ 34 w 62"/>
              <a:gd name="T17" fmla="*/ 9 h 19"/>
              <a:gd name="T18" fmla="*/ 37 w 62"/>
              <a:gd name="T19" fmla="*/ 9 h 19"/>
              <a:gd name="T20" fmla="*/ 40 w 62"/>
              <a:gd name="T21" fmla="*/ 12 h 19"/>
              <a:gd name="T22" fmla="*/ 47 w 62"/>
              <a:gd name="T23" fmla="*/ 12 h 19"/>
              <a:gd name="T24" fmla="*/ 50 w 62"/>
              <a:gd name="T25" fmla="*/ 12 h 19"/>
              <a:gd name="T26" fmla="*/ 56 w 62"/>
              <a:gd name="T27" fmla="*/ 16 h 19"/>
              <a:gd name="T28" fmla="*/ 62 w 62"/>
              <a:gd name="T29" fmla="*/ 16 h 19"/>
              <a:gd name="T30" fmla="*/ 62 w 62"/>
              <a:gd name="T31" fmla="*/ 12 h 19"/>
              <a:gd name="T32" fmla="*/ 62 w 62"/>
              <a:gd name="T33" fmla="*/ 12 h 19"/>
              <a:gd name="T34" fmla="*/ 59 w 62"/>
              <a:gd name="T35" fmla="*/ 12 h 19"/>
              <a:gd name="T36" fmla="*/ 53 w 62"/>
              <a:gd name="T37" fmla="*/ 6 h 19"/>
              <a:gd name="T38" fmla="*/ 47 w 62"/>
              <a:gd name="T39" fmla="*/ 6 h 19"/>
              <a:gd name="T40" fmla="*/ 40 w 62"/>
              <a:gd name="T41" fmla="*/ 3 h 19"/>
              <a:gd name="T42" fmla="*/ 37 w 62"/>
              <a:gd name="T43" fmla="*/ 3 h 19"/>
              <a:gd name="T44" fmla="*/ 34 w 62"/>
              <a:gd name="T45" fmla="*/ 0 h 19"/>
              <a:gd name="T46" fmla="*/ 28 w 62"/>
              <a:gd name="T47" fmla="*/ 3 h 19"/>
              <a:gd name="T48" fmla="*/ 22 w 62"/>
              <a:gd name="T49" fmla="*/ 9 h 19"/>
              <a:gd name="T50" fmla="*/ 19 w 62"/>
              <a:gd name="T51" fmla="*/ 9 h 19"/>
              <a:gd name="T52" fmla="*/ 15 w 62"/>
              <a:gd name="T53" fmla="*/ 9 h 19"/>
              <a:gd name="T54" fmla="*/ 6 w 62"/>
              <a:gd name="T55" fmla="*/ 9 h 19"/>
              <a:gd name="T56" fmla="*/ 6 w 62"/>
              <a:gd name="T57" fmla="*/ 12 h 19"/>
              <a:gd name="T58" fmla="*/ 12 w 62"/>
              <a:gd name="T59" fmla="*/ 16 h 19"/>
              <a:gd name="T60" fmla="*/ 15 w 62"/>
              <a:gd name="T61" fmla="*/ 16 h 19"/>
              <a:gd name="T62" fmla="*/ 12 w 62"/>
              <a:gd name="T63" fmla="*/ 19 h 19"/>
              <a:gd name="T64" fmla="*/ 9 w 62"/>
              <a:gd name="T65" fmla="*/ 19 h 19"/>
              <a:gd name="T66" fmla="*/ 3 w 62"/>
              <a:gd name="T67" fmla="*/ 12 h 19"/>
              <a:gd name="T68" fmla="*/ 0 w 62"/>
              <a:gd name="T69" fmla="*/ 16 h 19"/>
              <a:gd name="T70" fmla="*/ 3 w 62"/>
              <a:gd name="T71" fmla="*/ 19 h 19"/>
              <a:gd name="T72" fmla="*/ 3 w 62"/>
              <a:gd name="T7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19">
                <a:moveTo>
                  <a:pt x="3" y="19"/>
                </a:moveTo>
                <a:lnTo>
                  <a:pt x="6" y="19"/>
                </a:lnTo>
                <a:lnTo>
                  <a:pt x="19" y="19"/>
                </a:lnTo>
                <a:lnTo>
                  <a:pt x="22" y="16"/>
                </a:lnTo>
                <a:lnTo>
                  <a:pt x="25" y="12"/>
                </a:lnTo>
                <a:lnTo>
                  <a:pt x="28" y="9"/>
                </a:lnTo>
                <a:lnTo>
                  <a:pt x="31" y="12"/>
                </a:lnTo>
                <a:lnTo>
                  <a:pt x="31" y="12"/>
                </a:lnTo>
                <a:lnTo>
                  <a:pt x="34" y="9"/>
                </a:lnTo>
                <a:lnTo>
                  <a:pt x="37" y="9"/>
                </a:lnTo>
                <a:lnTo>
                  <a:pt x="40" y="12"/>
                </a:lnTo>
                <a:lnTo>
                  <a:pt x="47" y="12"/>
                </a:lnTo>
                <a:lnTo>
                  <a:pt x="50" y="12"/>
                </a:lnTo>
                <a:lnTo>
                  <a:pt x="56" y="16"/>
                </a:lnTo>
                <a:lnTo>
                  <a:pt x="62" y="16"/>
                </a:lnTo>
                <a:lnTo>
                  <a:pt x="62" y="12"/>
                </a:lnTo>
                <a:lnTo>
                  <a:pt x="62" y="12"/>
                </a:lnTo>
                <a:lnTo>
                  <a:pt x="59" y="12"/>
                </a:lnTo>
                <a:lnTo>
                  <a:pt x="53" y="6"/>
                </a:lnTo>
                <a:lnTo>
                  <a:pt x="47" y="6"/>
                </a:lnTo>
                <a:lnTo>
                  <a:pt x="40" y="3"/>
                </a:lnTo>
                <a:lnTo>
                  <a:pt x="37" y="3"/>
                </a:lnTo>
                <a:lnTo>
                  <a:pt x="34" y="0"/>
                </a:lnTo>
                <a:lnTo>
                  <a:pt x="28" y="3"/>
                </a:lnTo>
                <a:lnTo>
                  <a:pt x="22" y="9"/>
                </a:lnTo>
                <a:lnTo>
                  <a:pt x="19" y="9"/>
                </a:lnTo>
                <a:lnTo>
                  <a:pt x="15" y="9"/>
                </a:lnTo>
                <a:lnTo>
                  <a:pt x="6" y="9"/>
                </a:lnTo>
                <a:lnTo>
                  <a:pt x="6" y="12"/>
                </a:lnTo>
                <a:lnTo>
                  <a:pt x="12" y="16"/>
                </a:lnTo>
                <a:lnTo>
                  <a:pt x="15" y="16"/>
                </a:lnTo>
                <a:lnTo>
                  <a:pt x="12" y="19"/>
                </a:lnTo>
                <a:lnTo>
                  <a:pt x="9" y="19"/>
                </a:lnTo>
                <a:lnTo>
                  <a:pt x="3" y="12"/>
                </a:lnTo>
                <a:lnTo>
                  <a:pt x="0" y="16"/>
                </a:lnTo>
                <a:lnTo>
                  <a:pt x="3" y="19"/>
                </a:lnTo>
                <a:lnTo>
                  <a:pt x="3" y="1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4" name="Freeform 122">
            <a:extLst>
              <a:ext uri="{FF2B5EF4-FFF2-40B4-BE49-F238E27FC236}">
                <a16:creationId xmlns:a16="http://schemas.microsoft.com/office/drawing/2014/main" id="{FFE84A1A-5839-392D-3923-150B65C9DA21}"/>
              </a:ext>
            </a:extLst>
          </p:cNvPr>
          <p:cNvSpPr>
            <a:spLocks/>
          </p:cNvSpPr>
          <p:nvPr userDrawn="1"/>
        </p:nvSpPr>
        <p:spPr bwMode="auto">
          <a:xfrm>
            <a:off x="12146758" y="8562257"/>
            <a:ext cx="187314" cy="117478"/>
          </a:xfrm>
          <a:custGeom>
            <a:avLst/>
            <a:gdLst>
              <a:gd name="T0" fmla="*/ 0 w 59"/>
              <a:gd name="T1" fmla="*/ 9 h 37"/>
              <a:gd name="T2" fmla="*/ 3 w 59"/>
              <a:gd name="T3" fmla="*/ 9 h 37"/>
              <a:gd name="T4" fmla="*/ 9 w 59"/>
              <a:gd name="T5" fmla="*/ 6 h 37"/>
              <a:gd name="T6" fmla="*/ 25 w 59"/>
              <a:gd name="T7" fmla="*/ 9 h 37"/>
              <a:gd name="T8" fmla="*/ 28 w 59"/>
              <a:gd name="T9" fmla="*/ 3 h 37"/>
              <a:gd name="T10" fmla="*/ 34 w 59"/>
              <a:gd name="T11" fmla="*/ 0 h 37"/>
              <a:gd name="T12" fmla="*/ 53 w 59"/>
              <a:gd name="T13" fmla="*/ 0 h 37"/>
              <a:gd name="T14" fmla="*/ 56 w 59"/>
              <a:gd name="T15" fmla="*/ 3 h 37"/>
              <a:gd name="T16" fmla="*/ 56 w 59"/>
              <a:gd name="T17" fmla="*/ 9 h 37"/>
              <a:gd name="T18" fmla="*/ 56 w 59"/>
              <a:gd name="T19" fmla="*/ 12 h 37"/>
              <a:gd name="T20" fmla="*/ 56 w 59"/>
              <a:gd name="T21" fmla="*/ 19 h 37"/>
              <a:gd name="T22" fmla="*/ 59 w 59"/>
              <a:gd name="T23" fmla="*/ 22 h 37"/>
              <a:gd name="T24" fmla="*/ 59 w 59"/>
              <a:gd name="T25" fmla="*/ 25 h 37"/>
              <a:gd name="T26" fmla="*/ 56 w 59"/>
              <a:gd name="T27" fmla="*/ 28 h 37"/>
              <a:gd name="T28" fmla="*/ 50 w 59"/>
              <a:gd name="T29" fmla="*/ 28 h 37"/>
              <a:gd name="T30" fmla="*/ 44 w 59"/>
              <a:gd name="T31" fmla="*/ 31 h 37"/>
              <a:gd name="T32" fmla="*/ 41 w 59"/>
              <a:gd name="T33" fmla="*/ 31 h 37"/>
              <a:gd name="T34" fmla="*/ 38 w 59"/>
              <a:gd name="T35" fmla="*/ 37 h 37"/>
              <a:gd name="T36" fmla="*/ 31 w 59"/>
              <a:gd name="T37" fmla="*/ 37 h 37"/>
              <a:gd name="T38" fmla="*/ 31 w 59"/>
              <a:gd name="T39" fmla="*/ 37 h 37"/>
              <a:gd name="T40" fmla="*/ 31 w 59"/>
              <a:gd name="T41" fmla="*/ 34 h 37"/>
              <a:gd name="T42" fmla="*/ 25 w 59"/>
              <a:gd name="T43" fmla="*/ 34 h 37"/>
              <a:gd name="T44" fmla="*/ 28 w 59"/>
              <a:gd name="T45" fmla="*/ 28 h 37"/>
              <a:gd name="T46" fmla="*/ 25 w 59"/>
              <a:gd name="T47" fmla="*/ 28 h 37"/>
              <a:gd name="T48" fmla="*/ 28 w 59"/>
              <a:gd name="T49" fmla="*/ 28 h 37"/>
              <a:gd name="T50" fmla="*/ 25 w 59"/>
              <a:gd name="T51" fmla="*/ 25 h 37"/>
              <a:gd name="T52" fmla="*/ 22 w 59"/>
              <a:gd name="T53" fmla="*/ 25 h 37"/>
              <a:gd name="T54" fmla="*/ 22 w 59"/>
              <a:gd name="T55" fmla="*/ 25 h 37"/>
              <a:gd name="T56" fmla="*/ 31 w 59"/>
              <a:gd name="T57" fmla="*/ 22 h 37"/>
              <a:gd name="T58" fmla="*/ 31 w 59"/>
              <a:gd name="T59" fmla="*/ 22 h 37"/>
              <a:gd name="T60" fmla="*/ 28 w 59"/>
              <a:gd name="T61" fmla="*/ 19 h 37"/>
              <a:gd name="T62" fmla="*/ 22 w 59"/>
              <a:gd name="T63" fmla="*/ 19 h 37"/>
              <a:gd name="T64" fmla="*/ 19 w 59"/>
              <a:gd name="T65" fmla="*/ 22 h 37"/>
              <a:gd name="T66" fmla="*/ 16 w 59"/>
              <a:gd name="T67" fmla="*/ 22 h 37"/>
              <a:gd name="T68" fmla="*/ 13 w 59"/>
              <a:gd name="T69" fmla="*/ 19 h 37"/>
              <a:gd name="T70" fmla="*/ 9 w 59"/>
              <a:gd name="T71" fmla="*/ 19 h 37"/>
              <a:gd name="T72" fmla="*/ 6 w 59"/>
              <a:gd name="T73" fmla="*/ 16 h 37"/>
              <a:gd name="T74" fmla="*/ 9 w 59"/>
              <a:gd name="T75" fmla="*/ 12 h 37"/>
              <a:gd name="T76" fmla="*/ 6 w 59"/>
              <a:gd name="T77" fmla="*/ 12 h 37"/>
              <a:gd name="T78" fmla="*/ 0 w 59"/>
              <a:gd name="T79" fmla="*/ 12 h 37"/>
              <a:gd name="T80" fmla="*/ 0 w 59"/>
              <a:gd name="T81" fmla="*/ 9 h 37"/>
              <a:gd name="T82" fmla="*/ 0 w 59"/>
              <a:gd name="T83" fmla="*/ 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9" h="37">
                <a:moveTo>
                  <a:pt x="0" y="9"/>
                </a:moveTo>
                <a:lnTo>
                  <a:pt x="3" y="9"/>
                </a:lnTo>
                <a:lnTo>
                  <a:pt x="9" y="6"/>
                </a:lnTo>
                <a:lnTo>
                  <a:pt x="25" y="9"/>
                </a:lnTo>
                <a:lnTo>
                  <a:pt x="28" y="3"/>
                </a:lnTo>
                <a:lnTo>
                  <a:pt x="34" y="0"/>
                </a:lnTo>
                <a:lnTo>
                  <a:pt x="53" y="0"/>
                </a:lnTo>
                <a:lnTo>
                  <a:pt x="56" y="3"/>
                </a:lnTo>
                <a:lnTo>
                  <a:pt x="56" y="9"/>
                </a:lnTo>
                <a:lnTo>
                  <a:pt x="56" y="12"/>
                </a:lnTo>
                <a:lnTo>
                  <a:pt x="56" y="19"/>
                </a:lnTo>
                <a:lnTo>
                  <a:pt x="59" y="22"/>
                </a:lnTo>
                <a:lnTo>
                  <a:pt x="59" y="25"/>
                </a:lnTo>
                <a:lnTo>
                  <a:pt x="56" y="28"/>
                </a:lnTo>
                <a:lnTo>
                  <a:pt x="50" y="28"/>
                </a:lnTo>
                <a:lnTo>
                  <a:pt x="44" y="31"/>
                </a:lnTo>
                <a:lnTo>
                  <a:pt x="41" y="31"/>
                </a:lnTo>
                <a:lnTo>
                  <a:pt x="38" y="37"/>
                </a:lnTo>
                <a:lnTo>
                  <a:pt x="31" y="37"/>
                </a:lnTo>
                <a:lnTo>
                  <a:pt x="31" y="37"/>
                </a:lnTo>
                <a:lnTo>
                  <a:pt x="31" y="34"/>
                </a:lnTo>
                <a:lnTo>
                  <a:pt x="25" y="34"/>
                </a:lnTo>
                <a:lnTo>
                  <a:pt x="28" y="28"/>
                </a:lnTo>
                <a:lnTo>
                  <a:pt x="25" y="28"/>
                </a:lnTo>
                <a:lnTo>
                  <a:pt x="28" y="28"/>
                </a:lnTo>
                <a:lnTo>
                  <a:pt x="25" y="25"/>
                </a:lnTo>
                <a:lnTo>
                  <a:pt x="22" y="25"/>
                </a:lnTo>
                <a:lnTo>
                  <a:pt x="22" y="25"/>
                </a:lnTo>
                <a:lnTo>
                  <a:pt x="31" y="22"/>
                </a:lnTo>
                <a:lnTo>
                  <a:pt x="31" y="22"/>
                </a:lnTo>
                <a:lnTo>
                  <a:pt x="28" y="19"/>
                </a:lnTo>
                <a:lnTo>
                  <a:pt x="22" y="19"/>
                </a:lnTo>
                <a:lnTo>
                  <a:pt x="19" y="22"/>
                </a:lnTo>
                <a:lnTo>
                  <a:pt x="16" y="22"/>
                </a:lnTo>
                <a:lnTo>
                  <a:pt x="13" y="19"/>
                </a:lnTo>
                <a:lnTo>
                  <a:pt x="9" y="19"/>
                </a:lnTo>
                <a:lnTo>
                  <a:pt x="6" y="16"/>
                </a:lnTo>
                <a:lnTo>
                  <a:pt x="9" y="12"/>
                </a:lnTo>
                <a:lnTo>
                  <a:pt x="6" y="12"/>
                </a:lnTo>
                <a:lnTo>
                  <a:pt x="0" y="12"/>
                </a:lnTo>
                <a:lnTo>
                  <a:pt x="0" y="9"/>
                </a:lnTo>
                <a:lnTo>
                  <a:pt x="0" y="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5" name="Freeform 123">
            <a:extLst>
              <a:ext uri="{FF2B5EF4-FFF2-40B4-BE49-F238E27FC236}">
                <a16:creationId xmlns:a16="http://schemas.microsoft.com/office/drawing/2014/main" id="{7A6F06F7-CA01-4CB6-1480-85CF1CC468AB}"/>
              </a:ext>
            </a:extLst>
          </p:cNvPr>
          <p:cNvSpPr>
            <a:spLocks/>
          </p:cNvSpPr>
          <p:nvPr userDrawn="1"/>
        </p:nvSpPr>
        <p:spPr bwMode="auto">
          <a:xfrm>
            <a:off x="12267399" y="8571781"/>
            <a:ext cx="434948" cy="438150"/>
          </a:xfrm>
          <a:custGeom>
            <a:avLst/>
            <a:gdLst>
              <a:gd name="T0" fmla="*/ 3 w 137"/>
              <a:gd name="T1" fmla="*/ 28 h 138"/>
              <a:gd name="T2" fmla="*/ 12 w 137"/>
              <a:gd name="T3" fmla="*/ 25 h 138"/>
              <a:gd name="T4" fmla="*/ 21 w 137"/>
              <a:gd name="T5" fmla="*/ 22 h 138"/>
              <a:gd name="T6" fmla="*/ 18 w 137"/>
              <a:gd name="T7" fmla="*/ 16 h 138"/>
              <a:gd name="T8" fmla="*/ 18 w 137"/>
              <a:gd name="T9" fmla="*/ 6 h 138"/>
              <a:gd name="T10" fmla="*/ 21 w 137"/>
              <a:gd name="T11" fmla="*/ 0 h 138"/>
              <a:gd name="T12" fmla="*/ 43 w 137"/>
              <a:gd name="T13" fmla="*/ 3 h 138"/>
              <a:gd name="T14" fmla="*/ 53 w 137"/>
              <a:gd name="T15" fmla="*/ 6 h 138"/>
              <a:gd name="T16" fmla="*/ 62 w 137"/>
              <a:gd name="T17" fmla="*/ 6 h 138"/>
              <a:gd name="T18" fmla="*/ 68 w 137"/>
              <a:gd name="T19" fmla="*/ 9 h 138"/>
              <a:gd name="T20" fmla="*/ 71 w 137"/>
              <a:gd name="T21" fmla="*/ 13 h 138"/>
              <a:gd name="T22" fmla="*/ 78 w 137"/>
              <a:gd name="T23" fmla="*/ 13 h 138"/>
              <a:gd name="T24" fmla="*/ 87 w 137"/>
              <a:gd name="T25" fmla="*/ 16 h 138"/>
              <a:gd name="T26" fmla="*/ 93 w 137"/>
              <a:gd name="T27" fmla="*/ 13 h 138"/>
              <a:gd name="T28" fmla="*/ 100 w 137"/>
              <a:gd name="T29" fmla="*/ 6 h 138"/>
              <a:gd name="T30" fmla="*/ 109 w 137"/>
              <a:gd name="T31" fmla="*/ 9 h 138"/>
              <a:gd name="T32" fmla="*/ 115 w 137"/>
              <a:gd name="T33" fmla="*/ 6 h 138"/>
              <a:gd name="T34" fmla="*/ 121 w 137"/>
              <a:gd name="T35" fmla="*/ 13 h 138"/>
              <a:gd name="T36" fmla="*/ 121 w 137"/>
              <a:gd name="T37" fmla="*/ 22 h 138"/>
              <a:gd name="T38" fmla="*/ 128 w 137"/>
              <a:gd name="T39" fmla="*/ 25 h 138"/>
              <a:gd name="T40" fmla="*/ 125 w 137"/>
              <a:gd name="T41" fmla="*/ 31 h 138"/>
              <a:gd name="T42" fmla="*/ 125 w 137"/>
              <a:gd name="T43" fmla="*/ 34 h 138"/>
              <a:gd name="T44" fmla="*/ 131 w 137"/>
              <a:gd name="T45" fmla="*/ 34 h 138"/>
              <a:gd name="T46" fmla="*/ 131 w 137"/>
              <a:gd name="T47" fmla="*/ 41 h 138"/>
              <a:gd name="T48" fmla="*/ 137 w 137"/>
              <a:gd name="T49" fmla="*/ 41 h 138"/>
              <a:gd name="T50" fmla="*/ 137 w 137"/>
              <a:gd name="T51" fmla="*/ 47 h 138"/>
              <a:gd name="T52" fmla="*/ 131 w 137"/>
              <a:gd name="T53" fmla="*/ 50 h 138"/>
              <a:gd name="T54" fmla="*/ 131 w 137"/>
              <a:gd name="T55" fmla="*/ 56 h 138"/>
              <a:gd name="T56" fmla="*/ 131 w 137"/>
              <a:gd name="T57" fmla="*/ 66 h 138"/>
              <a:gd name="T58" fmla="*/ 134 w 137"/>
              <a:gd name="T59" fmla="*/ 75 h 138"/>
              <a:gd name="T60" fmla="*/ 134 w 137"/>
              <a:gd name="T61" fmla="*/ 81 h 138"/>
              <a:gd name="T62" fmla="*/ 131 w 137"/>
              <a:gd name="T63" fmla="*/ 81 h 138"/>
              <a:gd name="T64" fmla="*/ 134 w 137"/>
              <a:gd name="T65" fmla="*/ 91 h 138"/>
              <a:gd name="T66" fmla="*/ 134 w 137"/>
              <a:gd name="T67" fmla="*/ 97 h 138"/>
              <a:gd name="T68" fmla="*/ 125 w 137"/>
              <a:gd name="T69" fmla="*/ 110 h 138"/>
              <a:gd name="T70" fmla="*/ 125 w 137"/>
              <a:gd name="T71" fmla="*/ 116 h 138"/>
              <a:gd name="T72" fmla="*/ 121 w 137"/>
              <a:gd name="T73" fmla="*/ 125 h 138"/>
              <a:gd name="T74" fmla="*/ 90 w 137"/>
              <a:gd name="T75" fmla="*/ 138 h 138"/>
              <a:gd name="T76" fmla="*/ 81 w 137"/>
              <a:gd name="T77" fmla="*/ 131 h 138"/>
              <a:gd name="T78" fmla="*/ 71 w 137"/>
              <a:gd name="T79" fmla="*/ 122 h 138"/>
              <a:gd name="T80" fmla="*/ 71 w 137"/>
              <a:gd name="T81" fmla="*/ 119 h 138"/>
              <a:gd name="T82" fmla="*/ 84 w 137"/>
              <a:gd name="T83" fmla="*/ 88 h 138"/>
              <a:gd name="T84" fmla="*/ 81 w 137"/>
              <a:gd name="T85" fmla="*/ 85 h 138"/>
              <a:gd name="T86" fmla="*/ 84 w 137"/>
              <a:gd name="T87" fmla="*/ 78 h 138"/>
              <a:gd name="T88" fmla="*/ 81 w 137"/>
              <a:gd name="T89" fmla="*/ 72 h 138"/>
              <a:gd name="T90" fmla="*/ 75 w 137"/>
              <a:gd name="T91" fmla="*/ 59 h 138"/>
              <a:gd name="T92" fmla="*/ 71 w 137"/>
              <a:gd name="T93" fmla="*/ 53 h 138"/>
              <a:gd name="T94" fmla="*/ 50 w 137"/>
              <a:gd name="T95" fmla="*/ 53 h 138"/>
              <a:gd name="T96" fmla="*/ 40 w 137"/>
              <a:gd name="T97" fmla="*/ 63 h 138"/>
              <a:gd name="T98" fmla="*/ 34 w 137"/>
              <a:gd name="T99" fmla="*/ 69 h 138"/>
              <a:gd name="T100" fmla="*/ 28 w 137"/>
              <a:gd name="T101" fmla="*/ 66 h 138"/>
              <a:gd name="T102" fmla="*/ 21 w 137"/>
              <a:gd name="T103" fmla="*/ 56 h 138"/>
              <a:gd name="T104" fmla="*/ 15 w 137"/>
              <a:gd name="T105" fmla="*/ 56 h 138"/>
              <a:gd name="T106" fmla="*/ 18 w 137"/>
              <a:gd name="T107" fmla="*/ 50 h 138"/>
              <a:gd name="T108" fmla="*/ 12 w 137"/>
              <a:gd name="T109" fmla="*/ 53 h 138"/>
              <a:gd name="T110" fmla="*/ 6 w 137"/>
              <a:gd name="T111" fmla="*/ 50 h 138"/>
              <a:gd name="T112" fmla="*/ 3 w 137"/>
              <a:gd name="T113" fmla="*/ 38 h 138"/>
              <a:gd name="T114" fmla="*/ 0 w 137"/>
              <a:gd name="T115" fmla="*/ 3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7" h="138">
                <a:moveTo>
                  <a:pt x="0" y="34"/>
                </a:moveTo>
                <a:lnTo>
                  <a:pt x="3" y="28"/>
                </a:lnTo>
                <a:lnTo>
                  <a:pt x="6" y="28"/>
                </a:lnTo>
                <a:lnTo>
                  <a:pt x="12" y="25"/>
                </a:lnTo>
                <a:lnTo>
                  <a:pt x="18" y="25"/>
                </a:lnTo>
                <a:lnTo>
                  <a:pt x="21" y="22"/>
                </a:lnTo>
                <a:lnTo>
                  <a:pt x="21" y="19"/>
                </a:lnTo>
                <a:lnTo>
                  <a:pt x="18" y="16"/>
                </a:lnTo>
                <a:lnTo>
                  <a:pt x="18" y="9"/>
                </a:lnTo>
                <a:lnTo>
                  <a:pt x="18" y="6"/>
                </a:lnTo>
                <a:lnTo>
                  <a:pt x="18" y="0"/>
                </a:lnTo>
                <a:lnTo>
                  <a:pt x="21" y="0"/>
                </a:lnTo>
                <a:lnTo>
                  <a:pt x="34" y="0"/>
                </a:lnTo>
                <a:lnTo>
                  <a:pt x="43" y="3"/>
                </a:lnTo>
                <a:lnTo>
                  <a:pt x="46" y="6"/>
                </a:lnTo>
                <a:lnTo>
                  <a:pt x="53" y="6"/>
                </a:lnTo>
                <a:lnTo>
                  <a:pt x="59" y="6"/>
                </a:lnTo>
                <a:lnTo>
                  <a:pt x="62" y="6"/>
                </a:lnTo>
                <a:lnTo>
                  <a:pt x="65" y="6"/>
                </a:lnTo>
                <a:lnTo>
                  <a:pt x="68" y="9"/>
                </a:lnTo>
                <a:lnTo>
                  <a:pt x="71" y="9"/>
                </a:lnTo>
                <a:lnTo>
                  <a:pt x="71" y="13"/>
                </a:lnTo>
                <a:lnTo>
                  <a:pt x="75" y="13"/>
                </a:lnTo>
                <a:lnTo>
                  <a:pt x="78" y="13"/>
                </a:lnTo>
                <a:lnTo>
                  <a:pt x="81" y="13"/>
                </a:lnTo>
                <a:lnTo>
                  <a:pt x="87" y="16"/>
                </a:lnTo>
                <a:lnTo>
                  <a:pt x="90" y="16"/>
                </a:lnTo>
                <a:lnTo>
                  <a:pt x="93" y="13"/>
                </a:lnTo>
                <a:lnTo>
                  <a:pt x="96" y="13"/>
                </a:lnTo>
                <a:lnTo>
                  <a:pt x="100" y="6"/>
                </a:lnTo>
                <a:lnTo>
                  <a:pt x="106" y="6"/>
                </a:lnTo>
                <a:lnTo>
                  <a:pt x="109" y="9"/>
                </a:lnTo>
                <a:lnTo>
                  <a:pt x="112" y="6"/>
                </a:lnTo>
                <a:lnTo>
                  <a:pt x="115" y="6"/>
                </a:lnTo>
                <a:lnTo>
                  <a:pt x="115" y="9"/>
                </a:lnTo>
                <a:lnTo>
                  <a:pt x="121" y="13"/>
                </a:lnTo>
                <a:lnTo>
                  <a:pt x="121" y="16"/>
                </a:lnTo>
                <a:lnTo>
                  <a:pt x="121" y="22"/>
                </a:lnTo>
                <a:lnTo>
                  <a:pt x="121" y="22"/>
                </a:lnTo>
                <a:lnTo>
                  <a:pt x="128" y="25"/>
                </a:lnTo>
                <a:lnTo>
                  <a:pt x="128" y="25"/>
                </a:lnTo>
                <a:lnTo>
                  <a:pt x="125" y="31"/>
                </a:lnTo>
                <a:lnTo>
                  <a:pt x="121" y="38"/>
                </a:lnTo>
                <a:lnTo>
                  <a:pt x="125" y="34"/>
                </a:lnTo>
                <a:lnTo>
                  <a:pt x="128" y="34"/>
                </a:lnTo>
                <a:lnTo>
                  <a:pt x="131" y="34"/>
                </a:lnTo>
                <a:lnTo>
                  <a:pt x="131" y="38"/>
                </a:lnTo>
                <a:lnTo>
                  <a:pt x="131" y="41"/>
                </a:lnTo>
                <a:lnTo>
                  <a:pt x="131" y="41"/>
                </a:lnTo>
                <a:lnTo>
                  <a:pt x="137" y="41"/>
                </a:lnTo>
                <a:lnTo>
                  <a:pt x="137" y="44"/>
                </a:lnTo>
                <a:lnTo>
                  <a:pt x="137" y="47"/>
                </a:lnTo>
                <a:lnTo>
                  <a:pt x="137" y="47"/>
                </a:lnTo>
                <a:lnTo>
                  <a:pt x="131" y="50"/>
                </a:lnTo>
                <a:lnTo>
                  <a:pt x="131" y="53"/>
                </a:lnTo>
                <a:lnTo>
                  <a:pt x="131" y="56"/>
                </a:lnTo>
                <a:lnTo>
                  <a:pt x="131" y="63"/>
                </a:lnTo>
                <a:lnTo>
                  <a:pt x="131" y="66"/>
                </a:lnTo>
                <a:lnTo>
                  <a:pt x="131" y="75"/>
                </a:lnTo>
                <a:lnTo>
                  <a:pt x="134" y="75"/>
                </a:lnTo>
                <a:lnTo>
                  <a:pt x="137" y="78"/>
                </a:lnTo>
                <a:lnTo>
                  <a:pt x="134" y="81"/>
                </a:lnTo>
                <a:lnTo>
                  <a:pt x="131" y="81"/>
                </a:lnTo>
                <a:lnTo>
                  <a:pt x="131" y="81"/>
                </a:lnTo>
                <a:lnTo>
                  <a:pt x="131" y="85"/>
                </a:lnTo>
                <a:lnTo>
                  <a:pt x="134" y="91"/>
                </a:lnTo>
                <a:lnTo>
                  <a:pt x="134" y="91"/>
                </a:lnTo>
                <a:lnTo>
                  <a:pt x="134" y="97"/>
                </a:lnTo>
                <a:lnTo>
                  <a:pt x="128" y="106"/>
                </a:lnTo>
                <a:lnTo>
                  <a:pt x="125" y="110"/>
                </a:lnTo>
                <a:lnTo>
                  <a:pt x="125" y="110"/>
                </a:lnTo>
                <a:lnTo>
                  <a:pt x="125" y="116"/>
                </a:lnTo>
                <a:lnTo>
                  <a:pt x="121" y="122"/>
                </a:lnTo>
                <a:lnTo>
                  <a:pt x="121" y="125"/>
                </a:lnTo>
                <a:lnTo>
                  <a:pt x="121" y="125"/>
                </a:lnTo>
                <a:lnTo>
                  <a:pt x="90" y="138"/>
                </a:lnTo>
                <a:lnTo>
                  <a:pt x="84" y="131"/>
                </a:lnTo>
                <a:lnTo>
                  <a:pt x="81" y="131"/>
                </a:lnTo>
                <a:lnTo>
                  <a:pt x="75" y="125"/>
                </a:lnTo>
                <a:lnTo>
                  <a:pt x="71" y="122"/>
                </a:lnTo>
                <a:lnTo>
                  <a:pt x="75" y="119"/>
                </a:lnTo>
                <a:lnTo>
                  <a:pt x="71" y="119"/>
                </a:lnTo>
                <a:lnTo>
                  <a:pt x="81" y="113"/>
                </a:lnTo>
                <a:lnTo>
                  <a:pt x="84" y="88"/>
                </a:lnTo>
                <a:lnTo>
                  <a:pt x="84" y="85"/>
                </a:lnTo>
                <a:lnTo>
                  <a:pt x="81" y="85"/>
                </a:lnTo>
                <a:lnTo>
                  <a:pt x="81" y="81"/>
                </a:lnTo>
                <a:lnTo>
                  <a:pt x="84" y="78"/>
                </a:lnTo>
                <a:lnTo>
                  <a:pt x="84" y="75"/>
                </a:lnTo>
                <a:lnTo>
                  <a:pt x="81" y="72"/>
                </a:lnTo>
                <a:lnTo>
                  <a:pt x="81" y="69"/>
                </a:lnTo>
                <a:lnTo>
                  <a:pt x="75" y="59"/>
                </a:lnTo>
                <a:lnTo>
                  <a:pt x="75" y="56"/>
                </a:lnTo>
                <a:lnTo>
                  <a:pt x="71" y="53"/>
                </a:lnTo>
                <a:lnTo>
                  <a:pt x="56" y="53"/>
                </a:lnTo>
                <a:lnTo>
                  <a:pt x="50" y="53"/>
                </a:lnTo>
                <a:lnTo>
                  <a:pt x="46" y="56"/>
                </a:lnTo>
                <a:lnTo>
                  <a:pt x="40" y="63"/>
                </a:lnTo>
                <a:lnTo>
                  <a:pt x="40" y="66"/>
                </a:lnTo>
                <a:lnTo>
                  <a:pt x="34" y="69"/>
                </a:lnTo>
                <a:lnTo>
                  <a:pt x="31" y="69"/>
                </a:lnTo>
                <a:lnTo>
                  <a:pt x="28" y="66"/>
                </a:lnTo>
                <a:lnTo>
                  <a:pt x="25" y="63"/>
                </a:lnTo>
                <a:lnTo>
                  <a:pt x="21" y="56"/>
                </a:lnTo>
                <a:lnTo>
                  <a:pt x="18" y="56"/>
                </a:lnTo>
                <a:lnTo>
                  <a:pt x="15" y="56"/>
                </a:lnTo>
                <a:lnTo>
                  <a:pt x="15" y="53"/>
                </a:lnTo>
                <a:lnTo>
                  <a:pt x="18" y="50"/>
                </a:lnTo>
                <a:lnTo>
                  <a:pt x="15" y="50"/>
                </a:lnTo>
                <a:lnTo>
                  <a:pt x="12" y="53"/>
                </a:lnTo>
                <a:lnTo>
                  <a:pt x="9" y="50"/>
                </a:lnTo>
                <a:lnTo>
                  <a:pt x="6" y="50"/>
                </a:lnTo>
                <a:lnTo>
                  <a:pt x="0" y="44"/>
                </a:lnTo>
                <a:lnTo>
                  <a:pt x="3" y="38"/>
                </a:lnTo>
                <a:lnTo>
                  <a:pt x="0" y="34"/>
                </a:lnTo>
                <a:lnTo>
                  <a:pt x="0" y="3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6" name="Freeform 124">
            <a:extLst>
              <a:ext uri="{FF2B5EF4-FFF2-40B4-BE49-F238E27FC236}">
                <a16:creationId xmlns:a16="http://schemas.microsoft.com/office/drawing/2014/main" id="{B676D579-1110-A2E1-343B-10F06E0C65F2}"/>
              </a:ext>
            </a:extLst>
          </p:cNvPr>
          <p:cNvSpPr>
            <a:spLocks noEditPoints="1"/>
          </p:cNvSpPr>
          <p:nvPr userDrawn="1"/>
        </p:nvSpPr>
        <p:spPr bwMode="auto">
          <a:xfrm>
            <a:off x="12365814" y="8740061"/>
            <a:ext cx="168267" cy="209550"/>
          </a:xfrm>
          <a:custGeom>
            <a:avLst/>
            <a:gdLst>
              <a:gd name="T0" fmla="*/ 12 w 53"/>
              <a:gd name="T1" fmla="*/ 57 h 66"/>
              <a:gd name="T2" fmla="*/ 12 w 53"/>
              <a:gd name="T3" fmla="*/ 53 h 66"/>
              <a:gd name="T4" fmla="*/ 12 w 53"/>
              <a:gd name="T5" fmla="*/ 53 h 66"/>
              <a:gd name="T6" fmla="*/ 9 w 53"/>
              <a:gd name="T7" fmla="*/ 50 h 66"/>
              <a:gd name="T8" fmla="*/ 9 w 53"/>
              <a:gd name="T9" fmla="*/ 53 h 66"/>
              <a:gd name="T10" fmla="*/ 9 w 53"/>
              <a:gd name="T11" fmla="*/ 53 h 66"/>
              <a:gd name="T12" fmla="*/ 12 w 53"/>
              <a:gd name="T13" fmla="*/ 57 h 66"/>
              <a:gd name="T14" fmla="*/ 12 w 53"/>
              <a:gd name="T15" fmla="*/ 57 h 66"/>
              <a:gd name="T16" fmla="*/ 12 w 53"/>
              <a:gd name="T17" fmla="*/ 57 h 66"/>
              <a:gd name="T18" fmla="*/ 0 w 53"/>
              <a:gd name="T19" fmla="*/ 16 h 66"/>
              <a:gd name="T20" fmla="*/ 3 w 53"/>
              <a:gd name="T21" fmla="*/ 16 h 66"/>
              <a:gd name="T22" fmla="*/ 9 w 53"/>
              <a:gd name="T23" fmla="*/ 13 h 66"/>
              <a:gd name="T24" fmla="*/ 9 w 53"/>
              <a:gd name="T25" fmla="*/ 10 h 66"/>
              <a:gd name="T26" fmla="*/ 15 w 53"/>
              <a:gd name="T27" fmla="*/ 3 h 66"/>
              <a:gd name="T28" fmla="*/ 19 w 53"/>
              <a:gd name="T29" fmla="*/ 0 h 66"/>
              <a:gd name="T30" fmla="*/ 25 w 53"/>
              <a:gd name="T31" fmla="*/ 0 h 66"/>
              <a:gd name="T32" fmla="*/ 40 w 53"/>
              <a:gd name="T33" fmla="*/ 0 h 66"/>
              <a:gd name="T34" fmla="*/ 44 w 53"/>
              <a:gd name="T35" fmla="*/ 3 h 66"/>
              <a:gd name="T36" fmla="*/ 44 w 53"/>
              <a:gd name="T37" fmla="*/ 6 h 66"/>
              <a:gd name="T38" fmla="*/ 50 w 53"/>
              <a:gd name="T39" fmla="*/ 16 h 66"/>
              <a:gd name="T40" fmla="*/ 50 w 53"/>
              <a:gd name="T41" fmla="*/ 19 h 66"/>
              <a:gd name="T42" fmla="*/ 53 w 53"/>
              <a:gd name="T43" fmla="*/ 22 h 66"/>
              <a:gd name="T44" fmla="*/ 53 w 53"/>
              <a:gd name="T45" fmla="*/ 25 h 66"/>
              <a:gd name="T46" fmla="*/ 50 w 53"/>
              <a:gd name="T47" fmla="*/ 28 h 66"/>
              <a:gd name="T48" fmla="*/ 50 w 53"/>
              <a:gd name="T49" fmla="*/ 32 h 66"/>
              <a:gd name="T50" fmla="*/ 53 w 53"/>
              <a:gd name="T51" fmla="*/ 32 h 66"/>
              <a:gd name="T52" fmla="*/ 53 w 53"/>
              <a:gd name="T53" fmla="*/ 35 h 66"/>
              <a:gd name="T54" fmla="*/ 50 w 53"/>
              <a:gd name="T55" fmla="*/ 60 h 66"/>
              <a:gd name="T56" fmla="*/ 40 w 53"/>
              <a:gd name="T57" fmla="*/ 66 h 66"/>
              <a:gd name="T58" fmla="*/ 40 w 53"/>
              <a:gd name="T59" fmla="*/ 66 h 66"/>
              <a:gd name="T60" fmla="*/ 31 w 53"/>
              <a:gd name="T61" fmla="*/ 66 h 66"/>
              <a:gd name="T62" fmla="*/ 22 w 53"/>
              <a:gd name="T63" fmla="*/ 60 h 66"/>
              <a:gd name="T64" fmla="*/ 19 w 53"/>
              <a:gd name="T65" fmla="*/ 60 h 66"/>
              <a:gd name="T66" fmla="*/ 19 w 53"/>
              <a:gd name="T67" fmla="*/ 57 h 66"/>
              <a:gd name="T68" fmla="*/ 15 w 53"/>
              <a:gd name="T69" fmla="*/ 53 h 66"/>
              <a:gd name="T70" fmla="*/ 12 w 53"/>
              <a:gd name="T71" fmla="*/ 50 h 66"/>
              <a:gd name="T72" fmla="*/ 15 w 53"/>
              <a:gd name="T73" fmla="*/ 47 h 66"/>
              <a:gd name="T74" fmla="*/ 15 w 53"/>
              <a:gd name="T75" fmla="*/ 47 h 66"/>
              <a:gd name="T76" fmla="*/ 9 w 53"/>
              <a:gd name="T77" fmla="*/ 47 h 66"/>
              <a:gd name="T78" fmla="*/ 6 w 53"/>
              <a:gd name="T79" fmla="*/ 44 h 66"/>
              <a:gd name="T80" fmla="*/ 6 w 53"/>
              <a:gd name="T81" fmla="*/ 38 h 66"/>
              <a:gd name="T82" fmla="*/ 3 w 53"/>
              <a:gd name="T83" fmla="*/ 32 h 66"/>
              <a:gd name="T84" fmla="*/ 0 w 53"/>
              <a:gd name="T85" fmla="*/ 32 h 66"/>
              <a:gd name="T86" fmla="*/ 0 w 53"/>
              <a:gd name="T87" fmla="*/ 28 h 66"/>
              <a:gd name="T88" fmla="*/ 3 w 53"/>
              <a:gd name="T89" fmla="*/ 25 h 66"/>
              <a:gd name="T90" fmla="*/ 0 w 53"/>
              <a:gd name="T91" fmla="*/ 22 h 66"/>
              <a:gd name="T92" fmla="*/ 0 w 53"/>
              <a:gd name="T93" fmla="*/ 19 h 66"/>
              <a:gd name="T94" fmla="*/ 0 w 53"/>
              <a:gd name="T95" fmla="*/ 16 h 66"/>
              <a:gd name="T96" fmla="*/ 0 w 53"/>
              <a:gd name="T97"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66">
                <a:moveTo>
                  <a:pt x="12" y="57"/>
                </a:moveTo>
                <a:lnTo>
                  <a:pt x="12" y="53"/>
                </a:lnTo>
                <a:lnTo>
                  <a:pt x="12" y="53"/>
                </a:lnTo>
                <a:lnTo>
                  <a:pt x="9" y="50"/>
                </a:lnTo>
                <a:lnTo>
                  <a:pt x="9" y="53"/>
                </a:lnTo>
                <a:lnTo>
                  <a:pt x="9" y="53"/>
                </a:lnTo>
                <a:lnTo>
                  <a:pt x="12" y="57"/>
                </a:lnTo>
                <a:lnTo>
                  <a:pt x="12" y="57"/>
                </a:lnTo>
                <a:lnTo>
                  <a:pt x="12" y="57"/>
                </a:lnTo>
                <a:close/>
                <a:moveTo>
                  <a:pt x="0" y="16"/>
                </a:moveTo>
                <a:lnTo>
                  <a:pt x="3" y="16"/>
                </a:lnTo>
                <a:lnTo>
                  <a:pt x="9" y="13"/>
                </a:lnTo>
                <a:lnTo>
                  <a:pt x="9" y="10"/>
                </a:lnTo>
                <a:lnTo>
                  <a:pt x="15" y="3"/>
                </a:lnTo>
                <a:lnTo>
                  <a:pt x="19" y="0"/>
                </a:lnTo>
                <a:lnTo>
                  <a:pt x="25" y="0"/>
                </a:lnTo>
                <a:lnTo>
                  <a:pt x="40" y="0"/>
                </a:lnTo>
                <a:lnTo>
                  <a:pt x="44" y="3"/>
                </a:lnTo>
                <a:lnTo>
                  <a:pt x="44" y="6"/>
                </a:lnTo>
                <a:lnTo>
                  <a:pt x="50" y="16"/>
                </a:lnTo>
                <a:lnTo>
                  <a:pt x="50" y="19"/>
                </a:lnTo>
                <a:lnTo>
                  <a:pt x="53" y="22"/>
                </a:lnTo>
                <a:lnTo>
                  <a:pt x="53" y="25"/>
                </a:lnTo>
                <a:lnTo>
                  <a:pt x="50" y="28"/>
                </a:lnTo>
                <a:lnTo>
                  <a:pt x="50" y="32"/>
                </a:lnTo>
                <a:lnTo>
                  <a:pt x="53" y="32"/>
                </a:lnTo>
                <a:lnTo>
                  <a:pt x="53" y="35"/>
                </a:lnTo>
                <a:lnTo>
                  <a:pt x="50" y="60"/>
                </a:lnTo>
                <a:lnTo>
                  <a:pt x="40" y="66"/>
                </a:lnTo>
                <a:lnTo>
                  <a:pt x="40" y="66"/>
                </a:lnTo>
                <a:lnTo>
                  <a:pt x="31" y="66"/>
                </a:lnTo>
                <a:lnTo>
                  <a:pt x="22" y="60"/>
                </a:lnTo>
                <a:lnTo>
                  <a:pt x="19" y="60"/>
                </a:lnTo>
                <a:lnTo>
                  <a:pt x="19" y="57"/>
                </a:lnTo>
                <a:lnTo>
                  <a:pt x="15" y="53"/>
                </a:lnTo>
                <a:lnTo>
                  <a:pt x="12" y="50"/>
                </a:lnTo>
                <a:lnTo>
                  <a:pt x="15" y="47"/>
                </a:lnTo>
                <a:lnTo>
                  <a:pt x="15" y="47"/>
                </a:lnTo>
                <a:lnTo>
                  <a:pt x="9" y="47"/>
                </a:lnTo>
                <a:lnTo>
                  <a:pt x="6" y="44"/>
                </a:lnTo>
                <a:lnTo>
                  <a:pt x="6" y="38"/>
                </a:lnTo>
                <a:lnTo>
                  <a:pt x="3" y="32"/>
                </a:lnTo>
                <a:lnTo>
                  <a:pt x="0" y="32"/>
                </a:lnTo>
                <a:lnTo>
                  <a:pt x="0" y="28"/>
                </a:lnTo>
                <a:lnTo>
                  <a:pt x="3" y="25"/>
                </a:lnTo>
                <a:lnTo>
                  <a:pt x="0" y="22"/>
                </a:lnTo>
                <a:lnTo>
                  <a:pt x="0" y="19"/>
                </a:lnTo>
                <a:lnTo>
                  <a:pt x="0" y="16"/>
                </a:lnTo>
                <a:lnTo>
                  <a:pt x="0" y="1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7" name="Freeform 125">
            <a:extLst>
              <a:ext uri="{FF2B5EF4-FFF2-40B4-BE49-F238E27FC236}">
                <a16:creationId xmlns:a16="http://schemas.microsoft.com/office/drawing/2014/main" id="{C7F7CED0-DA03-7A65-742A-A99592A7E76E}"/>
              </a:ext>
            </a:extLst>
          </p:cNvPr>
          <p:cNvSpPr>
            <a:spLocks/>
          </p:cNvSpPr>
          <p:nvPr userDrawn="1"/>
        </p:nvSpPr>
        <p:spPr bwMode="auto">
          <a:xfrm>
            <a:off x="12473761" y="8828958"/>
            <a:ext cx="247634" cy="279400"/>
          </a:xfrm>
          <a:custGeom>
            <a:avLst/>
            <a:gdLst>
              <a:gd name="T0" fmla="*/ 0 w 78"/>
              <a:gd name="T1" fmla="*/ 38 h 88"/>
              <a:gd name="T2" fmla="*/ 0 w 78"/>
              <a:gd name="T3" fmla="*/ 35 h 88"/>
              <a:gd name="T4" fmla="*/ 3 w 78"/>
              <a:gd name="T5" fmla="*/ 29 h 88"/>
              <a:gd name="T6" fmla="*/ 6 w 78"/>
              <a:gd name="T7" fmla="*/ 25 h 88"/>
              <a:gd name="T8" fmla="*/ 13 w 78"/>
              <a:gd name="T9" fmla="*/ 22 h 88"/>
              <a:gd name="T10" fmla="*/ 13 w 78"/>
              <a:gd name="T11" fmla="*/ 19 h 88"/>
              <a:gd name="T12" fmla="*/ 13 w 78"/>
              <a:gd name="T13" fmla="*/ 13 h 88"/>
              <a:gd name="T14" fmla="*/ 16 w 78"/>
              <a:gd name="T15" fmla="*/ 13 h 88"/>
              <a:gd name="T16" fmla="*/ 16 w 78"/>
              <a:gd name="T17" fmla="*/ 10 h 88"/>
              <a:gd name="T18" fmla="*/ 16 w 78"/>
              <a:gd name="T19" fmla="*/ 7 h 88"/>
              <a:gd name="T20" fmla="*/ 22 w 78"/>
              <a:gd name="T21" fmla="*/ 4 h 88"/>
              <a:gd name="T22" fmla="*/ 25 w 78"/>
              <a:gd name="T23" fmla="*/ 4 h 88"/>
              <a:gd name="T24" fmla="*/ 31 w 78"/>
              <a:gd name="T25" fmla="*/ 0 h 88"/>
              <a:gd name="T26" fmla="*/ 35 w 78"/>
              <a:gd name="T27" fmla="*/ 4 h 88"/>
              <a:gd name="T28" fmla="*/ 38 w 78"/>
              <a:gd name="T29" fmla="*/ 7 h 88"/>
              <a:gd name="T30" fmla="*/ 41 w 78"/>
              <a:gd name="T31" fmla="*/ 10 h 88"/>
              <a:gd name="T32" fmla="*/ 41 w 78"/>
              <a:gd name="T33" fmla="*/ 16 h 88"/>
              <a:gd name="T34" fmla="*/ 41 w 78"/>
              <a:gd name="T35" fmla="*/ 22 h 88"/>
              <a:gd name="T36" fmla="*/ 47 w 78"/>
              <a:gd name="T37" fmla="*/ 29 h 88"/>
              <a:gd name="T38" fmla="*/ 47 w 78"/>
              <a:gd name="T39" fmla="*/ 25 h 88"/>
              <a:gd name="T40" fmla="*/ 53 w 78"/>
              <a:gd name="T41" fmla="*/ 22 h 88"/>
              <a:gd name="T42" fmla="*/ 56 w 78"/>
              <a:gd name="T43" fmla="*/ 22 h 88"/>
              <a:gd name="T44" fmla="*/ 60 w 78"/>
              <a:gd name="T45" fmla="*/ 25 h 88"/>
              <a:gd name="T46" fmla="*/ 60 w 78"/>
              <a:gd name="T47" fmla="*/ 29 h 88"/>
              <a:gd name="T48" fmla="*/ 60 w 78"/>
              <a:gd name="T49" fmla="*/ 29 h 88"/>
              <a:gd name="T50" fmla="*/ 60 w 78"/>
              <a:gd name="T51" fmla="*/ 35 h 88"/>
              <a:gd name="T52" fmla="*/ 56 w 78"/>
              <a:gd name="T53" fmla="*/ 41 h 88"/>
              <a:gd name="T54" fmla="*/ 56 w 78"/>
              <a:gd name="T55" fmla="*/ 44 h 88"/>
              <a:gd name="T56" fmla="*/ 56 w 78"/>
              <a:gd name="T57" fmla="*/ 47 h 88"/>
              <a:gd name="T58" fmla="*/ 60 w 78"/>
              <a:gd name="T59" fmla="*/ 47 h 88"/>
              <a:gd name="T60" fmla="*/ 60 w 78"/>
              <a:gd name="T61" fmla="*/ 47 h 88"/>
              <a:gd name="T62" fmla="*/ 63 w 78"/>
              <a:gd name="T63" fmla="*/ 47 h 88"/>
              <a:gd name="T64" fmla="*/ 66 w 78"/>
              <a:gd name="T65" fmla="*/ 50 h 88"/>
              <a:gd name="T66" fmla="*/ 69 w 78"/>
              <a:gd name="T67" fmla="*/ 50 h 88"/>
              <a:gd name="T68" fmla="*/ 72 w 78"/>
              <a:gd name="T69" fmla="*/ 50 h 88"/>
              <a:gd name="T70" fmla="*/ 72 w 78"/>
              <a:gd name="T71" fmla="*/ 54 h 88"/>
              <a:gd name="T72" fmla="*/ 75 w 78"/>
              <a:gd name="T73" fmla="*/ 57 h 88"/>
              <a:gd name="T74" fmla="*/ 78 w 78"/>
              <a:gd name="T75" fmla="*/ 57 h 88"/>
              <a:gd name="T76" fmla="*/ 78 w 78"/>
              <a:gd name="T77" fmla="*/ 60 h 88"/>
              <a:gd name="T78" fmla="*/ 75 w 78"/>
              <a:gd name="T79" fmla="*/ 63 h 88"/>
              <a:gd name="T80" fmla="*/ 78 w 78"/>
              <a:gd name="T81" fmla="*/ 66 h 88"/>
              <a:gd name="T82" fmla="*/ 75 w 78"/>
              <a:gd name="T83" fmla="*/ 69 h 88"/>
              <a:gd name="T84" fmla="*/ 75 w 78"/>
              <a:gd name="T85" fmla="*/ 72 h 88"/>
              <a:gd name="T86" fmla="*/ 75 w 78"/>
              <a:gd name="T87" fmla="*/ 75 h 88"/>
              <a:gd name="T88" fmla="*/ 75 w 78"/>
              <a:gd name="T89" fmla="*/ 79 h 88"/>
              <a:gd name="T90" fmla="*/ 78 w 78"/>
              <a:gd name="T91" fmla="*/ 82 h 88"/>
              <a:gd name="T92" fmla="*/ 78 w 78"/>
              <a:gd name="T93" fmla="*/ 88 h 88"/>
              <a:gd name="T94" fmla="*/ 56 w 78"/>
              <a:gd name="T95" fmla="*/ 79 h 88"/>
              <a:gd name="T96" fmla="*/ 44 w 78"/>
              <a:gd name="T97" fmla="*/ 69 h 88"/>
              <a:gd name="T98" fmla="*/ 38 w 78"/>
              <a:gd name="T99" fmla="*/ 69 h 88"/>
              <a:gd name="T100" fmla="*/ 25 w 78"/>
              <a:gd name="T101" fmla="*/ 57 h 88"/>
              <a:gd name="T102" fmla="*/ 19 w 78"/>
              <a:gd name="T103" fmla="*/ 50 h 88"/>
              <a:gd name="T104" fmla="*/ 16 w 78"/>
              <a:gd name="T105" fmla="*/ 50 h 88"/>
              <a:gd name="T106" fmla="*/ 10 w 78"/>
              <a:gd name="T107" fmla="*/ 44 h 88"/>
              <a:gd name="T108" fmla="*/ 6 w 78"/>
              <a:gd name="T109" fmla="*/ 41 h 88"/>
              <a:gd name="T110" fmla="*/ 10 w 78"/>
              <a:gd name="T111" fmla="*/ 38 h 88"/>
              <a:gd name="T112" fmla="*/ 6 w 78"/>
              <a:gd name="T113" fmla="*/ 38 h 88"/>
              <a:gd name="T114" fmla="*/ 0 w 78"/>
              <a:gd name="T115" fmla="*/ 3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 h="88">
                <a:moveTo>
                  <a:pt x="0" y="38"/>
                </a:moveTo>
                <a:lnTo>
                  <a:pt x="0" y="35"/>
                </a:lnTo>
                <a:lnTo>
                  <a:pt x="3" y="29"/>
                </a:lnTo>
                <a:lnTo>
                  <a:pt x="6" y="25"/>
                </a:lnTo>
                <a:lnTo>
                  <a:pt x="13" y="22"/>
                </a:lnTo>
                <a:lnTo>
                  <a:pt x="13" y="19"/>
                </a:lnTo>
                <a:lnTo>
                  <a:pt x="13" y="13"/>
                </a:lnTo>
                <a:lnTo>
                  <a:pt x="16" y="13"/>
                </a:lnTo>
                <a:lnTo>
                  <a:pt x="16" y="10"/>
                </a:lnTo>
                <a:lnTo>
                  <a:pt x="16" y="7"/>
                </a:lnTo>
                <a:lnTo>
                  <a:pt x="22" y="4"/>
                </a:lnTo>
                <a:lnTo>
                  <a:pt x="25" y="4"/>
                </a:lnTo>
                <a:lnTo>
                  <a:pt x="31" y="0"/>
                </a:lnTo>
                <a:lnTo>
                  <a:pt x="35" y="4"/>
                </a:lnTo>
                <a:lnTo>
                  <a:pt x="38" y="7"/>
                </a:lnTo>
                <a:lnTo>
                  <a:pt x="41" y="10"/>
                </a:lnTo>
                <a:lnTo>
                  <a:pt x="41" y="16"/>
                </a:lnTo>
                <a:lnTo>
                  <a:pt x="41" y="22"/>
                </a:lnTo>
                <a:lnTo>
                  <a:pt x="47" y="29"/>
                </a:lnTo>
                <a:lnTo>
                  <a:pt x="47" y="25"/>
                </a:lnTo>
                <a:lnTo>
                  <a:pt x="53" y="22"/>
                </a:lnTo>
                <a:lnTo>
                  <a:pt x="56" y="22"/>
                </a:lnTo>
                <a:lnTo>
                  <a:pt x="60" y="25"/>
                </a:lnTo>
                <a:lnTo>
                  <a:pt x="60" y="29"/>
                </a:lnTo>
                <a:lnTo>
                  <a:pt x="60" y="29"/>
                </a:lnTo>
                <a:lnTo>
                  <a:pt x="60" y="35"/>
                </a:lnTo>
                <a:lnTo>
                  <a:pt x="56" y="41"/>
                </a:lnTo>
                <a:lnTo>
                  <a:pt x="56" y="44"/>
                </a:lnTo>
                <a:lnTo>
                  <a:pt x="56" y="47"/>
                </a:lnTo>
                <a:lnTo>
                  <a:pt x="60" y="47"/>
                </a:lnTo>
                <a:lnTo>
                  <a:pt x="60" y="47"/>
                </a:lnTo>
                <a:lnTo>
                  <a:pt x="63" y="47"/>
                </a:lnTo>
                <a:lnTo>
                  <a:pt x="66" y="50"/>
                </a:lnTo>
                <a:lnTo>
                  <a:pt x="69" y="50"/>
                </a:lnTo>
                <a:lnTo>
                  <a:pt x="72" y="50"/>
                </a:lnTo>
                <a:lnTo>
                  <a:pt x="72" y="54"/>
                </a:lnTo>
                <a:lnTo>
                  <a:pt x="75" y="57"/>
                </a:lnTo>
                <a:lnTo>
                  <a:pt x="78" y="57"/>
                </a:lnTo>
                <a:lnTo>
                  <a:pt x="78" y="60"/>
                </a:lnTo>
                <a:lnTo>
                  <a:pt x="75" y="63"/>
                </a:lnTo>
                <a:lnTo>
                  <a:pt x="78" y="66"/>
                </a:lnTo>
                <a:lnTo>
                  <a:pt x="75" y="69"/>
                </a:lnTo>
                <a:lnTo>
                  <a:pt x="75" y="72"/>
                </a:lnTo>
                <a:lnTo>
                  <a:pt x="75" y="75"/>
                </a:lnTo>
                <a:lnTo>
                  <a:pt x="75" y="79"/>
                </a:lnTo>
                <a:lnTo>
                  <a:pt x="78" y="82"/>
                </a:lnTo>
                <a:lnTo>
                  <a:pt x="78" y="88"/>
                </a:lnTo>
                <a:lnTo>
                  <a:pt x="56" y="79"/>
                </a:lnTo>
                <a:lnTo>
                  <a:pt x="44" y="69"/>
                </a:lnTo>
                <a:lnTo>
                  <a:pt x="38" y="69"/>
                </a:lnTo>
                <a:lnTo>
                  <a:pt x="25" y="57"/>
                </a:lnTo>
                <a:lnTo>
                  <a:pt x="19" y="50"/>
                </a:lnTo>
                <a:lnTo>
                  <a:pt x="16" y="50"/>
                </a:lnTo>
                <a:lnTo>
                  <a:pt x="10" y="44"/>
                </a:lnTo>
                <a:lnTo>
                  <a:pt x="6" y="41"/>
                </a:lnTo>
                <a:lnTo>
                  <a:pt x="10" y="38"/>
                </a:lnTo>
                <a:lnTo>
                  <a:pt x="6" y="38"/>
                </a:lnTo>
                <a:lnTo>
                  <a:pt x="0" y="38"/>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8" name="Freeform 126">
            <a:extLst>
              <a:ext uri="{FF2B5EF4-FFF2-40B4-BE49-F238E27FC236}">
                <a16:creationId xmlns:a16="http://schemas.microsoft.com/office/drawing/2014/main" id="{89769378-639F-4321-4969-B329792BDDFA}"/>
              </a:ext>
            </a:extLst>
          </p:cNvPr>
          <p:cNvSpPr>
            <a:spLocks/>
          </p:cNvSpPr>
          <p:nvPr userDrawn="1"/>
        </p:nvSpPr>
        <p:spPr bwMode="auto">
          <a:xfrm>
            <a:off x="12651547" y="8701956"/>
            <a:ext cx="387325" cy="406400"/>
          </a:xfrm>
          <a:custGeom>
            <a:avLst/>
            <a:gdLst>
              <a:gd name="T0" fmla="*/ 22 w 122"/>
              <a:gd name="T1" fmla="*/ 122 h 128"/>
              <a:gd name="T2" fmla="*/ 19 w 122"/>
              <a:gd name="T3" fmla="*/ 115 h 128"/>
              <a:gd name="T4" fmla="*/ 19 w 122"/>
              <a:gd name="T5" fmla="*/ 109 h 128"/>
              <a:gd name="T6" fmla="*/ 19 w 122"/>
              <a:gd name="T7" fmla="*/ 103 h 128"/>
              <a:gd name="T8" fmla="*/ 22 w 122"/>
              <a:gd name="T9" fmla="*/ 97 h 128"/>
              <a:gd name="T10" fmla="*/ 16 w 122"/>
              <a:gd name="T11" fmla="*/ 94 h 128"/>
              <a:gd name="T12" fmla="*/ 13 w 122"/>
              <a:gd name="T13" fmla="*/ 90 h 128"/>
              <a:gd name="T14" fmla="*/ 7 w 122"/>
              <a:gd name="T15" fmla="*/ 87 h 128"/>
              <a:gd name="T16" fmla="*/ 4 w 122"/>
              <a:gd name="T17" fmla="*/ 87 h 128"/>
              <a:gd name="T18" fmla="*/ 0 w 122"/>
              <a:gd name="T19" fmla="*/ 84 h 128"/>
              <a:gd name="T20" fmla="*/ 4 w 122"/>
              <a:gd name="T21" fmla="*/ 75 h 128"/>
              <a:gd name="T22" fmla="*/ 4 w 122"/>
              <a:gd name="T23" fmla="*/ 69 h 128"/>
              <a:gd name="T24" fmla="*/ 13 w 122"/>
              <a:gd name="T25" fmla="*/ 56 h 128"/>
              <a:gd name="T26" fmla="*/ 13 w 122"/>
              <a:gd name="T27" fmla="*/ 50 h 128"/>
              <a:gd name="T28" fmla="*/ 10 w 122"/>
              <a:gd name="T29" fmla="*/ 40 h 128"/>
              <a:gd name="T30" fmla="*/ 13 w 122"/>
              <a:gd name="T31" fmla="*/ 40 h 128"/>
              <a:gd name="T32" fmla="*/ 13 w 122"/>
              <a:gd name="T33" fmla="*/ 34 h 128"/>
              <a:gd name="T34" fmla="*/ 10 w 122"/>
              <a:gd name="T35" fmla="*/ 25 h 128"/>
              <a:gd name="T36" fmla="*/ 10 w 122"/>
              <a:gd name="T37" fmla="*/ 15 h 128"/>
              <a:gd name="T38" fmla="*/ 10 w 122"/>
              <a:gd name="T39" fmla="*/ 9 h 128"/>
              <a:gd name="T40" fmla="*/ 22 w 122"/>
              <a:gd name="T41" fmla="*/ 3 h 128"/>
              <a:gd name="T42" fmla="*/ 32 w 122"/>
              <a:gd name="T43" fmla="*/ 3 h 128"/>
              <a:gd name="T44" fmla="*/ 41 w 122"/>
              <a:gd name="T45" fmla="*/ 3 h 128"/>
              <a:gd name="T46" fmla="*/ 47 w 122"/>
              <a:gd name="T47" fmla="*/ 0 h 128"/>
              <a:gd name="T48" fmla="*/ 50 w 122"/>
              <a:gd name="T49" fmla="*/ 3 h 128"/>
              <a:gd name="T50" fmla="*/ 60 w 122"/>
              <a:gd name="T51" fmla="*/ 6 h 128"/>
              <a:gd name="T52" fmla="*/ 66 w 122"/>
              <a:gd name="T53" fmla="*/ 0 h 128"/>
              <a:gd name="T54" fmla="*/ 79 w 122"/>
              <a:gd name="T55" fmla="*/ 9 h 128"/>
              <a:gd name="T56" fmla="*/ 82 w 122"/>
              <a:gd name="T57" fmla="*/ 9 h 128"/>
              <a:gd name="T58" fmla="*/ 91 w 122"/>
              <a:gd name="T59" fmla="*/ 12 h 128"/>
              <a:gd name="T60" fmla="*/ 97 w 122"/>
              <a:gd name="T61" fmla="*/ 18 h 128"/>
              <a:gd name="T62" fmla="*/ 107 w 122"/>
              <a:gd name="T63" fmla="*/ 12 h 128"/>
              <a:gd name="T64" fmla="*/ 113 w 122"/>
              <a:gd name="T65" fmla="*/ 15 h 128"/>
              <a:gd name="T66" fmla="*/ 116 w 122"/>
              <a:gd name="T67" fmla="*/ 18 h 128"/>
              <a:gd name="T68" fmla="*/ 116 w 122"/>
              <a:gd name="T69" fmla="*/ 28 h 128"/>
              <a:gd name="T70" fmla="*/ 119 w 122"/>
              <a:gd name="T71" fmla="*/ 34 h 128"/>
              <a:gd name="T72" fmla="*/ 119 w 122"/>
              <a:gd name="T73" fmla="*/ 44 h 128"/>
              <a:gd name="T74" fmla="*/ 116 w 122"/>
              <a:gd name="T75" fmla="*/ 50 h 128"/>
              <a:gd name="T76" fmla="*/ 110 w 122"/>
              <a:gd name="T77" fmla="*/ 62 h 128"/>
              <a:gd name="T78" fmla="*/ 107 w 122"/>
              <a:gd name="T79" fmla="*/ 72 h 128"/>
              <a:gd name="T80" fmla="*/ 107 w 122"/>
              <a:gd name="T81" fmla="*/ 81 h 128"/>
              <a:gd name="T82" fmla="*/ 104 w 122"/>
              <a:gd name="T83" fmla="*/ 84 h 128"/>
              <a:gd name="T84" fmla="*/ 110 w 122"/>
              <a:gd name="T85" fmla="*/ 94 h 128"/>
              <a:gd name="T86" fmla="*/ 116 w 122"/>
              <a:gd name="T87" fmla="*/ 100 h 128"/>
              <a:gd name="T88" fmla="*/ 116 w 122"/>
              <a:gd name="T89" fmla="*/ 109 h 128"/>
              <a:gd name="T90" fmla="*/ 110 w 122"/>
              <a:gd name="T91" fmla="*/ 109 h 128"/>
              <a:gd name="T92" fmla="*/ 107 w 122"/>
              <a:gd name="T93" fmla="*/ 106 h 128"/>
              <a:gd name="T94" fmla="*/ 100 w 122"/>
              <a:gd name="T95" fmla="*/ 112 h 128"/>
              <a:gd name="T96" fmla="*/ 82 w 122"/>
              <a:gd name="T97" fmla="*/ 112 h 128"/>
              <a:gd name="T98" fmla="*/ 50 w 122"/>
              <a:gd name="T99" fmla="*/ 112 h 128"/>
              <a:gd name="T100" fmla="*/ 35 w 122"/>
              <a:gd name="T101" fmla="*/ 119 h 128"/>
              <a:gd name="T102" fmla="*/ 29 w 122"/>
              <a:gd name="T103" fmla="*/ 122 h 128"/>
              <a:gd name="T104" fmla="*/ 22 w 122"/>
              <a:gd name="T10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2" h="128">
                <a:moveTo>
                  <a:pt x="22" y="128"/>
                </a:moveTo>
                <a:lnTo>
                  <a:pt x="22" y="122"/>
                </a:lnTo>
                <a:lnTo>
                  <a:pt x="19" y="119"/>
                </a:lnTo>
                <a:lnTo>
                  <a:pt x="19" y="115"/>
                </a:lnTo>
                <a:lnTo>
                  <a:pt x="19" y="112"/>
                </a:lnTo>
                <a:lnTo>
                  <a:pt x="19" y="109"/>
                </a:lnTo>
                <a:lnTo>
                  <a:pt x="22" y="106"/>
                </a:lnTo>
                <a:lnTo>
                  <a:pt x="19" y="103"/>
                </a:lnTo>
                <a:lnTo>
                  <a:pt x="22" y="100"/>
                </a:lnTo>
                <a:lnTo>
                  <a:pt x="22" y="97"/>
                </a:lnTo>
                <a:lnTo>
                  <a:pt x="19" y="97"/>
                </a:lnTo>
                <a:lnTo>
                  <a:pt x="16" y="94"/>
                </a:lnTo>
                <a:lnTo>
                  <a:pt x="16" y="90"/>
                </a:lnTo>
                <a:lnTo>
                  <a:pt x="13" y="90"/>
                </a:lnTo>
                <a:lnTo>
                  <a:pt x="10" y="90"/>
                </a:lnTo>
                <a:lnTo>
                  <a:pt x="7" y="87"/>
                </a:lnTo>
                <a:lnTo>
                  <a:pt x="4" y="87"/>
                </a:lnTo>
                <a:lnTo>
                  <a:pt x="4" y="87"/>
                </a:lnTo>
                <a:lnTo>
                  <a:pt x="0" y="87"/>
                </a:lnTo>
                <a:lnTo>
                  <a:pt x="0" y="84"/>
                </a:lnTo>
                <a:lnTo>
                  <a:pt x="0" y="81"/>
                </a:lnTo>
                <a:lnTo>
                  <a:pt x="4" y="75"/>
                </a:lnTo>
                <a:lnTo>
                  <a:pt x="4" y="69"/>
                </a:lnTo>
                <a:lnTo>
                  <a:pt x="4" y="69"/>
                </a:lnTo>
                <a:lnTo>
                  <a:pt x="7" y="65"/>
                </a:lnTo>
                <a:lnTo>
                  <a:pt x="13" y="56"/>
                </a:lnTo>
                <a:lnTo>
                  <a:pt x="13" y="50"/>
                </a:lnTo>
                <a:lnTo>
                  <a:pt x="13" y="50"/>
                </a:lnTo>
                <a:lnTo>
                  <a:pt x="10" y="44"/>
                </a:lnTo>
                <a:lnTo>
                  <a:pt x="10" y="40"/>
                </a:lnTo>
                <a:lnTo>
                  <a:pt x="10" y="40"/>
                </a:lnTo>
                <a:lnTo>
                  <a:pt x="13" y="40"/>
                </a:lnTo>
                <a:lnTo>
                  <a:pt x="16" y="37"/>
                </a:lnTo>
                <a:lnTo>
                  <a:pt x="13" y="34"/>
                </a:lnTo>
                <a:lnTo>
                  <a:pt x="10" y="34"/>
                </a:lnTo>
                <a:lnTo>
                  <a:pt x="10" y="25"/>
                </a:lnTo>
                <a:lnTo>
                  <a:pt x="10" y="22"/>
                </a:lnTo>
                <a:lnTo>
                  <a:pt x="10" y="15"/>
                </a:lnTo>
                <a:lnTo>
                  <a:pt x="10" y="12"/>
                </a:lnTo>
                <a:lnTo>
                  <a:pt x="10" y="9"/>
                </a:lnTo>
                <a:lnTo>
                  <a:pt x="16" y="6"/>
                </a:lnTo>
                <a:lnTo>
                  <a:pt x="22" y="3"/>
                </a:lnTo>
                <a:lnTo>
                  <a:pt x="25" y="3"/>
                </a:lnTo>
                <a:lnTo>
                  <a:pt x="32" y="3"/>
                </a:lnTo>
                <a:lnTo>
                  <a:pt x="38" y="6"/>
                </a:lnTo>
                <a:lnTo>
                  <a:pt x="41" y="3"/>
                </a:lnTo>
                <a:lnTo>
                  <a:pt x="41" y="3"/>
                </a:lnTo>
                <a:lnTo>
                  <a:pt x="47" y="0"/>
                </a:lnTo>
                <a:lnTo>
                  <a:pt x="50" y="0"/>
                </a:lnTo>
                <a:lnTo>
                  <a:pt x="50" y="3"/>
                </a:lnTo>
                <a:lnTo>
                  <a:pt x="54" y="6"/>
                </a:lnTo>
                <a:lnTo>
                  <a:pt x="60" y="6"/>
                </a:lnTo>
                <a:lnTo>
                  <a:pt x="63" y="0"/>
                </a:lnTo>
                <a:lnTo>
                  <a:pt x="66" y="0"/>
                </a:lnTo>
                <a:lnTo>
                  <a:pt x="69" y="3"/>
                </a:lnTo>
                <a:lnTo>
                  <a:pt x="79" y="9"/>
                </a:lnTo>
                <a:lnTo>
                  <a:pt x="82" y="9"/>
                </a:lnTo>
                <a:lnTo>
                  <a:pt x="82" y="9"/>
                </a:lnTo>
                <a:lnTo>
                  <a:pt x="85" y="9"/>
                </a:lnTo>
                <a:lnTo>
                  <a:pt x="91" y="12"/>
                </a:lnTo>
                <a:lnTo>
                  <a:pt x="91" y="15"/>
                </a:lnTo>
                <a:lnTo>
                  <a:pt x="97" y="18"/>
                </a:lnTo>
                <a:lnTo>
                  <a:pt x="104" y="15"/>
                </a:lnTo>
                <a:lnTo>
                  <a:pt x="107" y="12"/>
                </a:lnTo>
                <a:lnTo>
                  <a:pt x="110" y="12"/>
                </a:lnTo>
                <a:lnTo>
                  <a:pt x="113" y="15"/>
                </a:lnTo>
                <a:lnTo>
                  <a:pt x="116" y="15"/>
                </a:lnTo>
                <a:lnTo>
                  <a:pt x="116" y="18"/>
                </a:lnTo>
                <a:lnTo>
                  <a:pt x="116" y="25"/>
                </a:lnTo>
                <a:lnTo>
                  <a:pt x="116" y="28"/>
                </a:lnTo>
                <a:lnTo>
                  <a:pt x="116" y="31"/>
                </a:lnTo>
                <a:lnTo>
                  <a:pt x="119" y="34"/>
                </a:lnTo>
                <a:lnTo>
                  <a:pt x="122" y="40"/>
                </a:lnTo>
                <a:lnTo>
                  <a:pt x="119" y="44"/>
                </a:lnTo>
                <a:lnTo>
                  <a:pt x="119" y="47"/>
                </a:lnTo>
                <a:lnTo>
                  <a:pt x="116" y="50"/>
                </a:lnTo>
                <a:lnTo>
                  <a:pt x="110" y="59"/>
                </a:lnTo>
                <a:lnTo>
                  <a:pt x="110" y="62"/>
                </a:lnTo>
                <a:lnTo>
                  <a:pt x="110" y="65"/>
                </a:lnTo>
                <a:lnTo>
                  <a:pt x="107" y="72"/>
                </a:lnTo>
                <a:lnTo>
                  <a:pt x="107" y="75"/>
                </a:lnTo>
                <a:lnTo>
                  <a:pt x="107" y="81"/>
                </a:lnTo>
                <a:lnTo>
                  <a:pt x="104" y="84"/>
                </a:lnTo>
                <a:lnTo>
                  <a:pt x="104" y="84"/>
                </a:lnTo>
                <a:lnTo>
                  <a:pt x="107" y="87"/>
                </a:lnTo>
                <a:lnTo>
                  <a:pt x="110" y="94"/>
                </a:lnTo>
                <a:lnTo>
                  <a:pt x="110" y="100"/>
                </a:lnTo>
                <a:lnTo>
                  <a:pt x="116" y="100"/>
                </a:lnTo>
                <a:lnTo>
                  <a:pt x="116" y="103"/>
                </a:lnTo>
                <a:lnTo>
                  <a:pt x="116" y="109"/>
                </a:lnTo>
                <a:lnTo>
                  <a:pt x="113" y="109"/>
                </a:lnTo>
                <a:lnTo>
                  <a:pt x="110" y="109"/>
                </a:lnTo>
                <a:lnTo>
                  <a:pt x="110" y="112"/>
                </a:lnTo>
                <a:lnTo>
                  <a:pt x="107" y="106"/>
                </a:lnTo>
                <a:lnTo>
                  <a:pt x="104" y="109"/>
                </a:lnTo>
                <a:lnTo>
                  <a:pt x="100" y="112"/>
                </a:lnTo>
                <a:lnTo>
                  <a:pt x="91" y="109"/>
                </a:lnTo>
                <a:lnTo>
                  <a:pt x="82" y="112"/>
                </a:lnTo>
                <a:lnTo>
                  <a:pt x="57" y="112"/>
                </a:lnTo>
                <a:lnTo>
                  <a:pt x="50" y="112"/>
                </a:lnTo>
                <a:lnTo>
                  <a:pt x="50" y="115"/>
                </a:lnTo>
                <a:lnTo>
                  <a:pt x="35" y="119"/>
                </a:lnTo>
                <a:lnTo>
                  <a:pt x="35" y="122"/>
                </a:lnTo>
                <a:lnTo>
                  <a:pt x="29" y="122"/>
                </a:lnTo>
                <a:lnTo>
                  <a:pt x="22" y="128"/>
                </a:lnTo>
                <a:lnTo>
                  <a:pt x="22" y="128"/>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9" name="Freeform 127">
            <a:extLst>
              <a:ext uri="{FF2B5EF4-FFF2-40B4-BE49-F238E27FC236}">
                <a16:creationId xmlns:a16="http://schemas.microsoft.com/office/drawing/2014/main" id="{15E9201F-2285-B51D-6933-6B8EB5BAA359}"/>
              </a:ext>
            </a:extLst>
          </p:cNvPr>
          <p:cNvSpPr>
            <a:spLocks/>
          </p:cNvSpPr>
          <p:nvPr userDrawn="1"/>
        </p:nvSpPr>
        <p:spPr bwMode="auto">
          <a:xfrm>
            <a:off x="12981728" y="8660681"/>
            <a:ext cx="266685" cy="419102"/>
          </a:xfrm>
          <a:custGeom>
            <a:avLst/>
            <a:gdLst>
              <a:gd name="T0" fmla="*/ 6 w 84"/>
              <a:gd name="T1" fmla="*/ 122 h 132"/>
              <a:gd name="T2" fmla="*/ 12 w 84"/>
              <a:gd name="T3" fmla="*/ 122 h 132"/>
              <a:gd name="T4" fmla="*/ 12 w 84"/>
              <a:gd name="T5" fmla="*/ 113 h 132"/>
              <a:gd name="T6" fmla="*/ 6 w 84"/>
              <a:gd name="T7" fmla="*/ 107 h 132"/>
              <a:gd name="T8" fmla="*/ 0 w 84"/>
              <a:gd name="T9" fmla="*/ 97 h 132"/>
              <a:gd name="T10" fmla="*/ 3 w 84"/>
              <a:gd name="T11" fmla="*/ 94 h 132"/>
              <a:gd name="T12" fmla="*/ 3 w 84"/>
              <a:gd name="T13" fmla="*/ 85 h 132"/>
              <a:gd name="T14" fmla="*/ 6 w 84"/>
              <a:gd name="T15" fmla="*/ 75 h 132"/>
              <a:gd name="T16" fmla="*/ 12 w 84"/>
              <a:gd name="T17" fmla="*/ 63 h 132"/>
              <a:gd name="T18" fmla="*/ 15 w 84"/>
              <a:gd name="T19" fmla="*/ 57 h 132"/>
              <a:gd name="T20" fmla="*/ 15 w 84"/>
              <a:gd name="T21" fmla="*/ 47 h 132"/>
              <a:gd name="T22" fmla="*/ 12 w 84"/>
              <a:gd name="T23" fmla="*/ 41 h 132"/>
              <a:gd name="T24" fmla="*/ 12 w 84"/>
              <a:gd name="T25" fmla="*/ 31 h 132"/>
              <a:gd name="T26" fmla="*/ 9 w 84"/>
              <a:gd name="T27" fmla="*/ 19 h 132"/>
              <a:gd name="T28" fmla="*/ 6 w 84"/>
              <a:gd name="T29" fmla="*/ 10 h 132"/>
              <a:gd name="T30" fmla="*/ 15 w 84"/>
              <a:gd name="T31" fmla="*/ 6 h 132"/>
              <a:gd name="T32" fmla="*/ 31 w 84"/>
              <a:gd name="T33" fmla="*/ 3 h 132"/>
              <a:gd name="T34" fmla="*/ 46 w 84"/>
              <a:gd name="T35" fmla="*/ 3 h 132"/>
              <a:gd name="T36" fmla="*/ 56 w 84"/>
              <a:gd name="T37" fmla="*/ 0 h 132"/>
              <a:gd name="T38" fmla="*/ 59 w 84"/>
              <a:gd name="T39" fmla="*/ 6 h 132"/>
              <a:gd name="T40" fmla="*/ 62 w 84"/>
              <a:gd name="T41" fmla="*/ 13 h 132"/>
              <a:gd name="T42" fmla="*/ 68 w 84"/>
              <a:gd name="T43" fmla="*/ 19 h 132"/>
              <a:gd name="T44" fmla="*/ 71 w 84"/>
              <a:gd name="T45" fmla="*/ 25 h 132"/>
              <a:gd name="T46" fmla="*/ 75 w 84"/>
              <a:gd name="T47" fmla="*/ 35 h 132"/>
              <a:gd name="T48" fmla="*/ 75 w 84"/>
              <a:gd name="T49" fmla="*/ 41 h 132"/>
              <a:gd name="T50" fmla="*/ 75 w 84"/>
              <a:gd name="T51" fmla="*/ 47 h 132"/>
              <a:gd name="T52" fmla="*/ 75 w 84"/>
              <a:gd name="T53" fmla="*/ 53 h 132"/>
              <a:gd name="T54" fmla="*/ 75 w 84"/>
              <a:gd name="T55" fmla="*/ 60 h 132"/>
              <a:gd name="T56" fmla="*/ 78 w 84"/>
              <a:gd name="T57" fmla="*/ 69 h 132"/>
              <a:gd name="T58" fmla="*/ 75 w 84"/>
              <a:gd name="T59" fmla="*/ 85 h 132"/>
              <a:gd name="T60" fmla="*/ 75 w 84"/>
              <a:gd name="T61" fmla="*/ 91 h 132"/>
              <a:gd name="T62" fmla="*/ 78 w 84"/>
              <a:gd name="T63" fmla="*/ 100 h 132"/>
              <a:gd name="T64" fmla="*/ 81 w 84"/>
              <a:gd name="T65" fmla="*/ 103 h 132"/>
              <a:gd name="T66" fmla="*/ 71 w 84"/>
              <a:gd name="T67" fmla="*/ 110 h 132"/>
              <a:gd name="T68" fmla="*/ 53 w 84"/>
              <a:gd name="T69" fmla="*/ 122 h 132"/>
              <a:gd name="T70" fmla="*/ 25 w 84"/>
              <a:gd name="T71" fmla="*/ 132 h 132"/>
              <a:gd name="T72" fmla="*/ 6 w 84"/>
              <a:gd name="T73" fmla="*/ 12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4" h="132">
                <a:moveTo>
                  <a:pt x="6" y="125"/>
                </a:moveTo>
                <a:lnTo>
                  <a:pt x="6" y="122"/>
                </a:lnTo>
                <a:lnTo>
                  <a:pt x="9" y="122"/>
                </a:lnTo>
                <a:lnTo>
                  <a:pt x="12" y="122"/>
                </a:lnTo>
                <a:lnTo>
                  <a:pt x="12" y="116"/>
                </a:lnTo>
                <a:lnTo>
                  <a:pt x="12" y="113"/>
                </a:lnTo>
                <a:lnTo>
                  <a:pt x="6" y="113"/>
                </a:lnTo>
                <a:lnTo>
                  <a:pt x="6" y="107"/>
                </a:lnTo>
                <a:lnTo>
                  <a:pt x="3" y="100"/>
                </a:lnTo>
                <a:lnTo>
                  <a:pt x="0" y="97"/>
                </a:lnTo>
                <a:lnTo>
                  <a:pt x="0" y="97"/>
                </a:lnTo>
                <a:lnTo>
                  <a:pt x="3" y="94"/>
                </a:lnTo>
                <a:lnTo>
                  <a:pt x="3" y="88"/>
                </a:lnTo>
                <a:lnTo>
                  <a:pt x="3" y="85"/>
                </a:lnTo>
                <a:lnTo>
                  <a:pt x="6" y="78"/>
                </a:lnTo>
                <a:lnTo>
                  <a:pt x="6" y="75"/>
                </a:lnTo>
                <a:lnTo>
                  <a:pt x="6" y="72"/>
                </a:lnTo>
                <a:lnTo>
                  <a:pt x="12" y="63"/>
                </a:lnTo>
                <a:lnTo>
                  <a:pt x="15" y="60"/>
                </a:lnTo>
                <a:lnTo>
                  <a:pt x="15" y="57"/>
                </a:lnTo>
                <a:lnTo>
                  <a:pt x="18" y="53"/>
                </a:lnTo>
                <a:lnTo>
                  <a:pt x="15" y="47"/>
                </a:lnTo>
                <a:lnTo>
                  <a:pt x="12" y="44"/>
                </a:lnTo>
                <a:lnTo>
                  <a:pt x="12" y="41"/>
                </a:lnTo>
                <a:lnTo>
                  <a:pt x="12" y="38"/>
                </a:lnTo>
                <a:lnTo>
                  <a:pt x="12" y="31"/>
                </a:lnTo>
                <a:lnTo>
                  <a:pt x="12" y="22"/>
                </a:lnTo>
                <a:lnTo>
                  <a:pt x="9" y="19"/>
                </a:lnTo>
                <a:lnTo>
                  <a:pt x="9" y="16"/>
                </a:lnTo>
                <a:lnTo>
                  <a:pt x="6" y="10"/>
                </a:lnTo>
                <a:lnTo>
                  <a:pt x="6" y="6"/>
                </a:lnTo>
                <a:lnTo>
                  <a:pt x="15" y="6"/>
                </a:lnTo>
                <a:lnTo>
                  <a:pt x="28" y="6"/>
                </a:lnTo>
                <a:lnTo>
                  <a:pt x="31" y="3"/>
                </a:lnTo>
                <a:lnTo>
                  <a:pt x="40" y="3"/>
                </a:lnTo>
                <a:lnTo>
                  <a:pt x="46" y="3"/>
                </a:lnTo>
                <a:lnTo>
                  <a:pt x="53" y="3"/>
                </a:lnTo>
                <a:lnTo>
                  <a:pt x="56" y="0"/>
                </a:lnTo>
                <a:lnTo>
                  <a:pt x="59" y="0"/>
                </a:lnTo>
                <a:lnTo>
                  <a:pt x="59" y="6"/>
                </a:lnTo>
                <a:lnTo>
                  <a:pt x="62" y="10"/>
                </a:lnTo>
                <a:lnTo>
                  <a:pt x="62" y="13"/>
                </a:lnTo>
                <a:lnTo>
                  <a:pt x="65" y="16"/>
                </a:lnTo>
                <a:lnTo>
                  <a:pt x="68" y="19"/>
                </a:lnTo>
                <a:lnTo>
                  <a:pt x="71" y="22"/>
                </a:lnTo>
                <a:lnTo>
                  <a:pt x="71" y="25"/>
                </a:lnTo>
                <a:lnTo>
                  <a:pt x="71" y="35"/>
                </a:lnTo>
                <a:lnTo>
                  <a:pt x="75" y="35"/>
                </a:lnTo>
                <a:lnTo>
                  <a:pt x="75" y="35"/>
                </a:lnTo>
                <a:lnTo>
                  <a:pt x="75" y="41"/>
                </a:lnTo>
                <a:lnTo>
                  <a:pt x="75" y="44"/>
                </a:lnTo>
                <a:lnTo>
                  <a:pt x="75" y="47"/>
                </a:lnTo>
                <a:lnTo>
                  <a:pt x="75" y="50"/>
                </a:lnTo>
                <a:lnTo>
                  <a:pt x="75" y="53"/>
                </a:lnTo>
                <a:lnTo>
                  <a:pt x="75" y="57"/>
                </a:lnTo>
                <a:lnTo>
                  <a:pt x="75" y="60"/>
                </a:lnTo>
                <a:lnTo>
                  <a:pt x="75" y="66"/>
                </a:lnTo>
                <a:lnTo>
                  <a:pt x="78" y="69"/>
                </a:lnTo>
                <a:lnTo>
                  <a:pt x="78" y="82"/>
                </a:lnTo>
                <a:lnTo>
                  <a:pt x="75" y="85"/>
                </a:lnTo>
                <a:lnTo>
                  <a:pt x="75" y="88"/>
                </a:lnTo>
                <a:lnTo>
                  <a:pt x="75" y="91"/>
                </a:lnTo>
                <a:lnTo>
                  <a:pt x="75" y="97"/>
                </a:lnTo>
                <a:lnTo>
                  <a:pt x="78" y="100"/>
                </a:lnTo>
                <a:lnTo>
                  <a:pt x="78" y="103"/>
                </a:lnTo>
                <a:lnTo>
                  <a:pt x="81" y="103"/>
                </a:lnTo>
                <a:lnTo>
                  <a:pt x="84" y="107"/>
                </a:lnTo>
                <a:lnTo>
                  <a:pt x="71" y="110"/>
                </a:lnTo>
                <a:lnTo>
                  <a:pt x="62" y="113"/>
                </a:lnTo>
                <a:lnTo>
                  <a:pt x="53" y="122"/>
                </a:lnTo>
                <a:lnTo>
                  <a:pt x="40" y="122"/>
                </a:lnTo>
                <a:lnTo>
                  <a:pt x="25" y="132"/>
                </a:lnTo>
                <a:lnTo>
                  <a:pt x="15" y="128"/>
                </a:lnTo>
                <a:lnTo>
                  <a:pt x="6" y="125"/>
                </a:lnTo>
                <a:lnTo>
                  <a:pt x="6" y="125"/>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0" name="Freeform 128">
            <a:extLst>
              <a:ext uri="{FF2B5EF4-FFF2-40B4-BE49-F238E27FC236}">
                <a16:creationId xmlns:a16="http://schemas.microsoft.com/office/drawing/2014/main" id="{1B4BEC92-97C8-F932-A108-33B3ADB34002}"/>
              </a:ext>
            </a:extLst>
          </p:cNvPr>
          <p:cNvSpPr>
            <a:spLocks/>
          </p:cNvSpPr>
          <p:nvPr userDrawn="1"/>
        </p:nvSpPr>
        <p:spPr bwMode="auto">
          <a:xfrm>
            <a:off x="13169040" y="8660685"/>
            <a:ext cx="117470" cy="339726"/>
          </a:xfrm>
          <a:custGeom>
            <a:avLst/>
            <a:gdLst>
              <a:gd name="T0" fmla="*/ 22 w 37"/>
              <a:gd name="T1" fmla="*/ 6 h 107"/>
              <a:gd name="T2" fmla="*/ 0 w 37"/>
              <a:gd name="T3" fmla="*/ 0 h 107"/>
              <a:gd name="T4" fmla="*/ 0 w 37"/>
              <a:gd name="T5" fmla="*/ 0 h 107"/>
              <a:gd name="T6" fmla="*/ 0 w 37"/>
              <a:gd name="T7" fmla="*/ 6 h 107"/>
              <a:gd name="T8" fmla="*/ 3 w 37"/>
              <a:gd name="T9" fmla="*/ 10 h 107"/>
              <a:gd name="T10" fmla="*/ 3 w 37"/>
              <a:gd name="T11" fmla="*/ 13 h 107"/>
              <a:gd name="T12" fmla="*/ 6 w 37"/>
              <a:gd name="T13" fmla="*/ 16 h 107"/>
              <a:gd name="T14" fmla="*/ 9 w 37"/>
              <a:gd name="T15" fmla="*/ 19 h 107"/>
              <a:gd name="T16" fmla="*/ 12 w 37"/>
              <a:gd name="T17" fmla="*/ 22 h 107"/>
              <a:gd name="T18" fmla="*/ 12 w 37"/>
              <a:gd name="T19" fmla="*/ 25 h 107"/>
              <a:gd name="T20" fmla="*/ 12 w 37"/>
              <a:gd name="T21" fmla="*/ 35 h 107"/>
              <a:gd name="T22" fmla="*/ 16 w 37"/>
              <a:gd name="T23" fmla="*/ 35 h 107"/>
              <a:gd name="T24" fmla="*/ 16 w 37"/>
              <a:gd name="T25" fmla="*/ 35 h 107"/>
              <a:gd name="T26" fmla="*/ 16 w 37"/>
              <a:gd name="T27" fmla="*/ 41 h 107"/>
              <a:gd name="T28" fmla="*/ 16 w 37"/>
              <a:gd name="T29" fmla="*/ 44 h 107"/>
              <a:gd name="T30" fmla="*/ 16 w 37"/>
              <a:gd name="T31" fmla="*/ 47 h 107"/>
              <a:gd name="T32" fmla="*/ 16 w 37"/>
              <a:gd name="T33" fmla="*/ 50 h 107"/>
              <a:gd name="T34" fmla="*/ 16 w 37"/>
              <a:gd name="T35" fmla="*/ 53 h 107"/>
              <a:gd name="T36" fmla="*/ 16 w 37"/>
              <a:gd name="T37" fmla="*/ 57 h 107"/>
              <a:gd name="T38" fmla="*/ 16 w 37"/>
              <a:gd name="T39" fmla="*/ 60 h 107"/>
              <a:gd name="T40" fmla="*/ 16 w 37"/>
              <a:gd name="T41" fmla="*/ 66 h 107"/>
              <a:gd name="T42" fmla="*/ 19 w 37"/>
              <a:gd name="T43" fmla="*/ 69 h 107"/>
              <a:gd name="T44" fmla="*/ 19 w 37"/>
              <a:gd name="T45" fmla="*/ 82 h 107"/>
              <a:gd name="T46" fmla="*/ 16 w 37"/>
              <a:gd name="T47" fmla="*/ 85 h 107"/>
              <a:gd name="T48" fmla="*/ 16 w 37"/>
              <a:gd name="T49" fmla="*/ 88 h 107"/>
              <a:gd name="T50" fmla="*/ 16 w 37"/>
              <a:gd name="T51" fmla="*/ 91 h 107"/>
              <a:gd name="T52" fmla="*/ 16 w 37"/>
              <a:gd name="T53" fmla="*/ 97 h 107"/>
              <a:gd name="T54" fmla="*/ 19 w 37"/>
              <a:gd name="T55" fmla="*/ 100 h 107"/>
              <a:gd name="T56" fmla="*/ 19 w 37"/>
              <a:gd name="T57" fmla="*/ 103 h 107"/>
              <a:gd name="T58" fmla="*/ 22 w 37"/>
              <a:gd name="T59" fmla="*/ 103 h 107"/>
              <a:gd name="T60" fmla="*/ 25 w 37"/>
              <a:gd name="T61" fmla="*/ 107 h 107"/>
              <a:gd name="T62" fmla="*/ 25 w 37"/>
              <a:gd name="T63" fmla="*/ 107 h 107"/>
              <a:gd name="T64" fmla="*/ 37 w 37"/>
              <a:gd name="T65" fmla="*/ 100 h 107"/>
              <a:gd name="T66" fmla="*/ 37 w 37"/>
              <a:gd name="T67" fmla="*/ 100 h 107"/>
              <a:gd name="T68" fmla="*/ 37 w 37"/>
              <a:gd name="T69" fmla="*/ 97 h 107"/>
              <a:gd name="T70" fmla="*/ 37 w 37"/>
              <a:gd name="T71" fmla="*/ 94 h 107"/>
              <a:gd name="T72" fmla="*/ 37 w 37"/>
              <a:gd name="T73" fmla="*/ 88 h 107"/>
              <a:gd name="T74" fmla="*/ 34 w 37"/>
              <a:gd name="T75" fmla="*/ 82 h 107"/>
              <a:gd name="T76" fmla="*/ 34 w 37"/>
              <a:gd name="T77" fmla="*/ 60 h 107"/>
              <a:gd name="T78" fmla="*/ 34 w 37"/>
              <a:gd name="T79" fmla="*/ 57 h 107"/>
              <a:gd name="T80" fmla="*/ 37 w 37"/>
              <a:gd name="T81" fmla="*/ 53 h 107"/>
              <a:gd name="T82" fmla="*/ 37 w 37"/>
              <a:gd name="T83" fmla="*/ 47 h 107"/>
              <a:gd name="T84" fmla="*/ 37 w 37"/>
              <a:gd name="T85" fmla="*/ 44 h 107"/>
              <a:gd name="T86" fmla="*/ 37 w 37"/>
              <a:gd name="T87" fmla="*/ 41 h 107"/>
              <a:gd name="T88" fmla="*/ 34 w 37"/>
              <a:gd name="T89" fmla="*/ 31 h 107"/>
              <a:gd name="T90" fmla="*/ 31 w 37"/>
              <a:gd name="T91" fmla="*/ 22 h 107"/>
              <a:gd name="T92" fmla="*/ 28 w 37"/>
              <a:gd name="T93" fmla="*/ 19 h 107"/>
              <a:gd name="T94" fmla="*/ 25 w 37"/>
              <a:gd name="T95" fmla="*/ 16 h 107"/>
              <a:gd name="T96" fmla="*/ 22 w 37"/>
              <a:gd name="T97" fmla="*/ 16 h 107"/>
              <a:gd name="T98" fmla="*/ 19 w 37"/>
              <a:gd name="T99" fmla="*/ 10 h 107"/>
              <a:gd name="T100" fmla="*/ 22 w 37"/>
              <a:gd name="T101" fmla="*/ 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 h="107">
                <a:moveTo>
                  <a:pt x="22" y="6"/>
                </a:moveTo>
                <a:lnTo>
                  <a:pt x="0" y="0"/>
                </a:lnTo>
                <a:lnTo>
                  <a:pt x="0" y="0"/>
                </a:lnTo>
                <a:lnTo>
                  <a:pt x="0" y="6"/>
                </a:lnTo>
                <a:lnTo>
                  <a:pt x="3" y="10"/>
                </a:lnTo>
                <a:lnTo>
                  <a:pt x="3" y="13"/>
                </a:lnTo>
                <a:lnTo>
                  <a:pt x="6" y="16"/>
                </a:lnTo>
                <a:lnTo>
                  <a:pt x="9" y="19"/>
                </a:lnTo>
                <a:lnTo>
                  <a:pt x="12" y="22"/>
                </a:lnTo>
                <a:lnTo>
                  <a:pt x="12" y="25"/>
                </a:lnTo>
                <a:lnTo>
                  <a:pt x="12" y="35"/>
                </a:lnTo>
                <a:lnTo>
                  <a:pt x="16" y="35"/>
                </a:lnTo>
                <a:lnTo>
                  <a:pt x="16" y="35"/>
                </a:lnTo>
                <a:lnTo>
                  <a:pt x="16" y="41"/>
                </a:lnTo>
                <a:lnTo>
                  <a:pt x="16" y="44"/>
                </a:lnTo>
                <a:lnTo>
                  <a:pt x="16" y="47"/>
                </a:lnTo>
                <a:lnTo>
                  <a:pt x="16" y="50"/>
                </a:lnTo>
                <a:lnTo>
                  <a:pt x="16" y="53"/>
                </a:lnTo>
                <a:lnTo>
                  <a:pt x="16" y="57"/>
                </a:lnTo>
                <a:lnTo>
                  <a:pt x="16" y="60"/>
                </a:lnTo>
                <a:lnTo>
                  <a:pt x="16" y="66"/>
                </a:lnTo>
                <a:lnTo>
                  <a:pt x="19" y="69"/>
                </a:lnTo>
                <a:lnTo>
                  <a:pt x="19" y="82"/>
                </a:lnTo>
                <a:lnTo>
                  <a:pt x="16" y="85"/>
                </a:lnTo>
                <a:lnTo>
                  <a:pt x="16" y="88"/>
                </a:lnTo>
                <a:lnTo>
                  <a:pt x="16" y="91"/>
                </a:lnTo>
                <a:lnTo>
                  <a:pt x="16" y="97"/>
                </a:lnTo>
                <a:lnTo>
                  <a:pt x="19" y="100"/>
                </a:lnTo>
                <a:lnTo>
                  <a:pt x="19" y="103"/>
                </a:lnTo>
                <a:lnTo>
                  <a:pt x="22" y="103"/>
                </a:lnTo>
                <a:lnTo>
                  <a:pt x="25" y="107"/>
                </a:lnTo>
                <a:lnTo>
                  <a:pt x="25" y="107"/>
                </a:lnTo>
                <a:lnTo>
                  <a:pt x="37" y="100"/>
                </a:lnTo>
                <a:lnTo>
                  <a:pt x="37" y="100"/>
                </a:lnTo>
                <a:lnTo>
                  <a:pt x="37" y="97"/>
                </a:lnTo>
                <a:lnTo>
                  <a:pt x="37" y="94"/>
                </a:lnTo>
                <a:lnTo>
                  <a:pt x="37" y="88"/>
                </a:lnTo>
                <a:lnTo>
                  <a:pt x="34" y="82"/>
                </a:lnTo>
                <a:lnTo>
                  <a:pt x="34" y="60"/>
                </a:lnTo>
                <a:lnTo>
                  <a:pt x="34" y="57"/>
                </a:lnTo>
                <a:lnTo>
                  <a:pt x="37" y="53"/>
                </a:lnTo>
                <a:lnTo>
                  <a:pt x="37" y="47"/>
                </a:lnTo>
                <a:lnTo>
                  <a:pt x="37" y="44"/>
                </a:lnTo>
                <a:lnTo>
                  <a:pt x="37" y="41"/>
                </a:lnTo>
                <a:lnTo>
                  <a:pt x="34" y="31"/>
                </a:lnTo>
                <a:lnTo>
                  <a:pt x="31" y="22"/>
                </a:lnTo>
                <a:lnTo>
                  <a:pt x="28" y="19"/>
                </a:lnTo>
                <a:lnTo>
                  <a:pt x="25" y="16"/>
                </a:lnTo>
                <a:lnTo>
                  <a:pt x="22" y="16"/>
                </a:lnTo>
                <a:lnTo>
                  <a:pt x="19" y="10"/>
                </a:lnTo>
                <a:lnTo>
                  <a:pt x="22" y="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1" name="Freeform 129">
            <a:extLst>
              <a:ext uri="{FF2B5EF4-FFF2-40B4-BE49-F238E27FC236}">
                <a16:creationId xmlns:a16="http://schemas.microsoft.com/office/drawing/2014/main" id="{DF9710B4-EED7-3A8B-9FE9-26463D806B2E}"/>
              </a:ext>
            </a:extLst>
          </p:cNvPr>
          <p:cNvSpPr>
            <a:spLocks/>
          </p:cNvSpPr>
          <p:nvPr userDrawn="1"/>
        </p:nvSpPr>
        <p:spPr bwMode="auto">
          <a:xfrm>
            <a:off x="13229364" y="8581306"/>
            <a:ext cx="196837" cy="406400"/>
          </a:xfrm>
          <a:custGeom>
            <a:avLst/>
            <a:gdLst>
              <a:gd name="T0" fmla="*/ 31 w 62"/>
              <a:gd name="T1" fmla="*/ 10 h 128"/>
              <a:gd name="T2" fmla="*/ 22 w 62"/>
              <a:gd name="T3" fmla="*/ 16 h 128"/>
              <a:gd name="T4" fmla="*/ 15 w 62"/>
              <a:gd name="T5" fmla="*/ 16 h 128"/>
              <a:gd name="T6" fmla="*/ 9 w 62"/>
              <a:gd name="T7" fmla="*/ 22 h 128"/>
              <a:gd name="T8" fmla="*/ 9 w 62"/>
              <a:gd name="T9" fmla="*/ 28 h 128"/>
              <a:gd name="T10" fmla="*/ 0 w 62"/>
              <a:gd name="T11" fmla="*/ 35 h 128"/>
              <a:gd name="T12" fmla="*/ 6 w 62"/>
              <a:gd name="T13" fmla="*/ 41 h 128"/>
              <a:gd name="T14" fmla="*/ 12 w 62"/>
              <a:gd name="T15" fmla="*/ 47 h 128"/>
              <a:gd name="T16" fmla="*/ 18 w 62"/>
              <a:gd name="T17" fmla="*/ 66 h 128"/>
              <a:gd name="T18" fmla="*/ 18 w 62"/>
              <a:gd name="T19" fmla="*/ 72 h 128"/>
              <a:gd name="T20" fmla="*/ 15 w 62"/>
              <a:gd name="T21" fmla="*/ 82 h 128"/>
              <a:gd name="T22" fmla="*/ 15 w 62"/>
              <a:gd name="T23" fmla="*/ 107 h 128"/>
              <a:gd name="T24" fmla="*/ 18 w 62"/>
              <a:gd name="T25" fmla="*/ 119 h 128"/>
              <a:gd name="T26" fmla="*/ 18 w 62"/>
              <a:gd name="T27" fmla="*/ 125 h 128"/>
              <a:gd name="T28" fmla="*/ 40 w 62"/>
              <a:gd name="T29" fmla="*/ 122 h 128"/>
              <a:gd name="T30" fmla="*/ 40 w 62"/>
              <a:gd name="T31" fmla="*/ 119 h 128"/>
              <a:gd name="T32" fmla="*/ 40 w 62"/>
              <a:gd name="T33" fmla="*/ 107 h 128"/>
              <a:gd name="T34" fmla="*/ 40 w 62"/>
              <a:gd name="T35" fmla="*/ 94 h 128"/>
              <a:gd name="T36" fmla="*/ 40 w 62"/>
              <a:gd name="T37" fmla="*/ 91 h 128"/>
              <a:gd name="T38" fmla="*/ 40 w 62"/>
              <a:gd name="T39" fmla="*/ 88 h 128"/>
              <a:gd name="T40" fmla="*/ 40 w 62"/>
              <a:gd name="T41" fmla="*/ 82 h 128"/>
              <a:gd name="T42" fmla="*/ 40 w 62"/>
              <a:gd name="T43" fmla="*/ 75 h 128"/>
              <a:gd name="T44" fmla="*/ 40 w 62"/>
              <a:gd name="T45" fmla="*/ 69 h 128"/>
              <a:gd name="T46" fmla="*/ 47 w 62"/>
              <a:gd name="T47" fmla="*/ 66 h 128"/>
              <a:gd name="T48" fmla="*/ 50 w 62"/>
              <a:gd name="T49" fmla="*/ 63 h 128"/>
              <a:gd name="T50" fmla="*/ 53 w 62"/>
              <a:gd name="T51" fmla="*/ 53 h 128"/>
              <a:gd name="T52" fmla="*/ 59 w 62"/>
              <a:gd name="T53" fmla="*/ 53 h 128"/>
              <a:gd name="T54" fmla="*/ 56 w 62"/>
              <a:gd name="T55" fmla="*/ 47 h 128"/>
              <a:gd name="T56" fmla="*/ 59 w 62"/>
              <a:gd name="T57" fmla="*/ 41 h 128"/>
              <a:gd name="T58" fmla="*/ 62 w 62"/>
              <a:gd name="T59" fmla="*/ 38 h 128"/>
              <a:gd name="T60" fmla="*/ 62 w 62"/>
              <a:gd name="T61" fmla="*/ 28 h 128"/>
              <a:gd name="T62" fmla="*/ 56 w 62"/>
              <a:gd name="T63" fmla="*/ 19 h 128"/>
              <a:gd name="T64" fmla="*/ 56 w 62"/>
              <a:gd name="T65" fmla="*/ 16 h 128"/>
              <a:gd name="T66" fmla="*/ 47 w 62"/>
              <a:gd name="T67" fmla="*/ 10 h 128"/>
              <a:gd name="T68" fmla="*/ 37 w 62"/>
              <a:gd name="T69" fmla="*/ 0 h 128"/>
              <a:gd name="T70" fmla="*/ 37 w 62"/>
              <a:gd name="T71" fmla="*/ 3 h 128"/>
              <a:gd name="T72" fmla="*/ 31 w 62"/>
              <a:gd name="T73" fmla="*/ 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128">
                <a:moveTo>
                  <a:pt x="31" y="6"/>
                </a:moveTo>
                <a:lnTo>
                  <a:pt x="31" y="10"/>
                </a:lnTo>
                <a:lnTo>
                  <a:pt x="25" y="13"/>
                </a:lnTo>
                <a:lnTo>
                  <a:pt x="22" y="16"/>
                </a:lnTo>
                <a:lnTo>
                  <a:pt x="15" y="19"/>
                </a:lnTo>
                <a:lnTo>
                  <a:pt x="15" y="16"/>
                </a:lnTo>
                <a:lnTo>
                  <a:pt x="9" y="19"/>
                </a:lnTo>
                <a:lnTo>
                  <a:pt x="9" y="22"/>
                </a:lnTo>
                <a:lnTo>
                  <a:pt x="6" y="25"/>
                </a:lnTo>
                <a:lnTo>
                  <a:pt x="9" y="28"/>
                </a:lnTo>
                <a:lnTo>
                  <a:pt x="3" y="28"/>
                </a:lnTo>
                <a:lnTo>
                  <a:pt x="0" y="35"/>
                </a:lnTo>
                <a:lnTo>
                  <a:pt x="3" y="41"/>
                </a:lnTo>
                <a:lnTo>
                  <a:pt x="6" y="41"/>
                </a:lnTo>
                <a:lnTo>
                  <a:pt x="9" y="44"/>
                </a:lnTo>
                <a:lnTo>
                  <a:pt x="12" y="47"/>
                </a:lnTo>
                <a:lnTo>
                  <a:pt x="15" y="56"/>
                </a:lnTo>
                <a:lnTo>
                  <a:pt x="18" y="66"/>
                </a:lnTo>
                <a:lnTo>
                  <a:pt x="18" y="69"/>
                </a:lnTo>
                <a:lnTo>
                  <a:pt x="18" y="72"/>
                </a:lnTo>
                <a:lnTo>
                  <a:pt x="18" y="78"/>
                </a:lnTo>
                <a:lnTo>
                  <a:pt x="15" y="82"/>
                </a:lnTo>
                <a:lnTo>
                  <a:pt x="15" y="85"/>
                </a:lnTo>
                <a:lnTo>
                  <a:pt x="15" y="107"/>
                </a:lnTo>
                <a:lnTo>
                  <a:pt x="18" y="113"/>
                </a:lnTo>
                <a:lnTo>
                  <a:pt x="18" y="119"/>
                </a:lnTo>
                <a:lnTo>
                  <a:pt x="18" y="122"/>
                </a:lnTo>
                <a:lnTo>
                  <a:pt x="18" y="125"/>
                </a:lnTo>
                <a:lnTo>
                  <a:pt x="28" y="128"/>
                </a:lnTo>
                <a:lnTo>
                  <a:pt x="40" y="122"/>
                </a:lnTo>
                <a:lnTo>
                  <a:pt x="40" y="122"/>
                </a:lnTo>
                <a:lnTo>
                  <a:pt x="40" y="119"/>
                </a:lnTo>
                <a:lnTo>
                  <a:pt x="40" y="110"/>
                </a:lnTo>
                <a:lnTo>
                  <a:pt x="40" y="107"/>
                </a:lnTo>
                <a:lnTo>
                  <a:pt x="40" y="103"/>
                </a:lnTo>
                <a:lnTo>
                  <a:pt x="40" y="94"/>
                </a:lnTo>
                <a:lnTo>
                  <a:pt x="40" y="91"/>
                </a:lnTo>
                <a:lnTo>
                  <a:pt x="40" y="91"/>
                </a:lnTo>
                <a:lnTo>
                  <a:pt x="40" y="88"/>
                </a:lnTo>
                <a:lnTo>
                  <a:pt x="40" y="88"/>
                </a:lnTo>
                <a:lnTo>
                  <a:pt x="40" y="85"/>
                </a:lnTo>
                <a:lnTo>
                  <a:pt x="40" y="82"/>
                </a:lnTo>
                <a:lnTo>
                  <a:pt x="40" y="78"/>
                </a:lnTo>
                <a:lnTo>
                  <a:pt x="40" y="75"/>
                </a:lnTo>
                <a:lnTo>
                  <a:pt x="40" y="72"/>
                </a:lnTo>
                <a:lnTo>
                  <a:pt x="40" y="69"/>
                </a:lnTo>
                <a:lnTo>
                  <a:pt x="43" y="69"/>
                </a:lnTo>
                <a:lnTo>
                  <a:pt x="47" y="66"/>
                </a:lnTo>
                <a:lnTo>
                  <a:pt x="50" y="66"/>
                </a:lnTo>
                <a:lnTo>
                  <a:pt x="50" y="63"/>
                </a:lnTo>
                <a:lnTo>
                  <a:pt x="53" y="56"/>
                </a:lnTo>
                <a:lnTo>
                  <a:pt x="53" y="53"/>
                </a:lnTo>
                <a:lnTo>
                  <a:pt x="56" y="53"/>
                </a:lnTo>
                <a:lnTo>
                  <a:pt x="59" y="53"/>
                </a:lnTo>
                <a:lnTo>
                  <a:pt x="59" y="50"/>
                </a:lnTo>
                <a:lnTo>
                  <a:pt x="56" y="47"/>
                </a:lnTo>
                <a:lnTo>
                  <a:pt x="56" y="44"/>
                </a:lnTo>
                <a:lnTo>
                  <a:pt x="59" y="41"/>
                </a:lnTo>
                <a:lnTo>
                  <a:pt x="62" y="41"/>
                </a:lnTo>
                <a:lnTo>
                  <a:pt x="62" y="38"/>
                </a:lnTo>
                <a:lnTo>
                  <a:pt x="62" y="31"/>
                </a:lnTo>
                <a:lnTo>
                  <a:pt x="62" y="28"/>
                </a:lnTo>
                <a:lnTo>
                  <a:pt x="56" y="22"/>
                </a:lnTo>
                <a:lnTo>
                  <a:pt x="56" y="19"/>
                </a:lnTo>
                <a:lnTo>
                  <a:pt x="56" y="16"/>
                </a:lnTo>
                <a:lnTo>
                  <a:pt x="56" y="16"/>
                </a:lnTo>
                <a:lnTo>
                  <a:pt x="53" y="10"/>
                </a:lnTo>
                <a:lnTo>
                  <a:pt x="47" y="10"/>
                </a:lnTo>
                <a:lnTo>
                  <a:pt x="43" y="3"/>
                </a:lnTo>
                <a:lnTo>
                  <a:pt x="37" y="0"/>
                </a:lnTo>
                <a:lnTo>
                  <a:pt x="34" y="3"/>
                </a:lnTo>
                <a:lnTo>
                  <a:pt x="37" y="3"/>
                </a:lnTo>
                <a:lnTo>
                  <a:pt x="31" y="6"/>
                </a:lnTo>
                <a:lnTo>
                  <a:pt x="31" y="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2" name="Freeform 130">
            <a:extLst>
              <a:ext uri="{FF2B5EF4-FFF2-40B4-BE49-F238E27FC236}">
                <a16:creationId xmlns:a16="http://schemas.microsoft.com/office/drawing/2014/main" id="{0DDA314E-1F4E-8AB7-B3F4-CBFEBA1F6917}"/>
              </a:ext>
            </a:extLst>
          </p:cNvPr>
          <p:cNvSpPr>
            <a:spLocks noEditPoints="1"/>
          </p:cNvSpPr>
          <p:nvPr userDrawn="1"/>
        </p:nvSpPr>
        <p:spPr bwMode="auto">
          <a:xfrm>
            <a:off x="13924643" y="7876457"/>
            <a:ext cx="723855" cy="1031878"/>
          </a:xfrm>
          <a:custGeom>
            <a:avLst/>
            <a:gdLst>
              <a:gd name="T0" fmla="*/ 228 w 228"/>
              <a:gd name="T1" fmla="*/ 81 h 325"/>
              <a:gd name="T2" fmla="*/ 221 w 228"/>
              <a:gd name="T3" fmla="*/ 160 h 325"/>
              <a:gd name="T4" fmla="*/ 209 w 228"/>
              <a:gd name="T5" fmla="*/ 163 h 325"/>
              <a:gd name="T6" fmla="*/ 209 w 228"/>
              <a:gd name="T7" fmla="*/ 175 h 325"/>
              <a:gd name="T8" fmla="*/ 196 w 228"/>
              <a:gd name="T9" fmla="*/ 185 h 325"/>
              <a:gd name="T10" fmla="*/ 196 w 228"/>
              <a:gd name="T11" fmla="*/ 194 h 325"/>
              <a:gd name="T12" fmla="*/ 196 w 228"/>
              <a:gd name="T13" fmla="*/ 203 h 325"/>
              <a:gd name="T14" fmla="*/ 187 w 228"/>
              <a:gd name="T15" fmla="*/ 216 h 325"/>
              <a:gd name="T16" fmla="*/ 196 w 228"/>
              <a:gd name="T17" fmla="*/ 219 h 325"/>
              <a:gd name="T18" fmla="*/ 196 w 228"/>
              <a:gd name="T19" fmla="*/ 225 h 325"/>
              <a:gd name="T20" fmla="*/ 200 w 228"/>
              <a:gd name="T21" fmla="*/ 232 h 325"/>
              <a:gd name="T22" fmla="*/ 206 w 228"/>
              <a:gd name="T23" fmla="*/ 244 h 325"/>
              <a:gd name="T24" fmla="*/ 206 w 228"/>
              <a:gd name="T25" fmla="*/ 250 h 325"/>
              <a:gd name="T26" fmla="*/ 200 w 228"/>
              <a:gd name="T27" fmla="*/ 253 h 325"/>
              <a:gd name="T28" fmla="*/ 184 w 228"/>
              <a:gd name="T29" fmla="*/ 260 h 325"/>
              <a:gd name="T30" fmla="*/ 184 w 228"/>
              <a:gd name="T31" fmla="*/ 266 h 325"/>
              <a:gd name="T32" fmla="*/ 175 w 228"/>
              <a:gd name="T33" fmla="*/ 272 h 325"/>
              <a:gd name="T34" fmla="*/ 168 w 228"/>
              <a:gd name="T35" fmla="*/ 278 h 325"/>
              <a:gd name="T36" fmla="*/ 168 w 228"/>
              <a:gd name="T37" fmla="*/ 288 h 325"/>
              <a:gd name="T38" fmla="*/ 156 w 228"/>
              <a:gd name="T39" fmla="*/ 294 h 325"/>
              <a:gd name="T40" fmla="*/ 140 w 228"/>
              <a:gd name="T41" fmla="*/ 291 h 325"/>
              <a:gd name="T42" fmla="*/ 131 w 228"/>
              <a:gd name="T43" fmla="*/ 294 h 325"/>
              <a:gd name="T44" fmla="*/ 137 w 228"/>
              <a:gd name="T45" fmla="*/ 300 h 325"/>
              <a:gd name="T46" fmla="*/ 128 w 228"/>
              <a:gd name="T47" fmla="*/ 310 h 325"/>
              <a:gd name="T48" fmla="*/ 106 w 228"/>
              <a:gd name="T49" fmla="*/ 316 h 325"/>
              <a:gd name="T50" fmla="*/ 93 w 228"/>
              <a:gd name="T51" fmla="*/ 322 h 325"/>
              <a:gd name="T52" fmla="*/ 87 w 228"/>
              <a:gd name="T53" fmla="*/ 316 h 325"/>
              <a:gd name="T54" fmla="*/ 81 w 228"/>
              <a:gd name="T55" fmla="*/ 325 h 325"/>
              <a:gd name="T56" fmla="*/ 71 w 228"/>
              <a:gd name="T57" fmla="*/ 325 h 325"/>
              <a:gd name="T58" fmla="*/ 68 w 228"/>
              <a:gd name="T59" fmla="*/ 316 h 325"/>
              <a:gd name="T60" fmla="*/ 59 w 228"/>
              <a:gd name="T61" fmla="*/ 304 h 325"/>
              <a:gd name="T62" fmla="*/ 40 w 228"/>
              <a:gd name="T63" fmla="*/ 288 h 325"/>
              <a:gd name="T64" fmla="*/ 37 w 228"/>
              <a:gd name="T65" fmla="*/ 285 h 325"/>
              <a:gd name="T66" fmla="*/ 37 w 228"/>
              <a:gd name="T67" fmla="*/ 275 h 325"/>
              <a:gd name="T68" fmla="*/ 46 w 228"/>
              <a:gd name="T69" fmla="*/ 275 h 325"/>
              <a:gd name="T70" fmla="*/ 56 w 228"/>
              <a:gd name="T71" fmla="*/ 275 h 325"/>
              <a:gd name="T72" fmla="*/ 65 w 228"/>
              <a:gd name="T73" fmla="*/ 275 h 325"/>
              <a:gd name="T74" fmla="*/ 59 w 228"/>
              <a:gd name="T75" fmla="*/ 269 h 325"/>
              <a:gd name="T76" fmla="*/ 53 w 228"/>
              <a:gd name="T77" fmla="*/ 260 h 325"/>
              <a:gd name="T78" fmla="*/ 56 w 228"/>
              <a:gd name="T79" fmla="*/ 247 h 325"/>
              <a:gd name="T80" fmla="*/ 56 w 228"/>
              <a:gd name="T81" fmla="*/ 241 h 325"/>
              <a:gd name="T82" fmla="*/ 53 w 228"/>
              <a:gd name="T83" fmla="*/ 232 h 325"/>
              <a:gd name="T84" fmla="*/ 43 w 228"/>
              <a:gd name="T85" fmla="*/ 219 h 325"/>
              <a:gd name="T86" fmla="*/ 31 w 228"/>
              <a:gd name="T87" fmla="*/ 210 h 325"/>
              <a:gd name="T88" fmla="*/ 21 w 228"/>
              <a:gd name="T89" fmla="*/ 175 h 325"/>
              <a:gd name="T90" fmla="*/ 28 w 228"/>
              <a:gd name="T91" fmla="*/ 172 h 325"/>
              <a:gd name="T92" fmla="*/ 59 w 228"/>
              <a:gd name="T93" fmla="*/ 110 h 325"/>
              <a:gd name="T94" fmla="*/ 68 w 228"/>
              <a:gd name="T95" fmla="*/ 63 h 325"/>
              <a:gd name="T96" fmla="*/ 59 w 228"/>
              <a:gd name="T97" fmla="*/ 38 h 325"/>
              <a:gd name="T98" fmla="*/ 46 w 228"/>
              <a:gd name="T99" fmla="*/ 9 h 325"/>
              <a:gd name="T100" fmla="*/ 0 w 228"/>
              <a:gd name="T101" fmla="*/ 21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8" h="325">
                <a:moveTo>
                  <a:pt x="46" y="9"/>
                </a:moveTo>
                <a:lnTo>
                  <a:pt x="68" y="0"/>
                </a:lnTo>
                <a:lnTo>
                  <a:pt x="228" y="81"/>
                </a:lnTo>
                <a:lnTo>
                  <a:pt x="228" y="156"/>
                </a:lnTo>
                <a:lnTo>
                  <a:pt x="225" y="160"/>
                </a:lnTo>
                <a:lnTo>
                  <a:pt x="221" y="160"/>
                </a:lnTo>
                <a:lnTo>
                  <a:pt x="218" y="160"/>
                </a:lnTo>
                <a:lnTo>
                  <a:pt x="212" y="160"/>
                </a:lnTo>
                <a:lnTo>
                  <a:pt x="209" y="163"/>
                </a:lnTo>
                <a:lnTo>
                  <a:pt x="209" y="166"/>
                </a:lnTo>
                <a:lnTo>
                  <a:pt x="212" y="169"/>
                </a:lnTo>
                <a:lnTo>
                  <a:pt x="209" y="175"/>
                </a:lnTo>
                <a:lnTo>
                  <a:pt x="203" y="182"/>
                </a:lnTo>
                <a:lnTo>
                  <a:pt x="200" y="182"/>
                </a:lnTo>
                <a:lnTo>
                  <a:pt x="196" y="185"/>
                </a:lnTo>
                <a:lnTo>
                  <a:pt x="196" y="188"/>
                </a:lnTo>
                <a:lnTo>
                  <a:pt x="200" y="191"/>
                </a:lnTo>
                <a:lnTo>
                  <a:pt x="196" y="194"/>
                </a:lnTo>
                <a:lnTo>
                  <a:pt x="193" y="197"/>
                </a:lnTo>
                <a:lnTo>
                  <a:pt x="193" y="200"/>
                </a:lnTo>
                <a:lnTo>
                  <a:pt x="196" y="203"/>
                </a:lnTo>
                <a:lnTo>
                  <a:pt x="196" y="207"/>
                </a:lnTo>
                <a:lnTo>
                  <a:pt x="193" y="210"/>
                </a:lnTo>
                <a:lnTo>
                  <a:pt x="187" y="216"/>
                </a:lnTo>
                <a:lnTo>
                  <a:pt x="187" y="219"/>
                </a:lnTo>
                <a:lnTo>
                  <a:pt x="190" y="222"/>
                </a:lnTo>
                <a:lnTo>
                  <a:pt x="196" y="219"/>
                </a:lnTo>
                <a:lnTo>
                  <a:pt x="196" y="219"/>
                </a:lnTo>
                <a:lnTo>
                  <a:pt x="196" y="222"/>
                </a:lnTo>
                <a:lnTo>
                  <a:pt x="196" y="225"/>
                </a:lnTo>
                <a:lnTo>
                  <a:pt x="200" y="225"/>
                </a:lnTo>
                <a:lnTo>
                  <a:pt x="196" y="228"/>
                </a:lnTo>
                <a:lnTo>
                  <a:pt x="200" y="232"/>
                </a:lnTo>
                <a:lnTo>
                  <a:pt x="200" y="238"/>
                </a:lnTo>
                <a:lnTo>
                  <a:pt x="200" y="241"/>
                </a:lnTo>
                <a:lnTo>
                  <a:pt x="206" y="244"/>
                </a:lnTo>
                <a:lnTo>
                  <a:pt x="209" y="247"/>
                </a:lnTo>
                <a:lnTo>
                  <a:pt x="206" y="247"/>
                </a:lnTo>
                <a:lnTo>
                  <a:pt x="206" y="250"/>
                </a:lnTo>
                <a:lnTo>
                  <a:pt x="206" y="253"/>
                </a:lnTo>
                <a:lnTo>
                  <a:pt x="200" y="257"/>
                </a:lnTo>
                <a:lnTo>
                  <a:pt x="200" y="253"/>
                </a:lnTo>
                <a:lnTo>
                  <a:pt x="193" y="253"/>
                </a:lnTo>
                <a:lnTo>
                  <a:pt x="190" y="257"/>
                </a:lnTo>
                <a:lnTo>
                  <a:pt x="184" y="260"/>
                </a:lnTo>
                <a:lnTo>
                  <a:pt x="184" y="263"/>
                </a:lnTo>
                <a:lnTo>
                  <a:pt x="184" y="266"/>
                </a:lnTo>
                <a:lnTo>
                  <a:pt x="184" y="266"/>
                </a:lnTo>
                <a:lnTo>
                  <a:pt x="178" y="272"/>
                </a:lnTo>
                <a:lnTo>
                  <a:pt x="178" y="272"/>
                </a:lnTo>
                <a:lnTo>
                  <a:pt x="175" y="272"/>
                </a:lnTo>
                <a:lnTo>
                  <a:pt x="171" y="275"/>
                </a:lnTo>
                <a:lnTo>
                  <a:pt x="171" y="278"/>
                </a:lnTo>
                <a:lnTo>
                  <a:pt x="168" y="278"/>
                </a:lnTo>
                <a:lnTo>
                  <a:pt x="168" y="282"/>
                </a:lnTo>
                <a:lnTo>
                  <a:pt x="168" y="285"/>
                </a:lnTo>
                <a:lnTo>
                  <a:pt x="168" y="288"/>
                </a:lnTo>
                <a:lnTo>
                  <a:pt x="165" y="291"/>
                </a:lnTo>
                <a:lnTo>
                  <a:pt x="162" y="294"/>
                </a:lnTo>
                <a:lnTo>
                  <a:pt x="156" y="294"/>
                </a:lnTo>
                <a:lnTo>
                  <a:pt x="150" y="294"/>
                </a:lnTo>
                <a:lnTo>
                  <a:pt x="143" y="294"/>
                </a:lnTo>
                <a:lnTo>
                  <a:pt x="140" y="291"/>
                </a:lnTo>
                <a:lnTo>
                  <a:pt x="137" y="294"/>
                </a:lnTo>
                <a:lnTo>
                  <a:pt x="134" y="291"/>
                </a:lnTo>
                <a:lnTo>
                  <a:pt x="131" y="294"/>
                </a:lnTo>
                <a:lnTo>
                  <a:pt x="131" y="297"/>
                </a:lnTo>
                <a:lnTo>
                  <a:pt x="134" y="300"/>
                </a:lnTo>
                <a:lnTo>
                  <a:pt x="137" y="300"/>
                </a:lnTo>
                <a:lnTo>
                  <a:pt x="137" y="304"/>
                </a:lnTo>
                <a:lnTo>
                  <a:pt x="131" y="307"/>
                </a:lnTo>
                <a:lnTo>
                  <a:pt x="128" y="310"/>
                </a:lnTo>
                <a:lnTo>
                  <a:pt x="121" y="310"/>
                </a:lnTo>
                <a:lnTo>
                  <a:pt x="112" y="313"/>
                </a:lnTo>
                <a:lnTo>
                  <a:pt x="106" y="316"/>
                </a:lnTo>
                <a:lnTo>
                  <a:pt x="100" y="319"/>
                </a:lnTo>
                <a:lnTo>
                  <a:pt x="96" y="322"/>
                </a:lnTo>
                <a:lnTo>
                  <a:pt x="93" y="322"/>
                </a:lnTo>
                <a:lnTo>
                  <a:pt x="90" y="322"/>
                </a:lnTo>
                <a:lnTo>
                  <a:pt x="90" y="316"/>
                </a:lnTo>
                <a:lnTo>
                  <a:pt x="87" y="316"/>
                </a:lnTo>
                <a:lnTo>
                  <a:pt x="84" y="316"/>
                </a:lnTo>
                <a:lnTo>
                  <a:pt x="84" y="322"/>
                </a:lnTo>
                <a:lnTo>
                  <a:pt x="81" y="325"/>
                </a:lnTo>
                <a:lnTo>
                  <a:pt x="78" y="325"/>
                </a:lnTo>
                <a:lnTo>
                  <a:pt x="75" y="325"/>
                </a:lnTo>
                <a:lnTo>
                  <a:pt x="71" y="325"/>
                </a:lnTo>
                <a:lnTo>
                  <a:pt x="68" y="322"/>
                </a:lnTo>
                <a:lnTo>
                  <a:pt x="68" y="319"/>
                </a:lnTo>
                <a:lnTo>
                  <a:pt x="68" y="316"/>
                </a:lnTo>
                <a:lnTo>
                  <a:pt x="65" y="313"/>
                </a:lnTo>
                <a:lnTo>
                  <a:pt x="62" y="307"/>
                </a:lnTo>
                <a:lnTo>
                  <a:pt x="59" y="304"/>
                </a:lnTo>
                <a:lnTo>
                  <a:pt x="50" y="297"/>
                </a:lnTo>
                <a:lnTo>
                  <a:pt x="43" y="291"/>
                </a:lnTo>
                <a:lnTo>
                  <a:pt x="40" y="288"/>
                </a:lnTo>
                <a:lnTo>
                  <a:pt x="40" y="288"/>
                </a:lnTo>
                <a:lnTo>
                  <a:pt x="37" y="285"/>
                </a:lnTo>
                <a:lnTo>
                  <a:pt x="37" y="285"/>
                </a:lnTo>
                <a:lnTo>
                  <a:pt x="37" y="278"/>
                </a:lnTo>
                <a:lnTo>
                  <a:pt x="37" y="278"/>
                </a:lnTo>
                <a:lnTo>
                  <a:pt x="37" y="275"/>
                </a:lnTo>
                <a:lnTo>
                  <a:pt x="40" y="275"/>
                </a:lnTo>
                <a:lnTo>
                  <a:pt x="43" y="275"/>
                </a:lnTo>
                <a:lnTo>
                  <a:pt x="46" y="275"/>
                </a:lnTo>
                <a:lnTo>
                  <a:pt x="50" y="275"/>
                </a:lnTo>
                <a:lnTo>
                  <a:pt x="53" y="275"/>
                </a:lnTo>
                <a:lnTo>
                  <a:pt x="56" y="275"/>
                </a:lnTo>
                <a:lnTo>
                  <a:pt x="59" y="275"/>
                </a:lnTo>
                <a:lnTo>
                  <a:pt x="62" y="275"/>
                </a:lnTo>
                <a:lnTo>
                  <a:pt x="65" y="275"/>
                </a:lnTo>
                <a:lnTo>
                  <a:pt x="65" y="275"/>
                </a:lnTo>
                <a:lnTo>
                  <a:pt x="65" y="275"/>
                </a:lnTo>
                <a:lnTo>
                  <a:pt x="59" y="269"/>
                </a:lnTo>
                <a:lnTo>
                  <a:pt x="59" y="266"/>
                </a:lnTo>
                <a:lnTo>
                  <a:pt x="56" y="266"/>
                </a:lnTo>
                <a:lnTo>
                  <a:pt x="53" y="260"/>
                </a:lnTo>
                <a:lnTo>
                  <a:pt x="53" y="257"/>
                </a:lnTo>
                <a:lnTo>
                  <a:pt x="56" y="253"/>
                </a:lnTo>
                <a:lnTo>
                  <a:pt x="56" y="247"/>
                </a:lnTo>
                <a:lnTo>
                  <a:pt x="53" y="247"/>
                </a:lnTo>
                <a:lnTo>
                  <a:pt x="53" y="244"/>
                </a:lnTo>
                <a:lnTo>
                  <a:pt x="56" y="241"/>
                </a:lnTo>
                <a:lnTo>
                  <a:pt x="56" y="238"/>
                </a:lnTo>
                <a:lnTo>
                  <a:pt x="53" y="235"/>
                </a:lnTo>
                <a:lnTo>
                  <a:pt x="53" y="232"/>
                </a:lnTo>
                <a:lnTo>
                  <a:pt x="50" y="228"/>
                </a:lnTo>
                <a:lnTo>
                  <a:pt x="50" y="222"/>
                </a:lnTo>
                <a:lnTo>
                  <a:pt x="43" y="219"/>
                </a:lnTo>
                <a:lnTo>
                  <a:pt x="34" y="213"/>
                </a:lnTo>
                <a:lnTo>
                  <a:pt x="34" y="213"/>
                </a:lnTo>
                <a:lnTo>
                  <a:pt x="31" y="210"/>
                </a:lnTo>
                <a:lnTo>
                  <a:pt x="28" y="203"/>
                </a:lnTo>
                <a:lnTo>
                  <a:pt x="25" y="200"/>
                </a:lnTo>
                <a:lnTo>
                  <a:pt x="21" y="175"/>
                </a:lnTo>
                <a:lnTo>
                  <a:pt x="25" y="175"/>
                </a:lnTo>
                <a:lnTo>
                  <a:pt x="25" y="175"/>
                </a:lnTo>
                <a:lnTo>
                  <a:pt x="28" y="172"/>
                </a:lnTo>
                <a:lnTo>
                  <a:pt x="28" y="172"/>
                </a:lnTo>
                <a:lnTo>
                  <a:pt x="62" y="138"/>
                </a:lnTo>
                <a:lnTo>
                  <a:pt x="59" y="110"/>
                </a:lnTo>
                <a:lnTo>
                  <a:pt x="65" y="72"/>
                </a:lnTo>
                <a:lnTo>
                  <a:pt x="68" y="69"/>
                </a:lnTo>
                <a:lnTo>
                  <a:pt x="68" y="63"/>
                </a:lnTo>
                <a:lnTo>
                  <a:pt x="56" y="47"/>
                </a:lnTo>
                <a:lnTo>
                  <a:pt x="56" y="44"/>
                </a:lnTo>
                <a:lnTo>
                  <a:pt x="59" y="38"/>
                </a:lnTo>
                <a:lnTo>
                  <a:pt x="46" y="13"/>
                </a:lnTo>
                <a:lnTo>
                  <a:pt x="46" y="9"/>
                </a:lnTo>
                <a:lnTo>
                  <a:pt x="46" y="9"/>
                </a:lnTo>
                <a:close/>
                <a:moveTo>
                  <a:pt x="6" y="210"/>
                </a:moveTo>
                <a:lnTo>
                  <a:pt x="3" y="213"/>
                </a:lnTo>
                <a:lnTo>
                  <a:pt x="0" y="216"/>
                </a:lnTo>
                <a:lnTo>
                  <a:pt x="0" y="213"/>
                </a:lnTo>
                <a:lnTo>
                  <a:pt x="6" y="21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3" name="Freeform 131">
            <a:extLst>
              <a:ext uri="{FF2B5EF4-FFF2-40B4-BE49-F238E27FC236}">
                <a16:creationId xmlns:a16="http://schemas.microsoft.com/office/drawing/2014/main" id="{11ADA199-9207-1AB8-7C7B-624A09F08C1D}"/>
              </a:ext>
            </a:extLst>
          </p:cNvPr>
          <p:cNvSpPr>
            <a:spLocks/>
          </p:cNvSpPr>
          <p:nvPr userDrawn="1"/>
        </p:nvSpPr>
        <p:spPr bwMode="auto">
          <a:xfrm>
            <a:off x="13188089" y="7885983"/>
            <a:ext cx="952440" cy="746126"/>
          </a:xfrm>
          <a:custGeom>
            <a:avLst/>
            <a:gdLst>
              <a:gd name="T0" fmla="*/ 66 w 300"/>
              <a:gd name="T1" fmla="*/ 229 h 235"/>
              <a:gd name="T2" fmla="*/ 56 w 300"/>
              <a:gd name="T3" fmla="*/ 222 h 235"/>
              <a:gd name="T4" fmla="*/ 47 w 300"/>
              <a:gd name="T5" fmla="*/ 222 h 235"/>
              <a:gd name="T6" fmla="*/ 44 w 300"/>
              <a:gd name="T7" fmla="*/ 225 h 235"/>
              <a:gd name="T8" fmla="*/ 38 w 300"/>
              <a:gd name="T9" fmla="*/ 219 h 235"/>
              <a:gd name="T10" fmla="*/ 41 w 300"/>
              <a:gd name="T11" fmla="*/ 213 h 235"/>
              <a:gd name="T12" fmla="*/ 38 w 300"/>
              <a:gd name="T13" fmla="*/ 210 h 235"/>
              <a:gd name="T14" fmla="*/ 28 w 300"/>
              <a:gd name="T15" fmla="*/ 213 h 235"/>
              <a:gd name="T16" fmla="*/ 19 w 300"/>
              <a:gd name="T17" fmla="*/ 200 h 235"/>
              <a:gd name="T18" fmla="*/ 0 w 300"/>
              <a:gd name="T19" fmla="*/ 182 h 235"/>
              <a:gd name="T20" fmla="*/ 3 w 300"/>
              <a:gd name="T21" fmla="*/ 172 h 235"/>
              <a:gd name="T22" fmla="*/ 10 w 300"/>
              <a:gd name="T23" fmla="*/ 169 h 235"/>
              <a:gd name="T24" fmla="*/ 28 w 300"/>
              <a:gd name="T25" fmla="*/ 169 h 235"/>
              <a:gd name="T26" fmla="*/ 41 w 300"/>
              <a:gd name="T27" fmla="*/ 166 h 235"/>
              <a:gd name="T28" fmla="*/ 50 w 300"/>
              <a:gd name="T29" fmla="*/ 163 h 235"/>
              <a:gd name="T30" fmla="*/ 63 w 300"/>
              <a:gd name="T31" fmla="*/ 160 h 235"/>
              <a:gd name="T32" fmla="*/ 75 w 300"/>
              <a:gd name="T33" fmla="*/ 150 h 235"/>
              <a:gd name="T34" fmla="*/ 78 w 300"/>
              <a:gd name="T35" fmla="*/ 141 h 235"/>
              <a:gd name="T36" fmla="*/ 81 w 300"/>
              <a:gd name="T37" fmla="*/ 85 h 235"/>
              <a:gd name="T38" fmla="*/ 135 w 300"/>
              <a:gd name="T39" fmla="*/ 57 h 235"/>
              <a:gd name="T40" fmla="*/ 257 w 300"/>
              <a:gd name="T41" fmla="*/ 10 h 235"/>
              <a:gd name="T42" fmla="*/ 278 w 300"/>
              <a:gd name="T43" fmla="*/ 6 h 235"/>
              <a:gd name="T44" fmla="*/ 291 w 300"/>
              <a:gd name="T45" fmla="*/ 35 h 235"/>
              <a:gd name="T46" fmla="*/ 288 w 300"/>
              <a:gd name="T47" fmla="*/ 44 h 235"/>
              <a:gd name="T48" fmla="*/ 300 w 300"/>
              <a:gd name="T49" fmla="*/ 66 h 235"/>
              <a:gd name="T50" fmla="*/ 291 w 300"/>
              <a:gd name="T51" fmla="*/ 107 h 235"/>
              <a:gd name="T52" fmla="*/ 260 w 300"/>
              <a:gd name="T53" fmla="*/ 169 h 235"/>
              <a:gd name="T54" fmla="*/ 257 w 300"/>
              <a:gd name="T55" fmla="*/ 172 h 235"/>
              <a:gd name="T56" fmla="*/ 253 w 300"/>
              <a:gd name="T57" fmla="*/ 172 h 235"/>
              <a:gd name="T58" fmla="*/ 253 w 300"/>
              <a:gd name="T59" fmla="*/ 197 h 235"/>
              <a:gd name="T60" fmla="*/ 250 w 300"/>
              <a:gd name="T61" fmla="*/ 204 h 235"/>
              <a:gd name="T62" fmla="*/ 244 w 300"/>
              <a:gd name="T63" fmla="*/ 204 h 235"/>
              <a:gd name="T64" fmla="*/ 241 w 300"/>
              <a:gd name="T65" fmla="*/ 207 h 235"/>
              <a:gd name="T66" fmla="*/ 238 w 300"/>
              <a:gd name="T67" fmla="*/ 207 h 235"/>
              <a:gd name="T68" fmla="*/ 228 w 300"/>
              <a:gd name="T69" fmla="*/ 210 h 235"/>
              <a:gd name="T70" fmla="*/ 216 w 300"/>
              <a:gd name="T71" fmla="*/ 207 h 235"/>
              <a:gd name="T72" fmla="*/ 203 w 300"/>
              <a:gd name="T73" fmla="*/ 207 h 235"/>
              <a:gd name="T74" fmla="*/ 188 w 300"/>
              <a:gd name="T75" fmla="*/ 207 h 235"/>
              <a:gd name="T76" fmla="*/ 178 w 300"/>
              <a:gd name="T77" fmla="*/ 216 h 235"/>
              <a:gd name="T78" fmla="*/ 169 w 300"/>
              <a:gd name="T79" fmla="*/ 213 h 235"/>
              <a:gd name="T80" fmla="*/ 157 w 300"/>
              <a:gd name="T81" fmla="*/ 210 h 235"/>
              <a:gd name="T82" fmla="*/ 153 w 300"/>
              <a:gd name="T83" fmla="*/ 207 h 235"/>
              <a:gd name="T84" fmla="*/ 147 w 300"/>
              <a:gd name="T85" fmla="*/ 204 h 235"/>
              <a:gd name="T86" fmla="*/ 141 w 300"/>
              <a:gd name="T87" fmla="*/ 207 h 235"/>
              <a:gd name="T88" fmla="*/ 135 w 300"/>
              <a:gd name="T89" fmla="*/ 207 h 235"/>
              <a:gd name="T90" fmla="*/ 132 w 300"/>
              <a:gd name="T91" fmla="*/ 210 h 235"/>
              <a:gd name="T92" fmla="*/ 122 w 300"/>
              <a:gd name="T93" fmla="*/ 200 h 235"/>
              <a:gd name="T94" fmla="*/ 116 w 300"/>
              <a:gd name="T95" fmla="*/ 197 h 235"/>
              <a:gd name="T96" fmla="*/ 110 w 300"/>
              <a:gd name="T97" fmla="*/ 194 h 235"/>
              <a:gd name="T98" fmla="*/ 100 w 300"/>
              <a:gd name="T99" fmla="*/ 194 h 235"/>
              <a:gd name="T100" fmla="*/ 97 w 300"/>
              <a:gd name="T101" fmla="*/ 194 h 235"/>
              <a:gd name="T102" fmla="*/ 88 w 300"/>
              <a:gd name="T103" fmla="*/ 194 h 235"/>
              <a:gd name="T104" fmla="*/ 81 w 300"/>
              <a:gd name="T105" fmla="*/ 197 h 235"/>
              <a:gd name="T106" fmla="*/ 78 w 300"/>
              <a:gd name="T107" fmla="*/ 197 h 235"/>
              <a:gd name="T108" fmla="*/ 72 w 300"/>
              <a:gd name="T109" fmla="*/ 204 h 235"/>
              <a:gd name="T110" fmla="*/ 72 w 300"/>
              <a:gd name="T111" fmla="*/ 207 h 235"/>
              <a:gd name="T112" fmla="*/ 75 w 300"/>
              <a:gd name="T113" fmla="*/ 213 h 235"/>
              <a:gd name="T114" fmla="*/ 75 w 300"/>
              <a:gd name="T115" fmla="*/ 216 h 235"/>
              <a:gd name="T116" fmla="*/ 69 w 300"/>
              <a:gd name="T117" fmla="*/ 219 h 235"/>
              <a:gd name="T118" fmla="*/ 66 w 300"/>
              <a:gd name="T119" fmla="*/ 225 h 235"/>
              <a:gd name="T120" fmla="*/ 72 w 300"/>
              <a:gd name="T121" fmla="*/ 229 h 235"/>
              <a:gd name="T122" fmla="*/ 69 w 300"/>
              <a:gd name="T123"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0" h="235">
                <a:moveTo>
                  <a:pt x="69" y="235"/>
                </a:moveTo>
                <a:lnTo>
                  <a:pt x="66" y="229"/>
                </a:lnTo>
                <a:lnTo>
                  <a:pt x="60" y="229"/>
                </a:lnTo>
                <a:lnTo>
                  <a:pt x="56" y="222"/>
                </a:lnTo>
                <a:lnTo>
                  <a:pt x="50" y="219"/>
                </a:lnTo>
                <a:lnTo>
                  <a:pt x="47" y="222"/>
                </a:lnTo>
                <a:lnTo>
                  <a:pt x="50" y="222"/>
                </a:lnTo>
                <a:lnTo>
                  <a:pt x="44" y="225"/>
                </a:lnTo>
                <a:lnTo>
                  <a:pt x="41" y="225"/>
                </a:lnTo>
                <a:lnTo>
                  <a:pt x="38" y="219"/>
                </a:lnTo>
                <a:lnTo>
                  <a:pt x="41" y="216"/>
                </a:lnTo>
                <a:lnTo>
                  <a:pt x="41" y="213"/>
                </a:lnTo>
                <a:lnTo>
                  <a:pt x="38" y="210"/>
                </a:lnTo>
                <a:lnTo>
                  <a:pt x="38" y="210"/>
                </a:lnTo>
                <a:lnTo>
                  <a:pt x="35" y="207"/>
                </a:lnTo>
                <a:lnTo>
                  <a:pt x="28" y="213"/>
                </a:lnTo>
                <a:lnTo>
                  <a:pt x="19" y="207"/>
                </a:lnTo>
                <a:lnTo>
                  <a:pt x="19" y="200"/>
                </a:lnTo>
                <a:lnTo>
                  <a:pt x="0" y="188"/>
                </a:lnTo>
                <a:lnTo>
                  <a:pt x="0" y="182"/>
                </a:lnTo>
                <a:lnTo>
                  <a:pt x="3" y="175"/>
                </a:lnTo>
                <a:lnTo>
                  <a:pt x="3" y="172"/>
                </a:lnTo>
                <a:lnTo>
                  <a:pt x="6" y="169"/>
                </a:lnTo>
                <a:lnTo>
                  <a:pt x="10" y="169"/>
                </a:lnTo>
                <a:lnTo>
                  <a:pt x="22" y="169"/>
                </a:lnTo>
                <a:lnTo>
                  <a:pt x="28" y="169"/>
                </a:lnTo>
                <a:lnTo>
                  <a:pt x="35" y="166"/>
                </a:lnTo>
                <a:lnTo>
                  <a:pt x="41" y="166"/>
                </a:lnTo>
                <a:lnTo>
                  <a:pt x="47" y="166"/>
                </a:lnTo>
                <a:lnTo>
                  <a:pt x="50" y="163"/>
                </a:lnTo>
                <a:lnTo>
                  <a:pt x="56" y="163"/>
                </a:lnTo>
                <a:lnTo>
                  <a:pt x="63" y="160"/>
                </a:lnTo>
                <a:lnTo>
                  <a:pt x="72" y="153"/>
                </a:lnTo>
                <a:lnTo>
                  <a:pt x="75" y="150"/>
                </a:lnTo>
                <a:lnTo>
                  <a:pt x="75" y="144"/>
                </a:lnTo>
                <a:lnTo>
                  <a:pt x="78" y="141"/>
                </a:lnTo>
                <a:lnTo>
                  <a:pt x="78" y="122"/>
                </a:lnTo>
                <a:lnTo>
                  <a:pt x="81" y="85"/>
                </a:lnTo>
                <a:lnTo>
                  <a:pt x="110" y="78"/>
                </a:lnTo>
                <a:lnTo>
                  <a:pt x="135" y="57"/>
                </a:lnTo>
                <a:lnTo>
                  <a:pt x="222" y="0"/>
                </a:lnTo>
                <a:lnTo>
                  <a:pt x="257" y="10"/>
                </a:lnTo>
                <a:lnTo>
                  <a:pt x="260" y="13"/>
                </a:lnTo>
                <a:lnTo>
                  <a:pt x="278" y="6"/>
                </a:lnTo>
                <a:lnTo>
                  <a:pt x="278" y="10"/>
                </a:lnTo>
                <a:lnTo>
                  <a:pt x="291" y="35"/>
                </a:lnTo>
                <a:lnTo>
                  <a:pt x="288" y="41"/>
                </a:lnTo>
                <a:lnTo>
                  <a:pt x="288" y="44"/>
                </a:lnTo>
                <a:lnTo>
                  <a:pt x="300" y="60"/>
                </a:lnTo>
                <a:lnTo>
                  <a:pt x="300" y="66"/>
                </a:lnTo>
                <a:lnTo>
                  <a:pt x="297" y="69"/>
                </a:lnTo>
                <a:lnTo>
                  <a:pt x="291" y="107"/>
                </a:lnTo>
                <a:lnTo>
                  <a:pt x="294" y="135"/>
                </a:lnTo>
                <a:lnTo>
                  <a:pt x="260" y="169"/>
                </a:lnTo>
                <a:lnTo>
                  <a:pt x="260" y="169"/>
                </a:lnTo>
                <a:lnTo>
                  <a:pt x="257" y="172"/>
                </a:lnTo>
                <a:lnTo>
                  <a:pt x="257" y="172"/>
                </a:lnTo>
                <a:lnTo>
                  <a:pt x="253" y="172"/>
                </a:lnTo>
                <a:lnTo>
                  <a:pt x="257" y="197"/>
                </a:lnTo>
                <a:lnTo>
                  <a:pt x="253" y="197"/>
                </a:lnTo>
                <a:lnTo>
                  <a:pt x="250" y="200"/>
                </a:lnTo>
                <a:lnTo>
                  <a:pt x="250" y="204"/>
                </a:lnTo>
                <a:lnTo>
                  <a:pt x="247" y="204"/>
                </a:lnTo>
                <a:lnTo>
                  <a:pt x="244" y="204"/>
                </a:lnTo>
                <a:lnTo>
                  <a:pt x="241" y="204"/>
                </a:lnTo>
                <a:lnTo>
                  <a:pt x="241" y="207"/>
                </a:lnTo>
                <a:lnTo>
                  <a:pt x="238" y="207"/>
                </a:lnTo>
                <a:lnTo>
                  <a:pt x="238" y="207"/>
                </a:lnTo>
                <a:lnTo>
                  <a:pt x="232" y="210"/>
                </a:lnTo>
                <a:lnTo>
                  <a:pt x="228" y="210"/>
                </a:lnTo>
                <a:lnTo>
                  <a:pt x="222" y="210"/>
                </a:lnTo>
                <a:lnTo>
                  <a:pt x="216" y="207"/>
                </a:lnTo>
                <a:lnTo>
                  <a:pt x="207" y="204"/>
                </a:lnTo>
                <a:lnTo>
                  <a:pt x="203" y="207"/>
                </a:lnTo>
                <a:lnTo>
                  <a:pt x="194" y="207"/>
                </a:lnTo>
                <a:lnTo>
                  <a:pt x="188" y="207"/>
                </a:lnTo>
                <a:lnTo>
                  <a:pt x="185" y="213"/>
                </a:lnTo>
                <a:lnTo>
                  <a:pt x="178" y="216"/>
                </a:lnTo>
                <a:lnTo>
                  <a:pt x="175" y="216"/>
                </a:lnTo>
                <a:lnTo>
                  <a:pt x="169" y="213"/>
                </a:lnTo>
                <a:lnTo>
                  <a:pt x="163" y="213"/>
                </a:lnTo>
                <a:lnTo>
                  <a:pt x="157" y="210"/>
                </a:lnTo>
                <a:lnTo>
                  <a:pt x="153" y="207"/>
                </a:lnTo>
                <a:lnTo>
                  <a:pt x="153" y="207"/>
                </a:lnTo>
                <a:lnTo>
                  <a:pt x="150" y="204"/>
                </a:lnTo>
                <a:lnTo>
                  <a:pt x="147" y="204"/>
                </a:lnTo>
                <a:lnTo>
                  <a:pt x="147" y="204"/>
                </a:lnTo>
                <a:lnTo>
                  <a:pt x="141" y="207"/>
                </a:lnTo>
                <a:lnTo>
                  <a:pt x="138" y="207"/>
                </a:lnTo>
                <a:lnTo>
                  <a:pt x="135" y="207"/>
                </a:lnTo>
                <a:lnTo>
                  <a:pt x="132" y="210"/>
                </a:lnTo>
                <a:lnTo>
                  <a:pt x="132" y="210"/>
                </a:lnTo>
                <a:lnTo>
                  <a:pt x="125" y="207"/>
                </a:lnTo>
                <a:lnTo>
                  <a:pt x="122" y="200"/>
                </a:lnTo>
                <a:lnTo>
                  <a:pt x="119" y="200"/>
                </a:lnTo>
                <a:lnTo>
                  <a:pt x="116" y="197"/>
                </a:lnTo>
                <a:lnTo>
                  <a:pt x="113" y="197"/>
                </a:lnTo>
                <a:lnTo>
                  <a:pt x="110" y="194"/>
                </a:lnTo>
                <a:lnTo>
                  <a:pt x="103" y="194"/>
                </a:lnTo>
                <a:lnTo>
                  <a:pt x="100" y="194"/>
                </a:lnTo>
                <a:lnTo>
                  <a:pt x="97" y="194"/>
                </a:lnTo>
                <a:lnTo>
                  <a:pt x="97" y="194"/>
                </a:lnTo>
                <a:lnTo>
                  <a:pt x="91" y="194"/>
                </a:lnTo>
                <a:lnTo>
                  <a:pt x="88" y="194"/>
                </a:lnTo>
                <a:lnTo>
                  <a:pt x="85" y="194"/>
                </a:lnTo>
                <a:lnTo>
                  <a:pt x="81" y="197"/>
                </a:lnTo>
                <a:lnTo>
                  <a:pt x="81" y="197"/>
                </a:lnTo>
                <a:lnTo>
                  <a:pt x="78" y="197"/>
                </a:lnTo>
                <a:lnTo>
                  <a:pt x="75" y="200"/>
                </a:lnTo>
                <a:lnTo>
                  <a:pt x="72" y="204"/>
                </a:lnTo>
                <a:lnTo>
                  <a:pt x="75" y="207"/>
                </a:lnTo>
                <a:lnTo>
                  <a:pt x="72" y="207"/>
                </a:lnTo>
                <a:lnTo>
                  <a:pt x="72" y="207"/>
                </a:lnTo>
                <a:lnTo>
                  <a:pt x="75" y="213"/>
                </a:lnTo>
                <a:lnTo>
                  <a:pt x="75" y="213"/>
                </a:lnTo>
                <a:lnTo>
                  <a:pt x="75" y="216"/>
                </a:lnTo>
                <a:lnTo>
                  <a:pt x="72" y="216"/>
                </a:lnTo>
                <a:lnTo>
                  <a:pt x="69" y="219"/>
                </a:lnTo>
                <a:lnTo>
                  <a:pt x="69" y="222"/>
                </a:lnTo>
                <a:lnTo>
                  <a:pt x="66" y="225"/>
                </a:lnTo>
                <a:lnTo>
                  <a:pt x="69" y="229"/>
                </a:lnTo>
                <a:lnTo>
                  <a:pt x="72" y="229"/>
                </a:lnTo>
                <a:lnTo>
                  <a:pt x="72" y="232"/>
                </a:lnTo>
                <a:lnTo>
                  <a:pt x="69" y="235"/>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4" name="Freeform 132">
            <a:extLst>
              <a:ext uri="{FF2B5EF4-FFF2-40B4-BE49-F238E27FC236}">
                <a16:creationId xmlns:a16="http://schemas.microsoft.com/office/drawing/2014/main" id="{1E18DCF6-8314-F925-1AE2-2A2115080ABB}"/>
              </a:ext>
            </a:extLst>
          </p:cNvPr>
          <p:cNvSpPr>
            <a:spLocks/>
          </p:cNvSpPr>
          <p:nvPr userDrawn="1"/>
        </p:nvSpPr>
        <p:spPr bwMode="auto">
          <a:xfrm>
            <a:off x="13356352" y="8501935"/>
            <a:ext cx="714330" cy="615950"/>
          </a:xfrm>
          <a:custGeom>
            <a:avLst/>
            <a:gdLst>
              <a:gd name="T0" fmla="*/ 210 w 225"/>
              <a:gd name="T1" fmla="*/ 13 h 194"/>
              <a:gd name="T2" fmla="*/ 197 w 225"/>
              <a:gd name="T3" fmla="*/ 6 h 194"/>
              <a:gd name="T4" fmla="*/ 191 w 225"/>
              <a:gd name="T5" fmla="*/ 10 h 194"/>
              <a:gd name="T6" fmla="*/ 185 w 225"/>
              <a:gd name="T7" fmla="*/ 13 h 194"/>
              <a:gd name="T8" fmla="*/ 175 w 225"/>
              <a:gd name="T9" fmla="*/ 16 h 194"/>
              <a:gd name="T10" fmla="*/ 154 w 225"/>
              <a:gd name="T11" fmla="*/ 10 h 194"/>
              <a:gd name="T12" fmla="*/ 135 w 225"/>
              <a:gd name="T13" fmla="*/ 13 h 194"/>
              <a:gd name="T14" fmla="*/ 122 w 225"/>
              <a:gd name="T15" fmla="*/ 22 h 194"/>
              <a:gd name="T16" fmla="*/ 104 w 225"/>
              <a:gd name="T17" fmla="*/ 16 h 194"/>
              <a:gd name="T18" fmla="*/ 97 w 225"/>
              <a:gd name="T19" fmla="*/ 10 h 194"/>
              <a:gd name="T20" fmla="*/ 88 w 225"/>
              <a:gd name="T21" fmla="*/ 13 h 194"/>
              <a:gd name="T22" fmla="*/ 79 w 225"/>
              <a:gd name="T23" fmla="*/ 16 h 194"/>
              <a:gd name="T24" fmla="*/ 69 w 225"/>
              <a:gd name="T25" fmla="*/ 6 h 194"/>
              <a:gd name="T26" fmla="*/ 60 w 225"/>
              <a:gd name="T27" fmla="*/ 3 h 194"/>
              <a:gd name="T28" fmla="*/ 47 w 225"/>
              <a:gd name="T29" fmla="*/ 0 h 194"/>
              <a:gd name="T30" fmla="*/ 38 w 225"/>
              <a:gd name="T31" fmla="*/ 0 h 194"/>
              <a:gd name="T32" fmla="*/ 28 w 225"/>
              <a:gd name="T33" fmla="*/ 3 h 194"/>
              <a:gd name="T34" fmla="*/ 22 w 225"/>
              <a:gd name="T35" fmla="*/ 6 h 194"/>
              <a:gd name="T36" fmla="*/ 19 w 225"/>
              <a:gd name="T37" fmla="*/ 13 h 194"/>
              <a:gd name="T38" fmla="*/ 22 w 225"/>
              <a:gd name="T39" fmla="*/ 19 h 194"/>
              <a:gd name="T40" fmla="*/ 16 w 225"/>
              <a:gd name="T41" fmla="*/ 25 h 194"/>
              <a:gd name="T42" fmla="*/ 16 w 225"/>
              <a:gd name="T43" fmla="*/ 35 h 194"/>
              <a:gd name="T44" fmla="*/ 16 w 225"/>
              <a:gd name="T45" fmla="*/ 41 h 194"/>
              <a:gd name="T46" fmla="*/ 22 w 225"/>
              <a:gd name="T47" fmla="*/ 53 h 194"/>
              <a:gd name="T48" fmla="*/ 22 w 225"/>
              <a:gd name="T49" fmla="*/ 66 h 194"/>
              <a:gd name="T50" fmla="*/ 16 w 225"/>
              <a:gd name="T51" fmla="*/ 72 h 194"/>
              <a:gd name="T52" fmla="*/ 16 w 225"/>
              <a:gd name="T53" fmla="*/ 78 h 194"/>
              <a:gd name="T54" fmla="*/ 10 w 225"/>
              <a:gd name="T55" fmla="*/ 88 h 194"/>
              <a:gd name="T56" fmla="*/ 3 w 225"/>
              <a:gd name="T57" fmla="*/ 94 h 194"/>
              <a:gd name="T58" fmla="*/ 0 w 225"/>
              <a:gd name="T59" fmla="*/ 100 h 194"/>
              <a:gd name="T60" fmla="*/ 0 w 225"/>
              <a:gd name="T61" fmla="*/ 110 h 194"/>
              <a:gd name="T62" fmla="*/ 0 w 225"/>
              <a:gd name="T63" fmla="*/ 116 h 194"/>
              <a:gd name="T64" fmla="*/ 0 w 225"/>
              <a:gd name="T65" fmla="*/ 128 h 194"/>
              <a:gd name="T66" fmla="*/ 0 w 225"/>
              <a:gd name="T67" fmla="*/ 144 h 194"/>
              <a:gd name="T68" fmla="*/ 16 w 225"/>
              <a:gd name="T69" fmla="*/ 147 h 194"/>
              <a:gd name="T70" fmla="*/ 41 w 225"/>
              <a:gd name="T71" fmla="*/ 172 h 194"/>
              <a:gd name="T72" fmla="*/ 47 w 225"/>
              <a:gd name="T73" fmla="*/ 188 h 194"/>
              <a:gd name="T74" fmla="*/ 79 w 225"/>
              <a:gd name="T75" fmla="*/ 191 h 194"/>
              <a:gd name="T76" fmla="*/ 94 w 225"/>
              <a:gd name="T77" fmla="*/ 188 h 194"/>
              <a:gd name="T78" fmla="*/ 104 w 225"/>
              <a:gd name="T79" fmla="*/ 182 h 194"/>
              <a:gd name="T80" fmla="*/ 110 w 225"/>
              <a:gd name="T81" fmla="*/ 185 h 194"/>
              <a:gd name="T82" fmla="*/ 116 w 225"/>
              <a:gd name="T83" fmla="*/ 172 h 194"/>
              <a:gd name="T84" fmla="*/ 116 w 225"/>
              <a:gd name="T85" fmla="*/ 163 h 194"/>
              <a:gd name="T86" fmla="*/ 125 w 225"/>
              <a:gd name="T87" fmla="*/ 153 h 194"/>
              <a:gd name="T88" fmla="*/ 132 w 225"/>
              <a:gd name="T89" fmla="*/ 144 h 194"/>
              <a:gd name="T90" fmla="*/ 138 w 225"/>
              <a:gd name="T91" fmla="*/ 138 h 194"/>
              <a:gd name="T92" fmla="*/ 147 w 225"/>
              <a:gd name="T93" fmla="*/ 141 h 194"/>
              <a:gd name="T94" fmla="*/ 157 w 225"/>
              <a:gd name="T95" fmla="*/ 150 h 194"/>
              <a:gd name="T96" fmla="*/ 166 w 225"/>
              <a:gd name="T97" fmla="*/ 144 h 194"/>
              <a:gd name="T98" fmla="*/ 169 w 225"/>
              <a:gd name="T99" fmla="*/ 138 h 194"/>
              <a:gd name="T100" fmla="*/ 172 w 225"/>
              <a:gd name="T101" fmla="*/ 128 h 194"/>
              <a:gd name="T102" fmla="*/ 179 w 225"/>
              <a:gd name="T103" fmla="*/ 116 h 194"/>
              <a:gd name="T104" fmla="*/ 191 w 225"/>
              <a:gd name="T105" fmla="*/ 103 h 194"/>
              <a:gd name="T106" fmla="*/ 191 w 225"/>
              <a:gd name="T107" fmla="*/ 91 h 194"/>
              <a:gd name="T108" fmla="*/ 204 w 225"/>
              <a:gd name="T109" fmla="*/ 81 h 194"/>
              <a:gd name="T110" fmla="*/ 204 w 225"/>
              <a:gd name="T111" fmla="*/ 69 h 194"/>
              <a:gd name="T112" fmla="*/ 210 w 225"/>
              <a:gd name="T113" fmla="*/ 56 h 194"/>
              <a:gd name="T114" fmla="*/ 216 w 225"/>
              <a:gd name="T115" fmla="*/ 53 h 194"/>
              <a:gd name="T116" fmla="*/ 225 w 225"/>
              <a:gd name="T117" fmla="*/ 47 h 194"/>
              <a:gd name="T118" fmla="*/ 222 w 225"/>
              <a:gd name="T119" fmla="*/ 35 h 194"/>
              <a:gd name="T120" fmla="*/ 216 w 225"/>
              <a:gd name="T121" fmla="*/ 25 h 194"/>
              <a:gd name="T122" fmla="*/ 213 w 225"/>
              <a:gd name="T123" fmla="*/ 1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5" h="194">
                <a:moveTo>
                  <a:pt x="213" y="16"/>
                </a:moveTo>
                <a:lnTo>
                  <a:pt x="213" y="16"/>
                </a:lnTo>
                <a:lnTo>
                  <a:pt x="210" y="13"/>
                </a:lnTo>
                <a:lnTo>
                  <a:pt x="207" y="6"/>
                </a:lnTo>
                <a:lnTo>
                  <a:pt x="200" y="3"/>
                </a:lnTo>
                <a:lnTo>
                  <a:pt x="197" y="6"/>
                </a:lnTo>
                <a:lnTo>
                  <a:pt x="197" y="10"/>
                </a:lnTo>
                <a:lnTo>
                  <a:pt x="194" y="10"/>
                </a:lnTo>
                <a:lnTo>
                  <a:pt x="191" y="10"/>
                </a:lnTo>
                <a:lnTo>
                  <a:pt x="188" y="10"/>
                </a:lnTo>
                <a:lnTo>
                  <a:pt x="188" y="13"/>
                </a:lnTo>
                <a:lnTo>
                  <a:pt x="185" y="13"/>
                </a:lnTo>
                <a:lnTo>
                  <a:pt x="182" y="16"/>
                </a:lnTo>
                <a:lnTo>
                  <a:pt x="179" y="19"/>
                </a:lnTo>
                <a:lnTo>
                  <a:pt x="175" y="16"/>
                </a:lnTo>
                <a:lnTo>
                  <a:pt x="169" y="16"/>
                </a:lnTo>
                <a:lnTo>
                  <a:pt x="163" y="13"/>
                </a:lnTo>
                <a:lnTo>
                  <a:pt x="154" y="10"/>
                </a:lnTo>
                <a:lnTo>
                  <a:pt x="150" y="13"/>
                </a:lnTo>
                <a:lnTo>
                  <a:pt x="141" y="13"/>
                </a:lnTo>
                <a:lnTo>
                  <a:pt x="135" y="13"/>
                </a:lnTo>
                <a:lnTo>
                  <a:pt x="132" y="19"/>
                </a:lnTo>
                <a:lnTo>
                  <a:pt x="125" y="22"/>
                </a:lnTo>
                <a:lnTo>
                  <a:pt x="122" y="22"/>
                </a:lnTo>
                <a:lnTo>
                  <a:pt x="116" y="19"/>
                </a:lnTo>
                <a:lnTo>
                  <a:pt x="110" y="19"/>
                </a:lnTo>
                <a:lnTo>
                  <a:pt x="104" y="16"/>
                </a:lnTo>
                <a:lnTo>
                  <a:pt x="100" y="13"/>
                </a:lnTo>
                <a:lnTo>
                  <a:pt x="100" y="13"/>
                </a:lnTo>
                <a:lnTo>
                  <a:pt x="97" y="10"/>
                </a:lnTo>
                <a:lnTo>
                  <a:pt x="94" y="10"/>
                </a:lnTo>
                <a:lnTo>
                  <a:pt x="94" y="10"/>
                </a:lnTo>
                <a:lnTo>
                  <a:pt x="88" y="13"/>
                </a:lnTo>
                <a:lnTo>
                  <a:pt x="85" y="13"/>
                </a:lnTo>
                <a:lnTo>
                  <a:pt x="82" y="13"/>
                </a:lnTo>
                <a:lnTo>
                  <a:pt x="79" y="16"/>
                </a:lnTo>
                <a:lnTo>
                  <a:pt x="79" y="16"/>
                </a:lnTo>
                <a:lnTo>
                  <a:pt x="72" y="13"/>
                </a:lnTo>
                <a:lnTo>
                  <a:pt x="69" y="6"/>
                </a:lnTo>
                <a:lnTo>
                  <a:pt x="66" y="6"/>
                </a:lnTo>
                <a:lnTo>
                  <a:pt x="63" y="3"/>
                </a:lnTo>
                <a:lnTo>
                  <a:pt x="60" y="3"/>
                </a:lnTo>
                <a:lnTo>
                  <a:pt x="57" y="0"/>
                </a:lnTo>
                <a:lnTo>
                  <a:pt x="50" y="0"/>
                </a:lnTo>
                <a:lnTo>
                  <a:pt x="47" y="0"/>
                </a:lnTo>
                <a:lnTo>
                  <a:pt x="44" y="0"/>
                </a:lnTo>
                <a:lnTo>
                  <a:pt x="44" y="0"/>
                </a:lnTo>
                <a:lnTo>
                  <a:pt x="38" y="0"/>
                </a:lnTo>
                <a:lnTo>
                  <a:pt x="35" y="0"/>
                </a:lnTo>
                <a:lnTo>
                  <a:pt x="32" y="0"/>
                </a:lnTo>
                <a:lnTo>
                  <a:pt x="28" y="3"/>
                </a:lnTo>
                <a:lnTo>
                  <a:pt x="28" y="3"/>
                </a:lnTo>
                <a:lnTo>
                  <a:pt x="25" y="3"/>
                </a:lnTo>
                <a:lnTo>
                  <a:pt x="22" y="6"/>
                </a:lnTo>
                <a:lnTo>
                  <a:pt x="19" y="10"/>
                </a:lnTo>
                <a:lnTo>
                  <a:pt x="22" y="13"/>
                </a:lnTo>
                <a:lnTo>
                  <a:pt x="19" y="13"/>
                </a:lnTo>
                <a:lnTo>
                  <a:pt x="19" y="13"/>
                </a:lnTo>
                <a:lnTo>
                  <a:pt x="22" y="19"/>
                </a:lnTo>
                <a:lnTo>
                  <a:pt x="22" y="19"/>
                </a:lnTo>
                <a:lnTo>
                  <a:pt x="22" y="22"/>
                </a:lnTo>
                <a:lnTo>
                  <a:pt x="19" y="22"/>
                </a:lnTo>
                <a:lnTo>
                  <a:pt x="16" y="25"/>
                </a:lnTo>
                <a:lnTo>
                  <a:pt x="16" y="28"/>
                </a:lnTo>
                <a:lnTo>
                  <a:pt x="13" y="31"/>
                </a:lnTo>
                <a:lnTo>
                  <a:pt x="16" y="35"/>
                </a:lnTo>
                <a:lnTo>
                  <a:pt x="19" y="35"/>
                </a:lnTo>
                <a:lnTo>
                  <a:pt x="19" y="38"/>
                </a:lnTo>
                <a:lnTo>
                  <a:pt x="16" y="41"/>
                </a:lnTo>
                <a:lnTo>
                  <a:pt x="16" y="44"/>
                </a:lnTo>
                <a:lnTo>
                  <a:pt x="16" y="47"/>
                </a:lnTo>
                <a:lnTo>
                  <a:pt x="22" y="53"/>
                </a:lnTo>
                <a:lnTo>
                  <a:pt x="22" y="56"/>
                </a:lnTo>
                <a:lnTo>
                  <a:pt x="22" y="63"/>
                </a:lnTo>
                <a:lnTo>
                  <a:pt x="22" y="66"/>
                </a:lnTo>
                <a:lnTo>
                  <a:pt x="19" y="66"/>
                </a:lnTo>
                <a:lnTo>
                  <a:pt x="16" y="69"/>
                </a:lnTo>
                <a:lnTo>
                  <a:pt x="16" y="72"/>
                </a:lnTo>
                <a:lnTo>
                  <a:pt x="19" y="75"/>
                </a:lnTo>
                <a:lnTo>
                  <a:pt x="19" y="78"/>
                </a:lnTo>
                <a:lnTo>
                  <a:pt x="16" y="78"/>
                </a:lnTo>
                <a:lnTo>
                  <a:pt x="13" y="78"/>
                </a:lnTo>
                <a:lnTo>
                  <a:pt x="13" y="81"/>
                </a:lnTo>
                <a:lnTo>
                  <a:pt x="10" y="88"/>
                </a:lnTo>
                <a:lnTo>
                  <a:pt x="10" y="91"/>
                </a:lnTo>
                <a:lnTo>
                  <a:pt x="7" y="91"/>
                </a:lnTo>
                <a:lnTo>
                  <a:pt x="3" y="94"/>
                </a:lnTo>
                <a:lnTo>
                  <a:pt x="0" y="94"/>
                </a:lnTo>
                <a:lnTo>
                  <a:pt x="0" y="97"/>
                </a:lnTo>
                <a:lnTo>
                  <a:pt x="0" y="100"/>
                </a:lnTo>
                <a:lnTo>
                  <a:pt x="0" y="103"/>
                </a:lnTo>
                <a:lnTo>
                  <a:pt x="0" y="107"/>
                </a:lnTo>
                <a:lnTo>
                  <a:pt x="0" y="110"/>
                </a:lnTo>
                <a:lnTo>
                  <a:pt x="0" y="113"/>
                </a:lnTo>
                <a:lnTo>
                  <a:pt x="0" y="113"/>
                </a:lnTo>
                <a:lnTo>
                  <a:pt x="0" y="116"/>
                </a:lnTo>
                <a:lnTo>
                  <a:pt x="0" y="116"/>
                </a:lnTo>
                <a:lnTo>
                  <a:pt x="0" y="119"/>
                </a:lnTo>
                <a:lnTo>
                  <a:pt x="0" y="128"/>
                </a:lnTo>
                <a:lnTo>
                  <a:pt x="0" y="132"/>
                </a:lnTo>
                <a:lnTo>
                  <a:pt x="0" y="135"/>
                </a:lnTo>
                <a:lnTo>
                  <a:pt x="0" y="144"/>
                </a:lnTo>
                <a:lnTo>
                  <a:pt x="0" y="147"/>
                </a:lnTo>
                <a:lnTo>
                  <a:pt x="10" y="150"/>
                </a:lnTo>
                <a:lnTo>
                  <a:pt x="16" y="147"/>
                </a:lnTo>
                <a:lnTo>
                  <a:pt x="28" y="153"/>
                </a:lnTo>
                <a:lnTo>
                  <a:pt x="38" y="163"/>
                </a:lnTo>
                <a:lnTo>
                  <a:pt x="41" y="172"/>
                </a:lnTo>
                <a:lnTo>
                  <a:pt x="41" y="178"/>
                </a:lnTo>
                <a:lnTo>
                  <a:pt x="44" y="178"/>
                </a:lnTo>
                <a:lnTo>
                  <a:pt x="47" y="188"/>
                </a:lnTo>
                <a:lnTo>
                  <a:pt x="50" y="191"/>
                </a:lnTo>
                <a:lnTo>
                  <a:pt x="60" y="194"/>
                </a:lnTo>
                <a:lnTo>
                  <a:pt x="79" y="191"/>
                </a:lnTo>
                <a:lnTo>
                  <a:pt x="82" y="191"/>
                </a:lnTo>
                <a:lnTo>
                  <a:pt x="85" y="191"/>
                </a:lnTo>
                <a:lnTo>
                  <a:pt x="94" y="188"/>
                </a:lnTo>
                <a:lnTo>
                  <a:pt x="97" y="188"/>
                </a:lnTo>
                <a:lnTo>
                  <a:pt x="100" y="188"/>
                </a:lnTo>
                <a:lnTo>
                  <a:pt x="104" y="182"/>
                </a:lnTo>
                <a:lnTo>
                  <a:pt x="107" y="185"/>
                </a:lnTo>
                <a:lnTo>
                  <a:pt x="110" y="185"/>
                </a:lnTo>
                <a:lnTo>
                  <a:pt x="110" y="185"/>
                </a:lnTo>
                <a:lnTo>
                  <a:pt x="110" y="182"/>
                </a:lnTo>
                <a:lnTo>
                  <a:pt x="113" y="175"/>
                </a:lnTo>
                <a:lnTo>
                  <a:pt x="116" y="172"/>
                </a:lnTo>
                <a:lnTo>
                  <a:pt x="116" y="166"/>
                </a:lnTo>
                <a:lnTo>
                  <a:pt x="116" y="163"/>
                </a:lnTo>
                <a:lnTo>
                  <a:pt x="116" y="163"/>
                </a:lnTo>
                <a:lnTo>
                  <a:pt x="116" y="160"/>
                </a:lnTo>
                <a:lnTo>
                  <a:pt x="119" y="157"/>
                </a:lnTo>
                <a:lnTo>
                  <a:pt x="125" y="153"/>
                </a:lnTo>
                <a:lnTo>
                  <a:pt x="125" y="150"/>
                </a:lnTo>
                <a:lnTo>
                  <a:pt x="132" y="147"/>
                </a:lnTo>
                <a:lnTo>
                  <a:pt x="132" y="144"/>
                </a:lnTo>
                <a:lnTo>
                  <a:pt x="132" y="141"/>
                </a:lnTo>
                <a:lnTo>
                  <a:pt x="138" y="141"/>
                </a:lnTo>
                <a:lnTo>
                  <a:pt x="138" y="138"/>
                </a:lnTo>
                <a:lnTo>
                  <a:pt x="138" y="138"/>
                </a:lnTo>
                <a:lnTo>
                  <a:pt x="144" y="141"/>
                </a:lnTo>
                <a:lnTo>
                  <a:pt x="147" y="141"/>
                </a:lnTo>
                <a:lnTo>
                  <a:pt x="150" y="144"/>
                </a:lnTo>
                <a:lnTo>
                  <a:pt x="154" y="147"/>
                </a:lnTo>
                <a:lnTo>
                  <a:pt x="157" y="150"/>
                </a:lnTo>
                <a:lnTo>
                  <a:pt x="157" y="150"/>
                </a:lnTo>
                <a:lnTo>
                  <a:pt x="163" y="147"/>
                </a:lnTo>
                <a:lnTo>
                  <a:pt x="166" y="144"/>
                </a:lnTo>
                <a:lnTo>
                  <a:pt x="166" y="141"/>
                </a:lnTo>
                <a:lnTo>
                  <a:pt x="166" y="138"/>
                </a:lnTo>
                <a:lnTo>
                  <a:pt x="169" y="138"/>
                </a:lnTo>
                <a:lnTo>
                  <a:pt x="172" y="135"/>
                </a:lnTo>
                <a:lnTo>
                  <a:pt x="172" y="132"/>
                </a:lnTo>
                <a:lnTo>
                  <a:pt x="172" y="128"/>
                </a:lnTo>
                <a:lnTo>
                  <a:pt x="179" y="122"/>
                </a:lnTo>
                <a:lnTo>
                  <a:pt x="179" y="119"/>
                </a:lnTo>
                <a:lnTo>
                  <a:pt x="179" y="116"/>
                </a:lnTo>
                <a:lnTo>
                  <a:pt x="182" y="113"/>
                </a:lnTo>
                <a:lnTo>
                  <a:pt x="185" y="107"/>
                </a:lnTo>
                <a:lnTo>
                  <a:pt x="191" y="103"/>
                </a:lnTo>
                <a:lnTo>
                  <a:pt x="191" y="100"/>
                </a:lnTo>
                <a:lnTo>
                  <a:pt x="191" y="97"/>
                </a:lnTo>
                <a:lnTo>
                  <a:pt x="191" y="91"/>
                </a:lnTo>
                <a:lnTo>
                  <a:pt x="194" y="88"/>
                </a:lnTo>
                <a:lnTo>
                  <a:pt x="200" y="88"/>
                </a:lnTo>
                <a:lnTo>
                  <a:pt x="204" y="81"/>
                </a:lnTo>
                <a:lnTo>
                  <a:pt x="204" y="78"/>
                </a:lnTo>
                <a:lnTo>
                  <a:pt x="204" y="72"/>
                </a:lnTo>
                <a:lnTo>
                  <a:pt x="204" y="69"/>
                </a:lnTo>
                <a:lnTo>
                  <a:pt x="204" y="66"/>
                </a:lnTo>
                <a:lnTo>
                  <a:pt x="207" y="60"/>
                </a:lnTo>
                <a:lnTo>
                  <a:pt x="210" y="56"/>
                </a:lnTo>
                <a:lnTo>
                  <a:pt x="210" y="56"/>
                </a:lnTo>
                <a:lnTo>
                  <a:pt x="213" y="53"/>
                </a:lnTo>
                <a:lnTo>
                  <a:pt x="216" y="53"/>
                </a:lnTo>
                <a:lnTo>
                  <a:pt x="219" y="50"/>
                </a:lnTo>
                <a:lnTo>
                  <a:pt x="222" y="47"/>
                </a:lnTo>
                <a:lnTo>
                  <a:pt x="225" y="47"/>
                </a:lnTo>
                <a:lnTo>
                  <a:pt x="222" y="41"/>
                </a:lnTo>
                <a:lnTo>
                  <a:pt x="222" y="38"/>
                </a:lnTo>
                <a:lnTo>
                  <a:pt x="222" y="35"/>
                </a:lnTo>
                <a:lnTo>
                  <a:pt x="219" y="35"/>
                </a:lnTo>
                <a:lnTo>
                  <a:pt x="216" y="31"/>
                </a:lnTo>
                <a:lnTo>
                  <a:pt x="216" y="25"/>
                </a:lnTo>
                <a:lnTo>
                  <a:pt x="216" y="22"/>
                </a:lnTo>
                <a:lnTo>
                  <a:pt x="213" y="16"/>
                </a:lnTo>
                <a:lnTo>
                  <a:pt x="213" y="1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5" name="Freeform 133">
            <a:extLst>
              <a:ext uri="{FF2B5EF4-FFF2-40B4-BE49-F238E27FC236}">
                <a16:creationId xmlns:a16="http://schemas.microsoft.com/office/drawing/2014/main" id="{68D6163C-0D54-0E2F-2FAB-5AFDAEABC7D5}"/>
              </a:ext>
            </a:extLst>
          </p:cNvPr>
          <p:cNvSpPr>
            <a:spLocks/>
          </p:cNvSpPr>
          <p:nvPr userDrawn="1"/>
        </p:nvSpPr>
        <p:spPr bwMode="auto">
          <a:xfrm>
            <a:off x="13565890" y="9356009"/>
            <a:ext cx="19049" cy="19050"/>
          </a:xfrm>
          <a:custGeom>
            <a:avLst/>
            <a:gdLst>
              <a:gd name="T0" fmla="*/ 0 w 6"/>
              <a:gd name="T1" fmla="*/ 6 h 6"/>
              <a:gd name="T2" fmla="*/ 0 w 6"/>
              <a:gd name="T3" fmla="*/ 3 h 6"/>
              <a:gd name="T4" fmla="*/ 3 w 6"/>
              <a:gd name="T5" fmla="*/ 0 h 6"/>
              <a:gd name="T6" fmla="*/ 6 w 6"/>
              <a:gd name="T7" fmla="*/ 3 h 6"/>
              <a:gd name="T8" fmla="*/ 3 w 6"/>
              <a:gd name="T9" fmla="*/ 6 h 6"/>
              <a:gd name="T10" fmla="*/ 3 w 6"/>
              <a:gd name="T11" fmla="*/ 6 h 6"/>
              <a:gd name="T12" fmla="*/ 0 w 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0" y="6"/>
                </a:moveTo>
                <a:lnTo>
                  <a:pt x="0" y="3"/>
                </a:lnTo>
                <a:lnTo>
                  <a:pt x="3" y="0"/>
                </a:lnTo>
                <a:lnTo>
                  <a:pt x="6" y="3"/>
                </a:lnTo>
                <a:lnTo>
                  <a:pt x="3" y="6"/>
                </a:lnTo>
                <a:lnTo>
                  <a:pt x="3" y="6"/>
                </a:lnTo>
                <a:lnTo>
                  <a:pt x="0" y="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6" name="Freeform 134">
            <a:extLst>
              <a:ext uri="{FF2B5EF4-FFF2-40B4-BE49-F238E27FC236}">
                <a16:creationId xmlns:a16="http://schemas.microsoft.com/office/drawing/2014/main" id="{87E5841B-3162-DD42-A2CB-B9D2A1014310}"/>
              </a:ext>
            </a:extLst>
          </p:cNvPr>
          <p:cNvSpPr>
            <a:spLocks/>
          </p:cNvSpPr>
          <p:nvPr userDrawn="1"/>
        </p:nvSpPr>
        <p:spPr bwMode="auto">
          <a:xfrm>
            <a:off x="13686531" y="9136930"/>
            <a:ext cx="28574" cy="50800"/>
          </a:xfrm>
          <a:custGeom>
            <a:avLst/>
            <a:gdLst>
              <a:gd name="T0" fmla="*/ 0 w 9"/>
              <a:gd name="T1" fmla="*/ 13 h 16"/>
              <a:gd name="T2" fmla="*/ 0 w 9"/>
              <a:gd name="T3" fmla="*/ 10 h 16"/>
              <a:gd name="T4" fmla="*/ 3 w 9"/>
              <a:gd name="T5" fmla="*/ 10 h 16"/>
              <a:gd name="T6" fmla="*/ 3 w 9"/>
              <a:gd name="T7" fmla="*/ 3 h 16"/>
              <a:gd name="T8" fmla="*/ 9 w 9"/>
              <a:gd name="T9" fmla="*/ 0 h 16"/>
              <a:gd name="T10" fmla="*/ 9 w 9"/>
              <a:gd name="T11" fmla="*/ 0 h 16"/>
              <a:gd name="T12" fmla="*/ 9 w 9"/>
              <a:gd name="T13" fmla="*/ 7 h 16"/>
              <a:gd name="T14" fmla="*/ 6 w 9"/>
              <a:gd name="T15" fmla="*/ 16 h 16"/>
              <a:gd name="T16" fmla="*/ 3 w 9"/>
              <a:gd name="T17" fmla="*/ 13 h 16"/>
              <a:gd name="T18" fmla="*/ 0 w 9"/>
              <a:gd name="T19"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6">
                <a:moveTo>
                  <a:pt x="0" y="13"/>
                </a:moveTo>
                <a:lnTo>
                  <a:pt x="0" y="10"/>
                </a:lnTo>
                <a:lnTo>
                  <a:pt x="3" y="10"/>
                </a:lnTo>
                <a:lnTo>
                  <a:pt x="3" y="3"/>
                </a:lnTo>
                <a:lnTo>
                  <a:pt x="9" y="0"/>
                </a:lnTo>
                <a:lnTo>
                  <a:pt x="9" y="0"/>
                </a:lnTo>
                <a:lnTo>
                  <a:pt x="9" y="7"/>
                </a:lnTo>
                <a:lnTo>
                  <a:pt x="6" y="16"/>
                </a:lnTo>
                <a:lnTo>
                  <a:pt x="3" y="13"/>
                </a:lnTo>
                <a:lnTo>
                  <a:pt x="0" y="13"/>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7" name="Freeform 135">
            <a:extLst>
              <a:ext uri="{FF2B5EF4-FFF2-40B4-BE49-F238E27FC236}">
                <a16:creationId xmlns:a16="http://schemas.microsoft.com/office/drawing/2014/main" id="{BDEEEF07-47B2-25A7-7546-DAE48128F2D7}"/>
              </a:ext>
            </a:extLst>
          </p:cNvPr>
          <p:cNvSpPr>
            <a:spLocks/>
          </p:cNvSpPr>
          <p:nvPr userDrawn="1"/>
        </p:nvSpPr>
        <p:spPr bwMode="auto">
          <a:xfrm>
            <a:off x="13705581" y="8552732"/>
            <a:ext cx="466696" cy="714376"/>
          </a:xfrm>
          <a:custGeom>
            <a:avLst/>
            <a:gdLst>
              <a:gd name="T0" fmla="*/ 3 w 147"/>
              <a:gd name="T1" fmla="*/ 159 h 225"/>
              <a:gd name="T2" fmla="*/ 6 w 147"/>
              <a:gd name="T3" fmla="*/ 147 h 225"/>
              <a:gd name="T4" fmla="*/ 9 w 147"/>
              <a:gd name="T5" fmla="*/ 141 h 225"/>
              <a:gd name="T6" fmla="*/ 22 w 147"/>
              <a:gd name="T7" fmla="*/ 131 h 225"/>
              <a:gd name="T8" fmla="*/ 28 w 147"/>
              <a:gd name="T9" fmla="*/ 125 h 225"/>
              <a:gd name="T10" fmla="*/ 34 w 147"/>
              <a:gd name="T11" fmla="*/ 125 h 225"/>
              <a:gd name="T12" fmla="*/ 44 w 147"/>
              <a:gd name="T13" fmla="*/ 131 h 225"/>
              <a:gd name="T14" fmla="*/ 53 w 147"/>
              <a:gd name="T15" fmla="*/ 131 h 225"/>
              <a:gd name="T16" fmla="*/ 56 w 147"/>
              <a:gd name="T17" fmla="*/ 122 h 225"/>
              <a:gd name="T18" fmla="*/ 62 w 147"/>
              <a:gd name="T19" fmla="*/ 116 h 225"/>
              <a:gd name="T20" fmla="*/ 69 w 147"/>
              <a:gd name="T21" fmla="*/ 103 h 225"/>
              <a:gd name="T22" fmla="*/ 75 w 147"/>
              <a:gd name="T23" fmla="*/ 91 h 225"/>
              <a:gd name="T24" fmla="*/ 81 w 147"/>
              <a:gd name="T25" fmla="*/ 81 h 225"/>
              <a:gd name="T26" fmla="*/ 90 w 147"/>
              <a:gd name="T27" fmla="*/ 72 h 225"/>
              <a:gd name="T28" fmla="*/ 94 w 147"/>
              <a:gd name="T29" fmla="*/ 56 h 225"/>
              <a:gd name="T30" fmla="*/ 97 w 147"/>
              <a:gd name="T31" fmla="*/ 44 h 225"/>
              <a:gd name="T32" fmla="*/ 103 w 147"/>
              <a:gd name="T33" fmla="*/ 37 h 225"/>
              <a:gd name="T34" fmla="*/ 112 w 147"/>
              <a:gd name="T35" fmla="*/ 31 h 225"/>
              <a:gd name="T36" fmla="*/ 112 w 147"/>
              <a:gd name="T37" fmla="*/ 22 h 225"/>
              <a:gd name="T38" fmla="*/ 106 w 147"/>
              <a:gd name="T39" fmla="*/ 15 h 225"/>
              <a:gd name="T40" fmla="*/ 103 w 147"/>
              <a:gd name="T41" fmla="*/ 0 h 225"/>
              <a:gd name="T42" fmla="*/ 119 w 147"/>
              <a:gd name="T43" fmla="*/ 15 h 225"/>
              <a:gd name="T44" fmla="*/ 125 w 147"/>
              <a:gd name="T45" fmla="*/ 25 h 225"/>
              <a:gd name="T46" fmla="*/ 122 w 147"/>
              <a:gd name="T47" fmla="*/ 34 h 225"/>
              <a:gd name="T48" fmla="*/ 122 w 147"/>
              <a:gd name="T49" fmla="*/ 44 h 225"/>
              <a:gd name="T50" fmla="*/ 128 w 147"/>
              <a:gd name="T51" fmla="*/ 53 h 225"/>
              <a:gd name="T52" fmla="*/ 134 w 147"/>
              <a:gd name="T53" fmla="*/ 62 h 225"/>
              <a:gd name="T54" fmla="*/ 128 w 147"/>
              <a:gd name="T55" fmla="*/ 62 h 225"/>
              <a:gd name="T56" fmla="*/ 119 w 147"/>
              <a:gd name="T57" fmla="*/ 62 h 225"/>
              <a:gd name="T58" fmla="*/ 109 w 147"/>
              <a:gd name="T59" fmla="*/ 62 h 225"/>
              <a:gd name="T60" fmla="*/ 106 w 147"/>
              <a:gd name="T61" fmla="*/ 65 h 225"/>
              <a:gd name="T62" fmla="*/ 109 w 147"/>
              <a:gd name="T63" fmla="*/ 75 h 225"/>
              <a:gd name="T64" fmla="*/ 119 w 147"/>
              <a:gd name="T65" fmla="*/ 84 h 225"/>
              <a:gd name="T66" fmla="*/ 134 w 147"/>
              <a:gd name="T67" fmla="*/ 100 h 225"/>
              <a:gd name="T68" fmla="*/ 134 w 147"/>
              <a:gd name="T69" fmla="*/ 112 h 225"/>
              <a:gd name="T70" fmla="*/ 125 w 147"/>
              <a:gd name="T71" fmla="*/ 125 h 225"/>
              <a:gd name="T72" fmla="*/ 115 w 147"/>
              <a:gd name="T73" fmla="*/ 137 h 225"/>
              <a:gd name="T74" fmla="*/ 115 w 147"/>
              <a:gd name="T75" fmla="*/ 150 h 225"/>
              <a:gd name="T76" fmla="*/ 119 w 147"/>
              <a:gd name="T77" fmla="*/ 162 h 225"/>
              <a:gd name="T78" fmla="*/ 125 w 147"/>
              <a:gd name="T79" fmla="*/ 175 h 225"/>
              <a:gd name="T80" fmla="*/ 134 w 147"/>
              <a:gd name="T81" fmla="*/ 191 h 225"/>
              <a:gd name="T82" fmla="*/ 147 w 147"/>
              <a:gd name="T83" fmla="*/ 203 h 225"/>
              <a:gd name="T84" fmla="*/ 147 w 147"/>
              <a:gd name="T85" fmla="*/ 213 h 225"/>
              <a:gd name="T86" fmla="*/ 147 w 147"/>
              <a:gd name="T87" fmla="*/ 216 h 225"/>
              <a:gd name="T88" fmla="*/ 144 w 147"/>
              <a:gd name="T89" fmla="*/ 225 h 225"/>
              <a:gd name="T90" fmla="*/ 140 w 147"/>
              <a:gd name="T91" fmla="*/ 225 h 225"/>
              <a:gd name="T92" fmla="*/ 137 w 147"/>
              <a:gd name="T93" fmla="*/ 225 h 225"/>
              <a:gd name="T94" fmla="*/ 128 w 147"/>
              <a:gd name="T95" fmla="*/ 222 h 225"/>
              <a:gd name="T96" fmla="*/ 125 w 147"/>
              <a:gd name="T97" fmla="*/ 222 h 225"/>
              <a:gd name="T98" fmla="*/ 119 w 147"/>
              <a:gd name="T99" fmla="*/ 222 h 225"/>
              <a:gd name="T100" fmla="*/ 115 w 147"/>
              <a:gd name="T101" fmla="*/ 222 h 225"/>
              <a:gd name="T102" fmla="*/ 84 w 147"/>
              <a:gd name="T103" fmla="*/ 219 h 225"/>
              <a:gd name="T104" fmla="*/ 78 w 147"/>
              <a:gd name="T105" fmla="*/ 219 h 225"/>
              <a:gd name="T106" fmla="*/ 72 w 147"/>
              <a:gd name="T107" fmla="*/ 219 h 225"/>
              <a:gd name="T108" fmla="*/ 62 w 147"/>
              <a:gd name="T109" fmla="*/ 216 h 225"/>
              <a:gd name="T110" fmla="*/ 53 w 147"/>
              <a:gd name="T111" fmla="*/ 219 h 225"/>
              <a:gd name="T112" fmla="*/ 50 w 147"/>
              <a:gd name="T113" fmla="*/ 219 h 225"/>
              <a:gd name="T114" fmla="*/ 25 w 147"/>
              <a:gd name="T115" fmla="*/ 219 h 225"/>
              <a:gd name="T116" fmla="*/ 22 w 147"/>
              <a:gd name="T117" fmla="*/ 213 h 225"/>
              <a:gd name="T118" fmla="*/ 19 w 147"/>
              <a:gd name="T119" fmla="*/ 194 h 225"/>
              <a:gd name="T120" fmla="*/ 19 w 147"/>
              <a:gd name="T121" fmla="*/ 181 h 225"/>
              <a:gd name="T122" fmla="*/ 6 w 147"/>
              <a:gd name="T123" fmla="*/ 181 h 225"/>
              <a:gd name="T124" fmla="*/ 0 w 147"/>
              <a:gd name="T125" fmla="*/ 169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7" h="225">
                <a:moveTo>
                  <a:pt x="0" y="169"/>
                </a:moveTo>
                <a:lnTo>
                  <a:pt x="0" y="166"/>
                </a:lnTo>
                <a:lnTo>
                  <a:pt x="3" y="159"/>
                </a:lnTo>
                <a:lnTo>
                  <a:pt x="6" y="156"/>
                </a:lnTo>
                <a:lnTo>
                  <a:pt x="6" y="150"/>
                </a:lnTo>
                <a:lnTo>
                  <a:pt x="6" y="147"/>
                </a:lnTo>
                <a:lnTo>
                  <a:pt x="6" y="147"/>
                </a:lnTo>
                <a:lnTo>
                  <a:pt x="6" y="144"/>
                </a:lnTo>
                <a:lnTo>
                  <a:pt x="9" y="141"/>
                </a:lnTo>
                <a:lnTo>
                  <a:pt x="15" y="137"/>
                </a:lnTo>
                <a:lnTo>
                  <a:pt x="15" y="134"/>
                </a:lnTo>
                <a:lnTo>
                  <a:pt x="22" y="131"/>
                </a:lnTo>
                <a:lnTo>
                  <a:pt x="22" y="128"/>
                </a:lnTo>
                <a:lnTo>
                  <a:pt x="22" y="125"/>
                </a:lnTo>
                <a:lnTo>
                  <a:pt x="28" y="125"/>
                </a:lnTo>
                <a:lnTo>
                  <a:pt x="28" y="122"/>
                </a:lnTo>
                <a:lnTo>
                  <a:pt x="28" y="122"/>
                </a:lnTo>
                <a:lnTo>
                  <a:pt x="34" y="125"/>
                </a:lnTo>
                <a:lnTo>
                  <a:pt x="37" y="125"/>
                </a:lnTo>
                <a:lnTo>
                  <a:pt x="40" y="128"/>
                </a:lnTo>
                <a:lnTo>
                  <a:pt x="44" y="131"/>
                </a:lnTo>
                <a:lnTo>
                  <a:pt x="47" y="134"/>
                </a:lnTo>
                <a:lnTo>
                  <a:pt x="47" y="134"/>
                </a:lnTo>
                <a:lnTo>
                  <a:pt x="53" y="131"/>
                </a:lnTo>
                <a:lnTo>
                  <a:pt x="56" y="128"/>
                </a:lnTo>
                <a:lnTo>
                  <a:pt x="56" y="125"/>
                </a:lnTo>
                <a:lnTo>
                  <a:pt x="56" y="122"/>
                </a:lnTo>
                <a:lnTo>
                  <a:pt x="59" y="122"/>
                </a:lnTo>
                <a:lnTo>
                  <a:pt x="62" y="119"/>
                </a:lnTo>
                <a:lnTo>
                  <a:pt x="62" y="116"/>
                </a:lnTo>
                <a:lnTo>
                  <a:pt x="62" y="112"/>
                </a:lnTo>
                <a:lnTo>
                  <a:pt x="69" y="106"/>
                </a:lnTo>
                <a:lnTo>
                  <a:pt x="69" y="103"/>
                </a:lnTo>
                <a:lnTo>
                  <a:pt x="69" y="100"/>
                </a:lnTo>
                <a:lnTo>
                  <a:pt x="72" y="97"/>
                </a:lnTo>
                <a:lnTo>
                  <a:pt x="75" y="91"/>
                </a:lnTo>
                <a:lnTo>
                  <a:pt x="81" y="87"/>
                </a:lnTo>
                <a:lnTo>
                  <a:pt x="81" y="84"/>
                </a:lnTo>
                <a:lnTo>
                  <a:pt x="81" y="81"/>
                </a:lnTo>
                <a:lnTo>
                  <a:pt x="81" y="75"/>
                </a:lnTo>
                <a:lnTo>
                  <a:pt x="84" y="72"/>
                </a:lnTo>
                <a:lnTo>
                  <a:pt x="90" y="72"/>
                </a:lnTo>
                <a:lnTo>
                  <a:pt x="94" y="65"/>
                </a:lnTo>
                <a:lnTo>
                  <a:pt x="94" y="62"/>
                </a:lnTo>
                <a:lnTo>
                  <a:pt x="94" y="56"/>
                </a:lnTo>
                <a:lnTo>
                  <a:pt x="94" y="53"/>
                </a:lnTo>
                <a:lnTo>
                  <a:pt x="94" y="50"/>
                </a:lnTo>
                <a:lnTo>
                  <a:pt x="97" y="44"/>
                </a:lnTo>
                <a:lnTo>
                  <a:pt x="100" y="40"/>
                </a:lnTo>
                <a:lnTo>
                  <a:pt x="100" y="40"/>
                </a:lnTo>
                <a:lnTo>
                  <a:pt x="103" y="37"/>
                </a:lnTo>
                <a:lnTo>
                  <a:pt x="106" y="37"/>
                </a:lnTo>
                <a:lnTo>
                  <a:pt x="109" y="34"/>
                </a:lnTo>
                <a:lnTo>
                  <a:pt x="112" y="31"/>
                </a:lnTo>
                <a:lnTo>
                  <a:pt x="115" y="31"/>
                </a:lnTo>
                <a:lnTo>
                  <a:pt x="112" y="25"/>
                </a:lnTo>
                <a:lnTo>
                  <a:pt x="112" y="22"/>
                </a:lnTo>
                <a:lnTo>
                  <a:pt x="112" y="19"/>
                </a:lnTo>
                <a:lnTo>
                  <a:pt x="109" y="19"/>
                </a:lnTo>
                <a:lnTo>
                  <a:pt x="106" y="15"/>
                </a:lnTo>
                <a:lnTo>
                  <a:pt x="106" y="9"/>
                </a:lnTo>
                <a:lnTo>
                  <a:pt x="106" y="6"/>
                </a:lnTo>
                <a:lnTo>
                  <a:pt x="103" y="0"/>
                </a:lnTo>
                <a:lnTo>
                  <a:pt x="112" y="6"/>
                </a:lnTo>
                <a:lnTo>
                  <a:pt x="119" y="9"/>
                </a:lnTo>
                <a:lnTo>
                  <a:pt x="119" y="15"/>
                </a:lnTo>
                <a:lnTo>
                  <a:pt x="122" y="19"/>
                </a:lnTo>
                <a:lnTo>
                  <a:pt x="122" y="22"/>
                </a:lnTo>
                <a:lnTo>
                  <a:pt x="125" y="25"/>
                </a:lnTo>
                <a:lnTo>
                  <a:pt x="125" y="28"/>
                </a:lnTo>
                <a:lnTo>
                  <a:pt x="122" y="31"/>
                </a:lnTo>
                <a:lnTo>
                  <a:pt x="122" y="34"/>
                </a:lnTo>
                <a:lnTo>
                  <a:pt x="125" y="34"/>
                </a:lnTo>
                <a:lnTo>
                  <a:pt x="125" y="40"/>
                </a:lnTo>
                <a:lnTo>
                  <a:pt x="122" y="44"/>
                </a:lnTo>
                <a:lnTo>
                  <a:pt x="122" y="47"/>
                </a:lnTo>
                <a:lnTo>
                  <a:pt x="125" y="53"/>
                </a:lnTo>
                <a:lnTo>
                  <a:pt x="128" y="53"/>
                </a:lnTo>
                <a:lnTo>
                  <a:pt x="128" y="56"/>
                </a:lnTo>
                <a:lnTo>
                  <a:pt x="134" y="62"/>
                </a:lnTo>
                <a:lnTo>
                  <a:pt x="134" y="62"/>
                </a:lnTo>
                <a:lnTo>
                  <a:pt x="134" y="62"/>
                </a:lnTo>
                <a:lnTo>
                  <a:pt x="131" y="62"/>
                </a:lnTo>
                <a:lnTo>
                  <a:pt x="128" y="62"/>
                </a:lnTo>
                <a:lnTo>
                  <a:pt x="125" y="62"/>
                </a:lnTo>
                <a:lnTo>
                  <a:pt x="122" y="62"/>
                </a:lnTo>
                <a:lnTo>
                  <a:pt x="119" y="62"/>
                </a:lnTo>
                <a:lnTo>
                  <a:pt x="115" y="62"/>
                </a:lnTo>
                <a:lnTo>
                  <a:pt x="112" y="62"/>
                </a:lnTo>
                <a:lnTo>
                  <a:pt x="109" y="62"/>
                </a:lnTo>
                <a:lnTo>
                  <a:pt x="106" y="62"/>
                </a:lnTo>
                <a:lnTo>
                  <a:pt x="106" y="65"/>
                </a:lnTo>
                <a:lnTo>
                  <a:pt x="106" y="65"/>
                </a:lnTo>
                <a:lnTo>
                  <a:pt x="106" y="72"/>
                </a:lnTo>
                <a:lnTo>
                  <a:pt x="106" y="72"/>
                </a:lnTo>
                <a:lnTo>
                  <a:pt x="109" y="75"/>
                </a:lnTo>
                <a:lnTo>
                  <a:pt x="109" y="75"/>
                </a:lnTo>
                <a:lnTo>
                  <a:pt x="112" y="78"/>
                </a:lnTo>
                <a:lnTo>
                  <a:pt x="119" y="84"/>
                </a:lnTo>
                <a:lnTo>
                  <a:pt x="128" y="91"/>
                </a:lnTo>
                <a:lnTo>
                  <a:pt x="131" y="94"/>
                </a:lnTo>
                <a:lnTo>
                  <a:pt x="134" y="100"/>
                </a:lnTo>
                <a:lnTo>
                  <a:pt x="137" y="103"/>
                </a:lnTo>
                <a:lnTo>
                  <a:pt x="137" y="109"/>
                </a:lnTo>
                <a:lnTo>
                  <a:pt x="134" y="112"/>
                </a:lnTo>
                <a:lnTo>
                  <a:pt x="131" y="116"/>
                </a:lnTo>
                <a:lnTo>
                  <a:pt x="128" y="119"/>
                </a:lnTo>
                <a:lnTo>
                  <a:pt x="125" y="125"/>
                </a:lnTo>
                <a:lnTo>
                  <a:pt x="122" y="131"/>
                </a:lnTo>
                <a:lnTo>
                  <a:pt x="119" y="134"/>
                </a:lnTo>
                <a:lnTo>
                  <a:pt x="115" y="137"/>
                </a:lnTo>
                <a:lnTo>
                  <a:pt x="115" y="141"/>
                </a:lnTo>
                <a:lnTo>
                  <a:pt x="115" y="144"/>
                </a:lnTo>
                <a:lnTo>
                  <a:pt x="115" y="150"/>
                </a:lnTo>
                <a:lnTo>
                  <a:pt x="115" y="153"/>
                </a:lnTo>
                <a:lnTo>
                  <a:pt x="119" y="159"/>
                </a:lnTo>
                <a:lnTo>
                  <a:pt x="119" y="162"/>
                </a:lnTo>
                <a:lnTo>
                  <a:pt x="119" y="172"/>
                </a:lnTo>
                <a:lnTo>
                  <a:pt x="119" y="172"/>
                </a:lnTo>
                <a:lnTo>
                  <a:pt x="125" y="175"/>
                </a:lnTo>
                <a:lnTo>
                  <a:pt x="128" y="178"/>
                </a:lnTo>
                <a:lnTo>
                  <a:pt x="131" y="184"/>
                </a:lnTo>
                <a:lnTo>
                  <a:pt x="134" y="191"/>
                </a:lnTo>
                <a:lnTo>
                  <a:pt x="137" y="197"/>
                </a:lnTo>
                <a:lnTo>
                  <a:pt x="140" y="197"/>
                </a:lnTo>
                <a:lnTo>
                  <a:pt x="147" y="203"/>
                </a:lnTo>
                <a:lnTo>
                  <a:pt x="147" y="206"/>
                </a:lnTo>
                <a:lnTo>
                  <a:pt x="147" y="209"/>
                </a:lnTo>
                <a:lnTo>
                  <a:pt x="147" y="213"/>
                </a:lnTo>
                <a:lnTo>
                  <a:pt x="147" y="213"/>
                </a:lnTo>
                <a:lnTo>
                  <a:pt x="147" y="213"/>
                </a:lnTo>
                <a:lnTo>
                  <a:pt x="147" y="216"/>
                </a:lnTo>
                <a:lnTo>
                  <a:pt x="144" y="219"/>
                </a:lnTo>
                <a:lnTo>
                  <a:pt x="144" y="219"/>
                </a:lnTo>
                <a:lnTo>
                  <a:pt x="144" y="225"/>
                </a:lnTo>
                <a:lnTo>
                  <a:pt x="144" y="225"/>
                </a:lnTo>
                <a:lnTo>
                  <a:pt x="144" y="225"/>
                </a:lnTo>
                <a:lnTo>
                  <a:pt x="140" y="225"/>
                </a:lnTo>
                <a:lnTo>
                  <a:pt x="140" y="225"/>
                </a:lnTo>
                <a:lnTo>
                  <a:pt x="137" y="225"/>
                </a:lnTo>
                <a:lnTo>
                  <a:pt x="137" y="225"/>
                </a:lnTo>
                <a:lnTo>
                  <a:pt x="134" y="225"/>
                </a:lnTo>
                <a:lnTo>
                  <a:pt x="131" y="225"/>
                </a:lnTo>
                <a:lnTo>
                  <a:pt x="128" y="222"/>
                </a:lnTo>
                <a:lnTo>
                  <a:pt x="128" y="222"/>
                </a:lnTo>
                <a:lnTo>
                  <a:pt x="125" y="222"/>
                </a:lnTo>
                <a:lnTo>
                  <a:pt x="125" y="222"/>
                </a:lnTo>
                <a:lnTo>
                  <a:pt x="122" y="222"/>
                </a:lnTo>
                <a:lnTo>
                  <a:pt x="122" y="222"/>
                </a:lnTo>
                <a:lnTo>
                  <a:pt x="119" y="222"/>
                </a:lnTo>
                <a:lnTo>
                  <a:pt x="115" y="219"/>
                </a:lnTo>
                <a:lnTo>
                  <a:pt x="115" y="219"/>
                </a:lnTo>
                <a:lnTo>
                  <a:pt x="115" y="222"/>
                </a:lnTo>
                <a:lnTo>
                  <a:pt x="112" y="219"/>
                </a:lnTo>
                <a:lnTo>
                  <a:pt x="87" y="219"/>
                </a:lnTo>
                <a:lnTo>
                  <a:pt x="84" y="219"/>
                </a:lnTo>
                <a:lnTo>
                  <a:pt x="84" y="219"/>
                </a:lnTo>
                <a:lnTo>
                  <a:pt x="84" y="219"/>
                </a:lnTo>
                <a:lnTo>
                  <a:pt x="78" y="219"/>
                </a:lnTo>
                <a:lnTo>
                  <a:pt x="78" y="216"/>
                </a:lnTo>
                <a:lnTo>
                  <a:pt x="75" y="216"/>
                </a:lnTo>
                <a:lnTo>
                  <a:pt x="72" y="219"/>
                </a:lnTo>
                <a:lnTo>
                  <a:pt x="69" y="216"/>
                </a:lnTo>
                <a:lnTo>
                  <a:pt x="62" y="216"/>
                </a:lnTo>
                <a:lnTo>
                  <a:pt x="62" y="216"/>
                </a:lnTo>
                <a:lnTo>
                  <a:pt x="56" y="216"/>
                </a:lnTo>
                <a:lnTo>
                  <a:pt x="56" y="219"/>
                </a:lnTo>
                <a:lnTo>
                  <a:pt x="53" y="219"/>
                </a:lnTo>
                <a:lnTo>
                  <a:pt x="50" y="219"/>
                </a:lnTo>
                <a:lnTo>
                  <a:pt x="50" y="219"/>
                </a:lnTo>
                <a:lnTo>
                  <a:pt x="50" y="219"/>
                </a:lnTo>
                <a:lnTo>
                  <a:pt x="28" y="219"/>
                </a:lnTo>
                <a:lnTo>
                  <a:pt x="25" y="219"/>
                </a:lnTo>
                <a:lnTo>
                  <a:pt x="25" y="219"/>
                </a:lnTo>
                <a:lnTo>
                  <a:pt x="22" y="219"/>
                </a:lnTo>
                <a:lnTo>
                  <a:pt x="25" y="216"/>
                </a:lnTo>
                <a:lnTo>
                  <a:pt x="22" y="213"/>
                </a:lnTo>
                <a:lnTo>
                  <a:pt x="25" y="206"/>
                </a:lnTo>
                <a:lnTo>
                  <a:pt x="22" y="200"/>
                </a:lnTo>
                <a:lnTo>
                  <a:pt x="19" y="194"/>
                </a:lnTo>
                <a:lnTo>
                  <a:pt x="19" y="187"/>
                </a:lnTo>
                <a:lnTo>
                  <a:pt x="22" y="184"/>
                </a:lnTo>
                <a:lnTo>
                  <a:pt x="19" y="181"/>
                </a:lnTo>
                <a:lnTo>
                  <a:pt x="12" y="184"/>
                </a:lnTo>
                <a:lnTo>
                  <a:pt x="9" y="181"/>
                </a:lnTo>
                <a:lnTo>
                  <a:pt x="6" y="181"/>
                </a:lnTo>
                <a:lnTo>
                  <a:pt x="6" y="169"/>
                </a:lnTo>
                <a:lnTo>
                  <a:pt x="3" y="172"/>
                </a:lnTo>
                <a:lnTo>
                  <a:pt x="0" y="16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8" name="Freeform 136">
            <a:extLst>
              <a:ext uri="{FF2B5EF4-FFF2-40B4-BE49-F238E27FC236}">
                <a16:creationId xmlns:a16="http://schemas.microsoft.com/office/drawing/2014/main" id="{5750FE4B-144F-4393-8D4B-31B30F8722CB}"/>
              </a:ext>
            </a:extLst>
          </p:cNvPr>
          <p:cNvSpPr>
            <a:spLocks/>
          </p:cNvSpPr>
          <p:nvPr userDrawn="1"/>
        </p:nvSpPr>
        <p:spPr bwMode="auto">
          <a:xfrm>
            <a:off x="13705578" y="9238533"/>
            <a:ext cx="355577" cy="387350"/>
          </a:xfrm>
          <a:custGeom>
            <a:avLst/>
            <a:gdLst>
              <a:gd name="T0" fmla="*/ 50 w 112"/>
              <a:gd name="T1" fmla="*/ 3 h 122"/>
              <a:gd name="T2" fmla="*/ 56 w 112"/>
              <a:gd name="T3" fmla="*/ 3 h 122"/>
              <a:gd name="T4" fmla="*/ 62 w 112"/>
              <a:gd name="T5" fmla="*/ 0 h 122"/>
              <a:gd name="T6" fmla="*/ 69 w 112"/>
              <a:gd name="T7" fmla="*/ 0 h 122"/>
              <a:gd name="T8" fmla="*/ 75 w 112"/>
              <a:gd name="T9" fmla="*/ 0 h 122"/>
              <a:gd name="T10" fmla="*/ 78 w 112"/>
              <a:gd name="T11" fmla="*/ 3 h 122"/>
              <a:gd name="T12" fmla="*/ 84 w 112"/>
              <a:gd name="T13" fmla="*/ 3 h 122"/>
              <a:gd name="T14" fmla="*/ 87 w 112"/>
              <a:gd name="T15" fmla="*/ 3 h 122"/>
              <a:gd name="T16" fmla="*/ 84 w 112"/>
              <a:gd name="T17" fmla="*/ 6 h 122"/>
              <a:gd name="T18" fmla="*/ 87 w 112"/>
              <a:gd name="T19" fmla="*/ 15 h 122"/>
              <a:gd name="T20" fmla="*/ 87 w 112"/>
              <a:gd name="T21" fmla="*/ 22 h 122"/>
              <a:gd name="T22" fmla="*/ 90 w 112"/>
              <a:gd name="T23" fmla="*/ 22 h 122"/>
              <a:gd name="T24" fmla="*/ 100 w 112"/>
              <a:gd name="T25" fmla="*/ 22 h 122"/>
              <a:gd name="T26" fmla="*/ 109 w 112"/>
              <a:gd name="T27" fmla="*/ 18 h 122"/>
              <a:gd name="T28" fmla="*/ 112 w 112"/>
              <a:gd name="T29" fmla="*/ 25 h 122"/>
              <a:gd name="T30" fmla="*/ 112 w 112"/>
              <a:gd name="T31" fmla="*/ 31 h 122"/>
              <a:gd name="T32" fmla="*/ 109 w 112"/>
              <a:gd name="T33" fmla="*/ 34 h 122"/>
              <a:gd name="T34" fmla="*/ 103 w 112"/>
              <a:gd name="T35" fmla="*/ 40 h 122"/>
              <a:gd name="T36" fmla="*/ 106 w 112"/>
              <a:gd name="T37" fmla="*/ 43 h 122"/>
              <a:gd name="T38" fmla="*/ 103 w 112"/>
              <a:gd name="T39" fmla="*/ 47 h 122"/>
              <a:gd name="T40" fmla="*/ 100 w 112"/>
              <a:gd name="T41" fmla="*/ 47 h 122"/>
              <a:gd name="T42" fmla="*/ 103 w 112"/>
              <a:gd name="T43" fmla="*/ 50 h 122"/>
              <a:gd name="T44" fmla="*/ 106 w 112"/>
              <a:gd name="T45" fmla="*/ 53 h 122"/>
              <a:gd name="T46" fmla="*/ 109 w 112"/>
              <a:gd name="T47" fmla="*/ 59 h 122"/>
              <a:gd name="T48" fmla="*/ 112 w 112"/>
              <a:gd name="T49" fmla="*/ 65 h 122"/>
              <a:gd name="T50" fmla="*/ 106 w 112"/>
              <a:gd name="T51" fmla="*/ 87 h 122"/>
              <a:gd name="T52" fmla="*/ 106 w 112"/>
              <a:gd name="T53" fmla="*/ 93 h 122"/>
              <a:gd name="T54" fmla="*/ 103 w 112"/>
              <a:gd name="T55" fmla="*/ 90 h 122"/>
              <a:gd name="T56" fmla="*/ 94 w 112"/>
              <a:gd name="T57" fmla="*/ 90 h 122"/>
              <a:gd name="T58" fmla="*/ 90 w 112"/>
              <a:gd name="T59" fmla="*/ 90 h 122"/>
              <a:gd name="T60" fmla="*/ 81 w 112"/>
              <a:gd name="T61" fmla="*/ 90 h 122"/>
              <a:gd name="T62" fmla="*/ 75 w 112"/>
              <a:gd name="T63" fmla="*/ 81 h 122"/>
              <a:gd name="T64" fmla="*/ 75 w 112"/>
              <a:gd name="T65" fmla="*/ 87 h 122"/>
              <a:gd name="T66" fmla="*/ 65 w 112"/>
              <a:gd name="T67" fmla="*/ 90 h 122"/>
              <a:gd name="T68" fmla="*/ 62 w 112"/>
              <a:gd name="T69" fmla="*/ 93 h 122"/>
              <a:gd name="T70" fmla="*/ 56 w 112"/>
              <a:gd name="T71" fmla="*/ 93 h 122"/>
              <a:gd name="T72" fmla="*/ 50 w 112"/>
              <a:gd name="T73" fmla="*/ 97 h 122"/>
              <a:gd name="T74" fmla="*/ 53 w 112"/>
              <a:gd name="T75" fmla="*/ 103 h 122"/>
              <a:gd name="T76" fmla="*/ 59 w 112"/>
              <a:gd name="T77" fmla="*/ 100 h 122"/>
              <a:gd name="T78" fmla="*/ 62 w 112"/>
              <a:gd name="T79" fmla="*/ 103 h 122"/>
              <a:gd name="T80" fmla="*/ 62 w 112"/>
              <a:gd name="T81" fmla="*/ 119 h 122"/>
              <a:gd name="T82" fmla="*/ 56 w 112"/>
              <a:gd name="T83" fmla="*/ 112 h 122"/>
              <a:gd name="T84" fmla="*/ 53 w 112"/>
              <a:gd name="T85" fmla="*/ 115 h 122"/>
              <a:gd name="T86" fmla="*/ 50 w 112"/>
              <a:gd name="T87" fmla="*/ 119 h 122"/>
              <a:gd name="T88" fmla="*/ 47 w 112"/>
              <a:gd name="T89" fmla="*/ 122 h 122"/>
              <a:gd name="T90" fmla="*/ 40 w 112"/>
              <a:gd name="T91" fmla="*/ 119 h 122"/>
              <a:gd name="T92" fmla="*/ 31 w 112"/>
              <a:gd name="T93" fmla="*/ 109 h 122"/>
              <a:gd name="T94" fmla="*/ 19 w 112"/>
              <a:gd name="T95" fmla="*/ 97 h 122"/>
              <a:gd name="T96" fmla="*/ 15 w 112"/>
              <a:gd name="T97" fmla="*/ 90 h 122"/>
              <a:gd name="T98" fmla="*/ 9 w 112"/>
              <a:gd name="T99" fmla="*/ 84 h 122"/>
              <a:gd name="T100" fmla="*/ 6 w 112"/>
              <a:gd name="T101" fmla="*/ 75 h 122"/>
              <a:gd name="T102" fmla="*/ 3 w 112"/>
              <a:gd name="T103" fmla="*/ 68 h 122"/>
              <a:gd name="T104" fmla="*/ 0 w 112"/>
              <a:gd name="T105" fmla="*/ 59 h 122"/>
              <a:gd name="T106" fmla="*/ 9 w 112"/>
              <a:gd name="T107" fmla="*/ 56 h 122"/>
              <a:gd name="T108" fmla="*/ 9 w 112"/>
              <a:gd name="T109" fmla="*/ 40 h 122"/>
              <a:gd name="T110" fmla="*/ 22 w 112"/>
              <a:gd name="T111" fmla="*/ 40 h 122"/>
              <a:gd name="T112" fmla="*/ 12 w 112"/>
              <a:gd name="T113" fmla="*/ 34 h 122"/>
              <a:gd name="T114" fmla="*/ 15 w 112"/>
              <a:gd name="T115" fmla="*/ 28 h 122"/>
              <a:gd name="T116" fmla="*/ 19 w 112"/>
              <a:gd name="T117" fmla="*/ 25 h 122"/>
              <a:gd name="T118" fmla="*/ 25 w 112"/>
              <a:gd name="T119" fmla="*/ 28 h 122"/>
              <a:gd name="T120" fmla="*/ 50 w 112"/>
              <a:gd name="T121" fmla="*/ 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2" h="122">
                <a:moveTo>
                  <a:pt x="50" y="3"/>
                </a:moveTo>
                <a:lnTo>
                  <a:pt x="50" y="3"/>
                </a:lnTo>
                <a:lnTo>
                  <a:pt x="53" y="3"/>
                </a:lnTo>
                <a:lnTo>
                  <a:pt x="56" y="3"/>
                </a:lnTo>
                <a:lnTo>
                  <a:pt x="56" y="0"/>
                </a:lnTo>
                <a:lnTo>
                  <a:pt x="62" y="0"/>
                </a:lnTo>
                <a:lnTo>
                  <a:pt x="62" y="0"/>
                </a:lnTo>
                <a:lnTo>
                  <a:pt x="69" y="0"/>
                </a:lnTo>
                <a:lnTo>
                  <a:pt x="72" y="3"/>
                </a:lnTo>
                <a:lnTo>
                  <a:pt x="75" y="0"/>
                </a:lnTo>
                <a:lnTo>
                  <a:pt x="78" y="0"/>
                </a:lnTo>
                <a:lnTo>
                  <a:pt x="78" y="3"/>
                </a:lnTo>
                <a:lnTo>
                  <a:pt x="84" y="3"/>
                </a:lnTo>
                <a:lnTo>
                  <a:pt x="84" y="3"/>
                </a:lnTo>
                <a:lnTo>
                  <a:pt x="84" y="3"/>
                </a:lnTo>
                <a:lnTo>
                  <a:pt x="87" y="3"/>
                </a:lnTo>
                <a:lnTo>
                  <a:pt x="87" y="3"/>
                </a:lnTo>
                <a:lnTo>
                  <a:pt x="84" y="6"/>
                </a:lnTo>
                <a:lnTo>
                  <a:pt x="87" y="12"/>
                </a:lnTo>
                <a:lnTo>
                  <a:pt x="87" y="15"/>
                </a:lnTo>
                <a:lnTo>
                  <a:pt x="87" y="18"/>
                </a:lnTo>
                <a:lnTo>
                  <a:pt x="87" y="22"/>
                </a:lnTo>
                <a:lnTo>
                  <a:pt x="87" y="22"/>
                </a:lnTo>
                <a:lnTo>
                  <a:pt x="90" y="22"/>
                </a:lnTo>
                <a:lnTo>
                  <a:pt x="94" y="22"/>
                </a:lnTo>
                <a:lnTo>
                  <a:pt x="100" y="22"/>
                </a:lnTo>
                <a:lnTo>
                  <a:pt x="103" y="18"/>
                </a:lnTo>
                <a:lnTo>
                  <a:pt x="109" y="18"/>
                </a:lnTo>
                <a:lnTo>
                  <a:pt x="112" y="22"/>
                </a:lnTo>
                <a:lnTo>
                  <a:pt x="112" y="25"/>
                </a:lnTo>
                <a:lnTo>
                  <a:pt x="109" y="28"/>
                </a:lnTo>
                <a:lnTo>
                  <a:pt x="112" y="31"/>
                </a:lnTo>
                <a:lnTo>
                  <a:pt x="112" y="34"/>
                </a:lnTo>
                <a:lnTo>
                  <a:pt x="109" y="34"/>
                </a:lnTo>
                <a:lnTo>
                  <a:pt x="103" y="37"/>
                </a:lnTo>
                <a:lnTo>
                  <a:pt x="103" y="40"/>
                </a:lnTo>
                <a:lnTo>
                  <a:pt x="103" y="40"/>
                </a:lnTo>
                <a:lnTo>
                  <a:pt x="106" y="43"/>
                </a:lnTo>
                <a:lnTo>
                  <a:pt x="103" y="43"/>
                </a:lnTo>
                <a:lnTo>
                  <a:pt x="103" y="47"/>
                </a:lnTo>
                <a:lnTo>
                  <a:pt x="100" y="47"/>
                </a:lnTo>
                <a:lnTo>
                  <a:pt x="100" y="47"/>
                </a:lnTo>
                <a:lnTo>
                  <a:pt x="103" y="50"/>
                </a:lnTo>
                <a:lnTo>
                  <a:pt x="103" y="50"/>
                </a:lnTo>
                <a:lnTo>
                  <a:pt x="106" y="53"/>
                </a:lnTo>
                <a:lnTo>
                  <a:pt x="106" y="53"/>
                </a:lnTo>
                <a:lnTo>
                  <a:pt x="109" y="56"/>
                </a:lnTo>
                <a:lnTo>
                  <a:pt x="109" y="59"/>
                </a:lnTo>
                <a:lnTo>
                  <a:pt x="112" y="62"/>
                </a:lnTo>
                <a:lnTo>
                  <a:pt x="112" y="65"/>
                </a:lnTo>
                <a:lnTo>
                  <a:pt x="109" y="72"/>
                </a:lnTo>
                <a:lnTo>
                  <a:pt x="106" y="87"/>
                </a:lnTo>
                <a:lnTo>
                  <a:pt x="106" y="90"/>
                </a:lnTo>
                <a:lnTo>
                  <a:pt x="106" y="93"/>
                </a:lnTo>
                <a:lnTo>
                  <a:pt x="103" y="93"/>
                </a:lnTo>
                <a:lnTo>
                  <a:pt x="103" y="90"/>
                </a:lnTo>
                <a:lnTo>
                  <a:pt x="100" y="90"/>
                </a:lnTo>
                <a:lnTo>
                  <a:pt x="94" y="90"/>
                </a:lnTo>
                <a:lnTo>
                  <a:pt x="94" y="90"/>
                </a:lnTo>
                <a:lnTo>
                  <a:pt x="90" y="90"/>
                </a:lnTo>
                <a:lnTo>
                  <a:pt x="84" y="93"/>
                </a:lnTo>
                <a:lnTo>
                  <a:pt x="81" y="90"/>
                </a:lnTo>
                <a:lnTo>
                  <a:pt x="78" y="81"/>
                </a:lnTo>
                <a:lnTo>
                  <a:pt x="75" y="81"/>
                </a:lnTo>
                <a:lnTo>
                  <a:pt x="75" y="84"/>
                </a:lnTo>
                <a:lnTo>
                  <a:pt x="75" y="87"/>
                </a:lnTo>
                <a:lnTo>
                  <a:pt x="75" y="90"/>
                </a:lnTo>
                <a:lnTo>
                  <a:pt x="65" y="90"/>
                </a:lnTo>
                <a:lnTo>
                  <a:pt x="62" y="90"/>
                </a:lnTo>
                <a:lnTo>
                  <a:pt x="62" y="93"/>
                </a:lnTo>
                <a:lnTo>
                  <a:pt x="59" y="93"/>
                </a:lnTo>
                <a:lnTo>
                  <a:pt x="56" y="93"/>
                </a:lnTo>
                <a:lnTo>
                  <a:pt x="53" y="93"/>
                </a:lnTo>
                <a:lnTo>
                  <a:pt x="50" y="97"/>
                </a:lnTo>
                <a:lnTo>
                  <a:pt x="53" y="97"/>
                </a:lnTo>
                <a:lnTo>
                  <a:pt x="53" y="103"/>
                </a:lnTo>
                <a:lnTo>
                  <a:pt x="56" y="100"/>
                </a:lnTo>
                <a:lnTo>
                  <a:pt x="59" y="100"/>
                </a:lnTo>
                <a:lnTo>
                  <a:pt x="59" y="103"/>
                </a:lnTo>
                <a:lnTo>
                  <a:pt x="62" y="103"/>
                </a:lnTo>
                <a:lnTo>
                  <a:pt x="62" y="115"/>
                </a:lnTo>
                <a:lnTo>
                  <a:pt x="62" y="119"/>
                </a:lnTo>
                <a:lnTo>
                  <a:pt x="59" y="112"/>
                </a:lnTo>
                <a:lnTo>
                  <a:pt x="56" y="112"/>
                </a:lnTo>
                <a:lnTo>
                  <a:pt x="56" y="115"/>
                </a:lnTo>
                <a:lnTo>
                  <a:pt x="53" y="115"/>
                </a:lnTo>
                <a:lnTo>
                  <a:pt x="50" y="115"/>
                </a:lnTo>
                <a:lnTo>
                  <a:pt x="50" y="119"/>
                </a:lnTo>
                <a:lnTo>
                  <a:pt x="47" y="122"/>
                </a:lnTo>
                <a:lnTo>
                  <a:pt x="47" y="122"/>
                </a:lnTo>
                <a:lnTo>
                  <a:pt x="44" y="122"/>
                </a:lnTo>
                <a:lnTo>
                  <a:pt x="40" y="119"/>
                </a:lnTo>
                <a:lnTo>
                  <a:pt x="34" y="115"/>
                </a:lnTo>
                <a:lnTo>
                  <a:pt x="31" y="109"/>
                </a:lnTo>
                <a:lnTo>
                  <a:pt x="25" y="103"/>
                </a:lnTo>
                <a:lnTo>
                  <a:pt x="19" y="97"/>
                </a:lnTo>
                <a:lnTo>
                  <a:pt x="19" y="97"/>
                </a:lnTo>
                <a:lnTo>
                  <a:pt x="15" y="90"/>
                </a:lnTo>
                <a:lnTo>
                  <a:pt x="12" y="87"/>
                </a:lnTo>
                <a:lnTo>
                  <a:pt x="9" y="84"/>
                </a:lnTo>
                <a:lnTo>
                  <a:pt x="9" y="78"/>
                </a:lnTo>
                <a:lnTo>
                  <a:pt x="6" y="75"/>
                </a:lnTo>
                <a:lnTo>
                  <a:pt x="6" y="72"/>
                </a:lnTo>
                <a:lnTo>
                  <a:pt x="3" y="68"/>
                </a:lnTo>
                <a:lnTo>
                  <a:pt x="0" y="59"/>
                </a:lnTo>
                <a:lnTo>
                  <a:pt x="0" y="59"/>
                </a:lnTo>
                <a:lnTo>
                  <a:pt x="6" y="59"/>
                </a:lnTo>
                <a:lnTo>
                  <a:pt x="9" y="56"/>
                </a:lnTo>
                <a:lnTo>
                  <a:pt x="9" y="47"/>
                </a:lnTo>
                <a:lnTo>
                  <a:pt x="9" y="40"/>
                </a:lnTo>
                <a:lnTo>
                  <a:pt x="12" y="43"/>
                </a:lnTo>
                <a:lnTo>
                  <a:pt x="22" y="40"/>
                </a:lnTo>
                <a:lnTo>
                  <a:pt x="15" y="40"/>
                </a:lnTo>
                <a:lnTo>
                  <a:pt x="12" y="34"/>
                </a:lnTo>
                <a:lnTo>
                  <a:pt x="15" y="31"/>
                </a:lnTo>
                <a:lnTo>
                  <a:pt x="15" y="28"/>
                </a:lnTo>
                <a:lnTo>
                  <a:pt x="19" y="28"/>
                </a:lnTo>
                <a:lnTo>
                  <a:pt x="19" y="25"/>
                </a:lnTo>
                <a:lnTo>
                  <a:pt x="22" y="25"/>
                </a:lnTo>
                <a:lnTo>
                  <a:pt x="25" y="28"/>
                </a:lnTo>
                <a:lnTo>
                  <a:pt x="50" y="28"/>
                </a:lnTo>
                <a:lnTo>
                  <a:pt x="50" y="3"/>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9" name="Freeform 137">
            <a:extLst>
              <a:ext uri="{FF2B5EF4-FFF2-40B4-BE49-F238E27FC236}">
                <a16:creationId xmlns:a16="http://schemas.microsoft.com/office/drawing/2014/main" id="{23A3A45C-16CF-0185-40AF-0A7FB1AE0688}"/>
              </a:ext>
            </a:extLst>
          </p:cNvPr>
          <p:cNvSpPr>
            <a:spLocks/>
          </p:cNvSpPr>
          <p:nvPr userDrawn="1"/>
        </p:nvSpPr>
        <p:spPr bwMode="auto">
          <a:xfrm>
            <a:off x="13734152" y="9248056"/>
            <a:ext cx="130168" cy="79376"/>
          </a:xfrm>
          <a:custGeom>
            <a:avLst/>
            <a:gdLst>
              <a:gd name="T0" fmla="*/ 6 w 41"/>
              <a:gd name="T1" fmla="*/ 25 h 25"/>
              <a:gd name="T2" fmla="*/ 10 w 41"/>
              <a:gd name="T3" fmla="*/ 25 h 25"/>
              <a:gd name="T4" fmla="*/ 10 w 41"/>
              <a:gd name="T5" fmla="*/ 22 h 25"/>
              <a:gd name="T6" fmla="*/ 13 w 41"/>
              <a:gd name="T7" fmla="*/ 22 h 25"/>
              <a:gd name="T8" fmla="*/ 16 w 41"/>
              <a:gd name="T9" fmla="*/ 25 h 25"/>
              <a:gd name="T10" fmla="*/ 41 w 41"/>
              <a:gd name="T11" fmla="*/ 25 h 25"/>
              <a:gd name="T12" fmla="*/ 41 w 41"/>
              <a:gd name="T13" fmla="*/ 0 h 25"/>
              <a:gd name="T14" fmla="*/ 19 w 41"/>
              <a:gd name="T15" fmla="*/ 0 h 25"/>
              <a:gd name="T16" fmla="*/ 16 w 41"/>
              <a:gd name="T17" fmla="*/ 0 h 25"/>
              <a:gd name="T18" fmla="*/ 16 w 41"/>
              <a:gd name="T19" fmla="*/ 0 h 25"/>
              <a:gd name="T20" fmla="*/ 13 w 41"/>
              <a:gd name="T21" fmla="*/ 0 h 25"/>
              <a:gd name="T22" fmla="*/ 10 w 41"/>
              <a:gd name="T23" fmla="*/ 0 h 25"/>
              <a:gd name="T24" fmla="*/ 13 w 41"/>
              <a:gd name="T25" fmla="*/ 3 h 25"/>
              <a:gd name="T26" fmla="*/ 6 w 41"/>
              <a:gd name="T27" fmla="*/ 12 h 25"/>
              <a:gd name="T28" fmla="*/ 0 w 41"/>
              <a:gd name="T29" fmla="*/ 22 h 25"/>
              <a:gd name="T30" fmla="*/ 6 w 41"/>
              <a:gd name="T31" fmla="*/ 22 h 25"/>
              <a:gd name="T32" fmla="*/ 6 w 41"/>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 h="25">
                <a:moveTo>
                  <a:pt x="6" y="25"/>
                </a:moveTo>
                <a:lnTo>
                  <a:pt x="10" y="25"/>
                </a:lnTo>
                <a:lnTo>
                  <a:pt x="10" y="22"/>
                </a:lnTo>
                <a:lnTo>
                  <a:pt x="13" y="22"/>
                </a:lnTo>
                <a:lnTo>
                  <a:pt x="16" y="25"/>
                </a:lnTo>
                <a:lnTo>
                  <a:pt x="41" y="25"/>
                </a:lnTo>
                <a:lnTo>
                  <a:pt x="41" y="0"/>
                </a:lnTo>
                <a:lnTo>
                  <a:pt x="19" y="0"/>
                </a:lnTo>
                <a:lnTo>
                  <a:pt x="16" y="0"/>
                </a:lnTo>
                <a:lnTo>
                  <a:pt x="16" y="0"/>
                </a:lnTo>
                <a:lnTo>
                  <a:pt x="13" y="0"/>
                </a:lnTo>
                <a:lnTo>
                  <a:pt x="10" y="0"/>
                </a:lnTo>
                <a:lnTo>
                  <a:pt x="13" y="3"/>
                </a:lnTo>
                <a:lnTo>
                  <a:pt x="6" y="12"/>
                </a:lnTo>
                <a:lnTo>
                  <a:pt x="0" y="22"/>
                </a:lnTo>
                <a:lnTo>
                  <a:pt x="6" y="22"/>
                </a:lnTo>
                <a:lnTo>
                  <a:pt x="6" y="25"/>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0" name="Freeform 138">
            <a:extLst>
              <a:ext uri="{FF2B5EF4-FFF2-40B4-BE49-F238E27FC236}">
                <a16:creationId xmlns:a16="http://schemas.microsoft.com/office/drawing/2014/main" id="{3915A2D3-2717-6D12-CE57-80FED6575B36}"/>
              </a:ext>
            </a:extLst>
          </p:cNvPr>
          <p:cNvSpPr>
            <a:spLocks/>
          </p:cNvSpPr>
          <p:nvPr userDrawn="1"/>
        </p:nvSpPr>
        <p:spPr bwMode="auto">
          <a:xfrm>
            <a:off x="13854795" y="9136933"/>
            <a:ext cx="476219" cy="568326"/>
          </a:xfrm>
          <a:custGeom>
            <a:avLst/>
            <a:gdLst>
              <a:gd name="T0" fmla="*/ 3 w 150"/>
              <a:gd name="T1" fmla="*/ 147 h 179"/>
              <a:gd name="T2" fmla="*/ 9 w 150"/>
              <a:gd name="T3" fmla="*/ 144 h 179"/>
              <a:gd name="T4" fmla="*/ 15 w 150"/>
              <a:gd name="T5" fmla="*/ 147 h 179"/>
              <a:gd name="T6" fmla="*/ 12 w 150"/>
              <a:gd name="T7" fmla="*/ 132 h 179"/>
              <a:gd name="T8" fmla="*/ 6 w 150"/>
              <a:gd name="T9" fmla="*/ 129 h 179"/>
              <a:gd name="T10" fmla="*/ 9 w 150"/>
              <a:gd name="T11" fmla="*/ 125 h 179"/>
              <a:gd name="T12" fmla="*/ 15 w 150"/>
              <a:gd name="T13" fmla="*/ 122 h 179"/>
              <a:gd name="T14" fmla="*/ 28 w 150"/>
              <a:gd name="T15" fmla="*/ 119 h 179"/>
              <a:gd name="T16" fmla="*/ 31 w 150"/>
              <a:gd name="T17" fmla="*/ 113 h 179"/>
              <a:gd name="T18" fmla="*/ 43 w 150"/>
              <a:gd name="T19" fmla="*/ 122 h 179"/>
              <a:gd name="T20" fmla="*/ 53 w 150"/>
              <a:gd name="T21" fmla="*/ 122 h 179"/>
              <a:gd name="T22" fmla="*/ 59 w 150"/>
              <a:gd name="T23" fmla="*/ 125 h 179"/>
              <a:gd name="T24" fmla="*/ 62 w 150"/>
              <a:gd name="T25" fmla="*/ 104 h 179"/>
              <a:gd name="T26" fmla="*/ 62 w 150"/>
              <a:gd name="T27" fmla="*/ 91 h 179"/>
              <a:gd name="T28" fmla="*/ 59 w 150"/>
              <a:gd name="T29" fmla="*/ 85 h 179"/>
              <a:gd name="T30" fmla="*/ 53 w 150"/>
              <a:gd name="T31" fmla="*/ 79 h 179"/>
              <a:gd name="T32" fmla="*/ 56 w 150"/>
              <a:gd name="T33" fmla="*/ 75 h 179"/>
              <a:gd name="T34" fmla="*/ 56 w 150"/>
              <a:gd name="T35" fmla="*/ 72 h 179"/>
              <a:gd name="T36" fmla="*/ 65 w 150"/>
              <a:gd name="T37" fmla="*/ 66 h 179"/>
              <a:gd name="T38" fmla="*/ 65 w 150"/>
              <a:gd name="T39" fmla="*/ 57 h 179"/>
              <a:gd name="T40" fmla="*/ 56 w 150"/>
              <a:gd name="T41" fmla="*/ 50 h 179"/>
              <a:gd name="T42" fmla="*/ 43 w 150"/>
              <a:gd name="T43" fmla="*/ 54 h 179"/>
              <a:gd name="T44" fmla="*/ 40 w 150"/>
              <a:gd name="T45" fmla="*/ 50 h 179"/>
              <a:gd name="T46" fmla="*/ 37 w 150"/>
              <a:gd name="T47" fmla="*/ 38 h 179"/>
              <a:gd name="T48" fmla="*/ 68 w 150"/>
              <a:gd name="T49" fmla="*/ 38 h 179"/>
              <a:gd name="T50" fmla="*/ 72 w 150"/>
              <a:gd name="T51" fmla="*/ 38 h 179"/>
              <a:gd name="T52" fmla="*/ 78 w 150"/>
              <a:gd name="T53" fmla="*/ 38 h 179"/>
              <a:gd name="T54" fmla="*/ 81 w 150"/>
              <a:gd name="T55" fmla="*/ 38 h 179"/>
              <a:gd name="T56" fmla="*/ 90 w 150"/>
              <a:gd name="T57" fmla="*/ 41 h 179"/>
              <a:gd name="T58" fmla="*/ 93 w 150"/>
              <a:gd name="T59" fmla="*/ 41 h 179"/>
              <a:gd name="T60" fmla="*/ 97 w 150"/>
              <a:gd name="T61" fmla="*/ 41 h 179"/>
              <a:gd name="T62" fmla="*/ 100 w 150"/>
              <a:gd name="T63" fmla="*/ 32 h 179"/>
              <a:gd name="T64" fmla="*/ 115 w 150"/>
              <a:gd name="T65" fmla="*/ 10 h 179"/>
              <a:gd name="T66" fmla="*/ 128 w 150"/>
              <a:gd name="T67" fmla="*/ 3 h 179"/>
              <a:gd name="T68" fmla="*/ 137 w 150"/>
              <a:gd name="T69" fmla="*/ 0 h 179"/>
              <a:gd name="T70" fmla="*/ 143 w 150"/>
              <a:gd name="T71" fmla="*/ 3 h 179"/>
              <a:gd name="T72" fmla="*/ 147 w 150"/>
              <a:gd name="T73" fmla="*/ 3 h 179"/>
              <a:gd name="T74" fmla="*/ 147 w 150"/>
              <a:gd name="T75" fmla="*/ 19 h 179"/>
              <a:gd name="T76" fmla="*/ 137 w 150"/>
              <a:gd name="T77" fmla="*/ 41 h 179"/>
              <a:gd name="T78" fmla="*/ 134 w 150"/>
              <a:gd name="T79" fmla="*/ 50 h 179"/>
              <a:gd name="T80" fmla="*/ 134 w 150"/>
              <a:gd name="T81" fmla="*/ 66 h 179"/>
              <a:gd name="T82" fmla="*/ 131 w 150"/>
              <a:gd name="T83" fmla="*/ 75 h 179"/>
              <a:gd name="T84" fmla="*/ 122 w 150"/>
              <a:gd name="T85" fmla="*/ 97 h 179"/>
              <a:gd name="T86" fmla="*/ 112 w 150"/>
              <a:gd name="T87" fmla="*/ 100 h 179"/>
              <a:gd name="T88" fmla="*/ 106 w 150"/>
              <a:gd name="T89" fmla="*/ 113 h 179"/>
              <a:gd name="T90" fmla="*/ 97 w 150"/>
              <a:gd name="T91" fmla="*/ 129 h 179"/>
              <a:gd name="T92" fmla="*/ 97 w 150"/>
              <a:gd name="T93" fmla="*/ 147 h 179"/>
              <a:gd name="T94" fmla="*/ 90 w 150"/>
              <a:gd name="T95" fmla="*/ 157 h 179"/>
              <a:gd name="T96" fmla="*/ 78 w 150"/>
              <a:gd name="T97" fmla="*/ 169 h 179"/>
              <a:gd name="T98" fmla="*/ 65 w 150"/>
              <a:gd name="T99" fmla="*/ 172 h 179"/>
              <a:gd name="T100" fmla="*/ 65 w 150"/>
              <a:gd name="T101" fmla="*/ 163 h 179"/>
              <a:gd name="T102" fmla="*/ 56 w 150"/>
              <a:gd name="T103" fmla="*/ 166 h 179"/>
              <a:gd name="T104" fmla="*/ 50 w 150"/>
              <a:gd name="T105" fmla="*/ 172 h 179"/>
              <a:gd name="T106" fmla="*/ 43 w 150"/>
              <a:gd name="T107" fmla="*/ 172 h 179"/>
              <a:gd name="T108" fmla="*/ 37 w 150"/>
              <a:gd name="T109" fmla="*/ 172 h 179"/>
              <a:gd name="T110" fmla="*/ 34 w 150"/>
              <a:gd name="T111" fmla="*/ 166 h 179"/>
              <a:gd name="T112" fmla="*/ 28 w 150"/>
              <a:gd name="T113" fmla="*/ 166 h 179"/>
              <a:gd name="T114" fmla="*/ 22 w 150"/>
              <a:gd name="T115" fmla="*/ 172 h 179"/>
              <a:gd name="T116" fmla="*/ 15 w 150"/>
              <a:gd name="T117" fmla="*/ 179 h 179"/>
              <a:gd name="T118" fmla="*/ 12 w 150"/>
              <a:gd name="T119" fmla="*/ 169 h 179"/>
              <a:gd name="T120" fmla="*/ 3 w 150"/>
              <a:gd name="T121" fmla="*/ 16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179">
                <a:moveTo>
                  <a:pt x="0" y="154"/>
                </a:moveTo>
                <a:lnTo>
                  <a:pt x="3" y="151"/>
                </a:lnTo>
                <a:lnTo>
                  <a:pt x="3" y="147"/>
                </a:lnTo>
                <a:lnTo>
                  <a:pt x="6" y="147"/>
                </a:lnTo>
                <a:lnTo>
                  <a:pt x="9" y="147"/>
                </a:lnTo>
                <a:lnTo>
                  <a:pt x="9" y="144"/>
                </a:lnTo>
                <a:lnTo>
                  <a:pt x="12" y="144"/>
                </a:lnTo>
                <a:lnTo>
                  <a:pt x="15" y="151"/>
                </a:lnTo>
                <a:lnTo>
                  <a:pt x="15" y="147"/>
                </a:lnTo>
                <a:lnTo>
                  <a:pt x="15" y="135"/>
                </a:lnTo>
                <a:lnTo>
                  <a:pt x="12" y="135"/>
                </a:lnTo>
                <a:lnTo>
                  <a:pt x="12" y="132"/>
                </a:lnTo>
                <a:lnTo>
                  <a:pt x="9" y="132"/>
                </a:lnTo>
                <a:lnTo>
                  <a:pt x="6" y="135"/>
                </a:lnTo>
                <a:lnTo>
                  <a:pt x="6" y="129"/>
                </a:lnTo>
                <a:lnTo>
                  <a:pt x="3" y="129"/>
                </a:lnTo>
                <a:lnTo>
                  <a:pt x="6" y="125"/>
                </a:lnTo>
                <a:lnTo>
                  <a:pt x="9" y="125"/>
                </a:lnTo>
                <a:lnTo>
                  <a:pt x="12" y="125"/>
                </a:lnTo>
                <a:lnTo>
                  <a:pt x="15" y="125"/>
                </a:lnTo>
                <a:lnTo>
                  <a:pt x="15" y="122"/>
                </a:lnTo>
                <a:lnTo>
                  <a:pt x="18" y="122"/>
                </a:lnTo>
                <a:lnTo>
                  <a:pt x="28" y="122"/>
                </a:lnTo>
                <a:lnTo>
                  <a:pt x="28" y="119"/>
                </a:lnTo>
                <a:lnTo>
                  <a:pt x="28" y="116"/>
                </a:lnTo>
                <a:lnTo>
                  <a:pt x="28" y="113"/>
                </a:lnTo>
                <a:lnTo>
                  <a:pt x="31" y="113"/>
                </a:lnTo>
                <a:lnTo>
                  <a:pt x="34" y="122"/>
                </a:lnTo>
                <a:lnTo>
                  <a:pt x="37" y="125"/>
                </a:lnTo>
                <a:lnTo>
                  <a:pt x="43" y="122"/>
                </a:lnTo>
                <a:lnTo>
                  <a:pt x="47" y="122"/>
                </a:lnTo>
                <a:lnTo>
                  <a:pt x="47" y="122"/>
                </a:lnTo>
                <a:lnTo>
                  <a:pt x="53" y="122"/>
                </a:lnTo>
                <a:lnTo>
                  <a:pt x="56" y="122"/>
                </a:lnTo>
                <a:lnTo>
                  <a:pt x="56" y="125"/>
                </a:lnTo>
                <a:lnTo>
                  <a:pt x="59" y="125"/>
                </a:lnTo>
                <a:lnTo>
                  <a:pt x="59" y="122"/>
                </a:lnTo>
                <a:lnTo>
                  <a:pt x="59" y="119"/>
                </a:lnTo>
                <a:lnTo>
                  <a:pt x="62" y="104"/>
                </a:lnTo>
                <a:lnTo>
                  <a:pt x="65" y="97"/>
                </a:lnTo>
                <a:lnTo>
                  <a:pt x="65" y="94"/>
                </a:lnTo>
                <a:lnTo>
                  <a:pt x="62" y="91"/>
                </a:lnTo>
                <a:lnTo>
                  <a:pt x="62" y="88"/>
                </a:lnTo>
                <a:lnTo>
                  <a:pt x="59" y="85"/>
                </a:lnTo>
                <a:lnTo>
                  <a:pt x="59" y="85"/>
                </a:lnTo>
                <a:lnTo>
                  <a:pt x="56" y="82"/>
                </a:lnTo>
                <a:lnTo>
                  <a:pt x="56" y="82"/>
                </a:lnTo>
                <a:lnTo>
                  <a:pt x="53" y="79"/>
                </a:lnTo>
                <a:lnTo>
                  <a:pt x="53" y="79"/>
                </a:lnTo>
                <a:lnTo>
                  <a:pt x="56" y="79"/>
                </a:lnTo>
                <a:lnTo>
                  <a:pt x="56" y="75"/>
                </a:lnTo>
                <a:lnTo>
                  <a:pt x="59" y="75"/>
                </a:lnTo>
                <a:lnTo>
                  <a:pt x="56" y="72"/>
                </a:lnTo>
                <a:lnTo>
                  <a:pt x="56" y="72"/>
                </a:lnTo>
                <a:lnTo>
                  <a:pt x="56" y="69"/>
                </a:lnTo>
                <a:lnTo>
                  <a:pt x="62" y="66"/>
                </a:lnTo>
                <a:lnTo>
                  <a:pt x="65" y="66"/>
                </a:lnTo>
                <a:lnTo>
                  <a:pt x="65" y="63"/>
                </a:lnTo>
                <a:lnTo>
                  <a:pt x="62" y="60"/>
                </a:lnTo>
                <a:lnTo>
                  <a:pt x="65" y="57"/>
                </a:lnTo>
                <a:lnTo>
                  <a:pt x="65" y="54"/>
                </a:lnTo>
                <a:lnTo>
                  <a:pt x="62" y="50"/>
                </a:lnTo>
                <a:lnTo>
                  <a:pt x="56" y="50"/>
                </a:lnTo>
                <a:lnTo>
                  <a:pt x="53" y="54"/>
                </a:lnTo>
                <a:lnTo>
                  <a:pt x="47" y="54"/>
                </a:lnTo>
                <a:lnTo>
                  <a:pt x="43" y="54"/>
                </a:lnTo>
                <a:lnTo>
                  <a:pt x="40" y="54"/>
                </a:lnTo>
                <a:lnTo>
                  <a:pt x="40" y="54"/>
                </a:lnTo>
                <a:lnTo>
                  <a:pt x="40" y="50"/>
                </a:lnTo>
                <a:lnTo>
                  <a:pt x="40" y="47"/>
                </a:lnTo>
                <a:lnTo>
                  <a:pt x="40" y="44"/>
                </a:lnTo>
                <a:lnTo>
                  <a:pt x="37" y="38"/>
                </a:lnTo>
                <a:lnTo>
                  <a:pt x="40" y="35"/>
                </a:lnTo>
                <a:lnTo>
                  <a:pt x="65" y="35"/>
                </a:lnTo>
                <a:lnTo>
                  <a:pt x="68" y="38"/>
                </a:lnTo>
                <a:lnTo>
                  <a:pt x="68" y="35"/>
                </a:lnTo>
                <a:lnTo>
                  <a:pt x="68" y="35"/>
                </a:lnTo>
                <a:lnTo>
                  <a:pt x="72" y="38"/>
                </a:lnTo>
                <a:lnTo>
                  <a:pt x="75" y="38"/>
                </a:lnTo>
                <a:lnTo>
                  <a:pt x="75" y="38"/>
                </a:lnTo>
                <a:lnTo>
                  <a:pt x="78" y="38"/>
                </a:lnTo>
                <a:lnTo>
                  <a:pt x="78" y="38"/>
                </a:lnTo>
                <a:lnTo>
                  <a:pt x="81" y="38"/>
                </a:lnTo>
                <a:lnTo>
                  <a:pt x="81" y="38"/>
                </a:lnTo>
                <a:lnTo>
                  <a:pt x="84" y="41"/>
                </a:lnTo>
                <a:lnTo>
                  <a:pt x="87" y="41"/>
                </a:lnTo>
                <a:lnTo>
                  <a:pt x="90" y="41"/>
                </a:lnTo>
                <a:lnTo>
                  <a:pt x="90" y="41"/>
                </a:lnTo>
                <a:lnTo>
                  <a:pt x="93" y="41"/>
                </a:lnTo>
                <a:lnTo>
                  <a:pt x="93" y="41"/>
                </a:lnTo>
                <a:lnTo>
                  <a:pt x="97" y="41"/>
                </a:lnTo>
                <a:lnTo>
                  <a:pt x="97" y="41"/>
                </a:lnTo>
                <a:lnTo>
                  <a:pt x="97" y="41"/>
                </a:lnTo>
                <a:lnTo>
                  <a:pt x="97" y="35"/>
                </a:lnTo>
                <a:lnTo>
                  <a:pt x="97" y="35"/>
                </a:lnTo>
                <a:lnTo>
                  <a:pt x="100" y="32"/>
                </a:lnTo>
                <a:lnTo>
                  <a:pt x="100" y="29"/>
                </a:lnTo>
                <a:lnTo>
                  <a:pt x="109" y="13"/>
                </a:lnTo>
                <a:lnTo>
                  <a:pt x="115" y="10"/>
                </a:lnTo>
                <a:lnTo>
                  <a:pt x="118" y="7"/>
                </a:lnTo>
                <a:lnTo>
                  <a:pt x="118" y="7"/>
                </a:lnTo>
                <a:lnTo>
                  <a:pt x="128" y="3"/>
                </a:lnTo>
                <a:lnTo>
                  <a:pt x="131" y="3"/>
                </a:lnTo>
                <a:lnTo>
                  <a:pt x="134" y="0"/>
                </a:lnTo>
                <a:lnTo>
                  <a:pt x="137" y="0"/>
                </a:lnTo>
                <a:lnTo>
                  <a:pt x="140" y="0"/>
                </a:lnTo>
                <a:lnTo>
                  <a:pt x="140" y="3"/>
                </a:lnTo>
                <a:lnTo>
                  <a:pt x="143" y="3"/>
                </a:lnTo>
                <a:lnTo>
                  <a:pt x="147" y="3"/>
                </a:lnTo>
                <a:lnTo>
                  <a:pt x="150" y="3"/>
                </a:lnTo>
                <a:lnTo>
                  <a:pt x="147" y="3"/>
                </a:lnTo>
                <a:lnTo>
                  <a:pt x="150" y="10"/>
                </a:lnTo>
                <a:lnTo>
                  <a:pt x="150" y="16"/>
                </a:lnTo>
                <a:lnTo>
                  <a:pt x="147" y="19"/>
                </a:lnTo>
                <a:lnTo>
                  <a:pt x="147" y="22"/>
                </a:lnTo>
                <a:lnTo>
                  <a:pt x="137" y="32"/>
                </a:lnTo>
                <a:lnTo>
                  <a:pt x="137" y="41"/>
                </a:lnTo>
                <a:lnTo>
                  <a:pt x="137" y="44"/>
                </a:lnTo>
                <a:lnTo>
                  <a:pt x="137" y="47"/>
                </a:lnTo>
                <a:lnTo>
                  <a:pt x="134" y="50"/>
                </a:lnTo>
                <a:lnTo>
                  <a:pt x="134" y="57"/>
                </a:lnTo>
                <a:lnTo>
                  <a:pt x="134" y="60"/>
                </a:lnTo>
                <a:lnTo>
                  <a:pt x="134" y="66"/>
                </a:lnTo>
                <a:lnTo>
                  <a:pt x="134" y="66"/>
                </a:lnTo>
                <a:lnTo>
                  <a:pt x="134" y="72"/>
                </a:lnTo>
                <a:lnTo>
                  <a:pt x="131" y="75"/>
                </a:lnTo>
                <a:lnTo>
                  <a:pt x="128" y="82"/>
                </a:lnTo>
                <a:lnTo>
                  <a:pt x="128" y="88"/>
                </a:lnTo>
                <a:lnTo>
                  <a:pt x="122" y="97"/>
                </a:lnTo>
                <a:lnTo>
                  <a:pt x="118" y="97"/>
                </a:lnTo>
                <a:lnTo>
                  <a:pt x="115" y="100"/>
                </a:lnTo>
                <a:lnTo>
                  <a:pt x="112" y="100"/>
                </a:lnTo>
                <a:lnTo>
                  <a:pt x="109" y="104"/>
                </a:lnTo>
                <a:lnTo>
                  <a:pt x="106" y="107"/>
                </a:lnTo>
                <a:lnTo>
                  <a:pt x="106" y="113"/>
                </a:lnTo>
                <a:lnTo>
                  <a:pt x="100" y="119"/>
                </a:lnTo>
                <a:lnTo>
                  <a:pt x="97" y="122"/>
                </a:lnTo>
                <a:lnTo>
                  <a:pt x="97" y="129"/>
                </a:lnTo>
                <a:lnTo>
                  <a:pt x="100" y="129"/>
                </a:lnTo>
                <a:lnTo>
                  <a:pt x="97" y="141"/>
                </a:lnTo>
                <a:lnTo>
                  <a:pt x="97" y="147"/>
                </a:lnTo>
                <a:lnTo>
                  <a:pt x="97" y="151"/>
                </a:lnTo>
                <a:lnTo>
                  <a:pt x="93" y="154"/>
                </a:lnTo>
                <a:lnTo>
                  <a:pt x="90" y="157"/>
                </a:lnTo>
                <a:lnTo>
                  <a:pt x="87" y="157"/>
                </a:lnTo>
                <a:lnTo>
                  <a:pt x="84" y="160"/>
                </a:lnTo>
                <a:lnTo>
                  <a:pt x="78" y="169"/>
                </a:lnTo>
                <a:lnTo>
                  <a:pt x="75" y="172"/>
                </a:lnTo>
                <a:lnTo>
                  <a:pt x="68" y="176"/>
                </a:lnTo>
                <a:lnTo>
                  <a:pt x="65" y="172"/>
                </a:lnTo>
                <a:lnTo>
                  <a:pt x="65" y="169"/>
                </a:lnTo>
                <a:lnTo>
                  <a:pt x="62" y="169"/>
                </a:lnTo>
                <a:lnTo>
                  <a:pt x="65" y="163"/>
                </a:lnTo>
                <a:lnTo>
                  <a:pt x="65" y="163"/>
                </a:lnTo>
                <a:lnTo>
                  <a:pt x="59" y="163"/>
                </a:lnTo>
                <a:lnTo>
                  <a:pt x="56" y="166"/>
                </a:lnTo>
                <a:lnTo>
                  <a:pt x="53" y="166"/>
                </a:lnTo>
                <a:lnTo>
                  <a:pt x="50" y="166"/>
                </a:lnTo>
                <a:lnTo>
                  <a:pt x="50" y="172"/>
                </a:lnTo>
                <a:lnTo>
                  <a:pt x="47" y="172"/>
                </a:lnTo>
                <a:lnTo>
                  <a:pt x="43" y="172"/>
                </a:lnTo>
                <a:lnTo>
                  <a:pt x="43" y="172"/>
                </a:lnTo>
                <a:lnTo>
                  <a:pt x="43" y="169"/>
                </a:lnTo>
                <a:lnTo>
                  <a:pt x="40" y="172"/>
                </a:lnTo>
                <a:lnTo>
                  <a:pt x="37" y="172"/>
                </a:lnTo>
                <a:lnTo>
                  <a:pt x="37" y="172"/>
                </a:lnTo>
                <a:lnTo>
                  <a:pt x="37" y="169"/>
                </a:lnTo>
                <a:lnTo>
                  <a:pt x="34" y="166"/>
                </a:lnTo>
                <a:lnTo>
                  <a:pt x="34" y="163"/>
                </a:lnTo>
                <a:lnTo>
                  <a:pt x="31" y="163"/>
                </a:lnTo>
                <a:lnTo>
                  <a:pt x="28" y="166"/>
                </a:lnTo>
                <a:lnTo>
                  <a:pt x="25" y="166"/>
                </a:lnTo>
                <a:lnTo>
                  <a:pt x="25" y="169"/>
                </a:lnTo>
                <a:lnTo>
                  <a:pt x="22" y="172"/>
                </a:lnTo>
                <a:lnTo>
                  <a:pt x="18" y="172"/>
                </a:lnTo>
                <a:lnTo>
                  <a:pt x="18" y="176"/>
                </a:lnTo>
                <a:lnTo>
                  <a:pt x="15" y="179"/>
                </a:lnTo>
                <a:lnTo>
                  <a:pt x="12" y="176"/>
                </a:lnTo>
                <a:lnTo>
                  <a:pt x="15" y="172"/>
                </a:lnTo>
                <a:lnTo>
                  <a:pt x="12" y="169"/>
                </a:lnTo>
                <a:lnTo>
                  <a:pt x="9" y="166"/>
                </a:lnTo>
                <a:lnTo>
                  <a:pt x="6" y="160"/>
                </a:lnTo>
                <a:lnTo>
                  <a:pt x="3" y="160"/>
                </a:lnTo>
                <a:lnTo>
                  <a:pt x="0" y="15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1" name="Freeform 139">
            <a:extLst>
              <a:ext uri="{FF2B5EF4-FFF2-40B4-BE49-F238E27FC236}">
                <a16:creationId xmlns:a16="http://schemas.microsoft.com/office/drawing/2014/main" id="{8BB3328A-4187-DC58-CF07-F1BA02A53C40}"/>
              </a:ext>
            </a:extLst>
          </p:cNvPr>
          <p:cNvSpPr>
            <a:spLocks/>
          </p:cNvSpPr>
          <p:nvPr userDrawn="1"/>
        </p:nvSpPr>
        <p:spPr bwMode="auto">
          <a:xfrm>
            <a:off x="13902416" y="9654459"/>
            <a:ext cx="69845" cy="98426"/>
          </a:xfrm>
          <a:custGeom>
            <a:avLst/>
            <a:gdLst>
              <a:gd name="T0" fmla="*/ 22 w 22"/>
              <a:gd name="T1" fmla="*/ 9 h 31"/>
              <a:gd name="T2" fmla="*/ 22 w 22"/>
              <a:gd name="T3" fmla="*/ 6 h 31"/>
              <a:gd name="T4" fmla="*/ 19 w 22"/>
              <a:gd name="T5" fmla="*/ 3 h 31"/>
              <a:gd name="T6" fmla="*/ 19 w 22"/>
              <a:gd name="T7" fmla="*/ 0 h 31"/>
              <a:gd name="T8" fmla="*/ 16 w 22"/>
              <a:gd name="T9" fmla="*/ 0 h 31"/>
              <a:gd name="T10" fmla="*/ 13 w 22"/>
              <a:gd name="T11" fmla="*/ 3 h 31"/>
              <a:gd name="T12" fmla="*/ 10 w 22"/>
              <a:gd name="T13" fmla="*/ 3 h 31"/>
              <a:gd name="T14" fmla="*/ 10 w 22"/>
              <a:gd name="T15" fmla="*/ 6 h 31"/>
              <a:gd name="T16" fmla="*/ 7 w 22"/>
              <a:gd name="T17" fmla="*/ 9 h 31"/>
              <a:gd name="T18" fmla="*/ 3 w 22"/>
              <a:gd name="T19" fmla="*/ 9 h 31"/>
              <a:gd name="T20" fmla="*/ 3 w 22"/>
              <a:gd name="T21" fmla="*/ 13 h 31"/>
              <a:gd name="T22" fmla="*/ 0 w 22"/>
              <a:gd name="T23" fmla="*/ 16 h 31"/>
              <a:gd name="T24" fmla="*/ 3 w 22"/>
              <a:gd name="T25" fmla="*/ 19 h 31"/>
              <a:gd name="T26" fmla="*/ 3 w 22"/>
              <a:gd name="T27" fmla="*/ 22 h 31"/>
              <a:gd name="T28" fmla="*/ 3 w 22"/>
              <a:gd name="T29" fmla="*/ 28 h 31"/>
              <a:gd name="T30" fmla="*/ 3 w 22"/>
              <a:gd name="T31" fmla="*/ 31 h 31"/>
              <a:gd name="T32" fmla="*/ 7 w 22"/>
              <a:gd name="T33" fmla="*/ 28 h 31"/>
              <a:gd name="T34" fmla="*/ 10 w 22"/>
              <a:gd name="T35" fmla="*/ 28 h 31"/>
              <a:gd name="T36" fmla="*/ 13 w 22"/>
              <a:gd name="T37" fmla="*/ 25 h 31"/>
              <a:gd name="T38" fmla="*/ 13 w 22"/>
              <a:gd name="T39" fmla="*/ 19 h 31"/>
              <a:gd name="T40" fmla="*/ 13 w 22"/>
              <a:gd name="T41" fmla="*/ 16 h 31"/>
              <a:gd name="T42" fmla="*/ 19 w 22"/>
              <a:gd name="T43" fmla="*/ 13 h 31"/>
              <a:gd name="T44" fmla="*/ 22 w 22"/>
              <a:gd name="T45"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31">
                <a:moveTo>
                  <a:pt x="22" y="9"/>
                </a:moveTo>
                <a:lnTo>
                  <a:pt x="22" y="6"/>
                </a:lnTo>
                <a:lnTo>
                  <a:pt x="19" y="3"/>
                </a:lnTo>
                <a:lnTo>
                  <a:pt x="19" y="0"/>
                </a:lnTo>
                <a:lnTo>
                  <a:pt x="16" y="0"/>
                </a:lnTo>
                <a:lnTo>
                  <a:pt x="13" y="3"/>
                </a:lnTo>
                <a:lnTo>
                  <a:pt x="10" y="3"/>
                </a:lnTo>
                <a:lnTo>
                  <a:pt x="10" y="6"/>
                </a:lnTo>
                <a:lnTo>
                  <a:pt x="7" y="9"/>
                </a:lnTo>
                <a:lnTo>
                  <a:pt x="3" y="9"/>
                </a:lnTo>
                <a:lnTo>
                  <a:pt x="3" y="13"/>
                </a:lnTo>
                <a:lnTo>
                  <a:pt x="0" y="16"/>
                </a:lnTo>
                <a:lnTo>
                  <a:pt x="3" y="19"/>
                </a:lnTo>
                <a:lnTo>
                  <a:pt x="3" y="22"/>
                </a:lnTo>
                <a:lnTo>
                  <a:pt x="3" y="28"/>
                </a:lnTo>
                <a:lnTo>
                  <a:pt x="3" y="31"/>
                </a:lnTo>
                <a:lnTo>
                  <a:pt x="7" y="28"/>
                </a:lnTo>
                <a:lnTo>
                  <a:pt x="10" y="28"/>
                </a:lnTo>
                <a:lnTo>
                  <a:pt x="13" y="25"/>
                </a:lnTo>
                <a:lnTo>
                  <a:pt x="13" y="19"/>
                </a:lnTo>
                <a:lnTo>
                  <a:pt x="13" y="16"/>
                </a:lnTo>
                <a:lnTo>
                  <a:pt x="19" y="13"/>
                </a:lnTo>
                <a:lnTo>
                  <a:pt x="22" y="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2" name="Freeform 140">
            <a:extLst>
              <a:ext uri="{FF2B5EF4-FFF2-40B4-BE49-F238E27FC236}">
                <a16:creationId xmlns:a16="http://schemas.microsoft.com/office/drawing/2014/main" id="{47AB13FF-1E1F-1922-4F4B-A1271DBE5B98}"/>
              </a:ext>
            </a:extLst>
          </p:cNvPr>
          <p:cNvSpPr>
            <a:spLocks/>
          </p:cNvSpPr>
          <p:nvPr userDrawn="1"/>
        </p:nvSpPr>
        <p:spPr bwMode="auto">
          <a:xfrm>
            <a:off x="14985026" y="9435382"/>
            <a:ext cx="704804" cy="714376"/>
          </a:xfrm>
          <a:custGeom>
            <a:avLst/>
            <a:gdLst>
              <a:gd name="T0" fmla="*/ 28 w 222"/>
              <a:gd name="T1" fmla="*/ 3 h 225"/>
              <a:gd name="T2" fmla="*/ 94 w 222"/>
              <a:gd name="T3" fmla="*/ 0 h 225"/>
              <a:gd name="T4" fmla="*/ 169 w 222"/>
              <a:gd name="T5" fmla="*/ 50 h 225"/>
              <a:gd name="T6" fmla="*/ 197 w 222"/>
              <a:gd name="T7" fmla="*/ 72 h 225"/>
              <a:gd name="T8" fmla="*/ 197 w 222"/>
              <a:gd name="T9" fmla="*/ 78 h 225"/>
              <a:gd name="T10" fmla="*/ 188 w 222"/>
              <a:gd name="T11" fmla="*/ 100 h 225"/>
              <a:gd name="T12" fmla="*/ 197 w 222"/>
              <a:gd name="T13" fmla="*/ 116 h 225"/>
              <a:gd name="T14" fmla="*/ 203 w 222"/>
              <a:gd name="T15" fmla="*/ 122 h 225"/>
              <a:gd name="T16" fmla="*/ 197 w 222"/>
              <a:gd name="T17" fmla="*/ 128 h 225"/>
              <a:gd name="T18" fmla="*/ 200 w 222"/>
              <a:gd name="T19" fmla="*/ 144 h 225"/>
              <a:gd name="T20" fmla="*/ 200 w 222"/>
              <a:gd name="T21" fmla="*/ 157 h 225"/>
              <a:gd name="T22" fmla="*/ 200 w 222"/>
              <a:gd name="T23" fmla="*/ 163 h 225"/>
              <a:gd name="T24" fmla="*/ 203 w 222"/>
              <a:gd name="T25" fmla="*/ 169 h 225"/>
              <a:gd name="T26" fmla="*/ 213 w 222"/>
              <a:gd name="T27" fmla="*/ 185 h 225"/>
              <a:gd name="T28" fmla="*/ 222 w 222"/>
              <a:gd name="T29" fmla="*/ 191 h 225"/>
              <a:gd name="T30" fmla="*/ 219 w 222"/>
              <a:gd name="T31" fmla="*/ 194 h 225"/>
              <a:gd name="T32" fmla="*/ 209 w 222"/>
              <a:gd name="T33" fmla="*/ 197 h 225"/>
              <a:gd name="T34" fmla="*/ 200 w 222"/>
              <a:gd name="T35" fmla="*/ 204 h 225"/>
              <a:gd name="T36" fmla="*/ 191 w 222"/>
              <a:gd name="T37" fmla="*/ 204 h 225"/>
              <a:gd name="T38" fmla="*/ 178 w 222"/>
              <a:gd name="T39" fmla="*/ 210 h 225"/>
              <a:gd name="T40" fmla="*/ 169 w 222"/>
              <a:gd name="T41" fmla="*/ 207 h 225"/>
              <a:gd name="T42" fmla="*/ 169 w 222"/>
              <a:gd name="T43" fmla="*/ 213 h 225"/>
              <a:gd name="T44" fmla="*/ 156 w 222"/>
              <a:gd name="T45" fmla="*/ 213 h 225"/>
              <a:gd name="T46" fmla="*/ 150 w 222"/>
              <a:gd name="T47" fmla="*/ 210 h 225"/>
              <a:gd name="T48" fmla="*/ 144 w 222"/>
              <a:gd name="T49" fmla="*/ 216 h 225"/>
              <a:gd name="T50" fmla="*/ 134 w 222"/>
              <a:gd name="T51" fmla="*/ 213 h 225"/>
              <a:gd name="T52" fmla="*/ 128 w 222"/>
              <a:gd name="T53" fmla="*/ 210 h 225"/>
              <a:gd name="T54" fmla="*/ 125 w 222"/>
              <a:gd name="T55" fmla="*/ 210 h 225"/>
              <a:gd name="T56" fmla="*/ 100 w 222"/>
              <a:gd name="T57" fmla="*/ 225 h 225"/>
              <a:gd name="T58" fmla="*/ 91 w 222"/>
              <a:gd name="T59" fmla="*/ 179 h 225"/>
              <a:gd name="T60" fmla="*/ 87 w 222"/>
              <a:gd name="T61" fmla="*/ 172 h 225"/>
              <a:gd name="T62" fmla="*/ 81 w 222"/>
              <a:gd name="T63" fmla="*/ 172 h 225"/>
              <a:gd name="T64" fmla="*/ 78 w 222"/>
              <a:gd name="T65" fmla="*/ 172 h 225"/>
              <a:gd name="T66" fmla="*/ 72 w 222"/>
              <a:gd name="T67" fmla="*/ 169 h 225"/>
              <a:gd name="T68" fmla="*/ 69 w 222"/>
              <a:gd name="T69" fmla="*/ 166 h 225"/>
              <a:gd name="T70" fmla="*/ 62 w 222"/>
              <a:gd name="T71" fmla="*/ 160 h 225"/>
              <a:gd name="T72" fmla="*/ 47 w 222"/>
              <a:gd name="T73" fmla="*/ 157 h 225"/>
              <a:gd name="T74" fmla="*/ 41 w 222"/>
              <a:gd name="T75" fmla="*/ 150 h 225"/>
              <a:gd name="T76" fmla="*/ 34 w 222"/>
              <a:gd name="T77" fmla="*/ 150 h 225"/>
              <a:gd name="T78" fmla="*/ 9 w 222"/>
              <a:gd name="T79" fmla="*/ 113 h 225"/>
              <a:gd name="T80" fmla="*/ 12 w 222"/>
              <a:gd name="T81" fmla="*/ 72 h 225"/>
              <a:gd name="T82" fmla="*/ 25 w 222"/>
              <a:gd name="T83" fmla="*/ 60 h 225"/>
              <a:gd name="T84" fmla="*/ 34 w 222"/>
              <a:gd name="T85" fmla="*/ 53 h 225"/>
              <a:gd name="T86" fmla="*/ 31 w 222"/>
              <a:gd name="T87" fmla="*/ 44 h 225"/>
              <a:gd name="T88" fmla="*/ 28 w 222"/>
              <a:gd name="T89" fmla="*/ 38 h 225"/>
              <a:gd name="T90" fmla="*/ 28 w 222"/>
              <a:gd name="T91" fmla="*/ 35 h 225"/>
              <a:gd name="T92" fmla="*/ 34 w 222"/>
              <a:gd name="T93" fmla="*/ 31 h 225"/>
              <a:gd name="T94" fmla="*/ 34 w 222"/>
              <a:gd name="T95" fmla="*/ 22 h 225"/>
              <a:gd name="T96" fmla="*/ 31 w 222"/>
              <a:gd name="T97" fmla="*/ 1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2" h="225">
                <a:moveTo>
                  <a:pt x="25" y="6"/>
                </a:moveTo>
                <a:lnTo>
                  <a:pt x="28" y="3"/>
                </a:lnTo>
                <a:lnTo>
                  <a:pt x="28" y="3"/>
                </a:lnTo>
                <a:lnTo>
                  <a:pt x="31" y="3"/>
                </a:lnTo>
                <a:lnTo>
                  <a:pt x="53" y="3"/>
                </a:lnTo>
                <a:lnTo>
                  <a:pt x="94" y="0"/>
                </a:lnTo>
                <a:lnTo>
                  <a:pt x="166" y="44"/>
                </a:lnTo>
                <a:lnTo>
                  <a:pt x="172" y="50"/>
                </a:lnTo>
                <a:lnTo>
                  <a:pt x="169" y="50"/>
                </a:lnTo>
                <a:lnTo>
                  <a:pt x="172" y="53"/>
                </a:lnTo>
                <a:lnTo>
                  <a:pt x="172" y="57"/>
                </a:lnTo>
                <a:lnTo>
                  <a:pt x="197" y="72"/>
                </a:lnTo>
                <a:lnTo>
                  <a:pt x="197" y="72"/>
                </a:lnTo>
                <a:lnTo>
                  <a:pt x="197" y="75"/>
                </a:lnTo>
                <a:lnTo>
                  <a:pt x="197" y="78"/>
                </a:lnTo>
                <a:lnTo>
                  <a:pt x="197" y="78"/>
                </a:lnTo>
                <a:lnTo>
                  <a:pt x="191" y="91"/>
                </a:lnTo>
                <a:lnTo>
                  <a:pt x="188" y="100"/>
                </a:lnTo>
                <a:lnTo>
                  <a:pt x="188" y="103"/>
                </a:lnTo>
                <a:lnTo>
                  <a:pt x="194" y="110"/>
                </a:lnTo>
                <a:lnTo>
                  <a:pt x="197" y="116"/>
                </a:lnTo>
                <a:lnTo>
                  <a:pt x="200" y="113"/>
                </a:lnTo>
                <a:lnTo>
                  <a:pt x="203" y="122"/>
                </a:lnTo>
                <a:lnTo>
                  <a:pt x="203" y="122"/>
                </a:lnTo>
                <a:lnTo>
                  <a:pt x="200" y="122"/>
                </a:lnTo>
                <a:lnTo>
                  <a:pt x="197" y="125"/>
                </a:lnTo>
                <a:lnTo>
                  <a:pt x="197" y="128"/>
                </a:lnTo>
                <a:lnTo>
                  <a:pt x="197" y="138"/>
                </a:lnTo>
                <a:lnTo>
                  <a:pt x="200" y="141"/>
                </a:lnTo>
                <a:lnTo>
                  <a:pt x="200" y="144"/>
                </a:lnTo>
                <a:lnTo>
                  <a:pt x="197" y="147"/>
                </a:lnTo>
                <a:lnTo>
                  <a:pt x="197" y="150"/>
                </a:lnTo>
                <a:lnTo>
                  <a:pt x="200" y="157"/>
                </a:lnTo>
                <a:lnTo>
                  <a:pt x="200" y="157"/>
                </a:lnTo>
                <a:lnTo>
                  <a:pt x="200" y="160"/>
                </a:lnTo>
                <a:lnTo>
                  <a:pt x="200" y="163"/>
                </a:lnTo>
                <a:lnTo>
                  <a:pt x="203" y="163"/>
                </a:lnTo>
                <a:lnTo>
                  <a:pt x="200" y="169"/>
                </a:lnTo>
                <a:lnTo>
                  <a:pt x="203" y="169"/>
                </a:lnTo>
                <a:lnTo>
                  <a:pt x="206" y="175"/>
                </a:lnTo>
                <a:lnTo>
                  <a:pt x="203" y="179"/>
                </a:lnTo>
                <a:lnTo>
                  <a:pt x="213" y="185"/>
                </a:lnTo>
                <a:lnTo>
                  <a:pt x="216" y="185"/>
                </a:lnTo>
                <a:lnTo>
                  <a:pt x="222" y="191"/>
                </a:lnTo>
                <a:lnTo>
                  <a:pt x="222" y="191"/>
                </a:lnTo>
                <a:lnTo>
                  <a:pt x="222" y="191"/>
                </a:lnTo>
                <a:lnTo>
                  <a:pt x="222" y="191"/>
                </a:lnTo>
                <a:lnTo>
                  <a:pt x="219" y="194"/>
                </a:lnTo>
                <a:lnTo>
                  <a:pt x="216" y="194"/>
                </a:lnTo>
                <a:lnTo>
                  <a:pt x="213" y="197"/>
                </a:lnTo>
                <a:lnTo>
                  <a:pt x="209" y="197"/>
                </a:lnTo>
                <a:lnTo>
                  <a:pt x="206" y="200"/>
                </a:lnTo>
                <a:lnTo>
                  <a:pt x="203" y="204"/>
                </a:lnTo>
                <a:lnTo>
                  <a:pt x="200" y="204"/>
                </a:lnTo>
                <a:lnTo>
                  <a:pt x="197" y="204"/>
                </a:lnTo>
                <a:lnTo>
                  <a:pt x="194" y="207"/>
                </a:lnTo>
                <a:lnTo>
                  <a:pt x="191" y="204"/>
                </a:lnTo>
                <a:lnTo>
                  <a:pt x="184" y="207"/>
                </a:lnTo>
                <a:lnTo>
                  <a:pt x="181" y="207"/>
                </a:lnTo>
                <a:lnTo>
                  <a:pt x="178" y="210"/>
                </a:lnTo>
                <a:lnTo>
                  <a:pt x="175" y="207"/>
                </a:lnTo>
                <a:lnTo>
                  <a:pt x="172" y="207"/>
                </a:lnTo>
                <a:lnTo>
                  <a:pt x="169" y="207"/>
                </a:lnTo>
                <a:lnTo>
                  <a:pt x="169" y="207"/>
                </a:lnTo>
                <a:lnTo>
                  <a:pt x="169" y="210"/>
                </a:lnTo>
                <a:lnTo>
                  <a:pt x="169" y="213"/>
                </a:lnTo>
                <a:lnTo>
                  <a:pt x="163" y="213"/>
                </a:lnTo>
                <a:lnTo>
                  <a:pt x="159" y="213"/>
                </a:lnTo>
                <a:lnTo>
                  <a:pt x="156" y="213"/>
                </a:lnTo>
                <a:lnTo>
                  <a:pt x="153" y="213"/>
                </a:lnTo>
                <a:lnTo>
                  <a:pt x="153" y="213"/>
                </a:lnTo>
                <a:lnTo>
                  <a:pt x="150" y="210"/>
                </a:lnTo>
                <a:lnTo>
                  <a:pt x="150" y="213"/>
                </a:lnTo>
                <a:lnTo>
                  <a:pt x="147" y="213"/>
                </a:lnTo>
                <a:lnTo>
                  <a:pt x="144" y="216"/>
                </a:lnTo>
                <a:lnTo>
                  <a:pt x="138" y="216"/>
                </a:lnTo>
                <a:lnTo>
                  <a:pt x="138" y="216"/>
                </a:lnTo>
                <a:lnTo>
                  <a:pt x="134" y="213"/>
                </a:lnTo>
                <a:lnTo>
                  <a:pt x="134" y="213"/>
                </a:lnTo>
                <a:lnTo>
                  <a:pt x="131" y="210"/>
                </a:lnTo>
                <a:lnTo>
                  <a:pt x="128" y="210"/>
                </a:lnTo>
                <a:lnTo>
                  <a:pt x="128" y="210"/>
                </a:lnTo>
                <a:lnTo>
                  <a:pt x="125" y="210"/>
                </a:lnTo>
                <a:lnTo>
                  <a:pt x="125" y="210"/>
                </a:lnTo>
                <a:lnTo>
                  <a:pt x="122" y="213"/>
                </a:lnTo>
                <a:lnTo>
                  <a:pt x="103" y="213"/>
                </a:lnTo>
                <a:lnTo>
                  <a:pt x="100" y="225"/>
                </a:lnTo>
                <a:lnTo>
                  <a:pt x="100" y="194"/>
                </a:lnTo>
                <a:lnTo>
                  <a:pt x="97" y="185"/>
                </a:lnTo>
                <a:lnTo>
                  <a:pt x="91" y="179"/>
                </a:lnTo>
                <a:lnTo>
                  <a:pt x="91" y="175"/>
                </a:lnTo>
                <a:lnTo>
                  <a:pt x="87" y="175"/>
                </a:lnTo>
                <a:lnTo>
                  <a:pt x="87" y="172"/>
                </a:lnTo>
                <a:lnTo>
                  <a:pt x="84" y="172"/>
                </a:lnTo>
                <a:lnTo>
                  <a:pt x="84" y="172"/>
                </a:lnTo>
                <a:lnTo>
                  <a:pt x="81" y="172"/>
                </a:lnTo>
                <a:lnTo>
                  <a:pt x="81" y="172"/>
                </a:lnTo>
                <a:lnTo>
                  <a:pt x="78" y="172"/>
                </a:lnTo>
                <a:lnTo>
                  <a:pt x="78" y="172"/>
                </a:lnTo>
                <a:lnTo>
                  <a:pt x="75" y="169"/>
                </a:lnTo>
                <a:lnTo>
                  <a:pt x="75" y="169"/>
                </a:lnTo>
                <a:lnTo>
                  <a:pt x="72" y="169"/>
                </a:lnTo>
                <a:lnTo>
                  <a:pt x="72" y="169"/>
                </a:lnTo>
                <a:lnTo>
                  <a:pt x="72" y="169"/>
                </a:lnTo>
                <a:lnTo>
                  <a:pt x="69" y="166"/>
                </a:lnTo>
                <a:lnTo>
                  <a:pt x="66" y="163"/>
                </a:lnTo>
                <a:lnTo>
                  <a:pt x="62" y="163"/>
                </a:lnTo>
                <a:lnTo>
                  <a:pt x="62" y="160"/>
                </a:lnTo>
                <a:lnTo>
                  <a:pt x="59" y="160"/>
                </a:lnTo>
                <a:lnTo>
                  <a:pt x="50" y="157"/>
                </a:lnTo>
                <a:lnTo>
                  <a:pt x="47" y="157"/>
                </a:lnTo>
                <a:lnTo>
                  <a:pt x="44" y="153"/>
                </a:lnTo>
                <a:lnTo>
                  <a:pt x="44" y="153"/>
                </a:lnTo>
                <a:lnTo>
                  <a:pt x="41" y="150"/>
                </a:lnTo>
                <a:lnTo>
                  <a:pt x="41" y="150"/>
                </a:lnTo>
                <a:lnTo>
                  <a:pt x="37" y="150"/>
                </a:lnTo>
                <a:lnTo>
                  <a:pt x="34" y="150"/>
                </a:lnTo>
                <a:lnTo>
                  <a:pt x="28" y="147"/>
                </a:lnTo>
                <a:lnTo>
                  <a:pt x="22" y="132"/>
                </a:lnTo>
                <a:lnTo>
                  <a:pt x="9" y="113"/>
                </a:lnTo>
                <a:lnTo>
                  <a:pt x="3" y="88"/>
                </a:lnTo>
                <a:lnTo>
                  <a:pt x="0" y="72"/>
                </a:lnTo>
                <a:lnTo>
                  <a:pt x="12" y="72"/>
                </a:lnTo>
                <a:lnTo>
                  <a:pt x="19" y="69"/>
                </a:lnTo>
                <a:lnTo>
                  <a:pt x="22" y="66"/>
                </a:lnTo>
                <a:lnTo>
                  <a:pt x="25" y="60"/>
                </a:lnTo>
                <a:lnTo>
                  <a:pt x="28" y="57"/>
                </a:lnTo>
                <a:lnTo>
                  <a:pt x="31" y="57"/>
                </a:lnTo>
                <a:lnTo>
                  <a:pt x="34" y="53"/>
                </a:lnTo>
                <a:lnTo>
                  <a:pt x="34" y="50"/>
                </a:lnTo>
                <a:lnTo>
                  <a:pt x="34" y="44"/>
                </a:lnTo>
                <a:lnTo>
                  <a:pt x="31" y="44"/>
                </a:lnTo>
                <a:lnTo>
                  <a:pt x="31" y="41"/>
                </a:lnTo>
                <a:lnTo>
                  <a:pt x="28" y="38"/>
                </a:lnTo>
                <a:lnTo>
                  <a:pt x="28" y="38"/>
                </a:lnTo>
                <a:lnTo>
                  <a:pt x="28" y="35"/>
                </a:lnTo>
                <a:lnTo>
                  <a:pt x="28" y="31"/>
                </a:lnTo>
                <a:lnTo>
                  <a:pt x="28" y="35"/>
                </a:lnTo>
                <a:lnTo>
                  <a:pt x="28" y="35"/>
                </a:lnTo>
                <a:lnTo>
                  <a:pt x="31" y="31"/>
                </a:lnTo>
                <a:lnTo>
                  <a:pt x="34" y="31"/>
                </a:lnTo>
                <a:lnTo>
                  <a:pt x="34" y="28"/>
                </a:lnTo>
                <a:lnTo>
                  <a:pt x="34" y="25"/>
                </a:lnTo>
                <a:lnTo>
                  <a:pt x="34" y="22"/>
                </a:lnTo>
                <a:lnTo>
                  <a:pt x="34" y="16"/>
                </a:lnTo>
                <a:lnTo>
                  <a:pt x="31" y="13"/>
                </a:lnTo>
                <a:lnTo>
                  <a:pt x="31" y="13"/>
                </a:lnTo>
                <a:lnTo>
                  <a:pt x="28" y="10"/>
                </a:lnTo>
                <a:lnTo>
                  <a:pt x="25" y="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3" name="Freeform 141">
            <a:extLst>
              <a:ext uri="{FF2B5EF4-FFF2-40B4-BE49-F238E27FC236}">
                <a16:creationId xmlns:a16="http://schemas.microsoft.com/office/drawing/2014/main" id="{F67283CD-3229-B831-58CE-9BD44605C78C}"/>
              </a:ext>
            </a:extLst>
          </p:cNvPr>
          <p:cNvSpPr>
            <a:spLocks/>
          </p:cNvSpPr>
          <p:nvPr userDrawn="1"/>
        </p:nvSpPr>
        <p:spPr bwMode="auto">
          <a:xfrm>
            <a:off x="14975496" y="9454432"/>
            <a:ext cx="117470" cy="101600"/>
          </a:xfrm>
          <a:custGeom>
            <a:avLst/>
            <a:gdLst>
              <a:gd name="T0" fmla="*/ 9 w 37"/>
              <a:gd name="T1" fmla="*/ 4 h 32"/>
              <a:gd name="T2" fmla="*/ 9 w 37"/>
              <a:gd name="T3" fmla="*/ 4 h 32"/>
              <a:gd name="T4" fmla="*/ 12 w 37"/>
              <a:gd name="T5" fmla="*/ 4 h 32"/>
              <a:gd name="T6" fmla="*/ 19 w 37"/>
              <a:gd name="T7" fmla="*/ 0 h 32"/>
              <a:gd name="T8" fmla="*/ 19 w 37"/>
              <a:gd name="T9" fmla="*/ 4 h 32"/>
              <a:gd name="T10" fmla="*/ 22 w 37"/>
              <a:gd name="T11" fmla="*/ 4 h 32"/>
              <a:gd name="T12" fmla="*/ 25 w 37"/>
              <a:gd name="T13" fmla="*/ 4 h 32"/>
              <a:gd name="T14" fmla="*/ 25 w 37"/>
              <a:gd name="T15" fmla="*/ 4 h 32"/>
              <a:gd name="T16" fmla="*/ 25 w 37"/>
              <a:gd name="T17" fmla="*/ 0 h 32"/>
              <a:gd name="T18" fmla="*/ 28 w 37"/>
              <a:gd name="T19" fmla="*/ 0 h 32"/>
              <a:gd name="T20" fmla="*/ 31 w 37"/>
              <a:gd name="T21" fmla="*/ 4 h 32"/>
              <a:gd name="T22" fmla="*/ 34 w 37"/>
              <a:gd name="T23" fmla="*/ 7 h 32"/>
              <a:gd name="T24" fmla="*/ 34 w 37"/>
              <a:gd name="T25" fmla="*/ 7 h 32"/>
              <a:gd name="T26" fmla="*/ 37 w 37"/>
              <a:gd name="T27" fmla="*/ 10 h 32"/>
              <a:gd name="T28" fmla="*/ 37 w 37"/>
              <a:gd name="T29" fmla="*/ 16 h 32"/>
              <a:gd name="T30" fmla="*/ 37 w 37"/>
              <a:gd name="T31" fmla="*/ 19 h 32"/>
              <a:gd name="T32" fmla="*/ 37 w 37"/>
              <a:gd name="T33" fmla="*/ 22 h 32"/>
              <a:gd name="T34" fmla="*/ 37 w 37"/>
              <a:gd name="T35" fmla="*/ 25 h 32"/>
              <a:gd name="T36" fmla="*/ 34 w 37"/>
              <a:gd name="T37" fmla="*/ 25 h 32"/>
              <a:gd name="T38" fmla="*/ 31 w 37"/>
              <a:gd name="T39" fmla="*/ 29 h 32"/>
              <a:gd name="T40" fmla="*/ 31 w 37"/>
              <a:gd name="T41" fmla="*/ 29 h 32"/>
              <a:gd name="T42" fmla="*/ 31 w 37"/>
              <a:gd name="T43" fmla="*/ 25 h 32"/>
              <a:gd name="T44" fmla="*/ 31 w 37"/>
              <a:gd name="T45" fmla="*/ 25 h 32"/>
              <a:gd name="T46" fmla="*/ 28 w 37"/>
              <a:gd name="T47" fmla="*/ 25 h 32"/>
              <a:gd name="T48" fmla="*/ 28 w 37"/>
              <a:gd name="T49" fmla="*/ 22 h 32"/>
              <a:gd name="T50" fmla="*/ 25 w 37"/>
              <a:gd name="T51" fmla="*/ 22 h 32"/>
              <a:gd name="T52" fmla="*/ 22 w 37"/>
              <a:gd name="T53" fmla="*/ 19 h 32"/>
              <a:gd name="T54" fmla="*/ 22 w 37"/>
              <a:gd name="T55" fmla="*/ 19 h 32"/>
              <a:gd name="T56" fmla="*/ 22 w 37"/>
              <a:gd name="T57" fmla="*/ 22 h 32"/>
              <a:gd name="T58" fmla="*/ 19 w 37"/>
              <a:gd name="T59" fmla="*/ 29 h 32"/>
              <a:gd name="T60" fmla="*/ 19 w 37"/>
              <a:gd name="T61" fmla="*/ 32 h 32"/>
              <a:gd name="T62" fmla="*/ 15 w 37"/>
              <a:gd name="T63" fmla="*/ 32 h 32"/>
              <a:gd name="T64" fmla="*/ 12 w 37"/>
              <a:gd name="T65" fmla="*/ 32 h 32"/>
              <a:gd name="T66" fmla="*/ 12 w 37"/>
              <a:gd name="T67" fmla="*/ 32 h 32"/>
              <a:gd name="T68" fmla="*/ 9 w 37"/>
              <a:gd name="T69" fmla="*/ 32 h 32"/>
              <a:gd name="T70" fmla="*/ 6 w 37"/>
              <a:gd name="T71" fmla="*/ 32 h 32"/>
              <a:gd name="T72" fmla="*/ 6 w 37"/>
              <a:gd name="T73" fmla="*/ 29 h 32"/>
              <a:gd name="T74" fmla="*/ 3 w 37"/>
              <a:gd name="T75" fmla="*/ 25 h 32"/>
              <a:gd name="T76" fmla="*/ 0 w 37"/>
              <a:gd name="T77" fmla="*/ 25 h 32"/>
              <a:gd name="T78" fmla="*/ 0 w 37"/>
              <a:gd name="T79" fmla="*/ 29 h 32"/>
              <a:gd name="T80" fmla="*/ 0 w 37"/>
              <a:gd name="T81" fmla="*/ 25 h 32"/>
              <a:gd name="T82" fmla="*/ 3 w 37"/>
              <a:gd name="T83" fmla="*/ 13 h 32"/>
              <a:gd name="T84" fmla="*/ 6 w 37"/>
              <a:gd name="T85" fmla="*/ 7 h 32"/>
              <a:gd name="T86" fmla="*/ 9 w 37"/>
              <a:gd name="T87"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 h="32">
                <a:moveTo>
                  <a:pt x="9" y="4"/>
                </a:moveTo>
                <a:lnTo>
                  <a:pt x="9" y="4"/>
                </a:lnTo>
                <a:lnTo>
                  <a:pt x="12" y="4"/>
                </a:lnTo>
                <a:lnTo>
                  <a:pt x="19" y="0"/>
                </a:lnTo>
                <a:lnTo>
                  <a:pt x="19" y="4"/>
                </a:lnTo>
                <a:lnTo>
                  <a:pt x="22" y="4"/>
                </a:lnTo>
                <a:lnTo>
                  <a:pt x="25" y="4"/>
                </a:lnTo>
                <a:lnTo>
                  <a:pt x="25" y="4"/>
                </a:lnTo>
                <a:lnTo>
                  <a:pt x="25" y="0"/>
                </a:lnTo>
                <a:lnTo>
                  <a:pt x="28" y="0"/>
                </a:lnTo>
                <a:lnTo>
                  <a:pt x="31" y="4"/>
                </a:lnTo>
                <a:lnTo>
                  <a:pt x="34" y="7"/>
                </a:lnTo>
                <a:lnTo>
                  <a:pt x="34" y="7"/>
                </a:lnTo>
                <a:lnTo>
                  <a:pt x="37" y="10"/>
                </a:lnTo>
                <a:lnTo>
                  <a:pt x="37" y="16"/>
                </a:lnTo>
                <a:lnTo>
                  <a:pt x="37" y="19"/>
                </a:lnTo>
                <a:lnTo>
                  <a:pt x="37" y="22"/>
                </a:lnTo>
                <a:lnTo>
                  <a:pt x="37" y="25"/>
                </a:lnTo>
                <a:lnTo>
                  <a:pt x="34" y="25"/>
                </a:lnTo>
                <a:lnTo>
                  <a:pt x="31" y="29"/>
                </a:lnTo>
                <a:lnTo>
                  <a:pt x="31" y="29"/>
                </a:lnTo>
                <a:lnTo>
                  <a:pt x="31" y="25"/>
                </a:lnTo>
                <a:lnTo>
                  <a:pt x="31" y="25"/>
                </a:lnTo>
                <a:lnTo>
                  <a:pt x="28" y="25"/>
                </a:lnTo>
                <a:lnTo>
                  <a:pt x="28" y="22"/>
                </a:lnTo>
                <a:lnTo>
                  <a:pt x="25" y="22"/>
                </a:lnTo>
                <a:lnTo>
                  <a:pt x="22" y="19"/>
                </a:lnTo>
                <a:lnTo>
                  <a:pt x="22" y="19"/>
                </a:lnTo>
                <a:lnTo>
                  <a:pt x="22" y="22"/>
                </a:lnTo>
                <a:lnTo>
                  <a:pt x="19" y="29"/>
                </a:lnTo>
                <a:lnTo>
                  <a:pt x="19" y="32"/>
                </a:lnTo>
                <a:lnTo>
                  <a:pt x="15" y="32"/>
                </a:lnTo>
                <a:lnTo>
                  <a:pt x="12" y="32"/>
                </a:lnTo>
                <a:lnTo>
                  <a:pt x="12" y="32"/>
                </a:lnTo>
                <a:lnTo>
                  <a:pt x="9" y="32"/>
                </a:lnTo>
                <a:lnTo>
                  <a:pt x="6" y="32"/>
                </a:lnTo>
                <a:lnTo>
                  <a:pt x="6" y="29"/>
                </a:lnTo>
                <a:lnTo>
                  <a:pt x="3" y="25"/>
                </a:lnTo>
                <a:lnTo>
                  <a:pt x="0" y="25"/>
                </a:lnTo>
                <a:lnTo>
                  <a:pt x="0" y="29"/>
                </a:lnTo>
                <a:lnTo>
                  <a:pt x="0" y="25"/>
                </a:lnTo>
                <a:lnTo>
                  <a:pt x="3" y="13"/>
                </a:lnTo>
                <a:lnTo>
                  <a:pt x="6" y="7"/>
                </a:lnTo>
                <a:lnTo>
                  <a:pt x="9" y="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4" name="Freeform 142">
            <a:extLst>
              <a:ext uri="{FF2B5EF4-FFF2-40B4-BE49-F238E27FC236}">
                <a16:creationId xmlns:a16="http://schemas.microsoft.com/office/drawing/2014/main" id="{921E20B6-3CA3-FDF9-2AF9-ED2E1DF49237}"/>
              </a:ext>
            </a:extLst>
          </p:cNvPr>
          <p:cNvSpPr>
            <a:spLocks/>
          </p:cNvSpPr>
          <p:nvPr userDrawn="1"/>
        </p:nvSpPr>
        <p:spPr bwMode="auto">
          <a:xfrm>
            <a:off x="14965974" y="9514759"/>
            <a:ext cx="126992" cy="149226"/>
          </a:xfrm>
          <a:custGeom>
            <a:avLst/>
            <a:gdLst>
              <a:gd name="T0" fmla="*/ 6 w 40"/>
              <a:gd name="T1" fmla="*/ 47 h 47"/>
              <a:gd name="T2" fmla="*/ 18 w 40"/>
              <a:gd name="T3" fmla="*/ 47 h 47"/>
              <a:gd name="T4" fmla="*/ 25 w 40"/>
              <a:gd name="T5" fmla="*/ 44 h 47"/>
              <a:gd name="T6" fmla="*/ 28 w 40"/>
              <a:gd name="T7" fmla="*/ 41 h 47"/>
              <a:gd name="T8" fmla="*/ 31 w 40"/>
              <a:gd name="T9" fmla="*/ 35 h 47"/>
              <a:gd name="T10" fmla="*/ 34 w 40"/>
              <a:gd name="T11" fmla="*/ 32 h 47"/>
              <a:gd name="T12" fmla="*/ 37 w 40"/>
              <a:gd name="T13" fmla="*/ 32 h 47"/>
              <a:gd name="T14" fmla="*/ 40 w 40"/>
              <a:gd name="T15" fmla="*/ 28 h 47"/>
              <a:gd name="T16" fmla="*/ 40 w 40"/>
              <a:gd name="T17" fmla="*/ 25 h 47"/>
              <a:gd name="T18" fmla="*/ 40 w 40"/>
              <a:gd name="T19" fmla="*/ 19 h 47"/>
              <a:gd name="T20" fmla="*/ 37 w 40"/>
              <a:gd name="T21" fmla="*/ 19 h 47"/>
              <a:gd name="T22" fmla="*/ 37 w 40"/>
              <a:gd name="T23" fmla="*/ 16 h 47"/>
              <a:gd name="T24" fmla="*/ 34 w 40"/>
              <a:gd name="T25" fmla="*/ 13 h 47"/>
              <a:gd name="T26" fmla="*/ 34 w 40"/>
              <a:gd name="T27" fmla="*/ 13 h 47"/>
              <a:gd name="T28" fmla="*/ 34 w 40"/>
              <a:gd name="T29" fmla="*/ 10 h 47"/>
              <a:gd name="T30" fmla="*/ 34 w 40"/>
              <a:gd name="T31" fmla="*/ 6 h 47"/>
              <a:gd name="T32" fmla="*/ 31 w 40"/>
              <a:gd name="T33" fmla="*/ 6 h 47"/>
              <a:gd name="T34" fmla="*/ 31 w 40"/>
              <a:gd name="T35" fmla="*/ 3 h 47"/>
              <a:gd name="T36" fmla="*/ 28 w 40"/>
              <a:gd name="T37" fmla="*/ 3 h 47"/>
              <a:gd name="T38" fmla="*/ 25 w 40"/>
              <a:gd name="T39" fmla="*/ 0 h 47"/>
              <a:gd name="T40" fmla="*/ 25 w 40"/>
              <a:gd name="T41" fmla="*/ 0 h 47"/>
              <a:gd name="T42" fmla="*/ 25 w 40"/>
              <a:gd name="T43" fmla="*/ 3 h 47"/>
              <a:gd name="T44" fmla="*/ 22 w 40"/>
              <a:gd name="T45" fmla="*/ 10 h 47"/>
              <a:gd name="T46" fmla="*/ 22 w 40"/>
              <a:gd name="T47" fmla="*/ 13 h 47"/>
              <a:gd name="T48" fmla="*/ 18 w 40"/>
              <a:gd name="T49" fmla="*/ 13 h 47"/>
              <a:gd name="T50" fmla="*/ 15 w 40"/>
              <a:gd name="T51" fmla="*/ 13 h 47"/>
              <a:gd name="T52" fmla="*/ 15 w 40"/>
              <a:gd name="T53" fmla="*/ 13 h 47"/>
              <a:gd name="T54" fmla="*/ 12 w 40"/>
              <a:gd name="T55" fmla="*/ 13 h 47"/>
              <a:gd name="T56" fmla="*/ 9 w 40"/>
              <a:gd name="T57" fmla="*/ 13 h 47"/>
              <a:gd name="T58" fmla="*/ 9 w 40"/>
              <a:gd name="T59" fmla="*/ 10 h 47"/>
              <a:gd name="T60" fmla="*/ 6 w 40"/>
              <a:gd name="T61" fmla="*/ 6 h 47"/>
              <a:gd name="T62" fmla="*/ 3 w 40"/>
              <a:gd name="T63" fmla="*/ 6 h 47"/>
              <a:gd name="T64" fmla="*/ 3 w 40"/>
              <a:gd name="T65" fmla="*/ 10 h 47"/>
              <a:gd name="T66" fmla="*/ 0 w 40"/>
              <a:gd name="T67" fmla="*/ 10 h 47"/>
              <a:gd name="T68" fmla="*/ 3 w 40"/>
              <a:gd name="T69" fmla="*/ 16 h 47"/>
              <a:gd name="T70" fmla="*/ 3 w 40"/>
              <a:gd name="T71" fmla="*/ 19 h 47"/>
              <a:gd name="T72" fmla="*/ 3 w 40"/>
              <a:gd name="T73" fmla="*/ 25 h 47"/>
              <a:gd name="T74" fmla="*/ 6 w 40"/>
              <a:gd name="T75"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7">
                <a:moveTo>
                  <a:pt x="6" y="47"/>
                </a:moveTo>
                <a:lnTo>
                  <a:pt x="18" y="47"/>
                </a:lnTo>
                <a:lnTo>
                  <a:pt x="25" y="44"/>
                </a:lnTo>
                <a:lnTo>
                  <a:pt x="28" y="41"/>
                </a:lnTo>
                <a:lnTo>
                  <a:pt x="31" y="35"/>
                </a:lnTo>
                <a:lnTo>
                  <a:pt x="34" y="32"/>
                </a:lnTo>
                <a:lnTo>
                  <a:pt x="37" y="32"/>
                </a:lnTo>
                <a:lnTo>
                  <a:pt x="40" y="28"/>
                </a:lnTo>
                <a:lnTo>
                  <a:pt x="40" y="25"/>
                </a:lnTo>
                <a:lnTo>
                  <a:pt x="40" y="19"/>
                </a:lnTo>
                <a:lnTo>
                  <a:pt x="37" y="19"/>
                </a:lnTo>
                <a:lnTo>
                  <a:pt x="37" y="16"/>
                </a:lnTo>
                <a:lnTo>
                  <a:pt x="34" y="13"/>
                </a:lnTo>
                <a:lnTo>
                  <a:pt x="34" y="13"/>
                </a:lnTo>
                <a:lnTo>
                  <a:pt x="34" y="10"/>
                </a:lnTo>
                <a:lnTo>
                  <a:pt x="34" y="6"/>
                </a:lnTo>
                <a:lnTo>
                  <a:pt x="31" y="6"/>
                </a:lnTo>
                <a:lnTo>
                  <a:pt x="31" y="3"/>
                </a:lnTo>
                <a:lnTo>
                  <a:pt x="28" y="3"/>
                </a:lnTo>
                <a:lnTo>
                  <a:pt x="25" y="0"/>
                </a:lnTo>
                <a:lnTo>
                  <a:pt x="25" y="0"/>
                </a:lnTo>
                <a:lnTo>
                  <a:pt x="25" y="3"/>
                </a:lnTo>
                <a:lnTo>
                  <a:pt x="22" y="10"/>
                </a:lnTo>
                <a:lnTo>
                  <a:pt x="22" y="13"/>
                </a:lnTo>
                <a:lnTo>
                  <a:pt x="18" y="13"/>
                </a:lnTo>
                <a:lnTo>
                  <a:pt x="15" y="13"/>
                </a:lnTo>
                <a:lnTo>
                  <a:pt x="15" y="13"/>
                </a:lnTo>
                <a:lnTo>
                  <a:pt x="12" y="13"/>
                </a:lnTo>
                <a:lnTo>
                  <a:pt x="9" y="13"/>
                </a:lnTo>
                <a:lnTo>
                  <a:pt x="9" y="10"/>
                </a:lnTo>
                <a:lnTo>
                  <a:pt x="6" y="6"/>
                </a:lnTo>
                <a:lnTo>
                  <a:pt x="3" y="6"/>
                </a:lnTo>
                <a:lnTo>
                  <a:pt x="3" y="10"/>
                </a:lnTo>
                <a:lnTo>
                  <a:pt x="0" y="10"/>
                </a:lnTo>
                <a:lnTo>
                  <a:pt x="3" y="16"/>
                </a:lnTo>
                <a:lnTo>
                  <a:pt x="3" y="19"/>
                </a:lnTo>
                <a:lnTo>
                  <a:pt x="3" y="25"/>
                </a:lnTo>
                <a:lnTo>
                  <a:pt x="6" y="47"/>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5" name="Freeform 143">
            <a:extLst>
              <a:ext uri="{FF2B5EF4-FFF2-40B4-BE49-F238E27FC236}">
                <a16:creationId xmlns:a16="http://schemas.microsoft.com/office/drawing/2014/main" id="{AB171244-B990-61F9-B8F9-7FF8D86BFDF1}"/>
              </a:ext>
            </a:extLst>
          </p:cNvPr>
          <p:cNvSpPr>
            <a:spLocks/>
          </p:cNvSpPr>
          <p:nvPr userDrawn="1"/>
        </p:nvSpPr>
        <p:spPr bwMode="auto">
          <a:xfrm>
            <a:off x="13911945" y="9038509"/>
            <a:ext cx="1190549" cy="1190626"/>
          </a:xfrm>
          <a:custGeom>
            <a:avLst/>
            <a:gdLst>
              <a:gd name="T0" fmla="*/ 10 w 375"/>
              <a:gd name="T1" fmla="*/ 210 h 375"/>
              <a:gd name="T2" fmla="*/ 25 w 375"/>
              <a:gd name="T3" fmla="*/ 203 h 375"/>
              <a:gd name="T4" fmla="*/ 41 w 375"/>
              <a:gd name="T5" fmla="*/ 194 h 375"/>
              <a:gd name="T6" fmla="*/ 50 w 375"/>
              <a:gd name="T7" fmla="*/ 207 h 375"/>
              <a:gd name="T8" fmla="*/ 75 w 375"/>
              <a:gd name="T9" fmla="*/ 185 h 375"/>
              <a:gd name="T10" fmla="*/ 79 w 375"/>
              <a:gd name="T11" fmla="*/ 153 h 375"/>
              <a:gd name="T12" fmla="*/ 97 w 375"/>
              <a:gd name="T13" fmla="*/ 131 h 375"/>
              <a:gd name="T14" fmla="*/ 116 w 375"/>
              <a:gd name="T15" fmla="*/ 103 h 375"/>
              <a:gd name="T16" fmla="*/ 119 w 375"/>
              <a:gd name="T17" fmla="*/ 78 h 375"/>
              <a:gd name="T18" fmla="*/ 132 w 375"/>
              <a:gd name="T19" fmla="*/ 47 h 375"/>
              <a:gd name="T20" fmla="*/ 129 w 375"/>
              <a:gd name="T21" fmla="*/ 22 h 375"/>
              <a:gd name="T22" fmla="*/ 135 w 375"/>
              <a:gd name="T23" fmla="*/ 13 h 375"/>
              <a:gd name="T24" fmla="*/ 147 w 375"/>
              <a:gd name="T25" fmla="*/ 6 h 375"/>
              <a:gd name="T26" fmla="*/ 169 w 375"/>
              <a:gd name="T27" fmla="*/ 19 h 375"/>
              <a:gd name="T28" fmla="*/ 191 w 375"/>
              <a:gd name="T29" fmla="*/ 22 h 375"/>
              <a:gd name="T30" fmla="*/ 204 w 375"/>
              <a:gd name="T31" fmla="*/ 22 h 375"/>
              <a:gd name="T32" fmla="*/ 219 w 375"/>
              <a:gd name="T33" fmla="*/ 16 h 375"/>
              <a:gd name="T34" fmla="*/ 244 w 375"/>
              <a:gd name="T35" fmla="*/ 6 h 375"/>
              <a:gd name="T36" fmla="*/ 257 w 375"/>
              <a:gd name="T37" fmla="*/ 9 h 375"/>
              <a:gd name="T38" fmla="*/ 266 w 375"/>
              <a:gd name="T39" fmla="*/ 0 h 375"/>
              <a:gd name="T40" fmla="*/ 282 w 375"/>
              <a:gd name="T41" fmla="*/ 6 h 375"/>
              <a:gd name="T42" fmla="*/ 307 w 375"/>
              <a:gd name="T43" fmla="*/ 9 h 375"/>
              <a:gd name="T44" fmla="*/ 322 w 375"/>
              <a:gd name="T45" fmla="*/ 22 h 375"/>
              <a:gd name="T46" fmla="*/ 335 w 375"/>
              <a:gd name="T47" fmla="*/ 19 h 375"/>
              <a:gd name="T48" fmla="*/ 350 w 375"/>
              <a:gd name="T49" fmla="*/ 13 h 375"/>
              <a:gd name="T50" fmla="*/ 366 w 375"/>
              <a:gd name="T51" fmla="*/ 31 h 375"/>
              <a:gd name="T52" fmla="*/ 375 w 375"/>
              <a:gd name="T53" fmla="*/ 38 h 375"/>
              <a:gd name="T54" fmla="*/ 372 w 375"/>
              <a:gd name="T55" fmla="*/ 63 h 375"/>
              <a:gd name="T56" fmla="*/ 357 w 375"/>
              <a:gd name="T57" fmla="*/ 94 h 375"/>
              <a:gd name="T58" fmla="*/ 344 w 375"/>
              <a:gd name="T59" fmla="*/ 135 h 375"/>
              <a:gd name="T60" fmla="*/ 335 w 375"/>
              <a:gd name="T61" fmla="*/ 169 h 375"/>
              <a:gd name="T62" fmla="*/ 363 w 375"/>
              <a:gd name="T63" fmla="*/ 269 h 375"/>
              <a:gd name="T64" fmla="*/ 329 w 375"/>
              <a:gd name="T65" fmla="*/ 304 h 375"/>
              <a:gd name="T66" fmla="*/ 325 w 375"/>
              <a:gd name="T67" fmla="*/ 316 h 375"/>
              <a:gd name="T68" fmla="*/ 319 w 375"/>
              <a:gd name="T69" fmla="*/ 344 h 375"/>
              <a:gd name="T70" fmla="*/ 341 w 375"/>
              <a:gd name="T71" fmla="*/ 357 h 375"/>
              <a:gd name="T72" fmla="*/ 344 w 375"/>
              <a:gd name="T73" fmla="*/ 375 h 375"/>
              <a:gd name="T74" fmla="*/ 332 w 375"/>
              <a:gd name="T75" fmla="*/ 375 h 375"/>
              <a:gd name="T76" fmla="*/ 304 w 375"/>
              <a:gd name="T77" fmla="*/ 354 h 375"/>
              <a:gd name="T78" fmla="*/ 294 w 375"/>
              <a:gd name="T79" fmla="*/ 338 h 375"/>
              <a:gd name="T80" fmla="*/ 279 w 375"/>
              <a:gd name="T81" fmla="*/ 347 h 375"/>
              <a:gd name="T82" fmla="*/ 260 w 375"/>
              <a:gd name="T83" fmla="*/ 341 h 375"/>
              <a:gd name="T84" fmla="*/ 250 w 375"/>
              <a:gd name="T85" fmla="*/ 332 h 375"/>
              <a:gd name="T86" fmla="*/ 241 w 375"/>
              <a:gd name="T87" fmla="*/ 335 h 375"/>
              <a:gd name="T88" fmla="*/ 232 w 375"/>
              <a:gd name="T89" fmla="*/ 329 h 375"/>
              <a:gd name="T90" fmla="*/ 216 w 375"/>
              <a:gd name="T91" fmla="*/ 332 h 375"/>
              <a:gd name="T92" fmla="*/ 200 w 375"/>
              <a:gd name="T93" fmla="*/ 329 h 375"/>
              <a:gd name="T94" fmla="*/ 197 w 375"/>
              <a:gd name="T95" fmla="*/ 322 h 375"/>
              <a:gd name="T96" fmla="*/ 194 w 375"/>
              <a:gd name="T97" fmla="*/ 310 h 375"/>
              <a:gd name="T98" fmla="*/ 191 w 375"/>
              <a:gd name="T99" fmla="*/ 297 h 375"/>
              <a:gd name="T100" fmla="*/ 191 w 375"/>
              <a:gd name="T101" fmla="*/ 278 h 375"/>
              <a:gd name="T102" fmla="*/ 188 w 375"/>
              <a:gd name="T103" fmla="*/ 266 h 375"/>
              <a:gd name="T104" fmla="*/ 166 w 375"/>
              <a:gd name="T105" fmla="*/ 250 h 375"/>
              <a:gd name="T106" fmla="*/ 141 w 375"/>
              <a:gd name="T107" fmla="*/ 253 h 375"/>
              <a:gd name="T108" fmla="*/ 122 w 375"/>
              <a:gd name="T109" fmla="*/ 269 h 375"/>
              <a:gd name="T110" fmla="*/ 100 w 375"/>
              <a:gd name="T111" fmla="*/ 260 h 375"/>
              <a:gd name="T112" fmla="*/ 94 w 375"/>
              <a:gd name="T113" fmla="*/ 244 h 375"/>
              <a:gd name="T114" fmla="*/ 91 w 375"/>
              <a:gd name="T115" fmla="*/ 228 h 375"/>
              <a:gd name="T116" fmla="*/ 44 w 375"/>
              <a:gd name="T117" fmla="*/ 225 h 375"/>
              <a:gd name="T118" fmla="*/ 19 w 375"/>
              <a:gd name="T119" fmla="*/ 225 h 375"/>
              <a:gd name="T120" fmla="*/ 10 w 375"/>
              <a:gd name="T121" fmla="*/ 228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5" h="375">
                <a:moveTo>
                  <a:pt x="0" y="225"/>
                </a:moveTo>
                <a:lnTo>
                  <a:pt x="4" y="222"/>
                </a:lnTo>
                <a:lnTo>
                  <a:pt x="7" y="222"/>
                </a:lnTo>
                <a:lnTo>
                  <a:pt x="10" y="219"/>
                </a:lnTo>
                <a:lnTo>
                  <a:pt x="10" y="213"/>
                </a:lnTo>
                <a:lnTo>
                  <a:pt x="10" y="210"/>
                </a:lnTo>
                <a:lnTo>
                  <a:pt x="16" y="207"/>
                </a:lnTo>
                <a:lnTo>
                  <a:pt x="19" y="203"/>
                </a:lnTo>
                <a:lnTo>
                  <a:pt x="22" y="203"/>
                </a:lnTo>
                <a:lnTo>
                  <a:pt x="25" y="200"/>
                </a:lnTo>
                <a:lnTo>
                  <a:pt x="25" y="203"/>
                </a:lnTo>
                <a:lnTo>
                  <a:pt x="25" y="203"/>
                </a:lnTo>
                <a:lnTo>
                  <a:pt x="29" y="203"/>
                </a:lnTo>
                <a:lnTo>
                  <a:pt x="32" y="203"/>
                </a:lnTo>
                <a:lnTo>
                  <a:pt x="32" y="197"/>
                </a:lnTo>
                <a:lnTo>
                  <a:pt x="35" y="197"/>
                </a:lnTo>
                <a:lnTo>
                  <a:pt x="38" y="197"/>
                </a:lnTo>
                <a:lnTo>
                  <a:pt x="41" y="194"/>
                </a:lnTo>
                <a:lnTo>
                  <a:pt x="47" y="194"/>
                </a:lnTo>
                <a:lnTo>
                  <a:pt x="47" y="194"/>
                </a:lnTo>
                <a:lnTo>
                  <a:pt x="44" y="200"/>
                </a:lnTo>
                <a:lnTo>
                  <a:pt x="47" y="200"/>
                </a:lnTo>
                <a:lnTo>
                  <a:pt x="47" y="203"/>
                </a:lnTo>
                <a:lnTo>
                  <a:pt x="50" y="207"/>
                </a:lnTo>
                <a:lnTo>
                  <a:pt x="57" y="203"/>
                </a:lnTo>
                <a:lnTo>
                  <a:pt x="60" y="200"/>
                </a:lnTo>
                <a:lnTo>
                  <a:pt x="66" y="191"/>
                </a:lnTo>
                <a:lnTo>
                  <a:pt x="69" y="188"/>
                </a:lnTo>
                <a:lnTo>
                  <a:pt x="72" y="188"/>
                </a:lnTo>
                <a:lnTo>
                  <a:pt x="75" y="185"/>
                </a:lnTo>
                <a:lnTo>
                  <a:pt x="79" y="182"/>
                </a:lnTo>
                <a:lnTo>
                  <a:pt x="79" y="178"/>
                </a:lnTo>
                <a:lnTo>
                  <a:pt x="79" y="172"/>
                </a:lnTo>
                <a:lnTo>
                  <a:pt x="82" y="160"/>
                </a:lnTo>
                <a:lnTo>
                  <a:pt x="79" y="160"/>
                </a:lnTo>
                <a:lnTo>
                  <a:pt x="79" y="153"/>
                </a:lnTo>
                <a:lnTo>
                  <a:pt x="82" y="150"/>
                </a:lnTo>
                <a:lnTo>
                  <a:pt x="88" y="144"/>
                </a:lnTo>
                <a:lnTo>
                  <a:pt x="88" y="138"/>
                </a:lnTo>
                <a:lnTo>
                  <a:pt x="91" y="135"/>
                </a:lnTo>
                <a:lnTo>
                  <a:pt x="94" y="131"/>
                </a:lnTo>
                <a:lnTo>
                  <a:pt x="97" y="131"/>
                </a:lnTo>
                <a:lnTo>
                  <a:pt x="100" y="128"/>
                </a:lnTo>
                <a:lnTo>
                  <a:pt x="104" y="128"/>
                </a:lnTo>
                <a:lnTo>
                  <a:pt x="110" y="119"/>
                </a:lnTo>
                <a:lnTo>
                  <a:pt x="110" y="113"/>
                </a:lnTo>
                <a:lnTo>
                  <a:pt x="113" y="106"/>
                </a:lnTo>
                <a:lnTo>
                  <a:pt x="116" y="103"/>
                </a:lnTo>
                <a:lnTo>
                  <a:pt x="116" y="97"/>
                </a:lnTo>
                <a:lnTo>
                  <a:pt x="116" y="97"/>
                </a:lnTo>
                <a:lnTo>
                  <a:pt x="116" y="91"/>
                </a:lnTo>
                <a:lnTo>
                  <a:pt x="116" y="88"/>
                </a:lnTo>
                <a:lnTo>
                  <a:pt x="116" y="81"/>
                </a:lnTo>
                <a:lnTo>
                  <a:pt x="119" y="78"/>
                </a:lnTo>
                <a:lnTo>
                  <a:pt x="119" y="75"/>
                </a:lnTo>
                <a:lnTo>
                  <a:pt x="119" y="72"/>
                </a:lnTo>
                <a:lnTo>
                  <a:pt x="119" y="63"/>
                </a:lnTo>
                <a:lnTo>
                  <a:pt x="129" y="53"/>
                </a:lnTo>
                <a:lnTo>
                  <a:pt x="129" y="50"/>
                </a:lnTo>
                <a:lnTo>
                  <a:pt x="132" y="47"/>
                </a:lnTo>
                <a:lnTo>
                  <a:pt x="132" y="41"/>
                </a:lnTo>
                <a:lnTo>
                  <a:pt x="129" y="34"/>
                </a:lnTo>
                <a:lnTo>
                  <a:pt x="132" y="31"/>
                </a:lnTo>
                <a:lnTo>
                  <a:pt x="132" y="28"/>
                </a:lnTo>
                <a:lnTo>
                  <a:pt x="132" y="28"/>
                </a:lnTo>
                <a:lnTo>
                  <a:pt x="129" y="22"/>
                </a:lnTo>
                <a:lnTo>
                  <a:pt x="129" y="22"/>
                </a:lnTo>
                <a:lnTo>
                  <a:pt x="132" y="19"/>
                </a:lnTo>
                <a:lnTo>
                  <a:pt x="135" y="19"/>
                </a:lnTo>
                <a:lnTo>
                  <a:pt x="135" y="16"/>
                </a:lnTo>
                <a:lnTo>
                  <a:pt x="135" y="16"/>
                </a:lnTo>
                <a:lnTo>
                  <a:pt x="135" y="13"/>
                </a:lnTo>
                <a:lnTo>
                  <a:pt x="138" y="9"/>
                </a:lnTo>
                <a:lnTo>
                  <a:pt x="141" y="9"/>
                </a:lnTo>
                <a:lnTo>
                  <a:pt x="144" y="6"/>
                </a:lnTo>
                <a:lnTo>
                  <a:pt x="147" y="9"/>
                </a:lnTo>
                <a:lnTo>
                  <a:pt x="147" y="6"/>
                </a:lnTo>
                <a:lnTo>
                  <a:pt x="147" y="6"/>
                </a:lnTo>
                <a:lnTo>
                  <a:pt x="150" y="9"/>
                </a:lnTo>
                <a:lnTo>
                  <a:pt x="154" y="9"/>
                </a:lnTo>
                <a:lnTo>
                  <a:pt x="160" y="13"/>
                </a:lnTo>
                <a:lnTo>
                  <a:pt x="163" y="16"/>
                </a:lnTo>
                <a:lnTo>
                  <a:pt x="169" y="19"/>
                </a:lnTo>
                <a:lnTo>
                  <a:pt x="169" y="19"/>
                </a:lnTo>
                <a:lnTo>
                  <a:pt x="172" y="19"/>
                </a:lnTo>
                <a:lnTo>
                  <a:pt x="179" y="22"/>
                </a:lnTo>
                <a:lnTo>
                  <a:pt x="182" y="22"/>
                </a:lnTo>
                <a:lnTo>
                  <a:pt x="185" y="22"/>
                </a:lnTo>
                <a:lnTo>
                  <a:pt x="188" y="22"/>
                </a:lnTo>
                <a:lnTo>
                  <a:pt x="191" y="22"/>
                </a:lnTo>
                <a:lnTo>
                  <a:pt x="194" y="22"/>
                </a:lnTo>
                <a:lnTo>
                  <a:pt x="197" y="25"/>
                </a:lnTo>
                <a:lnTo>
                  <a:pt x="200" y="25"/>
                </a:lnTo>
                <a:lnTo>
                  <a:pt x="204" y="25"/>
                </a:lnTo>
                <a:lnTo>
                  <a:pt x="204" y="22"/>
                </a:lnTo>
                <a:lnTo>
                  <a:pt x="204" y="22"/>
                </a:lnTo>
                <a:lnTo>
                  <a:pt x="204" y="19"/>
                </a:lnTo>
                <a:lnTo>
                  <a:pt x="207" y="16"/>
                </a:lnTo>
                <a:lnTo>
                  <a:pt x="210" y="13"/>
                </a:lnTo>
                <a:lnTo>
                  <a:pt x="213" y="13"/>
                </a:lnTo>
                <a:lnTo>
                  <a:pt x="216" y="13"/>
                </a:lnTo>
                <a:lnTo>
                  <a:pt x="219" y="16"/>
                </a:lnTo>
                <a:lnTo>
                  <a:pt x="222" y="16"/>
                </a:lnTo>
                <a:lnTo>
                  <a:pt x="229" y="13"/>
                </a:lnTo>
                <a:lnTo>
                  <a:pt x="232" y="13"/>
                </a:lnTo>
                <a:lnTo>
                  <a:pt x="235" y="9"/>
                </a:lnTo>
                <a:lnTo>
                  <a:pt x="241" y="6"/>
                </a:lnTo>
                <a:lnTo>
                  <a:pt x="244" y="6"/>
                </a:lnTo>
                <a:lnTo>
                  <a:pt x="244" y="9"/>
                </a:lnTo>
                <a:lnTo>
                  <a:pt x="247" y="9"/>
                </a:lnTo>
                <a:lnTo>
                  <a:pt x="247" y="9"/>
                </a:lnTo>
                <a:lnTo>
                  <a:pt x="250" y="9"/>
                </a:lnTo>
                <a:lnTo>
                  <a:pt x="250" y="9"/>
                </a:lnTo>
                <a:lnTo>
                  <a:pt x="257" y="9"/>
                </a:lnTo>
                <a:lnTo>
                  <a:pt x="260" y="9"/>
                </a:lnTo>
                <a:lnTo>
                  <a:pt x="260" y="9"/>
                </a:lnTo>
                <a:lnTo>
                  <a:pt x="263" y="3"/>
                </a:lnTo>
                <a:lnTo>
                  <a:pt x="263" y="3"/>
                </a:lnTo>
                <a:lnTo>
                  <a:pt x="263" y="3"/>
                </a:lnTo>
                <a:lnTo>
                  <a:pt x="266" y="0"/>
                </a:lnTo>
                <a:lnTo>
                  <a:pt x="269" y="3"/>
                </a:lnTo>
                <a:lnTo>
                  <a:pt x="272" y="3"/>
                </a:lnTo>
                <a:lnTo>
                  <a:pt x="275" y="3"/>
                </a:lnTo>
                <a:lnTo>
                  <a:pt x="275" y="6"/>
                </a:lnTo>
                <a:lnTo>
                  <a:pt x="279" y="6"/>
                </a:lnTo>
                <a:lnTo>
                  <a:pt x="282" y="6"/>
                </a:lnTo>
                <a:lnTo>
                  <a:pt x="288" y="6"/>
                </a:lnTo>
                <a:lnTo>
                  <a:pt x="291" y="9"/>
                </a:lnTo>
                <a:lnTo>
                  <a:pt x="297" y="6"/>
                </a:lnTo>
                <a:lnTo>
                  <a:pt x="300" y="6"/>
                </a:lnTo>
                <a:lnTo>
                  <a:pt x="304" y="6"/>
                </a:lnTo>
                <a:lnTo>
                  <a:pt x="307" y="9"/>
                </a:lnTo>
                <a:lnTo>
                  <a:pt x="307" y="13"/>
                </a:lnTo>
                <a:lnTo>
                  <a:pt x="310" y="13"/>
                </a:lnTo>
                <a:lnTo>
                  <a:pt x="310" y="16"/>
                </a:lnTo>
                <a:lnTo>
                  <a:pt x="313" y="16"/>
                </a:lnTo>
                <a:lnTo>
                  <a:pt x="316" y="19"/>
                </a:lnTo>
                <a:lnTo>
                  <a:pt x="322" y="22"/>
                </a:lnTo>
                <a:lnTo>
                  <a:pt x="322" y="22"/>
                </a:lnTo>
                <a:lnTo>
                  <a:pt x="325" y="19"/>
                </a:lnTo>
                <a:lnTo>
                  <a:pt x="329" y="19"/>
                </a:lnTo>
                <a:lnTo>
                  <a:pt x="332" y="19"/>
                </a:lnTo>
                <a:lnTo>
                  <a:pt x="335" y="19"/>
                </a:lnTo>
                <a:lnTo>
                  <a:pt x="335" y="19"/>
                </a:lnTo>
                <a:lnTo>
                  <a:pt x="338" y="19"/>
                </a:lnTo>
                <a:lnTo>
                  <a:pt x="341" y="19"/>
                </a:lnTo>
                <a:lnTo>
                  <a:pt x="341" y="16"/>
                </a:lnTo>
                <a:lnTo>
                  <a:pt x="344" y="13"/>
                </a:lnTo>
                <a:lnTo>
                  <a:pt x="347" y="13"/>
                </a:lnTo>
                <a:lnTo>
                  <a:pt x="350" y="13"/>
                </a:lnTo>
                <a:lnTo>
                  <a:pt x="354" y="19"/>
                </a:lnTo>
                <a:lnTo>
                  <a:pt x="354" y="22"/>
                </a:lnTo>
                <a:lnTo>
                  <a:pt x="357" y="22"/>
                </a:lnTo>
                <a:lnTo>
                  <a:pt x="360" y="25"/>
                </a:lnTo>
                <a:lnTo>
                  <a:pt x="363" y="28"/>
                </a:lnTo>
                <a:lnTo>
                  <a:pt x="366" y="31"/>
                </a:lnTo>
                <a:lnTo>
                  <a:pt x="366" y="31"/>
                </a:lnTo>
                <a:lnTo>
                  <a:pt x="366" y="34"/>
                </a:lnTo>
                <a:lnTo>
                  <a:pt x="366" y="38"/>
                </a:lnTo>
                <a:lnTo>
                  <a:pt x="369" y="38"/>
                </a:lnTo>
                <a:lnTo>
                  <a:pt x="372" y="38"/>
                </a:lnTo>
                <a:lnTo>
                  <a:pt x="375" y="38"/>
                </a:lnTo>
                <a:lnTo>
                  <a:pt x="372" y="41"/>
                </a:lnTo>
                <a:lnTo>
                  <a:pt x="372" y="44"/>
                </a:lnTo>
                <a:lnTo>
                  <a:pt x="372" y="50"/>
                </a:lnTo>
                <a:lnTo>
                  <a:pt x="369" y="56"/>
                </a:lnTo>
                <a:lnTo>
                  <a:pt x="369" y="60"/>
                </a:lnTo>
                <a:lnTo>
                  <a:pt x="372" y="63"/>
                </a:lnTo>
                <a:lnTo>
                  <a:pt x="375" y="66"/>
                </a:lnTo>
                <a:lnTo>
                  <a:pt x="375" y="69"/>
                </a:lnTo>
                <a:lnTo>
                  <a:pt x="375" y="72"/>
                </a:lnTo>
                <a:lnTo>
                  <a:pt x="366" y="85"/>
                </a:lnTo>
                <a:lnTo>
                  <a:pt x="360" y="91"/>
                </a:lnTo>
                <a:lnTo>
                  <a:pt x="357" y="94"/>
                </a:lnTo>
                <a:lnTo>
                  <a:pt x="350" y="106"/>
                </a:lnTo>
                <a:lnTo>
                  <a:pt x="347" y="110"/>
                </a:lnTo>
                <a:lnTo>
                  <a:pt x="347" y="116"/>
                </a:lnTo>
                <a:lnTo>
                  <a:pt x="347" y="122"/>
                </a:lnTo>
                <a:lnTo>
                  <a:pt x="344" y="128"/>
                </a:lnTo>
                <a:lnTo>
                  <a:pt x="344" y="135"/>
                </a:lnTo>
                <a:lnTo>
                  <a:pt x="341" y="138"/>
                </a:lnTo>
                <a:lnTo>
                  <a:pt x="338" y="144"/>
                </a:lnTo>
                <a:lnTo>
                  <a:pt x="335" y="156"/>
                </a:lnTo>
                <a:lnTo>
                  <a:pt x="332" y="160"/>
                </a:lnTo>
                <a:lnTo>
                  <a:pt x="335" y="166"/>
                </a:lnTo>
                <a:lnTo>
                  <a:pt x="335" y="169"/>
                </a:lnTo>
                <a:lnTo>
                  <a:pt x="335" y="175"/>
                </a:lnTo>
                <a:lnTo>
                  <a:pt x="341" y="213"/>
                </a:lnTo>
                <a:lnTo>
                  <a:pt x="347" y="238"/>
                </a:lnTo>
                <a:lnTo>
                  <a:pt x="360" y="257"/>
                </a:lnTo>
                <a:lnTo>
                  <a:pt x="366" y="272"/>
                </a:lnTo>
                <a:lnTo>
                  <a:pt x="363" y="269"/>
                </a:lnTo>
                <a:lnTo>
                  <a:pt x="332" y="278"/>
                </a:lnTo>
                <a:lnTo>
                  <a:pt x="322" y="294"/>
                </a:lnTo>
                <a:lnTo>
                  <a:pt x="322" y="297"/>
                </a:lnTo>
                <a:lnTo>
                  <a:pt x="325" y="300"/>
                </a:lnTo>
                <a:lnTo>
                  <a:pt x="329" y="300"/>
                </a:lnTo>
                <a:lnTo>
                  <a:pt x="329" y="304"/>
                </a:lnTo>
                <a:lnTo>
                  <a:pt x="325" y="304"/>
                </a:lnTo>
                <a:lnTo>
                  <a:pt x="325" y="307"/>
                </a:lnTo>
                <a:lnTo>
                  <a:pt x="325" y="310"/>
                </a:lnTo>
                <a:lnTo>
                  <a:pt x="325" y="313"/>
                </a:lnTo>
                <a:lnTo>
                  <a:pt x="325" y="316"/>
                </a:lnTo>
                <a:lnTo>
                  <a:pt x="325" y="316"/>
                </a:lnTo>
                <a:lnTo>
                  <a:pt x="325" y="319"/>
                </a:lnTo>
                <a:lnTo>
                  <a:pt x="325" y="319"/>
                </a:lnTo>
                <a:lnTo>
                  <a:pt x="319" y="325"/>
                </a:lnTo>
                <a:lnTo>
                  <a:pt x="319" y="325"/>
                </a:lnTo>
                <a:lnTo>
                  <a:pt x="319" y="338"/>
                </a:lnTo>
                <a:lnTo>
                  <a:pt x="319" y="344"/>
                </a:lnTo>
                <a:lnTo>
                  <a:pt x="322" y="344"/>
                </a:lnTo>
                <a:lnTo>
                  <a:pt x="329" y="350"/>
                </a:lnTo>
                <a:lnTo>
                  <a:pt x="329" y="354"/>
                </a:lnTo>
                <a:lnTo>
                  <a:pt x="332" y="357"/>
                </a:lnTo>
                <a:lnTo>
                  <a:pt x="338" y="357"/>
                </a:lnTo>
                <a:lnTo>
                  <a:pt x="341" y="357"/>
                </a:lnTo>
                <a:lnTo>
                  <a:pt x="338" y="354"/>
                </a:lnTo>
                <a:lnTo>
                  <a:pt x="338" y="350"/>
                </a:lnTo>
                <a:lnTo>
                  <a:pt x="344" y="350"/>
                </a:lnTo>
                <a:lnTo>
                  <a:pt x="344" y="350"/>
                </a:lnTo>
                <a:lnTo>
                  <a:pt x="347" y="372"/>
                </a:lnTo>
                <a:lnTo>
                  <a:pt x="344" y="375"/>
                </a:lnTo>
                <a:lnTo>
                  <a:pt x="341" y="372"/>
                </a:lnTo>
                <a:lnTo>
                  <a:pt x="341" y="372"/>
                </a:lnTo>
                <a:lnTo>
                  <a:pt x="341" y="372"/>
                </a:lnTo>
                <a:lnTo>
                  <a:pt x="338" y="372"/>
                </a:lnTo>
                <a:lnTo>
                  <a:pt x="335" y="375"/>
                </a:lnTo>
                <a:lnTo>
                  <a:pt x="332" y="375"/>
                </a:lnTo>
                <a:lnTo>
                  <a:pt x="329" y="369"/>
                </a:lnTo>
                <a:lnTo>
                  <a:pt x="322" y="366"/>
                </a:lnTo>
                <a:lnTo>
                  <a:pt x="319" y="363"/>
                </a:lnTo>
                <a:lnTo>
                  <a:pt x="316" y="357"/>
                </a:lnTo>
                <a:lnTo>
                  <a:pt x="313" y="354"/>
                </a:lnTo>
                <a:lnTo>
                  <a:pt x="304" y="354"/>
                </a:lnTo>
                <a:lnTo>
                  <a:pt x="300" y="350"/>
                </a:lnTo>
                <a:lnTo>
                  <a:pt x="300" y="347"/>
                </a:lnTo>
                <a:lnTo>
                  <a:pt x="297" y="344"/>
                </a:lnTo>
                <a:lnTo>
                  <a:pt x="297" y="338"/>
                </a:lnTo>
                <a:lnTo>
                  <a:pt x="294" y="338"/>
                </a:lnTo>
                <a:lnTo>
                  <a:pt x="294" y="338"/>
                </a:lnTo>
                <a:lnTo>
                  <a:pt x="291" y="338"/>
                </a:lnTo>
                <a:lnTo>
                  <a:pt x="288" y="344"/>
                </a:lnTo>
                <a:lnTo>
                  <a:pt x="288" y="347"/>
                </a:lnTo>
                <a:lnTo>
                  <a:pt x="282" y="347"/>
                </a:lnTo>
                <a:lnTo>
                  <a:pt x="279" y="347"/>
                </a:lnTo>
                <a:lnTo>
                  <a:pt x="279" y="347"/>
                </a:lnTo>
                <a:lnTo>
                  <a:pt x="275" y="347"/>
                </a:lnTo>
                <a:lnTo>
                  <a:pt x="269" y="344"/>
                </a:lnTo>
                <a:lnTo>
                  <a:pt x="266" y="341"/>
                </a:lnTo>
                <a:lnTo>
                  <a:pt x="263" y="341"/>
                </a:lnTo>
                <a:lnTo>
                  <a:pt x="260" y="341"/>
                </a:lnTo>
                <a:lnTo>
                  <a:pt x="260" y="341"/>
                </a:lnTo>
                <a:lnTo>
                  <a:pt x="260" y="338"/>
                </a:lnTo>
                <a:lnTo>
                  <a:pt x="260" y="335"/>
                </a:lnTo>
                <a:lnTo>
                  <a:pt x="257" y="335"/>
                </a:lnTo>
                <a:lnTo>
                  <a:pt x="257" y="332"/>
                </a:lnTo>
                <a:lnTo>
                  <a:pt x="257" y="329"/>
                </a:lnTo>
                <a:lnTo>
                  <a:pt x="250" y="332"/>
                </a:lnTo>
                <a:lnTo>
                  <a:pt x="250" y="332"/>
                </a:lnTo>
                <a:lnTo>
                  <a:pt x="247" y="332"/>
                </a:lnTo>
                <a:lnTo>
                  <a:pt x="244" y="335"/>
                </a:lnTo>
                <a:lnTo>
                  <a:pt x="241" y="335"/>
                </a:lnTo>
                <a:lnTo>
                  <a:pt x="241" y="335"/>
                </a:lnTo>
                <a:lnTo>
                  <a:pt x="241" y="335"/>
                </a:lnTo>
                <a:lnTo>
                  <a:pt x="241" y="332"/>
                </a:lnTo>
                <a:lnTo>
                  <a:pt x="238" y="329"/>
                </a:lnTo>
                <a:lnTo>
                  <a:pt x="235" y="329"/>
                </a:lnTo>
                <a:lnTo>
                  <a:pt x="235" y="329"/>
                </a:lnTo>
                <a:lnTo>
                  <a:pt x="232" y="329"/>
                </a:lnTo>
                <a:lnTo>
                  <a:pt x="232" y="329"/>
                </a:lnTo>
                <a:lnTo>
                  <a:pt x="229" y="329"/>
                </a:lnTo>
                <a:lnTo>
                  <a:pt x="225" y="329"/>
                </a:lnTo>
                <a:lnTo>
                  <a:pt x="222" y="332"/>
                </a:lnTo>
                <a:lnTo>
                  <a:pt x="219" y="332"/>
                </a:lnTo>
                <a:lnTo>
                  <a:pt x="219" y="332"/>
                </a:lnTo>
                <a:lnTo>
                  <a:pt x="216" y="332"/>
                </a:lnTo>
                <a:lnTo>
                  <a:pt x="210" y="332"/>
                </a:lnTo>
                <a:lnTo>
                  <a:pt x="210" y="332"/>
                </a:lnTo>
                <a:lnTo>
                  <a:pt x="207" y="329"/>
                </a:lnTo>
                <a:lnTo>
                  <a:pt x="204" y="329"/>
                </a:lnTo>
                <a:lnTo>
                  <a:pt x="204" y="329"/>
                </a:lnTo>
                <a:lnTo>
                  <a:pt x="200" y="329"/>
                </a:lnTo>
                <a:lnTo>
                  <a:pt x="200" y="332"/>
                </a:lnTo>
                <a:lnTo>
                  <a:pt x="197" y="332"/>
                </a:lnTo>
                <a:lnTo>
                  <a:pt x="197" y="329"/>
                </a:lnTo>
                <a:lnTo>
                  <a:pt x="197" y="325"/>
                </a:lnTo>
                <a:lnTo>
                  <a:pt x="197" y="325"/>
                </a:lnTo>
                <a:lnTo>
                  <a:pt x="197" y="322"/>
                </a:lnTo>
                <a:lnTo>
                  <a:pt x="200" y="322"/>
                </a:lnTo>
                <a:lnTo>
                  <a:pt x="197" y="319"/>
                </a:lnTo>
                <a:lnTo>
                  <a:pt x="197" y="316"/>
                </a:lnTo>
                <a:lnTo>
                  <a:pt x="197" y="313"/>
                </a:lnTo>
                <a:lnTo>
                  <a:pt x="197" y="313"/>
                </a:lnTo>
                <a:lnTo>
                  <a:pt x="194" y="310"/>
                </a:lnTo>
                <a:lnTo>
                  <a:pt x="194" y="307"/>
                </a:lnTo>
                <a:lnTo>
                  <a:pt x="197" y="304"/>
                </a:lnTo>
                <a:lnTo>
                  <a:pt x="194" y="304"/>
                </a:lnTo>
                <a:lnTo>
                  <a:pt x="194" y="300"/>
                </a:lnTo>
                <a:lnTo>
                  <a:pt x="194" y="300"/>
                </a:lnTo>
                <a:lnTo>
                  <a:pt x="191" y="297"/>
                </a:lnTo>
                <a:lnTo>
                  <a:pt x="191" y="297"/>
                </a:lnTo>
                <a:lnTo>
                  <a:pt x="191" y="294"/>
                </a:lnTo>
                <a:lnTo>
                  <a:pt x="191" y="291"/>
                </a:lnTo>
                <a:lnTo>
                  <a:pt x="188" y="291"/>
                </a:lnTo>
                <a:lnTo>
                  <a:pt x="191" y="288"/>
                </a:lnTo>
                <a:lnTo>
                  <a:pt x="191" y="278"/>
                </a:lnTo>
                <a:lnTo>
                  <a:pt x="188" y="275"/>
                </a:lnTo>
                <a:lnTo>
                  <a:pt x="188" y="275"/>
                </a:lnTo>
                <a:lnTo>
                  <a:pt x="191" y="275"/>
                </a:lnTo>
                <a:lnTo>
                  <a:pt x="191" y="272"/>
                </a:lnTo>
                <a:lnTo>
                  <a:pt x="188" y="269"/>
                </a:lnTo>
                <a:lnTo>
                  <a:pt x="188" y="266"/>
                </a:lnTo>
                <a:lnTo>
                  <a:pt x="191" y="263"/>
                </a:lnTo>
                <a:lnTo>
                  <a:pt x="191" y="260"/>
                </a:lnTo>
                <a:lnTo>
                  <a:pt x="191" y="257"/>
                </a:lnTo>
                <a:lnTo>
                  <a:pt x="191" y="253"/>
                </a:lnTo>
                <a:lnTo>
                  <a:pt x="166" y="250"/>
                </a:lnTo>
                <a:lnTo>
                  <a:pt x="166" y="250"/>
                </a:lnTo>
                <a:lnTo>
                  <a:pt x="169" y="247"/>
                </a:lnTo>
                <a:lnTo>
                  <a:pt x="169" y="244"/>
                </a:lnTo>
                <a:lnTo>
                  <a:pt x="163" y="244"/>
                </a:lnTo>
                <a:lnTo>
                  <a:pt x="163" y="247"/>
                </a:lnTo>
                <a:lnTo>
                  <a:pt x="144" y="247"/>
                </a:lnTo>
                <a:lnTo>
                  <a:pt x="141" y="253"/>
                </a:lnTo>
                <a:lnTo>
                  <a:pt x="141" y="257"/>
                </a:lnTo>
                <a:lnTo>
                  <a:pt x="138" y="257"/>
                </a:lnTo>
                <a:lnTo>
                  <a:pt x="141" y="260"/>
                </a:lnTo>
                <a:lnTo>
                  <a:pt x="141" y="266"/>
                </a:lnTo>
                <a:lnTo>
                  <a:pt x="125" y="266"/>
                </a:lnTo>
                <a:lnTo>
                  <a:pt x="122" y="269"/>
                </a:lnTo>
                <a:lnTo>
                  <a:pt x="116" y="269"/>
                </a:lnTo>
                <a:lnTo>
                  <a:pt x="113" y="266"/>
                </a:lnTo>
                <a:lnTo>
                  <a:pt x="110" y="269"/>
                </a:lnTo>
                <a:lnTo>
                  <a:pt x="104" y="269"/>
                </a:lnTo>
                <a:lnTo>
                  <a:pt x="104" y="266"/>
                </a:lnTo>
                <a:lnTo>
                  <a:pt x="100" y="260"/>
                </a:lnTo>
                <a:lnTo>
                  <a:pt x="100" y="257"/>
                </a:lnTo>
                <a:lnTo>
                  <a:pt x="97" y="253"/>
                </a:lnTo>
                <a:lnTo>
                  <a:pt x="94" y="253"/>
                </a:lnTo>
                <a:lnTo>
                  <a:pt x="94" y="250"/>
                </a:lnTo>
                <a:lnTo>
                  <a:pt x="94" y="247"/>
                </a:lnTo>
                <a:lnTo>
                  <a:pt x="94" y="244"/>
                </a:lnTo>
                <a:lnTo>
                  <a:pt x="91" y="241"/>
                </a:lnTo>
                <a:lnTo>
                  <a:pt x="91" y="238"/>
                </a:lnTo>
                <a:lnTo>
                  <a:pt x="94" y="235"/>
                </a:lnTo>
                <a:lnTo>
                  <a:pt x="91" y="232"/>
                </a:lnTo>
                <a:lnTo>
                  <a:pt x="91" y="232"/>
                </a:lnTo>
                <a:lnTo>
                  <a:pt x="91" y="228"/>
                </a:lnTo>
                <a:lnTo>
                  <a:pt x="91" y="228"/>
                </a:lnTo>
                <a:lnTo>
                  <a:pt x="91" y="225"/>
                </a:lnTo>
                <a:lnTo>
                  <a:pt x="69" y="225"/>
                </a:lnTo>
                <a:lnTo>
                  <a:pt x="57" y="225"/>
                </a:lnTo>
                <a:lnTo>
                  <a:pt x="50" y="225"/>
                </a:lnTo>
                <a:lnTo>
                  <a:pt x="44" y="225"/>
                </a:lnTo>
                <a:lnTo>
                  <a:pt x="41" y="225"/>
                </a:lnTo>
                <a:lnTo>
                  <a:pt x="35" y="225"/>
                </a:lnTo>
                <a:lnTo>
                  <a:pt x="29" y="225"/>
                </a:lnTo>
                <a:lnTo>
                  <a:pt x="25" y="225"/>
                </a:lnTo>
                <a:lnTo>
                  <a:pt x="22" y="225"/>
                </a:lnTo>
                <a:lnTo>
                  <a:pt x="19" y="225"/>
                </a:lnTo>
                <a:lnTo>
                  <a:pt x="16" y="225"/>
                </a:lnTo>
                <a:lnTo>
                  <a:pt x="13" y="225"/>
                </a:lnTo>
                <a:lnTo>
                  <a:pt x="13" y="228"/>
                </a:lnTo>
                <a:lnTo>
                  <a:pt x="10" y="228"/>
                </a:lnTo>
                <a:lnTo>
                  <a:pt x="10" y="228"/>
                </a:lnTo>
                <a:lnTo>
                  <a:pt x="10" y="228"/>
                </a:lnTo>
                <a:lnTo>
                  <a:pt x="10" y="228"/>
                </a:lnTo>
                <a:lnTo>
                  <a:pt x="10" y="228"/>
                </a:lnTo>
                <a:lnTo>
                  <a:pt x="7" y="225"/>
                </a:lnTo>
                <a:lnTo>
                  <a:pt x="0" y="225"/>
                </a:lnTo>
                <a:lnTo>
                  <a:pt x="0" y="225"/>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6" name="Freeform 144">
            <a:extLst>
              <a:ext uri="{FF2B5EF4-FFF2-40B4-BE49-F238E27FC236}">
                <a16:creationId xmlns:a16="http://schemas.microsoft.com/office/drawing/2014/main" id="{00D3CA52-0CF9-F2F6-19E7-BD9DFC18DA60}"/>
              </a:ext>
            </a:extLst>
          </p:cNvPr>
          <p:cNvSpPr>
            <a:spLocks/>
          </p:cNvSpPr>
          <p:nvPr userDrawn="1"/>
        </p:nvSpPr>
        <p:spPr bwMode="auto">
          <a:xfrm>
            <a:off x="15194560" y="9971959"/>
            <a:ext cx="196837" cy="498478"/>
          </a:xfrm>
          <a:custGeom>
            <a:avLst/>
            <a:gdLst>
              <a:gd name="T0" fmla="*/ 9 w 62"/>
              <a:gd name="T1" fmla="*/ 0 h 157"/>
              <a:gd name="T2" fmla="*/ 12 w 62"/>
              <a:gd name="T3" fmla="*/ 3 h 157"/>
              <a:gd name="T4" fmla="*/ 15 w 62"/>
              <a:gd name="T5" fmla="*/ 3 h 157"/>
              <a:gd name="T6" fmla="*/ 18 w 62"/>
              <a:gd name="T7" fmla="*/ 3 h 157"/>
              <a:gd name="T8" fmla="*/ 21 w 62"/>
              <a:gd name="T9" fmla="*/ 3 h 157"/>
              <a:gd name="T10" fmla="*/ 25 w 62"/>
              <a:gd name="T11" fmla="*/ 6 h 157"/>
              <a:gd name="T12" fmla="*/ 31 w 62"/>
              <a:gd name="T13" fmla="*/ 16 h 157"/>
              <a:gd name="T14" fmla="*/ 34 w 62"/>
              <a:gd name="T15" fmla="*/ 56 h 157"/>
              <a:gd name="T16" fmla="*/ 34 w 62"/>
              <a:gd name="T17" fmla="*/ 78 h 157"/>
              <a:gd name="T18" fmla="*/ 43 w 62"/>
              <a:gd name="T19" fmla="*/ 85 h 157"/>
              <a:gd name="T20" fmla="*/ 46 w 62"/>
              <a:gd name="T21" fmla="*/ 88 h 157"/>
              <a:gd name="T22" fmla="*/ 56 w 62"/>
              <a:gd name="T23" fmla="*/ 97 h 157"/>
              <a:gd name="T24" fmla="*/ 62 w 62"/>
              <a:gd name="T25" fmla="*/ 106 h 157"/>
              <a:gd name="T26" fmla="*/ 62 w 62"/>
              <a:gd name="T27" fmla="*/ 113 h 157"/>
              <a:gd name="T28" fmla="*/ 59 w 62"/>
              <a:gd name="T29" fmla="*/ 116 h 157"/>
              <a:gd name="T30" fmla="*/ 56 w 62"/>
              <a:gd name="T31" fmla="*/ 116 h 157"/>
              <a:gd name="T32" fmla="*/ 56 w 62"/>
              <a:gd name="T33" fmla="*/ 119 h 157"/>
              <a:gd name="T34" fmla="*/ 59 w 62"/>
              <a:gd name="T35" fmla="*/ 128 h 157"/>
              <a:gd name="T36" fmla="*/ 56 w 62"/>
              <a:gd name="T37" fmla="*/ 135 h 157"/>
              <a:gd name="T38" fmla="*/ 50 w 62"/>
              <a:gd name="T39" fmla="*/ 141 h 157"/>
              <a:gd name="T40" fmla="*/ 46 w 62"/>
              <a:gd name="T41" fmla="*/ 147 h 157"/>
              <a:gd name="T42" fmla="*/ 46 w 62"/>
              <a:gd name="T43" fmla="*/ 157 h 157"/>
              <a:gd name="T44" fmla="*/ 43 w 62"/>
              <a:gd name="T45" fmla="*/ 157 h 157"/>
              <a:gd name="T46" fmla="*/ 40 w 62"/>
              <a:gd name="T47" fmla="*/ 150 h 157"/>
              <a:gd name="T48" fmla="*/ 37 w 62"/>
              <a:gd name="T49" fmla="*/ 147 h 157"/>
              <a:gd name="T50" fmla="*/ 31 w 62"/>
              <a:gd name="T51" fmla="*/ 138 h 157"/>
              <a:gd name="T52" fmla="*/ 28 w 62"/>
              <a:gd name="T53" fmla="*/ 132 h 157"/>
              <a:gd name="T54" fmla="*/ 31 w 62"/>
              <a:gd name="T55" fmla="*/ 125 h 157"/>
              <a:gd name="T56" fmla="*/ 34 w 62"/>
              <a:gd name="T57" fmla="*/ 116 h 157"/>
              <a:gd name="T58" fmla="*/ 34 w 62"/>
              <a:gd name="T59" fmla="*/ 106 h 157"/>
              <a:gd name="T60" fmla="*/ 28 w 62"/>
              <a:gd name="T61" fmla="*/ 100 h 157"/>
              <a:gd name="T62" fmla="*/ 21 w 62"/>
              <a:gd name="T63" fmla="*/ 103 h 157"/>
              <a:gd name="T64" fmla="*/ 18 w 62"/>
              <a:gd name="T65" fmla="*/ 103 h 157"/>
              <a:gd name="T66" fmla="*/ 15 w 62"/>
              <a:gd name="T67" fmla="*/ 100 h 157"/>
              <a:gd name="T68" fmla="*/ 12 w 62"/>
              <a:gd name="T69" fmla="*/ 97 h 157"/>
              <a:gd name="T70" fmla="*/ 6 w 62"/>
              <a:gd name="T71" fmla="*/ 94 h 157"/>
              <a:gd name="T72" fmla="*/ 3 w 62"/>
              <a:gd name="T73" fmla="*/ 88 h 157"/>
              <a:gd name="T74" fmla="*/ 0 w 62"/>
              <a:gd name="T75" fmla="*/ 85 h 157"/>
              <a:gd name="T76" fmla="*/ 6 w 62"/>
              <a:gd name="T77" fmla="*/ 78 h 157"/>
              <a:gd name="T78" fmla="*/ 6 w 62"/>
              <a:gd name="T79" fmla="*/ 75 h 157"/>
              <a:gd name="T80" fmla="*/ 6 w 62"/>
              <a:gd name="T81" fmla="*/ 69 h 157"/>
              <a:gd name="T82" fmla="*/ 9 w 62"/>
              <a:gd name="T83" fmla="*/ 66 h 157"/>
              <a:gd name="T84" fmla="*/ 15 w 62"/>
              <a:gd name="T85" fmla="*/ 63 h 157"/>
              <a:gd name="T86" fmla="*/ 15 w 62"/>
              <a:gd name="T87" fmla="*/ 60 h 157"/>
              <a:gd name="T88" fmla="*/ 12 w 62"/>
              <a:gd name="T89" fmla="*/ 56 h 157"/>
              <a:gd name="T90" fmla="*/ 12 w 62"/>
              <a:gd name="T91" fmla="*/ 53 h 157"/>
              <a:gd name="T92" fmla="*/ 12 w 62"/>
              <a:gd name="T93" fmla="*/ 47 h 157"/>
              <a:gd name="T94" fmla="*/ 12 w 62"/>
              <a:gd name="T95" fmla="*/ 44 h 157"/>
              <a:gd name="T96" fmla="*/ 12 w 62"/>
              <a:gd name="T97" fmla="*/ 38 h 157"/>
              <a:gd name="T98" fmla="*/ 18 w 62"/>
              <a:gd name="T99" fmla="*/ 28 h 157"/>
              <a:gd name="T100" fmla="*/ 18 w 62"/>
              <a:gd name="T101" fmla="*/ 28 h 157"/>
              <a:gd name="T102" fmla="*/ 15 w 62"/>
              <a:gd name="T103" fmla="*/ 19 h 157"/>
              <a:gd name="T104" fmla="*/ 12 w 62"/>
              <a:gd name="T105" fmla="*/ 16 h 157"/>
              <a:gd name="T106" fmla="*/ 15 w 62"/>
              <a:gd name="T107" fmla="*/ 10 h 157"/>
              <a:gd name="T108" fmla="*/ 9 w 62"/>
              <a:gd name="T109" fmla="*/ 6 h 157"/>
              <a:gd name="T110" fmla="*/ 9 w 62"/>
              <a:gd name="T111" fmla="*/ 3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 h="157">
                <a:moveTo>
                  <a:pt x="6" y="0"/>
                </a:moveTo>
                <a:lnTo>
                  <a:pt x="9" y="0"/>
                </a:lnTo>
                <a:lnTo>
                  <a:pt x="9" y="0"/>
                </a:lnTo>
                <a:lnTo>
                  <a:pt x="12" y="3"/>
                </a:lnTo>
                <a:lnTo>
                  <a:pt x="12" y="3"/>
                </a:lnTo>
                <a:lnTo>
                  <a:pt x="15" y="3"/>
                </a:lnTo>
                <a:lnTo>
                  <a:pt x="15" y="3"/>
                </a:lnTo>
                <a:lnTo>
                  <a:pt x="18" y="3"/>
                </a:lnTo>
                <a:lnTo>
                  <a:pt x="18" y="3"/>
                </a:lnTo>
                <a:lnTo>
                  <a:pt x="21" y="3"/>
                </a:lnTo>
                <a:lnTo>
                  <a:pt x="21" y="6"/>
                </a:lnTo>
                <a:lnTo>
                  <a:pt x="25" y="6"/>
                </a:lnTo>
                <a:lnTo>
                  <a:pt x="25" y="10"/>
                </a:lnTo>
                <a:lnTo>
                  <a:pt x="31" y="16"/>
                </a:lnTo>
                <a:lnTo>
                  <a:pt x="34" y="25"/>
                </a:lnTo>
                <a:lnTo>
                  <a:pt x="34" y="56"/>
                </a:lnTo>
                <a:lnTo>
                  <a:pt x="31" y="60"/>
                </a:lnTo>
                <a:lnTo>
                  <a:pt x="34" y="78"/>
                </a:lnTo>
                <a:lnTo>
                  <a:pt x="40" y="81"/>
                </a:lnTo>
                <a:lnTo>
                  <a:pt x="43" y="85"/>
                </a:lnTo>
                <a:lnTo>
                  <a:pt x="46" y="88"/>
                </a:lnTo>
                <a:lnTo>
                  <a:pt x="46" y="88"/>
                </a:lnTo>
                <a:lnTo>
                  <a:pt x="53" y="94"/>
                </a:lnTo>
                <a:lnTo>
                  <a:pt x="56" y="97"/>
                </a:lnTo>
                <a:lnTo>
                  <a:pt x="59" y="103"/>
                </a:lnTo>
                <a:lnTo>
                  <a:pt x="62" y="106"/>
                </a:lnTo>
                <a:lnTo>
                  <a:pt x="62" y="110"/>
                </a:lnTo>
                <a:lnTo>
                  <a:pt x="62" y="113"/>
                </a:lnTo>
                <a:lnTo>
                  <a:pt x="59" y="113"/>
                </a:lnTo>
                <a:lnTo>
                  <a:pt x="59" y="116"/>
                </a:lnTo>
                <a:lnTo>
                  <a:pt x="56" y="116"/>
                </a:lnTo>
                <a:lnTo>
                  <a:pt x="56" y="116"/>
                </a:lnTo>
                <a:lnTo>
                  <a:pt x="59" y="119"/>
                </a:lnTo>
                <a:lnTo>
                  <a:pt x="56" y="119"/>
                </a:lnTo>
                <a:lnTo>
                  <a:pt x="59" y="122"/>
                </a:lnTo>
                <a:lnTo>
                  <a:pt x="59" y="128"/>
                </a:lnTo>
                <a:lnTo>
                  <a:pt x="59" y="132"/>
                </a:lnTo>
                <a:lnTo>
                  <a:pt x="56" y="135"/>
                </a:lnTo>
                <a:lnTo>
                  <a:pt x="50" y="135"/>
                </a:lnTo>
                <a:lnTo>
                  <a:pt x="50" y="141"/>
                </a:lnTo>
                <a:lnTo>
                  <a:pt x="50" y="144"/>
                </a:lnTo>
                <a:lnTo>
                  <a:pt x="46" y="147"/>
                </a:lnTo>
                <a:lnTo>
                  <a:pt x="46" y="153"/>
                </a:lnTo>
                <a:lnTo>
                  <a:pt x="46" y="157"/>
                </a:lnTo>
                <a:lnTo>
                  <a:pt x="43" y="157"/>
                </a:lnTo>
                <a:lnTo>
                  <a:pt x="43" y="157"/>
                </a:lnTo>
                <a:lnTo>
                  <a:pt x="43" y="153"/>
                </a:lnTo>
                <a:lnTo>
                  <a:pt x="40" y="150"/>
                </a:lnTo>
                <a:lnTo>
                  <a:pt x="40" y="147"/>
                </a:lnTo>
                <a:lnTo>
                  <a:pt x="37" y="147"/>
                </a:lnTo>
                <a:lnTo>
                  <a:pt x="34" y="144"/>
                </a:lnTo>
                <a:lnTo>
                  <a:pt x="31" y="138"/>
                </a:lnTo>
                <a:lnTo>
                  <a:pt x="28" y="135"/>
                </a:lnTo>
                <a:lnTo>
                  <a:pt x="28" y="132"/>
                </a:lnTo>
                <a:lnTo>
                  <a:pt x="28" y="128"/>
                </a:lnTo>
                <a:lnTo>
                  <a:pt x="31" y="125"/>
                </a:lnTo>
                <a:lnTo>
                  <a:pt x="31" y="119"/>
                </a:lnTo>
                <a:lnTo>
                  <a:pt x="34" y="116"/>
                </a:lnTo>
                <a:lnTo>
                  <a:pt x="34" y="110"/>
                </a:lnTo>
                <a:lnTo>
                  <a:pt x="34" y="106"/>
                </a:lnTo>
                <a:lnTo>
                  <a:pt x="34" y="103"/>
                </a:lnTo>
                <a:lnTo>
                  <a:pt x="28" y="100"/>
                </a:lnTo>
                <a:lnTo>
                  <a:pt x="25" y="100"/>
                </a:lnTo>
                <a:lnTo>
                  <a:pt x="21" y="103"/>
                </a:lnTo>
                <a:lnTo>
                  <a:pt x="18" y="103"/>
                </a:lnTo>
                <a:lnTo>
                  <a:pt x="18" y="103"/>
                </a:lnTo>
                <a:lnTo>
                  <a:pt x="15" y="103"/>
                </a:lnTo>
                <a:lnTo>
                  <a:pt x="15" y="100"/>
                </a:lnTo>
                <a:lnTo>
                  <a:pt x="12" y="97"/>
                </a:lnTo>
                <a:lnTo>
                  <a:pt x="12" y="97"/>
                </a:lnTo>
                <a:lnTo>
                  <a:pt x="12" y="94"/>
                </a:lnTo>
                <a:lnTo>
                  <a:pt x="6" y="94"/>
                </a:lnTo>
                <a:lnTo>
                  <a:pt x="6" y="94"/>
                </a:lnTo>
                <a:lnTo>
                  <a:pt x="3" y="88"/>
                </a:lnTo>
                <a:lnTo>
                  <a:pt x="0" y="85"/>
                </a:lnTo>
                <a:lnTo>
                  <a:pt x="0" y="85"/>
                </a:lnTo>
                <a:lnTo>
                  <a:pt x="3" y="81"/>
                </a:lnTo>
                <a:lnTo>
                  <a:pt x="6" y="78"/>
                </a:lnTo>
                <a:lnTo>
                  <a:pt x="6" y="75"/>
                </a:lnTo>
                <a:lnTo>
                  <a:pt x="6" y="75"/>
                </a:lnTo>
                <a:lnTo>
                  <a:pt x="6" y="72"/>
                </a:lnTo>
                <a:lnTo>
                  <a:pt x="6" y="69"/>
                </a:lnTo>
                <a:lnTo>
                  <a:pt x="6" y="69"/>
                </a:lnTo>
                <a:lnTo>
                  <a:pt x="9" y="66"/>
                </a:lnTo>
                <a:lnTo>
                  <a:pt x="12" y="63"/>
                </a:lnTo>
                <a:lnTo>
                  <a:pt x="15" y="63"/>
                </a:lnTo>
                <a:lnTo>
                  <a:pt x="15" y="63"/>
                </a:lnTo>
                <a:lnTo>
                  <a:pt x="15" y="60"/>
                </a:lnTo>
                <a:lnTo>
                  <a:pt x="15" y="60"/>
                </a:lnTo>
                <a:lnTo>
                  <a:pt x="12" y="56"/>
                </a:lnTo>
                <a:lnTo>
                  <a:pt x="12" y="53"/>
                </a:lnTo>
                <a:lnTo>
                  <a:pt x="12" y="53"/>
                </a:lnTo>
                <a:lnTo>
                  <a:pt x="15" y="50"/>
                </a:lnTo>
                <a:lnTo>
                  <a:pt x="12" y="47"/>
                </a:lnTo>
                <a:lnTo>
                  <a:pt x="15" y="47"/>
                </a:lnTo>
                <a:lnTo>
                  <a:pt x="12" y="44"/>
                </a:lnTo>
                <a:lnTo>
                  <a:pt x="12" y="41"/>
                </a:lnTo>
                <a:lnTo>
                  <a:pt x="12" y="38"/>
                </a:lnTo>
                <a:lnTo>
                  <a:pt x="12" y="35"/>
                </a:lnTo>
                <a:lnTo>
                  <a:pt x="18" y="28"/>
                </a:lnTo>
                <a:lnTo>
                  <a:pt x="18" y="28"/>
                </a:lnTo>
                <a:lnTo>
                  <a:pt x="18" y="28"/>
                </a:lnTo>
                <a:lnTo>
                  <a:pt x="18" y="22"/>
                </a:lnTo>
                <a:lnTo>
                  <a:pt x="15" y="19"/>
                </a:lnTo>
                <a:lnTo>
                  <a:pt x="12" y="19"/>
                </a:lnTo>
                <a:lnTo>
                  <a:pt x="12" y="16"/>
                </a:lnTo>
                <a:lnTo>
                  <a:pt x="15" y="10"/>
                </a:lnTo>
                <a:lnTo>
                  <a:pt x="15" y="10"/>
                </a:lnTo>
                <a:lnTo>
                  <a:pt x="12" y="10"/>
                </a:lnTo>
                <a:lnTo>
                  <a:pt x="9" y="6"/>
                </a:lnTo>
                <a:lnTo>
                  <a:pt x="9" y="3"/>
                </a:lnTo>
                <a:lnTo>
                  <a:pt x="9" y="3"/>
                </a:lnTo>
                <a:lnTo>
                  <a:pt x="6" y="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7" name="Freeform 145">
            <a:extLst>
              <a:ext uri="{FF2B5EF4-FFF2-40B4-BE49-F238E27FC236}">
                <a16:creationId xmlns:a16="http://schemas.microsoft.com/office/drawing/2014/main" id="{F90D4A4A-6A08-760A-F2EB-0F119E32C2E3}"/>
              </a:ext>
            </a:extLst>
          </p:cNvPr>
          <p:cNvSpPr>
            <a:spLocks/>
          </p:cNvSpPr>
          <p:nvPr userDrawn="1"/>
        </p:nvSpPr>
        <p:spPr bwMode="auto">
          <a:xfrm>
            <a:off x="14508802" y="9892582"/>
            <a:ext cx="742902" cy="635000"/>
          </a:xfrm>
          <a:custGeom>
            <a:avLst/>
            <a:gdLst>
              <a:gd name="T0" fmla="*/ 50 w 234"/>
              <a:gd name="T1" fmla="*/ 60 h 200"/>
              <a:gd name="T2" fmla="*/ 53 w 234"/>
              <a:gd name="T3" fmla="*/ 66 h 200"/>
              <a:gd name="T4" fmla="*/ 62 w 234"/>
              <a:gd name="T5" fmla="*/ 63 h 200"/>
              <a:gd name="T6" fmla="*/ 72 w 234"/>
              <a:gd name="T7" fmla="*/ 66 h 200"/>
              <a:gd name="T8" fmla="*/ 75 w 234"/>
              <a:gd name="T9" fmla="*/ 72 h 200"/>
              <a:gd name="T10" fmla="*/ 91 w 234"/>
              <a:gd name="T11" fmla="*/ 78 h 200"/>
              <a:gd name="T12" fmla="*/ 100 w 234"/>
              <a:gd name="T13" fmla="*/ 75 h 200"/>
              <a:gd name="T14" fmla="*/ 109 w 234"/>
              <a:gd name="T15" fmla="*/ 69 h 200"/>
              <a:gd name="T16" fmla="*/ 116 w 234"/>
              <a:gd name="T17" fmla="*/ 85 h 200"/>
              <a:gd name="T18" fmla="*/ 134 w 234"/>
              <a:gd name="T19" fmla="*/ 97 h 200"/>
              <a:gd name="T20" fmla="*/ 150 w 234"/>
              <a:gd name="T21" fmla="*/ 103 h 200"/>
              <a:gd name="T22" fmla="*/ 156 w 234"/>
              <a:gd name="T23" fmla="*/ 106 h 200"/>
              <a:gd name="T24" fmla="*/ 150 w 234"/>
              <a:gd name="T25" fmla="*/ 81 h 200"/>
              <a:gd name="T26" fmla="*/ 144 w 234"/>
              <a:gd name="T27" fmla="*/ 88 h 200"/>
              <a:gd name="T28" fmla="*/ 131 w 234"/>
              <a:gd name="T29" fmla="*/ 75 h 200"/>
              <a:gd name="T30" fmla="*/ 137 w 234"/>
              <a:gd name="T31" fmla="*/ 50 h 200"/>
              <a:gd name="T32" fmla="*/ 137 w 234"/>
              <a:gd name="T33" fmla="*/ 44 h 200"/>
              <a:gd name="T34" fmla="*/ 141 w 234"/>
              <a:gd name="T35" fmla="*/ 35 h 200"/>
              <a:gd name="T36" fmla="*/ 134 w 234"/>
              <a:gd name="T37" fmla="*/ 25 h 200"/>
              <a:gd name="T38" fmla="*/ 187 w 234"/>
              <a:gd name="T39" fmla="*/ 6 h 200"/>
              <a:gd name="T40" fmla="*/ 194 w 234"/>
              <a:gd name="T41" fmla="*/ 9 h 200"/>
              <a:gd name="T42" fmla="*/ 212 w 234"/>
              <a:gd name="T43" fmla="*/ 16 h 200"/>
              <a:gd name="T44" fmla="*/ 222 w 234"/>
              <a:gd name="T45" fmla="*/ 25 h 200"/>
              <a:gd name="T46" fmla="*/ 225 w 234"/>
              <a:gd name="T47" fmla="*/ 31 h 200"/>
              <a:gd name="T48" fmla="*/ 228 w 234"/>
              <a:gd name="T49" fmla="*/ 41 h 200"/>
              <a:gd name="T50" fmla="*/ 234 w 234"/>
              <a:gd name="T51" fmla="*/ 53 h 200"/>
              <a:gd name="T52" fmla="*/ 228 w 234"/>
              <a:gd name="T53" fmla="*/ 63 h 200"/>
              <a:gd name="T54" fmla="*/ 228 w 234"/>
              <a:gd name="T55" fmla="*/ 72 h 200"/>
              <a:gd name="T56" fmla="*/ 228 w 234"/>
              <a:gd name="T57" fmla="*/ 81 h 200"/>
              <a:gd name="T58" fmla="*/ 231 w 234"/>
              <a:gd name="T59" fmla="*/ 88 h 200"/>
              <a:gd name="T60" fmla="*/ 222 w 234"/>
              <a:gd name="T61" fmla="*/ 94 h 200"/>
              <a:gd name="T62" fmla="*/ 222 w 234"/>
              <a:gd name="T63" fmla="*/ 103 h 200"/>
              <a:gd name="T64" fmla="*/ 219 w 234"/>
              <a:gd name="T65" fmla="*/ 113 h 200"/>
              <a:gd name="T66" fmla="*/ 216 w 234"/>
              <a:gd name="T67" fmla="*/ 122 h 200"/>
              <a:gd name="T68" fmla="*/ 178 w 234"/>
              <a:gd name="T69" fmla="*/ 135 h 200"/>
              <a:gd name="T70" fmla="*/ 169 w 234"/>
              <a:gd name="T71" fmla="*/ 150 h 200"/>
              <a:gd name="T72" fmla="*/ 159 w 234"/>
              <a:gd name="T73" fmla="*/ 150 h 200"/>
              <a:gd name="T74" fmla="*/ 147 w 234"/>
              <a:gd name="T75" fmla="*/ 153 h 200"/>
              <a:gd name="T76" fmla="*/ 137 w 234"/>
              <a:gd name="T77" fmla="*/ 160 h 200"/>
              <a:gd name="T78" fmla="*/ 134 w 234"/>
              <a:gd name="T79" fmla="*/ 166 h 200"/>
              <a:gd name="T80" fmla="*/ 103 w 234"/>
              <a:gd name="T81" fmla="*/ 197 h 200"/>
              <a:gd name="T82" fmla="*/ 91 w 234"/>
              <a:gd name="T83" fmla="*/ 194 h 200"/>
              <a:gd name="T84" fmla="*/ 81 w 234"/>
              <a:gd name="T85" fmla="*/ 194 h 200"/>
              <a:gd name="T86" fmla="*/ 72 w 234"/>
              <a:gd name="T87" fmla="*/ 194 h 200"/>
              <a:gd name="T88" fmla="*/ 59 w 234"/>
              <a:gd name="T89" fmla="*/ 188 h 200"/>
              <a:gd name="T90" fmla="*/ 53 w 234"/>
              <a:gd name="T91" fmla="*/ 188 h 200"/>
              <a:gd name="T92" fmla="*/ 28 w 234"/>
              <a:gd name="T93" fmla="*/ 191 h 200"/>
              <a:gd name="T94" fmla="*/ 22 w 234"/>
              <a:gd name="T95" fmla="*/ 182 h 200"/>
              <a:gd name="T96" fmla="*/ 9 w 234"/>
              <a:gd name="T97" fmla="*/ 172 h 200"/>
              <a:gd name="T98" fmla="*/ 0 w 234"/>
              <a:gd name="T99" fmla="*/ 163 h 200"/>
              <a:gd name="T100" fmla="*/ 44 w 234"/>
              <a:gd name="T101" fmla="*/ 91 h 200"/>
              <a:gd name="T102" fmla="*/ 44 w 234"/>
              <a:gd name="T103" fmla="*/ 78 h 200"/>
              <a:gd name="T104" fmla="*/ 44 w 234"/>
              <a:gd name="T10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4" h="200">
                <a:moveTo>
                  <a:pt x="44" y="60"/>
                </a:moveTo>
                <a:lnTo>
                  <a:pt x="47" y="60"/>
                </a:lnTo>
                <a:lnTo>
                  <a:pt x="47" y="60"/>
                </a:lnTo>
                <a:lnTo>
                  <a:pt x="50" y="60"/>
                </a:lnTo>
                <a:lnTo>
                  <a:pt x="53" y="63"/>
                </a:lnTo>
                <a:lnTo>
                  <a:pt x="53" y="66"/>
                </a:lnTo>
                <a:lnTo>
                  <a:pt x="53" y="66"/>
                </a:lnTo>
                <a:lnTo>
                  <a:pt x="53" y="66"/>
                </a:lnTo>
                <a:lnTo>
                  <a:pt x="56" y="66"/>
                </a:lnTo>
                <a:lnTo>
                  <a:pt x="59" y="63"/>
                </a:lnTo>
                <a:lnTo>
                  <a:pt x="62" y="63"/>
                </a:lnTo>
                <a:lnTo>
                  <a:pt x="62" y="63"/>
                </a:lnTo>
                <a:lnTo>
                  <a:pt x="69" y="60"/>
                </a:lnTo>
                <a:lnTo>
                  <a:pt x="69" y="63"/>
                </a:lnTo>
                <a:lnTo>
                  <a:pt x="69" y="66"/>
                </a:lnTo>
                <a:lnTo>
                  <a:pt x="72" y="66"/>
                </a:lnTo>
                <a:lnTo>
                  <a:pt x="72" y="69"/>
                </a:lnTo>
                <a:lnTo>
                  <a:pt x="72" y="72"/>
                </a:lnTo>
                <a:lnTo>
                  <a:pt x="72" y="72"/>
                </a:lnTo>
                <a:lnTo>
                  <a:pt x="75" y="72"/>
                </a:lnTo>
                <a:lnTo>
                  <a:pt x="78" y="72"/>
                </a:lnTo>
                <a:lnTo>
                  <a:pt x="81" y="75"/>
                </a:lnTo>
                <a:lnTo>
                  <a:pt x="87" y="78"/>
                </a:lnTo>
                <a:lnTo>
                  <a:pt x="91" y="78"/>
                </a:lnTo>
                <a:lnTo>
                  <a:pt x="91" y="78"/>
                </a:lnTo>
                <a:lnTo>
                  <a:pt x="94" y="78"/>
                </a:lnTo>
                <a:lnTo>
                  <a:pt x="100" y="78"/>
                </a:lnTo>
                <a:lnTo>
                  <a:pt x="100" y="75"/>
                </a:lnTo>
                <a:lnTo>
                  <a:pt x="103" y="69"/>
                </a:lnTo>
                <a:lnTo>
                  <a:pt x="106" y="69"/>
                </a:lnTo>
                <a:lnTo>
                  <a:pt x="106" y="69"/>
                </a:lnTo>
                <a:lnTo>
                  <a:pt x="109" y="69"/>
                </a:lnTo>
                <a:lnTo>
                  <a:pt x="109" y="75"/>
                </a:lnTo>
                <a:lnTo>
                  <a:pt x="112" y="78"/>
                </a:lnTo>
                <a:lnTo>
                  <a:pt x="112" y="81"/>
                </a:lnTo>
                <a:lnTo>
                  <a:pt x="116" y="85"/>
                </a:lnTo>
                <a:lnTo>
                  <a:pt x="125" y="85"/>
                </a:lnTo>
                <a:lnTo>
                  <a:pt x="128" y="88"/>
                </a:lnTo>
                <a:lnTo>
                  <a:pt x="131" y="94"/>
                </a:lnTo>
                <a:lnTo>
                  <a:pt x="134" y="97"/>
                </a:lnTo>
                <a:lnTo>
                  <a:pt x="141" y="100"/>
                </a:lnTo>
                <a:lnTo>
                  <a:pt x="144" y="106"/>
                </a:lnTo>
                <a:lnTo>
                  <a:pt x="147" y="106"/>
                </a:lnTo>
                <a:lnTo>
                  <a:pt x="150" y="103"/>
                </a:lnTo>
                <a:lnTo>
                  <a:pt x="153" y="103"/>
                </a:lnTo>
                <a:lnTo>
                  <a:pt x="153" y="103"/>
                </a:lnTo>
                <a:lnTo>
                  <a:pt x="153" y="103"/>
                </a:lnTo>
                <a:lnTo>
                  <a:pt x="156" y="106"/>
                </a:lnTo>
                <a:lnTo>
                  <a:pt x="159" y="103"/>
                </a:lnTo>
                <a:lnTo>
                  <a:pt x="156" y="81"/>
                </a:lnTo>
                <a:lnTo>
                  <a:pt x="156" y="81"/>
                </a:lnTo>
                <a:lnTo>
                  <a:pt x="150" y="81"/>
                </a:lnTo>
                <a:lnTo>
                  <a:pt x="150" y="85"/>
                </a:lnTo>
                <a:lnTo>
                  <a:pt x="153" y="88"/>
                </a:lnTo>
                <a:lnTo>
                  <a:pt x="150" y="88"/>
                </a:lnTo>
                <a:lnTo>
                  <a:pt x="144" y="88"/>
                </a:lnTo>
                <a:lnTo>
                  <a:pt x="141" y="85"/>
                </a:lnTo>
                <a:lnTo>
                  <a:pt x="141" y="81"/>
                </a:lnTo>
                <a:lnTo>
                  <a:pt x="134" y="75"/>
                </a:lnTo>
                <a:lnTo>
                  <a:pt x="131" y="75"/>
                </a:lnTo>
                <a:lnTo>
                  <a:pt x="131" y="69"/>
                </a:lnTo>
                <a:lnTo>
                  <a:pt x="131" y="56"/>
                </a:lnTo>
                <a:lnTo>
                  <a:pt x="131" y="56"/>
                </a:lnTo>
                <a:lnTo>
                  <a:pt x="137" y="50"/>
                </a:lnTo>
                <a:lnTo>
                  <a:pt x="137" y="50"/>
                </a:lnTo>
                <a:lnTo>
                  <a:pt x="137" y="47"/>
                </a:lnTo>
                <a:lnTo>
                  <a:pt x="137" y="47"/>
                </a:lnTo>
                <a:lnTo>
                  <a:pt x="137" y="44"/>
                </a:lnTo>
                <a:lnTo>
                  <a:pt x="137" y="41"/>
                </a:lnTo>
                <a:lnTo>
                  <a:pt x="137" y="38"/>
                </a:lnTo>
                <a:lnTo>
                  <a:pt x="137" y="35"/>
                </a:lnTo>
                <a:lnTo>
                  <a:pt x="141" y="35"/>
                </a:lnTo>
                <a:lnTo>
                  <a:pt x="141" y="31"/>
                </a:lnTo>
                <a:lnTo>
                  <a:pt x="137" y="31"/>
                </a:lnTo>
                <a:lnTo>
                  <a:pt x="134" y="28"/>
                </a:lnTo>
                <a:lnTo>
                  <a:pt x="134" y="25"/>
                </a:lnTo>
                <a:lnTo>
                  <a:pt x="144" y="9"/>
                </a:lnTo>
                <a:lnTo>
                  <a:pt x="175" y="0"/>
                </a:lnTo>
                <a:lnTo>
                  <a:pt x="184" y="6"/>
                </a:lnTo>
                <a:lnTo>
                  <a:pt x="187" y="6"/>
                </a:lnTo>
                <a:lnTo>
                  <a:pt x="191" y="6"/>
                </a:lnTo>
                <a:lnTo>
                  <a:pt x="191" y="6"/>
                </a:lnTo>
                <a:lnTo>
                  <a:pt x="194" y="9"/>
                </a:lnTo>
                <a:lnTo>
                  <a:pt x="194" y="9"/>
                </a:lnTo>
                <a:lnTo>
                  <a:pt x="197" y="13"/>
                </a:lnTo>
                <a:lnTo>
                  <a:pt x="200" y="13"/>
                </a:lnTo>
                <a:lnTo>
                  <a:pt x="209" y="16"/>
                </a:lnTo>
                <a:lnTo>
                  <a:pt x="212" y="16"/>
                </a:lnTo>
                <a:lnTo>
                  <a:pt x="212" y="19"/>
                </a:lnTo>
                <a:lnTo>
                  <a:pt x="216" y="19"/>
                </a:lnTo>
                <a:lnTo>
                  <a:pt x="219" y="22"/>
                </a:lnTo>
                <a:lnTo>
                  <a:pt x="222" y="25"/>
                </a:lnTo>
                <a:lnTo>
                  <a:pt x="222" y="25"/>
                </a:lnTo>
                <a:lnTo>
                  <a:pt x="225" y="28"/>
                </a:lnTo>
                <a:lnTo>
                  <a:pt x="225" y="28"/>
                </a:lnTo>
                <a:lnTo>
                  <a:pt x="225" y="31"/>
                </a:lnTo>
                <a:lnTo>
                  <a:pt x="228" y="35"/>
                </a:lnTo>
                <a:lnTo>
                  <a:pt x="231" y="35"/>
                </a:lnTo>
                <a:lnTo>
                  <a:pt x="231" y="35"/>
                </a:lnTo>
                <a:lnTo>
                  <a:pt x="228" y="41"/>
                </a:lnTo>
                <a:lnTo>
                  <a:pt x="228" y="44"/>
                </a:lnTo>
                <a:lnTo>
                  <a:pt x="231" y="44"/>
                </a:lnTo>
                <a:lnTo>
                  <a:pt x="234" y="47"/>
                </a:lnTo>
                <a:lnTo>
                  <a:pt x="234" y="53"/>
                </a:lnTo>
                <a:lnTo>
                  <a:pt x="234" y="53"/>
                </a:lnTo>
                <a:lnTo>
                  <a:pt x="234" y="53"/>
                </a:lnTo>
                <a:lnTo>
                  <a:pt x="228" y="60"/>
                </a:lnTo>
                <a:lnTo>
                  <a:pt x="228" y="63"/>
                </a:lnTo>
                <a:lnTo>
                  <a:pt x="228" y="66"/>
                </a:lnTo>
                <a:lnTo>
                  <a:pt x="228" y="69"/>
                </a:lnTo>
                <a:lnTo>
                  <a:pt x="231" y="72"/>
                </a:lnTo>
                <a:lnTo>
                  <a:pt x="228" y="72"/>
                </a:lnTo>
                <a:lnTo>
                  <a:pt x="231" y="75"/>
                </a:lnTo>
                <a:lnTo>
                  <a:pt x="228" y="78"/>
                </a:lnTo>
                <a:lnTo>
                  <a:pt x="228" y="78"/>
                </a:lnTo>
                <a:lnTo>
                  <a:pt x="228" y="81"/>
                </a:lnTo>
                <a:lnTo>
                  <a:pt x="231" y="85"/>
                </a:lnTo>
                <a:lnTo>
                  <a:pt x="231" y="85"/>
                </a:lnTo>
                <a:lnTo>
                  <a:pt x="231" y="88"/>
                </a:lnTo>
                <a:lnTo>
                  <a:pt x="231" y="88"/>
                </a:lnTo>
                <a:lnTo>
                  <a:pt x="228" y="88"/>
                </a:lnTo>
                <a:lnTo>
                  <a:pt x="225" y="91"/>
                </a:lnTo>
                <a:lnTo>
                  <a:pt x="222" y="94"/>
                </a:lnTo>
                <a:lnTo>
                  <a:pt x="222" y="94"/>
                </a:lnTo>
                <a:lnTo>
                  <a:pt x="222" y="97"/>
                </a:lnTo>
                <a:lnTo>
                  <a:pt x="222" y="100"/>
                </a:lnTo>
                <a:lnTo>
                  <a:pt x="222" y="100"/>
                </a:lnTo>
                <a:lnTo>
                  <a:pt x="222" y="103"/>
                </a:lnTo>
                <a:lnTo>
                  <a:pt x="219" y="106"/>
                </a:lnTo>
                <a:lnTo>
                  <a:pt x="216" y="110"/>
                </a:lnTo>
                <a:lnTo>
                  <a:pt x="216" y="110"/>
                </a:lnTo>
                <a:lnTo>
                  <a:pt x="219" y="113"/>
                </a:lnTo>
                <a:lnTo>
                  <a:pt x="222" y="119"/>
                </a:lnTo>
                <a:lnTo>
                  <a:pt x="222" y="119"/>
                </a:lnTo>
                <a:lnTo>
                  <a:pt x="222" y="119"/>
                </a:lnTo>
                <a:lnTo>
                  <a:pt x="216" y="122"/>
                </a:lnTo>
                <a:lnTo>
                  <a:pt x="203" y="125"/>
                </a:lnTo>
                <a:lnTo>
                  <a:pt x="200" y="128"/>
                </a:lnTo>
                <a:lnTo>
                  <a:pt x="181" y="135"/>
                </a:lnTo>
                <a:lnTo>
                  <a:pt x="178" y="135"/>
                </a:lnTo>
                <a:lnTo>
                  <a:pt x="169" y="141"/>
                </a:lnTo>
                <a:lnTo>
                  <a:pt x="169" y="144"/>
                </a:lnTo>
                <a:lnTo>
                  <a:pt x="169" y="147"/>
                </a:lnTo>
                <a:lnTo>
                  <a:pt x="169" y="150"/>
                </a:lnTo>
                <a:lnTo>
                  <a:pt x="169" y="150"/>
                </a:lnTo>
                <a:lnTo>
                  <a:pt x="166" y="150"/>
                </a:lnTo>
                <a:lnTo>
                  <a:pt x="162" y="150"/>
                </a:lnTo>
                <a:lnTo>
                  <a:pt x="159" y="150"/>
                </a:lnTo>
                <a:lnTo>
                  <a:pt x="159" y="150"/>
                </a:lnTo>
                <a:lnTo>
                  <a:pt x="153" y="150"/>
                </a:lnTo>
                <a:lnTo>
                  <a:pt x="150" y="150"/>
                </a:lnTo>
                <a:lnTo>
                  <a:pt x="147" y="153"/>
                </a:lnTo>
                <a:lnTo>
                  <a:pt x="144" y="153"/>
                </a:lnTo>
                <a:lnTo>
                  <a:pt x="137" y="157"/>
                </a:lnTo>
                <a:lnTo>
                  <a:pt x="137" y="160"/>
                </a:lnTo>
                <a:lnTo>
                  <a:pt x="137" y="160"/>
                </a:lnTo>
                <a:lnTo>
                  <a:pt x="137" y="163"/>
                </a:lnTo>
                <a:lnTo>
                  <a:pt x="137" y="166"/>
                </a:lnTo>
                <a:lnTo>
                  <a:pt x="137" y="166"/>
                </a:lnTo>
                <a:lnTo>
                  <a:pt x="134" y="166"/>
                </a:lnTo>
                <a:lnTo>
                  <a:pt x="128" y="169"/>
                </a:lnTo>
                <a:lnTo>
                  <a:pt x="116" y="178"/>
                </a:lnTo>
                <a:lnTo>
                  <a:pt x="109" y="188"/>
                </a:lnTo>
                <a:lnTo>
                  <a:pt x="103" y="197"/>
                </a:lnTo>
                <a:lnTo>
                  <a:pt x="97" y="200"/>
                </a:lnTo>
                <a:lnTo>
                  <a:pt x="94" y="197"/>
                </a:lnTo>
                <a:lnTo>
                  <a:pt x="91" y="197"/>
                </a:lnTo>
                <a:lnTo>
                  <a:pt x="91" y="194"/>
                </a:lnTo>
                <a:lnTo>
                  <a:pt x="87" y="194"/>
                </a:lnTo>
                <a:lnTo>
                  <a:pt x="87" y="194"/>
                </a:lnTo>
                <a:lnTo>
                  <a:pt x="84" y="194"/>
                </a:lnTo>
                <a:lnTo>
                  <a:pt x="81" y="194"/>
                </a:lnTo>
                <a:lnTo>
                  <a:pt x="78" y="197"/>
                </a:lnTo>
                <a:lnTo>
                  <a:pt x="75" y="197"/>
                </a:lnTo>
                <a:lnTo>
                  <a:pt x="75" y="194"/>
                </a:lnTo>
                <a:lnTo>
                  <a:pt x="72" y="194"/>
                </a:lnTo>
                <a:lnTo>
                  <a:pt x="66" y="194"/>
                </a:lnTo>
                <a:lnTo>
                  <a:pt x="62" y="194"/>
                </a:lnTo>
                <a:lnTo>
                  <a:pt x="59" y="191"/>
                </a:lnTo>
                <a:lnTo>
                  <a:pt x="59" y="188"/>
                </a:lnTo>
                <a:lnTo>
                  <a:pt x="59" y="188"/>
                </a:lnTo>
                <a:lnTo>
                  <a:pt x="56" y="188"/>
                </a:lnTo>
                <a:lnTo>
                  <a:pt x="56" y="188"/>
                </a:lnTo>
                <a:lnTo>
                  <a:pt x="53" y="188"/>
                </a:lnTo>
                <a:lnTo>
                  <a:pt x="53" y="188"/>
                </a:lnTo>
                <a:lnTo>
                  <a:pt x="50" y="188"/>
                </a:lnTo>
                <a:lnTo>
                  <a:pt x="47" y="188"/>
                </a:lnTo>
                <a:lnTo>
                  <a:pt x="28" y="191"/>
                </a:lnTo>
                <a:lnTo>
                  <a:pt x="28" y="188"/>
                </a:lnTo>
                <a:lnTo>
                  <a:pt x="25" y="188"/>
                </a:lnTo>
                <a:lnTo>
                  <a:pt x="22" y="185"/>
                </a:lnTo>
                <a:lnTo>
                  <a:pt x="22" y="182"/>
                </a:lnTo>
                <a:lnTo>
                  <a:pt x="19" y="182"/>
                </a:lnTo>
                <a:lnTo>
                  <a:pt x="16" y="178"/>
                </a:lnTo>
                <a:lnTo>
                  <a:pt x="12" y="175"/>
                </a:lnTo>
                <a:lnTo>
                  <a:pt x="9" y="172"/>
                </a:lnTo>
                <a:lnTo>
                  <a:pt x="6" y="172"/>
                </a:lnTo>
                <a:lnTo>
                  <a:pt x="6" y="169"/>
                </a:lnTo>
                <a:lnTo>
                  <a:pt x="3" y="166"/>
                </a:lnTo>
                <a:lnTo>
                  <a:pt x="0" y="163"/>
                </a:lnTo>
                <a:lnTo>
                  <a:pt x="3" y="97"/>
                </a:lnTo>
                <a:lnTo>
                  <a:pt x="44" y="97"/>
                </a:lnTo>
                <a:lnTo>
                  <a:pt x="44" y="97"/>
                </a:lnTo>
                <a:lnTo>
                  <a:pt x="44" y="91"/>
                </a:lnTo>
                <a:lnTo>
                  <a:pt x="47" y="88"/>
                </a:lnTo>
                <a:lnTo>
                  <a:pt x="47" y="85"/>
                </a:lnTo>
                <a:lnTo>
                  <a:pt x="44" y="81"/>
                </a:lnTo>
                <a:lnTo>
                  <a:pt x="44" y="78"/>
                </a:lnTo>
                <a:lnTo>
                  <a:pt x="44" y="69"/>
                </a:lnTo>
                <a:lnTo>
                  <a:pt x="44" y="63"/>
                </a:lnTo>
                <a:lnTo>
                  <a:pt x="44" y="60"/>
                </a:lnTo>
                <a:lnTo>
                  <a:pt x="44" y="60"/>
                </a:lnTo>
                <a:lnTo>
                  <a:pt x="44" y="6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8" name="Freeform 146">
            <a:extLst>
              <a:ext uri="{FF2B5EF4-FFF2-40B4-BE49-F238E27FC236}">
                <a16:creationId xmlns:a16="http://schemas.microsoft.com/office/drawing/2014/main" id="{D6EDE0DC-D76E-6D14-0EC8-E7C3BF75322C}"/>
              </a:ext>
            </a:extLst>
          </p:cNvPr>
          <p:cNvSpPr>
            <a:spLocks/>
          </p:cNvSpPr>
          <p:nvPr userDrawn="1"/>
        </p:nvSpPr>
        <p:spPr bwMode="auto">
          <a:xfrm>
            <a:off x="13873846" y="9752881"/>
            <a:ext cx="784175" cy="774702"/>
          </a:xfrm>
          <a:custGeom>
            <a:avLst/>
            <a:gdLst>
              <a:gd name="T0" fmla="*/ 222 w 247"/>
              <a:gd name="T1" fmla="*/ 229 h 244"/>
              <a:gd name="T2" fmla="*/ 212 w 247"/>
              <a:gd name="T3" fmla="*/ 219 h 244"/>
              <a:gd name="T4" fmla="*/ 203 w 247"/>
              <a:gd name="T5" fmla="*/ 210 h 244"/>
              <a:gd name="T6" fmla="*/ 244 w 247"/>
              <a:gd name="T7" fmla="*/ 141 h 244"/>
              <a:gd name="T8" fmla="*/ 244 w 247"/>
              <a:gd name="T9" fmla="*/ 125 h 244"/>
              <a:gd name="T10" fmla="*/ 244 w 247"/>
              <a:gd name="T11" fmla="*/ 104 h 244"/>
              <a:gd name="T12" fmla="*/ 237 w 247"/>
              <a:gd name="T13" fmla="*/ 104 h 244"/>
              <a:gd name="T14" fmla="*/ 228 w 247"/>
              <a:gd name="T15" fmla="*/ 107 h 244"/>
              <a:gd name="T16" fmla="*/ 216 w 247"/>
              <a:gd name="T17" fmla="*/ 104 h 244"/>
              <a:gd name="T18" fmla="*/ 209 w 247"/>
              <a:gd name="T19" fmla="*/ 107 h 244"/>
              <a:gd name="T20" fmla="*/ 209 w 247"/>
              <a:gd name="T21" fmla="*/ 97 h 244"/>
              <a:gd name="T22" fmla="*/ 209 w 247"/>
              <a:gd name="T23" fmla="*/ 88 h 244"/>
              <a:gd name="T24" fmla="*/ 209 w 247"/>
              <a:gd name="T25" fmla="*/ 79 h 244"/>
              <a:gd name="T26" fmla="*/ 203 w 247"/>
              <a:gd name="T27" fmla="*/ 72 h 244"/>
              <a:gd name="T28" fmla="*/ 200 w 247"/>
              <a:gd name="T29" fmla="*/ 66 h 244"/>
              <a:gd name="T30" fmla="*/ 200 w 247"/>
              <a:gd name="T31" fmla="*/ 50 h 244"/>
              <a:gd name="T32" fmla="*/ 200 w 247"/>
              <a:gd name="T33" fmla="*/ 41 h 244"/>
              <a:gd name="T34" fmla="*/ 203 w 247"/>
              <a:gd name="T35" fmla="*/ 28 h 244"/>
              <a:gd name="T36" fmla="*/ 181 w 247"/>
              <a:gd name="T37" fmla="*/ 19 h 244"/>
              <a:gd name="T38" fmla="*/ 153 w 247"/>
              <a:gd name="T39" fmla="*/ 28 h 244"/>
              <a:gd name="T40" fmla="*/ 153 w 247"/>
              <a:gd name="T41" fmla="*/ 41 h 244"/>
              <a:gd name="T42" fmla="*/ 125 w 247"/>
              <a:gd name="T43" fmla="*/ 41 h 244"/>
              <a:gd name="T44" fmla="*/ 112 w 247"/>
              <a:gd name="T45" fmla="*/ 35 h 244"/>
              <a:gd name="T46" fmla="*/ 106 w 247"/>
              <a:gd name="T47" fmla="*/ 25 h 244"/>
              <a:gd name="T48" fmla="*/ 103 w 247"/>
              <a:gd name="T49" fmla="*/ 13 h 244"/>
              <a:gd name="T50" fmla="*/ 103 w 247"/>
              <a:gd name="T51" fmla="*/ 3 h 244"/>
              <a:gd name="T52" fmla="*/ 69 w 247"/>
              <a:gd name="T53" fmla="*/ 0 h 244"/>
              <a:gd name="T54" fmla="*/ 47 w 247"/>
              <a:gd name="T55" fmla="*/ 0 h 244"/>
              <a:gd name="T56" fmla="*/ 31 w 247"/>
              <a:gd name="T57" fmla="*/ 0 h 244"/>
              <a:gd name="T58" fmla="*/ 22 w 247"/>
              <a:gd name="T59" fmla="*/ 3 h 244"/>
              <a:gd name="T60" fmla="*/ 16 w 247"/>
              <a:gd name="T61" fmla="*/ 7 h 244"/>
              <a:gd name="T62" fmla="*/ 28 w 247"/>
              <a:gd name="T63" fmla="*/ 38 h 244"/>
              <a:gd name="T64" fmla="*/ 31 w 247"/>
              <a:gd name="T65" fmla="*/ 66 h 244"/>
              <a:gd name="T66" fmla="*/ 41 w 247"/>
              <a:gd name="T67" fmla="*/ 94 h 244"/>
              <a:gd name="T68" fmla="*/ 37 w 247"/>
              <a:gd name="T69" fmla="*/ 132 h 244"/>
              <a:gd name="T70" fmla="*/ 16 w 247"/>
              <a:gd name="T71" fmla="*/ 154 h 244"/>
              <a:gd name="T72" fmla="*/ 6 w 247"/>
              <a:gd name="T73" fmla="*/ 182 h 244"/>
              <a:gd name="T74" fmla="*/ 0 w 247"/>
              <a:gd name="T75" fmla="*/ 210 h 244"/>
              <a:gd name="T76" fmla="*/ 0 w 247"/>
              <a:gd name="T77" fmla="*/ 229 h 244"/>
              <a:gd name="T78" fmla="*/ 6 w 247"/>
              <a:gd name="T79" fmla="*/ 226 h 244"/>
              <a:gd name="T80" fmla="*/ 16 w 247"/>
              <a:gd name="T81" fmla="*/ 226 h 244"/>
              <a:gd name="T82" fmla="*/ 28 w 247"/>
              <a:gd name="T83" fmla="*/ 222 h 244"/>
              <a:gd name="T84" fmla="*/ 34 w 247"/>
              <a:gd name="T85" fmla="*/ 222 h 244"/>
              <a:gd name="T86" fmla="*/ 37 w 247"/>
              <a:gd name="T87" fmla="*/ 226 h 244"/>
              <a:gd name="T88" fmla="*/ 50 w 247"/>
              <a:gd name="T89" fmla="*/ 229 h 244"/>
              <a:gd name="T90" fmla="*/ 131 w 247"/>
              <a:gd name="T91" fmla="*/ 229 h 244"/>
              <a:gd name="T92" fmla="*/ 137 w 247"/>
              <a:gd name="T93" fmla="*/ 238 h 244"/>
              <a:gd name="T94" fmla="*/ 147 w 247"/>
              <a:gd name="T95" fmla="*/ 238 h 244"/>
              <a:gd name="T96" fmla="*/ 162 w 247"/>
              <a:gd name="T97" fmla="*/ 238 h 244"/>
              <a:gd name="T98" fmla="*/ 169 w 247"/>
              <a:gd name="T99" fmla="*/ 238 h 244"/>
              <a:gd name="T100" fmla="*/ 181 w 247"/>
              <a:gd name="T101" fmla="*/ 241 h 244"/>
              <a:gd name="T102" fmla="*/ 187 w 247"/>
              <a:gd name="T103" fmla="*/ 241 h 244"/>
              <a:gd name="T104" fmla="*/ 194 w 247"/>
              <a:gd name="T105" fmla="*/ 244 h 244"/>
              <a:gd name="T106" fmla="*/ 228 w 247"/>
              <a:gd name="T107" fmla="*/ 23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7" h="244">
                <a:moveTo>
                  <a:pt x="228" y="235"/>
                </a:moveTo>
                <a:lnTo>
                  <a:pt x="228" y="232"/>
                </a:lnTo>
                <a:lnTo>
                  <a:pt x="225" y="232"/>
                </a:lnTo>
                <a:lnTo>
                  <a:pt x="222" y="229"/>
                </a:lnTo>
                <a:lnTo>
                  <a:pt x="222" y="226"/>
                </a:lnTo>
                <a:lnTo>
                  <a:pt x="219" y="226"/>
                </a:lnTo>
                <a:lnTo>
                  <a:pt x="216" y="222"/>
                </a:lnTo>
                <a:lnTo>
                  <a:pt x="212" y="219"/>
                </a:lnTo>
                <a:lnTo>
                  <a:pt x="209" y="216"/>
                </a:lnTo>
                <a:lnTo>
                  <a:pt x="206" y="216"/>
                </a:lnTo>
                <a:lnTo>
                  <a:pt x="206" y="213"/>
                </a:lnTo>
                <a:lnTo>
                  <a:pt x="203" y="210"/>
                </a:lnTo>
                <a:lnTo>
                  <a:pt x="200" y="207"/>
                </a:lnTo>
                <a:lnTo>
                  <a:pt x="203" y="141"/>
                </a:lnTo>
                <a:lnTo>
                  <a:pt x="244" y="141"/>
                </a:lnTo>
                <a:lnTo>
                  <a:pt x="244" y="141"/>
                </a:lnTo>
                <a:lnTo>
                  <a:pt x="244" y="135"/>
                </a:lnTo>
                <a:lnTo>
                  <a:pt x="247" y="132"/>
                </a:lnTo>
                <a:lnTo>
                  <a:pt x="247" y="129"/>
                </a:lnTo>
                <a:lnTo>
                  <a:pt x="244" y="125"/>
                </a:lnTo>
                <a:lnTo>
                  <a:pt x="244" y="122"/>
                </a:lnTo>
                <a:lnTo>
                  <a:pt x="244" y="113"/>
                </a:lnTo>
                <a:lnTo>
                  <a:pt x="244" y="107"/>
                </a:lnTo>
                <a:lnTo>
                  <a:pt x="244" y="104"/>
                </a:lnTo>
                <a:lnTo>
                  <a:pt x="244" y="104"/>
                </a:lnTo>
                <a:lnTo>
                  <a:pt x="244" y="104"/>
                </a:lnTo>
                <a:lnTo>
                  <a:pt x="241" y="104"/>
                </a:lnTo>
                <a:lnTo>
                  <a:pt x="237" y="104"/>
                </a:lnTo>
                <a:lnTo>
                  <a:pt x="234" y="107"/>
                </a:lnTo>
                <a:lnTo>
                  <a:pt x="231" y="107"/>
                </a:lnTo>
                <a:lnTo>
                  <a:pt x="231" y="107"/>
                </a:lnTo>
                <a:lnTo>
                  <a:pt x="228" y="107"/>
                </a:lnTo>
                <a:lnTo>
                  <a:pt x="222" y="107"/>
                </a:lnTo>
                <a:lnTo>
                  <a:pt x="222" y="107"/>
                </a:lnTo>
                <a:lnTo>
                  <a:pt x="219" y="104"/>
                </a:lnTo>
                <a:lnTo>
                  <a:pt x="216" y="104"/>
                </a:lnTo>
                <a:lnTo>
                  <a:pt x="216" y="104"/>
                </a:lnTo>
                <a:lnTo>
                  <a:pt x="212" y="104"/>
                </a:lnTo>
                <a:lnTo>
                  <a:pt x="212" y="107"/>
                </a:lnTo>
                <a:lnTo>
                  <a:pt x="209" y="107"/>
                </a:lnTo>
                <a:lnTo>
                  <a:pt x="209" y="104"/>
                </a:lnTo>
                <a:lnTo>
                  <a:pt x="209" y="100"/>
                </a:lnTo>
                <a:lnTo>
                  <a:pt x="209" y="100"/>
                </a:lnTo>
                <a:lnTo>
                  <a:pt x="209" y="97"/>
                </a:lnTo>
                <a:lnTo>
                  <a:pt x="212" y="97"/>
                </a:lnTo>
                <a:lnTo>
                  <a:pt x="209" y="94"/>
                </a:lnTo>
                <a:lnTo>
                  <a:pt x="209" y="91"/>
                </a:lnTo>
                <a:lnTo>
                  <a:pt x="209" y="88"/>
                </a:lnTo>
                <a:lnTo>
                  <a:pt x="209" y="88"/>
                </a:lnTo>
                <a:lnTo>
                  <a:pt x="206" y="85"/>
                </a:lnTo>
                <a:lnTo>
                  <a:pt x="206" y="82"/>
                </a:lnTo>
                <a:lnTo>
                  <a:pt x="209" y="79"/>
                </a:lnTo>
                <a:lnTo>
                  <a:pt x="206" y="79"/>
                </a:lnTo>
                <a:lnTo>
                  <a:pt x="206" y="75"/>
                </a:lnTo>
                <a:lnTo>
                  <a:pt x="206" y="75"/>
                </a:lnTo>
                <a:lnTo>
                  <a:pt x="203" y="72"/>
                </a:lnTo>
                <a:lnTo>
                  <a:pt x="203" y="72"/>
                </a:lnTo>
                <a:lnTo>
                  <a:pt x="203" y="69"/>
                </a:lnTo>
                <a:lnTo>
                  <a:pt x="203" y="66"/>
                </a:lnTo>
                <a:lnTo>
                  <a:pt x="200" y="66"/>
                </a:lnTo>
                <a:lnTo>
                  <a:pt x="203" y="63"/>
                </a:lnTo>
                <a:lnTo>
                  <a:pt x="203" y="53"/>
                </a:lnTo>
                <a:lnTo>
                  <a:pt x="200" y="50"/>
                </a:lnTo>
                <a:lnTo>
                  <a:pt x="200" y="50"/>
                </a:lnTo>
                <a:lnTo>
                  <a:pt x="203" y="50"/>
                </a:lnTo>
                <a:lnTo>
                  <a:pt x="203" y="47"/>
                </a:lnTo>
                <a:lnTo>
                  <a:pt x="200" y="44"/>
                </a:lnTo>
                <a:lnTo>
                  <a:pt x="200" y="41"/>
                </a:lnTo>
                <a:lnTo>
                  <a:pt x="203" y="38"/>
                </a:lnTo>
                <a:lnTo>
                  <a:pt x="203" y="35"/>
                </a:lnTo>
                <a:lnTo>
                  <a:pt x="203" y="32"/>
                </a:lnTo>
                <a:lnTo>
                  <a:pt x="203" y="28"/>
                </a:lnTo>
                <a:lnTo>
                  <a:pt x="178" y="25"/>
                </a:lnTo>
                <a:lnTo>
                  <a:pt x="178" y="25"/>
                </a:lnTo>
                <a:lnTo>
                  <a:pt x="181" y="22"/>
                </a:lnTo>
                <a:lnTo>
                  <a:pt x="181" y="19"/>
                </a:lnTo>
                <a:lnTo>
                  <a:pt x="175" y="19"/>
                </a:lnTo>
                <a:lnTo>
                  <a:pt x="175" y="22"/>
                </a:lnTo>
                <a:lnTo>
                  <a:pt x="156" y="22"/>
                </a:lnTo>
                <a:lnTo>
                  <a:pt x="153" y="28"/>
                </a:lnTo>
                <a:lnTo>
                  <a:pt x="153" y="32"/>
                </a:lnTo>
                <a:lnTo>
                  <a:pt x="150" y="32"/>
                </a:lnTo>
                <a:lnTo>
                  <a:pt x="153" y="35"/>
                </a:lnTo>
                <a:lnTo>
                  <a:pt x="153" y="41"/>
                </a:lnTo>
                <a:lnTo>
                  <a:pt x="137" y="41"/>
                </a:lnTo>
                <a:lnTo>
                  <a:pt x="134" y="44"/>
                </a:lnTo>
                <a:lnTo>
                  <a:pt x="128" y="44"/>
                </a:lnTo>
                <a:lnTo>
                  <a:pt x="125" y="41"/>
                </a:lnTo>
                <a:lnTo>
                  <a:pt x="122" y="44"/>
                </a:lnTo>
                <a:lnTo>
                  <a:pt x="116" y="44"/>
                </a:lnTo>
                <a:lnTo>
                  <a:pt x="116" y="41"/>
                </a:lnTo>
                <a:lnTo>
                  <a:pt x="112" y="35"/>
                </a:lnTo>
                <a:lnTo>
                  <a:pt x="112" y="32"/>
                </a:lnTo>
                <a:lnTo>
                  <a:pt x="109" y="28"/>
                </a:lnTo>
                <a:lnTo>
                  <a:pt x="106" y="28"/>
                </a:lnTo>
                <a:lnTo>
                  <a:pt x="106" y="25"/>
                </a:lnTo>
                <a:lnTo>
                  <a:pt x="106" y="22"/>
                </a:lnTo>
                <a:lnTo>
                  <a:pt x="106" y="19"/>
                </a:lnTo>
                <a:lnTo>
                  <a:pt x="103" y="16"/>
                </a:lnTo>
                <a:lnTo>
                  <a:pt x="103" y="13"/>
                </a:lnTo>
                <a:lnTo>
                  <a:pt x="106" y="10"/>
                </a:lnTo>
                <a:lnTo>
                  <a:pt x="103" y="7"/>
                </a:lnTo>
                <a:lnTo>
                  <a:pt x="103" y="7"/>
                </a:lnTo>
                <a:lnTo>
                  <a:pt x="103" y="3"/>
                </a:lnTo>
                <a:lnTo>
                  <a:pt x="103" y="3"/>
                </a:lnTo>
                <a:lnTo>
                  <a:pt x="103" y="0"/>
                </a:lnTo>
                <a:lnTo>
                  <a:pt x="81" y="0"/>
                </a:lnTo>
                <a:lnTo>
                  <a:pt x="69" y="0"/>
                </a:lnTo>
                <a:lnTo>
                  <a:pt x="62" y="0"/>
                </a:lnTo>
                <a:lnTo>
                  <a:pt x="56" y="0"/>
                </a:lnTo>
                <a:lnTo>
                  <a:pt x="53" y="0"/>
                </a:lnTo>
                <a:lnTo>
                  <a:pt x="47" y="0"/>
                </a:lnTo>
                <a:lnTo>
                  <a:pt x="41" y="0"/>
                </a:lnTo>
                <a:lnTo>
                  <a:pt x="37" y="0"/>
                </a:lnTo>
                <a:lnTo>
                  <a:pt x="34" y="0"/>
                </a:lnTo>
                <a:lnTo>
                  <a:pt x="31" y="0"/>
                </a:lnTo>
                <a:lnTo>
                  <a:pt x="28" y="0"/>
                </a:lnTo>
                <a:lnTo>
                  <a:pt x="25" y="0"/>
                </a:lnTo>
                <a:lnTo>
                  <a:pt x="25" y="3"/>
                </a:lnTo>
                <a:lnTo>
                  <a:pt x="22" y="3"/>
                </a:lnTo>
                <a:lnTo>
                  <a:pt x="22" y="3"/>
                </a:lnTo>
                <a:lnTo>
                  <a:pt x="22" y="3"/>
                </a:lnTo>
                <a:lnTo>
                  <a:pt x="22" y="3"/>
                </a:lnTo>
                <a:lnTo>
                  <a:pt x="16" y="7"/>
                </a:lnTo>
                <a:lnTo>
                  <a:pt x="19" y="10"/>
                </a:lnTo>
                <a:lnTo>
                  <a:pt x="19" y="13"/>
                </a:lnTo>
                <a:lnTo>
                  <a:pt x="28" y="22"/>
                </a:lnTo>
                <a:lnTo>
                  <a:pt x="28" y="38"/>
                </a:lnTo>
                <a:lnTo>
                  <a:pt x="34" y="47"/>
                </a:lnTo>
                <a:lnTo>
                  <a:pt x="34" y="57"/>
                </a:lnTo>
                <a:lnTo>
                  <a:pt x="28" y="63"/>
                </a:lnTo>
                <a:lnTo>
                  <a:pt x="31" y="66"/>
                </a:lnTo>
                <a:lnTo>
                  <a:pt x="31" y="72"/>
                </a:lnTo>
                <a:lnTo>
                  <a:pt x="34" y="75"/>
                </a:lnTo>
                <a:lnTo>
                  <a:pt x="34" y="82"/>
                </a:lnTo>
                <a:lnTo>
                  <a:pt x="41" y="94"/>
                </a:lnTo>
                <a:lnTo>
                  <a:pt x="41" y="97"/>
                </a:lnTo>
                <a:lnTo>
                  <a:pt x="44" y="100"/>
                </a:lnTo>
                <a:lnTo>
                  <a:pt x="44" y="116"/>
                </a:lnTo>
                <a:lnTo>
                  <a:pt x="37" y="132"/>
                </a:lnTo>
                <a:lnTo>
                  <a:pt x="34" y="132"/>
                </a:lnTo>
                <a:lnTo>
                  <a:pt x="25" y="138"/>
                </a:lnTo>
                <a:lnTo>
                  <a:pt x="25" y="144"/>
                </a:lnTo>
                <a:lnTo>
                  <a:pt x="16" y="154"/>
                </a:lnTo>
                <a:lnTo>
                  <a:pt x="12" y="160"/>
                </a:lnTo>
                <a:lnTo>
                  <a:pt x="12" y="160"/>
                </a:lnTo>
                <a:lnTo>
                  <a:pt x="12" y="175"/>
                </a:lnTo>
                <a:lnTo>
                  <a:pt x="6" y="182"/>
                </a:lnTo>
                <a:lnTo>
                  <a:pt x="6" y="191"/>
                </a:lnTo>
                <a:lnTo>
                  <a:pt x="0" y="197"/>
                </a:lnTo>
                <a:lnTo>
                  <a:pt x="0" y="204"/>
                </a:lnTo>
                <a:lnTo>
                  <a:pt x="0" y="210"/>
                </a:lnTo>
                <a:lnTo>
                  <a:pt x="0" y="219"/>
                </a:lnTo>
                <a:lnTo>
                  <a:pt x="0" y="226"/>
                </a:lnTo>
                <a:lnTo>
                  <a:pt x="0" y="229"/>
                </a:lnTo>
                <a:lnTo>
                  <a:pt x="0" y="229"/>
                </a:lnTo>
                <a:lnTo>
                  <a:pt x="3" y="229"/>
                </a:lnTo>
                <a:lnTo>
                  <a:pt x="3" y="229"/>
                </a:lnTo>
                <a:lnTo>
                  <a:pt x="6" y="229"/>
                </a:lnTo>
                <a:lnTo>
                  <a:pt x="6" y="226"/>
                </a:lnTo>
                <a:lnTo>
                  <a:pt x="6" y="226"/>
                </a:lnTo>
                <a:lnTo>
                  <a:pt x="12" y="226"/>
                </a:lnTo>
                <a:lnTo>
                  <a:pt x="16" y="229"/>
                </a:lnTo>
                <a:lnTo>
                  <a:pt x="16" y="226"/>
                </a:lnTo>
                <a:lnTo>
                  <a:pt x="16" y="226"/>
                </a:lnTo>
                <a:lnTo>
                  <a:pt x="22" y="219"/>
                </a:lnTo>
                <a:lnTo>
                  <a:pt x="25" y="219"/>
                </a:lnTo>
                <a:lnTo>
                  <a:pt x="28" y="222"/>
                </a:lnTo>
                <a:lnTo>
                  <a:pt x="28" y="222"/>
                </a:lnTo>
                <a:lnTo>
                  <a:pt x="31" y="222"/>
                </a:lnTo>
                <a:lnTo>
                  <a:pt x="31" y="219"/>
                </a:lnTo>
                <a:lnTo>
                  <a:pt x="34" y="222"/>
                </a:lnTo>
                <a:lnTo>
                  <a:pt x="34" y="222"/>
                </a:lnTo>
                <a:lnTo>
                  <a:pt x="37" y="222"/>
                </a:lnTo>
                <a:lnTo>
                  <a:pt x="37" y="226"/>
                </a:lnTo>
                <a:lnTo>
                  <a:pt x="37" y="226"/>
                </a:lnTo>
                <a:lnTo>
                  <a:pt x="41" y="229"/>
                </a:lnTo>
                <a:lnTo>
                  <a:pt x="47" y="232"/>
                </a:lnTo>
                <a:lnTo>
                  <a:pt x="50" y="229"/>
                </a:lnTo>
                <a:lnTo>
                  <a:pt x="50" y="229"/>
                </a:lnTo>
                <a:lnTo>
                  <a:pt x="53" y="229"/>
                </a:lnTo>
                <a:lnTo>
                  <a:pt x="56" y="229"/>
                </a:lnTo>
                <a:lnTo>
                  <a:pt x="56" y="229"/>
                </a:lnTo>
                <a:lnTo>
                  <a:pt x="131" y="229"/>
                </a:lnTo>
                <a:lnTo>
                  <a:pt x="131" y="229"/>
                </a:lnTo>
                <a:lnTo>
                  <a:pt x="134" y="235"/>
                </a:lnTo>
                <a:lnTo>
                  <a:pt x="134" y="235"/>
                </a:lnTo>
                <a:lnTo>
                  <a:pt x="137" y="238"/>
                </a:lnTo>
                <a:lnTo>
                  <a:pt x="144" y="238"/>
                </a:lnTo>
                <a:lnTo>
                  <a:pt x="147" y="238"/>
                </a:lnTo>
                <a:lnTo>
                  <a:pt x="147" y="238"/>
                </a:lnTo>
                <a:lnTo>
                  <a:pt x="147" y="238"/>
                </a:lnTo>
                <a:lnTo>
                  <a:pt x="150" y="241"/>
                </a:lnTo>
                <a:lnTo>
                  <a:pt x="153" y="238"/>
                </a:lnTo>
                <a:lnTo>
                  <a:pt x="156" y="238"/>
                </a:lnTo>
                <a:lnTo>
                  <a:pt x="162" y="238"/>
                </a:lnTo>
                <a:lnTo>
                  <a:pt x="166" y="238"/>
                </a:lnTo>
                <a:lnTo>
                  <a:pt x="166" y="235"/>
                </a:lnTo>
                <a:lnTo>
                  <a:pt x="166" y="238"/>
                </a:lnTo>
                <a:lnTo>
                  <a:pt x="169" y="238"/>
                </a:lnTo>
                <a:lnTo>
                  <a:pt x="172" y="241"/>
                </a:lnTo>
                <a:lnTo>
                  <a:pt x="175" y="241"/>
                </a:lnTo>
                <a:lnTo>
                  <a:pt x="181" y="241"/>
                </a:lnTo>
                <a:lnTo>
                  <a:pt x="181" y="241"/>
                </a:lnTo>
                <a:lnTo>
                  <a:pt x="181" y="241"/>
                </a:lnTo>
                <a:lnTo>
                  <a:pt x="184" y="241"/>
                </a:lnTo>
                <a:lnTo>
                  <a:pt x="187" y="241"/>
                </a:lnTo>
                <a:lnTo>
                  <a:pt x="187" y="241"/>
                </a:lnTo>
                <a:lnTo>
                  <a:pt x="191" y="241"/>
                </a:lnTo>
                <a:lnTo>
                  <a:pt x="191" y="241"/>
                </a:lnTo>
                <a:lnTo>
                  <a:pt x="191" y="241"/>
                </a:lnTo>
                <a:lnTo>
                  <a:pt x="194" y="244"/>
                </a:lnTo>
                <a:lnTo>
                  <a:pt x="194" y="244"/>
                </a:lnTo>
                <a:lnTo>
                  <a:pt x="197" y="244"/>
                </a:lnTo>
                <a:lnTo>
                  <a:pt x="197" y="244"/>
                </a:lnTo>
                <a:lnTo>
                  <a:pt x="228" y="235"/>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9" name="Freeform 147">
            <a:extLst>
              <a:ext uri="{FF2B5EF4-FFF2-40B4-BE49-F238E27FC236}">
                <a16:creationId xmlns:a16="http://schemas.microsoft.com/office/drawing/2014/main" id="{ACD36C35-7F4E-848C-D6E7-B5F419B9C54A}"/>
              </a:ext>
            </a:extLst>
          </p:cNvPr>
          <p:cNvSpPr>
            <a:spLocks/>
          </p:cNvSpPr>
          <p:nvPr userDrawn="1"/>
        </p:nvSpPr>
        <p:spPr bwMode="auto">
          <a:xfrm>
            <a:off x="14705640" y="10368831"/>
            <a:ext cx="498446" cy="447678"/>
          </a:xfrm>
          <a:custGeom>
            <a:avLst/>
            <a:gdLst>
              <a:gd name="T0" fmla="*/ 10 w 157"/>
              <a:gd name="T1" fmla="*/ 44 h 141"/>
              <a:gd name="T2" fmla="*/ 16 w 157"/>
              <a:gd name="T3" fmla="*/ 47 h 141"/>
              <a:gd name="T4" fmla="*/ 25 w 157"/>
              <a:gd name="T5" fmla="*/ 44 h 141"/>
              <a:gd name="T6" fmla="*/ 29 w 157"/>
              <a:gd name="T7" fmla="*/ 47 h 141"/>
              <a:gd name="T8" fmla="*/ 41 w 157"/>
              <a:gd name="T9" fmla="*/ 47 h 141"/>
              <a:gd name="T10" fmla="*/ 66 w 157"/>
              <a:gd name="T11" fmla="*/ 19 h 141"/>
              <a:gd name="T12" fmla="*/ 75 w 157"/>
              <a:gd name="T13" fmla="*/ 16 h 141"/>
              <a:gd name="T14" fmla="*/ 75 w 157"/>
              <a:gd name="T15" fmla="*/ 10 h 141"/>
              <a:gd name="T16" fmla="*/ 85 w 157"/>
              <a:gd name="T17" fmla="*/ 3 h 141"/>
              <a:gd name="T18" fmla="*/ 97 w 157"/>
              <a:gd name="T19" fmla="*/ 0 h 141"/>
              <a:gd name="T20" fmla="*/ 104 w 157"/>
              <a:gd name="T21" fmla="*/ 0 h 141"/>
              <a:gd name="T22" fmla="*/ 107 w 157"/>
              <a:gd name="T23" fmla="*/ 7 h 141"/>
              <a:gd name="T24" fmla="*/ 119 w 157"/>
              <a:gd name="T25" fmla="*/ 10 h 141"/>
              <a:gd name="T26" fmla="*/ 125 w 157"/>
              <a:gd name="T27" fmla="*/ 10 h 141"/>
              <a:gd name="T28" fmla="*/ 138 w 157"/>
              <a:gd name="T29" fmla="*/ 19 h 141"/>
              <a:gd name="T30" fmla="*/ 150 w 157"/>
              <a:gd name="T31" fmla="*/ 22 h 141"/>
              <a:gd name="T32" fmla="*/ 154 w 157"/>
              <a:gd name="T33" fmla="*/ 32 h 141"/>
              <a:gd name="T34" fmla="*/ 154 w 157"/>
              <a:gd name="T35" fmla="*/ 38 h 141"/>
              <a:gd name="T36" fmla="*/ 154 w 157"/>
              <a:gd name="T37" fmla="*/ 50 h 141"/>
              <a:gd name="T38" fmla="*/ 154 w 157"/>
              <a:gd name="T39" fmla="*/ 53 h 141"/>
              <a:gd name="T40" fmla="*/ 150 w 157"/>
              <a:gd name="T41" fmla="*/ 63 h 141"/>
              <a:gd name="T42" fmla="*/ 147 w 157"/>
              <a:gd name="T43" fmla="*/ 69 h 141"/>
              <a:gd name="T44" fmla="*/ 150 w 157"/>
              <a:gd name="T45" fmla="*/ 78 h 141"/>
              <a:gd name="T46" fmla="*/ 154 w 157"/>
              <a:gd name="T47" fmla="*/ 85 h 141"/>
              <a:gd name="T48" fmla="*/ 144 w 157"/>
              <a:gd name="T49" fmla="*/ 94 h 141"/>
              <a:gd name="T50" fmla="*/ 144 w 157"/>
              <a:gd name="T51" fmla="*/ 100 h 141"/>
              <a:gd name="T52" fmla="*/ 141 w 157"/>
              <a:gd name="T53" fmla="*/ 113 h 141"/>
              <a:gd name="T54" fmla="*/ 116 w 157"/>
              <a:gd name="T55" fmla="*/ 138 h 141"/>
              <a:gd name="T56" fmla="*/ 100 w 157"/>
              <a:gd name="T57" fmla="*/ 138 h 141"/>
              <a:gd name="T58" fmla="*/ 91 w 157"/>
              <a:gd name="T59" fmla="*/ 135 h 141"/>
              <a:gd name="T60" fmla="*/ 79 w 157"/>
              <a:gd name="T61" fmla="*/ 132 h 141"/>
              <a:gd name="T62" fmla="*/ 75 w 157"/>
              <a:gd name="T63" fmla="*/ 125 h 141"/>
              <a:gd name="T64" fmla="*/ 69 w 157"/>
              <a:gd name="T65" fmla="*/ 122 h 141"/>
              <a:gd name="T66" fmla="*/ 60 w 157"/>
              <a:gd name="T67" fmla="*/ 122 h 141"/>
              <a:gd name="T68" fmla="*/ 47 w 157"/>
              <a:gd name="T69" fmla="*/ 113 h 141"/>
              <a:gd name="T70" fmla="*/ 47 w 157"/>
              <a:gd name="T71" fmla="*/ 103 h 141"/>
              <a:gd name="T72" fmla="*/ 41 w 157"/>
              <a:gd name="T73" fmla="*/ 97 h 141"/>
              <a:gd name="T74" fmla="*/ 41 w 157"/>
              <a:gd name="T75" fmla="*/ 94 h 141"/>
              <a:gd name="T76" fmla="*/ 32 w 157"/>
              <a:gd name="T77" fmla="*/ 88 h 141"/>
              <a:gd name="T78" fmla="*/ 22 w 157"/>
              <a:gd name="T79" fmla="*/ 72 h 141"/>
              <a:gd name="T80" fmla="*/ 16 w 157"/>
              <a:gd name="T81" fmla="*/ 69 h 141"/>
              <a:gd name="T82" fmla="*/ 13 w 157"/>
              <a:gd name="T83" fmla="*/ 60 h 141"/>
              <a:gd name="T84" fmla="*/ 10 w 157"/>
              <a:gd name="T85" fmla="*/ 57 h 141"/>
              <a:gd name="T86" fmla="*/ 4 w 157"/>
              <a:gd name="T87" fmla="*/ 50 h 141"/>
              <a:gd name="T88" fmla="*/ 4 w 157"/>
              <a:gd name="T89" fmla="*/ 44 h 141"/>
              <a:gd name="T90" fmla="*/ 0 w 157"/>
              <a:gd name="T91" fmla="*/ 4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7" h="141">
                <a:moveTo>
                  <a:pt x="0" y="44"/>
                </a:moveTo>
                <a:lnTo>
                  <a:pt x="4" y="44"/>
                </a:lnTo>
                <a:lnTo>
                  <a:pt x="10" y="44"/>
                </a:lnTo>
                <a:lnTo>
                  <a:pt x="13" y="44"/>
                </a:lnTo>
                <a:lnTo>
                  <a:pt x="13" y="47"/>
                </a:lnTo>
                <a:lnTo>
                  <a:pt x="16" y="47"/>
                </a:lnTo>
                <a:lnTo>
                  <a:pt x="19" y="44"/>
                </a:lnTo>
                <a:lnTo>
                  <a:pt x="22" y="44"/>
                </a:lnTo>
                <a:lnTo>
                  <a:pt x="25" y="44"/>
                </a:lnTo>
                <a:lnTo>
                  <a:pt x="25" y="44"/>
                </a:lnTo>
                <a:lnTo>
                  <a:pt x="29" y="44"/>
                </a:lnTo>
                <a:lnTo>
                  <a:pt x="29" y="47"/>
                </a:lnTo>
                <a:lnTo>
                  <a:pt x="32" y="47"/>
                </a:lnTo>
                <a:lnTo>
                  <a:pt x="35" y="50"/>
                </a:lnTo>
                <a:lnTo>
                  <a:pt x="41" y="47"/>
                </a:lnTo>
                <a:lnTo>
                  <a:pt x="47" y="38"/>
                </a:lnTo>
                <a:lnTo>
                  <a:pt x="54" y="28"/>
                </a:lnTo>
                <a:lnTo>
                  <a:pt x="66" y="19"/>
                </a:lnTo>
                <a:lnTo>
                  <a:pt x="72" y="16"/>
                </a:lnTo>
                <a:lnTo>
                  <a:pt x="75" y="16"/>
                </a:lnTo>
                <a:lnTo>
                  <a:pt x="75" y="16"/>
                </a:lnTo>
                <a:lnTo>
                  <a:pt x="75" y="13"/>
                </a:lnTo>
                <a:lnTo>
                  <a:pt x="75" y="10"/>
                </a:lnTo>
                <a:lnTo>
                  <a:pt x="75" y="10"/>
                </a:lnTo>
                <a:lnTo>
                  <a:pt x="75" y="7"/>
                </a:lnTo>
                <a:lnTo>
                  <a:pt x="82" y="3"/>
                </a:lnTo>
                <a:lnTo>
                  <a:pt x="85" y="3"/>
                </a:lnTo>
                <a:lnTo>
                  <a:pt x="88" y="0"/>
                </a:lnTo>
                <a:lnTo>
                  <a:pt x="91" y="0"/>
                </a:lnTo>
                <a:lnTo>
                  <a:pt x="97" y="0"/>
                </a:lnTo>
                <a:lnTo>
                  <a:pt x="97" y="0"/>
                </a:lnTo>
                <a:lnTo>
                  <a:pt x="100" y="0"/>
                </a:lnTo>
                <a:lnTo>
                  <a:pt x="104" y="0"/>
                </a:lnTo>
                <a:lnTo>
                  <a:pt x="107" y="0"/>
                </a:lnTo>
                <a:lnTo>
                  <a:pt x="107" y="0"/>
                </a:lnTo>
                <a:lnTo>
                  <a:pt x="107" y="7"/>
                </a:lnTo>
                <a:lnTo>
                  <a:pt x="113" y="7"/>
                </a:lnTo>
                <a:lnTo>
                  <a:pt x="116" y="10"/>
                </a:lnTo>
                <a:lnTo>
                  <a:pt x="119" y="10"/>
                </a:lnTo>
                <a:lnTo>
                  <a:pt x="119" y="10"/>
                </a:lnTo>
                <a:lnTo>
                  <a:pt x="122" y="7"/>
                </a:lnTo>
                <a:lnTo>
                  <a:pt x="125" y="10"/>
                </a:lnTo>
                <a:lnTo>
                  <a:pt x="132" y="13"/>
                </a:lnTo>
                <a:lnTo>
                  <a:pt x="135" y="16"/>
                </a:lnTo>
                <a:lnTo>
                  <a:pt x="138" y="19"/>
                </a:lnTo>
                <a:lnTo>
                  <a:pt x="144" y="19"/>
                </a:lnTo>
                <a:lnTo>
                  <a:pt x="150" y="22"/>
                </a:lnTo>
                <a:lnTo>
                  <a:pt x="150" y="22"/>
                </a:lnTo>
                <a:lnTo>
                  <a:pt x="157" y="25"/>
                </a:lnTo>
                <a:lnTo>
                  <a:pt x="157" y="28"/>
                </a:lnTo>
                <a:lnTo>
                  <a:pt x="154" y="32"/>
                </a:lnTo>
                <a:lnTo>
                  <a:pt x="154" y="35"/>
                </a:lnTo>
                <a:lnTo>
                  <a:pt x="154" y="35"/>
                </a:lnTo>
                <a:lnTo>
                  <a:pt x="154" y="38"/>
                </a:lnTo>
                <a:lnTo>
                  <a:pt x="154" y="41"/>
                </a:lnTo>
                <a:lnTo>
                  <a:pt x="154" y="44"/>
                </a:lnTo>
                <a:lnTo>
                  <a:pt x="154" y="50"/>
                </a:lnTo>
                <a:lnTo>
                  <a:pt x="150" y="53"/>
                </a:lnTo>
                <a:lnTo>
                  <a:pt x="150" y="53"/>
                </a:lnTo>
                <a:lnTo>
                  <a:pt x="154" y="53"/>
                </a:lnTo>
                <a:lnTo>
                  <a:pt x="154" y="57"/>
                </a:lnTo>
                <a:lnTo>
                  <a:pt x="150" y="60"/>
                </a:lnTo>
                <a:lnTo>
                  <a:pt x="150" y="63"/>
                </a:lnTo>
                <a:lnTo>
                  <a:pt x="150" y="66"/>
                </a:lnTo>
                <a:lnTo>
                  <a:pt x="147" y="66"/>
                </a:lnTo>
                <a:lnTo>
                  <a:pt x="147" y="69"/>
                </a:lnTo>
                <a:lnTo>
                  <a:pt x="150" y="72"/>
                </a:lnTo>
                <a:lnTo>
                  <a:pt x="150" y="75"/>
                </a:lnTo>
                <a:lnTo>
                  <a:pt x="150" y="78"/>
                </a:lnTo>
                <a:lnTo>
                  <a:pt x="150" y="82"/>
                </a:lnTo>
                <a:lnTo>
                  <a:pt x="150" y="82"/>
                </a:lnTo>
                <a:lnTo>
                  <a:pt x="154" y="85"/>
                </a:lnTo>
                <a:lnTo>
                  <a:pt x="150" y="91"/>
                </a:lnTo>
                <a:lnTo>
                  <a:pt x="147" y="91"/>
                </a:lnTo>
                <a:lnTo>
                  <a:pt x="144" y="94"/>
                </a:lnTo>
                <a:lnTo>
                  <a:pt x="144" y="94"/>
                </a:lnTo>
                <a:lnTo>
                  <a:pt x="141" y="97"/>
                </a:lnTo>
                <a:lnTo>
                  <a:pt x="144" y="100"/>
                </a:lnTo>
                <a:lnTo>
                  <a:pt x="141" y="103"/>
                </a:lnTo>
                <a:lnTo>
                  <a:pt x="141" y="110"/>
                </a:lnTo>
                <a:lnTo>
                  <a:pt x="141" y="113"/>
                </a:lnTo>
                <a:lnTo>
                  <a:pt x="141" y="119"/>
                </a:lnTo>
                <a:lnTo>
                  <a:pt x="119" y="141"/>
                </a:lnTo>
                <a:lnTo>
                  <a:pt x="116" y="138"/>
                </a:lnTo>
                <a:lnTo>
                  <a:pt x="110" y="135"/>
                </a:lnTo>
                <a:lnTo>
                  <a:pt x="104" y="138"/>
                </a:lnTo>
                <a:lnTo>
                  <a:pt x="100" y="138"/>
                </a:lnTo>
                <a:lnTo>
                  <a:pt x="100" y="138"/>
                </a:lnTo>
                <a:lnTo>
                  <a:pt x="94" y="135"/>
                </a:lnTo>
                <a:lnTo>
                  <a:pt x="91" y="135"/>
                </a:lnTo>
                <a:lnTo>
                  <a:pt x="91" y="132"/>
                </a:lnTo>
                <a:lnTo>
                  <a:pt x="85" y="132"/>
                </a:lnTo>
                <a:lnTo>
                  <a:pt x="79" y="132"/>
                </a:lnTo>
                <a:lnTo>
                  <a:pt x="79" y="132"/>
                </a:lnTo>
                <a:lnTo>
                  <a:pt x="75" y="129"/>
                </a:lnTo>
                <a:lnTo>
                  <a:pt x="75" y="125"/>
                </a:lnTo>
                <a:lnTo>
                  <a:pt x="75" y="125"/>
                </a:lnTo>
                <a:lnTo>
                  <a:pt x="72" y="125"/>
                </a:lnTo>
                <a:lnTo>
                  <a:pt x="69" y="122"/>
                </a:lnTo>
                <a:lnTo>
                  <a:pt x="66" y="122"/>
                </a:lnTo>
                <a:lnTo>
                  <a:pt x="60" y="119"/>
                </a:lnTo>
                <a:lnTo>
                  <a:pt x="60" y="122"/>
                </a:lnTo>
                <a:lnTo>
                  <a:pt x="54" y="119"/>
                </a:lnTo>
                <a:lnTo>
                  <a:pt x="54" y="116"/>
                </a:lnTo>
                <a:lnTo>
                  <a:pt x="47" y="113"/>
                </a:lnTo>
                <a:lnTo>
                  <a:pt x="47" y="110"/>
                </a:lnTo>
                <a:lnTo>
                  <a:pt x="47" y="107"/>
                </a:lnTo>
                <a:lnTo>
                  <a:pt x="47" y="103"/>
                </a:lnTo>
                <a:lnTo>
                  <a:pt x="47" y="100"/>
                </a:lnTo>
                <a:lnTo>
                  <a:pt x="44" y="97"/>
                </a:lnTo>
                <a:lnTo>
                  <a:pt x="41" y="97"/>
                </a:lnTo>
                <a:lnTo>
                  <a:pt x="41" y="94"/>
                </a:lnTo>
                <a:lnTo>
                  <a:pt x="41" y="94"/>
                </a:lnTo>
                <a:lnTo>
                  <a:pt x="41" y="94"/>
                </a:lnTo>
                <a:lnTo>
                  <a:pt x="38" y="91"/>
                </a:lnTo>
                <a:lnTo>
                  <a:pt x="35" y="91"/>
                </a:lnTo>
                <a:lnTo>
                  <a:pt x="32" y="88"/>
                </a:lnTo>
                <a:lnTo>
                  <a:pt x="29" y="85"/>
                </a:lnTo>
                <a:lnTo>
                  <a:pt x="22" y="75"/>
                </a:lnTo>
                <a:lnTo>
                  <a:pt x="22" y="72"/>
                </a:lnTo>
                <a:lnTo>
                  <a:pt x="19" y="72"/>
                </a:lnTo>
                <a:lnTo>
                  <a:pt x="19" y="72"/>
                </a:lnTo>
                <a:lnTo>
                  <a:pt x="16" y="69"/>
                </a:lnTo>
                <a:lnTo>
                  <a:pt x="16" y="66"/>
                </a:lnTo>
                <a:lnTo>
                  <a:pt x="13" y="63"/>
                </a:lnTo>
                <a:lnTo>
                  <a:pt x="13" y="60"/>
                </a:lnTo>
                <a:lnTo>
                  <a:pt x="10" y="60"/>
                </a:lnTo>
                <a:lnTo>
                  <a:pt x="10" y="57"/>
                </a:lnTo>
                <a:lnTo>
                  <a:pt x="10" y="57"/>
                </a:lnTo>
                <a:lnTo>
                  <a:pt x="7" y="53"/>
                </a:lnTo>
                <a:lnTo>
                  <a:pt x="7" y="53"/>
                </a:lnTo>
                <a:lnTo>
                  <a:pt x="4" y="50"/>
                </a:lnTo>
                <a:lnTo>
                  <a:pt x="4" y="47"/>
                </a:lnTo>
                <a:lnTo>
                  <a:pt x="4" y="47"/>
                </a:lnTo>
                <a:lnTo>
                  <a:pt x="4" y="44"/>
                </a:lnTo>
                <a:lnTo>
                  <a:pt x="0" y="44"/>
                </a:lnTo>
                <a:lnTo>
                  <a:pt x="0" y="44"/>
                </a:lnTo>
                <a:lnTo>
                  <a:pt x="0" y="4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0" name="Freeform 148">
            <a:extLst>
              <a:ext uri="{FF2B5EF4-FFF2-40B4-BE49-F238E27FC236}">
                <a16:creationId xmlns:a16="http://schemas.microsoft.com/office/drawing/2014/main" id="{0AAD0F03-1EC6-4B27-6566-E2287E9D1BDF}"/>
              </a:ext>
            </a:extLst>
          </p:cNvPr>
          <p:cNvSpPr>
            <a:spLocks/>
          </p:cNvSpPr>
          <p:nvPr userDrawn="1"/>
        </p:nvSpPr>
        <p:spPr bwMode="auto">
          <a:xfrm>
            <a:off x="14369111" y="10508531"/>
            <a:ext cx="587338" cy="577850"/>
          </a:xfrm>
          <a:custGeom>
            <a:avLst/>
            <a:gdLst>
              <a:gd name="T0" fmla="*/ 110 w 185"/>
              <a:gd name="T1" fmla="*/ 3 h 182"/>
              <a:gd name="T2" fmla="*/ 113 w 185"/>
              <a:gd name="T3" fmla="*/ 9 h 182"/>
              <a:gd name="T4" fmla="*/ 116 w 185"/>
              <a:gd name="T5" fmla="*/ 13 h 182"/>
              <a:gd name="T6" fmla="*/ 119 w 185"/>
              <a:gd name="T7" fmla="*/ 19 h 182"/>
              <a:gd name="T8" fmla="*/ 125 w 185"/>
              <a:gd name="T9" fmla="*/ 28 h 182"/>
              <a:gd name="T10" fmla="*/ 128 w 185"/>
              <a:gd name="T11" fmla="*/ 31 h 182"/>
              <a:gd name="T12" fmla="*/ 141 w 185"/>
              <a:gd name="T13" fmla="*/ 47 h 182"/>
              <a:gd name="T14" fmla="*/ 147 w 185"/>
              <a:gd name="T15" fmla="*/ 50 h 182"/>
              <a:gd name="T16" fmla="*/ 150 w 185"/>
              <a:gd name="T17" fmla="*/ 53 h 182"/>
              <a:gd name="T18" fmla="*/ 153 w 185"/>
              <a:gd name="T19" fmla="*/ 63 h 182"/>
              <a:gd name="T20" fmla="*/ 160 w 185"/>
              <a:gd name="T21" fmla="*/ 72 h 182"/>
              <a:gd name="T22" fmla="*/ 166 w 185"/>
              <a:gd name="T23" fmla="*/ 75 h 182"/>
              <a:gd name="T24" fmla="*/ 178 w 185"/>
              <a:gd name="T25" fmla="*/ 81 h 182"/>
              <a:gd name="T26" fmla="*/ 181 w 185"/>
              <a:gd name="T27" fmla="*/ 85 h 182"/>
              <a:gd name="T28" fmla="*/ 185 w 185"/>
              <a:gd name="T29" fmla="*/ 88 h 182"/>
              <a:gd name="T30" fmla="*/ 175 w 185"/>
              <a:gd name="T31" fmla="*/ 91 h 182"/>
              <a:gd name="T32" fmla="*/ 172 w 185"/>
              <a:gd name="T33" fmla="*/ 97 h 182"/>
              <a:gd name="T34" fmla="*/ 166 w 185"/>
              <a:gd name="T35" fmla="*/ 100 h 182"/>
              <a:gd name="T36" fmla="*/ 156 w 185"/>
              <a:gd name="T37" fmla="*/ 103 h 182"/>
              <a:gd name="T38" fmla="*/ 150 w 185"/>
              <a:gd name="T39" fmla="*/ 110 h 182"/>
              <a:gd name="T40" fmla="*/ 144 w 185"/>
              <a:gd name="T41" fmla="*/ 113 h 182"/>
              <a:gd name="T42" fmla="*/ 135 w 185"/>
              <a:gd name="T43" fmla="*/ 125 h 182"/>
              <a:gd name="T44" fmla="*/ 135 w 185"/>
              <a:gd name="T45" fmla="*/ 131 h 182"/>
              <a:gd name="T46" fmla="*/ 128 w 185"/>
              <a:gd name="T47" fmla="*/ 135 h 182"/>
              <a:gd name="T48" fmla="*/ 125 w 185"/>
              <a:gd name="T49" fmla="*/ 141 h 182"/>
              <a:gd name="T50" fmla="*/ 113 w 185"/>
              <a:gd name="T51" fmla="*/ 144 h 182"/>
              <a:gd name="T52" fmla="*/ 110 w 185"/>
              <a:gd name="T53" fmla="*/ 153 h 182"/>
              <a:gd name="T54" fmla="*/ 110 w 185"/>
              <a:gd name="T55" fmla="*/ 163 h 182"/>
              <a:gd name="T56" fmla="*/ 103 w 185"/>
              <a:gd name="T57" fmla="*/ 163 h 182"/>
              <a:gd name="T58" fmla="*/ 91 w 185"/>
              <a:gd name="T59" fmla="*/ 163 h 182"/>
              <a:gd name="T60" fmla="*/ 78 w 185"/>
              <a:gd name="T61" fmla="*/ 160 h 182"/>
              <a:gd name="T62" fmla="*/ 66 w 185"/>
              <a:gd name="T63" fmla="*/ 153 h 182"/>
              <a:gd name="T64" fmla="*/ 53 w 185"/>
              <a:gd name="T65" fmla="*/ 169 h 182"/>
              <a:gd name="T66" fmla="*/ 41 w 185"/>
              <a:gd name="T67" fmla="*/ 175 h 182"/>
              <a:gd name="T68" fmla="*/ 31 w 185"/>
              <a:gd name="T69" fmla="*/ 182 h 182"/>
              <a:gd name="T70" fmla="*/ 19 w 185"/>
              <a:gd name="T71" fmla="*/ 182 h 182"/>
              <a:gd name="T72" fmla="*/ 16 w 185"/>
              <a:gd name="T73" fmla="*/ 172 h 182"/>
              <a:gd name="T74" fmla="*/ 10 w 185"/>
              <a:gd name="T75" fmla="*/ 150 h 182"/>
              <a:gd name="T76" fmla="*/ 0 w 185"/>
              <a:gd name="T77" fmla="*/ 147 h 182"/>
              <a:gd name="T78" fmla="*/ 22 w 185"/>
              <a:gd name="T79" fmla="*/ 85 h 182"/>
              <a:gd name="T80" fmla="*/ 60 w 185"/>
              <a:gd name="T81" fmla="*/ 9 h 182"/>
              <a:gd name="T82" fmla="*/ 69 w 185"/>
              <a:gd name="T83" fmla="*/ 6 h 182"/>
              <a:gd name="T84" fmla="*/ 72 w 185"/>
              <a:gd name="T85" fmla="*/ 13 h 182"/>
              <a:gd name="T86" fmla="*/ 72 w 185"/>
              <a:gd name="T87" fmla="*/ 16 h 182"/>
              <a:gd name="T88" fmla="*/ 88 w 185"/>
              <a:gd name="T89" fmla="*/ 3 h 182"/>
              <a:gd name="T90" fmla="*/ 94 w 185"/>
              <a:gd name="T91" fmla="*/ 3 h 182"/>
              <a:gd name="T92" fmla="*/ 106 w 185"/>
              <a:gd name="T9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5" h="182">
                <a:moveTo>
                  <a:pt x="106" y="0"/>
                </a:moveTo>
                <a:lnTo>
                  <a:pt x="110" y="0"/>
                </a:lnTo>
                <a:lnTo>
                  <a:pt x="110" y="3"/>
                </a:lnTo>
                <a:lnTo>
                  <a:pt x="110" y="3"/>
                </a:lnTo>
                <a:lnTo>
                  <a:pt x="110" y="6"/>
                </a:lnTo>
                <a:lnTo>
                  <a:pt x="113" y="9"/>
                </a:lnTo>
                <a:lnTo>
                  <a:pt x="113" y="9"/>
                </a:lnTo>
                <a:lnTo>
                  <a:pt x="116" y="13"/>
                </a:lnTo>
                <a:lnTo>
                  <a:pt x="116" y="13"/>
                </a:lnTo>
                <a:lnTo>
                  <a:pt x="116" y="16"/>
                </a:lnTo>
                <a:lnTo>
                  <a:pt x="119" y="16"/>
                </a:lnTo>
                <a:lnTo>
                  <a:pt x="119" y="19"/>
                </a:lnTo>
                <a:lnTo>
                  <a:pt x="122" y="22"/>
                </a:lnTo>
                <a:lnTo>
                  <a:pt x="122" y="25"/>
                </a:lnTo>
                <a:lnTo>
                  <a:pt x="125" y="28"/>
                </a:lnTo>
                <a:lnTo>
                  <a:pt x="125" y="28"/>
                </a:lnTo>
                <a:lnTo>
                  <a:pt x="128" y="28"/>
                </a:lnTo>
                <a:lnTo>
                  <a:pt x="128" y="31"/>
                </a:lnTo>
                <a:lnTo>
                  <a:pt x="135" y="41"/>
                </a:lnTo>
                <a:lnTo>
                  <a:pt x="138" y="44"/>
                </a:lnTo>
                <a:lnTo>
                  <a:pt x="141" y="47"/>
                </a:lnTo>
                <a:lnTo>
                  <a:pt x="144" y="47"/>
                </a:lnTo>
                <a:lnTo>
                  <a:pt x="147" y="50"/>
                </a:lnTo>
                <a:lnTo>
                  <a:pt x="147" y="50"/>
                </a:lnTo>
                <a:lnTo>
                  <a:pt x="147" y="50"/>
                </a:lnTo>
                <a:lnTo>
                  <a:pt x="147" y="53"/>
                </a:lnTo>
                <a:lnTo>
                  <a:pt x="150" y="53"/>
                </a:lnTo>
                <a:lnTo>
                  <a:pt x="153" y="56"/>
                </a:lnTo>
                <a:lnTo>
                  <a:pt x="153" y="59"/>
                </a:lnTo>
                <a:lnTo>
                  <a:pt x="153" y="63"/>
                </a:lnTo>
                <a:lnTo>
                  <a:pt x="153" y="66"/>
                </a:lnTo>
                <a:lnTo>
                  <a:pt x="153" y="69"/>
                </a:lnTo>
                <a:lnTo>
                  <a:pt x="160" y="72"/>
                </a:lnTo>
                <a:lnTo>
                  <a:pt x="160" y="75"/>
                </a:lnTo>
                <a:lnTo>
                  <a:pt x="166" y="78"/>
                </a:lnTo>
                <a:lnTo>
                  <a:pt x="166" y="75"/>
                </a:lnTo>
                <a:lnTo>
                  <a:pt x="172" y="78"/>
                </a:lnTo>
                <a:lnTo>
                  <a:pt x="175" y="78"/>
                </a:lnTo>
                <a:lnTo>
                  <a:pt x="178" y="81"/>
                </a:lnTo>
                <a:lnTo>
                  <a:pt x="181" y="81"/>
                </a:lnTo>
                <a:lnTo>
                  <a:pt x="181" y="81"/>
                </a:lnTo>
                <a:lnTo>
                  <a:pt x="181" y="85"/>
                </a:lnTo>
                <a:lnTo>
                  <a:pt x="185" y="88"/>
                </a:lnTo>
                <a:lnTo>
                  <a:pt x="185" y="88"/>
                </a:lnTo>
                <a:lnTo>
                  <a:pt x="185" y="88"/>
                </a:lnTo>
                <a:lnTo>
                  <a:pt x="181" y="91"/>
                </a:lnTo>
                <a:lnTo>
                  <a:pt x="178" y="91"/>
                </a:lnTo>
                <a:lnTo>
                  <a:pt x="175" y="91"/>
                </a:lnTo>
                <a:lnTo>
                  <a:pt x="175" y="94"/>
                </a:lnTo>
                <a:lnTo>
                  <a:pt x="175" y="97"/>
                </a:lnTo>
                <a:lnTo>
                  <a:pt x="172" y="97"/>
                </a:lnTo>
                <a:lnTo>
                  <a:pt x="169" y="100"/>
                </a:lnTo>
                <a:lnTo>
                  <a:pt x="166" y="100"/>
                </a:lnTo>
                <a:lnTo>
                  <a:pt x="166" y="100"/>
                </a:lnTo>
                <a:lnTo>
                  <a:pt x="163" y="100"/>
                </a:lnTo>
                <a:lnTo>
                  <a:pt x="160" y="100"/>
                </a:lnTo>
                <a:lnTo>
                  <a:pt x="156" y="103"/>
                </a:lnTo>
                <a:lnTo>
                  <a:pt x="153" y="106"/>
                </a:lnTo>
                <a:lnTo>
                  <a:pt x="150" y="106"/>
                </a:lnTo>
                <a:lnTo>
                  <a:pt x="150" y="110"/>
                </a:lnTo>
                <a:lnTo>
                  <a:pt x="147" y="110"/>
                </a:lnTo>
                <a:lnTo>
                  <a:pt x="147" y="113"/>
                </a:lnTo>
                <a:lnTo>
                  <a:pt x="144" y="113"/>
                </a:lnTo>
                <a:lnTo>
                  <a:pt x="141" y="113"/>
                </a:lnTo>
                <a:lnTo>
                  <a:pt x="135" y="122"/>
                </a:lnTo>
                <a:lnTo>
                  <a:pt x="135" y="125"/>
                </a:lnTo>
                <a:lnTo>
                  <a:pt x="135" y="128"/>
                </a:lnTo>
                <a:lnTo>
                  <a:pt x="135" y="131"/>
                </a:lnTo>
                <a:lnTo>
                  <a:pt x="135" y="131"/>
                </a:lnTo>
                <a:lnTo>
                  <a:pt x="131" y="131"/>
                </a:lnTo>
                <a:lnTo>
                  <a:pt x="128" y="135"/>
                </a:lnTo>
                <a:lnTo>
                  <a:pt x="128" y="135"/>
                </a:lnTo>
                <a:lnTo>
                  <a:pt x="125" y="138"/>
                </a:lnTo>
                <a:lnTo>
                  <a:pt x="125" y="138"/>
                </a:lnTo>
                <a:lnTo>
                  <a:pt x="125" y="141"/>
                </a:lnTo>
                <a:lnTo>
                  <a:pt x="122" y="141"/>
                </a:lnTo>
                <a:lnTo>
                  <a:pt x="119" y="144"/>
                </a:lnTo>
                <a:lnTo>
                  <a:pt x="113" y="144"/>
                </a:lnTo>
                <a:lnTo>
                  <a:pt x="113" y="147"/>
                </a:lnTo>
                <a:lnTo>
                  <a:pt x="113" y="153"/>
                </a:lnTo>
                <a:lnTo>
                  <a:pt x="110" y="153"/>
                </a:lnTo>
                <a:lnTo>
                  <a:pt x="110" y="156"/>
                </a:lnTo>
                <a:lnTo>
                  <a:pt x="110" y="160"/>
                </a:lnTo>
                <a:lnTo>
                  <a:pt x="110" y="163"/>
                </a:lnTo>
                <a:lnTo>
                  <a:pt x="106" y="166"/>
                </a:lnTo>
                <a:lnTo>
                  <a:pt x="103" y="163"/>
                </a:lnTo>
                <a:lnTo>
                  <a:pt x="103" y="163"/>
                </a:lnTo>
                <a:lnTo>
                  <a:pt x="100" y="163"/>
                </a:lnTo>
                <a:lnTo>
                  <a:pt x="94" y="163"/>
                </a:lnTo>
                <a:lnTo>
                  <a:pt x="91" y="163"/>
                </a:lnTo>
                <a:lnTo>
                  <a:pt x="88" y="163"/>
                </a:lnTo>
                <a:lnTo>
                  <a:pt x="85" y="163"/>
                </a:lnTo>
                <a:lnTo>
                  <a:pt x="78" y="160"/>
                </a:lnTo>
                <a:lnTo>
                  <a:pt x="75" y="156"/>
                </a:lnTo>
                <a:lnTo>
                  <a:pt x="72" y="156"/>
                </a:lnTo>
                <a:lnTo>
                  <a:pt x="66" y="153"/>
                </a:lnTo>
                <a:lnTo>
                  <a:pt x="63" y="156"/>
                </a:lnTo>
                <a:lnTo>
                  <a:pt x="56" y="160"/>
                </a:lnTo>
                <a:lnTo>
                  <a:pt x="53" y="169"/>
                </a:lnTo>
                <a:lnTo>
                  <a:pt x="50" y="172"/>
                </a:lnTo>
                <a:lnTo>
                  <a:pt x="44" y="175"/>
                </a:lnTo>
                <a:lnTo>
                  <a:pt x="41" y="175"/>
                </a:lnTo>
                <a:lnTo>
                  <a:pt x="38" y="178"/>
                </a:lnTo>
                <a:lnTo>
                  <a:pt x="35" y="182"/>
                </a:lnTo>
                <a:lnTo>
                  <a:pt x="31" y="182"/>
                </a:lnTo>
                <a:lnTo>
                  <a:pt x="25" y="182"/>
                </a:lnTo>
                <a:lnTo>
                  <a:pt x="22" y="182"/>
                </a:lnTo>
                <a:lnTo>
                  <a:pt x="19" y="182"/>
                </a:lnTo>
                <a:lnTo>
                  <a:pt x="13" y="182"/>
                </a:lnTo>
                <a:lnTo>
                  <a:pt x="13" y="178"/>
                </a:lnTo>
                <a:lnTo>
                  <a:pt x="16" y="172"/>
                </a:lnTo>
                <a:lnTo>
                  <a:pt x="16" y="166"/>
                </a:lnTo>
                <a:lnTo>
                  <a:pt x="10" y="156"/>
                </a:lnTo>
                <a:lnTo>
                  <a:pt x="10" y="150"/>
                </a:lnTo>
                <a:lnTo>
                  <a:pt x="3" y="147"/>
                </a:lnTo>
                <a:lnTo>
                  <a:pt x="3" y="147"/>
                </a:lnTo>
                <a:lnTo>
                  <a:pt x="0" y="147"/>
                </a:lnTo>
                <a:lnTo>
                  <a:pt x="0" y="147"/>
                </a:lnTo>
                <a:lnTo>
                  <a:pt x="6" y="85"/>
                </a:lnTo>
                <a:lnTo>
                  <a:pt x="22" y="85"/>
                </a:lnTo>
                <a:lnTo>
                  <a:pt x="25" y="13"/>
                </a:lnTo>
                <a:lnTo>
                  <a:pt x="41" y="13"/>
                </a:lnTo>
                <a:lnTo>
                  <a:pt x="60" y="9"/>
                </a:lnTo>
                <a:lnTo>
                  <a:pt x="66" y="6"/>
                </a:lnTo>
                <a:lnTo>
                  <a:pt x="69" y="6"/>
                </a:lnTo>
                <a:lnTo>
                  <a:pt x="69" y="6"/>
                </a:lnTo>
                <a:lnTo>
                  <a:pt x="69" y="6"/>
                </a:lnTo>
                <a:lnTo>
                  <a:pt x="72" y="9"/>
                </a:lnTo>
                <a:lnTo>
                  <a:pt x="72" y="13"/>
                </a:lnTo>
                <a:lnTo>
                  <a:pt x="72" y="13"/>
                </a:lnTo>
                <a:lnTo>
                  <a:pt x="72" y="16"/>
                </a:lnTo>
                <a:lnTo>
                  <a:pt x="72" y="16"/>
                </a:lnTo>
                <a:lnTo>
                  <a:pt x="78" y="13"/>
                </a:lnTo>
                <a:lnTo>
                  <a:pt x="85" y="6"/>
                </a:lnTo>
                <a:lnTo>
                  <a:pt x="88" y="3"/>
                </a:lnTo>
                <a:lnTo>
                  <a:pt x="91" y="3"/>
                </a:lnTo>
                <a:lnTo>
                  <a:pt x="91" y="3"/>
                </a:lnTo>
                <a:lnTo>
                  <a:pt x="94" y="3"/>
                </a:lnTo>
                <a:lnTo>
                  <a:pt x="97" y="3"/>
                </a:lnTo>
                <a:lnTo>
                  <a:pt x="103" y="0"/>
                </a:lnTo>
                <a:lnTo>
                  <a:pt x="106" y="0"/>
                </a:lnTo>
                <a:lnTo>
                  <a:pt x="106" y="0"/>
                </a:lnTo>
                <a:lnTo>
                  <a:pt x="106"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1" name="Freeform 149">
            <a:extLst>
              <a:ext uri="{FF2B5EF4-FFF2-40B4-BE49-F238E27FC236}">
                <a16:creationId xmlns:a16="http://schemas.microsoft.com/office/drawing/2014/main" id="{AA0C3FB0-CE55-293A-4248-75B5AEF92478}"/>
              </a:ext>
            </a:extLst>
          </p:cNvPr>
          <p:cNvSpPr>
            <a:spLocks/>
          </p:cNvSpPr>
          <p:nvPr userDrawn="1"/>
        </p:nvSpPr>
        <p:spPr bwMode="auto">
          <a:xfrm>
            <a:off x="13873846" y="10448209"/>
            <a:ext cx="831796" cy="796926"/>
          </a:xfrm>
          <a:custGeom>
            <a:avLst/>
            <a:gdLst>
              <a:gd name="T0" fmla="*/ 162 w 262"/>
              <a:gd name="T1" fmla="*/ 104 h 251"/>
              <a:gd name="T2" fmla="*/ 197 w 262"/>
              <a:gd name="T3" fmla="*/ 32 h 251"/>
              <a:gd name="T4" fmla="*/ 225 w 262"/>
              <a:gd name="T5" fmla="*/ 25 h 251"/>
              <a:gd name="T6" fmla="*/ 228 w 262"/>
              <a:gd name="T7" fmla="*/ 28 h 251"/>
              <a:gd name="T8" fmla="*/ 228 w 262"/>
              <a:gd name="T9" fmla="*/ 35 h 251"/>
              <a:gd name="T10" fmla="*/ 241 w 262"/>
              <a:gd name="T11" fmla="*/ 25 h 251"/>
              <a:gd name="T12" fmla="*/ 247 w 262"/>
              <a:gd name="T13" fmla="*/ 22 h 251"/>
              <a:gd name="T14" fmla="*/ 259 w 262"/>
              <a:gd name="T15" fmla="*/ 19 h 251"/>
              <a:gd name="T16" fmla="*/ 259 w 262"/>
              <a:gd name="T17" fmla="*/ 13 h 251"/>
              <a:gd name="T18" fmla="*/ 256 w 262"/>
              <a:gd name="T19" fmla="*/ 13 h 251"/>
              <a:gd name="T20" fmla="*/ 250 w 262"/>
              <a:gd name="T21" fmla="*/ 13 h 251"/>
              <a:gd name="T22" fmla="*/ 197 w 262"/>
              <a:gd name="T23" fmla="*/ 25 h 251"/>
              <a:gd name="T24" fmla="*/ 191 w 262"/>
              <a:gd name="T25" fmla="*/ 22 h 251"/>
              <a:gd name="T26" fmla="*/ 187 w 262"/>
              <a:gd name="T27" fmla="*/ 22 h 251"/>
              <a:gd name="T28" fmla="*/ 181 w 262"/>
              <a:gd name="T29" fmla="*/ 22 h 251"/>
              <a:gd name="T30" fmla="*/ 175 w 262"/>
              <a:gd name="T31" fmla="*/ 22 h 251"/>
              <a:gd name="T32" fmla="*/ 166 w 262"/>
              <a:gd name="T33" fmla="*/ 19 h 251"/>
              <a:gd name="T34" fmla="*/ 162 w 262"/>
              <a:gd name="T35" fmla="*/ 19 h 251"/>
              <a:gd name="T36" fmla="*/ 150 w 262"/>
              <a:gd name="T37" fmla="*/ 22 h 251"/>
              <a:gd name="T38" fmla="*/ 147 w 262"/>
              <a:gd name="T39" fmla="*/ 19 h 251"/>
              <a:gd name="T40" fmla="*/ 134 w 262"/>
              <a:gd name="T41" fmla="*/ 16 h 251"/>
              <a:gd name="T42" fmla="*/ 131 w 262"/>
              <a:gd name="T43" fmla="*/ 10 h 251"/>
              <a:gd name="T44" fmla="*/ 53 w 262"/>
              <a:gd name="T45" fmla="*/ 10 h 251"/>
              <a:gd name="T46" fmla="*/ 47 w 262"/>
              <a:gd name="T47" fmla="*/ 13 h 251"/>
              <a:gd name="T48" fmla="*/ 37 w 262"/>
              <a:gd name="T49" fmla="*/ 7 h 251"/>
              <a:gd name="T50" fmla="*/ 34 w 262"/>
              <a:gd name="T51" fmla="*/ 3 h 251"/>
              <a:gd name="T52" fmla="*/ 28 w 262"/>
              <a:gd name="T53" fmla="*/ 3 h 251"/>
              <a:gd name="T54" fmla="*/ 22 w 262"/>
              <a:gd name="T55" fmla="*/ 0 h 251"/>
              <a:gd name="T56" fmla="*/ 16 w 262"/>
              <a:gd name="T57" fmla="*/ 10 h 251"/>
              <a:gd name="T58" fmla="*/ 6 w 262"/>
              <a:gd name="T59" fmla="*/ 7 h 251"/>
              <a:gd name="T60" fmla="*/ 3 w 262"/>
              <a:gd name="T61" fmla="*/ 10 h 251"/>
              <a:gd name="T62" fmla="*/ 0 w 262"/>
              <a:gd name="T63" fmla="*/ 25 h 251"/>
              <a:gd name="T64" fmla="*/ 28 w 262"/>
              <a:gd name="T65" fmla="*/ 69 h 251"/>
              <a:gd name="T66" fmla="*/ 41 w 262"/>
              <a:gd name="T67" fmla="*/ 97 h 251"/>
              <a:gd name="T68" fmla="*/ 47 w 262"/>
              <a:gd name="T69" fmla="*/ 122 h 251"/>
              <a:gd name="T70" fmla="*/ 56 w 262"/>
              <a:gd name="T71" fmla="*/ 163 h 251"/>
              <a:gd name="T72" fmla="*/ 56 w 262"/>
              <a:gd name="T73" fmla="*/ 179 h 251"/>
              <a:gd name="T74" fmla="*/ 62 w 262"/>
              <a:gd name="T75" fmla="*/ 194 h 251"/>
              <a:gd name="T76" fmla="*/ 62 w 262"/>
              <a:gd name="T77" fmla="*/ 204 h 251"/>
              <a:gd name="T78" fmla="*/ 69 w 262"/>
              <a:gd name="T79" fmla="*/ 219 h 251"/>
              <a:gd name="T80" fmla="*/ 78 w 262"/>
              <a:gd name="T81" fmla="*/ 235 h 251"/>
              <a:gd name="T82" fmla="*/ 94 w 262"/>
              <a:gd name="T83" fmla="*/ 238 h 251"/>
              <a:gd name="T84" fmla="*/ 94 w 262"/>
              <a:gd name="T85" fmla="*/ 232 h 251"/>
              <a:gd name="T86" fmla="*/ 103 w 262"/>
              <a:gd name="T87" fmla="*/ 232 h 251"/>
              <a:gd name="T88" fmla="*/ 112 w 262"/>
              <a:gd name="T89" fmla="*/ 244 h 251"/>
              <a:gd name="T90" fmla="*/ 122 w 262"/>
              <a:gd name="T91" fmla="*/ 247 h 251"/>
              <a:gd name="T92" fmla="*/ 128 w 262"/>
              <a:gd name="T93" fmla="*/ 247 h 251"/>
              <a:gd name="T94" fmla="*/ 134 w 262"/>
              <a:gd name="T95" fmla="*/ 251 h 251"/>
              <a:gd name="T96" fmla="*/ 141 w 262"/>
              <a:gd name="T97" fmla="*/ 241 h 251"/>
              <a:gd name="T98" fmla="*/ 153 w 262"/>
              <a:gd name="T99" fmla="*/ 235 h 251"/>
              <a:gd name="T100" fmla="*/ 156 w 262"/>
              <a:gd name="T101" fmla="*/ 166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2" h="251">
                <a:moveTo>
                  <a:pt x="156" y="166"/>
                </a:moveTo>
                <a:lnTo>
                  <a:pt x="156" y="166"/>
                </a:lnTo>
                <a:lnTo>
                  <a:pt x="162" y="104"/>
                </a:lnTo>
                <a:lnTo>
                  <a:pt x="178" y="104"/>
                </a:lnTo>
                <a:lnTo>
                  <a:pt x="181" y="32"/>
                </a:lnTo>
                <a:lnTo>
                  <a:pt x="197" y="32"/>
                </a:lnTo>
                <a:lnTo>
                  <a:pt x="216" y="28"/>
                </a:lnTo>
                <a:lnTo>
                  <a:pt x="222" y="25"/>
                </a:lnTo>
                <a:lnTo>
                  <a:pt x="225" y="25"/>
                </a:lnTo>
                <a:lnTo>
                  <a:pt x="225" y="25"/>
                </a:lnTo>
                <a:lnTo>
                  <a:pt x="225" y="25"/>
                </a:lnTo>
                <a:lnTo>
                  <a:pt x="228" y="28"/>
                </a:lnTo>
                <a:lnTo>
                  <a:pt x="228" y="32"/>
                </a:lnTo>
                <a:lnTo>
                  <a:pt x="228" y="32"/>
                </a:lnTo>
                <a:lnTo>
                  <a:pt x="228" y="35"/>
                </a:lnTo>
                <a:lnTo>
                  <a:pt x="228" y="35"/>
                </a:lnTo>
                <a:lnTo>
                  <a:pt x="234" y="32"/>
                </a:lnTo>
                <a:lnTo>
                  <a:pt x="241" y="25"/>
                </a:lnTo>
                <a:lnTo>
                  <a:pt x="244" y="22"/>
                </a:lnTo>
                <a:lnTo>
                  <a:pt x="247" y="22"/>
                </a:lnTo>
                <a:lnTo>
                  <a:pt x="247" y="22"/>
                </a:lnTo>
                <a:lnTo>
                  <a:pt x="250" y="22"/>
                </a:lnTo>
                <a:lnTo>
                  <a:pt x="253" y="22"/>
                </a:lnTo>
                <a:lnTo>
                  <a:pt x="259" y="19"/>
                </a:lnTo>
                <a:lnTo>
                  <a:pt x="262" y="19"/>
                </a:lnTo>
                <a:lnTo>
                  <a:pt x="259" y="16"/>
                </a:lnTo>
                <a:lnTo>
                  <a:pt x="259" y="13"/>
                </a:lnTo>
                <a:lnTo>
                  <a:pt x="259" y="13"/>
                </a:lnTo>
                <a:lnTo>
                  <a:pt x="256" y="13"/>
                </a:lnTo>
                <a:lnTo>
                  <a:pt x="256" y="13"/>
                </a:lnTo>
                <a:lnTo>
                  <a:pt x="253" y="13"/>
                </a:lnTo>
                <a:lnTo>
                  <a:pt x="253" y="13"/>
                </a:lnTo>
                <a:lnTo>
                  <a:pt x="250" y="13"/>
                </a:lnTo>
                <a:lnTo>
                  <a:pt x="247" y="13"/>
                </a:lnTo>
                <a:lnTo>
                  <a:pt x="197" y="25"/>
                </a:lnTo>
                <a:lnTo>
                  <a:pt x="197" y="25"/>
                </a:lnTo>
                <a:lnTo>
                  <a:pt x="194" y="25"/>
                </a:lnTo>
                <a:lnTo>
                  <a:pt x="194" y="25"/>
                </a:lnTo>
                <a:lnTo>
                  <a:pt x="191" y="22"/>
                </a:lnTo>
                <a:lnTo>
                  <a:pt x="191" y="22"/>
                </a:lnTo>
                <a:lnTo>
                  <a:pt x="191" y="22"/>
                </a:lnTo>
                <a:lnTo>
                  <a:pt x="187" y="22"/>
                </a:lnTo>
                <a:lnTo>
                  <a:pt x="187" y="22"/>
                </a:lnTo>
                <a:lnTo>
                  <a:pt x="184" y="22"/>
                </a:lnTo>
                <a:lnTo>
                  <a:pt x="181" y="22"/>
                </a:lnTo>
                <a:lnTo>
                  <a:pt x="181" y="22"/>
                </a:lnTo>
                <a:lnTo>
                  <a:pt x="181" y="22"/>
                </a:lnTo>
                <a:lnTo>
                  <a:pt x="175" y="22"/>
                </a:lnTo>
                <a:lnTo>
                  <a:pt x="172" y="22"/>
                </a:lnTo>
                <a:lnTo>
                  <a:pt x="169" y="19"/>
                </a:lnTo>
                <a:lnTo>
                  <a:pt x="166" y="19"/>
                </a:lnTo>
                <a:lnTo>
                  <a:pt x="166" y="16"/>
                </a:lnTo>
                <a:lnTo>
                  <a:pt x="166" y="19"/>
                </a:lnTo>
                <a:lnTo>
                  <a:pt x="162" y="19"/>
                </a:lnTo>
                <a:lnTo>
                  <a:pt x="156" y="19"/>
                </a:lnTo>
                <a:lnTo>
                  <a:pt x="153" y="19"/>
                </a:lnTo>
                <a:lnTo>
                  <a:pt x="150" y="22"/>
                </a:lnTo>
                <a:lnTo>
                  <a:pt x="147" y="19"/>
                </a:lnTo>
                <a:lnTo>
                  <a:pt x="147" y="19"/>
                </a:lnTo>
                <a:lnTo>
                  <a:pt x="147" y="19"/>
                </a:lnTo>
                <a:lnTo>
                  <a:pt x="144" y="19"/>
                </a:lnTo>
                <a:lnTo>
                  <a:pt x="137" y="19"/>
                </a:lnTo>
                <a:lnTo>
                  <a:pt x="134" y="16"/>
                </a:lnTo>
                <a:lnTo>
                  <a:pt x="134" y="16"/>
                </a:lnTo>
                <a:lnTo>
                  <a:pt x="131" y="10"/>
                </a:lnTo>
                <a:lnTo>
                  <a:pt x="131" y="10"/>
                </a:lnTo>
                <a:lnTo>
                  <a:pt x="56" y="10"/>
                </a:lnTo>
                <a:lnTo>
                  <a:pt x="56" y="10"/>
                </a:lnTo>
                <a:lnTo>
                  <a:pt x="53" y="10"/>
                </a:lnTo>
                <a:lnTo>
                  <a:pt x="50" y="10"/>
                </a:lnTo>
                <a:lnTo>
                  <a:pt x="50" y="10"/>
                </a:lnTo>
                <a:lnTo>
                  <a:pt x="47" y="13"/>
                </a:lnTo>
                <a:lnTo>
                  <a:pt x="41" y="10"/>
                </a:lnTo>
                <a:lnTo>
                  <a:pt x="37" y="7"/>
                </a:lnTo>
                <a:lnTo>
                  <a:pt x="37" y="7"/>
                </a:lnTo>
                <a:lnTo>
                  <a:pt x="37" y="3"/>
                </a:lnTo>
                <a:lnTo>
                  <a:pt x="34" y="3"/>
                </a:lnTo>
                <a:lnTo>
                  <a:pt x="34" y="3"/>
                </a:lnTo>
                <a:lnTo>
                  <a:pt x="31" y="0"/>
                </a:lnTo>
                <a:lnTo>
                  <a:pt x="31" y="3"/>
                </a:lnTo>
                <a:lnTo>
                  <a:pt x="28" y="3"/>
                </a:lnTo>
                <a:lnTo>
                  <a:pt x="28" y="3"/>
                </a:lnTo>
                <a:lnTo>
                  <a:pt x="25" y="0"/>
                </a:lnTo>
                <a:lnTo>
                  <a:pt x="22" y="0"/>
                </a:lnTo>
                <a:lnTo>
                  <a:pt x="16" y="7"/>
                </a:lnTo>
                <a:lnTo>
                  <a:pt x="16" y="7"/>
                </a:lnTo>
                <a:lnTo>
                  <a:pt x="16" y="10"/>
                </a:lnTo>
                <a:lnTo>
                  <a:pt x="12" y="7"/>
                </a:lnTo>
                <a:lnTo>
                  <a:pt x="6" y="7"/>
                </a:lnTo>
                <a:lnTo>
                  <a:pt x="6" y="7"/>
                </a:lnTo>
                <a:lnTo>
                  <a:pt x="6" y="10"/>
                </a:lnTo>
                <a:lnTo>
                  <a:pt x="3" y="10"/>
                </a:lnTo>
                <a:lnTo>
                  <a:pt x="3" y="10"/>
                </a:lnTo>
                <a:lnTo>
                  <a:pt x="0" y="10"/>
                </a:lnTo>
                <a:lnTo>
                  <a:pt x="0" y="10"/>
                </a:lnTo>
                <a:lnTo>
                  <a:pt x="0" y="25"/>
                </a:lnTo>
                <a:lnTo>
                  <a:pt x="12" y="38"/>
                </a:lnTo>
                <a:lnTo>
                  <a:pt x="19" y="47"/>
                </a:lnTo>
                <a:lnTo>
                  <a:pt x="28" y="69"/>
                </a:lnTo>
                <a:lnTo>
                  <a:pt x="28" y="78"/>
                </a:lnTo>
                <a:lnTo>
                  <a:pt x="41" y="94"/>
                </a:lnTo>
                <a:lnTo>
                  <a:pt x="41" y="97"/>
                </a:lnTo>
                <a:lnTo>
                  <a:pt x="50" y="113"/>
                </a:lnTo>
                <a:lnTo>
                  <a:pt x="50" y="122"/>
                </a:lnTo>
                <a:lnTo>
                  <a:pt x="47" y="122"/>
                </a:lnTo>
                <a:lnTo>
                  <a:pt x="50" y="132"/>
                </a:lnTo>
                <a:lnTo>
                  <a:pt x="50" y="147"/>
                </a:lnTo>
                <a:lnTo>
                  <a:pt x="56" y="163"/>
                </a:lnTo>
                <a:lnTo>
                  <a:pt x="56" y="172"/>
                </a:lnTo>
                <a:lnTo>
                  <a:pt x="56" y="179"/>
                </a:lnTo>
                <a:lnTo>
                  <a:pt x="56" y="179"/>
                </a:lnTo>
                <a:lnTo>
                  <a:pt x="56" y="182"/>
                </a:lnTo>
                <a:lnTo>
                  <a:pt x="59" y="191"/>
                </a:lnTo>
                <a:lnTo>
                  <a:pt x="62" y="194"/>
                </a:lnTo>
                <a:lnTo>
                  <a:pt x="62" y="197"/>
                </a:lnTo>
                <a:lnTo>
                  <a:pt x="62" y="201"/>
                </a:lnTo>
                <a:lnTo>
                  <a:pt x="62" y="204"/>
                </a:lnTo>
                <a:lnTo>
                  <a:pt x="66" y="207"/>
                </a:lnTo>
                <a:lnTo>
                  <a:pt x="66" y="213"/>
                </a:lnTo>
                <a:lnTo>
                  <a:pt x="69" y="219"/>
                </a:lnTo>
                <a:lnTo>
                  <a:pt x="72" y="229"/>
                </a:lnTo>
                <a:lnTo>
                  <a:pt x="78" y="232"/>
                </a:lnTo>
                <a:lnTo>
                  <a:pt x="78" y="235"/>
                </a:lnTo>
                <a:lnTo>
                  <a:pt x="84" y="241"/>
                </a:lnTo>
                <a:lnTo>
                  <a:pt x="87" y="238"/>
                </a:lnTo>
                <a:lnTo>
                  <a:pt x="94" y="238"/>
                </a:lnTo>
                <a:lnTo>
                  <a:pt x="94" y="235"/>
                </a:lnTo>
                <a:lnTo>
                  <a:pt x="91" y="235"/>
                </a:lnTo>
                <a:lnTo>
                  <a:pt x="94" y="232"/>
                </a:lnTo>
                <a:lnTo>
                  <a:pt x="97" y="229"/>
                </a:lnTo>
                <a:lnTo>
                  <a:pt x="100" y="232"/>
                </a:lnTo>
                <a:lnTo>
                  <a:pt x="103" y="232"/>
                </a:lnTo>
                <a:lnTo>
                  <a:pt x="103" y="238"/>
                </a:lnTo>
                <a:lnTo>
                  <a:pt x="106" y="244"/>
                </a:lnTo>
                <a:lnTo>
                  <a:pt x="112" y="244"/>
                </a:lnTo>
                <a:lnTo>
                  <a:pt x="116" y="247"/>
                </a:lnTo>
                <a:lnTo>
                  <a:pt x="119" y="247"/>
                </a:lnTo>
                <a:lnTo>
                  <a:pt x="122" y="247"/>
                </a:lnTo>
                <a:lnTo>
                  <a:pt x="125" y="247"/>
                </a:lnTo>
                <a:lnTo>
                  <a:pt x="125" y="247"/>
                </a:lnTo>
                <a:lnTo>
                  <a:pt x="128" y="247"/>
                </a:lnTo>
                <a:lnTo>
                  <a:pt x="131" y="247"/>
                </a:lnTo>
                <a:lnTo>
                  <a:pt x="134" y="247"/>
                </a:lnTo>
                <a:lnTo>
                  <a:pt x="134" y="251"/>
                </a:lnTo>
                <a:lnTo>
                  <a:pt x="134" y="244"/>
                </a:lnTo>
                <a:lnTo>
                  <a:pt x="137" y="244"/>
                </a:lnTo>
                <a:lnTo>
                  <a:pt x="141" y="241"/>
                </a:lnTo>
                <a:lnTo>
                  <a:pt x="141" y="238"/>
                </a:lnTo>
                <a:lnTo>
                  <a:pt x="147" y="235"/>
                </a:lnTo>
                <a:lnTo>
                  <a:pt x="153" y="235"/>
                </a:lnTo>
                <a:lnTo>
                  <a:pt x="156" y="235"/>
                </a:lnTo>
                <a:lnTo>
                  <a:pt x="159" y="166"/>
                </a:lnTo>
                <a:lnTo>
                  <a:pt x="156" y="16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2" name="Freeform 150">
            <a:extLst>
              <a:ext uri="{FF2B5EF4-FFF2-40B4-BE49-F238E27FC236}">
                <a16:creationId xmlns:a16="http://schemas.microsoft.com/office/drawing/2014/main" id="{E00C24A3-F715-0591-7D07-404A407B531C}"/>
              </a:ext>
            </a:extLst>
          </p:cNvPr>
          <p:cNvSpPr>
            <a:spLocks noEditPoints="1"/>
          </p:cNvSpPr>
          <p:nvPr userDrawn="1"/>
        </p:nvSpPr>
        <p:spPr bwMode="auto">
          <a:xfrm>
            <a:off x="23360130" y="10778408"/>
            <a:ext cx="247634" cy="177800"/>
          </a:xfrm>
          <a:custGeom>
            <a:avLst/>
            <a:gdLst>
              <a:gd name="T0" fmla="*/ 6 w 78"/>
              <a:gd name="T1" fmla="*/ 6 h 56"/>
              <a:gd name="T2" fmla="*/ 9 w 78"/>
              <a:gd name="T3" fmla="*/ 6 h 56"/>
              <a:gd name="T4" fmla="*/ 16 w 78"/>
              <a:gd name="T5" fmla="*/ 12 h 56"/>
              <a:gd name="T6" fmla="*/ 19 w 78"/>
              <a:gd name="T7" fmla="*/ 15 h 56"/>
              <a:gd name="T8" fmla="*/ 31 w 78"/>
              <a:gd name="T9" fmla="*/ 34 h 56"/>
              <a:gd name="T10" fmla="*/ 34 w 78"/>
              <a:gd name="T11" fmla="*/ 34 h 56"/>
              <a:gd name="T12" fmla="*/ 47 w 78"/>
              <a:gd name="T13" fmla="*/ 50 h 56"/>
              <a:gd name="T14" fmla="*/ 50 w 78"/>
              <a:gd name="T15" fmla="*/ 56 h 56"/>
              <a:gd name="T16" fmla="*/ 47 w 78"/>
              <a:gd name="T17" fmla="*/ 56 h 56"/>
              <a:gd name="T18" fmla="*/ 38 w 78"/>
              <a:gd name="T19" fmla="*/ 53 h 56"/>
              <a:gd name="T20" fmla="*/ 34 w 78"/>
              <a:gd name="T21" fmla="*/ 46 h 56"/>
              <a:gd name="T22" fmla="*/ 28 w 78"/>
              <a:gd name="T23" fmla="*/ 40 h 56"/>
              <a:gd name="T24" fmla="*/ 25 w 78"/>
              <a:gd name="T25" fmla="*/ 40 h 56"/>
              <a:gd name="T26" fmla="*/ 16 w 78"/>
              <a:gd name="T27" fmla="*/ 31 h 56"/>
              <a:gd name="T28" fmla="*/ 13 w 78"/>
              <a:gd name="T29" fmla="*/ 28 h 56"/>
              <a:gd name="T30" fmla="*/ 9 w 78"/>
              <a:gd name="T31" fmla="*/ 21 h 56"/>
              <a:gd name="T32" fmla="*/ 0 w 78"/>
              <a:gd name="T33" fmla="*/ 9 h 56"/>
              <a:gd name="T34" fmla="*/ 0 w 78"/>
              <a:gd name="T35" fmla="*/ 3 h 56"/>
              <a:gd name="T36" fmla="*/ 0 w 78"/>
              <a:gd name="T37" fmla="*/ 0 h 56"/>
              <a:gd name="T38" fmla="*/ 75 w 78"/>
              <a:gd name="T39" fmla="*/ 31 h 56"/>
              <a:gd name="T40" fmla="*/ 75 w 78"/>
              <a:gd name="T41" fmla="*/ 37 h 56"/>
              <a:gd name="T42" fmla="*/ 72 w 78"/>
              <a:gd name="T43" fmla="*/ 40 h 56"/>
              <a:gd name="T44" fmla="*/ 69 w 78"/>
              <a:gd name="T45" fmla="*/ 34 h 56"/>
              <a:gd name="T46" fmla="*/ 59 w 78"/>
              <a:gd name="T47" fmla="*/ 12 h 56"/>
              <a:gd name="T48" fmla="*/ 56 w 78"/>
              <a:gd name="T49" fmla="*/ 18 h 56"/>
              <a:gd name="T50" fmla="*/ 59 w 78"/>
              <a:gd name="T51" fmla="*/ 25 h 56"/>
              <a:gd name="T52" fmla="*/ 66 w 78"/>
              <a:gd name="T53" fmla="*/ 25 h 56"/>
              <a:gd name="T54" fmla="*/ 63 w 78"/>
              <a:gd name="T55" fmla="*/ 18 h 56"/>
              <a:gd name="T56" fmla="*/ 59 w 78"/>
              <a:gd name="T57" fmla="*/ 12 h 56"/>
              <a:gd name="T58" fmla="*/ 47 w 78"/>
              <a:gd name="T59" fmla="*/ 9 h 56"/>
              <a:gd name="T60" fmla="*/ 44 w 78"/>
              <a:gd name="T61" fmla="*/ 15 h 56"/>
              <a:gd name="T62" fmla="*/ 50 w 78"/>
              <a:gd name="T63" fmla="*/ 12 h 56"/>
              <a:gd name="T64" fmla="*/ 47 w 78"/>
              <a:gd name="T65" fmla="*/ 9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56">
                <a:moveTo>
                  <a:pt x="0" y="0"/>
                </a:moveTo>
                <a:lnTo>
                  <a:pt x="6" y="6"/>
                </a:lnTo>
                <a:lnTo>
                  <a:pt x="6" y="3"/>
                </a:lnTo>
                <a:lnTo>
                  <a:pt x="9" y="6"/>
                </a:lnTo>
                <a:lnTo>
                  <a:pt x="9" y="9"/>
                </a:lnTo>
                <a:lnTo>
                  <a:pt x="16" y="12"/>
                </a:lnTo>
                <a:lnTo>
                  <a:pt x="16" y="15"/>
                </a:lnTo>
                <a:lnTo>
                  <a:pt x="19" y="15"/>
                </a:lnTo>
                <a:lnTo>
                  <a:pt x="25" y="28"/>
                </a:lnTo>
                <a:lnTo>
                  <a:pt x="31" y="34"/>
                </a:lnTo>
                <a:lnTo>
                  <a:pt x="31" y="34"/>
                </a:lnTo>
                <a:lnTo>
                  <a:pt x="34" y="34"/>
                </a:lnTo>
                <a:lnTo>
                  <a:pt x="41" y="43"/>
                </a:lnTo>
                <a:lnTo>
                  <a:pt x="47" y="50"/>
                </a:lnTo>
                <a:lnTo>
                  <a:pt x="50" y="50"/>
                </a:lnTo>
                <a:lnTo>
                  <a:pt x="50" y="56"/>
                </a:lnTo>
                <a:lnTo>
                  <a:pt x="47" y="53"/>
                </a:lnTo>
                <a:lnTo>
                  <a:pt x="47" y="56"/>
                </a:lnTo>
                <a:lnTo>
                  <a:pt x="44" y="53"/>
                </a:lnTo>
                <a:lnTo>
                  <a:pt x="38" y="53"/>
                </a:lnTo>
                <a:lnTo>
                  <a:pt x="34" y="50"/>
                </a:lnTo>
                <a:lnTo>
                  <a:pt x="34" y="46"/>
                </a:lnTo>
                <a:lnTo>
                  <a:pt x="28" y="46"/>
                </a:lnTo>
                <a:lnTo>
                  <a:pt x="28" y="40"/>
                </a:lnTo>
                <a:lnTo>
                  <a:pt x="25" y="40"/>
                </a:lnTo>
                <a:lnTo>
                  <a:pt x="25" y="40"/>
                </a:lnTo>
                <a:lnTo>
                  <a:pt x="22" y="34"/>
                </a:lnTo>
                <a:lnTo>
                  <a:pt x="16" y="31"/>
                </a:lnTo>
                <a:lnTo>
                  <a:pt x="16" y="28"/>
                </a:lnTo>
                <a:lnTo>
                  <a:pt x="13" y="28"/>
                </a:lnTo>
                <a:lnTo>
                  <a:pt x="9" y="25"/>
                </a:lnTo>
                <a:lnTo>
                  <a:pt x="9" y="21"/>
                </a:lnTo>
                <a:lnTo>
                  <a:pt x="6" y="18"/>
                </a:lnTo>
                <a:lnTo>
                  <a:pt x="0" y="9"/>
                </a:lnTo>
                <a:lnTo>
                  <a:pt x="0" y="6"/>
                </a:lnTo>
                <a:lnTo>
                  <a:pt x="0" y="3"/>
                </a:lnTo>
                <a:lnTo>
                  <a:pt x="0" y="0"/>
                </a:lnTo>
                <a:lnTo>
                  <a:pt x="0" y="0"/>
                </a:lnTo>
                <a:close/>
                <a:moveTo>
                  <a:pt x="69" y="34"/>
                </a:moveTo>
                <a:lnTo>
                  <a:pt x="75" y="31"/>
                </a:lnTo>
                <a:lnTo>
                  <a:pt x="78" y="34"/>
                </a:lnTo>
                <a:lnTo>
                  <a:pt x="75" y="37"/>
                </a:lnTo>
                <a:lnTo>
                  <a:pt x="75" y="37"/>
                </a:lnTo>
                <a:lnTo>
                  <a:pt x="72" y="40"/>
                </a:lnTo>
                <a:lnTo>
                  <a:pt x="69" y="37"/>
                </a:lnTo>
                <a:lnTo>
                  <a:pt x="69" y="34"/>
                </a:lnTo>
                <a:lnTo>
                  <a:pt x="69" y="34"/>
                </a:lnTo>
                <a:close/>
                <a:moveTo>
                  <a:pt x="59" y="12"/>
                </a:moveTo>
                <a:lnTo>
                  <a:pt x="56" y="15"/>
                </a:lnTo>
                <a:lnTo>
                  <a:pt x="56" y="18"/>
                </a:lnTo>
                <a:lnTo>
                  <a:pt x="56" y="21"/>
                </a:lnTo>
                <a:lnTo>
                  <a:pt x="59" y="25"/>
                </a:lnTo>
                <a:lnTo>
                  <a:pt x="63" y="25"/>
                </a:lnTo>
                <a:lnTo>
                  <a:pt x="66" y="25"/>
                </a:lnTo>
                <a:lnTo>
                  <a:pt x="63" y="21"/>
                </a:lnTo>
                <a:lnTo>
                  <a:pt x="63" y="18"/>
                </a:lnTo>
                <a:lnTo>
                  <a:pt x="63" y="15"/>
                </a:lnTo>
                <a:lnTo>
                  <a:pt x="59" y="12"/>
                </a:lnTo>
                <a:lnTo>
                  <a:pt x="59" y="12"/>
                </a:lnTo>
                <a:close/>
                <a:moveTo>
                  <a:pt x="47" y="9"/>
                </a:moveTo>
                <a:lnTo>
                  <a:pt x="47" y="12"/>
                </a:lnTo>
                <a:lnTo>
                  <a:pt x="44" y="15"/>
                </a:lnTo>
                <a:lnTo>
                  <a:pt x="50" y="15"/>
                </a:lnTo>
                <a:lnTo>
                  <a:pt x="50" y="12"/>
                </a:lnTo>
                <a:lnTo>
                  <a:pt x="50" y="9"/>
                </a:lnTo>
                <a:lnTo>
                  <a:pt x="47" y="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3" name="Freeform 151">
            <a:extLst>
              <a:ext uri="{FF2B5EF4-FFF2-40B4-BE49-F238E27FC236}">
                <a16:creationId xmlns:a16="http://schemas.microsoft.com/office/drawing/2014/main" id="{9D047B05-BA44-7A1D-86CC-F5816076D425}"/>
              </a:ext>
            </a:extLst>
          </p:cNvPr>
          <p:cNvSpPr>
            <a:spLocks/>
          </p:cNvSpPr>
          <p:nvPr userDrawn="1"/>
        </p:nvSpPr>
        <p:spPr bwMode="auto">
          <a:xfrm>
            <a:off x="17258174" y="13210456"/>
            <a:ext cx="19049" cy="28576"/>
          </a:xfrm>
          <a:custGeom>
            <a:avLst/>
            <a:gdLst>
              <a:gd name="T0" fmla="*/ 0 w 6"/>
              <a:gd name="T1" fmla="*/ 0 h 9"/>
              <a:gd name="T2" fmla="*/ 0 w 6"/>
              <a:gd name="T3" fmla="*/ 3 h 9"/>
              <a:gd name="T4" fmla="*/ 0 w 6"/>
              <a:gd name="T5" fmla="*/ 6 h 9"/>
              <a:gd name="T6" fmla="*/ 3 w 6"/>
              <a:gd name="T7" fmla="*/ 6 h 9"/>
              <a:gd name="T8" fmla="*/ 3 w 6"/>
              <a:gd name="T9" fmla="*/ 9 h 9"/>
              <a:gd name="T10" fmla="*/ 6 w 6"/>
              <a:gd name="T11" fmla="*/ 9 h 9"/>
              <a:gd name="T12" fmla="*/ 3 w 6"/>
              <a:gd name="T13" fmla="*/ 3 h 9"/>
              <a:gd name="T14" fmla="*/ 0 w 6"/>
              <a:gd name="T15" fmla="*/ 0 h 9"/>
              <a:gd name="T16" fmla="*/ 0 w 6"/>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9">
                <a:moveTo>
                  <a:pt x="0" y="0"/>
                </a:moveTo>
                <a:lnTo>
                  <a:pt x="0" y="3"/>
                </a:lnTo>
                <a:lnTo>
                  <a:pt x="0" y="6"/>
                </a:lnTo>
                <a:lnTo>
                  <a:pt x="3" y="6"/>
                </a:lnTo>
                <a:lnTo>
                  <a:pt x="3" y="9"/>
                </a:lnTo>
                <a:lnTo>
                  <a:pt x="6" y="9"/>
                </a:lnTo>
                <a:lnTo>
                  <a:pt x="3" y="3"/>
                </a:lnTo>
                <a:lnTo>
                  <a:pt x="0" y="0"/>
                </a:lnTo>
                <a:lnTo>
                  <a:pt x="0" y="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4" name="Freeform 152">
            <a:extLst>
              <a:ext uri="{FF2B5EF4-FFF2-40B4-BE49-F238E27FC236}">
                <a16:creationId xmlns:a16="http://schemas.microsoft.com/office/drawing/2014/main" id="{5FDA97F5-1B37-ED2D-9DF1-7910AA7EADA5}"/>
              </a:ext>
            </a:extLst>
          </p:cNvPr>
          <p:cNvSpPr>
            <a:spLocks noEditPoints="1"/>
          </p:cNvSpPr>
          <p:nvPr userDrawn="1"/>
        </p:nvSpPr>
        <p:spPr bwMode="auto">
          <a:xfrm>
            <a:off x="17067687" y="12823106"/>
            <a:ext cx="101593" cy="79376"/>
          </a:xfrm>
          <a:custGeom>
            <a:avLst/>
            <a:gdLst>
              <a:gd name="T0" fmla="*/ 13 w 32"/>
              <a:gd name="T1" fmla="*/ 6 h 25"/>
              <a:gd name="T2" fmla="*/ 13 w 32"/>
              <a:gd name="T3" fmla="*/ 3 h 25"/>
              <a:gd name="T4" fmla="*/ 16 w 32"/>
              <a:gd name="T5" fmla="*/ 3 h 25"/>
              <a:gd name="T6" fmla="*/ 16 w 32"/>
              <a:gd name="T7" fmla="*/ 6 h 25"/>
              <a:gd name="T8" fmla="*/ 13 w 32"/>
              <a:gd name="T9" fmla="*/ 6 h 25"/>
              <a:gd name="T10" fmla="*/ 13 w 32"/>
              <a:gd name="T11" fmla="*/ 6 h 25"/>
              <a:gd name="T12" fmla="*/ 13 w 32"/>
              <a:gd name="T13" fmla="*/ 6 h 25"/>
              <a:gd name="T14" fmla="*/ 13 w 32"/>
              <a:gd name="T15" fmla="*/ 6 h 25"/>
              <a:gd name="T16" fmla="*/ 0 w 32"/>
              <a:gd name="T17" fmla="*/ 22 h 25"/>
              <a:gd name="T18" fmla="*/ 3 w 32"/>
              <a:gd name="T19" fmla="*/ 22 h 25"/>
              <a:gd name="T20" fmla="*/ 7 w 32"/>
              <a:gd name="T21" fmla="*/ 19 h 25"/>
              <a:gd name="T22" fmla="*/ 10 w 32"/>
              <a:gd name="T23" fmla="*/ 19 h 25"/>
              <a:gd name="T24" fmla="*/ 13 w 32"/>
              <a:gd name="T25" fmla="*/ 22 h 25"/>
              <a:gd name="T26" fmla="*/ 16 w 32"/>
              <a:gd name="T27" fmla="*/ 22 h 25"/>
              <a:gd name="T28" fmla="*/ 16 w 32"/>
              <a:gd name="T29" fmla="*/ 22 h 25"/>
              <a:gd name="T30" fmla="*/ 19 w 32"/>
              <a:gd name="T31" fmla="*/ 19 h 25"/>
              <a:gd name="T32" fmla="*/ 19 w 32"/>
              <a:gd name="T33" fmla="*/ 22 h 25"/>
              <a:gd name="T34" fmla="*/ 19 w 32"/>
              <a:gd name="T35" fmla="*/ 22 h 25"/>
              <a:gd name="T36" fmla="*/ 22 w 32"/>
              <a:gd name="T37" fmla="*/ 25 h 25"/>
              <a:gd name="T38" fmla="*/ 25 w 32"/>
              <a:gd name="T39" fmla="*/ 25 h 25"/>
              <a:gd name="T40" fmla="*/ 28 w 32"/>
              <a:gd name="T41" fmla="*/ 22 h 25"/>
              <a:gd name="T42" fmla="*/ 28 w 32"/>
              <a:gd name="T43" fmla="*/ 22 h 25"/>
              <a:gd name="T44" fmla="*/ 25 w 32"/>
              <a:gd name="T45" fmla="*/ 22 h 25"/>
              <a:gd name="T46" fmla="*/ 22 w 32"/>
              <a:gd name="T47" fmla="*/ 19 h 25"/>
              <a:gd name="T48" fmla="*/ 25 w 32"/>
              <a:gd name="T49" fmla="*/ 16 h 25"/>
              <a:gd name="T50" fmla="*/ 28 w 32"/>
              <a:gd name="T51" fmla="*/ 16 h 25"/>
              <a:gd name="T52" fmla="*/ 32 w 32"/>
              <a:gd name="T53" fmla="*/ 16 h 25"/>
              <a:gd name="T54" fmla="*/ 32 w 32"/>
              <a:gd name="T55" fmla="*/ 12 h 25"/>
              <a:gd name="T56" fmla="*/ 32 w 32"/>
              <a:gd name="T57" fmla="*/ 9 h 25"/>
              <a:gd name="T58" fmla="*/ 28 w 32"/>
              <a:gd name="T59" fmla="*/ 12 h 25"/>
              <a:gd name="T60" fmla="*/ 25 w 32"/>
              <a:gd name="T61" fmla="*/ 9 h 25"/>
              <a:gd name="T62" fmla="*/ 22 w 32"/>
              <a:gd name="T63" fmla="*/ 16 h 25"/>
              <a:gd name="T64" fmla="*/ 19 w 32"/>
              <a:gd name="T65" fmla="*/ 16 h 25"/>
              <a:gd name="T66" fmla="*/ 19 w 32"/>
              <a:gd name="T67" fmla="*/ 9 h 25"/>
              <a:gd name="T68" fmla="*/ 19 w 32"/>
              <a:gd name="T69" fmla="*/ 9 h 25"/>
              <a:gd name="T70" fmla="*/ 19 w 32"/>
              <a:gd name="T71" fmla="*/ 3 h 25"/>
              <a:gd name="T72" fmla="*/ 19 w 32"/>
              <a:gd name="T73" fmla="*/ 6 h 25"/>
              <a:gd name="T74" fmla="*/ 16 w 32"/>
              <a:gd name="T75" fmla="*/ 9 h 25"/>
              <a:gd name="T76" fmla="*/ 16 w 32"/>
              <a:gd name="T77" fmla="*/ 12 h 25"/>
              <a:gd name="T78" fmla="*/ 13 w 32"/>
              <a:gd name="T79" fmla="*/ 9 h 25"/>
              <a:gd name="T80" fmla="*/ 10 w 32"/>
              <a:gd name="T81" fmla="*/ 9 h 25"/>
              <a:gd name="T82" fmla="*/ 7 w 32"/>
              <a:gd name="T83" fmla="*/ 6 h 25"/>
              <a:gd name="T84" fmla="*/ 7 w 32"/>
              <a:gd name="T85" fmla="*/ 3 h 25"/>
              <a:gd name="T86" fmla="*/ 7 w 32"/>
              <a:gd name="T87" fmla="*/ 3 h 25"/>
              <a:gd name="T88" fmla="*/ 10 w 32"/>
              <a:gd name="T89" fmla="*/ 0 h 25"/>
              <a:gd name="T90" fmla="*/ 10 w 32"/>
              <a:gd name="T91" fmla="*/ 0 h 25"/>
              <a:gd name="T92" fmla="*/ 7 w 32"/>
              <a:gd name="T93" fmla="*/ 0 h 25"/>
              <a:gd name="T94" fmla="*/ 3 w 32"/>
              <a:gd name="T95" fmla="*/ 3 h 25"/>
              <a:gd name="T96" fmla="*/ 7 w 32"/>
              <a:gd name="T97" fmla="*/ 6 h 25"/>
              <a:gd name="T98" fmla="*/ 7 w 32"/>
              <a:gd name="T99" fmla="*/ 9 h 25"/>
              <a:gd name="T100" fmla="*/ 7 w 32"/>
              <a:gd name="T101" fmla="*/ 9 h 25"/>
              <a:gd name="T102" fmla="*/ 7 w 32"/>
              <a:gd name="T103" fmla="*/ 12 h 25"/>
              <a:gd name="T104" fmla="*/ 3 w 32"/>
              <a:gd name="T105" fmla="*/ 16 h 25"/>
              <a:gd name="T106" fmla="*/ 0 w 32"/>
              <a:gd name="T107" fmla="*/ 19 h 25"/>
              <a:gd name="T108" fmla="*/ 0 w 32"/>
              <a:gd name="T109" fmla="*/ 2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 h="25">
                <a:moveTo>
                  <a:pt x="13" y="6"/>
                </a:moveTo>
                <a:lnTo>
                  <a:pt x="13" y="3"/>
                </a:lnTo>
                <a:lnTo>
                  <a:pt x="16" y="3"/>
                </a:lnTo>
                <a:lnTo>
                  <a:pt x="16" y="6"/>
                </a:lnTo>
                <a:lnTo>
                  <a:pt x="13" y="6"/>
                </a:lnTo>
                <a:lnTo>
                  <a:pt x="13" y="6"/>
                </a:lnTo>
                <a:lnTo>
                  <a:pt x="13" y="6"/>
                </a:lnTo>
                <a:lnTo>
                  <a:pt x="13" y="6"/>
                </a:lnTo>
                <a:close/>
                <a:moveTo>
                  <a:pt x="0" y="22"/>
                </a:moveTo>
                <a:lnTo>
                  <a:pt x="3" y="22"/>
                </a:lnTo>
                <a:lnTo>
                  <a:pt x="7" y="19"/>
                </a:lnTo>
                <a:lnTo>
                  <a:pt x="10" y="19"/>
                </a:lnTo>
                <a:lnTo>
                  <a:pt x="13" y="22"/>
                </a:lnTo>
                <a:lnTo>
                  <a:pt x="16" y="22"/>
                </a:lnTo>
                <a:lnTo>
                  <a:pt x="16" y="22"/>
                </a:lnTo>
                <a:lnTo>
                  <a:pt x="19" y="19"/>
                </a:lnTo>
                <a:lnTo>
                  <a:pt x="19" y="22"/>
                </a:lnTo>
                <a:lnTo>
                  <a:pt x="19" y="22"/>
                </a:lnTo>
                <a:lnTo>
                  <a:pt x="22" y="25"/>
                </a:lnTo>
                <a:lnTo>
                  <a:pt x="25" y="25"/>
                </a:lnTo>
                <a:lnTo>
                  <a:pt x="28" y="22"/>
                </a:lnTo>
                <a:lnTo>
                  <a:pt x="28" y="22"/>
                </a:lnTo>
                <a:lnTo>
                  <a:pt x="25" y="22"/>
                </a:lnTo>
                <a:lnTo>
                  <a:pt x="22" y="19"/>
                </a:lnTo>
                <a:lnTo>
                  <a:pt x="25" y="16"/>
                </a:lnTo>
                <a:lnTo>
                  <a:pt x="28" y="16"/>
                </a:lnTo>
                <a:lnTo>
                  <a:pt x="32" y="16"/>
                </a:lnTo>
                <a:lnTo>
                  <a:pt x="32" y="12"/>
                </a:lnTo>
                <a:lnTo>
                  <a:pt x="32" y="9"/>
                </a:lnTo>
                <a:lnTo>
                  <a:pt x="28" y="12"/>
                </a:lnTo>
                <a:lnTo>
                  <a:pt x="25" y="9"/>
                </a:lnTo>
                <a:lnTo>
                  <a:pt x="22" y="16"/>
                </a:lnTo>
                <a:lnTo>
                  <a:pt x="19" y="16"/>
                </a:lnTo>
                <a:lnTo>
                  <a:pt x="19" y="9"/>
                </a:lnTo>
                <a:lnTo>
                  <a:pt x="19" y="9"/>
                </a:lnTo>
                <a:lnTo>
                  <a:pt x="19" y="3"/>
                </a:lnTo>
                <a:lnTo>
                  <a:pt x="19" y="6"/>
                </a:lnTo>
                <a:lnTo>
                  <a:pt x="16" y="9"/>
                </a:lnTo>
                <a:lnTo>
                  <a:pt x="16" y="12"/>
                </a:lnTo>
                <a:lnTo>
                  <a:pt x="13" y="9"/>
                </a:lnTo>
                <a:lnTo>
                  <a:pt x="10" y="9"/>
                </a:lnTo>
                <a:lnTo>
                  <a:pt x="7" y="6"/>
                </a:lnTo>
                <a:lnTo>
                  <a:pt x="7" y="3"/>
                </a:lnTo>
                <a:lnTo>
                  <a:pt x="7" y="3"/>
                </a:lnTo>
                <a:lnTo>
                  <a:pt x="10" y="0"/>
                </a:lnTo>
                <a:lnTo>
                  <a:pt x="10" y="0"/>
                </a:lnTo>
                <a:lnTo>
                  <a:pt x="7" y="0"/>
                </a:lnTo>
                <a:lnTo>
                  <a:pt x="3" y="3"/>
                </a:lnTo>
                <a:lnTo>
                  <a:pt x="7" y="6"/>
                </a:lnTo>
                <a:lnTo>
                  <a:pt x="7" y="9"/>
                </a:lnTo>
                <a:lnTo>
                  <a:pt x="7" y="9"/>
                </a:lnTo>
                <a:lnTo>
                  <a:pt x="7" y="12"/>
                </a:lnTo>
                <a:lnTo>
                  <a:pt x="3" y="16"/>
                </a:lnTo>
                <a:lnTo>
                  <a:pt x="0" y="19"/>
                </a:lnTo>
                <a:lnTo>
                  <a:pt x="0" y="22"/>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5" name="Freeform 153">
            <a:extLst>
              <a:ext uri="{FF2B5EF4-FFF2-40B4-BE49-F238E27FC236}">
                <a16:creationId xmlns:a16="http://schemas.microsoft.com/office/drawing/2014/main" id="{9A72455C-AB54-1E50-E7AE-DEDDA99F9F32}"/>
              </a:ext>
            </a:extLst>
          </p:cNvPr>
          <p:cNvSpPr>
            <a:spLocks/>
          </p:cNvSpPr>
          <p:nvPr userDrawn="1"/>
        </p:nvSpPr>
        <p:spPr bwMode="auto">
          <a:xfrm>
            <a:off x="16702584" y="10657757"/>
            <a:ext cx="38100" cy="38102"/>
          </a:xfrm>
          <a:custGeom>
            <a:avLst/>
            <a:gdLst>
              <a:gd name="T0" fmla="*/ 3 w 12"/>
              <a:gd name="T1" fmla="*/ 0 h 12"/>
              <a:gd name="T2" fmla="*/ 3 w 12"/>
              <a:gd name="T3" fmla="*/ 6 h 12"/>
              <a:gd name="T4" fmla="*/ 0 w 12"/>
              <a:gd name="T5" fmla="*/ 9 h 12"/>
              <a:gd name="T6" fmla="*/ 6 w 12"/>
              <a:gd name="T7" fmla="*/ 12 h 12"/>
              <a:gd name="T8" fmla="*/ 9 w 12"/>
              <a:gd name="T9" fmla="*/ 9 h 12"/>
              <a:gd name="T10" fmla="*/ 9 w 12"/>
              <a:gd name="T11" fmla="*/ 6 h 12"/>
              <a:gd name="T12" fmla="*/ 12 w 12"/>
              <a:gd name="T13" fmla="*/ 6 h 12"/>
              <a:gd name="T14" fmla="*/ 12 w 12"/>
              <a:gd name="T15" fmla="*/ 3 h 12"/>
              <a:gd name="T16" fmla="*/ 9 w 12"/>
              <a:gd name="T17" fmla="*/ 0 h 12"/>
              <a:gd name="T18" fmla="*/ 6 w 12"/>
              <a:gd name="T19" fmla="*/ 3 h 12"/>
              <a:gd name="T20" fmla="*/ 3 w 12"/>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2">
                <a:moveTo>
                  <a:pt x="3" y="0"/>
                </a:moveTo>
                <a:lnTo>
                  <a:pt x="3" y="6"/>
                </a:lnTo>
                <a:lnTo>
                  <a:pt x="0" y="9"/>
                </a:lnTo>
                <a:lnTo>
                  <a:pt x="6" y="12"/>
                </a:lnTo>
                <a:lnTo>
                  <a:pt x="9" y="9"/>
                </a:lnTo>
                <a:lnTo>
                  <a:pt x="9" y="6"/>
                </a:lnTo>
                <a:lnTo>
                  <a:pt x="12" y="6"/>
                </a:lnTo>
                <a:lnTo>
                  <a:pt x="12" y="3"/>
                </a:lnTo>
                <a:lnTo>
                  <a:pt x="9" y="0"/>
                </a:lnTo>
                <a:lnTo>
                  <a:pt x="6" y="3"/>
                </a:lnTo>
                <a:lnTo>
                  <a:pt x="3" y="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6" name="Freeform 154">
            <a:extLst>
              <a:ext uri="{FF2B5EF4-FFF2-40B4-BE49-F238E27FC236}">
                <a16:creationId xmlns:a16="http://schemas.microsoft.com/office/drawing/2014/main" id="{F6E4B5D1-8F67-9B9D-E3EB-6B5E91A6B2AB}"/>
              </a:ext>
            </a:extLst>
          </p:cNvPr>
          <p:cNvSpPr>
            <a:spLocks/>
          </p:cNvSpPr>
          <p:nvPr userDrawn="1"/>
        </p:nvSpPr>
        <p:spPr bwMode="auto">
          <a:xfrm>
            <a:off x="16581944" y="10708557"/>
            <a:ext cx="31748" cy="38102"/>
          </a:xfrm>
          <a:custGeom>
            <a:avLst/>
            <a:gdLst>
              <a:gd name="T0" fmla="*/ 0 w 10"/>
              <a:gd name="T1" fmla="*/ 0 h 12"/>
              <a:gd name="T2" fmla="*/ 0 w 10"/>
              <a:gd name="T3" fmla="*/ 6 h 12"/>
              <a:gd name="T4" fmla="*/ 3 w 10"/>
              <a:gd name="T5" fmla="*/ 12 h 12"/>
              <a:gd name="T6" fmla="*/ 6 w 10"/>
              <a:gd name="T7" fmla="*/ 12 h 12"/>
              <a:gd name="T8" fmla="*/ 10 w 10"/>
              <a:gd name="T9" fmla="*/ 9 h 12"/>
              <a:gd name="T10" fmla="*/ 10 w 10"/>
              <a:gd name="T11" fmla="*/ 6 h 12"/>
              <a:gd name="T12" fmla="*/ 6 w 10"/>
              <a:gd name="T13" fmla="*/ 3 h 12"/>
              <a:gd name="T14" fmla="*/ 0 w 10"/>
              <a:gd name="T15" fmla="*/ 0 h 12"/>
              <a:gd name="T16" fmla="*/ 0 w 1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2">
                <a:moveTo>
                  <a:pt x="0" y="0"/>
                </a:moveTo>
                <a:lnTo>
                  <a:pt x="0" y="6"/>
                </a:lnTo>
                <a:lnTo>
                  <a:pt x="3" y="12"/>
                </a:lnTo>
                <a:lnTo>
                  <a:pt x="6" y="12"/>
                </a:lnTo>
                <a:lnTo>
                  <a:pt x="10" y="9"/>
                </a:lnTo>
                <a:lnTo>
                  <a:pt x="10" y="6"/>
                </a:lnTo>
                <a:lnTo>
                  <a:pt x="6" y="3"/>
                </a:lnTo>
                <a:lnTo>
                  <a:pt x="0" y="0"/>
                </a:lnTo>
                <a:lnTo>
                  <a:pt x="0" y="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7" name="Freeform 155">
            <a:extLst>
              <a:ext uri="{FF2B5EF4-FFF2-40B4-BE49-F238E27FC236}">
                <a16:creationId xmlns:a16="http://schemas.microsoft.com/office/drawing/2014/main" id="{304CC159-8AE5-052B-110C-511BA6C1B458}"/>
              </a:ext>
            </a:extLst>
          </p:cNvPr>
          <p:cNvSpPr>
            <a:spLocks noEditPoints="1"/>
          </p:cNvSpPr>
          <p:nvPr userDrawn="1"/>
        </p:nvSpPr>
        <p:spPr bwMode="auto">
          <a:xfrm>
            <a:off x="15807292" y="10140235"/>
            <a:ext cx="476219" cy="885826"/>
          </a:xfrm>
          <a:custGeom>
            <a:avLst/>
            <a:gdLst>
              <a:gd name="T0" fmla="*/ 44 w 150"/>
              <a:gd name="T1" fmla="*/ 276 h 279"/>
              <a:gd name="T2" fmla="*/ 69 w 150"/>
              <a:gd name="T3" fmla="*/ 266 h 279"/>
              <a:gd name="T4" fmla="*/ 79 w 150"/>
              <a:gd name="T5" fmla="*/ 254 h 279"/>
              <a:gd name="T6" fmla="*/ 82 w 150"/>
              <a:gd name="T7" fmla="*/ 238 h 279"/>
              <a:gd name="T8" fmla="*/ 88 w 150"/>
              <a:gd name="T9" fmla="*/ 229 h 279"/>
              <a:gd name="T10" fmla="*/ 100 w 150"/>
              <a:gd name="T11" fmla="*/ 201 h 279"/>
              <a:gd name="T12" fmla="*/ 116 w 150"/>
              <a:gd name="T13" fmla="*/ 163 h 279"/>
              <a:gd name="T14" fmla="*/ 125 w 150"/>
              <a:gd name="T15" fmla="*/ 138 h 279"/>
              <a:gd name="T16" fmla="*/ 132 w 150"/>
              <a:gd name="T17" fmla="*/ 110 h 279"/>
              <a:gd name="T18" fmla="*/ 135 w 150"/>
              <a:gd name="T19" fmla="*/ 94 h 279"/>
              <a:gd name="T20" fmla="*/ 138 w 150"/>
              <a:gd name="T21" fmla="*/ 82 h 279"/>
              <a:gd name="T22" fmla="*/ 138 w 150"/>
              <a:gd name="T23" fmla="*/ 69 h 279"/>
              <a:gd name="T24" fmla="*/ 147 w 150"/>
              <a:gd name="T25" fmla="*/ 82 h 279"/>
              <a:gd name="T26" fmla="*/ 150 w 150"/>
              <a:gd name="T27" fmla="*/ 69 h 279"/>
              <a:gd name="T28" fmla="*/ 144 w 150"/>
              <a:gd name="T29" fmla="*/ 57 h 279"/>
              <a:gd name="T30" fmla="*/ 147 w 150"/>
              <a:gd name="T31" fmla="*/ 41 h 279"/>
              <a:gd name="T32" fmla="*/ 141 w 150"/>
              <a:gd name="T33" fmla="*/ 16 h 279"/>
              <a:gd name="T34" fmla="*/ 132 w 150"/>
              <a:gd name="T35" fmla="*/ 7 h 279"/>
              <a:gd name="T36" fmla="*/ 129 w 150"/>
              <a:gd name="T37" fmla="*/ 7 h 279"/>
              <a:gd name="T38" fmla="*/ 125 w 150"/>
              <a:gd name="T39" fmla="*/ 10 h 279"/>
              <a:gd name="T40" fmla="*/ 122 w 150"/>
              <a:gd name="T41" fmla="*/ 22 h 279"/>
              <a:gd name="T42" fmla="*/ 113 w 150"/>
              <a:gd name="T43" fmla="*/ 35 h 279"/>
              <a:gd name="T44" fmla="*/ 110 w 150"/>
              <a:gd name="T45" fmla="*/ 32 h 279"/>
              <a:gd name="T46" fmla="*/ 107 w 150"/>
              <a:gd name="T47" fmla="*/ 44 h 279"/>
              <a:gd name="T48" fmla="*/ 100 w 150"/>
              <a:gd name="T49" fmla="*/ 47 h 279"/>
              <a:gd name="T50" fmla="*/ 104 w 150"/>
              <a:gd name="T51" fmla="*/ 57 h 279"/>
              <a:gd name="T52" fmla="*/ 94 w 150"/>
              <a:gd name="T53" fmla="*/ 63 h 279"/>
              <a:gd name="T54" fmla="*/ 91 w 150"/>
              <a:gd name="T55" fmla="*/ 57 h 279"/>
              <a:gd name="T56" fmla="*/ 88 w 150"/>
              <a:gd name="T57" fmla="*/ 66 h 279"/>
              <a:gd name="T58" fmla="*/ 85 w 150"/>
              <a:gd name="T59" fmla="*/ 72 h 279"/>
              <a:gd name="T60" fmla="*/ 82 w 150"/>
              <a:gd name="T61" fmla="*/ 66 h 279"/>
              <a:gd name="T62" fmla="*/ 75 w 150"/>
              <a:gd name="T63" fmla="*/ 82 h 279"/>
              <a:gd name="T64" fmla="*/ 69 w 150"/>
              <a:gd name="T65" fmla="*/ 72 h 279"/>
              <a:gd name="T66" fmla="*/ 57 w 150"/>
              <a:gd name="T67" fmla="*/ 75 h 279"/>
              <a:gd name="T68" fmla="*/ 54 w 150"/>
              <a:gd name="T69" fmla="*/ 79 h 279"/>
              <a:gd name="T70" fmla="*/ 41 w 150"/>
              <a:gd name="T71" fmla="*/ 85 h 279"/>
              <a:gd name="T72" fmla="*/ 32 w 150"/>
              <a:gd name="T73" fmla="*/ 88 h 279"/>
              <a:gd name="T74" fmla="*/ 19 w 150"/>
              <a:gd name="T75" fmla="*/ 110 h 279"/>
              <a:gd name="T76" fmla="*/ 22 w 150"/>
              <a:gd name="T77" fmla="*/ 125 h 279"/>
              <a:gd name="T78" fmla="*/ 32 w 150"/>
              <a:gd name="T79" fmla="*/ 147 h 279"/>
              <a:gd name="T80" fmla="*/ 29 w 150"/>
              <a:gd name="T81" fmla="*/ 163 h 279"/>
              <a:gd name="T82" fmla="*/ 19 w 150"/>
              <a:gd name="T83" fmla="*/ 175 h 279"/>
              <a:gd name="T84" fmla="*/ 7 w 150"/>
              <a:gd name="T85" fmla="*/ 188 h 279"/>
              <a:gd name="T86" fmla="*/ 0 w 150"/>
              <a:gd name="T87" fmla="*/ 207 h 279"/>
              <a:gd name="T88" fmla="*/ 7 w 150"/>
              <a:gd name="T89" fmla="*/ 226 h 279"/>
              <a:gd name="T90" fmla="*/ 10 w 150"/>
              <a:gd name="T91" fmla="*/ 232 h 279"/>
              <a:gd name="T92" fmla="*/ 7 w 150"/>
              <a:gd name="T93" fmla="*/ 244 h 279"/>
              <a:gd name="T94" fmla="*/ 10 w 150"/>
              <a:gd name="T95" fmla="*/ 260 h 279"/>
              <a:gd name="T96" fmla="*/ 19 w 150"/>
              <a:gd name="T97" fmla="*/ 269 h 279"/>
              <a:gd name="T98" fmla="*/ 29 w 150"/>
              <a:gd name="T99" fmla="*/ 276 h 279"/>
              <a:gd name="T100" fmla="*/ 32 w 150"/>
              <a:gd name="T101" fmla="*/ 279 h 279"/>
              <a:gd name="T102" fmla="*/ 119 w 150"/>
              <a:gd name="T103" fmla="*/ 16 h 279"/>
              <a:gd name="T104" fmla="*/ 116 w 150"/>
              <a:gd name="T105" fmla="*/ 25 h 279"/>
              <a:gd name="T106" fmla="*/ 116 w 150"/>
              <a:gd name="T107" fmla="*/ 25 h 279"/>
              <a:gd name="T108" fmla="*/ 113 w 150"/>
              <a:gd name="T109" fmla="*/ 25 h 279"/>
              <a:gd name="T110" fmla="*/ 110 w 150"/>
              <a:gd name="T111" fmla="*/ 25 h 279"/>
              <a:gd name="T112" fmla="*/ 138 w 150"/>
              <a:gd name="T113" fmla="*/ 97 h 279"/>
              <a:gd name="T114" fmla="*/ 141 w 150"/>
              <a:gd name="T115" fmla="*/ 9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279">
                <a:moveTo>
                  <a:pt x="32" y="279"/>
                </a:moveTo>
                <a:lnTo>
                  <a:pt x="35" y="276"/>
                </a:lnTo>
                <a:lnTo>
                  <a:pt x="38" y="279"/>
                </a:lnTo>
                <a:lnTo>
                  <a:pt x="44" y="276"/>
                </a:lnTo>
                <a:lnTo>
                  <a:pt x="47" y="269"/>
                </a:lnTo>
                <a:lnTo>
                  <a:pt x="60" y="269"/>
                </a:lnTo>
                <a:lnTo>
                  <a:pt x="63" y="269"/>
                </a:lnTo>
                <a:lnTo>
                  <a:pt x="69" y="266"/>
                </a:lnTo>
                <a:lnTo>
                  <a:pt x="72" y="263"/>
                </a:lnTo>
                <a:lnTo>
                  <a:pt x="75" y="263"/>
                </a:lnTo>
                <a:lnTo>
                  <a:pt x="75" y="257"/>
                </a:lnTo>
                <a:lnTo>
                  <a:pt x="79" y="254"/>
                </a:lnTo>
                <a:lnTo>
                  <a:pt x="82" y="247"/>
                </a:lnTo>
                <a:lnTo>
                  <a:pt x="85" y="247"/>
                </a:lnTo>
                <a:lnTo>
                  <a:pt x="85" y="241"/>
                </a:lnTo>
                <a:lnTo>
                  <a:pt x="82" y="238"/>
                </a:lnTo>
                <a:lnTo>
                  <a:pt x="85" y="238"/>
                </a:lnTo>
                <a:lnTo>
                  <a:pt x="88" y="232"/>
                </a:lnTo>
                <a:lnTo>
                  <a:pt x="88" y="229"/>
                </a:lnTo>
                <a:lnTo>
                  <a:pt x="88" y="229"/>
                </a:lnTo>
                <a:lnTo>
                  <a:pt x="91" y="226"/>
                </a:lnTo>
                <a:lnTo>
                  <a:pt x="94" y="210"/>
                </a:lnTo>
                <a:lnTo>
                  <a:pt x="97" y="204"/>
                </a:lnTo>
                <a:lnTo>
                  <a:pt x="100" y="201"/>
                </a:lnTo>
                <a:lnTo>
                  <a:pt x="100" y="191"/>
                </a:lnTo>
                <a:lnTo>
                  <a:pt x="107" y="182"/>
                </a:lnTo>
                <a:lnTo>
                  <a:pt x="113" y="166"/>
                </a:lnTo>
                <a:lnTo>
                  <a:pt x="116" y="163"/>
                </a:lnTo>
                <a:lnTo>
                  <a:pt x="116" y="154"/>
                </a:lnTo>
                <a:lnTo>
                  <a:pt x="119" y="147"/>
                </a:lnTo>
                <a:lnTo>
                  <a:pt x="119" y="144"/>
                </a:lnTo>
                <a:lnTo>
                  <a:pt x="125" y="138"/>
                </a:lnTo>
                <a:lnTo>
                  <a:pt x="125" y="125"/>
                </a:lnTo>
                <a:lnTo>
                  <a:pt x="129" y="119"/>
                </a:lnTo>
                <a:lnTo>
                  <a:pt x="132" y="116"/>
                </a:lnTo>
                <a:lnTo>
                  <a:pt x="132" y="110"/>
                </a:lnTo>
                <a:lnTo>
                  <a:pt x="129" y="107"/>
                </a:lnTo>
                <a:lnTo>
                  <a:pt x="132" y="104"/>
                </a:lnTo>
                <a:lnTo>
                  <a:pt x="135" y="97"/>
                </a:lnTo>
                <a:lnTo>
                  <a:pt x="135" y="94"/>
                </a:lnTo>
                <a:lnTo>
                  <a:pt x="138" y="91"/>
                </a:lnTo>
                <a:lnTo>
                  <a:pt x="138" y="88"/>
                </a:lnTo>
                <a:lnTo>
                  <a:pt x="135" y="85"/>
                </a:lnTo>
                <a:lnTo>
                  <a:pt x="138" y="82"/>
                </a:lnTo>
                <a:lnTo>
                  <a:pt x="135" y="75"/>
                </a:lnTo>
                <a:lnTo>
                  <a:pt x="135" y="75"/>
                </a:lnTo>
                <a:lnTo>
                  <a:pt x="135" y="72"/>
                </a:lnTo>
                <a:lnTo>
                  <a:pt x="138" y="69"/>
                </a:lnTo>
                <a:lnTo>
                  <a:pt x="138" y="72"/>
                </a:lnTo>
                <a:lnTo>
                  <a:pt x="141" y="75"/>
                </a:lnTo>
                <a:lnTo>
                  <a:pt x="144" y="79"/>
                </a:lnTo>
                <a:lnTo>
                  <a:pt x="147" y="82"/>
                </a:lnTo>
                <a:lnTo>
                  <a:pt x="147" y="79"/>
                </a:lnTo>
                <a:lnTo>
                  <a:pt x="147" y="75"/>
                </a:lnTo>
                <a:lnTo>
                  <a:pt x="147" y="72"/>
                </a:lnTo>
                <a:lnTo>
                  <a:pt x="150" y="69"/>
                </a:lnTo>
                <a:lnTo>
                  <a:pt x="150" y="69"/>
                </a:lnTo>
                <a:lnTo>
                  <a:pt x="150" y="66"/>
                </a:lnTo>
                <a:lnTo>
                  <a:pt x="147" y="60"/>
                </a:lnTo>
                <a:lnTo>
                  <a:pt x="144" y="57"/>
                </a:lnTo>
                <a:lnTo>
                  <a:pt x="147" y="53"/>
                </a:lnTo>
                <a:lnTo>
                  <a:pt x="147" y="50"/>
                </a:lnTo>
                <a:lnTo>
                  <a:pt x="144" y="44"/>
                </a:lnTo>
                <a:lnTo>
                  <a:pt x="147" y="41"/>
                </a:lnTo>
                <a:lnTo>
                  <a:pt x="147" y="32"/>
                </a:lnTo>
                <a:lnTo>
                  <a:pt x="144" y="28"/>
                </a:lnTo>
                <a:lnTo>
                  <a:pt x="144" y="19"/>
                </a:lnTo>
                <a:lnTo>
                  <a:pt x="141" y="16"/>
                </a:lnTo>
                <a:lnTo>
                  <a:pt x="141" y="16"/>
                </a:lnTo>
                <a:lnTo>
                  <a:pt x="138" y="13"/>
                </a:lnTo>
                <a:lnTo>
                  <a:pt x="135" y="10"/>
                </a:lnTo>
                <a:lnTo>
                  <a:pt x="132" y="7"/>
                </a:lnTo>
                <a:lnTo>
                  <a:pt x="135" y="3"/>
                </a:lnTo>
                <a:lnTo>
                  <a:pt x="135" y="0"/>
                </a:lnTo>
                <a:lnTo>
                  <a:pt x="129" y="3"/>
                </a:lnTo>
                <a:lnTo>
                  <a:pt x="129" y="7"/>
                </a:lnTo>
                <a:lnTo>
                  <a:pt x="125" y="10"/>
                </a:lnTo>
                <a:lnTo>
                  <a:pt x="122" y="7"/>
                </a:lnTo>
                <a:lnTo>
                  <a:pt x="122" y="7"/>
                </a:lnTo>
                <a:lnTo>
                  <a:pt x="125" y="10"/>
                </a:lnTo>
                <a:lnTo>
                  <a:pt x="125" y="13"/>
                </a:lnTo>
                <a:lnTo>
                  <a:pt x="125" y="16"/>
                </a:lnTo>
                <a:lnTo>
                  <a:pt x="125" y="16"/>
                </a:lnTo>
                <a:lnTo>
                  <a:pt x="122" y="22"/>
                </a:lnTo>
                <a:lnTo>
                  <a:pt x="122" y="25"/>
                </a:lnTo>
                <a:lnTo>
                  <a:pt x="119" y="32"/>
                </a:lnTo>
                <a:lnTo>
                  <a:pt x="116" y="28"/>
                </a:lnTo>
                <a:lnTo>
                  <a:pt x="113" y="35"/>
                </a:lnTo>
                <a:lnTo>
                  <a:pt x="113" y="38"/>
                </a:lnTo>
                <a:lnTo>
                  <a:pt x="110" y="38"/>
                </a:lnTo>
                <a:lnTo>
                  <a:pt x="110" y="38"/>
                </a:lnTo>
                <a:lnTo>
                  <a:pt x="110" y="32"/>
                </a:lnTo>
                <a:lnTo>
                  <a:pt x="107" y="32"/>
                </a:lnTo>
                <a:lnTo>
                  <a:pt x="104" y="35"/>
                </a:lnTo>
                <a:lnTo>
                  <a:pt x="104" y="38"/>
                </a:lnTo>
                <a:lnTo>
                  <a:pt x="107" y="44"/>
                </a:lnTo>
                <a:lnTo>
                  <a:pt x="110" y="44"/>
                </a:lnTo>
                <a:lnTo>
                  <a:pt x="107" y="47"/>
                </a:lnTo>
                <a:lnTo>
                  <a:pt x="107" y="44"/>
                </a:lnTo>
                <a:lnTo>
                  <a:pt x="100" y="47"/>
                </a:lnTo>
                <a:lnTo>
                  <a:pt x="104" y="50"/>
                </a:lnTo>
                <a:lnTo>
                  <a:pt x="107" y="50"/>
                </a:lnTo>
                <a:lnTo>
                  <a:pt x="107" y="53"/>
                </a:lnTo>
                <a:lnTo>
                  <a:pt x="104" y="57"/>
                </a:lnTo>
                <a:lnTo>
                  <a:pt x="104" y="53"/>
                </a:lnTo>
                <a:lnTo>
                  <a:pt x="100" y="53"/>
                </a:lnTo>
                <a:lnTo>
                  <a:pt x="100" y="57"/>
                </a:lnTo>
                <a:lnTo>
                  <a:pt x="94" y="63"/>
                </a:lnTo>
                <a:lnTo>
                  <a:pt x="94" y="57"/>
                </a:lnTo>
                <a:lnTo>
                  <a:pt x="94" y="57"/>
                </a:lnTo>
                <a:lnTo>
                  <a:pt x="94" y="53"/>
                </a:lnTo>
                <a:lnTo>
                  <a:pt x="91" y="57"/>
                </a:lnTo>
                <a:lnTo>
                  <a:pt x="91" y="60"/>
                </a:lnTo>
                <a:lnTo>
                  <a:pt x="91" y="60"/>
                </a:lnTo>
                <a:lnTo>
                  <a:pt x="88" y="63"/>
                </a:lnTo>
                <a:lnTo>
                  <a:pt x="88" y="66"/>
                </a:lnTo>
                <a:lnTo>
                  <a:pt x="91" y="66"/>
                </a:lnTo>
                <a:lnTo>
                  <a:pt x="91" y="69"/>
                </a:lnTo>
                <a:lnTo>
                  <a:pt x="88" y="69"/>
                </a:lnTo>
                <a:lnTo>
                  <a:pt x="85" y="72"/>
                </a:lnTo>
                <a:lnTo>
                  <a:pt x="85" y="69"/>
                </a:lnTo>
                <a:lnTo>
                  <a:pt x="82" y="69"/>
                </a:lnTo>
                <a:lnTo>
                  <a:pt x="85" y="66"/>
                </a:lnTo>
                <a:lnTo>
                  <a:pt x="82" y="66"/>
                </a:lnTo>
                <a:lnTo>
                  <a:pt x="75" y="72"/>
                </a:lnTo>
                <a:lnTo>
                  <a:pt x="75" y="75"/>
                </a:lnTo>
                <a:lnTo>
                  <a:pt x="75" y="79"/>
                </a:lnTo>
                <a:lnTo>
                  <a:pt x="75" y="82"/>
                </a:lnTo>
                <a:lnTo>
                  <a:pt x="72" y="82"/>
                </a:lnTo>
                <a:lnTo>
                  <a:pt x="69" y="79"/>
                </a:lnTo>
                <a:lnTo>
                  <a:pt x="69" y="75"/>
                </a:lnTo>
                <a:lnTo>
                  <a:pt x="69" y="72"/>
                </a:lnTo>
                <a:lnTo>
                  <a:pt x="63" y="79"/>
                </a:lnTo>
                <a:lnTo>
                  <a:pt x="60" y="75"/>
                </a:lnTo>
                <a:lnTo>
                  <a:pt x="57" y="75"/>
                </a:lnTo>
                <a:lnTo>
                  <a:pt x="57" y="75"/>
                </a:lnTo>
                <a:lnTo>
                  <a:pt x="57" y="82"/>
                </a:lnTo>
                <a:lnTo>
                  <a:pt x="57" y="82"/>
                </a:lnTo>
                <a:lnTo>
                  <a:pt x="54" y="82"/>
                </a:lnTo>
                <a:lnTo>
                  <a:pt x="54" y="79"/>
                </a:lnTo>
                <a:lnTo>
                  <a:pt x="50" y="79"/>
                </a:lnTo>
                <a:lnTo>
                  <a:pt x="50" y="82"/>
                </a:lnTo>
                <a:lnTo>
                  <a:pt x="47" y="79"/>
                </a:lnTo>
                <a:lnTo>
                  <a:pt x="41" y="85"/>
                </a:lnTo>
                <a:lnTo>
                  <a:pt x="38" y="85"/>
                </a:lnTo>
                <a:lnTo>
                  <a:pt x="35" y="85"/>
                </a:lnTo>
                <a:lnTo>
                  <a:pt x="32" y="85"/>
                </a:lnTo>
                <a:lnTo>
                  <a:pt x="32" y="88"/>
                </a:lnTo>
                <a:lnTo>
                  <a:pt x="32" y="94"/>
                </a:lnTo>
                <a:lnTo>
                  <a:pt x="25" y="104"/>
                </a:lnTo>
                <a:lnTo>
                  <a:pt x="25" y="104"/>
                </a:lnTo>
                <a:lnTo>
                  <a:pt x="19" y="110"/>
                </a:lnTo>
                <a:lnTo>
                  <a:pt x="19" y="113"/>
                </a:lnTo>
                <a:lnTo>
                  <a:pt x="22" y="116"/>
                </a:lnTo>
                <a:lnTo>
                  <a:pt x="19" y="119"/>
                </a:lnTo>
                <a:lnTo>
                  <a:pt x="22" y="125"/>
                </a:lnTo>
                <a:lnTo>
                  <a:pt x="22" y="129"/>
                </a:lnTo>
                <a:lnTo>
                  <a:pt x="29" y="141"/>
                </a:lnTo>
                <a:lnTo>
                  <a:pt x="29" y="144"/>
                </a:lnTo>
                <a:lnTo>
                  <a:pt x="32" y="147"/>
                </a:lnTo>
                <a:lnTo>
                  <a:pt x="32" y="147"/>
                </a:lnTo>
                <a:lnTo>
                  <a:pt x="29" y="150"/>
                </a:lnTo>
                <a:lnTo>
                  <a:pt x="29" y="154"/>
                </a:lnTo>
                <a:lnTo>
                  <a:pt x="29" y="163"/>
                </a:lnTo>
                <a:lnTo>
                  <a:pt x="22" y="166"/>
                </a:lnTo>
                <a:lnTo>
                  <a:pt x="22" y="169"/>
                </a:lnTo>
                <a:lnTo>
                  <a:pt x="19" y="169"/>
                </a:lnTo>
                <a:lnTo>
                  <a:pt x="19" y="175"/>
                </a:lnTo>
                <a:lnTo>
                  <a:pt x="16" y="175"/>
                </a:lnTo>
                <a:lnTo>
                  <a:pt x="16" y="185"/>
                </a:lnTo>
                <a:lnTo>
                  <a:pt x="13" y="188"/>
                </a:lnTo>
                <a:lnTo>
                  <a:pt x="7" y="188"/>
                </a:lnTo>
                <a:lnTo>
                  <a:pt x="7" y="191"/>
                </a:lnTo>
                <a:lnTo>
                  <a:pt x="7" y="197"/>
                </a:lnTo>
                <a:lnTo>
                  <a:pt x="0" y="201"/>
                </a:lnTo>
                <a:lnTo>
                  <a:pt x="0" y="207"/>
                </a:lnTo>
                <a:lnTo>
                  <a:pt x="0" y="210"/>
                </a:lnTo>
                <a:lnTo>
                  <a:pt x="0" y="213"/>
                </a:lnTo>
                <a:lnTo>
                  <a:pt x="0" y="219"/>
                </a:lnTo>
                <a:lnTo>
                  <a:pt x="7" y="226"/>
                </a:lnTo>
                <a:lnTo>
                  <a:pt x="7" y="229"/>
                </a:lnTo>
                <a:lnTo>
                  <a:pt x="7" y="232"/>
                </a:lnTo>
                <a:lnTo>
                  <a:pt x="10" y="232"/>
                </a:lnTo>
                <a:lnTo>
                  <a:pt x="10" y="232"/>
                </a:lnTo>
                <a:lnTo>
                  <a:pt x="10" y="235"/>
                </a:lnTo>
                <a:lnTo>
                  <a:pt x="7" y="235"/>
                </a:lnTo>
                <a:lnTo>
                  <a:pt x="7" y="238"/>
                </a:lnTo>
                <a:lnTo>
                  <a:pt x="7" y="244"/>
                </a:lnTo>
                <a:lnTo>
                  <a:pt x="7" y="254"/>
                </a:lnTo>
                <a:lnTo>
                  <a:pt x="7" y="254"/>
                </a:lnTo>
                <a:lnTo>
                  <a:pt x="7" y="257"/>
                </a:lnTo>
                <a:lnTo>
                  <a:pt x="10" y="260"/>
                </a:lnTo>
                <a:lnTo>
                  <a:pt x="13" y="263"/>
                </a:lnTo>
                <a:lnTo>
                  <a:pt x="13" y="263"/>
                </a:lnTo>
                <a:lnTo>
                  <a:pt x="16" y="266"/>
                </a:lnTo>
                <a:lnTo>
                  <a:pt x="19" y="269"/>
                </a:lnTo>
                <a:lnTo>
                  <a:pt x="22" y="269"/>
                </a:lnTo>
                <a:lnTo>
                  <a:pt x="22" y="269"/>
                </a:lnTo>
                <a:lnTo>
                  <a:pt x="25" y="272"/>
                </a:lnTo>
                <a:lnTo>
                  <a:pt x="29" y="276"/>
                </a:lnTo>
                <a:lnTo>
                  <a:pt x="32" y="276"/>
                </a:lnTo>
                <a:lnTo>
                  <a:pt x="32" y="279"/>
                </a:lnTo>
                <a:lnTo>
                  <a:pt x="32" y="279"/>
                </a:lnTo>
                <a:lnTo>
                  <a:pt x="32" y="279"/>
                </a:lnTo>
                <a:close/>
                <a:moveTo>
                  <a:pt x="119" y="19"/>
                </a:moveTo>
                <a:lnTo>
                  <a:pt x="116" y="19"/>
                </a:lnTo>
                <a:lnTo>
                  <a:pt x="119" y="16"/>
                </a:lnTo>
                <a:lnTo>
                  <a:pt x="119" y="16"/>
                </a:lnTo>
                <a:lnTo>
                  <a:pt x="119" y="19"/>
                </a:lnTo>
                <a:lnTo>
                  <a:pt x="119" y="19"/>
                </a:lnTo>
                <a:close/>
                <a:moveTo>
                  <a:pt x="116" y="25"/>
                </a:moveTo>
                <a:lnTo>
                  <a:pt x="116" y="25"/>
                </a:lnTo>
                <a:lnTo>
                  <a:pt x="119" y="25"/>
                </a:lnTo>
                <a:lnTo>
                  <a:pt x="116" y="28"/>
                </a:lnTo>
                <a:lnTo>
                  <a:pt x="116" y="25"/>
                </a:lnTo>
                <a:lnTo>
                  <a:pt x="116" y="25"/>
                </a:lnTo>
                <a:close/>
                <a:moveTo>
                  <a:pt x="110" y="25"/>
                </a:moveTo>
                <a:lnTo>
                  <a:pt x="110" y="25"/>
                </a:lnTo>
                <a:lnTo>
                  <a:pt x="113" y="25"/>
                </a:lnTo>
                <a:lnTo>
                  <a:pt x="113" y="25"/>
                </a:lnTo>
                <a:lnTo>
                  <a:pt x="113" y="28"/>
                </a:lnTo>
                <a:lnTo>
                  <a:pt x="110" y="28"/>
                </a:lnTo>
                <a:lnTo>
                  <a:pt x="110" y="28"/>
                </a:lnTo>
                <a:lnTo>
                  <a:pt x="110" y="25"/>
                </a:lnTo>
                <a:lnTo>
                  <a:pt x="110" y="25"/>
                </a:lnTo>
                <a:close/>
                <a:moveTo>
                  <a:pt x="138" y="104"/>
                </a:moveTo>
                <a:lnTo>
                  <a:pt x="138" y="100"/>
                </a:lnTo>
                <a:lnTo>
                  <a:pt x="138" y="97"/>
                </a:lnTo>
                <a:lnTo>
                  <a:pt x="138" y="97"/>
                </a:lnTo>
                <a:lnTo>
                  <a:pt x="141" y="97"/>
                </a:lnTo>
                <a:lnTo>
                  <a:pt x="141" y="94"/>
                </a:lnTo>
                <a:lnTo>
                  <a:pt x="141" y="97"/>
                </a:lnTo>
                <a:lnTo>
                  <a:pt x="138" y="100"/>
                </a:lnTo>
                <a:lnTo>
                  <a:pt x="138" y="10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8" name="Freeform 156">
            <a:extLst>
              <a:ext uri="{FF2B5EF4-FFF2-40B4-BE49-F238E27FC236}">
                <a16:creationId xmlns:a16="http://schemas.microsoft.com/office/drawing/2014/main" id="{73AFB262-E2F2-F8A6-EEF2-6243BEC4798F}"/>
              </a:ext>
            </a:extLst>
          </p:cNvPr>
          <p:cNvSpPr>
            <a:spLocks/>
          </p:cNvSpPr>
          <p:nvPr userDrawn="1"/>
        </p:nvSpPr>
        <p:spPr bwMode="auto">
          <a:xfrm>
            <a:off x="15045346" y="10041805"/>
            <a:ext cx="644484" cy="1054102"/>
          </a:xfrm>
          <a:custGeom>
            <a:avLst/>
            <a:gdLst>
              <a:gd name="T0" fmla="*/ 34 w 203"/>
              <a:gd name="T1" fmla="*/ 206 h 332"/>
              <a:gd name="T2" fmla="*/ 40 w 203"/>
              <a:gd name="T3" fmla="*/ 194 h 332"/>
              <a:gd name="T4" fmla="*/ 43 w 203"/>
              <a:gd name="T5" fmla="*/ 181 h 332"/>
              <a:gd name="T6" fmla="*/ 43 w 203"/>
              <a:gd name="T7" fmla="*/ 169 h 332"/>
              <a:gd name="T8" fmla="*/ 43 w 203"/>
              <a:gd name="T9" fmla="*/ 156 h 332"/>
              <a:gd name="T10" fmla="*/ 47 w 203"/>
              <a:gd name="T11" fmla="*/ 141 h 332"/>
              <a:gd name="T12" fmla="*/ 50 w 203"/>
              <a:gd name="T13" fmla="*/ 128 h 332"/>
              <a:gd name="T14" fmla="*/ 28 w 203"/>
              <a:gd name="T15" fmla="*/ 119 h 332"/>
              <a:gd name="T16" fmla="*/ 12 w 203"/>
              <a:gd name="T17" fmla="*/ 113 h 332"/>
              <a:gd name="T18" fmla="*/ 0 w 203"/>
              <a:gd name="T19" fmla="*/ 97 h 332"/>
              <a:gd name="T20" fmla="*/ 34 w 203"/>
              <a:gd name="T21" fmla="*/ 78 h 332"/>
              <a:gd name="T22" fmla="*/ 59 w 203"/>
              <a:gd name="T23" fmla="*/ 75 h 332"/>
              <a:gd name="T24" fmla="*/ 68 w 203"/>
              <a:gd name="T25" fmla="*/ 81 h 332"/>
              <a:gd name="T26" fmla="*/ 81 w 203"/>
              <a:gd name="T27" fmla="*/ 88 h 332"/>
              <a:gd name="T28" fmla="*/ 75 w 203"/>
              <a:gd name="T29" fmla="*/ 110 h 332"/>
              <a:gd name="T30" fmla="*/ 87 w 203"/>
              <a:gd name="T31" fmla="*/ 125 h 332"/>
              <a:gd name="T32" fmla="*/ 93 w 203"/>
              <a:gd name="T33" fmla="*/ 135 h 332"/>
              <a:gd name="T34" fmla="*/ 97 w 203"/>
              <a:gd name="T35" fmla="*/ 113 h 332"/>
              <a:gd name="T36" fmla="*/ 103 w 203"/>
              <a:gd name="T37" fmla="*/ 97 h 332"/>
              <a:gd name="T38" fmla="*/ 106 w 203"/>
              <a:gd name="T39" fmla="*/ 91 h 332"/>
              <a:gd name="T40" fmla="*/ 103 w 203"/>
              <a:gd name="T41" fmla="*/ 75 h 332"/>
              <a:gd name="T42" fmla="*/ 87 w 203"/>
              <a:gd name="T43" fmla="*/ 59 h 332"/>
              <a:gd name="T44" fmla="*/ 106 w 203"/>
              <a:gd name="T45" fmla="*/ 19 h 332"/>
              <a:gd name="T46" fmla="*/ 115 w 203"/>
              <a:gd name="T47" fmla="*/ 22 h 332"/>
              <a:gd name="T48" fmla="*/ 128 w 203"/>
              <a:gd name="T49" fmla="*/ 22 h 332"/>
              <a:gd name="T50" fmla="*/ 137 w 203"/>
              <a:gd name="T51" fmla="*/ 22 h 332"/>
              <a:gd name="T52" fmla="*/ 150 w 203"/>
              <a:gd name="T53" fmla="*/ 16 h 332"/>
              <a:gd name="T54" fmla="*/ 162 w 203"/>
              <a:gd name="T55" fmla="*/ 16 h 332"/>
              <a:gd name="T56" fmla="*/ 181 w 203"/>
              <a:gd name="T57" fmla="*/ 13 h 332"/>
              <a:gd name="T58" fmla="*/ 197 w 203"/>
              <a:gd name="T59" fmla="*/ 3 h 332"/>
              <a:gd name="T60" fmla="*/ 203 w 203"/>
              <a:gd name="T61" fmla="*/ 6 h 332"/>
              <a:gd name="T62" fmla="*/ 200 w 203"/>
              <a:gd name="T63" fmla="*/ 19 h 332"/>
              <a:gd name="T64" fmla="*/ 200 w 203"/>
              <a:gd name="T65" fmla="*/ 34 h 332"/>
              <a:gd name="T66" fmla="*/ 200 w 203"/>
              <a:gd name="T67" fmla="*/ 53 h 332"/>
              <a:gd name="T68" fmla="*/ 197 w 203"/>
              <a:gd name="T69" fmla="*/ 72 h 332"/>
              <a:gd name="T70" fmla="*/ 203 w 203"/>
              <a:gd name="T71" fmla="*/ 84 h 332"/>
              <a:gd name="T72" fmla="*/ 197 w 203"/>
              <a:gd name="T73" fmla="*/ 91 h 332"/>
              <a:gd name="T74" fmla="*/ 197 w 203"/>
              <a:gd name="T75" fmla="*/ 97 h 332"/>
              <a:gd name="T76" fmla="*/ 184 w 203"/>
              <a:gd name="T77" fmla="*/ 116 h 332"/>
              <a:gd name="T78" fmla="*/ 165 w 203"/>
              <a:gd name="T79" fmla="*/ 128 h 332"/>
              <a:gd name="T80" fmla="*/ 134 w 203"/>
              <a:gd name="T81" fmla="*/ 144 h 332"/>
              <a:gd name="T82" fmla="*/ 125 w 203"/>
              <a:gd name="T83" fmla="*/ 150 h 332"/>
              <a:gd name="T84" fmla="*/ 112 w 203"/>
              <a:gd name="T85" fmla="*/ 166 h 332"/>
              <a:gd name="T86" fmla="*/ 93 w 203"/>
              <a:gd name="T87" fmla="*/ 178 h 332"/>
              <a:gd name="T88" fmla="*/ 81 w 203"/>
              <a:gd name="T89" fmla="*/ 185 h 332"/>
              <a:gd name="T90" fmla="*/ 78 w 203"/>
              <a:gd name="T91" fmla="*/ 194 h 332"/>
              <a:gd name="T92" fmla="*/ 81 w 203"/>
              <a:gd name="T93" fmla="*/ 213 h 332"/>
              <a:gd name="T94" fmla="*/ 87 w 203"/>
              <a:gd name="T95" fmla="*/ 238 h 332"/>
              <a:gd name="T96" fmla="*/ 90 w 203"/>
              <a:gd name="T97" fmla="*/ 238 h 332"/>
              <a:gd name="T98" fmla="*/ 90 w 203"/>
              <a:gd name="T99" fmla="*/ 250 h 332"/>
              <a:gd name="T100" fmla="*/ 84 w 203"/>
              <a:gd name="T101" fmla="*/ 266 h 332"/>
              <a:gd name="T102" fmla="*/ 87 w 203"/>
              <a:gd name="T103" fmla="*/ 278 h 332"/>
              <a:gd name="T104" fmla="*/ 37 w 203"/>
              <a:gd name="T105" fmla="*/ 303 h 332"/>
              <a:gd name="T106" fmla="*/ 28 w 203"/>
              <a:gd name="T107" fmla="*/ 313 h 332"/>
              <a:gd name="T108" fmla="*/ 34 w 203"/>
              <a:gd name="T109" fmla="*/ 322 h 332"/>
              <a:gd name="T110" fmla="*/ 34 w 203"/>
              <a:gd name="T111" fmla="*/ 329 h 332"/>
              <a:gd name="T112" fmla="*/ 22 w 203"/>
              <a:gd name="T113" fmla="*/ 329 h 332"/>
              <a:gd name="T114" fmla="*/ 18 w 203"/>
              <a:gd name="T115" fmla="*/ 316 h 332"/>
              <a:gd name="T116" fmla="*/ 18 w 203"/>
              <a:gd name="T117" fmla="*/ 297 h 332"/>
              <a:gd name="T118" fmla="*/ 18 w 203"/>
              <a:gd name="T119" fmla="*/ 269 h 332"/>
              <a:gd name="T120" fmla="*/ 12 w 203"/>
              <a:gd name="T121" fmla="*/ 24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3" h="332">
                <a:moveTo>
                  <a:pt x="12" y="244"/>
                </a:moveTo>
                <a:lnTo>
                  <a:pt x="34" y="222"/>
                </a:lnTo>
                <a:lnTo>
                  <a:pt x="34" y="216"/>
                </a:lnTo>
                <a:lnTo>
                  <a:pt x="34" y="213"/>
                </a:lnTo>
                <a:lnTo>
                  <a:pt x="34" y="206"/>
                </a:lnTo>
                <a:lnTo>
                  <a:pt x="37" y="203"/>
                </a:lnTo>
                <a:lnTo>
                  <a:pt x="34" y="200"/>
                </a:lnTo>
                <a:lnTo>
                  <a:pt x="37" y="197"/>
                </a:lnTo>
                <a:lnTo>
                  <a:pt x="37" y="197"/>
                </a:lnTo>
                <a:lnTo>
                  <a:pt x="40" y="194"/>
                </a:lnTo>
                <a:lnTo>
                  <a:pt x="43" y="194"/>
                </a:lnTo>
                <a:lnTo>
                  <a:pt x="47" y="188"/>
                </a:lnTo>
                <a:lnTo>
                  <a:pt x="43" y="185"/>
                </a:lnTo>
                <a:lnTo>
                  <a:pt x="43" y="185"/>
                </a:lnTo>
                <a:lnTo>
                  <a:pt x="43" y="181"/>
                </a:lnTo>
                <a:lnTo>
                  <a:pt x="43" y="178"/>
                </a:lnTo>
                <a:lnTo>
                  <a:pt x="43" y="175"/>
                </a:lnTo>
                <a:lnTo>
                  <a:pt x="40" y="172"/>
                </a:lnTo>
                <a:lnTo>
                  <a:pt x="40" y="169"/>
                </a:lnTo>
                <a:lnTo>
                  <a:pt x="43" y="169"/>
                </a:lnTo>
                <a:lnTo>
                  <a:pt x="43" y="166"/>
                </a:lnTo>
                <a:lnTo>
                  <a:pt x="43" y="163"/>
                </a:lnTo>
                <a:lnTo>
                  <a:pt x="47" y="160"/>
                </a:lnTo>
                <a:lnTo>
                  <a:pt x="47" y="156"/>
                </a:lnTo>
                <a:lnTo>
                  <a:pt x="43" y="156"/>
                </a:lnTo>
                <a:lnTo>
                  <a:pt x="43" y="156"/>
                </a:lnTo>
                <a:lnTo>
                  <a:pt x="47" y="153"/>
                </a:lnTo>
                <a:lnTo>
                  <a:pt x="47" y="147"/>
                </a:lnTo>
                <a:lnTo>
                  <a:pt x="47" y="144"/>
                </a:lnTo>
                <a:lnTo>
                  <a:pt x="47" y="141"/>
                </a:lnTo>
                <a:lnTo>
                  <a:pt x="47" y="138"/>
                </a:lnTo>
                <a:lnTo>
                  <a:pt x="47" y="138"/>
                </a:lnTo>
                <a:lnTo>
                  <a:pt x="47" y="135"/>
                </a:lnTo>
                <a:lnTo>
                  <a:pt x="50" y="131"/>
                </a:lnTo>
                <a:lnTo>
                  <a:pt x="50" y="128"/>
                </a:lnTo>
                <a:lnTo>
                  <a:pt x="43" y="125"/>
                </a:lnTo>
                <a:lnTo>
                  <a:pt x="43" y="125"/>
                </a:lnTo>
                <a:lnTo>
                  <a:pt x="37" y="122"/>
                </a:lnTo>
                <a:lnTo>
                  <a:pt x="31" y="122"/>
                </a:lnTo>
                <a:lnTo>
                  <a:pt x="28" y="119"/>
                </a:lnTo>
                <a:lnTo>
                  <a:pt x="25" y="116"/>
                </a:lnTo>
                <a:lnTo>
                  <a:pt x="18" y="113"/>
                </a:lnTo>
                <a:lnTo>
                  <a:pt x="15" y="110"/>
                </a:lnTo>
                <a:lnTo>
                  <a:pt x="12" y="113"/>
                </a:lnTo>
                <a:lnTo>
                  <a:pt x="12" y="113"/>
                </a:lnTo>
                <a:lnTo>
                  <a:pt x="9" y="113"/>
                </a:lnTo>
                <a:lnTo>
                  <a:pt x="6" y="110"/>
                </a:lnTo>
                <a:lnTo>
                  <a:pt x="0" y="110"/>
                </a:lnTo>
                <a:lnTo>
                  <a:pt x="0" y="100"/>
                </a:lnTo>
                <a:lnTo>
                  <a:pt x="0" y="97"/>
                </a:lnTo>
                <a:lnTo>
                  <a:pt x="0" y="94"/>
                </a:lnTo>
                <a:lnTo>
                  <a:pt x="9" y="88"/>
                </a:lnTo>
                <a:lnTo>
                  <a:pt x="12" y="88"/>
                </a:lnTo>
                <a:lnTo>
                  <a:pt x="31" y="81"/>
                </a:lnTo>
                <a:lnTo>
                  <a:pt x="34" y="78"/>
                </a:lnTo>
                <a:lnTo>
                  <a:pt x="47" y="75"/>
                </a:lnTo>
                <a:lnTo>
                  <a:pt x="53" y="72"/>
                </a:lnTo>
                <a:lnTo>
                  <a:pt x="59" y="72"/>
                </a:lnTo>
                <a:lnTo>
                  <a:pt x="59" y="75"/>
                </a:lnTo>
                <a:lnTo>
                  <a:pt x="59" y="75"/>
                </a:lnTo>
                <a:lnTo>
                  <a:pt x="62" y="78"/>
                </a:lnTo>
                <a:lnTo>
                  <a:pt x="62" y="81"/>
                </a:lnTo>
                <a:lnTo>
                  <a:pt x="65" y="81"/>
                </a:lnTo>
                <a:lnTo>
                  <a:pt x="65" y="81"/>
                </a:lnTo>
                <a:lnTo>
                  <a:pt x="68" y="81"/>
                </a:lnTo>
                <a:lnTo>
                  <a:pt x="72" y="78"/>
                </a:lnTo>
                <a:lnTo>
                  <a:pt x="75" y="78"/>
                </a:lnTo>
                <a:lnTo>
                  <a:pt x="81" y="81"/>
                </a:lnTo>
                <a:lnTo>
                  <a:pt x="81" y="84"/>
                </a:lnTo>
                <a:lnTo>
                  <a:pt x="81" y="88"/>
                </a:lnTo>
                <a:lnTo>
                  <a:pt x="81" y="94"/>
                </a:lnTo>
                <a:lnTo>
                  <a:pt x="78" y="97"/>
                </a:lnTo>
                <a:lnTo>
                  <a:pt x="78" y="103"/>
                </a:lnTo>
                <a:lnTo>
                  <a:pt x="75" y="106"/>
                </a:lnTo>
                <a:lnTo>
                  <a:pt x="75" y="110"/>
                </a:lnTo>
                <a:lnTo>
                  <a:pt x="75" y="113"/>
                </a:lnTo>
                <a:lnTo>
                  <a:pt x="78" y="116"/>
                </a:lnTo>
                <a:lnTo>
                  <a:pt x="81" y="122"/>
                </a:lnTo>
                <a:lnTo>
                  <a:pt x="84" y="125"/>
                </a:lnTo>
                <a:lnTo>
                  <a:pt x="87" y="125"/>
                </a:lnTo>
                <a:lnTo>
                  <a:pt x="87" y="128"/>
                </a:lnTo>
                <a:lnTo>
                  <a:pt x="90" y="131"/>
                </a:lnTo>
                <a:lnTo>
                  <a:pt x="90" y="135"/>
                </a:lnTo>
                <a:lnTo>
                  <a:pt x="90" y="135"/>
                </a:lnTo>
                <a:lnTo>
                  <a:pt x="93" y="135"/>
                </a:lnTo>
                <a:lnTo>
                  <a:pt x="93" y="131"/>
                </a:lnTo>
                <a:lnTo>
                  <a:pt x="93" y="125"/>
                </a:lnTo>
                <a:lnTo>
                  <a:pt x="97" y="122"/>
                </a:lnTo>
                <a:lnTo>
                  <a:pt x="97" y="119"/>
                </a:lnTo>
                <a:lnTo>
                  <a:pt x="97" y="113"/>
                </a:lnTo>
                <a:lnTo>
                  <a:pt x="103" y="113"/>
                </a:lnTo>
                <a:lnTo>
                  <a:pt x="106" y="110"/>
                </a:lnTo>
                <a:lnTo>
                  <a:pt x="106" y="106"/>
                </a:lnTo>
                <a:lnTo>
                  <a:pt x="106" y="100"/>
                </a:lnTo>
                <a:lnTo>
                  <a:pt x="103" y="97"/>
                </a:lnTo>
                <a:lnTo>
                  <a:pt x="106" y="97"/>
                </a:lnTo>
                <a:lnTo>
                  <a:pt x="103" y="94"/>
                </a:lnTo>
                <a:lnTo>
                  <a:pt x="103" y="94"/>
                </a:lnTo>
                <a:lnTo>
                  <a:pt x="106" y="94"/>
                </a:lnTo>
                <a:lnTo>
                  <a:pt x="106" y="91"/>
                </a:lnTo>
                <a:lnTo>
                  <a:pt x="109" y="91"/>
                </a:lnTo>
                <a:lnTo>
                  <a:pt x="109" y="88"/>
                </a:lnTo>
                <a:lnTo>
                  <a:pt x="109" y="84"/>
                </a:lnTo>
                <a:lnTo>
                  <a:pt x="106" y="81"/>
                </a:lnTo>
                <a:lnTo>
                  <a:pt x="103" y="75"/>
                </a:lnTo>
                <a:lnTo>
                  <a:pt x="100" y="72"/>
                </a:lnTo>
                <a:lnTo>
                  <a:pt x="93" y="66"/>
                </a:lnTo>
                <a:lnTo>
                  <a:pt x="93" y="66"/>
                </a:lnTo>
                <a:lnTo>
                  <a:pt x="90" y="63"/>
                </a:lnTo>
                <a:lnTo>
                  <a:pt x="87" y="59"/>
                </a:lnTo>
                <a:lnTo>
                  <a:pt x="81" y="56"/>
                </a:lnTo>
                <a:lnTo>
                  <a:pt x="78" y="38"/>
                </a:lnTo>
                <a:lnTo>
                  <a:pt x="84" y="22"/>
                </a:lnTo>
                <a:lnTo>
                  <a:pt x="103" y="22"/>
                </a:lnTo>
                <a:lnTo>
                  <a:pt x="106" y="19"/>
                </a:lnTo>
                <a:lnTo>
                  <a:pt x="106" y="19"/>
                </a:lnTo>
                <a:lnTo>
                  <a:pt x="109" y="19"/>
                </a:lnTo>
                <a:lnTo>
                  <a:pt x="109" y="19"/>
                </a:lnTo>
                <a:lnTo>
                  <a:pt x="112" y="19"/>
                </a:lnTo>
                <a:lnTo>
                  <a:pt x="115" y="22"/>
                </a:lnTo>
                <a:lnTo>
                  <a:pt x="115" y="22"/>
                </a:lnTo>
                <a:lnTo>
                  <a:pt x="119" y="25"/>
                </a:lnTo>
                <a:lnTo>
                  <a:pt x="119" y="25"/>
                </a:lnTo>
                <a:lnTo>
                  <a:pt x="125" y="25"/>
                </a:lnTo>
                <a:lnTo>
                  <a:pt x="128" y="22"/>
                </a:lnTo>
                <a:lnTo>
                  <a:pt x="131" y="22"/>
                </a:lnTo>
                <a:lnTo>
                  <a:pt x="131" y="19"/>
                </a:lnTo>
                <a:lnTo>
                  <a:pt x="134" y="22"/>
                </a:lnTo>
                <a:lnTo>
                  <a:pt x="134" y="22"/>
                </a:lnTo>
                <a:lnTo>
                  <a:pt x="137" y="22"/>
                </a:lnTo>
                <a:lnTo>
                  <a:pt x="140" y="22"/>
                </a:lnTo>
                <a:lnTo>
                  <a:pt x="144" y="22"/>
                </a:lnTo>
                <a:lnTo>
                  <a:pt x="150" y="22"/>
                </a:lnTo>
                <a:lnTo>
                  <a:pt x="150" y="19"/>
                </a:lnTo>
                <a:lnTo>
                  <a:pt x="150" y="16"/>
                </a:lnTo>
                <a:lnTo>
                  <a:pt x="150" y="16"/>
                </a:lnTo>
                <a:lnTo>
                  <a:pt x="153" y="16"/>
                </a:lnTo>
                <a:lnTo>
                  <a:pt x="156" y="16"/>
                </a:lnTo>
                <a:lnTo>
                  <a:pt x="159" y="19"/>
                </a:lnTo>
                <a:lnTo>
                  <a:pt x="162" y="16"/>
                </a:lnTo>
                <a:lnTo>
                  <a:pt x="165" y="16"/>
                </a:lnTo>
                <a:lnTo>
                  <a:pt x="172" y="13"/>
                </a:lnTo>
                <a:lnTo>
                  <a:pt x="175" y="16"/>
                </a:lnTo>
                <a:lnTo>
                  <a:pt x="178" y="13"/>
                </a:lnTo>
                <a:lnTo>
                  <a:pt x="181" y="13"/>
                </a:lnTo>
                <a:lnTo>
                  <a:pt x="184" y="13"/>
                </a:lnTo>
                <a:lnTo>
                  <a:pt x="187" y="9"/>
                </a:lnTo>
                <a:lnTo>
                  <a:pt x="190" y="6"/>
                </a:lnTo>
                <a:lnTo>
                  <a:pt x="194" y="6"/>
                </a:lnTo>
                <a:lnTo>
                  <a:pt x="197" y="3"/>
                </a:lnTo>
                <a:lnTo>
                  <a:pt x="200" y="3"/>
                </a:lnTo>
                <a:lnTo>
                  <a:pt x="203" y="0"/>
                </a:lnTo>
                <a:lnTo>
                  <a:pt x="203" y="0"/>
                </a:lnTo>
                <a:lnTo>
                  <a:pt x="203" y="3"/>
                </a:lnTo>
                <a:lnTo>
                  <a:pt x="203" y="6"/>
                </a:lnTo>
                <a:lnTo>
                  <a:pt x="203" y="9"/>
                </a:lnTo>
                <a:lnTo>
                  <a:pt x="203" y="9"/>
                </a:lnTo>
                <a:lnTo>
                  <a:pt x="200" y="16"/>
                </a:lnTo>
                <a:lnTo>
                  <a:pt x="200" y="19"/>
                </a:lnTo>
                <a:lnTo>
                  <a:pt x="200" y="19"/>
                </a:lnTo>
                <a:lnTo>
                  <a:pt x="200" y="19"/>
                </a:lnTo>
                <a:lnTo>
                  <a:pt x="197" y="22"/>
                </a:lnTo>
                <a:lnTo>
                  <a:pt x="200" y="28"/>
                </a:lnTo>
                <a:lnTo>
                  <a:pt x="200" y="31"/>
                </a:lnTo>
                <a:lnTo>
                  <a:pt x="200" y="34"/>
                </a:lnTo>
                <a:lnTo>
                  <a:pt x="200" y="38"/>
                </a:lnTo>
                <a:lnTo>
                  <a:pt x="200" y="41"/>
                </a:lnTo>
                <a:lnTo>
                  <a:pt x="203" y="44"/>
                </a:lnTo>
                <a:lnTo>
                  <a:pt x="200" y="47"/>
                </a:lnTo>
                <a:lnTo>
                  <a:pt x="200" y="53"/>
                </a:lnTo>
                <a:lnTo>
                  <a:pt x="200" y="63"/>
                </a:lnTo>
                <a:lnTo>
                  <a:pt x="197" y="63"/>
                </a:lnTo>
                <a:lnTo>
                  <a:pt x="200" y="63"/>
                </a:lnTo>
                <a:lnTo>
                  <a:pt x="200" y="72"/>
                </a:lnTo>
                <a:lnTo>
                  <a:pt x="197" y="72"/>
                </a:lnTo>
                <a:lnTo>
                  <a:pt x="197" y="75"/>
                </a:lnTo>
                <a:lnTo>
                  <a:pt x="197" y="75"/>
                </a:lnTo>
                <a:lnTo>
                  <a:pt x="200" y="75"/>
                </a:lnTo>
                <a:lnTo>
                  <a:pt x="203" y="75"/>
                </a:lnTo>
                <a:lnTo>
                  <a:pt x="203" y="84"/>
                </a:lnTo>
                <a:lnTo>
                  <a:pt x="200" y="88"/>
                </a:lnTo>
                <a:lnTo>
                  <a:pt x="200" y="88"/>
                </a:lnTo>
                <a:lnTo>
                  <a:pt x="200" y="91"/>
                </a:lnTo>
                <a:lnTo>
                  <a:pt x="200" y="91"/>
                </a:lnTo>
                <a:lnTo>
                  <a:pt x="197" y="91"/>
                </a:lnTo>
                <a:lnTo>
                  <a:pt x="194" y="94"/>
                </a:lnTo>
                <a:lnTo>
                  <a:pt x="194" y="97"/>
                </a:lnTo>
                <a:lnTo>
                  <a:pt x="197" y="94"/>
                </a:lnTo>
                <a:lnTo>
                  <a:pt x="197" y="94"/>
                </a:lnTo>
                <a:lnTo>
                  <a:pt x="197" y="97"/>
                </a:lnTo>
                <a:lnTo>
                  <a:pt x="197" y="103"/>
                </a:lnTo>
                <a:lnTo>
                  <a:pt x="194" y="103"/>
                </a:lnTo>
                <a:lnTo>
                  <a:pt x="190" y="106"/>
                </a:lnTo>
                <a:lnTo>
                  <a:pt x="190" y="110"/>
                </a:lnTo>
                <a:lnTo>
                  <a:pt x="184" y="116"/>
                </a:lnTo>
                <a:lnTo>
                  <a:pt x="181" y="116"/>
                </a:lnTo>
                <a:lnTo>
                  <a:pt x="181" y="119"/>
                </a:lnTo>
                <a:lnTo>
                  <a:pt x="169" y="128"/>
                </a:lnTo>
                <a:lnTo>
                  <a:pt x="169" y="128"/>
                </a:lnTo>
                <a:lnTo>
                  <a:pt x="165" y="128"/>
                </a:lnTo>
                <a:lnTo>
                  <a:pt x="153" y="138"/>
                </a:lnTo>
                <a:lnTo>
                  <a:pt x="150" y="135"/>
                </a:lnTo>
                <a:lnTo>
                  <a:pt x="150" y="138"/>
                </a:lnTo>
                <a:lnTo>
                  <a:pt x="144" y="141"/>
                </a:lnTo>
                <a:lnTo>
                  <a:pt x="134" y="144"/>
                </a:lnTo>
                <a:lnTo>
                  <a:pt x="134" y="144"/>
                </a:lnTo>
                <a:lnTo>
                  <a:pt x="134" y="147"/>
                </a:lnTo>
                <a:lnTo>
                  <a:pt x="128" y="150"/>
                </a:lnTo>
                <a:lnTo>
                  <a:pt x="125" y="153"/>
                </a:lnTo>
                <a:lnTo>
                  <a:pt x="125" y="150"/>
                </a:lnTo>
                <a:lnTo>
                  <a:pt x="125" y="153"/>
                </a:lnTo>
                <a:lnTo>
                  <a:pt x="122" y="156"/>
                </a:lnTo>
                <a:lnTo>
                  <a:pt x="122" y="160"/>
                </a:lnTo>
                <a:lnTo>
                  <a:pt x="112" y="163"/>
                </a:lnTo>
                <a:lnTo>
                  <a:pt x="112" y="166"/>
                </a:lnTo>
                <a:lnTo>
                  <a:pt x="109" y="166"/>
                </a:lnTo>
                <a:lnTo>
                  <a:pt x="109" y="166"/>
                </a:lnTo>
                <a:lnTo>
                  <a:pt x="109" y="169"/>
                </a:lnTo>
                <a:lnTo>
                  <a:pt x="103" y="169"/>
                </a:lnTo>
                <a:lnTo>
                  <a:pt x="93" y="178"/>
                </a:lnTo>
                <a:lnTo>
                  <a:pt x="93" y="181"/>
                </a:lnTo>
                <a:lnTo>
                  <a:pt x="90" y="185"/>
                </a:lnTo>
                <a:lnTo>
                  <a:pt x="87" y="185"/>
                </a:lnTo>
                <a:lnTo>
                  <a:pt x="84" y="188"/>
                </a:lnTo>
                <a:lnTo>
                  <a:pt x="81" y="185"/>
                </a:lnTo>
                <a:lnTo>
                  <a:pt x="78" y="185"/>
                </a:lnTo>
                <a:lnTo>
                  <a:pt x="78" y="188"/>
                </a:lnTo>
                <a:lnTo>
                  <a:pt x="81" y="188"/>
                </a:lnTo>
                <a:lnTo>
                  <a:pt x="81" y="191"/>
                </a:lnTo>
                <a:lnTo>
                  <a:pt x="78" y="194"/>
                </a:lnTo>
                <a:lnTo>
                  <a:pt x="78" y="197"/>
                </a:lnTo>
                <a:lnTo>
                  <a:pt x="78" y="200"/>
                </a:lnTo>
                <a:lnTo>
                  <a:pt x="84" y="206"/>
                </a:lnTo>
                <a:lnTo>
                  <a:pt x="84" y="210"/>
                </a:lnTo>
                <a:lnTo>
                  <a:pt x="81" y="213"/>
                </a:lnTo>
                <a:lnTo>
                  <a:pt x="81" y="213"/>
                </a:lnTo>
                <a:lnTo>
                  <a:pt x="84" y="216"/>
                </a:lnTo>
                <a:lnTo>
                  <a:pt x="84" y="222"/>
                </a:lnTo>
                <a:lnTo>
                  <a:pt x="87" y="225"/>
                </a:lnTo>
                <a:lnTo>
                  <a:pt x="87" y="238"/>
                </a:lnTo>
                <a:lnTo>
                  <a:pt x="87" y="241"/>
                </a:lnTo>
                <a:lnTo>
                  <a:pt x="87" y="241"/>
                </a:lnTo>
                <a:lnTo>
                  <a:pt x="87" y="238"/>
                </a:lnTo>
                <a:lnTo>
                  <a:pt x="90" y="235"/>
                </a:lnTo>
                <a:lnTo>
                  <a:pt x="90" y="238"/>
                </a:lnTo>
                <a:lnTo>
                  <a:pt x="93" y="238"/>
                </a:lnTo>
                <a:lnTo>
                  <a:pt x="90" y="244"/>
                </a:lnTo>
                <a:lnTo>
                  <a:pt x="90" y="244"/>
                </a:lnTo>
                <a:lnTo>
                  <a:pt x="90" y="250"/>
                </a:lnTo>
                <a:lnTo>
                  <a:pt x="90" y="250"/>
                </a:lnTo>
                <a:lnTo>
                  <a:pt x="87" y="257"/>
                </a:lnTo>
                <a:lnTo>
                  <a:pt x="87" y="260"/>
                </a:lnTo>
                <a:lnTo>
                  <a:pt x="87" y="263"/>
                </a:lnTo>
                <a:lnTo>
                  <a:pt x="87" y="266"/>
                </a:lnTo>
                <a:lnTo>
                  <a:pt x="84" y="266"/>
                </a:lnTo>
                <a:lnTo>
                  <a:pt x="87" y="269"/>
                </a:lnTo>
                <a:lnTo>
                  <a:pt x="90" y="269"/>
                </a:lnTo>
                <a:lnTo>
                  <a:pt x="90" y="269"/>
                </a:lnTo>
                <a:lnTo>
                  <a:pt x="87" y="275"/>
                </a:lnTo>
                <a:lnTo>
                  <a:pt x="87" y="278"/>
                </a:lnTo>
                <a:lnTo>
                  <a:pt x="78" y="288"/>
                </a:lnTo>
                <a:lnTo>
                  <a:pt x="65" y="294"/>
                </a:lnTo>
                <a:lnTo>
                  <a:pt x="50" y="297"/>
                </a:lnTo>
                <a:lnTo>
                  <a:pt x="43" y="303"/>
                </a:lnTo>
                <a:lnTo>
                  <a:pt x="37" y="303"/>
                </a:lnTo>
                <a:lnTo>
                  <a:pt x="37" y="307"/>
                </a:lnTo>
                <a:lnTo>
                  <a:pt x="34" y="307"/>
                </a:lnTo>
                <a:lnTo>
                  <a:pt x="31" y="313"/>
                </a:lnTo>
                <a:lnTo>
                  <a:pt x="31" y="313"/>
                </a:lnTo>
                <a:lnTo>
                  <a:pt x="28" y="313"/>
                </a:lnTo>
                <a:lnTo>
                  <a:pt x="28" y="316"/>
                </a:lnTo>
                <a:lnTo>
                  <a:pt x="31" y="319"/>
                </a:lnTo>
                <a:lnTo>
                  <a:pt x="31" y="322"/>
                </a:lnTo>
                <a:lnTo>
                  <a:pt x="31" y="319"/>
                </a:lnTo>
                <a:lnTo>
                  <a:pt x="34" y="322"/>
                </a:lnTo>
                <a:lnTo>
                  <a:pt x="37" y="316"/>
                </a:lnTo>
                <a:lnTo>
                  <a:pt x="37" y="316"/>
                </a:lnTo>
                <a:lnTo>
                  <a:pt x="37" y="319"/>
                </a:lnTo>
                <a:lnTo>
                  <a:pt x="37" y="325"/>
                </a:lnTo>
                <a:lnTo>
                  <a:pt x="34" y="329"/>
                </a:lnTo>
                <a:lnTo>
                  <a:pt x="34" y="332"/>
                </a:lnTo>
                <a:lnTo>
                  <a:pt x="31" y="332"/>
                </a:lnTo>
                <a:lnTo>
                  <a:pt x="25" y="329"/>
                </a:lnTo>
                <a:lnTo>
                  <a:pt x="22" y="329"/>
                </a:lnTo>
                <a:lnTo>
                  <a:pt x="22" y="329"/>
                </a:lnTo>
                <a:lnTo>
                  <a:pt x="22" y="325"/>
                </a:lnTo>
                <a:lnTo>
                  <a:pt x="22" y="322"/>
                </a:lnTo>
                <a:lnTo>
                  <a:pt x="25" y="322"/>
                </a:lnTo>
                <a:lnTo>
                  <a:pt x="22" y="319"/>
                </a:lnTo>
                <a:lnTo>
                  <a:pt x="18" y="316"/>
                </a:lnTo>
                <a:lnTo>
                  <a:pt x="18" y="316"/>
                </a:lnTo>
                <a:lnTo>
                  <a:pt x="18" y="316"/>
                </a:lnTo>
                <a:lnTo>
                  <a:pt x="18" y="307"/>
                </a:lnTo>
                <a:lnTo>
                  <a:pt x="18" y="303"/>
                </a:lnTo>
                <a:lnTo>
                  <a:pt x="18" y="297"/>
                </a:lnTo>
                <a:lnTo>
                  <a:pt x="18" y="282"/>
                </a:lnTo>
                <a:lnTo>
                  <a:pt x="18" y="275"/>
                </a:lnTo>
                <a:lnTo>
                  <a:pt x="15" y="272"/>
                </a:lnTo>
                <a:lnTo>
                  <a:pt x="15" y="269"/>
                </a:lnTo>
                <a:lnTo>
                  <a:pt x="18" y="269"/>
                </a:lnTo>
                <a:lnTo>
                  <a:pt x="18" y="260"/>
                </a:lnTo>
                <a:lnTo>
                  <a:pt x="15" y="253"/>
                </a:lnTo>
                <a:lnTo>
                  <a:pt x="12" y="247"/>
                </a:lnTo>
                <a:lnTo>
                  <a:pt x="12" y="244"/>
                </a:lnTo>
                <a:lnTo>
                  <a:pt x="12" y="24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9" name="Freeform 157">
            <a:extLst>
              <a:ext uri="{FF2B5EF4-FFF2-40B4-BE49-F238E27FC236}">
                <a16:creationId xmlns:a16="http://schemas.microsoft.com/office/drawing/2014/main" id="{52C8BAFF-ABC4-6E30-EECF-786EC218382B}"/>
              </a:ext>
            </a:extLst>
          </p:cNvPr>
          <p:cNvSpPr>
            <a:spLocks/>
          </p:cNvSpPr>
          <p:nvPr userDrawn="1"/>
        </p:nvSpPr>
        <p:spPr bwMode="auto">
          <a:xfrm>
            <a:off x="15035816" y="11016531"/>
            <a:ext cx="88896" cy="98426"/>
          </a:xfrm>
          <a:custGeom>
            <a:avLst/>
            <a:gdLst>
              <a:gd name="T0" fmla="*/ 21 w 28"/>
              <a:gd name="T1" fmla="*/ 9 h 31"/>
              <a:gd name="T2" fmla="*/ 21 w 28"/>
              <a:gd name="T3" fmla="*/ 9 h 31"/>
              <a:gd name="T4" fmla="*/ 21 w 28"/>
              <a:gd name="T5" fmla="*/ 9 h 31"/>
              <a:gd name="T6" fmla="*/ 25 w 28"/>
              <a:gd name="T7" fmla="*/ 12 h 31"/>
              <a:gd name="T8" fmla="*/ 28 w 28"/>
              <a:gd name="T9" fmla="*/ 15 h 31"/>
              <a:gd name="T10" fmla="*/ 25 w 28"/>
              <a:gd name="T11" fmla="*/ 15 h 31"/>
              <a:gd name="T12" fmla="*/ 25 w 28"/>
              <a:gd name="T13" fmla="*/ 18 h 31"/>
              <a:gd name="T14" fmla="*/ 25 w 28"/>
              <a:gd name="T15" fmla="*/ 22 h 31"/>
              <a:gd name="T16" fmla="*/ 25 w 28"/>
              <a:gd name="T17" fmla="*/ 22 h 31"/>
              <a:gd name="T18" fmla="*/ 25 w 28"/>
              <a:gd name="T19" fmla="*/ 25 h 31"/>
              <a:gd name="T20" fmla="*/ 21 w 28"/>
              <a:gd name="T21" fmla="*/ 25 h 31"/>
              <a:gd name="T22" fmla="*/ 21 w 28"/>
              <a:gd name="T23" fmla="*/ 28 h 31"/>
              <a:gd name="T24" fmla="*/ 21 w 28"/>
              <a:gd name="T25" fmla="*/ 31 h 31"/>
              <a:gd name="T26" fmla="*/ 18 w 28"/>
              <a:gd name="T27" fmla="*/ 31 h 31"/>
              <a:gd name="T28" fmla="*/ 9 w 28"/>
              <a:gd name="T29" fmla="*/ 31 h 31"/>
              <a:gd name="T30" fmla="*/ 3 w 28"/>
              <a:gd name="T31" fmla="*/ 28 h 31"/>
              <a:gd name="T32" fmla="*/ 3 w 28"/>
              <a:gd name="T33" fmla="*/ 25 h 31"/>
              <a:gd name="T34" fmla="*/ 0 w 28"/>
              <a:gd name="T35" fmla="*/ 22 h 31"/>
              <a:gd name="T36" fmla="*/ 0 w 28"/>
              <a:gd name="T37" fmla="*/ 18 h 31"/>
              <a:gd name="T38" fmla="*/ 0 w 28"/>
              <a:gd name="T39" fmla="*/ 15 h 31"/>
              <a:gd name="T40" fmla="*/ 6 w 28"/>
              <a:gd name="T41" fmla="*/ 6 h 31"/>
              <a:gd name="T42" fmla="*/ 6 w 28"/>
              <a:gd name="T43" fmla="*/ 3 h 31"/>
              <a:gd name="T44" fmla="*/ 9 w 28"/>
              <a:gd name="T45" fmla="*/ 0 h 31"/>
              <a:gd name="T46" fmla="*/ 15 w 28"/>
              <a:gd name="T47" fmla="*/ 3 h 31"/>
              <a:gd name="T48" fmla="*/ 18 w 28"/>
              <a:gd name="T49" fmla="*/ 6 h 31"/>
              <a:gd name="T50" fmla="*/ 21 w 28"/>
              <a:gd name="T51" fmla="*/ 9 h 31"/>
              <a:gd name="T52" fmla="*/ 21 w 28"/>
              <a:gd name="T53"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31">
                <a:moveTo>
                  <a:pt x="21" y="9"/>
                </a:moveTo>
                <a:lnTo>
                  <a:pt x="21" y="9"/>
                </a:lnTo>
                <a:lnTo>
                  <a:pt x="21" y="9"/>
                </a:lnTo>
                <a:lnTo>
                  <a:pt x="25" y="12"/>
                </a:lnTo>
                <a:lnTo>
                  <a:pt x="28" y="15"/>
                </a:lnTo>
                <a:lnTo>
                  <a:pt x="25" y="15"/>
                </a:lnTo>
                <a:lnTo>
                  <a:pt x="25" y="18"/>
                </a:lnTo>
                <a:lnTo>
                  <a:pt x="25" y="22"/>
                </a:lnTo>
                <a:lnTo>
                  <a:pt x="25" y="22"/>
                </a:lnTo>
                <a:lnTo>
                  <a:pt x="25" y="25"/>
                </a:lnTo>
                <a:lnTo>
                  <a:pt x="21" y="25"/>
                </a:lnTo>
                <a:lnTo>
                  <a:pt x="21" y="28"/>
                </a:lnTo>
                <a:lnTo>
                  <a:pt x="21" y="31"/>
                </a:lnTo>
                <a:lnTo>
                  <a:pt x="18" y="31"/>
                </a:lnTo>
                <a:lnTo>
                  <a:pt x="9" y="31"/>
                </a:lnTo>
                <a:lnTo>
                  <a:pt x="3" y="28"/>
                </a:lnTo>
                <a:lnTo>
                  <a:pt x="3" y="25"/>
                </a:lnTo>
                <a:lnTo>
                  <a:pt x="0" y="22"/>
                </a:lnTo>
                <a:lnTo>
                  <a:pt x="0" y="18"/>
                </a:lnTo>
                <a:lnTo>
                  <a:pt x="0" y="15"/>
                </a:lnTo>
                <a:lnTo>
                  <a:pt x="6" y="6"/>
                </a:lnTo>
                <a:lnTo>
                  <a:pt x="6" y="3"/>
                </a:lnTo>
                <a:lnTo>
                  <a:pt x="9" y="0"/>
                </a:lnTo>
                <a:lnTo>
                  <a:pt x="15" y="3"/>
                </a:lnTo>
                <a:lnTo>
                  <a:pt x="18" y="6"/>
                </a:lnTo>
                <a:lnTo>
                  <a:pt x="21" y="9"/>
                </a:lnTo>
                <a:lnTo>
                  <a:pt x="21" y="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0" name="Freeform 158">
            <a:extLst>
              <a:ext uri="{FF2B5EF4-FFF2-40B4-BE49-F238E27FC236}">
                <a16:creationId xmlns:a16="http://schemas.microsoft.com/office/drawing/2014/main" id="{25217F5F-8652-3689-97A5-45743312DDE6}"/>
              </a:ext>
            </a:extLst>
          </p:cNvPr>
          <p:cNvSpPr>
            <a:spLocks noEditPoints="1"/>
          </p:cNvSpPr>
          <p:nvPr userDrawn="1"/>
        </p:nvSpPr>
        <p:spPr bwMode="auto">
          <a:xfrm>
            <a:off x="14140529" y="10787930"/>
            <a:ext cx="1012760" cy="863600"/>
          </a:xfrm>
          <a:custGeom>
            <a:avLst/>
            <a:gdLst>
              <a:gd name="T0" fmla="*/ 7 w 319"/>
              <a:gd name="T1" fmla="*/ 128 h 272"/>
              <a:gd name="T2" fmla="*/ 19 w 319"/>
              <a:gd name="T3" fmla="*/ 131 h 272"/>
              <a:gd name="T4" fmla="*/ 38 w 319"/>
              <a:gd name="T5" fmla="*/ 140 h 272"/>
              <a:gd name="T6" fmla="*/ 50 w 319"/>
              <a:gd name="T7" fmla="*/ 140 h 272"/>
              <a:gd name="T8" fmla="*/ 57 w 319"/>
              <a:gd name="T9" fmla="*/ 131 h 272"/>
              <a:gd name="T10" fmla="*/ 82 w 319"/>
              <a:gd name="T11" fmla="*/ 62 h 272"/>
              <a:gd name="T12" fmla="*/ 85 w 319"/>
              <a:gd name="T13" fmla="*/ 94 h 272"/>
              <a:gd name="T14" fmla="*/ 107 w 319"/>
              <a:gd name="T15" fmla="*/ 94 h 272"/>
              <a:gd name="T16" fmla="*/ 125 w 319"/>
              <a:gd name="T17" fmla="*/ 81 h 272"/>
              <a:gd name="T18" fmla="*/ 147 w 319"/>
              <a:gd name="T19" fmla="*/ 68 h 272"/>
              <a:gd name="T20" fmla="*/ 166 w 319"/>
              <a:gd name="T21" fmla="*/ 75 h 272"/>
              <a:gd name="T22" fmla="*/ 182 w 319"/>
              <a:gd name="T23" fmla="*/ 75 h 272"/>
              <a:gd name="T24" fmla="*/ 185 w 319"/>
              <a:gd name="T25" fmla="*/ 59 h 272"/>
              <a:gd name="T26" fmla="*/ 197 w 319"/>
              <a:gd name="T27" fmla="*/ 50 h 272"/>
              <a:gd name="T28" fmla="*/ 207 w 319"/>
              <a:gd name="T29" fmla="*/ 43 h 272"/>
              <a:gd name="T30" fmla="*/ 213 w 319"/>
              <a:gd name="T31" fmla="*/ 25 h 272"/>
              <a:gd name="T32" fmla="*/ 222 w 319"/>
              <a:gd name="T33" fmla="*/ 18 h 272"/>
              <a:gd name="T34" fmla="*/ 238 w 319"/>
              <a:gd name="T35" fmla="*/ 12 h 272"/>
              <a:gd name="T36" fmla="*/ 247 w 319"/>
              <a:gd name="T37" fmla="*/ 6 h 272"/>
              <a:gd name="T38" fmla="*/ 263 w 319"/>
              <a:gd name="T39" fmla="*/ 0 h 272"/>
              <a:gd name="T40" fmla="*/ 278 w 319"/>
              <a:gd name="T41" fmla="*/ 6 h 272"/>
              <a:gd name="T42" fmla="*/ 297 w 319"/>
              <a:gd name="T43" fmla="*/ 12 h 272"/>
              <a:gd name="T44" fmla="*/ 300 w 319"/>
              <a:gd name="T45" fmla="*/ 37 h 272"/>
              <a:gd name="T46" fmla="*/ 303 w 319"/>
              <a:gd name="T47" fmla="*/ 72 h 272"/>
              <a:gd name="T48" fmla="*/ 288 w 319"/>
              <a:gd name="T49" fmla="*/ 75 h 272"/>
              <a:gd name="T50" fmla="*/ 285 w 319"/>
              <a:gd name="T51" fmla="*/ 97 h 272"/>
              <a:gd name="T52" fmla="*/ 303 w 319"/>
              <a:gd name="T53" fmla="*/ 100 h 272"/>
              <a:gd name="T54" fmla="*/ 319 w 319"/>
              <a:gd name="T55" fmla="*/ 97 h 272"/>
              <a:gd name="T56" fmla="*/ 316 w 319"/>
              <a:gd name="T57" fmla="*/ 112 h 272"/>
              <a:gd name="T58" fmla="*/ 300 w 319"/>
              <a:gd name="T59" fmla="*/ 140 h 272"/>
              <a:gd name="T60" fmla="*/ 288 w 319"/>
              <a:gd name="T61" fmla="*/ 150 h 272"/>
              <a:gd name="T62" fmla="*/ 275 w 319"/>
              <a:gd name="T63" fmla="*/ 165 h 272"/>
              <a:gd name="T64" fmla="*/ 253 w 319"/>
              <a:gd name="T65" fmla="*/ 197 h 272"/>
              <a:gd name="T66" fmla="*/ 225 w 319"/>
              <a:gd name="T67" fmla="*/ 225 h 272"/>
              <a:gd name="T68" fmla="*/ 200 w 319"/>
              <a:gd name="T69" fmla="*/ 241 h 272"/>
              <a:gd name="T70" fmla="*/ 182 w 319"/>
              <a:gd name="T71" fmla="*/ 247 h 272"/>
              <a:gd name="T72" fmla="*/ 172 w 319"/>
              <a:gd name="T73" fmla="*/ 256 h 272"/>
              <a:gd name="T74" fmla="*/ 157 w 319"/>
              <a:gd name="T75" fmla="*/ 259 h 272"/>
              <a:gd name="T76" fmla="*/ 128 w 319"/>
              <a:gd name="T77" fmla="*/ 253 h 272"/>
              <a:gd name="T78" fmla="*/ 107 w 319"/>
              <a:gd name="T79" fmla="*/ 256 h 272"/>
              <a:gd name="T80" fmla="*/ 97 w 319"/>
              <a:gd name="T81" fmla="*/ 262 h 272"/>
              <a:gd name="T82" fmla="*/ 78 w 319"/>
              <a:gd name="T83" fmla="*/ 262 h 272"/>
              <a:gd name="T84" fmla="*/ 63 w 319"/>
              <a:gd name="T85" fmla="*/ 269 h 272"/>
              <a:gd name="T86" fmla="*/ 44 w 319"/>
              <a:gd name="T87" fmla="*/ 259 h 272"/>
              <a:gd name="T88" fmla="*/ 35 w 319"/>
              <a:gd name="T89" fmla="*/ 256 h 272"/>
              <a:gd name="T90" fmla="*/ 32 w 319"/>
              <a:gd name="T91" fmla="*/ 253 h 272"/>
              <a:gd name="T92" fmla="*/ 22 w 319"/>
              <a:gd name="T93" fmla="*/ 228 h 272"/>
              <a:gd name="T94" fmla="*/ 32 w 319"/>
              <a:gd name="T95" fmla="*/ 222 h 272"/>
              <a:gd name="T96" fmla="*/ 25 w 319"/>
              <a:gd name="T97" fmla="*/ 190 h 272"/>
              <a:gd name="T98" fmla="*/ 10 w 319"/>
              <a:gd name="T99" fmla="*/ 144 h 272"/>
              <a:gd name="T100" fmla="*/ 210 w 319"/>
              <a:gd name="T101" fmla="*/ 172 h 272"/>
              <a:gd name="T102" fmla="*/ 225 w 319"/>
              <a:gd name="T103" fmla="*/ 178 h 272"/>
              <a:gd name="T104" fmla="*/ 238 w 319"/>
              <a:gd name="T105" fmla="*/ 165 h 272"/>
              <a:gd name="T106" fmla="*/ 241 w 319"/>
              <a:gd name="T107" fmla="*/ 159 h 272"/>
              <a:gd name="T108" fmla="*/ 241 w 319"/>
              <a:gd name="T109" fmla="*/ 137 h 272"/>
              <a:gd name="T110" fmla="*/ 228 w 319"/>
              <a:gd name="T111" fmla="*/ 137 h 272"/>
              <a:gd name="T112" fmla="*/ 213 w 319"/>
              <a:gd name="T113" fmla="*/ 147 h 272"/>
              <a:gd name="T114" fmla="*/ 207 w 319"/>
              <a:gd name="T115" fmla="*/ 16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9" h="272">
                <a:moveTo>
                  <a:pt x="0" y="134"/>
                </a:moveTo>
                <a:lnTo>
                  <a:pt x="3" y="131"/>
                </a:lnTo>
                <a:lnTo>
                  <a:pt x="10" y="131"/>
                </a:lnTo>
                <a:lnTo>
                  <a:pt x="10" y="128"/>
                </a:lnTo>
                <a:lnTo>
                  <a:pt x="7" y="128"/>
                </a:lnTo>
                <a:lnTo>
                  <a:pt x="10" y="125"/>
                </a:lnTo>
                <a:lnTo>
                  <a:pt x="13" y="122"/>
                </a:lnTo>
                <a:lnTo>
                  <a:pt x="16" y="125"/>
                </a:lnTo>
                <a:lnTo>
                  <a:pt x="19" y="125"/>
                </a:lnTo>
                <a:lnTo>
                  <a:pt x="19" y="131"/>
                </a:lnTo>
                <a:lnTo>
                  <a:pt x="22" y="137"/>
                </a:lnTo>
                <a:lnTo>
                  <a:pt x="28" y="137"/>
                </a:lnTo>
                <a:lnTo>
                  <a:pt x="32" y="140"/>
                </a:lnTo>
                <a:lnTo>
                  <a:pt x="35" y="140"/>
                </a:lnTo>
                <a:lnTo>
                  <a:pt x="38" y="140"/>
                </a:lnTo>
                <a:lnTo>
                  <a:pt x="41" y="140"/>
                </a:lnTo>
                <a:lnTo>
                  <a:pt x="41" y="140"/>
                </a:lnTo>
                <a:lnTo>
                  <a:pt x="44" y="140"/>
                </a:lnTo>
                <a:lnTo>
                  <a:pt x="47" y="140"/>
                </a:lnTo>
                <a:lnTo>
                  <a:pt x="50" y="140"/>
                </a:lnTo>
                <a:lnTo>
                  <a:pt x="50" y="144"/>
                </a:lnTo>
                <a:lnTo>
                  <a:pt x="50" y="137"/>
                </a:lnTo>
                <a:lnTo>
                  <a:pt x="53" y="137"/>
                </a:lnTo>
                <a:lnTo>
                  <a:pt x="57" y="134"/>
                </a:lnTo>
                <a:lnTo>
                  <a:pt x="57" y="131"/>
                </a:lnTo>
                <a:lnTo>
                  <a:pt x="63" y="128"/>
                </a:lnTo>
                <a:lnTo>
                  <a:pt x="69" y="128"/>
                </a:lnTo>
                <a:lnTo>
                  <a:pt x="72" y="128"/>
                </a:lnTo>
                <a:lnTo>
                  <a:pt x="75" y="59"/>
                </a:lnTo>
                <a:lnTo>
                  <a:pt x="82" y="62"/>
                </a:lnTo>
                <a:lnTo>
                  <a:pt x="82" y="68"/>
                </a:lnTo>
                <a:lnTo>
                  <a:pt x="88" y="78"/>
                </a:lnTo>
                <a:lnTo>
                  <a:pt x="88" y="84"/>
                </a:lnTo>
                <a:lnTo>
                  <a:pt x="85" y="90"/>
                </a:lnTo>
                <a:lnTo>
                  <a:pt x="85" y="94"/>
                </a:lnTo>
                <a:lnTo>
                  <a:pt x="91" y="94"/>
                </a:lnTo>
                <a:lnTo>
                  <a:pt x="94" y="94"/>
                </a:lnTo>
                <a:lnTo>
                  <a:pt x="97" y="94"/>
                </a:lnTo>
                <a:lnTo>
                  <a:pt x="103" y="94"/>
                </a:lnTo>
                <a:lnTo>
                  <a:pt x="107" y="94"/>
                </a:lnTo>
                <a:lnTo>
                  <a:pt x="110" y="90"/>
                </a:lnTo>
                <a:lnTo>
                  <a:pt x="113" y="87"/>
                </a:lnTo>
                <a:lnTo>
                  <a:pt x="116" y="87"/>
                </a:lnTo>
                <a:lnTo>
                  <a:pt x="122" y="84"/>
                </a:lnTo>
                <a:lnTo>
                  <a:pt x="125" y="81"/>
                </a:lnTo>
                <a:lnTo>
                  <a:pt x="128" y="72"/>
                </a:lnTo>
                <a:lnTo>
                  <a:pt x="135" y="68"/>
                </a:lnTo>
                <a:lnTo>
                  <a:pt x="138" y="65"/>
                </a:lnTo>
                <a:lnTo>
                  <a:pt x="144" y="68"/>
                </a:lnTo>
                <a:lnTo>
                  <a:pt x="147" y="68"/>
                </a:lnTo>
                <a:lnTo>
                  <a:pt x="150" y="72"/>
                </a:lnTo>
                <a:lnTo>
                  <a:pt x="157" y="75"/>
                </a:lnTo>
                <a:lnTo>
                  <a:pt x="160" y="75"/>
                </a:lnTo>
                <a:lnTo>
                  <a:pt x="163" y="75"/>
                </a:lnTo>
                <a:lnTo>
                  <a:pt x="166" y="75"/>
                </a:lnTo>
                <a:lnTo>
                  <a:pt x="172" y="75"/>
                </a:lnTo>
                <a:lnTo>
                  <a:pt x="175" y="75"/>
                </a:lnTo>
                <a:lnTo>
                  <a:pt x="175" y="75"/>
                </a:lnTo>
                <a:lnTo>
                  <a:pt x="178" y="78"/>
                </a:lnTo>
                <a:lnTo>
                  <a:pt x="182" y="75"/>
                </a:lnTo>
                <a:lnTo>
                  <a:pt x="182" y="72"/>
                </a:lnTo>
                <a:lnTo>
                  <a:pt x="182" y="68"/>
                </a:lnTo>
                <a:lnTo>
                  <a:pt x="182" y="65"/>
                </a:lnTo>
                <a:lnTo>
                  <a:pt x="185" y="65"/>
                </a:lnTo>
                <a:lnTo>
                  <a:pt x="185" y="59"/>
                </a:lnTo>
                <a:lnTo>
                  <a:pt x="185" y="56"/>
                </a:lnTo>
                <a:lnTo>
                  <a:pt x="191" y="56"/>
                </a:lnTo>
                <a:lnTo>
                  <a:pt x="194" y="53"/>
                </a:lnTo>
                <a:lnTo>
                  <a:pt x="197" y="53"/>
                </a:lnTo>
                <a:lnTo>
                  <a:pt x="197" y="50"/>
                </a:lnTo>
                <a:lnTo>
                  <a:pt x="197" y="50"/>
                </a:lnTo>
                <a:lnTo>
                  <a:pt x="200" y="47"/>
                </a:lnTo>
                <a:lnTo>
                  <a:pt x="200" y="47"/>
                </a:lnTo>
                <a:lnTo>
                  <a:pt x="203" y="43"/>
                </a:lnTo>
                <a:lnTo>
                  <a:pt x="207" y="43"/>
                </a:lnTo>
                <a:lnTo>
                  <a:pt x="207" y="43"/>
                </a:lnTo>
                <a:lnTo>
                  <a:pt x="207" y="40"/>
                </a:lnTo>
                <a:lnTo>
                  <a:pt x="207" y="37"/>
                </a:lnTo>
                <a:lnTo>
                  <a:pt x="207" y="34"/>
                </a:lnTo>
                <a:lnTo>
                  <a:pt x="213" y="25"/>
                </a:lnTo>
                <a:lnTo>
                  <a:pt x="216" y="25"/>
                </a:lnTo>
                <a:lnTo>
                  <a:pt x="219" y="25"/>
                </a:lnTo>
                <a:lnTo>
                  <a:pt x="219" y="22"/>
                </a:lnTo>
                <a:lnTo>
                  <a:pt x="222" y="22"/>
                </a:lnTo>
                <a:lnTo>
                  <a:pt x="222" y="18"/>
                </a:lnTo>
                <a:lnTo>
                  <a:pt x="225" y="18"/>
                </a:lnTo>
                <a:lnTo>
                  <a:pt x="228" y="15"/>
                </a:lnTo>
                <a:lnTo>
                  <a:pt x="232" y="12"/>
                </a:lnTo>
                <a:lnTo>
                  <a:pt x="235" y="12"/>
                </a:lnTo>
                <a:lnTo>
                  <a:pt x="238" y="12"/>
                </a:lnTo>
                <a:lnTo>
                  <a:pt x="238" y="12"/>
                </a:lnTo>
                <a:lnTo>
                  <a:pt x="241" y="12"/>
                </a:lnTo>
                <a:lnTo>
                  <a:pt x="244" y="9"/>
                </a:lnTo>
                <a:lnTo>
                  <a:pt x="247" y="9"/>
                </a:lnTo>
                <a:lnTo>
                  <a:pt x="247" y="6"/>
                </a:lnTo>
                <a:lnTo>
                  <a:pt x="247" y="3"/>
                </a:lnTo>
                <a:lnTo>
                  <a:pt x="250" y="3"/>
                </a:lnTo>
                <a:lnTo>
                  <a:pt x="253" y="3"/>
                </a:lnTo>
                <a:lnTo>
                  <a:pt x="257" y="0"/>
                </a:lnTo>
                <a:lnTo>
                  <a:pt x="263" y="0"/>
                </a:lnTo>
                <a:lnTo>
                  <a:pt x="269" y="0"/>
                </a:lnTo>
                <a:lnTo>
                  <a:pt x="269" y="3"/>
                </a:lnTo>
                <a:lnTo>
                  <a:pt x="272" y="3"/>
                </a:lnTo>
                <a:lnTo>
                  <a:pt x="278" y="6"/>
                </a:lnTo>
                <a:lnTo>
                  <a:pt x="278" y="6"/>
                </a:lnTo>
                <a:lnTo>
                  <a:pt x="282" y="6"/>
                </a:lnTo>
                <a:lnTo>
                  <a:pt x="288" y="3"/>
                </a:lnTo>
                <a:lnTo>
                  <a:pt x="294" y="6"/>
                </a:lnTo>
                <a:lnTo>
                  <a:pt x="297" y="9"/>
                </a:lnTo>
                <a:lnTo>
                  <a:pt x="297" y="12"/>
                </a:lnTo>
                <a:lnTo>
                  <a:pt x="300" y="18"/>
                </a:lnTo>
                <a:lnTo>
                  <a:pt x="303" y="25"/>
                </a:lnTo>
                <a:lnTo>
                  <a:pt x="303" y="34"/>
                </a:lnTo>
                <a:lnTo>
                  <a:pt x="300" y="34"/>
                </a:lnTo>
                <a:lnTo>
                  <a:pt x="300" y="37"/>
                </a:lnTo>
                <a:lnTo>
                  <a:pt x="303" y="40"/>
                </a:lnTo>
                <a:lnTo>
                  <a:pt x="303" y="47"/>
                </a:lnTo>
                <a:lnTo>
                  <a:pt x="303" y="62"/>
                </a:lnTo>
                <a:lnTo>
                  <a:pt x="303" y="68"/>
                </a:lnTo>
                <a:lnTo>
                  <a:pt x="303" y="72"/>
                </a:lnTo>
                <a:lnTo>
                  <a:pt x="303" y="81"/>
                </a:lnTo>
                <a:lnTo>
                  <a:pt x="300" y="78"/>
                </a:lnTo>
                <a:lnTo>
                  <a:pt x="297" y="75"/>
                </a:lnTo>
                <a:lnTo>
                  <a:pt x="291" y="72"/>
                </a:lnTo>
                <a:lnTo>
                  <a:pt x="288" y="75"/>
                </a:lnTo>
                <a:lnTo>
                  <a:pt x="288" y="78"/>
                </a:lnTo>
                <a:lnTo>
                  <a:pt x="282" y="87"/>
                </a:lnTo>
                <a:lnTo>
                  <a:pt x="282" y="90"/>
                </a:lnTo>
                <a:lnTo>
                  <a:pt x="282" y="94"/>
                </a:lnTo>
                <a:lnTo>
                  <a:pt x="285" y="97"/>
                </a:lnTo>
                <a:lnTo>
                  <a:pt x="285" y="100"/>
                </a:lnTo>
                <a:lnTo>
                  <a:pt x="291" y="103"/>
                </a:lnTo>
                <a:lnTo>
                  <a:pt x="300" y="103"/>
                </a:lnTo>
                <a:lnTo>
                  <a:pt x="303" y="103"/>
                </a:lnTo>
                <a:lnTo>
                  <a:pt x="303" y="100"/>
                </a:lnTo>
                <a:lnTo>
                  <a:pt x="303" y="97"/>
                </a:lnTo>
                <a:lnTo>
                  <a:pt x="307" y="97"/>
                </a:lnTo>
                <a:lnTo>
                  <a:pt x="310" y="94"/>
                </a:lnTo>
                <a:lnTo>
                  <a:pt x="316" y="97"/>
                </a:lnTo>
                <a:lnTo>
                  <a:pt x="319" y="97"/>
                </a:lnTo>
                <a:lnTo>
                  <a:pt x="319" y="97"/>
                </a:lnTo>
                <a:lnTo>
                  <a:pt x="316" y="100"/>
                </a:lnTo>
                <a:lnTo>
                  <a:pt x="319" y="100"/>
                </a:lnTo>
                <a:lnTo>
                  <a:pt x="316" y="109"/>
                </a:lnTo>
                <a:lnTo>
                  <a:pt x="316" y="112"/>
                </a:lnTo>
                <a:lnTo>
                  <a:pt x="313" y="119"/>
                </a:lnTo>
                <a:lnTo>
                  <a:pt x="310" y="128"/>
                </a:lnTo>
                <a:lnTo>
                  <a:pt x="307" y="131"/>
                </a:lnTo>
                <a:lnTo>
                  <a:pt x="307" y="134"/>
                </a:lnTo>
                <a:lnTo>
                  <a:pt x="300" y="140"/>
                </a:lnTo>
                <a:lnTo>
                  <a:pt x="300" y="140"/>
                </a:lnTo>
                <a:lnTo>
                  <a:pt x="297" y="144"/>
                </a:lnTo>
                <a:lnTo>
                  <a:pt x="294" y="144"/>
                </a:lnTo>
                <a:lnTo>
                  <a:pt x="294" y="147"/>
                </a:lnTo>
                <a:lnTo>
                  <a:pt x="288" y="150"/>
                </a:lnTo>
                <a:lnTo>
                  <a:pt x="285" y="153"/>
                </a:lnTo>
                <a:lnTo>
                  <a:pt x="282" y="159"/>
                </a:lnTo>
                <a:lnTo>
                  <a:pt x="282" y="159"/>
                </a:lnTo>
                <a:lnTo>
                  <a:pt x="278" y="165"/>
                </a:lnTo>
                <a:lnTo>
                  <a:pt x="275" y="165"/>
                </a:lnTo>
                <a:lnTo>
                  <a:pt x="272" y="172"/>
                </a:lnTo>
                <a:lnTo>
                  <a:pt x="266" y="184"/>
                </a:lnTo>
                <a:lnTo>
                  <a:pt x="260" y="190"/>
                </a:lnTo>
                <a:lnTo>
                  <a:pt x="257" y="197"/>
                </a:lnTo>
                <a:lnTo>
                  <a:pt x="253" y="197"/>
                </a:lnTo>
                <a:lnTo>
                  <a:pt x="250" y="200"/>
                </a:lnTo>
                <a:lnTo>
                  <a:pt x="247" y="200"/>
                </a:lnTo>
                <a:lnTo>
                  <a:pt x="247" y="203"/>
                </a:lnTo>
                <a:lnTo>
                  <a:pt x="225" y="222"/>
                </a:lnTo>
                <a:lnTo>
                  <a:pt x="225" y="225"/>
                </a:lnTo>
                <a:lnTo>
                  <a:pt x="225" y="225"/>
                </a:lnTo>
                <a:lnTo>
                  <a:pt x="222" y="228"/>
                </a:lnTo>
                <a:lnTo>
                  <a:pt x="207" y="237"/>
                </a:lnTo>
                <a:lnTo>
                  <a:pt x="203" y="241"/>
                </a:lnTo>
                <a:lnTo>
                  <a:pt x="200" y="241"/>
                </a:lnTo>
                <a:lnTo>
                  <a:pt x="200" y="244"/>
                </a:lnTo>
                <a:lnTo>
                  <a:pt x="191" y="244"/>
                </a:lnTo>
                <a:lnTo>
                  <a:pt x="188" y="247"/>
                </a:lnTo>
                <a:lnTo>
                  <a:pt x="185" y="247"/>
                </a:lnTo>
                <a:lnTo>
                  <a:pt x="182" y="247"/>
                </a:lnTo>
                <a:lnTo>
                  <a:pt x="175" y="247"/>
                </a:lnTo>
                <a:lnTo>
                  <a:pt x="172" y="247"/>
                </a:lnTo>
                <a:lnTo>
                  <a:pt x="169" y="253"/>
                </a:lnTo>
                <a:lnTo>
                  <a:pt x="172" y="253"/>
                </a:lnTo>
                <a:lnTo>
                  <a:pt x="172" y="256"/>
                </a:lnTo>
                <a:lnTo>
                  <a:pt x="166" y="256"/>
                </a:lnTo>
                <a:lnTo>
                  <a:pt x="160" y="253"/>
                </a:lnTo>
                <a:lnTo>
                  <a:pt x="157" y="253"/>
                </a:lnTo>
                <a:lnTo>
                  <a:pt x="153" y="256"/>
                </a:lnTo>
                <a:lnTo>
                  <a:pt x="157" y="259"/>
                </a:lnTo>
                <a:lnTo>
                  <a:pt x="153" y="259"/>
                </a:lnTo>
                <a:lnTo>
                  <a:pt x="144" y="256"/>
                </a:lnTo>
                <a:lnTo>
                  <a:pt x="141" y="256"/>
                </a:lnTo>
                <a:lnTo>
                  <a:pt x="135" y="253"/>
                </a:lnTo>
                <a:lnTo>
                  <a:pt x="128" y="253"/>
                </a:lnTo>
                <a:lnTo>
                  <a:pt x="128" y="256"/>
                </a:lnTo>
                <a:lnTo>
                  <a:pt x="125" y="256"/>
                </a:lnTo>
                <a:lnTo>
                  <a:pt x="119" y="253"/>
                </a:lnTo>
                <a:lnTo>
                  <a:pt x="110" y="253"/>
                </a:lnTo>
                <a:lnTo>
                  <a:pt x="107" y="256"/>
                </a:lnTo>
                <a:lnTo>
                  <a:pt x="103" y="259"/>
                </a:lnTo>
                <a:lnTo>
                  <a:pt x="103" y="259"/>
                </a:lnTo>
                <a:lnTo>
                  <a:pt x="100" y="259"/>
                </a:lnTo>
                <a:lnTo>
                  <a:pt x="97" y="259"/>
                </a:lnTo>
                <a:lnTo>
                  <a:pt x="97" y="262"/>
                </a:lnTo>
                <a:lnTo>
                  <a:pt x="91" y="262"/>
                </a:lnTo>
                <a:lnTo>
                  <a:pt x="91" y="262"/>
                </a:lnTo>
                <a:lnTo>
                  <a:pt x="85" y="262"/>
                </a:lnTo>
                <a:lnTo>
                  <a:pt x="78" y="262"/>
                </a:lnTo>
                <a:lnTo>
                  <a:pt x="78" y="262"/>
                </a:lnTo>
                <a:lnTo>
                  <a:pt x="72" y="262"/>
                </a:lnTo>
                <a:lnTo>
                  <a:pt x="69" y="266"/>
                </a:lnTo>
                <a:lnTo>
                  <a:pt x="66" y="269"/>
                </a:lnTo>
                <a:lnTo>
                  <a:pt x="63" y="272"/>
                </a:lnTo>
                <a:lnTo>
                  <a:pt x="63" y="269"/>
                </a:lnTo>
                <a:lnTo>
                  <a:pt x="60" y="272"/>
                </a:lnTo>
                <a:lnTo>
                  <a:pt x="50" y="266"/>
                </a:lnTo>
                <a:lnTo>
                  <a:pt x="47" y="266"/>
                </a:lnTo>
                <a:lnTo>
                  <a:pt x="47" y="262"/>
                </a:lnTo>
                <a:lnTo>
                  <a:pt x="44" y="259"/>
                </a:lnTo>
                <a:lnTo>
                  <a:pt x="41" y="262"/>
                </a:lnTo>
                <a:lnTo>
                  <a:pt x="41" y="262"/>
                </a:lnTo>
                <a:lnTo>
                  <a:pt x="41" y="259"/>
                </a:lnTo>
                <a:lnTo>
                  <a:pt x="41" y="256"/>
                </a:lnTo>
                <a:lnTo>
                  <a:pt x="35" y="256"/>
                </a:lnTo>
                <a:lnTo>
                  <a:pt x="32" y="256"/>
                </a:lnTo>
                <a:lnTo>
                  <a:pt x="32" y="262"/>
                </a:lnTo>
                <a:lnTo>
                  <a:pt x="32" y="259"/>
                </a:lnTo>
                <a:lnTo>
                  <a:pt x="32" y="256"/>
                </a:lnTo>
                <a:lnTo>
                  <a:pt x="32" y="253"/>
                </a:lnTo>
                <a:lnTo>
                  <a:pt x="32" y="247"/>
                </a:lnTo>
                <a:lnTo>
                  <a:pt x="35" y="244"/>
                </a:lnTo>
                <a:lnTo>
                  <a:pt x="28" y="237"/>
                </a:lnTo>
                <a:lnTo>
                  <a:pt x="25" y="234"/>
                </a:lnTo>
                <a:lnTo>
                  <a:pt x="22" y="228"/>
                </a:lnTo>
                <a:lnTo>
                  <a:pt x="22" y="222"/>
                </a:lnTo>
                <a:lnTo>
                  <a:pt x="25" y="222"/>
                </a:lnTo>
                <a:lnTo>
                  <a:pt x="28" y="225"/>
                </a:lnTo>
                <a:lnTo>
                  <a:pt x="28" y="225"/>
                </a:lnTo>
                <a:lnTo>
                  <a:pt x="32" y="222"/>
                </a:lnTo>
                <a:lnTo>
                  <a:pt x="32" y="216"/>
                </a:lnTo>
                <a:lnTo>
                  <a:pt x="32" y="209"/>
                </a:lnTo>
                <a:lnTo>
                  <a:pt x="32" y="206"/>
                </a:lnTo>
                <a:lnTo>
                  <a:pt x="25" y="197"/>
                </a:lnTo>
                <a:lnTo>
                  <a:pt x="25" y="190"/>
                </a:lnTo>
                <a:lnTo>
                  <a:pt x="19" y="184"/>
                </a:lnTo>
                <a:lnTo>
                  <a:pt x="16" y="172"/>
                </a:lnTo>
                <a:lnTo>
                  <a:pt x="13" y="162"/>
                </a:lnTo>
                <a:lnTo>
                  <a:pt x="13" y="156"/>
                </a:lnTo>
                <a:lnTo>
                  <a:pt x="10" y="144"/>
                </a:lnTo>
                <a:lnTo>
                  <a:pt x="3" y="140"/>
                </a:lnTo>
                <a:lnTo>
                  <a:pt x="0" y="134"/>
                </a:lnTo>
                <a:lnTo>
                  <a:pt x="0" y="134"/>
                </a:lnTo>
                <a:lnTo>
                  <a:pt x="0" y="134"/>
                </a:lnTo>
                <a:close/>
                <a:moveTo>
                  <a:pt x="210" y="172"/>
                </a:moveTo>
                <a:lnTo>
                  <a:pt x="213" y="175"/>
                </a:lnTo>
                <a:lnTo>
                  <a:pt x="216" y="178"/>
                </a:lnTo>
                <a:lnTo>
                  <a:pt x="219" y="178"/>
                </a:lnTo>
                <a:lnTo>
                  <a:pt x="225" y="178"/>
                </a:lnTo>
                <a:lnTo>
                  <a:pt x="225" y="178"/>
                </a:lnTo>
                <a:lnTo>
                  <a:pt x="225" y="175"/>
                </a:lnTo>
                <a:lnTo>
                  <a:pt x="228" y="172"/>
                </a:lnTo>
                <a:lnTo>
                  <a:pt x="232" y="169"/>
                </a:lnTo>
                <a:lnTo>
                  <a:pt x="235" y="169"/>
                </a:lnTo>
                <a:lnTo>
                  <a:pt x="238" y="165"/>
                </a:lnTo>
                <a:lnTo>
                  <a:pt x="241" y="169"/>
                </a:lnTo>
                <a:lnTo>
                  <a:pt x="244" y="165"/>
                </a:lnTo>
                <a:lnTo>
                  <a:pt x="244" y="162"/>
                </a:lnTo>
                <a:lnTo>
                  <a:pt x="244" y="159"/>
                </a:lnTo>
                <a:lnTo>
                  <a:pt x="241" y="159"/>
                </a:lnTo>
                <a:lnTo>
                  <a:pt x="247" y="156"/>
                </a:lnTo>
                <a:lnTo>
                  <a:pt x="250" y="153"/>
                </a:lnTo>
                <a:lnTo>
                  <a:pt x="250" y="150"/>
                </a:lnTo>
                <a:lnTo>
                  <a:pt x="247" y="140"/>
                </a:lnTo>
                <a:lnTo>
                  <a:pt x="241" y="137"/>
                </a:lnTo>
                <a:lnTo>
                  <a:pt x="238" y="137"/>
                </a:lnTo>
                <a:lnTo>
                  <a:pt x="235" y="137"/>
                </a:lnTo>
                <a:lnTo>
                  <a:pt x="235" y="137"/>
                </a:lnTo>
                <a:lnTo>
                  <a:pt x="232" y="137"/>
                </a:lnTo>
                <a:lnTo>
                  <a:pt x="228" y="137"/>
                </a:lnTo>
                <a:lnTo>
                  <a:pt x="228" y="137"/>
                </a:lnTo>
                <a:lnTo>
                  <a:pt x="225" y="140"/>
                </a:lnTo>
                <a:lnTo>
                  <a:pt x="225" y="140"/>
                </a:lnTo>
                <a:lnTo>
                  <a:pt x="219" y="144"/>
                </a:lnTo>
                <a:lnTo>
                  <a:pt x="213" y="147"/>
                </a:lnTo>
                <a:lnTo>
                  <a:pt x="213" y="150"/>
                </a:lnTo>
                <a:lnTo>
                  <a:pt x="207" y="156"/>
                </a:lnTo>
                <a:lnTo>
                  <a:pt x="203" y="156"/>
                </a:lnTo>
                <a:lnTo>
                  <a:pt x="207" y="159"/>
                </a:lnTo>
                <a:lnTo>
                  <a:pt x="207" y="162"/>
                </a:lnTo>
                <a:lnTo>
                  <a:pt x="210" y="165"/>
                </a:lnTo>
                <a:lnTo>
                  <a:pt x="210" y="169"/>
                </a:lnTo>
                <a:lnTo>
                  <a:pt x="210" y="172"/>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1" name="Freeform 159">
            <a:extLst>
              <a:ext uri="{FF2B5EF4-FFF2-40B4-BE49-F238E27FC236}">
                <a16:creationId xmlns:a16="http://schemas.microsoft.com/office/drawing/2014/main" id="{10D1D9A2-A60C-1EC9-1EDC-B4203E4A3BDE}"/>
              </a:ext>
            </a:extLst>
          </p:cNvPr>
          <p:cNvSpPr>
            <a:spLocks/>
          </p:cNvSpPr>
          <p:nvPr userDrawn="1"/>
        </p:nvSpPr>
        <p:spPr bwMode="auto">
          <a:xfrm>
            <a:off x="14785011" y="11222906"/>
            <a:ext cx="149216" cy="130176"/>
          </a:xfrm>
          <a:custGeom>
            <a:avLst/>
            <a:gdLst>
              <a:gd name="T0" fmla="*/ 7 w 47"/>
              <a:gd name="T1" fmla="*/ 35 h 41"/>
              <a:gd name="T2" fmla="*/ 7 w 47"/>
              <a:gd name="T3" fmla="*/ 32 h 41"/>
              <a:gd name="T4" fmla="*/ 7 w 47"/>
              <a:gd name="T5" fmla="*/ 28 h 41"/>
              <a:gd name="T6" fmla="*/ 4 w 47"/>
              <a:gd name="T7" fmla="*/ 25 h 41"/>
              <a:gd name="T8" fmla="*/ 4 w 47"/>
              <a:gd name="T9" fmla="*/ 22 h 41"/>
              <a:gd name="T10" fmla="*/ 0 w 47"/>
              <a:gd name="T11" fmla="*/ 19 h 41"/>
              <a:gd name="T12" fmla="*/ 4 w 47"/>
              <a:gd name="T13" fmla="*/ 19 h 41"/>
              <a:gd name="T14" fmla="*/ 10 w 47"/>
              <a:gd name="T15" fmla="*/ 13 h 41"/>
              <a:gd name="T16" fmla="*/ 10 w 47"/>
              <a:gd name="T17" fmla="*/ 10 h 41"/>
              <a:gd name="T18" fmla="*/ 16 w 47"/>
              <a:gd name="T19" fmla="*/ 7 h 41"/>
              <a:gd name="T20" fmla="*/ 22 w 47"/>
              <a:gd name="T21" fmla="*/ 3 h 41"/>
              <a:gd name="T22" fmla="*/ 22 w 47"/>
              <a:gd name="T23" fmla="*/ 3 h 41"/>
              <a:gd name="T24" fmla="*/ 25 w 47"/>
              <a:gd name="T25" fmla="*/ 0 h 41"/>
              <a:gd name="T26" fmla="*/ 25 w 47"/>
              <a:gd name="T27" fmla="*/ 0 h 41"/>
              <a:gd name="T28" fmla="*/ 29 w 47"/>
              <a:gd name="T29" fmla="*/ 0 h 41"/>
              <a:gd name="T30" fmla="*/ 32 w 47"/>
              <a:gd name="T31" fmla="*/ 0 h 41"/>
              <a:gd name="T32" fmla="*/ 32 w 47"/>
              <a:gd name="T33" fmla="*/ 0 h 41"/>
              <a:gd name="T34" fmla="*/ 35 w 47"/>
              <a:gd name="T35" fmla="*/ 0 h 41"/>
              <a:gd name="T36" fmla="*/ 38 w 47"/>
              <a:gd name="T37" fmla="*/ 0 h 41"/>
              <a:gd name="T38" fmla="*/ 44 w 47"/>
              <a:gd name="T39" fmla="*/ 3 h 41"/>
              <a:gd name="T40" fmla="*/ 47 w 47"/>
              <a:gd name="T41" fmla="*/ 13 h 41"/>
              <a:gd name="T42" fmla="*/ 47 w 47"/>
              <a:gd name="T43" fmla="*/ 16 h 41"/>
              <a:gd name="T44" fmla="*/ 44 w 47"/>
              <a:gd name="T45" fmla="*/ 19 h 41"/>
              <a:gd name="T46" fmla="*/ 38 w 47"/>
              <a:gd name="T47" fmla="*/ 22 h 41"/>
              <a:gd name="T48" fmla="*/ 41 w 47"/>
              <a:gd name="T49" fmla="*/ 22 h 41"/>
              <a:gd name="T50" fmla="*/ 41 w 47"/>
              <a:gd name="T51" fmla="*/ 25 h 41"/>
              <a:gd name="T52" fmla="*/ 41 w 47"/>
              <a:gd name="T53" fmla="*/ 28 h 41"/>
              <a:gd name="T54" fmla="*/ 38 w 47"/>
              <a:gd name="T55" fmla="*/ 32 h 41"/>
              <a:gd name="T56" fmla="*/ 35 w 47"/>
              <a:gd name="T57" fmla="*/ 28 h 41"/>
              <a:gd name="T58" fmla="*/ 32 w 47"/>
              <a:gd name="T59" fmla="*/ 32 h 41"/>
              <a:gd name="T60" fmla="*/ 29 w 47"/>
              <a:gd name="T61" fmla="*/ 32 h 41"/>
              <a:gd name="T62" fmla="*/ 25 w 47"/>
              <a:gd name="T63" fmla="*/ 35 h 41"/>
              <a:gd name="T64" fmla="*/ 22 w 47"/>
              <a:gd name="T65" fmla="*/ 38 h 41"/>
              <a:gd name="T66" fmla="*/ 22 w 47"/>
              <a:gd name="T67" fmla="*/ 41 h 41"/>
              <a:gd name="T68" fmla="*/ 22 w 47"/>
              <a:gd name="T69" fmla="*/ 41 h 41"/>
              <a:gd name="T70" fmla="*/ 16 w 47"/>
              <a:gd name="T71" fmla="*/ 41 h 41"/>
              <a:gd name="T72" fmla="*/ 13 w 47"/>
              <a:gd name="T73" fmla="*/ 41 h 41"/>
              <a:gd name="T74" fmla="*/ 10 w 47"/>
              <a:gd name="T75" fmla="*/ 38 h 41"/>
              <a:gd name="T76" fmla="*/ 7 w 47"/>
              <a:gd name="T77" fmla="*/ 3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 h="41">
                <a:moveTo>
                  <a:pt x="7" y="35"/>
                </a:moveTo>
                <a:lnTo>
                  <a:pt x="7" y="32"/>
                </a:lnTo>
                <a:lnTo>
                  <a:pt x="7" y="28"/>
                </a:lnTo>
                <a:lnTo>
                  <a:pt x="4" y="25"/>
                </a:lnTo>
                <a:lnTo>
                  <a:pt x="4" y="22"/>
                </a:lnTo>
                <a:lnTo>
                  <a:pt x="0" y="19"/>
                </a:lnTo>
                <a:lnTo>
                  <a:pt x="4" y="19"/>
                </a:lnTo>
                <a:lnTo>
                  <a:pt x="10" y="13"/>
                </a:lnTo>
                <a:lnTo>
                  <a:pt x="10" y="10"/>
                </a:lnTo>
                <a:lnTo>
                  <a:pt x="16" y="7"/>
                </a:lnTo>
                <a:lnTo>
                  <a:pt x="22" y="3"/>
                </a:lnTo>
                <a:lnTo>
                  <a:pt x="22" y="3"/>
                </a:lnTo>
                <a:lnTo>
                  <a:pt x="25" y="0"/>
                </a:lnTo>
                <a:lnTo>
                  <a:pt x="25" y="0"/>
                </a:lnTo>
                <a:lnTo>
                  <a:pt x="29" y="0"/>
                </a:lnTo>
                <a:lnTo>
                  <a:pt x="32" y="0"/>
                </a:lnTo>
                <a:lnTo>
                  <a:pt x="32" y="0"/>
                </a:lnTo>
                <a:lnTo>
                  <a:pt x="35" y="0"/>
                </a:lnTo>
                <a:lnTo>
                  <a:pt x="38" y="0"/>
                </a:lnTo>
                <a:lnTo>
                  <a:pt x="44" y="3"/>
                </a:lnTo>
                <a:lnTo>
                  <a:pt x="47" y="13"/>
                </a:lnTo>
                <a:lnTo>
                  <a:pt x="47" y="16"/>
                </a:lnTo>
                <a:lnTo>
                  <a:pt x="44" y="19"/>
                </a:lnTo>
                <a:lnTo>
                  <a:pt x="38" y="22"/>
                </a:lnTo>
                <a:lnTo>
                  <a:pt x="41" y="22"/>
                </a:lnTo>
                <a:lnTo>
                  <a:pt x="41" y="25"/>
                </a:lnTo>
                <a:lnTo>
                  <a:pt x="41" y="28"/>
                </a:lnTo>
                <a:lnTo>
                  <a:pt x="38" y="32"/>
                </a:lnTo>
                <a:lnTo>
                  <a:pt x="35" y="28"/>
                </a:lnTo>
                <a:lnTo>
                  <a:pt x="32" y="32"/>
                </a:lnTo>
                <a:lnTo>
                  <a:pt x="29" y="32"/>
                </a:lnTo>
                <a:lnTo>
                  <a:pt x="25" y="35"/>
                </a:lnTo>
                <a:lnTo>
                  <a:pt x="22" y="38"/>
                </a:lnTo>
                <a:lnTo>
                  <a:pt x="22" y="41"/>
                </a:lnTo>
                <a:lnTo>
                  <a:pt x="22" y="41"/>
                </a:lnTo>
                <a:lnTo>
                  <a:pt x="16" y="41"/>
                </a:lnTo>
                <a:lnTo>
                  <a:pt x="13" y="41"/>
                </a:lnTo>
                <a:lnTo>
                  <a:pt x="10" y="38"/>
                </a:lnTo>
                <a:lnTo>
                  <a:pt x="7" y="35"/>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2" name="Freeform 160">
            <a:extLst>
              <a:ext uri="{FF2B5EF4-FFF2-40B4-BE49-F238E27FC236}">
                <a16:creationId xmlns:a16="http://schemas.microsoft.com/office/drawing/2014/main" id="{B8B0AD6F-52B0-69CD-CE2E-A3AB56BBB8FD}"/>
              </a:ext>
            </a:extLst>
          </p:cNvPr>
          <p:cNvSpPr>
            <a:spLocks noEditPoints="1"/>
          </p:cNvSpPr>
          <p:nvPr userDrawn="1"/>
        </p:nvSpPr>
        <p:spPr bwMode="auto">
          <a:xfrm>
            <a:off x="20115488" y="10051330"/>
            <a:ext cx="2530313" cy="2720976"/>
          </a:xfrm>
          <a:custGeom>
            <a:avLst/>
            <a:gdLst>
              <a:gd name="T0" fmla="*/ 252 w 255"/>
              <a:gd name="T1" fmla="*/ 115 h 274"/>
              <a:gd name="T2" fmla="*/ 217 w 255"/>
              <a:gd name="T3" fmla="*/ 59 h 274"/>
              <a:gd name="T4" fmla="*/ 174 w 255"/>
              <a:gd name="T5" fmla="*/ 47 h 274"/>
              <a:gd name="T6" fmla="*/ 156 w 255"/>
              <a:gd name="T7" fmla="*/ 26 h 274"/>
              <a:gd name="T8" fmla="*/ 158 w 255"/>
              <a:gd name="T9" fmla="*/ 28 h 274"/>
              <a:gd name="T10" fmla="*/ 154 w 255"/>
              <a:gd name="T11" fmla="*/ 11 h 274"/>
              <a:gd name="T12" fmla="*/ 121 w 255"/>
              <a:gd name="T13" fmla="*/ 8 h 274"/>
              <a:gd name="T14" fmla="*/ 120 w 255"/>
              <a:gd name="T15" fmla="*/ 8 h 274"/>
              <a:gd name="T16" fmla="*/ 82 w 255"/>
              <a:gd name="T17" fmla="*/ 36 h 274"/>
              <a:gd name="T18" fmla="*/ 1 w 255"/>
              <a:gd name="T19" fmla="*/ 103 h 274"/>
              <a:gd name="T20" fmla="*/ 138 w 255"/>
              <a:gd name="T21" fmla="*/ 196 h 274"/>
              <a:gd name="T22" fmla="*/ 187 w 255"/>
              <a:gd name="T23" fmla="*/ 226 h 274"/>
              <a:gd name="T24" fmla="*/ 172 w 255"/>
              <a:gd name="T25" fmla="*/ 241 h 274"/>
              <a:gd name="T26" fmla="*/ 192 w 255"/>
              <a:gd name="T27" fmla="*/ 237 h 274"/>
              <a:gd name="T28" fmla="*/ 186 w 255"/>
              <a:gd name="T29" fmla="*/ 265 h 274"/>
              <a:gd name="T30" fmla="*/ 169 w 255"/>
              <a:gd name="T31" fmla="*/ 263 h 274"/>
              <a:gd name="T32" fmla="*/ 173 w 255"/>
              <a:gd name="T33" fmla="*/ 245 h 274"/>
              <a:gd name="T34" fmla="*/ 191 w 255"/>
              <a:gd name="T35" fmla="*/ 247 h 274"/>
              <a:gd name="T36" fmla="*/ 184 w 255"/>
              <a:gd name="T37" fmla="*/ 266 h 274"/>
              <a:gd name="T38" fmla="*/ 176 w 255"/>
              <a:gd name="T39" fmla="*/ 272 h 274"/>
              <a:gd name="T40" fmla="*/ 12 w 255"/>
              <a:gd name="T41" fmla="*/ 181 h 274"/>
              <a:gd name="T42" fmla="*/ 30 w 255"/>
              <a:gd name="T43" fmla="*/ 175 h 274"/>
              <a:gd name="T44" fmla="*/ 53 w 255"/>
              <a:gd name="T45" fmla="*/ 173 h 274"/>
              <a:gd name="T46" fmla="*/ 82 w 255"/>
              <a:gd name="T47" fmla="*/ 161 h 274"/>
              <a:gd name="T48" fmla="*/ 117 w 255"/>
              <a:gd name="T49" fmla="*/ 160 h 274"/>
              <a:gd name="T50" fmla="*/ 128 w 255"/>
              <a:gd name="T51" fmla="*/ 182 h 274"/>
              <a:gd name="T52" fmla="*/ 139 w 255"/>
              <a:gd name="T53" fmla="*/ 176 h 274"/>
              <a:gd name="T54" fmla="*/ 141 w 255"/>
              <a:gd name="T55" fmla="*/ 183 h 274"/>
              <a:gd name="T56" fmla="*/ 143 w 255"/>
              <a:gd name="T57" fmla="*/ 193 h 274"/>
              <a:gd name="T58" fmla="*/ 149 w 255"/>
              <a:gd name="T59" fmla="*/ 209 h 274"/>
              <a:gd name="T60" fmla="*/ 170 w 255"/>
              <a:gd name="T61" fmla="*/ 225 h 274"/>
              <a:gd name="T62" fmla="*/ 183 w 255"/>
              <a:gd name="T63" fmla="*/ 223 h 274"/>
              <a:gd name="T64" fmla="*/ 196 w 255"/>
              <a:gd name="T65" fmla="*/ 220 h 274"/>
              <a:gd name="T66" fmla="*/ 215 w 255"/>
              <a:gd name="T67" fmla="*/ 203 h 274"/>
              <a:gd name="T68" fmla="*/ 236 w 255"/>
              <a:gd name="T69" fmla="*/ 173 h 274"/>
              <a:gd name="T70" fmla="*/ 248 w 255"/>
              <a:gd name="T71" fmla="*/ 145 h 274"/>
              <a:gd name="T72" fmla="*/ 251 w 255"/>
              <a:gd name="T73" fmla="*/ 113 h 274"/>
              <a:gd name="T74" fmla="*/ 240 w 255"/>
              <a:gd name="T75" fmla="*/ 94 h 274"/>
              <a:gd name="T76" fmla="*/ 234 w 255"/>
              <a:gd name="T77" fmla="*/ 83 h 274"/>
              <a:gd name="T78" fmla="*/ 224 w 255"/>
              <a:gd name="T79" fmla="*/ 69 h 274"/>
              <a:gd name="T80" fmla="*/ 215 w 255"/>
              <a:gd name="T81" fmla="*/ 49 h 274"/>
              <a:gd name="T82" fmla="*/ 206 w 255"/>
              <a:gd name="T83" fmla="*/ 29 h 274"/>
              <a:gd name="T84" fmla="*/ 199 w 255"/>
              <a:gd name="T85" fmla="*/ 9 h 274"/>
              <a:gd name="T86" fmla="*/ 191 w 255"/>
              <a:gd name="T87" fmla="*/ 21 h 274"/>
              <a:gd name="T88" fmla="*/ 183 w 255"/>
              <a:gd name="T89" fmla="*/ 52 h 274"/>
              <a:gd name="T90" fmla="*/ 160 w 255"/>
              <a:gd name="T91" fmla="*/ 40 h 274"/>
              <a:gd name="T92" fmla="*/ 155 w 255"/>
              <a:gd name="T93" fmla="*/ 22 h 274"/>
              <a:gd name="T94" fmla="*/ 157 w 255"/>
              <a:gd name="T95" fmla="*/ 15 h 274"/>
              <a:gd name="T96" fmla="*/ 148 w 255"/>
              <a:gd name="T97" fmla="*/ 13 h 274"/>
              <a:gd name="T98" fmla="*/ 131 w 255"/>
              <a:gd name="T99" fmla="*/ 8 h 274"/>
              <a:gd name="T100" fmla="*/ 124 w 255"/>
              <a:gd name="T101" fmla="*/ 16 h 274"/>
              <a:gd name="T102" fmla="*/ 115 w 255"/>
              <a:gd name="T103" fmla="*/ 25 h 274"/>
              <a:gd name="T104" fmla="*/ 111 w 255"/>
              <a:gd name="T105" fmla="*/ 33 h 274"/>
              <a:gd name="T106" fmla="*/ 103 w 255"/>
              <a:gd name="T107" fmla="*/ 35 h 274"/>
              <a:gd name="T108" fmla="*/ 91 w 255"/>
              <a:gd name="T109" fmla="*/ 27 h 274"/>
              <a:gd name="T110" fmla="*/ 83 w 255"/>
              <a:gd name="T111" fmla="*/ 35 h 274"/>
              <a:gd name="T112" fmla="*/ 78 w 255"/>
              <a:gd name="T113" fmla="*/ 43 h 274"/>
              <a:gd name="T114" fmla="*/ 71 w 255"/>
              <a:gd name="T115" fmla="*/ 45 h 274"/>
              <a:gd name="T116" fmla="*/ 60 w 255"/>
              <a:gd name="T117" fmla="*/ 59 h 274"/>
              <a:gd name="T118" fmla="*/ 29 w 255"/>
              <a:gd name="T119" fmla="*/ 72 h 274"/>
              <a:gd name="T120" fmla="*/ 9 w 255"/>
              <a:gd name="T121" fmla="*/ 82 h 274"/>
              <a:gd name="T122" fmla="*/ 5 w 255"/>
              <a:gd name="T123" fmla="*/ 110 h 274"/>
              <a:gd name="T124" fmla="*/ 8 w 255"/>
              <a:gd name="T125" fmla="*/ 145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5" h="274">
                <a:moveTo>
                  <a:pt x="252" y="131"/>
                </a:moveTo>
                <a:cubicBezTo>
                  <a:pt x="252" y="129"/>
                  <a:pt x="252" y="129"/>
                  <a:pt x="252" y="129"/>
                </a:cubicBezTo>
                <a:cubicBezTo>
                  <a:pt x="252" y="130"/>
                  <a:pt x="252" y="130"/>
                  <a:pt x="252" y="130"/>
                </a:cubicBezTo>
                <a:cubicBezTo>
                  <a:pt x="252" y="131"/>
                  <a:pt x="252" y="131"/>
                  <a:pt x="252" y="131"/>
                </a:cubicBezTo>
                <a:close/>
                <a:moveTo>
                  <a:pt x="252" y="115"/>
                </a:moveTo>
                <a:cubicBezTo>
                  <a:pt x="252" y="113"/>
                  <a:pt x="252" y="113"/>
                  <a:pt x="252" y="113"/>
                </a:cubicBezTo>
                <a:cubicBezTo>
                  <a:pt x="252" y="112"/>
                  <a:pt x="252" y="112"/>
                  <a:pt x="252" y="112"/>
                </a:cubicBezTo>
                <a:cubicBezTo>
                  <a:pt x="252" y="111"/>
                  <a:pt x="252" y="111"/>
                  <a:pt x="252" y="111"/>
                </a:cubicBezTo>
                <a:cubicBezTo>
                  <a:pt x="253" y="110"/>
                  <a:pt x="253" y="110"/>
                  <a:pt x="253" y="110"/>
                </a:cubicBezTo>
                <a:cubicBezTo>
                  <a:pt x="254" y="108"/>
                  <a:pt x="254" y="108"/>
                  <a:pt x="254" y="108"/>
                </a:cubicBezTo>
                <a:cubicBezTo>
                  <a:pt x="254" y="107"/>
                  <a:pt x="254" y="107"/>
                  <a:pt x="254" y="107"/>
                </a:cubicBezTo>
                <a:cubicBezTo>
                  <a:pt x="254" y="106"/>
                  <a:pt x="254" y="106"/>
                  <a:pt x="254" y="106"/>
                </a:cubicBezTo>
                <a:cubicBezTo>
                  <a:pt x="254" y="106"/>
                  <a:pt x="254" y="106"/>
                  <a:pt x="254" y="106"/>
                </a:cubicBezTo>
                <a:cubicBezTo>
                  <a:pt x="255" y="108"/>
                  <a:pt x="255" y="108"/>
                  <a:pt x="255" y="108"/>
                </a:cubicBezTo>
                <a:cubicBezTo>
                  <a:pt x="254" y="110"/>
                  <a:pt x="254" y="110"/>
                  <a:pt x="254" y="110"/>
                </a:cubicBezTo>
                <a:cubicBezTo>
                  <a:pt x="253" y="112"/>
                  <a:pt x="253" y="112"/>
                  <a:pt x="253" y="112"/>
                </a:cubicBezTo>
                <a:cubicBezTo>
                  <a:pt x="253" y="114"/>
                  <a:pt x="253" y="114"/>
                  <a:pt x="253" y="114"/>
                </a:cubicBezTo>
                <a:cubicBezTo>
                  <a:pt x="253" y="115"/>
                  <a:pt x="253" y="115"/>
                  <a:pt x="253" y="115"/>
                </a:cubicBezTo>
                <a:cubicBezTo>
                  <a:pt x="252" y="115"/>
                  <a:pt x="252" y="115"/>
                  <a:pt x="252" y="115"/>
                </a:cubicBezTo>
                <a:close/>
                <a:moveTo>
                  <a:pt x="242" y="97"/>
                </a:moveTo>
                <a:cubicBezTo>
                  <a:pt x="243" y="98"/>
                  <a:pt x="243" y="98"/>
                  <a:pt x="243" y="98"/>
                </a:cubicBezTo>
                <a:cubicBezTo>
                  <a:pt x="244" y="99"/>
                  <a:pt x="244" y="99"/>
                  <a:pt x="244" y="99"/>
                </a:cubicBezTo>
                <a:cubicBezTo>
                  <a:pt x="244" y="98"/>
                  <a:pt x="244" y="98"/>
                  <a:pt x="244" y="98"/>
                </a:cubicBezTo>
                <a:cubicBezTo>
                  <a:pt x="243" y="97"/>
                  <a:pt x="243" y="97"/>
                  <a:pt x="243" y="97"/>
                </a:cubicBezTo>
                <a:cubicBezTo>
                  <a:pt x="243" y="97"/>
                  <a:pt x="243" y="97"/>
                  <a:pt x="243" y="97"/>
                </a:cubicBezTo>
                <a:cubicBezTo>
                  <a:pt x="243" y="97"/>
                  <a:pt x="243" y="97"/>
                  <a:pt x="243" y="97"/>
                </a:cubicBezTo>
                <a:cubicBezTo>
                  <a:pt x="242" y="96"/>
                  <a:pt x="242" y="96"/>
                  <a:pt x="242" y="96"/>
                </a:cubicBezTo>
                <a:cubicBezTo>
                  <a:pt x="242" y="97"/>
                  <a:pt x="242" y="97"/>
                  <a:pt x="242" y="97"/>
                </a:cubicBezTo>
                <a:close/>
                <a:moveTo>
                  <a:pt x="240" y="88"/>
                </a:moveTo>
                <a:cubicBezTo>
                  <a:pt x="240" y="87"/>
                  <a:pt x="240" y="87"/>
                  <a:pt x="240" y="87"/>
                </a:cubicBezTo>
                <a:cubicBezTo>
                  <a:pt x="240" y="87"/>
                  <a:pt x="240" y="87"/>
                  <a:pt x="240" y="87"/>
                </a:cubicBezTo>
                <a:cubicBezTo>
                  <a:pt x="240" y="88"/>
                  <a:pt x="240" y="88"/>
                  <a:pt x="240" y="88"/>
                </a:cubicBezTo>
                <a:close/>
                <a:moveTo>
                  <a:pt x="216" y="60"/>
                </a:moveTo>
                <a:cubicBezTo>
                  <a:pt x="217" y="59"/>
                  <a:pt x="217" y="59"/>
                  <a:pt x="217" y="59"/>
                </a:cubicBezTo>
                <a:cubicBezTo>
                  <a:pt x="216" y="58"/>
                  <a:pt x="216" y="58"/>
                  <a:pt x="216" y="58"/>
                </a:cubicBezTo>
                <a:cubicBezTo>
                  <a:pt x="217" y="58"/>
                  <a:pt x="217" y="58"/>
                  <a:pt x="217" y="58"/>
                </a:cubicBezTo>
                <a:cubicBezTo>
                  <a:pt x="217" y="57"/>
                  <a:pt x="217" y="57"/>
                  <a:pt x="217" y="57"/>
                </a:cubicBezTo>
                <a:cubicBezTo>
                  <a:pt x="217" y="59"/>
                  <a:pt x="217" y="59"/>
                  <a:pt x="217" y="59"/>
                </a:cubicBezTo>
                <a:cubicBezTo>
                  <a:pt x="217" y="61"/>
                  <a:pt x="217" y="61"/>
                  <a:pt x="217" y="61"/>
                </a:cubicBezTo>
                <a:cubicBezTo>
                  <a:pt x="216" y="60"/>
                  <a:pt x="216" y="60"/>
                  <a:pt x="216" y="60"/>
                </a:cubicBezTo>
                <a:close/>
                <a:moveTo>
                  <a:pt x="196" y="0"/>
                </a:moveTo>
                <a:cubicBezTo>
                  <a:pt x="196" y="1"/>
                  <a:pt x="196" y="1"/>
                  <a:pt x="196" y="1"/>
                </a:cubicBezTo>
                <a:cubicBezTo>
                  <a:pt x="197" y="0"/>
                  <a:pt x="197" y="0"/>
                  <a:pt x="197" y="0"/>
                </a:cubicBezTo>
                <a:cubicBezTo>
                  <a:pt x="196" y="0"/>
                  <a:pt x="196" y="0"/>
                  <a:pt x="196" y="0"/>
                </a:cubicBezTo>
                <a:close/>
                <a:moveTo>
                  <a:pt x="195" y="3"/>
                </a:moveTo>
                <a:cubicBezTo>
                  <a:pt x="195" y="5"/>
                  <a:pt x="195" y="5"/>
                  <a:pt x="195" y="5"/>
                </a:cubicBezTo>
                <a:cubicBezTo>
                  <a:pt x="195" y="5"/>
                  <a:pt x="195" y="5"/>
                  <a:pt x="195" y="5"/>
                </a:cubicBezTo>
                <a:cubicBezTo>
                  <a:pt x="196" y="5"/>
                  <a:pt x="196" y="5"/>
                  <a:pt x="196" y="5"/>
                </a:cubicBezTo>
                <a:cubicBezTo>
                  <a:pt x="196" y="4"/>
                  <a:pt x="196" y="4"/>
                  <a:pt x="196" y="4"/>
                </a:cubicBezTo>
                <a:cubicBezTo>
                  <a:pt x="195" y="3"/>
                  <a:pt x="195" y="3"/>
                  <a:pt x="195" y="3"/>
                </a:cubicBezTo>
                <a:close/>
                <a:moveTo>
                  <a:pt x="175" y="49"/>
                </a:moveTo>
                <a:cubicBezTo>
                  <a:pt x="175" y="49"/>
                  <a:pt x="175" y="49"/>
                  <a:pt x="175" y="49"/>
                </a:cubicBezTo>
                <a:cubicBezTo>
                  <a:pt x="176" y="49"/>
                  <a:pt x="176" y="49"/>
                  <a:pt x="176" y="49"/>
                </a:cubicBezTo>
                <a:cubicBezTo>
                  <a:pt x="176" y="48"/>
                  <a:pt x="176" y="48"/>
                  <a:pt x="176" y="48"/>
                </a:cubicBezTo>
                <a:cubicBezTo>
                  <a:pt x="175" y="49"/>
                  <a:pt x="175" y="49"/>
                  <a:pt x="175" y="49"/>
                </a:cubicBezTo>
                <a:close/>
                <a:moveTo>
                  <a:pt x="173" y="46"/>
                </a:moveTo>
                <a:cubicBezTo>
                  <a:pt x="174" y="47"/>
                  <a:pt x="174" y="47"/>
                  <a:pt x="174" y="47"/>
                </a:cubicBezTo>
                <a:cubicBezTo>
                  <a:pt x="174" y="46"/>
                  <a:pt x="174" y="46"/>
                  <a:pt x="174" y="46"/>
                </a:cubicBezTo>
                <a:cubicBezTo>
                  <a:pt x="175" y="45"/>
                  <a:pt x="175" y="45"/>
                  <a:pt x="175" y="45"/>
                </a:cubicBezTo>
                <a:cubicBezTo>
                  <a:pt x="177" y="45"/>
                  <a:pt x="177" y="45"/>
                  <a:pt x="177" y="45"/>
                </a:cubicBezTo>
                <a:cubicBezTo>
                  <a:pt x="177" y="45"/>
                  <a:pt x="177" y="45"/>
                  <a:pt x="177" y="45"/>
                </a:cubicBezTo>
                <a:cubicBezTo>
                  <a:pt x="175" y="44"/>
                  <a:pt x="175" y="44"/>
                  <a:pt x="175" y="44"/>
                </a:cubicBezTo>
                <a:cubicBezTo>
                  <a:pt x="173" y="45"/>
                  <a:pt x="173" y="45"/>
                  <a:pt x="173" y="45"/>
                </a:cubicBezTo>
                <a:cubicBezTo>
                  <a:pt x="173" y="45"/>
                  <a:pt x="173" y="46"/>
                  <a:pt x="173" y="46"/>
                </a:cubicBezTo>
                <a:close/>
                <a:moveTo>
                  <a:pt x="160" y="40"/>
                </a:moveTo>
                <a:cubicBezTo>
                  <a:pt x="160" y="39"/>
                  <a:pt x="160" y="39"/>
                  <a:pt x="160" y="39"/>
                </a:cubicBezTo>
                <a:cubicBezTo>
                  <a:pt x="160" y="38"/>
                  <a:pt x="160" y="38"/>
                  <a:pt x="160" y="38"/>
                </a:cubicBezTo>
                <a:cubicBezTo>
                  <a:pt x="161" y="39"/>
                  <a:pt x="161" y="39"/>
                  <a:pt x="161" y="39"/>
                </a:cubicBezTo>
                <a:cubicBezTo>
                  <a:pt x="160" y="40"/>
                  <a:pt x="160" y="40"/>
                  <a:pt x="160" y="40"/>
                </a:cubicBezTo>
                <a:close/>
                <a:moveTo>
                  <a:pt x="156" y="26"/>
                </a:moveTo>
                <a:cubicBezTo>
                  <a:pt x="156" y="26"/>
                  <a:pt x="156" y="26"/>
                  <a:pt x="156" y="26"/>
                </a:cubicBezTo>
                <a:cubicBezTo>
                  <a:pt x="156" y="26"/>
                  <a:pt x="156" y="26"/>
                  <a:pt x="156" y="26"/>
                </a:cubicBezTo>
                <a:cubicBezTo>
                  <a:pt x="156" y="25"/>
                  <a:pt x="156" y="25"/>
                  <a:pt x="156" y="25"/>
                </a:cubicBezTo>
                <a:cubicBezTo>
                  <a:pt x="156" y="25"/>
                  <a:pt x="156" y="25"/>
                  <a:pt x="156" y="25"/>
                </a:cubicBezTo>
                <a:cubicBezTo>
                  <a:pt x="157" y="26"/>
                  <a:pt x="157" y="26"/>
                  <a:pt x="157" y="26"/>
                </a:cubicBezTo>
                <a:cubicBezTo>
                  <a:pt x="156" y="26"/>
                  <a:pt x="156" y="26"/>
                  <a:pt x="156" y="26"/>
                </a:cubicBezTo>
                <a:close/>
                <a:moveTo>
                  <a:pt x="158" y="28"/>
                </a:moveTo>
                <a:cubicBezTo>
                  <a:pt x="157" y="29"/>
                  <a:pt x="157" y="29"/>
                  <a:pt x="157" y="29"/>
                </a:cubicBezTo>
                <a:cubicBezTo>
                  <a:pt x="158" y="29"/>
                  <a:pt x="158" y="29"/>
                  <a:pt x="158" y="29"/>
                </a:cubicBezTo>
                <a:cubicBezTo>
                  <a:pt x="159" y="28"/>
                  <a:pt x="159" y="28"/>
                  <a:pt x="159" y="28"/>
                </a:cubicBezTo>
                <a:cubicBezTo>
                  <a:pt x="160" y="28"/>
                  <a:pt x="160" y="28"/>
                  <a:pt x="160" y="28"/>
                </a:cubicBezTo>
                <a:cubicBezTo>
                  <a:pt x="161" y="27"/>
                  <a:pt x="161" y="27"/>
                  <a:pt x="161" y="27"/>
                </a:cubicBezTo>
                <a:cubicBezTo>
                  <a:pt x="160" y="27"/>
                  <a:pt x="160" y="27"/>
                  <a:pt x="160" y="27"/>
                </a:cubicBezTo>
                <a:cubicBezTo>
                  <a:pt x="160" y="27"/>
                  <a:pt x="160" y="27"/>
                  <a:pt x="160" y="27"/>
                </a:cubicBezTo>
                <a:cubicBezTo>
                  <a:pt x="159" y="27"/>
                  <a:pt x="159" y="27"/>
                  <a:pt x="159" y="27"/>
                </a:cubicBezTo>
                <a:cubicBezTo>
                  <a:pt x="160" y="26"/>
                  <a:pt x="160" y="26"/>
                  <a:pt x="160" y="26"/>
                </a:cubicBezTo>
                <a:cubicBezTo>
                  <a:pt x="160" y="26"/>
                  <a:pt x="160" y="26"/>
                  <a:pt x="160" y="26"/>
                </a:cubicBezTo>
                <a:cubicBezTo>
                  <a:pt x="159" y="26"/>
                  <a:pt x="159" y="26"/>
                  <a:pt x="159" y="26"/>
                </a:cubicBezTo>
                <a:cubicBezTo>
                  <a:pt x="159" y="25"/>
                  <a:pt x="159" y="25"/>
                  <a:pt x="159" y="25"/>
                </a:cubicBezTo>
                <a:cubicBezTo>
                  <a:pt x="159" y="25"/>
                  <a:pt x="159" y="25"/>
                  <a:pt x="159" y="25"/>
                </a:cubicBezTo>
                <a:cubicBezTo>
                  <a:pt x="158" y="26"/>
                  <a:pt x="158" y="26"/>
                  <a:pt x="158" y="26"/>
                </a:cubicBezTo>
                <a:cubicBezTo>
                  <a:pt x="157" y="26"/>
                  <a:pt x="157" y="26"/>
                  <a:pt x="157" y="26"/>
                </a:cubicBezTo>
                <a:cubicBezTo>
                  <a:pt x="158" y="26"/>
                  <a:pt x="158" y="26"/>
                  <a:pt x="158" y="26"/>
                </a:cubicBezTo>
                <a:cubicBezTo>
                  <a:pt x="157" y="27"/>
                  <a:pt x="157" y="27"/>
                  <a:pt x="157" y="27"/>
                </a:cubicBezTo>
                <a:cubicBezTo>
                  <a:pt x="158" y="28"/>
                  <a:pt x="158" y="28"/>
                  <a:pt x="158" y="28"/>
                </a:cubicBezTo>
                <a:close/>
                <a:moveTo>
                  <a:pt x="159" y="9"/>
                </a:moveTo>
                <a:cubicBezTo>
                  <a:pt x="160" y="9"/>
                  <a:pt x="160" y="9"/>
                  <a:pt x="160" y="9"/>
                </a:cubicBezTo>
                <a:cubicBezTo>
                  <a:pt x="160" y="8"/>
                  <a:pt x="160" y="8"/>
                  <a:pt x="160" y="8"/>
                </a:cubicBezTo>
                <a:cubicBezTo>
                  <a:pt x="161" y="7"/>
                  <a:pt x="161" y="7"/>
                  <a:pt x="161" y="7"/>
                </a:cubicBezTo>
                <a:cubicBezTo>
                  <a:pt x="160" y="7"/>
                  <a:pt x="160" y="7"/>
                  <a:pt x="160" y="7"/>
                </a:cubicBezTo>
                <a:cubicBezTo>
                  <a:pt x="159" y="8"/>
                  <a:pt x="159" y="8"/>
                  <a:pt x="159" y="8"/>
                </a:cubicBezTo>
                <a:cubicBezTo>
                  <a:pt x="159" y="9"/>
                  <a:pt x="159" y="9"/>
                  <a:pt x="159" y="9"/>
                </a:cubicBezTo>
                <a:close/>
                <a:moveTo>
                  <a:pt x="157" y="10"/>
                </a:moveTo>
                <a:cubicBezTo>
                  <a:pt x="158" y="10"/>
                  <a:pt x="158" y="10"/>
                  <a:pt x="158" y="10"/>
                </a:cubicBezTo>
                <a:cubicBezTo>
                  <a:pt x="158" y="9"/>
                  <a:pt x="158" y="9"/>
                  <a:pt x="158" y="9"/>
                </a:cubicBezTo>
                <a:cubicBezTo>
                  <a:pt x="157" y="10"/>
                  <a:pt x="157" y="10"/>
                  <a:pt x="157" y="10"/>
                </a:cubicBezTo>
                <a:close/>
                <a:moveTo>
                  <a:pt x="156" y="10"/>
                </a:moveTo>
                <a:cubicBezTo>
                  <a:pt x="157" y="11"/>
                  <a:pt x="157" y="11"/>
                  <a:pt x="157" y="11"/>
                </a:cubicBezTo>
                <a:cubicBezTo>
                  <a:pt x="157" y="10"/>
                  <a:pt x="157" y="10"/>
                  <a:pt x="157" y="10"/>
                </a:cubicBezTo>
                <a:cubicBezTo>
                  <a:pt x="156" y="10"/>
                  <a:pt x="156" y="10"/>
                  <a:pt x="156" y="10"/>
                </a:cubicBezTo>
                <a:close/>
                <a:moveTo>
                  <a:pt x="154" y="11"/>
                </a:moveTo>
                <a:cubicBezTo>
                  <a:pt x="155" y="11"/>
                  <a:pt x="155" y="11"/>
                  <a:pt x="155" y="11"/>
                </a:cubicBezTo>
                <a:cubicBezTo>
                  <a:pt x="155" y="11"/>
                  <a:pt x="155" y="11"/>
                  <a:pt x="155" y="11"/>
                </a:cubicBezTo>
                <a:cubicBezTo>
                  <a:pt x="154" y="11"/>
                  <a:pt x="154" y="11"/>
                  <a:pt x="154" y="11"/>
                </a:cubicBezTo>
                <a:close/>
                <a:moveTo>
                  <a:pt x="153" y="13"/>
                </a:moveTo>
                <a:cubicBezTo>
                  <a:pt x="152" y="12"/>
                  <a:pt x="152" y="12"/>
                  <a:pt x="152" y="12"/>
                </a:cubicBezTo>
                <a:cubicBezTo>
                  <a:pt x="154" y="12"/>
                  <a:pt x="154" y="12"/>
                  <a:pt x="154" y="12"/>
                </a:cubicBezTo>
                <a:cubicBezTo>
                  <a:pt x="155" y="12"/>
                  <a:pt x="155" y="12"/>
                  <a:pt x="155" y="12"/>
                </a:cubicBezTo>
                <a:cubicBezTo>
                  <a:pt x="154" y="12"/>
                  <a:pt x="154" y="12"/>
                  <a:pt x="154" y="12"/>
                </a:cubicBezTo>
                <a:cubicBezTo>
                  <a:pt x="153" y="13"/>
                  <a:pt x="153" y="13"/>
                  <a:pt x="153" y="13"/>
                </a:cubicBezTo>
                <a:cubicBezTo>
                  <a:pt x="153" y="13"/>
                  <a:pt x="153" y="13"/>
                  <a:pt x="153" y="13"/>
                </a:cubicBezTo>
                <a:close/>
                <a:moveTo>
                  <a:pt x="151" y="14"/>
                </a:moveTo>
                <a:cubicBezTo>
                  <a:pt x="151" y="14"/>
                  <a:pt x="151" y="14"/>
                  <a:pt x="151" y="14"/>
                </a:cubicBezTo>
                <a:cubicBezTo>
                  <a:pt x="152" y="14"/>
                  <a:pt x="152" y="14"/>
                  <a:pt x="152" y="14"/>
                </a:cubicBezTo>
                <a:cubicBezTo>
                  <a:pt x="152" y="13"/>
                  <a:pt x="152" y="13"/>
                  <a:pt x="152" y="13"/>
                </a:cubicBezTo>
                <a:cubicBezTo>
                  <a:pt x="151" y="14"/>
                  <a:pt x="151" y="14"/>
                  <a:pt x="151" y="14"/>
                </a:cubicBezTo>
                <a:close/>
                <a:moveTo>
                  <a:pt x="135" y="9"/>
                </a:moveTo>
                <a:cubicBezTo>
                  <a:pt x="134" y="7"/>
                  <a:pt x="134" y="7"/>
                  <a:pt x="134" y="7"/>
                </a:cubicBezTo>
                <a:cubicBezTo>
                  <a:pt x="134" y="6"/>
                  <a:pt x="134" y="6"/>
                  <a:pt x="134" y="6"/>
                </a:cubicBezTo>
                <a:cubicBezTo>
                  <a:pt x="135" y="6"/>
                  <a:pt x="135" y="6"/>
                  <a:pt x="135" y="6"/>
                </a:cubicBezTo>
                <a:cubicBezTo>
                  <a:pt x="135" y="7"/>
                  <a:pt x="135" y="7"/>
                  <a:pt x="135" y="7"/>
                </a:cubicBezTo>
                <a:cubicBezTo>
                  <a:pt x="135" y="9"/>
                  <a:pt x="135" y="9"/>
                  <a:pt x="135" y="9"/>
                </a:cubicBezTo>
                <a:close/>
                <a:moveTo>
                  <a:pt x="121" y="8"/>
                </a:moveTo>
                <a:cubicBezTo>
                  <a:pt x="121" y="9"/>
                  <a:pt x="121" y="9"/>
                  <a:pt x="121" y="9"/>
                </a:cubicBezTo>
                <a:cubicBezTo>
                  <a:pt x="122" y="11"/>
                  <a:pt x="122" y="11"/>
                  <a:pt x="122" y="11"/>
                </a:cubicBezTo>
                <a:cubicBezTo>
                  <a:pt x="123" y="12"/>
                  <a:pt x="123" y="12"/>
                  <a:pt x="123" y="12"/>
                </a:cubicBezTo>
                <a:cubicBezTo>
                  <a:pt x="124" y="13"/>
                  <a:pt x="124" y="13"/>
                  <a:pt x="124" y="13"/>
                </a:cubicBezTo>
                <a:cubicBezTo>
                  <a:pt x="127" y="10"/>
                  <a:pt x="127" y="10"/>
                  <a:pt x="127" y="10"/>
                </a:cubicBezTo>
                <a:cubicBezTo>
                  <a:pt x="127" y="10"/>
                  <a:pt x="127" y="10"/>
                  <a:pt x="127" y="10"/>
                </a:cubicBezTo>
                <a:cubicBezTo>
                  <a:pt x="127" y="10"/>
                  <a:pt x="127" y="10"/>
                  <a:pt x="127" y="10"/>
                </a:cubicBezTo>
                <a:cubicBezTo>
                  <a:pt x="128" y="9"/>
                  <a:pt x="128" y="9"/>
                  <a:pt x="128" y="9"/>
                </a:cubicBezTo>
                <a:cubicBezTo>
                  <a:pt x="127" y="9"/>
                  <a:pt x="127" y="9"/>
                  <a:pt x="127" y="9"/>
                </a:cubicBezTo>
                <a:cubicBezTo>
                  <a:pt x="127" y="8"/>
                  <a:pt x="127" y="8"/>
                  <a:pt x="127" y="8"/>
                </a:cubicBezTo>
                <a:cubicBezTo>
                  <a:pt x="126" y="8"/>
                  <a:pt x="126" y="8"/>
                  <a:pt x="126" y="8"/>
                </a:cubicBezTo>
                <a:cubicBezTo>
                  <a:pt x="126" y="8"/>
                  <a:pt x="126" y="8"/>
                  <a:pt x="126" y="8"/>
                </a:cubicBezTo>
                <a:cubicBezTo>
                  <a:pt x="124" y="8"/>
                  <a:pt x="124" y="8"/>
                  <a:pt x="124" y="8"/>
                </a:cubicBezTo>
                <a:cubicBezTo>
                  <a:pt x="123" y="9"/>
                  <a:pt x="123" y="9"/>
                  <a:pt x="123" y="9"/>
                </a:cubicBezTo>
                <a:cubicBezTo>
                  <a:pt x="123" y="9"/>
                  <a:pt x="123" y="9"/>
                  <a:pt x="123" y="9"/>
                </a:cubicBezTo>
                <a:cubicBezTo>
                  <a:pt x="122" y="8"/>
                  <a:pt x="122" y="8"/>
                  <a:pt x="122" y="8"/>
                </a:cubicBezTo>
                <a:cubicBezTo>
                  <a:pt x="122" y="8"/>
                  <a:pt x="122" y="8"/>
                  <a:pt x="122" y="8"/>
                </a:cubicBezTo>
                <a:cubicBezTo>
                  <a:pt x="121" y="8"/>
                  <a:pt x="121" y="8"/>
                  <a:pt x="121" y="8"/>
                </a:cubicBezTo>
                <a:cubicBezTo>
                  <a:pt x="120" y="8"/>
                  <a:pt x="120" y="8"/>
                  <a:pt x="120" y="8"/>
                </a:cubicBezTo>
                <a:cubicBezTo>
                  <a:pt x="121" y="8"/>
                  <a:pt x="121" y="8"/>
                  <a:pt x="121" y="8"/>
                </a:cubicBezTo>
                <a:close/>
                <a:moveTo>
                  <a:pt x="120" y="8"/>
                </a:moveTo>
                <a:cubicBezTo>
                  <a:pt x="121" y="11"/>
                  <a:pt x="121" y="11"/>
                  <a:pt x="121" y="11"/>
                </a:cubicBezTo>
                <a:cubicBezTo>
                  <a:pt x="122" y="11"/>
                  <a:pt x="122" y="11"/>
                  <a:pt x="122" y="11"/>
                </a:cubicBezTo>
                <a:cubicBezTo>
                  <a:pt x="122" y="11"/>
                  <a:pt x="122" y="11"/>
                  <a:pt x="122" y="11"/>
                </a:cubicBezTo>
                <a:cubicBezTo>
                  <a:pt x="121" y="11"/>
                  <a:pt x="121" y="11"/>
                  <a:pt x="121" y="11"/>
                </a:cubicBezTo>
                <a:cubicBezTo>
                  <a:pt x="120" y="11"/>
                  <a:pt x="120" y="11"/>
                  <a:pt x="120" y="11"/>
                </a:cubicBezTo>
                <a:cubicBezTo>
                  <a:pt x="119" y="11"/>
                  <a:pt x="119" y="11"/>
                  <a:pt x="119" y="11"/>
                </a:cubicBezTo>
                <a:cubicBezTo>
                  <a:pt x="119" y="10"/>
                  <a:pt x="119" y="10"/>
                  <a:pt x="119" y="10"/>
                </a:cubicBezTo>
                <a:cubicBezTo>
                  <a:pt x="119" y="10"/>
                  <a:pt x="119" y="10"/>
                  <a:pt x="119" y="10"/>
                </a:cubicBezTo>
                <a:cubicBezTo>
                  <a:pt x="120" y="10"/>
                  <a:pt x="120" y="10"/>
                  <a:pt x="120" y="10"/>
                </a:cubicBezTo>
                <a:cubicBezTo>
                  <a:pt x="120" y="10"/>
                  <a:pt x="120" y="10"/>
                  <a:pt x="120" y="10"/>
                </a:cubicBezTo>
                <a:cubicBezTo>
                  <a:pt x="119" y="10"/>
                  <a:pt x="119" y="10"/>
                  <a:pt x="119" y="10"/>
                </a:cubicBezTo>
                <a:cubicBezTo>
                  <a:pt x="120" y="9"/>
                  <a:pt x="120" y="9"/>
                  <a:pt x="120" y="9"/>
                </a:cubicBezTo>
                <a:cubicBezTo>
                  <a:pt x="119" y="9"/>
                  <a:pt x="119" y="9"/>
                  <a:pt x="119" y="9"/>
                </a:cubicBezTo>
                <a:cubicBezTo>
                  <a:pt x="120" y="8"/>
                  <a:pt x="120" y="8"/>
                  <a:pt x="120" y="8"/>
                </a:cubicBezTo>
                <a:close/>
                <a:moveTo>
                  <a:pt x="80" y="35"/>
                </a:moveTo>
                <a:cubicBezTo>
                  <a:pt x="81" y="36"/>
                  <a:pt x="81" y="36"/>
                  <a:pt x="81" y="36"/>
                </a:cubicBezTo>
                <a:cubicBezTo>
                  <a:pt x="82" y="36"/>
                  <a:pt x="82" y="36"/>
                  <a:pt x="82" y="36"/>
                </a:cubicBezTo>
                <a:cubicBezTo>
                  <a:pt x="81" y="35"/>
                  <a:pt x="81" y="35"/>
                  <a:pt x="81" y="35"/>
                </a:cubicBezTo>
                <a:cubicBezTo>
                  <a:pt x="81" y="35"/>
                  <a:pt x="80" y="35"/>
                  <a:pt x="80" y="35"/>
                </a:cubicBezTo>
                <a:close/>
                <a:moveTo>
                  <a:pt x="80" y="40"/>
                </a:moveTo>
                <a:cubicBezTo>
                  <a:pt x="80" y="38"/>
                  <a:pt x="80" y="38"/>
                  <a:pt x="80" y="38"/>
                </a:cubicBezTo>
                <a:cubicBezTo>
                  <a:pt x="80" y="37"/>
                  <a:pt x="80" y="37"/>
                  <a:pt x="80" y="37"/>
                </a:cubicBezTo>
                <a:cubicBezTo>
                  <a:pt x="80" y="39"/>
                  <a:pt x="80" y="39"/>
                  <a:pt x="80" y="39"/>
                </a:cubicBezTo>
                <a:cubicBezTo>
                  <a:pt x="80" y="40"/>
                  <a:pt x="80" y="40"/>
                  <a:pt x="80" y="40"/>
                </a:cubicBezTo>
                <a:close/>
                <a:moveTo>
                  <a:pt x="86" y="30"/>
                </a:moveTo>
                <a:cubicBezTo>
                  <a:pt x="85" y="30"/>
                  <a:pt x="85" y="30"/>
                  <a:pt x="85" y="30"/>
                </a:cubicBezTo>
                <a:cubicBezTo>
                  <a:pt x="85" y="30"/>
                  <a:pt x="85" y="30"/>
                  <a:pt x="85" y="30"/>
                </a:cubicBezTo>
                <a:cubicBezTo>
                  <a:pt x="86" y="30"/>
                  <a:pt x="86" y="30"/>
                  <a:pt x="86" y="30"/>
                </a:cubicBezTo>
                <a:cubicBezTo>
                  <a:pt x="86" y="30"/>
                  <a:pt x="86" y="30"/>
                  <a:pt x="86" y="30"/>
                </a:cubicBezTo>
                <a:close/>
                <a:moveTo>
                  <a:pt x="19" y="74"/>
                </a:moveTo>
                <a:cubicBezTo>
                  <a:pt x="19" y="73"/>
                  <a:pt x="19" y="73"/>
                  <a:pt x="19" y="73"/>
                </a:cubicBezTo>
                <a:cubicBezTo>
                  <a:pt x="20" y="71"/>
                  <a:pt x="20" y="71"/>
                  <a:pt x="20" y="71"/>
                </a:cubicBezTo>
                <a:cubicBezTo>
                  <a:pt x="20" y="73"/>
                  <a:pt x="20" y="73"/>
                  <a:pt x="20" y="73"/>
                </a:cubicBezTo>
                <a:cubicBezTo>
                  <a:pt x="19" y="74"/>
                  <a:pt x="19" y="74"/>
                  <a:pt x="19" y="74"/>
                </a:cubicBezTo>
                <a:close/>
                <a:moveTo>
                  <a:pt x="0" y="106"/>
                </a:moveTo>
                <a:cubicBezTo>
                  <a:pt x="1" y="103"/>
                  <a:pt x="1" y="103"/>
                  <a:pt x="1" y="103"/>
                </a:cubicBezTo>
                <a:cubicBezTo>
                  <a:pt x="1" y="105"/>
                  <a:pt x="1" y="105"/>
                  <a:pt x="1" y="105"/>
                </a:cubicBezTo>
                <a:cubicBezTo>
                  <a:pt x="1" y="105"/>
                  <a:pt x="0" y="106"/>
                  <a:pt x="0" y="106"/>
                </a:cubicBezTo>
                <a:close/>
                <a:moveTo>
                  <a:pt x="0" y="111"/>
                </a:moveTo>
                <a:cubicBezTo>
                  <a:pt x="0" y="108"/>
                  <a:pt x="0" y="108"/>
                  <a:pt x="0" y="108"/>
                </a:cubicBezTo>
                <a:cubicBezTo>
                  <a:pt x="0" y="107"/>
                  <a:pt x="0" y="107"/>
                  <a:pt x="0" y="107"/>
                </a:cubicBezTo>
                <a:cubicBezTo>
                  <a:pt x="1" y="109"/>
                  <a:pt x="1" y="109"/>
                  <a:pt x="1" y="109"/>
                </a:cubicBezTo>
                <a:cubicBezTo>
                  <a:pt x="0" y="111"/>
                  <a:pt x="0" y="111"/>
                  <a:pt x="0" y="111"/>
                </a:cubicBezTo>
                <a:close/>
                <a:moveTo>
                  <a:pt x="139" y="192"/>
                </a:moveTo>
                <a:cubicBezTo>
                  <a:pt x="139" y="193"/>
                  <a:pt x="139" y="193"/>
                  <a:pt x="139" y="193"/>
                </a:cubicBezTo>
                <a:cubicBezTo>
                  <a:pt x="140" y="194"/>
                  <a:pt x="140" y="194"/>
                  <a:pt x="140" y="194"/>
                </a:cubicBezTo>
                <a:cubicBezTo>
                  <a:pt x="140" y="194"/>
                  <a:pt x="140" y="194"/>
                  <a:pt x="140" y="194"/>
                </a:cubicBezTo>
                <a:cubicBezTo>
                  <a:pt x="140" y="195"/>
                  <a:pt x="140" y="195"/>
                  <a:pt x="140" y="195"/>
                </a:cubicBezTo>
                <a:cubicBezTo>
                  <a:pt x="141" y="195"/>
                  <a:pt x="141" y="195"/>
                  <a:pt x="141" y="195"/>
                </a:cubicBezTo>
                <a:cubicBezTo>
                  <a:pt x="142" y="194"/>
                  <a:pt x="142" y="194"/>
                  <a:pt x="142" y="194"/>
                </a:cubicBezTo>
                <a:cubicBezTo>
                  <a:pt x="143" y="195"/>
                  <a:pt x="143" y="195"/>
                  <a:pt x="143" y="195"/>
                </a:cubicBezTo>
                <a:cubicBezTo>
                  <a:pt x="142" y="195"/>
                  <a:pt x="142" y="195"/>
                  <a:pt x="142" y="195"/>
                </a:cubicBezTo>
                <a:cubicBezTo>
                  <a:pt x="139" y="195"/>
                  <a:pt x="139" y="195"/>
                  <a:pt x="139" y="195"/>
                </a:cubicBezTo>
                <a:cubicBezTo>
                  <a:pt x="139" y="196"/>
                  <a:pt x="139" y="196"/>
                  <a:pt x="139" y="196"/>
                </a:cubicBezTo>
                <a:cubicBezTo>
                  <a:pt x="138" y="196"/>
                  <a:pt x="138" y="196"/>
                  <a:pt x="138" y="196"/>
                </a:cubicBezTo>
                <a:cubicBezTo>
                  <a:pt x="138" y="196"/>
                  <a:pt x="138" y="196"/>
                  <a:pt x="138" y="196"/>
                </a:cubicBezTo>
                <a:cubicBezTo>
                  <a:pt x="138" y="196"/>
                  <a:pt x="138" y="196"/>
                  <a:pt x="138" y="196"/>
                </a:cubicBezTo>
                <a:cubicBezTo>
                  <a:pt x="137" y="196"/>
                  <a:pt x="137" y="196"/>
                  <a:pt x="137" y="196"/>
                </a:cubicBezTo>
                <a:cubicBezTo>
                  <a:pt x="136" y="196"/>
                  <a:pt x="136" y="196"/>
                  <a:pt x="136" y="196"/>
                </a:cubicBezTo>
                <a:cubicBezTo>
                  <a:pt x="135" y="196"/>
                  <a:pt x="135" y="196"/>
                  <a:pt x="135" y="196"/>
                </a:cubicBezTo>
                <a:cubicBezTo>
                  <a:pt x="135" y="196"/>
                  <a:pt x="135" y="196"/>
                  <a:pt x="135" y="196"/>
                </a:cubicBezTo>
                <a:cubicBezTo>
                  <a:pt x="133" y="196"/>
                  <a:pt x="133" y="196"/>
                  <a:pt x="133" y="196"/>
                </a:cubicBezTo>
                <a:cubicBezTo>
                  <a:pt x="132" y="195"/>
                  <a:pt x="132" y="195"/>
                  <a:pt x="132" y="195"/>
                </a:cubicBezTo>
                <a:cubicBezTo>
                  <a:pt x="133" y="194"/>
                  <a:pt x="133" y="194"/>
                  <a:pt x="133" y="194"/>
                </a:cubicBezTo>
                <a:cubicBezTo>
                  <a:pt x="134" y="194"/>
                  <a:pt x="134" y="194"/>
                  <a:pt x="134" y="194"/>
                </a:cubicBezTo>
                <a:cubicBezTo>
                  <a:pt x="137" y="193"/>
                  <a:pt x="137" y="193"/>
                  <a:pt x="137" y="193"/>
                </a:cubicBezTo>
                <a:cubicBezTo>
                  <a:pt x="139" y="193"/>
                  <a:pt x="139" y="193"/>
                  <a:pt x="139" y="193"/>
                </a:cubicBezTo>
                <a:cubicBezTo>
                  <a:pt x="139" y="192"/>
                  <a:pt x="139" y="192"/>
                  <a:pt x="139" y="192"/>
                </a:cubicBezTo>
                <a:close/>
                <a:moveTo>
                  <a:pt x="180" y="222"/>
                </a:moveTo>
                <a:cubicBezTo>
                  <a:pt x="181" y="222"/>
                  <a:pt x="181" y="222"/>
                  <a:pt x="181" y="222"/>
                </a:cubicBezTo>
                <a:cubicBezTo>
                  <a:pt x="181" y="222"/>
                  <a:pt x="181" y="222"/>
                  <a:pt x="181" y="222"/>
                </a:cubicBezTo>
                <a:cubicBezTo>
                  <a:pt x="181" y="223"/>
                  <a:pt x="181" y="223"/>
                  <a:pt x="181" y="223"/>
                </a:cubicBezTo>
                <a:cubicBezTo>
                  <a:pt x="180" y="222"/>
                  <a:pt x="180" y="222"/>
                  <a:pt x="180" y="222"/>
                </a:cubicBezTo>
                <a:close/>
                <a:moveTo>
                  <a:pt x="187" y="226"/>
                </a:moveTo>
                <a:cubicBezTo>
                  <a:pt x="187" y="227"/>
                  <a:pt x="187" y="227"/>
                  <a:pt x="187" y="227"/>
                </a:cubicBezTo>
                <a:cubicBezTo>
                  <a:pt x="188" y="226"/>
                  <a:pt x="188" y="226"/>
                  <a:pt x="188" y="226"/>
                </a:cubicBezTo>
                <a:cubicBezTo>
                  <a:pt x="187" y="226"/>
                  <a:pt x="187" y="226"/>
                  <a:pt x="187" y="226"/>
                </a:cubicBezTo>
                <a:close/>
                <a:moveTo>
                  <a:pt x="172" y="243"/>
                </a:moveTo>
                <a:cubicBezTo>
                  <a:pt x="172" y="244"/>
                  <a:pt x="172" y="244"/>
                  <a:pt x="172" y="244"/>
                </a:cubicBezTo>
                <a:cubicBezTo>
                  <a:pt x="173" y="244"/>
                  <a:pt x="173" y="244"/>
                  <a:pt x="173" y="244"/>
                </a:cubicBezTo>
                <a:cubicBezTo>
                  <a:pt x="173" y="244"/>
                  <a:pt x="173" y="244"/>
                  <a:pt x="173" y="244"/>
                </a:cubicBezTo>
                <a:cubicBezTo>
                  <a:pt x="173" y="243"/>
                  <a:pt x="173" y="243"/>
                  <a:pt x="173" y="243"/>
                </a:cubicBezTo>
                <a:cubicBezTo>
                  <a:pt x="172" y="243"/>
                  <a:pt x="172" y="243"/>
                  <a:pt x="172" y="243"/>
                </a:cubicBezTo>
                <a:close/>
                <a:moveTo>
                  <a:pt x="172" y="241"/>
                </a:moveTo>
                <a:cubicBezTo>
                  <a:pt x="172" y="242"/>
                  <a:pt x="172" y="242"/>
                  <a:pt x="172" y="242"/>
                </a:cubicBezTo>
                <a:cubicBezTo>
                  <a:pt x="173" y="242"/>
                  <a:pt x="173" y="242"/>
                  <a:pt x="173" y="242"/>
                </a:cubicBezTo>
                <a:cubicBezTo>
                  <a:pt x="173" y="241"/>
                  <a:pt x="173" y="241"/>
                  <a:pt x="173" y="241"/>
                </a:cubicBezTo>
                <a:cubicBezTo>
                  <a:pt x="172" y="241"/>
                  <a:pt x="172" y="241"/>
                  <a:pt x="172" y="241"/>
                </a:cubicBezTo>
                <a:close/>
                <a:moveTo>
                  <a:pt x="171" y="242"/>
                </a:moveTo>
                <a:cubicBezTo>
                  <a:pt x="171" y="242"/>
                  <a:pt x="171" y="242"/>
                  <a:pt x="171" y="242"/>
                </a:cubicBezTo>
                <a:cubicBezTo>
                  <a:pt x="171" y="241"/>
                  <a:pt x="171" y="241"/>
                  <a:pt x="171" y="241"/>
                </a:cubicBezTo>
                <a:cubicBezTo>
                  <a:pt x="172" y="240"/>
                  <a:pt x="172" y="240"/>
                  <a:pt x="172" y="240"/>
                </a:cubicBezTo>
                <a:cubicBezTo>
                  <a:pt x="172" y="241"/>
                  <a:pt x="172" y="241"/>
                  <a:pt x="172" y="241"/>
                </a:cubicBezTo>
                <a:cubicBezTo>
                  <a:pt x="171" y="242"/>
                  <a:pt x="171" y="242"/>
                  <a:pt x="171" y="242"/>
                </a:cubicBezTo>
                <a:close/>
                <a:moveTo>
                  <a:pt x="167" y="238"/>
                </a:moveTo>
                <a:cubicBezTo>
                  <a:pt x="167" y="237"/>
                  <a:pt x="167" y="237"/>
                  <a:pt x="167" y="237"/>
                </a:cubicBezTo>
                <a:cubicBezTo>
                  <a:pt x="167" y="236"/>
                  <a:pt x="167" y="236"/>
                  <a:pt x="167" y="236"/>
                </a:cubicBezTo>
                <a:cubicBezTo>
                  <a:pt x="168" y="235"/>
                  <a:pt x="168" y="235"/>
                  <a:pt x="168" y="235"/>
                </a:cubicBezTo>
                <a:cubicBezTo>
                  <a:pt x="168" y="234"/>
                  <a:pt x="168" y="234"/>
                  <a:pt x="168" y="234"/>
                </a:cubicBezTo>
                <a:cubicBezTo>
                  <a:pt x="169" y="233"/>
                  <a:pt x="169" y="233"/>
                  <a:pt x="169" y="233"/>
                </a:cubicBezTo>
                <a:cubicBezTo>
                  <a:pt x="169" y="232"/>
                  <a:pt x="169" y="232"/>
                  <a:pt x="169" y="232"/>
                </a:cubicBezTo>
                <a:cubicBezTo>
                  <a:pt x="170" y="233"/>
                  <a:pt x="170" y="233"/>
                  <a:pt x="170" y="233"/>
                </a:cubicBezTo>
                <a:cubicBezTo>
                  <a:pt x="170" y="235"/>
                  <a:pt x="170" y="235"/>
                  <a:pt x="170" y="235"/>
                </a:cubicBezTo>
                <a:cubicBezTo>
                  <a:pt x="170" y="235"/>
                  <a:pt x="170" y="235"/>
                  <a:pt x="170" y="235"/>
                </a:cubicBezTo>
                <a:cubicBezTo>
                  <a:pt x="169" y="237"/>
                  <a:pt x="169" y="237"/>
                  <a:pt x="169" y="237"/>
                </a:cubicBezTo>
                <a:cubicBezTo>
                  <a:pt x="169" y="237"/>
                  <a:pt x="169" y="237"/>
                  <a:pt x="169" y="237"/>
                </a:cubicBezTo>
                <a:cubicBezTo>
                  <a:pt x="168" y="238"/>
                  <a:pt x="168" y="238"/>
                  <a:pt x="168" y="238"/>
                </a:cubicBezTo>
                <a:cubicBezTo>
                  <a:pt x="167" y="238"/>
                  <a:pt x="167" y="238"/>
                  <a:pt x="167" y="238"/>
                </a:cubicBezTo>
                <a:close/>
                <a:moveTo>
                  <a:pt x="192" y="241"/>
                </a:moveTo>
                <a:cubicBezTo>
                  <a:pt x="195" y="240"/>
                  <a:pt x="195" y="240"/>
                  <a:pt x="195" y="240"/>
                </a:cubicBezTo>
                <a:cubicBezTo>
                  <a:pt x="195" y="239"/>
                  <a:pt x="195" y="239"/>
                  <a:pt x="195" y="239"/>
                </a:cubicBezTo>
                <a:cubicBezTo>
                  <a:pt x="192" y="237"/>
                  <a:pt x="192" y="237"/>
                  <a:pt x="192" y="237"/>
                </a:cubicBezTo>
                <a:cubicBezTo>
                  <a:pt x="192" y="237"/>
                  <a:pt x="192" y="237"/>
                  <a:pt x="192" y="237"/>
                </a:cubicBezTo>
                <a:cubicBezTo>
                  <a:pt x="192" y="238"/>
                  <a:pt x="192" y="238"/>
                  <a:pt x="192" y="238"/>
                </a:cubicBezTo>
                <a:cubicBezTo>
                  <a:pt x="191" y="239"/>
                  <a:pt x="191" y="239"/>
                  <a:pt x="191" y="239"/>
                </a:cubicBezTo>
                <a:cubicBezTo>
                  <a:pt x="192" y="240"/>
                  <a:pt x="192" y="240"/>
                  <a:pt x="192" y="240"/>
                </a:cubicBezTo>
                <a:cubicBezTo>
                  <a:pt x="192" y="241"/>
                  <a:pt x="192" y="241"/>
                  <a:pt x="192" y="241"/>
                </a:cubicBezTo>
                <a:close/>
                <a:moveTo>
                  <a:pt x="191" y="242"/>
                </a:moveTo>
                <a:cubicBezTo>
                  <a:pt x="191" y="243"/>
                  <a:pt x="191" y="243"/>
                  <a:pt x="191" y="243"/>
                </a:cubicBezTo>
                <a:cubicBezTo>
                  <a:pt x="193" y="243"/>
                  <a:pt x="193" y="243"/>
                  <a:pt x="193" y="243"/>
                </a:cubicBezTo>
                <a:cubicBezTo>
                  <a:pt x="194" y="244"/>
                  <a:pt x="194" y="244"/>
                  <a:pt x="194" y="244"/>
                </a:cubicBezTo>
                <a:cubicBezTo>
                  <a:pt x="195" y="243"/>
                  <a:pt x="195" y="243"/>
                  <a:pt x="195" y="243"/>
                </a:cubicBezTo>
                <a:cubicBezTo>
                  <a:pt x="193" y="242"/>
                  <a:pt x="193" y="242"/>
                  <a:pt x="193" y="242"/>
                </a:cubicBezTo>
                <a:cubicBezTo>
                  <a:pt x="192" y="242"/>
                  <a:pt x="192" y="242"/>
                  <a:pt x="192" y="242"/>
                </a:cubicBezTo>
                <a:cubicBezTo>
                  <a:pt x="191" y="242"/>
                  <a:pt x="191" y="242"/>
                  <a:pt x="191" y="242"/>
                </a:cubicBezTo>
                <a:close/>
                <a:moveTo>
                  <a:pt x="192" y="245"/>
                </a:moveTo>
                <a:cubicBezTo>
                  <a:pt x="192" y="245"/>
                  <a:pt x="192" y="245"/>
                  <a:pt x="192" y="245"/>
                </a:cubicBezTo>
                <a:cubicBezTo>
                  <a:pt x="193" y="244"/>
                  <a:pt x="193" y="244"/>
                  <a:pt x="193" y="244"/>
                </a:cubicBezTo>
                <a:cubicBezTo>
                  <a:pt x="192" y="245"/>
                  <a:pt x="192" y="245"/>
                  <a:pt x="192" y="245"/>
                </a:cubicBezTo>
                <a:close/>
                <a:moveTo>
                  <a:pt x="186" y="266"/>
                </a:moveTo>
                <a:cubicBezTo>
                  <a:pt x="186" y="265"/>
                  <a:pt x="186" y="265"/>
                  <a:pt x="186" y="265"/>
                </a:cubicBezTo>
                <a:cubicBezTo>
                  <a:pt x="186" y="265"/>
                  <a:pt x="186" y="265"/>
                  <a:pt x="186" y="265"/>
                </a:cubicBezTo>
                <a:cubicBezTo>
                  <a:pt x="186" y="266"/>
                  <a:pt x="186" y="266"/>
                  <a:pt x="186" y="266"/>
                </a:cubicBezTo>
                <a:close/>
                <a:moveTo>
                  <a:pt x="178" y="273"/>
                </a:moveTo>
                <a:cubicBezTo>
                  <a:pt x="177" y="272"/>
                  <a:pt x="177" y="272"/>
                  <a:pt x="177" y="272"/>
                </a:cubicBezTo>
                <a:cubicBezTo>
                  <a:pt x="178" y="271"/>
                  <a:pt x="178" y="271"/>
                  <a:pt x="178" y="271"/>
                </a:cubicBezTo>
                <a:cubicBezTo>
                  <a:pt x="178" y="270"/>
                  <a:pt x="178" y="270"/>
                  <a:pt x="178" y="270"/>
                </a:cubicBezTo>
                <a:cubicBezTo>
                  <a:pt x="179" y="270"/>
                  <a:pt x="179" y="270"/>
                  <a:pt x="179" y="270"/>
                </a:cubicBezTo>
                <a:cubicBezTo>
                  <a:pt x="179" y="270"/>
                  <a:pt x="179" y="270"/>
                  <a:pt x="179" y="270"/>
                </a:cubicBezTo>
                <a:cubicBezTo>
                  <a:pt x="179" y="271"/>
                  <a:pt x="179" y="271"/>
                  <a:pt x="179" y="271"/>
                </a:cubicBezTo>
                <a:cubicBezTo>
                  <a:pt x="178" y="273"/>
                  <a:pt x="178" y="273"/>
                  <a:pt x="178" y="273"/>
                </a:cubicBezTo>
                <a:close/>
                <a:moveTo>
                  <a:pt x="170" y="272"/>
                </a:moveTo>
                <a:cubicBezTo>
                  <a:pt x="170" y="271"/>
                  <a:pt x="170" y="271"/>
                  <a:pt x="170" y="271"/>
                </a:cubicBezTo>
                <a:cubicBezTo>
                  <a:pt x="171" y="270"/>
                  <a:pt x="171" y="270"/>
                  <a:pt x="171" y="270"/>
                </a:cubicBezTo>
                <a:cubicBezTo>
                  <a:pt x="170" y="270"/>
                  <a:pt x="170" y="270"/>
                  <a:pt x="170" y="270"/>
                </a:cubicBezTo>
                <a:cubicBezTo>
                  <a:pt x="169" y="268"/>
                  <a:pt x="169" y="268"/>
                  <a:pt x="169" y="268"/>
                </a:cubicBezTo>
                <a:cubicBezTo>
                  <a:pt x="170" y="268"/>
                  <a:pt x="170" y="268"/>
                  <a:pt x="170" y="268"/>
                </a:cubicBezTo>
                <a:cubicBezTo>
                  <a:pt x="169" y="267"/>
                  <a:pt x="169" y="267"/>
                  <a:pt x="169" y="267"/>
                </a:cubicBezTo>
                <a:cubicBezTo>
                  <a:pt x="169" y="264"/>
                  <a:pt x="169" y="264"/>
                  <a:pt x="169" y="264"/>
                </a:cubicBezTo>
                <a:cubicBezTo>
                  <a:pt x="169" y="263"/>
                  <a:pt x="169" y="263"/>
                  <a:pt x="169" y="263"/>
                </a:cubicBezTo>
                <a:cubicBezTo>
                  <a:pt x="168" y="262"/>
                  <a:pt x="168" y="262"/>
                  <a:pt x="168" y="262"/>
                </a:cubicBezTo>
                <a:cubicBezTo>
                  <a:pt x="168" y="260"/>
                  <a:pt x="168" y="260"/>
                  <a:pt x="168" y="260"/>
                </a:cubicBezTo>
                <a:cubicBezTo>
                  <a:pt x="169" y="259"/>
                  <a:pt x="169" y="259"/>
                  <a:pt x="169" y="259"/>
                </a:cubicBezTo>
                <a:cubicBezTo>
                  <a:pt x="170" y="260"/>
                  <a:pt x="170" y="260"/>
                  <a:pt x="170" y="260"/>
                </a:cubicBezTo>
                <a:cubicBezTo>
                  <a:pt x="171" y="260"/>
                  <a:pt x="171" y="260"/>
                  <a:pt x="171" y="260"/>
                </a:cubicBezTo>
                <a:cubicBezTo>
                  <a:pt x="170" y="259"/>
                  <a:pt x="170" y="259"/>
                  <a:pt x="170" y="259"/>
                </a:cubicBezTo>
                <a:cubicBezTo>
                  <a:pt x="170" y="258"/>
                  <a:pt x="170" y="258"/>
                  <a:pt x="170" y="258"/>
                </a:cubicBezTo>
                <a:cubicBezTo>
                  <a:pt x="169" y="258"/>
                  <a:pt x="169" y="258"/>
                  <a:pt x="169" y="258"/>
                </a:cubicBezTo>
                <a:cubicBezTo>
                  <a:pt x="170" y="256"/>
                  <a:pt x="170" y="256"/>
                  <a:pt x="170" y="256"/>
                </a:cubicBezTo>
                <a:cubicBezTo>
                  <a:pt x="169" y="254"/>
                  <a:pt x="169" y="254"/>
                  <a:pt x="169" y="254"/>
                </a:cubicBezTo>
                <a:cubicBezTo>
                  <a:pt x="169" y="251"/>
                  <a:pt x="169" y="251"/>
                  <a:pt x="169" y="251"/>
                </a:cubicBezTo>
                <a:cubicBezTo>
                  <a:pt x="170" y="249"/>
                  <a:pt x="170" y="249"/>
                  <a:pt x="170" y="249"/>
                </a:cubicBezTo>
                <a:cubicBezTo>
                  <a:pt x="169" y="247"/>
                  <a:pt x="169" y="247"/>
                  <a:pt x="169" y="247"/>
                </a:cubicBezTo>
                <a:cubicBezTo>
                  <a:pt x="169" y="246"/>
                  <a:pt x="169" y="246"/>
                  <a:pt x="169" y="246"/>
                </a:cubicBezTo>
                <a:cubicBezTo>
                  <a:pt x="170" y="245"/>
                  <a:pt x="170" y="245"/>
                  <a:pt x="170" y="245"/>
                </a:cubicBezTo>
                <a:cubicBezTo>
                  <a:pt x="170" y="244"/>
                  <a:pt x="170" y="244"/>
                  <a:pt x="170" y="244"/>
                </a:cubicBezTo>
                <a:cubicBezTo>
                  <a:pt x="170" y="243"/>
                  <a:pt x="170" y="243"/>
                  <a:pt x="170" y="243"/>
                </a:cubicBezTo>
                <a:cubicBezTo>
                  <a:pt x="171" y="244"/>
                  <a:pt x="171" y="244"/>
                  <a:pt x="171" y="244"/>
                </a:cubicBezTo>
                <a:cubicBezTo>
                  <a:pt x="173" y="245"/>
                  <a:pt x="173" y="245"/>
                  <a:pt x="173" y="245"/>
                </a:cubicBezTo>
                <a:cubicBezTo>
                  <a:pt x="173" y="246"/>
                  <a:pt x="173" y="246"/>
                  <a:pt x="173" y="246"/>
                </a:cubicBezTo>
                <a:cubicBezTo>
                  <a:pt x="174" y="245"/>
                  <a:pt x="174" y="245"/>
                  <a:pt x="174" y="245"/>
                </a:cubicBezTo>
                <a:cubicBezTo>
                  <a:pt x="174" y="244"/>
                  <a:pt x="174" y="244"/>
                  <a:pt x="174" y="244"/>
                </a:cubicBezTo>
                <a:cubicBezTo>
                  <a:pt x="174" y="246"/>
                  <a:pt x="174" y="246"/>
                  <a:pt x="174" y="246"/>
                </a:cubicBezTo>
                <a:cubicBezTo>
                  <a:pt x="176" y="247"/>
                  <a:pt x="176" y="247"/>
                  <a:pt x="176" y="247"/>
                </a:cubicBezTo>
                <a:cubicBezTo>
                  <a:pt x="178" y="249"/>
                  <a:pt x="178" y="249"/>
                  <a:pt x="178" y="249"/>
                </a:cubicBezTo>
                <a:cubicBezTo>
                  <a:pt x="179" y="250"/>
                  <a:pt x="179" y="250"/>
                  <a:pt x="179" y="250"/>
                </a:cubicBezTo>
                <a:cubicBezTo>
                  <a:pt x="180" y="249"/>
                  <a:pt x="180" y="249"/>
                  <a:pt x="180" y="249"/>
                </a:cubicBezTo>
                <a:cubicBezTo>
                  <a:pt x="181" y="249"/>
                  <a:pt x="181" y="249"/>
                  <a:pt x="181" y="249"/>
                </a:cubicBezTo>
                <a:cubicBezTo>
                  <a:pt x="182" y="250"/>
                  <a:pt x="182" y="250"/>
                  <a:pt x="182" y="250"/>
                </a:cubicBezTo>
                <a:cubicBezTo>
                  <a:pt x="182" y="249"/>
                  <a:pt x="182" y="249"/>
                  <a:pt x="182" y="249"/>
                </a:cubicBezTo>
                <a:cubicBezTo>
                  <a:pt x="183" y="248"/>
                  <a:pt x="183" y="248"/>
                  <a:pt x="183" y="248"/>
                </a:cubicBezTo>
                <a:cubicBezTo>
                  <a:pt x="187" y="249"/>
                  <a:pt x="187" y="249"/>
                  <a:pt x="187" y="249"/>
                </a:cubicBezTo>
                <a:cubicBezTo>
                  <a:pt x="187" y="248"/>
                  <a:pt x="187" y="248"/>
                  <a:pt x="187" y="248"/>
                </a:cubicBezTo>
                <a:cubicBezTo>
                  <a:pt x="188" y="247"/>
                  <a:pt x="188" y="247"/>
                  <a:pt x="188" y="247"/>
                </a:cubicBezTo>
                <a:cubicBezTo>
                  <a:pt x="189" y="247"/>
                  <a:pt x="189" y="247"/>
                  <a:pt x="189" y="247"/>
                </a:cubicBezTo>
                <a:cubicBezTo>
                  <a:pt x="189" y="248"/>
                  <a:pt x="189" y="248"/>
                  <a:pt x="189" y="248"/>
                </a:cubicBezTo>
                <a:cubicBezTo>
                  <a:pt x="190" y="247"/>
                  <a:pt x="190" y="247"/>
                  <a:pt x="190" y="247"/>
                </a:cubicBezTo>
                <a:cubicBezTo>
                  <a:pt x="191" y="247"/>
                  <a:pt x="191" y="247"/>
                  <a:pt x="191" y="247"/>
                </a:cubicBezTo>
                <a:cubicBezTo>
                  <a:pt x="192" y="248"/>
                  <a:pt x="192" y="248"/>
                  <a:pt x="192" y="248"/>
                </a:cubicBezTo>
                <a:cubicBezTo>
                  <a:pt x="192" y="249"/>
                  <a:pt x="192" y="249"/>
                  <a:pt x="192" y="249"/>
                </a:cubicBezTo>
                <a:cubicBezTo>
                  <a:pt x="191" y="252"/>
                  <a:pt x="191" y="252"/>
                  <a:pt x="191" y="252"/>
                </a:cubicBezTo>
                <a:cubicBezTo>
                  <a:pt x="190" y="253"/>
                  <a:pt x="190" y="253"/>
                  <a:pt x="190" y="253"/>
                </a:cubicBezTo>
                <a:cubicBezTo>
                  <a:pt x="190" y="256"/>
                  <a:pt x="190" y="256"/>
                  <a:pt x="190" y="256"/>
                </a:cubicBezTo>
                <a:cubicBezTo>
                  <a:pt x="189" y="257"/>
                  <a:pt x="189" y="257"/>
                  <a:pt x="189" y="257"/>
                </a:cubicBezTo>
                <a:cubicBezTo>
                  <a:pt x="189" y="258"/>
                  <a:pt x="189" y="258"/>
                  <a:pt x="189" y="258"/>
                </a:cubicBezTo>
                <a:cubicBezTo>
                  <a:pt x="189" y="259"/>
                  <a:pt x="189" y="259"/>
                  <a:pt x="189" y="259"/>
                </a:cubicBezTo>
                <a:cubicBezTo>
                  <a:pt x="189" y="260"/>
                  <a:pt x="189" y="260"/>
                  <a:pt x="189" y="260"/>
                </a:cubicBezTo>
                <a:cubicBezTo>
                  <a:pt x="188" y="262"/>
                  <a:pt x="188" y="262"/>
                  <a:pt x="188" y="262"/>
                </a:cubicBezTo>
                <a:cubicBezTo>
                  <a:pt x="188" y="261"/>
                  <a:pt x="188" y="261"/>
                  <a:pt x="188" y="261"/>
                </a:cubicBezTo>
                <a:cubicBezTo>
                  <a:pt x="188" y="259"/>
                  <a:pt x="188" y="259"/>
                  <a:pt x="188" y="259"/>
                </a:cubicBezTo>
                <a:cubicBezTo>
                  <a:pt x="187" y="260"/>
                  <a:pt x="187" y="260"/>
                  <a:pt x="187" y="260"/>
                </a:cubicBezTo>
                <a:cubicBezTo>
                  <a:pt x="186" y="261"/>
                  <a:pt x="186" y="261"/>
                  <a:pt x="186" y="261"/>
                </a:cubicBezTo>
                <a:cubicBezTo>
                  <a:pt x="186" y="263"/>
                  <a:pt x="186" y="263"/>
                  <a:pt x="186" y="263"/>
                </a:cubicBezTo>
                <a:cubicBezTo>
                  <a:pt x="186" y="264"/>
                  <a:pt x="186" y="264"/>
                  <a:pt x="186" y="264"/>
                </a:cubicBezTo>
                <a:cubicBezTo>
                  <a:pt x="185" y="264"/>
                  <a:pt x="185" y="264"/>
                  <a:pt x="185" y="264"/>
                </a:cubicBezTo>
                <a:cubicBezTo>
                  <a:pt x="185" y="265"/>
                  <a:pt x="185" y="265"/>
                  <a:pt x="185" y="265"/>
                </a:cubicBezTo>
                <a:cubicBezTo>
                  <a:pt x="184" y="266"/>
                  <a:pt x="184" y="266"/>
                  <a:pt x="184" y="266"/>
                </a:cubicBezTo>
                <a:cubicBezTo>
                  <a:pt x="185" y="267"/>
                  <a:pt x="185" y="267"/>
                  <a:pt x="185" y="267"/>
                </a:cubicBezTo>
                <a:cubicBezTo>
                  <a:pt x="185" y="268"/>
                  <a:pt x="185" y="268"/>
                  <a:pt x="185" y="268"/>
                </a:cubicBezTo>
                <a:cubicBezTo>
                  <a:pt x="183" y="270"/>
                  <a:pt x="183" y="270"/>
                  <a:pt x="183" y="270"/>
                </a:cubicBezTo>
                <a:cubicBezTo>
                  <a:pt x="183" y="270"/>
                  <a:pt x="183" y="270"/>
                  <a:pt x="183" y="270"/>
                </a:cubicBezTo>
                <a:cubicBezTo>
                  <a:pt x="182" y="270"/>
                  <a:pt x="182" y="270"/>
                  <a:pt x="182" y="270"/>
                </a:cubicBezTo>
                <a:cubicBezTo>
                  <a:pt x="182" y="268"/>
                  <a:pt x="182" y="268"/>
                  <a:pt x="182" y="268"/>
                </a:cubicBezTo>
                <a:cubicBezTo>
                  <a:pt x="183" y="269"/>
                  <a:pt x="183" y="269"/>
                  <a:pt x="183" y="269"/>
                </a:cubicBezTo>
                <a:cubicBezTo>
                  <a:pt x="183" y="268"/>
                  <a:pt x="183" y="268"/>
                  <a:pt x="183" y="268"/>
                </a:cubicBezTo>
                <a:cubicBezTo>
                  <a:pt x="182" y="267"/>
                  <a:pt x="182" y="267"/>
                  <a:pt x="182" y="267"/>
                </a:cubicBezTo>
                <a:cubicBezTo>
                  <a:pt x="181" y="267"/>
                  <a:pt x="181" y="267"/>
                  <a:pt x="181" y="267"/>
                </a:cubicBezTo>
                <a:cubicBezTo>
                  <a:pt x="181" y="269"/>
                  <a:pt x="181" y="269"/>
                  <a:pt x="181" y="269"/>
                </a:cubicBezTo>
                <a:cubicBezTo>
                  <a:pt x="180" y="268"/>
                  <a:pt x="180" y="268"/>
                  <a:pt x="180" y="268"/>
                </a:cubicBezTo>
                <a:cubicBezTo>
                  <a:pt x="180" y="267"/>
                  <a:pt x="180" y="267"/>
                  <a:pt x="180" y="267"/>
                </a:cubicBezTo>
                <a:cubicBezTo>
                  <a:pt x="179" y="268"/>
                  <a:pt x="179" y="268"/>
                  <a:pt x="179" y="268"/>
                </a:cubicBezTo>
                <a:cubicBezTo>
                  <a:pt x="178" y="269"/>
                  <a:pt x="178" y="269"/>
                  <a:pt x="178" y="269"/>
                </a:cubicBezTo>
                <a:cubicBezTo>
                  <a:pt x="178" y="270"/>
                  <a:pt x="178" y="270"/>
                  <a:pt x="178" y="270"/>
                </a:cubicBezTo>
                <a:cubicBezTo>
                  <a:pt x="177" y="269"/>
                  <a:pt x="177" y="269"/>
                  <a:pt x="177" y="269"/>
                </a:cubicBezTo>
                <a:cubicBezTo>
                  <a:pt x="177" y="271"/>
                  <a:pt x="177" y="271"/>
                  <a:pt x="177" y="271"/>
                </a:cubicBezTo>
                <a:cubicBezTo>
                  <a:pt x="176" y="272"/>
                  <a:pt x="176" y="272"/>
                  <a:pt x="176" y="272"/>
                </a:cubicBezTo>
                <a:cubicBezTo>
                  <a:pt x="175" y="274"/>
                  <a:pt x="175" y="274"/>
                  <a:pt x="175" y="274"/>
                </a:cubicBezTo>
                <a:cubicBezTo>
                  <a:pt x="174" y="274"/>
                  <a:pt x="174" y="274"/>
                  <a:pt x="174" y="274"/>
                </a:cubicBezTo>
                <a:cubicBezTo>
                  <a:pt x="174" y="273"/>
                  <a:pt x="174" y="273"/>
                  <a:pt x="174" y="273"/>
                </a:cubicBezTo>
                <a:cubicBezTo>
                  <a:pt x="174" y="272"/>
                  <a:pt x="174" y="272"/>
                  <a:pt x="174" y="272"/>
                </a:cubicBezTo>
                <a:cubicBezTo>
                  <a:pt x="173" y="273"/>
                  <a:pt x="173" y="273"/>
                  <a:pt x="173" y="273"/>
                </a:cubicBezTo>
                <a:cubicBezTo>
                  <a:pt x="172" y="272"/>
                  <a:pt x="172" y="272"/>
                  <a:pt x="172" y="272"/>
                </a:cubicBezTo>
                <a:cubicBezTo>
                  <a:pt x="171" y="273"/>
                  <a:pt x="171" y="273"/>
                  <a:pt x="171" y="273"/>
                </a:cubicBezTo>
                <a:cubicBezTo>
                  <a:pt x="171" y="273"/>
                  <a:pt x="170" y="272"/>
                  <a:pt x="170" y="272"/>
                </a:cubicBezTo>
                <a:close/>
                <a:moveTo>
                  <a:pt x="2" y="174"/>
                </a:moveTo>
                <a:cubicBezTo>
                  <a:pt x="3" y="175"/>
                  <a:pt x="3" y="175"/>
                  <a:pt x="3" y="175"/>
                </a:cubicBezTo>
                <a:cubicBezTo>
                  <a:pt x="4" y="175"/>
                  <a:pt x="4" y="175"/>
                  <a:pt x="4" y="175"/>
                </a:cubicBezTo>
                <a:cubicBezTo>
                  <a:pt x="7" y="177"/>
                  <a:pt x="7" y="177"/>
                  <a:pt x="7" y="177"/>
                </a:cubicBezTo>
                <a:cubicBezTo>
                  <a:pt x="7" y="178"/>
                  <a:pt x="7" y="178"/>
                  <a:pt x="7" y="178"/>
                </a:cubicBezTo>
                <a:cubicBezTo>
                  <a:pt x="7" y="179"/>
                  <a:pt x="7" y="179"/>
                  <a:pt x="7" y="179"/>
                </a:cubicBezTo>
                <a:cubicBezTo>
                  <a:pt x="9" y="179"/>
                  <a:pt x="9" y="179"/>
                  <a:pt x="9" y="179"/>
                </a:cubicBezTo>
                <a:cubicBezTo>
                  <a:pt x="9" y="180"/>
                  <a:pt x="9" y="180"/>
                  <a:pt x="9" y="180"/>
                </a:cubicBezTo>
                <a:cubicBezTo>
                  <a:pt x="11" y="180"/>
                  <a:pt x="11" y="180"/>
                  <a:pt x="11" y="180"/>
                </a:cubicBezTo>
                <a:cubicBezTo>
                  <a:pt x="12" y="180"/>
                  <a:pt x="12" y="180"/>
                  <a:pt x="12" y="180"/>
                </a:cubicBezTo>
                <a:cubicBezTo>
                  <a:pt x="12" y="181"/>
                  <a:pt x="12" y="181"/>
                  <a:pt x="12" y="181"/>
                </a:cubicBezTo>
                <a:cubicBezTo>
                  <a:pt x="14" y="181"/>
                  <a:pt x="14" y="181"/>
                  <a:pt x="14" y="181"/>
                </a:cubicBezTo>
                <a:cubicBezTo>
                  <a:pt x="15" y="180"/>
                  <a:pt x="15" y="180"/>
                  <a:pt x="15" y="180"/>
                </a:cubicBezTo>
                <a:cubicBezTo>
                  <a:pt x="16" y="181"/>
                  <a:pt x="16" y="181"/>
                  <a:pt x="16" y="181"/>
                </a:cubicBezTo>
                <a:cubicBezTo>
                  <a:pt x="16" y="181"/>
                  <a:pt x="16" y="181"/>
                  <a:pt x="16" y="181"/>
                </a:cubicBezTo>
                <a:cubicBezTo>
                  <a:pt x="17" y="181"/>
                  <a:pt x="17" y="181"/>
                  <a:pt x="17" y="181"/>
                </a:cubicBezTo>
                <a:cubicBezTo>
                  <a:pt x="19" y="181"/>
                  <a:pt x="19" y="181"/>
                  <a:pt x="19" y="181"/>
                </a:cubicBezTo>
                <a:cubicBezTo>
                  <a:pt x="20" y="181"/>
                  <a:pt x="20" y="181"/>
                  <a:pt x="20" y="181"/>
                </a:cubicBezTo>
                <a:cubicBezTo>
                  <a:pt x="20" y="180"/>
                  <a:pt x="20" y="180"/>
                  <a:pt x="20" y="180"/>
                </a:cubicBezTo>
                <a:cubicBezTo>
                  <a:pt x="21" y="180"/>
                  <a:pt x="21" y="180"/>
                  <a:pt x="21" y="180"/>
                </a:cubicBezTo>
                <a:cubicBezTo>
                  <a:pt x="22" y="178"/>
                  <a:pt x="22" y="178"/>
                  <a:pt x="22" y="178"/>
                </a:cubicBezTo>
                <a:cubicBezTo>
                  <a:pt x="24" y="178"/>
                  <a:pt x="24" y="178"/>
                  <a:pt x="24" y="178"/>
                </a:cubicBezTo>
                <a:cubicBezTo>
                  <a:pt x="24" y="177"/>
                  <a:pt x="24" y="177"/>
                  <a:pt x="24" y="177"/>
                </a:cubicBezTo>
                <a:cubicBezTo>
                  <a:pt x="25" y="177"/>
                  <a:pt x="25" y="177"/>
                  <a:pt x="25" y="177"/>
                </a:cubicBezTo>
                <a:cubicBezTo>
                  <a:pt x="26" y="177"/>
                  <a:pt x="26" y="177"/>
                  <a:pt x="26" y="177"/>
                </a:cubicBezTo>
                <a:cubicBezTo>
                  <a:pt x="27" y="178"/>
                  <a:pt x="27" y="178"/>
                  <a:pt x="27" y="178"/>
                </a:cubicBezTo>
                <a:cubicBezTo>
                  <a:pt x="28" y="176"/>
                  <a:pt x="28" y="176"/>
                  <a:pt x="28" y="176"/>
                </a:cubicBezTo>
                <a:cubicBezTo>
                  <a:pt x="29" y="176"/>
                  <a:pt x="29" y="176"/>
                  <a:pt x="29" y="176"/>
                </a:cubicBezTo>
                <a:cubicBezTo>
                  <a:pt x="29" y="176"/>
                  <a:pt x="29" y="176"/>
                  <a:pt x="29" y="176"/>
                </a:cubicBezTo>
                <a:cubicBezTo>
                  <a:pt x="30" y="175"/>
                  <a:pt x="30" y="175"/>
                  <a:pt x="30" y="175"/>
                </a:cubicBezTo>
                <a:cubicBezTo>
                  <a:pt x="33" y="172"/>
                  <a:pt x="33" y="172"/>
                  <a:pt x="33" y="172"/>
                </a:cubicBezTo>
                <a:cubicBezTo>
                  <a:pt x="34" y="173"/>
                  <a:pt x="34" y="173"/>
                  <a:pt x="34" y="173"/>
                </a:cubicBezTo>
                <a:cubicBezTo>
                  <a:pt x="35" y="173"/>
                  <a:pt x="35" y="173"/>
                  <a:pt x="35" y="173"/>
                </a:cubicBezTo>
                <a:cubicBezTo>
                  <a:pt x="36" y="172"/>
                  <a:pt x="36" y="172"/>
                  <a:pt x="36" y="172"/>
                </a:cubicBezTo>
                <a:cubicBezTo>
                  <a:pt x="40" y="172"/>
                  <a:pt x="40" y="172"/>
                  <a:pt x="40" y="172"/>
                </a:cubicBezTo>
                <a:cubicBezTo>
                  <a:pt x="40" y="172"/>
                  <a:pt x="40" y="172"/>
                  <a:pt x="40" y="172"/>
                </a:cubicBezTo>
                <a:cubicBezTo>
                  <a:pt x="42" y="172"/>
                  <a:pt x="42" y="172"/>
                  <a:pt x="42" y="172"/>
                </a:cubicBezTo>
                <a:cubicBezTo>
                  <a:pt x="43" y="172"/>
                  <a:pt x="43" y="172"/>
                  <a:pt x="43" y="172"/>
                </a:cubicBezTo>
                <a:cubicBezTo>
                  <a:pt x="44" y="172"/>
                  <a:pt x="44" y="172"/>
                  <a:pt x="44" y="172"/>
                </a:cubicBezTo>
                <a:cubicBezTo>
                  <a:pt x="45" y="172"/>
                  <a:pt x="45" y="172"/>
                  <a:pt x="45" y="172"/>
                </a:cubicBezTo>
                <a:cubicBezTo>
                  <a:pt x="46" y="173"/>
                  <a:pt x="46" y="173"/>
                  <a:pt x="46" y="173"/>
                </a:cubicBezTo>
                <a:cubicBezTo>
                  <a:pt x="47" y="173"/>
                  <a:pt x="47" y="173"/>
                  <a:pt x="47" y="173"/>
                </a:cubicBezTo>
                <a:cubicBezTo>
                  <a:pt x="48" y="173"/>
                  <a:pt x="48" y="173"/>
                  <a:pt x="48" y="173"/>
                </a:cubicBezTo>
                <a:cubicBezTo>
                  <a:pt x="48" y="173"/>
                  <a:pt x="48" y="173"/>
                  <a:pt x="48" y="173"/>
                </a:cubicBezTo>
                <a:cubicBezTo>
                  <a:pt x="49" y="173"/>
                  <a:pt x="49" y="173"/>
                  <a:pt x="49" y="173"/>
                </a:cubicBezTo>
                <a:cubicBezTo>
                  <a:pt x="52" y="173"/>
                  <a:pt x="52" y="173"/>
                  <a:pt x="52" y="173"/>
                </a:cubicBezTo>
                <a:cubicBezTo>
                  <a:pt x="51" y="174"/>
                  <a:pt x="51" y="174"/>
                  <a:pt x="51" y="174"/>
                </a:cubicBezTo>
                <a:cubicBezTo>
                  <a:pt x="52" y="174"/>
                  <a:pt x="52" y="174"/>
                  <a:pt x="52" y="174"/>
                </a:cubicBezTo>
                <a:cubicBezTo>
                  <a:pt x="53" y="173"/>
                  <a:pt x="53" y="173"/>
                  <a:pt x="53" y="173"/>
                </a:cubicBezTo>
                <a:cubicBezTo>
                  <a:pt x="55" y="173"/>
                  <a:pt x="55" y="173"/>
                  <a:pt x="55" y="173"/>
                </a:cubicBezTo>
                <a:cubicBezTo>
                  <a:pt x="56" y="172"/>
                  <a:pt x="56" y="172"/>
                  <a:pt x="56" y="172"/>
                </a:cubicBezTo>
                <a:cubicBezTo>
                  <a:pt x="57" y="170"/>
                  <a:pt x="57" y="170"/>
                  <a:pt x="57" y="170"/>
                </a:cubicBezTo>
                <a:cubicBezTo>
                  <a:pt x="57" y="170"/>
                  <a:pt x="57" y="170"/>
                  <a:pt x="57" y="170"/>
                </a:cubicBezTo>
                <a:cubicBezTo>
                  <a:pt x="59" y="169"/>
                  <a:pt x="59" y="169"/>
                  <a:pt x="59" y="169"/>
                </a:cubicBezTo>
                <a:cubicBezTo>
                  <a:pt x="60" y="167"/>
                  <a:pt x="60" y="167"/>
                  <a:pt x="60" y="167"/>
                </a:cubicBezTo>
                <a:cubicBezTo>
                  <a:pt x="61" y="165"/>
                  <a:pt x="61" y="165"/>
                  <a:pt x="61" y="165"/>
                </a:cubicBezTo>
                <a:cubicBezTo>
                  <a:pt x="63" y="165"/>
                  <a:pt x="63" y="165"/>
                  <a:pt x="63" y="165"/>
                </a:cubicBezTo>
                <a:cubicBezTo>
                  <a:pt x="64" y="165"/>
                  <a:pt x="64" y="165"/>
                  <a:pt x="64" y="165"/>
                </a:cubicBezTo>
                <a:cubicBezTo>
                  <a:pt x="66" y="164"/>
                  <a:pt x="66" y="164"/>
                  <a:pt x="66" y="164"/>
                </a:cubicBezTo>
                <a:cubicBezTo>
                  <a:pt x="69" y="162"/>
                  <a:pt x="69" y="162"/>
                  <a:pt x="69" y="162"/>
                </a:cubicBezTo>
                <a:cubicBezTo>
                  <a:pt x="72" y="160"/>
                  <a:pt x="72" y="160"/>
                  <a:pt x="72" y="160"/>
                </a:cubicBezTo>
                <a:cubicBezTo>
                  <a:pt x="72" y="160"/>
                  <a:pt x="72" y="160"/>
                  <a:pt x="72" y="160"/>
                </a:cubicBezTo>
                <a:cubicBezTo>
                  <a:pt x="73" y="160"/>
                  <a:pt x="73" y="160"/>
                  <a:pt x="73" y="160"/>
                </a:cubicBezTo>
                <a:cubicBezTo>
                  <a:pt x="74" y="160"/>
                  <a:pt x="74" y="160"/>
                  <a:pt x="74" y="160"/>
                </a:cubicBezTo>
                <a:cubicBezTo>
                  <a:pt x="76" y="161"/>
                  <a:pt x="76" y="161"/>
                  <a:pt x="76" y="161"/>
                </a:cubicBezTo>
                <a:cubicBezTo>
                  <a:pt x="78" y="161"/>
                  <a:pt x="78" y="161"/>
                  <a:pt x="78" y="161"/>
                </a:cubicBezTo>
                <a:cubicBezTo>
                  <a:pt x="79" y="161"/>
                  <a:pt x="79" y="161"/>
                  <a:pt x="79" y="161"/>
                </a:cubicBezTo>
                <a:cubicBezTo>
                  <a:pt x="82" y="161"/>
                  <a:pt x="82" y="161"/>
                  <a:pt x="82" y="161"/>
                </a:cubicBezTo>
                <a:cubicBezTo>
                  <a:pt x="85" y="159"/>
                  <a:pt x="85" y="159"/>
                  <a:pt x="85" y="159"/>
                </a:cubicBezTo>
                <a:cubicBezTo>
                  <a:pt x="87" y="159"/>
                  <a:pt x="87" y="159"/>
                  <a:pt x="87" y="159"/>
                </a:cubicBezTo>
                <a:cubicBezTo>
                  <a:pt x="89" y="158"/>
                  <a:pt x="89" y="158"/>
                  <a:pt x="89" y="158"/>
                </a:cubicBezTo>
                <a:cubicBezTo>
                  <a:pt x="90" y="158"/>
                  <a:pt x="90" y="158"/>
                  <a:pt x="90" y="158"/>
                </a:cubicBezTo>
                <a:cubicBezTo>
                  <a:pt x="91" y="157"/>
                  <a:pt x="91" y="157"/>
                  <a:pt x="91" y="157"/>
                </a:cubicBezTo>
                <a:cubicBezTo>
                  <a:pt x="94" y="156"/>
                  <a:pt x="94" y="156"/>
                  <a:pt x="94" y="156"/>
                </a:cubicBezTo>
                <a:cubicBezTo>
                  <a:pt x="101" y="156"/>
                  <a:pt x="101" y="156"/>
                  <a:pt x="101" y="156"/>
                </a:cubicBezTo>
                <a:cubicBezTo>
                  <a:pt x="103" y="157"/>
                  <a:pt x="103" y="157"/>
                  <a:pt x="103" y="157"/>
                </a:cubicBezTo>
                <a:cubicBezTo>
                  <a:pt x="105" y="157"/>
                  <a:pt x="105" y="157"/>
                  <a:pt x="105" y="157"/>
                </a:cubicBezTo>
                <a:cubicBezTo>
                  <a:pt x="107" y="156"/>
                  <a:pt x="107" y="156"/>
                  <a:pt x="107" y="156"/>
                </a:cubicBezTo>
                <a:cubicBezTo>
                  <a:pt x="108" y="156"/>
                  <a:pt x="108" y="156"/>
                  <a:pt x="108" y="156"/>
                </a:cubicBezTo>
                <a:cubicBezTo>
                  <a:pt x="110" y="158"/>
                  <a:pt x="110" y="158"/>
                  <a:pt x="110" y="158"/>
                </a:cubicBezTo>
                <a:cubicBezTo>
                  <a:pt x="112" y="160"/>
                  <a:pt x="112" y="160"/>
                  <a:pt x="112" y="160"/>
                </a:cubicBezTo>
                <a:cubicBezTo>
                  <a:pt x="113" y="161"/>
                  <a:pt x="113" y="161"/>
                  <a:pt x="113" y="161"/>
                </a:cubicBezTo>
                <a:cubicBezTo>
                  <a:pt x="113" y="160"/>
                  <a:pt x="113" y="160"/>
                  <a:pt x="113" y="160"/>
                </a:cubicBezTo>
                <a:cubicBezTo>
                  <a:pt x="114" y="160"/>
                  <a:pt x="114" y="160"/>
                  <a:pt x="114" y="160"/>
                </a:cubicBezTo>
                <a:cubicBezTo>
                  <a:pt x="115" y="160"/>
                  <a:pt x="115" y="160"/>
                  <a:pt x="115" y="160"/>
                </a:cubicBezTo>
                <a:cubicBezTo>
                  <a:pt x="116" y="160"/>
                  <a:pt x="116" y="160"/>
                  <a:pt x="116" y="160"/>
                </a:cubicBezTo>
                <a:cubicBezTo>
                  <a:pt x="117" y="160"/>
                  <a:pt x="117" y="160"/>
                  <a:pt x="117" y="160"/>
                </a:cubicBezTo>
                <a:cubicBezTo>
                  <a:pt x="118" y="162"/>
                  <a:pt x="118" y="162"/>
                  <a:pt x="118" y="162"/>
                </a:cubicBezTo>
                <a:cubicBezTo>
                  <a:pt x="120" y="162"/>
                  <a:pt x="120" y="162"/>
                  <a:pt x="120" y="162"/>
                </a:cubicBezTo>
                <a:cubicBezTo>
                  <a:pt x="120" y="162"/>
                  <a:pt x="120" y="162"/>
                  <a:pt x="120" y="162"/>
                </a:cubicBezTo>
                <a:cubicBezTo>
                  <a:pt x="123" y="164"/>
                  <a:pt x="123" y="164"/>
                  <a:pt x="123" y="164"/>
                </a:cubicBezTo>
                <a:cubicBezTo>
                  <a:pt x="123" y="165"/>
                  <a:pt x="123" y="165"/>
                  <a:pt x="123" y="165"/>
                </a:cubicBezTo>
                <a:cubicBezTo>
                  <a:pt x="124" y="165"/>
                  <a:pt x="124" y="165"/>
                  <a:pt x="124" y="165"/>
                </a:cubicBezTo>
                <a:cubicBezTo>
                  <a:pt x="125" y="166"/>
                  <a:pt x="125" y="166"/>
                  <a:pt x="125" y="166"/>
                </a:cubicBezTo>
                <a:cubicBezTo>
                  <a:pt x="124" y="167"/>
                  <a:pt x="124" y="167"/>
                  <a:pt x="124" y="167"/>
                </a:cubicBezTo>
                <a:cubicBezTo>
                  <a:pt x="123" y="167"/>
                  <a:pt x="123" y="167"/>
                  <a:pt x="123" y="167"/>
                </a:cubicBezTo>
                <a:cubicBezTo>
                  <a:pt x="123" y="168"/>
                  <a:pt x="123" y="168"/>
                  <a:pt x="123" y="168"/>
                </a:cubicBezTo>
                <a:cubicBezTo>
                  <a:pt x="124" y="170"/>
                  <a:pt x="124" y="170"/>
                  <a:pt x="124" y="170"/>
                </a:cubicBezTo>
                <a:cubicBezTo>
                  <a:pt x="125" y="170"/>
                  <a:pt x="125" y="170"/>
                  <a:pt x="125" y="170"/>
                </a:cubicBezTo>
                <a:cubicBezTo>
                  <a:pt x="126" y="172"/>
                  <a:pt x="126" y="172"/>
                  <a:pt x="126" y="172"/>
                </a:cubicBezTo>
                <a:cubicBezTo>
                  <a:pt x="127" y="173"/>
                  <a:pt x="127" y="173"/>
                  <a:pt x="127" y="173"/>
                </a:cubicBezTo>
                <a:cubicBezTo>
                  <a:pt x="127" y="175"/>
                  <a:pt x="127" y="175"/>
                  <a:pt x="127" y="175"/>
                </a:cubicBezTo>
                <a:cubicBezTo>
                  <a:pt x="128" y="178"/>
                  <a:pt x="128" y="178"/>
                  <a:pt x="128" y="178"/>
                </a:cubicBezTo>
                <a:cubicBezTo>
                  <a:pt x="128" y="179"/>
                  <a:pt x="128" y="179"/>
                  <a:pt x="128" y="179"/>
                </a:cubicBezTo>
                <a:cubicBezTo>
                  <a:pt x="128" y="180"/>
                  <a:pt x="128" y="180"/>
                  <a:pt x="128" y="180"/>
                </a:cubicBezTo>
                <a:cubicBezTo>
                  <a:pt x="128" y="182"/>
                  <a:pt x="128" y="182"/>
                  <a:pt x="128" y="182"/>
                </a:cubicBezTo>
                <a:cubicBezTo>
                  <a:pt x="127" y="183"/>
                  <a:pt x="127" y="183"/>
                  <a:pt x="127" y="183"/>
                </a:cubicBezTo>
                <a:cubicBezTo>
                  <a:pt x="127" y="182"/>
                  <a:pt x="127" y="182"/>
                  <a:pt x="127" y="182"/>
                </a:cubicBezTo>
                <a:cubicBezTo>
                  <a:pt x="126" y="182"/>
                  <a:pt x="126" y="182"/>
                  <a:pt x="126" y="182"/>
                </a:cubicBezTo>
                <a:cubicBezTo>
                  <a:pt x="127" y="184"/>
                  <a:pt x="127" y="184"/>
                  <a:pt x="127" y="184"/>
                </a:cubicBezTo>
                <a:cubicBezTo>
                  <a:pt x="128" y="184"/>
                  <a:pt x="128" y="184"/>
                  <a:pt x="128" y="184"/>
                </a:cubicBezTo>
                <a:cubicBezTo>
                  <a:pt x="129" y="186"/>
                  <a:pt x="129" y="186"/>
                  <a:pt x="129" y="186"/>
                </a:cubicBezTo>
                <a:cubicBezTo>
                  <a:pt x="130" y="185"/>
                  <a:pt x="130" y="185"/>
                  <a:pt x="130" y="185"/>
                </a:cubicBezTo>
                <a:cubicBezTo>
                  <a:pt x="131" y="186"/>
                  <a:pt x="131" y="186"/>
                  <a:pt x="131" y="186"/>
                </a:cubicBezTo>
                <a:cubicBezTo>
                  <a:pt x="131" y="185"/>
                  <a:pt x="131" y="185"/>
                  <a:pt x="131" y="185"/>
                </a:cubicBezTo>
                <a:cubicBezTo>
                  <a:pt x="130" y="184"/>
                  <a:pt x="130" y="184"/>
                  <a:pt x="130" y="184"/>
                </a:cubicBezTo>
                <a:cubicBezTo>
                  <a:pt x="131" y="183"/>
                  <a:pt x="131" y="183"/>
                  <a:pt x="131" y="183"/>
                </a:cubicBezTo>
                <a:cubicBezTo>
                  <a:pt x="132" y="182"/>
                  <a:pt x="132" y="182"/>
                  <a:pt x="132" y="182"/>
                </a:cubicBezTo>
                <a:cubicBezTo>
                  <a:pt x="133" y="182"/>
                  <a:pt x="133" y="182"/>
                  <a:pt x="133" y="182"/>
                </a:cubicBezTo>
                <a:cubicBezTo>
                  <a:pt x="133" y="181"/>
                  <a:pt x="133" y="181"/>
                  <a:pt x="133" y="181"/>
                </a:cubicBezTo>
                <a:cubicBezTo>
                  <a:pt x="134" y="180"/>
                  <a:pt x="134" y="180"/>
                  <a:pt x="134" y="180"/>
                </a:cubicBezTo>
                <a:cubicBezTo>
                  <a:pt x="135" y="179"/>
                  <a:pt x="135" y="179"/>
                  <a:pt x="135" y="179"/>
                </a:cubicBezTo>
                <a:cubicBezTo>
                  <a:pt x="136" y="178"/>
                  <a:pt x="136" y="178"/>
                  <a:pt x="136" y="178"/>
                </a:cubicBezTo>
                <a:cubicBezTo>
                  <a:pt x="138" y="176"/>
                  <a:pt x="138" y="176"/>
                  <a:pt x="138" y="176"/>
                </a:cubicBezTo>
                <a:cubicBezTo>
                  <a:pt x="139" y="176"/>
                  <a:pt x="139" y="176"/>
                  <a:pt x="139" y="176"/>
                </a:cubicBezTo>
                <a:cubicBezTo>
                  <a:pt x="139" y="176"/>
                  <a:pt x="139" y="176"/>
                  <a:pt x="139" y="176"/>
                </a:cubicBezTo>
                <a:cubicBezTo>
                  <a:pt x="141" y="175"/>
                  <a:pt x="141" y="175"/>
                  <a:pt x="141" y="175"/>
                </a:cubicBezTo>
                <a:cubicBezTo>
                  <a:pt x="142" y="173"/>
                  <a:pt x="142" y="173"/>
                  <a:pt x="142" y="173"/>
                </a:cubicBezTo>
                <a:cubicBezTo>
                  <a:pt x="143" y="170"/>
                  <a:pt x="143" y="170"/>
                  <a:pt x="143" y="170"/>
                </a:cubicBezTo>
                <a:cubicBezTo>
                  <a:pt x="145" y="170"/>
                  <a:pt x="145" y="170"/>
                  <a:pt x="145" y="170"/>
                </a:cubicBezTo>
                <a:cubicBezTo>
                  <a:pt x="146" y="169"/>
                  <a:pt x="146" y="169"/>
                  <a:pt x="146" y="169"/>
                </a:cubicBezTo>
                <a:cubicBezTo>
                  <a:pt x="145" y="167"/>
                  <a:pt x="145" y="167"/>
                  <a:pt x="145" y="167"/>
                </a:cubicBezTo>
                <a:cubicBezTo>
                  <a:pt x="146" y="166"/>
                  <a:pt x="146" y="166"/>
                  <a:pt x="146" y="166"/>
                </a:cubicBezTo>
                <a:cubicBezTo>
                  <a:pt x="147" y="168"/>
                  <a:pt x="147" y="168"/>
                  <a:pt x="147" y="168"/>
                </a:cubicBezTo>
                <a:cubicBezTo>
                  <a:pt x="147" y="169"/>
                  <a:pt x="147" y="169"/>
                  <a:pt x="147" y="169"/>
                </a:cubicBezTo>
                <a:cubicBezTo>
                  <a:pt x="147" y="171"/>
                  <a:pt x="147" y="171"/>
                  <a:pt x="147" y="171"/>
                </a:cubicBezTo>
                <a:cubicBezTo>
                  <a:pt x="146" y="172"/>
                  <a:pt x="146" y="172"/>
                  <a:pt x="146" y="172"/>
                </a:cubicBezTo>
                <a:cubicBezTo>
                  <a:pt x="145" y="175"/>
                  <a:pt x="145" y="175"/>
                  <a:pt x="145" y="175"/>
                </a:cubicBezTo>
                <a:cubicBezTo>
                  <a:pt x="143" y="177"/>
                  <a:pt x="143" y="177"/>
                  <a:pt x="143" y="177"/>
                </a:cubicBezTo>
                <a:cubicBezTo>
                  <a:pt x="142" y="178"/>
                  <a:pt x="142" y="178"/>
                  <a:pt x="142" y="178"/>
                </a:cubicBezTo>
                <a:cubicBezTo>
                  <a:pt x="142" y="179"/>
                  <a:pt x="142" y="179"/>
                  <a:pt x="142" y="179"/>
                </a:cubicBezTo>
                <a:cubicBezTo>
                  <a:pt x="142" y="181"/>
                  <a:pt x="142" y="181"/>
                  <a:pt x="142" y="181"/>
                </a:cubicBezTo>
                <a:cubicBezTo>
                  <a:pt x="140" y="183"/>
                  <a:pt x="140" y="183"/>
                  <a:pt x="140" y="183"/>
                </a:cubicBezTo>
                <a:cubicBezTo>
                  <a:pt x="141" y="183"/>
                  <a:pt x="141" y="183"/>
                  <a:pt x="141" y="183"/>
                </a:cubicBezTo>
                <a:cubicBezTo>
                  <a:pt x="140" y="186"/>
                  <a:pt x="140" y="186"/>
                  <a:pt x="140" y="186"/>
                </a:cubicBezTo>
                <a:cubicBezTo>
                  <a:pt x="137" y="186"/>
                  <a:pt x="137" y="186"/>
                  <a:pt x="137" y="186"/>
                </a:cubicBezTo>
                <a:cubicBezTo>
                  <a:pt x="136" y="188"/>
                  <a:pt x="136" y="188"/>
                  <a:pt x="136" y="188"/>
                </a:cubicBezTo>
                <a:cubicBezTo>
                  <a:pt x="135" y="189"/>
                  <a:pt x="135" y="189"/>
                  <a:pt x="135" y="189"/>
                </a:cubicBezTo>
                <a:cubicBezTo>
                  <a:pt x="135" y="189"/>
                  <a:pt x="135" y="189"/>
                  <a:pt x="135" y="189"/>
                </a:cubicBezTo>
                <a:cubicBezTo>
                  <a:pt x="137" y="189"/>
                  <a:pt x="137" y="189"/>
                  <a:pt x="137" y="189"/>
                </a:cubicBezTo>
                <a:cubicBezTo>
                  <a:pt x="139" y="188"/>
                  <a:pt x="139" y="188"/>
                  <a:pt x="139" y="188"/>
                </a:cubicBezTo>
                <a:cubicBezTo>
                  <a:pt x="141" y="189"/>
                  <a:pt x="141" y="189"/>
                  <a:pt x="141" y="189"/>
                </a:cubicBezTo>
                <a:cubicBezTo>
                  <a:pt x="143" y="185"/>
                  <a:pt x="143" y="185"/>
                  <a:pt x="143" y="185"/>
                </a:cubicBezTo>
                <a:cubicBezTo>
                  <a:pt x="144" y="182"/>
                  <a:pt x="144" y="182"/>
                  <a:pt x="144" y="182"/>
                </a:cubicBezTo>
                <a:cubicBezTo>
                  <a:pt x="145" y="180"/>
                  <a:pt x="145" y="180"/>
                  <a:pt x="145" y="180"/>
                </a:cubicBezTo>
                <a:cubicBezTo>
                  <a:pt x="146" y="181"/>
                  <a:pt x="146" y="181"/>
                  <a:pt x="146" y="181"/>
                </a:cubicBezTo>
                <a:cubicBezTo>
                  <a:pt x="146" y="184"/>
                  <a:pt x="146" y="184"/>
                  <a:pt x="146" y="184"/>
                </a:cubicBezTo>
                <a:cubicBezTo>
                  <a:pt x="147" y="186"/>
                  <a:pt x="147" y="186"/>
                  <a:pt x="147" y="186"/>
                </a:cubicBezTo>
                <a:cubicBezTo>
                  <a:pt x="146" y="186"/>
                  <a:pt x="146" y="186"/>
                  <a:pt x="146" y="186"/>
                </a:cubicBezTo>
                <a:cubicBezTo>
                  <a:pt x="146" y="189"/>
                  <a:pt x="146" y="189"/>
                  <a:pt x="146" y="189"/>
                </a:cubicBezTo>
                <a:cubicBezTo>
                  <a:pt x="145" y="191"/>
                  <a:pt x="145" y="191"/>
                  <a:pt x="145" y="191"/>
                </a:cubicBezTo>
                <a:cubicBezTo>
                  <a:pt x="143" y="192"/>
                  <a:pt x="143" y="192"/>
                  <a:pt x="143" y="192"/>
                </a:cubicBezTo>
                <a:cubicBezTo>
                  <a:pt x="143" y="193"/>
                  <a:pt x="143" y="193"/>
                  <a:pt x="143" y="193"/>
                </a:cubicBezTo>
                <a:cubicBezTo>
                  <a:pt x="144" y="193"/>
                  <a:pt x="144" y="193"/>
                  <a:pt x="144" y="193"/>
                </a:cubicBezTo>
                <a:cubicBezTo>
                  <a:pt x="146" y="193"/>
                  <a:pt x="146" y="193"/>
                  <a:pt x="146" y="193"/>
                </a:cubicBezTo>
                <a:cubicBezTo>
                  <a:pt x="147" y="192"/>
                  <a:pt x="147" y="192"/>
                  <a:pt x="147" y="192"/>
                </a:cubicBezTo>
                <a:cubicBezTo>
                  <a:pt x="148" y="192"/>
                  <a:pt x="148" y="192"/>
                  <a:pt x="148" y="192"/>
                </a:cubicBezTo>
                <a:cubicBezTo>
                  <a:pt x="149" y="191"/>
                  <a:pt x="149" y="191"/>
                  <a:pt x="149" y="191"/>
                </a:cubicBezTo>
                <a:cubicBezTo>
                  <a:pt x="150" y="191"/>
                  <a:pt x="150" y="191"/>
                  <a:pt x="150" y="191"/>
                </a:cubicBezTo>
                <a:cubicBezTo>
                  <a:pt x="151" y="191"/>
                  <a:pt x="151" y="191"/>
                  <a:pt x="151" y="191"/>
                </a:cubicBezTo>
                <a:cubicBezTo>
                  <a:pt x="150" y="192"/>
                  <a:pt x="150" y="192"/>
                  <a:pt x="150" y="192"/>
                </a:cubicBezTo>
                <a:cubicBezTo>
                  <a:pt x="150" y="193"/>
                  <a:pt x="150" y="193"/>
                  <a:pt x="150" y="193"/>
                </a:cubicBezTo>
                <a:cubicBezTo>
                  <a:pt x="149" y="193"/>
                  <a:pt x="149" y="193"/>
                  <a:pt x="149" y="193"/>
                </a:cubicBezTo>
                <a:cubicBezTo>
                  <a:pt x="148" y="194"/>
                  <a:pt x="148" y="194"/>
                  <a:pt x="148" y="194"/>
                </a:cubicBezTo>
                <a:cubicBezTo>
                  <a:pt x="149" y="196"/>
                  <a:pt x="149" y="196"/>
                  <a:pt x="149" y="196"/>
                </a:cubicBezTo>
                <a:cubicBezTo>
                  <a:pt x="150" y="197"/>
                  <a:pt x="150" y="197"/>
                  <a:pt x="150" y="197"/>
                </a:cubicBezTo>
                <a:cubicBezTo>
                  <a:pt x="151" y="199"/>
                  <a:pt x="151" y="199"/>
                  <a:pt x="151" y="199"/>
                </a:cubicBezTo>
                <a:cubicBezTo>
                  <a:pt x="151" y="201"/>
                  <a:pt x="151" y="201"/>
                  <a:pt x="151" y="201"/>
                </a:cubicBezTo>
                <a:cubicBezTo>
                  <a:pt x="151" y="204"/>
                  <a:pt x="151" y="204"/>
                  <a:pt x="151" y="204"/>
                </a:cubicBezTo>
                <a:cubicBezTo>
                  <a:pt x="149" y="206"/>
                  <a:pt x="149" y="206"/>
                  <a:pt x="149" y="206"/>
                </a:cubicBezTo>
                <a:cubicBezTo>
                  <a:pt x="149" y="207"/>
                  <a:pt x="149" y="207"/>
                  <a:pt x="149" y="207"/>
                </a:cubicBezTo>
                <a:cubicBezTo>
                  <a:pt x="149" y="209"/>
                  <a:pt x="149" y="209"/>
                  <a:pt x="149" y="209"/>
                </a:cubicBezTo>
                <a:cubicBezTo>
                  <a:pt x="150" y="210"/>
                  <a:pt x="150" y="210"/>
                  <a:pt x="150" y="210"/>
                </a:cubicBezTo>
                <a:cubicBezTo>
                  <a:pt x="151" y="211"/>
                  <a:pt x="151" y="211"/>
                  <a:pt x="151" y="211"/>
                </a:cubicBezTo>
                <a:cubicBezTo>
                  <a:pt x="151" y="213"/>
                  <a:pt x="151" y="213"/>
                  <a:pt x="151" y="213"/>
                </a:cubicBezTo>
                <a:cubicBezTo>
                  <a:pt x="154" y="216"/>
                  <a:pt x="154" y="216"/>
                  <a:pt x="154" y="216"/>
                </a:cubicBezTo>
                <a:cubicBezTo>
                  <a:pt x="155" y="217"/>
                  <a:pt x="155" y="217"/>
                  <a:pt x="155" y="217"/>
                </a:cubicBezTo>
                <a:cubicBezTo>
                  <a:pt x="157" y="218"/>
                  <a:pt x="157" y="218"/>
                  <a:pt x="157" y="218"/>
                </a:cubicBezTo>
                <a:cubicBezTo>
                  <a:pt x="157" y="219"/>
                  <a:pt x="157" y="219"/>
                  <a:pt x="157" y="219"/>
                </a:cubicBezTo>
                <a:cubicBezTo>
                  <a:pt x="158" y="219"/>
                  <a:pt x="158" y="219"/>
                  <a:pt x="158" y="219"/>
                </a:cubicBezTo>
                <a:cubicBezTo>
                  <a:pt x="159" y="219"/>
                  <a:pt x="159" y="219"/>
                  <a:pt x="159" y="219"/>
                </a:cubicBezTo>
                <a:cubicBezTo>
                  <a:pt x="159" y="219"/>
                  <a:pt x="159" y="219"/>
                  <a:pt x="159" y="219"/>
                </a:cubicBezTo>
                <a:cubicBezTo>
                  <a:pt x="161" y="219"/>
                  <a:pt x="161" y="219"/>
                  <a:pt x="161" y="219"/>
                </a:cubicBezTo>
                <a:cubicBezTo>
                  <a:pt x="162" y="221"/>
                  <a:pt x="162" y="221"/>
                  <a:pt x="162" y="221"/>
                </a:cubicBezTo>
                <a:cubicBezTo>
                  <a:pt x="164" y="221"/>
                  <a:pt x="164" y="221"/>
                  <a:pt x="164" y="221"/>
                </a:cubicBezTo>
                <a:cubicBezTo>
                  <a:pt x="165" y="222"/>
                  <a:pt x="165" y="222"/>
                  <a:pt x="165" y="222"/>
                </a:cubicBezTo>
                <a:cubicBezTo>
                  <a:pt x="166" y="224"/>
                  <a:pt x="166" y="224"/>
                  <a:pt x="166" y="224"/>
                </a:cubicBezTo>
                <a:cubicBezTo>
                  <a:pt x="167" y="224"/>
                  <a:pt x="167" y="224"/>
                  <a:pt x="167" y="224"/>
                </a:cubicBezTo>
                <a:cubicBezTo>
                  <a:pt x="168" y="225"/>
                  <a:pt x="168" y="225"/>
                  <a:pt x="168" y="225"/>
                </a:cubicBezTo>
                <a:cubicBezTo>
                  <a:pt x="169" y="225"/>
                  <a:pt x="169" y="225"/>
                  <a:pt x="169" y="225"/>
                </a:cubicBezTo>
                <a:cubicBezTo>
                  <a:pt x="170" y="225"/>
                  <a:pt x="170" y="225"/>
                  <a:pt x="170" y="225"/>
                </a:cubicBezTo>
                <a:cubicBezTo>
                  <a:pt x="172" y="223"/>
                  <a:pt x="172" y="223"/>
                  <a:pt x="172" y="223"/>
                </a:cubicBezTo>
                <a:cubicBezTo>
                  <a:pt x="173" y="222"/>
                  <a:pt x="173" y="222"/>
                  <a:pt x="173" y="222"/>
                </a:cubicBezTo>
                <a:cubicBezTo>
                  <a:pt x="174" y="222"/>
                  <a:pt x="174" y="222"/>
                  <a:pt x="174" y="222"/>
                </a:cubicBezTo>
                <a:cubicBezTo>
                  <a:pt x="176" y="221"/>
                  <a:pt x="176" y="221"/>
                  <a:pt x="176" y="221"/>
                </a:cubicBezTo>
                <a:cubicBezTo>
                  <a:pt x="177" y="221"/>
                  <a:pt x="177" y="221"/>
                  <a:pt x="177" y="221"/>
                </a:cubicBezTo>
                <a:cubicBezTo>
                  <a:pt x="177" y="220"/>
                  <a:pt x="177" y="220"/>
                  <a:pt x="177" y="220"/>
                </a:cubicBezTo>
                <a:cubicBezTo>
                  <a:pt x="177" y="220"/>
                  <a:pt x="177" y="220"/>
                  <a:pt x="177" y="220"/>
                </a:cubicBezTo>
                <a:cubicBezTo>
                  <a:pt x="176" y="219"/>
                  <a:pt x="176" y="219"/>
                  <a:pt x="176" y="219"/>
                </a:cubicBezTo>
                <a:cubicBezTo>
                  <a:pt x="176" y="219"/>
                  <a:pt x="176" y="219"/>
                  <a:pt x="176" y="219"/>
                </a:cubicBezTo>
                <a:cubicBezTo>
                  <a:pt x="179" y="217"/>
                  <a:pt x="179" y="217"/>
                  <a:pt x="179" y="217"/>
                </a:cubicBezTo>
                <a:cubicBezTo>
                  <a:pt x="181" y="218"/>
                  <a:pt x="181" y="218"/>
                  <a:pt x="181" y="218"/>
                </a:cubicBezTo>
                <a:cubicBezTo>
                  <a:pt x="181" y="220"/>
                  <a:pt x="181" y="220"/>
                  <a:pt x="181" y="220"/>
                </a:cubicBezTo>
                <a:cubicBezTo>
                  <a:pt x="178" y="221"/>
                  <a:pt x="178" y="221"/>
                  <a:pt x="178" y="221"/>
                </a:cubicBezTo>
                <a:cubicBezTo>
                  <a:pt x="179" y="222"/>
                  <a:pt x="179" y="222"/>
                  <a:pt x="179" y="222"/>
                </a:cubicBezTo>
                <a:cubicBezTo>
                  <a:pt x="180" y="222"/>
                  <a:pt x="180" y="222"/>
                  <a:pt x="180" y="222"/>
                </a:cubicBezTo>
                <a:cubicBezTo>
                  <a:pt x="180" y="221"/>
                  <a:pt x="180" y="221"/>
                  <a:pt x="180" y="221"/>
                </a:cubicBezTo>
                <a:cubicBezTo>
                  <a:pt x="182" y="221"/>
                  <a:pt x="182" y="221"/>
                  <a:pt x="182" y="221"/>
                </a:cubicBezTo>
                <a:cubicBezTo>
                  <a:pt x="183" y="221"/>
                  <a:pt x="183" y="221"/>
                  <a:pt x="183" y="221"/>
                </a:cubicBezTo>
                <a:cubicBezTo>
                  <a:pt x="183" y="223"/>
                  <a:pt x="183" y="223"/>
                  <a:pt x="183" y="223"/>
                </a:cubicBezTo>
                <a:cubicBezTo>
                  <a:pt x="182" y="223"/>
                  <a:pt x="182" y="223"/>
                  <a:pt x="182" y="223"/>
                </a:cubicBezTo>
                <a:cubicBezTo>
                  <a:pt x="181" y="224"/>
                  <a:pt x="181" y="224"/>
                  <a:pt x="181" y="224"/>
                </a:cubicBezTo>
                <a:cubicBezTo>
                  <a:pt x="183" y="226"/>
                  <a:pt x="183" y="226"/>
                  <a:pt x="183" y="226"/>
                </a:cubicBezTo>
                <a:cubicBezTo>
                  <a:pt x="183" y="228"/>
                  <a:pt x="183" y="228"/>
                  <a:pt x="183" y="228"/>
                </a:cubicBezTo>
                <a:cubicBezTo>
                  <a:pt x="184" y="227"/>
                  <a:pt x="184" y="227"/>
                  <a:pt x="184" y="227"/>
                </a:cubicBezTo>
                <a:cubicBezTo>
                  <a:pt x="184" y="227"/>
                  <a:pt x="184" y="227"/>
                  <a:pt x="184" y="227"/>
                </a:cubicBezTo>
                <a:cubicBezTo>
                  <a:pt x="184" y="229"/>
                  <a:pt x="184" y="229"/>
                  <a:pt x="184" y="229"/>
                </a:cubicBezTo>
                <a:cubicBezTo>
                  <a:pt x="185" y="230"/>
                  <a:pt x="185" y="230"/>
                  <a:pt x="185" y="230"/>
                </a:cubicBezTo>
                <a:cubicBezTo>
                  <a:pt x="186" y="228"/>
                  <a:pt x="186" y="228"/>
                  <a:pt x="186" y="228"/>
                </a:cubicBezTo>
                <a:cubicBezTo>
                  <a:pt x="186" y="227"/>
                  <a:pt x="186" y="227"/>
                  <a:pt x="186" y="227"/>
                </a:cubicBezTo>
                <a:cubicBezTo>
                  <a:pt x="185" y="227"/>
                  <a:pt x="185" y="227"/>
                  <a:pt x="185" y="227"/>
                </a:cubicBezTo>
                <a:cubicBezTo>
                  <a:pt x="185" y="227"/>
                  <a:pt x="185" y="227"/>
                  <a:pt x="185" y="227"/>
                </a:cubicBezTo>
                <a:cubicBezTo>
                  <a:pt x="186" y="226"/>
                  <a:pt x="186" y="226"/>
                  <a:pt x="186" y="226"/>
                </a:cubicBezTo>
                <a:cubicBezTo>
                  <a:pt x="189" y="226"/>
                  <a:pt x="189" y="226"/>
                  <a:pt x="189" y="226"/>
                </a:cubicBezTo>
                <a:cubicBezTo>
                  <a:pt x="189" y="227"/>
                  <a:pt x="189" y="227"/>
                  <a:pt x="189" y="227"/>
                </a:cubicBezTo>
                <a:cubicBezTo>
                  <a:pt x="190" y="226"/>
                  <a:pt x="190" y="226"/>
                  <a:pt x="190" y="226"/>
                </a:cubicBezTo>
                <a:cubicBezTo>
                  <a:pt x="191" y="224"/>
                  <a:pt x="191" y="224"/>
                  <a:pt x="191" y="224"/>
                </a:cubicBezTo>
                <a:cubicBezTo>
                  <a:pt x="194" y="222"/>
                  <a:pt x="194" y="222"/>
                  <a:pt x="194" y="222"/>
                </a:cubicBezTo>
                <a:cubicBezTo>
                  <a:pt x="196" y="220"/>
                  <a:pt x="196" y="220"/>
                  <a:pt x="196" y="220"/>
                </a:cubicBezTo>
                <a:cubicBezTo>
                  <a:pt x="195" y="220"/>
                  <a:pt x="195" y="220"/>
                  <a:pt x="195" y="220"/>
                </a:cubicBezTo>
                <a:cubicBezTo>
                  <a:pt x="195" y="221"/>
                  <a:pt x="195" y="221"/>
                  <a:pt x="195" y="221"/>
                </a:cubicBezTo>
                <a:cubicBezTo>
                  <a:pt x="195" y="220"/>
                  <a:pt x="195" y="220"/>
                  <a:pt x="195" y="220"/>
                </a:cubicBezTo>
                <a:cubicBezTo>
                  <a:pt x="194" y="220"/>
                  <a:pt x="194" y="220"/>
                  <a:pt x="194" y="220"/>
                </a:cubicBezTo>
                <a:cubicBezTo>
                  <a:pt x="195" y="220"/>
                  <a:pt x="195" y="220"/>
                  <a:pt x="195" y="220"/>
                </a:cubicBezTo>
                <a:cubicBezTo>
                  <a:pt x="197" y="220"/>
                  <a:pt x="197" y="220"/>
                  <a:pt x="197" y="220"/>
                </a:cubicBezTo>
                <a:cubicBezTo>
                  <a:pt x="199" y="219"/>
                  <a:pt x="199" y="219"/>
                  <a:pt x="199" y="219"/>
                </a:cubicBezTo>
                <a:cubicBezTo>
                  <a:pt x="204" y="218"/>
                  <a:pt x="204" y="218"/>
                  <a:pt x="204" y="218"/>
                </a:cubicBezTo>
                <a:cubicBezTo>
                  <a:pt x="208" y="219"/>
                  <a:pt x="208" y="219"/>
                  <a:pt x="208" y="219"/>
                </a:cubicBezTo>
                <a:cubicBezTo>
                  <a:pt x="209" y="218"/>
                  <a:pt x="209" y="218"/>
                  <a:pt x="209" y="218"/>
                </a:cubicBezTo>
                <a:cubicBezTo>
                  <a:pt x="209" y="217"/>
                  <a:pt x="209" y="217"/>
                  <a:pt x="209" y="217"/>
                </a:cubicBezTo>
                <a:cubicBezTo>
                  <a:pt x="210" y="217"/>
                  <a:pt x="210" y="217"/>
                  <a:pt x="210" y="217"/>
                </a:cubicBezTo>
                <a:cubicBezTo>
                  <a:pt x="212" y="216"/>
                  <a:pt x="212" y="216"/>
                  <a:pt x="212" y="216"/>
                </a:cubicBezTo>
                <a:cubicBezTo>
                  <a:pt x="213" y="214"/>
                  <a:pt x="213" y="214"/>
                  <a:pt x="213" y="214"/>
                </a:cubicBezTo>
                <a:cubicBezTo>
                  <a:pt x="212" y="211"/>
                  <a:pt x="212" y="211"/>
                  <a:pt x="212" y="211"/>
                </a:cubicBezTo>
                <a:cubicBezTo>
                  <a:pt x="212" y="210"/>
                  <a:pt x="212" y="210"/>
                  <a:pt x="212" y="210"/>
                </a:cubicBezTo>
                <a:cubicBezTo>
                  <a:pt x="214" y="208"/>
                  <a:pt x="214" y="208"/>
                  <a:pt x="214" y="208"/>
                </a:cubicBezTo>
                <a:cubicBezTo>
                  <a:pt x="214" y="204"/>
                  <a:pt x="214" y="204"/>
                  <a:pt x="214" y="204"/>
                </a:cubicBezTo>
                <a:cubicBezTo>
                  <a:pt x="215" y="203"/>
                  <a:pt x="215" y="203"/>
                  <a:pt x="215" y="203"/>
                </a:cubicBezTo>
                <a:cubicBezTo>
                  <a:pt x="216" y="200"/>
                  <a:pt x="216" y="200"/>
                  <a:pt x="216" y="200"/>
                </a:cubicBezTo>
                <a:cubicBezTo>
                  <a:pt x="217" y="200"/>
                  <a:pt x="217" y="200"/>
                  <a:pt x="217" y="200"/>
                </a:cubicBezTo>
                <a:cubicBezTo>
                  <a:pt x="217" y="198"/>
                  <a:pt x="217" y="198"/>
                  <a:pt x="217" y="198"/>
                </a:cubicBezTo>
                <a:cubicBezTo>
                  <a:pt x="221" y="194"/>
                  <a:pt x="221" y="194"/>
                  <a:pt x="221" y="194"/>
                </a:cubicBezTo>
                <a:cubicBezTo>
                  <a:pt x="222" y="194"/>
                  <a:pt x="222" y="194"/>
                  <a:pt x="222" y="194"/>
                </a:cubicBezTo>
                <a:cubicBezTo>
                  <a:pt x="222" y="191"/>
                  <a:pt x="222" y="191"/>
                  <a:pt x="222" y="191"/>
                </a:cubicBezTo>
                <a:cubicBezTo>
                  <a:pt x="224" y="189"/>
                  <a:pt x="224" y="189"/>
                  <a:pt x="224" y="189"/>
                </a:cubicBezTo>
                <a:cubicBezTo>
                  <a:pt x="225" y="186"/>
                  <a:pt x="225" y="186"/>
                  <a:pt x="225" y="186"/>
                </a:cubicBezTo>
                <a:cubicBezTo>
                  <a:pt x="226" y="185"/>
                  <a:pt x="226" y="185"/>
                  <a:pt x="226" y="185"/>
                </a:cubicBezTo>
                <a:cubicBezTo>
                  <a:pt x="226" y="183"/>
                  <a:pt x="226" y="183"/>
                  <a:pt x="226" y="183"/>
                </a:cubicBezTo>
                <a:cubicBezTo>
                  <a:pt x="227" y="183"/>
                  <a:pt x="227" y="183"/>
                  <a:pt x="227" y="183"/>
                </a:cubicBezTo>
                <a:cubicBezTo>
                  <a:pt x="228" y="180"/>
                  <a:pt x="228" y="180"/>
                  <a:pt x="228" y="180"/>
                </a:cubicBezTo>
                <a:cubicBezTo>
                  <a:pt x="227" y="180"/>
                  <a:pt x="227" y="180"/>
                  <a:pt x="227" y="180"/>
                </a:cubicBezTo>
                <a:cubicBezTo>
                  <a:pt x="229" y="179"/>
                  <a:pt x="229" y="179"/>
                  <a:pt x="229" y="179"/>
                </a:cubicBezTo>
                <a:cubicBezTo>
                  <a:pt x="231" y="177"/>
                  <a:pt x="231" y="177"/>
                  <a:pt x="231" y="177"/>
                </a:cubicBezTo>
                <a:cubicBezTo>
                  <a:pt x="232" y="176"/>
                  <a:pt x="232" y="176"/>
                  <a:pt x="232" y="176"/>
                </a:cubicBezTo>
                <a:cubicBezTo>
                  <a:pt x="233" y="174"/>
                  <a:pt x="233" y="174"/>
                  <a:pt x="233" y="174"/>
                </a:cubicBezTo>
                <a:cubicBezTo>
                  <a:pt x="234" y="173"/>
                  <a:pt x="234" y="173"/>
                  <a:pt x="234" y="173"/>
                </a:cubicBezTo>
                <a:cubicBezTo>
                  <a:pt x="236" y="173"/>
                  <a:pt x="236" y="173"/>
                  <a:pt x="236" y="173"/>
                </a:cubicBezTo>
                <a:cubicBezTo>
                  <a:pt x="234" y="173"/>
                  <a:pt x="234" y="173"/>
                  <a:pt x="234" y="173"/>
                </a:cubicBezTo>
                <a:cubicBezTo>
                  <a:pt x="234" y="172"/>
                  <a:pt x="234" y="172"/>
                  <a:pt x="234" y="172"/>
                </a:cubicBezTo>
                <a:cubicBezTo>
                  <a:pt x="236" y="172"/>
                  <a:pt x="236" y="172"/>
                  <a:pt x="236" y="172"/>
                </a:cubicBezTo>
                <a:cubicBezTo>
                  <a:pt x="238" y="171"/>
                  <a:pt x="238" y="171"/>
                  <a:pt x="238" y="171"/>
                </a:cubicBezTo>
                <a:cubicBezTo>
                  <a:pt x="239" y="169"/>
                  <a:pt x="239" y="169"/>
                  <a:pt x="239" y="169"/>
                </a:cubicBezTo>
                <a:cubicBezTo>
                  <a:pt x="238" y="168"/>
                  <a:pt x="238" y="168"/>
                  <a:pt x="238" y="168"/>
                </a:cubicBezTo>
                <a:cubicBezTo>
                  <a:pt x="239" y="167"/>
                  <a:pt x="239" y="167"/>
                  <a:pt x="239" y="167"/>
                </a:cubicBezTo>
                <a:cubicBezTo>
                  <a:pt x="241" y="166"/>
                  <a:pt x="241" y="166"/>
                  <a:pt x="241" y="166"/>
                </a:cubicBezTo>
                <a:cubicBezTo>
                  <a:pt x="241" y="164"/>
                  <a:pt x="241" y="164"/>
                  <a:pt x="241" y="164"/>
                </a:cubicBezTo>
                <a:cubicBezTo>
                  <a:pt x="242" y="164"/>
                  <a:pt x="242" y="164"/>
                  <a:pt x="242" y="164"/>
                </a:cubicBezTo>
                <a:cubicBezTo>
                  <a:pt x="244" y="161"/>
                  <a:pt x="244" y="161"/>
                  <a:pt x="244" y="161"/>
                </a:cubicBezTo>
                <a:cubicBezTo>
                  <a:pt x="243" y="160"/>
                  <a:pt x="243" y="160"/>
                  <a:pt x="243" y="160"/>
                </a:cubicBezTo>
                <a:cubicBezTo>
                  <a:pt x="244" y="158"/>
                  <a:pt x="244" y="158"/>
                  <a:pt x="244" y="158"/>
                </a:cubicBezTo>
                <a:cubicBezTo>
                  <a:pt x="244" y="158"/>
                  <a:pt x="244" y="158"/>
                  <a:pt x="244" y="158"/>
                </a:cubicBezTo>
                <a:cubicBezTo>
                  <a:pt x="244" y="157"/>
                  <a:pt x="244" y="157"/>
                  <a:pt x="244" y="157"/>
                </a:cubicBezTo>
                <a:cubicBezTo>
                  <a:pt x="246" y="152"/>
                  <a:pt x="246" y="152"/>
                  <a:pt x="246" y="152"/>
                </a:cubicBezTo>
                <a:cubicBezTo>
                  <a:pt x="246" y="150"/>
                  <a:pt x="246" y="150"/>
                  <a:pt x="246" y="150"/>
                </a:cubicBezTo>
                <a:cubicBezTo>
                  <a:pt x="248" y="146"/>
                  <a:pt x="248" y="146"/>
                  <a:pt x="248" y="146"/>
                </a:cubicBezTo>
                <a:cubicBezTo>
                  <a:pt x="248" y="145"/>
                  <a:pt x="248" y="145"/>
                  <a:pt x="248" y="145"/>
                </a:cubicBezTo>
                <a:cubicBezTo>
                  <a:pt x="249" y="142"/>
                  <a:pt x="249" y="142"/>
                  <a:pt x="249" y="142"/>
                </a:cubicBezTo>
                <a:cubicBezTo>
                  <a:pt x="251" y="140"/>
                  <a:pt x="251" y="140"/>
                  <a:pt x="251" y="140"/>
                </a:cubicBezTo>
                <a:cubicBezTo>
                  <a:pt x="252" y="139"/>
                  <a:pt x="252" y="139"/>
                  <a:pt x="252" y="139"/>
                </a:cubicBezTo>
                <a:cubicBezTo>
                  <a:pt x="251" y="137"/>
                  <a:pt x="251" y="137"/>
                  <a:pt x="251" y="137"/>
                </a:cubicBezTo>
                <a:cubicBezTo>
                  <a:pt x="252" y="135"/>
                  <a:pt x="252" y="135"/>
                  <a:pt x="252" y="135"/>
                </a:cubicBezTo>
                <a:cubicBezTo>
                  <a:pt x="251" y="133"/>
                  <a:pt x="251" y="133"/>
                  <a:pt x="251" y="133"/>
                </a:cubicBezTo>
                <a:cubicBezTo>
                  <a:pt x="251" y="131"/>
                  <a:pt x="251" y="131"/>
                  <a:pt x="251" y="131"/>
                </a:cubicBezTo>
                <a:cubicBezTo>
                  <a:pt x="251" y="129"/>
                  <a:pt x="251" y="129"/>
                  <a:pt x="251" y="129"/>
                </a:cubicBezTo>
                <a:cubicBezTo>
                  <a:pt x="250" y="128"/>
                  <a:pt x="250" y="128"/>
                  <a:pt x="250" y="128"/>
                </a:cubicBezTo>
                <a:cubicBezTo>
                  <a:pt x="250" y="127"/>
                  <a:pt x="250" y="127"/>
                  <a:pt x="250" y="127"/>
                </a:cubicBezTo>
                <a:cubicBezTo>
                  <a:pt x="251" y="126"/>
                  <a:pt x="251" y="126"/>
                  <a:pt x="251" y="126"/>
                </a:cubicBezTo>
                <a:cubicBezTo>
                  <a:pt x="251" y="125"/>
                  <a:pt x="251" y="125"/>
                  <a:pt x="251" y="125"/>
                </a:cubicBezTo>
                <a:cubicBezTo>
                  <a:pt x="252" y="123"/>
                  <a:pt x="252" y="123"/>
                  <a:pt x="252" y="123"/>
                </a:cubicBezTo>
                <a:cubicBezTo>
                  <a:pt x="252" y="122"/>
                  <a:pt x="252" y="122"/>
                  <a:pt x="252" y="122"/>
                </a:cubicBezTo>
                <a:cubicBezTo>
                  <a:pt x="252" y="119"/>
                  <a:pt x="252" y="119"/>
                  <a:pt x="252" y="119"/>
                </a:cubicBezTo>
                <a:cubicBezTo>
                  <a:pt x="252" y="117"/>
                  <a:pt x="252" y="117"/>
                  <a:pt x="252" y="117"/>
                </a:cubicBezTo>
                <a:cubicBezTo>
                  <a:pt x="252" y="117"/>
                  <a:pt x="252" y="117"/>
                  <a:pt x="252" y="117"/>
                </a:cubicBezTo>
                <a:cubicBezTo>
                  <a:pt x="251" y="115"/>
                  <a:pt x="251" y="115"/>
                  <a:pt x="251" y="115"/>
                </a:cubicBezTo>
                <a:cubicBezTo>
                  <a:pt x="251" y="113"/>
                  <a:pt x="251" y="113"/>
                  <a:pt x="251" y="113"/>
                </a:cubicBezTo>
                <a:cubicBezTo>
                  <a:pt x="251" y="113"/>
                  <a:pt x="251" y="113"/>
                  <a:pt x="251" y="113"/>
                </a:cubicBezTo>
                <a:cubicBezTo>
                  <a:pt x="252" y="111"/>
                  <a:pt x="252" y="111"/>
                  <a:pt x="252" y="111"/>
                </a:cubicBezTo>
                <a:cubicBezTo>
                  <a:pt x="250" y="111"/>
                  <a:pt x="250" y="111"/>
                  <a:pt x="250" y="111"/>
                </a:cubicBezTo>
                <a:cubicBezTo>
                  <a:pt x="250" y="110"/>
                  <a:pt x="250" y="110"/>
                  <a:pt x="250" y="110"/>
                </a:cubicBezTo>
                <a:cubicBezTo>
                  <a:pt x="250" y="108"/>
                  <a:pt x="250" y="108"/>
                  <a:pt x="250" y="108"/>
                </a:cubicBezTo>
                <a:cubicBezTo>
                  <a:pt x="248" y="107"/>
                  <a:pt x="248" y="107"/>
                  <a:pt x="248" y="107"/>
                </a:cubicBezTo>
                <a:cubicBezTo>
                  <a:pt x="247" y="105"/>
                  <a:pt x="247" y="105"/>
                  <a:pt x="247" y="105"/>
                </a:cubicBezTo>
                <a:cubicBezTo>
                  <a:pt x="247" y="103"/>
                  <a:pt x="247" y="103"/>
                  <a:pt x="247" y="103"/>
                </a:cubicBezTo>
                <a:cubicBezTo>
                  <a:pt x="246" y="102"/>
                  <a:pt x="246" y="102"/>
                  <a:pt x="246" y="102"/>
                </a:cubicBezTo>
                <a:cubicBezTo>
                  <a:pt x="245" y="102"/>
                  <a:pt x="245" y="102"/>
                  <a:pt x="245" y="102"/>
                </a:cubicBezTo>
                <a:cubicBezTo>
                  <a:pt x="244" y="102"/>
                  <a:pt x="244" y="102"/>
                  <a:pt x="244" y="102"/>
                </a:cubicBezTo>
                <a:cubicBezTo>
                  <a:pt x="244" y="101"/>
                  <a:pt x="244" y="101"/>
                  <a:pt x="244" y="101"/>
                </a:cubicBezTo>
                <a:cubicBezTo>
                  <a:pt x="243" y="100"/>
                  <a:pt x="243" y="100"/>
                  <a:pt x="243" y="100"/>
                </a:cubicBezTo>
                <a:cubicBezTo>
                  <a:pt x="243" y="99"/>
                  <a:pt x="243" y="99"/>
                  <a:pt x="243" y="99"/>
                </a:cubicBezTo>
                <a:cubicBezTo>
                  <a:pt x="243" y="99"/>
                  <a:pt x="243" y="99"/>
                  <a:pt x="243" y="99"/>
                </a:cubicBezTo>
                <a:cubicBezTo>
                  <a:pt x="241" y="97"/>
                  <a:pt x="241" y="97"/>
                  <a:pt x="241" y="97"/>
                </a:cubicBezTo>
                <a:cubicBezTo>
                  <a:pt x="240" y="97"/>
                  <a:pt x="240" y="97"/>
                  <a:pt x="240" y="97"/>
                </a:cubicBezTo>
                <a:cubicBezTo>
                  <a:pt x="241" y="96"/>
                  <a:pt x="241" y="96"/>
                  <a:pt x="241" y="96"/>
                </a:cubicBezTo>
                <a:cubicBezTo>
                  <a:pt x="240" y="94"/>
                  <a:pt x="240" y="94"/>
                  <a:pt x="240" y="94"/>
                </a:cubicBezTo>
                <a:cubicBezTo>
                  <a:pt x="241" y="93"/>
                  <a:pt x="241" y="93"/>
                  <a:pt x="241" y="93"/>
                </a:cubicBezTo>
                <a:cubicBezTo>
                  <a:pt x="241" y="91"/>
                  <a:pt x="241" y="91"/>
                  <a:pt x="241" y="91"/>
                </a:cubicBezTo>
                <a:cubicBezTo>
                  <a:pt x="241" y="90"/>
                  <a:pt x="241" y="90"/>
                  <a:pt x="241" y="90"/>
                </a:cubicBezTo>
                <a:cubicBezTo>
                  <a:pt x="241" y="89"/>
                  <a:pt x="241" y="89"/>
                  <a:pt x="241" y="89"/>
                </a:cubicBezTo>
                <a:cubicBezTo>
                  <a:pt x="240" y="88"/>
                  <a:pt x="240" y="88"/>
                  <a:pt x="240" y="88"/>
                </a:cubicBezTo>
                <a:cubicBezTo>
                  <a:pt x="240" y="89"/>
                  <a:pt x="240" y="89"/>
                  <a:pt x="240" y="89"/>
                </a:cubicBezTo>
                <a:cubicBezTo>
                  <a:pt x="240" y="89"/>
                  <a:pt x="240" y="89"/>
                  <a:pt x="240" y="89"/>
                </a:cubicBezTo>
                <a:cubicBezTo>
                  <a:pt x="240" y="90"/>
                  <a:pt x="240" y="90"/>
                  <a:pt x="240" y="90"/>
                </a:cubicBezTo>
                <a:cubicBezTo>
                  <a:pt x="237" y="87"/>
                  <a:pt x="237" y="87"/>
                  <a:pt x="237" y="87"/>
                </a:cubicBezTo>
                <a:cubicBezTo>
                  <a:pt x="237" y="86"/>
                  <a:pt x="237" y="86"/>
                  <a:pt x="237" y="86"/>
                </a:cubicBezTo>
                <a:cubicBezTo>
                  <a:pt x="236" y="86"/>
                  <a:pt x="236" y="86"/>
                  <a:pt x="236" y="86"/>
                </a:cubicBezTo>
                <a:cubicBezTo>
                  <a:pt x="236" y="87"/>
                  <a:pt x="236" y="87"/>
                  <a:pt x="236" y="87"/>
                </a:cubicBezTo>
                <a:cubicBezTo>
                  <a:pt x="236" y="88"/>
                  <a:pt x="236" y="88"/>
                  <a:pt x="236" y="88"/>
                </a:cubicBezTo>
                <a:cubicBezTo>
                  <a:pt x="236" y="90"/>
                  <a:pt x="236" y="90"/>
                  <a:pt x="236" y="90"/>
                </a:cubicBezTo>
                <a:cubicBezTo>
                  <a:pt x="235" y="88"/>
                  <a:pt x="235" y="88"/>
                  <a:pt x="235" y="88"/>
                </a:cubicBezTo>
                <a:cubicBezTo>
                  <a:pt x="234" y="89"/>
                  <a:pt x="234" y="89"/>
                  <a:pt x="234" y="89"/>
                </a:cubicBezTo>
                <a:cubicBezTo>
                  <a:pt x="234" y="88"/>
                  <a:pt x="234" y="88"/>
                  <a:pt x="234" y="88"/>
                </a:cubicBezTo>
                <a:cubicBezTo>
                  <a:pt x="234" y="87"/>
                  <a:pt x="234" y="87"/>
                  <a:pt x="234" y="87"/>
                </a:cubicBezTo>
                <a:cubicBezTo>
                  <a:pt x="234" y="83"/>
                  <a:pt x="234" y="83"/>
                  <a:pt x="234" y="83"/>
                </a:cubicBezTo>
                <a:cubicBezTo>
                  <a:pt x="234" y="83"/>
                  <a:pt x="234" y="83"/>
                  <a:pt x="234" y="83"/>
                </a:cubicBezTo>
                <a:cubicBezTo>
                  <a:pt x="234" y="82"/>
                  <a:pt x="234" y="82"/>
                  <a:pt x="234" y="82"/>
                </a:cubicBezTo>
                <a:cubicBezTo>
                  <a:pt x="233" y="81"/>
                  <a:pt x="233" y="81"/>
                  <a:pt x="233" y="81"/>
                </a:cubicBezTo>
                <a:cubicBezTo>
                  <a:pt x="233" y="80"/>
                  <a:pt x="233" y="80"/>
                  <a:pt x="233" y="80"/>
                </a:cubicBezTo>
                <a:cubicBezTo>
                  <a:pt x="232" y="80"/>
                  <a:pt x="232" y="80"/>
                  <a:pt x="232" y="80"/>
                </a:cubicBezTo>
                <a:cubicBezTo>
                  <a:pt x="233" y="79"/>
                  <a:pt x="233" y="79"/>
                  <a:pt x="233" y="79"/>
                </a:cubicBezTo>
                <a:cubicBezTo>
                  <a:pt x="231" y="77"/>
                  <a:pt x="231" y="77"/>
                  <a:pt x="231" y="77"/>
                </a:cubicBezTo>
                <a:cubicBezTo>
                  <a:pt x="230" y="76"/>
                  <a:pt x="230" y="76"/>
                  <a:pt x="230" y="76"/>
                </a:cubicBezTo>
                <a:cubicBezTo>
                  <a:pt x="230" y="74"/>
                  <a:pt x="230" y="74"/>
                  <a:pt x="230" y="74"/>
                </a:cubicBezTo>
                <a:cubicBezTo>
                  <a:pt x="231" y="74"/>
                  <a:pt x="231" y="74"/>
                  <a:pt x="231" y="74"/>
                </a:cubicBezTo>
                <a:cubicBezTo>
                  <a:pt x="231" y="73"/>
                  <a:pt x="231" y="73"/>
                  <a:pt x="231" y="73"/>
                </a:cubicBezTo>
                <a:cubicBezTo>
                  <a:pt x="230" y="71"/>
                  <a:pt x="230" y="71"/>
                  <a:pt x="230" y="71"/>
                </a:cubicBezTo>
                <a:cubicBezTo>
                  <a:pt x="230" y="72"/>
                  <a:pt x="230" y="72"/>
                  <a:pt x="230" y="72"/>
                </a:cubicBezTo>
                <a:cubicBezTo>
                  <a:pt x="228" y="71"/>
                  <a:pt x="228" y="71"/>
                  <a:pt x="228" y="71"/>
                </a:cubicBezTo>
                <a:cubicBezTo>
                  <a:pt x="227" y="70"/>
                  <a:pt x="227" y="70"/>
                  <a:pt x="227" y="70"/>
                </a:cubicBezTo>
                <a:cubicBezTo>
                  <a:pt x="226" y="70"/>
                  <a:pt x="226" y="70"/>
                  <a:pt x="226" y="70"/>
                </a:cubicBezTo>
                <a:cubicBezTo>
                  <a:pt x="225" y="69"/>
                  <a:pt x="225" y="69"/>
                  <a:pt x="225" y="69"/>
                </a:cubicBezTo>
                <a:cubicBezTo>
                  <a:pt x="224" y="69"/>
                  <a:pt x="224" y="69"/>
                  <a:pt x="224" y="69"/>
                </a:cubicBezTo>
                <a:cubicBezTo>
                  <a:pt x="224" y="69"/>
                  <a:pt x="224" y="69"/>
                  <a:pt x="224" y="69"/>
                </a:cubicBezTo>
                <a:cubicBezTo>
                  <a:pt x="223" y="68"/>
                  <a:pt x="223" y="68"/>
                  <a:pt x="223" y="68"/>
                </a:cubicBezTo>
                <a:cubicBezTo>
                  <a:pt x="222" y="69"/>
                  <a:pt x="222" y="69"/>
                  <a:pt x="222" y="69"/>
                </a:cubicBezTo>
                <a:cubicBezTo>
                  <a:pt x="222" y="68"/>
                  <a:pt x="222" y="68"/>
                  <a:pt x="222" y="68"/>
                </a:cubicBezTo>
                <a:cubicBezTo>
                  <a:pt x="224" y="67"/>
                  <a:pt x="224" y="67"/>
                  <a:pt x="224" y="67"/>
                </a:cubicBezTo>
                <a:cubicBezTo>
                  <a:pt x="224" y="67"/>
                  <a:pt x="224" y="67"/>
                  <a:pt x="224" y="67"/>
                </a:cubicBezTo>
                <a:cubicBezTo>
                  <a:pt x="223" y="66"/>
                  <a:pt x="223" y="66"/>
                  <a:pt x="223" y="66"/>
                </a:cubicBezTo>
                <a:cubicBezTo>
                  <a:pt x="222" y="66"/>
                  <a:pt x="222" y="66"/>
                  <a:pt x="222" y="66"/>
                </a:cubicBezTo>
                <a:cubicBezTo>
                  <a:pt x="221" y="66"/>
                  <a:pt x="221" y="66"/>
                  <a:pt x="221" y="66"/>
                </a:cubicBezTo>
                <a:cubicBezTo>
                  <a:pt x="221" y="65"/>
                  <a:pt x="221" y="65"/>
                  <a:pt x="221" y="65"/>
                </a:cubicBezTo>
                <a:cubicBezTo>
                  <a:pt x="220" y="65"/>
                  <a:pt x="220" y="65"/>
                  <a:pt x="220" y="65"/>
                </a:cubicBezTo>
                <a:cubicBezTo>
                  <a:pt x="217" y="64"/>
                  <a:pt x="217" y="64"/>
                  <a:pt x="217" y="64"/>
                </a:cubicBezTo>
                <a:cubicBezTo>
                  <a:pt x="216" y="61"/>
                  <a:pt x="216" y="61"/>
                  <a:pt x="216" y="61"/>
                </a:cubicBezTo>
                <a:cubicBezTo>
                  <a:pt x="216" y="59"/>
                  <a:pt x="216" y="59"/>
                  <a:pt x="216" y="59"/>
                </a:cubicBezTo>
                <a:cubicBezTo>
                  <a:pt x="215" y="58"/>
                  <a:pt x="215" y="58"/>
                  <a:pt x="215" y="58"/>
                </a:cubicBezTo>
                <a:cubicBezTo>
                  <a:pt x="215" y="56"/>
                  <a:pt x="215" y="56"/>
                  <a:pt x="215" y="56"/>
                </a:cubicBezTo>
                <a:cubicBezTo>
                  <a:pt x="216" y="56"/>
                  <a:pt x="216" y="56"/>
                  <a:pt x="216" y="56"/>
                </a:cubicBezTo>
                <a:cubicBezTo>
                  <a:pt x="216" y="54"/>
                  <a:pt x="216" y="54"/>
                  <a:pt x="216" y="54"/>
                </a:cubicBezTo>
                <a:cubicBezTo>
                  <a:pt x="216" y="50"/>
                  <a:pt x="216" y="50"/>
                  <a:pt x="216" y="50"/>
                </a:cubicBezTo>
                <a:cubicBezTo>
                  <a:pt x="215" y="49"/>
                  <a:pt x="215" y="49"/>
                  <a:pt x="215" y="49"/>
                </a:cubicBezTo>
                <a:cubicBezTo>
                  <a:pt x="216" y="49"/>
                  <a:pt x="216" y="49"/>
                  <a:pt x="216" y="49"/>
                </a:cubicBezTo>
                <a:cubicBezTo>
                  <a:pt x="215" y="48"/>
                  <a:pt x="215" y="48"/>
                  <a:pt x="215" y="48"/>
                </a:cubicBezTo>
                <a:cubicBezTo>
                  <a:pt x="214" y="48"/>
                  <a:pt x="214" y="48"/>
                  <a:pt x="214" y="48"/>
                </a:cubicBezTo>
                <a:cubicBezTo>
                  <a:pt x="213" y="45"/>
                  <a:pt x="213" y="45"/>
                  <a:pt x="213" y="45"/>
                </a:cubicBezTo>
                <a:cubicBezTo>
                  <a:pt x="213" y="42"/>
                  <a:pt x="213" y="42"/>
                  <a:pt x="213" y="42"/>
                </a:cubicBezTo>
                <a:cubicBezTo>
                  <a:pt x="213" y="42"/>
                  <a:pt x="213" y="42"/>
                  <a:pt x="213" y="42"/>
                </a:cubicBezTo>
                <a:cubicBezTo>
                  <a:pt x="213" y="41"/>
                  <a:pt x="213" y="41"/>
                  <a:pt x="213" y="41"/>
                </a:cubicBezTo>
                <a:cubicBezTo>
                  <a:pt x="213" y="40"/>
                  <a:pt x="213" y="40"/>
                  <a:pt x="213" y="40"/>
                </a:cubicBezTo>
                <a:cubicBezTo>
                  <a:pt x="212" y="37"/>
                  <a:pt x="212" y="37"/>
                  <a:pt x="212" y="37"/>
                </a:cubicBezTo>
                <a:cubicBezTo>
                  <a:pt x="213" y="36"/>
                  <a:pt x="213" y="36"/>
                  <a:pt x="213" y="36"/>
                </a:cubicBezTo>
                <a:cubicBezTo>
                  <a:pt x="212" y="34"/>
                  <a:pt x="212" y="34"/>
                  <a:pt x="212" y="34"/>
                </a:cubicBezTo>
                <a:cubicBezTo>
                  <a:pt x="213" y="34"/>
                  <a:pt x="213" y="34"/>
                  <a:pt x="213" y="34"/>
                </a:cubicBezTo>
                <a:cubicBezTo>
                  <a:pt x="213" y="33"/>
                  <a:pt x="213" y="33"/>
                  <a:pt x="213" y="33"/>
                </a:cubicBezTo>
                <a:cubicBezTo>
                  <a:pt x="211" y="31"/>
                  <a:pt x="211" y="31"/>
                  <a:pt x="211" y="31"/>
                </a:cubicBezTo>
                <a:cubicBezTo>
                  <a:pt x="209" y="30"/>
                  <a:pt x="209" y="30"/>
                  <a:pt x="209" y="30"/>
                </a:cubicBezTo>
                <a:cubicBezTo>
                  <a:pt x="210" y="30"/>
                  <a:pt x="210" y="30"/>
                  <a:pt x="210" y="30"/>
                </a:cubicBezTo>
                <a:cubicBezTo>
                  <a:pt x="208" y="28"/>
                  <a:pt x="208" y="28"/>
                  <a:pt x="208" y="28"/>
                </a:cubicBezTo>
                <a:cubicBezTo>
                  <a:pt x="207" y="29"/>
                  <a:pt x="207" y="29"/>
                  <a:pt x="207" y="29"/>
                </a:cubicBezTo>
                <a:cubicBezTo>
                  <a:pt x="206" y="29"/>
                  <a:pt x="206" y="29"/>
                  <a:pt x="206" y="29"/>
                </a:cubicBezTo>
                <a:cubicBezTo>
                  <a:pt x="206" y="30"/>
                  <a:pt x="206" y="30"/>
                  <a:pt x="206" y="30"/>
                </a:cubicBezTo>
                <a:cubicBezTo>
                  <a:pt x="205" y="30"/>
                  <a:pt x="205" y="30"/>
                  <a:pt x="205" y="30"/>
                </a:cubicBezTo>
                <a:cubicBezTo>
                  <a:pt x="203" y="28"/>
                  <a:pt x="203" y="28"/>
                  <a:pt x="203" y="28"/>
                </a:cubicBezTo>
                <a:cubicBezTo>
                  <a:pt x="203" y="27"/>
                  <a:pt x="203" y="27"/>
                  <a:pt x="203" y="27"/>
                </a:cubicBezTo>
                <a:cubicBezTo>
                  <a:pt x="203" y="25"/>
                  <a:pt x="203" y="25"/>
                  <a:pt x="203" y="25"/>
                </a:cubicBezTo>
                <a:cubicBezTo>
                  <a:pt x="203" y="23"/>
                  <a:pt x="203" y="23"/>
                  <a:pt x="203" y="23"/>
                </a:cubicBezTo>
                <a:cubicBezTo>
                  <a:pt x="203" y="20"/>
                  <a:pt x="203" y="20"/>
                  <a:pt x="203" y="20"/>
                </a:cubicBezTo>
                <a:cubicBezTo>
                  <a:pt x="202" y="20"/>
                  <a:pt x="202" y="20"/>
                  <a:pt x="202" y="20"/>
                </a:cubicBezTo>
                <a:cubicBezTo>
                  <a:pt x="202" y="19"/>
                  <a:pt x="202" y="19"/>
                  <a:pt x="202" y="19"/>
                </a:cubicBezTo>
                <a:cubicBezTo>
                  <a:pt x="202" y="18"/>
                  <a:pt x="202" y="18"/>
                  <a:pt x="202" y="18"/>
                </a:cubicBezTo>
                <a:cubicBezTo>
                  <a:pt x="201" y="17"/>
                  <a:pt x="201" y="17"/>
                  <a:pt x="201" y="17"/>
                </a:cubicBezTo>
                <a:cubicBezTo>
                  <a:pt x="201" y="16"/>
                  <a:pt x="201" y="16"/>
                  <a:pt x="201" y="16"/>
                </a:cubicBezTo>
                <a:cubicBezTo>
                  <a:pt x="201" y="15"/>
                  <a:pt x="201" y="15"/>
                  <a:pt x="201" y="15"/>
                </a:cubicBezTo>
                <a:cubicBezTo>
                  <a:pt x="201" y="14"/>
                  <a:pt x="201" y="14"/>
                  <a:pt x="201" y="14"/>
                </a:cubicBezTo>
                <a:cubicBezTo>
                  <a:pt x="202" y="13"/>
                  <a:pt x="202" y="13"/>
                  <a:pt x="202" y="13"/>
                </a:cubicBezTo>
                <a:cubicBezTo>
                  <a:pt x="201" y="12"/>
                  <a:pt x="201" y="12"/>
                  <a:pt x="201" y="12"/>
                </a:cubicBezTo>
                <a:cubicBezTo>
                  <a:pt x="200" y="13"/>
                  <a:pt x="200" y="13"/>
                  <a:pt x="200" y="13"/>
                </a:cubicBezTo>
                <a:cubicBezTo>
                  <a:pt x="199" y="12"/>
                  <a:pt x="199" y="12"/>
                  <a:pt x="199" y="12"/>
                </a:cubicBezTo>
                <a:cubicBezTo>
                  <a:pt x="199" y="9"/>
                  <a:pt x="199" y="9"/>
                  <a:pt x="199" y="9"/>
                </a:cubicBezTo>
                <a:cubicBezTo>
                  <a:pt x="199" y="8"/>
                  <a:pt x="199" y="8"/>
                  <a:pt x="199" y="8"/>
                </a:cubicBezTo>
                <a:cubicBezTo>
                  <a:pt x="199" y="7"/>
                  <a:pt x="199" y="7"/>
                  <a:pt x="199" y="7"/>
                </a:cubicBezTo>
                <a:cubicBezTo>
                  <a:pt x="197" y="6"/>
                  <a:pt x="197" y="6"/>
                  <a:pt x="197" y="6"/>
                </a:cubicBezTo>
                <a:cubicBezTo>
                  <a:pt x="197" y="5"/>
                  <a:pt x="197" y="5"/>
                  <a:pt x="197" y="5"/>
                </a:cubicBezTo>
                <a:cubicBezTo>
                  <a:pt x="196" y="6"/>
                  <a:pt x="196" y="6"/>
                  <a:pt x="196" y="6"/>
                </a:cubicBezTo>
                <a:cubicBezTo>
                  <a:pt x="195" y="7"/>
                  <a:pt x="195" y="7"/>
                  <a:pt x="195" y="7"/>
                </a:cubicBezTo>
                <a:cubicBezTo>
                  <a:pt x="195" y="9"/>
                  <a:pt x="195" y="9"/>
                  <a:pt x="195" y="9"/>
                </a:cubicBezTo>
                <a:cubicBezTo>
                  <a:pt x="194" y="11"/>
                  <a:pt x="194" y="11"/>
                  <a:pt x="194" y="11"/>
                </a:cubicBezTo>
                <a:cubicBezTo>
                  <a:pt x="194" y="12"/>
                  <a:pt x="194" y="12"/>
                  <a:pt x="194" y="12"/>
                </a:cubicBezTo>
                <a:cubicBezTo>
                  <a:pt x="194" y="13"/>
                  <a:pt x="194" y="13"/>
                  <a:pt x="194" y="13"/>
                </a:cubicBezTo>
                <a:cubicBezTo>
                  <a:pt x="193" y="13"/>
                  <a:pt x="193" y="13"/>
                  <a:pt x="193" y="13"/>
                </a:cubicBezTo>
                <a:cubicBezTo>
                  <a:pt x="193" y="15"/>
                  <a:pt x="193" y="15"/>
                  <a:pt x="193" y="15"/>
                </a:cubicBezTo>
                <a:cubicBezTo>
                  <a:pt x="192" y="16"/>
                  <a:pt x="192" y="16"/>
                  <a:pt x="192" y="16"/>
                </a:cubicBezTo>
                <a:cubicBezTo>
                  <a:pt x="192" y="17"/>
                  <a:pt x="192" y="17"/>
                  <a:pt x="192" y="17"/>
                </a:cubicBezTo>
                <a:cubicBezTo>
                  <a:pt x="194" y="18"/>
                  <a:pt x="194" y="18"/>
                  <a:pt x="194" y="18"/>
                </a:cubicBezTo>
                <a:cubicBezTo>
                  <a:pt x="193" y="19"/>
                  <a:pt x="193" y="19"/>
                  <a:pt x="193" y="19"/>
                </a:cubicBezTo>
                <a:cubicBezTo>
                  <a:pt x="192" y="19"/>
                  <a:pt x="192" y="19"/>
                  <a:pt x="192" y="19"/>
                </a:cubicBezTo>
                <a:cubicBezTo>
                  <a:pt x="192" y="20"/>
                  <a:pt x="192" y="20"/>
                  <a:pt x="192" y="20"/>
                </a:cubicBezTo>
                <a:cubicBezTo>
                  <a:pt x="191" y="21"/>
                  <a:pt x="191" y="21"/>
                  <a:pt x="191" y="21"/>
                </a:cubicBezTo>
                <a:cubicBezTo>
                  <a:pt x="192" y="23"/>
                  <a:pt x="192" y="23"/>
                  <a:pt x="192" y="23"/>
                </a:cubicBezTo>
                <a:cubicBezTo>
                  <a:pt x="192" y="24"/>
                  <a:pt x="192" y="24"/>
                  <a:pt x="192" y="24"/>
                </a:cubicBezTo>
                <a:cubicBezTo>
                  <a:pt x="191" y="23"/>
                  <a:pt x="191" y="23"/>
                  <a:pt x="191" y="23"/>
                </a:cubicBezTo>
                <a:cubicBezTo>
                  <a:pt x="190" y="24"/>
                  <a:pt x="190" y="24"/>
                  <a:pt x="190" y="24"/>
                </a:cubicBezTo>
                <a:cubicBezTo>
                  <a:pt x="190" y="27"/>
                  <a:pt x="190" y="27"/>
                  <a:pt x="190" y="27"/>
                </a:cubicBezTo>
                <a:cubicBezTo>
                  <a:pt x="190" y="29"/>
                  <a:pt x="190" y="29"/>
                  <a:pt x="190" y="29"/>
                </a:cubicBezTo>
                <a:cubicBezTo>
                  <a:pt x="190" y="31"/>
                  <a:pt x="190" y="31"/>
                  <a:pt x="190" y="31"/>
                </a:cubicBezTo>
                <a:cubicBezTo>
                  <a:pt x="190" y="33"/>
                  <a:pt x="190" y="33"/>
                  <a:pt x="190" y="33"/>
                </a:cubicBezTo>
                <a:cubicBezTo>
                  <a:pt x="190" y="35"/>
                  <a:pt x="190" y="35"/>
                  <a:pt x="190" y="35"/>
                </a:cubicBezTo>
                <a:cubicBezTo>
                  <a:pt x="189" y="36"/>
                  <a:pt x="189" y="36"/>
                  <a:pt x="189" y="36"/>
                </a:cubicBezTo>
                <a:cubicBezTo>
                  <a:pt x="189" y="37"/>
                  <a:pt x="189" y="37"/>
                  <a:pt x="189" y="37"/>
                </a:cubicBezTo>
                <a:cubicBezTo>
                  <a:pt x="188" y="39"/>
                  <a:pt x="188" y="39"/>
                  <a:pt x="188" y="39"/>
                </a:cubicBezTo>
                <a:cubicBezTo>
                  <a:pt x="188" y="43"/>
                  <a:pt x="188" y="43"/>
                  <a:pt x="188" y="43"/>
                </a:cubicBezTo>
                <a:cubicBezTo>
                  <a:pt x="187" y="44"/>
                  <a:pt x="187" y="44"/>
                  <a:pt x="187" y="44"/>
                </a:cubicBezTo>
                <a:cubicBezTo>
                  <a:pt x="187" y="45"/>
                  <a:pt x="187" y="45"/>
                  <a:pt x="187" y="45"/>
                </a:cubicBezTo>
                <a:cubicBezTo>
                  <a:pt x="186" y="47"/>
                  <a:pt x="186" y="47"/>
                  <a:pt x="186" y="47"/>
                </a:cubicBezTo>
                <a:cubicBezTo>
                  <a:pt x="185" y="48"/>
                  <a:pt x="185" y="48"/>
                  <a:pt x="185" y="48"/>
                </a:cubicBezTo>
                <a:cubicBezTo>
                  <a:pt x="185" y="51"/>
                  <a:pt x="185" y="51"/>
                  <a:pt x="185" y="51"/>
                </a:cubicBezTo>
                <a:cubicBezTo>
                  <a:pt x="183" y="52"/>
                  <a:pt x="183" y="52"/>
                  <a:pt x="183" y="52"/>
                </a:cubicBezTo>
                <a:cubicBezTo>
                  <a:pt x="179" y="54"/>
                  <a:pt x="179" y="54"/>
                  <a:pt x="179" y="54"/>
                </a:cubicBezTo>
                <a:cubicBezTo>
                  <a:pt x="177" y="53"/>
                  <a:pt x="177" y="53"/>
                  <a:pt x="177" y="53"/>
                </a:cubicBezTo>
                <a:cubicBezTo>
                  <a:pt x="176" y="53"/>
                  <a:pt x="176" y="53"/>
                  <a:pt x="176" y="53"/>
                </a:cubicBezTo>
                <a:cubicBezTo>
                  <a:pt x="175" y="51"/>
                  <a:pt x="175" y="51"/>
                  <a:pt x="175" y="51"/>
                </a:cubicBezTo>
                <a:cubicBezTo>
                  <a:pt x="173" y="50"/>
                  <a:pt x="173" y="50"/>
                  <a:pt x="173" y="50"/>
                </a:cubicBezTo>
                <a:cubicBezTo>
                  <a:pt x="173" y="49"/>
                  <a:pt x="173" y="49"/>
                  <a:pt x="173" y="49"/>
                </a:cubicBezTo>
                <a:cubicBezTo>
                  <a:pt x="173" y="49"/>
                  <a:pt x="173" y="49"/>
                  <a:pt x="173" y="49"/>
                </a:cubicBezTo>
                <a:cubicBezTo>
                  <a:pt x="172" y="48"/>
                  <a:pt x="172" y="48"/>
                  <a:pt x="172" y="48"/>
                </a:cubicBezTo>
                <a:cubicBezTo>
                  <a:pt x="171" y="47"/>
                  <a:pt x="171" y="47"/>
                  <a:pt x="171" y="47"/>
                </a:cubicBezTo>
                <a:cubicBezTo>
                  <a:pt x="170" y="47"/>
                  <a:pt x="170" y="47"/>
                  <a:pt x="170" y="47"/>
                </a:cubicBezTo>
                <a:cubicBezTo>
                  <a:pt x="168" y="47"/>
                  <a:pt x="168" y="47"/>
                  <a:pt x="168" y="47"/>
                </a:cubicBezTo>
                <a:cubicBezTo>
                  <a:pt x="166" y="46"/>
                  <a:pt x="166" y="46"/>
                  <a:pt x="166" y="46"/>
                </a:cubicBezTo>
                <a:cubicBezTo>
                  <a:pt x="166" y="44"/>
                  <a:pt x="166" y="44"/>
                  <a:pt x="166" y="44"/>
                </a:cubicBezTo>
                <a:cubicBezTo>
                  <a:pt x="164" y="43"/>
                  <a:pt x="164" y="43"/>
                  <a:pt x="164" y="43"/>
                </a:cubicBezTo>
                <a:cubicBezTo>
                  <a:pt x="163" y="43"/>
                  <a:pt x="163" y="43"/>
                  <a:pt x="163" y="43"/>
                </a:cubicBezTo>
                <a:cubicBezTo>
                  <a:pt x="161" y="42"/>
                  <a:pt x="161" y="42"/>
                  <a:pt x="161" y="42"/>
                </a:cubicBezTo>
                <a:cubicBezTo>
                  <a:pt x="161" y="41"/>
                  <a:pt x="161" y="41"/>
                  <a:pt x="161" y="41"/>
                </a:cubicBezTo>
                <a:cubicBezTo>
                  <a:pt x="160" y="41"/>
                  <a:pt x="160" y="41"/>
                  <a:pt x="160" y="41"/>
                </a:cubicBezTo>
                <a:cubicBezTo>
                  <a:pt x="160" y="40"/>
                  <a:pt x="160" y="40"/>
                  <a:pt x="160" y="40"/>
                </a:cubicBezTo>
                <a:cubicBezTo>
                  <a:pt x="158" y="40"/>
                  <a:pt x="158" y="40"/>
                  <a:pt x="158" y="40"/>
                </a:cubicBezTo>
                <a:cubicBezTo>
                  <a:pt x="157" y="40"/>
                  <a:pt x="157" y="40"/>
                  <a:pt x="157" y="40"/>
                </a:cubicBezTo>
                <a:cubicBezTo>
                  <a:pt x="157" y="39"/>
                  <a:pt x="157" y="39"/>
                  <a:pt x="157" y="39"/>
                </a:cubicBezTo>
                <a:cubicBezTo>
                  <a:pt x="156" y="38"/>
                  <a:pt x="156" y="38"/>
                  <a:pt x="156" y="38"/>
                </a:cubicBezTo>
                <a:cubicBezTo>
                  <a:pt x="156" y="37"/>
                  <a:pt x="156" y="37"/>
                  <a:pt x="156" y="37"/>
                </a:cubicBezTo>
                <a:cubicBezTo>
                  <a:pt x="154" y="35"/>
                  <a:pt x="154" y="35"/>
                  <a:pt x="154" y="35"/>
                </a:cubicBezTo>
                <a:cubicBezTo>
                  <a:pt x="153" y="35"/>
                  <a:pt x="153" y="35"/>
                  <a:pt x="153" y="35"/>
                </a:cubicBezTo>
                <a:cubicBezTo>
                  <a:pt x="152" y="33"/>
                  <a:pt x="152" y="33"/>
                  <a:pt x="152" y="33"/>
                </a:cubicBezTo>
                <a:cubicBezTo>
                  <a:pt x="151" y="32"/>
                  <a:pt x="151" y="32"/>
                  <a:pt x="151" y="32"/>
                </a:cubicBezTo>
                <a:cubicBezTo>
                  <a:pt x="153" y="30"/>
                  <a:pt x="153" y="30"/>
                  <a:pt x="153" y="30"/>
                </a:cubicBezTo>
                <a:cubicBezTo>
                  <a:pt x="153" y="28"/>
                  <a:pt x="153" y="28"/>
                  <a:pt x="153" y="28"/>
                </a:cubicBezTo>
                <a:cubicBezTo>
                  <a:pt x="154" y="28"/>
                  <a:pt x="154" y="28"/>
                  <a:pt x="154" y="28"/>
                </a:cubicBezTo>
                <a:cubicBezTo>
                  <a:pt x="155" y="26"/>
                  <a:pt x="155" y="26"/>
                  <a:pt x="155" y="26"/>
                </a:cubicBezTo>
                <a:cubicBezTo>
                  <a:pt x="155" y="25"/>
                  <a:pt x="155" y="25"/>
                  <a:pt x="155" y="25"/>
                </a:cubicBezTo>
                <a:cubicBezTo>
                  <a:pt x="154" y="26"/>
                  <a:pt x="154" y="26"/>
                  <a:pt x="154" y="26"/>
                </a:cubicBezTo>
                <a:cubicBezTo>
                  <a:pt x="153" y="24"/>
                  <a:pt x="153" y="24"/>
                  <a:pt x="153" y="24"/>
                </a:cubicBezTo>
                <a:cubicBezTo>
                  <a:pt x="154" y="23"/>
                  <a:pt x="154" y="23"/>
                  <a:pt x="154" y="23"/>
                </a:cubicBezTo>
                <a:cubicBezTo>
                  <a:pt x="154" y="22"/>
                  <a:pt x="154" y="22"/>
                  <a:pt x="154" y="22"/>
                </a:cubicBezTo>
                <a:cubicBezTo>
                  <a:pt x="155" y="22"/>
                  <a:pt x="155" y="22"/>
                  <a:pt x="155" y="22"/>
                </a:cubicBezTo>
                <a:cubicBezTo>
                  <a:pt x="156" y="21"/>
                  <a:pt x="156" y="21"/>
                  <a:pt x="156" y="21"/>
                </a:cubicBezTo>
                <a:cubicBezTo>
                  <a:pt x="156" y="22"/>
                  <a:pt x="156" y="22"/>
                  <a:pt x="156" y="22"/>
                </a:cubicBezTo>
                <a:cubicBezTo>
                  <a:pt x="157" y="22"/>
                  <a:pt x="157" y="22"/>
                  <a:pt x="157" y="22"/>
                </a:cubicBezTo>
                <a:cubicBezTo>
                  <a:pt x="159" y="21"/>
                  <a:pt x="159" y="21"/>
                  <a:pt x="159" y="21"/>
                </a:cubicBezTo>
                <a:cubicBezTo>
                  <a:pt x="159" y="20"/>
                  <a:pt x="159" y="20"/>
                  <a:pt x="159" y="20"/>
                </a:cubicBezTo>
                <a:cubicBezTo>
                  <a:pt x="158" y="19"/>
                  <a:pt x="158" y="19"/>
                  <a:pt x="158" y="19"/>
                </a:cubicBezTo>
                <a:cubicBezTo>
                  <a:pt x="159" y="18"/>
                  <a:pt x="159" y="18"/>
                  <a:pt x="159" y="18"/>
                </a:cubicBezTo>
                <a:cubicBezTo>
                  <a:pt x="160" y="19"/>
                  <a:pt x="160" y="19"/>
                  <a:pt x="160" y="19"/>
                </a:cubicBezTo>
                <a:cubicBezTo>
                  <a:pt x="160" y="16"/>
                  <a:pt x="160" y="16"/>
                  <a:pt x="160" y="16"/>
                </a:cubicBezTo>
                <a:cubicBezTo>
                  <a:pt x="161" y="16"/>
                  <a:pt x="161" y="16"/>
                  <a:pt x="161" y="16"/>
                </a:cubicBezTo>
                <a:cubicBezTo>
                  <a:pt x="162" y="15"/>
                  <a:pt x="162" y="15"/>
                  <a:pt x="162" y="15"/>
                </a:cubicBezTo>
                <a:cubicBezTo>
                  <a:pt x="162" y="14"/>
                  <a:pt x="162" y="14"/>
                  <a:pt x="162" y="14"/>
                </a:cubicBezTo>
                <a:cubicBezTo>
                  <a:pt x="161" y="14"/>
                  <a:pt x="161" y="14"/>
                  <a:pt x="161" y="14"/>
                </a:cubicBezTo>
                <a:cubicBezTo>
                  <a:pt x="160" y="15"/>
                  <a:pt x="160" y="15"/>
                  <a:pt x="160" y="15"/>
                </a:cubicBezTo>
                <a:cubicBezTo>
                  <a:pt x="159" y="14"/>
                  <a:pt x="159" y="14"/>
                  <a:pt x="159" y="14"/>
                </a:cubicBezTo>
                <a:cubicBezTo>
                  <a:pt x="159" y="12"/>
                  <a:pt x="159" y="12"/>
                  <a:pt x="159" y="12"/>
                </a:cubicBezTo>
                <a:cubicBezTo>
                  <a:pt x="158" y="13"/>
                  <a:pt x="158" y="13"/>
                  <a:pt x="158" y="13"/>
                </a:cubicBezTo>
                <a:cubicBezTo>
                  <a:pt x="156" y="14"/>
                  <a:pt x="156" y="14"/>
                  <a:pt x="156" y="14"/>
                </a:cubicBezTo>
                <a:cubicBezTo>
                  <a:pt x="157" y="15"/>
                  <a:pt x="157" y="15"/>
                  <a:pt x="157" y="15"/>
                </a:cubicBezTo>
                <a:cubicBezTo>
                  <a:pt x="157" y="16"/>
                  <a:pt x="157" y="16"/>
                  <a:pt x="157" y="16"/>
                </a:cubicBezTo>
                <a:cubicBezTo>
                  <a:pt x="156" y="16"/>
                  <a:pt x="156" y="16"/>
                  <a:pt x="156" y="16"/>
                </a:cubicBezTo>
                <a:cubicBezTo>
                  <a:pt x="155" y="15"/>
                  <a:pt x="155" y="15"/>
                  <a:pt x="155" y="15"/>
                </a:cubicBezTo>
                <a:cubicBezTo>
                  <a:pt x="155" y="15"/>
                  <a:pt x="155" y="15"/>
                  <a:pt x="155" y="15"/>
                </a:cubicBezTo>
                <a:cubicBezTo>
                  <a:pt x="154" y="14"/>
                  <a:pt x="154" y="14"/>
                  <a:pt x="154" y="14"/>
                </a:cubicBezTo>
                <a:cubicBezTo>
                  <a:pt x="154" y="15"/>
                  <a:pt x="154" y="15"/>
                  <a:pt x="154" y="15"/>
                </a:cubicBezTo>
                <a:cubicBezTo>
                  <a:pt x="153" y="15"/>
                  <a:pt x="153" y="15"/>
                  <a:pt x="153" y="15"/>
                </a:cubicBezTo>
                <a:cubicBezTo>
                  <a:pt x="153" y="14"/>
                  <a:pt x="153" y="14"/>
                  <a:pt x="153" y="14"/>
                </a:cubicBezTo>
                <a:cubicBezTo>
                  <a:pt x="154" y="13"/>
                  <a:pt x="154" y="13"/>
                  <a:pt x="154" y="13"/>
                </a:cubicBezTo>
                <a:cubicBezTo>
                  <a:pt x="154" y="13"/>
                  <a:pt x="154" y="13"/>
                  <a:pt x="154" y="13"/>
                </a:cubicBezTo>
                <a:cubicBezTo>
                  <a:pt x="153" y="13"/>
                  <a:pt x="153" y="13"/>
                  <a:pt x="153" y="13"/>
                </a:cubicBezTo>
                <a:cubicBezTo>
                  <a:pt x="153" y="14"/>
                  <a:pt x="153" y="14"/>
                  <a:pt x="153" y="14"/>
                </a:cubicBezTo>
                <a:cubicBezTo>
                  <a:pt x="151" y="14"/>
                  <a:pt x="151" y="14"/>
                  <a:pt x="151" y="14"/>
                </a:cubicBezTo>
                <a:cubicBezTo>
                  <a:pt x="151" y="15"/>
                  <a:pt x="151" y="15"/>
                  <a:pt x="151" y="15"/>
                </a:cubicBezTo>
                <a:cubicBezTo>
                  <a:pt x="150" y="15"/>
                  <a:pt x="150" y="15"/>
                  <a:pt x="150" y="15"/>
                </a:cubicBezTo>
                <a:cubicBezTo>
                  <a:pt x="150" y="15"/>
                  <a:pt x="150" y="15"/>
                  <a:pt x="150" y="15"/>
                </a:cubicBezTo>
                <a:cubicBezTo>
                  <a:pt x="149" y="14"/>
                  <a:pt x="149" y="14"/>
                  <a:pt x="149" y="14"/>
                </a:cubicBezTo>
                <a:cubicBezTo>
                  <a:pt x="149" y="14"/>
                  <a:pt x="149" y="14"/>
                  <a:pt x="149" y="14"/>
                </a:cubicBezTo>
                <a:cubicBezTo>
                  <a:pt x="148" y="13"/>
                  <a:pt x="148" y="13"/>
                  <a:pt x="148" y="13"/>
                </a:cubicBezTo>
                <a:cubicBezTo>
                  <a:pt x="147" y="12"/>
                  <a:pt x="147" y="12"/>
                  <a:pt x="147" y="12"/>
                </a:cubicBezTo>
                <a:cubicBezTo>
                  <a:pt x="146" y="13"/>
                  <a:pt x="146" y="13"/>
                  <a:pt x="146" y="13"/>
                </a:cubicBezTo>
                <a:cubicBezTo>
                  <a:pt x="145" y="13"/>
                  <a:pt x="145" y="13"/>
                  <a:pt x="145" y="13"/>
                </a:cubicBezTo>
                <a:cubicBezTo>
                  <a:pt x="144" y="13"/>
                  <a:pt x="144" y="13"/>
                  <a:pt x="144" y="13"/>
                </a:cubicBezTo>
                <a:cubicBezTo>
                  <a:pt x="144" y="12"/>
                  <a:pt x="144" y="12"/>
                  <a:pt x="144" y="12"/>
                </a:cubicBezTo>
                <a:cubicBezTo>
                  <a:pt x="143" y="12"/>
                  <a:pt x="143" y="12"/>
                  <a:pt x="143" y="12"/>
                </a:cubicBezTo>
                <a:cubicBezTo>
                  <a:pt x="142" y="11"/>
                  <a:pt x="142" y="11"/>
                  <a:pt x="142" y="11"/>
                </a:cubicBezTo>
                <a:cubicBezTo>
                  <a:pt x="141" y="12"/>
                  <a:pt x="141" y="12"/>
                  <a:pt x="141" y="12"/>
                </a:cubicBezTo>
                <a:cubicBezTo>
                  <a:pt x="139" y="11"/>
                  <a:pt x="139" y="11"/>
                  <a:pt x="139" y="11"/>
                </a:cubicBezTo>
                <a:cubicBezTo>
                  <a:pt x="138" y="11"/>
                  <a:pt x="138" y="11"/>
                  <a:pt x="138" y="11"/>
                </a:cubicBezTo>
                <a:cubicBezTo>
                  <a:pt x="138" y="10"/>
                  <a:pt x="138" y="10"/>
                  <a:pt x="138" y="10"/>
                </a:cubicBezTo>
                <a:cubicBezTo>
                  <a:pt x="137" y="9"/>
                  <a:pt x="137" y="9"/>
                  <a:pt x="137" y="9"/>
                </a:cubicBezTo>
                <a:cubicBezTo>
                  <a:pt x="137" y="9"/>
                  <a:pt x="137" y="9"/>
                  <a:pt x="137" y="9"/>
                </a:cubicBezTo>
                <a:cubicBezTo>
                  <a:pt x="137" y="9"/>
                  <a:pt x="137" y="9"/>
                  <a:pt x="137" y="9"/>
                </a:cubicBezTo>
                <a:cubicBezTo>
                  <a:pt x="135" y="10"/>
                  <a:pt x="135" y="10"/>
                  <a:pt x="135" y="10"/>
                </a:cubicBezTo>
                <a:cubicBezTo>
                  <a:pt x="134" y="9"/>
                  <a:pt x="134" y="9"/>
                  <a:pt x="134" y="9"/>
                </a:cubicBezTo>
                <a:cubicBezTo>
                  <a:pt x="133" y="8"/>
                  <a:pt x="133" y="8"/>
                  <a:pt x="133" y="8"/>
                </a:cubicBezTo>
                <a:cubicBezTo>
                  <a:pt x="132" y="7"/>
                  <a:pt x="132" y="7"/>
                  <a:pt x="132" y="7"/>
                </a:cubicBezTo>
                <a:cubicBezTo>
                  <a:pt x="131" y="8"/>
                  <a:pt x="131" y="8"/>
                  <a:pt x="131" y="8"/>
                </a:cubicBezTo>
                <a:cubicBezTo>
                  <a:pt x="131" y="7"/>
                  <a:pt x="131" y="7"/>
                  <a:pt x="131" y="7"/>
                </a:cubicBezTo>
                <a:cubicBezTo>
                  <a:pt x="129" y="8"/>
                  <a:pt x="129" y="8"/>
                  <a:pt x="129" y="8"/>
                </a:cubicBezTo>
                <a:cubicBezTo>
                  <a:pt x="131" y="9"/>
                  <a:pt x="131" y="9"/>
                  <a:pt x="131" y="9"/>
                </a:cubicBezTo>
                <a:cubicBezTo>
                  <a:pt x="130" y="9"/>
                  <a:pt x="130" y="9"/>
                  <a:pt x="130" y="9"/>
                </a:cubicBezTo>
                <a:cubicBezTo>
                  <a:pt x="132" y="10"/>
                  <a:pt x="132" y="10"/>
                  <a:pt x="132" y="10"/>
                </a:cubicBezTo>
                <a:cubicBezTo>
                  <a:pt x="133" y="9"/>
                  <a:pt x="133" y="9"/>
                  <a:pt x="133" y="9"/>
                </a:cubicBezTo>
                <a:cubicBezTo>
                  <a:pt x="134" y="11"/>
                  <a:pt x="134" y="11"/>
                  <a:pt x="134" y="11"/>
                </a:cubicBezTo>
                <a:cubicBezTo>
                  <a:pt x="134" y="11"/>
                  <a:pt x="134" y="11"/>
                  <a:pt x="134" y="11"/>
                </a:cubicBezTo>
                <a:cubicBezTo>
                  <a:pt x="135" y="13"/>
                  <a:pt x="135" y="13"/>
                  <a:pt x="135" y="13"/>
                </a:cubicBezTo>
                <a:cubicBezTo>
                  <a:pt x="133" y="14"/>
                  <a:pt x="133" y="14"/>
                  <a:pt x="133" y="14"/>
                </a:cubicBezTo>
                <a:cubicBezTo>
                  <a:pt x="133" y="15"/>
                  <a:pt x="133" y="15"/>
                  <a:pt x="133" y="15"/>
                </a:cubicBezTo>
                <a:cubicBezTo>
                  <a:pt x="132" y="14"/>
                  <a:pt x="132" y="14"/>
                  <a:pt x="132" y="14"/>
                </a:cubicBezTo>
                <a:cubicBezTo>
                  <a:pt x="131" y="14"/>
                  <a:pt x="131" y="14"/>
                  <a:pt x="131" y="14"/>
                </a:cubicBezTo>
                <a:cubicBezTo>
                  <a:pt x="130" y="14"/>
                  <a:pt x="130" y="14"/>
                  <a:pt x="130" y="14"/>
                </a:cubicBezTo>
                <a:cubicBezTo>
                  <a:pt x="127" y="15"/>
                  <a:pt x="127" y="15"/>
                  <a:pt x="127" y="15"/>
                </a:cubicBezTo>
                <a:cubicBezTo>
                  <a:pt x="125" y="13"/>
                  <a:pt x="125" y="13"/>
                  <a:pt x="125" y="13"/>
                </a:cubicBezTo>
                <a:cubicBezTo>
                  <a:pt x="125" y="14"/>
                  <a:pt x="125" y="14"/>
                  <a:pt x="125" y="14"/>
                </a:cubicBezTo>
                <a:cubicBezTo>
                  <a:pt x="124" y="15"/>
                  <a:pt x="124" y="15"/>
                  <a:pt x="124" y="15"/>
                </a:cubicBezTo>
                <a:cubicBezTo>
                  <a:pt x="124" y="16"/>
                  <a:pt x="124" y="16"/>
                  <a:pt x="124" y="16"/>
                </a:cubicBezTo>
                <a:cubicBezTo>
                  <a:pt x="123" y="15"/>
                  <a:pt x="123" y="15"/>
                  <a:pt x="123" y="15"/>
                </a:cubicBezTo>
                <a:cubicBezTo>
                  <a:pt x="123" y="17"/>
                  <a:pt x="123" y="17"/>
                  <a:pt x="123" y="17"/>
                </a:cubicBezTo>
                <a:cubicBezTo>
                  <a:pt x="123" y="17"/>
                  <a:pt x="123" y="17"/>
                  <a:pt x="123" y="17"/>
                </a:cubicBezTo>
                <a:cubicBezTo>
                  <a:pt x="121" y="16"/>
                  <a:pt x="121" y="16"/>
                  <a:pt x="121" y="16"/>
                </a:cubicBezTo>
                <a:cubicBezTo>
                  <a:pt x="121" y="17"/>
                  <a:pt x="121" y="17"/>
                  <a:pt x="121" y="17"/>
                </a:cubicBezTo>
                <a:cubicBezTo>
                  <a:pt x="121" y="18"/>
                  <a:pt x="121" y="18"/>
                  <a:pt x="121" y="18"/>
                </a:cubicBezTo>
                <a:cubicBezTo>
                  <a:pt x="121" y="18"/>
                  <a:pt x="121" y="18"/>
                  <a:pt x="121" y="18"/>
                </a:cubicBezTo>
                <a:cubicBezTo>
                  <a:pt x="120" y="18"/>
                  <a:pt x="120" y="18"/>
                  <a:pt x="120" y="18"/>
                </a:cubicBezTo>
                <a:cubicBezTo>
                  <a:pt x="119" y="19"/>
                  <a:pt x="119" y="19"/>
                  <a:pt x="119" y="19"/>
                </a:cubicBezTo>
                <a:cubicBezTo>
                  <a:pt x="119" y="19"/>
                  <a:pt x="119" y="19"/>
                  <a:pt x="119" y="19"/>
                </a:cubicBezTo>
                <a:cubicBezTo>
                  <a:pt x="119" y="20"/>
                  <a:pt x="119" y="20"/>
                  <a:pt x="119" y="20"/>
                </a:cubicBezTo>
                <a:cubicBezTo>
                  <a:pt x="118" y="20"/>
                  <a:pt x="118" y="20"/>
                  <a:pt x="118" y="20"/>
                </a:cubicBezTo>
                <a:cubicBezTo>
                  <a:pt x="118" y="21"/>
                  <a:pt x="118" y="21"/>
                  <a:pt x="118" y="21"/>
                </a:cubicBezTo>
                <a:cubicBezTo>
                  <a:pt x="119" y="22"/>
                  <a:pt x="119" y="22"/>
                  <a:pt x="119" y="22"/>
                </a:cubicBezTo>
                <a:cubicBezTo>
                  <a:pt x="119" y="23"/>
                  <a:pt x="119" y="23"/>
                  <a:pt x="119" y="23"/>
                </a:cubicBezTo>
                <a:cubicBezTo>
                  <a:pt x="118" y="22"/>
                  <a:pt x="118" y="22"/>
                  <a:pt x="118" y="22"/>
                </a:cubicBezTo>
                <a:cubicBezTo>
                  <a:pt x="117" y="23"/>
                  <a:pt x="117" y="23"/>
                  <a:pt x="117" y="23"/>
                </a:cubicBezTo>
                <a:cubicBezTo>
                  <a:pt x="116" y="23"/>
                  <a:pt x="116" y="23"/>
                  <a:pt x="116" y="23"/>
                </a:cubicBezTo>
                <a:cubicBezTo>
                  <a:pt x="115" y="25"/>
                  <a:pt x="115" y="25"/>
                  <a:pt x="115" y="25"/>
                </a:cubicBezTo>
                <a:cubicBezTo>
                  <a:pt x="114" y="27"/>
                  <a:pt x="114" y="27"/>
                  <a:pt x="114" y="27"/>
                </a:cubicBezTo>
                <a:cubicBezTo>
                  <a:pt x="113" y="27"/>
                  <a:pt x="113" y="27"/>
                  <a:pt x="113" y="27"/>
                </a:cubicBezTo>
                <a:cubicBezTo>
                  <a:pt x="113" y="28"/>
                  <a:pt x="113" y="28"/>
                  <a:pt x="113" y="28"/>
                </a:cubicBezTo>
                <a:cubicBezTo>
                  <a:pt x="112" y="29"/>
                  <a:pt x="112" y="29"/>
                  <a:pt x="112" y="29"/>
                </a:cubicBezTo>
                <a:cubicBezTo>
                  <a:pt x="113" y="30"/>
                  <a:pt x="113" y="30"/>
                  <a:pt x="113" y="30"/>
                </a:cubicBezTo>
                <a:cubicBezTo>
                  <a:pt x="115" y="30"/>
                  <a:pt x="115" y="30"/>
                  <a:pt x="115" y="30"/>
                </a:cubicBezTo>
                <a:cubicBezTo>
                  <a:pt x="114" y="31"/>
                  <a:pt x="114" y="31"/>
                  <a:pt x="114" y="31"/>
                </a:cubicBezTo>
                <a:cubicBezTo>
                  <a:pt x="113" y="31"/>
                  <a:pt x="113" y="31"/>
                  <a:pt x="113" y="31"/>
                </a:cubicBezTo>
                <a:cubicBezTo>
                  <a:pt x="116" y="32"/>
                  <a:pt x="116" y="32"/>
                  <a:pt x="116" y="32"/>
                </a:cubicBezTo>
                <a:cubicBezTo>
                  <a:pt x="115" y="33"/>
                  <a:pt x="115" y="33"/>
                  <a:pt x="115" y="33"/>
                </a:cubicBezTo>
                <a:cubicBezTo>
                  <a:pt x="113" y="33"/>
                  <a:pt x="113" y="33"/>
                  <a:pt x="113" y="33"/>
                </a:cubicBezTo>
                <a:cubicBezTo>
                  <a:pt x="113" y="32"/>
                  <a:pt x="113" y="32"/>
                  <a:pt x="113" y="32"/>
                </a:cubicBezTo>
                <a:cubicBezTo>
                  <a:pt x="113" y="33"/>
                  <a:pt x="113" y="33"/>
                  <a:pt x="113" y="33"/>
                </a:cubicBezTo>
                <a:cubicBezTo>
                  <a:pt x="114" y="33"/>
                  <a:pt x="114" y="33"/>
                  <a:pt x="114" y="33"/>
                </a:cubicBezTo>
                <a:cubicBezTo>
                  <a:pt x="114" y="35"/>
                  <a:pt x="114" y="35"/>
                  <a:pt x="114" y="35"/>
                </a:cubicBezTo>
                <a:cubicBezTo>
                  <a:pt x="115" y="36"/>
                  <a:pt x="115" y="36"/>
                  <a:pt x="115" y="36"/>
                </a:cubicBezTo>
                <a:cubicBezTo>
                  <a:pt x="113" y="35"/>
                  <a:pt x="113" y="35"/>
                  <a:pt x="113" y="35"/>
                </a:cubicBezTo>
                <a:cubicBezTo>
                  <a:pt x="112" y="33"/>
                  <a:pt x="112" y="33"/>
                  <a:pt x="112" y="33"/>
                </a:cubicBezTo>
                <a:cubicBezTo>
                  <a:pt x="111" y="33"/>
                  <a:pt x="111" y="33"/>
                  <a:pt x="111" y="33"/>
                </a:cubicBezTo>
                <a:cubicBezTo>
                  <a:pt x="111" y="34"/>
                  <a:pt x="111" y="34"/>
                  <a:pt x="111" y="34"/>
                </a:cubicBezTo>
                <a:cubicBezTo>
                  <a:pt x="111" y="35"/>
                  <a:pt x="111" y="35"/>
                  <a:pt x="111" y="35"/>
                </a:cubicBezTo>
                <a:cubicBezTo>
                  <a:pt x="110" y="34"/>
                  <a:pt x="110" y="34"/>
                  <a:pt x="110" y="34"/>
                </a:cubicBezTo>
                <a:cubicBezTo>
                  <a:pt x="108" y="32"/>
                  <a:pt x="108" y="32"/>
                  <a:pt x="108" y="32"/>
                </a:cubicBezTo>
                <a:cubicBezTo>
                  <a:pt x="106" y="32"/>
                  <a:pt x="106" y="32"/>
                  <a:pt x="106" y="32"/>
                </a:cubicBezTo>
                <a:cubicBezTo>
                  <a:pt x="106" y="33"/>
                  <a:pt x="106" y="33"/>
                  <a:pt x="106" y="33"/>
                </a:cubicBezTo>
                <a:cubicBezTo>
                  <a:pt x="106" y="34"/>
                  <a:pt x="106" y="34"/>
                  <a:pt x="106" y="34"/>
                </a:cubicBezTo>
                <a:cubicBezTo>
                  <a:pt x="105" y="33"/>
                  <a:pt x="105" y="33"/>
                  <a:pt x="105" y="33"/>
                </a:cubicBezTo>
                <a:cubicBezTo>
                  <a:pt x="105" y="33"/>
                  <a:pt x="105" y="33"/>
                  <a:pt x="105" y="33"/>
                </a:cubicBezTo>
                <a:cubicBezTo>
                  <a:pt x="104" y="34"/>
                  <a:pt x="104" y="34"/>
                  <a:pt x="104" y="34"/>
                </a:cubicBezTo>
                <a:cubicBezTo>
                  <a:pt x="105" y="35"/>
                  <a:pt x="105" y="35"/>
                  <a:pt x="105" y="35"/>
                </a:cubicBezTo>
                <a:cubicBezTo>
                  <a:pt x="105" y="36"/>
                  <a:pt x="105" y="36"/>
                  <a:pt x="105" y="36"/>
                </a:cubicBezTo>
                <a:cubicBezTo>
                  <a:pt x="105" y="35"/>
                  <a:pt x="105" y="35"/>
                  <a:pt x="105" y="35"/>
                </a:cubicBezTo>
                <a:cubicBezTo>
                  <a:pt x="104" y="35"/>
                  <a:pt x="104" y="35"/>
                  <a:pt x="104" y="35"/>
                </a:cubicBezTo>
                <a:cubicBezTo>
                  <a:pt x="104" y="36"/>
                  <a:pt x="104" y="36"/>
                  <a:pt x="104" y="36"/>
                </a:cubicBezTo>
                <a:cubicBezTo>
                  <a:pt x="103" y="37"/>
                  <a:pt x="103" y="37"/>
                  <a:pt x="103" y="37"/>
                </a:cubicBezTo>
                <a:cubicBezTo>
                  <a:pt x="101" y="37"/>
                  <a:pt x="101" y="37"/>
                  <a:pt x="101" y="37"/>
                </a:cubicBezTo>
                <a:cubicBezTo>
                  <a:pt x="102" y="36"/>
                  <a:pt x="102" y="36"/>
                  <a:pt x="102" y="36"/>
                </a:cubicBezTo>
                <a:cubicBezTo>
                  <a:pt x="103" y="35"/>
                  <a:pt x="103" y="35"/>
                  <a:pt x="103" y="35"/>
                </a:cubicBezTo>
                <a:cubicBezTo>
                  <a:pt x="103" y="33"/>
                  <a:pt x="103" y="33"/>
                  <a:pt x="103" y="33"/>
                </a:cubicBezTo>
                <a:cubicBezTo>
                  <a:pt x="104" y="32"/>
                  <a:pt x="104" y="32"/>
                  <a:pt x="104" y="32"/>
                </a:cubicBezTo>
                <a:cubicBezTo>
                  <a:pt x="104" y="31"/>
                  <a:pt x="104" y="31"/>
                  <a:pt x="104" y="31"/>
                </a:cubicBezTo>
                <a:cubicBezTo>
                  <a:pt x="102" y="31"/>
                  <a:pt x="102" y="31"/>
                  <a:pt x="102" y="31"/>
                </a:cubicBezTo>
                <a:cubicBezTo>
                  <a:pt x="101" y="28"/>
                  <a:pt x="101" y="28"/>
                  <a:pt x="101" y="28"/>
                </a:cubicBezTo>
                <a:cubicBezTo>
                  <a:pt x="100" y="26"/>
                  <a:pt x="100" y="26"/>
                  <a:pt x="100" y="26"/>
                </a:cubicBezTo>
                <a:cubicBezTo>
                  <a:pt x="98" y="26"/>
                  <a:pt x="98" y="26"/>
                  <a:pt x="98" y="26"/>
                </a:cubicBezTo>
                <a:cubicBezTo>
                  <a:pt x="97" y="25"/>
                  <a:pt x="97" y="25"/>
                  <a:pt x="97" y="25"/>
                </a:cubicBezTo>
                <a:cubicBezTo>
                  <a:pt x="96" y="25"/>
                  <a:pt x="96" y="25"/>
                  <a:pt x="96" y="25"/>
                </a:cubicBezTo>
                <a:cubicBezTo>
                  <a:pt x="97" y="26"/>
                  <a:pt x="97" y="26"/>
                  <a:pt x="97" y="26"/>
                </a:cubicBezTo>
                <a:cubicBezTo>
                  <a:pt x="96" y="26"/>
                  <a:pt x="96" y="26"/>
                  <a:pt x="96" y="26"/>
                </a:cubicBezTo>
                <a:cubicBezTo>
                  <a:pt x="95" y="28"/>
                  <a:pt x="95" y="28"/>
                  <a:pt x="95" y="28"/>
                </a:cubicBezTo>
                <a:cubicBezTo>
                  <a:pt x="94" y="27"/>
                  <a:pt x="94" y="27"/>
                  <a:pt x="94" y="27"/>
                </a:cubicBezTo>
                <a:cubicBezTo>
                  <a:pt x="95" y="27"/>
                  <a:pt x="95" y="27"/>
                  <a:pt x="95" y="27"/>
                </a:cubicBezTo>
                <a:cubicBezTo>
                  <a:pt x="93" y="27"/>
                  <a:pt x="93" y="27"/>
                  <a:pt x="93" y="27"/>
                </a:cubicBezTo>
                <a:cubicBezTo>
                  <a:pt x="93" y="28"/>
                  <a:pt x="93" y="28"/>
                  <a:pt x="93" y="28"/>
                </a:cubicBezTo>
                <a:cubicBezTo>
                  <a:pt x="92" y="26"/>
                  <a:pt x="92" y="26"/>
                  <a:pt x="92" y="26"/>
                </a:cubicBezTo>
                <a:cubicBezTo>
                  <a:pt x="92" y="26"/>
                  <a:pt x="92" y="26"/>
                  <a:pt x="92" y="26"/>
                </a:cubicBezTo>
                <a:cubicBezTo>
                  <a:pt x="91" y="27"/>
                  <a:pt x="91" y="27"/>
                  <a:pt x="91" y="27"/>
                </a:cubicBezTo>
                <a:cubicBezTo>
                  <a:pt x="92" y="27"/>
                  <a:pt x="92" y="27"/>
                  <a:pt x="92" y="27"/>
                </a:cubicBezTo>
                <a:cubicBezTo>
                  <a:pt x="91" y="28"/>
                  <a:pt x="91" y="28"/>
                  <a:pt x="91" y="28"/>
                </a:cubicBezTo>
                <a:cubicBezTo>
                  <a:pt x="91" y="30"/>
                  <a:pt x="91" y="30"/>
                  <a:pt x="91" y="30"/>
                </a:cubicBezTo>
                <a:cubicBezTo>
                  <a:pt x="91" y="30"/>
                  <a:pt x="91" y="30"/>
                  <a:pt x="91" y="30"/>
                </a:cubicBezTo>
                <a:cubicBezTo>
                  <a:pt x="90" y="31"/>
                  <a:pt x="90" y="31"/>
                  <a:pt x="90" y="31"/>
                </a:cubicBezTo>
                <a:cubicBezTo>
                  <a:pt x="89" y="30"/>
                  <a:pt x="89" y="30"/>
                  <a:pt x="89" y="30"/>
                </a:cubicBezTo>
                <a:cubicBezTo>
                  <a:pt x="88" y="30"/>
                  <a:pt x="88" y="30"/>
                  <a:pt x="88" y="30"/>
                </a:cubicBezTo>
                <a:cubicBezTo>
                  <a:pt x="88" y="29"/>
                  <a:pt x="88" y="29"/>
                  <a:pt x="88" y="29"/>
                </a:cubicBezTo>
                <a:cubicBezTo>
                  <a:pt x="89" y="28"/>
                  <a:pt x="89" y="28"/>
                  <a:pt x="89" y="28"/>
                </a:cubicBezTo>
                <a:cubicBezTo>
                  <a:pt x="88" y="29"/>
                  <a:pt x="88" y="29"/>
                  <a:pt x="88" y="29"/>
                </a:cubicBezTo>
                <a:cubicBezTo>
                  <a:pt x="88" y="30"/>
                  <a:pt x="88" y="30"/>
                  <a:pt x="88" y="30"/>
                </a:cubicBezTo>
                <a:cubicBezTo>
                  <a:pt x="86" y="30"/>
                  <a:pt x="86" y="30"/>
                  <a:pt x="86" y="30"/>
                </a:cubicBezTo>
                <a:cubicBezTo>
                  <a:pt x="86" y="31"/>
                  <a:pt x="86" y="31"/>
                  <a:pt x="86" y="31"/>
                </a:cubicBezTo>
                <a:cubicBezTo>
                  <a:pt x="86" y="32"/>
                  <a:pt x="86" y="32"/>
                  <a:pt x="86" y="32"/>
                </a:cubicBezTo>
                <a:cubicBezTo>
                  <a:pt x="87" y="33"/>
                  <a:pt x="87" y="33"/>
                  <a:pt x="87" y="33"/>
                </a:cubicBezTo>
                <a:cubicBezTo>
                  <a:pt x="86" y="34"/>
                  <a:pt x="86" y="34"/>
                  <a:pt x="86" y="34"/>
                </a:cubicBezTo>
                <a:cubicBezTo>
                  <a:pt x="85" y="34"/>
                  <a:pt x="85" y="34"/>
                  <a:pt x="85" y="34"/>
                </a:cubicBezTo>
                <a:cubicBezTo>
                  <a:pt x="83" y="35"/>
                  <a:pt x="83" y="35"/>
                  <a:pt x="83" y="35"/>
                </a:cubicBezTo>
                <a:cubicBezTo>
                  <a:pt x="83" y="35"/>
                  <a:pt x="83" y="35"/>
                  <a:pt x="83" y="35"/>
                </a:cubicBezTo>
                <a:cubicBezTo>
                  <a:pt x="85" y="36"/>
                  <a:pt x="85" y="36"/>
                  <a:pt x="85" y="36"/>
                </a:cubicBezTo>
                <a:cubicBezTo>
                  <a:pt x="85" y="37"/>
                  <a:pt x="85" y="37"/>
                  <a:pt x="85" y="37"/>
                </a:cubicBezTo>
                <a:cubicBezTo>
                  <a:pt x="84" y="37"/>
                  <a:pt x="84" y="37"/>
                  <a:pt x="84" y="37"/>
                </a:cubicBezTo>
                <a:cubicBezTo>
                  <a:pt x="83" y="35"/>
                  <a:pt x="83" y="35"/>
                  <a:pt x="83" y="35"/>
                </a:cubicBezTo>
                <a:cubicBezTo>
                  <a:pt x="81" y="37"/>
                  <a:pt x="81" y="37"/>
                  <a:pt x="81" y="37"/>
                </a:cubicBezTo>
                <a:cubicBezTo>
                  <a:pt x="80" y="37"/>
                  <a:pt x="80" y="37"/>
                  <a:pt x="80" y="37"/>
                </a:cubicBezTo>
                <a:cubicBezTo>
                  <a:pt x="80" y="38"/>
                  <a:pt x="80" y="38"/>
                  <a:pt x="80" y="38"/>
                </a:cubicBezTo>
                <a:cubicBezTo>
                  <a:pt x="81" y="39"/>
                  <a:pt x="81" y="39"/>
                  <a:pt x="81" y="39"/>
                </a:cubicBezTo>
                <a:cubicBezTo>
                  <a:pt x="81" y="39"/>
                  <a:pt x="81" y="39"/>
                  <a:pt x="81" y="39"/>
                </a:cubicBezTo>
                <a:cubicBezTo>
                  <a:pt x="82" y="39"/>
                  <a:pt x="82" y="39"/>
                  <a:pt x="82" y="39"/>
                </a:cubicBezTo>
                <a:cubicBezTo>
                  <a:pt x="81" y="40"/>
                  <a:pt x="81" y="40"/>
                  <a:pt x="81" y="40"/>
                </a:cubicBezTo>
                <a:cubicBezTo>
                  <a:pt x="81" y="41"/>
                  <a:pt x="81" y="41"/>
                  <a:pt x="81" y="41"/>
                </a:cubicBezTo>
                <a:cubicBezTo>
                  <a:pt x="80" y="42"/>
                  <a:pt x="80" y="42"/>
                  <a:pt x="80" y="42"/>
                </a:cubicBezTo>
                <a:cubicBezTo>
                  <a:pt x="80" y="43"/>
                  <a:pt x="80" y="43"/>
                  <a:pt x="80" y="43"/>
                </a:cubicBezTo>
                <a:cubicBezTo>
                  <a:pt x="82" y="43"/>
                  <a:pt x="82" y="43"/>
                  <a:pt x="82" y="43"/>
                </a:cubicBezTo>
                <a:cubicBezTo>
                  <a:pt x="80" y="44"/>
                  <a:pt x="80" y="44"/>
                  <a:pt x="80" y="44"/>
                </a:cubicBezTo>
                <a:cubicBezTo>
                  <a:pt x="80" y="44"/>
                  <a:pt x="80" y="44"/>
                  <a:pt x="80" y="44"/>
                </a:cubicBezTo>
                <a:cubicBezTo>
                  <a:pt x="79" y="44"/>
                  <a:pt x="79" y="44"/>
                  <a:pt x="79" y="44"/>
                </a:cubicBezTo>
                <a:cubicBezTo>
                  <a:pt x="78" y="43"/>
                  <a:pt x="78" y="43"/>
                  <a:pt x="78" y="43"/>
                </a:cubicBezTo>
                <a:cubicBezTo>
                  <a:pt x="77" y="42"/>
                  <a:pt x="77" y="42"/>
                  <a:pt x="77" y="42"/>
                </a:cubicBezTo>
                <a:cubicBezTo>
                  <a:pt x="76" y="43"/>
                  <a:pt x="76" y="43"/>
                  <a:pt x="76" y="43"/>
                </a:cubicBezTo>
                <a:cubicBezTo>
                  <a:pt x="76" y="42"/>
                  <a:pt x="76" y="42"/>
                  <a:pt x="76" y="42"/>
                </a:cubicBezTo>
                <a:cubicBezTo>
                  <a:pt x="75" y="42"/>
                  <a:pt x="75" y="42"/>
                  <a:pt x="75" y="42"/>
                </a:cubicBezTo>
                <a:cubicBezTo>
                  <a:pt x="74" y="42"/>
                  <a:pt x="74" y="42"/>
                  <a:pt x="74" y="42"/>
                </a:cubicBezTo>
                <a:cubicBezTo>
                  <a:pt x="75" y="43"/>
                  <a:pt x="75" y="43"/>
                  <a:pt x="75" y="43"/>
                </a:cubicBezTo>
                <a:cubicBezTo>
                  <a:pt x="75" y="44"/>
                  <a:pt x="75" y="44"/>
                  <a:pt x="75" y="44"/>
                </a:cubicBezTo>
                <a:cubicBezTo>
                  <a:pt x="74" y="45"/>
                  <a:pt x="74" y="45"/>
                  <a:pt x="74" y="45"/>
                </a:cubicBezTo>
                <a:cubicBezTo>
                  <a:pt x="75" y="46"/>
                  <a:pt x="75" y="46"/>
                  <a:pt x="75" y="46"/>
                </a:cubicBezTo>
                <a:cubicBezTo>
                  <a:pt x="77" y="46"/>
                  <a:pt x="77" y="46"/>
                  <a:pt x="77" y="46"/>
                </a:cubicBezTo>
                <a:cubicBezTo>
                  <a:pt x="76" y="47"/>
                  <a:pt x="76" y="47"/>
                  <a:pt x="76" y="47"/>
                </a:cubicBezTo>
                <a:cubicBezTo>
                  <a:pt x="76" y="48"/>
                  <a:pt x="76" y="48"/>
                  <a:pt x="76" y="48"/>
                </a:cubicBezTo>
                <a:cubicBezTo>
                  <a:pt x="76" y="48"/>
                  <a:pt x="76" y="48"/>
                  <a:pt x="76" y="48"/>
                </a:cubicBezTo>
                <a:cubicBezTo>
                  <a:pt x="75" y="48"/>
                  <a:pt x="75" y="48"/>
                  <a:pt x="75" y="48"/>
                </a:cubicBezTo>
                <a:cubicBezTo>
                  <a:pt x="75" y="49"/>
                  <a:pt x="75" y="49"/>
                  <a:pt x="75" y="49"/>
                </a:cubicBezTo>
                <a:cubicBezTo>
                  <a:pt x="75" y="50"/>
                  <a:pt x="75" y="50"/>
                  <a:pt x="75" y="50"/>
                </a:cubicBezTo>
                <a:cubicBezTo>
                  <a:pt x="74" y="52"/>
                  <a:pt x="74" y="52"/>
                  <a:pt x="74" y="52"/>
                </a:cubicBezTo>
                <a:cubicBezTo>
                  <a:pt x="72" y="48"/>
                  <a:pt x="72" y="48"/>
                  <a:pt x="72" y="48"/>
                </a:cubicBezTo>
                <a:cubicBezTo>
                  <a:pt x="71" y="45"/>
                  <a:pt x="71" y="45"/>
                  <a:pt x="71" y="45"/>
                </a:cubicBezTo>
                <a:cubicBezTo>
                  <a:pt x="70" y="44"/>
                  <a:pt x="70" y="44"/>
                  <a:pt x="70" y="44"/>
                </a:cubicBezTo>
                <a:cubicBezTo>
                  <a:pt x="71" y="43"/>
                  <a:pt x="71" y="43"/>
                  <a:pt x="71" y="43"/>
                </a:cubicBezTo>
                <a:cubicBezTo>
                  <a:pt x="70" y="43"/>
                  <a:pt x="70" y="43"/>
                  <a:pt x="70" y="43"/>
                </a:cubicBezTo>
                <a:cubicBezTo>
                  <a:pt x="69" y="44"/>
                  <a:pt x="69" y="44"/>
                  <a:pt x="69" y="44"/>
                </a:cubicBezTo>
                <a:cubicBezTo>
                  <a:pt x="69" y="46"/>
                  <a:pt x="69" y="46"/>
                  <a:pt x="69" y="46"/>
                </a:cubicBezTo>
                <a:cubicBezTo>
                  <a:pt x="68" y="46"/>
                  <a:pt x="68" y="46"/>
                  <a:pt x="68" y="46"/>
                </a:cubicBezTo>
                <a:cubicBezTo>
                  <a:pt x="67" y="47"/>
                  <a:pt x="67" y="47"/>
                  <a:pt x="67" y="47"/>
                </a:cubicBezTo>
                <a:cubicBezTo>
                  <a:pt x="66" y="47"/>
                  <a:pt x="66" y="47"/>
                  <a:pt x="66" y="47"/>
                </a:cubicBezTo>
                <a:cubicBezTo>
                  <a:pt x="66" y="48"/>
                  <a:pt x="66" y="48"/>
                  <a:pt x="66" y="48"/>
                </a:cubicBezTo>
                <a:cubicBezTo>
                  <a:pt x="64" y="49"/>
                  <a:pt x="64" y="49"/>
                  <a:pt x="64" y="49"/>
                </a:cubicBezTo>
                <a:cubicBezTo>
                  <a:pt x="65" y="50"/>
                  <a:pt x="65" y="50"/>
                  <a:pt x="65" y="50"/>
                </a:cubicBezTo>
                <a:cubicBezTo>
                  <a:pt x="65" y="54"/>
                  <a:pt x="65" y="54"/>
                  <a:pt x="65" y="54"/>
                </a:cubicBezTo>
                <a:cubicBezTo>
                  <a:pt x="65" y="54"/>
                  <a:pt x="65" y="54"/>
                  <a:pt x="65" y="54"/>
                </a:cubicBezTo>
                <a:cubicBezTo>
                  <a:pt x="65" y="55"/>
                  <a:pt x="65" y="55"/>
                  <a:pt x="65" y="55"/>
                </a:cubicBezTo>
                <a:cubicBezTo>
                  <a:pt x="64" y="56"/>
                  <a:pt x="64" y="56"/>
                  <a:pt x="64" y="56"/>
                </a:cubicBezTo>
                <a:cubicBezTo>
                  <a:pt x="64" y="57"/>
                  <a:pt x="64" y="57"/>
                  <a:pt x="64" y="57"/>
                </a:cubicBezTo>
                <a:cubicBezTo>
                  <a:pt x="62" y="57"/>
                  <a:pt x="62" y="57"/>
                  <a:pt x="62" y="57"/>
                </a:cubicBezTo>
                <a:cubicBezTo>
                  <a:pt x="62" y="58"/>
                  <a:pt x="62" y="58"/>
                  <a:pt x="62" y="58"/>
                </a:cubicBezTo>
                <a:cubicBezTo>
                  <a:pt x="60" y="59"/>
                  <a:pt x="60" y="59"/>
                  <a:pt x="60" y="59"/>
                </a:cubicBezTo>
                <a:cubicBezTo>
                  <a:pt x="61" y="61"/>
                  <a:pt x="61" y="61"/>
                  <a:pt x="61" y="61"/>
                </a:cubicBezTo>
                <a:cubicBezTo>
                  <a:pt x="60" y="61"/>
                  <a:pt x="60" y="61"/>
                  <a:pt x="60" y="61"/>
                </a:cubicBezTo>
                <a:cubicBezTo>
                  <a:pt x="58" y="64"/>
                  <a:pt x="58" y="64"/>
                  <a:pt x="58" y="64"/>
                </a:cubicBezTo>
                <a:cubicBezTo>
                  <a:pt x="54" y="66"/>
                  <a:pt x="54" y="66"/>
                  <a:pt x="54" y="66"/>
                </a:cubicBezTo>
                <a:cubicBezTo>
                  <a:pt x="51" y="67"/>
                  <a:pt x="51" y="67"/>
                  <a:pt x="51" y="67"/>
                </a:cubicBezTo>
                <a:cubicBezTo>
                  <a:pt x="49" y="67"/>
                  <a:pt x="49" y="67"/>
                  <a:pt x="49" y="67"/>
                </a:cubicBezTo>
                <a:cubicBezTo>
                  <a:pt x="48" y="67"/>
                  <a:pt x="48" y="67"/>
                  <a:pt x="48" y="67"/>
                </a:cubicBezTo>
                <a:cubicBezTo>
                  <a:pt x="46" y="68"/>
                  <a:pt x="46" y="68"/>
                  <a:pt x="46" y="68"/>
                </a:cubicBezTo>
                <a:cubicBezTo>
                  <a:pt x="45" y="67"/>
                  <a:pt x="45" y="67"/>
                  <a:pt x="45" y="67"/>
                </a:cubicBezTo>
                <a:cubicBezTo>
                  <a:pt x="43" y="68"/>
                  <a:pt x="43" y="68"/>
                  <a:pt x="43" y="68"/>
                </a:cubicBezTo>
                <a:cubicBezTo>
                  <a:pt x="42" y="69"/>
                  <a:pt x="42" y="69"/>
                  <a:pt x="42" y="69"/>
                </a:cubicBezTo>
                <a:cubicBezTo>
                  <a:pt x="41" y="70"/>
                  <a:pt x="41" y="70"/>
                  <a:pt x="41" y="70"/>
                </a:cubicBezTo>
                <a:cubicBezTo>
                  <a:pt x="37" y="70"/>
                  <a:pt x="37" y="70"/>
                  <a:pt x="37" y="70"/>
                </a:cubicBezTo>
                <a:cubicBezTo>
                  <a:pt x="36" y="70"/>
                  <a:pt x="36" y="70"/>
                  <a:pt x="36" y="70"/>
                </a:cubicBezTo>
                <a:cubicBezTo>
                  <a:pt x="36" y="71"/>
                  <a:pt x="36" y="71"/>
                  <a:pt x="36" y="71"/>
                </a:cubicBezTo>
                <a:cubicBezTo>
                  <a:pt x="33" y="72"/>
                  <a:pt x="33" y="72"/>
                  <a:pt x="33" y="72"/>
                </a:cubicBezTo>
                <a:cubicBezTo>
                  <a:pt x="31" y="72"/>
                  <a:pt x="31" y="72"/>
                  <a:pt x="31" y="72"/>
                </a:cubicBezTo>
                <a:cubicBezTo>
                  <a:pt x="30" y="72"/>
                  <a:pt x="30" y="72"/>
                  <a:pt x="30" y="72"/>
                </a:cubicBezTo>
                <a:cubicBezTo>
                  <a:pt x="29" y="72"/>
                  <a:pt x="29" y="72"/>
                  <a:pt x="29" y="72"/>
                </a:cubicBezTo>
                <a:cubicBezTo>
                  <a:pt x="29" y="71"/>
                  <a:pt x="29" y="71"/>
                  <a:pt x="29" y="71"/>
                </a:cubicBezTo>
                <a:cubicBezTo>
                  <a:pt x="28" y="72"/>
                  <a:pt x="28" y="72"/>
                  <a:pt x="28" y="72"/>
                </a:cubicBezTo>
                <a:cubicBezTo>
                  <a:pt x="27" y="73"/>
                  <a:pt x="27" y="73"/>
                  <a:pt x="27" y="73"/>
                </a:cubicBezTo>
                <a:cubicBezTo>
                  <a:pt x="24" y="74"/>
                  <a:pt x="24" y="74"/>
                  <a:pt x="24" y="74"/>
                </a:cubicBezTo>
                <a:cubicBezTo>
                  <a:pt x="24" y="74"/>
                  <a:pt x="24" y="74"/>
                  <a:pt x="24" y="74"/>
                </a:cubicBezTo>
                <a:cubicBezTo>
                  <a:pt x="23" y="74"/>
                  <a:pt x="23" y="74"/>
                  <a:pt x="23" y="74"/>
                </a:cubicBezTo>
                <a:cubicBezTo>
                  <a:pt x="21" y="76"/>
                  <a:pt x="21" y="76"/>
                  <a:pt x="21" y="76"/>
                </a:cubicBezTo>
                <a:cubicBezTo>
                  <a:pt x="18" y="78"/>
                  <a:pt x="18" y="78"/>
                  <a:pt x="18" y="78"/>
                </a:cubicBezTo>
                <a:cubicBezTo>
                  <a:pt x="15" y="79"/>
                  <a:pt x="15" y="79"/>
                  <a:pt x="15" y="79"/>
                </a:cubicBezTo>
                <a:cubicBezTo>
                  <a:pt x="13" y="81"/>
                  <a:pt x="13" y="81"/>
                  <a:pt x="13" y="81"/>
                </a:cubicBezTo>
                <a:cubicBezTo>
                  <a:pt x="13" y="83"/>
                  <a:pt x="13" y="83"/>
                  <a:pt x="13" y="83"/>
                </a:cubicBezTo>
                <a:cubicBezTo>
                  <a:pt x="12" y="84"/>
                  <a:pt x="12" y="84"/>
                  <a:pt x="12" y="84"/>
                </a:cubicBezTo>
                <a:cubicBezTo>
                  <a:pt x="11" y="83"/>
                  <a:pt x="11" y="83"/>
                  <a:pt x="11" y="83"/>
                </a:cubicBezTo>
                <a:cubicBezTo>
                  <a:pt x="11" y="83"/>
                  <a:pt x="11" y="83"/>
                  <a:pt x="11" y="83"/>
                </a:cubicBezTo>
                <a:cubicBezTo>
                  <a:pt x="11" y="82"/>
                  <a:pt x="11" y="82"/>
                  <a:pt x="11" y="82"/>
                </a:cubicBezTo>
                <a:cubicBezTo>
                  <a:pt x="12" y="80"/>
                  <a:pt x="12" y="80"/>
                  <a:pt x="12" y="80"/>
                </a:cubicBezTo>
                <a:cubicBezTo>
                  <a:pt x="12" y="79"/>
                  <a:pt x="12" y="79"/>
                  <a:pt x="12" y="79"/>
                </a:cubicBezTo>
                <a:cubicBezTo>
                  <a:pt x="10" y="81"/>
                  <a:pt x="10" y="81"/>
                  <a:pt x="10" y="81"/>
                </a:cubicBezTo>
                <a:cubicBezTo>
                  <a:pt x="9" y="82"/>
                  <a:pt x="9" y="82"/>
                  <a:pt x="9" y="82"/>
                </a:cubicBezTo>
                <a:cubicBezTo>
                  <a:pt x="8" y="85"/>
                  <a:pt x="8" y="85"/>
                  <a:pt x="8" y="85"/>
                </a:cubicBezTo>
                <a:cubicBezTo>
                  <a:pt x="9" y="87"/>
                  <a:pt x="9" y="87"/>
                  <a:pt x="9" y="87"/>
                </a:cubicBezTo>
                <a:cubicBezTo>
                  <a:pt x="8" y="89"/>
                  <a:pt x="8" y="89"/>
                  <a:pt x="8" y="89"/>
                </a:cubicBezTo>
                <a:cubicBezTo>
                  <a:pt x="8" y="91"/>
                  <a:pt x="8" y="91"/>
                  <a:pt x="8" y="91"/>
                </a:cubicBezTo>
                <a:cubicBezTo>
                  <a:pt x="6" y="94"/>
                  <a:pt x="6" y="94"/>
                  <a:pt x="6" y="94"/>
                </a:cubicBezTo>
                <a:cubicBezTo>
                  <a:pt x="5" y="99"/>
                  <a:pt x="5" y="99"/>
                  <a:pt x="5" y="99"/>
                </a:cubicBezTo>
                <a:cubicBezTo>
                  <a:pt x="5" y="101"/>
                  <a:pt x="5" y="101"/>
                  <a:pt x="5" y="101"/>
                </a:cubicBezTo>
                <a:cubicBezTo>
                  <a:pt x="5" y="104"/>
                  <a:pt x="5" y="104"/>
                  <a:pt x="5" y="104"/>
                </a:cubicBezTo>
                <a:cubicBezTo>
                  <a:pt x="7" y="107"/>
                  <a:pt x="7" y="107"/>
                  <a:pt x="7" y="107"/>
                </a:cubicBezTo>
                <a:cubicBezTo>
                  <a:pt x="7" y="109"/>
                  <a:pt x="7" y="109"/>
                  <a:pt x="7" y="109"/>
                </a:cubicBezTo>
                <a:cubicBezTo>
                  <a:pt x="8" y="110"/>
                  <a:pt x="8" y="110"/>
                  <a:pt x="8" y="110"/>
                </a:cubicBezTo>
                <a:cubicBezTo>
                  <a:pt x="7" y="112"/>
                  <a:pt x="7" y="112"/>
                  <a:pt x="7" y="112"/>
                </a:cubicBezTo>
                <a:cubicBezTo>
                  <a:pt x="8" y="113"/>
                  <a:pt x="8" y="113"/>
                  <a:pt x="8" y="113"/>
                </a:cubicBezTo>
                <a:cubicBezTo>
                  <a:pt x="6" y="114"/>
                  <a:pt x="6" y="114"/>
                  <a:pt x="6" y="114"/>
                </a:cubicBezTo>
                <a:cubicBezTo>
                  <a:pt x="6" y="113"/>
                  <a:pt x="6" y="113"/>
                  <a:pt x="6" y="113"/>
                </a:cubicBezTo>
                <a:cubicBezTo>
                  <a:pt x="6" y="111"/>
                  <a:pt x="6" y="111"/>
                  <a:pt x="6" y="111"/>
                </a:cubicBezTo>
                <a:cubicBezTo>
                  <a:pt x="5" y="112"/>
                  <a:pt x="5" y="112"/>
                  <a:pt x="5" y="112"/>
                </a:cubicBezTo>
                <a:cubicBezTo>
                  <a:pt x="5" y="112"/>
                  <a:pt x="5" y="112"/>
                  <a:pt x="5" y="112"/>
                </a:cubicBezTo>
                <a:cubicBezTo>
                  <a:pt x="5" y="110"/>
                  <a:pt x="5" y="110"/>
                  <a:pt x="5" y="110"/>
                </a:cubicBezTo>
                <a:cubicBezTo>
                  <a:pt x="3" y="107"/>
                  <a:pt x="3" y="107"/>
                  <a:pt x="3" y="107"/>
                </a:cubicBezTo>
                <a:cubicBezTo>
                  <a:pt x="3" y="108"/>
                  <a:pt x="3" y="108"/>
                  <a:pt x="3" y="108"/>
                </a:cubicBezTo>
                <a:cubicBezTo>
                  <a:pt x="3" y="111"/>
                  <a:pt x="3" y="111"/>
                  <a:pt x="3" y="111"/>
                </a:cubicBezTo>
                <a:cubicBezTo>
                  <a:pt x="5" y="113"/>
                  <a:pt x="5" y="113"/>
                  <a:pt x="5" y="113"/>
                </a:cubicBezTo>
                <a:cubicBezTo>
                  <a:pt x="6" y="115"/>
                  <a:pt x="6" y="115"/>
                  <a:pt x="6" y="115"/>
                </a:cubicBezTo>
                <a:cubicBezTo>
                  <a:pt x="4" y="115"/>
                  <a:pt x="4" y="115"/>
                  <a:pt x="4" y="115"/>
                </a:cubicBezTo>
                <a:cubicBezTo>
                  <a:pt x="3" y="113"/>
                  <a:pt x="3" y="113"/>
                  <a:pt x="3" y="113"/>
                </a:cubicBezTo>
                <a:cubicBezTo>
                  <a:pt x="2" y="111"/>
                  <a:pt x="2" y="111"/>
                  <a:pt x="2" y="111"/>
                </a:cubicBezTo>
                <a:cubicBezTo>
                  <a:pt x="2" y="112"/>
                  <a:pt x="2" y="112"/>
                  <a:pt x="2" y="112"/>
                </a:cubicBezTo>
                <a:cubicBezTo>
                  <a:pt x="1" y="112"/>
                  <a:pt x="1" y="112"/>
                  <a:pt x="1" y="112"/>
                </a:cubicBezTo>
                <a:cubicBezTo>
                  <a:pt x="2" y="115"/>
                  <a:pt x="2" y="115"/>
                  <a:pt x="2" y="115"/>
                </a:cubicBezTo>
                <a:cubicBezTo>
                  <a:pt x="4" y="117"/>
                  <a:pt x="4" y="117"/>
                  <a:pt x="4" y="117"/>
                </a:cubicBezTo>
                <a:cubicBezTo>
                  <a:pt x="6" y="121"/>
                  <a:pt x="6" y="121"/>
                  <a:pt x="6" y="121"/>
                </a:cubicBezTo>
                <a:cubicBezTo>
                  <a:pt x="5" y="127"/>
                  <a:pt x="5" y="127"/>
                  <a:pt x="5" y="127"/>
                </a:cubicBezTo>
                <a:cubicBezTo>
                  <a:pt x="6" y="128"/>
                  <a:pt x="6" y="128"/>
                  <a:pt x="6" y="128"/>
                </a:cubicBezTo>
                <a:cubicBezTo>
                  <a:pt x="7" y="132"/>
                  <a:pt x="7" y="132"/>
                  <a:pt x="7" y="132"/>
                </a:cubicBezTo>
                <a:cubicBezTo>
                  <a:pt x="9" y="137"/>
                  <a:pt x="9" y="137"/>
                  <a:pt x="9" y="137"/>
                </a:cubicBezTo>
                <a:cubicBezTo>
                  <a:pt x="8" y="138"/>
                  <a:pt x="8" y="138"/>
                  <a:pt x="8" y="138"/>
                </a:cubicBezTo>
                <a:cubicBezTo>
                  <a:pt x="8" y="145"/>
                  <a:pt x="8" y="145"/>
                  <a:pt x="8" y="145"/>
                </a:cubicBezTo>
                <a:cubicBezTo>
                  <a:pt x="8" y="146"/>
                  <a:pt x="8" y="146"/>
                  <a:pt x="8" y="146"/>
                </a:cubicBezTo>
                <a:cubicBezTo>
                  <a:pt x="9" y="148"/>
                  <a:pt x="9" y="148"/>
                  <a:pt x="9" y="148"/>
                </a:cubicBezTo>
                <a:cubicBezTo>
                  <a:pt x="9" y="150"/>
                  <a:pt x="9" y="150"/>
                  <a:pt x="9" y="150"/>
                </a:cubicBezTo>
                <a:cubicBezTo>
                  <a:pt x="10" y="153"/>
                  <a:pt x="10" y="153"/>
                  <a:pt x="10" y="153"/>
                </a:cubicBezTo>
                <a:cubicBezTo>
                  <a:pt x="10" y="155"/>
                  <a:pt x="10" y="155"/>
                  <a:pt x="10" y="155"/>
                </a:cubicBezTo>
                <a:cubicBezTo>
                  <a:pt x="9" y="156"/>
                  <a:pt x="9" y="156"/>
                  <a:pt x="9" y="156"/>
                </a:cubicBezTo>
                <a:cubicBezTo>
                  <a:pt x="9" y="157"/>
                  <a:pt x="9" y="157"/>
                  <a:pt x="9" y="157"/>
                </a:cubicBezTo>
                <a:cubicBezTo>
                  <a:pt x="9" y="158"/>
                  <a:pt x="9" y="158"/>
                  <a:pt x="9" y="158"/>
                </a:cubicBezTo>
                <a:cubicBezTo>
                  <a:pt x="9" y="161"/>
                  <a:pt x="9" y="161"/>
                  <a:pt x="9" y="161"/>
                </a:cubicBezTo>
                <a:cubicBezTo>
                  <a:pt x="8" y="162"/>
                  <a:pt x="8" y="162"/>
                  <a:pt x="8" y="162"/>
                </a:cubicBezTo>
                <a:cubicBezTo>
                  <a:pt x="8" y="163"/>
                  <a:pt x="8" y="163"/>
                  <a:pt x="8" y="163"/>
                </a:cubicBezTo>
                <a:cubicBezTo>
                  <a:pt x="8" y="164"/>
                  <a:pt x="8" y="164"/>
                  <a:pt x="8" y="164"/>
                </a:cubicBezTo>
                <a:cubicBezTo>
                  <a:pt x="7" y="165"/>
                  <a:pt x="7" y="165"/>
                  <a:pt x="7" y="165"/>
                </a:cubicBezTo>
                <a:cubicBezTo>
                  <a:pt x="7" y="167"/>
                  <a:pt x="7" y="167"/>
                  <a:pt x="7" y="167"/>
                </a:cubicBezTo>
                <a:cubicBezTo>
                  <a:pt x="5" y="168"/>
                  <a:pt x="5" y="168"/>
                  <a:pt x="5" y="168"/>
                </a:cubicBezTo>
                <a:cubicBezTo>
                  <a:pt x="4" y="168"/>
                  <a:pt x="4" y="168"/>
                  <a:pt x="4" y="168"/>
                </a:cubicBezTo>
                <a:cubicBezTo>
                  <a:pt x="2" y="170"/>
                  <a:pt x="2" y="170"/>
                  <a:pt x="2" y="170"/>
                </a:cubicBezTo>
                <a:lnTo>
                  <a:pt x="2" y="17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3" name="Freeform 161">
            <a:extLst>
              <a:ext uri="{FF2B5EF4-FFF2-40B4-BE49-F238E27FC236}">
                <a16:creationId xmlns:a16="http://schemas.microsoft.com/office/drawing/2014/main" id="{589DC4A2-1BA4-8C73-EA8A-A92DAAC93AFA}"/>
              </a:ext>
            </a:extLst>
          </p:cNvPr>
          <p:cNvSpPr>
            <a:spLocks noEditPoints="1"/>
          </p:cNvSpPr>
          <p:nvPr userDrawn="1"/>
        </p:nvSpPr>
        <p:spPr bwMode="auto">
          <a:xfrm>
            <a:off x="22696594" y="12007131"/>
            <a:ext cx="1260396" cy="1927226"/>
          </a:xfrm>
          <a:custGeom>
            <a:avLst/>
            <a:gdLst>
              <a:gd name="T0" fmla="*/ 25 w 397"/>
              <a:gd name="T1" fmla="*/ 604 h 607"/>
              <a:gd name="T2" fmla="*/ 0 w 397"/>
              <a:gd name="T3" fmla="*/ 529 h 607"/>
              <a:gd name="T4" fmla="*/ 0 w 397"/>
              <a:gd name="T5" fmla="*/ 529 h 607"/>
              <a:gd name="T6" fmla="*/ 340 w 397"/>
              <a:gd name="T7" fmla="*/ 69 h 607"/>
              <a:gd name="T8" fmla="*/ 347 w 397"/>
              <a:gd name="T9" fmla="*/ 69 h 607"/>
              <a:gd name="T10" fmla="*/ 290 w 397"/>
              <a:gd name="T11" fmla="*/ 229 h 607"/>
              <a:gd name="T12" fmla="*/ 315 w 397"/>
              <a:gd name="T13" fmla="*/ 216 h 607"/>
              <a:gd name="T14" fmla="*/ 343 w 397"/>
              <a:gd name="T15" fmla="*/ 185 h 607"/>
              <a:gd name="T16" fmla="*/ 356 w 397"/>
              <a:gd name="T17" fmla="*/ 160 h 607"/>
              <a:gd name="T18" fmla="*/ 368 w 397"/>
              <a:gd name="T19" fmla="*/ 154 h 607"/>
              <a:gd name="T20" fmla="*/ 387 w 397"/>
              <a:gd name="T21" fmla="*/ 129 h 607"/>
              <a:gd name="T22" fmla="*/ 387 w 397"/>
              <a:gd name="T23" fmla="*/ 110 h 607"/>
              <a:gd name="T24" fmla="*/ 350 w 397"/>
              <a:gd name="T25" fmla="*/ 107 h 607"/>
              <a:gd name="T26" fmla="*/ 347 w 397"/>
              <a:gd name="T27" fmla="*/ 79 h 607"/>
              <a:gd name="T28" fmla="*/ 340 w 397"/>
              <a:gd name="T29" fmla="*/ 88 h 607"/>
              <a:gd name="T30" fmla="*/ 328 w 397"/>
              <a:gd name="T31" fmla="*/ 88 h 607"/>
              <a:gd name="T32" fmla="*/ 334 w 397"/>
              <a:gd name="T33" fmla="*/ 63 h 607"/>
              <a:gd name="T34" fmla="*/ 337 w 397"/>
              <a:gd name="T35" fmla="*/ 41 h 607"/>
              <a:gd name="T36" fmla="*/ 328 w 397"/>
              <a:gd name="T37" fmla="*/ 25 h 607"/>
              <a:gd name="T38" fmla="*/ 322 w 397"/>
              <a:gd name="T39" fmla="*/ 13 h 607"/>
              <a:gd name="T40" fmla="*/ 312 w 397"/>
              <a:gd name="T41" fmla="*/ 4 h 607"/>
              <a:gd name="T42" fmla="*/ 312 w 397"/>
              <a:gd name="T43" fmla="*/ 25 h 607"/>
              <a:gd name="T44" fmla="*/ 312 w 397"/>
              <a:gd name="T45" fmla="*/ 41 h 607"/>
              <a:gd name="T46" fmla="*/ 322 w 397"/>
              <a:gd name="T47" fmla="*/ 63 h 607"/>
              <a:gd name="T48" fmla="*/ 322 w 397"/>
              <a:gd name="T49" fmla="*/ 76 h 607"/>
              <a:gd name="T50" fmla="*/ 325 w 397"/>
              <a:gd name="T51" fmla="*/ 91 h 607"/>
              <a:gd name="T52" fmla="*/ 322 w 397"/>
              <a:gd name="T53" fmla="*/ 113 h 607"/>
              <a:gd name="T54" fmla="*/ 312 w 397"/>
              <a:gd name="T55" fmla="*/ 129 h 607"/>
              <a:gd name="T56" fmla="*/ 284 w 397"/>
              <a:gd name="T57" fmla="*/ 160 h 607"/>
              <a:gd name="T58" fmla="*/ 306 w 397"/>
              <a:gd name="T59" fmla="*/ 191 h 607"/>
              <a:gd name="T60" fmla="*/ 272 w 397"/>
              <a:gd name="T61" fmla="*/ 210 h 607"/>
              <a:gd name="T62" fmla="*/ 272 w 397"/>
              <a:gd name="T63" fmla="*/ 210 h 607"/>
              <a:gd name="T64" fmla="*/ 272 w 397"/>
              <a:gd name="T65" fmla="*/ 213 h 607"/>
              <a:gd name="T66" fmla="*/ 87 w 397"/>
              <a:gd name="T67" fmla="*/ 404 h 607"/>
              <a:gd name="T68" fmla="*/ 90 w 397"/>
              <a:gd name="T69" fmla="*/ 391 h 607"/>
              <a:gd name="T70" fmla="*/ 96 w 397"/>
              <a:gd name="T71" fmla="*/ 398 h 607"/>
              <a:gd name="T72" fmla="*/ 90 w 397"/>
              <a:gd name="T73" fmla="*/ 404 h 607"/>
              <a:gd name="T74" fmla="*/ 81 w 397"/>
              <a:gd name="T75" fmla="*/ 363 h 607"/>
              <a:gd name="T76" fmla="*/ 93 w 397"/>
              <a:gd name="T77" fmla="*/ 341 h 607"/>
              <a:gd name="T78" fmla="*/ 109 w 397"/>
              <a:gd name="T79" fmla="*/ 329 h 607"/>
              <a:gd name="T80" fmla="*/ 125 w 397"/>
              <a:gd name="T81" fmla="*/ 310 h 607"/>
              <a:gd name="T82" fmla="*/ 156 w 397"/>
              <a:gd name="T83" fmla="*/ 301 h 607"/>
              <a:gd name="T84" fmla="*/ 181 w 397"/>
              <a:gd name="T85" fmla="*/ 276 h 607"/>
              <a:gd name="T86" fmla="*/ 215 w 397"/>
              <a:gd name="T87" fmla="*/ 244 h 607"/>
              <a:gd name="T88" fmla="*/ 237 w 397"/>
              <a:gd name="T89" fmla="*/ 219 h 607"/>
              <a:gd name="T90" fmla="*/ 256 w 397"/>
              <a:gd name="T91" fmla="*/ 207 h 607"/>
              <a:gd name="T92" fmla="*/ 259 w 397"/>
              <a:gd name="T93" fmla="*/ 219 h 607"/>
              <a:gd name="T94" fmla="*/ 272 w 397"/>
              <a:gd name="T95" fmla="*/ 216 h 607"/>
              <a:gd name="T96" fmla="*/ 278 w 397"/>
              <a:gd name="T97" fmla="*/ 219 h 607"/>
              <a:gd name="T98" fmla="*/ 262 w 397"/>
              <a:gd name="T99" fmla="*/ 251 h 607"/>
              <a:gd name="T100" fmla="*/ 237 w 397"/>
              <a:gd name="T101" fmla="*/ 282 h 607"/>
              <a:gd name="T102" fmla="*/ 228 w 397"/>
              <a:gd name="T103" fmla="*/ 307 h 607"/>
              <a:gd name="T104" fmla="*/ 222 w 397"/>
              <a:gd name="T105" fmla="*/ 304 h 607"/>
              <a:gd name="T106" fmla="*/ 209 w 397"/>
              <a:gd name="T107" fmla="*/ 301 h 607"/>
              <a:gd name="T108" fmla="*/ 190 w 397"/>
              <a:gd name="T109" fmla="*/ 313 h 607"/>
              <a:gd name="T110" fmla="*/ 165 w 397"/>
              <a:gd name="T111" fmla="*/ 354 h 607"/>
              <a:gd name="T112" fmla="*/ 153 w 397"/>
              <a:gd name="T113" fmla="*/ 370 h 607"/>
              <a:gd name="T114" fmla="*/ 134 w 397"/>
              <a:gd name="T115" fmla="*/ 385 h 607"/>
              <a:gd name="T116" fmla="*/ 109 w 397"/>
              <a:gd name="T117" fmla="*/ 388 h 607"/>
              <a:gd name="T118" fmla="*/ 93 w 397"/>
              <a:gd name="T119" fmla="*/ 373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7" h="607">
                <a:moveTo>
                  <a:pt x="81" y="354"/>
                </a:moveTo>
                <a:lnTo>
                  <a:pt x="84" y="354"/>
                </a:lnTo>
                <a:lnTo>
                  <a:pt x="87" y="354"/>
                </a:lnTo>
                <a:lnTo>
                  <a:pt x="87" y="351"/>
                </a:lnTo>
                <a:lnTo>
                  <a:pt x="84" y="351"/>
                </a:lnTo>
                <a:lnTo>
                  <a:pt x="81" y="351"/>
                </a:lnTo>
                <a:lnTo>
                  <a:pt x="81" y="354"/>
                </a:lnTo>
                <a:lnTo>
                  <a:pt x="81" y="354"/>
                </a:lnTo>
                <a:close/>
                <a:moveTo>
                  <a:pt x="25" y="604"/>
                </a:moveTo>
                <a:lnTo>
                  <a:pt x="28" y="607"/>
                </a:lnTo>
                <a:lnTo>
                  <a:pt x="31" y="607"/>
                </a:lnTo>
                <a:lnTo>
                  <a:pt x="34" y="601"/>
                </a:lnTo>
                <a:lnTo>
                  <a:pt x="34" y="598"/>
                </a:lnTo>
                <a:lnTo>
                  <a:pt x="31" y="604"/>
                </a:lnTo>
                <a:lnTo>
                  <a:pt x="28" y="604"/>
                </a:lnTo>
                <a:lnTo>
                  <a:pt x="25" y="604"/>
                </a:lnTo>
                <a:lnTo>
                  <a:pt x="25" y="604"/>
                </a:lnTo>
                <a:close/>
                <a:moveTo>
                  <a:pt x="0" y="529"/>
                </a:moveTo>
                <a:lnTo>
                  <a:pt x="9" y="520"/>
                </a:lnTo>
                <a:lnTo>
                  <a:pt x="9" y="520"/>
                </a:lnTo>
                <a:lnTo>
                  <a:pt x="9" y="523"/>
                </a:lnTo>
                <a:lnTo>
                  <a:pt x="6" y="526"/>
                </a:lnTo>
                <a:lnTo>
                  <a:pt x="9" y="529"/>
                </a:lnTo>
                <a:lnTo>
                  <a:pt x="9" y="532"/>
                </a:lnTo>
                <a:lnTo>
                  <a:pt x="3" y="529"/>
                </a:lnTo>
                <a:lnTo>
                  <a:pt x="0" y="532"/>
                </a:lnTo>
                <a:lnTo>
                  <a:pt x="0" y="529"/>
                </a:lnTo>
                <a:lnTo>
                  <a:pt x="0" y="529"/>
                </a:lnTo>
                <a:close/>
                <a:moveTo>
                  <a:pt x="334" y="85"/>
                </a:moveTo>
                <a:lnTo>
                  <a:pt x="337" y="85"/>
                </a:lnTo>
                <a:lnTo>
                  <a:pt x="337" y="88"/>
                </a:lnTo>
                <a:lnTo>
                  <a:pt x="337" y="88"/>
                </a:lnTo>
                <a:lnTo>
                  <a:pt x="334" y="85"/>
                </a:lnTo>
                <a:lnTo>
                  <a:pt x="334" y="85"/>
                </a:lnTo>
                <a:close/>
                <a:moveTo>
                  <a:pt x="340" y="69"/>
                </a:moveTo>
                <a:lnTo>
                  <a:pt x="340" y="69"/>
                </a:lnTo>
                <a:lnTo>
                  <a:pt x="340" y="69"/>
                </a:lnTo>
                <a:lnTo>
                  <a:pt x="340" y="69"/>
                </a:lnTo>
                <a:lnTo>
                  <a:pt x="340" y="69"/>
                </a:lnTo>
                <a:close/>
                <a:moveTo>
                  <a:pt x="347" y="72"/>
                </a:moveTo>
                <a:lnTo>
                  <a:pt x="343" y="69"/>
                </a:lnTo>
                <a:lnTo>
                  <a:pt x="347" y="63"/>
                </a:lnTo>
                <a:lnTo>
                  <a:pt x="347" y="66"/>
                </a:lnTo>
                <a:lnTo>
                  <a:pt x="350" y="69"/>
                </a:lnTo>
                <a:lnTo>
                  <a:pt x="347" y="69"/>
                </a:lnTo>
                <a:lnTo>
                  <a:pt x="347" y="69"/>
                </a:lnTo>
                <a:lnTo>
                  <a:pt x="347" y="72"/>
                </a:lnTo>
                <a:lnTo>
                  <a:pt x="347" y="72"/>
                </a:lnTo>
                <a:close/>
                <a:moveTo>
                  <a:pt x="284" y="226"/>
                </a:moveTo>
                <a:lnTo>
                  <a:pt x="287" y="226"/>
                </a:lnTo>
                <a:lnTo>
                  <a:pt x="287" y="223"/>
                </a:lnTo>
                <a:lnTo>
                  <a:pt x="290" y="223"/>
                </a:lnTo>
                <a:lnTo>
                  <a:pt x="290" y="226"/>
                </a:lnTo>
                <a:lnTo>
                  <a:pt x="290" y="229"/>
                </a:lnTo>
                <a:lnTo>
                  <a:pt x="290" y="229"/>
                </a:lnTo>
                <a:lnTo>
                  <a:pt x="293" y="229"/>
                </a:lnTo>
                <a:lnTo>
                  <a:pt x="293" y="229"/>
                </a:lnTo>
                <a:lnTo>
                  <a:pt x="293" y="232"/>
                </a:lnTo>
                <a:lnTo>
                  <a:pt x="293" y="235"/>
                </a:lnTo>
                <a:lnTo>
                  <a:pt x="297" y="235"/>
                </a:lnTo>
                <a:lnTo>
                  <a:pt x="303" y="229"/>
                </a:lnTo>
                <a:lnTo>
                  <a:pt x="309" y="223"/>
                </a:lnTo>
                <a:lnTo>
                  <a:pt x="315" y="216"/>
                </a:lnTo>
                <a:lnTo>
                  <a:pt x="322" y="210"/>
                </a:lnTo>
                <a:lnTo>
                  <a:pt x="328" y="204"/>
                </a:lnTo>
                <a:lnTo>
                  <a:pt x="331" y="201"/>
                </a:lnTo>
                <a:lnTo>
                  <a:pt x="334" y="201"/>
                </a:lnTo>
                <a:lnTo>
                  <a:pt x="337" y="198"/>
                </a:lnTo>
                <a:lnTo>
                  <a:pt x="337" y="194"/>
                </a:lnTo>
                <a:lnTo>
                  <a:pt x="337" y="194"/>
                </a:lnTo>
                <a:lnTo>
                  <a:pt x="340" y="191"/>
                </a:lnTo>
                <a:lnTo>
                  <a:pt x="343" y="185"/>
                </a:lnTo>
                <a:lnTo>
                  <a:pt x="350" y="179"/>
                </a:lnTo>
                <a:lnTo>
                  <a:pt x="350" y="176"/>
                </a:lnTo>
                <a:lnTo>
                  <a:pt x="350" y="176"/>
                </a:lnTo>
                <a:lnTo>
                  <a:pt x="347" y="172"/>
                </a:lnTo>
                <a:lnTo>
                  <a:pt x="343" y="172"/>
                </a:lnTo>
                <a:lnTo>
                  <a:pt x="340" y="172"/>
                </a:lnTo>
                <a:lnTo>
                  <a:pt x="343" y="169"/>
                </a:lnTo>
                <a:lnTo>
                  <a:pt x="347" y="169"/>
                </a:lnTo>
                <a:lnTo>
                  <a:pt x="356" y="160"/>
                </a:lnTo>
                <a:lnTo>
                  <a:pt x="359" y="157"/>
                </a:lnTo>
                <a:lnTo>
                  <a:pt x="365" y="160"/>
                </a:lnTo>
                <a:lnTo>
                  <a:pt x="368" y="160"/>
                </a:lnTo>
                <a:lnTo>
                  <a:pt x="368" y="163"/>
                </a:lnTo>
                <a:lnTo>
                  <a:pt x="368" y="163"/>
                </a:lnTo>
                <a:lnTo>
                  <a:pt x="372" y="160"/>
                </a:lnTo>
                <a:lnTo>
                  <a:pt x="375" y="160"/>
                </a:lnTo>
                <a:lnTo>
                  <a:pt x="368" y="157"/>
                </a:lnTo>
                <a:lnTo>
                  <a:pt x="368" y="154"/>
                </a:lnTo>
                <a:lnTo>
                  <a:pt x="372" y="147"/>
                </a:lnTo>
                <a:lnTo>
                  <a:pt x="375" y="144"/>
                </a:lnTo>
                <a:lnTo>
                  <a:pt x="378" y="144"/>
                </a:lnTo>
                <a:lnTo>
                  <a:pt x="378" y="147"/>
                </a:lnTo>
                <a:lnTo>
                  <a:pt x="381" y="144"/>
                </a:lnTo>
                <a:lnTo>
                  <a:pt x="384" y="141"/>
                </a:lnTo>
                <a:lnTo>
                  <a:pt x="387" y="135"/>
                </a:lnTo>
                <a:lnTo>
                  <a:pt x="387" y="132"/>
                </a:lnTo>
                <a:lnTo>
                  <a:pt x="387" y="129"/>
                </a:lnTo>
                <a:lnTo>
                  <a:pt x="390" y="126"/>
                </a:lnTo>
                <a:lnTo>
                  <a:pt x="393" y="119"/>
                </a:lnTo>
                <a:lnTo>
                  <a:pt x="397" y="119"/>
                </a:lnTo>
                <a:lnTo>
                  <a:pt x="393" y="116"/>
                </a:lnTo>
                <a:lnTo>
                  <a:pt x="390" y="116"/>
                </a:lnTo>
                <a:lnTo>
                  <a:pt x="387" y="113"/>
                </a:lnTo>
                <a:lnTo>
                  <a:pt x="390" y="113"/>
                </a:lnTo>
                <a:lnTo>
                  <a:pt x="390" y="113"/>
                </a:lnTo>
                <a:lnTo>
                  <a:pt x="387" y="110"/>
                </a:lnTo>
                <a:lnTo>
                  <a:pt x="381" y="113"/>
                </a:lnTo>
                <a:lnTo>
                  <a:pt x="375" y="122"/>
                </a:lnTo>
                <a:lnTo>
                  <a:pt x="368" y="122"/>
                </a:lnTo>
                <a:lnTo>
                  <a:pt x="368" y="122"/>
                </a:lnTo>
                <a:lnTo>
                  <a:pt x="362" y="122"/>
                </a:lnTo>
                <a:lnTo>
                  <a:pt x="356" y="113"/>
                </a:lnTo>
                <a:lnTo>
                  <a:pt x="353" y="113"/>
                </a:lnTo>
                <a:lnTo>
                  <a:pt x="350" y="110"/>
                </a:lnTo>
                <a:lnTo>
                  <a:pt x="350" y="107"/>
                </a:lnTo>
                <a:lnTo>
                  <a:pt x="353" y="104"/>
                </a:lnTo>
                <a:lnTo>
                  <a:pt x="353" y="101"/>
                </a:lnTo>
                <a:lnTo>
                  <a:pt x="350" y="94"/>
                </a:lnTo>
                <a:lnTo>
                  <a:pt x="350" y="91"/>
                </a:lnTo>
                <a:lnTo>
                  <a:pt x="347" y="88"/>
                </a:lnTo>
                <a:lnTo>
                  <a:pt x="350" y="85"/>
                </a:lnTo>
                <a:lnTo>
                  <a:pt x="350" y="82"/>
                </a:lnTo>
                <a:lnTo>
                  <a:pt x="347" y="82"/>
                </a:lnTo>
                <a:lnTo>
                  <a:pt x="347" y="79"/>
                </a:lnTo>
                <a:lnTo>
                  <a:pt x="347" y="76"/>
                </a:lnTo>
                <a:lnTo>
                  <a:pt x="343" y="76"/>
                </a:lnTo>
                <a:lnTo>
                  <a:pt x="340" y="76"/>
                </a:lnTo>
                <a:lnTo>
                  <a:pt x="340" y="76"/>
                </a:lnTo>
                <a:lnTo>
                  <a:pt x="343" y="79"/>
                </a:lnTo>
                <a:lnTo>
                  <a:pt x="343" y="82"/>
                </a:lnTo>
                <a:lnTo>
                  <a:pt x="343" y="85"/>
                </a:lnTo>
                <a:lnTo>
                  <a:pt x="340" y="88"/>
                </a:lnTo>
                <a:lnTo>
                  <a:pt x="340" y="88"/>
                </a:lnTo>
                <a:lnTo>
                  <a:pt x="343" y="94"/>
                </a:lnTo>
                <a:lnTo>
                  <a:pt x="343" y="94"/>
                </a:lnTo>
                <a:lnTo>
                  <a:pt x="340" y="97"/>
                </a:lnTo>
                <a:lnTo>
                  <a:pt x="337" y="94"/>
                </a:lnTo>
                <a:lnTo>
                  <a:pt x="337" y="91"/>
                </a:lnTo>
                <a:lnTo>
                  <a:pt x="334" y="91"/>
                </a:lnTo>
                <a:lnTo>
                  <a:pt x="334" y="88"/>
                </a:lnTo>
                <a:lnTo>
                  <a:pt x="331" y="85"/>
                </a:lnTo>
                <a:lnTo>
                  <a:pt x="328" y="88"/>
                </a:lnTo>
                <a:lnTo>
                  <a:pt x="328" y="85"/>
                </a:lnTo>
                <a:lnTo>
                  <a:pt x="331" y="82"/>
                </a:lnTo>
                <a:lnTo>
                  <a:pt x="331" y="82"/>
                </a:lnTo>
                <a:lnTo>
                  <a:pt x="328" y="79"/>
                </a:lnTo>
                <a:lnTo>
                  <a:pt x="331" y="72"/>
                </a:lnTo>
                <a:lnTo>
                  <a:pt x="334" y="72"/>
                </a:lnTo>
                <a:lnTo>
                  <a:pt x="334" y="69"/>
                </a:lnTo>
                <a:lnTo>
                  <a:pt x="334" y="66"/>
                </a:lnTo>
                <a:lnTo>
                  <a:pt x="334" y="63"/>
                </a:lnTo>
                <a:lnTo>
                  <a:pt x="334" y="60"/>
                </a:lnTo>
                <a:lnTo>
                  <a:pt x="334" y="57"/>
                </a:lnTo>
                <a:lnTo>
                  <a:pt x="328" y="54"/>
                </a:lnTo>
                <a:lnTo>
                  <a:pt x="331" y="50"/>
                </a:lnTo>
                <a:lnTo>
                  <a:pt x="331" y="54"/>
                </a:lnTo>
                <a:lnTo>
                  <a:pt x="334" y="50"/>
                </a:lnTo>
                <a:lnTo>
                  <a:pt x="337" y="47"/>
                </a:lnTo>
                <a:lnTo>
                  <a:pt x="337" y="47"/>
                </a:lnTo>
                <a:lnTo>
                  <a:pt x="337" y="41"/>
                </a:lnTo>
                <a:lnTo>
                  <a:pt x="337" y="35"/>
                </a:lnTo>
                <a:lnTo>
                  <a:pt x="337" y="32"/>
                </a:lnTo>
                <a:lnTo>
                  <a:pt x="334" y="32"/>
                </a:lnTo>
                <a:lnTo>
                  <a:pt x="331" y="35"/>
                </a:lnTo>
                <a:lnTo>
                  <a:pt x="328" y="32"/>
                </a:lnTo>
                <a:lnTo>
                  <a:pt x="328" y="29"/>
                </a:lnTo>
                <a:lnTo>
                  <a:pt x="328" y="29"/>
                </a:lnTo>
                <a:lnTo>
                  <a:pt x="325" y="29"/>
                </a:lnTo>
                <a:lnTo>
                  <a:pt x="328" y="25"/>
                </a:lnTo>
                <a:lnTo>
                  <a:pt x="331" y="22"/>
                </a:lnTo>
                <a:lnTo>
                  <a:pt x="328" y="22"/>
                </a:lnTo>
                <a:lnTo>
                  <a:pt x="325" y="22"/>
                </a:lnTo>
                <a:lnTo>
                  <a:pt x="322" y="19"/>
                </a:lnTo>
                <a:lnTo>
                  <a:pt x="322" y="19"/>
                </a:lnTo>
                <a:lnTo>
                  <a:pt x="318" y="16"/>
                </a:lnTo>
                <a:lnTo>
                  <a:pt x="322" y="16"/>
                </a:lnTo>
                <a:lnTo>
                  <a:pt x="322" y="13"/>
                </a:lnTo>
                <a:lnTo>
                  <a:pt x="322" y="13"/>
                </a:lnTo>
                <a:lnTo>
                  <a:pt x="318" y="16"/>
                </a:lnTo>
                <a:lnTo>
                  <a:pt x="318" y="16"/>
                </a:lnTo>
                <a:lnTo>
                  <a:pt x="318" y="19"/>
                </a:lnTo>
                <a:lnTo>
                  <a:pt x="315" y="19"/>
                </a:lnTo>
                <a:lnTo>
                  <a:pt x="315" y="16"/>
                </a:lnTo>
                <a:lnTo>
                  <a:pt x="315" y="13"/>
                </a:lnTo>
                <a:lnTo>
                  <a:pt x="312" y="7"/>
                </a:lnTo>
                <a:lnTo>
                  <a:pt x="312" y="4"/>
                </a:lnTo>
                <a:lnTo>
                  <a:pt x="312" y="4"/>
                </a:lnTo>
                <a:lnTo>
                  <a:pt x="315" y="4"/>
                </a:lnTo>
                <a:lnTo>
                  <a:pt x="312" y="0"/>
                </a:lnTo>
                <a:lnTo>
                  <a:pt x="312" y="4"/>
                </a:lnTo>
                <a:lnTo>
                  <a:pt x="306" y="0"/>
                </a:lnTo>
                <a:lnTo>
                  <a:pt x="306" y="4"/>
                </a:lnTo>
                <a:lnTo>
                  <a:pt x="309" y="7"/>
                </a:lnTo>
                <a:lnTo>
                  <a:pt x="312" y="16"/>
                </a:lnTo>
                <a:lnTo>
                  <a:pt x="312" y="19"/>
                </a:lnTo>
                <a:lnTo>
                  <a:pt x="312" y="25"/>
                </a:lnTo>
                <a:lnTo>
                  <a:pt x="309" y="29"/>
                </a:lnTo>
                <a:lnTo>
                  <a:pt x="309" y="29"/>
                </a:lnTo>
                <a:lnTo>
                  <a:pt x="309" y="29"/>
                </a:lnTo>
                <a:lnTo>
                  <a:pt x="309" y="38"/>
                </a:lnTo>
                <a:lnTo>
                  <a:pt x="312" y="38"/>
                </a:lnTo>
                <a:lnTo>
                  <a:pt x="315" y="35"/>
                </a:lnTo>
                <a:lnTo>
                  <a:pt x="318" y="35"/>
                </a:lnTo>
                <a:lnTo>
                  <a:pt x="315" y="38"/>
                </a:lnTo>
                <a:lnTo>
                  <a:pt x="312" y="41"/>
                </a:lnTo>
                <a:lnTo>
                  <a:pt x="315" y="44"/>
                </a:lnTo>
                <a:lnTo>
                  <a:pt x="315" y="50"/>
                </a:lnTo>
                <a:lnTo>
                  <a:pt x="318" y="60"/>
                </a:lnTo>
                <a:lnTo>
                  <a:pt x="318" y="66"/>
                </a:lnTo>
                <a:lnTo>
                  <a:pt x="318" y="69"/>
                </a:lnTo>
                <a:lnTo>
                  <a:pt x="318" y="69"/>
                </a:lnTo>
                <a:lnTo>
                  <a:pt x="322" y="66"/>
                </a:lnTo>
                <a:lnTo>
                  <a:pt x="318" y="63"/>
                </a:lnTo>
                <a:lnTo>
                  <a:pt x="322" y="63"/>
                </a:lnTo>
                <a:lnTo>
                  <a:pt x="322" y="66"/>
                </a:lnTo>
                <a:lnTo>
                  <a:pt x="322" y="69"/>
                </a:lnTo>
                <a:lnTo>
                  <a:pt x="325" y="66"/>
                </a:lnTo>
                <a:lnTo>
                  <a:pt x="325" y="66"/>
                </a:lnTo>
                <a:lnTo>
                  <a:pt x="325" y="66"/>
                </a:lnTo>
                <a:lnTo>
                  <a:pt x="325" y="63"/>
                </a:lnTo>
                <a:lnTo>
                  <a:pt x="325" y="66"/>
                </a:lnTo>
                <a:lnTo>
                  <a:pt x="325" y="72"/>
                </a:lnTo>
                <a:lnTo>
                  <a:pt x="322" y="76"/>
                </a:lnTo>
                <a:lnTo>
                  <a:pt x="322" y="76"/>
                </a:lnTo>
                <a:lnTo>
                  <a:pt x="322" y="76"/>
                </a:lnTo>
                <a:lnTo>
                  <a:pt x="318" y="76"/>
                </a:lnTo>
                <a:lnTo>
                  <a:pt x="318" y="76"/>
                </a:lnTo>
                <a:lnTo>
                  <a:pt x="318" y="79"/>
                </a:lnTo>
                <a:lnTo>
                  <a:pt x="322" y="88"/>
                </a:lnTo>
                <a:lnTo>
                  <a:pt x="322" y="88"/>
                </a:lnTo>
                <a:lnTo>
                  <a:pt x="325" y="88"/>
                </a:lnTo>
                <a:lnTo>
                  <a:pt x="325" y="91"/>
                </a:lnTo>
                <a:lnTo>
                  <a:pt x="325" y="91"/>
                </a:lnTo>
                <a:lnTo>
                  <a:pt x="328" y="94"/>
                </a:lnTo>
                <a:lnTo>
                  <a:pt x="325" y="97"/>
                </a:lnTo>
                <a:lnTo>
                  <a:pt x="325" y="97"/>
                </a:lnTo>
                <a:lnTo>
                  <a:pt x="325" y="97"/>
                </a:lnTo>
                <a:lnTo>
                  <a:pt x="325" y="101"/>
                </a:lnTo>
                <a:lnTo>
                  <a:pt x="322" y="107"/>
                </a:lnTo>
                <a:lnTo>
                  <a:pt x="322" y="113"/>
                </a:lnTo>
                <a:lnTo>
                  <a:pt x="322" y="113"/>
                </a:lnTo>
                <a:lnTo>
                  <a:pt x="322" y="116"/>
                </a:lnTo>
                <a:lnTo>
                  <a:pt x="322" y="116"/>
                </a:lnTo>
                <a:lnTo>
                  <a:pt x="318" y="116"/>
                </a:lnTo>
                <a:lnTo>
                  <a:pt x="318" y="119"/>
                </a:lnTo>
                <a:lnTo>
                  <a:pt x="318" y="122"/>
                </a:lnTo>
                <a:lnTo>
                  <a:pt x="318" y="122"/>
                </a:lnTo>
                <a:lnTo>
                  <a:pt x="318" y="126"/>
                </a:lnTo>
                <a:lnTo>
                  <a:pt x="315" y="126"/>
                </a:lnTo>
                <a:lnTo>
                  <a:pt x="312" y="129"/>
                </a:lnTo>
                <a:lnTo>
                  <a:pt x="309" y="144"/>
                </a:lnTo>
                <a:lnTo>
                  <a:pt x="309" y="147"/>
                </a:lnTo>
                <a:lnTo>
                  <a:pt x="306" y="147"/>
                </a:lnTo>
                <a:lnTo>
                  <a:pt x="306" y="147"/>
                </a:lnTo>
                <a:lnTo>
                  <a:pt x="300" y="147"/>
                </a:lnTo>
                <a:lnTo>
                  <a:pt x="297" y="147"/>
                </a:lnTo>
                <a:lnTo>
                  <a:pt x="290" y="151"/>
                </a:lnTo>
                <a:lnTo>
                  <a:pt x="287" y="157"/>
                </a:lnTo>
                <a:lnTo>
                  <a:pt x="284" y="160"/>
                </a:lnTo>
                <a:lnTo>
                  <a:pt x="287" y="166"/>
                </a:lnTo>
                <a:lnTo>
                  <a:pt x="290" y="169"/>
                </a:lnTo>
                <a:lnTo>
                  <a:pt x="297" y="172"/>
                </a:lnTo>
                <a:lnTo>
                  <a:pt x="297" y="179"/>
                </a:lnTo>
                <a:lnTo>
                  <a:pt x="303" y="179"/>
                </a:lnTo>
                <a:lnTo>
                  <a:pt x="306" y="182"/>
                </a:lnTo>
                <a:lnTo>
                  <a:pt x="306" y="191"/>
                </a:lnTo>
                <a:lnTo>
                  <a:pt x="306" y="191"/>
                </a:lnTo>
                <a:lnTo>
                  <a:pt x="306" y="191"/>
                </a:lnTo>
                <a:lnTo>
                  <a:pt x="306" y="198"/>
                </a:lnTo>
                <a:lnTo>
                  <a:pt x="303" y="201"/>
                </a:lnTo>
                <a:lnTo>
                  <a:pt x="297" y="210"/>
                </a:lnTo>
                <a:lnTo>
                  <a:pt x="290" y="216"/>
                </a:lnTo>
                <a:lnTo>
                  <a:pt x="284" y="219"/>
                </a:lnTo>
                <a:lnTo>
                  <a:pt x="284" y="223"/>
                </a:lnTo>
                <a:lnTo>
                  <a:pt x="284" y="226"/>
                </a:lnTo>
                <a:lnTo>
                  <a:pt x="284" y="226"/>
                </a:lnTo>
                <a:close/>
                <a:moveTo>
                  <a:pt x="272" y="210"/>
                </a:moveTo>
                <a:lnTo>
                  <a:pt x="272" y="207"/>
                </a:lnTo>
                <a:lnTo>
                  <a:pt x="272" y="204"/>
                </a:lnTo>
                <a:lnTo>
                  <a:pt x="275" y="204"/>
                </a:lnTo>
                <a:lnTo>
                  <a:pt x="275" y="207"/>
                </a:lnTo>
                <a:lnTo>
                  <a:pt x="272" y="207"/>
                </a:lnTo>
                <a:lnTo>
                  <a:pt x="272" y="210"/>
                </a:lnTo>
                <a:lnTo>
                  <a:pt x="272" y="210"/>
                </a:lnTo>
                <a:lnTo>
                  <a:pt x="272" y="210"/>
                </a:lnTo>
                <a:lnTo>
                  <a:pt x="272" y="210"/>
                </a:lnTo>
                <a:close/>
                <a:moveTo>
                  <a:pt x="268" y="216"/>
                </a:moveTo>
                <a:lnTo>
                  <a:pt x="272" y="213"/>
                </a:lnTo>
                <a:lnTo>
                  <a:pt x="272" y="213"/>
                </a:lnTo>
                <a:lnTo>
                  <a:pt x="272" y="216"/>
                </a:lnTo>
                <a:lnTo>
                  <a:pt x="268" y="216"/>
                </a:lnTo>
                <a:lnTo>
                  <a:pt x="268" y="216"/>
                </a:lnTo>
                <a:close/>
                <a:moveTo>
                  <a:pt x="265" y="213"/>
                </a:moveTo>
                <a:lnTo>
                  <a:pt x="268" y="213"/>
                </a:lnTo>
                <a:lnTo>
                  <a:pt x="272" y="213"/>
                </a:lnTo>
                <a:lnTo>
                  <a:pt x="272" y="213"/>
                </a:lnTo>
                <a:lnTo>
                  <a:pt x="265" y="213"/>
                </a:lnTo>
                <a:lnTo>
                  <a:pt x="265" y="213"/>
                </a:lnTo>
                <a:close/>
                <a:moveTo>
                  <a:pt x="106" y="398"/>
                </a:moveTo>
                <a:lnTo>
                  <a:pt x="109" y="395"/>
                </a:lnTo>
                <a:lnTo>
                  <a:pt x="106" y="398"/>
                </a:lnTo>
                <a:lnTo>
                  <a:pt x="106" y="398"/>
                </a:lnTo>
                <a:lnTo>
                  <a:pt x="106" y="398"/>
                </a:lnTo>
                <a:close/>
                <a:moveTo>
                  <a:pt x="87" y="404"/>
                </a:moveTo>
                <a:lnTo>
                  <a:pt x="84" y="407"/>
                </a:lnTo>
                <a:lnTo>
                  <a:pt x="81" y="407"/>
                </a:lnTo>
                <a:lnTo>
                  <a:pt x="81" y="407"/>
                </a:lnTo>
                <a:lnTo>
                  <a:pt x="84" y="401"/>
                </a:lnTo>
                <a:lnTo>
                  <a:pt x="87" y="401"/>
                </a:lnTo>
                <a:lnTo>
                  <a:pt x="87" y="398"/>
                </a:lnTo>
                <a:lnTo>
                  <a:pt x="90" y="398"/>
                </a:lnTo>
                <a:lnTo>
                  <a:pt x="90" y="395"/>
                </a:lnTo>
                <a:lnTo>
                  <a:pt x="90" y="391"/>
                </a:lnTo>
                <a:lnTo>
                  <a:pt x="90" y="388"/>
                </a:lnTo>
                <a:lnTo>
                  <a:pt x="93" y="388"/>
                </a:lnTo>
                <a:lnTo>
                  <a:pt x="96" y="391"/>
                </a:lnTo>
                <a:lnTo>
                  <a:pt x="100" y="395"/>
                </a:lnTo>
                <a:lnTo>
                  <a:pt x="100" y="395"/>
                </a:lnTo>
                <a:lnTo>
                  <a:pt x="100" y="398"/>
                </a:lnTo>
                <a:lnTo>
                  <a:pt x="96" y="398"/>
                </a:lnTo>
                <a:lnTo>
                  <a:pt x="96" y="395"/>
                </a:lnTo>
                <a:lnTo>
                  <a:pt x="96" y="398"/>
                </a:lnTo>
                <a:lnTo>
                  <a:pt x="96" y="398"/>
                </a:lnTo>
                <a:lnTo>
                  <a:pt x="96" y="398"/>
                </a:lnTo>
                <a:lnTo>
                  <a:pt x="100" y="401"/>
                </a:lnTo>
                <a:lnTo>
                  <a:pt x="100" y="401"/>
                </a:lnTo>
                <a:lnTo>
                  <a:pt x="100" y="404"/>
                </a:lnTo>
                <a:lnTo>
                  <a:pt x="96" y="401"/>
                </a:lnTo>
                <a:lnTo>
                  <a:pt x="93" y="404"/>
                </a:lnTo>
                <a:lnTo>
                  <a:pt x="90" y="404"/>
                </a:lnTo>
                <a:lnTo>
                  <a:pt x="90" y="404"/>
                </a:lnTo>
                <a:lnTo>
                  <a:pt x="87" y="404"/>
                </a:lnTo>
                <a:lnTo>
                  <a:pt x="87" y="404"/>
                </a:lnTo>
                <a:lnTo>
                  <a:pt x="87" y="404"/>
                </a:lnTo>
                <a:close/>
                <a:moveTo>
                  <a:pt x="84" y="370"/>
                </a:moveTo>
                <a:lnTo>
                  <a:pt x="81" y="370"/>
                </a:lnTo>
                <a:lnTo>
                  <a:pt x="81" y="363"/>
                </a:lnTo>
                <a:lnTo>
                  <a:pt x="84" y="363"/>
                </a:lnTo>
                <a:lnTo>
                  <a:pt x="81" y="363"/>
                </a:lnTo>
                <a:lnTo>
                  <a:pt x="81" y="363"/>
                </a:lnTo>
                <a:lnTo>
                  <a:pt x="84" y="357"/>
                </a:lnTo>
                <a:lnTo>
                  <a:pt x="87" y="357"/>
                </a:lnTo>
                <a:lnTo>
                  <a:pt x="90" y="357"/>
                </a:lnTo>
                <a:lnTo>
                  <a:pt x="93" y="357"/>
                </a:lnTo>
                <a:lnTo>
                  <a:pt x="90" y="354"/>
                </a:lnTo>
                <a:lnTo>
                  <a:pt x="87" y="351"/>
                </a:lnTo>
                <a:lnTo>
                  <a:pt x="87" y="348"/>
                </a:lnTo>
                <a:lnTo>
                  <a:pt x="90" y="341"/>
                </a:lnTo>
                <a:lnTo>
                  <a:pt x="93" y="341"/>
                </a:lnTo>
                <a:lnTo>
                  <a:pt x="93" y="338"/>
                </a:lnTo>
                <a:lnTo>
                  <a:pt x="96" y="341"/>
                </a:lnTo>
                <a:lnTo>
                  <a:pt x="96" y="345"/>
                </a:lnTo>
                <a:lnTo>
                  <a:pt x="100" y="341"/>
                </a:lnTo>
                <a:lnTo>
                  <a:pt x="100" y="335"/>
                </a:lnTo>
                <a:lnTo>
                  <a:pt x="100" y="332"/>
                </a:lnTo>
                <a:lnTo>
                  <a:pt x="103" y="332"/>
                </a:lnTo>
                <a:lnTo>
                  <a:pt x="109" y="326"/>
                </a:lnTo>
                <a:lnTo>
                  <a:pt x="109" y="329"/>
                </a:lnTo>
                <a:lnTo>
                  <a:pt x="112" y="326"/>
                </a:lnTo>
                <a:lnTo>
                  <a:pt x="112" y="320"/>
                </a:lnTo>
                <a:lnTo>
                  <a:pt x="115" y="320"/>
                </a:lnTo>
                <a:lnTo>
                  <a:pt x="115" y="316"/>
                </a:lnTo>
                <a:lnTo>
                  <a:pt x="118" y="320"/>
                </a:lnTo>
                <a:lnTo>
                  <a:pt x="118" y="320"/>
                </a:lnTo>
                <a:lnTo>
                  <a:pt x="118" y="316"/>
                </a:lnTo>
                <a:lnTo>
                  <a:pt x="125" y="313"/>
                </a:lnTo>
                <a:lnTo>
                  <a:pt x="125" y="310"/>
                </a:lnTo>
                <a:lnTo>
                  <a:pt x="131" y="307"/>
                </a:lnTo>
                <a:lnTo>
                  <a:pt x="134" y="304"/>
                </a:lnTo>
                <a:lnTo>
                  <a:pt x="140" y="298"/>
                </a:lnTo>
                <a:lnTo>
                  <a:pt x="143" y="298"/>
                </a:lnTo>
                <a:lnTo>
                  <a:pt x="143" y="301"/>
                </a:lnTo>
                <a:lnTo>
                  <a:pt x="147" y="301"/>
                </a:lnTo>
                <a:lnTo>
                  <a:pt x="150" y="298"/>
                </a:lnTo>
                <a:lnTo>
                  <a:pt x="153" y="298"/>
                </a:lnTo>
                <a:lnTo>
                  <a:pt x="156" y="301"/>
                </a:lnTo>
                <a:lnTo>
                  <a:pt x="156" y="298"/>
                </a:lnTo>
                <a:lnTo>
                  <a:pt x="153" y="294"/>
                </a:lnTo>
                <a:lnTo>
                  <a:pt x="156" y="291"/>
                </a:lnTo>
                <a:lnTo>
                  <a:pt x="162" y="288"/>
                </a:lnTo>
                <a:lnTo>
                  <a:pt x="165" y="288"/>
                </a:lnTo>
                <a:lnTo>
                  <a:pt x="172" y="282"/>
                </a:lnTo>
                <a:lnTo>
                  <a:pt x="178" y="279"/>
                </a:lnTo>
                <a:lnTo>
                  <a:pt x="181" y="279"/>
                </a:lnTo>
                <a:lnTo>
                  <a:pt x="181" y="276"/>
                </a:lnTo>
                <a:lnTo>
                  <a:pt x="187" y="273"/>
                </a:lnTo>
                <a:lnTo>
                  <a:pt x="190" y="273"/>
                </a:lnTo>
                <a:lnTo>
                  <a:pt x="200" y="266"/>
                </a:lnTo>
                <a:lnTo>
                  <a:pt x="206" y="257"/>
                </a:lnTo>
                <a:lnTo>
                  <a:pt x="206" y="254"/>
                </a:lnTo>
                <a:lnTo>
                  <a:pt x="209" y="254"/>
                </a:lnTo>
                <a:lnTo>
                  <a:pt x="209" y="248"/>
                </a:lnTo>
                <a:lnTo>
                  <a:pt x="212" y="244"/>
                </a:lnTo>
                <a:lnTo>
                  <a:pt x="215" y="244"/>
                </a:lnTo>
                <a:lnTo>
                  <a:pt x="215" y="241"/>
                </a:lnTo>
                <a:lnTo>
                  <a:pt x="215" y="235"/>
                </a:lnTo>
                <a:lnTo>
                  <a:pt x="218" y="235"/>
                </a:lnTo>
                <a:lnTo>
                  <a:pt x="222" y="235"/>
                </a:lnTo>
                <a:lnTo>
                  <a:pt x="225" y="232"/>
                </a:lnTo>
                <a:lnTo>
                  <a:pt x="228" y="229"/>
                </a:lnTo>
                <a:lnTo>
                  <a:pt x="231" y="226"/>
                </a:lnTo>
                <a:lnTo>
                  <a:pt x="234" y="223"/>
                </a:lnTo>
                <a:lnTo>
                  <a:pt x="237" y="219"/>
                </a:lnTo>
                <a:lnTo>
                  <a:pt x="240" y="210"/>
                </a:lnTo>
                <a:lnTo>
                  <a:pt x="240" y="207"/>
                </a:lnTo>
                <a:lnTo>
                  <a:pt x="243" y="204"/>
                </a:lnTo>
                <a:lnTo>
                  <a:pt x="247" y="201"/>
                </a:lnTo>
                <a:lnTo>
                  <a:pt x="253" y="198"/>
                </a:lnTo>
                <a:lnTo>
                  <a:pt x="256" y="198"/>
                </a:lnTo>
                <a:lnTo>
                  <a:pt x="253" y="201"/>
                </a:lnTo>
                <a:lnTo>
                  <a:pt x="253" y="204"/>
                </a:lnTo>
                <a:lnTo>
                  <a:pt x="256" y="207"/>
                </a:lnTo>
                <a:lnTo>
                  <a:pt x="256" y="207"/>
                </a:lnTo>
                <a:lnTo>
                  <a:pt x="259" y="207"/>
                </a:lnTo>
                <a:lnTo>
                  <a:pt x="259" y="207"/>
                </a:lnTo>
                <a:lnTo>
                  <a:pt x="259" y="207"/>
                </a:lnTo>
                <a:lnTo>
                  <a:pt x="259" y="210"/>
                </a:lnTo>
                <a:lnTo>
                  <a:pt x="259" y="210"/>
                </a:lnTo>
                <a:lnTo>
                  <a:pt x="256" y="213"/>
                </a:lnTo>
                <a:lnTo>
                  <a:pt x="256" y="213"/>
                </a:lnTo>
                <a:lnTo>
                  <a:pt x="259" y="219"/>
                </a:lnTo>
                <a:lnTo>
                  <a:pt x="259" y="223"/>
                </a:lnTo>
                <a:lnTo>
                  <a:pt x="262" y="216"/>
                </a:lnTo>
                <a:lnTo>
                  <a:pt x="265" y="216"/>
                </a:lnTo>
                <a:lnTo>
                  <a:pt x="268" y="216"/>
                </a:lnTo>
                <a:lnTo>
                  <a:pt x="268" y="216"/>
                </a:lnTo>
                <a:lnTo>
                  <a:pt x="268" y="219"/>
                </a:lnTo>
                <a:lnTo>
                  <a:pt x="272" y="219"/>
                </a:lnTo>
                <a:lnTo>
                  <a:pt x="275" y="219"/>
                </a:lnTo>
                <a:lnTo>
                  <a:pt x="272" y="216"/>
                </a:lnTo>
                <a:lnTo>
                  <a:pt x="272" y="216"/>
                </a:lnTo>
                <a:lnTo>
                  <a:pt x="275" y="213"/>
                </a:lnTo>
                <a:lnTo>
                  <a:pt x="278" y="213"/>
                </a:lnTo>
                <a:lnTo>
                  <a:pt x="278" y="216"/>
                </a:lnTo>
                <a:lnTo>
                  <a:pt x="278" y="216"/>
                </a:lnTo>
                <a:lnTo>
                  <a:pt x="275" y="219"/>
                </a:lnTo>
                <a:lnTo>
                  <a:pt x="272" y="223"/>
                </a:lnTo>
                <a:lnTo>
                  <a:pt x="275" y="223"/>
                </a:lnTo>
                <a:lnTo>
                  <a:pt x="278" y="219"/>
                </a:lnTo>
                <a:lnTo>
                  <a:pt x="275" y="226"/>
                </a:lnTo>
                <a:lnTo>
                  <a:pt x="272" y="226"/>
                </a:lnTo>
                <a:lnTo>
                  <a:pt x="272" y="229"/>
                </a:lnTo>
                <a:lnTo>
                  <a:pt x="272" y="232"/>
                </a:lnTo>
                <a:lnTo>
                  <a:pt x="275" y="235"/>
                </a:lnTo>
                <a:lnTo>
                  <a:pt x="275" y="238"/>
                </a:lnTo>
                <a:lnTo>
                  <a:pt x="275" y="241"/>
                </a:lnTo>
                <a:lnTo>
                  <a:pt x="272" y="241"/>
                </a:lnTo>
                <a:lnTo>
                  <a:pt x="262" y="251"/>
                </a:lnTo>
                <a:lnTo>
                  <a:pt x="262" y="254"/>
                </a:lnTo>
                <a:lnTo>
                  <a:pt x="253" y="260"/>
                </a:lnTo>
                <a:lnTo>
                  <a:pt x="256" y="263"/>
                </a:lnTo>
                <a:lnTo>
                  <a:pt x="253" y="263"/>
                </a:lnTo>
                <a:lnTo>
                  <a:pt x="247" y="266"/>
                </a:lnTo>
                <a:lnTo>
                  <a:pt x="247" y="269"/>
                </a:lnTo>
                <a:lnTo>
                  <a:pt x="243" y="276"/>
                </a:lnTo>
                <a:lnTo>
                  <a:pt x="240" y="276"/>
                </a:lnTo>
                <a:lnTo>
                  <a:pt x="237" y="282"/>
                </a:lnTo>
                <a:lnTo>
                  <a:pt x="231" y="282"/>
                </a:lnTo>
                <a:lnTo>
                  <a:pt x="228" y="285"/>
                </a:lnTo>
                <a:lnTo>
                  <a:pt x="228" y="291"/>
                </a:lnTo>
                <a:lnTo>
                  <a:pt x="228" y="294"/>
                </a:lnTo>
                <a:lnTo>
                  <a:pt x="225" y="294"/>
                </a:lnTo>
                <a:lnTo>
                  <a:pt x="228" y="298"/>
                </a:lnTo>
                <a:lnTo>
                  <a:pt x="231" y="301"/>
                </a:lnTo>
                <a:lnTo>
                  <a:pt x="231" y="304"/>
                </a:lnTo>
                <a:lnTo>
                  <a:pt x="228" y="307"/>
                </a:lnTo>
                <a:lnTo>
                  <a:pt x="228" y="304"/>
                </a:lnTo>
                <a:lnTo>
                  <a:pt x="228" y="301"/>
                </a:lnTo>
                <a:lnTo>
                  <a:pt x="225" y="301"/>
                </a:lnTo>
                <a:lnTo>
                  <a:pt x="225" y="301"/>
                </a:lnTo>
                <a:lnTo>
                  <a:pt x="225" y="304"/>
                </a:lnTo>
                <a:lnTo>
                  <a:pt x="225" y="307"/>
                </a:lnTo>
                <a:lnTo>
                  <a:pt x="222" y="304"/>
                </a:lnTo>
                <a:lnTo>
                  <a:pt x="215" y="304"/>
                </a:lnTo>
                <a:lnTo>
                  <a:pt x="222" y="304"/>
                </a:lnTo>
                <a:lnTo>
                  <a:pt x="222" y="301"/>
                </a:lnTo>
                <a:lnTo>
                  <a:pt x="218" y="301"/>
                </a:lnTo>
                <a:lnTo>
                  <a:pt x="215" y="304"/>
                </a:lnTo>
                <a:lnTo>
                  <a:pt x="215" y="304"/>
                </a:lnTo>
                <a:lnTo>
                  <a:pt x="212" y="304"/>
                </a:lnTo>
                <a:lnTo>
                  <a:pt x="212" y="304"/>
                </a:lnTo>
                <a:lnTo>
                  <a:pt x="209" y="301"/>
                </a:lnTo>
                <a:lnTo>
                  <a:pt x="206" y="301"/>
                </a:lnTo>
                <a:lnTo>
                  <a:pt x="209" y="301"/>
                </a:lnTo>
                <a:lnTo>
                  <a:pt x="209" y="304"/>
                </a:lnTo>
                <a:lnTo>
                  <a:pt x="206" y="307"/>
                </a:lnTo>
                <a:lnTo>
                  <a:pt x="206" y="310"/>
                </a:lnTo>
                <a:lnTo>
                  <a:pt x="203" y="310"/>
                </a:lnTo>
                <a:lnTo>
                  <a:pt x="200" y="313"/>
                </a:lnTo>
                <a:lnTo>
                  <a:pt x="197" y="313"/>
                </a:lnTo>
                <a:lnTo>
                  <a:pt x="197" y="310"/>
                </a:lnTo>
                <a:lnTo>
                  <a:pt x="193" y="313"/>
                </a:lnTo>
                <a:lnTo>
                  <a:pt x="190" y="313"/>
                </a:lnTo>
                <a:lnTo>
                  <a:pt x="187" y="320"/>
                </a:lnTo>
                <a:lnTo>
                  <a:pt x="187" y="323"/>
                </a:lnTo>
                <a:lnTo>
                  <a:pt x="187" y="326"/>
                </a:lnTo>
                <a:lnTo>
                  <a:pt x="181" y="332"/>
                </a:lnTo>
                <a:lnTo>
                  <a:pt x="181" y="335"/>
                </a:lnTo>
                <a:lnTo>
                  <a:pt x="178" y="338"/>
                </a:lnTo>
                <a:lnTo>
                  <a:pt x="172" y="345"/>
                </a:lnTo>
                <a:lnTo>
                  <a:pt x="168" y="348"/>
                </a:lnTo>
                <a:lnTo>
                  <a:pt x="165" y="354"/>
                </a:lnTo>
                <a:lnTo>
                  <a:pt x="162" y="360"/>
                </a:lnTo>
                <a:lnTo>
                  <a:pt x="159" y="363"/>
                </a:lnTo>
                <a:lnTo>
                  <a:pt x="159" y="366"/>
                </a:lnTo>
                <a:lnTo>
                  <a:pt x="159" y="366"/>
                </a:lnTo>
                <a:lnTo>
                  <a:pt x="156" y="366"/>
                </a:lnTo>
                <a:lnTo>
                  <a:pt x="162" y="366"/>
                </a:lnTo>
                <a:lnTo>
                  <a:pt x="162" y="370"/>
                </a:lnTo>
                <a:lnTo>
                  <a:pt x="159" y="370"/>
                </a:lnTo>
                <a:lnTo>
                  <a:pt x="153" y="370"/>
                </a:lnTo>
                <a:lnTo>
                  <a:pt x="150" y="373"/>
                </a:lnTo>
                <a:lnTo>
                  <a:pt x="147" y="376"/>
                </a:lnTo>
                <a:lnTo>
                  <a:pt x="143" y="379"/>
                </a:lnTo>
                <a:lnTo>
                  <a:pt x="140" y="382"/>
                </a:lnTo>
                <a:lnTo>
                  <a:pt x="140" y="379"/>
                </a:lnTo>
                <a:lnTo>
                  <a:pt x="137" y="376"/>
                </a:lnTo>
                <a:lnTo>
                  <a:pt x="140" y="379"/>
                </a:lnTo>
                <a:lnTo>
                  <a:pt x="140" y="382"/>
                </a:lnTo>
                <a:lnTo>
                  <a:pt x="134" y="385"/>
                </a:lnTo>
                <a:lnTo>
                  <a:pt x="131" y="388"/>
                </a:lnTo>
                <a:lnTo>
                  <a:pt x="122" y="391"/>
                </a:lnTo>
                <a:lnTo>
                  <a:pt x="118" y="391"/>
                </a:lnTo>
                <a:lnTo>
                  <a:pt x="115" y="391"/>
                </a:lnTo>
                <a:lnTo>
                  <a:pt x="115" y="388"/>
                </a:lnTo>
                <a:lnTo>
                  <a:pt x="109" y="391"/>
                </a:lnTo>
                <a:lnTo>
                  <a:pt x="109" y="391"/>
                </a:lnTo>
                <a:lnTo>
                  <a:pt x="112" y="388"/>
                </a:lnTo>
                <a:lnTo>
                  <a:pt x="109" y="388"/>
                </a:lnTo>
                <a:lnTo>
                  <a:pt x="106" y="385"/>
                </a:lnTo>
                <a:lnTo>
                  <a:pt x="106" y="379"/>
                </a:lnTo>
                <a:lnTo>
                  <a:pt x="103" y="379"/>
                </a:lnTo>
                <a:lnTo>
                  <a:pt x="100" y="379"/>
                </a:lnTo>
                <a:lnTo>
                  <a:pt x="100" y="376"/>
                </a:lnTo>
                <a:lnTo>
                  <a:pt x="100" y="376"/>
                </a:lnTo>
                <a:lnTo>
                  <a:pt x="96" y="373"/>
                </a:lnTo>
                <a:lnTo>
                  <a:pt x="96" y="370"/>
                </a:lnTo>
                <a:lnTo>
                  <a:pt x="93" y="373"/>
                </a:lnTo>
                <a:lnTo>
                  <a:pt x="93" y="373"/>
                </a:lnTo>
                <a:lnTo>
                  <a:pt x="90" y="373"/>
                </a:lnTo>
                <a:lnTo>
                  <a:pt x="90" y="373"/>
                </a:lnTo>
                <a:lnTo>
                  <a:pt x="84" y="373"/>
                </a:lnTo>
                <a:lnTo>
                  <a:pt x="84" y="37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4" name="Freeform 162">
            <a:extLst>
              <a:ext uri="{FF2B5EF4-FFF2-40B4-BE49-F238E27FC236}">
                <a16:creationId xmlns:a16="http://schemas.microsoft.com/office/drawing/2014/main" id="{DA44F5AE-0928-64B0-2BF3-761BCB412123}"/>
              </a:ext>
            </a:extLst>
          </p:cNvPr>
          <p:cNvSpPr>
            <a:spLocks noEditPoints="1"/>
          </p:cNvSpPr>
          <p:nvPr userDrawn="1"/>
        </p:nvSpPr>
        <p:spPr bwMode="auto">
          <a:xfrm>
            <a:off x="11908648" y="4380783"/>
            <a:ext cx="555590" cy="346078"/>
          </a:xfrm>
          <a:custGeom>
            <a:avLst/>
            <a:gdLst>
              <a:gd name="T0" fmla="*/ 66 w 175"/>
              <a:gd name="T1" fmla="*/ 106 h 109"/>
              <a:gd name="T2" fmla="*/ 56 w 175"/>
              <a:gd name="T3" fmla="*/ 94 h 109"/>
              <a:gd name="T4" fmla="*/ 78 w 175"/>
              <a:gd name="T5" fmla="*/ 103 h 109"/>
              <a:gd name="T6" fmla="*/ 94 w 175"/>
              <a:gd name="T7" fmla="*/ 97 h 109"/>
              <a:gd name="T8" fmla="*/ 109 w 175"/>
              <a:gd name="T9" fmla="*/ 91 h 109"/>
              <a:gd name="T10" fmla="*/ 116 w 175"/>
              <a:gd name="T11" fmla="*/ 88 h 109"/>
              <a:gd name="T12" fmla="*/ 125 w 175"/>
              <a:gd name="T13" fmla="*/ 91 h 109"/>
              <a:gd name="T14" fmla="*/ 147 w 175"/>
              <a:gd name="T15" fmla="*/ 72 h 109"/>
              <a:gd name="T16" fmla="*/ 159 w 175"/>
              <a:gd name="T17" fmla="*/ 72 h 109"/>
              <a:gd name="T18" fmla="*/ 159 w 175"/>
              <a:gd name="T19" fmla="*/ 59 h 109"/>
              <a:gd name="T20" fmla="*/ 169 w 175"/>
              <a:gd name="T21" fmla="*/ 59 h 109"/>
              <a:gd name="T22" fmla="*/ 166 w 175"/>
              <a:gd name="T23" fmla="*/ 41 h 109"/>
              <a:gd name="T24" fmla="*/ 163 w 175"/>
              <a:gd name="T25" fmla="*/ 34 h 109"/>
              <a:gd name="T26" fmla="*/ 156 w 175"/>
              <a:gd name="T27" fmla="*/ 28 h 109"/>
              <a:gd name="T28" fmla="*/ 159 w 175"/>
              <a:gd name="T29" fmla="*/ 16 h 109"/>
              <a:gd name="T30" fmla="*/ 156 w 175"/>
              <a:gd name="T31" fmla="*/ 9 h 109"/>
              <a:gd name="T32" fmla="*/ 147 w 175"/>
              <a:gd name="T33" fmla="*/ 9 h 109"/>
              <a:gd name="T34" fmla="*/ 141 w 175"/>
              <a:gd name="T35" fmla="*/ 6 h 109"/>
              <a:gd name="T36" fmla="*/ 131 w 175"/>
              <a:gd name="T37" fmla="*/ 6 h 109"/>
              <a:gd name="T38" fmla="*/ 122 w 175"/>
              <a:gd name="T39" fmla="*/ 12 h 109"/>
              <a:gd name="T40" fmla="*/ 109 w 175"/>
              <a:gd name="T41" fmla="*/ 12 h 109"/>
              <a:gd name="T42" fmla="*/ 103 w 175"/>
              <a:gd name="T43" fmla="*/ 25 h 109"/>
              <a:gd name="T44" fmla="*/ 97 w 175"/>
              <a:gd name="T45" fmla="*/ 16 h 109"/>
              <a:gd name="T46" fmla="*/ 84 w 175"/>
              <a:gd name="T47" fmla="*/ 22 h 109"/>
              <a:gd name="T48" fmla="*/ 75 w 175"/>
              <a:gd name="T49" fmla="*/ 12 h 109"/>
              <a:gd name="T50" fmla="*/ 69 w 175"/>
              <a:gd name="T51" fmla="*/ 31 h 109"/>
              <a:gd name="T52" fmla="*/ 59 w 175"/>
              <a:gd name="T53" fmla="*/ 37 h 109"/>
              <a:gd name="T54" fmla="*/ 50 w 175"/>
              <a:gd name="T55" fmla="*/ 34 h 109"/>
              <a:gd name="T56" fmla="*/ 50 w 175"/>
              <a:gd name="T57" fmla="*/ 22 h 109"/>
              <a:gd name="T58" fmla="*/ 53 w 175"/>
              <a:gd name="T59" fmla="*/ 12 h 109"/>
              <a:gd name="T60" fmla="*/ 41 w 175"/>
              <a:gd name="T61" fmla="*/ 3 h 109"/>
              <a:gd name="T62" fmla="*/ 25 w 175"/>
              <a:gd name="T63" fmla="*/ 0 h 109"/>
              <a:gd name="T64" fmla="*/ 34 w 175"/>
              <a:gd name="T65" fmla="*/ 3 h 109"/>
              <a:gd name="T66" fmla="*/ 31 w 175"/>
              <a:gd name="T67" fmla="*/ 6 h 109"/>
              <a:gd name="T68" fmla="*/ 38 w 175"/>
              <a:gd name="T69" fmla="*/ 16 h 109"/>
              <a:gd name="T70" fmla="*/ 25 w 175"/>
              <a:gd name="T71" fmla="*/ 9 h 109"/>
              <a:gd name="T72" fmla="*/ 19 w 175"/>
              <a:gd name="T73" fmla="*/ 9 h 109"/>
              <a:gd name="T74" fmla="*/ 19 w 175"/>
              <a:gd name="T75" fmla="*/ 19 h 109"/>
              <a:gd name="T76" fmla="*/ 19 w 175"/>
              <a:gd name="T77" fmla="*/ 22 h 109"/>
              <a:gd name="T78" fmla="*/ 9 w 175"/>
              <a:gd name="T79" fmla="*/ 22 h 109"/>
              <a:gd name="T80" fmla="*/ 6 w 175"/>
              <a:gd name="T81" fmla="*/ 25 h 109"/>
              <a:gd name="T82" fmla="*/ 13 w 175"/>
              <a:gd name="T83" fmla="*/ 34 h 109"/>
              <a:gd name="T84" fmla="*/ 22 w 175"/>
              <a:gd name="T85" fmla="*/ 31 h 109"/>
              <a:gd name="T86" fmla="*/ 34 w 175"/>
              <a:gd name="T87" fmla="*/ 31 h 109"/>
              <a:gd name="T88" fmla="*/ 41 w 175"/>
              <a:gd name="T89" fmla="*/ 31 h 109"/>
              <a:gd name="T90" fmla="*/ 44 w 175"/>
              <a:gd name="T91" fmla="*/ 37 h 109"/>
              <a:gd name="T92" fmla="*/ 31 w 175"/>
              <a:gd name="T93" fmla="*/ 44 h 109"/>
              <a:gd name="T94" fmla="*/ 44 w 175"/>
              <a:gd name="T95" fmla="*/ 44 h 109"/>
              <a:gd name="T96" fmla="*/ 28 w 175"/>
              <a:gd name="T97" fmla="*/ 47 h 109"/>
              <a:gd name="T98" fmla="*/ 25 w 175"/>
              <a:gd name="T99" fmla="*/ 47 h 109"/>
              <a:gd name="T100" fmla="*/ 9 w 175"/>
              <a:gd name="T101" fmla="*/ 47 h 109"/>
              <a:gd name="T102" fmla="*/ 13 w 175"/>
              <a:gd name="T103" fmla="*/ 56 h 109"/>
              <a:gd name="T104" fmla="*/ 31 w 175"/>
              <a:gd name="T105" fmla="*/ 59 h 109"/>
              <a:gd name="T106" fmla="*/ 34 w 175"/>
              <a:gd name="T107" fmla="*/ 69 h 109"/>
              <a:gd name="T108" fmla="*/ 38 w 175"/>
              <a:gd name="T109" fmla="*/ 75 h 109"/>
              <a:gd name="T110" fmla="*/ 41 w 175"/>
              <a:gd name="T111" fmla="*/ 72 h 109"/>
              <a:gd name="T112" fmla="*/ 31 w 175"/>
              <a:gd name="T113" fmla="*/ 81 h 109"/>
              <a:gd name="T114" fmla="*/ 22 w 175"/>
              <a:gd name="T115" fmla="*/ 78 h 109"/>
              <a:gd name="T116" fmla="*/ 28 w 175"/>
              <a:gd name="T117" fmla="*/ 91 h 109"/>
              <a:gd name="T118" fmla="*/ 47 w 175"/>
              <a:gd name="T119" fmla="*/ 9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5" h="109">
                <a:moveTo>
                  <a:pt x="63" y="109"/>
                </a:moveTo>
                <a:lnTo>
                  <a:pt x="59" y="106"/>
                </a:lnTo>
                <a:lnTo>
                  <a:pt x="63" y="103"/>
                </a:lnTo>
                <a:lnTo>
                  <a:pt x="63" y="103"/>
                </a:lnTo>
                <a:lnTo>
                  <a:pt x="66" y="106"/>
                </a:lnTo>
                <a:lnTo>
                  <a:pt x="63" y="109"/>
                </a:lnTo>
                <a:lnTo>
                  <a:pt x="63" y="109"/>
                </a:lnTo>
                <a:close/>
                <a:moveTo>
                  <a:pt x="53" y="91"/>
                </a:moveTo>
                <a:lnTo>
                  <a:pt x="56" y="91"/>
                </a:lnTo>
                <a:lnTo>
                  <a:pt x="56" y="94"/>
                </a:lnTo>
                <a:lnTo>
                  <a:pt x="63" y="100"/>
                </a:lnTo>
                <a:lnTo>
                  <a:pt x="66" y="100"/>
                </a:lnTo>
                <a:lnTo>
                  <a:pt x="69" y="97"/>
                </a:lnTo>
                <a:lnTo>
                  <a:pt x="72" y="97"/>
                </a:lnTo>
                <a:lnTo>
                  <a:pt x="78" y="103"/>
                </a:lnTo>
                <a:lnTo>
                  <a:pt x="84" y="103"/>
                </a:lnTo>
                <a:lnTo>
                  <a:pt x="88" y="106"/>
                </a:lnTo>
                <a:lnTo>
                  <a:pt x="94" y="103"/>
                </a:lnTo>
                <a:lnTo>
                  <a:pt x="94" y="100"/>
                </a:lnTo>
                <a:lnTo>
                  <a:pt x="94" y="97"/>
                </a:lnTo>
                <a:lnTo>
                  <a:pt x="97" y="100"/>
                </a:lnTo>
                <a:lnTo>
                  <a:pt x="100" y="100"/>
                </a:lnTo>
                <a:lnTo>
                  <a:pt x="103" y="97"/>
                </a:lnTo>
                <a:lnTo>
                  <a:pt x="103" y="94"/>
                </a:lnTo>
                <a:lnTo>
                  <a:pt x="109" y="91"/>
                </a:lnTo>
                <a:lnTo>
                  <a:pt x="106" y="94"/>
                </a:lnTo>
                <a:lnTo>
                  <a:pt x="109" y="97"/>
                </a:lnTo>
                <a:lnTo>
                  <a:pt x="109" y="94"/>
                </a:lnTo>
                <a:lnTo>
                  <a:pt x="113" y="94"/>
                </a:lnTo>
                <a:lnTo>
                  <a:pt x="116" y="88"/>
                </a:lnTo>
                <a:lnTo>
                  <a:pt x="119" y="91"/>
                </a:lnTo>
                <a:lnTo>
                  <a:pt x="119" y="91"/>
                </a:lnTo>
                <a:lnTo>
                  <a:pt x="125" y="91"/>
                </a:lnTo>
                <a:lnTo>
                  <a:pt x="125" y="91"/>
                </a:lnTo>
                <a:lnTo>
                  <a:pt x="125" y="91"/>
                </a:lnTo>
                <a:lnTo>
                  <a:pt x="134" y="81"/>
                </a:lnTo>
                <a:lnTo>
                  <a:pt x="138" y="78"/>
                </a:lnTo>
                <a:lnTo>
                  <a:pt x="147" y="75"/>
                </a:lnTo>
                <a:lnTo>
                  <a:pt x="147" y="75"/>
                </a:lnTo>
                <a:lnTo>
                  <a:pt x="147" y="72"/>
                </a:lnTo>
                <a:lnTo>
                  <a:pt x="147" y="69"/>
                </a:lnTo>
                <a:lnTo>
                  <a:pt x="150" y="69"/>
                </a:lnTo>
                <a:lnTo>
                  <a:pt x="150" y="72"/>
                </a:lnTo>
                <a:lnTo>
                  <a:pt x="156" y="75"/>
                </a:lnTo>
                <a:lnTo>
                  <a:pt x="159" y="72"/>
                </a:lnTo>
                <a:lnTo>
                  <a:pt x="159" y="69"/>
                </a:lnTo>
                <a:lnTo>
                  <a:pt x="156" y="69"/>
                </a:lnTo>
                <a:lnTo>
                  <a:pt x="159" y="66"/>
                </a:lnTo>
                <a:lnTo>
                  <a:pt x="159" y="66"/>
                </a:lnTo>
                <a:lnTo>
                  <a:pt x="159" y="59"/>
                </a:lnTo>
                <a:lnTo>
                  <a:pt x="159" y="56"/>
                </a:lnTo>
                <a:lnTo>
                  <a:pt x="163" y="59"/>
                </a:lnTo>
                <a:lnTo>
                  <a:pt x="163" y="62"/>
                </a:lnTo>
                <a:lnTo>
                  <a:pt x="166" y="62"/>
                </a:lnTo>
                <a:lnTo>
                  <a:pt x="169" y="59"/>
                </a:lnTo>
                <a:lnTo>
                  <a:pt x="169" y="56"/>
                </a:lnTo>
                <a:lnTo>
                  <a:pt x="166" y="50"/>
                </a:lnTo>
                <a:lnTo>
                  <a:pt x="166" y="47"/>
                </a:lnTo>
                <a:lnTo>
                  <a:pt x="166" y="47"/>
                </a:lnTo>
                <a:lnTo>
                  <a:pt x="166" y="41"/>
                </a:lnTo>
                <a:lnTo>
                  <a:pt x="169" y="41"/>
                </a:lnTo>
                <a:lnTo>
                  <a:pt x="172" y="41"/>
                </a:lnTo>
                <a:lnTo>
                  <a:pt x="175" y="37"/>
                </a:lnTo>
                <a:lnTo>
                  <a:pt x="172" y="34"/>
                </a:lnTo>
                <a:lnTo>
                  <a:pt x="163" y="34"/>
                </a:lnTo>
                <a:lnTo>
                  <a:pt x="163" y="34"/>
                </a:lnTo>
                <a:lnTo>
                  <a:pt x="163" y="31"/>
                </a:lnTo>
                <a:lnTo>
                  <a:pt x="163" y="28"/>
                </a:lnTo>
                <a:lnTo>
                  <a:pt x="159" y="28"/>
                </a:lnTo>
                <a:lnTo>
                  <a:pt x="156" y="28"/>
                </a:lnTo>
                <a:lnTo>
                  <a:pt x="156" y="25"/>
                </a:lnTo>
                <a:lnTo>
                  <a:pt x="159" y="22"/>
                </a:lnTo>
                <a:lnTo>
                  <a:pt x="163" y="22"/>
                </a:lnTo>
                <a:lnTo>
                  <a:pt x="159" y="16"/>
                </a:lnTo>
                <a:lnTo>
                  <a:pt x="159" y="16"/>
                </a:lnTo>
                <a:lnTo>
                  <a:pt x="156" y="19"/>
                </a:lnTo>
                <a:lnTo>
                  <a:pt x="153" y="16"/>
                </a:lnTo>
                <a:lnTo>
                  <a:pt x="150" y="12"/>
                </a:lnTo>
                <a:lnTo>
                  <a:pt x="156" y="12"/>
                </a:lnTo>
                <a:lnTo>
                  <a:pt x="156" y="9"/>
                </a:lnTo>
                <a:lnTo>
                  <a:pt x="156" y="6"/>
                </a:lnTo>
                <a:lnTo>
                  <a:pt x="159" y="6"/>
                </a:lnTo>
                <a:lnTo>
                  <a:pt x="156" y="3"/>
                </a:lnTo>
                <a:lnTo>
                  <a:pt x="153" y="3"/>
                </a:lnTo>
                <a:lnTo>
                  <a:pt x="147" y="9"/>
                </a:lnTo>
                <a:lnTo>
                  <a:pt x="147" y="12"/>
                </a:lnTo>
                <a:lnTo>
                  <a:pt x="144" y="16"/>
                </a:lnTo>
                <a:lnTo>
                  <a:pt x="141" y="9"/>
                </a:lnTo>
                <a:lnTo>
                  <a:pt x="144" y="9"/>
                </a:lnTo>
                <a:lnTo>
                  <a:pt x="141" y="6"/>
                </a:lnTo>
                <a:lnTo>
                  <a:pt x="141" y="3"/>
                </a:lnTo>
                <a:lnTo>
                  <a:pt x="138" y="0"/>
                </a:lnTo>
                <a:lnTo>
                  <a:pt x="134" y="3"/>
                </a:lnTo>
                <a:lnTo>
                  <a:pt x="131" y="3"/>
                </a:lnTo>
                <a:lnTo>
                  <a:pt x="131" y="6"/>
                </a:lnTo>
                <a:lnTo>
                  <a:pt x="131" y="9"/>
                </a:lnTo>
                <a:lnTo>
                  <a:pt x="131" y="12"/>
                </a:lnTo>
                <a:lnTo>
                  <a:pt x="125" y="12"/>
                </a:lnTo>
                <a:lnTo>
                  <a:pt x="122" y="16"/>
                </a:lnTo>
                <a:lnTo>
                  <a:pt x="122" y="12"/>
                </a:lnTo>
                <a:lnTo>
                  <a:pt x="119" y="9"/>
                </a:lnTo>
                <a:lnTo>
                  <a:pt x="119" y="12"/>
                </a:lnTo>
                <a:lnTo>
                  <a:pt x="116" y="19"/>
                </a:lnTo>
                <a:lnTo>
                  <a:pt x="113" y="19"/>
                </a:lnTo>
                <a:lnTo>
                  <a:pt x="109" y="12"/>
                </a:lnTo>
                <a:lnTo>
                  <a:pt x="106" y="12"/>
                </a:lnTo>
                <a:lnTo>
                  <a:pt x="103" y="12"/>
                </a:lnTo>
                <a:lnTo>
                  <a:pt x="100" y="12"/>
                </a:lnTo>
                <a:lnTo>
                  <a:pt x="100" y="19"/>
                </a:lnTo>
                <a:lnTo>
                  <a:pt x="103" y="25"/>
                </a:lnTo>
                <a:lnTo>
                  <a:pt x="100" y="34"/>
                </a:lnTo>
                <a:lnTo>
                  <a:pt x="100" y="25"/>
                </a:lnTo>
                <a:lnTo>
                  <a:pt x="97" y="22"/>
                </a:lnTo>
                <a:lnTo>
                  <a:pt x="97" y="19"/>
                </a:lnTo>
                <a:lnTo>
                  <a:pt x="97" y="16"/>
                </a:lnTo>
                <a:lnTo>
                  <a:pt x="97" y="12"/>
                </a:lnTo>
                <a:lnTo>
                  <a:pt x="91" y="9"/>
                </a:lnTo>
                <a:lnTo>
                  <a:pt x="84" y="16"/>
                </a:lnTo>
                <a:lnTo>
                  <a:pt x="84" y="19"/>
                </a:lnTo>
                <a:lnTo>
                  <a:pt x="84" y="22"/>
                </a:lnTo>
                <a:lnTo>
                  <a:pt x="81" y="28"/>
                </a:lnTo>
                <a:lnTo>
                  <a:pt x="78" y="28"/>
                </a:lnTo>
                <a:lnTo>
                  <a:pt x="78" y="22"/>
                </a:lnTo>
                <a:lnTo>
                  <a:pt x="75" y="19"/>
                </a:lnTo>
                <a:lnTo>
                  <a:pt x="75" y="12"/>
                </a:lnTo>
                <a:lnTo>
                  <a:pt x="72" y="9"/>
                </a:lnTo>
                <a:lnTo>
                  <a:pt x="66" y="12"/>
                </a:lnTo>
                <a:lnTo>
                  <a:pt x="69" y="22"/>
                </a:lnTo>
                <a:lnTo>
                  <a:pt x="69" y="25"/>
                </a:lnTo>
                <a:lnTo>
                  <a:pt x="69" y="31"/>
                </a:lnTo>
                <a:lnTo>
                  <a:pt x="66" y="34"/>
                </a:lnTo>
                <a:lnTo>
                  <a:pt x="63" y="34"/>
                </a:lnTo>
                <a:lnTo>
                  <a:pt x="63" y="31"/>
                </a:lnTo>
                <a:lnTo>
                  <a:pt x="59" y="31"/>
                </a:lnTo>
                <a:lnTo>
                  <a:pt x="59" y="37"/>
                </a:lnTo>
                <a:lnTo>
                  <a:pt x="56" y="37"/>
                </a:lnTo>
                <a:lnTo>
                  <a:pt x="56" y="44"/>
                </a:lnTo>
                <a:lnTo>
                  <a:pt x="53" y="37"/>
                </a:lnTo>
                <a:lnTo>
                  <a:pt x="50" y="37"/>
                </a:lnTo>
                <a:lnTo>
                  <a:pt x="50" y="34"/>
                </a:lnTo>
                <a:lnTo>
                  <a:pt x="53" y="31"/>
                </a:lnTo>
                <a:lnTo>
                  <a:pt x="53" y="28"/>
                </a:lnTo>
                <a:lnTo>
                  <a:pt x="50" y="28"/>
                </a:lnTo>
                <a:lnTo>
                  <a:pt x="50" y="25"/>
                </a:lnTo>
                <a:lnTo>
                  <a:pt x="50" y="22"/>
                </a:lnTo>
                <a:lnTo>
                  <a:pt x="50" y="25"/>
                </a:lnTo>
                <a:lnTo>
                  <a:pt x="53" y="22"/>
                </a:lnTo>
                <a:lnTo>
                  <a:pt x="53" y="19"/>
                </a:lnTo>
                <a:lnTo>
                  <a:pt x="50" y="16"/>
                </a:lnTo>
                <a:lnTo>
                  <a:pt x="53" y="12"/>
                </a:lnTo>
                <a:lnTo>
                  <a:pt x="50" y="9"/>
                </a:lnTo>
                <a:lnTo>
                  <a:pt x="47" y="12"/>
                </a:lnTo>
                <a:lnTo>
                  <a:pt x="47" y="9"/>
                </a:lnTo>
                <a:lnTo>
                  <a:pt x="41" y="6"/>
                </a:lnTo>
                <a:lnTo>
                  <a:pt x="41" y="3"/>
                </a:lnTo>
                <a:lnTo>
                  <a:pt x="41" y="0"/>
                </a:lnTo>
                <a:lnTo>
                  <a:pt x="34" y="0"/>
                </a:lnTo>
                <a:lnTo>
                  <a:pt x="31" y="0"/>
                </a:lnTo>
                <a:lnTo>
                  <a:pt x="25" y="0"/>
                </a:lnTo>
                <a:lnTo>
                  <a:pt x="25" y="0"/>
                </a:lnTo>
                <a:lnTo>
                  <a:pt x="28" y="3"/>
                </a:lnTo>
                <a:lnTo>
                  <a:pt x="28" y="3"/>
                </a:lnTo>
                <a:lnTo>
                  <a:pt x="31" y="3"/>
                </a:lnTo>
                <a:lnTo>
                  <a:pt x="31" y="3"/>
                </a:lnTo>
                <a:lnTo>
                  <a:pt x="34" y="3"/>
                </a:lnTo>
                <a:lnTo>
                  <a:pt x="38" y="3"/>
                </a:lnTo>
                <a:lnTo>
                  <a:pt x="38" y="6"/>
                </a:lnTo>
                <a:lnTo>
                  <a:pt x="34" y="6"/>
                </a:lnTo>
                <a:lnTo>
                  <a:pt x="28" y="6"/>
                </a:lnTo>
                <a:lnTo>
                  <a:pt x="31" y="6"/>
                </a:lnTo>
                <a:lnTo>
                  <a:pt x="34" y="9"/>
                </a:lnTo>
                <a:lnTo>
                  <a:pt x="38" y="16"/>
                </a:lnTo>
                <a:lnTo>
                  <a:pt x="38" y="19"/>
                </a:lnTo>
                <a:lnTo>
                  <a:pt x="38" y="19"/>
                </a:lnTo>
                <a:lnTo>
                  <a:pt x="38" y="16"/>
                </a:lnTo>
                <a:lnTo>
                  <a:pt x="31" y="12"/>
                </a:lnTo>
                <a:lnTo>
                  <a:pt x="28" y="16"/>
                </a:lnTo>
                <a:lnTo>
                  <a:pt x="28" y="16"/>
                </a:lnTo>
                <a:lnTo>
                  <a:pt x="28" y="12"/>
                </a:lnTo>
                <a:lnTo>
                  <a:pt x="25" y="9"/>
                </a:lnTo>
                <a:lnTo>
                  <a:pt x="22" y="6"/>
                </a:lnTo>
                <a:lnTo>
                  <a:pt x="19" y="9"/>
                </a:lnTo>
                <a:lnTo>
                  <a:pt x="22" y="12"/>
                </a:lnTo>
                <a:lnTo>
                  <a:pt x="22" y="12"/>
                </a:lnTo>
                <a:lnTo>
                  <a:pt x="19" y="9"/>
                </a:lnTo>
                <a:lnTo>
                  <a:pt x="16" y="9"/>
                </a:lnTo>
                <a:lnTo>
                  <a:pt x="16" y="12"/>
                </a:lnTo>
                <a:lnTo>
                  <a:pt x="16" y="16"/>
                </a:lnTo>
                <a:lnTo>
                  <a:pt x="19" y="16"/>
                </a:lnTo>
                <a:lnTo>
                  <a:pt x="19" y="19"/>
                </a:lnTo>
                <a:lnTo>
                  <a:pt x="16" y="16"/>
                </a:lnTo>
                <a:lnTo>
                  <a:pt x="13" y="19"/>
                </a:lnTo>
                <a:lnTo>
                  <a:pt x="16" y="22"/>
                </a:lnTo>
                <a:lnTo>
                  <a:pt x="19" y="22"/>
                </a:lnTo>
                <a:lnTo>
                  <a:pt x="19" y="22"/>
                </a:lnTo>
                <a:lnTo>
                  <a:pt x="16" y="25"/>
                </a:lnTo>
                <a:lnTo>
                  <a:pt x="19" y="25"/>
                </a:lnTo>
                <a:lnTo>
                  <a:pt x="16" y="25"/>
                </a:lnTo>
                <a:lnTo>
                  <a:pt x="9" y="22"/>
                </a:lnTo>
                <a:lnTo>
                  <a:pt x="9" y="22"/>
                </a:lnTo>
                <a:lnTo>
                  <a:pt x="6" y="22"/>
                </a:lnTo>
                <a:lnTo>
                  <a:pt x="9" y="28"/>
                </a:lnTo>
                <a:lnTo>
                  <a:pt x="13" y="31"/>
                </a:lnTo>
                <a:lnTo>
                  <a:pt x="9" y="31"/>
                </a:lnTo>
                <a:lnTo>
                  <a:pt x="6" y="25"/>
                </a:lnTo>
                <a:lnTo>
                  <a:pt x="3" y="25"/>
                </a:lnTo>
                <a:lnTo>
                  <a:pt x="0" y="28"/>
                </a:lnTo>
                <a:lnTo>
                  <a:pt x="6" y="31"/>
                </a:lnTo>
                <a:lnTo>
                  <a:pt x="9" y="34"/>
                </a:lnTo>
                <a:lnTo>
                  <a:pt x="13" y="34"/>
                </a:lnTo>
                <a:lnTo>
                  <a:pt x="16" y="31"/>
                </a:lnTo>
                <a:lnTo>
                  <a:pt x="19" y="31"/>
                </a:lnTo>
                <a:lnTo>
                  <a:pt x="22" y="28"/>
                </a:lnTo>
                <a:lnTo>
                  <a:pt x="22" y="28"/>
                </a:lnTo>
                <a:lnTo>
                  <a:pt x="22" y="31"/>
                </a:lnTo>
                <a:lnTo>
                  <a:pt x="25" y="31"/>
                </a:lnTo>
                <a:lnTo>
                  <a:pt x="28" y="28"/>
                </a:lnTo>
                <a:lnTo>
                  <a:pt x="28" y="31"/>
                </a:lnTo>
                <a:lnTo>
                  <a:pt x="31" y="31"/>
                </a:lnTo>
                <a:lnTo>
                  <a:pt x="34" y="31"/>
                </a:lnTo>
                <a:lnTo>
                  <a:pt x="34" y="28"/>
                </a:lnTo>
                <a:lnTo>
                  <a:pt x="34" y="31"/>
                </a:lnTo>
                <a:lnTo>
                  <a:pt x="34" y="31"/>
                </a:lnTo>
                <a:lnTo>
                  <a:pt x="41" y="28"/>
                </a:lnTo>
                <a:lnTo>
                  <a:pt x="41" y="31"/>
                </a:lnTo>
                <a:lnTo>
                  <a:pt x="38" y="34"/>
                </a:lnTo>
                <a:lnTo>
                  <a:pt x="41" y="34"/>
                </a:lnTo>
                <a:lnTo>
                  <a:pt x="44" y="34"/>
                </a:lnTo>
                <a:lnTo>
                  <a:pt x="47" y="34"/>
                </a:lnTo>
                <a:lnTo>
                  <a:pt x="44" y="37"/>
                </a:lnTo>
                <a:lnTo>
                  <a:pt x="41" y="37"/>
                </a:lnTo>
                <a:lnTo>
                  <a:pt x="41" y="37"/>
                </a:lnTo>
                <a:lnTo>
                  <a:pt x="38" y="37"/>
                </a:lnTo>
                <a:lnTo>
                  <a:pt x="31" y="41"/>
                </a:lnTo>
                <a:lnTo>
                  <a:pt x="31" y="44"/>
                </a:lnTo>
                <a:lnTo>
                  <a:pt x="38" y="44"/>
                </a:lnTo>
                <a:lnTo>
                  <a:pt x="41" y="44"/>
                </a:lnTo>
                <a:lnTo>
                  <a:pt x="44" y="41"/>
                </a:lnTo>
                <a:lnTo>
                  <a:pt x="44" y="41"/>
                </a:lnTo>
                <a:lnTo>
                  <a:pt x="44" y="44"/>
                </a:lnTo>
                <a:lnTo>
                  <a:pt x="41" y="47"/>
                </a:lnTo>
                <a:lnTo>
                  <a:pt x="34" y="47"/>
                </a:lnTo>
                <a:lnTo>
                  <a:pt x="34" y="47"/>
                </a:lnTo>
                <a:lnTo>
                  <a:pt x="31" y="50"/>
                </a:lnTo>
                <a:lnTo>
                  <a:pt x="28" y="47"/>
                </a:lnTo>
                <a:lnTo>
                  <a:pt x="28" y="47"/>
                </a:lnTo>
                <a:lnTo>
                  <a:pt x="28" y="44"/>
                </a:lnTo>
                <a:lnTo>
                  <a:pt x="25" y="44"/>
                </a:lnTo>
                <a:lnTo>
                  <a:pt x="25" y="44"/>
                </a:lnTo>
                <a:lnTo>
                  <a:pt x="25" y="47"/>
                </a:lnTo>
                <a:lnTo>
                  <a:pt x="22" y="50"/>
                </a:lnTo>
                <a:lnTo>
                  <a:pt x="19" y="47"/>
                </a:lnTo>
                <a:lnTo>
                  <a:pt x="16" y="47"/>
                </a:lnTo>
                <a:lnTo>
                  <a:pt x="13" y="50"/>
                </a:lnTo>
                <a:lnTo>
                  <a:pt x="9" y="47"/>
                </a:lnTo>
                <a:lnTo>
                  <a:pt x="6" y="50"/>
                </a:lnTo>
                <a:lnTo>
                  <a:pt x="6" y="50"/>
                </a:lnTo>
                <a:lnTo>
                  <a:pt x="6" y="53"/>
                </a:lnTo>
                <a:lnTo>
                  <a:pt x="9" y="56"/>
                </a:lnTo>
                <a:lnTo>
                  <a:pt x="13" y="56"/>
                </a:lnTo>
                <a:lnTo>
                  <a:pt x="13" y="56"/>
                </a:lnTo>
                <a:lnTo>
                  <a:pt x="19" y="56"/>
                </a:lnTo>
                <a:lnTo>
                  <a:pt x="28" y="56"/>
                </a:lnTo>
                <a:lnTo>
                  <a:pt x="31" y="56"/>
                </a:lnTo>
                <a:lnTo>
                  <a:pt x="31" y="59"/>
                </a:lnTo>
                <a:lnTo>
                  <a:pt x="28" y="59"/>
                </a:lnTo>
                <a:lnTo>
                  <a:pt x="28" y="62"/>
                </a:lnTo>
                <a:lnTo>
                  <a:pt x="31" y="66"/>
                </a:lnTo>
                <a:lnTo>
                  <a:pt x="34" y="69"/>
                </a:lnTo>
                <a:lnTo>
                  <a:pt x="34" y="69"/>
                </a:lnTo>
                <a:lnTo>
                  <a:pt x="41" y="62"/>
                </a:lnTo>
                <a:lnTo>
                  <a:pt x="41" y="66"/>
                </a:lnTo>
                <a:lnTo>
                  <a:pt x="38" y="69"/>
                </a:lnTo>
                <a:lnTo>
                  <a:pt x="34" y="72"/>
                </a:lnTo>
                <a:lnTo>
                  <a:pt x="38" y="75"/>
                </a:lnTo>
                <a:lnTo>
                  <a:pt x="44" y="69"/>
                </a:lnTo>
                <a:lnTo>
                  <a:pt x="47" y="72"/>
                </a:lnTo>
                <a:lnTo>
                  <a:pt x="47" y="72"/>
                </a:lnTo>
                <a:lnTo>
                  <a:pt x="44" y="72"/>
                </a:lnTo>
                <a:lnTo>
                  <a:pt x="41" y="72"/>
                </a:lnTo>
                <a:lnTo>
                  <a:pt x="38" y="75"/>
                </a:lnTo>
                <a:lnTo>
                  <a:pt x="34" y="75"/>
                </a:lnTo>
                <a:lnTo>
                  <a:pt x="34" y="78"/>
                </a:lnTo>
                <a:lnTo>
                  <a:pt x="34" y="81"/>
                </a:lnTo>
                <a:lnTo>
                  <a:pt x="31" y="81"/>
                </a:lnTo>
                <a:lnTo>
                  <a:pt x="28" y="81"/>
                </a:lnTo>
                <a:lnTo>
                  <a:pt x="28" y="78"/>
                </a:lnTo>
                <a:lnTo>
                  <a:pt x="25" y="78"/>
                </a:lnTo>
                <a:lnTo>
                  <a:pt x="25" y="78"/>
                </a:lnTo>
                <a:lnTo>
                  <a:pt x="22" y="78"/>
                </a:lnTo>
                <a:lnTo>
                  <a:pt x="22" y="84"/>
                </a:lnTo>
                <a:lnTo>
                  <a:pt x="25" y="84"/>
                </a:lnTo>
                <a:lnTo>
                  <a:pt x="25" y="84"/>
                </a:lnTo>
                <a:lnTo>
                  <a:pt x="22" y="91"/>
                </a:lnTo>
                <a:lnTo>
                  <a:pt x="28" y="91"/>
                </a:lnTo>
                <a:lnTo>
                  <a:pt x="28" y="91"/>
                </a:lnTo>
                <a:lnTo>
                  <a:pt x="31" y="91"/>
                </a:lnTo>
                <a:lnTo>
                  <a:pt x="38" y="94"/>
                </a:lnTo>
                <a:lnTo>
                  <a:pt x="44" y="88"/>
                </a:lnTo>
                <a:lnTo>
                  <a:pt x="47" y="91"/>
                </a:lnTo>
                <a:lnTo>
                  <a:pt x="50" y="91"/>
                </a:lnTo>
                <a:lnTo>
                  <a:pt x="50" y="91"/>
                </a:lnTo>
                <a:lnTo>
                  <a:pt x="53" y="91"/>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5" name="Freeform 163">
            <a:extLst>
              <a:ext uri="{FF2B5EF4-FFF2-40B4-BE49-F238E27FC236}">
                <a16:creationId xmlns:a16="http://schemas.microsoft.com/office/drawing/2014/main" id="{F4961D79-4079-AD47-C138-3217006E9615}"/>
              </a:ext>
            </a:extLst>
          </p:cNvPr>
          <p:cNvSpPr>
            <a:spLocks noEditPoints="1"/>
          </p:cNvSpPr>
          <p:nvPr userDrawn="1"/>
        </p:nvSpPr>
        <p:spPr bwMode="auto">
          <a:xfrm>
            <a:off x="3295435" y="7885983"/>
            <a:ext cx="336528" cy="247650"/>
          </a:xfrm>
          <a:custGeom>
            <a:avLst/>
            <a:gdLst>
              <a:gd name="T0" fmla="*/ 3 w 106"/>
              <a:gd name="T1" fmla="*/ 10 h 78"/>
              <a:gd name="T2" fmla="*/ 6 w 106"/>
              <a:gd name="T3" fmla="*/ 6 h 78"/>
              <a:gd name="T4" fmla="*/ 3 w 106"/>
              <a:gd name="T5" fmla="*/ 3 h 78"/>
              <a:gd name="T6" fmla="*/ 0 w 106"/>
              <a:gd name="T7" fmla="*/ 6 h 78"/>
              <a:gd name="T8" fmla="*/ 3 w 106"/>
              <a:gd name="T9" fmla="*/ 10 h 78"/>
              <a:gd name="T10" fmla="*/ 3 w 106"/>
              <a:gd name="T11" fmla="*/ 10 h 78"/>
              <a:gd name="T12" fmla="*/ 22 w 106"/>
              <a:gd name="T13" fmla="*/ 6 h 78"/>
              <a:gd name="T14" fmla="*/ 22 w 106"/>
              <a:gd name="T15" fmla="*/ 0 h 78"/>
              <a:gd name="T16" fmla="*/ 22 w 106"/>
              <a:gd name="T17" fmla="*/ 0 h 78"/>
              <a:gd name="T18" fmla="*/ 19 w 106"/>
              <a:gd name="T19" fmla="*/ 0 h 78"/>
              <a:gd name="T20" fmla="*/ 16 w 106"/>
              <a:gd name="T21" fmla="*/ 3 h 78"/>
              <a:gd name="T22" fmla="*/ 19 w 106"/>
              <a:gd name="T23" fmla="*/ 6 h 78"/>
              <a:gd name="T24" fmla="*/ 22 w 106"/>
              <a:gd name="T25" fmla="*/ 6 h 78"/>
              <a:gd name="T26" fmla="*/ 22 w 106"/>
              <a:gd name="T27" fmla="*/ 6 h 78"/>
              <a:gd name="T28" fmla="*/ 53 w 106"/>
              <a:gd name="T29" fmla="*/ 19 h 78"/>
              <a:gd name="T30" fmla="*/ 50 w 106"/>
              <a:gd name="T31" fmla="*/ 16 h 78"/>
              <a:gd name="T32" fmla="*/ 47 w 106"/>
              <a:gd name="T33" fmla="*/ 13 h 78"/>
              <a:gd name="T34" fmla="*/ 44 w 106"/>
              <a:gd name="T35" fmla="*/ 13 h 78"/>
              <a:gd name="T36" fmla="*/ 44 w 106"/>
              <a:gd name="T37" fmla="*/ 16 h 78"/>
              <a:gd name="T38" fmla="*/ 47 w 106"/>
              <a:gd name="T39" fmla="*/ 22 h 78"/>
              <a:gd name="T40" fmla="*/ 53 w 106"/>
              <a:gd name="T41" fmla="*/ 22 h 78"/>
              <a:gd name="T42" fmla="*/ 53 w 106"/>
              <a:gd name="T43" fmla="*/ 19 h 78"/>
              <a:gd name="T44" fmla="*/ 53 w 106"/>
              <a:gd name="T45" fmla="*/ 19 h 78"/>
              <a:gd name="T46" fmla="*/ 69 w 106"/>
              <a:gd name="T47" fmla="*/ 25 h 78"/>
              <a:gd name="T48" fmla="*/ 66 w 106"/>
              <a:gd name="T49" fmla="*/ 25 h 78"/>
              <a:gd name="T50" fmla="*/ 66 w 106"/>
              <a:gd name="T51" fmla="*/ 25 h 78"/>
              <a:gd name="T52" fmla="*/ 62 w 106"/>
              <a:gd name="T53" fmla="*/ 25 h 78"/>
              <a:gd name="T54" fmla="*/ 66 w 106"/>
              <a:gd name="T55" fmla="*/ 25 h 78"/>
              <a:gd name="T56" fmla="*/ 72 w 106"/>
              <a:gd name="T57" fmla="*/ 22 h 78"/>
              <a:gd name="T58" fmla="*/ 69 w 106"/>
              <a:gd name="T59" fmla="*/ 25 h 78"/>
              <a:gd name="T60" fmla="*/ 69 w 106"/>
              <a:gd name="T61" fmla="*/ 25 h 78"/>
              <a:gd name="T62" fmla="*/ 78 w 106"/>
              <a:gd name="T63" fmla="*/ 35 h 78"/>
              <a:gd name="T64" fmla="*/ 75 w 106"/>
              <a:gd name="T65" fmla="*/ 31 h 78"/>
              <a:gd name="T66" fmla="*/ 72 w 106"/>
              <a:gd name="T67" fmla="*/ 31 h 78"/>
              <a:gd name="T68" fmla="*/ 72 w 106"/>
              <a:gd name="T69" fmla="*/ 28 h 78"/>
              <a:gd name="T70" fmla="*/ 72 w 106"/>
              <a:gd name="T71" fmla="*/ 28 h 78"/>
              <a:gd name="T72" fmla="*/ 75 w 106"/>
              <a:gd name="T73" fmla="*/ 28 h 78"/>
              <a:gd name="T74" fmla="*/ 81 w 106"/>
              <a:gd name="T75" fmla="*/ 31 h 78"/>
              <a:gd name="T76" fmla="*/ 84 w 106"/>
              <a:gd name="T77" fmla="*/ 35 h 78"/>
              <a:gd name="T78" fmla="*/ 81 w 106"/>
              <a:gd name="T79" fmla="*/ 35 h 78"/>
              <a:gd name="T80" fmla="*/ 78 w 106"/>
              <a:gd name="T81" fmla="*/ 35 h 78"/>
              <a:gd name="T82" fmla="*/ 78 w 106"/>
              <a:gd name="T83" fmla="*/ 35 h 78"/>
              <a:gd name="T84" fmla="*/ 84 w 106"/>
              <a:gd name="T85" fmla="*/ 60 h 78"/>
              <a:gd name="T86" fmla="*/ 84 w 106"/>
              <a:gd name="T87" fmla="*/ 66 h 78"/>
              <a:gd name="T88" fmla="*/ 84 w 106"/>
              <a:gd name="T89" fmla="*/ 75 h 78"/>
              <a:gd name="T90" fmla="*/ 91 w 106"/>
              <a:gd name="T91" fmla="*/ 78 h 78"/>
              <a:gd name="T92" fmla="*/ 97 w 106"/>
              <a:gd name="T93" fmla="*/ 69 h 78"/>
              <a:gd name="T94" fmla="*/ 103 w 106"/>
              <a:gd name="T95" fmla="*/ 66 h 78"/>
              <a:gd name="T96" fmla="*/ 106 w 106"/>
              <a:gd name="T97" fmla="*/ 63 h 78"/>
              <a:gd name="T98" fmla="*/ 103 w 106"/>
              <a:gd name="T99" fmla="*/ 60 h 78"/>
              <a:gd name="T100" fmla="*/ 100 w 106"/>
              <a:gd name="T101" fmla="*/ 60 h 78"/>
              <a:gd name="T102" fmla="*/ 103 w 106"/>
              <a:gd name="T103" fmla="*/ 57 h 78"/>
              <a:gd name="T104" fmla="*/ 97 w 106"/>
              <a:gd name="T105" fmla="*/ 50 h 78"/>
              <a:gd name="T106" fmla="*/ 94 w 106"/>
              <a:gd name="T107" fmla="*/ 50 h 78"/>
              <a:gd name="T108" fmla="*/ 91 w 106"/>
              <a:gd name="T109" fmla="*/ 47 h 78"/>
              <a:gd name="T110" fmla="*/ 87 w 106"/>
              <a:gd name="T111" fmla="*/ 44 h 78"/>
              <a:gd name="T112" fmla="*/ 84 w 106"/>
              <a:gd name="T113" fmla="*/ 47 h 78"/>
              <a:gd name="T114" fmla="*/ 87 w 106"/>
              <a:gd name="T115" fmla="*/ 50 h 78"/>
              <a:gd name="T116" fmla="*/ 84 w 106"/>
              <a:gd name="T117" fmla="*/ 53 h 78"/>
              <a:gd name="T118" fmla="*/ 84 w 106"/>
              <a:gd name="T119" fmla="*/ 57 h 78"/>
              <a:gd name="T120" fmla="*/ 84 w 106"/>
              <a:gd name="T121" fmla="*/ 6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6" h="78">
                <a:moveTo>
                  <a:pt x="3" y="10"/>
                </a:moveTo>
                <a:lnTo>
                  <a:pt x="6" y="6"/>
                </a:lnTo>
                <a:lnTo>
                  <a:pt x="3" y="3"/>
                </a:lnTo>
                <a:lnTo>
                  <a:pt x="0" y="6"/>
                </a:lnTo>
                <a:lnTo>
                  <a:pt x="3" y="10"/>
                </a:lnTo>
                <a:lnTo>
                  <a:pt x="3" y="10"/>
                </a:lnTo>
                <a:close/>
                <a:moveTo>
                  <a:pt x="22" y="6"/>
                </a:moveTo>
                <a:lnTo>
                  <a:pt x="22" y="0"/>
                </a:lnTo>
                <a:lnTo>
                  <a:pt x="22" y="0"/>
                </a:lnTo>
                <a:lnTo>
                  <a:pt x="19" y="0"/>
                </a:lnTo>
                <a:lnTo>
                  <a:pt x="16" y="3"/>
                </a:lnTo>
                <a:lnTo>
                  <a:pt x="19" y="6"/>
                </a:lnTo>
                <a:lnTo>
                  <a:pt x="22" y="6"/>
                </a:lnTo>
                <a:lnTo>
                  <a:pt x="22" y="6"/>
                </a:lnTo>
                <a:close/>
                <a:moveTo>
                  <a:pt x="53" y="19"/>
                </a:moveTo>
                <a:lnTo>
                  <a:pt x="50" y="16"/>
                </a:lnTo>
                <a:lnTo>
                  <a:pt x="47" y="13"/>
                </a:lnTo>
                <a:lnTo>
                  <a:pt x="44" y="13"/>
                </a:lnTo>
                <a:lnTo>
                  <a:pt x="44" y="16"/>
                </a:lnTo>
                <a:lnTo>
                  <a:pt x="47" y="22"/>
                </a:lnTo>
                <a:lnTo>
                  <a:pt x="53" y="22"/>
                </a:lnTo>
                <a:lnTo>
                  <a:pt x="53" y="19"/>
                </a:lnTo>
                <a:lnTo>
                  <a:pt x="53" y="19"/>
                </a:lnTo>
                <a:close/>
                <a:moveTo>
                  <a:pt x="69" y="25"/>
                </a:moveTo>
                <a:lnTo>
                  <a:pt x="66" y="25"/>
                </a:lnTo>
                <a:lnTo>
                  <a:pt x="66" y="25"/>
                </a:lnTo>
                <a:lnTo>
                  <a:pt x="62" y="25"/>
                </a:lnTo>
                <a:lnTo>
                  <a:pt x="66" y="25"/>
                </a:lnTo>
                <a:lnTo>
                  <a:pt x="72" y="22"/>
                </a:lnTo>
                <a:lnTo>
                  <a:pt x="69" y="25"/>
                </a:lnTo>
                <a:lnTo>
                  <a:pt x="69" y="25"/>
                </a:lnTo>
                <a:close/>
                <a:moveTo>
                  <a:pt x="78" y="35"/>
                </a:moveTo>
                <a:lnTo>
                  <a:pt x="75" y="31"/>
                </a:lnTo>
                <a:lnTo>
                  <a:pt x="72" y="31"/>
                </a:lnTo>
                <a:lnTo>
                  <a:pt x="72" y="28"/>
                </a:lnTo>
                <a:lnTo>
                  <a:pt x="72" y="28"/>
                </a:lnTo>
                <a:lnTo>
                  <a:pt x="75" y="28"/>
                </a:lnTo>
                <a:lnTo>
                  <a:pt x="81" y="31"/>
                </a:lnTo>
                <a:lnTo>
                  <a:pt x="84" y="35"/>
                </a:lnTo>
                <a:lnTo>
                  <a:pt x="81" y="35"/>
                </a:lnTo>
                <a:lnTo>
                  <a:pt x="78" y="35"/>
                </a:lnTo>
                <a:lnTo>
                  <a:pt x="78" y="35"/>
                </a:lnTo>
                <a:close/>
                <a:moveTo>
                  <a:pt x="84" y="60"/>
                </a:moveTo>
                <a:lnTo>
                  <a:pt x="84" y="66"/>
                </a:lnTo>
                <a:lnTo>
                  <a:pt x="84" y="75"/>
                </a:lnTo>
                <a:lnTo>
                  <a:pt x="91" y="78"/>
                </a:lnTo>
                <a:lnTo>
                  <a:pt x="97" y="69"/>
                </a:lnTo>
                <a:lnTo>
                  <a:pt x="103" y="66"/>
                </a:lnTo>
                <a:lnTo>
                  <a:pt x="106" y="63"/>
                </a:lnTo>
                <a:lnTo>
                  <a:pt x="103" y="60"/>
                </a:lnTo>
                <a:lnTo>
                  <a:pt x="100" y="60"/>
                </a:lnTo>
                <a:lnTo>
                  <a:pt x="103" y="57"/>
                </a:lnTo>
                <a:lnTo>
                  <a:pt x="97" y="50"/>
                </a:lnTo>
                <a:lnTo>
                  <a:pt x="94" y="50"/>
                </a:lnTo>
                <a:lnTo>
                  <a:pt x="91" y="47"/>
                </a:lnTo>
                <a:lnTo>
                  <a:pt x="87" y="44"/>
                </a:lnTo>
                <a:lnTo>
                  <a:pt x="84" y="47"/>
                </a:lnTo>
                <a:lnTo>
                  <a:pt x="87" y="50"/>
                </a:lnTo>
                <a:lnTo>
                  <a:pt x="84" y="53"/>
                </a:lnTo>
                <a:lnTo>
                  <a:pt x="84" y="57"/>
                </a:lnTo>
                <a:lnTo>
                  <a:pt x="84" y="6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6" name="Freeform 164">
            <a:extLst>
              <a:ext uri="{FF2B5EF4-FFF2-40B4-BE49-F238E27FC236}">
                <a16:creationId xmlns:a16="http://schemas.microsoft.com/office/drawing/2014/main" id="{76D2C372-3C2B-3DB4-DE79-56459AA5855B}"/>
              </a:ext>
            </a:extLst>
          </p:cNvPr>
          <p:cNvSpPr>
            <a:spLocks noEditPoints="1"/>
          </p:cNvSpPr>
          <p:nvPr userDrawn="1"/>
        </p:nvSpPr>
        <p:spPr bwMode="auto">
          <a:xfrm>
            <a:off x="7502031" y="9387757"/>
            <a:ext cx="130168" cy="88902"/>
          </a:xfrm>
          <a:custGeom>
            <a:avLst/>
            <a:gdLst>
              <a:gd name="T0" fmla="*/ 38 w 41"/>
              <a:gd name="T1" fmla="*/ 21 h 28"/>
              <a:gd name="T2" fmla="*/ 35 w 41"/>
              <a:gd name="T3" fmla="*/ 25 h 28"/>
              <a:gd name="T4" fmla="*/ 35 w 41"/>
              <a:gd name="T5" fmla="*/ 28 h 28"/>
              <a:gd name="T6" fmla="*/ 41 w 41"/>
              <a:gd name="T7" fmla="*/ 21 h 28"/>
              <a:gd name="T8" fmla="*/ 41 w 41"/>
              <a:gd name="T9" fmla="*/ 21 h 28"/>
              <a:gd name="T10" fmla="*/ 38 w 41"/>
              <a:gd name="T11" fmla="*/ 21 h 28"/>
              <a:gd name="T12" fmla="*/ 38 w 41"/>
              <a:gd name="T13" fmla="*/ 21 h 28"/>
              <a:gd name="T14" fmla="*/ 22 w 41"/>
              <a:gd name="T15" fmla="*/ 15 h 28"/>
              <a:gd name="T16" fmla="*/ 25 w 41"/>
              <a:gd name="T17" fmla="*/ 15 h 28"/>
              <a:gd name="T18" fmla="*/ 28 w 41"/>
              <a:gd name="T19" fmla="*/ 15 h 28"/>
              <a:gd name="T20" fmla="*/ 25 w 41"/>
              <a:gd name="T21" fmla="*/ 18 h 28"/>
              <a:gd name="T22" fmla="*/ 22 w 41"/>
              <a:gd name="T23" fmla="*/ 15 h 28"/>
              <a:gd name="T24" fmla="*/ 22 w 41"/>
              <a:gd name="T25" fmla="*/ 15 h 28"/>
              <a:gd name="T26" fmla="*/ 16 w 41"/>
              <a:gd name="T27" fmla="*/ 6 h 28"/>
              <a:gd name="T28" fmla="*/ 16 w 41"/>
              <a:gd name="T29" fmla="*/ 9 h 28"/>
              <a:gd name="T30" fmla="*/ 19 w 41"/>
              <a:gd name="T31" fmla="*/ 9 h 28"/>
              <a:gd name="T32" fmla="*/ 16 w 41"/>
              <a:gd name="T33" fmla="*/ 6 h 28"/>
              <a:gd name="T34" fmla="*/ 16 w 41"/>
              <a:gd name="T35" fmla="*/ 6 h 28"/>
              <a:gd name="T36" fmla="*/ 0 w 41"/>
              <a:gd name="T37" fmla="*/ 12 h 28"/>
              <a:gd name="T38" fmla="*/ 3 w 41"/>
              <a:gd name="T39" fmla="*/ 12 h 28"/>
              <a:gd name="T40" fmla="*/ 3 w 41"/>
              <a:gd name="T41" fmla="*/ 15 h 28"/>
              <a:gd name="T42" fmla="*/ 0 w 41"/>
              <a:gd name="T43" fmla="*/ 15 h 28"/>
              <a:gd name="T44" fmla="*/ 0 w 41"/>
              <a:gd name="T45" fmla="*/ 12 h 28"/>
              <a:gd name="T46" fmla="*/ 0 w 41"/>
              <a:gd name="T47" fmla="*/ 12 h 28"/>
              <a:gd name="T48" fmla="*/ 0 w 41"/>
              <a:gd name="T49" fmla="*/ 12 h 28"/>
              <a:gd name="T50" fmla="*/ 3 w 41"/>
              <a:gd name="T51" fmla="*/ 6 h 28"/>
              <a:gd name="T52" fmla="*/ 6 w 41"/>
              <a:gd name="T53" fmla="*/ 6 h 28"/>
              <a:gd name="T54" fmla="*/ 6 w 41"/>
              <a:gd name="T55" fmla="*/ 12 h 28"/>
              <a:gd name="T56" fmla="*/ 10 w 41"/>
              <a:gd name="T57" fmla="*/ 18 h 28"/>
              <a:gd name="T58" fmla="*/ 6 w 41"/>
              <a:gd name="T59" fmla="*/ 18 h 28"/>
              <a:gd name="T60" fmla="*/ 3 w 41"/>
              <a:gd name="T61" fmla="*/ 25 h 28"/>
              <a:gd name="T62" fmla="*/ 6 w 41"/>
              <a:gd name="T63" fmla="*/ 25 h 28"/>
              <a:gd name="T64" fmla="*/ 13 w 41"/>
              <a:gd name="T65" fmla="*/ 25 h 28"/>
              <a:gd name="T66" fmla="*/ 13 w 41"/>
              <a:gd name="T67" fmla="*/ 18 h 28"/>
              <a:gd name="T68" fmla="*/ 10 w 41"/>
              <a:gd name="T69" fmla="*/ 15 h 28"/>
              <a:gd name="T70" fmla="*/ 10 w 41"/>
              <a:gd name="T71" fmla="*/ 12 h 28"/>
              <a:gd name="T72" fmla="*/ 10 w 41"/>
              <a:gd name="T73" fmla="*/ 9 h 28"/>
              <a:gd name="T74" fmla="*/ 10 w 41"/>
              <a:gd name="T75" fmla="*/ 3 h 28"/>
              <a:gd name="T76" fmla="*/ 6 w 41"/>
              <a:gd name="T77" fmla="*/ 0 h 28"/>
              <a:gd name="T78" fmla="*/ 3 w 41"/>
              <a:gd name="T79" fmla="*/ 3 h 28"/>
              <a:gd name="T80" fmla="*/ 3 w 41"/>
              <a:gd name="T81"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 h="28">
                <a:moveTo>
                  <a:pt x="38" y="21"/>
                </a:moveTo>
                <a:lnTo>
                  <a:pt x="35" y="25"/>
                </a:lnTo>
                <a:lnTo>
                  <a:pt x="35" y="28"/>
                </a:lnTo>
                <a:lnTo>
                  <a:pt x="41" y="21"/>
                </a:lnTo>
                <a:lnTo>
                  <a:pt x="41" y="21"/>
                </a:lnTo>
                <a:lnTo>
                  <a:pt x="38" y="21"/>
                </a:lnTo>
                <a:lnTo>
                  <a:pt x="38" y="21"/>
                </a:lnTo>
                <a:close/>
                <a:moveTo>
                  <a:pt x="22" y="15"/>
                </a:moveTo>
                <a:lnTo>
                  <a:pt x="25" y="15"/>
                </a:lnTo>
                <a:lnTo>
                  <a:pt x="28" y="15"/>
                </a:lnTo>
                <a:lnTo>
                  <a:pt x="25" y="18"/>
                </a:lnTo>
                <a:lnTo>
                  <a:pt x="22" y="15"/>
                </a:lnTo>
                <a:lnTo>
                  <a:pt x="22" y="15"/>
                </a:lnTo>
                <a:close/>
                <a:moveTo>
                  <a:pt x="16" y="6"/>
                </a:moveTo>
                <a:lnTo>
                  <a:pt x="16" y="9"/>
                </a:lnTo>
                <a:lnTo>
                  <a:pt x="19" y="9"/>
                </a:lnTo>
                <a:lnTo>
                  <a:pt x="16" y="6"/>
                </a:lnTo>
                <a:lnTo>
                  <a:pt x="16" y="6"/>
                </a:lnTo>
                <a:close/>
                <a:moveTo>
                  <a:pt x="0" y="12"/>
                </a:moveTo>
                <a:lnTo>
                  <a:pt x="3" y="12"/>
                </a:lnTo>
                <a:lnTo>
                  <a:pt x="3" y="15"/>
                </a:lnTo>
                <a:lnTo>
                  <a:pt x="0" y="15"/>
                </a:lnTo>
                <a:lnTo>
                  <a:pt x="0" y="12"/>
                </a:lnTo>
                <a:lnTo>
                  <a:pt x="0" y="12"/>
                </a:lnTo>
                <a:lnTo>
                  <a:pt x="0" y="12"/>
                </a:lnTo>
                <a:close/>
                <a:moveTo>
                  <a:pt x="3" y="6"/>
                </a:moveTo>
                <a:lnTo>
                  <a:pt x="6" y="6"/>
                </a:lnTo>
                <a:lnTo>
                  <a:pt x="6" y="12"/>
                </a:lnTo>
                <a:lnTo>
                  <a:pt x="10" y="18"/>
                </a:lnTo>
                <a:lnTo>
                  <a:pt x="6" y="18"/>
                </a:lnTo>
                <a:lnTo>
                  <a:pt x="3" y="25"/>
                </a:lnTo>
                <a:lnTo>
                  <a:pt x="6" y="25"/>
                </a:lnTo>
                <a:lnTo>
                  <a:pt x="13" y="25"/>
                </a:lnTo>
                <a:lnTo>
                  <a:pt x="13" y="18"/>
                </a:lnTo>
                <a:lnTo>
                  <a:pt x="10" y="15"/>
                </a:lnTo>
                <a:lnTo>
                  <a:pt x="10" y="12"/>
                </a:lnTo>
                <a:lnTo>
                  <a:pt x="10" y="9"/>
                </a:lnTo>
                <a:lnTo>
                  <a:pt x="10" y="3"/>
                </a:lnTo>
                <a:lnTo>
                  <a:pt x="6" y="0"/>
                </a:lnTo>
                <a:lnTo>
                  <a:pt x="3" y="3"/>
                </a:lnTo>
                <a:lnTo>
                  <a:pt x="3" y="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7" name="Freeform 165">
            <a:extLst>
              <a:ext uri="{FF2B5EF4-FFF2-40B4-BE49-F238E27FC236}">
                <a16:creationId xmlns:a16="http://schemas.microsoft.com/office/drawing/2014/main" id="{87F6AE99-410E-8475-5607-DF12892BB47A}"/>
              </a:ext>
            </a:extLst>
          </p:cNvPr>
          <p:cNvSpPr>
            <a:spLocks noEditPoints="1"/>
          </p:cNvSpPr>
          <p:nvPr userDrawn="1"/>
        </p:nvSpPr>
        <p:spPr bwMode="auto">
          <a:xfrm>
            <a:off x="9191027" y="8203481"/>
            <a:ext cx="196837" cy="88902"/>
          </a:xfrm>
          <a:custGeom>
            <a:avLst/>
            <a:gdLst>
              <a:gd name="T0" fmla="*/ 56 w 62"/>
              <a:gd name="T1" fmla="*/ 22 h 28"/>
              <a:gd name="T2" fmla="*/ 62 w 62"/>
              <a:gd name="T3" fmla="*/ 25 h 28"/>
              <a:gd name="T4" fmla="*/ 59 w 62"/>
              <a:gd name="T5" fmla="*/ 28 h 28"/>
              <a:gd name="T6" fmla="*/ 56 w 62"/>
              <a:gd name="T7" fmla="*/ 25 h 28"/>
              <a:gd name="T8" fmla="*/ 56 w 62"/>
              <a:gd name="T9" fmla="*/ 22 h 28"/>
              <a:gd name="T10" fmla="*/ 56 w 62"/>
              <a:gd name="T11" fmla="*/ 22 h 28"/>
              <a:gd name="T12" fmla="*/ 59 w 62"/>
              <a:gd name="T13" fmla="*/ 10 h 28"/>
              <a:gd name="T14" fmla="*/ 56 w 62"/>
              <a:gd name="T15" fmla="*/ 13 h 28"/>
              <a:gd name="T16" fmla="*/ 59 w 62"/>
              <a:gd name="T17" fmla="*/ 16 h 28"/>
              <a:gd name="T18" fmla="*/ 62 w 62"/>
              <a:gd name="T19" fmla="*/ 13 h 28"/>
              <a:gd name="T20" fmla="*/ 59 w 62"/>
              <a:gd name="T21" fmla="*/ 10 h 28"/>
              <a:gd name="T22" fmla="*/ 59 w 62"/>
              <a:gd name="T23" fmla="*/ 10 h 28"/>
              <a:gd name="T24" fmla="*/ 40 w 62"/>
              <a:gd name="T25" fmla="*/ 16 h 28"/>
              <a:gd name="T26" fmla="*/ 37 w 62"/>
              <a:gd name="T27" fmla="*/ 19 h 28"/>
              <a:gd name="T28" fmla="*/ 40 w 62"/>
              <a:gd name="T29" fmla="*/ 22 h 28"/>
              <a:gd name="T30" fmla="*/ 43 w 62"/>
              <a:gd name="T31" fmla="*/ 22 h 28"/>
              <a:gd name="T32" fmla="*/ 40 w 62"/>
              <a:gd name="T33" fmla="*/ 16 h 28"/>
              <a:gd name="T34" fmla="*/ 40 w 62"/>
              <a:gd name="T35" fmla="*/ 16 h 28"/>
              <a:gd name="T36" fmla="*/ 31 w 62"/>
              <a:gd name="T37" fmla="*/ 3 h 28"/>
              <a:gd name="T38" fmla="*/ 34 w 62"/>
              <a:gd name="T39" fmla="*/ 0 h 28"/>
              <a:gd name="T40" fmla="*/ 40 w 62"/>
              <a:gd name="T41" fmla="*/ 0 h 28"/>
              <a:gd name="T42" fmla="*/ 37 w 62"/>
              <a:gd name="T43" fmla="*/ 7 h 28"/>
              <a:gd name="T44" fmla="*/ 37 w 62"/>
              <a:gd name="T45" fmla="*/ 10 h 28"/>
              <a:gd name="T46" fmla="*/ 31 w 62"/>
              <a:gd name="T47" fmla="*/ 7 h 28"/>
              <a:gd name="T48" fmla="*/ 31 w 62"/>
              <a:gd name="T49" fmla="*/ 3 h 28"/>
              <a:gd name="T50" fmla="*/ 31 w 62"/>
              <a:gd name="T51" fmla="*/ 3 h 28"/>
              <a:gd name="T52" fmla="*/ 6 w 62"/>
              <a:gd name="T53" fmla="*/ 10 h 28"/>
              <a:gd name="T54" fmla="*/ 6 w 62"/>
              <a:gd name="T55" fmla="*/ 13 h 28"/>
              <a:gd name="T56" fmla="*/ 0 w 62"/>
              <a:gd name="T57" fmla="*/ 13 h 28"/>
              <a:gd name="T58" fmla="*/ 6 w 62"/>
              <a:gd name="T59"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2" h="28">
                <a:moveTo>
                  <a:pt x="56" y="22"/>
                </a:moveTo>
                <a:lnTo>
                  <a:pt x="62" y="25"/>
                </a:lnTo>
                <a:lnTo>
                  <a:pt x="59" y="28"/>
                </a:lnTo>
                <a:lnTo>
                  <a:pt x="56" y="25"/>
                </a:lnTo>
                <a:lnTo>
                  <a:pt x="56" y="22"/>
                </a:lnTo>
                <a:lnTo>
                  <a:pt x="56" y="22"/>
                </a:lnTo>
                <a:close/>
                <a:moveTo>
                  <a:pt x="59" y="10"/>
                </a:moveTo>
                <a:lnTo>
                  <a:pt x="56" y="13"/>
                </a:lnTo>
                <a:lnTo>
                  <a:pt x="59" y="16"/>
                </a:lnTo>
                <a:lnTo>
                  <a:pt x="62" y="13"/>
                </a:lnTo>
                <a:lnTo>
                  <a:pt x="59" y="10"/>
                </a:lnTo>
                <a:lnTo>
                  <a:pt x="59" y="10"/>
                </a:lnTo>
                <a:close/>
                <a:moveTo>
                  <a:pt x="40" y="16"/>
                </a:moveTo>
                <a:lnTo>
                  <a:pt x="37" y="19"/>
                </a:lnTo>
                <a:lnTo>
                  <a:pt x="40" y="22"/>
                </a:lnTo>
                <a:lnTo>
                  <a:pt x="43" y="22"/>
                </a:lnTo>
                <a:lnTo>
                  <a:pt x="40" y="16"/>
                </a:lnTo>
                <a:lnTo>
                  <a:pt x="40" y="16"/>
                </a:lnTo>
                <a:close/>
                <a:moveTo>
                  <a:pt x="31" y="3"/>
                </a:moveTo>
                <a:lnTo>
                  <a:pt x="34" y="0"/>
                </a:lnTo>
                <a:lnTo>
                  <a:pt x="40" y="0"/>
                </a:lnTo>
                <a:lnTo>
                  <a:pt x="37" y="7"/>
                </a:lnTo>
                <a:lnTo>
                  <a:pt x="37" y="10"/>
                </a:lnTo>
                <a:lnTo>
                  <a:pt x="31" y="7"/>
                </a:lnTo>
                <a:lnTo>
                  <a:pt x="31" y="3"/>
                </a:lnTo>
                <a:lnTo>
                  <a:pt x="31" y="3"/>
                </a:lnTo>
                <a:close/>
                <a:moveTo>
                  <a:pt x="6" y="10"/>
                </a:moveTo>
                <a:lnTo>
                  <a:pt x="6" y="13"/>
                </a:lnTo>
                <a:lnTo>
                  <a:pt x="0" y="13"/>
                </a:lnTo>
                <a:lnTo>
                  <a:pt x="6" y="1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8" name="Freeform 166">
            <a:extLst>
              <a:ext uri="{FF2B5EF4-FFF2-40B4-BE49-F238E27FC236}">
                <a16:creationId xmlns:a16="http://schemas.microsoft.com/office/drawing/2014/main" id="{2A2FFDB4-C669-AB6B-DE0C-E275EFB27300}"/>
              </a:ext>
            </a:extLst>
          </p:cNvPr>
          <p:cNvSpPr>
            <a:spLocks noEditPoints="1"/>
          </p:cNvSpPr>
          <p:nvPr userDrawn="1"/>
        </p:nvSpPr>
        <p:spPr bwMode="auto">
          <a:xfrm>
            <a:off x="9041811" y="8193959"/>
            <a:ext cx="136517" cy="41278"/>
          </a:xfrm>
          <a:custGeom>
            <a:avLst/>
            <a:gdLst>
              <a:gd name="T0" fmla="*/ 34 w 43"/>
              <a:gd name="T1" fmla="*/ 13 h 13"/>
              <a:gd name="T2" fmla="*/ 37 w 43"/>
              <a:gd name="T3" fmla="*/ 10 h 13"/>
              <a:gd name="T4" fmla="*/ 43 w 43"/>
              <a:gd name="T5" fmla="*/ 10 h 13"/>
              <a:gd name="T6" fmla="*/ 40 w 43"/>
              <a:gd name="T7" fmla="*/ 10 h 13"/>
              <a:gd name="T8" fmla="*/ 34 w 43"/>
              <a:gd name="T9" fmla="*/ 13 h 13"/>
              <a:gd name="T10" fmla="*/ 34 w 43"/>
              <a:gd name="T11" fmla="*/ 13 h 13"/>
              <a:gd name="T12" fmla="*/ 31 w 43"/>
              <a:gd name="T13" fmla="*/ 0 h 13"/>
              <a:gd name="T14" fmla="*/ 28 w 43"/>
              <a:gd name="T15" fmla="*/ 0 h 13"/>
              <a:gd name="T16" fmla="*/ 22 w 43"/>
              <a:gd name="T17" fmla="*/ 0 h 13"/>
              <a:gd name="T18" fmla="*/ 6 w 43"/>
              <a:gd name="T19" fmla="*/ 0 h 13"/>
              <a:gd name="T20" fmla="*/ 6 w 43"/>
              <a:gd name="T21" fmla="*/ 3 h 13"/>
              <a:gd name="T22" fmla="*/ 0 w 43"/>
              <a:gd name="T23" fmla="*/ 3 h 13"/>
              <a:gd name="T24" fmla="*/ 3 w 43"/>
              <a:gd name="T25" fmla="*/ 6 h 13"/>
              <a:gd name="T26" fmla="*/ 0 w 43"/>
              <a:gd name="T27" fmla="*/ 10 h 13"/>
              <a:gd name="T28" fmla="*/ 3 w 43"/>
              <a:gd name="T29" fmla="*/ 13 h 13"/>
              <a:gd name="T30" fmla="*/ 12 w 43"/>
              <a:gd name="T31" fmla="*/ 13 h 13"/>
              <a:gd name="T32" fmla="*/ 15 w 43"/>
              <a:gd name="T33" fmla="*/ 13 h 13"/>
              <a:gd name="T34" fmla="*/ 22 w 43"/>
              <a:gd name="T35" fmla="*/ 13 h 13"/>
              <a:gd name="T36" fmla="*/ 25 w 43"/>
              <a:gd name="T37" fmla="*/ 13 h 13"/>
              <a:gd name="T38" fmla="*/ 31 w 43"/>
              <a:gd name="T39" fmla="*/ 10 h 13"/>
              <a:gd name="T40" fmla="*/ 34 w 43"/>
              <a:gd name="T41" fmla="*/ 6 h 13"/>
              <a:gd name="T42" fmla="*/ 31 w 43"/>
              <a:gd name="T43" fmla="*/ 3 h 13"/>
              <a:gd name="T44" fmla="*/ 31 w 43"/>
              <a:gd name="T4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 h="13">
                <a:moveTo>
                  <a:pt x="34" y="13"/>
                </a:moveTo>
                <a:lnTo>
                  <a:pt x="37" y="10"/>
                </a:lnTo>
                <a:lnTo>
                  <a:pt x="43" y="10"/>
                </a:lnTo>
                <a:lnTo>
                  <a:pt x="40" y="10"/>
                </a:lnTo>
                <a:lnTo>
                  <a:pt x="34" y="13"/>
                </a:lnTo>
                <a:lnTo>
                  <a:pt x="34" y="13"/>
                </a:lnTo>
                <a:close/>
                <a:moveTo>
                  <a:pt x="31" y="0"/>
                </a:moveTo>
                <a:lnTo>
                  <a:pt x="28" y="0"/>
                </a:lnTo>
                <a:lnTo>
                  <a:pt x="22" y="0"/>
                </a:lnTo>
                <a:lnTo>
                  <a:pt x="6" y="0"/>
                </a:lnTo>
                <a:lnTo>
                  <a:pt x="6" y="3"/>
                </a:lnTo>
                <a:lnTo>
                  <a:pt x="0" y="3"/>
                </a:lnTo>
                <a:lnTo>
                  <a:pt x="3" y="6"/>
                </a:lnTo>
                <a:lnTo>
                  <a:pt x="0" y="10"/>
                </a:lnTo>
                <a:lnTo>
                  <a:pt x="3" y="13"/>
                </a:lnTo>
                <a:lnTo>
                  <a:pt x="12" y="13"/>
                </a:lnTo>
                <a:lnTo>
                  <a:pt x="15" y="13"/>
                </a:lnTo>
                <a:lnTo>
                  <a:pt x="22" y="13"/>
                </a:lnTo>
                <a:lnTo>
                  <a:pt x="25" y="13"/>
                </a:lnTo>
                <a:lnTo>
                  <a:pt x="31" y="10"/>
                </a:lnTo>
                <a:lnTo>
                  <a:pt x="34" y="6"/>
                </a:lnTo>
                <a:lnTo>
                  <a:pt x="31" y="3"/>
                </a:lnTo>
                <a:lnTo>
                  <a:pt x="31"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9" name="Freeform 167">
            <a:extLst>
              <a:ext uri="{FF2B5EF4-FFF2-40B4-BE49-F238E27FC236}">
                <a16:creationId xmlns:a16="http://schemas.microsoft.com/office/drawing/2014/main" id="{37A4C95F-8893-8A0F-E96D-9C840062B54C}"/>
              </a:ext>
            </a:extLst>
          </p:cNvPr>
          <p:cNvSpPr>
            <a:spLocks noEditPoints="1"/>
          </p:cNvSpPr>
          <p:nvPr userDrawn="1"/>
        </p:nvSpPr>
        <p:spPr bwMode="auto">
          <a:xfrm>
            <a:off x="8752905" y="8095531"/>
            <a:ext cx="238111" cy="168278"/>
          </a:xfrm>
          <a:custGeom>
            <a:avLst/>
            <a:gdLst>
              <a:gd name="T0" fmla="*/ 69 w 75"/>
              <a:gd name="T1" fmla="*/ 37 h 53"/>
              <a:gd name="T2" fmla="*/ 69 w 75"/>
              <a:gd name="T3" fmla="*/ 41 h 53"/>
              <a:gd name="T4" fmla="*/ 66 w 75"/>
              <a:gd name="T5" fmla="*/ 37 h 53"/>
              <a:gd name="T6" fmla="*/ 66 w 75"/>
              <a:gd name="T7" fmla="*/ 37 h 53"/>
              <a:gd name="T8" fmla="*/ 6 w 75"/>
              <a:gd name="T9" fmla="*/ 9 h 53"/>
              <a:gd name="T10" fmla="*/ 6 w 75"/>
              <a:gd name="T11" fmla="*/ 16 h 53"/>
              <a:gd name="T12" fmla="*/ 3 w 75"/>
              <a:gd name="T13" fmla="*/ 22 h 53"/>
              <a:gd name="T14" fmla="*/ 3 w 75"/>
              <a:gd name="T15" fmla="*/ 25 h 53"/>
              <a:gd name="T16" fmla="*/ 3 w 75"/>
              <a:gd name="T17" fmla="*/ 31 h 53"/>
              <a:gd name="T18" fmla="*/ 0 w 75"/>
              <a:gd name="T19" fmla="*/ 41 h 53"/>
              <a:gd name="T20" fmla="*/ 3 w 75"/>
              <a:gd name="T21" fmla="*/ 44 h 53"/>
              <a:gd name="T22" fmla="*/ 6 w 75"/>
              <a:gd name="T23" fmla="*/ 47 h 53"/>
              <a:gd name="T24" fmla="*/ 9 w 75"/>
              <a:gd name="T25" fmla="*/ 53 h 53"/>
              <a:gd name="T26" fmla="*/ 16 w 75"/>
              <a:gd name="T27" fmla="*/ 41 h 53"/>
              <a:gd name="T28" fmla="*/ 19 w 75"/>
              <a:gd name="T29" fmla="*/ 34 h 53"/>
              <a:gd name="T30" fmla="*/ 22 w 75"/>
              <a:gd name="T31" fmla="*/ 37 h 53"/>
              <a:gd name="T32" fmla="*/ 28 w 75"/>
              <a:gd name="T33" fmla="*/ 34 h 53"/>
              <a:gd name="T34" fmla="*/ 31 w 75"/>
              <a:gd name="T35" fmla="*/ 41 h 53"/>
              <a:gd name="T36" fmla="*/ 41 w 75"/>
              <a:gd name="T37" fmla="*/ 34 h 53"/>
              <a:gd name="T38" fmla="*/ 53 w 75"/>
              <a:gd name="T39" fmla="*/ 34 h 53"/>
              <a:gd name="T40" fmla="*/ 59 w 75"/>
              <a:gd name="T41" fmla="*/ 34 h 53"/>
              <a:gd name="T42" fmla="*/ 69 w 75"/>
              <a:gd name="T43" fmla="*/ 34 h 53"/>
              <a:gd name="T44" fmla="*/ 72 w 75"/>
              <a:gd name="T45" fmla="*/ 31 h 53"/>
              <a:gd name="T46" fmla="*/ 72 w 75"/>
              <a:gd name="T47" fmla="*/ 25 h 53"/>
              <a:gd name="T48" fmla="*/ 63 w 75"/>
              <a:gd name="T49" fmla="*/ 22 h 53"/>
              <a:gd name="T50" fmla="*/ 53 w 75"/>
              <a:gd name="T51" fmla="*/ 22 h 53"/>
              <a:gd name="T52" fmla="*/ 44 w 75"/>
              <a:gd name="T53" fmla="*/ 16 h 53"/>
              <a:gd name="T54" fmla="*/ 41 w 75"/>
              <a:gd name="T55" fmla="*/ 12 h 53"/>
              <a:gd name="T56" fmla="*/ 56 w 75"/>
              <a:gd name="T57" fmla="*/ 16 h 53"/>
              <a:gd name="T58" fmla="*/ 56 w 75"/>
              <a:gd name="T59" fmla="*/ 12 h 53"/>
              <a:gd name="T60" fmla="*/ 47 w 75"/>
              <a:gd name="T61" fmla="*/ 12 h 53"/>
              <a:gd name="T62" fmla="*/ 41 w 75"/>
              <a:gd name="T63" fmla="*/ 6 h 53"/>
              <a:gd name="T64" fmla="*/ 38 w 75"/>
              <a:gd name="T65" fmla="*/ 6 h 53"/>
              <a:gd name="T66" fmla="*/ 19 w 75"/>
              <a:gd name="T67" fmla="*/ 3 h 53"/>
              <a:gd name="T68" fmla="*/ 9 w 75"/>
              <a:gd name="T69" fmla="*/ 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 h="53">
                <a:moveTo>
                  <a:pt x="66" y="37"/>
                </a:moveTo>
                <a:lnTo>
                  <a:pt x="69" y="37"/>
                </a:lnTo>
                <a:lnTo>
                  <a:pt x="72" y="41"/>
                </a:lnTo>
                <a:lnTo>
                  <a:pt x="69" y="41"/>
                </a:lnTo>
                <a:lnTo>
                  <a:pt x="66" y="41"/>
                </a:lnTo>
                <a:lnTo>
                  <a:pt x="66" y="37"/>
                </a:lnTo>
                <a:lnTo>
                  <a:pt x="66" y="37"/>
                </a:lnTo>
                <a:lnTo>
                  <a:pt x="66" y="37"/>
                </a:lnTo>
                <a:close/>
                <a:moveTo>
                  <a:pt x="6" y="6"/>
                </a:moveTo>
                <a:lnTo>
                  <a:pt x="6" y="9"/>
                </a:lnTo>
                <a:lnTo>
                  <a:pt x="6" y="12"/>
                </a:lnTo>
                <a:lnTo>
                  <a:pt x="6" y="16"/>
                </a:lnTo>
                <a:lnTo>
                  <a:pt x="6" y="19"/>
                </a:lnTo>
                <a:lnTo>
                  <a:pt x="3" y="22"/>
                </a:lnTo>
                <a:lnTo>
                  <a:pt x="3" y="22"/>
                </a:lnTo>
                <a:lnTo>
                  <a:pt x="3" y="25"/>
                </a:lnTo>
                <a:lnTo>
                  <a:pt x="3" y="28"/>
                </a:lnTo>
                <a:lnTo>
                  <a:pt x="3" y="31"/>
                </a:lnTo>
                <a:lnTo>
                  <a:pt x="0" y="37"/>
                </a:lnTo>
                <a:lnTo>
                  <a:pt x="0" y="41"/>
                </a:lnTo>
                <a:lnTo>
                  <a:pt x="0" y="41"/>
                </a:lnTo>
                <a:lnTo>
                  <a:pt x="3" y="44"/>
                </a:lnTo>
                <a:lnTo>
                  <a:pt x="3" y="47"/>
                </a:lnTo>
                <a:lnTo>
                  <a:pt x="6" y="47"/>
                </a:lnTo>
                <a:lnTo>
                  <a:pt x="6" y="50"/>
                </a:lnTo>
                <a:lnTo>
                  <a:pt x="9" y="53"/>
                </a:lnTo>
                <a:lnTo>
                  <a:pt x="13" y="47"/>
                </a:lnTo>
                <a:lnTo>
                  <a:pt x="16" y="41"/>
                </a:lnTo>
                <a:lnTo>
                  <a:pt x="16" y="37"/>
                </a:lnTo>
                <a:lnTo>
                  <a:pt x="19" y="34"/>
                </a:lnTo>
                <a:lnTo>
                  <a:pt x="19" y="37"/>
                </a:lnTo>
                <a:lnTo>
                  <a:pt x="22" y="37"/>
                </a:lnTo>
                <a:lnTo>
                  <a:pt x="25" y="31"/>
                </a:lnTo>
                <a:lnTo>
                  <a:pt x="28" y="34"/>
                </a:lnTo>
                <a:lnTo>
                  <a:pt x="28" y="37"/>
                </a:lnTo>
                <a:lnTo>
                  <a:pt x="31" y="41"/>
                </a:lnTo>
                <a:lnTo>
                  <a:pt x="34" y="37"/>
                </a:lnTo>
                <a:lnTo>
                  <a:pt x="41" y="34"/>
                </a:lnTo>
                <a:lnTo>
                  <a:pt x="47" y="31"/>
                </a:lnTo>
                <a:lnTo>
                  <a:pt x="53" y="34"/>
                </a:lnTo>
                <a:lnTo>
                  <a:pt x="56" y="31"/>
                </a:lnTo>
                <a:lnTo>
                  <a:pt x="59" y="34"/>
                </a:lnTo>
                <a:lnTo>
                  <a:pt x="63" y="34"/>
                </a:lnTo>
                <a:lnTo>
                  <a:pt x="69" y="34"/>
                </a:lnTo>
                <a:lnTo>
                  <a:pt x="69" y="31"/>
                </a:lnTo>
                <a:lnTo>
                  <a:pt x="72" y="31"/>
                </a:lnTo>
                <a:lnTo>
                  <a:pt x="75" y="28"/>
                </a:lnTo>
                <a:lnTo>
                  <a:pt x="72" y="25"/>
                </a:lnTo>
                <a:lnTo>
                  <a:pt x="66" y="22"/>
                </a:lnTo>
                <a:lnTo>
                  <a:pt x="63" y="22"/>
                </a:lnTo>
                <a:lnTo>
                  <a:pt x="56" y="19"/>
                </a:lnTo>
                <a:lnTo>
                  <a:pt x="53" y="22"/>
                </a:lnTo>
                <a:lnTo>
                  <a:pt x="50" y="19"/>
                </a:lnTo>
                <a:lnTo>
                  <a:pt x="44" y="16"/>
                </a:lnTo>
                <a:lnTo>
                  <a:pt x="41" y="16"/>
                </a:lnTo>
                <a:lnTo>
                  <a:pt x="41" y="12"/>
                </a:lnTo>
                <a:lnTo>
                  <a:pt x="47" y="16"/>
                </a:lnTo>
                <a:lnTo>
                  <a:pt x="56" y="16"/>
                </a:lnTo>
                <a:lnTo>
                  <a:pt x="59" y="16"/>
                </a:lnTo>
                <a:lnTo>
                  <a:pt x="56" y="12"/>
                </a:lnTo>
                <a:lnTo>
                  <a:pt x="53" y="12"/>
                </a:lnTo>
                <a:lnTo>
                  <a:pt x="47" y="12"/>
                </a:lnTo>
                <a:lnTo>
                  <a:pt x="44" y="6"/>
                </a:lnTo>
                <a:lnTo>
                  <a:pt x="41" y="6"/>
                </a:lnTo>
                <a:lnTo>
                  <a:pt x="41" y="6"/>
                </a:lnTo>
                <a:lnTo>
                  <a:pt x="38" y="6"/>
                </a:lnTo>
                <a:lnTo>
                  <a:pt x="22" y="0"/>
                </a:lnTo>
                <a:lnTo>
                  <a:pt x="19" y="3"/>
                </a:lnTo>
                <a:lnTo>
                  <a:pt x="16" y="0"/>
                </a:lnTo>
                <a:lnTo>
                  <a:pt x="9" y="3"/>
                </a:lnTo>
                <a:lnTo>
                  <a:pt x="6" y="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0" name="Freeform 168">
            <a:extLst>
              <a:ext uri="{FF2B5EF4-FFF2-40B4-BE49-F238E27FC236}">
                <a16:creationId xmlns:a16="http://schemas.microsoft.com/office/drawing/2014/main" id="{78976E8C-1A2E-1396-7CAD-6D09C335D10D}"/>
              </a:ext>
            </a:extLst>
          </p:cNvPr>
          <p:cNvSpPr>
            <a:spLocks noEditPoints="1"/>
          </p:cNvSpPr>
          <p:nvPr userDrawn="1"/>
        </p:nvSpPr>
        <p:spPr bwMode="auto">
          <a:xfrm>
            <a:off x="10064094" y="1628061"/>
            <a:ext cx="2638254" cy="3387726"/>
          </a:xfrm>
          <a:custGeom>
            <a:avLst/>
            <a:gdLst>
              <a:gd name="T0" fmla="*/ 67 w 266"/>
              <a:gd name="T1" fmla="*/ 327 h 341"/>
              <a:gd name="T2" fmla="*/ 52 w 266"/>
              <a:gd name="T3" fmla="*/ 314 h 341"/>
              <a:gd name="T4" fmla="*/ 45 w 266"/>
              <a:gd name="T5" fmla="*/ 297 h 341"/>
              <a:gd name="T6" fmla="*/ 42 w 266"/>
              <a:gd name="T7" fmla="*/ 289 h 341"/>
              <a:gd name="T8" fmla="*/ 47 w 266"/>
              <a:gd name="T9" fmla="*/ 270 h 341"/>
              <a:gd name="T10" fmla="*/ 44 w 266"/>
              <a:gd name="T11" fmla="*/ 261 h 341"/>
              <a:gd name="T12" fmla="*/ 55 w 266"/>
              <a:gd name="T13" fmla="*/ 251 h 341"/>
              <a:gd name="T14" fmla="*/ 58 w 266"/>
              <a:gd name="T15" fmla="*/ 248 h 341"/>
              <a:gd name="T16" fmla="*/ 62 w 266"/>
              <a:gd name="T17" fmla="*/ 233 h 341"/>
              <a:gd name="T18" fmla="*/ 64 w 266"/>
              <a:gd name="T19" fmla="*/ 220 h 341"/>
              <a:gd name="T20" fmla="*/ 63 w 266"/>
              <a:gd name="T21" fmla="*/ 202 h 341"/>
              <a:gd name="T22" fmla="*/ 48 w 266"/>
              <a:gd name="T23" fmla="*/ 198 h 341"/>
              <a:gd name="T24" fmla="*/ 54 w 266"/>
              <a:gd name="T25" fmla="*/ 169 h 341"/>
              <a:gd name="T26" fmla="*/ 42 w 266"/>
              <a:gd name="T27" fmla="*/ 132 h 341"/>
              <a:gd name="T28" fmla="*/ 9 w 266"/>
              <a:gd name="T29" fmla="*/ 116 h 341"/>
              <a:gd name="T30" fmla="*/ 27 w 266"/>
              <a:gd name="T31" fmla="*/ 100 h 341"/>
              <a:gd name="T32" fmla="*/ 10 w 266"/>
              <a:gd name="T33" fmla="*/ 78 h 341"/>
              <a:gd name="T34" fmla="*/ 53 w 266"/>
              <a:gd name="T35" fmla="*/ 58 h 341"/>
              <a:gd name="T36" fmla="*/ 69 w 266"/>
              <a:gd name="T37" fmla="*/ 39 h 341"/>
              <a:gd name="T38" fmla="*/ 104 w 266"/>
              <a:gd name="T39" fmla="*/ 20 h 341"/>
              <a:gd name="T40" fmla="*/ 122 w 266"/>
              <a:gd name="T41" fmla="*/ 36 h 341"/>
              <a:gd name="T42" fmla="*/ 143 w 266"/>
              <a:gd name="T43" fmla="*/ 36 h 341"/>
              <a:gd name="T44" fmla="*/ 152 w 266"/>
              <a:gd name="T45" fmla="*/ 14 h 341"/>
              <a:gd name="T46" fmla="*/ 179 w 266"/>
              <a:gd name="T47" fmla="*/ 2 h 341"/>
              <a:gd name="T48" fmla="*/ 197 w 266"/>
              <a:gd name="T49" fmla="*/ 13 h 341"/>
              <a:gd name="T50" fmla="*/ 210 w 266"/>
              <a:gd name="T51" fmla="*/ 17 h 341"/>
              <a:gd name="T52" fmla="*/ 235 w 266"/>
              <a:gd name="T53" fmla="*/ 35 h 341"/>
              <a:gd name="T54" fmla="*/ 184 w 266"/>
              <a:gd name="T55" fmla="*/ 44 h 341"/>
              <a:gd name="T56" fmla="*/ 223 w 266"/>
              <a:gd name="T57" fmla="*/ 47 h 341"/>
              <a:gd name="T58" fmla="*/ 232 w 266"/>
              <a:gd name="T59" fmla="*/ 59 h 341"/>
              <a:gd name="T60" fmla="*/ 256 w 266"/>
              <a:gd name="T61" fmla="*/ 66 h 341"/>
              <a:gd name="T62" fmla="*/ 232 w 266"/>
              <a:gd name="T63" fmla="*/ 80 h 341"/>
              <a:gd name="T64" fmla="*/ 222 w 266"/>
              <a:gd name="T65" fmla="*/ 121 h 341"/>
              <a:gd name="T66" fmla="*/ 221 w 266"/>
              <a:gd name="T67" fmla="*/ 138 h 341"/>
              <a:gd name="T68" fmla="*/ 222 w 266"/>
              <a:gd name="T69" fmla="*/ 154 h 341"/>
              <a:gd name="T70" fmla="*/ 216 w 266"/>
              <a:gd name="T71" fmla="*/ 166 h 341"/>
              <a:gd name="T72" fmla="*/ 215 w 266"/>
              <a:gd name="T73" fmla="*/ 183 h 341"/>
              <a:gd name="T74" fmla="*/ 196 w 266"/>
              <a:gd name="T75" fmla="*/ 186 h 341"/>
              <a:gd name="T76" fmla="*/ 187 w 266"/>
              <a:gd name="T77" fmla="*/ 196 h 341"/>
              <a:gd name="T78" fmla="*/ 207 w 266"/>
              <a:gd name="T79" fmla="*/ 213 h 341"/>
              <a:gd name="T80" fmla="*/ 195 w 266"/>
              <a:gd name="T81" fmla="*/ 223 h 341"/>
              <a:gd name="T82" fmla="*/ 178 w 266"/>
              <a:gd name="T83" fmla="*/ 221 h 341"/>
              <a:gd name="T84" fmla="*/ 191 w 266"/>
              <a:gd name="T85" fmla="*/ 230 h 341"/>
              <a:gd name="T86" fmla="*/ 180 w 266"/>
              <a:gd name="T87" fmla="*/ 249 h 341"/>
              <a:gd name="T88" fmla="*/ 151 w 266"/>
              <a:gd name="T89" fmla="*/ 253 h 341"/>
              <a:gd name="T90" fmla="*/ 126 w 266"/>
              <a:gd name="T91" fmla="*/ 278 h 341"/>
              <a:gd name="T92" fmla="*/ 106 w 266"/>
              <a:gd name="T93" fmla="*/ 283 h 341"/>
              <a:gd name="T94" fmla="*/ 93 w 266"/>
              <a:gd name="T95" fmla="*/ 302 h 341"/>
              <a:gd name="T96" fmla="*/ 88 w 266"/>
              <a:gd name="T97" fmla="*/ 318 h 341"/>
              <a:gd name="T98" fmla="*/ 77 w 266"/>
              <a:gd name="T99" fmla="*/ 332 h 341"/>
              <a:gd name="T100" fmla="*/ 89 w 266"/>
              <a:gd name="T101" fmla="*/ 312 h 341"/>
              <a:gd name="T102" fmla="*/ 198 w 266"/>
              <a:gd name="T103" fmla="*/ 239 h 341"/>
              <a:gd name="T104" fmla="*/ 201 w 266"/>
              <a:gd name="T105" fmla="*/ 197 h 341"/>
              <a:gd name="T106" fmla="*/ 213 w 266"/>
              <a:gd name="T107" fmla="*/ 175 h 341"/>
              <a:gd name="T108" fmla="*/ 219 w 266"/>
              <a:gd name="T109" fmla="*/ 147 h 341"/>
              <a:gd name="T110" fmla="*/ 246 w 266"/>
              <a:gd name="T111" fmla="*/ 45 h 341"/>
              <a:gd name="T112" fmla="*/ 151 w 266"/>
              <a:gd name="T113" fmla="*/ 13 h 341"/>
              <a:gd name="T114" fmla="*/ 120 w 266"/>
              <a:gd name="T115" fmla="*/ 26 h 341"/>
              <a:gd name="T116" fmla="*/ 50 w 266"/>
              <a:gd name="T117" fmla="*/ 158 h 341"/>
              <a:gd name="T118" fmla="*/ 50 w 266"/>
              <a:gd name="T119" fmla="*/ 185 h 341"/>
              <a:gd name="T120" fmla="*/ 54 w 266"/>
              <a:gd name="T121" fmla="*/ 330 h 341"/>
              <a:gd name="T122" fmla="*/ 49 w 266"/>
              <a:gd name="T123" fmla="*/ 241 h 341"/>
              <a:gd name="T124" fmla="*/ 62 w 266"/>
              <a:gd name="T125" fmla="*/ 226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6" h="341">
                <a:moveTo>
                  <a:pt x="79" y="338"/>
                </a:moveTo>
                <a:cubicBezTo>
                  <a:pt x="76" y="336"/>
                  <a:pt x="76" y="336"/>
                  <a:pt x="76" y="336"/>
                </a:cubicBezTo>
                <a:cubicBezTo>
                  <a:pt x="75" y="336"/>
                  <a:pt x="75" y="336"/>
                  <a:pt x="75" y="336"/>
                </a:cubicBezTo>
                <a:cubicBezTo>
                  <a:pt x="75" y="336"/>
                  <a:pt x="75" y="336"/>
                  <a:pt x="75" y="336"/>
                </a:cubicBezTo>
                <a:cubicBezTo>
                  <a:pt x="75" y="335"/>
                  <a:pt x="75" y="335"/>
                  <a:pt x="75" y="335"/>
                </a:cubicBezTo>
                <a:cubicBezTo>
                  <a:pt x="75" y="335"/>
                  <a:pt x="75" y="335"/>
                  <a:pt x="75" y="335"/>
                </a:cubicBezTo>
                <a:cubicBezTo>
                  <a:pt x="75" y="334"/>
                  <a:pt x="75" y="334"/>
                  <a:pt x="75" y="334"/>
                </a:cubicBezTo>
                <a:cubicBezTo>
                  <a:pt x="75" y="334"/>
                  <a:pt x="75" y="334"/>
                  <a:pt x="75" y="334"/>
                </a:cubicBezTo>
                <a:cubicBezTo>
                  <a:pt x="74" y="335"/>
                  <a:pt x="74" y="335"/>
                  <a:pt x="74" y="335"/>
                </a:cubicBezTo>
                <a:cubicBezTo>
                  <a:pt x="74" y="335"/>
                  <a:pt x="74" y="335"/>
                  <a:pt x="74" y="335"/>
                </a:cubicBezTo>
                <a:cubicBezTo>
                  <a:pt x="74" y="336"/>
                  <a:pt x="74" y="336"/>
                  <a:pt x="74" y="336"/>
                </a:cubicBezTo>
                <a:cubicBezTo>
                  <a:pt x="73" y="336"/>
                  <a:pt x="73" y="336"/>
                  <a:pt x="73" y="336"/>
                </a:cubicBezTo>
                <a:cubicBezTo>
                  <a:pt x="72" y="336"/>
                  <a:pt x="72" y="336"/>
                  <a:pt x="72" y="336"/>
                </a:cubicBezTo>
                <a:cubicBezTo>
                  <a:pt x="72" y="337"/>
                  <a:pt x="72" y="337"/>
                  <a:pt x="72" y="337"/>
                </a:cubicBezTo>
                <a:cubicBezTo>
                  <a:pt x="72" y="338"/>
                  <a:pt x="72" y="338"/>
                  <a:pt x="72" y="338"/>
                </a:cubicBezTo>
                <a:cubicBezTo>
                  <a:pt x="72" y="338"/>
                  <a:pt x="72" y="338"/>
                  <a:pt x="72" y="338"/>
                </a:cubicBezTo>
                <a:cubicBezTo>
                  <a:pt x="71" y="338"/>
                  <a:pt x="71" y="338"/>
                  <a:pt x="71" y="338"/>
                </a:cubicBezTo>
                <a:cubicBezTo>
                  <a:pt x="71" y="337"/>
                  <a:pt x="71" y="337"/>
                  <a:pt x="71" y="337"/>
                </a:cubicBezTo>
                <a:cubicBezTo>
                  <a:pt x="72" y="336"/>
                  <a:pt x="72" y="336"/>
                  <a:pt x="72" y="336"/>
                </a:cubicBezTo>
                <a:cubicBezTo>
                  <a:pt x="72" y="335"/>
                  <a:pt x="72" y="335"/>
                  <a:pt x="72" y="335"/>
                </a:cubicBezTo>
                <a:cubicBezTo>
                  <a:pt x="73" y="333"/>
                  <a:pt x="73" y="333"/>
                  <a:pt x="73" y="333"/>
                </a:cubicBezTo>
                <a:cubicBezTo>
                  <a:pt x="73" y="333"/>
                  <a:pt x="73" y="333"/>
                  <a:pt x="73" y="333"/>
                </a:cubicBezTo>
                <a:cubicBezTo>
                  <a:pt x="72" y="334"/>
                  <a:pt x="72" y="334"/>
                  <a:pt x="72" y="334"/>
                </a:cubicBezTo>
                <a:cubicBezTo>
                  <a:pt x="71" y="336"/>
                  <a:pt x="71" y="336"/>
                  <a:pt x="71" y="336"/>
                </a:cubicBezTo>
                <a:cubicBezTo>
                  <a:pt x="70" y="337"/>
                  <a:pt x="70" y="337"/>
                  <a:pt x="70" y="337"/>
                </a:cubicBezTo>
                <a:cubicBezTo>
                  <a:pt x="69" y="336"/>
                  <a:pt x="69" y="336"/>
                  <a:pt x="69" y="336"/>
                </a:cubicBezTo>
                <a:cubicBezTo>
                  <a:pt x="70" y="336"/>
                  <a:pt x="70" y="336"/>
                  <a:pt x="70" y="336"/>
                </a:cubicBezTo>
                <a:cubicBezTo>
                  <a:pt x="71" y="335"/>
                  <a:pt x="71" y="335"/>
                  <a:pt x="71" y="335"/>
                </a:cubicBezTo>
                <a:cubicBezTo>
                  <a:pt x="71" y="333"/>
                  <a:pt x="71" y="333"/>
                  <a:pt x="71" y="333"/>
                </a:cubicBezTo>
                <a:cubicBezTo>
                  <a:pt x="72" y="332"/>
                  <a:pt x="72" y="332"/>
                  <a:pt x="72" y="332"/>
                </a:cubicBezTo>
                <a:cubicBezTo>
                  <a:pt x="71" y="332"/>
                  <a:pt x="71" y="332"/>
                  <a:pt x="71" y="332"/>
                </a:cubicBezTo>
                <a:cubicBezTo>
                  <a:pt x="70" y="332"/>
                  <a:pt x="70" y="332"/>
                  <a:pt x="70" y="332"/>
                </a:cubicBezTo>
                <a:cubicBezTo>
                  <a:pt x="70" y="333"/>
                  <a:pt x="70" y="333"/>
                  <a:pt x="70" y="333"/>
                </a:cubicBezTo>
                <a:cubicBezTo>
                  <a:pt x="69" y="334"/>
                  <a:pt x="69" y="334"/>
                  <a:pt x="69" y="334"/>
                </a:cubicBezTo>
                <a:cubicBezTo>
                  <a:pt x="69" y="333"/>
                  <a:pt x="69" y="333"/>
                  <a:pt x="69" y="333"/>
                </a:cubicBezTo>
                <a:cubicBezTo>
                  <a:pt x="69" y="332"/>
                  <a:pt x="69" y="332"/>
                  <a:pt x="69" y="332"/>
                </a:cubicBezTo>
                <a:cubicBezTo>
                  <a:pt x="70" y="332"/>
                  <a:pt x="70" y="332"/>
                  <a:pt x="70" y="332"/>
                </a:cubicBezTo>
                <a:cubicBezTo>
                  <a:pt x="70" y="331"/>
                  <a:pt x="70" y="331"/>
                  <a:pt x="70" y="331"/>
                </a:cubicBezTo>
                <a:cubicBezTo>
                  <a:pt x="69" y="331"/>
                  <a:pt x="69" y="331"/>
                  <a:pt x="69" y="331"/>
                </a:cubicBezTo>
                <a:cubicBezTo>
                  <a:pt x="69" y="332"/>
                  <a:pt x="69" y="332"/>
                  <a:pt x="69" y="332"/>
                </a:cubicBezTo>
                <a:cubicBezTo>
                  <a:pt x="68" y="333"/>
                  <a:pt x="68" y="333"/>
                  <a:pt x="68" y="333"/>
                </a:cubicBezTo>
                <a:cubicBezTo>
                  <a:pt x="68" y="333"/>
                  <a:pt x="68" y="333"/>
                  <a:pt x="68" y="333"/>
                </a:cubicBezTo>
                <a:cubicBezTo>
                  <a:pt x="67" y="332"/>
                  <a:pt x="67" y="332"/>
                  <a:pt x="67" y="332"/>
                </a:cubicBezTo>
                <a:cubicBezTo>
                  <a:pt x="67" y="332"/>
                  <a:pt x="67" y="332"/>
                  <a:pt x="67" y="332"/>
                </a:cubicBezTo>
                <a:cubicBezTo>
                  <a:pt x="67" y="332"/>
                  <a:pt x="67" y="332"/>
                  <a:pt x="67" y="332"/>
                </a:cubicBezTo>
                <a:cubicBezTo>
                  <a:pt x="66" y="332"/>
                  <a:pt x="66" y="332"/>
                  <a:pt x="66" y="332"/>
                </a:cubicBezTo>
                <a:cubicBezTo>
                  <a:pt x="66" y="332"/>
                  <a:pt x="66" y="332"/>
                  <a:pt x="66" y="332"/>
                </a:cubicBezTo>
                <a:cubicBezTo>
                  <a:pt x="66" y="332"/>
                  <a:pt x="66" y="332"/>
                  <a:pt x="66" y="332"/>
                </a:cubicBezTo>
                <a:cubicBezTo>
                  <a:pt x="68" y="331"/>
                  <a:pt x="68" y="331"/>
                  <a:pt x="68" y="331"/>
                </a:cubicBezTo>
                <a:cubicBezTo>
                  <a:pt x="68" y="330"/>
                  <a:pt x="68" y="330"/>
                  <a:pt x="68" y="330"/>
                </a:cubicBezTo>
                <a:cubicBezTo>
                  <a:pt x="69" y="329"/>
                  <a:pt x="69" y="329"/>
                  <a:pt x="69" y="329"/>
                </a:cubicBezTo>
                <a:cubicBezTo>
                  <a:pt x="70" y="328"/>
                  <a:pt x="70" y="328"/>
                  <a:pt x="70" y="328"/>
                </a:cubicBezTo>
                <a:cubicBezTo>
                  <a:pt x="70" y="328"/>
                  <a:pt x="70" y="328"/>
                  <a:pt x="70" y="328"/>
                </a:cubicBezTo>
                <a:cubicBezTo>
                  <a:pt x="68" y="329"/>
                  <a:pt x="68" y="329"/>
                  <a:pt x="68" y="329"/>
                </a:cubicBezTo>
                <a:cubicBezTo>
                  <a:pt x="67" y="329"/>
                  <a:pt x="67" y="329"/>
                  <a:pt x="67" y="329"/>
                </a:cubicBezTo>
                <a:cubicBezTo>
                  <a:pt x="67" y="329"/>
                  <a:pt x="67" y="329"/>
                  <a:pt x="67" y="329"/>
                </a:cubicBezTo>
                <a:cubicBezTo>
                  <a:pt x="67" y="329"/>
                  <a:pt x="67" y="329"/>
                  <a:pt x="67" y="329"/>
                </a:cubicBezTo>
                <a:cubicBezTo>
                  <a:pt x="68" y="329"/>
                  <a:pt x="68" y="329"/>
                  <a:pt x="68" y="329"/>
                </a:cubicBezTo>
                <a:cubicBezTo>
                  <a:pt x="69" y="328"/>
                  <a:pt x="69" y="328"/>
                  <a:pt x="69" y="328"/>
                </a:cubicBezTo>
                <a:cubicBezTo>
                  <a:pt x="70" y="327"/>
                  <a:pt x="70" y="327"/>
                  <a:pt x="70" y="327"/>
                </a:cubicBezTo>
                <a:cubicBezTo>
                  <a:pt x="71" y="327"/>
                  <a:pt x="71" y="327"/>
                  <a:pt x="71" y="327"/>
                </a:cubicBezTo>
                <a:cubicBezTo>
                  <a:pt x="71" y="326"/>
                  <a:pt x="71" y="326"/>
                  <a:pt x="71" y="326"/>
                </a:cubicBezTo>
                <a:cubicBezTo>
                  <a:pt x="71" y="325"/>
                  <a:pt x="71" y="325"/>
                  <a:pt x="71" y="325"/>
                </a:cubicBezTo>
                <a:cubicBezTo>
                  <a:pt x="70" y="325"/>
                  <a:pt x="70" y="325"/>
                  <a:pt x="70" y="325"/>
                </a:cubicBezTo>
                <a:cubicBezTo>
                  <a:pt x="69" y="327"/>
                  <a:pt x="69" y="327"/>
                  <a:pt x="69" y="327"/>
                </a:cubicBezTo>
                <a:cubicBezTo>
                  <a:pt x="67" y="328"/>
                  <a:pt x="67" y="328"/>
                  <a:pt x="67" y="328"/>
                </a:cubicBezTo>
                <a:cubicBezTo>
                  <a:pt x="66" y="328"/>
                  <a:pt x="66" y="328"/>
                  <a:pt x="66" y="328"/>
                </a:cubicBezTo>
                <a:cubicBezTo>
                  <a:pt x="66" y="328"/>
                  <a:pt x="66" y="328"/>
                  <a:pt x="66" y="328"/>
                </a:cubicBezTo>
                <a:cubicBezTo>
                  <a:pt x="66" y="327"/>
                  <a:pt x="66" y="327"/>
                  <a:pt x="66" y="327"/>
                </a:cubicBezTo>
                <a:cubicBezTo>
                  <a:pt x="67" y="327"/>
                  <a:pt x="67" y="327"/>
                  <a:pt x="67" y="327"/>
                </a:cubicBezTo>
                <a:cubicBezTo>
                  <a:pt x="68" y="326"/>
                  <a:pt x="68" y="326"/>
                  <a:pt x="68" y="326"/>
                </a:cubicBezTo>
                <a:cubicBezTo>
                  <a:pt x="68" y="325"/>
                  <a:pt x="68" y="325"/>
                  <a:pt x="68" y="325"/>
                </a:cubicBezTo>
                <a:cubicBezTo>
                  <a:pt x="67" y="324"/>
                  <a:pt x="67" y="324"/>
                  <a:pt x="67" y="324"/>
                </a:cubicBezTo>
                <a:cubicBezTo>
                  <a:pt x="67" y="324"/>
                  <a:pt x="67" y="324"/>
                  <a:pt x="67" y="324"/>
                </a:cubicBezTo>
                <a:cubicBezTo>
                  <a:pt x="66" y="324"/>
                  <a:pt x="66" y="324"/>
                  <a:pt x="66" y="324"/>
                </a:cubicBezTo>
                <a:cubicBezTo>
                  <a:pt x="66" y="325"/>
                  <a:pt x="66" y="325"/>
                  <a:pt x="66" y="325"/>
                </a:cubicBezTo>
                <a:cubicBezTo>
                  <a:pt x="67" y="325"/>
                  <a:pt x="67" y="325"/>
                  <a:pt x="67" y="325"/>
                </a:cubicBezTo>
                <a:cubicBezTo>
                  <a:pt x="67" y="326"/>
                  <a:pt x="67" y="326"/>
                  <a:pt x="67" y="326"/>
                </a:cubicBezTo>
                <a:cubicBezTo>
                  <a:pt x="66" y="326"/>
                  <a:pt x="66" y="326"/>
                  <a:pt x="66" y="326"/>
                </a:cubicBezTo>
                <a:cubicBezTo>
                  <a:pt x="65" y="326"/>
                  <a:pt x="65" y="326"/>
                  <a:pt x="65" y="326"/>
                </a:cubicBezTo>
                <a:cubicBezTo>
                  <a:pt x="64" y="326"/>
                  <a:pt x="64" y="326"/>
                  <a:pt x="64" y="326"/>
                </a:cubicBezTo>
                <a:cubicBezTo>
                  <a:pt x="64" y="326"/>
                  <a:pt x="64" y="326"/>
                  <a:pt x="64" y="326"/>
                </a:cubicBezTo>
                <a:cubicBezTo>
                  <a:pt x="63" y="327"/>
                  <a:pt x="63" y="327"/>
                  <a:pt x="63" y="327"/>
                </a:cubicBezTo>
                <a:cubicBezTo>
                  <a:pt x="62" y="328"/>
                  <a:pt x="62" y="328"/>
                  <a:pt x="62" y="328"/>
                </a:cubicBezTo>
                <a:cubicBezTo>
                  <a:pt x="62" y="328"/>
                  <a:pt x="62" y="328"/>
                  <a:pt x="62" y="328"/>
                </a:cubicBezTo>
                <a:cubicBezTo>
                  <a:pt x="61" y="328"/>
                  <a:pt x="61" y="328"/>
                  <a:pt x="61" y="328"/>
                </a:cubicBezTo>
                <a:cubicBezTo>
                  <a:pt x="61" y="327"/>
                  <a:pt x="61" y="327"/>
                  <a:pt x="61" y="327"/>
                </a:cubicBezTo>
                <a:cubicBezTo>
                  <a:pt x="60" y="327"/>
                  <a:pt x="60" y="327"/>
                  <a:pt x="60" y="327"/>
                </a:cubicBezTo>
                <a:cubicBezTo>
                  <a:pt x="59" y="328"/>
                  <a:pt x="59" y="328"/>
                  <a:pt x="59" y="328"/>
                </a:cubicBezTo>
                <a:cubicBezTo>
                  <a:pt x="58" y="328"/>
                  <a:pt x="58" y="328"/>
                  <a:pt x="58" y="328"/>
                </a:cubicBezTo>
                <a:cubicBezTo>
                  <a:pt x="58" y="328"/>
                  <a:pt x="58" y="328"/>
                  <a:pt x="58" y="328"/>
                </a:cubicBezTo>
                <a:cubicBezTo>
                  <a:pt x="58" y="328"/>
                  <a:pt x="58" y="328"/>
                  <a:pt x="58" y="328"/>
                </a:cubicBezTo>
                <a:cubicBezTo>
                  <a:pt x="58" y="329"/>
                  <a:pt x="58" y="329"/>
                  <a:pt x="58" y="329"/>
                </a:cubicBezTo>
                <a:cubicBezTo>
                  <a:pt x="57" y="329"/>
                  <a:pt x="57" y="329"/>
                  <a:pt x="57" y="329"/>
                </a:cubicBezTo>
                <a:cubicBezTo>
                  <a:pt x="56" y="329"/>
                  <a:pt x="56" y="329"/>
                  <a:pt x="56" y="329"/>
                </a:cubicBezTo>
                <a:cubicBezTo>
                  <a:pt x="55" y="328"/>
                  <a:pt x="55" y="328"/>
                  <a:pt x="55" y="328"/>
                </a:cubicBezTo>
                <a:cubicBezTo>
                  <a:pt x="56" y="327"/>
                  <a:pt x="56" y="327"/>
                  <a:pt x="56" y="327"/>
                </a:cubicBezTo>
                <a:cubicBezTo>
                  <a:pt x="57" y="327"/>
                  <a:pt x="57" y="327"/>
                  <a:pt x="57" y="327"/>
                </a:cubicBezTo>
                <a:cubicBezTo>
                  <a:pt x="58" y="327"/>
                  <a:pt x="58" y="327"/>
                  <a:pt x="58" y="327"/>
                </a:cubicBezTo>
                <a:cubicBezTo>
                  <a:pt x="57" y="326"/>
                  <a:pt x="57" y="326"/>
                  <a:pt x="57" y="326"/>
                </a:cubicBezTo>
                <a:cubicBezTo>
                  <a:pt x="56" y="326"/>
                  <a:pt x="56" y="326"/>
                  <a:pt x="56" y="326"/>
                </a:cubicBezTo>
                <a:cubicBezTo>
                  <a:pt x="56" y="325"/>
                  <a:pt x="56" y="325"/>
                  <a:pt x="56" y="325"/>
                </a:cubicBezTo>
                <a:cubicBezTo>
                  <a:pt x="56" y="324"/>
                  <a:pt x="56" y="324"/>
                  <a:pt x="56" y="324"/>
                </a:cubicBezTo>
                <a:cubicBezTo>
                  <a:pt x="55" y="323"/>
                  <a:pt x="55" y="323"/>
                  <a:pt x="55" y="323"/>
                </a:cubicBezTo>
                <a:cubicBezTo>
                  <a:pt x="55" y="324"/>
                  <a:pt x="55" y="324"/>
                  <a:pt x="55" y="324"/>
                </a:cubicBezTo>
                <a:cubicBezTo>
                  <a:pt x="53" y="325"/>
                  <a:pt x="53" y="325"/>
                  <a:pt x="53" y="325"/>
                </a:cubicBezTo>
                <a:cubicBezTo>
                  <a:pt x="52" y="325"/>
                  <a:pt x="52" y="325"/>
                  <a:pt x="52" y="325"/>
                </a:cubicBezTo>
                <a:cubicBezTo>
                  <a:pt x="52" y="324"/>
                  <a:pt x="52" y="324"/>
                  <a:pt x="52" y="324"/>
                </a:cubicBezTo>
                <a:cubicBezTo>
                  <a:pt x="53" y="323"/>
                  <a:pt x="53" y="323"/>
                  <a:pt x="53" y="323"/>
                </a:cubicBezTo>
                <a:cubicBezTo>
                  <a:pt x="52" y="322"/>
                  <a:pt x="52" y="322"/>
                  <a:pt x="52" y="322"/>
                </a:cubicBezTo>
                <a:cubicBezTo>
                  <a:pt x="52" y="322"/>
                  <a:pt x="52" y="322"/>
                  <a:pt x="52" y="322"/>
                </a:cubicBezTo>
                <a:cubicBezTo>
                  <a:pt x="52" y="322"/>
                  <a:pt x="52" y="322"/>
                  <a:pt x="52" y="322"/>
                </a:cubicBezTo>
                <a:cubicBezTo>
                  <a:pt x="53" y="321"/>
                  <a:pt x="53" y="321"/>
                  <a:pt x="53" y="321"/>
                </a:cubicBezTo>
                <a:cubicBezTo>
                  <a:pt x="54" y="321"/>
                  <a:pt x="54" y="321"/>
                  <a:pt x="54" y="321"/>
                </a:cubicBezTo>
                <a:cubicBezTo>
                  <a:pt x="54" y="321"/>
                  <a:pt x="54" y="321"/>
                  <a:pt x="54" y="321"/>
                </a:cubicBezTo>
                <a:cubicBezTo>
                  <a:pt x="54" y="320"/>
                  <a:pt x="54" y="320"/>
                  <a:pt x="54" y="320"/>
                </a:cubicBezTo>
                <a:cubicBezTo>
                  <a:pt x="53" y="320"/>
                  <a:pt x="53" y="320"/>
                  <a:pt x="53" y="320"/>
                </a:cubicBezTo>
                <a:cubicBezTo>
                  <a:pt x="52" y="320"/>
                  <a:pt x="52" y="320"/>
                  <a:pt x="52" y="320"/>
                </a:cubicBezTo>
                <a:cubicBezTo>
                  <a:pt x="51" y="321"/>
                  <a:pt x="51" y="321"/>
                  <a:pt x="51" y="321"/>
                </a:cubicBezTo>
                <a:cubicBezTo>
                  <a:pt x="50" y="321"/>
                  <a:pt x="50" y="321"/>
                  <a:pt x="50" y="321"/>
                </a:cubicBezTo>
                <a:cubicBezTo>
                  <a:pt x="49" y="321"/>
                  <a:pt x="49" y="321"/>
                  <a:pt x="49" y="321"/>
                </a:cubicBezTo>
                <a:cubicBezTo>
                  <a:pt x="49" y="320"/>
                  <a:pt x="49" y="320"/>
                  <a:pt x="49" y="320"/>
                </a:cubicBezTo>
                <a:cubicBezTo>
                  <a:pt x="50" y="320"/>
                  <a:pt x="50" y="320"/>
                  <a:pt x="50" y="320"/>
                </a:cubicBezTo>
                <a:cubicBezTo>
                  <a:pt x="51" y="319"/>
                  <a:pt x="51" y="319"/>
                  <a:pt x="51" y="319"/>
                </a:cubicBezTo>
                <a:cubicBezTo>
                  <a:pt x="51" y="318"/>
                  <a:pt x="51" y="318"/>
                  <a:pt x="51" y="318"/>
                </a:cubicBezTo>
                <a:cubicBezTo>
                  <a:pt x="52" y="318"/>
                  <a:pt x="52" y="318"/>
                  <a:pt x="52" y="318"/>
                </a:cubicBezTo>
                <a:cubicBezTo>
                  <a:pt x="52" y="317"/>
                  <a:pt x="52" y="317"/>
                  <a:pt x="52" y="317"/>
                </a:cubicBezTo>
                <a:cubicBezTo>
                  <a:pt x="52" y="317"/>
                  <a:pt x="52" y="317"/>
                  <a:pt x="52" y="317"/>
                </a:cubicBezTo>
                <a:cubicBezTo>
                  <a:pt x="51" y="317"/>
                  <a:pt x="51" y="317"/>
                  <a:pt x="51" y="317"/>
                </a:cubicBezTo>
                <a:cubicBezTo>
                  <a:pt x="50" y="317"/>
                  <a:pt x="50" y="317"/>
                  <a:pt x="50" y="317"/>
                </a:cubicBezTo>
                <a:cubicBezTo>
                  <a:pt x="49" y="318"/>
                  <a:pt x="49" y="318"/>
                  <a:pt x="49" y="318"/>
                </a:cubicBezTo>
                <a:cubicBezTo>
                  <a:pt x="49" y="317"/>
                  <a:pt x="49" y="317"/>
                  <a:pt x="49" y="317"/>
                </a:cubicBezTo>
                <a:cubicBezTo>
                  <a:pt x="49" y="316"/>
                  <a:pt x="49" y="316"/>
                  <a:pt x="49" y="316"/>
                </a:cubicBezTo>
                <a:cubicBezTo>
                  <a:pt x="50" y="316"/>
                  <a:pt x="50" y="316"/>
                  <a:pt x="50" y="316"/>
                </a:cubicBezTo>
                <a:cubicBezTo>
                  <a:pt x="51" y="316"/>
                  <a:pt x="51" y="316"/>
                  <a:pt x="51" y="316"/>
                </a:cubicBezTo>
                <a:cubicBezTo>
                  <a:pt x="51" y="316"/>
                  <a:pt x="51" y="316"/>
                  <a:pt x="51" y="316"/>
                </a:cubicBezTo>
                <a:cubicBezTo>
                  <a:pt x="52" y="315"/>
                  <a:pt x="52" y="315"/>
                  <a:pt x="52" y="315"/>
                </a:cubicBezTo>
                <a:cubicBezTo>
                  <a:pt x="52" y="315"/>
                  <a:pt x="52" y="315"/>
                  <a:pt x="52" y="315"/>
                </a:cubicBezTo>
                <a:cubicBezTo>
                  <a:pt x="52" y="314"/>
                  <a:pt x="52" y="314"/>
                  <a:pt x="52" y="314"/>
                </a:cubicBezTo>
                <a:cubicBezTo>
                  <a:pt x="52" y="314"/>
                  <a:pt x="52" y="314"/>
                  <a:pt x="52" y="314"/>
                </a:cubicBezTo>
                <a:cubicBezTo>
                  <a:pt x="51" y="314"/>
                  <a:pt x="51" y="314"/>
                  <a:pt x="51" y="314"/>
                </a:cubicBezTo>
                <a:cubicBezTo>
                  <a:pt x="50" y="315"/>
                  <a:pt x="50" y="315"/>
                  <a:pt x="50" y="315"/>
                </a:cubicBezTo>
                <a:cubicBezTo>
                  <a:pt x="50" y="315"/>
                  <a:pt x="50" y="315"/>
                  <a:pt x="50" y="315"/>
                </a:cubicBezTo>
                <a:cubicBezTo>
                  <a:pt x="49" y="315"/>
                  <a:pt x="49" y="315"/>
                  <a:pt x="49" y="315"/>
                </a:cubicBezTo>
                <a:cubicBezTo>
                  <a:pt x="49" y="315"/>
                  <a:pt x="49" y="315"/>
                  <a:pt x="49" y="315"/>
                </a:cubicBezTo>
                <a:cubicBezTo>
                  <a:pt x="50" y="314"/>
                  <a:pt x="50" y="314"/>
                  <a:pt x="50" y="314"/>
                </a:cubicBezTo>
                <a:cubicBezTo>
                  <a:pt x="50" y="314"/>
                  <a:pt x="50" y="314"/>
                  <a:pt x="50" y="314"/>
                </a:cubicBezTo>
                <a:cubicBezTo>
                  <a:pt x="49" y="313"/>
                  <a:pt x="49" y="313"/>
                  <a:pt x="49" y="313"/>
                </a:cubicBezTo>
                <a:cubicBezTo>
                  <a:pt x="50" y="313"/>
                  <a:pt x="50" y="313"/>
                  <a:pt x="50" y="313"/>
                </a:cubicBezTo>
                <a:cubicBezTo>
                  <a:pt x="50" y="312"/>
                  <a:pt x="50" y="312"/>
                  <a:pt x="50" y="312"/>
                </a:cubicBezTo>
                <a:cubicBezTo>
                  <a:pt x="50" y="312"/>
                  <a:pt x="50" y="312"/>
                  <a:pt x="50" y="312"/>
                </a:cubicBezTo>
                <a:cubicBezTo>
                  <a:pt x="49" y="312"/>
                  <a:pt x="49" y="312"/>
                  <a:pt x="49" y="312"/>
                </a:cubicBezTo>
                <a:cubicBezTo>
                  <a:pt x="49" y="312"/>
                  <a:pt x="49" y="312"/>
                  <a:pt x="49" y="312"/>
                </a:cubicBezTo>
                <a:cubicBezTo>
                  <a:pt x="49" y="311"/>
                  <a:pt x="49" y="311"/>
                  <a:pt x="49" y="311"/>
                </a:cubicBezTo>
                <a:cubicBezTo>
                  <a:pt x="49" y="310"/>
                  <a:pt x="49" y="310"/>
                  <a:pt x="49" y="310"/>
                </a:cubicBezTo>
                <a:cubicBezTo>
                  <a:pt x="48" y="310"/>
                  <a:pt x="48" y="310"/>
                  <a:pt x="48" y="310"/>
                </a:cubicBezTo>
                <a:cubicBezTo>
                  <a:pt x="48" y="310"/>
                  <a:pt x="48" y="310"/>
                  <a:pt x="48" y="310"/>
                </a:cubicBezTo>
                <a:cubicBezTo>
                  <a:pt x="47" y="311"/>
                  <a:pt x="47" y="311"/>
                  <a:pt x="47" y="311"/>
                </a:cubicBezTo>
                <a:cubicBezTo>
                  <a:pt x="47" y="310"/>
                  <a:pt x="47" y="310"/>
                  <a:pt x="47" y="310"/>
                </a:cubicBezTo>
                <a:cubicBezTo>
                  <a:pt x="47" y="309"/>
                  <a:pt x="47" y="309"/>
                  <a:pt x="47" y="309"/>
                </a:cubicBezTo>
                <a:cubicBezTo>
                  <a:pt x="48" y="308"/>
                  <a:pt x="48" y="308"/>
                  <a:pt x="48" y="308"/>
                </a:cubicBezTo>
                <a:cubicBezTo>
                  <a:pt x="48" y="308"/>
                  <a:pt x="48" y="308"/>
                  <a:pt x="48" y="308"/>
                </a:cubicBezTo>
                <a:cubicBezTo>
                  <a:pt x="49" y="307"/>
                  <a:pt x="49" y="307"/>
                  <a:pt x="49" y="307"/>
                </a:cubicBezTo>
                <a:cubicBezTo>
                  <a:pt x="49" y="306"/>
                  <a:pt x="49" y="306"/>
                  <a:pt x="49" y="306"/>
                </a:cubicBezTo>
                <a:cubicBezTo>
                  <a:pt x="49" y="306"/>
                  <a:pt x="49" y="306"/>
                  <a:pt x="49" y="306"/>
                </a:cubicBezTo>
                <a:cubicBezTo>
                  <a:pt x="49" y="305"/>
                  <a:pt x="49" y="305"/>
                  <a:pt x="49" y="305"/>
                </a:cubicBezTo>
                <a:cubicBezTo>
                  <a:pt x="49" y="305"/>
                  <a:pt x="49" y="305"/>
                  <a:pt x="49" y="305"/>
                </a:cubicBezTo>
                <a:cubicBezTo>
                  <a:pt x="49" y="305"/>
                  <a:pt x="49" y="305"/>
                  <a:pt x="49" y="305"/>
                </a:cubicBezTo>
                <a:cubicBezTo>
                  <a:pt x="48" y="306"/>
                  <a:pt x="48" y="306"/>
                  <a:pt x="48" y="306"/>
                </a:cubicBezTo>
                <a:cubicBezTo>
                  <a:pt x="48" y="305"/>
                  <a:pt x="48" y="305"/>
                  <a:pt x="48" y="305"/>
                </a:cubicBezTo>
                <a:cubicBezTo>
                  <a:pt x="47" y="305"/>
                  <a:pt x="47" y="305"/>
                  <a:pt x="47" y="305"/>
                </a:cubicBezTo>
                <a:cubicBezTo>
                  <a:pt x="47" y="305"/>
                  <a:pt x="47" y="305"/>
                  <a:pt x="47" y="305"/>
                </a:cubicBezTo>
                <a:cubicBezTo>
                  <a:pt x="46" y="305"/>
                  <a:pt x="46" y="305"/>
                  <a:pt x="46" y="305"/>
                </a:cubicBezTo>
                <a:cubicBezTo>
                  <a:pt x="46" y="304"/>
                  <a:pt x="46" y="304"/>
                  <a:pt x="46" y="304"/>
                </a:cubicBezTo>
                <a:cubicBezTo>
                  <a:pt x="46" y="303"/>
                  <a:pt x="46" y="303"/>
                  <a:pt x="46" y="303"/>
                </a:cubicBezTo>
                <a:cubicBezTo>
                  <a:pt x="48" y="303"/>
                  <a:pt x="48" y="303"/>
                  <a:pt x="48" y="303"/>
                </a:cubicBezTo>
                <a:cubicBezTo>
                  <a:pt x="48" y="302"/>
                  <a:pt x="48" y="302"/>
                  <a:pt x="48" y="302"/>
                </a:cubicBezTo>
                <a:cubicBezTo>
                  <a:pt x="47" y="302"/>
                  <a:pt x="47" y="302"/>
                  <a:pt x="47" y="302"/>
                </a:cubicBezTo>
                <a:cubicBezTo>
                  <a:pt x="46" y="302"/>
                  <a:pt x="46" y="302"/>
                  <a:pt x="46" y="302"/>
                </a:cubicBezTo>
                <a:cubicBezTo>
                  <a:pt x="45" y="302"/>
                  <a:pt x="45" y="302"/>
                  <a:pt x="45" y="302"/>
                </a:cubicBezTo>
                <a:cubicBezTo>
                  <a:pt x="44" y="302"/>
                  <a:pt x="44" y="302"/>
                  <a:pt x="44" y="302"/>
                </a:cubicBezTo>
                <a:cubicBezTo>
                  <a:pt x="44" y="302"/>
                  <a:pt x="44" y="302"/>
                  <a:pt x="44" y="302"/>
                </a:cubicBezTo>
                <a:cubicBezTo>
                  <a:pt x="44" y="301"/>
                  <a:pt x="44" y="301"/>
                  <a:pt x="44" y="301"/>
                </a:cubicBezTo>
                <a:cubicBezTo>
                  <a:pt x="45" y="301"/>
                  <a:pt x="45" y="301"/>
                  <a:pt x="45" y="301"/>
                </a:cubicBezTo>
                <a:cubicBezTo>
                  <a:pt x="46" y="301"/>
                  <a:pt x="46" y="301"/>
                  <a:pt x="46" y="301"/>
                </a:cubicBezTo>
                <a:cubicBezTo>
                  <a:pt x="48" y="301"/>
                  <a:pt x="48" y="301"/>
                  <a:pt x="48" y="301"/>
                </a:cubicBezTo>
                <a:cubicBezTo>
                  <a:pt x="48" y="300"/>
                  <a:pt x="48" y="300"/>
                  <a:pt x="48" y="300"/>
                </a:cubicBezTo>
                <a:cubicBezTo>
                  <a:pt x="48" y="300"/>
                  <a:pt x="48" y="300"/>
                  <a:pt x="48" y="300"/>
                </a:cubicBezTo>
                <a:cubicBezTo>
                  <a:pt x="47" y="300"/>
                  <a:pt x="47" y="300"/>
                  <a:pt x="47" y="300"/>
                </a:cubicBezTo>
                <a:cubicBezTo>
                  <a:pt x="46" y="300"/>
                  <a:pt x="46" y="300"/>
                  <a:pt x="46" y="300"/>
                </a:cubicBezTo>
                <a:cubicBezTo>
                  <a:pt x="45" y="300"/>
                  <a:pt x="45" y="300"/>
                  <a:pt x="45" y="300"/>
                </a:cubicBezTo>
                <a:cubicBezTo>
                  <a:pt x="44" y="300"/>
                  <a:pt x="44" y="300"/>
                  <a:pt x="44" y="300"/>
                </a:cubicBezTo>
                <a:cubicBezTo>
                  <a:pt x="44" y="300"/>
                  <a:pt x="44" y="300"/>
                  <a:pt x="44" y="300"/>
                </a:cubicBezTo>
                <a:cubicBezTo>
                  <a:pt x="45" y="299"/>
                  <a:pt x="45" y="299"/>
                  <a:pt x="45" y="299"/>
                </a:cubicBezTo>
                <a:cubicBezTo>
                  <a:pt x="46" y="299"/>
                  <a:pt x="46" y="299"/>
                  <a:pt x="46" y="299"/>
                </a:cubicBezTo>
                <a:cubicBezTo>
                  <a:pt x="47" y="298"/>
                  <a:pt x="47" y="298"/>
                  <a:pt x="47" y="298"/>
                </a:cubicBezTo>
                <a:cubicBezTo>
                  <a:pt x="46" y="298"/>
                  <a:pt x="46" y="298"/>
                  <a:pt x="46" y="298"/>
                </a:cubicBezTo>
                <a:cubicBezTo>
                  <a:pt x="46" y="298"/>
                  <a:pt x="46" y="298"/>
                  <a:pt x="46" y="298"/>
                </a:cubicBezTo>
                <a:cubicBezTo>
                  <a:pt x="45" y="298"/>
                  <a:pt x="45" y="298"/>
                  <a:pt x="45" y="298"/>
                </a:cubicBezTo>
                <a:cubicBezTo>
                  <a:pt x="45" y="297"/>
                  <a:pt x="45" y="297"/>
                  <a:pt x="45" y="297"/>
                </a:cubicBezTo>
                <a:cubicBezTo>
                  <a:pt x="46" y="298"/>
                  <a:pt x="46" y="298"/>
                  <a:pt x="46" y="298"/>
                </a:cubicBezTo>
                <a:cubicBezTo>
                  <a:pt x="47" y="298"/>
                  <a:pt x="47" y="298"/>
                  <a:pt x="47" y="298"/>
                </a:cubicBezTo>
                <a:cubicBezTo>
                  <a:pt x="48" y="297"/>
                  <a:pt x="48" y="297"/>
                  <a:pt x="48" y="297"/>
                </a:cubicBezTo>
                <a:cubicBezTo>
                  <a:pt x="49" y="297"/>
                  <a:pt x="49" y="297"/>
                  <a:pt x="49" y="297"/>
                </a:cubicBezTo>
                <a:cubicBezTo>
                  <a:pt x="48" y="297"/>
                  <a:pt x="48" y="297"/>
                  <a:pt x="48" y="297"/>
                </a:cubicBezTo>
                <a:cubicBezTo>
                  <a:pt x="48" y="297"/>
                  <a:pt x="48" y="297"/>
                  <a:pt x="48" y="297"/>
                </a:cubicBezTo>
                <a:cubicBezTo>
                  <a:pt x="47" y="297"/>
                  <a:pt x="47" y="297"/>
                  <a:pt x="47" y="297"/>
                </a:cubicBezTo>
                <a:cubicBezTo>
                  <a:pt x="46" y="297"/>
                  <a:pt x="46" y="297"/>
                  <a:pt x="46" y="297"/>
                </a:cubicBezTo>
                <a:cubicBezTo>
                  <a:pt x="46" y="297"/>
                  <a:pt x="46" y="297"/>
                  <a:pt x="46" y="297"/>
                </a:cubicBezTo>
                <a:cubicBezTo>
                  <a:pt x="45" y="297"/>
                  <a:pt x="45" y="297"/>
                  <a:pt x="45" y="297"/>
                </a:cubicBezTo>
                <a:cubicBezTo>
                  <a:pt x="45" y="297"/>
                  <a:pt x="45" y="297"/>
                  <a:pt x="45" y="297"/>
                </a:cubicBezTo>
                <a:cubicBezTo>
                  <a:pt x="44" y="298"/>
                  <a:pt x="44" y="298"/>
                  <a:pt x="44" y="298"/>
                </a:cubicBezTo>
                <a:cubicBezTo>
                  <a:pt x="43" y="297"/>
                  <a:pt x="43" y="297"/>
                  <a:pt x="43" y="297"/>
                </a:cubicBezTo>
                <a:cubicBezTo>
                  <a:pt x="43" y="297"/>
                  <a:pt x="43" y="297"/>
                  <a:pt x="43" y="297"/>
                </a:cubicBezTo>
                <a:cubicBezTo>
                  <a:pt x="43" y="296"/>
                  <a:pt x="43" y="296"/>
                  <a:pt x="43" y="296"/>
                </a:cubicBezTo>
                <a:cubicBezTo>
                  <a:pt x="45" y="296"/>
                  <a:pt x="45" y="296"/>
                  <a:pt x="45" y="296"/>
                </a:cubicBezTo>
                <a:cubicBezTo>
                  <a:pt x="46" y="295"/>
                  <a:pt x="46" y="295"/>
                  <a:pt x="46" y="295"/>
                </a:cubicBezTo>
                <a:cubicBezTo>
                  <a:pt x="45" y="295"/>
                  <a:pt x="45" y="295"/>
                  <a:pt x="45" y="295"/>
                </a:cubicBezTo>
                <a:cubicBezTo>
                  <a:pt x="44" y="295"/>
                  <a:pt x="44" y="295"/>
                  <a:pt x="44" y="295"/>
                </a:cubicBezTo>
                <a:cubicBezTo>
                  <a:pt x="43" y="295"/>
                  <a:pt x="43" y="295"/>
                  <a:pt x="43" y="295"/>
                </a:cubicBezTo>
                <a:cubicBezTo>
                  <a:pt x="43" y="294"/>
                  <a:pt x="43" y="294"/>
                  <a:pt x="43" y="294"/>
                </a:cubicBezTo>
                <a:cubicBezTo>
                  <a:pt x="43" y="293"/>
                  <a:pt x="43" y="293"/>
                  <a:pt x="43" y="293"/>
                </a:cubicBezTo>
                <a:cubicBezTo>
                  <a:pt x="44" y="293"/>
                  <a:pt x="44" y="293"/>
                  <a:pt x="44" y="293"/>
                </a:cubicBezTo>
                <a:cubicBezTo>
                  <a:pt x="47" y="293"/>
                  <a:pt x="47" y="293"/>
                  <a:pt x="47" y="293"/>
                </a:cubicBezTo>
                <a:cubicBezTo>
                  <a:pt x="48" y="292"/>
                  <a:pt x="48" y="292"/>
                  <a:pt x="48" y="292"/>
                </a:cubicBezTo>
                <a:cubicBezTo>
                  <a:pt x="50" y="292"/>
                  <a:pt x="50" y="292"/>
                  <a:pt x="50" y="292"/>
                </a:cubicBezTo>
                <a:cubicBezTo>
                  <a:pt x="51" y="292"/>
                  <a:pt x="51" y="292"/>
                  <a:pt x="51" y="292"/>
                </a:cubicBezTo>
                <a:cubicBezTo>
                  <a:pt x="51" y="291"/>
                  <a:pt x="51" y="291"/>
                  <a:pt x="51" y="291"/>
                </a:cubicBezTo>
                <a:cubicBezTo>
                  <a:pt x="50" y="291"/>
                  <a:pt x="50" y="291"/>
                  <a:pt x="50" y="291"/>
                </a:cubicBezTo>
                <a:cubicBezTo>
                  <a:pt x="49" y="291"/>
                  <a:pt x="49" y="291"/>
                  <a:pt x="49" y="291"/>
                </a:cubicBezTo>
                <a:cubicBezTo>
                  <a:pt x="48" y="292"/>
                  <a:pt x="48" y="292"/>
                  <a:pt x="48" y="292"/>
                </a:cubicBezTo>
                <a:cubicBezTo>
                  <a:pt x="46" y="292"/>
                  <a:pt x="46" y="292"/>
                  <a:pt x="46" y="292"/>
                </a:cubicBezTo>
                <a:cubicBezTo>
                  <a:pt x="45" y="292"/>
                  <a:pt x="45" y="292"/>
                  <a:pt x="45" y="292"/>
                </a:cubicBezTo>
                <a:cubicBezTo>
                  <a:pt x="44" y="292"/>
                  <a:pt x="44" y="292"/>
                  <a:pt x="44" y="292"/>
                </a:cubicBezTo>
                <a:cubicBezTo>
                  <a:pt x="43" y="292"/>
                  <a:pt x="43" y="292"/>
                  <a:pt x="43" y="292"/>
                </a:cubicBezTo>
                <a:cubicBezTo>
                  <a:pt x="44" y="292"/>
                  <a:pt x="44" y="292"/>
                  <a:pt x="44" y="292"/>
                </a:cubicBezTo>
                <a:cubicBezTo>
                  <a:pt x="46" y="292"/>
                  <a:pt x="46" y="292"/>
                  <a:pt x="46" y="292"/>
                </a:cubicBezTo>
                <a:cubicBezTo>
                  <a:pt x="47" y="291"/>
                  <a:pt x="47" y="291"/>
                  <a:pt x="47" y="291"/>
                </a:cubicBezTo>
                <a:cubicBezTo>
                  <a:pt x="48" y="290"/>
                  <a:pt x="48" y="290"/>
                  <a:pt x="48" y="290"/>
                </a:cubicBezTo>
                <a:cubicBezTo>
                  <a:pt x="49" y="290"/>
                  <a:pt x="49" y="290"/>
                  <a:pt x="49" y="290"/>
                </a:cubicBezTo>
                <a:cubicBezTo>
                  <a:pt x="49" y="290"/>
                  <a:pt x="49" y="290"/>
                  <a:pt x="49" y="290"/>
                </a:cubicBezTo>
                <a:cubicBezTo>
                  <a:pt x="50" y="291"/>
                  <a:pt x="50" y="291"/>
                  <a:pt x="50" y="291"/>
                </a:cubicBezTo>
                <a:cubicBezTo>
                  <a:pt x="51" y="291"/>
                  <a:pt x="51" y="291"/>
                  <a:pt x="51" y="291"/>
                </a:cubicBezTo>
                <a:cubicBezTo>
                  <a:pt x="51" y="290"/>
                  <a:pt x="51" y="290"/>
                  <a:pt x="51" y="290"/>
                </a:cubicBezTo>
                <a:cubicBezTo>
                  <a:pt x="50" y="290"/>
                  <a:pt x="50" y="290"/>
                  <a:pt x="50" y="290"/>
                </a:cubicBezTo>
                <a:cubicBezTo>
                  <a:pt x="49" y="289"/>
                  <a:pt x="49" y="289"/>
                  <a:pt x="49" y="289"/>
                </a:cubicBezTo>
                <a:cubicBezTo>
                  <a:pt x="49" y="289"/>
                  <a:pt x="49" y="289"/>
                  <a:pt x="49" y="289"/>
                </a:cubicBezTo>
                <a:cubicBezTo>
                  <a:pt x="48" y="288"/>
                  <a:pt x="48" y="288"/>
                  <a:pt x="48" y="288"/>
                </a:cubicBezTo>
                <a:cubicBezTo>
                  <a:pt x="49" y="288"/>
                  <a:pt x="49" y="288"/>
                  <a:pt x="49" y="288"/>
                </a:cubicBezTo>
                <a:cubicBezTo>
                  <a:pt x="49" y="288"/>
                  <a:pt x="49" y="288"/>
                  <a:pt x="49" y="288"/>
                </a:cubicBezTo>
                <a:cubicBezTo>
                  <a:pt x="50" y="287"/>
                  <a:pt x="50" y="287"/>
                  <a:pt x="50" y="287"/>
                </a:cubicBezTo>
                <a:cubicBezTo>
                  <a:pt x="50" y="288"/>
                  <a:pt x="50" y="288"/>
                  <a:pt x="50" y="288"/>
                </a:cubicBezTo>
                <a:cubicBezTo>
                  <a:pt x="51" y="288"/>
                  <a:pt x="51" y="288"/>
                  <a:pt x="51" y="288"/>
                </a:cubicBezTo>
                <a:cubicBezTo>
                  <a:pt x="52" y="290"/>
                  <a:pt x="52" y="290"/>
                  <a:pt x="52" y="290"/>
                </a:cubicBezTo>
                <a:cubicBezTo>
                  <a:pt x="52" y="290"/>
                  <a:pt x="52" y="290"/>
                  <a:pt x="52" y="290"/>
                </a:cubicBezTo>
                <a:cubicBezTo>
                  <a:pt x="53" y="290"/>
                  <a:pt x="53" y="290"/>
                  <a:pt x="53" y="290"/>
                </a:cubicBezTo>
                <a:cubicBezTo>
                  <a:pt x="52" y="289"/>
                  <a:pt x="52" y="289"/>
                  <a:pt x="52" y="289"/>
                </a:cubicBezTo>
                <a:cubicBezTo>
                  <a:pt x="52" y="288"/>
                  <a:pt x="52" y="288"/>
                  <a:pt x="52" y="288"/>
                </a:cubicBezTo>
                <a:cubicBezTo>
                  <a:pt x="52" y="286"/>
                  <a:pt x="52" y="286"/>
                  <a:pt x="52" y="286"/>
                </a:cubicBezTo>
                <a:cubicBezTo>
                  <a:pt x="52" y="286"/>
                  <a:pt x="52" y="286"/>
                  <a:pt x="52" y="286"/>
                </a:cubicBezTo>
                <a:cubicBezTo>
                  <a:pt x="52" y="285"/>
                  <a:pt x="52" y="285"/>
                  <a:pt x="52" y="285"/>
                </a:cubicBezTo>
                <a:cubicBezTo>
                  <a:pt x="52" y="285"/>
                  <a:pt x="52" y="285"/>
                  <a:pt x="52" y="285"/>
                </a:cubicBezTo>
                <a:cubicBezTo>
                  <a:pt x="51" y="286"/>
                  <a:pt x="51" y="286"/>
                  <a:pt x="51" y="286"/>
                </a:cubicBezTo>
                <a:cubicBezTo>
                  <a:pt x="50" y="286"/>
                  <a:pt x="50" y="286"/>
                  <a:pt x="50" y="286"/>
                </a:cubicBezTo>
                <a:cubicBezTo>
                  <a:pt x="50" y="285"/>
                  <a:pt x="50" y="285"/>
                  <a:pt x="50" y="285"/>
                </a:cubicBezTo>
                <a:cubicBezTo>
                  <a:pt x="49" y="286"/>
                  <a:pt x="49" y="286"/>
                  <a:pt x="49" y="286"/>
                </a:cubicBezTo>
                <a:cubicBezTo>
                  <a:pt x="48" y="287"/>
                  <a:pt x="48" y="287"/>
                  <a:pt x="48" y="287"/>
                </a:cubicBezTo>
                <a:cubicBezTo>
                  <a:pt x="47" y="287"/>
                  <a:pt x="47" y="287"/>
                  <a:pt x="47" y="287"/>
                </a:cubicBezTo>
                <a:cubicBezTo>
                  <a:pt x="47" y="287"/>
                  <a:pt x="47" y="287"/>
                  <a:pt x="47" y="287"/>
                </a:cubicBezTo>
                <a:cubicBezTo>
                  <a:pt x="47" y="287"/>
                  <a:pt x="47" y="287"/>
                  <a:pt x="47" y="287"/>
                </a:cubicBezTo>
                <a:cubicBezTo>
                  <a:pt x="47" y="286"/>
                  <a:pt x="47" y="286"/>
                  <a:pt x="47" y="286"/>
                </a:cubicBezTo>
                <a:cubicBezTo>
                  <a:pt x="47" y="286"/>
                  <a:pt x="47" y="286"/>
                  <a:pt x="47" y="286"/>
                </a:cubicBezTo>
                <a:cubicBezTo>
                  <a:pt x="47" y="286"/>
                  <a:pt x="47" y="286"/>
                  <a:pt x="47" y="286"/>
                </a:cubicBezTo>
                <a:cubicBezTo>
                  <a:pt x="46" y="287"/>
                  <a:pt x="46" y="287"/>
                  <a:pt x="46" y="287"/>
                </a:cubicBezTo>
                <a:cubicBezTo>
                  <a:pt x="46" y="287"/>
                  <a:pt x="46" y="287"/>
                  <a:pt x="46" y="287"/>
                </a:cubicBezTo>
                <a:cubicBezTo>
                  <a:pt x="44" y="289"/>
                  <a:pt x="44" y="289"/>
                  <a:pt x="44" y="289"/>
                </a:cubicBezTo>
                <a:cubicBezTo>
                  <a:pt x="44" y="289"/>
                  <a:pt x="44" y="289"/>
                  <a:pt x="44" y="289"/>
                </a:cubicBezTo>
                <a:cubicBezTo>
                  <a:pt x="43" y="290"/>
                  <a:pt x="43" y="290"/>
                  <a:pt x="43" y="290"/>
                </a:cubicBezTo>
                <a:cubicBezTo>
                  <a:pt x="42" y="290"/>
                  <a:pt x="42" y="290"/>
                  <a:pt x="42" y="290"/>
                </a:cubicBezTo>
                <a:cubicBezTo>
                  <a:pt x="42" y="289"/>
                  <a:pt x="42" y="289"/>
                  <a:pt x="42" y="289"/>
                </a:cubicBezTo>
                <a:cubicBezTo>
                  <a:pt x="42" y="288"/>
                  <a:pt x="42" y="288"/>
                  <a:pt x="42" y="288"/>
                </a:cubicBezTo>
                <a:cubicBezTo>
                  <a:pt x="42" y="287"/>
                  <a:pt x="42" y="287"/>
                  <a:pt x="42" y="287"/>
                </a:cubicBezTo>
                <a:cubicBezTo>
                  <a:pt x="42" y="287"/>
                  <a:pt x="42" y="287"/>
                  <a:pt x="42" y="287"/>
                </a:cubicBezTo>
                <a:cubicBezTo>
                  <a:pt x="42" y="286"/>
                  <a:pt x="42" y="286"/>
                  <a:pt x="42" y="286"/>
                </a:cubicBezTo>
                <a:cubicBezTo>
                  <a:pt x="42" y="285"/>
                  <a:pt x="42" y="285"/>
                  <a:pt x="42" y="285"/>
                </a:cubicBezTo>
                <a:cubicBezTo>
                  <a:pt x="43" y="285"/>
                  <a:pt x="43" y="285"/>
                  <a:pt x="43" y="285"/>
                </a:cubicBezTo>
                <a:cubicBezTo>
                  <a:pt x="45" y="284"/>
                  <a:pt x="45" y="284"/>
                  <a:pt x="45" y="284"/>
                </a:cubicBezTo>
                <a:cubicBezTo>
                  <a:pt x="45" y="284"/>
                  <a:pt x="45" y="284"/>
                  <a:pt x="45" y="284"/>
                </a:cubicBezTo>
                <a:cubicBezTo>
                  <a:pt x="46" y="283"/>
                  <a:pt x="46" y="283"/>
                  <a:pt x="46" y="283"/>
                </a:cubicBezTo>
                <a:cubicBezTo>
                  <a:pt x="47" y="283"/>
                  <a:pt x="47" y="283"/>
                  <a:pt x="47" y="283"/>
                </a:cubicBezTo>
                <a:cubicBezTo>
                  <a:pt x="46" y="282"/>
                  <a:pt x="46" y="282"/>
                  <a:pt x="46" y="282"/>
                </a:cubicBezTo>
                <a:cubicBezTo>
                  <a:pt x="46" y="282"/>
                  <a:pt x="46" y="282"/>
                  <a:pt x="46" y="282"/>
                </a:cubicBezTo>
                <a:cubicBezTo>
                  <a:pt x="45" y="283"/>
                  <a:pt x="45" y="283"/>
                  <a:pt x="45" y="283"/>
                </a:cubicBezTo>
                <a:cubicBezTo>
                  <a:pt x="44" y="283"/>
                  <a:pt x="44" y="283"/>
                  <a:pt x="44" y="283"/>
                </a:cubicBezTo>
                <a:cubicBezTo>
                  <a:pt x="44" y="284"/>
                  <a:pt x="44" y="284"/>
                  <a:pt x="44" y="284"/>
                </a:cubicBezTo>
                <a:cubicBezTo>
                  <a:pt x="43" y="284"/>
                  <a:pt x="43" y="284"/>
                  <a:pt x="43" y="284"/>
                </a:cubicBezTo>
                <a:cubicBezTo>
                  <a:pt x="42" y="284"/>
                  <a:pt x="42" y="284"/>
                  <a:pt x="42" y="284"/>
                </a:cubicBezTo>
                <a:cubicBezTo>
                  <a:pt x="42" y="283"/>
                  <a:pt x="42" y="283"/>
                  <a:pt x="42" y="283"/>
                </a:cubicBezTo>
                <a:cubicBezTo>
                  <a:pt x="42" y="282"/>
                  <a:pt x="42" y="282"/>
                  <a:pt x="42" y="282"/>
                </a:cubicBezTo>
                <a:cubicBezTo>
                  <a:pt x="43" y="281"/>
                  <a:pt x="43" y="281"/>
                  <a:pt x="43" y="281"/>
                </a:cubicBezTo>
                <a:cubicBezTo>
                  <a:pt x="43" y="280"/>
                  <a:pt x="43" y="280"/>
                  <a:pt x="43" y="280"/>
                </a:cubicBezTo>
                <a:cubicBezTo>
                  <a:pt x="42" y="279"/>
                  <a:pt x="42" y="279"/>
                  <a:pt x="42" y="279"/>
                </a:cubicBezTo>
                <a:cubicBezTo>
                  <a:pt x="42" y="279"/>
                  <a:pt x="42" y="279"/>
                  <a:pt x="42" y="279"/>
                </a:cubicBezTo>
                <a:cubicBezTo>
                  <a:pt x="41" y="280"/>
                  <a:pt x="41" y="280"/>
                  <a:pt x="41" y="280"/>
                </a:cubicBezTo>
                <a:cubicBezTo>
                  <a:pt x="41" y="280"/>
                  <a:pt x="41" y="280"/>
                  <a:pt x="41" y="280"/>
                </a:cubicBezTo>
                <a:cubicBezTo>
                  <a:pt x="41" y="279"/>
                  <a:pt x="41" y="279"/>
                  <a:pt x="41" y="279"/>
                </a:cubicBezTo>
                <a:cubicBezTo>
                  <a:pt x="41" y="278"/>
                  <a:pt x="41" y="278"/>
                  <a:pt x="41" y="278"/>
                </a:cubicBezTo>
                <a:cubicBezTo>
                  <a:pt x="43" y="278"/>
                  <a:pt x="43" y="278"/>
                  <a:pt x="43" y="278"/>
                </a:cubicBezTo>
                <a:cubicBezTo>
                  <a:pt x="43" y="277"/>
                  <a:pt x="43" y="277"/>
                  <a:pt x="43" y="277"/>
                </a:cubicBezTo>
                <a:cubicBezTo>
                  <a:pt x="45" y="277"/>
                  <a:pt x="45" y="277"/>
                  <a:pt x="45" y="277"/>
                </a:cubicBezTo>
                <a:cubicBezTo>
                  <a:pt x="45" y="276"/>
                  <a:pt x="45" y="276"/>
                  <a:pt x="45" y="276"/>
                </a:cubicBezTo>
                <a:cubicBezTo>
                  <a:pt x="46" y="276"/>
                  <a:pt x="46" y="276"/>
                  <a:pt x="46" y="276"/>
                </a:cubicBezTo>
                <a:cubicBezTo>
                  <a:pt x="46" y="275"/>
                  <a:pt x="46" y="275"/>
                  <a:pt x="46" y="275"/>
                </a:cubicBezTo>
                <a:cubicBezTo>
                  <a:pt x="47" y="275"/>
                  <a:pt x="47" y="275"/>
                  <a:pt x="47" y="275"/>
                </a:cubicBezTo>
                <a:cubicBezTo>
                  <a:pt x="47" y="275"/>
                  <a:pt x="47" y="275"/>
                  <a:pt x="47" y="275"/>
                </a:cubicBezTo>
                <a:cubicBezTo>
                  <a:pt x="48" y="275"/>
                  <a:pt x="48" y="275"/>
                  <a:pt x="48" y="275"/>
                </a:cubicBezTo>
                <a:cubicBezTo>
                  <a:pt x="50" y="275"/>
                  <a:pt x="50" y="275"/>
                  <a:pt x="50" y="275"/>
                </a:cubicBezTo>
                <a:cubicBezTo>
                  <a:pt x="50" y="275"/>
                  <a:pt x="50" y="275"/>
                  <a:pt x="50" y="275"/>
                </a:cubicBezTo>
                <a:cubicBezTo>
                  <a:pt x="51" y="275"/>
                  <a:pt x="51" y="275"/>
                  <a:pt x="51" y="275"/>
                </a:cubicBezTo>
                <a:cubicBezTo>
                  <a:pt x="51" y="274"/>
                  <a:pt x="51" y="274"/>
                  <a:pt x="51" y="274"/>
                </a:cubicBezTo>
                <a:cubicBezTo>
                  <a:pt x="50" y="274"/>
                  <a:pt x="50" y="274"/>
                  <a:pt x="50" y="274"/>
                </a:cubicBezTo>
                <a:cubicBezTo>
                  <a:pt x="50" y="273"/>
                  <a:pt x="50" y="273"/>
                  <a:pt x="50" y="273"/>
                </a:cubicBezTo>
                <a:cubicBezTo>
                  <a:pt x="49" y="273"/>
                  <a:pt x="49" y="273"/>
                  <a:pt x="49" y="273"/>
                </a:cubicBezTo>
                <a:cubicBezTo>
                  <a:pt x="46" y="275"/>
                  <a:pt x="46" y="275"/>
                  <a:pt x="46" y="275"/>
                </a:cubicBezTo>
                <a:cubicBezTo>
                  <a:pt x="46" y="275"/>
                  <a:pt x="46" y="275"/>
                  <a:pt x="46" y="275"/>
                </a:cubicBezTo>
                <a:cubicBezTo>
                  <a:pt x="45" y="275"/>
                  <a:pt x="45" y="275"/>
                  <a:pt x="45" y="275"/>
                </a:cubicBezTo>
                <a:cubicBezTo>
                  <a:pt x="45" y="276"/>
                  <a:pt x="45" y="276"/>
                  <a:pt x="45" y="276"/>
                </a:cubicBezTo>
                <a:cubicBezTo>
                  <a:pt x="44" y="276"/>
                  <a:pt x="44" y="276"/>
                  <a:pt x="44" y="276"/>
                </a:cubicBezTo>
                <a:cubicBezTo>
                  <a:pt x="43" y="277"/>
                  <a:pt x="43" y="277"/>
                  <a:pt x="43" y="277"/>
                </a:cubicBezTo>
                <a:cubicBezTo>
                  <a:pt x="42" y="277"/>
                  <a:pt x="42" y="277"/>
                  <a:pt x="42" y="277"/>
                </a:cubicBezTo>
                <a:cubicBezTo>
                  <a:pt x="42" y="277"/>
                  <a:pt x="42" y="277"/>
                  <a:pt x="42" y="277"/>
                </a:cubicBezTo>
                <a:cubicBezTo>
                  <a:pt x="42" y="277"/>
                  <a:pt x="42" y="277"/>
                  <a:pt x="42" y="277"/>
                </a:cubicBezTo>
                <a:cubicBezTo>
                  <a:pt x="42" y="276"/>
                  <a:pt x="42" y="276"/>
                  <a:pt x="42" y="276"/>
                </a:cubicBezTo>
                <a:cubicBezTo>
                  <a:pt x="41" y="276"/>
                  <a:pt x="41" y="276"/>
                  <a:pt x="41" y="276"/>
                </a:cubicBezTo>
                <a:cubicBezTo>
                  <a:pt x="41" y="276"/>
                  <a:pt x="41" y="276"/>
                  <a:pt x="41" y="276"/>
                </a:cubicBezTo>
                <a:cubicBezTo>
                  <a:pt x="42" y="275"/>
                  <a:pt x="42" y="275"/>
                  <a:pt x="42" y="275"/>
                </a:cubicBezTo>
                <a:cubicBezTo>
                  <a:pt x="41" y="274"/>
                  <a:pt x="41" y="274"/>
                  <a:pt x="41" y="274"/>
                </a:cubicBezTo>
                <a:cubicBezTo>
                  <a:pt x="40" y="274"/>
                  <a:pt x="40" y="274"/>
                  <a:pt x="40" y="274"/>
                </a:cubicBezTo>
                <a:cubicBezTo>
                  <a:pt x="40" y="273"/>
                  <a:pt x="40" y="273"/>
                  <a:pt x="40" y="273"/>
                </a:cubicBezTo>
                <a:cubicBezTo>
                  <a:pt x="40" y="273"/>
                  <a:pt x="40" y="273"/>
                  <a:pt x="40" y="273"/>
                </a:cubicBezTo>
                <a:cubicBezTo>
                  <a:pt x="41" y="272"/>
                  <a:pt x="41" y="272"/>
                  <a:pt x="41" y="272"/>
                </a:cubicBezTo>
                <a:cubicBezTo>
                  <a:pt x="42" y="272"/>
                  <a:pt x="42" y="272"/>
                  <a:pt x="42" y="272"/>
                </a:cubicBezTo>
                <a:cubicBezTo>
                  <a:pt x="42" y="272"/>
                  <a:pt x="42" y="272"/>
                  <a:pt x="42" y="272"/>
                </a:cubicBezTo>
                <a:cubicBezTo>
                  <a:pt x="43" y="272"/>
                  <a:pt x="43" y="272"/>
                  <a:pt x="43" y="272"/>
                </a:cubicBezTo>
                <a:cubicBezTo>
                  <a:pt x="44" y="272"/>
                  <a:pt x="44" y="272"/>
                  <a:pt x="44" y="272"/>
                </a:cubicBezTo>
                <a:cubicBezTo>
                  <a:pt x="45" y="272"/>
                  <a:pt x="45" y="272"/>
                  <a:pt x="45" y="272"/>
                </a:cubicBezTo>
                <a:cubicBezTo>
                  <a:pt x="46" y="271"/>
                  <a:pt x="46" y="271"/>
                  <a:pt x="46" y="271"/>
                </a:cubicBezTo>
                <a:cubicBezTo>
                  <a:pt x="47" y="271"/>
                  <a:pt x="47" y="271"/>
                  <a:pt x="47" y="271"/>
                </a:cubicBezTo>
                <a:cubicBezTo>
                  <a:pt x="47" y="270"/>
                  <a:pt x="47" y="270"/>
                  <a:pt x="47" y="270"/>
                </a:cubicBezTo>
                <a:cubicBezTo>
                  <a:pt x="47" y="270"/>
                  <a:pt x="47" y="270"/>
                  <a:pt x="47" y="270"/>
                </a:cubicBezTo>
                <a:cubicBezTo>
                  <a:pt x="46" y="270"/>
                  <a:pt x="46" y="270"/>
                  <a:pt x="46" y="270"/>
                </a:cubicBezTo>
                <a:cubicBezTo>
                  <a:pt x="45" y="271"/>
                  <a:pt x="45" y="271"/>
                  <a:pt x="45" y="271"/>
                </a:cubicBezTo>
                <a:cubicBezTo>
                  <a:pt x="44" y="271"/>
                  <a:pt x="44" y="271"/>
                  <a:pt x="44" y="271"/>
                </a:cubicBezTo>
                <a:cubicBezTo>
                  <a:pt x="43" y="271"/>
                  <a:pt x="43" y="271"/>
                  <a:pt x="43" y="271"/>
                </a:cubicBezTo>
                <a:cubicBezTo>
                  <a:pt x="42" y="270"/>
                  <a:pt x="42" y="270"/>
                  <a:pt x="42" y="270"/>
                </a:cubicBezTo>
                <a:cubicBezTo>
                  <a:pt x="42" y="270"/>
                  <a:pt x="42" y="270"/>
                  <a:pt x="42" y="270"/>
                </a:cubicBezTo>
                <a:cubicBezTo>
                  <a:pt x="41" y="271"/>
                  <a:pt x="41" y="271"/>
                  <a:pt x="41" y="271"/>
                </a:cubicBezTo>
                <a:cubicBezTo>
                  <a:pt x="40" y="272"/>
                  <a:pt x="40" y="272"/>
                  <a:pt x="40" y="272"/>
                </a:cubicBezTo>
                <a:cubicBezTo>
                  <a:pt x="40" y="271"/>
                  <a:pt x="40" y="271"/>
                  <a:pt x="40" y="271"/>
                </a:cubicBezTo>
                <a:cubicBezTo>
                  <a:pt x="40" y="271"/>
                  <a:pt x="40" y="271"/>
                  <a:pt x="40" y="271"/>
                </a:cubicBezTo>
                <a:cubicBezTo>
                  <a:pt x="39" y="271"/>
                  <a:pt x="39" y="271"/>
                  <a:pt x="39" y="271"/>
                </a:cubicBezTo>
                <a:cubicBezTo>
                  <a:pt x="38" y="271"/>
                  <a:pt x="38" y="271"/>
                  <a:pt x="38" y="271"/>
                </a:cubicBezTo>
                <a:cubicBezTo>
                  <a:pt x="39" y="271"/>
                  <a:pt x="39" y="271"/>
                  <a:pt x="39" y="271"/>
                </a:cubicBezTo>
                <a:cubicBezTo>
                  <a:pt x="39" y="270"/>
                  <a:pt x="39" y="270"/>
                  <a:pt x="39" y="270"/>
                </a:cubicBezTo>
                <a:cubicBezTo>
                  <a:pt x="41" y="270"/>
                  <a:pt x="41" y="270"/>
                  <a:pt x="41" y="270"/>
                </a:cubicBezTo>
                <a:cubicBezTo>
                  <a:pt x="43" y="269"/>
                  <a:pt x="43" y="269"/>
                  <a:pt x="43" y="269"/>
                </a:cubicBezTo>
                <a:cubicBezTo>
                  <a:pt x="44" y="268"/>
                  <a:pt x="44" y="268"/>
                  <a:pt x="44" y="268"/>
                </a:cubicBezTo>
                <a:cubicBezTo>
                  <a:pt x="45" y="268"/>
                  <a:pt x="45" y="268"/>
                  <a:pt x="45" y="268"/>
                </a:cubicBezTo>
                <a:cubicBezTo>
                  <a:pt x="46" y="267"/>
                  <a:pt x="46" y="267"/>
                  <a:pt x="46" y="267"/>
                </a:cubicBezTo>
                <a:cubicBezTo>
                  <a:pt x="48" y="265"/>
                  <a:pt x="48" y="265"/>
                  <a:pt x="48" y="265"/>
                </a:cubicBezTo>
                <a:cubicBezTo>
                  <a:pt x="50" y="264"/>
                  <a:pt x="50" y="264"/>
                  <a:pt x="50" y="264"/>
                </a:cubicBezTo>
                <a:cubicBezTo>
                  <a:pt x="52" y="263"/>
                  <a:pt x="52" y="263"/>
                  <a:pt x="52" y="263"/>
                </a:cubicBezTo>
                <a:cubicBezTo>
                  <a:pt x="53" y="263"/>
                  <a:pt x="53" y="263"/>
                  <a:pt x="53" y="263"/>
                </a:cubicBezTo>
                <a:cubicBezTo>
                  <a:pt x="53" y="263"/>
                  <a:pt x="53" y="263"/>
                  <a:pt x="53" y="263"/>
                </a:cubicBezTo>
                <a:cubicBezTo>
                  <a:pt x="53" y="262"/>
                  <a:pt x="53" y="262"/>
                  <a:pt x="53" y="262"/>
                </a:cubicBezTo>
                <a:cubicBezTo>
                  <a:pt x="52" y="262"/>
                  <a:pt x="52" y="262"/>
                  <a:pt x="52" y="262"/>
                </a:cubicBezTo>
                <a:cubicBezTo>
                  <a:pt x="51" y="263"/>
                  <a:pt x="51" y="263"/>
                  <a:pt x="51" y="263"/>
                </a:cubicBezTo>
                <a:cubicBezTo>
                  <a:pt x="48" y="264"/>
                  <a:pt x="48" y="264"/>
                  <a:pt x="48" y="264"/>
                </a:cubicBezTo>
                <a:cubicBezTo>
                  <a:pt x="46" y="265"/>
                  <a:pt x="46" y="265"/>
                  <a:pt x="46" y="265"/>
                </a:cubicBezTo>
                <a:cubicBezTo>
                  <a:pt x="45" y="267"/>
                  <a:pt x="45" y="267"/>
                  <a:pt x="45" y="267"/>
                </a:cubicBezTo>
                <a:cubicBezTo>
                  <a:pt x="44" y="267"/>
                  <a:pt x="44" y="267"/>
                  <a:pt x="44" y="267"/>
                </a:cubicBezTo>
                <a:cubicBezTo>
                  <a:pt x="42" y="268"/>
                  <a:pt x="42" y="268"/>
                  <a:pt x="42" y="268"/>
                </a:cubicBezTo>
                <a:cubicBezTo>
                  <a:pt x="41" y="268"/>
                  <a:pt x="41" y="268"/>
                  <a:pt x="41" y="268"/>
                </a:cubicBezTo>
                <a:cubicBezTo>
                  <a:pt x="39" y="269"/>
                  <a:pt x="39" y="269"/>
                  <a:pt x="39" y="269"/>
                </a:cubicBezTo>
                <a:cubicBezTo>
                  <a:pt x="38" y="269"/>
                  <a:pt x="38" y="269"/>
                  <a:pt x="38" y="269"/>
                </a:cubicBezTo>
                <a:cubicBezTo>
                  <a:pt x="38" y="269"/>
                  <a:pt x="38" y="269"/>
                  <a:pt x="38" y="269"/>
                </a:cubicBezTo>
                <a:cubicBezTo>
                  <a:pt x="38" y="268"/>
                  <a:pt x="38" y="268"/>
                  <a:pt x="38" y="268"/>
                </a:cubicBezTo>
                <a:cubicBezTo>
                  <a:pt x="38" y="266"/>
                  <a:pt x="38" y="266"/>
                  <a:pt x="38" y="266"/>
                </a:cubicBezTo>
                <a:cubicBezTo>
                  <a:pt x="39" y="265"/>
                  <a:pt x="39" y="265"/>
                  <a:pt x="39" y="265"/>
                </a:cubicBezTo>
                <a:cubicBezTo>
                  <a:pt x="40" y="265"/>
                  <a:pt x="40" y="265"/>
                  <a:pt x="40" y="265"/>
                </a:cubicBezTo>
                <a:cubicBezTo>
                  <a:pt x="41" y="266"/>
                  <a:pt x="41" y="266"/>
                  <a:pt x="41" y="266"/>
                </a:cubicBezTo>
                <a:cubicBezTo>
                  <a:pt x="41" y="266"/>
                  <a:pt x="41" y="266"/>
                  <a:pt x="41" y="266"/>
                </a:cubicBezTo>
                <a:cubicBezTo>
                  <a:pt x="43" y="266"/>
                  <a:pt x="43" y="266"/>
                  <a:pt x="43" y="266"/>
                </a:cubicBezTo>
                <a:cubicBezTo>
                  <a:pt x="44" y="266"/>
                  <a:pt x="44" y="266"/>
                  <a:pt x="44" y="266"/>
                </a:cubicBezTo>
                <a:cubicBezTo>
                  <a:pt x="43" y="265"/>
                  <a:pt x="43" y="265"/>
                  <a:pt x="43" y="265"/>
                </a:cubicBezTo>
                <a:cubicBezTo>
                  <a:pt x="43" y="265"/>
                  <a:pt x="43" y="265"/>
                  <a:pt x="43" y="265"/>
                </a:cubicBezTo>
                <a:cubicBezTo>
                  <a:pt x="42" y="265"/>
                  <a:pt x="42" y="265"/>
                  <a:pt x="42" y="265"/>
                </a:cubicBezTo>
                <a:cubicBezTo>
                  <a:pt x="41" y="265"/>
                  <a:pt x="41" y="265"/>
                  <a:pt x="41" y="265"/>
                </a:cubicBezTo>
                <a:cubicBezTo>
                  <a:pt x="40" y="265"/>
                  <a:pt x="40" y="265"/>
                  <a:pt x="40" y="265"/>
                </a:cubicBezTo>
                <a:cubicBezTo>
                  <a:pt x="40" y="264"/>
                  <a:pt x="40" y="264"/>
                  <a:pt x="40" y="264"/>
                </a:cubicBezTo>
                <a:cubicBezTo>
                  <a:pt x="40" y="264"/>
                  <a:pt x="40" y="264"/>
                  <a:pt x="40" y="264"/>
                </a:cubicBezTo>
                <a:cubicBezTo>
                  <a:pt x="41" y="263"/>
                  <a:pt x="41" y="263"/>
                  <a:pt x="41" y="263"/>
                </a:cubicBezTo>
                <a:cubicBezTo>
                  <a:pt x="42" y="264"/>
                  <a:pt x="42" y="264"/>
                  <a:pt x="42" y="264"/>
                </a:cubicBezTo>
                <a:cubicBezTo>
                  <a:pt x="43" y="264"/>
                  <a:pt x="43" y="264"/>
                  <a:pt x="43" y="264"/>
                </a:cubicBezTo>
                <a:cubicBezTo>
                  <a:pt x="44" y="264"/>
                  <a:pt x="44" y="264"/>
                  <a:pt x="44" y="264"/>
                </a:cubicBezTo>
                <a:cubicBezTo>
                  <a:pt x="44" y="263"/>
                  <a:pt x="44" y="263"/>
                  <a:pt x="44" y="263"/>
                </a:cubicBezTo>
                <a:cubicBezTo>
                  <a:pt x="43" y="263"/>
                  <a:pt x="43" y="263"/>
                  <a:pt x="43" y="263"/>
                </a:cubicBezTo>
                <a:cubicBezTo>
                  <a:pt x="43" y="263"/>
                  <a:pt x="43" y="263"/>
                  <a:pt x="43" y="263"/>
                </a:cubicBezTo>
                <a:cubicBezTo>
                  <a:pt x="42" y="263"/>
                  <a:pt x="42" y="263"/>
                  <a:pt x="42" y="263"/>
                </a:cubicBezTo>
                <a:cubicBezTo>
                  <a:pt x="43" y="262"/>
                  <a:pt x="43" y="262"/>
                  <a:pt x="43" y="262"/>
                </a:cubicBezTo>
                <a:cubicBezTo>
                  <a:pt x="44" y="262"/>
                  <a:pt x="44" y="262"/>
                  <a:pt x="44" y="262"/>
                </a:cubicBezTo>
                <a:cubicBezTo>
                  <a:pt x="44" y="262"/>
                  <a:pt x="44" y="262"/>
                  <a:pt x="44" y="262"/>
                </a:cubicBezTo>
                <a:cubicBezTo>
                  <a:pt x="44" y="262"/>
                  <a:pt x="44" y="262"/>
                  <a:pt x="44" y="262"/>
                </a:cubicBezTo>
                <a:cubicBezTo>
                  <a:pt x="45" y="262"/>
                  <a:pt x="45" y="262"/>
                  <a:pt x="45" y="262"/>
                </a:cubicBezTo>
                <a:cubicBezTo>
                  <a:pt x="46" y="262"/>
                  <a:pt x="46" y="262"/>
                  <a:pt x="46" y="262"/>
                </a:cubicBezTo>
                <a:cubicBezTo>
                  <a:pt x="46" y="261"/>
                  <a:pt x="46" y="261"/>
                  <a:pt x="46" y="261"/>
                </a:cubicBezTo>
                <a:cubicBezTo>
                  <a:pt x="46" y="260"/>
                  <a:pt x="46" y="260"/>
                  <a:pt x="46" y="260"/>
                </a:cubicBezTo>
                <a:cubicBezTo>
                  <a:pt x="45" y="260"/>
                  <a:pt x="45" y="260"/>
                  <a:pt x="45" y="260"/>
                </a:cubicBezTo>
                <a:cubicBezTo>
                  <a:pt x="45" y="260"/>
                  <a:pt x="45" y="260"/>
                  <a:pt x="45" y="260"/>
                </a:cubicBezTo>
                <a:cubicBezTo>
                  <a:pt x="44" y="261"/>
                  <a:pt x="44" y="261"/>
                  <a:pt x="44" y="261"/>
                </a:cubicBezTo>
                <a:cubicBezTo>
                  <a:pt x="43" y="261"/>
                  <a:pt x="43" y="261"/>
                  <a:pt x="43" y="261"/>
                </a:cubicBezTo>
                <a:cubicBezTo>
                  <a:pt x="41" y="260"/>
                  <a:pt x="41" y="260"/>
                  <a:pt x="41" y="260"/>
                </a:cubicBezTo>
                <a:cubicBezTo>
                  <a:pt x="39" y="260"/>
                  <a:pt x="39" y="260"/>
                  <a:pt x="39" y="260"/>
                </a:cubicBezTo>
                <a:cubicBezTo>
                  <a:pt x="39" y="259"/>
                  <a:pt x="39" y="259"/>
                  <a:pt x="39" y="259"/>
                </a:cubicBezTo>
                <a:cubicBezTo>
                  <a:pt x="39" y="259"/>
                  <a:pt x="39" y="259"/>
                  <a:pt x="39" y="259"/>
                </a:cubicBezTo>
                <a:cubicBezTo>
                  <a:pt x="40" y="259"/>
                  <a:pt x="40" y="259"/>
                  <a:pt x="40" y="259"/>
                </a:cubicBezTo>
                <a:cubicBezTo>
                  <a:pt x="41" y="259"/>
                  <a:pt x="41" y="259"/>
                  <a:pt x="41" y="259"/>
                </a:cubicBezTo>
                <a:cubicBezTo>
                  <a:pt x="41" y="259"/>
                  <a:pt x="41" y="259"/>
                  <a:pt x="41" y="259"/>
                </a:cubicBezTo>
                <a:cubicBezTo>
                  <a:pt x="41" y="258"/>
                  <a:pt x="41" y="258"/>
                  <a:pt x="41" y="258"/>
                </a:cubicBezTo>
                <a:cubicBezTo>
                  <a:pt x="40" y="258"/>
                  <a:pt x="40" y="258"/>
                  <a:pt x="40" y="258"/>
                </a:cubicBezTo>
                <a:cubicBezTo>
                  <a:pt x="40" y="258"/>
                  <a:pt x="40" y="258"/>
                  <a:pt x="40" y="258"/>
                </a:cubicBezTo>
                <a:cubicBezTo>
                  <a:pt x="40" y="257"/>
                  <a:pt x="40" y="257"/>
                  <a:pt x="40" y="257"/>
                </a:cubicBezTo>
                <a:cubicBezTo>
                  <a:pt x="41" y="257"/>
                  <a:pt x="41" y="257"/>
                  <a:pt x="41" y="257"/>
                </a:cubicBezTo>
                <a:cubicBezTo>
                  <a:pt x="42" y="257"/>
                  <a:pt x="42" y="257"/>
                  <a:pt x="42" y="257"/>
                </a:cubicBezTo>
                <a:cubicBezTo>
                  <a:pt x="43" y="257"/>
                  <a:pt x="43" y="257"/>
                  <a:pt x="43" y="257"/>
                </a:cubicBezTo>
                <a:cubicBezTo>
                  <a:pt x="47" y="257"/>
                  <a:pt x="47" y="257"/>
                  <a:pt x="47" y="257"/>
                </a:cubicBezTo>
                <a:cubicBezTo>
                  <a:pt x="48" y="257"/>
                  <a:pt x="48" y="257"/>
                  <a:pt x="48" y="257"/>
                </a:cubicBezTo>
                <a:cubicBezTo>
                  <a:pt x="49" y="257"/>
                  <a:pt x="49" y="257"/>
                  <a:pt x="49" y="257"/>
                </a:cubicBezTo>
                <a:cubicBezTo>
                  <a:pt x="50" y="257"/>
                  <a:pt x="50" y="257"/>
                  <a:pt x="50" y="257"/>
                </a:cubicBezTo>
                <a:cubicBezTo>
                  <a:pt x="50" y="256"/>
                  <a:pt x="50" y="256"/>
                  <a:pt x="50" y="256"/>
                </a:cubicBezTo>
                <a:cubicBezTo>
                  <a:pt x="48" y="256"/>
                  <a:pt x="48" y="256"/>
                  <a:pt x="48" y="256"/>
                </a:cubicBezTo>
                <a:cubicBezTo>
                  <a:pt x="46" y="256"/>
                  <a:pt x="46" y="256"/>
                  <a:pt x="46" y="256"/>
                </a:cubicBezTo>
                <a:cubicBezTo>
                  <a:pt x="44" y="256"/>
                  <a:pt x="44" y="256"/>
                  <a:pt x="44" y="256"/>
                </a:cubicBezTo>
                <a:cubicBezTo>
                  <a:pt x="43" y="256"/>
                  <a:pt x="43" y="256"/>
                  <a:pt x="43" y="256"/>
                </a:cubicBezTo>
                <a:cubicBezTo>
                  <a:pt x="43" y="256"/>
                  <a:pt x="43" y="256"/>
                  <a:pt x="43" y="256"/>
                </a:cubicBezTo>
                <a:cubicBezTo>
                  <a:pt x="42" y="256"/>
                  <a:pt x="42" y="256"/>
                  <a:pt x="42" y="256"/>
                </a:cubicBezTo>
                <a:cubicBezTo>
                  <a:pt x="41" y="256"/>
                  <a:pt x="41" y="256"/>
                  <a:pt x="41" y="256"/>
                </a:cubicBezTo>
                <a:cubicBezTo>
                  <a:pt x="40" y="257"/>
                  <a:pt x="40" y="257"/>
                  <a:pt x="40" y="257"/>
                </a:cubicBezTo>
                <a:cubicBezTo>
                  <a:pt x="40" y="257"/>
                  <a:pt x="40" y="257"/>
                  <a:pt x="40" y="257"/>
                </a:cubicBezTo>
                <a:cubicBezTo>
                  <a:pt x="40" y="256"/>
                  <a:pt x="40" y="256"/>
                  <a:pt x="40" y="256"/>
                </a:cubicBezTo>
                <a:cubicBezTo>
                  <a:pt x="41" y="255"/>
                  <a:pt x="41" y="255"/>
                  <a:pt x="41" y="255"/>
                </a:cubicBezTo>
                <a:cubicBezTo>
                  <a:pt x="42" y="254"/>
                  <a:pt x="42" y="254"/>
                  <a:pt x="42" y="254"/>
                </a:cubicBezTo>
                <a:cubicBezTo>
                  <a:pt x="43" y="254"/>
                  <a:pt x="43" y="254"/>
                  <a:pt x="43" y="254"/>
                </a:cubicBezTo>
                <a:cubicBezTo>
                  <a:pt x="44" y="253"/>
                  <a:pt x="44" y="253"/>
                  <a:pt x="44" y="253"/>
                </a:cubicBezTo>
                <a:cubicBezTo>
                  <a:pt x="44" y="252"/>
                  <a:pt x="44" y="252"/>
                  <a:pt x="44" y="252"/>
                </a:cubicBezTo>
                <a:cubicBezTo>
                  <a:pt x="45" y="251"/>
                  <a:pt x="45" y="251"/>
                  <a:pt x="45" y="251"/>
                </a:cubicBezTo>
                <a:cubicBezTo>
                  <a:pt x="46" y="251"/>
                  <a:pt x="46" y="251"/>
                  <a:pt x="46" y="251"/>
                </a:cubicBezTo>
                <a:cubicBezTo>
                  <a:pt x="46" y="252"/>
                  <a:pt x="46" y="252"/>
                  <a:pt x="46" y="252"/>
                </a:cubicBezTo>
                <a:cubicBezTo>
                  <a:pt x="47" y="252"/>
                  <a:pt x="47" y="252"/>
                  <a:pt x="47" y="252"/>
                </a:cubicBezTo>
                <a:cubicBezTo>
                  <a:pt x="48" y="251"/>
                  <a:pt x="48" y="251"/>
                  <a:pt x="48" y="251"/>
                </a:cubicBezTo>
                <a:cubicBezTo>
                  <a:pt x="49" y="251"/>
                  <a:pt x="49" y="251"/>
                  <a:pt x="49" y="251"/>
                </a:cubicBezTo>
                <a:cubicBezTo>
                  <a:pt x="49" y="252"/>
                  <a:pt x="49" y="252"/>
                  <a:pt x="49" y="252"/>
                </a:cubicBezTo>
                <a:cubicBezTo>
                  <a:pt x="50" y="252"/>
                  <a:pt x="50" y="252"/>
                  <a:pt x="50" y="252"/>
                </a:cubicBezTo>
                <a:cubicBezTo>
                  <a:pt x="51" y="253"/>
                  <a:pt x="51" y="253"/>
                  <a:pt x="51" y="253"/>
                </a:cubicBezTo>
                <a:cubicBezTo>
                  <a:pt x="53" y="253"/>
                  <a:pt x="53" y="253"/>
                  <a:pt x="53" y="253"/>
                </a:cubicBezTo>
                <a:cubicBezTo>
                  <a:pt x="54" y="253"/>
                  <a:pt x="54" y="253"/>
                  <a:pt x="54" y="253"/>
                </a:cubicBezTo>
                <a:cubicBezTo>
                  <a:pt x="55" y="255"/>
                  <a:pt x="55" y="255"/>
                  <a:pt x="55" y="255"/>
                </a:cubicBezTo>
                <a:cubicBezTo>
                  <a:pt x="56" y="256"/>
                  <a:pt x="56" y="256"/>
                  <a:pt x="56" y="256"/>
                </a:cubicBezTo>
                <a:cubicBezTo>
                  <a:pt x="58" y="256"/>
                  <a:pt x="58" y="256"/>
                  <a:pt x="58" y="256"/>
                </a:cubicBezTo>
                <a:cubicBezTo>
                  <a:pt x="59" y="256"/>
                  <a:pt x="59" y="256"/>
                  <a:pt x="59" y="256"/>
                </a:cubicBezTo>
                <a:cubicBezTo>
                  <a:pt x="59" y="256"/>
                  <a:pt x="59" y="256"/>
                  <a:pt x="59" y="256"/>
                </a:cubicBezTo>
                <a:cubicBezTo>
                  <a:pt x="60" y="255"/>
                  <a:pt x="60" y="255"/>
                  <a:pt x="60" y="255"/>
                </a:cubicBezTo>
                <a:cubicBezTo>
                  <a:pt x="59" y="255"/>
                  <a:pt x="59" y="255"/>
                  <a:pt x="59" y="255"/>
                </a:cubicBezTo>
                <a:cubicBezTo>
                  <a:pt x="58" y="255"/>
                  <a:pt x="58" y="255"/>
                  <a:pt x="58" y="255"/>
                </a:cubicBezTo>
                <a:cubicBezTo>
                  <a:pt x="58" y="255"/>
                  <a:pt x="58" y="255"/>
                  <a:pt x="58" y="255"/>
                </a:cubicBezTo>
                <a:cubicBezTo>
                  <a:pt x="57" y="255"/>
                  <a:pt x="57" y="255"/>
                  <a:pt x="57" y="255"/>
                </a:cubicBezTo>
                <a:cubicBezTo>
                  <a:pt x="56" y="254"/>
                  <a:pt x="56" y="254"/>
                  <a:pt x="56" y="254"/>
                </a:cubicBezTo>
                <a:cubicBezTo>
                  <a:pt x="55" y="253"/>
                  <a:pt x="55" y="253"/>
                  <a:pt x="55" y="253"/>
                </a:cubicBezTo>
                <a:cubicBezTo>
                  <a:pt x="55" y="252"/>
                  <a:pt x="55" y="252"/>
                  <a:pt x="55" y="252"/>
                </a:cubicBezTo>
                <a:cubicBezTo>
                  <a:pt x="55" y="252"/>
                  <a:pt x="55" y="252"/>
                  <a:pt x="55" y="252"/>
                </a:cubicBezTo>
                <a:cubicBezTo>
                  <a:pt x="57" y="252"/>
                  <a:pt x="57" y="252"/>
                  <a:pt x="57" y="252"/>
                </a:cubicBezTo>
                <a:cubicBezTo>
                  <a:pt x="59" y="252"/>
                  <a:pt x="59" y="252"/>
                  <a:pt x="59" y="252"/>
                </a:cubicBezTo>
                <a:cubicBezTo>
                  <a:pt x="59" y="251"/>
                  <a:pt x="59" y="251"/>
                  <a:pt x="59" y="251"/>
                </a:cubicBezTo>
                <a:cubicBezTo>
                  <a:pt x="59" y="250"/>
                  <a:pt x="59" y="250"/>
                  <a:pt x="59" y="250"/>
                </a:cubicBezTo>
                <a:cubicBezTo>
                  <a:pt x="58" y="250"/>
                  <a:pt x="58" y="250"/>
                  <a:pt x="58" y="250"/>
                </a:cubicBezTo>
                <a:cubicBezTo>
                  <a:pt x="57" y="250"/>
                  <a:pt x="57" y="250"/>
                  <a:pt x="57" y="250"/>
                </a:cubicBezTo>
                <a:cubicBezTo>
                  <a:pt x="57" y="251"/>
                  <a:pt x="57" y="251"/>
                  <a:pt x="57" y="251"/>
                </a:cubicBezTo>
                <a:cubicBezTo>
                  <a:pt x="57" y="251"/>
                  <a:pt x="57" y="251"/>
                  <a:pt x="57" y="251"/>
                </a:cubicBezTo>
                <a:cubicBezTo>
                  <a:pt x="57" y="251"/>
                  <a:pt x="57" y="251"/>
                  <a:pt x="57" y="251"/>
                </a:cubicBezTo>
                <a:cubicBezTo>
                  <a:pt x="55" y="251"/>
                  <a:pt x="55" y="251"/>
                  <a:pt x="55" y="251"/>
                </a:cubicBezTo>
                <a:cubicBezTo>
                  <a:pt x="55" y="251"/>
                  <a:pt x="55" y="251"/>
                  <a:pt x="55" y="251"/>
                </a:cubicBezTo>
                <a:cubicBezTo>
                  <a:pt x="54" y="250"/>
                  <a:pt x="54" y="250"/>
                  <a:pt x="54" y="250"/>
                </a:cubicBezTo>
                <a:cubicBezTo>
                  <a:pt x="55" y="250"/>
                  <a:pt x="55" y="250"/>
                  <a:pt x="55" y="250"/>
                </a:cubicBezTo>
                <a:cubicBezTo>
                  <a:pt x="56" y="250"/>
                  <a:pt x="56" y="250"/>
                  <a:pt x="56" y="250"/>
                </a:cubicBezTo>
                <a:cubicBezTo>
                  <a:pt x="56" y="250"/>
                  <a:pt x="56" y="250"/>
                  <a:pt x="56" y="250"/>
                </a:cubicBezTo>
                <a:cubicBezTo>
                  <a:pt x="55" y="249"/>
                  <a:pt x="55" y="249"/>
                  <a:pt x="55" y="249"/>
                </a:cubicBezTo>
                <a:cubicBezTo>
                  <a:pt x="55" y="249"/>
                  <a:pt x="55" y="249"/>
                  <a:pt x="55" y="249"/>
                </a:cubicBezTo>
                <a:cubicBezTo>
                  <a:pt x="54" y="249"/>
                  <a:pt x="54" y="249"/>
                  <a:pt x="54" y="249"/>
                </a:cubicBezTo>
                <a:cubicBezTo>
                  <a:pt x="54" y="249"/>
                  <a:pt x="54" y="249"/>
                  <a:pt x="54" y="249"/>
                </a:cubicBezTo>
                <a:cubicBezTo>
                  <a:pt x="53" y="249"/>
                  <a:pt x="53" y="249"/>
                  <a:pt x="53" y="249"/>
                </a:cubicBezTo>
                <a:cubicBezTo>
                  <a:pt x="53" y="250"/>
                  <a:pt x="53" y="250"/>
                  <a:pt x="53" y="250"/>
                </a:cubicBezTo>
                <a:cubicBezTo>
                  <a:pt x="54" y="250"/>
                  <a:pt x="54" y="250"/>
                  <a:pt x="54" y="250"/>
                </a:cubicBezTo>
                <a:cubicBezTo>
                  <a:pt x="54" y="251"/>
                  <a:pt x="54" y="251"/>
                  <a:pt x="54" y="251"/>
                </a:cubicBezTo>
                <a:cubicBezTo>
                  <a:pt x="53" y="252"/>
                  <a:pt x="53" y="252"/>
                  <a:pt x="53" y="252"/>
                </a:cubicBezTo>
                <a:cubicBezTo>
                  <a:pt x="52" y="252"/>
                  <a:pt x="52" y="252"/>
                  <a:pt x="52" y="252"/>
                </a:cubicBezTo>
                <a:cubicBezTo>
                  <a:pt x="51" y="252"/>
                  <a:pt x="51" y="252"/>
                  <a:pt x="51" y="252"/>
                </a:cubicBezTo>
                <a:cubicBezTo>
                  <a:pt x="50" y="251"/>
                  <a:pt x="50" y="251"/>
                  <a:pt x="50" y="251"/>
                </a:cubicBezTo>
                <a:cubicBezTo>
                  <a:pt x="49" y="251"/>
                  <a:pt x="49" y="251"/>
                  <a:pt x="49" y="251"/>
                </a:cubicBezTo>
                <a:cubicBezTo>
                  <a:pt x="49" y="250"/>
                  <a:pt x="49" y="250"/>
                  <a:pt x="49" y="250"/>
                </a:cubicBezTo>
                <a:cubicBezTo>
                  <a:pt x="48" y="250"/>
                  <a:pt x="48" y="250"/>
                  <a:pt x="48" y="250"/>
                </a:cubicBezTo>
                <a:cubicBezTo>
                  <a:pt x="48" y="250"/>
                  <a:pt x="48" y="250"/>
                  <a:pt x="48" y="250"/>
                </a:cubicBezTo>
                <a:cubicBezTo>
                  <a:pt x="47" y="250"/>
                  <a:pt x="47" y="250"/>
                  <a:pt x="47" y="250"/>
                </a:cubicBezTo>
                <a:cubicBezTo>
                  <a:pt x="46" y="250"/>
                  <a:pt x="46" y="250"/>
                  <a:pt x="46" y="250"/>
                </a:cubicBezTo>
                <a:cubicBezTo>
                  <a:pt x="45" y="250"/>
                  <a:pt x="45" y="250"/>
                  <a:pt x="45" y="250"/>
                </a:cubicBezTo>
                <a:cubicBezTo>
                  <a:pt x="44" y="251"/>
                  <a:pt x="44" y="251"/>
                  <a:pt x="44" y="251"/>
                </a:cubicBezTo>
                <a:cubicBezTo>
                  <a:pt x="43" y="252"/>
                  <a:pt x="43" y="252"/>
                  <a:pt x="43" y="252"/>
                </a:cubicBezTo>
                <a:cubicBezTo>
                  <a:pt x="42" y="253"/>
                  <a:pt x="42" y="253"/>
                  <a:pt x="42" y="253"/>
                </a:cubicBezTo>
                <a:cubicBezTo>
                  <a:pt x="42" y="252"/>
                  <a:pt x="42" y="252"/>
                  <a:pt x="42" y="252"/>
                </a:cubicBezTo>
                <a:cubicBezTo>
                  <a:pt x="42" y="252"/>
                  <a:pt x="42" y="252"/>
                  <a:pt x="42" y="252"/>
                </a:cubicBezTo>
                <a:cubicBezTo>
                  <a:pt x="43" y="250"/>
                  <a:pt x="43" y="250"/>
                  <a:pt x="43" y="250"/>
                </a:cubicBezTo>
                <a:cubicBezTo>
                  <a:pt x="44" y="250"/>
                  <a:pt x="44" y="250"/>
                  <a:pt x="44" y="250"/>
                </a:cubicBezTo>
                <a:cubicBezTo>
                  <a:pt x="44" y="250"/>
                  <a:pt x="44" y="250"/>
                  <a:pt x="44" y="250"/>
                </a:cubicBezTo>
                <a:cubicBezTo>
                  <a:pt x="44" y="249"/>
                  <a:pt x="44" y="249"/>
                  <a:pt x="44" y="249"/>
                </a:cubicBezTo>
                <a:cubicBezTo>
                  <a:pt x="44" y="249"/>
                  <a:pt x="44" y="249"/>
                  <a:pt x="44" y="249"/>
                </a:cubicBezTo>
                <a:cubicBezTo>
                  <a:pt x="45" y="248"/>
                  <a:pt x="45" y="248"/>
                  <a:pt x="45" y="248"/>
                </a:cubicBezTo>
                <a:cubicBezTo>
                  <a:pt x="45" y="248"/>
                  <a:pt x="45" y="248"/>
                  <a:pt x="45" y="248"/>
                </a:cubicBezTo>
                <a:cubicBezTo>
                  <a:pt x="46" y="247"/>
                  <a:pt x="46" y="247"/>
                  <a:pt x="46" y="247"/>
                </a:cubicBezTo>
                <a:cubicBezTo>
                  <a:pt x="46" y="247"/>
                  <a:pt x="46" y="247"/>
                  <a:pt x="46" y="247"/>
                </a:cubicBezTo>
                <a:cubicBezTo>
                  <a:pt x="47" y="248"/>
                  <a:pt x="47" y="248"/>
                  <a:pt x="47" y="248"/>
                </a:cubicBezTo>
                <a:cubicBezTo>
                  <a:pt x="48" y="248"/>
                  <a:pt x="48" y="248"/>
                  <a:pt x="48" y="248"/>
                </a:cubicBezTo>
                <a:cubicBezTo>
                  <a:pt x="50" y="248"/>
                  <a:pt x="50" y="248"/>
                  <a:pt x="50" y="248"/>
                </a:cubicBezTo>
                <a:cubicBezTo>
                  <a:pt x="50" y="248"/>
                  <a:pt x="50" y="248"/>
                  <a:pt x="50" y="248"/>
                </a:cubicBezTo>
                <a:cubicBezTo>
                  <a:pt x="49" y="248"/>
                  <a:pt x="49" y="248"/>
                  <a:pt x="49" y="248"/>
                </a:cubicBezTo>
                <a:cubicBezTo>
                  <a:pt x="48" y="248"/>
                  <a:pt x="48" y="248"/>
                  <a:pt x="48" y="248"/>
                </a:cubicBezTo>
                <a:cubicBezTo>
                  <a:pt x="48" y="247"/>
                  <a:pt x="48" y="247"/>
                  <a:pt x="48" y="247"/>
                </a:cubicBezTo>
                <a:cubicBezTo>
                  <a:pt x="46" y="246"/>
                  <a:pt x="46" y="246"/>
                  <a:pt x="46" y="246"/>
                </a:cubicBezTo>
                <a:cubicBezTo>
                  <a:pt x="46" y="245"/>
                  <a:pt x="46" y="245"/>
                  <a:pt x="46" y="245"/>
                </a:cubicBezTo>
                <a:cubicBezTo>
                  <a:pt x="45" y="245"/>
                  <a:pt x="45" y="245"/>
                  <a:pt x="45" y="245"/>
                </a:cubicBezTo>
                <a:cubicBezTo>
                  <a:pt x="45" y="244"/>
                  <a:pt x="45" y="244"/>
                  <a:pt x="45" y="244"/>
                </a:cubicBezTo>
                <a:cubicBezTo>
                  <a:pt x="46" y="244"/>
                  <a:pt x="46" y="244"/>
                  <a:pt x="46" y="244"/>
                </a:cubicBezTo>
                <a:cubicBezTo>
                  <a:pt x="47" y="244"/>
                  <a:pt x="47" y="244"/>
                  <a:pt x="47" y="244"/>
                </a:cubicBezTo>
                <a:cubicBezTo>
                  <a:pt x="48" y="246"/>
                  <a:pt x="48" y="246"/>
                  <a:pt x="48" y="246"/>
                </a:cubicBezTo>
                <a:cubicBezTo>
                  <a:pt x="49" y="247"/>
                  <a:pt x="49" y="247"/>
                  <a:pt x="49" y="247"/>
                </a:cubicBezTo>
                <a:cubicBezTo>
                  <a:pt x="49" y="247"/>
                  <a:pt x="49" y="247"/>
                  <a:pt x="49" y="247"/>
                </a:cubicBezTo>
                <a:cubicBezTo>
                  <a:pt x="49" y="246"/>
                  <a:pt x="49" y="246"/>
                  <a:pt x="49" y="246"/>
                </a:cubicBezTo>
                <a:cubicBezTo>
                  <a:pt x="49" y="245"/>
                  <a:pt x="49" y="245"/>
                  <a:pt x="49" y="245"/>
                </a:cubicBezTo>
                <a:cubicBezTo>
                  <a:pt x="49" y="245"/>
                  <a:pt x="49" y="245"/>
                  <a:pt x="49" y="245"/>
                </a:cubicBezTo>
                <a:cubicBezTo>
                  <a:pt x="50" y="246"/>
                  <a:pt x="50" y="246"/>
                  <a:pt x="50" y="246"/>
                </a:cubicBezTo>
                <a:cubicBezTo>
                  <a:pt x="50" y="246"/>
                  <a:pt x="50" y="246"/>
                  <a:pt x="50" y="246"/>
                </a:cubicBezTo>
                <a:cubicBezTo>
                  <a:pt x="52" y="248"/>
                  <a:pt x="52" y="248"/>
                  <a:pt x="52" y="248"/>
                </a:cubicBezTo>
                <a:cubicBezTo>
                  <a:pt x="53" y="248"/>
                  <a:pt x="53" y="248"/>
                  <a:pt x="53" y="248"/>
                </a:cubicBezTo>
                <a:cubicBezTo>
                  <a:pt x="54" y="247"/>
                  <a:pt x="54" y="247"/>
                  <a:pt x="54" y="247"/>
                </a:cubicBezTo>
                <a:cubicBezTo>
                  <a:pt x="55" y="247"/>
                  <a:pt x="55" y="247"/>
                  <a:pt x="55" y="247"/>
                </a:cubicBezTo>
                <a:cubicBezTo>
                  <a:pt x="55" y="248"/>
                  <a:pt x="55" y="248"/>
                  <a:pt x="55" y="248"/>
                </a:cubicBezTo>
                <a:cubicBezTo>
                  <a:pt x="57" y="249"/>
                  <a:pt x="57" y="249"/>
                  <a:pt x="57" y="249"/>
                </a:cubicBezTo>
                <a:cubicBezTo>
                  <a:pt x="58" y="249"/>
                  <a:pt x="58" y="249"/>
                  <a:pt x="58" y="249"/>
                </a:cubicBezTo>
                <a:cubicBezTo>
                  <a:pt x="58" y="249"/>
                  <a:pt x="58" y="249"/>
                  <a:pt x="58" y="249"/>
                </a:cubicBezTo>
                <a:cubicBezTo>
                  <a:pt x="59" y="249"/>
                  <a:pt x="59" y="249"/>
                  <a:pt x="59" y="249"/>
                </a:cubicBezTo>
                <a:cubicBezTo>
                  <a:pt x="59" y="249"/>
                  <a:pt x="59" y="249"/>
                  <a:pt x="59" y="249"/>
                </a:cubicBezTo>
                <a:cubicBezTo>
                  <a:pt x="58" y="248"/>
                  <a:pt x="58" y="248"/>
                  <a:pt x="58" y="248"/>
                </a:cubicBezTo>
                <a:cubicBezTo>
                  <a:pt x="55" y="246"/>
                  <a:pt x="55" y="246"/>
                  <a:pt x="55" y="246"/>
                </a:cubicBezTo>
                <a:cubicBezTo>
                  <a:pt x="55" y="245"/>
                  <a:pt x="55" y="245"/>
                  <a:pt x="55" y="245"/>
                </a:cubicBezTo>
                <a:cubicBezTo>
                  <a:pt x="55" y="245"/>
                  <a:pt x="55" y="245"/>
                  <a:pt x="55" y="245"/>
                </a:cubicBezTo>
                <a:cubicBezTo>
                  <a:pt x="56" y="244"/>
                  <a:pt x="56" y="244"/>
                  <a:pt x="56" y="244"/>
                </a:cubicBezTo>
                <a:cubicBezTo>
                  <a:pt x="57" y="244"/>
                  <a:pt x="57" y="244"/>
                  <a:pt x="57" y="244"/>
                </a:cubicBezTo>
                <a:cubicBezTo>
                  <a:pt x="57" y="243"/>
                  <a:pt x="57" y="243"/>
                  <a:pt x="57" y="243"/>
                </a:cubicBezTo>
                <a:cubicBezTo>
                  <a:pt x="57" y="243"/>
                  <a:pt x="57" y="243"/>
                  <a:pt x="57" y="243"/>
                </a:cubicBezTo>
                <a:cubicBezTo>
                  <a:pt x="57" y="242"/>
                  <a:pt x="57" y="242"/>
                  <a:pt x="57" y="242"/>
                </a:cubicBezTo>
                <a:cubicBezTo>
                  <a:pt x="57" y="242"/>
                  <a:pt x="57" y="242"/>
                  <a:pt x="57" y="242"/>
                </a:cubicBezTo>
                <a:cubicBezTo>
                  <a:pt x="56" y="243"/>
                  <a:pt x="56" y="243"/>
                  <a:pt x="56" y="243"/>
                </a:cubicBezTo>
                <a:cubicBezTo>
                  <a:pt x="54" y="243"/>
                  <a:pt x="54" y="243"/>
                  <a:pt x="54" y="243"/>
                </a:cubicBezTo>
                <a:cubicBezTo>
                  <a:pt x="54" y="243"/>
                  <a:pt x="54" y="243"/>
                  <a:pt x="54" y="243"/>
                </a:cubicBezTo>
                <a:cubicBezTo>
                  <a:pt x="54" y="243"/>
                  <a:pt x="54" y="243"/>
                  <a:pt x="54" y="243"/>
                </a:cubicBezTo>
                <a:cubicBezTo>
                  <a:pt x="55" y="244"/>
                  <a:pt x="55" y="244"/>
                  <a:pt x="55" y="244"/>
                </a:cubicBezTo>
                <a:cubicBezTo>
                  <a:pt x="55" y="244"/>
                  <a:pt x="55" y="244"/>
                  <a:pt x="55" y="244"/>
                </a:cubicBezTo>
                <a:cubicBezTo>
                  <a:pt x="53" y="244"/>
                  <a:pt x="53" y="244"/>
                  <a:pt x="53" y="244"/>
                </a:cubicBezTo>
                <a:cubicBezTo>
                  <a:pt x="53" y="245"/>
                  <a:pt x="53" y="245"/>
                  <a:pt x="53" y="245"/>
                </a:cubicBezTo>
                <a:cubicBezTo>
                  <a:pt x="52" y="244"/>
                  <a:pt x="52" y="244"/>
                  <a:pt x="52" y="244"/>
                </a:cubicBezTo>
                <a:cubicBezTo>
                  <a:pt x="51" y="245"/>
                  <a:pt x="51" y="245"/>
                  <a:pt x="51" y="245"/>
                </a:cubicBezTo>
                <a:cubicBezTo>
                  <a:pt x="50" y="244"/>
                  <a:pt x="50" y="244"/>
                  <a:pt x="50" y="244"/>
                </a:cubicBezTo>
                <a:cubicBezTo>
                  <a:pt x="49" y="244"/>
                  <a:pt x="49" y="244"/>
                  <a:pt x="49" y="244"/>
                </a:cubicBezTo>
                <a:cubicBezTo>
                  <a:pt x="49" y="243"/>
                  <a:pt x="49" y="243"/>
                  <a:pt x="49" y="243"/>
                </a:cubicBezTo>
                <a:cubicBezTo>
                  <a:pt x="49" y="243"/>
                  <a:pt x="49" y="243"/>
                  <a:pt x="49" y="243"/>
                </a:cubicBezTo>
                <a:cubicBezTo>
                  <a:pt x="50" y="242"/>
                  <a:pt x="50" y="242"/>
                  <a:pt x="50" y="242"/>
                </a:cubicBezTo>
                <a:cubicBezTo>
                  <a:pt x="49" y="242"/>
                  <a:pt x="49" y="242"/>
                  <a:pt x="49" y="242"/>
                </a:cubicBezTo>
                <a:cubicBezTo>
                  <a:pt x="48" y="242"/>
                  <a:pt x="48" y="242"/>
                  <a:pt x="48" y="242"/>
                </a:cubicBezTo>
                <a:cubicBezTo>
                  <a:pt x="48" y="242"/>
                  <a:pt x="48" y="242"/>
                  <a:pt x="48" y="242"/>
                </a:cubicBezTo>
                <a:cubicBezTo>
                  <a:pt x="49" y="242"/>
                  <a:pt x="49" y="242"/>
                  <a:pt x="49" y="242"/>
                </a:cubicBezTo>
                <a:cubicBezTo>
                  <a:pt x="51" y="241"/>
                  <a:pt x="51" y="241"/>
                  <a:pt x="51" y="241"/>
                </a:cubicBezTo>
                <a:cubicBezTo>
                  <a:pt x="52" y="241"/>
                  <a:pt x="52" y="241"/>
                  <a:pt x="52" y="241"/>
                </a:cubicBezTo>
                <a:cubicBezTo>
                  <a:pt x="53" y="241"/>
                  <a:pt x="53" y="241"/>
                  <a:pt x="53" y="241"/>
                </a:cubicBezTo>
                <a:cubicBezTo>
                  <a:pt x="54" y="241"/>
                  <a:pt x="54" y="241"/>
                  <a:pt x="54" y="241"/>
                </a:cubicBezTo>
                <a:cubicBezTo>
                  <a:pt x="55" y="241"/>
                  <a:pt x="55" y="241"/>
                  <a:pt x="55" y="241"/>
                </a:cubicBezTo>
                <a:cubicBezTo>
                  <a:pt x="56" y="241"/>
                  <a:pt x="56" y="241"/>
                  <a:pt x="56" y="241"/>
                </a:cubicBezTo>
                <a:cubicBezTo>
                  <a:pt x="57" y="241"/>
                  <a:pt x="57" y="241"/>
                  <a:pt x="57" y="241"/>
                </a:cubicBezTo>
                <a:cubicBezTo>
                  <a:pt x="57" y="240"/>
                  <a:pt x="57" y="240"/>
                  <a:pt x="57" y="240"/>
                </a:cubicBezTo>
                <a:cubicBezTo>
                  <a:pt x="58" y="240"/>
                  <a:pt x="58" y="240"/>
                  <a:pt x="58" y="240"/>
                </a:cubicBezTo>
                <a:cubicBezTo>
                  <a:pt x="58" y="240"/>
                  <a:pt x="58" y="240"/>
                  <a:pt x="58" y="240"/>
                </a:cubicBezTo>
                <a:cubicBezTo>
                  <a:pt x="59" y="239"/>
                  <a:pt x="59" y="239"/>
                  <a:pt x="59" y="239"/>
                </a:cubicBezTo>
                <a:cubicBezTo>
                  <a:pt x="59" y="238"/>
                  <a:pt x="59" y="238"/>
                  <a:pt x="59" y="238"/>
                </a:cubicBezTo>
                <a:cubicBezTo>
                  <a:pt x="59" y="238"/>
                  <a:pt x="59" y="238"/>
                  <a:pt x="59" y="238"/>
                </a:cubicBezTo>
                <a:cubicBezTo>
                  <a:pt x="58" y="239"/>
                  <a:pt x="58" y="239"/>
                  <a:pt x="58" y="239"/>
                </a:cubicBezTo>
                <a:cubicBezTo>
                  <a:pt x="57" y="239"/>
                  <a:pt x="57" y="239"/>
                  <a:pt x="57" y="239"/>
                </a:cubicBezTo>
                <a:cubicBezTo>
                  <a:pt x="57" y="238"/>
                  <a:pt x="57" y="238"/>
                  <a:pt x="57" y="238"/>
                </a:cubicBezTo>
                <a:cubicBezTo>
                  <a:pt x="58" y="237"/>
                  <a:pt x="58" y="237"/>
                  <a:pt x="58" y="237"/>
                </a:cubicBezTo>
                <a:cubicBezTo>
                  <a:pt x="59" y="235"/>
                  <a:pt x="59" y="235"/>
                  <a:pt x="59" y="235"/>
                </a:cubicBezTo>
                <a:cubicBezTo>
                  <a:pt x="58" y="234"/>
                  <a:pt x="58" y="234"/>
                  <a:pt x="58" y="234"/>
                </a:cubicBezTo>
                <a:cubicBezTo>
                  <a:pt x="59" y="234"/>
                  <a:pt x="59" y="234"/>
                  <a:pt x="59" y="234"/>
                </a:cubicBezTo>
                <a:cubicBezTo>
                  <a:pt x="59" y="234"/>
                  <a:pt x="59" y="234"/>
                  <a:pt x="59" y="234"/>
                </a:cubicBezTo>
                <a:cubicBezTo>
                  <a:pt x="60" y="235"/>
                  <a:pt x="60" y="235"/>
                  <a:pt x="60" y="235"/>
                </a:cubicBezTo>
                <a:cubicBezTo>
                  <a:pt x="60" y="236"/>
                  <a:pt x="60" y="236"/>
                  <a:pt x="60" y="236"/>
                </a:cubicBezTo>
                <a:cubicBezTo>
                  <a:pt x="60" y="236"/>
                  <a:pt x="60" y="236"/>
                  <a:pt x="60" y="236"/>
                </a:cubicBezTo>
                <a:cubicBezTo>
                  <a:pt x="61" y="236"/>
                  <a:pt x="61" y="236"/>
                  <a:pt x="61" y="236"/>
                </a:cubicBezTo>
                <a:cubicBezTo>
                  <a:pt x="62" y="236"/>
                  <a:pt x="62" y="236"/>
                  <a:pt x="62" y="236"/>
                </a:cubicBezTo>
                <a:cubicBezTo>
                  <a:pt x="62" y="237"/>
                  <a:pt x="62" y="237"/>
                  <a:pt x="62" y="237"/>
                </a:cubicBezTo>
                <a:cubicBezTo>
                  <a:pt x="63" y="237"/>
                  <a:pt x="63" y="237"/>
                  <a:pt x="63" y="237"/>
                </a:cubicBezTo>
                <a:cubicBezTo>
                  <a:pt x="63" y="236"/>
                  <a:pt x="63" y="236"/>
                  <a:pt x="63" y="236"/>
                </a:cubicBezTo>
                <a:cubicBezTo>
                  <a:pt x="63" y="237"/>
                  <a:pt x="63" y="237"/>
                  <a:pt x="63" y="237"/>
                </a:cubicBezTo>
                <a:cubicBezTo>
                  <a:pt x="64" y="237"/>
                  <a:pt x="64" y="237"/>
                  <a:pt x="64" y="237"/>
                </a:cubicBezTo>
                <a:cubicBezTo>
                  <a:pt x="64" y="236"/>
                  <a:pt x="64" y="236"/>
                  <a:pt x="64" y="236"/>
                </a:cubicBezTo>
                <a:cubicBezTo>
                  <a:pt x="63" y="236"/>
                  <a:pt x="63" y="236"/>
                  <a:pt x="63" y="236"/>
                </a:cubicBezTo>
                <a:cubicBezTo>
                  <a:pt x="62" y="235"/>
                  <a:pt x="62" y="235"/>
                  <a:pt x="62" y="235"/>
                </a:cubicBezTo>
                <a:cubicBezTo>
                  <a:pt x="62" y="235"/>
                  <a:pt x="62" y="235"/>
                  <a:pt x="62" y="235"/>
                </a:cubicBezTo>
                <a:cubicBezTo>
                  <a:pt x="63" y="235"/>
                  <a:pt x="63" y="235"/>
                  <a:pt x="63" y="235"/>
                </a:cubicBezTo>
                <a:cubicBezTo>
                  <a:pt x="64" y="235"/>
                  <a:pt x="64" y="235"/>
                  <a:pt x="64" y="235"/>
                </a:cubicBezTo>
                <a:cubicBezTo>
                  <a:pt x="64" y="234"/>
                  <a:pt x="64" y="234"/>
                  <a:pt x="64" y="234"/>
                </a:cubicBezTo>
                <a:cubicBezTo>
                  <a:pt x="63" y="234"/>
                  <a:pt x="63" y="234"/>
                  <a:pt x="63" y="234"/>
                </a:cubicBezTo>
                <a:cubicBezTo>
                  <a:pt x="63" y="234"/>
                  <a:pt x="63" y="234"/>
                  <a:pt x="63" y="234"/>
                </a:cubicBezTo>
                <a:cubicBezTo>
                  <a:pt x="62" y="233"/>
                  <a:pt x="62" y="233"/>
                  <a:pt x="62" y="233"/>
                </a:cubicBezTo>
                <a:cubicBezTo>
                  <a:pt x="62" y="233"/>
                  <a:pt x="62" y="233"/>
                  <a:pt x="62" y="233"/>
                </a:cubicBezTo>
                <a:cubicBezTo>
                  <a:pt x="61" y="233"/>
                  <a:pt x="61" y="233"/>
                  <a:pt x="61" y="233"/>
                </a:cubicBezTo>
                <a:cubicBezTo>
                  <a:pt x="61" y="233"/>
                  <a:pt x="61" y="233"/>
                  <a:pt x="61" y="233"/>
                </a:cubicBezTo>
                <a:cubicBezTo>
                  <a:pt x="60" y="233"/>
                  <a:pt x="60" y="233"/>
                  <a:pt x="60" y="233"/>
                </a:cubicBezTo>
                <a:cubicBezTo>
                  <a:pt x="60" y="233"/>
                  <a:pt x="60" y="233"/>
                  <a:pt x="60" y="233"/>
                </a:cubicBezTo>
                <a:cubicBezTo>
                  <a:pt x="60" y="232"/>
                  <a:pt x="60" y="232"/>
                  <a:pt x="60" y="232"/>
                </a:cubicBezTo>
                <a:cubicBezTo>
                  <a:pt x="61" y="232"/>
                  <a:pt x="61" y="232"/>
                  <a:pt x="61" y="232"/>
                </a:cubicBezTo>
                <a:cubicBezTo>
                  <a:pt x="62" y="231"/>
                  <a:pt x="62" y="231"/>
                  <a:pt x="62" y="231"/>
                </a:cubicBezTo>
                <a:cubicBezTo>
                  <a:pt x="62" y="230"/>
                  <a:pt x="62" y="230"/>
                  <a:pt x="62" y="230"/>
                </a:cubicBezTo>
                <a:cubicBezTo>
                  <a:pt x="63" y="230"/>
                  <a:pt x="63" y="230"/>
                  <a:pt x="63" y="230"/>
                </a:cubicBezTo>
                <a:cubicBezTo>
                  <a:pt x="63" y="230"/>
                  <a:pt x="63" y="230"/>
                  <a:pt x="63" y="230"/>
                </a:cubicBezTo>
                <a:cubicBezTo>
                  <a:pt x="64" y="230"/>
                  <a:pt x="64" y="230"/>
                  <a:pt x="64" y="230"/>
                </a:cubicBezTo>
                <a:cubicBezTo>
                  <a:pt x="64" y="230"/>
                  <a:pt x="64" y="230"/>
                  <a:pt x="64" y="230"/>
                </a:cubicBezTo>
                <a:cubicBezTo>
                  <a:pt x="63" y="229"/>
                  <a:pt x="63" y="229"/>
                  <a:pt x="63" y="229"/>
                </a:cubicBezTo>
                <a:cubicBezTo>
                  <a:pt x="62" y="229"/>
                  <a:pt x="62" y="229"/>
                  <a:pt x="62" y="229"/>
                </a:cubicBezTo>
                <a:cubicBezTo>
                  <a:pt x="62" y="229"/>
                  <a:pt x="62" y="229"/>
                  <a:pt x="62" y="229"/>
                </a:cubicBezTo>
                <a:cubicBezTo>
                  <a:pt x="62" y="228"/>
                  <a:pt x="62" y="228"/>
                  <a:pt x="62" y="228"/>
                </a:cubicBezTo>
                <a:cubicBezTo>
                  <a:pt x="64" y="228"/>
                  <a:pt x="64" y="228"/>
                  <a:pt x="64" y="228"/>
                </a:cubicBezTo>
                <a:cubicBezTo>
                  <a:pt x="64" y="227"/>
                  <a:pt x="64" y="227"/>
                  <a:pt x="64" y="227"/>
                </a:cubicBezTo>
                <a:cubicBezTo>
                  <a:pt x="65" y="227"/>
                  <a:pt x="65" y="227"/>
                  <a:pt x="65" y="227"/>
                </a:cubicBezTo>
                <a:cubicBezTo>
                  <a:pt x="65" y="227"/>
                  <a:pt x="65" y="227"/>
                  <a:pt x="65" y="227"/>
                </a:cubicBezTo>
                <a:cubicBezTo>
                  <a:pt x="66" y="226"/>
                  <a:pt x="66" y="226"/>
                  <a:pt x="66" y="226"/>
                </a:cubicBezTo>
                <a:cubicBezTo>
                  <a:pt x="65" y="225"/>
                  <a:pt x="65" y="225"/>
                  <a:pt x="65" y="225"/>
                </a:cubicBezTo>
                <a:cubicBezTo>
                  <a:pt x="65" y="225"/>
                  <a:pt x="65" y="225"/>
                  <a:pt x="65" y="225"/>
                </a:cubicBezTo>
                <a:cubicBezTo>
                  <a:pt x="65" y="225"/>
                  <a:pt x="65" y="225"/>
                  <a:pt x="65" y="225"/>
                </a:cubicBezTo>
                <a:cubicBezTo>
                  <a:pt x="65" y="225"/>
                  <a:pt x="65" y="225"/>
                  <a:pt x="65" y="225"/>
                </a:cubicBezTo>
                <a:cubicBezTo>
                  <a:pt x="66" y="225"/>
                  <a:pt x="66" y="225"/>
                  <a:pt x="66" y="225"/>
                </a:cubicBezTo>
                <a:cubicBezTo>
                  <a:pt x="66" y="224"/>
                  <a:pt x="66" y="224"/>
                  <a:pt x="66" y="224"/>
                </a:cubicBezTo>
                <a:cubicBezTo>
                  <a:pt x="65" y="223"/>
                  <a:pt x="65" y="223"/>
                  <a:pt x="65" y="223"/>
                </a:cubicBezTo>
                <a:cubicBezTo>
                  <a:pt x="64" y="224"/>
                  <a:pt x="64" y="224"/>
                  <a:pt x="64" y="224"/>
                </a:cubicBezTo>
                <a:cubicBezTo>
                  <a:pt x="63" y="224"/>
                  <a:pt x="63" y="224"/>
                  <a:pt x="63" y="224"/>
                </a:cubicBezTo>
                <a:cubicBezTo>
                  <a:pt x="62" y="224"/>
                  <a:pt x="62" y="224"/>
                  <a:pt x="62" y="224"/>
                </a:cubicBezTo>
                <a:cubicBezTo>
                  <a:pt x="62" y="224"/>
                  <a:pt x="62" y="224"/>
                  <a:pt x="62" y="224"/>
                </a:cubicBezTo>
                <a:cubicBezTo>
                  <a:pt x="61" y="224"/>
                  <a:pt x="61" y="224"/>
                  <a:pt x="61" y="224"/>
                </a:cubicBezTo>
                <a:cubicBezTo>
                  <a:pt x="60" y="224"/>
                  <a:pt x="60" y="224"/>
                  <a:pt x="60" y="224"/>
                </a:cubicBezTo>
                <a:cubicBezTo>
                  <a:pt x="59" y="223"/>
                  <a:pt x="59" y="223"/>
                  <a:pt x="59" y="223"/>
                </a:cubicBezTo>
                <a:cubicBezTo>
                  <a:pt x="59" y="224"/>
                  <a:pt x="59" y="224"/>
                  <a:pt x="59" y="224"/>
                </a:cubicBezTo>
                <a:cubicBezTo>
                  <a:pt x="58" y="223"/>
                  <a:pt x="58" y="223"/>
                  <a:pt x="58" y="223"/>
                </a:cubicBezTo>
                <a:cubicBezTo>
                  <a:pt x="57" y="222"/>
                  <a:pt x="57" y="222"/>
                  <a:pt x="57" y="222"/>
                </a:cubicBezTo>
                <a:cubicBezTo>
                  <a:pt x="56" y="222"/>
                  <a:pt x="56" y="222"/>
                  <a:pt x="56" y="222"/>
                </a:cubicBezTo>
                <a:cubicBezTo>
                  <a:pt x="55" y="222"/>
                  <a:pt x="55" y="222"/>
                  <a:pt x="55" y="222"/>
                </a:cubicBezTo>
                <a:cubicBezTo>
                  <a:pt x="55" y="221"/>
                  <a:pt x="55" y="221"/>
                  <a:pt x="55" y="221"/>
                </a:cubicBezTo>
                <a:cubicBezTo>
                  <a:pt x="55" y="220"/>
                  <a:pt x="55" y="220"/>
                  <a:pt x="55" y="220"/>
                </a:cubicBezTo>
                <a:cubicBezTo>
                  <a:pt x="53" y="219"/>
                  <a:pt x="53" y="219"/>
                  <a:pt x="53" y="219"/>
                </a:cubicBezTo>
                <a:cubicBezTo>
                  <a:pt x="51" y="218"/>
                  <a:pt x="51" y="218"/>
                  <a:pt x="51" y="218"/>
                </a:cubicBezTo>
                <a:cubicBezTo>
                  <a:pt x="49" y="218"/>
                  <a:pt x="49" y="218"/>
                  <a:pt x="49" y="218"/>
                </a:cubicBezTo>
                <a:cubicBezTo>
                  <a:pt x="48" y="217"/>
                  <a:pt x="48" y="217"/>
                  <a:pt x="48" y="217"/>
                </a:cubicBezTo>
                <a:cubicBezTo>
                  <a:pt x="48" y="216"/>
                  <a:pt x="48" y="216"/>
                  <a:pt x="48" y="216"/>
                </a:cubicBezTo>
                <a:cubicBezTo>
                  <a:pt x="48" y="214"/>
                  <a:pt x="48" y="214"/>
                  <a:pt x="48" y="214"/>
                </a:cubicBezTo>
                <a:cubicBezTo>
                  <a:pt x="47" y="214"/>
                  <a:pt x="47" y="214"/>
                  <a:pt x="47" y="214"/>
                </a:cubicBezTo>
                <a:cubicBezTo>
                  <a:pt x="47" y="213"/>
                  <a:pt x="47" y="213"/>
                  <a:pt x="47" y="213"/>
                </a:cubicBezTo>
                <a:cubicBezTo>
                  <a:pt x="47" y="212"/>
                  <a:pt x="47" y="212"/>
                  <a:pt x="47" y="212"/>
                </a:cubicBezTo>
                <a:cubicBezTo>
                  <a:pt x="48" y="211"/>
                  <a:pt x="48" y="211"/>
                  <a:pt x="48" y="211"/>
                </a:cubicBezTo>
                <a:cubicBezTo>
                  <a:pt x="49" y="211"/>
                  <a:pt x="49" y="211"/>
                  <a:pt x="49" y="211"/>
                </a:cubicBezTo>
                <a:cubicBezTo>
                  <a:pt x="50" y="211"/>
                  <a:pt x="50" y="211"/>
                  <a:pt x="50" y="211"/>
                </a:cubicBezTo>
                <a:cubicBezTo>
                  <a:pt x="50" y="211"/>
                  <a:pt x="50" y="211"/>
                  <a:pt x="50" y="211"/>
                </a:cubicBezTo>
                <a:cubicBezTo>
                  <a:pt x="52" y="211"/>
                  <a:pt x="52" y="211"/>
                  <a:pt x="52" y="211"/>
                </a:cubicBezTo>
                <a:cubicBezTo>
                  <a:pt x="53" y="212"/>
                  <a:pt x="53" y="212"/>
                  <a:pt x="53" y="212"/>
                </a:cubicBezTo>
                <a:cubicBezTo>
                  <a:pt x="54" y="212"/>
                  <a:pt x="54" y="212"/>
                  <a:pt x="54" y="212"/>
                </a:cubicBezTo>
                <a:cubicBezTo>
                  <a:pt x="55" y="213"/>
                  <a:pt x="55" y="213"/>
                  <a:pt x="55" y="213"/>
                </a:cubicBezTo>
                <a:cubicBezTo>
                  <a:pt x="55" y="213"/>
                  <a:pt x="55" y="213"/>
                  <a:pt x="55" y="213"/>
                </a:cubicBezTo>
                <a:cubicBezTo>
                  <a:pt x="56" y="213"/>
                  <a:pt x="56" y="213"/>
                  <a:pt x="56" y="213"/>
                </a:cubicBezTo>
                <a:cubicBezTo>
                  <a:pt x="57" y="213"/>
                  <a:pt x="57" y="213"/>
                  <a:pt x="57" y="213"/>
                </a:cubicBezTo>
                <a:cubicBezTo>
                  <a:pt x="58" y="214"/>
                  <a:pt x="58" y="214"/>
                  <a:pt x="58" y="214"/>
                </a:cubicBezTo>
                <a:cubicBezTo>
                  <a:pt x="59" y="214"/>
                  <a:pt x="59" y="214"/>
                  <a:pt x="59" y="214"/>
                </a:cubicBezTo>
                <a:cubicBezTo>
                  <a:pt x="59" y="215"/>
                  <a:pt x="59" y="215"/>
                  <a:pt x="59" y="215"/>
                </a:cubicBezTo>
                <a:cubicBezTo>
                  <a:pt x="60" y="217"/>
                  <a:pt x="60" y="217"/>
                  <a:pt x="60" y="217"/>
                </a:cubicBezTo>
                <a:cubicBezTo>
                  <a:pt x="61" y="218"/>
                  <a:pt x="61" y="218"/>
                  <a:pt x="61" y="218"/>
                </a:cubicBezTo>
                <a:cubicBezTo>
                  <a:pt x="62" y="219"/>
                  <a:pt x="62" y="219"/>
                  <a:pt x="62" y="219"/>
                </a:cubicBezTo>
                <a:cubicBezTo>
                  <a:pt x="63" y="220"/>
                  <a:pt x="63" y="220"/>
                  <a:pt x="63" y="220"/>
                </a:cubicBezTo>
                <a:cubicBezTo>
                  <a:pt x="64" y="220"/>
                  <a:pt x="64" y="220"/>
                  <a:pt x="64" y="220"/>
                </a:cubicBezTo>
                <a:cubicBezTo>
                  <a:pt x="65" y="220"/>
                  <a:pt x="65" y="220"/>
                  <a:pt x="65" y="220"/>
                </a:cubicBezTo>
                <a:cubicBezTo>
                  <a:pt x="65" y="219"/>
                  <a:pt x="65" y="219"/>
                  <a:pt x="65" y="219"/>
                </a:cubicBezTo>
                <a:cubicBezTo>
                  <a:pt x="65" y="219"/>
                  <a:pt x="65" y="219"/>
                  <a:pt x="65" y="219"/>
                </a:cubicBezTo>
                <a:cubicBezTo>
                  <a:pt x="65" y="219"/>
                  <a:pt x="65" y="219"/>
                  <a:pt x="65" y="219"/>
                </a:cubicBezTo>
                <a:cubicBezTo>
                  <a:pt x="64" y="219"/>
                  <a:pt x="64" y="219"/>
                  <a:pt x="64" y="219"/>
                </a:cubicBezTo>
                <a:cubicBezTo>
                  <a:pt x="63" y="219"/>
                  <a:pt x="63" y="219"/>
                  <a:pt x="63" y="219"/>
                </a:cubicBezTo>
                <a:cubicBezTo>
                  <a:pt x="62" y="217"/>
                  <a:pt x="62" y="217"/>
                  <a:pt x="62" y="217"/>
                </a:cubicBezTo>
                <a:cubicBezTo>
                  <a:pt x="62" y="217"/>
                  <a:pt x="62" y="217"/>
                  <a:pt x="62" y="217"/>
                </a:cubicBezTo>
                <a:cubicBezTo>
                  <a:pt x="62" y="217"/>
                  <a:pt x="62" y="217"/>
                  <a:pt x="62" y="217"/>
                </a:cubicBezTo>
                <a:cubicBezTo>
                  <a:pt x="63" y="218"/>
                  <a:pt x="63" y="218"/>
                  <a:pt x="63" y="218"/>
                </a:cubicBezTo>
                <a:cubicBezTo>
                  <a:pt x="64" y="218"/>
                  <a:pt x="64" y="218"/>
                  <a:pt x="64" y="218"/>
                </a:cubicBezTo>
                <a:cubicBezTo>
                  <a:pt x="64" y="217"/>
                  <a:pt x="64" y="217"/>
                  <a:pt x="64" y="217"/>
                </a:cubicBezTo>
                <a:cubicBezTo>
                  <a:pt x="65" y="217"/>
                  <a:pt x="65" y="217"/>
                  <a:pt x="65" y="217"/>
                </a:cubicBezTo>
                <a:cubicBezTo>
                  <a:pt x="65" y="217"/>
                  <a:pt x="65" y="217"/>
                  <a:pt x="65" y="217"/>
                </a:cubicBezTo>
                <a:cubicBezTo>
                  <a:pt x="63" y="216"/>
                  <a:pt x="63" y="216"/>
                  <a:pt x="63" y="216"/>
                </a:cubicBezTo>
                <a:cubicBezTo>
                  <a:pt x="62" y="214"/>
                  <a:pt x="62" y="214"/>
                  <a:pt x="62" y="214"/>
                </a:cubicBezTo>
                <a:cubicBezTo>
                  <a:pt x="62" y="214"/>
                  <a:pt x="62" y="214"/>
                  <a:pt x="62" y="214"/>
                </a:cubicBezTo>
                <a:cubicBezTo>
                  <a:pt x="62" y="213"/>
                  <a:pt x="62" y="213"/>
                  <a:pt x="62" y="213"/>
                </a:cubicBezTo>
                <a:cubicBezTo>
                  <a:pt x="62" y="213"/>
                  <a:pt x="62" y="213"/>
                  <a:pt x="62" y="213"/>
                </a:cubicBezTo>
                <a:cubicBezTo>
                  <a:pt x="63" y="214"/>
                  <a:pt x="63" y="214"/>
                  <a:pt x="63" y="214"/>
                </a:cubicBezTo>
                <a:cubicBezTo>
                  <a:pt x="64" y="214"/>
                  <a:pt x="64" y="214"/>
                  <a:pt x="64" y="214"/>
                </a:cubicBezTo>
                <a:cubicBezTo>
                  <a:pt x="63" y="213"/>
                  <a:pt x="63" y="213"/>
                  <a:pt x="63" y="213"/>
                </a:cubicBezTo>
                <a:cubicBezTo>
                  <a:pt x="62" y="212"/>
                  <a:pt x="62" y="212"/>
                  <a:pt x="62" y="212"/>
                </a:cubicBezTo>
                <a:cubicBezTo>
                  <a:pt x="61" y="211"/>
                  <a:pt x="61" y="211"/>
                  <a:pt x="61" y="211"/>
                </a:cubicBezTo>
                <a:cubicBezTo>
                  <a:pt x="61" y="211"/>
                  <a:pt x="61" y="211"/>
                  <a:pt x="61" y="211"/>
                </a:cubicBezTo>
                <a:cubicBezTo>
                  <a:pt x="61" y="210"/>
                  <a:pt x="61" y="210"/>
                  <a:pt x="61" y="210"/>
                </a:cubicBezTo>
                <a:cubicBezTo>
                  <a:pt x="62" y="211"/>
                  <a:pt x="62" y="211"/>
                  <a:pt x="62" y="211"/>
                </a:cubicBezTo>
                <a:cubicBezTo>
                  <a:pt x="64" y="211"/>
                  <a:pt x="64" y="211"/>
                  <a:pt x="64" y="211"/>
                </a:cubicBezTo>
                <a:cubicBezTo>
                  <a:pt x="65" y="211"/>
                  <a:pt x="65" y="211"/>
                  <a:pt x="65" y="211"/>
                </a:cubicBezTo>
                <a:cubicBezTo>
                  <a:pt x="65" y="210"/>
                  <a:pt x="65" y="210"/>
                  <a:pt x="65" y="210"/>
                </a:cubicBezTo>
                <a:cubicBezTo>
                  <a:pt x="64" y="209"/>
                  <a:pt x="64" y="209"/>
                  <a:pt x="64" y="209"/>
                </a:cubicBezTo>
                <a:cubicBezTo>
                  <a:pt x="64" y="209"/>
                  <a:pt x="64" y="209"/>
                  <a:pt x="64" y="209"/>
                </a:cubicBezTo>
                <a:cubicBezTo>
                  <a:pt x="63" y="210"/>
                  <a:pt x="63" y="210"/>
                  <a:pt x="63" y="210"/>
                </a:cubicBezTo>
                <a:cubicBezTo>
                  <a:pt x="62" y="210"/>
                  <a:pt x="62" y="210"/>
                  <a:pt x="62" y="210"/>
                </a:cubicBezTo>
                <a:cubicBezTo>
                  <a:pt x="61" y="210"/>
                  <a:pt x="61" y="210"/>
                  <a:pt x="61" y="210"/>
                </a:cubicBezTo>
                <a:cubicBezTo>
                  <a:pt x="61" y="209"/>
                  <a:pt x="61" y="209"/>
                  <a:pt x="61" y="209"/>
                </a:cubicBezTo>
                <a:cubicBezTo>
                  <a:pt x="61" y="208"/>
                  <a:pt x="61" y="208"/>
                  <a:pt x="61" y="208"/>
                </a:cubicBezTo>
                <a:cubicBezTo>
                  <a:pt x="63" y="208"/>
                  <a:pt x="63" y="208"/>
                  <a:pt x="63" y="208"/>
                </a:cubicBezTo>
                <a:cubicBezTo>
                  <a:pt x="63" y="208"/>
                  <a:pt x="63" y="208"/>
                  <a:pt x="63" y="208"/>
                </a:cubicBezTo>
                <a:cubicBezTo>
                  <a:pt x="64" y="208"/>
                  <a:pt x="64" y="208"/>
                  <a:pt x="64" y="208"/>
                </a:cubicBezTo>
                <a:cubicBezTo>
                  <a:pt x="64" y="208"/>
                  <a:pt x="64" y="208"/>
                  <a:pt x="64" y="208"/>
                </a:cubicBezTo>
                <a:cubicBezTo>
                  <a:pt x="64" y="207"/>
                  <a:pt x="64" y="207"/>
                  <a:pt x="64" y="207"/>
                </a:cubicBezTo>
                <a:cubicBezTo>
                  <a:pt x="63" y="206"/>
                  <a:pt x="63" y="206"/>
                  <a:pt x="63" y="206"/>
                </a:cubicBezTo>
                <a:cubicBezTo>
                  <a:pt x="63" y="206"/>
                  <a:pt x="63" y="206"/>
                  <a:pt x="63" y="206"/>
                </a:cubicBezTo>
                <a:cubicBezTo>
                  <a:pt x="62" y="207"/>
                  <a:pt x="62" y="207"/>
                  <a:pt x="62" y="207"/>
                </a:cubicBezTo>
                <a:cubicBezTo>
                  <a:pt x="62" y="207"/>
                  <a:pt x="62" y="207"/>
                  <a:pt x="62" y="207"/>
                </a:cubicBezTo>
                <a:cubicBezTo>
                  <a:pt x="61" y="207"/>
                  <a:pt x="61" y="207"/>
                  <a:pt x="61" y="207"/>
                </a:cubicBezTo>
                <a:cubicBezTo>
                  <a:pt x="60" y="209"/>
                  <a:pt x="60" y="209"/>
                  <a:pt x="60" y="209"/>
                </a:cubicBezTo>
                <a:cubicBezTo>
                  <a:pt x="59" y="209"/>
                  <a:pt x="59" y="209"/>
                  <a:pt x="59" y="209"/>
                </a:cubicBezTo>
                <a:cubicBezTo>
                  <a:pt x="59" y="208"/>
                  <a:pt x="59" y="208"/>
                  <a:pt x="59" y="208"/>
                </a:cubicBezTo>
                <a:cubicBezTo>
                  <a:pt x="60" y="208"/>
                  <a:pt x="60" y="208"/>
                  <a:pt x="60" y="208"/>
                </a:cubicBezTo>
                <a:cubicBezTo>
                  <a:pt x="60" y="207"/>
                  <a:pt x="60" y="207"/>
                  <a:pt x="60" y="207"/>
                </a:cubicBezTo>
                <a:cubicBezTo>
                  <a:pt x="61" y="206"/>
                  <a:pt x="61" y="206"/>
                  <a:pt x="61" y="206"/>
                </a:cubicBezTo>
                <a:cubicBezTo>
                  <a:pt x="61" y="206"/>
                  <a:pt x="61" y="206"/>
                  <a:pt x="61" y="206"/>
                </a:cubicBezTo>
                <a:cubicBezTo>
                  <a:pt x="62" y="206"/>
                  <a:pt x="62" y="206"/>
                  <a:pt x="62" y="206"/>
                </a:cubicBezTo>
                <a:cubicBezTo>
                  <a:pt x="63" y="205"/>
                  <a:pt x="63" y="205"/>
                  <a:pt x="63" y="205"/>
                </a:cubicBezTo>
                <a:cubicBezTo>
                  <a:pt x="64" y="205"/>
                  <a:pt x="64" y="205"/>
                  <a:pt x="64" y="205"/>
                </a:cubicBezTo>
                <a:cubicBezTo>
                  <a:pt x="64" y="204"/>
                  <a:pt x="64" y="204"/>
                  <a:pt x="64" y="204"/>
                </a:cubicBezTo>
                <a:cubicBezTo>
                  <a:pt x="64" y="204"/>
                  <a:pt x="64" y="204"/>
                  <a:pt x="64" y="204"/>
                </a:cubicBezTo>
                <a:cubicBezTo>
                  <a:pt x="62" y="204"/>
                  <a:pt x="62" y="204"/>
                  <a:pt x="62" y="204"/>
                </a:cubicBezTo>
                <a:cubicBezTo>
                  <a:pt x="61" y="205"/>
                  <a:pt x="61" y="205"/>
                  <a:pt x="61" y="205"/>
                </a:cubicBezTo>
                <a:cubicBezTo>
                  <a:pt x="61" y="205"/>
                  <a:pt x="61" y="205"/>
                  <a:pt x="61" y="205"/>
                </a:cubicBezTo>
                <a:cubicBezTo>
                  <a:pt x="60" y="205"/>
                  <a:pt x="60" y="205"/>
                  <a:pt x="60" y="205"/>
                </a:cubicBezTo>
                <a:cubicBezTo>
                  <a:pt x="59" y="205"/>
                  <a:pt x="59" y="205"/>
                  <a:pt x="59" y="205"/>
                </a:cubicBezTo>
                <a:cubicBezTo>
                  <a:pt x="58" y="205"/>
                  <a:pt x="58" y="205"/>
                  <a:pt x="58" y="205"/>
                </a:cubicBezTo>
                <a:cubicBezTo>
                  <a:pt x="58" y="204"/>
                  <a:pt x="58" y="204"/>
                  <a:pt x="58" y="204"/>
                </a:cubicBezTo>
                <a:cubicBezTo>
                  <a:pt x="59" y="203"/>
                  <a:pt x="59" y="203"/>
                  <a:pt x="59" y="203"/>
                </a:cubicBezTo>
                <a:cubicBezTo>
                  <a:pt x="60" y="203"/>
                  <a:pt x="60" y="203"/>
                  <a:pt x="60" y="203"/>
                </a:cubicBezTo>
                <a:cubicBezTo>
                  <a:pt x="61" y="203"/>
                  <a:pt x="61" y="203"/>
                  <a:pt x="61" y="203"/>
                </a:cubicBezTo>
                <a:cubicBezTo>
                  <a:pt x="63" y="202"/>
                  <a:pt x="63" y="202"/>
                  <a:pt x="63" y="202"/>
                </a:cubicBezTo>
                <a:cubicBezTo>
                  <a:pt x="65" y="201"/>
                  <a:pt x="65" y="201"/>
                  <a:pt x="65" y="201"/>
                </a:cubicBezTo>
                <a:cubicBezTo>
                  <a:pt x="65" y="201"/>
                  <a:pt x="65" y="201"/>
                  <a:pt x="65" y="201"/>
                </a:cubicBezTo>
                <a:cubicBezTo>
                  <a:pt x="64" y="201"/>
                  <a:pt x="64" y="201"/>
                  <a:pt x="64" y="201"/>
                </a:cubicBezTo>
                <a:cubicBezTo>
                  <a:pt x="64" y="201"/>
                  <a:pt x="64" y="201"/>
                  <a:pt x="64" y="201"/>
                </a:cubicBezTo>
                <a:cubicBezTo>
                  <a:pt x="63" y="201"/>
                  <a:pt x="63" y="201"/>
                  <a:pt x="63" y="201"/>
                </a:cubicBezTo>
                <a:cubicBezTo>
                  <a:pt x="62" y="202"/>
                  <a:pt x="62" y="202"/>
                  <a:pt x="62" y="202"/>
                </a:cubicBezTo>
                <a:cubicBezTo>
                  <a:pt x="61" y="201"/>
                  <a:pt x="61" y="201"/>
                  <a:pt x="61" y="201"/>
                </a:cubicBezTo>
                <a:cubicBezTo>
                  <a:pt x="61" y="201"/>
                  <a:pt x="61" y="201"/>
                  <a:pt x="61" y="201"/>
                </a:cubicBezTo>
                <a:cubicBezTo>
                  <a:pt x="60" y="200"/>
                  <a:pt x="60" y="200"/>
                  <a:pt x="60" y="200"/>
                </a:cubicBezTo>
                <a:cubicBezTo>
                  <a:pt x="59" y="200"/>
                  <a:pt x="59" y="200"/>
                  <a:pt x="59" y="200"/>
                </a:cubicBezTo>
                <a:cubicBezTo>
                  <a:pt x="59" y="200"/>
                  <a:pt x="59" y="200"/>
                  <a:pt x="59" y="200"/>
                </a:cubicBezTo>
                <a:cubicBezTo>
                  <a:pt x="59" y="200"/>
                  <a:pt x="59" y="200"/>
                  <a:pt x="59" y="200"/>
                </a:cubicBezTo>
                <a:cubicBezTo>
                  <a:pt x="60" y="199"/>
                  <a:pt x="60" y="199"/>
                  <a:pt x="60" y="199"/>
                </a:cubicBezTo>
                <a:cubicBezTo>
                  <a:pt x="60" y="198"/>
                  <a:pt x="60" y="198"/>
                  <a:pt x="60" y="198"/>
                </a:cubicBezTo>
                <a:cubicBezTo>
                  <a:pt x="61" y="197"/>
                  <a:pt x="61" y="197"/>
                  <a:pt x="61" y="197"/>
                </a:cubicBezTo>
                <a:cubicBezTo>
                  <a:pt x="61" y="197"/>
                  <a:pt x="61" y="197"/>
                  <a:pt x="61" y="197"/>
                </a:cubicBezTo>
                <a:cubicBezTo>
                  <a:pt x="61" y="196"/>
                  <a:pt x="61" y="196"/>
                  <a:pt x="61" y="196"/>
                </a:cubicBezTo>
                <a:cubicBezTo>
                  <a:pt x="61" y="196"/>
                  <a:pt x="61" y="196"/>
                  <a:pt x="61" y="196"/>
                </a:cubicBezTo>
                <a:cubicBezTo>
                  <a:pt x="60" y="197"/>
                  <a:pt x="60" y="197"/>
                  <a:pt x="60" y="197"/>
                </a:cubicBezTo>
                <a:cubicBezTo>
                  <a:pt x="59" y="198"/>
                  <a:pt x="59" y="198"/>
                  <a:pt x="59" y="198"/>
                </a:cubicBezTo>
                <a:cubicBezTo>
                  <a:pt x="59" y="199"/>
                  <a:pt x="59" y="199"/>
                  <a:pt x="59" y="199"/>
                </a:cubicBezTo>
                <a:cubicBezTo>
                  <a:pt x="58" y="199"/>
                  <a:pt x="58" y="199"/>
                  <a:pt x="58" y="199"/>
                </a:cubicBezTo>
                <a:cubicBezTo>
                  <a:pt x="58" y="200"/>
                  <a:pt x="58" y="200"/>
                  <a:pt x="58" y="200"/>
                </a:cubicBezTo>
                <a:cubicBezTo>
                  <a:pt x="57" y="200"/>
                  <a:pt x="57" y="200"/>
                  <a:pt x="57" y="200"/>
                </a:cubicBezTo>
                <a:cubicBezTo>
                  <a:pt x="57" y="199"/>
                  <a:pt x="57" y="199"/>
                  <a:pt x="57" y="199"/>
                </a:cubicBezTo>
                <a:cubicBezTo>
                  <a:pt x="57" y="197"/>
                  <a:pt x="57" y="197"/>
                  <a:pt x="57" y="197"/>
                </a:cubicBezTo>
                <a:cubicBezTo>
                  <a:pt x="58" y="196"/>
                  <a:pt x="58" y="196"/>
                  <a:pt x="58" y="196"/>
                </a:cubicBezTo>
                <a:cubicBezTo>
                  <a:pt x="57" y="194"/>
                  <a:pt x="57" y="194"/>
                  <a:pt x="57" y="194"/>
                </a:cubicBezTo>
                <a:cubicBezTo>
                  <a:pt x="57" y="193"/>
                  <a:pt x="57" y="193"/>
                  <a:pt x="57" y="193"/>
                </a:cubicBezTo>
                <a:cubicBezTo>
                  <a:pt x="57" y="192"/>
                  <a:pt x="57" y="192"/>
                  <a:pt x="57" y="192"/>
                </a:cubicBezTo>
                <a:cubicBezTo>
                  <a:pt x="57" y="191"/>
                  <a:pt x="57" y="191"/>
                  <a:pt x="57" y="191"/>
                </a:cubicBezTo>
                <a:cubicBezTo>
                  <a:pt x="57" y="191"/>
                  <a:pt x="57" y="191"/>
                  <a:pt x="57" y="191"/>
                </a:cubicBezTo>
                <a:cubicBezTo>
                  <a:pt x="57" y="192"/>
                  <a:pt x="57" y="192"/>
                  <a:pt x="57" y="192"/>
                </a:cubicBezTo>
                <a:cubicBezTo>
                  <a:pt x="56" y="194"/>
                  <a:pt x="56" y="194"/>
                  <a:pt x="56" y="194"/>
                </a:cubicBezTo>
                <a:cubicBezTo>
                  <a:pt x="57" y="195"/>
                  <a:pt x="57" y="195"/>
                  <a:pt x="57" y="195"/>
                </a:cubicBezTo>
                <a:cubicBezTo>
                  <a:pt x="57" y="196"/>
                  <a:pt x="57" y="196"/>
                  <a:pt x="57" y="196"/>
                </a:cubicBezTo>
                <a:cubicBezTo>
                  <a:pt x="57" y="197"/>
                  <a:pt x="57" y="197"/>
                  <a:pt x="57" y="197"/>
                </a:cubicBezTo>
                <a:cubicBezTo>
                  <a:pt x="57" y="199"/>
                  <a:pt x="57" y="199"/>
                  <a:pt x="57" y="199"/>
                </a:cubicBezTo>
                <a:cubicBezTo>
                  <a:pt x="56" y="200"/>
                  <a:pt x="56" y="200"/>
                  <a:pt x="56" y="200"/>
                </a:cubicBezTo>
                <a:cubicBezTo>
                  <a:pt x="56" y="200"/>
                  <a:pt x="56" y="200"/>
                  <a:pt x="56" y="200"/>
                </a:cubicBezTo>
                <a:cubicBezTo>
                  <a:pt x="55" y="199"/>
                  <a:pt x="55" y="199"/>
                  <a:pt x="55" y="199"/>
                </a:cubicBezTo>
                <a:cubicBezTo>
                  <a:pt x="55" y="198"/>
                  <a:pt x="55" y="198"/>
                  <a:pt x="55" y="198"/>
                </a:cubicBezTo>
                <a:cubicBezTo>
                  <a:pt x="54" y="200"/>
                  <a:pt x="54" y="200"/>
                  <a:pt x="54" y="200"/>
                </a:cubicBezTo>
                <a:cubicBezTo>
                  <a:pt x="54" y="201"/>
                  <a:pt x="54" y="201"/>
                  <a:pt x="54" y="201"/>
                </a:cubicBezTo>
                <a:cubicBezTo>
                  <a:pt x="54" y="200"/>
                  <a:pt x="54" y="200"/>
                  <a:pt x="54" y="200"/>
                </a:cubicBezTo>
                <a:cubicBezTo>
                  <a:pt x="53" y="200"/>
                  <a:pt x="53" y="200"/>
                  <a:pt x="53" y="200"/>
                </a:cubicBezTo>
                <a:cubicBezTo>
                  <a:pt x="54" y="201"/>
                  <a:pt x="54" y="201"/>
                  <a:pt x="54" y="201"/>
                </a:cubicBezTo>
                <a:cubicBezTo>
                  <a:pt x="54" y="202"/>
                  <a:pt x="54" y="202"/>
                  <a:pt x="54" y="202"/>
                </a:cubicBezTo>
                <a:cubicBezTo>
                  <a:pt x="54" y="203"/>
                  <a:pt x="54" y="203"/>
                  <a:pt x="54" y="203"/>
                </a:cubicBezTo>
                <a:cubicBezTo>
                  <a:pt x="53" y="203"/>
                  <a:pt x="53" y="203"/>
                  <a:pt x="53" y="203"/>
                </a:cubicBezTo>
                <a:cubicBezTo>
                  <a:pt x="52" y="204"/>
                  <a:pt x="52" y="204"/>
                  <a:pt x="52" y="204"/>
                </a:cubicBezTo>
                <a:cubicBezTo>
                  <a:pt x="52" y="203"/>
                  <a:pt x="52" y="203"/>
                  <a:pt x="52" y="203"/>
                </a:cubicBezTo>
                <a:cubicBezTo>
                  <a:pt x="51" y="204"/>
                  <a:pt x="51" y="204"/>
                  <a:pt x="51" y="204"/>
                </a:cubicBezTo>
                <a:cubicBezTo>
                  <a:pt x="50" y="204"/>
                  <a:pt x="50" y="204"/>
                  <a:pt x="50" y="204"/>
                </a:cubicBezTo>
                <a:cubicBezTo>
                  <a:pt x="49" y="204"/>
                  <a:pt x="49" y="204"/>
                  <a:pt x="49" y="204"/>
                </a:cubicBezTo>
                <a:cubicBezTo>
                  <a:pt x="48" y="204"/>
                  <a:pt x="48" y="204"/>
                  <a:pt x="48" y="204"/>
                </a:cubicBezTo>
                <a:cubicBezTo>
                  <a:pt x="48" y="203"/>
                  <a:pt x="48" y="203"/>
                  <a:pt x="48" y="203"/>
                </a:cubicBezTo>
                <a:cubicBezTo>
                  <a:pt x="48" y="202"/>
                  <a:pt x="48" y="202"/>
                  <a:pt x="48" y="202"/>
                </a:cubicBezTo>
                <a:cubicBezTo>
                  <a:pt x="48" y="202"/>
                  <a:pt x="48" y="202"/>
                  <a:pt x="48" y="202"/>
                </a:cubicBezTo>
                <a:cubicBezTo>
                  <a:pt x="47" y="202"/>
                  <a:pt x="47" y="202"/>
                  <a:pt x="47" y="202"/>
                </a:cubicBezTo>
                <a:cubicBezTo>
                  <a:pt x="47" y="203"/>
                  <a:pt x="47" y="203"/>
                  <a:pt x="47" y="203"/>
                </a:cubicBezTo>
                <a:cubicBezTo>
                  <a:pt x="46" y="203"/>
                  <a:pt x="46" y="203"/>
                  <a:pt x="46" y="203"/>
                </a:cubicBezTo>
                <a:cubicBezTo>
                  <a:pt x="46" y="201"/>
                  <a:pt x="46" y="201"/>
                  <a:pt x="46" y="201"/>
                </a:cubicBezTo>
                <a:cubicBezTo>
                  <a:pt x="46" y="200"/>
                  <a:pt x="46" y="200"/>
                  <a:pt x="46" y="200"/>
                </a:cubicBezTo>
                <a:cubicBezTo>
                  <a:pt x="46" y="200"/>
                  <a:pt x="46" y="200"/>
                  <a:pt x="46" y="200"/>
                </a:cubicBezTo>
                <a:cubicBezTo>
                  <a:pt x="46" y="199"/>
                  <a:pt x="46" y="199"/>
                  <a:pt x="46" y="199"/>
                </a:cubicBezTo>
                <a:cubicBezTo>
                  <a:pt x="46" y="199"/>
                  <a:pt x="46" y="199"/>
                  <a:pt x="46" y="199"/>
                </a:cubicBezTo>
                <a:cubicBezTo>
                  <a:pt x="47" y="198"/>
                  <a:pt x="47" y="198"/>
                  <a:pt x="47" y="198"/>
                </a:cubicBezTo>
                <a:cubicBezTo>
                  <a:pt x="48" y="198"/>
                  <a:pt x="48" y="198"/>
                  <a:pt x="48" y="198"/>
                </a:cubicBezTo>
                <a:cubicBezTo>
                  <a:pt x="48" y="198"/>
                  <a:pt x="48" y="198"/>
                  <a:pt x="48" y="198"/>
                </a:cubicBezTo>
                <a:cubicBezTo>
                  <a:pt x="49" y="197"/>
                  <a:pt x="49" y="197"/>
                  <a:pt x="49" y="197"/>
                </a:cubicBezTo>
                <a:cubicBezTo>
                  <a:pt x="49" y="197"/>
                  <a:pt x="49" y="197"/>
                  <a:pt x="49" y="197"/>
                </a:cubicBezTo>
                <a:cubicBezTo>
                  <a:pt x="51" y="197"/>
                  <a:pt x="51" y="197"/>
                  <a:pt x="51" y="197"/>
                </a:cubicBezTo>
                <a:cubicBezTo>
                  <a:pt x="52" y="197"/>
                  <a:pt x="52" y="197"/>
                  <a:pt x="52" y="197"/>
                </a:cubicBezTo>
                <a:cubicBezTo>
                  <a:pt x="53" y="195"/>
                  <a:pt x="53" y="195"/>
                  <a:pt x="53" y="195"/>
                </a:cubicBezTo>
                <a:cubicBezTo>
                  <a:pt x="54" y="194"/>
                  <a:pt x="54" y="194"/>
                  <a:pt x="54" y="194"/>
                </a:cubicBezTo>
                <a:cubicBezTo>
                  <a:pt x="54" y="193"/>
                  <a:pt x="54" y="193"/>
                  <a:pt x="54" y="193"/>
                </a:cubicBezTo>
                <a:cubicBezTo>
                  <a:pt x="54" y="193"/>
                  <a:pt x="54" y="193"/>
                  <a:pt x="54" y="193"/>
                </a:cubicBezTo>
                <a:cubicBezTo>
                  <a:pt x="53" y="193"/>
                  <a:pt x="53" y="193"/>
                  <a:pt x="53" y="193"/>
                </a:cubicBezTo>
                <a:cubicBezTo>
                  <a:pt x="53" y="194"/>
                  <a:pt x="53" y="194"/>
                  <a:pt x="53" y="194"/>
                </a:cubicBezTo>
                <a:cubicBezTo>
                  <a:pt x="52" y="196"/>
                  <a:pt x="52" y="196"/>
                  <a:pt x="52" y="196"/>
                </a:cubicBezTo>
                <a:cubicBezTo>
                  <a:pt x="50" y="196"/>
                  <a:pt x="50" y="196"/>
                  <a:pt x="50" y="196"/>
                </a:cubicBezTo>
                <a:cubicBezTo>
                  <a:pt x="49" y="196"/>
                  <a:pt x="49" y="196"/>
                  <a:pt x="49" y="196"/>
                </a:cubicBezTo>
                <a:cubicBezTo>
                  <a:pt x="48" y="195"/>
                  <a:pt x="48" y="195"/>
                  <a:pt x="48" y="195"/>
                </a:cubicBezTo>
                <a:cubicBezTo>
                  <a:pt x="48" y="194"/>
                  <a:pt x="48" y="194"/>
                  <a:pt x="48" y="194"/>
                </a:cubicBezTo>
                <a:cubicBezTo>
                  <a:pt x="49" y="194"/>
                  <a:pt x="49" y="194"/>
                  <a:pt x="49" y="194"/>
                </a:cubicBezTo>
                <a:cubicBezTo>
                  <a:pt x="50" y="192"/>
                  <a:pt x="50" y="192"/>
                  <a:pt x="50" y="192"/>
                </a:cubicBezTo>
                <a:cubicBezTo>
                  <a:pt x="51" y="192"/>
                  <a:pt x="51" y="192"/>
                  <a:pt x="51" y="192"/>
                </a:cubicBezTo>
                <a:cubicBezTo>
                  <a:pt x="51" y="192"/>
                  <a:pt x="51" y="192"/>
                  <a:pt x="51" y="192"/>
                </a:cubicBezTo>
                <a:cubicBezTo>
                  <a:pt x="51" y="191"/>
                  <a:pt x="51" y="191"/>
                  <a:pt x="51" y="191"/>
                </a:cubicBezTo>
                <a:cubicBezTo>
                  <a:pt x="52" y="191"/>
                  <a:pt x="52" y="191"/>
                  <a:pt x="52" y="191"/>
                </a:cubicBezTo>
                <a:cubicBezTo>
                  <a:pt x="52" y="191"/>
                  <a:pt x="52" y="191"/>
                  <a:pt x="52" y="191"/>
                </a:cubicBezTo>
                <a:cubicBezTo>
                  <a:pt x="53" y="190"/>
                  <a:pt x="53" y="190"/>
                  <a:pt x="53" y="190"/>
                </a:cubicBezTo>
                <a:cubicBezTo>
                  <a:pt x="52" y="190"/>
                  <a:pt x="52" y="190"/>
                  <a:pt x="52" y="190"/>
                </a:cubicBezTo>
                <a:cubicBezTo>
                  <a:pt x="52" y="189"/>
                  <a:pt x="52" y="189"/>
                  <a:pt x="52" y="189"/>
                </a:cubicBezTo>
                <a:cubicBezTo>
                  <a:pt x="52" y="189"/>
                  <a:pt x="52" y="189"/>
                  <a:pt x="52" y="189"/>
                </a:cubicBezTo>
                <a:cubicBezTo>
                  <a:pt x="52" y="189"/>
                  <a:pt x="52" y="189"/>
                  <a:pt x="52" y="189"/>
                </a:cubicBezTo>
                <a:cubicBezTo>
                  <a:pt x="51" y="190"/>
                  <a:pt x="51" y="190"/>
                  <a:pt x="51" y="190"/>
                </a:cubicBezTo>
                <a:cubicBezTo>
                  <a:pt x="50" y="190"/>
                  <a:pt x="50" y="190"/>
                  <a:pt x="50" y="190"/>
                </a:cubicBezTo>
                <a:cubicBezTo>
                  <a:pt x="49" y="190"/>
                  <a:pt x="49" y="190"/>
                  <a:pt x="49" y="190"/>
                </a:cubicBezTo>
                <a:cubicBezTo>
                  <a:pt x="49" y="189"/>
                  <a:pt x="49" y="189"/>
                  <a:pt x="49" y="189"/>
                </a:cubicBezTo>
                <a:cubicBezTo>
                  <a:pt x="49" y="188"/>
                  <a:pt x="49" y="188"/>
                  <a:pt x="49" y="188"/>
                </a:cubicBezTo>
                <a:cubicBezTo>
                  <a:pt x="50" y="188"/>
                  <a:pt x="50" y="188"/>
                  <a:pt x="50" y="188"/>
                </a:cubicBezTo>
                <a:cubicBezTo>
                  <a:pt x="51" y="188"/>
                  <a:pt x="51" y="188"/>
                  <a:pt x="51" y="188"/>
                </a:cubicBezTo>
                <a:cubicBezTo>
                  <a:pt x="52" y="188"/>
                  <a:pt x="52" y="188"/>
                  <a:pt x="52" y="188"/>
                </a:cubicBezTo>
                <a:cubicBezTo>
                  <a:pt x="52" y="188"/>
                  <a:pt x="52" y="188"/>
                  <a:pt x="52" y="188"/>
                </a:cubicBezTo>
                <a:cubicBezTo>
                  <a:pt x="54" y="188"/>
                  <a:pt x="54" y="188"/>
                  <a:pt x="54" y="188"/>
                </a:cubicBezTo>
                <a:cubicBezTo>
                  <a:pt x="54" y="186"/>
                  <a:pt x="54" y="186"/>
                  <a:pt x="54" y="186"/>
                </a:cubicBezTo>
                <a:cubicBezTo>
                  <a:pt x="54" y="185"/>
                  <a:pt x="54" y="185"/>
                  <a:pt x="54" y="185"/>
                </a:cubicBezTo>
                <a:cubicBezTo>
                  <a:pt x="54" y="185"/>
                  <a:pt x="54" y="185"/>
                  <a:pt x="54" y="185"/>
                </a:cubicBezTo>
                <a:cubicBezTo>
                  <a:pt x="55" y="183"/>
                  <a:pt x="55" y="183"/>
                  <a:pt x="55" y="183"/>
                </a:cubicBezTo>
                <a:cubicBezTo>
                  <a:pt x="55" y="182"/>
                  <a:pt x="55" y="182"/>
                  <a:pt x="55" y="182"/>
                </a:cubicBezTo>
                <a:cubicBezTo>
                  <a:pt x="55" y="181"/>
                  <a:pt x="55" y="181"/>
                  <a:pt x="55" y="181"/>
                </a:cubicBezTo>
                <a:cubicBezTo>
                  <a:pt x="55" y="180"/>
                  <a:pt x="55" y="180"/>
                  <a:pt x="55" y="180"/>
                </a:cubicBezTo>
                <a:cubicBezTo>
                  <a:pt x="54" y="180"/>
                  <a:pt x="54" y="180"/>
                  <a:pt x="54" y="180"/>
                </a:cubicBezTo>
                <a:cubicBezTo>
                  <a:pt x="54" y="180"/>
                  <a:pt x="54" y="180"/>
                  <a:pt x="54" y="180"/>
                </a:cubicBezTo>
                <a:cubicBezTo>
                  <a:pt x="53" y="179"/>
                  <a:pt x="53" y="179"/>
                  <a:pt x="53" y="179"/>
                </a:cubicBezTo>
                <a:cubicBezTo>
                  <a:pt x="52" y="179"/>
                  <a:pt x="52" y="179"/>
                  <a:pt x="52" y="179"/>
                </a:cubicBezTo>
                <a:cubicBezTo>
                  <a:pt x="51" y="179"/>
                  <a:pt x="51" y="179"/>
                  <a:pt x="51" y="179"/>
                </a:cubicBezTo>
                <a:cubicBezTo>
                  <a:pt x="51" y="178"/>
                  <a:pt x="51" y="178"/>
                  <a:pt x="51" y="178"/>
                </a:cubicBezTo>
                <a:cubicBezTo>
                  <a:pt x="52" y="178"/>
                  <a:pt x="52" y="178"/>
                  <a:pt x="52" y="178"/>
                </a:cubicBezTo>
                <a:cubicBezTo>
                  <a:pt x="53" y="178"/>
                  <a:pt x="53" y="178"/>
                  <a:pt x="53" y="178"/>
                </a:cubicBezTo>
                <a:cubicBezTo>
                  <a:pt x="53" y="178"/>
                  <a:pt x="53" y="178"/>
                  <a:pt x="53" y="178"/>
                </a:cubicBezTo>
                <a:cubicBezTo>
                  <a:pt x="54" y="177"/>
                  <a:pt x="54" y="177"/>
                  <a:pt x="54" y="177"/>
                </a:cubicBezTo>
                <a:cubicBezTo>
                  <a:pt x="54" y="176"/>
                  <a:pt x="54" y="176"/>
                  <a:pt x="54" y="176"/>
                </a:cubicBezTo>
                <a:cubicBezTo>
                  <a:pt x="55" y="176"/>
                  <a:pt x="55" y="176"/>
                  <a:pt x="55" y="176"/>
                </a:cubicBezTo>
                <a:cubicBezTo>
                  <a:pt x="55" y="175"/>
                  <a:pt x="55" y="175"/>
                  <a:pt x="55" y="175"/>
                </a:cubicBezTo>
                <a:cubicBezTo>
                  <a:pt x="54" y="174"/>
                  <a:pt x="54" y="174"/>
                  <a:pt x="54" y="174"/>
                </a:cubicBezTo>
                <a:cubicBezTo>
                  <a:pt x="53" y="174"/>
                  <a:pt x="53" y="174"/>
                  <a:pt x="53" y="174"/>
                </a:cubicBezTo>
                <a:cubicBezTo>
                  <a:pt x="53" y="174"/>
                  <a:pt x="53" y="174"/>
                  <a:pt x="53" y="174"/>
                </a:cubicBezTo>
                <a:cubicBezTo>
                  <a:pt x="53" y="173"/>
                  <a:pt x="53" y="173"/>
                  <a:pt x="53" y="173"/>
                </a:cubicBezTo>
                <a:cubicBezTo>
                  <a:pt x="54" y="172"/>
                  <a:pt x="54" y="172"/>
                  <a:pt x="54" y="172"/>
                </a:cubicBezTo>
                <a:cubicBezTo>
                  <a:pt x="54" y="173"/>
                  <a:pt x="54" y="173"/>
                  <a:pt x="54" y="173"/>
                </a:cubicBezTo>
                <a:cubicBezTo>
                  <a:pt x="54" y="172"/>
                  <a:pt x="54" y="172"/>
                  <a:pt x="54" y="172"/>
                </a:cubicBezTo>
                <a:cubicBezTo>
                  <a:pt x="53" y="171"/>
                  <a:pt x="53" y="171"/>
                  <a:pt x="53" y="171"/>
                </a:cubicBezTo>
                <a:cubicBezTo>
                  <a:pt x="53" y="170"/>
                  <a:pt x="53" y="170"/>
                  <a:pt x="53" y="170"/>
                </a:cubicBezTo>
                <a:cubicBezTo>
                  <a:pt x="53" y="169"/>
                  <a:pt x="53" y="169"/>
                  <a:pt x="53" y="169"/>
                </a:cubicBezTo>
                <a:cubicBezTo>
                  <a:pt x="54" y="170"/>
                  <a:pt x="54" y="170"/>
                  <a:pt x="54" y="170"/>
                </a:cubicBezTo>
                <a:cubicBezTo>
                  <a:pt x="54" y="170"/>
                  <a:pt x="54" y="170"/>
                  <a:pt x="54" y="170"/>
                </a:cubicBezTo>
                <a:cubicBezTo>
                  <a:pt x="54" y="169"/>
                  <a:pt x="54" y="169"/>
                  <a:pt x="54" y="169"/>
                </a:cubicBezTo>
                <a:cubicBezTo>
                  <a:pt x="54" y="168"/>
                  <a:pt x="54" y="168"/>
                  <a:pt x="54" y="168"/>
                </a:cubicBezTo>
                <a:cubicBezTo>
                  <a:pt x="54" y="167"/>
                  <a:pt x="54" y="167"/>
                  <a:pt x="54" y="167"/>
                </a:cubicBezTo>
                <a:cubicBezTo>
                  <a:pt x="54" y="166"/>
                  <a:pt x="54" y="166"/>
                  <a:pt x="54" y="166"/>
                </a:cubicBezTo>
                <a:cubicBezTo>
                  <a:pt x="53" y="165"/>
                  <a:pt x="53" y="165"/>
                  <a:pt x="53" y="165"/>
                </a:cubicBezTo>
                <a:cubicBezTo>
                  <a:pt x="53" y="165"/>
                  <a:pt x="53" y="165"/>
                  <a:pt x="53" y="165"/>
                </a:cubicBezTo>
                <a:cubicBezTo>
                  <a:pt x="53" y="164"/>
                  <a:pt x="53" y="164"/>
                  <a:pt x="53" y="164"/>
                </a:cubicBezTo>
                <a:cubicBezTo>
                  <a:pt x="54" y="163"/>
                  <a:pt x="54" y="163"/>
                  <a:pt x="54" y="163"/>
                </a:cubicBezTo>
                <a:cubicBezTo>
                  <a:pt x="54" y="162"/>
                  <a:pt x="54" y="162"/>
                  <a:pt x="54" y="162"/>
                </a:cubicBezTo>
                <a:cubicBezTo>
                  <a:pt x="53" y="162"/>
                  <a:pt x="53" y="162"/>
                  <a:pt x="53" y="162"/>
                </a:cubicBezTo>
                <a:cubicBezTo>
                  <a:pt x="53" y="162"/>
                  <a:pt x="53" y="162"/>
                  <a:pt x="53" y="162"/>
                </a:cubicBezTo>
                <a:cubicBezTo>
                  <a:pt x="52" y="163"/>
                  <a:pt x="52" y="163"/>
                  <a:pt x="52" y="163"/>
                </a:cubicBezTo>
                <a:cubicBezTo>
                  <a:pt x="51" y="163"/>
                  <a:pt x="51" y="163"/>
                  <a:pt x="51" y="163"/>
                </a:cubicBezTo>
                <a:cubicBezTo>
                  <a:pt x="51" y="163"/>
                  <a:pt x="51" y="163"/>
                  <a:pt x="51" y="163"/>
                </a:cubicBezTo>
                <a:cubicBezTo>
                  <a:pt x="50" y="164"/>
                  <a:pt x="50" y="164"/>
                  <a:pt x="50" y="164"/>
                </a:cubicBezTo>
                <a:cubicBezTo>
                  <a:pt x="49" y="163"/>
                  <a:pt x="49" y="163"/>
                  <a:pt x="49" y="163"/>
                </a:cubicBezTo>
                <a:cubicBezTo>
                  <a:pt x="50" y="163"/>
                  <a:pt x="50" y="163"/>
                  <a:pt x="50" y="163"/>
                </a:cubicBezTo>
                <a:cubicBezTo>
                  <a:pt x="51" y="162"/>
                  <a:pt x="51" y="162"/>
                  <a:pt x="51" y="162"/>
                </a:cubicBezTo>
                <a:cubicBezTo>
                  <a:pt x="52" y="162"/>
                  <a:pt x="52" y="162"/>
                  <a:pt x="52" y="162"/>
                </a:cubicBezTo>
                <a:cubicBezTo>
                  <a:pt x="52" y="161"/>
                  <a:pt x="52" y="161"/>
                  <a:pt x="52" y="161"/>
                </a:cubicBezTo>
                <a:cubicBezTo>
                  <a:pt x="53" y="160"/>
                  <a:pt x="53" y="160"/>
                  <a:pt x="53" y="160"/>
                </a:cubicBezTo>
                <a:cubicBezTo>
                  <a:pt x="53" y="159"/>
                  <a:pt x="53" y="159"/>
                  <a:pt x="53" y="159"/>
                </a:cubicBezTo>
                <a:cubicBezTo>
                  <a:pt x="54" y="159"/>
                  <a:pt x="54" y="159"/>
                  <a:pt x="54" y="159"/>
                </a:cubicBezTo>
                <a:cubicBezTo>
                  <a:pt x="55" y="158"/>
                  <a:pt x="55" y="158"/>
                  <a:pt x="55" y="158"/>
                </a:cubicBezTo>
                <a:cubicBezTo>
                  <a:pt x="55" y="157"/>
                  <a:pt x="55" y="157"/>
                  <a:pt x="55" y="157"/>
                </a:cubicBezTo>
                <a:cubicBezTo>
                  <a:pt x="54" y="157"/>
                  <a:pt x="54" y="157"/>
                  <a:pt x="54" y="157"/>
                </a:cubicBezTo>
                <a:cubicBezTo>
                  <a:pt x="53" y="156"/>
                  <a:pt x="53" y="156"/>
                  <a:pt x="53" y="156"/>
                </a:cubicBezTo>
                <a:cubicBezTo>
                  <a:pt x="53" y="155"/>
                  <a:pt x="53" y="155"/>
                  <a:pt x="53" y="155"/>
                </a:cubicBezTo>
                <a:cubicBezTo>
                  <a:pt x="53" y="154"/>
                  <a:pt x="53" y="154"/>
                  <a:pt x="53" y="154"/>
                </a:cubicBezTo>
                <a:cubicBezTo>
                  <a:pt x="52" y="154"/>
                  <a:pt x="52" y="154"/>
                  <a:pt x="52" y="154"/>
                </a:cubicBezTo>
                <a:cubicBezTo>
                  <a:pt x="52" y="153"/>
                  <a:pt x="52" y="153"/>
                  <a:pt x="52" y="153"/>
                </a:cubicBezTo>
                <a:cubicBezTo>
                  <a:pt x="52" y="153"/>
                  <a:pt x="52" y="153"/>
                  <a:pt x="52" y="153"/>
                </a:cubicBezTo>
                <a:cubicBezTo>
                  <a:pt x="52" y="152"/>
                  <a:pt x="52" y="152"/>
                  <a:pt x="52" y="152"/>
                </a:cubicBezTo>
                <a:cubicBezTo>
                  <a:pt x="52" y="152"/>
                  <a:pt x="52" y="152"/>
                  <a:pt x="52" y="152"/>
                </a:cubicBezTo>
                <a:cubicBezTo>
                  <a:pt x="52" y="150"/>
                  <a:pt x="52" y="150"/>
                  <a:pt x="52" y="150"/>
                </a:cubicBezTo>
                <a:cubicBezTo>
                  <a:pt x="51" y="149"/>
                  <a:pt x="51" y="149"/>
                  <a:pt x="51" y="149"/>
                </a:cubicBezTo>
                <a:cubicBezTo>
                  <a:pt x="49" y="148"/>
                  <a:pt x="49" y="148"/>
                  <a:pt x="49" y="148"/>
                </a:cubicBezTo>
                <a:cubicBezTo>
                  <a:pt x="49" y="147"/>
                  <a:pt x="49" y="147"/>
                  <a:pt x="49" y="147"/>
                </a:cubicBezTo>
                <a:cubicBezTo>
                  <a:pt x="49" y="146"/>
                  <a:pt x="49" y="146"/>
                  <a:pt x="49" y="146"/>
                </a:cubicBezTo>
                <a:cubicBezTo>
                  <a:pt x="48" y="146"/>
                  <a:pt x="48" y="146"/>
                  <a:pt x="48" y="146"/>
                </a:cubicBezTo>
                <a:cubicBezTo>
                  <a:pt x="48" y="145"/>
                  <a:pt x="48" y="145"/>
                  <a:pt x="48" y="145"/>
                </a:cubicBezTo>
                <a:cubicBezTo>
                  <a:pt x="49" y="145"/>
                  <a:pt x="49" y="145"/>
                  <a:pt x="49" y="145"/>
                </a:cubicBezTo>
                <a:cubicBezTo>
                  <a:pt x="50" y="144"/>
                  <a:pt x="50" y="144"/>
                  <a:pt x="50" y="144"/>
                </a:cubicBezTo>
                <a:cubicBezTo>
                  <a:pt x="51" y="144"/>
                  <a:pt x="51" y="144"/>
                  <a:pt x="51" y="144"/>
                </a:cubicBezTo>
                <a:cubicBezTo>
                  <a:pt x="51" y="143"/>
                  <a:pt x="51" y="143"/>
                  <a:pt x="51" y="143"/>
                </a:cubicBezTo>
                <a:cubicBezTo>
                  <a:pt x="51" y="143"/>
                  <a:pt x="51" y="143"/>
                  <a:pt x="51" y="143"/>
                </a:cubicBezTo>
                <a:cubicBezTo>
                  <a:pt x="50" y="143"/>
                  <a:pt x="50" y="143"/>
                  <a:pt x="50" y="143"/>
                </a:cubicBezTo>
                <a:cubicBezTo>
                  <a:pt x="50" y="142"/>
                  <a:pt x="50" y="142"/>
                  <a:pt x="50" y="142"/>
                </a:cubicBezTo>
                <a:cubicBezTo>
                  <a:pt x="50" y="142"/>
                  <a:pt x="50" y="142"/>
                  <a:pt x="50" y="142"/>
                </a:cubicBezTo>
                <a:cubicBezTo>
                  <a:pt x="51" y="141"/>
                  <a:pt x="51" y="141"/>
                  <a:pt x="51" y="141"/>
                </a:cubicBezTo>
                <a:cubicBezTo>
                  <a:pt x="52" y="140"/>
                  <a:pt x="52" y="140"/>
                  <a:pt x="52" y="140"/>
                </a:cubicBezTo>
                <a:cubicBezTo>
                  <a:pt x="52" y="139"/>
                  <a:pt x="52" y="139"/>
                  <a:pt x="52" y="139"/>
                </a:cubicBezTo>
                <a:cubicBezTo>
                  <a:pt x="51" y="139"/>
                  <a:pt x="51" y="139"/>
                  <a:pt x="51" y="139"/>
                </a:cubicBezTo>
                <a:cubicBezTo>
                  <a:pt x="52" y="138"/>
                  <a:pt x="52" y="138"/>
                  <a:pt x="52" y="138"/>
                </a:cubicBezTo>
                <a:cubicBezTo>
                  <a:pt x="51" y="138"/>
                  <a:pt x="51" y="138"/>
                  <a:pt x="51" y="138"/>
                </a:cubicBezTo>
                <a:cubicBezTo>
                  <a:pt x="51" y="138"/>
                  <a:pt x="51" y="138"/>
                  <a:pt x="51" y="138"/>
                </a:cubicBezTo>
                <a:cubicBezTo>
                  <a:pt x="50" y="136"/>
                  <a:pt x="50" y="136"/>
                  <a:pt x="50" y="136"/>
                </a:cubicBezTo>
                <a:cubicBezTo>
                  <a:pt x="48" y="135"/>
                  <a:pt x="48" y="135"/>
                  <a:pt x="48" y="135"/>
                </a:cubicBezTo>
                <a:cubicBezTo>
                  <a:pt x="48" y="134"/>
                  <a:pt x="48" y="134"/>
                  <a:pt x="48" y="134"/>
                </a:cubicBezTo>
                <a:cubicBezTo>
                  <a:pt x="47" y="134"/>
                  <a:pt x="47" y="134"/>
                  <a:pt x="47" y="134"/>
                </a:cubicBezTo>
                <a:cubicBezTo>
                  <a:pt x="47" y="134"/>
                  <a:pt x="47" y="134"/>
                  <a:pt x="47" y="134"/>
                </a:cubicBezTo>
                <a:cubicBezTo>
                  <a:pt x="47" y="135"/>
                  <a:pt x="47" y="135"/>
                  <a:pt x="47" y="135"/>
                </a:cubicBezTo>
                <a:cubicBezTo>
                  <a:pt x="46" y="135"/>
                  <a:pt x="46" y="135"/>
                  <a:pt x="46" y="135"/>
                </a:cubicBezTo>
                <a:cubicBezTo>
                  <a:pt x="46" y="134"/>
                  <a:pt x="46" y="134"/>
                  <a:pt x="46" y="134"/>
                </a:cubicBezTo>
                <a:cubicBezTo>
                  <a:pt x="46" y="133"/>
                  <a:pt x="46" y="133"/>
                  <a:pt x="46" y="133"/>
                </a:cubicBezTo>
                <a:cubicBezTo>
                  <a:pt x="45" y="133"/>
                  <a:pt x="45" y="133"/>
                  <a:pt x="45" y="133"/>
                </a:cubicBezTo>
                <a:cubicBezTo>
                  <a:pt x="44" y="132"/>
                  <a:pt x="44" y="132"/>
                  <a:pt x="44" y="132"/>
                </a:cubicBezTo>
                <a:cubicBezTo>
                  <a:pt x="43" y="132"/>
                  <a:pt x="43" y="132"/>
                  <a:pt x="43" y="132"/>
                </a:cubicBezTo>
                <a:cubicBezTo>
                  <a:pt x="43" y="131"/>
                  <a:pt x="43" y="131"/>
                  <a:pt x="43" y="131"/>
                </a:cubicBezTo>
                <a:cubicBezTo>
                  <a:pt x="43" y="132"/>
                  <a:pt x="43" y="132"/>
                  <a:pt x="43" y="132"/>
                </a:cubicBezTo>
                <a:cubicBezTo>
                  <a:pt x="42" y="132"/>
                  <a:pt x="42" y="132"/>
                  <a:pt x="42" y="132"/>
                </a:cubicBezTo>
                <a:cubicBezTo>
                  <a:pt x="42" y="131"/>
                  <a:pt x="42" y="131"/>
                  <a:pt x="42" y="131"/>
                </a:cubicBezTo>
                <a:cubicBezTo>
                  <a:pt x="42" y="130"/>
                  <a:pt x="42" y="130"/>
                  <a:pt x="42" y="130"/>
                </a:cubicBezTo>
                <a:cubicBezTo>
                  <a:pt x="41" y="129"/>
                  <a:pt x="41" y="129"/>
                  <a:pt x="41" y="129"/>
                </a:cubicBezTo>
                <a:cubicBezTo>
                  <a:pt x="40" y="128"/>
                  <a:pt x="40" y="128"/>
                  <a:pt x="40" y="128"/>
                </a:cubicBezTo>
                <a:cubicBezTo>
                  <a:pt x="39" y="128"/>
                  <a:pt x="39" y="128"/>
                  <a:pt x="39" y="128"/>
                </a:cubicBezTo>
                <a:cubicBezTo>
                  <a:pt x="39" y="129"/>
                  <a:pt x="39" y="129"/>
                  <a:pt x="39" y="129"/>
                </a:cubicBezTo>
                <a:cubicBezTo>
                  <a:pt x="38" y="128"/>
                  <a:pt x="38" y="128"/>
                  <a:pt x="38" y="128"/>
                </a:cubicBezTo>
                <a:cubicBezTo>
                  <a:pt x="36" y="127"/>
                  <a:pt x="36" y="127"/>
                  <a:pt x="36" y="127"/>
                </a:cubicBezTo>
                <a:cubicBezTo>
                  <a:pt x="35" y="126"/>
                  <a:pt x="35" y="126"/>
                  <a:pt x="35" y="126"/>
                </a:cubicBezTo>
                <a:cubicBezTo>
                  <a:pt x="34" y="125"/>
                  <a:pt x="34" y="125"/>
                  <a:pt x="34" y="125"/>
                </a:cubicBezTo>
                <a:cubicBezTo>
                  <a:pt x="33" y="125"/>
                  <a:pt x="33" y="125"/>
                  <a:pt x="33" y="125"/>
                </a:cubicBezTo>
                <a:cubicBezTo>
                  <a:pt x="31" y="125"/>
                  <a:pt x="31" y="125"/>
                  <a:pt x="31" y="125"/>
                </a:cubicBezTo>
                <a:cubicBezTo>
                  <a:pt x="30" y="126"/>
                  <a:pt x="30" y="126"/>
                  <a:pt x="30" y="126"/>
                </a:cubicBezTo>
                <a:cubicBezTo>
                  <a:pt x="30" y="127"/>
                  <a:pt x="30" y="127"/>
                  <a:pt x="30" y="127"/>
                </a:cubicBezTo>
                <a:cubicBezTo>
                  <a:pt x="29" y="128"/>
                  <a:pt x="29" y="128"/>
                  <a:pt x="29" y="128"/>
                </a:cubicBezTo>
                <a:cubicBezTo>
                  <a:pt x="28" y="129"/>
                  <a:pt x="28" y="129"/>
                  <a:pt x="28" y="129"/>
                </a:cubicBezTo>
                <a:cubicBezTo>
                  <a:pt x="28" y="128"/>
                  <a:pt x="28" y="128"/>
                  <a:pt x="28" y="128"/>
                </a:cubicBezTo>
                <a:cubicBezTo>
                  <a:pt x="29" y="127"/>
                  <a:pt x="29" y="127"/>
                  <a:pt x="29" y="127"/>
                </a:cubicBezTo>
                <a:cubicBezTo>
                  <a:pt x="29" y="125"/>
                  <a:pt x="29" y="125"/>
                  <a:pt x="29" y="125"/>
                </a:cubicBezTo>
                <a:cubicBezTo>
                  <a:pt x="28" y="125"/>
                  <a:pt x="28" y="125"/>
                  <a:pt x="28" y="125"/>
                </a:cubicBezTo>
                <a:cubicBezTo>
                  <a:pt x="27" y="125"/>
                  <a:pt x="27" y="125"/>
                  <a:pt x="27" y="125"/>
                </a:cubicBezTo>
                <a:cubicBezTo>
                  <a:pt x="26" y="126"/>
                  <a:pt x="26" y="126"/>
                  <a:pt x="26" y="126"/>
                </a:cubicBezTo>
                <a:cubicBezTo>
                  <a:pt x="26" y="127"/>
                  <a:pt x="26" y="127"/>
                  <a:pt x="26" y="127"/>
                </a:cubicBezTo>
                <a:cubicBezTo>
                  <a:pt x="25" y="127"/>
                  <a:pt x="25" y="127"/>
                  <a:pt x="25" y="127"/>
                </a:cubicBezTo>
                <a:cubicBezTo>
                  <a:pt x="25" y="127"/>
                  <a:pt x="25" y="127"/>
                  <a:pt x="25" y="127"/>
                </a:cubicBezTo>
                <a:cubicBezTo>
                  <a:pt x="24" y="125"/>
                  <a:pt x="24" y="125"/>
                  <a:pt x="24" y="125"/>
                </a:cubicBezTo>
                <a:cubicBezTo>
                  <a:pt x="23" y="125"/>
                  <a:pt x="23" y="125"/>
                  <a:pt x="23" y="125"/>
                </a:cubicBezTo>
                <a:cubicBezTo>
                  <a:pt x="23" y="126"/>
                  <a:pt x="23" y="126"/>
                  <a:pt x="23" y="126"/>
                </a:cubicBezTo>
                <a:cubicBezTo>
                  <a:pt x="23" y="128"/>
                  <a:pt x="23" y="128"/>
                  <a:pt x="23" y="128"/>
                </a:cubicBezTo>
                <a:cubicBezTo>
                  <a:pt x="22" y="128"/>
                  <a:pt x="22" y="128"/>
                  <a:pt x="22" y="128"/>
                </a:cubicBezTo>
                <a:cubicBezTo>
                  <a:pt x="21" y="128"/>
                  <a:pt x="21" y="128"/>
                  <a:pt x="21" y="128"/>
                </a:cubicBezTo>
                <a:cubicBezTo>
                  <a:pt x="21" y="127"/>
                  <a:pt x="21" y="127"/>
                  <a:pt x="21" y="127"/>
                </a:cubicBezTo>
                <a:cubicBezTo>
                  <a:pt x="22" y="125"/>
                  <a:pt x="22" y="125"/>
                  <a:pt x="22" y="125"/>
                </a:cubicBezTo>
                <a:cubicBezTo>
                  <a:pt x="23" y="125"/>
                  <a:pt x="23" y="125"/>
                  <a:pt x="23" y="125"/>
                </a:cubicBezTo>
                <a:cubicBezTo>
                  <a:pt x="22" y="124"/>
                  <a:pt x="22" y="124"/>
                  <a:pt x="22" y="124"/>
                </a:cubicBezTo>
                <a:cubicBezTo>
                  <a:pt x="22" y="124"/>
                  <a:pt x="22" y="124"/>
                  <a:pt x="22" y="124"/>
                </a:cubicBezTo>
                <a:cubicBezTo>
                  <a:pt x="21" y="124"/>
                  <a:pt x="21" y="124"/>
                  <a:pt x="21" y="124"/>
                </a:cubicBezTo>
                <a:cubicBezTo>
                  <a:pt x="20" y="125"/>
                  <a:pt x="20" y="125"/>
                  <a:pt x="20" y="125"/>
                </a:cubicBezTo>
                <a:cubicBezTo>
                  <a:pt x="19" y="125"/>
                  <a:pt x="19" y="125"/>
                  <a:pt x="19" y="125"/>
                </a:cubicBezTo>
                <a:cubicBezTo>
                  <a:pt x="19" y="125"/>
                  <a:pt x="19" y="125"/>
                  <a:pt x="19" y="125"/>
                </a:cubicBezTo>
                <a:cubicBezTo>
                  <a:pt x="19" y="126"/>
                  <a:pt x="19" y="126"/>
                  <a:pt x="19" y="126"/>
                </a:cubicBezTo>
                <a:cubicBezTo>
                  <a:pt x="18" y="125"/>
                  <a:pt x="18" y="125"/>
                  <a:pt x="18" y="125"/>
                </a:cubicBezTo>
                <a:cubicBezTo>
                  <a:pt x="18" y="124"/>
                  <a:pt x="18" y="124"/>
                  <a:pt x="18" y="124"/>
                </a:cubicBezTo>
                <a:cubicBezTo>
                  <a:pt x="18" y="123"/>
                  <a:pt x="18" y="123"/>
                  <a:pt x="18" y="123"/>
                </a:cubicBezTo>
                <a:cubicBezTo>
                  <a:pt x="18" y="122"/>
                  <a:pt x="18" y="122"/>
                  <a:pt x="18" y="122"/>
                </a:cubicBezTo>
                <a:cubicBezTo>
                  <a:pt x="17" y="122"/>
                  <a:pt x="17" y="122"/>
                  <a:pt x="17" y="122"/>
                </a:cubicBezTo>
                <a:cubicBezTo>
                  <a:pt x="17" y="122"/>
                  <a:pt x="17" y="122"/>
                  <a:pt x="17" y="122"/>
                </a:cubicBezTo>
                <a:cubicBezTo>
                  <a:pt x="16" y="123"/>
                  <a:pt x="16" y="123"/>
                  <a:pt x="16" y="123"/>
                </a:cubicBezTo>
                <a:cubicBezTo>
                  <a:pt x="16" y="124"/>
                  <a:pt x="16" y="124"/>
                  <a:pt x="16" y="124"/>
                </a:cubicBezTo>
                <a:cubicBezTo>
                  <a:pt x="16" y="125"/>
                  <a:pt x="16" y="125"/>
                  <a:pt x="16" y="125"/>
                </a:cubicBezTo>
                <a:cubicBezTo>
                  <a:pt x="16" y="126"/>
                  <a:pt x="16" y="126"/>
                  <a:pt x="16" y="126"/>
                </a:cubicBezTo>
                <a:cubicBezTo>
                  <a:pt x="16" y="127"/>
                  <a:pt x="16" y="127"/>
                  <a:pt x="16" y="127"/>
                </a:cubicBezTo>
                <a:cubicBezTo>
                  <a:pt x="16" y="128"/>
                  <a:pt x="16" y="128"/>
                  <a:pt x="16" y="128"/>
                </a:cubicBezTo>
                <a:cubicBezTo>
                  <a:pt x="15" y="129"/>
                  <a:pt x="15" y="129"/>
                  <a:pt x="15" y="129"/>
                </a:cubicBezTo>
                <a:cubicBezTo>
                  <a:pt x="15" y="128"/>
                  <a:pt x="15" y="128"/>
                  <a:pt x="15" y="128"/>
                </a:cubicBezTo>
                <a:cubicBezTo>
                  <a:pt x="14" y="127"/>
                  <a:pt x="14" y="127"/>
                  <a:pt x="14" y="127"/>
                </a:cubicBezTo>
                <a:cubicBezTo>
                  <a:pt x="12" y="126"/>
                  <a:pt x="12" y="126"/>
                  <a:pt x="12" y="126"/>
                </a:cubicBezTo>
                <a:cubicBezTo>
                  <a:pt x="11" y="126"/>
                  <a:pt x="11" y="126"/>
                  <a:pt x="11" y="126"/>
                </a:cubicBezTo>
                <a:cubicBezTo>
                  <a:pt x="10" y="125"/>
                  <a:pt x="10" y="125"/>
                  <a:pt x="10" y="125"/>
                </a:cubicBezTo>
                <a:cubicBezTo>
                  <a:pt x="9" y="124"/>
                  <a:pt x="9" y="124"/>
                  <a:pt x="9" y="124"/>
                </a:cubicBezTo>
                <a:cubicBezTo>
                  <a:pt x="9" y="124"/>
                  <a:pt x="9" y="124"/>
                  <a:pt x="9" y="124"/>
                </a:cubicBezTo>
                <a:cubicBezTo>
                  <a:pt x="10" y="123"/>
                  <a:pt x="10" y="123"/>
                  <a:pt x="10" y="123"/>
                </a:cubicBezTo>
                <a:cubicBezTo>
                  <a:pt x="8" y="123"/>
                  <a:pt x="8" y="123"/>
                  <a:pt x="8" y="123"/>
                </a:cubicBezTo>
                <a:cubicBezTo>
                  <a:pt x="8" y="121"/>
                  <a:pt x="8" y="121"/>
                  <a:pt x="8" y="121"/>
                </a:cubicBezTo>
                <a:cubicBezTo>
                  <a:pt x="7" y="120"/>
                  <a:pt x="7" y="120"/>
                  <a:pt x="7" y="120"/>
                </a:cubicBezTo>
                <a:cubicBezTo>
                  <a:pt x="6" y="119"/>
                  <a:pt x="6" y="119"/>
                  <a:pt x="6" y="119"/>
                </a:cubicBezTo>
                <a:cubicBezTo>
                  <a:pt x="6" y="118"/>
                  <a:pt x="6" y="118"/>
                  <a:pt x="6" y="118"/>
                </a:cubicBezTo>
                <a:cubicBezTo>
                  <a:pt x="7" y="117"/>
                  <a:pt x="7" y="117"/>
                  <a:pt x="7" y="117"/>
                </a:cubicBezTo>
                <a:cubicBezTo>
                  <a:pt x="8" y="117"/>
                  <a:pt x="8" y="117"/>
                  <a:pt x="8" y="117"/>
                </a:cubicBezTo>
                <a:cubicBezTo>
                  <a:pt x="9" y="116"/>
                  <a:pt x="9" y="116"/>
                  <a:pt x="9" y="116"/>
                </a:cubicBezTo>
                <a:cubicBezTo>
                  <a:pt x="10" y="116"/>
                  <a:pt x="10" y="116"/>
                  <a:pt x="10" y="116"/>
                </a:cubicBezTo>
                <a:cubicBezTo>
                  <a:pt x="12" y="116"/>
                  <a:pt x="12" y="116"/>
                  <a:pt x="12" y="116"/>
                </a:cubicBezTo>
                <a:cubicBezTo>
                  <a:pt x="12" y="116"/>
                  <a:pt x="12" y="116"/>
                  <a:pt x="12" y="116"/>
                </a:cubicBezTo>
                <a:cubicBezTo>
                  <a:pt x="13" y="116"/>
                  <a:pt x="13" y="116"/>
                  <a:pt x="13" y="116"/>
                </a:cubicBezTo>
                <a:cubicBezTo>
                  <a:pt x="13" y="115"/>
                  <a:pt x="13" y="115"/>
                  <a:pt x="13" y="115"/>
                </a:cubicBezTo>
                <a:cubicBezTo>
                  <a:pt x="13" y="114"/>
                  <a:pt x="13" y="114"/>
                  <a:pt x="13" y="114"/>
                </a:cubicBezTo>
                <a:cubicBezTo>
                  <a:pt x="12" y="115"/>
                  <a:pt x="12" y="115"/>
                  <a:pt x="12" y="115"/>
                </a:cubicBezTo>
                <a:cubicBezTo>
                  <a:pt x="10" y="114"/>
                  <a:pt x="10" y="114"/>
                  <a:pt x="10" y="114"/>
                </a:cubicBezTo>
                <a:cubicBezTo>
                  <a:pt x="10" y="114"/>
                  <a:pt x="10" y="114"/>
                  <a:pt x="10" y="114"/>
                </a:cubicBezTo>
                <a:cubicBezTo>
                  <a:pt x="9" y="114"/>
                  <a:pt x="9" y="114"/>
                  <a:pt x="9" y="114"/>
                </a:cubicBezTo>
                <a:cubicBezTo>
                  <a:pt x="7" y="112"/>
                  <a:pt x="7" y="112"/>
                  <a:pt x="7" y="112"/>
                </a:cubicBezTo>
                <a:cubicBezTo>
                  <a:pt x="7" y="111"/>
                  <a:pt x="7" y="111"/>
                  <a:pt x="7" y="111"/>
                </a:cubicBezTo>
                <a:cubicBezTo>
                  <a:pt x="8" y="110"/>
                  <a:pt x="8" y="110"/>
                  <a:pt x="8" y="110"/>
                </a:cubicBezTo>
                <a:cubicBezTo>
                  <a:pt x="9" y="110"/>
                  <a:pt x="9" y="110"/>
                  <a:pt x="9" y="110"/>
                </a:cubicBezTo>
                <a:cubicBezTo>
                  <a:pt x="9" y="108"/>
                  <a:pt x="9" y="108"/>
                  <a:pt x="9" y="108"/>
                </a:cubicBezTo>
                <a:cubicBezTo>
                  <a:pt x="10" y="108"/>
                  <a:pt x="10" y="108"/>
                  <a:pt x="10" y="108"/>
                </a:cubicBezTo>
                <a:cubicBezTo>
                  <a:pt x="9" y="108"/>
                  <a:pt x="9" y="108"/>
                  <a:pt x="9" y="108"/>
                </a:cubicBezTo>
                <a:cubicBezTo>
                  <a:pt x="8" y="108"/>
                  <a:pt x="8" y="108"/>
                  <a:pt x="8" y="108"/>
                </a:cubicBezTo>
                <a:cubicBezTo>
                  <a:pt x="8" y="110"/>
                  <a:pt x="8" y="110"/>
                  <a:pt x="8" y="110"/>
                </a:cubicBezTo>
                <a:cubicBezTo>
                  <a:pt x="7" y="110"/>
                  <a:pt x="7" y="110"/>
                  <a:pt x="7" y="110"/>
                </a:cubicBezTo>
                <a:cubicBezTo>
                  <a:pt x="7" y="110"/>
                  <a:pt x="7" y="110"/>
                  <a:pt x="7" y="110"/>
                </a:cubicBezTo>
                <a:cubicBezTo>
                  <a:pt x="6" y="111"/>
                  <a:pt x="6" y="111"/>
                  <a:pt x="6" y="111"/>
                </a:cubicBezTo>
                <a:cubicBezTo>
                  <a:pt x="5" y="110"/>
                  <a:pt x="5" y="110"/>
                  <a:pt x="5" y="110"/>
                </a:cubicBezTo>
                <a:cubicBezTo>
                  <a:pt x="4" y="109"/>
                  <a:pt x="4" y="109"/>
                  <a:pt x="4" y="109"/>
                </a:cubicBezTo>
                <a:cubicBezTo>
                  <a:pt x="4" y="108"/>
                  <a:pt x="4" y="108"/>
                  <a:pt x="4" y="108"/>
                </a:cubicBezTo>
                <a:cubicBezTo>
                  <a:pt x="5" y="108"/>
                  <a:pt x="5" y="108"/>
                  <a:pt x="5" y="108"/>
                </a:cubicBezTo>
                <a:cubicBezTo>
                  <a:pt x="5" y="107"/>
                  <a:pt x="5" y="107"/>
                  <a:pt x="5" y="107"/>
                </a:cubicBezTo>
                <a:cubicBezTo>
                  <a:pt x="4" y="107"/>
                  <a:pt x="4" y="107"/>
                  <a:pt x="4" y="107"/>
                </a:cubicBezTo>
                <a:cubicBezTo>
                  <a:pt x="4" y="108"/>
                  <a:pt x="4" y="108"/>
                  <a:pt x="4" y="108"/>
                </a:cubicBezTo>
                <a:cubicBezTo>
                  <a:pt x="4" y="107"/>
                  <a:pt x="4" y="107"/>
                  <a:pt x="4" y="107"/>
                </a:cubicBezTo>
                <a:cubicBezTo>
                  <a:pt x="4" y="106"/>
                  <a:pt x="4" y="106"/>
                  <a:pt x="4" y="106"/>
                </a:cubicBezTo>
                <a:cubicBezTo>
                  <a:pt x="4" y="105"/>
                  <a:pt x="4" y="105"/>
                  <a:pt x="4" y="105"/>
                </a:cubicBezTo>
                <a:cubicBezTo>
                  <a:pt x="5" y="105"/>
                  <a:pt x="5" y="105"/>
                  <a:pt x="5" y="105"/>
                </a:cubicBezTo>
                <a:cubicBezTo>
                  <a:pt x="5" y="104"/>
                  <a:pt x="5" y="104"/>
                  <a:pt x="5" y="104"/>
                </a:cubicBezTo>
                <a:cubicBezTo>
                  <a:pt x="6" y="104"/>
                  <a:pt x="6" y="104"/>
                  <a:pt x="6" y="104"/>
                </a:cubicBezTo>
                <a:cubicBezTo>
                  <a:pt x="7" y="105"/>
                  <a:pt x="7" y="105"/>
                  <a:pt x="7" y="105"/>
                </a:cubicBezTo>
                <a:cubicBezTo>
                  <a:pt x="7" y="104"/>
                  <a:pt x="7" y="104"/>
                  <a:pt x="7" y="104"/>
                </a:cubicBezTo>
                <a:cubicBezTo>
                  <a:pt x="9" y="103"/>
                  <a:pt x="9" y="103"/>
                  <a:pt x="9" y="103"/>
                </a:cubicBezTo>
                <a:cubicBezTo>
                  <a:pt x="11" y="103"/>
                  <a:pt x="11" y="103"/>
                  <a:pt x="11" y="103"/>
                </a:cubicBezTo>
                <a:cubicBezTo>
                  <a:pt x="12" y="104"/>
                  <a:pt x="12" y="104"/>
                  <a:pt x="12" y="104"/>
                </a:cubicBezTo>
                <a:cubicBezTo>
                  <a:pt x="14" y="104"/>
                  <a:pt x="14" y="104"/>
                  <a:pt x="14" y="104"/>
                </a:cubicBezTo>
                <a:cubicBezTo>
                  <a:pt x="17" y="105"/>
                  <a:pt x="17" y="105"/>
                  <a:pt x="17" y="105"/>
                </a:cubicBezTo>
                <a:cubicBezTo>
                  <a:pt x="18" y="106"/>
                  <a:pt x="18" y="106"/>
                  <a:pt x="18" y="106"/>
                </a:cubicBezTo>
                <a:cubicBezTo>
                  <a:pt x="19" y="106"/>
                  <a:pt x="19" y="106"/>
                  <a:pt x="19" y="106"/>
                </a:cubicBezTo>
                <a:cubicBezTo>
                  <a:pt x="21" y="107"/>
                  <a:pt x="21" y="107"/>
                  <a:pt x="21" y="107"/>
                </a:cubicBezTo>
                <a:cubicBezTo>
                  <a:pt x="22" y="107"/>
                  <a:pt x="22" y="107"/>
                  <a:pt x="22" y="107"/>
                </a:cubicBezTo>
                <a:cubicBezTo>
                  <a:pt x="23" y="107"/>
                  <a:pt x="23" y="107"/>
                  <a:pt x="23" y="107"/>
                </a:cubicBezTo>
                <a:cubicBezTo>
                  <a:pt x="24" y="107"/>
                  <a:pt x="24" y="107"/>
                  <a:pt x="24" y="107"/>
                </a:cubicBezTo>
                <a:cubicBezTo>
                  <a:pt x="23" y="107"/>
                  <a:pt x="23" y="107"/>
                  <a:pt x="23" y="107"/>
                </a:cubicBezTo>
                <a:cubicBezTo>
                  <a:pt x="22" y="107"/>
                  <a:pt x="22" y="107"/>
                  <a:pt x="22" y="107"/>
                </a:cubicBezTo>
                <a:cubicBezTo>
                  <a:pt x="20" y="106"/>
                  <a:pt x="20" y="106"/>
                  <a:pt x="20" y="106"/>
                </a:cubicBezTo>
                <a:cubicBezTo>
                  <a:pt x="19" y="105"/>
                  <a:pt x="19" y="105"/>
                  <a:pt x="19" y="105"/>
                </a:cubicBezTo>
                <a:cubicBezTo>
                  <a:pt x="17" y="104"/>
                  <a:pt x="17" y="104"/>
                  <a:pt x="17" y="104"/>
                </a:cubicBezTo>
                <a:cubicBezTo>
                  <a:pt x="16" y="104"/>
                  <a:pt x="16" y="104"/>
                  <a:pt x="16" y="104"/>
                </a:cubicBezTo>
                <a:cubicBezTo>
                  <a:pt x="15" y="103"/>
                  <a:pt x="15" y="103"/>
                  <a:pt x="15" y="103"/>
                </a:cubicBezTo>
                <a:cubicBezTo>
                  <a:pt x="15" y="103"/>
                  <a:pt x="15" y="103"/>
                  <a:pt x="15" y="103"/>
                </a:cubicBezTo>
                <a:cubicBezTo>
                  <a:pt x="17" y="102"/>
                  <a:pt x="17" y="102"/>
                  <a:pt x="17" y="102"/>
                </a:cubicBezTo>
                <a:cubicBezTo>
                  <a:pt x="19" y="102"/>
                  <a:pt x="19" y="102"/>
                  <a:pt x="19" y="102"/>
                </a:cubicBezTo>
                <a:cubicBezTo>
                  <a:pt x="21" y="102"/>
                  <a:pt x="21" y="102"/>
                  <a:pt x="21" y="102"/>
                </a:cubicBezTo>
                <a:cubicBezTo>
                  <a:pt x="23" y="103"/>
                  <a:pt x="23" y="103"/>
                  <a:pt x="23" y="103"/>
                </a:cubicBezTo>
                <a:cubicBezTo>
                  <a:pt x="24" y="104"/>
                  <a:pt x="24" y="104"/>
                  <a:pt x="24" y="104"/>
                </a:cubicBezTo>
                <a:cubicBezTo>
                  <a:pt x="25" y="104"/>
                  <a:pt x="25" y="104"/>
                  <a:pt x="25" y="104"/>
                </a:cubicBezTo>
                <a:cubicBezTo>
                  <a:pt x="25" y="105"/>
                  <a:pt x="25" y="105"/>
                  <a:pt x="25" y="105"/>
                </a:cubicBezTo>
                <a:cubicBezTo>
                  <a:pt x="26" y="105"/>
                  <a:pt x="26" y="105"/>
                  <a:pt x="26" y="105"/>
                </a:cubicBezTo>
                <a:cubicBezTo>
                  <a:pt x="26" y="105"/>
                  <a:pt x="26" y="105"/>
                  <a:pt x="26" y="105"/>
                </a:cubicBezTo>
                <a:cubicBezTo>
                  <a:pt x="26" y="104"/>
                  <a:pt x="26" y="104"/>
                  <a:pt x="26" y="104"/>
                </a:cubicBezTo>
                <a:cubicBezTo>
                  <a:pt x="26" y="103"/>
                  <a:pt x="26" y="103"/>
                  <a:pt x="26" y="103"/>
                </a:cubicBezTo>
                <a:cubicBezTo>
                  <a:pt x="27" y="102"/>
                  <a:pt x="27" y="102"/>
                  <a:pt x="27" y="102"/>
                </a:cubicBezTo>
                <a:cubicBezTo>
                  <a:pt x="27" y="102"/>
                  <a:pt x="27" y="102"/>
                  <a:pt x="27" y="102"/>
                </a:cubicBezTo>
                <a:cubicBezTo>
                  <a:pt x="27" y="100"/>
                  <a:pt x="27" y="100"/>
                  <a:pt x="27" y="100"/>
                </a:cubicBezTo>
                <a:cubicBezTo>
                  <a:pt x="27" y="100"/>
                  <a:pt x="27" y="100"/>
                  <a:pt x="27" y="100"/>
                </a:cubicBezTo>
                <a:cubicBezTo>
                  <a:pt x="26" y="100"/>
                  <a:pt x="26" y="100"/>
                  <a:pt x="26" y="100"/>
                </a:cubicBezTo>
                <a:cubicBezTo>
                  <a:pt x="26" y="100"/>
                  <a:pt x="26" y="100"/>
                  <a:pt x="26" y="100"/>
                </a:cubicBezTo>
                <a:cubicBezTo>
                  <a:pt x="26" y="99"/>
                  <a:pt x="26" y="99"/>
                  <a:pt x="26" y="99"/>
                </a:cubicBezTo>
                <a:cubicBezTo>
                  <a:pt x="25" y="99"/>
                  <a:pt x="25" y="99"/>
                  <a:pt x="25" y="99"/>
                </a:cubicBezTo>
                <a:cubicBezTo>
                  <a:pt x="24" y="99"/>
                  <a:pt x="24" y="99"/>
                  <a:pt x="24" y="99"/>
                </a:cubicBezTo>
                <a:cubicBezTo>
                  <a:pt x="23" y="100"/>
                  <a:pt x="23" y="100"/>
                  <a:pt x="23" y="100"/>
                </a:cubicBezTo>
                <a:cubicBezTo>
                  <a:pt x="22" y="100"/>
                  <a:pt x="22" y="100"/>
                  <a:pt x="22" y="100"/>
                </a:cubicBezTo>
                <a:cubicBezTo>
                  <a:pt x="20" y="99"/>
                  <a:pt x="20" y="99"/>
                  <a:pt x="20" y="99"/>
                </a:cubicBezTo>
                <a:cubicBezTo>
                  <a:pt x="19" y="99"/>
                  <a:pt x="19" y="99"/>
                  <a:pt x="19" y="99"/>
                </a:cubicBezTo>
                <a:cubicBezTo>
                  <a:pt x="19" y="98"/>
                  <a:pt x="19" y="98"/>
                  <a:pt x="19" y="98"/>
                </a:cubicBezTo>
                <a:cubicBezTo>
                  <a:pt x="19" y="98"/>
                  <a:pt x="19" y="98"/>
                  <a:pt x="19" y="98"/>
                </a:cubicBezTo>
                <a:cubicBezTo>
                  <a:pt x="18" y="97"/>
                  <a:pt x="18" y="97"/>
                  <a:pt x="18" y="97"/>
                </a:cubicBezTo>
                <a:cubicBezTo>
                  <a:pt x="17" y="97"/>
                  <a:pt x="17" y="97"/>
                  <a:pt x="17" y="97"/>
                </a:cubicBezTo>
                <a:cubicBezTo>
                  <a:pt x="17" y="97"/>
                  <a:pt x="17" y="97"/>
                  <a:pt x="17" y="97"/>
                </a:cubicBezTo>
                <a:cubicBezTo>
                  <a:pt x="17" y="98"/>
                  <a:pt x="17" y="98"/>
                  <a:pt x="17" y="98"/>
                </a:cubicBezTo>
                <a:cubicBezTo>
                  <a:pt x="17" y="98"/>
                  <a:pt x="17" y="98"/>
                  <a:pt x="17" y="98"/>
                </a:cubicBezTo>
                <a:cubicBezTo>
                  <a:pt x="17" y="100"/>
                  <a:pt x="17" y="100"/>
                  <a:pt x="17" y="100"/>
                </a:cubicBezTo>
                <a:cubicBezTo>
                  <a:pt x="17" y="100"/>
                  <a:pt x="17" y="100"/>
                  <a:pt x="17" y="100"/>
                </a:cubicBezTo>
                <a:cubicBezTo>
                  <a:pt x="15" y="100"/>
                  <a:pt x="15" y="100"/>
                  <a:pt x="15" y="100"/>
                </a:cubicBezTo>
                <a:cubicBezTo>
                  <a:pt x="14" y="100"/>
                  <a:pt x="14" y="100"/>
                  <a:pt x="14" y="100"/>
                </a:cubicBezTo>
                <a:cubicBezTo>
                  <a:pt x="12" y="98"/>
                  <a:pt x="12" y="98"/>
                  <a:pt x="12" y="98"/>
                </a:cubicBezTo>
                <a:cubicBezTo>
                  <a:pt x="12" y="97"/>
                  <a:pt x="12" y="97"/>
                  <a:pt x="12" y="97"/>
                </a:cubicBezTo>
                <a:cubicBezTo>
                  <a:pt x="13" y="97"/>
                  <a:pt x="13" y="97"/>
                  <a:pt x="13" y="97"/>
                </a:cubicBezTo>
                <a:cubicBezTo>
                  <a:pt x="15" y="96"/>
                  <a:pt x="15" y="96"/>
                  <a:pt x="15" y="96"/>
                </a:cubicBezTo>
                <a:cubicBezTo>
                  <a:pt x="15" y="95"/>
                  <a:pt x="15" y="95"/>
                  <a:pt x="15" y="95"/>
                </a:cubicBezTo>
                <a:cubicBezTo>
                  <a:pt x="15" y="95"/>
                  <a:pt x="15" y="95"/>
                  <a:pt x="15" y="95"/>
                </a:cubicBezTo>
                <a:cubicBezTo>
                  <a:pt x="13" y="96"/>
                  <a:pt x="13" y="96"/>
                  <a:pt x="13" y="96"/>
                </a:cubicBezTo>
                <a:cubicBezTo>
                  <a:pt x="12" y="96"/>
                  <a:pt x="12" y="96"/>
                  <a:pt x="12" y="96"/>
                </a:cubicBezTo>
                <a:cubicBezTo>
                  <a:pt x="11" y="96"/>
                  <a:pt x="11" y="96"/>
                  <a:pt x="11" y="96"/>
                </a:cubicBezTo>
                <a:cubicBezTo>
                  <a:pt x="11" y="95"/>
                  <a:pt x="11" y="95"/>
                  <a:pt x="11" y="95"/>
                </a:cubicBezTo>
                <a:cubicBezTo>
                  <a:pt x="11" y="95"/>
                  <a:pt x="11" y="95"/>
                  <a:pt x="11" y="95"/>
                </a:cubicBezTo>
                <a:cubicBezTo>
                  <a:pt x="12" y="94"/>
                  <a:pt x="12" y="94"/>
                  <a:pt x="12" y="94"/>
                </a:cubicBezTo>
                <a:cubicBezTo>
                  <a:pt x="13" y="94"/>
                  <a:pt x="13" y="94"/>
                  <a:pt x="13" y="94"/>
                </a:cubicBezTo>
                <a:cubicBezTo>
                  <a:pt x="14" y="92"/>
                  <a:pt x="14" y="92"/>
                  <a:pt x="14" y="92"/>
                </a:cubicBezTo>
                <a:cubicBezTo>
                  <a:pt x="14" y="92"/>
                  <a:pt x="14" y="92"/>
                  <a:pt x="14" y="92"/>
                </a:cubicBezTo>
                <a:cubicBezTo>
                  <a:pt x="13" y="91"/>
                  <a:pt x="13" y="91"/>
                  <a:pt x="13" y="91"/>
                </a:cubicBezTo>
                <a:cubicBezTo>
                  <a:pt x="13" y="92"/>
                  <a:pt x="13" y="92"/>
                  <a:pt x="13" y="92"/>
                </a:cubicBezTo>
                <a:cubicBezTo>
                  <a:pt x="13" y="92"/>
                  <a:pt x="13" y="92"/>
                  <a:pt x="13" y="92"/>
                </a:cubicBezTo>
                <a:cubicBezTo>
                  <a:pt x="11" y="93"/>
                  <a:pt x="11" y="93"/>
                  <a:pt x="11" y="93"/>
                </a:cubicBezTo>
                <a:cubicBezTo>
                  <a:pt x="10" y="93"/>
                  <a:pt x="10" y="93"/>
                  <a:pt x="10" y="93"/>
                </a:cubicBezTo>
                <a:cubicBezTo>
                  <a:pt x="9" y="93"/>
                  <a:pt x="9" y="93"/>
                  <a:pt x="9" y="93"/>
                </a:cubicBezTo>
                <a:cubicBezTo>
                  <a:pt x="8" y="92"/>
                  <a:pt x="8" y="92"/>
                  <a:pt x="8" y="92"/>
                </a:cubicBezTo>
                <a:cubicBezTo>
                  <a:pt x="9" y="92"/>
                  <a:pt x="9" y="92"/>
                  <a:pt x="9" y="92"/>
                </a:cubicBezTo>
                <a:cubicBezTo>
                  <a:pt x="9" y="91"/>
                  <a:pt x="9" y="91"/>
                  <a:pt x="9" y="91"/>
                </a:cubicBezTo>
                <a:cubicBezTo>
                  <a:pt x="10" y="91"/>
                  <a:pt x="10" y="91"/>
                  <a:pt x="10" y="91"/>
                </a:cubicBezTo>
                <a:cubicBezTo>
                  <a:pt x="10" y="90"/>
                  <a:pt x="10" y="90"/>
                  <a:pt x="10" y="90"/>
                </a:cubicBezTo>
                <a:cubicBezTo>
                  <a:pt x="9" y="90"/>
                  <a:pt x="9" y="90"/>
                  <a:pt x="9" y="90"/>
                </a:cubicBezTo>
                <a:cubicBezTo>
                  <a:pt x="8" y="90"/>
                  <a:pt x="8" y="90"/>
                  <a:pt x="8" y="90"/>
                </a:cubicBezTo>
                <a:cubicBezTo>
                  <a:pt x="7" y="89"/>
                  <a:pt x="7" y="89"/>
                  <a:pt x="7" y="89"/>
                </a:cubicBezTo>
                <a:cubicBezTo>
                  <a:pt x="6" y="87"/>
                  <a:pt x="6" y="87"/>
                  <a:pt x="6" y="87"/>
                </a:cubicBezTo>
                <a:cubicBezTo>
                  <a:pt x="6" y="86"/>
                  <a:pt x="6" y="86"/>
                  <a:pt x="6" y="86"/>
                </a:cubicBezTo>
                <a:cubicBezTo>
                  <a:pt x="4" y="85"/>
                  <a:pt x="4" y="85"/>
                  <a:pt x="4" y="85"/>
                </a:cubicBezTo>
                <a:cubicBezTo>
                  <a:pt x="4" y="85"/>
                  <a:pt x="4" y="85"/>
                  <a:pt x="4" y="85"/>
                </a:cubicBezTo>
                <a:cubicBezTo>
                  <a:pt x="5" y="85"/>
                  <a:pt x="5" y="85"/>
                  <a:pt x="5" y="85"/>
                </a:cubicBezTo>
                <a:cubicBezTo>
                  <a:pt x="6" y="84"/>
                  <a:pt x="6" y="84"/>
                  <a:pt x="6" y="84"/>
                </a:cubicBezTo>
                <a:cubicBezTo>
                  <a:pt x="6" y="83"/>
                  <a:pt x="6" y="83"/>
                  <a:pt x="6" y="83"/>
                </a:cubicBezTo>
                <a:cubicBezTo>
                  <a:pt x="7" y="83"/>
                  <a:pt x="7" y="83"/>
                  <a:pt x="7" y="83"/>
                </a:cubicBezTo>
                <a:cubicBezTo>
                  <a:pt x="7" y="83"/>
                  <a:pt x="7" y="83"/>
                  <a:pt x="7" y="83"/>
                </a:cubicBezTo>
                <a:cubicBezTo>
                  <a:pt x="8" y="83"/>
                  <a:pt x="8" y="83"/>
                  <a:pt x="8" y="83"/>
                </a:cubicBezTo>
                <a:cubicBezTo>
                  <a:pt x="8" y="82"/>
                  <a:pt x="8" y="82"/>
                  <a:pt x="8" y="82"/>
                </a:cubicBezTo>
                <a:cubicBezTo>
                  <a:pt x="7" y="82"/>
                  <a:pt x="7" y="82"/>
                  <a:pt x="7" y="82"/>
                </a:cubicBezTo>
                <a:cubicBezTo>
                  <a:pt x="6" y="82"/>
                  <a:pt x="6" y="82"/>
                  <a:pt x="6" y="82"/>
                </a:cubicBezTo>
                <a:cubicBezTo>
                  <a:pt x="6" y="81"/>
                  <a:pt x="6" y="81"/>
                  <a:pt x="6" y="81"/>
                </a:cubicBezTo>
                <a:cubicBezTo>
                  <a:pt x="6" y="81"/>
                  <a:pt x="6" y="81"/>
                  <a:pt x="6" y="81"/>
                </a:cubicBezTo>
                <a:cubicBezTo>
                  <a:pt x="7" y="81"/>
                  <a:pt x="7" y="81"/>
                  <a:pt x="7" y="81"/>
                </a:cubicBezTo>
                <a:cubicBezTo>
                  <a:pt x="9" y="80"/>
                  <a:pt x="9" y="80"/>
                  <a:pt x="9" y="80"/>
                </a:cubicBezTo>
                <a:cubicBezTo>
                  <a:pt x="9" y="79"/>
                  <a:pt x="9" y="79"/>
                  <a:pt x="9" y="79"/>
                </a:cubicBezTo>
                <a:cubicBezTo>
                  <a:pt x="9" y="79"/>
                  <a:pt x="9" y="79"/>
                  <a:pt x="9" y="79"/>
                </a:cubicBezTo>
                <a:cubicBezTo>
                  <a:pt x="10" y="78"/>
                  <a:pt x="10" y="78"/>
                  <a:pt x="10" y="78"/>
                </a:cubicBezTo>
                <a:cubicBezTo>
                  <a:pt x="11" y="78"/>
                  <a:pt x="11" y="78"/>
                  <a:pt x="11" y="78"/>
                </a:cubicBezTo>
                <a:cubicBezTo>
                  <a:pt x="12" y="78"/>
                  <a:pt x="12" y="78"/>
                  <a:pt x="12" y="78"/>
                </a:cubicBezTo>
                <a:cubicBezTo>
                  <a:pt x="12" y="78"/>
                  <a:pt x="12" y="78"/>
                  <a:pt x="12" y="78"/>
                </a:cubicBezTo>
                <a:cubicBezTo>
                  <a:pt x="13" y="78"/>
                  <a:pt x="13" y="78"/>
                  <a:pt x="13" y="78"/>
                </a:cubicBezTo>
                <a:cubicBezTo>
                  <a:pt x="14" y="78"/>
                  <a:pt x="14" y="78"/>
                  <a:pt x="14" y="78"/>
                </a:cubicBezTo>
                <a:cubicBezTo>
                  <a:pt x="15" y="78"/>
                  <a:pt x="15" y="78"/>
                  <a:pt x="15" y="78"/>
                </a:cubicBezTo>
                <a:cubicBezTo>
                  <a:pt x="15" y="78"/>
                  <a:pt x="15" y="78"/>
                  <a:pt x="15" y="78"/>
                </a:cubicBezTo>
                <a:cubicBezTo>
                  <a:pt x="15" y="78"/>
                  <a:pt x="15" y="78"/>
                  <a:pt x="15" y="78"/>
                </a:cubicBezTo>
                <a:cubicBezTo>
                  <a:pt x="16" y="78"/>
                  <a:pt x="16" y="78"/>
                  <a:pt x="16" y="78"/>
                </a:cubicBezTo>
                <a:cubicBezTo>
                  <a:pt x="17" y="78"/>
                  <a:pt x="17" y="78"/>
                  <a:pt x="17" y="78"/>
                </a:cubicBezTo>
                <a:cubicBezTo>
                  <a:pt x="17" y="77"/>
                  <a:pt x="17" y="77"/>
                  <a:pt x="17" y="77"/>
                </a:cubicBezTo>
                <a:cubicBezTo>
                  <a:pt x="18" y="77"/>
                  <a:pt x="18" y="77"/>
                  <a:pt x="18" y="77"/>
                </a:cubicBezTo>
                <a:cubicBezTo>
                  <a:pt x="19" y="77"/>
                  <a:pt x="19" y="77"/>
                  <a:pt x="19" y="77"/>
                </a:cubicBezTo>
                <a:cubicBezTo>
                  <a:pt x="19" y="77"/>
                  <a:pt x="19" y="77"/>
                  <a:pt x="19" y="77"/>
                </a:cubicBezTo>
                <a:cubicBezTo>
                  <a:pt x="20" y="77"/>
                  <a:pt x="20" y="77"/>
                  <a:pt x="20" y="77"/>
                </a:cubicBezTo>
                <a:cubicBezTo>
                  <a:pt x="20" y="77"/>
                  <a:pt x="20" y="77"/>
                  <a:pt x="20" y="77"/>
                </a:cubicBezTo>
                <a:cubicBezTo>
                  <a:pt x="21" y="77"/>
                  <a:pt x="21" y="77"/>
                  <a:pt x="21" y="77"/>
                </a:cubicBezTo>
                <a:cubicBezTo>
                  <a:pt x="26" y="75"/>
                  <a:pt x="26" y="75"/>
                  <a:pt x="26" y="75"/>
                </a:cubicBezTo>
                <a:cubicBezTo>
                  <a:pt x="27" y="75"/>
                  <a:pt x="27" y="75"/>
                  <a:pt x="27" y="75"/>
                </a:cubicBezTo>
                <a:cubicBezTo>
                  <a:pt x="27" y="76"/>
                  <a:pt x="27" y="76"/>
                  <a:pt x="27" y="76"/>
                </a:cubicBezTo>
                <a:cubicBezTo>
                  <a:pt x="27" y="75"/>
                  <a:pt x="27" y="75"/>
                  <a:pt x="27" y="75"/>
                </a:cubicBezTo>
                <a:cubicBezTo>
                  <a:pt x="27" y="75"/>
                  <a:pt x="27" y="75"/>
                  <a:pt x="27" y="75"/>
                </a:cubicBezTo>
                <a:cubicBezTo>
                  <a:pt x="27" y="74"/>
                  <a:pt x="27" y="74"/>
                  <a:pt x="27" y="74"/>
                </a:cubicBezTo>
                <a:cubicBezTo>
                  <a:pt x="29" y="73"/>
                  <a:pt x="29" y="73"/>
                  <a:pt x="29" y="73"/>
                </a:cubicBezTo>
                <a:cubicBezTo>
                  <a:pt x="31" y="73"/>
                  <a:pt x="31" y="73"/>
                  <a:pt x="31" y="73"/>
                </a:cubicBezTo>
                <a:cubicBezTo>
                  <a:pt x="32" y="73"/>
                  <a:pt x="32" y="73"/>
                  <a:pt x="32" y="73"/>
                </a:cubicBezTo>
                <a:cubicBezTo>
                  <a:pt x="33" y="73"/>
                  <a:pt x="33" y="73"/>
                  <a:pt x="33" y="73"/>
                </a:cubicBezTo>
                <a:cubicBezTo>
                  <a:pt x="34" y="74"/>
                  <a:pt x="34" y="74"/>
                  <a:pt x="34" y="74"/>
                </a:cubicBezTo>
                <a:cubicBezTo>
                  <a:pt x="35" y="73"/>
                  <a:pt x="35" y="73"/>
                  <a:pt x="35" y="73"/>
                </a:cubicBezTo>
                <a:cubicBezTo>
                  <a:pt x="36" y="73"/>
                  <a:pt x="36" y="73"/>
                  <a:pt x="36" y="73"/>
                </a:cubicBezTo>
                <a:cubicBezTo>
                  <a:pt x="38" y="73"/>
                  <a:pt x="38" y="73"/>
                  <a:pt x="38" y="73"/>
                </a:cubicBezTo>
                <a:cubicBezTo>
                  <a:pt x="38" y="74"/>
                  <a:pt x="38" y="74"/>
                  <a:pt x="38" y="74"/>
                </a:cubicBezTo>
                <a:cubicBezTo>
                  <a:pt x="39" y="74"/>
                  <a:pt x="39" y="74"/>
                  <a:pt x="39" y="74"/>
                </a:cubicBezTo>
                <a:cubicBezTo>
                  <a:pt x="40" y="74"/>
                  <a:pt x="40" y="74"/>
                  <a:pt x="40" y="74"/>
                </a:cubicBezTo>
                <a:cubicBezTo>
                  <a:pt x="41" y="75"/>
                  <a:pt x="41" y="75"/>
                  <a:pt x="41" y="75"/>
                </a:cubicBezTo>
                <a:cubicBezTo>
                  <a:pt x="42" y="75"/>
                  <a:pt x="42" y="75"/>
                  <a:pt x="42" y="75"/>
                </a:cubicBezTo>
                <a:cubicBezTo>
                  <a:pt x="43" y="75"/>
                  <a:pt x="43" y="75"/>
                  <a:pt x="43" y="75"/>
                </a:cubicBezTo>
                <a:cubicBezTo>
                  <a:pt x="43" y="74"/>
                  <a:pt x="43" y="74"/>
                  <a:pt x="43" y="74"/>
                </a:cubicBezTo>
                <a:cubicBezTo>
                  <a:pt x="44" y="73"/>
                  <a:pt x="44" y="73"/>
                  <a:pt x="44" y="73"/>
                </a:cubicBezTo>
                <a:cubicBezTo>
                  <a:pt x="45" y="72"/>
                  <a:pt x="45" y="72"/>
                  <a:pt x="45" y="72"/>
                </a:cubicBezTo>
                <a:cubicBezTo>
                  <a:pt x="46" y="71"/>
                  <a:pt x="46" y="71"/>
                  <a:pt x="46" y="71"/>
                </a:cubicBezTo>
                <a:cubicBezTo>
                  <a:pt x="47" y="70"/>
                  <a:pt x="47" y="70"/>
                  <a:pt x="47" y="70"/>
                </a:cubicBezTo>
                <a:cubicBezTo>
                  <a:pt x="48" y="69"/>
                  <a:pt x="48" y="69"/>
                  <a:pt x="48" y="69"/>
                </a:cubicBezTo>
                <a:cubicBezTo>
                  <a:pt x="49" y="68"/>
                  <a:pt x="49" y="68"/>
                  <a:pt x="49" y="68"/>
                </a:cubicBezTo>
                <a:cubicBezTo>
                  <a:pt x="50" y="67"/>
                  <a:pt x="50" y="67"/>
                  <a:pt x="50" y="67"/>
                </a:cubicBezTo>
                <a:cubicBezTo>
                  <a:pt x="50" y="66"/>
                  <a:pt x="50" y="66"/>
                  <a:pt x="50" y="66"/>
                </a:cubicBezTo>
                <a:cubicBezTo>
                  <a:pt x="49" y="66"/>
                  <a:pt x="49" y="66"/>
                  <a:pt x="49" y="66"/>
                </a:cubicBezTo>
                <a:cubicBezTo>
                  <a:pt x="49" y="65"/>
                  <a:pt x="49" y="65"/>
                  <a:pt x="49" y="65"/>
                </a:cubicBezTo>
                <a:cubicBezTo>
                  <a:pt x="50" y="63"/>
                  <a:pt x="50" y="63"/>
                  <a:pt x="50" y="63"/>
                </a:cubicBezTo>
                <a:cubicBezTo>
                  <a:pt x="51" y="63"/>
                  <a:pt x="51" y="63"/>
                  <a:pt x="51" y="63"/>
                </a:cubicBezTo>
                <a:cubicBezTo>
                  <a:pt x="53" y="63"/>
                  <a:pt x="53" y="63"/>
                  <a:pt x="53" y="63"/>
                </a:cubicBezTo>
                <a:cubicBezTo>
                  <a:pt x="54" y="63"/>
                  <a:pt x="54" y="63"/>
                  <a:pt x="54" y="63"/>
                </a:cubicBezTo>
                <a:cubicBezTo>
                  <a:pt x="55" y="62"/>
                  <a:pt x="55" y="62"/>
                  <a:pt x="55" y="62"/>
                </a:cubicBezTo>
                <a:cubicBezTo>
                  <a:pt x="54" y="61"/>
                  <a:pt x="54" y="61"/>
                  <a:pt x="54" y="61"/>
                </a:cubicBezTo>
                <a:cubicBezTo>
                  <a:pt x="53" y="61"/>
                  <a:pt x="53" y="61"/>
                  <a:pt x="53" y="61"/>
                </a:cubicBezTo>
                <a:cubicBezTo>
                  <a:pt x="52" y="61"/>
                  <a:pt x="52" y="61"/>
                  <a:pt x="52" y="61"/>
                </a:cubicBezTo>
                <a:cubicBezTo>
                  <a:pt x="52" y="60"/>
                  <a:pt x="52" y="60"/>
                  <a:pt x="52" y="60"/>
                </a:cubicBezTo>
                <a:cubicBezTo>
                  <a:pt x="52" y="59"/>
                  <a:pt x="52" y="59"/>
                  <a:pt x="52" y="59"/>
                </a:cubicBezTo>
                <a:cubicBezTo>
                  <a:pt x="53" y="59"/>
                  <a:pt x="53" y="59"/>
                  <a:pt x="53" y="59"/>
                </a:cubicBezTo>
                <a:cubicBezTo>
                  <a:pt x="55" y="59"/>
                  <a:pt x="55" y="59"/>
                  <a:pt x="55" y="59"/>
                </a:cubicBezTo>
                <a:cubicBezTo>
                  <a:pt x="56" y="58"/>
                  <a:pt x="56" y="58"/>
                  <a:pt x="56" y="58"/>
                </a:cubicBezTo>
                <a:cubicBezTo>
                  <a:pt x="57" y="58"/>
                  <a:pt x="57" y="58"/>
                  <a:pt x="57" y="58"/>
                </a:cubicBezTo>
                <a:cubicBezTo>
                  <a:pt x="58" y="57"/>
                  <a:pt x="58" y="57"/>
                  <a:pt x="58" y="57"/>
                </a:cubicBezTo>
                <a:cubicBezTo>
                  <a:pt x="57" y="57"/>
                  <a:pt x="57" y="57"/>
                  <a:pt x="57" y="57"/>
                </a:cubicBezTo>
                <a:cubicBezTo>
                  <a:pt x="57" y="56"/>
                  <a:pt x="57" y="56"/>
                  <a:pt x="57" y="56"/>
                </a:cubicBezTo>
                <a:cubicBezTo>
                  <a:pt x="57" y="56"/>
                  <a:pt x="57" y="56"/>
                  <a:pt x="57" y="56"/>
                </a:cubicBezTo>
                <a:cubicBezTo>
                  <a:pt x="56" y="57"/>
                  <a:pt x="56" y="57"/>
                  <a:pt x="56" y="57"/>
                </a:cubicBezTo>
                <a:cubicBezTo>
                  <a:pt x="56" y="58"/>
                  <a:pt x="56" y="58"/>
                  <a:pt x="56" y="58"/>
                </a:cubicBezTo>
                <a:cubicBezTo>
                  <a:pt x="55" y="58"/>
                  <a:pt x="55" y="58"/>
                  <a:pt x="55" y="58"/>
                </a:cubicBezTo>
                <a:cubicBezTo>
                  <a:pt x="53" y="58"/>
                  <a:pt x="53" y="58"/>
                  <a:pt x="53" y="58"/>
                </a:cubicBezTo>
                <a:cubicBezTo>
                  <a:pt x="52" y="58"/>
                  <a:pt x="52" y="58"/>
                  <a:pt x="52" y="58"/>
                </a:cubicBezTo>
                <a:cubicBezTo>
                  <a:pt x="52" y="58"/>
                  <a:pt x="52" y="58"/>
                  <a:pt x="52" y="58"/>
                </a:cubicBezTo>
                <a:cubicBezTo>
                  <a:pt x="51" y="59"/>
                  <a:pt x="51" y="59"/>
                  <a:pt x="51" y="59"/>
                </a:cubicBezTo>
                <a:cubicBezTo>
                  <a:pt x="50" y="59"/>
                  <a:pt x="50" y="59"/>
                  <a:pt x="50" y="59"/>
                </a:cubicBezTo>
                <a:cubicBezTo>
                  <a:pt x="49" y="58"/>
                  <a:pt x="49" y="58"/>
                  <a:pt x="49" y="58"/>
                </a:cubicBezTo>
                <a:cubicBezTo>
                  <a:pt x="48" y="57"/>
                  <a:pt x="48" y="57"/>
                  <a:pt x="48" y="57"/>
                </a:cubicBezTo>
                <a:cubicBezTo>
                  <a:pt x="47" y="57"/>
                  <a:pt x="47" y="57"/>
                  <a:pt x="47" y="57"/>
                </a:cubicBezTo>
                <a:cubicBezTo>
                  <a:pt x="47" y="58"/>
                  <a:pt x="47" y="58"/>
                  <a:pt x="47" y="58"/>
                </a:cubicBezTo>
                <a:cubicBezTo>
                  <a:pt x="46" y="58"/>
                  <a:pt x="46" y="58"/>
                  <a:pt x="46" y="58"/>
                </a:cubicBezTo>
                <a:cubicBezTo>
                  <a:pt x="46" y="57"/>
                  <a:pt x="46" y="57"/>
                  <a:pt x="46" y="57"/>
                </a:cubicBezTo>
                <a:cubicBezTo>
                  <a:pt x="45" y="57"/>
                  <a:pt x="45" y="57"/>
                  <a:pt x="45" y="57"/>
                </a:cubicBezTo>
                <a:cubicBezTo>
                  <a:pt x="44" y="57"/>
                  <a:pt x="44" y="57"/>
                  <a:pt x="44" y="57"/>
                </a:cubicBezTo>
                <a:cubicBezTo>
                  <a:pt x="44" y="57"/>
                  <a:pt x="44" y="57"/>
                  <a:pt x="44" y="57"/>
                </a:cubicBezTo>
                <a:cubicBezTo>
                  <a:pt x="44" y="56"/>
                  <a:pt x="44" y="56"/>
                  <a:pt x="44" y="56"/>
                </a:cubicBezTo>
                <a:cubicBezTo>
                  <a:pt x="44" y="56"/>
                  <a:pt x="44" y="56"/>
                  <a:pt x="44" y="56"/>
                </a:cubicBezTo>
                <a:cubicBezTo>
                  <a:pt x="44" y="55"/>
                  <a:pt x="44" y="55"/>
                  <a:pt x="44" y="55"/>
                </a:cubicBezTo>
                <a:cubicBezTo>
                  <a:pt x="44" y="54"/>
                  <a:pt x="44" y="54"/>
                  <a:pt x="44" y="54"/>
                </a:cubicBezTo>
                <a:cubicBezTo>
                  <a:pt x="45" y="54"/>
                  <a:pt x="45" y="54"/>
                  <a:pt x="45" y="54"/>
                </a:cubicBezTo>
                <a:cubicBezTo>
                  <a:pt x="46" y="53"/>
                  <a:pt x="46" y="53"/>
                  <a:pt x="46" y="53"/>
                </a:cubicBezTo>
                <a:cubicBezTo>
                  <a:pt x="46" y="52"/>
                  <a:pt x="46" y="52"/>
                  <a:pt x="46" y="52"/>
                </a:cubicBezTo>
                <a:cubicBezTo>
                  <a:pt x="47" y="52"/>
                  <a:pt x="47" y="52"/>
                  <a:pt x="47" y="52"/>
                </a:cubicBezTo>
                <a:cubicBezTo>
                  <a:pt x="47" y="51"/>
                  <a:pt x="47" y="51"/>
                  <a:pt x="47" y="51"/>
                </a:cubicBezTo>
                <a:cubicBezTo>
                  <a:pt x="47" y="51"/>
                  <a:pt x="47" y="51"/>
                  <a:pt x="47" y="51"/>
                </a:cubicBezTo>
                <a:cubicBezTo>
                  <a:pt x="46" y="50"/>
                  <a:pt x="46" y="50"/>
                  <a:pt x="46" y="50"/>
                </a:cubicBezTo>
                <a:cubicBezTo>
                  <a:pt x="47" y="50"/>
                  <a:pt x="47" y="50"/>
                  <a:pt x="47" y="50"/>
                </a:cubicBezTo>
                <a:cubicBezTo>
                  <a:pt x="48" y="49"/>
                  <a:pt x="48" y="49"/>
                  <a:pt x="48" y="49"/>
                </a:cubicBezTo>
                <a:cubicBezTo>
                  <a:pt x="49" y="49"/>
                  <a:pt x="49" y="49"/>
                  <a:pt x="49" y="49"/>
                </a:cubicBezTo>
                <a:cubicBezTo>
                  <a:pt x="49" y="48"/>
                  <a:pt x="49" y="48"/>
                  <a:pt x="49" y="48"/>
                </a:cubicBezTo>
                <a:cubicBezTo>
                  <a:pt x="50" y="48"/>
                  <a:pt x="50" y="48"/>
                  <a:pt x="50" y="48"/>
                </a:cubicBezTo>
                <a:cubicBezTo>
                  <a:pt x="52" y="47"/>
                  <a:pt x="52" y="47"/>
                  <a:pt x="52" y="47"/>
                </a:cubicBezTo>
                <a:cubicBezTo>
                  <a:pt x="52" y="46"/>
                  <a:pt x="52" y="46"/>
                  <a:pt x="52" y="46"/>
                </a:cubicBezTo>
                <a:cubicBezTo>
                  <a:pt x="53" y="46"/>
                  <a:pt x="53" y="46"/>
                  <a:pt x="53" y="46"/>
                </a:cubicBezTo>
                <a:cubicBezTo>
                  <a:pt x="55" y="46"/>
                  <a:pt x="55" y="46"/>
                  <a:pt x="55" y="46"/>
                </a:cubicBezTo>
                <a:cubicBezTo>
                  <a:pt x="56" y="46"/>
                  <a:pt x="56" y="46"/>
                  <a:pt x="56" y="46"/>
                </a:cubicBezTo>
                <a:cubicBezTo>
                  <a:pt x="55" y="45"/>
                  <a:pt x="55" y="45"/>
                  <a:pt x="55" y="45"/>
                </a:cubicBezTo>
                <a:cubicBezTo>
                  <a:pt x="55" y="45"/>
                  <a:pt x="55" y="45"/>
                  <a:pt x="55" y="45"/>
                </a:cubicBezTo>
                <a:cubicBezTo>
                  <a:pt x="55" y="44"/>
                  <a:pt x="55" y="44"/>
                  <a:pt x="55" y="44"/>
                </a:cubicBezTo>
                <a:cubicBezTo>
                  <a:pt x="55" y="44"/>
                  <a:pt x="55" y="44"/>
                  <a:pt x="55" y="44"/>
                </a:cubicBezTo>
                <a:cubicBezTo>
                  <a:pt x="57" y="44"/>
                  <a:pt x="57" y="44"/>
                  <a:pt x="57" y="44"/>
                </a:cubicBezTo>
                <a:cubicBezTo>
                  <a:pt x="57" y="45"/>
                  <a:pt x="57" y="45"/>
                  <a:pt x="57" y="45"/>
                </a:cubicBezTo>
                <a:cubicBezTo>
                  <a:pt x="57" y="44"/>
                  <a:pt x="57" y="44"/>
                  <a:pt x="57" y="44"/>
                </a:cubicBezTo>
                <a:cubicBezTo>
                  <a:pt x="59" y="43"/>
                  <a:pt x="59" y="43"/>
                  <a:pt x="59" y="43"/>
                </a:cubicBezTo>
                <a:cubicBezTo>
                  <a:pt x="59" y="42"/>
                  <a:pt x="59" y="42"/>
                  <a:pt x="59" y="42"/>
                </a:cubicBezTo>
                <a:cubicBezTo>
                  <a:pt x="59" y="41"/>
                  <a:pt x="59" y="41"/>
                  <a:pt x="59" y="41"/>
                </a:cubicBezTo>
                <a:cubicBezTo>
                  <a:pt x="60" y="40"/>
                  <a:pt x="60" y="40"/>
                  <a:pt x="60" y="40"/>
                </a:cubicBezTo>
                <a:cubicBezTo>
                  <a:pt x="61" y="40"/>
                  <a:pt x="61" y="40"/>
                  <a:pt x="61" y="40"/>
                </a:cubicBezTo>
                <a:cubicBezTo>
                  <a:pt x="62" y="39"/>
                  <a:pt x="62" y="39"/>
                  <a:pt x="62" y="39"/>
                </a:cubicBezTo>
                <a:cubicBezTo>
                  <a:pt x="63" y="39"/>
                  <a:pt x="63" y="39"/>
                  <a:pt x="63" y="39"/>
                </a:cubicBezTo>
                <a:cubicBezTo>
                  <a:pt x="63" y="39"/>
                  <a:pt x="63" y="39"/>
                  <a:pt x="63" y="39"/>
                </a:cubicBezTo>
                <a:cubicBezTo>
                  <a:pt x="64" y="39"/>
                  <a:pt x="64" y="39"/>
                  <a:pt x="64" y="39"/>
                </a:cubicBezTo>
                <a:cubicBezTo>
                  <a:pt x="64" y="40"/>
                  <a:pt x="64" y="40"/>
                  <a:pt x="64" y="40"/>
                </a:cubicBezTo>
                <a:cubicBezTo>
                  <a:pt x="64" y="42"/>
                  <a:pt x="64" y="42"/>
                  <a:pt x="64" y="42"/>
                </a:cubicBezTo>
                <a:cubicBezTo>
                  <a:pt x="64" y="43"/>
                  <a:pt x="64" y="43"/>
                  <a:pt x="64" y="43"/>
                </a:cubicBezTo>
                <a:cubicBezTo>
                  <a:pt x="64" y="45"/>
                  <a:pt x="64" y="45"/>
                  <a:pt x="64" y="45"/>
                </a:cubicBezTo>
                <a:cubicBezTo>
                  <a:pt x="64" y="47"/>
                  <a:pt x="64" y="47"/>
                  <a:pt x="64" y="47"/>
                </a:cubicBezTo>
                <a:cubicBezTo>
                  <a:pt x="65" y="47"/>
                  <a:pt x="65" y="47"/>
                  <a:pt x="65" y="47"/>
                </a:cubicBezTo>
                <a:cubicBezTo>
                  <a:pt x="65" y="47"/>
                  <a:pt x="65" y="47"/>
                  <a:pt x="65" y="47"/>
                </a:cubicBezTo>
                <a:cubicBezTo>
                  <a:pt x="65" y="45"/>
                  <a:pt x="65" y="45"/>
                  <a:pt x="65" y="45"/>
                </a:cubicBezTo>
                <a:cubicBezTo>
                  <a:pt x="65" y="43"/>
                  <a:pt x="65" y="43"/>
                  <a:pt x="65" y="43"/>
                </a:cubicBezTo>
                <a:cubicBezTo>
                  <a:pt x="65" y="42"/>
                  <a:pt x="65" y="42"/>
                  <a:pt x="65" y="42"/>
                </a:cubicBezTo>
                <a:cubicBezTo>
                  <a:pt x="65" y="41"/>
                  <a:pt x="65" y="41"/>
                  <a:pt x="65" y="41"/>
                </a:cubicBezTo>
                <a:cubicBezTo>
                  <a:pt x="65" y="39"/>
                  <a:pt x="65" y="39"/>
                  <a:pt x="65" y="39"/>
                </a:cubicBezTo>
                <a:cubicBezTo>
                  <a:pt x="66" y="39"/>
                  <a:pt x="66" y="39"/>
                  <a:pt x="66" y="39"/>
                </a:cubicBezTo>
                <a:cubicBezTo>
                  <a:pt x="66" y="39"/>
                  <a:pt x="66" y="39"/>
                  <a:pt x="66" y="39"/>
                </a:cubicBezTo>
                <a:cubicBezTo>
                  <a:pt x="67" y="38"/>
                  <a:pt x="67" y="38"/>
                  <a:pt x="67" y="38"/>
                </a:cubicBezTo>
                <a:cubicBezTo>
                  <a:pt x="67" y="38"/>
                  <a:pt x="67" y="38"/>
                  <a:pt x="67" y="38"/>
                </a:cubicBezTo>
                <a:cubicBezTo>
                  <a:pt x="68" y="38"/>
                  <a:pt x="68" y="38"/>
                  <a:pt x="68" y="38"/>
                </a:cubicBezTo>
                <a:cubicBezTo>
                  <a:pt x="68" y="39"/>
                  <a:pt x="68" y="39"/>
                  <a:pt x="68" y="39"/>
                </a:cubicBezTo>
                <a:cubicBezTo>
                  <a:pt x="68" y="39"/>
                  <a:pt x="68" y="39"/>
                  <a:pt x="68" y="39"/>
                </a:cubicBezTo>
                <a:cubicBezTo>
                  <a:pt x="69" y="39"/>
                  <a:pt x="69" y="39"/>
                  <a:pt x="69" y="39"/>
                </a:cubicBezTo>
                <a:cubicBezTo>
                  <a:pt x="69" y="39"/>
                  <a:pt x="69" y="39"/>
                  <a:pt x="69" y="39"/>
                </a:cubicBezTo>
                <a:cubicBezTo>
                  <a:pt x="69" y="40"/>
                  <a:pt x="69" y="40"/>
                  <a:pt x="69" y="40"/>
                </a:cubicBezTo>
                <a:cubicBezTo>
                  <a:pt x="69" y="41"/>
                  <a:pt x="69" y="41"/>
                  <a:pt x="69" y="41"/>
                </a:cubicBezTo>
                <a:cubicBezTo>
                  <a:pt x="70" y="41"/>
                  <a:pt x="70" y="41"/>
                  <a:pt x="70" y="41"/>
                </a:cubicBezTo>
                <a:cubicBezTo>
                  <a:pt x="72" y="41"/>
                  <a:pt x="72" y="41"/>
                  <a:pt x="72" y="41"/>
                </a:cubicBezTo>
                <a:cubicBezTo>
                  <a:pt x="73" y="41"/>
                  <a:pt x="73" y="41"/>
                  <a:pt x="73" y="41"/>
                </a:cubicBezTo>
                <a:cubicBezTo>
                  <a:pt x="74" y="41"/>
                  <a:pt x="74" y="41"/>
                  <a:pt x="74" y="41"/>
                </a:cubicBezTo>
                <a:cubicBezTo>
                  <a:pt x="74" y="40"/>
                  <a:pt x="74" y="40"/>
                  <a:pt x="74" y="40"/>
                </a:cubicBezTo>
                <a:cubicBezTo>
                  <a:pt x="73" y="40"/>
                  <a:pt x="73" y="40"/>
                  <a:pt x="73" y="40"/>
                </a:cubicBezTo>
                <a:cubicBezTo>
                  <a:pt x="74" y="39"/>
                  <a:pt x="74" y="39"/>
                  <a:pt x="74" y="39"/>
                </a:cubicBezTo>
                <a:cubicBezTo>
                  <a:pt x="74" y="38"/>
                  <a:pt x="74" y="38"/>
                  <a:pt x="74" y="38"/>
                </a:cubicBezTo>
                <a:cubicBezTo>
                  <a:pt x="75" y="37"/>
                  <a:pt x="75" y="37"/>
                  <a:pt x="75" y="37"/>
                </a:cubicBezTo>
                <a:cubicBezTo>
                  <a:pt x="75" y="37"/>
                  <a:pt x="75" y="37"/>
                  <a:pt x="75" y="37"/>
                </a:cubicBezTo>
                <a:cubicBezTo>
                  <a:pt x="76" y="37"/>
                  <a:pt x="76" y="37"/>
                  <a:pt x="76" y="37"/>
                </a:cubicBezTo>
                <a:cubicBezTo>
                  <a:pt x="78" y="36"/>
                  <a:pt x="78" y="36"/>
                  <a:pt x="78" y="36"/>
                </a:cubicBezTo>
                <a:cubicBezTo>
                  <a:pt x="78" y="35"/>
                  <a:pt x="78" y="35"/>
                  <a:pt x="78" y="35"/>
                </a:cubicBezTo>
                <a:cubicBezTo>
                  <a:pt x="78" y="33"/>
                  <a:pt x="78" y="33"/>
                  <a:pt x="78" y="33"/>
                </a:cubicBezTo>
                <a:cubicBezTo>
                  <a:pt x="78" y="33"/>
                  <a:pt x="78" y="33"/>
                  <a:pt x="78" y="33"/>
                </a:cubicBezTo>
                <a:cubicBezTo>
                  <a:pt x="77" y="33"/>
                  <a:pt x="77" y="33"/>
                  <a:pt x="77" y="33"/>
                </a:cubicBezTo>
                <a:cubicBezTo>
                  <a:pt x="77" y="33"/>
                  <a:pt x="77" y="33"/>
                  <a:pt x="77" y="33"/>
                </a:cubicBezTo>
                <a:cubicBezTo>
                  <a:pt x="77" y="32"/>
                  <a:pt x="77" y="32"/>
                  <a:pt x="77" y="32"/>
                </a:cubicBezTo>
                <a:cubicBezTo>
                  <a:pt x="78" y="31"/>
                  <a:pt x="78" y="31"/>
                  <a:pt x="78" y="31"/>
                </a:cubicBezTo>
                <a:cubicBezTo>
                  <a:pt x="78" y="29"/>
                  <a:pt x="78" y="29"/>
                  <a:pt x="78" y="29"/>
                </a:cubicBezTo>
                <a:cubicBezTo>
                  <a:pt x="78" y="28"/>
                  <a:pt x="78" y="28"/>
                  <a:pt x="78" y="28"/>
                </a:cubicBezTo>
                <a:cubicBezTo>
                  <a:pt x="78" y="27"/>
                  <a:pt x="78" y="27"/>
                  <a:pt x="78" y="27"/>
                </a:cubicBezTo>
                <a:cubicBezTo>
                  <a:pt x="79" y="26"/>
                  <a:pt x="79" y="26"/>
                  <a:pt x="79" y="26"/>
                </a:cubicBezTo>
                <a:cubicBezTo>
                  <a:pt x="81" y="26"/>
                  <a:pt x="81" y="26"/>
                  <a:pt x="81" y="26"/>
                </a:cubicBezTo>
                <a:cubicBezTo>
                  <a:pt x="82" y="25"/>
                  <a:pt x="82" y="25"/>
                  <a:pt x="82" y="25"/>
                </a:cubicBezTo>
                <a:cubicBezTo>
                  <a:pt x="84" y="25"/>
                  <a:pt x="84" y="25"/>
                  <a:pt x="84" y="25"/>
                </a:cubicBezTo>
                <a:cubicBezTo>
                  <a:pt x="84" y="25"/>
                  <a:pt x="84" y="25"/>
                  <a:pt x="84" y="25"/>
                </a:cubicBezTo>
                <a:cubicBezTo>
                  <a:pt x="84" y="26"/>
                  <a:pt x="84" y="26"/>
                  <a:pt x="84" y="26"/>
                </a:cubicBezTo>
                <a:cubicBezTo>
                  <a:pt x="84" y="27"/>
                  <a:pt x="84" y="27"/>
                  <a:pt x="84" y="27"/>
                </a:cubicBezTo>
                <a:cubicBezTo>
                  <a:pt x="86" y="28"/>
                  <a:pt x="86" y="28"/>
                  <a:pt x="86" y="28"/>
                </a:cubicBezTo>
                <a:cubicBezTo>
                  <a:pt x="86" y="29"/>
                  <a:pt x="86" y="29"/>
                  <a:pt x="86" y="29"/>
                </a:cubicBezTo>
                <a:cubicBezTo>
                  <a:pt x="86" y="32"/>
                  <a:pt x="86" y="32"/>
                  <a:pt x="86" y="32"/>
                </a:cubicBezTo>
                <a:cubicBezTo>
                  <a:pt x="85" y="34"/>
                  <a:pt x="85" y="34"/>
                  <a:pt x="85" y="34"/>
                </a:cubicBezTo>
                <a:cubicBezTo>
                  <a:pt x="86" y="34"/>
                  <a:pt x="86" y="34"/>
                  <a:pt x="86" y="34"/>
                </a:cubicBezTo>
                <a:cubicBezTo>
                  <a:pt x="88" y="36"/>
                  <a:pt x="88" y="36"/>
                  <a:pt x="88" y="36"/>
                </a:cubicBezTo>
                <a:cubicBezTo>
                  <a:pt x="88" y="37"/>
                  <a:pt x="88" y="37"/>
                  <a:pt x="88" y="37"/>
                </a:cubicBezTo>
                <a:cubicBezTo>
                  <a:pt x="89" y="38"/>
                  <a:pt x="89" y="38"/>
                  <a:pt x="89" y="38"/>
                </a:cubicBezTo>
                <a:cubicBezTo>
                  <a:pt x="89" y="37"/>
                  <a:pt x="89" y="37"/>
                  <a:pt x="89" y="37"/>
                </a:cubicBezTo>
                <a:cubicBezTo>
                  <a:pt x="89" y="35"/>
                  <a:pt x="89" y="35"/>
                  <a:pt x="89" y="35"/>
                </a:cubicBezTo>
                <a:cubicBezTo>
                  <a:pt x="89" y="34"/>
                  <a:pt x="89" y="34"/>
                  <a:pt x="89" y="34"/>
                </a:cubicBezTo>
                <a:cubicBezTo>
                  <a:pt x="87" y="32"/>
                  <a:pt x="87" y="32"/>
                  <a:pt x="87" y="32"/>
                </a:cubicBezTo>
                <a:cubicBezTo>
                  <a:pt x="87" y="30"/>
                  <a:pt x="87" y="30"/>
                  <a:pt x="87" y="30"/>
                </a:cubicBezTo>
                <a:cubicBezTo>
                  <a:pt x="88" y="28"/>
                  <a:pt x="88" y="28"/>
                  <a:pt x="88" y="28"/>
                </a:cubicBezTo>
                <a:cubicBezTo>
                  <a:pt x="88" y="27"/>
                  <a:pt x="88" y="27"/>
                  <a:pt x="88" y="27"/>
                </a:cubicBezTo>
                <a:cubicBezTo>
                  <a:pt x="88" y="27"/>
                  <a:pt x="88" y="27"/>
                  <a:pt x="88" y="27"/>
                </a:cubicBezTo>
                <a:cubicBezTo>
                  <a:pt x="87" y="26"/>
                  <a:pt x="87" y="26"/>
                  <a:pt x="87" y="26"/>
                </a:cubicBezTo>
                <a:cubicBezTo>
                  <a:pt x="87" y="25"/>
                  <a:pt x="87" y="25"/>
                  <a:pt x="87" y="25"/>
                </a:cubicBezTo>
                <a:cubicBezTo>
                  <a:pt x="87" y="24"/>
                  <a:pt x="87" y="24"/>
                  <a:pt x="87" y="24"/>
                </a:cubicBezTo>
                <a:cubicBezTo>
                  <a:pt x="87" y="23"/>
                  <a:pt x="87" y="23"/>
                  <a:pt x="87" y="23"/>
                </a:cubicBezTo>
                <a:cubicBezTo>
                  <a:pt x="88" y="22"/>
                  <a:pt x="88" y="22"/>
                  <a:pt x="88" y="22"/>
                </a:cubicBezTo>
                <a:cubicBezTo>
                  <a:pt x="89" y="22"/>
                  <a:pt x="89" y="22"/>
                  <a:pt x="89" y="22"/>
                </a:cubicBezTo>
                <a:cubicBezTo>
                  <a:pt x="90" y="23"/>
                  <a:pt x="90" y="23"/>
                  <a:pt x="90" y="23"/>
                </a:cubicBezTo>
                <a:cubicBezTo>
                  <a:pt x="91" y="22"/>
                  <a:pt x="91" y="22"/>
                  <a:pt x="91" y="22"/>
                </a:cubicBezTo>
                <a:cubicBezTo>
                  <a:pt x="92" y="22"/>
                  <a:pt x="92" y="22"/>
                  <a:pt x="92" y="22"/>
                </a:cubicBezTo>
                <a:cubicBezTo>
                  <a:pt x="93" y="23"/>
                  <a:pt x="93" y="23"/>
                  <a:pt x="93" y="23"/>
                </a:cubicBezTo>
                <a:cubicBezTo>
                  <a:pt x="96" y="22"/>
                  <a:pt x="96" y="22"/>
                  <a:pt x="96" y="22"/>
                </a:cubicBezTo>
                <a:cubicBezTo>
                  <a:pt x="98" y="22"/>
                  <a:pt x="98" y="22"/>
                  <a:pt x="98" y="22"/>
                </a:cubicBezTo>
                <a:cubicBezTo>
                  <a:pt x="101" y="21"/>
                  <a:pt x="101" y="21"/>
                  <a:pt x="101" y="21"/>
                </a:cubicBezTo>
                <a:cubicBezTo>
                  <a:pt x="101" y="22"/>
                  <a:pt x="101" y="22"/>
                  <a:pt x="101" y="22"/>
                </a:cubicBezTo>
                <a:cubicBezTo>
                  <a:pt x="102" y="23"/>
                  <a:pt x="102" y="23"/>
                  <a:pt x="102" y="23"/>
                </a:cubicBezTo>
                <a:cubicBezTo>
                  <a:pt x="102" y="24"/>
                  <a:pt x="102" y="24"/>
                  <a:pt x="102" y="24"/>
                </a:cubicBezTo>
                <a:cubicBezTo>
                  <a:pt x="102" y="25"/>
                  <a:pt x="102" y="25"/>
                  <a:pt x="102" y="25"/>
                </a:cubicBezTo>
                <a:cubicBezTo>
                  <a:pt x="103" y="25"/>
                  <a:pt x="103" y="25"/>
                  <a:pt x="103" y="25"/>
                </a:cubicBezTo>
                <a:cubicBezTo>
                  <a:pt x="103" y="24"/>
                  <a:pt x="103" y="24"/>
                  <a:pt x="103" y="24"/>
                </a:cubicBezTo>
                <a:cubicBezTo>
                  <a:pt x="103" y="23"/>
                  <a:pt x="103" y="23"/>
                  <a:pt x="103" y="23"/>
                </a:cubicBezTo>
                <a:cubicBezTo>
                  <a:pt x="103" y="22"/>
                  <a:pt x="103" y="22"/>
                  <a:pt x="103" y="22"/>
                </a:cubicBezTo>
                <a:cubicBezTo>
                  <a:pt x="104" y="20"/>
                  <a:pt x="104" y="20"/>
                  <a:pt x="104" y="20"/>
                </a:cubicBezTo>
                <a:cubicBezTo>
                  <a:pt x="105" y="21"/>
                  <a:pt x="105" y="21"/>
                  <a:pt x="105" y="21"/>
                </a:cubicBezTo>
                <a:cubicBezTo>
                  <a:pt x="106" y="22"/>
                  <a:pt x="106" y="22"/>
                  <a:pt x="106" y="22"/>
                </a:cubicBezTo>
                <a:cubicBezTo>
                  <a:pt x="106" y="23"/>
                  <a:pt x="106" y="23"/>
                  <a:pt x="106" y="23"/>
                </a:cubicBezTo>
                <a:cubicBezTo>
                  <a:pt x="107" y="24"/>
                  <a:pt x="107" y="24"/>
                  <a:pt x="107" y="24"/>
                </a:cubicBezTo>
                <a:cubicBezTo>
                  <a:pt x="107" y="23"/>
                  <a:pt x="107" y="23"/>
                  <a:pt x="107" y="23"/>
                </a:cubicBezTo>
                <a:cubicBezTo>
                  <a:pt x="107" y="21"/>
                  <a:pt x="107" y="21"/>
                  <a:pt x="107" y="21"/>
                </a:cubicBezTo>
                <a:cubicBezTo>
                  <a:pt x="106" y="20"/>
                  <a:pt x="106" y="20"/>
                  <a:pt x="106" y="20"/>
                </a:cubicBezTo>
                <a:cubicBezTo>
                  <a:pt x="106" y="19"/>
                  <a:pt x="106" y="19"/>
                  <a:pt x="106" y="19"/>
                </a:cubicBezTo>
                <a:cubicBezTo>
                  <a:pt x="107" y="19"/>
                  <a:pt x="107" y="19"/>
                  <a:pt x="107" y="19"/>
                </a:cubicBezTo>
                <a:cubicBezTo>
                  <a:pt x="108" y="19"/>
                  <a:pt x="108" y="19"/>
                  <a:pt x="108" y="19"/>
                </a:cubicBezTo>
                <a:cubicBezTo>
                  <a:pt x="109" y="20"/>
                  <a:pt x="109" y="20"/>
                  <a:pt x="109" y="20"/>
                </a:cubicBezTo>
                <a:cubicBezTo>
                  <a:pt x="110" y="19"/>
                  <a:pt x="110" y="19"/>
                  <a:pt x="110" y="19"/>
                </a:cubicBezTo>
                <a:cubicBezTo>
                  <a:pt x="111" y="19"/>
                  <a:pt x="111" y="19"/>
                  <a:pt x="111" y="19"/>
                </a:cubicBezTo>
                <a:cubicBezTo>
                  <a:pt x="113" y="19"/>
                  <a:pt x="113" y="19"/>
                  <a:pt x="113" y="19"/>
                </a:cubicBezTo>
                <a:cubicBezTo>
                  <a:pt x="113" y="20"/>
                  <a:pt x="113" y="20"/>
                  <a:pt x="113" y="20"/>
                </a:cubicBezTo>
                <a:cubicBezTo>
                  <a:pt x="113" y="23"/>
                  <a:pt x="113" y="23"/>
                  <a:pt x="113" y="23"/>
                </a:cubicBezTo>
                <a:cubicBezTo>
                  <a:pt x="112" y="24"/>
                  <a:pt x="112" y="24"/>
                  <a:pt x="112" y="24"/>
                </a:cubicBezTo>
                <a:cubicBezTo>
                  <a:pt x="112" y="25"/>
                  <a:pt x="112" y="25"/>
                  <a:pt x="112" y="25"/>
                </a:cubicBezTo>
                <a:cubicBezTo>
                  <a:pt x="111" y="27"/>
                  <a:pt x="111" y="27"/>
                  <a:pt x="111" y="27"/>
                </a:cubicBezTo>
                <a:cubicBezTo>
                  <a:pt x="111" y="29"/>
                  <a:pt x="111" y="29"/>
                  <a:pt x="111" y="29"/>
                </a:cubicBezTo>
                <a:cubicBezTo>
                  <a:pt x="111" y="29"/>
                  <a:pt x="111" y="29"/>
                  <a:pt x="111" y="29"/>
                </a:cubicBezTo>
                <a:cubicBezTo>
                  <a:pt x="110" y="30"/>
                  <a:pt x="110" y="30"/>
                  <a:pt x="110" y="30"/>
                </a:cubicBezTo>
                <a:cubicBezTo>
                  <a:pt x="110" y="31"/>
                  <a:pt x="110" y="31"/>
                  <a:pt x="110" y="31"/>
                </a:cubicBezTo>
                <a:cubicBezTo>
                  <a:pt x="109" y="31"/>
                  <a:pt x="109" y="31"/>
                  <a:pt x="109" y="31"/>
                </a:cubicBezTo>
                <a:cubicBezTo>
                  <a:pt x="110" y="32"/>
                  <a:pt x="110" y="32"/>
                  <a:pt x="110" y="32"/>
                </a:cubicBezTo>
                <a:cubicBezTo>
                  <a:pt x="110" y="32"/>
                  <a:pt x="110" y="32"/>
                  <a:pt x="110" y="32"/>
                </a:cubicBezTo>
                <a:cubicBezTo>
                  <a:pt x="110" y="33"/>
                  <a:pt x="110" y="33"/>
                  <a:pt x="110" y="33"/>
                </a:cubicBezTo>
                <a:cubicBezTo>
                  <a:pt x="109" y="34"/>
                  <a:pt x="109" y="34"/>
                  <a:pt x="109" y="34"/>
                </a:cubicBezTo>
                <a:cubicBezTo>
                  <a:pt x="108" y="36"/>
                  <a:pt x="108" y="36"/>
                  <a:pt x="108" y="36"/>
                </a:cubicBezTo>
                <a:cubicBezTo>
                  <a:pt x="107" y="36"/>
                  <a:pt x="107" y="36"/>
                  <a:pt x="107" y="36"/>
                </a:cubicBezTo>
                <a:cubicBezTo>
                  <a:pt x="107" y="37"/>
                  <a:pt x="107" y="37"/>
                  <a:pt x="107" y="37"/>
                </a:cubicBezTo>
                <a:cubicBezTo>
                  <a:pt x="106" y="38"/>
                  <a:pt x="106" y="38"/>
                  <a:pt x="106" y="38"/>
                </a:cubicBezTo>
                <a:cubicBezTo>
                  <a:pt x="106" y="39"/>
                  <a:pt x="106" y="39"/>
                  <a:pt x="106" y="39"/>
                </a:cubicBezTo>
                <a:cubicBezTo>
                  <a:pt x="105" y="41"/>
                  <a:pt x="105" y="41"/>
                  <a:pt x="105" y="41"/>
                </a:cubicBezTo>
                <a:cubicBezTo>
                  <a:pt x="106" y="41"/>
                  <a:pt x="106" y="41"/>
                  <a:pt x="106" y="41"/>
                </a:cubicBezTo>
                <a:cubicBezTo>
                  <a:pt x="106" y="41"/>
                  <a:pt x="106" y="41"/>
                  <a:pt x="106" y="41"/>
                </a:cubicBezTo>
                <a:cubicBezTo>
                  <a:pt x="107" y="40"/>
                  <a:pt x="107" y="40"/>
                  <a:pt x="107" y="40"/>
                </a:cubicBezTo>
                <a:cubicBezTo>
                  <a:pt x="108" y="39"/>
                  <a:pt x="108" y="39"/>
                  <a:pt x="108" y="39"/>
                </a:cubicBezTo>
                <a:cubicBezTo>
                  <a:pt x="108" y="38"/>
                  <a:pt x="108" y="38"/>
                  <a:pt x="108" y="38"/>
                </a:cubicBezTo>
                <a:cubicBezTo>
                  <a:pt x="109" y="37"/>
                  <a:pt x="109" y="37"/>
                  <a:pt x="109" y="37"/>
                </a:cubicBezTo>
                <a:cubicBezTo>
                  <a:pt x="110" y="36"/>
                  <a:pt x="110" y="36"/>
                  <a:pt x="110" y="36"/>
                </a:cubicBezTo>
                <a:cubicBezTo>
                  <a:pt x="110" y="35"/>
                  <a:pt x="110" y="35"/>
                  <a:pt x="110" y="35"/>
                </a:cubicBezTo>
                <a:cubicBezTo>
                  <a:pt x="111" y="34"/>
                  <a:pt x="111" y="34"/>
                  <a:pt x="111" y="34"/>
                </a:cubicBezTo>
                <a:cubicBezTo>
                  <a:pt x="112" y="34"/>
                  <a:pt x="112" y="34"/>
                  <a:pt x="112" y="34"/>
                </a:cubicBezTo>
                <a:cubicBezTo>
                  <a:pt x="112" y="33"/>
                  <a:pt x="112" y="33"/>
                  <a:pt x="112" y="33"/>
                </a:cubicBezTo>
                <a:cubicBezTo>
                  <a:pt x="112" y="32"/>
                  <a:pt x="112" y="32"/>
                  <a:pt x="112" y="32"/>
                </a:cubicBezTo>
                <a:cubicBezTo>
                  <a:pt x="113" y="32"/>
                  <a:pt x="113" y="32"/>
                  <a:pt x="113" y="32"/>
                </a:cubicBezTo>
                <a:cubicBezTo>
                  <a:pt x="113" y="30"/>
                  <a:pt x="113" y="30"/>
                  <a:pt x="113" y="30"/>
                </a:cubicBezTo>
                <a:cubicBezTo>
                  <a:pt x="114" y="30"/>
                  <a:pt x="114" y="30"/>
                  <a:pt x="114" y="30"/>
                </a:cubicBezTo>
                <a:cubicBezTo>
                  <a:pt x="114" y="31"/>
                  <a:pt x="114" y="31"/>
                  <a:pt x="114" y="31"/>
                </a:cubicBezTo>
                <a:cubicBezTo>
                  <a:pt x="114" y="32"/>
                  <a:pt x="114" y="32"/>
                  <a:pt x="114" y="32"/>
                </a:cubicBezTo>
                <a:cubicBezTo>
                  <a:pt x="115" y="32"/>
                  <a:pt x="115" y="32"/>
                  <a:pt x="115" y="32"/>
                </a:cubicBezTo>
                <a:cubicBezTo>
                  <a:pt x="115" y="33"/>
                  <a:pt x="115" y="33"/>
                  <a:pt x="115" y="33"/>
                </a:cubicBezTo>
                <a:cubicBezTo>
                  <a:pt x="116" y="35"/>
                  <a:pt x="116" y="35"/>
                  <a:pt x="116" y="35"/>
                </a:cubicBezTo>
                <a:cubicBezTo>
                  <a:pt x="117" y="36"/>
                  <a:pt x="117" y="36"/>
                  <a:pt x="117" y="36"/>
                </a:cubicBezTo>
                <a:cubicBezTo>
                  <a:pt x="117" y="38"/>
                  <a:pt x="117" y="38"/>
                  <a:pt x="117" y="38"/>
                </a:cubicBezTo>
                <a:cubicBezTo>
                  <a:pt x="117" y="38"/>
                  <a:pt x="117" y="38"/>
                  <a:pt x="117" y="38"/>
                </a:cubicBezTo>
                <a:cubicBezTo>
                  <a:pt x="118" y="38"/>
                  <a:pt x="118" y="38"/>
                  <a:pt x="118" y="38"/>
                </a:cubicBezTo>
                <a:cubicBezTo>
                  <a:pt x="119" y="39"/>
                  <a:pt x="119" y="39"/>
                  <a:pt x="119" y="39"/>
                </a:cubicBezTo>
                <a:cubicBezTo>
                  <a:pt x="119" y="39"/>
                  <a:pt x="119" y="39"/>
                  <a:pt x="119" y="39"/>
                </a:cubicBezTo>
                <a:cubicBezTo>
                  <a:pt x="119" y="38"/>
                  <a:pt x="119" y="38"/>
                  <a:pt x="119" y="38"/>
                </a:cubicBezTo>
                <a:cubicBezTo>
                  <a:pt x="120" y="38"/>
                  <a:pt x="120" y="38"/>
                  <a:pt x="120" y="38"/>
                </a:cubicBezTo>
                <a:cubicBezTo>
                  <a:pt x="120" y="37"/>
                  <a:pt x="120" y="37"/>
                  <a:pt x="120" y="37"/>
                </a:cubicBezTo>
                <a:cubicBezTo>
                  <a:pt x="119" y="36"/>
                  <a:pt x="119" y="36"/>
                  <a:pt x="119" y="36"/>
                </a:cubicBezTo>
                <a:cubicBezTo>
                  <a:pt x="119" y="35"/>
                  <a:pt x="119" y="35"/>
                  <a:pt x="119" y="35"/>
                </a:cubicBezTo>
                <a:cubicBezTo>
                  <a:pt x="119" y="35"/>
                  <a:pt x="119" y="35"/>
                  <a:pt x="119" y="35"/>
                </a:cubicBezTo>
                <a:cubicBezTo>
                  <a:pt x="119" y="35"/>
                  <a:pt x="119" y="35"/>
                  <a:pt x="119" y="35"/>
                </a:cubicBezTo>
                <a:cubicBezTo>
                  <a:pt x="120" y="36"/>
                  <a:pt x="120" y="36"/>
                  <a:pt x="120" y="36"/>
                </a:cubicBezTo>
                <a:cubicBezTo>
                  <a:pt x="121" y="36"/>
                  <a:pt x="121" y="36"/>
                  <a:pt x="121" y="36"/>
                </a:cubicBezTo>
                <a:cubicBezTo>
                  <a:pt x="122" y="36"/>
                  <a:pt x="122" y="36"/>
                  <a:pt x="122" y="36"/>
                </a:cubicBezTo>
                <a:cubicBezTo>
                  <a:pt x="122" y="37"/>
                  <a:pt x="122" y="37"/>
                  <a:pt x="122" y="37"/>
                </a:cubicBezTo>
                <a:cubicBezTo>
                  <a:pt x="123" y="37"/>
                  <a:pt x="123" y="37"/>
                  <a:pt x="123" y="37"/>
                </a:cubicBezTo>
                <a:cubicBezTo>
                  <a:pt x="124" y="37"/>
                  <a:pt x="124" y="37"/>
                  <a:pt x="124" y="37"/>
                </a:cubicBezTo>
                <a:cubicBezTo>
                  <a:pt x="124" y="37"/>
                  <a:pt x="124" y="37"/>
                  <a:pt x="124" y="37"/>
                </a:cubicBezTo>
                <a:cubicBezTo>
                  <a:pt x="125" y="37"/>
                  <a:pt x="125" y="37"/>
                  <a:pt x="125" y="37"/>
                </a:cubicBezTo>
                <a:cubicBezTo>
                  <a:pt x="125" y="37"/>
                  <a:pt x="125" y="37"/>
                  <a:pt x="125" y="37"/>
                </a:cubicBezTo>
                <a:cubicBezTo>
                  <a:pt x="125" y="35"/>
                  <a:pt x="125" y="35"/>
                  <a:pt x="125" y="35"/>
                </a:cubicBezTo>
                <a:cubicBezTo>
                  <a:pt x="125" y="34"/>
                  <a:pt x="125" y="34"/>
                  <a:pt x="125" y="34"/>
                </a:cubicBezTo>
                <a:cubicBezTo>
                  <a:pt x="125" y="32"/>
                  <a:pt x="125" y="32"/>
                  <a:pt x="125" y="32"/>
                </a:cubicBezTo>
                <a:cubicBezTo>
                  <a:pt x="126" y="30"/>
                  <a:pt x="126" y="30"/>
                  <a:pt x="126" y="30"/>
                </a:cubicBezTo>
                <a:cubicBezTo>
                  <a:pt x="125" y="30"/>
                  <a:pt x="125" y="30"/>
                  <a:pt x="125" y="30"/>
                </a:cubicBezTo>
                <a:cubicBezTo>
                  <a:pt x="125" y="28"/>
                  <a:pt x="125" y="28"/>
                  <a:pt x="125" y="28"/>
                </a:cubicBezTo>
                <a:cubicBezTo>
                  <a:pt x="125" y="26"/>
                  <a:pt x="125" y="26"/>
                  <a:pt x="125" y="26"/>
                </a:cubicBezTo>
                <a:cubicBezTo>
                  <a:pt x="126" y="24"/>
                  <a:pt x="126" y="24"/>
                  <a:pt x="126" y="24"/>
                </a:cubicBezTo>
                <a:cubicBezTo>
                  <a:pt x="126" y="23"/>
                  <a:pt x="126" y="23"/>
                  <a:pt x="126" y="23"/>
                </a:cubicBezTo>
                <a:cubicBezTo>
                  <a:pt x="126" y="23"/>
                  <a:pt x="126" y="23"/>
                  <a:pt x="126" y="23"/>
                </a:cubicBezTo>
                <a:cubicBezTo>
                  <a:pt x="126" y="22"/>
                  <a:pt x="126" y="22"/>
                  <a:pt x="126" y="22"/>
                </a:cubicBezTo>
                <a:cubicBezTo>
                  <a:pt x="126" y="21"/>
                  <a:pt x="126" y="21"/>
                  <a:pt x="126" y="21"/>
                </a:cubicBezTo>
                <a:cubicBezTo>
                  <a:pt x="126" y="20"/>
                  <a:pt x="126" y="20"/>
                  <a:pt x="126" y="20"/>
                </a:cubicBezTo>
                <a:cubicBezTo>
                  <a:pt x="128" y="20"/>
                  <a:pt x="128" y="20"/>
                  <a:pt x="128" y="20"/>
                </a:cubicBezTo>
                <a:cubicBezTo>
                  <a:pt x="128" y="20"/>
                  <a:pt x="128" y="20"/>
                  <a:pt x="128" y="20"/>
                </a:cubicBezTo>
                <a:cubicBezTo>
                  <a:pt x="129" y="20"/>
                  <a:pt x="129" y="20"/>
                  <a:pt x="129" y="20"/>
                </a:cubicBezTo>
                <a:cubicBezTo>
                  <a:pt x="130" y="21"/>
                  <a:pt x="130" y="21"/>
                  <a:pt x="130" y="21"/>
                </a:cubicBezTo>
                <a:cubicBezTo>
                  <a:pt x="130" y="22"/>
                  <a:pt x="130" y="22"/>
                  <a:pt x="130" y="22"/>
                </a:cubicBezTo>
                <a:cubicBezTo>
                  <a:pt x="131" y="22"/>
                  <a:pt x="131" y="22"/>
                  <a:pt x="131" y="22"/>
                </a:cubicBezTo>
                <a:cubicBezTo>
                  <a:pt x="132" y="23"/>
                  <a:pt x="132" y="23"/>
                  <a:pt x="132" y="23"/>
                </a:cubicBezTo>
                <a:cubicBezTo>
                  <a:pt x="133" y="26"/>
                  <a:pt x="133" y="26"/>
                  <a:pt x="133" y="26"/>
                </a:cubicBezTo>
                <a:cubicBezTo>
                  <a:pt x="133" y="27"/>
                  <a:pt x="133" y="27"/>
                  <a:pt x="133" y="27"/>
                </a:cubicBezTo>
                <a:cubicBezTo>
                  <a:pt x="134" y="29"/>
                  <a:pt x="134" y="29"/>
                  <a:pt x="134" y="29"/>
                </a:cubicBezTo>
                <a:cubicBezTo>
                  <a:pt x="135" y="30"/>
                  <a:pt x="135" y="30"/>
                  <a:pt x="135" y="30"/>
                </a:cubicBezTo>
                <a:cubicBezTo>
                  <a:pt x="135" y="33"/>
                  <a:pt x="135" y="33"/>
                  <a:pt x="135" y="33"/>
                </a:cubicBezTo>
                <a:cubicBezTo>
                  <a:pt x="135" y="34"/>
                  <a:pt x="135" y="34"/>
                  <a:pt x="135" y="34"/>
                </a:cubicBezTo>
                <a:cubicBezTo>
                  <a:pt x="134" y="34"/>
                  <a:pt x="134" y="34"/>
                  <a:pt x="134" y="34"/>
                </a:cubicBezTo>
                <a:cubicBezTo>
                  <a:pt x="134" y="35"/>
                  <a:pt x="134" y="35"/>
                  <a:pt x="134" y="35"/>
                </a:cubicBezTo>
                <a:cubicBezTo>
                  <a:pt x="134" y="37"/>
                  <a:pt x="134" y="37"/>
                  <a:pt x="134" y="37"/>
                </a:cubicBezTo>
                <a:cubicBezTo>
                  <a:pt x="135" y="37"/>
                  <a:pt x="135" y="37"/>
                  <a:pt x="135" y="37"/>
                </a:cubicBezTo>
                <a:cubicBezTo>
                  <a:pt x="136" y="39"/>
                  <a:pt x="136" y="39"/>
                  <a:pt x="136" y="39"/>
                </a:cubicBezTo>
                <a:cubicBezTo>
                  <a:pt x="136" y="41"/>
                  <a:pt x="136" y="41"/>
                  <a:pt x="136" y="41"/>
                </a:cubicBezTo>
                <a:cubicBezTo>
                  <a:pt x="136" y="42"/>
                  <a:pt x="136" y="42"/>
                  <a:pt x="136" y="42"/>
                </a:cubicBezTo>
                <a:cubicBezTo>
                  <a:pt x="136" y="43"/>
                  <a:pt x="136" y="43"/>
                  <a:pt x="136" y="43"/>
                </a:cubicBezTo>
                <a:cubicBezTo>
                  <a:pt x="137" y="43"/>
                  <a:pt x="137" y="43"/>
                  <a:pt x="137" y="43"/>
                </a:cubicBezTo>
                <a:cubicBezTo>
                  <a:pt x="139" y="44"/>
                  <a:pt x="139" y="44"/>
                  <a:pt x="139" y="44"/>
                </a:cubicBezTo>
                <a:cubicBezTo>
                  <a:pt x="140" y="44"/>
                  <a:pt x="140" y="44"/>
                  <a:pt x="140" y="44"/>
                </a:cubicBezTo>
                <a:cubicBezTo>
                  <a:pt x="141" y="43"/>
                  <a:pt x="141" y="43"/>
                  <a:pt x="141" y="43"/>
                </a:cubicBezTo>
                <a:cubicBezTo>
                  <a:pt x="142" y="42"/>
                  <a:pt x="142" y="42"/>
                  <a:pt x="142" y="42"/>
                </a:cubicBezTo>
                <a:cubicBezTo>
                  <a:pt x="142" y="41"/>
                  <a:pt x="142" y="41"/>
                  <a:pt x="142" y="41"/>
                </a:cubicBezTo>
                <a:cubicBezTo>
                  <a:pt x="143" y="41"/>
                  <a:pt x="143" y="41"/>
                  <a:pt x="143" y="41"/>
                </a:cubicBezTo>
                <a:cubicBezTo>
                  <a:pt x="143" y="42"/>
                  <a:pt x="143" y="42"/>
                  <a:pt x="143" y="42"/>
                </a:cubicBezTo>
                <a:cubicBezTo>
                  <a:pt x="143" y="43"/>
                  <a:pt x="143" y="43"/>
                  <a:pt x="143" y="43"/>
                </a:cubicBezTo>
                <a:cubicBezTo>
                  <a:pt x="143" y="43"/>
                  <a:pt x="143" y="43"/>
                  <a:pt x="143" y="43"/>
                </a:cubicBezTo>
                <a:cubicBezTo>
                  <a:pt x="144" y="42"/>
                  <a:pt x="144" y="42"/>
                  <a:pt x="144" y="42"/>
                </a:cubicBezTo>
                <a:cubicBezTo>
                  <a:pt x="145" y="43"/>
                  <a:pt x="145" y="43"/>
                  <a:pt x="145" y="43"/>
                </a:cubicBezTo>
                <a:cubicBezTo>
                  <a:pt x="145" y="43"/>
                  <a:pt x="145" y="43"/>
                  <a:pt x="145" y="43"/>
                </a:cubicBezTo>
                <a:cubicBezTo>
                  <a:pt x="145" y="44"/>
                  <a:pt x="145" y="44"/>
                  <a:pt x="145" y="44"/>
                </a:cubicBezTo>
                <a:cubicBezTo>
                  <a:pt x="146" y="45"/>
                  <a:pt x="146" y="45"/>
                  <a:pt x="146" y="45"/>
                </a:cubicBezTo>
                <a:cubicBezTo>
                  <a:pt x="147" y="45"/>
                  <a:pt x="147" y="45"/>
                  <a:pt x="147" y="45"/>
                </a:cubicBezTo>
                <a:cubicBezTo>
                  <a:pt x="147" y="45"/>
                  <a:pt x="147" y="45"/>
                  <a:pt x="147" y="45"/>
                </a:cubicBezTo>
                <a:cubicBezTo>
                  <a:pt x="148" y="45"/>
                  <a:pt x="148" y="45"/>
                  <a:pt x="148" y="45"/>
                </a:cubicBezTo>
                <a:cubicBezTo>
                  <a:pt x="149" y="45"/>
                  <a:pt x="149" y="45"/>
                  <a:pt x="149" y="45"/>
                </a:cubicBezTo>
                <a:cubicBezTo>
                  <a:pt x="148" y="45"/>
                  <a:pt x="148" y="45"/>
                  <a:pt x="148" y="45"/>
                </a:cubicBezTo>
                <a:cubicBezTo>
                  <a:pt x="147" y="44"/>
                  <a:pt x="147" y="44"/>
                  <a:pt x="147" y="44"/>
                </a:cubicBezTo>
                <a:cubicBezTo>
                  <a:pt x="147" y="43"/>
                  <a:pt x="147" y="43"/>
                  <a:pt x="147" y="43"/>
                </a:cubicBezTo>
                <a:cubicBezTo>
                  <a:pt x="147" y="42"/>
                  <a:pt x="147" y="42"/>
                  <a:pt x="147" y="42"/>
                </a:cubicBezTo>
                <a:cubicBezTo>
                  <a:pt x="146" y="42"/>
                  <a:pt x="146" y="42"/>
                  <a:pt x="146" y="42"/>
                </a:cubicBezTo>
                <a:cubicBezTo>
                  <a:pt x="146" y="42"/>
                  <a:pt x="146" y="42"/>
                  <a:pt x="146" y="42"/>
                </a:cubicBezTo>
                <a:cubicBezTo>
                  <a:pt x="146" y="41"/>
                  <a:pt x="146" y="41"/>
                  <a:pt x="146" y="41"/>
                </a:cubicBezTo>
                <a:cubicBezTo>
                  <a:pt x="145" y="40"/>
                  <a:pt x="145" y="40"/>
                  <a:pt x="145" y="40"/>
                </a:cubicBezTo>
                <a:cubicBezTo>
                  <a:pt x="144" y="39"/>
                  <a:pt x="144" y="39"/>
                  <a:pt x="144" y="39"/>
                </a:cubicBezTo>
                <a:cubicBezTo>
                  <a:pt x="144" y="38"/>
                  <a:pt x="144" y="38"/>
                  <a:pt x="144" y="38"/>
                </a:cubicBezTo>
                <a:cubicBezTo>
                  <a:pt x="143" y="36"/>
                  <a:pt x="143" y="36"/>
                  <a:pt x="143" y="36"/>
                </a:cubicBezTo>
                <a:cubicBezTo>
                  <a:pt x="143" y="35"/>
                  <a:pt x="143" y="35"/>
                  <a:pt x="143" y="35"/>
                </a:cubicBezTo>
                <a:cubicBezTo>
                  <a:pt x="143" y="35"/>
                  <a:pt x="143" y="35"/>
                  <a:pt x="143" y="35"/>
                </a:cubicBezTo>
                <a:cubicBezTo>
                  <a:pt x="143" y="33"/>
                  <a:pt x="143" y="33"/>
                  <a:pt x="143" y="33"/>
                </a:cubicBezTo>
                <a:cubicBezTo>
                  <a:pt x="143" y="32"/>
                  <a:pt x="143" y="32"/>
                  <a:pt x="143" y="32"/>
                </a:cubicBezTo>
                <a:cubicBezTo>
                  <a:pt x="142" y="30"/>
                  <a:pt x="142" y="30"/>
                  <a:pt x="142" y="30"/>
                </a:cubicBezTo>
                <a:cubicBezTo>
                  <a:pt x="142" y="29"/>
                  <a:pt x="142" y="29"/>
                  <a:pt x="142" y="29"/>
                </a:cubicBezTo>
                <a:cubicBezTo>
                  <a:pt x="142" y="29"/>
                  <a:pt x="142" y="29"/>
                  <a:pt x="142" y="29"/>
                </a:cubicBezTo>
                <a:cubicBezTo>
                  <a:pt x="142" y="27"/>
                  <a:pt x="142" y="27"/>
                  <a:pt x="142" y="27"/>
                </a:cubicBezTo>
                <a:cubicBezTo>
                  <a:pt x="141" y="26"/>
                  <a:pt x="141" y="26"/>
                  <a:pt x="141" y="26"/>
                </a:cubicBezTo>
                <a:cubicBezTo>
                  <a:pt x="141" y="25"/>
                  <a:pt x="141" y="25"/>
                  <a:pt x="141" y="25"/>
                </a:cubicBezTo>
                <a:cubicBezTo>
                  <a:pt x="141" y="23"/>
                  <a:pt x="141" y="23"/>
                  <a:pt x="141" y="23"/>
                </a:cubicBezTo>
                <a:cubicBezTo>
                  <a:pt x="140" y="22"/>
                  <a:pt x="140" y="22"/>
                  <a:pt x="140" y="22"/>
                </a:cubicBezTo>
                <a:cubicBezTo>
                  <a:pt x="141" y="21"/>
                  <a:pt x="141" y="21"/>
                  <a:pt x="141" y="21"/>
                </a:cubicBezTo>
                <a:cubicBezTo>
                  <a:pt x="140" y="20"/>
                  <a:pt x="140" y="20"/>
                  <a:pt x="140" y="20"/>
                </a:cubicBezTo>
                <a:cubicBezTo>
                  <a:pt x="140" y="19"/>
                  <a:pt x="140" y="19"/>
                  <a:pt x="140" y="19"/>
                </a:cubicBezTo>
                <a:cubicBezTo>
                  <a:pt x="140" y="18"/>
                  <a:pt x="140" y="18"/>
                  <a:pt x="140" y="18"/>
                </a:cubicBezTo>
                <a:cubicBezTo>
                  <a:pt x="142" y="19"/>
                  <a:pt x="142" y="19"/>
                  <a:pt x="142" y="19"/>
                </a:cubicBezTo>
                <a:cubicBezTo>
                  <a:pt x="143" y="19"/>
                  <a:pt x="143" y="19"/>
                  <a:pt x="143" y="19"/>
                </a:cubicBezTo>
                <a:cubicBezTo>
                  <a:pt x="144" y="19"/>
                  <a:pt x="144" y="19"/>
                  <a:pt x="144" y="19"/>
                </a:cubicBezTo>
                <a:cubicBezTo>
                  <a:pt x="144" y="19"/>
                  <a:pt x="144" y="19"/>
                  <a:pt x="144" y="19"/>
                </a:cubicBezTo>
                <a:cubicBezTo>
                  <a:pt x="145" y="19"/>
                  <a:pt x="145" y="19"/>
                  <a:pt x="145" y="19"/>
                </a:cubicBezTo>
                <a:cubicBezTo>
                  <a:pt x="147" y="21"/>
                  <a:pt x="147" y="21"/>
                  <a:pt x="147" y="21"/>
                </a:cubicBezTo>
                <a:cubicBezTo>
                  <a:pt x="148" y="22"/>
                  <a:pt x="148" y="22"/>
                  <a:pt x="148" y="22"/>
                </a:cubicBezTo>
                <a:cubicBezTo>
                  <a:pt x="149" y="21"/>
                  <a:pt x="149" y="21"/>
                  <a:pt x="149" y="21"/>
                </a:cubicBezTo>
                <a:cubicBezTo>
                  <a:pt x="149" y="20"/>
                  <a:pt x="149" y="20"/>
                  <a:pt x="149" y="20"/>
                </a:cubicBezTo>
                <a:cubicBezTo>
                  <a:pt x="148" y="20"/>
                  <a:pt x="148" y="20"/>
                  <a:pt x="148" y="20"/>
                </a:cubicBezTo>
                <a:cubicBezTo>
                  <a:pt x="149" y="18"/>
                  <a:pt x="149" y="18"/>
                  <a:pt x="149" y="18"/>
                </a:cubicBezTo>
                <a:cubicBezTo>
                  <a:pt x="150" y="18"/>
                  <a:pt x="150" y="18"/>
                  <a:pt x="150" y="18"/>
                </a:cubicBezTo>
                <a:cubicBezTo>
                  <a:pt x="151" y="18"/>
                  <a:pt x="151" y="18"/>
                  <a:pt x="151" y="18"/>
                </a:cubicBezTo>
                <a:cubicBezTo>
                  <a:pt x="152" y="18"/>
                  <a:pt x="152" y="18"/>
                  <a:pt x="152" y="18"/>
                </a:cubicBezTo>
                <a:cubicBezTo>
                  <a:pt x="153" y="17"/>
                  <a:pt x="153" y="17"/>
                  <a:pt x="153" y="17"/>
                </a:cubicBezTo>
                <a:cubicBezTo>
                  <a:pt x="154" y="17"/>
                  <a:pt x="154" y="17"/>
                  <a:pt x="154" y="17"/>
                </a:cubicBezTo>
                <a:cubicBezTo>
                  <a:pt x="155" y="18"/>
                  <a:pt x="155" y="18"/>
                  <a:pt x="155" y="18"/>
                </a:cubicBezTo>
                <a:cubicBezTo>
                  <a:pt x="156" y="18"/>
                  <a:pt x="156" y="18"/>
                  <a:pt x="156" y="18"/>
                </a:cubicBezTo>
                <a:cubicBezTo>
                  <a:pt x="157" y="19"/>
                  <a:pt x="157" y="19"/>
                  <a:pt x="157" y="19"/>
                </a:cubicBezTo>
                <a:cubicBezTo>
                  <a:pt x="157" y="21"/>
                  <a:pt x="157" y="21"/>
                  <a:pt x="157" y="21"/>
                </a:cubicBezTo>
                <a:cubicBezTo>
                  <a:pt x="157" y="21"/>
                  <a:pt x="157" y="21"/>
                  <a:pt x="157" y="21"/>
                </a:cubicBezTo>
                <a:cubicBezTo>
                  <a:pt x="159" y="23"/>
                  <a:pt x="159" y="23"/>
                  <a:pt x="159" y="23"/>
                </a:cubicBezTo>
                <a:cubicBezTo>
                  <a:pt x="159" y="24"/>
                  <a:pt x="159" y="24"/>
                  <a:pt x="159" y="24"/>
                </a:cubicBezTo>
                <a:cubicBezTo>
                  <a:pt x="158" y="25"/>
                  <a:pt x="158" y="25"/>
                  <a:pt x="158" y="25"/>
                </a:cubicBezTo>
                <a:cubicBezTo>
                  <a:pt x="159" y="27"/>
                  <a:pt x="159" y="27"/>
                  <a:pt x="159" y="27"/>
                </a:cubicBezTo>
                <a:cubicBezTo>
                  <a:pt x="159" y="28"/>
                  <a:pt x="159" y="28"/>
                  <a:pt x="159" y="28"/>
                </a:cubicBezTo>
                <a:cubicBezTo>
                  <a:pt x="159" y="29"/>
                  <a:pt x="159" y="29"/>
                  <a:pt x="159" y="29"/>
                </a:cubicBezTo>
                <a:cubicBezTo>
                  <a:pt x="160" y="30"/>
                  <a:pt x="160" y="30"/>
                  <a:pt x="160" y="30"/>
                </a:cubicBezTo>
                <a:cubicBezTo>
                  <a:pt x="162" y="30"/>
                  <a:pt x="162" y="30"/>
                  <a:pt x="162" y="30"/>
                </a:cubicBezTo>
                <a:cubicBezTo>
                  <a:pt x="163" y="31"/>
                  <a:pt x="163" y="31"/>
                  <a:pt x="163" y="31"/>
                </a:cubicBezTo>
                <a:cubicBezTo>
                  <a:pt x="165" y="32"/>
                  <a:pt x="165" y="32"/>
                  <a:pt x="165" y="32"/>
                </a:cubicBezTo>
                <a:cubicBezTo>
                  <a:pt x="164" y="31"/>
                  <a:pt x="164" y="31"/>
                  <a:pt x="164" y="31"/>
                </a:cubicBezTo>
                <a:cubicBezTo>
                  <a:pt x="164" y="31"/>
                  <a:pt x="164" y="31"/>
                  <a:pt x="164" y="31"/>
                </a:cubicBezTo>
                <a:cubicBezTo>
                  <a:pt x="163" y="30"/>
                  <a:pt x="163" y="30"/>
                  <a:pt x="163" y="30"/>
                </a:cubicBezTo>
                <a:cubicBezTo>
                  <a:pt x="162" y="29"/>
                  <a:pt x="162" y="29"/>
                  <a:pt x="162" y="29"/>
                </a:cubicBezTo>
                <a:cubicBezTo>
                  <a:pt x="161" y="29"/>
                  <a:pt x="161" y="29"/>
                  <a:pt x="161" y="29"/>
                </a:cubicBezTo>
                <a:cubicBezTo>
                  <a:pt x="160" y="28"/>
                  <a:pt x="160" y="28"/>
                  <a:pt x="160" y="28"/>
                </a:cubicBezTo>
                <a:cubicBezTo>
                  <a:pt x="160" y="27"/>
                  <a:pt x="160" y="27"/>
                  <a:pt x="160" y="27"/>
                </a:cubicBezTo>
                <a:cubicBezTo>
                  <a:pt x="160" y="26"/>
                  <a:pt x="160" y="26"/>
                  <a:pt x="160" y="26"/>
                </a:cubicBezTo>
                <a:cubicBezTo>
                  <a:pt x="159" y="25"/>
                  <a:pt x="159" y="25"/>
                  <a:pt x="159" y="25"/>
                </a:cubicBezTo>
                <a:cubicBezTo>
                  <a:pt x="159" y="24"/>
                  <a:pt x="159" y="24"/>
                  <a:pt x="159" y="24"/>
                </a:cubicBezTo>
                <a:cubicBezTo>
                  <a:pt x="160" y="22"/>
                  <a:pt x="160" y="22"/>
                  <a:pt x="160" y="22"/>
                </a:cubicBezTo>
                <a:cubicBezTo>
                  <a:pt x="160" y="21"/>
                  <a:pt x="160" y="21"/>
                  <a:pt x="160" y="21"/>
                </a:cubicBezTo>
                <a:cubicBezTo>
                  <a:pt x="160" y="20"/>
                  <a:pt x="160" y="20"/>
                  <a:pt x="160" y="20"/>
                </a:cubicBezTo>
                <a:cubicBezTo>
                  <a:pt x="160" y="19"/>
                  <a:pt x="160" y="19"/>
                  <a:pt x="160" y="19"/>
                </a:cubicBezTo>
                <a:cubicBezTo>
                  <a:pt x="159" y="19"/>
                  <a:pt x="159" y="19"/>
                  <a:pt x="159" y="19"/>
                </a:cubicBezTo>
                <a:cubicBezTo>
                  <a:pt x="158" y="18"/>
                  <a:pt x="158" y="18"/>
                  <a:pt x="158" y="18"/>
                </a:cubicBezTo>
                <a:cubicBezTo>
                  <a:pt x="157" y="16"/>
                  <a:pt x="157" y="16"/>
                  <a:pt x="157" y="16"/>
                </a:cubicBezTo>
                <a:cubicBezTo>
                  <a:pt x="156" y="16"/>
                  <a:pt x="156" y="16"/>
                  <a:pt x="156" y="16"/>
                </a:cubicBezTo>
                <a:cubicBezTo>
                  <a:pt x="155" y="16"/>
                  <a:pt x="155" y="16"/>
                  <a:pt x="155" y="16"/>
                </a:cubicBezTo>
                <a:cubicBezTo>
                  <a:pt x="154" y="17"/>
                  <a:pt x="154" y="17"/>
                  <a:pt x="154" y="17"/>
                </a:cubicBezTo>
                <a:cubicBezTo>
                  <a:pt x="153" y="17"/>
                  <a:pt x="153" y="17"/>
                  <a:pt x="153" y="17"/>
                </a:cubicBezTo>
                <a:cubicBezTo>
                  <a:pt x="152" y="16"/>
                  <a:pt x="152" y="16"/>
                  <a:pt x="152" y="16"/>
                </a:cubicBezTo>
                <a:cubicBezTo>
                  <a:pt x="152" y="14"/>
                  <a:pt x="152" y="14"/>
                  <a:pt x="152" y="14"/>
                </a:cubicBezTo>
                <a:cubicBezTo>
                  <a:pt x="153" y="13"/>
                  <a:pt x="153" y="13"/>
                  <a:pt x="153" y="13"/>
                </a:cubicBezTo>
                <a:cubicBezTo>
                  <a:pt x="154" y="13"/>
                  <a:pt x="154" y="13"/>
                  <a:pt x="154" y="13"/>
                </a:cubicBezTo>
                <a:cubicBezTo>
                  <a:pt x="154" y="12"/>
                  <a:pt x="154" y="12"/>
                  <a:pt x="154" y="12"/>
                </a:cubicBezTo>
                <a:cubicBezTo>
                  <a:pt x="152" y="11"/>
                  <a:pt x="152" y="11"/>
                  <a:pt x="152" y="11"/>
                </a:cubicBezTo>
                <a:cubicBezTo>
                  <a:pt x="152" y="10"/>
                  <a:pt x="152" y="10"/>
                  <a:pt x="152" y="10"/>
                </a:cubicBezTo>
                <a:cubicBezTo>
                  <a:pt x="152" y="9"/>
                  <a:pt x="152" y="9"/>
                  <a:pt x="152" y="9"/>
                </a:cubicBezTo>
                <a:cubicBezTo>
                  <a:pt x="152" y="8"/>
                  <a:pt x="152" y="8"/>
                  <a:pt x="152" y="8"/>
                </a:cubicBezTo>
                <a:cubicBezTo>
                  <a:pt x="153" y="8"/>
                  <a:pt x="153" y="8"/>
                  <a:pt x="153" y="8"/>
                </a:cubicBezTo>
                <a:cubicBezTo>
                  <a:pt x="154" y="9"/>
                  <a:pt x="154" y="9"/>
                  <a:pt x="154" y="9"/>
                </a:cubicBezTo>
                <a:cubicBezTo>
                  <a:pt x="154" y="10"/>
                  <a:pt x="154" y="10"/>
                  <a:pt x="154" y="10"/>
                </a:cubicBezTo>
                <a:cubicBezTo>
                  <a:pt x="155" y="10"/>
                  <a:pt x="155" y="10"/>
                  <a:pt x="155" y="10"/>
                </a:cubicBezTo>
                <a:cubicBezTo>
                  <a:pt x="156" y="8"/>
                  <a:pt x="156" y="8"/>
                  <a:pt x="156" y="8"/>
                </a:cubicBezTo>
                <a:cubicBezTo>
                  <a:pt x="157" y="8"/>
                  <a:pt x="157" y="8"/>
                  <a:pt x="157" y="8"/>
                </a:cubicBezTo>
                <a:cubicBezTo>
                  <a:pt x="158" y="7"/>
                  <a:pt x="158" y="7"/>
                  <a:pt x="158" y="7"/>
                </a:cubicBezTo>
                <a:cubicBezTo>
                  <a:pt x="158" y="6"/>
                  <a:pt x="158" y="6"/>
                  <a:pt x="158" y="6"/>
                </a:cubicBezTo>
                <a:cubicBezTo>
                  <a:pt x="159" y="5"/>
                  <a:pt x="159" y="5"/>
                  <a:pt x="159" y="5"/>
                </a:cubicBezTo>
                <a:cubicBezTo>
                  <a:pt x="161" y="5"/>
                  <a:pt x="161" y="5"/>
                  <a:pt x="161" y="5"/>
                </a:cubicBezTo>
                <a:cubicBezTo>
                  <a:pt x="160" y="6"/>
                  <a:pt x="160" y="6"/>
                  <a:pt x="160" y="6"/>
                </a:cubicBezTo>
                <a:cubicBezTo>
                  <a:pt x="159" y="7"/>
                  <a:pt x="159" y="7"/>
                  <a:pt x="159" y="7"/>
                </a:cubicBezTo>
                <a:cubicBezTo>
                  <a:pt x="160" y="7"/>
                  <a:pt x="160" y="7"/>
                  <a:pt x="160" y="7"/>
                </a:cubicBezTo>
                <a:cubicBezTo>
                  <a:pt x="161" y="7"/>
                  <a:pt x="161" y="7"/>
                  <a:pt x="161" y="7"/>
                </a:cubicBezTo>
                <a:cubicBezTo>
                  <a:pt x="162" y="7"/>
                  <a:pt x="162" y="7"/>
                  <a:pt x="162" y="7"/>
                </a:cubicBezTo>
                <a:cubicBezTo>
                  <a:pt x="162" y="7"/>
                  <a:pt x="162" y="7"/>
                  <a:pt x="162" y="7"/>
                </a:cubicBezTo>
                <a:cubicBezTo>
                  <a:pt x="162" y="8"/>
                  <a:pt x="162" y="8"/>
                  <a:pt x="162" y="8"/>
                </a:cubicBezTo>
                <a:cubicBezTo>
                  <a:pt x="163" y="9"/>
                  <a:pt x="163" y="9"/>
                  <a:pt x="163" y="9"/>
                </a:cubicBezTo>
                <a:cubicBezTo>
                  <a:pt x="163" y="9"/>
                  <a:pt x="163" y="9"/>
                  <a:pt x="163" y="9"/>
                </a:cubicBezTo>
                <a:cubicBezTo>
                  <a:pt x="162" y="10"/>
                  <a:pt x="162" y="10"/>
                  <a:pt x="162" y="10"/>
                </a:cubicBezTo>
                <a:cubicBezTo>
                  <a:pt x="163" y="11"/>
                  <a:pt x="163" y="11"/>
                  <a:pt x="163" y="11"/>
                </a:cubicBezTo>
                <a:cubicBezTo>
                  <a:pt x="163" y="10"/>
                  <a:pt x="163" y="10"/>
                  <a:pt x="163" y="10"/>
                </a:cubicBezTo>
                <a:cubicBezTo>
                  <a:pt x="164" y="9"/>
                  <a:pt x="164" y="9"/>
                  <a:pt x="164" y="9"/>
                </a:cubicBezTo>
                <a:cubicBezTo>
                  <a:pt x="166" y="9"/>
                  <a:pt x="166" y="9"/>
                  <a:pt x="166" y="9"/>
                </a:cubicBezTo>
                <a:cubicBezTo>
                  <a:pt x="166" y="10"/>
                  <a:pt x="166" y="10"/>
                  <a:pt x="166" y="10"/>
                </a:cubicBezTo>
                <a:cubicBezTo>
                  <a:pt x="166" y="11"/>
                  <a:pt x="166" y="11"/>
                  <a:pt x="166" y="11"/>
                </a:cubicBezTo>
                <a:cubicBezTo>
                  <a:pt x="167" y="13"/>
                  <a:pt x="167" y="13"/>
                  <a:pt x="167" y="13"/>
                </a:cubicBezTo>
                <a:cubicBezTo>
                  <a:pt x="168" y="14"/>
                  <a:pt x="168" y="14"/>
                  <a:pt x="168" y="14"/>
                </a:cubicBezTo>
                <a:cubicBezTo>
                  <a:pt x="168" y="16"/>
                  <a:pt x="168" y="16"/>
                  <a:pt x="168" y="16"/>
                </a:cubicBezTo>
                <a:cubicBezTo>
                  <a:pt x="168" y="15"/>
                  <a:pt x="168" y="15"/>
                  <a:pt x="168" y="15"/>
                </a:cubicBezTo>
                <a:cubicBezTo>
                  <a:pt x="169" y="14"/>
                  <a:pt x="169" y="14"/>
                  <a:pt x="169" y="14"/>
                </a:cubicBezTo>
                <a:cubicBezTo>
                  <a:pt x="168" y="13"/>
                  <a:pt x="168" y="13"/>
                  <a:pt x="168" y="13"/>
                </a:cubicBezTo>
                <a:cubicBezTo>
                  <a:pt x="168" y="12"/>
                  <a:pt x="168" y="12"/>
                  <a:pt x="168" y="12"/>
                </a:cubicBezTo>
                <a:cubicBezTo>
                  <a:pt x="168" y="11"/>
                  <a:pt x="168" y="11"/>
                  <a:pt x="168" y="11"/>
                </a:cubicBezTo>
                <a:cubicBezTo>
                  <a:pt x="167" y="10"/>
                  <a:pt x="167" y="10"/>
                  <a:pt x="167" y="10"/>
                </a:cubicBezTo>
                <a:cubicBezTo>
                  <a:pt x="168" y="10"/>
                  <a:pt x="168" y="10"/>
                  <a:pt x="168" y="10"/>
                </a:cubicBezTo>
                <a:cubicBezTo>
                  <a:pt x="168" y="10"/>
                  <a:pt x="168" y="10"/>
                  <a:pt x="168" y="10"/>
                </a:cubicBezTo>
                <a:cubicBezTo>
                  <a:pt x="170" y="12"/>
                  <a:pt x="170" y="12"/>
                  <a:pt x="170" y="12"/>
                </a:cubicBezTo>
                <a:cubicBezTo>
                  <a:pt x="171" y="14"/>
                  <a:pt x="171" y="14"/>
                  <a:pt x="171" y="14"/>
                </a:cubicBezTo>
                <a:cubicBezTo>
                  <a:pt x="173" y="15"/>
                  <a:pt x="173" y="15"/>
                  <a:pt x="173" y="15"/>
                </a:cubicBezTo>
                <a:cubicBezTo>
                  <a:pt x="174" y="15"/>
                  <a:pt x="174" y="15"/>
                  <a:pt x="174" y="15"/>
                </a:cubicBezTo>
                <a:cubicBezTo>
                  <a:pt x="174" y="14"/>
                  <a:pt x="174" y="14"/>
                  <a:pt x="174" y="14"/>
                </a:cubicBezTo>
                <a:cubicBezTo>
                  <a:pt x="174" y="14"/>
                  <a:pt x="174" y="14"/>
                  <a:pt x="174" y="14"/>
                </a:cubicBezTo>
                <a:cubicBezTo>
                  <a:pt x="172" y="13"/>
                  <a:pt x="172" y="13"/>
                  <a:pt x="172" y="13"/>
                </a:cubicBezTo>
                <a:cubicBezTo>
                  <a:pt x="171" y="11"/>
                  <a:pt x="171" y="11"/>
                  <a:pt x="171" y="11"/>
                </a:cubicBezTo>
                <a:cubicBezTo>
                  <a:pt x="171" y="10"/>
                  <a:pt x="171" y="10"/>
                  <a:pt x="171" y="10"/>
                </a:cubicBezTo>
                <a:cubicBezTo>
                  <a:pt x="171" y="8"/>
                  <a:pt x="171" y="8"/>
                  <a:pt x="171" y="8"/>
                </a:cubicBezTo>
                <a:cubicBezTo>
                  <a:pt x="173" y="8"/>
                  <a:pt x="173" y="8"/>
                  <a:pt x="173" y="8"/>
                </a:cubicBezTo>
                <a:cubicBezTo>
                  <a:pt x="174" y="8"/>
                  <a:pt x="174" y="8"/>
                  <a:pt x="174" y="8"/>
                </a:cubicBezTo>
                <a:cubicBezTo>
                  <a:pt x="175" y="9"/>
                  <a:pt x="175" y="9"/>
                  <a:pt x="175" y="9"/>
                </a:cubicBezTo>
                <a:cubicBezTo>
                  <a:pt x="177" y="9"/>
                  <a:pt x="177" y="9"/>
                  <a:pt x="177" y="9"/>
                </a:cubicBezTo>
                <a:cubicBezTo>
                  <a:pt x="177" y="9"/>
                  <a:pt x="177" y="9"/>
                  <a:pt x="177" y="9"/>
                </a:cubicBezTo>
                <a:cubicBezTo>
                  <a:pt x="177" y="8"/>
                  <a:pt x="177" y="8"/>
                  <a:pt x="177" y="8"/>
                </a:cubicBezTo>
                <a:cubicBezTo>
                  <a:pt x="176" y="8"/>
                  <a:pt x="176" y="8"/>
                  <a:pt x="176" y="8"/>
                </a:cubicBezTo>
                <a:cubicBezTo>
                  <a:pt x="176" y="7"/>
                  <a:pt x="176" y="7"/>
                  <a:pt x="176" y="7"/>
                </a:cubicBezTo>
                <a:cubicBezTo>
                  <a:pt x="177" y="6"/>
                  <a:pt x="177" y="6"/>
                  <a:pt x="177" y="6"/>
                </a:cubicBezTo>
                <a:cubicBezTo>
                  <a:pt x="178" y="5"/>
                  <a:pt x="178" y="5"/>
                  <a:pt x="178" y="5"/>
                </a:cubicBezTo>
                <a:cubicBezTo>
                  <a:pt x="177" y="4"/>
                  <a:pt x="177" y="4"/>
                  <a:pt x="177" y="4"/>
                </a:cubicBezTo>
                <a:cubicBezTo>
                  <a:pt x="177" y="3"/>
                  <a:pt x="177" y="3"/>
                  <a:pt x="177" y="3"/>
                </a:cubicBezTo>
                <a:cubicBezTo>
                  <a:pt x="177" y="2"/>
                  <a:pt x="177" y="2"/>
                  <a:pt x="177" y="2"/>
                </a:cubicBezTo>
                <a:cubicBezTo>
                  <a:pt x="178" y="2"/>
                  <a:pt x="178" y="2"/>
                  <a:pt x="178" y="2"/>
                </a:cubicBezTo>
                <a:cubicBezTo>
                  <a:pt x="179" y="2"/>
                  <a:pt x="179" y="2"/>
                  <a:pt x="179" y="2"/>
                </a:cubicBezTo>
                <a:cubicBezTo>
                  <a:pt x="179" y="2"/>
                  <a:pt x="179" y="2"/>
                  <a:pt x="179" y="2"/>
                </a:cubicBezTo>
                <a:cubicBezTo>
                  <a:pt x="180" y="1"/>
                  <a:pt x="180" y="1"/>
                  <a:pt x="180" y="1"/>
                </a:cubicBezTo>
                <a:cubicBezTo>
                  <a:pt x="180" y="0"/>
                  <a:pt x="180" y="0"/>
                  <a:pt x="180" y="0"/>
                </a:cubicBezTo>
                <a:cubicBezTo>
                  <a:pt x="181" y="0"/>
                  <a:pt x="181" y="0"/>
                  <a:pt x="181" y="0"/>
                </a:cubicBezTo>
                <a:cubicBezTo>
                  <a:pt x="181" y="1"/>
                  <a:pt x="181" y="1"/>
                  <a:pt x="181" y="1"/>
                </a:cubicBezTo>
                <a:cubicBezTo>
                  <a:pt x="182" y="1"/>
                  <a:pt x="182" y="1"/>
                  <a:pt x="182" y="1"/>
                </a:cubicBezTo>
                <a:cubicBezTo>
                  <a:pt x="182" y="2"/>
                  <a:pt x="182" y="2"/>
                  <a:pt x="182" y="2"/>
                </a:cubicBezTo>
                <a:cubicBezTo>
                  <a:pt x="183" y="3"/>
                  <a:pt x="183" y="3"/>
                  <a:pt x="183" y="3"/>
                </a:cubicBezTo>
                <a:cubicBezTo>
                  <a:pt x="183" y="4"/>
                  <a:pt x="183" y="4"/>
                  <a:pt x="183" y="4"/>
                </a:cubicBezTo>
                <a:cubicBezTo>
                  <a:pt x="184" y="3"/>
                  <a:pt x="184" y="3"/>
                  <a:pt x="184" y="3"/>
                </a:cubicBezTo>
                <a:cubicBezTo>
                  <a:pt x="184" y="2"/>
                  <a:pt x="184" y="2"/>
                  <a:pt x="184" y="2"/>
                </a:cubicBezTo>
                <a:cubicBezTo>
                  <a:pt x="184" y="1"/>
                  <a:pt x="184" y="1"/>
                  <a:pt x="184" y="1"/>
                </a:cubicBezTo>
                <a:cubicBezTo>
                  <a:pt x="184" y="0"/>
                  <a:pt x="184" y="0"/>
                  <a:pt x="184" y="0"/>
                </a:cubicBezTo>
                <a:cubicBezTo>
                  <a:pt x="184" y="0"/>
                  <a:pt x="184" y="0"/>
                  <a:pt x="184" y="0"/>
                </a:cubicBezTo>
                <a:cubicBezTo>
                  <a:pt x="185" y="0"/>
                  <a:pt x="185" y="0"/>
                  <a:pt x="185" y="0"/>
                </a:cubicBezTo>
                <a:cubicBezTo>
                  <a:pt x="186" y="0"/>
                  <a:pt x="186" y="0"/>
                  <a:pt x="186" y="0"/>
                </a:cubicBezTo>
                <a:cubicBezTo>
                  <a:pt x="188" y="0"/>
                  <a:pt x="188" y="0"/>
                  <a:pt x="188" y="0"/>
                </a:cubicBezTo>
                <a:cubicBezTo>
                  <a:pt x="189" y="0"/>
                  <a:pt x="189" y="0"/>
                  <a:pt x="189" y="0"/>
                </a:cubicBezTo>
                <a:cubicBezTo>
                  <a:pt x="189" y="1"/>
                  <a:pt x="189" y="1"/>
                  <a:pt x="189" y="1"/>
                </a:cubicBezTo>
                <a:cubicBezTo>
                  <a:pt x="190" y="1"/>
                  <a:pt x="190" y="1"/>
                  <a:pt x="190" y="1"/>
                </a:cubicBezTo>
                <a:cubicBezTo>
                  <a:pt x="191" y="0"/>
                  <a:pt x="191" y="0"/>
                  <a:pt x="191" y="0"/>
                </a:cubicBezTo>
                <a:cubicBezTo>
                  <a:pt x="192" y="1"/>
                  <a:pt x="192" y="1"/>
                  <a:pt x="192" y="1"/>
                </a:cubicBezTo>
                <a:cubicBezTo>
                  <a:pt x="194" y="1"/>
                  <a:pt x="194" y="1"/>
                  <a:pt x="194" y="1"/>
                </a:cubicBezTo>
                <a:cubicBezTo>
                  <a:pt x="195" y="1"/>
                  <a:pt x="195" y="1"/>
                  <a:pt x="195" y="1"/>
                </a:cubicBezTo>
                <a:cubicBezTo>
                  <a:pt x="195" y="1"/>
                  <a:pt x="195" y="1"/>
                  <a:pt x="195" y="1"/>
                </a:cubicBezTo>
                <a:cubicBezTo>
                  <a:pt x="196" y="1"/>
                  <a:pt x="196" y="1"/>
                  <a:pt x="196" y="1"/>
                </a:cubicBezTo>
                <a:cubicBezTo>
                  <a:pt x="197" y="1"/>
                  <a:pt x="197" y="1"/>
                  <a:pt x="197" y="1"/>
                </a:cubicBezTo>
                <a:cubicBezTo>
                  <a:pt x="197" y="2"/>
                  <a:pt x="197" y="2"/>
                  <a:pt x="197" y="2"/>
                </a:cubicBezTo>
                <a:cubicBezTo>
                  <a:pt x="199" y="3"/>
                  <a:pt x="199" y="3"/>
                  <a:pt x="199" y="3"/>
                </a:cubicBezTo>
                <a:cubicBezTo>
                  <a:pt x="200" y="3"/>
                  <a:pt x="200" y="3"/>
                  <a:pt x="200" y="3"/>
                </a:cubicBezTo>
                <a:cubicBezTo>
                  <a:pt x="200" y="3"/>
                  <a:pt x="200" y="3"/>
                  <a:pt x="200" y="3"/>
                </a:cubicBezTo>
                <a:cubicBezTo>
                  <a:pt x="200" y="3"/>
                  <a:pt x="200" y="3"/>
                  <a:pt x="200" y="3"/>
                </a:cubicBezTo>
                <a:cubicBezTo>
                  <a:pt x="202" y="4"/>
                  <a:pt x="202" y="4"/>
                  <a:pt x="202" y="4"/>
                </a:cubicBezTo>
                <a:cubicBezTo>
                  <a:pt x="203" y="4"/>
                  <a:pt x="203" y="4"/>
                  <a:pt x="203" y="4"/>
                </a:cubicBezTo>
                <a:cubicBezTo>
                  <a:pt x="204" y="5"/>
                  <a:pt x="204" y="5"/>
                  <a:pt x="204" y="5"/>
                </a:cubicBezTo>
                <a:cubicBezTo>
                  <a:pt x="207" y="5"/>
                  <a:pt x="207" y="5"/>
                  <a:pt x="207" y="5"/>
                </a:cubicBezTo>
                <a:cubicBezTo>
                  <a:pt x="208" y="6"/>
                  <a:pt x="208" y="6"/>
                  <a:pt x="208" y="6"/>
                </a:cubicBezTo>
                <a:cubicBezTo>
                  <a:pt x="209" y="5"/>
                  <a:pt x="209" y="5"/>
                  <a:pt x="209" y="5"/>
                </a:cubicBezTo>
                <a:cubicBezTo>
                  <a:pt x="209" y="6"/>
                  <a:pt x="209" y="6"/>
                  <a:pt x="209" y="6"/>
                </a:cubicBezTo>
                <a:cubicBezTo>
                  <a:pt x="210" y="6"/>
                  <a:pt x="210" y="6"/>
                  <a:pt x="210" y="6"/>
                </a:cubicBezTo>
                <a:cubicBezTo>
                  <a:pt x="211" y="6"/>
                  <a:pt x="211" y="6"/>
                  <a:pt x="211" y="6"/>
                </a:cubicBezTo>
                <a:cubicBezTo>
                  <a:pt x="212" y="6"/>
                  <a:pt x="212" y="6"/>
                  <a:pt x="212" y="6"/>
                </a:cubicBezTo>
                <a:cubicBezTo>
                  <a:pt x="213" y="7"/>
                  <a:pt x="213" y="7"/>
                  <a:pt x="213" y="7"/>
                </a:cubicBezTo>
                <a:cubicBezTo>
                  <a:pt x="215" y="8"/>
                  <a:pt x="215" y="8"/>
                  <a:pt x="215" y="8"/>
                </a:cubicBezTo>
                <a:cubicBezTo>
                  <a:pt x="216" y="9"/>
                  <a:pt x="216" y="9"/>
                  <a:pt x="216" y="9"/>
                </a:cubicBezTo>
                <a:cubicBezTo>
                  <a:pt x="217" y="10"/>
                  <a:pt x="217" y="10"/>
                  <a:pt x="217" y="10"/>
                </a:cubicBezTo>
                <a:cubicBezTo>
                  <a:pt x="218" y="10"/>
                  <a:pt x="218" y="10"/>
                  <a:pt x="218" y="10"/>
                </a:cubicBezTo>
                <a:cubicBezTo>
                  <a:pt x="220" y="11"/>
                  <a:pt x="220" y="11"/>
                  <a:pt x="220" y="11"/>
                </a:cubicBezTo>
                <a:cubicBezTo>
                  <a:pt x="219" y="12"/>
                  <a:pt x="219" y="12"/>
                  <a:pt x="219" y="12"/>
                </a:cubicBezTo>
                <a:cubicBezTo>
                  <a:pt x="219" y="13"/>
                  <a:pt x="219" y="13"/>
                  <a:pt x="219" y="13"/>
                </a:cubicBezTo>
                <a:cubicBezTo>
                  <a:pt x="218" y="13"/>
                  <a:pt x="218" y="13"/>
                  <a:pt x="218" y="13"/>
                </a:cubicBezTo>
                <a:cubicBezTo>
                  <a:pt x="217" y="13"/>
                  <a:pt x="217" y="13"/>
                  <a:pt x="217" y="13"/>
                </a:cubicBezTo>
                <a:cubicBezTo>
                  <a:pt x="216" y="13"/>
                  <a:pt x="216" y="13"/>
                  <a:pt x="216" y="13"/>
                </a:cubicBezTo>
                <a:cubicBezTo>
                  <a:pt x="215" y="14"/>
                  <a:pt x="215" y="14"/>
                  <a:pt x="215" y="14"/>
                </a:cubicBezTo>
                <a:cubicBezTo>
                  <a:pt x="214" y="14"/>
                  <a:pt x="214" y="14"/>
                  <a:pt x="214" y="14"/>
                </a:cubicBezTo>
                <a:cubicBezTo>
                  <a:pt x="214" y="14"/>
                  <a:pt x="214" y="14"/>
                  <a:pt x="214" y="14"/>
                </a:cubicBezTo>
                <a:cubicBezTo>
                  <a:pt x="213" y="14"/>
                  <a:pt x="213" y="14"/>
                  <a:pt x="213" y="14"/>
                </a:cubicBezTo>
                <a:cubicBezTo>
                  <a:pt x="211" y="14"/>
                  <a:pt x="211" y="14"/>
                  <a:pt x="211" y="14"/>
                </a:cubicBezTo>
                <a:cubicBezTo>
                  <a:pt x="209" y="13"/>
                  <a:pt x="209" y="13"/>
                  <a:pt x="209" y="13"/>
                </a:cubicBezTo>
                <a:cubicBezTo>
                  <a:pt x="208" y="13"/>
                  <a:pt x="208" y="13"/>
                  <a:pt x="208" y="13"/>
                </a:cubicBezTo>
                <a:cubicBezTo>
                  <a:pt x="207" y="13"/>
                  <a:pt x="207" y="13"/>
                  <a:pt x="207" y="13"/>
                </a:cubicBezTo>
                <a:cubicBezTo>
                  <a:pt x="206" y="12"/>
                  <a:pt x="206" y="12"/>
                  <a:pt x="206" y="12"/>
                </a:cubicBezTo>
                <a:cubicBezTo>
                  <a:pt x="204" y="12"/>
                  <a:pt x="204" y="12"/>
                  <a:pt x="204" y="12"/>
                </a:cubicBezTo>
                <a:cubicBezTo>
                  <a:pt x="204" y="13"/>
                  <a:pt x="204" y="13"/>
                  <a:pt x="204" y="13"/>
                </a:cubicBezTo>
                <a:cubicBezTo>
                  <a:pt x="203" y="13"/>
                  <a:pt x="203" y="13"/>
                  <a:pt x="203" y="13"/>
                </a:cubicBezTo>
                <a:cubicBezTo>
                  <a:pt x="203" y="12"/>
                  <a:pt x="203" y="12"/>
                  <a:pt x="203" y="12"/>
                </a:cubicBezTo>
                <a:cubicBezTo>
                  <a:pt x="201" y="12"/>
                  <a:pt x="201" y="12"/>
                  <a:pt x="201" y="12"/>
                </a:cubicBezTo>
                <a:cubicBezTo>
                  <a:pt x="199" y="13"/>
                  <a:pt x="199" y="13"/>
                  <a:pt x="199" y="13"/>
                </a:cubicBezTo>
                <a:cubicBezTo>
                  <a:pt x="199" y="14"/>
                  <a:pt x="199" y="14"/>
                  <a:pt x="199" y="14"/>
                </a:cubicBezTo>
                <a:cubicBezTo>
                  <a:pt x="198" y="13"/>
                  <a:pt x="198" y="13"/>
                  <a:pt x="198" y="13"/>
                </a:cubicBezTo>
                <a:cubicBezTo>
                  <a:pt x="197" y="13"/>
                  <a:pt x="197" y="13"/>
                  <a:pt x="197" y="13"/>
                </a:cubicBezTo>
                <a:cubicBezTo>
                  <a:pt x="195" y="14"/>
                  <a:pt x="195" y="14"/>
                  <a:pt x="195" y="14"/>
                </a:cubicBezTo>
                <a:cubicBezTo>
                  <a:pt x="193" y="14"/>
                  <a:pt x="193" y="14"/>
                  <a:pt x="193" y="14"/>
                </a:cubicBezTo>
                <a:cubicBezTo>
                  <a:pt x="193" y="13"/>
                  <a:pt x="193" y="13"/>
                  <a:pt x="193" y="13"/>
                </a:cubicBezTo>
                <a:cubicBezTo>
                  <a:pt x="193" y="12"/>
                  <a:pt x="193" y="12"/>
                  <a:pt x="193" y="12"/>
                </a:cubicBezTo>
                <a:cubicBezTo>
                  <a:pt x="193" y="11"/>
                  <a:pt x="193" y="11"/>
                  <a:pt x="193" y="11"/>
                </a:cubicBezTo>
                <a:cubicBezTo>
                  <a:pt x="194" y="11"/>
                  <a:pt x="194" y="11"/>
                  <a:pt x="194" y="11"/>
                </a:cubicBezTo>
                <a:cubicBezTo>
                  <a:pt x="194" y="11"/>
                  <a:pt x="194" y="11"/>
                  <a:pt x="194" y="11"/>
                </a:cubicBezTo>
                <a:cubicBezTo>
                  <a:pt x="194" y="10"/>
                  <a:pt x="194" y="10"/>
                  <a:pt x="194" y="10"/>
                </a:cubicBezTo>
                <a:cubicBezTo>
                  <a:pt x="193" y="10"/>
                  <a:pt x="193" y="10"/>
                  <a:pt x="193" y="10"/>
                </a:cubicBezTo>
                <a:cubicBezTo>
                  <a:pt x="192" y="10"/>
                  <a:pt x="192" y="10"/>
                  <a:pt x="192" y="10"/>
                </a:cubicBezTo>
                <a:cubicBezTo>
                  <a:pt x="191" y="11"/>
                  <a:pt x="191" y="11"/>
                  <a:pt x="191" y="11"/>
                </a:cubicBezTo>
                <a:cubicBezTo>
                  <a:pt x="191" y="12"/>
                  <a:pt x="191" y="12"/>
                  <a:pt x="191" y="12"/>
                </a:cubicBezTo>
                <a:cubicBezTo>
                  <a:pt x="192" y="13"/>
                  <a:pt x="192" y="13"/>
                  <a:pt x="192" y="13"/>
                </a:cubicBezTo>
                <a:cubicBezTo>
                  <a:pt x="192" y="13"/>
                  <a:pt x="192" y="13"/>
                  <a:pt x="192" y="13"/>
                </a:cubicBezTo>
                <a:cubicBezTo>
                  <a:pt x="192" y="14"/>
                  <a:pt x="192" y="14"/>
                  <a:pt x="192" y="14"/>
                </a:cubicBezTo>
                <a:cubicBezTo>
                  <a:pt x="191" y="15"/>
                  <a:pt x="191" y="15"/>
                  <a:pt x="191" y="15"/>
                </a:cubicBezTo>
                <a:cubicBezTo>
                  <a:pt x="191" y="15"/>
                  <a:pt x="191" y="15"/>
                  <a:pt x="191" y="15"/>
                </a:cubicBezTo>
                <a:cubicBezTo>
                  <a:pt x="190" y="15"/>
                  <a:pt x="190" y="15"/>
                  <a:pt x="190" y="15"/>
                </a:cubicBezTo>
                <a:cubicBezTo>
                  <a:pt x="188" y="15"/>
                  <a:pt x="188" y="15"/>
                  <a:pt x="188" y="15"/>
                </a:cubicBezTo>
                <a:cubicBezTo>
                  <a:pt x="188" y="15"/>
                  <a:pt x="188" y="15"/>
                  <a:pt x="188" y="15"/>
                </a:cubicBezTo>
                <a:cubicBezTo>
                  <a:pt x="187" y="15"/>
                  <a:pt x="187" y="15"/>
                  <a:pt x="187" y="15"/>
                </a:cubicBezTo>
                <a:cubicBezTo>
                  <a:pt x="185" y="15"/>
                  <a:pt x="185" y="15"/>
                  <a:pt x="185" y="15"/>
                </a:cubicBezTo>
                <a:cubicBezTo>
                  <a:pt x="184" y="15"/>
                  <a:pt x="184" y="15"/>
                  <a:pt x="184" y="15"/>
                </a:cubicBezTo>
                <a:cubicBezTo>
                  <a:pt x="182" y="15"/>
                  <a:pt x="182" y="15"/>
                  <a:pt x="182" y="15"/>
                </a:cubicBezTo>
                <a:cubicBezTo>
                  <a:pt x="180" y="17"/>
                  <a:pt x="180" y="17"/>
                  <a:pt x="180" y="17"/>
                </a:cubicBezTo>
                <a:cubicBezTo>
                  <a:pt x="180" y="18"/>
                  <a:pt x="180" y="18"/>
                  <a:pt x="180" y="18"/>
                </a:cubicBezTo>
                <a:cubicBezTo>
                  <a:pt x="180" y="19"/>
                  <a:pt x="180" y="19"/>
                  <a:pt x="180" y="19"/>
                </a:cubicBezTo>
                <a:cubicBezTo>
                  <a:pt x="179" y="20"/>
                  <a:pt x="179" y="20"/>
                  <a:pt x="179" y="20"/>
                </a:cubicBezTo>
                <a:cubicBezTo>
                  <a:pt x="179" y="21"/>
                  <a:pt x="179" y="21"/>
                  <a:pt x="179" y="21"/>
                </a:cubicBezTo>
                <a:cubicBezTo>
                  <a:pt x="179" y="22"/>
                  <a:pt x="179" y="22"/>
                  <a:pt x="179" y="22"/>
                </a:cubicBezTo>
                <a:cubicBezTo>
                  <a:pt x="180" y="21"/>
                  <a:pt x="180" y="21"/>
                  <a:pt x="180" y="21"/>
                </a:cubicBezTo>
                <a:cubicBezTo>
                  <a:pt x="180" y="20"/>
                  <a:pt x="180" y="20"/>
                  <a:pt x="180" y="20"/>
                </a:cubicBezTo>
                <a:cubicBezTo>
                  <a:pt x="181" y="19"/>
                  <a:pt x="181" y="19"/>
                  <a:pt x="181" y="19"/>
                </a:cubicBezTo>
                <a:cubicBezTo>
                  <a:pt x="181" y="19"/>
                  <a:pt x="181" y="19"/>
                  <a:pt x="181" y="19"/>
                </a:cubicBezTo>
                <a:cubicBezTo>
                  <a:pt x="181" y="18"/>
                  <a:pt x="181" y="18"/>
                  <a:pt x="181" y="18"/>
                </a:cubicBezTo>
                <a:cubicBezTo>
                  <a:pt x="183" y="18"/>
                  <a:pt x="183" y="18"/>
                  <a:pt x="183" y="18"/>
                </a:cubicBezTo>
                <a:cubicBezTo>
                  <a:pt x="183" y="18"/>
                  <a:pt x="183" y="18"/>
                  <a:pt x="183" y="18"/>
                </a:cubicBezTo>
                <a:cubicBezTo>
                  <a:pt x="184" y="19"/>
                  <a:pt x="184" y="19"/>
                  <a:pt x="184" y="19"/>
                </a:cubicBezTo>
                <a:cubicBezTo>
                  <a:pt x="183" y="19"/>
                  <a:pt x="183" y="19"/>
                  <a:pt x="183" y="19"/>
                </a:cubicBezTo>
                <a:cubicBezTo>
                  <a:pt x="183" y="20"/>
                  <a:pt x="183" y="20"/>
                  <a:pt x="183" y="20"/>
                </a:cubicBezTo>
                <a:cubicBezTo>
                  <a:pt x="183" y="21"/>
                  <a:pt x="183" y="21"/>
                  <a:pt x="183" y="21"/>
                </a:cubicBezTo>
                <a:cubicBezTo>
                  <a:pt x="183" y="21"/>
                  <a:pt x="183" y="21"/>
                  <a:pt x="183" y="21"/>
                </a:cubicBezTo>
                <a:cubicBezTo>
                  <a:pt x="184" y="20"/>
                  <a:pt x="184" y="20"/>
                  <a:pt x="184" y="20"/>
                </a:cubicBezTo>
                <a:cubicBezTo>
                  <a:pt x="184" y="18"/>
                  <a:pt x="184" y="18"/>
                  <a:pt x="184" y="18"/>
                </a:cubicBezTo>
                <a:cubicBezTo>
                  <a:pt x="184" y="18"/>
                  <a:pt x="185" y="17"/>
                  <a:pt x="185" y="17"/>
                </a:cubicBezTo>
                <a:cubicBezTo>
                  <a:pt x="185" y="17"/>
                  <a:pt x="187" y="16"/>
                  <a:pt x="187" y="16"/>
                </a:cubicBezTo>
                <a:cubicBezTo>
                  <a:pt x="187" y="16"/>
                  <a:pt x="187" y="16"/>
                  <a:pt x="187" y="16"/>
                </a:cubicBezTo>
                <a:cubicBezTo>
                  <a:pt x="189" y="16"/>
                  <a:pt x="189" y="16"/>
                  <a:pt x="189" y="16"/>
                </a:cubicBezTo>
                <a:cubicBezTo>
                  <a:pt x="190" y="16"/>
                  <a:pt x="190" y="16"/>
                  <a:pt x="190" y="16"/>
                </a:cubicBezTo>
                <a:cubicBezTo>
                  <a:pt x="191" y="16"/>
                  <a:pt x="191" y="16"/>
                  <a:pt x="191" y="16"/>
                </a:cubicBezTo>
                <a:cubicBezTo>
                  <a:pt x="191" y="16"/>
                  <a:pt x="191" y="16"/>
                  <a:pt x="191" y="16"/>
                </a:cubicBezTo>
                <a:cubicBezTo>
                  <a:pt x="192" y="17"/>
                  <a:pt x="192" y="17"/>
                  <a:pt x="192" y="17"/>
                </a:cubicBezTo>
                <a:cubicBezTo>
                  <a:pt x="192" y="18"/>
                  <a:pt x="192" y="18"/>
                  <a:pt x="192" y="18"/>
                </a:cubicBezTo>
                <a:cubicBezTo>
                  <a:pt x="193" y="19"/>
                  <a:pt x="193" y="19"/>
                  <a:pt x="193" y="19"/>
                </a:cubicBezTo>
                <a:cubicBezTo>
                  <a:pt x="193" y="19"/>
                  <a:pt x="193" y="19"/>
                  <a:pt x="193" y="19"/>
                </a:cubicBezTo>
                <a:cubicBezTo>
                  <a:pt x="194" y="18"/>
                  <a:pt x="194" y="18"/>
                  <a:pt x="194" y="18"/>
                </a:cubicBezTo>
                <a:cubicBezTo>
                  <a:pt x="193" y="17"/>
                  <a:pt x="193" y="17"/>
                  <a:pt x="193" y="17"/>
                </a:cubicBezTo>
                <a:cubicBezTo>
                  <a:pt x="193" y="16"/>
                  <a:pt x="193" y="16"/>
                  <a:pt x="193" y="16"/>
                </a:cubicBezTo>
                <a:cubicBezTo>
                  <a:pt x="195" y="16"/>
                  <a:pt x="195" y="16"/>
                  <a:pt x="195" y="16"/>
                </a:cubicBezTo>
                <a:cubicBezTo>
                  <a:pt x="196" y="16"/>
                  <a:pt x="196" y="16"/>
                  <a:pt x="196" y="16"/>
                </a:cubicBezTo>
                <a:cubicBezTo>
                  <a:pt x="197" y="16"/>
                  <a:pt x="197" y="16"/>
                  <a:pt x="197" y="16"/>
                </a:cubicBezTo>
                <a:cubicBezTo>
                  <a:pt x="199" y="16"/>
                  <a:pt x="199" y="16"/>
                  <a:pt x="199" y="16"/>
                </a:cubicBezTo>
                <a:cubicBezTo>
                  <a:pt x="201" y="15"/>
                  <a:pt x="201" y="15"/>
                  <a:pt x="201" y="15"/>
                </a:cubicBezTo>
                <a:cubicBezTo>
                  <a:pt x="202" y="15"/>
                  <a:pt x="202" y="15"/>
                  <a:pt x="202" y="15"/>
                </a:cubicBezTo>
                <a:cubicBezTo>
                  <a:pt x="204" y="15"/>
                  <a:pt x="204" y="15"/>
                  <a:pt x="204" y="15"/>
                </a:cubicBezTo>
                <a:cubicBezTo>
                  <a:pt x="206" y="15"/>
                  <a:pt x="206" y="15"/>
                  <a:pt x="206" y="15"/>
                </a:cubicBezTo>
                <a:cubicBezTo>
                  <a:pt x="207" y="16"/>
                  <a:pt x="207" y="16"/>
                  <a:pt x="207" y="16"/>
                </a:cubicBezTo>
                <a:cubicBezTo>
                  <a:pt x="208" y="16"/>
                  <a:pt x="208" y="16"/>
                  <a:pt x="208" y="16"/>
                </a:cubicBezTo>
                <a:cubicBezTo>
                  <a:pt x="209" y="16"/>
                  <a:pt x="209" y="16"/>
                  <a:pt x="209" y="16"/>
                </a:cubicBezTo>
                <a:cubicBezTo>
                  <a:pt x="210" y="17"/>
                  <a:pt x="210" y="17"/>
                  <a:pt x="210" y="17"/>
                </a:cubicBezTo>
                <a:cubicBezTo>
                  <a:pt x="211" y="17"/>
                  <a:pt x="211" y="17"/>
                  <a:pt x="211" y="17"/>
                </a:cubicBezTo>
                <a:cubicBezTo>
                  <a:pt x="212" y="18"/>
                  <a:pt x="212" y="18"/>
                  <a:pt x="212" y="18"/>
                </a:cubicBezTo>
                <a:cubicBezTo>
                  <a:pt x="213" y="17"/>
                  <a:pt x="213" y="17"/>
                  <a:pt x="213" y="17"/>
                </a:cubicBezTo>
                <a:cubicBezTo>
                  <a:pt x="213" y="17"/>
                  <a:pt x="213" y="17"/>
                  <a:pt x="213" y="17"/>
                </a:cubicBezTo>
                <a:cubicBezTo>
                  <a:pt x="214" y="17"/>
                  <a:pt x="214" y="17"/>
                  <a:pt x="214" y="17"/>
                </a:cubicBezTo>
                <a:cubicBezTo>
                  <a:pt x="214" y="18"/>
                  <a:pt x="214" y="18"/>
                  <a:pt x="214" y="18"/>
                </a:cubicBezTo>
                <a:cubicBezTo>
                  <a:pt x="215" y="18"/>
                  <a:pt x="215" y="18"/>
                  <a:pt x="215" y="18"/>
                </a:cubicBezTo>
                <a:cubicBezTo>
                  <a:pt x="216" y="17"/>
                  <a:pt x="216" y="17"/>
                  <a:pt x="216" y="17"/>
                </a:cubicBezTo>
                <a:cubicBezTo>
                  <a:pt x="217" y="17"/>
                  <a:pt x="217" y="17"/>
                  <a:pt x="217" y="17"/>
                </a:cubicBezTo>
                <a:cubicBezTo>
                  <a:pt x="218" y="17"/>
                  <a:pt x="218" y="17"/>
                  <a:pt x="218" y="17"/>
                </a:cubicBezTo>
                <a:cubicBezTo>
                  <a:pt x="220" y="16"/>
                  <a:pt x="220" y="16"/>
                  <a:pt x="220" y="16"/>
                </a:cubicBezTo>
                <a:cubicBezTo>
                  <a:pt x="221" y="15"/>
                  <a:pt x="221" y="15"/>
                  <a:pt x="221" y="15"/>
                </a:cubicBezTo>
                <a:cubicBezTo>
                  <a:pt x="221" y="15"/>
                  <a:pt x="221" y="15"/>
                  <a:pt x="221" y="15"/>
                </a:cubicBezTo>
                <a:cubicBezTo>
                  <a:pt x="222" y="15"/>
                  <a:pt x="222" y="15"/>
                  <a:pt x="222" y="15"/>
                </a:cubicBezTo>
                <a:cubicBezTo>
                  <a:pt x="223" y="16"/>
                  <a:pt x="223" y="16"/>
                  <a:pt x="223" y="16"/>
                </a:cubicBezTo>
                <a:cubicBezTo>
                  <a:pt x="224" y="17"/>
                  <a:pt x="224" y="17"/>
                  <a:pt x="224" y="17"/>
                </a:cubicBezTo>
                <a:cubicBezTo>
                  <a:pt x="224" y="18"/>
                  <a:pt x="224" y="18"/>
                  <a:pt x="224" y="18"/>
                </a:cubicBezTo>
                <a:cubicBezTo>
                  <a:pt x="223" y="18"/>
                  <a:pt x="223" y="18"/>
                  <a:pt x="223" y="18"/>
                </a:cubicBezTo>
                <a:cubicBezTo>
                  <a:pt x="223" y="19"/>
                  <a:pt x="223" y="19"/>
                  <a:pt x="223" y="19"/>
                </a:cubicBezTo>
                <a:cubicBezTo>
                  <a:pt x="224" y="19"/>
                  <a:pt x="224" y="19"/>
                  <a:pt x="224" y="19"/>
                </a:cubicBezTo>
                <a:cubicBezTo>
                  <a:pt x="224" y="20"/>
                  <a:pt x="224" y="20"/>
                  <a:pt x="224" y="20"/>
                </a:cubicBezTo>
                <a:cubicBezTo>
                  <a:pt x="224" y="20"/>
                  <a:pt x="224" y="20"/>
                  <a:pt x="224" y="20"/>
                </a:cubicBezTo>
                <a:cubicBezTo>
                  <a:pt x="222" y="22"/>
                  <a:pt x="222" y="22"/>
                  <a:pt x="222" y="22"/>
                </a:cubicBezTo>
                <a:cubicBezTo>
                  <a:pt x="220" y="22"/>
                  <a:pt x="220" y="22"/>
                  <a:pt x="220" y="22"/>
                </a:cubicBezTo>
                <a:cubicBezTo>
                  <a:pt x="219" y="22"/>
                  <a:pt x="219" y="22"/>
                  <a:pt x="219" y="22"/>
                </a:cubicBezTo>
                <a:cubicBezTo>
                  <a:pt x="218" y="22"/>
                  <a:pt x="218" y="22"/>
                  <a:pt x="218" y="22"/>
                </a:cubicBezTo>
                <a:cubicBezTo>
                  <a:pt x="218" y="21"/>
                  <a:pt x="218" y="21"/>
                  <a:pt x="218" y="21"/>
                </a:cubicBezTo>
                <a:cubicBezTo>
                  <a:pt x="217" y="21"/>
                  <a:pt x="217" y="21"/>
                  <a:pt x="217" y="21"/>
                </a:cubicBezTo>
                <a:cubicBezTo>
                  <a:pt x="217" y="22"/>
                  <a:pt x="217" y="22"/>
                  <a:pt x="217" y="22"/>
                </a:cubicBezTo>
                <a:cubicBezTo>
                  <a:pt x="218" y="23"/>
                  <a:pt x="218" y="23"/>
                  <a:pt x="218" y="23"/>
                </a:cubicBezTo>
                <a:cubicBezTo>
                  <a:pt x="219" y="23"/>
                  <a:pt x="219" y="23"/>
                  <a:pt x="219" y="23"/>
                </a:cubicBezTo>
                <a:cubicBezTo>
                  <a:pt x="218" y="24"/>
                  <a:pt x="218" y="24"/>
                  <a:pt x="218" y="24"/>
                </a:cubicBezTo>
                <a:cubicBezTo>
                  <a:pt x="217" y="23"/>
                  <a:pt x="217" y="23"/>
                  <a:pt x="217" y="23"/>
                </a:cubicBezTo>
                <a:cubicBezTo>
                  <a:pt x="217" y="23"/>
                  <a:pt x="217" y="23"/>
                  <a:pt x="217" y="23"/>
                </a:cubicBezTo>
                <a:cubicBezTo>
                  <a:pt x="216" y="23"/>
                  <a:pt x="216" y="23"/>
                  <a:pt x="216" y="23"/>
                </a:cubicBezTo>
                <a:cubicBezTo>
                  <a:pt x="216" y="23"/>
                  <a:pt x="216" y="23"/>
                  <a:pt x="216" y="23"/>
                </a:cubicBezTo>
                <a:cubicBezTo>
                  <a:pt x="216" y="24"/>
                  <a:pt x="216" y="24"/>
                  <a:pt x="216" y="24"/>
                </a:cubicBezTo>
                <a:cubicBezTo>
                  <a:pt x="217" y="24"/>
                  <a:pt x="217" y="24"/>
                  <a:pt x="217" y="24"/>
                </a:cubicBezTo>
                <a:cubicBezTo>
                  <a:pt x="218" y="25"/>
                  <a:pt x="218" y="25"/>
                  <a:pt x="218" y="25"/>
                </a:cubicBezTo>
                <a:cubicBezTo>
                  <a:pt x="220" y="25"/>
                  <a:pt x="220" y="25"/>
                  <a:pt x="220" y="25"/>
                </a:cubicBezTo>
                <a:cubicBezTo>
                  <a:pt x="221" y="25"/>
                  <a:pt x="221" y="25"/>
                  <a:pt x="221" y="25"/>
                </a:cubicBezTo>
                <a:cubicBezTo>
                  <a:pt x="223" y="24"/>
                  <a:pt x="223" y="24"/>
                  <a:pt x="223" y="24"/>
                </a:cubicBezTo>
                <a:cubicBezTo>
                  <a:pt x="223" y="24"/>
                  <a:pt x="223" y="24"/>
                  <a:pt x="223" y="24"/>
                </a:cubicBezTo>
                <a:cubicBezTo>
                  <a:pt x="224" y="25"/>
                  <a:pt x="224" y="25"/>
                  <a:pt x="224" y="25"/>
                </a:cubicBezTo>
                <a:cubicBezTo>
                  <a:pt x="224" y="24"/>
                  <a:pt x="224" y="24"/>
                  <a:pt x="224" y="24"/>
                </a:cubicBezTo>
                <a:cubicBezTo>
                  <a:pt x="224" y="23"/>
                  <a:pt x="224" y="23"/>
                  <a:pt x="224" y="23"/>
                </a:cubicBezTo>
                <a:cubicBezTo>
                  <a:pt x="225" y="23"/>
                  <a:pt x="225" y="23"/>
                  <a:pt x="225" y="23"/>
                </a:cubicBezTo>
                <a:cubicBezTo>
                  <a:pt x="227" y="23"/>
                  <a:pt x="227" y="23"/>
                  <a:pt x="227" y="23"/>
                </a:cubicBezTo>
                <a:cubicBezTo>
                  <a:pt x="228" y="24"/>
                  <a:pt x="228" y="24"/>
                  <a:pt x="228" y="24"/>
                </a:cubicBezTo>
                <a:cubicBezTo>
                  <a:pt x="228" y="24"/>
                  <a:pt x="228" y="24"/>
                  <a:pt x="228" y="24"/>
                </a:cubicBezTo>
                <a:cubicBezTo>
                  <a:pt x="229" y="25"/>
                  <a:pt x="229" y="25"/>
                  <a:pt x="229" y="25"/>
                </a:cubicBezTo>
                <a:cubicBezTo>
                  <a:pt x="229" y="25"/>
                  <a:pt x="229" y="25"/>
                  <a:pt x="229" y="25"/>
                </a:cubicBezTo>
                <a:cubicBezTo>
                  <a:pt x="230" y="24"/>
                  <a:pt x="230" y="24"/>
                  <a:pt x="230" y="24"/>
                </a:cubicBezTo>
                <a:cubicBezTo>
                  <a:pt x="230" y="24"/>
                  <a:pt x="230" y="24"/>
                  <a:pt x="230" y="24"/>
                </a:cubicBezTo>
                <a:cubicBezTo>
                  <a:pt x="231" y="25"/>
                  <a:pt x="231" y="25"/>
                  <a:pt x="231" y="25"/>
                </a:cubicBezTo>
                <a:cubicBezTo>
                  <a:pt x="231" y="26"/>
                  <a:pt x="231" y="26"/>
                  <a:pt x="231" y="26"/>
                </a:cubicBezTo>
                <a:cubicBezTo>
                  <a:pt x="233" y="26"/>
                  <a:pt x="233" y="26"/>
                  <a:pt x="233" y="26"/>
                </a:cubicBezTo>
                <a:cubicBezTo>
                  <a:pt x="234" y="27"/>
                  <a:pt x="234" y="27"/>
                  <a:pt x="234" y="27"/>
                </a:cubicBezTo>
                <a:cubicBezTo>
                  <a:pt x="234" y="28"/>
                  <a:pt x="234" y="28"/>
                  <a:pt x="234" y="28"/>
                </a:cubicBezTo>
                <a:cubicBezTo>
                  <a:pt x="235" y="29"/>
                  <a:pt x="235" y="29"/>
                  <a:pt x="235" y="29"/>
                </a:cubicBezTo>
                <a:cubicBezTo>
                  <a:pt x="237" y="29"/>
                  <a:pt x="237" y="29"/>
                  <a:pt x="237" y="29"/>
                </a:cubicBezTo>
                <a:cubicBezTo>
                  <a:pt x="238" y="30"/>
                  <a:pt x="238" y="30"/>
                  <a:pt x="238" y="30"/>
                </a:cubicBezTo>
                <a:cubicBezTo>
                  <a:pt x="238" y="31"/>
                  <a:pt x="238" y="31"/>
                  <a:pt x="238" y="31"/>
                </a:cubicBezTo>
                <a:cubicBezTo>
                  <a:pt x="238" y="32"/>
                  <a:pt x="238" y="32"/>
                  <a:pt x="238" y="32"/>
                </a:cubicBezTo>
                <a:cubicBezTo>
                  <a:pt x="237" y="32"/>
                  <a:pt x="237" y="32"/>
                  <a:pt x="237" y="32"/>
                </a:cubicBezTo>
                <a:cubicBezTo>
                  <a:pt x="237" y="33"/>
                  <a:pt x="237" y="33"/>
                  <a:pt x="237" y="33"/>
                </a:cubicBezTo>
                <a:cubicBezTo>
                  <a:pt x="237" y="34"/>
                  <a:pt x="237" y="34"/>
                  <a:pt x="237" y="34"/>
                </a:cubicBezTo>
                <a:cubicBezTo>
                  <a:pt x="237" y="34"/>
                  <a:pt x="237" y="34"/>
                  <a:pt x="237" y="34"/>
                </a:cubicBezTo>
                <a:cubicBezTo>
                  <a:pt x="235" y="35"/>
                  <a:pt x="235" y="35"/>
                  <a:pt x="235" y="35"/>
                </a:cubicBezTo>
                <a:cubicBezTo>
                  <a:pt x="235" y="35"/>
                  <a:pt x="235" y="35"/>
                  <a:pt x="235" y="35"/>
                </a:cubicBezTo>
                <a:cubicBezTo>
                  <a:pt x="234" y="35"/>
                  <a:pt x="234" y="35"/>
                  <a:pt x="234" y="35"/>
                </a:cubicBezTo>
                <a:cubicBezTo>
                  <a:pt x="234" y="35"/>
                  <a:pt x="234" y="35"/>
                  <a:pt x="234" y="35"/>
                </a:cubicBezTo>
                <a:cubicBezTo>
                  <a:pt x="234" y="36"/>
                  <a:pt x="234" y="36"/>
                  <a:pt x="234" y="36"/>
                </a:cubicBezTo>
                <a:cubicBezTo>
                  <a:pt x="233" y="36"/>
                  <a:pt x="233" y="36"/>
                  <a:pt x="233" y="36"/>
                </a:cubicBezTo>
                <a:cubicBezTo>
                  <a:pt x="232" y="37"/>
                  <a:pt x="232" y="37"/>
                  <a:pt x="232" y="37"/>
                </a:cubicBezTo>
                <a:cubicBezTo>
                  <a:pt x="230" y="38"/>
                  <a:pt x="230" y="38"/>
                  <a:pt x="230" y="38"/>
                </a:cubicBezTo>
                <a:cubicBezTo>
                  <a:pt x="228" y="38"/>
                  <a:pt x="228" y="38"/>
                  <a:pt x="228" y="38"/>
                </a:cubicBezTo>
                <a:cubicBezTo>
                  <a:pt x="228" y="38"/>
                  <a:pt x="228" y="38"/>
                  <a:pt x="228" y="38"/>
                </a:cubicBezTo>
                <a:cubicBezTo>
                  <a:pt x="227" y="38"/>
                  <a:pt x="227" y="38"/>
                  <a:pt x="227" y="38"/>
                </a:cubicBezTo>
                <a:cubicBezTo>
                  <a:pt x="226" y="38"/>
                  <a:pt x="226" y="38"/>
                  <a:pt x="226" y="38"/>
                </a:cubicBezTo>
                <a:cubicBezTo>
                  <a:pt x="226" y="37"/>
                  <a:pt x="226" y="37"/>
                  <a:pt x="226" y="37"/>
                </a:cubicBezTo>
                <a:cubicBezTo>
                  <a:pt x="225" y="37"/>
                  <a:pt x="225" y="37"/>
                  <a:pt x="225" y="37"/>
                </a:cubicBezTo>
                <a:cubicBezTo>
                  <a:pt x="225" y="38"/>
                  <a:pt x="225" y="38"/>
                  <a:pt x="225" y="38"/>
                </a:cubicBezTo>
                <a:cubicBezTo>
                  <a:pt x="226" y="38"/>
                  <a:pt x="226" y="38"/>
                  <a:pt x="226" y="38"/>
                </a:cubicBezTo>
                <a:cubicBezTo>
                  <a:pt x="226" y="39"/>
                  <a:pt x="226" y="39"/>
                  <a:pt x="226" y="39"/>
                </a:cubicBezTo>
                <a:cubicBezTo>
                  <a:pt x="225" y="39"/>
                  <a:pt x="225" y="39"/>
                  <a:pt x="225" y="39"/>
                </a:cubicBezTo>
                <a:cubicBezTo>
                  <a:pt x="224" y="38"/>
                  <a:pt x="224" y="38"/>
                  <a:pt x="224" y="38"/>
                </a:cubicBezTo>
                <a:cubicBezTo>
                  <a:pt x="223" y="39"/>
                  <a:pt x="223" y="39"/>
                  <a:pt x="223" y="39"/>
                </a:cubicBezTo>
                <a:cubicBezTo>
                  <a:pt x="222" y="39"/>
                  <a:pt x="222" y="39"/>
                  <a:pt x="222" y="39"/>
                </a:cubicBezTo>
                <a:cubicBezTo>
                  <a:pt x="221" y="38"/>
                  <a:pt x="221" y="38"/>
                  <a:pt x="221" y="38"/>
                </a:cubicBezTo>
                <a:cubicBezTo>
                  <a:pt x="220" y="38"/>
                  <a:pt x="220" y="38"/>
                  <a:pt x="220" y="38"/>
                </a:cubicBezTo>
                <a:cubicBezTo>
                  <a:pt x="219" y="39"/>
                  <a:pt x="219" y="39"/>
                  <a:pt x="219" y="39"/>
                </a:cubicBezTo>
                <a:cubicBezTo>
                  <a:pt x="218" y="40"/>
                  <a:pt x="218" y="40"/>
                  <a:pt x="218" y="40"/>
                </a:cubicBezTo>
                <a:cubicBezTo>
                  <a:pt x="217" y="40"/>
                  <a:pt x="217" y="40"/>
                  <a:pt x="217" y="40"/>
                </a:cubicBezTo>
                <a:cubicBezTo>
                  <a:pt x="216" y="39"/>
                  <a:pt x="216" y="39"/>
                  <a:pt x="216" y="39"/>
                </a:cubicBezTo>
                <a:cubicBezTo>
                  <a:pt x="215" y="39"/>
                  <a:pt x="215" y="39"/>
                  <a:pt x="215" y="39"/>
                </a:cubicBezTo>
                <a:cubicBezTo>
                  <a:pt x="214" y="39"/>
                  <a:pt x="214" y="39"/>
                  <a:pt x="214" y="39"/>
                </a:cubicBezTo>
                <a:cubicBezTo>
                  <a:pt x="214" y="39"/>
                  <a:pt x="214" y="39"/>
                  <a:pt x="214" y="39"/>
                </a:cubicBezTo>
                <a:cubicBezTo>
                  <a:pt x="213" y="39"/>
                  <a:pt x="213" y="39"/>
                  <a:pt x="213" y="39"/>
                </a:cubicBezTo>
                <a:cubicBezTo>
                  <a:pt x="212" y="40"/>
                  <a:pt x="212" y="40"/>
                  <a:pt x="212" y="40"/>
                </a:cubicBezTo>
                <a:cubicBezTo>
                  <a:pt x="211" y="39"/>
                  <a:pt x="211" y="39"/>
                  <a:pt x="211" y="39"/>
                </a:cubicBezTo>
                <a:cubicBezTo>
                  <a:pt x="209" y="38"/>
                  <a:pt x="209" y="38"/>
                  <a:pt x="209" y="38"/>
                </a:cubicBezTo>
                <a:cubicBezTo>
                  <a:pt x="209" y="38"/>
                  <a:pt x="209" y="38"/>
                  <a:pt x="209" y="38"/>
                </a:cubicBezTo>
                <a:cubicBezTo>
                  <a:pt x="209" y="38"/>
                  <a:pt x="209" y="38"/>
                  <a:pt x="209" y="38"/>
                </a:cubicBezTo>
                <a:cubicBezTo>
                  <a:pt x="207" y="38"/>
                  <a:pt x="207" y="38"/>
                  <a:pt x="207" y="38"/>
                </a:cubicBezTo>
                <a:cubicBezTo>
                  <a:pt x="206" y="37"/>
                  <a:pt x="206" y="37"/>
                  <a:pt x="206" y="37"/>
                </a:cubicBezTo>
                <a:cubicBezTo>
                  <a:pt x="205" y="37"/>
                  <a:pt x="205" y="37"/>
                  <a:pt x="205" y="37"/>
                </a:cubicBezTo>
                <a:cubicBezTo>
                  <a:pt x="204" y="38"/>
                  <a:pt x="204" y="38"/>
                  <a:pt x="204" y="38"/>
                </a:cubicBezTo>
                <a:cubicBezTo>
                  <a:pt x="203" y="37"/>
                  <a:pt x="203" y="37"/>
                  <a:pt x="203" y="37"/>
                </a:cubicBezTo>
                <a:cubicBezTo>
                  <a:pt x="202" y="37"/>
                  <a:pt x="202" y="37"/>
                  <a:pt x="202" y="37"/>
                </a:cubicBezTo>
                <a:cubicBezTo>
                  <a:pt x="201" y="37"/>
                  <a:pt x="201" y="37"/>
                  <a:pt x="201" y="37"/>
                </a:cubicBezTo>
                <a:cubicBezTo>
                  <a:pt x="200" y="38"/>
                  <a:pt x="200" y="38"/>
                  <a:pt x="200" y="38"/>
                </a:cubicBezTo>
                <a:cubicBezTo>
                  <a:pt x="199" y="38"/>
                  <a:pt x="199" y="38"/>
                  <a:pt x="199" y="38"/>
                </a:cubicBezTo>
                <a:cubicBezTo>
                  <a:pt x="198" y="38"/>
                  <a:pt x="198" y="38"/>
                  <a:pt x="198" y="38"/>
                </a:cubicBezTo>
                <a:cubicBezTo>
                  <a:pt x="197" y="39"/>
                  <a:pt x="197" y="39"/>
                  <a:pt x="197" y="39"/>
                </a:cubicBezTo>
                <a:cubicBezTo>
                  <a:pt x="197" y="39"/>
                  <a:pt x="197" y="39"/>
                  <a:pt x="197" y="39"/>
                </a:cubicBezTo>
                <a:cubicBezTo>
                  <a:pt x="196" y="39"/>
                  <a:pt x="196" y="39"/>
                  <a:pt x="196" y="39"/>
                </a:cubicBezTo>
                <a:cubicBezTo>
                  <a:pt x="196" y="38"/>
                  <a:pt x="196" y="38"/>
                  <a:pt x="196" y="38"/>
                </a:cubicBezTo>
                <a:cubicBezTo>
                  <a:pt x="195" y="38"/>
                  <a:pt x="195" y="38"/>
                  <a:pt x="195" y="38"/>
                </a:cubicBezTo>
                <a:cubicBezTo>
                  <a:pt x="194" y="38"/>
                  <a:pt x="194" y="38"/>
                  <a:pt x="194" y="38"/>
                </a:cubicBezTo>
                <a:cubicBezTo>
                  <a:pt x="194" y="37"/>
                  <a:pt x="194" y="37"/>
                  <a:pt x="194" y="37"/>
                </a:cubicBezTo>
                <a:cubicBezTo>
                  <a:pt x="193" y="37"/>
                  <a:pt x="193" y="37"/>
                  <a:pt x="193" y="37"/>
                </a:cubicBezTo>
                <a:cubicBezTo>
                  <a:pt x="193" y="38"/>
                  <a:pt x="193" y="38"/>
                  <a:pt x="193" y="38"/>
                </a:cubicBezTo>
                <a:cubicBezTo>
                  <a:pt x="193" y="38"/>
                  <a:pt x="193" y="38"/>
                  <a:pt x="193" y="38"/>
                </a:cubicBezTo>
                <a:cubicBezTo>
                  <a:pt x="195" y="38"/>
                  <a:pt x="195" y="38"/>
                  <a:pt x="195" y="38"/>
                </a:cubicBezTo>
                <a:cubicBezTo>
                  <a:pt x="195" y="38"/>
                  <a:pt x="195" y="38"/>
                  <a:pt x="195" y="38"/>
                </a:cubicBezTo>
                <a:cubicBezTo>
                  <a:pt x="196" y="39"/>
                  <a:pt x="196" y="39"/>
                  <a:pt x="196" y="39"/>
                </a:cubicBezTo>
                <a:cubicBezTo>
                  <a:pt x="195" y="40"/>
                  <a:pt x="195" y="40"/>
                  <a:pt x="195" y="40"/>
                </a:cubicBezTo>
                <a:cubicBezTo>
                  <a:pt x="194" y="40"/>
                  <a:pt x="194" y="40"/>
                  <a:pt x="194" y="40"/>
                </a:cubicBezTo>
                <a:cubicBezTo>
                  <a:pt x="194" y="40"/>
                  <a:pt x="194" y="40"/>
                  <a:pt x="194" y="40"/>
                </a:cubicBezTo>
                <a:cubicBezTo>
                  <a:pt x="193" y="40"/>
                  <a:pt x="193" y="40"/>
                  <a:pt x="193" y="40"/>
                </a:cubicBezTo>
                <a:cubicBezTo>
                  <a:pt x="192" y="41"/>
                  <a:pt x="192" y="41"/>
                  <a:pt x="192" y="41"/>
                </a:cubicBezTo>
                <a:cubicBezTo>
                  <a:pt x="191" y="41"/>
                  <a:pt x="191" y="41"/>
                  <a:pt x="191" y="41"/>
                </a:cubicBezTo>
                <a:cubicBezTo>
                  <a:pt x="189" y="42"/>
                  <a:pt x="189" y="42"/>
                  <a:pt x="189" y="42"/>
                </a:cubicBezTo>
                <a:cubicBezTo>
                  <a:pt x="188" y="42"/>
                  <a:pt x="188" y="42"/>
                  <a:pt x="188" y="42"/>
                </a:cubicBezTo>
                <a:cubicBezTo>
                  <a:pt x="188" y="43"/>
                  <a:pt x="188" y="43"/>
                  <a:pt x="188" y="43"/>
                </a:cubicBezTo>
                <a:cubicBezTo>
                  <a:pt x="187" y="43"/>
                  <a:pt x="187" y="43"/>
                  <a:pt x="187" y="43"/>
                </a:cubicBezTo>
                <a:cubicBezTo>
                  <a:pt x="186" y="43"/>
                  <a:pt x="186" y="43"/>
                  <a:pt x="186" y="43"/>
                </a:cubicBezTo>
                <a:cubicBezTo>
                  <a:pt x="184" y="44"/>
                  <a:pt x="184" y="44"/>
                  <a:pt x="184" y="44"/>
                </a:cubicBezTo>
                <a:cubicBezTo>
                  <a:pt x="184" y="44"/>
                  <a:pt x="184" y="44"/>
                  <a:pt x="184" y="44"/>
                </a:cubicBezTo>
                <a:cubicBezTo>
                  <a:pt x="183" y="44"/>
                  <a:pt x="183" y="44"/>
                  <a:pt x="183" y="44"/>
                </a:cubicBezTo>
                <a:cubicBezTo>
                  <a:pt x="183" y="45"/>
                  <a:pt x="183" y="45"/>
                  <a:pt x="183" y="45"/>
                </a:cubicBezTo>
                <a:cubicBezTo>
                  <a:pt x="184" y="46"/>
                  <a:pt x="184" y="46"/>
                  <a:pt x="184" y="46"/>
                </a:cubicBezTo>
                <a:cubicBezTo>
                  <a:pt x="184" y="47"/>
                  <a:pt x="184" y="47"/>
                  <a:pt x="184" y="47"/>
                </a:cubicBezTo>
                <a:cubicBezTo>
                  <a:pt x="184" y="48"/>
                  <a:pt x="184" y="48"/>
                  <a:pt x="184" y="48"/>
                </a:cubicBezTo>
                <a:cubicBezTo>
                  <a:pt x="184" y="49"/>
                  <a:pt x="184" y="49"/>
                  <a:pt x="184" y="49"/>
                </a:cubicBezTo>
                <a:cubicBezTo>
                  <a:pt x="185" y="48"/>
                  <a:pt x="185" y="48"/>
                  <a:pt x="185" y="48"/>
                </a:cubicBezTo>
                <a:cubicBezTo>
                  <a:pt x="185" y="48"/>
                  <a:pt x="185" y="48"/>
                  <a:pt x="185" y="48"/>
                </a:cubicBezTo>
                <a:cubicBezTo>
                  <a:pt x="186" y="47"/>
                  <a:pt x="186" y="47"/>
                  <a:pt x="186" y="47"/>
                </a:cubicBezTo>
                <a:cubicBezTo>
                  <a:pt x="186" y="46"/>
                  <a:pt x="186" y="46"/>
                  <a:pt x="186" y="46"/>
                </a:cubicBezTo>
                <a:cubicBezTo>
                  <a:pt x="187" y="46"/>
                  <a:pt x="187" y="46"/>
                  <a:pt x="187" y="46"/>
                </a:cubicBezTo>
                <a:cubicBezTo>
                  <a:pt x="188" y="45"/>
                  <a:pt x="188" y="45"/>
                  <a:pt x="188" y="45"/>
                </a:cubicBezTo>
                <a:cubicBezTo>
                  <a:pt x="189" y="45"/>
                  <a:pt x="189" y="45"/>
                  <a:pt x="189" y="45"/>
                </a:cubicBezTo>
                <a:cubicBezTo>
                  <a:pt x="190" y="45"/>
                  <a:pt x="190" y="45"/>
                  <a:pt x="190" y="45"/>
                </a:cubicBezTo>
                <a:cubicBezTo>
                  <a:pt x="191" y="45"/>
                  <a:pt x="191" y="45"/>
                  <a:pt x="191" y="45"/>
                </a:cubicBezTo>
                <a:cubicBezTo>
                  <a:pt x="192" y="44"/>
                  <a:pt x="192" y="44"/>
                  <a:pt x="192" y="44"/>
                </a:cubicBezTo>
                <a:cubicBezTo>
                  <a:pt x="193" y="44"/>
                  <a:pt x="193" y="44"/>
                  <a:pt x="193" y="44"/>
                </a:cubicBezTo>
                <a:cubicBezTo>
                  <a:pt x="196" y="43"/>
                  <a:pt x="196" y="43"/>
                  <a:pt x="196" y="43"/>
                </a:cubicBezTo>
                <a:cubicBezTo>
                  <a:pt x="197" y="43"/>
                  <a:pt x="197" y="43"/>
                  <a:pt x="197" y="43"/>
                </a:cubicBezTo>
                <a:cubicBezTo>
                  <a:pt x="197" y="43"/>
                  <a:pt x="197" y="43"/>
                  <a:pt x="197" y="43"/>
                </a:cubicBezTo>
                <a:cubicBezTo>
                  <a:pt x="196" y="44"/>
                  <a:pt x="196" y="44"/>
                  <a:pt x="196" y="44"/>
                </a:cubicBezTo>
                <a:cubicBezTo>
                  <a:pt x="197" y="44"/>
                  <a:pt x="197" y="44"/>
                  <a:pt x="197" y="44"/>
                </a:cubicBezTo>
                <a:cubicBezTo>
                  <a:pt x="198" y="43"/>
                  <a:pt x="198" y="43"/>
                  <a:pt x="198" y="43"/>
                </a:cubicBezTo>
                <a:cubicBezTo>
                  <a:pt x="198" y="42"/>
                  <a:pt x="198" y="42"/>
                  <a:pt x="198" y="42"/>
                </a:cubicBezTo>
                <a:cubicBezTo>
                  <a:pt x="198" y="41"/>
                  <a:pt x="198" y="41"/>
                  <a:pt x="198" y="41"/>
                </a:cubicBezTo>
                <a:cubicBezTo>
                  <a:pt x="199" y="41"/>
                  <a:pt x="199" y="41"/>
                  <a:pt x="199" y="41"/>
                </a:cubicBezTo>
                <a:cubicBezTo>
                  <a:pt x="200" y="41"/>
                  <a:pt x="200" y="41"/>
                  <a:pt x="200" y="41"/>
                </a:cubicBezTo>
                <a:cubicBezTo>
                  <a:pt x="201" y="41"/>
                  <a:pt x="201" y="41"/>
                  <a:pt x="201" y="41"/>
                </a:cubicBezTo>
                <a:cubicBezTo>
                  <a:pt x="202" y="41"/>
                  <a:pt x="202" y="41"/>
                  <a:pt x="202" y="41"/>
                </a:cubicBezTo>
                <a:cubicBezTo>
                  <a:pt x="204" y="41"/>
                  <a:pt x="204" y="41"/>
                  <a:pt x="204" y="41"/>
                </a:cubicBezTo>
                <a:cubicBezTo>
                  <a:pt x="205" y="42"/>
                  <a:pt x="205" y="42"/>
                  <a:pt x="205" y="42"/>
                </a:cubicBezTo>
                <a:cubicBezTo>
                  <a:pt x="206" y="42"/>
                  <a:pt x="206" y="42"/>
                  <a:pt x="206" y="42"/>
                </a:cubicBezTo>
                <a:cubicBezTo>
                  <a:pt x="209" y="42"/>
                  <a:pt x="209" y="42"/>
                  <a:pt x="209" y="42"/>
                </a:cubicBezTo>
                <a:cubicBezTo>
                  <a:pt x="210" y="42"/>
                  <a:pt x="210" y="42"/>
                  <a:pt x="210" y="42"/>
                </a:cubicBezTo>
                <a:cubicBezTo>
                  <a:pt x="211" y="42"/>
                  <a:pt x="211" y="42"/>
                  <a:pt x="211" y="42"/>
                </a:cubicBezTo>
                <a:cubicBezTo>
                  <a:pt x="213" y="43"/>
                  <a:pt x="213" y="43"/>
                  <a:pt x="213" y="43"/>
                </a:cubicBezTo>
                <a:cubicBezTo>
                  <a:pt x="216" y="43"/>
                  <a:pt x="216" y="43"/>
                  <a:pt x="216" y="43"/>
                </a:cubicBezTo>
                <a:cubicBezTo>
                  <a:pt x="217" y="43"/>
                  <a:pt x="217" y="43"/>
                  <a:pt x="217" y="43"/>
                </a:cubicBezTo>
                <a:cubicBezTo>
                  <a:pt x="217" y="44"/>
                  <a:pt x="217" y="44"/>
                  <a:pt x="217" y="44"/>
                </a:cubicBezTo>
                <a:cubicBezTo>
                  <a:pt x="217" y="44"/>
                  <a:pt x="217" y="44"/>
                  <a:pt x="217" y="44"/>
                </a:cubicBezTo>
                <a:cubicBezTo>
                  <a:pt x="217" y="45"/>
                  <a:pt x="217" y="45"/>
                  <a:pt x="217" y="45"/>
                </a:cubicBezTo>
                <a:cubicBezTo>
                  <a:pt x="216" y="45"/>
                  <a:pt x="216" y="45"/>
                  <a:pt x="216" y="45"/>
                </a:cubicBezTo>
                <a:cubicBezTo>
                  <a:pt x="216" y="46"/>
                  <a:pt x="216" y="46"/>
                  <a:pt x="216" y="46"/>
                </a:cubicBezTo>
                <a:cubicBezTo>
                  <a:pt x="215" y="47"/>
                  <a:pt x="215" y="47"/>
                  <a:pt x="215" y="47"/>
                </a:cubicBezTo>
                <a:cubicBezTo>
                  <a:pt x="215" y="48"/>
                  <a:pt x="215" y="48"/>
                  <a:pt x="215" y="48"/>
                </a:cubicBezTo>
                <a:cubicBezTo>
                  <a:pt x="212" y="48"/>
                  <a:pt x="212" y="48"/>
                  <a:pt x="212" y="48"/>
                </a:cubicBezTo>
                <a:cubicBezTo>
                  <a:pt x="210" y="49"/>
                  <a:pt x="210" y="49"/>
                  <a:pt x="210" y="49"/>
                </a:cubicBezTo>
                <a:cubicBezTo>
                  <a:pt x="210" y="49"/>
                  <a:pt x="210" y="49"/>
                  <a:pt x="210" y="49"/>
                </a:cubicBezTo>
                <a:cubicBezTo>
                  <a:pt x="209" y="49"/>
                  <a:pt x="209" y="49"/>
                  <a:pt x="209" y="49"/>
                </a:cubicBezTo>
                <a:cubicBezTo>
                  <a:pt x="209" y="49"/>
                  <a:pt x="209" y="49"/>
                  <a:pt x="209" y="49"/>
                </a:cubicBezTo>
                <a:cubicBezTo>
                  <a:pt x="209" y="50"/>
                  <a:pt x="209" y="50"/>
                  <a:pt x="209" y="50"/>
                </a:cubicBezTo>
                <a:cubicBezTo>
                  <a:pt x="209" y="50"/>
                  <a:pt x="209" y="50"/>
                  <a:pt x="209" y="50"/>
                </a:cubicBezTo>
                <a:cubicBezTo>
                  <a:pt x="208" y="51"/>
                  <a:pt x="208" y="51"/>
                  <a:pt x="208" y="51"/>
                </a:cubicBezTo>
                <a:cubicBezTo>
                  <a:pt x="209" y="52"/>
                  <a:pt x="209" y="52"/>
                  <a:pt x="209" y="52"/>
                </a:cubicBezTo>
                <a:cubicBezTo>
                  <a:pt x="209" y="52"/>
                  <a:pt x="209" y="52"/>
                  <a:pt x="209" y="52"/>
                </a:cubicBezTo>
                <a:cubicBezTo>
                  <a:pt x="210" y="52"/>
                  <a:pt x="210" y="52"/>
                  <a:pt x="210" y="52"/>
                </a:cubicBezTo>
                <a:cubicBezTo>
                  <a:pt x="212" y="51"/>
                  <a:pt x="212" y="51"/>
                  <a:pt x="212" y="51"/>
                </a:cubicBezTo>
                <a:cubicBezTo>
                  <a:pt x="213" y="51"/>
                  <a:pt x="213" y="51"/>
                  <a:pt x="213" y="51"/>
                </a:cubicBezTo>
                <a:cubicBezTo>
                  <a:pt x="213" y="51"/>
                  <a:pt x="215" y="51"/>
                  <a:pt x="215" y="51"/>
                </a:cubicBezTo>
                <a:cubicBezTo>
                  <a:pt x="216" y="51"/>
                  <a:pt x="218" y="51"/>
                  <a:pt x="218" y="51"/>
                </a:cubicBezTo>
                <a:cubicBezTo>
                  <a:pt x="218" y="51"/>
                  <a:pt x="218" y="51"/>
                  <a:pt x="218" y="51"/>
                </a:cubicBezTo>
                <a:cubicBezTo>
                  <a:pt x="219" y="52"/>
                  <a:pt x="219" y="52"/>
                  <a:pt x="219" y="52"/>
                </a:cubicBezTo>
                <a:cubicBezTo>
                  <a:pt x="220" y="52"/>
                  <a:pt x="220" y="52"/>
                  <a:pt x="220" y="52"/>
                </a:cubicBezTo>
                <a:cubicBezTo>
                  <a:pt x="220" y="51"/>
                  <a:pt x="220" y="51"/>
                  <a:pt x="220" y="51"/>
                </a:cubicBezTo>
                <a:cubicBezTo>
                  <a:pt x="221" y="51"/>
                  <a:pt x="221" y="51"/>
                  <a:pt x="221" y="51"/>
                </a:cubicBezTo>
                <a:cubicBezTo>
                  <a:pt x="221" y="51"/>
                  <a:pt x="221" y="51"/>
                  <a:pt x="221" y="51"/>
                </a:cubicBezTo>
                <a:cubicBezTo>
                  <a:pt x="222" y="52"/>
                  <a:pt x="222" y="52"/>
                  <a:pt x="222" y="52"/>
                </a:cubicBezTo>
                <a:cubicBezTo>
                  <a:pt x="223" y="50"/>
                  <a:pt x="223" y="50"/>
                  <a:pt x="223" y="50"/>
                </a:cubicBezTo>
                <a:cubicBezTo>
                  <a:pt x="223" y="48"/>
                  <a:pt x="223" y="48"/>
                  <a:pt x="223" y="48"/>
                </a:cubicBezTo>
                <a:cubicBezTo>
                  <a:pt x="223" y="47"/>
                  <a:pt x="223" y="47"/>
                  <a:pt x="223" y="47"/>
                </a:cubicBezTo>
                <a:cubicBezTo>
                  <a:pt x="224" y="46"/>
                  <a:pt x="224" y="46"/>
                  <a:pt x="224" y="46"/>
                </a:cubicBezTo>
                <a:cubicBezTo>
                  <a:pt x="224" y="46"/>
                  <a:pt x="224" y="46"/>
                  <a:pt x="224" y="46"/>
                </a:cubicBezTo>
                <a:cubicBezTo>
                  <a:pt x="224" y="45"/>
                  <a:pt x="224" y="45"/>
                  <a:pt x="224" y="45"/>
                </a:cubicBezTo>
                <a:cubicBezTo>
                  <a:pt x="225" y="44"/>
                  <a:pt x="225" y="44"/>
                  <a:pt x="225" y="44"/>
                </a:cubicBezTo>
                <a:cubicBezTo>
                  <a:pt x="226" y="44"/>
                  <a:pt x="226" y="44"/>
                  <a:pt x="226" y="44"/>
                </a:cubicBezTo>
                <a:cubicBezTo>
                  <a:pt x="227" y="45"/>
                  <a:pt x="227" y="45"/>
                  <a:pt x="227" y="45"/>
                </a:cubicBezTo>
                <a:cubicBezTo>
                  <a:pt x="229" y="44"/>
                  <a:pt x="229" y="44"/>
                  <a:pt x="229" y="44"/>
                </a:cubicBezTo>
                <a:cubicBezTo>
                  <a:pt x="230" y="44"/>
                  <a:pt x="230" y="44"/>
                  <a:pt x="230" y="44"/>
                </a:cubicBezTo>
                <a:cubicBezTo>
                  <a:pt x="231" y="44"/>
                  <a:pt x="231" y="44"/>
                  <a:pt x="231" y="44"/>
                </a:cubicBezTo>
                <a:cubicBezTo>
                  <a:pt x="231" y="46"/>
                  <a:pt x="231" y="46"/>
                  <a:pt x="231" y="46"/>
                </a:cubicBezTo>
                <a:cubicBezTo>
                  <a:pt x="231" y="48"/>
                  <a:pt x="231" y="48"/>
                  <a:pt x="231" y="48"/>
                </a:cubicBezTo>
                <a:cubicBezTo>
                  <a:pt x="231" y="49"/>
                  <a:pt x="231" y="49"/>
                  <a:pt x="231" y="49"/>
                </a:cubicBezTo>
                <a:cubicBezTo>
                  <a:pt x="230" y="51"/>
                  <a:pt x="230" y="51"/>
                  <a:pt x="230" y="51"/>
                </a:cubicBezTo>
                <a:cubicBezTo>
                  <a:pt x="229" y="52"/>
                  <a:pt x="229" y="52"/>
                  <a:pt x="229" y="52"/>
                </a:cubicBezTo>
                <a:cubicBezTo>
                  <a:pt x="229" y="54"/>
                  <a:pt x="229" y="54"/>
                  <a:pt x="229" y="54"/>
                </a:cubicBezTo>
                <a:cubicBezTo>
                  <a:pt x="229" y="55"/>
                  <a:pt x="229" y="55"/>
                  <a:pt x="229" y="55"/>
                </a:cubicBezTo>
                <a:cubicBezTo>
                  <a:pt x="225" y="58"/>
                  <a:pt x="225" y="58"/>
                  <a:pt x="225" y="58"/>
                </a:cubicBezTo>
                <a:cubicBezTo>
                  <a:pt x="224" y="58"/>
                  <a:pt x="224" y="58"/>
                  <a:pt x="224" y="58"/>
                </a:cubicBezTo>
                <a:cubicBezTo>
                  <a:pt x="224" y="58"/>
                  <a:pt x="224" y="58"/>
                  <a:pt x="224" y="58"/>
                </a:cubicBezTo>
                <a:cubicBezTo>
                  <a:pt x="223" y="58"/>
                  <a:pt x="223" y="58"/>
                  <a:pt x="223" y="58"/>
                </a:cubicBezTo>
                <a:cubicBezTo>
                  <a:pt x="222" y="59"/>
                  <a:pt x="222" y="59"/>
                  <a:pt x="222" y="59"/>
                </a:cubicBezTo>
                <a:cubicBezTo>
                  <a:pt x="222" y="59"/>
                  <a:pt x="222" y="59"/>
                  <a:pt x="222" y="59"/>
                </a:cubicBezTo>
                <a:cubicBezTo>
                  <a:pt x="221" y="59"/>
                  <a:pt x="221" y="59"/>
                  <a:pt x="221" y="59"/>
                </a:cubicBezTo>
                <a:cubicBezTo>
                  <a:pt x="220" y="60"/>
                  <a:pt x="220" y="60"/>
                  <a:pt x="220" y="60"/>
                </a:cubicBezTo>
                <a:cubicBezTo>
                  <a:pt x="220" y="61"/>
                  <a:pt x="220" y="61"/>
                  <a:pt x="220" y="61"/>
                </a:cubicBezTo>
                <a:cubicBezTo>
                  <a:pt x="219" y="62"/>
                  <a:pt x="219" y="62"/>
                  <a:pt x="219" y="62"/>
                </a:cubicBezTo>
                <a:cubicBezTo>
                  <a:pt x="218" y="63"/>
                  <a:pt x="218" y="63"/>
                  <a:pt x="218" y="63"/>
                </a:cubicBezTo>
                <a:cubicBezTo>
                  <a:pt x="218" y="63"/>
                  <a:pt x="218" y="63"/>
                  <a:pt x="218" y="63"/>
                </a:cubicBezTo>
                <a:cubicBezTo>
                  <a:pt x="217" y="62"/>
                  <a:pt x="217" y="62"/>
                  <a:pt x="217" y="62"/>
                </a:cubicBezTo>
                <a:cubicBezTo>
                  <a:pt x="217" y="63"/>
                  <a:pt x="217" y="63"/>
                  <a:pt x="217" y="63"/>
                </a:cubicBezTo>
                <a:cubicBezTo>
                  <a:pt x="217" y="63"/>
                  <a:pt x="217" y="63"/>
                  <a:pt x="217" y="63"/>
                </a:cubicBezTo>
                <a:cubicBezTo>
                  <a:pt x="217" y="64"/>
                  <a:pt x="217" y="64"/>
                  <a:pt x="217" y="64"/>
                </a:cubicBezTo>
                <a:cubicBezTo>
                  <a:pt x="216" y="66"/>
                  <a:pt x="216" y="66"/>
                  <a:pt x="216" y="66"/>
                </a:cubicBezTo>
                <a:cubicBezTo>
                  <a:pt x="215" y="67"/>
                  <a:pt x="215" y="67"/>
                  <a:pt x="215" y="67"/>
                </a:cubicBezTo>
                <a:cubicBezTo>
                  <a:pt x="214" y="67"/>
                  <a:pt x="214" y="67"/>
                  <a:pt x="214" y="67"/>
                </a:cubicBezTo>
                <a:cubicBezTo>
                  <a:pt x="213" y="69"/>
                  <a:pt x="213" y="69"/>
                  <a:pt x="213" y="69"/>
                </a:cubicBezTo>
                <a:cubicBezTo>
                  <a:pt x="211" y="70"/>
                  <a:pt x="211" y="70"/>
                  <a:pt x="211" y="70"/>
                </a:cubicBezTo>
                <a:cubicBezTo>
                  <a:pt x="210" y="70"/>
                  <a:pt x="210" y="70"/>
                  <a:pt x="210" y="70"/>
                </a:cubicBezTo>
                <a:cubicBezTo>
                  <a:pt x="209" y="71"/>
                  <a:pt x="209" y="71"/>
                  <a:pt x="209" y="71"/>
                </a:cubicBezTo>
                <a:cubicBezTo>
                  <a:pt x="209" y="72"/>
                  <a:pt x="209" y="72"/>
                  <a:pt x="209" y="72"/>
                </a:cubicBezTo>
                <a:cubicBezTo>
                  <a:pt x="208" y="72"/>
                  <a:pt x="208" y="72"/>
                  <a:pt x="208" y="72"/>
                </a:cubicBezTo>
                <a:cubicBezTo>
                  <a:pt x="208" y="73"/>
                  <a:pt x="208" y="73"/>
                  <a:pt x="208" y="73"/>
                </a:cubicBezTo>
                <a:cubicBezTo>
                  <a:pt x="208" y="74"/>
                  <a:pt x="208" y="74"/>
                  <a:pt x="208" y="74"/>
                </a:cubicBezTo>
                <a:cubicBezTo>
                  <a:pt x="207" y="75"/>
                  <a:pt x="207" y="75"/>
                  <a:pt x="207" y="75"/>
                </a:cubicBezTo>
                <a:cubicBezTo>
                  <a:pt x="207" y="76"/>
                  <a:pt x="207" y="76"/>
                  <a:pt x="207" y="76"/>
                </a:cubicBezTo>
                <a:cubicBezTo>
                  <a:pt x="208" y="75"/>
                  <a:pt x="208" y="75"/>
                  <a:pt x="208" y="75"/>
                </a:cubicBezTo>
                <a:cubicBezTo>
                  <a:pt x="208" y="75"/>
                  <a:pt x="208" y="75"/>
                  <a:pt x="208" y="75"/>
                </a:cubicBezTo>
                <a:cubicBezTo>
                  <a:pt x="209" y="73"/>
                  <a:pt x="209" y="73"/>
                  <a:pt x="209" y="73"/>
                </a:cubicBezTo>
                <a:cubicBezTo>
                  <a:pt x="210" y="72"/>
                  <a:pt x="210" y="72"/>
                  <a:pt x="210" y="72"/>
                </a:cubicBezTo>
                <a:cubicBezTo>
                  <a:pt x="211" y="71"/>
                  <a:pt x="211" y="71"/>
                  <a:pt x="211" y="71"/>
                </a:cubicBezTo>
                <a:cubicBezTo>
                  <a:pt x="212" y="71"/>
                  <a:pt x="212" y="71"/>
                  <a:pt x="212" y="71"/>
                </a:cubicBezTo>
                <a:cubicBezTo>
                  <a:pt x="212" y="72"/>
                  <a:pt x="212" y="72"/>
                  <a:pt x="212" y="72"/>
                </a:cubicBezTo>
                <a:cubicBezTo>
                  <a:pt x="213" y="70"/>
                  <a:pt x="213" y="70"/>
                  <a:pt x="213" y="70"/>
                </a:cubicBezTo>
                <a:cubicBezTo>
                  <a:pt x="215" y="69"/>
                  <a:pt x="215" y="69"/>
                  <a:pt x="215" y="69"/>
                </a:cubicBezTo>
                <a:cubicBezTo>
                  <a:pt x="216" y="69"/>
                  <a:pt x="216" y="69"/>
                  <a:pt x="216" y="69"/>
                </a:cubicBezTo>
                <a:cubicBezTo>
                  <a:pt x="216" y="67"/>
                  <a:pt x="216" y="67"/>
                  <a:pt x="216" y="67"/>
                </a:cubicBezTo>
                <a:cubicBezTo>
                  <a:pt x="218" y="66"/>
                  <a:pt x="218" y="66"/>
                  <a:pt x="218" y="66"/>
                </a:cubicBezTo>
                <a:cubicBezTo>
                  <a:pt x="220" y="64"/>
                  <a:pt x="220" y="64"/>
                  <a:pt x="220" y="64"/>
                </a:cubicBezTo>
                <a:cubicBezTo>
                  <a:pt x="220" y="64"/>
                  <a:pt x="220" y="64"/>
                  <a:pt x="220" y="64"/>
                </a:cubicBezTo>
                <a:cubicBezTo>
                  <a:pt x="221" y="64"/>
                  <a:pt x="221" y="64"/>
                  <a:pt x="221" y="64"/>
                </a:cubicBezTo>
                <a:cubicBezTo>
                  <a:pt x="222" y="64"/>
                  <a:pt x="222" y="64"/>
                  <a:pt x="222" y="64"/>
                </a:cubicBezTo>
                <a:cubicBezTo>
                  <a:pt x="223" y="63"/>
                  <a:pt x="223" y="63"/>
                  <a:pt x="223" y="63"/>
                </a:cubicBezTo>
                <a:cubicBezTo>
                  <a:pt x="223" y="63"/>
                  <a:pt x="223" y="63"/>
                  <a:pt x="223" y="63"/>
                </a:cubicBezTo>
                <a:cubicBezTo>
                  <a:pt x="224" y="63"/>
                  <a:pt x="224" y="63"/>
                  <a:pt x="224" y="63"/>
                </a:cubicBezTo>
                <a:cubicBezTo>
                  <a:pt x="226" y="63"/>
                  <a:pt x="226" y="63"/>
                  <a:pt x="226" y="63"/>
                </a:cubicBezTo>
                <a:cubicBezTo>
                  <a:pt x="228" y="62"/>
                  <a:pt x="228" y="62"/>
                  <a:pt x="228" y="62"/>
                </a:cubicBezTo>
                <a:cubicBezTo>
                  <a:pt x="229" y="61"/>
                  <a:pt x="229" y="61"/>
                  <a:pt x="229" y="61"/>
                </a:cubicBezTo>
                <a:cubicBezTo>
                  <a:pt x="230" y="61"/>
                  <a:pt x="230" y="61"/>
                  <a:pt x="230" y="61"/>
                </a:cubicBezTo>
                <a:cubicBezTo>
                  <a:pt x="231" y="60"/>
                  <a:pt x="231" y="60"/>
                  <a:pt x="231" y="60"/>
                </a:cubicBezTo>
                <a:cubicBezTo>
                  <a:pt x="232" y="59"/>
                  <a:pt x="232" y="59"/>
                  <a:pt x="232" y="59"/>
                </a:cubicBezTo>
                <a:cubicBezTo>
                  <a:pt x="233" y="59"/>
                  <a:pt x="233" y="59"/>
                  <a:pt x="233" y="59"/>
                </a:cubicBezTo>
                <a:cubicBezTo>
                  <a:pt x="233" y="58"/>
                  <a:pt x="233" y="58"/>
                  <a:pt x="233" y="58"/>
                </a:cubicBezTo>
                <a:cubicBezTo>
                  <a:pt x="235" y="57"/>
                  <a:pt x="235" y="57"/>
                  <a:pt x="235" y="57"/>
                </a:cubicBezTo>
                <a:cubicBezTo>
                  <a:pt x="236" y="55"/>
                  <a:pt x="236" y="55"/>
                  <a:pt x="236" y="55"/>
                </a:cubicBezTo>
                <a:cubicBezTo>
                  <a:pt x="236" y="55"/>
                  <a:pt x="236" y="55"/>
                  <a:pt x="236" y="55"/>
                </a:cubicBezTo>
                <a:cubicBezTo>
                  <a:pt x="236" y="54"/>
                  <a:pt x="236" y="54"/>
                  <a:pt x="236" y="54"/>
                </a:cubicBezTo>
                <a:cubicBezTo>
                  <a:pt x="237" y="53"/>
                  <a:pt x="237" y="53"/>
                  <a:pt x="237" y="53"/>
                </a:cubicBezTo>
                <a:cubicBezTo>
                  <a:pt x="237" y="53"/>
                  <a:pt x="237" y="53"/>
                  <a:pt x="237" y="53"/>
                </a:cubicBezTo>
                <a:cubicBezTo>
                  <a:pt x="237" y="53"/>
                  <a:pt x="237" y="53"/>
                  <a:pt x="237" y="53"/>
                </a:cubicBezTo>
                <a:cubicBezTo>
                  <a:pt x="238" y="54"/>
                  <a:pt x="238" y="54"/>
                  <a:pt x="238" y="54"/>
                </a:cubicBezTo>
                <a:cubicBezTo>
                  <a:pt x="238" y="55"/>
                  <a:pt x="238" y="55"/>
                  <a:pt x="238" y="55"/>
                </a:cubicBezTo>
                <a:cubicBezTo>
                  <a:pt x="237" y="56"/>
                  <a:pt x="237" y="56"/>
                  <a:pt x="237" y="56"/>
                </a:cubicBezTo>
                <a:cubicBezTo>
                  <a:pt x="238" y="57"/>
                  <a:pt x="238" y="57"/>
                  <a:pt x="238" y="57"/>
                </a:cubicBezTo>
                <a:cubicBezTo>
                  <a:pt x="238" y="58"/>
                  <a:pt x="238" y="58"/>
                  <a:pt x="238" y="58"/>
                </a:cubicBezTo>
                <a:cubicBezTo>
                  <a:pt x="238" y="59"/>
                  <a:pt x="238" y="59"/>
                  <a:pt x="238" y="59"/>
                </a:cubicBezTo>
                <a:cubicBezTo>
                  <a:pt x="238" y="59"/>
                  <a:pt x="238" y="59"/>
                  <a:pt x="238" y="59"/>
                </a:cubicBezTo>
                <a:cubicBezTo>
                  <a:pt x="238" y="59"/>
                  <a:pt x="238" y="59"/>
                  <a:pt x="238" y="59"/>
                </a:cubicBezTo>
                <a:cubicBezTo>
                  <a:pt x="239" y="58"/>
                  <a:pt x="239" y="58"/>
                  <a:pt x="239" y="58"/>
                </a:cubicBezTo>
                <a:cubicBezTo>
                  <a:pt x="239" y="57"/>
                  <a:pt x="239" y="57"/>
                  <a:pt x="239" y="57"/>
                </a:cubicBezTo>
                <a:cubicBezTo>
                  <a:pt x="239" y="57"/>
                  <a:pt x="239" y="57"/>
                  <a:pt x="239" y="57"/>
                </a:cubicBezTo>
                <a:cubicBezTo>
                  <a:pt x="239" y="55"/>
                  <a:pt x="239" y="55"/>
                  <a:pt x="239" y="55"/>
                </a:cubicBezTo>
                <a:cubicBezTo>
                  <a:pt x="239" y="55"/>
                  <a:pt x="239" y="55"/>
                  <a:pt x="239" y="55"/>
                </a:cubicBezTo>
                <a:cubicBezTo>
                  <a:pt x="240" y="55"/>
                  <a:pt x="240" y="55"/>
                  <a:pt x="240" y="55"/>
                </a:cubicBezTo>
                <a:cubicBezTo>
                  <a:pt x="240" y="56"/>
                  <a:pt x="240" y="56"/>
                  <a:pt x="240" y="56"/>
                </a:cubicBezTo>
                <a:cubicBezTo>
                  <a:pt x="241" y="57"/>
                  <a:pt x="241" y="57"/>
                  <a:pt x="241" y="57"/>
                </a:cubicBezTo>
                <a:cubicBezTo>
                  <a:pt x="242" y="57"/>
                  <a:pt x="242" y="57"/>
                  <a:pt x="242" y="57"/>
                </a:cubicBezTo>
                <a:cubicBezTo>
                  <a:pt x="243" y="56"/>
                  <a:pt x="243" y="56"/>
                  <a:pt x="243" y="56"/>
                </a:cubicBezTo>
                <a:cubicBezTo>
                  <a:pt x="243" y="56"/>
                  <a:pt x="243" y="56"/>
                  <a:pt x="243" y="56"/>
                </a:cubicBezTo>
                <a:cubicBezTo>
                  <a:pt x="243" y="55"/>
                  <a:pt x="243" y="55"/>
                  <a:pt x="243" y="55"/>
                </a:cubicBezTo>
                <a:cubicBezTo>
                  <a:pt x="243" y="54"/>
                  <a:pt x="243" y="54"/>
                  <a:pt x="243" y="54"/>
                </a:cubicBezTo>
                <a:cubicBezTo>
                  <a:pt x="244" y="54"/>
                  <a:pt x="244" y="54"/>
                  <a:pt x="244" y="54"/>
                </a:cubicBezTo>
                <a:cubicBezTo>
                  <a:pt x="244" y="54"/>
                  <a:pt x="244" y="54"/>
                  <a:pt x="244" y="54"/>
                </a:cubicBezTo>
                <a:cubicBezTo>
                  <a:pt x="244" y="52"/>
                  <a:pt x="244" y="52"/>
                  <a:pt x="244" y="52"/>
                </a:cubicBezTo>
                <a:cubicBezTo>
                  <a:pt x="244" y="51"/>
                  <a:pt x="244" y="51"/>
                  <a:pt x="244" y="51"/>
                </a:cubicBezTo>
                <a:cubicBezTo>
                  <a:pt x="244" y="51"/>
                  <a:pt x="244" y="51"/>
                  <a:pt x="244" y="51"/>
                </a:cubicBezTo>
                <a:cubicBezTo>
                  <a:pt x="245" y="50"/>
                  <a:pt x="245" y="50"/>
                  <a:pt x="245" y="50"/>
                </a:cubicBezTo>
                <a:cubicBezTo>
                  <a:pt x="245" y="51"/>
                  <a:pt x="245" y="51"/>
                  <a:pt x="245" y="51"/>
                </a:cubicBezTo>
                <a:cubicBezTo>
                  <a:pt x="246" y="52"/>
                  <a:pt x="246" y="52"/>
                  <a:pt x="246" y="52"/>
                </a:cubicBezTo>
                <a:cubicBezTo>
                  <a:pt x="248" y="51"/>
                  <a:pt x="248" y="51"/>
                  <a:pt x="248" y="51"/>
                </a:cubicBezTo>
                <a:cubicBezTo>
                  <a:pt x="248" y="50"/>
                  <a:pt x="248" y="50"/>
                  <a:pt x="248" y="50"/>
                </a:cubicBezTo>
                <a:cubicBezTo>
                  <a:pt x="250" y="50"/>
                  <a:pt x="250" y="50"/>
                  <a:pt x="250" y="50"/>
                </a:cubicBezTo>
                <a:cubicBezTo>
                  <a:pt x="251" y="50"/>
                  <a:pt x="251" y="50"/>
                  <a:pt x="251" y="50"/>
                </a:cubicBezTo>
                <a:cubicBezTo>
                  <a:pt x="252" y="49"/>
                  <a:pt x="252" y="49"/>
                  <a:pt x="252" y="49"/>
                </a:cubicBezTo>
                <a:cubicBezTo>
                  <a:pt x="254" y="50"/>
                  <a:pt x="254" y="50"/>
                  <a:pt x="254" y="50"/>
                </a:cubicBezTo>
                <a:cubicBezTo>
                  <a:pt x="255" y="51"/>
                  <a:pt x="255" y="51"/>
                  <a:pt x="255" y="51"/>
                </a:cubicBezTo>
                <a:cubicBezTo>
                  <a:pt x="257" y="51"/>
                  <a:pt x="257" y="51"/>
                  <a:pt x="257" y="51"/>
                </a:cubicBezTo>
                <a:cubicBezTo>
                  <a:pt x="258" y="51"/>
                  <a:pt x="258" y="51"/>
                  <a:pt x="258" y="51"/>
                </a:cubicBezTo>
                <a:cubicBezTo>
                  <a:pt x="259" y="52"/>
                  <a:pt x="259" y="52"/>
                  <a:pt x="259" y="52"/>
                </a:cubicBezTo>
                <a:cubicBezTo>
                  <a:pt x="260" y="53"/>
                  <a:pt x="260" y="53"/>
                  <a:pt x="260" y="53"/>
                </a:cubicBezTo>
                <a:cubicBezTo>
                  <a:pt x="261" y="53"/>
                  <a:pt x="261" y="53"/>
                  <a:pt x="261" y="53"/>
                </a:cubicBezTo>
                <a:cubicBezTo>
                  <a:pt x="262" y="53"/>
                  <a:pt x="262" y="53"/>
                  <a:pt x="262" y="53"/>
                </a:cubicBezTo>
                <a:cubicBezTo>
                  <a:pt x="262" y="54"/>
                  <a:pt x="262" y="54"/>
                  <a:pt x="262" y="54"/>
                </a:cubicBezTo>
                <a:cubicBezTo>
                  <a:pt x="263" y="55"/>
                  <a:pt x="263" y="55"/>
                  <a:pt x="263" y="55"/>
                </a:cubicBezTo>
                <a:cubicBezTo>
                  <a:pt x="264" y="56"/>
                  <a:pt x="264" y="56"/>
                  <a:pt x="264" y="56"/>
                </a:cubicBezTo>
                <a:cubicBezTo>
                  <a:pt x="265" y="57"/>
                  <a:pt x="265" y="57"/>
                  <a:pt x="265" y="57"/>
                </a:cubicBezTo>
                <a:cubicBezTo>
                  <a:pt x="266" y="58"/>
                  <a:pt x="266" y="58"/>
                  <a:pt x="266" y="58"/>
                </a:cubicBezTo>
                <a:cubicBezTo>
                  <a:pt x="266" y="60"/>
                  <a:pt x="266" y="60"/>
                  <a:pt x="266" y="60"/>
                </a:cubicBezTo>
                <a:cubicBezTo>
                  <a:pt x="266" y="61"/>
                  <a:pt x="266" y="61"/>
                  <a:pt x="266" y="61"/>
                </a:cubicBezTo>
                <a:cubicBezTo>
                  <a:pt x="266" y="62"/>
                  <a:pt x="266" y="62"/>
                  <a:pt x="266" y="62"/>
                </a:cubicBezTo>
                <a:cubicBezTo>
                  <a:pt x="264" y="62"/>
                  <a:pt x="264" y="62"/>
                  <a:pt x="264" y="62"/>
                </a:cubicBezTo>
                <a:cubicBezTo>
                  <a:pt x="263" y="63"/>
                  <a:pt x="263" y="63"/>
                  <a:pt x="263" y="63"/>
                </a:cubicBezTo>
                <a:cubicBezTo>
                  <a:pt x="263" y="64"/>
                  <a:pt x="263" y="64"/>
                  <a:pt x="263" y="64"/>
                </a:cubicBezTo>
                <a:cubicBezTo>
                  <a:pt x="262" y="64"/>
                  <a:pt x="262" y="64"/>
                  <a:pt x="262" y="64"/>
                </a:cubicBezTo>
                <a:cubicBezTo>
                  <a:pt x="261" y="65"/>
                  <a:pt x="261" y="65"/>
                  <a:pt x="261" y="65"/>
                </a:cubicBezTo>
                <a:cubicBezTo>
                  <a:pt x="260" y="67"/>
                  <a:pt x="260" y="67"/>
                  <a:pt x="260" y="67"/>
                </a:cubicBezTo>
                <a:cubicBezTo>
                  <a:pt x="259" y="68"/>
                  <a:pt x="259" y="68"/>
                  <a:pt x="259" y="68"/>
                </a:cubicBezTo>
                <a:cubicBezTo>
                  <a:pt x="259" y="68"/>
                  <a:pt x="259" y="68"/>
                  <a:pt x="259" y="68"/>
                </a:cubicBezTo>
                <a:cubicBezTo>
                  <a:pt x="258" y="67"/>
                  <a:pt x="258" y="67"/>
                  <a:pt x="258" y="67"/>
                </a:cubicBezTo>
                <a:cubicBezTo>
                  <a:pt x="256" y="66"/>
                  <a:pt x="256" y="66"/>
                  <a:pt x="256" y="66"/>
                </a:cubicBezTo>
                <a:cubicBezTo>
                  <a:pt x="256" y="66"/>
                  <a:pt x="256" y="66"/>
                  <a:pt x="256" y="66"/>
                </a:cubicBezTo>
                <a:cubicBezTo>
                  <a:pt x="255" y="67"/>
                  <a:pt x="255" y="67"/>
                  <a:pt x="255" y="67"/>
                </a:cubicBezTo>
                <a:cubicBezTo>
                  <a:pt x="254" y="68"/>
                  <a:pt x="254" y="68"/>
                  <a:pt x="254" y="68"/>
                </a:cubicBezTo>
                <a:cubicBezTo>
                  <a:pt x="254" y="69"/>
                  <a:pt x="254" y="69"/>
                  <a:pt x="254" y="69"/>
                </a:cubicBezTo>
                <a:cubicBezTo>
                  <a:pt x="254" y="69"/>
                  <a:pt x="254" y="69"/>
                  <a:pt x="254" y="69"/>
                </a:cubicBezTo>
                <a:cubicBezTo>
                  <a:pt x="254" y="70"/>
                  <a:pt x="254" y="70"/>
                  <a:pt x="254" y="70"/>
                </a:cubicBezTo>
                <a:cubicBezTo>
                  <a:pt x="255" y="71"/>
                  <a:pt x="255" y="71"/>
                  <a:pt x="255" y="71"/>
                </a:cubicBezTo>
                <a:cubicBezTo>
                  <a:pt x="256" y="71"/>
                  <a:pt x="256" y="71"/>
                  <a:pt x="256" y="71"/>
                </a:cubicBezTo>
                <a:cubicBezTo>
                  <a:pt x="256" y="72"/>
                  <a:pt x="256" y="72"/>
                  <a:pt x="256" y="72"/>
                </a:cubicBezTo>
                <a:cubicBezTo>
                  <a:pt x="255" y="72"/>
                  <a:pt x="255" y="72"/>
                  <a:pt x="255" y="72"/>
                </a:cubicBezTo>
                <a:cubicBezTo>
                  <a:pt x="254" y="72"/>
                  <a:pt x="254" y="72"/>
                  <a:pt x="254" y="72"/>
                </a:cubicBezTo>
                <a:cubicBezTo>
                  <a:pt x="254" y="72"/>
                  <a:pt x="254" y="72"/>
                  <a:pt x="254" y="72"/>
                </a:cubicBezTo>
                <a:cubicBezTo>
                  <a:pt x="252" y="73"/>
                  <a:pt x="252" y="73"/>
                  <a:pt x="252" y="73"/>
                </a:cubicBezTo>
                <a:cubicBezTo>
                  <a:pt x="250" y="74"/>
                  <a:pt x="250" y="74"/>
                  <a:pt x="250" y="74"/>
                </a:cubicBezTo>
                <a:cubicBezTo>
                  <a:pt x="249" y="74"/>
                  <a:pt x="249" y="74"/>
                  <a:pt x="249" y="74"/>
                </a:cubicBezTo>
                <a:cubicBezTo>
                  <a:pt x="249" y="74"/>
                  <a:pt x="249" y="74"/>
                  <a:pt x="249" y="74"/>
                </a:cubicBezTo>
                <a:cubicBezTo>
                  <a:pt x="248" y="74"/>
                  <a:pt x="248" y="74"/>
                  <a:pt x="248" y="74"/>
                </a:cubicBezTo>
                <a:cubicBezTo>
                  <a:pt x="247" y="73"/>
                  <a:pt x="247" y="73"/>
                  <a:pt x="247" y="73"/>
                </a:cubicBezTo>
                <a:cubicBezTo>
                  <a:pt x="246" y="73"/>
                  <a:pt x="246" y="73"/>
                  <a:pt x="246" y="73"/>
                </a:cubicBezTo>
                <a:cubicBezTo>
                  <a:pt x="245" y="73"/>
                  <a:pt x="245" y="73"/>
                  <a:pt x="245" y="73"/>
                </a:cubicBezTo>
                <a:cubicBezTo>
                  <a:pt x="245" y="73"/>
                  <a:pt x="245" y="73"/>
                  <a:pt x="245" y="73"/>
                </a:cubicBezTo>
                <a:cubicBezTo>
                  <a:pt x="244" y="73"/>
                  <a:pt x="244" y="73"/>
                  <a:pt x="244" y="73"/>
                </a:cubicBezTo>
                <a:cubicBezTo>
                  <a:pt x="244" y="73"/>
                  <a:pt x="244" y="73"/>
                  <a:pt x="244" y="73"/>
                </a:cubicBezTo>
                <a:cubicBezTo>
                  <a:pt x="244" y="73"/>
                  <a:pt x="244" y="73"/>
                  <a:pt x="244" y="73"/>
                </a:cubicBezTo>
                <a:cubicBezTo>
                  <a:pt x="243" y="73"/>
                  <a:pt x="243" y="73"/>
                  <a:pt x="243" y="73"/>
                </a:cubicBezTo>
                <a:cubicBezTo>
                  <a:pt x="243" y="73"/>
                  <a:pt x="243" y="73"/>
                  <a:pt x="243" y="73"/>
                </a:cubicBezTo>
                <a:cubicBezTo>
                  <a:pt x="242" y="73"/>
                  <a:pt x="242" y="73"/>
                  <a:pt x="242" y="73"/>
                </a:cubicBezTo>
                <a:cubicBezTo>
                  <a:pt x="242" y="73"/>
                  <a:pt x="242" y="73"/>
                  <a:pt x="242" y="73"/>
                </a:cubicBezTo>
                <a:cubicBezTo>
                  <a:pt x="241" y="74"/>
                  <a:pt x="241" y="74"/>
                  <a:pt x="241" y="74"/>
                </a:cubicBezTo>
                <a:cubicBezTo>
                  <a:pt x="240" y="74"/>
                  <a:pt x="240" y="74"/>
                  <a:pt x="240" y="74"/>
                </a:cubicBezTo>
                <a:cubicBezTo>
                  <a:pt x="240" y="74"/>
                  <a:pt x="240" y="74"/>
                  <a:pt x="240" y="74"/>
                </a:cubicBezTo>
                <a:cubicBezTo>
                  <a:pt x="239" y="74"/>
                  <a:pt x="239" y="74"/>
                  <a:pt x="239" y="74"/>
                </a:cubicBezTo>
                <a:cubicBezTo>
                  <a:pt x="239" y="75"/>
                  <a:pt x="239" y="75"/>
                  <a:pt x="239" y="75"/>
                </a:cubicBezTo>
                <a:cubicBezTo>
                  <a:pt x="237" y="74"/>
                  <a:pt x="237" y="74"/>
                  <a:pt x="237" y="74"/>
                </a:cubicBezTo>
                <a:cubicBezTo>
                  <a:pt x="236" y="74"/>
                  <a:pt x="236" y="74"/>
                  <a:pt x="236" y="74"/>
                </a:cubicBezTo>
                <a:cubicBezTo>
                  <a:pt x="235" y="74"/>
                  <a:pt x="235" y="74"/>
                  <a:pt x="235" y="74"/>
                </a:cubicBezTo>
                <a:cubicBezTo>
                  <a:pt x="234" y="75"/>
                  <a:pt x="234" y="75"/>
                  <a:pt x="234" y="75"/>
                </a:cubicBezTo>
                <a:cubicBezTo>
                  <a:pt x="233" y="75"/>
                  <a:pt x="233" y="75"/>
                  <a:pt x="233" y="75"/>
                </a:cubicBezTo>
                <a:cubicBezTo>
                  <a:pt x="232" y="75"/>
                  <a:pt x="232" y="75"/>
                  <a:pt x="232" y="75"/>
                </a:cubicBezTo>
                <a:cubicBezTo>
                  <a:pt x="233" y="75"/>
                  <a:pt x="233" y="75"/>
                  <a:pt x="233" y="75"/>
                </a:cubicBezTo>
                <a:cubicBezTo>
                  <a:pt x="234" y="75"/>
                  <a:pt x="234" y="75"/>
                  <a:pt x="234" y="75"/>
                </a:cubicBezTo>
                <a:cubicBezTo>
                  <a:pt x="236" y="75"/>
                  <a:pt x="236" y="75"/>
                  <a:pt x="236" y="75"/>
                </a:cubicBezTo>
                <a:cubicBezTo>
                  <a:pt x="237" y="75"/>
                  <a:pt x="237" y="75"/>
                  <a:pt x="237" y="75"/>
                </a:cubicBezTo>
                <a:cubicBezTo>
                  <a:pt x="238" y="75"/>
                  <a:pt x="238" y="75"/>
                  <a:pt x="238" y="75"/>
                </a:cubicBezTo>
                <a:cubicBezTo>
                  <a:pt x="239" y="75"/>
                  <a:pt x="239" y="75"/>
                  <a:pt x="239" y="75"/>
                </a:cubicBezTo>
                <a:cubicBezTo>
                  <a:pt x="241" y="76"/>
                  <a:pt x="241" y="76"/>
                  <a:pt x="241" y="76"/>
                </a:cubicBezTo>
                <a:cubicBezTo>
                  <a:pt x="243" y="76"/>
                  <a:pt x="243" y="76"/>
                  <a:pt x="243" y="76"/>
                </a:cubicBezTo>
                <a:cubicBezTo>
                  <a:pt x="244" y="76"/>
                  <a:pt x="244" y="76"/>
                  <a:pt x="244" y="76"/>
                </a:cubicBezTo>
                <a:cubicBezTo>
                  <a:pt x="244" y="76"/>
                  <a:pt x="244" y="76"/>
                  <a:pt x="244" y="76"/>
                </a:cubicBezTo>
                <a:cubicBezTo>
                  <a:pt x="245" y="76"/>
                  <a:pt x="245" y="76"/>
                  <a:pt x="245" y="76"/>
                </a:cubicBezTo>
                <a:cubicBezTo>
                  <a:pt x="246" y="76"/>
                  <a:pt x="246" y="76"/>
                  <a:pt x="246" y="76"/>
                </a:cubicBezTo>
                <a:cubicBezTo>
                  <a:pt x="247" y="76"/>
                  <a:pt x="247" y="76"/>
                  <a:pt x="247" y="76"/>
                </a:cubicBezTo>
                <a:cubicBezTo>
                  <a:pt x="247" y="76"/>
                  <a:pt x="247" y="76"/>
                  <a:pt x="247" y="76"/>
                </a:cubicBezTo>
                <a:cubicBezTo>
                  <a:pt x="248" y="77"/>
                  <a:pt x="248" y="77"/>
                  <a:pt x="248" y="77"/>
                </a:cubicBezTo>
                <a:cubicBezTo>
                  <a:pt x="249" y="78"/>
                  <a:pt x="249" y="78"/>
                  <a:pt x="249" y="78"/>
                </a:cubicBezTo>
                <a:cubicBezTo>
                  <a:pt x="249" y="78"/>
                  <a:pt x="249" y="78"/>
                  <a:pt x="249" y="78"/>
                </a:cubicBezTo>
                <a:cubicBezTo>
                  <a:pt x="248" y="79"/>
                  <a:pt x="248" y="79"/>
                  <a:pt x="248" y="79"/>
                </a:cubicBezTo>
                <a:cubicBezTo>
                  <a:pt x="247" y="80"/>
                  <a:pt x="247" y="80"/>
                  <a:pt x="247" y="80"/>
                </a:cubicBezTo>
                <a:cubicBezTo>
                  <a:pt x="247" y="80"/>
                  <a:pt x="247" y="80"/>
                  <a:pt x="247" y="80"/>
                </a:cubicBezTo>
                <a:cubicBezTo>
                  <a:pt x="247" y="80"/>
                  <a:pt x="247" y="80"/>
                  <a:pt x="247" y="80"/>
                </a:cubicBezTo>
                <a:cubicBezTo>
                  <a:pt x="247" y="81"/>
                  <a:pt x="247" y="81"/>
                  <a:pt x="247" y="81"/>
                </a:cubicBezTo>
                <a:cubicBezTo>
                  <a:pt x="246" y="82"/>
                  <a:pt x="246" y="82"/>
                  <a:pt x="246" y="82"/>
                </a:cubicBezTo>
                <a:cubicBezTo>
                  <a:pt x="243" y="82"/>
                  <a:pt x="243" y="82"/>
                  <a:pt x="243" y="82"/>
                </a:cubicBezTo>
                <a:cubicBezTo>
                  <a:pt x="242" y="82"/>
                  <a:pt x="242" y="82"/>
                  <a:pt x="242" y="82"/>
                </a:cubicBezTo>
                <a:cubicBezTo>
                  <a:pt x="241" y="82"/>
                  <a:pt x="241" y="82"/>
                  <a:pt x="241" y="82"/>
                </a:cubicBezTo>
                <a:cubicBezTo>
                  <a:pt x="239" y="82"/>
                  <a:pt x="239" y="82"/>
                  <a:pt x="239" y="82"/>
                </a:cubicBezTo>
                <a:cubicBezTo>
                  <a:pt x="238" y="82"/>
                  <a:pt x="238" y="82"/>
                  <a:pt x="238" y="82"/>
                </a:cubicBezTo>
                <a:cubicBezTo>
                  <a:pt x="236" y="80"/>
                  <a:pt x="236" y="80"/>
                  <a:pt x="236" y="80"/>
                </a:cubicBezTo>
                <a:cubicBezTo>
                  <a:pt x="234" y="80"/>
                  <a:pt x="234" y="80"/>
                  <a:pt x="234" y="80"/>
                </a:cubicBezTo>
                <a:cubicBezTo>
                  <a:pt x="233" y="80"/>
                  <a:pt x="233" y="80"/>
                  <a:pt x="233" y="80"/>
                </a:cubicBezTo>
                <a:cubicBezTo>
                  <a:pt x="232" y="80"/>
                  <a:pt x="232" y="80"/>
                  <a:pt x="232" y="80"/>
                </a:cubicBezTo>
                <a:cubicBezTo>
                  <a:pt x="232" y="82"/>
                  <a:pt x="232" y="82"/>
                  <a:pt x="232" y="82"/>
                </a:cubicBezTo>
                <a:cubicBezTo>
                  <a:pt x="230" y="83"/>
                  <a:pt x="230" y="83"/>
                  <a:pt x="230" y="83"/>
                </a:cubicBezTo>
                <a:cubicBezTo>
                  <a:pt x="230" y="83"/>
                  <a:pt x="230" y="83"/>
                  <a:pt x="230" y="83"/>
                </a:cubicBezTo>
                <a:cubicBezTo>
                  <a:pt x="229" y="84"/>
                  <a:pt x="229" y="84"/>
                  <a:pt x="229" y="84"/>
                </a:cubicBezTo>
                <a:cubicBezTo>
                  <a:pt x="230" y="84"/>
                  <a:pt x="230" y="84"/>
                  <a:pt x="230" y="84"/>
                </a:cubicBezTo>
                <a:cubicBezTo>
                  <a:pt x="230" y="84"/>
                  <a:pt x="230" y="84"/>
                  <a:pt x="230" y="84"/>
                </a:cubicBezTo>
                <a:cubicBezTo>
                  <a:pt x="231" y="85"/>
                  <a:pt x="231" y="85"/>
                  <a:pt x="231" y="85"/>
                </a:cubicBezTo>
                <a:cubicBezTo>
                  <a:pt x="231" y="86"/>
                  <a:pt x="231" y="86"/>
                  <a:pt x="231" y="86"/>
                </a:cubicBezTo>
                <a:cubicBezTo>
                  <a:pt x="230" y="86"/>
                  <a:pt x="230" y="86"/>
                  <a:pt x="230" y="86"/>
                </a:cubicBezTo>
                <a:cubicBezTo>
                  <a:pt x="229" y="86"/>
                  <a:pt x="229" y="86"/>
                  <a:pt x="229" y="86"/>
                </a:cubicBezTo>
                <a:cubicBezTo>
                  <a:pt x="229" y="87"/>
                  <a:pt x="229" y="87"/>
                  <a:pt x="229" y="87"/>
                </a:cubicBezTo>
                <a:cubicBezTo>
                  <a:pt x="230" y="87"/>
                  <a:pt x="230" y="87"/>
                  <a:pt x="230" y="87"/>
                </a:cubicBezTo>
                <a:cubicBezTo>
                  <a:pt x="231" y="88"/>
                  <a:pt x="231" y="88"/>
                  <a:pt x="231" y="88"/>
                </a:cubicBezTo>
                <a:cubicBezTo>
                  <a:pt x="232" y="87"/>
                  <a:pt x="232" y="87"/>
                  <a:pt x="232" y="87"/>
                </a:cubicBezTo>
                <a:cubicBezTo>
                  <a:pt x="232" y="87"/>
                  <a:pt x="232" y="87"/>
                  <a:pt x="232" y="87"/>
                </a:cubicBezTo>
                <a:cubicBezTo>
                  <a:pt x="233" y="86"/>
                  <a:pt x="233" y="86"/>
                  <a:pt x="233" y="86"/>
                </a:cubicBezTo>
                <a:cubicBezTo>
                  <a:pt x="234" y="85"/>
                  <a:pt x="234" y="85"/>
                  <a:pt x="234" y="85"/>
                </a:cubicBezTo>
                <a:cubicBezTo>
                  <a:pt x="236" y="84"/>
                  <a:pt x="236" y="84"/>
                  <a:pt x="236" y="84"/>
                </a:cubicBezTo>
                <a:cubicBezTo>
                  <a:pt x="237" y="84"/>
                  <a:pt x="237" y="84"/>
                  <a:pt x="237" y="84"/>
                </a:cubicBezTo>
                <a:cubicBezTo>
                  <a:pt x="239" y="83"/>
                  <a:pt x="239" y="83"/>
                  <a:pt x="239" y="83"/>
                </a:cubicBezTo>
                <a:cubicBezTo>
                  <a:pt x="240" y="83"/>
                  <a:pt x="240" y="83"/>
                  <a:pt x="240" y="83"/>
                </a:cubicBezTo>
                <a:cubicBezTo>
                  <a:pt x="240" y="84"/>
                  <a:pt x="240" y="84"/>
                  <a:pt x="240" y="84"/>
                </a:cubicBezTo>
                <a:cubicBezTo>
                  <a:pt x="241" y="84"/>
                  <a:pt x="241" y="84"/>
                  <a:pt x="241" y="84"/>
                </a:cubicBezTo>
                <a:cubicBezTo>
                  <a:pt x="242" y="85"/>
                  <a:pt x="242" y="85"/>
                  <a:pt x="242" y="85"/>
                </a:cubicBezTo>
                <a:cubicBezTo>
                  <a:pt x="243" y="85"/>
                  <a:pt x="243" y="85"/>
                  <a:pt x="243" y="85"/>
                </a:cubicBezTo>
                <a:cubicBezTo>
                  <a:pt x="243" y="86"/>
                  <a:pt x="243" y="86"/>
                  <a:pt x="243" y="86"/>
                </a:cubicBezTo>
                <a:cubicBezTo>
                  <a:pt x="243" y="86"/>
                  <a:pt x="243" y="86"/>
                  <a:pt x="243" y="86"/>
                </a:cubicBezTo>
                <a:cubicBezTo>
                  <a:pt x="241" y="87"/>
                  <a:pt x="241" y="87"/>
                  <a:pt x="241" y="87"/>
                </a:cubicBezTo>
                <a:cubicBezTo>
                  <a:pt x="241" y="89"/>
                  <a:pt x="241" y="89"/>
                  <a:pt x="241" y="89"/>
                </a:cubicBezTo>
                <a:cubicBezTo>
                  <a:pt x="240" y="90"/>
                  <a:pt x="240" y="90"/>
                  <a:pt x="240" y="90"/>
                </a:cubicBezTo>
                <a:cubicBezTo>
                  <a:pt x="239" y="91"/>
                  <a:pt x="239" y="91"/>
                  <a:pt x="239" y="91"/>
                </a:cubicBezTo>
                <a:cubicBezTo>
                  <a:pt x="238" y="92"/>
                  <a:pt x="238" y="92"/>
                  <a:pt x="238" y="92"/>
                </a:cubicBezTo>
                <a:cubicBezTo>
                  <a:pt x="237" y="94"/>
                  <a:pt x="237" y="94"/>
                  <a:pt x="237" y="94"/>
                </a:cubicBezTo>
                <a:cubicBezTo>
                  <a:pt x="235" y="97"/>
                  <a:pt x="235" y="97"/>
                  <a:pt x="235" y="97"/>
                </a:cubicBezTo>
                <a:cubicBezTo>
                  <a:pt x="234" y="98"/>
                  <a:pt x="234" y="98"/>
                  <a:pt x="234" y="98"/>
                </a:cubicBezTo>
                <a:cubicBezTo>
                  <a:pt x="233" y="99"/>
                  <a:pt x="233" y="99"/>
                  <a:pt x="233" y="99"/>
                </a:cubicBezTo>
                <a:cubicBezTo>
                  <a:pt x="233" y="100"/>
                  <a:pt x="233" y="100"/>
                  <a:pt x="233" y="100"/>
                </a:cubicBezTo>
                <a:cubicBezTo>
                  <a:pt x="233" y="102"/>
                  <a:pt x="233" y="102"/>
                  <a:pt x="233" y="102"/>
                </a:cubicBezTo>
                <a:cubicBezTo>
                  <a:pt x="232" y="102"/>
                  <a:pt x="232" y="102"/>
                  <a:pt x="232" y="102"/>
                </a:cubicBezTo>
                <a:cubicBezTo>
                  <a:pt x="232" y="103"/>
                  <a:pt x="232" y="103"/>
                  <a:pt x="232" y="103"/>
                </a:cubicBezTo>
                <a:cubicBezTo>
                  <a:pt x="232" y="105"/>
                  <a:pt x="232" y="105"/>
                  <a:pt x="232" y="105"/>
                </a:cubicBezTo>
                <a:cubicBezTo>
                  <a:pt x="231" y="107"/>
                  <a:pt x="231" y="107"/>
                  <a:pt x="231" y="107"/>
                </a:cubicBezTo>
                <a:cubicBezTo>
                  <a:pt x="230" y="109"/>
                  <a:pt x="230" y="109"/>
                  <a:pt x="230" y="109"/>
                </a:cubicBezTo>
                <a:cubicBezTo>
                  <a:pt x="231" y="110"/>
                  <a:pt x="231" y="110"/>
                  <a:pt x="231" y="110"/>
                </a:cubicBezTo>
                <a:cubicBezTo>
                  <a:pt x="231" y="111"/>
                  <a:pt x="231" y="111"/>
                  <a:pt x="231" y="111"/>
                </a:cubicBezTo>
                <a:cubicBezTo>
                  <a:pt x="231" y="113"/>
                  <a:pt x="231" y="113"/>
                  <a:pt x="231" y="113"/>
                </a:cubicBezTo>
                <a:cubicBezTo>
                  <a:pt x="230" y="113"/>
                  <a:pt x="230" y="113"/>
                  <a:pt x="230" y="113"/>
                </a:cubicBezTo>
                <a:cubicBezTo>
                  <a:pt x="229" y="114"/>
                  <a:pt x="229" y="114"/>
                  <a:pt x="229" y="114"/>
                </a:cubicBezTo>
                <a:cubicBezTo>
                  <a:pt x="230" y="116"/>
                  <a:pt x="230" y="116"/>
                  <a:pt x="230" y="116"/>
                </a:cubicBezTo>
                <a:cubicBezTo>
                  <a:pt x="229" y="116"/>
                  <a:pt x="229" y="116"/>
                  <a:pt x="229" y="116"/>
                </a:cubicBezTo>
                <a:cubicBezTo>
                  <a:pt x="229" y="117"/>
                  <a:pt x="229" y="117"/>
                  <a:pt x="229" y="117"/>
                </a:cubicBezTo>
                <a:cubicBezTo>
                  <a:pt x="228" y="119"/>
                  <a:pt x="228" y="119"/>
                  <a:pt x="228" y="119"/>
                </a:cubicBezTo>
                <a:cubicBezTo>
                  <a:pt x="228" y="120"/>
                  <a:pt x="228" y="120"/>
                  <a:pt x="228" y="120"/>
                </a:cubicBezTo>
                <a:cubicBezTo>
                  <a:pt x="227" y="121"/>
                  <a:pt x="227" y="121"/>
                  <a:pt x="227" y="121"/>
                </a:cubicBezTo>
                <a:cubicBezTo>
                  <a:pt x="226" y="121"/>
                  <a:pt x="226" y="121"/>
                  <a:pt x="226" y="121"/>
                </a:cubicBezTo>
                <a:cubicBezTo>
                  <a:pt x="226" y="120"/>
                  <a:pt x="226" y="120"/>
                  <a:pt x="226" y="120"/>
                </a:cubicBezTo>
                <a:cubicBezTo>
                  <a:pt x="226" y="119"/>
                  <a:pt x="226" y="119"/>
                  <a:pt x="226" y="119"/>
                </a:cubicBezTo>
                <a:cubicBezTo>
                  <a:pt x="225" y="119"/>
                  <a:pt x="225" y="119"/>
                  <a:pt x="225" y="119"/>
                </a:cubicBezTo>
                <a:cubicBezTo>
                  <a:pt x="225" y="119"/>
                  <a:pt x="225" y="119"/>
                  <a:pt x="225" y="119"/>
                </a:cubicBezTo>
                <a:cubicBezTo>
                  <a:pt x="226" y="118"/>
                  <a:pt x="226" y="118"/>
                  <a:pt x="226" y="118"/>
                </a:cubicBezTo>
                <a:cubicBezTo>
                  <a:pt x="225" y="117"/>
                  <a:pt x="225" y="117"/>
                  <a:pt x="225" y="117"/>
                </a:cubicBezTo>
                <a:cubicBezTo>
                  <a:pt x="224" y="117"/>
                  <a:pt x="224" y="117"/>
                  <a:pt x="224" y="117"/>
                </a:cubicBezTo>
                <a:cubicBezTo>
                  <a:pt x="224" y="118"/>
                  <a:pt x="224" y="118"/>
                  <a:pt x="224" y="118"/>
                </a:cubicBezTo>
                <a:cubicBezTo>
                  <a:pt x="223" y="118"/>
                  <a:pt x="223" y="118"/>
                  <a:pt x="223" y="118"/>
                </a:cubicBezTo>
                <a:cubicBezTo>
                  <a:pt x="223" y="118"/>
                  <a:pt x="223" y="118"/>
                  <a:pt x="223" y="118"/>
                </a:cubicBezTo>
                <a:cubicBezTo>
                  <a:pt x="223" y="119"/>
                  <a:pt x="223" y="119"/>
                  <a:pt x="223" y="119"/>
                </a:cubicBezTo>
                <a:cubicBezTo>
                  <a:pt x="223" y="119"/>
                  <a:pt x="223" y="119"/>
                  <a:pt x="223" y="119"/>
                </a:cubicBezTo>
                <a:cubicBezTo>
                  <a:pt x="223" y="120"/>
                  <a:pt x="223" y="120"/>
                  <a:pt x="223" y="120"/>
                </a:cubicBezTo>
                <a:cubicBezTo>
                  <a:pt x="222" y="120"/>
                  <a:pt x="222" y="120"/>
                  <a:pt x="222" y="120"/>
                </a:cubicBezTo>
                <a:cubicBezTo>
                  <a:pt x="222" y="121"/>
                  <a:pt x="222" y="121"/>
                  <a:pt x="222" y="121"/>
                </a:cubicBezTo>
                <a:cubicBezTo>
                  <a:pt x="223" y="121"/>
                  <a:pt x="223" y="121"/>
                  <a:pt x="223" y="121"/>
                </a:cubicBezTo>
                <a:cubicBezTo>
                  <a:pt x="224" y="122"/>
                  <a:pt x="224" y="122"/>
                  <a:pt x="224" y="122"/>
                </a:cubicBezTo>
                <a:cubicBezTo>
                  <a:pt x="225" y="123"/>
                  <a:pt x="225" y="123"/>
                  <a:pt x="225" y="123"/>
                </a:cubicBezTo>
                <a:cubicBezTo>
                  <a:pt x="225" y="123"/>
                  <a:pt x="225" y="123"/>
                  <a:pt x="225" y="123"/>
                </a:cubicBezTo>
                <a:cubicBezTo>
                  <a:pt x="226" y="125"/>
                  <a:pt x="226" y="125"/>
                  <a:pt x="226" y="125"/>
                </a:cubicBezTo>
                <a:cubicBezTo>
                  <a:pt x="227" y="125"/>
                  <a:pt x="227" y="125"/>
                  <a:pt x="227" y="125"/>
                </a:cubicBezTo>
                <a:cubicBezTo>
                  <a:pt x="228" y="126"/>
                  <a:pt x="228" y="126"/>
                  <a:pt x="228" y="126"/>
                </a:cubicBezTo>
                <a:cubicBezTo>
                  <a:pt x="229" y="127"/>
                  <a:pt x="229" y="127"/>
                  <a:pt x="229" y="127"/>
                </a:cubicBezTo>
                <a:cubicBezTo>
                  <a:pt x="230" y="128"/>
                  <a:pt x="230" y="128"/>
                  <a:pt x="230" y="128"/>
                </a:cubicBezTo>
                <a:cubicBezTo>
                  <a:pt x="229" y="129"/>
                  <a:pt x="229" y="129"/>
                  <a:pt x="229" y="129"/>
                </a:cubicBezTo>
                <a:cubicBezTo>
                  <a:pt x="228" y="129"/>
                  <a:pt x="228" y="129"/>
                  <a:pt x="228" y="129"/>
                </a:cubicBezTo>
                <a:cubicBezTo>
                  <a:pt x="227" y="129"/>
                  <a:pt x="227" y="129"/>
                  <a:pt x="227" y="129"/>
                </a:cubicBezTo>
                <a:cubicBezTo>
                  <a:pt x="226" y="127"/>
                  <a:pt x="226" y="127"/>
                  <a:pt x="226" y="127"/>
                </a:cubicBezTo>
                <a:cubicBezTo>
                  <a:pt x="226" y="127"/>
                  <a:pt x="226" y="127"/>
                  <a:pt x="226" y="127"/>
                </a:cubicBezTo>
                <a:cubicBezTo>
                  <a:pt x="225" y="126"/>
                  <a:pt x="225" y="126"/>
                  <a:pt x="225" y="126"/>
                </a:cubicBezTo>
                <a:cubicBezTo>
                  <a:pt x="225" y="126"/>
                  <a:pt x="225" y="126"/>
                  <a:pt x="225" y="126"/>
                </a:cubicBezTo>
                <a:cubicBezTo>
                  <a:pt x="224" y="126"/>
                  <a:pt x="224" y="126"/>
                  <a:pt x="224" y="126"/>
                </a:cubicBezTo>
                <a:cubicBezTo>
                  <a:pt x="224" y="127"/>
                  <a:pt x="224" y="127"/>
                  <a:pt x="224" y="127"/>
                </a:cubicBezTo>
                <a:cubicBezTo>
                  <a:pt x="225" y="128"/>
                  <a:pt x="225" y="128"/>
                  <a:pt x="225" y="128"/>
                </a:cubicBezTo>
                <a:cubicBezTo>
                  <a:pt x="225" y="128"/>
                  <a:pt x="225" y="128"/>
                  <a:pt x="225" y="128"/>
                </a:cubicBezTo>
                <a:cubicBezTo>
                  <a:pt x="225" y="129"/>
                  <a:pt x="225" y="129"/>
                  <a:pt x="225" y="129"/>
                </a:cubicBezTo>
                <a:cubicBezTo>
                  <a:pt x="224" y="129"/>
                  <a:pt x="224" y="129"/>
                  <a:pt x="224" y="129"/>
                </a:cubicBezTo>
                <a:cubicBezTo>
                  <a:pt x="224" y="129"/>
                  <a:pt x="224" y="129"/>
                  <a:pt x="224" y="129"/>
                </a:cubicBezTo>
                <a:cubicBezTo>
                  <a:pt x="224" y="129"/>
                  <a:pt x="224" y="129"/>
                  <a:pt x="224" y="129"/>
                </a:cubicBezTo>
                <a:cubicBezTo>
                  <a:pt x="224" y="130"/>
                  <a:pt x="224" y="130"/>
                  <a:pt x="224" y="130"/>
                </a:cubicBezTo>
                <a:cubicBezTo>
                  <a:pt x="225" y="130"/>
                  <a:pt x="225" y="130"/>
                  <a:pt x="225" y="130"/>
                </a:cubicBezTo>
                <a:cubicBezTo>
                  <a:pt x="225" y="130"/>
                  <a:pt x="225" y="130"/>
                  <a:pt x="225" y="130"/>
                </a:cubicBezTo>
                <a:cubicBezTo>
                  <a:pt x="224" y="131"/>
                  <a:pt x="224" y="131"/>
                  <a:pt x="224" y="131"/>
                </a:cubicBezTo>
                <a:cubicBezTo>
                  <a:pt x="225" y="131"/>
                  <a:pt x="225" y="131"/>
                  <a:pt x="225" y="131"/>
                </a:cubicBezTo>
                <a:cubicBezTo>
                  <a:pt x="225" y="131"/>
                  <a:pt x="225" y="131"/>
                  <a:pt x="225" y="131"/>
                </a:cubicBezTo>
                <a:cubicBezTo>
                  <a:pt x="227" y="131"/>
                  <a:pt x="227" y="131"/>
                  <a:pt x="227" y="131"/>
                </a:cubicBezTo>
                <a:cubicBezTo>
                  <a:pt x="227" y="132"/>
                  <a:pt x="227" y="132"/>
                  <a:pt x="227" y="132"/>
                </a:cubicBezTo>
                <a:cubicBezTo>
                  <a:pt x="227" y="133"/>
                  <a:pt x="227" y="133"/>
                  <a:pt x="227" y="133"/>
                </a:cubicBezTo>
                <a:cubicBezTo>
                  <a:pt x="227" y="133"/>
                  <a:pt x="227" y="133"/>
                  <a:pt x="227" y="133"/>
                </a:cubicBezTo>
                <a:cubicBezTo>
                  <a:pt x="227" y="134"/>
                  <a:pt x="227" y="134"/>
                  <a:pt x="227" y="134"/>
                </a:cubicBezTo>
                <a:cubicBezTo>
                  <a:pt x="228" y="133"/>
                  <a:pt x="228" y="133"/>
                  <a:pt x="228" y="133"/>
                </a:cubicBezTo>
                <a:cubicBezTo>
                  <a:pt x="229" y="132"/>
                  <a:pt x="229" y="132"/>
                  <a:pt x="229" y="132"/>
                </a:cubicBezTo>
                <a:cubicBezTo>
                  <a:pt x="230" y="131"/>
                  <a:pt x="230" y="131"/>
                  <a:pt x="230" y="131"/>
                </a:cubicBezTo>
                <a:cubicBezTo>
                  <a:pt x="230" y="131"/>
                  <a:pt x="230" y="131"/>
                  <a:pt x="230" y="131"/>
                </a:cubicBezTo>
                <a:cubicBezTo>
                  <a:pt x="230" y="132"/>
                  <a:pt x="230" y="132"/>
                  <a:pt x="230" y="132"/>
                </a:cubicBezTo>
                <a:cubicBezTo>
                  <a:pt x="230" y="132"/>
                  <a:pt x="230" y="132"/>
                  <a:pt x="230" y="132"/>
                </a:cubicBezTo>
                <a:cubicBezTo>
                  <a:pt x="231" y="132"/>
                  <a:pt x="231" y="132"/>
                  <a:pt x="231" y="132"/>
                </a:cubicBezTo>
                <a:cubicBezTo>
                  <a:pt x="232" y="133"/>
                  <a:pt x="232" y="133"/>
                  <a:pt x="232" y="133"/>
                </a:cubicBezTo>
                <a:cubicBezTo>
                  <a:pt x="233" y="133"/>
                  <a:pt x="233" y="133"/>
                  <a:pt x="233" y="133"/>
                </a:cubicBezTo>
                <a:cubicBezTo>
                  <a:pt x="233" y="134"/>
                  <a:pt x="233" y="134"/>
                  <a:pt x="233" y="134"/>
                </a:cubicBezTo>
                <a:cubicBezTo>
                  <a:pt x="233" y="135"/>
                  <a:pt x="233" y="135"/>
                  <a:pt x="233" y="135"/>
                </a:cubicBezTo>
                <a:cubicBezTo>
                  <a:pt x="232" y="136"/>
                  <a:pt x="232" y="136"/>
                  <a:pt x="232" y="136"/>
                </a:cubicBezTo>
                <a:cubicBezTo>
                  <a:pt x="232" y="137"/>
                  <a:pt x="232" y="137"/>
                  <a:pt x="232" y="137"/>
                </a:cubicBezTo>
                <a:cubicBezTo>
                  <a:pt x="232" y="139"/>
                  <a:pt x="232" y="139"/>
                  <a:pt x="232" y="139"/>
                </a:cubicBezTo>
                <a:cubicBezTo>
                  <a:pt x="232" y="139"/>
                  <a:pt x="232" y="139"/>
                  <a:pt x="232" y="139"/>
                </a:cubicBezTo>
                <a:cubicBezTo>
                  <a:pt x="232" y="141"/>
                  <a:pt x="232" y="141"/>
                  <a:pt x="232" y="141"/>
                </a:cubicBezTo>
                <a:cubicBezTo>
                  <a:pt x="231" y="142"/>
                  <a:pt x="231" y="142"/>
                  <a:pt x="231" y="142"/>
                </a:cubicBezTo>
                <a:cubicBezTo>
                  <a:pt x="231" y="143"/>
                  <a:pt x="231" y="143"/>
                  <a:pt x="231" y="143"/>
                </a:cubicBezTo>
                <a:cubicBezTo>
                  <a:pt x="231" y="143"/>
                  <a:pt x="231" y="143"/>
                  <a:pt x="231" y="143"/>
                </a:cubicBezTo>
                <a:cubicBezTo>
                  <a:pt x="230" y="143"/>
                  <a:pt x="230" y="143"/>
                  <a:pt x="230" y="143"/>
                </a:cubicBezTo>
                <a:cubicBezTo>
                  <a:pt x="230" y="142"/>
                  <a:pt x="230" y="142"/>
                  <a:pt x="230" y="142"/>
                </a:cubicBezTo>
                <a:cubicBezTo>
                  <a:pt x="228" y="142"/>
                  <a:pt x="228" y="142"/>
                  <a:pt x="228" y="142"/>
                </a:cubicBezTo>
                <a:cubicBezTo>
                  <a:pt x="228" y="141"/>
                  <a:pt x="228" y="141"/>
                  <a:pt x="228" y="141"/>
                </a:cubicBezTo>
                <a:cubicBezTo>
                  <a:pt x="227" y="141"/>
                  <a:pt x="227" y="141"/>
                  <a:pt x="227" y="141"/>
                </a:cubicBezTo>
                <a:cubicBezTo>
                  <a:pt x="227" y="141"/>
                  <a:pt x="227" y="141"/>
                  <a:pt x="227" y="141"/>
                </a:cubicBezTo>
                <a:cubicBezTo>
                  <a:pt x="226" y="141"/>
                  <a:pt x="226" y="141"/>
                  <a:pt x="226" y="141"/>
                </a:cubicBezTo>
                <a:cubicBezTo>
                  <a:pt x="226" y="140"/>
                  <a:pt x="226" y="140"/>
                  <a:pt x="226" y="140"/>
                </a:cubicBezTo>
                <a:cubicBezTo>
                  <a:pt x="226" y="139"/>
                  <a:pt x="226" y="139"/>
                  <a:pt x="226" y="139"/>
                </a:cubicBezTo>
                <a:cubicBezTo>
                  <a:pt x="225" y="139"/>
                  <a:pt x="225" y="139"/>
                  <a:pt x="225" y="139"/>
                </a:cubicBezTo>
                <a:cubicBezTo>
                  <a:pt x="225" y="138"/>
                  <a:pt x="225" y="138"/>
                  <a:pt x="225" y="138"/>
                </a:cubicBezTo>
                <a:cubicBezTo>
                  <a:pt x="224" y="139"/>
                  <a:pt x="224" y="139"/>
                  <a:pt x="224" y="139"/>
                </a:cubicBezTo>
                <a:cubicBezTo>
                  <a:pt x="224" y="138"/>
                  <a:pt x="224" y="138"/>
                  <a:pt x="224" y="138"/>
                </a:cubicBezTo>
                <a:cubicBezTo>
                  <a:pt x="223" y="138"/>
                  <a:pt x="223" y="138"/>
                  <a:pt x="223" y="138"/>
                </a:cubicBezTo>
                <a:cubicBezTo>
                  <a:pt x="222" y="137"/>
                  <a:pt x="222" y="137"/>
                  <a:pt x="222" y="137"/>
                </a:cubicBezTo>
                <a:cubicBezTo>
                  <a:pt x="221" y="138"/>
                  <a:pt x="221" y="138"/>
                  <a:pt x="221" y="138"/>
                </a:cubicBezTo>
                <a:cubicBezTo>
                  <a:pt x="221" y="138"/>
                  <a:pt x="221" y="138"/>
                  <a:pt x="221" y="138"/>
                </a:cubicBezTo>
                <a:cubicBezTo>
                  <a:pt x="221" y="139"/>
                  <a:pt x="221" y="139"/>
                  <a:pt x="221" y="139"/>
                </a:cubicBezTo>
                <a:cubicBezTo>
                  <a:pt x="221" y="139"/>
                  <a:pt x="221" y="139"/>
                  <a:pt x="221" y="139"/>
                </a:cubicBezTo>
                <a:cubicBezTo>
                  <a:pt x="220" y="139"/>
                  <a:pt x="220" y="139"/>
                  <a:pt x="220" y="139"/>
                </a:cubicBezTo>
                <a:cubicBezTo>
                  <a:pt x="219" y="138"/>
                  <a:pt x="219" y="138"/>
                  <a:pt x="219" y="138"/>
                </a:cubicBezTo>
                <a:cubicBezTo>
                  <a:pt x="218" y="139"/>
                  <a:pt x="218" y="139"/>
                  <a:pt x="218" y="139"/>
                </a:cubicBezTo>
                <a:cubicBezTo>
                  <a:pt x="218" y="139"/>
                  <a:pt x="218" y="139"/>
                  <a:pt x="218" y="139"/>
                </a:cubicBezTo>
                <a:cubicBezTo>
                  <a:pt x="219" y="139"/>
                  <a:pt x="219" y="139"/>
                  <a:pt x="219" y="139"/>
                </a:cubicBezTo>
                <a:cubicBezTo>
                  <a:pt x="220" y="139"/>
                  <a:pt x="220" y="139"/>
                  <a:pt x="220" y="139"/>
                </a:cubicBezTo>
                <a:cubicBezTo>
                  <a:pt x="221" y="140"/>
                  <a:pt x="221" y="140"/>
                  <a:pt x="221" y="140"/>
                </a:cubicBezTo>
                <a:cubicBezTo>
                  <a:pt x="221" y="140"/>
                  <a:pt x="221" y="140"/>
                  <a:pt x="221" y="140"/>
                </a:cubicBezTo>
                <a:cubicBezTo>
                  <a:pt x="220" y="140"/>
                  <a:pt x="220" y="140"/>
                  <a:pt x="220" y="140"/>
                </a:cubicBezTo>
                <a:cubicBezTo>
                  <a:pt x="218" y="142"/>
                  <a:pt x="218" y="142"/>
                  <a:pt x="218" y="142"/>
                </a:cubicBezTo>
                <a:cubicBezTo>
                  <a:pt x="217" y="142"/>
                  <a:pt x="217" y="142"/>
                  <a:pt x="217" y="142"/>
                </a:cubicBezTo>
                <a:cubicBezTo>
                  <a:pt x="217" y="142"/>
                  <a:pt x="217" y="142"/>
                  <a:pt x="217" y="142"/>
                </a:cubicBezTo>
                <a:cubicBezTo>
                  <a:pt x="216" y="142"/>
                  <a:pt x="216" y="142"/>
                  <a:pt x="216" y="142"/>
                </a:cubicBezTo>
                <a:cubicBezTo>
                  <a:pt x="216" y="141"/>
                  <a:pt x="216" y="141"/>
                  <a:pt x="216" y="141"/>
                </a:cubicBezTo>
                <a:cubicBezTo>
                  <a:pt x="216" y="141"/>
                  <a:pt x="216" y="141"/>
                  <a:pt x="216" y="141"/>
                </a:cubicBezTo>
                <a:cubicBezTo>
                  <a:pt x="215" y="141"/>
                  <a:pt x="215" y="141"/>
                  <a:pt x="215" y="141"/>
                </a:cubicBezTo>
                <a:cubicBezTo>
                  <a:pt x="215" y="142"/>
                  <a:pt x="215" y="142"/>
                  <a:pt x="215" y="142"/>
                </a:cubicBezTo>
                <a:cubicBezTo>
                  <a:pt x="216" y="142"/>
                  <a:pt x="216" y="142"/>
                  <a:pt x="216" y="142"/>
                </a:cubicBezTo>
                <a:cubicBezTo>
                  <a:pt x="215" y="143"/>
                  <a:pt x="215" y="143"/>
                  <a:pt x="215" y="143"/>
                </a:cubicBezTo>
                <a:cubicBezTo>
                  <a:pt x="215" y="144"/>
                  <a:pt x="215" y="144"/>
                  <a:pt x="215" y="144"/>
                </a:cubicBezTo>
                <a:cubicBezTo>
                  <a:pt x="216" y="144"/>
                  <a:pt x="216" y="144"/>
                  <a:pt x="216" y="144"/>
                </a:cubicBezTo>
                <a:cubicBezTo>
                  <a:pt x="215" y="145"/>
                  <a:pt x="215" y="145"/>
                  <a:pt x="215" y="145"/>
                </a:cubicBezTo>
                <a:cubicBezTo>
                  <a:pt x="216" y="145"/>
                  <a:pt x="216" y="145"/>
                  <a:pt x="216" y="145"/>
                </a:cubicBezTo>
                <a:cubicBezTo>
                  <a:pt x="216" y="146"/>
                  <a:pt x="216" y="146"/>
                  <a:pt x="216" y="146"/>
                </a:cubicBezTo>
                <a:cubicBezTo>
                  <a:pt x="215" y="146"/>
                  <a:pt x="215" y="146"/>
                  <a:pt x="215" y="146"/>
                </a:cubicBezTo>
                <a:cubicBezTo>
                  <a:pt x="214" y="146"/>
                  <a:pt x="214" y="146"/>
                  <a:pt x="214" y="146"/>
                </a:cubicBezTo>
                <a:cubicBezTo>
                  <a:pt x="213" y="146"/>
                  <a:pt x="213" y="146"/>
                  <a:pt x="213" y="146"/>
                </a:cubicBezTo>
                <a:cubicBezTo>
                  <a:pt x="213" y="146"/>
                  <a:pt x="213" y="146"/>
                  <a:pt x="213" y="146"/>
                </a:cubicBezTo>
                <a:cubicBezTo>
                  <a:pt x="214" y="147"/>
                  <a:pt x="214" y="147"/>
                  <a:pt x="214" y="147"/>
                </a:cubicBezTo>
                <a:cubicBezTo>
                  <a:pt x="214" y="147"/>
                  <a:pt x="214" y="147"/>
                  <a:pt x="214" y="147"/>
                </a:cubicBezTo>
                <a:cubicBezTo>
                  <a:pt x="216" y="147"/>
                  <a:pt x="216" y="147"/>
                  <a:pt x="216" y="147"/>
                </a:cubicBezTo>
                <a:cubicBezTo>
                  <a:pt x="216" y="147"/>
                  <a:pt x="216" y="147"/>
                  <a:pt x="216" y="147"/>
                </a:cubicBezTo>
                <a:cubicBezTo>
                  <a:pt x="216" y="148"/>
                  <a:pt x="216" y="148"/>
                  <a:pt x="216" y="148"/>
                </a:cubicBezTo>
                <a:cubicBezTo>
                  <a:pt x="216" y="149"/>
                  <a:pt x="216" y="149"/>
                  <a:pt x="216" y="149"/>
                </a:cubicBezTo>
                <a:cubicBezTo>
                  <a:pt x="216" y="149"/>
                  <a:pt x="216" y="149"/>
                  <a:pt x="216" y="149"/>
                </a:cubicBezTo>
                <a:cubicBezTo>
                  <a:pt x="217" y="149"/>
                  <a:pt x="217" y="149"/>
                  <a:pt x="217" y="149"/>
                </a:cubicBezTo>
                <a:cubicBezTo>
                  <a:pt x="218" y="148"/>
                  <a:pt x="218" y="148"/>
                  <a:pt x="218" y="148"/>
                </a:cubicBezTo>
                <a:cubicBezTo>
                  <a:pt x="219" y="149"/>
                  <a:pt x="219" y="149"/>
                  <a:pt x="219" y="149"/>
                </a:cubicBezTo>
                <a:cubicBezTo>
                  <a:pt x="220" y="149"/>
                  <a:pt x="220" y="149"/>
                  <a:pt x="220" y="149"/>
                </a:cubicBezTo>
                <a:cubicBezTo>
                  <a:pt x="221" y="149"/>
                  <a:pt x="221" y="149"/>
                  <a:pt x="221" y="149"/>
                </a:cubicBezTo>
                <a:cubicBezTo>
                  <a:pt x="222" y="150"/>
                  <a:pt x="222" y="150"/>
                  <a:pt x="222" y="150"/>
                </a:cubicBezTo>
                <a:cubicBezTo>
                  <a:pt x="223" y="149"/>
                  <a:pt x="223" y="149"/>
                  <a:pt x="223" y="149"/>
                </a:cubicBezTo>
                <a:cubicBezTo>
                  <a:pt x="223" y="149"/>
                  <a:pt x="223" y="149"/>
                  <a:pt x="223" y="149"/>
                </a:cubicBezTo>
                <a:cubicBezTo>
                  <a:pt x="224" y="149"/>
                  <a:pt x="224" y="149"/>
                  <a:pt x="224" y="149"/>
                </a:cubicBezTo>
                <a:cubicBezTo>
                  <a:pt x="224" y="150"/>
                  <a:pt x="224" y="150"/>
                  <a:pt x="224" y="150"/>
                </a:cubicBezTo>
                <a:cubicBezTo>
                  <a:pt x="224" y="151"/>
                  <a:pt x="224" y="151"/>
                  <a:pt x="224" y="151"/>
                </a:cubicBezTo>
                <a:cubicBezTo>
                  <a:pt x="224" y="152"/>
                  <a:pt x="224" y="152"/>
                  <a:pt x="224" y="152"/>
                </a:cubicBezTo>
                <a:cubicBezTo>
                  <a:pt x="224" y="152"/>
                  <a:pt x="224" y="152"/>
                  <a:pt x="224" y="152"/>
                </a:cubicBezTo>
                <a:cubicBezTo>
                  <a:pt x="223" y="152"/>
                  <a:pt x="223" y="152"/>
                  <a:pt x="223" y="152"/>
                </a:cubicBezTo>
                <a:cubicBezTo>
                  <a:pt x="222" y="152"/>
                  <a:pt x="222" y="152"/>
                  <a:pt x="222" y="152"/>
                </a:cubicBezTo>
                <a:cubicBezTo>
                  <a:pt x="222" y="152"/>
                  <a:pt x="222" y="152"/>
                  <a:pt x="222" y="152"/>
                </a:cubicBezTo>
                <a:cubicBezTo>
                  <a:pt x="221" y="152"/>
                  <a:pt x="221" y="152"/>
                  <a:pt x="221" y="152"/>
                </a:cubicBezTo>
                <a:cubicBezTo>
                  <a:pt x="220" y="152"/>
                  <a:pt x="220" y="152"/>
                  <a:pt x="220" y="152"/>
                </a:cubicBezTo>
                <a:cubicBezTo>
                  <a:pt x="220" y="152"/>
                  <a:pt x="220" y="152"/>
                  <a:pt x="220" y="152"/>
                </a:cubicBezTo>
                <a:cubicBezTo>
                  <a:pt x="218" y="152"/>
                  <a:pt x="218" y="152"/>
                  <a:pt x="218" y="152"/>
                </a:cubicBezTo>
                <a:cubicBezTo>
                  <a:pt x="217" y="152"/>
                  <a:pt x="217" y="152"/>
                  <a:pt x="217" y="152"/>
                </a:cubicBezTo>
                <a:cubicBezTo>
                  <a:pt x="216" y="152"/>
                  <a:pt x="216" y="152"/>
                  <a:pt x="216" y="152"/>
                </a:cubicBezTo>
                <a:cubicBezTo>
                  <a:pt x="216" y="152"/>
                  <a:pt x="216" y="152"/>
                  <a:pt x="216" y="152"/>
                </a:cubicBezTo>
                <a:cubicBezTo>
                  <a:pt x="215" y="152"/>
                  <a:pt x="215" y="152"/>
                  <a:pt x="215" y="152"/>
                </a:cubicBezTo>
                <a:cubicBezTo>
                  <a:pt x="216" y="153"/>
                  <a:pt x="216" y="153"/>
                  <a:pt x="216" y="153"/>
                </a:cubicBezTo>
                <a:cubicBezTo>
                  <a:pt x="216" y="153"/>
                  <a:pt x="216" y="153"/>
                  <a:pt x="216" y="153"/>
                </a:cubicBezTo>
                <a:cubicBezTo>
                  <a:pt x="217" y="153"/>
                  <a:pt x="217" y="153"/>
                  <a:pt x="217" y="153"/>
                </a:cubicBezTo>
                <a:cubicBezTo>
                  <a:pt x="218" y="153"/>
                  <a:pt x="218" y="153"/>
                  <a:pt x="218" y="153"/>
                </a:cubicBezTo>
                <a:cubicBezTo>
                  <a:pt x="220" y="153"/>
                  <a:pt x="220" y="153"/>
                  <a:pt x="220" y="153"/>
                </a:cubicBezTo>
                <a:cubicBezTo>
                  <a:pt x="220" y="153"/>
                  <a:pt x="220" y="153"/>
                  <a:pt x="220" y="153"/>
                </a:cubicBezTo>
                <a:cubicBezTo>
                  <a:pt x="221" y="154"/>
                  <a:pt x="221" y="154"/>
                  <a:pt x="221" y="154"/>
                </a:cubicBezTo>
                <a:cubicBezTo>
                  <a:pt x="222" y="154"/>
                  <a:pt x="222" y="154"/>
                  <a:pt x="222" y="154"/>
                </a:cubicBezTo>
                <a:cubicBezTo>
                  <a:pt x="223" y="154"/>
                  <a:pt x="223" y="154"/>
                  <a:pt x="223" y="154"/>
                </a:cubicBezTo>
                <a:cubicBezTo>
                  <a:pt x="223" y="155"/>
                  <a:pt x="223" y="155"/>
                  <a:pt x="223" y="155"/>
                </a:cubicBezTo>
                <a:cubicBezTo>
                  <a:pt x="224" y="156"/>
                  <a:pt x="224" y="156"/>
                  <a:pt x="224" y="156"/>
                </a:cubicBezTo>
                <a:cubicBezTo>
                  <a:pt x="225" y="157"/>
                  <a:pt x="225" y="157"/>
                  <a:pt x="225" y="157"/>
                </a:cubicBezTo>
                <a:cubicBezTo>
                  <a:pt x="225" y="158"/>
                  <a:pt x="225" y="158"/>
                  <a:pt x="225" y="158"/>
                </a:cubicBezTo>
                <a:cubicBezTo>
                  <a:pt x="225" y="158"/>
                  <a:pt x="225" y="158"/>
                  <a:pt x="225" y="158"/>
                </a:cubicBezTo>
                <a:cubicBezTo>
                  <a:pt x="224" y="157"/>
                  <a:pt x="224" y="157"/>
                  <a:pt x="224" y="157"/>
                </a:cubicBezTo>
                <a:cubicBezTo>
                  <a:pt x="224" y="157"/>
                  <a:pt x="224" y="157"/>
                  <a:pt x="224" y="157"/>
                </a:cubicBezTo>
                <a:cubicBezTo>
                  <a:pt x="224" y="158"/>
                  <a:pt x="224" y="158"/>
                  <a:pt x="224" y="158"/>
                </a:cubicBezTo>
                <a:cubicBezTo>
                  <a:pt x="223" y="158"/>
                  <a:pt x="223" y="158"/>
                  <a:pt x="223" y="158"/>
                </a:cubicBezTo>
                <a:cubicBezTo>
                  <a:pt x="224" y="159"/>
                  <a:pt x="224" y="159"/>
                  <a:pt x="224" y="159"/>
                </a:cubicBezTo>
                <a:cubicBezTo>
                  <a:pt x="224" y="161"/>
                  <a:pt x="224" y="161"/>
                  <a:pt x="224" y="161"/>
                </a:cubicBezTo>
                <a:cubicBezTo>
                  <a:pt x="224" y="161"/>
                  <a:pt x="224" y="161"/>
                  <a:pt x="224" y="161"/>
                </a:cubicBezTo>
                <a:cubicBezTo>
                  <a:pt x="224" y="162"/>
                  <a:pt x="224" y="162"/>
                  <a:pt x="224" y="162"/>
                </a:cubicBezTo>
                <a:cubicBezTo>
                  <a:pt x="224" y="163"/>
                  <a:pt x="224" y="163"/>
                  <a:pt x="224" y="163"/>
                </a:cubicBezTo>
                <a:cubicBezTo>
                  <a:pt x="224" y="164"/>
                  <a:pt x="224" y="164"/>
                  <a:pt x="224" y="164"/>
                </a:cubicBezTo>
                <a:cubicBezTo>
                  <a:pt x="223" y="166"/>
                  <a:pt x="223" y="166"/>
                  <a:pt x="223" y="166"/>
                </a:cubicBezTo>
                <a:cubicBezTo>
                  <a:pt x="222" y="166"/>
                  <a:pt x="222" y="166"/>
                  <a:pt x="222" y="166"/>
                </a:cubicBezTo>
                <a:cubicBezTo>
                  <a:pt x="222" y="166"/>
                  <a:pt x="222" y="166"/>
                  <a:pt x="222" y="166"/>
                </a:cubicBezTo>
                <a:cubicBezTo>
                  <a:pt x="221" y="166"/>
                  <a:pt x="221" y="166"/>
                  <a:pt x="221" y="166"/>
                </a:cubicBezTo>
                <a:cubicBezTo>
                  <a:pt x="220" y="165"/>
                  <a:pt x="220" y="165"/>
                  <a:pt x="220" y="165"/>
                </a:cubicBezTo>
                <a:cubicBezTo>
                  <a:pt x="221" y="164"/>
                  <a:pt x="221" y="164"/>
                  <a:pt x="221" y="164"/>
                </a:cubicBezTo>
                <a:cubicBezTo>
                  <a:pt x="221" y="164"/>
                  <a:pt x="221" y="164"/>
                  <a:pt x="221" y="164"/>
                </a:cubicBezTo>
                <a:cubicBezTo>
                  <a:pt x="220" y="164"/>
                  <a:pt x="220" y="164"/>
                  <a:pt x="220" y="164"/>
                </a:cubicBezTo>
                <a:cubicBezTo>
                  <a:pt x="220" y="164"/>
                  <a:pt x="220" y="164"/>
                  <a:pt x="220" y="164"/>
                </a:cubicBezTo>
                <a:cubicBezTo>
                  <a:pt x="219" y="164"/>
                  <a:pt x="219" y="164"/>
                  <a:pt x="219" y="164"/>
                </a:cubicBezTo>
                <a:cubicBezTo>
                  <a:pt x="218" y="162"/>
                  <a:pt x="218" y="162"/>
                  <a:pt x="218" y="162"/>
                </a:cubicBezTo>
                <a:cubicBezTo>
                  <a:pt x="217" y="161"/>
                  <a:pt x="217" y="161"/>
                  <a:pt x="217" y="161"/>
                </a:cubicBezTo>
                <a:cubicBezTo>
                  <a:pt x="215" y="160"/>
                  <a:pt x="215" y="160"/>
                  <a:pt x="215" y="160"/>
                </a:cubicBezTo>
                <a:cubicBezTo>
                  <a:pt x="215" y="159"/>
                  <a:pt x="215" y="159"/>
                  <a:pt x="215" y="159"/>
                </a:cubicBezTo>
                <a:cubicBezTo>
                  <a:pt x="215" y="158"/>
                  <a:pt x="215" y="158"/>
                  <a:pt x="215" y="158"/>
                </a:cubicBezTo>
                <a:cubicBezTo>
                  <a:pt x="214" y="157"/>
                  <a:pt x="214" y="157"/>
                  <a:pt x="214" y="157"/>
                </a:cubicBezTo>
                <a:cubicBezTo>
                  <a:pt x="213" y="157"/>
                  <a:pt x="213" y="157"/>
                  <a:pt x="213" y="157"/>
                </a:cubicBezTo>
                <a:cubicBezTo>
                  <a:pt x="213" y="157"/>
                  <a:pt x="213" y="157"/>
                  <a:pt x="213" y="157"/>
                </a:cubicBezTo>
                <a:cubicBezTo>
                  <a:pt x="213" y="157"/>
                  <a:pt x="213" y="157"/>
                  <a:pt x="213" y="157"/>
                </a:cubicBezTo>
                <a:cubicBezTo>
                  <a:pt x="213" y="157"/>
                  <a:pt x="213" y="157"/>
                  <a:pt x="213" y="157"/>
                </a:cubicBezTo>
                <a:cubicBezTo>
                  <a:pt x="214" y="159"/>
                  <a:pt x="214" y="159"/>
                  <a:pt x="214" y="159"/>
                </a:cubicBezTo>
                <a:cubicBezTo>
                  <a:pt x="214" y="159"/>
                  <a:pt x="214" y="159"/>
                  <a:pt x="214" y="159"/>
                </a:cubicBezTo>
                <a:cubicBezTo>
                  <a:pt x="214" y="160"/>
                  <a:pt x="214" y="160"/>
                  <a:pt x="214" y="160"/>
                </a:cubicBezTo>
                <a:cubicBezTo>
                  <a:pt x="212" y="160"/>
                  <a:pt x="212" y="160"/>
                  <a:pt x="212" y="160"/>
                </a:cubicBezTo>
                <a:cubicBezTo>
                  <a:pt x="212" y="159"/>
                  <a:pt x="212" y="159"/>
                  <a:pt x="212" y="159"/>
                </a:cubicBezTo>
                <a:cubicBezTo>
                  <a:pt x="211" y="158"/>
                  <a:pt x="211" y="158"/>
                  <a:pt x="211" y="158"/>
                </a:cubicBezTo>
                <a:cubicBezTo>
                  <a:pt x="210" y="157"/>
                  <a:pt x="210" y="157"/>
                  <a:pt x="210" y="157"/>
                </a:cubicBezTo>
                <a:cubicBezTo>
                  <a:pt x="210" y="158"/>
                  <a:pt x="210" y="158"/>
                  <a:pt x="210" y="158"/>
                </a:cubicBezTo>
                <a:cubicBezTo>
                  <a:pt x="210" y="159"/>
                  <a:pt x="210" y="159"/>
                  <a:pt x="210" y="159"/>
                </a:cubicBezTo>
                <a:cubicBezTo>
                  <a:pt x="211" y="160"/>
                  <a:pt x="211" y="160"/>
                  <a:pt x="211" y="160"/>
                </a:cubicBezTo>
                <a:cubicBezTo>
                  <a:pt x="213" y="161"/>
                  <a:pt x="213" y="161"/>
                  <a:pt x="213" y="161"/>
                </a:cubicBezTo>
                <a:cubicBezTo>
                  <a:pt x="215" y="161"/>
                  <a:pt x="215" y="161"/>
                  <a:pt x="215" y="161"/>
                </a:cubicBezTo>
                <a:cubicBezTo>
                  <a:pt x="217" y="162"/>
                  <a:pt x="217" y="162"/>
                  <a:pt x="217" y="162"/>
                </a:cubicBezTo>
                <a:cubicBezTo>
                  <a:pt x="219" y="164"/>
                  <a:pt x="219" y="164"/>
                  <a:pt x="219" y="164"/>
                </a:cubicBezTo>
                <a:cubicBezTo>
                  <a:pt x="219" y="165"/>
                  <a:pt x="219" y="165"/>
                  <a:pt x="219" y="165"/>
                </a:cubicBezTo>
                <a:cubicBezTo>
                  <a:pt x="219" y="166"/>
                  <a:pt x="219" y="166"/>
                  <a:pt x="219" y="166"/>
                </a:cubicBezTo>
                <a:cubicBezTo>
                  <a:pt x="218" y="165"/>
                  <a:pt x="218" y="165"/>
                  <a:pt x="218" y="165"/>
                </a:cubicBezTo>
                <a:cubicBezTo>
                  <a:pt x="217" y="165"/>
                  <a:pt x="217" y="165"/>
                  <a:pt x="217" y="165"/>
                </a:cubicBezTo>
                <a:cubicBezTo>
                  <a:pt x="216" y="165"/>
                  <a:pt x="216" y="165"/>
                  <a:pt x="216" y="165"/>
                </a:cubicBezTo>
                <a:cubicBezTo>
                  <a:pt x="216" y="165"/>
                  <a:pt x="216" y="165"/>
                  <a:pt x="216" y="165"/>
                </a:cubicBezTo>
                <a:cubicBezTo>
                  <a:pt x="214" y="167"/>
                  <a:pt x="214" y="167"/>
                  <a:pt x="214" y="167"/>
                </a:cubicBezTo>
                <a:cubicBezTo>
                  <a:pt x="214" y="167"/>
                  <a:pt x="214" y="167"/>
                  <a:pt x="214" y="167"/>
                </a:cubicBezTo>
                <a:cubicBezTo>
                  <a:pt x="213" y="166"/>
                  <a:pt x="213" y="166"/>
                  <a:pt x="213" y="166"/>
                </a:cubicBezTo>
                <a:cubicBezTo>
                  <a:pt x="212" y="165"/>
                  <a:pt x="212" y="165"/>
                  <a:pt x="212" y="165"/>
                </a:cubicBezTo>
                <a:cubicBezTo>
                  <a:pt x="213" y="165"/>
                  <a:pt x="213" y="165"/>
                  <a:pt x="213" y="165"/>
                </a:cubicBezTo>
                <a:cubicBezTo>
                  <a:pt x="212" y="164"/>
                  <a:pt x="212" y="164"/>
                  <a:pt x="212" y="164"/>
                </a:cubicBezTo>
                <a:cubicBezTo>
                  <a:pt x="212" y="164"/>
                  <a:pt x="212" y="164"/>
                  <a:pt x="212" y="164"/>
                </a:cubicBezTo>
                <a:cubicBezTo>
                  <a:pt x="212" y="165"/>
                  <a:pt x="212" y="165"/>
                  <a:pt x="212" y="165"/>
                </a:cubicBezTo>
                <a:cubicBezTo>
                  <a:pt x="212" y="165"/>
                  <a:pt x="212" y="165"/>
                  <a:pt x="212" y="165"/>
                </a:cubicBezTo>
                <a:cubicBezTo>
                  <a:pt x="212" y="166"/>
                  <a:pt x="212" y="166"/>
                  <a:pt x="212" y="166"/>
                </a:cubicBezTo>
                <a:cubicBezTo>
                  <a:pt x="213" y="167"/>
                  <a:pt x="213" y="167"/>
                  <a:pt x="213" y="167"/>
                </a:cubicBezTo>
                <a:cubicBezTo>
                  <a:pt x="214" y="167"/>
                  <a:pt x="214" y="167"/>
                  <a:pt x="214" y="167"/>
                </a:cubicBezTo>
                <a:cubicBezTo>
                  <a:pt x="215" y="167"/>
                  <a:pt x="215" y="167"/>
                  <a:pt x="215" y="167"/>
                </a:cubicBezTo>
                <a:cubicBezTo>
                  <a:pt x="216" y="166"/>
                  <a:pt x="216" y="166"/>
                  <a:pt x="216" y="166"/>
                </a:cubicBezTo>
                <a:cubicBezTo>
                  <a:pt x="217" y="166"/>
                  <a:pt x="217" y="166"/>
                  <a:pt x="217" y="166"/>
                </a:cubicBezTo>
                <a:cubicBezTo>
                  <a:pt x="218" y="167"/>
                  <a:pt x="218" y="167"/>
                  <a:pt x="218" y="167"/>
                </a:cubicBezTo>
                <a:cubicBezTo>
                  <a:pt x="218" y="167"/>
                  <a:pt x="218" y="167"/>
                  <a:pt x="218" y="167"/>
                </a:cubicBezTo>
                <a:cubicBezTo>
                  <a:pt x="218" y="168"/>
                  <a:pt x="218" y="168"/>
                  <a:pt x="218" y="168"/>
                </a:cubicBezTo>
                <a:cubicBezTo>
                  <a:pt x="217" y="170"/>
                  <a:pt x="217" y="170"/>
                  <a:pt x="217" y="170"/>
                </a:cubicBezTo>
                <a:cubicBezTo>
                  <a:pt x="217" y="171"/>
                  <a:pt x="217" y="171"/>
                  <a:pt x="217" y="171"/>
                </a:cubicBezTo>
                <a:cubicBezTo>
                  <a:pt x="216" y="171"/>
                  <a:pt x="216" y="171"/>
                  <a:pt x="216" y="171"/>
                </a:cubicBezTo>
                <a:cubicBezTo>
                  <a:pt x="216" y="171"/>
                  <a:pt x="216" y="171"/>
                  <a:pt x="216" y="171"/>
                </a:cubicBezTo>
                <a:cubicBezTo>
                  <a:pt x="217" y="172"/>
                  <a:pt x="217" y="172"/>
                  <a:pt x="217" y="172"/>
                </a:cubicBezTo>
                <a:cubicBezTo>
                  <a:pt x="218" y="171"/>
                  <a:pt x="218" y="171"/>
                  <a:pt x="218" y="171"/>
                </a:cubicBezTo>
                <a:cubicBezTo>
                  <a:pt x="219" y="171"/>
                  <a:pt x="219" y="171"/>
                  <a:pt x="219" y="171"/>
                </a:cubicBezTo>
                <a:cubicBezTo>
                  <a:pt x="220" y="173"/>
                  <a:pt x="220" y="173"/>
                  <a:pt x="220" y="173"/>
                </a:cubicBezTo>
                <a:cubicBezTo>
                  <a:pt x="221" y="173"/>
                  <a:pt x="221" y="173"/>
                  <a:pt x="221" y="173"/>
                </a:cubicBezTo>
                <a:cubicBezTo>
                  <a:pt x="222" y="173"/>
                  <a:pt x="222" y="173"/>
                  <a:pt x="222" y="173"/>
                </a:cubicBezTo>
                <a:cubicBezTo>
                  <a:pt x="223" y="172"/>
                  <a:pt x="223" y="172"/>
                  <a:pt x="223" y="172"/>
                </a:cubicBezTo>
                <a:cubicBezTo>
                  <a:pt x="224" y="173"/>
                  <a:pt x="224" y="173"/>
                  <a:pt x="224" y="173"/>
                </a:cubicBezTo>
                <a:cubicBezTo>
                  <a:pt x="224" y="173"/>
                  <a:pt x="224" y="173"/>
                  <a:pt x="224" y="173"/>
                </a:cubicBezTo>
                <a:cubicBezTo>
                  <a:pt x="223" y="174"/>
                  <a:pt x="223" y="174"/>
                  <a:pt x="223" y="174"/>
                </a:cubicBezTo>
                <a:cubicBezTo>
                  <a:pt x="223" y="175"/>
                  <a:pt x="223" y="175"/>
                  <a:pt x="223" y="175"/>
                </a:cubicBezTo>
                <a:cubicBezTo>
                  <a:pt x="224" y="175"/>
                  <a:pt x="224" y="175"/>
                  <a:pt x="224" y="175"/>
                </a:cubicBezTo>
                <a:cubicBezTo>
                  <a:pt x="224" y="176"/>
                  <a:pt x="224" y="176"/>
                  <a:pt x="224" y="176"/>
                </a:cubicBezTo>
                <a:cubicBezTo>
                  <a:pt x="222" y="178"/>
                  <a:pt x="222" y="178"/>
                  <a:pt x="222" y="178"/>
                </a:cubicBezTo>
                <a:cubicBezTo>
                  <a:pt x="221" y="179"/>
                  <a:pt x="221" y="179"/>
                  <a:pt x="221" y="179"/>
                </a:cubicBezTo>
                <a:cubicBezTo>
                  <a:pt x="220" y="179"/>
                  <a:pt x="220" y="179"/>
                  <a:pt x="220" y="179"/>
                </a:cubicBezTo>
                <a:cubicBezTo>
                  <a:pt x="220" y="178"/>
                  <a:pt x="220" y="178"/>
                  <a:pt x="220" y="178"/>
                </a:cubicBezTo>
                <a:cubicBezTo>
                  <a:pt x="220" y="177"/>
                  <a:pt x="220" y="177"/>
                  <a:pt x="220" y="177"/>
                </a:cubicBezTo>
                <a:cubicBezTo>
                  <a:pt x="219" y="177"/>
                  <a:pt x="219" y="177"/>
                  <a:pt x="219" y="177"/>
                </a:cubicBezTo>
                <a:cubicBezTo>
                  <a:pt x="219" y="176"/>
                  <a:pt x="219" y="176"/>
                  <a:pt x="219" y="176"/>
                </a:cubicBezTo>
                <a:cubicBezTo>
                  <a:pt x="218" y="175"/>
                  <a:pt x="218" y="175"/>
                  <a:pt x="218" y="175"/>
                </a:cubicBezTo>
                <a:cubicBezTo>
                  <a:pt x="217" y="174"/>
                  <a:pt x="217" y="174"/>
                  <a:pt x="217" y="174"/>
                </a:cubicBezTo>
                <a:cubicBezTo>
                  <a:pt x="216" y="174"/>
                  <a:pt x="216" y="174"/>
                  <a:pt x="216" y="174"/>
                </a:cubicBezTo>
                <a:cubicBezTo>
                  <a:pt x="215" y="174"/>
                  <a:pt x="215" y="174"/>
                  <a:pt x="215" y="174"/>
                </a:cubicBezTo>
                <a:cubicBezTo>
                  <a:pt x="214" y="174"/>
                  <a:pt x="214" y="174"/>
                  <a:pt x="214" y="174"/>
                </a:cubicBezTo>
                <a:cubicBezTo>
                  <a:pt x="213" y="174"/>
                  <a:pt x="213" y="174"/>
                  <a:pt x="213" y="174"/>
                </a:cubicBezTo>
                <a:cubicBezTo>
                  <a:pt x="213" y="174"/>
                  <a:pt x="213" y="174"/>
                  <a:pt x="213" y="174"/>
                </a:cubicBezTo>
                <a:cubicBezTo>
                  <a:pt x="212" y="173"/>
                  <a:pt x="212" y="173"/>
                  <a:pt x="212" y="173"/>
                </a:cubicBezTo>
                <a:cubicBezTo>
                  <a:pt x="212" y="172"/>
                  <a:pt x="212" y="172"/>
                  <a:pt x="212" y="172"/>
                </a:cubicBezTo>
                <a:cubicBezTo>
                  <a:pt x="211" y="172"/>
                  <a:pt x="211" y="172"/>
                  <a:pt x="211" y="172"/>
                </a:cubicBezTo>
                <a:cubicBezTo>
                  <a:pt x="211" y="173"/>
                  <a:pt x="211" y="173"/>
                  <a:pt x="211" y="173"/>
                </a:cubicBezTo>
                <a:cubicBezTo>
                  <a:pt x="212" y="173"/>
                  <a:pt x="212" y="173"/>
                  <a:pt x="212" y="173"/>
                </a:cubicBezTo>
                <a:cubicBezTo>
                  <a:pt x="212" y="175"/>
                  <a:pt x="212" y="175"/>
                  <a:pt x="212" y="175"/>
                </a:cubicBezTo>
                <a:cubicBezTo>
                  <a:pt x="211" y="176"/>
                  <a:pt x="211" y="176"/>
                  <a:pt x="211" y="176"/>
                </a:cubicBezTo>
                <a:cubicBezTo>
                  <a:pt x="211" y="176"/>
                  <a:pt x="211" y="176"/>
                  <a:pt x="211" y="176"/>
                </a:cubicBezTo>
                <a:cubicBezTo>
                  <a:pt x="210" y="176"/>
                  <a:pt x="210" y="176"/>
                  <a:pt x="210" y="176"/>
                </a:cubicBezTo>
                <a:cubicBezTo>
                  <a:pt x="209" y="176"/>
                  <a:pt x="209" y="176"/>
                  <a:pt x="209" y="176"/>
                </a:cubicBezTo>
                <a:cubicBezTo>
                  <a:pt x="210" y="177"/>
                  <a:pt x="210" y="177"/>
                  <a:pt x="210" y="177"/>
                </a:cubicBezTo>
                <a:cubicBezTo>
                  <a:pt x="210" y="177"/>
                  <a:pt x="210" y="177"/>
                  <a:pt x="210" y="177"/>
                </a:cubicBezTo>
                <a:cubicBezTo>
                  <a:pt x="210" y="178"/>
                  <a:pt x="210" y="178"/>
                  <a:pt x="210" y="178"/>
                </a:cubicBezTo>
                <a:cubicBezTo>
                  <a:pt x="209" y="179"/>
                  <a:pt x="209" y="179"/>
                  <a:pt x="209" y="179"/>
                </a:cubicBezTo>
                <a:cubicBezTo>
                  <a:pt x="209" y="179"/>
                  <a:pt x="209" y="179"/>
                  <a:pt x="209" y="179"/>
                </a:cubicBezTo>
                <a:cubicBezTo>
                  <a:pt x="209" y="180"/>
                  <a:pt x="209" y="180"/>
                  <a:pt x="209" y="180"/>
                </a:cubicBezTo>
                <a:cubicBezTo>
                  <a:pt x="209" y="180"/>
                  <a:pt x="209" y="180"/>
                  <a:pt x="209" y="180"/>
                </a:cubicBezTo>
                <a:cubicBezTo>
                  <a:pt x="210" y="181"/>
                  <a:pt x="210" y="181"/>
                  <a:pt x="210" y="181"/>
                </a:cubicBezTo>
                <a:cubicBezTo>
                  <a:pt x="210" y="182"/>
                  <a:pt x="210" y="182"/>
                  <a:pt x="210" y="182"/>
                </a:cubicBezTo>
                <a:cubicBezTo>
                  <a:pt x="211" y="182"/>
                  <a:pt x="211" y="182"/>
                  <a:pt x="211" y="182"/>
                </a:cubicBezTo>
                <a:cubicBezTo>
                  <a:pt x="211" y="184"/>
                  <a:pt x="211" y="184"/>
                  <a:pt x="211" y="184"/>
                </a:cubicBezTo>
                <a:cubicBezTo>
                  <a:pt x="211" y="185"/>
                  <a:pt x="211" y="185"/>
                  <a:pt x="211" y="185"/>
                </a:cubicBezTo>
                <a:cubicBezTo>
                  <a:pt x="211" y="185"/>
                  <a:pt x="211" y="185"/>
                  <a:pt x="211" y="185"/>
                </a:cubicBezTo>
                <a:cubicBezTo>
                  <a:pt x="211" y="184"/>
                  <a:pt x="211" y="184"/>
                  <a:pt x="211" y="184"/>
                </a:cubicBezTo>
                <a:cubicBezTo>
                  <a:pt x="212" y="184"/>
                  <a:pt x="212" y="184"/>
                  <a:pt x="212" y="184"/>
                </a:cubicBezTo>
                <a:cubicBezTo>
                  <a:pt x="212" y="183"/>
                  <a:pt x="212" y="183"/>
                  <a:pt x="212" y="183"/>
                </a:cubicBezTo>
                <a:cubicBezTo>
                  <a:pt x="211" y="182"/>
                  <a:pt x="211" y="182"/>
                  <a:pt x="211" y="182"/>
                </a:cubicBezTo>
                <a:cubicBezTo>
                  <a:pt x="211" y="181"/>
                  <a:pt x="211" y="181"/>
                  <a:pt x="211" y="181"/>
                </a:cubicBezTo>
                <a:cubicBezTo>
                  <a:pt x="212" y="180"/>
                  <a:pt x="212" y="180"/>
                  <a:pt x="212" y="180"/>
                </a:cubicBezTo>
                <a:cubicBezTo>
                  <a:pt x="212" y="180"/>
                  <a:pt x="212" y="180"/>
                  <a:pt x="212" y="180"/>
                </a:cubicBezTo>
                <a:cubicBezTo>
                  <a:pt x="212" y="181"/>
                  <a:pt x="212" y="181"/>
                  <a:pt x="212" y="181"/>
                </a:cubicBezTo>
                <a:cubicBezTo>
                  <a:pt x="213" y="182"/>
                  <a:pt x="213" y="182"/>
                  <a:pt x="213" y="182"/>
                </a:cubicBezTo>
                <a:cubicBezTo>
                  <a:pt x="213" y="183"/>
                  <a:pt x="213" y="183"/>
                  <a:pt x="213" y="183"/>
                </a:cubicBezTo>
                <a:cubicBezTo>
                  <a:pt x="214" y="183"/>
                  <a:pt x="214" y="183"/>
                  <a:pt x="214" y="183"/>
                </a:cubicBezTo>
                <a:cubicBezTo>
                  <a:pt x="215" y="183"/>
                  <a:pt x="215" y="183"/>
                  <a:pt x="215" y="183"/>
                </a:cubicBezTo>
                <a:cubicBezTo>
                  <a:pt x="215" y="183"/>
                  <a:pt x="215" y="183"/>
                  <a:pt x="215" y="183"/>
                </a:cubicBezTo>
                <a:cubicBezTo>
                  <a:pt x="215" y="183"/>
                  <a:pt x="215" y="183"/>
                  <a:pt x="215" y="183"/>
                </a:cubicBezTo>
                <a:cubicBezTo>
                  <a:pt x="216" y="183"/>
                  <a:pt x="216" y="183"/>
                  <a:pt x="216" y="183"/>
                </a:cubicBezTo>
                <a:cubicBezTo>
                  <a:pt x="217" y="182"/>
                  <a:pt x="217" y="182"/>
                  <a:pt x="217" y="182"/>
                </a:cubicBezTo>
                <a:cubicBezTo>
                  <a:pt x="218" y="183"/>
                  <a:pt x="218" y="183"/>
                  <a:pt x="218" y="183"/>
                </a:cubicBezTo>
                <a:cubicBezTo>
                  <a:pt x="218" y="183"/>
                  <a:pt x="218" y="183"/>
                  <a:pt x="218" y="183"/>
                </a:cubicBezTo>
                <a:cubicBezTo>
                  <a:pt x="218" y="184"/>
                  <a:pt x="218" y="184"/>
                  <a:pt x="218" y="184"/>
                </a:cubicBezTo>
                <a:cubicBezTo>
                  <a:pt x="217" y="185"/>
                  <a:pt x="217" y="185"/>
                  <a:pt x="217" y="185"/>
                </a:cubicBezTo>
                <a:cubicBezTo>
                  <a:pt x="217" y="186"/>
                  <a:pt x="217" y="186"/>
                  <a:pt x="217" y="186"/>
                </a:cubicBezTo>
                <a:cubicBezTo>
                  <a:pt x="217" y="187"/>
                  <a:pt x="217" y="187"/>
                  <a:pt x="217" y="187"/>
                </a:cubicBezTo>
                <a:cubicBezTo>
                  <a:pt x="217" y="189"/>
                  <a:pt x="217" y="189"/>
                  <a:pt x="217" y="189"/>
                </a:cubicBezTo>
                <a:cubicBezTo>
                  <a:pt x="216" y="189"/>
                  <a:pt x="216" y="189"/>
                  <a:pt x="216" y="189"/>
                </a:cubicBezTo>
                <a:cubicBezTo>
                  <a:pt x="215" y="189"/>
                  <a:pt x="215" y="189"/>
                  <a:pt x="215" y="189"/>
                </a:cubicBezTo>
                <a:cubicBezTo>
                  <a:pt x="214" y="190"/>
                  <a:pt x="214" y="190"/>
                  <a:pt x="214" y="190"/>
                </a:cubicBezTo>
                <a:cubicBezTo>
                  <a:pt x="213" y="189"/>
                  <a:pt x="213" y="189"/>
                  <a:pt x="213" y="189"/>
                </a:cubicBezTo>
                <a:cubicBezTo>
                  <a:pt x="212" y="189"/>
                  <a:pt x="212" y="189"/>
                  <a:pt x="212" y="189"/>
                </a:cubicBezTo>
                <a:cubicBezTo>
                  <a:pt x="212" y="189"/>
                  <a:pt x="212" y="189"/>
                  <a:pt x="212" y="189"/>
                </a:cubicBezTo>
                <a:cubicBezTo>
                  <a:pt x="211" y="190"/>
                  <a:pt x="211" y="190"/>
                  <a:pt x="211" y="190"/>
                </a:cubicBezTo>
                <a:cubicBezTo>
                  <a:pt x="211" y="190"/>
                  <a:pt x="211" y="190"/>
                  <a:pt x="211" y="190"/>
                </a:cubicBezTo>
                <a:cubicBezTo>
                  <a:pt x="210" y="191"/>
                  <a:pt x="210" y="191"/>
                  <a:pt x="210" y="191"/>
                </a:cubicBezTo>
                <a:cubicBezTo>
                  <a:pt x="209" y="191"/>
                  <a:pt x="209" y="191"/>
                  <a:pt x="209" y="191"/>
                </a:cubicBezTo>
                <a:cubicBezTo>
                  <a:pt x="209" y="191"/>
                  <a:pt x="209" y="191"/>
                  <a:pt x="209" y="191"/>
                </a:cubicBezTo>
                <a:cubicBezTo>
                  <a:pt x="208" y="192"/>
                  <a:pt x="208" y="192"/>
                  <a:pt x="208" y="192"/>
                </a:cubicBezTo>
                <a:cubicBezTo>
                  <a:pt x="208" y="192"/>
                  <a:pt x="208" y="192"/>
                  <a:pt x="208" y="192"/>
                </a:cubicBezTo>
                <a:cubicBezTo>
                  <a:pt x="208" y="192"/>
                  <a:pt x="208" y="192"/>
                  <a:pt x="208" y="192"/>
                </a:cubicBezTo>
                <a:cubicBezTo>
                  <a:pt x="207" y="192"/>
                  <a:pt x="207" y="192"/>
                  <a:pt x="207" y="192"/>
                </a:cubicBezTo>
                <a:cubicBezTo>
                  <a:pt x="206" y="191"/>
                  <a:pt x="206" y="191"/>
                  <a:pt x="206" y="191"/>
                </a:cubicBezTo>
                <a:cubicBezTo>
                  <a:pt x="204" y="191"/>
                  <a:pt x="204" y="191"/>
                  <a:pt x="204" y="191"/>
                </a:cubicBezTo>
                <a:cubicBezTo>
                  <a:pt x="203" y="189"/>
                  <a:pt x="203" y="189"/>
                  <a:pt x="203" y="189"/>
                </a:cubicBezTo>
                <a:cubicBezTo>
                  <a:pt x="201" y="187"/>
                  <a:pt x="201" y="187"/>
                  <a:pt x="201" y="187"/>
                </a:cubicBezTo>
                <a:cubicBezTo>
                  <a:pt x="200" y="186"/>
                  <a:pt x="200" y="186"/>
                  <a:pt x="200" y="186"/>
                </a:cubicBezTo>
                <a:cubicBezTo>
                  <a:pt x="200" y="185"/>
                  <a:pt x="200" y="185"/>
                  <a:pt x="200" y="185"/>
                </a:cubicBezTo>
                <a:cubicBezTo>
                  <a:pt x="201" y="185"/>
                  <a:pt x="201" y="185"/>
                  <a:pt x="201" y="185"/>
                </a:cubicBezTo>
                <a:cubicBezTo>
                  <a:pt x="201" y="185"/>
                  <a:pt x="201" y="185"/>
                  <a:pt x="201" y="185"/>
                </a:cubicBezTo>
                <a:cubicBezTo>
                  <a:pt x="201" y="185"/>
                  <a:pt x="201" y="185"/>
                  <a:pt x="201" y="185"/>
                </a:cubicBezTo>
                <a:cubicBezTo>
                  <a:pt x="202" y="186"/>
                  <a:pt x="202" y="186"/>
                  <a:pt x="202" y="186"/>
                </a:cubicBezTo>
                <a:cubicBezTo>
                  <a:pt x="204" y="187"/>
                  <a:pt x="204" y="187"/>
                  <a:pt x="204" y="187"/>
                </a:cubicBezTo>
                <a:cubicBezTo>
                  <a:pt x="205" y="188"/>
                  <a:pt x="205" y="188"/>
                  <a:pt x="205" y="188"/>
                </a:cubicBezTo>
                <a:cubicBezTo>
                  <a:pt x="206" y="188"/>
                  <a:pt x="206" y="188"/>
                  <a:pt x="206" y="188"/>
                </a:cubicBezTo>
                <a:cubicBezTo>
                  <a:pt x="207" y="187"/>
                  <a:pt x="207" y="187"/>
                  <a:pt x="207" y="187"/>
                </a:cubicBezTo>
                <a:cubicBezTo>
                  <a:pt x="208" y="187"/>
                  <a:pt x="208" y="187"/>
                  <a:pt x="208" y="187"/>
                </a:cubicBezTo>
                <a:cubicBezTo>
                  <a:pt x="207" y="186"/>
                  <a:pt x="207" y="186"/>
                  <a:pt x="207" y="186"/>
                </a:cubicBezTo>
                <a:cubicBezTo>
                  <a:pt x="207" y="186"/>
                  <a:pt x="207" y="186"/>
                  <a:pt x="207" y="186"/>
                </a:cubicBezTo>
                <a:cubicBezTo>
                  <a:pt x="206" y="187"/>
                  <a:pt x="206" y="187"/>
                  <a:pt x="206" y="187"/>
                </a:cubicBezTo>
                <a:cubicBezTo>
                  <a:pt x="205" y="186"/>
                  <a:pt x="205" y="186"/>
                  <a:pt x="205" y="186"/>
                </a:cubicBezTo>
                <a:cubicBezTo>
                  <a:pt x="203" y="185"/>
                  <a:pt x="203" y="185"/>
                  <a:pt x="203" y="185"/>
                </a:cubicBezTo>
                <a:cubicBezTo>
                  <a:pt x="201" y="184"/>
                  <a:pt x="201" y="184"/>
                  <a:pt x="201" y="184"/>
                </a:cubicBezTo>
                <a:cubicBezTo>
                  <a:pt x="200" y="184"/>
                  <a:pt x="200" y="184"/>
                  <a:pt x="200" y="184"/>
                </a:cubicBezTo>
                <a:cubicBezTo>
                  <a:pt x="200" y="184"/>
                  <a:pt x="200" y="184"/>
                  <a:pt x="200" y="184"/>
                </a:cubicBezTo>
                <a:cubicBezTo>
                  <a:pt x="200" y="183"/>
                  <a:pt x="200" y="183"/>
                  <a:pt x="200" y="183"/>
                </a:cubicBezTo>
                <a:cubicBezTo>
                  <a:pt x="200" y="183"/>
                  <a:pt x="200" y="183"/>
                  <a:pt x="200" y="183"/>
                </a:cubicBezTo>
                <a:cubicBezTo>
                  <a:pt x="199" y="183"/>
                  <a:pt x="199" y="183"/>
                  <a:pt x="199" y="183"/>
                </a:cubicBezTo>
                <a:cubicBezTo>
                  <a:pt x="199" y="183"/>
                  <a:pt x="199" y="183"/>
                  <a:pt x="199" y="183"/>
                </a:cubicBezTo>
                <a:cubicBezTo>
                  <a:pt x="199" y="184"/>
                  <a:pt x="199" y="184"/>
                  <a:pt x="199" y="184"/>
                </a:cubicBezTo>
                <a:cubicBezTo>
                  <a:pt x="198" y="186"/>
                  <a:pt x="198" y="186"/>
                  <a:pt x="198" y="186"/>
                </a:cubicBezTo>
                <a:cubicBezTo>
                  <a:pt x="198" y="187"/>
                  <a:pt x="198" y="187"/>
                  <a:pt x="198" y="187"/>
                </a:cubicBezTo>
                <a:cubicBezTo>
                  <a:pt x="198" y="188"/>
                  <a:pt x="198" y="188"/>
                  <a:pt x="198" y="188"/>
                </a:cubicBezTo>
                <a:cubicBezTo>
                  <a:pt x="198" y="187"/>
                  <a:pt x="198" y="187"/>
                  <a:pt x="198" y="187"/>
                </a:cubicBezTo>
                <a:cubicBezTo>
                  <a:pt x="196" y="185"/>
                  <a:pt x="196" y="185"/>
                  <a:pt x="196" y="185"/>
                </a:cubicBezTo>
                <a:cubicBezTo>
                  <a:pt x="195" y="183"/>
                  <a:pt x="195" y="183"/>
                  <a:pt x="195" y="183"/>
                </a:cubicBezTo>
                <a:cubicBezTo>
                  <a:pt x="194" y="182"/>
                  <a:pt x="194" y="182"/>
                  <a:pt x="194" y="182"/>
                </a:cubicBezTo>
                <a:cubicBezTo>
                  <a:pt x="194" y="182"/>
                  <a:pt x="194" y="182"/>
                  <a:pt x="194" y="182"/>
                </a:cubicBezTo>
                <a:cubicBezTo>
                  <a:pt x="194" y="181"/>
                  <a:pt x="194" y="181"/>
                  <a:pt x="194" y="181"/>
                </a:cubicBezTo>
                <a:cubicBezTo>
                  <a:pt x="193" y="181"/>
                  <a:pt x="193" y="181"/>
                  <a:pt x="193" y="181"/>
                </a:cubicBezTo>
                <a:cubicBezTo>
                  <a:pt x="193" y="181"/>
                  <a:pt x="193" y="181"/>
                  <a:pt x="193" y="181"/>
                </a:cubicBezTo>
                <a:cubicBezTo>
                  <a:pt x="193" y="182"/>
                  <a:pt x="193" y="182"/>
                  <a:pt x="193" y="182"/>
                </a:cubicBezTo>
                <a:cubicBezTo>
                  <a:pt x="194" y="183"/>
                  <a:pt x="194" y="183"/>
                  <a:pt x="194" y="183"/>
                </a:cubicBezTo>
                <a:cubicBezTo>
                  <a:pt x="195" y="185"/>
                  <a:pt x="195" y="185"/>
                  <a:pt x="195" y="185"/>
                </a:cubicBezTo>
                <a:cubicBezTo>
                  <a:pt x="195" y="186"/>
                  <a:pt x="195" y="186"/>
                  <a:pt x="195" y="186"/>
                </a:cubicBezTo>
                <a:cubicBezTo>
                  <a:pt x="196" y="186"/>
                  <a:pt x="196" y="186"/>
                  <a:pt x="196" y="186"/>
                </a:cubicBezTo>
                <a:cubicBezTo>
                  <a:pt x="197" y="187"/>
                  <a:pt x="197" y="187"/>
                  <a:pt x="197" y="187"/>
                </a:cubicBezTo>
                <a:cubicBezTo>
                  <a:pt x="196" y="188"/>
                  <a:pt x="196" y="188"/>
                  <a:pt x="196" y="188"/>
                </a:cubicBezTo>
                <a:cubicBezTo>
                  <a:pt x="196" y="188"/>
                  <a:pt x="196" y="188"/>
                  <a:pt x="196" y="188"/>
                </a:cubicBezTo>
                <a:cubicBezTo>
                  <a:pt x="195" y="188"/>
                  <a:pt x="195" y="188"/>
                  <a:pt x="195" y="188"/>
                </a:cubicBezTo>
                <a:cubicBezTo>
                  <a:pt x="194" y="189"/>
                  <a:pt x="194" y="189"/>
                  <a:pt x="194" y="189"/>
                </a:cubicBezTo>
                <a:cubicBezTo>
                  <a:pt x="194" y="189"/>
                  <a:pt x="194" y="189"/>
                  <a:pt x="194" y="189"/>
                </a:cubicBezTo>
                <a:cubicBezTo>
                  <a:pt x="193" y="190"/>
                  <a:pt x="193" y="190"/>
                  <a:pt x="193" y="190"/>
                </a:cubicBezTo>
                <a:cubicBezTo>
                  <a:pt x="192" y="190"/>
                  <a:pt x="192" y="190"/>
                  <a:pt x="192" y="190"/>
                </a:cubicBezTo>
                <a:cubicBezTo>
                  <a:pt x="191" y="190"/>
                  <a:pt x="191" y="190"/>
                  <a:pt x="191" y="190"/>
                </a:cubicBezTo>
                <a:cubicBezTo>
                  <a:pt x="190" y="190"/>
                  <a:pt x="190" y="190"/>
                  <a:pt x="190" y="190"/>
                </a:cubicBezTo>
                <a:cubicBezTo>
                  <a:pt x="189" y="190"/>
                  <a:pt x="189" y="190"/>
                  <a:pt x="189" y="190"/>
                </a:cubicBezTo>
                <a:cubicBezTo>
                  <a:pt x="189" y="189"/>
                  <a:pt x="189" y="189"/>
                  <a:pt x="189" y="189"/>
                </a:cubicBezTo>
                <a:cubicBezTo>
                  <a:pt x="188" y="189"/>
                  <a:pt x="188" y="189"/>
                  <a:pt x="188" y="189"/>
                </a:cubicBezTo>
                <a:cubicBezTo>
                  <a:pt x="188" y="189"/>
                  <a:pt x="188" y="189"/>
                  <a:pt x="188" y="189"/>
                </a:cubicBezTo>
                <a:cubicBezTo>
                  <a:pt x="186" y="188"/>
                  <a:pt x="186" y="188"/>
                  <a:pt x="186" y="188"/>
                </a:cubicBezTo>
                <a:cubicBezTo>
                  <a:pt x="186" y="187"/>
                  <a:pt x="186" y="187"/>
                  <a:pt x="186" y="187"/>
                </a:cubicBezTo>
                <a:cubicBezTo>
                  <a:pt x="186" y="186"/>
                  <a:pt x="186" y="186"/>
                  <a:pt x="186" y="186"/>
                </a:cubicBezTo>
                <a:cubicBezTo>
                  <a:pt x="185" y="186"/>
                  <a:pt x="185" y="186"/>
                  <a:pt x="185" y="186"/>
                </a:cubicBezTo>
                <a:cubicBezTo>
                  <a:pt x="185" y="186"/>
                  <a:pt x="185" y="186"/>
                  <a:pt x="185" y="186"/>
                </a:cubicBezTo>
                <a:cubicBezTo>
                  <a:pt x="185" y="186"/>
                  <a:pt x="185" y="186"/>
                  <a:pt x="185" y="186"/>
                </a:cubicBezTo>
                <a:cubicBezTo>
                  <a:pt x="185" y="187"/>
                  <a:pt x="185" y="187"/>
                  <a:pt x="185" y="187"/>
                </a:cubicBezTo>
                <a:cubicBezTo>
                  <a:pt x="185" y="188"/>
                  <a:pt x="185" y="188"/>
                  <a:pt x="185" y="188"/>
                </a:cubicBezTo>
                <a:cubicBezTo>
                  <a:pt x="186" y="188"/>
                  <a:pt x="186" y="188"/>
                  <a:pt x="186" y="188"/>
                </a:cubicBezTo>
                <a:cubicBezTo>
                  <a:pt x="187" y="189"/>
                  <a:pt x="187" y="189"/>
                  <a:pt x="187" y="189"/>
                </a:cubicBezTo>
                <a:cubicBezTo>
                  <a:pt x="188" y="190"/>
                  <a:pt x="188" y="190"/>
                  <a:pt x="188" y="190"/>
                </a:cubicBezTo>
                <a:cubicBezTo>
                  <a:pt x="188" y="191"/>
                  <a:pt x="188" y="191"/>
                  <a:pt x="188" y="191"/>
                </a:cubicBezTo>
                <a:cubicBezTo>
                  <a:pt x="187" y="191"/>
                  <a:pt x="187" y="191"/>
                  <a:pt x="187" y="191"/>
                </a:cubicBezTo>
                <a:cubicBezTo>
                  <a:pt x="185" y="191"/>
                  <a:pt x="185" y="191"/>
                  <a:pt x="185" y="191"/>
                </a:cubicBezTo>
                <a:cubicBezTo>
                  <a:pt x="184" y="191"/>
                  <a:pt x="184" y="191"/>
                  <a:pt x="184" y="191"/>
                </a:cubicBezTo>
                <a:cubicBezTo>
                  <a:pt x="183" y="191"/>
                  <a:pt x="183" y="191"/>
                  <a:pt x="183" y="191"/>
                </a:cubicBezTo>
                <a:cubicBezTo>
                  <a:pt x="182" y="192"/>
                  <a:pt x="182" y="192"/>
                  <a:pt x="182" y="192"/>
                </a:cubicBezTo>
                <a:cubicBezTo>
                  <a:pt x="183" y="192"/>
                  <a:pt x="183" y="192"/>
                  <a:pt x="183" y="192"/>
                </a:cubicBezTo>
                <a:cubicBezTo>
                  <a:pt x="183" y="192"/>
                  <a:pt x="183" y="192"/>
                  <a:pt x="183" y="192"/>
                </a:cubicBezTo>
                <a:cubicBezTo>
                  <a:pt x="183" y="193"/>
                  <a:pt x="183" y="193"/>
                  <a:pt x="183" y="193"/>
                </a:cubicBezTo>
                <a:cubicBezTo>
                  <a:pt x="184" y="193"/>
                  <a:pt x="184" y="193"/>
                  <a:pt x="184" y="193"/>
                </a:cubicBezTo>
                <a:cubicBezTo>
                  <a:pt x="184" y="193"/>
                  <a:pt x="184" y="193"/>
                  <a:pt x="184" y="193"/>
                </a:cubicBezTo>
                <a:cubicBezTo>
                  <a:pt x="184" y="192"/>
                  <a:pt x="184" y="192"/>
                  <a:pt x="184" y="192"/>
                </a:cubicBezTo>
                <a:cubicBezTo>
                  <a:pt x="186" y="192"/>
                  <a:pt x="186" y="192"/>
                  <a:pt x="186" y="192"/>
                </a:cubicBezTo>
                <a:cubicBezTo>
                  <a:pt x="186" y="192"/>
                  <a:pt x="186" y="192"/>
                  <a:pt x="186" y="192"/>
                </a:cubicBezTo>
                <a:cubicBezTo>
                  <a:pt x="187" y="192"/>
                  <a:pt x="187" y="193"/>
                  <a:pt x="187" y="193"/>
                </a:cubicBezTo>
                <a:cubicBezTo>
                  <a:pt x="188" y="192"/>
                  <a:pt x="188" y="192"/>
                  <a:pt x="188" y="192"/>
                </a:cubicBezTo>
                <a:cubicBezTo>
                  <a:pt x="188" y="191"/>
                  <a:pt x="188" y="191"/>
                  <a:pt x="188" y="191"/>
                </a:cubicBezTo>
                <a:cubicBezTo>
                  <a:pt x="189" y="191"/>
                  <a:pt x="189" y="191"/>
                  <a:pt x="189" y="191"/>
                </a:cubicBezTo>
                <a:cubicBezTo>
                  <a:pt x="190" y="191"/>
                  <a:pt x="190" y="191"/>
                  <a:pt x="190" y="191"/>
                </a:cubicBezTo>
                <a:cubicBezTo>
                  <a:pt x="191" y="191"/>
                  <a:pt x="191" y="191"/>
                  <a:pt x="191" y="191"/>
                </a:cubicBezTo>
                <a:cubicBezTo>
                  <a:pt x="192" y="192"/>
                  <a:pt x="192" y="192"/>
                  <a:pt x="192" y="192"/>
                </a:cubicBezTo>
                <a:cubicBezTo>
                  <a:pt x="193" y="192"/>
                  <a:pt x="193" y="192"/>
                  <a:pt x="193" y="192"/>
                </a:cubicBezTo>
                <a:cubicBezTo>
                  <a:pt x="194" y="193"/>
                  <a:pt x="194" y="193"/>
                  <a:pt x="194" y="193"/>
                </a:cubicBezTo>
                <a:cubicBezTo>
                  <a:pt x="195" y="193"/>
                  <a:pt x="195" y="193"/>
                  <a:pt x="195" y="193"/>
                </a:cubicBezTo>
                <a:cubicBezTo>
                  <a:pt x="195" y="194"/>
                  <a:pt x="195" y="194"/>
                  <a:pt x="195" y="194"/>
                </a:cubicBezTo>
                <a:cubicBezTo>
                  <a:pt x="195" y="195"/>
                  <a:pt x="195" y="195"/>
                  <a:pt x="195" y="195"/>
                </a:cubicBezTo>
                <a:cubicBezTo>
                  <a:pt x="194" y="195"/>
                  <a:pt x="194" y="195"/>
                  <a:pt x="194" y="195"/>
                </a:cubicBezTo>
                <a:cubicBezTo>
                  <a:pt x="194" y="196"/>
                  <a:pt x="194" y="196"/>
                  <a:pt x="194" y="196"/>
                </a:cubicBezTo>
                <a:cubicBezTo>
                  <a:pt x="193" y="195"/>
                  <a:pt x="193" y="195"/>
                  <a:pt x="193" y="195"/>
                </a:cubicBezTo>
                <a:cubicBezTo>
                  <a:pt x="192" y="196"/>
                  <a:pt x="192" y="196"/>
                  <a:pt x="192" y="196"/>
                </a:cubicBezTo>
                <a:cubicBezTo>
                  <a:pt x="191" y="196"/>
                  <a:pt x="191" y="196"/>
                  <a:pt x="191" y="196"/>
                </a:cubicBezTo>
                <a:cubicBezTo>
                  <a:pt x="190" y="197"/>
                  <a:pt x="190" y="197"/>
                  <a:pt x="190" y="197"/>
                </a:cubicBezTo>
                <a:cubicBezTo>
                  <a:pt x="189" y="197"/>
                  <a:pt x="189" y="197"/>
                  <a:pt x="189" y="197"/>
                </a:cubicBezTo>
                <a:cubicBezTo>
                  <a:pt x="188" y="195"/>
                  <a:pt x="188" y="195"/>
                  <a:pt x="188" y="195"/>
                </a:cubicBezTo>
                <a:cubicBezTo>
                  <a:pt x="187" y="195"/>
                  <a:pt x="187" y="195"/>
                  <a:pt x="187" y="195"/>
                </a:cubicBezTo>
                <a:cubicBezTo>
                  <a:pt x="187" y="195"/>
                  <a:pt x="187" y="195"/>
                  <a:pt x="187" y="195"/>
                </a:cubicBezTo>
                <a:cubicBezTo>
                  <a:pt x="186" y="196"/>
                  <a:pt x="186" y="196"/>
                  <a:pt x="186" y="196"/>
                </a:cubicBezTo>
                <a:cubicBezTo>
                  <a:pt x="185" y="196"/>
                  <a:pt x="185" y="196"/>
                  <a:pt x="185" y="196"/>
                </a:cubicBezTo>
                <a:cubicBezTo>
                  <a:pt x="185" y="196"/>
                  <a:pt x="185" y="196"/>
                  <a:pt x="185" y="196"/>
                </a:cubicBezTo>
                <a:cubicBezTo>
                  <a:pt x="184" y="196"/>
                  <a:pt x="184" y="196"/>
                  <a:pt x="184" y="196"/>
                </a:cubicBezTo>
                <a:cubicBezTo>
                  <a:pt x="184" y="196"/>
                  <a:pt x="184" y="196"/>
                  <a:pt x="184" y="196"/>
                </a:cubicBezTo>
                <a:cubicBezTo>
                  <a:pt x="185" y="196"/>
                  <a:pt x="185" y="196"/>
                  <a:pt x="185" y="196"/>
                </a:cubicBezTo>
                <a:cubicBezTo>
                  <a:pt x="186" y="196"/>
                  <a:pt x="186" y="196"/>
                  <a:pt x="186" y="196"/>
                </a:cubicBezTo>
                <a:cubicBezTo>
                  <a:pt x="187" y="196"/>
                  <a:pt x="187" y="196"/>
                  <a:pt x="187" y="196"/>
                </a:cubicBezTo>
                <a:cubicBezTo>
                  <a:pt x="187" y="196"/>
                  <a:pt x="187" y="196"/>
                  <a:pt x="187" y="196"/>
                </a:cubicBezTo>
                <a:cubicBezTo>
                  <a:pt x="188" y="197"/>
                  <a:pt x="188" y="197"/>
                  <a:pt x="188" y="197"/>
                </a:cubicBezTo>
                <a:cubicBezTo>
                  <a:pt x="187" y="197"/>
                  <a:pt x="187" y="197"/>
                  <a:pt x="187" y="197"/>
                </a:cubicBezTo>
                <a:cubicBezTo>
                  <a:pt x="186" y="197"/>
                  <a:pt x="186" y="197"/>
                  <a:pt x="186" y="197"/>
                </a:cubicBezTo>
                <a:cubicBezTo>
                  <a:pt x="185" y="198"/>
                  <a:pt x="185" y="198"/>
                  <a:pt x="185" y="198"/>
                </a:cubicBezTo>
                <a:cubicBezTo>
                  <a:pt x="185" y="198"/>
                  <a:pt x="185" y="198"/>
                  <a:pt x="185" y="198"/>
                </a:cubicBezTo>
                <a:cubicBezTo>
                  <a:pt x="185" y="198"/>
                  <a:pt x="185" y="198"/>
                  <a:pt x="185" y="198"/>
                </a:cubicBezTo>
                <a:cubicBezTo>
                  <a:pt x="186" y="198"/>
                  <a:pt x="186" y="198"/>
                  <a:pt x="186" y="198"/>
                </a:cubicBezTo>
                <a:cubicBezTo>
                  <a:pt x="187" y="198"/>
                  <a:pt x="187" y="198"/>
                  <a:pt x="187" y="198"/>
                </a:cubicBezTo>
                <a:cubicBezTo>
                  <a:pt x="188" y="198"/>
                  <a:pt x="188" y="198"/>
                  <a:pt x="188" y="198"/>
                </a:cubicBezTo>
                <a:cubicBezTo>
                  <a:pt x="188" y="198"/>
                  <a:pt x="188" y="198"/>
                  <a:pt x="188" y="198"/>
                </a:cubicBezTo>
                <a:cubicBezTo>
                  <a:pt x="188" y="199"/>
                  <a:pt x="188" y="199"/>
                  <a:pt x="188" y="199"/>
                </a:cubicBezTo>
                <a:cubicBezTo>
                  <a:pt x="189" y="199"/>
                  <a:pt x="189" y="199"/>
                  <a:pt x="189" y="199"/>
                </a:cubicBezTo>
                <a:cubicBezTo>
                  <a:pt x="189" y="198"/>
                  <a:pt x="189" y="198"/>
                  <a:pt x="189" y="198"/>
                </a:cubicBezTo>
                <a:cubicBezTo>
                  <a:pt x="190" y="198"/>
                  <a:pt x="190" y="198"/>
                  <a:pt x="190" y="198"/>
                </a:cubicBezTo>
                <a:cubicBezTo>
                  <a:pt x="191" y="198"/>
                  <a:pt x="191" y="198"/>
                  <a:pt x="191" y="198"/>
                </a:cubicBezTo>
                <a:cubicBezTo>
                  <a:pt x="192" y="197"/>
                  <a:pt x="192" y="197"/>
                  <a:pt x="192" y="197"/>
                </a:cubicBezTo>
                <a:cubicBezTo>
                  <a:pt x="192" y="197"/>
                  <a:pt x="192" y="197"/>
                  <a:pt x="192" y="197"/>
                </a:cubicBezTo>
                <a:cubicBezTo>
                  <a:pt x="193" y="197"/>
                  <a:pt x="193" y="197"/>
                  <a:pt x="193" y="197"/>
                </a:cubicBezTo>
                <a:cubicBezTo>
                  <a:pt x="194" y="198"/>
                  <a:pt x="194" y="198"/>
                  <a:pt x="194" y="198"/>
                </a:cubicBezTo>
                <a:cubicBezTo>
                  <a:pt x="195" y="198"/>
                  <a:pt x="195" y="198"/>
                  <a:pt x="195" y="198"/>
                </a:cubicBezTo>
                <a:cubicBezTo>
                  <a:pt x="195" y="198"/>
                  <a:pt x="195" y="198"/>
                  <a:pt x="195" y="198"/>
                </a:cubicBezTo>
                <a:cubicBezTo>
                  <a:pt x="195" y="199"/>
                  <a:pt x="195" y="199"/>
                  <a:pt x="195" y="199"/>
                </a:cubicBezTo>
                <a:cubicBezTo>
                  <a:pt x="195" y="201"/>
                  <a:pt x="195" y="201"/>
                  <a:pt x="195" y="201"/>
                </a:cubicBezTo>
                <a:cubicBezTo>
                  <a:pt x="194" y="202"/>
                  <a:pt x="194" y="202"/>
                  <a:pt x="194" y="202"/>
                </a:cubicBezTo>
                <a:cubicBezTo>
                  <a:pt x="193" y="202"/>
                  <a:pt x="193" y="202"/>
                  <a:pt x="193" y="202"/>
                </a:cubicBezTo>
                <a:cubicBezTo>
                  <a:pt x="192" y="202"/>
                  <a:pt x="192" y="202"/>
                  <a:pt x="192" y="202"/>
                </a:cubicBezTo>
                <a:cubicBezTo>
                  <a:pt x="191" y="202"/>
                  <a:pt x="191" y="202"/>
                  <a:pt x="191" y="202"/>
                </a:cubicBezTo>
                <a:cubicBezTo>
                  <a:pt x="189" y="202"/>
                  <a:pt x="189" y="202"/>
                  <a:pt x="189" y="202"/>
                </a:cubicBezTo>
                <a:cubicBezTo>
                  <a:pt x="189" y="201"/>
                  <a:pt x="189" y="201"/>
                  <a:pt x="189" y="201"/>
                </a:cubicBezTo>
                <a:cubicBezTo>
                  <a:pt x="188" y="202"/>
                  <a:pt x="188" y="202"/>
                  <a:pt x="188" y="202"/>
                </a:cubicBezTo>
                <a:cubicBezTo>
                  <a:pt x="188" y="202"/>
                  <a:pt x="188" y="202"/>
                  <a:pt x="188" y="202"/>
                </a:cubicBezTo>
                <a:cubicBezTo>
                  <a:pt x="189" y="202"/>
                  <a:pt x="189" y="202"/>
                  <a:pt x="189" y="202"/>
                </a:cubicBezTo>
                <a:cubicBezTo>
                  <a:pt x="191" y="202"/>
                  <a:pt x="191" y="202"/>
                  <a:pt x="191" y="202"/>
                </a:cubicBezTo>
                <a:cubicBezTo>
                  <a:pt x="192" y="203"/>
                  <a:pt x="192" y="203"/>
                  <a:pt x="192" y="203"/>
                </a:cubicBezTo>
                <a:cubicBezTo>
                  <a:pt x="193" y="204"/>
                  <a:pt x="193" y="204"/>
                  <a:pt x="193" y="204"/>
                </a:cubicBezTo>
                <a:cubicBezTo>
                  <a:pt x="192" y="204"/>
                  <a:pt x="192" y="204"/>
                  <a:pt x="192" y="204"/>
                </a:cubicBezTo>
                <a:cubicBezTo>
                  <a:pt x="193" y="203"/>
                  <a:pt x="193" y="203"/>
                  <a:pt x="193" y="203"/>
                </a:cubicBezTo>
                <a:cubicBezTo>
                  <a:pt x="194" y="203"/>
                  <a:pt x="194" y="203"/>
                  <a:pt x="194" y="203"/>
                </a:cubicBezTo>
                <a:cubicBezTo>
                  <a:pt x="196" y="203"/>
                  <a:pt x="196" y="203"/>
                  <a:pt x="196" y="203"/>
                </a:cubicBezTo>
                <a:cubicBezTo>
                  <a:pt x="197" y="203"/>
                  <a:pt x="197" y="203"/>
                  <a:pt x="197" y="203"/>
                </a:cubicBezTo>
                <a:cubicBezTo>
                  <a:pt x="197" y="204"/>
                  <a:pt x="197" y="204"/>
                  <a:pt x="197" y="204"/>
                </a:cubicBezTo>
                <a:cubicBezTo>
                  <a:pt x="199" y="205"/>
                  <a:pt x="199" y="205"/>
                  <a:pt x="199" y="205"/>
                </a:cubicBezTo>
                <a:cubicBezTo>
                  <a:pt x="199" y="206"/>
                  <a:pt x="199" y="206"/>
                  <a:pt x="199" y="206"/>
                </a:cubicBezTo>
                <a:cubicBezTo>
                  <a:pt x="199" y="206"/>
                  <a:pt x="199" y="206"/>
                  <a:pt x="199" y="206"/>
                </a:cubicBezTo>
                <a:cubicBezTo>
                  <a:pt x="200" y="206"/>
                  <a:pt x="200" y="206"/>
                  <a:pt x="200" y="206"/>
                </a:cubicBezTo>
                <a:cubicBezTo>
                  <a:pt x="200" y="207"/>
                  <a:pt x="200" y="207"/>
                  <a:pt x="200" y="207"/>
                </a:cubicBezTo>
                <a:cubicBezTo>
                  <a:pt x="201" y="207"/>
                  <a:pt x="201" y="207"/>
                  <a:pt x="201" y="207"/>
                </a:cubicBezTo>
                <a:cubicBezTo>
                  <a:pt x="202" y="208"/>
                  <a:pt x="202" y="208"/>
                  <a:pt x="202" y="208"/>
                </a:cubicBezTo>
                <a:cubicBezTo>
                  <a:pt x="202" y="208"/>
                  <a:pt x="202" y="208"/>
                  <a:pt x="202" y="208"/>
                </a:cubicBezTo>
                <a:cubicBezTo>
                  <a:pt x="203" y="209"/>
                  <a:pt x="203" y="209"/>
                  <a:pt x="203" y="209"/>
                </a:cubicBezTo>
                <a:cubicBezTo>
                  <a:pt x="203" y="209"/>
                  <a:pt x="203" y="209"/>
                  <a:pt x="203" y="209"/>
                </a:cubicBezTo>
                <a:cubicBezTo>
                  <a:pt x="204" y="209"/>
                  <a:pt x="204" y="209"/>
                  <a:pt x="204" y="209"/>
                </a:cubicBezTo>
                <a:cubicBezTo>
                  <a:pt x="204" y="210"/>
                  <a:pt x="204" y="210"/>
                  <a:pt x="204" y="210"/>
                </a:cubicBezTo>
                <a:cubicBezTo>
                  <a:pt x="205" y="210"/>
                  <a:pt x="205" y="210"/>
                  <a:pt x="205" y="210"/>
                </a:cubicBezTo>
                <a:cubicBezTo>
                  <a:pt x="205" y="211"/>
                  <a:pt x="205" y="211"/>
                  <a:pt x="205" y="211"/>
                </a:cubicBezTo>
                <a:cubicBezTo>
                  <a:pt x="204" y="212"/>
                  <a:pt x="204" y="212"/>
                  <a:pt x="204" y="212"/>
                </a:cubicBezTo>
                <a:cubicBezTo>
                  <a:pt x="203" y="212"/>
                  <a:pt x="203" y="212"/>
                  <a:pt x="203" y="212"/>
                </a:cubicBezTo>
                <a:cubicBezTo>
                  <a:pt x="203" y="213"/>
                  <a:pt x="203" y="213"/>
                  <a:pt x="203" y="213"/>
                </a:cubicBezTo>
                <a:cubicBezTo>
                  <a:pt x="203" y="214"/>
                  <a:pt x="203" y="214"/>
                  <a:pt x="203" y="214"/>
                </a:cubicBezTo>
                <a:cubicBezTo>
                  <a:pt x="203" y="214"/>
                  <a:pt x="203" y="214"/>
                  <a:pt x="203" y="214"/>
                </a:cubicBezTo>
                <a:cubicBezTo>
                  <a:pt x="203" y="213"/>
                  <a:pt x="203" y="213"/>
                  <a:pt x="203" y="213"/>
                </a:cubicBezTo>
                <a:cubicBezTo>
                  <a:pt x="204" y="212"/>
                  <a:pt x="204" y="212"/>
                  <a:pt x="204" y="212"/>
                </a:cubicBezTo>
                <a:cubicBezTo>
                  <a:pt x="205" y="212"/>
                  <a:pt x="205" y="212"/>
                  <a:pt x="205" y="212"/>
                </a:cubicBezTo>
                <a:cubicBezTo>
                  <a:pt x="205" y="212"/>
                  <a:pt x="205" y="212"/>
                  <a:pt x="205" y="212"/>
                </a:cubicBezTo>
                <a:cubicBezTo>
                  <a:pt x="205" y="213"/>
                  <a:pt x="205" y="213"/>
                  <a:pt x="205" y="213"/>
                </a:cubicBezTo>
                <a:cubicBezTo>
                  <a:pt x="205" y="214"/>
                  <a:pt x="205" y="214"/>
                  <a:pt x="205" y="214"/>
                </a:cubicBezTo>
                <a:cubicBezTo>
                  <a:pt x="205" y="214"/>
                  <a:pt x="205" y="214"/>
                  <a:pt x="205" y="214"/>
                </a:cubicBezTo>
                <a:cubicBezTo>
                  <a:pt x="205" y="213"/>
                  <a:pt x="205" y="213"/>
                  <a:pt x="205" y="213"/>
                </a:cubicBezTo>
                <a:cubicBezTo>
                  <a:pt x="206" y="213"/>
                  <a:pt x="206" y="213"/>
                  <a:pt x="206" y="213"/>
                </a:cubicBezTo>
                <a:cubicBezTo>
                  <a:pt x="207" y="213"/>
                  <a:pt x="207" y="213"/>
                  <a:pt x="207" y="213"/>
                </a:cubicBezTo>
                <a:cubicBezTo>
                  <a:pt x="207" y="213"/>
                  <a:pt x="207" y="213"/>
                  <a:pt x="207" y="213"/>
                </a:cubicBezTo>
                <a:cubicBezTo>
                  <a:pt x="207" y="214"/>
                  <a:pt x="207" y="214"/>
                  <a:pt x="207" y="214"/>
                </a:cubicBezTo>
                <a:cubicBezTo>
                  <a:pt x="206" y="215"/>
                  <a:pt x="206" y="215"/>
                  <a:pt x="206" y="215"/>
                </a:cubicBezTo>
                <a:cubicBezTo>
                  <a:pt x="205" y="215"/>
                  <a:pt x="205" y="215"/>
                  <a:pt x="205" y="215"/>
                </a:cubicBezTo>
                <a:cubicBezTo>
                  <a:pt x="205" y="216"/>
                  <a:pt x="205" y="216"/>
                  <a:pt x="205" y="216"/>
                </a:cubicBezTo>
                <a:cubicBezTo>
                  <a:pt x="205" y="217"/>
                  <a:pt x="205" y="217"/>
                  <a:pt x="205" y="217"/>
                </a:cubicBezTo>
                <a:cubicBezTo>
                  <a:pt x="205" y="217"/>
                  <a:pt x="205" y="217"/>
                  <a:pt x="205" y="217"/>
                </a:cubicBezTo>
                <a:cubicBezTo>
                  <a:pt x="205" y="218"/>
                  <a:pt x="205" y="218"/>
                  <a:pt x="205" y="218"/>
                </a:cubicBezTo>
                <a:cubicBezTo>
                  <a:pt x="205" y="219"/>
                  <a:pt x="205" y="219"/>
                  <a:pt x="205" y="219"/>
                </a:cubicBezTo>
                <a:cubicBezTo>
                  <a:pt x="205" y="220"/>
                  <a:pt x="205" y="220"/>
                  <a:pt x="205" y="220"/>
                </a:cubicBezTo>
                <a:cubicBezTo>
                  <a:pt x="205" y="220"/>
                  <a:pt x="205" y="220"/>
                  <a:pt x="205" y="220"/>
                </a:cubicBezTo>
                <a:cubicBezTo>
                  <a:pt x="205" y="218"/>
                  <a:pt x="205" y="218"/>
                  <a:pt x="205" y="218"/>
                </a:cubicBezTo>
                <a:cubicBezTo>
                  <a:pt x="206" y="217"/>
                  <a:pt x="206" y="217"/>
                  <a:pt x="206" y="217"/>
                </a:cubicBezTo>
                <a:cubicBezTo>
                  <a:pt x="207" y="216"/>
                  <a:pt x="207" y="216"/>
                  <a:pt x="207" y="216"/>
                </a:cubicBezTo>
                <a:cubicBezTo>
                  <a:pt x="208" y="216"/>
                  <a:pt x="208" y="216"/>
                  <a:pt x="208" y="216"/>
                </a:cubicBezTo>
                <a:cubicBezTo>
                  <a:pt x="208" y="217"/>
                  <a:pt x="208" y="217"/>
                  <a:pt x="208" y="217"/>
                </a:cubicBezTo>
                <a:cubicBezTo>
                  <a:pt x="207" y="218"/>
                  <a:pt x="207" y="218"/>
                  <a:pt x="207" y="218"/>
                </a:cubicBezTo>
                <a:cubicBezTo>
                  <a:pt x="207" y="219"/>
                  <a:pt x="207" y="219"/>
                  <a:pt x="207" y="219"/>
                </a:cubicBezTo>
                <a:cubicBezTo>
                  <a:pt x="207" y="219"/>
                  <a:pt x="207" y="219"/>
                  <a:pt x="207" y="219"/>
                </a:cubicBezTo>
                <a:cubicBezTo>
                  <a:pt x="207" y="219"/>
                  <a:pt x="207" y="219"/>
                  <a:pt x="207" y="219"/>
                </a:cubicBezTo>
                <a:cubicBezTo>
                  <a:pt x="208" y="219"/>
                  <a:pt x="208" y="219"/>
                  <a:pt x="208" y="219"/>
                </a:cubicBezTo>
                <a:cubicBezTo>
                  <a:pt x="208" y="221"/>
                  <a:pt x="208" y="221"/>
                  <a:pt x="208" y="221"/>
                </a:cubicBezTo>
                <a:cubicBezTo>
                  <a:pt x="207" y="221"/>
                  <a:pt x="207" y="221"/>
                  <a:pt x="207" y="221"/>
                </a:cubicBezTo>
                <a:cubicBezTo>
                  <a:pt x="206" y="221"/>
                  <a:pt x="206" y="221"/>
                  <a:pt x="206" y="221"/>
                </a:cubicBezTo>
                <a:cubicBezTo>
                  <a:pt x="206" y="222"/>
                  <a:pt x="206" y="222"/>
                  <a:pt x="206" y="222"/>
                </a:cubicBezTo>
                <a:cubicBezTo>
                  <a:pt x="206" y="222"/>
                  <a:pt x="206" y="222"/>
                  <a:pt x="206" y="222"/>
                </a:cubicBezTo>
                <a:cubicBezTo>
                  <a:pt x="207" y="222"/>
                  <a:pt x="207" y="222"/>
                  <a:pt x="207" y="222"/>
                </a:cubicBezTo>
                <a:cubicBezTo>
                  <a:pt x="207" y="222"/>
                  <a:pt x="207" y="222"/>
                  <a:pt x="207" y="222"/>
                </a:cubicBezTo>
                <a:cubicBezTo>
                  <a:pt x="207" y="223"/>
                  <a:pt x="207" y="223"/>
                  <a:pt x="207" y="223"/>
                </a:cubicBezTo>
                <a:cubicBezTo>
                  <a:pt x="207" y="223"/>
                  <a:pt x="207" y="223"/>
                  <a:pt x="207" y="223"/>
                </a:cubicBezTo>
                <a:cubicBezTo>
                  <a:pt x="207" y="224"/>
                  <a:pt x="207" y="224"/>
                  <a:pt x="207" y="224"/>
                </a:cubicBezTo>
                <a:cubicBezTo>
                  <a:pt x="208" y="224"/>
                  <a:pt x="208" y="224"/>
                  <a:pt x="208" y="224"/>
                </a:cubicBezTo>
                <a:cubicBezTo>
                  <a:pt x="208" y="225"/>
                  <a:pt x="208" y="225"/>
                  <a:pt x="208" y="225"/>
                </a:cubicBezTo>
                <a:cubicBezTo>
                  <a:pt x="207" y="226"/>
                  <a:pt x="207" y="226"/>
                  <a:pt x="207" y="226"/>
                </a:cubicBezTo>
                <a:cubicBezTo>
                  <a:pt x="207" y="227"/>
                  <a:pt x="207" y="227"/>
                  <a:pt x="207" y="227"/>
                </a:cubicBezTo>
                <a:cubicBezTo>
                  <a:pt x="207" y="229"/>
                  <a:pt x="207" y="229"/>
                  <a:pt x="207" y="229"/>
                </a:cubicBezTo>
                <a:cubicBezTo>
                  <a:pt x="207" y="229"/>
                  <a:pt x="207" y="229"/>
                  <a:pt x="207" y="229"/>
                </a:cubicBezTo>
                <a:cubicBezTo>
                  <a:pt x="207" y="230"/>
                  <a:pt x="207" y="230"/>
                  <a:pt x="207" y="230"/>
                </a:cubicBezTo>
                <a:cubicBezTo>
                  <a:pt x="207" y="231"/>
                  <a:pt x="207" y="231"/>
                  <a:pt x="207" y="231"/>
                </a:cubicBezTo>
                <a:cubicBezTo>
                  <a:pt x="206" y="231"/>
                  <a:pt x="206" y="231"/>
                  <a:pt x="206" y="231"/>
                </a:cubicBezTo>
                <a:cubicBezTo>
                  <a:pt x="206" y="231"/>
                  <a:pt x="206" y="231"/>
                  <a:pt x="206" y="231"/>
                </a:cubicBezTo>
                <a:cubicBezTo>
                  <a:pt x="205" y="230"/>
                  <a:pt x="205" y="230"/>
                  <a:pt x="205" y="230"/>
                </a:cubicBezTo>
                <a:cubicBezTo>
                  <a:pt x="206" y="230"/>
                  <a:pt x="206" y="230"/>
                  <a:pt x="206" y="230"/>
                </a:cubicBezTo>
                <a:cubicBezTo>
                  <a:pt x="205" y="229"/>
                  <a:pt x="205" y="229"/>
                  <a:pt x="205" y="229"/>
                </a:cubicBezTo>
                <a:cubicBezTo>
                  <a:pt x="205" y="229"/>
                  <a:pt x="205" y="229"/>
                  <a:pt x="205" y="229"/>
                </a:cubicBezTo>
                <a:cubicBezTo>
                  <a:pt x="204" y="229"/>
                  <a:pt x="204" y="229"/>
                  <a:pt x="204" y="229"/>
                </a:cubicBezTo>
                <a:cubicBezTo>
                  <a:pt x="204" y="230"/>
                  <a:pt x="204" y="230"/>
                  <a:pt x="204" y="230"/>
                </a:cubicBezTo>
                <a:cubicBezTo>
                  <a:pt x="203" y="229"/>
                  <a:pt x="203" y="229"/>
                  <a:pt x="203" y="229"/>
                </a:cubicBezTo>
                <a:cubicBezTo>
                  <a:pt x="203" y="228"/>
                  <a:pt x="203" y="228"/>
                  <a:pt x="203" y="228"/>
                </a:cubicBezTo>
                <a:cubicBezTo>
                  <a:pt x="204" y="227"/>
                  <a:pt x="204" y="227"/>
                  <a:pt x="204" y="227"/>
                </a:cubicBezTo>
                <a:cubicBezTo>
                  <a:pt x="203" y="226"/>
                  <a:pt x="203" y="226"/>
                  <a:pt x="203" y="226"/>
                </a:cubicBezTo>
                <a:cubicBezTo>
                  <a:pt x="203" y="225"/>
                  <a:pt x="203" y="225"/>
                  <a:pt x="203" y="225"/>
                </a:cubicBezTo>
                <a:cubicBezTo>
                  <a:pt x="203" y="225"/>
                  <a:pt x="203" y="225"/>
                  <a:pt x="203" y="225"/>
                </a:cubicBezTo>
                <a:cubicBezTo>
                  <a:pt x="203" y="224"/>
                  <a:pt x="203" y="224"/>
                  <a:pt x="203" y="224"/>
                </a:cubicBezTo>
                <a:cubicBezTo>
                  <a:pt x="203" y="224"/>
                  <a:pt x="203" y="224"/>
                  <a:pt x="203" y="224"/>
                </a:cubicBezTo>
                <a:cubicBezTo>
                  <a:pt x="202" y="225"/>
                  <a:pt x="202" y="225"/>
                  <a:pt x="202" y="225"/>
                </a:cubicBezTo>
                <a:cubicBezTo>
                  <a:pt x="202" y="226"/>
                  <a:pt x="202" y="226"/>
                  <a:pt x="202" y="226"/>
                </a:cubicBezTo>
                <a:cubicBezTo>
                  <a:pt x="202" y="227"/>
                  <a:pt x="202" y="227"/>
                  <a:pt x="202" y="227"/>
                </a:cubicBezTo>
                <a:cubicBezTo>
                  <a:pt x="202" y="229"/>
                  <a:pt x="202" y="229"/>
                  <a:pt x="202" y="229"/>
                </a:cubicBezTo>
                <a:cubicBezTo>
                  <a:pt x="202" y="230"/>
                  <a:pt x="202" y="230"/>
                  <a:pt x="202" y="230"/>
                </a:cubicBezTo>
                <a:cubicBezTo>
                  <a:pt x="202" y="230"/>
                  <a:pt x="202" y="230"/>
                  <a:pt x="202" y="230"/>
                </a:cubicBezTo>
                <a:cubicBezTo>
                  <a:pt x="201" y="230"/>
                  <a:pt x="201" y="230"/>
                  <a:pt x="201" y="230"/>
                </a:cubicBezTo>
                <a:cubicBezTo>
                  <a:pt x="200" y="230"/>
                  <a:pt x="200" y="230"/>
                  <a:pt x="200" y="230"/>
                </a:cubicBezTo>
                <a:cubicBezTo>
                  <a:pt x="199" y="230"/>
                  <a:pt x="199" y="230"/>
                  <a:pt x="199" y="230"/>
                </a:cubicBezTo>
                <a:cubicBezTo>
                  <a:pt x="199" y="230"/>
                  <a:pt x="199" y="230"/>
                  <a:pt x="199" y="230"/>
                </a:cubicBezTo>
                <a:cubicBezTo>
                  <a:pt x="197" y="229"/>
                  <a:pt x="197" y="229"/>
                  <a:pt x="197" y="229"/>
                </a:cubicBezTo>
                <a:cubicBezTo>
                  <a:pt x="196" y="227"/>
                  <a:pt x="196" y="227"/>
                  <a:pt x="196" y="227"/>
                </a:cubicBezTo>
                <a:cubicBezTo>
                  <a:pt x="195" y="226"/>
                  <a:pt x="195" y="226"/>
                  <a:pt x="195" y="226"/>
                </a:cubicBezTo>
                <a:cubicBezTo>
                  <a:pt x="195" y="225"/>
                  <a:pt x="195" y="225"/>
                  <a:pt x="195" y="225"/>
                </a:cubicBezTo>
                <a:cubicBezTo>
                  <a:pt x="195" y="223"/>
                  <a:pt x="195" y="223"/>
                  <a:pt x="195" y="223"/>
                </a:cubicBezTo>
                <a:cubicBezTo>
                  <a:pt x="194" y="222"/>
                  <a:pt x="194" y="222"/>
                  <a:pt x="194" y="222"/>
                </a:cubicBezTo>
                <a:cubicBezTo>
                  <a:pt x="193" y="221"/>
                  <a:pt x="193" y="221"/>
                  <a:pt x="193" y="221"/>
                </a:cubicBezTo>
                <a:cubicBezTo>
                  <a:pt x="193" y="220"/>
                  <a:pt x="193" y="220"/>
                  <a:pt x="193" y="220"/>
                </a:cubicBezTo>
                <a:cubicBezTo>
                  <a:pt x="193" y="219"/>
                  <a:pt x="193" y="219"/>
                  <a:pt x="193" y="219"/>
                </a:cubicBezTo>
                <a:cubicBezTo>
                  <a:pt x="194" y="218"/>
                  <a:pt x="194" y="218"/>
                  <a:pt x="194" y="218"/>
                </a:cubicBezTo>
                <a:cubicBezTo>
                  <a:pt x="193" y="217"/>
                  <a:pt x="193" y="217"/>
                  <a:pt x="193" y="217"/>
                </a:cubicBezTo>
                <a:cubicBezTo>
                  <a:pt x="193" y="217"/>
                  <a:pt x="193" y="217"/>
                  <a:pt x="193" y="217"/>
                </a:cubicBezTo>
                <a:cubicBezTo>
                  <a:pt x="192" y="217"/>
                  <a:pt x="192" y="217"/>
                  <a:pt x="192" y="217"/>
                </a:cubicBezTo>
                <a:cubicBezTo>
                  <a:pt x="191" y="218"/>
                  <a:pt x="191" y="218"/>
                  <a:pt x="191" y="218"/>
                </a:cubicBezTo>
                <a:cubicBezTo>
                  <a:pt x="191" y="217"/>
                  <a:pt x="191" y="217"/>
                  <a:pt x="191" y="217"/>
                </a:cubicBezTo>
                <a:cubicBezTo>
                  <a:pt x="189" y="215"/>
                  <a:pt x="189" y="215"/>
                  <a:pt x="189" y="215"/>
                </a:cubicBezTo>
                <a:cubicBezTo>
                  <a:pt x="188" y="214"/>
                  <a:pt x="188" y="214"/>
                  <a:pt x="188" y="214"/>
                </a:cubicBezTo>
                <a:cubicBezTo>
                  <a:pt x="188" y="213"/>
                  <a:pt x="188" y="213"/>
                  <a:pt x="188" y="213"/>
                </a:cubicBezTo>
                <a:cubicBezTo>
                  <a:pt x="187" y="214"/>
                  <a:pt x="187" y="214"/>
                  <a:pt x="187" y="214"/>
                </a:cubicBezTo>
                <a:cubicBezTo>
                  <a:pt x="186" y="214"/>
                  <a:pt x="186" y="214"/>
                  <a:pt x="186" y="214"/>
                </a:cubicBezTo>
                <a:cubicBezTo>
                  <a:pt x="185" y="213"/>
                  <a:pt x="185" y="213"/>
                  <a:pt x="185" y="213"/>
                </a:cubicBezTo>
                <a:cubicBezTo>
                  <a:pt x="185" y="214"/>
                  <a:pt x="185" y="214"/>
                  <a:pt x="185" y="214"/>
                </a:cubicBezTo>
                <a:cubicBezTo>
                  <a:pt x="184" y="214"/>
                  <a:pt x="184" y="214"/>
                  <a:pt x="184" y="214"/>
                </a:cubicBezTo>
                <a:cubicBezTo>
                  <a:pt x="183" y="214"/>
                  <a:pt x="183" y="214"/>
                  <a:pt x="183" y="214"/>
                </a:cubicBezTo>
                <a:cubicBezTo>
                  <a:pt x="182" y="213"/>
                  <a:pt x="182" y="213"/>
                  <a:pt x="182" y="213"/>
                </a:cubicBezTo>
                <a:cubicBezTo>
                  <a:pt x="182" y="212"/>
                  <a:pt x="182" y="212"/>
                  <a:pt x="182" y="212"/>
                </a:cubicBezTo>
                <a:cubicBezTo>
                  <a:pt x="181" y="211"/>
                  <a:pt x="181" y="211"/>
                  <a:pt x="181" y="211"/>
                </a:cubicBezTo>
                <a:cubicBezTo>
                  <a:pt x="181" y="210"/>
                  <a:pt x="181" y="210"/>
                  <a:pt x="181" y="210"/>
                </a:cubicBezTo>
                <a:cubicBezTo>
                  <a:pt x="180" y="210"/>
                  <a:pt x="180" y="210"/>
                  <a:pt x="180" y="210"/>
                </a:cubicBezTo>
                <a:cubicBezTo>
                  <a:pt x="180" y="208"/>
                  <a:pt x="180" y="208"/>
                  <a:pt x="180" y="208"/>
                </a:cubicBezTo>
                <a:cubicBezTo>
                  <a:pt x="179" y="207"/>
                  <a:pt x="179" y="207"/>
                  <a:pt x="179" y="207"/>
                </a:cubicBezTo>
                <a:cubicBezTo>
                  <a:pt x="179" y="208"/>
                  <a:pt x="179" y="208"/>
                  <a:pt x="179" y="208"/>
                </a:cubicBezTo>
                <a:cubicBezTo>
                  <a:pt x="179" y="209"/>
                  <a:pt x="179" y="209"/>
                  <a:pt x="179" y="209"/>
                </a:cubicBezTo>
                <a:cubicBezTo>
                  <a:pt x="179" y="210"/>
                  <a:pt x="179" y="210"/>
                  <a:pt x="179" y="210"/>
                </a:cubicBezTo>
                <a:cubicBezTo>
                  <a:pt x="178" y="210"/>
                  <a:pt x="178" y="210"/>
                  <a:pt x="178" y="210"/>
                </a:cubicBezTo>
                <a:cubicBezTo>
                  <a:pt x="178" y="211"/>
                  <a:pt x="178" y="211"/>
                  <a:pt x="178" y="211"/>
                </a:cubicBezTo>
                <a:cubicBezTo>
                  <a:pt x="179" y="211"/>
                  <a:pt x="179" y="211"/>
                  <a:pt x="179" y="211"/>
                </a:cubicBezTo>
                <a:cubicBezTo>
                  <a:pt x="179" y="211"/>
                  <a:pt x="179" y="211"/>
                  <a:pt x="179" y="211"/>
                </a:cubicBezTo>
                <a:cubicBezTo>
                  <a:pt x="180" y="212"/>
                  <a:pt x="180" y="212"/>
                  <a:pt x="180" y="212"/>
                </a:cubicBezTo>
                <a:cubicBezTo>
                  <a:pt x="181" y="213"/>
                  <a:pt x="181" y="213"/>
                  <a:pt x="181" y="213"/>
                </a:cubicBezTo>
                <a:cubicBezTo>
                  <a:pt x="180" y="214"/>
                  <a:pt x="180" y="214"/>
                  <a:pt x="180" y="214"/>
                </a:cubicBezTo>
                <a:cubicBezTo>
                  <a:pt x="179" y="214"/>
                  <a:pt x="179" y="214"/>
                  <a:pt x="179" y="214"/>
                </a:cubicBezTo>
                <a:cubicBezTo>
                  <a:pt x="179" y="214"/>
                  <a:pt x="179" y="214"/>
                  <a:pt x="179" y="214"/>
                </a:cubicBezTo>
                <a:cubicBezTo>
                  <a:pt x="178" y="215"/>
                  <a:pt x="178" y="215"/>
                  <a:pt x="178" y="215"/>
                </a:cubicBezTo>
                <a:cubicBezTo>
                  <a:pt x="177" y="214"/>
                  <a:pt x="177" y="214"/>
                  <a:pt x="177" y="214"/>
                </a:cubicBezTo>
                <a:cubicBezTo>
                  <a:pt x="177" y="215"/>
                  <a:pt x="177" y="215"/>
                  <a:pt x="177" y="215"/>
                </a:cubicBezTo>
                <a:cubicBezTo>
                  <a:pt x="178" y="215"/>
                  <a:pt x="178" y="215"/>
                  <a:pt x="178" y="215"/>
                </a:cubicBezTo>
                <a:cubicBezTo>
                  <a:pt x="179" y="215"/>
                  <a:pt x="179" y="215"/>
                  <a:pt x="179" y="215"/>
                </a:cubicBezTo>
                <a:cubicBezTo>
                  <a:pt x="180" y="214"/>
                  <a:pt x="180" y="214"/>
                  <a:pt x="180" y="214"/>
                </a:cubicBezTo>
                <a:cubicBezTo>
                  <a:pt x="181" y="214"/>
                  <a:pt x="181" y="214"/>
                  <a:pt x="181" y="214"/>
                </a:cubicBezTo>
                <a:cubicBezTo>
                  <a:pt x="182" y="214"/>
                  <a:pt x="182" y="214"/>
                  <a:pt x="182" y="214"/>
                </a:cubicBezTo>
                <a:cubicBezTo>
                  <a:pt x="182" y="214"/>
                  <a:pt x="182" y="214"/>
                  <a:pt x="182" y="214"/>
                </a:cubicBezTo>
                <a:cubicBezTo>
                  <a:pt x="182" y="215"/>
                  <a:pt x="182" y="215"/>
                  <a:pt x="182" y="215"/>
                </a:cubicBezTo>
                <a:cubicBezTo>
                  <a:pt x="183" y="215"/>
                  <a:pt x="183" y="215"/>
                  <a:pt x="183" y="215"/>
                </a:cubicBezTo>
                <a:cubicBezTo>
                  <a:pt x="184" y="215"/>
                  <a:pt x="184" y="215"/>
                  <a:pt x="184" y="215"/>
                </a:cubicBezTo>
                <a:cubicBezTo>
                  <a:pt x="184" y="215"/>
                  <a:pt x="184" y="215"/>
                  <a:pt x="184" y="215"/>
                </a:cubicBezTo>
                <a:cubicBezTo>
                  <a:pt x="187" y="216"/>
                  <a:pt x="187" y="216"/>
                  <a:pt x="187" y="216"/>
                </a:cubicBezTo>
                <a:cubicBezTo>
                  <a:pt x="188" y="216"/>
                  <a:pt x="188" y="216"/>
                  <a:pt x="188" y="216"/>
                </a:cubicBezTo>
                <a:cubicBezTo>
                  <a:pt x="189" y="216"/>
                  <a:pt x="189" y="216"/>
                  <a:pt x="189" y="216"/>
                </a:cubicBezTo>
                <a:cubicBezTo>
                  <a:pt x="189" y="217"/>
                  <a:pt x="189" y="217"/>
                  <a:pt x="189" y="217"/>
                </a:cubicBezTo>
                <a:cubicBezTo>
                  <a:pt x="190" y="218"/>
                  <a:pt x="190" y="218"/>
                  <a:pt x="190" y="218"/>
                </a:cubicBezTo>
                <a:cubicBezTo>
                  <a:pt x="189" y="219"/>
                  <a:pt x="189" y="219"/>
                  <a:pt x="189" y="219"/>
                </a:cubicBezTo>
                <a:cubicBezTo>
                  <a:pt x="188" y="220"/>
                  <a:pt x="188" y="220"/>
                  <a:pt x="188" y="220"/>
                </a:cubicBezTo>
                <a:cubicBezTo>
                  <a:pt x="188" y="221"/>
                  <a:pt x="188" y="221"/>
                  <a:pt x="188" y="221"/>
                </a:cubicBezTo>
                <a:cubicBezTo>
                  <a:pt x="187" y="221"/>
                  <a:pt x="187" y="221"/>
                  <a:pt x="187" y="221"/>
                </a:cubicBezTo>
                <a:cubicBezTo>
                  <a:pt x="186" y="221"/>
                  <a:pt x="186" y="221"/>
                  <a:pt x="186" y="221"/>
                </a:cubicBezTo>
                <a:cubicBezTo>
                  <a:pt x="183" y="222"/>
                  <a:pt x="183" y="222"/>
                  <a:pt x="183" y="222"/>
                </a:cubicBezTo>
                <a:cubicBezTo>
                  <a:pt x="182" y="222"/>
                  <a:pt x="182" y="222"/>
                  <a:pt x="182" y="222"/>
                </a:cubicBezTo>
                <a:cubicBezTo>
                  <a:pt x="180" y="223"/>
                  <a:pt x="180" y="223"/>
                  <a:pt x="180" y="223"/>
                </a:cubicBezTo>
                <a:cubicBezTo>
                  <a:pt x="180" y="222"/>
                  <a:pt x="180" y="222"/>
                  <a:pt x="180" y="222"/>
                </a:cubicBezTo>
                <a:cubicBezTo>
                  <a:pt x="179" y="221"/>
                  <a:pt x="179" y="221"/>
                  <a:pt x="179" y="221"/>
                </a:cubicBezTo>
                <a:cubicBezTo>
                  <a:pt x="179" y="220"/>
                  <a:pt x="179" y="220"/>
                  <a:pt x="179" y="220"/>
                </a:cubicBezTo>
                <a:cubicBezTo>
                  <a:pt x="179" y="220"/>
                  <a:pt x="179" y="220"/>
                  <a:pt x="179" y="220"/>
                </a:cubicBezTo>
                <a:cubicBezTo>
                  <a:pt x="178" y="220"/>
                  <a:pt x="178" y="220"/>
                  <a:pt x="178" y="220"/>
                </a:cubicBezTo>
                <a:cubicBezTo>
                  <a:pt x="178" y="221"/>
                  <a:pt x="178" y="221"/>
                  <a:pt x="178" y="221"/>
                </a:cubicBezTo>
                <a:cubicBezTo>
                  <a:pt x="178" y="221"/>
                  <a:pt x="178" y="221"/>
                  <a:pt x="178" y="221"/>
                </a:cubicBezTo>
                <a:cubicBezTo>
                  <a:pt x="178" y="222"/>
                  <a:pt x="178" y="222"/>
                  <a:pt x="178" y="222"/>
                </a:cubicBezTo>
                <a:cubicBezTo>
                  <a:pt x="178" y="222"/>
                  <a:pt x="178" y="222"/>
                  <a:pt x="178" y="222"/>
                </a:cubicBezTo>
                <a:cubicBezTo>
                  <a:pt x="177" y="222"/>
                  <a:pt x="177" y="222"/>
                  <a:pt x="177" y="222"/>
                </a:cubicBezTo>
                <a:cubicBezTo>
                  <a:pt x="177" y="222"/>
                  <a:pt x="177" y="222"/>
                  <a:pt x="177" y="222"/>
                </a:cubicBezTo>
                <a:cubicBezTo>
                  <a:pt x="177" y="222"/>
                  <a:pt x="177" y="222"/>
                  <a:pt x="177" y="222"/>
                </a:cubicBezTo>
                <a:cubicBezTo>
                  <a:pt x="176" y="222"/>
                  <a:pt x="176" y="222"/>
                  <a:pt x="176" y="222"/>
                </a:cubicBezTo>
                <a:cubicBezTo>
                  <a:pt x="176" y="223"/>
                  <a:pt x="176" y="223"/>
                  <a:pt x="176" y="223"/>
                </a:cubicBezTo>
                <a:cubicBezTo>
                  <a:pt x="177" y="223"/>
                  <a:pt x="177" y="223"/>
                  <a:pt x="177" y="223"/>
                </a:cubicBezTo>
                <a:cubicBezTo>
                  <a:pt x="177" y="223"/>
                  <a:pt x="177" y="223"/>
                  <a:pt x="177" y="223"/>
                </a:cubicBezTo>
                <a:cubicBezTo>
                  <a:pt x="178" y="224"/>
                  <a:pt x="178" y="224"/>
                  <a:pt x="178" y="224"/>
                </a:cubicBezTo>
                <a:cubicBezTo>
                  <a:pt x="177" y="225"/>
                  <a:pt x="177" y="225"/>
                  <a:pt x="177" y="225"/>
                </a:cubicBezTo>
                <a:cubicBezTo>
                  <a:pt x="177" y="225"/>
                  <a:pt x="177" y="225"/>
                  <a:pt x="177" y="225"/>
                </a:cubicBezTo>
                <a:cubicBezTo>
                  <a:pt x="176" y="225"/>
                  <a:pt x="176" y="225"/>
                  <a:pt x="176" y="225"/>
                </a:cubicBezTo>
                <a:cubicBezTo>
                  <a:pt x="176" y="226"/>
                  <a:pt x="176" y="226"/>
                  <a:pt x="176" y="226"/>
                </a:cubicBezTo>
                <a:cubicBezTo>
                  <a:pt x="175" y="226"/>
                  <a:pt x="175" y="226"/>
                  <a:pt x="175" y="226"/>
                </a:cubicBezTo>
                <a:cubicBezTo>
                  <a:pt x="175" y="227"/>
                  <a:pt x="175" y="227"/>
                  <a:pt x="175" y="227"/>
                </a:cubicBezTo>
                <a:cubicBezTo>
                  <a:pt x="173" y="228"/>
                  <a:pt x="173" y="228"/>
                  <a:pt x="173" y="228"/>
                </a:cubicBezTo>
                <a:cubicBezTo>
                  <a:pt x="171" y="228"/>
                  <a:pt x="171" y="228"/>
                  <a:pt x="171" y="228"/>
                </a:cubicBezTo>
                <a:cubicBezTo>
                  <a:pt x="171" y="228"/>
                  <a:pt x="171" y="228"/>
                  <a:pt x="171" y="228"/>
                </a:cubicBezTo>
                <a:cubicBezTo>
                  <a:pt x="170" y="229"/>
                  <a:pt x="170" y="229"/>
                  <a:pt x="170" y="229"/>
                </a:cubicBezTo>
                <a:cubicBezTo>
                  <a:pt x="169" y="229"/>
                  <a:pt x="169" y="229"/>
                  <a:pt x="169" y="229"/>
                </a:cubicBezTo>
                <a:cubicBezTo>
                  <a:pt x="170" y="230"/>
                  <a:pt x="170" y="230"/>
                  <a:pt x="170" y="230"/>
                </a:cubicBezTo>
                <a:cubicBezTo>
                  <a:pt x="172" y="229"/>
                  <a:pt x="172" y="229"/>
                  <a:pt x="172" y="229"/>
                </a:cubicBezTo>
                <a:cubicBezTo>
                  <a:pt x="173" y="229"/>
                  <a:pt x="173" y="229"/>
                  <a:pt x="173" y="229"/>
                </a:cubicBezTo>
                <a:cubicBezTo>
                  <a:pt x="174" y="228"/>
                  <a:pt x="174" y="228"/>
                  <a:pt x="174" y="228"/>
                </a:cubicBezTo>
                <a:cubicBezTo>
                  <a:pt x="175" y="229"/>
                  <a:pt x="175" y="229"/>
                  <a:pt x="175" y="229"/>
                </a:cubicBezTo>
                <a:cubicBezTo>
                  <a:pt x="175" y="229"/>
                  <a:pt x="175" y="229"/>
                  <a:pt x="175" y="229"/>
                </a:cubicBezTo>
                <a:cubicBezTo>
                  <a:pt x="176" y="230"/>
                  <a:pt x="176" y="230"/>
                  <a:pt x="176" y="230"/>
                </a:cubicBezTo>
                <a:cubicBezTo>
                  <a:pt x="178" y="230"/>
                  <a:pt x="178" y="230"/>
                  <a:pt x="178" y="230"/>
                </a:cubicBezTo>
                <a:cubicBezTo>
                  <a:pt x="179" y="229"/>
                  <a:pt x="179" y="229"/>
                  <a:pt x="179" y="229"/>
                </a:cubicBezTo>
                <a:cubicBezTo>
                  <a:pt x="181" y="229"/>
                  <a:pt x="181" y="229"/>
                  <a:pt x="181" y="229"/>
                </a:cubicBezTo>
                <a:cubicBezTo>
                  <a:pt x="181" y="230"/>
                  <a:pt x="181" y="230"/>
                  <a:pt x="181" y="230"/>
                </a:cubicBezTo>
                <a:cubicBezTo>
                  <a:pt x="183" y="229"/>
                  <a:pt x="183" y="229"/>
                  <a:pt x="183" y="229"/>
                </a:cubicBezTo>
                <a:cubicBezTo>
                  <a:pt x="183" y="229"/>
                  <a:pt x="183" y="229"/>
                  <a:pt x="183" y="229"/>
                </a:cubicBezTo>
                <a:cubicBezTo>
                  <a:pt x="183" y="230"/>
                  <a:pt x="183" y="230"/>
                  <a:pt x="183" y="230"/>
                </a:cubicBezTo>
                <a:cubicBezTo>
                  <a:pt x="184" y="230"/>
                  <a:pt x="184" y="230"/>
                  <a:pt x="184" y="230"/>
                </a:cubicBezTo>
                <a:cubicBezTo>
                  <a:pt x="184" y="231"/>
                  <a:pt x="184" y="231"/>
                  <a:pt x="184" y="231"/>
                </a:cubicBezTo>
                <a:cubicBezTo>
                  <a:pt x="184" y="231"/>
                  <a:pt x="184" y="231"/>
                  <a:pt x="184" y="231"/>
                </a:cubicBezTo>
                <a:cubicBezTo>
                  <a:pt x="183" y="231"/>
                  <a:pt x="183" y="231"/>
                  <a:pt x="183" y="231"/>
                </a:cubicBezTo>
                <a:cubicBezTo>
                  <a:pt x="182" y="231"/>
                  <a:pt x="182" y="231"/>
                  <a:pt x="182" y="231"/>
                </a:cubicBezTo>
                <a:cubicBezTo>
                  <a:pt x="181" y="231"/>
                  <a:pt x="181" y="231"/>
                  <a:pt x="181" y="231"/>
                </a:cubicBezTo>
                <a:cubicBezTo>
                  <a:pt x="180" y="232"/>
                  <a:pt x="180" y="232"/>
                  <a:pt x="180" y="232"/>
                </a:cubicBezTo>
                <a:cubicBezTo>
                  <a:pt x="178" y="232"/>
                  <a:pt x="178" y="232"/>
                  <a:pt x="178" y="232"/>
                </a:cubicBezTo>
                <a:cubicBezTo>
                  <a:pt x="177" y="233"/>
                  <a:pt x="177" y="233"/>
                  <a:pt x="177" y="233"/>
                </a:cubicBezTo>
                <a:cubicBezTo>
                  <a:pt x="177" y="232"/>
                  <a:pt x="177" y="232"/>
                  <a:pt x="177" y="232"/>
                </a:cubicBezTo>
                <a:cubicBezTo>
                  <a:pt x="176" y="232"/>
                  <a:pt x="176" y="232"/>
                  <a:pt x="176" y="232"/>
                </a:cubicBezTo>
                <a:cubicBezTo>
                  <a:pt x="175" y="232"/>
                  <a:pt x="175" y="232"/>
                  <a:pt x="175" y="232"/>
                </a:cubicBezTo>
                <a:cubicBezTo>
                  <a:pt x="174" y="233"/>
                  <a:pt x="174" y="233"/>
                  <a:pt x="174" y="233"/>
                </a:cubicBezTo>
                <a:cubicBezTo>
                  <a:pt x="175" y="233"/>
                  <a:pt x="175" y="233"/>
                  <a:pt x="175" y="233"/>
                </a:cubicBezTo>
                <a:cubicBezTo>
                  <a:pt x="175" y="233"/>
                  <a:pt x="175" y="233"/>
                  <a:pt x="175" y="233"/>
                </a:cubicBezTo>
                <a:cubicBezTo>
                  <a:pt x="176" y="233"/>
                  <a:pt x="176" y="233"/>
                  <a:pt x="176" y="233"/>
                </a:cubicBezTo>
                <a:cubicBezTo>
                  <a:pt x="178" y="233"/>
                  <a:pt x="178" y="233"/>
                  <a:pt x="178" y="233"/>
                </a:cubicBezTo>
                <a:cubicBezTo>
                  <a:pt x="179" y="234"/>
                  <a:pt x="179" y="234"/>
                  <a:pt x="179" y="234"/>
                </a:cubicBezTo>
                <a:cubicBezTo>
                  <a:pt x="179" y="234"/>
                  <a:pt x="179" y="234"/>
                  <a:pt x="179" y="234"/>
                </a:cubicBezTo>
                <a:cubicBezTo>
                  <a:pt x="180" y="234"/>
                  <a:pt x="180" y="234"/>
                  <a:pt x="180" y="234"/>
                </a:cubicBezTo>
                <a:cubicBezTo>
                  <a:pt x="181" y="232"/>
                  <a:pt x="181" y="232"/>
                  <a:pt x="181" y="232"/>
                </a:cubicBezTo>
                <a:cubicBezTo>
                  <a:pt x="181" y="232"/>
                  <a:pt x="182" y="232"/>
                  <a:pt x="182" y="232"/>
                </a:cubicBezTo>
                <a:cubicBezTo>
                  <a:pt x="182" y="232"/>
                  <a:pt x="183" y="232"/>
                  <a:pt x="183" y="232"/>
                </a:cubicBezTo>
                <a:cubicBezTo>
                  <a:pt x="183" y="232"/>
                  <a:pt x="183" y="232"/>
                  <a:pt x="183" y="232"/>
                </a:cubicBezTo>
                <a:cubicBezTo>
                  <a:pt x="184" y="233"/>
                  <a:pt x="184" y="233"/>
                  <a:pt x="184" y="233"/>
                </a:cubicBezTo>
                <a:cubicBezTo>
                  <a:pt x="185" y="232"/>
                  <a:pt x="185" y="232"/>
                  <a:pt x="185" y="232"/>
                </a:cubicBezTo>
                <a:cubicBezTo>
                  <a:pt x="186" y="232"/>
                  <a:pt x="186" y="232"/>
                  <a:pt x="186" y="232"/>
                </a:cubicBezTo>
                <a:cubicBezTo>
                  <a:pt x="187" y="232"/>
                  <a:pt x="187" y="232"/>
                  <a:pt x="187" y="232"/>
                </a:cubicBezTo>
                <a:cubicBezTo>
                  <a:pt x="189" y="231"/>
                  <a:pt x="189" y="231"/>
                  <a:pt x="189" y="231"/>
                </a:cubicBezTo>
                <a:cubicBezTo>
                  <a:pt x="190" y="230"/>
                  <a:pt x="190" y="230"/>
                  <a:pt x="190" y="230"/>
                </a:cubicBezTo>
                <a:cubicBezTo>
                  <a:pt x="190" y="230"/>
                  <a:pt x="190" y="230"/>
                  <a:pt x="190" y="230"/>
                </a:cubicBezTo>
                <a:cubicBezTo>
                  <a:pt x="189" y="231"/>
                  <a:pt x="189" y="231"/>
                  <a:pt x="189" y="231"/>
                </a:cubicBezTo>
                <a:cubicBezTo>
                  <a:pt x="190" y="231"/>
                  <a:pt x="190" y="231"/>
                  <a:pt x="190" y="231"/>
                </a:cubicBezTo>
                <a:cubicBezTo>
                  <a:pt x="191" y="230"/>
                  <a:pt x="191" y="230"/>
                  <a:pt x="191" y="230"/>
                </a:cubicBezTo>
                <a:cubicBezTo>
                  <a:pt x="191" y="230"/>
                  <a:pt x="191" y="230"/>
                  <a:pt x="191" y="230"/>
                </a:cubicBezTo>
                <a:cubicBezTo>
                  <a:pt x="191" y="231"/>
                  <a:pt x="191" y="231"/>
                  <a:pt x="191" y="231"/>
                </a:cubicBezTo>
                <a:cubicBezTo>
                  <a:pt x="193" y="232"/>
                  <a:pt x="193" y="232"/>
                  <a:pt x="193" y="232"/>
                </a:cubicBezTo>
                <a:cubicBezTo>
                  <a:pt x="195" y="233"/>
                  <a:pt x="195" y="233"/>
                  <a:pt x="195" y="233"/>
                </a:cubicBezTo>
                <a:cubicBezTo>
                  <a:pt x="196" y="233"/>
                  <a:pt x="196" y="233"/>
                  <a:pt x="196" y="233"/>
                </a:cubicBezTo>
                <a:cubicBezTo>
                  <a:pt x="198" y="234"/>
                  <a:pt x="198" y="234"/>
                  <a:pt x="198" y="234"/>
                </a:cubicBezTo>
                <a:cubicBezTo>
                  <a:pt x="199" y="234"/>
                  <a:pt x="199" y="234"/>
                  <a:pt x="199" y="234"/>
                </a:cubicBezTo>
                <a:cubicBezTo>
                  <a:pt x="200" y="234"/>
                  <a:pt x="200" y="234"/>
                  <a:pt x="200" y="234"/>
                </a:cubicBezTo>
                <a:cubicBezTo>
                  <a:pt x="201" y="234"/>
                  <a:pt x="201" y="234"/>
                  <a:pt x="201" y="234"/>
                </a:cubicBezTo>
                <a:cubicBezTo>
                  <a:pt x="202" y="234"/>
                  <a:pt x="202" y="234"/>
                  <a:pt x="202" y="234"/>
                </a:cubicBezTo>
                <a:cubicBezTo>
                  <a:pt x="204" y="233"/>
                  <a:pt x="204" y="233"/>
                  <a:pt x="204" y="233"/>
                </a:cubicBezTo>
                <a:cubicBezTo>
                  <a:pt x="204" y="234"/>
                  <a:pt x="204" y="234"/>
                  <a:pt x="204" y="234"/>
                </a:cubicBezTo>
                <a:cubicBezTo>
                  <a:pt x="203" y="235"/>
                  <a:pt x="203" y="235"/>
                  <a:pt x="203" y="235"/>
                </a:cubicBezTo>
                <a:cubicBezTo>
                  <a:pt x="202" y="236"/>
                  <a:pt x="202" y="236"/>
                  <a:pt x="202" y="236"/>
                </a:cubicBezTo>
                <a:cubicBezTo>
                  <a:pt x="201" y="236"/>
                  <a:pt x="201" y="236"/>
                  <a:pt x="201" y="236"/>
                </a:cubicBezTo>
                <a:cubicBezTo>
                  <a:pt x="200" y="236"/>
                  <a:pt x="200" y="236"/>
                  <a:pt x="200" y="236"/>
                </a:cubicBezTo>
                <a:cubicBezTo>
                  <a:pt x="199" y="236"/>
                  <a:pt x="199" y="236"/>
                  <a:pt x="199" y="236"/>
                </a:cubicBezTo>
                <a:cubicBezTo>
                  <a:pt x="199" y="237"/>
                  <a:pt x="199" y="237"/>
                  <a:pt x="199" y="237"/>
                </a:cubicBezTo>
                <a:cubicBezTo>
                  <a:pt x="200" y="237"/>
                  <a:pt x="200" y="237"/>
                  <a:pt x="200" y="237"/>
                </a:cubicBezTo>
                <a:cubicBezTo>
                  <a:pt x="200" y="238"/>
                  <a:pt x="200" y="238"/>
                  <a:pt x="200" y="238"/>
                </a:cubicBezTo>
                <a:cubicBezTo>
                  <a:pt x="200" y="238"/>
                  <a:pt x="200" y="238"/>
                  <a:pt x="200" y="238"/>
                </a:cubicBezTo>
                <a:cubicBezTo>
                  <a:pt x="199" y="238"/>
                  <a:pt x="199" y="238"/>
                  <a:pt x="199" y="238"/>
                </a:cubicBezTo>
                <a:cubicBezTo>
                  <a:pt x="199" y="238"/>
                  <a:pt x="199" y="238"/>
                  <a:pt x="199" y="238"/>
                </a:cubicBezTo>
                <a:cubicBezTo>
                  <a:pt x="198" y="237"/>
                  <a:pt x="198" y="237"/>
                  <a:pt x="198" y="237"/>
                </a:cubicBezTo>
                <a:cubicBezTo>
                  <a:pt x="198" y="238"/>
                  <a:pt x="198" y="238"/>
                  <a:pt x="198" y="238"/>
                </a:cubicBezTo>
                <a:cubicBezTo>
                  <a:pt x="198" y="239"/>
                  <a:pt x="198" y="239"/>
                  <a:pt x="198" y="239"/>
                </a:cubicBezTo>
                <a:cubicBezTo>
                  <a:pt x="197" y="238"/>
                  <a:pt x="197" y="238"/>
                  <a:pt x="197" y="238"/>
                </a:cubicBezTo>
                <a:cubicBezTo>
                  <a:pt x="196" y="238"/>
                  <a:pt x="196" y="238"/>
                  <a:pt x="196" y="238"/>
                </a:cubicBezTo>
                <a:cubicBezTo>
                  <a:pt x="196" y="239"/>
                  <a:pt x="196" y="239"/>
                  <a:pt x="196" y="239"/>
                </a:cubicBezTo>
                <a:cubicBezTo>
                  <a:pt x="196" y="239"/>
                  <a:pt x="196" y="239"/>
                  <a:pt x="196" y="239"/>
                </a:cubicBezTo>
                <a:cubicBezTo>
                  <a:pt x="196" y="239"/>
                  <a:pt x="196" y="239"/>
                  <a:pt x="196" y="239"/>
                </a:cubicBezTo>
                <a:cubicBezTo>
                  <a:pt x="196" y="240"/>
                  <a:pt x="196" y="240"/>
                  <a:pt x="196" y="240"/>
                </a:cubicBezTo>
                <a:cubicBezTo>
                  <a:pt x="195" y="241"/>
                  <a:pt x="195" y="241"/>
                  <a:pt x="195" y="241"/>
                </a:cubicBezTo>
                <a:cubicBezTo>
                  <a:pt x="195" y="241"/>
                  <a:pt x="195" y="241"/>
                  <a:pt x="195" y="241"/>
                </a:cubicBezTo>
                <a:cubicBezTo>
                  <a:pt x="194" y="240"/>
                  <a:pt x="194" y="240"/>
                  <a:pt x="194" y="240"/>
                </a:cubicBezTo>
                <a:cubicBezTo>
                  <a:pt x="194" y="240"/>
                  <a:pt x="194" y="240"/>
                  <a:pt x="194" y="240"/>
                </a:cubicBezTo>
                <a:cubicBezTo>
                  <a:pt x="193" y="240"/>
                  <a:pt x="193" y="240"/>
                  <a:pt x="193" y="240"/>
                </a:cubicBezTo>
                <a:cubicBezTo>
                  <a:pt x="194" y="241"/>
                  <a:pt x="194" y="241"/>
                  <a:pt x="194" y="241"/>
                </a:cubicBezTo>
                <a:cubicBezTo>
                  <a:pt x="194" y="242"/>
                  <a:pt x="194" y="242"/>
                  <a:pt x="194" y="242"/>
                </a:cubicBezTo>
                <a:cubicBezTo>
                  <a:pt x="193" y="242"/>
                  <a:pt x="193" y="242"/>
                  <a:pt x="193" y="242"/>
                </a:cubicBezTo>
                <a:cubicBezTo>
                  <a:pt x="192" y="242"/>
                  <a:pt x="192" y="242"/>
                  <a:pt x="192" y="242"/>
                </a:cubicBezTo>
                <a:cubicBezTo>
                  <a:pt x="192" y="243"/>
                  <a:pt x="192" y="243"/>
                  <a:pt x="192" y="243"/>
                </a:cubicBezTo>
                <a:cubicBezTo>
                  <a:pt x="191" y="242"/>
                  <a:pt x="191" y="242"/>
                  <a:pt x="191" y="242"/>
                </a:cubicBezTo>
                <a:cubicBezTo>
                  <a:pt x="191" y="242"/>
                  <a:pt x="191" y="242"/>
                  <a:pt x="191" y="242"/>
                </a:cubicBezTo>
                <a:cubicBezTo>
                  <a:pt x="190" y="242"/>
                  <a:pt x="190" y="242"/>
                  <a:pt x="190" y="242"/>
                </a:cubicBezTo>
                <a:cubicBezTo>
                  <a:pt x="190" y="243"/>
                  <a:pt x="190" y="243"/>
                  <a:pt x="190" y="243"/>
                </a:cubicBezTo>
                <a:cubicBezTo>
                  <a:pt x="191" y="243"/>
                  <a:pt x="191" y="243"/>
                  <a:pt x="191" y="243"/>
                </a:cubicBezTo>
                <a:cubicBezTo>
                  <a:pt x="190" y="244"/>
                  <a:pt x="190" y="244"/>
                  <a:pt x="190" y="244"/>
                </a:cubicBezTo>
                <a:cubicBezTo>
                  <a:pt x="189" y="244"/>
                  <a:pt x="189" y="244"/>
                  <a:pt x="189" y="244"/>
                </a:cubicBezTo>
                <a:cubicBezTo>
                  <a:pt x="189" y="243"/>
                  <a:pt x="189" y="243"/>
                  <a:pt x="189" y="243"/>
                </a:cubicBezTo>
                <a:cubicBezTo>
                  <a:pt x="188" y="244"/>
                  <a:pt x="188" y="244"/>
                  <a:pt x="188" y="244"/>
                </a:cubicBezTo>
                <a:cubicBezTo>
                  <a:pt x="188" y="244"/>
                  <a:pt x="188" y="244"/>
                  <a:pt x="188" y="244"/>
                </a:cubicBezTo>
                <a:cubicBezTo>
                  <a:pt x="189" y="245"/>
                  <a:pt x="189" y="245"/>
                  <a:pt x="189" y="245"/>
                </a:cubicBezTo>
                <a:cubicBezTo>
                  <a:pt x="189" y="246"/>
                  <a:pt x="189" y="246"/>
                  <a:pt x="189" y="246"/>
                </a:cubicBezTo>
                <a:cubicBezTo>
                  <a:pt x="187" y="246"/>
                  <a:pt x="187" y="246"/>
                  <a:pt x="187" y="246"/>
                </a:cubicBezTo>
                <a:cubicBezTo>
                  <a:pt x="187" y="246"/>
                  <a:pt x="187" y="246"/>
                  <a:pt x="187" y="246"/>
                </a:cubicBezTo>
                <a:cubicBezTo>
                  <a:pt x="187" y="246"/>
                  <a:pt x="187" y="246"/>
                  <a:pt x="187" y="246"/>
                </a:cubicBezTo>
                <a:cubicBezTo>
                  <a:pt x="186" y="245"/>
                  <a:pt x="186" y="245"/>
                  <a:pt x="186" y="245"/>
                </a:cubicBezTo>
                <a:cubicBezTo>
                  <a:pt x="185" y="245"/>
                  <a:pt x="185" y="245"/>
                  <a:pt x="185" y="245"/>
                </a:cubicBezTo>
                <a:cubicBezTo>
                  <a:pt x="185" y="246"/>
                  <a:pt x="185" y="246"/>
                  <a:pt x="185" y="246"/>
                </a:cubicBezTo>
                <a:cubicBezTo>
                  <a:pt x="186" y="247"/>
                  <a:pt x="186" y="247"/>
                  <a:pt x="186" y="247"/>
                </a:cubicBezTo>
                <a:cubicBezTo>
                  <a:pt x="186" y="247"/>
                  <a:pt x="186" y="247"/>
                  <a:pt x="186" y="247"/>
                </a:cubicBezTo>
                <a:cubicBezTo>
                  <a:pt x="185" y="248"/>
                  <a:pt x="185" y="248"/>
                  <a:pt x="185" y="248"/>
                </a:cubicBezTo>
                <a:cubicBezTo>
                  <a:pt x="184" y="248"/>
                  <a:pt x="184" y="248"/>
                  <a:pt x="184" y="248"/>
                </a:cubicBezTo>
                <a:cubicBezTo>
                  <a:pt x="184" y="248"/>
                  <a:pt x="184" y="248"/>
                  <a:pt x="184" y="248"/>
                </a:cubicBezTo>
                <a:cubicBezTo>
                  <a:pt x="182" y="249"/>
                  <a:pt x="182" y="249"/>
                  <a:pt x="182" y="249"/>
                </a:cubicBezTo>
                <a:cubicBezTo>
                  <a:pt x="182" y="249"/>
                  <a:pt x="182" y="249"/>
                  <a:pt x="182" y="249"/>
                </a:cubicBezTo>
                <a:cubicBezTo>
                  <a:pt x="181" y="250"/>
                  <a:pt x="181" y="250"/>
                  <a:pt x="181" y="250"/>
                </a:cubicBezTo>
                <a:cubicBezTo>
                  <a:pt x="181" y="250"/>
                  <a:pt x="181" y="250"/>
                  <a:pt x="181" y="250"/>
                </a:cubicBezTo>
                <a:cubicBezTo>
                  <a:pt x="180" y="249"/>
                  <a:pt x="180" y="249"/>
                  <a:pt x="180" y="249"/>
                </a:cubicBezTo>
                <a:cubicBezTo>
                  <a:pt x="180" y="249"/>
                  <a:pt x="180" y="249"/>
                  <a:pt x="180" y="249"/>
                </a:cubicBezTo>
                <a:cubicBezTo>
                  <a:pt x="179" y="250"/>
                  <a:pt x="179" y="250"/>
                  <a:pt x="179" y="250"/>
                </a:cubicBezTo>
                <a:cubicBezTo>
                  <a:pt x="178" y="250"/>
                  <a:pt x="178" y="250"/>
                  <a:pt x="178" y="250"/>
                </a:cubicBezTo>
                <a:cubicBezTo>
                  <a:pt x="177" y="250"/>
                  <a:pt x="177" y="250"/>
                  <a:pt x="177" y="250"/>
                </a:cubicBezTo>
                <a:cubicBezTo>
                  <a:pt x="177" y="251"/>
                  <a:pt x="177" y="251"/>
                  <a:pt x="177" y="251"/>
                </a:cubicBezTo>
                <a:cubicBezTo>
                  <a:pt x="176" y="251"/>
                  <a:pt x="176" y="251"/>
                  <a:pt x="176" y="251"/>
                </a:cubicBezTo>
                <a:cubicBezTo>
                  <a:pt x="176" y="251"/>
                  <a:pt x="176" y="251"/>
                  <a:pt x="176" y="251"/>
                </a:cubicBezTo>
                <a:cubicBezTo>
                  <a:pt x="175" y="250"/>
                  <a:pt x="175" y="250"/>
                  <a:pt x="175" y="250"/>
                </a:cubicBezTo>
                <a:cubicBezTo>
                  <a:pt x="175" y="250"/>
                  <a:pt x="175" y="250"/>
                  <a:pt x="175" y="250"/>
                </a:cubicBezTo>
                <a:cubicBezTo>
                  <a:pt x="174" y="252"/>
                  <a:pt x="174" y="252"/>
                  <a:pt x="174" y="252"/>
                </a:cubicBezTo>
                <a:cubicBezTo>
                  <a:pt x="174" y="251"/>
                  <a:pt x="174" y="251"/>
                  <a:pt x="174" y="251"/>
                </a:cubicBezTo>
                <a:cubicBezTo>
                  <a:pt x="173" y="251"/>
                  <a:pt x="173" y="251"/>
                  <a:pt x="173" y="251"/>
                </a:cubicBezTo>
                <a:cubicBezTo>
                  <a:pt x="173" y="251"/>
                  <a:pt x="173" y="251"/>
                  <a:pt x="173" y="251"/>
                </a:cubicBezTo>
                <a:cubicBezTo>
                  <a:pt x="173" y="251"/>
                  <a:pt x="173" y="251"/>
                  <a:pt x="173" y="251"/>
                </a:cubicBezTo>
                <a:cubicBezTo>
                  <a:pt x="172" y="252"/>
                  <a:pt x="172" y="252"/>
                  <a:pt x="172" y="252"/>
                </a:cubicBezTo>
                <a:cubicBezTo>
                  <a:pt x="171" y="252"/>
                  <a:pt x="171" y="252"/>
                  <a:pt x="171" y="252"/>
                </a:cubicBezTo>
                <a:cubicBezTo>
                  <a:pt x="171" y="251"/>
                  <a:pt x="171" y="251"/>
                  <a:pt x="171" y="251"/>
                </a:cubicBezTo>
                <a:cubicBezTo>
                  <a:pt x="171" y="251"/>
                  <a:pt x="171" y="251"/>
                  <a:pt x="171" y="251"/>
                </a:cubicBezTo>
                <a:cubicBezTo>
                  <a:pt x="171" y="252"/>
                  <a:pt x="171" y="252"/>
                  <a:pt x="171" y="252"/>
                </a:cubicBezTo>
                <a:cubicBezTo>
                  <a:pt x="171" y="252"/>
                  <a:pt x="171" y="252"/>
                  <a:pt x="171" y="252"/>
                </a:cubicBezTo>
                <a:cubicBezTo>
                  <a:pt x="170" y="252"/>
                  <a:pt x="170" y="252"/>
                  <a:pt x="170" y="252"/>
                </a:cubicBezTo>
                <a:cubicBezTo>
                  <a:pt x="169" y="252"/>
                  <a:pt x="169" y="252"/>
                  <a:pt x="169" y="252"/>
                </a:cubicBezTo>
                <a:cubicBezTo>
                  <a:pt x="169" y="253"/>
                  <a:pt x="169" y="253"/>
                  <a:pt x="169" y="253"/>
                </a:cubicBezTo>
                <a:cubicBezTo>
                  <a:pt x="169" y="253"/>
                  <a:pt x="169" y="253"/>
                  <a:pt x="169" y="253"/>
                </a:cubicBezTo>
                <a:cubicBezTo>
                  <a:pt x="168" y="253"/>
                  <a:pt x="168" y="253"/>
                  <a:pt x="168" y="253"/>
                </a:cubicBezTo>
                <a:cubicBezTo>
                  <a:pt x="168" y="253"/>
                  <a:pt x="168" y="253"/>
                  <a:pt x="168" y="253"/>
                </a:cubicBezTo>
                <a:cubicBezTo>
                  <a:pt x="167" y="253"/>
                  <a:pt x="167" y="253"/>
                  <a:pt x="167" y="253"/>
                </a:cubicBezTo>
                <a:cubicBezTo>
                  <a:pt x="167" y="254"/>
                  <a:pt x="167" y="254"/>
                  <a:pt x="167" y="254"/>
                </a:cubicBezTo>
                <a:cubicBezTo>
                  <a:pt x="167" y="254"/>
                  <a:pt x="167" y="254"/>
                  <a:pt x="167" y="254"/>
                </a:cubicBezTo>
                <a:cubicBezTo>
                  <a:pt x="166" y="253"/>
                  <a:pt x="166" y="253"/>
                  <a:pt x="166" y="253"/>
                </a:cubicBezTo>
                <a:cubicBezTo>
                  <a:pt x="166" y="253"/>
                  <a:pt x="166" y="253"/>
                  <a:pt x="166" y="253"/>
                </a:cubicBezTo>
                <a:cubicBezTo>
                  <a:pt x="166" y="254"/>
                  <a:pt x="166" y="254"/>
                  <a:pt x="166" y="254"/>
                </a:cubicBezTo>
                <a:cubicBezTo>
                  <a:pt x="165" y="255"/>
                  <a:pt x="165" y="255"/>
                  <a:pt x="165" y="255"/>
                </a:cubicBezTo>
                <a:cubicBezTo>
                  <a:pt x="165" y="255"/>
                  <a:pt x="165" y="255"/>
                  <a:pt x="165" y="255"/>
                </a:cubicBezTo>
                <a:cubicBezTo>
                  <a:pt x="164" y="255"/>
                  <a:pt x="164" y="255"/>
                  <a:pt x="164" y="255"/>
                </a:cubicBezTo>
                <a:cubicBezTo>
                  <a:pt x="164" y="255"/>
                  <a:pt x="164" y="255"/>
                  <a:pt x="164" y="255"/>
                </a:cubicBezTo>
                <a:cubicBezTo>
                  <a:pt x="163" y="253"/>
                  <a:pt x="163" y="253"/>
                  <a:pt x="163" y="253"/>
                </a:cubicBezTo>
                <a:cubicBezTo>
                  <a:pt x="162" y="253"/>
                  <a:pt x="162" y="253"/>
                  <a:pt x="162" y="253"/>
                </a:cubicBezTo>
                <a:cubicBezTo>
                  <a:pt x="161" y="253"/>
                  <a:pt x="161" y="253"/>
                  <a:pt x="161" y="253"/>
                </a:cubicBezTo>
                <a:cubicBezTo>
                  <a:pt x="161" y="254"/>
                  <a:pt x="161" y="254"/>
                  <a:pt x="161" y="254"/>
                </a:cubicBezTo>
                <a:cubicBezTo>
                  <a:pt x="161" y="254"/>
                  <a:pt x="161" y="254"/>
                  <a:pt x="161" y="254"/>
                </a:cubicBezTo>
                <a:cubicBezTo>
                  <a:pt x="161" y="255"/>
                  <a:pt x="161" y="255"/>
                  <a:pt x="161" y="255"/>
                </a:cubicBezTo>
                <a:cubicBezTo>
                  <a:pt x="160" y="255"/>
                  <a:pt x="160" y="255"/>
                  <a:pt x="160" y="255"/>
                </a:cubicBezTo>
                <a:cubicBezTo>
                  <a:pt x="159" y="255"/>
                  <a:pt x="159" y="255"/>
                  <a:pt x="159" y="255"/>
                </a:cubicBezTo>
                <a:cubicBezTo>
                  <a:pt x="159" y="255"/>
                  <a:pt x="159" y="255"/>
                  <a:pt x="159" y="255"/>
                </a:cubicBezTo>
                <a:cubicBezTo>
                  <a:pt x="158" y="255"/>
                  <a:pt x="158" y="255"/>
                  <a:pt x="158" y="255"/>
                </a:cubicBezTo>
                <a:cubicBezTo>
                  <a:pt x="157" y="256"/>
                  <a:pt x="157" y="256"/>
                  <a:pt x="157" y="256"/>
                </a:cubicBezTo>
                <a:cubicBezTo>
                  <a:pt x="157" y="255"/>
                  <a:pt x="157" y="255"/>
                  <a:pt x="157" y="255"/>
                </a:cubicBezTo>
                <a:cubicBezTo>
                  <a:pt x="156" y="255"/>
                  <a:pt x="156" y="255"/>
                  <a:pt x="156" y="255"/>
                </a:cubicBezTo>
                <a:cubicBezTo>
                  <a:pt x="155" y="255"/>
                  <a:pt x="155" y="255"/>
                  <a:pt x="155" y="255"/>
                </a:cubicBezTo>
                <a:cubicBezTo>
                  <a:pt x="155" y="255"/>
                  <a:pt x="155" y="255"/>
                  <a:pt x="155" y="255"/>
                </a:cubicBezTo>
                <a:cubicBezTo>
                  <a:pt x="155" y="256"/>
                  <a:pt x="155" y="256"/>
                  <a:pt x="155" y="256"/>
                </a:cubicBezTo>
                <a:cubicBezTo>
                  <a:pt x="154" y="256"/>
                  <a:pt x="154" y="256"/>
                  <a:pt x="154" y="256"/>
                </a:cubicBezTo>
                <a:cubicBezTo>
                  <a:pt x="153" y="255"/>
                  <a:pt x="153" y="255"/>
                  <a:pt x="153" y="255"/>
                </a:cubicBezTo>
                <a:cubicBezTo>
                  <a:pt x="153" y="254"/>
                  <a:pt x="153" y="254"/>
                  <a:pt x="153" y="254"/>
                </a:cubicBezTo>
                <a:cubicBezTo>
                  <a:pt x="153" y="253"/>
                  <a:pt x="153" y="253"/>
                  <a:pt x="153" y="253"/>
                </a:cubicBezTo>
                <a:cubicBezTo>
                  <a:pt x="153" y="253"/>
                  <a:pt x="153" y="253"/>
                  <a:pt x="153" y="253"/>
                </a:cubicBezTo>
                <a:cubicBezTo>
                  <a:pt x="152" y="253"/>
                  <a:pt x="152" y="253"/>
                  <a:pt x="152" y="253"/>
                </a:cubicBezTo>
                <a:cubicBezTo>
                  <a:pt x="151" y="251"/>
                  <a:pt x="151" y="251"/>
                  <a:pt x="151" y="251"/>
                </a:cubicBezTo>
                <a:cubicBezTo>
                  <a:pt x="151" y="250"/>
                  <a:pt x="151" y="250"/>
                  <a:pt x="151" y="250"/>
                </a:cubicBezTo>
                <a:cubicBezTo>
                  <a:pt x="151" y="250"/>
                  <a:pt x="151" y="250"/>
                  <a:pt x="151" y="250"/>
                </a:cubicBezTo>
                <a:cubicBezTo>
                  <a:pt x="151" y="248"/>
                  <a:pt x="151" y="248"/>
                  <a:pt x="151" y="248"/>
                </a:cubicBezTo>
                <a:cubicBezTo>
                  <a:pt x="150" y="248"/>
                  <a:pt x="150" y="248"/>
                  <a:pt x="150" y="248"/>
                </a:cubicBezTo>
                <a:cubicBezTo>
                  <a:pt x="150" y="248"/>
                  <a:pt x="150" y="248"/>
                  <a:pt x="150" y="248"/>
                </a:cubicBezTo>
                <a:cubicBezTo>
                  <a:pt x="150" y="249"/>
                  <a:pt x="150" y="249"/>
                  <a:pt x="150" y="249"/>
                </a:cubicBezTo>
                <a:cubicBezTo>
                  <a:pt x="150" y="250"/>
                  <a:pt x="150" y="250"/>
                  <a:pt x="150" y="250"/>
                </a:cubicBezTo>
                <a:cubicBezTo>
                  <a:pt x="150" y="251"/>
                  <a:pt x="150" y="251"/>
                  <a:pt x="150" y="251"/>
                </a:cubicBezTo>
                <a:cubicBezTo>
                  <a:pt x="151" y="251"/>
                  <a:pt x="151" y="251"/>
                  <a:pt x="151" y="251"/>
                </a:cubicBezTo>
                <a:cubicBezTo>
                  <a:pt x="151" y="252"/>
                  <a:pt x="151" y="252"/>
                  <a:pt x="151" y="252"/>
                </a:cubicBezTo>
                <a:cubicBezTo>
                  <a:pt x="151" y="253"/>
                  <a:pt x="151" y="253"/>
                  <a:pt x="151" y="253"/>
                </a:cubicBezTo>
                <a:cubicBezTo>
                  <a:pt x="151" y="254"/>
                  <a:pt x="151" y="254"/>
                  <a:pt x="151" y="254"/>
                </a:cubicBezTo>
                <a:cubicBezTo>
                  <a:pt x="151" y="254"/>
                  <a:pt x="151" y="254"/>
                  <a:pt x="151" y="254"/>
                </a:cubicBezTo>
                <a:cubicBezTo>
                  <a:pt x="152" y="254"/>
                  <a:pt x="152" y="254"/>
                  <a:pt x="152" y="254"/>
                </a:cubicBezTo>
                <a:cubicBezTo>
                  <a:pt x="152" y="256"/>
                  <a:pt x="152" y="256"/>
                  <a:pt x="152" y="256"/>
                </a:cubicBezTo>
                <a:cubicBezTo>
                  <a:pt x="152" y="257"/>
                  <a:pt x="152" y="257"/>
                  <a:pt x="152" y="257"/>
                </a:cubicBezTo>
                <a:cubicBezTo>
                  <a:pt x="151" y="258"/>
                  <a:pt x="151" y="258"/>
                  <a:pt x="151" y="258"/>
                </a:cubicBezTo>
                <a:cubicBezTo>
                  <a:pt x="150" y="258"/>
                  <a:pt x="150" y="258"/>
                  <a:pt x="150" y="258"/>
                </a:cubicBezTo>
                <a:cubicBezTo>
                  <a:pt x="150" y="258"/>
                  <a:pt x="150" y="258"/>
                  <a:pt x="150" y="258"/>
                </a:cubicBezTo>
                <a:cubicBezTo>
                  <a:pt x="149" y="258"/>
                  <a:pt x="149" y="258"/>
                  <a:pt x="149" y="258"/>
                </a:cubicBezTo>
                <a:cubicBezTo>
                  <a:pt x="149" y="258"/>
                  <a:pt x="149" y="258"/>
                  <a:pt x="149" y="258"/>
                </a:cubicBezTo>
                <a:cubicBezTo>
                  <a:pt x="148" y="260"/>
                  <a:pt x="148" y="260"/>
                  <a:pt x="148" y="260"/>
                </a:cubicBezTo>
                <a:cubicBezTo>
                  <a:pt x="147" y="260"/>
                  <a:pt x="147" y="260"/>
                  <a:pt x="147" y="260"/>
                </a:cubicBezTo>
                <a:cubicBezTo>
                  <a:pt x="146" y="260"/>
                  <a:pt x="146" y="260"/>
                  <a:pt x="146" y="260"/>
                </a:cubicBezTo>
                <a:cubicBezTo>
                  <a:pt x="146" y="260"/>
                  <a:pt x="146" y="260"/>
                  <a:pt x="146" y="260"/>
                </a:cubicBezTo>
                <a:cubicBezTo>
                  <a:pt x="146" y="260"/>
                  <a:pt x="146" y="260"/>
                  <a:pt x="146" y="260"/>
                </a:cubicBezTo>
                <a:cubicBezTo>
                  <a:pt x="146" y="261"/>
                  <a:pt x="146" y="261"/>
                  <a:pt x="146" y="261"/>
                </a:cubicBezTo>
                <a:cubicBezTo>
                  <a:pt x="145" y="262"/>
                  <a:pt x="145" y="262"/>
                  <a:pt x="145" y="262"/>
                </a:cubicBezTo>
                <a:cubicBezTo>
                  <a:pt x="145" y="262"/>
                  <a:pt x="145" y="262"/>
                  <a:pt x="145" y="262"/>
                </a:cubicBezTo>
                <a:cubicBezTo>
                  <a:pt x="144" y="262"/>
                  <a:pt x="144" y="262"/>
                  <a:pt x="144" y="262"/>
                </a:cubicBezTo>
                <a:cubicBezTo>
                  <a:pt x="144" y="263"/>
                  <a:pt x="144" y="263"/>
                  <a:pt x="144" y="263"/>
                </a:cubicBezTo>
                <a:cubicBezTo>
                  <a:pt x="144" y="264"/>
                  <a:pt x="144" y="264"/>
                  <a:pt x="144" y="264"/>
                </a:cubicBezTo>
                <a:cubicBezTo>
                  <a:pt x="144" y="263"/>
                  <a:pt x="144" y="263"/>
                  <a:pt x="144" y="263"/>
                </a:cubicBezTo>
                <a:cubicBezTo>
                  <a:pt x="143" y="263"/>
                  <a:pt x="143" y="263"/>
                  <a:pt x="143" y="263"/>
                </a:cubicBezTo>
                <a:cubicBezTo>
                  <a:pt x="144" y="263"/>
                  <a:pt x="144" y="263"/>
                  <a:pt x="144" y="263"/>
                </a:cubicBezTo>
                <a:cubicBezTo>
                  <a:pt x="144" y="264"/>
                  <a:pt x="144" y="264"/>
                  <a:pt x="144" y="264"/>
                </a:cubicBezTo>
                <a:cubicBezTo>
                  <a:pt x="144" y="265"/>
                  <a:pt x="144" y="265"/>
                  <a:pt x="144" y="265"/>
                </a:cubicBezTo>
                <a:cubicBezTo>
                  <a:pt x="143" y="265"/>
                  <a:pt x="143" y="265"/>
                  <a:pt x="143" y="265"/>
                </a:cubicBezTo>
                <a:cubicBezTo>
                  <a:pt x="143" y="264"/>
                  <a:pt x="143" y="264"/>
                  <a:pt x="143" y="264"/>
                </a:cubicBezTo>
                <a:cubicBezTo>
                  <a:pt x="142" y="264"/>
                  <a:pt x="142" y="264"/>
                  <a:pt x="142" y="264"/>
                </a:cubicBezTo>
                <a:cubicBezTo>
                  <a:pt x="142" y="265"/>
                  <a:pt x="142" y="265"/>
                  <a:pt x="142" y="265"/>
                </a:cubicBezTo>
                <a:cubicBezTo>
                  <a:pt x="142" y="265"/>
                  <a:pt x="142" y="265"/>
                  <a:pt x="142" y="265"/>
                </a:cubicBezTo>
                <a:cubicBezTo>
                  <a:pt x="142" y="266"/>
                  <a:pt x="142" y="266"/>
                  <a:pt x="142" y="266"/>
                </a:cubicBezTo>
                <a:cubicBezTo>
                  <a:pt x="142" y="266"/>
                  <a:pt x="142" y="266"/>
                  <a:pt x="142" y="266"/>
                </a:cubicBezTo>
                <a:cubicBezTo>
                  <a:pt x="141" y="267"/>
                  <a:pt x="141" y="267"/>
                  <a:pt x="141" y="267"/>
                </a:cubicBezTo>
                <a:cubicBezTo>
                  <a:pt x="139" y="268"/>
                  <a:pt x="139" y="268"/>
                  <a:pt x="139" y="268"/>
                </a:cubicBezTo>
                <a:cubicBezTo>
                  <a:pt x="139" y="269"/>
                  <a:pt x="139" y="269"/>
                  <a:pt x="139" y="269"/>
                </a:cubicBezTo>
                <a:cubicBezTo>
                  <a:pt x="139" y="270"/>
                  <a:pt x="139" y="270"/>
                  <a:pt x="139" y="270"/>
                </a:cubicBezTo>
                <a:cubicBezTo>
                  <a:pt x="139" y="271"/>
                  <a:pt x="139" y="271"/>
                  <a:pt x="139" y="271"/>
                </a:cubicBezTo>
                <a:cubicBezTo>
                  <a:pt x="138" y="272"/>
                  <a:pt x="138" y="272"/>
                  <a:pt x="138" y="272"/>
                </a:cubicBezTo>
                <a:cubicBezTo>
                  <a:pt x="138" y="272"/>
                  <a:pt x="138" y="272"/>
                  <a:pt x="138" y="272"/>
                </a:cubicBezTo>
                <a:cubicBezTo>
                  <a:pt x="137" y="272"/>
                  <a:pt x="137" y="272"/>
                  <a:pt x="137" y="272"/>
                </a:cubicBezTo>
                <a:cubicBezTo>
                  <a:pt x="137" y="271"/>
                  <a:pt x="137" y="271"/>
                  <a:pt x="137" y="271"/>
                </a:cubicBezTo>
                <a:cubicBezTo>
                  <a:pt x="137" y="271"/>
                  <a:pt x="137" y="271"/>
                  <a:pt x="137" y="271"/>
                </a:cubicBezTo>
                <a:cubicBezTo>
                  <a:pt x="137" y="271"/>
                  <a:pt x="137" y="271"/>
                  <a:pt x="137" y="271"/>
                </a:cubicBezTo>
                <a:cubicBezTo>
                  <a:pt x="136" y="272"/>
                  <a:pt x="136" y="272"/>
                  <a:pt x="136" y="272"/>
                </a:cubicBezTo>
                <a:cubicBezTo>
                  <a:pt x="136" y="272"/>
                  <a:pt x="136" y="272"/>
                  <a:pt x="136" y="272"/>
                </a:cubicBezTo>
                <a:cubicBezTo>
                  <a:pt x="136" y="273"/>
                  <a:pt x="136" y="273"/>
                  <a:pt x="136" y="273"/>
                </a:cubicBezTo>
                <a:cubicBezTo>
                  <a:pt x="136" y="273"/>
                  <a:pt x="136" y="273"/>
                  <a:pt x="136" y="273"/>
                </a:cubicBezTo>
                <a:cubicBezTo>
                  <a:pt x="134" y="275"/>
                  <a:pt x="134" y="275"/>
                  <a:pt x="134" y="275"/>
                </a:cubicBezTo>
                <a:cubicBezTo>
                  <a:pt x="134" y="275"/>
                  <a:pt x="134" y="275"/>
                  <a:pt x="134" y="275"/>
                </a:cubicBezTo>
                <a:cubicBezTo>
                  <a:pt x="133" y="275"/>
                  <a:pt x="133" y="275"/>
                  <a:pt x="133" y="275"/>
                </a:cubicBezTo>
                <a:cubicBezTo>
                  <a:pt x="133" y="274"/>
                  <a:pt x="133" y="274"/>
                  <a:pt x="133" y="274"/>
                </a:cubicBezTo>
                <a:cubicBezTo>
                  <a:pt x="133" y="274"/>
                  <a:pt x="133" y="274"/>
                  <a:pt x="133" y="274"/>
                </a:cubicBezTo>
                <a:cubicBezTo>
                  <a:pt x="132" y="274"/>
                  <a:pt x="132" y="274"/>
                  <a:pt x="132" y="274"/>
                </a:cubicBezTo>
                <a:cubicBezTo>
                  <a:pt x="132" y="274"/>
                  <a:pt x="132" y="274"/>
                  <a:pt x="132" y="274"/>
                </a:cubicBezTo>
                <a:cubicBezTo>
                  <a:pt x="132" y="274"/>
                  <a:pt x="132" y="274"/>
                  <a:pt x="132" y="274"/>
                </a:cubicBezTo>
                <a:cubicBezTo>
                  <a:pt x="131" y="274"/>
                  <a:pt x="131" y="274"/>
                  <a:pt x="131" y="274"/>
                </a:cubicBezTo>
                <a:cubicBezTo>
                  <a:pt x="130" y="273"/>
                  <a:pt x="130" y="273"/>
                  <a:pt x="130" y="273"/>
                </a:cubicBezTo>
                <a:cubicBezTo>
                  <a:pt x="130" y="273"/>
                  <a:pt x="130" y="273"/>
                  <a:pt x="130" y="273"/>
                </a:cubicBezTo>
                <a:cubicBezTo>
                  <a:pt x="130" y="273"/>
                  <a:pt x="130" y="273"/>
                  <a:pt x="130" y="273"/>
                </a:cubicBezTo>
                <a:cubicBezTo>
                  <a:pt x="130" y="274"/>
                  <a:pt x="130" y="274"/>
                  <a:pt x="130" y="274"/>
                </a:cubicBezTo>
                <a:cubicBezTo>
                  <a:pt x="131" y="274"/>
                  <a:pt x="131" y="274"/>
                  <a:pt x="131" y="274"/>
                </a:cubicBezTo>
                <a:cubicBezTo>
                  <a:pt x="131" y="275"/>
                  <a:pt x="131" y="275"/>
                  <a:pt x="131" y="275"/>
                </a:cubicBezTo>
                <a:cubicBezTo>
                  <a:pt x="131" y="276"/>
                  <a:pt x="131" y="276"/>
                  <a:pt x="131" y="276"/>
                </a:cubicBezTo>
                <a:cubicBezTo>
                  <a:pt x="130" y="276"/>
                  <a:pt x="130" y="276"/>
                  <a:pt x="130" y="276"/>
                </a:cubicBezTo>
                <a:cubicBezTo>
                  <a:pt x="130" y="276"/>
                  <a:pt x="130" y="276"/>
                  <a:pt x="130" y="276"/>
                </a:cubicBezTo>
                <a:cubicBezTo>
                  <a:pt x="128" y="277"/>
                  <a:pt x="128" y="277"/>
                  <a:pt x="128" y="277"/>
                </a:cubicBezTo>
                <a:cubicBezTo>
                  <a:pt x="127" y="278"/>
                  <a:pt x="127" y="278"/>
                  <a:pt x="127" y="278"/>
                </a:cubicBezTo>
                <a:cubicBezTo>
                  <a:pt x="127" y="279"/>
                  <a:pt x="127" y="279"/>
                  <a:pt x="127" y="279"/>
                </a:cubicBezTo>
                <a:cubicBezTo>
                  <a:pt x="126" y="278"/>
                  <a:pt x="126" y="278"/>
                  <a:pt x="126" y="278"/>
                </a:cubicBezTo>
                <a:cubicBezTo>
                  <a:pt x="126" y="278"/>
                  <a:pt x="126" y="278"/>
                  <a:pt x="126" y="278"/>
                </a:cubicBezTo>
                <a:cubicBezTo>
                  <a:pt x="126" y="277"/>
                  <a:pt x="126" y="277"/>
                  <a:pt x="126" y="277"/>
                </a:cubicBezTo>
                <a:cubicBezTo>
                  <a:pt x="126" y="277"/>
                  <a:pt x="126" y="277"/>
                  <a:pt x="126" y="277"/>
                </a:cubicBezTo>
                <a:cubicBezTo>
                  <a:pt x="126" y="277"/>
                  <a:pt x="126" y="277"/>
                  <a:pt x="126" y="277"/>
                </a:cubicBezTo>
                <a:cubicBezTo>
                  <a:pt x="125" y="277"/>
                  <a:pt x="125" y="277"/>
                  <a:pt x="125" y="277"/>
                </a:cubicBezTo>
                <a:cubicBezTo>
                  <a:pt x="125" y="278"/>
                  <a:pt x="125" y="278"/>
                  <a:pt x="125" y="278"/>
                </a:cubicBezTo>
                <a:cubicBezTo>
                  <a:pt x="125" y="279"/>
                  <a:pt x="125" y="279"/>
                  <a:pt x="125" y="279"/>
                </a:cubicBezTo>
                <a:cubicBezTo>
                  <a:pt x="124" y="279"/>
                  <a:pt x="124" y="279"/>
                  <a:pt x="124" y="279"/>
                </a:cubicBezTo>
                <a:cubicBezTo>
                  <a:pt x="123" y="279"/>
                  <a:pt x="123" y="279"/>
                  <a:pt x="123" y="279"/>
                </a:cubicBezTo>
                <a:cubicBezTo>
                  <a:pt x="123" y="279"/>
                  <a:pt x="123" y="279"/>
                  <a:pt x="123" y="279"/>
                </a:cubicBezTo>
                <a:cubicBezTo>
                  <a:pt x="122" y="278"/>
                  <a:pt x="122" y="278"/>
                  <a:pt x="122" y="278"/>
                </a:cubicBezTo>
                <a:cubicBezTo>
                  <a:pt x="122" y="277"/>
                  <a:pt x="122" y="277"/>
                  <a:pt x="122" y="277"/>
                </a:cubicBezTo>
                <a:cubicBezTo>
                  <a:pt x="122" y="276"/>
                  <a:pt x="122" y="276"/>
                  <a:pt x="122" y="276"/>
                </a:cubicBezTo>
                <a:cubicBezTo>
                  <a:pt x="122" y="276"/>
                  <a:pt x="122" y="276"/>
                  <a:pt x="122" y="276"/>
                </a:cubicBezTo>
                <a:cubicBezTo>
                  <a:pt x="122" y="275"/>
                  <a:pt x="122" y="275"/>
                  <a:pt x="122" y="275"/>
                </a:cubicBezTo>
                <a:cubicBezTo>
                  <a:pt x="122" y="277"/>
                  <a:pt x="122" y="277"/>
                  <a:pt x="122" y="277"/>
                </a:cubicBezTo>
                <a:cubicBezTo>
                  <a:pt x="121" y="278"/>
                  <a:pt x="121" y="278"/>
                  <a:pt x="121" y="278"/>
                </a:cubicBezTo>
                <a:cubicBezTo>
                  <a:pt x="121" y="278"/>
                  <a:pt x="121" y="278"/>
                  <a:pt x="121" y="278"/>
                </a:cubicBezTo>
                <a:cubicBezTo>
                  <a:pt x="121" y="279"/>
                  <a:pt x="121" y="279"/>
                  <a:pt x="121" y="279"/>
                </a:cubicBezTo>
                <a:cubicBezTo>
                  <a:pt x="121" y="279"/>
                  <a:pt x="121" y="279"/>
                  <a:pt x="121" y="279"/>
                </a:cubicBezTo>
                <a:cubicBezTo>
                  <a:pt x="119" y="277"/>
                  <a:pt x="119" y="277"/>
                  <a:pt x="119" y="277"/>
                </a:cubicBezTo>
                <a:cubicBezTo>
                  <a:pt x="119" y="276"/>
                  <a:pt x="119" y="276"/>
                  <a:pt x="119" y="276"/>
                </a:cubicBezTo>
                <a:cubicBezTo>
                  <a:pt x="120" y="275"/>
                  <a:pt x="120" y="275"/>
                  <a:pt x="120" y="275"/>
                </a:cubicBezTo>
                <a:cubicBezTo>
                  <a:pt x="120" y="274"/>
                  <a:pt x="120" y="274"/>
                  <a:pt x="120" y="274"/>
                </a:cubicBezTo>
                <a:cubicBezTo>
                  <a:pt x="121" y="274"/>
                  <a:pt x="121" y="274"/>
                  <a:pt x="121" y="274"/>
                </a:cubicBezTo>
                <a:cubicBezTo>
                  <a:pt x="121" y="273"/>
                  <a:pt x="121" y="273"/>
                  <a:pt x="121" y="273"/>
                </a:cubicBezTo>
                <a:cubicBezTo>
                  <a:pt x="120" y="273"/>
                  <a:pt x="120" y="273"/>
                  <a:pt x="120" y="273"/>
                </a:cubicBezTo>
                <a:cubicBezTo>
                  <a:pt x="119" y="272"/>
                  <a:pt x="119" y="272"/>
                  <a:pt x="119" y="272"/>
                </a:cubicBezTo>
                <a:cubicBezTo>
                  <a:pt x="119" y="272"/>
                  <a:pt x="119" y="272"/>
                  <a:pt x="119" y="272"/>
                </a:cubicBezTo>
                <a:cubicBezTo>
                  <a:pt x="119" y="272"/>
                  <a:pt x="119" y="272"/>
                  <a:pt x="119" y="272"/>
                </a:cubicBezTo>
                <a:cubicBezTo>
                  <a:pt x="118" y="272"/>
                  <a:pt x="118" y="272"/>
                  <a:pt x="118" y="272"/>
                </a:cubicBezTo>
                <a:cubicBezTo>
                  <a:pt x="118" y="273"/>
                  <a:pt x="118" y="273"/>
                  <a:pt x="118" y="273"/>
                </a:cubicBezTo>
                <a:cubicBezTo>
                  <a:pt x="118" y="273"/>
                  <a:pt x="118" y="273"/>
                  <a:pt x="118" y="273"/>
                </a:cubicBezTo>
                <a:cubicBezTo>
                  <a:pt x="119" y="274"/>
                  <a:pt x="119" y="274"/>
                  <a:pt x="119" y="274"/>
                </a:cubicBezTo>
                <a:cubicBezTo>
                  <a:pt x="118" y="275"/>
                  <a:pt x="118" y="275"/>
                  <a:pt x="118" y="275"/>
                </a:cubicBezTo>
                <a:cubicBezTo>
                  <a:pt x="118" y="276"/>
                  <a:pt x="118" y="276"/>
                  <a:pt x="118" y="276"/>
                </a:cubicBezTo>
                <a:cubicBezTo>
                  <a:pt x="118" y="276"/>
                  <a:pt x="118" y="276"/>
                  <a:pt x="118" y="276"/>
                </a:cubicBezTo>
                <a:cubicBezTo>
                  <a:pt x="117" y="277"/>
                  <a:pt x="117" y="277"/>
                  <a:pt x="117" y="277"/>
                </a:cubicBezTo>
                <a:cubicBezTo>
                  <a:pt x="116" y="277"/>
                  <a:pt x="116" y="277"/>
                  <a:pt x="116" y="277"/>
                </a:cubicBezTo>
                <a:cubicBezTo>
                  <a:pt x="116" y="276"/>
                  <a:pt x="116" y="276"/>
                  <a:pt x="116" y="276"/>
                </a:cubicBezTo>
                <a:cubicBezTo>
                  <a:pt x="116" y="276"/>
                  <a:pt x="116" y="276"/>
                  <a:pt x="116" y="276"/>
                </a:cubicBezTo>
                <a:cubicBezTo>
                  <a:pt x="115" y="277"/>
                  <a:pt x="115" y="277"/>
                  <a:pt x="115" y="277"/>
                </a:cubicBezTo>
                <a:cubicBezTo>
                  <a:pt x="115" y="277"/>
                  <a:pt x="115" y="277"/>
                  <a:pt x="115" y="277"/>
                </a:cubicBezTo>
                <a:cubicBezTo>
                  <a:pt x="116" y="279"/>
                  <a:pt x="116" y="279"/>
                  <a:pt x="116" y="279"/>
                </a:cubicBezTo>
                <a:cubicBezTo>
                  <a:pt x="116" y="280"/>
                  <a:pt x="116" y="280"/>
                  <a:pt x="116" y="280"/>
                </a:cubicBezTo>
                <a:cubicBezTo>
                  <a:pt x="116" y="280"/>
                  <a:pt x="116" y="280"/>
                  <a:pt x="116" y="280"/>
                </a:cubicBezTo>
                <a:cubicBezTo>
                  <a:pt x="116" y="280"/>
                  <a:pt x="116" y="280"/>
                  <a:pt x="116" y="280"/>
                </a:cubicBezTo>
                <a:cubicBezTo>
                  <a:pt x="116" y="281"/>
                  <a:pt x="116" y="281"/>
                  <a:pt x="116" y="281"/>
                </a:cubicBezTo>
                <a:cubicBezTo>
                  <a:pt x="115" y="281"/>
                  <a:pt x="115" y="281"/>
                  <a:pt x="115" y="281"/>
                </a:cubicBezTo>
                <a:cubicBezTo>
                  <a:pt x="114" y="281"/>
                  <a:pt x="114" y="281"/>
                  <a:pt x="114" y="281"/>
                </a:cubicBezTo>
                <a:cubicBezTo>
                  <a:pt x="114" y="281"/>
                  <a:pt x="114" y="281"/>
                  <a:pt x="114" y="281"/>
                </a:cubicBezTo>
                <a:cubicBezTo>
                  <a:pt x="113" y="281"/>
                  <a:pt x="113" y="281"/>
                  <a:pt x="113" y="281"/>
                </a:cubicBezTo>
                <a:cubicBezTo>
                  <a:pt x="113" y="282"/>
                  <a:pt x="113" y="282"/>
                  <a:pt x="113" y="282"/>
                </a:cubicBezTo>
                <a:cubicBezTo>
                  <a:pt x="112" y="282"/>
                  <a:pt x="112" y="282"/>
                  <a:pt x="112" y="282"/>
                </a:cubicBezTo>
                <a:cubicBezTo>
                  <a:pt x="111" y="282"/>
                  <a:pt x="111" y="282"/>
                  <a:pt x="111" y="282"/>
                </a:cubicBezTo>
                <a:cubicBezTo>
                  <a:pt x="111" y="281"/>
                  <a:pt x="111" y="281"/>
                  <a:pt x="111" y="281"/>
                </a:cubicBezTo>
                <a:cubicBezTo>
                  <a:pt x="110" y="280"/>
                  <a:pt x="110" y="280"/>
                  <a:pt x="110" y="280"/>
                </a:cubicBezTo>
                <a:cubicBezTo>
                  <a:pt x="110" y="280"/>
                  <a:pt x="110" y="280"/>
                  <a:pt x="110" y="280"/>
                </a:cubicBezTo>
                <a:cubicBezTo>
                  <a:pt x="110" y="281"/>
                  <a:pt x="110" y="281"/>
                  <a:pt x="110" y="281"/>
                </a:cubicBezTo>
                <a:cubicBezTo>
                  <a:pt x="110" y="281"/>
                  <a:pt x="110" y="281"/>
                  <a:pt x="110" y="281"/>
                </a:cubicBezTo>
                <a:cubicBezTo>
                  <a:pt x="109" y="282"/>
                  <a:pt x="109" y="282"/>
                  <a:pt x="109" y="282"/>
                </a:cubicBezTo>
                <a:cubicBezTo>
                  <a:pt x="109" y="282"/>
                  <a:pt x="109" y="282"/>
                  <a:pt x="109" y="282"/>
                </a:cubicBezTo>
                <a:cubicBezTo>
                  <a:pt x="108" y="281"/>
                  <a:pt x="108" y="281"/>
                  <a:pt x="108" y="281"/>
                </a:cubicBezTo>
                <a:cubicBezTo>
                  <a:pt x="108" y="280"/>
                  <a:pt x="108" y="280"/>
                  <a:pt x="108" y="280"/>
                </a:cubicBezTo>
                <a:cubicBezTo>
                  <a:pt x="107" y="280"/>
                  <a:pt x="107" y="280"/>
                  <a:pt x="107" y="280"/>
                </a:cubicBezTo>
                <a:cubicBezTo>
                  <a:pt x="107" y="281"/>
                  <a:pt x="107" y="281"/>
                  <a:pt x="107" y="281"/>
                </a:cubicBezTo>
                <a:cubicBezTo>
                  <a:pt x="106" y="281"/>
                  <a:pt x="106" y="281"/>
                  <a:pt x="106" y="281"/>
                </a:cubicBezTo>
                <a:cubicBezTo>
                  <a:pt x="106" y="281"/>
                  <a:pt x="106" y="281"/>
                  <a:pt x="106" y="281"/>
                </a:cubicBezTo>
                <a:cubicBezTo>
                  <a:pt x="106" y="282"/>
                  <a:pt x="106" y="282"/>
                  <a:pt x="106" y="282"/>
                </a:cubicBezTo>
                <a:cubicBezTo>
                  <a:pt x="106" y="283"/>
                  <a:pt x="106" y="283"/>
                  <a:pt x="106" y="283"/>
                </a:cubicBezTo>
                <a:cubicBezTo>
                  <a:pt x="106" y="284"/>
                  <a:pt x="106" y="284"/>
                  <a:pt x="106" y="284"/>
                </a:cubicBezTo>
                <a:cubicBezTo>
                  <a:pt x="106" y="285"/>
                  <a:pt x="106" y="285"/>
                  <a:pt x="106" y="285"/>
                </a:cubicBezTo>
                <a:cubicBezTo>
                  <a:pt x="105" y="287"/>
                  <a:pt x="105" y="287"/>
                  <a:pt x="105" y="287"/>
                </a:cubicBezTo>
                <a:cubicBezTo>
                  <a:pt x="104" y="287"/>
                  <a:pt x="104" y="287"/>
                  <a:pt x="104" y="287"/>
                </a:cubicBezTo>
                <a:cubicBezTo>
                  <a:pt x="103" y="286"/>
                  <a:pt x="103" y="286"/>
                  <a:pt x="103" y="286"/>
                </a:cubicBezTo>
                <a:cubicBezTo>
                  <a:pt x="103" y="285"/>
                  <a:pt x="103" y="285"/>
                  <a:pt x="103" y="285"/>
                </a:cubicBezTo>
                <a:cubicBezTo>
                  <a:pt x="102" y="285"/>
                  <a:pt x="102" y="285"/>
                  <a:pt x="102" y="285"/>
                </a:cubicBezTo>
                <a:cubicBezTo>
                  <a:pt x="102" y="285"/>
                  <a:pt x="102" y="285"/>
                  <a:pt x="102" y="285"/>
                </a:cubicBezTo>
                <a:cubicBezTo>
                  <a:pt x="102" y="286"/>
                  <a:pt x="102" y="286"/>
                  <a:pt x="102" y="286"/>
                </a:cubicBezTo>
                <a:cubicBezTo>
                  <a:pt x="101" y="285"/>
                  <a:pt x="101" y="285"/>
                  <a:pt x="101" y="285"/>
                </a:cubicBezTo>
                <a:cubicBezTo>
                  <a:pt x="101" y="284"/>
                  <a:pt x="101" y="284"/>
                  <a:pt x="101" y="284"/>
                </a:cubicBezTo>
                <a:cubicBezTo>
                  <a:pt x="100" y="284"/>
                  <a:pt x="100" y="284"/>
                  <a:pt x="100" y="284"/>
                </a:cubicBezTo>
                <a:cubicBezTo>
                  <a:pt x="100" y="285"/>
                  <a:pt x="100" y="285"/>
                  <a:pt x="100" y="285"/>
                </a:cubicBezTo>
                <a:cubicBezTo>
                  <a:pt x="100" y="285"/>
                  <a:pt x="100" y="285"/>
                  <a:pt x="100" y="285"/>
                </a:cubicBezTo>
                <a:cubicBezTo>
                  <a:pt x="100" y="286"/>
                  <a:pt x="100" y="286"/>
                  <a:pt x="100" y="286"/>
                </a:cubicBezTo>
                <a:cubicBezTo>
                  <a:pt x="100" y="287"/>
                  <a:pt x="100" y="287"/>
                  <a:pt x="100" y="287"/>
                </a:cubicBezTo>
                <a:cubicBezTo>
                  <a:pt x="100" y="287"/>
                  <a:pt x="100" y="287"/>
                  <a:pt x="100" y="287"/>
                </a:cubicBezTo>
                <a:cubicBezTo>
                  <a:pt x="100" y="288"/>
                  <a:pt x="100" y="288"/>
                  <a:pt x="100" y="288"/>
                </a:cubicBezTo>
                <a:cubicBezTo>
                  <a:pt x="101" y="289"/>
                  <a:pt x="101" y="289"/>
                  <a:pt x="101" y="289"/>
                </a:cubicBezTo>
                <a:cubicBezTo>
                  <a:pt x="101" y="290"/>
                  <a:pt x="101" y="290"/>
                  <a:pt x="101" y="290"/>
                </a:cubicBezTo>
                <a:cubicBezTo>
                  <a:pt x="101" y="292"/>
                  <a:pt x="101" y="292"/>
                  <a:pt x="101" y="292"/>
                </a:cubicBezTo>
                <a:cubicBezTo>
                  <a:pt x="101" y="293"/>
                  <a:pt x="101" y="293"/>
                  <a:pt x="101" y="293"/>
                </a:cubicBezTo>
                <a:cubicBezTo>
                  <a:pt x="100" y="292"/>
                  <a:pt x="100" y="292"/>
                  <a:pt x="100" y="292"/>
                </a:cubicBezTo>
                <a:cubicBezTo>
                  <a:pt x="100" y="292"/>
                  <a:pt x="100" y="292"/>
                  <a:pt x="100" y="292"/>
                </a:cubicBezTo>
                <a:cubicBezTo>
                  <a:pt x="100" y="293"/>
                  <a:pt x="100" y="293"/>
                  <a:pt x="100" y="293"/>
                </a:cubicBezTo>
                <a:cubicBezTo>
                  <a:pt x="99" y="293"/>
                  <a:pt x="99" y="293"/>
                  <a:pt x="99" y="293"/>
                </a:cubicBezTo>
                <a:cubicBezTo>
                  <a:pt x="97" y="293"/>
                  <a:pt x="97" y="293"/>
                  <a:pt x="97" y="293"/>
                </a:cubicBezTo>
                <a:cubicBezTo>
                  <a:pt x="96" y="293"/>
                  <a:pt x="96" y="293"/>
                  <a:pt x="96" y="293"/>
                </a:cubicBezTo>
                <a:cubicBezTo>
                  <a:pt x="96" y="294"/>
                  <a:pt x="96" y="294"/>
                  <a:pt x="96" y="294"/>
                </a:cubicBezTo>
                <a:cubicBezTo>
                  <a:pt x="96" y="294"/>
                  <a:pt x="96" y="294"/>
                  <a:pt x="96" y="294"/>
                </a:cubicBezTo>
                <a:cubicBezTo>
                  <a:pt x="97" y="295"/>
                  <a:pt x="97" y="295"/>
                  <a:pt x="97" y="295"/>
                </a:cubicBezTo>
                <a:cubicBezTo>
                  <a:pt x="98" y="295"/>
                  <a:pt x="98" y="295"/>
                  <a:pt x="98" y="295"/>
                </a:cubicBezTo>
                <a:cubicBezTo>
                  <a:pt x="99" y="295"/>
                  <a:pt x="99" y="295"/>
                  <a:pt x="99" y="295"/>
                </a:cubicBezTo>
                <a:cubicBezTo>
                  <a:pt x="99" y="296"/>
                  <a:pt x="99" y="296"/>
                  <a:pt x="99" y="296"/>
                </a:cubicBezTo>
                <a:cubicBezTo>
                  <a:pt x="100" y="296"/>
                  <a:pt x="100" y="296"/>
                  <a:pt x="100" y="296"/>
                </a:cubicBezTo>
                <a:cubicBezTo>
                  <a:pt x="101" y="296"/>
                  <a:pt x="101" y="296"/>
                  <a:pt x="101" y="296"/>
                </a:cubicBezTo>
                <a:cubicBezTo>
                  <a:pt x="101" y="296"/>
                  <a:pt x="101" y="296"/>
                  <a:pt x="101" y="296"/>
                </a:cubicBezTo>
                <a:cubicBezTo>
                  <a:pt x="100" y="297"/>
                  <a:pt x="100" y="297"/>
                  <a:pt x="100" y="297"/>
                </a:cubicBezTo>
                <a:cubicBezTo>
                  <a:pt x="100" y="297"/>
                  <a:pt x="100" y="297"/>
                  <a:pt x="100" y="297"/>
                </a:cubicBezTo>
                <a:cubicBezTo>
                  <a:pt x="99" y="297"/>
                  <a:pt x="99" y="297"/>
                  <a:pt x="99" y="297"/>
                </a:cubicBezTo>
                <a:cubicBezTo>
                  <a:pt x="99" y="298"/>
                  <a:pt x="99" y="298"/>
                  <a:pt x="99" y="298"/>
                </a:cubicBezTo>
                <a:cubicBezTo>
                  <a:pt x="100" y="298"/>
                  <a:pt x="100" y="298"/>
                  <a:pt x="100" y="298"/>
                </a:cubicBezTo>
                <a:cubicBezTo>
                  <a:pt x="100" y="299"/>
                  <a:pt x="100" y="299"/>
                  <a:pt x="100" y="299"/>
                </a:cubicBezTo>
                <a:cubicBezTo>
                  <a:pt x="100" y="300"/>
                  <a:pt x="100" y="300"/>
                  <a:pt x="100" y="300"/>
                </a:cubicBezTo>
                <a:cubicBezTo>
                  <a:pt x="100" y="300"/>
                  <a:pt x="100" y="300"/>
                  <a:pt x="100" y="300"/>
                </a:cubicBezTo>
                <a:cubicBezTo>
                  <a:pt x="99" y="301"/>
                  <a:pt x="99" y="301"/>
                  <a:pt x="99" y="301"/>
                </a:cubicBezTo>
                <a:cubicBezTo>
                  <a:pt x="99" y="301"/>
                  <a:pt x="99" y="301"/>
                  <a:pt x="99" y="301"/>
                </a:cubicBezTo>
                <a:cubicBezTo>
                  <a:pt x="98" y="300"/>
                  <a:pt x="98" y="300"/>
                  <a:pt x="98" y="300"/>
                </a:cubicBezTo>
                <a:cubicBezTo>
                  <a:pt x="97" y="299"/>
                  <a:pt x="97" y="299"/>
                  <a:pt x="97" y="299"/>
                </a:cubicBezTo>
                <a:cubicBezTo>
                  <a:pt x="97" y="299"/>
                  <a:pt x="97" y="299"/>
                  <a:pt x="97" y="299"/>
                </a:cubicBezTo>
                <a:cubicBezTo>
                  <a:pt x="96" y="299"/>
                  <a:pt x="96" y="299"/>
                  <a:pt x="96" y="299"/>
                </a:cubicBezTo>
                <a:cubicBezTo>
                  <a:pt x="96" y="298"/>
                  <a:pt x="96" y="298"/>
                  <a:pt x="96" y="298"/>
                </a:cubicBezTo>
                <a:cubicBezTo>
                  <a:pt x="95" y="298"/>
                  <a:pt x="95" y="298"/>
                  <a:pt x="95" y="298"/>
                </a:cubicBezTo>
                <a:cubicBezTo>
                  <a:pt x="95" y="299"/>
                  <a:pt x="95" y="299"/>
                  <a:pt x="95" y="299"/>
                </a:cubicBezTo>
                <a:cubicBezTo>
                  <a:pt x="94" y="299"/>
                  <a:pt x="94" y="299"/>
                  <a:pt x="94" y="299"/>
                </a:cubicBezTo>
                <a:cubicBezTo>
                  <a:pt x="95" y="299"/>
                  <a:pt x="95" y="299"/>
                  <a:pt x="95" y="299"/>
                </a:cubicBezTo>
                <a:cubicBezTo>
                  <a:pt x="96" y="300"/>
                  <a:pt x="96" y="300"/>
                  <a:pt x="96" y="300"/>
                </a:cubicBezTo>
                <a:cubicBezTo>
                  <a:pt x="97" y="300"/>
                  <a:pt x="97" y="300"/>
                  <a:pt x="97" y="300"/>
                </a:cubicBezTo>
                <a:cubicBezTo>
                  <a:pt x="98" y="301"/>
                  <a:pt x="98" y="301"/>
                  <a:pt x="98" y="301"/>
                </a:cubicBezTo>
                <a:cubicBezTo>
                  <a:pt x="99" y="301"/>
                  <a:pt x="99" y="301"/>
                  <a:pt x="99" y="301"/>
                </a:cubicBezTo>
                <a:cubicBezTo>
                  <a:pt x="99" y="301"/>
                  <a:pt x="99" y="301"/>
                  <a:pt x="99" y="301"/>
                </a:cubicBezTo>
                <a:cubicBezTo>
                  <a:pt x="99" y="302"/>
                  <a:pt x="99" y="302"/>
                  <a:pt x="99" y="302"/>
                </a:cubicBezTo>
                <a:cubicBezTo>
                  <a:pt x="98" y="303"/>
                  <a:pt x="98" y="303"/>
                  <a:pt x="98" y="303"/>
                </a:cubicBezTo>
                <a:cubicBezTo>
                  <a:pt x="97" y="303"/>
                  <a:pt x="97" y="303"/>
                  <a:pt x="97" y="303"/>
                </a:cubicBezTo>
                <a:cubicBezTo>
                  <a:pt x="96" y="303"/>
                  <a:pt x="96" y="303"/>
                  <a:pt x="96" y="303"/>
                </a:cubicBezTo>
                <a:cubicBezTo>
                  <a:pt x="96" y="303"/>
                  <a:pt x="96" y="303"/>
                  <a:pt x="96" y="303"/>
                </a:cubicBezTo>
                <a:cubicBezTo>
                  <a:pt x="94" y="302"/>
                  <a:pt x="94" y="302"/>
                  <a:pt x="94" y="302"/>
                </a:cubicBezTo>
                <a:cubicBezTo>
                  <a:pt x="94" y="301"/>
                  <a:pt x="94" y="301"/>
                  <a:pt x="94" y="301"/>
                </a:cubicBezTo>
                <a:cubicBezTo>
                  <a:pt x="93" y="301"/>
                  <a:pt x="93" y="301"/>
                  <a:pt x="93" y="301"/>
                </a:cubicBezTo>
                <a:cubicBezTo>
                  <a:pt x="93" y="302"/>
                  <a:pt x="93" y="302"/>
                  <a:pt x="93" y="302"/>
                </a:cubicBezTo>
                <a:cubicBezTo>
                  <a:pt x="93" y="302"/>
                  <a:pt x="93" y="302"/>
                  <a:pt x="93" y="302"/>
                </a:cubicBezTo>
                <a:cubicBezTo>
                  <a:pt x="93" y="303"/>
                  <a:pt x="93" y="303"/>
                  <a:pt x="93" y="303"/>
                </a:cubicBezTo>
                <a:cubicBezTo>
                  <a:pt x="93" y="304"/>
                  <a:pt x="93" y="304"/>
                  <a:pt x="93" y="304"/>
                </a:cubicBezTo>
                <a:cubicBezTo>
                  <a:pt x="95" y="304"/>
                  <a:pt x="95" y="304"/>
                  <a:pt x="95" y="304"/>
                </a:cubicBezTo>
                <a:cubicBezTo>
                  <a:pt x="95" y="305"/>
                  <a:pt x="95" y="305"/>
                  <a:pt x="95" y="305"/>
                </a:cubicBezTo>
                <a:cubicBezTo>
                  <a:pt x="95" y="306"/>
                  <a:pt x="95" y="306"/>
                  <a:pt x="95" y="306"/>
                </a:cubicBezTo>
                <a:cubicBezTo>
                  <a:pt x="95" y="306"/>
                  <a:pt x="95" y="306"/>
                  <a:pt x="95" y="306"/>
                </a:cubicBezTo>
                <a:cubicBezTo>
                  <a:pt x="94" y="305"/>
                  <a:pt x="94" y="305"/>
                  <a:pt x="94" y="305"/>
                </a:cubicBezTo>
                <a:cubicBezTo>
                  <a:pt x="93" y="305"/>
                  <a:pt x="93" y="305"/>
                  <a:pt x="93" y="305"/>
                </a:cubicBezTo>
                <a:cubicBezTo>
                  <a:pt x="92" y="304"/>
                  <a:pt x="92" y="304"/>
                  <a:pt x="92" y="304"/>
                </a:cubicBezTo>
                <a:cubicBezTo>
                  <a:pt x="91" y="304"/>
                  <a:pt x="91" y="304"/>
                  <a:pt x="91" y="304"/>
                </a:cubicBezTo>
                <a:cubicBezTo>
                  <a:pt x="91" y="304"/>
                  <a:pt x="91" y="304"/>
                  <a:pt x="91" y="304"/>
                </a:cubicBezTo>
                <a:cubicBezTo>
                  <a:pt x="91" y="305"/>
                  <a:pt x="91" y="305"/>
                  <a:pt x="91" y="305"/>
                </a:cubicBezTo>
                <a:cubicBezTo>
                  <a:pt x="92" y="305"/>
                  <a:pt x="92" y="305"/>
                  <a:pt x="92" y="305"/>
                </a:cubicBezTo>
                <a:cubicBezTo>
                  <a:pt x="93" y="306"/>
                  <a:pt x="93" y="306"/>
                  <a:pt x="93" y="306"/>
                </a:cubicBezTo>
                <a:cubicBezTo>
                  <a:pt x="94" y="306"/>
                  <a:pt x="94" y="306"/>
                  <a:pt x="94" y="306"/>
                </a:cubicBezTo>
                <a:cubicBezTo>
                  <a:pt x="94" y="307"/>
                  <a:pt x="94" y="307"/>
                  <a:pt x="94" y="307"/>
                </a:cubicBezTo>
                <a:cubicBezTo>
                  <a:pt x="93" y="307"/>
                  <a:pt x="93" y="307"/>
                  <a:pt x="93" y="307"/>
                </a:cubicBezTo>
                <a:cubicBezTo>
                  <a:pt x="92" y="307"/>
                  <a:pt x="92" y="307"/>
                  <a:pt x="92" y="307"/>
                </a:cubicBezTo>
                <a:cubicBezTo>
                  <a:pt x="91" y="306"/>
                  <a:pt x="91" y="306"/>
                  <a:pt x="91" y="306"/>
                </a:cubicBezTo>
                <a:cubicBezTo>
                  <a:pt x="91" y="306"/>
                  <a:pt x="91" y="306"/>
                  <a:pt x="91" y="306"/>
                </a:cubicBezTo>
                <a:cubicBezTo>
                  <a:pt x="91" y="305"/>
                  <a:pt x="91" y="305"/>
                  <a:pt x="91" y="305"/>
                </a:cubicBezTo>
                <a:cubicBezTo>
                  <a:pt x="90" y="305"/>
                  <a:pt x="90" y="305"/>
                  <a:pt x="90" y="305"/>
                </a:cubicBezTo>
                <a:cubicBezTo>
                  <a:pt x="90" y="306"/>
                  <a:pt x="90" y="306"/>
                  <a:pt x="90" y="306"/>
                </a:cubicBezTo>
                <a:cubicBezTo>
                  <a:pt x="90" y="306"/>
                  <a:pt x="90" y="306"/>
                  <a:pt x="90" y="306"/>
                </a:cubicBezTo>
                <a:cubicBezTo>
                  <a:pt x="90" y="307"/>
                  <a:pt x="90" y="307"/>
                  <a:pt x="90" y="307"/>
                </a:cubicBezTo>
                <a:cubicBezTo>
                  <a:pt x="90" y="308"/>
                  <a:pt x="90" y="308"/>
                  <a:pt x="90" y="308"/>
                </a:cubicBezTo>
                <a:cubicBezTo>
                  <a:pt x="90" y="308"/>
                  <a:pt x="90" y="308"/>
                  <a:pt x="90" y="308"/>
                </a:cubicBezTo>
                <a:cubicBezTo>
                  <a:pt x="91" y="308"/>
                  <a:pt x="91" y="308"/>
                  <a:pt x="91" y="308"/>
                </a:cubicBezTo>
                <a:cubicBezTo>
                  <a:pt x="92" y="308"/>
                  <a:pt x="92" y="308"/>
                  <a:pt x="92" y="308"/>
                </a:cubicBezTo>
                <a:cubicBezTo>
                  <a:pt x="93" y="308"/>
                  <a:pt x="93" y="308"/>
                  <a:pt x="93" y="308"/>
                </a:cubicBezTo>
                <a:cubicBezTo>
                  <a:pt x="93" y="309"/>
                  <a:pt x="93" y="309"/>
                  <a:pt x="93" y="309"/>
                </a:cubicBezTo>
                <a:cubicBezTo>
                  <a:pt x="93" y="309"/>
                  <a:pt x="93" y="309"/>
                  <a:pt x="93" y="309"/>
                </a:cubicBezTo>
                <a:cubicBezTo>
                  <a:pt x="93" y="310"/>
                  <a:pt x="93" y="310"/>
                  <a:pt x="93" y="310"/>
                </a:cubicBezTo>
                <a:cubicBezTo>
                  <a:pt x="92" y="310"/>
                  <a:pt x="92" y="310"/>
                  <a:pt x="92" y="310"/>
                </a:cubicBezTo>
                <a:cubicBezTo>
                  <a:pt x="91" y="311"/>
                  <a:pt x="91" y="311"/>
                  <a:pt x="91" y="311"/>
                </a:cubicBezTo>
                <a:cubicBezTo>
                  <a:pt x="91" y="310"/>
                  <a:pt x="91" y="310"/>
                  <a:pt x="91" y="310"/>
                </a:cubicBezTo>
                <a:cubicBezTo>
                  <a:pt x="90" y="310"/>
                  <a:pt x="90" y="310"/>
                  <a:pt x="90" y="310"/>
                </a:cubicBezTo>
                <a:cubicBezTo>
                  <a:pt x="89" y="310"/>
                  <a:pt x="89" y="310"/>
                  <a:pt x="89" y="310"/>
                </a:cubicBezTo>
                <a:cubicBezTo>
                  <a:pt x="89" y="309"/>
                  <a:pt x="89" y="309"/>
                  <a:pt x="89" y="309"/>
                </a:cubicBezTo>
                <a:cubicBezTo>
                  <a:pt x="89" y="309"/>
                  <a:pt x="89" y="309"/>
                  <a:pt x="89" y="309"/>
                </a:cubicBezTo>
                <a:cubicBezTo>
                  <a:pt x="88" y="308"/>
                  <a:pt x="88" y="308"/>
                  <a:pt x="88" y="308"/>
                </a:cubicBezTo>
                <a:cubicBezTo>
                  <a:pt x="88" y="308"/>
                  <a:pt x="88" y="308"/>
                  <a:pt x="88" y="308"/>
                </a:cubicBezTo>
                <a:cubicBezTo>
                  <a:pt x="88" y="309"/>
                  <a:pt x="88" y="309"/>
                  <a:pt x="88" y="309"/>
                </a:cubicBezTo>
                <a:cubicBezTo>
                  <a:pt x="88" y="310"/>
                  <a:pt x="88" y="310"/>
                  <a:pt x="88" y="310"/>
                </a:cubicBezTo>
                <a:cubicBezTo>
                  <a:pt x="87" y="311"/>
                  <a:pt x="87" y="311"/>
                  <a:pt x="87" y="311"/>
                </a:cubicBezTo>
                <a:cubicBezTo>
                  <a:pt x="86" y="311"/>
                  <a:pt x="86" y="311"/>
                  <a:pt x="86" y="311"/>
                </a:cubicBezTo>
                <a:cubicBezTo>
                  <a:pt x="86" y="310"/>
                  <a:pt x="86" y="310"/>
                  <a:pt x="86" y="310"/>
                </a:cubicBezTo>
                <a:cubicBezTo>
                  <a:pt x="85" y="310"/>
                  <a:pt x="85" y="310"/>
                  <a:pt x="85" y="310"/>
                </a:cubicBezTo>
                <a:cubicBezTo>
                  <a:pt x="85" y="310"/>
                  <a:pt x="85" y="310"/>
                  <a:pt x="85" y="310"/>
                </a:cubicBezTo>
                <a:cubicBezTo>
                  <a:pt x="85" y="311"/>
                  <a:pt x="85" y="311"/>
                  <a:pt x="85" y="311"/>
                </a:cubicBezTo>
                <a:cubicBezTo>
                  <a:pt x="85" y="311"/>
                  <a:pt x="85" y="311"/>
                  <a:pt x="85" y="311"/>
                </a:cubicBezTo>
                <a:cubicBezTo>
                  <a:pt x="87" y="312"/>
                  <a:pt x="87" y="312"/>
                  <a:pt x="87" y="312"/>
                </a:cubicBezTo>
                <a:cubicBezTo>
                  <a:pt x="88" y="312"/>
                  <a:pt x="88" y="312"/>
                  <a:pt x="88" y="312"/>
                </a:cubicBezTo>
                <a:cubicBezTo>
                  <a:pt x="89" y="313"/>
                  <a:pt x="89" y="313"/>
                  <a:pt x="89" y="313"/>
                </a:cubicBezTo>
                <a:cubicBezTo>
                  <a:pt x="89" y="315"/>
                  <a:pt x="89" y="315"/>
                  <a:pt x="89" y="315"/>
                </a:cubicBezTo>
                <a:cubicBezTo>
                  <a:pt x="89" y="315"/>
                  <a:pt x="89" y="315"/>
                  <a:pt x="89" y="315"/>
                </a:cubicBezTo>
                <a:cubicBezTo>
                  <a:pt x="88" y="315"/>
                  <a:pt x="88" y="315"/>
                  <a:pt x="88" y="315"/>
                </a:cubicBezTo>
                <a:cubicBezTo>
                  <a:pt x="87" y="314"/>
                  <a:pt x="87" y="314"/>
                  <a:pt x="87" y="314"/>
                </a:cubicBezTo>
                <a:cubicBezTo>
                  <a:pt x="86" y="313"/>
                  <a:pt x="86" y="313"/>
                  <a:pt x="86" y="313"/>
                </a:cubicBezTo>
                <a:cubicBezTo>
                  <a:pt x="85" y="313"/>
                  <a:pt x="85" y="313"/>
                  <a:pt x="85" y="313"/>
                </a:cubicBezTo>
                <a:cubicBezTo>
                  <a:pt x="84" y="313"/>
                  <a:pt x="84" y="313"/>
                  <a:pt x="84" y="313"/>
                </a:cubicBezTo>
                <a:cubicBezTo>
                  <a:pt x="84" y="313"/>
                  <a:pt x="84" y="313"/>
                  <a:pt x="84" y="313"/>
                </a:cubicBezTo>
                <a:cubicBezTo>
                  <a:pt x="85" y="314"/>
                  <a:pt x="85" y="314"/>
                  <a:pt x="85" y="314"/>
                </a:cubicBezTo>
                <a:cubicBezTo>
                  <a:pt x="86" y="314"/>
                  <a:pt x="86" y="314"/>
                  <a:pt x="86" y="314"/>
                </a:cubicBezTo>
                <a:cubicBezTo>
                  <a:pt x="87" y="315"/>
                  <a:pt x="87" y="315"/>
                  <a:pt x="87" y="315"/>
                </a:cubicBezTo>
                <a:cubicBezTo>
                  <a:pt x="88" y="316"/>
                  <a:pt x="88" y="316"/>
                  <a:pt x="88" y="316"/>
                </a:cubicBezTo>
                <a:cubicBezTo>
                  <a:pt x="88" y="317"/>
                  <a:pt x="88" y="317"/>
                  <a:pt x="88" y="317"/>
                </a:cubicBezTo>
                <a:cubicBezTo>
                  <a:pt x="88" y="318"/>
                  <a:pt x="88" y="318"/>
                  <a:pt x="88" y="318"/>
                </a:cubicBezTo>
                <a:cubicBezTo>
                  <a:pt x="88" y="318"/>
                  <a:pt x="88" y="318"/>
                  <a:pt x="88" y="318"/>
                </a:cubicBezTo>
                <a:cubicBezTo>
                  <a:pt x="88" y="319"/>
                  <a:pt x="88" y="319"/>
                  <a:pt x="88" y="319"/>
                </a:cubicBezTo>
                <a:cubicBezTo>
                  <a:pt x="87" y="319"/>
                  <a:pt x="87" y="319"/>
                  <a:pt x="87" y="319"/>
                </a:cubicBezTo>
                <a:cubicBezTo>
                  <a:pt x="87" y="320"/>
                  <a:pt x="87" y="320"/>
                  <a:pt x="87" y="320"/>
                </a:cubicBezTo>
                <a:cubicBezTo>
                  <a:pt x="87" y="321"/>
                  <a:pt x="87" y="321"/>
                  <a:pt x="87" y="321"/>
                </a:cubicBezTo>
                <a:cubicBezTo>
                  <a:pt x="86" y="321"/>
                  <a:pt x="86" y="321"/>
                  <a:pt x="86" y="321"/>
                </a:cubicBezTo>
                <a:cubicBezTo>
                  <a:pt x="86" y="320"/>
                  <a:pt x="86" y="320"/>
                  <a:pt x="86" y="320"/>
                </a:cubicBezTo>
                <a:cubicBezTo>
                  <a:pt x="85" y="320"/>
                  <a:pt x="85" y="320"/>
                  <a:pt x="85" y="320"/>
                </a:cubicBezTo>
                <a:cubicBezTo>
                  <a:pt x="84" y="320"/>
                  <a:pt x="84" y="320"/>
                  <a:pt x="84" y="320"/>
                </a:cubicBezTo>
                <a:cubicBezTo>
                  <a:pt x="83" y="320"/>
                  <a:pt x="83" y="320"/>
                  <a:pt x="83" y="320"/>
                </a:cubicBezTo>
                <a:cubicBezTo>
                  <a:pt x="84" y="320"/>
                  <a:pt x="84" y="320"/>
                  <a:pt x="84" y="320"/>
                </a:cubicBezTo>
                <a:cubicBezTo>
                  <a:pt x="85" y="321"/>
                  <a:pt x="85" y="321"/>
                  <a:pt x="85" y="321"/>
                </a:cubicBezTo>
                <a:cubicBezTo>
                  <a:pt x="86" y="321"/>
                  <a:pt x="86" y="321"/>
                  <a:pt x="86" y="321"/>
                </a:cubicBezTo>
                <a:cubicBezTo>
                  <a:pt x="86" y="321"/>
                  <a:pt x="86" y="321"/>
                  <a:pt x="86" y="321"/>
                </a:cubicBezTo>
                <a:cubicBezTo>
                  <a:pt x="85" y="322"/>
                  <a:pt x="85" y="322"/>
                  <a:pt x="85" y="322"/>
                </a:cubicBezTo>
                <a:cubicBezTo>
                  <a:pt x="84" y="322"/>
                  <a:pt x="84" y="322"/>
                  <a:pt x="84" y="322"/>
                </a:cubicBezTo>
                <a:cubicBezTo>
                  <a:pt x="84" y="322"/>
                  <a:pt x="84" y="322"/>
                  <a:pt x="84" y="322"/>
                </a:cubicBezTo>
                <a:cubicBezTo>
                  <a:pt x="84" y="322"/>
                  <a:pt x="84" y="322"/>
                  <a:pt x="84" y="322"/>
                </a:cubicBezTo>
                <a:cubicBezTo>
                  <a:pt x="84" y="322"/>
                  <a:pt x="84" y="322"/>
                  <a:pt x="84" y="322"/>
                </a:cubicBezTo>
                <a:cubicBezTo>
                  <a:pt x="84" y="323"/>
                  <a:pt x="84" y="323"/>
                  <a:pt x="84" y="323"/>
                </a:cubicBezTo>
                <a:cubicBezTo>
                  <a:pt x="85" y="323"/>
                  <a:pt x="85" y="323"/>
                  <a:pt x="85" y="323"/>
                </a:cubicBezTo>
                <a:cubicBezTo>
                  <a:pt x="85" y="323"/>
                  <a:pt x="85" y="323"/>
                  <a:pt x="85" y="323"/>
                </a:cubicBezTo>
                <a:cubicBezTo>
                  <a:pt x="84" y="324"/>
                  <a:pt x="84" y="324"/>
                  <a:pt x="84" y="324"/>
                </a:cubicBezTo>
                <a:cubicBezTo>
                  <a:pt x="83" y="324"/>
                  <a:pt x="83" y="324"/>
                  <a:pt x="83" y="324"/>
                </a:cubicBezTo>
                <a:cubicBezTo>
                  <a:pt x="83" y="324"/>
                  <a:pt x="83" y="324"/>
                  <a:pt x="83" y="324"/>
                </a:cubicBezTo>
                <a:cubicBezTo>
                  <a:pt x="82" y="324"/>
                  <a:pt x="82" y="324"/>
                  <a:pt x="82" y="324"/>
                </a:cubicBezTo>
                <a:cubicBezTo>
                  <a:pt x="82" y="324"/>
                  <a:pt x="82" y="324"/>
                  <a:pt x="82" y="324"/>
                </a:cubicBezTo>
                <a:cubicBezTo>
                  <a:pt x="82" y="324"/>
                  <a:pt x="82" y="324"/>
                  <a:pt x="82" y="324"/>
                </a:cubicBezTo>
                <a:cubicBezTo>
                  <a:pt x="83" y="325"/>
                  <a:pt x="83" y="325"/>
                  <a:pt x="83" y="325"/>
                </a:cubicBezTo>
                <a:cubicBezTo>
                  <a:pt x="84" y="325"/>
                  <a:pt x="84" y="325"/>
                  <a:pt x="84" y="325"/>
                </a:cubicBezTo>
                <a:cubicBezTo>
                  <a:pt x="83" y="326"/>
                  <a:pt x="83" y="326"/>
                  <a:pt x="83" y="326"/>
                </a:cubicBezTo>
                <a:cubicBezTo>
                  <a:pt x="83" y="326"/>
                  <a:pt x="83" y="326"/>
                  <a:pt x="83" y="326"/>
                </a:cubicBezTo>
                <a:cubicBezTo>
                  <a:pt x="81" y="326"/>
                  <a:pt x="81" y="326"/>
                  <a:pt x="81" y="326"/>
                </a:cubicBezTo>
                <a:cubicBezTo>
                  <a:pt x="80" y="326"/>
                  <a:pt x="80" y="326"/>
                  <a:pt x="80" y="326"/>
                </a:cubicBezTo>
                <a:cubicBezTo>
                  <a:pt x="80" y="326"/>
                  <a:pt x="80" y="326"/>
                  <a:pt x="80" y="326"/>
                </a:cubicBezTo>
                <a:cubicBezTo>
                  <a:pt x="80" y="326"/>
                  <a:pt x="80" y="326"/>
                  <a:pt x="80" y="326"/>
                </a:cubicBezTo>
                <a:cubicBezTo>
                  <a:pt x="81" y="327"/>
                  <a:pt x="81" y="327"/>
                  <a:pt x="81" y="327"/>
                </a:cubicBezTo>
                <a:cubicBezTo>
                  <a:pt x="83" y="327"/>
                  <a:pt x="83" y="327"/>
                  <a:pt x="83" y="327"/>
                </a:cubicBezTo>
                <a:cubicBezTo>
                  <a:pt x="84" y="327"/>
                  <a:pt x="84" y="327"/>
                  <a:pt x="84" y="327"/>
                </a:cubicBezTo>
                <a:cubicBezTo>
                  <a:pt x="84" y="328"/>
                  <a:pt x="84" y="328"/>
                  <a:pt x="84" y="328"/>
                </a:cubicBezTo>
                <a:cubicBezTo>
                  <a:pt x="84" y="328"/>
                  <a:pt x="84" y="328"/>
                  <a:pt x="84" y="328"/>
                </a:cubicBezTo>
                <a:cubicBezTo>
                  <a:pt x="83" y="329"/>
                  <a:pt x="83" y="329"/>
                  <a:pt x="83" y="329"/>
                </a:cubicBezTo>
                <a:cubicBezTo>
                  <a:pt x="82" y="329"/>
                  <a:pt x="82" y="329"/>
                  <a:pt x="82" y="329"/>
                </a:cubicBezTo>
                <a:cubicBezTo>
                  <a:pt x="80" y="329"/>
                  <a:pt x="80" y="329"/>
                  <a:pt x="80" y="329"/>
                </a:cubicBezTo>
                <a:cubicBezTo>
                  <a:pt x="79" y="328"/>
                  <a:pt x="79" y="328"/>
                  <a:pt x="79" y="328"/>
                </a:cubicBezTo>
                <a:cubicBezTo>
                  <a:pt x="79" y="329"/>
                  <a:pt x="79" y="329"/>
                  <a:pt x="79" y="329"/>
                </a:cubicBezTo>
                <a:cubicBezTo>
                  <a:pt x="80" y="329"/>
                  <a:pt x="80" y="329"/>
                  <a:pt x="80" y="329"/>
                </a:cubicBezTo>
                <a:cubicBezTo>
                  <a:pt x="81" y="329"/>
                  <a:pt x="81" y="329"/>
                  <a:pt x="81" y="329"/>
                </a:cubicBezTo>
                <a:cubicBezTo>
                  <a:pt x="81" y="330"/>
                  <a:pt x="81" y="330"/>
                  <a:pt x="81" y="330"/>
                </a:cubicBezTo>
                <a:cubicBezTo>
                  <a:pt x="81" y="330"/>
                  <a:pt x="81" y="330"/>
                  <a:pt x="81" y="330"/>
                </a:cubicBezTo>
                <a:cubicBezTo>
                  <a:pt x="80" y="330"/>
                  <a:pt x="80" y="330"/>
                  <a:pt x="80" y="330"/>
                </a:cubicBezTo>
                <a:cubicBezTo>
                  <a:pt x="80" y="330"/>
                  <a:pt x="80" y="330"/>
                  <a:pt x="80" y="330"/>
                </a:cubicBezTo>
                <a:cubicBezTo>
                  <a:pt x="81" y="331"/>
                  <a:pt x="81" y="331"/>
                  <a:pt x="81" y="331"/>
                </a:cubicBezTo>
                <a:cubicBezTo>
                  <a:pt x="82" y="331"/>
                  <a:pt x="82" y="331"/>
                  <a:pt x="82" y="331"/>
                </a:cubicBezTo>
                <a:cubicBezTo>
                  <a:pt x="82" y="331"/>
                  <a:pt x="82" y="331"/>
                  <a:pt x="82" y="331"/>
                </a:cubicBezTo>
                <a:cubicBezTo>
                  <a:pt x="82" y="332"/>
                  <a:pt x="82" y="332"/>
                  <a:pt x="82" y="332"/>
                </a:cubicBezTo>
                <a:cubicBezTo>
                  <a:pt x="81" y="332"/>
                  <a:pt x="81" y="332"/>
                  <a:pt x="81" y="332"/>
                </a:cubicBezTo>
                <a:cubicBezTo>
                  <a:pt x="80" y="332"/>
                  <a:pt x="80" y="332"/>
                  <a:pt x="80" y="332"/>
                </a:cubicBezTo>
                <a:cubicBezTo>
                  <a:pt x="80" y="332"/>
                  <a:pt x="80" y="332"/>
                  <a:pt x="80" y="332"/>
                </a:cubicBezTo>
                <a:cubicBezTo>
                  <a:pt x="81" y="333"/>
                  <a:pt x="81" y="333"/>
                  <a:pt x="81" y="333"/>
                </a:cubicBezTo>
                <a:cubicBezTo>
                  <a:pt x="82" y="332"/>
                  <a:pt x="82" y="332"/>
                  <a:pt x="82" y="332"/>
                </a:cubicBezTo>
                <a:cubicBezTo>
                  <a:pt x="83" y="333"/>
                  <a:pt x="83" y="333"/>
                  <a:pt x="83" y="333"/>
                </a:cubicBezTo>
                <a:cubicBezTo>
                  <a:pt x="82" y="333"/>
                  <a:pt x="82" y="333"/>
                  <a:pt x="82" y="333"/>
                </a:cubicBezTo>
                <a:cubicBezTo>
                  <a:pt x="82" y="334"/>
                  <a:pt x="82" y="334"/>
                  <a:pt x="82" y="334"/>
                </a:cubicBezTo>
                <a:cubicBezTo>
                  <a:pt x="81" y="334"/>
                  <a:pt x="81" y="334"/>
                  <a:pt x="81" y="334"/>
                </a:cubicBezTo>
                <a:cubicBezTo>
                  <a:pt x="80" y="334"/>
                  <a:pt x="80" y="334"/>
                  <a:pt x="80" y="334"/>
                </a:cubicBezTo>
                <a:cubicBezTo>
                  <a:pt x="79" y="333"/>
                  <a:pt x="79" y="333"/>
                  <a:pt x="79" y="333"/>
                </a:cubicBezTo>
                <a:cubicBezTo>
                  <a:pt x="78" y="333"/>
                  <a:pt x="78" y="333"/>
                  <a:pt x="78" y="333"/>
                </a:cubicBezTo>
                <a:cubicBezTo>
                  <a:pt x="78" y="332"/>
                  <a:pt x="78" y="332"/>
                  <a:pt x="78" y="332"/>
                </a:cubicBezTo>
                <a:cubicBezTo>
                  <a:pt x="77" y="332"/>
                  <a:pt x="77" y="332"/>
                  <a:pt x="77" y="332"/>
                </a:cubicBezTo>
                <a:cubicBezTo>
                  <a:pt x="77" y="332"/>
                  <a:pt x="77" y="332"/>
                  <a:pt x="77" y="332"/>
                </a:cubicBezTo>
                <a:cubicBezTo>
                  <a:pt x="76" y="332"/>
                  <a:pt x="76" y="332"/>
                  <a:pt x="76" y="332"/>
                </a:cubicBezTo>
                <a:cubicBezTo>
                  <a:pt x="76" y="332"/>
                  <a:pt x="76" y="332"/>
                  <a:pt x="76" y="332"/>
                </a:cubicBezTo>
                <a:cubicBezTo>
                  <a:pt x="76" y="333"/>
                  <a:pt x="76" y="333"/>
                  <a:pt x="76" y="333"/>
                </a:cubicBezTo>
                <a:cubicBezTo>
                  <a:pt x="78" y="334"/>
                  <a:pt x="78" y="334"/>
                  <a:pt x="78" y="334"/>
                </a:cubicBezTo>
                <a:cubicBezTo>
                  <a:pt x="79" y="334"/>
                  <a:pt x="79" y="334"/>
                  <a:pt x="79" y="334"/>
                </a:cubicBezTo>
                <a:cubicBezTo>
                  <a:pt x="79" y="335"/>
                  <a:pt x="79" y="335"/>
                  <a:pt x="79" y="335"/>
                </a:cubicBezTo>
                <a:cubicBezTo>
                  <a:pt x="79" y="335"/>
                  <a:pt x="79" y="335"/>
                  <a:pt x="79" y="335"/>
                </a:cubicBezTo>
                <a:cubicBezTo>
                  <a:pt x="79" y="336"/>
                  <a:pt x="79" y="336"/>
                  <a:pt x="79" y="336"/>
                </a:cubicBezTo>
                <a:cubicBezTo>
                  <a:pt x="79" y="336"/>
                  <a:pt x="79" y="336"/>
                  <a:pt x="79" y="336"/>
                </a:cubicBezTo>
                <a:cubicBezTo>
                  <a:pt x="80" y="336"/>
                  <a:pt x="80" y="336"/>
                  <a:pt x="80" y="336"/>
                </a:cubicBezTo>
                <a:cubicBezTo>
                  <a:pt x="80" y="336"/>
                  <a:pt x="80" y="336"/>
                  <a:pt x="80" y="336"/>
                </a:cubicBezTo>
                <a:cubicBezTo>
                  <a:pt x="81" y="336"/>
                  <a:pt x="81" y="336"/>
                  <a:pt x="81" y="336"/>
                </a:cubicBezTo>
                <a:cubicBezTo>
                  <a:pt x="81" y="337"/>
                  <a:pt x="81" y="337"/>
                  <a:pt x="81" y="337"/>
                </a:cubicBezTo>
                <a:cubicBezTo>
                  <a:pt x="80" y="337"/>
                  <a:pt x="80" y="337"/>
                  <a:pt x="80" y="337"/>
                </a:cubicBezTo>
                <a:cubicBezTo>
                  <a:pt x="80" y="337"/>
                  <a:pt x="80" y="337"/>
                  <a:pt x="80" y="337"/>
                </a:cubicBezTo>
                <a:cubicBezTo>
                  <a:pt x="80" y="338"/>
                  <a:pt x="80" y="338"/>
                  <a:pt x="80" y="338"/>
                </a:cubicBezTo>
                <a:cubicBezTo>
                  <a:pt x="79" y="338"/>
                  <a:pt x="79" y="338"/>
                  <a:pt x="79" y="338"/>
                </a:cubicBezTo>
                <a:close/>
                <a:moveTo>
                  <a:pt x="78" y="338"/>
                </a:moveTo>
                <a:cubicBezTo>
                  <a:pt x="76" y="337"/>
                  <a:pt x="76" y="337"/>
                  <a:pt x="76" y="337"/>
                </a:cubicBezTo>
                <a:cubicBezTo>
                  <a:pt x="75" y="337"/>
                  <a:pt x="75" y="337"/>
                  <a:pt x="75" y="337"/>
                </a:cubicBezTo>
                <a:cubicBezTo>
                  <a:pt x="75" y="337"/>
                  <a:pt x="75" y="337"/>
                  <a:pt x="75" y="337"/>
                </a:cubicBezTo>
                <a:cubicBezTo>
                  <a:pt x="76" y="339"/>
                  <a:pt x="76" y="339"/>
                  <a:pt x="76" y="339"/>
                </a:cubicBezTo>
                <a:cubicBezTo>
                  <a:pt x="77" y="339"/>
                  <a:pt x="77" y="339"/>
                  <a:pt x="77" y="339"/>
                </a:cubicBezTo>
                <a:cubicBezTo>
                  <a:pt x="78" y="338"/>
                  <a:pt x="78" y="338"/>
                  <a:pt x="78" y="338"/>
                </a:cubicBezTo>
                <a:close/>
                <a:moveTo>
                  <a:pt x="176" y="228"/>
                </a:moveTo>
                <a:cubicBezTo>
                  <a:pt x="176" y="229"/>
                  <a:pt x="176" y="229"/>
                  <a:pt x="176" y="229"/>
                </a:cubicBezTo>
                <a:cubicBezTo>
                  <a:pt x="178" y="229"/>
                  <a:pt x="178" y="229"/>
                  <a:pt x="178" y="229"/>
                </a:cubicBezTo>
                <a:cubicBezTo>
                  <a:pt x="180" y="228"/>
                  <a:pt x="180" y="228"/>
                  <a:pt x="180" y="228"/>
                </a:cubicBezTo>
                <a:cubicBezTo>
                  <a:pt x="183" y="229"/>
                  <a:pt x="183" y="229"/>
                  <a:pt x="183" y="229"/>
                </a:cubicBezTo>
                <a:cubicBezTo>
                  <a:pt x="184" y="228"/>
                  <a:pt x="184" y="228"/>
                  <a:pt x="184" y="228"/>
                </a:cubicBezTo>
                <a:cubicBezTo>
                  <a:pt x="185" y="227"/>
                  <a:pt x="185" y="227"/>
                  <a:pt x="185" y="227"/>
                </a:cubicBezTo>
                <a:cubicBezTo>
                  <a:pt x="187" y="228"/>
                  <a:pt x="187" y="228"/>
                  <a:pt x="187" y="228"/>
                </a:cubicBezTo>
                <a:cubicBezTo>
                  <a:pt x="188" y="228"/>
                  <a:pt x="188" y="228"/>
                  <a:pt x="188" y="228"/>
                </a:cubicBezTo>
                <a:cubicBezTo>
                  <a:pt x="189" y="228"/>
                  <a:pt x="189" y="228"/>
                  <a:pt x="189" y="228"/>
                </a:cubicBezTo>
                <a:cubicBezTo>
                  <a:pt x="190" y="227"/>
                  <a:pt x="190" y="227"/>
                  <a:pt x="190" y="227"/>
                </a:cubicBezTo>
                <a:cubicBezTo>
                  <a:pt x="190" y="223"/>
                  <a:pt x="190" y="223"/>
                  <a:pt x="190" y="223"/>
                </a:cubicBezTo>
                <a:cubicBezTo>
                  <a:pt x="189" y="223"/>
                  <a:pt x="189" y="223"/>
                  <a:pt x="189" y="223"/>
                </a:cubicBezTo>
                <a:cubicBezTo>
                  <a:pt x="189" y="221"/>
                  <a:pt x="189" y="221"/>
                  <a:pt x="189" y="221"/>
                </a:cubicBezTo>
                <a:cubicBezTo>
                  <a:pt x="188" y="221"/>
                  <a:pt x="188" y="221"/>
                  <a:pt x="188" y="221"/>
                </a:cubicBezTo>
                <a:cubicBezTo>
                  <a:pt x="184" y="223"/>
                  <a:pt x="184" y="223"/>
                  <a:pt x="184" y="223"/>
                </a:cubicBezTo>
                <a:cubicBezTo>
                  <a:pt x="181" y="223"/>
                  <a:pt x="181" y="223"/>
                  <a:pt x="181" y="223"/>
                </a:cubicBezTo>
                <a:cubicBezTo>
                  <a:pt x="180" y="224"/>
                  <a:pt x="180" y="224"/>
                  <a:pt x="180" y="224"/>
                </a:cubicBezTo>
                <a:cubicBezTo>
                  <a:pt x="179" y="225"/>
                  <a:pt x="179" y="225"/>
                  <a:pt x="179" y="225"/>
                </a:cubicBezTo>
                <a:cubicBezTo>
                  <a:pt x="178" y="226"/>
                  <a:pt x="178" y="226"/>
                  <a:pt x="178" y="226"/>
                </a:cubicBezTo>
                <a:cubicBezTo>
                  <a:pt x="177" y="226"/>
                  <a:pt x="177" y="226"/>
                  <a:pt x="177" y="226"/>
                </a:cubicBezTo>
                <a:cubicBezTo>
                  <a:pt x="176" y="227"/>
                  <a:pt x="176" y="227"/>
                  <a:pt x="176" y="227"/>
                </a:cubicBezTo>
                <a:cubicBezTo>
                  <a:pt x="176" y="228"/>
                  <a:pt x="176" y="228"/>
                  <a:pt x="176" y="228"/>
                </a:cubicBezTo>
                <a:close/>
                <a:moveTo>
                  <a:pt x="82" y="330"/>
                </a:moveTo>
                <a:cubicBezTo>
                  <a:pt x="83" y="330"/>
                  <a:pt x="83" y="330"/>
                  <a:pt x="83" y="330"/>
                </a:cubicBezTo>
                <a:cubicBezTo>
                  <a:pt x="84" y="330"/>
                  <a:pt x="84" y="330"/>
                  <a:pt x="84" y="330"/>
                </a:cubicBezTo>
                <a:cubicBezTo>
                  <a:pt x="83" y="329"/>
                  <a:pt x="83" y="329"/>
                  <a:pt x="83" y="329"/>
                </a:cubicBezTo>
                <a:cubicBezTo>
                  <a:pt x="83" y="330"/>
                  <a:pt x="83" y="330"/>
                  <a:pt x="83" y="330"/>
                </a:cubicBezTo>
                <a:cubicBezTo>
                  <a:pt x="82" y="330"/>
                  <a:pt x="82" y="330"/>
                  <a:pt x="82" y="330"/>
                </a:cubicBezTo>
                <a:close/>
                <a:moveTo>
                  <a:pt x="88" y="317"/>
                </a:moveTo>
                <a:cubicBezTo>
                  <a:pt x="89" y="318"/>
                  <a:pt x="89" y="318"/>
                  <a:pt x="89" y="318"/>
                </a:cubicBezTo>
                <a:cubicBezTo>
                  <a:pt x="89" y="317"/>
                  <a:pt x="89" y="317"/>
                  <a:pt x="89" y="317"/>
                </a:cubicBezTo>
                <a:cubicBezTo>
                  <a:pt x="88" y="317"/>
                  <a:pt x="88" y="317"/>
                  <a:pt x="88" y="317"/>
                </a:cubicBezTo>
                <a:close/>
                <a:moveTo>
                  <a:pt x="89" y="316"/>
                </a:moveTo>
                <a:cubicBezTo>
                  <a:pt x="89" y="316"/>
                  <a:pt x="89" y="316"/>
                  <a:pt x="89" y="316"/>
                </a:cubicBezTo>
                <a:cubicBezTo>
                  <a:pt x="89" y="316"/>
                  <a:pt x="89" y="316"/>
                  <a:pt x="89" y="316"/>
                </a:cubicBezTo>
                <a:cubicBezTo>
                  <a:pt x="89" y="315"/>
                  <a:pt x="89" y="315"/>
                  <a:pt x="89" y="315"/>
                </a:cubicBezTo>
                <a:cubicBezTo>
                  <a:pt x="89" y="316"/>
                  <a:pt x="89" y="316"/>
                  <a:pt x="89" y="316"/>
                </a:cubicBezTo>
                <a:close/>
                <a:moveTo>
                  <a:pt x="90" y="313"/>
                </a:moveTo>
                <a:cubicBezTo>
                  <a:pt x="90" y="314"/>
                  <a:pt x="90" y="314"/>
                  <a:pt x="90" y="314"/>
                </a:cubicBezTo>
                <a:cubicBezTo>
                  <a:pt x="90" y="314"/>
                  <a:pt x="90" y="314"/>
                  <a:pt x="90" y="314"/>
                </a:cubicBezTo>
                <a:cubicBezTo>
                  <a:pt x="90" y="313"/>
                  <a:pt x="90" y="313"/>
                  <a:pt x="90" y="313"/>
                </a:cubicBezTo>
                <a:cubicBezTo>
                  <a:pt x="90" y="313"/>
                  <a:pt x="90" y="313"/>
                  <a:pt x="90" y="313"/>
                </a:cubicBezTo>
                <a:cubicBezTo>
                  <a:pt x="90" y="313"/>
                  <a:pt x="90" y="313"/>
                  <a:pt x="90" y="313"/>
                </a:cubicBezTo>
                <a:close/>
                <a:moveTo>
                  <a:pt x="89" y="311"/>
                </a:moveTo>
                <a:cubicBezTo>
                  <a:pt x="89" y="312"/>
                  <a:pt x="89" y="312"/>
                  <a:pt x="89" y="312"/>
                </a:cubicBezTo>
                <a:cubicBezTo>
                  <a:pt x="90" y="312"/>
                  <a:pt x="90" y="312"/>
                  <a:pt x="90" y="312"/>
                </a:cubicBezTo>
                <a:cubicBezTo>
                  <a:pt x="90" y="312"/>
                  <a:pt x="90" y="312"/>
                  <a:pt x="90" y="312"/>
                </a:cubicBezTo>
                <a:cubicBezTo>
                  <a:pt x="91" y="312"/>
                  <a:pt x="91" y="312"/>
                  <a:pt x="91" y="312"/>
                </a:cubicBezTo>
                <a:cubicBezTo>
                  <a:pt x="91" y="312"/>
                  <a:pt x="91" y="312"/>
                  <a:pt x="91" y="312"/>
                </a:cubicBezTo>
                <a:cubicBezTo>
                  <a:pt x="91" y="311"/>
                  <a:pt x="91" y="311"/>
                  <a:pt x="91" y="311"/>
                </a:cubicBezTo>
                <a:cubicBezTo>
                  <a:pt x="90" y="311"/>
                  <a:pt x="90" y="311"/>
                  <a:pt x="90" y="311"/>
                </a:cubicBezTo>
                <a:cubicBezTo>
                  <a:pt x="89" y="311"/>
                  <a:pt x="89" y="311"/>
                  <a:pt x="89" y="311"/>
                </a:cubicBezTo>
                <a:cubicBezTo>
                  <a:pt x="89" y="311"/>
                  <a:pt x="89" y="311"/>
                  <a:pt x="89" y="311"/>
                </a:cubicBezTo>
                <a:close/>
                <a:moveTo>
                  <a:pt x="94" y="310"/>
                </a:moveTo>
                <a:cubicBezTo>
                  <a:pt x="94" y="310"/>
                  <a:pt x="94" y="310"/>
                  <a:pt x="94" y="310"/>
                </a:cubicBezTo>
                <a:cubicBezTo>
                  <a:pt x="94" y="309"/>
                  <a:pt x="94" y="309"/>
                  <a:pt x="94" y="309"/>
                </a:cubicBezTo>
                <a:cubicBezTo>
                  <a:pt x="94" y="309"/>
                  <a:pt x="94" y="309"/>
                  <a:pt x="94" y="309"/>
                </a:cubicBezTo>
                <a:cubicBezTo>
                  <a:pt x="94" y="310"/>
                  <a:pt x="94" y="310"/>
                  <a:pt x="94" y="310"/>
                </a:cubicBezTo>
                <a:close/>
                <a:moveTo>
                  <a:pt x="93" y="302"/>
                </a:moveTo>
                <a:cubicBezTo>
                  <a:pt x="93" y="303"/>
                  <a:pt x="93" y="303"/>
                  <a:pt x="93" y="303"/>
                </a:cubicBezTo>
                <a:cubicBezTo>
                  <a:pt x="94" y="304"/>
                  <a:pt x="94" y="304"/>
                  <a:pt x="94" y="304"/>
                </a:cubicBezTo>
                <a:cubicBezTo>
                  <a:pt x="96" y="304"/>
                  <a:pt x="96" y="304"/>
                  <a:pt x="96" y="304"/>
                </a:cubicBezTo>
                <a:cubicBezTo>
                  <a:pt x="96" y="305"/>
                  <a:pt x="96" y="305"/>
                  <a:pt x="96" y="305"/>
                </a:cubicBezTo>
                <a:cubicBezTo>
                  <a:pt x="96" y="304"/>
                  <a:pt x="96" y="304"/>
                  <a:pt x="96" y="304"/>
                </a:cubicBezTo>
                <a:cubicBezTo>
                  <a:pt x="96" y="304"/>
                  <a:pt x="96" y="304"/>
                  <a:pt x="96" y="304"/>
                </a:cubicBezTo>
                <a:cubicBezTo>
                  <a:pt x="94" y="303"/>
                  <a:pt x="94" y="303"/>
                  <a:pt x="94" y="303"/>
                </a:cubicBezTo>
                <a:cubicBezTo>
                  <a:pt x="94" y="302"/>
                  <a:pt x="94" y="302"/>
                  <a:pt x="94" y="302"/>
                </a:cubicBezTo>
                <a:cubicBezTo>
                  <a:pt x="93" y="302"/>
                  <a:pt x="93" y="302"/>
                  <a:pt x="93" y="302"/>
                </a:cubicBezTo>
                <a:close/>
                <a:moveTo>
                  <a:pt x="101" y="288"/>
                </a:moveTo>
                <a:cubicBezTo>
                  <a:pt x="102" y="289"/>
                  <a:pt x="102" y="289"/>
                  <a:pt x="102" y="289"/>
                </a:cubicBezTo>
                <a:cubicBezTo>
                  <a:pt x="102" y="290"/>
                  <a:pt x="102" y="290"/>
                  <a:pt x="102" y="290"/>
                </a:cubicBezTo>
                <a:cubicBezTo>
                  <a:pt x="102" y="291"/>
                  <a:pt x="102" y="291"/>
                  <a:pt x="102" y="291"/>
                </a:cubicBezTo>
                <a:cubicBezTo>
                  <a:pt x="102" y="292"/>
                  <a:pt x="102" y="292"/>
                  <a:pt x="102" y="292"/>
                </a:cubicBezTo>
                <a:cubicBezTo>
                  <a:pt x="103" y="292"/>
                  <a:pt x="103" y="292"/>
                  <a:pt x="103" y="292"/>
                </a:cubicBezTo>
                <a:cubicBezTo>
                  <a:pt x="103" y="291"/>
                  <a:pt x="103" y="291"/>
                  <a:pt x="103" y="291"/>
                </a:cubicBezTo>
                <a:cubicBezTo>
                  <a:pt x="103" y="290"/>
                  <a:pt x="103" y="290"/>
                  <a:pt x="103" y="290"/>
                </a:cubicBezTo>
                <a:cubicBezTo>
                  <a:pt x="102" y="289"/>
                  <a:pt x="102" y="289"/>
                  <a:pt x="102" y="289"/>
                </a:cubicBezTo>
                <a:cubicBezTo>
                  <a:pt x="102" y="288"/>
                  <a:pt x="102" y="288"/>
                  <a:pt x="102" y="288"/>
                </a:cubicBezTo>
                <a:cubicBezTo>
                  <a:pt x="102" y="288"/>
                  <a:pt x="102" y="288"/>
                  <a:pt x="102" y="288"/>
                </a:cubicBezTo>
                <a:cubicBezTo>
                  <a:pt x="101" y="288"/>
                  <a:pt x="101" y="288"/>
                  <a:pt x="101" y="288"/>
                </a:cubicBezTo>
                <a:close/>
                <a:moveTo>
                  <a:pt x="107" y="284"/>
                </a:moveTo>
                <a:cubicBezTo>
                  <a:pt x="107" y="285"/>
                  <a:pt x="107" y="285"/>
                  <a:pt x="107" y="285"/>
                </a:cubicBezTo>
                <a:cubicBezTo>
                  <a:pt x="108" y="285"/>
                  <a:pt x="108" y="285"/>
                  <a:pt x="108" y="285"/>
                </a:cubicBezTo>
                <a:cubicBezTo>
                  <a:pt x="108" y="285"/>
                  <a:pt x="108" y="285"/>
                  <a:pt x="108" y="285"/>
                </a:cubicBezTo>
                <a:cubicBezTo>
                  <a:pt x="108" y="284"/>
                  <a:pt x="108" y="284"/>
                  <a:pt x="108" y="284"/>
                </a:cubicBezTo>
                <a:cubicBezTo>
                  <a:pt x="107" y="284"/>
                  <a:pt x="107" y="284"/>
                  <a:pt x="107" y="284"/>
                </a:cubicBezTo>
                <a:close/>
                <a:moveTo>
                  <a:pt x="109" y="283"/>
                </a:moveTo>
                <a:cubicBezTo>
                  <a:pt x="109" y="283"/>
                  <a:pt x="109" y="283"/>
                  <a:pt x="109" y="283"/>
                </a:cubicBezTo>
                <a:cubicBezTo>
                  <a:pt x="109" y="283"/>
                  <a:pt x="109" y="283"/>
                  <a:pt x="109" y="283"/>
                </a:cubicBezTo>
                <a:cubicBezTo>
                  <a:pt x="109" y="282"/>
                  <a:pt x="109" y="282"/>
                  <a:pt x="109" y="282"/>
                </a:cubicBezTo>
                <a:cubicBezTo>
                  <a:pt x="109" y="283"/>
                  <a:pt x="109" y="283"/>
                  <a:pt x="109" y="283"/>
                </a:cubicBezTo>
                <a:close/>
                <a:moveTo>
                  <a:pt x="119" y="282"/>
                </a:moveTo>
                <a:cubicBezTo>
                  <a:pt x="120" y="281"/>
                  <a:pt x="120" y="281"/>
                  <a:pt x="120" y="281"/>
                </a:cubicBezTo>
                <a:cubicBezTo>
                  <a:pt x="121" y="281"/>
                  <a:pt x="121" y="281"/>
                  <a:pt x="121" y="281"/>
                </a:cubicBezTo>
                <a:cubicBezTo>
                  <a:pt x="121" y="281"/>
                  <a:pt x="121" y="281"/>
                  <a:pt x="121" y="281"/>
                </a:cubicBezTo>
                <a:cubicBezTo>
                  <a:pt x="120" y="279"/>
                  <a:pt x="120" y="279"/>
                  <a:pt x="120" y="279"/>
                </a:cubicBezTo>
                <a:cubicBezTo>
                  <a:pt x="120" y="279"/>
                  <a:pt x="120" y="279"/>
                  <a:pt x="120" y="279"/>
                </a:cubicBezTo>
                <a:cubicBezTo>
                  <a:pt x="119" y="278"/>
                  <a:pt x="119" y="278"/>
                  <a:pt x="119" y="278"/>
                </a:cubicBezTo>
                <a:cubicBezTo>
                  <a:pt x="119" y="278"/>
                  <a:pt x="119" y="278"/>
                  <a:pt x="119" y="278"/>
                </a:cubicBezTo>
                <a:cubicBezTo>
                  <a:pt x="118" y="279"/>
                  <a:pt x="118" y="279"/>
                  <a:pt x="118" y="279"/>
                </a:cubicBezTo>
                <a:cubicBezTo>
                  <a:pt x="118" y="280"/>
                  <a:pt x="118" y="280"/>
                  <a:pt x="118" y="280"/>
                </a:cubicBezTo>
                <a:cubicBezTo>
                  <a:pt x="117" y="281"/>
                  <a:pt x="117" y="281"/>
                  <a:pt x="117" y="281"/>
                </a:cubicBezTo>
                <a:cubicBezTo>
                  <a:pt x="118" y="281"/>
                  <a:pt x="118" y="281"/>
                  <a:pt x="118" y="281"/>
                </a:cubicBezTo>
                <a:cubicBezTo>
                  <a:pt x="118" y="282"/>
                  <a:pt x="118" y="282"/>
                  <a:pt x="118" y="282"/>
                </a:cubicBezTo>
                <a:cubicBezTo>
                  <a:pt x="119" y="282"/>
                  <a:pt x="119" y="282"/>
                  <a:pt x="119" y="282"/>
                </a:cubicBezTo>
                <a:close/>
                <a:moveTo>
                  <a:pt x="123" y="281"/>
                </a:moveTo>
                <a:cubicBezTo>
                  <a:pt x="123" y="281"/>
                  <a:pt x="123" y="281"/>
                  <a:pt x="123" y="281"/>
                </a:cubicBezTo>
                <a:cubicBezTo>
                  <a:pt x="123" y="280"/>
                  <a:pt x="123" y="280"/>
                  <a:pt x="123" y="280"/>
                </a:cubicBezTo>
                <a:cubicBezTo>
                  <a:pt x="122" y="280"/>
                  <a:pt x="122" y="280"/>
                  <a:pt x="122" y="280"/>
                </a:cubicBezTo>
                <a:cubicBezTo>
                  <a:pt x="122" y="281"/>
                  <a:pt x="122" y="281"/>
                  <a:pt x="122" y="281"/>
                </a:cubicBezTo>
                <a:cubicBezTo>
                  <a:pt x="123" y="282"/>
                  <a:pt x="123" y="282"/>
                  <a:pt x="123" y="282"/>
                </a:cubicBezTo>
                <a:cubicBezTo>
                  <a:pt x="123" y="281"/>
                  <a:pt x="123" y="281"/>
                  <a:pt x="123" y="281"/>
                </a:cubicBezTo>
                <a:close/>
                <a:moveTo>
                  <a:pt x="197" y="240"/>
                </a:moveTo>
                <a:cubicBezTo>
                  <a:pt x="198" y="240"/>
                  <a:pt x="198" y="240"/>
                  <a:pt x="198" y="240"/>
                </a:cubicBezTo>
                <a:cubicBezTo>
                  <a:pt x="198" y="239"/>
                  <a:pt x="198" y="239"/>
                  <a:pt x="198" y="239"/>
                </a:cubicBezTo>
                <a:cubicBezTo>
                  <a:pt x="198" y="239"/>
                  <a:pt x="198" y="239"/>
                  <a:pt x="198" y="239"/>
                </a:cubicBezTo>
                <a:cubicBezTo>
                  <a:pt x="197" y="239"/>
                  <a:pt x="197" y="239"/>
                  <a:pt x="197" y="239"/>
                </a:cubicBezTo>
                <a:cubicBezTo>
                  <a:pt x="197" y="240"/>
                  <a:pt x="197" y="240"/>
                  <a:pt x="197" y="240"/>
                </a:cubicBezTo>
                <a:close/>
                <a:moveTo>
                  <a:pt x="184" y="229"/>
                </a:moveTo>
                <a:cubicBezTo>
                  <a:pt x="185" y="229"/>
                  <a:pt x="185" y="229"/>
                  <a:pt x="185" y="229"/>
                </a:cubicBezTo>
                <a:cubicBezTo>
                  <a:pt x="185" y="229"/>
                  <a:pt x="185" y="229"/>
                  <a:pt x="185" y="229"/>
                </a:cubicBezTo>
                <a:cubicBezTo>
                  <a:pt x="185" y="229"/>
                  <a:pt x="185" y="229"/>
                  <a:pt x="185" y="229"/>
                </a:cubicBezTo>
                <a:cubicBezTo>
                  <a:pt x="184" y="228"/>
                  <a:pt x="184" y="228"/>
                  <a:pt x="184" y="228"/>
                </a:cubicBezTo>
                <a:cubicBezTo>
                  <a:pt x="184" y="228"/>
                  <a:pt x="184" y="229"/>
                  <a:pt x="184" y="229"/>
                </a:cubicBezTo>
                <a:close/>
                <a:moveTo>
                  <a:pt x="178" y="224"/>
                </a:moveTo>
                <a:cubicBezTo>
                  <a:pt x="179" y="224"/>
                  <a:pt x="179" y="224"/>
                  <a:pt x="179" y="224"/>
                </a:cubicBezTo>
                <a:cubicBezTo>
                  <a:pt x="180" y="224"/>
                  <a:pt x="180" y="224"/>
                  <a:pt x="180" y="224"/>
                </a:cubicBezTo>
                <a:cubicBezTo>
                  <a:pt x="180" y="223"/>
                  <a:pt x="180" y="223"/>
                  <a:pt x="180" y="223"/>
                </a:cubicBezTo>
                <a:cubicBezTo>
                  <a:pt x="179" y="223"/>
                  <a:pt x="179" y="223"/>
                  <a:pt x="179" y="223"/>
                </a:cubicBezTo>
                <a:cubicBezTo>
                  <a:pt x="178" y="224"/>
                  <a:pt x="178" y="224"/>
                  <a:pt x="178" y="224"/>
                </a:cubicBezTo>
                <a:close/>
                <a:moveTo>
                  <a:pt x="190" y="221"/>
                </a:moveTo>
                <a:cubicBezTo>
                  <a:pt x="190" y="221"/>
                  <a:pt x="190" y="221"/>
                  <a:pt x="190" y="221"/>
                </a:cubicBezTo>
                <a:cubicBezTo>
                  <a:pt x="190" y="222"/>
                  <a:pt x="190" y="222"/>
                  <a:pt x="190" y="222"/>
                </a:cubicBezTo>
                <a:cubicBezTo>
                  <a:pt x="191" y="222"/>
                  <a:pt x="191" y="222"/>
                  <a:pt x="191" y="222"/>
                </a:cubicBezTo>
                <a:cubicBezTo>
                  <a:pt x="190" y="221"/>
                  <a:pt x="190" y="221"/>
                  <a:pt x="190" y="221"/>
                </a:cubicBezTo>
                <a:cubicBezTo>
                  <a:pt x="190" y="220"/>
                  <a:pt x="190" y="220"/>
                  <a:pt x="190" y="220"/>
                </a:cubicBezTo>
                <a:cubicBezTo>
                  <a:pt x="190" y="221"/>
                  <a:pt x="190" y="221"/>
                  <a:pt x="190" y="221"/>
                </a:cubicBezTo>
                <a:close/>
                <a:moveTo>
                  <a:pt x="197" y="197"/>
                </a:moveTo>
                <a:cubicBezTo>
                  <a:pt x="197" y="198"/>
                  <a:pt x="197" y="198"/>
                  <a:pt x="197" y="198"/>
                </a:cubicBezTo>
                <a:cubicBezTo>
                  <a:pt x="198" y="198"/>
                  <a:pt x="198" y="198"/>
                  <a:pt x="198" y="198"/>
                </a:cubicBezTo>
                <a:cubicBezTo>
                  <a:pt x="198" y="199"/>
                  <a:pt x="198" y="199"/>
                  <a:pt x="198" y="199"/>
                </a:cubicBezTo>
                <a:cubicBezTo>
                  <a:pt x="198" y="201"/>
                  <a:pt x="198" y="201"/>
                  <a:pt x="198" y="201"/>
                </a:cubicBezTo>
                <a:cubicBezTo>
                  <a:pt x="199" y="202"/>
                  <a:pt x="199" y="202"/>
                  <a:pt x="199" y="202"/>
                </a:cubicBezTo>
                <a:cubicBezTo>
                  <a:pt x="201" y="202"/>
                  <a:pt x="201" y="202"/>
                  <a:pt x="201" y="202"/>
                </a:cubicBezTo>
                <a:cubicBezTo>
                  <a:pt x="202" y="204"/>
                  <a:pt x="202" y="204"/>
                  <a:pt x="202" y="204"/>
                </a:cubicBezTo>
                <a:cubicBezTo>
                  <a:pt x="203" y="205"/>
                  <a:pt x="203" y="205"/>
                  <a:pt x="203" y="205"/>
                </a:cubicBezTo>
                <a:cubicBezTo>
                  <a:pt x="204" y="205"/>
                  <a:pt x="204" y="205"/>
                  <a:pt x="204" y="205"/>
                </a:cubicBezTo>
                <a:cubicBezTo>
                  <a:pt x="205" y="206"/>
                  <a:pt x="205" y="206"/>
                  <a:pt x="205" y="206"/>
                </a:cubicBezTo>
                <a:cubicBezTo>
                  <a:pt x="205" y="206"/>
                  <a:pt x="205" y="206"/>
                  <a:pt x="205" y="206"/>
                </a:cubicBezTo>
                <a:cubicBezTo>
                  <a:pt x="206" y="207"/>
                  <a:pt x="206" y="207"/>
                  <a:pt x="206" y="207"/>
                </a:cubicBezTo>
                <a:cubicBezTo>
                  <a:pt x="207" y="206"/>
                  <a:pt x="207" y="206"/>
                  <a:pt x="207" y="206"/>
                </a:cubicBezTo>
                <a:cubicBezTo>
                  <a:pt x="207" y="205"/>
                  <a:pt x="207" y="205"/>
                  <a:pt x="207" y="205"/>
                </a:cubicBezTo>
                <a:cubicBezTo>
                  <a:pt x="207" y="205"/>
                  <a:pt x="207" y="205"/>
                  <a:pt x="207" y="205"/>
                </a:cubicBezTo>
                <a:cubicBezTo>
                  <a:pt x="206" y="204"/>
                  <a:pt x="206" y="204"/>
                  <a:pt x="206" y="204"/>
                </a:cubicBezTo>
                <a:cubicBezTo>
                  <a:pt x="205" y="203"/>
                  <a:pt x="205" y="203"/>
                  <a:pt x="205" y="203"/>
                </a:cubicBezTo>
                <a:cubicBezTo>
                  <a:pt x="205" y="203"/>
                  <a:pt x="205" y="203"/>
                  <a:pt x="205" y="203"/>
                </a:cubicBezTo>
                <a:cubicBezTo>
                  <a:pt x="204" y="202"/>
                  <a:pt x="204" y="202"/>
                  <a:pt x="204" y="202"/>
                </a:cubicBezTo>
                <a:cubicBezTo>
                  <a:pt x="204" y="202"/>
                  <a:pt x="204" y="202"/>
                  <a:pt x="204" y="202"/>
                </a:cubicBezTo>
                <a:cubicBezTo>
                  <a:pt x="205" y="201"/>
                  <a:pt x="205" y="201"/>
                  <a:pt x="205" y="201"/>
                </a:cubicBezTo>
                <a:cubicBezTo>
                  <a:pt x="205" y="202"/>
                  <a:pt x="205" y="202"/>
                  <a:pt x="205" y="202"/>
                </a:cubicBezTo>
                <a:cubicBezTo>
                  <a:pt x="206" y="202"/>
                  <a:pt x="206" y="202"/>
                  <a:pt x="206" y="202"/>
                </a:cubicBezTo>
                <a:cubicBezTo>
                  <a:pt x="208" y="203"/>
                  <a:pt x="208" y="203"/>
                  <a:pt x="208" y="203"/>
                </a:cubicBezTo>
                <a:cubicBezTo>
                  <a:pt x="208" y="203"/>
                  <a:pt x="208" y="203"/>
                  <a:pt x="208" y="203"/>
                </a:cubicBezTo>
                <a:cubicBezTo>
                  <a:pt x="208" y="203"/>
                  <a:pt x="208" y="203"/>
                  <a:pt x="208" y="203"/>
                </a:cubicBezTo>
                <a:cubicBezTo>
                  <a:pt x="208" y="201"/>
                  <a:pt x="208" y="201"/>
                  <a:pt x="208" y="201"/>
                </a:cubicBezTo>
                <a:cubicBezTo>
                  <a:pt x="205" y="200"/>
                  <a:pt x="205" y="200"/>
                  <a:pt x="205" y="200"/>
                </a:cubicBezTo>
                <a:cubicBezTo>
                  <a:pt x="204" y="198"/>
                  <a:pt x="204" y="198"/>
                  <a:pt x="204" y="198"/>
                </a:cubicBezTo>
                <a:cubicBezTo>
                  <a:pt x="203" y="198"/>
                  <a:pt x="203" y="198"/>
                  <a:pt x="203" y="198"/>
                </a:cubicBezTo>
                <a:cubicBezTo>
                  <a:pt x="202" y="198"/>
                  <a:pt x="202" y="198"/>
                  <a:pt x="202" y="198"/>
                </a:cubicBezTo>
                <a:cubicBezTo>
                  <a:pt x="201" y="197"/>
                  <a:pt x="201" y="197"/>
                  <a:pt x="201" y="197"/>
                </a:cubicBezTo>
                <a:cubicBezTo>
                  <a:pt x="200" y="197"/>
                  <a:pt x="200" y="197"/>
                  <a:pt x="200" y="197"/>
                </a:cubicBezTo>
                <a:cubicBezTo>
                  <a:pt x="199" y="197"/>
                  <a:pt x="199" y="197"/>
                  <a:pt x="199" y="197"/>
                </a:cubicBezTo>
                <a:cubicBezTo>
                  <a:pt x="198" y="196"/>
                  <a:pt x="198" y="196"/>
                  <a:pt x="198" y="196"/>
                </a:cubicBezTo>
                <a:cubicBezTo>
                  <a:pt x="197" y="197"/>
                  <a:pt x="197" y="197"/>
                  <a:pt x="197" y="197"/>
                </a:cubicBezTo>
                <a:close/>
                <a:moveTo>
                  <a:pt x="194" y="198"/>
                </a:moveTo>
                <a:cubicBezTo>
                  <a:pt x="195" y="197"/>
                  <a:pt x="195" y="197"/>
                  <a:pt x="195" y="197"/>
                </a:cubicBezTo>
                <a:cubicBezTo>
                  <a:pt x="195" y="196"/>
                  <a:pt x="195" y="196"/>
                  <a:pt x="195" y="196"/>
                </a:cubicBezTo>
                <a:cubicBezTo>
                  <a:pt x="196" y="196"/>
                  <a:pt x="196" y="196"/>
                  <a:pt x="196" y="196"/>
                </a:cubicBezTo>
                <a:cubicBezTo>
                  <a:pt x="194" y="196"/>
                  <a:pt x="194" y="196"/>
                  <a:pt x="194" y="196"/>
                </a:cubicBezTo>
                <a:cubicBezTo>
                  <a:pt x="194" y="197"/>
                  <a:pt x="194" y="197"/>
                  <a:pt x="194" y="197"/>
                </a:cubicBezTo>
                <a:cubicBezTo>
                  <a:pt x="194" y="198"/>
                  <a:pt x="194" y="198"/>
                  <a:pt x="194" y="198"/>
                </a:cubicBezTo>
                <a:close/>
                <a:moveTo>
                  <a:pt x="197" y="195"/>
                </a:moveTo>
                <a:cubicBezTo>
                  <a:pt x="198" y="196"/>
                  <a:pt x="198" y="196"/>
                  <a:pt x="198" y="196"/>
                </a:cubicBezTo>
                <a:cubicBezTo>
                  <a:pt x="200" y="196"/>
                  <a:pt x="200" y="196"/>
                  <a:pt x="200" y="196"/>
                </a:cubicBezTo>
                <a:cubicBezTo>
                  <a:pt x="201" y="197"/>
                  <a:pt x="201" y="197"/>
                  <a:pt x="201" y="197"/>
                </a:cubicBezTo>
                <a:cubicBezTo>
                  <a:pt x="203" y="197"/>
                  <a:pt x="203" y="197"/>
                  <a:pt x="203" y="197"/>
                </a:cubicBezTo>
                <a:cubicBezTo>
                  <a:pt x="204" y="198"/>
                  <a:pt x="204" y="198"/>
                  <a:pt x="204" y="198"/>
                </a:cubicBezTo>
                <a:cubicBezTo>
                  <a:pt x="205" y="198"/>
                  <a:pt x="205" y="198"/>
                  <a:pt x="205" y="198"/>
                </a:cubicBezTo>
                <a:cubicBezTo>
                  <a:pt x="206" y="198"/>
                  <a:pt x="206" y="198"/>
                  <a:pt x="206" y="198"/>
                </a:cubicBezTo>
                <a:cubicBezTo>
                  <a:pt x="206" y="199"/>
                  <a:pt x="206" y="199"/>
                  <a:pt x="206" y="199"/>
                </a:cubicBezTo>
                <a:cubicBezTo>
                  <a:pt x="206" y="199"/>
                  <a:pt x="206" y="199"/>
                  <a:pt x="206" y="199"/>
                </a:cubicBezTo>
                <a:cubicBezTo>
                  <a:pt x="207" y="199"/>
                  <a:pt x="207" y="199"/>
                  <a:pt x="207" y="199"/>
                </a:cubicBezTo>
                <a:cubicBezTo>
                  <a:pt x="208" y="199"/>
                  <a:pt x="208" y="199"/>
                  <a:pt x="208" y="199"/>
                </a:cubicBezTo>
                <a:cubicBezTo>
                  <a:pt x="209" y="199"/>
                  <a:pt x="209" y="199"/>
                  <a:pt x="209" y="199"/>
                </a:cubicBezTo>
                <a:cubicBezTo>
                  <a:pt x="209" y="198"/>
                  <a:pt x="209" y="198"/>
                  <a:pt x="209" y="198"/>
                </a:cubicBezTo>
                <a:cubicBezTo>
                  <a:pt x="209" y="198"/>
                  <a:pt x="209" y="198"/>
                  <a:pt x="209" y="198"/>
                </a:cubicBezTo>
                <a:cubicBezTo>
                  <a:pt x="209" y="197"/>
                  <a:pt x="209" y="197"/>
                  <a:pt x="209" y="197"/>
                </a:cubicBezTo>
                <a:cubicBezTo>
                  <a:pt x="210" y="197"/>
                  <a:pt x="210" y="197"/>
                  <a:pt x="210" y="197"/>
                </a:cubicBezTo>
                <a:cubicBezTo>
                  <a:pt x="208" y="196"/>
                  <a:pt x="208" y="196"/>
                  <a:pt x="208" y="196"/>
                </a:cubicBezTo>
                <a:cubicBezTo>
                  <a:pt x="207" y="195"/>
                  <a:pt x="207" y="195"/>
                  <a:pt x="207" y="195"/>
                </a:cubicBezTo>
                <a:cubicBezTo>
                  <a:pt x="205" y="194"/>
                  <a:pt x="205" y="194"/>
                  <a:pt x="205" y="194"/>
                </a:cubicBezTo>
                <a:cubicBezTo>
                  <a:pt x="204" y="194"/>
                  <a:pt x="204" y="194"/>
                  <a:pt x="204" y="194"/>
                </a:cubicBezTo>
                <a:cubicBezTo>
                  <a:pt x="202" y="195"/>
                  <a:pt x="202" y="195"/>
                  <a:pt x="202" y="195"/>
                </a:cubicBezTo>
                <a:cubicBezTo>
                  <a:pt x="201" y="195"/>
                  <a:pt x="201" y="195"/>
                  <a:pt x="201" y="195"/>
                </a:cubicBezTo>
                <a:cubicBezTo>
                  <a:pt x="199" y="195"/>
                  <a:pt x="199" y="195"/>
                  <a:pt x="199" y="195"/>
                </a:cubicBezTo>
                <a:cubicBezTo>
                  <a:pt x="198" y="195"/>
                  <a:pt x="198" y="195"/>
                  <a:pt x="198" y="195"/>
                </a:cubicBezTo>
                <a:cubicBezTo>
                  <a:pt x="198" y="195"/>
                  <a:pt x="197" y="195"/>
                  <a:pt x="197" y="195"/>
                </a:cubicBezTo>
                <a:close/>
                <a:moveTo>
                  <a:pt x="192" y="191"/>
                </a:moveTo>
                <a:cubicBezTo>
                  <a:pt x="193" y="192"/>
                  <a:pt x="193" y="192"/>
                  <a:pt x="193" y="192"/>
                </a:cubicBezTo>
                <a:cubicBezTo>
                  <a:pt x="195" y="192"/>
                  <a:pt x="195" y="192"/>
                  <a:pt x="195" y="192"/>
                </a:cubicBezTo>
                <a:cubicBezTo>
                  <a:pt x="196" y="193"/>
                  <a:pt x="196" y="193"/>
                  <a:pt x="196" y="193"/>
                </a:cubicBezTo>
                <a:cubicBezTo>
                  <a:pt x="198" y="194"/>
                  <a:pt x="198" y="194"/>
                  <a:pt x="198" y="194"/>
                </a:cubicBezTo>
                <a:cubicBezTo>
                  <a:pt x="200" y="194"/>
                  <a:pt x="200" y="194"/>
                  <a:pt x="200" y="194"/>
                </a:cubicBezTo>
                <a:cubicBezTo>
                  <a:pt x="204" y="194"/>
                  <a:pt x="204" y="194"/>
                  <a:pt x="204" y="194"/>
                </a:cubicBezTo>
                <a:cubicBezTo>
                  <a:pt x="205" y="194"/>
                  <a:pt x="205" y="194"/>
                  <a:pt x="205" y="194"/>
                </a:cubicBezTo>
                <a:cubicBezTo>
                  <a:pt x="205" y="193"/>
                  <a:pt x="205" y="193"/>
                  <a:pt x="205" y="193"/>
                </a:cubicBezTo>
                <a:cubicBezTo>
                  <a:pt x="204" y="193"/>
                  <a:pt x="204" y="193"/>
                  <a:pt x="204" y="193"/>
                </a:cubicBezTo>
                <a:cubicBezTo>
                  <a:pt x="201" y="193"/>
                  <a:pt x="201" y="193"/>
                  <a:pt x="201" y="193"/>
                </a:cubicBezTo>
                <a:cubicBezTo>
                  <a:pt x="200" y="193"/>
                  <a:pt x="200" y="193"/>
                  <a:pt x="200" y="193"/>
                </a:cubicBezTo>
                <a:cubicBezTo>
                  <a:pt x="198" y="192"/>
                  <a:pt x="198" y="192"/>
                  <a:pt x="198" y="192"/>
                </a:cubicBezTo>
                <a:cubicBezTo>
                  <a:pt x="197" y="191"/>
                  <a:pt x="197" y="191"/>
                  <a:pt x="197" y="191"/>
                </a:cubicBezTo>
                <a:cubicBezTo>
                  <a:pt x="196" y="191"/>
                  <a:pt x="196" y="191"/>
                  <a:pt x="196" y="191"/>
                </a:cubicBezTo>
                <a:cubicBezTo>
                  <a:pt x="197" y="190"/>
                  <a:pt x="197" y="190"/>
                  <a:pt x="197" y="190"/>
                </a:cubicBezTo>
                <a:cubicBezTo>
                  <a:pt x="198" y="190"/>
                  <a:pt x="198" y="190"/>
                  <a:pt x="198" y="190"/>
                </a:cubicBezTo>
                <a:cubicBezTo>
                  <a:pt x="200" y="192"/>
                  <a:pt x="200" y="192"/>
                  <a:pt x="200" y="192"/>
                </a:cubicBezTo>
                <a:cubicBezTo>
                  <a:pt x="202" y="192"/>
                  <a:pt x="202" y="192"/>
                  <a:pt x="202" y="192"/>
                </a:cubicBezTo>
                <a:cubicBezTo>
                  <a:pt x="203" y="192"/>
                  <a:pt x="203" y="192"/>
                  <a:pt x="203" y="192"/>
                </a:cubicBezTo>
                <a:cubicBezTo>
                  <a:pt x="202" y="191"/>
                  <a:pt x="202" y="191"/>
                  <a:pt x="202" y="191"/>
                </a:cubicBezTo>
                <a:cubicBezTo>
                  <a:pt x="199" y="189"/>
                  <a:pt x="199" y="189"/>
                  <a:pt x="199" y="189"/>
                </a:cubicBezTo>
                <a:cubicBezTo>
                  <a:pt x="196" y="189"/>
                  <a:pt x="196" y="189"/>
                  <a:pt x="196" y="189"/>
                </a:cubicBezTo>
                <a:cubicBezTo>
                  <a:pt x="195" y="189"/>
                  <a:pt x="195" y="189"/>
                  <a:pt x="195" y="189"/>
                </a:cubicBezTo>
                <a:cubicBezTo>
                  <a:pt x="195" y="190"/>
                  <a:pt x="195" y="190"/>
                  <a:pt x="195" y="190"/>
                </a:cubicBezTo>
                <a:cubicBezTo>
                  <a:pt x="193" y="190"/>
                  <a:pt x="193" y="190"/>
                  <a:pt x="193" y="190"/>
                </a:cubicBezTo>
                <a:cubicBezTo>
                  <a:pt x="192" y="191"/>
                  <a:pt x="192" y="191"/>
                  <a:pt x="192" y="191"/>
                </a:cubicBezTo>
                <a:close/>
                <a:moveTo>
                  <a:pt x="211" y="194"/>
                </a:moveTo>
                <a:cubicBezTo>
                  <a:pt x="212" y="194"/>
                  <a:pt x="212" y="194"/>
                  <a:pt x="212" y="194"/>
                </a:cubicBezTo>
                <a:cubicBezTo>
                  <a:pt x="213" y="194"/>
                  <a:pt x="213" y="194"/>
                  <a:pt x="213" y="194"/>
                </a:cubicBezTo>
                <a:cubicBezTo>
                  <a:pt x="213" y="193"/>
                  <a:pt x="213" y="193"/>
                  <a:pt x="213" y="193"/>
                </a:cubicBezTo>
                <a:cubicBezTo>
                  <a:pt x="212" y="194"/>
                  <a:pt x="212" y="194"/>
                  <a:pt x="212" y="194"/>
                </a:cubicBezTo>
                <a:cubicBezTo>
                  <a:pt x="211" y="194"/>
                  <a:pt x="211" y="194"/>
                  <a:pt x="211" y="194"/>
                </a:cubicBezTo>
                <a:close/>
                <a:moveTo>
                  <a:pt x="213" y="175"/>
                </a:moveTo>
                <a:cubicBezTo>
                  <a:pt x="212" y="177"/>
                  <a:pt x="212" y="177"/>
                  <a:pt x="212" y="177"/>
                </a:cubicBezTo>
                <a:cubicBezTo>
                  <a:pt x="212" y="178"/>
                  <a:pt x="212" y="178"/>
                  <a:pt x="212" y="178"/>
                </a:cubicBezTo>
                <a:cubicBezTo>
                  <a:pt x="212" y="179"/>
                  <a:pt x="212" y="179"/>
                  <a:pt x="212" y="179"/>
                </a:cubicBezTo>
                <a:cubicBezTo>
                  <a:pt x="213" y="179"/>
                  <a:pt x="213" y="179"/>
                  <a:pt x="213" y="179"/>
                </a:cubicBezTo>
                <a:cubicBezTo>
                  <a:pt x="215" y="180"/>
                  <a:pt x="215" y="180"/>
                  <a:pt x="215" y="180"/>
                </a:cubicBezTo>
                <a:cubicBezTo>
                  <a:pt x="215" y="180"/>
                  <a:pt x="215" y="180"/>
                  <a:pt x="215" y="180"/>
                </a:cubicBezTo>
                <a:cubicBezTo>
                  <a:pt x="217" y="180"/>
                  <a:pt x="217" y="180"/>
                  <a:pt x="217" y="180"/>
                </a:cubicBezTo>
                <a:cubicBezTo>
                  <a:pt x="218" y="180"/>
                  <a:pt x="218" y="180"/>
                  <a:pt x="218" y="180"/>
                </a:cubicBezTo>
                <a:cubicBezTo>
                  <a:pt x="218" y="178"/>
                  <a:pt x="218" y="178"/>
                  <a:pt x="218" y="178"/>
                </a:cubicBezTo>
                <a:cubicBezTo>
                  <a:pt x="219" y="178"/>
                  <a:pt x="219" y="178"/>
                  <a:pt x="219" y="178"/>
                </a:cubicBezTo>
                <a:cubicBezTo>
                  <a:pt x="218" y="176"/>
                  <a:pt x="218" y="176"/>
                  <a:pt x="218" y="176"/>
                </a:cubicBezTo>
                <a:cubicBezTo>
                  <a:pt x="216" y="175"/>
                  <a:pt x="216" y="175"/>
                  <a:pt x="216" y="175"/>
                </a:cubicBezTo>
                <a:cubicBezTo>
                  <a:pt x="214" y="175"/>
                  <a:pt x="214" y="175"/>
                  <a:pt x="214" y="175"/>
                </a:cubicBezTo>
                <a:cubicBezTo>
                  <a:pt x="213" y="175"/>
                  <a:pt x="213" y="175"/>
                  <a:pt x="213" y="175"/>
                </a:cubicBezTo>
                <a:close/>
                <a:moveTo>
                  <a:pt x="224" y="174"/>
                </a:moveTo>
                <a:cubicBezTo>
                  <a:pt x="225" y="174"/>
                  <a:pt x="225" y="174"/>
                  <a:pt x="225" y="174"/>
                </a:cubicBezTo>
                <a:cubicBezTo>
                  <a:pt x="226" y="173"/>
                  <a:pt x="226" y="173"/>
                  <a:pt x="226" y="173"/>
                </a:cubicBezTo>
                <a:cubicBezTo>
                  <a:pt x="226" y="173"/>
                  <a:pt x="226" y="173"/>
                  <a:pt x="226" y="173"/>
                </a:cubicBezTo>
                <a:cubicBezTo>
                  <a:pt x="225" y="173"/>
                  <a:pt x="225" y="173"/>
                  <a:pt x="225" y="173"/>
                </a:cubicBezTo>
                <a:cubicBezTo>
                  <a:pt x="224" y="173"/>
                  <a:pt x="224" y="173"/>
                  <a:pt x="224" y="173"/>
                </a:cubicBezTo>
                <a:cubicBezTo>
                  <a:pt x="224" y="174"/>
                  <a:pt x="224" y="174"/>
                  <a:pt x="224" y="174"/>
                </a:cubicBezTo>
                <a:close/>
                <a:moveTo>
                  <a:pt x="219" y="167"/>
                </a:moveTo>
                <a:cubicBezTo>
                  <a:pt x="219" y="168"/>
                  <a:pt x="219" y="168"/>
                  <a:pt x="219" y="168"/>
                </a:cubicBezTo>
                <a:cubicBezTo>
                  <a:pt x="219" y="170"/>
                  <a:pt x="219" y="170"/>
                  <a:pt x="219" y="170"/>
                </a:cubicBezTo>
                <a:cubicBezTo>
                  <a:pt x="219" y="171"/>
                  <a:pt x="219" y="171"/>
                  <a:pt x="219" y="171"/>
                </a:cubicBezTo>
                <a:cubicBezTo>
                  <a:pt x="220" y="171"/>
                  <a:pt x="220" y="171"/>
                  <a:pt x="220" y="171"/>
                </a:cubicBezTo>
                <a:cubicBezTo>
                  <a:pt x="221" y="171"/>
                  <a:pt x="221" y="171"/>
                  <a:pt x="221" y="171"/>
                </a:cubicBezTo>
                <a:cubicBezTo>
                  <a:pt x="221" y="170"/>
                  <a:pt x="221" y="170"/>
                  <a:pt x="221" y="170"/>
                </a:cubicBezTo>
                <a:cubicBezTo>
                  <a:pt x="221" y="169"/>
                  <a:pt x="221" y="169"/>
                  <a:pt x="221" y="169"/>
                </a:cubicBezTo>
                <a:cubicBezTo>
                  <a:pt x="221" y="168"/>
                  <a:pt x="221" y="168"/>
                  <a:pt x="221" y="168"/>
                </a:cubicBezTo>
                <a:cubicBezTo>
                  <a:pt x="220" y="167"/>
                  <a:pt x="220" y="167"/>
                  <a:pt x="220" y="167"/>
                </a:cubicBezTo>
                <a:cubicBezTo>
                  <a:pt x="219" y="167"/>
                  <a:pt x="219" y="167"/>
                  <a:pt x="219" y="167"/>
                </a:cubicBezTo>
                <a:close/>
                <a:moveTo>
                  <a:pt x="227" y="162"/>
                </a:moveTo>
                <a:cubicBezTo>
                  <a:pt x="227" y="165"/>
                  <a:pt x="227" y="165"/>
                  <a:pt x="227" y="165"/>
                </a:cubicBezTo>
                <a:cubicBezTo>
                  <a:pt x="226" y="166"/>
                  <a:pt x="226" y="166"/>
                  <a:pt x="226" y="166"/>
                </a:cubicBezTo>
                <a:cubicBezTo>
                  <a:pt x="227" y="167"/>
                  <a:pt x="227" y="167"/>
                  <a:pt x="227" y="167"/>
                </a:cubicBezTo>
                <a:cubicBezTo>
                  <a:pt x="228" y="168"/>
                  <a:pt x="228" y="168"/>
                  <a:pt x="228" y="168"/>
                </a:cubicBezTo>
                <a:cubicBezTo>
                  <a:pt x="229" y="168"/>
                  <a:pt x="229" y="168"/>
                  <a:pt x="229" y="168"/>
                </a:cubicBezTo>
                <a:cubicBezTo>
                  <a:pt x="230" y="168"/>
                  <a:pt x="230" y="168"/>
                  <a:pt x="230" y="168"/>
                </a:cubicBezTo>
                <a:cubicBezTo>
                  <a:pt x="231" y="168"/>
                  <a:pt x="231" y="168"/>
                  <a:pt x="231" y="168"/>
                </a:cubicBezTo>
                <a:cubicBezTo>
                  <a:pt x="231" y="169"/>
                  <a:pt x="231" y="169"/>
                  <a:pt x="231" y="169"/>
                </a:cubicBezTo>
                <a:cubicBezTo>
                  <a:pt x="232" y="169"/>
                  <a:pt x="232" y="169"/>
                  <a:pt x="232" y="169"/>
                </a:cubicBezTo>
                <a:cubicBezTo>
                  <a:pt x="233" y="168"/>
                  <a:pt x="233" y="168"/>
                  <a:pt x="233" y="168"/>
                </a:cubicBezTo>
                <a:cubicBezTo>
                  <a:pt x="233" y="167"/>
                  <a:pt x="233" y="167"/>
                  <a:pt x="233" y="167"/>
                </a:cubicBezTo>
                <a:cubicBezTo>
                  <a:pt x="233" y="166"/>
                  <a:pt x="233" y="166"/>
                  <a:pt x="233" y="166"/>
                </a:cubicBezTo>
                <a:cubicBezTo>
                  <a:pt x="232" y="165"/>
                  <a:pt x="232" y="165"/>
                  <a:pt x="232" y="165"/>
                </a:cubicBezTo>
                <a:cubicBezTo>
                  <a:pt x="232" y="166"/>
                  <a:pt x="232" y="166"/>
                  <a:pt x="232" y="166"/>
                </a:cubicBezTo>
                <a:cubicBezTo>
                  <a:pt x="232" y="167"/>
                  <a:pt x="232" y="167"/>
                  <a:pt x="232" y="167"/>
                </a:cubicBezTo>
                <a:cubicBezTo>
                  <a:pt x="231" y="166"/>
                  <a:pt x="231" y="166"/>
                  <a:pt x="231" y="166"/>
                </a:cubicBezTo>
                <a:cubicBezTo>
                  <a:pt x="231" y="165"/>
                  <a:pt x="231" y="165"/>
                  <a:pt x="231" y="165"/>
                </a:cubicBezTo>
                <a:cubicBezTo>
                  <a:pt x="231" y="164"/>
                  <a:pt x="231" y="164"/>
                  <a:pt x="231" y="164"/>
                </a:cubicBezTo>
                <a:cubicBezTo>
                  <a:pt x="230" y="163"/>
                  <a:pt x="230" y="163"/>
                  <a:pt x="230" y="163"/>
                </a:cubicBezTo>
                <a:cubicBezTo>
                  <a:pt x="230" y="163"/>
                  <a:pt x="230" y="163"/>
                  <a:pt x="230" y="163"/>
                </a:cubicBezTo>
                <a:cubicBezTo>
                  <a:pt x="231" y="163"/>
                  <a:pt x="231" y="163"/>
                  <a:pt x="231" y="163"/>
                </a:cubicBezTo>
                <a:cubicBezTo>
                  <a:pt x="231" y="162"/>
                  <a:pt x="231" y="162"/>
                  <a:pt x="231" y="162"/>
                </a:cubicBezTo>
                <a:cubicBezTo>
                  <a:pt x="230" y="161"/>
                  <a:pt x="230" y="161"/>
                  <a:pt x="230" y="161"/>
                </a:cubicBezTo>
                <a:cubicBezTo>
                  <a:pt x="229" y="162"/>
                  <a:pt x="229" y="162"/>
                  <a:pt x="229" y="162"/>
                </a:cubicBezTo>
                <a:cubicBezTo>
                  <a:pt x="228" y="162"/>
                  <a:pt x="228" y="162"/>
                  <a:pt x="228" y="162"/>
                </a:cubicBezTo>
                <a:cubicBezTo>
                  <a:pt x="228" y="162"/>
                  <a:pt x="228" y="162"/>
                  <a:pt x="228" y="162"/>
                </a:cubicBezTo>
                <a:cubicBezTo>
                  <a:pt x="227" y="162"/>
                  <a:pt x="227" y="162"/>
                  <a:pt x="227" y="162"/>
                </a:cubicBezTo>
                <a:close/>
                <a:moveTo>
                  <a:pt x="228" y="142"/>
                </a:moveTo>
                <a:cubicBezTo>
                  <a:pt x="227" y="143"/>
                  <a:pt x="227" y="143"/>
                  <a:pt x="227" y="143"/>
                </a:cubicBezTo>
                <a:cubicBezTo>
                  <a:pt x="228" y="144"/>
                  <a:pt x="228" y="144"/>
                  <a:pt x="228" y="144"/>
                </a:cubicBezTo>
                <a:cubicBezTo>
                  <a:pt x="228" y="144"/>
                  <a:pt x="228" y="144"/>
                  <a:pt x="228" y="144"/>
                </a:cubicBezTo>
                <a:cubicBezTo>
                  <a:pt x="228" y="145"/>
                  <a:pt x="228" y="145"/>
                  <a:pt x="228" y="145"/>
                </a:cubicBezTo>
                <a:cubicBezTo>
                  <a:pt x="228" y="146"/>
                  <a:pt x="228" y="146"/>
                  <a:pt x="228" y="146"/>
                </a:cubicBezTo>
                <a:cubicBezTo>
                  <a:pt x="228" y="147"/>
                  <a:pt x="228" y="147"/>
                  <a:pt x="228" y="147"/>
                </a:cubicBezTo>
                <a:cubicBezTo>
                  <a:pt x="229" y="149"/>
                  <a:pt x="229" y="149"/>
                  <a:pt x="229" y="149"/>
                </a:cubicBezTo>
                <a:cubicBezTo>
                  <a:pt x="229" y="151"/>
                  <a:pt x="229" y="151"/>
                  <a:pt x="229" y="151"/>
                </a:cubicBezTo>
                <a:cubicBezTo>
                  <a:pt x="228" y="152"/>
                  <a:pt x="228" y="152"/>
                  <a:pt x="228" y="152"/>
                </a:cubicBezTo>
                <a:cubicBezTo>
                  <a:pt x="228" y="153"/>
                  <a:pt x="228" y="153"/>
                  <a:pt x="228" y="153"/>
                </a:cubicBezTo>
                <a:cubicBezTo>
                  <a:pt x="229" y="154"/>
                  <a:pt x="229" y="154"/>
                  <a:pt x="229" y="154"/>
                </a:cubicBezTo>
                <a:cubicBezTo>
                  <a:pt x="229" y="153"/>
                  <a:pt x="229" y="153"/>
                  <a:pt x="229" y="153"/>
                </a:cubicBezTo>
                <a:cubicBezTo>
                  <a:pt x="229" y="152"/>
                  <a:pt x="229" y="152"/>
                  <a:pt x="229" y="152"/>
                </a:cubicBezTo>
                <a:cubicBezTo>
                  <a:pt x="230" y="151"/>
                  <a:pt x="230" y="151"/>
                  <a:pt x="230" y="151"/>
                </a:cubicBezTo>
                <a:cubicBezTo>
                  <a:pt x="230" y="149"/>
                  <a:pt x="230" y="149"/>
                  <a:pt x="230" y="149"/>
                </a:cubicBezTo>
                <a:cubicBezTo>
                  <a:pt x="229" y="148"/>
                  <a:pt x="229" y="148"/>
                  <a:pt x="229" y="148"/>
                </a:cubicBezTo>
                <a:cubicBezTo>
                  <a:pt x="229" y="145"/>
                  <a:pt x="229" y="145"/>
                  <a:pt x="229" y="145"/>
                </a:cubicBezTo>
                <a:cubicBezTo>
                  <a:pt x="229" y="144"/>
                  <a:pt x="229" y="144"/>
                  <a:pt x="229" y="144"/>
                </a:cubicBezTo>
                <a:cubicBezTo>
                  <a:pt x="229" y="143"/>
                  <a:pt x="229" y="143"/>
                  <a:pt x="229" y="143"/>
                </a:cubicBezTo>
                <a:cubicBezTo>
                  <a:pt x="228" y="142"/>
                  <a:pt x="228" y="142"/>
                  <a:pt x="228" y="142"/>
                </a:cubicBezTo>
                <a:close/>
                <a:moveTo>
                  <a:pt x="219" y="146"/>
                </a:moveTo>
                <a:cubicBezTo>
                  <a:pt x="219" y="146"/>
                  <a:pt x="219" y="146"/>
                  <a:pt x="219" y="146"/>
                </a:cubicBezTo>
                <a:cubicBezTo>
                  <a:pt x="219" y="147"/>
                  <a:pt x="219" y="147"/>
                  <a:pt x="219" y="147"/>
                </a:cubicBezTo>
                <a:cubicBezTo>
                  <a:pt x="220" y="147"/>
                  <a:pt x="220" y="147"/>
                  <a:pt x="220" y="147"/>
                </a:cubicBezTo>
                <a:cubicBezTo>
                  <a:pt x="221" y="146"/>
                  <a:pt x="221" y="146"/>
                  <a:pt x="221" y="146"/>
                </a:cubicBezTo>
                <a:cubicBezTo>
                  <a:pt x="221" y="145"/>
                  <a:pt x="221" y="145"/>
                  <a:pt x="221" y="145"/>
                </a:cubicBezTo>
                <a:cubicBezTo>
                  <a:pt x="219" y="145"/>
                  <a:pt x="219" y="145"/>
                  <a:pt x="219" y="145"/>
                </a:cubicBezTo>
                <a:cubicBezTo>
                  <a:pt x="219" y="146"/>
                  <a:pt x="219" y="146"/>
                  <a:pt x="219" y="146"/>
                </a:cubicBezTo>
                <a:close/>
                <a:moveTo>
                  <a:pt x="217" y="143"/>
                </a:moveTo>
                <a:cubicBezTo>
                  <a:pt x="218" y="144"/>
                  <a:pt x="218" y="144"/>
                  <a:pt x="218" y="144"/>
                </a:cubicBezTo>
                <a:cubicBezTo>
                  <a:pt x="219" y="144"/>
                  <a:pt x="219" y="144"/>
                  <a:pt x="219" y="144"/>
                </a:cubicBezTo>
                <a:cubicBezTo>
                  <a:pt x="218" y="143"/>
                  <a:pt x="218" y="143"/>
                  <a:pt x="218" y="143"/>
                </a:cubicBezTo>
                <a:cubicBezTo>
                  <a:pt x="218" y="143"/>
                  <a:pt x="218" y="143"/>
                  <a:pt x="218" y="143"/>
                </a:cubicBezTo>
                <a:cubicBezTo>
                  <a:pt x="217" y="143"/>
                  <a:pt x="217" y="143"/>
                  <a:pt x="217" y="143"/>
                </a:cubicBezTo>
                <a:close/>
                <a:moveTo>
                  <a:pt x="226" y="123"/>
                </a:moveTo>
                <a:cubicBezTo>
                  <a:pt x="227" y="124"/>
                  <a:pt x="227" y="124"/>
                  <a:pt x="227" y="124"/>
                </a:cubicBezTo>
                <a:cubicBezTo>
                  <a:pt x="227" y="125"/>
                  <a:pt x="227" y="125"/>
                  <a:pt x="227" y="125"/>
                </a:cubicBezTo>
                <a:cubicBezTo>
                  <a:pt x="228" y="125"/>
                  <a:pt x="228" y="125"/>
                  <a:pt x="228" y="125"/>
                </a:cubicBezTo>
                <a:cubicBezTo>
                  <a:pt x="228" y="124"/>
                  <a:pt x="228" y="124"/>
                  <a:pt x="228" y="124"/>
                </a:cubicBezTo>
                <a:cubicBezTo>
                  <a:pt x="227" y="124"/>
                  <a:pt x="227" y="124"/>
                  <a:pt x="227" y="124"/>
                </a:cubicBezTo>
                <a:cubicBezTo>
                  <a:pt x="226" y="123"/>
                  <a:pt x="226" y="123"/>
                  <a:pt x="226" y="123"/>
                </a:cubicBezTo>
                <a:cubicBezTo>
                  <a:pt x="226" y="122"/>
                  <a:pt x="226" y="122"/>
                  <a:pt x="226" y="122"/>
                </a:cubicBezTo>
                <a:cubicBezTo>
                  <a:pt x="226" y="123"/>
                  <a:pt x="226" y="123"/>
                  <a:pt x="226" y="123"/>
                </a:cubicBezTo>
                <a:close/>
                <a:moveTo>
                  <a:pt x="234" y="128"/>
                </a:moveTo>
                <a:cubicBezTo>
                  <a:pt x="234" y="128"/>
                  <a:pt x="234" y="128"/>
                  <a:pt x="234" y="128"/>
                </a:cubicBezTo>
                <a:cubicBezTo>
                  <a:pt x="235" y="128"/>
                  <a:pt x="235" y="128"/>
                  <a:pt x="235" y="128"/>
                </a:cubicBezTo>
                <a:cubicBezTo>
                  <a:pt x="235" y="128"/>
                  <a:pt x="235" y="128"/>
                  <a:pt x="235" y="128"/>
                </a:cubicBezTo>
                <a:cubicBezTo>
                  <a:pt x="235" y="127"/>
                  <a:pt x="235" y="127"/>
                  <a:pt x="235" y="127"/>
                </a:cubicBezTo>
                <a:cubicBezTo>
                  <a:pt x="235" y="126"/>
                  <a:pt x="235" y="126"/>
                  <a:pt x="235" y="126"/>
                </a:cubicBezTo>
                <a:cubicBezTo>
                  <a:pt x="236" y="125"/>
                  <a:pt x="236" y="125"/>
                  <a:pt x="236" y="125"/>
                </a:cubicBezTo>
                <a:cubicBezTo>
                  <a:pt x="236" y="124"/>
                  <a:pt x="236" y="124"/>
                  <a:pt x="236" y="124"/>
                </a:cubicBezTo>
                <a:cubicBezTo>
                  <a:pt x="234" y="125"/>
                  <a:pt x="234" y="125"/>
                  <a:pt x="234" y="125"/>
                </a:cubicBezTo>
                <a:cubicBezTo>
                  <a:pt x="234" y="127"/>
                  <a:pt x="234" y="127"/>
                  <a:pt x="234" y="127"/>
                </a:cubicBezTo>
                <a:cubicBezTo>
                  <a:pt x="234" y="128"/>
                  <a:pt x="234" y="128"/>
                  <a:pt x="234" y="128"/>
                </a:cubicBezTo>
                <a:close/>
                <a:moveTo>
                  <a:pt x="230" y="120"/>
                </a:moveTo>
                <a:cubicBezTo>
                  <a:pt x="230" y="121"/>
                  <a:pt x="230" y="121"/>
                  <a:pt x="230" y="121"/>
                </a:cubicBezTo>
                <a:cubicBezTo>
                  <a:pt x="231" y="120"/>
                  <a:pt x="231" y="120"/>
                  <a:pt x="231" y="120"/>
                </a:cubicBezTo>
                <a:cubicBezTo>
                  <a:pt x="231" y="119"/>
                  <a:pt x="231" y="119"/>
                  <a:pt x="231" y="119"/>
                </a:cubicBezTo>
                <a:cubicBezTo>
                  <a:pt x="231" y="118"/>
                  <a:pt x="231" y="118"/>
                  <a:pt x="231" y="118"/>
                </a:cubicBezTo>
                <a:cubicBezTo>
                  <a:pt x="231" y="119"/>
                  <a:pt x="231" y="119"/>
                  <a:pt x="231" y="119"/>
                </a:cubicBezTo>
                <a:cubicBezTo>
                  <a:pt x="230" y="120"/>
                  <a:pt x="230" y="120"/>
                  <a:pt x="230" y="120"/>
                </a:cubicBezTo>
                <a:close/>
                <a:moveTo>
                  <a:pt x="231" y="116"/>
                </a:moveTo>
                <a:cubicBezTo>
                  <a:pt x="230" y="116"/>
                  <a:pt x="230" y="116"/>
                  <a:pt x="230" y="116"/>
                </a:cubicBezTo>
                <a:cubicBezTo>
                  <a:pt x="231" y="117"/>
                  <a:pt x="231" y="117"/>
                  <a:pt x="231" y="117"/>
                </a:cubicBezTo>
                <a:cubicBezTo>
                  <a:pt x="231" y="116"/>
                  <a:pt x="231" y="116"/>
                  <a:pt x="231" y="116"/>
                </a:cubicBezTo>
                <a:cubicBezTo>
                  <a:pt x="231" y="116"/>
                  <a:pt x="231" y="116"/>
                  <a:pt x="231" y="116"/>
                </a:cubicBezTo>
                <a:cubicBezTo>
                  <a:pt x="231" y="116"/>
                  <a:pt x="231" y="116"/>
                  <a:pt x="231" y="116"/>
                </a:cubicBezTo>
                <a:close/>
                <a:moveTo>
                  <a:pt x="236" y="102"/>
                </a:moveTo>
                <a:cubicBezTo>
                  <a:pt x="237" y="104"/>
                  <a:pt x="237" y="104"/>
                  <a:pt x="237" y="104"/>
                </a:cubicBezTo>
                <a:cubicBezTo>
                  <a:pt x="237" y="104"/>
                  <a:pt x="237" y="104"/>
                  <a:pt x="237" y="104"/>
                </a:cubicBezTo>
                <a:cubicBezTo>
                  <a:pt x="238" y="103"/>
                  <a:pt x="238" y="103"/>
                  <a:pt x="238" y="103"/>
                </a:cubicBezTo>
                <a:cubicBezTo>
                  <a:pt x="238" y="102"/>
                  <a:pt x="238" y="102"/>
                  <a:pt x="238" y="102"/>
                </a:cubicBezTo>
                <a:cubicBezTo>
                  <a:pt x="238" y="100"/>
                  <a:pt x="238" y="100"/>
                  <a:pt x="238" y="100"/>
                </a:cubicBezTo>
                <a:cubicBezTo>
                  <a:pt x="239" y="99"/>
                  <a:pt x="239" y="99"/>
                  <a:pt x="239" y="99"/>
                </a:cubicBezTo>
                <a:cubicBezTo>
                  <a:pt x="238" y="99"/>
                  <a:pt x="238" y="99"/>
                  <a:pt x="238" y="99"/>
                </a:cubicBezTo>
                <a:cubicBezTo>
                  <a:pt x="237" y="100"/>
                  <a:pt x="237" y="100"/>
                  <a:pt x="237" y="100"/>
                </a:cubicBezTo>
                <a:cubicBezTo>
                  <a:pt x="237" y="101"/>
                  <a:pt x="237" y="101"/>
                  <a:pt x="237" y="101"/>
                </a:cubicBezTo>
                <a:cubicBezTo>
                  <a:pt x="236" y="102"/>
                  <a:pt x="236" y="102"/>
                  <a:pt x="236" y="102"/>
                </a:cubicBezTo>
                <a:close/>
                <a:moveTo>
                  <a:pt x="233" y="84"/>
                </a:moveTo>
                <a:cubicBezTo>
                  <a:pt x="233" y="84"/>
                  <a:pt x="233" y="84"/>
                  <a:pt x="233" y="84"/>
                </a:cubicBezTo>
                <a:cubicBezTo>
                  <a:pt x="233" y="84"/>
                  <a:pt x="233" y="84"/>
                  <a:pt x="233" y="84"/>
                </a:cubicBezTo>
                <a:cubicBezTo>
                  <a:pt x="235" y="84"/>
                  <a:pt x="235" y="84"/>
                  <a:pt x="235" y="84"/>
                </a:cubicBezTo>
                <a:cubicBezTo>
                  <a:pt x="236" y="83"/>
                  <a:pt x="236" y="83"/>
                  <a:pt x="236" y="83"/>
                </a:cubicBezTo>
                <a:cubicBezTo>
                  <a:pt x="236" y="81"/>
                  <a:pt x="236" y="81"/>
                  <a:pt x="236" y="81"/>
                </a:cubicBezTo>
                <a:cubicBezTo>
                  <a:pt x="235" y="80"/>
                  <a:pt x="235" y="80"/>
                  <a:pt x="235" y="80"/>
                </a:cubicBezTo>
                <a:cubicBezTo>
                  <a:pt x="233" y="81"/>
                  <a:pt x="233" y="81"/>
                  <a:pt x="233" y="81"/>
                </a:cubicBezTo>
                <a:cubicBezTo>
                  <a:pt x="232" y="83"/>
                  <a:pt x="232" y="83"/>
                  <a:pt x="232" y="83"/>
                </a:cubicBezTo>
                <a:cubicBezTo>
                  <a:pt x="233" y="84"/>
                  <a:pt x="233" y="84"/>
                  <a:pt x="233" y="84"/>
                </a:cubicBezTo>
                <a:close/>
                <a:moveTo>
                  <a:pt x="245" y="49"/>
                </a:moveTo>
                <a:cubicBezTo>
                  <a:pt x="246" y="49"/>
                  <a:pt x="246" y="49"/>
                  <a:pt x="246" y="49"/>
                </a:cubicBezTo>
                <a:cubicBezTo>
                  <a:pt x="246" y="48"/>
                  <a:pt x="246" y="48"/>
                  <a:pt x="246" y="48"/>
                </a:cubicBezTo>
                <a:cubicBezTo>
                  <a:pt x="246" y="46"/>
                  <a:pt x="246" y="46"/>
                  <a:pt x="246" y="46"/>
                </a:cubicBezTo>
                <a:cubicBezTo>
                  <a:pt x="246" y="45"/>
                  <a:pt x="246" y="45"/>
                  <a:pt x="246" y="45"/>
                </a:cubicBezTo>
                <a:cubicBezTo>
                  <a:pt x="246" y="44"/>
                  <a:pt x="246" y="44"/>
                  <a:pt x="246" y="44"/>
                </a:cubicBezTo>
                <a:cubicBezTo>
                  <a:pt x="245" y="44"/>
                  <a:pt x="245" y="44"/>
                  <a:pt x="245" y="44"/>
                </a:cubicBezTo>
                <a:cubicBezTo>
                  <a:pt x="245" y="45"/>
                  <a:pt x="245" y="45"/>
                  <a:pt x="245" y="45"/>
                </a:cubicBezTo>
                <a:cubicBezTo>
                  <a:pt x="245" y="45"/>
                  <a:pt x="245" y="45"/>
                  <a:pt x="245" y="45"/>
                </a:cubicBezTo>
                <a:cubicBezTo>
                  <a:pt x="245" y="46"/>
                  <a:pt x="245" y="46"/>
                  <a:pt x="245" y="46"/>
                </a:cubicBezTo>
                <a:cubicBezTo>
                  <a:pt x="245" y="48"/>
                  <a:pt x="245" y="48"/>
                  <a:pt x="245" y="48"/>
                </a:cubicBezTo>
                <a:cubicBezTo>
                  <a:pt x="245" y="49"/>
                  <a:pt x="245" y="49"/>
                  <a:pt x="245" y="49"/>
                </a:cubicBezTo>
                <a:close/>
                <a:moveTo>
                  <a:pt x="242" y="53"/>
                </a:moveTo>
                <a:cubicBezTo>
                  <a:pt x="242" y="53"/>
                  <a:pt x="242" y="54"/>
                  <a:pt x="242" y="54"/>
                </a:cubicBezTo>
                <a:cubicBezTo>
                  <a:pt x="242" y="53"/>
                  <a:pt x="242" y="53"/>
                  <a:pt x="242" y="53"/>
                </a:cubicBezTo>
                <a:cubicBezTo>
                  <a:pt x="243" y="51"/>
                  <a:pt x="243" y="51"/>
                  <a:pt x="243" y="51"/>
                </a:cubicBezTo>
                <a:cubicBezTo>
                  <a:pt x="242" y="50"/>
                  <a:pt x="242" y="50"/>
                  <a:pt x="242" y="50"/>
                </a:cubicBezTo>
                <a:cubicBezTo>
                  <a:pt x="241" y="51"/>
                  <a:pt x="241" y="51"/>
                  <a:pt x="241" y="51"/>
                </a:cubicBezTo>
                <a:cubicBezTo>
                  <a:pt x="241" y="52"/>
                  <a:pt x="241" y="52"/>
                  <a:pt x="241" y="52"/>
                </a:cubicBezTo>
                <a:cubicBezTo>
                  <a:pt x="242" y="53"/>
                  <a:pt x="242" y="53"/>
                  <a:pt x="242" y="53"/>
                </a:cubicBezTo>
                <a:close/>
                <a:moveTo>
                  <a:pt x="239" y="50"/>
                </a:moveTo>
                <a:cubicBezTo>
                  <a:pt x="240" y="50"/>
                  <a:pt x="240" y="50"/>
                  <a:pt x="240" y="50"/>
                </a:cubicBezTo>
                <a:cubicBezTo>
                  <a:pt x="241" y="49"/>
                  <a:pt x="241" y="49"/>
                  <a:pt x="241" y="49"/>
                </a:cubicBezTo>
                <a:cubicBezTo>
                  <a:pt x="241" y="48"/>
                  <a:pt x="241" y="48"/>
                  <a:pt x="241" y="48"/>
                </a:cubicBezTo>
                <a:cubicBezTo>
                  <a:pt x="241" y="48"/>
                  <a:pt x="241" y="48"/>
                  <a:pt x="241" y="48"/>
                </a:cubicBezTo>
                <a:cubicBezTo>
                  <a:pt x="241" y="46"/>
                  <a:pt x="241" y="46"/>
                  <a:pt x="241" y="46"/>
                </a:cubicBezTo>
                <a:cubicBezTo>
                  <a:pt x="241" y="46"/>
                  <a:pt x="241" y="46"/>
                  <a:pt x="241" y="46"/>
                </a:cubicBezTo>
                <a:cubicBezTo>
                  <a:pt x="240" y="46"/>
                  <a:pt x="240" y="46"/>
                  <a:pt x="240" y="46"/>
                </a:cubicBezTo>
                <a:cubicBezTo>
                  <a:pt x="239" y="47"/>
                  <a:pt x="239" y="47"/>
                  <a:pt x="239" y="47"/>
                </a:cubicBezTo>
                <a:cubicBezTo>
                  <a:pt x="240" y="48"/>
                  <a:pt x="240" y="48"/>
                  <a:pt x="240" y="48"/>
                </a:cubicBezTo>
                <a:cubicBezTo>
                  <a:pt x="239" y="50"/>
                  <a:pt x="239" y="50"/>
                  <a:pt x="239" y="50"/>
                </a:cubicBezTo>
                <a:close/>
                <a:moveTo>
                  <a:pt x="174" y="4"/>
                </a:moveTo>
                <a:cubicBezTo>
                  <a:pt x="174" y="4"/>
                  <a:pt x="174" y="4"/>
                  <a:pt x="174" y="4"/>
                </a:cubicBezTo>
                <a:cubicBezTo>
                  <a:pt x="174" y="3"/>
                  <a:pt x="174" y="3"/>
                  <a:pt x="174" y="3"/>
                </a:cubicBezTo>
                <a:cubicBezTo>
                  <a:pt x="175" y="2"/>
                  <a:pt x="175" y="2"/>
                  <a:pt x="175" y="2"/>
                </a:cubicBezTo>
                <a:cubicBezTo>
                  <a:pt x="174" y="1"/>
                  <a:pt x="174" y="1"/>
                  <a:pt x="174" y="1"/>
                </a:cubicBezTo>
                <a:cubicBezTo>
                  <a:pt x="173" y="1"/>
                  <a:pt x="173" y="1"/>
                  <a:pt x="173" y="1"/>
                </a:cubicBezTo>
                <a:cubicBezTo>
                  <a:pt x="173" y="3"/>
                  <a:pt x="173" y="3"/>
                  <a:pt x="173" y="3"/>
                </a:cubicBezTo>
                <a:cubicBezTo>
                  <a:pt x="174" y="4"/>
                  <a:pt x="174" y="4"/>
                  <a:pt x="174" y="4"/>
                </a:cubicBezTo>
                <a:close/>
                <a:moveTo>
                  <a:pt x="174" y="6"/>
                </a:moveTo>
                <a:cubicBezTo>
                  <a:pt x="174" y="6"/>
                  <a:pt x="174" y="6"/>
                  <a:pt x="174" y="6"/>
                </a:cubicBezTo>
                <a:cubicBezTo>
                  <a:pt x="175" y="6"/>
                  <a:pt x="175" y="6"/>
                  <a:pt x="175" y="6"/>
                </a:cubicBezTo>
                <a:cubicBezTo>
                  <a:pt x="175" y="5"/>
                  <a:pt x="175" y="5"/>
                  <a:pt x="175" y="5"/>
                </a:cubicBezTo>
                <a:cubicBezTo>
                  <a:pt x="175" y="4"/>
                  <a:pt x="175" y="4"/>
                  <a:pt x="175" y="4"/>
                </a:cubicBezTo>
                <a:cubicBezTo>
                  <a:pt x="175" y="4"/>
                  <a:pt x="175" y="4"/>
                  <a:pt x="175" y="4"/>
                </a:cubicBezTo>
                <a:cubicBezTo>
                  <a:pt x="174" y="5"/>
                  <a:pt x="174" y="5"/>
                  <a:pt x="174" y="5"/>
                </a:cubicBezTo>
                <a:cubicBezTo>
                  <a:pt x="174" y="6"/>
                  <a:pt x="174" y="6"/>
                  <a:pt x="174" y="6"/>
                </a:cubicBezTo>
                <a:close/>
                <a:moveTo>
                  <a:pt x="168" y="6"/>
                </a:moveTo>
                <a:cubicBezTo>
                  <a:pt x="169" y="7"/>
                  <a:pt x="169" y="7"/>
                  <a:pt x="169" y="7"/>
                </a:cubicBezTo>
                <a:cubicBezTo>
                  <a:pt x="170" y="8"/>
                  <a:pt x="170" y="8"/>
                  <a:pt x="170" y="8"/>
                </a:cubicBezTo>
                <a:cubicBezTo>
                  <a:pt x="170" y="8"/>
                  <a:pt x="170" y="8"/>
                  <a:pt x="170" y="8"/>
                </a:cubicBezTo>
                <a:cubicBezTo>
                  <a:pt x="171" y="7"/>
                  <a:pt x="171" y="7"/>
                  <a:pt x="171" y="7"/>
                </a:cubicBezTo>
                <a:cubicBezTo>
                  <a:pt x="172" y="7"/>
                  <a:pt x="172" y="7"/>
                  <a:pt x="172" y="7"/>
                </a:cubicBezTo>
                <a:cubicBezTo>
                  <a:pt x="170" y="5"/>
                  <a:pt x="170" y="5"/>
                  <a:pt x="170" y="5"/>
                </a:cubicBezTo>
                <a:cubicBezTo>
                  <a:pt x="170" y="4"/>
                  <a:pt x="170" y="4"/>
                  <a:pt x="170" y="4"/>
                </a:cubicBezTo>
                <a:cubicBezTo>
                  <a:pt x="169" y="4"/>
                  <a:pt x="169" y="4"/>
                  <a:pt x="169" y="4"/>
                </a:cubicBezTo>
                <a:cubicBezTo>
                  <a:pt x="169" y="4"/>
                  <a:pt x="169" y="4"/>
                  <a:pt x="169" y="4"/>
                </a:cubicBezTo>
                <a:cubicBezTo>
                  <a:pt x="169" y="5"/>
                  <a:pt x="169" y="5"/>
                  <a:pt x="169" y="5"/>
                </a:cubicBezTo>
                <a:cubicBezTo>
                  <a:pt x="168" y="5"/>
                  <a:pt x="168" y="5"/>
                  <a:pt x="168" y="5"/>
                </a:cubicBezTo>
                <a:cubicBezTo>
                  <a:pt x="168" y="6"/>
                  <a:pt x="168" y="6"/>
                  <a:pt x="168" y="6"/>
                </a:cubicBezTo>
                <a:close/>
                <a:moveTo>
                  <a:pt x="165" y="7"/>
                </a:moveTo>
                <a:cubicBezTo>
                  <a:pt x="165" y="8"/>
                  <a:pt x="165" y="8"/>
                  <a:pt x="165" y="8"/>
                </a:cubicBezTo>
                <a:cubicBezTo>
                  <a:pt x="166" y="8"/>
                  <a:pt x="166" y="8"/>
                  <a:pt x="166" y="8"/>
                </a:cubicBezTo>
                <a:cubicBezTo>
                  <a:pt x="166" y="8"/>
                  <a:pt x="166" y="8"/>
                  <a:pt x="166" y="8"/>
                </a:cubicBezTo>
                <a:cubicBezTo>
                  <a:pt x="166" y="8"/>
                  <a:pt x="166" y="8"/>
                  <a:pt x="166" y="8"/>
                </a:cubicBezTo>
                <a:cubicBezTo>
                  <a:pt x="165" y="7"/>
                  <a:pt x="165" y="7"/>
                  <a:pt x="165" y="7"/>
                </a:cubicBezTo>
                <a:cubicBezTo>
                  <a:pt x="165" y="7"/>
                  <a:pt x="165" y="7"/>
                  <a:pt x="165" y="7"/>
                </a:cubicBezTo>
                <a:close/>
                <a:moveTo>
                  <a:pt x="146" y="12"/>
                </a:moveTo>
                <a:cubicBezTo>
                  <a:pt x="147" y="13"/>
                  <a:pt x="147" y="13"/>
                  <a:pt x="147" y="13"/>
                </a:cubicBezTo>
                <a:cubicBezTo>
                  <a:pt x="148" y="14"/>
                  <a:pt x="148" y="14"/>
                  <a:pt x="148" y="14"/>
                </a:cubicBezTo>
                <a:cubicBezTo>
                  <a:pt x="149" y="15"/>
                  <a:pt x="149" y="15"/>
                  <a:pt x="149" y="15"/>
                </a:cubicBezTo>
                <a:cubicBezTo>
                  <a:pt x="150" y="16"/>
                  <a:pt x="150" y="16"/>
                  <a:pt x="150" y="16"/>
                </a:cubicBezTo>
                <a:cubicBezTo>
                  <a:pt x="151" y="14"/>
                  <a:pt x="151" y="14"/>
                  <a:pt x="151" y="14"/>
                </a:cubicBezTo>
                <a:cubicBezTo>
                  <a:pt x="151" y="13"/>
                  <a:pt x="151" y="13"/>
                  <a:pt x="151" y="13"/>
                </a:cubicBezTo>
                <a:cubicBezTo>
                  <a:pt x="151" y="13"/>
                  <a:pt x="151" y="13"/>
                  <a:pt x="151" y="13"/>
                </a:cubicBezTo>
                <a:cubicBezTo>
                  <a:pt x="151" y="12"/>
                  <a:pt x="151" y="12"/>
                  <a:pt x="151" y="12"/>
                </a:cubicBezTo>
                <a:cubicBezTo>
                  <a:pt x="150" y="12"/>
                  <a:pt x="150" y="12"/>
                  <a:pt x="150" y="12"/>
                </a:cubicBezTo>
                <a:cubicBezTo>
                  <a:pt x="149" y="10"/>
                  <a:pt x="149" y="10"/>
                  <a:pt x="149" y="10"/>
                </a:cubicBezTo>
                <a:cubicBezTo>
                  <a:pt x="148" y="10"/>
                  <a:pt x="148" y="10"/>
                  <a:pt x="148" y="10"/>
                </a:cubicBezTo>
                <a:cubicBezTo>
                  <a:pt x="148" y="11"/>
                  <a:pt x="148" y="11"/>
                  <a:pt x="148" y="11"/>
                </a:cubicBezTo>
                <a:cubicBezTo>
                  <a:pt x="148" y="12"/>
                  <a:pt x="148" y="12"/>
                  <a:pt x="148" y="12"/>
                </a:cubicBezTo>
                <a:cubicBezTo>
                  <a:pt x="148" y="12"/>
                  <a:pt x="148" y="12"/>
                  <a:pt x="148" y="12"/>
                </a:cubicBezTo>
                <a:cubicBezTo>
                  <a:pt x="148" y="13"/>
                  <a:pt x="148" y="13"/>
                  <a:pt x="148" y="13"/>
                </a:cubicBezTo>
                <a:cubicBezTo>
                  <a:pt x="147" y="12"/>
                  <a:pt x="147" y="12"/>
                  <a:pt x="147" y="12"/>
                </a:cubicBezTo>
                <a:cubicBezTo>
                  <a:pt x="146" y="12"/>
                  <a:pt x="146" y="12"/>
                  <a:pt x="146" y="12"/>
                </a:cubicBezTo>
                <a:close/>
                <a:moveTo>
                  <a:pt x="145" y="13"/>
                </a:moveTo>
                <a:cubicBezTo>
                  <a:pt x="146" y="15"/>
                  <a:pt x="146" y="15"/>
                  <a:pt x="146" y="15"/>
                </a:cubicBezTo>
                <a:cubicBezTo>
                  <a:pt x="147" y="15"/>
                  <a:pt x="147" y="15"/>
                  <a:pt x="147" y="15"/>
                </a:cubicBezTo>
                <a:cubicBezTo>
                  <a:pt x="147" y="14"/>
                  <a:pt x="147" y="14"/>
                  <a:pt x="147" y="14"/>
                </a:cubicBezTo>
                <a:cubicBezTo>
                  <a:pt x="146" y="13"/>
                  <a:pt x="146" y="13"/>
                  <a:pt x="146" y="13"/>
                </a:cubicBezTo>
                <a:cubicBezTo>
                  <a:pt x="145" y="13"/>
                  <a:pt x="145" y="13"/>
                  <a:pt x="145" y="13"/>
                </a:cubicBezTo>
                <a:close/>
                <a:moveTo>
                  <a:pt x="139" y="13"/>
                </a:moveTo>
                <a:cubicBezTo>
                  <a:pt x="139" y="14"/>
                  <a:pt x="139" y="14"/>
                  <a:pt x="139" y="14"/>
                </a:cubicBezTo>
                <a:cubicBezTo>
                  <a:pt x="141" y="14"/>
                  <a:pt x="141" y="14"/>
                  <a:pt x="141" y="14"/>
                </a:cubicBezTo>
                <a:cubicBezTo>
                  <a:pt x="141" y="15"/>
                  <a:pt x="141" y="15"/>
                  <a:pt x="141" y="15"/>
                </a:cubicBezTo>
                <a:cubicBezTo>
                  <a:pt x="142" y="15"/>
                  <a:pt x="142" y="15"/>
                  <a:pt x="142" y="15"/>
                </a:cubicBezTo>
                <a:cubicBezTo>
                  <a:pt x="142" y="14"/>
                  <a:pt x="142" y="14"/>
                  <a:pt x="142" y="14"/>
                </a:cubicBezTo>
                <a:cubicBezTo>
                  <a:pt x="142" y="13"/>
                  <a:pt x="142" y="13"/>
                  <a:pt x="142" y="13"/>
                </a:cubicBezTo>
                <a:cubicBezTo>
                  <a:pt x="141" y="13"/>
                  <a:pt x="141" y="13"/>
                  <a:pt x="141" y="13"/>
                </a:cubicBezTo>
                <a:cubicBezTo>
                  <a:pt x="141" y="12"/>
                  <a:pt x="141" y="12"/>
                  <a:pt x="141" y="12"/>
                </a:cubicBezTo>
                <a:cubicBezTo>
                  <a:pt x="140" y="12"/>
                  <a:pt x="140" y="12"/>
                  <a:pt x="140" y="12"/>
                </a:cubicBezTo>
                <a:cubicBezTo>
                  <a:pt x="139" y="12"/>
                  <a:pt x="139" y="12"/>
                  <a:pt x="139" y="12"/>
                </a:cubicBezTo>
                <a:cubicBezTo>
                  <a:pt x="139" y="13"/>
                  <a:pt x="139" y="13"/>
                  <a:pt x="139" y="13"/>
                </a:cubicBezTo>
                <a:close/>
                <a:moveTo>
                  <a:pt x="135" y="25"/>
                </a:moveTo>
                <a:cubicBezTo>
                  <a:pt x="136" y="25"/>
                  <a:pt x="136" y="25"/>
                  <a:pt x="136" y="25"/>
                </a:cubicBezTo>
                <a:cubicBezTo>
                  <a:pt x="137" y="25"/>
                  <a:pt x="137" y="25"/>
                  <a:pt x="137" y="25"/>
                </a:cubicBezTo>
                <a:cubicBezTo>
                  <a:pt x="137" y="24"/>
                  <a:pt x="137" y="24"/>
                  <a:pt x="137" y="24"/>
                </a:cubicBezTo>
                <a:cubicBezTo>
                  <a:pt x="136" y="23"/>
                  <a:pt x="136" y="23"/>
                  <a:pt x="136" y="23"/>
                </a:cubicBezTo>
                <a:cubicBezTo>
                  <a:pt x="136" y="21"/>
                  <a:pt x="136" y="21"/>
                  <a:pt x="136" y="21"/>
                </a:cubicBezTo>
                <a:cubicBezTo>
                  <a:pt x="135" y="20"/>
                  <a:pt x="135" y="20"/>
                  <a:pt x="135" y="20"/>
                </a:cubicBezTo>
                <a:cubicBezTo>
                  <a:pt x="134" y="20"/>
                  <a:pt x="134" y="20"/>
                  <a:pt x="134" y="20"/>
                </a:cubicBezTo>
                <a:cubicBezTo>
                  <a:pt x="134" y="21"/>
                  <a:pt x="134" y="21"/>
                  <a:pt x="134" y="21"/>
                </a:cubicBezTo>
                <a:cubicBezTo>
                  <a:pt x="135" y="22"/>
                  <a:pt x="135" y="22"/>
                  <a:pt x="135" y="22"/>
                </a:cubicBezTo>
                <a:cubicBezTo>
                  <a:pt x="135" y="24"/>
                  <a:pt x="135" y="24"/>
                  <a:pt x="135" y="24"/>
                </a:cubicBezTo>
                <a:cubicBezTo>
                  <a:pt x="135" y="25"/>
                  <a:pt x="135" y="25"/>
                  <a:pt x="135" y="25"/>
                </a:cubicBezTo>
                <a:close/>
                <a:moveTo>
                  <a:pt x="137" y="37"/>
                </a:moveTo>
                <a:cubicBezTo>
                  <a:pt x="139" y="37"/>
                  <a:pt x="139" y="37"/>
                  <a:pt x="139" y="37"/>
                </a:cubicBezTo>
                <a:cubicBezTo>
                  <a:pt x="139" y="36"/>
                  <a:pt x="139" y="36"/>
                  <a:pt x="139" y="36"/>
                </a:cubicBezTo>
                <a:cubicBezTo>
                  <a:pt x="139" y="35"/>
                  <a:pt x="139" y="35"/>
                  <a:pt x="139" y="35"/>
                </a:cubicBezTo>
                <a:cubicBezTo>
                  <a:pt x="138" y="34"/>
                  <a:pt x="138" y="34"/>
                  <a:pt x="138" y="34"/>
                </a:cubicBezTo>
                <a:cubicBezTo>
                  <a:pt x="138" y="33"/>
                  <a:pt x="138" y="33"/>
                  <a:pt x="138" y="33"/>
                </a:cubicBezTo>
                <a:cubicBezTo>
                  <a:pt x="138" y="33"/>
                  <a:pt x="138" y="33"/>
                  <a:pt x="138" y="33"/>
                </a:cubicBezTo>
                <a:cubicBezTo>
                  <a:pt x="136" y="33"/>
                  <a:pt x="136" y="33"/>
                  <a:pt x="136" y="33"/>
                </a:cubicBezTo>
                <a:cubicBezTo>
                  <a:pt x="136" y="34"/>
                  <a:pt x="136" y="34"/>
                  <a:pt x="136" y="34"/>
                </a:cubicBezTo>
                <a:cubicBezTo>
                  <a:pt x="136" y="35"/>
                  <a:pt x="136" y="35"/>
                  <a:pt x="136" y="35"/>
                </a:cubicBezTo>
                <a:cubicBezTo>
                  <a:pt x="137" y="36"/>
                  <a:pt x="137" y="36"/>
                  <a:pt x="137" y="36"/>
                </a:cubicBezTo>
                <a:cubicBezTo>
                  <a:pt x="137" y="37"/>
                  <a:pt x="137" y="37"/>
                  <a:pt x="137" y="37"/>
                </a:cubicBezTo>
                <a:close/>
                <a:moveTo>
                  <a:pt x="137" y="38"/>
                </a:moveTo>
                <a:cubicBezTo>
                  <a:pt x="137" y="39"/>
                  <a:pt x="137" y="39"/>
                  <a:pt x="137" y="39"/>
                </a:cubicBezTo>
                <a:cubicBezTo>
                  <a:pt x="137" y="40"/>
                  <a:pt x="137" y="40"/>
                  <a:pt x="137" y="40"/>
                </a:cubicBezTo>
                <a:cubicBezTo>
                  <a:pt x="137" y="41"/>
                  <a:pt x="137" y="41"/>
                  <a:pt x="137" y="41"/>
                </a:cubicBezTo>
                <a:cubicBezTo>
                  <a:pt x="139" y="43"/>
                  <a:pt x="139" y="43"/>
                  <a:pt x="139" y="43"/>
                </a:cubicBezTo>
                <a:cubicBezTo>
                  <a:pt x="140" y="42"/>
                  <a:pt x="140" y="42"/>
                  <a:pt x="140" y="42"/>
                </a:cubicBezTo>
                <a:cubicBezTo>
                  <a:pt x="139" y="39"/>
                  <a:pt x="139" y="39"/>
                  <a:pt x="139" y="39"/>
                </a:cubicBezTo>
                <a:cubicBezTo>
                  <a:pt x="139" y="38"/>
                  <a:pt x="139" y="38"/>
                  <a:pt x="139" y="38"/>
                </a:cubicBezTo>
                <a:cubicBezTo>
                  <a:pt x="138" y="38"/>
                  <a:pt x="138" y="38"/>
                  <a:pt x="138" y="38"/>
                </a:cubicBezTo>
                <a:cubicBezTo>
                  <a:pt x="137" y="38"/>
                  <a:pt x="137" y="38"/>
                  <a:pt x="137" y="38"/>
                </a:cubicBezTo>
                <a:close/>
                <a:moveTo>
                  <a:pt x="120" y="26"/>
                </a:moveTo>
                <a:cubicBezTo>
                  <a:pt x="120" y="26"/>
                  <a:pt x="120" y="26"/>
                  <a:pt x="120" y="26"/>
                </a:cubicBezTo>
                <a:cubicBezTo>
                  <a:pt x="120" y="25"/>
                  <a:pt x="120" y="25"/>
                  <a:pt x="120" y="25"/>
                </a:cubicBezTo>
                <a:cubicBezTo>
                  <a:pt x="120" y="24"/>
                  <a:pt x="120" y="24"/>
                  <a:pt x="120" y="24"/>
                </a:cubicBezTo>
                <a:cubicBezTo>
                  <a:pt x="119" y="24"/>
                  <a:pt x="119" y="24"/>
                  <a:pt x="119" y="24"/>
                </a:cubicBezTo>
                <a:cubicBezTo>
                  <a:pt x="119" y="24"/>
                  <a:pt x="119" y="24"/>
                  <a:pt x="119" y="24"/>
                </a:cubicBezTo>
                <a:cubicBezTo>
                  <a:pt x="119" y="25"/>
                  <a:pt x="119" y="25"/>
                  <a:pt x="119" y="25"/>
                </a:cubicBezTo>
                <a:cubicBezTo>
                  <a:pt x="120" y="26"/>
                  <a:pt x="120" y="26"/>
                  <a:pt x="120" y="26"/>
                </a:cubicBezTo>
                <a:close/>
                <a:moveTo>
                  <a:pt x="117" y="34"/>
                </a:moveTo>
                <a:cubicBezTo>
                  <a:pt x="118" y="34"/>
                  <a:pt x="118" y="34"/>
                  <a:pt x="118" y="34"/>
                </a:cubicBezTo>
                <a:cubicBezTo>
                  <a:pt x="118" y="33"/>
                  <a:pt x="118" y="33"/>
                  <a:pt x="118" y="33"/>
                </a:cubicBezTo>
                <a:cubicBezTo>
                  <a:pt x="118" y="32"/>
                  <a:pt x="118" y="32"/>
                  <a:pt x="118" y="32"/>
                </a:cubicBezTo>
                <a:cubicBezTo>
                  <a:pt x="116" y="30"/>
                  <a:pt x="116" y="30"/>
                  <a:pt x="116" y="30"/>
                </a:cubicBezTo>
                <a:cubicBezTo>
                  <a:pt x="116" y="28"/>
                  <a:pt x="116" y="28"/>
                  <a:pt x="116" y="28"/>
                </a:cubicBezTo>
                <a:cubicBezTo>
                  <a:pt x="117" y="26"/>
                  <a:pt x="117" y="26"/>
                  <a:pt x="117" y="26"/>
                </a:cubicBezTo>
                <a:cubicBezTo>
                  <a:pt x="117" y="24"/>
                  <a:pt x="117" y="24"/>
                  <a:pt x="117" y="24"/>
                </a:cubicBezTo>
                <a:cubicBezTo>
                  <a:pt x="117" y="23"/>
                  <a:pt x="117" y="23"/>
                  <a:pt x="117" y="23"/>
                </a:cubicBezTo>
                <a:cubicBezTo>
                  <a:pt x="117" y="21"/>
                  <a:pt x="117" y="21"/>
                  <a:pt x="117" y="21"/>
                </a:cubicBezTo>
                <a:cubicBezTo>
                  <a:pt x="116" y="20"/>
                  <a:pt x="116" y="20"/>
                  <a:pt x="116" y="20"/>
                </a:cubicBezTo>
                <a:cubicBezTo>
                  <a:pt x="115" y="21"/>
                  <a:pt x="115" y="21"/>
                  <a:pt x="115" y="21"/>
                </a:cubicBezTo>
                <a:cubicBezTo>
                  <a:pt x="115" y="25"/>
                  <a:pt x="115" y="25"/>
                  <a:pt x="115" y="25"/>
                </a:cubicBezTo>
                <a:cubicBezTo>
                  <a:pt x="114" y="26"/>
                  <a:pt x="114" y="26"/>
                  <a:pt x="114" y="26"/>
                </a:cubicBezTo>
                <a:cubicBezTo>
                  <a:pt x="114" y="27"/>
                  <a:pt x="114" y="27"/>
                  <a:pt x="114" y="27"/>
                </a:cubicBezTo>
                <a:cubicBezTo>
                  <a:pt x="116" y="30"/>
                  <a:pt x="116" y="30"/>
                  <a:pt x="116" y="30"/>
                </a:cubicBezTo>
                <a:cubicBezTo>
                  <a:pt x="116" y="32"/>
                  <a:pt x="116" y="32"/>
                  <a:pt x="116" y="32"/>
                </a:cubicBezTo>
                <a:cubicBezTo>
                  <a:pt x="117" y="34"/>
                  <a:pt x="117" y="34"/>
                  <a:pt x="117" y="34"/>
                </a:cubicBezTo>
                <a:close/>
                <a:moveTo>
                  <a:pt x="49" y="44"/>
                </a:moveTo>
                <a:cubicBezTo>
                  <a:pt x="50" y="45"/>
                  <a:pt x="50" y="45"/>
                  <a:pt x="50" y="45"/>
                </a:cubicBezTo>
                <a:cubicBezTo>
                  <a:pt x="50" y="46"/>
                  <a:pt x="50" y="46"/>
                  <a:pt x="50" y="46"/>
                </a:cubicBezTo>
                <a:cubicBezTo>
                  <a:pt x="51" y="46"/>
                  <a:pt x="51" y="46"/>
                  <a:pt x="51" y="46"/>
                </a:cubicBezTo>
                <a:cubicBezTo>
                  <a:pt x="51" y="45"/>
                  <a:pt x="51" y="45"/>
                  <a:pt x="51" y="45"/>
                </a:cubicBezTo>
                <a:cubicBezTo>
                  <a:pt x="50" y="44"/>
                  <a:pt x="50" y="44"/>
                  <a:pt x="50" y="44"/>
                </a:cubicBezTo>
                <a:cubicBezTo>
                  <a:pt x="49" y="44"/>
                  <a:pt x="49" y="44"/>
                  <a:pt x="49" y="44"/>
                </a:cubicBezTo>
                <a:close/>
                <a:moveTo>
                  <a:pt x="6" y="99"/>
                </a:moveTo>
                <a:cubicBezTo>
                  <a:pt x="7" y="100"/>
                  <a:pt x="7" y="100"/>
                  <a:pt x="7" y="100"/>
                </a:cubicBezTo>
                <a:cubicBezTo>
                  <a:pt x="9" y="100"/>
                  <a:pt x="9" y="100"/>
                  <a:pt x="9" y="100"/>
                </a:cubicBezTo>
                <a:cubicBezTo>
                  <a:pt x="10" y="101"/>
                  <a:pt x="10" y="101"/>
                  <a:pt x="10" y="101"/>
                </a:cubicBezTo>
                <a:cubicBezTo>
                  <a:pt x="11" y="101"/>
                  <a:pt x="11" y="101"/>
                  <a:pt x="11" y="101"/>
                </a:cubicBezTo>
                <a:cubicBezTo>
                  <a:pt x="10" y="100"/>
                  <a:pt x="10" y="100"/>
                  <a:pt x="10" y="100"/>
                </a:cubicBezTo>
                <a:cubicBezTo>
                  <a:pt x="9" y="100"/>
                  <a:pt x="9" y="100"/>
                  <a:pt x="9" y="100"/>
                </a:cubicBezTo>
                <a:cubicBezTo>
                  <a:pt x="8" y="98"/>
                  <a:pt x="8" y="98"/>
                  <a:pt x="8" y="98"/>
                </a:cubicBezTo>
                <a:cubicBezTo>
                  <a:pt x="7" y="99"/>
                  <a:pt x="7" y="99"/>
                  <a:pt x="7" y="99"/>
                </a:cubicBezTo>
                <a:cubicBezTo>
                  <a:pt x="7" y="98"/>
                  <a:pt x="7" y="98"/>
                  <a:pt x="7" y="98"/>
                </a:cubicBezTo>
                <a:cubicBezTo>
                  <a:pt x="6" y="99"/>
                  <a:pt x="6" y="99"/>
                  <a:pt x="6" y="99"/>
                </a:cubicBezTo>
                <a:close/>
                <a:moveTo>
                  <a:pt x="0" y="99"/>
                </a:moveTo>
                <a:cubicBezTo>
                  <a:pt x="2" y="100"/>
                  <a:pt x="2" y="100"/>
                  <a:pt x="2" y="100"/>
                </a:cubicBezTo>
                <a:cubicBezTo>
                  <a:pt x="3" y="101"/>
                  <a:pt x="3" y="101"/>
                  <a:pt x="3" y="101"/>
                </a:cubicBezTo>
                <a:cubicBezTo>
                  <a:pt x="4" y="101"/>
                  <a:pt x="4" y="101"/>
                  <a:pt x="4" y="101"/>
                </a:cubicBezTo>
                <a:cubicBezTo>
                  <a:pt x="6" y="100"/>
                  <a:pt x="6" y="100"/>
                  <a:pt x="6" y="100"/>
                </a:cubicBezTo>
                <a:cubicBezTo>
                  <a:pt x="4" y="99"/>
                  <a:pt x="4" y="99"/>
                  <a:pt x="4" y="99"/>
                </a:cubicBezTo>
                <a:cubicBezTo>
                  <a:pt x="2" y="98"/>
                  <a:pt x="2" y="98"/>
                  <a:pt x="2" y="98"/>
                </a:cubicBezTo>
                <a:cubicBezTo>
                  <a:pt x="1" y="98"/>
                  <a:pt x="1" y="98"/>
                  <a:pt x="1" y="98"/>
                </a:cubicBezTo>
                <a:cubicBezTo>
                  <a:pt x="0" y="99"/>
                  <a:pt x="0" y="99"/>
                  <a:pt x="0" y="99"/>
                </a:cubicBezTo>
                <a:close/>
                <a:moveTo>
                  <a:pt x="48" y="151"/>
                </a:moveTo>
                <a:cubicBezTo>
                  <a:pt x="48" y="152"/>
                  <a:pt x="48" y="152"/>
                  <a:pt x="48" y="152"/>
                </a:cubicBezTo>
                <a:cubicBezTo>
                  <a:pt x="49" y="152"/>
                  <a:pt x="49" y="152"/>
                  <a:pt x="49" y="152"/>
                </a:cubicBezTo>
                <a:cubicBezTo>
                  <a:pt x="49" y="151"/>
                  <a:pt x="49" y="151"/>
                  <a:pt x="49" y="151"/>
                </a:cubicBezTo>
                <a:cubicBezTo>
                  <a:pt x="49" y="151"/>
                  <a:pt x="49" y="151"/>
                  <a:pt x="49" y="151"/>
                </a:cubicBezTo>
                <a:cubicBezTo>
                  <a:pt x="48" y="151"/>
                  <a:pt x="48" y="151"/>
                  <a:pt x="48" y="151"/>
                </a:cubicBezTo>
                <a:close/>
                <a:moveTo>
                  <a:pt x="49" y="157"/>
                </a:moveTo>
                <a:cubicBezTo>
                  <a:pt x="49" y="157"/>
                  <a:pt x="49" y="157"/>
                  <a:pt x="49" y="157"/>
                </a:cubicBezTo>
                <a:cubicBezTo>
                  <a:pt x="50" y="157"/>
                  <a:pt x="50" y="157"/>
                  <a:pt x="50" y="157"/>
                </a:cubicBezTo>
                <a:cubicBezTo>
                  <a:pt x="52" y="157"/>
                  <a:pt x="52" y="157"/>
                  <a:pt x="52" y="157"/>
                </a:cubicBezTo>
                <a:cubicBezTo>
                  <a:pt x="53" y="157"/>
                  <a:pt x="53" y="157"/>
                  <a:pt x="53" y="157"/>
                </a:cubicBezTo>
                <a:cubicBezTo>
                  <a:pt x="53" y="158"/>
                  <a:pt x="53" y="158"/>
                  <a:pt x="53" y="158"/>
                </a:cubicBezTo>
                <a:cubicBezTo>
                  <a:pt x="54" y="157"/>
                  <a:pt x="54" y="157"/>
                  <a:pt x="54" y="157"/>
                </a:cubicBezTo>
                <a:cubicBezTo>
                  <a:pt x="53" y="156"/>
                  <a:pt x="53" y="156"/>
                  <a:pt x="53" y="156"/>
                </a:cubicBezTo>
                <a:cubicBezTo>
                  <a:pt x="51" y="156"/>
                  <a:pt x="51" y="156"/>
                  <a:pt x="51" y="156"/>
                </a:cubicBezTo>
                <a:cubicBezTo>
                  <a:pt x="51" y="156"/>
                  <a:pt x="51" y="156"/>
                  <a:pt x="51" y="156"/>
                </a:cubicBezTo>
                <a:cubicBezTo>
                  <a:pt x="50" y="155"/>
                  <a:pt x="50" y="155"/>
                  <a:pt x="50" y="155"/>
                </a:cubicBezTo>
                <a:cubicBezTo>
                  <a:pt x="49" y="156"/>
                  <a:pt x="49" y="156"/>
                  <a:pt x="49" y="156"/>
                </a:cubicBezTo>
                <a:cubicBezTo>
                  <a:pt x="48" y="156"/>
                  <a:pt x="48" y="156"/>
                  <a:pt x="48" y="156"/>
                </a:cubicBezTo>
                <a:cubicBezTo>
                  <a:pt x="49" y="157"/>
                  <a:pt x="49" y="157"/>
                  <a:pt x="49" y="157"/>
                </a:cubicBezTo>
                <a:close/>
                <a:moveTo>
                  <a:pt x="50" y="158"/>
                </a:moveTo>
                <a:cubicBezTo>
                  <a:pt x="50" y="159"/>
                  <a:pt x="50" y="159"/>
                  <a:pt x="50" y="159"/>
                </a:cubicBezTo>
                <a:cubicBezTo>
                  <a:pt x="51" y="159"/>
                  <a:pt x="51" y="159"/>
                  <a:pt x="51" y="159"/>
                </a:cubicBezTo>
                <a:cubicBezTo>
                  <a:pt x="51" y="158"/>
                  <a:pt x="51" y="158"/>
                  <a:pt x="51" y="158"/>
                </a:cubicBezTo>
                <a:cubicBezTo>
                  <a:pt x="50" y="158"/>
                  <a:pt x="50" y="158"/>
                  <a:pt x="50" y="158"/>
                </a:cubicBezTo>
                <a:close/>
                <a:moveTo>
                  <a:pt x="50" y="166"/>
                </a:moveTo>
                <a:cubicBezTo>
                  <a:pt x="51" y="167"/>
                  <a:pt x="51" y="167"/>
                  <a:pt x="51" y="167"/>
                </a:cubicBezTo>
                <a:cubicBezTo>
                  <a:pt x="52" y="167"/>
                  <a:pt x="52" y="167"/>
                  <a:pt x="52" y="167"/>
                </a:cubicBezTo>
                <a:cubicBezTo>
                  <a:pt x="52" y="168"/>
                  <a:pt x="52" y="168"/>
                  <a:pt x="52" y="168"/>
                </a:cubicBezTo>
                <a:cubicBezTo>
                  <a:pt x="53" y="167"/>
                  <a:pt x="53" y="167"/>
                  <a:pt x="53" y="167"/>
                </a:cubicBezTo>
                <a:cubicBezTo>
                  <a:pt x="53" y="167"/>
                  <a:pt x="53" y="167"/>
                  <a:pt x="53" y="167"/>
                </a:cubicBezTo>
                <a:cubicBezTo>
                  <a:pt x="51" y="166"/>
                  <a:pt x="51" y="166"/>
                  <a:pt x="51" y="166"/>
                </a:cubicBezTo>
                <a:cubicBezTo>
                  <a:pt x="51" y="166"/>
                  <a:pt x="51" y="166"/>
                  <a:pt x="51" y="166"/>
                </a:cubicBezTo>
                <a:cubicBezTo>
                  <a:pt x="50" y="166"/>
                  <a:pt x="50" y="166"/>
                  <a:pt x="50" y="166"/>
                </a:cubicBezTo>
                <a:close/>
                <a:moveTo>
                  <a:pt x="49" y="169"/>
                </a:moveTo>
                <a:cubicBezTo>
                  <a:pt x="50" y="170"/>
                  <a:pt x="50" y="170"/>
                  <a:pt x="50" y="170"/>
                </a:cubicBezTo>
                <a:cubicBezTo>
                  <a:pt x="50" y="170"/>
                  <a:pt x="50" y="170"/>
                  <a:pt x="50" y="170"/>
                </a:cubicBezTo>
                <a:cubicBezTo>
                  <a:pt x="51" y="170"/>
                  <a:pt x="51" y="170"/>
                  <a:pt x="51" y="170"/>
                </a:cubicBezTo>
                <a:cubicBezTo>
                  <a:pt x="50" y="169"/>
                  <a:pt x="50" y="169"/>
                  <a:pt x="50" y="169"/>
                </a:cubicBezTo>
                <a:cubicBezTo>
                  <a:pt x="50" y="169"/>
                  <a:pt x="50" y="169"/>
                  <a:pt x="50" y="169"/>
                </a:cubicBezTo>
                <a:cubicBezTo>
                  <a:pt x="49" y="169"/>
                  <a:pt x="49" y="169"/>
                  <a:pt x="49" y="169"/>
                </a:cubicBezTo>
                <a:close/>
                <a:moveTo>
                  <a:pt x="51" y="174"/>
                </a:moveTo>
                <a:cubicBezTo>
                  <a:pt x="51" y="175"/>
                  <a:pt x="51" y="175"/>
                  <a:pt x="51" y="175"/>
                </a:cubicBezTo>
                <a:cubicBezTo>
                  <a:pt x="52" y="174"/>
                  <a:pt x="52" y="174"/>
                  <a:pt x="52" y="174"/>
                </a:cubicBezTo>
                <a:cubicBezTo>
                  <a:pt x="51" y="173"/>
                  <a:pt x="51" y="173"/>
                  <a:pt x="51" y="173"/>
                </a:cubicBezTo>
                <a:cubicBezTo>
                  <a:pt x="51" y="173"/>
                  <a:pt x="51" y="173"/>
                  <a:pt x="51" y="173"/>
                </a:cubicBezTo>
                <a:cubicBezTo>
                  <a:pt x="51" y="173"/>
                  <a:pt x="51" y="173"/>
                  <a:pt x="51" y="173"/>
                </a:cubicBezTo>
                <a:cubicBezTo>
                  <a:pt x="51" y="174"/>
                  <a:pt x="51" y="174"/>
                  <a:pt x="51" y="174"/>
                </a:cubicBezTo>
                <a:close/>
                <a:moveTo>
                  <a:pt x="53" y="176"/>
                </a:moveTo>
                <a:cubicBezTo>
                  <a:pt x="53" y="176"/>
                  <a:pt x="53" y="176"/>
                  <a:pt x="53" y="176"/>
                </a:cubicBezTo>
                <a:cubicBezTo>
                  <a:pt x="53" y="176"/>
                  <a:pt x="53" y="176"/>
                  <a:pt x="53" y="176"/>
                </a:cubicBezTo>
                <a:cubicBezTo>
                  <a:pt x="53" y="176"/>
                  <a:pt x="53" y="176"/>
                  <a:pt x="53" y="176"/>
                </a:cubicBezTo>
                <a:cubicBezTo>
                  <a:pt x="53" y="176"/>
                  <a:pt x="53" y="176"/>
                  <a:pt x="53" y="176"/>
                </a:cubicBezTo>
                <a:close/>
                <a:moveTo>
                  <a:pt x="49" y="177"/>
                </a:moveTo>
                <a:cubicBezTo>
                  <a:pt x="49" y="176"/>
                  <a:pt x="49" y="176"/>
                  <a:pt x="49" y="176"/>
                </a:cubicBezTo>
                <a:cubicBezTo>
                  <a:pt x="49" y="176"/>
                  <a:pt x="49" y="176"/>
                  <a:pt x="49" y="176"/>
                </a:cubicBezTo>
                <a:cubicBezTo>
                  <a:pt x="49" y="176"/>
                  <a:pt x="49" y="176"/>
                  <a:pt x="49" y="176"/>
                </a:cubicBezTo>
                <a:cubicBezTo>
                  <a:pt x="49" y="177"/>
                  <a:pt x="49" y="177"/>
                  <a:pt x="49" y="177"/>
                </a:cubicBezTo>
                <a:close/>
                <a:moveTo>
                  <a:pt x="51" y="176"/>
                </a:moveTo>
                <a:cubicBezTo>
                  <a:pt x="51" y="176"/>
                  <a:pt x="51" y="176"/>
                  <a:pt x="51" y="176"/>
                </a:cubicBezTo>
                <a:cubicBezTo>
                  <a:pt x="51" y="176"/>
                  <a:pt x="51" y="176"/>
                  <a:pt x="51" y="176"/>
                </a:cubicBezTo>
                <a:cubicBezTo>
                  <a:pt x="51" y="176"/>
                  <a:pt x="51" y="176"/>
                  <a:pt x="51" y="176"/>
                </a:cubicBezTo>
                <a:cubicBezTo>
                  <a:pt x="51" y="176"/>
                  <a:pt x="51" y="176"/>
                  <a:pt x="51" y="176"/>
                </a:cubicBezTo>
                <a:close/>
                <a:moveTo>
                  <a:pt x="50" y="178"/>
                </a:moveTo>
                <a:cubicBezTo>
                  <a:pt x="51" y="178"/>
                  <a:pt x="51" y="178"/>
                  <a:pt x="51" y="178"/>
                </a:cubicBezTo>
                <a:cubicBezTo>
                  <a:pt x="51" y="177"/>
                  <a:pt x="51" y="177"/>
                  <a:pt x="51" y="177"/>
                </a:cubicBezTo>
                <a:cubicBezTo>
                  <a:pt x="50" y="177"/>
                  <a:pt x="50" y="177"/>
                  <a:pt x="50" y="177"/>
                </a:cubicBezTo>
                <a:cubicBezTo>
                  <a:pt x="50" y="178"/>
                  <a:pt x="50" y="178"/>
                  <a:pt x="50" y="178"/>
                </a:cubicBezTo>
                <a:close/>
                <a:moveTo>
                  <a:pt x="51" y="180"/>
                </a:moveTo>
                <a:cubicBezTo>
                  <a:pt x="51" y="180"/>
                  <a:pt x="51" y="180"/>
                  <a:pt x="51" y="180"/>
                </a:cubicBezTo>
                <a:cubicBezTo>
                  <a:pt x="51" y="180"/>
                  <a:pt x="51" y="180"/>
                  <a:pt x="51" y="180"/>
                </a:cubicBezTo>
                <a:cubicBezTo>
                  <a:pt x="50" y="180"/>
                  <a:pt x="50" y="180"/>
                  <a:pt x="50" y="180"/>
                </a:cubicBezTo>
                <a:cubicBezTo>
                  <a:pt x="50" y="180"/>
                  <a:pt x="50" y="180"/>
                  <a:pt x="50" y="180"/>
                </a:cubicBezTo>
                <a:cubicBezTo>
                  <a:pt x="51" y="180"/>
                  <a:pt x="51" y="180"/>
                  <a:pt x="51" y="180"/>
                </a:cubicBezTo>
                <a:close/>
                <a:moveTo>
                  <a:pt x="52" y="181"/>
                </a:moveTo>
                <a:cubicBezTo>
                  <a:pt x="52" y="181"/>
                  <a:pt x="52" y="181"/>
                  <a:pt x="52" y="181"/>
                </a:cubicBezTo>
                <a:cubicBezTo>
                  <a:pt x="53" y="180"/>
                  <a:pt x="53" y="180"/>
                  <a:pt x="53" y="180"/>
                </a:cubicBezTo>
                <a:cubicBezTo>
                  <a:pt x="52" y="180"/>
                  <a:pt x="52" y="180"/>
                  <a:pt x="52" y="180"/>
                </a:cubicBezTo>
                <a:cubicBezTo>
                  <a:pt x="51" y="181"/>
                  <a:pt x="51" y="181"/>
                  <a:pt x="51" y="181"/>
                </a:cubicBezTo>
                <a:cubicBezTo>
                  <a:pt x="51" y="181"/>
                  <a:pt x="52" y="181"/>
                  <a:pt x="52" y="181"/>
                </a:cubicBezTo>
                <a:close/>
                <a:moveTo>
                  <a:pt x="48" y="184"/>
                </a:moveTo>
                <a:cubicBezTo>
                  <a:pt x="49" y="184"/>
                  <a:pt x="49" y="184"/>
                  <a:pt x="49" y="184"/>
                </a:cubicBezTo>
                <a:cubicBezTo>
                  <a:pt x="49" y="184"/>
                  <a:pt x="49" y="184"/>
                  <a:pt x="49" y="184"/>
                </a:cubicBezTo>
                <a:cubicBezTo>
                  <a:pt x="49" y="183"/>
                  <a:pt x="49" y="183"/>
                  <a:pt x="49" y="183"/>
                </a:cubicBezTo>
                <a:cubicBezTo>
                  <a:pt x="48" y="183"/>
                  <a:pt x="48" y="183"/>
                  <a:pt x="48" y="183"/>
                </a:cubicBezTo>
                <a:cubicBezTo>
                  <a:pt x="48" y="184"/>
                  <a:pt x="48" y="184"/>
                  <a:pt x="48" y="184"/>
                </a:cubicBezTo>
                <a:cubicBezTo>
                  <a:pt x="48" y="184"/>
                  <a:pt x="48" y="184"/>
                  <a:pt x="48" y="184"/>
                </a:cubicBezTo>
                <a:close/>
                <a:moveTo>
                  <a:pt x="50" y="186"/>
                </a:moveTo>
                <a:cubicBezTo>
                  <a:pt x="52" y="185"/>
                  <a:pt x="52" y="185"/>
                  <a:pt x="52" y="185"/>
                </a:cubicBezTo>
                <a:cubicBezTo>
                  <a:pt x="53" y="184"/>
                  <a:pt x="53" y="184"/>
                  <a:pt x="53" y="184"/>
                </a:cubicBezTo>
                <a:cubicBezTo>
                  <a:pt x="53" y="183"/>
                  <a:pt x="53" y="183"/>
                  <a:pt x="53" y="183"/>
                </a:cubicBezTo>
                <a:cubicBezTo>
                  <a:pt x="52" y="183"/>
                  <a:pt x="52" y="183"/>
                  <a:pt x="52" y="183"/>
                </a:cubicBezTo>
                <a:cubicBezTo>
                  <a:pt x="51" y="184"/>
                  <a:pt x="51" y="184"/>
                  <a:pt x="51" y="184"/>
                </a:cubicBezTo>
                <a:cubicBezTo>
                  <a:pt x="50" y="184"/>
                  <a:pt x="50" y="184"/>
                  <a:pt x="50" y="184"/>
                </a:cubicBezTo>
                <a:cubicBezTo>
                  <a:pt x="50" y="185"/>
                  <a:pt x="50" y="185"/>
                  <a:pt x="50" y="185"/>
                </a:cubicBezTo>
                <a:cubicBezTo>
                  <a:pt x="49" y="185"/>
                  <a:pt x="49" y="185"/>
                  <a:pt x="49" y="185"/>
                </a:cubicBezTo>
                <a:cubicBezTo>
                  <a:pt x="49" y="186"/>
                  <a:pt x="49" y="186"/>
                  <a:pt x="49" y="186"/>
                </a:cubicBezTo>
                <a:cubicBezTo>
                  <a:pt x="49" y="186"/>
                  <a:pt x="49" y="186"/>
                  <a:pt x="49" y="186"/>
                </a:cubicBezTo>
                <a:cubicBezTo>
                  <a:pt x="50" y="186"/>
                  <a:pt x="50" y="186"/>
                  <a:pt x="50" y="186"/>
                </a:cubicBezTo>
                <a:cubicBezTo>
                  <a:pt x="50" y="186"/>
                  <a:pt x="50" y="186"/>
                  <a:pt x="50" y="186"/>
                </a:cubicBezTo>
                <a:close/>
                <a:moveTo>
                  <a:pt x="52" y="186"/>
                </a:moveTo>
                <a:cubicBezTo>
                  <a:pt x="52" y="186"/>
                  <a:pt x="52" y="186"/>
                  <a:pt x="52" y="186"/>
                </a:cubicBezTo>
                <a:cubicBezTo>
                  <a:pt x="53" y="186"/>
                  <a:pt x="53" y="186"/>
                  <a:pt x="53" y="186"/>
                </a:cubicBezTo>
                <a:cubicBezTo>
                  <a:pt x="53" y="185"/>
                  <a:pt x="53" y="185"/>
                  <a:pt x="53" y="185"/>
                </a:cubicBezTo>
                <a:cubicBezTo>
                  <a:pt x="52" y="186"/>
                  <a:pt x="52" y="186"/>
                  <a:pt x="52" y="186"/>
                </a:cubicBezTo>
                <a:close/>
                <a:moveTo>
                  <a:pt x="51" y="187"/>
                </a:moveTo>
                <a:cubicBezTo>
                  <a:pt x="52" y="187"/>
                  <a:pt x="52" y="187"/>
                  <a:pt x="52" y="187"/>
                </a:cubicBezTo>
                <a:cubicBezTo>
                  <a:pt x="52" y="186"/>
                  <a:pt x="52" y="186"/>
                  <a:pt x="52" y="186"/>
                </a:cubicBezTo>
                <a:cubicBezTo>
                  <a:pt x="51" y="187"/>
                  <a:pt x="51" y="187"/>
                  <a:pt x="51" y="187"/>
                </a:cubicBezTo>
                <a:cubicBezTo>
                  <a:pt x="51" y="187"/>
                  <a:pt x="51" y="187"/>
                  <a:pt x="51" y="187"/>
                </a:cubicBezTo>
                <a:close/>
                <a:moveTo>
                  <a:pt x="49" y="188"/>
                </a:moveTo>
                <a:cubicBezTo>
                  <a:pt x="50" y="187"/>
                  <a:pt x="50" y="187"/>
                  <a:pt x="50" y="187"/>
                </a:cubicBezTo>
                <a:cubicBezTo>
                  <a:pt x="50" y="187"/>
                  <a:pt x="50" y="187"/>
                  <a:pt x="50" y="187"/>
                </a:cubicBezTo>
                <a:cubicBezTo>
                  <a:pt x="49" y="187"/>
                  <a:pt x="49" y="187"/>
                  <a:pt x="49" y="187"/>
                </a:cubicBezTo>
                <a:cubicBezTo>
                  <a:pt x="49" y="188"/>
                  <a:pt x="49" y="188"/>
                  <a:pt x="49" y="188"/>
                </a:cubicBezTo>
                <a:cubicBezTo>
                  <a:pt x="49" y="188"/>
                  <a:pt x="49" y="188"/>
                  <a:pt x="49" y="188"/>
                </a:cubicBezTo>
                <a:close/>
                <a:moveTo>
                  <a:pt x="47" y="192"/>
                </a:moveTo>
                <a:cubicBezTo>
                  <a:pt x="47" y="193"/>
                  <a:pt x="47" y="193"/>
                  <a:pt x="47" y="193"/>
                </a:cubicBezTo>
                <a:cubicBezTo>
                  <a:pt x="48" y="193"/>
                  <a:pt x="48" y="193"/>
                  <a:pt x="48" y="193"/>
                </a:cubicBezTo>
                <a:cubicBezTo>
                  <a:pt x="49" y="192"/>
                  <a:pt x="49" y="192"/>
                  <a:pt x="49" y="192"/>
                </a:cubicBezTo>
                <a:cubicBezTo>
                  <a:pt x="50" y="191"/>
                  <a:pt x="50" y="191"/>
                  <a:pt x="50" y="191"/>
                </a:cubicBezTo>
                <a:cubicBezTo>
                  <a:pt x="51" y="191"/>
                  <a:pt x="51" y="191"/>
                  <a:pt x="51" y="191"/>
                </a:cubicBezTo>
                <a:cubicBezTo>
                  <a:pt x="50" y="190"/>
                  <a:pt x="50" y="190"/>
                  <a:pt x="50" y="190"/>
                </a:cubicBezTo>
                <a:cubicBezTo>
                  <a:pt x="49" y="191"/>
                  <a:pt x="49" y="191"/>
                  <a:pt x="49" y="191"/>
                </a:cubicBezTo>
                <a:cubicBezTo>
                  <a:pt x="48" y="191"/>
                  <a:pt x="48" y="191"/>
                  <a:pt x="48" y="191"/>
                </a:cubicBezTo>
                <a:cubicBezTo>
                  <a:pt x="48" y="192"/>
                  <a:pt x="48" y="192"/>
                  <a:pt x="48" y="192"/>
                </a:cubicBezTo>
                <a:cubicBezTo>
                  <a:pt x="48" y="192"/>
                  <a:pt x="47" y="192"/>
                  <a:pt x="47" y="192"/>
                </a:cubicBezTo>
                <a:close/>
                <a:moveTo>
                  <a:pt x="46" y="196"/>
                </a:moveTo>
                <a:cubicBezTo>
                  <a:pt x="47" y="197"/>
                  <a:pt x="47" y="197"/>
                  <a:pt x="47" y="197"/>
                </a:cubicBezTo>
                <a:cubicBezTo>
                  <a:pt x="47" y="197"/>
                  <a:pt x="47" y="197"/>
                  <a:pt x="47" y="197"/>
                </a:cubicBezTo>
                <a:cubicBezTo>
                  <a:pt x="48" y="196"/>
                  <a:pt x="48" y="196"/>
                  <a:pt x="48" y="196"/>
                </a:cubicBezTo>
                <a:cubicBezTo>
                  <a:pt x="47" y="196"/>
                  <a:pt x="47" y="196"/>
                  <a:pt x="47" y="196"/>
                </a:cubicBezTo>
                <a:cubicBezTo>
                  <a:pt x="46" y="196"/>
                  <a:pt x="46" y="196"/>
                  <a:pt x="46" y="196"/>
                </a:cubicBezTo>
                <a:close/>
                <a:moveTo>
                  <a:pt x="74" y="341"/>
                </a:moveTo>
                <a:cubicBezTo>
                  <a:pt x="75" y="340"/>
                  <a:pt x="75" y="340"/>
                  <a:pt x="75" y="340"/>
                </a:cubicBezTo>
                <a:cubicBezTo>
                  <a:pt x="76" y="340"/>
                  <a:pt x="76" y="340"/>
                  <a:pt x="76" y="340"/>
                </a:cubicBezTo>
                <a:cubicBezTo>
                  <a:pt x="76" y="340"/>
                  <a:pt x="76" y="340"/>
                  <a:pt x="76" y="340"/>
                </a:cubicBezTo>
                <a:cubicBezTo>
                  <a:pt x="76" y="341"/>
                  <a:pt x="76" y="341"/>
                  <a:pt x="76" y="341"/>
                </a:cubicBezTo>
                <a:cubicBezTo>
                  <a:pt x="75" y="341"/>
                  <a:pt x="75" y="341"/>
                  <a:pt x="75" y="341"/>
                </a:cubicBezTo>
                <a:cubicBezTo>
                  <a:pt x="74" y="341"/>
                  <a:pt x="74" y="341"/>
                  <a:pt x="74" y="341"/>
                </a:cubicBezTo>
                <a:cubicBezTo>
                  <a:pt x="74" y="341"/>
                  <a:pt x="74" y="341"/>
                  <a:pt x="74" y="341"/>
                </a:cubicBezTo>
                <a:close/>
                <a:moveTo>
                  <a:pt x="67" y="337"/>
                </a:moveTo>
                <a:cubicBezTo>
                  <a:pt x="68" y="337"/>
                  <a:pt x="68" y="337"/>
                  <a:pt x="68" y="337"/>
                </a:cubicBezTo>
                <a:cubicBezTo>
                  <a:pt x="68" y="336"/>
                  <a:pt x="68" y="336"/>
                  <a:pt x="68" y="336"/>
                </a:cubicBezTo>
                <a:cubicBezTo>
                  <a:pt x="69" y="336"/>
                  <a:pt x="69" y="336"/>
                  <a:pt x="69" y="336"/>
                </a:cubicBezTo>
                <a:cubicBezTo>
                  <a:pt x="68" y="335"/>
                  <a:pt x="68" y="335"/>
                  <a:pt x="68" y="335"/>
                </a:cubicBezTo>
                <a:cubicBezTo>
                  <a:pt x="68" y="335"/>
                  <a:pt x="68" y="335"/>
                  <a:pt x="68" y="335"/>
                </a:cubicBezTo>
                <a:cubicBezTo>
                  <a:pt x="68" y="335"/>
                  <a:pt x="68" y="335"/>
                  <a:pt x="68" y="335"/>
                </a:cubicBezTo>
                <a:cubicBezTo>
                  <a:pt x="67" y="336"/>
                  <a:pt x="67" y="336"/>
                  <a:pt x="67" y="336"/>
                </a:cubicBezTo>
                <a:cubicBezTo>
                  <a:pt x="67" y="337"/>
                  <a:pt x="67" y="337"/>
                  <a:pt x="67" y="337"/>
                </a:cubicBezTo>
                <a:close/>
                <a:moveTo>
                  <a:pt x="63" y="329"/>
                </a:moveTo>
                <a:cubicBezTo>
                  <a:pt x="63" y="329"/>
                  <a:pt x="63" y="329"/>
                  <a:pt x="63" y="329"/>
                </a:cubicBezTo>
                <a:cubicBezTo>
                  <a:pt x="64" y="329"/>
                  <a:pt x="64" y="329"/>
                  <a:pt x="64" y="329"/>
                </a:cubicBezTo>
                <a:cubicBezTo>
                  <a:pt x="64" y="328"/>
                  <a:pt x="64" y="328"/>
                  <a:pt x="64" y="328"/>
                </a:cubicBezTo>
                <a:cubicBezTo>
                  <a:pt x="64" y="328"/>
                  <a:pt x="64" y="328"/>
                  <a:pt x="64" y="328"/>
                </a:cubicBezTo>
                <a:cubicBezTo>
                  <a:pt x="63" y="328"/>
                  <a:pt x="63" y="328"/>
                  <a:pt x="63" y="328"/>
                </a:cubicBezTo>
                <a:cubicBezTo>
                  <a:pt x="63" y="329"/>
                  <a:pt x="63" y="329"/>
                  <a:pt x="63" y="329"/>
                </a:cubicBezTo>
                <a:close/>
                <a:moveTo>
                  <a:pt x="60" y="328"/>
                </a:moveTo>
                <a:cubicBezTo>
                  <a:pt x="60" y="329"/>
                  <a:pt x="60" y="329"/>
                  <a:pt x="60" y="329"/>
                </a:cubicBezTo>
                <a:cubicBezTo>
                  <a:pt x="61" y="329"/>
                  <a:pt x="61" y="329"/>
                  <a:pt x="61" y="329"/>
                </a:cubicBezTo>
                <a:cubicBezTo>
                  <a:pt x="61" y="328"/>
                  <a:pt x="61" y="328"/>
                  <a:pt x="61" y="328"/>
                </a:cubicBezTo>
                <a:cubicBezTo>
                  <a:pt x="61" y="328"/>
                  <a:pt x="61" y="328"/>
                  <a:pt x="61" y="328"/>
                </a:cubicBezTo>
                <a:cubicBezTo>
                  <a:pt x="60" y="328"/>
                  <a:pt x="60" y="328"/>
                  <a:pt x="60" y="328"/>
                </a:cubicBezTo>
                <a:close/>
                <a:moveTo>
                  <a:pt x="54" y="329"/>
                </a:moveTo>
                <a:cubicBezTo>
                  <a:pt x="54" y="330"/>
                  <a:pt x="54" y="330"/>
                  <a:pt x="54" y="330"/>
                </a:cubicBezTo>
                <a:cubicBezTo>
                  <a:pt x="54" y="330"/>
                  <a:pt x="54" y="330"/>
                  <a:pt x="54" y="330"/>
                </a:cubicBezTo>
                <a:cubicBezTo>
                  <a:pt x="54" y="330"/>
                  <a:pt x="54" y="330"/>
                  <a:pt x="54" y="330"/>
                </a:cubicBezTo>
                <a:cubicBezTo>
                  <a:pt x="55" y="330"/>
                  <a:pt x="55" y="330"/>
                  <a:pt x="55" y="330"/>
                </a:cubicBezTo>
                <a:cubicBezTo>
                  <a:pt x="55" y="329"/>
                  <a:pt x="55" y="329"/>
                  <a:pt x="55" y="329"/>
                </a:cubicBezTo>
                <a:cubicBezTo>
                  <a:pt x="54" y="329"/>
                  <a:pt x="54" y="329"/>
                  <a:pt x="54" y="329"/>
                </a:cubicBezTo>
                <a:cubicBezTo>
                  <a:pt x="54" y="329"/>
                  <a:pt x="54" y="329"/>
                  <a:pt x="54" y="329"/>
                </a:cubicBezTo>
                <a:close/>
                <a:moveTo>
                  <a:pt x="45" y="291"/>
                </a:moveTo>
                <a:cubicBezTo>
                  <a:pt x="45" y="291"/>
                  <a:pt x="45" y="291"/>
                  <a:pt x="45" y="291"/>
                </a:cubicBezTo>
                <a:cubicBezTo>
                  <a:pt x="46" y="290"/>
                  <a:pt x="46" y="290"/>
                  <a:pt x="46" y="290"/>
                </a:cubicBezTo>
                <a:cubicBezTo>
                  <a:pt x="47" y="289"/>
                  <a:pt x="47" y="289"/>
                  <a:pt x="47" y="289"/>
                </a:cubicBezTo>
                <a:cubicBezTo>
                  <a:pt x="47" y="289"/>
                  <a:pt x="47" y="289"/>
                  <a:pt x="47" y="289"/>
                </a:cubicBezTo>
                <a:cubicBezTo>
                  <a:pt x="46" y="289"/>
                  <a:pt x="46" y="289"/>
                  <a:pt x="46" y="289"/>
                </a:cubicBezTo>
                <a:cubicBezTo>
                  <a:pt x="45" y="291"/>
                  <a:pt x="45" y="291"/>
                  <a:pt x="45" y="291"/>
                </a:cubicBezTo>
                <a:close/>
                <a:moveTo>
                  <a:pt x="45" y="289"/>
                </a:moveTo>
                <a:cubicBezTo>
                  <a:pt x="45" y="289"/>
                  <a:pt x="45" y="290"/>
                  <a:pt x="45" y="290"/>
                </a:cubicBezTo>
                <a:cubicBezTo>
                  <a:pt x="45" y="290"/>
                  <a:pt x="45" y="290"/>
                  <a:pt x="45" y="290"/>
                </a:cubicBezTo>
                <a:cubicBezTo>
                  <a:pt x="46" y="289"/>
                  <a:pt x="46" y="289"/>
                  <a:pt x="46" y="289"/>
                </a:cubicBezTo>
                <a:cubicBezTo>
                  <a:pt x="46" y="288"/>
                  <a:pt x="46" y="288"/>
                  <a:pt x="46" y="288"/>
                </a:cubicBezTo>
                <a:cubicBezTo>
                  <a:pt x="46" y="288"/>
                  <a:pt x="46" y="288"/>
                  <a:pt x="46" y="288"/>
                </a:cubicBezTo>
                <a:cubicBezTo>
                  <a:pt x="45" y="289"/>
                  <a:pt x="45" y="289"/>
                  <a:pt x="45" y="289"/>
                </a:cubicBezTo>
                <a:close/>
                <a:moveTo>
                  <a:pt x="40" y="276"/>
                </a:moveTo>
                <a:cubicBezTo>
                  <a:pt x="39" y="277"/>
                  <a:pt x="39" y="277"/>
                  <a:pt x="39" y="277"/>
                </a:cubicBezTo>
                <a:cubicBezTo>
                  <a:pt x="39" y="277"/>
                  <a:pt x="39" y="277"/>
                  <a:pt x="39" y="277"/>
                </a:cubicBezTo>
                <a:cubicBezTo>
                  <a:pt x="40" y="277"/>
                  <a:pt x="40" y="277"/>
                  <a:pt x="40" y="277"/>
                </a:cubicBezTo>
                <a:cubicBezTo>
                  <a:pt x="40" y="276"/>
                  <a:pt x="40" y="276"/>
                  <a:pt x="40" y="276"/>
                </a:cubicBezTo>
                <a:cubicBezTo>
                  <a:pt x="40" y="276"/>
                  <a:pt x="40" y="276"/>
                  <a:pt x="40" y="276"/>
                </a:cubicBezTo>
                <a:cubicBezTo>
                  <a:pt x="40" y="276"/>
                  <a:pt x="40" y="276"/>
                  <a:pt x="40" y="276"/>
                </a:cubicBezTo>
                <a:close/>
                <a:moveTo>
                  <a:pt x="39" y="275"/>
                </a:moveTo>
                <a:cubicBezTo>
                  <a:pt x="39" y="276"/>
                  <a:pt x="39" y="276"/>
                  <a:pt x="39" y="276"/>
                </a:cubicBezTo>
                <a:cubicBezTo>
                  <a:pt x="40" y="276"/>
                  <a:pt x="40" y="276"/>
                  <a:pt x="40" y="276"/>
                </a:cubicBezTo>
                <a:cubicBezTo>
                  <a:pt x="40" y="275"/>
                  <a:pt x="40" y="275"/>
                  <a:pt x="40" y="275"/>
                </a:cubicBezTo>
                <a:cubicBezTo>
                  <a:pt x="40" y="275"/>
                  <a:pt x="40" y="275"/>
                  <a:pt x="40" y="275"/>
                </a:cubicBezTo>
                <a:cubicBezTo>
                  <a:pt x="39" y="275"/>
                  <a:pt x="39" y="275"/>
                  <a:pt x="39" y="275"/>
                </a:cubicBezTo>
                <a:close/>
                <a:moveTo>
                  <a:pt x="40" y="263"/>
                </a:moveTo>
                <a:cubicBezTo>
                  <a:pt x="41" y="263"/>
                  <a:pt x="41" y="263"/>
                  <a:pt x="41" y="263"/>
                </a:cubicBezTo>
                <a:cubicBezTo>
                  <a:pt x="41" y="262"/>
                  <a:pt x="41" y="262"/>
                  <a:pt x="41" y="262"/>
                </a:cubicBezTo>
                <a:cubicBezTo>
                  <a:pt x="41" y="262"/>
                  <a:pt x="41" y="262"/>
                  <a:pt x="41" y="262"/>
                </a:cubicBezTo>
                <a:cubicBezTo>
                  <a:pt x="40" y="263"/>
                  <a:pt x="40" y="263"/>
                  <a:pt x="40" y="263"/>
                </a:cubicBezTo>
                <a:close/>
                <a:moveTo>
                  <a:pt x="40" y="261"/>
                </a:moveTo>
                <a:cubicBezTo>
                  <a:pt x="41" y="262"/>
                  <a:pt x="41" y="262"/>
                  <a:pt x="41" y="262"/>
                </a:cubicBezTo>
                <a:cubicBezTo>
                  <a:pt x="42" y="262"/>
                  <a:pt x="42" y="262"/>
                  <a:pt x="42" y="262"/>
                </a:cubicBezTo>
                <a:cubicBezTo>
                  <a:pt x="42" y="261"/>
                  <a:pt x="42" y="261"/>
                  <a:pt x="42" y="261"/>
                </a:cubicBezTo>
                <a:cubicBezTo>
                  <a:pt x="41" y="261"/>
                  <a:pt x="41" y="261"/>
                  <a:pt x="41" y="261"/>
                </a:cubicBezTo>
                <a:cubicBezTo>
                  <a:pt x="40" y="261"/>
                  <a:pt x="40" y="261"/>
                  <a:pt x="40" y="261"/>
                </a:cubicBezTo>
                <a:cubicBezTo>
                  <a:pt x="40" y="261"/>
                  <a:pt x="40" y="261"/>
                  <a:pt x="40" y="261"/>
                </a:cubicBezTo>
                <a:close/>
                <a:moveTo>
                  <a:pt x="38" y="261"/>
                </a:moveTo>
                <a:cubicBezTo>
                  <a:pt x="38" y="262"/>
                  <a:pt x="38" y="262"/>
                  <a:pt x="38" y="262"/>
                </a:cubicBezTo>
                <a:cubicBezTo>
                  <a:pt x="39" y="261"/>
                  <a:pt x="39" y="261"/>
                  <a:pt x="39" y="261"/>
                </a:cubicBezTo>
                <a:cubicBezTo>
                  <a:pt x="39" y="261"/>
                  <a:pt x="39" y="261"/>
                  <a:pt x="39" y="261"/>
                </a:cubicBezTo>
                <a:cubicBezTo>
                  <a:pt x="38" y="261"/>
                  <a:pt x="38" y="261"/>
                  <a:pt x="38" y="261"/>
                </a:cubicBezTo>
                <a:cubicBezTo>
                  <a:pt x="38" y="261"/>
                  <a:pt x="38" y="261"/>
                  <a:pt x="38" y="261"/>
                </a:cubicBezTo>
                <a:close/>
                <a:moveTo>
                  <a:pt x="41" y="250"/>
                </a:moveTo>
                <a:cubicBezTo>
                  <a:pt x="41" y="251"/>
                  <a:pt x="41" y="251"/>
                  <a:pt x="41" y="251"/>
                </a:cubicBezTo>
                <a:cubicBezTo>
                  <a:pt x="41" y="251"/>
                  <a:pt x="41" y="251"/>
                  <a:pt x="41" y="251"/>
                </a:cubicBezTo>
                <a:cubicBezTo>
                  <a:pt x="42" y="251"/>
                  <a:pt x="42" y="251"/>
                  <a:pt x="42" y="251"/>
                </a:cubicBezTo>
                <a:cubicBezTo>
                  <a:pt x="43" y="250"/>
                  <a:pt x="43" y="250"/>
                  <a:pt x="43" y="250"/>
                </a:cubicBezTo>
                <a:cubicBezTo>
                  <a:pt x="43" y="249"/>
                  <a:pt x="43" y="249"/>
                  <a:pt x="43" y="249"/>
                </a:cubicBezTo>
                <a:cubicBezTo>
                  <a:pt x="42" y="249"/>
                  <a:pt x="42" y="249"/>
                  <a:pt x="42" y="249"/>
                </a:cubicBezTo>
                <a:cubicBezTo>
                  <a:pt x="41" y="250"/>
                  <a:pt x="41" y="250"/>
                  <a:pt x="41" y="250"/>
                </a:cubicBezTo>
                <a:close/>
                <a:moveTo>
                  <a:pt x="51" y="246"/>
                </a:moveTo>
                <a:cubicBezTo>
                  <a:pt x="52" y="246"/>
                  <a:pt x="52" y="246"/>
                  <a:pt x="52" y="246"/>
                </a:cubicBezTo>
                <a:cubicBezTo>
                  <a:pt x="54" y="246"/>
                  <a:pt x="54" y="246"/>
                  <a:pt x="54" y="246"/>
                </a:cubicBezTo>
                <a:cubicBezTo>
                  <a:pt x="54" y="245"/>
                  <a:pt x="54" y="245"/>
                  <a:pt x="54" y="245"/>
                </a:cubicBezTo>
                <a:cubicBezTo>
                  <a:pt x="52" y="245"/>
                  <a:pt x="52" y="245"/>
                  <a:pt x="52" y="245"/>
                </a:cubicBezTo>
                <a:cubicBezTo>
                  <a:pt x="51" y="245"/>
                  <a:pt x="51" y="245"/>
                  <a:pt x="51" y="245"/>
                </a:cubicBezTo>
                <a:cubicBezTo>
                  <a:pt x="51" y="246"/>
                  <a:pt x="51" y="246"/>
                  <a:pt x="51" y="246"/>
                </a:cubicBezTo>
                <a:close/>
                <a:moveTo>
                  <a:pt x="47" y="240"/>
                </a:moveTo>
                <a:cubicBezTo>
                  <a:pt x="47" y="241"/>
                  <a:pt x="47" y="241"/>
                  <a:pt x="47" y="241"/>
                </a:cubicBezTo>
                <a:cubicBezTo>
                  <a:pt x="48" y="241"/>
                  <a:pt x="48" y="241"/>
                  <a:pt x="48" y="241"/>
                </a:cubicBezTo>
                <a:cubicBezTo>
                  <a:pt x="49" y="241"/>
                  <a:pt x="49" y="241"/>
                  <a:pt x="49" y="241"/>
                </a:cubicBezTo>
                <a:cubicBezTo>
                  <a:pt x="49" y="240"/>
                  <a:pt x="49" y="240"/>
                  <a:pt x="49" y="240"/>
                </a:cubicBezTo>
                <a:cubicBezTo>
                  <a:pt x="48" y="240"/>
                  <a:pt x="48" y="240"/>
                  <a:pt x="48" y="240"/>
                </a:cubicBezTo>
                <a:cubicBezTo>
                  <a:pt x="47" y="240"/>
                  <a:pt x="47" y="240"/>
                  <a:pt x="47" y="240"/>
                </a:cubicBezTo>
                <a:close/>
                <a:moveTo>
                  <a:pt x="52" y="240"/>
                </a:moveTo>
                <a:cubicBezTo>
                  <a:pt x="53" y="240"/>
                  <a:pt x="53" y="240"/>
                  <a:pt x="53" y="240"/>
                </a:cubicBezTo>
                <a:cubicBezTo>
                  <a:pt x="54" y="240"/>
                  <a:pt x="54" y="240"/>
                  <a:pt x="54" y="240"/>
                </a:cubicBezTo>
                <a:cubicBezTo>
                  <a:pt x="54" y="240"/>
                  <a:pt x="54" y="240"/>
                  <a:pt x="54" y="240"/>
                </a:cubicBezTo>
                <a:cubicBezTo>
                  <a:pt x="53" y="239"/>
                  <a:pt x="53" y="239"/>
                  <a:pt x="53" y="239"/>
                </a:cubicBezTo>
                <a:cubicBezTo>
                  <a:pt x="52" y="240"/>
                  <a:pt x="52" y="240"/>
                  <a:pt x="52" y="240"/>
                </a:cubicBezTo>
                <a:close/>
                <a:moveTo>
                  <a:pt x="49" y="239"/>
                </a:moveTo>
                <a:cubicBezTo>
                  <a:pt x="51" y="240"/>
                  <a:pt x="51" y="240"/>
                  <a:pt x="51" y="240"/>
                </a:cubicBezTo>
                <a:cubicBezTo>
                  <a:pt x="52" y="239"/>
                  <a:pt x="52" y="239"/>
                  <a:pt x="52" y="239"/>
                </a:cubicBezTo>
                <a:cubicBezTo>
                  <a:pt x="53" y="239"/>
                  <a:pt x="53" y="239"/>
                  <a:pt x="53" y="239"/>
                </a:cubicBezTo>
                <a:cubicBezTo>
                  <a:pt x="52" y="238"/>
                  <a:pt x="52" y="238"/>
                  <a:pt x="52" y="238"/>
                </a:cubicBezTo>
                <a:cubicBezTo>
                  <a:pt x="51" y="238"/>
                  <a:pt x="51" y="238"/>
                  <a:pt x="51" y="238"/>
                </a:cubicBezTo>
                <a:cubicBezTo>
                  <a:pt x="50" y="238"/>
                  <a:pt x="50" y="238"/>
                  <a:pt x="50" y="238"/>
                </a:cubicBezTo>
                <a:cubicBezTo>
                  <a:pt x="49" y="239"/>
                  <a:pt x="49" y="239"/>
                  <a:pt x="49" y="239"/>
                </a:cubicBezTo>
                <a:close/>
                <a:moveTo>
                  <a:pt x="60" y="214"/>
                </a:moveTo>
                <a:cubicBezTo>
                  <a:pt x="61" y="215"/>
                  <a:pt x="61" y="215"/>
                  <a:pt x="61" y="215"/>
                </a:cubicBezTo>
                <a:cubicBezTo>
                  <a:pt x="61" y="216"/>
                  <a:pt x="61" y="216"/>
                  <a:pt x="61" y="216"/>
                </a:cubicBezTo>
                <a:cubicBezTo>
                  <a:pt x="62" y="215"/>
                  <a:pt x="62" y="215"/>
                  <a:pt x="62" y="215"/>
                </a:cubicBezTo>
                <a:cubicBezTo>
                  <a:pt x="61" y="215"/>
                  <a:pt x="61" y="215"/>
                  <a:pt x="61" y="215"/>
                </a:cubicBezTo>
                <a:cubicBezTo>
                  <a:pt x="60" y="214"/>
                  <a:pt x="60" y="214"/>
                  <a:pt x="60" y="214"/>
                </a:cubicBezTo>
                <a:close/>
                <a:moveTo>
                  <a:pt x="60" y="211"/>
                </a:moveTo>
                <a:cubicBezTo>
                  <a:pt x="59" y="212"/>
                  <a:pt x="59" y="212"/>
                  <a:pt x="59" y="212"/>
                </a:cubicBezTo>
                <a:cubicBezTo>
                  <a:pt x="61" y="213"/>
                  <a:pt x="61" y="213"/>
                  <a:pt x="61" y="213"/>
                </a:cubicBezTo>
                <a:cubicBezTo>
                  <a:pt x="61" y="213"/>
                  <a:pt x="61" y="213"/>
                  <a:pt x="61" y="213"/>
                </a:cubicBezTo>
                <a:cubicBezTo>
                  <a:pt x="61" y="212"/>
                  <a:pt x="61" y="212"/>
                  <a:pt x="61" y="212"/>
                </a:cubicBezTo>
                <a:cubicBezTo>
                  <a:pt x="61" y="212"/>
                  <a:pt x="60" y="211"/>
                  <a:pt x="60" y="211"/>
                </a:cubicBezTo>
                <a:close/>
                <a:moveTo>
                  <a:pt x="56" y="203"/>
                </a:moveTo>
                <a:cubicBezTo>
                  <a:pt x="57" y="203"/>
                  <a:pt x="57" y="203"/>
                  <a:pt x="57" y="203"/>
                </a:cubicBezTo>
                <a:cubicBezTo>
                  <a:pt x="58" y="202"/>
                  <a:pt x="58" y="202"/>
                  <a:pt x="58" y="202"/>
                </a:cubicBezTo>
                <a:cubicBezTo>
                  <a:pt x="59" y="202"/>
                  <a:pt x="59" y="202"/>
                  <a:pt x="59" y="202"/>
                </a:cubicBezTo>
                <a:cubicBezTo>
                  <a:pt x="59" y="201"/>
                  <a:pt x="59" y="201"/>
                  <a:pt x="59" y="201"/>
                </a:cubicBezTo>
                <a:cubicBezTo>
                  <a:pt x="58" y="201"/>
                  <a:pt x="58" y="201"/>
                  <a:pt x="58" y="201"/>
                </a:cubicBezTo>
                <a:cubicBezTo>
                  <a:pt x="57" y="201"/>
                  <a:pt x="57" y="201"/>
                  <a:pt x="57" y="201"/>
                </a:cubicBezTo>
                <a:cubicBezTo>
                  <a:pt x="56" y="201"/>
                  <a:pt x="56" y="201"/>
                  <a:pt x="56" y="201"/>
                </a:cubicBezTo>
                <a:cubicBezTo>
                  <a:pt x="56" y="202"/>
                  <a:pt x="56" y="202"/>
                  <a:pt x="56" y="202"/>
                </a:cubicBezTo>
                <a:cubicBezTo>
                  <a:pt x="56" y="203"/>
                  <a:pt x="56" y="203"/>
                  <a:pt x="56" y="203"/>
                </a:cubicBezTo>
                <a:close/>
                <a:moveTo>
                  <a:pt x="56" y="208"/>
                </a:moveTo>
                <a:cubicBezTo>
                  <a:pt x="57" y="208"/>
                  <a:pt x="57" y="208"/>
                  <a:pt x="57" y="208"/>
                </a:cubicBezTo>
                <a:cubicBezTo>
                  <a:pt x="58" y="208"/>
                  <a:pt x="58" y="208"/>
                  <a:pt x="58" y="208"/>
                </a:cubicBezTo>
                <a:cubicBezTo>
                  <a:pt x="59" y="207"/>
                  <a:pt x="59" y="207"/>
                  <a:pt x="59" y="207"/>
                </a:cubicBezTo>
                <a:cubicBezTo>
                  <a:pt x="59" y="206"/>
                  <a:pt x="59" y="206"/>
                  <a:pt x="59" y="206"/>
                </a:cubicBezTo>
                <a:cubicBezTo>
                  <a:pt x="58" y="205"/>
                  <a:pt x="58" y="205"/>
                  <a:pt x="58" y="205"/>
                </a:cubicBezTo>
                <a:cubicBezTo>
                  <a:pt x="57" y="206"/>
                  <a:pt x="57" y="206"/>
                  <a:pt x="57" y="206"/>
                </a:cubicBezTo>
                <a:cubicBezTo>
                  <a:pt x="56" y="208"/>
                  <a:pt x="56" y="208"/>
                  <a:pt x="56" y="208"/>
                </a:cubicBezTo>
                <a:close/>
                <a:moveTo>
                  <a:pt x="52" y="208"/>
                </a:moveTo>
                <a:cubicBezTo>
                  <a:pt x="53" y="209"/>
                  <a:pt x="53" y="209"/>
                  <a:pt x="53" y="209"/>
                </a:cubicBezTo>
                <a:cubicBezTo>
                  <a:pt x="54" y="208"/>
                  <a:pt x="54" y="208"/>
                  <a:pt x="54" y="208"/>
                </a:cubicBezTo>
                <a:cubicBezTo>
                  <a:pt x="54" y="207"/>
                  <a:pt x="54" y="207"/>
                  <a:pt x="54" y="207"/>
                </a:cubicBezTo>
                <a:cubicBezTo>
                  <a:pt x="54" y="205"/>
                  <a:pt x="54" y="205"/>
                  <a:pt x="54" y="205"/>
                </a:cubicBezTo>
                <a:cubicBezTo>
                  <a:pt x="53" y="206"/>
                  <a:pt x="53" y="206"/>
                  <a:pt x="53" y="206"/>
                </a:cubicBezTo>
                <a:cubicBezTo>
                  <a:pt x="52" y="207"/>
                  <a:pt x="52" y="207"/>
                  <a:pt x="52" y="207"/>
                </a:cubicBezTo>
                <a:cubicBezTo>
                  <a:pt x="52" y="208"/>
                  <a:pt x="52" y="208"/>
                  <a:pt x="52" y="208"/>
                </a:cubicBezTo>
                <a:close/>
                <a:moveTo>
                  <a:pt x="45" y="214"/>
                </a:moveTo>
                <a:cubicBezTo>
                  <a:pt x="44" y="215"/>
                  <a:pt x="44" y="215"/>
                  <a:pt x="44" y="215"/>
                </a:cubicBezTo>
                <a:cubicBezTo>
                  <a:pt x="45" y="216"/>
                  <a:pt x="45" y="216"/>
                  <a:pt x="45" y="216"/>
                </a:cubicBezTo>
                <a:cubicBezTo>
                  <a:pt x="46" y="216"/>
                  <a:pt x="46" y="216"/>
                  <a:pt x="46" y="216"/>
                </a:cubicBezTo>
                <a:cubicBezTo>
                  <a:pt x="46" y="215"/>
                  <a:pt x="46" y="215"/>
                  <a:pt x="46" y="215"/>
                </a:cubicBezTo>
                <a:cubicBezTo>
                  <a:pt x="45" y="214"/>
                  <a:pt x="45" y="214"/>
                  <a:pt x="45" y="214"/>
                </a:cubicBezTo>
                <a:cubicBezTo>
                  <a:pt x="45" y="214"/>
                  <a:pt x="45" y="214"/>
                  <a:pt x="45" y="214"/>
                </a:cubicBezTo>
                <a:close/>
                <a:moveTo>
                  <a:pt x="60" y="226"/>
                </a:moveTo>
                <a:cubicBezTo>
                  <a:pt x="60" y="226"/>
                  <a:pt x="60" y="226"/>
                  <a:pt x="60" y="226"/>
                </a:cubicBezTo>
                <a:cubicBezTo>
                  <a:pt x="60" y="226"/>
                  <a:pt x="60" y="226"/>
                  <a:pt x="60" y="226"/>
                </a:cubicBezTo>
                <a:cubicBezTo>
                  <a:pt x="60" y="227"/>
                  <a:pt x="60" y="227"/>
                  <a:pt x="60" y="227"/>
                </a:cubicBezTo>
                <a:cubicBezTo>
                  <a:pt x="60" y="228"/>
                  <a:pt x="60" y="228"/>
                  <a:pt x="60" y="228"/>
                </a:cubicBezTo>
                <a:cubicBezTo>
                  <a:pt x="60" y="229"/>
                  <a:pt x="60" y="229"/>
                  <a:pt x="60" y="229"/>
                </a:cubicBezTo>
                <a:cubicBezTo>
                  <a:pt x="61" y="228"/>
                  <a:pt x="61" y="228"/>
                  <a:pt x="61" y="228"/>
                </a:cubicBezTo>
                <a:cubicBezTo>
                  <a:pt x="62" y="226"/>
                  <a:pt x="62" y="226"/>
                  <a:pt x="62" y="226"/>
                </a:cubicBezTo>
                <a:cubicBezTo>
                  <a:pt x="63" y="226"/>
                  <a:pt x="63" y="226"/>
                  <a:pt x="63" y="226"/>
                </a:cubicBezTo>
                <a:cubicBezTo>
                  <a:pt x="62" y="225"/>
                  <a:pt x="62" y="225"/>
                  <a:pt x="62" y="225"/>
                </a:cubicBezTo>
                <a:cubicBezTo>
                  <a:pt x="62" y="225"/>
                  <a:pt x="62" y="225"/>
                  <a:pt x="62" y="225"/>
                </a:cubicBezTo>
                <a:cubicBezTo>
                  <a:pt x="60" y="225"/>
                  <a:pt x="60" y="225"/>
                  <a:pt x="60" y="225"/>
                </a:cubicBezTo>
                <a:cubicBezTo>
                  <a:pt x="60" y="226"/>
                  <a:pt x="60" y="226"/>
                  <a:pt x="60" y="226"/>
                </a:cubicBezTo>
                <a:close/>
                <a:moveTo>
                  <a:pt x="45" y="230"/>
                </a:moveTo>
                <a:cubicBezTo>
                  <a:pt x="45" y="231"/>
                  <a:pt x="45" y="231"/>
                  <a:pt x="45" y="231"/>
                </a:cubicBezTo>
                <a:cubicBezTo>
                  <a:pt x="47" y="231"/>
                  <a:pt x="47" y="231"/>
                  <a:pt x="47" y="231"/>
                </a:cubicBezTo>
                <a:cubicBezTo>
                  <a:pt x="48" y="232"/>
                  <a:pt x="48" y="232"/>
                  <a:pt x="48" y="232"/>
                </a:cubicBezTo>
                <a:cubicBezTo>
                  <a:pt x="49" y="232"/>
                  <a:pt x="49" y="232"/>
                  <a:pt x="49" y="232"/>
                </a:cubicBezTo>
                <a:cubicBezTo>
                  <a:pt x="49" y="231"/>
                  <a:pt x="49" y="231"/>
                  <a:pt x="49" y="231"/>
                </a:cubicBezTo>
                <a:cubicBezTo>
                  <a:pt x="53" y="231"/>
                  <a:pt x="53" y="231"/>
                  <a:pt x="53" y="231"/>
                </a:cubicBezTo>
                <a:cubicBezTo>
                  <a:pt x="55" y="231"/>
                  <a:pt x="55" y="231"/>
                  <a:pt x="55" y="231"/>
                </a:cubicBezTo>
                <a:cubicBezTo>
                  <a:pt x="57" y="229"/>
                  <a:pt x="57" y="229"/>
                  <a:pt x="57" y="229"/>
                </a:cubicBezTo>
                <a:cubicBezTo>
                  <a:pt x="56" y="227"/>
                  <a:pt x="56" y="227"/>
                  <a:pt x="56" y="227"/>
                </a:cubicBezTo>
                <a:cubicBezTo>
                  <a:pt x="56" y="225"/>
                  <a:pt x="56" y="225"/>
                  <a:pt x="56" y="225"/>
                </a:cubicBezTo>
                <a:cubicBezTo>
                  <a:pt x="55" y="225"/>
                  <a:pt x="55" y="225"/>
                  <a:pt x="55" y="225"/>
                </a:cubicBezTo>
                <a:cubicBezTo>
                  <a:pt x="53" y="225"/>
                  <a:pt x="53" y="225"/>
                  <a:pt x="53" y="225"/>
                </a:cubicBezTo>
                <a:cubicBezTo>
                  <a:pt x="53" y="222"/>
                  <a:pt x="53" y="222"/>
                  <a:pt x="53" y="222"/>
                </a:cubicBezTo>
                <a:cubicBezTo>
                  <a:pt x="51" y="220"/>
                  <a:pt x="51" y="220"/>
                  <a:pt x="51" y="220"/>
                </a:cubicBezTo>
                <a:cubicBezTo>
                  <a:pt x="49" y="219"/>
                  <a:pt x="49" y="219"/>
                  <a:pt x="49" y="219"/>
                </a:cubicBezTo>
                <a:cubicBezTo>
                  <a:pt x="48" y="218"/>
                  <a:pt x="48" y="218"/>
                  <a:pt x="48" y="218"/>
                </a:cubicBezTo>
                <a:cubicBezTo>
                  <a:pt x="46" y="218"/>
                  <a:pt x="46" y="218"/>
                  <a:pt x="46" y="218"/>
                </a:cubicBezTo>
                <a:cubicBezTo>
                  <a:pt x="45" y="217"/>
                  <a:pt x="45" y="217"/>
                  <a:pt x="45" y="217"/>
                </a:cubicBezTo>
                <a:cubicBezTo>
                  <a:pt x="45" y="218"/>
                  <a:pt x="45" y="218"/>
                  <a:pt x="45" y="218"/>
                </a:cubicBezTo>
                <a:cubicBezTo>
                  <a:pt x="44" y="219"/>
                  <a:pt x="44" y="219"/>
                  <a:pt x="44" y="219"/>
                </a:cubicBezTo>
                <a:cubicBezTo>
                  <a:pt x="44" y="221"/>
                  <a:pt x="44" y="221"/>
                  <a:pt x="44" y="221"/>
                </a:cubicBezTo>
                <a:cubicBezTo>
                  <a:pt x="45" y="222"/>
                  <a:pt x="45" y="222"/>
                  <a:pt x="45" y="222"/>
                </a:cubicBezTo>
                <a:cubicBezTo>
                  <a:pt x="45" y="223"/>
                  <a:pt x="45" y="223"/>
                  <a:pt x="45" y="223"/>
                </a:cubicBezTo>
                <a:cubicBezTo>
                  <a:pt x="44" y="222"/>
                  <a:pt x="44" y="222"/>
                  <a:pt x="44" y="222"/>
                </a:cubicBezTo>
                <a:cubicBezTo>
                  <a:pt x="43" y="223"/>
                  <a:pt x="43" y="223"/>
                  <a:pt x="43" y="223"/>
                </a:cubicBezTo>
                <a:cubicBezTo>
                  <a:pt x="43" y="224"/>
                  <a:pt x="43" y="224"/>
                  <a:pt x="43" y="224"/>
                </a:cubicBezTo>
                <a:cubicBezTo>
                  <a:pt x="43" y="225"/>
                  <a:pt x="43" y="225"/>
                  <a:pt x="43" y="225"/>
                </a:cubicBezTo>
                <a:cubicBezTo>
                  <a:pt x="44" y="225"/>
                  <a:pt x="44" y="225"/>
                  <a:pt x="44" y="225"/>
                </a:cubicBezTo>
                <a:cubicBezTo>
                  <a:pt x="43" y="226"/>
                  <a:pt x="43" y="226"/>
                  <a:pt x="43" y="226"/>
                </a:cubicBezTo>
                <a:cubicBezTo>
                  <a:pt x="43" y="226"/>
                  <a:pt x="43" y="226"/>
                  <a:pt x="43" y="226"/>
                </a:cubicBezTo>
                <a:cubicBezTo>
                  <a:pt x="44" y="227"/>
                  <a:pt x="44" y="227"/>
                  <a:pt x="44" y="227"/>
                </a:cubicBezTo>
                <a:cubicBezTo>
                  <a:pt x="46" y="228"/>
                  <a:pt x="46" y="228"/>
                  <a:pt x="46" y="228"/>
                </a:cubicBezTo>
                <a:cubicBezTo>
                  <a:pt x="47" y="229"/>
                  <a:pt x="47" y="229"/>
                  <a:pt x="47" y="229"/>
                </a:cubicBezTo>
                <a:cubicBezTo>
                  <a:pt x="48" y="229"/>
                  <a:pt x="48" y="229"/>
                  <a:pt x="48" y="229"/>
                </a:cubicBezTo>
                <a:cubicBezTo>
                  <a:pt x="50" y="228"/>
                  <a:pt x="50" y="228"/>
                  <a:pt x="50" y="228"/>
                </a:cubicBezTo>
                <a:cubicBezTo>
                  <a:pt x="48" y="229"/>
                  <a:pt x="48" y="229"/>
                  <a:pt x="48" y="229"/>
                </a:cubicBezTo>
                <a:cubicBezTo>
                  <a:pt x="47" y="229"/>
                  <a:pt x="47" y="229"/>
                  <a:pt x="47" y="229"/>
                </a:cubicBezTo>
                <a:cubicBezTo>
                  <a:pt x="46" y="229"/>
                  <a:pt x="46" y="229"/>
                  <a:pt x="46" y="229"/>
                </a:cubicBezTo>
                <a:cubicBezTo>
                  <a:pt x="45" y="229"/>
                  <a:pt x="45" y="229"/>
                  <a:pt x="45" y="229"/>
                </a:cubicBezTo>
                <a:lnTo>
                  <a:pt x="45" y="23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1" name="Freeform 169">
            <a:extLst>
              <a:ext uri="{FF2B5EF4-FFF2-40B4-BE49-F238E27FC236}">
                <a16:creationId xmlns:a16="http://schemas.microsoft.com/office/drawing/2014/main" id="{C9243F8C-5BE6-D476-5C7C-74E2FBD47DAD}"/>
              </a:ext>
            </a:extLst>
          </p:cNvPr>
          <p:cNvSpPr>
            <a:spLocks noEditPoints="1"/>
          </p:cNvSpPr>
          <p:nvPr userDrawn="1"/>
        </p:nvSpPr>
        <p:spPr bwMode="auto">
          <a:xfrm>
            <a:off x="5527315" y="1440731"/>
            <a:ext cx="5419373" cy="5026026"/>
          </a:xfrm>
          <a:custGeom>
            <a:avLst/>
            <a:gdLst>
              <a:gd name="T0" fmla="*/ 399 w 546"/>
              <a:gd name="T1" fmla="*/ 36 h 506"/>
              <a:gd name="T2" fmla="*/ 400 w 546"/>
              <a:gd name="T3" fmla="*/ 86 h 506"/>
              <a:gd name="T4" fmla="*/ 399 w 546"/>
              <a:gd name="T5" fmla="*/ 95 h 506"/>
              <a:gd name="T6" fmla="*/ 426 w 546"/>
              <a:gd name="T7" fmla="*/ 59 h 506"/>
              <a:gd name="T8" fmla="*/ 427 w 546"/>
              <a:gd name="T9" fmla="*/ 34 h 506"/>
              <a:gd name="T10" fmla="*/ 461 w 546"/>
              <a:gd name="T11" fmla="*/ 15 h 506"/>
              <a:gd name="T12" fmla="*/ 537 w 546"/>
              <a:gd name="T13" fmla="*/ 20 h 506"/>
              <a:gd name="T14" fmla="*/ 468 w 546"/>
              <a:gd name="T15" fmla="*/ 73 h 506"/>
              <a:gd name="T16" fmla="*/ 420 w 546"/>
              <a:gd name="T17" fmla="*/ 106 h 506"/>
              <a:gd name="T18" fmla="*/ 436 w 546"/>
              <a:gd name="T19" fmla="*/ 236 h 506"/>
              <a:gd name="T20" fmla="*/ 382 w 546"/>
              <a:gd name="T21" fmla="*/ 98 h 506"/>
              <a:gd name="T22" fmla="*/ 341 w 546"/>
              <a:gd name="T23" fmla="*/ 68 h 506"/>
              <a:gd name="T24" fmla="*/ 285 w 546"/>
              <a:gd name="T25" fmla="*/ 62 h 506"/>
              <a:gd name="T26" fmla="*/ 372 w 546"/>
              <a:gd name="T27" fmla="*/ 112 h 506"/>
              <a:gd name="T28" fmla="*/ 387 w 546"/>
              <a:gd name="T29" fmla="*/ 154 h 506"/>
              <a:gd name="T30" fmla="*/ 235 w 546"/>
              <a:gd name="T31" fmla="*/ 82 h 506"/>
              <a:gd name="T32" fmla="*/ 339 w 546"/>
              <a:gd name="T33" fmla="*/ 127 h 506"/>
              <a:gd name="T34" fmla="*/ 315 w 546"/>
              <a:gd name="T35" fmla="*/ 112 h 506"/>
              <a:gd name="T36" fmla="*/ 303 w 546"/>
              <a:gd name="T37" fmla="*/ 116 h 506"/>
              <a:gd name="T38" fmla="*/ 285 w 546"/>
              <a:gd name="T39" fmla="*/ 99 h 506"/>
              <a:gd name="T40" fmla="*/ 206 w 546"/>
              <a:gd name="T41" fmla="*/ 110 h 506"/>
              <a:gd name="T42" fmla="*/ 293 w 546"/>
              <a:gd name="T43" fmla="*/ 158 h 506"/>
              <a:gd name="T44" fmla="*/ 314 w 546"/>
              <a:gd name="T45" fmla="*/ 166 h 506"/>
              <a:gd name="T46" fmla="*/ 393 w 546"/>
              <a:gd name="T47" fmla="*/ 176 h 506"/>
              <a:gd name="T48" fmla="*/ 377 w 546"/>
              <a:gd name="T49" fmla="*/ 228 h 506"/>
              <a:gd name="T50" fmla="*/ 271 w 546"/>
              <a:gd name="T51" fmla="*/ 231 h 506"/>
              <a:gd name="T52" fmla="*/ 267 w 546"/>
              <a:gd name="T53" fmla="*/ 171 h 506"/>
              <a:gd name="T54" fmla="*/ 229 w 546"/>
              <a:gd name="T55" fmla="*/ 137 h 506"/>
              <a:gd name="T56" fmla="*/ 201 w 546"/>
              <a:gd name="T57" fmla="*/ 203 h 506"/>
              <a:gd name="T58" fmla="*/ 258 w 546"/>
              <a:gd name="T59" fmla="*/ 218 h 506"/>
              <a:gd name="T60" fmla="*/ 392 w 546"/>
              <a:gd name="T61" fmla="*/ 305 h 506"/>
              <a:gd name="T62" fmla="*/ 398 w 546"/>
              <a:gd name="T63" fmla="*/ 241 h 506"/>
              <a:gd name="T64" fmla="*/ 343 w 546"/>
              <a:gd name="T65" fmla="*/ 212 h 506"/>
              <a:gd name="T66" fmla="*/ 366 w 546"/>
              <a:gd name="T67" fmla="*/ 188 h 506"/>
              <a:gd name="T68" fmla="*/ 407 w 546"/>
              <a:gd name="T69" fmla="*/ 188 h 506"/>
              <a:gd name="T70" fmla="*/ 420 w 546"/>
              <a:gd name="T71" fmla="*/ 224 h 506"/>
              <a:gd name="T72" fmla="*/ 432 w 546"/>
              <a:gd name="T73" fmla="*/ 247 h 506"/>
              <a:gd name="T74" fmla="*/ 453 w 546"/>
              <a:gd name="T75" fmla="*/ 277 h 506"/>
              <a:gd name="T76" fmla="*/ 434 w 546"/>
              <a:gd name="T77" fmla="*/ 279 h 506"/>
              <a:gd name="T78" fmla="*/ 422 w 546"/>
              <a:gd name="T79" fmla="*/ 317 h 506"/>
              <a:gd name="T80" fmla="*/ 342 w 546"/>
              <a:gd name="T81" fmla="*/ 290 h 506"/>
              <a:gd name="T82" fmla="*/ 401 w 546"/>
              <a:gd name="T83" fmla="*/ 345 h 506"/>
              <a:gd name="T84" fmla="*/ 325 w 546"/>
              <a:gd name="T85" fmla="*/ 383 h 506"/>
              <a:gd name="T86" fmla="*/ 432 w 546"/>
              <a:gd name="T87" fmla="*/ 465 h 506"/>
              <a:gd name="T88" fmla="*/ 462 w 546"/>
              <a:gd name="T89" fmla="*/ 465 h 506"/>
              <a:gd name="T90" fmla="*/ 450 w 546"/>
              <a:gd name="T91" fmla="*/ 435 h 506"/>
              <a:gd name="T92" fmla="*/ 50 w 546"/>
              <a:gd name="T93" fmla="*/ 419 h 506"/>
              <a:gd name="T94" fmla="*/ 29 w 546"/>
              <a:gd name="T95" fmla="*/ 376 h 506"/>
              <a:gd name="T96" fmla="*/ 93 w 546"/>
              <a:gd name="T97" fmla="*/ 175 h 506"/>
              <a:gd name="T98" fmla="*/ 39 w 546"/>
              <a:gd name="T99" fmla="*/ 383 h 506"/>
              <a:gd name="T100" fmla="*/ 96 w 546"/>
              <a:gd name="T101" fmla="*/ 181 h 506"/>
              <a:gd name="T102" fmla="*/ 159 w 546"/>
              <a:gd name="T103" fmla="*/ 183 h 506"/>
              <a:gd name="T104" fmla="*/ 240 w 546"/>
              <a:gd name="T105" fmla="*/ 215 h 506"/>
              <a:gd name="T106" fmla="*/ 285 w 546"/>
              <a:gd name="T107" fmla="*/ 245 h 506"/>
              <a:gd name="T108" fmla="*/ 319 w 546"/>
              <a:gd name="T109" fmla="*/ 207 h 506"/>
              <a:gd name="T110" fmla="*/ 366 w 546"/>
              <a:gd name="T111" fmla="*/ 232 h 506"/>
              <a:gd name="T112" fmla="*/ 306 w 546"/>
              <a:gd name="T113" fmla="*/ 289 h 506"/>
              <a:gd name="T114" fmla="*/ 253 w 546"/>
              <a:gd name="T115" fmla="*/ 367 h 506"/>
              <a:gd name="T116" fmla="*/ 349 w 546"/>
              <a:gd name="T117" fmla="*/ 347 h 506"/>
              <a:gd name="T118" fmla="*/ 416 w 546"/>
              <a:gd name="T119" fmla="*/ 351 h 506"/>
              <a:gd name="T120" fmla="*/ 443 w 546"/>
              <a:gd name="T121" fmla="*/ 404 h 506"/>
              <a:gd name="T122" fmla="*/ 389 w 546"/>
              <a:gd name="T123" fmla="*/ 441 h 506"/>
              <a:gd name="T124" fmla="*/ 398 w 546"/>
              <a:gd name="T125" fmla="*/ 483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506">
                <a:moveTo>
                  <a:pt x="395" y="89"/>
                </a:moveTo>
                <a:cubicBezTo>
                  <a:pt x="395" y="89"/>
                  <a:pt x="395" y="89"/>
                  <a:pt x="395" y="89"/>
                </a:cubicBezTo>
                <a:cubicBezTo>
                  <a:pt x="396" y="87"/>
                  <a:pt x="396" y="87"/>
                  <a:pt x="396" y="87"/>
                </a:cubicBezTo>
                <a:cubicBezTo>
                  <a:pt x="398" y="85"/>
                  <a:pt x="398" y="85"/>
                  <a:pt x="398" y="85"/>
                </a:cubicBezTo>
                <a:cubicBezTo>
                  <a:pt x="399" y="82"/>
                  <a:pt x="399" y="82"/>
                  <a:pt x="399" y="82"/>
                </a:cubicBezTo>
                <a:cubicBezTo>
                  <a:pt x="400" y="82"/>
                  <a:pt x="400" y="82"/>
                  <a:pt x="400" y="82"/>
                </a:cubicBezTo>
                <a:cubicBezTo>
                  <a:pt x="400" y="83"/>
                  <a:pt x="400" y="83"/>
                  <a:pt x="400" y="83"/>
                </a:cubicBezTo>
                <a:cubicBezTo>
                  <a:pt x="399" y="84"/>
                  <a:pt x="399" y="84"/>
                  <a:pt x="399" y="84"/>
                </a:cubicBezTo>
                <a:cubicBezTo>
                  <a:pt x="399" y="85"/>
                  <a:pt x="399" y="85"/>
                  <a:pt x="399" y="85"/>
                </a:cubicBezTo>
                <a:cubicBezTo>
                  <a:pt x="400" y="85"/>
                  <a:pt x="400" y="85"/>
                  <a:pt x="400" y="85"/>
                </a:cubicBezTo>
                <a:cubicBezTo>
                  <a:pt x="402" y="84"/>
                  <a:pt x="402" y="84"/>
                  <a:pt x="402" y="84"/>
                </a:cubicBezTo>
                <a:cubicBezTo>
                  <a:pt x="403" y="83"/>
                  <a:pt x="403" y="83"/>
                  <a:pt x="403" y="83"/>
                </a:cubicBezTo>
                <a:cubicBezTo>
                  <a:pt x="403" y="82"/>
                  <a:pt x="403" y="82"/>
                  <a:pt x="403" y="82"/>
                </a:cubicBezTo>
                <a:cubicBezTo>
                  <a:pt x="402" y="82"/>
                  <a:pt x="402" y="82"/>
                  <a:pt x="402" y="82"/>
                </a:cubicBezTo>
                <a:cubicBezTo>
                  <a:pt x="402" y="81"/>
                  <a:pt x="402" y="81"/>
                  <a:pt x="402" y="81"/>
                </a:cubicBezTo>
                <a:cubicBezTo>
                  <a:pt x="403" y="81"/>
                  <a:pt x="403" y="81"/>
                  <a:pt x="403" y="81"/>
                </a:cubicBezTo>
                <a:cubicBezTo>
                  <a:pt x="403" y="79"/>
                  <a:pt x="403" y="79"/>
                  <a:pt x="403" y="79"/>
                </a:cubicBezTo>
                <a:cubicBezTo>
                  <a:pt x="402" y="78"/>
                  <a:pt x="402" y="78"/>
                  <a:pt x="402" y="78"/>
                </a:cubicBezTo>
                <a:cubicBezTo>
                  <a:pt x="402" y="77"/>
                  <a:pt x="402" y="77"/>
                  <a:pt x="402" y="77"/>
                </a:cubicBezTo>
                <a:cubicBezTo>
                  <a:pt x="404" y="76"/>
                  <a:pt x="404" y="76"/>
                  <a:pt x="404" y="76"/>
                </a:cubicBezTo>
                <a:cubicBezTo>
                  <a:pt x="405" y="74"/>
                  <a:pt x="405" y="74"/>
                  <a:pt x="405" y="74"/>
                </a:cubicBezTo>
                <a:cubicBezTo>
                  <a:pt x="406" y="73"/>
                  <a:pt x="406" y="73"/>
                  <a:pt x="406" y="73"/>
                </a:cubicBezTo>
                <a:cubicBezTo>
                  <a:pt x="406" y="72"/>
                  <a:pt x="406" y="72"/>
                  <a:pt x="406" y="72"/>
                </a:cubicBezTo>
                <a:cubicBezTo>
                  <a:pt x="406" y="73"/>
                  <a:pt x="406" y="73"/>
                  <a:pt x="406" y="73"/>
                </a:cubicBezTo>
                <a:cubicBezTo>
                  <a:pt x="407" y="74"/>
                  <a:pt x="407" y="74"/>
                  <a:pt x="407" y="74"/>
                </a:cubicBezTo>
                <a:cubicBezTo>
                  <a:pt x="406" y="74"/>
                  <a:pt x="406" y="74"/>
                  <a:pt x="406" y="74"/>
                </a:cubicBezTo>
                <a:cubicBezTo>
                  <a:pt x="405" y="76"/>
                  <a:pt x="405" y="76"/>
                  <a:pt x="405" y="76"/>
                </a:cubicBezTo>
                <a:cubicBezTo>
                  <a:pt x="404" y="78"/>
                  <a:pt x="404" y="78"/>
                  <a:pt x="404" y="78"/>
                </a:cubicBezTo>
                <a:cubicBezTo>
                  <a:pt x="404" y="80"/>
                  <a:pt x="404" y="80"/>
                  <a:pt x="404" y="80"/>
                </a:cubicBezTo>
                <a:cubicBezTo>
                  <a:pt x="404" y="81"/>
                  <a:pt x="404" y="81"/>
                  <a:pt x="404" y="81"/>
                </a:cubicBezTo>
                <a:cubicBezTo>
                  <a:pt x="404" y="82"/>
                  <a:pt x="404" y="82"/>
                  <a:pt x="404" y="82"/>
                </a:cubicBezTo>
                <a:cubicBezTo>
                  <a:pt x="405" y="81"/>
                  <a:pt x="405" y="81"/>
                  <a:pt x="405" y="81"/>
                </a:cubicBezTo>
                <a:cubicBezTo>
                  <a:pt x="406" y="79"/>
                  <a:pt x="406" y="79"/>
                  <a:pt x="406" y="79"/>
                </a:cubicBezTo>
                <a:cubicBezTo>
                  <a:pt x="408" y="77"/>
                  <a:pt x="408" y="77"/>
                  <a:pt x="408" y="77"/>
                </a:cubicBezTo>
                <a:cubicBezTo>
                  <a:pt x="409" y="76"/>
                  <a:pt x="409" y="76"/>
                  <a:pt x="409" y="76"/>
                </a:cubicBezTo>
                <a:cubicBezTo>
                  <a:pt x="409" y="74"/>
                  <a:pt x="409" y="74"/>
                  <a:pt x="409" y="74"/>
                </a:cubicBezTo>
                <a:cubicBezTo>
                  <a:pt x="410" y="73"/>
                  <a:pt x="410" y="73"/>
                  <a:pt x="410" y="73"/>
                </a:cubicBezTo>
                <a:cubicBezTo>
                  <a:pt x="411" y="73"/>
                  <a:pt x="411" y="73"/>
                  <a:pt x="411" y="73"/>
                </a:cubicBezTo>
                <a:cubicBezTo>
                  <a:pt x="411" y="74"/>
                  <a:pt x="411" y="74"/>
                  <a:pt x="411" y="74"/>
                </a:cubicBezTo>
                <a:cubicBezTo>
                  <a:pt x="411" y="74"/>
                  <a:pt x="411" y="74"/>
                  <a:pt x="411" y="74"/>
                </a:cubicBezTo>
                <a:cubicBezTo>
                  <a:pt x="411" y="75"/>
                  <a:pt x="411" y="75"/>
                  <a:pt x="411" y="75"/>
                </a:cubicBezTo>
                <a:cubicBezTo>
                  <a:pt x="412" y="75"/>
                  <a:pt x="412" y="75"/>
                  <a:pt x="412" y="75"/>
                </a:cubicBezTo>
                <a:cubicBezTo>
                  <a:pt x="413" y="73"/>
                  <a:pt x="413" y="73"/>
                  <a:pt x="413" y="73"/>
                </a:cubicBezTo>
                <a:cubicBezTo>
                  <a:pt x="414" y="73"/>
                  <a:pt x="414" y="73"/>
                  <a:pt x="414" y="73"/>
                </a:cubicBezTo>
                <a:cubicBezTo>
                  <a:pt x="416" y="73"/>
                  <a:pt x="416" y="73"/>
                  <a:pt x="416" y="73"/>
                </a:cubicBezTo>
                <a:cubicBezTo>
                  <a:pt x="418" y="73"/>
                  <a:pt x="418" y="73"/>
                  <a:pt x="418" y="73"/>
                </a:cubicBezTo>
                <a:cubicBezTo>
                  <a:pt x="419" y="73"/>
                  <a:pt x="419" y="73"/>
                  <a:pt x="419" y="73"/>
                </a:cubicBezTo>
                <a:cubicBezTo>
                  <a:pt x="420" y="72"/>
                  <a:pt x="420" y="72"/>
                  <a:pt x="420" y="72"/>
                </a:cubicBezTo>
                <a:cubicBezTo>
                  <a:pt x="421" y="71"/>
                  <a:pt x="421" y="71"/>
                  <a:pt x="421" y="71"/>
                </a:cubicBezTo>
                <a:cubicBezTo>
                  <a:pt x="422" y="70"/>
                  <a:pt x="422" y="70"/>
                  <a:pt x="422" y="70"/>
                </a:cubicBezTo>
                <a:cubicBezTo>
                  <a:pt x="422" y="69"/>
                  <a:pt x="422" y="69"/>
                  <a:pt x="422" y="69"/>
                </a:cubicBezTo>
                <a:cubicBezTo>
                  <a:pt x="422" y="69"/>
                  <a:pt x="422" y="69"/>
                  <a:pt x="422" y="69"/>
                </a:cubicBezTo>
                <a:cubicBezTo>
                  <a:pt x="421" y="68"/>
                  <a:pt x="421" y="68"/>
                  <a:pt x="421" y="68"/>
                </a:cubicBezTo>
                <a:cubicBezTo>
                  <a:pt x="422" y="66"/>
                  <a:pt x="422" y="66"/>
                  <a:pt x="422" y="66"/>
                </a:cubicBezTo>
                <a:cubicBezTo>
                  <a:pt x="421" y="63"/>
                  <a:pt x="421" y="63"/>
                  <a:pt x="421" y="63"/>
                </a:cubicBezTo>
                <a:cubicBezTo>
                  <a:pt x="421" y="63"/>
                  <a:pt x="421" y="63"/>
                  <a:pt x="421" y="63"/>
                </a:cubicBezTo>
                <a:cubicBezTo>
                  <a:pt x="420" y="65"/>
                  <a:pt x="420" y="65"/>
                  <a:pt x="420" y="65"/>
                </a:cubicBezTo>
                <a:cubicBezTo>
                  <a:pt x="419" y="67"/>
                  <a:pt x="419" y="67"/>
                  <a:pt x="419" y="67"/>
                </a:cubicBezTo>
                <a:cubicBezTo>
                  <a:pt x="418" y="67"/>
                  <a:pt x="418" y="67"/>
                  <a:pt x="418" y="67"/>
                </a:cubicBezTo>
                <a:cubicBezTo>
                  <a:pt x="418" y="66"/>
                  <a:pt x="418" y="66"/>
                  <a:pt x="418" y="66"/>
                </a:cubicBezTo>
                <a:cubicBezTo>
                  <a:pt x="419" y="65"/>
                  <a:pt x="419" y="65"/>
                  <a:pt x="419" y="65"/>
                </a:cubicBezTo>
                <a:cubicBezTo>
                  <a:pt x="420" y="64"/>
                  <a:pt x="420" y="64"/>
                  <a:pt x="420" y="64"/>
                </a:cubicBezTo>
                <a:cubicBezTo>
                  <a:pt x="420" y="63"/>
                  <a:pt x="420" y="63"/>
                  <a:pt x="420" y="63"/>
                </a:cubicBezTo>
                <a:cubicBezTo>
                  <a:pt x="419" y="62"/>
                  <a:pt x="419" y="62"/>
                  <a:pt x="419" y="62"/>
                </a:cubicBezTo>
                <a:cubicBezTo>
                  <a:pt x="419" y="61"/>
                  <a:pt x="419" y="61"/>
                  <a:pt x="419" y="61"/>
                </a:cubicBezTo>
                <a:cubicBezTo>
                  <a:pt x="418" y="61"/>
                  <a:pt x="418" y="61"/>
                  <a:pt x="418" y="61"/>
                </a:cubicBezTo>
                <a:cubicBezTo>
                  <a:pt x="417" y="61"/>
                  <a:pt x="417" y="61"/>
                  <a:pt x="417" y="61"/>
                </a:cubicBezTo>
                <a:cubicBezTo>
                  <a:pt x="417" y="62"/>
                  <a:pt x="417" y="62"/>
                  <a:pt x="417" y="62"/>
                </a:cubicBezTo>
                <a:cubicBezTo>
                  <a:pt x="416" y="61"/>
                  <a:pt x="416" y="61"/>
                  <a:pt x="416" y="61"/>
                </a:cubicBezTo>
                <a:cubicBezTo>
                  <a:pt x="415" y="61"/>
                  <a:pt x="415" y="61"/>
                  <a:pt x="415" y="61"/>
                </a:cubicBezTo>
                <a:cubicBezTo>
                  <a:pt x="414" y="62"/>
                  <a:pt x="414" y="62"/>
                  <a:pt x="414" y="62"/>
                </a:cubicBezTo>
                <a:cubicBezTo>
                  <a:pt x="413" y="62"/>
                  <a:pt x="413" y="62"/>
                  <a:pt x="413" y="62"/>
                </a:cubicBezTo>
                <a:cubicBezTo>
                  <a:pt x="414" y="61"/>
                  <a:pt x="414" y="61"/>
                  <a:pt x="414" y="61"/>
                </a:cubicBezTo>
                <a:cubicBezTo>
                  <a:pt x="417" y="60"/>
                  <a:pt x="417" y="60"/>
                  <a:pt x="417" y="60"/>
                </a:cubicBezTo>
                <a:cubicBezTo>
                  <a:pt x="418" y="60"/>
                  <a:pt x="418" y="60"/>
                  <a:pt x="418" y="60"/>
                </a:cubicBezTo>
                <a:cubicBezTo>
                  <a:pt x="420" y="58"/>
                  <a:pt x="420" y="58"/>
                  <a:pt x="420" y="58"/>
                </a:cubicBezTo>
                <a:cubicBezTo>
                  <a:pt x="421" y="57"/>
                  <a:pt x="421" y="57"/>
                  <a:pt x="421" y="57"/>
                </a:cubicBezTo>
                <a:cubicBezTo>
                  <a:pt x="422" y="55"/>
                  <a:pt x="422" y="55"/>
                  <a:pt x="422" y="55"/>
                </a:cubicBezTo>
                <a:cubicBezTo>
                  <a:pt x="423" y="53"/>
                  <a:pt x="423" y="53"/>
                  <a:pt x="423" y="53"/>
                </a:cubicBezTo>
                <a:cubicBezTo>
                  <a:pt x="422" y="52"/>
                  <a:pt x="422" y="52"/>
                  <a:pt x="422" y="52"/>
                </a:cubicBezTo>
                <a:cubicBezTo>
                  <a:pt x="421" y="52"/>
                  <a:pt x="421" y="52"/>
                  <a:pt x="421" y="52"/>
                </a:cubicBezTo>
                <a:cubicBezTo>
                  <a:pt x="421" y="53"/>
                  <a:pt x="421" y="53"/>
                  <a:pt x="421" y="53"/>
                </a:cubicBezTo>
                <a:cubicBezTo>
                  <a:pt x="420" y="52"/>
                  <a:pt x="420" y="52"/>
                  <a:pt x="420" y="52"/>
                </a:cubicBezTo>
                <a:cubicBezTo>
                  <a:pt x="421" y="52"/>
                  <a:pt x="421" y="52"/>
                  <a:pt x="421" y="52"/>
                </a:cubicBezTo>
                <a:cubicBezTo>
                  <a:pt x="421" y="51"/>
                  <a:pt x="421" y="51"/>
                  <a:pt x="421" y="51"/>
                </a:cubicBezTo>
                <a:cubicBezTo>
                  <a:pt x="422" y="51"/>
                  <a:pt x="422" y="51"/>
                  <a:pt x="422" y="51"/>
                </a:cubicBezTo>
                <a:cubicBezTo>
                  <a:pt x="423" y="50"/>
                  <a:pt x="423" y="50"/>
                  <a:pt x="423" y="50"/>
                </a:cubicBezTo>
                <a:cubicBezTo>
                  <a:pt x="423" y="49"/>
                  <a:pt x="423" y="49"/>
                  <a:pt x="423" y="49"/>
                </a:cubicBezTo>
                <a:cubicBezTo>
                  <a:pt x="424" y="48"/>
                  <a:pt x="424" y="48"/>
                  <a:pt x="424" y="48"/>
                </a:cubicBezTo>
                <a:cubicBezTo>
                  <a:pt x="424" y="46"/>
                  <a:pt x="424" y="46"/>
                  <a:pt x="424" y="46"/>
                </a:cubicBezTo>
                <a:cubicBezTo>
                  <a:pt x="424" y="46"/>
                  <a:pt x="424" y="46"/>
                  <a:pt x="424" y="46"/>
                </a:cubicBezTo>
                <a:cubicBezTo>
                  <a:pt x="424" y="45"/>
                  <a:pt x="424" y="45"/>
                  <a:pt x="424" y="45"/>
                </a:cubicBezTo>
                <a:cubicBezTo>
                  <a:pt x="422" y="45"/>
                  <a:pt x="422" y="45"/>
                  <a:pt x="422" y="45"/>
                </a:cubicBezTo>
                <a:cubicBezTo>
                  <a:pt x="421" y="45"/>
                  <a:pt x="421" y="45"/>
                  <a:pt x="421" y="45"/>
                </a:cubicBezTo>
                <a:cubicBezTo>
                  <a:pt x="420" y="48"/>
                  <a:pt x="420" y="48"/>
                  <a:pt x="420" y="48"/>
                </a:cubicBezTo>
                <a:cubicBezTo>
                  <a:pt x="420" y="49"/>
                  <a:pt x="420" y="49"/>
                  <a:pt x="420" y="49"/>
                </a:cubicBezTo>
                <a:cubicBezTo>
                  <a:pt x="420" y="50"/>
                  <a:pt x="420" y="50"/>
                  <a:pt x="420" y="50"/>
                </a:cubicBezTo>
                <a:cubicBezTo>
                  <a:pt x="420" y="51"/>
                  <a:pt x="420" y="51"/>
                  <a:pt x="420" y="51"/>
                </a:cubicBezTo>
                <a:cubicBezTo>
                  <a:pt x="419" y="52"/>
                  <a:pt x="419" y="52"/>
                  <a:pt x="419" y="52"/>
                </a:cubicBezTo>
                <a:cubicBezTo>
                  <a:pt x="419" y="51"/>
                  <a:pt x="419" y="51"/>
                  <a:pt x="419" y="51"/>
                </a:cubicBezTo>
                <a:cubicBezTo>
                  <a:pt x="419" y="51"/>
                  <a:pt x="419" y="51"/>
                  <a:pt x="419" y="51"/>
                </a:cubicBezTo>
                <a:cubicBezTo>
                  <a:pt x="418" y="50"/>
                  <a:pt x="418" y="50"/>
                  <a:pt x="418" y="50"/>
                </a:cubicBezTo>
                <a:cubicBezTo>
                  <a:pt x="418" y="49"/>
                  <a:pt x="418" y="49"/>
                  <a:pt x="418" y="49"/>
                </a:cubicBezTo>
                <a:cubicBezTo>
                  <a:pt x="419" y="47"/>
                  <a:pt x="419" y="47"/>
                  <a:pt x="419" y="47"/>
                </a:cubicBezTo>
                <a:cubicBezTo>
                  <a:pt x="419" y="46"/>
                  <a:pt x="419" y="46"/>
                  <a:pt x="419" y="46"/>
                </a:cubicBezTo>
                <a:cubicBezTo>
                  <a:pt x="419" y="45"/>
                  <a:pt x="419" y="45"/>
                  <a:pt x="419" y="45"/>
                </a:cubicBezTo>
                <a:cubicBezTo>
                  <a:pt x="420" y="45"/>
                  <a:pt x="420" y="45"/>
                  <a:pt x="420" y="45"/>
                </a:cubicBezTo>
                <a:cubicBezTo>
                  <a:pt x="420" y="45"/>
                  <a:pt x="420" y="45"/>
                  <a:pt x="420" y="45"/>
                </a:cubicBezTo>
                <a:cubicBezTo>
                  <a:pt x="420" y="43"/>
                  <a:pt x="420" y="43"/>
                  <a:pt x="420" y="43"/>
                </a:cubicBezTo>
                <a:cubicBezTo>
                  <a:pt x="419" y="42"/>
                  <a:pt x="419" y="42"/>
                  <a:pt x="419" y="42"/>
                </a:cubicBezTo>
                <a:cubicBezTo>
                  <a:pt x="418" y="42"/>
                  <a:pt x="418" y="42"/>
                  <a:pt x="418" y="42"/>
                </a:cubicBezTo>
                <a:cubicBezTo>
                  <a:pt x="417" y="43"/>
                  <a:pt x="417" y="43"/>
                  <a:pt x="417" y="43"/>
                </a:cubicBezTo>
                <a:cubicBezTo>
                  <a:pt x="416" y="44"/>
                  <a:pt x="416" y="44"/>
                  <a:pt x="416" y="44"/>
                </a:cubicBezTo>
                <a:cubicBezTo>
                  <a:pt x="416" y="43"/>
                  <a:pt x="416" y="43"/>
                  <a:pt x="416" y="43"/>
                </a:cubicBezTo>
                <a:cubicBezTo>
                  <a:pt x="416" y="43"/>
                  <a:pt x="416" y="43"/>
                  <a:pt x="416" y="43"/>
                </a:cubicBezTo>
                <a:cubicBezTo>
                  <a:pt x="416" y="41"/>
                  <a:pt x="416" y="41"/>
                  <a:pt x="416" y="41"/>
                </a:cubicBezTo>
                <a:cubicBezTo>
                  <a:pt x="415" y="39"/>
                  <a:pt x="415" y="39"/>
                  <a:pt x="415" y="39"/>
                </a:cubicBezTo>
                <a:cubicBezTo>
                  <a:pt x="415" y="36"/>
                  <a:pt x="415" y="36"/>
                  <a:pt x="415" y="36"/>
                </a:cubicBezTo>
                <a:cubicBezTo>
                  <a:pt x="415" y="34"/>
                  <a:pt x="415" y="34"/>
                  <a:pt x="415" y="34"/>
                </a:cubicBezTo>
                <a:cubicBezTo>
                  <a:pt x="416" y="33"/>
                  <a:pt x="416" y="33"/>
                  <a:pt x="416" y="33"/>
                </a:cubicBezTo>
                <a:cubicBezTo>
                  <a:pt x="416" y="31"/>
                  <a:pt x="416" y="31"/>
                  <a:pt x="416" y="31"/>
                </a:cubicBezTo>
                <a:cubicBezTo>
                  <a:pt x="416" y="29"/>
                  <a:pt x="416" y="29"/>
                  <a:pt x="416" y="29"/>
                </a:cubicBezTo>
                <a:cubicBezTo>
                  <a:pt x="417" y="27"/>
                  <a:pt x="417" y="27"/>
                  <a:pt x="417" y="27"/>
                </a:cubicBezTo>
                <a:cubicBezTo>
                  <a:pt x="417" y="26"/>
                  <a:pt x="417" y="26"/>
                  <a:pt x="417" y="26"/>
                </a:cubicBezTo>
                <a:cubicBezTo>
                  <a:pt x="416" y="24"/>
                  <a:pt x="416" y="24"/>
                  <a:pt x="416" y="24"/>
                </a:cubicBezTo>
                <a:cubicBezTo>
                  <a:pt x="416" y="23"/>
                  <a:pt x="416" y="23"/>
                  <a:pt x="416" y="23"/>
                </a:cubicBezTo>
                <a:cubicBezTo>
                  <a:pt x="414" y="22"/>
                  <a:pt x="414" y="22"/>
                  <a:pt x="414" y="22"/>
                </a:cubicBezTo>
                <a:cubicBezTo>
                  <a:pt x="413" y="21"/>
                  <a:pt x="413" y="21"/>
                  <a:pt x="413" y="21"/>
                </a:cubicBezTo>
                <a:cubicBezTo>
                  <a:pt x="412" y="20"/>
                  <a:pt x="412" y="20"/>
                  <a:pt x="412" y="20"/>
                </a:cubicBezTo>
                <a:cubicBezTo>
                  <a:pt x="411" y="20"/>
                  <a:pt x="411" y="20"/>
                  <a:pt x="411" y="20"/>
                </a:cubicBezTo>
                <a:cubicBezTo>
                  <a:pt x="411" y="21"/>
                  <a:pt x="411" y="21"/>
                  <a:pt x="411" y="21"/>
                </a:cubicBezTo>
                <a:cubicBezTo>
                  <a:pt x="411" y="21"/>
                  <a:pt x="411" y="21"/>
                  <a:pt x="411" y="21"/>
                </a:cubicBezTo>
                <a:cubicBezTo>
                  <a:pt x="409" y="20"/>
                  <a:pt x="409" y="20"/>
                  <a:pt x="409" y="20"/>
                </a:cubicBezTo>
                <a:cubicBezTo>
                  <a:pt x="408" y="20"/>
                  <a:pt x="408" y="20"/>
                  <a:pt x="408" y="20"/>
                </a:cubicBezTo>
                <a:cubicBezTo>
                  <a:pt x="408" y="21"/>
                  <a:pt x="408" y="21"/>
                  <a:pt x="408" y="21"/>
                </a:cubicBezTo>
                <a:cubicBezTo>
                  <a:pt x="407" y="23"/>
                  <a:pt x="407" y="23"/>
                  <a:pt x="407" y="23"/>
                </a:cubicBezTo>
                <a:cubicBezTo>
                  <a:pt x="408" y="24"/>
                  <a:pt x="408" y="24"/>
                  <a:pt x="408" y="24"/>
                </a:cubicBezTo>
                <a:cubicBezTo>
                  <a:pt x="409" y="24"/>
                  <a:pt x="409" y="24"/>
                  <a:pt x="409" y="24"/>
                </a:cubicBezTo>
                <a:cubicBezTo>
                  <a:pt x="410" y="23"/>
                  <a:pt x="410" y="23"/>
                  <a:pt x="410" y="23"/>
                </a:cubicBezTo>
                <a:cubicBezTo>
                  <a:pt x="411" y="24"/>
                  <a:pt x="411" y="24"/>
                  <a:pt x="411" y="24"/>
                </a:cubicBezTo>
                <a:cubicBezTo>
                  <a:pt x="412" y="25"/>
                  <a:pt x="412" y="25"/>
                  <a:pt x="412" y="25"/>
                </a:cubicBezTo>
                <a:cubicBezTo>
                  <a:pt x="413" y="25"/>
                  <a:pt x="413" y="25"/>
                  <a:pt x="413" y="25"/>
                </a:cubicBezTo>
                <a:cubicBezTo>
                  <a:pt x="413" y="26"/>
                  <a:pt x="413" y="26"/>
                  <a:pt x="413" y="26"/>
                </a:cubicBezTo>
                <a:cubicBezTo>
                  <a:pt x="411" y="28"/>
                  <a:pt x="411" y="28"/>
                  <a:pt x="411" y="28"/>
                </a:cubicBezTo>
                <a:cubicBezTo>
                  <a:pt x="410" y="28"/>
                  <a:pt x="410" y="28"/>
                  <a:pt x="410" y="28"/>
                </a:cubicBezTo>
                <a:cubicBezTo>
                  <a:pt x="409" y="27"/>
                  <a:pt x="409" y="27"/>
                  <a:pt x="409" y="27"/>
                </a:cubicBezTo>
                <a:cubicBezTo>
                  <a:pt x="408" y="27"/>
                  <a:pt x="408" y="27"/>
                  <a:pt x="408" y="27"/>
                </a:cubicBezTo>
                <a:cubicBezTo>
                  <a:pt x="406" y="27"/>
                  <a:pt x="406" y="27"/>
                  <a:pt x="406" y="27"/>
                </a:cubicBezTo>
                <a:cubicBezTo>
                  <a:pt x="407" y="28"/>
                  <a:pt x="407" y="28"/>
                  <a:pt x="407" y="28"/>
                </a:cubicBezTo>
                <a:cubicBezTo>
                  <a:pt x="408" y="28"/>
                  <a:pt x="408" y="28"/>
                  <a:pt x="408" y="28"/>
                </a:cubicBezTo>
                <a:cubicBezTo>
                  <a:pt x="407" y="29"/>
                  <a:pt x="407" y="29"/>
                  <a:pt x="407" y="29"/>
                </a:cubicBezTo>
                <a:cubicBezTo>
                  <a:pt x="406" y="29"/>
                  <a:pt x="406" y="29"/>
                  <a:pt x="406" y="29"/>
                </a:cubicBezTo>
                <a:cubicBezTo>
                  <a:pt x="404" y="28"/>
                  <a:pt x="404" y="28"/>
                  <a:pt x="404" y="28"/>
                </a:cubicBezTo>
                <a:cubicBezTo>
                  <a:pt x="402" y="29"/>
                  <a:pt x="402" y="29"/>
                  <a:pt x="402" y="29"/>
                </a:cubicBezTo>
                <a:cubicBezTo>
                  <a:pt x="402" y="30"/>
                  <a:pt x="402" y="30"/>
                  <a:pt x="402" y="30"/>
                </a:cubicBezTo>
                <a:cubicBezTo>
                  <a:pt x="401" y="31"/>
                  <a:pt x="401" y="31"/>
                  <a:pt x="401" y="31"/>
                </a:cubicBezTo>
                <a:cubicBezTo>
                  <a:pt x="401" y="32"/>
                  <a:pt x="401" y="32"/>
                  <a:pt x="401" y="32"/>
                </a:cubicBezTo>
                <a:cubicBezTo>
                  <a:pt x="402" y="32"/>
                  <a:pt x="402" y="32"/>
                  <a:pt x="402" y="32"/>
                </a:cubicBezTo>
                <a:cubicBezTo>
                  <a:pt x="402" y="34"/>
                  <a:pt x="402" y="34"/>
                  <a:pt x="402" y="34"/>
                </a:cubicBezTo>
                <a:cubicBezTo>
                  <a:pt x="404" y="34"/>
                  <a:pt x="404" y="34"/>
                  <a:pt x="404" y="34"/>
                </a:cubicBezTo>
                <a:cubicBezTo>
                  <a:pt x="404" y="35"/>
                  <a:pt x="404" y="35"/>
                  <a:pt x="404" y="35"/>
                </a:cubicBezTo>
                <a:cubicBezTo>
                  <a:pt x="403" y="35"/>
                  <a:pt x="403" y="35"/>
                  <a:pt x="403" y="35"/>
                </a:cubicBezTo>
                <a:cubicBezTo>
                  <a:pt x="403" y="36"/>
                  <a:pt x="403" y="36"/>
                  <a:pt x="403" y="36"/>
                </a:cubicBezTo>
                <a:cubicBezTo>
                  <a:pt x="403" y="37"/>
                  <a:pt x="403" y="37"/>
                  <a:pt x="403" y="37"/>
                </a:cubicBezTo>
                <a:cubicBezTo>
                  <a:pt x="403" y="37"/>
                  <a:pt x="403" y="37"/>
                  <a:pt x="403" y="37"/>
                </a:cubicBezTo>
                <a:cubicBezTo>
                  <a:pt x="402" y="37"/>
                  <a:pt x="402" y="37"/>
                  <a:pt x="402" y="37"/>
                </a:cubicBezTo>
                <a:cubicBezTo>
                  <a:pt x="402" y="37"/>
                  <a:pt x="402" y="37"/>
                  <a:pt x="402" y="37"/>
                </a:cubicBezTo>
                <a:cubicBezTo>
                  <a:pt x="400" y="37"/>
                  <a:pt x="400" y="37"/>
                  <a:pt x="400" y="37"/>
                </a:cubicBezTo>
                <a:cubicBezTo>
                  <a:pt x="399" y="36"/>
                  <a:pt x="399" y="36"/>
                  <a:pt x="399" y="36"/>
                </a:cubicBezTo>
                <a:cubicBezTo>
                  <a:pt x="398" y="35"/>
                  <a:pt x="398" y="35"/>
                  <a:pt x="398" y="35"/>
                </a:cubicBezTo>
                <a:cubicBezTo>
                  <a:pt x="397" y="36"/>
                  <a:pt x="397" y="36"/>
                  <a:pt x="397" y="36"/>
                </a:cubicBezTo>
                <a:cubicBezTo>
                  <a:pt x="397" y="37"/>
                  <a:pt x="397" y="37"/>
                  <a:pt x="397" y="37"/>
                </a:cubicBezTo>
                <a:cubicBezTo>
                  <a:pt x="398" y="38"/>
                  <a:pt x="398" y="38"/>
                  <a:pt x="398" y="38"/>
                </a:cubicBezTo>
                <a:cubicBezTo>
                  <a:pt x="397" y="39"/>
                  <a:pt x="397" y="39"/>
                  <a:pt x="397" y="39"/>
                </a:cubicBezTo>
                <a:cubicBezTo>
                  <a:pt x="396" y="39"/>
                  <a:pt x="396" y="39"/>
                  <a:pt x="396" y="39"/>
                </a:cubicBezTo>
                <a:cubicBezTo>
                  <a:pt x="396" y="38"/>
                  <a:pt x="396" y="38"/>
                  <a:pt x="396" y="38"/>
                </a:cubicBezTo>
                <a:cubicBezTo>
                  <a:pt x="396" y="37"/>
                  <a:pt x="396" y="37"/>
                  <a:pt x="396" y="37"/>
                </a:cubicBezTo>
                <a:cubicBezTo>
                  <a:pt x="394" y="37"/>
                  <a:pt x="394" y="37"/>
                  <a:pt x="394" y="37"/>
                </a:cubicBezTo>
                <a:cubicBezTo>
                  <a:pt x="394" y="37"/>
                  <a:pt x="394" y="37"/>
                  <a:pt x="394" y="37"/>
                </a:cubicBezTo>
                <a:cubicBezTo>
                  <a:pt x="393" y="36"/>
                  <a:pt x="393" y="36"/>
                  <a:pt x="393" y="36"/>
                </a:cubicBezTo>
                <a:cubicBezTo>
                  <a:pt x="392" y="36"/>
                  <a:pt x="392" y="36"/>
                  <a:pt x="392" y="36"/>
                </a:cubicBezTo>
                <a:cubicBezTo>
                  <a:pt x="392" y="37"/>
                  <a:pt x="392" y="37"/>
                  <a:pt x="392" y="37"/>
                </a:cubicBezTo>
                <a:cubicBezTo>
                  <a:pt x="392" y="38"/>
                  <a:pt x="392" y="38"/>
                  <a:pt x="392" y="38"/>
                </a:cubicBezTo>
                <a:cubicBezTo>
                  <a:pt x="392" y="40"/>
                  <a:pt x="392" y="40"/>
                  <a:pt x="392" y="40"/>
                </a:cubicBezTo>
                <a:cubicBezTo>
                  <a:pt x="393" y="41"/>
                  <a:pt x="393" y="41"/>
                  <a:pt x="393" y="41"/>
                </a:cubicBezTo>
                <a:cubicBezTo>
                  <a:pt x="394" y="42"/>
                  <a:pt x="394" y="42"/>
                  <a:pt x="394" y="42"/>
                </a:cubicBezTo>
                <a:cubicBezTo>
                  <a:pt x="395" y="42"/>
                  <a:pt x="395" y="42"/>
                  <a:pt x="395" y="42"/>
                </a:cubicBezTo>
                <a:cubicBezTo>
                  <a:pt x="396" y="43"/>
                  <a:pt x="396" y="43"/>
                  <a:pt x="396" y="43"/>
                </a:cubicBezTo>
                <a:cubicBezTo>
                  <a:pt x="395" y="43"/>
                  <a:pt x="395" y="43"/>
                  <a:pt x="395" y="43"/>
                </a:cubicBezTo>
                <a:cubicBezTo>
                  <a:pt x="394" y="43"/>
                  <a:pt x="394" y="43"/>
                  <a:pt x="394" y="43"/>
                </a:cubicBezTo>
                <a:cubicBezTo>
                  <a:pt x="395" y="44"/>
                  <a:pt x="395" y="44"/>
                  <a:pt x="395" y="44"/>
                </a:cubicBezTo>
                <a:cubicBezTo>
                  <a:pt x="396" y="45"/>
                  <a:pt x="396" y="45"/>
                  <a:pt x="396" y="45"/>
                </a:cubicBezTo>
                <a:cubicBezTo>
                  <a:pt x="397" y="46"/>
                  <a:pt x="397" y="46"/>
                  <a:pt x="397" y="46"/>
                </a:cubicBezTo>
                <a:cubicBezTo>
                  <a:pt x="399" y="46"/>
                  <a:pt x="399" y="46"/>
                  <a:pt x="399" y="46"/>
                </a:cubicBezTo>
                <a:cubicBezTo>
                  <a:pt x="399" y="45"/>
                  <a:pt x="399" y="45"/>
                  <a:pt x="399" y="45"/>
                </a:cubicBezTo>
                <a:cubicBezTo>
                  <a:pt x="400" y="45"/>
                  <a:pt x="400" y="45"/>
                  <a:pt x="400" y="45"/>
                </a:cubicBezTo>
                <a:cubicBezTo>
                  <a:pt x="400" y="46"/>
                  <a:pt x="400" y="46"/>
                  <a:pt x="400" y="46"/>
                </a:cubicBezTo>
                <a:cubicBezTo>
                  <a:pt x="399" y="46"/>
                  <a:pt x="399" y="46"/>
                  <a:pt x="399" y="46"/>
                </a:cubicBezTo>
                <a:cubicBezTo>
                  <a:pt x="399" y="48"/>
                  <a:pt x="399" y="48"/>
                  <a:pt x="399" y="48"/>
                </a:cubicBezTo>
                <a:cubicBezTo>
                  <a:pt x="398" y="48"/>
                  <a:pt x="398" y="48"/>
                  <a:pt x="398" y="48"/>
                </a:cubicBezTo>
                <a:cubicBezTo>
                  <a:pt x="396" y="47"/>
                  <a:pt x="396" y="47"/>
                  <a:pt x="396" y="47"/>
                </a:cubicBezTo>
                <a:cubicBezTo>
                  <a:pt x="393" y="46"/>
                  <a:pt x="393" y="46"/>
                  <a:pt x="393" y="46"/>
                </a:cubicBezTo>
                <a:cubicBezTo>
                  <a:pt x="392" y="45"/>
                  <a:pt x="392" y="45"/>
                  <a:pt x="392" y="45"/>
                </a:cubicBezTo>
                <a:cubicBezTo>
                  <a:pt x="391" y="44"/>
                  <a:pt x="391" y="44"/>
                  <a:pt x="391" y="44"/>
                </a:cubicBezTo>
                <a:cubicBezTo>
                  <a:pt x="390" y="44"/>
                  <a:pt x="390" y="44"/>
                  <a:pt x="390" y="44"/>
                </a:cubicBezTo>
                <a:cubicBezTo>
                  <a:pt x="390" y="44"/>
                  <a:pt x="390" y="44"/>
                  <a:pt x="390" y="44"/>
                </a:cubicBezTo>
                <a:cubicBezTo>
                  <a:pt x="389" y="45"/>
                  <a:pt x="389" y="45"/>
                  <a:pt x="389" y="45"/>
                </a:cubicBezTo>
                <a:cubicBezTo>
                  <a:pt x="389" y="46"/>
                  <a:pt x="389" y="46"/>
                  <a:pt x="389" y="46"/>
                </a:cubicBezTo>
                <a:cubicBezTo>
                  <a:pt x="389" y="46"/>
                  <a:pt x="389" y="46"/>
                  <a:pt x="389" y="46"/>
                </a:cubicBezTo>
                <a:cubicBezTo>
                  <a:pt x="389" y="48"/>
                  <a:pt x="389" y="48"/>
                  <a:pt x="389" y="48"/>
                </a:cubicBezTo>
                <a:cubicBezTo>
                  <a:pt x="388" y="49"/>
                  <a:pt x="388" y="49"/>
                  <a:pt x="388" y="49"/>
                </a:cubicBezTo>
                <a:cubicBezTo>
                  <a:pt x="388" y="48"/>
                  <a:pt x="388" y="48"/>
                  <a:pt x="388" y="48"/>
                </a:cubicBezTo>
                <a:cubicBezTo>
                  <a:pt x="388" y="50"/>
                  <a:pt x="388" y="50"/>
                  <a:pt x="388" y="50"/>
                </a:cubicBezTo>
                <a:cubicBezTo>
                  <a:pt x="387" y="50"/>
                  <a:pt x="387" y="50"/>
                  <a:pt x="387" y="50"/>
                </a:cubicBezTo>
                <a:cubicBezTo>
                  <a:pt x="387" y="53"/>
                  <a:pt x="387" y="53"/>
                  <a:pt x="387" y="53"/>
                </a:cubicBezTo>
                <a:cubicBezTo>
                  <a:pt x="388" y="54"/>
                  <a:pt x="388" y="54"/>
                  <a:pt x="388" y="54"/>
                </a:cubicBezTo>
                <a:cubicBezTo>
                  <a:pt x="390" y="54"/>
                  <a:pt x="390" y="54"/>
                  <a:pt x="390" y="54"/>
                </a:cubicBezTo>
                <a:cubicBezTo>
                  <a:pt x="391" y="55"/>
                  <a:pt x="391" y="55"/>
                  <a:pt x="391" y="55"/>
                </a:cubicBezTo>
                <a:cubicBezTo>
                  <a:pt x="392" y="54"/>
                  <a:pt x="392" y="54"/>
                  <a:pt x="392" y="54"/>
                </a:cubicBezTo>
                <a:cubicBezTo>
                  <a:pt x="392" y="55"/>
                  <a:pt x="392" y="55"/>
                  <a:pt x="392" y="55"/>
                </a:cubicBezTo>
                <a:cubicBezTo>
                  <a:pt x="391" y="55"/>
                  <a:pt x="391" y="55"/>
                  <a:pt x="391" y="55"/>
                </a:cubicBezTo>
                <a:cubicBezTo>
                  <a:pt x="390" y="55"/>
                  <a:pt x="390" y="55"/>
                  <a:pt x="390" y="55"/>
                </a:cubicBezTo>
                <a:cubicBezTo>
                  <a:pt x="388" y="55"/>
                  <a:pt x="388" y="55"/>
                  <a:pt x="388" y="55"/>
                </a:cubicBezTo>
                <a:cubicBezTo>
                  <a:pt x="387" y="54"/>
                  <a:pt x="387" y="54"/>
                  <a:pt x="387" y="54"/>
                </a:cubicBezTo>
                <a:cubicBezTo>
                  <a:pt x="386" y="55"/>
                  <a:pt x="386" y="55"/>
                  <a:pt x="386" y="55"/>
                </a:cubicBezTo>
                <a:cubicBezTo>
                  <a:pt x="384" y="57"/>
                  <a:pt x="384" y="57"/>
                  <a:pt x="384" y="57"/>
                </a:cubicBezTo>
                <a:cubicBezTo>
                  <a:pt x="384" y="58"/>
                  <a:pt x="384" y="58"/>
                  <a:pt x="384" y="58"/>
                </a:cubicBezTo>
                <a:cubicBezTo>
                  <a:pt x="385" y="59"/>
                  <a:pt x="385" y="59"/>
                  <a:pt x="385" y="59"/>
                </a:cubicBezTo>
                <a:cubicBezTo>
                  <a:pt x="385" y="59"/>
                  <a:pt x="385" y="59"/>
                  <a:pt x="385" y="59"/>
                </a:cubicBezTo>
                <a:cubicBezTo>
                  <a:pt x="384" y="60"/>
                  <a:pt x="384" y="60"/>
                  <a:pt x="384" y="60"/>
                </a:cubicBezTo>
                <a:cubicBezTo>
                  <a:pt x="384" y="61"/>
                  <a:pt x="384" y="61"/>
                  <a:pt x="384" y="61"/>
                </a:cubicBezTo>
                <a:cubicBezTo>
                  <a:pt x="385" y="61"/>
                  <a:pt x="385" y="61"/>
                  <a:pt x="385" y="61"/>
                </a:cubicBezTo>
                <a:cubicBezTo>
                  <a:pt x="385" y="61"/>
                  <a:pt x="385" y="61"/>
                  <a:pt x="385" y="61"/>
                </a:cubicBezTo>
                <a:cubicBezTo>
                  <a:pt x="387" y="61"/>
                  <a:pt x="387" y="61"/>
                  <a:pt x="387" y="61"/>
                </a:cubicBezTo>
                <a:cubicBezTo>
                  <a:pt x="388" y="60"/>
                  <a:pt x="388" y="60"/>
                  <a:pt x="388" y="60"/>
                </a:cubicBezTo>
                <a:cubicBezTo>
                  <a:pt x="389" y="60"/>
                  <a:pt x="389" y="60"/>
                  <a:pt x="389" y="60"/>
                </a:cubicBezTo>
                <a:cubicBezTo>
                  <a:pt x="388" y="61"/>
                  <a:pt x="388" y="61"/>
                  <a:pt x="388" y="61"/>
                </a:cubicBezTo>
                <a:cubicBezTo>
                  <a:pt x="387" y="61"/>
                  <a:pt x="387" y="61"/>
                  <a:pt x="387" y="61"/>
                </a:cubicBezTo>
                <a:cubicBezTo>
                  <a:pt x="387" y="63"/>
                  <a:pt x="387" y="63"/>
                  <a:pt x="387" y="63"/>
                </a:cubicBezTo>
                <a:cubicBezTo>
                  <a:pt x="387" y="63"/>
                  <a:pt x="387" y="63"/>
                  <a:pt x="387" y="63"/>
                </a:cubicBezTo>
                <a:cubicBezTo>
                  <a:pt x="388" y="63"/>
                  <a:pt x="388" y="63"/>
                  <a:pt x="388" y="63"/>
                </a:cubicBezTo>
                <a:cubicBezTo>
                  <a:pt x="389" y="62"/>
                  <a:pt x="389" y="62"/>
                  <a:pt x="389" y="62"/>
                </a:cubicBezTo>
                <a:cubicBezTo>
                  <a:pt x="390" y="62"/>
                  <a:pt x="390" y="62"/>
                  <a:pt x="390" y="62"/>
                </a:cubicBezTo>
                <a:cubicBezTo>
                  <a:pt x="391" y="61"/>
                  <a:pt x="391" y="61"/>
                  <a:pt x="391" y="61"/>
                </a:cubicBezTo>
                <a:cubicBezTo>
                  <a:pt x="391" y="62"/>
                  <a:pt x="391" y="62"/>
                  <a:pt x="391" y="62"/>
                </a:cubicBezTo>
                <a:cubicBezTo>
                  <a:pt x="390" y="63"/>
                  <a:pt x="390" y="63"/>
                  <a:pt x="390" y="63"/>
                </a:cubicBezTo>
                <a:cubicBezTo>
                  <a:pt x="391" y="63"/>
                  <a:pt x="391" y="63"/>
                  <a:pt x="391" y="63"/>
                </a:cubicBezTo>
                <a:cubicBezTo>
                  <a:pt x="393" y="63"/>
                  <a:pt x="393" y="63"/>
                  <a:pt x="393" y="63"/>
                </a:cubicBezTo>
                <a:cubicBezTo>
                  <a:pt x="393" y="64"/>
                  <a:pt x="393" y="64"/>
                  <a:pt x="393" y="64"/>
                </a:cubicBezTo>
                <a:cubicBezTo>
                  <a:pt x="392" y="64"/>
                  <a:pt x="392" y="64"/>
                  <a:pt x="392" y="64"/>
                </a:cubicBezTo>
                <a:cubicBezTo>
                  <a:pt x="392" y="65"/>
                  <a:pt x="392" y="65"/>
                  <a:pt x="392" y="65"/>
                </a:cubicBezTo>
                <a:cubicBezTo>
                  <a:pt x="393" y="65"/>
                  <a:pt x="393" y="65"/>
                  <a:pt x="393" y="65"/>
                </a:cubicBezTo>
                <a:cubicBezTo>
                  <a:pt x="395" y="65"/>
                  <a:pt x="395" y="65"/>
                  <a:pt x="395" y="65"/>
                </a:cubicBezTo>
                <a:cubicBezTo>
                  <a:pt x="396" y="66"/>
                  <a:pt x="396" y="66"/>
                  <a:pt x="396" y="66"/>
                </a:cubicBezTo>
                <a:cubicBezTo>
                  <a:pt x="399" y="67"/>
                  <a:pt x="399" y="67"/>
                  <a:pt x="399" y="67"/>
                </a:cubicBezTo>
                <a:cubicBezTo>
                  <a:pt x="399" y="67"/>
                  <a:pt x="399" y="67"/>
                  <a:pt x="399" y="67"/>
                </a:cubicBezTo>
                <a:cubicBezTo>
                  <a:pt x="397" y="67"/>
                  <a:pt x="397" y="67"/>
                  <a:pt x="397" y="67"/>
                </a:cubicBezTo>
                <a:cubicBezTo>
                  <a:pt x="396" y="67"/>
                  <a:pt x="396" y="67"/>
                  <a:pt x="396" y="67"/>
                </a:cubicBezTo>
                <a:cubicBezTo>
                  <a:pt x="394" y="66"/>
                  <a:pt x="394" y="66"/>
                  <a:pt x="394" y="66"/>
                </a:cubicBezTo>
                <a:cubicBezTo>
                  <a:pt x="392" y="67"/>
                  <a:pt x="392" y="67"/>
                  <a:pt x="392" y="67"/>
                </a:cubicBezTo>
                <a:cubicBezTo>
                  <a:pt x="392" y="67"/>
                  <a:pt x="392" y="67"/>
                  <a:pt x="392" y="67"/>
                </a:cubicBezTo>
                <a:cubicBezTo>
                  <a:pt x="394" y="68"/>
                  <a:pt x="394" y="68"/>
                  <a:pt x="394" y="68"/>
                </a:cubicBezTo>
                <a:cubicBezTo>
                  <a:pt x="396" y="68"/>
                  <a:pt x="396" y="68"/>
                  <a:pt x="396" y="68"/>
                </a:cubicBezTo>
                <a:cubicBezTo>
                  <a:pt x="399" y="68"/>
                  <a:pt x="399" y="68"/>
                  <a:pt x="399" y="68"/>
                </a:cubicBezTo>
                <a:cubicBezTo>
                  <a:pt x="400" y="69"/>
                  <a:pt x="400" y="69"/>
                  <a:pt x="400" y="69"/>
                </a:cubicBezTo>
                <a:cubicBezTo>
                  <a:pt x="397" y="70"/>
                  <a:pt x="397" y="70"/>
                  <a:pt x="397" y="70"/>
                </a:cubicBezTo>
                <a:cubicBezTo>
                  <a:pt x="396" y="69"/>
                  <a:pt x="396" y="69"/>
                  <a:pt x="396" y="69"/>
                </a:cubicBezTo>
                <a:cubicBezTo>
                  <a:pt x="394" y="69"/>
                  <a:pt x="394" y="69"/>
                  <a:pt x="394" y="69"/>
                </a:cubicBezTo>
                <a:cubicBezTo>
                  <a:pt x="392" y="69"/>
                  <a:pt x="392" y="69"/>
                  <a:pt x="392" y="69"/>
                </a:cubicBezTo>
                <a:cubicBezTo>
                  <a:pt x="391" y="68"/>
                  <a:pt x="391" y="68"/>
                  <a:pt x="391" y="68"/>
                </a:cubicBezTo>
                <a:cubicBezTo>
                  <a:pt x="390" y="67"/>
                  <a:pt x="390" y="67"/>
                  <a:pt x="390" y="67"/>
                </a:cubicBezTo>
                <a:cubicBezTo>
                  <a:pt x="388" y="66"/>
                  <a:pt x="388" y="66"/>
                  <a:pt x="388" y="66"/>
                </a:cubicBezTo>
                <a:cubicBezTo>
                  <a:pt x="388" y="66"/>
                  <a:pt x="388" y="66"/>
                  <a:pt x="388" y="66"/>
                </a:cubicBezTo>
                <a:cubicBezTo>
                  <a:pt x="387" y="67"/>
                  <a:pt x="387" y="67"/>
                  <a:pt x="387" y="67"/>
                </a:cubicBezTo>
                <a:cubicBezTo>
                  <a:pt x="385" y="67"/>
                  <a:pt x="385" y="67"/>
                  <a:pt x="385" y="67"/>
                </a:cubicBezTo>
                <a:cubicBezTo>
                  <a:pt x="384" y="68"/>
                  <a:pt x="384" y="68"/>
                  <a:pt x="384" y="68"/>
                </a:cubicBezTo>
                <a:cubicBezTo>
                  <a:pt x="384" y="70"/>
                  <a:pt x="384" y="70"/>
                  <a:pt x="384" y="70"/>
                </a:cubicBezTo>
                <a:cubicBezTo>
                  <a:pt x="385" y="72"/>
                  <a:pt x="385" y="72"/>
                  <a:pt x="385" y="72"/>
                </a:cubicBezTo>
                <a:cubicBezTo>
                  <a:pt x="385" y="73"/>
                  <a:pt x="385" y="73"/>
                  <a:pt x="385" y="73"/>
                </a:cubicBezTo>
                <a:cubicBezTo>
                  <a:pt x="385" y="74"/>
                  <a:pt x="385" y="74"/>
                  <a:pt x="385" y="74"/>
                </a:cubicBezTo>
                <a:cubicBezTo>
                  <a:pt x="384" y="72"/>
                  <a:pt x="384" y="72"/>
                  <a:pt x="384" y="72"/>
                </a:cubicBezTo>
                <a:cubicBezTo>
                  <a:pt x="383" y="72"/>
                  <a:pt x="383" y="72"/>
                  <a:pt x="383" y="72"/>
                </a:cubicBezTo>
                <a:cubicBezTo>
                  <a:pt x="382" y="74"/>
                  <a:pt x="382" y="74"/>
                  <a:pt x="382" y="74"/>
                </a:cubicBezTo>
                <a:cubicBezTo>
                  <a:pt x="382" y="76"/>
                  <a:pt x="382" y="76"/>
                  <a:pt x="382" y="76"/>
                </a:cubicBezTo>
                <a:cubicBezTo>
                  <a:pt x="383" y="76"/>
                  <a:pt x="383" y="76"/>
                  <a:pt x="383" y="76"/>
                </a:cubicBezTo>
                <a:cubicBezTo>
                  <a:pt x="384" y="76"/>
                  <a:pt x="384" y="76"/>
                  <a:pt x="384" y="76"/>
                </a:cubicBezTo>
                <a:cubicBezTo>
                  <a:pt x="385" y="76"/>
                  <a:pt x="385" y="76"/>
                  <a:pt x="385" y="76"/>
                </a:cubicBezTo>
                <a:cubicBezTo>
                  <a:pt x="385" y="77"/>
                  <a:pt x="385" y="77"/>
                  <a:pt x="385" y="77"/>
                </a:cubicBezTo>
                <a:cubicBezTo>
                  <a:pt x="386" y="77"/>
                  <a:pt x="386" y="77"/>
                  <a:pt x="386" y="77"/>
                </a:cubicBezTo>
                <a:cubicBezTo>
                  <a:pt x="385" y="78"/>
                  <a:pt x="385" y="78"/>
                  <a:pt x="385" y="78"/>
                </a:cubicBezTo>
                <a:cubicBezTo>
                  <a:pt x="385" y="78"/>
                  <a:pt x="385" y="78"/>
                  <a:pt x="385" y="78"/>
                </a:cubicBezTo>
                <a:cubicBezTo>
                  <a:pt x="384" y="77"/>
                  <a:pt x="384" y="77"/>
                  <a:pt x="384" y="77"/>
                </a:cubicBezTo>
                <a:cubicBezTo>
                  <a:pt x="382" y="77"/>
                  <a:pt x="382" y="77"/>
                  <a:pt x="382" y="77"/>
                </a:cubicBezTo>
                <a:cubicBezTo>
                  <a:pt x="382" y="79"/>
                  <a:pt x="382" y="79"/>
                  <a:pt x="382" y="79"/>
                </a:cubicBezTo>
                <a:cubicBezTo>
                  <a:pt x="382" y="80"/>
                  <a:pt x="382" y="80"/>
                  <a:pt x="382" y="80"/>
                </a:cubicBezTo>
                <a:cubicBezTo>
                  <a:pt x="383" y="80"/>
                  <a:pt x="383" y="80"/>
                  <a:pt x="383" y="80"/>
                </a:cubicBezTo>
                <a:cubicBezTo>
                  <a:pt x="383" y="81"/>
                  <a:pt x="383" y="81"/>
                  <a:pt x="383" y="81"/>
                </a:cubicBezTo>
                <a:cubicBezTo>
                  <a:pt x="383" y="83"/>
                  <a:pt x="383" y="83"/>
                  <a:pt x="383" y="83"/>
                </a:cubicBezTo>
                <a:cubicBezTo>
                  <a:pt x="383" y="83"/>
                  <a:pt x="383" y="83"/>
                  <a:pt x="383" y="83"/>
                </a:cubicBezTo>
                <a:cubicBezTo>
                  <a:pt x="384" y="83"/>
                  <a:pt x="384" y="83"/>
                  <a:pt x="384" y="83"/>
                </a:cubicBezTo>
                <a:cubicBezTo>
                  <a:pt x="384" y="85"/>
                  <a:pt x="384" y="85"/>
                  <a:pt x="384" y="85"/>
                </a:cubicBezTo>
                <a:cubicBezTo>
                  <a:pt x="386" y="85"/>
                  <a:pt x="386" y="85"/>
                  <a:pt x="386" y="85"/>
                </a:cubicBezTo>
                <a:cubicBezTo>
                  <a:pt x="389" y="87"/>
                  <a:pt x="389" y="87"/>
                  <a:pt x="389" y="87"/>
                </a:cubicBezTo>
                <a:cubicBezTo>
                  <a:pt x="390" y="87"/>
                  <a:pt x="390" y="87"/>
                  <a:pt x="390" y="87"/>
                </a:cubicBezTo>
                <a:cubicBezTo>
                  <a:pt x="390" y="86"/>
                  <a:pt x="390" y="86"/>
                  <a:pt x="390" y="86"/>
                </a:cubicBezTo>
                <a:cubicBezTo>
                  <a:pt x="390" y="84"/>
                  <a:pt x="390" y="84"/>
                  <a:pt x="390" y="84"/>
                </a:cubicBezTo>
                <a:cubicBezTo>
                  <a:pt x="392" y="85"/>
                  <a:pt x="392" y="85"/>
                  <a:pt x="392" y="85"/>
                </a:cubicBezTo>
                <a:cubicBezTo>
                  <a:pt x="392" y="86"/>
                  <a:pt x="392" y="86"/>
                  <a:pt x="392" y="86"/>
                </a:cubicBezTo>
                <a:cubicBezTo>
                  <a:pt x="392" y="87"/>
                  <a:pt x="392" y="87"/>
                  <a:pt x="392" y="87"/>
                </a:cubicBezTo>
                <a:cubicBezTo>
                  <a:pt x="392" y="88"/>
                  <a:pt x="392" y="88"/>
                  <a:pt x="392" y="88"/>
                </a:cubicBezTo>
                <a:cubicBezTo>
                  <a:pt x="392" y="88"/>
                  <a:pt x="392" y="88"/>
                  <a:pt x="392" y="88"/>
                </a:cubicBezTo>
                <a:cubicBezTo>
                  <a:pt x="393" y="85"/>
                  <a:pt x="393" y="85"/>
                  <a:pt x="393" y="85"/>
                </a:cubicBezTo>
                <a:cubicBezTo>
                  <a:pt x="393" y="82"/>
                  <a:pt x="393" y="82"/>
                  <a:pt x="393" y="82"/>
                </a:cubicBezTo>
                <a:cubicBezTo>
                  <a:pt x="394" y="81"/>
                  <a:pt x="394" y="81"/>
                  <a:pt x="394" y="81"/>
                </a:cubicBezTo>
                <a:cubicBezTo>
                  <a:pt x="395" y="79"/>
                  <a:pt x="395" y="79"/>
                  <a:pt x="395" y="79"/>
                </a:cubicBezTo>
                <a:cubicBezTo>
                  <a:pt x="396" y="78"/>
                  <a:pt x="396" y="78"/>
                  <a:pt x="396" y="78"/>
                </a:cubicBezTo>
                <a:cubicBezTo>
                  <a:pt x="396" y="79"/>
                  <a:pt x="396" y="79"/>
                  <a:pt x="396" y="79"/>
                </a:cubicBezTo>
                <a:cubicBezTo>
                  <a:pt x="394" y="82"/>
                  <a:pt x="394" y="82"/>
                  <a:pt x="394" y="82"/>
                </a:cubicBezTo>
                <a:cubicBezTo>
                  <a:pt x="394" y="83"/>
                  <a:pt x="394" y="83"/>
                  <a:pt x="394" y="83"/>
                </a:cubicBezTo>
                <a:cubicBezTo>
                  <a:pt x="394" y="85"/>
                  <a:pt x="394" y="85"/>
                  <a:pt x="394" y="85"/>
                </a:cubicBezTo>
                <a:cubicBezTo>
                  <a:pt x="394" y="87"/>
                  <a:pt x="394" y="87"/>
                  <a:pt x="394" y="87"/>
                </a:cubicBezTo>
                <a:cubicBezTo>
                  <a:pt x="395" y="88"/>
                  <a:pt x="395" y="88"/>
                  <a:pt x="395" y="88"/>
                </a:cubicBezTo>
                <a:cubicBezTo>
                  <a:pt x="394" y="89"/>
                  <a:pt x="394" y="89"/>
                  <a:pt x="394" y="89"/>
                </a:cubicBezTo>
                <a:cubicBezTo>
                  <a:pt x="395" y="89"/>
                  <a:pt x="395" y="89"/>
                  <a:pt x="395" y="89"/>
                </a:cubicBezTo>
                <a:close/>
                <a:moveTo>
                  <a:pt x="398" y="34"/>
                </a:moveTo>
                <a:cubicBezTo>
                  <a:pt x="398" y="34"/>
                  <a:pt x="398" y="34"/>
                  <a:pt x="398" y="34"/>
                </a:cubicBezTo>
                <a:cubicBezTo>
                  <a:pt x="399" y="34"/>
                  <a:pt x="399" y="34"/>
                  <a:pt x="399" y="34"/>
                </a:cubicBezTo>
                <a:cubicBezTo>
                  <a:pt x="399" y="34"/>
                  <a:pt x="399" y="34"/>
                  <a:pt x="399" y="34"/>
                </a:cubicBezTo>
                <a:cubicBezTo>
                  <a:pt x="400" y="34"/>
                  <a:pt x="400" y="34"/>
                  <a:pt x="400" y="34"/>
                </a:cubicBezTo>
                <a:cubicBezTo>
                  <a:pt x="400" y="35"/>
                  <a:pt x="400" y="35"/>
                  <a:pt x="400" y="35"/>
                </a:cubicBezTo>
                <a:cubicBezTo>
                  <a:pt x="400" y="35"/>
                  <a:pt x="400" y="35"/>
                  <a:pt x="400" y="35"/>
                </a:cubicBezTo>
                <a:cubicBezTo>
                  <a:pt x="399" y="35"/>
                  <a:pt x="399" y="35"/>
                  <a:pt x="399" y="35"/>
                </a:cubicBezTo>
                <a:cubicBezTo>
                  <a:pt x="398" y="34"/>
                  <a:pt x="398" y="34"/>
                  <a:pt x="398" y="34"/>
                </a:cubicBezTo>
                <a:cubicBezTo>
                  <a:pt x="398" y="34"/>
                  <a:pt x="398" y="34"/>
                  <a:pt x="398" y="34"/>
                </a:cubicBezTo>
                <a:close/>
                <a:moveTo>
                  <a:pt x="399" y="89"/>
                </a:moveTo>
                <a:cubicBezTo>
                  <a:pt x="399" y="88"/>
                  <a:pt x="399" y="88"/>
                  <a:pt x="399" y="88"/>
                </a:cubicBezTo>
                <a:cubicBezTo>
                  <a:pt x="400" y="87"/>
                  <a:pt x="400" y="87"/>
                  <a:pt x="400" y="87"/>
                </a:cubicBezTo>
                <a:cubicBezTo>
                  <a:pt x="400" y="86"/>
                  <a:pt x="400" y="86"/>
                  <a:pt x="400" y="86"/>
                </a:cubicBezTo>
                <a:cubicBezTo>
                  <a:pt x="401" y="86"/>
                  <a:pt x="401" y="86"/>
                  <a:pt x="401" y="86"/>
                </a:cubicBezTo>
                <a:cubicBezTo>
                  <a:pt x="401" y="86"/>
                  <a:pt x="401" y="86"/>
                  <a:pt x="401" y="86"/>
                </a:cubicBezTo>
                <a:cubicBezTo>
                  <a:pt x="401" y="87"/>
                  <a:pt x="401" y="87"/>
                  <a:pt x="401" y="87"/>
                </a:cubicBezTo>
                <a:cubicBezTo>
                  <a:pt x="400" y="87"/>
                  <a:pt x="400" y="87"/>
                  <a:pt x="400" y="87"/>
                </a:cubicBezTo>
                <a:cubicBezTo>
                  <a:pt x="399" y="89"/>
                  <a:pt x="399" y="89"/>
                  <a:pt x="399" y="89"/>
                </a:cubicBezTo>
                <a:cubicBezTo>
                  <a:pt x="399" y="89"/>
                  <a:pt x="399" y="89"/>
                  <a:pt x="399" y="89"/>
                </a:cubicBezTo>
                <a:close/>
                <a:moveTo>
                  <a:pt x="412" y="77"/>
                </a:moveTo>
                <a:cubicBezTo>
                  <a:pt x="413" y="75"/>
                  <a:pt x="413" y="75"/>
                  <a:pt x="413" y="75"/>
                </a:cubicBezTo>
                <a:cubicBezTo>
                  <a:pt x="414" y="75"/>
                  <a:pt x="414" y="75"/>
                  <a:pt x="414" y="75"/>
                </a:cubicBezTo>
                <a:cubicBezTo>
                  <a:pt x="415" y="74"/>
                  <a:pt x="415" y="74"/>
                  <a:pt x="415" y="74"/>
                </a:cubicBezTo>
                <a:cubicBezTo>
                  <a:pt x="416" y="75"/>
                  <a:pt x="416" y="75"/>
                  <a:pt x="416" y="75"/>
                </a:cubicBezTo>
                <a:cubicBezTo>
                  <a:pt x="418" y="76"/>
                  <a:pt x="418" y="76"/>
                  <a:pt x="418" y="76"/>
                </a:cubicBezTo>
                <a:cubicBezTo>
                  <a:pt x="417" y="77"/>
                  <a:pt x="417" y="77"/>
                  <a:pt x="417" y="77"/>
                </a:cubicBezTo>
                <a:cubicBezTo>
                  <a:pt x="415" y="76"/>
                  <a:pt x="415" y="76"/>
                  <a:pt x="415" y="76"/>
                </a:cubicBezTo>
                <a:cubicBezTo>
                  <a:pt x="414" y="77"/>
                  <a:pt x="414" y="77"/>
                  <a:pt x="414" y="77"/>
                </a:cubicBezTo>
                <a:cubicBezTo>
                  <a:pt x="413" y="78"/>
                  <a:pt x="413" y="78"/>
                  <a:pt x="413" y="78"/>
                </a:cubicBezTo>
                <a:cubicBezTo>
                  <a:pt x="412" y="77"/>
                  <a:pt x="412" y="77"/>
                  <a:pt x="412" y="77"/>
                </a:cubicBezTo>
                <a:cubicBezTo>
                  <a:pt x="412" y="77"/>
                  <a:pt x="412" y="77"/>
                  <a:pt x="412" y="77"/>
                </a:cubicBezTo>
                <a:close/>
                <a:moveTo>
                  <a:pt x="506" y="3"/>
                </a:moveTo>
                <a:cubicBezTo>
                  <a:pt x="507" y="2"/>
                  <a:pt x="507" y="2"/>
                  <a:pt x="507" y="2"/>
                </a:cubicBezTo>
                <a:cubicBezTo>
                  <a:pt x="507" y="2"/>
                  <a:pt x="507" y="2"/>
                  <a:pt x="507" y="2"/>
                </a:cubicBezTo>
                <a:cubicBezTo>
                  <a:pt x="508" y="3"/>
                  <a:pt x="508" y="3"/>
                  <a:pt x="508" y="3"/>
                </a:cubicBezTo>
                <a:cubicBezTo>
                  <a:pt x="507" y="3"/>
                  <a:pt x="507" y="3"/>
                  <a:pt x="507" y="3"/>
                </a:cubicBezTo>
                <a:cubicBezTo>
                  <a:pt x="506" y="3"/>
                  <a:pt x="506" y="3"/>
                  <a:pt x="506" y="3"/>
                </a:cubicBezTo>
                <a:close/>
                <a:moveTo>
                  <a:pt x="461" y="91"/>
                </a:moveTo>
                <a:cubicBezTo>
                  <a:pt x="460" y="92"/>
                  <a:pt x="460" y="92"/>
                  <a:pt x="460" y="92"/>
                </a:cubicBezTo>
                <a:cubicBezTo>
                  <a:pt x="461" y="93"/>
                  <a:pt x="461" y="93"/>
                  <a:pt x="461" y="93"/>
                </a:cubicBezTo>
                <a:cubicBezTo>
                  <a:pt x="462" y="93"/>
                  <a:pt x="462" y="93"/>
                  <a:pt x="462" y="93"/>
                </a:cubicBezTo>
                <a:cubicBezTo>
                  <a:pt x="462" y="92"/>
                  <a:pt x="462" y="92"/>
                  <a:pt x="462" y="92"/>
                </a:cubicBezTo>
                <a:cubicBezTo>
                  <a:pt x="461" y="91"/>
                  <a:pt x="461" y="91"/>
                  <a:pt x="461" y="91"/>
                </a:cubicBezTo>
                <a:cubicBezTo>
                  <a:pt x="461" y="91"/>
                  <a:pt x="461" y="91"/>
                  <a:pt x="461" y="91"/>
                </a:cubicBezTo>
                <a:close/>
                <a:moveTo>
                  <a:pt x="438" y="105"/>
                </a:moveTo>
                <a:cubicBezTo>
                  <a:pt x="439" y="106"/>
                  <a:pt x="439" y="106"/>
                  <a:pt x="439" y="106"/>
                </a:cubicBezTo>
                <a:cubicBezTo>
                  <a:pt x="440" y="106"/>
                  <a:pt x="440" y="106"/>
                  <a:pt x="440" y="106"/>
                </a:cubicBezTo>
                <a:cubicBezTo>
                  <a:pt x="439" y="105"/>
                  <a:pt x="439" y="105"/>
                  <a:pt x="439" y="105"/>
                </a:cubicBezTo>
                <a:cubicBezTo>
                  <a:pt x="438" y="105"/>
                  <a:pt x="438" y="105"/>
                  <a:pt x="438" y="105"/>
                </a:cubicBezTo>
                <a:close/>
                <a:moveTo>
                  <a:pt x="406" y="105"/>
                </a:moveTo>
                <a:cubicBezTo>
                  <a:pt x="406" y="103"/>
                  <a:pt x="406" y="103"/>
                  <a:pt x="406" y="103"/>
                </a:cubicBezTo>
                <a:cubicBezTo>
                  <a:pt x="406" y="103"/>
                  <a:pt x="406" y="103"/>
                  <a:pt x="406" y="103"/>
                </a:cubicBezTo>
                <a:cubicBezTo>
                  <a:pt x="406" y="102"/>
                  <a:pt x="406" y="102"/>
                  <a:pt x="406" y="102"/>
                </a:cubicBezTo>
                <a:cubicBezTo>
                  <a:pt x="407" y="103"/>
                  <a:pt x="407" y="103"/>
                  <a:pt x="407" y="103"/>
                </a:cubicBezTo>
                <a:cubicBezTo>
                  <a:pt x="407" y="104"/>
                  <a:pt x="407" y="104"/>
                  <a:pt x="407" y="104"/>
                </a:cubicBezTo>
                <a:cubicBezTo>
                  <a:pt x="407" y="105"/>
                  <a:pt x="407" y="105"/>
                  <a:pt x="407" y="105"/>
                </a:cubicBezTo>
                <a:cubicBezTo>
                  <a:pt x="406" y="105"/>
                  <a:pt x="406" y="105"/>
                  <a:pt x="406" y="105"/>
                </a:cubicBezTo>
                <a:close/>
                <a:moveTo>
                  <a:pt x="397" y="124"/>
                </a:moveTo>
                <a:cubicBezTo>
                  <a:pt x="397" y="123"/>
                  <a:pt x="397" y="123"/>
                  <a:pt x="397" y="123"/>
                </a:cubicBezTo>
                <a:cubicBezTo>
                  <a:pt x="397" y="122"/>
                  <a:pt x="397" y="122"/>
                  <a:pt x="397" y="122"/>
                </a:cubicBezTo>
                <a:cubicBezTo>
                  <a:pt x="397" y="120"/>
                  <a:pt x="397" y="120"/>
                  <a:pt x="397" y="120"/>
                </a:cubicBezTo>
                <a:cubicBezTo>
                  <a:pt x="396" y="120"/>
                  <a:pt x="396" y="120"/>
                  <a:pt x="396" y="120"/>
                </a:cubicBezTo>
                <a:cubicBezTo>
                  <a:pt x="396" y="120"/>
                  <a:pt x="396" y="120"/>
                  <a:pt x="396" y="120"/>
                </a:cubicBezTo>
                <a:cubicBezTo>
                  <a:pt x="395" y="122"/>
                  <a:pt x="395" y="122"/>
                  <a:pt x="395" y="122"/>
                </a:cubicBezTo>
                <a:cubicBezTo>
                  <a:pt x="396" y="124"/>
                  <a:pt x="396" y="124"/>
                  <a:pt x="396" y="124"/>
                </a:cubicBezTo>
                <a:cubicBezTo>
                  <a:pt x="397" y="125"/>
                  <a:pt x="397" y="125"/>
                  <a:pt x="397" y="125"/>
                </a:cubicBezTo>
                <a:cubicBezTo>
                  <a:pt x="396" y="126"/>
                  <a:pt x="396" y="126"/>
                  <a:pt x="396" y="126"/>
                </a:cubicBezTo>
                <a:cubicBezTo>
                  <a:pt x="396" y="126"/>
                  <a:pt x="396" y="126"/>
                  <a:pt x="396" y="126"/>
                </a:cubicBezTo>
                <a:cubicBezTo>
                  <a:pt x="395" y="126"/>
                  <a:pt x="395" y="126"/>
                  <a:pt x="395" y="126"/>
                </a:cubicBezTo>
                <a:cubicBezTo>
                  <a:pt x="393" y="126"/>
                  <a:pt x="393" y="126"/>
                  <a:pt x="393" y="126"/>
                </a:cubicBezTo>
                <a:cubicBezTo>
                  <a:pt x="392" y="125"/>
                  <a:pt x="392" y="125"/>
                  <a:pt x="392" y="125"/>
                </a:cubicBezTo>
                <a:cubicBezTo>
                  <a:pt x="392" y="125"/>
                  <a:pt x="392" y="125"/>
                  <a:pt x="392" y="125"/>
                </a:cubicBezTo>
                <a:cubicBezTo>
                  <a:pt x="390" y="124"/>
                  <a:pt x="390" y="124"/>
                  <a:pt x="390" y="124"/>
                </a:cubicBezTo>
                <a:cubicBezTo>
                  <a:pt x="389" y="124"/>
                  <a:pt x="389" y="124"/>
                  <a:pt x="389" y="124"/>
                </a:cubicBezTo>
                <a:cubicBezTo>
                  <a:pt x="389" y="123"/>
                  <a:pt x="389" y="123"/>
                  <a:pt x="389" y="123"/>
                </a:cubicBezTo>
                <a:cubicBezTo>
                  <a:pt x="388" y="123"/>
                  <a:pt x="388" y="123"/>
                  <a:pt x="388" y="123"/>
                </a:cubicBezTo>
                <a:cubicBezTo>
                  <a:pt x="388" y="123"/>
                  <a:pt x="388" y="123"/>
                  <a:pt x="388" y="123"/>
                </a:cubicBezTo>
                <a:cubicBezTo>
                  <a:pt x="388" y="122"/>
                  <a:pt x="388" y="122"/>
                  <a:pt x="388" y="122"/>
                </a:cubicBezTo>
                <a:cubicBezTo>
                  <a:pt x="388" y="121"/>
                  <a:pt x="388" y="121"/>
                  <a:pt x="388" y="121"/>
                </a:cubicBezTo>
                <a:cubicBezTo>
                  <a:pt x="389" y="121"/>
                  <a:pt x="389" y="121"/>
                  <a:pt x="389" y="121"/>
                </a:cubicBezTo>
                <a:cubicBezTo>
                  <a:pt x="389" y="120"/>
                  <a:pt x="389" y="120"/>
                  <a:pt x="389" y="120"/>
                </a:cubicBezTo>
                <a:cubicBezTo>
                  <a:pt x="389" y="119"/>
                  <a:pt x="389" y="119"/>
                  <a:pt x="389" y="119"/>
                </a:cubicBezTo>
                <a:cubicBezTo>
                  <a:pt x="389" y="117"/>
                  <a:pt x="389" y="117"/>
                  <a:pt x="389" y="117"/>
                </a:cubicBezTo>
                <a:cubicBezTo>
                  <a:pt x="388" y="117"/>
                  <a:pt x="388" y="117"/>
                  <a:pt x="388" y="117"/>
                </a:cubicBezTo>
                <a:cubicBezTo>
                  <a:pt x="388" y="118"/>
                  <a:pt x="388" y="118"/>
                  <a:pt x="388" y="118"/>
                </a:cubicBezTo>
                <a:cubicBezTo>
                  <a:pt x="389" y="119"/>
                  <a:pt x="389" y="119"/>
                  <a:pt x="389" y="119"/>
                </a:cubicBezTo>
                <a:cubicBezTo>
                  <a:pt x="389" y="120"/>
                  <a:pt x="389" y="120"/>
                  <a:pt x="389" y="120"/>
                </a:cubicBezTo>
                <a:cubicBezTo>
                  <a:pt x="388" y="120"/>
                  <a:pt x="388" y="120"/>
                  <a:pt x="388" y="120"/>
                </a:cubicBezTo>
                <a:cubicBezTo>
                  <a:pt x="387" y="120"/>
                  <a:pt x="387" y="120"/>
                  <a:pt x="387" y="120"/>
                </a:cubicBezTo>
                <a:cubicBezTo>
                  <a:pt x="387" y="121"/>
                  <a:pt x="387" y="121"/>
                  <a:pt x="387" y="121"/>
                </a:cubicBezTo>
                <a:cubicBezTo>
                  <a:pt x="387" y="121"/>
                  <a:pt x="387" y="121"/>
                  <a:pt x="387" y="121"/>
                </a:cubicBezTo>
                <a:cubicBezTo>
                  <a:pt x="387" y="122"/>
                  <a:pt x="387" y="122"/>
                  <a:pt x="387" y="122"/>
                </a:cubicBezTo>
                <a:cubicBezTo>
                  <a:pt x="387" y="122"/>
                  <a:pt x="387" y="122"/>
                  <a:pt x="387" y="122"/>
                </a:cubicBezTo>
                <a:cubicBezTo>
                  <a:pt x="386" y="122"/>
                  <a:pt x="386" y="122"/>
                  <a:pt x="386" y="122"/>
                </a:cubicBezTo>
                <a:cubicBezTo>
                  <a:pt x="385" y="121"/>
                  <a:pt x="385" y="121"/>
                  <a:pt x="385" y="121"/>
                </a:cubicBezTo>
                <a:cubicBezTo>
                  <a:pt x="385" y="120"/>
                  <a:pt x="385" y="120"/>
                  <a:pt x="385" y="120"/>
                </a:cubicBezTo>
                <a:cubicBezTo>
                  <a:pt x="385" y="119"/>
                  <a:pt x="385" y="119"/>
                  <a:pt x="385" y="119"/>
                </a:cubicBezTo>
                <a:cubicBezTo>
                  <a:pt x="386" y="118"/>
                  <a:pt x="386" y="118"/>
                  <a:pt x="386" y="118"/>
                </a:cubicBezTo>
                <a:cubicBezTo>
                  <a:pt x="385" y="117"/>
                  <a:pt x="385" y="117"/>
                  <a:pt x="385" y="117"/>
                </a:cubicBezTo>
                <a:cubicBezTo>
                  <a:pt x="385" y="117"/>
                  <a:pt x="385" y="117"/>
                  <a:pt x="385" y="117"/>
                </a:cubicBezTo>
                <a:cubicBezTo>
                  <a:pt x="385" y="117"/>
                  <a:pt x="385" y="117"/>
                  <a:pt x="385" y="117"/>
                </a:cubicBezTo>
                <a:cubicBezTo>
                  <a:pt x="385" y="118"/>
                  <a:pt x="385" y="118"/>
                  <a:pt x="385" y="118"/>
                </a:cubicBezTo>
                <a:cubicBezTo>
                  <a:pt x="384" y="119"/>
                  <a:pt x="384" y="119"/>
                  <a:pt x="384" y="119"/>
                </a:cubicBezTo>
                <a:cubicBezTo>
                  <a:pt x="384" y="120"/>
                  <a:pt x="384" y="120"/>
                  <a:pt x="384" y="120"/>
                </a:cubicBezTo>
                <a:cubicBezTo>
                  <a:pt x="384" y="121"/>
                  <a:pt x="384" y="121"/>
                  <a:pt x="384" y="121"/>
                </a:cubicBezTo>
                <a:cubicBezTo>
                  <a:pt x="383" y="121"/>
                  <a:pt x="383" y="121"/>
                  <a:pt x="383" y="121"/>
                </a:cubicBezTo>
                <a:cubicBezTo>
                  <a:pt x="382" y="120"/>
                  <a:pt x="382" y="120"/>
                  <a:pt x="382" y="120"/>
                </a:cubicBezTo>
                <a:cubicBezTo>
                  <a:pt x="381" y="120"/>
                  <a:pt x="381" y="120"/>
                  <a:pt x="381" y="120"/>
                </a:cubicBezTo>
                <a:cubicBezTo>
                  <a:pt x="381" y="119"/>
                  <a:pt x="381" y="119"/>
                  <a:pt x="381" y="119"/>
                </a:cubicBezTo>
                <a:cubicBezTo>
                  <a:pt x="381" y="118"/>
                  <a:pt x="381" y="118"/>
                  <a:pt x="381" y="118"/>
                </a:cubicBezTo>
                <a:cubicBezTo>
                  <a:pt x="382" y="117"/>
                  <a:pt x="382" y="117"/>
                  <a:pt x="382" y="117"/>
                </a:cubicBezTo>
                <a:cubicBezTo>
                  <a:pt x="382" y="116"/>
                  <a:pt x="382" y="116"/>
                  <a:pt x="382" y="116"/>
                </a:cubicBezTo>
                <a:cubicBezTo>
                  <a:pt x="382" y="115"/>
                  <a:pt x="382" y="115"/>
                  <a:pt x="382" y="115"/>
                </a:cubicBezTo>
                <a:cubicBezTo>
                  <a:pt x="383" y="113"/>
                  <a:pt x="383" y="113"/>
                  <a:pt x="383" y="113"/>
                </a:cubicBezTo>
                <a:cubicBezTo>
                  <a:pt x="382" y="113"/>
                  <a:pt x="382" y="113"/>
                  <a:pt x="382" y="113"/>
                </a:cubicBezTo>
                <a:cubicBezTo>
                  <a:pt x="382" y="114"/>
                  <a:pt x="382" y="114"/>
                  <a:pt x="382" y="114"/>
                </a:cubicBezTo>
                <a:cubicBezTo>
                  <a:pt x="381" y="116"/>
                  <a:pt x="381" y="116"/>
                  <a:pt x="381" y="116"/>
                </a:cubicBezTo>
                <a:cubicBezTo>
                  <a:pt x="381" y="118"/>
                  <a:pt x="381" y="118"/>
                  <a:pt x="381" y="118"/>
                </a:cubicBezTo>
                <a:cubicBezTo>
                  <a:pt x="380" y="119"/>
                  <a:pt x="380" y="119"/>
                  <a:pt x="380" y="119"/>
                </a:cubicBezTo>
                <a:cubicBezTo>
                  <a:pt x="380" y="119"/>
                  <a:pt x="380" y="119"/>
                  <a:pt x="380" y="119"/>
                </a:cubicBezTo>
                <a:cubicBezTo>
                  <a:pt x="380" y="117"/>
                  <a:pt x="380" y="117"/>
                  <a:pt x="380" y="117"/>
                </a:cubicBezTo>
                <a:cubicBezTo>
                  <a:pt x="380" y="117"/>
                  <a:pt x="380" y="117"/>
                  <a:pt x="380" y="117"/>
                </a:cubicBezTo>
                <a:cubicBezTo>
                  <a:pt x="380" y="117"/>
                  <a:pt x="380" y="117"/>
                  <a:pt x="380" y="117"/>
                </a:cubicBezTo>
                <a:cubicBezTo>
                  <a:pt x="379" y="119"/>
                  <a:pt x="379" y="119"/>
                  <a:pt x="379" y="119"/>
                </a:cubicBezTo>
                <a:cubicBezTo>
                  <a:pt x="378" y="119"/>
                  <a:pt x="378" y="119"/>
                  <a:pt x="378" y="119"/>
                </a:cubicBezTo>
                <a:cubicBezTo>
                  <a:pt x="378" y="118"/>
                  <a:pt x="378" y="118"/>
                  <a:pt x="378" y="118"/>
                </a:cubicBezTo>
                <a:cubicBezTo>
                  <a:pt x="378" y="116"/>
                  <a:pt x="378" y="116"/>
                  <a:pt x="378" y="116"/>
                </a:cubicBezTo>
                <a:cubicBezTo>
                  <a:pt x="377" y="116"/>
                  <a:pt x="377" y="116"/>
                  <a:pt x="377" y="116"/>
                </a:cubicBezTo>
                <a:cubicBezTo>
                  <a:pt x="377" y="115"/>
                  <a:pt x="377" y="115"/>
                  <a:pt x="377" y="115"/>
                </a:cubicBezTo>
                <a:cubicBezTo>
                  <a:pt x="379" y="114"/>
                  <a:pt x="379" y="114"/>
                  <a:pt x="379" y="114"/>
                </a:cubicBezTo>
                <a:cubicBezTo>
                  <a:pt x="379" y="113"/>
                  <a:pt x="379" y="113"/>
                  <a:pt x="379" y="113"/>
                </a:cubicBezTo>
                <a:cubicBezTo>
                  <a:pt x="379" y="112"/>
                  <a:pt x="379" y="112"/>
                  <a:pt x="379" y="112"/>
                </a:cubicBezTo>
                <a:cubicBezTo>
                  <a:pt x="379" y="111"/>
                  <a:pt x="379" y="111"/>
                  <a:pt x="379" y="111"/>
                </a:cubicBezTo>
                <a:cubicBezTo>
                  <a:pt x="380" y="111"/>
                  <a:pt x="380" y="111"/>
                  <a:pt x="380" y="111"/>
                </a:cubicBezTo>
                <a:cubicBezTo>
                  <a:pt x="381" y="110"/>
                  <a:pt x="381" y="110"/>
                  <a:pt x="381" y="110"/>
                </a:cubicBezTo>
                <a:cubicBezTo>
                  <a:pt x="382" y="110"/>
                  <a:pt x="382" y="110"/>
                  <a:pt x="382" y="110"/>
                </a:cubicBezTo>
                <a:cubicBezTo>
                  <a:pt x="384" y="110"/>
                  <a:pt x="384" y="110"/>
                  <a:pt x="384" y="110"/>
                </a:cubicBezTo>
                <a:cubicBezTo>
                  <a:pt x="384" y="109"/>
                  <a:pt x="384" y="109"/>
                  <a:pt x="384" y="109"/>
                </a:cubicBezTo>
                <a:cubicBezTo>
                  <a:pt x="385" y="108"/>
                  <a:pt x="385" y="108"/>
                  <a:pt x="385" y="108"/>
                </a:cubicBezTo>
                <a:cubicBezTo>
                  <a:pt x="386" y="108"/>
                  <a:pt x="386" y="108"/>
                  <a:pt x="386" y="108"/>
                </a:cubicBezTo>
                <a:cubicBezTo>
                  <a:pt x="386" y="107"/>
                  <a:pt x="386" y="107"/>
                  <a:pt x="386" y="107"/>
                </a:cubicBezTo>
                <a:cubicBezTo>
                  <a:pt x="387" y="107"/>
                  <a:pt x="387" y="107"/>
                  <a:pt x="387" y="107"/>
                </a:cubicBezTo>
                <a:cubicBezTo>
                  <a:pt x="388" y="107"/>
                  <a:pt x="388" y="107"/>
                  <a:pt x="388" y="107"/>
                </a:cubicBezTo>
                <a:cubicBezTo>
                  <a:pt x="389" y="108"/>
                  <a:pt x="389" y="108"/>
                  <a:pt x="389" y="108"/>
                </a:cubicBezTo>
                <a:cubicBezTo>
                  <a:pt x="391" y="108"/>
                  <a:pt x="391" y="108"/>
                  <a:pt x="391" y="108"/>
                </a:cubicBezTo>
                <a:cubicBezTo>
                  <a:pt x="392" y="107"/>
                  <a:pt x="392" y="107"/>
                  <a:pt x="392" y="107"/>
                </a:cubicBezTo>
                <a:cubicBezTo>
                  <a:pt x="393" y="107"/>
                  <a:pt x="393" y="107"/>
                  <a:pt x="393" y="107"/>
                </a:cubicBezTo>
                <a:cubicBezTo>
                  <a:pt x="394" y="109"/>
                  <a:pt x="394" y="109"/>
                  <a:pt x="394" y="109"/>
                </a:cubicBezTo>
                <a:cubicBezTo>
                  <a:pt x="395" y="109"/>
                  <a:pt x="395" y="109"/>
                  <a:pt x="395" y="109"/>
                </a:cubicBezTo>
                <a:cubicBezTo>
                  <a:pt x="395" y="108"/>
                  <a:pt x="395" y="108"/>
                  <a:pt x="395" y="108"/>
                </a:cubicBezTo>
                <a:cubicBezTo>
                  <a:pt x="395" y="108"/>
                  <a:pt x="395" y="108"/>
                  <a:pt x="395" y="108"/>
                </a:cubicBezTo>
                <a:cubicBezTo>
                  <a:pt x="397" y="109"/>
                  <a:pt x="397" y="109"/>
                  <a:pt x="397" y="109"/>
                </a:cubicBezTo>
                <a:cubicBezTo>
                  <a:pt x="397" y="108"/>
                  <a:pt x="397" y="108"/>
                  <a:pt x="397" y="108"/>
                </a:cubicBezTo>
                <a:cubicBezTo>
                  <a:pt x="398" y="109"/>
                  <a:pt x="398" y="109"/>
                  <a:pt x="398" y="109"/>
                </a:cubicBezTo>
                <a:cubicBezTo>
                  <a:pt x="399" y="108"/>
                  <a:pt x="399" y="108"/>
                  <a:pt x="399" y="108"/>
                </a:cubicBezTo>
                <a:cubicBezTo>
                  <a:pt x="398" y="108"/>
                  <a:pt x="398" y="108"/>
                  <a:pt x="398" y="108"/>
                </a:cubicBezTo>
                <a:cubicBezTo>
                  <a:pt x="397" y="108"/>
                  <a:pt x="397" y="108"/>
                  <a:pt x="397" y="108"/>
                </a:cubicBezTo>
                <a:cubicBezTo>
                  <a:pt x="397" y="107"/>
                  <a:pt x="397" y="107"/>
                  <a:pt x="397" y="107"/>
                </a:cubicBezTo>
                <a:cubicBezTo>
                  <a:pt x="396" y="107"/>
                  <a:pt x="396" y="107"/>
                  <a:pt x="396" y="107"/>
                </a:cubicBezTo>
                <a:cubicBezTo>
                  <a:pt x="396" y="107"/>
                  <a:pt x="396" y="107"/>
                  <a:pt x="396" y="107"/>
                </a:cubicBezTo>
                <a:cubicBezTo>
                  <a:pt x="397" y="106"/>
                  <a:pt x="397" y="106"/>
                  <a:pt x="397" y="106"/>
                </a:cubicBezTo>
                <a:cubicBezTo>
                  <a:pt x="397" y="105"/>
                  <a:pt x="397" y="105"/>
                  <a:pt x="397" y="105"/>
                </a:cubicBezTo>
                <a:cubicBezTo>
                  <a:pt x="396" y="105"/>
                  <a:pt x="396" y="105"/>
                  <a:pt x="396" y="105"/>
                </a:cubicBezTo>
                <a:cubicBezTo>
                  <a:pt x="396" y="105"/>
                  <a:pt x="396" y="105"/>
                  <a:pt x="396" y="105"/>
                </a:cubicBezTo>
                <a:cubicBezTo>
                  <a:pt x="397" y="105"/>
                  <a:pt x="397" y="105"/>
                  <a:pt x="397" y="105"/>
                </a:cubicBezTo>
                <a:cubicBezTo>
                  <a:pt x="398" y="104"/>
                  <a:pt x="398" y="104"/>
                  <a:pt x="398" y="104"/>
                </a:cubicBezTo>
                <a:cubicBezTo>
                  <a:pt x="396" y="104"/>
                  <a:pt x="396" y="104"/>
                  <a:pt x="396" y="104"/>
                </a:cubicBezTo>
                <a:cubicBezTo>
                  <a:pt x="396" y="104"/>
                  <a:pt x="396" y="104"/>
                  <a:pt x="396" y="104"/>
                </a:cubicBezTo>
                <a:cubicBezTo>
                  <a:pt x="395" y="104"/>
                  <a:pt x="395" y="104"/>
                  <a:pt x="395" y="104"/>
                </a:cubicBezTo>
                <a:cubicBezTo>
                  <a:pt x="395" y="103"/>
                  <a:pt x="395" y="103"/>
                  <a:pt x="395" y="103"/>
                </a:cubicBezTo>
                <a:cubicBezTo>
                  <a:pt x="395" y="103"/>
                  <a:pt x="395" y="103"/>
                  <a:pt x="395" y="103"/>
                </a:cubicBezTo>
                <a:cubicBezTo>
                  <a:pt x="396" y="102"/>
                  <a:pt x="396" y="102"/>
                  <a:pt x="396" y="102"/>
                </a:cubicBezTo>
                <a:cubicBezTo>
                  <a:pt x="396" y="101"/>
                  <a:pt x="396" y="101"/>
                  <a:pt x="396" y="101"/>
                </a:cubicBezTo>
                <a:cubicBezTo>
                  <a:pt x="395" y="101"/>
                  <a:pt x="395" y="101"/>
                  <a:pt x="395" y="101"/>
                </a:cubicBezTo>
                <a:cubicBezTo>
                  <a:pt x="395" y="100"/>
                  <a:pt x="395" y="100"/>
                  <a:pt x="395" y="100"/>
                </a:cubicBezTo>
                <a:cubicBezTo>
                  <a:pt x="395" y="98"/>
                  <a:pt x="395" y="98"/>
                  <a:pt x="395" y="98"/>
                </a:cubicBezTo>
                <a:cubicBezTo>
                  <a:pt x="395" y="97"/>
                  <a:pt x="395" y="97"/>
                  <a:pt x="395" y="97"/>
                </a:cubicBezTo>
                <a:cubicBezTo>
                  <a:pt x="395" y="96"/>
                  <a:pt x="395" y="96"/>
                  <a:pt x="395" y="96"/>
                </a:cubicBezTo>
                <a:cubicBezTo>
                  <a:pt x="395" y="95"/>
                  <a:pt x="395" y="95"/>
                  <a:pt x="395" y="95"/>
                </a:cubicBezTo>
                <a:cubicBezTo>
                  <a:pt x="396" y="95"/>
                  <a:pt x="396" y="95"/>
                  <a:pt x="396" y="95"/>
                </a:cubicBezTo>
                <a:cubicBezTo>
                  <a:pt x="397" y="95"/>
                  <a:pt x="397" y="95"/>
                  <a:pt x="397" y="95"/>
                </a:cubicBezTo>
                <a:cubicBezTo>
                  <a:pt x="399" y="95"/>
                  <a:pt x="399" y="95"/>
                  <a:pt x="399" y="95"/>
                </a:cubicBezTo>
                <a:cubicBezTo>
                  <a:pt x="399" y="95"/>
                  <a:pt x="399" y="95"/>
                  <a:pt x="399" y="95"/>
                </a:cubicBezTo>
                <a:cubicBezTo>
                  <a:pt x="401" y="95"/>
                  <a:pt x="401" y="95"/>
                  <a:pt x="401" y="95"/>
                </a:cubicBezTo>
                <a:cubicBezTo>
                  <a:pt x="402" y="95"/>
                  <a:pt x="402" y="95"/>
                  <a:pt x="402" y="95"/>
                </a:cubicBezTo>
                <a:cubicBezTo>
                  <a:pt x="403" y="97"/>
                  <a:pt x="403" y="97"/>
                  <a:pt x="403" y="97"/>
                </a:cubicBezTo>
                <a:cubicBezTo>
                  <a:pt x="404" y="99"/>
                  <a:pt x="404" y="99"/>
                  <a:pt x="404" y="99"/>
                </a:cubicBezTo>
                <a:cubicBezTo>
                  <a:pt x="404" y="103"/>
                  <a:pt x="404" y="103"/>
                  <a:pt x="404" y="103"/>
                </a:cubicBezTo>
                <a:cubicBezTo>
                  <a:pt x="403" y="104"/>
                  <a:pt x="403" y="104"/>
                  <a:pt x="403" y="104"/>
                </a:cubicBezTo>
                <a:cubicBezTo>
                  <a:pt x="404" y="105"/>
                  <a:pt x="404" y="105"/>
                  <a:pt x="404" y="105"/>
                </a:cubicBezTo>
                <a:cubicBezTo>
                  <a:pt x="404" y="105"/>
                  <a:pt x="404" y="105"/>
                  <a:pt x="404" y="105"/>
                </a:cubicBezTo>
                <a:cubicBezTo>
                  <a:pt x="407" y="106"/>
                  <a:pt x="407" y="106"/>
                  <a:pt x="407" y="106"/>
                </a:cubicBezTo>
                <a:cubicBezTo>
                  <a:pt x="407" y="107"/>
                  <a:pt x="407" y="107"/>
                  <a:pt x="407" y="107"/>
                </a:cubicBezTo>
                <a:cubicBezTo>
                  <a:pt x="408" y="107"/>
                  <a:pt x="408" y="107"/>
                  <a:pt x="408" y="107"/>
                </a:cubicBezTo>
                <a:cubicBezTo>
                  <a:pt x="408" y="107"/>
                  <a:pt x="408" y="107"/>
                  <a:pt x="408" y="107"/>
                </a:cubicBezTo>
                <a:cubicBezTo>
                  <a:pt x="411" y="107"/>
                  <a:pt x="411" y="107"/>
                  <a:pt x="411" y="107"/>
                </a:cubicBezTo>
                <a:cubicBezTo>
                  <a:pt x="412" y="108"/>
                  <a:pt x="412" y="108"/>
                  <a:pt x="412" y="108"/>
                </a:cubicBezTo>
                <a:cubicBezTo>
                  <a:pt x="413" y="108"/>
                  <a:pt x="413" y="108"/>
                  <a:pt x="413" y="108"/>
                </a:cubicBezTo>
                <a:cubicBezTo>
                  <a:pt x="412" y="107"/>
                  <a:pt x="412" y="107"/>
                  <a:pt x="412" y="107"/>
                </a:cubicBezTo>
                <a:cubicBezTo>
                  <a:pt x="413" y="106"/>
                  <a:pt x="413" y="106"/>
                  <a:pt x="413" y="106"/>
                </a:cubicBezTo>
                <a:cubicBezTo>
                  <a:pt x="415" y="105"/>
                  <a:pt x="415" y="105"/>
                  <a:pt x="415" y="105"/>
                </a:cubicBezTo>
                <a:cubicBezTo>
                  <a:pt x="416" y="103"/>
                  <a:pt x="416" y="103"/>
                  <a:pt x="416" y="103"/>
                </a:cubicBezTo>
                <a:cubicBezTo>
                  <a:pt x="419" y="102"/>
                  <a:pt x="419" y="102"/>
                  <a:pt x="419" y="102"/>
                </a:cubicBezTo>
                <a:cubicBezTo>
                  <a:pt x="421" y="100"/>
                  <a:pt x="421" y="100"/>
                  <a:pt x="421" y="100"/>
                </a:cubicBezTo>
                <a:cubicBezTo>
                  <a:pt x="421" y="99"/>
                  <a:pt x="421" y="99"/>
                  <a:pt x="421" y="99"/>
                </a:cubicBezTo>
                <a:cubicBezTo>
                  <a:pt x="422" y="98"/>
                  <a:pt x="422" y="98"/>
                  <a:pt x="422" y="98"/>
                </a:cubicBezTo>
                <a:cubicBezTo>
                  <a:pt x="421" y="98"/>
                  <a:pt x="421" y="98"/>
                  <a:pt x="421" y="98"/>
                </a:cubicBezTo>
                <a:cubicBezTo>
                  <a:pt x="420" y="99"/>
                  <a:pt x="420" y="99"/>
                  <a:pt x="420" y="99"/>
                </a:cubicBezTo>
                <a:cubicBezTo>
                  <a:pt x="420" y="100"/>
                  <a:pt x="420" y="100"/>
                  <a:pt x="420" y="100"/>
                </a:cubicBezTo>
                <a:cubicBezTo>
                  <a:pt x="418" y="102"/>
                  <a:pt x="418" y="102"/>
                  <a:pt x="418" y="102"/>
                </a:cubicBezTo>
                <a:cubicBezTo>
                  <a:pt x="417" y="103"/>
                  <a:pt x="417" y="103"/>
                  <a:pt x="417" y="103"/>
                </a:cubicBezTo>
                <a:cubicBezTo>
                  <a:pt x="417" y="103"/>
                  <a:pt x="417" y="103"/>
                  <a:pt x="417" y="103"/>
                </a:cubicBezTo>
                <a:cubicBezTo>
                  <a:pt x="415" y="105"/>
                  <a:pt x="415" y="105"/>
                  <a:pt x="415" y="105"/>
                </a:cubicBezTo>
                <a:cubicBezTo>
                  <a:pt x="413" y="105"/>
                  <a:pt x="413" y="105"/>
                  <a:pt x="413" y="105"/>
                </a:cubicBezTo>
                <a:cubicBezTo>
                  <a:pt x="412" y="105"/>
                  <a:pt x="412" y="105"/>
                  <a:pt x="412" y="105"/>
                </a:cubicBezTo>
                <a:cubicBezTo>
                  <a:pt x="411" y="105"/>
                  <a:pt x="411" y="105"/>
                  <a:pt x="411" y="105"/>
                </a:cubicBezTo>
                <a:cubicBezTo>
                  <a:pt x="411" y="105"/>
                  <a:pt x="411" y="105"/>
                  <a:pt x="411" y="105"/>
                </a:cubicBezTo>
                <a:cubicBezTo>
                  <a:pt x="410" y="105"/>
                  <a:pt x="410" y="105"/>
                  <a:pt x="410" y="105"/>
                </a:cubicBezTo>
                <a:cubicBezTo>
                  <a:pt x="408" y="104"/>
                  <a:pt x="408" y="104"/>
                  <a:pt x="408" y="104"/>
                </a:cubicBezTo>
                <a:cubicBezTo>
                  <a:pt x="408" y="103"/>
                  <a:pt x="408" y="103"/>
                  <a:pt x="408" y="103"/>
                </a:cubicBezTo>
                <a:cubicBezTo>
                  <a:pt x="409" y="103"/>
                  <a:pt x="409" y="103"/>
                  <a:pt x="409" y="103"/>
                </a:cubicBezTo>
                <a:cubicBezTo>
                  <a:pt x="410" y="102"/>
                  <a:pt x="410" y="102"/>
                  <a:pt x="410" y="102"/>
                </a:cubicBezTo>
                <a:cubicBezTo>
                  <a:pt x="410" y="101"/>
                  <a:pt x="410" y="101"/>
                  <a:pt x="410" y="101"/>
                </a:cubicBezTo>
                <a:cubicBezTo>
                  <a:pt x="409" y="102"/>
                  <a:pt x="409" y="102"/>
                  <a:pt x="409" y="102"/>
                </a:cubicBezTo>
                <a:cubicBezTo>
                  <a:pt x="408" y="103"/>
                  <a:pt x="408" y="103"/>
                  <a:pt x="408" y="103"/>
                </a:cubicBezTo>
                <a:cubicBezTo>
                  <a:pt x="407" y="102"/>
                  <a:pt x="407" y="102"/>
                  <a:pt x="407" y="102"/>
                </a:cubicBezTo>
                <a:cubicBezTo>
                  <a:pt x="407" y="101"/>
                  <a:pt x="407" y="101"/>
                  <a:pt x="407" y="101"/>
                </a:cubicBezTo>
                <a:cubicBezTo>
                  <a:pt x="407" y="100"/>
                  <a:pt x="407" y="100"/>
                  <a:pt x="407" y="100"/>
                </a:cubicBezTo>
                <a:cubicBezTo>
                  <a:pt x="407" y="100"/>
                  <a:pt x="407" y="100"/>
                  <a:pt x="407" y="100"/>
                </a:cubicBezTo>
                <a:cubicBezTo>
                  <a:pt x="409" y="100"/>
                  <a:pt x="409" y="100"/>
                  <a:pt x="409" y="100"/>
                </a:cubicBezTo>
                <a:cubicBezTo>
                  <a:pt x="409" y="99"/>
                  <a:pt x="409" y="99"/>
                  <a:pt x="409" y="99"/>
                </a:cubicBezTo>
                <a:cubicBezTo>
                  <a:pt x="408" y="99"/>
                  <a:pt x="408" y="99"/>
                  <a:pt x="408" y="99"/>
                </a:cubicBezTo>
                <a:cubicBezTo>
                  <a:pt x="408" y="99"/>
                  <a:pt x="408" y="99"/>
                  <a:pt x="408" y="99"/>
                </a:cubicBezTo>
                <a:cubicBezTo>
                  <a:pt x="408" y="98"/>
                  <a:pt x="408" y="98"/>
                  <a:pt x="408" y="98"/>
                </a:cubicBezTo>
                <a:cubicBezTo>
                  <a:pt x="409" y="99"/>
                  <a:pt x="409" y="99"/>
                  <a:pt x="409" y="99"/>
                </a:cubicBezTo>
                <a:cubicBezTo>
                  <a:pt x="410" y="99"/>
                  <a:pt x="410" y="99"/>
                  <a:pt x="410" y="99"/>
                </a:cubicBezTo>
                <a:cubicBezTo>
                  <a:pt x="410" y="98"/>
                  <a:pt x="410" y="98"/>
                  <a:pt x="410" y="98"/>
                </a:cubicBezTo>
                <a:cubicBezTo>
                  <a:pt x="409" y="98"/>
                  <a:pt x="409" y="98"/>
                  <a:pt x="409" y="98"/>
                </a:cubicBezTo>
                <a:cubicBezTo>
                  <a:pt x="408" y="97"/>
                  <a:pt x="408" y="97"/>
                  <a:pt x="408" y="97"/>
                </a:cubicBezTo>
                <a:cubicBezTo>
                  <a:pt x="408" y="98"/>
                  <a:pt x="408" y="98"/>
                  <a:pt x="408" y="98"/>
                </a:cubicBezTo>
                <a:cubicBezTo>
                  <a:pt x="407" y="98"/>
                  <a:pt x="407" y="98"/>
                  <a:pt x="407" y="98"/>
                </a:cubicBezTo>
                <a:cubicBezTo>
                  <a:pt x="406" y="97"/>
                  <a:pt x="406" y="97"/>
                  <a:pt x="406" y="97"/>
                </a:cubicBezTo>
                <a:cubicBezTo>
                  <a:pt x="407" y="96"/>
                  <a:pt x="407" y="96"/>
                  <a:pt x="407" y="96"/>
                </a:cubicBezTo>
                <a:cubicBezTo>
                  <a:pt x="408" y="96"/>
                  <a:pt x="408" y="96"/>
                  <a:pt x="408" y="96"/>
                </a:cubicBezTo>
                <a:cubicBezTo>
                  <a:pt x="409" y="95"/>
                  <a:pt x="409" y="95"/>
                  <a:pt x="409" y="95"/>
                </a:cubicBezTo>
                <a:cubicBezTo>
                  <a:pt x="410" y="96"/>
                  <a:pt x="410" y="96"/>
                  <a:pt x="410" y="96"/>
                </a:cubicBezTo>
                <a:cubicBezTo>
                  <a:pt x="411" y="96"/>
                  <a:pt x="411" y="96"/>
                  <a:pt x="411" y="96"/>
                </a:cubicBezTo>
                <a:cubicBezTo>
                  <a:pt x="412" y="95"/>
                  <a:pt x="412" y="95"/>
                  <a:pt x="412" y="95"/>
                </a:cubicBezTo>
                <a:cubicBezTo>
                  <a:pt x="411" y="95"/>
                  <a:pt x="411" y="95"/>
                  <a:pt x="411" y="95"/>
                </a:cubicBezTo>
                <a:cubicBezTo>
                  <a:pt x="411" y="95"/>
                  <a:pt x="411" y="95"/>
                  <a:pt x="411" y="95"/>
                </a:cubicBezTo>
                <a:cubicBezTo>
                  <a:pt x="412" y="94"/>
                  <a:pt x="412" y="94"/>
                  <a:pt x="412" y="94"/>
                </a:cubicBezTo>
                <a:cubicBezTo>
                  <a:pt x="413" y="94"/>
                  <a:pt x="413" y="94"/>
                  <a:pt x="413" y="94"/>
                </a:cubicBezTo>
                <a:cubicBezTo>
                  <a:pt x="413" y="93"/>
                  <a:pt x="413" y="93"/>
                  <a:pt x="413" y="93"/>
                </a:cubicBezTo>
                <a:cubicBezTo>
                  <a:pt x="412" y="93"/>
                  <a:pt x="412" y="93"/>
                  <a:pt x="412" y="93"/>
                </a:cubicBezTo>
                <a:cubicBezTo>
                  <a:pt x="412" y="92"/>
                  <a:pt x="412" y="92"/>
                  <a:pt x="412" y="92"/>
                </a:cubicBezTo>
                <a:cubicBezTo>
                  <a:pt x="413" y="91"/>
                  <a:pt x="413" y="91"/>
                  <a:pt x="413" y="91"/>
                </a:cubicBezTo>
                <a:cubicBezTo>
                  <a:pt x="414" y="91"/>
                  <a:pt x="414" y="91"/>
                  <a:pt x="414" y="91"/>
                </a:cubicBezTo>
                <a:cubicBezTo>
                  <a:pt x="413" y="90"/>
                  <a:pt x="413" y="90"/>
                  <a:pt x="413" y="90"/>
                </a:cubicBezTo>
                <a:cubicBezTo>
                  <a:pt x="415" y="88"/>
                  <a:pt x="415" y="88"/>
                  <a:pt x="415" y="88"/>
                </a:cubicBezTo>
                <a:cubicBezTo>
                  <a:pt x="416" y="87"/>
                  <a:pt x="416" y="87"/>
                  <a:pt x="416" y="87"/>
                </a:cubicBezTo>
                <a:cubicBezTo>
                  <a:pt x="416" y="86"/>
                  <a:pt x="416" y="86"/>
                  <a:pt x="416" y="86"/>
                </a:cubicBezTo>
                <a:cubicBezTo>
                  <a:pt x="415" y="87"/>
                  <a:pt x="415" y="87"/>
                  <a:pt x="415" y="87"/>
                </a:cubicBezTo>
                <a:cubicBezTo>
                  <a:pt x="413" y="89"/>
                  <a:pt x="413" y="89"/>
                  <a:pt x="413" y="89"/>
                </a:cubicBezTo>
                <a:cubicBezTo>
                  <a:pt x="412" y="91"/>
                  <a:pt x="412" y="91"/>
                  <a:pt x="412" y="91"/>
                </a:cubicBezTo>
                <a:cubicBezTo>
                  <a:pt x="410" y="93"/>
                  <a:pt x="410" y="93"/>
                  <a:pt x="410" y="93"/>
                </a:cubicBezTo>
                <a:cubicBezTo>
                  <a:pt x="409" y="94"/>
                  <a:pt x="409" y="94"/>
                  <a:pt x="409" y="94"/>
                </a:cubicBezTo>
                <a:cubicBezTo>
                  <a:pt x="408" y="94"/>
                  <a:pt x="408" y="94"/>
                  <a:pt x="408" y="94"/>
                </a:cubicBezTo>
                <a:cubicBezTo>
                  <a:pt x="406" y="94"/>
                  <a:pt x="406" y="94"/>
                  <a:pt x="406" y="94"/>
                </a:cubicBezTo>
                <a:cubicBezTo>
                  <a:pt x="406" y="93"/>
                  <a:pt x="406" y="93"/>
                  <a:pt x="406" y="93"/>
                </a:cubicBezTo>
                <a:cubicBezTo>
                  <a:pt x="407" y="92"/>
                  <a:pt x="407" y="92"/>
                  <a:pt x="407" y="92"/>
                </a:cubicBezTo>
                <a:cubicBezTo>
                  <a:pt x="408" y="91"/>
                  <a:pt x="408" y="91"/>
                  <a:pt x="408" y="91"/>
                </a:cubicBezTo>
                <a:cubicBezTo>
                  <a:pt x="408" y="90"/>
                  <a:pt x="408" y="90"/>
                  <a:pt x="408" y="90"/>
                </a:cubicBezTo>
                <a:cubicBezTo>
                  <a:pt x="406" y="91"/>
                  <a:pt x="406" y="91"/>
                  <a:pt x="406" y="91"/>
                </a:cubicBezTo>
                <a:cubicBezTo>
                  <a:pt x="405" y="91"/>
                  <a:pt x="405" y="91"/>
                  <a:pt x="405" y="91"/>
                </a:cubicBezTo>
                <a:cubicBezTo>
                  <a:pt x="405" y="92"/>
                  <a:pt x="405" y="92"/>
                  <a:pt x="405" y="92"/>
                </a:cubicBezTo>
                <a:cubicBezTo>
                  <a:pt x="404" y="93"/>
                  <a:pt x="404" y="93"/>
                  <a:pt x="404" y="93"/>
                </a:cubicBezTo>
                <a:cubicBezTo>
                  <a:pt x="402" y="93"/>
                  <a:pt x="402" y="93"/>
                  <a:pt x="402" y="93"/>
                </a:cubicBezTo>
                <a:cubicBezTo>
                  <a:pt x="400" y="91"/>
                  <a:pt x="400" y="91"/>
                  <a:pt x="400" y="91"/>
                </a:cubicBezTo>
                <a:cubicBezTo>
                  <a:pt x="401" y="91"/>
                  <a:pt x="401" y="91"/>
                  <a:pt x="401" y="91"/>
                </a:cubicBezTo>
                <a:cubicBezTo>
                  <a:pt x="402" y="90"/>
                  <a:pt x="402" y="90"/>
                  <a:pt x="402" y="90"/>
                </a:cubicBezTo>
                <a:cubicBezTo>
                  <a:pt x="402" y="90"/>
                  <a:pt x="402" y="90"/>
                  <a:pt x="402" y="90"/>
                </a:cubicBezTo>
                <a:cubicBezTo>
                  <a:pt x="401" y="90"/>
                  <a:pt x="401" y="90"/>
                  <a:pt x="401" y="90"/>
                </a:cubicBezTo>
                <a:cubicBezTo>
                  <a:pt x="401" y="88"/>
                  <a:pt x="401" y="88"/>
                  <a:pt x="401" y="88"/>
                </a:cubicBezTo>
                <a:cubicBezTo>
                  <a:pt x="403" y="87"/>
                  <a:pt x="403" y="87"/>
                  <a:pt x="403" y="87"/>
                </a:cubicBezTo>
                <a:cubicBezTo>
                  <a:pt x="403" y="86"/>
                  <a:pt x="403" y="86"/>
                  <a:pt x="403" y="86"/>
                </a:cubicBezTo>
                <a:cubicBezTo>
                  <a:pt x="404" y="86"/>
                  <a:pt x="404" y="86"/>
                  <a:pt x="404" y="86"/>
                </a:cubicBezTo>
                <a:cubicBezTo>
                  <a:pt x="406" y="85"/>
                  <a:pt x="406" y="85"/>
                  <a:pt x="406" y="85"/>
                </a:cubicBezTo>
                <a:cubicBezTo>
                  <a:pt x="407" y="85"/>
                  <a:pt x="407" y="85"/>
                  <a:pt x="407" y="85"/>
                </a:cubicBezTo>
                <a:cubicBezTo>
                  <a:pt x="407" y="83"/>
                  <a:pt x="407" y="83"/>
                  <a:pt x="407" y="83"/>
                </a:cubicBezTo>
                <a:cubicBezTo>
                  <a:pt x="408" y="82"/>
                  <a:pt x="408" y="82"/>
                  <a:pt x="408" y="82"/>
                </a:cubicBezTo>
                <a:cubicBezTo>
                  <a:pt x="409" y="80"/>
                  <a:pt x="409" y="80"/>
                  <a:pt x="409" y="80"/>
                </a:cubicBezTo>
                <a:cubicBezTo>
                  <a:pt x="410" y="80"/>
                  <a:pt x="410" y="80"/>
                  <a:pt x="410" y="80"/>
                </a:cubicBezTo>
                <a:cubicBezTo>
                  <a:pt x="413" y="79"/>
                  <a:pt x="413" y="79"/>
                  <a:pt x="413" y="79"/>
                </a:cubicBezTo>
                <a:cubicBezTo>
                  <a:pt x="415" y="80"/>
                  <a:pt x="415" y="80"/>
                  <a:pt x="415" y="80"/>
                </a:cubicBezTo>
                <a:cubicBezTo>
                  <a:pt x="416" y="79"/>
                  <a:pt x="416" y="79"/>
                  <a:pt x="416" y="79"/>
                </a:cubicBezTo>
                <a:cubicBezTo>
                  <a:pt x="417" y="79"/>
                  <a:pt x="417" y="79"/>
                  <a:pt x="417" y="79"/>
                </a:cubicBezTo>
                <a:cubicBezTo>
                  <a:pt x="418" y="78"/>
                  <a:pt x="418" y="78"/>
                  <a:pt x="418" y="78"/>
                </a:cubicBezTo>
                <a:cubicBezTo>
                  <a:pt x="419" y="78"/>
                  <a:pt x="419" y="78"/>
                  <a:pt x="419" y="78"/>
                </a:cubicBezTo>
                <a:cubicBezTo>
                  <a:pt x="419" y="79"/>
                  <a:pt x="419" y="79"/>
                  <a:pt x="419" y="79"/>
                </a:cubicBezTo>
                <a:cubicBezTo>
                  <a:pt x="421" y="80"/>
                  <a:pt x="421" y="80"/>
                  <a:pt x="421" y="80"/>
                </a:cubicBezTo>
                <a:cubicBezTo>
                  <a:pt x="421" y="80"/>
                  <a:pt x="421" y="80"/>
                  <a:pt x="421" y="80"/>
                </a:cubicBezTo>
                <a:cubicBezTo>
                  <a:pt x="424" y="82"/>
                  <a:pt x="424" y="82"/>
                  <a:pt x="424" y="82"/>
                </a:cubicBezTo>
                <a:cubicBezTo>
                  <a:pt x="425" y="83"/>
                  <a:pt x="425" y="83"/>
                  <a:pt x="425" y="83"/>
                </a:cubicBezTo>
                <a:cubicBezTo>
                  <a:pt x="425" y="84"/>
                  <a:pt x="425" y="84"/>
                  <a:pt x="425" y="84"/>
                </a:cubicBezTo>
                <a:cubicBezTo>
                  <a:pt x="426" y="84"/>
                  <a:pt x="426" y="84"/>
                  <a:pt x="426" y="84"/>
                </a:cubicBezTo>
                <a:cubicBezTo>
                  <a:pt x="428" y="87"/>
                  <a:pt x="428" y="87"/>
                  <a:pt x="428" y="87"/>
                </a:cubicBezTo>
                <a:cubicBezTo>
                  <a:pt x="428" y="85"/>
                  <a:pt x="428" y="85"/>
                  <a:pt x="428" y="85"/>
                </a:cubicBezTo>
                <a:cubicBezTo>
                  <a:pt x="429" y="85"/>
                  <a:pt x="429" y="85"/>
                  <a:pt x="429" y="85"/>
                </a:cubicBezTo>
                <a:cubicBezTo>
                  <a:pt x="429" y="84"/>
                  <a:pt x="429" y="84"/>
                  <a:pt x="429" y="84"/>
                </a:cubicBezTo>
                <a:cubicBezTo>
                  <a:pt x="427" y="84"/>
                  <a:pt x="427" y="84"/>
                  <a:pt x="427" y="84"/>
                </a:cubicBezTo>
                <a:cubicBezTo>
                  <a:pt x="427" y="84"/>
                  <a:pt x="427" y="84"/>
                  <a:pt x="427" y="84"/>
                </a:cubicBezTo>
                <a:cubicBezTo>
                  <a:pt x="427" y="83"/>
                  <a:pt x="427" y="83"/>
                  <a:pt x="427" y="83"/>
                </a:cubicBezTo>
                <a:cubicBezTo>
                  <a:pt x="428" y="82"/>
                  <a:pt x="428" y="82"/>
                  <a:pt x="428" y="82"/>
                </a:cubicBezTo>
                <a:cubicBezTo>
                  <a:pt x="430" y="82"/>
                  <a:pt x="430" y="82"/>
                  <a:pt x="430" y="82"/>
                </a:cubicBezTo>
                <a:cubicBezTo>
                  <a:pt x="432" y="83"/>
                  <a:pt x="432" y="83"/>
                  <a:pt x="432" y="83"/>
                </a:cubicBezTo>
                <a:cubicBezTo>
                  <a:pt x="432" y="82"/>
                  <a:pt x="432" y="82"/>
                  <a:pt x="432" y="82"/>
                </a:cubicBezTo>
                <a:cubicBezTo>
                  <a:pt x="432" y="81"/>
                  <a:pt x="432" y="81"/>
                  <a:pt x="432" y="81"/>
                </a:cubicBezTo>
                <a:cubicBezTo>
                  <a:pt x="433" y="80"/>
                  <a:pt x="433" y="80"/>
                  <a:pt x="433" y="80"/>
                </a:cubicBezTo>
                <a:cubicBezTo>
                  <a:pt x="433" y="79"/>
                  <a:pt x="433" y="79"/>
                  <a:pt x="433" y="79"/>
                </a:cubicBezTo>
                <a:cubicBezTo>
                  <a:pt x="432" y="79"/>
                  <a:pt x="432" y="79"/>
                  <a:pt x="432" y="79"/>
                </a:cubicBezTo>
                <a:cubicBezTo>
                  <a:pt x="432" y="80"/>
                  <a:pt x="432" y="80"/>
                  <a:pt x="432" y="80"/>
                </a:cubicBezTo>
                <a:cubicBezTo>
                  <a:pt x="430" y="81"/>
                  <a:pt x="430" y="81"/>
                  <a:pt x="430" y="81"/>
                </a:cubicBezTo>
                <a:cubicBezTo>
                  <a:pt x="430" y="82"/>
                  <a:pt x="430" y="82"/>
                  <a:pt x="430" y="82"/>
                </a:cubicBezTo>
                <a:cubicBezTo>
                  <a:pt x="427" y="81"/>
                  <a:pt x="427" y="81"/>
                  <a:pt x="427" y="81"/>
                </a:cubicBezTo>
                <a:cubicBezTo>
                  <a:pt x="425" y="81"/>
                  <a:pt x="425" y="81"/>
                  <a:pt x="425" y="81"/>
                </a:cubicBezTo>
                <a:cubicBezTo>
                  <a:pt x="425" y="80"/>
                  <a:pt x="425" y="80"/>
                  <a:pt x="425" y="80"/>
                </a:cubicBezTo>
                <a:cubicBezTo>
                  <a:pt x="424" y="80"/>
                  <a:pt x="424" y="80"/>
                  <a:pt x="424" y="80"/>
                </a:cubicBezTo>
                <a:cubicBezTo>
                  <a:pt x="422" y="80"/>
                  <a:pt x="422" y="80"/>
                  <a:pt x="422" y="80"/>
                </a:cubicBezTo>
                <a:cubicBezTo>
                  <a:pt x="420" y="77"/>
                  <a:pt x="420" y="77"/>
                  <a:pt x="420" y="77"/>
                </a:cubicBezTo>
                <a:cubicBezTo>
                  <a:pt x="420" y="75"/>
                  <a:pt x="420" y="75"/>
                  <a:pt x="420" y="75"/>
                </a:cubicBezTo>
                <a:cubicBezTo>
                  <a:pt x="421" y="74"/>
                  <a:pt x="421" y="74"/>
                  <a:pt x="421" y="74"/>
                </a:cubicBezTo>
                <a:cubicBezTo>
                  <a:pt x="422" y="75"/>
                  <a:pt x="422" y="75"/>
                  <a:pt x="422" y="75"/>
                </a:cubicBezTo>
                <a:cubicBezTo>
                  <a:pt x="422" y="76"/>
                  <a:pt x="422" y="76"/>
                  <a:pt x="422" y="76"/>
                </a:cubicBezTo>
                <a:cubicBezTo>
                  <a:pt x="423" y="77"/>
                  <a:pt x="423" y="77"/>
                  <a:pt x="423" y="77"/>
                </a:cubicBezTo>
                <a:cubicBezTo>
                  <a:pt x="424" y="75"/>
                  <a:pt x="424" y="75"/>
                  <a:pt x="424" y="75"/>
                </a:cubicBezTo>
                <a:cubicBezTo>
                  <a:pt x="424" y="74"/>
                  <a:pt x="424" y="74"/>
                  <a:pt x="424" y="74"/>
                </a:cubicBezTo>
                <a:cubicBezTo>
                  <a:pt x="423" y="74"/>
                  <a:pt x="423" y="74"/>
                  <a:pt x="423" y="74"/>
                </a:cubicBezTo>
                <a:cubicBezTo>
                  <a:pt x="423" y="74"/>
                  <a:pt x="423" y="74"/>
                  <a:pt x="423" y="74"/>
                </a:cubicBezTo>
                <a:cubicBezTo>
                  <a:pt x="423" y="72"/>
                  <a:pt x="423" y="72"/>
                  <a:pt x="423" y="72"/>
                </a:cubicBezTo>
                <a:cubicBezTo>
                  <a:pt x="424" y="70"/>
                  <a:pt x="424" y="70"/>
                  <a:pt x="424" y="70"/>
                </a:cubicBezTo>
                <a:cubicBezTo>
                  <a:pt x="424" y="69"/>
                  <a:pt x="424" y="69"/>
                  <a:pt x="424" y="69"/>
                </a:cubicBezTo>
                <a:cubicBezTo>
                  <a:pt x="425" y="67"/>
                  <a:pt x="425" y="67"/>
                  <a:pt x="425" y="67"/>
                </a:cubicBezTo>
                <a:cubicBezTo>
                  <a:pt x="424" y="63"/>
                  <a:pt x="424" y="63"/>
                  <a:pt x="424" y="63"/>
                </a:cubicBezTo>
                <a:cubicBezTo>
                  <a:pt x="424" y="62"/>
                  <a:pt x="424" y="62"/>
                  <a:pt x="424" y="62"/>
                </a:cubicBezTo>
                <a:cubicBezTo>
                  <a:pt x="423" y="61"/>
                  <a:pt x="423" y="61"/>
                  <a:pt x="423" y="61"/>
                </a:cubicBezTo>
                <a:cubicBezTo>
                  <a:pt x="423" y="60"/>
                  <a:pt x="423" y="60"/>
                  <a:pt x="423" y="60"/>
                </a:cubicBezTo>
                <a:cubicBezTo>
                  <a:pt x="423" y="59"/>
                  <a:pt x="423" y="59"/>
                  <a:pt x="423" y="59"/>
                </a:cubicBezTo>
                <a:cubicBezTo>
                  <a:pt x="424" y="59"/>
                  <a:pt x="424" y="59"/>
                  <a:pt x="424" y="59"/>
                </a:cubicBezTo>
                <a:cubicBezTo>
                  <a:pt x="424" y="58"/>
                  <a:pt x="424" y="58"/>
                  <a:pt x="424" y="58"/>
                </a:cubicBezTo>
                <a:cubicBezTo>
                  <a:pt x="425" y="59"/>
                  <a:pt x="425" y="59"/>
                  <a:pt x="425" y="59"/>
                </a:cubicBezTo>
                <a:cubicBezTo>
                  <a:pt x="426" y="59"/>
                  <a:pt x="426" y="59"/>
                  <a:pt x="426" y="59"/>
                </a:cubicBezTo>
                <a:cubicBezTo>
                  <a:pt x="427" y="61"/>
                  <a:pt x="427" y="61"/>
                  <a:pt x="427" y="61"/>
                </a:cubicBezTo>
                <a:cubicBezTo>
                  <a:pt x="427" y="60"/>
                  <a:pt x="427" y="60"/>
                  <a:pt x="427" y="60"/>
                </a:cubicBezTo>
                <a:cubicBezTo>
                  <a:pt x="427" y="59"/>
                  <a:pt x="427" y="59"/>
                  <a:pt x="427" y="59"/>
                </a:cubicBezTo>
                <a:cubicBezTo>
                  <a:pt x="426" y="58"/>
                  <a:pt x="426" y="58"/>
                  <a:pt x="426" y="58"/>
                </a:cubicBezTo>
                <a:cubicBezTo>
                  <a:pt x="425" y="58"/>
                  <a:pt x="425" y="58"/>
                  <a:pt x="425" y="58"/>
                </a:cubicBezTo>
                <a:cubicBezTo>
                  <a:pt x="424" y="57"/>
                  <a:pt x="424" y="57"/>
                  <a:pt x="424" y="57"/>
                </a:cubicBezTo>
                <a:cubicBezTo>
                  <a:pt x="424" y="56"/>
                  <a:pt x="424" y="56"/>
                  <a:pt x="424" y="56"/>
                </a:cubicBezTo>
                <a:cubicBezTo>
                  <a:pt x="425" y="54"/>
                  <a:pt x="425" y="54"/>
                  <a:pt x="425" y="54"/>
                </a:cubicBezTo>
                <a:cubicBezTo>
                  <a:pt x="429" y="50"/>
                  <a:pt x="429" y="50"/>
                  <a:pt x="429" y="50"/>
                </a:cubicBezTo>
                <a:cubicBezTo>
                  <a:pt x="430" y="50"/>
                  <a:pt x="430" y="50"/>
                  <a:pt x="430" y="50"/>
                </a:cubicBezTo>
                <a:cubicBezTo>
                  <a:pt x="431" y="50"/>
                  <a:pt x="431" y="50"/>
                  <a:pt x="431" y="50"/>
                </a:cubicBezTo>
                <a:cubicBezTo>
                  <a:pt x="432" y="51"/>
                  <a:pt x="432" y="51"/>
                  <a:pt x="432" y="51"/>
                </a:cubicBezTo>
                <a:cubicBezTo>
                  <a:pt x="433" y="53"/>
                  <a:pt x="433" y="53"/>
                  <a:pt x="433" y="53"/>
                </a:cubicBezTo>
                <a:cubicBezTo>
                  <a:pt x="434" y="53"/>
                  <a:pt x="434" y="53"/>
                  <a:pt x="434" y="53"/>
                </a:cubicBezTo>
                <a:cubicBezTo>
                  <a:pt x="437" y="54"/>
                  <a:pt x="437" y="54"/>
                  <a:pt x="437" y="54"/>
                </a:cubicBezTo>
                <a:cubicBezTo>
                  <a:pt x="437" y="56"/>
                  <a:pt x="437" y="56"/>
                  <a:pt x="437" y="56"/>
                </a:cubicBezTo>
                <a:cubicBezTo>
                  <a:pt x="439" y="57"/>
                  <a:pt x="439" y="57"/>
                  <a:pt x="439" y="57"/>
                </a:cubicBezTo>
                <a:cubicBezTo>
                  <a:pt x="439" y="60"/>
                  <a:pt x="439" y="60"/>
                  <a:pt x="439" y="60"/>
                </a:cubicBezTo>
                <a:cubicBezTo>
                  <a:pt x="439" y="63"/>
                  <a:pt x="439" y="63"/>
                  <a:pt x="439" y="63"/>
                </a:cubicBezTo>
                <a:cubicBezTo>
                  <a:pt x="439" y="65"/>
                  <a:pt x="439" y="65"/>
                  <a:pt x="439" y="65"/>
                </a:cubicBezTo>
                <a:cubicBezTo>
                  <a:pt x="440" y="66"/>
                  <a:pt x="440" y="66"/>
                  <a:pt x="440" y="66"/>
                </a:cubicBezTo>
                <a:cubicBezTo>
                  <a:pt x="441" y="65"/>
                  <a:pt x="441" y="65"/>
                  <a:pt x="441" y="65"/>
                </a:cubicBezTo>
                <a:cubicBezTo>
                  <a:pt x="441" y="65"/>
                  <a:pt x="441" y="65"/>
                  <a:pt x="441" y="65"/>
                </a:cubicBezTo>
                <a:cubicBezTo>
                  <a:pt x="442" y="66"/>
                  <a:pt x="442" y="66"/>
                  <a:pt x="442" y="66"/>
                </a:cubicBezTo>
                <a:cubicBezTo>
                  <a:pt x="443" y="67"/>
                  <a:pt x="443" y="67"/>
                  <a:pt x="443" y="67"/>
                </a:cubicBezTo>
                <a:cubicBezTo>
                  <a:pt x="443" y="67"/>
                  <a:pt x="443" y="67"/>
                  <a:pt x="443" y="67"/>
                </a:cubicBezTo>
                <a:cubicBezTo>
                  <a:pt x="444" y="66"/>
                  <a:pt x="444" y="66"/>
                  <a:pt x="444" y="66"/>
                </a:cubicBezTo>
                <a:cubicBezTo>
                  <a:pt x="445" y="66"/>
                  <a:pt x="445" y="66"/>
                  <a:pt x="445" y="66"/>
                </a:cubicBezTo>
                <a:cubicBezTo>
                  <a:pt x="444" y="66"/>
                  <a:pt x="444" y="66"/>
                  <a:pt x="444" y="66"/>
                </a:cubicBezTo>
                <a:cubicBezTo>
                  <a:pt x="443" y="65"/>
                  <a:pt x="443" y="65"/>
                  <a:pt x="443" y="65"/>
                </a:cubicBezTo>
                <a:cubicBezTo>
                  <a:pt x="442" y="64"/>
                  <a:pt x="442" y="64"/>
                  <a:pt x="442" y="64"/>
                </a:cubicBezTo>
                <a:cubicBezTo>
                  <a:pt x="441" y="64"/>
                  <a:pt x="441" y="64"/>
                  <a:pt x="441" y="64"/>
                </a:cubicBezTo>
                <a:cubicBezTo>
                  <a:pt x="441" y="63"/>
                  <a:pt x="441" y="63"/>
                  <a:pt x="441" y="63"/>
                </a:cubicBezTo>
                <a:cubicBezTo>
                  <a:pt x="442" y="62"/>
                  <a:pt x="442" y="62"/>
                  <a:pt x="442" y="62"/>
                </a:cubicBezTo>
                <a:cubicBezTo>
                  <a:pt x="442" y="61"/>
                  <a:pt x="442" y="61"/>
                  <a:pt x="442" y="61"/>
                </a:cubicBezTo>
                <a:cubicBezTo>
                  <a:pt x="442" y="56"/>
                  <a:pt x="442" y="56"/>
                  <a:pt x="442" y="56"/>
                </a:cubicBezTo>
                <a:cubicBezTo>
                  <a:pt x="441" y="55"/>
                  <a:pt x="441" y="55"/>
                  <a:pt x="441" y="55"/>
                </a:cubicBezTo>
                <a:cubicBezTo>
                  <a:pt x="442" y="54"/>
                  <a:pt x="442" y="54"/>
                  <a:pt x="442" y="54"/>
                </a:cubicBezTo>
                <a:cubicBezTo>
                  <a:pt x="444" y="54"/>
                  <a:pt x="444" y="54"/>
                  <a:pt x="444" y="54"/>
                </a:cubicBezTo>
                <a:cubicBezTo>
                  <a:pt x="445" y="54"/>
                  <a:pt x="445" y="54"/>
                  <a:pt x="445" y="54"/>
                </a:cubicBezTo>
                <a:cubicBezTo>
                  <a:pt x="447" y="55"/>
                  <a:pt x="447" y="55"/>
                  <a:pt x="447" y="55"/>
                </a:cubicBezTo>
                <a:cubicBezTo>
                  <a:pt x="448" y="55"/>
                  <a:pt x="448" y="55"/>
                  <a:pt x="448" y="55"/>
                </a:cubicBezTo>
                <a:cubicBezTo>
                  <a:pt x="450" y="55"/>
                  <a:pt x="450" y="55"/>
                  <a:pt x="450" y="55"/>
                </a:cubicBezTo>
                <a:cubicBezTo>
                  <a:pt x="453" y="55"/>
                  <a:pt x="453" y="55"/>
                  <a:pt x="453" y="55"/>
                </a:cubicBezTo>
                <a:cubicBezTo>
                  <a:pt x="455" y="54"/>
                  <a:pt x="455" y="54"/>
                  <a:pt x="455" y="54"/>
                </a:cubicBezTo>
                <a:cubicBezTo>
                  <a:pt x="456" y="55"/>
                  <a:pt x="456" y="55"/>
                  <a:pt x="456" y="55"/>
                </a:cubicBezTo>
                <a:cubicBezTo>
                  <a:pt x="457" y="56"/>
                  <a:pt x="457" y="56"/>
                  <a:pt x="457" y="56"/>
                </a:cubicBezTo>
                <a:cubicBezTo>
                  <a:pt x="460" y="56"/>
                  <a:pt x="460" y="56"/>
                  <a:pt x="460" y="56"/>
                </a:cubicBezTo>
                <a:cubicBezTo>
                  <a:pt x="461" y="57"/>
                  <a:pt x="461" y="57"/>
                  <a:pt x="461" y="57"/>
                </a:cubicBezTo>
                <a:cubicBezTo>
                  <a:pt x="462" y="56"/>
                  <a:pt x="462" y="56"/>
                  <a:pt x="462" y="56"/>
                </a:cubicBezTo>
                <a:cubicBezTo>
                  <a:pt x="462" y="56"/>
                  <a:pt x="462" y="56"/>
                  <a:pt x="462" y="56"/>
                </a:cubicBezTo>
                <a:cubicBezTo>
                  <a:pt x="461" y="55"/>
                  <a:pt x="461" y="55"/>
                  <a:pt x="461" y="55"/>
                </a:cubicBezTo>
                <a:cubicBezTo>
                  <a:pt x="459" y="55"/>
                  <a:pt x="459" y="55"/>
                  <a:pt x="459" y="55"/>
                </a:cubicBezTo>
                <a:cubicBezTo>
                  <a:pt x="457" y="54"/>
                  <a:pt x="457" y="54"/>
                  <a:pt x="457" y="54"/>
                </a:cubicBezTo>
                <a:cubicBezTo>
                  <a:pt x="457" y="54"/>
                  <a:pt x="457" y="54"/>
                  <a:pt x="457" y="54"/>
                </a:cubicBezTo>
                <a:cubicBezTo>
                  <a:pt x="457" y="53"/>
                  <a:pt x="457" y="53"/>
                  <a:pt x="457" y="53"/>
                </a:cubicBezTo>
                <a:cubicBezTo>
                  <a:pt x="458" y="53"/>
                  <a:pt x="458" y="53"/>
                  <a:pt x="458" y="53"/>
                </a:cubicBezTo>
                <a:cubicBezTo>
                  <a:pt x="460" y="53"/>
                  <a:pt x="460" y="53"/>
                  <a:pt x="460" y="53"/>
                </a:cubicBezTo>
                <a:cubicBezTo>
                  <a:pt x="464" y="52"/>
                  <a:pt x="464" y="52"/>
                  <a:pt x="464" y="52"/>
                </a:cubicBezTo>
                <a:cubicBezTo>
                  <a:pt x="467" y="52"/>
                  <a:pt x="467" y="52"/>
                  <a:pt x="467" y="52"/>
                </a:cubicBezTo>
                <a:cubicBezTo>
                  <a:pt x="469" y="53"/>
                  <a:pt x="469" y="53"/>
                  <a:pt x="469" y="53"/>
                </a:cubicBezTo>
                <a:cubicBezTo>
                  <a:pt x="471" y="54"/>
                  <a:pt x="471" y="54"/>
                  <a:pt x="471" y="54"/>
                </a:cubicBezTo>
                <a:cubicBezTo>
                  <a:pt x="472" y="53"/>
                  <a:pt x="472" y="53"/>
                  <a:pt x="472" y="53"/>
                </a:cubicBezTo>
                <a:cubicBezTo>
                  <a:pt x="473" y="53"/>
                  <a:pt x="473" y="53"/>
                  <a:pt x="473" y="53"/>
                </a:cubicBezTo>
                <a:cubicBezTo>
                  <a:pt x="472" y="52"/>
                  <a:pt x="472" y="52"/>
                  <a:pt x="472" y="52"/>
                </a:cubicBezTo>
                <a:cubicBezTo>
                  <a:pt x="472" y="52"/>
                  <a:pt x="472" y="52"/>
                  <a:pt x="472" y="52"/>
                </a:cubicBezTo>
                <a:cubicBezTo>
                  <a:pt x="471" y="52"/>
                  <a:pt x="471" y="52"/>
                  <a:pt x="471" y="52"/>
                </a:cubicBezTo>
                <a:cubicBezTo>
                  <a:pt x="471" y="51"/>
                  <a:pt x="471" y="51"/>
                  <a:pt x="471" y="51"/>
                </a:cubicBezTo>
                <a:cubicBezTo>
                  <a:pt x="470" y="50"/>
                  <a:pt x="470" y="50"/>
                  <a:pt x="470" y="50"/>
                </a:cubicBezTo>
                <a:cubicBezTo>
                  <a:pt x="468" y="50"/>
                  <a:pt x="468" y="50"/>
                  <a:pt x="468" y="50"/>
                </a:cubicBezTo>
                <a:cubicBezTo>
                  <a:pt x="467" y="50"/>
                  <a:pt x="467" y="50"/>
                  <a:pt x="467" y="50"/>
                </a:cubicBezTo>
                <a:cubicBezTo>
                  <a:pt x="464" y="50"/>
                  <a:pt x="464" y="50"/>
                  <a:pt x="464" y="50"/>
                </a:cubicBezTo>
                <a:cubicBezTo>
                  <a:pt x="464" y="50"/>
                  <a:pt x="464" y="50"/>
                  <a:pt x="464" y="50"/>
                </a:cubicBezTo>
                <a:cubicBezTo>
                  <a:pt x="465" y="49"/>
                  <a:pt x="465" y="49"/>
                  <a:pt x="465" y="49"/>
                </a:cubicBezTo>
                <a:cubicBezTo>
                  <a:pt x="465" y="47"/>
                  <a:pt x="465" y="47"/>
                  <a:pt x="465" y="47"/>
                </a:cubicBezTo>
                <a:cubicBezTo>
                  <a:pt x="467" y="47"/>
                  <a:pt x="467" y="47"/>
                  <a:pt x="467" y="47"/>
                </a:cubicBezTo>
                <a:cubicBezTo>
                  <a:pt x="468" y="46"/>
                  <a:pt x="468" y="46"/>
                  <a:pt x="468" y="46"/>
                </a:cubicBezTo>
                <a:cubicBezTo>
                  <a:pt x="469" y="44"/>
                  <a:pt x="469" y="44"/>
                  <a:pt x="469" y="44"/>
                </a:cubicBezTo>
                <a:cubicBezTo>
                  <a:pt x="472" y="42"/>
                  <a:pt x="472" y="42"/>
                  <a:pt x="472" y="42"/>
                </a:cubicBezTo>
                <a:cubicBezTo>
                  <a:pt x="474" y="42"/>
                  <a:pt x="474" y="42"/>
                  <a:pt x="474" y="42"/>
                </a:cubicBezTo>
                <a:cubicBezTo>
                  <a:pt x="477" y="41"/>
                  <a:pt x="477" y="41"/>
                  <a:pt x="477" y="41"/>
                </a:cubicBezTo>
                <a:cubicBezTo>
                  <a:pt x="477" y="40"/>
                  <a:pt x="477" y="40"/>
                  <a:pt x="477" y="40"/>
                </a:cubicBezTo>
                <a:cubicBezTo>
                  <a:pt x="473" y="42"/>
                  <a:pt x="473" y="42"/>
                  <a:pt x="473" y="42"/>
                </a:cubicBezTo>
                <a:cubicBezTo>
                  <a:pt x="471" y="42"/>
                  <a:pt x="471" y="42"/>
                  <a:pt x="471" y="42"/>
                </a:cubicBezTo>
                <a:cubicBezTo>
                  <a:pt x="468" y="44"/>
                  <a:pt x="468" y="44"/>
                  <a:pt x="468" y="44"/>
                </a:cubicBezTo>
                <a:cubicBezTo>
                  <a:pt x="467" y="46"/>
                  <a:pt x="467" y="46"/>
                  <a:pt x="467" y="46"/>
                </a:cubicBezTo>
                <a:cubicBezTo>
                  <a:pt x="467" y="46"/>
                  <a:pt x="467" y="46"/>
                  <a:pt x="467" y="46"/>
                </a:cubicBezTo>
                <a:cubicBezTo>
                  <a:pt x="466" y="44"/>
                  <a:pt x="466" y="44"/>
                  <a:pt x="466" y="44"/>
                </a:cubicBezTo>
                <a:cubicBezTo>
                  <a:pt x="466" y="44"/>
                  <a:pt x="466" y="44"/>
                  <a:pt x="466" y="44"/>
                </a:cubicBezTo>
                <a:cubicBezTo>
                  <a:pt x="465" y="45"/>
                  <a:pt x="465" y="45"/>
                  <a:pt x="465" y="45"/>
                </a:cubicBezTo>
                <a:cubicBezTo>
                  <a:pt x="464" y="46"/>
                  <a:pt x="464" y="46"/>
                  <a:pt x="464" y="46"/>
                </a:cubicBezTo>
                <a:cubicBezTo>
                  <a:pt x="462" y="48"/>
                  <a:pt x="462" y="48"/>
                  <a:pt x="462" y="48"/>
                </a:cubicBezTo>
                <a:cubicBezTo>
                  <a:pt x="463" y="48"/>
                  <a:pt x="463" y="48"/>
                  <a:pt x="463" y="48"/>
                </a:cubicBezTo>
                <a:cubicBezTo>
                  <a:pt x="463" y="48"/>
                  <a:pt x="463" y="48"/>
                  <a:pt x="463" y="48"/>
                </a:cubicBezTo>
                <a:cubicBezTo>
                  <a:pt x="461" y="50"/>
                  <a:pt x="461" y="50"/>
                  <a:pt x="461" y="50"/>
                </a:cubicBezTo>
                <a:cubicBezTo>
                  <a:pt x="460" y="50"/>
                  <a:pt x="460" y="50"/>
                  <a:pt x="460" y="50"/>
                </a:cubicBezTo>
                <a:cubicBezTo>
                  <a:pt x="455" y="52"/>
                  <a:pt x="455" y="52"/>
                  <a:pt x="455" y="52"/>
                </a:cubicBezTo>
                <a:cubicBezTo>
                  <a:pt x="454" y="52"/>
                  <a:pt x="454" y="52"/>
                  <a:pt x="454" y="52"/>
                </a:cubicBezTo>
                <a:cubicBezTo>
                  <a:pt x="453" y="52"/>
                  <a:pt x="453" y="52"/>
                  <a:pt x="453" y="52"/>
                </a:cubicBezTo>
                <a:cubicBezTo>
                  <a:pt x="449" y="52"/>
                  <a:pt x="449" y="52"/>
                  <a:pt x="449" y="52"/>
                </a:cubicBezTo>
                <a:cubicBezTo>
                  <a:pt x="447" y="50"/>
                  <a:pt x="447" y="50"/>
                  <a:pt x="447" y="50"/>
                </a:cubicBezTo>
                <a:cubicBezTo>
                  <a:pt x="446" y="51"/>
                  <a:pt x="446" y="51"/>
                  <a:pt x="446" y="51"/>
                </a:cubicBezTo>
                <a:cubicBezTo>
                  <a:pt x="445" y="51"/>
                  <a:pt x="445" y="51"/>
                  <a:pt x="445" y="51"/>
                </a:cubicBezTo>
                <a:cubicBezTo>
                  <a:pt x="444" y="49"/>
                  <a:pt x="444" y="49"/>
                  <a:pt x="444" y="49"/>
                </a:cubicBezTo>
                <a:cubicBezTo>
                  <a:pt x="446" y="48"/>
                  <a:pt x="446" y="48"/>
                  <a:pt x="446" y="48"/>
                </a:cubicBezTo>
                <a:cubicBezTo>
                  <a:pt x="448" y="48"/>
                  <a:pt x="448" y="48"/>
                  <a:pt x="448" y="48"/>
                </a:cubicBezTo>
                <a:cubicBezTo>
                  <a:pt x="449" y="47"/>
                  <a:pt x="449" y="47"/>
                  <a:pt x="449" y="47"/>
                </a:cubicBezTo>
                <a:cubicBezTo>
                  <a:pt x="451" y="47"/>
                  <a:pt x="451" y="47"/>
                  <a:pt x="451" y="47"/>
                </a:cubicBezTo>
                <a:cubicBezTo>
                  <a:pt x="452" y="46"/>
                  <a:pt x="452" y="46"/>
                  <a:pt x="452" y="46"/>
                </a:cubicBezTo>
                <a:cubicBezTo>
                  <a:pt x="451" y="46"/>
                  <a:pt x="451" y="46"/>
                  <a:pt x="451" y="46"/>
                </a:cubicBezTo>
                <a:cubicBezTo>
                  <a:pt x="450" y="47"/>
                  <a:pt x="450" y="47"/>
                  <a:pt x="450" y="47"/>
                </a:cubicBezTo>
                <a:cubicBezTo>
                  <a:pt x="448" y="46"/>
                  <a:pt x="448" y="46"/>
                  <a:pt x="448" y="46"/>
                </a:cubicBezTo>
                <a:cubicBezTo>
                  <a:pt x="447" y="47"/>
                  <a:pt x="447" y="47"/>
                  <a:pt x="447" y="47"/>
                </a:cubicBezTo>
                <a:cubicBezTo>
                  <a:pt x="446" y="47"/>
                  <a:pt x="446" y="47"/>
                  <a:pt x="446" y="47"/>
                </a:cubicBezTo>
                <a:cubicBezTo>
                  <a:pt x="446" y="46"/>
                  <a:pt x="446" y="46"/>
                  <a:pt x="446" y="46"/>
                </a:cubicBezTo>
                <a:cubicBezTo>
                  <a:pt x="447" y="45"/>
                  <a:pt x="447" y="45"/>
                  <a:pt x="447" y="45"/>
                </a:cubicBezTo>
                <a:cubicBezTo>
                  <a:pt x="446" y="45"/>
                  <a:pt x="446" y="45"/>
                  <a:pt x="446" y="45"/>
                </a:cubicBezTo>
                <a:cubicBezTo>
                  <a:pt x="444" y="45"/>
                  <a:pt x="444" y="45"/>
                  <a:pt x="444" y="45"/>
                </a:cubicBezTo>
                <a:cubicBezTo>
                  <a:pt x="444" y="47"/>
                  <a:pt x="444" y="47"/>
                  <a:pt x="444" y="47"/>
                </a:cubicBezTo>
                <a:cubicBezTo>
                  <a:pt x="442" y="49"/>
                  <a:pt x="442" y="49"/>
                  <a:pt x="442" y="49"/>
                </a:cubicBezTo>
                <a:cubicBezTo>
                  <a:pt x="440" y="49"/>
                  <a:pt x="440" y="49"/>
                  <a:pt x="440" y="49"/>
                </a:cubicBezTo>
                <a:cubicBezTo>
                  <a:pt x="437" y="48"/>
                  <a:pt x="437" y="48"/>
                  <a:pt x="437" y="48"/>
                </a:cubicBezTo>
                <a:cubicBezTo>
                  <a:pt x="435" y="48"/>
                  <a:pt x="435" y="48"/>
                  <a:pt x="435" y="48"/>
                </a:cubicBezTo>
                <a:cubicBezTo>
                  <a:pt x="434" y="47"/>
                  <a:pt x="434" y="47"/>
                  <a:pt x="434" y="47"/>
                </a:cubicBezTo>
                <a:cubicBezTo>
                  <a:pt x="434" y="46"/>
                  <a:pt x="434" y="46"/>
                  <a:pt x="434" y="46"/>
                </a:cubicBezTo>
                <a:cubicBezTo>
                  <a:pt x="432" y="46"/>
                  <a:pt x="432" y="46"/>
                  <a:pt x="432" y="46"/>
                </a:cubicBezTo>
                <a:cubicBezTo>
                  <a:pt x="431" y="45"/>
                  <a:pt x="431" y="45"/>
                  <a:pt x="431" y="45"/>
                </a:cubicBezTo>
                <a:cubicBezTo>
                  <a:pt x="431" y="44"/>
                  <a:pt x="431" y="44"/>
                  <a:pt x="431" y="44"/>
                </a:cubicBezTo>
                <a:cubicBezTo>
                  <a:pt x="432" y="43"/>
                  <a:pt x="432" y="43"/>
                  <a:pt x="432" y="43"/>
                </a:cubicBezTo>
                <a:cubicBezTo>
                  <a:pt x="433" y="42"/>
                  <a:pt x="433" y="42"/>
                  <a:pt x="433" y="42"/>
                </a:cubicBezTo>
                <a:cubicBezTo>
                  <a:pt x="435" y="41"/>
                  <a:pt x="435" y="41"/>
                  <a:pt x="435" y="41"/>
                </a:cubicBezTo>
                <a:cubicBezTo>
                  <a:pt x="436" y="39"/>
                  <a:pt x="436" y="39"/>
                  <a:pt x="436" y="39"/>
                </a:cubicBezTo>
                <a:cubicBezTo>
                  <a:pt x="438" y="38"/>
                  <a:pt x="438" y="38"/>
                  <a:pt x="438" y="38"/>
                </a:cubicBezTo>
                <a:cubicBezTo>
                  <a:pt x="438" y="38"/>
                  <a:pt x="438" y="38"/>
                  <a:pt x="438" y="38"/>
                </a:cubicBezTo>
                <a:cubicBezTo>
                  <a:pt x="440" y="38"/>
                  <a:pt x="440" y="38"/>
                  <a:pt x="440" y="38"/>
                </a:cubicBezTo>
                <a:cubicBezTo>
                  <a:pt x="442" y="38"/>
                  <a:pt x="442" y="38"/>
                  <a:pt x="442" y="38"/>
                </a:cubicBezTo>
                <a:cubicBezTo>
                  <a:pt x="443" y="38"/>
                  <a:pt x="443" y="38"/>
                  <a:pt x="443" y="38"/>
                </a:cubicBezTo>
                <a:cubicBezTo>
                  <a:pt x="444" y="38"/>
                  <a:pt x="444" y="38"/>
                  <a:pt x="444" y="38"/>
                </a:cubicBezTo>
                <a:cubicBezTo>
                  <a:pt x="447" y="39"/>
                  <a:pt x="447" y="39"/>
                  <a:pt x="447" y="39"/>
                </a:cubicBezTo>
                <a:cubicBezTo>
                  <a:pt x="449" y="39"/>
                  <a:pt x="449" y="39"/>
                  <a:pt x="449" y="39"/>
                </a:cubicBezTo>
                <a:cubicBezTo>
                  <a:pt x="450" y="40"/>
                  <a:pt x="450" y="40"/>
                  <a:pt x="450" y="40"/>
                </a:cubicBezTo>
                <a:cubicBezTo>
                  <a:pt x="452" y="39"/>
                  <a:pt x="452" y="39"/>
                  <a:pt x="452" y="39"/>
                </a:cubicBezTo>
                <a:cubicBezTo>
                  <a:pt x="452" y="39"/>
                  <a:pt x="452" y="39"/>
                  <a:pt x="452" y="39"/>
                </a:cubicBezTo>
                <a:cubicBezTo>
                  <a:pt x="451" y="38"/>
                  <a:pt x="451" y="38"/>
                  <a:pt x="451" y="38"/>
                </a:cubicBezTo>
                <a:cubicBezTo>
                  <a:pt x="449" y="39"/>
                  <a:pt x="449" y="39"/>
                  <a:pt x="449" y="39"/>
                </a:cubicBezTo>
                <a:cubicBezTo>
                  <a:pt x="446" y="38"/>
                  <a:pt x="446" y="38"/>
                  <a:pt x="446" y="38"/>
                </a:cubicBezTo>
                <a:cubicBezTo>
                  <a:pt x="445" y="37"/>
                  <a:pt x="445" y="37"/>
                  <a:pt x="445" y="37"/>
                </a:cubicBezTo>
                <a:cubicBezTo>
                  <a:pt x="443" y="37"/>
                  <a:pt x="443" y="37"/>
                  <a:pt x="443" y="37"/>
                </a:cubicBezTo>
                <a:cubicBezTo>
                  <a:pt x="441" y="37"/>
                  <a:pt x="441" y="37"/>
                  <a:pt x="441" y="37"/>
                </a:cubicBezTo>
                <a:cubicBezTo>
                  <a:pt x="438" y="37"/>
                  <a:pt x="438" y="37"/>
                  <a:pt x="438" y="37"/>
                </a:cubicBezTo>
                <a:cubicBezTo>
                  <a:pt x="437" y="37"/>
                  <a:pt x="437" y="37"/>
                  <a:pt x="437" y="37"/>
                </a:cubicBezTo>
                <a:cubicBezTo>
                  <a:pt x="437" y="37"/>
                  <a:pt x="437" y="37"/>
                  <a:pt x="437" y="37"/>
                </a:cubicBezTo>
                <a:cubicBezTo>
                  <a:pt x="435" y="39"/>
                  <a:pt x="435" y="39"/>
                  <a:pt x="435" y="39"/>
                </a:cubicBezTo>
                <a:cubicBezTo>
                  <a:pt x="433" y="40"/>
                  <a:pt x="433" y="40"/>
                  <a:pt x="433" y="40"/>
                </a:cubicBezTo>
                <a:cubicBezTo>
                  <a:pt x="431" y="41"/>
                  <a:pt x="431" y="41"/>
                  <a:pt x="431" y="41"/>
                </a:cubicBezTo>
                <a:cubicBezTo>
                  <a:pt x="429" y="43"/>
                  <a:pt x="429" y="43"/>
                  <a:pt x="429" y="43"/>
                </a:cubicBezTo>
                <a:cubicBezTo>
                  <a:pt x="429" y="43"/>
                  <a:pt x="429" y="43"/>
                  <a:pt x="429" y="43"/>
                </a:cubicBezTo>
                <a:cubicBezTo>
                  <a:pt x="428" y="43"/>
                  <a:pt x="428" y="43"/>
                  <a:pt x="428" y="43"/>
                </a:cubicBezTo>
                <a:cubicBezTo>
                  <a:pt x="426" y="41"/>
                  <a:pt x="426" y="41"/>
                  <a:pt x="426" y="41"/>
                </a:cubicBezTo>
                <a:cubicBezTo>
                  <a:pt x="425" y="41"/>
                  <a:pt x="425" y="41"/>
                  <a:pt x="425" y="41"/>
                </a:cubicBezTo>
                <a:cubicBezTo>
                  <a:pt x="425" y="40"/>
                  <a:pt x="425" y="40"/>
                  <a:pt x="425" y="40"/>
                </a:cubicBezTo>
                <a:cubicBezTo>
                  <a:pt x="424" y="38"/>
                  <a:pt x="424" y="38"/>
                  <a:pt x="424" y="38"/>
                </a:cubicBezTo>
                <a:cubicBezTo>
                  <a:pt x="424" y="37"/>
                  <a:pt x="424" y="37"/>
                  <a:pt x="424" y="37"/>
                </a:cubicBezTo>
                <a:cubicBezTo>
                  <a:pt x="423" y="36"/>
                  <a:pt x="423" y="36"/>
                  <a:pt x="423" y="36"/>
                </a:cubicBezTo>
                <a:cubicBezTo>
                  <a:pt x="423" y="34"/>
                  <a:pt x="423" y="34"/>
                  <a:pt x="423" y="34"/>
                </a:cubicBezTo>
                <a:cubicBezTo>
                  <a:pt x="424" y="34"/>
                  <a:pt x="424" y="34"/>
                  <a:pt x="424" y="34"/>
                </a:cubicBezTo>
                <a:cubicBezTo>
                  <a:pt x="425" y="34"/>
                  <a:pt x="425" y="34"/>
                  <a:pt x="425" y="34"/>
                </a:cubicBezTo>
                <a:cubicBezTo>
                  <a:pt x="426" y="34"/>
                  <a:pt x="426" y="34"/>
                  <a:pt x="426" y="34"/>
                </a:cubicBezTo>
                <a:cubicBezTo>
                  <a:pt x="427" y="34"/>
                  <a:pt x="427" y="34"/>
                  <a:pt x="427" y="34"/>
                </a:cubicBezTo>
                <a:cubicBezTo>
                  <a:pt x="431" y="34"/>
                  <a:pt x="431" y="34"/>
                  <a:pt x="431" y="34"/>
                </a:cubicBezTo>
                <a:cubicBezTo>
                  <a:pt x="433" y="35"/>
                  <a:pt x="433" y="35"/>
                  <a:pt x="433" y="35"/>
                </a:cubicBezTo>
                <a:cubicBezTo>
                  <a:pt x="434" y="35"/>
                  <a:pt x="434" y="35"/>
                  <a:pt x="434" y="35"/>
                </a:cubicBezTo>
                <a:cubicBezTo>
                  <a:pt x="434" y="36"/>
                  <a:pt x="434" y="36"/>
                  <a:pt x="434" y="36"/>
                </a:cubicBezTo>
                <a:cubicBezTo>
                  <a:pt x="436" y="36"/>
                  <a:pt x="436" y="36"/>
                  <a:pt x="436" y="36"/>
                </a:cubicBezTo>
                <a:cubicBezTo>
                  <a:pt x="437" y="35"/>
                  <a:pt x="437" y="35"/>
                  <a:pt x="437" y="35"/>
                </a:cubicBezTo>
                <a:cubicBezTo>
                  <a:pt x="439" y="36"/>
                  <a:pt x="439" y="36"/>
                  <a:pt x="439" y="36"/>
                </a:cubicBezTo>
                <a:cubicBezTo>
                  <a:pt x="439" y="35"/>
                  <a:pt x="439" y="35"/>
                  <a:pt x="439" y="35"/>
                </a:cubicBezTo>
                <a:cubicBezTo>
                  <a:pt x="440" y="35"/>
                  <a:pt x="440" y="35"/>
                  <a:pt x="440" y="35"/>
                </a:cubicBezTo>
                <a:cubicBezTo>
                  <a:pt x="441" y="34"/>
                  <a:pt x="441" y="34"/>
                  <a:pt x="441" y="34"/>
                </a:cubicBezTo>
                <a:cubicBezTo>
                  <a:pt x="443" y="34"/>
                  <a:pt x="443" y="34"/>
                  <a:pt x="443" y="34"/>
                </a:cubicBezTo>
                <a:cubicBezTo>
                  <a:pt x="446" y="34"/>
                  <a:pt x="446" y="34"/>
                  <a:pt x="446" y="34"/>
                </a:cubicBezTo>
                <a:cubicBezTo>
                  <a:pt x="446" y="33"/>
                  <a:pt x="446" y="33"/>
                  <a:pt x="446" y="33"/>
                </a:cubicBezTo>
                <a:cubicBezTo>
                  <a:pt x="446" y="32"/>
                  <a:pt x="446" y="32"/>
                  <a:pt x="446" y="32"/>
                </a:cubicBezTo>
                <a:cubicBezTo>
                  <a:pt x="445" y="32"/>
                  <a:pt x="445" y="32"/>
                  <a:pt x="445" y="32"/>
                </a:cubicBezTo>
                <a:cubicBezTo>
                  <a:pt x="445" y="33"/>
                  <a:pt x="445" y="33"/>
                  <a:pt x="445" y="33"/>
                </a:cubicBezTo>
                <a:cubicBezTo>
                  <a:pt x="444" y="33"/>
                  <a:pt x="444" y="33"/>
                  <a:pt x="444" y="33"/>
                </a:cubicBezTo>
                <a:cubicBezTo>
                  <a:pt x="442" y="33"/>
                  <a:pt x="442" y="33"/>
                  <a:pt x="442" y="33"/>
                </a:cubicBezTo>
                <a:cubicBezTo>
                  <a:pt x="440" y="33"/>
                  <a:pt x="440" y="33"/>
                  <a:pt x="440" y="33"/>
                </a:cubicBezTo>
                <a:cubicBezTo>
                  <a:pt x="438" y="34"/>
                  <a:pt x="438" y="34"/>
                  <a:pt x="438" y="34"/>
                </a:cubicBezTo>
                <a:cubicBezTo>
                  <a:pt x="437" y="35"/>
                  <a:pt x="437" y="35"/>
                  <a:pt x="437" y="35"/>
                </a:cubicBezTo>
                <a:cubicBezTo>
                  <a:pt x="435" y="34"/>
                  <a:pt x="435" y="34"/>
                  <a:pt x="435" y="34"/>
                </a:cubicBezTo>
                <a:cubicBezTo>
                  <a:pt x="434" y="35"/>
                  <a:pt x="434" y="35"/>
                  <a:pt x="434" y="35"/>
                </a:cubicBezTo>
                <a:cubicBezTo>
                  <a:pt x="433" y="35"/>
                  <a:pt x="433" y="35"/>
                  <a:pt x="433" y="35"/>
                </a:cubicBezTo>
                <a:cubicBezTo>
                  <a:pt x="432" y="33"/>
                  <a:pt x="432" y="33"/>
                  <a:pt x="432" y="33"/>
                </a:cubicBezTo>
                <a:cubicBezTo>
                  <a:pt x="431" y="33"/>
                  <a:pt x="431" y="33"/>
                  <a:pt x="431" y="33"/>
                </a:cubicBezTo>
                <a:cubicBezTo>
                  <a:pt x="431" y="33"/>
                  <a:pt x="431" y="33"/>
                  <a:pt x="431" y="33"/>
                </a:cubicBezTo>
                <a:cubicBezTo>
                  <a:pt x="429" y="33"/>
                  <a:pt x="429" y="33"/>
                  <a:pt x="429" y="33"/>
                </a:cubicBezTo>
                <a:cubicBezTo>
                  <a:pt x="427" y="32"/>
                  <a:pt x="427" y="32"/>
                  <a:pt x="427" y="32"/>
                </a:cubicBezTo>
                <a:cubicBezTo>
                  <a:pt x="426" y="32"/>
                  <a:pt x="426" y="32"/>
                  <a:pt x="426" y="32"/>
                </a:cubicBezTo>
                <a:cubicBezTo>
                  <a:pt x="424" y="32"/>
                  <a:pt x="424" y="32"/>
                  <a:pt x="424" y="32"/>
                </a:cubicBezTo>
                <a:cubicBezTo>
                  <a:pt x="424" y="31"/>
                  <a:pt x="424" y="31"/>
                  <a:pt x="424" y="31"/>
                </a:cubicBezTo>
                <a:cubicBezTo>
                  <a:pt x="425" y="30"/>
                  <a:pt x="425" y="30"/>
                  <a:pt x="425" y="30"/>
                </a:cubicBezTo>
                <a:cubicBezTo>
                  <a:pt x="425" y="29"/>
                  <a:pt x="425" y="29"/>
                  <a:pt x="425" y="29"/>
                </a:cubicBezTo>
                <a:cubicBezTo>
                  <a:pt x="425" y="28"/>
                  <a:pt x="425" y="28"/>
                  <a:pt x="425" y="28"/>
                </a:cubicBezTo>
                <a:cubicBezTo>
                  <a:pt x="426" y="28"/>
                  <a:pt x="426" y="28"/>
                  <a:pt x="426" y="28"/>
                </a:cubicBezTo>
                <a:cubicBezTo>
                  <a:pt x="427" y="29"/>
                  <a:pt x="427" y="29"/>
                  <a:pt x="427" y="29"/>
                </a:cubicBezTo>
                <a:cubicBezTo>
                  <a:pt x="429" y="29"/>
                  <a:pt x="429" y="29"/>
                  <a:pt x="429" y="29"/>
                </a:cubicBezTo>
                <a:cubicBezTo>
                  <a:pt x="430" y="29"/>
                  <a:pt x="430" y="29"/>
                  <a:pt x="430" y="29"/>
                </a:cubicBezTo>
                <a:cubicBezTo>
                  <a:pt x="429" y="28"/>
                  <a:pt x="429" y="28"/>
                  <a:pt x="429" y="28"/>
                </a:cubicBezTo>
                <a:cubicBezTo>
                  <a:pt x="428" y="28"/>
                  <a:pt x="428" y="28"/>
                  <a:pt x="428" y="28"/>
                </a:cubicBezTo>
                <a:cubicBezTo>
                  <a:pt x="427" y="27"/>
                  <a:pt x="427" y="27"/>
                  <a:pt x="427" y="27"/>
                </a:cubicBezTo>
                <a:cubicBezTo>
                  <a:pt x="427" y="26"/>
                  <a:pt x="427" y="26"/>
                  <a:pt x="427" y="26"/>
                </a:cubicBezTo>
                <a:cubicBezTo>
                  <a:pt x="429" y="26"/>
                  <a:pt x="429" y="26"/>
                  <a:pt x="429" y="26"/>
                </a:cubicBezTo>
                <a:cubicBezTo>
                  <a:pt x="430" y="25"/>
                  <a:pt x="430" y="25"/>
                  <a:pt x="430" y="25"/>
                </a:cubicBezTo>
                <a:cubicBezTo>
                  <a:pt x="433" y="25"/>
                  <a:pt x="433" y="25"/>
                  <a:pt x="433" y="25"/>
                </a:cubicBezTo>
                <a:cubicBezTo>
                  <a:pt x="433" y="24"/>
                  <a:pt x="433" y="24"/>
                  <a:pt x="433" y="24"/>
                </a:cubicBezTo>
                <a:cubicBezTo>
                  <a:pt x="435" y="24"/>
                  <a:pt x="435" y="24"/>
                  <a:pt x="435" y="24"/>
                </a:cubicBezTo>
                <a:cubicBezTo>
                  <a:pt x="435" y="24"/>
                  <a:pt x="435" y="24"/>
                  <a:pt x="435" y="24"/>
                </a:cubicBezTo>
                <a:cubicBezTo>
                  <a:pt x="436" y="24"/>
                  <a:pt x="436" y="24"/>
                  <a:pt x="436" y="24"/>
                </a:cubicBezTo>
                <a:cubicBezTo>
                  <a:pt x="436" y="23"/>
                  <a:pt x="436" y="23"/>
                  <a:pt x="436" y="23"/>
                </a:cubicBezTo>
                <a:cubicBezTo>
                  <a:pt x="436" y="23"/>
                  <a:pt x="436" y="23"/>
                  <a:pt x="436" y="23"/>
                </a:cubicBezTo>
                <a:cubicBezTo>
                  <a:pt x="433" y="23"/>
                  <a:pt x="433" y="23"/>
                  <a:pt x="433" y="23"/>
                </a:cubicBezTo>
                <a:cubicBezTo>
                  <a:pt x="431" y="24"/>
                  <a:pt x="431" y="24"/>
                  <a:pt x="431" y="24"/>
                </a:cubicBezTo>
                <a:cubicBezTo>
                  <a:pt x="429" y="24"/>
                  <a:pt x="429" y="24"/>
                  <a:pt x="429" y="24"/>
                </a:cubicBezTo>
                <a:cubicBezTo>
                  <a:pt x="428" y="24"/>
                  <a:pt x="428" y="24"/>
                  <a:pt x="428" y="24"/>
                </a:cubicBezTo>
                <a:cubicBezTo>
                  <a:pt x="427" y="25"/>
                  <a:pt x="427" y="25"/>
                  <a:pt x="427" y="25"/>
                </a:cubicBezTo>
                <a:cubicBezTo>
                  <a:pt x="426" y="25"/>
                  <a:pt x="426" y="25"/>
                  <a:pt x="426" y="25"/>
                </a:cubicBezTo>
                <a:cubicBezTo>
                  <a:pt x="426" y="24"/>
                  <a:pt x="426" y="24"/>
                  <a:pt x="426" y="24"/>
                </a:cubicBezTo>
                <a:cubicBezTo>
                  <a:pt x="426" y="23"/>
                  <a:pt x="426" y="23"/>
                  <a:pt x="426" y="23"/>
                </a:cubicBezTo>
                <a:cubicBezTo>
                  <a:pt x="428" y="22"/>
                  <a:pt x="428" y="22"/>
                  <a:pt x="428" y="22"/>
                </a:cubicBezTo>
                <a:cubicBezTo>
                  <a:pt x="429" y="21"/>
                  <a:pt x="429" y="21"/>
                  <a:pt x="429" y="21"/>
                </a:cubicBezTo>
                <a:cubicBezTo>
                  <a:pt x="431" y="21"/>
                  <a:pt x="431" y="21"/>
                  <a:pt x="431" y="21"/>
                </a:cubicBezTo>
                <a:cubicBezTo>
                  <a:pt x="432" y="20"/>
                  <a:pt x="432" y="20"/>
                  <a:pt x="432" y="20"/>
                </a:cubicBezTo>
                <a:cubicBezTo>
                  <a:pt x="431" y="20"/>
                  <a:pt x="431" y="20"/>
                  <a:pt x="431" y="20"/>
                </a:cubicBezTo>
                <a:cubicBezTo>
                  <a:pt x="430" y="20"/>
                  <a:pt x="430" y="20"/>
                  <a:pt x="430" y="20"/>
                </a:cubicBezTo>
                <a:cubicBezTo>
                  <a:pt x="431" y="18"/>
                  <a:pt x="431" y="18"/>
                  <a:pt x="431" y="18"/>
                </a:cubicBezTo>
                <a:cubicBezTo>
                  <a:pt x="430" y="18"/>
                  <a:pt x="430" y="18"/>
                  <a:pt x="430" y="18"/>
                </a:cubicBezTo>
                <a:cubicBezTo>
                  <a:pt x="430" y="19"/>
                  <a:pt x="430" y="19"/>
                  <a:pt x="430" y="19"/>
                </a:cubicBezTo>
                <a:cubicBezTo>
                  <a:pt x="429" y="20"/>
                  <a:pt x="429" y="20"/>
                  <a:pt x="429" y="20"/>
                </a:cubicBezTo>
                <a:cubicBezTo>
                  <a:pt x="429" y="19"/>
                  <a:pt x="429" y="19"/>
                  <a:pt x="429" y="19"/>
                </a:cubicBezTo>
                <a:cubicBezTo>
                  <a:pt x="428" y="19"/>
                  <a:pt x="428" y="19"/>
                  <a:pt x="428" y="19"/>
                </a:cubicBezTo>
                <a:cubicBezTo>
                  <a:pt x="427" y="19"/>
                  <a:pt x="427" y="19"/>
                  <a:pt x="427" y="19"/>
                </a:cubicBezTo>
                <a:cubicBezTo>
                  <a:pt x="426" y="20"/>
                  <a:pt x="426" y="20"/>
                  <a:pt x="426" y="20"/>
                </a:cubicBezTo>
                <a:cubicBezTo>
                  <a:pt x="426" y="21"/>
                  <a:pt x="426" y="21"/>
                  <a:pt x="426" y="21"/>
                </a:cubicBezTo>
                <a:cubicBezTo>
                  <a:pt x="426" y="21"/>
                  <a:pt x="426" y="21"/>
                  <a:pt x="426" y="21"/>
                </a:cubicBezTo>
                <a:cubicBezTo>
                  <a:pt x="424" y="22"/>
                  <a:pt x="424" y="22"/>
                  <a:pt x="424" y="22"/>
                </a:cubicBezTo>
                <a:cubicBezTo>
                  <a:pt x="424" y="21"/>
                  <a:pt x="424" y="21"/>
                  <a:pt x="424" y="21"/>
                </a:cubicBezTo>
                <a:cubicBezTo>
                  <a:pt x="424" y="19"/>
                  <a:pt x="424" y="19"/>
                  <a:pt x="424" y="19"/>
                </a:cubicBezTo>
                <a:cubicBezTo>
                  <a:pt x="424" y="19"/>
                  <a:pt x="424" y="19"/>
                  <a:pt x="424" y="19"/>
                </a:cubicBezTo>
                <a:cubicBezTo>
                  <a:pt x="423" y="18"/>
                  <a:pt x="423" y="18"/>
                  <a:pt x="423" y="18"/>
                </a:cubicBezTo>
                <a:cubicBezTo>
                  <a:pt x="424" y="18"/>
                  <a:pt x="424" y="18"/>
                  <a:pt x="424" y="18"/>
                </a:cubicBezTo>
                <a:cubicBezTo>
                  <a:pt x="425" y="18"/>
                  <a:pt x="425" y="18"/>
                  <a:pt x="425" y="18"/>
                </a:cubicBezTo>
                <a:cubicBezTo>
                  <a:pt x="425" y="17"/>
                  <a:pt x="425" y="17"/>
                  <a:pt x="425" y="17"/>
                </a:cubicBezTo>
                <a:cubicBezTo>
                  <a:pt x="426" y="16"/>
                  <a:pt x="426" y="16"/>
                  <a:pt x="426" y="16"/>
                </a:cubicBezTo>
                <a:cubicBezTo>
                  <a:pt x="427" y="16"/>
                  <a:pt x="427" y="16"/>
                  <a:pt x="427" y="16"/>
                </a:cubicBezTo>
                <a:cubicBezTo>
                  <a:pt x="428" y="15"/>
                  <a:pt x="428" y="15"/>
                  <a:pt x="428" y="15"/>
                </a:cubicBezTo>
                <a:cubicBezTo>
                  <a:pt x="429" y="14"/>
                  <a:pt x="429" y="14"/>
                  <a:pt x="429" y="14"/>
                </a:cubicBezTo>
                <a:cubicBezTo>
                  <a:pt x="430" y="15"/>
                  <a:pt x="430" y="15"/>
                  <a:pt x="430" y="15"/>
                </a:cubicBezTo>
                <a:cubicBezTo>
                  <a:pt x="432" y="14"/>
                  <a:pt x="432" y="14"/>
                  <a:pt x="432" y="14"/>
                </a:cubicBezTo>
                <a:cubicBezTo>
                  <a:pt x="435" y="13"/>
                  <a:pt x="435" y="13"/>
                  <a:pt x="435" y="13"/>
                </a:cubicBezTo>
                <a:cubicBezTo>
                  <a:pt x="435" y="13"/>
                  <a:pt x="435" y="13"/>
                  <a:pt x="435" y="13"/>
                </a:cubicBezTo>
                <a:cubicBezTo>
                  <a:pt x="436" y="13"/>
                  <a:pt x="436" y="13"/>
                  <a:pt x="436" y="13"/>
                </a:cubicBezTo>
                <a:cubicBezTo>
                  <a:pt x="436" y="14"/>
                  <a:pt x="436" y="14"/>
                  <a:pt x="436" y="14"/>
                </a:cubicBezTo>
                <a:cubicBezTo>
                  <a:pt x="436" y="15"/>
                  <a:pt x="436" y="15"/>
                  <a:pt x="436" y="15"/>
                </a:cubicBezTo>
                <a:cubicBezTo>
                  <a:pt x="436" y="18"/>
                  <a:pt x="436" y="18"/>
                  <a:pt x="436" y="18"/>
                </a:cubicBezTo>
                <a:cubicBezTo>
                  <a:pt x="437" y="17"/>
                  <a:pt x="437" y="17"/>
                  <a:pt x="437" y="17"/>
                </a:cubicBezTo>
                <a:cubicBezTo>
                  <a:pt x="437" y="16"/>
                  <a:pt x="437" y="16"/>
                  <a:pt x="437" y="16"/>
                </a:cubicBezTo>
                <a:cubicBezTo>
                  <a:pt x="438" y="15"/>
                  <a:pt x="438" y="15"/>
                  <a:pt x="438" y="15"/>
                </a:cubicBezTo>
                <a:cubicBezTo>
                  <a:pt x="439" y="15"/>
                  <a:pt x="439" y="15"/>
                  <a:pt x="439" y="15"/>
                </a:cubicBezTo>
                <a:cubicBezTo>
                  <a:pt x="438" y="16"/>
                  <a:pt x="438" y="16"/>
                  <a:pt x="438" y="16"/>
                </a:cubicBezTo>
                <a:cubicBezTo>
                  <a:pt x="438" y="17"/>
                  <a:pt x="438" y="17"/>
                  <a:pt x="438" y="17"/>
                </a:cubicBezTo>
                <a:cubicBezTo>
                  <a:pt x="439" y="16"/>
                  <a:pt x="439" y="16"/>
                  <a:pt x="439" y="16"/>
                </a:cubicBezTo>
                <a:cubicBezTo>
                  <a:pt x="439" y="15"/>
                  <a:pt x="439" y="15"/>
                  <a:pt x="439" y="15"/>
                </a:cubicBezTo>
                <a:cubicBezTo>
                  <a:pt x="440" y="15"/>
                  <a:pt x="440" y="15"/>
                  <a:pt x="440" y="15"/>
                </a:cubicBezTo>
                <a:cubicBezTo>
                  <a:pt x="439" y="14"/>
                  <a:pt x="439" y="14"/>
                  <a:pt x="439" y="14"/>
                </a:cubicBezTo>
                <a:cubicBezTo>
                  <a:pt x="440" y="12"/>
                  <a:pt x="440" y="12"/>
                  <a:pt x="440" y="12"/>
                </a:cubicBezTo>
                <a:cubicBezTo>
                  <a:pt x="440" y="12"/>
                  <a:pt x="440" y="12"/>
                  <a:pt x="440" y="12"/>
                </a:cubicBezTo>
                <a:cubicBezTo>
                  <a:pt x="442" y="11"/>
                  <a:pt x="442" y="11"/>
                  <a:pt x="442" y="11"/>
                </a:cubicBezTo>
                <a:cubicBezTo>
                  <a:pt x="443" y="11"/>
                  <a:pt x="443" y="11"/>
                  <a:pt x="443" y="11"/>
                </a:cubicBezTo>
                <a:cubicBezTo>
                  <a:pt x="443" y="12"/>
                  <a:pt x="443" y="12"/>
                  <a:pt x="443" y="12"/>
                </a:cubicBezTo>
                <a:cubicBezTo>
                  <a:pt x="443" y="14"/>
                  <a:pt x="443" y="14"/>
                  <a:pt x="443" y="14"/>
                </a:cubicBezTo>
                <a:cubicBezTo>
                  <a:pt x="444" y="14"/>
                  <a:pt x="444" y="14"/>
                  <a:pt x="444" y="14"/>
                </a:cubicBezTo>
                <a:cubicBezTo>
                  <a:pt x="444" y="16"/>
                  <a:pt x="444" y="16"/>
                  <a:pt x="444" y="16"/>
                </a:cubicBezTo>
                <a:cubicBezTo>
                  <a:pt x="444" y="17"/>
                  <a:pt x="444" y="17"/>
                  <a:pt x="444" y="17"/>
                </a:cubicBezTo>
                <a:cubicBezTo>
                  <a:pt x="444" y="18"/>
                  <a:pt x="444" y="18"/>
                  <a:pt x="444" y="18"/>
                </a:cubicBezTo>
                <a:cubicBezTo>
                  <a:pt x="444" y="19"/>
                  <a:pt x="444" y="19"/>
                  <a:pt x="444" y="19"/>
                </a:cubicBezTo>
                <a:cubicBezTo>
                  <a:pt x="445" y="19"/>
                  <a:pt x="445" y="19"/>
                  <a:pt x="445" y="19"/>
                </a:cubicBezTo>
                <a:cubicBezTo>
                  <a:pt x="445" y="19"/>
                  <a:pt x="445" y="19"/>
                  <a:pt x="445" y="19"/>
                </a:cubicBezTo>
                <a:cubicBezTo>
                  <a:pt x="445" y="18"/>
                  <a:pt x="445" y="18"/>
                  <a:pt x="445" y="18"/>
                </a:cubicBezTo>
                <a:cubicBezTo>
                  <a:pt x="445" y="17"/>
                  <a:pt x="445" y="17"/>
                  <a:pt x="445" y="17"/>
                </a:cubicBezTo>
                <a:cubicBezTo>
                  <a:pt x="446" y="16"/>
                  <a:pt x="446" y="16"/>
                  <a:pt x="446" y="16"/>
                </a:cubicBezTo>
                <a:cubicBezTo>
                  <a:pt x="447" y="14"/>
                  <a:pt x="447" y="14"/>
                  <a:pt x="447" y="14"/>
                </a:cubicBezTo>
                <a:cubicBezTo>
                  <a:pt x="448" y="14"/>
                  <a:pt x="448" y="14"/>
                  <a:pt x="448" y="14"/>
                </a:cubicBezTo>
                <a:cubicBezTo>
                  <a:pt x="449" y="16"/>
                  <a:pt x="449" y="16"/>
                  <a:pt x="449" y="16"/>
                </a:cubicBezTo>
                <a:cubicBezTo>
                  <a:pt x="449" y="17"/>
                  <a:pt x="449" y="17"/>
                  <a:pt x="449" y="17"/>
                </a:cubicBezTo>
                <a:cubicBezTo>
                  <a:pt x="448" y="19"/>
                  <a:pt x="448" y="19"/>
                  <a:pt x="448" y="19"/>
                </a:cubicBezTo>
                <a:cubicBezTo>
                  <a:pt x="449" y="19"/>
                  <a:pt x="449" y="19"/>
                  <a:pt x="449" y="19"/>
                </a:cubicBezTo>
                <a:cubicBezTo>
                  <a:pt x="449" y="20"/>
                  <a:pt x="449" y="20"/>
                  <a:pt x="449" y="20"/>
                </a:cubicBezTo>
                <a:cubicBezTo>
                  <a:pt x="450" y="19"/>
                  <a:pt x="450" y="19"/>
                  <a:pt x="450" y="19"/>
                </a:cubicBezTo>
                <a:cubicBezTo>
                  <a:pt x="450" y="18"/>
                  <a:pt x="450" y="18"/>
                  <a:pt x="450" y="18"/>
                </a:cubicBezTo>
                <a:cubicBezTo>
                  <a:pt x="451" y="18"/>
                  <a:pt x="451" y="18"/>
                  <a:pt x="451" y="18"/>
                </a:cubicBezTo>
                <a:cubicBezTo>
                  <a:pt x="451" y="17"/>
                  <a:pt x="451" y="17"/>
                  <a:pt x="451" y="17"/>
                </a:cubicBezTo>
                <a:cubicBezTo>
                  <a:pt x="452" y="18"/>
                  <a:pt x="452" y="18"/>
                  <a:pt x="452" y="18"/>
                </a:cubicBezTo>
                <a:cubicBezTo>
                  <a:pt x="451" y="18"/>
                  <a:pt x="451" y="18"/>
                  <a:pt x="451" y="18"/>
                </a:cubicBezTo>
                <a:cubicBezTo>
                  <a:pt x="451" y="19"/>
                  <a:pt x="451" y="19"/>
                  <a:pt x="451" y="19"/>
                </a:cubicBezTo>
                <a:cubicBezTo>
                  <a:pt x="452" y="20"/>
                  <a:pt x="452" y="20"/>
                  <a:pt x="452" y="20"/>
                </a:cubicBezTo>
                <a:cubicBezTo>
                  <a:pt x="453" y="19"/>
                  <a:pt x="453" y="19"/>
                  <a:pt x="453" y="19"/>
                </a:cubicBezTo>
                <a:cubicBezTo>
                  <a:pt x="453" y="19"/>
                  <a:pt x="453" y="19"/>
                  <a:pt x="453" y="19"/>
                </a:cubicBezTo>
                <a:cubicBezTo>
                  <a:pt x="453" y="20"/>
                  <a:pt x="453" y="20"/>
                  <a:pt x="453" y="20"/>
                </a:cubicBezTo>
                <a:cubicBezTo>
                  <a:pt x="454" y="20"/>
                  <a:pt x="454" y="20"/>
                  <a:pt x="454" y="20"/>
                </a:cubicBezTo>
                <a:cubicBezTo>
                  <a:pt x="454" y="18"/>
                  <a:pt x="454" y="18"/>
                  <a:pt x="454" y="18"/>
                </a:cubicBezTo>
                <a:cubicBezTo>
                  <a:pt x="453" y="16"/>
                  <a:pt x="453" y="16"/>
                  <a:pt x="453" y="16"/>
                </a:cubicBezTo>
                <a:cubicBezTo>
                  <a:pt x="452" y="16"/>
                  <a:pt x="452" y="16"/>
                  <a:pt x="452" y="16"/>
                </a:cubicBezTo>
                <a:cubicBezTo>
                  <a:pt x="452" y="15"/>
                  <a:pt x="452" y="15"/>
                  <a:pt x="452" y="15"/>
                </a:cubicBezTo>
                <a:cubicBezTo>
                  <a:pt x="452" y="14"/>
                  <a:pt x="452" y="14"/>
                  <a:pt x="452" y="14"/>
                </a:cubicBezTo>
                <a:cubicBezTo>
                  <a:pt x="451" y="13"/>
                  <a:pt x="451" y="13"/>
                  <a:pt x="451" y="13"/>
                </a:cubicBezTo>
                <a:cubicBezTo>
                  <a:pt x="450" y="12"/>
                  <a:pt x="450" y="12"/>
                  <a:pt x="450" y="12"/>
                </a:cubicBezTo>
                <a:cubicBezTo>
                  <a:pt x="450" y="11"/>
                  <a:pt x="450" y="11"/>
                  <a:pt x="450" y="11"/>
                </a:cubicBezTo>
                <a:cubicBezTo>
                  <a:pt x="450" y="10"/>
                  <a:pt x="450" y="10"/>
                  <a:pt x="450" y="10"/>
                </a:cubicBezTo>
                <a:cubicBezTo>
                  <a:pt x="451" y="10"/>
                  <a:pt x="451" y="10"/>
                  <a:pt x="451" y="10"/>
                </a:cubicBezTo>
                <a:cubicBezTo>
                  <a:pt x="452" y="11"/>
                  <a:pt x="452" y="11"/>
                  <a:pt x="452" y="11"/>
                </a:cubicBezTo>
                <a:cubicBezTo>
                  <a:pt x="453" y="10"/>
                  <a:pt x="453" y="10"/>
                  <a:pt x="453" y="10"/>
                </a:cubicBezTo>
                <a:cubicBezTo>
                  <a:pt x="454" y="11"/>
                  <a:pt x="454" y="11"/>
                  <a:pt x="454" y="11"/>
                </a:cubicBezTo>
                <a:cubicBezTo>
                  <a:pt x="455" y="10"/>
                  <a:pt x="455" y="10"/>
                  <a:pt x="455" y="10"/>
                </a:cubicBezTo>
                <a:cubicBezTo>
                  <a:pt x="455" y="8"/>
                  <a:pt x="455" y="8"/>
                  <a:pt x="455" y="8"/>
                </a:cubicBezTo>
                <a:cubicBezTo>
                  <a:pt x="454" y="7"/>
                  <a:pt x="454" y="7"/>
                  <a:pt x="454" y="7"/>
                </a:cubicBezTo>
                <a:cubicBezTo>
                  <a:pt x="454" y="6"/>
                  <a:pt x="454" y="6"/>
                  <a:pt x="454" y="6"/>
                </a:cubicBezTo>
                <a:cubicBezTo>
                  <a:pt x="456" y="6"/>
                  <a:pt x="456" y="6"/>
                  <a:pt x="456" y="6"/>
                </a:cubicBezTo>
                <a:cubicBezTo>
                  <a:pt x="456" y="6"/>
                  <a:pt x="456" y="6"/>
                  <a:pt x="456" y="6"/>
                </a:cubicBezTo>
                <a:cubicBezTo>
                  <a:pt x="459" y="6"/>
                  <a:pt x="459" y="6"/>
                  <a:pt x="459" y="6"/>
                </a:cubicBezTo>
                <a:cubicBezTo>
                  <a:pt x="460" y="7"/>
                  <a:pt x="460" y="7"/>
                  <a:pt x="460" y="7"/>
                </a:cubicBezTo>
                <a:cubicBezTo>
                  <a:pt x="460" y="8"/>
                  <a:pt x="460" y="8"/>
                  <a:pt x="460" y="8"/>
                </a:cubicBezTo>
                <a:cubicBezTo>
                  <a:pt x="459" y="9"/>
                  <a:pt x="459" y="9"/>
                  <a:pt x="459" y="9"/>
                </a:cubicBezTo>
                <a:cubicBezTo>
                  <a:pt x="459" y="9"/>
                  <a:pt x="459" y="9"/>
                  <a:pt x="459" y="9"/>
                </a:cubicBezTo>
                <a:cubicBezTo>
                  <a:pt x="461" y="10"/>
                  <a:pt x="461" y="10"/>
                  <a:pt x="461" y="10"/>
                </a:cubicBezTo>
                <a:cubicBezTo>
                  <a:pt x="461" y="11"/>
                  <a:pt x="461" y="11"/>
                  <a:pt x="461" y="11"/>
                </a:cubicBezTo>
                <a:cubicBezTo>
                  <a:pt x="461" y="13"/>
                  <a:pt x="461" y="13"/>
                  <a:pt x="461" y="13"/>
                </a:cubicBezTo>
                <a:cubicBezTo>
                  <a:pt x="461" y="15"/>
                  <a:pt x="461" y="15"/>
                  <a:pt x="461" y="15"/>
                </a:cubicBezTo>
                <a:cubicBezTo>
                  <a:pt x="462" y="15"/>
                  <a:pt x="462" y="15"/>
                  <a:pt x="462" y="15"/>
                </a:cubicBezTo>
                <a:cubicBezTo>
                  <a:pt x="463" y="13"/>
                  <a:pt x="463" y="13"/>
                  <a:pt x="463" y="13"/>
                </a:cubicBezTo>
                <a:cubicBezTo>
                  <a:pt x="463" y="14"/>
                  <a:pt x="463" y="14"/>
                  <a:pt x="463" y="14"/>
                </a:cubicBezTo>
                <a:cubicBezTo>
                  <a:pt x="463" y="15"/>
                  <a:pt x="463" y="15"/>
                  <a:pt x="463" y="15"/>
                </a:cubicBezTo>
                <a:cubicBezTo>
                  <a:pt x="464" y="15"/>
                  <a:pt x="464" y="15"/>
                  <a:pt x="464" y="15"/>
                </a:cubicBezTo>
                <a:cubicBezTo>
                  <a:pt x="465" y="15"/>
                  <a:pt x="465" y="15"/>
                  <a:pt x="465" y="15"/>
                </a:cubicBezTo>
                <a:cubicBezTo>
                  <a:pt x="465" y="14"/>
                  <a:pt x="465" y="14"/>
                  <a:pt x="465" y="14"/>
                </a:cubicBezTo>
                <a:cubicBezTo>
                  <a:pt x="467" y="13"/>
                  <a:pt x="467" y="13"/>
                  <a:pt x="467" y="13"/>
                </a:cubicBezTo>
                <a:cubicBezTo>
                  <a:pt x="467" y="13"/>
                  <a:pt x="467" y="13"/>
                  <a:pt x="467" y="13"/>
                </a:cubicBezTo>
                <a:cubicBezTo>
                  <a:pt x="466" y="10"/>
                  <a:pt x="466" y="10"/>
                  <a:pt x="466" y="10"/>
                </a:cubicBezTo>
                <a:cubicBezTo>
                  <a:pt x="467" y="9"/>
                  <a:pt x="467" y="9"/>
                  <a:pt x="467" y="9"/>
                </a:cubicBezTo>
                <a:cubicBezTo>
                  <a:pt x="468" y="9"/>
                  <a:pt x="468" y="9"/>
                  <a:pt x="468" y="9"/>
                </a:cubicBezTo>
                <a:cubicBezTo>
                  <a:pt x="469" y="10"/>
                  <a:pt x="469" y="10"/>
                  <a:pt x="469" y="10"/>
                </a:cubicBezTo>
                <a:cubicBezTo>
                  <a:pt x="471" y="10"/>
                  <a:pt x="471" y="10"/>
                  <a:pt x="471" y="10"/>
                </a:cubicBezTo>
                <a:cubicBezTo>
                  <a:pt x="471" y="9"/>
                  <a:pt x="471" y="9"/>
                  <a:pt x="471" y="9"/>
                </a:cubicBezTo>
                <a:cubicBezTo>
                  <a:pt x="469" y="8"/>
                  <a:pt x="469" y="8"/>
                  <a:pt x="469" y="8"/>
                </a:cubicBezTo>
                <a:cubicBezTo>
                  <a:pt x="468" y="6"/>
                  <a:pt x="468" y="6"/>
                  <a:pt x="468" y="6"/>
                </a:cubicBezTo>
                <a:cubicBezTo>
                  <a:pt x="469" y="5"/>
                  <a:pt x="469" y="5"/>
                  <a:pt x="469" y="5"/>
                </a:cubicBezTo>
                <a:cubicBezTo>
                  <a:pt x="469" y="4"/>
                  <a:pt x="469" y="4"/>
                  <a:pt x="469" y="4"/>
                </a:cubicBezTo>
                <a:cubicBezTo>
                  <a:pt x="470" y="4"/>
                  <a:pt x="470" y="4"/>
                  <a:pt x="470" y="4"/>
                </a:cubicBezTo>
                <a:cubicBezTo>
                  <a:pt x="472" y="5"/>
                  <a:pt x="472" y="5"/>
                  <a:pt x="472" y="5"/>
                </a:cubicBezTo>
                <a:cubicBezTo>
                  <a:pt x="472" y="7"/>
                  <a:pt x="472" y="7"/>
                  <a:pt x="472" y="7"/>
                </a:cubicBezTo>
                <a:cubicBezTo>
                  <a:pt x="473" y="8"/>
                  <a:pt x="473" y="8"/>
                  <a:pt x="473" y="8"/>
                </a:cubicBezTo>
                <a:cubicBezTo>
                  <a:pt x="473" y="10"/>
                  <a:pt x="473" y="10"/>
                  <a:pt x="473" y="10"/>
                </a:cubicBezTo>
                <a:cubicBezTo>
                  <a:pt x="473" y="11"/>
                  <a:pt x="473" y="11"/>
                  <a:pt x="473" y="11"/>
                </a:cubicBezTo>
                <a:cubicBezTo>
                  <a:pt x="473" y="13"/>
                  <a:pt x="473" y="13"/>
                  <a:pt x="473" y="13"/>
                </a:cubicBezTo>
                <a:cubicBezTo>
                  <a:pt x="474" y="14"/>
                  <a:pt x="474" y="14"/>
                  <a:pt x="474" y="14"/>
                </a:cubicBezTo>
                <a:cubicBezTo>
                  <a:pt x="475" y="13"/>
                  <a:pt x="475" y="13"/>
                  <a:pt x="475" y="13"/>
                </a:cubicBezTo>
                <a:cubicBezTo>
                  <a:pt x="475" y="12"/>
                  <a:pt x="475" y="12"/>
                  <a:pt x="475" y="12"/>
                </a:cubicBezTo>
                <a:cubicBezTo>
                  <a:pt x="474" y="11"/>
                  <a:pt x="474" y="11"/>
                  <a:pt x="474" y="11"/>
                </a:cubicBezTo>
                <a:cubicBezTo>
                  <a:pt x="474" y="9"/>
                  <a:pt x="474" y="9"/>
                  <a:pt x="474" y="9"/>
                </a:cubicBezTo>
                <a:cubicBezTo>
                  <a:pt x="474" y="7"/>
                  <a:pt x="474" y="7"/>
                  <a:pt x="474" y="7"/>
                </a:cubicBezTo>
                <a:cubicBezTo>
                  <a:pt x="474" y="5"/>
                  <a:pt x="474" y="5"/>
                  <a:pt x="474" y="5"/>
                </a:cubicBezTo>
                <a:cubicBezTo>
                  <a:pt x="474" y="3"/>
                  <a:pt x="474" y="3"/>
                  <a:pt x="474" y="3"/>
                </a:cubicBezTo>
                <a:cubicBezTo>
                  <a:pt x="474" y="2"/>
                  <a:pt x="474" y="2"/>
                  <a:pt x="474" y="2"/>
                </a:cubicBezTo>
                <a:cubicBezTo>
                  <a:pt x="475" y="2"/>
                  <a:pt x="475" y="2"/>
                  <a:pt x="475" y="2"/>
                </a:cubicBezTo>
                <a:cubicBezTo>
                  <a:pt x="476" y="3"/>
                  <a:pt x="476" y="3"/>
                  <a:pt x="476" y="3"/>
                </a:cubicBezTo>
                <a:cubicBezTo>
                  <a:pt x="477" y="3"/>
                  <a:pt x="477" y="3"/>
                  <a:pt x="477" y="3"/>
                </a:cubicBezTo>
                <a:cubicBezTo>
                  <a:pt x="477" y="3"/>
                  <a:pt x="477" y="3"/>
                  <a:pt x="477" y="3"/>
                </a:cubicBezTo>
                <a:cubicBezTo>
                  <a:pt x="477" y="5"/>
                  <a:pt x="477" y="5"/>
                  <a:pt x="477" y="5"/>
                </a:cubicBezTo>
                <a:cubicBezTo>
                  <a:pt x="478" y="6"/>
                  <a:pt x="478" y="6"/>
                  <a:pt x="478" y="6"/>
                </a:cubicBezTo>
                <a:cubicBezTo>
                  <a:pt x="478" y="8"/>
                  <a:pt x="478" y="8"/>
                  <a:pt x="478" y="8"/>
                </a:cubicBezTo>
                <a:cubicBezTo>
                  <a:pt x="478" y="10"/>
                  <a:pt x="478" y="10"/>
                  <a:pt x="478" y="10"/>
                </a:cubicBezTo>
                <a:cubicBezTo>
                  <a:pt x="479" y="10"/>
                  <a:pt x="479" y="10"/>
                  <a:pt x="479" y="10"/>
                </a:cubicBezTo>
                <a:cubicBezTo>
                  <a:pt x="479" y="9"/>
                  <a:pt x="479" y="9"/>
                  <a:pt x="479" y="9"/>
                </a:cubicBezTo>
                <a:cubicBezTo>
                  <a:pt x="479" y="8"/>
                  <a:pt x="479" y="8"/>
                  <a:pt x="479" y="8"/>
                </a:cubicBezTo>
                <a:cubicBezTo>
                  <a:pt x="480" y="8"/>
                  <a:pt x="480" y="8"/>
                  <a:pt x="480" y="8"/>
                </a:cubicBezTo>
                <a:cubicBezTo>
                  <a:pt x="482" y="10"/>
                  <a:pt x="482" y="10"/>
                  <a:pt x="482" y="10"/>
                </a:cubicBezTo>
                <a:cubicBezTo>
                  <a:pt x="482" y="10"/>
                  <a:pt x="482" y="10"/>
                  <a:pt x="482" y="10"/>
                </a:cubicBezTo>
                <a:cubicBezTo>
                  <a:pt x="483" y="10"/>
                  <a:pt x="483" y="10"/>
                  <a:pt x="483" y="10"/>
                </a:cubicBezTo>
                <a:cubicBezTo>
                  <a:pt x="483" y="9"/>
                  <a:pt x="483" y="9"/>
                  <a:pt x="483" y="9"/>
                </a:cubicBezTo>
                <a:cubicBezTo>
                  <a:pt x="482" y="9"/>
                  <a:pt x="482" y="9"/>
                  <a:pt x="482" y="9"/>
                </a:cubicBezTo>
                <a:cubicBezTo>
                  <a:pt x="481" y="8"/>
                  <a:pt x="481" y="8"/>
                  <a:pt x="481" y="8"/>
                </a:cubicBezTo>
                <a:cubicBezTo>
                  <a:pt x="482" y="7"/>
                  <a:pt x="482" y="7"/>
                  <a:pt x="482" y="7"/>
                </a:cubicBezTo>
                <a:cubicBezTo>
                  <a:pt x="482" y="6"/>
                  <a:pt x="482" y="6"/>
                  <a:pt x="482" y="6"/>
                </a:cubicBezTo>
                <a:cubicBezTo>
                  <a:pt x="480" y="5"/>
                  <a:pt x="480" y="5"/>
                  <a:pt x="480" y="5"/>
                </a:cubicBezTo>
                <a:cubicBezTo>
                  <a:pt x="480" y="4"/>
                  <a:pt x="480" y="4"/>
                  <a:pt x="480" y="4"/>
                </a:cubicBezTo>
                <a:cubicBezTo>
                  <a:pt x="480" y="4"/>
                  <a:pt x="480" y="4"/>
                  <a:pt x="480" y="4"/>
                </a:cubicBezTo>
                <a:cubicBezTo>
                  <a:pt x="482" y="4"/>
                  <a:pt x="482" y="4"/>
                  <a:pt x="482" y="4"/>
                </a:cubicBezTo>
                <a:cubicBezTo>
                  <a:pt x="481" y="3"/>
                  <a:pt x="481" y="3"/>
                  <a:pt x="481" y="3"/>
                </a:cubicBezTo>
                <a:cubicBezTo>
                  <a:pt x="480" y="3"/>
                  <a:pt x="480" y="3"/>
                  <a:pt x="480" y="3"/>
                </a:cubicBezTo>
                <a:cubicBezTo>
                  <a:pt x="479" y="2"/>
                  <a:pt x="479" y="2"/>
                  <a:pt x="479" y="2"/>
                </a:cubicBezTo>
                <a:cubicBezTo>
                  <a:pt x="480" y="2"/>
                  <a:pt x="480" y="2"/>
                  <a:pt x="480" y="2"/>
                </a:cubicBezTo>
                <a:cubicBezTo>
                  <a:pt x="481" y="2"/>
                  <a:pt x="481" y="2"/>
                  <a:pt x="481" y="2"/>
                </a:cubicBezTo>
                <a:cubicBezTo>
                  <a:pt x="482" y="0"/>
                  <a:pt x="482" y="0"/>
                  <a:pt x="482" y="0"/>
                </a:cubicBezTo>
                <a:cubicBezTo>
                  <a:pt x="485" y="1"/>
                  <a:pt x="485" y="1"/>
                  <a:pt x="485" y="1"/>
                </a:cubicBezTo>
                <a:cubicBezTo>
                  <a:pt x="485" y="1"/>
                  <a:pt x="485" y="1"/>
                  <a:pt x="485" y="1"/>
                </a:cubicBezTo>
                <a:cubicBezTo>
                  <a:pt x="485" y="3"/>
                  <a:pt x="485" y="3"/>
                  <a:pt x="485" y="3"/>
                </a:cubicBezTo>
                <a:cubicBezTo>
                  <a:pt x="485" y="4"/>
                  <a:pt x="485" y="4"/>
                  <a:pt x="485" y="4"/>
                </a:cubicBezTo>
                <a:cubicBezTo>
                  <a:pt x="485" y="5"/>
                  <a:pt x="485" y="5"/>
                  <a:pt x="485" y="5"/>
                </a:cubicBezTo>
                <a:cubicBezTo>
                  <a:pt x="486" y="4"/>
                  <a:pt x="486" y="4"/>
                  <a:pt x="486" y="4"/>
                </a:cubicBezTo>
                <a:cubicBezTo>
                  <a:pt x="487" y="3"/>
                  <a:pt x="487" y="3"/>
                  <a:pt x="487" y="3"/>
                </a:cubicBezTo>
                <a:cubicBezTo>
                  <a:pt x="487" y="2"/>
                  <a:pt x="487" y="2"/>
                  <a:pt x="487" y="2"/>
                </a:cubicBezTo>
                <a:cubicBezTo>
                  <a:pt x="488" y="3"/>
                  <a:pt x="488" y="3"/>
                  <a:pt x="488" y="3"/>
                </a:cubicBezTo>
                <a:cubicBezTo>
                  <a:pt x="487" y="5"/>
                  <a:pt x="487" y="5"/>
                  <a:pt x="487" y="5"/>
                </a:cubicBezTo>
                <a:cubicBezTo>
                  <a:pt x="488" y="5"/>
                  <a:pt x="488" y="5"/>
                  <a:pt x="488" y="5"/>
                </a:cubicBezTo>
                <a:cubicBezTo>
                  <a:pt x="489" y="5"/>
                  <a:pt x="489" y="5"/>
                  <a:pt x="489" y="5"/>
                </a:cubicBezTo>
                <a:cubicBezTo>
                  <a:pt x="489" y="5"/>
                  <a:pt x="489" y="5"/>
                  <a:pt x="489" y="5"/>
                </a:cubicBezTo>
                <a:cubicBezTo>
                  <a:pt x="490" y="3"/>
                  <a:pt x="490" y="3"/>
                  <a:pt x="490" y="3"/>
                </a:cubicBezTo>
                <a:cubicBezTo>
                  <a:pt x="491" y="4"/>
                  <a:pt x="491" y="4"/>
                  <a:pt x="491" y="4"/>
                </a:cubicBezTo>
                <a:cubicBezTo>
                  <a:pt x="491" y="5"/>
                  <a:pt x="491" y="5"/>
                  <a:pt x="491" y="5"/>
                </a:cubicBezTo>
                <a:cubicBezTo>
                  <a:pt x="490" y="6"/>
                  <a:pt x="490" y="6"/>
                  <a:pt x="490" y="6"/>
                </a:cubicBezTo>
                <a:cubicBezTo>
                  <a:pt x="491" y="8"/>
                  <a:pt x="491" y="8"/>
                  <a:pt x="491" y="8"/>
                </a:cubicBezTo>
                <a:cubicBezTo>
                  <a:pt x="490" y="9"/>
                  <a:pt x="490" y="9"/>
                  <a:pt x="490" y="9"/>
                </a:cubicBezTo>
                <a:cubicBezTo>
                  <a:pt x="491" y="10"/>
                  <a:pt x="491" y="10"/>
                  <a:pt x="491" y="10"/>
                </a:cubicBezTo>
                <a:cubicBezTo>
                  <a:pt x="492" y="9"/>
                  <a:pt x="492" y="9"/>
                  <a:pt x="492" y="9"/>
                </a:cubicBezTo>
                <a:cubicBezTo>
                  <a:pt x="493" y="10"/>
                  <a:pt x="493" y="10"/>
                  <a:pt x="493" y="10"/>
                </a:cubicBezTo>
                <a:cubicBezTo>
                  <a:pt x="493" y="9"/>
                  <a:pt x="493" y="9"/>
                  <a:pt x="493" y="9"/>
                </a:cubicBezTo>
                <a:cubicBezTo>
                  <a:pt x="493" y="7"/>
                  <a:pt x="493" y="7"/>
                  <a:pt x="493" y="7"/>
                </a:cubicBezTo>
                <a:cubicBezTo>
                  <a:pt x="494" y="5"/>
                  <a:pt x="494" y="5"/>
                  <a:pt x="494" y="5"/>
                </a:cubicBezTo>
                <a:cubicBezTo>
                  <a:pt x="493" y="2"/>
                  <a:pt x="493" y="2"/>
                  <a:pt x="493" y="2"/>
                </a:cubicBezTo>
                <a:cubicBezTo>
                  <a:pt x="493" y="1"/>
                  <a:pt x="493" y="1"/>
                  <a:pt x="493" y="1"/>
                </a:cubicBezTo>
                <a:cubicBezTo>
                  <a:pt x="494" y="0"/>
                  <a:pt x="494" y="0"/>
                  <a:pt x="494" y="0"/>
                </a:cubicBezTo>
                <a:cubicBezTo>
                  <a:pt x="495" y="1"/>
                  <a:pt x="495" y="1"/>
                  <a:pt x="495" y="1"/>
                </a:cubicBezTo>
                <a:cubicBezTo>
                  <a:pt x="496" y="1"/>
                  <a:pt x="496" y="1"/>
                  <a:pt x="496" y="1"/>
                </a:cubicBezTo>
                <a:cubicBezTo>
                  <a:pt x="497" y="1"/>
                  <a:pt x="497" y="1"/>
                  <a:pt x="497" y="1"/>
                </a:cubicBezTo>
                <a:cubicBezTo>
                  <a:pt x="499" y="1"/>
                  <a:pt x="499" y="1"/>
                  <a:pt x="499" y="1"/>
                </a:cubicBezTo>
                <a:cubicBezTo>
                  <a:pt x="500" y="1"/>
                  <a:pt x="500" y="1"/>
                  <a:pt x="500" y="1"/>
                </a:cubicBezTo>
                <a:cubicBezTo>
                  <a:pt x="501" y="2"/>
                  <a:pt x="501" y="2"/>
                  <a:pt x="501" y="2"/>
                </a:cubicBezTo>
                <a:cubicBezTo>
                  <a:pt x="502" y="3"/>
                  <a:pt x="502" y="3"/>
                  <a:pt x="502" y="3"/>
                </a:cubicBezTo>
                <a:cubicBezTo>
                  <a:pt x="504" y="2"/>
                  <a:pt x="504" y="2"/>
                  <a:pt x="504" y="2"/>
                </a:cubicBezTo>
                <a:cubicBezTo>
                  <a:pt x="505" y="3"/>
                  <a:pt x="505" y="3"/>
                  <a:pt x="505" y="3"/>
                </a:cubicBezTo>
                <a:cubicBezTo>
                  <a:pt x="506" y="4"/>
                  <a:pt x="506" y="4"/>
                  <a:pt x="506" y="4"/>
                </a:cubicBezTo>
                <a:cubicBezTo>
                  <a:pt x="506" y="5"/>
                  <a:pt x="506" y="5"/>
                  <a:pt x="506" y="5"/>
                </a:cubicBezTo>
                <a:cubicBezTo>
                  <a:pt x="506" y="6"/>
                  <a:pt x="506" y="6"/>
                  <a:pt x="506" y="6"/>
                </a:cubicBezTo>
                <a:cubicBezTo>
                  <a:pt x="506" y="8"/>
                  <a:pt x="506" y="8"/>
                  <a:pt x="506" y="8"/>
                </a:cubicBezTo>
                <a:cubicBezTo>
                  <a:pt x="506" y="9"/>
                  <a:pt x="506" y="9"/>
                  <a:pt x="506" y="9"/>
                </a:cubicBezTo>
                <a:cubicBezTo>
                  <a:pt x="507" y="8"/>
                  <a:pt x="507" y="8"/>
                  <a:pt x="507" y="8"/>
                </a:cubicBezTo>
                <a:cubicBezTo>
                  <a:pt x="508" y="7"/>
                  <a:pt x="508" y="7"/>
                  <a:pt x="508" y="7"/>
                </a:cubicBezTo>
                <a:cubicBezTo>
                  <a:pt x="510" y="5"/>
                  <a:pt x="510" y="5"/>
                  <a:pt x="510" y="5"/>
                </a:cubicBezTo>
                <a:cubicBezTo>
                  <a:pt x="511" y="4"/>
                  <a:pt x="511" y="4"/>
                  <a:pt x="511" y="4"/>
                </a:cubicBezTo>
                <a:cubicBezTo>
                  <a:pt x="512" y="4"/>
                  <a:pt x="512" y="4"/>
                  <a:pt x="512" y="4"/>
                </a:cubicBezTo>
                <a:cubicBezTo>
                  <a:pt x="514" y="5"/>
                  <a:pt x="514" y="5"/>
                  <a:pt x="514" y="5"/>
                </a:cubicBezTo>
                <a:cubicBezTo>
                  <a:pt x="515" y="5"/>
                  <a:pt x="515" y="5"/>
                  <a:pt x="515" y="5"/>
                </a:cubicBezTo>
                <a:cubicBezTo>
                  <a:pt x="515" y="6"/>
                  <a:pt x="515" y="6"/>
                  <a:pt x="515" y="6"/>
                </a:cubicBezTo>
                <a:cubicBezTo>
                  <a:pt x="514" y="7"/>
                  <a:pt x="514" y="7"/>
                  <a:pt x="514" y="7"/>
                </a:cubicBezTo>
                <a:cubicBezTo>
                  <a:pt x="514" y="9"/>
                  <a:pt x="514" y="9"/>
                  <a:pt x="514" y="9"/>
                </a:cubicBezTo>
                <a:cubicBezTo>
                  <a:pt x="515" y="8"/>
                  <a:pt x="515" y="8"/>
                  <a:pt x="515" y="8"/>
                </a:cubicBezTo>
                <a:cubicBezTo>
                  <a:pt x="515" y="7"/>
                  <a:pt x="515" y="7"/>
                  <a:pt x="515" y="7"/>
                </a:cubicBezTo>
                <a:cubicBezTo>
                  <a:pt x="517" y="6"/>
                  <a:pt x="517" y="6"/>
                  <a:pt x="517" y="6"/>
                </a:cubicBezTo>
                <a:cubicBezTo>
                  <a:pt x="518" y="6"/>
                  <a:pt x="518" y="6"/>
                  <a:pt x="518" y="6"/>
                </a:cubicBezTo>
                <a:cubicBezTo>
                  <a:pt x="520" y="6"/>
                  <a:pt x="520" y="6"/>
                  <a:pt x="520" y="6"/>
                </a:cubicBezTo>
                <a:cubicBezTo>
                  <a:pt x="522" y="7"/>
                  <a:pt x="522" y="7"/>
                  <a:pt x="522" y="7"/>
                </a:cubicBezTo>
                <a:cubicBezTo>
                  <a:pt x="523" y="8"/>
                  <a:pt x="523" y="8"/>
                  <a:pt x="523" y="8"/>
                </a:cubicBezTo>
                <a:cubicBezTo>
                  <a:pt x="522" y="8"/>
                  <a:pt x="522" y="8"/>
                  <a:pt x="522" y="8"/>
                </a:cubicBezTo>
                <a:cubicBezTo>
                  <a:pt x="522" y="9"/>
                  <a:pt x="522" y="9"/>
                  <a:pt x="522" y="9"/>
                </a:cubicBezTo>
                <a:cubicBezTo>
                  <a:pt x="522" y="9"/>
                  <a:pt x="522" y="9"/>
                  <a:pt x="522" y="9"/>
                </a:cubicBezTo>
                <a:cubicBezTo>
                  <a:pt x="521" y="10"/>
                  <a:pt x="521" y="10"/>
                  <a:pt x="521" y="10"/>
                </a:cubicBezTo>
                <a:cubicBezTo>
                  <a:pt x="522" y="11"/>
                  <a:pt x="522" y="11"/>
                  <a:pt x="522" y="11"/>
                </a:cubicBezTo>
                <a:cubicBezTo>
                  <a:pt x="523" y="10"/>
                  <a:pt x="523" y="10"/>
                  <a:pt x="523" y="10"/>
                </a:cubicBezTo>
                <a:cubicBezTo>
                  <a:pt x="524" y="10"/>
                  <a:pt x="524" y="10"/>
                  <a:pt x="524" y="10"/>
                </a:cubicBezTo>
                <a:cubicBezTo>
                  <a:pt x="524" y="11"/>
                  <a:pt x="524" y="11"/>
                  <a:pt x="524" y="11"/>
                </a:cubicBezTo>
                <a:cubicBezTo>
                  <a:pt x="525" y="12"/>
                  <a:pt x="525" y="12"/>
                  <a:pt x="525" y="12"/>
                </a:cubicBezTo>
                <a:cubicBezTo>
                  <a:pt x="525" y="11"/>
                  <a:pt x="525" y="11"/>
                  <a:pt x="525" y="11"/>
                </a:cubicBezTo>
                <a:cubicBezTo>
                  <a:pt x="527" y="10"/>
                  <a:pt x="527" y="10"/>
                  <a:pt x="527" y="10"/>
                </a:cubicBezTo>
                <a:cubicBezTo>
                  <a:pt x="527" y="11"/>
                  <a:pt x="527" y="11"/>
                  <a:pt x="527" y="11"/>
                </a:cubicBezTo>
                <a:cubicBezTo>
                  <a:pt x="527" y="12"/>
                  <a:pt x="527" y="12"/>
                  <a:pt x="527" y="12"/>
                </a:cubicBezTo>
                <a:cubicBezTo>
                  <a:pt x="527" y="13"/>
                  <a:pt x="527" y="13"/>
                  <a:pt x="527" y="13"/>
                </a:cubicBezTo>
                <a:cubicBezTo>
                  <a:pt x="528" y="13"/>
                  <a:pt x="528" y="13"/>
                  <a:pt x="528" y="13"/>
                </a:cubicBezTo>
                <a:cubicBezTo>
                  <a:pt x="528" y="13"/>
                  <a:pt x="528" y="13"/>
                  <a:pt x="528" y="13"/>
                </a:cubicBezTo>
                <a:cubicBezTo>
                  <a:pt x="529" y="12"/>
                  <a:pt x="529" y="12"/>
                  <a:pt x="529" y="12"/>
                </a:cubicBezTo>
                <a:cubicBezTo>
                  <a:pt x="530" y="12"/>
                  <a:pt x="530" y="12"/>
                  <a:pt x="530" y="12"/>
                </a:cubicBezTo>
                <a:cubicBezTo>
                  <a:pt x="530" y="13"/>
                  <a:pt x="530" y="13"/>
                  <a:pt x="530" y="13"/>
                </a:cubicBezTo>
                <a:cubicBezTo>
                  <a:pt x="533" y="14"/>
                  <a:pt x="533" y="14"/>
                  <a:pt x="533" y="14"/>
                </a:cubicBezTo>
                <a:cubicBezTo>
                  <a:pt x="534" y="14"/>
                  <a:pt x="534" y="14"/>
                  <a:pt x="534" y="14"/>
                </a:cubicBezTo>
                <a:cubicBezTo>
                  <a:pt x="534" y="15"/>
                  <a:pt x="534" y="15"/>
                  <a:pt x="534" y="15"/>
                </a:cubicBezTo>
                <a:cubicBezTo>
                  <a:pt x="534" y="15"/>
                  <a:pt x="534" y="15"/>
                  <a:pt x="534" y="15"/>
                </a:cubicBezTo>
                <a:cubicBezTo>
                  <a:pt x="531" y="16"/>
                  <a:pt x="531" y="16"/>
                  <a:pt x="531" y="16"/>
                </a:cubicBezTo>
                <a:cubicBezTo>
                  <a:pt x="530" y="18"/>
                  <a:pt x="530" y="18"/>
                  <a:pt x="530" y="18"/>
                </a:cubicBezTo>
                <a:cubicBezTo>
                  <a:pt x="529" y="18"/>
                  <a:pt x="529" y="18"/>
                  <a:pt x="529" y="18"/>
                </a:cubicBezTo>
                <a:cubicBezTo>
                  <a:pt x="527" y="19"/>
                  <a:pt x="527" y="19"/>
                  <a:pt x="527" y="19"/>
                </a:cubicBezTo>
                <a:cubicBezTo>
                  <a:pt x="526" y="19"/>
                  <a:pt x="526" y="19"/>
                  <a:pt x="526" y="19"/>
                </a:cubicBezTo>
                <a:cubicBezTo>
                  <a:pt x="525" y="19"/>
                  <a:pt x="525" y="19"/>
                  <a:pt x="525" y="19"/>
                </a:cubicBezTo>
                <a:cubicBezTo>
                  <a:pt x="524" y="19"/>
                  <a:pt x="524" y="19"/>
                  <a:pt x="524" y="19"/>
                </a:cubicBezTo>
                <a:cubicBezTo>
                  <a:pt x="523" y="20"/>
                  <a:pt x="523" y="20"/>
                  <a:pt x="523" y="20"/>
                </a:cubicBezTo>
                <a:cubicBezTo>
                  <a:pt x="525" y="20"/>
                  <a:pt x="525" y="20"/>
                  <a:pt x="525" y="20"/>
                </a:cubicBezTo>
                <a:cubicBezTo>
                  <a:pt x="528" y="20"/>
                  <a:pt x="528" y="20"/>
                  <a:pt x="528" y="20"/>
                </a:cubicBezTo>
                <a:cubicBezTo>
                  <a:pt x="529" y="21"/>
                  <a:pt x="529" y="21"/>
                  <a:pt x="529" y="21"/>
                </a:cubicBezTo>
                <a:cubicBezTo>
                  <a:pt x="529" y="21"/>
                  <a:pt x="529" y="21"/>
                  <a:pt x="529" y="21"/>
                </a:cubicBezTo>
                <a:cubicBezTo>
                  <a:pt x="530" y="20"/>
                  <a:pt x="530" y="20"/>
                  <a:pt x="530" y="20"/>
                </a:cubicBezTo>
                <a:cubicBezTo>
                  <a:pt x="531" y="19"/>
                  <a:pt x="531" y="19"/>
                  <a:pt x="531" y="19"/>
                </a:cubicBezTo>
                <a:cubicBezTo>
                  <a:pt x="532" y="19"/>
                  <a:pt x="532" y="19"/>
                  <a:pt x="532" y="19"/>
                </a:cubicBezTo>
                <a:cubicBezTo>
                  <a:pt x="533" y="18"/>
                  <a:pt x="533" y="18"/>
                  <a:pt x="533" y="18"/>
                </a:cubicBezTo>
                <a:cubicBezTo>
                  <a:pt x="534" y="17"/>
                  <a:pt x="534" y="17"/>
                  <a:pt x="534" y="17"/>
                </a:cubicBezTo>
                <a:cubicBezTo>
                  <a:pt x="536" y="17"/>
                  <a:pt x="536" y="17"/>
                  <a:pt x="536" y="17"/>
                </a:cubicBezTo>
                <a:cubicBezTo>
                  <a:pt x="536" y="18"/>
                  <a:pt x="536" y="18"/>
                  <a:pt x="536" y="18"/>
                </a:cubicBezTo>
                <a:cubicBezTo>
                  <a:pt x="536" y="19"/>
                  <a:pt x="536" y="19"/>
                  <a:pt x="536" y="19"/>
                </a:cubicBezTo>
                <a:cubicBezTo>
                  <a:pt x="536" y="20"/>
                  <a:pt x="536" y="20"/>
                  <a:pt x="536" y="20"/>
                </a:cubicBezTo>
                <a:cubicBezTo>
                  <a:pt x="537" y="20"/>
                  <a:pt x="537" y="20"/>
                  <a:pt x="537" y="20"/>
                </a:cubicBezTo>
                <a:cubicBezTo>
                  <a:pt x="537" y="18"/>
                  <a:pt x="537" y="18"/>
                  <a:pt x="537" y="18"/>
                </a:cubicBezTo>
                <a:cubicBezTo>
                  <a:pt x="539" y="17"/>
                  <a:pt x="539" y="17"/>
                  <a:pt x="539" y="17"/>
                </a:cubicBezTo>
                <a:cubicBezTo>
                  <a:pt x="539" y="18"/>
                  <a:pt x="539" y="18"/>
                  <a:pt x="539" y="18"/>
                </a:cubicBezTo>
                <a:cubicBezTo>
                  <a:pt x="538" y="19"/>
                  <a:pt x="538" y="19"/>
                  <a:pt x="538" y="19"/>
                </a:cubicBezTo>
                <a:cubicBezTo>
                  <a:pt x="538" y="20"/>
                  <a:pt x="538" y="20"/>
                  <a:pt x="538" y="20"/>
                </a:cubicBezTo>
                <a:cubicBezTo>
                  <a:pt x="538" y="20"/>
                  <a:pt x="538" y="20"/>
                  <a:pt x="538" y="20"/>
                </a:cubicBezTo>
                <a:cubicBezTo>
                  <a:pt x="538" y="21"/>
                  <a:pt x="538" y="21"/>
                  <a:pt x="538" y="21"/>
                </a:cubicBezTo>
                <a:cubicBezTo>
                  <a:pt x="539" y="21"/>
                  <a:pt x="539" y="21"/>
                  <a:pt x="539" y="21"/>
                </a:cubicBezTo>
                <a:cubicBezTo>
                  <a:pt x="540" y="20"/>
                  <a:pt x="540" y="20"/>
                  <a:pt x="540" y="20"/>
                </a:cubicBezTo>
                <a:cubicBezTo>
                  <a:pt x="540" y="19"/>
                  <a:pt x="540" y="19"/>
                  <a:pt x="540" y="19"/>
                </a:cubicBezTo>
                <a:cubicBezTo>
                  <a:pt x="541" y="19"/>
                  <a:pt x="541" y="19"/>
                  <a:pt x="541" y="19"/>
                </a:cubicBezTo>
                <a:cubicBezTo>
                  <a:pt x="543" y="19"/>
                  <a:pt x="543" y="19"/>
                  <a:pt x="543" y="19"/>
                </a:cubicBezTo>
                <a:cubicBezTo>
                  <a:pt x="542" y="22"/>
                  <a:pt x="542" y="22"/>
                  <a:pt x="542" y="22"/>
                </a:cubicBezTo>
                <a:cubicBezTo>
                  <a:pt x="541" y="22"/>
                  <a:pt x="541" y="22"/>
                  <a:pt x="541" y="22"/>
                </a:cubicBezTo>
                <a:cubicBezTo>
                  <a:pt x="542" y="22"/>
                  <a:pt x="542" y="22"/>
                  <a:pt x="542" y="22"/>
                </a:cubicBezTo>
                <a:cubicBezTo>
                  <a:pt x="542" y="24"/>
                  <a:pt x="542" y="24"/>
                  <a:pt x="542" y="24"/>
                </a:cubicBezTo>
                <a:cubicBezTo>
                  <a:pt x="542" y="25"/>
                  <a:pt x="542" y="25"/>
                  <a:pt x="542" y="25"/>
                </a:cubicBezTo>
                <a:cubicBezTo>
                  <a:pt x="541" y="26"/>
                  <a:pt x="541" y="26"/>
                  <a:pt x="541" y="26"/>
                </a:cubicBezTo>
                <a:cubicBezTo>
                  <a:pt x="540" y="27"/>
                  <a:pt x="540" y="27"/>
                  <a:pt x="540" y="27"/>
                </a:cubicBezTo>
                <a:cubicBezTo>
                  <a:pt x="539" y="29"/>
                  <a:pt x="539" y="29"/>
                  <a:pt x="539" y="29"/>
                </a:cubicBezTo>
                <a:cubicBezTo>
                  <a:pt x="539" y="30"/>
                  <a:pt x="539" y="30"/>
                  <a:pt x="539" y="30"/>
                </a:cubicBezTo>
                <a:cubicBezTo>
                  <a:pt x="540" y="29"/>
                  <a:pt x="540" y="29"/>
                  <a:pt x="540" y="29"/>
                </a:cubicBezTo>
                <a:cubicBezTo>
                  <a:pt x="541" y="28"/>
                  <a:pt x="541" y="28"/>
                  <a:pt x="541" y="28"/>
                </a:cubicBezTo>
                <a:cubicBezTo>
                  <a:pt x="542" y="28"/>
                  <a:pt x="542" y="28"/>
                  <a:pt x="542" y="28"/>
                </a:cubicBezTo>
                <a:cubicBezTo>
                  <a:pt x="542" y="28"/>
                  <a:pt x="542" y="28"/>
                  <a:pt x="542" y="28"/>
                </a:cubicBezTo>
                <a:cubicBezTo>
                  <a:pt x="543" y="28"/>
                  <a:pt x="543" y="28"/>
                  <a:pt x="543" y="28"/>
                </a:cubicBezTo>
                <a:cubicBezTo>
                  <a:pt x="545" y="29"/>
                  <a:pt x="545" y="29"/>
                  <a:pt x="545" y="29"/>
                </a:cubicBezTo>
                <a:cubicBezTo>
                  <a:pt x="545" y="30"/>
                  <a:pt x="545" y="30"/>
                  <a:pt x="545" y="30"/>
                </a:cubicBezTo>
                <a:cubicBezTo>
                  <a:pt x="546" y="32"/>
                  <a:pt x="546" y="32"/>
                  <a:pt x="546" y="32"/>
                </a:cubicBezTo>
                <a:cubicBezTo>
                  <a:pt x="545" y="35"/>
                  <a:pt x="545" y="35"/>
                  <a:pt x="545" y="35"/>
                </a:cubicBezTo>
                <a:cubicBezTo>
                  <a:pt x="544" y="38"/>
                  <a:pt x="544" y="38"/>
                  <a:pt x="544" y="38"/>
                </a:cubicBezTo>
                <a:cubicBezTo>
                  <a:pt x="541" y="39"/>
                  <a:pt x="541" y="39"/>
                  <a:pt x="541" y="39"/>
                </a:cubicBezTo>
                <a:cubicBezTo>
                  <a:pt x="541" y="40"/>
                  <a:pt x="541" y="40"/>
                  <a:pt x="541" y="40"/>
                </a:cubicBezTo>
                <a:cubicBezTo>
                  <a:pt x="540" y="39"/>
                  <a:pt x="540" y="39"/>
                  <a:pt x="540" y="39"/>
                </a:cubicBezTo>
                <a:cubicBezTo>
                  <a:pt x="538" y="40"/>
                  <a:pt x="538" y="40"/>
                  <a:pt x="538" y="40"/>
                </a:cubicBezTo>
                <a:cubicBezTo>
                  <a:pt x="538" y="40"/>
                  <a:pt x="538" y="40"/>
                  <a:pt x="538" y="40"/>
                </a:cubicBezTo>
                <a:cubicBezTo>
                  <a:pt x="538" y="41"/>
                  <a:pt x="538" y="41"/>
                  <a:pt x="538" y="41"/>
                </a:cubicBezTo>
                <a:cubicBezTo>
                  <a:pt x="534" y="43"/>
                  <a:pt x="534" y="43"/>
                  <a:pt x="534" y="43"/>
                </a:cubicBezTo>
                <a:cubicBezTo>
                  <a:pt x="532" y="44"/>
                  <a:pt x="532" y="44"/>
                  <a:pt x="532" y="44"/>
                </a:cubicBezTo>
                <a:cubicBezTo>
                  <a:pt x="531" y="44"/>
                  <a:pt x="531" y="44"/>
                  <a:pt x="531" y="44"/>
                </a:cubicBezTo>
                <a:cubicBezTo>
                  <a:pt x="530" y="45"/>
                  <a:pt x="530" y="45"/>
                  <a:pt x="530" y="45"/>
                </a:cubicBezTo>
                <a:cubicBezTo>
                  <a:pt x="528" y="45"/>
                  <a:pt x="528" y="45"/>
                  <a:pt x="528" y="45"/>
                </a:cubicBezTo>
                <a:cubicBezTo>
                  <a:pt x="527" y="44"/>
                  <a:pt x="527" y="44"/>
                  <a:pt x="527" y="44"/>
                </a:cubicBezTo>
                <a:cubicBezTo>
                  <a:pt x="526" y="45"/>
                  <a:pt x="526" y="45"/>
                  <a:pt x="526" y="45"/>
                </a:cubicBezTo>
                <a:cubicBezTo>
                  <a:pt x="526" y="46"/>
                  <a:pt x="526" y="46"/>
                  <a:pt x="526" y="46"/>
                </a:cubicBezTo>
                <a:cubicBezTo>
                  <a:pt x="524" y="45"/>
                  <a:pt x="524" y="45"/>
                  <a:pt x="524" y="45"/>
                </a:cubicBezTo>
                <a:cubicBezTo>
                  <a:pt x="523" y="44"/>
                  <a:pt x="523" y="44"/>
                  <a:pt x="523" y="44"/>
                </a:cubicBezTo>
                <a:cubicBezTo>
                  <a:pt x="521" y="44"/>
                  <a:pt x="521" y="44"/>
                  <a:pt x="521" y="44"/>
                </a:cubicBezTo>
                <a:cubicBezTo>
                  <a:pt x="521" y="44"/>
                  <a:pt x="521" y="44"/>
                  <a:pt x="521" y="44"/>
                </a:cubicBezTo>
                <a:cubicBezTo>
                  <a:pt x="522" y="45"/>
                  <a:pt x="522" y="45"/>
                  <a:pt x="522" y="45"/>
                </a:cubicBezTo>
                <a:cubicBezTo>
                  <a:pt x="523" y="45"/>
                  <a:pt x="523" y="45"/>
                  <a:pt x="523" y="45"/>
                </a:cubicBezTo>
                <a:cubicBezTo>
                  <a:pt x="522" y="46"/>
                  <a:pt x="522" y="46"/>
                  <a:pt x="522" y="46"/>
                </a:cubicBezTo>
                <a:cubicBezTo>
                  <a:pt x="520" y="45"/>
                  <a:pt x="520" y="45"/>
                  <a:pt x="520" y="45"/>
                </a:cubicBezTo>
                <a:cubicBezTo>
                  <a:pt x="520" y="45"/>
                  <a:pt x="520" y="45"/>
                  <a:pt x="520" y="45"/>
                </a:cubicBezTo>
                <a:cubicBezTo>
                  <a:pt x="519" y="45"/>
                  <a:pt x="519" y="45"/>
                  <a:pt x="519" y="45"/>
                </a:cubicBezTo>
                <a:cubicBezTo>
                  <a:pt x="517" y="45"/>
                  <a:pt x="517" y="45"/>
                  <a:pt x="517" y="45"/>
                </a:cubicBezTo>
                <a:cubicBezTo>
                  <a:pt x="516" y="44"/>
                  <a:pt x="516" y="44"/>
                  <a:pt x="516" y="44"/>
                </a:cubicBezTo>
                <a:cubicBezTo>
                  <a:pt x="515" y="44"/>
                  <a:pt x="515" y="44"/>
                  <a:pt x="515" y="44"/>
                </a:cubicBezTo>
                <a:cubicBezTo>
                  <a:pt x="514" y="44"/>
                  <a:pt x="514" y="44"/>
                  <a:pt x="514" y="44"/>
                </a:cubicBezTo>
                <a:cubicBezTo>
                  <a:pt x="513" y="42"/>
                  <a:pt x="513" y="42"/>
                  <a:pt x="513" y="42"/>
                </a:cubicBezTo>
                <a:cubicBezTo>
                  <a:pt x="511" y="41"/>
                  <a:pt x="511" y="41"/>
                  <a:pt x="511" y="41"/>
                </a:cubicBezTo>
                <a:cubicBezTo>
                  <a:pt x="512" y="42"/>
                  <a:pt x="512" y="42"/>
                  <a:pt x="512" y="42"/>
                </a:cubicBezTo>
                <a:cubicBezTo>
                  <a:pt x="513" y="44"/>
                  <a:pt x="513" y="44"/>
                  <a:pt x="513" y="44"/>
                </a:cubicBezTo>
                <a:cubicBezTo>
                  <a:pt x="513" y="44"/>
                  <a:pt x="513" y="44"/>
                  <a:pt x="513" y="44"/>
                </a:cubicBezTo>
                <a:cubicBezTo>
                  <a:pt x="512" y="44"/>
                  <a:pt x="512" y="44"/>
                  <a:pt x="512" y="44"/>
                </a:cubicBezTo>
                <a:cubicBezTo>
                  <a:pt x="510" y="44"/>
                  <a:pt x="510" y="44"/>
                  <a:pt x="510" y="44"/>
                </a:cubicBezTo>
                <a:cubicBezTo>
                  <a:pt x="511" y="45"/>
                  <a:pt x="511" y="45"/>
                  <a:pt x="511" y="45"/>
                </a:cubicBezTo>
                <a:cubicBezTo>
                  <a:pt x="515" y="45"/>
                  <a:pt x="515" y="45"/>
                  <a:pt x="515" y="45"/>
                </a:cubicBezTo>
                <a:cubicBezTo>
                  <a:pt x="517" y="46"/>
                  <a:pt x="517" y="46"/>
                  <a:pt x="517" y="46"/>
                </a:cubicBezTo>
                <a:cubicBezTo>
                  <a:pt x="518" y="47"/>
                  <a:pt x="518" y="47"/>
                  <a:pt x="518" y="47"/>
                </a:cubicBezTo>
                <a:cubicBezTo>
                  <a:pt x="517" y="47"/>
                  <a:pt x="517" y="47"/>
                  <a:pt x="517" y="47"/>
                </a:cubicBezTo>
                <a:cubicBezTo>
                  <a:pt x="512" y="50"/>
                  <a:pt x="512" y="50"/>
                  <a:pt x="512" y="50"/>
                </a:cubicBezTo>
                <a:cubicBezTo>
                  <a:pt x="508" y="50"/>
                  <a:pt x="508" y="50"/>
                  <a:pt x="508" y="50"/>
                </a:cubicBezTo>
                <a:cubicBezTo>
                  <a:pt x="507" y="50"/>
                  <a:pt x="507" y="50"/>
                  <a:pt x="507" y="50"/>
                </a:cubicBezTo>
                <a:cubicBezTo>
                  <a:pt x="505" y="51"/>
                  <a:pt x="505" y="51"/>
                  <a:pt x="505" y="51"/>
                </a:cubicBezTo>
                <a:cubicBezTo>
                  <a:pt x="503" y="50"/>
                  <a:pt x="503" y="50"/>
                  <a:pt x="503" y="50"/>
                </a:cubicBezTo>
                <a:cubicBezTo>
                  <a:pt x="503" y="50"/>
                  <a:pt x="503" y="50"/>
                  <a:pt x="503" y="50"/>
                </a:cubicBezTo>
                <a:cubicBezTo>
                  <a:pt x="502" y="50"/>
                  <a:pt x="502" y="50"/>
                  <a:pt x="502" y="50"/>
                </a:cubicBezTo>
                <a:cubicBezTo>
                  <a:pt x="501" y="50"/>
                  <a:pt x="501" y="50"/>
                  <a:pt x="501" y="50"/>
                </a:cubicBezTo>
                <a:cubicBezTo>
                  <a:pt x="500" y="50"/>
                  <a:pt x="500" y="50"/>
                  <a:pt x="500" y="50"/>
                </a:cubicBezTo>
                <a:cubicBezTo>
                  <a:pt x="499" y="51"/>
                  <a:pt x="499" y="51"/>
                  <a:pt x="499" y="51"/>
                </a:cubicBezTo>
                <a:cubicBezTo>
                  <a:pt x="500" y="51"/>
                  <a:pt x="500" y="51"/>
                  <a:pt x="500" y="51"/>
                </a:cubicBezTo>
                <a:cubicBezTo>
                  <a:pt x="501" y="52"/>
                  <a:pt x="501" y="52"/>
                  <a:pt x="501" y="52"/>
                </a:cubicBezTo>
                <a:cubicBezTo>
                  <a:pt x="502" y="51"/>
                  <a:pt x="502" y="51"/>
                  <a:pt x="502" y="51"/>
                </a:cubicBezTo>
                <a:cubicBezTo>
                  <a:pt x="506" y="51"/>
                  <a:pt x="506" y="51"/>
                  <a:pt x="506" y="51"/>
                </a:cubicBezTo>
                <a:cubicBezTo>
                  <a:pt x="507" y="51"/>
                  <a:pt x="507" y="51"/>
                  <a:pt x="507" y="51"/>
                </a:cubicBezTo>
                <a:cubicBezTo>
                  <a:pt x="512" y="51"/>
                  <a:pt x="512" y="51"/>
                  <a:pt x="512" y="51"/>
                </a:cubicBezTo>
                <a:cubicBezTo>
                  <a:pt x="515" y="51"/>
                  <a:pt x="515" y="51"/>
                  <a:pt x="515" y="51"/>
                </a:cubicBezTo>
                <a:cubicBezTo>
                  <a:pt x="517" y="49"/>
                  <a:pt x="517" y="49"/>
                  <a:pt x="517" y="49"/>
                </a:cubicBezTo>
                <a:cubicBezTo>
                  <a:pt x="519" y="49"/>
                  <a:pt x="519" y="49"/>
                  <a:pt x="519" y="49"/>
                </a:cubicBezTo>
                <a:cubicBezTo>
                  <a:pt x="520" y="49"/>
                  <a:pt x="520" y="49"/>
                  <a:pt x="520" y="49"/>
                </a:cubicBezTo>
                <a:cubicBezTo>
                  <a:pt x="521" y="49"/>
                  <a:pt x="521" y="49"/>
                  <a:pt x="521" y="49"/>
                </a:cubicBezTo>
                <a:cubicBezTo>
                  <a:pt x="523" y="49"/>
                  <a:pt x="523" y="49"/>
                  <a:pt x="523" y="49"/>
                </a:cubicBezTo>
                <a:cubicBezTo>
                  <a:pt x="522" y="50"/>
                  <a:pt x="522" y="50"/>
                  <a:pt x="522" y="50"/>
                </a:cubicBezTo>
                <a:cubicBezTo>
                  <a:pt x="521" y="52"/>
                  <a:pt x="521" y="52"/>
                  <a:pt x="521" y="52"/>
                </a:cubicBezTo>
                <a:cubicBezTo>
                  <a:pt x="519" y="53"/>
                  <a:pt x="519" y="53"/>
                  <a:pt x="519" y="53"/>
                </a:cubicBezTo>
                <a:cubicBezTo>
                  <a:pt x="519" y="54"/>
                  <a:pt x="519" y="54"/>
                  <a:pt x="519" y="54"/>
                </a:cubicBezTo>
                <a:cubicBezTo>
                  <a:pt x="516" y="54"/>
                  <a:pt x="516" y="54"/>
                  <a:pt x="516" y="54"/>
                </a:cubicBezTo>
                <a:cubicBezTo>
                  <a:pt x="515" y="56"/>
                  <a:pt x="515" y="56"/>
                  <a:pt x="515" y="56"/>
                </a:cubicBezTo>
                <a:cubicBezTo>
                  <a:pt x="514" y="56"/>
                  <a:pt x="514" y="56"/>
                  <a:pt x="514" y="56"/>
                </a:cubicBezTo>
                <a:cubicBezTo>
                  <a:pt x="513" y="57"/>
                  <a:pt x="513" y="57"/>
                  <a:pt x="513" y="57"/>
                </a:cubicBezTo>
                <a:cubicBezTo>
                  <a:pt x="511" y="58"/>
                  <a:pt x="511" y="58"/>
                  <a:pt x="511" y="58"/>
                </a:cubicBezTo>
                <a:cubicBezTo>
                  <a:pt x="510" y="58"/>
                  <a:pt x="510" y="58"/>
                  <a:pt x="510" y="58"/>
                </a:cubicBezTo>
                <a:cubicBezTo>
                  <a:pt x="509" y="58"/>
                  <a:pt x="509" y="58"/>
                  <a:pt x="509" y="58"/>
                </a:cubicBezTo>
                <a:cubicBezTo>
                  <a:pt x="507" y="58"/>
                  <a:pt x="507" y="58"/>
                  <a:pt x="507" y="58"/>
                </a:cubicBezTo>
                <a:cubicBezTo>
                  <a:pt x="506" y="59"/>
                  <a:pt x="506" y="59"/>
                  <a:pt x="506" y="59"/>
                </a:cubicBezTo>
                <a:cubicBezTo>
                  <a:pt x="504" y="60"/>
                  <a:pt x="504" y="60"/>
                  <a:pt x="504" y="60"/>
                </a:cubicBezTo>
                <a:cubicBezTo>
                  <a:pt x="503" y="61"/>
                  <a:pt x="503" y="61"/>
                  <a:pt x="503" y="61"/>
                </a:cubicBezTo>
                <a:cubicBezTo>
                  <a:pt x="501" y="62"/>
                  <a:pt x="501" y="62"/>
                  <a:pt x="501" y="62"/>
                </a:cubicBezTo>
                <a:cubicBezTo>
                  <a:pt x="500" y="62"/>
                  <a:pt x="500" y="62"/>
                  <a:pt x="500" y="62"/>
                </a:cubicBezTo>
                <a:cubicBezTo>
                  <a:pt x="499" y="62"/>
                  <a:pt x="499" y="62"/>
                  <a:pt x="499" y="62"/>
                </a:cubicBezTo>
                <a:cubicBezTo>
                  <a:pt x="498" y="63"/>
                  <a:pt x="498" y="63"/>
                  <a:pt x="498" y="63"/>
                </a:cubicBezTo>
                <a:cubicBezTo>
                  <a:pt x="496" y="63"/>
                  <a:pt x="496" y="63"/>
                  <a:pt x="496" y="63"/>
                </a:cubicBezTo>
                <a:cubicBezTo>
                  <a:pt x="496" y="63"/>
                  <a:pt x="496" y="63"/>
                  <a:pt x="496" y="63"/>
                </a:cubicBezTo>
                <a:cubicBezTo>
                  <a:pt x="496" y="65"/>
                  <a:pt x="496" y="65"/>
                  <a:pt x="496" y="65"/>
                </a:cubicBezTo>
                <a:cubicBezTo>
                  <a:pt x="495" y="66"/>
                  <a:pt x="495" y="66"/>
                  <a:pt x="495" y="66"/>
                </a:cubicBezTo>
                <a:cubicBezTo>
                  <a:pt x="494" y="67"/>
                  <a:pt x="494" y="67"/>
                  <a:pt x="494" y="67"/>
                </a:cubicBezTo>
                <a:cubicBezTo>
                  <a:pt x="491" y="67"/>
                  <a:pt x="491" y="67"/>
                  <a:pt x="491" y="67"/>
                </a:cubicBezTo>
                <a:cubicBezTo>
                  <a:pt x="490" y="67"/>
                  <a:pt x="490" y="67"/>
                  <a:pt x="490" y="67"/>
                </a:cubicBezTo>
                <a:cubicBezTo>
                  <a:pt x="489" y="67"/>
                  <a:pt x="489" y="67"/>
                  <a:pt x="489" y="67"/>
                </a:cubicBezTo>
                <a:cubicBezTo>
                  <a:pt x="489" y="66"/>
                  <a:pt x="489" y="66"/>
                  <a:pt x="489" y="66"/>
                </a:cubicBezTo>
                <a:cubicBezTo>
                  <a:pt x="490" y="66"/>
                  <a:pt x="490" y="66"/>
                  <a:pt x="490" y="66"/>
                </a:cubicBezTo>
                <a:cubicBezTo>
                  <a:pt x="490" y="65"/>
                  <a:pt x="490" y="65"/>
                  <a:pt x="490" y="65"/>
                </a:cubicBezTo>
                <a:cubicBezTo>
                  <a:pt x="489" y="64"/>
                  <a:pt x="489" y="64"/>
                  <a:pt x="489" y="64"/>
                </a:cubicBezTo>
                <a:cubicBezTo>
                  <a:pt x="489" y="66"/>
                  <a:pt x="489" y="66"/>
                  <a:pt x="489" y="66"/>
                </a:cubicBezTo>
                <a:cubicBezTo>
                  <a:pt x="488" y="66"/>
                  <a:pt x="488" y="66"/>
                  <a:pt x="488" y="66"/>
                </a:cubicBezTo>
                <a:cubicBezTo>
                  <a:pt x="488" y="67"/>
                  <a:pt x="488" y="67"/>
                  <a:pt x="488" y="67"/>
                </a:cubicBezTo>
                <a:cubicBezTo>
                  <a:pt x="489" y="68"/>
                  <a:pt x="489" y="68"/>
                  <a:pt x="489" y="68"/>
                </a:cubicBezTo>
                <a:cubicBezTo>
                  <a:pt x="490" y="69"/>
                  <a:pt x="490" y="69"/>
                  <a:pt x="490" y="69"/>
                </a:cubicBezTo>
                <a:cubicBezTo>
                  <a:pt x="489" y="70"/>
                  <a:pt x="489" y="70"/>
                  <a:pt x="489" y="70"/>
                </a:cubicBezTo>
                <a:cubicBezTo>
                  <a:pt x="488" y="70"/>
                  <a:pt x="488" y="70"/>
                  <a:pt x="488" y="70"/>
                </a:cubicBezTo>
                <a:cubicBezTo>
                  <a:pt x="487" y="69"/>
                  <a:pt x="487" y="69"/>
                  <a:pt x="487" y="69"/>
                </a:cubicBezTo>
                <a:cubicBezTo>
                  <a:pt x="486" y="70"/>
                  <a:pt x="486" y="70"/>
                  <a:pt x="486" y="70"/>
                </a:cubicBezTo>
                <a:cubicBezTo>
                  <a:pt x="484" y="69"/>
                  <a:pt x="484" y="69"/>
                  <a:pt x="484" y="69"/>
                </a:cubicBezTo>
                <a:cubicBezTo>
                  <a:pt x="483" y="70"/>
                  <a:pt x="483" y="70"/>
                  <a:pt x="483" y="70"/>
                </a:cubicBezTo>
                <a:cubicBezTo>
                  <a:pt x="482" y="70"/>
                  <a:pt x="482" y="70"/>
                  <a:pt x="482" y="70"/>
                </a:cubicBezTo>
                <a:cubicBezTo>
                  <a:pt x="482" y="69"/>
                  <a:pt x="482" y="69"/>
                  <a:pt x="482" y="69"/>
                </a:cubicBezTo>
                <a:cubicBezTo>
                  <a:pt x="482" y="68"/>
                  <a:pt x="482" y="68"/>
                  <a:pt x="482" y="68"/>
                </a:cubicBezTo>
                <a:cubicBezTo>
                  <a:pt x="481" y="69"/>
                  <a:pt x="481" y="69"/>
                  <a:pt x="481" y="69"/>
                </a:cubicBezTo>
                <a:cubicBezTo>
                  <a:pt x="480" y="70"/>
                  <a:pt x="480" y="70"/>
                  <a:pt x="480" y="70"/>
                </a:cubicBezTo>
                <a:cubicBezTo>
                  <a:pt x="480" y="70"/>
                  <a:pt x="480" y="70"/>
                  <a:pt x="480" y="70"/>
                </a:cubicBezTo>
                <a:cubicBezTo>
                  <a:pt x="482" y="71"/>
                  <a:pt x="482" y="71"/>
                  <a:pt x="482" y="71"/>
                </a:cubicBezTo>
                <a:cubicBezTo>
                  <a:pt x="485" y="71"/>
                  <a:pt x="485" y="71"/>
                  <a:pt x="485" y="71"/>
                </a:cubicBezTo>
                <a:cubicBezTo>
                  <a:pt x="486" y="72"/>
                  <a:pt x="486" y="72"/>
                  <a:pt x="486" y="72"/>
                </a:cubicBezTo>
                <a:cubicBezTo>
                  <a:pt x="486" y="73"/>
                  <a:pt x="486" y="73"/>
                  <a:pt x="486" y="73"/>
                </a:cubicBezTo>
                <a:cubicBezTo>
                  <a:pt x="485" y="74"/>
                  <a:pt x="485" y="74"/>
                  <a:pt x="485" y="74"/>
                </a:cubicBezTo>
                <a:cubicBezTo>
                  <a:pt x="483" y="73"/>
                  <a:pt x="483" y="73"/>
                  <a:pt x="483" y="73"/>
                </a:cubicBezTo>
                <a:cubicBezTo>
                  <a:pt x="481" y="74"/>
                  <a:pt x="481" y="74"/>
                  <a:pt x="481" y="74"/>
                </a:cubicBezTo>
                <a:cubicBezTo>
                  <a:pt x="481" y="74"/>
                  <a:pt x="481" y="74"/>
                  <a:pt x="481" y="74"/>
                </a:cubicBezTo>
                <a:cubicBezTo>
                  <a:pt x="482" y="75"/>
                  <a:pt x="482" y="75"/>
                  <a:pt x="482" y="75"/>
                </a:cubicBezTo>
                <a:cubicBezTo>
                  <a:pt x="482" y="74"/>
                  <a:pt x="482" y="74"/>
                  <a:pt x="482" y="74"/>
                </a:cubicBezTo>
                <a:cubicBezTo>
                  <a:pt x="483" y="75"/>
                  <a:pt x="483" y="75"/>
                  <a:pt x="483" y="75"/>
                </a:cubicBezTo>
                <a:cubicBezTo>
                  <a:pt x="483" y="76"/>
                  <a:pt x="483" y="76"/>
                  <a:pt x="483" y="76"/>
                </a:cubicBezTo>
                <a:cubicBezTo>
                  <a:pt x="481" y="78"/>
                  <a:pt x="481" y="78"/>
                  <a:pt x="481" y="78"/>
                </a:cubicBezTo>
                <a:cubicBezTo>
                  <a:pt x="479" y="78"/>
                  <a:pt x="479" y="78"/>
                  <a:pt x="479" y="78"/>
                </a:cubicBezTo>
                <a:cubicBezTo>
                  <a:pt x="476" y="78"/>
                  <a:pt x="476" y="78"/>
                  <a:pt x="476" y="78"/>
                </a:cubicBezTo>
                <a:cubicBezTo>
                  <a:pt x="476" y="77"/>
                  <a:pt x="476" y="77"/>
                  <a:pt x="476" y="77"/>
                </a:cubicBezTo>
                <a:cubicBezTo>
                  <a:pt x="474" y="77"/>
                  <a:pt x="474" y="77"/>
                  <a:pt x="474" y="77"/>
                </a:cubicBezTo>
                <a:cubicBezTo>
                  <a:pt x="474" y="76"/>
                  <a:pt x="474" y="76"/>
                  <a:pt x="474" y="76"/>
                </a:cubicBezTo>
                <a:cubicBezTo>
                  <a:pt x="474" y="74"/>
                  <a:pt x="474" y="74"/>
                  <a:pt x="474" y="74"/>
                </a:cubicBezTo>
                <a:cubicBezTo>
                  <a:pt x="472" y="74"/>
                  <a:pt x="472" y="74"/>
                  <a:pt x="472" y="74"/>
                </a:cubicBezTo>
                <a:cubicBezTo>
                  <a:pt x="471" y="73"/>
                  <a:pt x="471" y="73"/>
                  <a:pt x="471" y="73"/>
                </a:cubicBezTo>
                <a:cubicBezTo>
                  <a:pt x="471" y="72"/>
                  <a:pt x="471" y="72"/>
                  <a:pt x="471" y="72"/>
                </a:cubicBezTo>
                <a:cubicBezTo>
                  <a:pt x="471" y="71"/>
                  <a:pt x="471" y="71"/>
                  <a:pt x="471" y="71"/>
                </a:cubicBezTo>
                <a:cubicBezTo>
                  <a:pt x="470" y="72"/>
                  <a:pt x="470" y="72"/>
                  <a:pt x="470" y="72"/>
                </a:cubicBezTo>
                <a:cubicBezTo>
                  <a:pt x="469" y="71"/>
                  <a:pt x="469" y="71"/>
                  <a:pt x="469" y="71"/>
                </a:cubicBezTo>
                <a:cubicBezTo>
                  <a:pt x="467" y="72"/>
                  <a:pt x="467" y="72"/>
                  <a:pt x="467" y="72"/>
                </a:cubicBezTo>
                <a:cubicBezTo>
                  <a:pt x="467" y="72"/>
                  <a:pt x="467" y="72"/>
                  <a:pt x="467" y="72"/>
                </a:cubicBezTo>
                <a:cubicBezTo>
                  <a:pt x="468" y="73"/>
                  <a:pt x="468" y="73"/>
                  <a:pt x="468" y="73"/>
                </a:cubicBezTo>
                <a:cubicBezTo>
                  <a:pt x="468" y="72"/>
                  <a:pt x="468" y="72"/>
                  <a:pt x="468" y="72"/>
                </a:cubicBezTo>
                <a:cubicBezTo>
                  <a:pt x="469" y="72"/>
                  <a:pt x="469" y="72"/>
                  <a:pt x="469" y="72"/>
                </a:cubicBezTo>
                <a:cubicBezTo>
                  <a:pt x="472" y="75"/>
                  <a:pt x="472" y="75"/>
                  <a:pt x="472" y="75"/>
                </a:cubicBezTo>
                <a:cubicBezTo>
                  <a:pt x="472" y="79"/>
                  <a:pt x="472" y="79"/>
                  <a:pt x="472" y="79"/>
                </a:cubicBezTo>
                <a:cubicBezTo>
                  <a:pt x="471" y="79"/>
                  <a:pt x="471" y="79"/>
                  <a:pt x="471" y="79"/>
                </a:cubicBezTo>
                <a:cubicBezTo>
                  <a:pt x="470" y="79"/>
                  <a:pt x="470" y="79"/>
                  <a:pt x="470" y="79"/>
                </a:cubicBezTo>
                <a:cubicBezTo>
                  <a:pt x="469" y="78"/>
                  <a:pt x="469" y="78"/>
                  <a:pt x="469" y="78"/>
                </a:cubicBezTo>
                <a:cubicBezTo>
                  <a:pt x="468" y="78"/>
                  <a:pt x="468" y="78"/>
                  <a:pt x="468" y="78"/>
                </a:cubicBezTo>
                <a:cubicBezTo>
                  <a:pt x="468" y="79"/>
                  <a:pt x="468" y="79"/>
                  <a:pt x="468" y="79"/>
                </a:cubicBezTo>
                <a:cubicBezTo>
                  <a:pt x="468" y="80"/>
                  <a:pt x="468" y="80"/>
                  <a:pt x="468" y="80"/>
                </a:cubicBezTo>
                <a:cubicBezTo>
                  <a:pt x="467" y="78"/>
                  <a:pt x="467" y="78"/>
                  <a:pt x="467" y="78"/>
                </a:cubicBezTo>
                <a:cubicBezTo>
                  <a:pt x="466" y="78"/>
                  <a:pt x="466" y="78"/>
                  <a:pt x="466" y="78"/>
                </a:cubicBezTo>
                <a:cubicBezTo>
                  <a:pt x="465" y="79"/>
                  <a:pt x="465" y="79"/>
                  <a:pt x="465" y="79"/>
                </a:cubicBezTo>
                <a:cubicBezTo>
                  <a:pt x="464" y="79"/>
                  <a:pt x="464" y="79"/>
                  <a:pt x="464" y="79"/>
                </a:cubicBezTo>
                <a:cubicBezTo>
                  <a:pt x="464" y="79"/>
                  <a:pt x="464" y="79"/>
                  <a:pt x="464" y="79"/>
                </a:cubicBezTo>
                <a:cubicBezTo>
                  <a:pt x="462" y="78"/>
                  <a:pt x="462" y="78"/>
                  <a:pt x="462" y="78"/>
                </a:cubicBezTo>
                <a:cubicBezTo>
                  <a:pt x="461" y="77"/>
                  <a:pt x="461" y="77"/>
                  <a:pt x="461" y="77"/>
                </a:cubicBezTo>
                <a:cubicBezTo>
                  <a:pt x="461" y="77"/>
                  <a:pt x="461" y="77"/>
                  <a:pt x="461" y="77"/>
                </a:cubicBezTo>
                <a:cubicBezTo>
                  <a:pt x="460" y="76"/>
                  <a:pt x="460" y="76"/>
                  <a:pt x="460" y="76"/>
                </a:cubicBezTo>
                <a:cubicBezTo>
                  <a:pt x="460" y="76"/>
                  <a:pt x="460" y="76"/>
                  <a:pt x="460" y="76"/>
                </a:cubicBezTo>
                <a:cubicBezTo>
                  <a:pt x="458" y="75"/>
                  <a:pt x="458" y="75"/>
                  <a:pt x="458" y="75"/>
                </a:cubicBezTo>
                <a:cubicBezTo>
                  <a:pt x="457" y="74"/>
                  <a:pt x="457" y="74"/>
                  <a:pt x="457" y="74"/>
                </a:cubicBezTo>
                <a:cubicBezTo>
                  <a:pt x="457" y="75"/>
                  <a:pt x="457" y="75"/>
                  <a:pt x="457" y="75"/>
                </a:cubicBezTo>
                <a:cubicBezTo>
                  <a:pt x="457" y="76"/>
                  <a:pt x="457" y="76"/>
                  <a:pt x="457" y="76"/>
                </a:cubicBezTo>
                <a:cubicBezTo>
                  <a:pt x="458" y="76"/>
                  <a:pt x="458" y="76"/>
                  <a:pt x="458" y="76"/>
                </a:cubicBezTo>
                <a:cubicBezTo>
                  <a:pt x="460" y="77"/>
                  <a:pt x="460" y="77"/>
                  <a:pt x="460" y="77"/>
                </a:cubicBezTo>
                <a:cubicBezTo>
                  <a:pt x="461" y="79"/>
                  <a:pt x="461" y="79"/>
                  <a:pt x="461" y="79"/>
                </a:cubicBezTo>
                <a:cubicBezTo>
                  <a:pt x="460" y="80"/>
                  <a:pt x="460" y="80"/>
                  <a:pt x="460" y="80"/>
                </a:cubicBezTo>
                <a:cubicBezTo>
                  <a:pt x="457" y="79"/>
                  <a:pt x="457" y="79"/>
                  <a:pt x="457" y="79"/>
                </a:cubicBezTo>
                <a:cubicBezTo>
                  <a:pt x="456" y="78"/>
                  <a:pt x="456" y="78"/>
                  <a:pt x="456" y="78"/>
                </a:cubicBezTo>
                <a:cubicBezTo>
                  <a:pt x="456" y="77"/>
                  <a:pt x="456" y="77"/>
                  <a:pt x="456" y="77"/>
                </a:cubicBezTo>
                <a:cubicBezTo>
                  <a:pt x="455" y="76"/>
                  <a:pt x="455" y="76"/>
                  <a:pt x="455" y="76"/>
                </a:cubicBezTo>
                <a:cubicBezTo>
                  <a:pt x="455" y="77"/>
                  <a:pt x="455" y="77"/>
                  <a:pt x="455" y="77"/>
                </a:cubicBezTo>
                <a:cubicBezTo>
                  <a:pt x="455" y="77"/>
                  <a:pt x="455" y="77"/>
                  <a:pt x="455" y="77"/>
                </a:cubicBezTo>
                <a:cubicBezTo>
                  <a:pt x="455" y="78"/>
                  <a:pt x="455" y="78"/>
                  <a:pt x="455" y="78"/>
                </a:cubicBezTo>
                <a:cubicBezTo>
                  <a:pt x="454" y="78"/>
                  <a:pt x="454" y="78"/>
                  <a:pt x="454" y="78"/>
                </a:cubicBezTo>
                <a:cubicBezTo>
                  <a:pt x="453" y="77"/>
                  <a:pt x="453" y="77"/>
                  <a:pt x="453" y="77"/>
                </a:cubicBezTo>
                <a:cubicBezTo>
                  <a:pt x="452" y="77"/>
                  <a:pt x="452" y="77"/>
                  <a:pt x="452" y="77"/>
                </a:cubicBezTo>
                <a:cubicBezTo>
                  <a:pt x="452" y="78"/>
                  <a:pt x="452" y="78"/>
                  <a:pt x="452" y="78"/>
                </a:cubicBezTo>
                <a:cubicBezTo>
                  <a:pt x="454" y="79"/>
                  <a:pt x="454" y="79"/>
                  <a:pt x="454" y="79"/>
                </a:cubicBezTo>
                <a:cubicBezTo>
                  <a:pt x="454" y="80"/>
                  <a:pt x="454" y="80"/>
                  <a:pt x="454" y="80"/>
                </a:cubicBezTo>
                <a:cubicBezTo>
                  <a:pt x="454" y="80"/>
                  <a:pt x="454" y="80"/>
                  <a:pt x="454" y="80"/>
                </a:cubicBezTo>
                <a:cubicBezTo>
                  <a:pt x="455" y="80"/>
                  <a:pt x="455" y="80"/>
                  <a:pt x="455" y="80"/>
                </a:cubicBezTo>
                <a:cubicBezTo>
                  <a:pt x="456" y="80"/>
                  <a:pt x="456" y="80"/>
                  <a:pt x="456" y="80"/>
                </a:cubicBezTo>
                <a:cubicBezTo>
                  <a:pt x="457" y="80"/>
                  <a:pt x="457" y="80"/>
                  <a:pt x="457" y="80"/>
                </a:cubicBezTo>
                <a:cubicBezTo>
                  <a:pt x="458" y="81"/>
                  <a:pt x="458" y="81"/>
                  <a:pt x="458" y="81"/>
                </a:cubicBezTo>
                <a:cubicBezTo>
                  <a:pt x="459" y="82"/>
                  <a:pt x="459" y="82"/>
                  <a:pt x="459" y="82"/>
                </a:cubicBezTo>
                <a:cubicBezTo>
                  <a:pt x="460" y="82"/>
                  <a:pt x="460" y="82"/>
                  <a:pt x="460" y="82"/>
                </a:cubicBezTo>
                <a:cubicBezTo>
                  <a:pt x="461" y="82"/>
                  <a:pt x="461" y="82"/>
                  <a:pt x="461" y="82"/>
                </a:cubicBezTo>
                <a:cubicBezTo>
                  <a:pt x="464" y="82"/>
                  <a:pt x="464" y="82"/>
                  <a:pt x="464" y="82"/>
                </a:cubicBezTo>
                <a:cubicBezTo>
                  <a:pt x="465" y="83"/>
                  <a:pt x="465" y="83"/>
                  <a:pt x="465" y="83"/>
                </a:cubicBezTo>
                <a:cubicBezTo>
                  <a:pt x="464" y="84"/>
                  <a:pt x="464" y="84"/>
                  <a:pt x="464" y="84"/>
                </a:cubicBezTo>
                <a:cubicBezTo>
                  <a:pt x="464" y="85"/>
                  <a:pt x="464" y="85"/>
                  <a:pt x="464" y="85"/>
                </a:cubicBezTo>
                <a:cubicBezTo>
                  <a:pt x="464" y="86"/>
                  <a:pt x="464" y="86"/>
                  <a:pt x="464" y="86"/>
                </a:cubicBezTo>
                <a:cubicBezTo>
                  <a:pt x="464" y="87"/>
                  <a:pt x="464" y="87"/>
                  <a:pt x="464" y="87"/>
                </a:cubicBezTo>
                <a:cubicBezTo>
                  <a:pt x="464" y="88"/>
                  <a:pt x="464" y="88"/>
                  <a:pt x="464" y="88"/>
                </a:cubicBezTo>
                <a:cubicBezTo>
                  <a:pt x="463" y="88"/>
                  <a:pt x="463" y="88"/>
                  <a:pt x="463" y="88"/>
                </a:cubicBezTo>
                <a:cubicBezTo>
                  <a:pt x="462" y="87"/>
                  <a:pt x="462" y="87"/>
                  <a:pt x="462" y="87"/>
                </a:cubicBezTo>
                <a:cubicBezTo>
                  <a:pt x="461" y="86"/>
                  <a:pt x="461" y="86"/>
                  <a:pt x="461" y="86"/>
                </a:cubicBezTo>
                <a:cubicBezTo>
                  <a:pt x="459" y="85"/>
                  <a:pt x="459" y="85"/>
                  <a:pt x="459" y="85"/>
                </a:cubicBezTo>
                <a:cubicBezTo>
                  <a:pt x="458" y="84"/>
                  <a:pt x="458" y="84"/>
                  <a:pt x="458" y="84"/>
                </a:cubicBezTo>
                <a:cubicBezTo>
                  <a:pt x="459" y="83"/>
                  <a:pt x="459" y="83"/>
                  <a:pt x="459" y="83"/>
                </a:cubicBezTo>
                <a:cubicBezTo>
                  <a:pt x="458" y="82"/>
                  <a:pt x="458" y="82"/>
                  <a:pt x="458" y="82"/>
                </a:cubicBezTo>
                <a:cubicBezTo>
                  <a:pt x="456" y="82"/>
                  <a:pt x="456" y="82"/>
                  <a:pt x="456" y="82"/>
                </a:cubicBezTo>
                <a:cubicBezTo>
                  <a:pt x="453" y="81"/>
                  <a:pt x="453" y="81"/>
                  <a:pt x="453" y="81"/>
                </a:cubicBezTo>
                <a:cubicBezTo>
                  <a:pt x="452" y="80"/>
                  <a:pt x="452" y="80"/>
                  <a:pt x="452" y="80"/>
                </a:cubicBezTo>
                <a:cubicBezTo>
                  <a:pt x="451" y="81"/>
                  <a:pt x="451" y="81"/>
                  <a:pt x="451" y="81"/>
                </a:cubicBezTo>
                <a:cubicBezTo>
                  <a:pt x="451" y="81"/>
                  <a:pt x="451" y="81"/>
                  <a:pt x="451" y="81"/>
                </a:cubicBezTo>
                <a:cubicBezTo>
                  <a:pt x="453" y="82"/>
                  <a:pt x="453" y="82"/>
                  <a:pt x="453" y="82"/>
                </a:cubicBezTo>
                <a:cubicBezTo>
                  <a:pt x="455" y="82"/>
                  <a:pt x="455" y="82"/>
                  <a:pt x="455" y="82"/>
                </a:cubicBezTo>
                <a:cubicBezTo>
                  <a:pt x="458" y="83"/>
                  <a:pt x="458" y="83"/>
                  <a:pt x="458" y="83"/>
                </a:cubicBezTo>
                <a:cubicBezTo>
                  <a:pt x="458" y="84"/>
                  <a:pt x="458" y="84"/>
                  <a:pt x="458" y="84"/>
                </a:cubicBezTo>
                <a:cubicBezTo>
                  <a:pt x="457" y="84"/>
                  <a:pt x="457" y="84"/>
                  <a:pt x="457" y="84"/>
                </a:cubicBezTo>
                <a:cubicBezTo>
                  <a:pt x="456" y="84"/>
                  <a:pt x="456" y="84"/>
                  <a:pt x="456" y="84"/>
                </a:cubicBezTo>
                <a:cubicBezTo>
                  <a:pt x="453" y="83"/>
                  <a:pt x="453" y="83"/>
                  <a:pt x="453" y="83"/>
                </a:cubicBezTo>
                <a:cubicBezTo>
                  <a:pt x="452" y="84"/>
                  <a:pt x="452" y="84"/>
                  <a:pt x="452" y="84"/>
                </a:cubicBezTo>
                <a:cubicBezTo>
                  <a:pt x="452" y="83"/>
                  <a:pt x="452" y="83"/>
                  <a:pt x="452" y="83"/>
                </a:cubicBezTo>
                <a:cubicBezTo>
                  <a:pt x="451" y="83"/>
                  <a:pt x="451" y="83"/>
                  <a:pt x="451" y="83"/>
                </a:cubicBezTo>
                <a:cubicBezTo>
                  <a:pt x="449" y="82"/>
                  <a:pt x="449" y="82"/>
                  <a:pt x="449" y="82"/>
                </a:cubicBezTo>
                <a:cubicBezTo>
                  <a:pt x="448" y="82"/>
                  <a:pt x="448" y="82"/>
                  <a:pt x="448" y="82"/>
                </a:cubicBezTo>
                <a:cubicBezTo>
                  <a:pt x="448" y="82"/>
                  <a:pt x="448" y="82"/>
                  <a:pt x="448" y="82"/>
                </a:cubicBezTo>
                <a:cubicBezTo>
                  <a:pt x="450" y="83"/>
                  <a:pt x="450" y="83"/>
                  <a:pt x="450" y="83"/>
                </a:cubicBezTo>
                <a:cubicBezTo>
                  <a:pt x="450" y="84"/>
                  <a:pt x="450" y="84"/>
                  <a:pt x="450" y="84"/>
                </a:cubicBezTo>
                <a:cubicBezTo>
                  <a:pt x="450" y="85"/>
                  <a:pt x="450" y="85"/>
                  <a:pt x="450" y="85"/>
                </a:cubicBezTo>
                <a:cubicBezTo>
                  <a:pt x="451" y="85"/>
                  <a:pt x="451" y="85"/>
                  <a:pt x="451" y="85"/>
                </a:cubicBezTo>
                <a:cubicBezTo>
                  <a:pt x="451" y="85"/>
                  <a:pt x="451" y="85"/>
                  <a:pt x="451" y="85"/>
                </a:cubicBezTo>
                <a:cubicBezTo>
                  <a:pt x="452" y="85"/>
                  <a:pt x="452" y="85"/>
                  <a:pt x="452" y="85"/>
                </a:cubicBezTo>
                <a:cubicBezTo>
                  <a:pt x="453" y="85"/>
                  <a:pt x="453" y="85"/>
                  <a:pt x="453" y="85"/>
                </a:cubicBezTo>
                <a:cubicBezTo>
                  <a:pt x="453" y="84"/>
                  <a:pt x="453" y="84"/>
                  <a:pt x="453" y="84"/>
                </a:cubicBezTo>
                <a:cubicBezTo>
                  <a:pt x="454" y="85"/>
                  <a:pt x="454" y="85"/>
                  <a:pt x="454" y="85"/>
                </a:cubicBezTo>
                <a:cubicBezTo>
                  <a:pt x="455" y="85"/>
                  <a:pt x="455" y="85"/>
                  <a:pt x="455" y="85"/>
                </a:cubicBezTo>
                <a:cubicBezTo>
                  <a:pt x="456" y="85"/>
                  <a:pt x="456" y="85"/>
                  <a:pt x="456" y="85"/>
                </a:cubicBezTo>
                <a:cubicBezTo>
                  <a:pt x="458" y="87"/>
                  <a:pt x="458" y="87"/>
                  <a:pt x="458" y="87"/>
                </a:cubicBezTo>
                <a:cubicBezTo>
                  <a:pt x="458" y="87"/>
                  <a:pt x="458" y="87"/>
                  <a:pt x="458" y="87"/>
                </a:cubicBezTo>
                <a:cubicBezTo>
                  <a:pt x="456" y="87"/>
                  <a:pt x="456" y="87"/>
                  <a:pt x="456" y="87"/>
                </a:cubicBezTo>
                <a:cubicBezTo>
                  <a:pt x="455" y="88"/>
                  <a:pt x="455" y="88"/>
                  <a:pt x="455" y="88"/>
                </a:cubicBezTo>
                <a:cubicBezTo>
                  <a:pt x="455" y="88"/>
                  <a:pt x="455" y="88"/>
                  <a:pt x="455" y="88"/>
                </a:cubicBezTo>
                <a:cubicBezTo>
                  <a:pt x="456" y="88"/>
                  <a:pt x="456" y="88"/>
                  <a:pt x="456" y="88"/>
                </a:cubicBezTo>
                <a:cubicBezTo>
                  <a:pt x="457" y="88"/>
                  <a:pt x="457" y="88"/>
                  <a:pt x="457" y="88"/>
                </a:cubicBezTo>
                <a:cubicBezTo>
                  <a:pt x="458" y="88"/>
                  <a:pt x="458" y="88"/>
                  <a:pt x="458" y="88"/>
                </a:cubicBezTo>
                <a:cubicBezTo>
                  <a:pt x="459" y="89"/>
                  <a:pt x="459" y="89"/>
                  <a:pt x="459" y="89"/>
                </a:cubicBezTo>
                <a:cubicBezTo>
                  <a:pt x="460" y="90"/>
                  <a:pt x="460" y="90"/>
                  <a:pt x="460" y="90"/>
                </a:cubicBezTo>
                <a:cubicBezTo>
                  <a:pt x="460" y="91"/>
                  <a:pt x="460" y="91"/>
                  <a:pt x="460" y="91"/>
                </a:cubicBezTo>
                <a:cubicBezTo>
                  <a:pt x="459" y="93"/>
                  <a:pt x="459" y="93"/>
                  <a:pt x="459" y="93"/>
                </a:cubicBezTo>
                <a:cubicBezTo>
                  <a:pt x="458" y="95"/>
                  <a:pt x="458" y="95"/>
                  <a:pt x="458" y="95"/>
                </a:cubicBezTo>
                <a:cubicBezTo>
                  <a:pt x="458" y="95"/>
                  <a:pt x="458" y="95"/>
                  <a:pt x="458" y="95"/>
                </a:cubicBezTo>
                <a:cubicBezTo>
                  <a:pt x="456" y="97"/>
                  <a:pt x="456" y="97"/>
                  <a:pt x="456" y="97"/>
                </a:cubicBezTo>
                <a:cubicBezTo>
                  <a:pt x="455" y="96"/>
                  <a:pt x="455" y="96"/>
                  <a:pt x="455" y="96"/>
                </a:cubicBezTo>
                <a:cubicBezTo>
                  <a:pt x="454" y="96"/>
                  <a:pt x="454" y="96"/>
                  <a:pt x="454" y="96"/>
                </a:cubicBezTo>
                <a:cubicBezTo>
                  <a:pt x="453" y="96"/>
                  <a:pt x="453" y="96"/>
                  <a:pt x="453" y="96"/>
                </a:cubicBezTo>
                <a:cubicBezTo>
                  <a:pt x="453" y="95"/>
                  <a:pt x="453" y="95"/>
                  <a:pt x="453" y="95"/>
                </a:cubicBezTo>
                <a:cubicBezTo>
                  <a:pt x="452" y="94"/>
                  <a:pt x="452" y="94"/>
                  <a:pt x="452" y="94"/>
                </a:cubicBezTo>
                <a:cubicBezTo>
                  <a:pt x="450" y="94"/>
                  <a:pt x="450" y="94"/>
                  <a:pt x="450" y="94"/>
                </a:cubicBezTo>
                <a:cubicBezTo>
                  <a:pt x="451" y="95"/>
                  <a:pt x="451" y="95"/>
                  <a:pt x="451" y="95"/>
                </a:cubicBezTo>
                <a:cubicBezTo>
                  <a:pt x="452" y="96"/>
                  <a:pt x="452" y="96"/>
                  <a:pt x="452" y="96"/>
                </a:cubicBezTo>
                <a:cubicBezTo>
                  <a:pt x="452" y="96"/>
                  <a:pt x="452" y="96"/>
                  <a:pt x="452" y="96"/>
                </a:cubicBezTo>
                <a:cubicBezTo>
                  <a:pt x="453" y="96"/>
                  <a:pt x="453" y="96"/>
                  <a:pt x="453" y="96"/>
                </a:cubicBezTo>
                <a:cubicBezTo>
                  <a:pt x="455" y="97"/>
                  <a:pt x="455" y="97"/>
                  <a:pt x="455" y="97"/>
                </a:cubicBezTo>
                <a:cubicBezTo>
                  <a:pt x="455" y="99"/>
                  <a:pt x="455" y="99"/>
                  <a:pt x="455" y="99"/>
                </a:cubicBezTo>
                <a:cubicBezTo>
                  <a:pt x="454" y="100"/>
                  <a:pt x="454" y="100"/>
                  <a:pt x="454" y="100"/>
                </a:cubicBezTo>
                <a:cubicBezTo>
                  <a:pt x="453" y="100"/>
                  <a:pt x="453" y="100"/>
                  <a:pt x="453" y="100"/>
                </a:cubicBezTo>
                <a:cubicBezTo>
                  <a:pt x="452" y="101"/>
                  <a:pt x="452" y="101"/>
                  <a:pt x="452" y="101"/>
                </a:cubicBezTo>
                <a:cubicBezTo>
                  <a:pt x="451" y="101"/>
                  <a:pt x="451" y="101"/>
                  <a:pt x="451" y="101"/>
                </a:cubicBezTo>
                <a:cubicBezTo>
                  <a:pt x="449" y="100"/>
                  <a:pt x="449" y="100"/>
                  <a:pt x="449" y="100"/>
                </a:cubicBezTo>
                <a:cubicBezTo>
                  <a:pt x="448" y="100"/>
                  <a:pt x="448" y="100"/>
                  <a:pt x="448" y="100"/>
                </a:cubicBezTo>
                <a:cubicBezTo>
                  <a:pt x="448" y="99"/>
                  <a:pt x="448" y="99"/>
                  <a:pt x="448" y="99"/>
                </a:cubicBezTo>
                <a:cubicBezTo>
                  <a:pt x="446" y="99"/>
                  <a:pt x="446" y="99"/>
                  <a:pt x="446" y="99"/>
                </a:cubicBezTo>
                <a:cubicBezTo>
                  <a:pt x="446" y="100"/>
                  <a:pt x="446" y="100"/>
                  <a:pt x="446" y="100"/>
                </a:cubicBezTo>
                <a:cubicBezTo>
                  <a:pt x="446" y="101"/>
                  <a:pt x="446" y="101"/>
                  <a:pt x="446" y="101"/>
                </a:cubicBezTo>
                <a:cubicBezTo>
                  <a:pt x="450" y="103"/>
                  <a:pt x="450" y="103"/>
                  <a:pt x="450" y="103"/>
                </a:cubicBezTo>
                <a:cubicBezTo>
                  <a:pt x="451" y="103"/>
                  <a:pt x="451" y="103"/>
                  <a:pt x="451" y="103"/>
                </a:cubicBezTo>
                <a:cubicBezTo>
                  <a:pt x="451" y="103"/>
                  <a:pt x="451" y="103"/>
                  <a:pt x="451" y="103"/>
                </a:cubicBezTo>
                <a:cubicBezTo>
                  <a:pt x="450" y="104"/>
                  <a:pt x="450" y="104"/>
                  <a:pt x="450" y="104"/>
                </a:cubicBezTo>
                <a:cubicBezTo>
                  <a:pt x="449" y="105"/>
                  <a:pt x="449" y="105"/>
                  <a:pt x="449" y="105"/>
                </a:cubicBezTo>
                <a:cubicBezTo>
                  <a:pt x="448" y="105"/>
                  <a:pt x="448" y="105"/>
                  <a:pt x="448" y="105"/>
                </a:cubicBezTo>
                <a:cubicBezTo>
                  <a:pt x="447" y="104"/>
                  <a:pt x="447" y="104"/>
                  <a:pt x="447" y="104"/>
                </a:cubicBezTo>
                <a:cubicBezTo>
                  <a:pt x="446" y="104"/>
                  <a:pt x="446" y="104"/>
                  <a:pt x="446" y="104"/>
                </a:cubicBezTo>
                <a:cubicBezTo>
                  <a:pt x="445" y="105"/>
                  <a:pt x="445" y="105"/>
                  <a:pt x="445" y="105"/>
                </a:cubicBezTo>
                <a:cubicBezTo>
                  <a:pt x="443" y="105"/>
                  <a:pt x="443" y="105"/>
                  <a:pt x="443" y="105"/>
                </a:cubicBezTo>
                <a:cubicBezTo>
                  <a:pt x="442" y="104"/>
                  <a:pt x="442" y="104"/>
                  <a:pt x="442" y="104"/>
                </a:cubicBezTo>
                <a:cubicBezTo>
                  <a:pt x="439" y="104"/>
                  <a:pt x="439" y="104"/>
                  <a:pt x="439" y="104"/>
                </a:cubicBezTo>
                <a:cubicBezTo>
                  <a:pt x="438" y="104"/>
                  <a:pt x="438" y="104"/>
                  <a:pt x="438" y="104"/>
                </a:cubicBezTo>
                <a:cubicBezTo>
                  <a:pt x="438" y="106"/>
                  <a:pt x="438" y="106"/>
                  <a:pt x="438" y="106"/>
                </a:cubicBezTo>
                <a:cubicBezTo>
                  <a:pt x="436" y="107"/>
                  <a:pt x="436" y="107"/>
                  <a:pt x="436" y="107"/>
                </a:cubicBezTo>
                <a:cubicBezTo>
                  <a:pt x="437" y="107"/>
                  <a:pt x="437" y="107"/>
                  <a:pt x="437" y="107"/>
                </a:cubicBezTo>
                <a:cubicBezTo>
                  <a:pt x="438" y="108"/>
                  <a:pt x="438" y="108"/>
                  <a:pt x="438" y="108"/>
                </a:cubicBezTo>
                <a:cubicBezTo>
                  <a:pt x="438" y="109"/>
                  <a:pt x="438" y="109"/>
                  <a:pt x="438" y="109"/>
                </a:cubicBezTo>
                <a:cubicBezTo>
                  <a:pt x="436" y="110"/>
                  <a:pt x="436" y="110"/>
                  <a:pt x="436" y="110"/>
                </a:cubicBezTo>
                <a:cubicBezTo>
                  <a:pt x="436" y="111"/>
                  <a:pt x="436" y="111"/>
                  <a:pt x="436" y="111"/>
                </a:cubicBezTo>
                <a:cubicBezTo>
                  <a:pt x="435" y="112"/>
                  <a:pt x="435" y="112"/>
                  <a:pt x="435" y="112"/>
                </a:cubicBezTo>
                <a:cubicBezTo>
                  <a:pt x="434" y="112"/>
                  <a:pt x="434" y="112"/>
                  <a:pt x="434" y="112"/>
                </a:cubicBezTo>
                <a:cubicBezTo>
                  <a:pt x="434" y="112"/>
                  <a:pt x="434" y="112"/>
                  <a:pt x="434" y="112"/>
                </a:cubicBezTo>
                <a:cubicBezTo>
                  <a:pt x="434" y="113"/>
                  <a:pt x="434" y="113"/>
                  <a:pt x="434" y="113"/>
                </a:cubicBezTo>
                <a:cubicBezTo>
                  <a:pt x="432" y="113"/>
                  <a:pt x="432" y="113"/>
                  <a:pt x="432" y="113"/>
                </a:cubicBezTo>
                <a:cubicBezTo>
                  <a:pt x="431" y="113"/>
                  <a:pt x="431" y="113"/>
                  <a:pt x="431" y="113"/>
                </a:cubicBezTo>
                <a:cubicBezTo>
                  <a:pt x="432" y="112"/>
                  <a:pt x="432" y="112"/>
                  <a:pt x="432" y="112"/>
                </a:cubicBezTo>
                <a:cubicBezTo>
                  <a:pt x="431" y="112"/>
                  <a:pt x="431" y="112"/>
                  <a:pt x="431" y="112"/>
                </a:cubicBezTo>
                <a:cubicBezTo>
                  <a:pt x="431" y="113"/>
                  <a:pt x="431" y="113"/>
                  <a:pt x="431" y="113"/>
                </a:cubicBezTo>
                <a:cubicBezTo>
                  <a:pt x="430" y="115"/>
                  <a:pt x="430" y="115"/>
                  <a:pt x="430" y="115"/>
                </a:cubicBezTo>
                <a:cubicBezTo>
                  <a:pt x="429" y="115"/>
                  <a:pt x="429" y="115"/>
                  <a:pt x="429" y="115"/>
                </a:cubicBezTo>
                <a:cubicBezTo>
                  <a:pt x="426" y="114"/>
                  <a:pt x="426" y="114"/>
                  <a:pt x="426" y="114"/>
                </a:cubicBezTo>
                <a:cubicBezTo>
                  <a:pt x="425" y="114"/>
                  <a:pt x="425" y="114"/>
                  <a:pt x="425" y="114"/>
                </a:cubicBezTo>
                <a:cubicBezTo>
                  <a:pt x="424" y="114"/>
                  <a:pt x="424" y="114"/>
                  <a:pt x="424" y="114"/>
                </a:cubicBezTo>
                <a:cubicBezTo>
                  <a:pt x="423" y="114"/>
                  <a:pt x="423" y="114"/>
                  <a:pt x="423" y="114"/>
                </a:cubicBezTo>
                <a:cubicBezTo>
                  <a:pt x="420" y="111"/>
                  <a:pt x="420" y="111"/>
                  <a:pt x="420" y="111"/>
                </a:cubicBezTo>
                <a:cubicBezTo>
                  <a:pt x="420" y="108"/>
                  <a:pt x="420" y="108"/>
                  <a:pt x="420" y="108"/>
                </a:cubicBezTo>
                <a:cubicBezTo>
                  <a:pt x="420" y="107"/>
                  <a:pt x="420" y="107"/>
                  <a:pt x="420" y="107"/>
                </a:cubicBezTo>
                <a:cubicBezTo>
                  <a:pt x="420" y="106"/>
                  <a:pt x="420" y="106"/>
                  <a:pt x="420" y="106"/>
                </a:cubicBezTo>
                <a:cubicBezTo>
                  <a:pt x="420" y="106"/>
                  <a:pt x="420" y="106"/>
                  <a:pt x="420" y="106"/>
                </a:cubicBezTo>
                <a:cubicBezTo>
                  <a:pt x="420" y="105"/>
                  <a:pt x="420" y="105"/>
                  <a:pt x="420" y="105"/>
                </a:cubicBezTo>
                <a:cubicBezTo>
                  <a:pt x="419" y="106"/>
                  <a:pt x="419" y="106"/>
                  <a:pt x="419" y="106"/>
                </a:cubicBezTo>
                <a:cubicBezTo>
                  <a:pt x="419" y="107"/>
                  <a:pt x="419" y="107"/>
                  <a:pt x="419" y="107"/>
                </a:cubicBezTo>
                <a:cubicBezTo>
                  <a:pt x="419" y="109"/>
                  <a:pt x="419" y="109"/>
                  <a:pt x="419" y="109"/>
                </a:cubicBezTo>
                <a:cubicBezTo>
                  <a:pt x="418" y="110"/>
                  <a:pt x="418" y="110"/>
                  <a:pt x="418" y="110"/>
                </a:cubicBezTo>
                <a:cubicBezTo>
                  <a:pt x="419" y="111"/>
                  <a:pt x="419" y="111"/>
                  <a:pt x="419" y="111"/>
                </a:cubicBezTo>
                <a:cubicBezTo>
                  <a:pt x="419" y="112"/>
                  <a:pt x="419" y="112"/>
                  <a:pt x="419" y="112"/>
                </a:cubicBezTo>
                <a:cubicBezTo>
                  <a:pt x="418" y="112"/>
                  <a:pt x="418" y="112"/>
                  <a:pt x="418" y="112"/>
                </a:cubicBezTo>
                <a:cubicBezTo>
                  <a:pt x="416" y="112"/>
                  <a:pt x="416" y="112"/>
                  <a:pt x="416" y="112"/>
                </a:cubicBezTo>
                <a:cubicBezTo>
                  <a:pt x="416" y="112"/>
                  <a:pt x="416" y="112"/>
                  <a:pt x="416" y="112"/>
                </a:cubicBezTo>
                <a:cubicBezTo>
                  <a:pt x="415" y="112"/>
                  <a:pt x="415" y="112"/>
                  <a:pt x="415" y="112"/>
                </a:cubicBezTo>
                <a:cubicBezTo>
                  <a:pt x="416" y="113"/>
                  <a:pt x="416" y="113"/>
                  <a:pt x="416" y="113"/>
                </a:cubicBezTo>
                <a:cubicBezTo>
                  <a:pt x="415" y="115"/>
                  <a:pt x="415" y="115"/>
                  <a:pt x="415" y="115"/>
                </a:cubicBezTo>
                <a:cubicBezTo>
                  <a:pt x="416" y="115"/>
                  <a:pt x="416" y="115"/>
                  <a:pt x="416" y="115"/>
                </a:cubicBezTo>
                <a:cubicBezTo>
                  <a:pt x="418" y="113"/>
                  <a:pt x="418" y="113"/>
                  <a:pt x="418" y="113"/>
                </a:cubicBezTo>
                <a:cubicBezTo>
                  <a:pt x="418" y="113"/>
                  <a:pt x="418" y="113"/>
                  <a:pt x="418" y="113"/>
                </a:cubicBezTo>
                <a:cubicBezTo>
                  <a:pt x="419" y="113"/>
                  <a:pt x="419" y="113"/>
                  <a:pt x="419" y="113"/>
                </a:cubicBezTo>
                <a:cubicBezTo>
                  <a:pt x="420" y="112"/>
                  <a:pt x="420" y="112"/>
                  <a:pt x="420" y="112"/>
                </a:cubicBezTo>
                <a:cubicBezTo>
                  <a:pt x="421" y="113"/>
                  <a:pt x="421" y="113"/>
                  <a:pt x="421" y="113"/>
                </a:cubicBezTo>
                <a:cubicBezTo>
                  <a:pt x="422" y="115"/>
                  <a:pt x="422" y="115"/>
                  <a:pt x="422" y="115"/>
                </a:cubicBezTo>
                <a:cubicBezTo>
                  <a:pt x="422" y="116"/>
                  <a:pt x="422" y="116"/>
                  <a:pt x="422" y="116"/>
                </a:cubicBezTo>
                <a:cubicBezTo>
                  <a:pt x="423" y="115"/>
                  <a:pt x="423" y="115"/>
                  <a:pt x="423" y="115"/>
                </a:cubicBezTo>
                <a:cubicBezTo>
                  <a:pt x="425" y="114"/>
                  <a:pt x="425" y="114"/>
                  <a:pt x="425" y="114"/>
                </a:cubicBezTo>
                <a:cubicBezTo>
                  <a:pt x="427" y="115"/>
                  <a:pt x="427" y="115"/>
                  <a:pt x="427" y="115"/>
                </a:cubicBezTo>
                <a:cubicBezTo>
                  <a:pt x="427" y="116"/>
                  <a:pt x="427" y="116"/>
                  <a:pt x="427" y="116"/>
                </a:cubicBezTo>
                <a:cubicBezTo>
                  <a:pt x="426" y="117"/>
                  <a:pt x="426" y="117"/>
                  <a:pt x="426" y="117"/>
                </a:cubicBezTo>
                <a:cubicBezTo>
                  <a:pt x="426" y="119"/>
                  <a:pt x="426" y="119"/>
                  <a:pt x="426" y="119"/>
                </a:cubicBezTo>
                <a:cubicBezTo>
                  <a:pt x="425" y="119"/>
                  <a:pt x="425" y="119"/>
                  <a:pt x="425" y="119"/>
                </a:cubicBezTo>
                <a:cubicBezTo>
                  <a:pt x="425" y="120"/>
                  <a:pt x="425" y="120"/>
                  <a:pt x="425" y="120"/>
                </a:cubicBezTo>
                <a:cubicBezTo>
                  <a:pt x="425" y="120"/>
                  <a:pt x="425" y="120"/>
                  <a:pt x="425" y="120"/>
                </a:cubicBezTo>
                <a:cubicBezTo>
                  <a:pt x="426" y="120"/>
                  <a:pt x="426" y="120"/>
                  <a:pt x="426" y="120"/>
                </a:cubicBezTo>
                <a:cubicBezTo>
                  <a:pt x="426" y="121"/>
                  <a:pt x="426" y="121"/>
                  <a:pt x="426" y="121"/>
                </a:cubicBezTo>
                <a:cubicBezTo>
                  <a:pt x="425" y="122"/>
                  <a:pt x="425" y="122"/>
                  <a:pt x="425" y="122"/>
                </a:cubicBezTo>
                <a:cubicBezTo>
                  <a:pt x="426" y="122"/>
                  <a:pt x="426" y="122"/>
                  <a:pt x="426" y="122"/>
                </a:cubicBezTo>
                <a:cubicBezTo>
                  <a:pt x="427" y="121"/>
                  <a:pt x="427" y="121"/>
                  <a:pt x="427" y="121"/>
                </a:cubicBezTo>
                <a:cubicBezTo>
                  <a:pt x="428" y="121"/>
                  <a:pt x="428" y="121"/>
                  <a:pt x="428" y="121"/>
                </a:cubicBezTo>
                <a:cubicBezTo>
                  <a:pt x="429" y="120"/>
                  <a:pt x="429" y="120"/>
                  <a:pt x="429" y="120"/>
                </a:cubicBezTo>
                <a:cubicBezTo>
                  <a:pt x="430" y="120"/>
                  <a:pt x="430" y="120"/>
                  <a:pt x="430" y="120"/>
                </a:cubicBezTo>
                <a:cubicBezTo>
                  <a:pt x="430" y="121"/>
                  <a:pt x="430" y="121"/>
                  <a:pt x="430" y="121"/>
                </a:cubicBezTo>
                <a:cubicBezTo>
                  <a:pt x="430" y="122"/>
                  <a:pt x="430" y="122"/>
                  <a:pt x="430" y="122"/>
                </a:cubicBezTo>
                <a:cubicBezTo>
                  <a:pt x="430" y="123"/>
                  <a:pt x="430" y="123"/>
                  <a:pt x="430" y="123"/>
                </a:cubicBezTo>
                <a:cubicBezTo>
                  <a:pt x="430" y="125"/>
                  <a:pt x="430" y="125"/>
                  <a:pt x="430" y="125"/>
                </a:cubicBezTo>
                <a:cubicBezTo>
                  <a:pt x="429" y="127"/>
                  <a:pt x="429" y="127"/>
                  <a:pt x="429" y="127"/>
                </a:cubicBezTo>
                <a:cubicBezTo>
                  <a:pt x="427" y="127"/>
                  <a:pt x="427" y="127"/>
                  <a:pt x="427" y="127"/>
                </a:cubicBezTo>
                <a:cubicBezTo>
                  <a:pt x="426" y="128"/>
                  <a:pt x="426" y="128"/>
                  <a:pt x="426" y="128"/>
                </a:cubicBezTo>
                <a:cubicBezTo>
                  <a:pt x="425" y="129"/>
                  <a:pt x="425" y="129"/>
                  <a:pt x="425" y="129"/>
                </a:cubicBezTo>
                <a:cubicBezTo>
                  <a:pt x="424" y="130"/>
                  <a:pt x="424" y="130"/>
                  <a:pt x="424" y="130"/>
                </a:cubicBezTo>
                <a:cubicBezTo>
                  <a:pt x="424" y="130"/>
                  <a:pt x="424" y="130"/>
                  <a:pt x="424" y="130"/>
                </a:cubicBezTo>
                <a:cubicBezTo>
                  <a:pt x="424" y="128"/>
                  <a:pt x="424" y="128"/>
                  <a:pt x="424" y="128"/>
                </a:cubicBezTo>
                <a:cubicBezTo>
                  <a:pt x="424" y="127"/>
                  <a:pt x="424" y="127"/>
                  <a:pt x="424" y="127"/>
                </a:cubicBezTo>
                <a:cubicBezTo>
                  <a:pt x="424" y="127"/>
                  <a:pt x="424" y="127"/>
                  <a:pt x="424" y="127"/>
                </a:cubicBezTo>
                <a:cubicBezTo>
                  <a:pt x="423" y="127"/>
                  <a:pt x="423" y="127"/>
                  <a:pt x="423" y="127"/>
                </a:cubicBezTo>
                <a:cubicBezTo>
                  <a:pt x="422" y="129"/>
                  <a:pt x="422" y="129"/>
                  <a:pt x="422" y="129"/>
                </a:cubicBezTo>
                <a:cubicBezTo>
                  <a:pt x="421" y="129"/>
                  <a:pt x="421" y="129"/>
                  <a:pt x="421" y="129"/>
                </a:cubicBezTo>
                <a:cubicBezTo>
                  <a:pt x="419" y="131"/>
                  <a:pt x="419" y="131"/>
                  <a:pt x="419" y="131"/>
                </a:cubicBezTo>
                <a:cubicBezTo>
                  <a:pt x="419" y="130"/>
                  <a:pt x="419" y="130"/>
                  <a:pt x="419" y="130"/>
                </a:cubicBezTo>
                <a:cubicBezTo>
                  <a:pt x="418" y="130"/>
                  <a:pt x="418" y="130"/>
                  <a:pt x="418" y="130"/>
                </a:cubicBezTo>
                <a:cubicBezTo>
                  <a:pt x="416" y="132"/>
                  <a:pt x="416" y="132"/>
                  <a:pt x="416" y="132"/>
                </a:cubicBezTo>
                <a:cubicBezTo>
                  <a:pt x="415" y="132"/>
                  <a:pt x="415" y="132"/>
                  <a:pt x="415" y="132"/>
                </a:cubicBezTo>
                <a:cubicBezTo>
                  <a:pt x="414" y="132"/>
                  <a:pt x="414" y="132"/>
                  <a:pt x="414" y="132"/>
                </a:cubicBezTo>
                <a:cubicBezTo>
                  <a:pt x="413" y="132"/>
                  <a:pt x="413" y="132"/>
                  <a:pt x="413" y="132"/>
                </a:cubicBezTo>
                <a:cubicBezTo>
                  <a:pt x="413" y="131"/>
                  <a:pt x="413" y="131"/>
                  <a:pt x="413" y="131"/>
                </a:cubicBezTo>
                <a:cubicBezTo>
                  <a:pt x="412" y="131"/>
                  <a:pt x="412" y="131"/>
                  <a:pt x="412" y="131"/>
                </a:cubicBezTo>
                <a:cubicBezTo>
                  <a:pt x="413" y="130"/>
                  <a:pt x="413" y="130"/>
                  <a:pt x="413" y="130"/>
                </a:cubicBezTo>
                <a:cubicBezTo>
                  <a:pt x="414" y="129"/>
                  <a:pt x="414" y="129"/>
                  <a:pt x="414" y="129"/>
                </a:cubicBezTo>
                <a:cubicBezTo>
                  <a:pt x="414" y="128"/>
                  <a:pt x="414" y="128"/>
                  <a:pt x="414" y="128"/>
                </a:cubicBezTo>
                <a:cubicBezTo>
                  <a:pt x="413" y="126"/>
                  <a:pt x="413" y="126"/>
                  <a:pt x="413" y="126"/>
                </a:cubicBezTo>
                <a:cubicBezTo>
                  <a:pt x="412" y="127"/>
                  <a:pt x="412" y="127"/>
                  <a:pt x="412" y="127"/>
                </a:cubicBezTo>
                <a:cubicBezTo>
                  <a:pt x="410" y="126"/>
                  <a:pt x="410" y="126"/>
                  <a:pt x="410" y="126"/>
                </a:cubicBezTo>
                <a:cubicBezTo>
                  <a:pt x="410" y="125"/>
                  <a:pt x="410" y="125"/>
                  <a:pt x="410" y="125"/>
                </a:cubicBezTo>
                <a:cubicBezTo>
                  <a:pt x="410" y="124"/>
                  <a:pt x="410" y="124"/>
                  <a:pt x="410" y="124"/>
                </a:cubicBezTo>
                <a:cubicBezTo>
                  <a:pt x="411" y="123"/>
                  <a:pt x="411" y="123"/>
                  <a:pt x="411" y="123"/>
                </a:cubicBezTo>
                <a:cubicBezTo>
                  <a:pt x="411" y="123"/>
                  <a:pt x="411" y="123"/>
                  <a:pt x="411" y="123"/>
                </a:cubicBezTo>
                <a:cubicBezTo>
                  <a:pt x="410" y="123"/>
                  <a:pt x="410" y="123"/>
                  <a:pt x="410" y="123"/>
                </a:cubicBezTo>
                <a:cubicBezTo>
                  <a:pt x="409" y="121"/>
                  <a:pt x="409" y="121"/>
                  <a:pt x="409" y="121"/>
                </a:cubicBezTo>
                <a:cubicBezTo>
                  <a:pt x="409" y="120"/>
                  <a:pt x="409" y="120"/>
                  <a:pt x="409" y="120"/>
                </a:cubicBezTo>
                <a:cubicBezTo>
                  <a:pt x="409" y="119"/>
                  <a:pt x="409" y="119"/>
                  <a:pt x="409" y="119"/>
                </a:cubicBezTo>
                <a:cubicBezTo>
                  <a:pt x="409" y="118"/>
                  <a:pt x="409" y="118"/>
                  <a:pt x="409" y="118"/>
                </a:cubicBezTo>
                <a:cubicBezTo>
                  <a:pt x="409" y="119"/>
                  <a:pt x="409" y="119"/>
                  <a:pt x="409" y="119"/>
                </a:cubicBezTo>
                <a:cubicBezTo>
                  <a:pt x="408" y="121"/>
                  <a:pt x="408" y="121"/>
                  <a:pt x="408" y="121"/>
                </a:cubicBezTo>
                <a:cubicBezTo>
                  <a:pt x="409" y="123"/>
                  <a:pt x="409" y="123"/>
                  <a:pt x="409" y="123"/>
                </a:cubicBezTo>
                <a:cubicBezTo>
                  <a:pt x="409" y="124"/>
                  <a:pt x="409" y="124"/>
                  <a:pt x="409" y="124"/>
                </a:cubicBezTo>
                <a:cubicBezTo>
                  <a:pt x="409" y="125"/>
                  <a:pt x="409" y="125"/>
                  <a:pt x="409" y="125"/>
                </a:cubicBezTo>
                <a:cubicBezTo>
                  <a:pt x="409" y="126"/>
                  <a:pt x="409" y="126"/>
                  <a:pt x="409" y="126"/>
                </a:cubicBezTo>
                <a:cubicBezTo>
                  <a:pt x="408" y="127"/>
                  <a:pt x="408" y="127"/>
                  <a:pt x="408" y="127"/>
                </a:cubicBezTo>
                <a:cubicBezTo>
                  <a:pt x="407" y="126"/>
                  <a:pt x="407" y="126"/>
                  <a:pt x="407" y="126"/>
                </a:cubicBezTo>
                <a:cubicBezTo>
                  <a:pt x="406" y="127"/>
                  <a:pt x="406" y="127"/>
                  <a:pt x="406" y="127"/>
                </a:cubicBezTo>
                <a:cubicBezTo>
                  <a:pt x="405" y="126"/>
                  <a:pt x="405" y="126"/>
                  <a:pt x="405" y="126"/>
                </a:cubicBezTo>
                <a:cubicBezTo>
                  <a:pt x="405" y="125"/>
                  <a:pt x="405" y="125"/>
                  <a:pt x="405" y="125"/>
                </a:cubicBezTo>
                <a:cubicBezTo>
                  <a:pt x="405" y="123"/>
                  <a:pt x="405" y="123"/>
                  <a:pt x="405" y="123"/>
                </a:cubicBezTo>
                <a:cubicBezTo>
                  <a:pt x="405" y="121"/>
                  <a:pt x="405" y="121"/>
                  <a:pt x="405" y="121"/>
                </a:cubicBezTo>
                <a:cubicBezTo>
                  <a:pt x="405" y="120"/>
                  <a:pt x="405" y="120"/>
                  <a:pt x="405" y="120"/>
                </a:cubicBezTo>
                <a:cubicBezTo>
                  <a:pt x="406" y="119"/>
                  <a:pt x="406" y="119"/>
                  <a:pt x="406" y="119"/>
                </a:cubicBezTo>
                <a:cubicBezTo>
                  <a:pt x="405" y="119"/>
                  <a:pt x="405" y="119"/>
                  <a:pt x="405" y="119"/>
                </a:cubicBezTo>
                <a:cubicBezTo>
                  <a:pt x="404" y="120"/>
                  <a:pt x="404" y="120"/>
                  <a:pt x="404" y="120"/>
                </a:cubicBezTo>
                <a:cubicBezTo>
                  <a:pt x="404" y="122"/>
                  <a:pt x="404" y="122"/>
                  <a:pt x="404" y="122"/>
                </a:cubicBezTo>
                <a:cubicBezTo>
                  <a:pt x="404" y="123"/>
                  <a:pt x="404" y="123"/>
                  <a:pt x="404" y="123"/>
                </a:cubicBezTo>
                <a:cubicBezTo>
                  <a:pt x="403" y="125"/>
                  <a:pt x="403" y="125"/>
                  <a:pt x="403" y="125"/>
                </a:cubicBezTo>
                <a:cubicBezTo>
                  <a:pt x="402" y="125"/>
                  <a:pt x="402" y="125"/>
                  <a:pt x="402" y="125"/>
                </a:cubicBezTo>
                <a:cubicBezTo>
                  <a:pt x="401" y="125"/>
                  <a:pt x="401" y="125"/>
                  <a:pt x="401" y="125"/>
                </a:cubicBezTo>
                <a:cubicBezTo>
                  <a:pt x="401" y="124"/>
                  <a:pt x="401" y="124"/>
                  <a:pt x="401" y="124"/>
                </a:cubicBezTo>
                <a:cubicBezTo>
                  <a:pt x="401" y="123"/>
                  <a:pt x="401" y="123"/>
                  <a:pt x="401" y="123"/>
                </a:cubicBezTo>
                <a:cubicBezTo>
                  <a:pt x="401" y="122"/>
                  <a:pt x="401" y="122"/>
                  <a:pt x="401" y="122"/>
                </a:cubicBezTo>
                <a:cubicBezTo>
                  <a:pt x="402" y="121"/>
                  <a:pt x="402" y="121"/>
                  <a:pt x="402" y="121"/>
                </a:cubicBezTo>
                <a:cubicBezTo>
                  <a:pt x="402" y="121"/>
                  <a:pt x="402" y="121"/>
                  <a:pt x="402" y="121"/>
                </a:cubicBezTo>
                <a:cubicBezTo>
                  <a:pt x="401" y="119"/>
                  <a:pt x="401" y="119"/>
                  <a:pt x="401" y="119"/>
                </a:cubicBezTo>
                <a:cubicBezTo>
                  <a:pt x="401" y="119"/>
                  <a:pt x="401" y="119"/>
                  <a:pt x="401" y="119"/>
                </a:cubicBezTo>
                <a:cubicBezTo>
                  <a:pt x="401" y="120"/>
                  <a:pt x="401" y="120"/>
                  <a:pt x="401" y="120"/>
                </a:cubicBezTo>
                <a:cubicBezTo>
                  <a:pt x="401" y="121"/>
                  <a:pt x="401" y="121"/>
                  <a:pt x="401" y="121"/>
                </a:cubicBezTo>
                <a:cubicBezTo>
                  <a:pt x="400" y="122"/>
                  <a:pt x="400" y="122"/>
                  <a:pt x="400" y="122"/>
                </a:cubicBezTo>
                <a:cubicBezTo>
                  <a:pt x="400" y="123"/>
                  <a:pt x="400" y="123"/>
                  <a:pt x="400" y="123"/>
                </a:cubicBezTo>
                <a:cubicBezTo>
                  <a:pt x="399" y="123"/>
                  <a:pt x="399" y="123"/>
                  <a:pt x="399" y="123"/>
                </a:cubicBezTo>
                <a:cubicBezTo>
                  <a:pt x="398" y="123"/>
                  <a:pt x="398" y="123"/>
                  <a:pt x="398" y="123"/>
                </a:cubicBezTo>
                <a:cubicBezTo>
                  <a:pt x="398" y="124"/>
                  <a:pt x="398" y="124"/>
                  <a:pt x="398" y="124"/>
                </a:cubicBezTo>
                <a:cubicBezTo>
                  <a:pt x="397" y="124"/>
                  <a:pt x="397" y="124"/>
                  <a:pt x="397" y="124"/>
                </a:cubicBezTo>
                <a:close/>
                <a:moveTo>
                  <a:pt x="431" y="310"/>
                </a:moveTo>
                <a:cubicBezTo>
                  <a:pt x="431" y="312"/>
                  <a:pt x="431" y="312"/>
                  <a:pt x="431" y="312"/>
                </a:cubicBezTo>
                <a:cubicBezTo>
                  <a:pt x="431" y="313"/>
                  <a:pt x="431" y="313"/>
                  <a:pt x="431" y="313"/>
                </a:cubicBezTo>
                <a:cubicBezTo>
                  <a:pt x="431" y="314"/>
                  <a:pt x="431" y="314"/>
                  <a:pt x="431" y="314"/>
                </a:cubicBezTo>
                <a:cubicBezTo>
                  <a:pt x="432" y="314"/>
                  <a:pt x="432" y="314"/>
                  <a:pt x="432" y="314"/>
                </a:cubicBezTo>
                <a:cubicBezTo>
                  <a:pt x="431" y="313"/>
                  <a:pt x="431" y="313"/>
                  <a:pt x="431" y="313"/>
                </a:cubicBezTo>
                <a:cubicBezTo>
                  <a:pt x="432" y="312"/>
                  <a:pt x="432" y="312"/>
                  <a:pt x="432" y="312"/>
                </a:cubicBezTo>
                <a:cubicBezTo>
                  <a:pt x="432" y="310"/>
                  <a:pt x="432" y="310"/>
                  <a:pt x="432" y="310"/>
                </a:cubicBezTo>
                <a:cubicBezTo>
                  <a:pt x="431" y="310"/>
                  <a:pt x="431" y="310"/>
                  <a:pt x="431" y="310"/>
                </a:cubicBezTo>
                <a:close/>
                <a:moveTo>
                  <a:pt x="430" y="303"/>
                </a:moveTo>
                <a:cubicBezTo>
                  <a:pt x="430" y="303"/>
                  <a:pt x="430" y="303"/>
                  <a:pt x="430" y="303"/>
                </a:cubicBezTo>
                <a:cubicBezTo>
                  <a:pt x="430" y="302"/>
                  <a:pt x="430" y="302"/>
                  <a:pt x="430" y="302"/>
                </a:cubicBezTo>
                <a:cubicBezTo>
                  <a:pt x="431" y="303"/>
                  <a:pt x="431" y="303"/>
                  <a:pt x="431" y="303"/>
                </a:cubicBezTo>
                <a:cubicBezTo>
                  <a:pt x="431" y="303"/>
                  <a:pt x="431" y="303"/>
                  <a:pt x="431" y="303"/>
                </a:cubicBezTo>
                <a:cubicBezTo>
                  <a:pt x="430" y="303"/>
                  <a:pt x="430" y="303"/>
                  <a:pt x="430" y="303"/>
                </a:cubicBezTo>
                <a:close/>
                <a:moveTo>
                  <a:pt x="428" y="299"/>
                </a:moveTo>
                <a:cubicBezTo>
                  <a:pt x="429" y="298"/>
                  <a:pt x="429" y="298"/>
                  <a:pt x="429" y="298"/>
                </a:cubicBezTo>
                <a:cubicBezTo>
                  <a:pt x="430" y="298"/>
                  <a:pt x="430" y="298"/>
                  <a:pt x="430" y="298"/>
                </a:cubicBezTo>
                <a:cubicBezTo>
                  <a:pt x="430" y="298"/>
                  <a:pt x="430" y="298"/>
                  <a:pt x="430" y="298"/>
                </a:cubicBezTo>
                <a:cubicBezTo>
                  <a:pt x="429" y="299"/>
                  <a:pt x="429" y="299"/>
                  <a:pt x="429" y="299"/>
                </a:cubicBezTo>
                <a:cubicBezTo>
                  <a:pt x="429" y="299"/>
                  <a:pt x="429" y="299"/>
                  <a:pt x="429" y="299"/>
                </a:cubicBezTo>
                <a:cubicBezTo>
                  <a:pt x="428" y="299"/>
                  <a:pt x="428" y="299"/>
                  <a:pt x="428" y="299"/>
                </a:cubicBezTo>
                <a:close/>
                <a:moveTo>
                  <a:pt x="418" y="206"/>
                </a:moveTo>
                <a:cubicBezTo>
                  <a:pt x="418" y="205"/>
                  <a:pt x="418" y="205"/>
                  <a:pt x="418" y="205"/>
                </a:cubicBezTo>
                <a:cubicBezTo>
                  <a:pt x="419" y="204"/>
                  <a:pt x="419" y="204"/>
                  <a:pt x="419" y="204"/>
                </a:cubicBezTo>
                <a:cubicBezTo>
                  <a:pt x="419" y="205"/>
                  <a:pt x="419" y="205"/>
                  <a:pt x="419" y="205"/>
                </a:cubicBezTo>
                <a:cubicBezTo>
                  <a:pt x="418" y="206"/>
                  <a:pt x="418" y="206"/>
                  <a:pt x="418" y="206"/>
                </a:cubicBezTo>
                <a:close/>
                <a:moveTo>
                  <a:pt x="420" y="207"/>
                </a:moveTo>
                <a:cubicBezTo>
                  <a:pt x="420" y="206"/>
                  <a:pt x="420" y="206"/>
                  <a:pt x="420" y="206"/>
                </a:cubicBezTo>
                <a:cubicBezTo>
                  <a:pt x="420" y="205"/>
                  <a:pt x="420" y="205"/>
                  <a:pt x="420" y="205"/>
                </a:cubicBezTo>
                <a:cubicBezTo>
                  <a:pt x="420" y="205"/>
                  <a:pt x="420" y="205"/>
                  <a:pt x="420" y="205"/>
                </a:cubicBezTo>
                <a:cubicBezTo>
                  <a:pt x="421" y="206"/>
                  <a:pt x="421" y="206"/>
                  <a:pt x="421" y="206"/>
                </a:cubicBezTo>
                <a:cubicBezTo>
                  <a:pt x="421" y="207"/>
                  <a:pt x="421" y="207"/>
                  <a:pt x="421" y="207"/>
                </a:cubicBezTo>
                <a:cubicBezTo>
                  <a:pt x="420" y="207"/>
                  <a:pt x="420" y="207"/>
                  <a:pt x="420" y="207"/>
                </a:cubicBezTo>
                <a:close/>
                <a:moveTo>
                  <a:pt x="418" y="210"/>
                </a:moveTo>
                <a:cubicBezTo>
                  <a:pt x="417" y="209"/>
                  <a:pt x="417" y="209"/>
                  <a:pt x="417" y="209"/>
                </a:cubicBezTo>
                <a:cubicBezTo>
                  <a:pt x="418" y="208"/>
                  <a:pt x="418" y="208"/>
                  <a:pt x="418" y="208"/>
                </a:cubicBezTo>
                <a:cubicBezTo>
                  <a:pt x="418" y="207"/>
                  <a:pt x="418" y="207"/>
                  <a:pt x="418" y="207"/>
                </a:cubicBezTo>
                <a:cubicBezTo>
                  <a:pt x="418" y="207"/>
                  <a:pt x="418" y="207"/>
                  <a:pt x="418" y="207"/>
                </a:cubicBezTo>
                <a:cubicBezTo>
                  <a:pt x="419" y="208"/>
                  <a:pt x="419" y="208"/>
                  <a:pt x="419" y="208"/>
                </a:cubicBezTo>
                <a:cubicBezTo>
                  <a:pt x="419" y="207"/>
                  <a:pt x="419" y="207"/>
                  <a:pt x="419" y="207"/>
                </a:cubicBezTo>
                <a:cubicBezTo>
                  <a:pt x="420" y="208"/>
                  <a:pt x="420" y="208"/>
                  <a:pt x="420" y="208"/>
                </a:cubicBezTo>
                <a:cubicBezTo>
                  <a:pt x="419" y="209"/>
                  <a:pt x="419" y="209"/>
                  <a:pt x="419" y="209"/>
                </a:cubicBezTo>
                <a:cubicBezTo>
                  <a:pt x="418" y="210"/>
                  <a:pt x="418" y="210"/>
                  <a:pt x="418" y="210"/>
                </a:cubicBezTo>
                <a:cubicBezTo>
                  <a:pt x="418" y="210"/>
                  <a:pt x="418" y="210"/>
                  <a:pt x="418" y="210"/>
                </a:cubicBezTo>
                <a:close/>
                <a:moveTo>
                  <a:pt x="437" y="238"/>
                </a:moveTo>
                <a:cubicBezTo>
                  <a:pt x="437" y="237"/>
                  <a:pt x="437" y="237"/>
                  <a:pt x="437" y="237"/>
                </a:cubicBezTo>
                <a:cubicBezTo>
                  <a:pt x="438" y="237"/>
                  <a:pt x="438" y="237"/>
                  <a:pt x="438" y="237"/>
                </a:cubicBezTo>
                <a:cubicBezTo>
                  <a:pt x="438" y="238"/>
                  <a:pt x="438" y="238"/>
                  <a:pt x="438" y="238"/>
                </a:cubicBezTo>
                <a:cubicBezTo>
                  <a:pt x="437" y="238"/>
                  <a:pt x="437" y="238"/>
                  <a:pt x="437" y="238"/>
                </a:cubicBezTo>
                <a:cubicBezTo>
                  <a:pt x="437" y="238"/>
                  <a:pt x="437" y="238"/>
                  <a:pt x="437" y="238"/>
                </a:cubicBezTo>
                <a:close/>
                <a:moveTo>
                  <a:pt x="435" y="237"/>
                </a:moveTo>
                <a:cubicBezTo>
                  <a:pt x="435" y="237"/>
                  <a:pt x="435" y="237"/>
                  <a:pt x="435" y="237"/>
                </a:cubicBezTo>
                <a:cubicBezTo>
                  <a:pt x="436" y="236"/>
                  <a:pt x="436" y="236"/>
                  <a:pt x="436" y="236"/>
                </a:cubicBezTo>
                <a:cubicBezTo>
                  <a:pt x="436" y="236"/>
                  <a:pt x="436" y="236"/>
                  <a:pt x="436" y="236"/>
                </a:cubicBezTo>
                <a:cubicBezTo>
                  <a:pt x="437" y="237"/>
                  <a:pt x="437" y="237"/>
                  <a:pt x="437" y="237"/>
                </a:cubicBezTo>
                <a:cubicBezTo>
                  <a:pt x="436" y="238"/>
                  <a:pt x="436" y="238"/>
                  <a:pt x="436" y="238"/>
                </a:cubicBezTo>
                <a:cubicBezTo>
                  <a:pt x="435" y="238"/>
                  <a:pt x="435" y="238"/>
                  <a:pt x="435" y="238"/>
                </a:cubicBezTo>
                <a:cubicBezTo>
                  <a:pt x="435" y="237"/>
                  <a:pt x="435" y="237"/>
                  <a:pt x="435" y="237"/>
                </a:cubicBezTo>
                <a:close/>
                <a:moveTo>
                  <a:pt x="431" y="250"/>
                </a:moveTo>
                <a:cubicBezTo>
                  <a:pt x="432" y="251"/>
                  <a:pt x="432" y="251"/>
                  <a:pt x="432" y="251"/>
                </a:cubicBezTo>
                <a:cubicBezTo>
                  <a:pt x="432" y="251"/>
                  <a:pt x="432" y="251"/>
                  <a:pt x="432" y="251"/>
                </a:cubicBezTo>
                <a:cubicBezTo>
                  <a:pt x="432" y="250"/>
                  <a:pt x="432" y="250"/>
                  <a:pt x="432" y="250"/>
                </a:cubicBezTo>
                <a:cubicBezTo>
                  <a:pt x="431" y="250"/>
                  <a:pt x="431" y="250"/>
                  <a:pt x="431" y="250"/>
                </a:cubicBezTo>
                <a:close/>
                <a:moveTo>
                  <a:pt x="436" y="256"/>
                </a:moveTo>
                <a:cubicBezTo>
                  <a:pt x="437" y="257"/>
                  <a:pt x="437" y="257"/>
                  <a:pt x="437" y="257"/>
                </a:cubicBezTo>
                <a:cubicBezTo>
                  <a:pt x="438" y="256"/>
                  <a:pt x="438" y="256"/>
                  <a:pt x="438" y="256"/>
                </a:cubicBezTo>
                <a:cubicBezTo>
                  <a:pt x="437" y="256"/>
                  <a:pt x="437" y="256"/>
                  <a:pt x="437" y="256"/>
                </a:cubicBezTo>
                <a:cubicBezTo>
                  <a:pt x="437" y="256"/>
                  <a:pt x="437" y="256"/>
                  <a:pt x="437" y="256"/>
                </a:cubicBezTo>
                <a:cubicBezTo>
                  <a:pt x="437" y="256"/>
                  <a:pt x="436" y="256"/>
                  <a:pt x="436" y="256"/>
                </a:cubicBezTo>
                <a:close/>
                <a:moveTo>
                  <a:pt x="446" y="266"/>
                </a:moveTo>
                <a:cubicBezTo>
                  <a:pt x="445" y="264"/>
                  <a:pt x="445" y="264"/>
                  <a:pt x="445" y="264"/>
                </a:cubicBezTo>
                <a:cubicBezTo>
                  <a:pt x="446" y="263"/>
                  <a:pt x="446" y="263"/>
                  <a:pt x="446" y="263"/>
                </a:cubicBezTo>
                <a:cubicBezTo>
                  <a:pt x="447" y="264"/>
                  <a:pt x="447" y="264"/>
                  <a:pt x="447" y="264"/>
                </a:cubicBezTo>
                <a:cubicBezTo>
                  <a:pt x="447" y="265"/>
                  <a:pt x="447" y="265"/>
                  <a:pt x="447" y="265"/>
                </a:cubicBezTo>
                <a:cubicBezTo>
                  <a:pt x="446" y="266"/>
                  <a:pt x="446" y="266"/>
                  <a:pt x="446" y="266"/>
                </a:cubicBezTo>
                <a:cubicBezTo>
                  <a:pt x="446" y="266"/>
                  <a:pt x="446" y="266"/>
                  <a:pt x="446" y="266"/>
                </a:cubicBezTo>
                <a:close/>
                <a:moveTo>
                  <a:pt x="451" y="272"/>
                </a:moveTo>
                <a:cubicBezTo>
                  <a:pt x="451" y="270"/>
                  <a:pt x="451" y="270"/>
                  <a:pt x="451" y="270"/>
                </a:cubicBezTo>
                <a:cubicBezTo>
                  <a:pt x="452" y="270"/>
                  <a:pt x="452" y="270"/>
                  <a:pt x="452" y="270"/>
                </a:cubicBezTo>
                <a:cubicBezTo>
                  <a:pt x="452" y="270"/>
                  <a:pt x="452" y="270"/>
                  <a:pt x="452" y="270"/>
                </a:cubicBezTo>
                <a:cubicBezTo>
                  <a:pt x="453" y="270"/>
                  <a:pt x="453" y="270"/>
                  <a:pt x="453" y="270"/>
                </a:cubicBezTo>
                <a:cubicBezTo>
                  <a:pt x="452" y="271"/>
                  <a:pt x="452" y="271"/>
                  <a:pt x="452" y="271"/>
                </a:cubicBezTo>
                <a:cubicBezTo>
                  <a:pt x="451" y="271"/>
                  <a:pt x="451" y="271"/>
                  <a:pt x="451" y="271"/>
                </a:cubicBezTo>
                <a:cubicBezTo>
                  <a:pt x="451" y="271"/>
                  <a:pt x="451" y="272"/>
                  <a:pt x="451" y="272"/>
                </a:cubicBezTo>
                <a:close/>
                <a:moveTo>
                  <a:pt x="416" y="138"/>
                </a:moveTo>
                <a:cubicBezTo>
                  <a:pt x="416" y="136"/>
                  <a:pt x="416" y="136"/>
                  <a:pt x="416" y="136"/>
                </a:cubicBezTo>
                <a:cubicBezTo>
                  <a:pt x="416" y="136"/>
                  <a:pt x="416" y="136"/>
                  <a:pt x="416" y="136"/>
                </a:cubicBezTo>
                <a:cubicBezTo>
                  <a:pt x="417" y="135"/>
                  <a:pt x="417" y="135"/>
                  <a:pt x="417" y="135"/>
                </a:cubicBezTo>
                <a:cubicBezTo>
                  <a:pt x="420" y="133"/>
                  <a:pt x="420" y="133"/>
                  <a:pt x="420" y="133"/>
                </a:cubicBezTo>
                <a:cubicBezTo>
                  <a:pt x="421" y="133"/>
                  <a:pt x="421" y="133"/>
                  <a:pt x="421" y="133"/>
                </a:cubicBezTo>
                <a:cubicBezTo>
                  <a:pt x="420" y="134"/>
                  <a:pt x="420" y="134"/>
                  <a:pt x="420" y="134"/>
                </a:cubicBezTo>
                <a:cubicBezTo>
                  <a:pt x="419" y="135"/>
                  <a:pt x="419" y="135"/>
                  <a:pt x="419" y="135"/>
                </a:cubicBezTo>
                <a:cubicBezTo>
                  <a:pt x="418" y="136"/>
                  <a:pt x="418" y="136"/>
                  <a:pt x="418" y="136"/>
                </a:cubicBezTo>
                <a:cubicBezTo>
                  <a:pt x="419" y="137"/>
                  <a:pt x="419" y="137"/>
                  <a:pt x="419" y="137"/>
                </a:cubicBezTo>
                <a:cubicBezTo>
                  <a:pt x="419" y="138"/>
                  <a:pt x="419" y="138"/>
                  <a:pt x="419" y="138"/>
                </a:cubicBezTo>
                <a:cubicBezTo>
                  <a:pt x="418" y="137"/>
                  <a:pt x="418" y="137"/>
                  <a:pt x="418" y="137"/>
                </a:cubicBezTo>
                <a:cubicBezTo>
                  <a:pt x="417" y="137"/>
                  <a:pt x="417" y="137"/>
                  <a:pt x="417" y="137"/>
                </a:cubicBezTo>
                <a:cubicBezTo>
                  <a:pt x="417" y="137"/>
                  <a:pt x="417" y="137"/>
                  <a:pt x="417" y="137"/>
                </a:cubicBezTo>
                <a:cubicBezTo>
                  <a:pt x="416" y="138"/>
                  <a:pt x="416" y="138"/>
                  <a:pt x="416" y="138"/>
                </a:cubicBezTo>
                <a:cubicBezTo>
                  <a:pt x="416" y="138"/>
                  <a:pt x="416" y="138"/>
                  <a:pt x="416" y="138"/>
                </a:cubicBezTo>
                <a:close/>
                <a:moveTo>
                  <a:pt x="410" y="132"/>
                </a:moveTo>
                <a:cubicBezTo>
                  <a:pt x="410" y="132"/>
                  <a:pt x="410" y="132"/>
                  <a:pt x="410" y="132"/>
                </a:cubicBezTo>
                <a:cubicBezTo>
                  <a:pt x="411" y="132"/>
                  <a:pt x="411" y="132"/>
                  <a:pt x="411" y="132"/>
                </a:cubicBezTo>
                <a:cubicBezTo>
                  <a:pt x="411" y="132"/>
                  <a:pt x="411" y="132"/>
                  <a:pt x="411" y="132"/>
                </a:cubicBezTo>
                <a:cubicBezTo>
                  <a:pt x="411" y="131"/>
                  <a:pt x="411" y="131"/>
                  <a:pt x="411" y="131"/>
                </a:cubicBezTo>
                <a:cubicBezTo>
                  <a:pt x="410" y="132"/>
                  <a:pt x="410" y="132"/>
                  <a:pt x="410" y="132"/>
                </a:cubicBezTo>
                <a:close/>
                <a:moveTo>
                  <a:pt x="376" y="117"/>
                </a:moveTo>
                <a:cubicBezTo>
                  <a:pt x="374" y="116"/>
                  <a:pt x="374" y="116"/>
                  <a:pt x="374" y="116"/>
                </a:cubicBezTo>
                <a:cubicBezTo>
                  <a:pt x="374" y="115"/>
                  <a:pt x="374" y="115"/>
                  <a:pt x="374" y="115"/>
                </a:cubicBezTo>
                <a:cubicBezTo>
                  <a:pt x="374" y="113"/>
                  <a:pt x="374" y="113"/>
                  <a:pt x="374" y="113"/>
                </a:cubicBezTo>
                <a:cubicBezTo>
                  <a:pt x="374" y="112"/>
                  <a:pt x="374" y="112"/>
                  <a:pt x="374" y="112"/>
                </a:cubicBezTo>
                <a:cubicBezTo>
                  <a:pt x="374" y="111"/>
                  <a:pt x="374" y="111"/>
                  <a:pt x="374" y="111"/>
                </a:cubicBezTo>
                <a:cubicBezTo>
                  <a:pt x="374" y="110"/>
                  <a:pt x="374" y="110"/>
                  <a:pt x="374" y="110"/>
                </a:cubicBezTo>
                <a:cubicBezTo>
                  <a:pt x="375" y="110"/>
                  <a:pt x="375" y="110"/>
                  <a:pt x="375" y="110"/>
                </a:cubicBezTo>
                <a:cubicBezTo>
                  <a:pt x="377" y="110"/>
                  <a:pt x="377" y="110"/>
                  <a:pt x="377" y="110"/>
                </a:cubicBezTo>
                <a:cubicBezTo>
                  <a:pt x="377" y="112"/>
                  <a:pt x="377" y="112"/>
                  <a:pt x="377" y="112"/>
                </a:cubicBezTo>
                <a:cubicBezTo>
                  <a:pt x="376" y="114"/>
                  <a:pt x="376" y="114"/>
                  <a:pt x="376" y="114"/>
                </a:cubicBezTo>
                <a:cubicBezTo>
                  <a:pt x="376" y="115"/>
                  <a:pt x="376" y="115"/>
                  <a:pt x="376" y="115"/>
                </a:cubicBezTo>
                <a:cubicBezTo>
                  <a:pt x="376" y="116"/>
                  <a:pt x="376" y="116"/>
                  <a:pt x="376" y="116"/>
                </a:cubicBezTo>
                <a:cubicBezTo>
                  <a:pt x="376" y="117"/>
                  <a:pt x="376" y="117"/>
                  <a:pt x="376" y="117"/>
                </a:cubicBezTo>
                <a:cubicBezTo>
                  <a:pt x="376" y="117"/>
                  <a:pt x="376" y="117"/>
                  <a:pt x="376" y="117"/>
                </a:cubicBezTo>
                <a:close/>
                <a:moveTo>
                  <a:pt x="375" y="47"/>
                </a:moveTo>
                <a:cubicBezTo>
                  <a:pt x="377" y="46"/>
                  <a:pt x="377" y="46"/>
                  <a:pt x="377" y="46"/>
                </a:cubicBezTo>
                <a:cubicBezTo>
                  <a:pt x="378" y="44"/>
                  <a:pt x="378" y="44"/>
                  <a:pt x="378" y="44"/>
                </a:cubicBezTo>
                <a:cubicBezTo>
                  <a:pt x="378" y="43"/>
                  <a:pt x="378" y="43"/>
                  <a:pt x="378" y="43"/>
                </a:cubicBezTo>
                <a:cubicBezTo>
                  <a:pt x="379" y="42"/>
                  <a:pt x="379" y="42"/>
                  <a:pt x="379" y="42"/>
                </a:cubicBezTo>
                <a:cubicBezTo>
                  <a:pt x="380" y="40"/>
                  <a:pt x="380" y="40"/>
                  <a:pt x="380" y="40"/>
                </a:cubicBezTo>
                <a:cubicBezTo>
                  <a:pt x="380" y="39"/>
                  <a:pt x="380" y="39"/>
                  <a:pt x="380" y="39"/>
                </a:cubicBezTo>
                <a:cubicBezTo>
                  <a:pt x="378" y="39"/>
                  <a:pt x="378" y="39"/>
                  <a:pt x="378" y="39"/>
                </a:cubicBezTo>
                <a:cubicBezTo>
                  <a:pt x="377" y="39"/>
                  <a:pt x="377" y="39"/>
                  <a:pt x="377" y="39"/>
                </a:cubicBezTo>
                <a:cubicBezTo>
                  <a:pt x="378" y="38"/>
                  <a:pt x="378" y="38"/>
                  <a:pt x="378" y="38"/>
                </a:cubicBezTo>
                <a:cubicBezTo>
                  <a:pt x="377" y="38"/>
                  <a:pt x="377" y="38"/>
                  <a:pt x="377" y="38"/>
                </a:cubicBezTo>
                <a:cubicBezTo>
                  <a:pt x="376" y="39"/>
                  <a:pt x="376" y="39"/>
                  <a:pt x="376" y="39"/>
                </a:cubicBezTo>
                <a:cubicBezTo>
                  <a:pt x="374" y="40"/>
                  <a:pt x="374" y="40"/>
                  <a:pt x="374" y="40"/>
                </a:cubicBezTo>
                <a:cubicBezTo>
                  <a:pt x="374" y="41"/>
                  <a:pt x="374" y="41"/>
                  <a:pt x="374" y="41"/>
                </a:cubicBezTo>
                <a:cubicBezTo>
                  <a:pt x="373" y="41"/>
                  <a:pt x="373" y="41"/>
                  <a:pt x="373" y="41"/>
                </a:cubicBezTo>
                <a:cubicBezTo>
                  <a:pt x="373" y="42"/>
                  <a:pt x="373" y="42"/>
                  <a:pt x="373" y="42"/>
                </a:cubicBezTo>
                <a:cubicBezTo>
                  <a:pt x="375" y="43"/>
                  <a:pt x="375" y="43"/>
                  <a:pt x="375" y="43"/>
                </a:cubicBezTo>
                <a:cubicBezTo>
                  <a:pt x="376" y="42"/>
                  <a:pt x="376" y="42"/>
                  <a:pt x="376" y="42"/>
                </a:cubicBezTo>
                <a:cubicBezTo>
                  <a:pt x="376" y="44"/>
                  <a:pt x="376" y="44"/>
                  <a:pt x="376" y="44"/>
                </a:cubicBezTo>
                <a:cubicBezTo>
                  <a:pt x="375" y="45"/>
                  <a:pt x="375" y="45"/>
                  <a:pt x="375" y="45"/>
                </a:cubicBezTo>
                <a:cubicBezTo>
                  <a:pt x="375" y="46"/>
                  <a:pt x="375" y="46"/>
                  <a:pt x="375" y="46"/>
                </a:cubicBezTo>
                <a:cubicBezTo>
                  <a:pt x="375" y="46"/>
                  <a:pt x="375" y="46"/>
                  <a:pt x="375" y="46"/>
                </a:cubicBezTo>
                <a:cubicBezTo>
                  <a:pt x="375" y="47"/>
                  <a:pt x="375" y="47"/>
                  <a:pt x="375" y="47"/>
                </a:cubicBezTo>
                <a:close/>
                <a:moveTo>
                  <a:pt x="359" y="85"/>
                </a:moveTo>
                <a:cubicBezTo>
                  <a:pt x="359" y="83"/>
                  <a:pt x="359" y="83"/>
                  <a:pt x="359" y="83"/>
                </a:cubicBezTo>
                <a:cubicBezTo>
                  <a:pt x="360" y="82"/>
                  <a:pt x="360" y="82"/>
                  <a:pt x="360" y="82"/>
                </a:cubicBezTo>
                <a:cubicBezTo>
                  <a:pt x="359" y="82"/>
                  <a:pt x="359" y="82"/>
                  <a:pt x="359" y="82"/>
                </a:cubicBezTo>
                <a:cubicBezTo>
                  <a:pt x="359" y="80"/>
                  <a:pt x="359" y="80"/>
                  <a:pt x="359" y="80"/>
                </a:cubicBezTo>
                <a:cubicBezTo>
                  <a:pt x="358" y="80"/>
                  <a:pt x="358" y="80"/>
                  <a:pt x="358" y="80"/>
                </a:cubicBezTo>
                <a:cubicBezTo>
                  <a:pt x="359" y="79"/>
                  <a:pt x="359" y="79"/>
                  <a:pt x="359" y="79"/>
                </a:cubicBezTo>
                <a:cubicBezTo>
                  <a:pt x="359" y="78"/>
                  <a:pt x="359" y="78"/>
                  <a:pt x="359" y="78"/>
                </a:cubicBezTo>
                <a:cubicBezTo>
                  <a:pt x="360" y="78"/>
                  <a:pt x="360" y="78"/>
                  <a:pt x="360" y="78"/>
                </a:cubicBezTo>
                <a:cubicBezTo>
                  <a:pt x="362" y="79"/>
                  <a:pt x="362" y="79"/>
                  <a:pt x="362" y="79"/>
                </a:cubicBezTo>
                <a:cubicBezTo>
                  <a:pt x="362" y="79"/>
                  <a:pt x="362" y="79"/>
                  <a:pt x="362" y="79"/>
                </a:cubicBezTo>
                <a:cubicBezTo>
                  <a:pt x="362" y="78"/>
                  <a:pt x="362" y="78"/>
                  <a:pt x="362" y="78"/>
                </a:cubicBezTo>
                <a:cubicBezTo>
                  <a:pt x="361" y="76"/>
                  <a:pt x="361" y="76"/>
                  <a:pt x="361" y="76"/>
                </a:cubicBezTo>
                <a:cubicBezTo>
                  <a:pt x="360" y="76"/>
                  <a:pt x="360" y="76"/>
                  <a:pt x="360" y="76"/>
                </a:cubicBezTo>
                <a:cubicBezTo>
                  <a:pt x="360" y="75"/>
                  <a:pt x="360" y="75"/>
                  <a:pt x="360" y="75"/>
                </a:cubicBezTo>
                <a:cubicBezTo>
                  <a:pt x="361" y="75"/>
                  <a:pt x="361" y="75"/>
                  <a:pt x="361" y="75"/>
                </a:cubicBezTo>
                <a:cubicBezTo>
                  <a:pt x="360" y="74"/>
                  <a:pt x="360" y="74"/>
                  <a:pt x="360" y="74"/>
                </a:cubicBezTo>
                <a:cubicBezTo>
                  <a:pt x="361" y="72"/>
                  <a:pt x="361" y="72"/>
                  <a:pt x="361" y="72"/>
                </a:cubicBezTo>
                <a:cubicBezTo>
                  <a:pt x="361" y="70"/>
                  <a:pt x="361" y="70"/>
                  <a:pt x="361" y="70"/>
                </a:cubicBezTo>
                <a:cubicBezTo>
                  <a:pt x="362" y="69"/>
                  <a:pt x="362" y="69"/>
                  <a:pt x="362" y="69"/>
                </a:cubicBezTo>
                <a:cubicBezTo>
                  <a:pt x="362" y="69"/>
                  <a:pt x="362" y="69"/>
                  <a:pt x="362" y="69"/>
                </a:cubicBezTo>
                <a:cubicBezTo>
                  <a:pt x="363" y="68"/>
                  <a:pt x="363" y="68"/>
                  <a:pt x="363" y="68"/>
                </a:cubicBezTo>
                <a:cubicBezTo>
                  <a:pt x="363" y="66"/>
                  <a:pt x="363" y="66"/>
                  <a:pt x="363" y="66"/>
                </a:cubicBezTo>
                <a:cubicBezTo>
                  <a:pt x="364" y="66"/>
                  <a:pt x="364" y="66"/>
                  <a:pt x="364" y="66"/>
                </a:cubicBezTo>
                <a:cubicBezTo>
                  <a:pt x="366" y="64"/>
                  <a:pt x="366" y="64"/>
                  <a:pt x="366" y="64"/>
                </a:cubicBezTo>
                <a:cubicBezTo>
                  <a:pt x="367" y="64"/>
                  <a:pt x="367" y="64"/>
                  <a:pt x="367" y="64"/>
                </a:cubicBezTo>
                <a:cubicBezTo>
                  <a:pt x="369" y="66"/>
                  <a:pt x="369" y="66"/>
                  <a:pt x="369" y="66"/>
                </a:cubicBezTo>
                <a:cubicBezTo>
                  <a:pt x="369" y="68"/>
                  <a:pt x="369" y="68"/>
                  <a:pt x="369" y="68"/>
                </a:cubicBezTo>
                <a:cubicBezTo>
                  <a:pt x="369" y="69"/>
                  <a:pt x="369" y="69"/>
                  <a:pt x="369" y="69"/>
                </a:cubicBezTo>
                <a:cubicBezTo>
                  <a:pt x="369" y="69"/>
                  <a:pt x="369" y="69"/>
                  <a:pt x="369" y="69"/>
                </a:cubicBezTo>
                <a:cubicBezTo>
                  <a:pt x="370" y="70"/>
                  <a:pt x="370" y="70"/>
                  <a:pt x="370" y="70"/>
                </a:cubicBezTo>
                <a:cubicBezTo>
                  <a:pt x="370" y="71"/>
                  <a:pt x="370" y="71"/>
                  <a:pt x="370" y="71"/>
                </a:cubicBezTo>
                <a:cubicBezTo>
                  <a:pt x="371" y="71"/>
                  <a:pt x="371" y="71"/>
                  <a:pt x="371" y="71"/>
                </a:cubicBezTo>
                <a:cubicBezTo>
                  <a:pt x="371" y="72"/>
                  <a:pt x="371" y="72"/>
                  <a:pt x="371" y="72"/>
                </a:cubicBezTo>
                <a:cubicBezTo>
                  <a:pt x="372" y="73"/>
                  <a:pt x="372" y="73"/>
                  <a:pt x="372" y="73"/>
                </a:cubicBezTo>
                <a:cubicBezTo>
                  <a:pt x="373" y="74"/>
                  <a:pt x="373" y="74"/>
                  <a:pt x="373" y="74"/>
                </a:cubicBezTo>
                <a:cubicBezTo>
                  <a:pt x="373" y="74"/>
                  <a:pt x="373" y="74"/>
                  <a:pt x="373" y="74"/>
                </a:cubicBezTo>
                <a:cubicBezTo>
                  <a:pt x="373" y="75"/>
                  <a:pt x="373" y="75"/>
                  <a:pt x="373" y="75"/>
                </a:cubicBezTo>
                <a:cubicBezTo>
                  <a:pt x="374" y="78"/>
                  <a:pt x="374" y="78"/>
                  <a:pt x="374" y="78"/>
                </a:cubicBezTo>
                <a:cubicBezTo>
                  <a:pt x="373" y="79"/>
                  <a:pt x="373" y="79"/>
                  <a:pt x="373" y="79"/>
                </a:cubicBezTo>
                <a:cubicBezTo>
                  <a:pt x="372" y="79"/>
                  <a:pt x="372" y="79"/>
                  <a:pt x="372" y="79"/>
                </a:cubicBezTo>
                <a:cubicBezTo>
                  <a:pt x="371" y="79"/>
                  <a:pt x="371" y="79"/>
                  <a:pt x="371" y="79"/>
                </a:cubicBezTo>
                <a:cubicBezTo>
                  <a:pt x="370" y="80"/>
                  <a:pt x="370" y="80"/>
                  <a:pt x="370" y="80"/>
                </a:cubicBezTo>
                <a:cubicBezTo>
                  <a:pt x="371" y="80"/>
                  <a:pt x="371" y="80"/>
                  <a:pt x="371" y="80"/>
                </a:cubicBezTo>
                <a:cubicBezTo>
                  <a:pt x="371" y="80"/>
                  <a:pt x="371" y="80"/>
                  <a:pt x="371" y="80"/>
                </a:cubicBezTo>
                <a:cubicBezTo>
                  <a:pt x="372" y="82"/>
                  <a:pt x="372" y="82"/>
                  <a:pt x="372" y="82"/>
                </a:cubicBezTo>
                <a:cubicBezTo>
                  <a:pt x="371" y="83"/>
                  <a:pt x="371" y="83"/>
                  <a:pt x="371" y="83"/>
                </a:cubicBezTo>
                <a:cubicBezTo>
                  <a:pt x="369" y="85"/>
                  <a:pt x="369" y="85"/>
                  <a:pt x="369" y="85"/>
                </a:cubicBezTo>
                <a:cubicBezTo>
                  <a:pt x="369" y="85"/>
                  <a:pt x="369" y="85"/>
                  <a:pt x="369" y="85"/>
                </a:cubicBezTo>
                <a:cubicBezTo>
                  <a:pt x="368" y="85"/>
                  <a:pt x="368" y="85"/>
                  <a:pt x="368" y="85"/>
                </a:cubicBezTo>
                <a:cubicBezTo>
                  <a:pt x="368" y="84"/>
                  <a:pt x="368" y="84"/>
                  <a:pt x="368" y="84"/>
                </a:cubicBezTo>
                <a:cubicBezTo>
                  <a:pt x="367" y="84"/>
                  <a:pt x="367" y="84"/>
                  <a:pt x="367" y="84"/>
                </a:cubicBezTo>
                <a:cubicBezTo>
                  <a:pt x="366" y="85"/>
                  <a:pt x="366" y="85"/>
                  <a:pt x="366" y="85"/>
                </a:cubicBezTo>
                <a:cubicBezTo>
                  <a:pt x="365" y="84"/>
                  <a:pt x="365" y="84"/>
                  <a:pt x="365" y="84"/>
                </a:cubicBezTo>
                <a:cubicBezTo>
                  <a:pt x="363" y="85"/>
                  <a:pt x="363" y="85"/>
                  <a:pt x="363" y="85"/>
                </a:cubicBezTo>
                <a:cubicBezTo>
                  <a:pt x="362" y="85"/>
                  <a:pt x="362" y="85"/>
                  <a:pt x="362" y="85"/>
                </a:cubicBezTo>
                <a:cubicBezTo>
                  <a:pt x="362" y="84"/>
                  <a:pt x="362" y="84"/>
                  <a:pt x="362" y="84"/>
                </a:cubicBezTo>
                <a:cubicBezTo>
                  <a:pt x="361" y="83"/>
                  <a:pt x="361" y="83"/>
                  <a:pt x="361" y="83"/>
                </a:cubicBezTo>
                <a:cubicBezTo>
                  <a:pt x="361" y="84"/>
                  <a:pt x="361" y="84"/>
                  <a:pt x="361" y="84"/>
                </a:cubicBezTo>
                <a:cubicBezTo>
                  <a:pt x="359" y="85"/>
                  <a:pt x="359" y="85"/>
                  <a:pt x="359" y="85"/>
                </a:cubicBezTo>
                <a:close/>
                <a:moveTo>
                  <a:pt x="374" y="83"/>
                </a:moveTo>
                <a:cubicBezTo>
                  <a:pt x="374" y="83"/>
                  <a:pt x="374" y="83"/>
                  <a:pt x="374" y="83"/>
                </a:cubicBezTo>
                <a:cubicBezTo>
                  <a:pt x="375" y="82"/>
                  <a:pt x="375" y="82"/>
                  <a:pt x="375" y="82"/>
                </a:cubicBezTo>
                <a:cubicBezTo>
                  <a:pt x="374" y="80"/>
                  <a:pt x="374" y="80"/>
                  <a:pt x="374" y="80"/>
                </a:cubicBezTo>
                <a:cubicBezTo>
                  <a:pt x="374" y="80"/>
                  <a:pt x="374" y="80"/>
                  <a:pt x="374" y="80"/>
                </a:cubicBezTo>
                <a:cubicBezTo>
                  <a:pt x="373" y="80"/>
                  <a:pt x="373" y="80"/>
                  <a:pt x="373" y="80"/>
                </a:cubicBezTo>
                <a:cubicBezTo>
                  <a:pt x="373" y="82"/>
                  <a:pt x="373" y="82"/>
                  <a:pt x="373" y="82"/>
                </a:cubicBezTo>
                <a:cubicBezTo>
                  <a:pt x="374" y="83"/>
                  <a:pt x="374" y="83"/>
                  <a:pt x="374" y="83"/>
                </a:cubicBezTo>
                <a:close/>
                <a:moveTo>
                  <a:pt x="378" y="102"/>
                </a:moveTo>
                <a:cubicBezTo>
                  <a:pt x="378" y="103"/>
                  <a:pt x="378" y="103"/>
                  <a:pt x="378" y="103"/>
                </a:cubicBezTo>
                <a:cubicBezTo>
                  <a:pt x="379" y="104"/>
                  <a:pt x="379" y="104"/>
                  <a:pt x="379" y="104"/>
                </a:cubicBezTo>
                <a:cubicBezTo>
                  <a:pt x="381" y="104"/>
                  <a:pt x="381" y="104"/>
                  <a:pt x="381" y="104"/>
                </a:cubicBezTo>
                <a:cubicBezTo>
                  <a:pt x="382" y="103"/>
                  <a:pt x="382" y="103"/>
                  <a:pt x="382" y="103"/>
                </a:cubicBezTo>
                <a:cubicBezTo>
                  <a:pt x="383" y="101"/>
                  <a:pt x="383" y="101"/>
                  <a:pt x="383" y="101"/>
                </a:cubicBezTo>
                <a:cubicBezTo>
                  <a:pt x="383" y="100"/>
                  <a:pt x="383" y="100"/>
                  <a:pt x="383" y="100"/>
                </a:cubicBezTo>
                <a:cubicBezTo>
                  <a:pt x="383" y="100"/>
                  <a:pt x="383" y="100"/>
                  <a:pt x="383" y="100"/>
                </a:cubicBezTo>
                <a:cubicBezTo>
                  <a:pt x="383" y="99"/>
                  <a:pt x="383" y="99"/>
                  <a:pt x="383" y="99"/>
                </a:cubicBezTo>
                <a:cubicBezTo>
                  <a:pt x="382" y="98"/>
                  <a:pt x="382" y="98"/>
                  <a:pt x="382" y="98"/>
                </a:cubicBezTo>
                <a:cubicBezTo>
                  <a:pt x="381" y="98"/>
                  <a:pt x="381" y="98"/>
                  <a:pt x="381" y="98"/>
                </a:cubicBezTo>
                <a:cubicBezTo>
                  <a:pt x="381" y="97"/>
                  <a:pt x="381" y="97"/>
                  <a:pt x="381" y="97"/>
                </a:cubicBezTo>
                <a:cubicBezTo>
                  <a:pt x="380" y="97"/>
                  <a:pt x="380" y="97"/>
                  <a:pt x="380" y="97"/>
                </a:cubicBezTo>
                <a:cubicBezTo>
                  <a:pt x="379" y="98"/>
                  <a:pt x="379" y="98"/>
                  <a:pt x="379" y="98"/>
                </a:cubicBezTo>
                <a:cubicBezTo>
                  <a:pt x="378" y="99"/>
                  <a:pt x="378" y="99"/>
                  <a:pt x="378" y="99"/>
                </a:cubicBezTo>
                <a:cubicBezTo>
                  <a:pt x="378" y="101"/>
                  <a:pt x="378" y="101"/>
                  <a:pt x="378" y="101"/>
                </a:cubicBezTo>
                <a:cubicBezTo>
                  <a:pt x="378" y="102"/>
                  <a:pt x="378" y="102"/>
                  <a:pt x="378" y="102"/>
                </a:cubicBezTo>
                <a:close/>
                <a:moveTo>
                  <a:pt x="377" y="102"/>
                </a:moveTo>
                <a:cubicBezTo>
                  <a:pt x="377" y="103"/>
                  <a:pt x="377" y="103"/>
                  <a:pt x="377" y="103"/>
                </a:cubicBezTo>
                <a:cubicBezTo>
                  <a:pt x="377" y="104"/>
                  <a:pt x="377" y="104"/>
                  <a:pt x="377" y="104"/>
                </a:cubicBezTo>
                <a:cubicBezTo>
                  <a:pt x="377" y="105"/>
                  <a:pt x="377" y="105"/>
                  <a:pt x="377" y="105"/>
                </a:cubicBezTo>
                <a:cubicBezTo>
                  <a:pt x="378" y="104"/>
                  <a:pt x="378" y="104"/>
                  <a:pt x="378" y="104"/>
                </a:cubicBezTo>
                <a:cubicBezTo>
                  <a:pt x="378" y="103"/>
                  <a:pt x="378" y="103"/>
                  <a:pt x="378" y="103"/>
                </a:cubicBezTo>
                <a:cubicBezTo>
                  <a:pt x="377" y="103"/>
                  <a:pt x="377" y="103"/>
                  <a:pt x="377" y="103"/>
                </a:cubicBezTo>
                <a:cubicBezTo>
                  <a:pt x="377" y="102"/>
                  <a:pt x="377" y="102"/>
                  <a:pt x="377" y="102"/>
                </a:cubicBezTo>
                <a:cubicBezTo>
                  <a:pt x="377" y="102"/>
                  <a:pt x="377" y="102"/>
                  <a:pt x="377" y="102"/>
                </a:cubicBezTo>
                <a:close/>
                <a:moveTo>
                  <a:pt x="358" y="93"/>
                </a:moveTo>
                <a:cubicBezTo>
                  <a:pt x="358" y="91"/>
                  <a:pt x="358" y="91"/>
                  <a:pt x="358" y="91"/>
                </a:cubicBezTo>
                <a:cubicBezTo>
                  <a:pt x="359" y="89"/>
                  <a:pt x="359" y="89"/>
                  <a:pt x="359" y="89"/>
                </a:cubicBezTo>
                <a:cubicBezTo>
                  <a:pt x="360" y="88"/>
                  <a:pt x="360" y="88"/>
                  <a:pt x="360" y="88"/>
                </a:cubicBezTo>
                <a:cubicBezTo>
                  <a:pt x="361" y="88"/>
                  <a:pt x="361" y="88"/>
                  <a:pt x="361" y="88"/>
                </a:cubicBezTo>
                <a:cubicBezTo>
                  <a:pt x="362" y="88"/>
                  <a:pt x="362" y="88"/>
                  <a:pt x="362" y="88"/>
                </a:cubicBezTo>
                <a:cubicBezTo>
                  <a:pt x="363" y="88"/>
                  <a:pt x="363" y="88"/>
                  <a:pt x="363" y="88"/>
                </a:cubicBezTo>
                <a:cubicBezTo>
                  <a:pt x="364" y="88"/>
                  <a:pt x="364" y="88"/>
                  <a:pt x="364" y="88"/>
                </a:cubicBezTo>
                <a:cubicBezTo>
                  <a:pt x="364" y="88"/>
                  <a:pt x="364" y="88"/>
                  <a:pt x="364" y="88"/>
                </a:cubicBezTo>
                <a:cubicBezTo>
                  <a:pt x="365" y="89"/>
                  <a:pt x="365" y="89"/>
                  <a:pt x="365" y="89"/>
                </a:cubicBezTo>
                <a:cubicBezTo>
                  <a:pt x="366" y="89"/>
                  <a:pt x="366" y="89"/>
                  <a:pt x="366" y="89"/>
                </a:cubicBezTo>
                <a:cubicBezTo>
                  <a:pt x="366" y="88"/>
                  <a:pt x="366" y="88"/>
                  <a:pt x="366" y="88"/>
                </a:cubicBezTo>
                <a:cubicBezTo>
                  <a:pt x="367" y="89"/>
                  <a:pt x="367" y="89"/>
                  <a:pt x="367" y="89"/>
                </a:cubicBezTo>
                <a:cubicBezTo>
                  <a:pt x="368" y="89"/>
                  <a:pt x="368" y="89"/>
                  <a:pt x="368" y="89"/>
                </a:cubicBezTo>
                <a:cubicBezTo>
                  <a:pt x="369" y="91"/>
                  <a:pt x="369" y="91"/>
                  <a:pt x="369" y="91"/>
                </a:cubicBezTo>
                <a:cubicBezTo>
                  <a:pt x="370" y="91"/>
                  <a:pt x="370" y="91"/>
                  <a:pt x="370" y="91"/>
                </a:cubicBezTo>
                <a:cubicBezTo>
                  <a:pt x="370" y="92"/>
                  <a:pt x="370" y="92"/>
                  <a:pt x="370" y="92"/>
                </a:cubicBezTo>
                <a:cubicBezTo>
                  <a:pt x="370" y="92"/>
                  <a:pt x="370" y="92"/>
                  <a:pt x="370" y="92"/>
                </a:cubicBezTo>
                <a:cubicBezTo>
                  <a:pt x="371" y="92"/>
                  <a:pt x="371" y="92"/>
                  <a:pt x="371" y="92"/>
                </a:cubicBezTo>
                <a:cubicBezTo>
                  <a:pt x="372" y="92"/>
                  <a:pt x="372" y="92"/>
                  <a:pt x="372" y="92"/>
                </a:cubicBezTo>
                <a:cubicBezTo>
                  <a:pt x="373" y="93"/>
                  <a:pt x="373" y="93"/>
                  <a:pt x="373" y="93"/>
                </a:cubicBezTo>
                <a:cubicBezTo>
                  <a:pt x="373" y="93"/>
                  <a:pt x="373" y="93"/>
                  <a:pt x="373" y="93"/>
                </a:cubicBezTo>
                <a:cubicBezTo>
                  <a:pt x="373" y="94"/>
                  <a:pt x="373" y="94"/>
                  <a:pt x="373" y="94"/>
                </a:cubicBezTo>
                <a:cubicBezTo>
                  <a:pt x="373" y="95"/>
                  <a:pt x="373" y="95"/>
                  <a:pt x="373" y="95"/>
                </a:cubicBezTo>
                <a:cubicBezTo>
                  <a:pt x="373" y="95"/>
                  <a:pt x="373" y="95"/>
                  <a:pt x="373" y="95"/>
                </a:cubicBezTo>
                <a:cubicBezTo>
                  <a:pt x="372" y="95"/>
                  <a:pt x="372" y="95"/>
                  <a:pt x="372" y="95"/>
                </a:cubicBezTo>
                <a:cubicBezTo>
                  <a:pt x="370" y="96"/>
                  <a:pt x="370" y="96"/>
                  <a:pt x="370" y="96"/>
                </a:cubicBezTo>
                <a:cubicBezTo>
                  <a:pt x="369" y="97"/>
                  <a:pt x="369" y="97"/>
                  <a:pt x="369" y="97"/>
                </a:cubicBezTo>
                <a:cubicBezTo>
                  <a:pt x="367" y="96"/>
                  <a:pt x="367" y="96"/>
                  <a:pt x="367" y="96"/>
                </a:cubicBezTo>
                <a:cubicBezTo>
                  <a:pt x="365" y="96"/>
                  <a:pt x="365" y="96"/>
                  <a:pt x="365" y="96"/>
                </a:cubicBezTo>
                <a:cubicBezTo>
                  <a:pt x="364" y="94"/>
                  <a:pt x="364" y="94"/>
                  <a:pt x="364" y="94"/>
                </a:cubicBezTo>
                <a:cubicBezTo>
                  <a:pt x="362" y="94"/>
                  <a:pt x="362" y="94"/>
                  <a:pt x="362" y="94"/>
                </a:cubicBezTo>
                <a:cubicBezTo>
                  <a:pt x="361" y="94"/>
                  <a:pt x="361" y="94"/>
                  <a:pt x="361" y="94"/>
                </a:cubicBezTo>
                <a:cubicBezTo>
                  <a:pt x="360" y="93"/>
                  <a:pt x="360" y="93"/>
                  <a:pt x="360" y="93"/>
                </a:cubicBezTo>
                <a:cubicBezTo>
                  <a:pt x="359" y="93"/>
                  <a:pt x="359" y="93"/>
                  <a:pt x="359" y="93"/>
                </a:cubicBezTo>
                <a:cubicBezTo>
                  <a:pt x="358" y="93"/>
                  <a:pt x="358" y="93"/>
                  <a:pt x="358" y="93"/>
                </a:cubicBezTo>
                <a:close/>
                <a:moveTo>
                  <a:pt x="343" y="72"/>
                </a:moveTo>
                <a:cubicBezTo>
                  <a:pt x="343" y="71"/>
                  <a:pt x="343" y="71"/>
                  <a:pt x="343" y="71"/>
                </a:cubicBezTo>
                <a:cubicBezTo>
                  <a:pt x="344" y="71"/>
                  <a:pt x="344" y="71"/>
                  <a:pt x="344" y="71"/>
                </a:cubicBezTo>
                <a:cubicBezTo>
                  <a:pt x="344" y="71"/>
                  <a:pt x="344" y="71"/>
                  <a:pt x="344" y="71"/>
                </a:cubicBezTo>
                <a:cubicBezTo>
                  <a:pt x="344" y="72"/>
                  <a:pt x="344" y="72"/>
                  <a:pt x="344" y="72"/>
                </a:cubicBezTo>
                <a:cubicBezTo>
                  <a:pt x="343" y="72"/>
                  <a:pt x="343" y="72"/>
                  <a:pt x="343" y="72"/>
                </a:cubicBezTo>
                <a:cubicBezTo>
                  <a:pt x="343" y="72"/>
                  <a:pt x="343" y="72"/>
                  <a:pt x="343" y="72"/>
                </a:cubicBezTo>
                <a:close/>
                <a:moveTo>
                  <a:pt x="344" y="79"/>
                </a:moveTo>
                <a:cubicBezTo>
                  <a:pt x="345" y="81"/>
                  <a:pt x="345" y="81"/>
                  <a:pt x="345" y="81"/>
                </a:cubicBezTo>
                <a:cubicBezTo>
                  <a:pt x="345" y="82"/>
                  <a:pt x="345" y="82"/>
                  <a:pt x="345" y="82"/>
                </a:cubicBezTo>
                <a:cubicBezTo>
                  <a:pt x="346" y="82"/>
                  <a:pt x="346" y="82"/>
                  <a:pt x="346" y="82"/>
                </a:cubicBezTo>
                <a:cubicBezTo>
                  <a:pt x="347" y="82"/>
                  <a:pt x="347" y="82"/>
                  <a:pt x="347" y="82"/>
                </a:cubicBezTo>
                <a:cubicBezTo>
                  <a:pt x="348" y="82"/>
                  <a:pt x="348" y="82"/>
                  <a:pt x="348" y="82"/>
                </a:cubicBezTo>
                <a:cubicBezTo>
                  <a:pt x="349" y="82"/>
                  <a:pt x="349" y="82"/>
                  <a:pt x="349" y="82"/>
                </a:cubicBezTo>
                <a:cubicBezTo>
                  <a:pt x="350" y="81"/>
                  <a:pt x="350" y="81"/>
                  <a:pt x="350" y="81"/>
                </a:cubicBezTo>
                <a:cubicBezTo>
                  <a:pt x="350" y="80"/>
                  <a:pt x="350" y="80"/>
                  <a:pt x="350" y="80"/>
                </a:cubicBezTo>
                <a:cubicBezTo>
                  <a:pt x="351" y="80"/>
                  <a:pt x="351" y="80"/>
                  <a:pt x="351" y="80"/>
                </a:cubicBezTo>
                <a:cubicBezTo>
                  <a:pt x="352" y="78"/>
                  <a:pt x="352" y="78"/>
                  <a:pt x="352" y="78"/>
                </a:cubicBezTo>
                <a:cubicBezTo>
                  <a:pt x="352" y="77"/>
                  <a:pt x="352" y="77"/>
                  <a:pt x="352" y="77"/>
                </a:cubicBezTo>
                <a:cubicBezTo>
                  <a:pt x="353" y="75"/>
                  <a:pt x="353" y="75"/>
                  <a:pt x="353" y="75"/>
                </a:cubicBezTo>
                <a:cubicBezTo>
                  <a:pt x="354" y="73"/>
                  <a:pt x="354" y="73"/>
                  <a:pt x="354" y="73"/>
                </a:cubicBezTo>
                <a:cubicBezTo>
                  <a:pt x="353" y="73"/>
                  <a:pt x="353" y="73"/>
                  <a:pt x="353" y="73"/>
                </a:cubicBezTo>
                <a:cubicBezTo>
                  <a:pt x="353" y="72"/>
                  <a:pt x="353" y="72"/>
                  <a:pt x="353" y="72"/>
                </a:cubicBezTo>
                <a:cubicBezTo>
                  <a:pt x="354" y="72"/>
                  <a:pt x="354" y="72"/>
                  <a:pt x="354" y="72"/>
                </a:cubicBezTo>
                <a:cubicBezTo>
                  <a:pt x="355" y="70"/>
                  <a:pt x="355" y="70"/>
                  <a:pt x="355" y="70"/>
                </a:cubicBezTo>
                <a:cubicBezTo>
                  <a:pt x="356" y="70"/>
                  <a:pt x="356" y="70"/>
                  <a:pt x="356" y="70"/>
                </a:cubicBezTo>
                <a:cubicBezTo>
                  <a:pt x="357" y="69"/>
                  <a:pt x="357" y="69"/>
                  <a:pt x="357" y="69"/>
                </a:cubicBezTo>
                <a:cubicBezTo>
                  <a:pt x="358" y="68"/>
                  <a:pt x="358" y="68"/>
                  <a:pt x="358" y="68"/>
                </a:cubicBezTo>
                <a:cubicBezTo>
                  <a:pt x="358" y="66"/>
                  <a:pt x="358" y="66"/>
                  <a:pt x="358" y="66"/>
                </a:cubicBezTo>
                <a:cubicBezTo>
                  <a:pt x="358" y="65"/>
                  <a:pt x="358" y="65"/>
                  <a:pt x="358" y="65"/>
                </a:cubicBezTo>
                <a:cubicBezTo>
                  <a:pt x="359" y="64"/>
                  <a:pt x="359" y="64"/>
                  <a:pt x="359" y="64"/>
                </a:cubicBezTo>
                <a:cubicBezTo>
                  <a:pt x="359" y="63"/>
                  <a:pt x="359" y="63"/>
                  <a:pt x="359" y="63"/>
                </a:cubicBezTo>
                <a:cubicBezTo>
                  <a:pt x="359" y="62"/>
                  <a:pt x="359" y="62"/>
                  <a:pt x="359" y="62"/>
                </a:cubicBezTo>
                <a:cubicBezTo>
                  <a:pt x="359" y="61"/>
                  <a:pt x="359" y="61"/>
                  <a:pt x="359" y="61"/>
                </a:cubicBezTo>
                <a:cubicBezTo>
                  <a:pt x="358" y="61"/>
                  <a:pt x="358" y="61"/>
                  <a:pt x="358" y="61"/>
                </a:cubicBezTo>
                <a:cubicBezTo>
                  <a:pt x="357" y="60"/>
                  <a:pt x="357" y="60"/>
                  <a:pt x="357" y="60"/>
                </a:cubicBezTo>
                <a:cubicBezTo>
                  <a:pt x="355" y="60"/>
                  <a:pt x="355" y="60"/>
                  <a:pt x="355" y="60"/>
                </a:cubicBezTo>
                <a:cubicBezTo>
                  <a:pt x="355" y="60"/>
                  <a:pt x="355" y="60"/>
                  <a:pt x="355" y="60"/>
                </a:cubicBezTo>
                <a:cubicBezTo>
                  <a:pt x="356" y="59"/>
                  <a:pt x="356" y="59"/>
                  <a:pt x="356" y="59"/>
                </a:cubicBezTo>
                <a:cubicBezTo>
                  <a:pt x="357" y="58"/>
                  <a:pt x="357" y="58"/>
                  <a:pt x="357" y="58"/>
                </a:cubicBezTo>
                <a:cubicBezTo>
                  <a:pt x="357" y="57"/>
                  <a:pt x="357" y="57"/>
                  <a:pt x="357" y="57"/>
                </a:cubicBezTo>
                <a:cubicBezTo>
                  <a:pt x="357" y="56"/>
                  <a:pt x="357" y="56"/>
                  <a:pt x="357" y="56"/>
                </a:cubicBezTo>
                <a:cubicBezTo>
                  <a:pt x="357" y="55"/>
                  <a:pt x="357" y="55"/>
                  <a:pt x="357" y="55"/>
                </a:cubicBezTo>
                <a:cubicBezTo>
                  <a:pt x="357" y="54"/>
                  <a:pt x="357" y="54"/>
                  <a:pt x="357" y="54"/>
                </a:cubicBezTo>
                <a:cubicBezTo>
                  <a:pt x="356" y="52"/>
                  <a:pt x="356" y="52"/>
                  <a:pt x="356" y="52"/>
                </a:cubicBezTo>
                <a:cubicBezTo>
                  <a:pt x="355" y="52"/>
                  <a:pt x="355" y="52"/>
                  <a:pt x="355" y="52"/>
                </a:cubicBezTo>
                <a:cubicBezTo>
                  <a:pt x="354" y="53"/>
                  <a:pt x="354" y="53"/>
                  <a:pt x="354" y="53"/>
                </a:cubicBezTo>
                <a:cubicBezTo>
                  <a:pt x="352" y="54"/>
                  <a:pt x="352" y="54"/>
                  <a:pt x="352" y="54"/>
                </a:cubicBezTo>
                <a:cubicBezTo>
                  <a:pt x="352" y="55"/>
                  <a:pt x="352" y="55"/>
                  <a:pt x="352" y="55"/>
                </a:cubicBezTo>
                <a:cubicBezTo>
                  <a:pt x="351" y="56"/>
                  <a:pt x="351" y="56"/>
                  <a:pt x="351" y="56"/>
                </a:cubicBezTo>
                <a:cubicBezTo>
                  <a:pt x="350" y="56"/>
                  <a:pt x="350" y="56"/>
                  <a:pt x="350" y="56"/>
                </a:cubicBezTo>
                <a:cubicBezTo>
                  <a:pt x="350" y="54"/>
                  <a:pt x="350" y="54"/>
                  <a:pt x="350" y="54"/>
                </a:cubicBezTo>
                <a:cubicBezTo>
                  <a:pt x="351" y="54"/>
                  <a:pt x="351" y="54"/>
                  <a:pt x="351" y="54"/>
                </a:cubicBezTo>
                <a:cubicBezTo>
                  <a:pt x="351" y="53"/>
                  <a:pt x="351" y="53"/>
                  <a:pt x="351" y="53"/>
                </a:cubicBezTo>
                <a:cubicBezTo>
                  <a:pt x="351" y="51"/>
                  <a:pt x="351" y="51"/>
                  <a:pt x="351" y="51"/>
                </a:cubicBezTo>
                <a:cubicBezTo>
                  <a:pt x="352" y="49"/>
                  <a:pt x="352" y="49"/>
                  <a:pt x="352" y="49"/>
                </a:cubicBezTo>
                <a:cubicBezTo>
                  <a:pt x="352" y="48"/>
                  <a:pt x="352" y="48"/>
                  <a:pt x="352" y="48"/>
                </a:cubicBezTo>
                <a:cubicBezTo>
                  <a:pt x="351" y="47"/>
                  <a:pt x="351" y="47"/>
                  <a:pt x="351" y="47"/>
                </a:cubicBezTo>
                <a:cubicBezTo>
                  <a:pt x="350" y="46"/>
                  <a:pt x="350" y="46"/>
                  <a:pt x="350" y="46"/>
                </a:cubicBezTo>
                <a:cubicBezTo>
                  <a:pt x="349" y="45"/>
                  <a:pt x="349" y="45"/>
                  <a:pt x="349" y="45"/>
                </a:cubicBezTo>
                <a:cubicBezTo>
                  <a:pt x="348" y="45"/>
                  <a:pt x="348" y="45"/>
                  <a:pt x="348" y="45"/>
                </a:cubicBezTo>
                <a:cubicBezTo>
                  <a:pt x="346" y="45"/>
                  <a:pt x="346" y="45"/>
                  <a:pt x="346" y="45"/>
                </a:cubicBezTo>
                <a:cubicBezTo>
                  <a:pt x="345" y="46"/>
                  <a:pt x="345" y="46"/>
                  <a:pt x="345" y="46"/>
                </a:cubicBezTo>
                <a:cubicBezTo>
                  <a:pt x="344" y="46"/>
                  <a:pt x="344" y="46"/>
                  <a:pt x="344" y="46"/>
                </a:cubicBezTo>
                <a:cubicBezTo>
                  <a:pt x="344" y="44"/>
                  <a:pt x="344" y="44"/>
                  <a:pt x="344" y="44"/>
                </a:cubicBezTo>
                <a:cubicBezTo>
                  <a:pt x="343" y="44"/>
                  <a:pt x="343" y="44"/>
                  <a:pt x="343" y="44"/>
                </a:cubicBezTo>
                <a:cubicBezTo>
                  <a:pt x="342" y="45"/>
                  <a:pt x="342" y="45"/>
                  <a:pt x="342" y="45"/>
                </a:cubicBezTo>
                <a:cubicBezTo>
                  <a:pt x="342" y="46"/>
                  <a:pt x="342" y="46"/>
                  <a:pt x="342" y="46"/>
                </a:cubicBezTo>
                <a:cubicBezTo>
                  <a:pt x="341" y="46"/>
                  <a:pt x="341" y="46"/>
                  <a:pt x="341" y="46"/>
                </a:cubicBezTo>
                <a:cubicBezTo>
                  <a:pt x="340" y="48"/>
                  <a:pt x="340" y="48"/>
                  <a:pt x="340" y="48"/>
                </a:cubicBezTo>
                <a:cubicBezTo>
                  <a:pt x="339" y="49"/>
                  <a:pt x="339" y="49"/>
                  <a:pt x="339" y="49"/>
                </a:cubicBezTo>
                <a:cubicBezTo>
                  <a:pt x="339" y="50"/>
                  <a:pt x="339" y="50"/>
                  <a:pt x="339" y="50"/>
                </a:cubicBezTo>
                <a:cubicBezTo>
                  <a:pt x="340" y="51"/>
                  <a:pt x="340" y="51"/>
                  <a:pt x="340" y="51"/>
                </a:cubicBezTo>
                <a:cubicBezTo>
                  <a:pt x="341" y="51"/>
                  <a:pt x="341" y="51"/>
                  <a:pt x="341" y="51"/>
                </a:cubicBezTo>
                <a:cubicBezTo>
                  <a:pt x="342" y="50"/>
                  <a:pt x="342" y="50"/>
                  <a:pt x="342" y="50"/>
                </a:cubicBezTo>
                <a:cubicBezTo>
                  <a:pt x="342" y="51"/>
                  <a:pt x="342" y="51"/>
                  <a:pt x="342" y="51"/>
                </a:cubicBezTo>
                <a:cubicBezTo>
                  <a:pt x="341" y="52"/>
                  <a:pt x="341" y="52"/>
                  <a:pt x="341" y="52"/>
                </a:cubicBezTo>
                <a:cubicBezTo>
                  <a:pt x="339" y="53"/>
                  <a:pt x="339" y="53"/>
                  <a:pt x="339" y="53"/>
                </a:cubicBezTo>
                <a:cubicBezTo>
                  <a:pt x="338" y="55"/>
                  <a:pt x="338" y="55"/>
                  <a:pt x="338" y="55"/>
                </a:cubicBezTo>
                <a:cubicBezTo>
                  <a:pt x="338" y="55"/>
                  <a:pt x="338" y="55"/>
                  <a:pt x="338" y="55"/>
                </a:cubicBezTo>
                <a:cubicBezTo>
                  <a:pt x="340" y="54"/>
                  <a:pt x="340" y="54"/>
                  <a:pt x="340" y="54"/>
                </a:cubicBezTo>
                <a:cubicBezTo>
                  <a:pt x="342" y="53"/>
                  <a:pt x="342" y="53"/>
                  <a:pt x="342" y="53"/>
                </a:cubicBezTo>
                <a:cubicBezTo>
                  <a:pt x="342" y="53"/>
                  <a:pt x="342" y="53"/>
                  <a:pt x="342" y="53"/>
                </a:cubicBezTo>
                <a:cubicBezTo>
                  <a:pt x="343" y="52"/>
                  <a:pt x="343" y="52"/>
                  <a:pt x="343" y="52"/>
                </a:cubicBezTo>
                <a:cubicBezTo>
                  <a:pt x="344" y="53"/>
                  <a:pt x="344" y="53"/>
                  <a:pt x="344" y="53"/>
                </a:cubicBezTo>
                <a:cubicBezTo>
                  <a:pt x="344" y="55"/>
                  <a:pt x="344" y="55"/>
                  <a:pt x="344" y="55"/>
                </a:cubicBezTo>
                <a:cubicBezTo>
                  <a:pt x="343" y="55"/>
                  <a:pt x="343" y="55"/>
                  <a:pt x="343" y="55"/>
                </a:cubicBezTo>
                <a:cubicBezTo>
                  <a:pt x="341" y="56"/>
                  <a:pt x="341" y="56"/>
                  <a:pt x="341" y="56"/>
                </a:cubicBezTo>
                <a:cubicBezTo>
                  <a:pt x="341" y="57"/>
                  <a:pt x="341" y="57"/>
                  <a:pt x="341" y="57"/>
                </a:cubicBezTo>
                <a:cubicBezTo>
                  <a:pt x="342" y="58"/>
                  <a:pt x="342" y="58"/>
                  <a:pt x="342" y="58"/>
                </a:cubicBezTo>
                <a:cubicBezTo>
                  <a:pt x="343" y="58"/>
                  <a:pt x="343" y="58"/>
                  <a:pt x="343" y="58"/>
                </a:cubicBezTo>
                <a:cubicBezTo>
                  <a:pt x="344" y="58"/>
                  <a:pt x="344" y="58"/>
                  <a:pt x="344" y="58"/>
                </a:cubicBezTo>
                <a:cubicBezTo>
                  <a:pt x="343" y="59"/>
                  <a:pt x="343" y="59"/>
                  <a:pt x="343" y="59"/>
                </a:cubicBezTo>
                <a:cubicBezTo>
                  <a:pt x="341" y="60"/>
                  <a:pt x="341" y="60"/>
                  <a:pt x="341" y="60"/>
                </a:cubicBezTo>
                <a:cubicBezTo>
                  <a:pt x="340" y="59"/>
                  <a:pt x="340" y="59"/>
                  <a:pt x="340" y="59"/>
                </a:cubicBezTo>
                <a:cubicBezTo>
                  <a:pt x="340" y="60"/>
                  <a:pt x="340" y="60"/>
                  <a:pt x="340" y="60"/>
                </a:cubicBezTo>
                <a:cubicBezTo>
                  <a:pt x="341" y="61"/>
                  <a:pt x="341" y="61"/>
                  <a:pt x="341" y="61"/>
                </a:cubicBezTo>
                <a:cubicBezTo>
                  <a:pt x="341" y="61"/>
                  <a:pt x="341" y="61"/>
                  <a:pt x="341" y="61"/>
                </a:cubicBezTo>
                <a:cubicBezTo>
                  <a:pt x="339" y="63"/>
                  <a:pt x="339" y="63"/>
                  <a:pt x="339" y="63"/>
                </a:cubicBezTo>
                <a:cubicBezTo>
                  <a:pt x="339" y="63"/>
                  <a:pt x="339" y="63"/>
                  <a:pt x="339" y="63"/>
                </a:cubicBezTo>
                <a:cubicBezTo>
                  <a:pt x="338" y="61"/>
                  <a:pt x="338" y="61"/>
                  <a:pt x="338" y="61"/>
                </a:cubicBezTo>
                <a:cubicBezTo>
                  <a:pt x="337" y="61"/>
                  <a:pt x="337" y="61"/>
                  <a:pt x="337" y="61"/>
                </a:cubicBezTo>
                <a:cubicBezTo>
                  <a:pt x="336" y="59"/>
                  <a:pt x="336" y="59"/>
                  <a:pt x="336" y="59"/>
                </a:cubicBezTo>
                <a:cubicBezTo>
                  <a:pt x="334" y="61"/>
                  <a:pt x="334" y="61"/>
                  <a:pt x="334" y="61"/>
                </a:cubicBezTo>
                <a:cubicBezTo>
                  <a:pt x="334" y="61"/>
                  <a:pt x="334" y="61"/>
                  <a:pt x="334" y="61"/>
                </a:cubicBezTo>
                <a:cubicBezTo>
                  <a:pt x="332" y="63"/>
                  <a:pt x="332" y="63"/>
                  <a:pt x="332" y="63"/>
                </a:cubicBezTo>
                <a:cubicBezTo>
                  <a:pt x="334" y="65"/>
                  <a:pt x="334" y="65"/>
                  <a:pt x="334" y="65"/>
                </a:cubicBezTo>
                <a:cubicBezTo>
                  <a:pt x="334" y="66"/>
                  <a:pt x="334" y="66"/>
                  <a:pt x="334" y="66"/>
                </a:cubicBezTo>
                <a:cubicBezTo>
                  <a:pt x="334" y="67"/>
                  <a:pt x="334" y="67"/>
                  <a:pt x="334" y="67"/>
                </a:cubicBezTo>
                <a:cubicBezTo>
                  <a:pt x="335" y="66"/>
                  <a:pt x="335" y="66"/>
                  <a:pt x="335" y="66"/>
                </a:cubicBezTo>
                <a:cubicBezTo>
                  <a:pt x="336" y="66"/>
                  <a:pt x="336" y="66"/>
                  <a:pt x="336" y="66"/>
                </a:cubicBezTo>
                <a:cubicBezTo>
                  <a:pt x="338" y="66"/>
                  <a:pt x="338" y="66"/>
                  <a:pt x="338" y="66"/>
                </a:cubicBezTo>
                <a:cubicBezTo>
                  <a:pt x="340" y="66"/>
                  <a:pt x="340" y="66"/>
                  <a:pt x="340" y="66"/>
                </a:cubicBezTo>
                <a:cubicBezTo>
                  <a:pt x="341" y="67"/>
                  <a:pt x="341" y="67"/>
                  <a:pt x="341" y="67"/>
                </a:cubicBezTo>
                <a:cubicBezTo>
                  <a:pt x="343" y="66"/>
                  <a:pt x="343" y="66"/>
                  <a:pt x="343" y="66"/>
                </a:cubicBezTo>
                <a:cubicBezTo>
                  <a:pt x="343" y="67"/>
                  <a:pt x="343" y="67"/>
                  <a:pt x="343" y="67"/>
                </a:cubicBezTo>
                <a:cubicBezTo>
                  <a:pt x="341" y="68"/>
                  <a:pt x="341" y="68"/>
                  <a:pt x="341" y="68"/>
                </a:cubicBezTo>
                <a:cubicBezTo>
                  <a:pt x="341" y="68"/>
                  <a:pt x="341" y="68"/>
                  <a:pt x="341" y="68"/>
                </a:cubicBezTo>
                <a:cubicBezTo>
                  <a:pt x="341" y="70"/>
                  <a:pt x="341" y="70"/>
                  <a:pt x="341" y="70"/>
                </a:cubicBezTo>
                <a:cubicBezTo>
                  <a:pt x="343" y="69"/>
                  <a:pt x="343" y="69"/>
                  <a:pt x="343" y="69"/>
                </a:cubicBezTo>
                <a:cubicBezTo>
                  <a:pt x="344" y="70"/>
                  <a:pt x="344" y="70"/>
                  <a:pt x="344" y="70"/>
                </a:cubicBezTo>
                <a:cubicBezTo>
                  <a:pt x="345" y="72"/>
                  <a:pt x="345" y="72"/>
                  <a:pt x="345" y="72"/>
                </a:cubicBezTo>
                <a:cubicBezTo>
                  <a:pt x="346" y="72"/>
                  <a:pt x="346" y="72"/>
                  <a:pt x="346" y="72"/>
                </a:cubicBezTo>
                <a:cubicBezTo>
                  <a:pt x="347" y="73"/>
                  <a:pt x="347" y="73"/>
                  <a:pt x="347" y="73"/>
                </a:cubicBezTo>
                <a:cubicBezTo>
                  <a:pt x="346" y="74"/>
                  <a:pt x="346" y="74"/>
                  <a:pt x="346" y="74"/>
                </a:cubicBezTo>
                <a:cubicBezTo>
                  <a:pt x="346" y="75"/>
                  <a:pt x="346" y="75"/>
                  <a:pt x="346" y="75"/>
                </a:cubicBezTo>
                <a:cubicBezTo>
                  <a:pt x="344" y="79"/>
                  <a:pt x="344" y="79"/>
                  <a:pt x="344" y="79"/>
                </a:cubicBezTo>
                <a:close/>
                <a:moveTo>
                  <a:pt x="337" y="70"/>
                </a:moveTo>
                <a:cubicBezTo>
                  <a:pt x="338" y="69"/>
                  <a:pt x="338" y="69"/>
                  <a:pt x="338" y="69"/>
                </a:cubicBezTo>
                <a:cubicBezTo>
                  <a:pt x="339" y="68"/>
                  <a:pt x="339" y="68"/>
                  <a:pt x="339" y="68"/>
                </a:cubicBezTo>
                <a:cubicBezTo>
                  <a:pt x="340" y="68"/>
                  <a:pt x="340" y="68"/>
                  <a:pt x="340" y="68"/>
                </a:cubicBezTo>
                <a:cubicBezTo>
                  <a:pt x="340" y="68"/>
                  <a:pt x="340" y="68"/>
                  <a:pt x="340" y="68"/>
                </a:cubicBezTo>
                <a:cubicBezTo>
                  <a:pt x="339" y="69"/>
                  <a:pt x="339" y="69"/>
                  <a:pt x="339" y="69"/>
                </a:cubicBezTo>
                <a:cubicBezTo>
                  <a:pt x="338" y="70"/>
                  <a:pt x="338" y="70"/>
                  <a:pt x="338" y="70"/>
                </a:cubicBezTo>
                <a:cubicBezTo>
                  <a:pt x="337" y="70"/>
                  <a:pt x="337" y="70"/>
                  <a:pt x="337" y="70"/>
                </a:cubicBezTo>
                <a:close/>
                <a:moveTo>
                  <a:pt x="335" y="77"/>
                </a:moveTo>
                <a:cubicBezTo>
                  <a:pt x="335" y="75"/>
                  <a:pt x="335" y="75"/>
                  <a:pt x="335" y="75"/>
                </a:cubicBezTo>
                <a:cubicBezTo>
                  <a:pt x="337" y="75"/>
                  <a:pt x="337" y="75"/>
                  <a:pt x="337" y="75"/>
                </a:cubicBezTo>
                <a:cubicBezTo>
                  <a:pt x="339" y="76"/>
                  <a:pt x="339" y="76"/>
                  <a:pt x="339" y="76"/>
                </a:cubicBezTo>
                <a:cubicBezTo>
                  <a:pt x="341" y="78"/>
                  <a:pt x="341" y="78"/>
                  <a:pt x="341" y="78"/>
                </a:cubicBezTo>
                <a:cubicBezTo>
                  <a:pt x="341" y="79"/>
                  <a:pt x="341" y="79"/>
                  <a:pt x="341" y="79"/>
                </a:cubicBezTo>
                <a:cubicBezTo>
                  <a:pt x="341" y="81"/>
                  <a:pt x="341" y="81"/>
                  <a:pt x="341" y="81"/>
                </a:cubicBezTo>
                <a:cubicBezTo>
                  <a:pt x="340" y="81"/>
                  <a:pt x="340" y="81"/>
                  <a:pt x="340" y="81"/>
                </a:cubicBezTo>
                <a:cubicBezTo>
                  <a:pt x="339" y="81"/>
                  <a:pt x="339" y="81"/>
                  <a:pt x="339" y="81"/>
                </a:cubicBezTo>
                <a:cubicBezTo>
                  <a:pt x="338" y="81"/>
                  <a:pt x="338" y="81"/>
                  <a:pt x="338" y="81"/>
                </a:cubicBezTo>
                <a:cubicBezTo>
                  <a:pt x="337" y="81"/>
                  <a:pt x="337" y="81"/>
                  <a:pt x="337" y="81"/>
                </a:cubicBezTo>
                <a:cubicBezTo>
                  <a:pt x="336" y="80"/>
                  <a:pt x="336" y="80"/>
                  <a:pt x="336" y="80"/>
                </a:cubicBezTo>
                <a:cubicBezTo>
                  <a:pt x="335" y="78"/>
                  <a:pt x="335" y="78"/>
                  <a:pt x="335" y="78"/>
                </a:cubicBezTo>
                <a:cubicBezTo>
                  <a:pt x="335" y="77"/>
                  <a:pt x="335" y="77"/>
                  <a:pt x="335" y="77"/>
                </a:cubicBezTo>
                <a:close/>
                <a:moveTo>
                  <a:pt x="319" y="87"/>
                </a:moveTo>
                <a:cubicBezTo>
                  <a:pt x="320" y="87"/>
                  <a:pt x="320" y="87"/>
                  <a:pt x="320" y="87"/>
                </a:cubicBezTo>
                <a:cubicBezTo>
                  <a:pt x="322" y="87"/>
                  <a:pt x="322" y="87"/>
                  <a:pt x="322" y="87"/>
                </a:cubicBezTo>
                <a:cubicBezTo>
                  <a:pt x="321" y="88"/>
                  <a:pt x="321" y="88"/>
                  <a:pt x="321" y="88"/>
                </a:cubicBezTo>
                <a:cubicBezTo>
                  <a:pt x="320" y="88"/>
                  <a:pt x="320" y="88"/>
                  <a:pt x="320" y="88"/>
                </a:cubicBezTo>
                <a:cubicBezTo>
                  <a:pt x="319" y="87"/>
                  <a:pt x="319" y="87"/>
                  <a:pt x="319" y="87"/>
                </a:cubicBezTo>
                <a:close/>
                <a:moveTo>
                  <a:pt x="318" y="86"/>
                </a:moveTo>
                <a:cubicBezTo>
                  <a:pt x="317" y="84"/>
                  <a:pt x="317" y="84"/>
                  <a:pt x="317" y="84"/>
                </a:cubicBezTo>
                <a:cubicBezTo>
                  <a:pt x="318" y="83"/>
                  <a:pt x="318" y="83"/>
                  <a:pt x="318" y="83"/>
                </a:cubicBezTo>
                <a:cubicBezTo>
                  <a:pt x="318" y="81"/>
                  <a:pt x="318" y="81"/>
                  <a:pt x="318" y="81"/>
                </a:cubicBezTo>
                <a:cubicBezTo>
                  <a:pt x="318" y="80"/>
                  <a:pt x="318" y="80"/>
                  <a:pt x="318" y="80"/>
                </a:cubicBezTo>
                <a:cubicBezTo>
                  <a:pt x="320" y="79"/>
                  <a:pt x="320" y="79"/>
                  <a:pt x="320" y="79"/>
                </a:cubicBezTo>
                <a:cubicBezTo>
                  <a:pt x="320" y="78"/>
                  <a:pt x="320" y="78"/>
                  <a:pt x="320" y="78"/>
                </a:cubicBezTo>
                <a:cubicBezTo>
                  <a:pt x="320" y="78"/>
                  <a:pt x="320" y="78"/>
                  <a:pt x="320" y="78"/>
                </a:cubicBezTo>
                <a:cubicBezTo>
                  <a:pt x="320" y="77"/>
                  <a:pt x="320" y="77"/>
                  <a:pt x="320" y="77"/>
                </a:cubicBezTo>
                <a:cubicBezTo>
                  <a:pt x="321" y="75"/>
                  <a:pt x="321" y="75"/>
                  <a:pt x="321" y="75"/>
                </a:cubicBezTo>
                <a:cubicBezTo>
                  <a:pt x="321" y="74"/>
                  <a:pt x="321" y="74"/>
                  <a:pt x="321" y="74"/>
                </a:cubicBezTo>
                <a:cubicBezTo>
                  <a:pt x="322" y="73"/>
                  <a:pt x="322" y="73"/>
                  <a:pt x="322" y="73"/>
                </a:cubicBezTo>
                <a:cubicBezTo>
                  <a:pt x="322" y="74"/>
                  <a:pt x="322" y="74"/>
                  <a:pt x="322" y="74"/>
                </a:cubicBezTo>
                <a:cubicBezTo>
                  <a:pt x="323" y="76"/>
                  <a:pt x="323" y="76"/>
                  <a:pt x="323" y="76"/>
                </a:cubicBezTo>
                <a:cubicBezTo>
                  <a:pt x="323" y="76"/>
                  <a:pt x="323" y="76"/>
                  <a:pt x="323" y="76"/>
                </a:cubicBezTo>
                <a:cubicBezTo>
                  <a:pt x="322" y="79"/>
                  <a:pt x="322" y="79"/>
                  <a:pt x="322" y="79"/>
                </a:cubicBezTo>
                <a:cubicBezTo>
                  <a:pt x="322" y="80"/>
                  <a:pt x="322" y="80"/>
                  <a:pt x="322" y="80"/>
                </a:cubicBezTo>
                <a:cubicBezTo>
                  <a:pt x="321" y="81"/>
                  <a:pt x="321" y="81"/>
                  <a:pt x="321" y="81"/>
                </a:cubicBezTo>
                <a:cubicBezTo>
                  <a:pt x="322" y="82"/>
                  <a:pt x="322" y="82"/>
                  <a:pt x="322" y="82"/>
                </a:cubicBezTo>
                <a:cubicBezTo>
                  <a:pt x="321" y="85"/>
                  <a:pt x="321" y="85"/>
                  <a:pt x="321" y="85"/>
                </a:cubicBezTo>
                <a:cubicBezTo>
                  <a:pt x="320" y="86"/>
                  <a:pt x="320" y="86"/>
                  <a:pt x="320" y="86"/>
                </a:cubicBezTo>
                <a:cubicBezTo>
                  <a:pt x="318" y="86"/>
                  <a:pt x="318" y="86"/>
                  <a:pt x="318" y="86"/>
                </a:cubicBezTo>
                <a:close/>
                <a:moveTo>
                  <a:pt x="304" y="57"/>
                </a:moveTo>
                <a:cubicBezTo>
                  <a:pt x="303" y="56"/>
                  <a:pt x="303" y="56"/>
                  <a:pt x="303" y="56"/>
                </a:cubicBezTo>
                <a:cubicBezTo>
                  <a:pt x="303" y="54"/>
                  <a:pt x="303" y="54"/>
                  <a:pt x="303" y="54"/>
                </a:cubicBezTo>
                <a:cubicBezTo>
                  <a:pt x="303" y="54"/>
                  <a:pt x="303" y="54"/>
                  <a:pt x="303" y="54"/>
                </a:cubicBezTo>
                <a:cubicBezTo>
                  <a:pt x="302" y="53"/>
                  <a:pt x="302" y="53"/>
                  <a:pt x="302" y="53"/>
                </a:cubicBezTo>
                <a:cubicBezTo>
                  <a:pt x="301" y="53"/>
                  <a:pt x="301" y="53"/>
                  <a:pt x="301" y="53"/>
                </a:cubicBezTo>
                <a:cubicBezTo>
                  <a:pt x="300" y="53"/>
                  <a:pt x="300" y="53"/>
                  <a:pt x="300" y="53"/>
                </a:cubicBezTo>
                <a:cubicBezTo>
                  <a:pt x="300" y="53"/>
                  <a:pt x="300" y="53"/>
                  <a:pt x="300" y="53"/>
                </a:cubicBezTo>
                <a:cubicBezTo>
                  <a:pt x="298" y="53"/>
                  <a:pt x="298" y="53"/>
                  <a:pt x="298" y="53"/>
                </a:cubicBezTo>
                <a:cubicBezTo>
                  <a:pt x="297" y="53"/>
                  <a:pt x="297" y="53"/>
                  <a:pt x="297" y="53"/>
                </a:cubicBezTo>
                <a:cubicBezTo>
                  <a:pt x="297" y="52"/>
                  <a:pt x="297" y="52"/>
                  <a:pt x="297" y="52"/>
                </a:cubicBezTo>
                <a:cubicBezTo>
                  <a:pt x="298" y="51"/>
                  <a:pt x="298" y="51"/>
                  <a:pt x="298" y="51"/>
                </a:cubicBezTo>
                <a:cubicBezTo>
                  <a:pt x="298" y="50"/>
                  <a:pt x="298" y="50"/>
                  <a:pt x="298" y="50"/>
                </a:cubicBezTo>
                <a:cubicBezTo>
                  <a:pt x="300" y="50"/>
                  <a:pt x="300" y="50"/>
                  <a:pt x="300" y="50"/>
                </a:cubicBezTo>
                <a:cubicBezTo>
                  <a:pt x="301" y="50"/>
                  <a:pt x="301" y="50"/>
                  <a:pt x="301" y="50"/>
                </a:cubicBezTo>
                <a:cubicBezTo>
                  <a:pt x="305" y="49"/>
                  <a:pt x="305" y="49"/>
                  <a:pt x="305" y="49"/>
                </a:cubicBezTo>
                <a:cubicBezTo>
                  <a:pt x="306" y="49"/>
                  <a:pt x="306" y="49"/>
                  <a:pt x="306" y="49"/>
                </a:cubicBezTo>
                <a:cubicBezTo>
                  <a:pt x="307" y="50"/>
                  <a:pt x="307" y="50"/>
                  <a:pt x="307" y="50"/>
                </a:cubicBezTo>
                <a:cubicBezTo>
                  <a:pt x="308" y="50"/>
                  <a:pt x="308" y="50"/>
                  <a:pt x="308" y="50"/>
                </a:cubicBezTo>
                <a:cubicBezTo>
                  <a:pt x="309" y="50"/>
                  <a:pt x="309" y="50"/>
                  <a:pt x="309" y="50"/>
                </a:cubicBezTo>
                <a:cubicBezTo>
                  <a:pt x="311" y="49"/>
                  <a:pt x="311" y="49"/>
                  <a:pt x="311" y="49"/>
                </a:cubicBezTo>
                <a:cubicBezTo>
                  <a:pt x="313" y="49"/>
                  <a:pt x="313" y="49"/>
                  <a:pt x="313" y="49"/>
                </a:cubicBezTo>
                <a:cubicBezTo>
                  <a:pt x="313" y="49"/>
                  <a:pt x="313" y="49"/>
                  <a:pt x="313" y="49"/>
                </a:cubicBezTo>
                <a:cubicBezTo>
                  <a:pt x="314" y="48"/>
                  <a:pt x="314" y="48"/>
                  <a:pt x="314" y="48"/>
                </a:cubicBezTo>
                <a:cubicBezTo>
                  <a:pt x="315" y="49"/>
                  <a:pt x="315" y="49"/>
                  <a:pt x="315" y="49"/>
                </a:cubicBezTo>
                <a:cubicBezTo>
                  <a:pt x="315" y="49"/>
                  <a:pt x="315" y="49"/>
                  <a:pt x="315" y="49"/>
                </a:cubicBezTo>
                <a:cubicBezTo>
                  <a:pt x="316" y="51"/>
                  <a:pt x="316" y="51"/>
                  <a:pt x="316" y="51"/>
                </a:cubicBezTo>
                <a:cubicBezTo>
                  <a:pt x="316" y="52"/>
                  <a:pt x="316" y="52"/>
                  <a:pt x="316" y="52"/>
                </a:cubicBezTo>
                <a:cubicBezTo>
                  <a:pt x="314" y="54"/>
                  <a:pt x="314" y="54"/>
                  <a:pt x="314" y="54"/>
                </a:cubicBezTo>
                <a:cubicBezTo>
                  <a:pt x="315" y="55"/>
                  <a:pt x="315" y="55"/>
                  <a:pt x="315" y="55"/>
                </a:cubicBezTo>
                <a:cubicBezTo>
                  <a:pt x="314" y="58"/>
                  <a:pt x="314" y="58"/>
                  <a:pt x="314" y="58"/>
                </a:cubicBezTo>
                <a:cubicBezTo>
                  <a:pt x="313" y="58"/>
                  <a:pt x="313" y="58"/>
                  <a:pt x="313" y="58"/>
                </a:cubicBezTo>
                <a:cubicBezTo>
                  <a:pt x="312" y="60"/>
                  <a:pt x="312" y="60"/>
                  <a:pt x="312" y="60"/>
                </a:cubicBezTo>
                <a:cubicBezTo>
                  <a:pt x="311" y="59"/>
                  <a:pt x="311" y="59"/>
                  <a:pt x="311" y="59"/>
                </a:cubicBezTo>
                <a:cubicBezTo>
                  <a:pt x="310" y="59"/>
                  <a:pt x="310" y="59"/>
                  <a:pt x="310" y="59"/>
                </a:cubicBezTo>
                <a:cubicBezTo>
                  <a:pt x="309" y="59"/>
                  <a:pt x="309" y="59"/>
                  <a:pt x="309" y="59"/>
                </a:cubicBezTo>
                <a:cubicBezTo>
                  <a:pt x="308" y="59"/>
                  <a:pt x="308" y="59"/>
                  <a:pt x="308" y="59"/>
                </a:cubicBezTo>
                <a:cubicBezTo>
                  <a:pt x="306" y="57"/>
                  <a:pt x="306" y="57"/>
                  <a:pt x="306" y="57"/>
                </a:cubicBezTo>
                <a:cubicBezTo>
                  <a:pt x="306" y="56"/>
                  <a:pt x="306" y="56"/>
                  <a:pt x="306" y="56"/>
                </a:cubicBezTo>
                <a:cubicBezTo>
                  <a:pt x="305" y="54"/>
                  <a:pt x="305" y="54"/>
                  <a:pt x="305" y="54"/>
                </a:cubicBezTo>
                <a:cubicBezTo>
                  <a:pt x="305" y="55"/>
                  <a:pt x="305" y="55"/>
                  <a:pt x="305" y="55"/>
                </a:cubicBezTo>
                <a:cubicBezTo>
                  <a:pt x="305" y="56"/>
                  <a:pt x="305" y="56"/>
                  <a:pt x="305" y="56"/>
                </a:cubicBezTo>
                <a:cubicBezTo>
                  <a:pt x="304" y="57"/>
                  <a:pt x="304" y="57"/>
                  <a:pt x="304" y="57"/>
                </a:cubicBezTo>
                <a:close/>
                <a:moveTo>
                  <a:pt x="286" y="67"/>
                </a:moveTo>
                <a:cubicBezTo>
                  <a:pt x="287" y="65"/>
                  <a:pt x="287" y="65"/>
                  <a:pt x="287" y="65"/>
                </a:cubicBezTo>
                <a:cubicBezTo>
                  <a:pt x="287" y="64"/>
                  <a:pt x="287" y="64"/>
                  <a:pt x="287" y="64"/>
                </a:cubicBezTo>
                <a:cubicBezTo>
                  <a:pt x="289" y="63"/>
                  <a:pt x="289" y="63"/>
                  <a:pt x="289" y="63"/>
                </a:cubicBezTo>
                <a:cubicBezTo>
                  <a:pt x="289" y="62"/>
                  <a:pt x="289" y="62"/>
                  <a:pt x="289" y="62"/>
                </a:cubicBezTo>
                <a:cubicBezTo>
                  <a:pt x="290" y="61"/>
                  <a:pt x="290" y="61"/>
                  <a:pt x="290" y="61"/>
                </a:cubicBezTo>
                <a:cubicBezTo>
                  <a:pt x="291" y="60"/>
                  <a:pt x="291" y="60"/>
                  <a:pt x="291" y="60"/>
                </a:cubicBezTo>
                <a:cubicBezTo>
                  <a:pt x="292" y="60"/>
                  <a:pt x="292" y="60"/>
                  <a:pt x="292" y="60"/>
                </a:cubicBezTo>
                <a:cubicBezTo>
                  <a:pt x="295" y="60"/>
                  <a:pt x="295" y="60"/>
                  <a:pt x="295" y="60"/>
                </a:cubicBezTo>
                <a:cubicBezTo>
                  <a:pt x="296" y="60"/>
                  <a:pt x="296" y="60"/>
                  <a:pt x="296" y="60"/>
                </a:cubicBezTo>
                <a:cubicBezTo>
                  <a:pt x="297" y="60"/>
                  <a:pt x="297" y="60"/>
                  <a:pt x="297" y="60"/>
                </a:cubicBezTo>
                <a:cubicBezTo>
                  <a:pt x="298" y="61"/>
                  <a:pt x="298" y="61"/>
                  <a:pt x="298" y="61"/>
                </a:cubicBezTo>
                <a:cubicBezTo>
                  <a:pt x="299" y="61"/>
                  <a:pt x="299" y="61"/>
                  <a:pt x="299" y="61"/>
                </a:cubicBezTo>
                <a:cubicBezTo>
                  <a:pt x="300" y="60"/>
                  <a:pt x="300" y="60"/>
                  <a:pt x="300" y="60"/>
                </a:cubicBezTo>
                <a:cubicBezTo>
                  <a:pt x="302" y="61"/>
                  <a:pt x="302" y="61"/>
                  <a:pt x="302" y="61"/>
                </a:cubicBezTo>
                <a:cubicBezTo>
                  <a:pt x="302" y="61"/>
                  <a:pt x="302" y="61"/>
                  <a:pt x="302" y="61"/>
                </a:cubicBezTo>
                <a:cubicBezTo>
                  <a:pt x="304" y="61"/>
                  <a:pt x="304" y="61"/>
                  <a:pt x="304" y="61"/>
                </a:cubicBezTo>
                <a:cubicBezTo>
                  <a:pt x="305" y="62"/>
                  <a:pt x="305" y="62"/>
                  <a:pt x="305" y="62"/>
                </a:cubicBezTo>
                <a:cubicBezTo>
                  <a:pt x="306" y="62"/>
                  <a:pt x="306" y="62"/>
                  <a:pt x="306" y="62"/>
                </a:cubicBezTo>
                <a:cubicBezTo>
                  <a:pt x="307" y="62"/>
                  <a:pt x="307" y="62"/>
                  <a:pt x="307" y="62"/>
                </a:cubicBezTo>
                <a:cubicBezTo>
                  <a:pt x="308" y="63"/>
                  <a:pt x="308" y="63"/>
                  <a:pt x="308" y="63"/>
                </a:cubicBezTo>
                <a:cubicBezTo>
                  <a:pt x="306" y="65"/>
                  <a:pt x="306" y="65"/>
                  <a:pt x="306" y="65"/>
                </a:cubicBezTo>
                <a:cubicBezTo>
                  <a:pt x="305" y="65"/>
                  <a:pt x="305" y="65"/>
                  <a:pt x="305" y="65"/>
                </a:cubicBezTo>
                <a:cubicBezTo>
                  <a:pt x="302" y="66"/>
                  <a:pt x="302" y="66"/>
                  <a:pt x="302" y="66"/>
                </a:cubicBezTo>
                <a:cubicBezTo>
                  <a:pt x="301" y="66"/>
                  <a:pt x="301" y="66"/>
                  <a:pt x="301" y="66"/>
                </a:cubicBezTo>
                <a:cubicBezTo>
                  <a:pt x="300" y="67"/>
                  <a:pt x="300" y="67"/>
                  <a:pt x="300" y="67"/>
                </a:cubicBezTo>
                <a:cubicBezTo>
                  <a:pt x="300" y="68"/>
                  <a:pt x="300" y="68"/>
                  <a:pt x="300" y="68"/>
                </a:cubicBezTo>
                <a:cubicBezTo>
                  <a:pt x="301" y="68"/>
                  <a:pt x="301" y="68"/>
                  <a:pt x="301" y="68"/>
                </a:cubicBezTo>
                <a:cubicBezTo>
                  <a:pt x="302" y="68"/>
                  <a:pt x="302" y="68"/>
                  <a:pt x="302" y="68"/>
                </a:cubicBezTo>
                <a:cubicBezTo>
                  <a:pt x="302" y="69"/>
                  <a:pt x="302" y="69"/>
                  <a:pt x="302" y="69"/>
                </a:cubicBezTo>
                <a:cubicBezTo>
                  <a:pt x="300" y="71"/>
                  <a:pt x="300" y="71"/>
                  <a:pt x="300" y="71"/>
                </a:cubicBezTo>
                <a:cubicBezTo>
                  <a:pt x="300" y="71"/>
                  <a:pt x="300" y="71"/>
                  <a:pt x="300" y="71"/>
                </a:cubicBezTo>
                <a:cubicBezTo>
                  <a:pt x="299" y="72"/>
                  <a:pt x="299" y="72"/>
                  <a:pt x="299" y="72"/>
                </a:cubicBezTo>
                <a:cubicBezTo>
                  <a:pt x="299" y="72"/>
                  <a:pt x="299" y="72"/>
                  <a:pt x="299" y="72"/>
                </a:cubicBezTo>
                <a:cubicBezTo>
                  <a:pt x="298" y="73"/>
                  <a:pt x="298" y="73"/>
                  <a:pt x="298" y="73"/>
                </a:cubicBezTo>
                <a:cubicBezTo>
                  <a:pt x="297" y="73"/>
                  <a:pt x="297" y="73"/>
                  <a:pt x="297" y="73"/>
                </a:cubicBezTo>
                <a:cubicBezTo>
                  <a:pt x="295" y="74"/>
                  <a:pt x="295" y="74"/>
                  <a:pt x="295" y="74"/>
                </a:cubicBezTo>
                <a:cubicBezTo>
                  <a:pt x="294" y="74"/>
                  <a:pt x="294" y="74"/>
                  <a:pt x="294" y="74"/>
                </a:cubicBezTo>
                <a:cubicBezTo>
                  <a:pt x="293" y="73"/>
                  <a:pt x="293" y="73"/>
                  <a:pt x="293" y="73"/>
                </a:cubicBezTo>
                <a:cubicBezTo>
                  <a:pt x="292" y="73"/>
                  <a:pt x="292" y="73"/>
                  <a:pt x="292" y="73"/>
                </a:cubicBezTo>
                <a:cubicBezTo>
                  <a:pt x="291" y="73"/>
                  <a:pt x="291" y="73"/>
                  <a:pt x="291" y="73"/>
                </a:cubicBezTo>
                <a:cubicBezTo>
                  <a:pt x="289" y="73"/>
                  <a:pt x="289" y="73"/>
                  <a:pt x="289" y="73"/>
                </a:cubicBezTo>
                <a:cubicBezTo>
                  <a:pt x="289" y="73"/>
                  <a:pt x="289" y="73"/>
                  <a:pt x="289" y="73"/>
                </a:cubicBezTo>
                <a:cubicBezTo>
                  <a:pt x="290" y="72"/>
                  <a:pt x="290" y="72"/>
                  <a:pt x="290" y="72"/>
                </a:cubicBezTo>
                <a:cubicBezTo>
                  <a:pt x="289" y="71"/>
                  <a:pt x="289" y="71"/>
                  <a:pt x="289" y="71"/>
                </a:cubicBezTo>
                <a:cubicBezTo>
                  <a:pt x="288" y="70"/>
                  <a:pt x="288" y="70"/>
                  <a:pt x="288" y="70"/>
                </a:cubicBezTo>
                <a:cubicBezTo>
                  <a:pt x="287" y="70"/>
                  <a:pt x="287" y="70"/>
                  <a:pt x="287" y="70"/>
                </a:cubicBezTo>
                <a:cubicBezTo>
                  <a:pt x="287" y="68"/>
                  <a:pt x="287" y="68"/>
                  <a:pt x="287" y="68"/>
                </a:cubicBezTo>
                <a:cubicBezTo>
                  <a:pt x="286" y="67"/>
                  <a:pt x="286" y="67"/>
                  <a:pt x="286" y="67"/>
                </a:cubicBezTo>
                <a:close/>
                <a:moveTo>
                  <a:pt x="285" y="62"/>
                </a:moveTo>
                <a:cubicBezTo>
                  <a:pt x="286" y="63"/>
                  <a:pt x="286" y="63"/>
                  <a:pt x="286" y="63"/>
                </a:cubicBezTo>
                <a:cubicBezTo>
                  <a:pt x="287" y="62"/>
                  <a:pt x="287" y="62"/>
                  <a:pt x="287" y="62"/>
                </a:cubicBezTo>
                <a:cubicBezTo>
                  <a:pt x="288" y="61"/>
                  <a:pt x="288" y="61"/>
                  <a:pt x="288" y="61"/>
                </a:cubicBezTo>
                <a:cubicBezTo>
                  <a:pt x="288" y="59"/>
                  <a:pt x="288" y="59"/>
                  <a:pt x="288" y="59"/>
                </a:cubicBezTo>
                <a:cubicBezTo>
                  <a:pt x="289" y="58"/>
                  <a:pt x="289" y="58"/>
                  <a:pt x="289" y="58"/>
                </a:cubicBezTo>
                <a:cubicBezTo>
                  <a:pt x="288" y="57"/>
                  <a:pt x="288" y="57"/>
                  <a:pt x="288" y="57"/>
                </a:cubicBezTo>
                <a:cubicBezTo>
                  <a:pt x="289" y="56"/>
                  <a:pt x="289" y="56"/>
                  <a:pt x="289" y="56"/>
                </a:cubicBezTo>
                <a:cubicBezTo>
                  <a:pt x="288" y="56"/>
                  <a:pt x="288" y="56"/>
                  <a:pt x="288" y="56"/>
                </a:cubicBezTo>
                <a:cubicBezTo>
                  <a:pt x="287" y="56"/>
                  <a:pt x="287" y="56"/>
                  <a:pt x="287" y="56"/>
                </a:cubicBezTo>
                <a:cubicBezTo>
                  <a:pt x="286" y="56"/>
                  <a:pt x="286" y="56"/>
                  <a:pt x="286" y="56"/>
                </a:cubicBezTo>
                <a:cubicBezTo>
                  <a:pt x="285" y="56"/>
                  <a:pt x="285" y="56"/>
                  <a:pt x="285" y="56"/>
                </a:cubicBezTo>
                <a:cubicBezTo>
                  <a:pt x="285" y="56"/>
                  <a:pt x="285" y="56"/>
                  <a:pt x="285" y="56"/>
                </a:cubicBezTo>
                <a:cubicBezTo>
                  <a:pt x="284" y="58"/>
                  <a:pt x="284" y="58"/>
                  <a:pt x="284" y="58"/>
                </a:cubicBezTo>
                <a:cubicBezTo>
                  <a:pt x="284" y="59"/>
                  <a:pt x="284" y="59"/>
                  <a:pt x="284" y="59"/>
                </a:cubicBezTo>
                <a:cubicBezTo>
                  <a:pt x="284" y="60"/>
                  <a:pt x="284" y="60"/>
                  <a:pt x="284" y="60"/>
                </a:cubicBezTo>
                <a:cubicBezTo>
                  <a:pt x="285" y="62"/>
                  <a:pt x="285" y="62"/>
                  <a:pt x="285" y="62"/>
                </a:cubicBezTo>
                <a:close/>
                <a:moveTo>
                  <a:pt x="391" y="155"/>
                </a:moveTo>
                <a:cubicBezTo>
                  <a:pt x="391" y="155"/>
                  <a:pt x="392" y="155"/>
                  <a:pt x="392" y="155"/>
                </a:cubicBezTo>
                <a:cubicBezTo>
                  <a:pt x="393" y="155"/>
                  <a:pt x="393" y="155"/>
                  <a:pt x="393" y="155"/>
                </a:cubicBezTo>
                <a:cubicBezTo>
                  <a:pt x="393" y="156"/>
                  <a:pt x="393" y="156"/>
                  <a:pt x="393" y="156"/>
                </a:cubicBezTo>
                <a:cubicBezTo>
                  <a:pt x="395" y="156"/>
                  <a:pt x="395" y="156"/>
                  <a:pt x="395" y="156"/>
                </a:cubicBezTo>
                <a:cubicBezTo>
                  <a:pt x="395" y="156"/>
                  <a:pt x="395" y="156"/>
                  <a:pt x="395" y="156"/>
                </a:cubicBezTo>
                <a:cubicBezTo>
                  <a:pt x="396" y="156"/>
                  <a:pt x="396" y="156"/>
                  <a:pt x="396" y="156"/>
                </a:cubicBezTo>
                <a:cubicBezTo>
                  <a:pt x="398" y="155"/>
                  <a:pt x="398" y="155"/>
                  <a:pt x="398" y="155"/>
                </a:cubicBezTo>
                <a:cubicBezTo>
                  <a:pt x="399" y="155"/>
                  <a:pt x="399" y="155"/>
                  <a:pt x="399" y="155"/>
                </a:cubicBezTo>
                <a:cubicBezTo>
                  <a:pt x="401" y="156"/>
                  <a:pt x="401" y="156"/>
                  <a:pt x="401" y="156"/>
                </a:cubicBezTo>
                <a:cubicBezTo>
                  <a:pt x="402" y="156"/>
                  <a:pt x="402" y="156"/>
                  <a:pt x="402" y="156"/>
                </a:cubicBezTo>
                <a:cubicBezTo>
                  <a:pt x="403" y="156"/>
                  <a:pt x="403" y="156"/>
                  <a:pt x="403" y="156"/>
                </a:cubicBezTo>
                <a:cubicBezTo>
                  <a:pt x="404" y="155"/>
                  <a:pt x="404" y="155"/>
                  <a:pt x="404" y="155"/>
                </a:cubicBezTo>
                <a:cubicBezTo>
                  <a:pt x="404" y="155"/>
                  <a:pt x="404" y="155"/>
                  <a:pt x="404" y="155"/>
                </a:cubicBezTo>
                <a:cubicBezTo>
                  <a:pt x="404" y="153"/>
                  <a:pt x="404" y="153"/>
                  <a:pt x="404" y="153"/>
                </a:cubicBezTo>
                <a:cubicBezTo>
                  <a:pt x="405" y="153"/>
                  <a:pt x="405" y="153"/>
                  <a:pt x="405" y="153"/>
                </a:cubicBezTo>
                <a:cubicBezTo>
                  <a:pt x="405" y="152"/>
                  <a:pt x="405" y="152"/>
                  <a:pt x="405" y="152"/>
                </a:cubicBezTo>
                <a:cubicBezTo>
                  <a:pt x="405" y="151"/>
                  <a:pt x="405" y="151"/>
                  <a:pt x="405" y="151"/>
                </a:cubicBezTo>
                <a:cubicBezTo>
                  <a:pt x="405" y="150"/>
                  <a:pt x="405" y="150"/>
                  <a:pt x="405" y="150"/>
                </a:cubicBezTo>
                <a:cubicBezTo>
                  <a:pt x="405" y="150"/>
                  <a:pt x="405" y="150"/>
                  <a:pt x="405" y="150"/>
                </a:cubicBezTo>
                <a:cubicBezTo>
                  <a:pt x="405" y="151"/>
                  <a:pt x="405" y="151"/>
                  <a:pt x="405" y="151"/>
                </a:cubicBezTo>
                <a:cubicBezTo>
                  <a:pt x="406" y="153"/>
                  <a:pt x="406" y="153"/>
                  <a:pt x="406" y="153"/>
                </a:cubicBezTo>
                <a:cubicBezTo>
                  <a:pt x="407" y="152"/>
                  <a:pt x="407" y="152"/>
                  <a:pt x="407" y="152"/>
                </a:cubicBezTo>
                <a:cubicBezTo>
                  <a:pt x="408" y="152"/>
                  <a:pt x="408" y="152"/>
                  <a:pt x="408" y="152"/>
                </a:cubicBezTo>
                <a:cubicBezTo>
                  <a:pt x="408" y="152"/>
                  <a:pt x="408" y="152"/>
                  <a:pt x="408" y="152"/>
                </a:cubicBezTo>
                <a:cubicBezTo>
                  <a:pt x="409" y="152"/>
                  <a:pt x="409" y="152"/>
                  <a:pt x="409" y="152"/>
                </a:cubicBezTo>
                <a:cubicBezTo>
                  <a:pt x="409" y="151"/>
                  <a:pt x="409" y="151"/>
                  <a:pt x="409" y="151"/>
                </a:cubicBezTo>
                <a:cubicBezTo>
                  <a:pt x="409" y="150"/>
                  <a:pt x="409" y="150"/>
                  <a:pt x="409" y="150"/>
                </a:cubicBezTo>
                <a:cubicBezTo>
                  <a:pt x="409" y="149"/>
                  <a:pt x="409" y="149"/>
                  <a:pt x="409" y="149"/>
                </a:cubicBezTo>
                <a:cubicBezTo>
                  <a:pt x="408" y="149"/>
                  <a:pt x="408" y="149"/>
                  <a:pt x="408" y="149"/>
                </a:cubicBezTo>
                <a:cubicBezTo>
                  <a:pt x="407" y="149"/>
                  <a:pt x="407" y="149"/>
                  <a:pt x="407" y="149"/>
                </a:cubicBezTo>
                <a:cubicBezTo>
                  <a:pt x="406" y="149"/>
                  <a:pt x="406" y="149"/>
                  <a:pt x="406" y="149"/>
                </a:cubicBezTo>
                <a:cubicBezTo>
                  <a:pt x="405" y="148"/>
                  <a:pt x="405" y="148"/>
                  <a:pt x="405" y="148"/>
                </a:cubicBezTo>
                <a:cubicBezTo>
                  <a:pt x="406" y="148"/>
                  <a:pt x="406" y="148"/>
                  <a:pt x="406" y="148"/>
                </a:cubicBezTo>
                <a:cubicBezTo>
                  <a:pt x="407" y="148"/>
                  <a:pt x="407" y="148"/>
                  <a:pt x="407" y="148"/>
                </a:cubicBezTo>
                <a:cubicBezTo>
                  <a:pt x="408" y="148"/>
                  <a:pt x="408" y="148"/>
                  <a:pt x="408" y="148"/>
                </a:cubicBezTo>
                <a:cubicBezTo>
                  <a:pt x="409" y="147"/>
                  <a:pt x="409" y="147"/>
                  <a:pt x="409" y="147"/>
                </a:cubicBezTo>
                <a:cubicBezTo>
                  <a:pt x="409" y="147"/>
                  <a:pt x="409" y="147"/>
                  <a:pt x="409" y="147"/>
                </a:cubicBezTo>
                <a:cubicBezTo>
                  <a:pt x="410" y="147"/>
                  <a:pt x="410" y="147"/>
                  <a:pt x="410" y="147"/>
                </a:cubicBezTo>
                <a:cubicBezTo>
                  <a:pt x="411" y="146"/>
                  <a:pt x="411" y="146"/>
                  <a:pt x="411" y="146"/>
                </a:cubicBezTo>
                <a:cubicBezTo>
                  <a:pt x="411" y="145"/>
                  <a:pt x="411" y="145"/>
                  <a:pt x="411" y="145"/>
                </a:cubicBezTo>
                <a:cubicBezTo>
                  <a:pt x="411" y="144"/>
                  <a:pt x="411" y="144"/>
                  <a:pt x="411" y="144"/>
                </a:cubicBezTo>
                <a:cubicBezTo>
                  <a:pt x="411" y="143"/>
                  <a:pt x="411" y="143"/>
                  <a:pt x="411" y="143"/>
                </a:cubicBezTo>
                <a:cubicBezTo>
                  <a:pt x="412" y="143"/>
                  <a:pt x="412" y="143"/>
                  <a:pt x="412" y="143"/>
                </a:cubicBezTo>
                <a:cubicBezTo>
                  <a:pt x="412" y="142"/>
                  <a:pt x="412" y="142"/>
                  <a:pt x="412" y="142"/>
                </a:cubicBezTo>
                <a:cubicBezTo>
                  <a:pt x="410" y="142"/>
                  <a:pt x="410" y="142"/>
                  <a:pt x="410" y="142"/>
                </a:cubicBezTo>
                <a:cubicBezTo>
                  <a:pt x="409" y="142"/>
                  <a:pt x="409" y="142"/>
                  <a:pt x="409" y="142"/>
                </a:cubicBezTo>
                <a:cubicBezTo>
                  <a:pt x="410" y="141"/>
                  <a:pt x="410" y="141"/>
                  <a:pt x="410" y="141"/>
                </a:cubicBezTo>
                <a:cubicBezTo>
                  <a:pt x="410" y="141"/>
                  <a:pt x="410" y="141"/>
                  <a:pt x="410" y="141"/>
                </a:cubicBezTo>
                <a:cubicBezTo>
                  <a:pt x="410" y="140"/>
                  <a:pt x="410" y="140"/>
                  <a:pt x="410" y="140"/>
                </a:cubicBezTo>
                <a:cubicBezTo>
                  <a:pt x="409" y="139"/>
                  <a:pt x="409" y="139"/>
                  <a:pt x="409" y="139"/>
                </a:cubicBezTo>
                <a:cubicBezTo>
                  <a:pt x="407" y="139"/>
                  <a:pt x="407" y="139"/>
                  <a:pt x="407" y="139"/>
                </a:cubicBezTo>
                <a:cubicBezTo>
                  <a:pt x="406" y="138"/>
                  <a:pt x="406" y="138"/>
                  <a:pt x="406" y="138"/>
                </a:cubicBezTo>
                <a:cubicBezTo>
                  <a:pt x="407" y="138"/>
                  <a:pt x="407" y="138"/>
                  <a:pt x="407" y="138"/>
                </a:cubicBezTo>
                <a:cubicBezTo>
                  <a:pt x="407" y="137"/>
                  <a:pt x="407" y="137"/>
                  <a:pt x="407" y="137"/>
                </a:cubicBezTo>
                <a:cubicBezTo>
                  <a:pt x="407" y="136"/>
                  <a:pt x="407" y="136"/>
                  <a:pt x="407" y="136"/>
                </a:cubicBezTo>
                <a:cubicBezTo>
                  <a:pt x="405" y="135"/>
                  <a:pt x="405" y="135"/>
                  <a:pt x="405" y="135"/>
                </a:cubicBezTo>
                <a:cubicBezTo>
                  <a:pt x="404" y="135"/>
                  <a:pt x="404" y="135"/>
                  <a:pt x="404" y="135"/>
                </a:cubicBezTo>
                <a:cubicBezTo>
                  <a:pt x="403" y="135"/>
                  <a:pt x="403" y="135"/>
                  <a:pt x="403" y="135"/>
                </a:cubicBezTo>
                <a:cubicBezTo>
                  <a:pt x="401" y="135"/>
                  <a:pt x="401" y="135"/>
                  <a:pt x="401" y="135"/>
                </a:cubicBezTo>
                <a:cubicBezTo>
                  <a:pt x="399" y="136"/>
                  <a:pt x="399" y="136"/>
                  <a:pt x="399" y="136"/>
                </a:cubicBezTo>
                <a:cubicBezTo>
                  <a:pt x="397" y="134"/>
                  <a:pt x="397" y="134"/>
                  <a:pt x="397" y="134"/>
                </a:cubicBezTo>
                <a:cubicBezTo>
                  <a:pt x="397" y="133"/>
                  <a:pt x="397" y="133"/>
                  <a:pt x="397" y="133"/>
                </a:cubicBezTo>
                <a:cubicBezTo>
                  <a:pt x="396" y="133"/>
                  <a:pt x="396" y="133"/>
                  <a:pt x="396" y="133"/>
                </a:cubicBezTo>
                <a:cubicBezTo>
                  <a:pt x="395" y="134"/>
                  <a:pt x="395" y="134"/>
                  <a:pt x="395" y="134"/>
                </a:cubicBezTo>
                <a:cubicBezTo>
                  <a:pt x="394" y="134"/>
                  <a:pt x="394" y="134"/>
                  <a:pt x="394" y="134"/>
                </a:cubicBezTo>
                <a:cubicBezTo>
                  <a:pt x="393" y="134"/>
                  <a:pt x="393" y="134"/>
                  <a:pt x="393" y="134"/>
                </a:cubicBezTo>
                <a:cubicBezTo>
                  <a:pt x="392" y="134"/>
                  <a:pt x="392" y="134"/>
                  <a:pt x="392" y="134"/>
                </a:cubicBezTo>
                <a:cubicBezTo>
                  <a:pt x="392" y="135"/>
                  <a:pt x="392" y="135"/>
                  <a:pt x="392" y="135"/>
                </a:cubicBezTo>
                <a:cubicBezTo>
                  <a:pt x="391" y="134"/>
                  <a:pt x="391" y="134"/>
                  <a:pt x="391" y="134"/>
                </a:cubicBezTo>
                <a:cubicBezTo>
                  <a:pt x="390" y="134"/>
                  <a:pt x="390" y="134"/>
                  <a:pt x="390" y="134"/>
                </a:cubicBezTo>
                <a:cubicBezTo>
                  <a:pt x="389" y="134"/>
                  <a:pt x="389" y="134"/>
                  <a:pt x="389" y="134"/>
                </a:cubicBezTo>
                <a:cubicBezTo>
                  <a:pt x="387" y="134"/>
                  <a:pt x="387" y="134"/>
                  <a:pt x="387" y="134"/>
                </a:cubicBezTo>
                <a:cubicBezTo>
                  <a:pt x="387" y="135"/>
                  <a:pt x="387" y="135"/>
                  <a:pt x="387" y="135"/>
                </a:cubicBezTo>
                <a:cubicBezTo>
                  <a:pt x="387" y="136"/>
                  <a:pt x="387" y="136"/>
                  <a:pt x="387" y="136"/>
                </a:cubicBezTo>
                <a:cubicBezTo>
                  <a:pt x="387" y="135"/>
                  <a:pt x="387" y="135"/>
                  <a:pt x="387" y="135"/>
                </a:cubicBezTo>
                <a:cubicBezTo>
                  <a:pt x="386" y="134"/>
                  <a:pt x="386" y="134"/>
                  <a:pt x="386" y="134"/>
                </a:cubicBezTo>
                <a:cubicBezTo>
                  <a:pt x="385" y="135"/>
                  <a:pt x="385" y="135"/>
                  <a:pt x="385" y="135"/>
                </a:cubicBezTo>
                <a:cubicBezTo>
                  <a:pt x="382" y="134"/>
                  <a:pt x="382" y="134"/>
                  <a:pt x="382" y="134"/>
                </a:cubicBezTo>
                <a:cubicBezTo>
                  <a:pt x="382" y="135"/>
                  <a:pt x="382" y="135"/>
                  <a:pt x="382" y="135"/>
                </a:cubicBezTo>
                <a:cubicBezTo>
                  <a:pt x="383" y="135"/>
                  <a:pt x="383" y="135"/>
                  <a:pt x="383" y="135"/>
                </a:cubicBezTo>
                <a:cubicBezTo>
                  <a:pt x="383" y="136"/>
                  <a:pt x="383" y="136"/>
                  <a:pt x="383" y="136"/>
                </a:cubicBezTo>
                <a:cubicBezTo>
                  <a:pt x="384" y="137"/>
                  <a:pt x="384" y="137"/>
                  <a:pt x="384" y="137"/>
                </a:cubicBezTo>
                <a:cubicBezTo>
                  <a:pt x="383" y="137"/>
                  <a:pt x="383" y="137"/>
                  <a:pt x="383" y="137"/>
                </a:cubicBezTo>
                <a:cubicBezTo>
                  <a:pt x="382" y="136"/>
                  <a:pt x="382" y="136"/>
                  <a:pt x="382" y="136"/>
                </a:cubicBezTo>
                <a:cubicBezTo>
                  <a:pt x="381" y="136"/>
                  <a:pt x="381" y="136"/>
                  <a:pt x="381" y="136"/>
                </a:cubicBezTo>
                <a:cubicBezTo>
                  <a:pt x="380" y="136"/>
                  <a:pt x="380" y="136"/>
                  <a:pt x="380" y="136"/>
                </a:cubicBezTo>
                <a:cubicBezTo>
                  <a:pt x="379" y="136"/>
                  <a:pt x="379" y="136"/>
                  <a:pt x="379" y="136"/>
                </a:cubicBezTo>
                <a:cubicBezTo>
                  <a:pt x="380" y="135"/>
                  <a:pt x="380" y="135"/>
                  <a:pt x="380" y="135"/>
                </a:cubicBezTo>
                <a:cubicBezTo>
                  <a:pt x="380" y="134"/>
                  <a:pt x="380" y="134"/>
                  <a:pt x="380" y="134"/>
                </a:cubicBezTo>
                <a:cubicBezTo>
                  <a:pt x="379" y="133"/>
                  <a:pt x="379" y="133"/>
                  <a:pt x="379" y="133"/>
                </a:cubicBezTo>
                <a:cubicBezTo>
                  <a:pt x="379" y="132"/>
                  <a:pt x="379" y="132"/>
                  <a:pt x="379" y="132"/>
                </a:cubicBezTo>
                <a:cubicBezTo>
                  <a:pt x="379" y="132"/>
                  <a:pt x="379" y="132"/>
                  <a:pt x="379" y="132"/>
                </a:cubicBezTo>
                <a:cubicBezTo>
                  <a:pt x="377" y="132"/>
                  <a:pt x="377" y="132"/>
                  <a:pt x="377" y="132"/>
                </a:cubicBezTo>
                <a:cubicBezTo>
                  <a:pt x="377" y="133"/>
                  <a:pt x="377" y="133"/>
                  <a:pt x="377" y="133"/>
                </a:cubicBezTo>
                <a:cubicBezTo>
                  <a:pt x="377" y="134"/>
                  <a:pt x="377" y="134"/>
                  <a:pt x="377" y="134"/>
                </a:cubicBezTo>
                <a:cubicBezTo>
                  <a:pt x="376" y="134"/>
                  <a:pt x="376" y="134"/>
                  <a:pt x="376" y="134"/>
                </a:cubicBezTo>
                <a:cubicBezTo>
                  <a:pt x="377" y="133"/>
                  <a:pt x="377" y="133"/>
                  <a:pt x="377" y="133"/>
                </a:cubicBezTo>
                <a:cubicBezTo>
                  <a:pt x="376" y="132"/>
                  <a:pt x="376" y="132"/>
                  <a:pt x="376" y="132"/>
                </a:cubicBezTo>
                <a:cubicBezTo>
                  <a:pt x="375" y="132"/>
                  <a:pt x="375" y="132"/>
                  <a:pt x="375" y="132"/>
                </a:cubicBezTo>
                <a:cubicBezTo>
                  <a:pt x="374" y="132"/>
                  <a:pt x="374" y="132"/>
                  <a:pt x="374" y="132"/>
                </a:cubicBezTo>
                <a:cubicBezTo>
                  <a:pt x="374" y="132"/>
                  <a:pt x="374" y="132"/>
                  <a:pt x="374" y="132"/>
                </a:cubicBezTo>
                <a:cubicBezTo>
                  <a:pt x="374" y="131"/>
                  <a:pt x="374" y="131"/>
                  <a:pt x="374" y="131"/>
                </a:cubicBezTo>
                <a:cubicBezTo>
                  <a:pt x="374" y="131"/>
                  <a:pt x="374" y="131"/>
                  <a:pt x="374" y="131"/>
                </a:cubicBezTo>
                <a:cubicBezTo>
                  <a:pt x="374" y="129"/>
                  <a:pt x="374" y="129"/>
                  <a:pt x="374" y="129"/>
                </a:cubicBezTo>
                <a:cubicBezTo>
                  <a:pt x="372" y="130"/>
                  <a:pt x="372" y="130"/>
                  <a:pt x="372" y="130"/>
                </a:cubicBezTo>
                <a:cubicBezTo>
                  <a:pt x="371" y="131"/>
                  <a:pt x="371" y="131"/>
                  <a:pt x="371" y="131"/>
                </a:cubicBezTo>
                <a:cubicBezTo>
                  <a:pt x="371" y="133"/>
                  <a:pt x="371" y="133"/>
                  <a:pt x="371" y="133"/>
                </a:cubicBezTo>
                <a:cubicBezTo>
                  <a:pt x="370" y="133"/>
                  <a:pt x="370" y="133"/>
                  <a:pt x="370" y="133"/>
                </a:cubicBezTo>
                <a:cubicBezTo>
                  <a:pt x="370" y="131"/>
                  <a:pt x="370" y="131"/>
                  <a:pt x="370" y="131"/>
                </a:cubicBezTo>
                <a:cubicBezTo>
                  <a:pt x="370" y="130"/>
                  <a:pt x="370" y="130"/>
                  <a:pt x="370" y="130"/>
                </a:cubicBezTo>
                <a:cubicBezTo>
                  <a:pt x="370" y="130"/>
                  <a:pt x="370" y="130"/>
                  <a:pt x="370" y="130"/>
                </a:cubicBezTo>
                <a:cubicBezTo>
                  <a:pt x="371" y="128"/>
                  <a:pt x="371" y="128"/>
                  <a:pt x="371" y="128"/>
                </a:cubicBezTo>
                <a:cubicBezTo>
                  <a:pt x="370" y="127"/>
                  <a:pt x="370" y="127"/>
                  <a:pt x="370" y="127"/>
                </a:cubicBezTo>
                <a:cubicBezTo>
                  <a:pt x="369" y="127"/>
                  <a:pt x="369" y="127"/>
                  <a:pt x="369" y="127"/>
                </a:cubicBezTo>
                <a:cubicBezTo>
                  <a:pt x="369" y="127"/>
                  <a:pt x="369" y="127"/>
                  <a:pt x="369" y="127"/>
                </a:cubicBezTo>
                <a:cubicBezTo>
                  <a:pt x="370" y="126"/>
                  <a:pt x="370" y="126"/>
                  <a:pt x="370" y="126"/>
                </a:cubicBezTo>
                <a:cubicBezTo>
                  <a:pt x="370" y="125"/>
                  <a:pt x="370" y="125"/>
                  <a:pt x="370" y="125"/>
                </a:cubicBezTo>
                <a:cubicBezTo>
                  <a:pt x="370" y="124"/>
                  <a:pt x="370" y="124"/>
                  <a:pt x="370" y="124"/>
                </a:cubicBezTo>
                <a:cubicBezTo>
                  <a:pt x="369" y="124"/>
                  <a:pt x="369" y="124"/>
                  <a:pt x="369" y="124"/>
                </a:cubicBezTo>
                <a:cubicBezTo>
                  <a:pt x="368" y="124"/>
                  <a:pt x="368" y="124"/>
                  <a:pt x="368" y="124"/>
                </a:cubicBezTo>
                <a:cubicBezTo>
                  <a:pt x="368" y="124"/>
                  <a:pt x="368" y="124"/>
                  <a:pt x="368" y="124"/>
                </a:cubicBezTo>
                <a:cubicBezTo>
                  <a:pt x="367" y="124"/>
                  <a:pt x="367" y="124"/>
                  <a:pt x="367" y="124"/>
                </a:cubicBezTo>
                <a:cubicBezTo>
                  <a:pt x="368" y="124"/>
                  <a:pt x="368" y="124"/>
                  <a:pt x="368" y="124"/>
                </a:cubicBezTo>
                <a:cubicBezTo>
                  <a:pt x="367" y="123"/>
                  <a:pt x="367" y="123"/>
                  <a:pt x="367" y="123"/>
                </a:cubicBezTo>
                <a:cubicBezTo>
                  <a:pt x="366" y="123"/>
                  <a:pt x="366" y="123"/>
                  <a:pt x="366" y="123"/>
                </a:cubicBezTo>
                <a:cubicBezTo>
                  <a:pt x="366" y="124"/>
                  <a:pt x="366" y="124"/>
                  <a:pt x="366" y="124"/>
                </a:cubicBezTo>
                <a:cubicBezTo>
                  <a:pt x="364" y="124"/>
                  <a:pt x="364" y="124"/>
                  <a:pt x="364" y="124"/>
                </a:cubicBezTo>
                <a:cubicBezTo>
                  <a:pt x="364" y="124"/>
                  <a:pt x="364" y="124"/>
                  <a:pt x="364" y="124"/>
                </a:cubicBezTo>
                <a:cubicBezTo>
                  <a:pt x="365" y="123"/>
                  <a:pt x="365" y="123"/>
                  <a:pt x="365" y="123"/>
                </a:cubicBezTo>
                <a:cubicBezTo>
                  <a:pt x="365" y="122"/>
                  <a:pt x="365" y="122"/>
                  <a:pt x="365" y="122"/>
                </a:cubicBezTo>
                <a:cubicBezTo>
                  <a:pt x="366" y="121"/>
                  <a:pt x="366" y="121"/>
                  <a:pt x="366" y="121"/>
                </a:cubicBezTo>
                <a:cubicBezTo>
                  <a:pt x="367" y="121"/>
                  <a:pt x="367" y="121"/>
                  <a:pt x="367" y="121"/>
                </a:cubicBezTo>
                <a:cubicBezTo>
                  <a:pt x="368" y="123"/>
                  <a:pt x="368" y="123"/>
                  <a:pt x="368" y="123"/>
                </a:cubicBezTo>
                <a:cubicBezTo>
                  <a:pt x="369" y="123"/>
                  <a:pt x="369" y="123"/>
                  <a:pt x="369" y="123"/>
                </a:cubicBezTo>
                <a:cubicBezTo>
                  <a:pt x="369" y="122"/>
                  <a:pt x="369" y="122"/>
                  <a:pt x="369" y="122"/>
                </a:cubicBezTo>
                <a:cubicBezTo>
                  <a:pt x="368" y="121"/>
                  <a:pt x="368" y="121"/>
                  <a:pt x="368" y="121"/>
                </a:cubicBezTo>
                <a:cubicBezTo>
                  <a:pt x="367" y="120"/>
                  <a:pt x="367" y="120"/>
                  <a:pt x="367" y="120"/>
                </a:cubicBezTo>
                <a:cubicBezTo>
                  <a:pt x="368" y="120"/>
                  <a:pt x="368" y="120"/>
                  <a:pt x="368" y="120"/>
                </a:cubicBezTo>
                <a:cubicBezTo>
                  <a:pt x="366" y="119"/>
                  <a:pt x="366" y="119"/>
                  <a:pt x="366" y="119"/>
                </a:cubicBezTo>
                <a:cubicBezTo>
                  <a:pt x="365" y="118"/>
                  <a:pt x="365" y="118"/>
                  <a:pt x="365" y="118"/>
                </a:cubicBezTo>
                <a:cubicBezTo>
                  <a:pt x="366" y="118"/>
                  <a:pt x="366" y="118"/>
                  <a:pt x="366" y="118"/>
                </a:cubicBezTo>
                <a:cubicBezTo>
                  <a:pt x="366" y="117"/>
                  <a:pt x="366" y="117"/>
                  <a:pt x="366" y="117"/>
                </a:cubicBezTo>
                <a:cubicBezTo>
                  <a:pt x="366" y="117"/>
                  <a:pt x="366" y="117"/>
                  <a:pt x="366" y="117"/>
                </a:cubicBezTo>
                <a:cubicBezTo>
                  <a:pt x="367" y="118"/>
                  <a:pt x="367" y="118"/>
                  <a:pt x="367" y="118"/>
                </a:cubicBezTo>
                <a:cubicBezTo>
                  <a:pt x="368" y="119"/>
                  <a:pt x="368" y="119"/>
                  <a:pt x="368" y="119"/>
                </a:cubicBezTo>
                <a:cubicBezTo>
                  <a:pt x="370" y="120"/>
                  <a:pt x="370" y="120"/>
                  <a:pt x="370" y="120"/>
                </a:cubicBezTo>
                <a:cubicBezTo>
                  <a:pt x="371" y="121"/>
                  <a:pt x="371" y="121"/>
                  <a:pt x="371" y="121"/>
                </a:cubicBezTo>
                <a:cubicBezTo>
                  <a:pt x="371" y="120"/>
                  <a:pt x="371" y="120"/>
                  <a:pt x="371" y="120"/>
                </a:cubicBezTo>
                <a:cubicBezTo>
                  <a:pt x="372" y="121"/>
                  <a:pt x="372" y="121"/>
                  <a:pt x="372" y="121"/>
                </a:cubicBezTo>
                <a:cubicBezTo>
                  <a:pt x="374" y="121"/>
                  <a:pt x="374" y="121"/>
                  <a:pt x="374" y="121"/>
                </a:cubicBezTo>
                <a:cubicBezTo>
                  <a:pt x="375" y="121"/>
                  <a:pt x="375" y="121"/>
                  <a:pt x="375" y="121"/>
                </a:cubicBezTo>
                <a:cubicBezTo>
                  <a:pt x="376" y="120"/>
                  <a:pt x="376" y="120"/>
                  <a:pt x="376" y="120"/>
                </a:cubicBezTo>
                <a:cubicBezTo>
                  <a:pt x="375" y="119"/>
                  <a:pt x="375" y="119"/>
                  <a:pt x="375" y="119"/>
                </a:cubicBezTo>
                <a:cubicBezTo>
                  <a:pt x="373" y="117"/>
                  <a:pt x="373" y="117"/>
                  <a:pt x="373" y="117"/>
                </a:cubicBezTo>
                <a:cubicBezTo>
                  <a:pt x="372" y="116"/>
                  <a:pt x="372" y="116"/>
                  <a:pt x="372" y="116"/>
                </a:cubicBezTo>
                <a:cubicBezTo>
                  <a:pt x="371" y="116"/>
                  <a:pt x="371" y="116"/>
                  <a:pt x="371" y="116"/>
                </a:cubicBezTo>
                <a:cubicBezTo>
                  <a:pt x="371" y="115"/>
                  <a:pt x="371" y="115"/>
                  <a:pt x="371" y="115"/>
                </a:cubicBezTo>
                <a:cubicBezTo>
                  <a:pt x="369" y="114"/>
                  <a:pt x="369" y="114"/>
                  <a:pt x="369" y="114"/>
                </a:cubicBezTo>
                <a:cubicBezTo>
                  <a:pt x="369" y="114"/>
                  <a:pt x="369" y="114"/>
                  <a:pt x="369" y="114"/>
                </a:cubicBezTo>
                <a:cubicBezTo>
                  <a:pt x="368" y="113"/>
                  <a:pt x="368" y="113"/>
                  <a:pt x="368" y="113"/>
                </a:cubicBezTo>
                <a:cubicBezTo>
                  <a:pt x="369" y="112"/>
                  <a:pt x="369" y="112"/>
                  <a:pt x="369" y="112"/>
                </a:cubicBezTo>
                <a:cubicBezTo>
                  <a:pt x="370" y="113"/>
                  <a:pt x="370" y="113"/>
                  <a:pt x="370" y="113"/>
                </a:cubicBezTo>
                <a:cubicBezTo>
                  <a:pt x="371" y="114"/>
                  <a:pt x="371" y="114"/>
                  <a:pt x="371" y="114"/>
                </a:cubicBezTo>
                <a:cubicBezTo>
                  <a:pt x="371" y="114"/>
                  <a:pt x="371" y="114"/>
                  <a:pt x="371" y="114"/>
                </a:cubicBezTo>
                <a:cubicBezTo>
                  <a:pt x="372" y="115"/>
                  <a:pt x="372" y="115"/>
                  <a:pt x="372" y="115"/>
                </a:cubicBezTo>
                <a:cubicBezTo>
                  <a:pt x="372" y="115"/>
                  <a:pt x="372" y="115"/>
                  <a:pt x="372" y="115"/>
                </a:cubicBezTo>
                <a:cubicBezTo>
                  <a:pt x="373" y="114"/>
                  <a:pt x="373" y="114"/>
                  <a:pt x="373" y="114"/>
                </a:cubicBezTo>
                <a:cubicBezTo>
                  <a:pt x="372" y="112"/>
                  <a:pt x="372" y="112"/>
                  <a:pt x="372" y="112"/>
                </a:cubicBezTo>
                <a:cubicBezTo>
                  <a:pt x="371" y="110"/>
                  <a:pt x="371" y="110"/>
                  <a:pt x="371" y="110"/>
                </a:cubicBezTo>
                <a:cubicBezTo>
                  <a:pt x="370" y="110"/>
                  <a:pt x="370" y="110"/>
                  <a:pt x="370" y="110"/>
                </a:cubicBezTo>
                <a:cubicBezTo>
                  <a:pt x="370" y="110"/>
                  <a:pt x="370" y="110"/>
                  <a:pt x="370" y="110"/>
                </a:cubicBezTo>
                <a:cubicBezTo>
                  <a:pt x="368" y="110"/>
                  <a:pt x="368" y="110"/>
                  <a:pt x="368" y="110"/>
                </a:cubicBezTo>
                <a:cubicBezTo>
                  <a:pt x="367" y="111"/>
                  <a:pt x="367" y="111"/>
                  <a:pt x="367" y="111"/>
                </a:cubicBezTo>
                <a:cubicBezTo>
                  <a:pt x="366" y="111"/>
                  <a:pt x="366" y="111"/>
                  <a:pt x="366" y="111"/>
                </a:cubicBezTo>
                <a:cubicBezTo>
                  <a:pt x="365" y="110"/>
                  <a:pt x="365" y="110"/>
                  <a:pt x="365" y="110"/>
                </a:cubicBezTo>
                <a:cubicBezTo>
                  <a:pt x="364" y="110"/>
                  <a:pt x="364" y="110"/>
                  <a:pt x="364" y="110"/>
                </a:cubicBezTo>
                <a:cubicBezTo>
                  <a:pt x="363" y="109"/>
                  <a:pt x="363" y="109"/>
                  <a:pt x="363" y="109"/>
                </a:cubicBezTo>
                <a:cubicBezTo>
                  <a:pt x="362" y="111"/>
                  <a:pt x="362" y="111"/>
                  <a:pt x="362" y="111"/>
                </a:cubicBezTo>
                <a:cubicBezTo>
                  <a:pt x="360" y="112"/>
                  <a:pt x="360" y="112"/>
                  <a:pt x="360" y="112"/>
                </a:cubicBezTo>
                <a:cubicBezTo>
                  <a:pt x="360" y="113"/>
                  <a:pt x="360" y="113"/>
                  <a:pt x="360" y="113"/>
                </a:cubicBezTo>
                <a:cubicBezTo>
                  <a:pt x="359" y="114"/>
                  <a:pt x="359" y="114"/>
                  <a:pt x="359" y="114"/>
                </a:cubicBezTo>
                <a:cubicBezTo>
                  <a:pt x="359" y="113"/>
                  <a:pt x="359" y="113"/>
                  <a:pt x="359" y="113"/>
                </a:cubicBezTo>
                <a:cubicBezTo>
                  <a:pt x="360" y="112"/>
                  <a:pt x="360" y="112"/>
                  <a:pt x="360" y="112"/>
                </a:cubicBezTo>
                <a:cubicBezTo>
                  <a:pt x="360" y="111"/>
                  <a:pt x="360" y="111"/>
                  <a:pt x="360" y="111"/>
                </a:cubicBezTo>
                <a:cubicBezTo>
                  <a:pt x="363" y="109"/>
                  <a:pt x="363" y="109"/>
                  <a:pt x="363" y="109"/>
                </a:cubicBezTo>
                <a:cubicBezTo>
                  <a:pt x="363" y="108"/>
                  <a:pt x="363" y="108"/>
                  <a:pt x="363" y="108"/>
                </a:cubicBezTo>
                <a:cubicBezTo>
                  <a:pt x="363" y="107"/>
                  <a:pt x="363" y="107"/>
                  <a:pt x="363" y="107"/>
                </a:cubicBezTo>
                <a:cubicBezTo>
                  <a:pt x="363" y="104"/>
                  <a:pt x="363" y="104"/>
                  <a:pt x="363" y="104"/>
                </a:cubicBezTo>
                <a:cubicBezTo>
                  <a:pt x="363" y="104"/>
                  <a:pt x="363" y="104"/>
                  <a:pt x="363" y="104"/>
                </a:cubicBezTo>
                <a:cubicBezTo>
                  <a:pt x="362" y="103"/>
                  <a:pt x="362" y="103"/>
                  <a:pt x="362" y="103"/>
                </a:cubicBezTo>
                <a:cubicBezTo>
                  <a:pt x="362" y="103"/>
                  <a:pt x="362" y="103"/>
                  <a:pt x="362" y="103"/>
                </a:cubicBezTo>
                <a:cubicBezTo>
                  <a:pt x="360" y="103"/>
                  <a:pt x="360" y="103"/>
                  <a:pt x="360" y="103"/>
                </a:cubicBezTo>
                <a:cubicBezTo>
                  <a:pt x="360" y="103"/>
                  <a:pt x="360" y="103"/>
                  <a:pt x="360" y="103"/>
                </a:cubicBezTo>
                <a:cubicBezTo>
                  <a:pt x="360" y="101"/>
                  <a:pt x="360" y="101"/>
                  <a:pt x="360" y="101"/>
                </a:cubicBezTo>
                <a:cubicBezTo>
                  <a:pt x="359" y="101"/>
                  <a:pt x="359" y="101"/>
                  <a:pt x="359" y="101"/>
                </a:cubicBezTo>
                <a:cubicBezTo>
                  <a:pt x="357" y="100"/>
                  <a:pt x="357" y="100"/>
                  <a:pt x="357" y="100"/>
                </a:cubicBezTo>
                <a:cubicBezTo>
                  <a:pt x="356" y="99"/>
                  <a:pt x="356" y="99"/>
                  <a:pt x="356" y="99"/>
                </a:cubicBezTo>
                <a:cubicBezTo>
                  <a:pt x="355" y="99"/>
                  <a:pt x="355" y="99"/>
                  <a:pt x="355" y="99"/>
                </a:cubicBezTo>
                <a:cubicBezTo>
                  <a:pt x="354" y="98"/>
                  <a:pt x="354" y="98"/>
                  <a:pt x="354" y="98"/>
                </a:cubicBezTo>
                <a:cubicBezTo>
                  <a:pt x="353" y="99"/>
                  <a:pt x="353" y="99"/>
                  <a:pt x="353" y="99"/>
                </a:cubicBezTo>
                <a:cubicBezTo>
                  <a:pt x="351" y="99"/>
                  <a:pt x="351" y="99"/>
                  <a:pt x="351" y="99"/>
                </a:cubicBezTo>
                <a:cubicBezTo>
                  <a:pt x="351" y="99"/>
                  <a:pt x="351" y="99"/>
                  <a:pt x="351" y="99"/>
                </a:cubicBezTo>
                <a:cubicBezTo>
                  <a:pt x="350" y="100"/>
                  <a:pt x="350" y="100"/>
                  <a:pt x="350" y="100"/>
                </a:cubicBezTo>
                <a:cubicBezTo>
                  <a:pt x="349" y="101"/>
                  <a:pt x="349" y="101"/>
                  <a:pt x="349" y="101"/>
                </a:cubicBezTo>
                <a:cubicBezTo>
                  <a:pt x="350" y="102"/>
                  <a:pt x="350" y="102"/>
                  <a:pt x="350" y="102"/>
                </a:cubicBezTo>
                <a:cubicBezTo>
                  <a:pt x="351" y="103"/>
                  <a:pt x="351" y="103"/>
                  <a:pt x="351" y="103"/>
                </a:cubicBezTo>
                <a:cubicBezTo>
                  <a:pt x="350" y="103"/>
                  <a:pt x="350" y="103"/>
                  <a:pt x="350" y="103"/>
                </a:cubicBezTo>
                <a:cubicBezTo>
                  <a:pt x="349" y="101"/>
                  <a:pt x="349" y="101"/>
                  <a:pt x="349" y="101"/>
                </a:cubicBezTo>
                <a:cubicBezTo>
                  <a:pt x="348" y="102"/>
                  <a:pt x="348" y="102"/>
                  <a:pt x="348" y="102"/>
                </a:cubicBezTo>
                <a:cubicBezTo>
                  <a:pt x="349" y="103"/>
                  <a:pt x="349" y="103"/>
                  <a:pt x="349" y="103"/>
                </a:cubicBezTo>
                <a:cubicBezTo>
                  <a:pt x="350" y="104"/>
                  <a:pt x="350" y="104"/>
                  <a:pt x="350" y="104"/>
                </a:cubicBezTo>
                <a:cubicBezTo>
                  <a:pt x="351" y="106"/>
                  <a:pt x="351" y="106"/>
                  <a:pt x="351" y="106"/>
                </a:cubicBezTo>
                <a:cubicBezTo>
                  <a:pt x="352" y="106"/>
                  <a:pt x="352" y="106"/>
                  <a:pt x="352" y="106"/>
                </a:cubicBezTo>
                <a:cubicBezTo>
                  <a:pt x="352" y="107"/>
                  <a:pt x="352" y="107"/>
                  <a:pt x="352" y="107"/>
                </a:cubicBezTo>
                <a:cubicBezTo>
                  <a:pt x="350" y="107"/>
                  <a:pt x="350" y="107"/>
                  <a:pt x="350" y="107"/>
                </a:cubicBezTo>
                <a:cubicBezTo>
                  <a:pt x="350" y="108"/>
                  <a:pt x="350" y="108"/>
                  <a:pt x="350" y="108"/>
                </a:cubicBezTo>
                <a:cubicBezTo>
                  <a:pt x="352" y="110"/>
                  <a:pt x="352" y="110"/>
                  <a:pt x="352" y="110"/>
                </a:cubicBezTo>
                <a:cubicBezTo>
                  <a:pt x="353" y="110"/>
                  <a:pt x="353" y="110"/>
                  <a:pt x="353" y="110"/>
                </a:cubicBezTo>
                <a:cubicBezTo>
                  <a:pt x="353" y="111"/>
                  <a:pt x="353" y="111"/>
                  <a:pt x="353" y="111"/>
                </a:cubicBezTo>
                <a:cubicBezTo>
                  <a:pt x="353" y="111"/>
                  <a:pt x="353" y="111"/>
                  <a:pt x="353" y="111"/>
                </a:cubicBezTo>
                <a:cubicBezTo>
                  <a:pt x="351" y="111"/>
                  <a:pt x="351" y="111"/>
                  <a:pt x="351" y="111"/>
                </a:cubicBezTo>
                <a:cubicBezTo>
                  <a:pt x="351" y="111"/>
                  <a:pt x="351" y="111"/>
                  <a:pt x="351" y="111"/>
                </a:cubicBezTo>
                <a:cubicBezTo>
                  <a:pt x="350" y="112"/>
                  <a:pt x="350" y="112"/>
                  <a:pt x="350" y="112"/>
                </a:cubicBezTo>
                <a:cubicBezTo>
                  <a:pt x="350" y="113"/>
                  <a:pt x="350" y="113"/>
                  <a:pt x="350" y="113"/>
                </a:cubicBezTo>
                <a:cubicBezTo>
                  <a:pt x="351" y="112"/>
                  <a:pt x="351" y="112"/>
                  <a:pt x="351" y="112"/>
                </a:cubicBezTo>
                <a:cubicBezTo>
                  <a:pt x="352" y="113"/>
                  <a:pt x="352" y="113"/>
                  <a:pt x="352" y="113"/>
                </a:cubicBezTo>
                <a:cubicBezTo>
                  <a:pt x="354" y="112"/>
                  <a:pt x="354" y="112"/>
                  <a:pt x="354" y="112"/>
                </a:cubicBezTo>
                <a:cubicBezTo>
                  <a:pt x="354" y="113"/>
                  <a:pt x="354" y="113"/>
                  <a:pt x="354" y="113"/>
                </a:cubicBezTo>
                <a:cubicBezTo>
                  <a:pt x="356" y="113"/>
                  <a:pt x="356" y="113"/>
                  <a:pt x="356" y="113"/>
                </a:cubicBezTo>
                <a:cubicBezTo>
                  <a:pt x="356" y="114"/>
                  <a:pt x="356" y="114"/>
                  <a:pt x="356" y="114"/>
                </a:cubicBezTo>
                <a:cubicBezTo>
                  <a:pt x="357" y="115"/>
                  <a:pt x="357" y="115"/>
                  <a:pt x="357" y="115"/>
                </a:cubicBezTo>
                <a:cubicBezTo>
                  <a:pt x="358" y="115"/>
                  <a:pt x="358" y="115"/>
                  <a:pt x="358" y="115"/>
                </a:cubicBezTo>
                <a:cubicBezTo>
                  <a:pt x="358" y="114"/>
                  <a:pt x="358" y="114"/>
                  <a:pt x="358" y="114"/>
                </a:cubicBezTo>
                <a:cubicBezTo>
                  <a:pt x="359" y="115"/>
                  <a:pt x="359" y="115"/>
                  <a:pt x="359" y="115"/>
                </a:cubicBezTo>
                <a:cubicBezTo>
                  <a:pt x="360" y="114"/>
                  <a:pt x="360" y="114"/>
                  <a:pt x="360" y="114"/>
                </a:cubicBezTo>
                <a:cubicBezTo>
                  <a:pt x="361" y="114"/>
                  <a:pt x="361" y="114"/>
                  <a:pt x="361" y="114"/>
                </a:cubicBezTo>
                <a:cubicBezTo>
                  <a:pt x="361" y="115"/>
                  <a:pt x="361" y="115"/>
                  <a:pt x="361" y="115"/>
                </a:cubicBezTo>
                <a:cubicBezTo>
                  <a:pt x="360" y="116"/>
                  <a:pt x="360" y="116"/>
                  <a:pt x="360" y="116"/>
                </a:cubicBezTo>
                <a:cubicBezTo>
                  <a:pt x="360" y="119"/>
                  <a:pt x="360" y="119"/>
                  <a:pt x="360" y="119"/>
                </a:cubicBezTo>
                <a:cubicBezTo>
                  <a:pt x="360" y="120"/>
                  <a:pt x="360" y="120"/>
                  <a:pt x="360" y="120"/>
                </a:cubicBezTo>
                <a:cubicBezTo>
                  <a:pt x="360" y="121"/>
                  <a:pt x="360" y="121"/>
                  <a:pt x="360" y="121"/>
                </a:cubicBezTo>
                <a:cubicBezTo>
                  <a:pt x="361" y="122"/>
                  <a:pt x="361" y="122"/>
                  <a:pt x="361" y="122"/>
                </a:cubicBezTo>
                <a:cubicBezTo>
                  <a:pt x="360" y="124"/>
                  <a:pt x="360" y="124"/>
                  <a:pt x="360" y="124"/>
                </a:cubicBezTo>
                <a:cubicBezTo>
                  <a:pt x="360" y="125"/>
                  <a:pt x="360" y="125"/>
                  <a:pt x="360" y="125"/>
                </a:cubicBezTo>
                <a:cubicBezTo>
                  <a:pt x="360" y="126"/>
                  <a:pt x="360" y="126"/>
                  <a:pt x="360" y="126"/>
                </a:cubicBezTo>
                <a:cubicBezTo>
                  <a:pt x="358" y="127"/>
                  <a:pt x="358" y="127"/>
                  <a:pt x="358" y="127"/>
                </a:cubicBezTo>
                <a:cubicBezTo>
                  <a:pt x="357" y="128"/>
                  <a:pt x="357" y="128"/>
                  <a:pt x="357" y="128"/>
                </a:cubicBezTo>
                <a:cubicBezTo>
                  <a:pt x="356" y="129"/>
                  <a:pt x="356" y="129"/>
                  <a:pt x="356" y="129"/>
                </a:cubicBezTo>
                <a:cubicBezTo>
                  <a:pt x="355" y="130"/>
                  <a:pt x="355" y="130"/>
                  <a:pt x="355" y="130"/>
                </a:cubicBezTo>
                <a:cubicBezTo>
                  <a:pt x="355" y="131"/>
                  <a:pt x="355" y="131"/>
                  <a:pt x="355" y="131"/>
                </a:cubicBezTo>
                <a:cubicBezTo>
                  <a:pt x="354" y="132"/>
                  <a:pt x="354" y="132"/>
                  <a:pt x="354" y="132"/>
                </a:cubicBezTo>
                <a:cubicBezTo>
                  <a:pt x="353" y="133"/>
                  <a:pt x="353" y="133"/>
                  <a:pt x="353" y="133"/>
                </a:cubicBezTo>
                <a:cubicBezTo>
                  <a:pt x="353" y="134"/>
                  <a:pt x="353" y="134"/>
                  <a:pt x="353" y="134"/>
                </a:cubicBezTo>
                <a:cubicBezTo>
                  <a:pt x="354" y="135"/>
                  <a:pt x="354" y="135"/>
                  <a:pt x="354" y="135"/>
                </a:cubicBezTo>
                <a:cubicBezTo>
                  <a:pt x="354" y="136"/>
                  <a:pt x="354" y="136"/>
                  <a:pt x="354" y="136"/>
                </a:cubicBezTo>
                <a:cubicBezTo>
                  <a:pt x="353" y="136"/>
                  <a:pt x="353" y="136"/>
                  <a:pt x="353" y="136"/>
                </a:cubicBezTo>
                <a:cubicBezTo>
                  <a:pt x="353" y="137"/>
                  <a:pt x="353" y="137"/>
                  <a:pt x="353" y="137"/>
                </a:cubicBezTo>
                <a:cubicBezTo>
                  <a:pt x="354" y="138"/>
                  <a:pt x="354" y="138"/>
                  <a:pt x="354" y="138"/>
                </a:cubicBezTo>
                <a:cubicBezTo>
                  <a:pt x="353" y="139"/>
                  <a:pt x="353" y="139"/>
                  <a:pt x="353" y="139"/>
                </a:cubicBezTo>
                <a:cubicBezTo>
                  <a:pt x="352" y="140"/>
                  <a:pt x="352" y="140"/>
                  <a:pt x="352" y="140"/>
                </a:cubicBezTo>
                <a:cubicBezTo>
                  <a:pt x="353" y="141"/>
                  <a:pt x="353" y="141"/>
                  <a:pt x="353" y="141"/>
                </a:cubicBezTo>
                <a:cubicBezTo>
                  <a:pt x="354" y="141"/>
                  <a:pt x="354" y="141"/>
                  <a:pt x="354" y="141"/>
                </a:cubicBezTo>
                <a:cubicBezTo>
                  <a:pt x="354" y="142"/>
                  <a:pt x="354" y="142"/>
                  <a:pt x="354" y="142"/>
                </a:cubicBezTo>
                <a:cubicBezTo>
                  <a:pt x="355" y="143"/>
                  <a:pt x="355" y="143"/>
                  <a:pt x="355" y="143"/>
                </a:cubicBezTo>
                <a:cubicBezTo>
                  <a:pt x="355" y="143"/>
                  <a:pt x="355" y="143"/>
                  <a:pt x="355" y="143"/>
                </a:cubicBezTo>
                <a:cubicBezTo>
                  <a:pt x="355" y="142"/>
                  <a:pt x="355" y="142"/>
                  <a:pt x="355" y="142"/>
                </a:cubicBezTo>
                <a:cubicBezTo>
                  <a:pt x="356" y="141"/>
                  <a:pt x="356" y="141"/>
                  <a:pt x="356" y="141"/>
                </a:cubicBezTo>
                <a:cubicBezTo>
                  <a:pt x="356" y="142"/>
                  <a:pt x="356" y="142"/>
                  <a:pt x="356" y="142"/>
                </a:cubicBezTo>
                <a:cubicBezTo>
                  <a:pt x="357" y="142"/>
                  <a:pt x="357" y="142"/>
                  <a:pt x="357" y="142"/>
                </a:cubicBezTo>
                <a:cubicBezTo>
                  <a:pt x="358" y="140"/>
                  <a:pt x="358" y="140"/>
                  <a:pt x="358" y="140"/>
                </a:cubicBezTo>
                <a:cubicBezTo>
                  <a:pt x="359" y="141"/>
                  <a:pt x="359" y="141"/>
                  <a:pt x="359" y="141"/>
                </a:cubicBezTo>
                <a:cubicBezTo>
                  <a:pt x="358" y="142"/>
                  <a:pt x="358" y="142"/>
                  <a:pt x="358" y="142"/>
                </a:cubicBezTo>
                <a:cubicBezTo>
                  <a:pt x="357" y="142"/>
                  <a:pt x="357" y="142"/>
                  <a:pt x="357" y="142"/>
                </a:cubicBezTo>
                <a:cubicBezTo>
                  <a:pt x="357" y="143"/>
                  <a:pt x="357" y="143"/>
                  <a:pt x="357" y="143"/>
                </a:cubicBezTo>
                <a:cubicBezTo>
                  <a:pt x="357" y="144"/>
                  <a:pt x="357" y="144"/>
                  <a:pt x="357" y="144"/>
                </a:cubicBezTo>
                <a:cubicBezTo>
                  <a:pt x="357" y="144"/>
                  <a:pt x="357" y="144"/>
                  <a:pt x="357" y="144"/>
                </a:cubicBezTo>
                <a:cubicBezTo>
                  <a:pt x="358" y="146"/>
                  <a:pt x="358" y="146"/>
                  <a:pt x="358" y="146"/>
                </a:cubicBezTo>
                <a:cubicBezTo>
                  <a:pt x="360" y="145"/>
                  <a:pt x="360" y="145"/>
                  <a:pt x="360" y="145"/>
                </a:cubicBezTo>
                <a:cubicBezTo>
                  <a:pt x="360" y="146"/>
                  <a:pt x="360" y="146"/>
                  <a:pt x="360" y="146"/>
                </a:cubicBezTo>
                <a:cubicBezTo>
                  <a:pt x="361" y="146"/>
                  <a:pt x="361" y="146"/>
                  <a:pt x="361" y="146"/>
                </a:cubicBezTo>
                <a:cubicBezTo>
                  <a:pt x="362" y="145"/>
                  <a:pt x="362" y="145"/>
                  <a:pt x="362" y="145"/>
                </a:cubicBezTo>
                <a:cubicBezTo>
                  <a:pt x="364" y="145"/>
                  <a:pt x="364" y="145"/>
                  <a:pt x="364" y="145"/>
                </a:cubicBezTo>
                <a:cubicBezTo>
                  <a:pt x="363" y="143"/>
                  <a:pt x="363" y="143"/>
                  <a:pt x="363" y="143"/>
                </a:cubicBezTo>
                <a:cubicBezTo>
                  <a:pt x="364" y="143"/>
                  <a:pt x="364" y="143"/>
                  <a:pt x="364" y="143"/>
                </a:cubicBezTo>
                <a:cubicBezTo>
                  <a:pt x="365" y="143"/>
                  <a:pt x="365" y="143"/>
                  <a:pt x="365" y="143"/>
                </a:cubicBezTo>
                <a:cubicBezTo>
                  <a:pt x="365" y="144"/>
                  <a:pt x="365" y="144"/>
                  <a:pt x="365" y="144"/>
                </a:cubicBezTo>
                <a:cubicBezTo>
                  <a:pt x="365" y="144"/>
                  <a:pt x="365" y="144"/>
                  <a:pt x="365" y="144"/>
                </a:cubicBezTo>
                <a:cubicBezTo>
                  <a:pt x="365" y="145"/>
                  <a:pt x="365" y="145"/>
                  <a:pt x="365" y="145"/>
                </a:cubicBezTo>
                <a:cubicBezTo>
                  <a:pt x="365" y="145"/>
                  <a:pt x="365" y="145"/>
                  <a:pt x="365" y="145"/>
                </a:cubicBezTo>
                <a:cubicBezTo>
                  <a:pt x="366" y="143"/>
                  <a:pt x="366" y="143"/>
                  <a:pt x="366" y="143"/>
                </a:cubicBezTo>
                <a:cubicBezTo>
                  <a:pt x="367" y="143"/>
                  <a:pt x="367" y="143"/>
                  <a:pt x="367" y="143"/>
                </a:cubicBezTo>
                <a:cubicBezTo>
                  <a:pt x="367" y="143"/>
                  <a:pt x="367" y="143"/>
                  <a:pt x="367" y="143"/>
                </a:cubicBezTo>
                <a:cubicBezTo>
                  <a:pt x="367" y="145"/>
                  <a:pt x="367" y="145"/>
                  <a:pt x="367" y="145"/>
                </a:cubicBezTo>
                <a:cubicBezTo>
                  <a:pt x="365" y="147"/>
                  <a:pt x="365" y="147"/>
                  <a:pt x="365" y="147"/>
                </a:cubicBezTo>
                <a:cubicBezTo>
                  <a:pt x="365" y="147"/>
                  <a:pt x="365" y="147"/>
                  <a:pt x="365" y="147"/>
                </a:cubicBezTo>
                <a:cubicBezTo>
                  <a:pt x="365" y="148"/>
                  <a:pt x="365" y="148"/>
                  <a:pt x="365" y="148"/>
                </a:cubicBezTo>
                <a:cubicBezTo>
                  <a:pt x="366" y="149"/>
                  <a:pt x="366" y="149"/>
                  <a:pt x="366" y="149"/>
                </a:cubicBezTo>
                <a:cubicBezTo>
                  <a:pt x="367" y="150"/>
                  <a:pt x="367" y="150"/>
                  <a:pt x="367" y="150"/>
                </a:cubicBezTo>
                <a:cubicBezTo>
                  <a:pt x="368" y="150"/>
                  <a:pt x="368" y="150"/>
                  <a:pt x="368" y="150"/>
                </a:cubicBezTo>
                <a:cubicBezTo>
                  <a:pt x="368" y="150"/>
                  <a:pt x="368" y="150"/>
                  <a:pt x="368" y="150"/>
                </a:cubicBezTo>
                <a:cubicBezTo>
                  <a:pt x="370" y="150"/>
                  <a:pt x="370" y="150"/>
                  <a:pt x="370" y="150"/>
                </a:cubicBezTo>
                <a:cubicBezTo>
                  <a:pt x="370" y="149"/>
                  <a:pt x="370" y="149"/>
                  <a:pt x="370" y="149"/>
                </a:cubicBezTo>
                <a:cubicBezTo>
                  <a:pt x="371" y="149"/>
                  <a:pt x="371" y="149"/>
                  <a:pt x="371" y="149"/>
                </a:cubicBezTo>
                <a:cubicBezTo>
                  <a:pt x="371" y="150"/>
                  <a:pt x="371" y="150"/>
                  <a:pt x="371" y="150"/>
                </a:cubicBezTo>
                <a:cubicBezTo>
                  <a:pt x="371" y="151"/>
                  <a:pt x="371" y="151"/>
                  <a:pt x="371" y="151"/>
                </a:cubicBezTo>
                <a:cubicBezTo>
                  <a:pt x="372" y="151"/>
                  <a:pt x="372" y="151"/>
                  <a:pt x="372" y="151"/>
                </a:cubicBezTo>
                <a:cubicBezTo>
                  <a:pt x="373" y="151"/>
                  <a:pt x="373" y="151"/>
                  <a:pt x="373" y="151"/>
                </a:cubicBezTo>
                <a:cubicBezTo>
                  <a:pt x="374" y="151"/>
                  <a:pt x="374" y="151"/>
                  <a:pt x="374" y="151"/>
                </a:cubicBezTo>
                <a:cubicBezTo>
                  <a:pt x="373" y="150"/>
                  <a:pt x="373" y="150"/>
                  <a:pt x="373" y="150"/>
                </a:cubicBezTo>
                <a:cubicBezTo>
                  <a:pt x="373" y="149"/>
                  <a:pt x="373" y="149"/>
                  <a:pt x="373" y="149"/>
                </a:cubicBezTo>
                <a:cubicBezTo>
                  <a:pt x="374" y="148"/>
                  <a:pt x="374" y="148"/>
                  <a:pt x="374" y="148"/>
                </a:cubicBezTo>
                <a:cubicBezTo>
                  <a:pt x="374" y="149"/>
                  <a:pt x="374" y="149"/>
                  <a:pt x="374" y="149"/>
                </a:cubicBezTo>
                <a:cubicBezTo>
                  <a:pt x="374" y="150"/>
                  <a:pt x="374" y="150"/>
                  <a:pt x="374" y="150"/>
                </a:cubicBezTo>
                <a:cubicBezTo>
                  <a:pt x="374" y="151"/>
                  <a:pt x="374" y="151"/>
                  <a:pt x="374" y="151"/>
                </a:cubicBezTo>
                <a:cubicBezTo>
                  <a:pt x="375" y="151"/>
                  <a:pt x="375" y="151"/>
                  <a:pt x="375" y="151"/>
                </a:cubicBezTo>
                <a:cubicBezTo>
                  <a:pt x="375" y="150"/>
                  <a:pt x="375" y="150"/>
                  <a:pt x="375" y="150"/>
                </a:cubicBezTo>
                <a:cubicBezTo>
                  <a:pt x="376" y="150"/>
                  <a:pt x="376" y="150"/>
                  <a:pt x="376" y="150"/>
                </a:cubicBezTo>
                <a:cubicBezTo>
                  <a:pt x="377" y="149"/>
                  <a:pt x="377" y="149"/>
                  <a:pt x="377" y="149"/>
                </a:cubicBezTo>
                <a:cubicBezTo>
                  <a:pt x="377" y="150"/>
                  <a:pt x="377" y="150"/>
                  <a:pt x="377" y="150"/>
                </a:cubicBezTo>
                <a:cubicBezTo>
                  <a:pt x="376" y="151"/>
                  <a:pt x="376" y="151"/>
                  <a:pt x="376" y="151"/>
                </a:cubicBezTo>
                <a:cubicBezTo>
                  <a:pt x="376" y="152"/>
                  <a:pt x="376" y="152"/>
                  <a:pt x="376" y="152"/>
                </a:cubicBezTo>
                <a:cubicBezTo>
                  <a:pt x="378" y="152"/>
                  <a:pt x="378" y="152"/>
                  <a:pt x="378" y="152"/>
                </a:cubicBezTo>
                <a:cubicBezTo>
                  <a:pt x="379" y="151"/>
                  <a:pt x="379" y="151"/>
                  <a:pt x="379" y="151"/>
                </a:cubicBezTo>
                <a:cubicBezTo>
                  <a:pt x="380" y="149"/>
                  <a:pt x="380" y="149"/>
                  <a:pt x="380" y="149"/>
                </a:cubicBezTo>
                <a:cubicBezTo>
                  <a:pt x="380" y="150"/>
                  <a:pt x="380" y="150"/>
                  <a:pt x="380" y="150"/>
                </a:cubicBezTo>
                <a:cubicBezTo>
                  <a:pt x="379" y="151"/>
                  <a:pt x="379" y="151"/>
                  <a:pt x="379" y="151"/>
                </a:cubicBezTo>
                <a:cubicBezTo>
                  <a:pt x="379" y="152"/>
                  <a:pt x="379" y="152"/>
                  <a:pt x="379" y="152"/>
                </a:cubicBezTo>
                <a:cubicBezTo>
                  <a:pt x="381" y="151"/>
                  <a:pt x="381" y="151"/>
                  <a:pt x="381" y="151"/>
                </a:cubicBezTo>
                <a:cubicBezTo>
                  <a:pt x="381" y="150"/>
                  <a:pt x="381" y="150"/>
                  <a:pt x="381" y="150"/>
                </a:cubicBezTo>
                <a:cubicBezTo>
                  <a:pt x="382" y="149"/>
                  <a:pt x="382" y="149"/>
                  <a:pt x="382" y="149"/>
                </a:cubicBezTo>
                <a:cubicBezTo>
                  <a:pt x="381" y="152"/>
                  <a:pt x="381" y="152"/>
                  <a:pt x="381" y="152"/>
                </a:cubicBezTo>
                <a:cubicBezTo>
                  <a:pt x="382" y="152"/>
                  <a:pt x="382" y="152"/>
                  <a:pt x="382" y="152"/>
                </a:cubicBezTo>
                <a:cubicBezTo>
                  <a:pt x="383" y="153"/>
                  <a:pt x="383" y="153"/>
                  <a:pt x="383" y="153"/>
                </a:cubicBezTo>
                <a:cubicBezTo>
                  <a:pt x="385" y="154"/>
                  <a:pt x="385" y="154"/>
                  <a:pt x="385" y="154"/>
                </a:cubicBezTo>
                <a:cubicBezTo>
                  <a:pt x="386" y="153"/>
                  <a:pt x="386" y="153"/>
                  <a:pt x="386" y="153"/>
                </a:cubicBezTo>
                <a:cubicBezTo>
                  <a:pt x="386" y="153"/>
                  <a:pt x="386" y="153"/>
                  <a:pt x="386" y="153"/>
                </a:cubicBezTo>
                <a:cubicBezTo>
                  <a:pt x="387" y="154"/>
                  <a:pt x="387" y="154"/>
                  <a:pt x="387" y="154"/>
                </a:cubicBezTo>
                <a:cubicBezTo>
                  <a:pt x="388" y="153"/>
                  <a:pt x="388" y="153"/>
                  <a:pt x="388" y="153"/>
                </a:cubicBezTo>
                <a:cubicBezTo>
                  <a:pt x="389" y="153"/>
                  <a:pt x="389" y="153"/>
                  <a:pt x="389" y="153"/>
                </a:cubicBezTo>
                <a:cubicBezTo>
                  <a:pt x="389" y="151"/>
                  <a:pt x="389" y="151"/>
                  <a:pt x="389" y="151"/>
                </a:cubicBezTo>
                <a:cubicBezTo>
                  <a:pt x="390" y="150"/>
                  <a:pt x="390" y="150"/>
                  <a:pt x="390" y="150"/>
                </a:cubicBezTo>
                <a:cubicBezTo>
                  <a:pt x="391" y="149"/>
                  <a:pt x="391" y="149"/>
                  <a:pt x="391" y="149"/>
                </a:cubicBezTo>
                <a:cubicBezTo>
                  <a:pt x="390" y="148"/>
                  <a:pt x="390" y="148"/>
                  <a:pt x="390" y="148"/>
                </a:cubicBezTo>
                <a:cubicBezTo>
                  <a:pt x="391" y="147"/>
                  <a:pt x="391" y="147"/>
                  <a:pt x="391" y="147"/>
                </a:cubicBezTo>
                <a:cubicBezTo>
                  <a:pt x="391" y="147"/>
                  <a:pt x="391" y="147"/>
                  <a:pt x="391" y="147"/>
                </a:cubicBezTo>
                <a:cubicBezTo>
                  <a:pt x="391" y="149"/>
                  <a:pt x="391" y="149"/>
                  <a:pt x="391" y="149"/>
                </a:cubicBezTo>
                <a:cubicBezTo>
                  <a:pt x="392" y="149"/>
                  <a:pt x="392" y="149"/>
                  <a:pt x="392" y="149"/>
                </a:cubicBezTo>
                <a:cubicBezTo>
                  <a:pt x="392" y="150"/>
                  <a:pt x="392" y="150"/>
                  <a:pt x="392" y="150"/>
                </a:cubicBezTo>
                <a:cubicBezTo>
                  <a:pt x="391" y="150"/>
                  <a:pt x="391" y="150"/>
                  <a:pt x="391" y="150"/>
                </a:cubicBezTo>
                <a:cubicBezTo>
                  <a:pt x="390" y="152"/>
                  <a:pt x="390" y="152"/>
                  <a:pt x="390" y="152"/>
                </a:cubicBezTo>
                <a:cubicBezTo>
                  <a:pt x="391" y="155"/>
                  <a:pt x="391" y="155"/>
                  <a:pt x="391" y="155"/>
                </a:cubicBezTo>
                <a:close/>
                <a:moveTo>
                  <a:pt x="348" y="98"/>
                </a:moveTo>
                <a:cubicBezTo>
                  <a:pt x="349" y="98"/>
                  <a:pt x="349" y="98"/>
                  <a:pt x="349" y="98"/>
                </a:cubicBezTo>
                <a:cubicBezTo>
                  <a:pt x="349" y="97"/>
                  <a:pt x="349" y="97"/>
                  <a:pt x="349" y="97"/>
                </a:cubicBezTo>
                <a:cubicBezTo>
                  <a:pt x="348" y="97"/>
                  <a:pt x="348" y="97"/>
                  <a:pt x="348" y="97"/>
                </a:cubicBezTo>
                <a:cubicBezTo>
                  <a:pt x="347" y="97"/>
                  <a:pt x="347" y="97"/>
                  <a:pt x="347" y="97"/>
                </a:cubicBezTo>
                <a:cubicBezTo>
                  <a:pt x="348" y="98"/>
                  <a:pt x="348" y="98"/>
                  <a:pt x="348" y="98"/>
                </a:cubicBezTo>
                <a:close/>
                <a:moveTo>
                  <a:pt x="345" y="106"/>
                </a:moveTo>
                <a:cubicBezTo>
                  <a:pt x="346" y="105"/>
                  <a:pt x="346" y="105"/>
                  <a:pt x="346" y="105"/>
                </a:cubicBezTo>
                <a:cubicBezTo>
                  <a:pt x="347" y="104"/>
                  <a:pt x="347" y="104"/>
                  <a:pt x="347" y="104"/>
                </a:cubicBezTo>
                <a:cubicBezTo>
                  <a:pt x="347" y="105"/>
                  <a:pt x="347" y="105"/>
                  <a:pt x="347" y="105"/>
                </a:cubicBezTo>
                <a:cubicBezTo>
                  <a:pt x="346" y="105"/>
                  <a:pt x="346" y="105"/>
                  <a:pt x="346" y="105"/>
                </a:cubicBezTo>
                <a:cubicBezTo>
                  <a:pt x="345" y="106"/>
                  <a:pt x="345" y="106"/>
                  <a:pt x="345" y="106"/>
                </a:cubicBezTo>
                <a:close/>
                <a:moveTo>
                  <a:pt x="315" y="116"/>
                </a:moveTo>
                <a:cubicBezTo>
                  <a:pt x="315" y="117"/>
                  <a:pt x="315" y="117"/>
                  <a:pt x="315" y="117"/>
                </a:cubicBezTo>
                <a:cubicBezTo>
                  <a:pt x="315" y="118"/>
                  <a:pt x="315" y="118"/>
                  <a:pt x="315" y="118"/>
                </a:cubicBezTo>
                <a:cubicBezTo>
                  <a:pt x="316" y="117"/>
                  <a:pt x="316" y="117"/>
                  <a:pt x="316" y="117"/>
                </a:cubicBezTo>
                <a:cubicBezTo>
                  <a:pt x="315" y="116"/>
                  <a:pt x="315" y="116"/>
                  <a:pt x="315" y="116"/>
                </a:cubicBezTo>
                <a:close/>
                <a:moveTo>
                  <a:pt x="335" y="97"/>
                </a:moveTo>
                <a:cubicBezTo>
                  <a:pt x="335" y="98"/>
                  <a:pt x="335" y="98"/>
                  <a:pt x="335" y="98"/>
                </a:cubicBezTo>
                <a:cubicBezTo>
                  <a:pt x="336" y="99"/>
                  <a:pt x="336" y="99"/>
                  <a:pt x="336" y="99"/>
                </a:cubicBezTo>
                <a:cubicBezTo>
                  <a:pt x="336" y="100"/>
                  <a:pt x="336" y="100"/>
                  <a:pt x="336" y="100"/>
                </a:cubicBezTo>
                <a:cubicBezTo>
                  <a:pt x="336" y="99"/>
                  <a:pt x="336" y="99"/>
                  <a:pt x="336" y="99"/>
                </a:cubicBezTo>
                <a:cubicBezTo>
                  <a:pt x="336" y="98"/>
                  <a:pt x="336" y="98"/>
                  <a:pt x="336" y="98"/>
                </a:cubicBezTo>
                <a:cubicBezTo>
                  <a:pt x="335" y="97"/>
                  <a:pt x="335" y="97"/>
                  <a:pt x="335" y="97"/>
                </a:cubicBezTo>
                <a:cubicBezTo>
                  <a:pt x="335" y="97"/>
                  <a:pt x="335" y="97"/>
                  <a:pt x="335" y="97"/>
                </a:cubicBezTo>
                <a:close/>
                <a:moveTo>
                  <a:pt x="325" y="98"/>
                </a:moveTo>
                <a:cubicBezTo>
                  <a:pt x="325" y="99"/>
                  <a:pt x="325" y="99"/>
                  <a:pt x="325" y="99"/>
                </a:cubicBezTo>
                <a:cubicBezTo>
                  <a:pt x="326" y="99"/>
                  <a:pt x="326" y="99"/>
                  <a:pt x="326" y="99"/>
                </a:cubicBezTo>
                <a:cubicBezTo>
                  <a:pt x="327" y="99"/>
                  <a:pt x="327" y="99"/>
                  <a:pt x="327" y="99"/>
                </a:cubicBezTo>
                <a:cubicBezTo>
                  <a:pt x="328" y="98"/>
                  <a:pt x="328" y="98"/>
                  <a:pt x="328" y="98"/>
                </a:cubicBezTo>
                <a:cubicBezTo>
                  <a:pt x="329" y="99"/>
                  <a:pt x="329" y="99"/>
                  <a:pt x="329" y="99"/>
                </a:cubicBezTo>
                <a:cubicBezTo>
                  <a:pt x="331" y="97"/>
                  <a:pt x="331" y="97"/>
                  <a:pt x="331" y="97"/>
                </a:cubicBezTo>
                <a:cubicBezTo>
                  <a:pt x="332" y="97"/>
                  <a:pt x="332" y="97"/>
                  <a:pt x="332" y="97"/>
                </a:cubicBezTo>
                <a:cubicBezTo>
                  <a:pt x="333" y="97"/>
                  <a:pt x="333" y="97"/>
                  <a:pt x="333" y="97"/>
                </a:cubicBezTo>
                <a:cubicBezTo>
                  <a:pt x="333" y="97"/>
                  <a:pt x="333" y="97"/>
                  <a:pt x="333" y="97"/>
                </a:cubicBezTo>
                <a:cubicBezTo>
                  <a:pt x="331" y="96"/>
                  <a:pt x="331" y="96"/>
                  <a:pt x="331" y="96"/>
                </a:cubicBezTo>
                <a:cubicBezTo>
                  <a:pt x="329" y="97"/>
                  <a:pt x="329" y="97"/>
                  <a:pt x="329" y="97"/>
                </a:cubicBezTo>
                <a:cubicBezTo>
                  <a:pt x="329" y="97"/>
                  <a:pt x="328" y="97"/>
                  <a:pt x="328" y="97"/>
                </a:cubicBezTo>
                <a:cubicBezTo>
                  <a:pt x="328" y="97"/>
                  <a:pt x="327" y="97"/>
                  <a:pt x="327" y="97"/>
                </a:cubicBezTo>
                <a:cubicBezTo>
                  <a:pt x="326" y="97"/>
                  <a:pt x="326" y="97"/>
                  <a:pt x="326" y="97"/>
                </a:cubicBezTo>
                <a:cubicBezTo>
                  <a:pt x="325" y="98"/>
                  <a:pt x="325" y="98"/>
                  <a:pt x="325" y="98"/>
                </a:cubicBezTo>
                <a:close/>
                <a:moveTo>
                  <a:pt x="316" y="101"/>
                </a:moveTo>
                <a:cubicBezTo>
                  <a:pt x="315" y="100"/>
                  <a:pt x="315" y="100"/>
                  <a:pt x="315" y="100"/>
                </a:cubicBezTo>
                <a:cubicBezTo>
                  <a:pt x="313" y="100"/>
                  <a:pt x="313" y="100"/>
                  <a:pt x="313" y="100"/>
                </a:cubicBezTo>
                <a:cubicBezTo>
                  <a:pt x="312" y="100"/>
                  <a:pt x="312" y="100"/>
                  <a:pt x="312" y="100"/>
                </a:cubicBezTo>
                <a:cubicBezTo>
                  <a:pt x="312" y="98"/>
                  <a:pt x="312" y="98"/>
                  <a:pt x="312" y="98"/>
                </a:cubicBezTo>
                <a:cubicBezTo>
                  <a:pt x="313" y="97"/>
                  <a:pt x="313" y="97"/>
                  <a:pt x="313" y="97"/>
                </a:cubicBezTo>
                <a:cubicBezTo>
                  <a:pt x="313" y="96"/>
                  <a:pt x="313" y="96"/>
                  <a:pt x="313" y="96"/>
                </a:cubicBezTo>
                <a:cubicBezTo>
                  <a:pt x="313" y="96"/>
                  <a:pt x="313" y="96"/>
                  <a:pt x="313" y="96"/>
                </a:cubicBezTo>
                <a:cubicBezTo>
                  <a:pt x="313" y="95"/>
                  <a:pt x="313" y="95"/>
                  <a:pt x="313" y="95"/>
                </a:cubicBezTo>
                <a:cubicBezTo>
                  <a:pt x="314" y="94"/>
                  <a:pt x="314" y="94"/>
                  <a:pt x="314" y="94"/>
                </a:cubicBezTo>
                <a:cubicBezTo>
                  <a:pt x="315" y="94"/>
                  <a:pt x="315" y="94"/>
                  <a:pt x="315" y="94"/>
                </a:cubicBezTo>
                <a:cubicBezTo>
                  <a:pt x="316" y="94"/>
                  <a:pt x="316" y="94"/>
                  <a:pt x="316" y="94"/>
                </a:cubicBezTo>
                <a:cubicBezTo>
                  <a:pt x="316" y="95"/>
                  <a:pt x="316" y="95"/>
                  <a:pt x="316" y="95"/>
                </a:cubicBezTo>
                <a:cubicBezTo>
                  <a:pt x="316" y="95"/>
                  <a:pt x="316" y="95"/>
                  <a:pt x="316" y="95"/>
                </a:cubicBezTo>
                <a:cubicBezTo>
                  <a:pt x="316" y="96"/>
                  <a:pt x="316" y="96"/>
                  <a:pt x="316" y="96"/>
                </a:cubicBezTo>
                <a:cubicBezTo>
                  <a:pt x="315" y="96"/>
                  <a:pt x="315" y="96"/>
                  <a:pt x="315" y="96"/>
                </a:cubicBezTo>
                <a:cubicBezTo>
                  <a:pt x="316" y="96"/>
                  <a:pt x="316" y="96"/>
                  <a:pt x="316" y="96"/>
                </a:cubicBezTo>
                <a:cubicBezTo>
                  <a:pt x="317" y="96"/>
                  <a:pt x="317" y="96"/>
                  <a:pt x="317" y="96"/>
                </a:cubicBezTo>
                <a:cubicBezTo>
                  <a:pt x="317" y="97"/>
                  <a:pt x="317" y="97"/>
                  <a:pt x="317" y="97"/>
                </a:cubicBezTo>
                <a:cubicBezTo>
                  <a:pt x="317" y="98"/>
                  <a:pt x="317" y="98"/>
                  <a:pt x="317" y="98"/>
                </a:cubicBezTo>
                <a:cubicBezTo>
                  <a:pt x="317" y="99"/>
                  <a:pt x="317" y="99"/>
                  <a:pt x="317" y="99"/>
                </a:cubicBezTo>
                <a:cubicBezTo>
                  <a:pt x="317" y="100"/>
                  <a:pt x="317" y="100"/>
                  <a:pt x="317" y="100"/>
                </a:cubicBezTo>
                <a:cubicBezTo>
                  <a:pt x="317" y="101"/>
                  <a:pt x="317" y="101"/>
                  <a:pt x="317" y="101"/>
                </a:cubicBezTo>
                <a:cubicBezTo>
                  <a:pt x="316" y="101"/>
                  <a:pt x="316" y="101"/>
                  <a:pt x="316" y="101"/>
                </a:cubicBezTo>
                <a:close/>
                <a:moveTo>
                  <a:pt x="314" y="106"/>
                </a:moveTo>
                <a:cubicBezTo>
                  <a:pt x="317" y="106"/>
                  <a:pt x="317" y="106"/>
                  <a:pt x="317" y="106"/>
                </a:cubicBezTo>
                <a:cubicBezTo>
                  <a:pt x="317" y="105"/>
                  <a:pt x="317" y="105"/>
                  <a:pt x="317" y="105"/>
                </a:cubicBezTo>
                <a:cubicBezTo>
                  <a:pt x="318" y="103"/>
                  <a:pt x="318" y="103"/>
                  <a:pt x="318" y="103"/>
                </a:cubicBezTo>
                <a:cubicBezTo>
                  <a:pt x="317" y="102"/>
                  <a:pt x="317" y="102"/>
                  <a:pt x="317" y="102"/>
                </a:cubicBezTo>
                <a:cubicBezTo>
                  <a:pt x="316" y="103"/>
                  <a:pt x="316" y="103"/>
                  <a:pt x="316" y="103"/>
                </a:cubicBezTo>
                <a:cubicBezTo>
                  <a:pt x="315" y="102"/>
                  <a:pt x="315" y="102"/>
                  <a:pt x="315" y="102"/>
                </a:cubicBezTo>
                <a:cubicBezTo>
                  <a:pt x="313" y="102"/>
                  <a:pt x="313" y="102"/>
                  <a:pt x="313" y="102"/>
                </a:cubicBezTo>
                <a:cubicBezTo>
                  <a:pt x="312" y="102"/>
                  <a:pt x="312" y="102"/>
                  <a:pt x="312" y="102"/>
                </a:cubicBezTo>
                <a:cubicBezTo>
                  <a:pt x="311" y="102"/>
                  <a:pt x="311" y="102"/>
                  <a:pt x="311" y="102"/>
                </a:cubicBezTo>
                <a:cubicBezTo>
                  <a:pt x="311" y="102"/>
                  <a:pt x="311" y="102"/>
                  <a:pt x="311" y="102"/>
                </a:cubicBezTo>
                <a:cubicBezTo>
                  <a:pt x="310" y="103"/>
                  <a:pt x="310" y="103"/>
                  <a:pt x="310" y="103"/>
                </a:cubicBezTo>
                <a:cubicBezTo>
                  <a:pt x="310" y="103"/>
                  <a:pt x="310" y="103"/>
                  <a:pt x="310" y="103"/>
                </a:cubicBezTo>
                <a:cubicBezTo>
                  <a:pt x="310" y="104"/>
                  <a:pt x="310" y="104"/>
                  <a:pt x="310" y="104"/>
                </a:cubicBezTo>
                <a:cubicBezTo>
                  <a:pt x="310" y="104"/>
                  <a:pt x="310" y="104"/>
                  <a:pt x="310" y="104"/>
                </a:cubicBezTo>
                <a:cubicBezTo>
                  <a:pt x="311" y="105"/>
                  <a:pt x="311" y="105"/>
                  <a:pt x="311" y="105"/>
                </a:cubicBezTo>
                <a:cubicBezTo>
                  <a:pt x="312" y="105"/>
                  <a:pt x="312" y="105"/>
                  <a:pt x="312" y="105"/>
                </a:cubicBezTo>
                <a:cubicBezTo>
                  <a:pt x="313" y="106"/>
                  <a:pt x="313" y="106"/>
                  <a:pt x="313" y="106"/>
                </a:cubicBezTo>
                <a:cubicBezTo>
                  <a:pt x="314" y="106"/>
                  <a:pt x="314" y="106"/>
                  <a:pt x="314" y="106"/>
                </a:cubicBezTo>
                <a:close/>
                <a:moveTo>
                  <a:pt x="310" y="108"/>
                </a:moveTo>
                <a:cubicBezTo>
                  <a:pt x="312" y="108"/>
                  <a:pt x="312" y="108"/>
                  <a:pt x="312" y="108"/>
                </a:cubicBezTo>
                <a:cubicBezTo>
                  <a:pt x="314" y="108"/>
                  <a:pt x="314" y="108"/>
                  <a:pt x="314" y="108"/>
                </a:cubicBezTo>
                <a:cubicBezTo>
                  <a:pt x="315" y="108"/>
                  <a:pt x="315" y="108"/>
                  <a:pt x="315" y="108"/>
                </a:cubicBezTo>
                <a:cubicBezTo>
                  <a:pt x="315" y="108"/>
                  <a:pt x="315" y="108"/>
                  <a:pt x="315" y="108"/>
                </a:cubicBezTo>
                <a:cubicBezTo>
                  <a:pt x="316" y="108"/>
                  <a:pt x="316" y="108"/>
                  <a:pt x="316" y="108"/>
                </a:cubicBezTo>
                <a:cubicBezTo>
                  <a:pt x="317" y="108"/>
                  <a:pt x="317" y="108"/>
                  <a:pt x="317" y="108"/>
                </a:cubicBezTo>
                <a:cubicBezTo>
                  <a:pt x="317" y="107"/>
                  <a:pt x="317" y="107"/>
                  <a:pt x="317" y="107"/>
                </a:cubicBezTo>
                <a:cubicBezTo>
                  <a:pt x="316" y="107"/>
                  <a:pt x="316" y="107"/>
                  <a:pt x="316" y="107"/>
                </a:cubicBezTo>
                <a:cubicBezTo>
                  <a:pt x="313" y="107"/>
                  <a:pt x="313" y="107"/>
                  <a:pt x="313" y="107"/>
                </a:cubicBezTo>
                <a:cubicBezTo>
                  <a:pt x="312" y="107"/>
                  <a:pt x="312" y="107"/>
                  <a:pt x="312" y="107"/>
                </a:cubicBezTo>
                <a:cubicBezTo>
                  <a:pt x="312" y="107"/>
                  <a:pt x="312" y="107"/>
                  <a:pt x="312" y="107"/>
                </a:cubicBezTo>
                <a:cubicBezTo>
                  <a:pt x="310" y="107"/>
                  <a:pt x="310" y="107"/>
                  <a:pt x="310" y="107"/>
                </a:cubicBezTo>
                <a:cubicBezTo>
                  <a:pt x="309" y="107"/>
                  <a:pt x="309" y="107"/>
                  <a:pt x="309" y="107"/>
                </a:cubicBezTo>
                <a:cubicBezTo>
                  <a:pt x="310" y="108"/>
                  <a:pt x="310" y="108"/>
                  <a:pt x="310" y="108"/>
                </a:cubicBezTo>
                <a:close/>
                <a:moveTo>
                  <a:pt x="309" y="111"/>
                </a:moveTo>
                <a:cubicBezTo>
                  <a:pt x="310" y="110"/>
                  <a:pt x="310" y="110"/>
                  <a:pt x="310" y="110"/>
                </a:cubicBezTo>
                <a:cubicBezTo>
                  <a:pt x="311" y="110"/>
                  <a:pt x="311" y="110"/>
                  <a:pt x="311" y="110"/>
                </a:cubicBezTo>
                <a:cubicBezTo>
                  <a:pt x="312" y="109"/>
                  <a:pt x="312" y="109"/>
                  <a:pt x="312" y="109"/>
                </a:cubicBezTo>
                <a:cubicBezTo>
                  <a:pt x="315" y="109"/>
                  <a:pt x="315" y="109"/>
                  <a:pt x="315" y="109"/>
                </a:cubicBezTo>
                <a:cubicBezTo>
                  <a:pt x="316" y="109"/>
                  <a:pt x="316" y="109"/>
                  <a:pt x="316" y="109"/>
                </a:cubicBezTo>
                <a:cubicBezTo>
                  <a:pt x="316" y="109"/>
                  <a:pt x="316" y="109"/>
                  <a:pt x="316" y="109"/>
                </a:cubicBezTo>
                <a:cubicBezTo>
                  <a:pt x="317" y="109"/>
                  <a:pt x="317" y="109"/>
                  <a:pt x="317" y="109"/>
                </a:cubicBezTo>
                <a:cubicBezTo>
                  <a:pt x="317" y="109"/>
                  <a:pt x="317" y="109"/>
                  <a:pt x="317" y="109"/>
                </a:cubicBezTo>
                <a:cubicBezTo>
                  <a:pt x="316" y="110"/>
                  <a:pt x="316" y="110"/>
                  <a:pt x="316" y="110"/>
                </a:cubicBezTo>
                <a:cubicBezTo>
                  <a:pt x="315" y="110"/>
                  <a:pt x="315" y="110"/>
                  <a:pt x="315" y="110"/>
                </a:cubicBezTo>
                <a:cubicBezTo>
                  <a:pt x="314" y="110"/>
                  <a:pt x="314" y="110"/>
                  <a:pt x="314" y="110"/>
                </a:cubicBezTo>
                <a:cubicBezTo>
                  <a:pt x="314" y="111"/>
                  <a:pt x="314" y="111"/>
                  <a:pt x="314" y="111"/>
                </a:cubicBezTo>
                <a:cubicBezTo>
                  <a:pt x="312" y="112"/>
                  <a:pt x="312" y="112"/>
                  <a:pt x="312" y="112"/>
                </a:cubicBezTo>
                <a:cubicBezTo>
                  <a:pt x="311" y="111"/>
                  <a:pt x="311" y="111"/>
                  <a:pt x="311" y="111"/>
                </a:cubicBezTo>
                <a:cubicBezTo>
                  <a:pt x="310" y="111"/>
                  <a:pt x="310" y="111"/>
                  <a:pt x="310" y="111"/>
                </a:cubicBezTo>
                <a:cubicBezTo>
                  <a:pt x="309" y="112"/>
                  <a:pt x="309" y="112"/>
                  <a:pt x="309" y="112"/>
                </a:cubicBezTo>
                <a:cubicBezTo>
                  <a:pt x="309" y="111"/>
                  <a:pt x="309" y="111"/>
                  <a:pt x="309" y="111"/>
                </a:cubicBezTo>
                <a:cubicBezTo>
                  <a:pt x="309" y="111"/>
                  <a:pt x="309" y="111"/>
                  <a:pt x="309" y="111"/>
                </a:cubicBezTo>
                <a:close/>
                <a:moveTo>
                  <a:pt x="280" y="73"/>
                </a:moveTo>
                <a:cubicBezTo>
                  <a:pt x="279" y="73"/>
                  <a:pt x="279" y="73"/>
                  <a:pt x="279" y="73"/>
                </a:cubicBezTo>
                <a:cubicBezTo>
                  <a:pt x="279" y="72"/>
                  <a:pt x="279" y="72"/>
                  <a:pt x="279" y="72"/>
                </a:cubicBezTo>
                <a:cubicBezTo>
                  <a:pt x="281" y="72"/>
                  <a:pt x="281" y="72"/>
                  <a:pt x="281" y="72"/>
                </a:cubicBezTo>
                <a:cubicBezTo>
                  <a:pt x="280" y="73"/>
                  <a:pt x="280" y="73"/>
                  <a:pt x="280" y="73"/>
                </a:cubicBezTo>
                <a:cubicBezTo>
                  <a:pt x="280" y="73"/>
                  <a:pt x="280" y="73"/>
                  <a:pt x="280" y="73"/>
                </a:cubicBezTo>
                <a:close/>
                <a:moveTo>
                  <a:pt x="271" y="77"/>
                </a:moveTo>
                <a:cubicBezTo>
                  <a:pt x="272" y="76"/>
                  <a:pt x="272" y="76"/>
                  <a:pt x="272" y="76"/>
                </a:cubicBezTo>
                <a:cubicBezTo>
                  <a:pt x="273" y="76"/>
                  <a:pt x="273" y="76"/>
                  <a:pt x="273" y="76"/>
                </a:cubicBezTo>
                <a:cubicBezTo>
                  <a:pt x="275" y="77"/>
                  <a:pt x="275" y="77"/>
                  <a:pt x="275" y="77"/>
                </a:cubicBezTo>
                <a:cubicBezTo>
                  <a:pt x="276" y="77"/>
                  <a:pt x="276" y="77"/>
                  <a:pt x="276" y="77"/>
                </a:cubicBezTo>
                <a:cubicBezTo>
                  <a:pt x="276" y="77"/>
                  <a:pt x="276" y="77"/>
                  <a:pt x="276" y="77"/>
                </a:cubicBezTo>
                <a:cubicBezTo>
                  <a:pt x="277" y="78"/>
                  <a:pt x="277" y="78"/>
                  <a:pt x="277" y="78"/>
                </a:cubicBezTo>
                <a:cubicBezTo>
                  <a:pt x="277" y="78"/>
                  <a:pt x="277" y="78"/>
                  <a:pt x="277" y="78"/>
                </a:cubicBezTo>
                <a:cubicBezTo>
                  <a:pt x="276" y="79"/>
                  <a:pt x="276" y="79"/>
                  <a:pt x="276" y="79"/>
                </a:cubicBezTo>
                <a:cubicBezTo>
                  <a:pt x="275" y="80"/>
                  <a:pt x="275" y="80"/>
                  <a:pt x="275" y="80"/>
                </a:cubicBezTo>
                <a:cubicBezTo>
                  <a:pt x="274" y="80"/>
                  <a:pt x="274" y="80"/>
                  <a:pt x="274" y="80"/>
                </a:cubicBezTo>
                <a:cubicBezTo>
                  <a:pt x="273" y="79"/>
                  <a:pt x="273" y="79"/>
                  <a:pt x="273" y="79"/>
                </a:cubicBezTo>
                <a:cubicBezTo>
                  <a:pt x="273" y="78"/>
                  <a:pt x="273" y="78"/>
                  <a:pt x="273" y="78"/>
                </a:cubicBezTo>
                <a:cubicBezTo>
                  <a:pt x="272" y="77"/>
                  <a:pt x="272" y="77"/>
                  <a:pt x="272" y="77"/>
                </a:cubicBezTo>
                <a:cubicBezTo>
                  <a:pt x="271" y="77"/>
                  <a:pt x="271" y="77"/>
                  <a:pt x="271" y="77"/>
                </a:cubicBezTo>
                <a:cubicBezTo>
                  <a:pt x="271" y="77"/>
                  <a:pt x="271" y="77"/>
                  <a:pt x="271" y="77"/>
                </a:cubicBezTo>
                <a:close/>
                <a:moveTo>
                  <a:pt x="227" y="79"/>
                </a:moveTo>
                <a:cubicBezTo>
                  <a:pt x="226" y="79"/>
                  <a:pt x="226" y="79"/>
                  <a:pt x="226" y="79"/>
                </a:cubicBezTo>
                <a:cubicBezTo>
                  <a:pt x="226" y="78"/>
                  <a:pt x="226" y="78"/>
                  <a:pt x="226" y="78"/>
                </a:cubicBezTo>
                <a:cubicBezTo>
                  <a:pt x="226" y="78"/>
                  <a:pt x="226" y="78"/>
                  <a:pt x="226" y="78"/>
                </a:cubicBezTo>
                <a:cubicBezTo>
                  <a:pt x="227" y="78"/>
                  <a:pt x="227" y="78"/>
                  <a:pt x="227" y="78"/>
                </a:cubicBezTo>
                <a:cubicBezTo>
                  <a:pt x="228" y="79"/>
                  <a:pt x="228" y="79"/>
                  <a:pt x="228" y="79"/>
                </a:cubicBezTo>
                <a:cubicBezTo>
                  <a:pt x="227" y="79"/>
                  <a:pt x="227" y="79"/>
                  <a:pt x="227" y="79"/>
                </a:cubicBezTo>
                <a:close/>
                <a:moveTo>
                  <a:pt x="232" y="85"/>
                </a:moveTo>
                <a:cubicBezTo>
                  <a:pt x="233" y="84"/>
                  <a:pt x="233" y="84"/>
                  <a:pt x="233" y="84"/>
                </a:cubicBezTo>
                <a:cubicBezTo>
                  <a:pt x="233" y="85"/>
                  <a:pt x="233" y="85"/>
                  <a:pt x="233" y="85"/>
                </a:cubicBezTo>
                <a:cubicBezTo>
                  <a:pt x="232" y="86"/>
                  <a:pt x="232" y="86"/>
                  <a:pt x="232" y="86"/>
                </a:cubicBezTo>
                <a:cubicBezTo>
                  <a:pt x="232" y="86"/>
                  <a:pt x="232" y="85"/>
                  <a:pt x="232" y="85"/>
                </a:cubicBezTo>
                <a:close/>
                <a:moveTo>
                  <a:pt x="234" y="83"/>
                </a:moveTo>
                <a:cubicBezTo>
                  <a:pt x="235" y="83"/>
                  <a:pt x="235" y="83"/>
                  <a:pt x="235" y="83"/>
                </a:cubicBezTo>
                <a:cubicBezTo>
                  <a:pt x="235" y="82"/>
                  <a:pt x="235" y="82"/>
                  <a:pt x="235" y="82"/>
                </a:cubicBezTo>
                <a:cubicBezTo>
                  <a:pt x="235" y="82"/>
                  <a:pt x="235" y="82"/>
                  <a:pt x="235" y="82"/>
                </a:cubicBezTo>
                <a:cubicBezTo>
                  <a:pt x="235" y="80"/>
                  <a:pt x="235" y="80"/>
                  <a:pt x="235" y="80"/>
                </a:cubicBezTo>
                <a:cubicBezTo>
                  <a:pt x="236" y="80"/>
                  <a:pt x="236" y="80"/>
                  <a:pt x="236" y="80"/>
                </a:cubicBezTo>
                <a:cubicBezTo>
                  <a:pt x="238" y="79"/>
                  <a:pt x="238" y="79"/>
                  <a:pt x="238" y="79"/>
                </a:cubicBezTo>
                <a:cubicBezTo>
                  <a:pt x="238" y="79"/>
                  <a:pt x="238" y="79"/>
                  <a:pt x="238" y="79"/>
                </a:cubicBezTo>
                <a:cubicBezTo>
                  <a:pt x="238" y="80"/>
                  <a:pt x="238" y="80"/>
                  <a:pt x="238" y="80"/>
                </a:cubicBezTo>
                <a:cubicBezTo>
                  <a:pt x="237" y="81"/>
                  <a:pt x="237" y="81"/>
                  <a:pt x="237" y="81"/>
                </a:cubicBezTo>
                <a:cubicBezTo>
                  <a:pt x="236" y="83"/>
                  <a:pt x="236" y="83"/>
                  <a:pt x="236" y="83"/>
                </a:cubicBezTo>
                <a:cubicBezTo>
                  <a:pt x="237" y="83"/>
                  <a:pt x="237" y="83"/>
                  <a:pt x="237" y="83"/>
                </a:cubicBezTo>
                <a:cubicBezTo>
                  <a:pt x="236" y="84"/>
                  <a:pt x="236" y="84"/>
                  <a:pt x="236" y="84"/>
                </a:cubicBezTo>
                <a:cubicBezTo>
                  <a:pt x="236" y="85"/>
                  <a:pt x="236" y="85"/>
                  <a:pt x="236" y="85"/>
                </a:cubicBezTo>
                <a:cubicBezTo>
                  <a:pt x="236" y="86"/>
                  <a:pt x="236" y="86"/>
                  <a:pt x="236" y="86"/>
                </a:cubicBezTo>
                <a:cubicBezTo>
                  <a:pt x="237" y="85"/>
                  <a:pt x="237" y="85"/>
                  <a:pt x="237" y="85"/>
                </a:cubicBezTo>
                <a:cubicBezTo>
                  <a:pt x="238" y="85"/>
                  <a:pt x="238" y="85"/>
                  <a:pt x="238" y="85"/>
                </a:cubicBezTo>
                <a:cubicBezTo>
                  <a:pt x="238" y="86"/>
                  <a:pt x="238" y="86"/>
                  <a:pt x="238" y="86"/>
                </a:cubicBezTo>
                <a:cubicBezTo>
                  <a:pt x="238" y="86"/>
                  <a:pt x="238" y="86"/>
                  <a:pt x="238" y="86"/>
                </a:cubicBezTo>
                <a:cubicBezTo>
                  <a:pt x="240" y="85"/>
                  <a:pt x="240" y="85"/>
                  <a:pt x="240" y="85"/>
                </a:cubicBezTo>
                <a:cubicBezTo>
                  <a:pt x="241" y="84"/>
                  <a:pt x="241" y="84"/>
                  <a:pt x="241" y="84"/>
                </a:cubicBezTo>
                <a:cubicBezTo>
                  <a:pt x="242" y="84"/>
                  <a:pt x="242" y="84"/>
                  <a:pt x="242" y="84"/>
                </a:cubicBezTo>
                <a:cubicBezTo>
                  <a:pt x="242" y="83"/>
                  <a:pt x="242" y="83"/>
                  <a:pt x="242" y="83"/>
                </a:cubicBezTo>
                <a:cubicBezTo>
                  <a:pt x="242" y="82"/>
                  <a:pt x="242" y="82"/>
                  <a:pt x="242" y="82"/>
                </a:cubicBezTo>
                <a:cubicBezTo>
                  <a:pt x="243" y="82"/>
                  <a:pt x="243" y="82"/>
                  <a:pt x="243" y="82"/>
                </a:cubicBezTo>
                <a:cubicBezTo>
                  <a:pt x="244" y="81"/>
                  <a:pt x="244" y="81"/>
                  <a:pt x="244" y="81"/>
                </a:cubicBezTo>
                <a:cubicBezTo>
                  <a:pt x="244" y="79"/>
                  <a:pt x="244" y="79"/>
                  <a:pt x="244" y="79"/>
                </a:cubicBezTo>
                <a:cubicBezTo>
                  <a:pt x="245" y="79"/>
                  <a:pt x="245" y="79"/>
                  <a:pt x="245" y="79"/>
                </a:cubicBezTo>
                <a:cubicBezTo>
                  <a:pt x="245" y="79"/>
                  <a:pt x="245" y="79"/>
                  <a:pt x="245" y="79"/>
                </a:cubicBezTo>
                <a:cubicBezTo>
                  <a:pt x="245" y="80"/>
                  <a:pt x="245" y="80"/>
                  <a:pt x="245" y="80"/>
                </a:cubicBezTo>
                <a:cubicBezTo>
                  <a:pt x="245" y="81"/>
                  <a:pt x="245" y="81"/>
                  <a:pt x="245" y="81"/>
                </a:cubicBezTo>
                <a:cubicBezTo>
                  <a:pt x="245" y="82"/>
                  <a:pt x="245" y="82"/>
                  <a:pt x="245" y="82"/>
                </a:cubicBezTo>
                <a:cubicBezTo>
                  <a:pt x="245" y="84"/>
                  <a:pt x="245" y="84"/>
                  <a:pt x="245" y="84"/>
                </a:cubicBezTo>
                <a:cubicBezTo>
                  <a:pt x="246" y="84"/>
                  <a:pt x="246" y="84"/>
                  <a:pt x="246" y="84"/>
                </a:cubicBezTo>
                <a:cubicBezTo>
                  <a:pt x="247" y="82"/>
                  <a:pt x="247" y="82"/>
                  <a:pt x="247" y="82"/>
                </a:cubicBezTo>
                <a:cubicBezTo>
                  <a:pt x="247" y="81"/>
                  <a:pt x="247" y="81"/>
                  <a:pt x="247" y="81"/>
                </a:cubicBezTo>
                <a:cubicBezTo>
                  <a:pt x="247" y="80"/>
                  <a:pt x="247" y="80"/>
                  <a:pt x="247" y="80"/>
                </a:cubicBezTo>
                <a:cubicBezTo>
                  <a:pt x="248" y="80"/>
                  <a:pt x="248" y="80"/>
                  <a:pt x="248" y="80"/>
                </a:cubicBezTo>
                <a:cubicBezTo>
                  <a:pt x="249" y="78"/>
                  <a:pt x="249" y="78"/>
                  <a:pt x="249" y="78"/>
                </a:cubicBezTo>
                <a:cubicBezTo>
                  <a:pt x="250" y="77"/>
                  <a:pt x="250" y="77"/>
                  <a:pt x="250" y="77"/>
                </a:cubicBezTo>
                <a:cubicBezTo>
                  <a:pt x="249" y="76"/>
                  <a:pt x="249" y="76"/>
                  <a:pt x="249" y="76"/>
                </a:cubicBezTo>
                <a:cubicBezTo>
                  <a:pt x="250" y="75"/>
                  <a:pt x="250" y="75"/>
                  <a:pt x="250" y="75"/>
                </a:cubicBezTo>
                <a:cubicBezTo>
                  <a:pt x="251" y="76"/>
                  <a:pt x="251" y="76"/>
                  <a:pt x="251" y="76"/>
                </a:cubicBezTo>
                <a:cubicBezTo>
                  <a:pt x="253" y="75"/>
                  <a:pt x="253" y="75"/>
                  <a:pt x="253" y="75"/>
                </a:cubicBezTo>
                <a:cubicBezTo>
                  <a:pt x="254" y="73"/>
                  <a:pt x="254" y="73"/>
                  <a:pt x="254" y="73"/>
                </a:cubicBezTo>
                <a:cubicBezTo>
                  <a:pt x="254" y="72"/>
                  <a:pt x="254" y="72"/>
                  <a:pt x="254" y="72"/>
                </a:cubicBezTo>
                <a:cubicBezTo>
                  <a:pt x="255" y="72"/>
                  <a:pt x="255" y="72"/>
                  <a:pt x="255" y="72"/>
                </a:cubicBezTo>
                <a:cubicBezTo>
                  <a:pt x="255" y="71"/>
                  <a:pt x="255" y="71"/>
                  <a:pt x="255" y="71"/>
                </a:cubicBezTo>
                <a:cubicBezTo>
                  <a:pt x="256" y="72"/>
                  <a:pt x="256" y="72"/>
                  <a:pt x="256" y="72"/>
                </a:cubicBezTo>
                <a:cubicBezTo>
                  <a:pt x="257" y="71"/>
                  <a:pt x="257" y="71"/>
                  <a:pt x="257" y="71"/>
                </a:cubicBezTo>
                <a:cubicBezTo>
                  <a:pt x="258" y="71"/>
                  <a:pt x="258" y="71"/>
                  <a:pt x="258" y="71"/>
                </a:cubicBezTo>
                <a:cubicBezTo>
                  <a:pt x="257" y="73"/>
                  <a:pt x="257" y="73"/>
                  <a:pt x="257" y="73"/>
                </a:cubicBezTo>
                <a:cubicBezTo>
                  <a:pt x="256" y="75"/>
                  <a:pt x="256" y="75"/>
                  <a:pt x="256" y="75"/>
                </a:cubicBezTo>
                <a:cubicBezTo>
                  <a:pt x="255" y="76"/>
                  <a:pt x="255" y="76"/>
                  <a:pt x="255" y="76"/>
                </a:cubicBezTo>
                <a:cubicBezTo>
                  <a:pt x="255" y="77"/>
                  <a:pt x="255" y="77"/>
                  <a:pt x="255" y="77"/>
                </a:cubicBezTo>
                <a:cubicBezTo>
                  <a:pt x="255" y="78"/>
                  <a:pt x="255" y="78"/>
                  <a:pt x="255" y="78"/>
                </a:cubicBezTo>
                <a:cubicBezTo>
                  <a:pt x="254" y="78"/>
                  <a:pt x="254" y="78"/>
                  <a:pt x="254" y="78"/>
                </a:cubicBezTo>
                <a:cubicBezTo>
                  <a:pt x="252" y="81"/>
                  <a:pt x="252" y="81"/>
                  <a:pt x="252" y="81"/>
                </a:cubicBezTo>
                <a:cubicBezTo>
                  <a:pt x="252" y="82"/>
                  <a:pt x="252" y="82"/>
                  <a:pt x="252" y="82"/>
                </a:cubicBezTo>
                <a:cubicBezTo>
                  <a:pt x="252" y="83"/>
                  <a:pt x="252" y="83"/>
                  <a:pt x="252" y="83"/>
                </a:cubicBezTo>
                <a:cubicBezTo>
                  <a:pt x="252" y="84"/>
                  <a:pt x="252" y="84"/>
                  <a:pt x="252" y="84"/>
                </a:cubicBezTo>
                <a:cubicBezTo>
                  <a:pt x="253" y="84"/>
                  <a:pt x="253" y="84"/>
                  <a:pt x="253" y="84"/>
                </a:cubicBezTo>
                <a:cubicBezTo>
                  <a:pt x="254" y="84"/>
                  <a:pt x="254" y="84"/>
                  <a:pt x="254" y="84"/>
                </a:cubicBezTo>
                <a:cubicBezTo>
                  <a:pt x="255" y="84"/>
                  <a:pt x="255" y="84"/>
                  <a:pt x="255" y="84"/>
                </a:cubicBezTo>
                <a:cubicBezTo>
                  <a:pt x="256" y="83"/>
                  <a:pt x="256" y="83"/>
                  <a:pt x="256" y="83"/>
                </a:cubicBezTo>
                <a:cubicBezTo>
                  <a:pt x="257" y="82"/>
                  <a:pt x="257" y="82"/>
                  <a:pt x="257" y="82"/>
                </a:cubicBezTo>
                <a:cubicBezTo>
                  <a:pt x="256" y="81"/>
                  <a:pt x="256" y="81"/>
                  <a:pt x="256" y="81"/>
                </a:cubicBezTo>
                <a:cubicBezTo>
                  <a:pt x="257" y="80"/>
                  <a:pt x="257" y="80"/>
                  <a:pt x="257" y="80"/>
                </a:cubicBezTo>
                <a:cubicBezTo>
                  <a:pt x="258" y="79"/>
                  <a:pt x="258" y="79"/>
                  <a:pt x="258" y="79"/>
                </a:cubicBezTo>
                <a:cubicBezTo>
                  <a:pt x="259" y="79"/>
                  <a:pt x="259" y="79"/>
                  <a:pt x="259" y="79"/>
                </a:cubicBezTo>
                <a:cubicBezTo>
                  <a:pt x="260" y="79"/>
                  <a:pt x="260" y="79"/>
                  <a:pt x="260" y="79"/>
                </a:cubicBezTo>
                <a:cubicBezTo>
                  <a:pt x="260" y="79"/>
                  <a:pt x="260" y="79"/>
                  <a:pt x="260" y="79"/>
                </a:cubicBezTo>
                <a:cubicBezTo>
                  <a:pt x="261" y="79"/>
                  <a:pt x="261" y="79"/>
                  <a:pt x="261" y="79"/>
                </a:cubicBezTo>
                <a:cubicBezTo>
                  <a:pt x="262" y="79"/>
                  <a:pt x="262" y="79"/>
                  <a:pt x="262" y="79"/>
                </a:cubicBezTo>
                <a:cubicBezTo>
                  <a:pt x="264" y="79"/>
                  <a:pt x="264" y="79"/>
                  <a:pt x="264" y="79"/>
                </a:cubicBezTo>
                <a:cubicBezTo>
                  <a:pt x="265" y="77"/>
                  <a:pt x="265" y="77"/>
                  <a:pt x="265" y="77"/>
                </a:cubicBezTo>
                <a:cubicBezTo>
                  <a:pt x="265" y="75"/>
                  <a:pt x="265" y="75"/>
                  <a:pt x="265" y="75"/>
                </a:cubicBezTo>
                <a:cubicBezTo>
                  <a:pt x="266" y="73"/>
                  <a:pt x="266" y="73"/>
                  <a:pt x="266" y="73"/>
                </a:cubicBezTo>
                <a:cubicBezTo>
                  <a:pt x="267" y="72"/>
                  <a:pt x="267" y="72"/>
                  <a:pt x="267" y="72"/>
                </a:cubicBezTo>
                <a:cubicBezTo>
                  <a:pt x="267" y="72"/>
                  <a:pt x="267" y="72"/>
                  <a:pt x="267" y="72"/>
                </a:cubicBezTo>
                <a:cubicBezTo>
                  <a:pt x="268" y="73"/>
                  <a:pt x="268" y="73"/>
                  <a:pt x="268" y="73"/>
                </a:cubicBezTo>
                <a:cubicBezTo>
                  <a:pt x="269" y="73"/>
                  <a:pt x="269" y="73"/>
                  <a:pt x="269" y="73"/>
                </a:cubicBezTo>
                <a:cubicBezTo>
                  <a:pt x="269" y="73"/>
                  <a:pt x="269" y="73"/>
                  <a:pt x="269" y="73"/>
                </a:cubicBezTo>
                <a:cubicBezTo>
                  <a:pt x="269" y="72"/>
                  <a:pt x="269" y="72"/>
                  <a:pt x="269" y="72"/>
                </a:cubicBezTo>
                <a:cubicBezTo>
                  <a:pt x="268" y="70"/>
                  <a:pt x="268" y="70"/>
                  <a:pt x="268" y="70"/>
                </a:cubicBezTo>
                <a:cubicBezTo>
                  <a:pt x="268" y="69"/>
                  <a:pt x="268" y="69"/>
                  <a:pt x="268" y="69"/>
                </a:cubicBezTo>
                <a:cubicBezTo>
                  <a:pt x="269" y="68"/>
                  <a:pt x="269" y="68"/>
                  <a:pt x="269" y="68"/>
                </a:cubicBezTo>
                <a:cubicBezTo>
                  <a:pt x="271" y="68"/>
                  <a:pt x="271" y="68"/>
                  <a:pt x="271" y="68"/>
                </a:cubicBezTo>
                <a:cubicBezTo>
                  <a:pt x="272" y="67"/>
                  <a:pt x="272" y="67"/>
                  <a:pt x="272" y="67"/>
                </a:cubicBezTo>
                <a:cubicBezTo>
                  <a:pt x="273" y="68"/>
                  <a:pt x="273" y="68"/>
                  <a:pt x="273" y="68"/>
                </a:cubicBezTo>
                <a:cubicBezTo>
                  <a:pt x="273" y="68"/>
                  <a:pt x="273" y="68"/>
                  <a:pt x="273" y="68"/>
                </a:cubicBezTo>
                <a:cubicBezTo>
                  <a:pt x="274" y="66"/>
                  <a:pt x="274" y="66"/>
                  <a:pt x="274" y="66"/>
                </a:cubicBezTo>
                <a:cubicBezTo>
                  <a:pt x="274" y="65"/>
                  <a:pt x="274" y="65"/>
                  <a:pt x="274" y="65"/>
                </a:cubicBezTo>
                <a:cubicBezTo>
                  <a:pt x="274" y="63"/>
                  <a:pt x="274" y="63"/>
                  <a:pt x="274" y="63"/>
                </a:cubicBezTo>
                <a:cubicBezTo>
                  <a:pt x="274" y="62"/>
                  <a:pt x="274" y="62"/>
                  <a:pt x="274" y="62"/>
                </a:cubicBezTo>
                <a:cubicBezTo>
                  <a:pt x="274" y="62"/>
                  <a:pt x="274" y="62"/>
                  <a:pt x="274" y="62"/>
                </a:cubicBezTo>
                <a:cubicBezTo>
                  <a:pt x="274" y="60"/>
                  <a:pt x="274" y="60"/>
                  <a:pt x="274" y="60"/>
                </a:cubicBezTo>
                <a:cubicBezTo>
                  <a:pt x="273" y="60"/>
                  <a:pt x="273" y="60"/>
                  <a:pt x="273" y="60"/>
                </a:cubicBezTo>
                <a:cubicBezTo>
                  <a:pt x="272" y="60"/>
                  <a:pt x="272" y="60"/>
                  <a:pt x="272" y="60"/>
                </a:cubicBezTo>
                <a:cubicBezTo>
                  <a:pt x="271" y="61"/>
                  <a:pt x="271" y="61"/>
                  <a:pt x="271" y="61"/>
                </a:cubicBezTo>
                <a:cubicBezTo>
                  <a:pt x="271" y="63"/>
                  <a:pt x="271" y="63"/>
                  <a:pt x="271" y="63"/>
                </a:cubicBezTo>
                <a:cubicBezTo>
                  <a:pt x="271" y="63"/>
                  <a:pt x="271" y="63"/>
                  <a:pt x="271" y="63"/>
                </a:cubicBezTo>
                <a:cubicBezTo>
                  <a:pt x="271" y="64"/>
                  <a:pt x="271" y="64"/>
                  <a:pt x="271" y="64"/>
                </a:cubicBezTo>
                <a:cubicBezTo>
                  <a:pt x="270" y="64"/>
                  <a:pt x="270" y="64"/>
                  <a:pt x="270" y="64"/>
                </a:cubicBezTo>
                <a:cubicBezTo>
                  <a:pt x="269" y="63"/>
                  <a:pt x="269" y="63"/>
                  <a:pt x="269" y="63"/>
                </a:cubicBezTo>
                <a:cubicBezTo>
                  <a:pt x="269" y="63"/>
                  <a:pt x="269" y="63"/>
                  <a:pt x="269" y="63"/>
                </a:cubicBezTo>
                <a:cubicBezTo>
                  <a:pt x="269" y="64"/>
                  <a:pt x="269" y="64"/>
                  <a:pt x="269" y="64"/>
                </a:cubicBezTo>
                <a:cubicBezTo>
                  <a:pt x="268" y="65"/>
                  <a:pt x="268" y="65"/>
                  <a:pt x="268" y="65"/>
                </a:cubicBezTo>
                <a:cubicBezTo>
                  <a:pt x="268" y="64"/>
                  <a:pt x="268" y="64"/>
                  <a:pt x="268" y="64"/>
                </a:cubicBezTo>
                <a:cubicBezTo>
                  <a:pt x="268" y="62"/>
                  <a:pt x="268" y="62"/>
                  <a:pt x="268" y="62"/>
                </a:cubicBezTo>
                <a:cubicBezTo>
                  <a:pt x="266" y="61"/>
                  <a:pt x="266" y="61"/>
                  <a:pt x="266" y="61"/>
                </a:cubicBezTo>
                <a:cubicBezTo>
                  <a:pt x="266" y="61"/>
                  <a:pt x="266" y="61"/>
                  <a:pt x="266" y="61"/>
                </a:cubicBezTo>
                <a:cubicBezTo>
                  <a:pt x="265" y="61"/>
                  <a:pt x="265" y="61"/>
                  <a:pt x="265" y="61"/>
                </a:cubicBezTo>
                <a:cubicBezTo>
                  <a:pt x="264" y="61"/>
                  <a:pt x="264" y="61"/>
                  <a:pt x="264" y="61"/>
                </a:cubicBezTo>
                <a:cubicBezTo>
                  <a:pt x="263" y="61"/>
                  <a:pt x="263" y="61"/>
                  <a:pt x="263" y="61"/>
                </a:cubicBezTo>
                <a:cubicBezTo>
                  <a:pt x="262" y="61"/>
                  <a:pt x="262" y="61"/>
                  <a:pt x="262" y="61"/>
                </a:cubicBezTo>
                <a:cubicBezTo>
                  <a:pt x="259" y="61"/>
                  <a:pt x="259" y="61"/>
                  <a:pt x="259" y="61"/>
                </a:cubicBezTo>
                <a:cubicBezTo>
                  <a:pt x="258" y="61"/>
                  <a:pt x="258" y="61"/>
                  <a:pt x="258" y="61"/>
                </a:cubicBezTo>
                <a:cubicBezTo>
                  <a:pt x="257" y="62"/>
                  <a:pt x="257" y="62"/>
                  <a:pt x="257" y="62"/>
                </a:cubicBezTo>
                <a:cubicBezTo>
                  <a:pt x="257" y="63"/>
                  <a:pt x="257" y="63"/>
                  <a:pt x="257" y="63"/>
                </a:cubicBezTo>
                <a:cubicBezTo>
                  <a:pt x="256" y="63"/>
                  <a:pt x="256" y="63"/>
                  <a:pt x="256" y="63"/>
                </a:cubicBezTo>
                <a:cubicBezTo>
                  <a:pt x="255" y="63"/>
                  <a:pt x="255" y="63"/>
                  <a:pt x="255" y="63"/>
                </a:cubicBezTo>
                <a:cubicBezTo>
                  <a:pt x="252" y="65"/>
                  <a:pt x="252" y="65"/>
                  <a:pt x="252" y="65"/>
                </a:cubicBezTo>
                <a:cubicBezTo>
                  <a:pt x="252" y="66"/>
                  <a:pt x="252" y="66"/>
                  <a:pt x="252" y="66"/>
                </a:cubicBezTo>
                <a:cubicBezTo>
                  <a:pt x="250" y="66"/>
                  <a:pt x="250" y="66"/>
                  <a:pt x="250" y="66"/>
                </a:cubicBezTo>
                <a:cubicBezTo>
                  <a:pt x="249" y="67"/>
                  <a:pt x="249" y="67"/>
                  <a:pt x="249" y="67"/>
                </a:cubicBezTo>
                <a:cubicBezTo>
                  <a:pt x="248" y="67"/>
                  <a:pt x="248" y="67"/>
                  <a:pt x="248" y="67"/>
                </a:cubicBezTo>
                <a:cubicBezTo>
                  <a:pt x="247" y="68"/>
                  <a:pt x="247" y="68"/>
                  <a:pt x="247" y="68"/>
                </a:cubicBezTo>
                <a:cubicBezTo>
                  <a:pt x="247" y="69"/>
                  <a:pt x="247" y="69"/>
                  <a:pt x="247" y="69"/>
                </a:cubicBezTo>
                <a:cubicBezTo>
                  <a:pt x="245" y="69"/>
                  <a:pt x="245" y="69"/>
                  <a:pt x="245" y="69"/>
                </a:cubicBezTo>
                <a:cubicBezTo>
                  <a:pt x="244" y="70"/>
                  <a:pt x="244" y="70"/>
                  <a:pt x="244" y="70"/>
                </a:cubicBezTo>
                <a:cubicBezTo>
                  <a:pt x="243" y="69"/>
                  <a:pt x="243" y="69"/>
                  <a:pt x="243" y="69"/>
                </a:cubicBezTo>
                <a:cubicBezTo>
                  <a:pt x="242" y="70"/>
                  <a:pt x="242" y="70"/>
                  <a:pt x="242" y="70"/>
                </a:cubicBezTo>
                <a:cubicBezTo>
                  <a:pt x="241" y="70"/>
                  <a:pt x="241" y="70"/>
                  <a:pt x="241" y="70"/>
                </a:cubicBezTo>
                <a:cubicBezTo>
                  <a:pt x="239" y="72"/>
                  <a:pt x="239" y="72"/>
                  <a:pt x="239" y="72"/>
                </a:cubicBezTo>
                <a:cubicBezTo>
                  <a:pt x="238" y="72"/>
                  <a:pt x="238" y="72"/>
                  <a:pt x="238" y="72"/>
                </a:cubicBezTo>
                <a:cubicBezTo>
                  <a:pt x="236" y="72"/>
                  <a:pt x="236" y="72"/>
                  <a:pt x="236" y="72"/>
                </a:cubicBezTo>
                <a:cubicBezTo>
                  <a:pt x="235" y="72"/>
                  <a:pt x="235" y="72"/>
                  <a:pt x="235" y="72"/>
                </a:cubicBezTo>
                <a:cubicBezTo>
                  <a:pt x="232" y="73"/>
                  <a:pt x="232" y="73"/>
                  <a:pt x="232" y="73"/>
                </a:cubicBezTo>
                <a:cubicBezTo>
                  <a:pt x="231" y="75"/>
                  <a:pt x="231" y="75"/>
                  <a:pt x="231" y="75"/>
                </a:cubicBezTo>
                <a:cubicBezTo>
                  <a:pt x="230" y="75"/>
                  <a:pt x="230" y="75"/>
                  <a:pt x="230" y="75"/>
                </a:cubicBezTo>
                <a:cubicBezTo>
                  <a:pt x="228" y="75"/>
                  <a:pt x="228" y="75"/>
                  <a:pt x="228" y="75"/>
                </a:cubicBezTo>
                <a:cubicBezTo>
                  <a:pt x="228" y="77"/>
                  <a:pt x="228" y="77"/>
                  <a:pt x="228" y="77"/>
                </a:cubicBezTo>
                <a:cubicBezTo>
                  <a:pt x="229" y="77"/>
                  <a:pt x="229" y="77"/>
                  <a:pt x="229" y="77"/>
                </a:cubicBezTo>
                <a:cubicBezTo>
                  <a:pt x="229" y="77"/>
                  <a:pt x="229" y="77"/>
                  <a:pt x="229" y="77"/>
                </a:cubicBezTo>
                <a:cubicBezTo>
                  <a:pt x="228" y="77"/>
                  <a:pt x="228" y="77"/>
                  <a:pt x="228" y="77"/>
                </a:cubicBezTo>
                <a:cubicBezTo>
                  <a:pt x="228" y="78"/>
                  <a:pt x="228" y="78"/>
                  <a:pt x="228" y="78"/>
                </a:cubicBezTo>
                <a:cubicBezTo>
                  <a:pt x="229" y="79"/>
                  <a:pt x="229" y="79"/>
                  <a:pt x="229" y="79"/>
                </a:cubicBezTo>
                <a:cubicBezTo>
                  <a:pt x="229" y="79"/>
                  <a:pt x="229" y="79"/>
                  <a:pt x="229" y="79"/>
                </a:cubicBezTo>
                <a:cubicBezTo>
                  <a:pt x="227" y="80"/>
                  <a:pt x="227" y="80"/>
                  <a:pt x="227" y="80"/>
                </a:cubicBezTo>
                <a:cubicBezTo>
                  <a:pt x="227" y="81"/>
                  <a:pt x="227" y="81"/>
                  <a:pt x="227" y="81"/>
                </a:cubicBezTo>
                <a:cubicBezTo>
                  <a:pt x="228" y="81"/>
                  <a:pt x="228" y="81"/>
                  <a:pt x="228" y="81"/>
                </a:cubicBezTo>
                <a:cubicBezTo>
                  <a:pt x="229" y="81"/>
                  <a:pt x="229" y="81"/>
                  <a:pt x="229" y="81"/>
                </a:cubicBezTo>
                <a:cubicBezTo>
                  <a:pt x="230" y="80"/>
                  <a:pt x="230" y="80"/>
                  <a:pt x="230" y="80"/>
                </a:cubicBezTo>
                <a:cubicBezTo>
                  <a:pt x="231" y="79"/>
                  <a:pt x="231" y="79"/>
                  <a:pt x="231" y="79"/>
                </a:cubicBezTo>
                <a:cubicBezTo>
                  <a:pt x="232" y="80"/>
                  <a:pt x="232" y="80"/>
                  <a:pt x="232" y="80"/>
                </a:cubicBezTo>
                <a:cubicBezTo>
                  <a:pt x="233" y="82"/>
                  <a:pt x="233" y="82"/>
                  <a:pt x="233" y="82"/>
                </a:cubicBezTo>
                <a:cubicBezTo>
                  <a:pt x="233" y="83"/>
                  <a:pt x="233" y="83"/>
                  <a:pt x="233" y="83"/>
                </a:cubicBezTo>
                <a:cubicBezTo>
                  <a:pt x="234" y="83"/>
                  <a:pt x="234" y="83"/>
                  <a:pt x="234" y="83"/>
                </a:cubicBezTo>
                <a:close/>
                <a:moveTo>
                  <a:pt x="354" y="154"/>
                </a:moveTo>
                <a:cubicBezTo>
                  <a:pt x="354" y="153"/>
                  <a:pt x="354" y="153"/>
                  <a:pt x="354" y="153"/>
                </a:cubicBezTo>
                <a:cubicBezTo>
                  <a:pt x="356" y="154"/>
                  <a:pt x="356" y="154"/>
                  <a:pt x="356" y="154"/>
                </a:cubicBezTo>
                <a:cubicBezTo>
                  <a:pt x="356" y="154"/>
                  <a:pt x="356" y="154"/>
                  <a:pt x="356" y="154"/>
                </a:cubicBezTo>
                <a:cubicBezTo>
                  <a:pt x="355" y="155"/>
                  <a:pt x="355" y="155"/>
                  <a:pt x="355" y="155"/>
                </a:cubicBezTo>
                <a:cubicBezTo>
                  <a:pt x="354" y="155"/>
                  <a:pt x="354" y="155"/>
                  <a:pt x="354" y="155"/>
                </a:cubicBezTo>
                <a:cubicBezTo>
                  <a:pt x="354" y="154"/>
                  <a:pt x="354" y="154"/>
                  <a:pt x="354" y="154"/>
                </a:cubicBezTo>
                <a:close/>
                <a:moveTo>
                  <a:pt x="340" y="126"/>
                </a:moveTo>
                <a:cubicBezTo>
                  <a:pt x="339" y="126"/>
                  <a:pt x="339" y="126"/>
                  <a:pt x="339" y="126"/>
                </a:cubicBezTo>
                <a:cubicBezTo>
                  <a:pt x="338" y="125"/>
                  <a:pt x="338" y="125"/>
                  <a:pt x="338" y="125"/>
                </a:cubicBezTo>
                <a:cubicBezTo>
                  <a:pt x="337" y="126"/>
                  <a:pt x="337" y="126"/>
                  <a:pt x="337" y="126"/>
                </a:cubicBezTo>
                <a:cubicBezTo>
                  <a:pt x="338" y="126"/>
                  <a:pt x="338" y="126"/>
                  <a:pt x="338" y="126"/>
                </a:cubicBezTo>
                <a:cubicBezTo>
                  <a:pt x="339" y="127"/>
                  <a:pt x="339" y="127"/>
                  <a:pt x="339" y="127"/>
                </a:cubicBezTo>
                <a:cubicBezTo>
                  <a:pt x="339" y="127"/>
                  <a:pt x="339" y="127"/>
                  <a:pt x="339" y="127"/>
                </a:cubicBezTo>
                <a:cubicBezTo>
                  <a:pt x="337" y="127"/>
                  <a:pt x="337" y="127"/>
                  <a:pt x="337" y="127"/>
                </a:cubicBezTo>
                <a:cubicBezTo>
                  <a:pt x="337" y="128"/>
                  <a:pt x="337" y="128"/>
                  <a:pt x="337" y="128"/>
                </a:cubicBezTo>
                <a:cubicBezTo>
                  <a:pt x="337" y="129"/>
                  <a:pt x="337" y="129"/>
                  <a:pt x="337" y="129"/>
                </a:cubicBezTo>
                <a:cubicBezTo>
                  <a:pt x="337" y="129"/>
                  <a:pt x="337" y="129"/>
                  <a:pt x="337" y="129"/>
                </a:cubicBezTo>
                <a:cubicBezTo>
                  <a:pt x="337" y="129"/>
                  <a:pt x="337" y="129"/>
                  <a:pt x="337" y="129"/>
                </a:cubicBezTo>
                <a:cubicBezTo>
                  <a:pt x="336" y="129"/>
                  <a:pt x="336" y="129"/>
                  <a:pt x="336" y="129"/>
                </a:cubicBezTo>
                <a:cubicBezTo>
                  <a:pt x="335" y="129"/>
                  <a:pt x="335" y="129"/>
                  <a:pt x="335" y="129"/>
                </a:cubicBezTo>
                <a:cubicBezTo>
                  <a:pt x="334" y="130"/>
                  <a:pt x="334" y="130"/>
                  <a:pt x="334" y="130"/>
                </a:cubicBezTo>
                <a:cubicBezTo>
                  <a:pt x="333" y="131"/>
                  <a:pt x="333" y="131"/>
                  <a:pt x="333" y="131"/>
                </a:cubicBezTo>
                <a:cubicBezTo>
                  <a:pt x="333" y="132"/>
                  <a:pt x="333" y="132"/>
                  <a:pt x="333" y="132"/>
                </a:cubicBezTo>
                <a:cubicBezTo>
                  <a:pt x="333" y="132"/>
                  <a:pt x="333" y="132"/>
                  <a:pt x="333" y="132"/>
                </a:cubicBezTo>
                <a:cubicBezTo>
                  <a:pt x="334" y="132"/>
                  <a:pt x="334" y="132"/>
                  <a:pt x="334" y="132"/>
                </a:cubicBezTo>
                <a:cubicBezTo>
                  <a:pt x="333" y="133"/>
                  <a:pt x="333" y="133"/>
                  <a:pt x="333" y="133"/>
                </a:cubicBezTo>
                <a:cubicBezTo>
                  <a:pt x="333" y="134"/>
                  <a:pt x="333" y="134"/>
                  <a:pt x="333" y="134"/>
                </a:cubicBezTo>
                <a:cubicBezTo>
                  <a:pt x="334" y="134"/>
                  <a:pt x="334" y="134"/>
                  <a:pt x="334" y="134"/>
                </a:cubicBezTo>
                <a:cubicBezTo>
                  <a:pt x="334" y="133"/>
                  <a:pt x="334" y="133"/>
                  <a:pt x="334" y="133"/>
                </a:cubicBezTo>
                <a:cubicBezTo>
                  <a:pt x="335" y="133"/>
                  <a:pt x="335" y="133"/>
                  <a:pt x="335" y="133"/>
                </a:cubicBezTo>
                <a:cubicBezTo>
                  <a:pt x="334" y="134"/>
                  <a:pt x="334" y="134"/>
                  <a:pt x="334" y="134"/>
                </a:cubicBezTo>
                <a:cubicBezTo>
                  <a:pt x="334" y="135"/>
                  <a:pt x="334" y="135"/>
                  <a:pt x="334" y="135"/>
                </a:cubicBezTo>
                <a:cubicBezTo>
                  <a:pt x="335" y="135"/>
                  <a:pt x="335" y="135"/>
                  <a:pt x="335" y="135"/>
                </a:cubicBezTo>
                <a:cubicBezTo>
                  <a:pt x="336" y="135"/>
                  <a:pt x="336" y="135"/>
                  <a:pt x="336" y="135"/>
                </a:cubicBezTo>
                <a:cubicBezTo>
                  <a:pt x="336" y="136"/>
                  <a:pt x="336" y="136"/>
                  <a:pt x="336" y="136"/>
                </a:cubicBezTo>
                <a:cubicBezTo>
                  <a:pt x="336" y="137"/>
                  <a:pt x="336" y="137"/>
                  <a:pt x="336" y="137"/>
                </a:cubicBezTo>
                <a:cubicBezTo>
                  <a:pt x="337" y="137"/>
                  <a:pt x="337" y="137"/>
                  <a:pt x="337" y="137"/>
                </a:cubicBezTo>
                <a:cubicBezTo>
                  <a:pt x="337" y="136"/>
                  <a:pt x="337" y="136"/>
                  <a:pt x="337" y="136"/>
                </a:cubicBezTo>
                <a:cubicBezTo>
                  <a:pt x="338" y="136"/>
                  <a:pt x="338" y="136"/>
                  <a:pt x="338" y="136"/>
                </a:cubicBezTo>
                <a:cubicBezTo>
                  <a:pt x="338" y="138"/>
                  <a:pt x="338" y="138"/>
                  <a:pt x="338" y="138"/>
                </a:cubicBezTo>
                <a:cubicBezTo>
                  <a:pt x="338" y="138"/>
                  <a:pt x="338" y="138"/>
                  <a:pt x="338" y="138"/>
                </a:cubicBezTo>
                <a:cubicBezTo>
                  <a:pt x="339" y="138"/>
                  <a:pt x="339" y="138"/>
                  <a:pt x="339" y="138"/>
                </a:cubicBezTo>
                <a:cubicBezTo>
                  <a:pt x="339" y="139"/>
                  <a:pt x="339" y="139"/>
                  <a:pt x="339" y="139"/>
                </a:cubicBezTo>
                <a:cubicBezTo>
                  <a:pt x="341" y="139"/>
                  <a:pt x="341" y="139"/>
                  <a:pt x="341" y="139"/>
                </a:cubicBezTo>
                <a:cubicBezTo>
                  <a:pt x="342" y="140"/>
                  <a:pt x="342" y="140"/>
                  <a:pt x="342" y="140"/>
                </a:cubicBezTo>
                <a:cubicBezTo>
                  <a:pt x="343" y="140"/>
                  <a:pt x="343" y="140"/>
                  <a:pt x="343" y="140"/>
                </a:cubicBezTo>
                <a:cubicBezTo>
                  <a:pt x="344" y="141"/>
                  <a:pt x="344" y="141"/>
                  <a:pt x="344" y="141"/>
                </a:cubicBezTo>
                <a:cubicBezTo>
                  <a:pt x="344" y="140"/>
                  <a:pt x="344" y="140"/>
                  <a:pt x="344" y="140"/>
                </a:cubicBezTo>
                <a:cubicBezTo>
                  <a:pt x="344" y="139"/>
                  <a:pt x="344" y="139"/>
                  <a:pt x="344" y="139"/>
                </a:cubicBezTo>
                <a:cubicBezTo>
                  <a:pt x="345" y="139"/>
                  <a:pt x="345" y="139"/>
                  <a:pt x="345" y="139"/>
                </a:cubicBezTo>
                <a:cubicBezTo>
                  <a:pt x="345" y="137"/>
                  <a:pt x="345" y="137"/>
                  <a:pt x="345" y="137"/>
                </a:cubicBezTo>
                <a:cubicBezTo>
                  <a:pt x="345" y="136"/>
                  <a:pt x="345" y="136"/>
                  <a:pt x="345" y="136"/>
                </a:cubicBezTo>
                <a:cubicBezTo>
                  <a:pt x="346" y="134"/>
                  <a:pt x="346" y="134"/>
                  <a:pt x="346" y="134"/>
                </a:cubicBezTo>
                <a:cubicBezTo>
                  <a:pt x="346" y="134"/>
                  <a:pt x="346" y="134"/>
                  <a:pt x="346" y="134"/>
                </a:cubicBezTo>
                <a:cubicBezTo>
                  <a:pt x="347" y="132"/>
                  <a:pt x="347" y="132"/>
                  <a:pt x="347" y="132"/>
                </a:cubicBezTo>
                <a:cubicBezTo>
                  <a:pt x="347" y="130"/>
                  <a:pt x="347" y="130"/>
                  <a:pt x="347" y="130"/>
                </a:cubicBezTo>
                <a:cubicBezTo>
                  <a:pt x="348" y="130"/>
                  <a:pt x="348" y="130"/>
                  <a:pt x="348" y="130"/>
                </a:cubicBezTo>
                <a:cubicBezTo>
                  <a:pt x="347" y="128"/>
                  <a:pt x="347" y="128"/>
                  <a:pt x="347" y="128"/>
                </a:cubicBezTo>
                <a:cubicBezTo>
                  <a:pt x="346" y="128"/>
                  <a:pt x="346" y="128"/>
                  <a:pt x="346" y="128"/>
                </a:cubicBezTo>
                <a:cubicBezTo>
                  <a:pt x="346" y="126"/>
                  <a:pt x="346" y="126"/>
                  <a:pt x="346" y="126"/>
                </a:cubicBezTo>
                <a:cubicBezTo>
                  <a:pt x="346" y="126"/>
                  <a:pt x="346" y="126"/>
                  <a:pt x="346" y="126"/>
                </a:cubicBezTo>
                <a:cubicBezTo>
                  <a:pt x="345" y="125"/>
                  <a:pt x="345" y="125"/>
                  <a:pt x="345" y="125"/>
                </a:cubicBezTo>
                <a:cubicBezTo>
                  <a:pt x="344" y="124"/>
                  <a:pt x="344" y="124"/>
                  <a:pt x="344" y="124"/>
                </a:cubicBezTo>
                <a:cubicBezTo>
                  <a:pt x="343" y="124"/>
                  <a:pt x="343" y="124"/>
                  <a:pt x="343" y="124"/>
                </a:cubicBezTo>
                <a:cubicBezTo>
                  <a:pt x="341" y="124"/>
                  <a:pt x="341" y="124"/>
                  <a:pt x="341" y="124"/>
                </a:cubicBezTo>
                <a:cubicBezTo>
                  <a:pt x="340" y="124"/>
                  <a:pt x="340" y="124"/>
                  <a:pt x="340" y="124"/>
                </a:cubicBezTo>
                <a:cubicBezTo>
                  <a:pt x="340" y="125"/>
                  <a:pt x="340" y="125"/>
                  <a:pt x="340" y="125"/>
                </a:cubicBezTo>
                <a:cubicBezTo>
                  <a:pt x="340" y="126"/>
                  <a:pt x="340" y="126"/>
                  <a:pt x="340" y="126"/>
                </a:cubicBezTo>
                <a:cubicBezTo>
                  <a:pt x="340" y="126"/>
                  <a:pt x="340" y="126"/>
                  <a:pt x="340" y="126"/>
                </a:cubicBezTo>
                <a:cubicBezTo>
                  <a:pt x="340" y="126"/>
                  <a:pt x="340" y="126"/>
                  <a:pt x="340" y="126"/>
                </a:cubicBezTo>
                <a:close/>
                <a:moveTo>
                  <a:pt x="348" y="116"/>
                </a:moveTo>
                <a:cubicBezTo>
                  <a:pt x="347" y="116"/>
                  <a:pt x="347" y="116"/>
                  <a:pt x="347" y="116"/>
                </a:cubicBezTo>
                <a:cubicBezTo>
                  <a:pt x="347" y="115"/>
                  <a:pt x="347" y="115"/>
                  <a:pt x="347" y="115"/>
                </a:cubicBezTo>
                <a:cubicBezTo>
                  <a:pt x="348" y="115"/>
                  <a:pt x="348" y="115"/>
                  <a:pt x="348" y="115"/>
                </a:cubicBezTo>
                <a:cubicBezTo>
                  <a:pt x="348" y="115"/>
                  <a:pt x="348" y="116"/>
                  <a:pt x="348" y="116"/>
                </a:cubicBezTo>
                <a:close/>
                <a:moveTo>
                  <a:pt x="346" y="123"/>
                </a:moveTo>
                <a:cubicBezTo>
                  <a:pt x="346" y="122"/>
                  <a:pt x="346" y="122"/>
                  <a:pt x="346" y="122"/>
                </a:cubicBezTo>
                <a:cubicBezTo>
                  <a:pt x="346" y="122"/>
                  <a:pt x="346" y="122"/>
                  <a:pt x="346" y="122"/>
                </a:cubicBezTo>
                <a:cubicBezTo>
                  <a:pt x="346" y="121"/>
                  <a:pt x="346" y="121"/>
                  <a:pt x="346" y="121"/>
                </a:cubicBezTo>
                <a:cubicBezTo>
                  <a:pt x="346" y="120"/>
                  <a:pt x="346" y="120"/>
                  <a:pt x="346" y="120"/>
                </a:cubicBezTo>
                <a:cubicBezTo>
                  <a:pt x="346" y="119"/>
                  <a:pt x="346" y="119"/>
                  <a:pt x="346" y="119"/>
                </a:cubicBezTo>
                <a:cubicBezTo>
                  <a:pt x="347" y="119"/>
                  <a:pt x="347" y="119"/>
                  <a:pt x="347" y="119"/>
                </a:cubicBezTo>
                <a:cubicBezTo>
                  <a:pt x="348" y="119"/>
                  <a:pt x="348" y="119"/>
                  <a:pt x="348" y="119"/>
                </a:cubicBezTo>
                <a:cubicBezTo>
                  <a:pt x="347" y="121"/>
                  <a:pt x="347" y="121"/>
                  <a:pt x="347" y="121"/>
                </a:cubicBezTo>
                <a:cubicBezTo>
                  <a:pt x="347" y="122"/>
                  <a:pt x="347" y="122"/>
                  <a:pt x="347" y="122"/>
                </a:cubicBezTo>
                <a:cubicBezTo>
                  <a:pt x="347" y="122"/>
                  <a:pt x="346" y="123"/>
                  <a:pt x="346" y="123"/>
                </a:cubicBezTo>
                <a:close/>
                <a:moveTo>
                  <a:pt x="338" y="120"/>
                </a:moveTo>
                <a:cubicBezTo>
                  <a:pt x="337" y="120"/>
                  <a:pt x="337" y="120"/>
                  <a:pt x="337" y="120"/>
                </a:cubicBezTo>
                <a:cubicBezTo>
                  <a:pt x="338" y="119"/>
                  <a:pt x="338" y="119"/>
                  <a:pt x="338" y="119"/>
                </a:cubicBezTo>
                <a:cubicBezTo>
                  <a:pt x="339" y="119"/>
                  <a:pt x="339" y="119"/>
                  <a:pt x="339" y="119"/>
                </a:cubicBezTo>
                <a:cubicBezTo>
                  <a:pt x="339" y="119"/>
                  <a:pt x="339" y="119"/>
                  <a:pt x="339" y="119"/>
                </a:cubicBezTo>
                <a:cubicBezTo>
                  <a:pt x="339" y="119"/>
                  <a:pt x="339" y="119"/>
                  <a:pt x="339" y="119"/>
                </a:cubicBezTo>
                <a:cubicBezTo>
                  <a:pt x="338" y="120"/>
                  <a:pt x="338" y="120"/>
                  <a:pt x="338" y="120"/>
                </a:cubicBezTo>
                <a:cubicBezTo>
                  <a:pt x="338" y="120"/>
                  <a:pt x="338" y="120"/>
                  <a:pt x="338" y="120"/>
                </a:cubicBezTo>
                <a:close/>
                <a:moveTo>
                  <a:pt x="336" y="122"/>
                </a:moveTo>
                <a:cubicBezTo>
                  <a:pt x="335" y="121"/>
                  <a:pt x="335" y="121"/>
                  <a:pt x="335" y="121"/>
                </a:cubicBezTo>
                <a:cubicBezTo>
                  <a:pt x="336" y="121"/>
                  <a:pt x="336" y="121"/>
                  <a:pt x="336" y="121"/>
                </a:cubicBezTo>
                <a:cubicBezTo>
                  <a:pt x="337" y="121"/>
                  <a:pt x="337" y="121"/>
                  <a:pt x="337" y="121"/>
                </a:cubicBezTo>
                <a:cubicBezTo>
                  <a:pt x="336" y="121"/>
                  <a:pt x="336" y="121"/>
                  <a:pt x="336" y="121"/>
                </a:cubicBezTo>
                <a:cubicBezTo>
                  <a:pt x="336" y="122"/>
                  <a:pt x="336" y="122"/>
                  <a:pt x="336" y="122"/>
                </a:cubicBezTo>
                <a:close/>
                <a:moveTo>
                  <a:pt x="337" y="124"/>
                </a:moveTo>
                <a:cubicBezTo>
                  <a:pt x="337" y="124"/>
                  <a:pt x="337" y="124"/>
                  <a:pt x="337" y="124"/>
                </a:cubicBezTo>
                <a:cubicBezTo>
                  <a:pt x="337" y="123"/>
                  <a:pt x="337" y="123"/>
                  <a:pt x="337" y="123"/>
                </a:cubicBezTo>
                <a:cubicBezTo>
                  <a:pt x="337" y="122"/>
                  <a:pt x="337" y="122"/>
                  <a:pt x="337" y="122"/>
                </a:cubicBezTo>
                <a:cubicBezTo>
                  <a:pt x="338" y="122"/>
                  <a:pt x="338" y="122"/>
                  <a:pt x="338" y="122"/>
                </a:cubicBezTo>
                <a:cubicBezTo>
                  <a:pt x="338" y="123"/>
                  <a:pt x="338" y="123"/>
                  <a:pt x="338" y="123"/>
                </a:cubicBezTo>
                <a:cubicBezTo>
                  <a:pt x="339" y="123"/>
                  <a:pt x="339" y="123"/>
                  <a:pt x="339" y="123"/>
                </a:cubicBezTo>
                <a:cubicBezTo>
                  <a:pt x="338" y="124"/>
                  <a:pt x="338" y="124"/>
                  <a:pt x="338" y="124"/>
                </a:cubicBezTo>
                <a:cubicBezTo>
                  <a:pt x="337" y="124"/>
                  <a:pt x="337" y="124"/>
                  <a:pt x="337" y="124"/>
                </a:cubicBezTo>
                <a:close/>
                <a:moveTo>
                  <a:pt x="335" y="126"/>
                </a:moveTo>
                <a:cubicBezTo>
                  <a:pt x="334" y="125"/>
                  <a:pt x="334" y="125"/>
                  <a:pt x="334" y="125"/>
                </a:cubicBezTo>
                <a:cubicBezTo>
                  <a:pt x="334" y="123"/>
                  <a:pt x="334" y="123"/>
                  <a:pt x="334" y="123"/>
                </a:cubicBezTo>
                <a:cubicBezTo>
                  <a:pt x="334" y="123"/>
                  <a:pt x="334" y="123"/>
                  <a:pt x="334" y="123"/>
                </a:cubicBezTo>
                <a:cubicBezTo>
                  <a:pt x="335" y="123"/>
                  <a:pt x="335" y="123"/>
                  <a:pt x="335" y="123"/>
                </a:cubicBezTo>
                <a:cubicBezTo>
                  <a:pt x="336" y="123"/>
                  <a:pt x="336" y="123"/>
                  <a:pt x="336" y="123"/>
                </a:cubicBezTo>
                <a:cubicBezTo>
                  <a:pt x="336" y="123"/>
                  <a:pt x="336" y="123"/>
                  <a:pt x="336" y="123"/>
                </a:cubicBezTo>
                <a:cubicBezTo>
                  <a:pt x="337" y="123"/>
                  <a:pt x="337" y="123"/>
                  <a:pt x="337" y="123"/>
                </a:cubicBezTo>
                <a:cubicBezTo>
                  <a:pt x="336" y="124"/>
                  <a:pt x="336" y="124"/>
                  <a:pt x="336" y="124"/>
                </a:cubicBezTo>
                <a:cubicBezTo>
                  <a:pt x="336" y="125"/>
                  <a:pt x="336" y="125"/>
                  <a:pt x="336" y="125"/>
                </a:cubicBezTo>
                <a:cubicBezTo>
                  <a:pt x="336" y="125"/>
                  <a:pt x="336" y="125"/>
                  <a:pt x="336" y="125"/>
                </a:cubicBezTo>
                <a:cubicBezTo>
                  <a:pt x="335" y="125"/>
                  <a:pt x="335" y="125"/>
                  <a:pt x="335" y="125"/>
                </a:cubicBezTo>
                <a:cubicBezTo>
                  <a:pt x="335" y="126"/>
                  <a:pt x="335" y="126"/>
                  <a:pt x="335" y="126"/>
                </a:cubicBezTo>
                <a:close/>
                <a:moveTo>
                  <a:pt x="331" y="126"/>
                </a:moveTo>
                <a:cubicBezTo>
                  <a:pt x="331" y="125"/>
                  <a:pt x="331" y="125"/>
                  <a:pt x="331" y="125"/>
                </a:cubicBezTo>
                <a:cubicBezTo>
                  <a:pt x="332" y="125"/>
                  <a:pt x="332" y="125"/>
                  <a:pt x="332" y="125"/>
                </a:cubicBezTo>
                <a:cubicBezTo>
                  <a:pt x="332" y="125"/>
                  <a:pt x="332" y="125"/>
                  <a:pt x="332" y="125"/>
                </a:cubicBezTo>
                <a:cubicBezTo>
                  <a:pt x="332" y="126"/>
                  <a:pt x="332" y="126"/>
                  <a:pt x="332" y="126"/>
                </a:cubicBezTo>
                <a:cubicBezTo>
                  <a:pt x="331" y="126"/>
                  <a:pt x="331" y="126"/>
                  <a:pt x="331" y="126"/>
                </a:cubicBezTo>
                <a:close/>
                <a:moveTo>
                  <a:pt x="319" y="128"/>
                </a:moveTo>
                <a:cubicBezTo>
                  <a:pt x="318" y="127"/>
                  <a:pt x="318" y="127"/>
                  <a:pt x="318" y="127"/>
                </a:cubicBezTo>
                <a:cubicBezTo>
                  <a:pt x="317" y="127"/>
                  <a:pt x="317" y="127"/>
                  <a:pt x="317" y="127"/>
                </a:cubicBezTo>
                <a:cubicBezTo>
                  <a:pt x="316" y="127"/>
                  <a:pt x="316" y="127"/>
                  <a:pt x="316" y="127"/>
                </a:cubicBezTo>
                <a:cubicBezTo>
                  <a:pt x="316" y="125"/>
                  <a:pt x="316" y="125"/>
                  <a:pt x="316" y="125"/>
                </a:cubicBezTo>
                <a:cubicBezTo>
                  <a:pt x="316" y="125"/>
                  <a:pt x="316" y="125"/>
                  <a:pt x="316" y="125"/>
                </a:cubicBezTo>
                <a:cubicBezTo>
                  <a:pt x="316" y="124"/>
                  <a:pt x="316" y="124"/>
                  <a:pt x="316" y="124"/>
                </a:cubicBezTo>
                <a:cubicBezTo>
                  <a:pt x="317" y="123"/>
                  <a:pt x="317" y="123"/>
                  <a:pt x="317" y="123"/>
                </a:cubicBezTo>
                <a:cubicBezTo>
                  <a:pt x="317" y="123"/>
                  <a:pt x="317" y="123"/>
                  <a:pt x="317" y="123"/>
                </a:cubicBezTo>
                <a:cubicBezTo>
                  <a:pt x="318" y="124"/>
                  <a:pt x="318" y="124"/>
                  <a:pt x="318" y="124"/>
                </a:cubicBezTo>
                <a:cubicBezTo>
                  <a:pt x="318" y="124"/>
                  <a:pt x="318" y="124"/>
                  <a:pt x="318" y="124"/>
                </a:cubicBezTo>
                <a:cubicBezTo>
                  <a:pt x="318" y="123"/>
                  <a:pt x="318" y="123"/>
                  <a:pt x="318" y="123"/>
                </a:cubicBezTo>
                <a:cubicBezTo>
                  <a:pt x="318" y="122"/>
                  <a:pt x="318" y="122"/>
                  <a:pt x="318" y="122"/>
                </a:cubicBezTo>
                <a:cubicBezTo>
                  <a:pt x="317" y="122"/>
                  <a:pt x="317" y="122"/>
                  <a:pt x="317" y="122"/>
                </a:cubicBezTo>
                <a:cubicBezTo>
                  <a:pt x="316" y="121"/>
                  <a:pt x="316" y="121"/>
                  <a:pt x="316" y="121"/>
                </a:cubicBezTo>
                <a:cubicBezTo>
                  <a:pt x="316" y="121"/>
                  <a:pt x="316" y="121"/>
                  <a:pt x="316" y="121"/>
                </a:cubicBezTo>
                <a:cubicBezTo>
                  <a:pt x="316" y="120"/>
                  <a:pt x="316" y="120"/>
                  <a:pt x="316" y="120"/>
                </a:cubicBezTo>
                <a:cubicBezTo>
                  <a:pt x="317" y="120"/>
                  <a:pt x="317" y="120"/>
                  <a:pt x="317" y="120"/>
                </a:cubicBezTo>
                <a:cubicBezTo>
                  <a:pt x="317" y="121"/>
                  <a:pt x="317" y="121"/>
                  <a:pt x="317" y="121"/>
                </a:cubicBezTo>
                <a:cubicBezTo>
                  <a:pt x="318" y="120"/>
                  <a:pt x="318" y="120"/>
                  <a:pt x="318" y="120"/>
                </a:cubicBezTo>
                <a:cubicBezTo>
                  <a:pt x="318" y="120"/>
                  <a:pt x="318" y="120"/>
                  <a:pt x="318" y="120"/>
                </a:cubicBezTo>
                <a:cubicBezTo>
                  <a:pt x="318" y="119"/>
                  <a:pt x="318" y="119"/>
                  <a:pt x="318" y="119"/>
                </a:cubicBezTo>
                <a:cubicBezTo>
                  <a:pt x="319" y="120"/>
                  <a:pt x="319" y="120"/>
                  <a:pt x="319" y="120"/>
                </a:cubicBezTo>
                <a:cubicBezTo>
                  <a:pt x="321" y="120"/>
                  <a:pt x="321" y="120"/>
                  <a:pt x="321" y="120"/>
                </a:cubicBezTo>
                <a:cubicBezTo>
                  <a:pt x="322" y="120"/>
                  <a:pt x="322" y="120"/>
                  <a:pt x="322" y="120"/>
                </a:cubicBezTo>
                <a:cubicBezTo>
                  <a:pt x="321" y="119"/>
                  <a:pt x="321" y="119"/>
                  <a:pt x="321" y="119"/>
                </a:cubicBezTo>
                <a:cubicBezTo>
                  <a:pt x="320" y="119"/>
                  <a:pt x="320" y="119"/>
                  <a:pt x="320" y="119"/>
                </a:cubicBezTo>
                <a:cubicBezTo>
                  <a:pt x="321" y="119"/>
                  <a:pt x="321" y="119"/>
                  <a:pt x="321" y="119"/>
                </a:cubicBezTo>
                <a:cubicBezTo>
                  <a:pt x="323" y="119"/>
                  <a:pt x="323" y="119"/>
                  <a:pt x="323" y="119"/>
                </a:cubicBezTo>
                <a:cubicBezTo>
                  <a:pt x="324" y="118"/>
                  <a:pt x="324" y="118"/>
                  <a:pt x="324" y="118"/>
                </a:cubicBezTo>
                <a:cubicBezTo>
                  <a:pt x="325" y="118"/>
                  <a:pt x="325" y="118"/>
                  <a:pt x="325" y="118"/>
                </a:cubicBezTo>
                <a:cubicBezTo>
                  <a:pt x="327" y="118"/>
                  <a:pt x="327" y="118"/>
                  <a:pt x="327" y="118"/>
                </a:cubicBezTo>
                <a:cubicBezTo>
                  <a:pt x="328" y="118"/>
                  <a:pt x="328" y="118"/>
                  <a:pt x="328" y="118"/>
                </a:cubicBezTo>
                <a:cubicBezTo>
                  <a:pt x="327" y="117"/>
                  <a:pt x="327" y="117"/>
                  <a:pt x="327" y="117"/>
                </a:cubicBezTo>
                <a:cubicBezTo>
                  <a:pt x="322" y="116"/>
                  <a:pt x="322" y="116"/>
                  <a:pt x="322" y="116"/>
                </a:cubicBezTo>
                <a:cubicBezTo>
                  <a:pt x="321" y="116"/>
                  <a:pt x="321" y="116"/>
                  <a:pt x="321" y="116"/>
                </a:cubicBezTo>
                <a:cubicBezTo>
                  <a:pt x="320" y="116"/>
                  <a:pt x="320" y="116"/>
                  <a:pt x="320" y="116"/>
                </a:cubicBezTo>
                <a:cubicBezTo>
                  <a:pt x="318" y="116"/>
                  <a:pt x="318" y="116"/>
                  <a:pt x="318" y="116"/>
                </a:cubicBezTo>
                <a:cubicBezTo>
                  <a:pt x="317" y="115"/>
                  <a:pt x="317" y="115"/>
                  <a:pt x="317" y="115"/>
                </a:cubicBezTo>
                <a:cubicBezTo>
                  <a:pt x="316" y="116"/>
                  <a:pt x="316" y="116"/>
                  <a:pt x="316" y="116"/>
                </a:cubicBezTo>
                <a:cubicBezTo>
                  <a:pt x="315" y="115"/>
                  <a:pt x="315" y="115"/>
                  <a:pt x="315" y="115"/>
                </a:cubicBezTo>
                <a:cubicBezTo>
                  <a:pt x="314" y="115"/>
                  <a:pt x="314" y="115"/>
                  <a:pt x="314" y="115"/>
                </a:cubicBezTo>
                <a:cubicBezTo>
                  <a:pt x="313" y="116"/>
                  <a:pt x="313" y="116"/>
                  <a:pt x="313" y="116"/>
                </a:cubicBezTo>
                <a:cubicBezTo>
                  <a:pt x="313" y="115"/>
                  <a:pt x="313" y="115"/>
                  <a:pt x="313" y="115"/>
                </a:cubicBezTo>
                <a:cubicBezTo>
                  <a:pt x="312" y="115"/>
                  <a:pt x="312" y="115"/>
                  <a:pt x="312" y="115"/>
                </a:cubicBezTo>
                <a:cubicBezTo>
                  <a:pt x="312" y="115"/>
                  <a:pt x="312" y="115"/>
                  <a:pt x="312" y="115"/>
                </a:cubicBezTo>
                <a:cubicBezTo>
                  <a:pt x="312" y="114"/>
                  <a:pt x="312" y="114"/>
                  <a:pt x="312" y="114"/>
                </a:cubicBezTo>
                <a:cubicBezTo>
                  <a:pt x="313" y="114"/>
                  <a:pt x="313" y="114"/>
                  <a:pt x="313" y="114"/>
                </a:cubicBezTo>
                <a:cubicBezTo>
                  <a:pt x="313" y="113"/>
                  <a:pt x="313" y="113"/>
                  <a:pt x="313" y="113"/>
                </a:cubicBezTo>
                <a:cubicBezTo>
                  <a:pt x="314" y="113"/>
                  <a:pt x="314" y="113"/>
                  <a:pt x="314" y="113"/>
                </a:cubicBezTo>
                <a:cubicBezTo>
                  <a:pt x="315" y="113"/>
                  <a:pt x="315" y="113"/>
                  <a:pt x="315" y="113"/>
                </a:cubicBezTo>
                <a:cubicBezTo>
                  <a:pt x="314" y="113"/>
                  <a:pt x="314" y="113"/>
                  <a:pt x="314" y="113"/>
                </a:cubicBezTo>
                <a:cubicBezTo>
                  <a:pt x="315" y="112"/>
                  <a:pt x="315" y="112"/>
                  <a:pt x="315" y="112"/>
                </a:cubicBezTo>
                <a:cubicBezTo>
                  <a:pt x="315" y="111"/>
                  <a:pt x="315" y="111"/>
                  <a:pt x="315" y="111"/>
                </a:cubicBezTo>
                <a:cubicBezTo>
                  <a:pt x="316" y="111"/>
                  <a:pt x="316" y="111"/>
                  <a:pt x="316" y="111"/>
                </a:cubicBezTo>
                <a:cubicBezTo>
                  <a:pt x="317" y="111"/>
                  <a:pt x="317" y="111"/>
                  <a:pt x="317" y="111"/>
                </a:cubicBezTo>
                <a:cubicBezTo>
                  <a:pt x="317" y="112"/>
                  <a:pt x="317" y="112"/>
                  <a:pt x="317" y="112"/>
                </a:cubicBezTo>
                <a:cubicBezTo>
                  <a:pt x="318" y="112"/>
                  <a:pt x="318" y="112"/>
                  <a:pt x="318" y="112"/>
                </a:cubicBezTo>
                <a:cubicBezTo>
                  <a:pt x="318" y="114"/>
                  <a:pt x="318" y="114"/>
                  <a:pt x="318" y="114"/>
                </a:cubicBezTo>
                <a:cubicBezTo>
                  <a:pt x="318" y="114"/>
                  <a:pt x="318" y="114"/>
                  <a:pt x="318" y="114"/>
                </a:cubicBezTo>
                <a:cubicBezTo>
                  <a:pt x="319" y="114"/>
                  <a:pt x="319" y="114"/>
                  <a:pt x="319" y="114"/>
                </a:cubicBezTo>
                <a:cubicBezTo>
                  <a:pt x="319" y="112"/>
                  <a:pt x="319" y="112"/>
                  <a:pt x="319" y="112"/>
                </a:cubicBezTo>
                <a:cubicBezTo>
                  <a:pt x="318" y="112"/>
                  <a:pt x="318" y="112"/>
                  <a:pt x="318" y="112"/>
                </a:cubicBezTo>
                <a:cubicBezTo>
                  <a:pt x="318" y="111"/>
                  <a:pt x="318" y="111"/>
                  <a:pt x="318" y="111"/>
                </a:cubicBezTo>
                <a:cubicBezTo>
                  <a:pt x="320" y="110"/>
                  <a:pt x="320" y="110"/>
                  <a:pt x="320" y="110"/>
                </a:cubicBezTo>
                <a:cubicBezTo>
                  <a:pt x="320" y="109"/>
                  <a:pt x="320" y="109"/>
                  <a:pt x="320" y="109"/>
                </a:cubicBezTo>
                <a:cubicBezTo>
                  <a:pt x="319" y="109"/>
                  <a:pt x="319" y="109"/>
                  <a:pt x="319" y="109"/>
                </a:cubicBezTo>
                <a:cubicBezTo>
                  <a:pt x="319" y="107"/>
                  <a:pt x="319" y="107"/>
                  <a:pt x="319" y="107"/>
                </a:cubicBezTo>
                <a:cubicBezTo>
                  <a:pt x="320" y="107"/>
                  <a:pt x="320" y="107"/>
                  <a:pt x="320" y="107"/>
                </a:cubicBezTo>
                <a:cubicBezTo>
                  <a:pt x="321" y="106"/>
                  <a:pt x="321" y="106"/>
                  <a:pt x="321" y="106"/>
                </a:cubicBezTo>
                <a:cubicBezTo>
                  <a:pt x="322" y="106"/>
                  <a:pt x="322" y="106"/>
                  <a:pt x="322" y="106"/>
                </a:cubicBezTo>
                <a:cubicBezTo>
                  <a:pt x="321" y="105"/>
                  <a:pt x="321" y="105"/>
                  <a:pt x="321" y="105"/>
                </a:cubicBezTo>
                <a:cubicBezTo>
                  <a:pt x="321" y="105"/>
                  <a:pt x="321" y="105"/>
                  <a:pt x="321" y="105"/>
                </a:cubicBezTo>
                <a:cubicBezTo>
                  <a:pt x="320" y="105"/>
                  <a:pt x="320" y="105"/>
                  <a:pt x="320" y="105"/>
                </a:cubicBezTo>
                <a:cubicBezTo>
                  <a:pt x="320" y="104"/>
                  <a:pt x="320" y="104"/>
                  <a:pt x="320" y="104"/>
                </a:cubicBezTo>
                <a:cubicBezTo>
                  <a:pt x="321" y="103"/>
                  <a:pt x="321" y="103"/>
                  <a:pt x="321" y="103"/>
                </a:cubicBezTo>
                <a:cubicBezTo>
                  <a:pt x="322" y="102"/>
                  <a:pt x="322" y="102"/>
                  <a:pt x="322" y="102"/>
                </a:cubicBezTo>
                <a:cubicBezTo>
                  <a:pt x="323" y="102"/>
                  <a:pt x="323" y="102"/>
                  <a:pt x="323" y="102"/>
                </a:cubicBezTo>
                <a:cubicBezTo>
                  <a:pt x="323" y="102"/>
                  <a:pt x="323" y="102"/>
                  <a:pt x="323" y="102"/>
                </a:cubicBezTo>
                <a:cubicBezTo>
                  <a:pt x="324" y="103"/>
                  <a:pt x="324" y="103"/>
                  <a:pt x="324" y="103"/>
                </a:cubicBezTo>
                <a:cubicBezTo>
                  <a:pt x="324" y="104"/>
                  <a:pt x="324" y="104"/>
                  <a:pt x="324" y="104"/>
                </a:cubicBezTo>
                <a:cubicBezTo>
                  <a:pt x="324" y="105"/>
                  <a:pt x="324" y="105"/>
                  <a:pt x="324" y="105"/>
                </a:cubicBezTo>
                <a:cubicBezTo>
                  <a:pt x="324" y="105"/>
                  <a:pt x="324" y="105"/>
                  <a:pt x="324" y="105"/>
                </a:cubicBezTo>
                <a:cubicBezTo>
                  <a:pt x="324" y="106"/>
                  <a:pt x="324" y="106"/>
                  <a:pt x="324" y="106"/>
                </a:cubicBezTo>
                <a:cubicBezTo>
                  <a:pt x="325" y="107"/>
                  <a:pt x="325" y="107"/>
                  <a:pt x="325" y="107"/>
                </a:cubicBezTo>
                <a:cubicBezTo>
                  <a:pt x="325" y="111"/>
                  <a:pt x="325" y="111"/>
                  <a:pt x="325" y="111"/>
                </a:cubicBezTo>
                <a:cubicBezTo>
                  <a:pt x="325" y="112"/>
                  <a:pt x="325" y="112"/>
                  <a:pt x="325" y="112"/>
                </a:cubicBezTo>
                <a:cubicBezTo>
                  <a:pt x="325" y="112"/>
                  <a:pt x="325" y="112"/>
                  <a:pt x="325" y="112"/>
                </a:cubicBezTo>
                <a:cubicBezTo>
                  <a:pt x="326" y="113"/>
                  <a:pt x="326" y="113"/>
                  <a:pt x="326" y="113"/>
                </a:cubicBezTo>
                <a:cubicBezTo>
                  <a:pt x="328" y="112"/>
                  <a:pt x="328" y="112"/>
                  <a:pt x="328" y="112"/>
                </a:cubicBezTo>
                <a:cubicBezTo>
                  <a:pt x="327" y="111"/>
                  <a:pt x="327" y="111"/>
                  <a:pt x="327" y="111"/>
                </a:cubicBezTo>
                <a:cubicBezTo>
                  <a:pt x="327" y="109"/>
                  <a:pt x="327" y="109"/>
                  <a:pt x="327" y="109"/>
                </a:cubicBezTo>
                <a:cubicBezTo>
                  <a:pt x="328" y="109"/>
                  <a:pt x="328" y="109"/>
                  <a:pt x="328" y="109"/>
                </a:cubicBezTo>
                <a:cubicBezTo>
                  <a:pt x="328" y="108"/>
                  <a:pt x="328" y="108"/>
                  <a:pt x="328" y="108"/>
                </a:cubicBezTo>
                <a:cubicBezTo>
                  <a:pt x="326" y="107"/>
                  <a:pt x="326" y="107"/>
                  <a:pt x="326" y="107"/>
                </a:cubicBezTo>
                <a:cubicBezTo>
                  <a:pt x="327" y="106"/>
                  <a:pt x="327" y="106"/>
                  <a:pt x="327" y="106"/>
                </a:cubicBezTo>
                <a:cubicBezTo>
                  <a:pt x="328" y="106"/>
                  <a:pt x="328" y="106"/>
                  <a:pt x="328" y="106"/>
                </a:cubicBezTo>
                <a:cubicBezTo>
                  <a:pt x="329" y="107"/>
                  <a:pt x="329" y="107"/>
                  <a:pt x="329" y="107"/>
                </a:cubicBezTo>
                <a:cubicBezTo>
                  <a:pt x="329" y="106"/>
                  <a:pt x="329" y="106"/>
                  <a:pt x="329" y="106"/>
                </a:cubicBezTo>
                <a:cubicBezTo>
                  <a:pt x="327" y="105"/>
                  <a:pt x="327" y="105"/>
                  <a:pt x="327" y="105"/>
                </a:cubicBezTo>
                <a:cubicBezTo>
                  <a:pt x="327" y="103"/>
                  <a:pt x="327" y="103"/>
                  <a:pt x="327" y="103"/>
                </a:cubicBezTo>
                <a:cubicBezTo>
                  <a:pt x="327" y="103"/>
                  <a:pt x="327" y="103"/>
                  <a:pt x="327" y="103"/>
                </a:cubicBezTo>
                <a:cubicBezTo>
                  <a:pt x="327" y="101"/>
                  <a:pt x="327" y="101"/>
                  <a:pt x="327" y="101"/>
                </a:cubicBezTo>
                <a:cubicBezTo>
                  <a:pt x="328" y="101"/>
                  <a:pt x="328" y="101"/>
                  <a:pt x="328" y="101"/>
                </a:cubicBezTo>
                <a:cubicBezTo>
                  <a:pt x="329" y="100"/>
                  <a:pt x="329" y="100"/>
                  <a:pt x="329" y="100"/>
                </a:cubicBezTo>
                <a:cubicBezTo>
                  <a:pt x="330" y="100"/>
                  <a:pt x="330" y="100"/>
                  <a:pt x="330" y="100"/>
                </a:cubicBezTo>
                <a:cubicBezTo>
                  <a:pt x="331" y="100"/>
                  <a:pt x="331" y="100"/>
                  <a:pt x="331" y="100"/>
                </a:cubicBezTo>
                <a:cubicBezTo>
                  <a:pt x="331" y="100"/>
                  <a:pt x="332" y="99"/>
                  <a:pt x="332" y="99"/>
                </a:cubicBezTo>
                <a:cubicBezTo>
                  <a:pt x="332" y="99"/>
                  <a:pt x="333" y="99"/>
                  <a:pt x="333" y="99"/>
                </a:cubicBezTo>
                <a:cubicBezTo>
                  <a:pt x="333" y="100"/>
                  <a:pt x="333" y="100"/>
                  <a:pt x="333" y="100"/>
                </a:cubicBezTo>
                <a:cubicBezTo>
                  <a:pt x="334" y="101"/>
                  <a:pt x="334" y="101"/>
                  <a:pt x="334" y="101"/>
                </a:cubicBezTo>
                <a:cubicBezTo>
                  <a:pt x="335" y="100"/>
                  <a:pt x="335" y="100"/>
                  <a:pt x="335" y="100"/>
                </a:cubicBezTo>
                <a:cubicBezTo>
                  <a:pt x="336" y="101"/>
                  <a:pt x="336" y="101"/>
                  <a:pt x="336" y="101"/>
                </a:cubicBezTo>
                <a:cubicBezTo>
                  <a:pt x="335" y="103"/>
                  <a:pt x="335" y="103"/>
                  <a:pt x="335" y="103"/>
                </a:cubicBezTo>
                <a:cubicBezTo>
                  <a:pt x="334" y="104"/>
                  <a:pt x="334" y="104"/>
                  <a:pt x="334" y="104"/>
                </a:cubicBezTo>
                <a:cubicBezTo>
                  <a:pt x="335" y="105"/>
                  <a:pt x="335" y="105"/>
                  <a:pt x="335" y="105"/>
                </a:cubicBezTo>
                <a:cubicBezTo>
                  <a:pt x="335" y="105"/>
                  <a:pt x="335" y="105"/>
                  <a:pt x="335" y="105"/>
                </a:cubicBezTo>
                <a:cubicBezTo>
                  <a:pt x="336" y="105"/>
                  <a:pt x="336" y="105"/>
                  <a:pt x="336" y="105"/>
                </a:cubicBezTo>
                <a:cubicBezTo>
                  <a:pt x="336" y="105"/>
                  <a:pt x="336" y="105"/>
                  <a:pt x="336" y="105"/>
                </a:cubicBezTo>
                <a:cubicBezTo>
                  <a:pt x="337" y="104"/>
                  <a:pt x="337" y="104"/>
                  <a:pt x="337" y="104"/>
                </a:cubicBezTo>
                <a:cubicBezTo>
                  <a:pt x="337" y="102"/>
                  <a:pt x="337" y="102"/>
                  <a:pt x="337" y="102"/>
                </a:cubicBezTo>
                <a:cubicBezTo>
                  <a:pt x="338" y="101"/>
                  <a:pt x="338" y="101"/>
                  <a:pt x="338" y="101"/>
                </a:cubicBezTo>
                <a:cubicBezTo>
                  <a:pt x="339" y="102"/>
                  <a:pt x="339" y="102"/>
                  <a:pt x="339" y="102"/>
                </a:cubicBezTo>
                <a:cubicBezTo>
                  <a:pt x="340" y="102"/>
                  <a:pt x="340" y="102"/>
                  <a:pt x="340" y="102"/>
                </a:cubicBezTo>
                <a:cubicBezTo>
                  <a:pt x="340" y="101"/>
                  <a:pt x="340" y="101"/>
                  <a:pt x="340" y="101"/>
                </a:cubicBezTo>
                <a:cubicBezTo>
                  <a:pt x="339" y="100"/>
                  <a:pt x="339" y="100"/>
                  <a:pt x="339" y="100"/>
                </a:cubicBezTo>
                <a:cubicBezTo>
                  <a:pt x="340" y="100"/>
                  <a:pt x="340" y="100"/>
                  <a:pt x="340" y="100"/>
                </a:cubicBezTo>
                <a:cubicBezTo>
                  <a:pt x="341" y="101"/>
                  <a:pt x="341" y="101"/>
                  <a:pt x="341" y="101"/>
                </a:cubicBezTo>
                <a:cubicBezTo>
                  <a:pt x="341" y="102"/>
                  <a:pt x="341" y="102"/>
                  <a:pt x="341" y="102"/>
                </a:cubicBezTo>
                <a:cubicBezTo>
                  <a:pt x="341" y="103"/>
                  <a:pt x="341" y="103"/>
                  <a:pt x="341" y="103"/>
                </a:cubicBezTo>
                <a:cubicBezTo>
                  <a:pt x="340" y="103"/>
                  <a:pt x="340" y="103"/>
                  <a:pt x="340" y="103"/>
                </a:cubicBezTo>
                <a:cubicBezTo>
                  <a:pt x="340" y="103"/>
                  <a:pt x="340" y="103"/>
                  <a:pt x="340" y="103"/>
                </a:cubicBezTo>
                <a:cubicBezTo>
                  <a:pt x="340" y="104"/>
                  <a:pt x="340" y="104"/>
                  <a:pt x="340" y="104"/>
                </a:cubicBezTo>
                <a:cubicBezTo>
                  <a:pt x="342" y="105"/>
                  <a:pt x="342" y="105"/>
                  <a:pt x="342" y="105"/>
                </a:cubicBezTo>
                <a:cubicBezTo>
                  <a:pt x="342" y="106"/>
                  <a:pt x="342" y="106"/>
                  <a:pt x="342" y="106"/>
                </a:cubicBezTo>
                <a:cubicBezTo>
                  <a:pt x="342" y="107"/>
                  <a:pt x="342" y="107"/>
                  <a:pt x="342" y="107"/>
                </a:cubicBezTo>
                <a:cubicBezTo>
                  <a:pt x="341" y="108"/>
                  <a:pt x="341" y="108"/>
                  <a:pt x="341" y="108"/>
                </a:cubicBezTo>
                <a:cubicBezTo>
                  <a:pt x="340" y="110"/>
                  <a:pt x="340" y="110"/>
                  <a:pt x="340" y="110"/>
                </a:cubicBezTo>
                <a:cubicBezTo>
                  <a:pt x="340" y="111"/>
                  <a:pt x="340" y="111"/>
                  <a:pt x="340" y="111"/>
                </a:cubicBezTo>
                <a:cubicBezTo>
                  <a:pt x="339" y="112"/>
                  <a:pt x="339" y="112"/>
                  <a:pt x="339" y="112"/>
                </a:cubicBezTo>
                <a:cubicBezTo>
                  <a:pt x="338" y="113"/>
                  <a:pt x="338" y="113"/>
                  <a:pt x="338" y="113"/>
                </a:cubicBezTo>
                <a:cubicBezTo>
                  <a:pt x="337" y="114"/>
                  <a:pt x="337" y="114"/>
                  <a:pt x="337" y="114"/>
                </a:cubicBezTo>
                <a:cubicBezTo>
                  <a:pt x="336" y="115"/>
                  <a:pt x="336" y="115"/>
                  <a:pt x="336" y="115"/>
                </a:cubicBezTo>
                <a:cubicBezTo>
                  <a:pt x="335" y="116"/>
                  <a:pt x="335" y="116"/>
                  <a:pt x="335" y="116"/>
                </a:cubicBezTo>
                <a:cubicBezTo>
                  <a:pt x="335" y="117"/>
                  <a:pt x="335" y="117"/>
                  <a:pt x="335" y="117"/>
                </a:cubicBezTo>
                <a:cubicBezTo>
                  <a:pt x="335" y="118"/>
                  <a:pt x="335" y="118"/>
                  <a:pt x="335" y="118"/>
                </a:cubicBezTo>
                <a:cubicBezTo>
                  <a:pt x="334" y="118"/>
                  <a:pt x="334" y="118"/>
                  <a:pt x="334" y="118"/>
                </a:cubicBezTo>
                <a:cubicBezTo>
                  <a:pt x="333" y="118"/>
                  <a:pt x="333" y="118"/>
                  <a:pt x="333" y="118"/>
                </a:cubicBezTo>
                <a:cubicBezTo>
                  <a:pt x="333" y="118"/>
                  <a:pt x="333" y="118"/>
                  <a:pt x="333" y="118"/>
                </a:cubicBezTo>
                <a:cubicBezTo>
                  <a:pt x="333" y="119"/>
                  <a:pt x="333" y="119"/>
                  <a:pt x="333" y="119"/>
                </a:cubicBezTo>
                <a:cubicBezTo>
                  <a:pt x="334" y="119"/>
                  <a:pt x="334" y="119"/>
                  <a:pt x="334" y="119"/>
                </a:cubicBezTo>
                <a:cubicBezTo>
                  <a:pt x="334" y="120"/>
                  <a:pt x="334" y="120"/>
                  <a:pt x="334" y="120"/>
                </a:cubicBezTo>
                <a:cubicBezTo>
                  <a:pt x="333" y="122"/>
                  <a:pt x="333" y="122"/>
                  <a:pt x="333" y="122"/>
                </a:cubicBezTo>
                <a:cubicBezTo>
                  <a:pt x="332" y="123"/>
                  <a:pt x="332" y="123"/>
                  <a:pt x="332" y="123"/>
                </a:cubicBezTo>
                <a:cubicBezTo>
                  <a:pt x="332" y="122"/>
                  <a:pt x="332" y="122"/>
                  <a:pt x="332" y="122"/>
                </a:cubicBezTo>
                <a:cubicBezTo>
                  <a:pt x="332" y="121"/>
                  <a:pt x="332" y="121"/>
                  <a:pt x="332" y="121"/>
                </a:cubicBezTo>
                <a:cubicBezTo>
                  <a:pt x="331" y="121"/>
                  <a:pt x="331" y="121"/>
                  <a:pt x="331" y="121"/>
                </a:cubicBezTo>
                <a:cubicBezTo>
                  <a:pt x="331" y="121"/>
                  <a:pt x="331" y="121"/>
                  <a:pt x="331" y="121"/>
                </a:cubicBezTo>
                <a:cubicBezTo>
                  <a:pt x="331" y="122"/>
                  <a:pt x="331" y="122"/>
                  <a:pt x="331" y="122"/>
                </a:cubicBezTo>
                <a:cubicBezTo>
                  <a:pt x="330" y="123"/>
                  <a:pt x="330" y="123"/>
                  <a:pt x="330" y="123"/>
                </a:cubicBezTo>
                <a:cubicBezTo>
                  <a:pt x="329" y="123"/>
                  <a:pt x="329" y="123"/>
                  <a:pt x="329" y="123"/>
                </a:cubicBezTo>
                <a:cubicBezTo>
                  <a:pt x="328" y="124"/>
                  <a:pt x="328" y="124"/>
                  <a:pt x="328" y="124"/>
                </a:cubicBezTo>
                <a:cubicBezTo>
                  <a:pt x="328" y="125"/>
                  <a:pt x="328" y="125"/>
                  <a:pt x="328" y="125"/>
                </a:cubicBezTo>
                <a:cubicBezTo>
                  <a:pt x="328" y="125"/>
                  <a:pt x="328" y="125"/>
                  <a:pt x="328" y="125"/>
                </a:cubicBezTo>
                <a:cubicBezTo>
                  <a:pt x="329" y="125"/>
                  <a:pt x="329" y="125"/>
                  <a:pt x="329" y="125"/>
                </a:cubicBezTo>
                <a:cubicBezTo>
                  <a:pt x="329" y="126"/>
                  <a:pt x="329" y="126"/>
                  <a:pt x="329" y="126"/>
                </a:cubicBezTo>
                <a:cubicBezTo>
                  <a:pt x="329" y="126"/>
                  <a:pt x="329" y="126"/>
                  <a:pt x="329" y="126"/>
                </a:cubicBezTo>
                <a:cubicBezTo>
                  <a:pt x="329" y="127"/>
                  <a:pt x="329" y="127"/>
                  <a:pt x="329" y="127"/>
                </a:cubicBezTo>
                <a:cubicBezTo>
                  <a:pt x="329" y="128"/>
                  <a:pt x="329" y="128"/>
                  <a:pt x="329" y="128"/>
                </a:cubicBezTo>
                <a:cubicBezTo>
                  <a:pt x="328" y="129"/>
                  <a:pt x="328" y="129"/>
                  <a:pt x="328" y="129"/>
                </a:cubicBezTo>
                <a:cubicBezTo>
                  <a:pt x="328" y="127"/>
                  <a:pt x="328" y="127"/>
                  <a:pt x="328" y="127"/>
                </a:cubicBezTo>
                <a:cubicBezTo>
                  <a:pt x="327" y="126"/>
                  <a:pt x="327" y="126"/>
                  <a:pt x="327" y="126"/>
                </a:cubicBezTo>
                <a:cubicBezTo>
                  <a:pt x="327" y="125"/>
                  <a:pt x="327" y="125"/>
                  <a:pt x="327" y="125"/>
                </a:cubicBezTo>
                <a:cubicBezTo>
                  <a:pt x="327" y="126"/>
                  <a:pt x="327" y="126"/>
                  <a:pt x="327" y="126"/>
                </a:cubicBezTo>
                <a:cubicBezTo>
                  <a:pt x="327" y="127"/>
                  <a:pt x="327" y="127"/>
                  <a:pt x="327" y="127"/>
                </a:cubicBezTo>
                <a:cubicBezTo>
                  <a:pt x="327" y="128"/>
                  <a:pt x="327" y="128"/>
                  <a:pt x="327" y="128"/>
                </a:cubicBezTo>
                <a:cubicBezTo>
                  <a:pt x="326" y="129"/>
                  <a:pt x="326" y="129"/>
                  <a:pt x="326" y="129"/>
                </a:cubicBezTo>
                <a:cubicBezTo>
                  <a:pt x="323" y="129"/>
                  <a:pt x="323" y="129"/>
                  <a:pt x="323" y="129"/>
                </a:cubicBezTo>
                <a:cubicBezTo>
                  <a:pt x="322" y="128"/>
                  <a:pt x="322" y="128"/>
                  <a:pt x="322" y="128"/>
                </a:cubicBezTo>
                <a:cubicBezTo>
                  <a:pt x="322" y="127"/>
                  <a:pt x="322" y="127"/>
                  <a:pt x="322" y="127"/>
                </a:cubicBezTo>
                <a:cubicBezTo>
                  <a:pt x="321" y="128"/>
                  <a:pt x="321" y="128"/>
                  <a:pt x="321" y="128"/>
                </a:cubicBezTo>
                <a:cubicBezTo>
                  <a:pt x="320" y="128"/>
                  <a:pt x="320" y="128"/>
                  <a:pt x="320" y="128"/>
                </a:cubicBezTo>
                <a:cubicBezTo>
                  <a:pt x="320" y="127"/>
                  <a:pt x="320" y="127"/>
                  <a:pt x="320" y="127"/>
                </a:cubicBezTo>
                <a:cubicBezTo>
                  <a:pt x="321" y="126"/>
                  <a:pt x="321" y="126"/>
                  <a:pt x="321" y="126"/>
                </a:cubicBezTo>
                <a:cubicBezTo>
                  <a:pt x="320" y="127"/>
                  <a:pt x="320" y="127"/>
                  <a:pt x="320" y="127"/>
                </a:cubicBezTo>
                <a:cubicBezTo>
                  <a:pt x="319" y="128"/>
                  <a:pt x="319" y="128"/>
                  <a:pt x="319" y="128"/>
                </a:cubicBezTo>
                <a:cubicBezTo>
                  <a:pt x="319" y="128"/>
                  <a:pt x="319" y="128"/>
                  <a:pt x="319" y="128"/>
                </a:cubicBezTo>
                <a:close/>
                <a:moveTo>
                  <a:pt x="237" y="93"/>
                </a:moveTo>
                <a:cubicBezTo>
                  <a:pt x="236" y="93"/>
                  <a:pt x="236" y="93"/>
                  <a:pt x="236" y="93"/>
                </a:cubicBezTo>
                <a:cubicBezTo>
                  <a:pt x="237" y="92"/>
                  <a:pt x="237" y="92"/>
                  <a:pt x="237" y="92"/>
                </a:cubicBezTo>
                <a:cubicBezTo>
                  <a:pt x="240" y="90"/>
                  <a:pt x="240" y="90"/>
                  <a:pt x="240" y="90"/>
                </a:cubicBezTo>
                <a:cubicBezTo>
                  <a:pt x="241" y="89"/>
                  <a:pt x="241" y="89"/>
                  <a:pt x="241" y="89"/>
                </a:cubicBezTo>
                <a:cubicBezTo>
                  <a:pt x="242" y="88"/>
                  <a:pt x="242" y="88"/>
                  <a:pt x="242" y="88"/>
                </a:cubicBezTo>
                <a:cubicBezTo>
                  <a:pt x="243" y="88"/>
                  <a:pt x="243" y="88"/>
                  <a:pt x="243" y="88"/>
                </a:cubicBezTo>
                <a:cubicBezTo>
                  <a:pt x="245" y="87"/>
                  <a:pt x="245" y="87"/>
                  <a:pt x="245" y="87"/>
                </a:cubicBezTo>
                <a:cubicBezTo>
                  <a:pt x="247" y="87"/>
                  <a:pt x="247" y="87"/>
                  <a:pt x="247" y="87"/>
                </a:cubicBezTo>
                <a:cubicBezTo>
                  <a:pt x="248" y="86"/>
                  <a:pt x="248" y="86"/>
                  <a:pt x="248" y="86"/>
                </a:cubicBezTo>
                <a:cubicBezTo>
                  <a:pt x="248" y="86"/>
                  <a:pt x="248" y="86"/>
                  <a:pt x="248" y="86"/>
                </a:cubicBezTo>
                <a:cubicBezTo>
                  <a:pt x="250" y="86"/>
                  <a:pt x="250" y="86"/>
                  <a:pt x="250" y="86"/>
                </a:cubicBezTo>
                <a:cubicBezTo>
                  <a:pt x="251" y="86"/>
                  <a:pt x="251" y="86"/>
                  <a:pt x="251" y="86"/>
                </a:cubicBezTo>
                <a:cubicBezTo>
                  <a:pt x="250" y="87"/>
                  <a:pt x="250" y="87"/>
                  <a:pt x="250" y="87"/>
                </a:cubicBezTo>
                <a:cubicBezTo>
                  <a:pt x="249" y="88"/>
                  <a:pt x="249" y="88"/>
                  <a:pt x="249" y="88"/>
                </a:cubicBezTo>
                <a:cubicBezTo>
                  <a:pt x="247" y="89"/>
                  <a:pt x="247" y="89"/>
                  <a:pt x="247" y="89"/>
                </a:cubicBezTo>
                <a:cubicBezTo>
                  <a:pt x="243" y="92"/>
                  <a:pt x="243" y="92"/>
                  <a:pt x="243" y="92"/>
                </a:cubicBezTo>
                <a:cubicBezTo>
                  <a:pt x="242" y="94"/>
                  <a:pt x="242" y="94"/>
                  <a:pt x="242" y="94"/>
                </a:cubicBezTo>
                <a:cubicBezTo>
                  <a:pt x="241" y="94"/>
                  <a:pt x="241" y="94"/>
                  <a:pt x="241" y="94"/>
                </a:cubicBezTo>
                <a:cubicBezTo>
                  <a:pt x="240" y="94"/>
                  <a:pt x="240" y="94"/>
                  <a:pt x="240" y="94"/>
                </a:cubicBezTo>
                <a:cubicBezTo>
                  <a:pt x="239" y="95"/>
                  <a:pt x="239" y="95"/>
                  <a:pt x="239" y="95"/>
                </a:cubicBezTo>
                <a:cubicBezTo>
                  <a:pt x="239" y="95"/>
                  <a:pt x="239" y="95"/>
                  <a:pt x="239" y="95"/>
                </a:cubicBezTo>
                <a:cubicBezTo>
                  <a:pt x="238" y="94"/>
                  <a:pt x="238" y="94"/>
                  <a:pt x="238" y="94"/>
                </a:cubicBezTo>
                <a:cubicBezTo>
                  <a:pt x="238" y="93"/>
                  <a:pt x="238" y="93"/>
                  <a:pt x="238" y="93"/>
                </a:cubicBezTo>
                <a:cubicBezTo>
                  <a:pt x="237" y="93"/>
                  <a:pt x="237" y="93"/>
                  <a:pt x="237" y="93"/>
                </a:cubicBezTo>
                <a:close/>
                <a:moveTo>
                  <a:pt x="297" y="119"/>
                </a:moveTo>
                <a:cubicBezTo>
                  <a:pt x="297" y="119"/>
                  <a:pt x="297" y="119"/>
                  <a:pt x="297" y="119"/>
                </a:cubicBezTo>
                <a:cubicBezTo>
                  <a:pt x="297" y="118"/>
                  <a:pt x="297" y="118"/>
                  <a:pt x="297" y="118"/>
                </a:cubicBezTo>
                <a:cubicBezTo>
                  <a:pt x="299" y="118"/>
                  <a:pt x="299" y="118"/>
                  <a:pt x="299" y="118"/>
                </a:cubicBezTo>
                <a:cubicBezTo>
                  <a:pt x="299" y="117"/>
                  <a:pt x="299" y="117"/>
                  <a:pt x="299" y="117"/>
                </a:cubicBezTo>
                <a:cubicBezTo>
                  <a:pt x="299" y="116"/>
                  <a:pt x="299" y="116"/>
                  <a:pt x="299" y="116"/>
                </a:cubicBezTo>
                <a:cubicBezTo>
                  <a:pt x="301" y="115"/>
                  <a:pt x="301" y="115"/>
                  <a:pt x="301" y="115"/>
                </a:cubicBezTo>
                <a:cubicBezTo>
                  <a:pt x="301" y="115"/>
                  <a:pt x="301" y="115"/>
                  <a:pt x="301" y="115"/>
                </a:cubicBezTo>
                <a:cubicBezTo>
                  <a:pt x="303" y="115"/>
                  <a:pt x="303" y="115"/>
                  <a:pt x="303" y="115"/>
                </a:cubicBezTo>
                <a:cubicBezTo>
                  <a:pt x="303" y="116"/>
                  <a:pt x="303" y="116"/>
                  <a:pt x="303" y="116"/>
                </a:cubicBezTo>
                <a:cubicBezTo>
                  <a:pt x="303" y="117"/>
                  <a:pt x="303" y="117"/>
                  <a:pt x="303" y="117"/>
                </a:cubicBezTo>
                <a:cubicBezTo>
                  <a:pt x="303" y="118"/>
                  <a:pt x="303" y="118"/>
                  <a:pt x="303" y="118"/>
                </a:cubicBezTo>
                <a:cubicBezTo>
                  <a:pt x="302" y="119"/>
                  <a:pt x="302" y="119"/>
                  <a:pt x="302" y="119"/>
                </a:cubicBezTo>
                <a:cubicBezTo>
                  <a:pt x="301" y="120"/>
                  <a:pt x="301" y="120"/>
                  <a:pt x="301" y="120"/>
                </a:cubicBezTo>
                <a:cubicBezTo>
                  <a:pt x="300" y="120"/>
                  <a:pt x="300" y="120"/>
                  <a:pt x="300" y="120"/>
                </a:cubicBezTo>
                <a:cubicBezTo>
                  <a:pt x="300" y="121"/>
                  <a:pt x="300" y="121"/>
                  <a:pt x="300" y="121"/>
                </a:cubicBezTo>
                <a:cubicBezTo>
                  <a:pt x="299" y="121"/>
                  <a:pt x="299" y="121"/>
                  <a:pt x="299" y="121"/>
                </a:cubicBezTo>
                <a:cubicBezTo>
                  <a:pt x="298" y="120"/>
                  <a:pt x="298" y="120"/>
                  <a:pt x="298" y="120"/>
                </a:cubicBezTo>
                <a:cubicBezTo>
                  <a:pt x="297" y="119"/>
                  <a:pt x="297" y="119"/>
                  <a:pt x="297" y="119"/>
                </a:cubicBezTo>
                <a:close/>
                <a:moveTo>
                  <a:pt x="249" y="117"/>
                </a:moveTo>
                <a:cubicBezTo>
                  <a:pt x="249" y="116"/>
                  <a:pt x="249" y="116"/>
                  <a:pt x="249" y="116"/>
                </a:cubicBezTo>
                <a:cubicBezTo>
                  <a:pt x="249" y="115"/>
                  <a:pt x="249" y="115"/>
                  <a:pt x="249" y="115"/>
                </a:cubicBezTo>
                <a:cubicBezTo>
                  <a:pt x="249" y="113"/>
                  <a:pt x="249" y="113"/>
                  <a:pt x="249" y="113"/>
                </a:cubicBezTo>
                <a:cubicBezTo>
                  <a:pt x="251" y="113"/>
                  <a:pt x="251" y="113"/>
                  <a:pt x="251" y="113"/>
                </a:cubicBezTo>
                <a:cubicBezTo>
                  <a:pt x="253" y="113"/>
                  <a:pt x="253" y="113"/>
                  <a:pt x="253" y="113"/>
                </a:cubicBezTo>
                <a:cubicBezTo>
                  <a:pt x="254" y="113"/>
                  <a:pt x="254" y="113"/>
                  <a:pt x="254" y="113"/>
                </a:cubicBezTo>
                <a:cubicBezTo>
                  <a:pt x="256" y="113"/>
                  <a:pt x="256" y="113"/>
                  <a:pt x="256" y="113"/>
                </a:cubicBezTo>
                <a:cubicBezTo>
                  <a:pt x="257" y="113"/>
                  <a:pt x="257" y="113"/>
                  <a:pt x="257" y="113"/>
                </a:cubicBezTo>
                <a:cubicBezTo>
                  <a:pt x="258" y="112"/>
                  <a:pt x="258" y="112"/>
                  <a:pt x="258" y="112"/>
                </a:cubicBezTo>
                <a:cubicBezTo>
                  <a:pt x="260" y="112"/>
                  <a:pt x="260" y="112"/>
                  <a:pt x="260" y="112"/>
                </a:cubicBezTo>
                <a:cubicBezTo>
                  <a:pt x="262" y="113"/>
                  <a:pt x="262" y="113"/>
                  <a:pt x="262" y="113"/>
                </a:cubicBezTo>
                <a:cubicBezTo>
                  <a:pt x="264" y="113"/>
                  <a:pt x="264" y="113"/>
                  <a:pt x="264" y="113"/>
                </a:cubicBezTo>
                <a:cubicBezTo>
                  <a:pt x="265" y="113"/>
                  <a:pt x="265" y="113"/>
                  <a:pt x="265" y="113"/>
                </a:cubicBezTo>
                <a:cubicBezTo>
                  <a:pt x="266" y="112"/>
                  <a:pt x="266" y="112"/>
                  <a:pt x="266" y="112"/>
                </a:cubicBezTo>
                <a:cubicBezTo>
                  <a:pt x="269" y="112"/>
                  <a:pt x="269" y="112"/>
                  <a:pt x="269" y="112"/>
                </a:cubicBezTo>
                <a:cubicBezTo>
                  <a:pt x="269" y="111"/>
                  <a:pt x="269" y="111"/>
                  <a:pt x="269" y="111"/>
                </a:cubicBezTo>
                <a:cubicBezTo>
                  <a:pt x="270" y="111"/>
                  <a:pt x="270" y="111"/>
                  <a:pt x="270" y="111"/>
                </a:cubicBezTo>
                <a:cubicBezTo>
                  <a:pt x="269" y="110"/>
                  <a:pt x="269" y="110"/>
                  <a:pt x="269" y="110"/>
                </a:cubicBezTo>
                <a:cubicBezTo>
                  <a:pt x="268" y="111"/>
                  <a:pt x="268" y="111"/>
                  <a:pt x="268" y="111"/>
                </a:cubicBezTo>
                <a:cubicBezTo>
                  <a:pt x="267" y="111"/>
                  <a:pt x="267" y="111"/>
                  <a:pt x="267" y="111"/>
                </a:cubicBezTo>
                <a:cubicBezTo>
                  <a:pt x="267" y="110"/>
                  <a:pt x="267" y="110"/>
                  <a:pt x="267" y="110"/>
                </a:cubicBezTo>
                <a:cubicBezTo>
                  <a:pt x="265" y="111"/>
                  <a:pt x="265" y="111"/>
                  <a:pt x="265" y="111"/>
                </a:cubicBezTo>
                <a:cubicBezTo>
                  <a:pt x="263" y="111"/>
                  <a:pt x="263" y="111"/>
                  <a:pt x="263" y="111"/>
                </a:cubicBezTo>
                <a:cubicBezTo>
                  <a:pt x="263" y="110"/>
                  <a:pt x="263" y="110"/>
                  <a:pt x="263" y="110"/>
                </a:cubicBezTo>
                <a:cubicBezTo>
                  <a:pt x="262" y="109"/>
                  <a:pt x="262" y="109"/>
                  <a:pt x="262" y="109"/>
                </a:cubicBezTo>
                <a:cubicBezTo>
                  <a:pt x="261" y="110"/>
                  <a:pt x="261" y="110"/>
                  <a:pt x="261" y="110"/>
                </a:cubicBezTo>
                <a:cubicBezTo>
                  <a:pt x="260" y="110"/>
                  <a:pt x="260" y="110"/>
                  <a:pt x="260" y="110"/>
                </a:cubicBezTo>
                <a:cubicBezTo>
                  <a:pt x="259" y="110"/>
                  <a:pt x="259" y="110"/>
                  <a:pt x="259" y="110"/>
                </a:cubicBezTo>
                <a:cubicBezTo>
                  <a:pt x="259" y="110"/>
                  <a:pt x="259" y="110"/>
                  <a:pt x="259" y="110"/>
                </a:cubicBezTo>
                <a:cubicBezTo>
                  <a:pt x="257" y="110"/>
                  <a:pt x="257" y="110"/>
                  <a:pt x="257" y="110"/>
                </a:cubicBezTo>
                <a:cubicBezTo>
                  <a:pt x="256" y="110"/>
                  <a:pt x="256" y="110"/>
                  <a:pt x="256" y="110"/>
                </a:cubicBezTo>
                <a:cubicBezTo>
                  <a:pt x="256" y="109"/>
                  <a:pt x="256" y="109"/>
                  <a:pt x="256" y="109"/>
                </a:cubicBezTo>
                <a:cubicBezTo>
                  <a:pt x="257" y="108"/>
                  <a:pt x="257" y="108"/>
                  <a:pt x="257" y="108"/>
                </a:cubicBezTo>
                <a:cubicBezTo>
                  <a:pt x="259" y="107"/>
                  <a:pt x="259" y="107"/>
                  <a:pt x="259" y="107"/>
                </a:cubicBezTo>
                <a:cubicBezTo>
                  <a:pt x="258" y="107"/>
                  <a:pt x="258" y="107"/>
                  <a:pt x="258" y="107"/>
                </a:cubicBezTo>
                <a:cubicBezTo>
                  <a:pt x="256" y="107"/>
                  <a:pt x="256" y="107"/>
                  <a:pt x="256" y="107"/>
                </a:cubicBezTo>
                <a:cubicBezTo>
                  <a:pt x="256" y="108"/>
                  <a:pt x="256" y="108"/>
                  <a:pt x="256" y="108"/>
                </a:cubicBezTo>
                <a:cubicBezTo>
                  <a:pt x="255" y="106"/>
                  <a:pt x="255" y="106"/>
                  <a:pt x="255" y="106"/>
                </a:cubicBezTo>
                <a:cubicBezTo>
                  <a:pt x="255" y="107"/>
                  <a:pt x="255" y="107"/>
                  <a:pt x="255" y="107"/>
                </a:cubicBezTo>
                <a:cubicBezTo>
                  <a:pt x="254" y="108"/>
                  <a:pt x="254" y="108"/>
                  <a:pt x="254" y="108"/>
                </a:cubicBezTo>
                <a:cubicBezTo>
                  <a:pt x="252" y="109"/>
                  <a:pt x="252" y="109"/>
                  <a:pt x="252" y="109"/>
                </a:cubicBezTo>
                <a:cubicBezTo>
                  <a:pt x="252" y="110"/>
                  <a:pt x="252" y="110"/>
                  <a:pt x="252" y="110"/>
                </a:cubicBezTo>
                <a:cubicBezTo>
                  <a:pt x="251" y="110"/>
                  <a:pt x="251" y="110"/>
                  <a:pt x="251" y="110"/>
                </a:cubicBezTo>
                <a:cubicBezTo>
                  <a:pt x="249" y="109"/>
                  <a:pt x="249" y="109"/>
                  <a:pt x="249" y="109"/>
                </a:cubicBezTo>
                <a:cubicBezTo>
                  <a:pt x="249" y="108"/>
                  <a:pt x="249" y="108"/>
                  <a:pt x="249" y="108"/>
                </a:cubicBezTo>
                <a:cubicBezTo>
                  <a:pt x="250" y="107"/>
                  <a:pt x="250" y="107"/>
                  <a:pt x="250" y="107"/>
                </a:cubicBezTo>
                <a:cubicBezTo>
                  <a:pt x="249" y="108"/>
                  <a:pt x="249" y="108"/>
                  <a:pt x="249" y="108"/>
                </a:cubicBezTo>
                <a:cubicBezTo>
                  <a:pt x="248" y="107"/>
                  <a:pt x="248" y="107"/>
                  <a:pt x="248" y="107"/>
                </a:cubicBezTo>
                <a:cubicBezTo>
                  <a:pt x="248" y="109"/>
                  <a:pt x="248" y="109"/>
                  <a:pt x="248" y="109"/>
                </a:cubicBezTo>
                <a:cubicBezTo>
                  <a:pt x="247" y="109"/>
                  <a:pt x="247" y="109"/>
                  <a:pt x="247" y="109"/>
                </a:cubicBezTo>
                <a:cubicBezTo>
                  <a:pt x="246" y="109"/>
                  <a:pt x="246" y="109"/>
                  <a:pt x="246" y="109"/>
                </a:cubicBezTo>
                <a:cubicBezTo>
                  <a:pt x="246" y="107"/>
                  <a:pt x="246" y="107"/>
                  <a:pt x="246" y="107"/>
                </a:cubicBezTo>
                <a:cubicBezTo>
                  <a:pt x="245" y="106"/>
                  <a:pt x="245" y="106"/>
                  <a:pt x="245" y="106"/>
                </a:cubicBezTo>
                <a:cubicBezTo>
                  <a:pt x="245" y="105"/>
                  <a:pt x="245" y="105"/>
                  <a:pt x="245" y="105"/>
                </a:cubicBezTo>
                <a:cubicBezTo>
                  <a:pt x="245" y="105"/>
                  <a:pt x="245" y="105"/>
                  <a:pt x="245" y="105"/>
                </a:cubicBezTo>
                <a:cubicBezTo>
                  <a:pt x="244" y="106"/>
                  <a:pt x="244" y="106"/>
                  <a:pt x="244" y="106"/>
                </a:cubicBezTo>
                <a:cubicBezTo>
                  <a:pt x="244" y="106"/>
                  <a:pt x="244" y="106"/>
                  <a:pt x="244" y="106"/>
                </a:cubicBezTo>
                <a:cubicBezTo>
                  <a:pt x="242" y="104"/>
                  <a:pt x="242" y="104"/>
                  <a:pt x="242" y="104"/>
                </a:cubicBezTo>
                <a:cubicBezTo>
                  <a:pt x="240" y="103"/>
                  <a:pt x="240" y="103"/>
                  <a:pt x="240" y="103"/>
                </a:cubicBezTo>
                <a:cubicBezTo>
                  <a:pt x="240" y="103"/>
                  <a:pt x="240" y="103"/>
                  <a:pt x="240" y="103"/>
                </a:cubicBezTo>
                <a:cubicBezTo>
                  <a:pt x="242" y="102"/>
                  <a:pt x="242" y="102"/>
                  <a:pt x="242" y="102"/>
                </a:cubicBezTo>
                <a:cubicBezTo>
                  <a:pt x="242" y="101"/>
                  <a:pt x="242" y="101"/>
                  <a:pt x="242" y="101"/>
                </a:cubicBezTo>
                <a:cubicBezTo>
                  <a:pt x="241" y="100"/>
                  <a:pt x="241" y="100"/>
                  <a:pt x="241" y="100"/>
                </a:cubicBezTo>
                <a:cubicBezTo>
                  <a:pt x="244" y="99"/>
                  <a:pt x="244" y="99"/>
                  <a:pt x="244" y="99"/>
                </a:cubicBezTo>
                <a:cubicBezTo>
                  <a:pt x="245" y="98"/>
                  <a:pt x="245" y="98"/>
                  <a:pt x="245" y="98"/>
                </a:cubicBezTo>
                <a:cubicBezTo>
                  <a:pt x="246" y="99"/>
                  <a:pt x="246" y="99"/>
                  <a:pt x="246" y="99"/>
                </a:cubicBezTo>
                <a:cubicBezTo>
                  <a:pt x="248" y="99"/>
                  <a:pt x="248" y="99"/>
                  <a:pt x="248" y="99"/>
                </a:cubicBezTo>
                <a:cubicBezTo>
                  <a:pt x="249" y="100"/>
                  <a:pt x="249" y="100"/>
                  <a:pt x="249" y="100"/>
                </a:cubicBezTo>
                <a:cubicBezTo>
                  <a:pt x="251" y="100"/>
                  <a:pt x="251" y="100"/>
                  <a:pt x="251" y="100"/>
                </a:cubicBezTo>
                <a:cubicBezTo>
                  <a:pt x="252" y="99"/>
                  <a:pt x="252" y="99"/>
                  <a:pt x="252" y="99"/>
                </a:cubicBezTo>
                <a:cubicBezTo>
                  <a:pt x="253" y="99"/>
                  <a:pt x="253" y="99"/>
                  <a:pt x="253" y="99"/>
                </a:cubicBezTo>
                <a:cubicBezTo>
                  <a:pt x="255" y="98"/>
                  <a:pt x="255" y="98"/>
                  <a:pt x="255" y="98"/>
                </a:cubicBezTo>
                <a:cubicBezTo>
                  <a:pt x="254" y="97"/>
                  <a:pt x="254" y="97"/>
                  <a:pt x="254" y="97"/>
                </a:cubicBezTo>
                <a:cubicBezTo>
                  <a:pt x="253" y="97"/>
                  <a:pt x="253" y="97"/>
                  <a:pt x="253" y="97"/>
                </a:cubicBezTo>
                <a:cubicBezTo>
                  <a:pt x="252" y="97"/>
                  <a:pt x="252" y="97"/>
                  <a:pt x="252" y="97"/>
                </a:cubicBezTo>
                <a:cubicBezTo>
                  <a:pt x="251" y="97"/>
                  <a:pt x="251" y="97"/>
                  <a:pt x="251" y="97"/>
                </a:cubicBezTo>
                <a:cubicBezTo>
                  <a:pt x="249" y="96"/>
                  <a:pt x="249" y="96"/>
                  <a:pt x="249" y="96"/>
                </a:cubicBezTo>
                <a:cubicBezTo>
                  <a:pt x="247" y="96"/>
                  <a:pt x="247" y="96"/>
                  <a:pt x="247" y="96"/>
                </a:cubicBezTo>
                <a:cubicBezTo>
                  <a:pt x="247" y="96"/>
                  <a:pt x="247" y="96"/>
                  <a:pt x="247" y="96"/>
                </a:cubicBezTo>
                <a:cubicBezTo>
                  <a:pt x="249" y="94"/>
                  <a:pt x="249" y="94"/>
                  <a:pt x="249" y="94"/>
                </a:cubicBezTo>
                <a:cubicBezTo>
                  <a:pt x="250" y="93"/>
                  <a:pt x="250" y="93"/>
                  <a:pt x="250" y="93"/>
                </a:cubicBezTo>
                <a:cubicBezTo>
                  <a:pt x="251" y="92"/>
                  <a:pt x="251" y="92"/>
                  <a:pt x="251" y="92"/>
                </a:cubicBezTo>
                <a:cubicBezTo>
                  <a:pt x="252" y="93"/>
                  <a:pt x="252" y="93"/>
                  <a:pt x="252" y="93"/>
                </a:cubicBezTo>
                <a:cubicBezTo>
                  <a:pt x="255" y="92"/>
                  <a:pt x="255" y="92"/>
                  <a:pt x="255" y="92"/>
                </a:cubicBezTo>
                <a:cubicBezTo>
                  <a:pt x="257" y="92"/>
                  <a:pt x="257" y="92"/>
                  <a:pt x="257" y="92"/>
                </a:cubicBezTo>
                <a:cubicBezTo>
                  <a:pt x="259" y="93"/>
                  <a:pt x="259" y="93"/>
                  <a:pt x="259" y="93"/>
                </a:cubicBezTo>
                <a:cubicBezTo>
                  <a:pt x="260" y="93"/>
                  <a:pt x="260" y="93"/>
                  <a:pt x="260" y="93"/>
                </a:cubicBezTo>
                <a:cubicBezTo>
                  <a:pt x="259" y="92"/>
                  <a:pt x="259" y="92"/>
                  <a:pt x="259" y="92"/>
                </a:cubicBezTo>
                <a:cubicBezTo>
                  <a:pt x="258" y="92"/>
                  <a:pt x="258" y="92"/>
                  <a:pt x="258" y="92"/>
                </a:cubicBezTo>
                <a:cubicBezTo>
                  <a:pt x="257" y="91"/>
                  <a:pt x="257" y="91"/>
                  <a:pt x="257" y="91"/>
                </a:cubicBezTo>
                <a:cubicBezTo>
                  <a:pt x="256" y="91"/>
                  <a:pt x="256" y="91"/>
                  <a:pt x="256" y="91"/>
                </a:cubicBezTo>
                <a:cubicBezTo>
                  <a:pt x="253" y="91"/>
                  <a:pt x="253" y="91"/>
                  <a:pt x="253" y="91"/>
                </a:cubicBezTo>
                <a:cubicBezTo>
                  <a:pt x="253" y="89"/>
                  <a:pt x="253" y="89"/>
                  <a:pt x="253" y="89"/>
                </a:cubicBezTo>
                <a:cubicBezTo>
                  <a:pt x="254" y="88"/>
                  <a:pt x="254" y="88"/>
                  <a:pt x="254" y="88"/>
                </a:cubicBezTo>
                <a:cubicBezTo>
                  <a:pt x="255" y="87"/>
                  <a:pt x="255" y="87"/>
                  <a:pt x="255" y="87"/>
                </a:cubicBezTo>
                <a:cubicBezTo>
                  <a:pt x="256" y="87"/>
                  <a:pt x="256" y="87"/>
                  <a:pt x="256" y="87"/>
                </a:cubicBezTo>
                <a:cubicBezTo>
                  <a:pt x="256" y="87"/>
                  <a:pt x="256" y="87"/>
                  <a:pt x="256" y="87"/>
                </a:cubicBezTo>
                <a:cubicBezTo>
                  <a:pt x="258" y="86"/>
                  <a:pt x="258" y="86"/>
                  <a:pt x="258" y="86"/>
                </a:cubicBezTo>
                <a:cubicBezTo>
                  <a:pt x="259" y="86"/>
                  <a:pt x="259" y="86"/>
                  <a:pt x="259" y="86"/>
                </a:cubicBezTo>
                <a:cubicBezTo>
                  <a:pt x="259" y="87"/>
                  <a:pt x="259" y="87"/>
                  <a:pt x="259" y="87"/>
                </a:cubicBezTo>
                <a:cubicBezTo>
                  <a:pt x="260" y="87"/>
                  <a:pt x="260" y="87"/>
                  <a:pt x="260" y="87"/>
                </a:cubicBezTo>
                <a:cubicBezTo>
                  <a:pt x="262" y="88"/>
                  <a:pt x="262" y="88"/>
                  <a:pt x="262" y="88"/>
                </a:cubicBezTo>
                <a:cubicBezTo>
                  <a:pt x="263" y="88"/>
                  <a:pt x="263" y="88"/>
                  <a:pt x="263" y="88"/>
                </a:cubicBezTo>
                <a:cubicBezTo>
                  <a:pt x="262" y="87"/>
                  <a:pt x="262" y="87"/>
                  <a:pt x="262" y="87"/>
                </a:cubicBezTo>
                <a:cubicBezTo>
                  <a:pt x="261" y="86"/>
                  <a:pt x="261" y="86"/>
                  <a:pt x="261" y="86"/>
                </a:cubicBezTo>
                <a:cubicBezTo>
                  <a:pt x="260" y="85"/>
                  <a:pt x="260" y="85"/>
                  <a:pt x="260" y="85"/>
                </a:cubicBezTo>
                <a:cubicBezTo>
                  <a:pt x="260" y="84"/>
                  <a:pt x="260" y="84"/>
                  <a:pt x="260" y="84"/>
                </a:cubicBezTo>
                <a:cubicBezTo>
                  <a:pt x="261" y="84"/>
                  <a:pt x="261" y="84"/>
                  <a:pt x="261" y="84"/>
                </a:cubicBezTo>
                <a:cubicBezTo>
                  <a:pt x="264" y="83"/>
                  <a:pt x="264" y="83"/>
                  <a:pt x="264" y="83"/>
                </a:cubicBezTo>
                <a:cubicBezTo>
                  <a:pt x="265" y="83"/>
                  <a:pt x="265" y="83"/>
                  <a:pt x="265" y="83"/>
                </a:cubicBezTo>
                <a:cubicBezTo>
                  <a:pt x="267" y="83"/>
                  <a:pt x="267" y="83"/>
                  <a:pt x="267" y="83"/>
                </a:cubicBezTo>
                <a:cubicBezTo>
                  <a:pt x="268" y="84"/>
                  <a:pt x="268" y="84"/>
                  <a:pt x="268" y="84"/>
                </a:cubicBezTo>
                <a:cubicBezTo>
                  <a:pt x="269" y="86"/>
                  <a:pt x="269" y="86"/>
                  <a:pt x="269" y="86"/>
                </a:cubicBezTo>
                <a:cubicBezTo>
                  <a:pt x="268" y="87"/>
                  <a:pt x="268" y="87"/>
                  <a:pt x="268" y="87"/>
                </a:cubicBezTo>
                <a:cubicBezTo>
                  <a:pt x="267" y="88"/>
                  <a:pt x="267" y="88"/>
                  <a:pt x="267" y="88"/>
                </a:cubicBezTo>
                <a:cubicBezTo>
                  <a:pt x="267" y="89"/>
                  <a:pt x="267" y="89"/>
                  <a:pt x="267" y="89"/>
                </a:cubicBezTo>
                <a:cubicBezTo>
                  <a:pt x="270" y="89"/>
                  <a:pt x="270" y="89"/>
                  <a:pt x="270" y="89"/>
                </a:cubicBezTo>
                <a:cubicBezTo>
                  <a:pt x="270" y="89"/>
                  <a:pt x="270" y="89"/>
                  <a:pt x="270" y="89"/>
                </a:cubicBezTo>
                <a:cubicBezTo>
                  <a:pt x="271" y="89"/>
                  <a:pt x="271" y="89"/>
                  <a:pt x="271" y="89"/>
                </a:cubicBezTo>
                <a:cubicBezTo>
                  <a:pt x="272" y="89"/>
                  <a:pt x="272" y="89"/>
                  <a:pt x="272" y="89"/>
                </a:cubicBezTo>
                <a:cubicBezTo>
                  <a:pt x="272" y="90"/>
                  <a:pt x="272" y="90"/>
                  <a:pt x="272" y="90"/>
                </a:cubicBezTo>
                <a:cubicBezTo>
                  <a:pt x="273" y="91"/>
                  <a:pt x="273" y="91"/>
                  <a:pt x="273" y="91"/>
                </a:cubicBezTo>
                <a:cubicBezTo>
                  <a:pt x="273" y="91"/>
                  <a:pt x="273" y="91"/>
                  <a:pt x="273" y="91"/>
                </a:cubicBezTo>
                <a:cubicBezTo>
                  <a:pt x="273" y="92"/>
                  <a:pt x="273" y="92"/>
                  <a:pt x="273" y="92"/>
                </a:cubicBezTo>
                <a:cubicBezTo>
                  <a:pt x="272" y="93"/>
                  <a:pt x="272" y="93"/>
                  <a:pt x="272" y="93"/>
                </a:cubicBezTo>
                <a:cubicBezTo>
                  <a:pt x="272" y="94"/>
                  <a:pt x="272" y="94"/>
                  <a:pt x="272" y="94"/>
                </a:cubicBezTo>
                <a:cubicBezTo>
                  <a:pt x="273" y="95"/>
                  <a:pt x="273" y="95"/>
                  <a:pt x="273" y="95"/>
                </a:cubicBezTo>
                <a:cubicBezTo>
                  <a:pt x="273" y="98"/>
                  <a:pt x="273" y="98"/>
                  <a:pt x="273" y="98"/>
                </a:cubicBezTo>
                <a:cubicBezTo>
                  <a:pt x="273" y="98"/>
                  <a:pt x="273" y="98"/>
                  <a:pt x="273" y="98"/>
                </a:cubicBezTo>
                <a:cubicBezTo>
                  <a:pt x="272" y="98"/>
                  <a:pt x="272" y="98"/>
                  <a:pt x="272" y="98"/>
                </a:cubicBezTo>
                <a:cubicBezTo>
                  <a:pt x="270" y="98"/>
                  <a:pt x="270" y="98"/>
                  <a:pt x="270" y="98"/>
                </a:cubicBezTo>
                <a:cubicBezTo>
                  <a:pt x="271" y="99"/>
                  <a:pt x="271" y="99"/>
                  <a:pt x="271" y="99"/>
                </a:cubicBezTo>
                <a:cubicBezTo>
                  <a:pt x="272" y="99"/>
                  <a:pt x="272" y="99"/>
                  <a:pt x="272" y="99"/>
                </a:cubicBezTo>
                <a:cubicBezTo>
                  <a:pt x="273" y="100"/>
                  <a:pt x="273" y="100"/>
                  <a:pt x="273" y="100"/>
                </a:cubicBezTo>
                <a:cubicBezTo>
                  <a:pt x="274" y="100"/>
                  <a:pt x="274" y="100"/>
                  <a:pt x="274" y="100"/>
                </a:cubicBezTo>
                <a:cubicBezTo>
                  <a:pt x="273" y="102"/>
                  <a:pt x="273" y="102"/>
                  <a:pt x="273" y="102"/>
                </a:cubicBezTo>
                <a:cubicBezTo>
                  <a:pt x="272" y="103"/>
                  <a:pt x="272" y="103"/>
                  <a:pt x="272" y="103"/>
                </a:cubicBezTo>
                <a:cubicBezTo>
                  <a:pt x="272" y="105"/>
                  <a:pt x="272" y="105"/>
                  <a:pt x="272" y="105"/>
                </a:cubicBezTo>
                <a:cubicBezTo>
                  <a:pt x="273" y="106"/>
                  <a:pt x="273" y="106"/>
                  <a:pt x="273" y="106"/>
                </a:cubicBezTo>
                <a:cubicBezTo>
                  <a:pt x="274" y="105"/>
                  <a:pt x="274" y="105"/>
                  <a:pt x="274" y="105"/>
                </a:cubicBezTo>
                <a:cubicBezTo>
                  <a:pt x="275" y="104"/>
                  <a:pt x="275" y="104"/>
                  <a:pt x="275" y="104"/>
                </a:cubicBezTo>
                <a:cubicBezTo>
                  <a:pt x="276" y="105"/>
                  <a:pt x="276" y="105"/>
                  <a:pt x="276" y="105"/>
                </a:cubicBezTo>
                <a:cubicBezTo>
                  <a:pt x="276" y="106"/>
                  <a:pt x="276" y="106"/>
                  <a:pt x="276" y="106"/>
                </a:cubicBezTo>
                <a:cubicBezTo>
                  <a:pt x="277" y="106"/>
                  <a:pt x="277" y="106"/>
                  <a:pt x="277" y="106"/>
                </a:cubicBezTo>
                <a:cubicBezTo>
                  <a:pt x="278" y="106"/>
                  <a:pt x="278" y="106"/>
                  <a:pt x="278" y="106"/>
                </a:cubicBezTo>
                <a:cubicBezTo>
                  <a:pt x="280" y="106"/>
                  <a:pt x="280" y="106"/>
                  <a:pt x="280" y="106"/>
                </a:cubicBezTo>
                <a:cubicBezTo>
                  <a:pt x="281" y="108"/>
                  <a:pt x="281" y="108"/>
                  <a:pt x="281" y="108"/>
                </a:cubicBezTo>
                <a:cubicBezTo>
                  <a:pt x="282" y="108"/>
                  <a:pt x="282" y="108"/>
                  <a:pt x="282" y="108"/>
                </a:cubicBezTo>
                <a:cubicBezTo>
                  <a:pt x="282" y="107"/>
                  <a:pt x="282" y="107"/>
                  <a:pt x="282" y="107"/>
                </a:cubicBezTo>
                <a:cubicBezTo>
                  <a:pt x="281" y="106"/>
                  <a:pt x="281" y="106"/>
                  <a:pt x="281" y="106"/>
                </a:cubicBezTo>
                <a:cubicBezTo>
                  <a:pt x="283" y="105"/>
                  <a:pt x="283" y="105"/>
                  <a:pt x="283" y="105"/>
                </a:cubicBezTo>
                <a:cubicBezTo>
                  <a:pt x="283" y="103"/>
                  <a:pt x="283" y="103"/>
                  <a:pt x="283" y="103"/>
                </a:cubicBezTo>
                <a:cubicBezTo>
                  <a:pt x="282" y="102"/>
                  <a:pt x="282" y="102"/>
                  <a:pt x="282" y="102"/>
                </a:cubicBezTo>
                <a:cubicBezTo>
                  <a:pt x="282" y="101"/>
                  <a:pt x="282" y="101"/>
                  <a:pt x="282" y="101"/>
                </a:cubicBezTo>
                <a:cubicBezTo>
                  <a:pt x="281" y="100"/>
                  <a:pt x="281" y="100"/>
                  <a:pt x="281" y="100"/>
                </a:cubicBezTo>
                <a:cubicBezTo>
                  <a:pt x="282" y="99"/>
                  <a:pt x="282" y="99"/>
                  <a:pt x="282" y="99"/>
                </a:cubicBezTo>
                <a:cubicBezTo>
                  <a:pt x="282" y="99"/>
                  <a:pt x="282" y="99"/>
                  <a:pt x="282" y="99"/>
                </a:cubicBezTo>
                <a:cubicBezTo>
                  <a:pt x="284" y="99"/>
                  <a:pt x="284" y="99"/>
                  <a:pt x="284" y="99"/>
                </a:cubicBezTo>
                <a:cubicBezTo>
                  <a:pt x="285" y="99"/>
                  <a:pt x="285" y="99"/>
                  <a:pt x="285" y="99"/>
                </a:cubicBezTo>
                <a:cubicBezTo>
                  <a:pt x="286" y="97"/>
                  <a:pt x="286" y="97"/>
                  <a:pt x="286" y="97"/>
                </a:cubicBezTo>
                <a:cubicBezTo>
                  <a:pt x="285" y="95"/>
                  <a:pt x="285" y="95"/>
                  <a:pt x="285" y="95"/>
                </a:cubicBezTo>
                <a:cubicBezTo>
                  <a:pt x="285" y="95"/>
                  <a:pt x="285" y="95"/>
                  <a:pt x="285" y="95"/>
                </a:cubicBezTo>
                <a:cubicBezTo>
                  <a:pt x="285" y="93"/>
                  <a:pt x="285" y="93"/>
                  <a:pt x="285" y="93"/>
                </a:cubicBezTo>
                <a:cubicBezTo>
                  <a:pt x="284" y="92"/>
                  <a:pt x="284" y="92"/>
                  <a:pt x="284" y="92"/>
                </a:cubicBezTo>
                <a:cubicBezTo>
                  <a:pt x="285" y="90"/>
                  <a:pt x="285" y="90"/>
                  <a:pt x="285" y="90"/>
                </a:cubicBezTo>
                <a:cubicBezTo>
                  <a:pt x="286" y="90"/>
                  <a:pt x="286" y="90"/>
                  <a:pt x="286" y="90"/>
                </a:cubicBezTo>
                <a:cubicBezTo>
                  <a:pt x="287" y="90"/>
                  <a:pt x="287" y="90"/>
                  <a:pt x="287" y="90"/>
                </a:cubicBezTo>
                <a:cubicBezTo>
                  <a:pt x="288" y="90"/>
                  <a:pt x="288" y="90"/>
                  <a:pt x="288" y="90"/>
                </a:cubicBezTo>
                <a:cubicBezTo>
                  <a:pt x="288" y="89"/>
                  <a:pt x="288" y="89"/>
                  <a:pt x="288" y="89"/>
                </a:cubicBezTo>
                <a:cubicBezTo>
                  <a:pt x="288" y="88"/>
                  <a:pt x="288" y="88"/>
                  <a:pt x="288" y="88"/>
                </a:cubicBezTo>
                <a:cubicBezTo>
                  <a:pt x="290" y="87"/>
                  <a:pt x="290" y="87"/>
                  <a:pt x="290" y="87"/>
                </a:cubicBezTo>
                <a:cubicBezTo>
                  <a:pt x="293" y="85"/>
                  <a:pt x="293" y="85"/>
                  <a:pt x="293" y="85"/>
                </a:cubicBezTo>
                <a:cubicBezTo>
                  <a:pt x="294" y="85"/>
                  <a:pt x="294" y="85"/>
                  <a:pt x="294" y="85"/>
                </a:cubicBezTo>
                <a:cubicBezTo>
                  <a:pt x="295" y="86"/>
                  <a:pt x="295" y="86"/>
                  <a:pt x="295" y="86"/>
                </a:cubicBezTo>
                <a:cubicBezTo>
                  <a:pt x="295" y="87"/>
                  <a:pt x="295" y="87"/>
                  <a:pt x="295" y="87"/>
                </a:cubicBezTo>
                <a:cubicBezTo>
                  <a:pt x="296" y="88"/>
                  <a:pt x="296" y="88"/>
                  <a:pt x="296" y="88"/>
                </a:cubicBezTo>
                <a:cubicBezTo>
                  <a:pt x="295" y="88"/>
                  <a:pt x="295" y="88"/>
                  <a:pt x="295" y="88"/>
                </a:cubicBezTo>
                <a:cubicBezTo>
                  <a:pt x="294" y="88"/>
                  <a:pt x="294" y="88"/>
                  <a:pt x="294" y="88"/>
                </a:cubicBezTo>
                <a:cubicBezTo>
                  <a:pt x="293" y="89"/>
                  <a:pt x="293" y="89"/>
                  <a:pt x="293" y="89"/>
                </a:cubicBezTo>
                <a:cubicBezTo>
                  <a:pt x="293" y="90"/>
                  <a:pt x="293" y="90"/>
                  <a:pt x="293" y="90"/>
                </a:cubicBezTo>
                <a:cubicBezTo>
                  <a:pt x="293" y="91"/>
                  <a:pt x="293" y="91"/>
                  <a:pt x="293" y="91"/>
                </a:cubicBezTo>
                <a:cubicBezTo>
                  <a:pt x="293" y="93"/>
                  <a:pt x="293" y="93"/>
                  <a:pt x="293" y="93"/>
                </a:cubicBezTo>
                <a:cubicBezTo>
                  <a:pt x="293" y="93"/>
                  <a:pt x="293" y="93"/>
                  <a:pt x="293" y="93"/>
                </a:cubicBezTo>
                <a:cubicBezTo>
                  <a:pt x="293" y="96"/>
                  <a:pt x="293" y="96"/>
                  <a:pt x="293" y="96"/>
                </a:cubicBezTo>
                <a:cubicBezTo>
                  <a:pt x="293" y="97"/>
                  <a:pt x="293" y="97"/>
                  <a:pt x="293" y="97"/>
                </a:cubicBezTo>
                <a:cubicBezTo>
                  <a:pt x="292" y="97"/>
                  <a:pt x="292" y="97"/>
                  <a:pt x="292" y="97"/>
                </a:cubicBezTo>
                <a:cubicBezTo>
                  <a:pt x="290" y="98"/>
                  <a:pt x="290" y="98"/>
                  <a:pt x="290" y="98"/>
                </a:cubicBezTo>
                <a:cubicBezTo>
                  <a:pt x="289" y="99"/>
                  <a:pt x="289" y="99"/>
                  <a:pt x="289" y="99"/>
                </a:cubicBezTo>
                <a:cubicBezTo>
                  <a:pt x="289" y="100"/>
                  <a:pt x="289" y="100"/>
                  <a:pt x="289" y="100"/>
                </a:cubicBezTo>
                <a:cubicBezTo>
                  <a:pt x="290" y="100"/>
                  <a:pt x="290" y="100"/>
                  <a:pt x="290" y="100"/>
                </a:cubicBezTo>
                <a:cubicBezTo>
                  <a:pt x="291" y="99"/>
                  <a:pt x="291" y="99"/>
                  <a:pt x="291" y="99"/>
                </a:cubicBezTo>
                <a:cubicBezTo>
                  <a:pt x="293" y="99"/>
                  <a:pt x="293" y="99"/>
                  <a:pt x="293" y="99"/>
                </a:cubicBezTo>
                <a:cubicBezTo>
                  <a:pt x="293" y="100"/>
                  <a:pt x="293" y="100"/>
                  <a:pt x="293" y="100"/>
                </a:cubicBezTo>
                <a:cubicBezTo>
                  <a:pt x="292" y="101"/>
                  <a:pt x="292" y="101"/>
                  <a:pt x="292" y="101"/>
                </a:cubicBezTo>
                <a:cubicBezTo>
                  <a:pt x="290" y="103"/>
                  <a:pt x="290" y="103"/>
                  <a:pt x="290" y="103"/>
                </a:cubicBezTo>
                <a:cubicBezTo>
                  <a:pt x="289" y="104"/>
                  <a:pt x="289" y="104"/>
                  <a:pt x="289" y="104"/>
                </a:cubicBezTo>
                <a:cubicBezTo>
                  <a:pt x="288" y="105"/>
                  <a:pt x="288" y="105"/>
                  <a:pt x="288" y="105"/>
                </a:cubicBezTo>
                <a:cubicBezTo>
                  <a:pt x="289" y="106"/>
                  <a:pt x="289" y="106"/>
                  <a:pt x="289" y="106"/>
                </a:cubicBezTo>
                <a:cubicBezTo>
                  <a:pt x="289" y="105"/>
                  <a:pt x="289" y="105"/>
                  <a:pt x="289" y="105"/>
                </a:cubicBezTo>
                <a:cubicBezTo>
                  <a:pt x="291" y="104"/>
                  <a:pt x="291" y="104"/>
                  <a:pt x="291" y="104"/>
                </a:cubicBezTo>
                <a:cubicBezTo>
                  <a:pt x="292" y="103"/>
                  <a:pt x="292" y="103"/>
                  <a:pt x="292" y="103"/>
                </a:cubicBezTo>
                <a:cubicBezTo>
                  <a:pt x="293" y="103"/>
                  <a:pt x="293" y="103"/>
                  <a:pt x="293" y="103"/>
                </a:cubicBezTo>
                <a:cubicBezTo>
                  <a:pt x="295" y="103"/>
                  <a:pt x="295" y="103"/>
                  <a:pt x="295" y="103"/>
                </a:cubicBezTo>
                <a:cubicBezTo>
                  <a:pt x="294" y="105"/>
                  <a:pt x="294" y="105"/>
                  <a:pt x="294" y="105"/>
                </a:cubicBezTo>
                <a:cubicBezTo>
                  <a:pt x="294" y="107"/>
                  <a:pt x="294" y="107"/>
                  <a:pt x="294" y="107"/>
                </a:cubicBezTo>
                <a:cubicBezTo>
                  <a:pt x="294" y="107"/>
                  <a:pt x="294" y="107"/>
                  <a:pt x="294" y="107"/>
                </a:cubicBezTo>
                <a:cubicBezTo>
                  <a:pt x="295" y="106"/>
                  <a:pt x="295" y="106"/>
                  <a:pt x="295" y="106"/>
                </a:cubicBezTo>
                <a:cubicBezTo>
                  <a:pt x="296" y="106"/>
                  <a:pt x="296" y="106"/>
                  <a:pt x="296" y="106"/>
                </a:cubicBezTo>
                <a:cubicBezTo>
                  <a:pt x="296" y="106"/>
                  <a:pt x="296" y="106"/>
                  <a:pt x="296" y="106"/>
                </a:cubicBezTo>
                <a:cubicBezTo>
                  <a:pt x="296" y="105"/>
                  <a:pt x="296" y="105"/>
                  <a:pt x="296" y="105"/>
                </a:cubicBezTo>
                <a:cubicBezTo>
                  <a:pt x="297" y="104"/>
                  <a:pt x="297" y="104"/>
                  <a:pt x="297" y="104"/>
                </a:cubicBezTo>
                <a:cubicBezTo>
                  <a:pt x="297" y="103"/>
                  <a:pt x="297" y="103"/>
                  <a:pt x="297" y="103"/>
                </a:cubicBezTo>
                <a:cubicBezTo>
                  <a:pt x="299" y="101"/>
                  <a:pt x="299" y="101"/>
                  <a:pt x="299" y="101"/>
                </a:cubicBezTo>
                <a:cubicBezTo>
                  <a:pt x="300" y="101"/>
                  <a:pt x="300" y="101"/>
                  <a:pt x="300" y="101"/>
                </a:cubicBezTo>
                <a:cubicBezTo>
                  <a:pt x="301" y="102"/>
                  <a:pt x="301" y="102"/>
                  <a:pt x="301" y="102"/>
                </a:cubicBezTo>
                <a:cubicBezTo>
                  <a:pt x="302" y="104"/>
                  <a:pt x="302" y="104"/>
                  <a:pt x="302" y="104"/>
                </a:cubicBezTo>
                <a:cubicBezTo>
                  <a:pt x="302" y="105"/>
                  <a:pt x="302" y="105"/>
                  <a:pt x="302" y="105"/>
                </a:cubicBezTo>
                <a:cubicBezTo>
                  <a:pt x="302" y="107"/>
                  <a:pt x="302" y="107"/>
                  <a:pt x="302" y="107"/>
                </a:cubicBezTo>
                <a:cubicBezTo>
                  <a:pt x="300" y="110"/>
                  <a:pt x="300" y="110"/>
                  <a:pt x="300" y="110"/>
                </a:cubicBezTo>
                <a:cubicBezTo>
                  <a:pt x="299" y="111"/>
                  <a:pt x="299" y="111"/>
                  <a:pt x="299" y="111"/>
                </a:cubicBezTo>
                <a:cubicBezTo>
                  <a:pt x="298" y="112"/>
                  <a:pt x="298" y="112"/>
                  <a:pt x="298" y="112"/>
                </a:cubicBezTo>
                <a:cubicBezTo>
                  <a:pt x="297" y="112"/>
                  <a:pt x="297" y="112"/>
                  <a:pt x="297" y="112"/>
                </a:cubicBezTo>
                <a:cubicBezTo>
                  <a:pt x="297" y="112"/>
                  <a:pt x="297" y="112"/>
                  <a:pt x="297" y="112"/>
                </a:cubicBezTo>
                <a:cubicBezTo>
                  <a:pt x="297" y="113"/>
                  <a:pt x="297" y="113"/>
                  <a:pt x="297" y="113"/>
                </a:cubicBezTo>
                <a:cubicBezTo>
                  <a:pt x="295" y="115"/>
                  <a:pt x="295" y="115"/>
                  <a:pt x="295" y="115"/>
                </a:cubicBezTo>
                <a:cubicBezTo>
                  <a:pt x="294" y="115"/>
                  <a:pt x="294" y="115"/>
                  <a:pt x="294" y="115"/>
                </a:cubicBezTo>
                <a:cubicBezTo>
                  <a:pt x="293" y="116"/>
                  <a:pt x="293" y="116"/>
                  <a:pt x="293" y="116"/>
                </a:cubicBezTo>
                <a:cubicBezTo>
                  <a:pt x="293" y="117"/>
                  <a:pt x="293" y="117"/>
                  <a:pt x="293" y="117"/>
                </a:cubicBezTo>
                <a:cubicBezTo>
                  <a:pt x="293" y="118"/>
                  <a:pt x="293" y="118"/>
                  <a:pt x="293" y="118"/>
                </a:cubicBezTo>
                <a:cubicBezTo>
                  <a:pt x="292" y="118"/>
                  <a:pt x="292" y="118"/>
                  <a:pt x="292" y="118"/>
                </a:cubicBezTo>
                <a:cubicBezTo>
                  <a:pt x="292" y="118"/>
                  <a:pt x="292" y="118"/>
                  <a:pt x="292" y="118"/>
                </a:cubicBezTo>
                <a:cubicBezTo>
                  <a:pt x="292" y="119"/>
                  <a:pt x="292" y="119"/>
                  <a:pt x="292" y="119"/>
                </a:cubicBezTo>
                <a:cubicBezTo>
                  <a:pt x="291" y="119"/>
                  <a:pt x="291" y="119"/>
                  <a:pt x="291" y="119"/>
                </a:cubicBezTo>
                <a:cubicBezTo>
                  <a:pt x="290" y="118"/>
                  <a:pt x="290" y="118"/>
                  <a:pt x="290" y="118"/>
                </a:cubicBezTo>
                <a:cubicBezTo>
                  <a:pt x="289" y="119"/>
                  <a:pt x="289" y="119"/>
                  <a:pt x="289" y="119"/>
                </a:cubicBezTo>
                <a:cubicBezTo>
                  <a:pt x="288" y="119"/>
                  <a:pt x="288" y="119"/>
                  <a:pt x="288" y="119"/>
                </a:cubicBezTo>
                <a:cubicBezTo>
                  <a:pt x="286" y="120"/>
                  <a:pt x="286" y="120"/>
                  <a:pt x="286" y="120"/>
                </a:cubicBezTo>
                <a:cubicBezTo>
                  <a:pt x="284" y="120"/>
                  <a:pt x="284" y="120"/>
                  <a:pt x="284" y="120"/>
                </a:cubicBezTo>
                <a:cubicBezTo>
                  <a:pt x="283" y="119"/>
                  <a:pt x="283" y="119"/>
                  <a:pt x="283" y="119"/>
                </a:cubicBezTo>
                <a:cubicBezTo>
                  <a:pt x="282" y="119"/>
                  <a:pt x="282" y="119"/>
                  <a:pt x="282" y="119"/>
                </a:cubicBezTo>
                <a:cubicBezTo>
                  <a:pt x="283" y="118"/>
                  <a:pt x="283" y="118"/>
                  <a:pt x="283" y="118"/>
                </a:cubicBezTo>
                <a:cubicBezTo>
                  <a:pt x="283" y="117"/>
                  <a:pt x="283" y="117"/>
                  <a:pt x="283" y="117"/>
                </a:cubicBezTo>
                <a:cubicBezTo>
                  <a:pt x="283" y="117"/>
                  <a:pt x="283" y="117"/>
                  <a:pt x="283" y="117"/>
                </a:cubicBezTo>
                <a:cubicBezTo>
                  <a:pt x="281" y="117"/>
                  <a:pt x="281" y="117"/>
                  <a:pt x="281" y="117"/>
                </a:cubicBezTo>
                <a:cubicBezTo>
                  <a:pt x="281" y="118"/>
                  <a:pt x="281" y="118"/>
                  <a:pt x="281" y="118"/>
                </a:cubicBezTo>
                <a:cubicBezTo>
                  <a:pt x="280" y="118"/>
                  <a:pt x="280" y="118"/>
                  <a:pt x="280" y="118"/>
                </a:cubicBezTo>
                <a:cubicBezTo>
                  <a:pt x="279" y="118"/>
                  <a:pt x="279" y="118"/>
                  <a:pt x="279" y="118"/>
                </a:cubicBezTo>
                <a:cubicBezTo>
                  <a:pt x="279" y="117"/>
                  <a:pt x="279" y="117"/>
                  <a:pt x="279" y="117"/>
                </a:cubicBezTo>
                <a:cubicBezTo>
                  <a:pt x="279" y="117"/>
                  <a:pt x="279" y="117"/>
                  <a:pt x="279" y="117"/>
                </a:cubicBezTo>
                <a:cubicBezTo>
                  <a:pt x="279" y="116"/>
                  <a:pt x="279" y="116"/>
                  <a:pt x="279" y="116"/>
                </a:cubicBezTo>
                <a:cubicBezTo>
                  <a:pt x="278" y="115"/>
                  <a:pt x="278" y="115"/>
                  <a:pt x="278" y="115"/>
                </a:cubicBezTo>
                <a:cubicBezTo>
                  <a:pt x="278" y="116"/>
                  <a:pt x="278" y="116"/>
                  <a:pt x="278" y="116"/>
                </a:cubicBezTo>
                <a:cubicBezTo>
                  <a:pt x="277" y="117"/>
                  <a:pt x="277" y="117"/>
                  <a:pt x="277" y="117"/>
                </a:cubicBezTo>
                <a:cubicBezTo>
                  <a:pt x="276" y="117"/>
                  <a:pt x="276" y="117"/>
                  <a:pt x="276" y="117"/>
                </a:cubicBezTo>
                <a:cubicBezTo>
                  <a:pt x="274" y="117"/>
                  <a:pt x="274" y="117"/>
                  <a:pt x="274" y="117"/>
                </a:cubicBezTo>
                <a:cubicBezTo>
                  <a:pt x="274" y="118"/>
                  <a:pt x="274" y="118"/>
                  <a:pt x="274" y="118"/>
                </a:cubicBezTo>
                <a:cubicBezTo>
                  <a:pt x="272" y="118"/>
                  <a:pt x="272" y="118"/>
                  <a:pt x="272" y="118"/>
                </a:cubicBezTo>
                <a:cubicBezTo>
                  <a:pt x="272" y="118"/>
                  <a:pt x="272" y="118"/>
                  <a:pt x="272" y="118"/>
                </a:cubicBezTo>
                <a:cubicBezTo>
                  <a:pt x="270" y="118"/>
                  <a:pt x="270" y="118"/>
                  <a:pt x="270" y="118"/>
                </a:cubicBezTo>
                <a:cubicBezTo>
                  <a:pt x="269" y="117"/>
                  <a:pt x="269" y="117"/>
                  <a:pt x="269" y="117"/>
                </a:cubicBezTo>
                <a:cubicBezTo>
                  <a:pt x="269" y="118"/>
                  <a:pt x="269" y="118"/>
                  <a:pt x="269" y="118"/>
                </a:cubicBezTo>
                <a:cubicBezTo>
                  <a:pt x="268" y="118"/>
                  <a:pt x="268" y="118"/>
                  <a:pt x="268" y="118"/>
                </a:cubicBezTo>
                <a:cubicBezTo>
                  <a:pt x="267" y="118"/>
                  <a:pt x="267" y="118"/>
                  <a:pt x="267" y="118"/>
                </a:cubicBezTo>
                <a:cubicBezTo>
                  <a:pt x="267" y="119"/>
                  <a:pt x="267" y="119"/>
                  <a:pt x="267" y="119"/>
                </a:cubicBezTo>
                <a:cubicBezTo>
                  <a:pt x="266" y="120"/>
                  <a:pt x="266" y="120"/>
                  <a:pt x="266" y="120"/>
                </a:cubicBezTo>
                <a:cubicBezTo>
                  <a:pt x="265" y="120"/>
                  <a:pt x="265" y="120"/>
                  <a:pt x="265" y="120"/>
                </a:cubicBezTo>
                <a:cubicBezTo>
                  <a:pt x="265" y="120"/>
                  <a:pt x="265" y="120"/>
                  <a:pt x="265" y="120"/>
                </a:cubicBezTo>
                <a:cubicBezTo>
                  <a:pt x="263" y="121"/>
                  <a:pt x="263" y="121"/>
                  <a:pt x="263" y="121"/>
                </a:cubicBezTo>
                <a:cubicBezTo>
                  <a:pt x="263" y="121"/>
                  <a:pt x="263" y="121"/>
                  <a:pt x="263" y="121"/>
                </a:cubicBezTo>
                <a:cubicBezTo>
                  <a:pt x="262" y="121"/>
                  <a:pt x="262" y="121"/>
                  <a:pt x="262" y="121"/>
                </a:cubicBezTo>
                <a:cubicBezTo>
                  <a:pt x="260" y="121"/>
                  <a:pt x="260" y="121"/>
                  <a:pt x="260" y="121"/>
                </a:cubicBezTo>
                <a:cubicBezTo>
                  <a:pt x="260" y="121"/>
                  <a:pt x="260" y="121"/>
                  <a:pt x="260" y="121"/>
                </a:cubicBezTo>
                <a:cubicBezTo>
                  <a:pt x="258" y="121"/>
                  <a:pt x="258" y="121"/>
                  <a:pt x="258" y="121"/>
                </a:cubicBezTo>
                <a:cubicBezTo>
                  <a:pt x="256" y="121"/>
                  <a:pt x="256" y="121"/>
                  <a:pt x="256" y="121"/>
                </a:cubicBezTo>
                <a:cubicBezTo>
                  <a:pt x="254" y="121"/>
                  <a:pt x="254" y="121"/>
                  <a:pt x="254" y="121"/>
                </a:cubicBezTo>
                <a:cubicBezTo>
                  <a:pt x="253" y="120"/>
                  <a:pt x="253" y="120"/>
                  <a:pt x="253" y="120"/>
                </a:cubicBezTo>
                <a:cubicBezTo>
                  <a:pt x="251" y="120"/>
                  <a:pt x="251" y="120"/>
                  <a:pt x="251" y="120"/>
                </a:cubicBezTo>
                <a:cubicBezTo>
                  <a:pt x="250" y="119"/>
                  <a:pt x="250" y="119"/>
                  <a:pt x="250" y="119"/>
                </a:cubicBezTo>
                <a:cubicBezTo>
                  <a:pt x="249" y="117"/>
                  <a:pt x="249" y="117"/>
                  <a:pt x="249" y="117"/>
                </a:cubicBezTo>
                <a:close/>
                <a:moveTo>
                  <a:pt x="174" y="157"/>
                </a:moveTo>
                <a:cubicBezTo>
                  <a:pt x="174" y="154"/>
                  <a:pt x="174" y="154"/>
                  <a:pt x="174" y="154"/>
                </a:cubicBezTo>
                <a:cubicBezTo>
                  <a:pt x="175" y="152"/>
                  <a:pt x="175" y="152"/>
                  <a:pt x="175" y="152"/>
                </a:cubicBezTo>
                <a:cubicBezTo>
                  <a:pt x="175" y="151"/>
                  <a:pt x="175" y="151"/>
                  <a:pt x="175" y="151"/>
                </a:cubicBezTo>
                <a:cubicBezTo>
                  <a:pt x="175" y="149"/>
                  <a:pt x="175" y="149"/>
                  <a:pt x="175" y="149"/>
                </a:cubicBezTo>
                <a:cubicBezTo>
                  <a:pt x="175" y="148"/>
                  <a:pt x="175" y="148"/>
                  <a:pt x="175" y="148"/>
                </a:cubicBezTo>
                <a:cubicBezTo>
                  <a:pt x="175" y="147"/>
                  <a:pt x="175" y="147"/>
                  <a:pt x="175" y="147"/>
                </a:cubicBezTo>
                <a:cubicBezTo>
                  <a:pt x="174" y="143"/>
                  <a:pt x="174" y="143"/>
                  <a:pt x="174" y="143"/>
                </a:cubicBezTo>
                <a:cubicBezTo>
                  <a:pt x="175" y="144"/>
                  <a:pt x="175" y="144"/>
                  <a:pt x="175" y="144"/>
                </a:cubicBezTo>
                <a:cubicBezTo>
                  <a:pt x="175" y="143"/>
                  <a:pt x="175" y="143"/>
                  <a:pt x="175" y="143"/>
                </a:cubicBezTo>
                <a:cubicBezTo>
                  <a:pt x="173" y="143"/>
                  <a:pt x="173" y="143"/>
                  <a:pt x="173" y="143"/>
                </a:cubicBezTo>
                <a:cubicBezTo>
                  <a:pt x="171" y="142"/>
                  <a:pt x="171" y="142"/>
                  <a:pt x="171" y="142"/>
                </a:cubicBezTo>
                <a:cubicBezTo>
                  <a:pt x="171" y="141"/>
                  <a:pt x="171" y="141"/>
                  <a:pt x="171" y="141"/>
                </a:cubicBezTo>
                <a:cubicBezTo>
                  <a:pt x="172" y="141"/>
                  <a:pt x="172" y="141"/>
                  <a:pt x="172" y="141"/>
                </a:cubicBezTo>
                <a:cubicBezTo>
                  <a:pt x="173" y="140"/>
                  <a:pt x="173" y="140"/>
                  <a:pt x="173" y="140"/>
                </a:cubicBezTo>
                <a:cubicBezTo>
                  <a:pt x="175" y="140"/>
                  <a:pt x="175" y="140"/>
                  <a:pt x="175" y="140"/>
                </a:cubicBezTo>
                <a:cubicBezTo>
                  <a:pt x="175" y="139"/>
                  <a:pt x="175" y="139"/>
                  <a:pt x="175" y="139"/>
                </a:cubicBezTo>
                <a:cubicBezTo>
                  <a:pt x="176" y="139"/>
                  <a:pt x="176" y="139"/>
                  <a:pt x="176" y="139"/>
                </a:cubicBezTo>
                <a:cubicBezTo>
                  <a:pt x="177" y="137"/>
                  <a:pt x="177" y="137"/>
                  <a:pt x="177" y="137"/>
                </a:cubicBezTo>
                <a:cubicBezTo>
                  <a:pt x="178" y="137"/>
                  <a:pt x="178" y="137"/>
                  <a:pt x="178" y="137"/>
                </a:cubicBezTo>
                <a:cubicBezTo>
                  <a:pt x="178" y="135"/>
                  <a:pt x="178" y="135"/>
                  <a:pt x="178" y="135"/>
                </a:cubicBezTo>
                <a:cubicBezTo>
                  <a:pt x="181" y="135"/>
                  <a:pt x="181" y="135"/>
                  <a:pt x="181" y="135"/>
                </a:cubicBezTo>
                <a:cubicBezTo>
                  <a:pt x="181" y="134"/>
                  <a:pt x="181" y="134"/>
                  <a:pt x="181" y="134"/>
                </a:cubicBezTo>
                <a:cubicBezTo>
                  <a:pt x="182" y="134"/>
                  <a:pt x="182" y="134"/>
                  <a:pt x="182" y="134"/>
                </a:cubicBezTo>
                <a:cubicBezTo>
                  <a:pt x="183" y="132"/>
                  <a:pt x="183" y="132"/>
                  <a:pt x="183" y="132"/>
                </a:cubicBezTo>
                <a:cubicBezTo>
                  <a:pt x="183" y="130"/>
                  <a:pt x="183" y="130"/>
                  <a:pt x="183" y="130"/>
                </a:cubicBezTo>
                <a:cubicBezTo>
                  <a:pt x="183" y="131"/>
                  <a:pt x="183" y="131"/>
                  <a:pt x="183" y="131"/>
                </a:cubicBezTo>
                <a:cubicBezTo>
                  <a:pt x="187" y="131"/>
                  <a:pt x="187" y="131"/>
                  <a:pt x="187" y="131"/>
                </a:cubicBezTo>
                <a:cubicBezTo>
                  <a:pt x="187" y="130"/>
                  <a:pt x="187" y="130"/>
                  <a:pt x="187" y="130"/>
                </a:cubicBezTo>
                <a:cubicBezTo>
                  <a:pt x="186" y="128"/>
                  <a:pt x="186" y="128"/>
                  <a:pt x="186" y="128"/>
                </a:cubicBezTo>
                <a:cubicBezTo>
                  <a:pt x="186" y="127"/>
                  <a:pt x="186" y="127"/>
                  <a:pt x="186" y="127"/>
                </a:cubicBezTo>
                <a:cubicBezTo>
                  <a:pt x="187" y="127"/>
                  <a:pt x="187" y="127"/>
                  <a:pt x="187" y="127"/>
                </a:cubicBezTo>
                <a:cubicBezTo>
                  <a:pt x="190" y="124"/>
                  <a:pt x="190" y="124"/>
                  <a:pt x="190" y="124"/>
                </a:cubicBezTo>
                <a:cubicBezTo>
                  <a:pt x="191" y="123"/>
                  <a:pt x="191" y="123"/>
                  <a:pt x="191" y="123"/>
                </a:cubicBezTo>
                <a:cubicBezTo>
                  <a:pt x="194" y="122"/>
                  <a:pt x="194" y="122"/>
                  <a:pt x="194" y="122"/>
                </a:cubicBezTo>
                <a:cubicBezTo>
                  <a:pt x="194" y="121"/>
                  <a:pt x="194" y="121"/>
                  <a:pt x="194" y="121"/>
                </a:cubicBezTo>
                <a:cubicBezTo>
                  <a:pt x="196" y="119"/>
                  <a:pt x="196" y="119"/>
                  <a:pt x="196" y="119"/>
                </a:cubicBezTo>
                <a:cubicBezTo>
                  <a:pt x="198" y="119"/>
                  <a:pt x="198" y="119"/>
                  <a:pt x="198" y="119"/>
                </a:cubicBezTo>
                <a:cubicBezTo>
                  <a:pt x="198" y="118"/>
                  <a:pt x="198" y="118"/>
                  <a:pt x="198" y="118"/>
                </a:cubicBezTo>
                <a:cubicBezTo>
                  <a:pt x="197" y="117"/>
                  <a:pt x="197" y="117"/>
                  <a:pt x="197" y="117"/>
                </a:cubicBezTo>
                <a:cubicBezTo>
                  <a:pt x="198" y="114"/>
                  <a:pt x="198" y="114"/>
                  <a:pt x="198" y="114"/>
                </a:cubicBezTo>
                <a:cubicBezTo>
                  <a:pt x="198" y="113"/>
                  <a:pt x="198" y="113"/>
                  <a:pt x="198" y="113"/>
                </a:cubicBezTo>
                <a:cubicBezTo>
                  <a:pt x="198" y="111"/>
                  <a:pt x="198" y="111"/>
                  <a:pt x="198" y="111"/>
                </a:cubicBezTo>
                <a:cubicBezTo>
                  <a:pt x="198" y="111"/>
                  <a:pt x="198" y="111"/>
                  <a:pt x="198" y="111"/>
                </a:cubicBezTo>
                <a:cubicBezTo>
                  <a:pt x="198" y="110"/>
                  <a:pt x="198" y="110"/>
                  <a:pt x="198" y="110"/>
                </a:cubicBezTo>
                <a:cubicBezTo>
                  <a:pt x="200" y="109"/>
                  <a:pt x="200" y="109"/>
                  <a:pt x="200" y="109"/>
                </a:cubicBezTo>
                <a:cubicBezTo>
                  <a:pt x="201" y="110"/>
                  <a:pt x="201" y="110"/>
                  <a:pt x="201" y="110"/>
                </a:cubicBezTo>
                <a:cubicBezTo>
                  <a:pt x="205" y="109"/>
                  <a:pt x="205" y="109"/>
                  <a:pt x="205" y="109"/>
                </a:cubicBezTo>
                <a:cubicBezTo>
                  <a:pt x="206" y="110"/>
                  <a:pt x="206" y="110"/>
                  <a:pt x="206" y="110"/>
                </a:cubicBezTo>
                <a:cubicBezTo>
                  <a:pt x="210" y="110"/>
                  <a:pt x="210" y="110"/>
                  <a:pt x="210" y="110"/>
                </a:cubicBezTo>
                <a:cubicBezTo>
                  <a:pt x="213" y="109"/>
                  <a:pt x="213" y="109"/>
                  <a:pt x="213" y="109"/>
                </a:cubicBezTo>
                <a:cubicBezTo>
                  <a:pt x="216" y="110"/>
                  <a:pt x="216" y="110"/>
                  <a:pt x="216" y="110"/>
                </a:cubicBezTo>
                <a:cubicBezTo>
                  <a:pt x="216" y="111"/>
                  <a:pt x="216" y="111"/>
                  <a:pt x="216" y="111"/>
                </a:cubicBezTo>
                <a:cubicBezTo>
                  <a:pt x="217" y="112"/>
                  <a:pt x="217" y="112"/>
                  <a:pt x="217" y="112"/>
                </a:cubicBezTo>
                <a:cubicBezTo>
                  <a:pt x="218" y="113"/>
                  <a:pt x="218" y="113"/>
                  <a:pt x="218" y="113"/>
                </a:cubicBezTo>
                <a:cubicBezTo>
                  <a:pt x="221" y="115"/>
                  <a:pt x="221" y="115"/>
                  <a:pt x="221" y="115"/>
                </a:cubicBezTo>
                <a:cubicBezTo>
                  <a:pt x="221" y="116"/>
                  <a:pt x="221" y="116"/>
                  <a:pt x="221" y="116"/>
                </a:cubicBezTo>
                <a:cubicBezTo>
                  <a:pt x="220" y="116"/>
                  <a:pt x="220" y="116"/>
                  <a:pt x="220" y="116"/>
                </a:cubicBezTo>
                <a:cubicBezTo>
                  <a:pt x="221" y="116"/>
                  <a:pt x="221" y="116"/>
                  <a:pt x="221" y="116"/>
                </a:cubicBezTo>
                <a:cubicBezTo>
                  <a:pt x="222" y="116"/>
                  <a:pt x="222" y="116"/>
                  <a:pt x="222" y="116"/>
                </a:cubicBezTo>
                <a:cubicBezTo>
                  <a:pt x="224" y="116"/>
                  <a:pt x="224" y="116"/>
                  <a:pt x="224" y="116"/>
                </a:cubicBezTo>
                <a:cubicBezTo>
                  <a:pt x="223" y="118"/>
                  <a:pt x="223" y="118"/>
                  <a:pt x="223" y="118"/>
                </a:cubicBezTo>
                <a:cubicBezTo>
                  <a:pt x="222" y="120"/>
                  <a:pt x="222" y="120"/>
                  <a:pt x="222" y="120"/>
                </a:cubicBezTo>
                <a:cubicBezTo>
                  <a:pt x="222" y="121"/>
                  <a:pt x="222" y="121"/>
                  <a:pt x="222" y="121"/>
                </a:cubicBezTo>
                <a:cubicBezTo>
                  <a:pt x="224" y="119"/>
                  <a:pt x="224" y="119"/>
                  <a:pt x="224" y="119"/>
                </a:cubicBezTo>
                <a:cubicBezTo>
                  <a:pt x="224" y="118"/>
                  <a:pt x="224" y="118"/>
                  <a:pt x="224" y="118"/>
                </a:cubicBezTo>
                <a:cubicBezTo>
                  <a:pt x="225" y="117"/>
                  <a:pt x="225" y="117"/>
                  <a:pt x="225" y="117"/>
                </a:cubicBezTo>
                <a:cubicBezTo>
                  <a:pt x="227" y="117"/>
                  <a:pt x="227" y="117"/>
                  <a:pt x="227" y="117"/>
                </a:cubicBezTo>
                <a:cubicBezTo>
                  <a:pt x="228" y="116"/>
                  <a:pt x="228" y="116"/>
                  <a:pt x="228" y="116"/>
                </a:cubicBezTo>
                <a:cubicBezTo>
                  <a:pt x="229" y="117"/>
                  <a:pt x="229" y="117"/>
                  <a:pt x="229" y="117"/>
                </a:cubicBezTo>
                <a:cubicBezTo>
                  <a:pt x="229" y="118"/>
                  <a:pt x="229" y="118"/>
                  <a:pt x="229" y="118"/>
                </a:cubicBezTo>
                <a:cubicBezTo>
                  <a:pt x="232" y="120"/>
                  <a:pt x="232" y="120"/>
                  <a:pt x="232" y="120"/>
                </a:cubicBezTo>
                <a:cubicBezTo>
                  <a:pt x="232" y="123"/>
                  <a:pt x="232" y="123"/>
                  <a:pt x="232" y="123"/>
                </a:cubicBezTo>
                <a:cubicBezTo>
                  <a:pt x="232" y="125"/>
                  <a:pt x="232" y="125"/>
                  <a:pt x="232" y="125"/>
                </a:cubicBezTo>
                <a:cubicBezTo>
                  <a:pt x="232" y="127"/>
                  <a:pt x="232" y="127"/>
                  <a:pt x="232" y="127"/>
                </a:cubicBezTo>
                <a:cubicBezTo>
                  <a:pt x="232" y="128"/>
                  <a:pt x="232" y="128"/>
                  <a:pt x="232" y="128"/>
                </a:cubicBezTo>
                <a:cubicBezTo>
                  <a:pt x="232" y="129"/>
                  <a:pt x="232" y="129"/>
                  <a:pt x="232" y="129"/>
                </a:cubicBezTo>
                <a:cubicBezTo>
                  <a:pt x="233" y="130"/>
                  <a:pt x="233" y="130"/>
                  <a:pt x="233" y="130"/>
                </a:cubicBezTo>
                <a:cubicBezTo>
                  <a:pt x="233" y="131"/>
                  <a:pt x="233" y="131"/>
                  <a:pt x="233" y="131"/>
                </a:cubicBezTo>
                <a:cubicBezTo>
                  <a:pt x="233" y="132"/>
                  <a:pt x="233" y="132"/>
                  <a:pt x="233" y="132"/>
                </a:cubicBezTo>
                <a:cubicBezTo>
                  <a:pt x="232" y="134"/>
                  <a:pt x="232" y="134"/>
                  <a:pt x="232" y="134"/>
                </a:cubicBezTo>
                <a:cubicBezTo>
                  <a:pt x="229" y="134"/>
                  <a:pt x="229" y="134"/>
                  <a:pt x="229" y="134"/>
                </a:cubicBezTo>
                <a:cubicBezTo>
                  <a:pt x="228" y="135"/>
                  <a:pt x="228" y="135"/>
                  <a:pt x="228" y="135"/>
                </a:cubicBezTo>
                <a:cubicBezTo>
                  <a:pt x="226" y="135"/>
                  <a:pt x="226" y="135"/>
                  <a:pt x="226" y="135"/>
                </a:cubicBezTo>
                <a:cubicBezTo>
                  <a:pt x="224" y="135"/>
                  <a:pt x="224" y="135"/>
                  <a:pt x="224" y="135"/>
                </a:cubicBezTo>
                <a:cubicBezTo>
                  <a:pt x="220" y="137"/>
                  <a:pt x="220" y="137"/>
                  <a:pt x="220" y="137"/>
                </a:cubicBezTo>
                <a:cubicBezTo>
                  <a:pt x="218" y="137"/>
                  <a:pt x="218" y="137"/>
                  <a:pt x="218" y="137"/>
                </a:cubicBezTo>
                <a:cubicBezTo>
                  <a:pt x="216" y="138"/>
                  <a:pt x="216" y="138"/>
                  <a:pt x="216" y="138"/>
                </a:cubicBezTo>
                <a:cubicBezTo>
                  <a:pt x="214" y="138"/>
                  <a:pt x="214" y="138"/>
                  <a:pt x="214" y="138"/>
                </a:cubicBezTo>
                <a:cubicBezTo>
                  <a:pt x="213" y="139"/>
                  <a:pt x="213" y="139"/>
                  <a:pt x="213" y="139"/>
                </a:cubicBezTo>
                <a:cubicBezTo>
                  <a:pt x="211" y="139"/>
                  <a:pt x="211" y="139"/>
                  <a:pt x="211" y="139"/>
                </a:cubicBezTo>
                <a:cubicBezTo>
                  <a:pt x="210" y="140"/>
                  <a:pt x="210" y="140"/>
                  <a:pt x="210" y="140"/>
                </a:cubicBezTo>
                <a:cubicBezTo>
                  <a:pt x="209" y="139"/>
                  <a:pt x="209" y="139"/>
                  <a:pt x="209" y="139"/>
                </a:cubicBezTo>
                <a:cubicBezTo>
                  <a:pt x="209" y="139"/>
                  <a:pt x="209" y="139"/>
                  <a:pt x="209" y="139"/>
                </a:cubicBezTo>
                <a:cubicBezTo>
                  <a:pt x="207" y="140"/>
                  <a:pt x="207" y="140"/>
                  <a:pt x="207" y="140"/>
                </a:cubicBezTo>
                <a:cubicBezTo>
                  <a:pt x="206" y="141"/>
                  <a:pt x="206" y="141"/>
                  <a:pt x="206" y="141"/>
                </a:cubicBezTo>
                <a:cubicBezTo>
                  <a:pt x="205" y="143"/>
                  <a:pt x="205" y="143"/>
                  <a:pt x="205" y="143"/>
                </a:cubicBezTo>
                <a:cubicBezTo>
                  <a:pt x="204" y="143"/>
                  <a:pt x="204" y="143"/>
                  <a:pt x="204" y="143"/>
                </a:cubicBezTo>
                <a:cubicBezTo>
                  <a:pt x="204" y="145"/>
                  <a:pt x="204" y="145"/>
                  <a:pt x="204" y="145"/>
                </a:cubicBezTo>
                <a:cubicBezTo>
                  <a:pt x="202" y="145"/>
                  <a:pt x="202" y="145"/>
                  <a:pt x="202" y="145"/>
                </a:cubicBezTo>
                <a:cubicBezTo>
                  <a:pt x="201" y="146"/>
                  <a:pt x="201" y="146"/>
                  <a:pt x="201" y="146"/>
                </a:cubicBezTo>
                <a:cubicBezTo>
                  <a:pt x="199" y="146"/>
                  <a:pt x="199" y="146"/>
                  <a:pt x="199" y="146"/>
                </a:cubicBezTo>
                <a:cubicBezTo>
                  <a:pt x="198" y="144"/>
                  <a:pt x="198" y="144"/>
                  <a:pt x="198" y="144"/>
                </a:cubicBezTo>
                <a:cubicBezTo>
                  <a:pt x="197" y="146"/>
                  <a:pt x="197" y="146"/>
                  <a:pt x="197" y="146"/>
                </a:cubicBezTo>
                <a:cubicBezTo>
                  <a:pt x="197" y="147"/>
                  <a:pt x="197" y="147"/>
                  <a:pt x="197" y="147"/>
                </a:cubicBezTo>
                <a:cubicBezTo>
                  <a:pt x="195" y="148"/>
                  <a:pt x="195" y="148"/>
                  <a:pt x="195" y="148"/>
                </a:cubicBezTo>
                <a:cubicBezTo>
                  <a:pt x="194" y="149"/>
                  <a:pt x="194" y="149"/>
                  <a:pt x="194" y="149"/>
                </a:cubicBezTo>
                <a:cubicBezTo>
                  <a:pt x="194" y="150"/>
                  <a:pt x="194" y="150"/>
                  <a:pt x="194" y="150"/>
                </a:cubicBezTo>
                <a:cubicBezTo>
                  <a:pt x="192" y="152"/>
                  <a:pt x="192" y="152"/>
                  <a:pt x="192" y="152"/>
                </a:cubicBezTo>
                <a:cubicBezTo>
                  <a:pt x="192" y="153"/>
                  <a:pt x="192" y="153"/>
                  <a:pt x="192" y="153"/>
                </a:cubicBezTo>
                <a:cubicBezTo>
                  <a:pt x="191" y="155"/>
                  <a:pt x="191" y="155"/>
                  <a:pt x="191" y="155"/>
                </a:cubicBezTo>
                <a:cubicBezTo>
                  <a:pt x="189" y="156"/>
                  <a:pt x="189" y="156"/>
                  <a:pt x="189" y="156"/>
                </a:cubicBezTo>
                <a:cubicBezTo>
                  <a:pt x="188" y="156"/>
                  <a:pt x="188" y="156"/>
                  <a:pt x="188" y="156"/>
                </a:cubicBezTo>
                <a:cubicBezTo>
                  <a:pt x="186" y="157"/>
                  <a:pt x="186" y="157"/>
                  <a:pt x="186" y="157"/>
                </a:cubicBezTo>
                <a:cubicBezTo>
                  <a:pt x="185" y="157"/>
                  <a:pt x="185" y="157"/>
                  <a:pt x="185" y="157"/>
                </a:cubicBezTo>
                <a:cubicBezTo>
                  <a:pt x="184" y="155"/>
                  <a:pt x="184" y="155"/>
                  <a:pt x="184" y="155"/>
                </a:cubicBezTo>
                <a:cubicBezTo>
                  <a:pt x="185" y="155"/>
                  <a:pt x="185" y="155"/>
                  <a:pt x="185" y="155"/>
                </a:cubicBezTo>
                <a:cubicBezTo>
                  <a:pt x="185" y="153"/>
                  <a:pt x="185" y="153"/>
                  <a:pt x="185" y="153"/>
                </a:cubicBezTo>
                <a:cubicBezTo>
                  <a:pt x="184" y="152"/>
                  <a:pt x="184" y="152"/>
                  <a:pt x="184" y="152"/>
                </a:cubicBezTo>
                <a:cubicBezTo>
                  <a:pt x="183" y="153"/>
                  <a:pt x="183" y="153"/>
                  <a:pt x="183" y="153"/>
                </a:cubicBezTo>
                <a:cubicBezTo>
                  <a:pt x="183" y="154"/>
                  <a:pt x="183" y="154"/>
                  <a:pt x="183" y="154"/>
                </a:cubicBezTo>
                <a:cubicBezTo>
                  <a:pt x="183" y="154"/>
                  <a:pt x="183" y="154"/>
                  <a:pt x="183" y="154"/>
                </a:cubicBezTo>
                <a:cubicBezTo>
                  <a:pt x="181" y="156"/>
                  <a:pt x="181" y="156"/>
                  <a:pt x="181" y="156"/>
                </a:cubicBezTo>
                <a:cubicBezTo>
                  <a:pt x="179" y="156"/>
                  <a:pt x="179" y="156"/>
                  <a:pt x="179" y="156"/>
                </a:cubicBezTo>
                <a:cubicBezTo>
                  <a:pt x="178" y="156"/>
                  <a:pt x="178" y="156"/>
                  <a:pt x="178" y="156"/>
                </a:cubicBezTo>
                <a:cubicBezTo>
                  <a:pt x="177" y="157"/>
                  <a:pt x="177" y="157"/>
                  <a:pt x="177" y="157"/>
                </a:cubicBezTo>
                <a:cubicBezTo>
                  <a:pt x="176" y="157"/>
                  <a:pt x="176" y="157"/>
                  <a:pt x="176" y="157"/>
                </a:cubicBezTo>
                <a:cubicBezTo>
                  <a:pt x="175" y="157"/>
                  <a:pt x="175" y="157"/>
                  <a:pt x="175" y="157"/>
                </a:cubicBezTo>
                <a:cubicBezTo>
                  <a:pt x="174" y="157"/>
                  <a:pt x="174" y="157"/>
                  <a:pt x="174" y="157"/>
                </a:cubicBezTo>
                <a:cubicBezTo>
                  <a:pt x="174" y="157"/>
                  <a:pt x="174" y="157"/>
                  <a:pt x="174" y="157"/>
                </a:cubicBezTo>
                <a:close/>
                <a:moveTo>
                  <a:pt x="334" y="138"/>
                </a:moveTo>
                <a:cubicBezTo>
                  <a:pt x="335" y="138"/>
                  <a:pt x="335" y="138"/>
                  <a:pt x="335" y="138"/>
                </a:cubicBezTo>
                <a:cubicBezTo>
                  <a:pt x="335" y="139"/>
                  <a:pt x="335" y="139"/>
                  <a:pt x="335" y="139"/>
                </a:cubicBezTo>
                <a:cubicBezTo>
                  <a:pt x="335" y="140"/>
                  <a:pt x="335" y="140"/>
                  <a:pt x="335" y="140"/>
                </a:cubicBezTo>
                <a:cubicBezTo>
                  <a:pt x="334" y="140"/>
                  <a:pt x="334" y="140"/>
                  <a:pt x="334" y="140"/>
                </a:cubicBezTo>
                <a:cubicBezTo>
                  <a:pt x="334" y="140"/>
                  <a:pt x="334" y="140"/>
                  <a:pt x="334" y="140"/>
                </a:cubicBezTo>
                <a:cubicBezTo>
                  <a:pt x="333" y="138"/>
                  <a:pt x="333" y="138"/>
                  <a:pt x="333" y="138"/>
                </a:cubicBezTo>
                <a:cubicBezTo>
                  <a:pt x="334" y="138"/>
                  <a:pt x="334" y="138"/>
                  <a:pt x="334" y="138"/>
                </a:cubicBezTo>
                <a:close/>
                <a:moveTo>
                  <a:pt x="322" y="138"/>
                </a:moveTo>
                <a:cubicBezTo>
                  <a:pt x="322" y="137"/>
                  <a:pt x="322" y="137"/>
                  <a:pt x="322" y="137"/>
                </a:cubicBezTo>
                <a:cubicBezTo>
                  <a:pt x="324" y="136"/>
                  <a:pt x="324" y="136"/>
                  <a:pt x="324" y="136"/>
                </a:cubicBezTo>
                <a:cubicBezTo>
                  <a:pt x="325" y="137"/>
                  <a:pt x="325" y="137"/>
                  <a:pt x="325" y="137"/>
                </a:cubicBezTo>
                <a:cubicBezTo>
                  <a:pt x="324" y="137"/>
                  <a:pt x="324" y="137"/>
                  <a:pt x="324" y="137"/>
                </a:cubicBezTo>
                <a:cubicBezTo>
                  <a:pt x="324" y="137"/>
                  <a:pt x="324" y="137"/>
                  <a:pt x="324" y="137"/>
                </a:cubicBezTo>
                <a:cubicBezTo>
                  <a:pt x="323" y="138"/>
                  <a:pt x="323" y="138"/>
                  <a:pt x="323" y="138"/>
                </a:cubicBezTo>
                <a:cubicBezTo>
                  <a:pt x="322" y="138"/>
                  <a:pt x="322" y="138"/>
                  <a:pt x="322" y="138"/>
                </a:cubicBezTo>
                <a:close/>
                <a:moveTo>
                  <a:pt x="310" y="145"/>
                </a:moveTo>
                <a:cubicBezTo>
                  <a:pt x="310" y="146"/>
                  <a:pt x="310" y="146"/>
                  <a:pt x="310" y="146"/>
                </a:cubicBezTo>
                <a:cubicBezTo>
                  <a:pt x="312" y="146"/>
                  <a:pt x="312" y="146"/>
                  <a:pt x="312" y="146"/>
                </a:cubicBezTo>
                <a:cubicBezTo>
                  <a:pt x="313" y="147"/>
                  <a:pt x="313" y="147"/>
                  <a:pt x="313" y="147"/>
                </a:cubicBezTo>
                <a:cubicBezTo>
                  <a:pt x="314" y="147"/>
                  <a:pt x="314" y="147"/>
                  <a:pt x="314" y="147"/>
                </a:cubicBezTo>
                <a:cubicBezTo>
                  <a:pt x="315" y="147"/>
                  <a:pt x="315" y="147"/>
                  <a:pt x="315" y="147"/>
                </a:cubicBezTo>
                <a:cubicBezTo>
                  <a:pt x="317" y="146"/>
                  <a:pt x="317" y="146"/>
                  <a:pt x="317" y="146"/>
                </a:cubicBezTo>
                <a:cubicBezTo>
                  <a:pt x="318" y="147"/>
                  <a:pt x="318" y="147"/>
                  <a:pt x="318" y="147"/>
                </a:cubicBezTo>
                <a:cubicBezTo>
                  <a:pt x="318" y="146"/>
                  <a:pt x="318" y="146"/>
                  <a:pt x="318" y="146"/>
                </a:cubicBezTo>
                <a:cubicBezTo>
                  <a:pt x="319" y="146"/>
                  <a:pt x="319" y="146"/>
                  <a:pt x="319" y="146"/>
                </a:cubicBezTo>
                <a:cubicBezTo>
                  <a:pt x="321" y="146"/>
                  <a:pt x="321" y="146"/>
                  <a:pt x="321" y="146"/>
                </a:cubicBezTo>
                <a:cubicBezTo>
                  <a:pt x="321" y="145"/>
                  <a:pt x="321" y="145"/>
                  <a:pt x="321" y="145"/>
                </a:cubicBezTo>
                <a:cubicBezTo>
                  <a:pt x="319" y="144"/>
                  <a:pt x="319" y="144"/>
                  <a:pt x="319" y="144"/>
                </a:cubicBezTo>
                <a:cubicBezTo>
                  <a:pt x="318" y="144"/>
                  <a:pt x="318" y="144"/>
                  <a:pt x="318" y="144"/>
                </a:cubicBezTo>
                <a:cubicBezTo>
                  <a:pt x="316" y="144"/>
                  <a:pt x="316" y="144"/>
                  <a:pt x="316" y="144"/>
                </a:cubicBezTo>
                <a:cubicBezTo>
                  <a:pt x="316" y="144"/>
                  <a:pt x="316" y="144"/>
                  <a:pt x="316" y="144"/>
                </a:cubicBezTo>
                <a:cubicBezTo>
                  <a:pt x="315" y="145"/>
                  <a:pt x="315" y="145"/>
                  <a:pt x="315" y="145"/>
                </a:cubicBezTo>
                <a:cubicBezTo>
                  <a:pt x="313" y="144"/>
                  <a:pt x="313" y="144"/>
                  <a:pt x="313" y="144"/>
                </a:cubicBezTo>
                <a:cubicBezTo>
                  <a:pt x="312" y="145"/>
                  <a:pt x="312" y="145"/>
                  <a:pt x="312" y="145"/>
                </a:cubicBezTo>
                <a:cubicBezTo>
                  <a:pt x="310" y="145"/>
                  <a:pt x="310" y="145"/>
                  <a:pt x="310" y="145"/>
                </a:cubicBezTo>
                <a:cubicBezTo>
                  <a:pt x="310" y="145"/>
                  <a:pt x="310" y="145"/>
                  <a:pt x="310" y="145"/>
                </a:cubicBezTo>
                <a:close/>
                <a:moveTo>
                  <a:pt x="303" y="189"/>
                </a:moveTo>
                <a:cubicBezTo>
                  <a:pt x="302" y="188"/>
                  <a:pt x="302" y="188"/>
                  <a:pt x="302" y="188"/>
                </a:cubicBezTo>
                <a:cubicBezTo>
                  <a:pt x="303" y="188"/>
                  <a:pt x="303" y="188"/>
                  <a:pt x="303" y="188"/>
                </a:cubicBezTo>
                <a:cubicBezTo>
                  <a:pt x="303" y="187"/>
                  <a:pt x="303" y="187"/>
                  <a:pt x="303" y="187"/>
                </a:cubicBezTo>
                <a:cubicBezTo>
                  <a:pt x="303" y="188"/>
                  <a:pt x="303" y="188"/>
                  <a:pt x="303" y="188"/>
                </a:cubicBezTo>
                <a:cubicBezTo>
                  <a:pt x="303" y="189"/>
                  <a:pt x="303" y="189"/>
                  <a:pt x="303" y="189"/>
                </a:cubicBezTo>
                <a:close/>
                <a:moveTo>
                  <a:pt x="295" y="187"/>
                </a:moveTo>
                <a:cubicBezTo>
                  <a:pt x="294" y="187"/>
                  <a:pt x="294" y="187"/>
                  <a:pt x="294" y="187"/>
                </a:cubicBezTo>
                <a:cubicBezTo>
                  <a:pt x="294" y="185"/>
                  <a:pt x="294" y="185"/>
                  <a:pt x="294" y="185"/>
                </a:cubicBezTo>
                <a:cubicBezTo>
                  <a:pt x="294" y="185"/>
                  <a:pt x="294" y="185"/>
                  <a:pt x="294" y="185"/>
                </a:cubicBezTo>
                <a:cubicBezTo>
                  <a:pt x="293" y="186"/>
                  <a:pt x="293" y="186"/>
                  <a:pt x="293" y="186"/>
                </a:cubicBezTo>
                <a:cubicBezTo>
                  <a:pt x="293" y="185"/>
                  <a:pt x="293" y="185"/>
                  <a:pt x="293" y="185"/>
                </a:cubicBezTo>
                <a:cubicBezTo>
                  <a:pt x="293" y="184"/>
                  <a:pt x="293" y="184"/>
                  <a:pt x="293" y="184"/>
                </a:cubicBezTo>
                <a:cubicBezTo>
                  <a:pt x="293" y="182"/>
                  <a:pt x="293" y="182"/>
                  <a:pt x="293" y="182"/>
                </a:cubicBezTo>
                <a:cubicBezTo>
                  <a:pt x="292" y="181"/>
                  <a:pt x="292" y="181"/>
                  <a:pt x="292" y="181"/>
                </a:cubicBezTo>
                <a:cubicBezTo>
                  <a:pt x="293" y="180"/>
                  <a:pt x="293" y="180"/>
                  <a:pt x="293" y="180"/>
                </a:cubicBezTo>
                <a:cubicBezTo>
                  <a:pt x="293" y="178"/>
                  <a:pt x="293" y="178"/>
                  <a:pt x="293" y="178"/>
                </a:cubicBezTo>
                <a:cubicBezTo>
                  <a:pt x="293" y="177"/>
                  <a:pt x="293" y="177"/>
                  <a:pt x="293" y="177"/>
                </a:cubicBezTo>
                <a:cubicBezTo>
                  <a:pt x="292" y="177"/>
                  <a:pt x="292" y="177"/>
                  <a:pt x="292" y="177"/>
                </a:cubicBezTo>
                <a:cubicBezTo>
                  <a:pt x="292" y="176"/>
                  <a:pt x="292" y="176"/>
                  <a:pt x="292" y="176"/>
                </a:cubicBezTo>
                <a:cubicBezTo>
                  <a:pt x="292" y="175"/>
                  <a:pt x="292" y="175"/>
                  <a:pt x="292" y="175"/>
                </a:cubicBezTo>
                <a:cubicBezTo>
                  <a:pt x="290" y="174"/>
                  <a:pt x="290" y="174"/>
                  <a:pt x="290" y="174"/>
                </a:cubicBezTo>
                <a:cubicBezTo>
                  <a:pt x="291" y="172"/>
                  <a:pt x="291" y="172"/>
                  <a:pt x="291" y="172"/>
                </a:cubicBezTo>
                <a:cubicBezTo>
                  <a:pt x="290" y="170"/>
                  <a:pt x="290" y="170"/>
                  <a:pt x="290" y="170"/>
                </a:cubicBezTo>
                <a:cubicBezTo>
                  <a:pt x="289" y="170"/>
                  <a:pt x="289" y="170"/>
                  <a:pt x="289" y="170"/>
                </a:cubicBezTo>
                <a:cubicBezTo>
                  <a:pt x="289" y="170"/>
                  <a:pt x="289" y="170"/>
                  <a:pt x="289" y="170"/>
                </a:cubicBezTo>
                <a:cubicBezTo>
                  <a:pt x="289" y="168"/>
                  <a:pt x="289" y="168"/>
                  <a:pt x="289" y="168"/>
                </a:cubicBezTo>
                <a:cubicBezTo>
                  <a:pt x="288" y="168"/>
                  <a:pt x="288" y="168"/>
                  <a:pt x="288" y="168"/>
                </a:cubicBezTo>
                <a:cubicBezTo>
                  <a:pt x="287" y="168"/>
                  <a:pt x="287" y="168"/>
                  <a:pt x="287" y="168"/>
                </a:cubicBezTo>
                <a:cubicBezTo>
                  <a:pt x="287" y="168"/>
                  <a:pt x="287" y="168"/>
                  <a:pt x="287" y="168"/>
                </a:cubicBezTo>
                <a:cubicBezTo>
                  <a:pt x="286" y="168"/>
                  <a:pt x="286" y="168"/>
                  <a:pt x="286" y="168"/>
                </a:cubicBezTo>
                <a:cubicBezTo>
                  <a:pt x="285" y="168"/>
                  <a:pt x="285" y="168"/>
                  <a:pt x="285" y="168"/>
                </a:cubicBezTo>
                <a:cubicBezTo>
                  <a:pt x="285" y="166"/>
                  <a:pt x="285" y="166"/>
                  <a:pt x="285" y="166"/>
                </a:cubicBezTo>
                <a:cubicBezTo>
                  <a:pt x="286" y="165"/>
                  <a:pt x="286" y="165"/>
                  <a:pt x="286" y="165"/>
                </a:cubicBezTo>
                <a:cubicBezTo>
                  <a:pt x="287" y="164"/>
                  <a:pt x="287" y="164"/>
                  <a:pt x="287" y="164"/>
                </a:cubicBezTo>
                <a:cubicBezTo>
                  <a:pt x="286" y="163"/>
                  <a:pt x="286" y="163"/>
                  <a:pt x="286" y="163"/>
                </a:cubicBezTo>
                <a:cubicBezTo>
                  <a:pt x="286" y="162"/>
                  <a:pt x="286" y="162"/>
                  <a:pt x="286" y="162"/>
                </a:cubicBezTo>
                <a:cubicBezTo>
                  <a:pt x="286" y="160"/>
                  <a:pt x="286" y="160"/>
                  <a:pt x="286" y="160"/>
                </a:cubicBezTo>
                <a:cubicBezTo>
                  <a:pt x="286" y="159"/>
                  <a:pt x="286" y="159"/>
                  <a:pt x="286" y="159"/>
                </a:cubicBezTo>
                <a:cubicBezTo>
                  <a:pt x="287" y="157"/>
                  <a:pt x="287" y="157"/>
                  <a:pt x="287" y="157"/>
                </a:cubicBezTo>
                <a:cubicBezTo>
                  <a:pt x="289" y="157"/>
                  <a:pt x="289" y="157"/>
                  <a:pt x="289" y="157"/>
                </a:cubicBezTo>
                <a:cubicBezTo>
                  <a:pt x="289" y="156"/>
                  <a:pt x="289" y="156"/>
                  <a:pt x="289" y="156"/>
                </a:cubicBezTo>
                <a:cubicBezTo>
                  <a:pt x="290" y="156"/>
                  <a:pt x="290" y="156"/>
                  <a:pt x="290" y="156"/>
                </a:cubicBezTo>
                <a:cubicBezTo>
                  <a:pt x="290" y="156"/>
                  <a:pt x="290" y="156"/>
                  <a:pt x="290" y="156"/>
                </a:cubicBezTo>
                <a:cubicBezTo>
                  <a:pt x="292" y="156"/>
                  <a:pt x="292" y="156"/>
                  <a:pt x="292" y="156"/>
                </a:cubicBezTo>
                <a:cubicBezTo>
                  <a:pt x="293" y="156"/>
                  <a:pt x="293" y="156"/>
                  <a:pt x="293" y="156"/>
                </a:cubicBezTo>
                <a:cubicBezTo>
                  <a:pt x="294" y="157"/>
                  <a:pt x="294" y="157"/>
                  <a:pt x="294" y="157"/>
                </a:cubicBezTo>
                <a:cubicBezTo>
                  <a:pt x="293" y="157"/>
                  <a:pt x="293" y="157"/>
                  <a:pt x="293" y="157"/>
                </a:cubicBezTo>
                <a:cubicBezTo>
                  <a:pt x="293" y="158"/>
                  <a:pt x="293" y="158"/>
                  <a:pt x="293" y="158"/>
                </a:cubicBezTo>
                <a:cubicBezTo>
                  <a:pt x="292" y="158"/>
                  <a:pt x="292" y="158"/>
                  <a:pt x="292" y="158"/>
                </a:cubicBezTo>
                <a:cubicBezTo>
                  <a:pt x="293" y="158"/>
                  <a:pt x="293" y="158"/>
                  <a:pt x="293" y="158"/>
                </a:cubicBezTo>
                <a:cubicBezTo>
                  <a:pt x="294" y="159"/>
                  <a:pt x="294" y="159"/>
                  <a:pt x="294" y="159"/>
                </a:cubicBezTo>
                <a:cubicBezTo>
                  <a:pt x="294" y="160"/>
                  <a:pt x="294" y="160"/>
                  <a:pt x="294" y="160"/>
                </a:cubicBezTo>
                <a:cubicBezTo>
                  <a:pt x="295" y="162"/>
                  <a:pt x="295" y="162"/>
                  <a:pt x="295" y="162"/>
                </a:cubicBezTo>
                <a:cubicBezTo>
                  <a:pt x="295" y="163"/>
                  <a:pt x="295" y="163"/>
                  <a:pt x="295" y="163"/>
                </a:cubicBezTo>
                <a:cubicBezTo>
                  <a:pt x="296" y="164"/>
                  <a:pt x="296" y="164"/>
                  <a:pt x="296" y="164"/>
                </a:cubicBezTo>
                <a:cubicBezTo>
                  <a:pt x="297" y="164"/>
                  <a:pt x="297" y="164"/>
                  <a:pt x="297" y="164"/>
                </a:cubicBezTo>
                <a:cubicBezTo>
                  <a:pt x="298" y="164"/>
                  <a:pt x="298" y="164"/>
                  <a:pt x="298" y="164"/>
                </a:cubicBezTo>
                <a:cubicBezTo>
                  <a:pt x="297" y="163"/>
                  <a:pt x="297" y="163"/>
                  <a:pt x="297" y="163"/>
                </a:cubicBezTo>
                <a:cubicBezTo>
                  <a:pt x="298" y="162"/>
                  <a:pt x="298" y="162"/>
                  <a:pt x="298" y="162"/>
                </a:cubicBezTo>
                <a:cubicBezTo>
                  <a:pt x="299" y="161"/>
                  <a:pt x="299" y="161"/>
                  <a:pt x="299" y="161"/>
                </a:cubicBezTo>
                <a:cubicBezTo>
                  <a:pt x="299" y="160"/>
                  <a:pt x="299" y="160"/>
                  <a:pt x="299" y="160"/>
                </a:cubicBezTo>
                <a:cubicBezTo>
                  <a:pt x="300" y="159"/>
                  <a:pt x="300" y="159"/>
                  <a:pt x="300" y="159"/>
                </a:cubicBezTo>
                <a:cubicBezTo>
                  <a:pt x="300" y="158"/>
                  <a:pt x="300" y="158"/>
                  <a:pt x="300" y="158"/>
                </a:cubicBezTo>
                <a:cubicBezTo>
                  <a:pt x="299" y="157"/>
                  <a:pt x="299" y="157"/>
                  <a:pt x="299" y="157"/>
                </a:cubicBezTo>
                <a:cubicBezTo>
                  <a:pt x="300" y="157"/>
                  <a:pt x="300" y="157"/>
                  <a:pt x="300" y="157"/>
                </a:cubicBezTo>
                <a:cubicBezTo>
                  <a:pt x="301" y="156"/>
                  <a:pt x="301" y="156"/>
                  <a:pt x="301" y="156"/>
                </a:cubicBezTo>
                <a:cubicBezTo>
                  <a:pt x="302" y="157"/>
                  <a:pt x="302" y="157"/>
                  <a:pt x="302" y="157"/>
                </a:cubicBezTo>
                <a:cubicBezTo>
                  <a:pt x="302" y="158"/>
                  <a:pt x="302" y="158"/>
                  <a:pt x="302" y="158"/>
                </a:cubicBezTo>
                <a:cubicBezTo>
                  <a:pt x="303" y="158"/>
                  <a:pt x="303" y="158"/>
                  <a:pt x="303" y="158"/>
                </a:cubicBezTo>
                <a:cubicBezTo>
                  <a:pt x="303" y="157"/>
                  <a:pt x="303" y="157"/>
                  <a:pt x="303" y="157"/>
                </a:cubicBezTo>
                <a:cubicBezTo>
                  <a:pt x="302" y="156"/>
                  <a:pt x="302" y="156"/>
                  <a:pt x="302" y="156"/>
                </a:cubicBezTo>
                <a:cubicBezTo>
                  <a:pt x="302" y="155"/>
                  <a:pt x="302" y="155"/>
                  <a:pt x="302" y="155"/>
                </a:cubicBezTo>
                <a:cubicBezTo>
                  <a:pt x="301" y="155"/>
                  <a:pt x="301" y="155"/>
                  <a:pt x="301" y="155"/>
                </a:cubicBezTo>
                <a:cubicBezTo>
                  <a:pt x="301" y="156"/>
                  <a:pt x="301" y="156"/>
                  <a:pt x="301" y="156"/>
                </a:cubicBezTo>
                <a:cubicBezTo>
                  <a:pt x="299" y="156"/>
                  <a:pt x="299" y="156"/>
                  <a:pt x="299" y="156"/>
                </a:cubicBezTo>
                <a:cubicBezTo>
                  <a:pt x="298" y="154"/>
                  <a:pt x="298" y="154"/>
                  <a:pt x="298" y="154"/>
                </a:cubicBezTo>
                <a:cubicBezTo>
                  <a:pt x="298" y="154"/>
                  <a:pt x="298" y="154"/>
                  <a:pt x="298" y="154"/>
                </a:cubicBezTo>
                <a:cubicBezTo>
                  <a:pt x="297" y="152"/>
                  <a:pt x="297" y="152"/>
                  <a:pt x="297" y="152"/>
                </a:cubicBezTo>
                <a:cubicBezTo>
                  <a:pt x="297" y="151"/>
                  <a:pt x="297" y="151"/>
                  <a:pt x="297" y="151"/>
                </a:cubicBezTo>
                <a:cubicBezTo>
                  <a:pt x="298" y="150"/>
                  <a:pt x="298" y="150"/>
                  <a:pt x="298" y="150"/>
                </a:cubicBezTo>
                <a:cubicBezTo>
                  <a:pt x="299" y="150"/>
                  <a:pt x="299" y="150"/>
                  <a:pt x="299" y="150"/>
                </a:cubicBezTo>
                <a:cubicBezTo>
                  <a:pt x="299" y="149"/>
                  <a:pt x="299" y="149"/>
                  <a:pt x="299" y="149"/>
                </a:cubicBezTo>
                <a:cubicBezTo>
                  <a:pt x="300" y="150"/>
                  <a:pt x="300" y="150"/>
                  <a:pt x="300" y="150"/>
                </a:cubicBezTo>
                <a:cubicBezTo>
                  <a:pt x="301" y="151"/>
                  <a:pt x="301" y="151"/>
                  <a:pt x="301" y="151"/>
                </a:cubicBezTo>
                <a:cubicBezTo>
                  <a:pt x="301" y="153"/>
                  <a:pt x="301" y="153"/>
                  <a:pt x="301" y="153"/>
                </a:cubicBezTo>
                <a:cubicBezTo>
                  <a:pt x="302" y="153"/>
                  <a:pt x="302" y="153"/>
                  <a:pt x="302" y="153"/>
                </a:cubicBezTo>
                <a:cubicBezTo>
                  <a:pt x="302" y="152"/>
                  <a:pt x="302" y="152"/>
                  <a:pt x="302" y="152"/>
                </a:cubicBezTo>
                <a:cubicBezTo>
                  <a:pt x="302" y="151"/>
                  <a:pt x="302" y="151"/>
                  <a:pt x="302" y="151"/>
                </a:cubicBezTo>
                <a:cubicBezTo>
                  <a:pt x="302" y="150"/>
                  <a:pt x="302" y="150"/>
                  <a:pt x="302" y="150"/>
                </a:cubicBezTo>
                <a:cubicBezTo>
                  <a:pt x="301" y="150"/>
                  <a:pt x="301" y="150"/>
                  <a:pt x="301" y="150"/>
                </a:cubicBezTo>
                <a:cubicBezTo>
                  <a:pt x="301" y="148"/>
                  <a:pt x="301" y="148"/>
                  <a:pt x="301" y="148"/>
                </a:cubicBezTo>
                <a:cubicBezTo>
                  <a:pt x="301" y="147"/>
                  <a:pt x="301" y="147"/>
                  <a:pt x="301" y="147"/>
                </a:cubicBezTo>
                <a:cubicBezTo>
                  <a:pt x="301" y="147"/>
                  <a:pt x="301" y="147"/>
                  <a:pt x="301" y="147"/>
                </a:cubicBezTo>
                <a:cubicBezTo>
                  <a:pt x="302" y="146"/>
                  <a:pt x="302" y="146"/>
                  <a:pt x="302" y="146"/>
                </a:cubicBezTo>
                <a:cubicBezTo>
                  <a:pt x="303" y="145"/>
                  <a:pt x="303" y="145"/>
                  <a:pt x="303" y="145"/>
                </a:cubicBezTo>
                <a:cubicBezTo>
                  <a:pt x="304" y="145"/>
                  <a:pt x="304" y="145"/>
                  <a:pt x="304" y="145"/>
                </a:cubicBezTo>
                <a:cubicBezTo>
                  <a:pt x="304" y="145"/>
                  <a:pt x="304" y="145"/>
                  <a:pt x="304" y="145"/>
                </a:cubicBezTo>
                <a:cubicBezTo>
                  <a:pt x="305" y="147"/>
                  <a:pt x="305" y="147"/>
                  <a:pt x="305" y="147"/>
                </a:cubicBezTo>
                <a:cubicBezTo>
                  <a:pt x="307" y="147"/>
                  <a:pt x="307" y="147"/>
                  <a:pt x="307" y="147"/>
                </a:cubicBezTo>
                <a:cubicBezTo>
                  <a:pt x="307" y="146"/>
                  <a:pt x="307" y="146"/>
                  <a:pt x="307" y="146"/>
                </a:cubicBezTo>
                <a:cubicBezTo>
                  <a:pt x="306" y="146"/>
                  <a:pt x="306" y="146"/>
                  <a:pt x="306" y="146"/>
                </a:cubicBezTo>
                <a:cubicBezTo>
                  <a:pt x="305" y="145"/>
                  <a:pt x="305" y="145"/>
                  <a:pt x="305" y="145"/>
                </a:cubicBezTo>
                <a:cubicBezTo>
                  <a:pt x="306" y="145"/>
                  <a:pt x="306" y="145"/>
                  <a:pt x="306" y="145"/>
                </a:cubicBezTo>
                <a:cubicBezTo>
                  <a:pt x="307" y="144"/>
                  <a:pt x="307" y="144"/>
                  <a:pt x="307" y="144"/>
                </a:cubicBezTo>
                <a:cubicBezTo>
                  <a:pt x="309" y="145"/>
                  <a:pt x="309" y="145"/>
                  <a:pt x="309" y="145"/>
                </a:cubicBezTo>
                <a:cubicBezTo>
                  <a:pt x="309" y="145"/>
                  <a:pt x="309" y="145"/>
                  <a:pt x="309" y="145"/>
                </a:cubicBezTo>
                <a:cubicBezTo>
                  <a:pt x="308" y="146"/>
                  <a:pt x="308" y="146"/>
                  <a:pt x="308" y="146"/>
                </a:cubicBezTo>
                <a:cubicBezTo>
                  <a:pt x="308" y="146"/>
                  <a:pt x="308" y="146"/>
                  <a:pt x="308" y="146"/>
                </a:cubicBezTo>
                <a:cubicBezTo>
                  <a:pt x="309" y="147"/>
                  <a:pt x="309" y="147"/>
                  <a:pt x="309" y="147"/>
                </a:cubicBezTo>
                <a:cubicBezTo>
                  <a:pt x="310" y="148"/>
                  <a:pt x="310" y="148"/>
                  <a:pt x="310" y="148"/>
                </a:cubicBezTo>
                <a:cubicBezTo>
                  <a:pt x="311" y="148"/>
                  <a:pt x="311" y="148"/>
                  <a:pt x="311" y="148"/>
                </a:cubicBezTo>
                <a:cubicBezTo>
                  <a:pt x="312" y="148"/>
                  <a:pt x="312" y="148"/>
                  <a:pt x="312" y="148"/>
                </a:cubicBezTo>
                <a:cubicBezTo>
                  <a:pt x="314" y="148"/>
                  <a:pt x="314" y="148"/>
                  <a:pt x="314" y="148"/>
                </a:cubicBezTo>
                <a:cubicBezTo>
                  <a:pt x="315" y="148"/>
                  <a:pt x="315" y="148"/>
                  <a:pt x="315" y="148"/>
                </a:cubicBezTo>
                <a:cubicBezTo>
                  <a:pt x="315" y="148"/>
                  <a:pt x="315" y="148"/>
                  <a:pt x="315" y="148"/>
                </a:cubicBezTo>
                <a:cubicBezTo>
                  <a:pt x="318" y="148"/>
                  <a:pt x="318" y="148"/>
                  <a:pt x="318" y="148"/>
                </a:cubicBezTo>
                <a:cubicBezTo>
                  <a:pt x="319" y="149"/>
                  <a:pt x="319" y="149"/>
                  <a:pt x="319" y="149"/>
                </a:cubicBezTo>
                <a:cubicBezTo>
                  <a:pt x="320" y="149"/>
                  <a:pt x="320" y="149"/>
                  <a:pt x="320" y="149"/>
                </a:cubicBezTo>
                <a:cubicBezTo>
                  <a:pt x="320" y="150"/>
                  <a:pt x="320" y="150"/>
                  <a:pt x="320" y="150"/>
                </a:cubicBezTo>
                <a:cubicBezTo>
                  <a:pt x="320" y="150"/>
                  <a:pt x="320" y="150"/>
                  <a:pt x="320" y="150"/>
                </a:cubicBezTo>
                <a:cubicBezTo>
                  <a:pt x="321" y="151"/>
                  <a:pt x="321" y="151"/>
                  <a:pt x="321" y="151"/>
                </a:cubicBezTo>
                <a:cubicBezTo>
                  <a:pt x="320" y="152"/>
                  <a:pt x="320" y="152"/>
                  <a:pt x="320" y="152"/>
                </a:cubicBezTo>
                <a:cubicBezTo>
                  <a:pt x="318" y="153"/>
                  <a:pt x="318" y="153"/>
                  <a:pt x="318" y="153"/>
                </a:cubicBezTo>
                <a:cubicBezTo>
                  <a:pt x="317" y="153"/>
                  <a:pt x="317" y="153"/>
                  <a:pt x="317" y="153"/>
                </a:cubicBezTo>
                <a:cubicBezTo>
                  <a:pt x="317" y="152"/>
                  <a:pt x="317" y="152"/>
                  <a:pt x="317" y="152"/>
                </a:cubicBezTo>
                <a:cubicBezTo>
                  <a:pt x="317" y="153"/>
                  <a:pt x="317" y="153"/>
                  <a:pt x="317" y="153"/>
                </a:cubicBezTo>
                <a:cubicBezTo>
                  <a:pt x="316" y="153"/>
                  <a:pt x="316" y="153"/>
                  <a:pt x="316" y="153"/>
                </a:cubicBezTo>
                <a:cubicBezTo>
                  <a:pt x="316" y="154"/>
                  <a:pt x="316" y="154"/>
                  <a:pt x="316" y="154"/>
                </a:cubicBezTo>
                <a:cubicBezTo>
                  <a:pt x="317" y="155"/>
                  <a:pt x="317" y="155"/>
                  <a:pt x="317" y="155"/>
                </a:cubicBezTo>
                <a:cubicBezTo>
                  <a:pt x="317" y="155"/>
                  <a:pt x="317" y="155"/>
                  <a:pt x="317" y="155"/>
                </a:cubicBezTo>
                <a:cubicBezTo>
                  <a:pt x="317" y="157"/>
                  <a:pt x="317" y="157"/>
                  <a:pt x="317" y="157"/>
                </a:cubicBezTo>
                <a:cubicBezTo>
                  <a:pt x="316" y="157"/>
                  <a:pt x="316" y="157"/>
                  <a:pt x="316" y="157"/>
                </a:cubicBezTo>
                <a:cubicBezTo>
                  <a:pt x="316" y="157"/>
                  <a:pt x="316" y="157"/>
                  <a:pt x="316" y="157"/>
                </a:cubicBezTo>
                <a:cubicBezTo>
                  <a:pt x="315" y="157"/>
                  <a:pt x="315" y="157"/>
                  <a:pt x="315" y="157"/>
                </a:cubicBezTo>
                <a:cubicBezTo>
                  <a:pt x="313" y="157"/>
                  <a:pt x="313" y="157"/>
                  <a:pt x="313" y="157"/>
                </a:cubicBezTo>
                <a:cubicBezTo>
                  <a:pt x="313" y="158"/>
                  <a:pt x="313" y="158"/>
                  <a:pt x="313" y="158"/>
                </a:cubicBezTo>
                <a:cubicBezTo>
                  <a:pt x="311" y="159"/>
                  <a:pt x="311" y="159"/>
                  <a:pt x="311" y="159"/>
                </a:cubicBezTo>
                <a:cubicBezTo>
                  <a:pt x="309" y="160"/>
                  <a:pt x="309" y="160"/>
                  <a:pt x="309" y="160"/>
                </a:cubicBezTo>
                <a:cubicBezTo>
                  <a:pt x="308" y="160"/>
                  <a:pt x="308" y="160"/>
                  <a:pt x="308" y="160"/>
                </a:cubicBezTo>
                <a:cubicBezTo>
                  <a:pt x="307" y="161"/>
                  <a:pt x="307" y="161"/>
                  <a:pt x="307" y="161"/>
                </a:cubicBezTo>
                <a:cubicBezTo>
                  <a:pt x="307" y="162"/>
                  <a:pt x="307" y="162"/>
                  <a:pt x="307" y="162"/>
                </a:cubicBezTo>
                <a:cubicBezTo>
                  <a:pt x="308" y="162"/>
                  <a:pt x="308" y="162"/>
                  <a:pt x="308" y="162"/>
                </a:cubicBezTo>
                <a:cubicBezTo>
                  <a:pt x="309" y="161"/>
                  <a:pt x="309" y="161"/>
                  <a:pt x="309" y="161"/>
                </a:cubicBezTo>
                <a:cubicBezTo>
                  <a:pt x="310" y="161"/>
                  <a:pt x="310" y="161"/>
                  <a:pt x="310" y="161"/>
                </a:cubicBezTo>
                <a:cubicBezTo>
                  <a:pt x="311" y="161"/>
                  <a:pt x="311" y="161"/>
                  <a:pt x="311" y="161"/>
                </a:cubicBezTo>
                <a:cubicBezTo>
                  <a:pt x="313" y="162"/>
                  <a:pt x="313" y="162"/>
                  <a:pt x="313" y="162"/>
                </a:cubicBezTo>
                <a:cubicBezTo>
                  <a:pt x="313" y="163"/>
                  <a:pt x="313" y="163"/>
                  <a:pt x="313" y="163"/>
                </a:cubicBezTo>
                <a:cubicBezTo>
                  <a:pt x="313" y="164"/>
                  <a:pt x="313" y="164"/>
                  <a:pt x="313" y="164"/>
                </a:cubicBezTo>
                <a:cubicBezTo>
                  <a:pt x="312" y="164"/>
                  <a:pt x="312" y="164"/>
                  <a:pt x="312" y="164"/>
                </a:cubicBezTo>
                <a:cubicBezTo>
                  <a:pt x="313" y="164"/>
                  <a:pt x="313" y="164"/>
                  <a:pt x="313" y="164"/>
                </a:cubicBezTo>
                <a:cubicBezTo>
                  <a:pt x="313" y="165"/>
                  <a:pt x="313" y="165"/>
                  <a:pt x="313" y="165"/>
                </a:cubicBezTo>
                <a:cubicBezTo>
                  <a:pt x="313" y="166"/>
                  <a:pt x="313" y="166"/>
                  <a:pt x="313" y="166"/>
                </a:cubicBezTo>
                <a:cubicBezTo>
                  <a:pt x="312" y="167"/>
                  <a:pt x="312" y="167"/>
                  <a:pt x="312" y="167"/>
                </a:cubicBezTo>
                <a:cubicBezTo>
                  <a:pt x="312" y="168"/>
                  <a:pt x="312" y="168"/>
                  <a:pt x="312" y="168"/>
                </a:cubicBezTo>
                <a:cubicBezTo>
                  <a:pt x="312" y="169"/>
                  <a:pt x="312" y="169"/>
                  <a:pt x="312" y="169"/>
                </a:cubicBezTo>
                <a:cubicBezTo>
                  <a:pt x="313" y="167"/>
                  <a:pt x="313" y="167"/>
                  <a:pt x="313" y="167"/>
                </a:cubicBezTo>
                <a:cubicBezTo>
                  <a:pt x="315" y="167"/>
                  <a:pt x="315" y="167"/>
                  <a:pt x="315" y="167"/>
                </a:cubicBezTo>
                <a:cubicBezTo>
                  <a:pt x="315" y="166"/>
                  <a:pt x="315" y="166"/>
                  <a:pt x="315" y="166"/>
                </a:cubicBezTo>
                <a:cubicBezTo>
                  <a:pt x="316" y="166"/>
                  <a:pt x="316" y="166"/>
                  <a:pt x="316" y="166"/>
                </a:cubicBezTo>
                <a:cubicBezTo>
                  <a:pt x="315" y="167"/>
                  <a:pt x="315" y="167"/>
                  <a:pt x="315" y="167"/>
                </a:cubicBezTo>
                <a:cubicBezTo>
                  <a:pt x="315" y="169"/>
                  <a:pt x="315" y="169"/>
                  <a:pt x="315" y="169"/>
                </a:cubicBezTo>
                <a:cubicBezTo>
                  <a:pt x="314" y="171"/>
                  <a:pt x="314" y="171"/>
                  <a:pt x="314" y="171"/>
                </a:cubicBezTo>
                <a:cubicBezTo>
                  <a:pt x="314" y="172"/>
                  <a:pt x="314" y="172"/>
                  <a:pt x="314" y="172"/>
                </a:cubicBezTo>
                <a:cubicBezTo>
                  <a:pt x="312" y="173"/>
                  <a:pt x="312" y="173"/>
                  <a:pt x="312" y="173"/>
                </a:cubicBezTo>
                <a:cubicBezTo>
                  <a:pt x="311" y="173"/>
                  <a:pt x="311" y="173"/>
                  <a:pt x="311" y="173"/>
                </a:cubicBezTo>
                <a:cubicBezTo>
                  <a:pt x="311" y="174"/>
                  <a:pt x="311" y="174"/>
                  <a:pt x="311" y="174"/>
                </a:cubicBezTo>
                <a:cubicBezTo>
                  <a:pt x="311" y="174"/>
                  <a:pt x="311" y="174"/>
                  <a:pt x="311" y="174"/>
                </a:cubicBezTo>
                <a:cubicBezTo>
                  <a:pt x="311" y="176"/>
                  <a:pt x="311" y="176"/>
                  <a:pt x="311" y="176"/>
                </a:cubicBezTo>
                <a:cubicBezTo>
                  <a:pt x="310" y="176"/>
                  <a:pt x="310" y="176"/>
                  <a:pt x="310" y="176"/>
                </a:cubicBezTo>
                <a:cubicBezTo>
                  <a:pt x="310" y="176"/>
                  <a:pt x="310" y="176"/>
                  <a:pt x="310" y="176"/>
                </a:cubicBezTo>
                <a:cubicBezTo>
                  <a:pt x="309" y="176"/>
                  <a:pt x="309" y="176"/>
                  <a:pt x="309" y="176"/>
                </a:cubicBezTo>
                <a:cubicBezTo>
                  <a:pt x="309" y="177"/>
                  <a:pt x="309" y="177"/>
                  <a:pt x="309" y="177"/>
                </a:cubicBezTo>
                <a:cubicBezTo>
                  <a:pt x="311" y="178"/>
                  <a:pt x="311" y="178"/>
                  <a:pt x="311" y="178"/>
                </a:cubicBezTo>
                <a:cubicBezTo>
                  <a:pt x="310" y="178"/>
                  <a:pt x="310" y="178"/>
                  <a:pt x="310" y="178"/>
                </a:cubicBezTo>
                <a:cubicBezTo>
                  <a:pt x="309" y="178"/>
                  <a:pt x="309" y="178"/>
                  <a:pt x="309" y="178"/>
                </a:cubicBezTo>
                <a:cubicBezTo>
                  <a:pt x="310" y="179"/>
                  <a:pt x="310" y="179"/>
                  <a:pt x="310" y="179"/>
                </a:cubicBezTo>
                <a:cubicBezTo>
                  <a:pt x="309" y="181"/>
                  <a:pt x="309" y="181"/>
                  <a:pt x="309" y="181"/>
                </a:cubicBezTo>
                <a:cubicBezTo>
                  <a:pt x="308" y="180"/>
                  <a:pt x="308" y="180"/>
                  <a:pt x="308" y="180"/>
                </a:cubicBezTo>
                <a:cubicBezTo>
                  <a:pt x="307" y="181"/>
                  <a:pt x="307" y="181"/>
                  <a:pt x="307" y="181"/>
                </a:cubicBezTo>
                <a:cubicBezTo>
                  <a:pt x="306" y="181"/>
                  <a:pt x="306" y="181"/>
                  <a:pt x="306" y="181"/>
                </a:cubicBezTo>
                <a:cubicBezTo>
                  <a:pt x="305" y="181"/>
                  <a:pt x="305" y="181"/>
                  <a:pt x="305" y="181"/>
                </a:cubicBezTo>
                <a:cubicBezTo>
                  <a:pt x="305" y="182"/>
                  <a:pt x="305" y="182"/>
                  <a:pt x="305" y="182"/>
                </a:cubicBezTo>
                <a:cubicBezTo>
                  <a:pt x="303" y="183"/>
                  <a:pt x="303" y="183"/>
                  <a:pt x="303" y="183"/>
                </a:cubicBezTo>
                <a:cubicBezTo>
                  <a:pt x="301" y="182"/>
                  <a:pt x="301" y="182"/>
                  <a:pt x="301" y="182"/>
                </a:cubicBezTo>
                <a:cubicBezTo>
                  <a:pt x="300" y="183"/>
                  <a:pt x="300" y="183"/>
                  <a:pt x="300" y="183"/>
                </a:cubicBezTo>
                <a:cubicBezTo>
                  <a:pt x="299" y="182"/>
                  <a:pt x="299" y="182"/>
                  <a:pt x="299" y="182"/>
                </a:cubicBezTo>
                <a:cubicBezTo>
                  <a:pt x="299" y="180"/>
                  <a:pt x="299" y="180"/>
                  <a:pt x="299" y="180"/>
                </a:cubicBezTo>
                <a:cubicBezTo>
                  <a:pt x="300" y="178"/>
                  <a:pt x="300" y="178"/>
                  <a:pt x="300" y="178"/>
                </a:cubicBezTo>
                <a:cubicBezTo>
                  <a:pt x="300" y="177"/>
                  <a:pt x="300" y="177"/>
                  <a:pt x="300" y="177"/>
                </a:cubicBezTo>
                <a:cubicBezTo>
                  <a:pt x="298" y="179"/>
                  <a:pt x="298" y="179"/>
                  <a:pt x="298" y="179"/>
                </a:cubicBezTo>
                <a:cubicBezTo>
                  <a:pt x="298" y="181"/>
                  <a:pt x="298" y="181"/>
                  <a:pt x="298" y="181"/>
                </a:cubicBezTo>
                <a:cubicBezTo>
                  <a:pt x="299" y="183"/>
                  <a:pt x="299" y="183"/>
                  <a:pt x="299" y="183"/>
                </a:cubicBezTo>
                <a:cubicBezTo>
                  <a:pt x="299" y="184"/>
                  <a:pt x="299" y="184"/>
                  <a:pt x="299" y="184"/>
                </a:cubicBezTo>
                <a:cubicBezTo>
                  <a:pt x="299" y="185"/>
                  <a:pt x="299" y="185"/>
                  <a:pt x="299" y="185"/>
                </a:cubicBezTo>
                <a:cubicBezTo>
                  <a:pt x="298" y="186"/>
                  <a:pt x="298" y="186"/>
                  <a:pt x="298" y="186"/>
                </a:cubicBezTo>
                <a:cubicBezTo>
                  <a:pt x="297" y="187"/>
                  <a:pt x="297" y="187"/>
                  <a:pt x="297" y="187"/>
                </a:cubicBezTo>
                <a:cubicBezTo>
                  <a:pt x="297" y="187"/>
                  <a:pt x="295" y="187"/>
                  <a:pt x="295" y="187"/>
                </a:cubicBezTo>
                <a:close/>
                <a:moveTo>
                  <a:pt x="316" y="158"/>
                </a:moveTo>
                <a:cubicBezTo>
                  <a:pt x="316" y="159"/>
                  <a:pt x="316" y="159"/>
                  <a:pt x="316" y="159"/>
                </a:cubicBezTo>
                <a:cubicBezTo>
                  <a:pt x="317" y="159"/>
                  <a:pt x="317" y="159"/>
                  <a:pt x="317" y="159"/>
                </a:cubicBezTo>
                <a:cubicBezTo>
                  <a:pt x="317" y="158"/>
                  <a:pt x="317" y="158"/>
                  <a:pt x="317" y="158"/>
                </a:cubicBezTo>
                <a:cubicBezTo>
                  <a:pt x="316" y="158"/>
                  <a:pt x="316" y="158"/>
                  <a:pt x="316" y="158"/>
                </a:cubicBezTo>
                <a:close/>
                <a:moveTo>
                  <a:pt x="315" y="163"/>
                </a:moveTo>
                <a:cubicBezTo>
                  <a:pt x="316" y="163"/>
                  <a:pt x="316" y="163"/>
                  <a:pt x="316" y="163"/>
                </a:cubicBezTo>
                <a:cubicBezTo>
                  <a:pt x="317" y="162"/>
                  <a:pt x="317" y="162"/>
                  <a:pt x="317" y="162"/>
                </a:cubicBezTo>
                <a:cubicBezTo>
                  <a:pt x="317" y="161"/>
                  <a:pt x="317" y="161"/>
                  <a:pt x="317" y="161"/>
                </a:cubicBezTo>
                <a:cubicBezTo>
                  <a:pt x="317" y="160"/>
                  <a:pt x="317" y="160"/>
                  <a:pt x="317" y="160"/>
                </a:cubicBezTo>
                <a:cubicBezTo>
                  <a:pt x="316" y="159"/>
                  <a:pt x="316" y="159"/>
                  <a:pt x="316" y="159"/>
                </a:cubicBezTo>
                <a:cubicBezTo>
                  <a:pt x="316" y="160"/>
                  <a:pt x="316" y="160"/>
                  <a:pt x="316" y="160"/>
                </a:cubicBezTo>
                <a:cubicBezTo>
                  <a:pt x="315" y="161"/>
                  <a:pt x="315" y="161"/>
                  <a:pt x="315" y="161"/>
                </a:cubicBezTo>
                <a:cubicBezTo>
                  <a:pt x="315" y="161"/>
                  <a:pt x="315" y="161"/>
                  <a:pt x="315" y="161"/>
                </a:cubicBezTo>
                <a:cubicBezTo>
                  <a:pt x="315" y="163"/>
                  <a:pt x="315" y="163"/>
                  <a:pt x="315" y="163"/>
                </a:cubicBezTo>
                <a:cubicBezTo>
                  <a:pt x="315" y="163"/>
                  <a:pt x="315" y="163"/>
                  <a:pt x="315" y="163"/>
                </a:cubicBezTo>
                <a:close/>
                <a:moveTo>
                  <a:pt x="315" y="166"/>
                </a:moveTo>
                <a:cubicBezTo>
                  <a:pt x="315" y="166"/>
                  <a:pt x="315" y="166"/>
                  <a:pt x="315" y="166"/>
                </a:cubicBezTo>
                <a:cubicBezTo>
                  <a:pt x="316" y="164"/>
                  <a:pt x="316" y="164"/>
                  <a:pt x="316" y="164"/>
                </a:cubicBezTo>
                <a:cubicBezTo>
                  <a:pt x="315" y="164"/>
                  <a:pt x="315" y="164"/>
                  <a:pt x="315" y="164"/>
                </a:cubicBezTo>
                <a:cubicBezTo>
                  <a:pt x="314" y="165"/>
                  <a:pt x="314" y="165"/>
                  <a:pt x="314" y="165"/>
                </a:cubicBezTo>
                <a:cubicBezTo>
                  <a:pt x="314" y="166"/>
                  <a:pt x="314" y="166"/>
                  <a:pt x="314" y="166"/>
                </a:cubicBezTo>
                <a:cubicBezTo>
                  <a:pt x="315" y="166"/>
                  <a:pt x="315" y="166"/>
                  <a:pt x="315" y="166"/>
                </a:cubicBezTo>
                <a:close/>
                <a:moveTo>
                  <a:pt x="267" y="139"/>
                </a:moveTo>
                <a:cubicBezTo>
                  <a:pt x="267" y="140"/>
                  <a:pt x="267" y="140"/>
                  <a:pt x="267" y="140"/>
                </a:cubicBezTo>
                <a:cubicBezTo>
                  <a:pt x="267" y="140"/>
                  <a:pt x="267" y="140"/>
                  <a:pt x="267" y="140"/>
                </a:cubicBezTo>
                <a:cubicBezTo>
                  <a:pt x="268" y="140"/>
                  <a:pt x="268" y="140"/>
                  <a:pt x="268" y="140"/>
                </a:cubicBezTo>
                <a:cubicBezTo>
                  <a:pt x="269" y="140"/>
                  <a:pt x="269" y="140"/>
                  <a:pt x="269" y="140"/>
                </a:cubicBezTo>
                <a:cubicBezTo>
                  <a:pt x="269" y="140"/>
                  <a:pt x="269" y="140"/>
                  <a:pt x="269" y="140"/>
                </a:cubicBezTo>
                <a:cubicBezTo>
                  <a:pt x="269" y="139"/>
                  <a:pt x="269" y="139"/>
                  <a:pt x="269" y="139"/>
                </a:cubicBezTo>
                <a:cubicBezTo>
                  <a:pt x="267" y="139"/>
                  <a:pt x="267" y="139"/>
                  <a:pt x="267" y="139"/>
                </a:cubicBezTo>
                <a:cubicBezTo>
                  <a:pt x="267" y="139"/>
                  <a:pt x="267" y="139"/>
                  <a:pt x="267" y="139"/>
                </a:cubicBezTo>
                <a:close/>
                <a:moveTo>
                  <a:pt x="275" y="155"/>
                </a:moveTo>
                <a:cubicBezTo>
                  <a:pt x="274" y="154"/>
                  <a:pt x="274" y="154"/>
                  <a:pt x="274" y="154"/>
                </a:cubicBezTo>
                <a:cubicBezTo>
                  <a:pt x="274" y="151"/>
                  <a:pt x="274" y="151"/>
                  <a:pt x="274" y="151"/>
                </a:cubicBezTo>
                <a:cubicBezTo>
                  <a:pt x="273" y="150"/>
                  <a:pt x="273" y="150"/>
                  <a:pt x="273" y="150"/>
                </a:cubicBezTo>
                <a:cubicBezTo>
                  <a:pt x="273" y="149"/>
                  <a:pt x="273" y="149"/>
                  <a:pt x="273" y="149"/>
                </a:cubicBezTo>
                <a:cubicBezTo>
                  <a:pt x="273" y="148"/>
                  <a:pt x="273" y="148"/>
                  <a:pt x="273" y="148"/>
                </a:cubicBezTo>
                <a:cubicBezTo>
                  <a:pt x="273" y="147"/>
                  <a:pt x="273" y="147"/>
                  <a:pt x="273" y="147"/>
                </a:cubicBezTo>
                <a:cubicBezTo>
                  <a:pt x="273" y="145"/>
                  <a:pt x="273" y="145"/>
                  <a:pt x="273" y="145"/>
                </a:cubicBezTo>
                <a:cubicBezTo>
                  <a:pt x="272" y="144"/>
                  <a:pt x="272" y="144"/>
                  <a:pt x="272" y="144"/>
                </a:cubicBezTo>
                <a:cubicBezTo>
                  <a:pt x="271" y="143"/>
                  <a:pt x="271" y="143"/>
                  <a:pt x="271" y="143"/>
                </a:cubicBezTo>
                <a:cubicBezTo>
                  <a:pt x="271" y="142"/>
                  <a:pt x="271" y="142"/>
                  <a:pt x="271" y="142"/>
                </a:cubicBezTo>
                <a:cubicBezTo>
                  <a:pt x="273" y="141"/>
                  <a:pt x="273" y="141"/>
                  <a:pt x="273" y="141"/>
                </a:cubicBezTo>
                <a:cubicBezTo>
                  <a:pt x="274" y="140"/>
                  <a:pt x="274" y="140"/>
                  <a:pt x="274" y="140"/>
                </a:cubicBezTo>
                <a:cubicBezTo>
                  <a:pt x="275" y="139"/>
                  <a:pt x="275" y="139"/>
                  <a:pt x="275" y="139"/>
                </a:cubicBezTo>
                <a:cubicBezTo>
                  <a:pt x="277" y="139"/>
                  <a:pt x="277" y="139"/>
                  <a:pt x="277" y="139"/>
                </a:cubicBezTo>
                <a:cubicBezTo>
                  <a:pt x="278" y="140"/>
                  <a:pt x="278" y="140"/>
                  <a:pt x="278" y="140"/>
                </a:cubicBezTo>
                <a:cubicBezTo>
                  <a:pt x="278" y="140"/>
                  <a:pt x="278" y="140"/>
                  <a:pt x="278" y="140"/>
                </a:cubicBezTo>
                <a:cubicBezTo>
                  <a:pt x="279" y="141"/>
                  <a:pt x="279" y="141"/>
                  <a:pt x="279" y="141"/>
                </a:cubicBezTo>
                <a:cubicBezTo>
                  <a:pt x="280" y="140"/>
                  <a:pt x="280" y="140"/>
                  <a:pt x="280" y="140"/>
                </a:cubicBezTo>
                <a:cubicBezTo>
                  <a:pt x="281" y="141"/>
                  <a:pt x="281" y="141"/>
                  <a:pt x="281" y="141"/>
                </a:cubicBezTo>
                <a:cubicBezTo>
                  <a:pt x="282" y="141"/>
                  <a:pt x="282" y="141"/>
                  <a:pt x="282" y="141"/>
                </a:cubicBezTo>
                <a:cubicBezTo>
                  <a:pt x="283" y="141"/>
                  <a:pt x="283" y="141"/>
                  <a:pt x="283" y="141"/>
                </a:cubicBezTo>
                <a:cubicBezTo>
                  <a:pt x="284" y="142"/>
                  <a:pt x="284" y="142"/>
                  <a:pt x="284" y="142"/>
                </a:cubicBezTo>
                <a:cubicBezTo>
                  <a:pt x="284" y="143"/>
                  <a:pt x="284" y="143"/>
                  <a:pt x="284" y="143"/>
                </a:cubicBezTo>
                <a:cubicBezTo>
                  <a:pt x="284" y="144"/>
                  <a:pt x="284" y="144"/>
                  <a:pt x="284" y="144"/>
                </a:cubicBezTo>
                <a:cubicBezTo>
                  <a:pt x="285" y="145"/>
                  <a:pt x="285" y="145"/>
                  <a:pt x="285" y="145"/>
                </a:cubicBezTo>
                <a:cubicBezTo>
                  <a:pt x="285" y="146"/>
                  <a:pt x="285" y="146"/>
                  <a:pt x="285" y="146"/>
                </a:cubicBezTo>
                <a:cubicBezTo>
                  <a:pt x="284" y="146"/>
                  <a:pt x="284" y="146"/>
                  <a:pt x="284" y="146"/>
                </a:cubicBezTo>
                <a:cubicBezTo>
                  <a:pt x="284" y="147"/>
                  <a:pt x="284" y="147"/>
                  <a:pt x="284" y="147"/>
                </a:cubicBezTo>
                <a:cubicBezTo>
                  <a:pt x="283" y="149"/>
                  <a:pt x="283" y="149"/>
                  <a:pt x="283" y="149"/>
                </a:cubicBezTo>
                <a:cubicBezTo>
                  <a:pt x="282" y="149"/>
                  <a:pt x="282" y="149"/>
                  <a:pt x="282" y="149"/>
                </a:cubicBezTo>
                <a:cubicBezTo>
                  <a:pt x="280" y="150"/>
                  <a:pt x="280" y="150"/>
                  <a:pt x="280" y="150"/>
                </a:cubicBezTo>
                <a:cubicBezTo>
                  <a:pt x="279" y="151"/>
                  <a:pt x="279" y="151"/>
                  <a:pt x="279" y="151"/>
                </a:cubicBezTo>
                <a:cubicBezTo>
                  <a:pt x="277" y="153"/>
                  <a:pt x="277" y="153"/>
                  <a:pt x="277" y="153"/>
                </a:cubicBezTo>
                <a:cubicBezTo>
                  <a:pt x="276" y="153"/>
                  <a:pt x="276" y="153"/>
                  <a:pt x="276" y="153"/>
                </a:cubicBezTo>
                <a:cubicBezTo>
                  <a:pt x="275" y="154"/>
                  <a:pt x="275" y="154"/>
                  <a:pt x="275" y="154"/>
                </a:cubicBezTo>
                <a:cubicBezTo>
                  <a:pt x="275" y="155"/>
                  <a:pt x="275" y="155"/>
                  <a:pt x="275" y="155"/>
                </a:cubicBezTo>
                <a:cubicBezTo>
                  <a:pt x="275" y="155"/>
                  <a:pt x="275" y="155"/>
                  <a:pt x="275" y="155"/>
                </a:cubicBezTo>
                <a:close/>
                <a:moveTo>
                  <a:pt x="320" y="181"/>
                </a:moveTo>
                <a:cubicBezTo>
                  <a:pt x="318" y="179"/>
                  <a:pt x="318" y="179"/>
                  <a:pt x="318" y="179"/>
                </a:cubicBezTo>
                <a:cubicBezTo>
                  <a:pt x="317" y="179"/>
                  <a:pt x="317" y="179"/>
                  <a:pt x="317" y="179"/>
                </a:cubicBezTo>
                <a:cubicBezTo>
                  <a:pt x="315" y="179"/>
                  <a:pt x="315" y="179"/>
                  <a:pt x="315" y="179"/>
                </a:cubicBezTo>
                <a:cubicBezTo>
                  <a:pt x="316" y="178"/>
                  <a:pt x="316" y="178"/>
                  <a:pt x="316" y="178"/>
                </a:cubicBezTo>
                <a:cubicBezTo>
                  <a:pt x="317" y="177"/>
                  <a:pt x="317" y="177"/>
                  <a:pt x="317" y="177"/>
                </a:cubicBezTo>
                <a:cubicBezTo>
                  <a:pt x="317" y="178"/>
                  <a:pt x="317" y="178"/>
                  <a:pt x="317" y="178"/>
                </a:cubicBezTo>
                <a:cubicBezTo>
                  <a:pt x="318" y="177"/>
                  <a:pt x="318" y="177"/>
                  <a:pt x="318" y="177"/>
                </a:cubicBezTo>
                <a:cubicBezTo>
                  <a:pt x="318" y="177"/>
                  <a:pt x="318" y="177"/>
                  <a:pt x="318" y="177"/>
                </a:cubicBezTo>
                <a:cubicBezTo>
                  <a:pt x="317" y="177"/>
                  <a:pt x="317" y="177"/>
                  <a:pt x="317" y="177"/>
                </a:cubicBezTo>
                <a:cubicBezTo>
                  <a:pt x="316" y="176"/>
                  <a:pt x="316" y="176"/>
                  <a:pt x="316" y="176"/>
                </a:cubicBezTo>
                <a:cubicBezTo>
                  <a:pt x="318" y="174"/>
                  <a:pt x="318" y="174"/>
                  <a:pt x="318" y="174"/>
                </a:cubicBezTo>
                <a:cubicBezTo>
                  <a:pt x="318" y="172"/>
                  <a:pt x="318" y="172"/>
                  <a:pt x="318" y="172"/>
                </a:cubicBezTo>
                <a:cubicBezTo>
                  <a:pt x="318" y="171"/>
                  <a:pt x="318" y="171"/>
                  <a:pt x="318" y="171"/>
                </a:cubicBezTo>
                <a:cubicBezTo>
                  <a:pt x="319" y="171"/>
                  <a:pt x="319" y="171"/>
                  <a:pt x="319" y="171"/>
                </a:cubicBezTo>
                <a:cubicBezTo>
                  <a:pt x="319" y="170"/>
                  <a:pt x="319" y="170"/>
                  <a:pt x="319" y="170"/>
                </a:cubicBezTo>
                <a:cubicBezTo>
                  <a:pt x="318" y="169"/>
                  <a:pt x="318" y="169"/>
                  <a:pt x="318" y="169"/>
                </a:cubicBezTo>
                <a:cubicBezTo>
                  <a:pt x="319" y="168"/>
                  <a:pt x="319" y="168"/>
                  <a:pt x="319" y="168"/>
                </a:cubicBezTo>
                <a:cubicBezTo>
                  <a:pt x="319" y="167"/>
                  <a:pt x="319" y="167"/>
                  <a:pt x="319" y="167"/>
                </a:cubicBezTo>
                <a:cubicBezTo>
                  <a:pt x="320" y="164"/>
                  <a:pt x="320" y="164"/>
                  <a:pt x="320" y="164"/>
                </a:cubicBezTo>
                <a:cubicBezTo>
                  <a:pt x="321" y="164"/>
                  <a:pt x="321" y="164"/>
                  <a:pt x="321" y="164"/>
                </a:cubicBezTo>
                <a:cubicBezTo>
                  <a:pt x="321" y="163"/>
                  <a:pt x="321" y="163"/>
                  <a:pt x="321" y="163"/>
                </a:cubicBezTo>
                <a:cubicBezTo>
                  <a:pt x="322" y="162"/>
                  <a:pt x="322" y="162"/>
                  <a:pt x="322" y="162"/>
                </a:cubicBezTo>
                <a:cubicBezTo>
                  <a:pt x="322" y="160"/>
                  <a:pt x="322" y="160"/>
                  <a:pt x="322" y="160"/>
                </a:cubicBezTo>
                <a:cubicBezTo>
                  <a:pt x="323" y="160"/>
                  <a:pt x="323" y="160"/>
                  <a:pt x="323" y="160"/>
                </a:cubicBezTo>
                <a:cubicBezTo>
                  <a:pt x="323" y="158"/>
                  <a:pt x="323" y="158"/>
                  <a:pt x="323" y="158"/>
                </a:cubicBezTo>
                <a:cubicBezTo>
                  <a:pt x="325" y="157"/>
                  <a:pt x="325" y="157"/>
                  <a:pt x="325" y="157"/>
                </a:cubicBezTo>
                <a:cubicBezTo>
                  <a:pt x="325" y="155"/>
                  <a:pt x="325" y="155"/>
                  <a:pt x="325" y="155"/>
                </a:cubicBezTo>
                <a:cubicBezTo>
                  <a:pt x="326" y="155"/>
                  <a:pt x="326" y="155"/>
                  <a:pt x="326" y="155"/>
                </a:cubicBezTo>
                <a:cubicBezTo>
                  <a:pt x="326" y="154"/>
                  <a:pt x="326" y="154"/>
                  <a:pt x="326" y="154"/>
                </a:cubicBezTo>
                <a:cubicBezTo>
                  <a:pt x="326" y="153"/>
                  <a:pt x="326" y="153"/>
                  <a:pt x="326" y="153"/>
                </a:cubicBezTo>
                <a:cubicBezTo>
                  <a:pt x="327" y="152"/>
                  <a:pt x="327" y="152"/>
                  <a:pt x="327" y="152"/>
                </a:cubicBezTo>
                <a:cubicBezTo>
                  <a:pt x="327" y="152"/>
                  <a:pt x="327" y="152"/>
                  <a:pt x="327" y="152"/>
                </a:cubicBezTo>
                <a:cubicBezTo>
                  <a:pt x="328" y="154"/>
                  <a:pt x="328" y="154"/>
                  <a:pt x="328" y="154"/>
                </a:cubicBezTo>
                <a:cubicBezTo>
                  <a:pt x="329" y="155"/>
                  <a:pt x="329" y="155"/>
                  <a:pt x="329" y="155"/>
                </a:cubicBezTo>
                <a:cubicBezTo>
                  <a:pt x="330" y="155"/>
                  <a:pt x="330" y="155"/>
                  <a:pt x="330" y="155"/>
                </a:cubicBezTo>
                <a:cubicBezTo>
                  <a:pt x="330" y="154"/>
                  <a:pt x="330" y="154"/>
                  <a:pt x="330" y="154"/>
                </a:cubicBezTo>
                <a:cubicBezTo>
                  <a:pt x="329" y="152"/>
                  <a:pt x="329" y="152"/>
                  <a:pt x="329" y="152"/>
                </a:cubicBezTo>
                <a:cubicBezTo>
                  <a:pt x="329" y="152"/>
                  <a:pt x="329" y="152"/>
                  <a:pt x="329" y="152"/>
                </a:cubicBezTo>
                <a:cubicBezTo>
                  <a:pt x="330" y="152"/>
                  <a:pt x="330" y="152"/>
                  <a:pt x="330" y="152"/>
                </a:cubicBezTo>
                <a:cubicBezTo>
                  <a:pt x="329" y="150"/>
                  <a:pt x="329" y="150"/>
                  <a:pt x="329" y="150"/>
                </a:cubicBezTo>
                <a:cubicBezTo>
                  <a:pt x="330" y="149"/>
                  <a:pt x="330" y="149"/>
                  <a:pt x="330" y="149"/>
                </a:cubicBezTo>
                <a:cubicBezTo>
                  <a:pt x="333" y="148"/>
                  <a:pt x="333" y="148"/>
                  <a:pt x="333" y="148"/>
                </a:cubicBezTo>
                <a:cubicBezTo>
                  <a:pt x="335" y="148"/>
                  <a:pt x="335" y="148"/>
                  <a:pt x="335" y="148"/>
                </a:cubicBezTo>
                <a:cubicBezTo>
                  <a:pt x="336" y="148"/>
                  <a:pt x="336" y="148"/>
                  <a:pt x="336" y="148"/>
                </a:cubicBezTo>
                <a:cubicBezTo>
                  <a:pt x="336" y="148"/>
                  <a:pt x="336" y="148"/>
                  <a:pt x="336" y="148"/>
                </a:cubicBezTo>
                <a:cubicBezTo>
                  <a:pt x="337" y="148"/>
                  <a:pt x="337" y="148"/>
                  <a:pt x="337" y="148"/>
                </a:cubicBezTo>
                <a:cubicBezTo>
                  <a:pt x="338" y="149"/>
                  <a:pt x="338" y="149"/>
                  <a:pt x="338" y="149"/>
                </a:cubicBezTo>
                <a:cubicBezTo>
                  <a:pt x="339" y="148"/>
                  <a:pt x="339" y="148"/>
                  <a:pt x="339" y="148"/>
                </a:cubicBezTo>
                <a:cubicBezTo>
                  <a:pt x="340" y="148"/>
                  <a:pt x="340" y="148"/>
                  <a:pt x="340" y="148"/>
                </a:cubicBezTo>
                <a:cubicBezTo>
                  <a:pt x="341" y="150"/>
                  <a:pt x="341" y="150"/>
                  <a:pt x="341" y="150"/>
                </a:cubicBezTo>
                <a:cubicBezTo>
                  <a:pt x="342" y="150"/>
                  <a:pt x="342" y="150"/>
                  <a:pt x="342" y="150"/>
                </a:cubicBezTo>
                <a:cubicBezTo>
                  <a:pt x="342" y="150"/>
                  <a:pt x="342" y="150"/>
                  <a:pt x="342" y="150"/>
                </a:cubicBezTo>
                <a:cubicBezTo>
                  <a:pt x="343" y="150"/>
                  <a:pt x="343" y="150"/>
                  <a:pt x="343" y="150"/>
                </a:cubicBezTo>
                <a:cubicBezTo>
                  <a:pt x="344" y="152"/>
                  <a:pt x="344" y="152"/>
                  <a:pt x="344" y="152"/>
                </a:cubicBezTo>
                <a:cubicBezTo>
                  <a:pt x="344" y="153"/>
                  <a:pt x="344" y="153"/>
                  <a:pt x="344" y="153"/>
                </a:cubicBezTo>
                <a:cubicBezTo>
                  <a:pt x="344" y="153"/>
                  <a:pt x="344" y="153"/>
                  <a:pt x="344" y="153"/>
                </a:cubicBezTo>
                <a:cubicBezTo>
                  <a:pt x="345" y="153"/>
                  <a:pt x="345" y="153"/>
                  <a:pt x="345" y="153"/>
                </a:cubicBezTo>
                <a:cubicBezTo>
                  <a:pt x="347" y="153"/>
                  <a:pt x="347" y="153"/>
                  <a:pt x="347" y="153"/>
                </a:cubicBezTo>
                <a:cubicBezTo>
                  <a:pt x="350" y="153"/>
                  <a:pt x="350" y="153"/>
                  <a:pt x="350" y="153"/>
                </a:cubicBezTo>
                <a:cubicBezTo>
                  <a:pt x="351" y="154"/>
                  <a:pt x="351" y="154"/>
                  <a:pt x="351" y="154"/>
                </a:cubicBezTo>
                <a:cubicBezTo>
                  <a:pt x="351" y="155"/>
                  <a:pt x="351" y="155"/>
                  <a:pt x="351" y="155"/>
                </a:cubicBezTo>
                <a:cubicBezTo>
                  <a:pt x="352" y="156"/>
                  <a:pt x="352" y="156"/>
                  <a:pt x="352" y="156"/>
                </a:cubicBezTo>
                <a:cubicBezTo>
                  <a:pt x="352" y="157"/>
                  <a:pt x="352" y="157"/>
                  <a:pt x="352" y="157"/>
                </a:cubicBezTo>
                <a:cubicBezTo>
                  <a:pt x="352" y="156"/>
                  <a:pt x="352" y="156"/>
                  <a:pt x="352" y="156"/>
                </a:cubicBezTo>
                <a:cubicBezTo>
                  <a:pt x="351" y="156"/>
                  <a:pt x="351" y="156"/>
                  <a:pt x="351" y="156"/>
                </a:cubicBezTo>
                <a:cubicBezTo>
                  <a:pt x="351" y="158"/>
                  <a:pt x="351" y="158"/>
                  <a:pt x="351" y="158"/>
                </a:cubicBezTo>
                <a:cubicBezTo>
                  <a:pt x="349" y="159"/>
                  <a:pt x="349" y="159"/>
                  <a:pt x="349" y="159"/>
                </a:cubicBezTo>
                <a:cubicBezTo>
                  <a:pt x="348" y="161"/>
                  <a:pt x="348" y="161"/>
                  <a:pt x="348" y="161"/>
                </a:cubicBezTo>
                <a:cubicBezTo>
                  <a:pt x="347" y="161"/>
                  <a:pt x="347" y="161"/>
                  <a:pt x="347" y="161"/>
                </a:cubicBezTo>
                <a:cubicBezTo>
                  <a:pt x="347" y="162"/>
                  <a:pt x="347" y="162"/>
                  <a:pt x="347" y="162"/>
                </a:cubicBezTo>
                <a:cubicBezTo>
                  <a:pt x="344" y="164"/>
                  <a:pt x="344" y="164"/>
                  <a:pt x="344" y="164"/>
                </a:cubicBezTo>
                <a:cubicBezTo>
                  <a:pt x="343" y="165"/>
                  <a:pt x="343" y="165"/>
                  <a:pt x="343" y="165"/>
                </a:cubicBezTo>
                <a:cubicBezTo>
                  <a:pt x="342" y="165"/>
                  <a:pt x="342" y="165"/>
                  <a:pt x="342" y="165"/>
                </a:cubicBezTo>
                <a:cubicBezTo>
                  <a:pt x="341" y="166"/>
                  <a:pt x="341" y="166"/>
                  <a:pt x="341" y="166"/>
                </a:cubicBezTo>
                <a:cubicBezTo>
                  <a:pt x="342" y="166"/>
                  <a:pt x="342" y="166"/>
                  <a:pt x="342" y="166"/>
                </a:cubicBezTo>
                <a:cubicBezTo>
                  <a:pt x="341" y="167"/>
                  <a:pt x="341" y="167"/>
                  <a:pt x="341" y="167"/>
                </a:cubicBezTo>
                <a:cubicBezTo>
                  <a:pt x="339" y="169"/>
                  <a:pt x="339" y="169"/>
                  <a:pt x="339" y="169"/>
                </a:cubicBezTo>
                <a:cubicBezTo>
                  <a:pt x="338" y="170"/>
                  <a:pt x="338" y="170"/>
                  <a:pt x="338" y="170"/>
                </a:cubicBezTo>
                <a:cubicBezTo>
                  <a:pt x="336" y="172"/>
                  <a:pt x="336" y="172"/>
                  <a:pt x="336" y="172"/>
                </a:cubicBezTo>
                <a:cubicBezTo>
                  <a:pt x="334" y="173"/>
                  <a:pt x="334" y="173"/>
                  <a:pt x="334" y="173"/>
                </a:cubicBezTo>
                <a:cubicBezTo>
                  <a:pt x="333" y="172"/>
                  <a:pt x="333" y="172"/>
                  <a:pt x="333" y="172"/>
                </a:cubicBezTo>
                <a:cubicBezTo>
                  <a:pt x="333" y="172"/>
                  <a:pt x="333" y="172"/>
                  <a:pt x="333" y="172"/>
                </a:cubicBezTo>
                <a:cubicBezTo>
                  <a:pt x="332" y="172"/>
                  <a:pt x="332" y="172"/>
                  <a:pt x="332" y="172"/>
                </a:cubicBezTo>
                <a:cubicBezTo>
                  <a:pt x="331" y="170"/>
                  <a:pt x="331" y="170"/>
                  <a:pt x="331" y="170"/>
                </a:cubicBezTo>
                <a:cubicBezTo>
                  <a:pt x="330" y="169"/>
                  <a:pt x="330" y="169"/>
                  <a:pt x="330" y="169"/>
                </a:cubicBezTo>
                <a:cubicBezTo>
                  <a:pt x="330" y="169"/>
                  <a:pt x="330" y="169"/>
                  <a:pt x="330" y="169"/>
                </a:cubicBezTo>
                <a:cubicBezTo>
                  <a:pt x="329" y="169"/>
                  <a:pt x="329" y="169"/>
                  <a:pt x="329" y="169"/>
                </a:cubicBezTo>
                <a:cubicBezTo>
                  <a:pt x="328" y="169"/>
                  <a:pt x="328" y="169"/>
                  <a:pt x="328" y="169"/>
                </a:cubicBezTo>
                <a:cubicBezTo>
                  <a:pt x="326" y="169"/>
                  <a:pt x="326" y="169"/>
                  <a:pt x="326" y="169"/>
                </a:cubicBezTo>
                <a:cubicBezTo>
                  <a:pt x="326" y="169"/>
                  <a:pt x="326" y="169"/>
                  <a:pt x="326" y="169"/>
                </a:cubicBezTo>
                <a:cubicBezTo>
                  <a:pt x="325" y="169"/>
                  <a:pt x="325" y="169"/>
                  <a:pt x="325" y="169"/>
                </a:cubicBezTo>
                <a:cubicBezTo>
                  <a:pt x="324" y="169"/>
                  <a:pt x="324" y="169"/>
                  <a:pt x="324" y="169"/>
                </a:cubicBezTo>
                <a:cubicBezTo>
                  <a:pt x="325" y="170"/>
                  <a:pt x="325" y="170"/>
                  <a:pt x="325" y="170"/>
                </a:cubicBezTo>
                <a:cubicBezTo>
                  <a:pt x="327" y="170"/>
                  <a:pt x="327" y="170"/>
                  <a:pt x="327" y="170"/>
                </a:cubicBezTo>
                <a:cubicBezTo>
                  <a:pt x="327" y="171"/>
                  <a:pt x="327" y="171"/>
                  <a:pt x="327" y="171"/>
                </a:cubicBezTo>
                <a:cubicBezTo>
                  <a:pt x="326" y="172"/>
                  <a:pt x="326" y="172"/>
                  <a:pt x="326" y="172"/>
                </a:cubicBezTo>
                <a:cubicBezTo>
                  <a:pt x="327" y="173"/>
                  <a:pt x="327" y="173"/>
                  <a:pt x="327" y="173"/>
                </a:cubicBezTo>
                <a:cubicBezTo>
                  <a:pt x="327" y="174"/>
                  <a:pt x="327" y="174"/>
                  <a:pt x="327" y="174"/>
                </a:cubicBezTo>
                <a:cubicBezTo>
                  <a:pt x="326" y="175"/>
                  <a:pt x="326" y="175"/>
                  <a:pt x="326" y="175"/>
                </a:cubicBezTo>
                <a:cubicBezTo>
                  <a:pt x="325" y="176"/>
                  <a:pt x="325" y="176"/>
                  <a:pt x="325" y="176"/>
                </a:cubicBezTo>
                <a:cubicBezTo>
                  <a:pt x="325" y="176"/>
                  <a:pt x="325" y="176"/>
                  <a:pt x="325" y="176"/>
                </a:cubicBezTo>
                <a:cubicBezTo>
                  <a:pt x="323" y="176"/>
                  <a:pt x="323" y="176"/>
                  <a:pt x="323" y="176"/>
                </a:cubicBezTo>
                <a:cubicBezTo>
                  <a:pt x="323" y="177"/>
                  <a:pt x="323" y="177"/>
                  <a:pt x="323" y="177"/>
                </a:cubicBezTo>
                <a:cubicBezTo>
                  <a:pt x="322" y="178"/>
                  <a:pt x="322" y="178"/>
                  <a:pt x="322" y="178"/>
                </a:cubicBezTo>
                <a:cubicBezTo>
                  <a:pt x="321" y="179"/>
                  <a:pt x="321" y="179"/>
                  <a:pt x="321" y="179"/>
                </a:cubicBezTo>
                <a:cubicBezTo>
                  <a:pt x="320" y="179"/>
                  <a:pt x="320" y="179"/>
                  <a:pt x="320" y="179"/>
                </a:cubicBezTo>
                <a:cubicBezTo>
                  <a:pt x="320" y="180"/>
                  <a:pt x="320" y="180"/>
                  <a:pt x="320" y="180"/>
                </a:cubicBezTo>
                <a:cubicBezTo>
                  <a:pt x="320" y="180"/>
                  <a:pt x="320" y="181"/>
                  <a:pt x="320" y="181"/>
                </a:cubicBezTo>
                <a:close/>
                <a:moveTo>
                  <a:pt x="397" y="186"/>
                </a:moveTo>
                <a:cubicBezTo>
                  <a:pt x="395" y="185"/>
                  <a:pt x="395" y="185"/>
                  <a:pt x="395" y="185"/>
                </a:cubicBezTo>
                <a:cubicBezTo>
                  <a:pt x="394" y="185"/>
                  <a:pt x="394" y="185"/>
                  <a:pt x="394" y="185"/>
                </a:cubicBezTo>
                <a:cubicBezTo>
                  <a:pt x="394" y="183"/>
                  <a:pt x="394" y="183"/>
                  <a:pt x="394" y="183"/>
                </a:cubicBezTo>
                <a:cubicBezTo>
                  <a:pt x="393" y="183"/>
                  <a:pt x="393" y="183"/>
                  <a:pt x="393" y="183"/>
                </a:cubicBezTo>
                <a:cubicBezTo>
                  <a:pt x="392" y="182"/>
                  <a:pt x="392" y="182"/>
                  <a:pt x="392" y="182"/>
                </a:cubicBezTo>
                <a:cubicBezTo>
                  <a:pt x="393" y="180"/>
                  <a:pt x="393" y="180"/>
                  <a:pt x="393" y="180"/>
                </a:cubicBezTo>
                <a:cubicBezTo>
                  <a:pt x="394" y="179"/>
                  <a:pt x="394" y="179"/>
                  <a:pt x="394" y="179"/>
                </a:cubicBezTo>
                <a:cubicBezTo>
                  <a:pt x="394" y="178"/>
                  <a:pt x="394" y="178"/>
                  <a:pt x="394" y="178"/>
                </a:cubicBezTo>
                <a:cubicBezTo>
                  <a:pt x="394" y="177"/>
                  <a:pt x="394" y="177"/>
                  <a:pt x="394" y="177"/>
                </a:cubicBezTo>
                <a:cubicBezTo>
                  <a:pt x="394" y="176"/>
                  <a:pt x="394" y="176"/>
                  <a:pt x="394" y="176"/>
                </a:cubicBezTo>
                <a:cubicBezTo>
                  <a:pt x="393" y="176"/>
                  <a:pt x="393" y="176"/>
                  <a:pt x="393" y="176"/>
                </a:cubicBezTo>
                <a:cubicBezTo>
                  <a:pt x="392" y="175"/>
                  <a:pt x="392" y="175"/>
                  <a:pt x="392" y="175"/>
                </a:cubicBezTo>
                <a:cubicBezTo>
                  <a:pt x="393" y="173"/>
                  <a:pt x="393" y="173"/>
                  <a:pt x="393" y="173"/>
                </a:cubicBezTo>
                <a:cubicBezTo>
                  <a:pt x="394" y="173"/>
                  <a:pt x="394" y="173"/>
                  <a:pt x="394" y="173"/>
                </a:cubicBezTo>
                <a:cubicBezTo>
                  <a:pt x="394" y="172"/>
                  <a:pt x="394" y="172"/>
                  <a:pt x="394" y="172"/>
                </a:cubicBezTo>
                <a:cubicBezTo>
                  <a:pt x="394" y="171"/>
                  <a:pt x="394" y="171"/>
                  <a:pt x="394" y="171"/>
                </a:cubicBezTo>
                <a:cubicBezTo>
                  <a:pt x="395" y="170"/>
                  <a:pt x="395" y="170"/>
                  <a:pt x="395" y="170"/>
                </a:cubicBezTo>
                <a:cubicBezTo>
                  <a:pt x="395" y="168"/>
                  <a:pt x="395" y="168"/>
                  <a:pt x="395" y="168"/>
                </a:cubicBezTo>
                <a:cubicBezTo>
                  <a:pt x="396" y="168"/>
                  <a:pt x="396" y="168"/>
                  <a:pt x="396" y="168"/>
                </a:cubicBezTo>
                <a:cubicBezTo>
                  <a:pt x="397" y="169"/>
                  <a:pt x="397" y="169"/>
                  <a:pt x="397" y="169"/>
                </a:cubicBezTo>
                <a:cubicBezTo>
                  <a:pt x="397" y="170"/>
                  <a:pt x="397" y="170"/>
                  <a:pt x="397" y="170"/>
                </a:cubicBezTo>
                <a:cubicBezTo>
                  <a:pt x="400" y="170"/>
                  <a:pt x="400" y="170"/>
                  <a:pt x="400" y="170"/>
                </a:cubicBezTo>
                <a:cubicBezTo>
                  <a:pt x="401" y="171"/>
                  <a:pt x="401" y="171"/>
                  <a:pt x="401" y="171"/>
                </a:cubicBezTo>
                <a:cubicBezTo>
                  <a:pt x="402" y="172"/>
                  <a:pt x="402" y="172"/>
                  <a:pt x="402" y="172"/>
                </a:cubicBezTo>
                <a:cubicBezTo>
                  <a:pt x="403" y="171"/>
                  <a:pt x="403" y="171"/>
                  <a:pt x="403" y="171"/>
                </a:cubicBezTo>
                <a:cubicBezTo>
                  <a:pt x="405" y="172"/>
                  <a:pt x="405" y="172"/>
                  <a:pt x="405" y="172"/>
                </a:cubicBezTo>
                <a:cubicBezTo>
                  <a:pt x="407" y="172"/>
                  <a:pt x="407" y="172"/>
                  <a:pt x="407" y="172"/>
                </a:cubicBezTo>
                <a:cubicBezTo>
                  <a:pt x="407" y="173"/>
                  <a:pt x="407" y="173"/>
                  <a:pt x="407" y="173"/>
                </a:cubicBezTo>
                <a:cubicBezTo>
                  <a:pt x="408" y="174"/>
                  <a:pt x="408" y="174"/>
                  <a:pt x="408" y="174"/>
                </a:cubicBezTo>
                <a:cubicBezTo>
                  <a:pt x="410" y="175"/>
                  <a:pt x="410" y="175"/>
                  <a:pt x="410" y="175"/>
                </a:cubicBezTo>
                <a:cubicBezTo>
                  <a:pt x="410" y="176"/>
                  <a:pt x="410" y="176"/>
                  <a:pt x="410" y="176"/>
                </a:cubicBezTo>
                <a:cubicBezTo>
                  <a:pt x="410" y="177"/>
                  <a:pt x="410" y="177"/>
                  <a:pt x="410" y="177"/>
                </a:cubicBezTo>
                <a:cubicBezTo>
                  <a:pt x="410" y="178"/>
                  <a:pt x="410" y="178"/>
                  <a:pt x="410" y="178"/>
                </a:cubicBezTo>
                <a:cubicBezTo>
                  <a:pt x="411" y="179"/>
                  <a:pt x="411" y="179"/>
                  <a:pt x="411" y="179"/>
                </a:cubicBezTo>
                <a:cubicBezTo>
                  <a:pt x="410" y="180"/>
                  <a:pt x="410" y="180"/>
                  <a:pt x="410" y="180"/>
                </a:cubicBezTo>
                <a:cubicBezTo>
                  <a:pt x="411" y="181"/>
                  <a:pt x="411" y="181"/>
                  <a:pt x="411" y="181"/>
                </a:cubicBezTo>
                <a:cubicBezTo>
                  <a:pt x="411" y="182"/>
                  <a:pt x="411" y="182"/>
                  <a:pt x="411" y="182"/>
                </a:cubicBezTo>
                <a:cubicBezTo>
                  <a:pt x="411" y="183"/>
                  <a:pt x="411" y="183"/>
                  <a:pt x="411" y="183"/>
                </a:cubicBezTo>
                <a:cubicBezTo>
                  <a:pt x="411" y="184"/>
                  <a:pt x="411" y="184"/>
                  <a:pt x="411" y="184"/>
                </a:cubicBezTo>
                <a:cubicBezTo>
                  <a:pt x="410" y="185"/>
                  <a:pt x="410" y="185"/>
                  <a:pt x="410" y="185"/>
                </a:cubicBezTo>
                <a:cubicBezTo>
                  <a:pt x="412" y="185"/>
                  <a:pt x="412" y="185"/>
                  <a:pt x="412" y="185"/>
                </a:cubicBezTo>
                <a:cubicBezTo>
                  <a:pt x="412" y="186"/>
                  <a:pt x="412" y="186"/>
                  <a:pt x="412" y="186"/>
                </a:cubicBezTo>
                <a:cubicBezTo>
                  <a:pt x="411" y="186"/>
                  <a:pt x="411" y="186"/>
                  <a:pt x="411" y="186"/>
                </a:cubicBezTo>
                <a:cubicBezTo>
                  <a:pt x="411" y="187"/>
                  <a:pt x="411" y="187"/>
                  <a:pt x="411" y="187"/>
                </a:cubicBezTo>
                <a:cubicBezTo>
                  <a:pt x="408" y="187"/>
                  <a:pt x="408" y="187"/>
                  <a:pt x="408" y="187"/>
                </a:cubicBezTo>
                <a:cubicBezTo>
                  <a:pt x="408" y="186"/>
                  <a:pt x="408" y="186"/>
                  <a:pt x="408" y="186"/>
                </a:cubicBezTo>
                <a:cubicBezTo>
                  <a:pt x="406" y="186"/>
                  <a:pt x="406" y="186"/>
                  <a:pt x="406" y="186"/>
                </a:cubicBezTo>
                <a:cubicBezTo>
                  <a:pt x="405" y="185"/>
                  <a:pt x="405" y="185"/>
                  <a:pt x="405" y="185"/>
                </a:cubicBezTo>
                <a:cubicBezTo>
                  <a:pt x="403" y="185"/>
                  <a:pt x="403" y="185"/>
                  <a:pt x="403" y="185"/>
                </a:cubicBezTo>
                <a:cubicBezTo>
                  <a:pt x="403" y="185"/>
                  <a:pt x="403" y="185"/>
                  <a:pt x="403" y="185"/>
                </a:cubicBezTo>
                <a:cubicBezTo>
                  <a:pt x="402" y="184"/>
                  <a:pt x="402" y="184"/>
                  <a:pt x="402" y="184"/>
                </a:cubicBezTo>
                <a:cubicBezTo>
                  <a:pt x="400" y="185"/>
                  <a:pt x="400" y="185"/>
                  <a:pt x="400" y="185"/>
                </a:cubicBezTo>
                <a:cubicBezTo>
                  <a:pt x="399" y="185"/>
                  <a:pt x="399" y="185"/>
                  <a:pt x="399" y="185"/>
                </a:cubicBezTo>
                <a:cubicBezTo>
                  <a:pt x="398" y="186"/>
                  <a:pt x="398" y="186"/>
                  <a:pt x="398" y="186"/>
                </a:cubicBezTo>
                <a:cubicBezTo>
                  <a:pt x="397" y="186"/>
                  <a:pt x="397" y="186"/>
                  <a:pt x="397" y="186"/>
                </a:cubicBezTo>
                <a:close/>
                <a:moveTo>
                  <a:pt x="390" y="188"/>
                </a:moveTo>
                <a:cubicBezTo>
                  <a:pt x="390" y="187"/>
                  <a:pt x="390" y="187"/>
                  <a:pt x="390" y="187"/>
                </a:cubicBezTo>
                <a:cubicBezTo>
                  <a:pt x="390" y="186"/>
                  <a:pt x="390" y="186"/>
                  <a:pt x="390" y="186"/>
                </a:cubicBezTo>
                <a:cubicBezTo>
                  <a:pt x="391" y="186"/>
                  <a:pt x="391" y="186"/>
                  <a:pt x="391" y="186"/>
                </a:cubicBezTo>
                <a:cubicBezTo>
                  <a:pt x="391" y="187"/>
                  <a:pt x="391" y="187"/>
                  <a:pt x="391" y="187"/>
                </a:cubicBezTo>
                <a:cubicBezTo>
                  <a:pt x="390" y="188"/>
                  <a:pt x="390" y="188"/>
                  <a:pt x="390" y="188"/>
                </a:cubicBezTo>
                <a:close/>
                <a:moveTo>
                  <a:pt x="392" y="189"/>
                </a:moveTo>
                <a:cubicBezTo>
                  <a:pt x="391" y="188"/>
                  <a:pt x="391" y="188"/>
                  <a:pt x="391" y="188"/>
                </a:cubicBezTo>
                <a:cubicBezTo>
                  <a:pt x="392" y="188"/>
                  <a:pt x="392" y="188"/>
                  <a:pt x="392" y="188"/>
                </a:cubicBezTo>
                <a:cubicBezTo>
                  <a:pt x="392" y="188"/>
                  <a:pt x="392" y="188"/>
                  <a:pt x="392" y="188"/>
                </a:cubicBezTo>
                <a:cubicBezTo>
                  <a:pt x="392" y="189"/>
                  <a:pt x="392" y="189"/>
                  <a:pt x="392" y="189"/>
                </a:cubicBezTo>
                <a:cubicBezTo>
                  <a:pt x="392" y="189"/>
                  <a:pt x="392" y="189"/>
                  <a:pt x="392" y="189"/>
                </a:cubicBezTo>
                <a:close/>
                <a:moveTo>
                  <a:pt x="395" y="189"/>
                </a:moveTo>
                <a:cubicBezTo>
                  <a:pt x="394" y="189"/>
                  <a:pt x="394" y="189"/>
                  <a:pt x="394" y="189"/>
                </a:cubicBezTo>
                <a:cubicBezTo>
                  <a:pt x="394" y="188"/>
                  <a:pt x="394" y="188"/>
                  <a:pt x="394" y="188"/>
                </a:cubicBezTo>
                <a:cubicBezTo>
                  <a:pt x="395" y="188"/>
                  <a:pt x="395" y="188"/>
                  <a:pt x="395" y="188"/>
                </a:cubicBezTo>
                <a:cubicBezTo>
                  <a:pt x="395" y="189"/>
                  <a:pt x="395" y="189"/>
                  <a:pt x="395" y="189"/>
                </a:cubicBezTo>
                <a:cubicBezTo>
                  <a:pt x="395" y="189"/>
                  <a:pt x="395" y="189"/>
                  <a:pt x="395" y="189"/>
                </a:cubicBezTo>
                <a:close/>
                <a:moveTo>
                  <a:pt x="317" y="216"/>
                </a:moveTo>
                <a:cubicBezTo>
                  <a:pt x="317" y="215"/>
                  <a:pt x="317" y="215"/>
                  <a:pt x="317" y="215"/>
                </a:cubicBezTo>
                <a:cubicBezTo>
                  <a:pt x="317" y="214"/>
                  <a:pt x="317" y="214"/>
                  <a:pt x="317" y="214"/>
                </a:cubicBezTo>
                <a:cubicBezTo>
                  <a:pt x="318" y="214"/>
                  <a:pt x="318" y="214"/>
                  <a:pt x="318" y="214"/>
                </a:cubicBezTo>
                <a:cubicBezTo>
                  <a:pt x="319" y="215"/>
                  <a:pt x="319" y="215"/>
                  <a:pt x="319" y="215"/>
                </a:cubicBezTo>
                <a:cubicBezTo>
                  <a:pt x="318" y="215"/>
                  <a:pt x="318" y="215"/>
                  <a:pt x="318" y="215"/>
                </a:cubicBezTo>
                <a:cubicBezTo>
                  <a:pt x="318" y="215"/>
                  <a:pt x="318" y="215"/>
                  <a:pt x="318" y="215"/>
                </a:cubicBezTo>
                <a:cubicBezTo>
                  <a:pt x="317" y="216"/>
                  <a:pt x="317" y="216"/>
                  <a:pt x="317" y="216"/>
                </a:cubicBezTo>
                <a:close/>
                <a:moveTo>
                  <a:pt x="321" y="222"/>
                </a:moveTo>
                <a:cubicBezTo>
                  <a:pt x="321" y="223"/>
                  <a:pt x="321" y="223"/>
                  <a:pt x="321" y="223"/>
                </a:cubicBezTo>
                <a:cubicBezTo>
                  <a:pt x="322" y="223"/>
                  <a:pt x="322" y="223"/>
                  <a:pt x="322" y="223"/>
                </a:cubicBezTo>
                <a:cubicBezTo>
                  <a:pt x="322" y="223"/>
                  <a:pt x="322" y="223"/>
                  <a:pt x="322" y="223"/>
                </a:cubicBezTo>
                <a:cubicBezTo>
                  <a:pt x="322" y="222"/>
                  <a:pt x="322" y="222"/>
                  <a:pt x="322" y="222"/>
                </a:cubicBezTo>
                <a:cubicBezTo>
                  <a:pt x="322" y="221"/>
                  <a:pt x="322" y="221"/>
                  <a:pt x="322" y="221"/>
                </a:cubicBezTo>
                <a:cubicBezTo>
                  <a:pt x="321" y="222"/>
                  <a:pt x="321" y="222"/>
                  <a:pt x="321" y="222"/>
                </a:cubicBezTo>
                <a:close/>
                <a:moveTo>
                  <a:pt x="320" y="222"/>
                </a:moveTo>
                <a:cubicBezTo>
                  <a:pt x="319" y="223"/>
                  <a:pt x="319" y="223"/>
                  <a:pt x="319" y="223"/>
                </a:cubicBezTo>
                <a:cubicBezTo>
                  <a:pt x="320" y="223"/>
                  <a:pt x="320" y="223"/>
                  <a:pt x="320" y="223"/>
                </a:cubicBezTo>
                <a:cubicBezTo>
                  <a:pt x="320" y="224"/>
                  <a:pt x="320" y="224"/>
                  <a:pt x="320" y="224"/>
                </a:cubicBezTo>
                <a:cubicBezTo>
                  <a:pt x="320" y="224"/>
                  <a:pt x="320" y="224"/>
                  <a:pt x="320" y="224"/>
                </a:cubicBezTo>
                <a:cubicBezTo>
                  <a:pt x="321" y="224"/>
                  <a:pt x="321" y="224"/>
                  <a:pt x="321" y="224"/>
                </a:cubicBezTo>
                <a:cubicBezTo>
                  <a:pt x="320" y="222"/>
                  <a:pt x="320" y="222"/>
                  <a:pt x="320" y="222"/>
                </a:cubicBezTo>
                <a:cubicBezTo>
                  <a:pt x="320" y="222"/>
                  <a:pt x="320" y="222"/>
                  <a:pt x="320" y="222"/>
                </a:cubicBezTo>
                <a:cubicBezTo>
                  <a:pt x="320" y="222"/>
                  <a:pt x="320" y="222"/>
                  <a:pt x="320" y="222"/>
                </a:cubicBezTo>
                <a:close/>
                <a:moveTo>
                  <a:pt x="344" y="218"/>
                </a:moveTo>
                <a:cubicBezTo>
                  <a:pt x="344" y="217"/>
                  <a:pt x="344" y="217"/>
                  <a:pt x="344" y="217"/>
                </a:cubicBezTo>
                <a:cubicBezTo>
                  <a:pt x="343" y="217"/>
                  <a:pt x="343" y="217"/>
                  <a:pt x="343" y="217"/>
                </a:cubicBezTo>
                <a:cubicBezTo>
                  <a:pt x="342" y="216"/>
                  <a:pt x="342" y="216"/>
                  <a:pt x="342" y="216"/>
                </a:cubicBezTo>
                <a:cubicBezTo>
                  <a:pt x="342" y="217"/>
                  <a:pt x="342" y="217"/>
                  <a:pt x="342" y="217"/>
                </a:cubicBezTo>
                <a:cubicBezTo>
                  <a:pt x="341" y="217"/>
                  <a:pt x="341" y="217"/>
                  <a:pt x="341" y="217"/>
                </a:cubicBezTo>
                <a:cubicBezTo>
                  <a:pt x="341" y="216"/>
                  <a:pt x="341" y="216"/>
                  <a:pt x="341" y="216"/>
                </a:cubicBezTo>
                <a:cubicBezTo>
                  <a:pt x="340" y="215"/>
                  <a:pt x="340" y="215"/>
                  <a:pt x="340" y="215"/>
                </a:cubicBezTo>
                <a:cubicBezTo>
                  <a:pt x="342" y="215"/>
                  <a:pt x="342" y="215"/>
                  <a:pt x="342" y="215"/>
                </a:cubicBezTo>
                <a:cubicBezTo>
                  <a:pt x="342" y="214"/>
                  <a:pt x="342" y="214"/>
                  <a:pt x="342" y="214"/>
                </a:cubicBezTo>
                <a:cubicBezTo>
                  <a:pt x="343" y="215"/>
                  <a:pt x="343" y="215"/>
                  <a:pt x="343" y="215"/>
                </a:cubicBezTo>
                <a:cubicBezTo>
                  <a:pt x="344" y="215"/>
                  <a:pt x="344" y="215"/>
                  <a:pt x="344" y="215"/>
                </a:cubicBezTo>
                <a:cubicBezTo>
                  <a:pt x="345" y="216"/>
                  <a:pt x="345" y="216"/>
                  <a:pt x="345" y="216"/>
                </a:cubicBezTo>
                <a:cubicBezTo>
                  <a:pt x="345" y="217"/>
                  <a:pt x="345" y="217"/>
                  <a:pt x="345" y="217"/>
                </a:cubicBezTo>
                <a:cubicBezTo>
                  <a:pt x="345" y="217"/>
                  <a:pt x="345" y="217"/>
                  <a:pt x="345" y="217"/>
                </a:cubicBezTo>
                <a:cubicBezTo>
                  <a:pt x="345" y="217"/>
                  <a:pt x="344" y="218"/>
                  <a:pt x="344" y="218"/>
                </a:cubicBezTo>
                <a:close/>
                <a:moveTo>
                  <a:pt x="358" y="223"/>
                </a:moveTo>
                <a:cubicBezTo>
                  <a:pt x="357" y="223"/>
                  <a:pt x="357" y="223"/>
                  <a:pt x="357" y="223"/>
                </a:cubicBezTo>
                <a:cubicBezTo>
                  <a:pt x="356" y="222"/>
                  <a:pt x="356" y="222"/>
                  <a:pt x="356" y="222"/>
                </a:cubicBezTo>
                <a:cubicBezTo>
                  <a:pt x="357" y="222"/>
                  <a:pt x="357" y="222"/>
                  <a:pt x="357" y="222"/>
                </a:cubicBezTo>
                <a:cubicBezTo>
                  <a:pt x="358" y="222"/>
                  <a:pt x="358" y="222"/>
                  <a:pt x="358" y="222"/>
                </a:cubicBezTo>
                <a:cubicBezTo>
                  <a:pt x="358" y="223"/>
                  <a:pt x="358" y="223"/>
                  <a:pt x="358" y="223"/>
                </a:cubicBezTo>
                <a:cubicBezTo>
                  <a:pt x="358" y="223"/>
                  <a:pt x="358" y="223"/>
                  <a:pt x="358" y="223"/>
                </a:cubicBezTo>
                <a:close/>
                <a:moveTo>
                  <a:pt x="359" y="223"/>
                </a:moveTo>
                <a:cubicBezTo>
                  <a:pt x="360" y="224"/>
                  <a:pt x="360" y="224"/>
                  <a:pt x="360" y="224"/>
                </a:cubicBezTo>
                <a:cubicBezTo>
                  <a:pt x="360" y="223"/>
                  <a:pt x="360" y="223"/>
                  <a:pt x="360" y="223"/>
                </a:cubicBezTo>
                <a:cubicBezTo>
                  <a:pt x="359" y="223"/>
                  <a:pt x="359" y="223"/>
                  <a:pt x="359" y="223"/>
                </a:cubicBezTo>
                <a:close/>
                <a:moveTo>
                  <a:pt x="361" y="224"/>
                </a:moveTo>
                <a:cubicBezTo>
                  <a:pt x="362" y="224"/>
                  <a:pt x="362" y="224"/>
                  <a:pt x="362" y="224"/>
                </a:cubicBezTo>
                <a:cubicBezTo>
                  <a:pt x="362" y="225"/>
                  <a:pt x="362" y="225"/>
                  <a:pt x="362" y="225"/>
                </a:cubicBezTo>
                <a:cubicBezTo>
                  <a:pt x="363" y="224"/>
                  <a:pt x="363" y="224"/>
                  <a:pt x="363" y="224"/>
                </a:cubicBezTo>
                <a:cubicBezTo>
                  <a:pt x="363" y="224"/>
                  <a:pt x="363" y="224"/>
                  <a:pt x="363" y="224"/>
                </a:cubicBezTo>
                <a:cubicBezTo>
                  <a:pt x="362" y="223"/>
                  <a:pt x="362" y="223"/>
                  <a:pt x="362" y="223"/>
                </a:cubicBezTo>
                <a:cubicBezTo>
                  <a:pt x="362" y="223"/>
                  <a:pt x="362" y="223"/>
                  <a:pt x="362" y="223"/>
                </a:cubicBezTo>
                <a:cubicBezTo>
                  <a:pt x="361" y="223"/>
                  <a:pt x="361" y="223"/>
                  <a:pt x="361" y="223"/>
                </a:cubicBezTo>
                <a:cubicBezTo>
                  <a:pt x="361" y="224"/>
                  <a:pt x="361" y="224"/>
                  <a:pt x="361" y="224"/>
                </a:cubicBezTo>
                <a:cubicBezTo>
                  <a:pt x="361" y="224"/>
                  <a:pt x="361" y="224"/>
                  <a:pt x="361" y="224"/>
                </a:cubicBezTo>
                <a:close/>
                <a:moveTo>
                  <a:pt x="376" y="244"/>
                </a:moveTo>
                <a:cubicBezTo>
                  <a:pt x="376" y="243"/>
                  <a:pt x="376" y="243"/>
                  <a:pt x="376" y="243"/>
                </a:cubicBezTo>
                <a:cubicBezTo>
                  <a:pt x="376" y="242"/>
                  <a:pt x="376" y="242"/>
                  <a:pt x="376" y="242"/>
                </a:cubicBezTo>
                <a:cubicBezTo>
                  <a:pt x="376" y="241"/>
                  <a:pt x="376" y="241"/>
                  <a:pt x="376" y="241"/>
                </a:cubicBezTo>
                <a:cubicBezTo>
                  <a:pt x="376" y="241"/>
                  <a:pt x="376" y="241"/>
                  <a:pt x="376" y="241"/>
                </a:cubicBezTo>
                <a:cubicBezTo>
                  <a:pt x="377" y="242"/>
                  <a:pt x="377" y="242"/>
                  <a:pt x="377" y="242"/>
                </a:cubicBezTo>
                <a:cubicBezTo>
                  <a:pt x="377" y="243"/>
                  <a:pt x="377" y="243"/>
                  <a:pt x="377" y="243"/>
                </a:cubicBezTo>
                <a:cubicBezTo>
                  <a:pt x="377" y="243"/>
                  <a:pt x="377" y="243"/>
                  <a:pt x="377" y="243"/>
                </a:cubicBezTo>
                <a:cubicBezTo>
                  <a:pt x="376" y="244"/>
                  <a:pt x="376" y="244"/>
                  <a:pt x="376" y="244"/>
                </a:cubicBezTo>
                <a:close/>
                <a:moveTo>
                  <a:pt x="374" y="247"/>
                </a:moveTo>
                <a:cubicBezTo>
                  <a:pt x="374" y="246"/>
                  <a:pt x="374" y="246"/>
                  <a:pt x="374" y="246"/>
                </a:cubicBezTo>
                <a:cubicBezTo>
                  <a:pt x="374" y="245"/>
                  <a:pt x="374" y="245"/>
                  <a:pt x="374" y="245"/>
                </a:cubicBezTo>
                <a:cubicBezTo>
                  <a:pt x="375" y="245"/>
                  <a:pt x="375" y="245"/>
                  <a:pt x="375" y="245"/>
                </a:cubicBezTo>
                <a:cubicBezTo>
                  <a:pt x="376" y="245"/>
                  <a:pt x="376" y="245"/>
                  <a:pt x="376" y="245"/>
                </a:cubicBezTo>
                <a:cubicBezTo>
                  <a:pt x="376" y="246"/>
                  <a:pt x="376" y="246"/>
                  <a:pt x="376" y="246"/>
                </a:cubicBezTo>
                <a:cubicBezTo>
                  <a:pt x="375" y="246"/>
                  <a:pt x="375" y="246"/>
                  <a:pt x="375" y="246"/>
                </a:cubicBezTo>
                <a:cubicBezTo>
                  <a:pt x="375" y="247"/>
                  <a:pt x="375" y="247"/>
                  <a:pt x="375" y="247"/>
                </a:cubicBezTo>
                <a:cubicBezTo>
                  <a:pt x="374" y="247"/>
                  <a:pt x="374" y="247"/>
                  <a:pt x="374" y="247"/>
                </a:cubicBezTo>
                <a:close/>
                <a:moveTo>
                  <a:pt x="366" y="228"/>
                </a:moveTo>
                <a:cubicBezTo>
                  <a:pt x="365" y="228"/>
                  <a:pt x="365" y="228"/>
                  <a:pt x="365" y="228"/>
                </a:cubicBezTo>
                <a:cubicBezTo>
                  <a:pt x="366" y="228"/>
                  <a:pt x="366" y="228"/>
                  <a:pt x="366" y="228"/>
                </a:cubicBezTo>
                <a:cubicBezTo>
                  <a:pt x="366" y="228"/>
                  <a:pt x="366" y="228"/>
                  <a:pt x="366" y="228"/>
                </a:cubicBezTo>
                <a:close/>
                <a:moveTo>
                  <a:pt x="364" y="229"/>
                </a:moveTo>
                <a:cubicBezTo>
                  <a:pt x="363" y="227"/>
                  <a:pt x="363" y="227"/>
                  <a:pt x="363" y="227"/>
                </a:cubicBezTo>
                <a:cubicBezTo>
                  <a:pt x="364" y="228"/>
                  <a:pt x="364" y="228"/>
                  <a:pt x="364" y="228"/>
                </a:cubicBezTo>
                <a:cubicBezTo>
                  <a:pt x="364" y="228"/>
                  <a:pt x="364" y="228"/>
                  <a:pt x="364" y="228"/>
                </a:cubicBezTo>
                <a:cubicBezTo>
                  <a:pt x="364" y="229"/>
                  <a:pt x="364" y="229"/>
                  <a:pt x="364" y="229"/>
                </a:cubicBezTo>
                <a:close/>
                <a:moveTo>
                  <a:pt x="364" y="229"/>
                </a:moveTo>
                <a:cubicBezTo>
                  <a:pt x="365" y="230"/>
                  <a:pt x="365" y="230"/>
                  <a:pt x="365" y="230"/>
                </a:cubicBezTo>
                <a:cubicBezTo>
                  <a:pt x="365" y="230"/>
                  <a:pt x="365" y="230"/>
                  <a:pt x="365" y="230"/>
                </a:cubicBezTo>
                <a:cubicBezTo>
                  <a:pt x="366" y="230"/>
                  <a:pt x="366" y="230"/>
                  <a:pt x="366" y="230"/>
                </a:cubicBezTo>
                <a:cubicBezTo>
                  <a:pt x="366" y="230"/>
                  <a:pt x="366" y="230"/>
                  <a:pt x="366" y="230"/>
                </a:cubicBezTo>
                <a:cubicBezTo>
                  <a:pt x="366" y="229"/>
                  <a:pt x="366" y="229"/>
                  <a:pt x="366" y="229"/>
                </a:cubicBezTo>
                <a:cubicBezTo>
                  <a:pt x="365" y="229"/>
                  <a:pt x="365" y="229"/>
                  <a:pt x="365" y="229"/>
                </a:cubicBezTo>
                <a:cubicBezTo>
                  <a:pt x="364" y="229"/>
                  <a:pt x="364" y="229"/>
                  <a:pt x="364" y="229"/>
                </a:cubicBezTo>
                <a:close/>
                <a:moveTo>
                  <a:pt x="372" y="226"/>
                </a:moveTo>
                <a:cubicBezTo>
                  <a:pt x="373" y="226"/>
                  <a:pt x="373" y="226"/>
                  <a:pt x="373" y="226"/>
                </a:cubicBezTo>
                <a:cubicBezTo>
                  <a:pt x="374" y="227"/>
                  <a:pt x="374" y="227"/>
                  <a:pt x="374" y="227"/>
                </a:cubicBezTo>
                <a:cubicBezTo>
                  <a:pt x="374" y="227"/>
                  <a:pt x="374" y="227"/>
                  <a:pt x="374" y="227"/>
                </a:cubicBezTo>
                <a:cubicBezTo>
                  <a:pt x="374" y="228"/>
                  <a:pt x="374" y="228"/>
                  <a:pt x="374" y="228"/>
                </a:cubicBezTo>
                <a:cubicBezTo>
                  <a:pt x="374" y="229"/>
                  <a:pt x="374" y="229"/>
                  <a:pt x="374" y="229"/>
                </a:cubicBezTo>
                <a:cubicBezTo>
                  <a:pt x="375" y="228"/>
                  <a:pt x="375" y="228"/>
                  <a:pt x="375" y="228"/>
                </a:cubicBezTo>
                <a:cubicBezTo>
                  <a:pt x="375" y="227"/>
                  <a:pt x="375" y="227"/>
                  <a:pt x="375" y="227"/>
                </a:cubicBezTo>
                <a:cubicBezTo>
                  <a:pt x="376" y="228"/>
                  <a:pt x="376" y="228"/>
                  <a:pt x="376" y="228"/>
                </a:cubicBezTo>
                <a:cubicBezTo>
                  <a:pt x="377" y="227"/>
                  <a:pt x="377" y="227"/>
                  <a:pt x="377" y="227"/>
                </a:cubicBezTo>
                <a:cubicBezTo>
                  <a:pt x="377" y="228"/>
                  <a:pt x="377" y="228"/>
                  <a:pt x="377" y="228"/>
                </a:cubicBezTo>
                <a:cubicBezTo>
                  <a:pt x="378" y="227"/>
                  <a:pt x="378" y="227"/>
                  <a:pt x="378" y="227"/>
                </a:cubicBezTo>
                <a:cubicBezTo>
                  <a:pt x="377" y="226"/>
                  <a:pt x="377" y="226"/>
                  <a:pt x="377" y="226"/>
                </a:cubicBezTo>
                <a:cubicBezTo>
                  <a:pt x="376" y="226"/>
                  <a:pt x="376" y="226"/>
                  <a:pt x="376" y="226"/>
                </a:cubicBezTo>
                <a:cubicBezTo>
                  <a:pt x="375" y="225"/>
                  <a:pt x="375" y="225"/>
                  <a:pt x="375" y="225"/>
                </a:cubicBezTo>
                <a:cubicBezTo>
                  <a:pt x="373" y="225"/>
                  <a:pt x="373" y="225"/>
                  <a:pt x="373" y="225"/>
                </a:cubicBezTo>
                <a:cubicBezTo>
                  <a:pt x="373" y="225"/>
                  <a:pt x="373" y="225"/>
                  <a:pt x="373" y="225"/>
                </a:cubicBezTo>
                <a:cubicBezTo>
                  <a:pt x="373" y="225"/>
                  <a:pt x="372" y="226"/>
                  <a:pt x="372" y="226"/>
                </a:cubicBezTo>
                <a:close/>
                <a:moveTo>
                  <a:pt x="387" y="225"/>
                </a:moveTo>
                <a:cubicBezTo>
                  <a:pt x="387" y="224"/>
                  <a:pt x="387" y="224"/>
                  <a:pt x="387" y="224"/>
                </a:cubicBezTo>
                <a:cubicBezTo>
                  <a:pt x="387" y="224"/>
                  <a:pt x="387" y="224"/>
                  <a:pt x="387" y="224"/>
                </a:cubicBezTo>
                <a:cubicBezTo>
                  <a:pt x="387" y="225"/>
                  <a:pt x="387" y="225"/>
                  <a:pt x="387" y="225"/>
                </a:cubicBezTo>
                <a:cubicBezTo>
                  <a:pt x="387" y="225"/>
                  <a:pt x="387" y="225"/>
                  <a:pt x="387" y="225"/>
                </a:cubicBezTo>
                <a:close/>
                <a:moveTo>
                  <a:pt x="382" y="231"/>
                </a:moveTo>
                <a:cubicBezTo>
                  <a:pt x="382" y="230"/>
                  <a:pt x="382" y="230"/>
                  <a:pt x="382" y="230"/>
                </a:cubicBezTo>
                <a:cubicBezTo>
                  <a:pt x="383" y="229"/>
                  <a:pt x="383" y="229"/>
                  <a:pt x="383" y="229"/>
                </a:cubicBezTo>
                <a:cubicBezTo>
                  <a:pt x="384" y="229"/>
                  <a:pt x="384" y="229"/>
                  <a:pt x="384" y="229"/>
                </a:cubicBezTo>
                <a:cubicBezTo>
                  <a:pt x="384" y="228"/>
                  <a:pt x="384" y="228"/>
                  <a:pt x="384" y="228"/>
                </a:cubicBezTo>
                <a:cubicBezTo>
                  <a:pt x="385" y="228"/>
                  <a:pt x="385" y="228"/>
                  <a:pt x="385" y="228"/>
                </a:cubicBezTo>
                <a:cubicBezTo>
                  <a:pt x="385" y="229"/>
                  <a:pt x="385" y="229"/>
                  <a:pt x="385" y="229"/>
                </a:cubicBezTo>
                <a:cubicBezTo>
                  <a:pt x="385" y="229"/>
                  <a:pt x="385" y="229"/>
                  <a:pt x="385" y="229"/>
                </a:cubicBezTo>
                <a:cubicBezTo>
                  <a:pt x="384" y="230"/>
                  <a:pt x="384" y="230"/>
                  <a:pt x="384" y="230"/>
                </a:cubicBezTo>
                <a:cubicBezTo>
                  <a:pt x="383" y="231"/>
                  <a:pt x="383" y="231"/>
                  <a:pt x="383" y="231"/>
                </a:cubicBezTo>
                <a:cubicBezTo>
                  <a:pt x="382" y="231"/>
                  <a:pt x="382" y="231"/>
                  <a:pt x="382" y="231"/>
                </a:cubicBezTo>
                <a:cubicBezTo>
                  <a:pt x="382" y="231"/>
                  <a:pt x="382" y="231"/>
                  <a:pt x="382" y="231"/>
                </a:cubicBezTo>
                <a:close/>
                <a:moveTo>
                  <a:pt x="377" y="239"/>
                </a:moveTo>
                <a:cubicBezTo>
                  <a:pt x="379" y="237"/>
                  <a:pt x="379" y="237"/>
                  <a:pt x="379" y="237"/>
                </a:cubicBezTo>
                <a:cubicBezTo>
                  <a:pt x="380" y="236"/>
                  <a:pt x="380" y="236"/>
                  <a:pt x="380" y="236"/>
                </a:cubicBezTo>
                <a:cubicBezTo>
                  <a:pt x="380" y="236"/>
                  <a:pt x="380" y="236"/>
                  <a:pt x="380" y="236"/>
                </a:cubicBezTo>
                <a:cubicBezTo>
                  <a:pt x="382" y="235"/>
                  <a:pt x="382" y="235"/>
                  <a:pt x="382" y="235"/>
                </a:cubicBezTo>
                <a:cubicBezTo>
                  <a:pt x="383" y="234"/>
                  <a:pt x="383" y="234"/>
                  <a:pt x="383" y="234"/>
                </a:cubicBezTo>
                <a:cubicBezTo>
                  <a:pt x="382" y="233"/>
                  <a:pt x="382" y="233"/>
                  <a:pt x="382" y="233"/>
                </a:cubicBezTo>
                <a:cubicBezTo>
                  <a:pt x="382" y="232"/>
                  <a:pt x="382" y="232"/>
                  <a:pt x="382" y="232"/>
                </a:cubicBezTo>
                <a:cubicBezTo>
                  <a:pt x="381" y="233"/>
                  <a:pt x="381" y="233"/>
                  <a:pt x="381" y="233"/>
                </a:cubicBezTo>
                <a:cubicBezTo>
                  <a:pt x="381" y="234"/>
                  <a:pt x="381" y="234"/>
                  <a:pt x="381" y="234"/>
                </a:cubicBezTo>
                <a:cubicBezTo>
                  <a:pt x="380" y="234"/>
                  <a:pt x="380" y="234"/>
                  <a:pt x="380" y="234"/>
                </a:cubicBezTo>
                <a:cubicBezTo>
                  <a:pt x="379" y="235"/>
                  <a:pt x="379" y="235"/>
                  <a:pt x="379" y="235"/>
                </a:cubicBezTo>
                <a:cubicBezTo>
                  <a:pt x="378" y="235"/>
                  <a:pt x="378" y="235"/>
                  <a:pt x="378" y="235"/>
                </a:cubicBezTo>
                <a:cubicBezTo>
                  <a:pt x="376" y="235"/>
                  <a:pt x="376" y="235"/>
                  <a:pt x="376" y="235"/>
                </a:cubicBezTo>
                <a:cubicBezTo>
                  <a:pt x="376" y="236"/>
                  <a:pt x="376" y="236"/>
                  <a:pt x="376" y="236"/>
                </a:cubicBezTo>
                <a:cubicBezTo>
                  <a:pt x="375" y="237"/>
                  <a:pt x="375" y="237"/>
                  <a:pt x="375" y="237"/>
                </a:cubicBezTo>
                <a:cubicBezTo>
                  <a:pt x="374" y="237"/>
                  <a:pt x="374" y="237"/>
                  <a:pt x="374" y="237"/>
                </a:cubicBezTo>
                <a:cubicBezTo>
                  <a:pt x="375" y="239"/>
                  <a:pt x="375" y="239"/>
                  <a:pt x="375" y="239"/>
                </a:cubicBezTo>
                <a:cubicBezTo>
                  <a:pt x="375" y="238"/>
                  <a:pt x="375" y="238"/>
                  <a:pt x="375" y="238"/>
                </a:cubicBezTo>
                <a:cubicBezTo>
                  <a:pt x="376" y="239"/>
                  <a:pt x="376" y="239"/>
                  <a:pt x="376" y="239"/>
                </a:cubicBezTo>
                <a:cubicBezTo>
                  <a:pt x="377" y="239"/>
                  <a:pt x="377" y="239"/>
                  <a:pt x="377" y="239"/>
                </a:cubicBezTo>
                <a:close/>
                <a:moveTo>
                  <a:pt x="387" y="237"/>
                </a:moveTo>
                <a:cubicBezTo>
                  <a:pt x="387" y="236"/>
                  <a:pt x="387" y="236"/>
                  <a:pt x="387" y="236"/>
                </a:cubicBezTo>
                <a:cubicBezTo>
                  <a:pt x="387" y="235"/>
                  <a:pt x="387" y="235"/>
                  <a:pt x="387" y="235"/>
                </a:cubicBezTo>
                <a:cubicBezTo>
                  <a:pt x="388" y="234"/>
                  <a:pt x="388" y="234"/>
                  <a:pt x="388" y="234"/>
                </a:cubicBezTo>
                <a:cubicBezTo>
                  <a:pt x="389" y="234"/>
                  <a:pt x="389" y="234"/>
                  <a:pt x="389" y="234"/>
                </a:cubicBezTo>
                <a:cubicBezTo>
                  <a:pt x="390" y="234"/>
                  <a:pt x="390" y="234"/>
                  <a:pt x="390" y="234"/>
                </a:cubicBezTo>
                <a:cubicBezTo>
                  <a:pt x="390" y="235"/>
                  <a:pt x="390" y="235"/>
                  <a:pt x="390" y="235"/>
                </a:cubicBezTo>
                <a:cubicBezTo>
                  <a:pt x="390" y="236"/>
                  <a:pt x="390" y="236"/>
                  <a:pt x="390" y="236"/>
                </a:cubicBezTo>
                <a:cubicBezTo>
                  <a:pt x="389" y="237"/>
                  <a:pt x="389" y="237"/>
                  <a:pt x="389" y="237"/>
                </a:cubicBezTo>
                <a:cubicBezTo>
                  <a:pt x="388" y="238"/>
                  <a:pt x="388" y="238"/>
                  <a:pt x="388" y="238"/>
                </a:cubicBezTo>
                <a:cubicBezTo>
                  <a:pt x="387" y="237"/>
                  <a:pt x="387" y="237"/>
                  <a:pt x="387" y="237"/>
                </a:cubicBezTo>
                <a:close/>
                <a:moveTo>
                  <a:pt x="395" y="248"/>
                </a:moveTo>
                <a:cubicBezTo>
                  <a:pt x="395" y="246"/>
                  <a:pt x="395" y="246"/>
                  <a:pt x="395" y="246"/>
                </a:cubicBezTo>
                <a:cubicBezTo>
                  <a:pt x="395" y="244"/>
                  <a:pt x="395" y="244"/>
                  <a:pt x="395" y="244"/>
                </a:cubicBezTo>
                <a:cubicBezTo>
                  <a:pt x="395" y="243"/>
                  <a:pt x="395" y="243"/>
                  <a:pt x="395" y="243"/>
                </a:cubicBezTo>
                <a:cubicBezTo>
                  <a:pt x="394" y="243"/>
                  <a:pt x="394" y="243"/>
                  <a:pt x="394" y="243"/>
                </a:cubicBezTo>
                <a:cubicBezTo>
                  <a:pt x="394" y="244"/>
                  <a:pt x="394" y="244"/>
                  <a:pt x="394" y="244"/>
                </a:cubicBezTo>
                <a:cubicBezTo>
                  <a:pt x="393" y="246"/>
                  <a:pt x="393" y="246"/>
                  <a:pt x="393" y="246"/>
                </a:cubicBezTo>
                <a:cubicBezTo>
                  <a:pt x="394" y="247"/>
                  <a:pt x="394" y="247"/>
                  <a:pt x="394" y="247"/>
                </a:cubicBezTo>
                <a:cubicBezTo>
                  <a:pt x="394" y="247"/>
                  <a:pt x="394" y="247"/>
                  <a:pt x="394" y="247"/>
                </a:cubicBezTo>
                <a:cubicBezTo>
                  <a:pt x="394" y="248"/>
                  <a:pt x="394" y="248"/>
                  <a:pt x="394" y="248"/>
                </a:cubicBezTo>
                <a:cubicBezTo>
                  <a:pt x="395" y="248"/>
                  <a:pt x="395" y="248"/>
                  <a:pt x="395" y="248"/>
                </a:cubicBezTo>
                <a:cubicBezTo>
                  <a:pt x="395" y="248"/>
                  <a:pt x="395" y="248"/>
                  <a:pt x="395" y="248"/>
                </a:cubicBezTo>
                <a:close/>
                <a:moveTo>
                  <a:pt x="396" y="247"/>
                </a:moveTo>
                <a:cubicBezTo>
                  <a:pt x="396" y="246"/>
                  <a:pt x="396" y="246"/>
                  <a:pt x="396" y="246"/>
                </a:cubicBezTo>
                <a:cubicBezTo>
                  <a:pt x="396" y="244"/>
                  <a:pt x="396" y="244"/>
                  <a:pt x="396" y="244"/>
                </a:cubicBezTo>
                <a:cubicBezTo>
                  <a:pt x="397" y="246"/>
                  <a:pt x="397" y="246"/>
                  <a:pt x="397" y="246"/>
                </a:cubicBezTo>
                <a:cubicBezTo>
                  <a:pt x="397" y="246"/>
                  <a:pt x="397" y="246"/>
                  <a:pt x="397" y="246"/>
                </a:cubicBezTo>
                <a:cubicBezTo>
                  <a:pt x="397" y="247"/>
                  <a:pt x="397" y="247"/>
                  <a:pt x="397" y="247"/>
                </a:cubicBezTo>
                <a:cubicBezTo>
                  <a:pt x="396" y="247"/>
                  <a:pt x="396" y="247"/>
                  <a:pt x="396" y="247"/>
                </a:cubicBezTo>
                <a:close/>
                <a:moveTo>
                  <a:pt x="398" y="249"/>
                </a:moveTo>
                <a:cubicBezTo>
                  <a:pt x="398" y="249"/>
                  <a:pt x="398" y="249"/>
                  <a:pt x="398" y="249"/>
                </a:cubicBezTo>
                <a:cubicBezTo>
                  <a:pt x="398" y="248"/>
                  <a:pt x="398" y="248"/>
                  <a:pt x="398" y="248"/>
                </a:cubicBezTo>
                <a:cubicBezTo>
                  <a:pt x="398" y="248"/>
                  <a:pt x="398" y="248"/>
                  <a:pt x="398" y="248"/>
                </a:cubicBezTo>
                <a:cubicBezTo>
                  <a:pt x="398" y="249"/>
                  <a:pt x="398" y="249"/>
                  <a:pt x="398" y="249"/>
                </a:cubicBezTo>
                <a:cubicBezTo>
                  <a:pt x="398" y="249"/>
                  <a:pt x="398" y="249"/>
                  <a:pt x="398" y="249"/>
                </a:cubicBezTo>
                <a:close/>
                <a:moveTo>
                  <a:pt x="394" y="252"/>
                </a:moveTo>
                <a:cubicBezTo>
                  <a:pt x="394" y="252"/>
                  <a:pt x="394" y="252"/>
                  <a:pt x="394" y="252"/>
                </a:cubicBezTo>
                <a:cubicBezTo>
                  <a:pt x="394" y="254"/>
                  <a:pt x="394" y="254"/>
                  <a:pt x="394" y="254"/>
                </a:cubicBezTo>
                <a:cubicBezTo>
                  <a:pt x="394" y="255"/>
                  <a:pt x="394" y="255"/>
                  <a:pt x="394" y="255"/>
                </a:cubicBezTo>
                <a:cubicBezTo>
                  <a:pt x="395" y="255"/>
                  <a:pt x="395" y="255"/>
                  <a:pt x="395" y="255"/>
                </a:cubicBezTo>
                <a:cubicBezTo>
                  <a:pt x="395" y="255"/>
                  <a:pt x="395" y="255"/>
                  <a:pt x="395" y="255"/>
                </a:cubicBezTo>
                <a:cubicBezTo>
                  <a:pt x="397" y="255"/>
                  <a:pt x="397" y="255"/>
                  <a:pt x="397" y="255"/>
                </a:cubicBezTo>
                <a:cubicBezTo>
                  <a:pt x="397" y="256"/>
                  <a:pt x="397" y="256"/>
                  <a:pt x="397" y="256"/>
                </a:cubicBezTo>
                <a:cubicBezTo>
                  <a:pt x="398" y="256"/>
                  <a:pt x="398" y="256"/>
                  <a:pt x="398" y="256"/>
                </a:cubicBezTo>
                <a:cubicBezTo>
                  <a:pt x="399" y="256"/>
                  <a:pt x="399" y="256"/>
                  <a:pt x="399" y="256"/>
                </a:cubicBezTo>
                <a:cubicBezTo>
                  <a:pt x="400" y="255"/>
                  <a:pt x="400" y="255"/>
                  <a:pt x="400" y="255"/>
                </a:cubicBezTo>
                <a:cubicBezTo>
                  <a:pt x="399" y="254"/>
                  <a:pt x="399" y="254"/>
                  <a:pt x="399" y="254"/>
                </a:cubicBezTo>
                <a:cubicBezTo>
                  <a:pt x="399" y="253"/>
                  <a:pt x="399" y="253"/>
                  <a:pt x="399" y="253"/>
                </a:cubicBezTo>
                <a:cubicBezTo>
                  <a:pt x="398" y="253"/>
                  <a:pt x="398" y="253"/>
                  <a:pt x="398" y="253"/>
                </a:cubicBezTo>
                <a:cubicBezTo>
                  <a:pt x="398" y="252"/>
                  <a:pt x="398" y="252"/>
                  <a:pt x="398" y="252"/>
                </a:cubicBezTo>
                <a:cubicBezTo>
                  <a:pt x="397" y="252"/>
                  <a:pt x="397" y="252"/>
                  <a:pt x="397" y="252"/>
                </a:cubicBezTo>
                <a:cubicBezTo>
                  <a:pt x="396" y="252"/>
                  <a:pt x="396" y="252"/>
                  <a:pt x="396" y="252"/>
                </a:cubicBezTo>
                <a:cubicBezTo>
                  <a:pt x="396" y="252"/>
                  <a:pt x="396" y="252"/>
                  <a:pt x="396" y="252"/>
                </a:cubicBezTo>
                <a:cubicBezTo>
                  <a:pt x="396" y="251"/>
                  <a:pt x="396" y="251"/>
                  <a:pt x="396" y="251"/>
                </a:cubicBezTo>
                <a:cubicBezTo>
                  <a:pt x="396" y="251"/>
                  <a:pt x="396" y="251"/>
                  <a:pt x="396" y="251"/>
                </a:cubicBezTo>
                <a:cubicBezTo>
                  <a:pt x="395" y="252"/>
                  <a:pt x="395" y="252"/>
                  <a:pt x="395" y="252"/>
                </a:cubicBezTo>
                <a:cubicBezTo>
                  <a:pt x="395" y="252"/>
                  <a:pt x="395" y="252"/>
                  <a:pt x="395" y="252"/>
                </a:cubicBezTo>
                <a:cubicBezTo>
                  <a:pt x="394" y="252"/>
                  <a:pt x="394" y="252"/>
                  <a:pt x="394" y="252"/>
                </a:cubicBezTo>
                <a:close/>
                <a:moveTo>
                  <a:pt x="361" y="298"/>
                </a:moveTo>
                <a:cubicBezTo>
                  <a:pt x="362" y="298"/>
                  <a:pt x="362" y="298"/>
                  <a:pt x="362" y="298"/>
                </a:cubicBezTo>
                <a:cubicBezTo>
                  <a:pt x="363" y="298"/>
                  <a:pt x="363" y="298"/>
                  <a:pt x="363" y="298"/>
                </a:cubicBezTo>
                <a:cubicBezTo>
                  <a:pt x="362" y="297"/>
                  <a:pt x="362" y="297"/>
                  <a:pt x="362" y="297"/>
                </a:cubicBezTo>
                <a:cubicBezTo>
                  <a:pt x="361" y="297"/>
                  <a:pt x="361" y="297"/>
                  <a:pt x="361" y="297"/>
                </a:cubicBezTo>
                <a:cubicBezTo>
                  <a:pt x="361" y="298"/>
                  <a:pt x="361" y="298"/>
                  <a:pt x="361" y="298"/>
                </a:cubicBezTo>
                <a:close/>
                <a:moveTo>
                  <a:pt x="343" y="267"/>
                </a:moveTo>
                <a:cubicBezTo>
                  <a:pt x="343" y="268"/>
                  <a:pt x="343" y="268"/>
                  <a:pt x="343" y="268"/>
                </a:cubicBezTo>
                <a:cubicBezTo>
                  <a:pt x="344" y="268"/>
                  <a:pt x="344" y="268"/>
                  <a:pt x="344" y="268"/>
                </a:cubicBezTo>
                <a:cubicBezTo>
                  <a:pt x="344" y="268"/>
                  <a:pt x="344" y="268"/>
                  <a:pt x="344" y="268"/>
                </a:cubicBezTo>
                <a:cubicBezTo>
                  <a:pt x="343" y="267"/>
                  <a:pt x="343" y="267"/>
                  <a:pt x="343" y="267"/>
                </a:cubicBezTo>
                <a:cubicBezTo>
                  <a:pt x="343" y="267"/>
                  <a:pt x="343" y="267"/>
                  <a:pt x="343" y="267"/>
                </a:cubicBezTo>
                <a:cubicBezTo>
                  <a:pt x="343" y="267"/>
                  <a:pt x="343" y="267"/>
                  <a:pt x="343" y="267"/>
                </a:cubicBezTo>
                <a:close/>
                <a:moveTo>
                  <a:pt x="338" y="274"/>
                </a:moveTo>
                <a:cubicBezTo>
                  <a:pt x="338" y="274"/>
                  <a:pt x="338" y="274"/>
                  <a:pt x="338" y="274"/>
                </a:cubicBezTo>
                <a:cubicBezTo>
                  <a:pt x="338" y="273"/>
                  <a:pt x="338" y="273"/>
                  <a:pt x="338" y="273"/>
                </a:cubicBezTo>
                <a:cubicBezTo>
                  <a:pt x="337" y="272"/>
                  <a:pt x="337" y="272"/>
                  <a:pt x="337" y="272"/>
                </a:cubicBezTo>
                <a:cubicBezTo>
                  <a:pt x="337" y="271"/>
                  <a:pt x="337" y="271"/>
                  <a:pt x="337" y="271"/>
                </a:cubicBezTo>
                <a:cubicBezTo>
                  <a:pt x="336" y="270"/>
                  <a:pt x="336" y="270"/>
                  <a:pt x="336" y="270"/>
                </a:cubicBezTo>
                <a:cubicBezTo>
                  <a:pt x="336" y="270"/>
                  <a:pt x="336" y="270"/>
                  <a:pt x="336" y="270"/>
                </a:cubicBezTo>
                <a:cubicBezTo>
                  <a:pt x="336" y="268"/>
                  <a:pt x="336" y="268"/>
                  <a:pt x="336" y="268"/>
                </a:cubicBezTo>
                <a:cubicBezTo>
                  <a:pt x="336" y="268"/>
                  <a:pt x="336" y="268"/>
                  <a:pt x="336" y="268"/>
                </a:cubicBezTo>
                <a:cubicBezTo>
                  <a:pt x="336" y="269"/>
                  <a:pt x="336" y="269"/>
                  <a:pt x="336" y="269"/>
                </a:cubicBezTo>
                <a:cubicBezTo>
                  <a:pt x="338" y="269"/>
                  <a:pt x="338" y="269"/>
                  <a:pt x="338" y="269"/>
                </a:cubicBezTo>
                <a:cubicBezTo>
                  <a:pt x="338" y="270"/>
                  <a:pt x="338" y="270"/>
                  <a:pt x="338" y="270"/>
                </a:cubicBezTo>
                <a:cubicBezTo>
                  <a:pt x="339" y="271"/>
                  <a:pt x="339" y="271"/>
                  <a:pt x="339" y="271"/>
                </a:cubicBezTo>
                <a:cubicBezTo>
                  <a:pt x="339" y="273"/>
                  <a:pt x="339" y="273"/>
                  <a:pt x="339" y="273"/>
                </a:cubicBezTo>
                <a:cubicBezTo>
                  <a:pt x="340" y="273"/>
                  <a:pt x="340" y="273"/>
                  <a:pt x="340" y="273"/>
                </a:cubicBezTo>
                <a:cubicBezTo>
                  <a:pt x="341" y="273"/>
                  <a:pt x="341" y="273"/>
                  <a:pt x="341" y="273"/>
                </a:cubicBezTo>
                <a:cubicBezTo>
                  <a:pt x="341" y="274"/>
                  <a:pt x="341" y="274"/>
                  <a:pt x="341" y="274"/>
                </a:cubicBezTo>
                <a:cubicBezTo>
                  <a:pt x="339" y="274"/>
                  <a:pt x="339" y="274"/>
                  <a:pt x="339" y="274"/>
                </a:cubicBezTo>
                <a:cubicBezTo>
                  <a:pt x="338" y="274"/>
                  <a:pt x="338" y="274"/>
                  <a:pt x="338" y="274"/>
                </a:cubicBezTo>
                <a:close/>
                <a:moveTo>
                  <a:pt x="331" y="274"/>
                </a:moveTo>
                <a:cubicBezTo>
                  <a:pt x="331" y="273"/>
                  <a:pt x="331" y="273"/>
                  <a:pt x="331" y="273"/>
                </a:cubicBezTo>
                <a:cubicBezTo>
                  <a:pt x="331" y="272"/>
                  <a:pt x="331" y="272"/>
                  <a:pt x="331" y="272"/>
                </a:cubicBezTo>
                <a:cubicBezTo>
                  <a:pt x="331" y="271"/>
                  <a:pt x="331" y="271"/>
                  <a:pt x="331" y="271"/>
                </a:cubicBezTo>
                <a:cubicBezTo>
                  <a:pt x="331" y="270"/>
                  <a:pt x="331" y="270"/>
                  <a:pt x="331" y="270"/>
                </a:cubicBezTo>
                <a:cubicBezTo>
                  <a:pt x="332" y="269"/>
                  <a:pt x="332" y="269"/>
                  <a:pt x="332" y="269"/>
                </a:cubicBezTo>
                <a:cubicBezTo>
                  <a:pt x="332" y="269"/>
                  <a:pt x="332" y="269"/>
                  <a:pt x="332" y="269"/>
                </a:cubicBezTo>
                <a:cubicBezTo>
                  <a:pt x="333" y="270"/>
                  <a:pt x="333" y="270"/>
                  <a:pt x="333" y="270"/>
                </a:cubicBezTo>
                <a:cubicBezTo>
                  <a:pt x="332" y="270"/>
                  <a:pt x="332" y="270"/>
                  <a:pt x="332" y="270"/>
                </a:cubicBezTo>
                <a:cubicBezTo>
                  <a:pt x="332" y="271"/>
                  <a:pt x="332" y="271"/>
                  <a:pt x="332" y="271"/>
                </a:cubicBezTo>
                <a:cubicBezTo>
                  <a:pt x="333" y="272"/>
                  <a:pt x="333" y="272"/>
                  <a:pt x="333" y="272"/>
                </a:cubicBezTo>
                <a:cubicBezTo>
                  <a:pt x="332" y="274"/>
                  <a:pt x="332" y="274"/>
                  <a:pt x="332" y="274"/>
                </a:cubicBezTo>
                <a:cubicBezTo>
                  <a:pt x="331" y="274"/>
                  <a:pt x="331" y="274"/>
                  <a:pt x="331" y="274"/>
                </a:cubicBezTo>
                <a:close/>
                <a:moveTo>
                  <a:pt x="331" y="244"/>
                </a:moveTo>
                <a:cubicBezTo>
                  <a:pt x="331" y="245"/>
                  <a:pt x="331" y="245"/>
                  <a:pt x="331" y="245"/>
                </a:cubicBezTo>
                <a:cubicBezTo>
                  <a:pt x="331" y="246"/>
                  <a:pt x="331" y="246"/>
                  <a:pt x="331" y="246"/>
                </a:cubicBezTo>
                <a:cubicBezTo>
                  <a:pt x="332" y="246"/>
                  <a:pt x="332" y="246"/>
                  <a:pt x="332" y="246"/>
                </a:cubicBezTo>
                <a:cubicBezTo>
                  <a:pt x="333" y="245"/>
                  <a:pt x="333" y="245"/>
                  <a:pt x="333" y="245"/>
                </a:cubicBezTo>
                <a:cubicBezTo>
                  <a:pt x="333" y="244"/>
                  <a:pt x="333" y="244"/>
                  <a:pt x="333" y="244"/>
                </a:cubicBezTo>
                <a:cubicBezTo>
                  <a:pt x="332" y="244"/>
                  <a:pt x="332" y="244"/>
                  <a:pt x="332" y="244"/>
                </a:cubicBezTo>
                <a:cubicBezTo>
                  <a:pt x="331" y="244"/>
                  <a:pt x="331" y="244"/>
                  <a:pt x="331" y="244"/>
                </a:cubicBezTo>
                <a:close/>
                <a:moveTo>
                  <a:pt x="331" y="244"/>
                </a:moveTo>
                <a:cubicBezTo>
                  <a:pt x="331" y="243"/>
                  <a:pt x="331" y="243"/>
                  <a:pt x="331" y="243"/>
                </a:cubicBezTo>
                <a:cubicBezTo>
                  <a:pt x="331" y="241"/>
                  <a:pt x="331" y="241"/>
                  <a:pt x="331" y="241"/>
                </a:cubicBezTo>
                <a:cubicBezTo>
                  <a:pt x="333" y="240"/>
                  <a:pt x="333" y="240"/>
                  <a:pt x="333" y="240"/>
                </a:cubicBezTo>
                <a:cubicBezTo>
                  <a:pt x="334" y="239"/>
                  <a:pt x="334" y="239"/>
                  <a:pt x="334" y="239"/>
                </a:cubicBezTo>
                <a:cubicBezTo>
                  <a:pt x="334" y="240"/>
                  <a:pt x="334" y="240"/>
                  <a:pt x="334" y="240"/>
                </a:cubicBezTo>
                <a:cubicBezTo>
                  <a:pt x="334" y="241"/>
                  <a:pt x="334" y="241"/>
                  <a:pt x="334" y="241"/>
                </a:cubicBezTo>
                <a:cubicBezTo>
                  <a:pt x="334" y="242"/>
                  <a:pt x="334" y="242"/>
                  <a:pt x="334" y="242"/>
                </a:cubicBezTo>
                <a:cubicBezTo>
                  <a:pt x="334" y="244"/>
                  <a:pt x="334" y="244"/>
                  <a:pt x="334" y="244"/>
                </a:cubicBezTo>
                <a:cubicBezTo>
                  <a:pt x="333" y="244"/>
                  <a:pt x="333" y="244"/>
                  <a:pt x="333" y="244"/>
                </a:cubicBezTo>
                <a:cubicBezTo>
                  <a:pt x="331" y="244"/>
                  <a:pt x="331" y="244"/>
                  <a:pt x="331" y="244"/>
                </a:cubicBezTo>
                <a:close/>
                <a:moveTo>
                  <a:pt x="271" y="231"/>
                </a:moveTo>
                <a:cubicBezTo>
                  <a:pt x="271" y="231"/>
                  <a:pt x="271" y="231"/>
                  <a:pt x="271" y="231"/>
                </a:cubicBezTo>
                <a:cubicBezTo>
                  <a:pt x="271" y="230"/>
                  <a:pt x="271" y="230"/>
                  <a:pt x="271" y="230"/>
                </a:cubicBezTo>
                <a:cubicBezTo>
                  <a:pt x="270" y="230"/>
                  <a:pt x="270" y="230"/>
                  <a:pt x="270" y="230"/>
                </a:cubicBezTo>
                <a:cubicBezTo>
                  <a:pt x="270" y="231"/>
                  <a:pt x="270" y="231"/>
                  <a:pt x="270" y="231"/>
                </a:cubicBezTo>
                <a:cubicBezTo>
                  <a:pt x="271" y="231"/>
                  <a:pt x="271" y="231"/>
                  <a:pt x="271" y="231"/>
                </a:cubicBezTo>
                <a:close/>
                <a:moveTo>
                  <a:pt x="219" y="217"/>
                </a:moveTo>
                <a:cubicBezTo>
                  <a:pt x="220" y="216"/>
                  <a:pt x="220" y="216"/>
                  <a:pt x="220" y="216"/>
                </a:cubicBezTo>
                <a:cubicBezTo>
                  <a:pt x="221" y="216"/>
                  <a:pt x="221" y="216"/>
                  <a:pt x="221" y="216"/>
                </a:cubicBezTo>
                <a:cubicBezTo>
                  <a:pt x="220" y="217"/>
                  <a:pt x="220" y="217"/>
                  <a:pt x="220" y="217"/>
                </a:cubicBezTo>
                <a:cubicBezTo>
                  <a:pt x="220" y="217"/>
                  <a:pt x="219" y="217"/>
                  <a:pt x="219" y="217"/>
                </a:cubicBezTo>
                <a:close/>
                <a:moveTo>
                  <a:pt x="215" y="219"/>
                </a:moveTo>
                <a:cubicBezTo>
                  <a:pt x="216" y="219"/>
                  <a:pt x="216" y="219"/>
                  <a:pt x="216" y="219"/>
                </a:cubicBezTo>
                <a:cubicBezTo>
                  <a:pt x="216" y="218"/>
                  <a:pt x="216" y="218"/>
                  <a:pt x="216" y="218"/>
                </a:cubicBezTo>
                <a:cubicBezTo>
                  <a:pt x="215" y="218"/>
                  <a:pt x="215" y="218"/>
                  <a:pt x="215" y="218"/>
                </a:cubicBezTo>
                <a:cubicBezTo>
                  <a:pt x="215" y="219"/>
                  <a:pt x="215" y="219"/>
                  <a:pt x="215" y="219"/>
                </a:cubicBezTo>
                <a:close/>
                <a:moveTo>
                  <a:pt x="217" y="223"/>
                </a:moveTo>
                <a:cubicBezTo>
                  <a:pt x="217" y="223"/>
                  <a:pt x="217" y="223"/>
                  <a:pt x="217" y="223"/>
                </a:cubicBezTo>
                <a:cubicBezTo>
                  <a:pt x="217" y="222"/>
                  <a:pt x="217" y="222"/>
                  <a:pt x="217" y="222"/>
                </a:cubicBezTo>
                <a:cubicBezTo>
                  <a:pt x="217" y="223"/>
                  <a:pt x="217" y="223"/>
                  <a:pt x="217" y="223"/>
                </a:cubicBezTo>
                <a:cubicBezTo>
                  <a:pt x="217" y="223"/>
                  <a:pt x="217" y="223"/>
                  <a:pt x="217" y="223"/>
                </a:cubicBezTo>
                <a:close/>
                <a:moveTo>
                  <a:pt x="217" y="224"/>
                </a:moveTo>
                <a:cubicBezTo>
                  <a:pt x="216" y="222"/>
                  <a:pt x="216" y="222"/>
                  <a:pt x="216" y="222"/>
                </a:cubicBezTo>
                <a:cubicBezTo>
                  <a:pt x="216" y="223"/>
                  <a:pt x="216" y="223"/>
                  <a:pt x="216" y="223"/>
                </a:cubicBezTo>
                <a:cubicBezTo>
                  <a:pt x="216" y="223"/>
                  <a:pt x="216" y="223"/>
                  <a:pt x="216" y="223"/>
                </a:cubicBezTo>
                <a:cubicBezTo>
                  <a:pt x="217" y="224"/>
                  <a:pt x="217" y="224"/>
                  <a:pt x="217" y="224"/>
                </a:cubicBezTo>
                <a:close/>
                <a:moveTo>
                  <a:pt x="219" y="227"/>
                </a:moveTo>
                <a:cubicBezTo>
                  <a:pt x="219" y="228"/>
                  <a:pt x="219" y="228"/>
                  <a:pt x="219" y="228"/>
                </a:cubicBezTo>
                <a:cubicBezTo>
                  <a:pt x="220" y="228"/>
                  <a:pt x="220" y="228"/>
                  <a:pt x="220" y="228"/>
                </a:cubicBezTo>
                <a:cubicBezTo>
                  <a:pt x="221" y="227"/>
                  <a:pt x="221" y="227"/>
                  <a:pt x="221" y="227"/>
                </a:cubicBezTo>
                <a:cubicBezTo>
                  <a:pt x="220" y="227"/>
                  <a:pt x="220" y="227"/>
                  <a:pt x="220" y="227"/>
                </a:cubicBezTo>
                <a:cubicBezTo>
                  <a:pt x="221" y="226"/>
                  <a:pt x="221" y="226"/>
                  <a:pt x="221" y="226"/>
                </a:cubicBezTo>
                <a:cubicBezTo>
                  <a:pt x="220" y="226"/>
                  <a:pt x="220" y="226"/>
                  <a:pt x="220" y="226"/>
                </a:cubicBezTo>
                <a:cubicBezTo>
                  <a:pt x="220" y="227"/>
                  <a:pt x="220" y="227"/>
                  <a:pt x="220" y="227"/>
                </a:cubicBezTo>
                <a:cubicBezTo>
                  <a:pt x="220" y="226"/>
                  <a:pt x="220" y="226"/>
                  <a:pt x="220" y="226"/>
                </a:cubicBezTo>
                <a:cubicBezTo>
                  <a:pt x="219" y="227"/>
                  <a:pt x="219" y="227"/>
                  <a:pt x="219" y="227"/>
                </a:cubicBezTo>
                <a:close/>
                <a:moveTo>
                  <a:pt x="217" y="234"/>
                </a:moveTo>
                <a:cubicBezTo>
                  <a:pt x="217" y="232"/>
                  <a:pt x="217" y="232"/>
                  <a:pt x="217" y="232"/>
                </a:cubicBezTo>
                <a:cubicBezTo>
                  <a:pt x="217" y="232"/>
                  <a:pt x="217" y="232"/>
                  <a:pt x="217" y="232"/>
                </a:cubicBezTo>
                <a:cubicBezTo>
                  <a:pt x="217" y="231"/>
                  <a:pt x="217" y="231"/>
                  <a:pt x="217" y="231"/>
                </a:cubicBezTo>
                <a:cubicBezTo>
                  <a:pt x="218" y="229"/>
                  <a:pt x="218" y="229"/>
                  <a:pt x="218" y="229"/>
                </a:cubicBezTo>
                <a:cubicBezTo>
                  <a:pt x="219" y="230"/>
                  <a:pt x="219" y="230"/>
                  <a:pt x="219" y="230"/>
                </a:cubicBezTo>
                <a:cubicBezTo>
                  <a:pt x="218" y="231"/>
                  <a:pt x="218" y="231"/>
                  <a:pt x="218" y="231"/>
                </a:cubicBezTo>
                <a:cubicBezTo>
                  <a:pt x="219" y="231"/>
                  <a:pt x="219" y="231"/>
                  <a:pt x="219" y="231"/>
                </a:cubicBezTo>
                <a:cubicBezTo>
                  <a:pt x="219" y="232"/>
                  <a:pt x="219" y="232"/>
                  <a:pt x="219" y="232"/>
                </a:cubicBezTo>
                <a:cubicBezTo>
                  <a:pt x="219" y="233"/>
                  <a:pt x="219" y="233"/>
                  <a:pt x="219" y="233"/>
                </a:cubicBezTo>
                <a:cubicBezTo>
                  <a:pt x="218" y="233"/>
                  <a:pt x="218" y="233"/>
                  <a:pt x="218" y="233"/>
                </a:cubicBezTo>
                <a:cubicBezTo>
                  <a:pt x="218" y="234"/>
                  <a:pt x="218" y="234"/>
                  <a:pt x="218" y="234"/>
                </a:cubicBezTo>
                <a:cubicBezTo>
                  <a:pt x="217" y="234"/>
                  <a:pt x="217" y="234"/>
                  <a:pt x="217" y="234"/>
                </a:cubicBezTo>
                <a:close/>
                <a:moveTo>
                  <a:pt x="264" y="206"/>
                </a:moveTo>
                <a:cubicBezTo>
                  <a:pt x="264" y="205"/>
                  <a:pt x="264" y="205"/>
                  <a:pt x="264" y="205"/>
                </a:cubicBezTo>
                <a:cubicBezTo>
                  <a:pt x="264" y="205"/>
                  <a:pt x="264" y="205"/>
                  <a:pt x="264" y="205"/>
                </a:cubicBezTo>
                <a:cubicBezTo>
                  <a:pt x="264" y="205"/>
                  <a:pt x="264" y="205"/>
                  <a:pt x="264" y="205"/>
                </a:cubicBezTo>
                <a:cubicBezTo>
                  <a:pt x="264" y="206"/>
                  <a:pt x="264" y="206"/>
                  <a:pt x="264" y="206"/>
                </a:cubicBezTo>
                <a:cubicBezTo>
                  <a:pt x="264" y="206"/>
                  <a:pt x="264" y="206"/>
                  <a:pt x="264" y="206"/>
                </a:cubicBezTo>
                <a:close/>
                <a:moveTo>
                  <a:pt x="279" y="196"/>
                </a:moveTo>
                <a:cubicBezTo>
                  <a:pt x="279" y="195"/>
                  <a:pt x="279" y="195"/>
                  <a:pt x="279" y="195"/>
                </a:cubicBezTo>
                <a:cubicBezTo>
                  <a:pt x="279" y="194"/>
                  <a:pt x="279" y="194"/>
                  <a:pt x="279" y="194"/>
                </a:cubicBezTo>
                <a:cubicBezTo>
                  <a:pt x="279" y="193"/>
                  <a:pt x="279" y="193"/>
                  <a:pt x="279" y="193"/>
                </a:cubicBezTo>
                <a:cubicBezTo>
                  <a:pt x="280" y="192"/>
                  <a:pt x="280" y="192"/>
                  <a:pt x="280" y="192"/>
                </a:cubicBezTo>
                <a:cubicBezTo>
                  <a:pt x="280" y="193"/>
                  <a:pt x="280" y="193"/>
                  <a:pt x="280" y="193"/>
                </a:cubicBezTo>
                <a:cubicBezTo>
                  <a:pt x="280" y="193"/>
                  <a:pt x="280" y="193"/>
                  <a:pt x="280" y="193"/>
                </a:cubicBezTo>
                <a:cubicBezTo>
                  <a:pt x="281" y="194"/>
                  <a:pt x="281" y="194"/>
                  <a:pt x="281" y="194"/>
                </a:cubicBezTo>
                <a:cubicBezTo>
                  <a:pt x="280" y="195"/>
                  <a:pt x="280" y="195"/>
                  <a:pt x="280" y="195"/>
                </a:cubicBezTo>
                <a:cubicBezTo>
                  <a:pt x="280" y="196"/>
                  <a:pt x="280" y="196"/>
                  <a:pt x="280" y="196"/>
                </a:cubicBezTo>
                <a:cubicBezTo>
                  <a:pt x="279" y="196"/>
                  <a:pt x="279" y="196"/>
                  <a:pt x="279" y="196"/>
                </a:cubicBezTo>
                <a:close/>
                <a:moveTo>
                  <a:pt x="262" y="215"/>
                </a:moveTo>
                <a:cubicBezTo>
                  <a:pt x="262" y="215"/>
                  <a:pt x="262" y="215"/>
                  <a:pt x="262" y="215"/>
                </a:cubicBezTo>
                <a:cubicBezTo>
                  <a:pt x="262" y="214"/>
                  <a:pt x="262" y="214"/>
                  <a:pt x="262" y="214"/>
                </a:cubicBezTo>
                <a:cubicBezTo>
                  <a:pt x="263" y="213"/>
                  <a:pt x="263" y="213"/>
                  <a:pt x="263" y="213"/>
                </a:cubicBezTo>
                <a:cubicBezTo>
                  <a:pt x="263" y="213"/>
                  <a:pt x="263" y="213"/>
                  <a:pt x="263" y="213"/>
                </a:cubicBezTo>
                <a:cubicBezTo>
                  <a:pt x="263" y="212"/>
                  <a:pt x="263" y="212"/>
                  <a:pt x="263" y="212"/>
                </a:cubicBezTo>
                <a:cubicBezTo>
                  <a:pt x="263" y="211"/>
                  <a:pt x="263" y="211"/>
                  <a:pt x="263" y="211"/>
                </a:cubicBezTo>
                <a:cubicBezTo>
                  <a:pt x="262" y="211"/>
                  <a:pt x="262" y="211"/>
                  <a:pt x="262" y="211"/>
                </a:cubicBezTo>
                <a:cubicBezTo>
                  <a:pt x="262" y="210"/>
                  <a:pt x="262" y="210"/>
                  <a:pt x="262" y="210"/>
                </a:cubicBezTo>
                <a:cubicBezTo>
                  <a:pt x="262" y="209"/>
                  <a:pt x="262" y="209"/>
                  <a:pt x="262" y="209"/>
                </a:cubicBezTo>
                <a:cubicBezTo>
                  <a:pt x="263" y="209"/>
                  <a:pt x="263" y="209"/>
                  <a:pt x="263" y="209"/>
                </a:cubicBezTo>
                <a:cubicBezTo>
                  <a:pt x="263" y="208"/>
                  <a:pt x="263" y="208"/>
                  <a:pt x="263" y="208"/>
                </a:cubicBezTo>
                <a:cubicBezTo>
                  <a:pt x="262" y="207"/>
                  <a:pt x="262" y="207"/>
                  <a:pt x="262" y="207"/>
                </a:cubicBezTo>
                <a:cubicBezTo>
                  <a:pt x="261" y="207"/>
                  <a:pt x="261" y="207"/>
                  <a:pt x="261" y="207"/>
                </a:cubicBezTo>
                <a:cubicBezTo>
                  <a:pt x="261" y="208"/>
                  <a:pt x="261" y="208"/>
                  <a:pt x="261" y="208"/>
                </a:cubicBezTo>
                <a:cubicBezTo>
                  <a:pt x="261" y="209"/>
                  <a:pt x="261" y="209"/>
                  <a:pt x="261" y="209"/>
                </a:cubicBezTo>
                <a:cubicBezTo>
                  <a:pt x="260" y="208"/>
                  <a:pt x="260" y="208"/>
                  <a:pt x="260" y="208"/>
                </a:cubicBezTo>
                <a:cubicBezTo>
                  <a:pt x="259" y="208"/>
                  <a:pt x="259" y="208"/>
                  <a:pt x="259" y="208"/>
                </a:cubicBezTo>
                <a:cubicBezTo>
                  <a:pt x="257" y="210"/>
                  <a:pt x="257" y="210"/>
                  <a:pt x="257" y="210"/>
                </a:cubicBezTo>
                <a:cubicBezTo>
                  <a:pt x="256" y="210"/>
                  <a:pt x="256" y="210"/>
                  <a:pt x="256" y="210"/>
                </a:cubicBezTo>
                <a:cubicBezTo>
                  <a:pt x="256" y="210"/>
                  <a:pt x="256" y="210"/>
                  <a:pt x="256" y="210"/>
                </a:cubicBezTo>
                <a:cubicBezTo>
                  <a:pt x="257" y="209"/>
                  <a:pt x="257" y="209"/>
                  <a:pt x="257" y="209"/>
                </a:cubicBezTo>
                <a:cubicBezTo>
                  <a:pt x="258" y="208"/>
                  <a:pt x="258" y="208"/>
                  <a:pt x="258" y="208"/>
                </a:cubicBezTo>
                <a:cubicBezTo>
                  <a:pt x="258" y="207"/>
                  <a:pt x="258" y="207"/>
                  <a:pt x="258" y="207"/>
                </a:cubicBezTo>
                <a:cubicBezTo>
                  <a:pt x="257" y="208"/>
                  <a:pt x="257" y="208"/>
                  <a:pt x="257" y="208"/>
                </a:cubicBezTo>
                <a:cubicBezTo>
                  <a:pt x="257" y="207"/>
                  <a:pt x="257" y="207"/>
                  <a:pt x="257" y="207"/>
                </a:cubicBezTo>
                <a:cubicBezTo>
                  <a:pt x="257" y="206"/>
                  <a:pt x="257" y="206"/>
                  <a:pt x="257" y="206"/>
                </a:cubicBezTo>
                <a:cubicBezTo>
                  <a:pt x="258" y="206"/>
                  <a:pt x="258" y="206"/>
                  <a:pt x="258" y="206"/>
                </a:cubicBezTo>
                <a:cubicBezTo>
                  <a:pt x="257" y="204"/>
                  <a:pt x="257" y="204"/>
                  <a:pt x="257" y="204"/>
                </a:cubicBezTo>
                <a:cubicBezTo>
                  <a:pt x="258" y="203"/>
                  <a:pt x="258" y="203"/>
                  <a:pt x="258" y="203"/>
                </a:cubicBezTo>
                <a:cubicBezTo>
                  <a:pt x="259" y="203"/>
                  <a:pt x="259" y="203"/>
                  <a:pt x="259" y="203"/>
                </a:cubicBezTo>
                <a:cubicBezTo>
                  <a:pt x="258" y="204"/>
                  <a:pt x="258" y="204"/>
                  <a:pt x="258" y="204"/>
                </a:cubicBezTo>
                <a:cubicBezTo>
                  <a:pt x="259" y="205"/>
                  <a:pt x="259" y="205"/>
                  <a:pt x="259" y="205"/>
                </a:cubicBezTo>
                <a:cubicBezTo>
                  <a:pt x="260" y="206"/>
                  <a:pt x="260" y="206"/>
                  <a:pt x="260" y="206"/>
                </a:cubicBezTo>
                <a:cubicBezTo>
                  <a:pt x="260" y="206"/>
                  <a:pt x="260" y="206"/>
                  <a:pt x="260" y="206"/>
                </a:cubicBezTo>
                <a:cubicBezTo>
                  <a:pt x="262" y="206"/>
                  <a:pt x="262" y="206"/>
                  <a:pt x="262" y="206"/>
                </a:cubicBezTo>
                <a:cubicBezTo>
                  <a:pt x="262" y="205"/>
                  <a:pt x="262" y="205"/>
                  <a:pt x="262" y="205"/>
                </a:cubicBezTo>
                <a:cubicBezTo>
                  <a:pt x="262" y="204"/>
                  <a:pt x="262" y="204"/>
                  <a:pt x="262" y="204"/>
                </a:cubicBezTo>
                <a:cubicBezTo>
                  <a:pt x="262" y="203"/>
                  <a:pt x="262" y="203"/>
                  <a:pt x="262" y="203"/>
                </a:cubicBezTo>
                <a:cubicBezTo>
                  <a:pt x="262" y="203"/>
                  <a:pt x="262" y="203"/>
                  <a:pt x="262" y="203"/>
                </a:cubicBezTo>
                <a:cubicBezTo>
                  <a:pt x="263" y="204"/>
                  <a:pt x="263" y="204"/>
                  <a:pt x="263" y="204"/>
                </a:cubicBezTo>
                <a:cubicBezTo>
                  <a:pt x="264" y="204"/>
                  <a:pt x="264" y="204"/>
                  <a:pt x="264" y="204"/>
                </a:cubicBezTo>
                <a:cubicBezTo>
                  <a:pt x="264" y="203"/>
                  <a:pt x="264" y="203"/>
                  <a:pt x="264" y="203"/>
                </a:cubicBezTo>
                <a:cubicBezTo>
                  <a:pt x="265" y="201"/>
                  <a:pt x="265" y="201"/>
                  <a:pt x="265" y="201"/>
                </a:cubicBezTo>
                <a:cubicBezTo>
                  <a:pt x="265" y="203"/>
                  <a:pt x="265" y="203"/>
                  <a:pt x="265" y="203"/>
                </a:cubicBezTo>
                <a:cubicBezTo>
                  <a:pt x="266" y="203"/>
                  <a:pt x="266" y="203"/>
                  <a:pt x="266" y="203"/>
                </a:cubicBezTo>
                <a:cubicBezTo>
                  <a:pt x="267" y="202"/>
                  <a:pt x="267" y="202"/>
                  <a:pt x="267" y="202"/>
                </a:cubicBezTo>
                <a:cubicBezTo>
                  <a:pt x="266" y="204"/>
                  <a:pt x="266" y="204"/>
                  <a:pt x="266" y="204"/>
                </a:cubicBezTo>
                <a:cubicBezTo>
                  <a:pt x="266" y="205"/>
                  <a:pt x="266" y="205"/>
                  <a:pt x="266" y="205"/>
                </a:cubicBezTo>
                <a:cubicBezTo>
                  <a:pt x="266" y="205"/>
                  <a:pt x="266" y="205"/>
                  <a:pt x="266" y="205"/>
                </a:cubicBezTo>
                <a:cubicBezTo>
                  <a:pt x="267" y="205"/>
                  <a:pt x="267" y="205"/>
                  <a:pt x="267" y="205"/>
                </a:cubicBezTo>
                <a:cubicBezTo>
                  <a:pt x="266" y="206"/>
                  <a:pt x="266" y="206"/>
                  <a:pt x="266" y="206"/>
                </a:cubicBezTo>
                <a:cubicBezTo>
                  <a:pt x="267" y="206"/>
                  <a:pt x="267" y="206"/>
                  <a:pt x="267" y="206"/>
                </a:cubicBezTo>
                <a:cubicBezTo>
                  <a:pt x="268" y="205"/>
                  <a:pt x="268" y="205"/>
                  <a:pt x="268" y="205"/>
                </a:cubicBezTo>
                <a:cubicBezTo>
                  <a:pt x="268" y="204"/>
                  <a:pt x="268" y="204"/>
                  <a:pt x="268" y="204"/>
                </a:cubicBezTo>
                <a:cubicBezTo>
                  <a:pt x="269" y="203"/>
                  <a:pt x="269" y="203"/>
                  <a:pt x="269" y="203"/>
                </a:cubicBezTo>
                <a:cubicBezTo>
                  <a:pt x="270" y="202"/>
                  <a:pt x="270" y="202"/>
                  <a:pt x="270" y="202"/>
                </a:cubicBezTo>
                <a:cubicBezTo>
                  <a:pt x="270" y="204"/>
                  <a:pt x="270" y="204"/>
                  <a:pt x="270" y="204"/>
                </a:cubicBezTo>
                <a:cubicBezTo>
                  <a:pt x="269" y="205"/>
                  <a:pt x="269" y="205"/>
                  <a:pt x="269" y="205"/>
                </a:cubicBezTo>
                <a:cubicBezTo>
                  <a:pt x="269" y="207"/>
                  <a:pt x="269" y="207"/>
                  <a:pt x="269" y="207"/>
                </a:cubicBezTo>
                <a:cubicBezTo>
                  <a:pt x="270" y="207"/>
                  <a:pt x="270" y="207"/>
                  <a:pt x="270" y="207"/>
                </a:cubicBezTo>
                <a:cubicBezTo>
                  <a:pt x="271" y="207"/>
                  <a:pt x="271" y="207"/>
                  <a:pt x="271" y="207"/>
                </a:cubicBezTo>
                <a:cubicBezTo>
                  <a:pt x="271" y="206"/>
                  <a:pt x="271" y="206"/>
                  <a:pt x="271" y="206"/>
                </a:cubicBezTo>
                <a:cubicBezTo>
                  <a:pt x="273" y="205"/>
                  <a:pt x="273" y="205"/>
                  <a:pt x="273" y="205"/>
                </a:cubicBezTo>
                <a:cubicBezTo>
                  <a:pt x="273" y="203"/>
                  <a:pt x="273" y="203"/>
                  <a:pt x="273" y="203"/>
                </a:cubicBezTo>
                <a:cubicBezTo>
                  <a:pt x="274" y="202"/>
                  <a:pt x="274" y="202"/>
                  <a:pt x="274" y="202"/>
                </a:cubicBezTo>
                <a:cubicBezTo>
                  <a:pt x="273" y="201"/>
                  <a:pt x="273" y="201"/>
                  <a:pt x="273" y="201"/>
                </a:cubicBezTo>
                <a:cubicBezTo>
                  <a:pt x="274" y="200"/>
                  <a:pt x="274" y="200"/>
                  <a:pt x="274" y="200"/>
                </a:cubicBezTo>
                <a:cubicBezTo>
                  <a:pt x="274" y="199"/>
                  <a:pt x="274" y="199"/>
                  <a:pt x="274" y="199"/>
                </a:cubicBezTo>
                <a:cubicBezTo>
                  <a:pt x="273" y="200"/>
                  <a:pt x="273" y="200"/>
                  <a:pt x="273" y="200"/>
                </a:cubicBezTo>
                <a:cubicBezTo>
                  <a:pt x="272" y="199"/>
                  <a:pt x="272" y="199"/>
                  <a:pt x="272" y="199"/>
                </a:cubicBezTo>
                <a:cubicBezTo>
                  <a:pt x="271" y="200"/>
                  <a:pt x="271" y="200"/>
                  <a:pt x="271" y="200"/>
                </a:cubicBezTo>
                <a:cubicBezTo>
                  <a:pt x="271" y="198"/>
                  <a:pt x="271" y="198"/>
                  <a:pt x="271" y="198"/>
                </a:cubicBezTo>
                <a:cubicBezTo>
                  <a:pt x="272" y="198"/>
                  <a:pt x="272" y="198"/>
                  <a:pt x="272" y="198"/>
                </a:cubicBezTo>
                <a:cubicBezTo>
                  <a:pt x="272" y="197"/>
                  <a:pt x="272" y="197"/>
                  <a:pt x="272" y="197"/>
                </a:cubicBezTo>
                <a:cubicBezTo>
                  <a:pt x="270" y="198"/>
                  <a:pt x="270" y="198"/>
                  <a:pt x="270" y="198"/>
                </a:cubicBezTo>
                <a:cubicBezTo>
                  <a:pt x="270" y="197"/>
                  <a:pt x="270" y="197"/>
                  <a:pt x="270" y="197"/>
                </a:cubicBezTo>
                <a:cubicBezTo>
                  <a:pt x="269" y="196"/>
                  <a:pt x="269" y="196"/>
                  <a:pt x="269" y="196"/>
                </a:cubicBezTo>
                <a:cubicBezTo>
                  <a:pt x="269" y="195"/>
                  <a:pt x="269" y="195"/>
                  <a:pt x="269" y="195"/>
                </a:cubicBezTo>
                <a:cubicBezTo>
                  <a:pt x="268" y="193"/>
                  <a:pt x="268" y="193"/>
                  <a:pt x="268" y="193"/>
                </a:cubicBezTo>
                <a:cubicBezTo>
                  <a:pt x="268" y="192"/>
                  <a:pt x="268" y="192"/>
                  <a:pt x="268" y="192"/>
                </a:cubicBezTo>
                <a:cubicBezTo>
                  <a:pt x="269" y="190"/>
                  <a:pt x="269" y="190"/>
                  <a:pt x="269" y="190"/>
                </a:cubicBezTo>
                <a:cubicBezTo>
                  <a:pt x="268" y="189"/>
                  <a:pt x="268" y="189"/>
                  <a:pt x="268" y="189"/>
                </a:cubicBezTo>
                <a:cubicBezTo>
                  <a:pt x="267" y="190"/>
                  <a:pt x="267" y="190"/>
                  <a:pt x="267" y="190"/>
                </a:cubicBezTo>
                <a:cubicBezTo>
                  <a:pt x="267" y="191"/>
                  <a:pt x="267" y="191"/>
                  <a:pt x="267" y="191"/>
                </a:cubicBezTo>
                <a:cubicBezTo>
                  <a:pt x="267" y="190"/>
                  <a:pt x="267" y="190"/>
                  <a:pt x="267" y="190"/>
                </a:cubicBezTo>
                <a:cubicBezTo>
                  <a:pt x="265" y="189"/>
                  <a:pt x="265" y="189"/>
                  <a:pt x="265" y="189"/>
                </a:cubicBezTo>
                <a:cubicBezTo>
                  <a:pt x="265" y="187"/>
                  <a:pt x="265" y="187"/>
                  <a:pt x="265" y="187"/>
                </a:cubicBezTo>
                <a:cubicBezTo>
                  <a:pt x="264" y="186"/>
                  <a:pt x="264" y="186"/>
                  <a:pt x="264" y="186"/>
                </a:cubicBezTo>
                <a:cubicBezTo>
                  <a:pt x="264" y="184"/>
                  <a:pt x="264" y="184"/>
                  <a:pt x="264" y="184"/>
                </a:cubicBezTo>
                <a:cubicBezTo>
                  <a:pt x="263" y="183"/>
                  <a:pt x="263" y="183"/>
                  <a:pt x="263" y="183"/>
                </a:cubicBezTo>
                <a:cubicBezTo>
                  <a:pt x="263" y="182"/>
                  <a:pt x="263" y="182"/>
                  <a:pt x="263" y="182"/>
                </a:cubicBezTo>
                <a:cubicBezTo>
                  <a:pt x="263" y="181"/>
                  <a:pt x="263" y="181"/>
                  <a:pt x="263" y="181"/>
                </a:cubicBezTo>
                <a:cubicBezTo>
                  <a:pt x="263" y="180"/>
                  <a:pt x="263" y="180"/>
                  <a:pt x="263" y="180"/>
                </a:cubicBezTo>
                <a:cubicBezTo>
                  <a:pt x="264" y="180"/>
                  <a:pt x="264" y="180"/>
                  <a:pt x="264" y="180"/>
                </a:cubicBezTo>
                <a:cubicBezTo>
                  <a:pt x="264" y="179"/>
                  <a:pt x="264" y="179"/>
                  <a:pt x="264" y="179"/>
                </a:cubicBezTo>
                <a:cubicBezTo>
                  <a:pt x="265" y="179"/>
                  <a:pt x="265" y="179"/>
                  <a:pt x="265" y="179"/>
                </a:cubicBezTo>
                <a:cubicBezTo>
                  <a:pt x="265" y="179"/>
                  <a:pt x="265" y="179"/>
                  <a:pt x="265" y="179"/>
                </a:cubicBezTo>
                <a:cubicBezTo>
                  <a:pt x="266" y="178"/>
                  <a:pt x="266" y="178"/>
                  <a:pt x="266" y="178"/>
                </a:cubicBezTo>
                <a:cubicBezTo>
                  <a:pt x="266" y="177"/>
                  <a:pt x="266" y="177"/>
                  <a:pt x="266" y="177"/>
                </a:cubicBezTo>
                <a:cubicBezTo>
                  <a:pt x="267" y="175"/>
                  <a:pt x="267" y="175"/>
                  <a:pt x="267" y="175"/>
                </a:cubicBezTo>
                <a:cubicBezTo>
                  <a:pt x="267" y="173"/>
                  <a:pt x="267" y="173"/>
                  <a:pt x="267" y="173"/>
                </a:cubicBezTo>
                <a:cubicBezTo>
                  <a:pt x="267" y="173"/>
                  <a:pt x="267" y="173"/>
                  <a:pt x="267" y="173"/>
                </a:cubicBezTo>
                <a:cubicBezTo>
                  <a:pt x="267" y="171"/>
                  <a:pt x="267" y="171"/>
                  <a:pt x="267" y="171"/>
                </a:cubicBezTo>
                <a:cubicBezTo>
                  <a:pt x="267" y="169"/>
                  <a:pt x="267" y="169"/>
                  <a:pt x="267" y="169"/>
                </a:cubicBezTo>
                <a:cubicBezTo>
                  <a:pt x="268" y="169"/>
                  <a:pt x="268" y="169"/>
                  <a:pt x="268" y="169"/>
                </a:cubicBezTo>
                <a:cubicBezTo>
                  <a:pt x="268" y="167"/>
                  <a:pt x="268" y="167"/>
                  <a:pt x="268" y="167"/>
                </a:cubicBezTo>
                <a:cubicBezTo>
                  <a:pt x="269" y="166"/>
                  <a:pt x="269" y="166"/>
                  <a:pt x="269" y="166"/>
                </a:cubicBezTo>
                <a:cubicBezTo>
                  <a:pt x="269" y="164"/>
                  <a:pt x="269" y="164"/>
                  <a:pt x="269" y="164"/>
                </a:cubicBezTo>
                <a:cubicBezTo>
                  <a:pt x="270" y="164"/>
                  <a:pt x="270" y="164"/>
                  <a:pt x="270" y="164"/>
                </a:cubicBezTo>
                <a:cubicBezTo>
                  <a:pt x="270" y="161"/>
                  <a:pt x="270" y="161"/>
                  <a:pt x="270" y="161"/>
                </a:cubicBezTo>
                <a:cubicBezTo>
                  <a:pt x="271" y="161"/>
                  <a:pt x="271" y="161"/>
                  <a:pt x="271" y="161"/>
                </a:cubicBezTo>
                <a:cubicBezTo>
                  <a:pt x="271" y="160"/>
                  <a:pt x="271" y="160"/>
                  <a:pt x="271" y="160"/>
                </a:cubicBezTo>
                <a:cubicBezTo>
                  <a:pt x="272" y="158"/>
                  <a:pt x="272" y="158"/>
                  <a:pt x="272" y="158"/>
                </a:cubicBezTo>
                <a:cubicBezTo>
                  <a:pt x="272" y="157"/>
                  <a:pt x="272" y="157"/>
                  <a:pt x="272" y="157"/>
                </a:cubicBezTo>
                <a:cubicBezTo>
                  <a:pt x="272" y="156"/>
                  <a:pt x="272" y="156"/>
                  <a:pt x="272" y="156"/>
                </a:cubicBezTo>
                <a:cubicBezTo>
                  <a:pt x="273" y="156"/>
                  <a:pt x="273" y="156"/>
                  <a:pt x="273" y="156"/>
                </a:cubicBezTo>
                <a:cubicBezTo>
                  <a:pt x="273" y="155"/>
                  <a:pt x="273" y="155"/>
                  <a:pt x="273" y="155"/>
                </a:cubicBezTo>
                <a:cubicBezTo>
                  <a:pt x="272" y="153"/>
                  <a:pt x="272" y="153"/>
                  <a:pt x="272" y="153"/>
                </a:cubicBezTo>
                <a:cubicBezTo>
                  <a:pt x="273" y="152"/>
                  <a:pt x="273" y="152"/>
                  <a:pt x="273" y="152"/>
                </a:cubicBezTo>
                <a:cubicBezTo>
                  <a:pt x="273" y="152"/>
                  <a:pt x="273" y="152"/>
                  <a:pt x="273" y="152"/>
                </a:cubicBezTo>
                <a:cubicBezTo>
                  <a:pt x="271" y="151"/>
                  <a:pt x="271" y="151"/>
                  <a:pt x="271" y="151"/>
                </a:cubicBezTo>
                <a:cubicBezTo>
                  <a:pt x="271" y="149"/>
                  <a:pt x="271" y="149"/>
                  <a:pt x="271" y="149"/>
                </a:cubicBezTo>
                <a:cubicBezTo>
                  <a:pt x="271" y="149"/>
                  <a:pt x="271" y="149"/>
                  <a:pt x="271" y="149"/>
                </a:cubicBezTo>
                <a:cubicBezTo>
                  <a:pt x="270" y="146"/>
                  <a:pt x="270" y="146"/>
                  <a:pt x="270" y="146"/>
                </a:cubicBezTo>
                <a:cubicBezTo>
                  <a:pt x="269" y="146"/>
                  <a:pt x="269" y="146"/>
                  <a:pt x="269" y="146"/>
                </a:cubicBezTo>
                <a:cubicBezTo>
                  <a:pt x="269" y="146"/>
                  <a:pt x="269" y="146"/>
                  <a:pt x="269" y="146"/>
                </a:cubicBezTo>
                <a:cubicBezTo>
                  <a:pt x="268" y="146"/>
                  <a:pt x="268" y="146"/>
                  <a:pt x="268" y="146"/>
                </a:cubicBezTo>
                <a:cubicBezTo>
                  <a:pt x="268" y="147"/>
                  <a:pt x="268" y="147"/>
                  <a:pt x="268" y="147"/>
                </a:cubicBezTo>
                <a:cubicBezTo>
                  <a:pt x="268" y="147"/>
                  <a:pt x="268" y="147"/>
                  <a:pt x="268" y="147"/>
                </a:cubicBezTo>
                <a:cubicBezTo>
                  <a:pt x="266" y="145"/>
                  <a:pt x="266" y="145"/>
                  <a:pt x="266" y="145"/>
                </a:cubicBezTo>
                <a:cubicBezTo>
                  <a:pt x="265" y="145"/>
                  <a:pt x="265" y="145"/>
                  <a:pt x="265" y="145"/>
                </a:cubicBezTo>
                <a:cubicBezTo>
                  <a:pt x="265" y="144"/>
                  <a:pt x="265" y="144"/>
                  <a:pt x="265" y="144"/>
                </a:cubicBezTo>
                <a:cubicBezTo>
                  <a:pt x="264" y="144"/>
                  <a:pt x="264" y="144"/>
                  <a:pt x="264" y="144"/>
                </a:cubicBezTo>
                <a:cubicBezTo>
                  <a:pt x="264" y="146"/>
                  <a:pt x="264" y="146"/>
                  <a:pt x="264" y="146"/>
                </a:cubicBezTo>
                <a:cubicBezTo>
                  <a:pt x="264" y="146"/>
                  <a:pt x="264" y="146"/>
                  <a:pt x="264" y="146"/>
                </a:cubicBezTo>
                <a:cubicBezTo>
                  <a:pt x="263" y="146"/>
                  <a:pt x="263" y="146"/>
                  <a:pt x="263" y="146"/>
                </a:cubicBezTo>
                <a:cubicBezTo>
                  <a:pt x="262" y="147"/>
                  <a:pt x="262" y="147"/>
                  <a:pt x="262" y="147"/>
                </a:cubicBezTo>
                <a:cubicBezTo>
                  <a:pt x="262" y="148"/>
                  <a:pt x="262" y="148"/>
                  <a:pt x="262" y="148"/>
                </a:cubicBezTo>
                <a:cubicBezTo>
                  <a:pt x="261" y="149"/>
                  <a:pt x="261" y="149"/>
                  <a:pt x="261" y="149"/>
                </a:cubicBezTo>
                <a:cubicBezTo>
                  <a:pt x="260" y="152"/>
                  <a:pt x="260" y="152"/>
                  <a:pt x="260" y="152"/>
                </a:cubicBezTo>
                <a:cubicBezTo>
                  <a:pt x="260" y="153"/>
                  <a:pt x="260" y="153"/>
                  <a:pt x="260" y="153"/>
                </a:cubicBezTo>
                <a:cubicBezTo>
                  <a:pt x="260" y="154"/>
                  <a:pt x="260" y="154"/>
                  <a:pt x="260" y="154"/>
                </a:cubicBezTo>
                <a:cubicBezTo>
                  <a:pt x="259" y="155"/>
                  <a:pt x="259" y="155"/>
                  <a:pt x="259" y="155"/>
                </a:cubicBezTo>
                <a:cubicBezTo>
                  <a:pt x="259" y="156"/>
                  <a:pt x="259" y="156"/>
                  <a:pt x="259" y="156"/>
                </a:cubicBezTo>
                <a:cubicBezTo>
                  <a:pt x="259" y="157"/>
                  <a:pt x="259" y="157"/>
                  <a:pt x="259" y="157"/>
                </a:cubicBezTo>
                <a:cubicBezTo>
                  <a:pt x="258" y="157"/>
                  <a:pt x="258" y="157"/>
                  <a:pt x="258" y="157"/>
                </a:cubicBezTo>
                <a:cubicBezTo>
                  <a:pt x="258" y="160"/>
                  <a:pt x="258" y="160"/>
                  <a:pt x="258" y="160"/>
                </a:cubicBezTo>
                <a:cubicBezTo>
                  <a:pt x="257" y="161"/>
                  <a:pt x="257" y="161"/>
                  <a:pt x="257" y="161"/>
                </a:cubicBezTo>
                <a:cubicBezTo>
                  <a:pt x="256" y="160"/>
                  <a:pt x="256" y="160"/>
                  <a:pt x="256" y="160"/>
                </a:cubicBezTo>
                <a:cubicBezTo>
                  <a:pt x="256" y="162"/>
                  <a:pt x="256" y="162"/>
                  <a:pt x="256" y="162"/>
                </a:cubicBezTo>
                <a:cubicBezTo>
                  <a:pt x="256" y="163"/>
                  <a:pt x="256" y="163"/>
                  <a:pt x="256" y="163"/>
                </a:cubicBezTo>
                <a:cubicBezTo>
                  <a:pt x="256" y="164"/>
                  <a:pt x="256" y="164"/>
                  <a:pt x="256" y="164"/>
                </a:cubicBezTo>
                <a:cubicBezTo>
                  <a:pt x="255" y="166"/>
                  <a:pt x="255" y="166"/>
                  <a:pt x="255" y="166"/>
                </a:cubicBezTo>
                <a:cubicBezTo>
                  <a:pt x="255" y="167"/>
                  <a:pt x="255" y="167"/>
                  <a:pt x="255" y="167"/>
                </a:cubicBezTo>
                <a:cubicBezTo>
                  <a:pt x="255" y="168"/>
                  <a:pt x="255" y="168"/>
                  <a:pt x="255" y="168"/>
                </a:cubicBezTo>
                <a:cubicBezTo>
                  <a:pt x="255" y="169"/>
                  <a:pt x="255" y="169"/>
                  <a:pt x="255" y="169"/>
                </a:cubicBezTo>
                <a:cubicBezTo>
                  <a:pt x="254" y="169"/>
                  <a:pt x="254" y="169"/>
                  <a:pt x="254" y="169"/>
                </a:cubicBezTo>
                <a:cubicBezTo>
                  <a:pt x="254" y="169"/>
                  <a:pt x="254" y="169"/>
                  <a:pt x="254" y="169"/>
                </a:cubicBezTo>
                <a:cubicBezTo>
                  <a:pt x="255" y="170"/>
                  <a:pt x="255" y="170"/>
                  <a:pt x="255" y="170"/>
                </a:cubicBezTo>
                <a:cubicBezTo>
                  <a:pt x="255" y="171"/>
                  <a:pt x="255" y="171"/>
                  <a:pt x="255" y="171"/>
                </a:cubicBezTo>
                <a:cubicBezTo>
                  <a:pt x="255" y="170"/>
                  <a:pt x="255" y="170"/>
                  <a:pt x="255" y="170"/>
                </a:cubicBezTo>
                <a:cubicBezTo>
                  <a:pt x="254" y="171"/>
                  <a:pt x="254" y="171"/>
                  <a:pt x="254" y="171"/>
                </a:cubicBezTo>
                <a:cubicBezTo>
                  <a:pt x="253" y="171"/>
                  <a:pt x="253" y="171"/>
                  <a:pt x="253" y="171"/>
                </a:cubicBezTo>
                <a:cubicBezTo>
                  <a:pt x="252" y="171"/>
                  <a:pt x="252" y="171"/>
                  <a:pt x="252" y="171"/>
                </a:cubicBezTo>
                <a:cubicBezTo>
                  <a:pt x="251" y="172"/>
                  <a:pt x="251" y="172"/>
                  <a:pt x="251" y="172"/>
                </a:cubicBezTo>
                <a:cubicBezTo>
                  <a:pt x="252" y="173"/>
                  <a:pt x="252" y="173"/>
                  <a:pt x="252" y="173"/>
                </a:cubicBezTo>
                <a:cubicBezTo>
                  <a:pt x="251" y="173"/>
                  <a:pt x="251" y="173"/>
                  <a:pt x="251" y="173"/>
                </a:cubicBezTo>
                <a:cubicBezTo>
                  <a:pt x="250" y="173"/>
                  <a:pt x="250" y="173"/>
                  <a:pt x="250" y="173"/>
                </a:cubicBezTo>
                <a:cubicBezTo>
                  <a:pt x="250" y="172"/>
                  <a:pt x="250" y="172"/>
                  <a:pt x="250" y="172"/>
                </a:cubicBezTo>
                <a:cubicBezTo>
                  <a:pt x="250" y="171"/>
                  <a:pt x="250" y="171"/>
                  <a:pt x="250" y="171"/>
                </a:cubicBezTo>
                <a:cubicBezTo>
                  <a:pt x="250" y="170"/>
                  <a:pt x="250" y="170"/>
                  <a:pt x="250" y="170"/>
                </a:cubicBezTo>
                <a:cubicBezTo>
                  <a:pt x="250" y="168"/>
                  <a:pt x="250" y="168"/>
                  <a:pt x="250" y="168"/>
                </a:cubicBezTo>
                <a:cubicBezTo>
                  <a:pt x="251" y="166"/>
                  <a:pt x="251" y="166"/>
                  <a:pt x="251" y="166"/>
                </a:cubicBezTo>
                <a:cubicBezTo>
                  <a:pt x="251" y="165"/>
                  <a:pt x="251" y="165"/>
                  <a:pt x="251" y="165"/>
                </a:cubicBezTo>
                <a:cubicBezTo>
                  <a:pt x="252" y="164"/>
                  <a:pt x="252" y="164"/>
                  <a:pt x="252" y="164"/>
                </a:cubicBezTo>
                <a:cubicBezTo>
                  <a:pt x="252" y="163"/>
                  <a:pt x="252" y="163"/>
                  <a:pt x="252" y="163"/>
                </a:cubicBezTo>
                <a:cubicBezTo>
                  <a:pt x="252" y="162"/>
                  <a:pt x="252" y="162"/>
                  <a:pt x="252" y="162"/>
                </a:cubicBezTo>
                <a:cubicBezTo>
                  <a:pt x="253" y="159"/>
                  <a:pt x="253" y="159"/>
                  <a:pt x="253" y="159"/>
                </a:cubicBezTo>
                <a:cubicBezTo>
                  <a:pt x="254" y="158"/>
                  <a:pt x="254" y="158"/>
                  <a:pt x="254" y="158"/>
                </a:cubicBezTo>
                <a:cubicBezTo>
                  <a:pt x="254" y="157"/>
                  <a:pt x="254" y="157"/>
                  <a:pt x="254" y="157"/>
                </a:cubicBezTo>
                <a:cubicBezTo>
                  <a:pt x="254" y="157"/>
                  <a:pt x="254" y="157"/>
                  <a:pt x="254" y="157"/>
                </a:cubicBezTo>
                <a:cubicBezTo>
                  <a:pt x="253" y="157"/>
                  <a:pt x="253" y="157"/>
                  <a:pt x="253" y="157"/>
                </a:cubicBezTo>
                <a:cubicBezTo>
                  <a:pt x="253" y="156"/>
                  <a:pt x="253" y="156"/>
                  <a:pt x="253" y="156"/>
                </a:cubicBezTo>
                <a:cubicBezTo>
                  <a:pt x="254" y="155"/>
                  <a:pt x="254" y="155"/>
                  <a:pt x="254" y="155"/>
                </a:cubicBezTo>
                <a:cubicBezTo>
                  <a:pt x="254" y="153"/>
                  <a:pt x="254" y="153"/>
                  <a:pt x="254" y="153"/>
                </a:cubicBezTo>
                <a:cubicBezTo>
                  <a:pt x="253" y="152"/>
                  <a:pt x="253" y="152"/>
                  <a:pt x="253" y="152"/>
                </a:cubicBezTo>
                <a:cubicBezTo>
                  <a:pt x="253" y="151"/>
                  <a:pt x="253" y="151"/>
                  <a:pt x="253" y="151"/>
                </a:cubicBezTo>
                <a:cubicBezTo>
                  <a:pt x="253" y="150"/>
                  <a:pt x="253" y="150"/>
                  <a:pt x="253" y="150"/>
                </a:cubicBezTo>
                <a:cubicBezTo>
                  <a:pt x="253" y="149"/>
                  <a:pt x="253" y="149"/>
                  <a:pt x="253" y="149"/>
                </a:cubicBezTo>
                <a:cubicBezTo>
                  <a:pt x="252" y="149"/>
                  <a:pt x="252" y="149"/>
                  <a:pt x="252" y="149"/>
                </a:cubicBezTo>
                <a:cubicBezTo>
                  <a:pt x="251" y="147"/>
                  <a:pt x="251" y="147"/>
                  <a:pt x="251" y="147"/>
                </a:cubicBezTo>
                <a:cubicBezTo>
                  <a:pt x="250" y="148"/>
                  <a:pt x="250" y="148"/>
                  <a:pt x="250" y="148"/>
                </a:cubicBezTo>
                <a:cubicBezTo>
                  <a:pt x="249" y="149"/>
                  <a:pt x="249" y="149"/>
                  <a:pt x="249" y="149"/>
                </a:cubicBezTo>
                <a:cubicBezTo>
                  <a:pt x="250" y="150"/>
                  <a:pt x="250" y="150"/>
                  <a:pt x="250" y="150"/>
                </a:cubicBezTo>
                <a:cubicBezTo>
                  <a:pt x="250" y="151"/>
                  <a:pt x="250" y="151"/>
                  <a:pt x="250" y="151"/>
                </a:cubicBezTo>
                <a:cubicBezTo>
                  <a:pt x="251" y="152"/>
                  <a:pt x="251" y="152"/>
                  <a:pt x="251" y="152"/>
                </a:cubicBezTo>
                <a:cubicBezTo>
                  <a:pt x="251" y="153"/>
                  <a:pt x="251" y="153"/>
                  <a:pt x="251" y="153"/>
                </a:cubicBezTo>
                <a:cubicBezTo>
                  <a:pt x="250" y="153"/>
                  <a:pt x="250" y="153"/>
                  <a:pt x="250" y="153"/>
                </a:cubicBezTo>
                <a:cubicBezTo>
                  <a:pt x="250" y="151"/>
                  <a:pt x="250" y="151"/>
                  <a:pt x="250" y="151"/>
                </a:cubicBezTo>
                <a:cubicBezTo>
                  <a:pt x="249" y="151"/>
                  <a:pt x="249" y="151"/>
                  <a:pt x="249" y="151"/>
                </a:cubicBezTo>
                <a:cubicBezTo>
                  <a:pt x="248" y="153"/>
                  <a:pt x="248" y="153"/>
                  <a:pt x="248" y="153"/>
                </a:cubicBezTo>
                <a:cubicBezTo>
                  <a:pt x="249" y="153"/>
                  <a:pt x="249" y="153"/>
                  <a:pt x="249" y="153"/>
                </a:cubicBezTo>
                <a:cubicBezTo>
                  <a:pt x="249" y="154"/>
                  <a:pt x="249" y="154"/>
                  <a:pt x="249" y="154"/>
                </a:cubicBezTo>
                <a:cubicBezTo>
                  <a:pt x="250" y="156"/>
                  <a:pt x="250" y="156"/>
                  <a:pt x="250" y="156"/>
                </a:cubicBezTo>
                <a:cubicBezTo>
                  <a:pt x="249" y="156"/>
                  <a:pt x="249" y="156"/>
                  <a:pt x="249" y="156"/>
                </a:cubicBezTo>
                <a:cubicBezTo>
                  <a:pt x="249" y="156"/>
                  <a:pt x="249" y="156"/>
                  <a:pt x="249" y="156"/>
                </a:cubicBezTo>
                <a:cubicBezTo>
                  <a:pt x="248" y="155"/>
                  <a:pt x="248" y="155"/>
                  <a:pt x="248" y="155"/>
                </a:cubicBezTo>
                <a:cubicBezTo>
                  <a:pt x="248" y="157"/>
                  <a:pt x="248" y="157"/>
                  <a:pt x="248" y="157"/>
                </a:cubicBezTo>
                <a:cubicBezTo>
                  <a:pt x="247" y="156"/>
                  <a:pt x="247" y="156"/>
                  <a:pt x="247" y="156"/>
                </a:cubicBezTo>
                <a:cubicBezTo>
                  <a:pt x="247" y="155"/>
                  <a:pt x="247" y="155"/>
                  <a:pt x="247" y="155"/>
                </a:cubicBezTo>
                <a:cubicBezTo>
                  <a:pt x="246" y="155"/>
                  <a:pt x="246" y="155"/>
                  <a:pt x="246" y="155"/>
                </a:cubicBezTo>
                <a:cubicBezTo>
                  <a:pt x="246" y="156"/>
                  <a:pt x="246" y="156"/>
                  <a:pt x="246" y="156"/>
                </a:cubicBezTo>
                <a:cubicBezTo>
                  <a:pt x="245" y="156"/>
                  <a:pt x="245" y="156"/>
                  <a:pt x="245" y="156"/>
                </a:cubicBezTo>
                <a:cubicBezTo>
                  <a:pt x="245" y="155"/>
                  <a:pt x="245" y="155"/>
                  <a:pt x="245" y="155"/>
                </a:cubicBezTo>
                <a:cubicBezTo>
                  <a:pt x="246" y="154"/>
                  <a:pt x="246" y="154"/>
                  <a:pt x="246" y="154"/>
                </a:cubicBezTo>
                <a:cubicBezTo>
                  <a:pt x="245" y="154"/>
                  <a:pt x="245" y="154"/>
                  <a:pt x="245" y="154"/>
                </a:cubicBezTo>
                <a:cubicBezTo>
                  <a:pt x="244" y="154"/>
                  <a:pt x="244" y="154"/>
                  <a:pt x="244" y="154"/>
                </a:cubicBezTo>
                <a:cubicBezTo>
                  <a:pt x="242" y="156"/>
                  <a:pt x="242" y="156"/>
                  <a:pt x="242" y="156"/>
                </a:cubicBezTo>
                <a:cubicBezTo>
                  <a:pt x="242" y="154"/>
                  <a:pt x="242" y="154"/>
                  <a:pt x="242" y="154"/>
                </a:cubicBezTo>
                <a:cubicBezTo>
                  <a:pt x="241" y="154"/>
                  <a:pt x="241" y="154"/>
                  <a:pt x="241" y="154"/>
                </a:cubicBezTo>
                <a:cubicBezTo>
                  <a:pt x="240" y="155"/>
                  <a:pt x="240" y="155"/>
                  <a:pt x="240" y="155"/>
                </a:cubicBezTo>
                <a:cubicBezTo>
                  <a:pt x="239" y="155"/>
                  <a:pt x="239" y="155"/>
                  <a:pt x="239" y="155"/>
                </a:cubicBezTo>
                <a:cubicBezTo>
                  <a:pt x="238" y="154"/>
                  <a:pt x="238" y="154"/>
                  <a:pt x="238" y="154"/>
                </a:cubicBezTo>
                <a:cubicBezTo>
                  <a:pt x="237" y="154"/>
                  <a:pt x="237" y="154"/>
                  <a:pt x="237" y="154"/>
                </a:cubicBezTo>
                <a:cubicBezTo>
                  <a:pt x="236" y="154"/>
                  <a:pt x="236" y="154"/>
                  <a:pt x="236" y="154"/>
                </a:cubicBezTo>
                <a:cubicBezTo>
                  <a:pt x="237" y="153"/>
                  <a:pt x="237" y="153"/>
                  <a:pt x="237" y="153"/>
                </a:cubicBezTo>
                <a:cubicBezTo>
                  <a:pt x="239" y="153"/>
                  <a:pt x="239" y="153"/>
                  <a:pt x="239" y="153"/>
                </a:cubicBezTo>
                <a:cubicBezTo>
                  <a:pt x="240" y="153"/>
                  <a:pt x="240" y="153"/>
                  <a:pt x="240" y="153"/>
                </a:cubicBezTo>
                <a:cubicBezTo>
                  <a:pt x="241" y="153"/>
                  <a:pt x="241" y="153"/>
                  <a:pt x="241" y="153"/>
                </a:cubicBezTo>
                <a:cubicBezTo>
                  <a:pt x="241" y="152"/>
                  <a:pt x="241" y="152"/>
                  <a:pt x="241" y="152"/>
                </a:cubicBezTo>
                <a:cubicBezTo>
                  <a:pt x="242" y="152"/>
                  <a:pt x="242" y="152"/>
                  <a:pt x="242" y="152"/>
                </a:cubicBezTo>
                <a:cubicBezTo>
                  <a:pt x="243" y="152"/>
                  <a:pt x="243" y="152"/>
                  <a:pt x="243" y="152"/>
                </a:cubicBezTo>
                <a:cubicBezTo>
                  <a:pt x="244" y="151"/>
                  <a:pt x="244" y="151"/>
                  <a:pt x="244" y="151"/>
                </a:cubicBezTo>
                <a:cubicBezTo>
                  <a:pt x="244" y="150"/>
                  <a:pt x="244" y="150"/>
                  <a:pt x="244" y="150"/>
                </a:cubicBezTo>
                <a:cubicBezTo>
                  <a:pt x="244" y="149"/>
                  <a:pt x="244" y="149"/>
                  <a:pt x="244" y="149"/>
                </a:cubicBezTo>
                <a:cubicBezTo>
                  <a:pt x="244" y="148"/>
                  <a:pt x="244" y="148"/>
                  <a:pt x="244" y="148"/>
                </a:cubicBezTo>
                <a:cubicBezTo>
                  <a:pt x="242" y="146"/>
                  <a:pt x="242" y="146"/>
                  <a:pt x="242" y="146"/>
                </a:cubicBezTo>
                <a:cubicBezTo>
                  <a:pt x="241" y="146"/>
                  <a:pt x="241" y="146"/>
                  <a:pt x="241" y="146"/>
                </a:cubicBezTo>
                <a:cubicBezTo>
                  <a:pt x="241" y="145"/>
                  <a:pt x="241" y="145"/>
                  <a:pt x="241" y="145"/>
                </a:cubicBezTo>
                <a:cubicBezTo>
                  <a:pt x="239" y="143"/>
                  <a:pt x="239" y="143"/>
                  <a:pt x="239" y="143"/>
                </a:cubicBezTo>
                <a:cubicBezTo>
                  <a:pt x="239" y="143"/>
                  <a:pt x="239" y="143"/>
                  <a:pt x="239" y="143"/>
                </a:cubicBezTo>
                <a:cubicBezTo>
                  <a:pt x="238" y="143"/>
                  <a:pt x="238" y="143"/>
                  <a:pt x="238" y="143"/>
                </a:cubicBezTo>
                <a:cubicBezTo>
                  <a:pt x="236" y="144"/>
                  <a:pt x="236" y="144"/>
                  <a:pt x="236" y="144"/>
                </a:cubicBezTo>
                <a:cubicBezTo>
                  <a:pt x="236" y="144"/>
                  <a:pt x="236" y="144"/>
                  <a:pt x="236" y="144"/>
                </a:cubicBezTo>
                <a:cubicBezTo>
                  <a:pt x="234" y="146"/>
                  <a:pt x="234" y="146"/>
                  <a:pt x="234" y="146"/>
                </a:cubicBezTo>
                <a:cubicBezTo>
                  <a:pt x="234" y="146"/>
                  <a:pt x="234" y="146"/>
                  <a:pt x="234" y="146"/>
                </a:cubicBezTo>
                <a:cubicBezTo>
                  <a:pt x="234" y="147"/>
                  <a:pt x="234" y="147"/>
                  <a:pt x="234" y="147"/>
                </a:cubicBezTo>
                <a:cubicBezTo>
                  <a:pt x="233" y="147"/>
                  <a:pt x="233" y="147"/>
                  <a:pt x="233" y="147"/>
                </a:cubicBezTo>
                <a:cubicBezTo>
                  <a:pt x="232" y="148"/>
                  <a:pt x="232" y="148"/>
                  <a:pt x="232" y="148"/>
                </a:cubicBezTo>
                <a:cubicBezTo>
                  <a:pt x="232" y="147"/>
                  <a:pt x="232" y="147"/>
                  <a:pt x="232" y="147"/>
                </a:cubicBezTo>
                <a:cubicBezTo>
                  <a:pt x="231" y="147"/>
                  <a:pt x="231" y="147"/>
                  <a:pt x="231" y="147"/>
                </a:cubicBezTo>
                <a:cubicBezTo>
                  <a:pt x="230" y="147"/>
                  <a:pt x="230" y="147"/>
                  <a:pt x="230" y="147"/>
                </a:cubicBezTo>
                <a:cubicBezTo>
                  <a:pt x="229" y="147"/>
                  <a:pt x="229" y="147"/>
                  <a:pt x="229" y="147"/>
                </a:cubicBezTo>
                <a:cubicBezTo>
                  <a:pt x="229" y="147"/>
                  <a:pt x="229" y="147"/>
                  <a:pt x="229" y="147"/>
                </a:cubicBezTo>
                <a:cubicBezTo>
                  <a:pt x="227" y="147"/>
                  <a:pt x="227" y="147"/>
                  <a:pt x="227" y="147"/>
                </a:cubicBezTo>
                <a:cubicBezTo>
                  <a:pt x="227" y="147"/>
                  <a:pt x="227" y="147"/>
                  <a:pt x="227" y="147"/>
                </a:cubicBezTo>
                <a:cubicBezTo>
                  <a:pt x="227" y="146"/>
                  <a:pt x="227" y="146"/>
                  <a:pt x="227" y="146"/>
                </a:cubicBezTo>
                <a:cubicBezTo>
                  <a:pt x="229" y="146"/>
                  <a:pt x="229" y="146"/>
                  <a:pt x="229" y="146"/>
                </a:cubicBezTo>
                <a:cubicBezTo>
                  <a:pt x="230" y="145"/>
                  <a:pt x="230" y="145"/>
                  <a:pt x="230" y="145"/>
                </a:cubicBezTo>
                <a:cubicBezTo>
                  <a:pt x="231" y="144"/>
                  <a:pt x="231" y="144"/>
                  <a:pt x="231" y="144"/>
                </a:cubicBezTo>
                <a:cubicBezTo>
                  <a:pt x="231" y="145"/>
                  <a:pt x="231" y="145"/>
                  <a:pt x="231" y="145"/>
                </a:cubicBezTo>
                <a:cubicBezTo>
                  <a:pt x="232" y="143"/>
                  <a:pt x="232" y="143"/>
                  <a:pt x="232" y="143"/>
                </a:cubicBezTo>
                <a:cubicBezTo>
                  <a:pt x="232" y="142"/>
                  <a:pt x="232" y="142"/>
                  <a:pt x="232" y="142"/>
                </a:cubicBezTo>
                <a:cubicBezTo>
                  <a:pt x="233" y="141"/>
                  <a:pt x="233" y="141"/>
                  <a:pt x="233" y="141"/>
                </a:cubicBezTo>
                <a:cubicBezTo>
                  <a:pt x="234" y="141"/>
                  <a:pt x="234" y="141"/>
                  <a:pt x="234" y="141"/>
                </a:cubicBezTo>
                <a:cubicBezTo>
                  <a:pt x="235" y="139"/>
                  <a:pt x="235" y="139"/>
                  <a:pt x="235" y="139"/>
                </a:cubicBezTo>
                <a:cubicBezTo>
                  <a:pt x="235" y="138"/>
                  <a:pt x="235" y="138"/>
                  <a:pt x="235" y="138"/>
                </a:cubicBezTo>
                <a:cubicBezTo>
                  <a:pt x="235" y="137"/>
                  <a:pt x="235" y="137"/>
                  <a:pt x="235" y="137"/>
                </a:cubicBezTo>
                <a:cubicBezTo>
                  <a:pt x="235" y="135"/>
                  <a:pt x="235" y="135"/>
                  <a:pt x="235" y="135"/>
                </a:cubicBezTo>
                <a:cubicBezTo>
                  <a:pt x="234" y="135"/>
                  <a:pt x="234" y="135"/>
                  <a:pt x="234" y="135"/>
                </a:cubicBezTo>
                <a:cubicBezTo>
                  <a:pt x="232" y="136"/>
                  <a:pt x="232" y="136"/>
                  <a:pt x="232" y="136"/>
                </a:cubicBezTo>
                <a:cubicBezTo>
                  <a:pt x="229" y="137"/>
                  <a:pt x="229" y="137"/>
                  <a:pt x="229" y="137"/>
                </a:cubicBezTo>
                <a:cubicBezTo>
                  <a:pt x="227" y="137"/>
                  <a:pt x="227" y="137"/>
                  <a:pt x="227" y="137"/>
                </a:cubicBezTo>
                <a:cubicBezTo>
                  <a:pt x="222" y="138"/>
                  <a:pt x="222" y="138"/>
                  <a:pt x="222" y="138"/>
                </a:cubicBezTo>
                <a:cubicBezTo>
                  <a:pt x="217" y="140"/>
                  <a:pt x="217" y="140"/>
                  <a:pt x="217" y="140"/>
                </a:cubicBezTo>
                <a:cubicBezTo>
                  <a:pt x="215" y="142"/>
                  <a:pt x="215" y="142"/>
                  <a:pt x="215" y="142"/>
                </a:cubicBezTo>
                <a:cubicBezTo>
                  <a:pt x="212" y="142"/>
                  <a:pt x="212" y="142"/>
                  <a:pt x="212" y="142"/>
                </a:cubicBezTo>
                <a:cubicBezTo>
                  <a:pt x="207" y="145"/>
                  <a:pt x="207" y="145"/>
                  <a:pt x="207" y="145"/>
                </a:cubicBezTo>
                <a:cubicBezTo>
                  <a:pt x="206" y="146"/>
                  <a:pt x="206" y="146"/>
                  <a:pt x="206" y="146"/>
                </a:cubicBezTo>
                <a:cubicBezTo>
                  <a:pt x="206" y="147"/>
                  <a:pt x="206" y="147"/>
                  <a:pt x="206" y="147"/>
                </a:cubicBezTo>
                <a:cubicBezTo>
                  <a:pt x="207" y="147"/>
                  <a:pt x="207" y="147"/>
                  <a:pt x="207" y="147"/>
                </a:cubicBezTo>
                <a:cubicBezTo>
                  <a:pt x="207" y="148"/>
                  <a:pt x="207" y="148"/>
                  <a:pt x="207" y="148"/>
                </a:cubicBezTo>
                <a:cubicBezTo>
                  <a:pt x="206" y="148"/>
                  <a:pt x="206" y="148"/>
                  <a:pt x="206" y="148"/>
                </a:cubicBezTo>
                <a:cubicBezTo>
                  <a:pt x="205" y="148"/>
                  <a:pt x="205" y="148"/>
                  <a:pt x="205" y="148"/>
                </a:cubicBezTo>
                <a:cubicBezTo>
                  <a:pt x="203" y="150"/>
                  <a:pt x="203" y="150"/>
                  <a:pt x="203" y="150"/>
                </a:cubicBezTo>
                <a:cubicBezTo>
                  <a:pt x="201" y="150"/>
                  <a:pt x="201" y="150"/>
                  <a:pt x="201" y="150"/>
                </a:cubicBezTo>
                <a:cubicBezTo>
                  <a:pt x="200" y="151"/>
                  <a:pt x="200" y="151"/>
                  <a:pt x="200" y="151"/>
                </a:cubicBezTo>
                <a:cubicBezTo>
                  <a:pt x="200" y="152"/>
                  <a:pt x="200" y="152"/>
                  <a:pt x="200" y="152"/>
                </a:cubicBezTo>
                <a:cubicBezTo>
                  <a:pt x="198" y="153"/>
                  <a:pt x="198" y="153"/>
                  <a:pt x="198" y="153"/>
                </a:cubicBezTo>
                <a:cubicBezTo>
                  <a:pt x="198" y="154"/>
                  <a:pt x="198" y="154"/>
                  <a:pt x="198" y="154"/>
                </a:cubicBezTo>
                <a:cubicBezTo>
                  <a:pt x="198" y="156"/>
                  <a:pt x="198" y="156"/>
                  <a:pt x="198" y="156"/>
                </a:cubicBezTo>
                <a:cubicBezTo>
                  <a:pt x="198" y="156"/>
                  <a:pt x="198" y="156"/>
                  <a:pt x="198" y="156"/>
                </a:cubicBezTo>
                <a:cubicBezTo>
                  <a:pt x="199" y="156"/>
                  <a:pt x="199" y="156"/>
                  <a:pt x="199" y="156"/>
                </a:cubicBezTo>
                <a:cubicBezTo>
                  <a:pt x="199" y="157"/>
                  <a:pt x="199" y="157"/>
                  <a:pt x="199" y="157"/>
                </a:cubicBezTo>
                <a:cubicBezTo>
                  <a:pt x="199" y="157"/>
                  <a:pt x="199" y="157"/>
                  <a:pt x="199" y="157"/>
                </a:cubicBezTo>
                <a:cubicBezTo>
                  <a:pt x="200" y="157"/>
                  <a:pt x="200" y="157"/>
                  <a:pt x="200" y="157"/>
                </a:cubicBezTo>
                <a:cubicBezTo>
                  <a:pt x="201" y="157"/>
                  <a:pt x="201" y="157"/>
                  <a:pt x="201" y="157"/>
                </a:cubicBezTo>
                <a:cubicBezTo>
                  <a:pt x="202" y="157"/>
                  <a:pt x="202" y="157"/>
                  <a:pt x="202" y="157"/>
                </a:cubicBezTo>
                <a:cubicBezTo>
                  <a:pt x="203" y="157"/>
                  <a:pt x="203" y="157"/>
                  <a:pt x="203" y="157"/>
                </a:cubicBezTo>
                <a:cubicBezTo>
                  <a:pt x="203" y="158"/>
                  <a:pt x="203" y="158"/>
                  <a:pt x="203" y="158"/>
                </a:cubicBezTo>
                <a:cubicBezTo>
                  <a:pt x="201" y="159"/>
                  <a:pt x="201" y="159"/>
                  <a:pt x="201" y="159"/>
                </a:cubicBezTo>
                <a:cubicBezTo>
                  <a:pt x="200" y="158"/>
                  <a:pt x="200" y="158"/>
                  <a:pt x="200" y="158"/>
                </a:cubicBezTo>
                <a:cubicBezTo>
                  <a:pt x="199" y="159"/>
                  <a:pt x="199" y="159"/>
                  <a:pt x="199" y="159"/>
                </a:cubicBezTo>
                <a:cubicBezTo>
                  <a:pt x="199" y="160"/>
                  <a:pt x="199" y="160"/>
                  <a:pt x="199" y="160"/>
                </a:cubicBezTo>
                <a:cubicBezTo>
                  <a:pt x="201" y="161"/>
                  <a:pt x="201" y="161"/>
                  <a:pt x="201" y="161"/>
                </a:cubicBezTo>
                <a:cubicBezTo>
                  <a:pt x="202" y="160"/>
                  <a:pt x="202" y="160"/>
                  <a:pt x="202" y="160"/>
                </a:cubicBezTo>
                <a:cubicBezTo>
                  <a:pt x="202" y="159"/>
                  <a:pt x="202" y="159"/>
                  <a:pt x="202" y="159"/>
                </a:cubicBezTo>
                <a:cubicBezTo>
                  <a:pt x="203" y="159"/>
                  <a:pt x="203" y="159"/>
                  <a:pt x="203" y="159"/>
                </a:cubicBezTo>
                <a:cubicBezTo>
                  <a:pt x="204" y="160"/>
                  <a:pt x="204" y="160"/>
                  <a:pt x="204" y="160"/>
                </a:cubicBezTo>
                <a:cubicBezTo>
                  <a:pt x="203" y="161"/>
                  <a:pt x="203" y="161"/>
                  <a:pt x="203" y="161"/>
                </a:cubicBezTo>
                <a:cubicBezTo>
                  <a:pt x="204" y="161"/>
                  <a:pt x="204" y="161"/>
                  <a:pt x="204" y="161"/>
                </a:cubicBezTo>
                <a:cubicBezTo>
                  <a:pt x="206" y="161"/>
                  <a:pt x="206" y="161"/>
                  <a:pt x="206" y="161"/>
                </a:cubicBezTo>
                <a:cubicBezTo>
                  <a:pt x="208" y="161"/>
                  <a:pt x="208" y="161"/>
                  <a:pt x="208" y="161"/>
                </a:cubicBezTo>
                <a:cubicBezTo>
                  <a:pt x="209" y="161"/>
                  <a:pt x="209" y="161"/>
                  <a:pt x="209" y="161"/>
                </a:cubicBezTo>
                <a:cubicBezTo>
                  <a:pt x="211" y="161"/>
                  <a:pt x="211" y="161"/>
                  <a:pt x="211" y="161"/>
                </a:cubicBezTo>
                <a:cubicBezTo>
                  <a:pt x="212" y="161"/>
                  <a:pt x="212" y="161"/>
                  <a:pt x="212" y="161"/>
                </a:cubicBezTo>
                <a:cubicBezTo>
                  <a:pt x="214" y="162"/>
                  <a:pt x="214" y="162"/>
                  <a:pt x="214" y="162"/>
                </a:cubicBezTo>
                <a:cubicBezTo>
                  <a:pt x="214" y="163"/>
                  <a:pt x="214" y="163"/>
                  <a:pt x="214" y="163"/>
                </a:cubicBezTo>
                <a:cubicBezTo>
                  <a:pt x="215" y="163"/>
                  <a:pt x="215" y="163"/>
                  <a:pt x="215" y="163"/>
                </a:cubicBezTo>
                <a:cubicBezTo>
                  <a:pt x="215" y="163"/>
                  <a:pt x="215" y="163"/>
                  <a:pt x="215" y="163"/>
                </a:cubicBezTo>
                <a:cubicBezTo>
                  <a:pt x="214" y="163"/>
                  <a:pt x="214" y="163"/>
                  <a:pt x="214" y="163"/>
                </a:cubicBezTo>
                <a:cubicBezTo>
                  <a:pt x="212" y="162"/>
                  <a:pt x="212" y="162"/>
                  <a:pt x="212" y="162"/>
                </a:cubicBezTo>
                <a:cubicBezTo>
                  <a:pt x="210" y="162"/>
                  <a:pt x="210" y="162"/>
                  <a:pt x="210" y="162"/>
                </a:cubicBezTo>
                <a:cubicBezTo>
                  <a:pt x="209" y="163"/>
                  <a:pt x="209" y="163"/>
                  <a:pt x="209" y="163"/>
                </a:cubicBezTo>
                <a:cubicBezTo>
                  <a:pt x="211" y="163"/>
                  <a:pt x="211" y="163"/>
                  <a:pt x="211" y="163"/>
                </a:cubicBezTo>
                <a:cubicBezTo>
                  <a:pt x="211" y="164"/>
                  <a:pt x="211" y="164"/>
                  <a:pt x="211" y="164"/>
                </a:cubicBezTo>
                <a:cubicBezTo>
                  <a:pt x="209" y="164"/>
                  <a:pt x="209" y="164"/>
                  <a:pt x="209" y="164"/>
                </a:cubicBezTo>
                <a:cubicBezTo>
                  <a:pt x="208" y="163"/>
                  <a:pt x="208" y="163"/>
                  <a:pt x="208" y="163"/>
                </a:cubicBezTo>
                <a:cubicBezTo>
                  <a:pt x="206" y="164"/>
                  <a:pt x="206" y="164"/>
                  <a:pt x="206" y="164"/>
                </a:cubicBezTo>
                <a:cubicBezTo>
                  <a:pt x="205" y="164"/>
                  <a:pt x="205" y="164"/>
                  <a:pt x="205" y="164"/>
                </a:cubicBezTo>
                <a:cubicBezTo>
                  <a:pt x="204" y="164"/>
                  <a:pt x="204" y="164"/>
                  <a:pt x="204" y="164"/>
                </a:cubicBezTo>
                <a:cubicBezTo>
                  <a:pt x="203" y="164"/>
                  <a:pt x="203" y="164"/>
                  <a:pt x="203" y="164"/>
                </a:cubicBezTo>
                <a:cubicBezTo>
                  <a:pt x="202" y="164"/>
                  <a:pt x="202" y="164"/>
                  <a:pt x="202" y="164"/>
                </a:cubicBezTo>
                <a:cubicBezTo>
                  <a:pt x="201" y="164"/>
                  <a:pt x="201" y="164"/>
                  <a:pt x="201" y="164"/>
                </a:cubicBezTo>
                <a:cubicBezTo>
                  <a:pt x="198" y="164"/>
                  <a:pt x="198" y="164"/>
                  <a:pt x="198" y="164"/>
                </a:cubicBezTo>
                <a:cubicBezTo>
                  <a:pt x="198" y="164"/>
                  <a:pt x="198" y="164"/>
                  <a:pt x="198" y="164"/>
                </a:cubicBezTo>
                <a:cubicBezTo>
                  <a:pt x="196" y="165"/>
                  <a:pt x="196" y="165"/>
                  <a:pt x="196" y="165"/>
                </a:cubicBezTo>
                <a:cubicBezTo>
                  <a:pt x="195" y="166"/>
                  <a:pt x="195" y="166"/>
                  <a:pt x="195" y="166"/>
                </a:cubicBezTo>
                <a:cubicBezTo>
                  <a:pt x="196" y="170"/>
                  <a:pt x="196" y="170"/>
                  <a:pt x="196" y="170"/>
                </a:cubicBezTo>
                <a:cubicBezTo>
                  <a:pt x="196" y="170"/>
                  <a:pt x="196" y="170"/>
                  <a:pt x="196" y="170"/>
                </a:cubicBezTo>
                <a:cubicBezTo>
                  <a:pt x="196" y="172"/>
                  <a:pt x="196" y="172"/>
                  <a:pt x="196" y="172"/>
                </a:cubicBezTo>
                <a:cubicBezTo>
                  <a:pt x="195" y="172"/>
                  <a:pt x="195" y="172"/>
                  <a:pt x="195" y="172"/>
                </a:cubicBezTo>
                <a:cubicBezTo>
                  <a:pt x="195" y="173"/>
                  <a:pt x="195" y="173"/>
                  <a:pt x="195" y="173"/>
                </a:cubicBezTo>
                <a:cubicBezTo>
                  <a:pt x="196" y="173"/>
                  <a:pt x="196" y="173"/>
                  <a:pt x="196" y="173"/>
                </a:cubicBezTo>
                <a:cubicBezTo>
                  <a:pt x="197" y="173"/>
                  <a:pt x="197" y="173"/>
                  <a:pt x="197" y="173"/>
                </a:cubicBezTo>
                <a:cubicBezTo>
                  <a:pt x="198" y="173"/>
                  <a:pt x="198" y="173"/>
                  <a:pt x="198" y="173"/>
                </a:cubicBezTo>
                <a:cubicBezTo>
                  <a:pt x="198" y="174"/>
                  <a:pt x="198" y="174"/>
                  <a:pt x="198" y="174"/>
                </a:cubicBezTo>
                <a:cubicBezTo>
                  <a:pt x="200" y="174"/>
                  <a:pt x="200" y="174"/>
                  <a:pt x="200" y="174"/>
                </a:cubicBezTo>
                <a:cubicBezTo>
                  <a:pt x="200" y="173"/>
                  <a:pt x="200" y="173"/>
                  <a:pt x="200" y="173"/>
                </a:cubicBezTo>
                <a:cubicBezTo>
                  <a:pt x="200" y="173"/>
                  <a:pt x="200" y="173"/>
                  <a:pt x="200" y="173"/>
                </a:cubicBezTo>
                <a:cubicBezTo>
                  <a:pt x="201" y="174"/>
                  <a:pt x="201" y="174"/>
                  <a:pt x="201" y="174"/>
                </a:cubicBezTo>
                <a:cubicBezTo>
                  <a:pt x="201" y="174"/>
                  <a:pt x="201" y="174"/>
                  <a:pt x="201" y="174"/>
                </a:cubicBezTo>
                <a:cubicBezTo>
                  <a:pt x="202" y="174"/>
                  <a:pt x="202" y="174"/>
                  <a:pt x="202" y="174"/>
                </a:cubicBezTo>
                <a:cubicBezTo>
                  <a:pt x="203" y="174"/>
                  <a:pt x="203" y="174"/>
                  <a:pt x="203" y="174"/>
                </a:cubicBezTo>
                <a:cubicBezTo>
                  <a:pt x="203" y="175"/>
                  <a:pt x="203" y="175"/>
                  <a:pt x="203" y="175"/>
                </a:cubicBezTo>
                <a:cubicBezTo>
                  <a:pt x="204" y="175"/>
                  <a:pt x="204" y="175"/>
                  <a:pt x="204" y="175"/>
                </a:cubicBezTo>
                <a:cubicBezTo>
                  <a:pt x="205" y="175"/>
                  <a:pt x="205" y="175"/>
                  <a:pt x="205" y="175"/>
                </a:cubicBezTo>
                <a:cubicBezTo>
                  <a:pt x="205" y="175"/>
                  <a:pt x="205" y="175"/>
                  <a:pt x="205" y="175"/>
                </a:cubicBezTo>
                <a:cubicBezTo>
                  <a:pt x="206" y="176"/>
                  <a:pt x="206" y="176"/>
                  <a:pt x="206" y="176"/>
                </a:cubicBezTo>
                <a:cubicBezTo>
                  <a:pt x="207" y="176"/>
                  <a:pt x="207" y="176"/>
                  <a:pt x="207" y="176"/>
                </a:cubicBezTo>
                <a:cubicBezTo>
                  <a:pt x="208" y="176"/>
                  <a:pt x="208" y="176"/>
                  <a:pt x="208" y="176"/>
                </a:cubicBezTo>
                <a:cubicBezTo>
                  <a:pt x="209" y="176"/>
                  <a:pt x="209" y="176"/>
                  <a:pt x="209" y="176"/>
                </a:cubicBezTo>
                <a:cubicBezTo>
                  <a:pt x="210" y="175"/>
                  <a:pt x="210" y="175"/>
                  <a:pt x="210" y="175"/>
                </a:cubicBezTo>
                <a:cubicBezTo>
                  <a:pt x="211" y="176"/>
                  <a:pt x="211" y="176"/>
                  <a:pt x="211" y="176"/>
                </a:cubicBezTo>
                <a:cubicBezTo>
                  <a:pt x="213" y="176"/>
                  <a:pt x="213" y="176"/>
                  <a:pt x="213" y="176"/>
                </a:cubicBezTo>
                <a:cubicBezTo>
                  <a:pt x="214" y="176"/>
                  <a:pt x="214" y="176"/>
                  <a:pt x="214" y="176"/>
                </a:cubicBezTo>
                <a:cubicBezTo>
                  <a:pt x="215" y="176"/>
                  <a:pt x="215" y="176"/>
                  <a:pt x="215" y="176"/>
                </a:cubicBezTo>
                <a:cubicBezTo>
                  <a:pt x="215" y="177"/>
                  <a:pt x="215" y="177"/>
                  <a:pt x="215" y="177"/>
                </a:cubicBezTo>
                <a:cubicBezTo>
                  <a:pt x="216" y="176"/>
                  <a:pt x="216" y="176"/>
                  <a:pt x="216" y="176"/>
                </a:cubicBezTo>
                <a:cubicBezTo>
                  <a:pt x="216" y="177"/>
                  <a:pt x="216" y="177"/>
                  <a:pt x="216" y="177"/>
                </a:cubicBezTo>
                <a:cubicBezTo>
                  <a:pt x="217" y="178"/>
                  <a:pt x="217" y="178"/>
                  <a:pt x="217" y="178"/>
                </a:cubicBezTo>
                <a:cubicBezTo>
                  <a:pt x="217" y="179"/>
                  <a:pt x="217" y="179"/>
                  <a:pt x="217" y="179"/>
                </a:cubicBezTo>
                <a:cubicBezTo>
                  <a:pt x="218" y="179"/>
                  <a:pt x="218" y="179"/>
                  <a:pt x="218" y="179"/>
                </a:cubicBezTo>
                <a:cubicBezTo>
                  <a:pt x="219" y="179"/>
                  <a:pt x="219" y="179"/>
                  <a:pt x="219" y="179"/>
                </a:cubicBezTo>
                <a:cubicBezTo>
                  <a:pt x="220" y="180"/>
                  <a:pt x="220" y="180"/>
                  <a:pt x="220" y="180"/>
                </a:cubicBezTo>
                <a:cubicBezTo>
                  <a:pt x="220" y="181"/>
                  <a:pt x="220" y="181"/>
                  <a:pt x="220" y="181"/>
                </a:cubicBezTo>
                <a:cubicBezTo>
                  <a:pt x="221" y="181"/>
                  <a:pt x="221" y="181"/>
                  <a:pt x="221" y="181"/>
                </a:cubicBezTo>
                <a:cubicBezTo>
                  <a:pt x="221" y="182"/>
                  <a:pt x="221" y="182"/>
                  <a:pt x="221" y="182"/>
                </a:cubicBezTo>
                <a:cubicBezTo>
                  <a:pt x="221" y="182"/>
                  <a:pt x="221" y="182"/>
                  <a:pt x="221" y="182"/>
                </a:cubicBezTo>
                <a:cubicBezTo>
                  <a:pt x="221" y="183"/>
                  <a:pt x="221" y="183"/>
                  <a:pt x="221" y="183"/>
                </a:cubicBezTo>
                <a:cubicBezTo>
                  <a:pt x="222" y="184"/>
                  <a:pt x="222" y="184"/>
                  <a:pt x="222" y="184"/>
                </a:cubicBezTo>
                <a:cubicBezTo>
                  <a:pt x="224" y="185"/>
                  <a:pt x="224" y="185"/>
                  <a:pt x="224" y="185"/>
                </a:cubicBezTo>
                <a:cubicBezTo>
                  <a:pt x="224" y="186"/>
                  <a:pt x="224" y="186"/>
                  <a:pt x="224" y="186"/>
                </a:cubicBezTo>
                <a:cubicBezTo>
                  <a:pt x="223" y="186"/>
                  <a:pt x="223" y="186"/>
                  <a:pt x="223" y="186"/>
                </a:cubicBezTo>
                <a:cubicBezTo>
                  <a:pt x="224" y="187"/>
                  <a:pt x="224" y="187"/>
                  <a:pt x="224" y="187"/>
                </a:cubicBezTo>
                <a:cubicBezTo>
                  <a:pt x="223" y="187"/>
                  <a:pt x="223" y="187"/>
                  <a:pt x="223" y="187"/>
                </a:cubicBezTo>
                <a:cubicBezTo>
                  <a:pt x="221" y="186"/>
                  <a:pt x="221" y="186"/>
                  <a:pt x="221" y="186"/>
                </a:cubicBezTo>
                <a:cubicBezTo>
                  <a:pt x="219" y="185"/>
                  <a:pt x="219" y="185"/>
                  <a:pt x="219" y="185"/>
                </a:cubicBezTo>
                <a:cubicBezTo>
                  <a:pt x="218" y="186"/>
                  <a:pt x="218" y="186"/>
                  <a:pt x="218" y="186"/>
                </a:cubicBezTo>
                <a:cubicBezTo>
                  <a:pt x="217" y="185"/>
                  <a:pt x="217" y="185"/>
                  <a:pt x="217" y="185"/>
                </a:cubicBezTo>
                <a:cubicBezTo>
                  <a:pt x="217" y="186"/>
                  <a:pt x="217" y="186"/>
                  <a:pt x="217" y="186"/>
                </a:cubicBezTo>
                <a:cubicBezTo>
                  <a:pt x="216" y="186"/>
                  <a:pt x="216" y="186"/>
                  <a:pt x="216" y="186"/>
                </a:cubicBezTo>
                <a:cubicBezTo>
                  <a:pt x="215" y="185"/>
                  <a:pt x="215" y="185"/>
                  <a:pt x="215" y="185"/>
                </a:cubicBezTo>
                <a:cubicBezTo>
                  <a:pt x="214" y="185"/>
                  <a:pt x="214" y="185"/>
                  <a:pt x="214" y="185"/>
                </a:cubicBezTo>
                <a:cubicBezTo>
                  <a:pt x="214" y="184"/>
                  <a:pt x="214" y="184"/>
                  <a:pt x="214" y="184"/>
                </a:cubicBezTo>
                <a:cubicBezTo>
                  <a:pt x="213" y="183"/>
                  <a:pt x="213" y="183"/>
                  <a:pt x="213" y="183"/>
                </a:cubicBezTo>
                <a:cubicBezTo>
                  <a:pt x="212" y="184"/>
                  <a:pt x="212" y="184"/>
                  <a:pt x="212" y="184"/>
                </a:cubicBezTo>
                <a:cubicBezTo>
                  <a:pt x="211" y="183"/>
                  <a:pt x="211" y="183"/>
                  <a:pt x="211" y="183"/>
                </a:cubicBezTo>
                <a:cubicBezTo>
                  <a:pt x="210" y="183"/>
                  <a:pt x="210" y="183"/>
                  <a:pt x="210" y="183"/>
                </a:cubicBezTo>
                <a:cubicBezTo>
                  <a:pt x="209" y="182"/>
                  <a:pt x="209" y="182"/>
                  <a:pt x="209" y="182"/>
                </a:cubicBezTo>
                <a:cubicBezTo>
                  <a:pt x="209" y="181"/>
                  <a:pt x="209" y="181"/>
                  <a:pt x="209" y="181"/>
                </a:cubicBezTo>
                <a:cubicBezTo>
                  <a:pt x="208" y="181"/>
                  <a:pt x="208" y="181"/>
                  <a:pt x="208" y="181"/>
                </a:cubicBezTo>
                <a:cubicBezTo>
                  <a:pt x="208" y="181"/>
                  <a:pt x="208" y="181"/>
                  <a:pt x="208" y="181"/>
                </a:cubicBezTo>
                <a:cubicBezTo>
                  <a:pt x="206" y="181"/>
                  <a:pt x="206" y="181"/>
                  <a:pt x="206" y="181"/>
                </a:cubicBezTo>
                <a:cubicBezTo>
                  <a:pt x="206" y="181"/>
                  <a:pt x="206" y="181"/>
                  <a:pt x="206" y="181"/>
                </a:cubicBezTo>
                <a:cubicBezTo>
                  <a:pt x="203" y="181"/>
                  <a:pt x="203" y="181"/>
                  <a:pt x="203" y="181"/>
                </a:cubicBezTo>
                <a:cubicBezTo>
                  <a:pt x="201" y="181"/>
                  <a:pt x="201" y="181"/>
                  <a:pt x="201" y="181"/>
                </a:cubicBezTo>
                <a:cubicBezTo>
                  <a:pt x="200" y="180"/>
                  <a:pt x="200" y="180"/>
                  <a:pt x="200" y="180"/>
                </a:cubicBezTo>
                <a:cubicBezTo>
                  <a:pt x="195" y="180"/>
                  <a:pt x="195" y="180"/>
                  <a:pt x="195" y="180"/>
                </a:cubicBezTo>
                <a:cubicBezTo>
                  <a:pt x="194" y="181"/>
                  <a:pt x="194" y="181"/>
                  <a:pt x="194" y="181"/>
                </a:cubicBezTo>
                <a:cubicBezTo>
                  <a:pt x="193" y="181"/>
                  <a:pt x="193" y="181"/>
                  <a:pt x="193" y="181"/>
                </a:cubicBezTo>
                <a:cubicBezTo>
                  <a:pt x="192" y="182"/>
                  <a:pt x="192" y="182"/>
                  <a:pt x="192" y="182"/>
                </a:cubicBezTo>
                <a:cubicBezTo>
                  <a:pt x="192" y="184"/>
                  <a:pt x="192" y="184"/>
                  <a:pt x="192" y="184"/>
                </a:cubicBezTo>
                <a:cubicBezTo>
                  <a:pt x="191" y="186"/>
                  <a:pt x="191" y="186"/>
                  <a:pt x="191" y="186"/>
                </a:cubicBezTo>
                <a:cubicBezTo>
                  <a:pt x="191" y="188"/>
                  <a:pt x="191" y="188"/>
                  <a:pt x="191" y="188"/>
                </a:cubicBezTo>
                <a:cubicBezTo>
                  <a:pt x="191" y="188"/>
                  <a:pt x="191" y="188"/>
                  <a:pt x="191" y="188"/>
                </a:cubicBezTo>
                <a:cubicBezTo>
                  <a:pt x="191" y="189"/>
                  <a:pt x="191" y="189"/>
                  <a:pt x="191" y="189"/>
                </a:cubicBezTo>
                <a:cubicBezTo>
                  <a:pt x="192" y="189"/>
                  <a:pt x="192" y="189"/>
                  <a:pt x="192" y="189"/>
                </a:cubicBezTo>
                <a:cubicBezTo>
                  <a:pt x="192" y="190"/>
                  <a:pt x="192" y="190"/>
                  <a:pt x="192" y="190"/>
                </a:cubicBezTo>
                <a:cubicBezTo>
                  <a:pt x="191" y="190"/>
                  <a:pt x="191" y="190"/>
                  <a:pt x="191" y="190"/>
                </a:cubicBezTo>
                <a:cubicBezTo>
                  <a:pt x="192" y="193"/>
                  <a:pt x="192" y="193"/>
                  <a:pt x="192" y="193"/>
                </a:cubicBezTo>
                <a:cubicBezTo>
                  <a:pt x="193" y="194"/>
                  <a:pt x="193" y="194"/>
                  <a:pt x="193" y="194"/>
                </a:cubicBezTo>
                <a:cubicBezTo>
                  <a:pt x="194" y="194"/>
                  <a:pt x="194" y="194"/>
                  <a:pt x="194" y="194"/>
                </a:cubicBezTo>
                <a:cubicBezTo>
                  <a:pt x="195" y="195"/>
                  <a:pt x="195" y="195"/>
                  <a:pt x="195" y="195"/>
                </a:cubicBezTo>
                <a:cubicBezTo>
                  <a:pt x="196" y="196"/>
                  <a:pt x="196" y="196"/>
                  <a:pt x="196" y="196"/>
                </a:cubicBezTo>
                <a:cubicBezTo>
                  <a:pt x="197" y="196"/>
                  <a:pt x="197" y="196"/>
                  <a:pt x="197" y="196"/>
                </a:cubicBezTo>
                <a:cubicBezTo>
                  <a:pt x="198" y="196"/>
                  <a:pt x="198" y="196"/>
                  <a:pt x="198" y="196"/>
                </a:cubicBezTo>
                <a:cubicBezTo>
                  <a:pt x="198" y="197"/>
                  <a:pt x="198" y="197"/>
                  <a:pt x="198" y="197"/>
                </a:cubicBezTo>
                <a:cubicBezTo>
                  <a:pt x="200" y="196"/>
                  <a:pt x="200" y="196"/>
                  <a:pt x="200" y="196"/>
                </a:cubicBezTo>
                <a:cubicBezTo>
                  <a:pt x="200" y="196"/>
                  <a:pt x="200" y="196"/>
                  <a:pt x="200" y="196"/>
                </a:cubicBezTo>
                <a:cubicBezTo>
                  <a:pt x="201" y="197"/>
                  <a:pt x="201" y="197"/>
                  <a:pt x="201" y="197"/>
                </a:cubicBezTo>
                <a:cubicBezTo>
                  <a:pt x="203" y="197"/>
                  <a:pt x="203" y="197"/>
                  <a:pt x="203" y="197"/>
                </a:cubicBezTo>
                <a:cubicBezTo>
                  <a:pt x="203" y="198"/>
                  <a:pt x="203" y="198"/>
                  <a:pt x="203" y="198"/>
                </a:cubicBezTo>
                <a:cubicBezTo>
                  <a:pt x="204" y="199"/>
                  <a:pt x="204" y="199"/>
                  <a:pt x="204" y="199"/>
                </a:cubicBezTo>
                <a:cubicBezTo>
                  <a:pt x="204" y="199"/>
                  <a:pt x="204" y="199"/>
                  <a:pt x="204" y="199"/>
                </a:cubicBezTo>
                <a:cubicBezTo>
                  <a:pt x="203" y="200"/>
                  <a:pt x="203" y="200"/>
                  <a:pt x="203" y="200"/>
                </a:cubicBezTo>
                <a:cubicBezTo>
                  <a:pt x="203" y="201"/>
                  <a:pt x="203" y="201"/>
                  <a:pt x="203" y="201"/>
                </a:cubicBezTo>
                <a:cubicBezTo>
                  <a:pt x="203" y="201"/>
                  <a:pt x="203" y="201"/>
                  <a:pt x="203" y="201"/>
                </a:cubicBezTo>
                <a:cubicBezTo>
                  <a:pt x="203" y="202"/>
                  <a:pt x="203" y="202"/>
                  <a:pt x="203" y="202"/>
                </a:cubicBezTo>
                <a:cubicBezTo>
                  <a:pt x="202" y="203"/>
                  <a:pt x="202" y="203"/>
                  <a:pt x="202" y="203"/>
                </a:cubicBezTo>
                <a:cubicBezTo>
                  <a:pt x="201" y="203"/>
                  <a:pt x="201" y="203"/>
                  <a:pt x="201" y="203"/>
                </a:cubicBezTo>
                <a:cubicBezTo>
                  <a:pt x="201" y="204"/>
                  <a:pt x="201" y="204"/>
                  <a:pt x="201" y="204"/>
                </a:cubicBezTo>
                <a:cubicBezTo>
                  <a:pt x="200" y="205"/>
                  <a:pt x="200" y="205"/>
                  <a:pt x="200" y="205"/>
                </a:cubicBezTo>
                <a:cubicBezTo>
                  <a:pt x="201" y="205"/>
                  <a:pt x="201" y="205"/>
                  <a:pt x="201" y="205"/>
                </a:cubicBezTo>
                <a:cubicBezTo>
                  <a:pt x="201" y="207"/>
                  <a:pt x="201" y="207"/>
                  <a:pt x="201" y="207"/>
                </a:cubicBezTo>
                <a:cubicBezTo>
                  <a:pt x="202" y="208"/>
                  <a:pt x="202" y="208"/>
                  <a:pt x="202" y="208"/>
                </a:cubicBezTo>
                <a:cubicBezTo>
                  <a:pt x="202" y="209"/>
                  <a:pt x="202" y="209"/>
                  <a:pt x="202" y="209"/>
                </a:cubicBezTo>
                <a:cubicBezTo>
                  <a:pt x="200" y="209"/>
                  <a:pt x="200" y="209"/>
                  <a:pt x="200" y="209"/>
                </a:cubicBezTo>
                <a:cubicBezTo>
                  <a:pt x="201" y="210"/>
                  <a:pt x="201" y="210"/>
                  <a:pt x="201" y="210"/>
                </a:cubicBezTo>
                <a:cubicBezTo>
                  <a:pt x="203" y="210"/>
                  <a:pt x="203" y="210"/>
                  <a:pt x="203" y="210"/>
                </a:cubicBezTo>
                <a:cubicBezTo>
                  <a:pt x="204" y="210"/>
                  <a:pt x="204" y="210"/>
                  <a:pt x="204" y="210"/>
                </a:cubicBezTo>
                <a:cubicBezTo>
                  <a:pt x="204" y="210"/>
                  <a:pt x="204" y="210"/>
                  <a:pt x="204" y="210"/>
                </a:cubicBezTo>
                <a:cubicBezTo>
                  <a:pt x="205" y="211"/>
                  <a:pt x="205" y="211"/>
                  <a:pt x="205" y="211"/>
                </a:cubicBezTo>
                <a:cubicBezTo>
                  <a:pt x="205" y="210"/>
                  <a:pt x="205" y="210"/>
                  <a:pt x="205" y="210"/>
                </a:cubicBezTo>
                <a:cubicBezTo>
                  <a:pt x="206" y="210"/>
                  <a:pt x="206" y="210"/>
                  <a:pt x="206" y="210"/>
                </a:cubicBezTo>
                <a:cubicBezTo>
                  <a:pt x="206" y="210"/>
                  <a:pt x="206" y="210"/>
                  <a:pt x="206" y="210"/>
                </a:cubicBezTo>
                <a:cubicBezTo>
                  <a:pt x="208" y="210"/>
                  <a:pt x="208" y="210"/>
                  <a:pt x="208" y="210"/>
                </a:cubicBezTo>
                <a:cubicBezTo>
                  <a:pt x="210" y="211"/>
                  <a:pt x="210" y="211"/>
                  <a:pt x="210" y="211"/>
                </a:cubicBezTo>
                <a:cubicBezTo>
                  <a:pt x="211" y="210"/>
                  <a:pt x="211" y="210"/>
                  <a:pt x="211" y="210"/>
                </a:cubicBezTo>
                <a:cubicBezTo>
                  <a:pt x="212" y="210"/>
                  <a:pt x="212" y="210"/>
                  <a:pt x="212" y="210"/>
                </a:cubicBezTo>
                <a:cubicBezTo>
                  <a:pt x="213" y="211"/>
                  <a:pt x="213" y="211"/>
                  <a:pt x="213" y="211"/>
                </a:cubicBezTo>
                <a:cubicBezTo>
                  <a:pt x="213" y="211"/>
                  <a:pt x="213" y="211"/>
                  <a:pt x="213" y="211"/>
                </a:cubicBezTo>
                <a:cubicBezTo>
                  <a:pt x="213" y="211"/>
                  <a:pt x="213" y="211"/>
                  <a:pt x="213" y="211"/>
                </a:cubicBezTo>
                <a:cubicBezTo>
                  <a:pt x="214" y="210"/>
                  <a:pt x="214" y="210"/>
                  <a:pt x="214" y="210"/>
                </a:cubicBezTo>
                <a:cubicBezTo>
                  <a:pt x="215" y="211"/>
                  <a:pt x="215" y="211"/>
                  <a:pt x="215" y="211"/>
                </a:cubicBezTo>
                <a:cubicBezTo>
                  <a:pt x="215" y="211"/>
                  <a:pt x="215" y="211"/>
                  <a:pt x="215" y="211"/>
                </a:cubicBezTo>
                <a:cubicBezTo>
                  <a:pt x="216" y="211"/>
                  <a:pt x="216" y="211"/>
                  <a:pt x="216" y="211"/>
                </a:cubicBezTo>
                <a:cubicBezTo>
                  <a:pt x="216" y="211"/>
                  <a:pt x="216" y="211"/>
                  <a:pt x="216" y="211"/>
                </a:cubicBezTo>
                <a:cubicBezTo>
                  <a:pt x="217" y="211"/>
                  <a:pt x="217" y="211"/>
                  <a:pt x="217" y="211"/>
                </a:cubicBezTo>
                <a:cubicBezTo>
                  <a:pt x="217" y="212"/>
                  <a:pt x="217" y="212"/>
                  <a:pt x="217" y="212"/>
                </a:cubicBezTo>
                <a:cubicBezTo>
                  <a:pt x="218" y="212"/>
                  <a:pt x="218" y="212"/>
                  <a:pt x="218" y="212"/>
                </a:cubicBezTo>
                <a:cubicBezTo>
                  <a:pt x="218" y="212"/>
                  <a:pt x="218" y="212"/>
                  <a:pt x="218" y="212"/>
                </a:cubicBezTo>
                <a:cubicBezTo>
                  <a:pt x="220" y="212"/>
                  <a:pt x="220" y="212"/>
                  <a:pt x="220" y="212"/>
                </a:cubicBezTo>
                <a:cubicBezTo>
                  <a:pt x="220" y="211"/>
                  <a:pt x="220" y="211"/>
                  <a:pt x="220" y="211"/>
                </a:cubicBezTo>
                <a:cubicBezTo>
                  <a:pt x="222" y="210"/>
                  <a:pt x="222" y="210"/>
                  <a:pt x="222" y="210"/>
                </a:cubicBezTo>
                <a:cubicBezTo>
                  <a:pt x="222" y="210"/>
                  <a:pt x="222" y="210"/>
                  <a:pt x="222" y="210"/>
                </a:cubicBezTo>
                <a:cubicBezTo>
                  <a:pt x="224" y="209"/>
                  <a:pt x="224" y="209"/>
                  <a:pt x="224" y="209"/>
                </a:cubicBezTo>
                <a:cubicBezTo>
                  <a:pt x="225" y="209"/>
                  <a:pt x="225" y="209"/>
                  <a:pt x="225" y="209"/>
                </a:cubicBezTo>
                <a:cubicBezTo>
                  <a:pt x="226" y="208"/>
                  <a:pt x="226" y="208"/>
                  <a:pt x="226" y="208"/>
                </a:cubicBezTo>
                <a:cubicBezTo>
                  <a:pt x="227" y="208"/>
                  <a:pt x="227" y="208"/>
                  <a:pt x="227" y="208"/>
                </a:cubicBezTo>
                <a:cubicBezTo>
                  <a:pt x="227" y="208"/>
                  <a:pt x="227" y="208"/>
                  <a:pt x="227" y="208"/>
                </a:cubicBezTo>
                <a:cubicBezTo>
                  <a:pt x="229" y="208"/>
                  <a:pt x="229" y="208"/>
                  <a:pt x="229" y="208"/>
                </a:cubicBezTo>
                <a:cubicBezTo>
                  <a:pt x="229" y="208"/>
                  <a:pt x="229" y="208"/>
                  <a:pt x="229" y="208"/>
                </a:cubicBezTo>
                <a:cubicBezTo>
                  <a:pt x="230" y="208"/>
                  <a:pt x="230" y="208"/>
                  <a:pt x="230" y="208"/>
                </a:cubicBezTo>
                <a:cubicBezTo>
                  <a:pt x="233" y="208"/>
                  <a:pt x="233" y="208"/>
                  <a:pt x="233" y="208"/>
                </a:cubicBezTo>
                <a:cubicBezTo>
                  <a:pt x="235" y="207"/>
                  <a:pt x="235" y="207"/>
                  <a:pt x="235" y="207"/>
                </a:cubicBezTo>
                <a:cubicBezTo>
                  <a:pt x="236" y="206"/>
                  <a:pt x="236" y="206"/>
                  <a:pt x="236" y="206"/>
                </a:cubicBezTo>
                <a:cubicBezTo>
                  <a:pt x="236" y="206"/>
                  <a:pt x="236" y="206"/>
                  <a:pt x="236" y="206"/>
                </a:cubicBezTo>
                <a:cubicBezTo>
                  <a:pt x="236" y="206"/>
                  <a:pt x="236" y="206"/>
                  <a:pt x="236" y="206"/>
                </a:cubicBezTo>
                <a:cubicBezTo>
                  <a:pt x="237" y="206"/>
                  <a:pt x="237" y="206"/>
                  <a:pt x="237" y="206"/>
                </a:cubicBezTo>
                <a:cubicBezTo>
                  <a:pt x="238" y="205"/>
                  <a:pt x="238" y="205"/>
                  <a:pt x="238" y="205"/>
                </a:cubicBezTo>
                <a:cubicBezTo>
                  <a:pt x="238" y="204"/>
                  <a:pt x="238" y="204"/>
                  <a:pt x="238" y="204"/>
                </a:cubicBezTo>
                <a:cubicBezTo>
                  <a:pt x="238" y="204"/>
                  <a:pt x="238" y="204"/>
                  <a:pt x="238" y="204"/>
                </a:cubicBezTo>
                <a:cubicBezTo>
                  <a:pt x="239" y="204"/>
                  <a:pt x="239" y="204"/>
                  <a:pt x="239" y="204"/>
                </a:cubicBezTo>
                <a:cubicBezTo>
                  <a:pt x="239" y="204"/>
                  <a:pt x="239" y="204"/>
                  <a:pt x="239" y="204"/>
                </a:cubicBezTo>
                <a:cubicBezTo>
                  <a:pt x="240" y="203"/>
                  <a:pt x="240" y="203"/>
                  <a:pt x="240" y="203"/>
                </a:cubicBezTo>
                <a:cubicBezTo>
                  <a:pt x="240" y="203"/>
                  <a:pt x="240" y="203"/>
                  <a:pt x="240" y="203"/>
                </a:cubicBezTo>
                <a:cubicBezTo>
                  <a:pt x="240" y="203"/>
                  <a:pt x="240" y="203"/>
                  <a:pt x="240" y="203"/>
                </a:cubicBezTo>
                <a:cubicBezTo>
                  <a:pt x="241" y="203"/>
                  <a:pt x="241" y="203"/>
                  <a:pt x="241" y="203"/>
                </a:cubicBezTo>
                <a:cubicBezTo>
                  <a:pt x="241" y="203"/>
                  <a:pt x="241" y="203"/>
                  <a:pt x="241" y="203"/>
                </a:cubicBezTo>
                <a:cubicBezTo>
                  <a:pt x="241" y="204"/>
                  <a:pt x="241" y="204"/>
                  <a:pt x="241" y="204"/>
                </a:cubicBezTo>
                <a:cubicBezTo>
                  <a:pt x="242" y="205"/>
                  <a:pt x="242" y="205"/>
                  <a:pt x="242" y="205"/>
                </a:cubicBezTo>
                <a:cubicBezTo>
                  <a:pt x="241" y="205"/>
                  <a:pt x="241" y="205"/>
                  <a:pt x="241" y="205"/>
                </a:cubicBezTo>
                <a:cubicBezTo>
                  <a:pt x="241" y="206"/>
                  <a:pt x="241" y="206"/>
                  <a:pt x="241" y="206"/>
                </a:cubicBezTo>
                <a:cubicBezTo>
                  <a:pt x="240" y="207"/>
                  <a:pt x="240" y="207"/>
                  <a:pt x="240" y="207"/>
                </a:cubicBezTo>
                <a:cubicBezTo>
                  <a:pt x="240" y="207"/>
                  <a:pt x="240" y="207"/>
                  <a:pt x="240" y="207"/>
                </a:cubicBezTo>
                <a:cubicBezTo>
                  <a:pt x="240" y="208"/>
                  <a:pt x="240" y="208"/>
                  <a:pt x="240" y="208"/>
                </a:cubicBezTo>
                <a:cubicBezTo>
                  <a:pt x="240" y="208"/>
                  <a:pt x="240" y="208"/>
                  <a:pt x="240" y="208"/>
                </a:cubicBezTo>
                <a:cubicBezTo>
                  <a:pt x="241" y="209"/>
                  <a:pt x="241" y="209"/>
                  <a:pt x="241" y="209"/>
                </a:cubicBezTo>
                <a:cubicBezTo>
                  <a:pt x="242" y="208"/>
                  <a:pt x="242" y="208"/>
                  <a:pt x="242" y="208"/>
                </a:cubicBezTo>
                <a:cubicBezTo>
                  <a:pt x="243" y="208"/>
                  <a:pt x="243" y="208"/>
                  <a:pt x="243" y="208"/>
                </a:cubicBezTo>
                <a:cubicBezTo>
                  <a:pt x="244" y="209"/>
                  <a:pt x="244" y="209"/>
                  <a:pt x="244" y="209"/>
                </a:cubicBezTo>
                <a:cubicBezTo>
                  <a:pt x="244" y="210"/>
                  <a:pt x="244" y="210"/>
                  <a:pt x="244" y="210"/>
                </a:cubicBezTo>
                <a:cubicBezTo>
                  <a:pt x="244" y="210"/>
                  <a:pt x="244" y="210"/>
                  <a:pt x="244" y="210"/>
                </a:cubicBezTo>
                <a:cubicBezTo>
                  <a:pt x="245" y="210"/>
                  <a:pt x="245" y="210"/>
                  <a:pt x="245" y="210"/>
                </a:cubicBezTo>
                <a:cubicBezTo>
                  <a:pt x="245" y="209"/>
                  <a:pt x="245" y="209"/>
                  <a:pt x="245" y="209"/>
                </a:cubicBezTo>
                <a:cubicBezTo>
                  <a:pt x="246" y="210"/>
                  <a:pt x="246" y="210"/>
                  <a:pt x="246" y="210"/>
                </a:cubicBezTo>
                <a:cubicBezTo>
                  <a:pt x="246" y="211"/>
                  <a:pt x="246" y="211"/>
                  <a:pt x="246" y="211"/>
                </a:cubicBezTo>
                <a:cubicBezTo>
                  <a:pt x="245" y="211"/>
                  <a:pt x="245" y="211"/>
                  <a:pt x="245" y="211"/>
                </a:cubicBezTo>
                <a:cubicBezTo>
                  <a:pt x="244" y="211"/>
                  <a:pt x="244" y="211"/>
                  <a:pt x="244" y="211"/>
                </a:cubicBezTo>
                <a:cubicBezTo>
                  <a:pt x="243" y="212"/>
                  <a:pt x="243" y="212"/>
                  <a:pt x="243" y="212"/>
                </a:cubicBezTo>
                <a:cubicBezTo>
                  <a:pt x="243" y="213"/>
                  <a:pt x="243" y="213"/>
                  <a:pt x="243" y="213"/>
                </a:cubicBezTo>
                <a:cubicBezTo>
                  <a:pt x="244" y="213"/>
                  <a:pt x="244" y="213"/>
                  <a:pt x="244" y="213"/>
                </a:cubicBezTo>
                <a:cubicBezTo>
                  <a:pt x="245" y="213"/>
                  <a:pt x="245" y="213"/>
                  <a:pt x="245" y="213"/>
                </a:cubicBezTo>
                <a:cubicBezTo>
                  <a:pt x="246" y="214"/>
                  <a:pt x="246" y="214"/>
                  <a:pt x="246" y="214"/>
                </a:cubicBezTo>
                <a:cubicBezTo>
                  <a:pt x="247" y="213"/>
                  <a:pt x="247" y="213"/>
                  <a:pt x="247" y="213"/>
                </a:cubicBezTo>
                <a:cubicBezTo>
                  <a:pt x="248" y="212"/>
                  <a:pt x="248" y="212"/>
                  <a:pt x="248" y="212"/>
                </a:cubicBezTo>
                <a:cubicBezTo>
                  <a:pt x="248" y="212"/>
                  <a:pt x="248" y="212"/>
                  <a:pt x="248" y="212"/>
                </a:cubicBezTo>
                <a:cubicBezTo>
                  <a:pt x="248" y="213"/>
                  <a:pt x="248" y="213"/>
                  <a:pt x="248" y="213"/>
                </a:cubicBezTo>
                <a:cubicBezTo>
                  <a:pt x="249" y="214"/>
                  <a:pt x="249" y="214"/>
                  <a:pt x="249" y="214"/>
                </a:cubicBezTo>
                <a:cubicBezTo>
                  <a:pt x="249" y="215"/>
                  <a:pt x="249" y="215"/>
                  <a:pt x="249" y="215"/>
                </a:cubicBezTo>
                <a:cubicBezTo>
                  <a:pt x="250" y="214"/>
                  <a:pt x="250" y="214"/>
                  <a:pt x="250" y="214"/>
                </a:cubicBezTo>
                <a:cubicBezTo>
                  <a:pt x="251" y="214"/>
                  <a:pt x="251" y="214"/>
                  <a:pt x="251" y="214"/>
                </a:cubicBezTo>
                <a:cubicBezTo>
                  <a:pt x="251" y="215"/>
                  <a:pt x="251" y="215"/>
                  <a:pt x="251" y="215"/>
                </a:cubicBezTo>
                <a:cubicBezTo>
                  <a:pt x="252" y="215"/>
                  <a:pt x="252" y="215"/>
                  <a:pt x="252" y="215"/>
                </a:cubicBezTo>
                <a:cubicBezTo>
                  <a:pt x="253" y="216"/>
                  <a:pt x="253" y="216"/>
                  <a:pt x="253" y="216"/>
                </a:cubicBezTo>
                <a:cubicBezTo>
                  <a:pt x="253" y="216"/>
                  <a:pt x="253" y="216"/>
                  <a:pt x="253" y="216"/>
                </a:cubicBezTo>
                <a:cubicBezTo>
                  <a:pt x="253" y="215"/>
                  <a:pt x="253" y="215"/>
                  <a:pt x="253" y="215"/>
                </a:cubicBezTo>
                <a:cubicBezTo>
                  <a:pt x="254" y="215"/>
                  <a:pt x="254" y="215"/>
                  <a:pt x="254" y="215"/>
                </a:cubicBezTo>
                <a:cubicBezTo>
                  <a:pt x="255" y="215"/>
                  <a:pt x="255" y="215"/>
                  <a:pt x="255" y="215"/>
                </a:cubicBezTo>
                <a:cubicBezTo>
                  <a:pt x="255" y="215"/>
                  <a:pt x="255" y="215"/>
                  <a:pt x="255" y="215"/>
                </a:cubicBezTo>
                <a:cubicBezTo>
                  <a:pt x="255" y="216"/>
                  <a:pt x="255" y="216"/>
                  <a:pt x="255" y="216"/>
                </a:cubicBezTo>
                <a:cubicBezTo>
                  <a:pt x="256" y="216"/>
                  <a:pt x="256" y="216"/>
                  <a:pt x="256" y="216"/>
                </a:cubicBezTo>
                <a:cubicBezTo>
                  <a:pt x="257" y="216"/>
                  <a:pt x="257" y="216"/>
                  <a:pt x="257" y="216"/>
                </a:cubicBezTo>
                <a:cubicBezTo>
                  <a:pt x="257" y="215"/>
                  <a:pt x="257" y="215"/>
                  <a:pt x="257" y="215"/>
                </a:cubicBezTo>
                <a:cubicBezTo>
                  <a:pt x="258" y="215"/>
                  <a:pt x="258" y="215"/>
                  <a:pt x="258" y="215"/>
                </a:cubicBezTo>
                <a:cubicBezTo>
                  <a:pt x="258" y="216"/>
                  <a:pt x="258" y="216"/>
                  <a:pt x="258" y="216"/>
                </a:cubicBezTo>
                <a:cubicBezTo>
                  <a:pt x="258" y="216"/>
                  <a:pt x="258" y="216"/>
                  <a:pt x="258" y="216"/>
                </a:cubicBezTo>
                <a:cubicBezTo>
                  <a:pt x="259" y="215"/>
                  <a:pt x="259" y="215"/>
                  <a:pt x="259" y="215"/>
                </a:cubicBezTo>
                <a:cubicBezTo>
                  <a:pt x="259" y="215"/>
                  <a:pt x="259" y="215"/>
                  <a:pt x="259" y="215"/>
                </a:cubicBezTo>
                <a:cubicBezTo>
                  <a:pt x="260" y="215"/>
                  <a:pt x="260" y="215"/>
                  <a:pt x="260" y="215"/>
                </a:cubicBezTo>
                <a:cubicBezTo>
                  <a:pt x="261" y="215"/>
                  <a:pt x="261" y="215"/>
                  <a:pt x="261" y="215"/>
                </a:cubicBezTo>
                <a:cubicBezTo>
                  <a:pt x="261" y="215"/>
                  <a:pt x="261" y="215"/>
                  <a:pt x="261" y="215"/>
                </a:cubicBezTo>
                <a:cubicBezTo>
                  <a:pt x="261" y="215"/>
                  <a:pt x="261" y="215"/>
                  <a:pt x="261" y="215"/>
                </a:cubicBezTo>
                <a:cubicBezTo>
                  <a:pt x="262" y="215"/>
                  <a:pt x="262" y="215"/>
                  <a:pt x="262" y="215"/>
                </a:cubicBezTo>
                <a:close/>
                <a:moveTo>
                  <a:pt x="379" y="259"/>
                </a:moveTo>
                <a:cubicBezTo>
                  <a:pt x="380" y="258"/>
                  <a:pt x="380" y="258"/>
                  <a:pt x="380" y="258"/>
                </a:cubicBezTo>
                <a:cubicBezTo>
                  <a:pt x="379" y="257"/>
                  <a:pt x="379" y="257"/>
                  <a:pt x="379" y="257"/>
                </a:cubicBezTo>
                <a:cubicBezTo>
                  <a:pt x="379" y="256"/>
                  <a:pt x="379" y="256"/>
                  <a:pt x="379" y="256"/>
                </a:cubicBezTo>
                <a:cubicBezTo>
                  <a:pt x="379" y="255"/>
                  <a:pt x="379" y="255"/>
                  <a:pt x="379" y="255"/>
                </a:cubicBezTo>
                <a:cubicBezTo>
                  <a:pt x="381" y="253"/>
                  <a:pt x="381" y="253"/>
                  <a:pt x="381" y="253"/>
                </a:cubicBezTo>
                <a:cubicBezTo>
                  <a:pt x="382" y="252"/>
                  <a:pt x="382" y="252"/>
                  <a:pt x="382" y="252"/>
                </a:cubicBezTo>
                <a:cubicBezTo>
                  <a:pt x="383" y="251"/>
                  <a:pt x="383" y="251"/>
                  <a:pt x="383" y="251"/>
                </a:cubicBezTo>
                <a:cubicBezTo>
                  <a:pt x="385" y="248"/>
                  <a:pt x="385" y="248"/>
                  <a:pt x="385" y="248"/>
                </a:cubicBezTo>
                <a:cubicBezTo>
                  <a:pt x="386" y="248"/>
                  <a:pt x="386" y="248"/>
                  <a:pt x="386" y="248"/>
                </a:cubicBezTo>
                <a:cubicBezTo>
                  <a:pt x="386" y="248"/>
                  <a:pt x="386" y="248"/>
                  <a:pt x="386" y="248"/>
                </a:cubicBezTo>
                <a:cubicBezTo>
                  <a:pt x="387" y="247"/>
                  <a:pt x="387" y="247"/>
                  <a:pt x="387" y="247"/>
                </a:cubicBezTo>
                <a:cubicBezTo>
                  <a:pt x="388" y="247"/>
                  <a:pt x="388" y="247"/>
                  <a:pt x="388" y="247"/>
                </a:cubicBezTo>
                <a:cubicBezTo>
                  <a:pt x="389" y="247"/>
                  <a:pt x="389" y="247"/>
                  <a:pt x="389" y="247"/>
                </a:cubicBezTo>
                <a:cubicBezTo>
                  <a:pt x="390" y="247"/>
                  <a:pt x="390" y="247"/>
                  <a:pt x="390" y="247"/>
                </a:cubicBezTo>
                <a:cubicBezTo>
                  <a:pt x="391" y="248"/>
                  <a:pt x="391" y="248"/>
                  <a:pt x="391" y="248"/>
                </a:cubicBezTo>
                <a:cubicBezTo>
                  <a:pt x="391" y="248"/>
                  <a:pt x="391" y="248"/>
                  <a:pt x="391" y="248"/>
                </a:cubicBezTo>
                <a:cubicBezTo>
                  <a:pt x="392" y="249"/>
                  <a:pt x="392" y="249"/>
                  <a:pt x="392" y="249"/>
                </a:cubicBezTo>
                <a:cubicBezTo>
                  <a:pt x="393" y="250"/>
                  <a:pt x="393" y="250"/>
                  <a:pt x="393" y="250"/>
                </a:cubicBezTo>
                <a:cubicBezTo>
                  <a:pt x="393" y="251"/>
                  <a:pt x="393" y="251"/>
                  <a:pt x="393" y="251"/>
                </a:cubicBezTo>
                <a:cubicBezTo>
                  <a:pt x="392" y="252"/>
                  <a:pt x="392" y="252"/>
                  <a:pt x="392" y="252"/>
                </a:cubicBezTo>
                <a:cubicBezTo>
                  <a:pt x="391" y="253"/>
                  <a:pt x="391" y="253"/>
                  <a:pt x="391" y="253"/>
                </a:cubicBezTo>
                <a:cubicBezTo>
                  <a:pt x="391" y="254"/>
                  <a:pt x="391" y="254"/>
                  <a:pt x="391" y="254"/>
                </a:cubicBezTo>
                <a:cubicBezTo>
                  <a:pt x="389" y="257"/>
                  <a:pt x="389" y="257"/>
                  <a:pt x="389" y="257"/>
                </a:cubicBezTo>
                <a:cubicBezTo>
                  <a:pt x="389" y="258"/>
                  <a:pt x="389" y="258"/>
                  <a:pt x="389" y="258"/>
                </a:cubicBezTo>
                <a:cubicBezTo>
                  <a:pt x="388" y="258"/>
                  <a:pt x="388" y="258"/>
                  <a:pt x="388" y="258"/>
                </a:cubicBezTo>
                <a:cubicBezTo>
                  <a:pt x="386" y="259"/>
                  <a:pt x="386" y="259"/>
                  <a:pt x="386" y="259"/>
                </a:cubicBezTo>
                <a:cubicBezTo>
                  <a:pt x="386" y="259"/>
                  <a:pt x="386" y="259"/>
                  <a:pt x="386" y="259"/>
                </a:cubicBezTo>
                <a:cubicBezTo>
                  <a:pt x="385" y="260"/>
                  <a:pt x="385" y="260"/>
                  <a:pt x="385" y="260"/>
                </a:cubicBezTo>
                <a:cubicBezTo>
                  <a:pt x="384" y="260"/>
                  <a:pt x="384" y="260"/>
                  <a:pt x="384" y="260"/>
                </a:cubicBezTo>
                <a:cubicBezTo>
                  <a:pt x="383" y="260"/>
                  <a:pt x="383" y="260"/>
                  <a:pt x="383" y="260"/>
                </a:cubicBezTo>
                <a:cubicBezTo>
                  <a:pt x="381" y="260"/>
                  <a:pt x="381" y="260"/>
                  <a:pt x="381" y="260"/>
                </a:cubicBezTo>
                <a:cubicBezTo>
                  <a:pt x="380" y="260"/>
                  <a:pt x="380" y="260"/>
                  <a:pt x="380" y="260"/>
                </a:cubicBezTo>
                <a:cubicBezTo>
                  <a:pt x="379" y="260"/>
                  <a:pt x="379" y="260"/>
                  <a:pt x="379" y="260"/>
                </a:cubicBezTo>
                <a:cubicBezTo>
                  <a:pt x="379" y="259"/>
                  <a:pt x="379" y="259"/>
                  <a:pt x="379" y="259"/>
                </a:cubicBezTo>
                <a:close/>
                <a:moveTo>
                  <a:pt x="268" y="211"/>
                </a:moveTo>
                <a:cubicBezTo>
                  <a:pt x="268" y="211"/>
                  <a:pt x="268" y="211"/>
                  <a:pt x="268" y="211"/>
                </a:cubicBezTo>
                <a:cubicBezTo>
                  <a:pt x="268" y="210"/>
                  <a:pt x="268" y="210"/>
                  <a:pt x="268" y="210"/>
                </a:cubicBezTo>
                <a:cubicBezTo>
                  <a:pt x="269" y="210"/>
                  <a:pt x="269" y="210"/>
                  <a:pt x="269" y="210"/>
                </a:cubicBezTo>
                <a:cubicBezTo>
                  <a:pt x="268" y="209"/>
                  <a:pt x="268" y="209"/>
                  <a:pt x="268" y="209"/>
                </a:cubicBezTo>
                <a:cubicBezTo>
                  <a:pt x="268" y="208"/>
                  <a:pt x="268" y="208"/>
                  <a:pt x="268" y="208"/>
                </a:cubicBezTo>
                <a:cubicBezTo>
                  <a:pt x="269" y="208"/>
                  <a:pt x="269" y="208"/>
                  <a:pt x="269" y="208"/>
                </a:cubicBezTo>
                <a:cubicBezTo>
                  <a:pt x="269" y="209"/>
                  <a:pt x="269" y="209"/>
                  <a:pt x="269" y="209"/>
                </a:cubicBezTo>
                <a:cubicBezTo>
                  <a:pt x="270" y="209"/>
                  <a:pt x="270" y="209"/>
                  <a:pt x="270" y="209"/>
                </a:cubicBezTo>
                <a:cubicBezTo>
                  <a:pt x="270" y="210"/>
                  <a:pt x="270" y="210"/>
                  <a:pt x="270" y="210"/>
                </a:cubicBezTo>
                <a:cubicBezTo>
                  <a:pt x="269" y="211"/>
                  <a:pt x="269" y="211"/>
                  <a:pt x="269" y="211"/>
                </a:cubicBezTo>
                <a:cubicBezTo>
                  <a:pt x="269" y="211"/>
                  <a:pt x="269" y="211"/>
                  <a:pt x="269" y="211"/>
                </a:cubicBezTo>
                <a:cubicBezTo>
                  <a:pt x="268" y="211"/>
                  <a:pt x="268" y="211"/>
                  <a:pt x="268" y="211"/>
                </a:cubicBezTo>
                <a:cubicBezTo>
                  <a:pt x="268" y="211"/>
                  <a:pt x="268" y="211"/>
                  <a:pt x="268" y="211"/>
                </a:cubicBezTo>
                <a:close/>
                <a:moveTo>
                  <a:pt x="257" y="221"/>
                </a:moveTo>
                <a:cubicBezTo>
                  <a:pt x="258" y="220"/>
                  <a:pt x="258" y="220"/>
                  <a:pt x="258" y="220"/>
                </a:cubicBezTo>
                <a:cubicBezTo>
                  <a:pt x="258" y="220"/>
                  <a:pt x="258" y="220"/>
                  <a:pt x="258" y="220"/>
                </a:cubicBezTo>
                <a:cubicBezTo>
                  <a:pt x="258" y="219"/>
                  <a:pt x="258" y="219"/>
                  <a:pt x="258" y="219"/>
                </a:cubicBezTo>
                <a:cubicBezTo>
                  <a:pt x="259" y="218"/>
                  <a:pt x="259" y="218"/>
                  <a:pt x="259" y="218"/>
                </a:cubicBezTo>
                <a:cubicBezTo>
                  <a:pt x="258" y="218"/>
                  <a:pt x="258" y="218"/>
                  <a:pt x="258" y="218"/>
                </a:cubicBezTo>
                <a:cubicBezTo>
                  <a:pt x="257" y="219"/>
                  <a:pt x="257" y="219"/>
                  <a:pt x="257" y="219"/>
                </a:cubicBezTo>
                <a:cubicBezTo>
                  <a:pt x="257" y="219"/>
                  <a:pt x="257" y="219"/>
                  <a:pt x="257" y="219"/>
                </a:cubicBezTo>
                <a:cubicBezTo>
                  <a:pt x="256" y="219"/>
                  <a:pt x="256" y="219"/>
                  <a:pt x="256" y="219"/>
                </a:cubicBezTo>
                <a:cubicBezTo>
                  <a:pt x="256" y="219"/>
                  <a:pt x="256" y="219"/>
                  <a:pt x="256" y="219"/>
                </a:cubicBezTo>
                <a:cubicBezTo>
                  <a:pt x="257" y="221"/>
                  <a:pt x="257" y="221"/>
                  <a:pt x="257" y="221"/>
                </a:cubicBezTo>
                <a:cubicBezTo>
                  <a:pt x="257" y="221"/>
                  <a:pt x="257" y="221"/>
                  <a:pt x="257" y="221"/>
                </a:cubicBezTo>
                <a:close/>
                <a:moveTo>
                  <a:pt x="270" y="219"/>
                </a:moveTo>
                <a:cubicBezTo>
                  <a:pt x="269" y="219"/>
                  <a:pt x="269" y="219"/>
                  <a:pt x="269" y="219"/>
                </a:cubicBezTo>
                <a:cubicBezTo>
                  <a:pt x="268" y="220"/>
                  <a:pt x="268" y="220"/>
                  <a:pt x="268" y="220"/>
                </a:cubicBezTo>
                <a:cubicBezTo>
                  <a:pt x="268" y="221"/>
                  <a:pt x="268" y="221"/>
                  <a:pt x="268" y="221"/>
                </a:cubicBezTo>
                <a:cubicBezTo>
                  <a:pt x="267" y="220"/>
                  <a:pt x="267" y="220"/>
                  <a:pt x="267" y="220"/>
                </a:cubicBezTo>
                <a:cubicBezTo>
                  <a:pt x="267" y="219"/>
                  <a:pt x="267" y="219"/>
                  <a:pt x="267" y="219"/>
                </a:cubicBezTo>
                <a:cubicBezTo>
                  <a:pt x="268" y="217"/>
                  <a:pt x="268" y="217"/>
                  <a:pt x="268" y="217"/>
                </a:cubicBezTo>
                <a:cubicBezTo>
                  <a:pt x="268" y="216"/>
                  <a:pt x="268" y="216"/>
                  <a:pt x="268" y="216"/>
                </a:cubicBezTo>
                <a:cubicBezTo>
                  <a:pt x="269" y="216"/>
                  <a:pt x="269" y="216"/>
                  <a:pt x="269" y="216"/>
                </a:cubicBezTo>
                <a:cubicBezTo>
                  <a:pt x="270" y="216"/>
                  <a:pt x="270" y="216"/>
                  <a:pt x="270" y="216"/>
                </a:cubicBezTo>
                <a:cubicBezTo>
                  <a:pt x="270" y="216"/>
                  <a:pt x="270" y="216"/>
                  <a:pt x="270" y="216"/>
                </a:cubicBezTo>
                <a:cubicBezTo>
                  <a:pt x="270" y="217"/>
                  <a:pt x="270" y="217"/>
                  <a:pt x="270" y="217"/>
                </a:cubicBezTo>
                <a:cubicBezTo>
                  <a:pt x="270" y="219"/>
                  <a:pt x="270" y="219"/>
                  <a:pt x="270" y="219"/>
                </a:cubicBezTo>
                <a:close/>
                <a:moveTo>
                  <a:pt x="271" y="217"/>
                </a:moveTo>
                <a:cubicBezTo>
                  <a:pt x="271" y="216"/>
                  <a:pt x="271" y="216"/>
                  <a:pt x="271" y="216"/>
                </a:cubicBezTo>
                <a:cubicBezTo>
                  <a:pt x="271" y="216"/>
                  <a:pt x="271" y="216"/>
                  <a:pt x="271" y="216"/>
                </a:cubicBezTo>
                <a:cubicBezTo>
                  <a:pt x="271" y="214"/>
                  <a:pt x="271" y="214"/>
                  <a:pt x="271" y="214"/>
                </a:cubicBezTo>
                <a:cubicBezTo>
                  <a:pt x="272" y="214"/>
                  <a:pt x="272" y="214"/>
                  <a:pt x="272" y="214"/>
                </a:cubicBezTo>
                <a:cubicBezTo>
                  <a:pt x="273" y="215"/>
                  <a:pt x="273" y="215"/>
                  <a:pt x="273" y="215"/>
                </a:cubicBezTo>
                <a:cubicBezTo>
                  <a:pt x="272" y="216"/>
                  <a:pt x="272" y="216"/>
                  <a:pt x="272" y="216"/>
                </a:cubicBezTo>
                <a:cubicBezTo>
                  <a:pt x="272" y="217"/>
                  <a:pt x="272" y="217"/>
                  <a:pt x="272" y="217"/>
                </a:cubicBezTo>
                <a:cubicBezTo>
                  <a:pt x="272" y="217"/>
                  <a:pt x="271" y="217"/>
                  <a:pt x="271" y="217"/>
                </a:cubicBezTo>
                <a:close/>
                <a:moveTo>
                  <a:pt x="294" y="217"/>
                </a:moveTo>
                <a:cubicBezTo>
                  <a:pt x="295" y="215"/>
                  <a:pt x="295" y="215"/>
                  <a:pt x="295" y="215"/>
                </a:cubicBezTo>
                <a:cubicBezTo>
                  <a:pt x="296" y="214"/>
                  <a:pt x="296" y="214"/>
                  <a:pt x="296" y="214"/>
                </a:cubicBezTo>
                <a:cubicBezTo>
                  <a:pt x="298" y="215"/>
                  <a:pt x="298" y="215"/>
                  <a:pt x="298" y="215"/>
                </a:cubicBezTo>
                <a:cubicBezTo>
                  <a:pt x="298" y="216"/>
                  <a:pt x="298" y="216"/>
                  <a:pt x="298" y="216"/>
                </a:cubicBezTo>
                <a:cubicBezTo>
                  <a:pt x="297" y="218"/>
                  <a:pt x="297" y="218"/>
                  <a:pt x="297" y="218"/>
                </a:cubicBezTo>
                <a:cubicBezTo>
                  <a:pt x="296" y="218"/>
                  <a:pt x="296" y="218"/>
                  <a:pt x="296" y="218"/>
                </a:cubicBezTo>
                <a:cubicBezTo>
                  <a:pt x="296" y="217"/>
                  <a:pt x="296" y="217"/>
                  <a:pt x="296" y="217"/>
                </a:cubicBezTo>
                <a:cubicBezTo>
                  <a:pt x="296" y="216"/>
                  <a:pt x="296" y="216"/>
                  <a:pt x="296" y="216"/>
                </a:cubicBezTo>
                <a:cubicBezTo>
                  <a:pt x="295" y="217"/>
                  <a:pt x="295" y="217"/>
                  <a:pt x="295" y="217"/>
                </a:cubicBezTo>
                <a:cubicBezTo>
                  <a:pt x="295" y="217"/>
                  <a:pt x="295" y="217"/>
                  <a:pt x="295" y="217"/>
                </a:cubicBezTo>
                <a:cubicBezTo>
                  <a:pt x="295" y="217"/>
                  <a:pt x="294" y="217"/>
                  <a:pt x="294" y="217"/>
                </a:cubicBezTo>
                <a:close/>
                <a:moveTo>
                  <a:pt x="293" y="216"/>
                </a:moveTo>
                <a:cubicBezTo>
                  <a:pt x="294" y="216"/>
                  <a:pt x="294" y="216"/>
                  <a:pt x="294" y="216"/>
                </a:cubicBezTo>
                <a:cubicBezTo>
                  <a:pt x="295" y="215"/>
                  <a:pt x="295" y="215"/>
                  <a:pt x="295" y="215"/>
                </a:cubicBezTo>
                <a:cubicBezTo>
                  <a:pt x="294" y="213"/>
                  <a:pt x="294" y="213"/>
                  <a:pt x="294" y="213"/>
                </a:cubicBezTo>
                <a:cubicBezTo>
                  <a:pt x="293" y="214"/>
                  <a:pt x="293" y="214"/>
                  <a:pt x="293" y="214"/>
                </a:cubicBezTo>
                <a:cubicBezTo>
                  <a:pt x="293" y="216"/>
                  <a:pt x="293" y="216"/>
                  <a:pt x="293" y="216"/>
                </a:cubicBezTo>
                <a:close/>
                <a:moveTo>
                  <a:pt x="293" y="227"/>
                </a:moveTo>
                <a:cubicBezTo>
                  <a:pt x="293" y="226"/>
                  <a:pt x="293" y="226"/>
                  <a:pt x="293" y="226"/>
                </a:cubicBezTo>
                <a:cubicBezTo>
                  <a:pt x="295" y="225"/>
                  <a:pt x="295" y="225"/>
                  <a:pt x="295" y="225"/>
                </a:cubicBezTo>
                <a:cubicBezTo>
                  <a:pt x="295" y="224"/>
                  <a:pt x="295" y="224"/>
                  <a:pt x="295" y="224"/>
                </a:cubicBezTo>
                <a:cubicBezTo>
                  <a:pt x="293" y="225"/>
                  <a:pt x="293" y="225"/>
                  <a:pt x="293" y="225"/>
                </a:cubicBezTo>
                <a:cubicBezTo>
                  <a:pt x="293" y="224"/>
                  <a:pt x="293" y="224"/>
                  <a:pt x="293" y="224"/>
                </a:cubicBezTo>
                <a:cubicBezTo>
                  <a:pt x="294" y="221"/>
                  <a:pt x="294" y="221"/>
                  <a:pt x="294" y="221"/>
                </a:cubicBezTo>
                <a:cubicBezTo>
                  <a:pt x="294" y="220"/>
                  <a:pt x="294" y="220"/>
                  <a:pt x="294" y="220"/>
                </a:cubicBezTo>
                <a:cubicBezTo>
                  <a:pt x="293" y="221"/>
                  <a:pt x="293" y="221"/>
                  <a:pt x="293" y="221"/>
                </a:cubicBezTo>
                <a:cubicBezTo>
                  <a:pt x="292" y="222"/>
                  <a:pt x="292" y="222"/>
                  <a:pt x="292" y="222"/>
                </a:cubicBezTo>
                <a:cubicBezTo>
                  <a:pt x="292" y="221"/>
                  <a:pt x="292" y="221"/>
                  <a:pt x="292" y="221"/>
                </a:cubicBezTo>
                <a:cubicBezTo>
                  <a:pt x="293" y="218"/>
                  <a:pt x="293" y="218"/>
                  <a:pt x="293" y="218"/>
                </a:cubicBezTo>
                <a:cubicBezTo>
                  <a:pt x="292" y="214"/>
                  <a:pt x="292" y="214"/>
                  <a:pt x="292" y="214"/>
                </a:cubicBezTo>
                <a:cubicBezTo>
                  <a:pt x="291" y="213"/>
                  <a:pt x="291" y="213"/>
                  <a:pt x="291" y="213"/>
                </a:cubicBezTo>
                <a:cubicBezTo>
                  <a:pt x="291" y="212"/>
                  <a:pt x="291" y="212"/>
                  <a:pt x="291" y="212"/>
                </a:cubicBezTo>
                <a:cubicBezTo>
                  <a:pt x="290" y="212"/>
                  <a:pt x="290" y="212"/>
                  <a:pt x="290" y="212"/>
                </a:cubicBezTo>
                <a:cubicBezTo>
                  <a:pt x="289" y="213"/>
                  <a:pt x="289" y="213"/>
                  <a:pt x="289" y="213"/>
                </a:cubicBezTo>
                <a:cubicBezTo>
                  <a:pt x="289" y="211"/>
                  <a:pt x="289" y="211"/>
                  <a:pt x="289" y="211"/>
                </a:cubicBezTo>
                <a:cubicBezTo>
                  <a:pt x="290" y="211"/>
                  <a:pt x="290" y="211"/>
                  <a:pt x="290" y="211"/>
                </a:cubicBezTo>
                <a:cubicBezTo>
                  <a:pt x="289" y="209"/>
                  <a:pt x="289" y="209"/>
                  <a:pt x="289" y="209"/>
                </a:cubicBezTo>
                <a:cubicBezTo>
                  <a:pt x="289" y="208"/>
                  <a:pt x="289" y="208"/>
                  <a:pt x="289" y="208"/>
                </a:cubicBezTo>
                <a:cubicBezTo>
                  <a:pt x="289" y="207"/>
                  <a:pt x="289" y="207"/>
                  <a:pt x="289" y="207"/>
                </a:cubicBezTo>
                <a:cubicBezTo>
                  <a:pt x="288" y="208"/>
                  <a:pt x="288" y="208"/>
                  <a:pt x="288" y="208"/>
                </a:cubicBezTo>
                <a:cubicBezTo>
                  <a:pt x="286" y="209"/>
                  <a:pt x="286" y="209"/>
                  <a:pt x="286" y="209"/>
                </a:cubicBezTo>
                <a:cubicBezTo>
                  <a:pt x="285" y="211"/>
                  <a:pt x="285" y="211"/>
                  <a:pt x="285" y="211"/>
                </a:cubicBezTo>
                <a:cubicBezTo>
                  <a:pt x="285" y="213"/>
                  <a:pt x="285" y="213"/>
                  <a:pt x="285" y="213"/>
                </a:cubicBezTo>
                <a:cubicBezTo>
                  <a:pt x="284" y="213"/>
                  <a:pt x="284" y="213"/>
                  <a:pt x="284" y="213"/>
                </a:cubicBezTo>
                <a:cubicBezTo>
                  <a:pt x="284" y="211"/>
                  <a:pt x="284" y="211"/>
                  <a:pt x="284" y="211"/>
                </a:cubicBezTo>
                <a:cubicBezTo>
                  <a:pt x="283" y="211"/>
                  <a:pt x="283" y="211"/>
                  <a:pt x="283" y="211"/>
                </a:cubicBezTo>
                <a:cubicBezTo>
                  <a:pt x="283" y="213"/>
                  <a:pt x="283" y="213"/>
                  <a:pt x="283" y="213"/>
                </a:cubicBezTo>
                <a:cubicBezTo>
                  <a:pt x="282" y="213"/>
                  <a:pt x="282" y="213"/>
                  <a:pt x="282" y="213"/>
                </a:cubicBezTo>
                <a:cubicBezTo>
                  <a:pt x="283" y="214"/>
                  <a:pt x="283" y="214"/>
                  <a:pt x="283" y="214"/>
                </a:cubicBezTo>
                <a:cubicBezTo>
                  <a:pt x="282" y="215"/>
                  <a:pt x="282" y="215"/>
                  <a:pt x="282" y="215"/>
                </a:cubicBezTo>
                <a:cubicBezTo>
                  <a:pt x="281" y="215"/>
                  <a:pt x="281" y="215"/>
                  <a:pt x="281" y="215"/>
                </a:cubicBezTo>
                <a:cubicBezTo>
                  <a:pt x="280" y="216"/>
                  <a:pt x="280" y="216"/>
                  <a:pt x="280" y="216"/>
                </a:cubicBezTo>
                <a:cubicBezTo>
                  <a:pt x="278" y="216"/>
                  <a:pt x="278" y="216"/>
                  <a:pt x="278" y="216"/>
                </a:cubicBezTo>
                <a:cubicBezTo>
                  <a:pt x="278" y="216"/>
                  <a:pt x="278" y="216"/>
                  <a:pt x="278" y="216"/>
                </a:cubicBezTo>
                <a:cubicBezTo>
                  <a:pt x="277" y="216"/>
                  <a:pt x="277" y="216"/>
                  <a:pt x="277" y="216"/>
                </a:cubicBezTo>
                <a:cubicBezTo>
                  <a:pt x="274" y="218"/>
                  <a:pt x="274" y="218"/>
                  <a:pt x="274" y="218"/>
                </a:cubicBezTo>
                <a:cubicBezTo>
                  <a:pt x="274" y="219"/>
                  <a:pt x="274" y="219"/>
                  <a:pt x="274" y="219"/>
                </a:cubicBezTo>
                <a:cubicBezTo>
                  <a:pt x="276" y="221"/>
                  <a:pt x="276" y="221"/>
                  <a:pt x="276" y="221"/>
                </a:cubicBezTo>
                <a:cubicBezTo>
                  <a:pt x="277" y="220"/>
                  <a:pt x="277" y="220"/>
                  <a:pt x="277" y="220"/>
                </a:cubicBezTo>
                <a:cubicBezTo>
                  <a:pt x="276" y="219"/>
                  <a:pt x="276" y="219"/>
                  <a:pt x="276" y="219"/>
                </a:cubicBezTo>
                <a:cubicBezTo>
                  <a:pt x="277" y="218"/>
                  <a:pt x="277" y="218"/>
                  <a:pt x="277" y="218"/>
                </a:cubicBezTo>
                <a:cubicBezTo>
                  <a:pt x="278" y="219"/>
                  <a:pt x="278" y="219"/>
                  <a:pt x="278" y="219"/>
                </a:cubicBezTo>
                <a:cubicBezTo>
                  <a:pt x="277" y="221"/>
                  <a:pt x="277" y="221"/>
                  <a:pt x="277" y="221"/>
                </a:cubicBezTo>
                <a:cubicBezTo>
                  <a:pt x="279" y="222"/>
                  <a:pt x="279" y="222"/>
                  <a:pt x="279" y="222"/>
                </a:cubicBezTo>
                <a:cubicBezTo>
                  <a:pt x="280" y="221"/>
                  <a:pt x="280" y="221"/>
                  <a:pt x="280" y="221"/>
                </a:cubicBezTo>
                <a:cubicBezTo>
                  <a:pt x="280" y="222"/>
                  <a:pt x="280" y="222"/>
                  <a:pt x="280" y="222"/>
                </a:cubicBezTo>
                <a:cubicBezTo>
                  <a:pt x="280" y="223"/>
                  <a:pt x="280" y="223"/>
                  <a:pt x="280" y="223"/>
                </a:cubicBezTo>
                <a:cubicBezTo>
                  <a:pt x="281" y="224"/>
                  <a:pt x="281" y="224"/>
                  <a:pt x="281" y="224"/>
                </a:cubicBezTo>
                <a:cubicBezTo>
                  <a:pt x="282" y="225"/>
                  <a:pt x="282" y="225"/>
                  <a:pt x="282" y="225"/>
                </a:cubicBezTo>
                <a:cubicBezTo>
                  <a:pt x="283" y="226"/>
                  <a:pt x="283" y="226"/>
                  <a:pt x="283" y="226"/>
                </a:cubicBezTo>
                <a:cubicBezTo>
                  <a:pt x="284" y="227"/>
                  <a:pt x="284" y="227"/>
                  <a:pt x="284" y="227"/>
                </a:cubicBezTo>
                <a:cubicBezTo>
                  <a:pt x="285" y="226"/>
                  <a:pt x="285" y="226"/>
                  <a:pt x="285" y="226"/>
                </a:cubicBezTo>
                <a:cubicBezTo>
                  <a:pt x="285" y="227"/>
                  <a:pt x="285" y="227"/>
                  <a:pt x="285" y="227"/>
                </a:cubicBezTo>
                <a:cubicBezTo>
                  <a:pt x="286" y="228"/>
                  <a:pt x="286" y="228"/>
                  <a:pt x="286" y="228"/>
                </a:cubicBezTo>
                <a:cubicBezTo>
                  <a:pt x="287" y="228"/>
                  <a:pt x="287" y="228"/>
                  <a:pt x="287" y="228"/>
                </a:cubicBezTo>
                <a:cubicBezTo>
                  <a:pt x="288" y="228"/>
                  <a:pt x="288" y="228"/>
                  <a:pt x="288" y="228"/>
                </a:cubicBezTo>
                <a:cubicBezTo>
                  <a:pt x="290" y="227"/>
                  <a:pt x="290" y="227"/>
                  <a:pt x="290" y="227"/>
                </a:cubicBezTo>
                <a:cubicBezTo>
                  <a:pt x="291" y="227"/>
                  <a:pt x="291" y="227"/>
                  <a:pt x="291" y="227"/>
                </a:cubicBezTo>
                <a:cubicBezTo>
                  <a:pt x="292" y="226"/>
                  <a:pt x="292" y="226"/>
                  <a:pt x="292" y="226"/>
                </a:cubicBezTo>
                <a:cubicBezTo>
                  <a:pt x="293" y="227"/>
                  <a:pt x="293" y="227"/>
                  <a:pt x="293" y="227"/>
                </a:cubicBezTo>
                <a:close/>
                <a:moveTo>
                  <a:pt x="421" y="218"/>
                </a:moveTo>
                <a:cubicBezTo>
                  <a:pt x="421" y="217"/>
                  <a:pt x="421" y="217"/>
                  <a:pt x="421" y="217"/>
                </a:cubicBezTo>
                <a:cubicBezTo>
                  <a:pt x="420" y="216"/>
                  <a:pt x="420" y="216"/>
                  <a:pt x="420" y="216"/>
                </a:cubicBezTo>
                <a:cubicBezTo>
                  <a:pt x="421" y="215"/>
                  <a:pt x="421" y="215"/>
                  <a:pt x="421" y="215"/>
                </a:cubicBezTo>
                <a:cubicBezTo>
                  <a:pt x="422" y="215"/>
                  <a:pt x="422" y="215"/>
                  <a:pt x="422" y="215"/>
                </a:cubicBezTo>
                <a:cubicBezTo>
                  <a:pt x="423" y="215"/>
                  <a:pt x="423" y="215"/>
                  <a:pt x="423" y="215"/>
                </a:cubicBezTo>
                <a:cubicBezTo>
                  <a:pt x="423" y="216"/>
                  <a:pt x="423" y="216"/>
                  <a:pt x="423" y="216"/>
                </a:cubicBezTo>
                <a:cubicBezTo>
                  <a:pt x="424" y="216"/>
                  <a:pt x="424" y="216"/>
                  <a:pt x="424" y="216"/>
                </a:cubicBezTo>
                <a:cubicBezTo>
                  <a:pt x="425" y="216"/>
                  <a:pt x="425" y="216"/>
                  <a:pt x="425" y="216"/>
                </a:cubicBezTo>
                <a:cubicBezTo>
                  <a:pt x="424" y="217"/>
                  <a:pt x="424" y="217"/>
                  <a:pt x="424" y="217"/>
                </a:cubicBezTo>
                <a:cubicBezTo>
                  <a:pt x="423" y="218"/>
                  <a:pt x="423" y="218"/>
                  <a:pt x="423" y="218"/>
                </a:cubicBezTo>
                <a:cubicBezTo>
                  <a:pt x="422" y="217"/>
                  <a:pt x="422" y="217"/>
                  <a:pt x="422" y="217"/>
                </a:cubicBezTo>
                <a:cubicBezTo>
                  <a:pt x="422" y="218"/>
                  <a:pt x="422" y="218"/>
                  <a:pt x="422" y="218"/>
                </a:cubicBezTo>
                <a:cubicBezTo>
                  <a:pt x="421" y="218"/>
                  <a:pt x="421" y="218"/>
                  <a:pt x="421" y="218"/>
                </a:cubicBezTo>
                <a:cubicBezTo>
                  <a:pt x="421" y="218"/>
                  <a:pt x="421" y="218"/>
                  <a:pt x="421" y="218"/>
                </a:cubicBezTo>
                <a:close/>
                <a:moveTo>
                  <a:pt x="418" y="328"/>
                </a:moveTo>
                <a:cubicBezTo>
                  <a:pt x="417" y="328"/>
                  <a:pt x="417" y="328"/>
                  <a:pt x="417" y="328"/>
                </a:cubicBezTo>
                <a:cubicBezTo>
                  <a:pt x="416" y="327"/>
                  <a:pt x="416" y="327"/>
                  <a:pt x="416" y="327"/>
                </a:cubicBezTo>
                <a:cubicBezTo>
                  <a:pt x="414" y="327"/>
                  <a:pt x="414" y="327"/>
                  <a:pt x="414" y="327"/>
                </a:cubicBezTo>
                <a:cubicBezTo>
                  <a:pt x="413" y="326"/>
                  <a:pt x="413" y="326"/>
                  <a:pt x="413" y="326"/>
                </a:cubicBezTo>
                <a:cubicBezTo>
                  <a:pt x="412" y="326"/>
                  <a:pt x="412" y="326"/>
                  <a:pt x="412" y="326"/>
                </a:cubicBezTo>
                <a:cubicBezTo>
                  <a:pt x="411" y="325"/>
                  <a:pt x="411" y="325"/>
                  <a:pt x="411" y="325"/>
                </a:cubicBezTo>
                <a:cubicBezTo>
                  <a:pt x="410" y="324"/>
                  <a:pt x="410" y="324"/>
                  <a:pt x="410" y="324"/>
                </a:cubicBezTo>
                <a:cubicBezTo>
                  <a:pt x="409" y="323"/>
                  <a:pt x="409" y="323"/>
                  <a:pt x="409" y="323"/>
                </a:cubicBezTo>
                <a:cubicBezTo>
                  <a:pt x="409" y="323"/>
                  <a:pt x="409" y="323"/>
                  <a:pt x="409" y="323"/>
                </a:cubicBezTo>
                <a:cubicBezTo>
                  <a:pt x="408" y="323"/>
                  <a:pt x="408" y="323"/>
                  <a:pt x="408" y="323"/>
                </a:cubicBezTo>
                <a:cubicBezTo>
                  <a:pt x="407" y="323"/>
                  <a:pt x="407" y="323"/>
                  <a:pt x="407" y="323"/>
                </a:cubicBezTo>
                <a:cubicBezTo>
                  <a:pt x="406" y="323"/>
                  <a:pt x="406" y="323"/>
                  <a:pt x="406" y="323"/>
                </a:cubicBezTo>
                <a:cubicBezTo>
                  <a:pt x="405" y="322"/>
                  <a:pt x="405" y="322"/>
                  <a:pt x="405" y="322"/>
                </a:cubicBezTo>
                <a:cubicBezTo>
                  <a:pt x="405" y="321"/>
                  <a:pt x="405" y="321"/>
                  <a:pt x="405" y="321"/>
                </a:cubicBezTo>
                <a:cubicBezTo>
                  <a:pt x="404" y="321"/>
                  <a:pt x="404" y="321"/>
                  <a:pt x="404" y="321"/>
                </a:cubicBezTo>
                <a:cubicBezTo>
                  <a:pt x="402" y="320"/>
                  <a:pt x="402" y="320"/>
                  <a:pt x="402" y="320"/>
                </a:cubicBezTo>
                <a:cubicBezTo>
                  <a:pt x="403" y="319"/>
                  <a:pt x="403" y="319"/>
                  <a:pt x="403" y="319"/>
                </a:cubicBezTo>
                <a:cubicBezTo>
                  <a:pt x="402" y="319"/>
                  <a:pt x="402" y="319"/>
                  <a:pt x="402" y="319"/>
                </a:cubicBezTo>
                <a:cubicBezTo>
                  <a:pt x="401" y="319"/>
                  <a:pt x="401" y="319"/>
                  <a:pt x="401" y="319"/>
                </a:cubicBezTo>
                <a:cubicBezTo>
                  <a:pt x="401" y="318"/>
                  <a:pt x="401" y="318"/>
                  <a:pt x="401" y="318"/>
                </a:cubicBezTo>
                <a:cubicBezTo>
                  <a:pt x="401" y="317"/>
                  <a:pt x="401" y="317"/>
                  <a:pt x="401" y="317"/>
                </a:cubicBezTo>
                <a:cubicBezTo>
                  <a:pt x="402" y="317"/>
                  <a:pt x="402" y="317"/>
                  <a:pt x="402" y="317"/>
                </a:cubicBezTo>
                <a:cubicBezTo>
                  <a:pt x="401" y="316"/>
                  <a:pt x="401" y="316"/>
                  <a:pt x="401" y="316"/>
                </a:cubicBezTo>
                <a:cubicBezTo>
                  <a:pt x="400" y="316"/>
                  <a:pt x="400" y="316"/>
                  <a:pt x="400" y="316"/>
                </a:cubicBezTo>
                <a:cubicBezTo>
                  <a:pt x="400" y="317"/>
                  <a:pt x="400" y="317"/>
                  <a:pt x="400" y="317"/>
                </a:cubicBezTo>
                <a:cubicBezTo>
                  <a:pt x="399" y="316"/>
                  <a:pt x="399" y="316"/>
                  <a:pt x="399" y="316"/>
                </a:cubicBezTo>
                <a:cubicBezTo>
                  <a:pt x="399" y="316"/>
                  <a:pt x="399" y="316"/>
                  <a:pt x="399" y="316"/>
                </a:cubicBezTo>
                <a:cubicBezTo>
                  <a:pt x="398" y="316"/>
                  <a:pt x="398" y="316"/>
                  <a:pt x="398" y="316"/>
                </a:cubicBezTo>
                <a:cubicBezTo>
                  <a:pt x="396" y="315"/>
                  <a:pt x="396" y="315"/>
                  <a:pt x="396" y="315"/>
                </a:cubicBezTo>
                <a:cubicBezTo>
                  <a:pt x="396" y="315"/>
                  <a:pt x="396" y="315"/>
                  <a:pt x="396" y="315"/>
                </a:cubicBezTo>
                <a:cubicBezTo>
                  <a:pt x="395" y="314"/>
                  <a:pt x="395" y="314"/>
                  <a:pt x="395" y="314"/>
                </a:cubicBezTo>
                <a:cubicBezTo>
                  <a:pt x="394" y="313"/>
                  <a:pt x="394" y="313"/>
                  <a:pt x="394" y="313"/>
                </a:cubicBezTo>
                <a:cubicBezTo>
                  <a:pt x="394" y="312"/>
                  <a:pt x="394" y="312"/>
                  <a:pt x="394" y="312"/>
                </a:cubicBezTo>
                <a:cubicBezTo>
                  <a:pt x="393" y="312"/>
                  <a:pt x="393" y="312"/>
                  <a:pt x="393" y="312"/>
                </a:cubicBezTo>
                <a:cubicBezTo>
                  <a:pt x="392" y="311"/>
                  <a:pt x="392" y="311"/>
                  <a:pt x="392" y="311"/>
                </a:cubicBezTo>
                <a:cubicBezTo>
                  <a:pt x="392" y="310"/>
                  <a:pt x="392" y="310"/>
                  <a:pt x="392" y="310"/>
                </a:cubicBezTo>
                <a:cubicBezTo>
                  <a:pt x="391" y="309"/>
                  <a:pt x="391" y="309"/>
                  <a:pt x="391" y="309"/>
                </a:cubicBezTo>
                <a:cubicBezTo>
                  <a:pt x="390" y="308"/>
                  <a:pt x="390" y="308"/>
                  <a:pt x="390" y="308"/>
                </a:cubicBezTo>
                <a:cubicBezTo>
                  <a:pt x="391" y="308"/>
                  <a:pt x="391" y="308"/>
                  <a:pt x="391" y="308"/>
                </a:cubicBezTo>
                <a:cubicBezTo>
                  <a:pt x="392" y="308"/>
                  <a:pt x="392" y="308"/>
                  <a:pt x="392" y="308"/>
                </a:cubicBezTo>
                <a:cubicBezTo>
                  <a:pt x="395" y="306"/>
                  <a:pt x="395" y="306"/>
                  <a:pt x="395" y="306"/>
                </a:cubicBezTo>
                <a:cubicBezTo>
                  <a:pt x="395" y="306"/>
                  <a:pt x="395" y="306"/>
                  <a:pt x="395" y="306"/>
                </a:cubicBezTo>
                <a:cubicBezTo>
                  <a:pt x="393" y="306"/>
                  <a:pt x="393" y="306"/>
                  <a:pt x="393" y="306"/>
                </a:cubicBezTo>
                <a:cubicBezTo>
                  <a:pt x="392" y="305"/>
                  <a:pt x="392" y="305"/>
                  <a:pt x="392" y="305"/>
                </a:cubicBezTo>
                <a:cubicBezTo>
                  <a:pt x="392" y="303"/>
                  <a:pt x="392" y="303"/>
                  <a:pt x="392" y="303"/>
                </a:cubicBezTo>
                <a:cubicBezTo>
                  <a:pt x="392" y="303"/>
                  <a:pt x="392" y="303"/>
                  <a:pt x="392" y="303"/>
                </a:cubicBezTo>
                <a:cubicBezTo>
                  <a:pt x="392" y="303"/>
                  <a:pt x="392" y="303"/>
                  <a:pt x="392" y="303"/>
                </a:cubicBezTo>
                <a:cubicBezTo>
                  <a:pt x="391" y="304"/>
                  <a:pt x="391" y="304"/>
                  <a:pt x="391" y="304"/>
                </a:cubicBezTo>
                <a:cubicBezTo>
                  <a:pt x="391" y="305"/>
                  <a:pt x="391" y="305"/>
                  <a:pt x="391" y="305"/>
                </a:cubicBezTo>
                <a:cubicBezTo>
                  <a:pt x="390" y="304"/>
                  <a:pt x="390" y="304"/>
                  <a:pt x="390" y="304"/>
                </a:cubicBezTo>
                <a:cubicBezTo>
                  <a:pt x="391" y="303"/>
                  <a:pt x="391" y="303"/>
                  <a:pt x="391" y="303"/>
                </a:cubicBezTo>
                <a:cubicBezTo>
                  <a:pt x="391" y="301"/>
                  <a:pt x="391" y="301"/>
                  <a:pt x="391" y="301"/>
                </a:cubicBezTo>
                <a:cubicBezTo>
                  <a:pt x="390" y="303"/>
                  <a:pt x="390" y="303"/>
                  <a:pt x="390" y="303"/>
                </a:cubicBezTo>
                <a:cubicBezTo>
                  <a:pt x="389" y="302"/>
                  <a:pt x="389" y="302"/>
                  <a:pt x="389" y="302"/>
                </a:cubicBezTo>
                <a:cubicBezTo>
                  <a:pt x="389" y="301"/>
                  <a:pt x="389" y="301"/>
                  <a:pt x="389" y="301"/>
                </a:cubicBezTo>
                <a:cubicBezTo>
                  <a:pt x="388" y="301"/>
                  <a:pt x="388" y="301"/>
                  <a:pt x="388" y="301"/>
                </a:cubicBezTo>
                <a:cubicBezTo>
                  <a:pt x="388" y="300"/>
                  <a:pt x="388" y="300"/>
                  <a:pt x="388" y="300"/>
                </a:cubicBezTo>
                <a:cubicBezTo>
                  <a:pt x="388" y="299"/>
                  <a:pt x="388" y="299"/>
                  <a:pt x="388" y="299"/>
                </a:cubicBezTo>
                <a:cubicBezTo>
                  <a:pt x="388" y="297"/>
                  <a:pt x="388" y="297"/>
                  <a:pt x="388" y="297"/>
                </a:cubicBezTo>
                <a:cubicBezTo>
                  <a:pt x="387" y="297"/>
                  <a:pt x="387" y="297"/>
                  <a:pt x="387" y="297"/>
                </a:cubicBezTo>
                <a:cubicBezTo>
                  <a:pt x="387" y="296"/>
                  <a:pt x="387" y="296"/>
                  <a:pt x="387" y="296"/>
                </a:cubicBezTo>
                <a:cubicBezTo>
                  <a:pt x="388" y="294"/>
                  <a:pt x="388" y="294"/>
                  <a:pt x="388" y="294"/>
                </a:cubicBezTo>
                <a:cubicBezTo>
                  <a:pt x="388" y="294"/>
                  <a:pt x="388" y="294"/>
                  <a:pt x="388" y="294"/>
                </a:cubicBezTo>
                <a:cubicBezTo>
                  <a:pt x="386" y="296"/>
                  <a:pt x="386" y="296"/>
                  <a:pt x="386" y="296"/>
                </a:cubicBezTo>
                <a:cubicBezTo>
                  <a:pt x="386" y="297"/>
                  <a:pt x="386" y="297"/>
                  <a:pt x="386" y="297"/>
                </a:cubicBezTo>
                <a:cubicBezTo>
                  <a:pt x="385" y="296"/>
                  <a:pt x="385" y="296"/>
                  <a:pt x="385" y="296"/>
                </a:cubicBezTo>
                <a:cubicBezTo>
                  <a:pt x="386" y="294"/>
                  <a:pt x="386" y="294"/>
                  <a:pt x="386" y="294"/>
                </a:cubicBezTo>
                <a:cubicBezTo>
                  <a:pt x="385" y="294"/>
                  <a:pt x="385" y="294"/>
                  <a:pt x="385" y="294"/>
                </a:cubicBezTo>
                <a:cubicBezTo>
                  <a:pt x="384" y="294"/>
                  <a:pt x="384" y="294"/>
                  <a:pt x="384" y="294"/>
                </a:cubicBezTo>
                <a:cubicBezTo>
                  <a:pt x="384" y="294"/>
                  <a:pt x="384" y="294"/>
                  <a:pt x="384" y="294"/>
                </a:cubicBezTo>
                <a:cubicBezTo>
                  <a:pt x="383" y="296"/>
                  <a:pt x="383" y="296"/>
                  <a:pt x="383" y="296"/>
                </a:cubicBezTo>
                <a:cubicBezTo>
                  <a:pt x="382" y="297"/>
                  <a:pt x="382" y="297"/>
                  <a:pt x="382" y="297"/>
                </a:cubicBezTo>
                <a:cubicBezTo>
                  <a:pt x="382" y="295"/>
                  <a:pt x="382" y="295"/>
                  <a:pt x="382" y="295"/>
                </a:cubicBezTo>
                <a:cubicBezTo>
                  <a:pt x="383" y="294"/>
                  <a:pt x="383" y="294"/>
                  <a:pt x="383" y="294"/>
                </a:cubicBezTo>
                <a:cubicBezTo>
                  <a:pt x="383" y="293"/>
                  <a:pt x="383" y="293"/>
                  <a:pt x="383" y="293"/>
                </a:cubicBezTo>
                <a:cubicBezTo>
                  <a:pt x="383" y="292"/>
                  <a:pt x="383" y="292"/>
                  <a:pt x="383" y="292"/>
                </a:cubicBezTo>
                <a:cubicBezTo>
                  <a:pt x="382" y="293"/>
                  <a:pt x="382" y="293"/>
                  <a:pt x="382" y="293"/>
                </a:cubicBezTo>
                <a:cubicBezTo>
                  <a:pt x="381" y="294"/>
                  <a:pt x="381" y="294"/>
                  <a:pt x="381" y="294"/>
                </a:cubicBezTo>
                <a:cubicBezTo>
                  <a:pt x="381" y="294"/>
                  <a:pt x="381" y="294"/>
                  <a:pt x="381" y="294"/>
                </a:cubicBezTo>
                <a:cubicBezTo>
                  <a:pt x="380" y="295"/>
                  <a:pt x="380" y="295"/>
                  <a:pt x="380" y="295"/>
                </a:cubicBezTo>
                <a:cubicBezTo>
                  <a:pt x="380" y="296"/>
                  <a:pt x="380" y="296"/>
                  <a:pt x="380" y="296"/>
                </a:cubicBezTo>
                <a:cubicBezTo>
                  <a:pt x="378" y="295"/>
                  <a:pt x="378" y="295"/>
                  <a:pt x="378" y="295"/>
                </a:cubicBezTo>
                <a:cubicBezTo>
                  <a:pt x="377" y="294"/>
                  <a:pt x="377" y="294"/>
                  <a:pt x="377" y="294"/>
                </a:cubicBezTo>
                <a:cubicBezTo>
                  <a:pt x="376" y="294"/>
                  <a:pt x="376" y="294"/>
                  <a:pt x="376" y="294"/>
                </a:cubicBezTo>
                <a:cubicBezTo>
                  <a:pt x="375" y="292"/>
                  <a:pt x="375" y="292"/>
                  <a:pt x="375" y="292"/>
                </a:cubicBezTo>
                <a:cubicBezTo>
                  <a:pt x="375" y="292"/>
                  <a:pt x="375" y="292"/>
                  <a:pt x="375" y="292"/>
                </a:cubicBezTo>
                <a:cubicBezTo>
                  <a:pt x="374" y="293"/>
                  <a:pt x="374" y="293"/>
                  <a:pt x="374" y="293"/>
                </a:cubicBezTo>
                <a:cubicBezTo>
                  <a:pt x="374" y="294"/>
                  <a:pt x="374" y="294"/>
                  <a:pt x="374" y="294"/>
                </a:cubicBezTo>
                <a:cubicBezTo>
                  <a:pt x="374" y="295"/>
                  <a:pt x="374" y="295"/>
                  <a:pt x="374" y="295"/>
                </a:cubicBezTo>
                <a:cubicBezTo>
                  <a:pt x="373" y="295"/>
                  <a:pt x="373" y="295"/>
                  <a:pt x="373" y="295"/>
                </a:cubicBezTo>
                <a:cubicBezTo>
                  <a:pt x="372" y="295"/>
                  <a:pt x="372" y="295"/>
                  <a:pt x="372" y="295"/>
                </a:cubicBezTo>
                <a:cubicBezTo>
                  <a:pt x="371" y="295"/>
                  <a:pt x="371" y="295"/>
                  <a:pt x="371" y="295"/>
                </a:cubicBezTo>
                <a:cubicBezTo>
                  <a:pt x="370" y="296"/>
                  <a:pt x="370" y="296"/>
                  <a:pt x="370" y="296"/>
                </a:cubicBezTo>
                <a:cubicBezTo>
                  <a:pt x="369" y="295"/>
                  <a:pt x="369" y="295"/>
                  <a:pt x="369" y="295"/>
                </a:cubicBezTo>
                <a:cubicBezTo>
                  <a:pt x="368" y="296"/>
                  <a:pt x="368" y="296"/>
                  <a:pt x="368" y="296"/>
                </a:cubicBezTo>
                <a:cubicBezTo>
                  <a:pt x="367" y="296"/>
                  <a:pt x="367" y="296"/>
                  <a:pt x="367" y="296"/>
                </a:cubicBezTo>
                <a:cubicBezTo>
                  <a:pt x="365" y="296"/>
                  <a:pt x="365" y="296"/>
                  <a:pt x="365" y="296"/>
                </a:cubicBezTo>
                <a:cubicBezTo>
                  <a:pt x="366" y="295"/>
                  <a:pt x="366" y="295"/>
                  <a:pt x="366" y="295"/>
                </a:cubicBezTo>
                <a:cubicBezTo>
                  <a:pt x="364" y="293"/>
                  <a:pt x="364" y="293"/>
                  <a:pt x="364" y="293"/>
                </a:cubicBezTo>
                <a:cubicBezTo>
                  <a:pt x="364" y="294"/>
                  <a:pt x="364" y="294"/>
                  <a:pt x="364" y="294"/>
                </a:cubicBezTo>
                <a:cubicBezTo>
                  <a:pt x="363" y="293"/>
                  <a:pt x="363" y="293"/>
                  <a:pt x="363" y="293"/>
                </a:cubicBezTo>
                <a:cubicBezTo>
                  <a:pt x="362" y="290"/>
                  <a:pt x="362" y="290"/>
                  <a:pt x="362" y="290"/>
                </a:cubicBezTo>
                <a:cubicBezTo>
                  <a:pt x="362" y="289"/>
                  <a:pt x="362" y="289"/>
                  <a:pt x="362" y="289"/>
                </a:cubicBezTo>
                <a:cubicBezTo>
                  <a:pt x="363" y="288"/>
                  <a:pt x="363" y="288"/>
                  <a:pt x="363" y="288"/>
                </a:cubicBezTo>
                <a:cubicBezTo>
                  <a:pt x="363" y="287"/>
                  <a:pt x="363" y="287"/>
                  <a:pt x="363" y="287"/>
                </a:cubicBezTo>
                <a:cubicBezTo>
                  <a:pt x="364" y="286"/>
                  <a:pt x="364" y="286"/>
                  <a:pt x="364" y="286"/>
                </a:cubicBezTo>
                <a:cubicBezTo>
                  <a:pt x="366" y="286"/>
                  <a:pt x="366" y="286"/>
                  <a:pt x="366" y="286"/>
                </a:cubicBezTo>
                <a:cubicBezTo>
                  <a:pt x="366" y="285"/>
                  <a:pt x="366" y="285"/>
                  <a:pt x="366" y="285"/>
                </a:cubicBezTo>
                <a:cubicBezTo>
                  <a:pt x="367" y="285"/>
                  <a:pt x="367" y="285"/>
                  <a:pt x="367" y="285"/>
                </a:cubicBezTo>
                <a:cubicBezTo>
                  <a:pt x="368" y="285"/>
                  <a:pt x="368" y="285"/>
                  <a:pt x="368" y="285"/>
                </a:cubicBezTo>
                <a:cubicBezTo>
                  <a:pt x="368" y="284"/>
                  <a:pt x="368" y="284"/>
                  <a:pt x="368" y="284"/>
                </a:cubicBezTo>
                <a:cubicBezTo>
                  <a:pt x="368" y="283"/>
                  <a:pt x="368" y="283"/>
                  <a:pt x="368" y="283"/>
                </a:cubicBezTo>
                <a:cubicBezTo>
                  <a:pt x="368" y="282"/>
                  <a:pt x="368" y="282"/>
                  <a:pt x="368" y="282"/>
                </a:cubicBezTo>
                <a:cubicBezTo>
                  <a:pt x="368" y="282"/>
                  <a:pt x="368" y="282"/>
                  <a:pt x="368" y="282"/>
                </a:cubicBezTo>
                <a:cubicBezTo>
                  <a:pt x="369" y="282"/>
                  <a:pt x="369" y="282"/>
                  <a:pt x="369" y="282"/>
                </a:cubicBezTo>
                <a:cubicBezTo>
                  <a:pt x="369" y="282"/>
                  <a:pt x="369" y="282"/>
                  <a:pt x="369" y="282"/>
                </a:cubicBezTo>
                <a:cubicBezTo>
                  <a:pt x="369" y="281"/>
                  <a:pt x="369" y="281"/>
                  <a:pt x="369" y="281"/>
                </a:cubicBezTo>
                <a:cubicBezTo>
                  <a:pt x="369" y="281"/>
                  <a:pt x="369" y="281"/>
                  <a:pt x="369" y="281"/>
                </a:cubicBezTo>
                <a:cubicBezTo>
                  <a:pt x="370" y="283"/>
                  <a:pt x="370" y="283"/>
                  <a:pt x="370" y="283"/>
                </a:cubicBezTo>
                <a:cubicBezTo>
                  <a:pt x="372" y="283"/>
                  <a:pt x="372" y="283"/>
                  <a:pt x="372" y="283"/>
                </a:cubicBezTo>
                <a:cubicBezTo>
                  <a:pt x="373" y="284"/>
                  <a:pt x="373" y="284"/>
                  <a:pt x="373" y="284"/>
                </a:cubicBezTo>
                <a:cubicBezTo>
                  <a:pt x="374" y="285"/>
                  <a:pt x="374" y="285"/>
                  <a:pt x="374" y="285"/>
                </a:cubicBezTo>
                <a:cubicBezTo>
                  <a:pt x="375" y="285"/>
                  <a:pt x="375" y="285"/>
                  <a:pt x="375" y="285"/>
                </a:cubicBezTo>
                <a:cubicBezTo>
                  <a:pt x="376" y="286"/>
                  <a:pt x="376" y="286"/>
                  <a:pt x="376" y="286"/>
                </a:cubicBezTo>
                <a:cubicBezTo>
                  <a:pt x="377" y="285"/>
                  <a:pt x="377" y="285"/>
                  <a:pt x="377" y="285"/>
                </a:cubicBezTo>
                <a:cubicBezTo>
                  <a:pt x="378" y="285"/>
                  <a:pt x="378" y="285"/>
                  <a:pt x="378" y="285"/>
                </a:cubicBezTo>
                <a:cubicBezTo>
                  <a:pt x="378" y="286"/>
                  <a:pt x="378" y="286"/>
                  <a:pt x="378" y="286"/>
                </a:cubicBezTo>
                <a:cubicBezTo>
                  <a:pt x="379" y="286"/>
                  <a:pt x="379" y="286"/>
                  <a:pt x="379" y="286"/>
                </a:cubicBezTo>
                <a:cubicBezTo>
                  <a:pt x="380" y="286"/>
                  <a:pt x="380" y="286"/>
                  <a:pt x="380" y="286"/>
                </a:cubicBezTo>
                <a:cubicBezTo>
                  <a:pt x="381" y="285"/>
                  <a:pt x="381" y="285"/>
                  <a:pt x="381" y="285"/>
                </a:cubicBezTo>
                <a:cubicBezTo>
                  <a:pt x="382" y="284"/>
                  <a:pt x="382" y="284"/>
                  <a:pt x="382" y="284"/>
                </a:cubicBezTo>
                <a:cubicBezTo>
                  <a:pt x="383" y="284"/>
                  <a:pt x="383" y="284"/>
                  <a:pt x="383" y="284"/>
                </a:cubicBezTo>
                <a:cubicBezTo>
                  <a:pt x="383" y="284"/>
                  <a:pt x="383" y="284"/>
                  <a:pt x="383" y="284"/>
                </a:cubicBezTo>
                <a:cubicBezTo>
                  <a:pt x="383" y="285"/>
                  <a:pt x="383" y="285"/>
                  <a:pt x="383" y="285"/>
                </a:cubicBezTo>
                <a:cubicBezTo>
                  <a:pt x="384" y="285"/>
                  <a:pt x="384" y="285"/>
                  <a:pt x="384" y="285"/>
                </a:cubicBezTo>
                <a:cubicBezTo>
                  <a:pt x="385" y="284"/>
                  <a:pt x="385" y="284"/>
                  <a:pt x="385" y="284"/>
                </a:cubicBezTo>
                <a:cubicBezTo>
                  <a:pt x="386" y="283"/>
                  <a:pt x="386" y="283"/>
                  <a:pt x="386" y="283"/>
                </a:cubicBezTo>
                <a:cubicBezTo>
                  <a:pt x="387" y="283"/>
                  <a:pt x="387" y="283"/>
                  <a:pt x="387" y="283"/>
                </a:cubicBezTo>
                <a:cubicBezTo>
                  <a:pt x="387" y="283"/>
                  <a:pt x="387" y="283"/>
                  <a:pt x="387" y="283"/>
                </a:cubicBezTo>
                <a:cubicBezTo>
                  <a:pt x="387" y="285"/>
                  <a:pt x="387" y="285"/>
                  <a:pt x="387" y="285"/>
                </a:cubicBezTo>
                <a:cubicBezTo>
                  <a:pt x="388" y="286"/>
                  <a:pt x="388" y="286"/>
                  <a:pt x="388" y="286"/>
                </a:cubicBezTo>
                <a:cubicBezTo>
                  <a:pt x="388" y="285"/>
                  <a:pt x="388" y="285"/>
                  <a:pt x="388" y="285"/>
                </a:cubicBezTo>
                <a:cubicBezTo>
                  <a:pt x="388" y="284"/>
                  <a:pt x="388" y="284"/>
                  <a:pt x="388" y="284"/>
                </a:cubicBezTo>
                <a:cubicBezTo>
                  <a:pt x="389" y="284"/>
                  <a:pt x="389" y="284"/>
                  <a:pt x="389" y="284"/>
                </a:cubicBezTo>
                <a:cubicBezTo>
                  <a:pt x="390" y="284"/>
                  <a:pt x="390" y="284"/>
                  <a:pt x="390" y="284"/>
                </a:cubicBezTo>
                <a:cubicBezTo>
                  <a:pt x="389" y="281"/>
                  <a:pt x="389" y="281"/>
                  <a:pt x="389" y="281"/>
                </a:cubicBezTo>
                <a:cubicBezTo>
                  <a:pt x="388" y="279"/>
                  <a:pt x="388" y="279"/>
                  <a:pt x="388" y="279"/>
                </a:cubicBezTo>
                <a:cubicBezTo>
                  <a:pt x="388" y="278"/>
                  <a:pt x="388" y="278"/>
                  <a:pt x="388" y="278"/>
                </a:cubicBezTo>
                <a:cubicBezTo>
                  <a:pt x="387" y="277"/>
                  <a:pt x="387" y="277"/>
                  <a:pt x="387" y="277"/>
                </a:cubicBezTo>
                <a:cubicBezTo>
                  <a:pt x="388" y="276"/>
                  <a:pt x="388" y="276"/>
                  <a:pt x="388" y="276"/>
                </a:cubicBezTo>
                <a:cubicBezTo>
                  <a:pt x="388" y="275"/>
                  <a:pt x="388" y="275"/>
                  <a:pt x="388" y="275"/>
                </a:cubicBezTo>
                <a:cubicBezTo>
                  <a:pt x="389" y="275"/>
                  <a:pt x="389" y="275"/>
                  <a:pt x="389" y="275"/>
                </a:cubicBezTo>
                <a:cubicBezTo>
                  <a:pt x="391" y="273"/>
                  <a:pt x="391" y="273"/>
                  <a:pt x="391" y="273"/>
                </a:cubicBezTo>
                <a:cubicBezTo>
                  <a:pt x="393" y="272"/>
                  <a:pt x="393" y="272"/>
                  <a:pt x="393" y="272"/>
                </a:cubicBezTo>
                <a:cubicBezTo>
                  <a:pt x="394" y="272"/>
                  <a:pt x="394" y="272"/>
                  <a:pt x="394" y="272"/>
                </a:cubicBezTo>
                <a:cubicBezTo>
                  <a:pt x="395" y="270"/>
                  <a:pt x="395" y="270"/>
                  <a:pt x="395" y="270"/>
                </a:cubicBezTo>
                <a:cubicBezTo>
                  <a:pt x="396" y="270"/>
                  <a:pt x="396" y="270"/>
                  <a:pt x="396" y="270"/>
                </a:cubicBezTo>
                <a:cubicBezTo>
                  <a:pt x="397" y="271"/>
                  <a:pt x="397" y="271"/>
                  <a:pt x="397" y="271"/>
                </a:cubicBezTo>
                <a:cubicBezTo>
                  <a:pt x="398" y="270"/>
                  <a:pt x="398" y="270"/>
                  <a:pt x="398" y="270"/>
                </a:cubicBezTo>
                <a:cubicBezTo>
                  <a:pt x="398" y="270"/>
                  <a:pt x="398" y="270"/>
                  <a:pt x="398" y="270"/>
                </a:cubicBezTo>
                <a:cubicBezTo>
                  <a:pt x="397" y="269"/>
                  <a:pt x="397" y="269"/>
                  <a:pt x="397" y="269"/>
                </a:cubicBezTo>
                <a:cubicBezTo>
                  <a:pt x="397" y="268"/>
                  <a:pt x="397" y="268"/>
                  <a:pt x="397" y="268"/>
                </a:cubicBezTo>
                <a:cubicBezTo>
                  <a:pt x="399" y="267"/>
                  <a:pt x="399" y="267"/>
                  <a:pt x="399" y="267"/>
                </a:cubicBezTo>
                <a:cubicBezTo>
                  <a:pt x="399" y="266"/>
                  <a:pt x="399" y="266"/>
                  <a:pt x="399" y="266"/>
                </a:cubicBezTo>
                <a:cubicBezTo>
                  <a:pt x="400" y="265"/>
                  <a:pt x="400" y="265"/>
                  <a:pt x="400" y="265"/>
                </a:cubicBezTo>
                <a:cubicBezTo>
                  <a:pt x="402" y="266"/>
                  <a:pt x="402" y="266"/>
                  <a:pt x="402" y="266"/>
                </a:cubicBezTo>
                <a:cubicBezTo>
                  <a:pt x="403" y="265"/>
                  <a:pt x="403" y="265"/>
                  <a:pt x="403" y="265"/>
                </a:cubicBezTo>
                <a:cubicBezTo>
                  <a:pt x="404" y="264"/>
                  <a:pt x="404" y="264"/>
                  <a:pt x="404" y="264"/>
                </a:cubicBezTo>
                <a:cubicBezTo>
                  <a:pt x="403" y="263"/>
                  <a:pt x="403" y="263"/>
                  <a:pt x="403" y="263"/>
                </a:cubicBezTo>
                <a:cubicBezTo>
                  <a:pt x="404" y="262"/>
                  <a:pt x="404" y="262"/>
                  <a:pt x="404" y="262"/>
                </a:cubicBezTo>
                <a:cubicBezTo>
                  <a:pt x="404" y="260"/>
                  <a:pt x="404" y="260"/>
                  <a:pt x="404" y="260"/>
                </a:cubicBezTo>
                <a:cubicBezTo>
                  <a:pt x="404" y="260"/>
                  <a:pt x="404" y="260"/>
                  <a:pt x="404" y="260"/>
                </a:cubicBezTo>
                <a:cubicBezTo>
                  <a:pt x="404" y="259"/>
                  <a:pt x="404" y="259"/>
                  <a:pt x="404" y="259"/>
                </a:cubicBezTo>
                <a:cubicBezTo>
                  <a:pt x="404" y="258"/>
                  <a:pt x="404" y="258"/>
                  <a:pt x="404" y="258"/>
                </a:cubicBezTo>
                <a:cubicBezTo>
                  <a:pt x="404" y="257"/>
                  <a:pt x="404" y="257"/>
                  <a:pt x="404" y="257"/>
                </a:cubicBezTo>
                <a:cubicBezTo>
                  <a:pt x="404" y="256"/>
                  <a:pt x="404" y="256"/>
                  <a:pt x="404" y="256"/>
                </a:cubicBezTo>
                <a:cubicBezTo>
                  <a:pt x="403" y="256"/>
                  <a:pt x="403" y="256"/>
                  <a:pt x="403" y="256"/>
                </a:cubicBezTo>
                <a:cubicBezTo>
                  <a:pt x="403" y="255"/>
                  <a:pt x="403" y="255"/>
                  <a:pt x="403" y="255"/>
                </a:cubicBezTo>
                <a:cubicBezTo>
                  <a:pt x="404" y="253"/>
                  <a:pt x="404" y="253"/>
                  <a:pt x="404" y="253"/>
                </a:cubicBezTo>
                <a:cubicBezTo>
                  <a:pt x="405" y="253"/>
                  <a:pt x="405" y="253"/>
                  <a:pt x="405" y="253"/>
                </a:cubicBezTo>
                <a:cubicBezTo>
                  <a:pt x="405" y="252"/>
                  <a:pt x="405" y="252"/>
                  <a:pt x="405" y="252"/>
                </a:cubicBezTo>
                <a:cubicBezTo>
                  <a:pt x="406" y="251"/>
                  <a:pt x="406" y="251"/>
                  <a:pt x="406" y="251"/>
                </a:cubicBezTo>
                <a:cubicBezTo>
                  <a:pt x="405" y="251"/>
                  <a:pt x="405" y="251"/>
                  <a:pt x="405" y="251"/>
                </a:cubicBezTo>
                <a:cubicBezTo>
                  <a:pt x="405" y="251"/>
                  <a:pt x="405" y="251"/>
                  <a:pt x="405" y="251"/>
                </a:cubicBezTo>
                <a:cubicBezTo>
                  <a:pt x="404" y="251"/>
                  <a:pt x="404" y="251"/>
                  <a:pt x="404" y="251"/>
                </a:cubicBezTo>
                <a:cubicBezTo>
                  <a:pt x="404" y="252"/>
                  <a:pt x="404" y="252"/>
                  <a:pt x="404" y="252"/>
                </a:cubicBezTo>
                <a:cubicBezTo>
                  <a:pt x="404" y="252"/>
                  <a:pt x="404" y="252"/>
                  <a:pt x="404" y="252"/>
                </a:cubicBezTo>
                <a:cubicBezTo>
                  <a:pt x="404" y="252"/>
                  <a:pt x="404" y="252"/>
                  <a:pt x="404" y="252"/>
                </a:cubicBezTo>
                <a:cubicBezTo>
                  <a:pt x="404" y="250"/>
                  <a:pt x="404" y="250"/>
                  <a:pt x="404" y="250"/>
                </a:cubicBezTo>
                <a:cubicBezTo>
                  <a:pt x="403" y="250"/>
                  <a:pt x="403" y="250"/>
                  <a:pt x="403" y="250"/>
                </a:cubicBezTo>
                <a:cubicBezTo>
                  <a:pt x="401" y="250"/>
                  <a:pt x="401" y="250"/>
                  <a:pt x="401" y="250"/>
                </a:cubicBezTo>
                <a:cubicBezTo>
                  <a:pt x="400" y="249"/>
                  <a:pt x="400" y="249"/>
                  <a:pt x="400" y="249"/>
                </a:cubicBezTo>
                <a:cubicBezTo>
                  <a:pt x="400" y="249"/>
                  <a:pt x="400" y="249"/>
                  <a:pt x="400" y="249"/>
                </a:cubicBezTo>
                <a:cubicBezTo>
                  <a:pt x="402" y="248"/>
                  <a:pt x="402" y="248"/>
                  <a:pt x="402" y="248"/>
                </a:cubicBezTo>
                <a:cubicBezTo>
                  <a:pt x="402" y="247"/>
                  <a:pt x="402" y="247"/>
                  <a:pt x="402" y="247"/>
                </a:cubicBezTo>
                <a:cubicBezTo>
                  <a:pt x="401" y="247"/>
                  <a:pt x="401" y="247"/>
                  <a:pt x="401" y="247"/>
                </a:cubicBezTo>
                <a:cubicBezTo>
                  <a:pt x="401" y="246"/>
                  <a:pt x="401" y="246"/>
                  <a:pt x="401" y="246"/>
                </a:cubicBezTo>
                <a:cubicBezTo>
                  <a:pt x="401" y="245"/>
                  <a:pt x="401" y="245"/>
                  <a:pt x="401" y="245"/>
                </a:cubicBezTo>
                <a:cubicBezTo>
                  <a:pt x="400" y="244"/>
                  <a:pt x="400" y="244"/>
                  <a:pt x="400" y="244"/>
                </a:cubicBezTo>
                <a:cubicBezTo>
                  <a:pt x="400" y="244"/>
                  <a:pt x="400" y="244"/>
                  <a:pt x="400" y="244"/>
                </a:cubicBezTo>
                <a:cubicBezTo>
                  <a:pt x="400" y="245"/>
                  <a:pt x="400" y="245"/>
                  <a:pt x="400" y="245"/>
                </a:cubicBezTo>
                <a:cubicBezTo>
                  <a:pt x="400" y="246"/>
                  <a:pt x="400" y="246"/>
                  <a:pt x="400" y="246"/>
                </a:cubicBezTo>
                <a:cubicBezTo>
                  <a:pt x="400" y="246"/>
                  <a:pt x="400" y="246"/>
                  <a:pt x="400" y="246"/>
                </a:cubicBezTo>
                <a:cubicBezTo>
                  <a:pt x="398" y="247"/>
                  <a:pt x="398" y="247"/>
                  <a:pt x="398" y="247"/>
                </a:cubicBezTo>
                <a:cubicBezTo>
                  <a:pt x="398" y="246"/>
                  <a:pt x="398" y="246"/>
                  <a:pt x="398" y="246"/>
                </a:cubicBezTo>
                <a:cubicBezTo>
                  <a:pt x="397" y="245"/>
                  <a:pt x="397" y="245"/>
                  <a:pt x="397" y="245"/>
                </a:cubicBezTo>
                <a:cubicBezTo>
                  <a:pt x="397" y="244"/>
                  <a:pt x="397" y="244"/>
                  <a:pt x="397" y="244"/>
                </a:cubicBezTo>
                <a:cubicBezTo>
                  <a:pt x="398" y="243"/>
                  <a:pt x="398" y="243"/>
                  <a:pt x="398" y="243"/>
                </a:cubicBezTo>
                <a:cubicBezTo>
                  <a:pt x="398" y="242"/>
                  <a:pt x="398" y="242"/>
                  <a:pt x="398" y="242"/>
                </a:cubicBezTo>
                <a:cubicBezTo>
                  <a:pt x="396" y="242"/>
                  <a:pt x="396" y="242"/>
                  <a:pt x="396" y="242"/>
                </a:cubicBezTo>
                <a:cubicBezTo>
                  <a:pt x="396" y="242"/>
                  <a:pt x="396" y="242"/>
                  <a:pt x="396" y="242"/>
                </a:cubicBezTo>
                <a:cubicBezTo>
                  <a:pt x="397" y="242"/>
                  <a:pt x="397" y="242"/>
                  <a:pt x="397" y="242"/>
                </a:cubicBezTo>
                <a:cubicBezTo>
                  <a:pt x="398" y="241"/>
                  <a:pt x="398" y="241"/>
                  <a:pt x="398" y="241"/>
                </a:cubicBezTo>
                <a:cubicBezTo>
                  <a:pt x="397" y="241"/>
                  <a:pt x="397" y="241"/>
                  <a:pt x="397" y="241"/>
                </a:cubicBezTo>
                <a:cubicBezTo>
                  <a:pt x="397" y="240"/>
                  <a:pt x="397" y="240"/>
                  <a:pt x="397" y="240"/>
                </a:cubicBezTo>
                <a:cubicBezTo>
                  <a:pt x="398" y="240"/>
                  <a:pt x="398" y="240"/>
                  <a:pt x="398" y="240"/>
                </a:cubicBezTo>
                <a:cubicBezTo>
                  <a:pt x="398" y="239"/>
                  <a:pt x="398" y="239"/>
                  <a:pt x="398" y="239"/>
                </a:cubicBezTo>
                <a:cubicBezTo>
                  <a:pt x="398" y="239"/>
                  <a:pt x="398" y="239"/>
                  <a:pt x="398" y="239"/>
                </a:cubicBezTo>
                <a:cubicBezTo>
                  <a:pt x="397" y="240"/>
                  <a:pt x="397" y="240"/>
                  <a:pt x="397" y="240"/>
                </a:cubicBezTo>
                <a:cubicBezTo>
                  <a:pt x="396" y="241"/>
                  <a:pt x="396" y="241"/>
                  <a:pt x="396" y="241"/>
                </a:cubicBezTo>
                <a:cubicBezTo>
                  <a:pt x="395" y="241"/>
                  <a:pt x="395" y="241"/>
                  <a:pt x="395" y="241"/>
                </a:cubicBezTo>
                <a:cubicBezTo>
                  <a:pt x="395" y="241"/>
                  <a:pt x="395" y="241"/>
                  <a:pt x="395" y="241"/>
                </a:cubicBezTo>
                <a:cubicBezTo>
                  <a:pt x="394" y="240"/>
                  <a:pt x="394" y="240"/>
                  <a:pt x="394" y="240"/>
                </a:cubicBezTo>
                <a:cubicBezTo>
                  <a:pt x="394" y="240"/>
                  <a:pt x="394" y="240"/>
                  <a:pt x="394" y="240"/>
                </a:cubicBezTo>
                <a:cubicBezTo>
                  <a:pt x="393" y="241"/>
                  <a:pt x="393" y="241"/>
                  <a:pt x="393" y="241"/>
                </a:cubicBezTo>
                <a:cubicBezTo>
                  <a:pt x="392" y="241"/>
                  <a:pt x="392" y="241"/>
                  <a:pt x="392" y="241"/>
                </a:cubicBezTo>
                <a:cubicBezTo>
                  <a:pt x="391" y="242"/>
                  <a:pt x="391" y="242"/>
                  <a:pt x="391" y="242"/>
                </a:cubicBezTo>
                <a:cubicBezTo>
                  <a:pt x="390" y="242"/>
                  <a:pt x="390" y="242"/>
                  <a:pt x="390" y="242"/>
                </a:cubicBezTo>
                <a:cubicBezTo>
                  <a:pt x="390" y="242"/>
                  <a:pt x="390" y="242"/>
                  <a:pt x="390" y="242"/>
                </a:cubicBezTo>
                <a:cubicBezTo>
                  <a:pt x="389" y="242"/>
                  <a:pt x="389" y="242"/>
                  <a:pt x="389" y="242"/>
                </a:cubicBezTo>
                <a:cubicBezTo>
                  <a:pt x="389" y="242"/>
                  <a:pt x="389" y="242"/>
                  <a:pt x="389" y="242"/>
                </a:cubicBezTo>
                <a:cubicBezTo>
                  <a:pt x="389" y="242"/>
                  <a:pt x="389" y="242"/>
                  <a:pt x="389" y="242"/>
                </a:cubicBezTo>
                <a:cubicBezTo>
                  <a:pt x="389" y="241"/>
                  <a:pt x="389" y="241"/>
                  <a:pt x="389" y="241"/>
                </a:cubicBezTo>
                <a:cubicBezTo>
                  <a:pt x="389" y="240"/>
                  <a:pt x="389" y="240"/>
                  <a:pt x="389" y="240"/>
                </a:cubicBezTo>
                <a:cubicBezTo>
                  <a:pt x="389" y="240"/>
                  <a:pt x="389" y="240"/>
                  <a:pt x="389" y="240"/>
                </a:cubicBezTo>
                <a:cubicBezTo>
                  <a:pt x="390" y="239"/>
                  <a:pt x="390" y="239"/>
                  <a:pt x="390" y="239"/>
                </a:cubicBezTo>
                <a:cubicBezTo>
                  <a:pt x="390" y="239"/>
                  <a:pt x="390" y="239"/>
                  <a:pt x="390" y="239"/>
                </a:cubicBezTo>
                <a:cubicBezTo>
                  <a:pt x="391" y="239"/>
                  <a:pt x="391" y="239"/>
                  <a:pt x="391" y="239"/>
                </a:cubicBezTo>
                <a:cubicBezTo>
                  <a:pt x="392" y="239"/>
                  <a:pt x="392" y="239"/>
                  <a:pt x="392" y="239"/>
                </a:cubicBezTo>
                <a:cubicBezTo>
                  <a:pt x="392" y="239"/>
                  <a:pt x="392" y="239"/>
                  <a:pt x="392" y="239"/>
                </a:cubicBezTo>
                <a:cubicBezTo>
                  <a:pt x="393" y="239"/>
                  <a:pt x="393" y="239"/>
                  <a:pt x="393" y="239"/>
                </a:cubicBezTo>
                <a:cubicBezTo>
                  <a:pt x="394" y="238"/>
                  <a:pt x="394" y="238"/>
                  <a:pt x="394" y="238"/>
                </a:cubicBezTo>
                <a:cubicBezTo>
                  <a:pt x="394" y="237"/>
                  <a:pt x="394" y="237"/>
                  <a:pt x="394" y="237"/>
                </a:cubicBezTo>
                <a:cubicBezTo>
                  <a:pt x="394" y="236"/>
                  <a:pt x="394" y="236"/>
                  <a:pt x="394" y="236"/>
                </a:cubicBezTo>
                <a:cubicBezTo>
                  <a:pt x="393" y="235"/>
                  <a:pt x="393" y="235"/>
                  <a:pt x="393" y="235"/>
                </a:cubicBezTo>
                <a:cubicBezTo>
                  <a:pt x="392" y="235"/>
                  <a:pt x="392" y="235"/>
                  <a:pt x="392" y="235"/>
                </a:cubicBezTo>
                <a:cubicBezTo>
                  <a:pt x="391" y="234"/>
                  <a:pt x="391" y="234"/>
                  <a:pt x="391" y="234"/>
                </a:cubicBezTo>
                <a:cubicBezTo>
                  <a:pt x="391" y="233"/>
                  <a:pt x="391" y="233"/>
                  <a:pt x="391" y="233"/>
                </a:cubicBezTo>
                <a:cubicBezTo>
                  <a:pt x="391" y="233"/>
                  <a:pt x="391" y="233"/>
                  <a:pt x="391" y="233"/>
                </a:cubicBezTo>
                <a:cubicBezTo>
                  <a:pt x="391" y="232"/>
                  <a:pt x="391" y="232"/>
                  <a:pt x="391" y="232"/>
                </a:cubicBezTo>
                <a:cubicBezTo>
                  <a:pt x="390" y="232"/>
                  <a:pt x="390" y="232"/>
                  <a:pt x="390" y="232"/>
                </a:cubicBezTo>
                <a:cubicBezTo>
                  <a:pt x="390" y="232"/>
                  <a:pt x="390" y="232"/>
                  <a:pt x="390" y="232"/>
                </a:cubicBezTo>
                <a:cubicBezTo>
                  <a:pt x="389" y="231"/>
                  <a:pt x="389" y="231"/>
                  <a:pt x="389" y="231"/>
                </a:cubicBezTo>
                <a:cubicBezTo>
                  <a:pt x="389" y="230"/>
                  <a:pt x="389" y="230"/>
                  <a:pt x="389" y="230"/>
                </a:cubicBezTo>
                <a:cubicBezTo>
                  <a:pt x="390" y="230"/>
                  <a:pt x="390" y="230"/>
                  <a:pt x="390" y="230"/>
                </a:cubicBezTo>
                <a:cubicBezTo>
                  <a:pt x="390" y="231"/>
                  <a:pt x="390" y="231"/>
                  <a:pt x="390" y="231"/>
                </a:cubicBezTo>
                <a:cubicBezTo>
                  <a:pt x="391" y="230"/>
                  <a:pt x="391" y="230"/>
                  <a:pt x="391" y="230"/>
                </a:cubicBezTo>
                <a:cubicBezTo>
                  <a:pt x="391" y="230"/>
                  <a:pt x="391" y="230"/>
                  <a:pt x="391" y="230"/>
                </a:cubicBezTo>
                <a:cubicBezTo>
                  <a:pt x="392" y="229"/>
                  <a:pt x="392" y="229"/>
                  <a:pt x="392" y="229"/>
                </a:cubicBezTo>
                <a:cubicBezTo>
                  <a:pt x="390" y="229"/>
                  <a:pt x="390" y="229"/>
                  <a:pt x="390" y="229"/>
                </a:cubicBezTo>
                <a:cubicBezTo>
                  <a:pt x="390" y="228"/>
                  <a:pt x="390" y="228"/>
                  <a:pt x="390" y="228"/>
                </a:cubicBezTo>
                <a:cubicBezTo>
                  <a:pt x="389" y="228"/>
                  <a:pt x="389" y="228"/>
                  <a:pt x="389" y="228"/>
                </a:cubicBezTo>
                <a:cubicBezTo>
                  <a:pt x="389" y="228"/>
                  <a:pt x="389" y="228"/>
                  <a:pt x="389" y="228"/>
                </a:cubicBezTo>
                <a:cubicBezTo>
                  <a:pt x="388" y="227"/>
                  <a:pt x="388" y="227"/>
                  <a:pt x="388" y="227"/>
                </a:cubicBezTo>
                <a:cubicBezTo>
                  <a:pt x="387" y="228"/>
                  <a:pt x="387" y="228"/>
                  <a:pt x="387" y="228"/>
                </a:cubicBezTo>
                <a:cubicBezTo>
                  <a:pt x="387" y="228"/>
                  <a:pt x="387" y="228"/>
                  <a:pt x="387" y="228"/>
                </a:cubicBezTo>
                <a:cubicBezTo>
                  <a:pt x="387" y="228"/>
                  <a:pt x="387" y="228"/>
                  <a:pt x="387" y="228"/>
                </a:cubicBezTo>
                <a:cubicBezTo>
                  <a:pt x="388" y="226"/>
                  <a:pt x="388" y="226"/>
                  <a:pt x="388" y="226"/>
                </a:cubicBezTo>
                <a:cubicBezTo>
                  <a:pt x="389" y="224"/>
                  <a:pt x="389" y="224"/>
                  <a:pt x="389" y="224"/>
                </a:cubicBezTo>
                <a:cubicBezTo>
                  <a:pt x="389" y="224"/>
                  <a:pt x="389" y="224"/>
                  <a:pt x="389" y="224"/>
                </a:cubicBezTo>
                <a:cubicBezTo>
                  <a:pt x="389" y="222"/>
                  <a:pt x="389" y="222"/>
                  <a:pt x="389" y="222"/>
                </a:cubicBezTo>
                <a:cubicBezTo>
                  <a:pt x="389" y="221"/>
                  <a:pt x="389" y="221"/>
                  <a:pt x="389" y="221"/>
                </a:cubicBezTo>
                <a:cubicBezTo>
                  <a:pt x="390" y="220"/>
                  <a:pt x="390" y="220"/>
                  <a:pt x="390" y="220"/>
                </a:cubicBezTo>
                <a:cubicBezTo>
                  <a:pt x="389" y="219"/>
                  <a:pt x="389" y="219"/>
                  <a:pt x="389" y="219"/>
                </a:cubicBezTo>
                <a:cubicBezTo>
                  <a:pt x="388" y="220"/>
                  <a:pt x="388" y="220"/>
                  <a:pt x="388" y="220"/>
                </a:cubicBezTo>
                <a:cubicBezTo>
                  <a:pt x="388" y="220"/>
                  <a:pt x="388" y="220"/>
                  <a:pt x="388" y="220"/>
                </a:cubicBezTo>
                <a:cubicBezTo>
                  <a:pt x="387" y="220"/>
                  <a:pt x="387" y="220"/>
                  <a:pt x="387" y="220"/>
                </a:cubicBezTo>
                <a:cubicBezTo>
                  <a:pt x="387" y="221"/>
                  <a:pt x="387" y="221"/>
                  <a:pt x="387" y="221"/>
                </a:cubicBezTo>
                <a:cubicBezTo>
                  <a:pt x="386" y="220"/>
                  <a:pt x="386" y="220"/>
                  <a:pt x="386" y="220"/>
                </a:cubicBezTo>
                <a:cubicBezTo>
                  <a:pt x="385" y="219"/>
                  <a:pt x="385" y="219"/>
                  <a:pt x="385" y="219"/>
                </a:cubicBezTo>
                <a:cubicBezTo>
                  <a:pt x="385" y="218"/>
                  <a:pt x="385" y="218"/>
                  <a:pt x="385" y="218"/>
                </a:cubicBezTo>
                <a:cubicBezTo>
                  <a:pt x="384" y="217"/>
                  <a:pt x="384" y="217"/>
                  <a:pt x="384" y="217"/>
                </a:cubicBezTo>
                <a:cubicBezTo>
                  <a:pt x="384" y="217"/>
                  <a:pt x="384" y="217"/>
                  <a:pt x="384" y="217"/>
                </a:cubicBezTo>
                <a:cubicBezTo>
                  <a:pt x="384" y="215"/>
                  <a:pt x="384" y="215"/>
                  <a:pt x="384" y="215"/>
                </a:cubicBezTo>
                <a:cubicBezTo>
                  <a:pt x="385" y="215"/>
                  <a:pt x="385" y="215"/>
                  <a:pt x="385" y="215"/>
                </a:cubicBezTo>
                <a:cubicBezTo>
                  <a:pt x="385" y="214"/>
                  <a:pt x="385" y="214"/>
                  <a:pt x="385" y="214"/>
                </a:cubicBezTo>
                <a:cubicBezTo>
                  <a:pt x="385" y="214"/>
                  <a:pt x="385" y="214"/>
                  <a:pt x="385" y="214"/>
                </a:cubicBezTo>
                <a:cubicBezTo>
                  <a:pt x="385" y="212"/>
                  <a:pt x="385" y="212"/>
                  <a:pt x="385" y="212"/>
                </a:cubicBezTo>
                <a:cubicBezTo>
                  <a:pt x="384" y="213"/>
                  <a:pt x="384" y="213"/>
                  <a:pt x="384" y="213"/>
                </a:cubicBezTo>
                <a:cubicBezTo>
                  <a:pt x="384" y="213"/>
                  <a:pt x="384" y="213"/>
                  <a:pt x="384" y="213"/>
                </a:cubicBezTo>
                <a:cubicBezTo>
                  <a:pt x="383" y="215"/>
                  <a:pt x="383" y="215"/>
                  <a:pt x="383" y="215"/>
                </a:cubicBezTo>
                <a:cubicBezTo>
                  <a:pt x="383" y="216"/>
                  <a:pt x="383" y="216"/>
                  <a:pt x="383" y="216"/>
                </a:cubicBezTo>
                <a:cubicBezTo>
                  <a:pt x="382" y="215"/>
                  <a:pt x="382" y="215"/>
                  <a:pt x="382" y="215"/>
                </a:cubicBezTo>
                <a:cubicBezTo>
                  <a:pt x="382" y="215"/>
                  <a:pt x="382" y="215"/>
                  <a:pt x="382" y="215"/>
                </a:cubicBezTo>
                <a:cubicBezTo>
                  <a:pt x="382" y="215"/>
                  <a:pt x="382" y="215"/>
                  <a:pt x="382" y="215"/>
                </a:cubicBezTo>
                <a:cubicBezTo>
                  <a:pt x="381" y="216"/>
                  <a:pt x="381" y="216"/>
                  <a:pt x="381" y="216"/>
                </a:cubicBezTo>
                <a:cubicBezTo>
                  <a:pt x="381" y="216"/>
                  <a:pt x="381" y="216"/>
                  <a:pt x="381" y="216"/>
                </a:cubicBezTo>
                <a:cubicBezTo>
                  <a:pt x="381" y="217"/>
                  <a:pt x="381" y="217"/>
                  <a:pt x="381" y="217"/>
                </a:cubicBezTo>
                <a:cubicBezTo>
                  <a:pt x="382" y="218"/>
                  <a:pt x="382" y="218"/>
                  <a:pt x="382" y="218"/>
                </a:cubicBezTo>
                <a:cubicBezTo>
                  <a:pt x="382" y="218"/>
                  <a:pt x="382" y="218"/>
                  <a:pt x="382" y="218"/>
                </a:cubicBezTo>
                <a:cubicBezTo>
                  <a:pt x="383" y="221"/>
                  <a:pt x="383" y="221"/>
                  <a:pt x="383" y="221"/>
                </a:cubicBezTo>
                <a:cubicBezTo>
                  <a:pt x="384" y="221"/>
                  <a:pt x="384" y="221"/>
                  <a:pt x="384" y="221"/>
                </a:cubicBezTo>
                <a:cubicBezTo>
                  <a:pt x="384" y="222"/>
                  <a:pt x="384" y="222"/>
                  <a:pt x="384" y="222"/>
                </a:cubicBezTo>
                <a:cubicBezTo>
                  <a:pt x="384" y="223"/>
                  <a:pt x="384" y="223"/>
                  <a:pt x="384" y="223"/>
                </a:cubicBezTo>
                <a:cubicBezTo>
                  <a:pt x="383" y="225"/>
                  <a:pt x="383" y="225"/>
                  <a:pt x="383" y="225"/>
                </a:cubicBezTo>
                <a:cubicBezTo>
                  <a:pt x="382" y="225"/>
                  <a:pt x="382" y="225"/>
                  <a:pt x="382" y="225"/>
                </a:cubicBezTo>
                <a:cubicBezTo>
                  <a:pt x="379" y="225"/>
                  <a:pt x="379" y="225"/>
                  <a:pt x="379" y="225"/>
                </a:cubicBezTo>
                <a:cubicBezTo>
                  <a:pt x="379" y="225"/>
                  <a:pt x="379" y="225"/>
                  <a:pt x="379" y="225"/>
                </a:cubicBezTo>
                <a:cubicBezTo>
                  <a:pt x="378" y="225"/>
                  <a:pt x="378" y="225"/>
                  <a:pt x="378" y="225"/>
                </a:cubicBezTo>
                <a:cubicBezTo>
                  <a:pt x="376" y="224"/>
                  <a:pt x="376" y="224"/>
                  <a:pt x="376" y="224"/>
                </a:cubicBezTo>
                <a:cubicBezTo>
                  <a:pt x="377" y="224"/>
                  <a:pt x="377" y="224"/>
                  <a:pt x="377" y="224"/>
                </a:cubicBezTo>
                <a:cubicBezTo>
                  <a:pt x="377" y="223"/>
                  <a:pt x="377" y="223"/>
                  <a:pt x="377" y="223"/>
                </a:cubicBezTo>
                <a:cubicBezTo>
                  <a:pt x="375" y="223"/>
                  <a:pt x="375" y="223"/>
                  <a:pt x="375" y="223"/>
                </a:cubicBezTo>
                <a:cubicBezTo>
                  <a:pt x="373" y="222"/>
                  <a:pt x="373" y="222"/>
                  <a:pt x="373" y="222"/>
                </a:cubicBezTo>
                <a:cubicBezTo>
                  <a:pt x="371" y="221"/>
                  <a:pt x="371" y="221"/>
                  <a:pt x="371" y="221"/>
                </a:cubicBezTo>
                <a:cubicBezTo>
                  <a:pt x="372" y="224"/>
                  <a:pt x="372" y="224"/>
                  <a:pt x="372" y="224"/>
                </a:cubicBezTo>
                <a:cubicBezTo>
                  <a:pt x="372" y="225"/>
                  <a:pt x="372" y="225"/>
                  <a:pt x="372" y="225"/>
                </a:cubicBezTo>
                <a:cubicBezTo>
                  <a:pt x="372" y="225"/>
                  <a:pt x="372" y="225"/>
                  <a:pt x="372" y="225"/>
                </a:cubicBezTo>
                <a:cubicBezTo>
                  <a:pt x="371" y="225"/>
                  <a:pt x="371" y="225"/>
                  <a:pt x="371" y="225"/>
                </a:cubicBezTo>
                <a:cubicBezTo>
                  <a:pt x="370" y="224"/>
                  <a:pt x="370" y="224"/>
                  <a:pt x="370" y="224"/>
                </a:cubicBezTo>
                <a:cubicBezTo>
                  <a:pt x="369" y="223"/>
                  <a:pt x="369" y="223"/>
                  <a:pt x="369" y="223"/>
                </a:cubicBezTo>
                <a:cubicBezTo>
                  <a:pt x="369" y="223"/>
                  <a:pt x="369" y="223"/>
                  <a:pt x="369" y="223"/>
                </a:cubicBezTo>
                <a:cubicBezTo>
                  <a:pt x="369" y="222"/>
                  <a:pt x="369" y="222"/>
                  <a:pt x="369" y="222"/>
                </a:cubicBezTo>
                <a:cubicBezTo>
                  <a:pt x="368" y="221"/>
                  <a:pt x="368" y="221"/>
                  <a:pt x="368" y="221"/>
                </a:cubicBezTo>
                <a:cubicBezTo>
                  <a:pt x="367" y="220"/>
                  <a:pt x="367" y="220"/>
                  <a:pt x="367" y="220"/>
                </a:cubicBezTo>
                <a:cubicBezTo>
                  <a:pt x="366" y="219"/>
                  <a:pt x="366" y="219"/>
                  <a:pt x="366" y="219"/>
                </a:cubicBezTo>
                <a:cubicBezTo>
                  <a:pt x="366" y="219"/>
                  <a:pt x="366" y="219"/>
                  <a:pt x="366" y="219"/>
                </a:cubicBezTo>
                <a:cubicBezTo>
                  <a:pt x="365" y="217"/>
                  <a:pt x="365" y="217"/>
                  <a:pt x="365" y="217"/>
                </a:cubicBezTo>
                <a:cubicBezTo>
                  <a:pt x="364" y="217"/>
                  <a:pt x="364" y="217"/>
                  <a:pt x="364" y="217"/>
                </a:cubicBezTo>
                <a:cubicBezTo>
                  <a:pt x="363" y="217"/>
                  <a:pt x="363" y="217"/>
                  <a:pt x="363" y="217"/>
                </a:cubicBezTo>
                <a:cubicBezTo>
                  <a:pt x="362" y="216"/>
                  <a:pt x="362" y="216"/>
                  <a:pt x="362" y="216"/>
                </a:cubicBezTo>
                <a:cubicBezTo>
                  <a:pt x="363" y="217"/>
                  <a:pt x="363" y="217"/>
                  <a:pt x="363" y="217"/>
                </a:cubicBezTo>
                <a:cubicBezTo>
                  <a:pt x="365" y="219"/>
                  <a:pt x="365" y="219"/>
                  <a:pt x="365" y="219"/>
                </a:cubicBezTo>
                <a:cubicBezTo>
                  <a:pt x="366" y="220"/>
                  <a:pt x="366" y="220"/>
                  <a:pt x="366" y="220"/>
                </a:cubicBezTo>
                <a:cubicBezTo>
                  <a:pt x="366" y="221"/>
                  <a:pt x="366" y="221"/>
                  <a:pt x="366" y="221"/>
                </a:cubicBezTo>
                <a:cubicBezTo>
                  <a:pt x="367" y="222"/>
                  <a:pt x="367" y="222"/>
                  <a:pt x="367" y="222"/>
                </a:cubicBezTo>
                <a:cubicBezTo>
                  <a:pt x="368" y="222"/>
                  <a:pt x="368" y="222"/>
                  <a:pt x="368" y="222"/>
                </a:cubicBezTo>
                <a:cubicBezTo>
                  <a:pt x="367" y="223"/>
                  <a:pt x="367" y="223"/>
                  <a:pt x="367" y="223"/>
                </a:cubicBezTo>
                <a:cubicBezTo>
                  <a:pt x="367" y="223"/>
                  <a:pt x="367" y="223"/>
                  <a:pt x="367" y="223"/>
                </a:cubicBezTo>
                <a:cubicBezTo>
                  <a:pt x="366" y="223"/>
                  <a:pt x="366" y="223"/>
                  <a:pt x="366" y="223"/>
                </a:cubicBezTo>
                <a:cubicBezTo>
                  <a:pt x="364" y="222"/>
                  <a:pt x="364" y="222"/>
                  <a:pt x="364" y="222"/>
                </a:cubicBezTo>
                <a:cubicBezTo>
                  <a:pt x="364" y="223"/>
                  <a:pt x="364" y="223"/>
                  <a:pt x="364" y="223"/>
                </a:cubicBezTo>
                <a:cubicBezTo>
                  <a:pt x="363" y="222"/>
                  <a:pt x="363" y="222"/>
                  <a:pt x="363" y="222"/>
                </a:cubicBezTo>
                <a:cubicBezTo>
                  <a:pt x="362" y="221"/>
                  <a:pt x="362" y="221"/>
                  <a:pt x="362" y="221"/>
                </a:cubicBezTo>
                <a:cubicBezTo>
                  <a:pt x="361" y="220"/>
                  <a:pt x="361" y="220"/>
                  <a:pt x="361" y="220"/>
                </a:cubicBezTo>
                <a:cubicBezTo>
                  <a:pt x="359" y="220"/>
                  <a:pt x="359" y="220"/>
                  <a:pt x="359" y="220"/>
                </a:cubicBezTo>
                <a:cubicBezTo>
                  <a:pt x="358" y="221"/>
                  <a:pt x="358" y="221"/>
                  <a:pt x="358" y="221"/>
                </a:cubicBezTo>
                <a:cubicBezTo>
                  <a:pt x="357" y="220"/>
                  <a:pt x="357" y="220"/>
                  <a:pt x="357" y="220"/>
                </a:cubicBezTo>
                <a:cubicBezTo>
                  <a:pt x="356" y="220"/>
                  <a:pt x="356" y="220"/>
                  <a:pt x="356" y="220"/>
                </a:cubicBezTo>
                <a:cubicBezTo>
                  <a:pt x="355" y="220"/>
                  <a:pt x="355" y="220"/>
                  <a:pt x="355" y="220"/>
                </a:cubicBezTo>
                <a:cubicBezTo>
                  <a:pt x="354" y="219"/>
                  <a:pt x="354" y="219"/>
                  <a:pt x="354" y="219"/>
                </a:cubicBezTo>
                <a:cubicBezTo>
                  <a:pt x="353" y="218"/>
                  <a:pt x="353" y="218"/>
                  <a:pt x="353" y="218"/>
                </a:cubicBezTo>
                <a:cubicBezTo>
                  <a:pt x="353" y="217"/>
                  <a:pt x="353" y="217"/>
                  <a:pt x="353" y="217"/>
                </a:cubicBezTo>
                <a:cubicBezTo>
                  <a:pt x="355" y="216"/>
                  <a:pt x="355" y="216"/>
                  <a:pt x="355" y="216"/>
                </a:cubicBezTo>
                <a:cubicBezTo>
                  <a:pt x="355" y="215"/>
                  <a:pt x="355" y="215"/>
                  <a:pt x="355" y="215"/>
                </a:cubicBezTo>
                <a:cubicBezTo>
                  <a:pt x="355" y="215"/>
                  <a:pt x="355" y="215"/>
                  <a:pt x="355" y="215"/>
                </a:cubicBezTo>
                <a:cubicBezTo>
                  <a:pt x="354" y="215"/>
                  <a:pt x="354" y="215"/>
                  <a:pt x="354" y="215"/>
                </a:cubicBezTo>
                <a:cubicBezTo>
                  <a:pt x="353" y="216"/>
                  <a:pt x="353" y="216"/>
                  <a:pt x="353" y="216"/>
                </a:cubicBezTo>
                <a:cubicBezTo>
                  <a:pt x="352" y="217"/>
                  <a:pt x="352" y="217"/>
                  <a:pt x="352" y="217"/>
                </a:cubicBezTo>
                <a:cubicBezTo>
                  <a:pt x="352" y="217"/>
                  <a:pt x="352" y="217"/>
                  <a:pt x="352" y="217"/>
                </a:cubicBezTo>
                <a:cubicBezTo>
                  <a:pt x="351" y="217"/>
                  <a:pt x="351" y="217"/>
                  <a:pt x="351" y="217"/>
                </a:cubicBezTo>
                <a:cubicBezTo>
                  <a:pt x="350" y="216"/>
                  <a:pt x="350" y="216"/>
                  <a:pt x="350" y="216"/>
                </a:cubicBezTo>
                <a:cubicBezTo>
                  <a:pt x="349" y="216"/>
                  <a:pt x="349" y="216"/>
                  <a:pt x="349" y="216"/>
                </a:cubicBezTo>
                <a:cubicBezTo>
                  <a:pt x="350" y="217"/>
                  <a:pt x="350" y="217"/>
                  <a:pt x="350" y="217"/>
                </a:cubicBezTo>
                <a:cubicBezTo>
                  <a:pt x="350" y="218"/>
                  <a:pt x="350" y="218"/>
                  <a:pt x="350" y="218"/>
                </a:cubicBezTo>
                <a:cubicBezTo>
                  <a:pt x="348" y="218"/>
                  <a:pt x="348" y="218"/>
                  <a:pt x="348" y="218"/>
                </a:cubicBezTo>
                <a:cubicBezTo>
                  <a:pt x="346" y="216"/>
                  <a:pt x="346" y="216"/>
                  <a:pt x="346" y="216"/>
                </a:cubicBezTo>
                <a:cubicBezTo>
                  <a:pt x="346" y="215"/>
                  <a:pt x="346" y="215"/>
                  <a:pt x="346" y="215"/>
                </a:cubicBezTo>
                <a:cubicBezTo>
                  <a:pt x="345" y="214"/>
                  <a:pt x="345" y="214"/>
                  <a:pt x="345" y="214"/>
                </a:cubicBezTo>
                <a:cubicBezTo>
                  <a:pt x="345" y="213"/>
                  <a:pt x="345" y="213"/>
                  <a:pt x="345" y="213"/>
                </a:cubicBezTo>
                <a:cubicBezTo>
                  <a:pt x="347" y="212"/>
                  <a:pt x="347" y="212"/>
                  <a:pt x="347" y="212"/>
                </a:cubicBezTo>
                <a:cubicBezTo>
                  <a:pt x="348" y="211"/>
                  <a:pt x="348" y="211"/>
                  <a:pt x="348" y="211"/>
                </a:cubicBezTo>
                <a:cubicBezTo>
                  <a:pt x="348" y="211"/>
                  <a:pt x="348" y="211"/>
                  <a:pt x="348" y="211"/>
                </a:cubicBezTo>
                <a:cubicBezTo>
                  <a:pt x="347" y="211"/>
                  <a:pt x="347" y="211"/>
                  <a:pt x="347" y="211"/>
                </a:cubicBezTo>
                <a:cubicBezTo>
                  <a:pt x="345" y="212"/>
                  <a:pt x="345" y="212"/>
                  <a:pt x="345" y="212"/>
                </a:cubicBezTo>
                <a:cubicBezTo>
                  <a:pt x="345" y="213"/>
                  <a:pt x="345" y="213"/>
                  <a:pt x="345" y="213"/>
                </a:cubicBezTo>
                <a:cubicBezTo>
                  <a:pt x="344" y="213"/>
                  <a:pt x="344" y="213"/>
                  <a:pt x="344" y="213"/>
                </a:cubicBezTo>
                <a:cubicBezTo>
                  <a:pt x="344" y="212"/>
                  <a:pt x="344" y="212"/>
                  <a:pt x="344" y="212"/>
                </a:cubicBezTo>
                <a:cubicBezTo>
                  <a:pt x="344" y="211"/>
                  <a:pt x="344" y="211"/>
                  <a:pt x="344" y="211"/>
                </a:cubicBezTo>
                <a:cubicBezTo>
                  <a:pt x="343" y="211"/>
                  <a:pt x="343" y="211"/>
                  <a:pt x="343" y="211"/>
                </a:cubicBezTo>
                <a:cubicBezTo>
                  <a:pt x="343" y="211"/>
                  <a:pt x="343" y="211"/>
                  <a:pt x="343" y="211"/>
                </a:cubicBezTo>
                <a:cubicBezTo>
                  <a:pt x="343" y="212"/>
                  <a:pt x="343" y="212"/>
                  <a:pt x="343" y="212"/>
                </a:cubicBezTo>
                <a:cubicBezTo>
                  <a:pt x="343" y="212"/>
                  <a:pt x="343" y="212"/>
                  <a:pt x="343" y="212"/>
                </a:cubicBezTo>
                <a:cubicBezTo>
                  <a:pt x="343" y="213"/>
                  <a:pt x="343" y="213"/>
                  <a:pt x="343" y="213"/>
                </a:cubicBezTo>
                <a:cubicBezTo>
                  <a:pt x="342" y="213"/>
                  <a:pt x="342" y="213"/>
                  <a:pt x="342" y="213"/>
                </a:cubicBezTo>
                <a:cubicBezTo>
                  <a:pt x="341" y="212"/>
                  <a:pt x="341" y="212"/>
                  <a:pt x="341" y="212"/>
                </a:cubicBezTo>
                <a:cubicBezTo>
                  <a:pt x="340" y="212"/>
                  <a:pt x="340" y="212"/>
                  <a:pt x="340" y="212"/>
                </a:cubicBezTo>
                <a:cubicBezTo>
                  <a:pt x="339" y="212"/>
                  <a:pt x="339" y="212"/>
                  <a:pt x="339" y="212"/>
                </a:cubicBezTo>
                <a:cubicBezTo>
                  <a:pt x="339" y="213"/>
                  <a:pt x="339" y="213"/>
                  <a:pt x="339" y="213"/>
                </a:cubicBezTo>
                <a:cubicBezTo>
                  <a:pt x="338" y="213"/>
                  <a:pt x="338" y="213"/>
                  <a:pt x="338" y="213"/>
                </a:cubicBezTo>
                <a:cubicBezTo>
                  <a:pt x="337" y="212"/>
                  <a:pt x="337" y="212"/>
                  <a:pt x="337" y="212"/>
                </a:cubicBezTo>
                <a:cubicBezTo>
                  <a:pt x="337" y="211"/>
                  <a:pt x="337" y="211"/>
                  <a:pt x="337" y="211"/>
                </a:cubicBezTo>
                <a:cubicBezTo>
                  <a:pt x="337" y="211"/>
                  <a:pt x="337" y="211"/>
                  <a:pt x="337" y="211"/>
                </a:cubicBezTo>
                <a:cubicBezTo>
                  <a:pt x="338" y="211"/>
                  <a:pt x="338" y="211"/>
                  <a:pt x="338" y="211"/>
                </a:cubicBezTo>
                <a:cubicBezTo>
                  <a:pt x="338" y="211"/>
                  <a:pt x="338" y="211"/>
                  <a:pt x="338" y="211"/>
                </a:cubicBezTo>
                <a:cubicBezTo>
                  <a:pt x="337" y="210"/>
                  <a:pt x="337" y="210"/>
                  <a:pt x="337" y="210"/>
                </a:cubicBezTo>
                <a:cubicBezTo>
                  <a:pt x="335" y="209"/>
                  <a:pt x="335" y="209"/>
                  <a:pt x="335" y="209"/>
                </a:cubicBezTo>
                <a:cubicBezTo>
                  <a:pt x="335" y="208"/>
                  <a:pt x="335" y="208"/>
                  <a:pt x="335" y="208"/>
                </a:cubicBezTo>
                <a:cubicBezTo>
                  <a:pt x="335" y="206"/>
                  <a:pt x="335" y="206"/>
                  <a:pt x="335" y="206"/>
                </a:cubicBezTo>
                <a:cubicBezTo>
                  <a:pt x="335" y="205"/>
                  <a:pt x="335" y="205"/>
                  <a:pt x="335" y="205"/>
                </a:cubicBezTo>
                <a:cubicBezTo>
                  <a:pt x="335" y="203"/>
                  <a:pt x="335" y="203"/>
                  <a:pt x="335" y="203"/>
                </a:cubicBezTo>
                <a:cubicBezTo>
                  <a:pt x="335" y="202"/>
                  <a:pt x="335" y="202"/>
                  <a:pt x="335" y="202"/>
                </a:cubicBezTo>
                <a:cubicBezTo>
                  <a:pt x="336" y="202"/>
                  <a:pt x="336" y="202"/>
                  <a:pt x="336" y="202"/>
                </a:cubicBezTo>
                <a:cubicBezTo>
                  <a:pt x="336" y="201"/>
                  <a:pt x="336" y="201"/>
                  <a:pt x="336" y="201"/>
                </a:cubicBezTo>
                <a:cubicBezTo>
                  <a:pt x="335" y="200"/>
                  <a:pt x="335" y="200"/>
                  <a:pt x="335" y="200"/>
                </a:cubicBezTo>
                <a:cubicBezTo>
                  <a:pt x="336" y="199"/>
                  <a:pt x="336" y="199"/>
                  <a:pt x="336" y="199"/>
                </a:cubicBezTo>
                <a:cubicBezTo>
                  <a:pt x="337" y="200"/>
                  <a:pt x="337" y="200"/>
                  <a:pt x="337" y="200"/>
                </a:cubicBezTo>
                <a:cubicBezTo>
                  <a:pt x="337" y="200"/>
                  <a:pt x="337" y="200"/>
                  <a:pt x="337" y="200"/>
                </a:cubicBezTo>
                <a:cubicBezTo>
                  <a:pt x="339" y="200"/>
                  <a:pt x="339" y="200"/>
                  <a:pt x="339" y="200"/>
                </a:cubicBezTo>
                <a:cubicBezTo>
                  <a:pt x="340" y="201"/>
                  <a:pt x="340" y="201"/>
                  <a:pt x="340" y="201"/>
                </a:cubicBezTo>
                <a:cubicBezTo>
                  <a:pt x="341" y="202"/>
                  <a:pt x="341" y="202"/>
                  <a:pt x="341" y="202"/>
                </a:cubicBezTo>
                <a:cubicBezTo>
                  <a:pt x="343" y="203"/>
                  <a:pt x="343" y="203"/>
                  <a:pt x="343" y="203"/>
                </a:cubicBezTo>
                <a:cubicBezTo>
                  <a:pt x="345" y="203"/>
                  <a:pt x="345" y="203"/>
                  <a:pt x="345" y="203"/>
                </a:cubicBezTo>
                <a:cubicBezTo>
                  <a:pt x="345" y="203"/>
                  <a:pt x="345" y="203"/>
                  <a:pt x="345" y="203"/>
                </a:cubicBezTo>
                <a:cubicBezTo>
                  <a:pt x="347" y="203"/>
                  <a:pt x="347" y="203"/>
                  <a:pt x="347" y="203"/>
                </a:cubicBezTo>
                <a:cubicBezTo>
                  <a:pt x="346" y="202"/>
                  <a:pt x="346" y="202"/>
                  <a:pt x="346" y="202"/>
                </a:cubicBezTo>
                <a:cubicBezTo>
                  <a:pt x="346" y="201"/>
                  <a:pt x="346" y="201"/>
                  <a:pt x="346" y="201"/>
                </a:cubicBezTo>
                <a:cubicBezTo>
                  <a:pt x="345" y="200"/>
                  <a:pt x="345" y="200"/>
                  <a:pt x="345" y="200"/>
                </a:cubicBezTo>
                <a:cubicBezTo>
                  <a:pt x="344" y="199"/>
                  <a:pt x="344" y="199"/>
                  <a:pt x="344" y="199"/>
                </a:cubicBezTo>
                <a:cubicBezTo>
                  <a:pt x="343" y="199"/>
                  <a:pt x="343" y="199"/>
                  <a:pt x="343" y="199"/>
                </a:cubicBezTo>
                <a:cubicBezTo>
                  <a:pt x="341" y="198"/>
                  <a:pt x="341" y="198"/>
                  <a:pt x="341" y="198"/>
                </a:cubicBezTo>
                <a:cubicBezTo>
                  <a:pt x="341" y="198"/>
                  <a:pt x="341" y="198"/>
                  <a:pt x="341" y="198"/>
                </a:cubicBezTo>
                <a:cubicBezTo>
                  <a:pt x="339" y="197"/>
                  <a:pt x="339" y="197"/>
                  <a:pt x="339" y="197"/>
                </a:cubicBezTo>
                <a:cubicBezTo>
                  <a:pt x="338" y="197"/>
                  <a:pt x="338" y="197"/>
                  <a:pt x="338" y="197"/>
                </a:cubicBezTo>
                <a:cubicBezTo>
                  <a:pt x="336" y="196"/>
                  <a:pt x="336" y="196"/>
                  <a:pt x="336" y="196"/>
                </a:cubicBezTo>
                <a:cubicBezTo>
                  <a:pt x="335" y="195"/>
                  <a:pt x="335" y="195"/>
                  <a:pt x="335" y="195"/>
                </a:cubicBezTo>
                <a:cubicBezTo>
                  <a:pt x="335" y="193"/>
                  <a:pt x="335" y="193"/>
                  <a:pt x="335" y="193"/>
                </a:cubicBezTo>
                <a:cubicBezTo>
                  <a:pt x="337" y="192"/>
                  <a:pt x="337" y="192"/>
                  <a:pt x="337" y="192"/>
                </a:cubicBezTo>
                <a:cubicBezTo>
                  <a:pt x="336" y="191"/>
                  <a:pt x="336" y="191"/>
                  <a:pt x="336" y="191"/>
                </a:cubicBezTo>
                <a:cubicBezTo>
                  <a:pt x="337" y="190"/>
                  <a:pt x="337" y="190"/>
                  <a:pt x="337" y="190"/>
                </a:cubicBezTo>
                <a:cubicBezTo>
                  <a:pt x="338" y="190"/>
                  <a:pt x="338" y="190"/>
                  <a:pt x="338" y="190"/>
                </a:cubicBezTo>
                <a:cubicBezTo>
                  <a:pt x="338" y="188"/>
                  <a:pt x="338" y="188"/>
                  <a:pt x="338" y="188"/>
                </a:cubicBezTo>
                <a:cubicBezTo>
                  <a:pt x="338" y="186"/>
                  <a:pt x="338" y="186"/>
                  <a:pt x="338" y="186"/>
                </a:cubicBezTo>
                <a:cubicBezTo>
                  <a:pt x="339" y="185"/>
                  <a:pt x="339" y="185"/>
                  <a:pt x="339" y="185"/>
                </a:cubicBezTo>
                <a:cubicBezTo>
                  <a:pt x="340" y="185"/>
                  <a:pt x="340" y="185"/>
                  <a:pt x="340" y="185"/>
                </a:cubicBezTo>
                <a:cubicBezTo>
                  <a:pt x="340" y="184"/>
                  <a:pt x="340" y="184"/>
                  <a:pt x="340" y="184"/>
                </a:cubicBezTo>
                <a:cubicBezTo>
                  <a:pt x="342" y="183"/>
                  <a:pt x="342" y="183"/>
                  <a:pt x="342" y="183"/>
                </a:cubicBezTo>
                <a:cubicBezTo>
                  <a:pt x="343" y="183"/>
                  <a:pt x="343" y="183"/>
                  <a:pt x="343" y="183"/>
                </a:cubicBezTo>
                <a:cubicBezTo>
                  <a:pt x="343" y="182"/>
                  <a:pt x="343" y="182"/>
                  <a:pt x="343" y="182"/>
                </a:cubicBezTo>
                <a:cubicBezTo>
                  <a:pt x="343" y="182"/>
                  <a:pt x="343" y="182"/>
                  <a:pt x="343" y="182"/>
                </a:cubicBezTo>
                <a:cubicBezTo>
                  <a:pt x="342" y="182"/>
                  <a:pt x="342" y="182"/>
                  <a:pt x="342" y="182"/>
                </a:cubicBezTo>
                <a:cubicBezTo>
                  <a:pt x="342" y="181"/>
                  <a:pt x="342" y="181"/>
                  <a:pt x="342" y="181"/>
                </a:cubicBezTo>
                <a:cubicBezTo>
                  <a:pt x="343" y="179"/>
                  <a:pt x="343" y="179"/>
                  <a:pt x="343" y="179"/>
                </a:cubicBezTo>
                <a:cubicBezTo>
                  <a:pt x="344" y="178"/>
                  <a:pt x="344" y="178"/>
                  <a:pt x="344" y="178"/>
                </a:cubicBezTo>
                <a:cubicBezTo>
                  <a:pt x="345" y="177"/>
                  <a:pt x="345" y="177"/>
                  <a:pt x="345" y="177"/>
                </a:cubicBezTo>
                <a:cubicBezTo>
                  <a:pt x="346" y="176"/>
                  <a:pt x="346" y="176"/>
                  <a:pt x="346" y="176"/>
                </a:cubicBezTo>
                <a:cubicBezTo>
                  <a:pt x="346" y="176"/>
                  <a:pt x="346" y="176"/>
                  <a:pt x="346" y="176"/>
                </a:cubicBezTo>
                <a:cubicBezTo>
                  <a:pt x="347" y="176"/>
                  <a:pt x="347" y="176"/>
                  <a:pt x="347" y="176"/>
                </a:cubicBezTo>
                <a:cubicBezTo>
                  <a:pt x="347" y="174"/>
                  <a:pt x="347" y="174"/>
                  <a:pt x="347" y="174"/>
                </a:cubicBezTo>
                <a:cubicBezTo>
                  <a:pt x="348" y="174"/>
                  <a:pt x="348" y="174"/>
                  <a:pt x="348" y="174"/>
                </a:cubicBezTo>
                <a:cubicBezTo>
                  <a:pt x="348" y="175"/>
                  <a:pt x="348" y="175"/>
                  <a:pt x="348" y="175"/>
                </a:cubicBezTo>
                <a:cubicBezTo>
                  <a:pt x="349" y="174"/>
                  <a:pt x="349" y="174"/>
                  <a:pt x="349" y="174"/>
                </a:cubicBezTo>
                <a:cubicBezTo>
                  <a:pt x="349" y="173"/>
                  <a:pt x="349" y="173"/>
                  <a:pt x="349" y="173"/>
                </a:cubicBezTo>
                <a:cubicBezTo>
                  <a:pt x="350" y="171"/>
                  <a:pt x="350" y="171"/>
                  <a:pt x="350" y="171"/>
                </a:cubicBezTo>
                <a:cubicBezTo>
                  <a:pt x="351" y="171"/>
                  <a:pt x="351" y="171"/>
                  <a:pt x="351" y="171"/>
                </a:cubicBezTo>
                <a:cubicBezTo>
                  <a:pt x="351" y="170"/>
                  <a:pt x="351" y="170"/>
                  <a:pt x="351" y="170"/>
                </a:cubicBezTo>
                <a:cubicBezTo>
                  <a:pt x="352" y="169"/>
                  <a:pt x="352" y="169"/>
                  <a:pt x="352" y="169"/>
                </a:cubicBezTo>
                <a:cubicBezTo>
                  <a:pt x="353" y="169"/>
                  <a:pt x="353" y="169"/>
                  <a:pt x="353" y="169"/>
                </a:cubicBezTo>
                <a:cubicBezTo>
                  <a:pt x="354" y="168"/>
                  <a:pt x="354" y="168"/>
                  <a:pt x="354" y="168"/>
                </a:cubicBezTo>
                <a:cubicBezTo>
                  <a:pt x="355" y="168"/>
                  <a:pt x="355" y="168"/>
                  <a:pt x="355" y="168"/>
                </a:cubicBezTo>
                <a:cubicBezTo>
                  <a:pt x="356" y="168"/>
                  <a:pt x="356" y="168"/>
                  <a:pt x="356" y="168"/>
                </a:cubicBezTo>
                <a:cubicBezTo>
                  <a:pt x="355" y="167"/>
                  <a:pt x="355" y="167"/>
                  <a:pt x="355" y="167"/>
                </a:cubicBezTo>
                <a:cubicBezTo>
                  <a:pt x="356" y="166"/>
                  <a:pt x="356" y="166"/>
                  <a:pt x="356" y="166"/>
                </a:cubicBezTo>
                <a:cubicBezTo>
                  <a:pt x="358" y="165"/>
                  <a:pt x="358" y="165"/>
                  <a:pt x="358" y="165"/>
                </a:cubicBezTo>
                <a:cubicBezTo>
                  <a:pt x="360" y="163"/>
                  <a:pt x="360" y="163"/>
                  <a:pt x="360" y="163"/>
                </a:cubicBezTo>
                <a:cubicBezTo>
                  <a:pt x="363" y="162"/>
                  <a:pt x="363" y="162"/>
                  <a:pt x="363" y="162"/>
                </a:cubicBezTo>
                <a:cubicBezTo>
                  <a:pt x="366" y="162"/>
                  <a:pt x="366" y="162"/>
                  <a:pt x="366" y="162"/>
                </a:cubicBezTo>
                <a:cubicBezTo>
                  <a:pt x="367" y="161"/>
                  <a:pt x="367" y="161"/>
                  <a:pt x="367" y="161"/>
                </a:cubicBezTo>
                <a:cubicBezTo>
                  <a:pt x="368" y="161"/>
                  <a:pt x="368" y="161"/>
                  <a:pt x="368" y="161"/>
                </a:cubicBezTo>
                <a:cubicBezTo>
                  <a:pt x="369" y="161"/>
                  <a:pt x="369" y="161"/>
                  <a:pt x="369" y="161"/>
                </a:cubicBezTo>
                <a:cubicBezTo>
                  <a:pt x="370" y="161"/>
                  <a:pt x="370" y="161"/>
                  <a:pt x="370" y="161"/>
                </a:cubicBezTo>
                <a:cubicBezTo>
                  <a:pt x="372" y="161"/>
                  <a:pt x="372" y="161"/>
                  <a:pt x="372" y="161"/>
                </a:cubicBezTo>
                <a:cubicBezTo>
                  <a:pt x="373" y="162"/>
                  <a:pt x="373" y="162"/>
                  <a:pt x="373" y="162"/>
                </a:cubicBezTo>
                <a:cubicBezTo>
                  <a:pt x="376" y="164"/>
                  <a:pt x="376" y="164"/>
                  <a:pt x="376" y="164"/>
                </a:cubicBezTo>
                <a:cubicBezTo>
                  <a:pt x="376" y="164"/>
                  <a:pt x="376" y="164"/>
                  <a:pt x="376" y="164"/>
                </a:cubicBezTo>
                <a:cubicBezTo>
                  <a:pt x="376" y="165"/>
                  <a:pt x="376" y="165"/>
                  <a:pt x="376" y="165"/>
                </a:cubicBezTo>
                <a:cubicBezTo>
                  <a:pt x="374" y="166"/>
                  <a:pt x="374" y="166"/>
                  <a:pt x="374" y="166"/>
                </a:cubicBezTo>
                <a:cubicBezTo>
                  <a:pt x="372" y="167"/>
                  <a:pt x="372" y="167"/>
                  <a:pt x="372" y="167"/>
                </a:cubicBezTo>
                <a:cubicBezTo>
                  <a:pt x="371" y="167"/>
                  <a:pt x="371" y="167"/>
                  <a:pt x="371" y="167"/>
                </a:cubicBezTo>
                <a:cubicBezTo>
                  <a:pt x="370" y="168"/>
                  <a:pt x="370" y="168"/>
                  <a:pt x="370" y="168"/>
                </a:cubicBezTo>
                <a:cubicBezTo>
                  <a:pt x="369" y="169"/>
                  <a:pt x="369" y="169"/>
                  <a:pt x="369" y="169"/>
                </a:cubicBezTo>
                <a:cubicBezTo>
                  <a:pt x="368" y="169"/>
                  <a:pt x="368" y="169"/>
                  <a:pt x="368" y="169"/>
                </a:cubicBezTo>
                <a:cubicBezTo>
                  <a:pt x="366" y="172"/>
                  <a:pt x="366" y="172"/>
                  <a:pt x="366" y="172"/>
                </a:cubicBezTo>
                <a:cubicBezTo>
                  <a:pt x="363" y="174"/>
                  <a:pt x="363" y="174"/>
                  <a:pt x="363" y="174"/>
                </a:cubicBezTo>
                <a:cubicBezTo>
                  <a:pt x="362" y="176"/>
                  <a:pt x="362" y="176"/>
                  <a:pt x="362" y="176"/>
                </a:cubicBezTo>
                <a:cubicBezTo>
                  <a:pt x="361" y="176"/>
                  <a:pt x="361" y="176"/>
                  <a:pt x="361" y="176"/>
                </a:cubicBezTo>
                <a:cubicBezTo>
                  <a:pt x="360" y="178"/>
                  <a:pt x="360" y="178"/>
                  <a:pt x="360" y="178"/>
                </a:cubicBezTo>
                <a:cubicBezTo>
                  <a:pt x="359" y="180"/>
                  <a:pt x="359" y="180"/>
                  <a:pt x="359" y="180"/>
                </a:cubicBezTo>
                <a:cubicBezTo>
                  <a:pt x="360" y="181"/>
                  <a:pt x="360" y="181"/>
                  <a:pt x="360" y="181"/>
                </a:cubicBezTo>
                <a:cubicBezTo>
                  <a:pt x="361" y="182"/>
                  <a:pt x="361" y="182"/>
                  <a:pt x="361" y="182"/>
                </a:cubicBezTo>
                <a:cubicBezTo>
                  <a:pt x="361" y="183"/>
                  <a:pt x="361" y="183"/>
                  <a:pt x="361" y="183"/>
                </a:cubicBezTo>
                <a:cubicBezTo>
                  <a:pt x="360" y="184"/>
                  <a:pt x="360" y="184"/>
                  <a:pt x="360" y="184"/>
                </a:cubicBezTo>
                <a:cubicBezTo>
                  <a:pt x="359" y="185"/>
                  <a:pt x="359" y="185"/>
                  <a:pt x="359" y="185"/>
                </a:cubicBezTo>
                <a:cubicBezTo>
                  <a:pt x="358" y="186"/>
                  <a:pt x="358" y="186"/>
                  <a:pt x="358" y="186"/>
                </a:cubicBezTo>
                <a:cubicBezTo>
                  <a:pt x="357" y="187"/>
                  <a:pt x="357" y="187"/>
                  <a:pt x="357" y="187"/>
                </a:cubicBezTo>
                <a:cubicBezTo>
                  <a:pt x="357" y="189"/>
                  <a:pt x="357" y="189"/>
                  <a:pt x="357" y="189"/>
                </a:cubicBezTo>
                <a:cubicBezTo>
                  <a:pt x="356" y="189"/>
                  <a:pt x="356" y="189"/>
                  <a:pt x="356" y="189"/>
                </a:cubicBezTo>
                <a:cubicBezTo>
                  <a:pt x="356" y="190"/>
                  <a:pt x="356" y="190"/>
                  <a:pt x="356" y="190"/>
                </a:cubicBezTo>
                <a:cubicBezTo>
                  <a:pt x="357" y="191"/>
                  <a:pt x="357" y="191"/>
                  <a:pt x="357" y="191"/>
                </a:cubicBezTo>
                <a:cubicBezTo>
                  <a:pt x="357" y="193"/>
                  <a:pt x="357" y="193"/>
                  <a:pt x="357" y="193"/>
                </a:cubicBezTo>
                <a:cubicBezTo>
                  <a:pt x="357" y="194"/>
                  <a:pt x="357" y="194"/>
                  <a:pt x="357" y="194"/>
                </a:cubicBezTo>
                <a:cubicBezTo>
                  <a:pt x="357" y="196"/>
                  <a:pt x="357" y="196"/>
                  <a:pt x="357" y="196"/>
                </a:cubicBezTo>
                <a:cubicBezTo>
                  <a:pt x="358" y="197"/>
                  <a:pt x="358" y="197"/>
                  <a:pt x="358" y="197"/>
                </a:cubicBezTo>
                <a:cubicBezTo>
                  <a:pt x="359" y="198"/>
                  <a:pt x="359" y="198"/>
                  <a:pt x="359" y="198"/>
                </a:cubicBezTo>
                <a:cubicBezTo>
                  <a:pt x="360" y="198"/>
                  <a:pt x="360" y="198"/>
                  <a:pt x="360" y="198"/>
                </a:cubicBezTo>
                <a:cubicBezTo>
                  <a:pt x="360" y="200"/>
                  <a:pt x="360" y="200"/>
                  <a:pt x="360" y="200"/>
                </a:cubicBezTo>
                <a:cubicBezTo>
                  <a:pt x="359" y="201"/>
                  <a:pt x="359" y="201"/>
                  <a:pt x="359" y="201"/>
                </a:cubicBezTo>
                <a:cubicBezTo>
                  <a:pt x="359" y="200"/>
                  <a:pt x="359" y="200"/>
                  <a:pt x="359" y="200"/>
                </a:cubicBezTo>
                <a:cubicBezTo>
                  <a:pt x="358" y="200"/>
                  <a:pt x="358" y="200"/>
                  <a:pt x="358" y="200"/>
                </a:cubicBezTo>
                <a:cubicBezTo>
                  <a:pt x="358" y="200"/>
                  <a:pt x="358" y="200"/>
                  <a:pt x="358" y="200"/>
                </a:cubicBezTo>
                <a:cubicBezTo>
                  <a:pt x="357" y="200"/>
                  <a:pt x="357" y="200"/>
                  <a:pt x="357" y="200"/>
                </a:cubicBezTo>
                <a:cubicBezTo>
                  <a:pt x="357" y="201"/>
                  <a:pt x="357" y="201"/>
                  <a:pt x="357" y="201"/>
                </a:cubicBezTo>
                <a:cubicBezTo>
                  <a:pt x="356" y="201"/>
                  <a:pt x="356" y="201"/>
                  <a:pt x="356" y="201"/>
                </a:cubicBezTo>
                <a:cubicBezTo>
                  <a:pt x="356" y="201"/>
                  <a:pt x="356" y="201"/>
                  <a:pt x="356" y="201"/>
                </a:cubicBezTo>
                <a:cubicBezTo>
                  <a:pt x="357" y="202"/>
                  <a:pt x="357" y="202"/>
                  <a:pt x="357" y="202"/>
                </a:cubicBezTo>
                <a:cubicBezTo>
                  <a:pt x="358" y="202"/>
                  <a:pt x="358" y="202"/>
                  <a:pt x="358" y="202"/>
                </a:cubicBezTo>
                <a:cubicBezTo>
                  <a:pt x="358" y="202"/>
                  <a:pt x="358" y="202"/>
                  <a:pt x="358" y="202"/>
                </a:cubicBezTo>
                <a:cubicBezTo>
                  <a:pt x="359" y="202"/>
                  <a:pt x="359" y="202"/>
                  <a:pt x="359" y="202"/>
                </a:cubicBezTo>
                <a:cubicBezTo>
                  <a:pt x="358" y="203"/>
                  <a:pt x="358" y="203"/>
                  <a:pt x="358" y="203"/>
                </a:cubicBezTo>
                <a:cubicBezTo>
                  <a:pt x="357" y="205"/>
                  <a:pt x="357" y="205"/>
                  <a:pt x="357" y="205"/>
                </a:cubicBezTo>
                <a:cubicBezTo>
                  <a:pt x="357" y="206"/>
                  <a:pt x="357" y="206"/>
                  <a:pt x="357" y="206"/>
                </a:cubicBezTo>
                <a:cubicBezTo>
                  <a:pt x="357" y="207"/>
                  <a:pt x="357" y="207"/>
                  <a:pt x="357" y="207"/>
                </a:cubicBezTo>
                <a:cubicBezTo>
                  <a:pt x="359" y="205"/>
                  <a:pt x="359" y="205"/>
                  <a:pt x="359" y="205"/>
                </a:cubicBezTo>
                <a:cubicBezTo>
                  <a:pt x="359" y="205"/>
                  <a:pt x="359" y="205"/>
                  <a:pt x="359" y="205"/>
                </a:cubicBezTo>
                <a:cubicBezTo>
                  <a:pt x="360" y="202"/>
                  <a:pt x="360" y="202"/>
                  <a:pt x="360" y="202"/>
                </a:cubicBezTo>
                <a:cubicBezTo>
                  <a:pt x="360" y="202"/>
                  <a:pt x="360" y="202"/>
                  <a:pt x="360" y="202"/>
                </a:cubicBezTo>
                <a:cubicBezTo>
                  <a:pt x="361" y="199"/>
                  <a:pt x="361" y="199"/>
                  <a:pt x="361" y="199"/>
                </a:cubicBezTo>
                <a:cubicBezTo>
                  <a:pt x="361" y="199"/>
                  <a:pt x="361" y="199"/>
                  <a:pt x="361" y="199"/>
                </a:cubicBezTo>
                <a:cubicBezTo>
                  <a:pt x="362" y="198"/>
                  <a:pt x="362" y="198"/>
                  <a:pt x="362" y="198"/>
                </a:cubicBezTo>
                <a:cubicBezTo>
                  <a:pt x="362" y="197"/>
                  <a:pt x="362" y="197"/>
                  <a:pt x="362" y="197"/>
                </a:cubicBezTo>
                <a:cubicBezTo>
                  <a:pt x="362" y="196"/>
                  <a:pt x="362" y="196"/>
                  <a:pt x="362" y="196"/>
                </a:cubicBezTo>
                <a:cubicBezTo>
                  <a:pt x="362" y="195"/>
                  <a:pt x="362" y="195"/>
                  <a:pt x="362" y="195"/>
                </a:cubicBezTo>
                <a:cubicBezTo>
                  <a:pt x="361" y="195"/>
                  <a:pt x="361" y="195"/>
                  <a:pt x="361" y="195"/>
                </a:cubicBezTo>
                <a:cubicBezTo>
                  <a:pt x="361" y="194"/>
                  <a:pt x="361" y="194"/>
                  <a:pt x="361" y="194"/>
                </a:cubicBezTo>
                <a:cubicBezTo>
                  <a:pt x="361" y="193"/>
                  <a:pt x="361" y="193"/>
                  <a:pt x="361" y="193"/>
                </a:cubicBezTo>
                <a:cubicBezTo>
                  <a:pt x="360" y="193"/>
                  <a:pt x="360" y="193"/>
                  <a:pt x="360" y="193"/>
                </a:cubicBezTo>
                <a:cubicBezTo>
                  <a:pt x="360" y="191"/>
                  <a:pt x="360" y="191"/>
                  <a:pt x="360" y="191"/>
                </a:cubicBezTo>
                <a:cubicBezTo>
                  <a:pt x="360" y="190"/>
                  <a:pt x="360" y="190"/>
                  <a:pt x="360" y="190"/>
                </a:cubicBezTo>
                <a:cubicBezTo>
                  <a:pt x="359" y="188"/>
                  <a:pt x="359" y="188"/>
                  <a:pt x="359" y="188"/>
                </a:cubicBezTo>
                <a:cubicBezTo>
                  <a:pt x="360" y="188"/>
                  <a:pt x="360" y="188"/>
                  <a:pt x="360" y="188"/>
                </a:cubicBezTo>
                <a:cubicBezTo>
                  <a:pt x="360" y="189"/>
                  <a:pt x="360" y="189"/>
                  <a:pt x="360" y="189"/>
                </a:cubicBezTo>
                <a:cubicBezTo>
                  <a:pt x="361" y="189"/>
                  <a:pt x="361" y="189"/>
                  <a:pt x="361" y="189"/>
                </a:cubicBezTo>
                <a:cubicBezTo>
                  <a:pt x="362" y="188"/>
                  <a:pt x="362" y="188"/>
                  <a:pt x="362" y="188"/>
                </a:cubicBezTo>
                <a:cubicBezTo>
                  <a:pt x="363" y="187"/>
                  <a:pt x="363" y="187"/>
                  <a:pt x="363" y="187"/>
                </a:cubicBezTo>
                <a:cubicBezTo>
                  <a:pt x="363" y="186"/>
                  <a:pt x="363" y="186"/>
                  <a:pt x="363" y="186"/>
                </a:cubicBezTo>
                <a:cubicBezTo>
                  <a:pt x="363" y="185"/>
                  <a:pt x="363" y="185"/>
                  <a:pt x="363" y="185"/>
                </a:cubicBezTo>
                <a:cubicBezTo>
                  <a:pt x="364" y="186"/>
                  <a:pt x="364" y="186"/>
                  <a:pt x="364" y="186"/>
                </a:cubicBezTo>
                <a:cubicBezTo>
                  <a:pt x="365" y="187"/>
                  <a:pt x="365" y="187"/>
                  <a:pt x="365" y="187"/>
                </a:cubicBezTo>
                <a:cubicBezTo>
                  <a:pt x="365" y="188"/>
                  <a:pt x="365" y="188"/>
                  <a:pt x="365" y="188"/>
                </a:cubicBezTo>
                <a:cubicBezTo>
                  <a:pt x="365" y="189"/>
                  <a:pt x="365" y="189"/>
                  <a:pt x="365" y="189"/>
                </a:cubicBezTo>
                <a:cubicBezTo>
                  <a:pt x="366" y="188"/>
                  <a:pt x="366" y="188"/>
                  <a:pt x="366" y="188"/>
                </a:cubicBezTo>
                <a:cubicBezTo>
                  <a:pt x="366" y="186"/>
                  <a:pt x="366" y="186"/>
                  <a:pt x="366" y="186"/>
                </a:cubicBezTo>
                <a:cubicBezTo>
                  <a:pt x="367" y="185"/>
                  <a:pt x="367" y="185"/>
                  <a:pt x="367" y="185"/>
                </a:cubicBezTo>
                <a:cubicBezTo>
                  <a:pt x="368" y="185"/>
                  <a:pt x="368" y="185"/>
                  <a:pt x="368" y="185"/>
                </a:cubicBezTo>
                <a:cubicBezTo>
                  <a:pt x="368" y="185"/>
                  <a:pt x="368" y="185"/>
                  <a:pt x="368" y="185"/>
                </a:cubicBezTo>
                <a:cubicBezTo>
                  <a:pt x="368" y="184"/>
                  <a:pt x="368" y="184"/>
                  <a:pt x="368" y="184"/>
                </a:cubicBezTo>
                <a:cubicBezTo>
                  <a:pt x="369" y="184"/>
                  <a:pt x="369" y="184"/>
                  <a:pt x="369" y="184"/>
                </a:cubicBezTo>
                <a:cubicBezTo>
                  <a:pt x="369" y="183"/>
                  <a:pt x="369" y="183"/>
                  <a:pt x="369" y="183"/>
                </a:cubicBezTo>
                <a:cubicBezTo>
                  <a:pt x="368" y="183"/>
                  <a:pt x="368" y="183"/>
                  <a:pt x="368" y="183"/>
                </a:cubicBezTo>
                <a:cubicBezTo>
                  <a:pt x="366" y="185"/>
                  <a:pt x="366" y="185"/>
                  <a:pt x="366" y="185"/>
                </a:cubicBezTo>
                <a:cubicBezTo>
                  <a:pt x="365" y="185"/>
                  <a:pt x="365" y="185"/>
                  <a:pt x="365" y="185"/>
                </a:cubicBezTo>
                <a:cubicBezTo>
                  <a:pt x="365" y="183"/>
                  <a:pt x="365" y="183"/>
                  <a:pt x="365" y="183"/>
                </a:cubicBezTo>
                <a:cubicBezTo>
                  <a:pt x="364" y="183"/>
                  <a:pt x="364" y="183"/>
                  <a:pt x="364" y="183"/>
                </a:cubicBezTo>
                <a:cubicBezTo>
                  <a:pt x="364" y="182"/>
                  <a:pt x="364" y="182"/>
                  <a:pt x="364" y="182"/>
                </a:cubicBezTo>
                <a:cubicBezTo>
                  <a:pt x="366" y="181"/>
                  <a:pt x="366" y="181"/>
                  <a:pt x="366" y="181"/>
                </a:cubicBezTo>
                <a:cubicBezTo>
                  <a:pt x="365" y="180"/>
                  <a:pt x="365" y="180"/>
                  <a:pt x="365" y="180"/>
                </a:cubicBezTo>
                <a:cubicBezTo>
                  <a:pt x="365" y="179"/>
                  <a:pt x="365" y="179"/>
                  <a:pt x="365" y="179"/>
                </a:cubicBezTo>
                <a:cubicBezTo>
                  <a:pt x="366" y="177"/>
                  <a:pt x="366" y="177"/>
                  <a:pt x="366" y="177"/>
                </a:cubicBezTo>
                <a:cubicBezTo>
                  <a:pt x="366" y="176"/>
                  <a:pt x="366" y="176"/>
                  <a:pt x="366" y="176"/>
                </a:cubicBezTo>
                <a:cubicBezTo>
                  <a:pt x="367" y="175"/>
                  <a:pt x="367" y="175"/>
                  <a:pt x="367" y="175"/>
                </a:cubicBezTo>
                <a:cubicBezTo>
                  <a:pt x="369" y="175"/>
                  <a:pt x="369" y="175"/>
                  <a:pt x="369" y="175"/>
                </a:cubicBezTo>
                <a:cubicBezTo>
                  <a:pt x="370" y="176"/>
                  <a:pt x="370" y="176"/>
                  <a:pt x="370" y="176"/>
                </a:cubicBezTo>
                <a:cubicBezTo>
                  <a:pt x="370" y="177"/>
                  <a:pt x="370" y="177"/>
                  <a:pt x="370" y="177"/>
                </a:cubicBezTo>
                <a:cubicBezTo>
                  <a:pt x="372" y="178"/>
                  <a:pt x="372" y="178"/>
                  <a:pt x="372" y="178"/>
                </a:cubicBezTo>
                <a:cubicBezTo>
                  <a:pt x="372" y="179"/>
                  <a:pt x="372" y="179"/>
                  <a:pt x="372" y="179"/>
                </a:cubicBezTo>
                <a:cubicBezTo>
                  <a:pt x="373" y="179"/>
                  <a:pt x="373" y="179"/>
                  <a:pt x="373" y="179"/>
                </a:cubicBezTo>
                <a:cubicBezTo>
                  <a:pt x="373" y="179"/>
                  <a:pt x="373" y="179"/>
                  <a:pt x="373" y="179"/>
                </a:cubicBezTo>
                <a:cubicBezTo>
                  <a:pt x="372" y="178"/>
                  <a:pt x="372" y="178"/>
                  <a:pt x="372" y="178"/>
                </a:cubicBezTo>
                <a:cubicBezTo>
                  <a:pt x="371" y="177"/>
                  <a:pt x="371" y="177"/>
                  <a:pt x="371" y="177"/>
                </a:cubicBezTo>
                <a:cubicBezTo>
                  <a:pt x="370" y="175"/>
                  <a:pt x="370" y="175"/>
                  <a:pt x="370" y="175"/>
                </a:cubicBezTo>
                <a:cubicBezTo>
                  <a:pt x="370" y="175"/>
                  <a:pt x="370" y="175"/>
                  <a:pt x="370" y="175"/>
                </a:cubicBezTo>
                <a:cubicBezTo>
                  <a:pt x="369" y="175"/>
                  <a:pt x="369" y="175"/>
                  <a:pt x="369" y="175"/>
                </a:cubicBezTo>
                <a:cubicBezTo>
                  <a:pt x="368" y="174"/>
                  <a:pt x="368" y="174"/>
                  <a:pt x="368" y="174"/>
                </a:cubicBezTo>
                <a:cubicBezTo>
                  <a:pt x="368" y="174"/>
                  <a:pt x="368" y="174"/>
                  <a:pt x="368" y="174"/>
                </a:cubicBezTo>
                <a:cubicBezTo>
                  <a:pt x="371" y="174"/>
                  <a:pt x="371" y="174"/>
                  <a:pt x="371" y="174"/>
                </a:cubicBezTo>
                <a:cubicBezTo>
                  <a:pt x="371" y="173"/>
                  <a:pt x="371" y="173"/>
                  <a:pt x="371" y="173"/>
                </a:cubicBezTo>
                <a:cubicBezTo>
                  <a:pt x="371" y="173"/>
                  <a:pt x="371" y="173"/>
                  <a:pt x="371" y="173"/>
                </a:cubicBezTo>
                <a:cubicBezTo>
                  <a:pt x="373" y="175"/>
                  <a:pt x="373" y="175"/>
                  <a:pt x="373" y="175"/>
                </a:cubicBezTo>
                <a:cubicBezTo>
                  <a:pt x="375" y="176"/>
                  <a:pt x="375" y="176"/>
                  <a:pt x="375" y="176"/>
                </a:cubicBezTo>
                <a:cubicBezTo>
                  <a:pt x="376" y="176"/>
                  <a:pt x="376" y="176"/>
                  <a:pt x="376" y="176"/>
                </a:cubicBezTo>
                <a:cubicBezTo>
                  <a:pt x="374" y="175"/>
                  <a:pt x="374" y="175"/>
                  <a:pt x="374" y="175"/>
                </a:cubicBezTo>
                <a:cubicBezTo>
                  <a:pt x="373" y="173"/>
                  <a:pt x="373" y="173"/>
                  <a:pt x="373" y="173"/>
                </a:cubicBezTo>
                <a:cubicBezTo>
                  <a:pt x="372" y="172"/>
                  <a:pt x="372" y="172"/>
                  <a:pt x="372" y="172"/>
                </a:cubicBezTo>
                <a:cubicBezTo>
                  <a:pt x="372" y="172"/>
                  <a:pt x="372" y="172"/>
                  <a:pt x="372" y="172"/>
                </a:cubicBezTo>
                <a:cubicBezTo>
                  <a:pt x="372" y="170"/>
                  <a:pt x="372" y="170"/>
                  <a:pt x="372" y="170"/>
                </a:cubicBezTo>
                <a:cubicBezTo>
                  <a:pt x="374" y="170"/>
                  <a:pt x="374" y="170"/>
                  <a:pt x="374" y="170"/>
                </a:cubicBezTo>
                <a:cubicBezTo>
                  <a:pt x="375" y="170"/>
                  <a:pt x="375" y="170"/>
                  <a:pt x="375" y="170"/>
                </a:cubicBezTo>
                <a:cubicBezTo>
                  <a:pt x="374" y="171"/>
                  <a:pt x="374" y="171"/>
                  <a:pt x="374" y="171"/>
                </a:cubicBezTo>
                <a:cubicBezTo>
                  <a:pt x="375" y="172"/>
                  <a:pt x="375" y="172"/>
                  <a:pt x="375" y="172"/>
                </a:cubicBezTo>
                <a:cubicBezTo>
                  <a:pt x="375" y="172"/>
                  <a:pt x="375" y="172"/>
                  <a:pt x="375" y="172"/>
                </a:cubicBezTo>
                <a:cubicBezTo>
                  <a:pt x="375" y="171"/>
                  <a:pt x="375" y="171"/>
                  <a:pt x="375" y="171"/>
                </a:cubicBezTo>
                <a:cubicBezTo>
                  <a:pt x="376" y="170"/>
                  <a:pt x="376" y="170"/>
                  <a:pt x="376" y="170"/>
                </a:cubicBezTo>
                <a:cubicBezTo>
                  <a:pt x="377" y="170"/>
                  <a:pt x="377" y="170"/>
                  <a:pt x="377" y="170"/>
                </a:cubicBezTo>
                <a:cubicBezTo>
                  <a:pt x="378" y="171"/>
                  <a:pt x="378" y="171"/>
                  <a:pt x="378" y="171"/>
                </a:cubicBezTo>
                <a:cubicBezTo>
                  <a:pt x="378" y="172"/>
                  <a:pt x="378" y="172"/>
                  <a:pt x="378" y="172"/>
                </a:cubicBezTo>
                <a:cubicBezTo>
                  <a:pt x="379" y="173"/>
                  <a:pt x="379" y="173"/>
                  <a:pt x="379" y="173"/>
                </a:cubicBezTo>
                <a:cubicBezTo>
                  <a:pt x="379" y="173"/>
                  <a:pt x="379" y="173"/>
                  <a:pt x="379" y="173"/>
                </a:cubicBezTo>
                <a:cubicBezTo>
                  <a:pt x="379" y="172"/>
                  <a:pt x="379" y="172"/>
                  <a:pt x="379" y="172"/>
                </a:cubicBezTo>
                <a:cubicBezTo>
                  <a:pt x="378" y="170"/>
                  <a:pt x="378" y="170"/>
                  <a:pt x="378" y="170"/>
                </a:cubicBezTo>
                <a:cubicBezTo>
                  <a:pt x="379" y="170"/>
                  <a:pt x="379" y="170"/>
                  <a:pt x="379" y="170"/>
                </a:cubicBezTo>
                <a:cubicBezTo>
                  <a:pt x="382" y="169"/>
                  <a:pt x="382" y="169"/>
                  <a:pt x="382" y="169"/>
                </a:cubicBezTo>
                <a:cubicBezTo>
                  <a:pt x="384" y="168"/>
                  <a:pt x="384" y="168"/>
                  <a:pt x="384" y="168"/>
                </a:cubicBezTo>
                <a:cubicBezTo>
                  <a:pt x="385" y="168"/>
                  <a:pt x="385" y="168"/>
                  <a:pt x="385" y="168"/>
                </a:cubicBezTo>
                <a:cubicBezTo>
                  <a:pt x="386" y="167"/>
                  <a:pt x="386" y="167"/>
                  <a:pt x="386" y="167"/>
                </a:cubicBezTo>
                <a:cubicBezTo>
                  <a:pt x="388" y="168"/>
                  <a:pt x="388" y="168"/>
                  <a:pt x="388" y="168"/>
                </a:cubicBezTo>
                <a:cubicBezTo>
                  <a:pt x="390" y="168"/>
                  <a:pt x="390" y="168"/>
                  <a:pt x="390" y="168"/>
                </a:cubicBezTo>
                <a:cubicBezTo>
                  <a:pt x="392" y="168"/>
                  <a:pt x="392" y="168"/>
                  <a:pt x="392" y="168"/>
                </a:cubicBezTo>
                <a:cubicBezTo>
                  <a:pt x="392" y="169"/>
                  <a:pt x="392" y="169"/>
                  <a:pt x="392" y="169"/>
                </a:cubicBezTo>
                <a:cubicBezTo>
                  <a:pt x="392" y="169"/>
                  <a:pt x="392" y="169"/>
                  <a:pt x="392" y="169"/>
                </a:cubicBezTo>
                <a:cubicBezTo>
                  <a:pt x="392" y="172"/>
                  <a:pt x="392" y="172"/>
                  <a:pt x="392" y="172"/>
                </a:cubicBezTo>
                <a:cubicBezTo>
                  <a:pt x="391" y="173"/>
                  <a:pt x="391" y="173"/>
                  <a:pt x="391" y="173"/>
                </a:cubicBezTo>
                <a:cubicBezTo>
                  <a:pt x="391" y="174"/>
                  <a:pt x="391" y="174"/>
                  <a:pt x="391" y="174"/>
                </a:cubicBezTo>
                <a:cubicBezTo>
                  <a:pt x="390" y="175"/>
                  <a:pt x="390" y="175"/>
                  <a:pt x="390" y="175"/>
                </a:cubicBezTo>
                <a:cubicBezTo>
                  <a:pt x="390" y="176"/>
                  <a:pt x="390" y="176"/>
                  <a:pt x="390" y="176"/>
                </a:cubicBezTo>
                <a:cubicBezTo>
                  <a:pt x="391" y="177"/>
                  <a:pt x="391" y="177"/>
                  <a:pt x="391" y="177"/>
                </a:cubicBezTo>
                <a:cubicBezTo>
                  <a:pt x="392" y="178"/>
                  <a:pt x="392" y="178"/>
                  <a:pt x="392" y="178"/>
                </a:cubicBezTo>
                <a:cubicBezTo>
                  <a:pt x="391" y="178"/>
                  <a:pt x="391" y="178"/>
                  <a:pt x="391" y="178"/>
                </a:cubicBezTo>
                <a:cubicBezTo>
                  <a:pt x="390" y="180"/>
                  <a:pt x="390" y="180"/>
                  <a:pt x="390" y="180"/>
                </a:cubicBezTo>
                <a:cubicBezTo>
                  <a:pt x="389" y="181"/>
                  <a:pt x="389" y="181"/>
                  <a:pt x="389" y="181"/>
                </a:cubicBezTo>
                <a:cubicBezTo>
                  <a:pt x="389" y="182"/>
                  <a:pt x="389" y="182"/>
                  <a:pt x="389" y="182"/>
                </a:cubicBezTo>
                <a:cubicBezTo>
                  <a:pt x="390" y="183"/>
                  <a:pt x="390" y="183"/>
                  <a:pt x="390" y="183"/>
                </a:cubicBezTo>
                <a:cubicBezTo>
                  <a:pt x="390" y="184"/>
                  <a:pt x="390" y="184"/>
                  <a:pt x="390" y="184"/>
                </a:cubicBezTo>
                <a:cubicBezTo>
                  <a:pt x="389" y="185"/>
                  <a:pt x="389" y="185"/>
                  <a:pt x="389" y="185"/>
                </a:cubicBezTo>
                <a:cubicBezTo>
                  <a:pt x="388" y="185"/>
                  <a:pt x="388" y="185"/>
                  <a:pt x="388" y="185"/>
                </a:cubicBezTo>
                <a:cubicBezTo>
                  <a:pt x="388" y="186"/>
                  <a:pt x="388" y="186"/>
                  <a:pt x="388" y="186"/>
                </a:cubicBezTo>
                <a:cubicBezTo>
                  <a:pt x="387" y="186"/>
                  <a:pt x="387" y="186"/>
                  <a:pt x="387" y="186"/>
                </a:cubicBezTo>
                <a:cubicBezTo>
                  <a:pt x="386" y="187"/>
                  <a:pt x="386" y="187"/>
                  <a:pt x="386" y="187"/>
                </a:cubicBezTo>
                <a:cubicBezTo>
                  <a:pt x="385" y="188"/>
                  <a:pt x="385" y="188"/>
                  <a:pt x="385" y="188"/>
                </a:cubicBezTo>
                <a:cubicBezTo>
                  <a:pt x="384" y="189"/>
                  <a:pt x="384" y="189"/>
                  <a:pt x="384" y="189"/>
                </a:cubicBezTo>
                <a:cubicBezTo>
                  <a:pt x="385" y="189"/>
                  <a:pt x="385" y="189"/>
                  <a:pt x="385" y="189"/>
                </a:cubicBezTo>
                <a:cubicBezTo>
                  <a:pt x="386" y="188"/>
                  <a:pt x="386" y="188"/>
                  <a:pt x="386" y="188"/>
                </a:cubicBezTo>
                <a:cubicBezTo>
                  <a:pt x="388" y="187"/>
                  <a:pt x="388" y="187"/>
                  <a:pt x="388" y="187"/>
                </a:cubicBezTo>
                <a:cubicBezTo>
                  <a:pt x="388" y="187"/>
                  <a:pt x="388" y="187"/>
                  <a:pt x="388" y="187"/>
                </a:cubicBezTo>
                <a:cubicBezTo>
                  <a:pt x="389" y="186"/>
                  <a:pt x="389" y="186"/>
                  <a:pt x="389" y="186"/>
                </a:cubicBezTo>
                <a:cubicBezTo>
                  <a:pt x="388" y="187"/>
                  <a:pt x="388" y="187"/>
                  <a:pt x="388" y="187"/>
                </a:cubicBezTo>
                <a:cubicBezTo>
                  <a:pt x="388" y="188"/>
                  <a:pt x="388" y="188"/>
                  <a:pt x="388" y="188"/>
                </a:cubicBezTo>
                <a:cubicBezTo>
                  <a:pt x="386" y="190"/>
                  <a:pt x="386" y="190"/>
                  <a:pt x="386" y="190"/>
                </a:cubicBezTo>
                <a:cubicBezTo>
                  <a:pt x="385" y="190"/>
                  <a:pt x="385" y="190"/>
                  <a:pt x="385" y="190"/>
                </a:cubicBezTo>
                <a:cubicBezTo>
                  <a:pt x="385" y="191"/>
                  <a:pt x="385" y="191"/>
                  <a:pt x="385" y="191"/>
                </a:cubicBezTo>
                <a:cubicBezTo>
                  <a:pt x="385" y="192"/>
                  <a:pt x="385" y="192"/>
                  <a:pt x="385" y="192"/>
                </a:cubicBezTo>
                <a:cubicBezTo>
                  <a:pt x="385" y="192"/>
                  <a:pt x="385" y="192"/>
                  <a:pt x="385" y="192"/>
                </a:cubicBezTo>
                <a:cubicBezTo>
                  <a:pt x="384" y="192"/>
                  <a:pt x="384" y="192"/>
                  <a:pt x="384" y="192"/>
                </a:cubicBezTo>
                <a:cubicBezTo>
                  <a:pt x="383" y="192"/>
                  <a:pt x="383" y="192"/>
                  <a:pt x="383" y="192"/>
                </a:cubicBezTo>
                <a:cubicBezTo>
                  <a:pt x="383" y="193"/>
                  <a:pt x="383" y="193"/>
                  <a:pt x="383" y="193"/>
                </a:cubicBezTo>
                <a:cubicBezTo>
                  <a:pt x="384" y="193"/>
                  <a:pt x="384" y="193"/>
                  <a:pt x="384" y="193"/>
                </a:cubicBezTo>
                <a:cubicBezTo>
                  <a:pt x="384" y="193"/>
                  <a:pt x="384" y="193"/>
                  <a:pt x="384" y="193"/>
                </a:cubicBezTo>
                <a:cubicBezTo>
                  <a:pt x="384" y="194"/>
                  <a:pt x="384" y="194"/>
                  <a:pt x="384" y="194"/>
                </a:cubicBezTo>
                <a:cubicBezTo>
                  <a:pt x="383" y="195"/>
                  <a:pt x="383" y="195"/>
                  <a:pt x="383" y="195"/>
                </a:cubicBezTo>
                <a:cubicBezTo>
                  <a:pt x="384" y="195"/>
                  <a:pt x="384" y="195"/>
                  <a:pt x="384" y="195"/>
                </a:cubicBezTo>
                <a:cubicBezTo>
                  <a:pt x="385" y="194"/>
                  <a:pt x="385" y="194"/>
                  <a:pt x="385" y="194"/>
                </a:cubicBezTo>
                <a:cubicBezTo>
                  <a:pt x="386" y="194"/>
                  <a:pt x="386" y="194"/>
                  <a:pt x="386" y="194"/>
                </a:cubicBezTo>
                <a:cubicBezTo>
                  <a:pt x="387" y="193"/>
                  <a:pt x="387" y="193"/>
                  <a:pt x="387" y="193"/>
                </a:cubicBezTo>
                <a:cubicBezTo>
                  <a:pt x="387" y="192"/>
                  <a:pt x="387" y="192"/>
                  <a:pt x="387" y="192"/>
                </a:cubicBezTo>
                <a:cubicBezTo>
                  <a:pt x="388" y="191"/>
                  <a:pt x="388" y="191"/>
                  <a:pt x="388" y="191"/>
                </a:cubicBezTo>
                <a:cubicBezTo>
                  <a:pt x="388" y="190"/>
                  <a:pt x="388" y="190"/>
                  <a:pt x="388" y="190"/>
                </a:cubicBezTo>
                <a:cubicBezTo>
                  <a:pt x="389" y="191"/>
                  <a:pt x="389" y="191"/>
                  <a:pt x="389" y="191"/>
                </a:cubicBezTo>
                <a:cubicBezTo>
                  <a:pt x="389" y="192"/>
                  <a:pt x="389" y="192"/>
                  <a:pt x="389" y="192"/>
                </a:cubicBezTo>
                <a:cubicBezTo>
                  <a:pt x="389" y="193"/>
                  <a:pt x="389" y="193"/>
                  <a:pt x="389" y="193"/>
                </a:cubicBezTo>
                <a:cubicBezTo>
                  <a:pt x="389" y="191"/>
                  <a:pt x="389" y="191"/>
                  <a:pt x="389" y="191"/>
                </a:cubicBezTo>
                <a:cubicBezTo>
                  <a:pt x="389" y="190"/>
                  <a:pt x="389" y="190"/>
                  <a:pt x="389" y="190"/>
                </a:cubicBezTo>
                <a:cubicBezTo>
                  <a:pt x="389" y="189"/>
                  <a:pt x="389" y="189"/>
                  <a:pt x="389" y="189"/>
                </a:cubicBezTo>
                <a:cubicBezTo>
                  <a:pt x="390" y="189"/>
                  <a:pt x="390" y="189"/>
                  <a:pt x="390" y="189"/>
                </a:cubicBezTo>
                <a:cubicBezTo>
                  <a:pt x="391" y="189"/>
                  <a:pt x="391" y="189"/>
                  <a:pt x="391" y="189"/>
                </a:cubicBezTo>
                <a:cubicBezTo>
                  <a:pt x="391" y="190"/>
                  <a:pt x="391" y="190"/>
                  <a:pt x="391" y="190"/>
                </a:cubicBezTo>
                <a:cubicBezTo>
                  <a:pt x="391" y="191"/>
                  <a:pt x="391" y="191"/>
                  <a:pt x="391" y="191"/>
                </a:cubicBezTo>
                <a:cubicBezTo>
                  <a:pt x="392" y="190"/>
                  <a:pt x="392" y="190"/>
                  <a:pt x="392" y="190"/>
                </a:cubicBezTo>
                <a:cubicBezTo>
                  <a:pt x="393" y="189"/>
                  <a:pt x="393" y="189"/>
                  <a:pt x="393" y="189"/>
                </a:cubicBezTo>
                <a:cubicBezTo>
                  <a:pt x="393" y="190"/>
                  <a:pt x="393" y="190"/>
                  <a:pt x="393" y="190"/>
                </a:cubicBezTo>
                <a:cubicBezTo>
                  <a:pt x="394" y="191"/>
                  <a:pt x="394" y="191"/>
                  <a:pt x="394" y="191"/>
                </a:cubicBezTo>
                <a:cubicBezTo>
                  <a:pt x="394" y="192"/>
                  <a:pt x="394" y="192"/>
                  <a:pt x="394" y="192"/>
                </a:cubicBezTo>
                <a:cubicBezTo>
                  <a:pt x="392" y="194"/>
                  <a:pt x="392" y="194"/>
                  <a:pt x="392" y="194"/>
                </a:cubicBezTo>
                <a:cubicBezTo>
                  <a:pt x="391" y="195"/>
                  <a:pt x="391" y="195"/>
                  <a:pt x="391" y="195"/>
                </a:cubicBezTo>
                <a:cubicBezTo>
                  <a:pt x="391" y="196"/>
                  <a:pt x="391" y="196"/>
                  <a:pt x="391" y="196"/>
                </a:cubicBezTo>
                <a:cubicBezTo>
                  <a:pt x="392" y="196"/>
                  <a:pt x="392" y="196"/>
                  <a:pt x="392" y="196"/>
                </a:cubicBezTo>
                <a:cubicBezTo>
                  <a:pt x="393" y="197"/>
                  <a:pt x="393" y="197"/>
                  <a:pt x="393" y="197"/>
                </a:cubicBezTo>
                <a:cubicBezTo>
                  <a:pt x="394" y="196"/>
                  <a:pt x="394" y="196"/>
                  <a:pt x="394" y="196"/>
                </a:cubicBezTo>
                <a:cubicBezTo>
                  <a:pt x="393" y="195"/>
                  <a:pt x="393" y="195"/>
                  <a:pt x="393" y="195"/>
                </a:cubicBezTo>
                <a:cubicBezTo>
                  <a:pt x="394" y="194"/>
                  <a:pt x="394" y="194"/>
                  <a:pt x="394" y="194"/>
                </a:cubicBezTo>
                <a:cubicBezTo>
                  <a:pt x="395" y="193"/>
                  <a:pt x="395" y="193"/>
                  <a:pt x="395" y="193"/>
                </a:cubicBezTo>
                <a:cubicBezTo>
                  <a:pt x="395" y="195"/>
                  <a:pt x="395" y="195"/>
                  <a:pt x="395" y="195"/>
                </a:cubicBezTo>
                <a:cubicBezTo>
                  <a:pt x="395" y="196"/>
                  <a:pt x="395" y="196"/>
                  <a:pt x="395" y="196"/>
                </a:cubicBezTo>
                <a:cubicBezTo>
                  <a:pt x="396" y="195"/>
                  <a:pt x="396" y="195"/>
                  <a:pt x="396" y="195"/>
                </a:cubicBezTo>
                <a:cubicBezTo>
                  <a:pt x="396" y="193"/>
                  <a:pt x="396" y="193"/>
                  <a:pt x="396" y="193"/>
                </a:cubicBezTo>
                <a:cubicBezTo>
                  <a:pt x="395" y="192"/>
                  <a:pt x="395" y="192"/>
                  <a:pt x="395" y="192"/>
                </a:cubicBezTo>
                <a:cubicBezTo>
                  <a:pt x="395" y="190"/>
                  <a:pt x="395" y="190"/>
                  <a:pt x="395" y="190"/>
                </a:cubicBezTo>
                <a:cubicBezTo>
                  <a:pt x="395" y="190"/>
                  <a:pt x="395" y="190"/>
                  <a:pt x="395" y="190"/>
                </a:cubicBezTo>
                <a:cubicBezTo>
                  <a:pt x="397" y="190"/>
                  <a:pt x="397" y="190"/>
                  <a:pt x="397" y="190"/>
                </a:cubicBezTo>
                <a:cubicBezTo>
                  <a:pt x="396" y="191"/>
                  <a:pt x="396" y="191"/>
                  <a:pt x="396" y="191"/>
                </a:cubicBezTo>
                <a:cubicBezTo>
                  <a:pt x="396" y="192"/>
                  <a:pt x="396" y="192"/>
                  <a:pt x="396" y="192"/>
                </a:cubicBezTo>
                <a:cubicBezTo>
                  <a:pt x="397" y="192"/>
                  <a:pt x="397" y="192"/>
                  <a:pt x="397" y="192"/>
                </a:cubicBezTo>
                <a:cubicBezTo>
                  <a:pt x="398" y="192"/>
                  <a:pt x="398" y="192"/>
                  <a:pt x="398" y="192"/>
                </a:cubicBezTo>
                <a:cubicBezTo>
                  <a:pt x="400" y="194"/>
                  <a:pt x="400" y="194"/>
                  <a:pt x="400" y="194"/>
                </a:cubicBezTo>
                <a:cubicBezTo>
                  <a:pt x="400" y="195"/>
                  <a:pt x="400" y="195"/>
                  <a:pt x="400" y="195"/>
                </a:cubicBezTo>
                <a:cubicBezTo>
                  <a:pt x="401" y="195"/>
                  <a:pt x="401" y="195"/>
                  <a:pt x="401" y="195"/>
                </a:cubicBezTo>
                <a:cubicBezTo>
                  <a:pt x="402" y="195"/>
                  <a:pt x="402" y="195"/>
                  <a:pt x="402" y="195"/>
                </a:cubicBezTo>
                <a:cubicBezTo>
                  <a:pt x="403" y="195"/>
                  <a:pt x="403" y="195"/>
                  <a:pt x="403" y="195"/>
                </a:cubicBezTo>
                <a:cubicBezTo>
                  <a:pt x="402" y="194"/>
                  <a:pt x="402" y="194"/>
                  <a:pt x="402" y="194"/>
                </a:cubicBezTo>
                <a:cubicBezTo>
                  <a:pt x="401" y="194"/>
                  <a:pt x="401" y="194"/>
                  <a:pt x="401" y="194"/>
                </a:cubicBezTo>
                <a:cubicBezTo>
                  <a:pt x="401" y="193"/>
                  <a:pt x="401" y="193"/>
                  <a:pt x="401" y="193"/>
                </a:cubicBezTo>
                <a:cubicBezTo>
                  <a:pt x="399" y="191"/>
                  <a:pt x="399" y="191"/>
                  <a:pt x="399" y="191"/>
                </a:cubicBezTo>
                <a:cubicBezTo>
                  <a:pt x="398" y="191"/>
                  <a:pt x="398" y="191"/>
                  <a:pt x="398" y="191"/>
                </a:cubicBezTo>
                <a:cubicBezTo>
                  <a:pt x="397" y="190"/>
                  <a:pt x="397" y="190"/>
                  <a:pt x="397" y="190"/>
                </a:cubicBezTo>
                <a:cubicBezTo>
                  <a:pt x="399" y="188"/>
                  <a:pt x="399" y="188"/>
                  <a:pt x="399" y="188"/>
                </a:cubicBezTo>
                <a:cubicBezTo>
                  <a:pt x="400" y="188"/>
                  <a:pt x="400" y="188"/>
                  <a:pt x="400" y="188"/>
                </a:cubicBezTo>
                <a:cubicBezTo>
                  <a:pt x="401" y="187"/>
                  <a:pt x="401" y="187"/>
                  <a:pt x="401" y="187"/>
                </a:cubicBezTo>
                <a:cubicBezTo>
                  <a:pt x="403" y="187"/>
                  <a:pt x="403" y="187"/>
                  <a:pt x="403" y="187"/>
                </a:cubicBezTo>
                <a:cubicBezTo>
                  <a:pt x="405" y="187"/>
                  <a:pt x="405" y="187"/>
                  <a:pt x="405" y="187"/>
                </a:cubicBezTo>
                <a:cubicBezTo>
                  <a:pt x="405" y="188"/>
                  <a:pt x="405" y="188"/>
                  <a:pt x="405" y="188"/>
                </a:cubicBezTo>
                <a:cubicBezTo>
                  <a:pt x="406" y="188"/>
                  <a:pt x="406" y="188"/>
                  <a:pt x="406" y="188"/>
                </a:cubicBezTo>
                <a:cubicBezTo>
                  <a:pt x="407" y="188"/>
                  <a:pt x="407" y="188"/>
                  <a:pt x="407" y="188"/>
                </a:cubicBezTo>
                <a:cubicBezTo>
                  <a:pt x="407" y="189"/>
                  <a:pt x="407" y="189"/>
                  <a:pt x="407" y="189"/>
                </a:cubicBezTo>
                <a:cubicBezTo>
                  <a:pt x="408" y="190"/>
                  <a:pt x="408" y="190"/>
                  <a:pt x="408" y="190"/>
                </a:cubicBezTo>
                <a:cubicBezTo>
                  <a:pt x="409" y="190"/>
                  <a:pt x="409" y="190"/>
                  <a:pt x="409" y="190"/>
                </a:cubicBezTo>
                <a:cubicBezTo>
                  <a:pt x="409" y="191"/>
                  <a:pt x="409" y="191"/>
                  <a:pt x="409" y="191"/>
                </a:cubicBezTo>
                <a:cubicBezTo>
                  <a:pt x="410" y="191"/>
                  <a:pt x="410" y="191"/>
                  <a:pt x="410" y="191"/>
                </a:cubicBezTo>
                <a:cubicBezTo>
                  <a:pt x="410" y="191"/>
                  <a:pt x="410" y="191"/>
                  <a:pt x="410" y="191"/>
                </a:cubicBezTo>
                <a:cubicBezTo>
                  <a:pt x="411" y="191"/>
                  <a:pt x="411" y="191"/>
                  <a:pt x="411" y="191"/>
                </a:cubicBezTo>
                <a:cubicBezTo>
                  <a:pt x="412" y="192"/>
                  <a:pt x="412" y="192"/>
                  <a:pt x="412" y="192"/>
                </a:cubicBezTo>
                <a:cubicBezTo>
                  <a:pt x="413" y="193"/>
                  <a:pt x="413" y="193"/>
                  <a:pt x="413" y="193"/>
                </a:cubicBezTo>
                <a:cubicBezTo>
                  <a:pt x="413" y="193"/>
                  <a:pt x="413" y="193"/>
                  <a:pt x="413" y="193"/>
                </a:cubicBezTo>
                <a:cubicBezTo>
                  <a:pt x="413" y="194"/>
                  <a:pt x="413" y="194"/>
                  <a:pt x="413" y="194"/>
                </a:cubicBezTo>
                <a:cubicBezTo>
                  <a:pt x="413" y="195"/>
                  <a:pt x="413" y="195"/>
                  <a:pt x="413" y="195"/>
                </a:cubicBezTo>
                <a:cubicBezTo>
                  <a:pt x="413" y="196"/>
                  <a:pt x="413" y="196"/>
                  <a:pt x="413" y="196"/>
                </a:cubicBezTo>
                <a:cubicBezTo>
                  <a:pt x="412" y="197"/>
                  <a:pt x="412" y="197"/>
                  <a:pt x="412" y="197"/>
                </a:cubicBezTo>
                <a:cubicBezTo>
                  <a:pt x="411" y="197"/>
                  <a:pt x="411" y="197"/>
                  <a:pt x="411" y="197"/>
                </a:cubicBezTo>
                <a:cubicBezTo>
                  <a:pt x="410" y="197"/>
                  <a:pt x="410" y="197"/>
                  <a:pt x="410" y="197"/>
                </a:cubicBezTo>
                <a:cubicBezTo>
                  <a:pt x="408" y="197"/>
                  <a:pt x="408" y="197"/>
                  <a:pt x="408" y="197"/>
                </a:cubicBezTo>
                <a:cubicBezTo>
                  <a:pt x="407" y="199"/>
                  <a:pt x="407" y="199"/>
                  <a:pt x="407" y="199"/>
                </a:cubicBezTo>
                <a:cubicBezTo>
                  <a:pt x="409" y="197"/>
                  <a:pt x="409" y="197"/>
                  <a:pt x="409" y="197"/>
                </a:cubicBezTo>
                <a:cubicBezTo>
                  <a:pt x="411" y="197"/>
                  <a:pt x="411" y="197"/>
                  <a:pt x="411" y="197"/>
                </a:cubicBezTo>
                <a:cubicBezTo>
                  <a:pt x="411" y="198"/>
                  <a:pt x="411" y="198"/>
                  <a:pt x="411" y="198"/>
                </a:cubicBezTo>
                <a:cubicBezTo>
                  <a:pt x="410" y="199"/>
                  <a:pt x="410" y="199"/>
                  <a:pt x="410" y="199"/>
                </a:cubicBezTo>
                <a:cubicBezTo>
                  <a:pt x="409" y="200"/>
                  <a:pt x="409" y="200"/>
                  <a:pt x="409" y="200"/>
                </a:cubicBezTo>
                <a:cubicBezTo>
                  <a:pt x="408" y="202"/>
                  <a:pt x="408" y="202"/>
                  <a:pt x="408" y="202"/>
                </a:cubicBezTo>
                <a:cubicBezTo>
                  <a:pt x="407" y="202"/>
                  <a:pt x="407" y="202"/>
                  <a:pt x="407" y="202"/>
                </a:cubicBezTo>
                <a:cubicBezTo>
                  <a:pt x="406" y="203"/>
                  <a:pt x="406" y="203"/>
                  <a:pt x="406" y="203"/>
                </a:cubicBezTo>
                <a:cubicBezTo>
                  <a:pt x="406" y="203"/>
                  <a:pt x="406" y="203"/>
                  <a:pt x="406" y="203"/>
                </a:cubicBezTo>
                <a:cubicBezTo>
                  <a:pt x="406" y="204"/>
                  <a:pt x="406" y="204"/>
                  <a:pt x="406" y="204"/>
                </a:cubicBezTo>
                <a:cubicBezTo>
                  <a:pt x="409" y="201"/>
                  <a:pt x="409" y="201"/>
                  <a:pt x="409" y="201"/>
                </a:cubicBezTo>
                <a:cubicBezTo>
                  <a:pt x="410" y="200"/>
                  <a:pt x="410" y="200"/>
                  <a:pt x="410" y="200"/>
                </a:cubicBezTo>
                <a:cubicBezTo>
                  <a:pt x="411" y="199"/>
                  <a:pt x="411" y="199"/>
                  <a:pt x="411" y="199"/>
                </a:cubicBezTo>
                <a:cubicBezTo>
                  <a:pt x="412" y="198"/>
                  <a:pt x="412" y="198"/>
                  <a:pt x="412" y="198"/>
                </a:cubicBezTo>
                <a:cubicBezTo>
                  <a:pt x="414" y="198"/>
                  <a:pt x="414" y="198"/>
                  <a:pt x="414" y="198"/>
                </a:cubicBezTo>
                <a:cubicBezTo>
                  <a:pt x="414" y="199"/>
                  <a:pt x="414" y="199"/>
                  <a:pt x="414" y="199"/>
                </a:cubicBezTo>
                <a:cubicBezTo>
                  <a:pt x="415" y="199"/>
                  <a:pt x="415" y="199"/>
                  <a:pt x="415" y="199"/>
                </a:cubicBezTo>
                <a:cubicBezTo>
                  <a:pt x="415" y="200"/>
                  <a:pt x="415" y="200"/>
                  <a:pt x="415" y="200"/>
                </a:cubicBezTo>
                <a:cubicBezTo>
                  <a:pt x="415" y="201"/>
                  <a:pt x="415" y="201"/>
                  <a:pt x="415" y="201"/>
                </a:cubicBezTo>
                <a:cubicBezTo>
                  <a:pt x="415" y="202"/>
                  <a:pt x="415" y="202"/>
                  <a:pt x="415" y="202"/>
                </a:cubicBezTo>
                <a:cubicBezTo>
                  <a:pt x="413" y="202"/>
                  <a:pt x="413" y="202"/>
                  <a:pt x="413" y="202"/>
                </a:cubicBezTo>
                <a:cubicBezTo>
                  <a:pt x="413" y="203"/>
                  <a:pt x="413" y="203"/>
                  <a:pt x="413" y="203"/>
                </a:cubicBezTo>
                <a:cubicBezTo>
                  <a:pt x="411" y="204"/>
                  <a:pt x="411" y="204"/>
                  <a:pt x="411" y="204"/>
                </a:cubicBezTo>
                <a:cubicBezTo>
                  <a:pt x="411" y="203"/>
                  <a:pt x="411" y="203"/>
                  <a:pt x="411" y="203"/>
                </a:cubicBezTo>
                <a:cubicBezTo>
                  <a:pt x="410" y="203"/>
                  <a:pt x="410" y="203"/>
                  <a:pt x="410" y="203"/>
                </a:cubicBezTo>
                <a:cubicBezTo>
                  <a:pt x="409" y="204"/>
                  <a:pt x="409" y="204"/>
                  <a:pt x="409" y="204"/>
                </a:cubicBezTo>
                <a:cubicBezTo>
                  <a:pt x="410" y="204"/>
                  <a:pt x="410" y="204"/>
                  <a:pt x="410" y="204"/>
                </a:cubicBezTo>
                <a:cubicBezTo>
                  <a:pt x="411" y="205"/>
                  <a:pt x="411" y="205"/>
                  <a:pt x="411" y="205"/>
                </a:cubicBezTo>
                <a:cubicBezTo>
                  <a:pt x="408" y="206"/>
                  <a:pt x="408" y="206"/>
                  <a:pt x="408" y="206"/>
                </a:cubicBezTo>
                <a:cubicBezTo>
                  <a:pt x="409" y="206"/>
                  <a:pt x="409" y="206"/>
                  <a:pt x="409" y="206"/>
                </a:cubicBezTo>
                <a:cubicBezTo>
                  <a:pt x="410" y="205"/>
                  <a:pt x="410" y="205"/>
                  <a:pt x="410" y="205"/>
                </a:cubicBezTo>
                <a:cubicBezTo>
                  <a:pt x="411" y="205"/>
                  <a:pt x="411" y="205"/>
                  <a:pt x="411" y="205"/>
                </a:cubicBezTo>
                <a:cubicBezTo>
                  <a:pt x="412" y="204"/>
                  <a:pt x="412" y="204"/>
                  <a:pt x="412" y="204"/>
                </a:cubicBezTo>
                <a:cubicBezTo>
                  <a:pt x="412" y="205"/>
                  <a:pt x="412" y="205"/>
                  <a:pt x="412" y="205"/>
                </a:cubicBezTo>
                <a:cubicBezTo>
                  <a:pt x="412" y="206"/>
                  <a:pt x="412" y="206"/>
                  <a:pt x="412" y="206"/>
                </a:cubicBezTo>
                <a:cubicBezTo>
                  <a:pt x="410" y="206"/>
                  <a:pt x="410" y="206"/>
                  <a:pt x="410" y="206"/>
                </a:cubicBezTo>
                <a:cubicBezTo>
                  <a:pt x="409" y="207"/>
                  <a:pt x="409" y="207"/>
                  <a:pt x="409" y="207"/>
                </a:cubicBezTo>
                <a:cubicBezTo>
                  <a:pt x="410" y="207"/>
                  <a:pt x="410" y="207"/>
                  <a:pt x="410" y="207"/>
                </a:cubicBezTo>
                <a:cubicBezTo>
                  <a:pt x="411" y="207"/>
                  <a:pt x="411" y="207"/>
                  <a:pt x="411" y="207"/>
                </a:cubicBezTo>
                <a:cubicBezTo>
                  <a:pt x="410" y="208"/>
                  <a:pt x="410" y="208"/>
                  <a:pt x="410" y="208"/>
                </a:cubicBezTo>
                <a:cubicBezTo>
                  <a:pt x="409" y="209"/>
                  <a:pt x="409" y="209"/>
                  <a:pt x="409" y="209"/>
                </a:cubicBezTo>
                <a:cubicBezTo>
                  <a:pt x="408" y="210"/>
                  <a:pt x="408" y="210"/>
                  <a:pt x="408" y="210"/>
                </a:cubicBezTo>
                <a:cubicBezTo>
                  <a:pt x="408" y="210"/>
                  <a:pt x="408" y="210"/>
                  <a:pt x="408" y="210"/>
                </a:cubicBezTo>
                <a:cubicBezTo>
                  <a:pt x="410" y="209"/>
                  <a:pt x="410" y="209"/>
                  <a:pt x="410" y="209"/>
                </a:cubicBezTo>
                <a:cubicBezTo>
                  <a:pt x="411" y="207"/>
                  <a:pt x="411" y="207"/>
                  <a:pt x="411" y="207"/>
                </a:cubicBezTo>
                <a:cubicBezTo>
                  <a:pt x="412" y="206"/>
                  <a:pt x="412" y="206"/>
                  <a:pt x="412" y="206"/>
                </a:cubicBezTo>
                <a:cubicBezTo>
                  <a:pt x="414" y="205"/>
                  <a:pt x="414" y="205"/>
                  <a:pt x="414" y="205"/>
                </a:cubicBezTo>
                <a:cubicBezTo>
                  <a:pt x="414" y="205"/>
                  <a:pt x="414" y="205"/>
                  <a:pt x="414" y="205"/>
                </a:cubicBezTo>
                <a:cubicBezTo>
                  <a:pt x="414" y="206"/>
                  <a:pt x="414" y="206"/>
                  <a:pt x="414" y="206"/>
                </a:cubicBezTo>
                <a:cubicBezTo>
                  <a:pt x="415" y="205"/>
                  <a:pt x="415" y="205"/>
                  <a:pt x="415" y="205"/>
                </a:cubicBezTo>
                <a:cubicBezTo>
                  <a:pt x="415" y="205"/>
                  <a:pt x="415" y="205"/>
                  <a:pt x="415" y="205"/>
                </a:cubicBezTo>
                <a:cubicBezTo>
                  <a:pt x="417" y="204"/>
                  <a:pt x="417" y="204"/>
                  <a:pt x="417" y="204"/>
                </a:cubicBezTo>
                <a:cubicBezTo>
                  <a:pt x="417" y="204"/>
                  <a:pt x="417" y="204"/>
                  <a:pt x="417" y="204"/>
                </a:cubicBezTo>
                <a:cubicBezTo>
                  <a:pt x="417" y="204"/>
                  <a:pt x="417" y="204"/>
                  <a:pt x="417" y="204"/>
                </a:cubicBezTo>
                <a:cubicBezTo>
                  <a:pt x="416" y="206"/>
                  <a:pt x="416" y="206"/>
                  <a:pt x="416" y="206"/>
                </a:cubicBezTo>
                <a:cubicBezTo>
                  <a:pt x="413" y="207"/>
                  <a:pt x="413" y="207"/>
                  <a:pt x="413" y="207"/>
                </a:cubicBezTo>
                <a:cubicBezTo>
                  <a:pt x="413" y="208"/>
                  <a:pt x="413" y="208"/>
                  <a:pt x="413" y="208"/>
                </a:cubicBezTo>
                <a:cubicBezTo>
                  <a:pt x="413" y="208"/>
                  <a:pt x="413" y="208"/>
                  <a:pt x="413" y="208"/>
                </a:cubicBezTo>
                <a:cubicBezTo>
                  <a:pt x="413" y="209"/>
                  <a:pt x="413" y="209"/>
                  <a:pt x="413" y="209"/>
                </a:cubicBezTo>
                <a:cubicBezTo>
                  <a:pt x="412" y="210"/>
                  <a:pt x="412" y="210"/>
                  <a:pt x="412" y="210"/>
                </a:cubicBezTo>
                <a:cubicBezTo>
                  <a:pt x="412" y="211"/>
                  <a:pt x="412" y="211"/>
                  <a:pt x="412" y="211"/>
                </a:cubicBezTo>
                <a:cubicBezTo>
                  <a:pt x="413" y="211"/>
                  <a:pt x="413" y="211"/>
                  <a:pt x="413" y="211"/>
                </a:cubicBezTo>
                <a:cubicBezTo>
                  <a:pt x="413" y="210"/>
                  <a:pt x="413" y="210"/>
                  <a:pt x="413" y="210"/>
                </a:cubicBezTo>
                <a:cubicBezTo>
                  <a:pt x="414" y="209"/>
                  <a:pt x="414" y="209"/>
                  <a:pt x="414" y="209"/>
                </a:cubicBezTo>
                <a:cubicBezTo>
                  <a:pt x="415" y="207"/>
                  <a:pt x="415" y="207"/>
                  <a:pt x="415" y="207"/>
                </a:cubicBezTo>
                <a:cubicBezTo>
                  <a:pt x="417" y="207"/>
                  <a:pt x="417" y="207"/>
                  <a:pt x="417" y="207"/>
                </a:cubicBezTo>
                <a:cubicBezTo>
                  <a:pt x="417" y="207"/>
                  <a:pt x="417" y="207"/>
                  <a:pt x="417" y="207"/>
                </a:cubicBezTo>
                <a:cubicBezTo>
                  <a:pt x="417" y="208"/>
                  <a:pt x="417" y="208"/>
                  <a:pt x="417" y="208"/>
                </a:cubicBezTo>
                <a:cubicBezTo>
                  <a:pt x="416" y="209"/>
                  <a:pt x="416" y="209"/>
                  <a:pt x="416" y="209"/>
                </a:cubicBezTo>
                <a:cubicBezTo>
                  <a:pt x="415" y="210"/>
                  <a:pt x="415" y="210"/>
                  <a:pt x="415" y="210"/>
                </a:cubicBezTo>
                <a:cubicBezTo>
                  <a:pt x="414" y="211"/>
                  <a:pt x="414" y="211"/>
                  <a:pt x="414" y="211"/>
                </a:cubicBezTo>
                <a:cubicBezTo>
                  <a:pt x="413" y="213"/>
                  <a:pt x="413" y="213"/>
                  <a:pt x="413" y="213"/>
                </a:cubicBezTo>
                <a:cubicBezTo>
                  <a:pt x="413" y="213"/>
                  <a:pt x="413" y="213"/>
                  <a:pt x="413" y="213"/>
                </a:cubicBezTo>
                <a:cubicBezTo>
                  <a:pt x="413" y="214"/>
                  <a:pt x="413" y="214"/>
                  <a:pt x="413" y="214"/>
                </a:cubicBezTo>
                <a:cubicBezTo>
                  <a:pt x="414" y="213"/>
                  <a:pt x="414" y="213"/>
                  <a:pt x="414" y="213"/>
                </a:cubicBezTo>
                <a:cubicBezTo>
                  <a:pt x="414" y="212"/>
                  <a:pt x="414" y="212"/>
                  <a:pt x="414" y="212"/>
                </a:cubicBezTo>
                <a:cubicBezTo>
                  <a:pt x="416" y="210"/>
                  <a:pt x="416" y="210"/>
                  <a:pt x="416" y="210"/>
                </a:cubicBezTo>
                <a:cubicBezTo>
                  <a:pt x="417" y="210"/>
                  <a:pt x="417" y="210"/>
                  <a:pt x="417" y="210"/>
                </a:cubicBezTo>
                <a:cubicBezTo>
                  <a:pt x="417" y="211"/>
                  <a:pt x="417" y="211"/>
                  <a:pt x="417" y="211"/>
                </a:cubicBezTo>
                <a:cubicBezTo>
                  <a:pt x="418" y="211"/>
                  <a:pt x="418" y="211"/>
                  <a:pt x="418" y="211"/>
                </a:cubicBezTo>
                <a:cubicBezTo>
                  <a:pt x="418" y="212"/>
                  <a:pt x="418" y="212"/>
                  <a:pt x="418" y="212"/>
                </a:cubicBezTo>
                <a:cubicBezTo>
                  <a:pt x="417" y="212"/>
                  <a:pt x="417" y="212"/>
                  <a:pt x="417" y="212"/>
                </a:cubicBezTo>
                <a:cubicBezTo>
                  <a:pt x="416" y="214"/>
                  <a:pt x="416" y="214"/>
                  <a:pt x="416" y="214"/>
                </a:cubicBezTo>
                <a:cubicBezTo>
                  <a:pt x="415" y="215"/>
                  <a:pt x="415" y="215"/>
                  <a:pt x="415" y="215"/>
                </a:cubicBezTo>
                <a:cubicBezTo>
                  <a:pt x="416" y="215"/>
                  <a:pt x="416" y="215"/>
                  <a:pt x="416" y="215"/>
                </a:cubicBezTo>
                <a:cubicBezTo>
                  <a:pt x="416" y="214"/>
                  <a:pt x="416" y="214"/>
                  <a:pt x="416" y="214"/>
                </a:cubicBezTo>
                <a:cubicBezTo>
                  <a:pt x="417" y="213"/>
                  <a:pt x="417" y="213"/>
                  <a:pt x="417" y="213"/>
                </a:cubicBezTo>
                <a:cubicBezTo>
                  <a:pt x="417" y="212"/>
                  <a:pt x="417" y="212"/>
                  <a:pt x="417" y="212"/>
                </a:cubicBezTo>
                <a:cubicBezTo>
                  <a:pt x="419" y="212"/>
                  <a:pt x="419" y="212"/>
                  <a:pt x="419" y="212"/>
                </a:cubicBezTo>
                <a:cubicBezTo>
                  <a:pt x="419" y="210"/>
                  <a:pt x="419" y="210"/>
                  <a:pt x="419" y="210"/>
                </a:cubicBezTo>
                <a:cubicBezTo>
                  <a:pt x="419" y="210"/>
                  <a:pt x="419" y="210"/>
                  <a:pt x="419" y="210"/>
                </a:cubicBezTo>
                <a:cubicBezTo>
                  <a:pt x="420" y="209"/>
                  <a:pt x="420" y="209"/>
                  <a:pt x="420" y="209"/>
                </a:cubicBezTo>
                <a:cubicBezTo>
                  <a:pt x="420" y="208"/>
                  <a:pt x="420" y="208"/>
                  <a:pt x="420" y="208"/>
                </a:cubicBezTo>
                <a:cubicBezTo>
                  <a:pt x="421" y="207"/>
                  <a:pt x="421" y="207"/>
                  <a:pt x="421" y="207"/>
                </a:cubicBezTo>
                <a:cubicBezTo>
                  <a:pt x="421" y="207"/>
                  <a:pt x="421" y="207"/>
                  <a:pt x="421" y="207"/>
                </a:cubicBezTo>
                <a:cubicBezTo>
                  <a:pt x="422" y="206"/>
                  <a:pt x="422" y="206"/>
                  <a:pt x="422" y="206"/>
                </a:cubicBezTo>
                <a:cubicBezTo>
                  <a:pt x="422" y="205"/>
                  <a:pt x="422" y="205"/>
                  <a:pt x="422" y="205"/>
                </a:cubicBezTo>
                <a:cubicBezTo>
                  <a:pt x="422" y="205"/>
                  <a:pt x="422" y="205"/>
                  <a:pt x="422" y="205"/>
                </a:cubicBezTo>
                <a:cubicBezTo>
                  <a:pt x="423" y="207"/>
                  <a:pt x="423" y="207"/>
                  <a:pt x="423" y="207"/>
                </a:cubicBezTo>
                <a:cubicBezTo>
                  <a:pt x="424" y="208"/>
                  <a:pt x="424" y="208"/>
                  <a:pt x="424" y="208"/>
                </a:cubicBezTo>
                <a:cubicBezTo>
                  <a:pt x="425" y="209"/>
                  <a:pt x="425" y="209"/>
                  <a:pt x="425" y="209"/>
                </a:cubicBezTo>
                <a:cubicBezTo>
                  <a:pt x="426" y="210"/>
                  <a:pt x="426" y="210"/>
                  <a:pt x="426" y="210"/>
                </a:cubicBezTo>
                <a:cubicBezTo>
                  <a:pt x="426" y="211"/>
                  <a:pt x="426" y="211"/>
                  <a:pt x="426" y="211"/>
                </a:cubicBezTo>
                <a:cubicBezTo>
                  <a:pt x="427" y="212"/>
                  <a:pt x="427" y="212"/>
                  <a:pt x="427" y="212"/>
                </a:cubicBezTo>
                <a:cubicBezTo>
                  <a:pt x="427" y="213"/>
                  <a:pt x="427" y="213"/>
                  <a:pt x="427" y="213"/>
                </a:cubicBezTo>
                <a:cubicBezTo>
                  <a:pt x="426" y="214"/>
                  <a:pt x="426" y="214"/>
                  <a:pt x="426" y="214"/>
                </a:cubicBezTo>
                <a:cubicBezTo>
                  <a:pt x="425" y="215"/>
                  <a:pt x="425" y="215"/>
                  <a:pt x="425" y="215"/>
                </a:cubicBezTo>
                <a:cubicBezTo>
                  <a:pt x="424" y="215"/>
                  <a:pt x="424" y="215"/>
                  <a:pt x="424" y="215"/>
                </a:cubicBezTo>
                <a:cubicBezTo>
                  <a:pt x="424" y="215"/>
                  <a:pt x="424" y="215"/>
                  <a:pt x="424" y="215"/>
                </a:cubicBezTo>
                <a:cubicBezTo>
                  <a:pt x="422" y="214"/>
                  <a:pt x="422" y="214"/>
                  <a:pt x="422" y="214"/>
                </a:cubicBezTo>
                <a:cubicBezTo>
                  <a:pt x="422" y="214"/>
                  <a:pt x="422" y="214"/>
                  <a:pt x="422" y="214"/>
                </a:cubicBezTo>
                <a:cubicBezTo>
                  <a:pt x="421" y="214"/>
                  <a:pt x="421" y="214"/>
                  <a:pt x="421" y="214"/>
                </a:cubicBezTo>
                <a:cubicBezTo>
                  <a:pt x="421" y="215"/>
                  <a:pt x="421" y="215"/>
                  <a:pt x="421" y="215"/>
                </a:cubicBezTo>
                <a:cubicBezTo>
                  <a:pt x="420" y="216"/>
                  <a:pt x="420" y="216"/>
                  <a:pt x="420" y="216"/>
                </a:cubicBezTo>
                <a:cubicBezTo>
                  <a:pt x="419" y="216"/>
                  <a:pt x="419" y="216"/>
                  <a:pt x="419" y="216"/>
                </a:cubicBezTo>
                <a:cubicBezTo>
                  <a:pt x="418" y="216"/>
                  <a:pt x="418" y="216"/>
                  <a:pt x="418" y="216"/>
                </a:cubicBezTo>
                <a:cubicBezTo>
                  <a:pt x="418" y="217"/>
                  <a:pt x="418" y="217"/>
                  <a:pt x="418" y="217"/>
                </a:cubicBezTo>
                <a:cubicBezTo>
                  <a:pt x="419" y="217"/>
                  <a:pt x="419" y="217"/>
                  <a:pt x="419" y="217"/>
                </a:cubicBezTo>
                <a:cubicBezTo>
                  <a:pt x="420" y="217"/>
                  <a:pt x="420" y="217"/>
                  <a:pt x="420" y="217"/>
                </a:cubicBezTo>
                <a:cubicBezTo>
                  <a:pt x="420" y="218"/>
                  <a:pt x="420" y="218"/>
                  <a:pt x="420" y="218"/>
                </a:cubicBezTo>
                <a:cubicBezTo>
                  <a:pt x="419" y="219"/>
                  <a:pt x="419" y="219"/>
                  <a:pt x="419" y="219"/>
                </a:cubicBezTo>
                <a:cubicBezTo>
                  <a:pt x="418" y="219"/>
                  <a:pt x="418" y="219"/>
                  <a:pt x="418" y="219"/>
                </a:cubicBezTo>
                <a:cubicBezTo>
                  <a:pt x="417" y="220"/>
                  <a:pt x="417" y="220"/>
                  <a:pt x="417" y="220"/>
                </a:cubicBezTo>
                <a:cubicBezTo>
                  <a:pt x="418" y="220"/>
                  <a:pt x="418" y="220"/>
                  <a:pt x="418" y="220"/>
                </a:cubicBezTo>
                <a:cubicBezTo>
                  <a:pt x="419" y="219"/>
                  <a:pt x="419" y="219"/>
                  <a:pt x="419" y="219"/>
                </a:cubicBezTo>
                <a:cubicBezTo>
                  <a:pt x="421" y="219"/>
                  <a:pt x="421" y="219"/>
                  <a:pt x="421" y="219"/>
                </a:cubicBezTo>
                <a:cubicBezTo>
                  <a:pt x="422" y="219"/>
                  <a:pt x="422" y="219"/>
                  <a:pt x="422" y="219"/>
                </a:cubicBezTo>
                <a:cubicBezTo>
                  <a:pt x="423" y="218"/>
                  <a:pt x="423" y="218"/>
                  <a:pt x="423" y="218"/>
                </a:cubicBezTo>
                <a:cubicBezTo>
                  <a:pt x="424" y="218"/>
                  <a:pt x="424" y="218"/>
                  <a:pt x="424" y="218"/>
                </a:cubicBezTo>
                <a:cubicBezTo>
                  <a:pt x="425" y="219"/>
                  <a:pt x="425" y="219"/>
                  <a:pt x="425" y="219"/>
                </a:cubicBezTo>
                <a:cubicBezTo>
                  <a:pt x="425" y="219"/>
                  <a:pt x="425" y="219"/>
                  <a:pt x="425" y="219"/>
                </a:cubicBezTo>
                <a:cubicBezTo>
                  <a:pt x="425" y="220"/>
                  <a:pt x="425" y="220"/>
                  <a:pt x="425" y="220"/>
                </a:cubicBezTo>
                <a:cubicBezTo>
                  <a:pt x="425" y="219"/>
                  <a:pt x="425" y="219"/>
                  <a:pt x="425" y="219"/>
                </a:cubicBezTo>
                <a:cubicBezTo>
                  <a:pt x="425" y="218"/>
                  <a:pt x="425" y="218"/>
                  <a:pt x="425" y="218"/>
                </a:cubicBezTo>
                <a:cubicBezTo>
                  <a:pt x="425" y="217"/>
                  <a:pt x="425" y="217"/>
                  <a:pt x="425" y="217"/>
                </a:cubicBezTo>
                <a:cubicBezTo>
                  <a:pt x="426" y="216"/>
                  <a:pt x="426" y="216"/>
                  <a:pt x="426" y="216"/>
                </a:cubicBezTo>
                <a:cubicBezTo>
                  <a:pt x="428" y="215"/>
                  <a:pt x="428" y="215"/>
                  <a:pt x="428" y="215"/>
                </a:cubicBezTo>
                <a:cubicBezTo>
                  <a:pt x="428" y="216"/>
                  <a:pt x="428" y="216"/>
                  <a:pt x="428" y="216"/>
                </a:cubicBezTo>
                <a:cubicBezTo>
                  <a:pt x="428" y="216"/>
                  <a:pt x="428" y="216"/>
                  <a:pt x="428" y="216"/>
                </a:cubicBezTo>
                <a:cubicBezTo>
                  <a:pt x="428" y="217"/>
                  <a:pt x="428" y="217"/>
                  <a:pt x="428" y="217"/>
                </a:cubicBezTo>
                <a:cubicBezTo>
                  <a:pt x="428" y="218"/>
                  <a:pt x="428" y="218"/>
                  <a:pt x="428" y="218"/>
                </a:cubicBezTo>
                <a:cubicBezTo>
                  <a:pt x="427" y="220"/>
                  <a:pt x="427" y="220"/>
                  <a:pt x="427" y="220"/>
                </a:cubicBezTo>
                <a:cubicBezTo>
                  <a:pt x="425" y="220"/>
                  <a:pt x="425" y="220"/>
                  <a:pt x="425" y="220"/>
                </a:cubicBezTo>
                <a:cubicBezTo>
                  <a:pt x="425" y="221"/>
                  <a:pt x="425" y="221"/>
                  <a:pt x="425" y="221"/>
                </a:cubicBezTo>
                <a:cubicBezTo>
                  <a:pt x="424" y="222"/>
                  <a:pt x="424" y="222"/>
                  <a:pt x="424" y="222"/>
                </a:cubicBezTo>
                <a:cubicBezTo>
                  <a:pt x="423" y="222"/>
                  <a:pt x="423" y="222"/>
                  <a:pt x="423" y="222"/>
                </a:cubicBezTo>
                <a:cubicBezTo>
                  <a:pt x="422" y="221"/>
                  <a:pt x="422" y="221"/>
                  <a:pt x="422" y="221"/>
                </a:cubicBezTo>
                <a:cubicBezTo>
                  <a:pt x="422" y="221"/>
                  <a:pt x="422" y="221"/>
                  <a:pt x="422" y="221"/>
                </a:cubicBezTo>
                <a:cubicBezTo>
                  <a:pt x="421" y="222"/>
                  <a:pt x="421" y="222"/>
                  <a:pt x="421" y="222"/>
                </a:cubicBezTo>
                <a:cubicBezTo>
                  <a:pt x="421" y="223"/>
                  <a:pt x="421" y="223"/>
                  <a:pt x="421" y="223"/>
                </a:cubicBezTo>
                <a:cubicBezTo>
                  <a:pt x="420" y="224"/>
                  <a:pt x="420" y="224"/>
                  <a:pt x="420" y="224"/>
                </a:cubicBezTo>
                <a:cubicBezTo>
                  <a:pt x="420" y="225"/>
                  <a:pt x="420" y="225"/>
                  <a:pt x="420" y="225"/>
                </a:cubicBezTo>
                <a:cubicBezTo>
                  <a:pt x="419" y="226"/>
                  <a:pt x="419" y="226"/>
                  <a:pt x="419" y="226"/>
                </a:cubicBezTo>
                <a:cubicBezTo>
                  <a:pt x="420" y="226"/>
                  <a:pt x="420" y="226"/>
                  <a:pt x="420" y="226"/>
                </a:cubicBezTo>
                <a:cubicBezTo>
                  <a:pt x="421" y="224"/>
                  <a:pt x="421" y="224"/>
                  <a:pt x="421" y="224"/>
                </a:cubicBezTo>
                <a:cubicBezTo>
                  <a:pt x="422" y="222"/>
                  <a:pt x="422" y="222"/>
                  <a:pt x="422" y="222"/>
                </a:cubicBezTo>
                <a:cubicBezTo>
                  <a:pt x="423" y="222"/>
                  <a:pt x="423" y="222"/>
                  <a:pt x="423" y="222"/>
                </a:cubicBezTo>
                <a:cubicBezTo>
                  <a:pt x="423" y="222"/>
                  <a:pt x="423" y="222"/>
                  <a:pt x="423" y="222"/>
                </a:cubicBezTo>
                <a:cubicBezTo>
                  <a:pt x="424" y="223"/>
                  <a:pt x="424" y="223"/>
                  <a:pt x="424" y="223"/>
                </a:cubicBezTo>
                <a:cubicBezTo>
                  <a:pt x="424" y="223"/>
                  <a:pt x="424" y="223"/>
                  <a:pt x="424" y="223"/>
                </a:cubicBezTo>
                <a:cubicBezTo>
                  <a:pt x="423" y="224"/>
                  <a:pt x="423" y="224"/>
                  <a:pt x="423" y="224"/>
                </a:cubicBezTo>
                <a:cubicBezTo>
                  <a:pt x="423" y="225"/>
                  <a:pt x="423" y="225"/>
                  <a:pt x="423" y="225"/>
                </a:cubicBezTo>
                <a:cubicBezTo>
                  <a:pt x="421" y="227"/>
                  <a:pt x="421" y="227"/>
                  <a:pt x="421" y="227"/>
                </a:cubicBezTo>
                <a:cubicBezTo>
                  <a:pt x="420" y="227"/>
                  <a:pt x="420" y="227"/>
                  <a:pt x="420" y="227"/>
                </a:cubicBezTo>
                <a:cubicBezTo>
                  <a:pt x="420" y="228"/>
                  <a:pt x="420" y="228"/>
                  <a:pt x="420" y="228"/>
                </a:cubicBezTo>
                <a:cubicBezTo>
                  <a:pt x="422" y="227"/>
                  <a:pt x="422" y="227"/>
                  <a:pt x="422" y="227"/>
                </a:cubicBezTo>
                <a:cubicBezTo>
                  <a:pt x="424" y="224"/>
                  <a:pt x="424" y="224"/>
                  <a:pt x="424" y="224"/>
                </a:cubicBezTo>
                <a:cubicBezTo>
                  <a:pt x="425" y="222"/>
                  <a:pt x="425" y="222"/>
                  <a:pt x="425" y="222"/>
                </a:cubicBezTo>
                <a:cubicBezTo>
                  <a:pt x="425" y="222"/>
                  <a:pt x="425" y="222"/>
                  <a:pt x="425" y="222"/>
                </a:cubicBezTo>
                <a:cubicBezTo>
                  <a:pt x="426" y="221"/>
                  <a:pt x="426" y="221"/>
                  <a:pt x="426" y="221"/>
                </a:cubicBezTo>
                <a:cubicBezTo>
                  <a:pt x="426" y="221"/>
                  <a:pt x="426" y="221"/>
                  <a:pt x="426" y="221"/>
                </a:cubicBezTo>
                <a:cubicBezTo>
                  <a:pt x="428" y="220"/>
                  <a:pt x="428" y="220"/>
                  <a:pt x="428" y="220"/>
                </a:cubicBezTo>
                <a:cubicBezTo>
                  <a:pt x="430" y="219"/>
                  <a:pt x="430" y="219"/>
                  <a:pt x="430" y="219"/>
                </a:cubicBezTo>
                <a:cubicBezTo>
                  <a:pt x="431" y="219"/>
                  <a:pt x="431" y="219"/>
                  <a:pt x="431" y="219"/>
                </a:cubicBezTo>
                <a:cubicBezTo>
                  <a:pt x="431" y="219"/>
                  <a:pt x="431" y="219"/>
                  <a:pt x="431" y="219"/>
                </a:cubicBezTo>
                <a:cubicBezTo>
                  <a:pt x="430" y="220"/>
                  <a:pt x="430" y="220"/>
                  <a:pt x="430" y="220"/>
                </a:cubicBezTo>
                <a:cubicBezTo>
                  <a:pt x="429" y="221"/>
                  <a:pt x="429" y="221"/>
                  <a:pt x="429" y="221"/>
                </a:cubicBezTo>
                <a:cubicBezTo>
                  <a:pt x="428" y="221"/>
                  <a:pt x="428" y="221"/>
                  <a:pt x="428" y="221"/>
                </a:cubicBezTo>
                <a:cubicBezTo>
                  <a:pt x="427" y="222"/>
                  <a:pt x="427" y="222"/>
                  <a:pt x="427" y="222"/>
                </a:cubicBezTo>
                <a:cubicBezTo>
                  <a:pt x="427" y="223"/>
                  <a:pt x="427" y="223"/>
                  <a:pt x="427" y="223"/>
                </a:cubicBezTo>
                <a:cubicBezTo>
                  <a:pt x="427" y="223"/>
                  <a:pt x="427" y="223"/>
                  <a:pt x="427" y="223"/>
                </a:cubicBezTo>
                <a:cubicBezTo>
                  <a:pt x="428" y="222"/>
                  <a:pt x="428" y="222"/>
                  <a:pt x="428" y="222"/>
                </a:cubicBezTo>
                <a:cubicBezTo>
                  <a:pt x="429" y="222"/>
                  <a:pt x="429" y="222"/>
                  <a:pt x="429" y="222"/>
                </a:cubicBezTo>
                <a:cubicBezTo>
                  <a:pt x="430" y="221"/>
                  <a:pt x="430" y="221"/>
                  <a:pt x="430" y="221"/>
                </a:cubicBezTo>
                <a:cubicBezTo>
                  <a:pt x="431" y="221"/>
                  <a:pt x="431" y="221"/>
                  <a:pt x="431" y="221"/>
                </a:cubicBezTo>
                <a:cubicBezTo>
                  <a:pt x="432" y="220"/>
                  <a:pt x="432" y="220"/>
                  <a:pt x="432" y="220"/>
                </a:cubicBezTo>
                <a:cubicBezTo>
                  <a:pt x="433" y="220"/>
                  <a:pt x="433" y="220"/>
                  <a:pt x="433" y="220"/>
                </a:cubicBezTo>
                <a:cubicBezTo>
                  <a:pt x="434" y="220"/>
                  <a:pt x="434" y="220"/>
                  <a:pt x="434" y="220"/>
                </a:cubicBezTo>
                <a:cubicBezTo>
                  <a:pt x="434" y="221"/>
                  <a:pt x="434" y="221"/>
                  <a:pt x="434" y="221"/>
                </a:cubicBezTo>
                <a:cubicBezTo>
                  <a:pt x="435" y="223"/>
                  <a:pt x="435" y="223"/>
                  <a:pt x="435" y="223"/>
                </a:cubicBezTo>
                <a:cubicBezTo>
                  <a:pt x="436" y="224"/>
                  <a:pt x="436" y="224"/>
                  <a:pt x="436" y="224"/>
                </a:cubicBezTo>
                <a:cubicBezTo>
                  <a:pt x="437" y="224"/>
                  <a:pt x="437" y="224"/>
                  <a:pt x="437" y="224"/>
                </a:cubicBezTo>
                <a:cubicBezTo>
                  <a:pt x="437" y="225"/>
                  <a:pt x="437" y="225"/>
                  <a:pt x="437" y="225"/>
                </a:cubicBezTo>
                <a:cubicBezTo>
                  <a:pt x="437" y="226"/>
                  <a:pt x="437" y="226"/>
                  <a:pt x="437" y="226"/>
                </a:cubicBezTo>
                <a:cubicBezTo>
                  <a:pt x="436" y="227"/>
                  <a:pt x="436" y="227"/>
                  <a:pt x="436" y="227"/>
                </a:cubicBezTo>
                <a:cubicBezTo>
                  <a:pt x="435" y="227"/>
                  <a:pt x="435" y="227"/>
                  <a:pt x="435" y="227"/>
                </a:cubicBezTo>
                <a:cubicBezTo>
                  <a:pt x="436" y="226"/>
                  <a:pt x="436" y="226"/>
                  <a:pt x="436" y="226"/>
                </a:cubicBezTo>
                <a:cubicBezTo>
                  <a:pt x="435" y="226"/>
                  <a:pt x="435" y="226"/>
                  <a:pt x="435" y="226"/>
                </a:cubicBezTo>
                <a:cubicBezTo>
                  <a:pt x="435" y="226"/>
                  <a:pt x="435" y="226"/>
                  <a:pt x="435" y="226"/>
                </a:cubicBezTo>
                <a:cubicBezTo>
                  <a:pt x="434" y="227"/>
                  <a:pt x="434" y="227"/>
                  <a:pt x="434" y="227"/>
                </a:cubicBezTo>
                <a:cubicBezTo>
                  <a:pt x="433" y="228"/>
                  <a:pt x="433" y="228"/>
                  <a:pt x="433" y="228"/>
                </a:cubicBezTo>
                <a:cubicBezTo>
                  <a:pt x="431" y="228"/>
                  <a:pt x="431" y="228"/>
                  <a:pt x="431" y="228"/>
                </a:cubicBezTo>
                <a:cubicBezTo>
                  <a:pt x="430" y="228"/>
                  <a:pt x="430" y="228"/>
                  <a:pt x="430" y="228"/>
                </a:cubicBezTo>
                <a:cubicBezTo>
                  <a:pt x="429" y="228"/>
                  <a:pt x="429" y="228"/>
                  <a:pt x="429" y="228"/>
                </a:cubicBezTo>
                <a:cubicBezTo>
                  <a:pt x="427" y="229"/>
                  <a:pt x="427" y="229"/>
                  <a:pt x="427" y="229"/>
                </a:cubicBezTo>
                <a:cubicBezTo>
                  <a:pt x="426" y="230"/>
                  <a:pt x="426" y="230"/>
                  <a:pt x="426" y="230"/>
                </a:cubicBezTo>
                <a:cubicBezTo>
                  <a:pt x="425" y="230"/>
                  <a:pt x="425" y="230"/>
                  <a:pt x="425" y="230"/>
                </a:cubicBezTo>
                <a:cubicBezTo>
                  <a:pt x="426" y="230"/>
                  <a:pt x="426" y="230"/>
                  <a:pt x="426" y="230"/>
                </a:cubicBezTo>
                <a:cubicBezTo>
                  <a:pt x="426" y="231"/>
                  <a:pt x="426" y="231"/>
                  <a:pt x="426" y="231"/>
                </a:cubicBezTo>
                <a:cubicBezTo>
                  <a:pt x="426" y="231"/>
                  <a:pt x="426" y="231"/>
                  <a:pt x="426" y="231"/>
                </a:cubicBezTo>
                <a:cubicBezTo>
                  <a:pt x="424" y="232"/>
                  <a:pt x="424" y="232"/>
                  <a:pt x="424" y="232"/>
                </a:cubicBezTo>
                <a:cubicBezTo>
                  <a:pt x="424" y="232"/>
                  <a:pt x="424" y="232"/>
                  <a:pt x="424" y="232"/>
                </a:cubicBezTo>
                <a:cubicBezTo>
                  <a:pt x="426" y="232"/>
                  <a:pt x="426" y="232"/>
                  <a:pt x="426" y="232"/>
                </a:cubicBezTo>
                <a:cubicBezTo>
                  <a:pt x="427" y="231"/>
                  <a:pt x="427" y="231"/>
                  <a:pt x="427" y="231"/>
                </a:cubicBezTo>
                <a:cubicBezTo>
                  <a:pt x="429" y="229"/>
                  <a:pt x="429" y="229"/>
                  <a:pt x="429" y="229"/>
                </a:cubicBezTo>
                <a:cubicBezTo>
                  <a:pt x="430" y="229"/>
                  <a:pt x="430" y="229"/>
                  <a:pt x="430" y="229"/>
                </a:cubicBezTo>
                <a:cubicBezTo>
                  <a:pt x="431" y="229"/>
                  <a:pt x="431" y="229"/>
                  <a:pt x="431" y="229"/>
                </a:cubicBezTo>
                <a:cubicBezTo>
                  <a:pt x="432" y="229"/>
                  <a:pt x="432" y="229"/>
                  <a:pt x="432" y="229"/>
                </a:cubicBezTo>
                <a:cubicBezTo>
                  <a:pt x="433" y="229"/>
                  <a:pt x="433" y="229"/>
                  <a:pt x="433" y="229"/>
                </a:cubicBezTo>
                <a:cubicBezTo>
                  <a:pt x="433" y="230"/>
                  <a:pt x="433" y="230"/>
                  <a:pt x="433" y="230"/>
                </a:cubicBezTo>
                <a:cubicBezTo>
                  <a:pt x="433" y="231"/>
                  <a:pt x="433" y="231"/>
                  <a:pt x="433" y="231"/>
                </a:cubicBezTo>
                <a:cubicBezTo>
                  <a:pt x="432" y="231"/>
                  <a:pt x="432" y="231"/>
                  <a:pt x="432" y="231"/>
                </a:cubicBezTo>
                <a:cubicBezTo>
                  <a:pt x="431" y="232"/>
                  <a:pt x="431" y="232"/>
                  <a:pt x="431" y="232"/>
                </a:cubicBezTo>
                <a:cubicBezTo>
                  <a:pt x="430" y="232"/>
                  <a:pt x="430" y="232"/>
                  <a:pt x="430" y="232"/>
                </a:cubicBezTo>
                <a:cubicBezTo>
                  <a:pt x="429" y="232"/>
                  <a:pt x="429" y="232"/>
                  <a:pt x="429" y="232"/>
                </a:cubicBezTo>
                <a:cubicBezTo>
                  <a:pt x="429" y="234"/>
                  <a:pt x="429" y="234"/>
                  <a:pt x="429" y="234"/>
                </a:cubicBezTo>
                <a:cubicBezTo>
                  <a:pt x="428" y="234"/>
                  <a:pt x="428" y="234"/>
                  <a:pt x="428" y="234"/>
                </a:cubicBezTo>
                <a:cubicBezTo>
                  <a:pt x="427" y="233"/>
                  <a:pt x="427" y="233"/>
                  <a:pt x="427" y="233"/>
                </a:cubicBezTo>
                <a:cubicBezTo>
                  <a:pt x="426" y="234"/>
                  <a:pt x="426" y="234"/>
                  <a:pt x="426" y="234"/>
                </a:cubicBezTo>
                <a:cubicBezTo>
                  <a:pt x="425" y="235"/>
                  <a:pt x="425" y="235"/>
                  <a:pt x="425" y="235"/>
                </a:cubicBezTo>
                <a:cubicBezTo>
                  <a:pt x="426" y="235"/>
                  <a:pt x="426" y="235"/>
                  <a:pt x="426" y="235"/>
                </a:cubicBezTo>
                <a:cubicBezTo>
                  <a:pt x="427" y="234"/>
                  <a:pt x="427" y="234"/>
                  <a:pt x="427" y="234"/>
                </a:cubicBezTo>
                <a:cubicBezTo>
                  <a:pt x="428" y="234"/>
                  <a:pt x="428" y="234"/>
                  <a:pt x="428" y="234"/>
                </a:cubicBezTo>
                <a:cubicBezTo>
                  <a:pt x="428" y="235"/>
                  <a:pt x="428" y="235"/>
                  <a:pt x="428" y="235"/>
                </a:cubicBezTo>
                <a:cubicBezTo>
                  <a:pt x="429" y="234"/>
                  <a:pt x="429" y="234"/>
                  <a:pt x="429" y="234"/>
                </a:cubicBezTo>
                <a:cubicBezTo>
                  <a:pt x="430" y="233"/>
                  <a:pt x="430" y="233"/>
                  <a:pt x="430" y="233"/>
                </a:cubicBezTo>
                <a:cubicBezTo>
                  <a:pt x="431" y="232"/>
                  <a:pt x="431" y="232"/>
                  <a:pt x="431" y="232"/>
                </a:cubicBezTo>
                <a:cubicBezTo>
                  <a:pt x="432" y="233"/>
                  <a:pt x="432" y="233"/>
                  <a:pt x="432" y="233"/>
                </a:cubicBezTo>
                <a:cubicBezTo>
                  <a:pt x="433" y="233"/>
                  <a:pt x="433" y="233"/>
                  <a:pt x="433" y="233"/>
                </a:cubicBezTo>
                <a:cubicBezTo>
                  <a:pt x="434" y="232"/>
                  <a:pt x="434" y="232"/>
                  <a:pt x="434" y="232"/>
                </a:cubicBezTo>
                <a:cubicBezTo>
                  <a:pt x="435" y="231"/>
                  <a:pt x="435" y="231"/>
                  <a:pt x="435" y="231"/>
                </a:cubicBezTo>
                <a:cubicBezTo>
                  <a:pt x="436" y="231"/>
                  <a:pt x="436" y="231"/>
                  <a:pt x="436" y="231"/>
                </a:cubicBezTo>
                <a:cubicBezTo>
                  <a:pt x="436" y="230"/>
                  <a:pt x="436" y="230"/>
                  <a:pt x="436" y="230"/>
                </a:cubicBezTo>
                <a:cubicBezTo>
                  <a:pt x="435" y="230"/>
                  <a:pt x="435" y="230"/>
                  <a:pt x="435" y="230"/>
                </a:cubicBezTo>
                <a:cubicBezTo>
                  <a:pt x="436" y="229"/>
                  <a:pt x="436" y="229"/>
                  <a:pt x="436" y="229"/>
                </a:cubicBezTo>
                <a:cubicBezTo>
                  <a:pt x="436" y="228"/>
                  <a:pt x="436" y="228"/>
                  <a:pt x="436" y="228"/>
                </a:cubicBezTo>
                <a:cubicBezTo>
                  <a:pt x="437" y="228"/>
                  <a:pt x="437" y="228"/>
                  <a:pt x="437" y="228"/>
                </a:cubicBezTo>
                <a:cubicBezTo>
                  <a:pt x="437" y="228"/>
                  <a:pt x="437" y="228"/>
                  <a:pt x="437" y="228"/>
                </a:cubicBezTo>
                <a:cubicBezTo>
                  <a:pt x="438" y="228"/>
                  <a:pt x="438" y="228"/>
                  <a:pt x="438" y="228"/>
                </a:cubicBezTo>
                <a:cubicBezTo>
                  <a:pt x="438" y="229"/>
                  <a:pt x="438" y="229"/>
                  <a:pt x="438" y="229"/>
                </a:cubicBezTo>
                <a:cubicBezTo>
                  <a:pt x="439" y="232"/>
                  <a:pt x="439" y="232"/>
                  <a:pt x="439" y="232"/>
                </a:cubicBezTo>
                <a:cubicBezTo>
                  <a:pt x="439" y="233"/>
                  <a:pt x="439" y="233"/>
                  <a:pt x="439" y="233"/>
                </a:cubicBezTo>
                <a:cubicBezTo>
                  <a:pt x="440" y="234"/>
                  <a:pt x="440" y="234"/>
                  <a:pt x="440" y="234"/>
                </a:cubicBezTo>
                <a:cubicBezTo>
                  <a:pt x="440" y="235"/>
                  <a:pt x="440" y="235"/>
                  <a:pt x="440" y="235"/>
                </a:cubicBezTo>
                <a:cubicBezTo>
                  <a:pt x="439" y="236"/>
                  <a:pt x="439" y="236"/>
                  <a:pt x="439" y="236"/>
                </a:cubicBezTo>
                <a:cubicBezTo>
                  <a:pt x="438" y="236"/>
                  <a:pt x="438" y="236"/>
                  <a:pt x="438" y="236"/>
                </a:cubicBezTo>
                <a:cubicBezTo>
                  <a:pt x="437" y="235"/>
                  <a:pt x="437" y="235"/>
                  <a:pt x="437" y="235"/>
                </a:cubicBezTo>
                <a:cubicBezTo>
                  <a:pt x="435" y="235"/>
                  <a:pt x="435" y="235"/>
                  <a:pt x="435" y="235"/>
                </a:cubicBezTo>
                <a:cubicBezTo>
                  <a:pt x="434" y="236"/>
                  <a:pt x="434" y="236"/>
                  <a:pt x="434" y="236"/>
                </a:cubicBezTo>
                <a:cubicBezTo>
                  <a:pt x="434" y="236"/>
                  <a:pt x="434" y="236"/>
                  <a:pt x="434" y="236"/>
                </a:cubicBezTo>
                <a:cubicBezTo>
                  <a:pt x="433" y="236"/>
                  <a:pt x="433" y="236"/>
                  <a:pt x="433" y="236"/>
                </a:cubicBezTo>
                <a:cubicBezTo>
                  <a:pt x="432" y="236"/>
                  <a:pt x="432" y="236"/>
                  <a:pt x="432" y="236"/>
                </a:cubicBezTo>
                <a:cubicBezTo>
                  <a:pt x="431" y="236"/>
                  <a:pt x="431" y="236"/>
                  <a:pt x="431" y="236"/>
                </a:cubicBezTo>
                <a:cubicBezTo>
                  <a:pt x="431" y="237"/>
                  <a:pt x="431" y="237"/>
                  <a:pt x="431" y="237"/>
                </a:cubicBezTo>
                <a:cubicBezTo>
                  <a:pt x="429" y="237"/>
                  <a:pt x="429" y="237"/>
                  <a:pt x="429" y="237"/>
                </a:cubicBezTo>
                <a:cubicBezTo>
                  <a:pt x="430" y="238"/>
                  <a:pt x="430" y="238"/>
                  <a:pt x="430" y="238"/>
                </a:cubicBezTo>
                <a:cubicBezTo>
                  <a:pt x="432" y="237"/>
                  <a:pt x="432" y="237"/>
                  <a:pt x="432" y="237"/>
                </a:cubicBezTo>
                <a:cubicBezTo>
                  <a:pt x="433" y="238"/>
                  <a:pt x="433" y="238"/>
                  <a:pt x="433" y="238"/>
                </a:cubicBezTo>
                <a:cubicBezTo>
                  <a:pt x="435" y="239"/>
                  <a:pt x="435" y="239"/>
                  <a:pt x="435" y="239"/>
                </a:cubicBezTo>
                <a:cubicBezTo>
                  <a:pt x="435" y="240"/>
                  <a:pt x="435" y="240"/>
                  <a:pt x="435" y="240"/>
                </a:cubicBezTo>
                <a:cubicBezTo>
                  <a:pt x="436" y="239"/>
                  <a:pt x="436" y="239"/>
                  <a:pt x="436" y="239"/>
                </a:cubicBezTo>
                <a:cubicBezTo>
                  <a:pt x="437" y="239"/>
                  <a:pt x="437" y="239"/>
                  <a:pt x="437" y="239"/>
                </a:cubicBezTo>
                <a:cubicBezTo>
                  <a:pt x="437" y="240"/>
                  <a:pt x="437" y="240"/>
                  <a:pt x="437" y="240"/>
                </a:cubicBezTo>
                <a:cubicBezTo>
                  <a:pt x="438" y="240"/>
                  <a:pt x="438" y="240"/>
                  <a:pt x="438" y="240"/>
                </a:cubicBezTo>
                <a:cubicBezTo>
                  <a:pt x="440" y="241"/>
                  <a:pt x="440" y="241"/>
                  <a:pt x="440" y="241"/>
                </a:cubicBezTo>
                <a:cubicBezTo>
                  <a:pt x="440" y="242"/>
                  <a:pt x="440" y="242"/>
                  <a:pt x="440" y="242"/>
                </a:cubicBezTo>
                <a:cubicBezTo>
                  <a:pt x="440" y="243"/>
                  <a:pt x="440" y="243"/>
                  <a:pt x="440" y="243"/>
                </a:cubicBezTo>
                <a:cubicBezTo>
                  <a:pt x="440" y="244"/>
                  <a:pt x="440" y="244"/>
                  <a:pt x="440" y="244"/>
                </a:cubicBezTo>
                <a:cubicBezTo>
                  <a:pt x="440" y="244"/>
                  <a:pt x="440" y="244"/>
                  <a:pt x="440" y="244"/>
                </a:cubicBezTo>
                <a:cubicBezTo>
                  <a:pt x="439" y="244"/>
                  <a:pt x="439" y="244"/>
                  <a:pt x="439" y="244"/>
                </a:cubicBezTo>
                <a:cubicBezTo>
                  <a:pt x="438" y="243"/>
                  <a:pt x="438" y="243"/>
                  <a:pt x="438" y="243"/>
                </a:cubicBezTo>
                <a:cubicBezTo>
                  <a:pt x="438" y="243"/>
                  <a:pt x="438" y="243"/>
                  <a:pt x="438" y="243"/>
                </a:cubicBezTo>
                <a:cubicBezTo>
                  <a:pt x="437" y="244"/>
                  <a:pt x="437" y="244"/>
                  <a:pt x="437" y="244"/>
                </a:cubicBezTo>
                <a:cubicBezTo>
                  <a:pt x="437" y="244"/>
                  <a:pt x="437" y="244"/>
                  <a:pt x="437" y="244"/>
                </a:cubicBezTo>
                <a:cubicBezTo>
                  <a:pt x="436" y="243"/>
                  <a:pt x="436" y="243"/>
                  <a:pt x="436" y="243"/>
                </a:cubicBezTo>
                <a:cubicBezTo>
                  <a:pt x="436" y="243"/>
                  <a:pt x="436" y="243"/>
                  <a:pt x="436" y="243"/>
                </a:cubicBezTo>
                <a:cubicBezTo>
                  <a:pt x="435" y="243"/>
                  <a:pt x="435" y="243"/>
                  <a:pt x="435" y="243"/>
                </a:cubicBezTo>
                <a:cubicBezTo>
                  <a:pt x="434" y="242"/>
                  <a:pt x="434" y="242"/>
                  <a:pt x="434" y="242"/>
                </a:cubicBezTo>
                <a:cubicBezTo>
                  <a:pt x="433" y="241"/>
                  <a:pt x="433" y="241"/>
                  <a:pt x="433" y="241"/>
                </a:cubicBezTo>
                <a:cubicBezTo>
                  <a:pt x="432" y="241"/>
                  <a:pt x="432" y="241"/>
                  <a:pt x="432" y="241"/>
                </a:cubicBezTo>
                <a:cubicBezTo>
                  <a:pt x="431" y="242"/>
                  <a:pt x="431" y="242"/>
                  <a:pt x="431" y="242"/>
                </a:cubicBezTo>
                <a:cubicBezTo>
                  <a:pt x="430" y="241"/>
                  <a:pt x="430" y="241"/>
                  <a:pt x="430" y="241"/>
                </a:cubicBezTo>
                <a:cubicBezTo>
                  <a:pt x="431" y="242"/>
                  <a:pt x="431" y="242"/>
                  <a:pt x="431" y="242"/>
                </a:cubicBezTo>
                <a:cubicBezTo>
                  <a:pt x="432" y="242"/>
                  <a:pt x="432" y="242"/>
                  <a:pt x="432" y="242"/>
                </a:cubicBezTo>
                <a:cubicBezTo>
                  <a:pt x="433" y="242"/>
                  <a:pt x="433" y="242"/>
                  <a:pt x="433" y="242"/>
                </a:cubicBezTo>
                <a:cubicBezTo>
                  <a:pt x="432" y="243"/>
                  <a:pt x="432" y="243"/>
                  <a:pt x="432" y="243"/>
                </a:cubicBezTo>
                <a:cubicBezTo>
                  <a:pt x="431" y="243"/>
                  <a:pt x="431" y="243"/>
                  <a:pt x="431" y="243"/>
                </a:cubicBezTo>
                <a:cubicBezTo>
                  <a:pt x="430" y="243"/>
                  <a:pt x="430" y="243"/>
                  <a:pt x="430" y="243"/>
                </a:cubicBezTo>
                <a:cubicBezTo>
                  <a:pt x="429" y="243"/>
                  <a:pt x="429" y="243"/>
                  <a:pt x="429" y="243"/>
                </a:cubicBezTo>
                <a:cubicBezTo>
                  <a:pt x="428" y="244"/>
                  <a:pt x="428" y="244"/>
                  <a:pt x="428" y="244"/>
                </a:cubicBezTo>
                <a:cubicBezTo>
                  <a:pt x="428" y="245"/>
                  <a:pt x="428" y="245"/>
                  <a:pt x="428" y="245"/>
                </a:cubicBezTo>
                <a:cubicBezTo>
                  <a:pt x="429" y="245"/>
                  <a:pt x="429" y="245"/>
                  <a:pt x="429" y="245"/>
                </a:cubicBezTo>
                <a:cubicBezTo>
                  <a:pt x="429" y="244"/>
                  <a:pt x="429" y="244"/>
                  <a:pt x="429" y="244"/>
                </a:cubicBezTo>
                <a:cubicBezTo>
                  <a:pt x="431" y="244"/>
                  <a:pt x="431" y="244"/>
                  <a:pt x="431" y="244"/>
                </a:cubicBezTo>
                <a:cubicBezTo>
                  <a:pt x="432" y="243"/>
                  <a:pt x="432" y="243"/>
                  <a:pt x="432" y="243"/>
                </a:cubicBezTo>
                <a:cubicBezTo>
                  <a:pt x="432" y="243"/>
                  <a:pt x="432" y="243"/>
                  <a:pt x="432" y="243"/>
                </a:cubicBezTo>
                <a:cubicBezTo>
                  <a:pt x="433" y="244"/>
                  <a:pt x="433" y="244"/>
                  <a:pt x="433" y="244"/>
                </a:cubicBezTo>
                <a:cubicBezTo>
                  <a:pt x="433" y="245"/>
                  <a:pt x="433" y="245"/>
                  <a:pt x="433" y="245"/>
                </a:cubicBezTo>
                <a:cubicBezTo>
                  <a:pt x="434" y="245"/>
                  <a:pt x="434" y="245"/>
                  <a:pt x="434" y="245"/>
                </a:cubicBezTo>
                <a:cubicBezTo>
                  <a:pt x="434" y="245"/>
                  <a:pt x="434" y="245"/>
                  <a:pt x="434" y="245"/>
                </a:cubicBezTo>
                <a:cubicBezTo>
                  <a:pt x="434" y="246"/>
                  <a:pt x="434" y="246"/>
                  <a:pt x="434" y="246"/>
                </a:cubicBezTo>
                <a:cubicBezTo>
                  <a:pt x="433" y="246"/>
                  <a:pt x="433" y="246"/>
                  <a:pt x="433" y="246"/>
                </a:cubicBezTo>
                <a:cubicBezTo>
                  <a:pt x="432" y="246"/>
                  <a:pt x="432" y="246"/>
                  <a:pt x="432" y="246"/>
                </a:cubicBezTo>
                <a:cubicBezTo>
                  <a:pt x="431" y="246"/>
                  <a:pt x="431" y="246"/>
                  <a:pt x="431" y="246"/>
                </a:cubicBezTo>
                <a:cubicBezTo>
                  <a:pt x="431" y="245"/>
                  <a:pt x="431" y="245"/>
                  <a:pt x="431" y="245"/>
                </a:cubicBezTo>
                <a:cubicBezTo>
                  <a:pt x="430" y="245"/>
                  <a:pt x="430" y="245"/>
                  <a:pt x="430" y="245"/>
                </a:cubicBezTo>
                <a:cubicBezTo>
                  <a:pt x="430" y="246"/>
                  <a:pt x="430" y="246"/>
                  <a:pt x="430" y="246"/>
                </a:cubicBezTo>
                <a:cubicBezTo>
                  <a:pt x="431" y="246"/>
                  <a:pt x="431" y="246"/>
                  <a:pt x="431" y="246"/>
                </a:cubicBezTo>
                <a:cubicBezTo>
                  <a:pt x="432" y="247"/>
                  <a:pt x="432" y="247"/>
                  <a:pt x="432" y="247"/>
                </a:cubicBezTo>
                <a:cubicBezTo>
                  <a:pt x="432" y="247"/>
                  <a:pt x="432" y="247"/>
                  <a:pt x="432" y="247"/>
                </a:cubicBezTo>
                <a:cubicBezTo>
                  <a:pt x="432" y="248"/>
                  <a:pt x="432" y="248"/>
                  <a:pt x="432" y="248"/>
                </a:cubicBezTo>
                <a:cubicBezTo>
                  <a:pt x="433" y="248"/>
                  <a:pt x="433" y="248"/>
                  <a:pt x="433" y="248"/>
                </a:cubicBezTo>
                <a:cubicBezTo>
                  <a:pt x="432" y="249"/>
                  <a:pt x="432" y="249"/>
                  <a:pt x="432" y="249"/>
                </a:cubicBezTo>
                <a:cubicBezTo>
                  <a:pt x="430" y="248"/>
                  <a:pt x="430" y="248"/>
                  <a:pt x="430" y="248"/>
                </a:cubicBezTo>
                <a:cubicBezTo>
                  <a:pt x="428" y="248"/>
                  <a:pt x="428" y="248"/>
                  <a:pt x="428" y="248"/>
                </a:cubicBezTo>
                <a:cubicBezTo>
                  <a:pt x="426" y="247"/>
                  <a:pt x="426" y="247"/>
                  <a:pt x="426" y="247"/>
                </a:cubicBezTo>
                <a:cubicBezTo>
                  <a:pt x="425" y="247"/>
                  <a:pt x="425" y="247"/>
                  <a:pt x="425" y="247"/>
                </a:cubicBezTo>
                <a:cubicBezTo>
                  <a:pt x="425" y="247"/>
                  <a:pt x="425" y="247"/>
                  <a:pt x="425" y="247"/>
                </a:cubicBezTo>
                <a:cubicBezTo>
                  <a:pt x="427" y="248"/>
                  <a:pt x="427" y="248"/>
                  <a:pt x="427" y="248"/>
                </a:cubicBezTo>
                <a:cubicBezTo>
                  <a:pt x="430" y="249"/>
                  <a:pt x="430" y="249"/>
                  <a:pt x="430" y="249"/>
                </a:cubicBezTo>
                <a:cubicBezTo>
                  <a:pt x="430" y="250"/>
                  <a:pt x="430" y="250"/>
                  <a:pt x="430" y="250"/>
                </a:cubicBezTo>
                <a:cubicBezTo>
                  <a:pt x="430" y="250"/>
                  <a:pt x="430" y="250"/>
                  <a:pt x="430" y="250"/>
                </a:cubicBezTo>
                <a:cubicBezTo>
                  <a:pt x="428" y="249"/>
                  <a:pt x="428" y="249"/>
                  <a:pt x="428" y="249"/>
                </a:cubicBezTo>
                <a:cubicBezTo>
                  <a:pt x="427" y="249"/>
                  <a:pt x="427" y="249"/>
                  <a:pt x="427" y="249"/>
                </a:cubicBezTo>
                <a:cubicBezTo>
                  <a:pt x="426" y="250"/>
                  <a:pt x="426" y="250"/>
                  <a:pt x="426" y="250"/>
                </a:cubicBezTo>
                <a:cubicBezTo>
                  <a:pt x="427" y="250"/>
                  <a:pt x="427" y="250"/>
                  <a:pt x="427" y="250"/>
                </a:cubicBezTo>
                <a:cubicBezTo>
                  <a:pt x="428" y="250"/>
                  <a:pt x="428" y="250"/>
                  <a:pt x="428" y="250"/>
                </a:cubicBezTo>
                <a:cubicBezTo>
                  <a:pt x="428" y="251"/>
                  <a:pt x="428" y="251"/>
                  <a:pt x="428" y="251"/>
                </a:cubicBezTo>
                <a:cubicBezTo>
                  <a:pt x="429" y="251"/>
                  <a:pt x="429" y="251"/>
                  <a:pt x="429" y="251"/>
                </a:cubicBezTo>
                <a:cubicBezTo>
                  <a:pt x="429" y="251"/>
                  <a:pt x="429" y="251"/>
                  <a:pt x="429" y="251"/>
                </a:cubicBezTo>
                <a:cubicBezTo>
                  <a:pt x="429" y="252"/>
                  <a:pt x="429" y="252"/>
                  <a:pt x="429" y="252"/>
                </a:cubicBezTo>
                <a:cubicBezTo>
                  <a:pt x="430" y="253"/>
                  <a:pt x="430" y="253"/>
                  <a:pt x="430" y="253"/>
                </a:cubicBezTo>
                <a:cubicBezTo>
                  <a:pt x="430" y="252"/>
                  <a:pt x="430" y="252"/>
                  <a:pt x="430" y="252"/>
                </a:cubicBezTo>
                <a:cubicBezTo>
                  <a:pt x="430" y="252"/>
                  <a:pt x="430" y="252"/>
                  <a:pt x="430" y="252"/>
                </a:cubicBezTo>
                <a:cubicBezTo>
                  <a:pt x="431" y="252"/>
                  <a:pt x="431" y="252"/>
                  <a:pt x="431" y="252"/>
                </a:cubicBezTo>
                <a:cubicBezTo>
                  <a:pt x="431" y="252"/>
                  <a:pt x="431" y="252"/>
                  <a:pt x="431" y="252"/>
                </a:cubicBezTo>
                <a:cubicBezTo>
                  <a:pt x="431" y="253"/>
                  <a:pt x="431" y="253"/>
                  <a:pt x="431" y="253"/>
                </a:cubicBezTo>
                <a:cubicBezTo>
                  <a:pt x="431" y="253"/>
                  <a:pt x="431" y="253"/>
                  <a:pt x="431" y="253"/>
                </a:cubicBezTo>
                <a:cubicBezTo>
                  <a:pt x="432" y="253"/>
                  <a:pt x="432" y="253"/>
                  <a:pt x="432" y="253"/>
                </a:cubicBezTo>
                <a:cubicBezTo>
                  <a:pt x="432" y="252"/>
                  <a:pt x="432" y="252"/>
                  <a:pt x="432" y="252"/>
                </a:cubicBezTo>
                <a:cubicBezTo>
                  <a:pt x="433" y="252"/>
                  <a:pt x="433" y="252"/>
                  <a:pt x="433" y="252"/>
                </a:cubicBezTo>
                <a:cubicBezTo>
                  <a:pt x="434" y="253"/>
                  <a:pt x="434" y="253"/>
                  <a:pt x="434" y="253"/>
                </a:cubicBezTo>
                <a:cubicBezTo>
                  <a:pt x="435" y="253"/>
                  <a:pt x="435" y="253"/>
                  <a:pt x="435" y="253"/>
                </a:cubicBezTo>
                <a:cubicBezTo>
                  <a:pt x="436" y="253"/>
                  <a:pt x="436" y="253"/>
                  <a:pt x="436" y="253"/>
                </a:cubicBezTo>
                <a:cubicBezTo>
                  <a:pt x="435" y="254"/>
                  <a:pt x="435" y="254"/>
                  <a:pt x="435" y="254"/>
                </a:cubicBezTo>
                <a:cubicBezTo>
                  <a:pt x="435" y="255"/>
                  <a:pt x="435" y="255"/>
                  <a:pt x="435" y="255"/>
                </a:cubicBezTo>
                <a:cubicBezTo>
                  <a:pt x="434" y="254"/>
                  <a:pt x="434" y="254"/>
                  <a:pt x="434" y="254"/>
                </a:cubicBezTo>
                <a:cubicBezTo>
                  <a:pt x="434" y="254"/>
                  <a:pt x="434" y="254"/>
                  <a:pt x="434" y="254"/>
                </a:cubicBezTo>
                <a:cubicBezTo>
                  <a:pt x="432" y="254"/>
                  <a:pt x="432" y="254"/>
                  <a:pt x="432" y="254"/>
                </a:cubicBezTo>
                <a:cubicBezTo>
                  <a:pt x="430" y="255"/>
                  <a:pt x="430" y="255"/>
                  <a:pt x="430" y="255"/>
                </a:cubicBezTo>
                <a:cubicBezTo>
                  <a:pt x="430" y="256"/>
                  <a:pt x="430" y="256"/>
                  <a:pt x="430" y="256"/>
                </a:cubicBezTo>
                <a:cubicBezTo>
                  <a:pt x="431" y="255"/>
                  <a:pt x="431" y="255"/>
                  <a:pt x="431" y="255"/>
                </a:cubicBezTo>
                <a:cubicBezTo>
                  <a:pt x="432" y="255"/>
                  <a:pt x="432" y="255"/>
                  <a:pt x="432" y="255"/>
                </a:cubicBezTo>
                <a:cubicBezTo>
                  <a:pt x="434" y="255"/>
                  <a:pt x="434" y="255"/>
                  <a:pt x="434" y="255"/>
                </a:cubicBezTo>
                <a:cubicBezTo>
                  <a:pt x="433" y="255"/>
                  <a:pt x="433" y="255"/>
                  <a:pt x="433" y="255"/>
                </a:cubicBezTo>
                <a:cubicBezTo>
                  <a:pt x="432" y="256"/>
                  <a:pt x="432" y="256"/>
                  <a:pt x="432" y="256"/>
                </a:cubicBezTo>
                <a:cubicBezTo>
                  <a:pt x="433" y="256"/>
                  <a:pt x="433" y="256"/>
                  <a:pt x="433" y="256"/>
                </a:cubicBezTo>
                <a:cubicBezTo>
                  <a:pt x="435" y="256"/>
                  <a:pt x="435" y="256"/>
                  <a:pt x="435" y="256"/>
                </a:cubicBezTo>
                <a:cubicBezTo>
                  <a:pt x="435" y="256"/>
                  <a:pt x="435" y="256"/>
                  <a:pt x="435" y="256"/>
                </a:cubicBezTo>
                <a:cubicBezTo>
                  <a:pt x="435" y="257"/>
                  <a:pt x="435" y="257"/>
                  <a:pt x="435" y="257"/>
                </a:cubicBezTo>
                <a:cubicBezTo>
                  <a:pt x="436" y="257"/>
                  <a:pt x="436" y="257"/>
                  <a:pt x="436" y="257"/>
                </a:cubicBezTo>
                <a:cubicBezTo>
                  <a:pt x="436" y="258"/>
                  <a:pt x="436" y="258"/>
                  <a:pt x="436" y="258"/>
                </a:cubicBezTo>
                <a:cubicBezTo>
                  <a:pt x="436" y="259"/>
                  <a:pt x="436" y="259"/>
                  <a:pt x="436" y="259"/>
                </a:cubicBezTo>
                <a:cubicBezTo>
                  <a:pt x="435" y="260"/>
                  <a:pt x="435" y="260"/>
                  <a:pt x="435" y="260"/>
                </a:cubicBezTo>
                <a:cubicBezTo>
                  <a:pt x="435" y="261"/>
                  <a:pt x="435" y="261"/>
                  <a:pt x="435" y="261"/>
                </a:cubicBezTo>
                <a:cubicBezTo>
                  <a:pt x="436" y="260"/>
                  <a:pt x="436" y="260"/>
                  <a:pt x="436" y="260"/>
                </a:cubicBezTo>
                <a:cubicBezTo>
                  <a:pt x="436" y="260"/>
                  <a:pt x="436" y="260"/>
                  <a:pt x="436" y="260"/>
                </a:cubicBezTo>
                <a:cubicBezTo>
                  <a:pt x="437" y="259"/>
                  <a:pt x="437" y="259"/>
                  <a:pt x="437" y="259"/>
                </a:cubicBezTo>
                <a:cubicBezTo>
                  <a:pt x="438" y="259"/>
                  <a:pt x="438" y="259"/>
                  <a:pt x="438" y="259"/>
                </a:cubicBezTo>
                <a:cubicBezTo>
                  <a:pt x="438" y="260"/>
                  <a:pt x="438" y="260"/>
                  <a:pt x="438" y="260"/>
                </a:cubicBezTo>
                <a:cubicBezTo>
                  <a:pt x="437" y="260"/>
                  <a:pt x="437" y="260"/>
                  <a:pt x="437" y="260"/>
                </a:cubicBezTo>
                <a:cubicBezTo>
                  <a:pt x="436" y="262"/>
                  <a:pt x="436" y="262"/>
                  <a:pt x="436" y="262"/>
                </a:cubicBezTo>
                <a:cubicBezTo>
                  <a:pt x="436" y="263"/>
                  <a:pt x="436" y="263"/>
                  <a:pt x="436" y="263"/>
                </a:cubicBezTo>
                <a:cubicBezTo>
                  <a:pt x="436" y="264"/>
                  <a:pt x="436" y="264"/>
                  <a:pt x="436" y="264"/>
                </a:cubicBezTo>
                <a:cubicBezTo>
                  <a:pt x="436" y="264"/>
                  <a:pt x="436" y="264"/>
                  <a:pt x="436" y="264"/>
                </a:cubicBezTo>
                <a:cubicBezTo>
                  <a:pt x="437" y="262"/>
                  <a:pt x="437" y="262"/>
                  <a:pt x="437" y="262"/>
                </a:cubicBezTo>
                <a:cubicBezTo>
                  <a:pt x="437" y="262"/>
                  <a:pt x="437" y="262"/>
                  <a:pt x="437" y="262"/>
                </a:cubicBezTo>
                <a:cubicBezTo>
                  <a:pt x="438" y="261"/>
                  <a:pt x="438" y="261"/>
                  <a:pt x="438" y="261"/>
                </a:cubicBezTo>
                <a:cubicBezTo>
                  <a:pt x="439" y="260"/>
                  <a:pt x="439" y="260"/>
                  <a:pt x="439" y="260"/>
                </a:cubicBezTo>
                <a:cubicBezTo>
                  <a:pt x="439" y="260"/>
                  <a:pt x="439" y="260"/>
                  <a:pt x="439" y="260"/>
                </a:cubicBezTo>
                <a:cubicBezTo>
                  <a:pt x="439" y="259"/>
                  <a:pt x="439" y="259"/>
                  <a:pt x="439" y="259"/>
                </a:cubicBezTo>
                <a:cubicBezTo>
                  <a:pt x="440" y="259"/>
                  <a:pt x="440" y="259"/>
                  <a:pt x="440" y="259"/>
                </a:cubicBezTo>
                <a:cubicBezTo>
                  <a:pt x="440" y="259"/>
                  <a:pt x="440" y="259"/>
                  <a:pt x="440" y="259"/>
                </a:cubicBezTo>
                <a:cubicBezTo>
                  <a:pt x="440" y="260"/>
                  <a:pt x="440" y="260"/>
                  <a:pt x="440" y="260"/>
                </a:cubicBezTo>
                <a:cubicBezTo>
                  <a:pt x="439" y="261"/>
                  <a:pt x="439" y="261"/>
                  <a:pt x="439" y="261"/>
                </a:cubicBezTo>
                <a:cubicBezTo>
                  <a:pt x="438" y="262"/>
                  <a:pt x="438" y="262"/>
                  <a:pt x="438" y="262"/>
                </a:cubicBezTo>
                <a:cubicBezTo>
                  <a:pt x="438" y="263"/>
                  <a:pt x="438" y="263"/>
                  <a:pt x="438" y="263"/>
                </a:cubicBezTo>
                <a:cubicBezTo>
                  <a:pt x="439" y="264"/>
                  <a:pt x="439" y="264"/>
                  <a:pt x="439" y="264"/>
                </a:cubicBezTo>
                <a:cubicBezTo>
                  <a:pt x="439" y="264"/>
                  <a:pt x="439" y="264"/>
                  <a:pt x="439" y="264"/>
                </a:cubicBezTo>
                <a:cubicBezTo>
                  <a:pt x="439" y="263"/>
                  <a:pt x="439" y="263"/>
                  <a:pt x="439" y="263"/>
                </a:cubicBezTo>
                <a:cubicBezTo>
                  <a:pt x="439" y="262"/>
                  <a:pt x="439" y="262"/>
                  <a:pt x="439" y="262"/>
                </a:cubicBezTo>
                <a:cubicBezTo>
                  <a:pt x="440" y="261"/>
                  <a:pt x="440" y="261"/>
                  <a:pt x="440" y="261"/>
                </a:cubicBezTo>
                <a:cubicBezTo>
                  <a:pt x="441" y="261"/>
                  <a:pt x="441" y="261"/>
                  <a:pt x="441" y="261"/>
                </a:cubicBezTo>
                <a:cubicBezTo>
                  <a:pt x="442" y="259"/>
                  <a:pt x="442" y="259"/>
                  <a:pt x="442" y="259"/>
                </a:cubicBezTo>
                <a:cubicBezTo>
                  <a:pt x="443" y="259"/>
                  <a:pt x="443" y="259"/>
                  <a:pt x="443" y="259"/>
                </a:cubicBezTo>
                <a:cubicBezTo>
                  <a:pt x="443" y="259"/>
                  <a:pt x="443" y="259"/>
                  <a:pt x="443" y="259"/>
                </a:cubicBezTo>
                <a:cubicBezTo>
                  <a:pt x="443" y="260"/>
                  <a:pt x="443" y="260"/>
                  <a:pt x="443" y="260"/>
                </a:cubicBezTo>
                <a:cubicBezTo>
                  <a:pt x="443" y="261"/>
                  <a:pt x="443" y="261"/>
                  <a:pt x="443" y="261"/>
                </a:cubicBezTo>
                <a:cubicBezTo>
                  <a:pt x="441" y="261"/>
                  <a:pt x="441" y="261"/>
                  <a:pt x="441" y="261"/>
                </a:cubicBezTo>
                <a:cubicBezTo>
                  <a:pt x="441" y="262"/>
                  <a:pt x="441" y="262"/>
                  <a:pt x="441" y="262"/>
                </a:cubicBezTo>
                <a:cubicBezTo>
                  <a:pt x="441" y="263"/>
                  <a:pt x="441" y="263"/>
                  <a:pt x="441" y="263"/>
                </a:cubicBezTo>
                <a:cubicBezTo>
                  <a:pt x="441" y="264"/>
                  <a:pt x="441" y="264"/>
                  <a:pt x="441" y="264"/>
                </a:cubicBezTo>
                <a:cubicBezTo>
                  <a:pt x="441" y="263"/>
                  <a:pt x="441" y="263"/>
                  <a:pt x="441" y="263"/>
                </a:cubicBezTo>
                <a:cubicBezTo>
                  <a:pt x="442" y="264"/>
                  <a:pt x="442" y="264"/>
                  <a:pt x="442" y="264"/>
                </a:cubicBezTo>
                <a:cubicBezTo>
                  <a:pt x="443" y="263"/>
                  <a:pt x="443" y="263"/>
                  <a:pt x="443" y="263"/>
                </a:cubicBezTo>
                <a:cubicBezTo>
                  <a:pt x="444" y="263"/>
                  <a:pt x="444" y="263"/>
                  <a:pt x="444" y="263"/>
                </a:cubicBezTo>
                <a:cubicBezTo>
                  <a:pt x="444" y="263"/>
                  <a:pt x="444" y="263"/>
                  <a:pt x="444" y="263"/>
                </a:cubicBezTo>
                <a:cubicBezTo>
                  <a:pt x="445" y="265"/>
                  <a:pt x="445" y="265"/>
                  <a:pt x="445" y="265"/>
                </a:cubicBezTo>
                <a:cubicBezTo>
                  <a:pt x="445" y="265"/>
                  <a:pt x="445" y="265"/>
                  <a:pt x="445" y="265"/>
                </a:cubicBezTo>
                <a:cubicBezTo>
                  <a:pt x="444" y="266"/>
                  <a:pt x="444" y="266"/>
                  <a:pt x="444" y="266"/>
                </a:cubicBezTo>
                <a:cubicBezTo>
                  <a:pt x="444" y="266"/>
                  <a:pt x="444" y="266"/>
                  <a:pt x="444" y="266"/>
                </a:cubicBezTo>
                <a:cubicBezTo>
                  <a:pt x="444" y="266"/>
                  <a:pt x="444" y="266"/>
                  <a:pt x="444" y="266"/>
                </a:cubicBezTo>
                <a:cubicBezTo>
                  <a:pt x="445" y="267"/>
                  <a:pt x="445" y="267"/>
                  <a:pt x="445" y="267"/>
                </a:cubicBezTo>
                <a:cubicBezTo>
                  <a:pt x="444" y="268"/>
                  <a:pt x="444" y="268"/>
                  <a:pt x="444" y="268"/>
                </a:cubicBezTo>
                <a:cubicBezTo>
                  <a:pt x="443" y="268"/>
                  <a:pt x="443" y="268"/>
                  <a:pt x="443" y="268"/>
                </a:cubicBezTo>
                <a:cubicBezTo>
                  <a:pt x="444" y="268"/>
                  <a:pt x="444" y="268"/>
                  <a:pt x="444" y="268"/>
                </a:cubicBezTo>
                <a:cubicBezTo>
                  <a:pt x="445" y="269"/>
                  <a:pt x="445" y="269"/>
                  <a:pt x="445" y="269"/>
                </a:cubicBezTo>
                <a:cubicBezTo>
                  <a:pt x="443" y="269"/>
                  <a:pt x="443" y="269"/>
                  <a:pt x="443" y="269"/>
                </a:cubicBezTo>
                <a:cubicBezTo>
                  <a:pt x="442" y="269"/>
                  <a:pt x="442" y="269"/>
                  <a:pt x="442" y="269"/>
                </a:cubicBezTo>
                <a:cubicBezTo>
                  <a:pt x="442" y="270"/>
                  <a:pt x="442" y="270"/>
                  <a:pt x="442" y="270"/>
                </a:cubicBezTo>
                <a:cubicBezTo>
                  <a:pt x="443" y="269"/>
                  <a:pt x="443" y="269"/>
                  <a:pt x="443" y="269"/>
                </a:cubicBezTo>
                <a:cubicBezTo>
                  <a:pt x="445" y="270"/>
                  <a:pt x="445" y="270"/>
                  <a:pt x="445" y="270"/>
                </a:cubicBezTo>
                <a:cubicBezTo>
                  <a:pt x="445" y="269"/>
                  <a:pt x="445" y="269"/>
                  <a:pt x="445" y="269"/>
                </a:cubicBezTo>
                <a:cubicBezTo>
                  <a:pt x="447" y="269"/>
                  <a:pt x="447" y="269"/>
                  <a:pt x="447" y="269"/>
                </a:cubicBezTo>
                <a:cubicBezTo>
                  <a:pt x="447" y="269"/>
                  <a:pt x="447" y="269"/>
                  <a:pt x="447" y="269"/>
                </a:cubicBezTo>
                <a:cubicBezTo>
                  <a:pt x="446" y="270"/>
                  <a:pt x="446" y="270"/>
                  <a:pt x="446" y="270"/>
                </a:cubicBezTo>
                <a:cubicBezTo>
                  <a:pt x="445" y="272"/>
                  <a:pt x="445" y="272"/>
                  <a:pt x="445" y="272"/>
                </a:cubicBezTo>
                <a:cubicBezTo>
                  <a:pt x="447" y="271"/>
                  <a:pt x="447" y="271"/>
                  <a:pt x="447" y="271"/>
                </a:cubicBezTo>
                <a:cubicBezTo>
                  <a:pt x="447" y="270"/>
                  <a:pt x="447" y="270"/>
                  <a:pt x="447" y="270"/>
                </a:cubicBezTo>
                <a:cubicBezTo>
                  <a:pt x="448" y="269"/>
                  <a:pt x="448" y="269"/>
                  <a:pt x="448" y="269"/>
                </a:cubicBezTo>
                <a:cubicBezTo>
                  <a:pt x="449" y="269"/>
                  <a:pt x="449" y="269"/>
                  <a:pt x="449" y="269"/>
                </a:cubicBezTo>
                <a:cubicBezTo>
                  <a:pt x="450" y="269"/>
                  <a:pt x="450" y="269"/>
                  <a:pt x="450" y="269"/>
                </a:cubicBezTo>
                <a:cubicBezTo>
                  <a:pt x="450" y="269"/>
                  <a:pt x="450" y="269"/>
                  <a:pt x="450" y="269"/>
                </a:cubicBezTo>
                <a:cubicBezTo>
                  <a:pt x="449" y="270"/>
                  <a:pt x="449" y="270"/>
                  <a:pt x="449" y="270"/>
                </a:cubicBezTo>
                <a:cubicBezTo>
                  <a:pt x="449" y="270"/>
                  <a:pt x="449" y="270"/>
                  <a:pt x="449" y="270"/>
                </a:cubicBezTo>
                <a:cubicBezTo>
                  <a:pt x="448" y="271"/>
                  <a:pt x="448" y="271"/>
                  <a:pt x="448" y="271"/>
                </a:cubicBezTo>
                <a:cubicBezTo>
                  <a:pt x="448" y="272"/>
                  <a:pt x="448" y="272"/>
                  <a:pt x="448" y="272"/>
                </a:cubicBezTo>
                <a:cubicBezTo>
                  <a:pt x="446" y="273"/>
                  <a:pt x="446" y="273"/>
                  <a:pt x="446" y="273"/>
                </a:cubicBezTo>
                <a:cubicBezTo>
                  <a:pt x="446" y="274"/>
                  <a:pt x="446" y="274"/>
                  <a:pt x="446" y="274"/>
                </a:cubicBezTo>
                <a:cubicBezTo>
                  <a:pt x="446" y="275"/>
                  <a:pt x="446" y="275"/>
                  <a:pt x="446" y="275"/>
                </a:cubicBezTo>
                <a:cubicBezTo>
                  <a:pt x="447" y="275"/>
                  <a:pt x="447" y="275"/>
                  <a:pt x="447" y="275"/>
                </a:cubicBezTo>
                <a:cubicBezTo>
                  <a:pt x="447" y="274"/>
                  <a:pt x="447" y="274"/>
                  <a:pt x="447" y="274"/>
                </a:cubicBezTo>
                <a:cubicBezTo>
                  <a:pt x="447" y="273"/>
                  <a:pt x="447" y="273"/>
                  <a:pt x="447" y="273"/>
                </a:cubicBezTo>
                <a:cubicBezTo>
                  <a:pt x="449" y="272"/>
                  <a:pt x="449" y="272"/>
                  <a:pt x="449" y="272"/>
                </a:cubicBezTo>
                <a:cubicBezTo>
                  <a:pt x="450" y="272"/>
                  <a:pt x="450" y="272"/>
                  <a:pt x="450" y="272"/>
                </a:cubicBezTo>
                <a:cubicBezTo>
                  <a:pt x="450" y="272"/>
                  <a:pt x="450" y="272"/>
                  <a:pt x="450" y="272"/>
                </a:cubicBezTo>
                <a:cubicBezTo>
                  <a:pt x="449" y="274"/>
                  <a:pt x="449" y="274"/>
                  <a:pt x="449" y="274"/>
                </a:cubicBezTo>
                <a:cubicBezTo>
                  <a:pt x="449" y="275"/>
                  <a:pt x="449" y="275"/>
                  <a:pt x="449" y="275"/>
                </a:cubicBezTo>
                <a:cubicBezTo>
                  <a:pt x="448" y="276"/>
                  <a:pt x="448" y="276"/>
                  <a:pt x="448" y="276"/>
                </a:cubicBezTo>
                <a:cubicBezTo>
                  <a:pt x="449" y="275"/>
                  <a:pt x="449" y="275"/>
                  <a:pt x="449" y="275"/>
                </a:cubicBezTo>
                <a:cubicBezTo>
                  <a:pt x="450" y="274"/>
                  <a:pt x="450" y="274"/>
                  <a:pt x="450" y="274"/>
                </a:cubicBezTo>
                <a:cubicBezTo>
                  <a:pt x="450" y="273"/>
                  <a:pt x="450" y="273"/>
                  <a:pt x="450" y="273"/>
                </a:cubicBezTo>
                <a:cubicBezTo>
                  <a:pt x="450" y="273"/>
                  <a:pt x="450" y="273"/>
                  <a:pt x="450" y="273"/>
                </a:cubicBezTo>
                <a:cubicBezTo>
                  <a:pt x="451" y="273"/>
                  <a:pt x="451" y="273"/>
                  <a:pt x="451" y="273"/>
                </a:cubicBezTo>
                <a:cubicBezTo>
                  <a:pt x="451" y="275"/>
                  <a:pt x="451" y="275"/>
                  <a:pt x="451" y="275"/>
                </a:cubicBezTo>
                <a:cubicBezTo>
                  <a:pt x="452" y="275"/>
                  <a:pt x="452" y="275"/>
                  <a:pt x="452" y="275"/>
                </a:cubicBezTo>
                <a:cubicBezTo>
                  <a:pt x="452" y="275"/>
                  <a:pt x="452" y="275"/>
                  <a:pt x="452" y="275"/>
                </a:cubicBezTo>
                <a:cubicBezTo>
                  <a:pt x="452" y="274"/>
                  <a:pt x="452" y="274"/>
                  <a:pt x="452" y="274"/>
                </a:cubicBezTo>
                <a:cubicBezTo>
                  <a:pt x="452" y="273"/>
                  <a:pt x="452" y="273"/>
                  <a:pt x="452" y="273"/>
                </a:cubicBezTo>
                <a:cubicBezTo>
                  <a:pt x="454" y="273"/>
                  <a:pt x="454" y="273"/>
                  <a:pt x="454" y="273"/>
                </a:cubicBezTo>
                <a:cubicBezTo>
                  <a:pt x="454" y="273"/>
                  <a:pt x="454" y="273"/>
                  <a:pt x="454" y="273"/>
                </a:cubicBezTo>
                <a:cubicBezTo>
                  <a:pt x="454" y="274"/>
                  <a:pt x="454" y="274"/>
                  <a:pt x="454" y="274"/>
                </a:cubicBezTo>
                <a:cubicBezTo>
                  <a:pt x="454" y="274"/>
                  <a:pt x="454" y="274"/>
                  <a:pt x="454" y="274"/>
                </a:cubicBezTo>
                <a:cubicBezTo>
                  <a:pt x="455" y="274"/>
                  <a:pt x="455" y="274"/>
                  <a:pt x="455" y="274"/>
                </a:cubicBezTo>
                <a:cubicBezTo>
                  <a:pt x="455" y="274"/>
                  <a:pt x="455" y="274"/>
                  <a:pt x="455" y="274"/>
                </a:cubicBezTo>
                <a:cubicBezTo>
                  <a:pt x="455" y="276"/>
                  <a:pt x="455" y="276"/>
                  <a:pt x="455" y="276"/>
                </a:cubicBezTo>
                <a:cubicBezTo>
                  <a:pt x="456" y="276"/>
                  <a:pt x="456" y="276"/>
                  <a:pt x="456" y="276"/>
                </a:cubicBezTo>
                <a:cubicBezTo>
                  <a:pt x="456" y="276"/>
                  <a:pt x="456" y="276"/>
                  <a:pt x="456" y="276"/>
                </a:cubicBezTo>
                <a:cubicBezTo>
                  <a:pt x="457" y="277"/>
                  <a:pt x="457" y="277"/>
                  <a:pt x="457" y="277"/>
                </a:cubicBezTo>
                <a:cubicBezTo>
                  <a:pt x="457" y="278"/>
                  <a:pt x="457" y="278"/>
                  <a:pt x="457" y="278"/>
                </a:cubicBezTo>
                <a:cubicBezTo>
                  <a:pt x="457" y="278"/>
                  <a:pt x="457" y="278"/>
                  <a:pt x="457" y="278"/>
                </a:cubicBezTo>
                <a:cubicBezTo>
                  <a:pt x="457" y="279"/>
                  <a:pt x="457" y="279"/>
                  <a:pt x="457" y="279"/>
                </a:cubicBezTo>
                <a:cubicBezTo>
                  <a:pt x="457" y="279"/>
                  <a:pt x="457" y="279"/>
                  <a:pt x="457" y="279"/>
                </a:cubicBezTo>
                <a:cubicBezTo>
                  <a:pt x="455" y="279"/>
                  <a:pt x="455" y="279"/>
                  <a:pt x="455" y="279"/>
                </a:cubicBezTo>
                <a:cubicBezTo>
                  <a:pt x="455" y="278"/>
                  <a:pt x="455" y="278"/>
                  <a:pt x="455" y="278"/>
                </a:cubicBezTo>
                <a:cubicBezTo>
                  <a:pt x="455" y="278"/>
                  <a:pt x="455" y="278"/>
                  <a:pt x="455" y="278"/>
                </a:cubicBezTo>
                <a:cubicBezTo>
                  <a:pt x="454" y="277"/>
                  <a:pt x="454" y="277"/>
                  <a:pt x="454" y="277"/>
                </a:cubicBezTo>
                <a:cubicBezTo>
                  <a:pt x="454" y="277"/>
                  <a:pt x="454" y="277"/>
                  <a:pt x="454" y="277"/>
                </a:cubicBezTo>
                <a:cubicBezTo>
                  <a:pt x="453" y="277"/>
                  <a:pt x="453" y="277"/>
                  <a:pt x="453" y="277"/>
                </a:cubicBezTo>
                <a:cubicBezTo>
                  <a:pt x="453" y="278"/>
                  <a:pt x="453" y="278"/>
                  <a:pt x="453" y="278"/>
                </a:cubicBezTo>
                <a:cubicBezTo>
                  <a:pt x="453" y="278"/>
                  <a:pt x="453" y="278"/>
                  <a:pt x="453" y="278"/>
                </a:cubicBezTo>
                <a:cubicBezTo>
                  <a:pt x="454" y="278"/>
                  <a:pt x="454" y="278"/>
                  <a:pt x="454" y="278"/>
                </a:cubicBezTo>
                <a:cubicBezTo>
                  <a:pt x="454" y="279"/>
                  <a:pt x="454" y="279"/>
                  <a:pt x="454" y="279"/>
                </a:cubicBezTo>
                <a:cubicBezTo>
                  <a:pt x="454" y="279"/>
                  <a:pt x="454" y="279"/>
                  <a:pt x="454" y="279"/>
                </a:cubicBezTo>
                <a:cubicBezTo>
                  <a:pt x="455" y="279"/>
                  <a:pt x="455" y="279"/>
                  <a:pt x="455" y="279"/>
                </a:cubicBezTo>
                <a:cubicBezTo>
                  <a:pt x="455" y="280"/>
                  <a:pt x="455" y="280"/>
                  <a:pt x="455" y="280"/>
                </a:cubicBezTo>
                <a:cubicBezTo>
                  <a:pt x="454" y="280"/>
                  <a:pt x="454" y="280"/>
                  <a:pt x="454" y="280"/>
                </a:cubicBezTo>
                <a:cubicBezTo>
                  <a:pt x="453" y="280"/>
                  <a:pt x="453" y="280"/>
                  <a:pt x="453" y="280"/>
                </a:cubicBezTo>
                <a:cubicBezTo>
                  <a:pt x="453" y="280"/>
                  <a:pt x="453" y="280"/>
                  <a:pt x="453" y="280"/>
                </a:cubicBezTo>
                <a:cubicBezTo>
                  <a:pt x="453" y="281"/>
                  <a:pt x="453" y="281"/>
                  <a:pt x="453" y="281"/>
                </a:cubicBezTo>
                <a:cubicBezTo>
                  <a:pt x="455" y="281"/>
                  <a:pt x="455" y="281"/>
                  <a:pt x="455" y="281"/>
                </a:cubicBezTo>
                <a:cubicBezTo>
                  <a:pt x="455" y="281"/>
                  <a:pt x="455" y="281"/>
                  <a:pt x="455" y="281"/>
                </a:cubicBezTo>
                <a:cubicBezTo>
                  <a:pt x="455" y="281"/>
                  <a:pt x="455" y="281"/>
                  <a:pt x="455" y="281"/>
                </a:cubicBezTo>
                <a:cubicBezTo>
                  <a:pt x="455" y="282"/>
                  <a:pt x="455" y="282"/>
                  <a:pt x="455" y="282"/>
                </a:cubicBezTo>
                <a:cubicBezTo>
                  <a:pt x="454" y="282"/>
                  <a:pt x="454" y="282"/>
                  <a:pt x="454" y="282"/>
                </a:cubicBezTo>
                <a:cubicBezTo>
                  <a:pt x="453" y="282"/>
                  <a:pt x="453" y="282"/>
                  <a:pt x="453" y="282"/>
                </a:cubicBezTo>
                <a:cubicBezTo>
                  <a:pt x="452" y="282"/>
                  <a:pt x="452" y="282"/>
                  <a:pt x="452" y="282"/>
                </a:cubicBezTo>
                <a:cubicBezTo>
                  <a:pt x="451" y="282"/>
                  <a:pt x="451" y="282"/>
                  <a:pt x="451" y="282"/>
                </a:cubicBezTo>
                <a:cubicBezTo>
                  <a:pt x="451" y="281"/>
                  <a:pt x="451" y="281"/>
                  <a:pt x="451" y="281"/>
                </a:cubicBezTo>
                <a:cubicBezTo>
                  <a:pt x="451" y="280"/>
                  <a:pt x="451" y="280"/>
                  <a:pt x="451" y="280"/>
                </a:cubicBezTo>
                <a:cubicBezTo>
                  <a:pt x="450" y="280"/>
                  <a:pt x="450" y="280"/>
                  <a:pt x="450" y="280"/>
                </a:cubicBezTo>
                <a:cubicBezTo>
                  <a:pt x="450" y="279"/>
                  <a:pt x="450" y="279"/>
                  <a:pt x="450" y="279"/>
                </a:cubicBezTo>
                <a:cubicBezTo>
                  <a:pt x="449" y="279"/>
                  <a:pt x="449" y="279"/>
                  <a:pt x="449" y="279"/>
                </a:cubicBezTo>
                <a:cubicBezTo>
                  <a:pt x="449" y="280"/>
                  <a:pt x="449" y="280"/>
                  <a:pt x="449" y="280"/>
                </a:cubicBezTo>
                <a:cubicBezTo>
                  <a:pt x="450" y="281"/>
                  <a:pt x="450" y="281"/>
                  <a:pt x="450" y="281"/>
                </a:cubicBezTo>
                <a:cubicBezTo>
                  <a:pt x="450" y="281"/>
                  <a:pt x="450" y="281"/>
                  <a:pt x="450" y="281"/>
                </a:cubicBezTo>
                <a:cubicBezTo>
                  <a:pt x="450" y="282"/>
                  <a:pt x="450" y="282"/>
                  <a:pt x="450" y="282"/>
                </a:cubicBezTo>
                <a:cubicBezTo>
                  <a:pt x="449" y="282"/>
                  <a:pt x="449" y="282"/>
                  <a:pt x="449" y="282"/>
                </a:cubicBezTo>
                <a:cubicBezTo>
                  <a:pt x="448" y="281"/>
                  <a:pt x="448" y="281"/>
                  <a:pt x="448" y="281"/>
                </a:cubicBezTo>
                <a:cubicBezTo>
                  <a:pt x="448" y="281"/>
                  <a:pt x="448" y="281"/>
                  <a:pt x="448" y="281"/>
                </a:cubicBezTo>
                <a:cubicBezTo>
                  <a:pt x="448" y="282"/>
                  <a:pt x="448" y="282"/>
                  <a:pt x="448" y="282"/>
                </a:cubicBezTo>
                <a:cubicBezTo>
                  <a:pt x="449" y="283"/>
                  <a:pt x="449" y="283"/>
                  <a:pt x="449" y="283"/>
                </a:cubicBezTo>
                <a:cubicBezTo>
                  <a:pt x="450" y="283"/>
                  <a:pt x="450" y="283"/>
                  <a:pt x="450" y="283"/>
                </a:cubicBezTo>
                <a:cubicBezTo>
                  <a:pt x="450" y="283"/>
                  <a:pt x="450" y="283"/>
                  <a:pt x="450" y="283"/>
                </a:cubicBezTo>
                <a:cubicBezTo>
                  <a:pt x="451" y="283"/>
                  <a:pt x="451" y="283"/>
                  <a:pt x="451" y="283"/>
                </a:cubicBezTo>
                <a:cubicBezTo>
                  <a:pt x="451" y="284"/>
                  <a:pt x="451" y="284"/>
                  <a:pt x="451" y="284"/>
                </a:cubicBezTo>
                <a:cubicBezTo>
                  <a:pt x="451" y="285"/>
                  <a:pt x="451" y="285"/>
                  <a:pt x="451" y="285"/>
                </a:cubicBezTo>
                <a:cubicBezTo>
                  <a:pt x="449" y="285"/>
                  <a:pt x="449" y="285"/>
                  <a:pt x="449" y="285"/>
                </a:cubicBezTo>
                <a:cubicBezTo>
                  <a:pt x="449" y="284"/>
                  <a:pt x="449" y="284"/>
                  <a:pt x="449" y="284"/>
                </a:cubicBezTo>
                <a:cubicBezTo>
                  <a:pt x="448" y="283"/>
                  <a:pt x="448" y="283"/>
                  <a:pt x="448" y="283"/>
                </a:cubicBezTo>
                <a:cubicBezTo>
                  <a:pt x="447" y="283"/>
                  <a:pt x="447" y="283"/>
                  <a:pt x="447" y="283"/>
                </a:cubicBezTo>
                <a:cubicBezTo>
                  <a:pt x="447" y="283"/>
                  <a:pt x="447" y="283"/>
                  <a:pt x="447" y="283"/>
                </a:cubicBezTo>
                <a:cubicBezTo>
                  <a:pt x="447" y="283"/>
                  <a:pt x="447" y="283"/>
                  <a:pt x="447" y="283"/>
                </a:cubicBezTo>
                <a:cubicBezTo>
                  <a:pt x="448" y="284"/>
                  <a:pt x="448" y="284"/>
                  <a:pt x="448" y="284"/>
                </a:cubicBezTo>
                <a:cubicBezTo>
                  <a:pt x="449" y="285"/>
                  <a:pt x="449" y="285"/>
                  <a:pt x="449" y="285"/>
                </a:cubicBezTo>
                <a:cubicBezTo>
                  <a:pt x="449" y="287"/>
                  <a:pt x="449" y="287"/>
                  <a:pt x="449" y="287"/>
                </a:cubicBezTo>
                <a:cubicBezTo>
                  <a:pt x="448" y="287"/>
                  <a:pt x="448" y="287"/>
                  <a:pt x="448" y="287"/>
                </a:cubicBezTo>
                <a:cubicBezTo>
                  <a:pt x="448" y="287"/>
                  <a:pt x="448" y="287"/>
                  <a:pt x="448" y="287"/>
                </a:cubicBezTo>
                <a:cubicBezTo>
                  <a:pt x="447" y="286"/>
                  <a:pt x="447" y="286"/>
                  <a:pt x="447" y="286"/>
                </a:cubicBezTo>
                <a:cubicBezTo>
                  <a:pt x="447" y="286"/>
                  <a:pt x="447" y="286"/>
                  <a:pt x="447" y="286"/>
                </a:cubicBezTo>
                <a:cubicBezTo>
                  <a:pt x="446" y="286"/>
                  <a:pt x="446" y="286"/>
                  <a:pt x="446" y="286"/>
                </a:cubicBezTo>
                <a:cubicBezTo>
                  <a:pt x="446" y="286"/>
                  <a:pt x="446" y="286"/>
                  <a:pt x="446" y="286"/>
                </a:cubicBezTo>
                <a:cubicBezTo>
                  <a:pt x="446" y="286"/>
                  <a:pt x="446" y="286"/>
                  <a:pt x="446" y="286"/>
                </a:cubicBezTo>
                <a:cubicBezTo>
                  <a:pt x="446" y="287"/>
                  <a:pt x="446" y="287"/>
                  <a:pt x="446" y="287"/>
                </a:cubicBezTo>
                <a:cubicBezTo>
                  <a:pt x="446" y="289"/>
                  <a:pt x="446" y="289"/>
                  <a:pt x="446" y="289"/>
                </a:cubicBezTo>
                <a:cubicBezTo>
                  <a:pt x="446" y="289"/>
                  <a:pt x="446" y="289"/>
                  <a:pt x="446" y="289"/>
                </a:cubicBezTo>
                <a:cubicBezTo>
                  <a:pt x="445" y="289"/>
                  <a:pt x="445" y="289"/>
                  <a:pt x="445" y="289"/>
                </a:cubicBezTo>
                <a:cubicBezTo>
                  <a:pt x="445" y="289"/>
                  <a:pt x="445" y="289"/>
                  <a:pt x="445" y="289"/>
                </a:cubicBezTo>
                <a:cubicBezTo>
                  <a:pt x="445" y="288"/>
                  <a:pt x="445" y="288"/>
                  <a:pt x="445" y="288"/>
                </a:cubicBezTo>
                <a:cubicBezTo>
                  <a:pt x="445" y="288"/>
                  <a:pt x="445" y="288"/>
                  <a:pt x="445" y="288"/>
                </a:cubicBezTo>
                <a:cubicBezTo>
                  <a:pt x="444" y="288"/>
                  <a:pt x="444" y="288"/>
                  <a:pt x="444" y="288"/>
                </a:cubicBezTo>
                <a:cubicBezTo>
                  <a:pt x="444" y="289"/>
                  <a:pt x="444" y="289"/>
                  <a:pt x="444" y="289"/>
                </a:cubicBezTo>
                <a:cubicBezTo>
                  <a:pt x="443" y="288"/>
                  <a:pt x="443" y="288"/>
                  <a:pt x="443" y="288"/>
                </a:cubicBezTo>
                <a:cubicBezTo>
                  <a:pt x="443" y="288"/>
                  <a:pt x="443" y="288"/>
                  <a:pt x="443" y="288"/>
                </a:cubicBezTo>
                <a:cubicBezTo>
                  <a:pt x="443" y="287"/>
                  <a:pt x="443" y="287"/>
                  <a:pt x="443" y="287"/>
                </a:cubicBezTo>
                <a:cubicBezTo>
                  <a:pt x="443" y="286"/>
                  <a:pt x="443" y="286"/>
                  <a:pt x="443" y="286"/>
                </a:cubicBezTo>
                <a:cubicBezTo>
                  <a:pt x="443" y="285"/>
                  <a:pt x="443" y="285"/>
                  <a:pt x="443" y="285"/>
                </a:cubicBezTo>
                <a:cubicBezTo>
                  <a:pt x="442" y="286"/>
                  <a:pt x="442" y="286"/>
                  <a:pt x="442" y="286"/>
                </a:cubicBezTo>
                <a:cubicBezTo>
                  <a:pt x="442" y="288"/>
                  <a:pt x="442" y="288"/>
                  <a:pt x="442" y="288"/>
                </a:cubicBezTo>
                <a:cubicBezTo>
                  <a:pt x="442" y="288"/>
                  <a:pt x="442" y="288"/>
                  <a:pt x="442" y="288"/>
                </a:cubicBezTo>
                <a:cubicBezTo>
                  <a:pt x="441" y="288"/>
                  <a:pt x="441" y="288"/>
                  <a:pt x="441" y="288"/>
                </a:cubicBezTo>
                <a:cubicBezTo>
                  <a:pt x="441" y="288"/>
                  <a:pt x="441" y="288"/>
                  <a:pt x="441" y="288"/>
                </a:cubicBezTo>
                <a:cubicBezTo>
                  <a:pt x="442" y="289"/>
                  <a:pt x="442" y="289"/>
                  <a:pt x="442" y="289"/>
                </a:cubicBezTo>
                <a:cubicBezTo>
                  <a:pt x="442" y="289"/>
                  <a:pt x="442" y="289"/>
                  <a:pt x="442" y="289"/>
                </a:cubicBezTo>
                <a:cubicBezTo>
                  <a:pt x="442" y="290"/>
                  <a:pt x="442" y="290"/>
                  <a:pt x="442" y="290"/>
                </a:cubicBezTo>
                <a:cubicBezTo>
                  <a:pt x="441" y="290"/>
                  <a:pt x="441" y="290"/>
                  <a:pt x="441" y="290"/>
                </a:cubicBezTo>
                <a:cubicBezTo>
                  <a:pt x="441" y="289"/>
                  <a:pt x="441" y="289"/>
                  <a:pt x="441" y="289"/>
                </a:cubicBezTo>
                <a:cubicBezTo>
                  <a:pt x="440" y="290"/>
                  <a:pt x="440" y="290"/>
                  <a:pt x="440" y="290"/>
                </a:cubicBezTo>
                <a:cubicBezTo>
                  <a:pt x="441" y="290"/>
                  <a:pt x="441" y="290"/>
                  <a:pt x="441" y="290"/>
                </a:cubicBezTo>
                <a:cubicBezTo>
                  <a:pt x="442" y="290"/>
                  <a:pt x="442" y="290"/>
                  <a:pt x="442" y="290"/>
                </a:cubicBezTo>
                <a:cubicBezTo>
                  <a:pt x="442" y="291"/>
                  <a:pt x="442" y="291"/>
                  <a:pt x="442" y="291"/>
                </a:cubicBezTo>
                <a:cubicBezTo>
                  <a:pt x="442" y="292"/>
                  <a:pt x="442" y="292"/>
                  <a:pt x="442" y="292"/>
                </a:cubicBezTo>
                <a:cubicBezTo>
                  <a:pt x="441" y="292"/>
                  <a:pt x="441" y="292"/>
                  <a:pt x="441" y="292"/>
                </a:cubicBezTo>
                <a:cubicBezTo>
                  <a:pt x="441" y="292"/>
                  <a:pt x="441" y="292"/>
                  <a:pt x="441" y="292"/>
                </a:cubicBezTo>
                <a:cubicBezTo>
                  <a:pt x="441" y="293"/>
                  <a:pt x="441" y="293"/>
                  <a:pt x="441" y="293"/>
                </a:cubicBezTo>
                <a:cubicBezTo>
                  <a:pt x="441" y="294"/>
                  <a:pt x="441" y="294"/>
                  <a:pt x="441" y="294"/>
                </a:cubicBezTo>
                <a:cubicBezTo>
                  <a:pt x="441" y="294"/>
                  <a:pt x="441" y="294"/>
                  <a:pt x="441" y="294"/>
                </a:cubicBezTo>
                <a:cubicBezTo>
                  <a:pt x="441" y="293"/>
                  <a:pt x="441" y="293"/>
                  <a:pt x="441" y="293"/>
                </a:cubicBezTo>
                <a:cubicBezTo>
                  <a:pt x="440" y="294"/>
                  <a:pt x="440" y="294"/>
                  <a:pt x="440" y="294"/>
                </a:cubicBezTo>
                <a:cubicBezTo>
                  <a:pt x="441" y="294"/>
                  <a:pt x="441" y="294"/>
                  <a:pt x="441" y="294"/>
                </a:cubicBezTo>
                <a:cubicBezTo>
                  <a:pt x="441" y="295"/>
                  <a:pt x="441" y="295"/>
                  <a:pt x="441" y="295"/>
                </a:cubicBezTo>
                <a:cubicBezTo>
                  <a:pt x="441" y="296"/>
                  <a:pt x="441" y="296"/>
                  <a:pt x="441" y="296"/>
                </a:cubicBezTo>
                <a:cubicBezTo>
                  <a:pt x="440" y="296"/>
                  <a:pt x="440" y="296"/>
                  <a:pt x="440" y="296"/>
                </a:cubicBezTo>
                <a:cubicBezTo>
                  <a:pt x="440" y="297"/>
                  <a:pt x="440" y="297"/>
                  <a:pt x="440" y="297"/>
                </a:cubicBezTo>
                <a:cubicBezTo>
                  <a:pt x="439" y="297"/>
                  <a:pt x="439" y="297"/>
                  <a:pt x="439" y="297"/>
                </a:cubicBezTo>
                <a:cubicBezTo>
                  <a:pt x="439" y="296"/>
                  <a:pt x="439" y="296"/>
                  <a:pt x="439" y="296"/>
                </a:cubicBezTo>
                <a:cubicBezTo>
                  <a:pt x="439" y="296"/>
                  <a:pt x="439" y="296"/>
                  <a:pt x="439" y="296"/>
                </a:cubicBezTo>
                <a:cubicBezTo>
                  <a:pt x="439" y="295"/>
                  <a:pt x="439" y="295"/>
                  <a:pt x="439" y="295"/>
                </a:cubicBezTo>
                <a:cubicBezTo>
                  <a:pt x="438" y="295"/>
                  <a:pt x="438" y="295"/>
                  <a:pt x="438" y="295"/>
                </a:cubicBezTo>
                <a:cubicBezTo>
                  <a:pt x="438" y="295"/>
                  <a:pt x="438" y="295"/>
                  <a:pt x="438" y="295"/>
                </a:cubicBezTo>
                <a:cubicBezTo>
                  <a:pt x="438" y="294"/>
                  <a:pt x="438" y="294"/>
                  <a:pt x="438" y="294"/>
                </a:cubicBezTo>
                <a:cubicBezTo>
                  <a:pt x="438" y="294"/>
                  <a:pt x="438" y="294"/>
                  <a:pt x="438" y="294"/>
                </a:cubicBezTo>
                <a:cubicBezTo>
                  <a:pt x="438" y="294"/>
                  <a:pt x="438" y="294"/>
                  <a:pt x="438" y="294"/>
                </a:cubicBezTo>
                <a:cubicBezTo>
                  <a:pt x="437" y="294"/>
                  <a:pt x="437" y="294"/>
                  <a:pt x="437" y="294"/>
                </a:cubicBezTo>
                <a:cubicBezTo>
                  <a:pt x="437" y="295"/>
                  <a:pt x="437" y="295"/>
                  <a:pt x="437" y="295"/>
                </a:cubicBezTo>
                <a:cubicBezTo>
                  <a:pt x="436" y="295"/>
                  <a:pt x="436" y="295"/>
                  <a:pt x="436" y="295"/>
                </a:cubicBezTo>
                <a:cubicBezTo>
                  <a:pt x="436" y="294"/>
                  <a:pt x="436" y="294"/>
                  <a:pt x="436" y="294"/>
                </a:cubicBezTo>
                <a:cubicBezTo>
                  <a:pt x="436" y="293"/>
                  <a:pt x="436" y="293"/>
                  <a:pt x="436" y="293"/>
                </a:cubicBezTo>
                <a:cubicBezTo>
                  <a:pt x="436" y="293"/>
                  <a:pt x="436" y="293"/>
                  <a:pt x="436" y="293"/>
                </a:cubicBezTo>
                <a:cubicBezTo>
                  <a:pt x="436" y="292"/>
                  <a:pt x="436" y="292"/>
                  <a:pt x="436" y="292"/>
                </a:cubicBezTo>
                <a:cubicBezTo>
                  <a:pt x="436" y="292"/>
                  <a:pt x="436" y="292"/>
                  <a:pt x="436" y="292"/>
                </a:cubicBezTo>
                <a:cubicBezTo>
                  <a:pt x="436" y="292"/>
                  <a:pt x="436" y="292"/>
                  <a:pt x="436" y="292"/>
                </a:cubicBezTo>
                <a:cubicBezTo>
                  <a:pt x="436" y="291"/>
                  <a:pt x="436" y="291"/>
                  <a:pt x="436" y="291"/>
                </a:cubicBezTo>
                <a:cubicBezTo>
                  <a:pt x="436" y="291"/>
                  <a:pt x="436" y="291"/>
                  <a:pt x="436" y="291"/>
                </a:cubicBezTo>
                <a:cubicBezTo>
                  <a:pt x="436" y="292"/>
                  <a:pt x="436" y="292"/>
                  <a:pt x="436" y="292"/>
                </a:cubicBezTo>
                <a:cubicBezTo>
                  <a:pt x="435" y="293"/>
                  <a:pt x="435" y="293"/>
                  <a:pt x="435" y="293"/>
                </a:cubicBezTo>
                <a:cubicBezTo>
                  <a:pt x="434" y="294"/>
                  <a:pt x="434" y="294"/>
                  <a:pt x="434" y="294"/>
                </a:cubicBezTo>
                <a:cubicBezTo>
                  <a:pt x="434" y="293"/>
                  <a:pt x="434" y="293"/>
                  <a:pt x="434" y="293"/>
                </a:cubicBezTo>
                <a:cubicBezTo>
                  <a:pt x="434" y="293"/>
                  <a:pt x="434" y="293"/>
                  <a:pt x="434" y="293"/>
                </a:cubicBezTo>
                <a:cubicBezTo>
                  <a:pt x="434" y="292"/>
                  <a:pt x="434" y="292"/>
                  <a:pt x="434" y="292"/>
                </a:cubicBezTo>
                <a:cubicBezTo>
                  <a:pt x="434" y="291"/>
                  <a:pt x="434" y="291"/>
                  <a:pt x="434" y="291"/>
                </a:cubicBezTo>
                <a:cubicBezTo>
                  <a:pt x="434" y="291"/>
                  <a:pt x="434" y="291"/>
                  <a:pt x="434" y="291"/>
                </a:cubicBezTo>
                <a:cubicBezTo>
                  <a:pt x="435" y="290"/>
                  <a:pt x="435" y="290"/>
                  <a:pt x="435" y="290"/>
                </a:cubicBezTo>
                <a:cubicBezTo>
                  <a:pt x="435" y="290"/>
                  <a:pt x="435" y="290"/>
                  <a:pt x="435" y="290"/>
                </a:cubicBezTo>
                <a:cubicBezTo>
                  <a:pt x="436" y="290"/>
                  <a:pt x="436" y="290"/>
                  <a:pt x="436" y="290"/>
                </a:cubicBezTo>
                <a:cubicBezTo>
                  <a:pt x="435" y="289"/>
                  <a:pt x="435" y="289"/>
                  <a:pt x="435" y="289"/>
                </a:cubicBezTo>
                <a:cubicBezTo>
                  <a:pt x="435" y="289"/>
                  <a:pt x="435" y="289"/>
                  <a:pt x="435" y="289"/>
                </a:cubicBezTo>
                <a:cubicBezTo>
                  <a:pt x="434" y="289"/>
                  <a:pt x="434" y="289"/>
                  <a:pt x="434" y="289"/>
                </a:cubicBezTo>
                <a:cubicBezTo>
                  <a:pt x="433" y="289"/>
                  <a:pt x="433" y="289"/>
                  <a:pt x="433" y="289"/>
                </a:cubicBezTo>
                <a:cubicBezTo>
                  <a:pt x="433" y="289"/>
                  <a:pt x="433" y="289"/>
                  <a:pt x="433" y="289"/>
                </a:cubicBezTo>
                <a:cubicBezTo>
                  <a:pt x="433" y="288"/>
                  <a:pt x="433" y="288"/>
                  <a:pt x="433" y="288"/>
                </a:cubicBezTo>
                <a:cubicBezTo>
                  <a:pt x="434" y="288"/>
                  <a:pt x="434" y="288"/>
                  <a:pt x="434" y="288"/>
                </a:cubicBezTo>
                <a:cubicBezTo>
                  <a:pt x="435" y="287"/>
                  <a:pt x="435" y="287"/>
                  <a:pt x="435" y="287"/>
                </a:cubicBezTo>
                <a:cubicBezTo>
                  <a:pt x="434" y="287"/>
                  <a:pt x="434" y="287"/>
                  <a:pt x="434" y="287"/>
                </a:cubicBezTo>
                <a:cubicBezTo>
                  <a:pt x="434" y="287"/>
                  <a:pt x="434" y="287"/>
                  <a:pt x="434" y="287"/>
                </a:cubicBezTo>
                <a:cubicBezTo>
                  <a:pt x="433" y="287"/>
                  <a:pt x="433" y="287"/>
                  <a:pt x="433" y="287"/>
                </a:cubicBezTo>
                <a:cubicBezTo>
                  <a:pt x="433" y="287"/>
                  <a:pt x="433" y="287"/>
                  <a:pt x="433" y="287"/>
                </a:cubicBezTo>
                <a:cubicBezTo>
                  <a:pt x="434" y="286"/>
                  <a:pt x="434" y="286"/>
                  <a:pt x="434" y="286"/>
                </a:cubicBezTo>
                <a:cubicBezTo>
                  <a:pt x="434" y="286"/>
                  <a:pt x="434" y="286"/>
                  <a:pt x="434" y="286"/>
                </a:cubicBezTo>
                <a:cubicBezTo>
                  <a:pt x="435" y="286"/>
                  <a:pt x="435" y="286"/>
                  <a:pt x="435" y="286"/>
                </a:cubicBezTo>
                <a:cubicBezTo>
                  <a:pt x="434" y="285"/>
                  <a:pt x="434" y="285"/>
                  <a:pt x="434" y="285"/>
                </a:cubicBezTo>
                <a:cubicBezTo>
                  <a:pt x="434" y="285"/>
                  <a:pt x="434" y="285"/>
                  <a:pt x="434" y="285"/>
                </a:cubicBezTo>
                <a:cubicBezTo>
                  <a:pt x="433" y="286"/>
                  <a:pt x="433" y="286"/>
                  <a:pt x="433" y="286"/>
                </a:cubicBezTo>
                <a:cubicBezTo>
                  <a:pt x="433" y="286"/>
                  <a:pt x="433" y="286"/>
                  <a:pt x="433" y="286"/>
                </a:cubicBezTo>
                <a:cubicBezTo>
                  <a:pt x="433" y="285"/>
                  <a:pt x="433" y="285"/>
                  <a:pt x="433" y="285"/>
                </a:cubicBezTo>
                <a:cubicBezTo>
                  <a:pt x="434" y="284"/>
                  <a:pt x="434" y="284"/>
                  <a:pt x="434" y="284"/>
                </a:cubicBezTo>
                <a:cubicBezTo>
                  <a:pt x="434" y="283"/>
                  <a:pt x="434" y="283"/>
                  <a:pt x="434" y="283"/>
                </a:cubicBezTo>
                <a:cubicBezTo>
                  <a:pt x="435" y="283"/>
                  <a:pt x="435" y="283"/>
                  <a:pt x="435" y="283"/>
                </a:cubicBezTo>
                <a:cubicBezTo>
                  <a:pt x="436" y="282"/>
                  <a:pt x="436" y="282"/>
                  <a:pt x="436" y="282"/>
                </a:cubicBezTo>
                <a:cubicBezTo>
                  <a:pt x="437" y="282"/>
                  <a:pt x="437" y="282"/>
                  <a:pt x="437" y="282"/>
                </a:cubicBezTo>
                <a:cubicBezTo>
                  <a:pt x="438" y="281"/>
                  <a:pt x="438" y="281"/>
                  <a:pt x="438" y="281"/>
                </a:cubicBezTo>
                <a:cubicBezTo>
                  <a:pt x="439" y="280"/>
                  <a:pt x="439" y="280"/>
                  <a:pt x="439" y="280"/>
                </a:cubicBezTo>
                <a:cubicBezTo>
                  <a:pt x="439" y="280"/>
                  <a:pt x="439" y="280"/>
                  <a:pt x="439" y="280"/>
                </a:cubicBezTo>
                <a:cubicBezTo>
                  <a:pt x="439" y="279"/>
                  <a:pt x="439" y="279"/>
                  <a:pt x="439" y="279"/>
                </a:cubicBezTo>
                <a:cubicBezTo>
                  <a:pt x="438" y="279"/>
                  <a:pt x="438" y="279"/>
                  <a:pt x="438" y="279"/>
                </a:cubicBezTo>
                <a:cubicBezTo>
                  <a:pt x="437" y="280"/>
                  <a:pt x="437" y="280"/>
                  <a:pt x="437" y="280"/>
                </a:cubicBezTo>
                <a:cubicBezTo>
                  <a:pt x="437" y="280"/>
                  <a:pt x="437" y="280"/>
                  <a:pt x="437" y="280"/>
                </a:cubicBezTo>
                <a:cubicBezTo>
                  <a:pt x="436" y="281"/>
                  <a:pt x="436" y="281"/>
                  <a:pt x="436" y="281"/>
                </a:cubicBezTo>
                <a:cubicBezTo>
                  <a:pt x="435" y="282"/>
                  <a:pt x="435" y="282"/>
                  <a:pt x="435" y="282"/>
                </a:cubicBezTo>
                <a:cubicBezTo>
                  <a:pt x="434" y="282"/>
                  <a:pt x="434" y="282"/>
                  <a:pt x="434" y="282"/>
                </a:cubicBezTo>
                <a:cubicBezTo>
                  <a:pt x="432" y="283"/>
                  <a:pt x="432" y="283"/>
                  <a:pt x="432" y="283"/>
                </a:cubicBezTo>
                <a:cubicBezTo>
                  <a:pt x="431" y="283"/>
                  <a:pt x="431" y="283"/>
                  <a:pt x="431" y="283"/>
                </a:cubicBezTo>
                <a:cubicBezTo>
                  <a:pt x="430" y="283"/>
                  <a:pt x="430" y="283"/>
                  <a:pt x="430" y="283"/>
                </a:cubicBezTo>
                <a:cubicBezTo>
                  <a:pt x="430" y="283"/>
                  <a:pt x="430" y="283"/>
                  <a:pt x="430" y="283"/>
                </a:cubicBezTo>
                <a:cubicBezTo>
                  <a:pt x="432" y="281"/>
                  <a:pt x="432" y="281"/>
                  <a:pt x="432" y="281"/>
                </a:cubicBezTo>
                <a:cubicBezTo>
                  <a:pt x="433" y="280"/>
                  <a:pt x="433" y="280"/>
                  <a:pt x="433" y="280"/>
                </a:cubicBezTo>
                <a:cubicBezTo>
                  <a:pt x="434" y="280"/>
                  <a:pt x="434" y="280"/>
                  <a:pt x="434" y="280"/>
                </a:cubicBezTo>
                <a:cubicBezTo>
                  <a:pt x="434" y="279"/>
                  <a:pt x="434" y="279"/>
                  <a:pt x="434" y="279"/>
                </a:cubicBezTo>
                <a:cubicBezTo>
                  <a:pt x="434" y="278"/>
                  <a:pt x="434" y="278"/>
                  <a:pt x="434" y="278"/>
                </a:cubicBezTo>
                <a:cubicBezTo>
                  <a:pt x="433" y="279"/>
                  <a:pt x="433" y="279"/>
                  <a:pt x="433" y="279"/>
                </a:cubicBezTo>
                <a:cubicBezTo>
                  <a:pt x="431" y="281"/>
                  <a:pt x="431" y="281"/>
                  <a:pt x="431" y="281"/>
                </a:cubicBezTo>
                <a:cubicBezTo>
                  <a:pt x="430" y="281"/>
                  <a:pt x="430" y="281"/>
                  <a:pt x="430" y="281"/>
                </a:cubicBezTo>
                <a:cubicBezTo>
                  <a:pt x="429" y="281"/>
                  <a:pt x="429" y="281"/>
                  <a:pt x="429" y="281"/>
                </a:cubicBezTo>
                <a:cubicBezTo>
                  <a:pt x="429" y="281"/>
                  <a:pt x="429" y="281"/>
                  <a:pt x="429" y="281"/>
                </a:cubicBezTo>
                <a:cubicBezTo>
                  <a:pt x="429" y="280"/>
                  <a:pt x="429" y="280"/>
                  <a:pt x="429" y="280"/>
                </a:cubicBezTo>
                <a:cubicBezTo>
                  <a:pt x="429" y="279"/>
                  <a:pt x="429" y="279"/>
                  <a:pt x="429" y="279"/>
                </a:cubicBezTo>
                <a:cubicBezTo>
                  <a:pt x="428" y="280"/>
                  <a:pt x="428" y="280"/>
                  <a:pt x="428" y="280"/>
                </a:cubicBezTo>
                <a:cubicBezTo>
                  <a:pt x="428" y="279"/>
                  <a:pt x="428" y="279"/>
                  <a:pt x="428" y="279"/>
                </a:cubicBezTo>
                <a:cubicBezTo>
                  <a:pt x="428" y="279"/>
                  <a:pt x="428" y="279"/>
                  <a:pt x="428" y="279"/>
                </a:cubicBezTo>
                <a:cubicBezTo>
                  <a:pt x="429" y="279"/>
                  <a:pt x="429" y="279"/>
                  <a:pt x="429" y="279"/>
                </a:cubicBezTo>
                <a:cubicBezTo>
                  <a:pt x="429" y="278"/>
                  <a:pt x="429" y="278"/>
                  <a:pt x="429" y="278"/>
                </a:cubicBezTo>
                <a:cubicBezTo>
                  <a:pt x="428" y="278"/>
                  <a:pt x="428" y="278"/>
                  <a:pt x="428" y="278"/>
                </a:cubicBezTo>
                <a:cubicBezTo>
                  <a:pt x="428" y="278"/>
                  <a:pt x="428" y="278"/>
                  <a:pt x="428" y="278"/>
                </a:cubicBezTo>
                <a:cubicBezTo>
                  <a:pt x="427" y="277"/>
                  <a:pt x="427" y="277"/>
                  <a:pt x="427" y="277"/>
                </a:cubicBezTo>
                <a:cubicBezTo>
                  <a:pt x="428" y="276"/>
                  <a:pt x="428" y="276"/>
                  <a:pt x="428" y="276"/>
                </a:cubicBezTo>
                <a:cubicBezTo>
                  <a:pt x="428" y="276"/>
                  <a:pt x="428" y="276"/>
                  <a:pt x="428" y="276"/>
                </a:cubicBezTo>
                <a:cubicBezTo>
                  <a:pt x="428" y="275"/>
                  <a:pt x="428" y="275"/>
                  <a:pt x="428" y="275"/>
                </a:cubicBezTo>
                <a:cubicBezTo>
                  <a:pt x="427" y="275"/>
                  <a:pt x="427" y="275"/>
                  <a:pt x="427" y="275"/>
                </a:cubicBezTo>
                <a:cubicBezTo>
                  <a:pt x="427" y="274"/>
                  <a:pt x="427" y="274"/>
                  <a:pt x="427" y="274"/>
                </a:cubicBezTo>
                <a:cubicBezTo>
                  <a:pt x="427" y="274"/>
                  <a:pt x="427" y="274"/>
                  <a:pt x="427" y="274"/>
                </a:cubicBezTo>
                <a:cubicBezTo>
                  <a:pt x="427" y="275"/>
                  <a:pt x="427" y="275"/>
                  <a:pt x="427" y="275"/>
                </a:cubicBezTo>
                <a:cubicBezTo>
                  <a:pt x="427" y="276"/>
                  <a:pt x="427" y="276"/>
                  <a:pt x="427" y="276"/>
                </a:cubicBezTo>
                <a:cubicBezTo>
                  <a:pt x="426" y="276"/>
                  <a:pt x="426" y="276"/>
                  <a:pt x="426" y="276"/>
                </a:cubicBezTo>
                <a:cubicBezTo>
                  <a:pt x="425" y="276"/>
                  <a:pt x="425" y="276"/>
                  <a:pt x="425" y="276"/>
                </a:cubicBezTo>
                <a:cubicBezTo>
                  <a:pt x="425" y="275"/>
                  <a:pt x="425" y="275"/>
                  <a:pt x="425" y="275"/>
                </a:cubicBezTo>
                <a:cubicBezTo>
                  <a:pt x="424" y="275"/>
                  <a:pt x="424" y="275"/>
                  <a:pt x="424" y="275"/>
                </a:cubicBezTo>
                <a:cubicBezTo>
                  <a:pt x="425" y="276"/>
                  <a:pt x="425" y="276"/>
                  <a:pt x="425" y="276"/>
                </a:cubicBezTo>
                <a:cubicBezTo>
                  <a:pt x="426" y="277"/>
                  <a:pt x="426" y="277"/>
                  <a:pt x="426" y="277"/>
                </a:cubicBezTo>
                <a:cubicBezTo>
                  <a:pt x="426" y="278"/>
                  <a:pt x="426" y="278"/>
                  <a:pt x="426" y="278"/>
                </a:cubicBezTo>
                <a:cubicBezTo>
                  <a:pt x="425" y="278"/>
                  <a:pt x="425" y="278"/>
                  <a:pt x="425" y="278"/>
                </a:cubicBezTo>
                <a:cubicBezTo>
                  <a:pt x="425" y="278"/>
                  <a:pt x="425" y="278"/>
                  <a:pt x="425" y="278"/>
                </a:cubicBezTo>
                <a:cubicBezTo>
                  <a:pt x="425" y="278"/>
                  <a:pt x="425" y="278"/>
                  <a:pt x="425" y="278"/>
                </a:cubicBezTo>
                <a:cubicBezTo>
                  <a:pt x="424" y="279"/>
                  <a:pt x="424" y="279"/>
                  <a:pt x="424" y="279"/>
                </a:cubicBezTo>
                <a:cubicBezTo>
                  <a:pt x="423" y="278"/>
                  <a:pt x="423" y="278"/>
                  <a:pt x="423" y="278"/>
                </a:cubicBezTo>
                <a:cubicBezTo>
                  <a:pt x="423" y="277"/>
                  <a:pt x="423" y="277"/>
                  <a:pt x="423" y="277"/>
                </a:cubicBezTo>
                <a:cubicBezTo>
                  <a:pt x="423" y="276"/>
                  <a:pt x="423" y="276"/>
                  <a:pt x="423" y="276"/>
                </a:cubicBezTo>
                <a:cubicBezTo>
                  <a:pt x="422" y="277"/>
                  <a:pt x="422" y="277"/>
                  <a:pt x="422" y="277"/>
                </a:cubicBezTo>
                <a:cubicBezTo>
                  <a:pt x="423" y="277"/>
                  <a:pt x="423" y="277"/>
                  <a:pt x="423" y="277"/>
                </a:cubicBezTo>
                <a:cubicBezTo>
                  <a:pt x="423" y="278"/>
                  <a:pt x="423" y="278"/>
                  <a:pt x="423" y="278"/>
                </a:cubicBezTo>
                <a:cubicBezTo>
                  <a:pt x="423" y="279"/>
                  <a:pt x="423" y="279"/>
                  <a:pt x="423" y="279"/>
                </a:cubicBezTo>
                <a:cubicBezTo>
                  <a:pt x="423" y="279"/>
                  <a:pt x="423" y="279"/>
                  <a:pt x="423" y="279"/>
                </a:cubicBezTo>
                <a:cubicBezTo>
                  <a:pt x="424" y="280"/>
                  <a:pt x="424" y="280"/>
                  <a:pt x="424" y="280"/>
                </a:cubicBezTo>
                <a:cubicBezTo>
                  <a:pt x="425" y="281"/>
                  <a:pt x="425" y="281"/>
                  <a:pt x="425" y="281"/>
                </a:cubicBezTo>
                <a:cubicBezTo>
                  <a:pt x="424" y="282"/>
                  <a:pt x="424" y="282"/>
                  <a:pt x="424" y="282"/>
                </a:cubicBezTo>
                <a:cubicBezTo>
                  <a:pt x="425" y="282"/>
                  <a:pt x="425" y="282"/>
                  <a:pt x="425" y="282"/>
                </a:cubicBezTo>
                <a:cubicBezTo>
                  <a:pt x="425" y="283"/>
                  <a:pt x="425" y="283"/>
                  <a:pt x="425" y="283"/>
                </a:cubicBezTo>
                <a:cubicBezTo>
                  <a:pt x="424" y="283"/>
                  <a:pt x="424" y="283"/>
                  <a:pt x="424" y="283"/>
                </a:cubicBezTo>
                <a:cubicBezTo>
                  <a:pt x="423" y="283"/>
                  <a:pt x="423" y="283"/>
                  <a:pt x="423" y="283"/>
                </a:cubicBezTo>
                <a:cubicBezTo>
                  <a:pt x="422" y="282"/>
                  <a:pt x="422" y="282"/>
                  <a:pt x="422" y="282"/>
                </a:cubicBezTo>
                <a:cubicBezTo>
                  <a:pt x="422" y="283"/>
                  <a:pt x="422" y="283"/>
                  <a:pt x="422" y="283"/>
                </a:cubicBezTo>
                <a:cubicBezTo>
                  <a:pt x="422" y="283"/>
                  <a:pt x="422" y="283"/>
                  <a:pt x="422" y="283"/>
                </a:cubicBezTo>
                <a:cubicBezTo>
                  <a:pt x="420" y="282"/>
                  <a:pt x="420" y="282"/>
                  <a:pt x="420" y="282"/>
                </a:cubicBezTo>
                <a:cubicBezTo>
                  <a:pt x="420" y="281"/>
                  <a:pt x="420" y="281"/>
                  <a:pt x="420" y="281"/>
                </a:cubicBezTo>
                <a:cubicBezTo>
                  <a:pt x="421" y="280"/>
                  <a:pt x="421" y="280"/>
                  <a:pt x="421" y="280"/>
                </a:cubicBezTo>
                <a:cubicBezTo>
                  <a:pt x="420" y="279"/>
                  <a:pt x="420" y="279"/>
                  <a:pt x="420" y="279"/>
                </a:cubicBezTo>
                <a:cubicBezTo>
                  <a:pt x="419" y="279"/>
                  <a:pt x="419" y="279"/>
                  <a:pt x="419" y="279"/>
                </a:cubicBezTo>
                <a:cubicBezTo>
                  <a:pt x="418" y="279"/>
                  <a:pt x="418" y="279"/>
                  <a:pt x="418" y="279"/>
                </a:cubicBezTo>
                <a:cubicBezTo>
                  <a:pt x="418" y="278"/>
                  <a:pt x="418" y="278"/>
                  <a:pt x="418" y="278"/>
                </a:cubicBezTo>
                <a:cubicBezTo>
                  <a:pt x="418" y="277"/>
                  <a:pt x="418" y="277"/>
                  <a:pt x="418" y="277"/>
                </a:cubicBezTo>
                <a:cubicBezTo>
                  <a:pt x="417" y="278"/>
                  <a:pt x="417" y="278"/>
                  <a:pt x="417" y="278"/>
                </a:cubicBezTo>
                <a:cubicBezTo>
                  <a:pt x="416" y="278"/>
                  <a:pt x="416" y="278"/>
                  <a:pt x="416" y="278"/>
                </a:cubicBezTo>
                <a:cubicBezTo>
                  <a:pt x="415" y="278"/>
                  <a:pt x="415" y="278"/>
                  <a:pt x="415" y="278"/>
                </a:cubicBezTo>
                <a:cubicBezTo>
                  <a:pt x="415" y="279"/>
                  <a:pt x="415" y="279"/>
                  <a:pt x="415" y="279"/>
                </a:cubicBezTo>
                <a:cubicBezTo>
                  <a:pt x="417" y="279"/>
                  <a:pt x="417" y="279"/>
                  <a:pt x="417" y="279"/>
                </a:cubicBezTo>
                <a:cubicBezTo>
                  <a:pt x="418" y="279"/>
                  <a:pt x="418" y="279"/>
                  <a:pt x="418" y="279"/>
                </a:cubicBezTo>
                <a:cubicBezTo>
                  <a:pt x="419" y="280"/>
                  <a:pt x="419" y="280"/>
                  <a:pt x="419" y="280"/>
                </a:cubicBezTo>
                <a:cubicBezTo>
                  <a:pt x="419" y="281"/>
                  <a:pt x="419" y="281"/>
                  <a:pt x="419" y="281"/>
                </a:cubicBezTo>
                <a:cubicBezTo>
                  <a:pt x="418" y="282"/>
                  <a:pt x="418" y="282"/>
                  <a:pt x="418" y="282"/>
                </a:cubicBezTo>
                <a:cubicBezTo>
                  <a:pt x="418" y="282"/>
                  <a:pt x="418" y="282"/>
                  <a:pt x="418" y="282"/>
                </a:cubicBezTo>
                <a:cubicBezTo>
                  <a:pt x="419" y="282"/>
                  <a:pt x="419" y="282"/>
                  <a:pt x="419" y="282"/>
                </a:cubicBezTo>
                <a:cubicBezTo>
                  <a:pt x="419" y="283"/>
                  <a:pt x="419" y="283"/>
                  <a:pt x="419" y="283"/>
                </a:cubicBezTo>
                <a:cubicBezTo>
                  <a:pt x="419" y="283"/>
                  <a:pt x="419" y="283"/>
                  <a:pt x="419" y="283"/>
                </a:cubicBezTo>
                <a:cubicBezTo>
                  <a:pt x="419" y="284"/>
                  <a:pt x="419" y="284"/>
                  <a:pt x="419" y="284"/>
                </a:cubicBezTo>
                <a:cubicBezTo>
                  <a:pt x="421" y="284"/>
                  <a:pt x="421" y="284"/>
                  <a:pt x="421" y="284"/>
                </a:cubicBezTo>
                <a:cubicBezTo>
                  <a:pt x="421" y="284"/>
                  <a:pt x="421" y="284"/>
                  <a:pt x="421" y="284"/>
                </a:cubicBezTo>
                <a:cubicBezTo>
                  <a:pt x="420" y="285"/>
                  <a:pt x="420" y="285"/>
                  <a:pt x="420" y="285"/>
                </a:cubicBezTo>
                <a:cubicBezTo>
                  <a:pt x="418" y="287"/>
                  <a:pt x="418" y="287"/>
                  <a:pt x="418" y="287"/>
                </a:cubicBezTo>
                <a:cubicBezTo>
                  <a:pt x="417" y="288"/>
                  <a:pt x="417" y="288"/>
                  <a:pt x="417" y="288"/>
                </a:cubicBezTo>
                <a:cubicBezTo>
                  <a:pt x="419" y="287"/>
                  <a:pt x="419" y="287"/>
                  <a:pt x="419" y="287"/>
                </a:cubicBezTo>
                <a:cubicBezTo>
                  <a:pt x="420" y="286"/>
                  <a:pt x="420" y="286"/>
                  <a:pt x="420" y="286"/>
                </a:cubicBezTo>
                <a:cubicBezTo>
                  <a:pt x="420" y="286"/>
                  <a:pt x="420" y="286"/>
                  <a:pt x="420" y="286"/>
                </a:cubicBezTo>
                <a:cubicBezTo>
                  <a:pt x="422" y="286"/>
                  <a:pt x="422" y="286"/>
                  <a:pt x="422" y="286"/>
                </a:cubicBezTo>
                <a:cubicBezTo>
                  <a:pt x="423" y="286"/>
                  <a:pt x="423" y="286"/>
                  <a:pt x="423" y="286"/>
                </a:cubicBezTo>
                <a:cubicBezTo>
                  <a:pt x="423" y="287"/>
                  <a:pt x="423" y="287"/>
                  <a:pt x="423" y="287"/>
                </a:cubicBezTo>
                <a:cubicBezTo>
                  <a:pt x="422" y="287"/>
                  <a:pt x="422" y="287"/>
                  <a:pt x="422" y="287"/>
                </a:cubicBezTo>
                <a:cubicBezTo>
                  <a:pt x="421" y="288"/>
                  <a:pt x="421" y="288"/>
                  <a:pt x="421" y="288"/>
                </a:cubicBezTo>
                <a:cubicBezTo>
                  <a:pt x="421" y="288"/>
                  <a:pt x="421" y="288"/>
                  <a:pt x="421" y="288"/>
                </a:cubicBezTo>
                <a:cubicBezTo>
                  <a:pt x="422" y="289"/>
                  <a:pt x="422" y="289"/>
                  <a:pt x="422" y="289"/>
                </a:cubicBezTo>
                <a:cubicBezTo>
                  <a:pt x="423" y="289"/>
                  <a:pt x="423" y="289"/>
                  <a:pt x="423" y="289"/>
                </a:cubicBezTo>
                <a:cubicBezTo>
                  <a:pt x="423" y="290"/>
                  <a:pt x="423" y="290"/>
                  <a:pt x="423" y="290"/>
                </a:cubicBezTo>
                <a:cubicBezTo>
                  <a:pt x="421" y="290"/>
                  <a:pt x="421" y="290"/>
                  <a:pt x="421" y="290"/>
                </a:cubicBezTo>
                <a:cubicBezTo>
                  <a:pt x="421" y="290"/>
                  <a:pt x="421" y="290"/>
                  <a:pt x="421" y="290"/>
                </a:cubicBezTo>
                <a:cubicBezTo>
                  <a:pt x="422" y="291"/>
                  <a:pt x="422" y="291"/>
                  <a:pt x="422" y="291"/>
                </a:cubicBezTo>
                <a:cubicBezTo>
                  <a:pt x="422" y="291"/>
                  <a:pt x="422" y="291"/>
                  <a:pt x="422" y="291"/>
                </a:cubicBezTo>
                <a:cubicBezTo>
                  <a:pt x="422" y="291"/>
                  <a:pt x="422" y="291"/>
                  <a:pt x="422" y="291"/>
                </a:cubicBezTo>
                <a:cubicBezTo>
                  <a:pt x="422" y="292"/>
                  <a:pt x="422" y="292"/>
                  <a:pt x="422" y="292"/>
                </a:cubicBezTo>
                <a:cubicBezTo>
                  <a:pt x="422" y="292"/>
                  <a:pt x="422" y="292"/>
                  <a:pt x="422" y="292"/>
                </a:cubicBezTo>
                <a:cubicBezTo>
                  <a:pt x="422" y="293"/>
                  <a:pt x="422" y="293"/>
                  <a:pt x="422" y="293"/>
                </a:cubicBezTo>
                <a:cubicBezTo>
                  <a:pt x="423" y="293"/>
                  <a:pt x="423" y="293"/>
                  <a:pt x="423" y="293"/>
                </a:cubicBezTo>
                <a:cubicBezTo>
                  <a:pt x="423" y="294"/>
                  <a:pt x="423" y="294"/>
                  <a:pt x="423" y="294"/>
                </a:cubicBezTo>
                <a:cubicBezTo>
                  <a:pt x="423" y="295"/>
                  <a:pt x="423" y="295"/>
                  <a:pt x="423" y="295"/>
                </a:cubicBezTo>
                <a:cubicBezTo>
                  <a:pt x="423" y="295"/>
                  <a:pt x="423" y="295"/>
                  <a:pt x="423" y="295"/>
                </a:cubicBezTo>
                <a:cubicBezTo>
                  <a:pt x="424" y="295"/>
                  <a:pt x="424" y="295"/>
                  <a:pt x="424" y="295"/>
                </a:cubicBezTo>
                <a:cubicBezTo>
                  <a:pt x="424" y="294"/>
                  <a:pt x="424" y="294"/>
                  <a:pt x="424" y="294"/>
                </a:cubicBezTo>
                <a:cubicBezTo>
                  <a:pt x="424" y="293"/>
                  <a:pt x="424" y="293"/>
                  <a:pt x="424" y="293"/>
                </a:cubicBezTo>
                <a:cubicBezTo>
                  <a:pt x="425" y="294"/>
                  <a:pt x="425" y="294"/>
                  <a:pt x="425" y="294"/>
                </a:cubicBezTo>
                <a:cubicBezTo>
                  <a:pt x="425" y="295"/>
                  <a:pt x="425" y="295"/>
                  <a:pt x="425" y="295"/>
                </a:cubicBezTo>
                <a:cubicBezTo>
                  <a:pt x="426" y="296"/>
                  <a:pt x="426" y="296"/>
                  <a:pt x="426" y="296"/>
                </a:cubicBezTo>
                <a:cubicBezTo>
                  <a:pt x="425" y="296"/>
                  <a:pt x="425" y="296"/>
                  <a:pt x="425" y="296"/>
                </a:cubicBezTo>
                <a:cubicBezTo>
                  <a:pt x="425" y="297"/>
                  <a:pt x="425" y="297"/>
                  <a:pt x="425" y="297"/>
                </a:cubicBezTo>
                <a:cubicBezTo>
                  <a:pt x="425" y="297"/>
                  <a:pt x="425" y="297"/>
                  <a:pt x="425" y="297"/>
                </a:cubicBezTo>
                <a:cubicBezTo>
                  <a:pt x="426" y="297"/>
                  <a:pt x="426" y="297"/>
                  <a:pt x="426" y="297"/>
                </a:cubicBezTo>
                <a:cubicBezTo>
                  <a:pt x="427" y="297"/>
                  <a:pt x="427" y="297"/>
                  <a:pt x="427" y="297"/>
                </a:cubicBezTo>
                <a:cubicBezTo>
                  <a:pt x="427" y="298"/>
                  <a:pt x="427" y="298"/>
                  <a:pt x="427" y="298"/>
                </a:cubicBezTo>
                <a:cubicBezTo>
                  <a:pt x="427" y="297"/>
                  <a:pt x="427" y="297"/>
                  <a:pt x="427" y="297"/>
                </a:cubicBezTo>
                <a:cubicBezTo>
                  <a:pt x="427" y="296"/>
                  <a:pt x="427" y="296"/>
                  <a:pt x="427" y="296"/>
                </a:cubicBezTo>
                <a:cubicBezTo>
                  <a:pt x="428" y="296"/>
                  <a:pt x="428" y="296"/>
                  <a:pt x="428" y="296"/>
                </a:cubicBezTo>
                <a:cubicBezTo>
                  <a:pt x="428" y="297"/>
                  <a:pt x="428" y="297"/>
                  <a:pt x="428" y="297"/>
                </a:cubicBezTo>
                <a:cubicBezTo>
                  <a:pt x="428" y="298"/>
                  <a:pt x="428" y="298"/>
                  <a:pt x="428" y="298"/>
                </a:cubicBezTo>
                <a:cubicBezTo>
                  <a:pt x="427" y="299"/>
                  <a:pt x="427" y="299"/>
                  <a:pt x="427" y="299"/>
                </a:cubicBezTo>
                <a:cubicBezTo>
                  <a:pt x="427" y="300"/>
                  <a:pt x="427" y="300"/>
                  <a:pt x="427" y="300"/>
                </a:cubicBezTo>
                <a:cubicBezTo>
                  <a:pt x="427" y="300"/>
                  <a:pt x="427" y="300"/>
                  <a:pt x="427" y="300"/>
                </a:cubicBezTo>
                <a:cubicBezTo>
                  <a:pt x="428" y="301"/>
                  <a:pt x="428" y="301"/>
                  <a:pt x="428" y="301"/>
                </a:cubicBezTo>
                <a:cubicBezTo>
                  <a:pt x="429" y="300"/>
                  <a:pt x="429" y="300"/>
                  <a:pt x="429" y="300"/>
                </a:cubicBezTo>
                <a:cubicBezTo>
                  <a:pt x="430" y="300"/>
                  <a:pt x="430" y="300"/>
                  <a:pt x="430" y="300"/>
                </a:cubicBezTo>
                <a:cubicBezTo>
                  <a:pt x="430" y="300"/>
                  <a:pt x="430" y="300"/>
                  <a:pt x="430" y="300"/>
                </a:cubicBezTo>
                <a:cubicBezTo>
                  <a:pt x="429" y="301"/>
                  <a:pt x="429" y="301"/>
                  <a:pt x="429" y="301"/>
                </a:cubicBezTo>
                <a:cubicBezTo>
                  <a:pt x="429" y="302"/>
                  <a:pt x="429" y="302"/>
                  <a:pt x="429" y="302"/>
                </a:cubicBezTo>
                <a:cubicBezTo>
                  <a:pt x="428" y="302"/>
                  <a:pt x="428" y="302"/>
                  <a:pt x="428" y="302"/>
                </a:cubicBezTo>
                <a:cubicBezTo>
                  <a:pt x="428" y="303"/>
                  <a:pt x="428" y="303"/>
                  <a:pt x="428" y="303"/>
                </a:cubicBezTo>
                <a:cubicBezTo>
                  <a:pt x="429" y="304"/>
                  <a:pt x="429" y="304"/>
                  <a:pt x="429" y="304"/>
                </a:cubicBezTo>
                <a:cubicBezTo>
                  <a:pt x="429" y="305"/>
                  <a:pt x="429" y="305"/>
                  <a:pt x="429" y="305"/>
                </a:cubicBezTo>
                <a:cubicBezTo>
                  <a:pt x="430" y="305"/>
                  <a:pt x="430" y="305"/>
                  <a:pt x="430" y="305"/>
                </a:cubicBezTo>
                <a:cubicBezTo>
                  <a:pt x="430" y="307"/>
                  <a:pt x="430" y="307"/>
                  <a:pt x="430" y="307"/>
                </a:cubicBezTo>
                <a:cubicBezTo>
                  <a:pt x="431" y="309"/>
                  <a:pt x="431" y="309"/>
                  <a:pt x="431" y="309"/>
                </a:cubicBezTo>
                <a:cubicBezTo>
                  <a:pt x="432" y="309"/>
                  <a:pt x="432" y="309"/>
                  <a:pt x="432" y="309"/>
                </a:cubicBezTo>
                <a:cubicBezTo>
                  <a:pt x="431" y="310"/>
                  <a:pt x="431" y="310"/>
                  <a:pt x="431" y="310"/>
                </a:cubicBezTo>
                <a:cubicBezTo>
                  <a:pt x="431" y="311"/>
                  <a:pt x="431" y="311"/>
                  <a:pt x="431" y="311"/>
                </a:cubicBezTo>
                <a:cubicBezTo>
                  <a:pt x="430" y="313"/>
                  <a:pt x="430" y="313"/>
                  <a:pt x="430" y="313"/>
                </a:cubicBezTo>
                <a:cubicBezTo>
                  <a:pt x="430" y="314"/>
                  <a:pt x="430" y="314"/>
                  <a:pt x="430" y="314"/>
                </a:cubicBezTo>
                <a:cubicBezTo>
                  <a:pt x="430" y="314"/>
                  <a:pt x="430" y="314"/>
                  <a:pt x="430" y="314"/>
                </a:cubicBezTo>
                <a:cubicBezTo>
                  <a:pt x="428" y="312"/>
                  <a:pt x="428" y="312"/>
                  <a:pt x="428" y="312"/>
                </a:cubicBezTo>
                <a:cubicBezTo>
                  <a:pt x="428" y="311"/>
                  <a:pt x="428" y="311"/>
                  <a:pt x="428" y="311"/>
                </a:cubicBezTo>
                <a:cubicBezTo>
                  <a:pt x="428" y="310"/>
                  <a:pt x="428" y="310"/>
                  <a:pt x="428" y="310"/>
                </a:cubicBezTo>
                <a:cubicBezTo>
                  <a:pt x="428" y="308"/>
                  <a:pt x="428" y="308"/>
                  <a:pt x="428" y="308"/>
                </a:cubicBezTo>
                <a:cubicBezTo>
                  <a:pt x="428" y="310"/>
                  <a:pt x="428" y="310"/>
                  <a:pt x="428" y="310"/>
                </a:cubicBezTo>
                <a:cubicBezTo>
                  <a:pt x="427" y="311"/>
                  <a:pt x="427" y="311"/>
                  <a:pt x="427" y="311"/>
                </a:cubicBezTo>
                <a:cubicBezTo>
                  <a:pt x="428" y="313"/>
                  <a:pt x="428" y="313"/>
                  <a:pt x="428" y="313"/>
                </a:cubicBezTo>
                <a:cubicBezTo>
                  <a:pt x="428" y="315"/>
                  <a:pt x="428" y="315"/>
                  <a:pt x="428" y="315"/>
                </a:cubicBezTo>
                <a:cubicBezTo>
                  <a:pt x="428" y="316"/>
                  <a:pt x="428" y="316"/>
                  <a:pt x="428" y="316"/>
                </a:cubicBezTo>
                <a:cubicBezTo>
                  <a:pt x="428" y="318"/>
                  <a:pt x="428" y="318"/>
                  <a:pt x="428" y="318"/>
                </a:cubicBezTo>
                <a:cubicBezTo>
                  <a:pt x="428" y="318"/>
                  <a:pt x="428" y="318"/>
                  <a:pt x="428" y="318"/>
                </a:cubicBezTo>
                <a:cubicBezTo>
                  <a:pt x="427" y="318"/>
                  <a:pt x="427" y="318"/>
                  <a:pt x="427" y="318"/>
                </a:cubicBezTo>
                <a:cubicBezTo>
                  <a:pt x="426" y="317"/>
                  <a:pt x="426" y="317"/>
                  <a:pt x="426" y="317"/>
                </a:cubicBezTo>
                <a:cubicBezTo>
                  <a:pt x="425" y="317"/>
                  <a:pt x="425" y="317"/>
                  <a:pt x="425" y="317"/>
                </a:cubicBezTo>
                <a:cubicBezTo>
                  <a:pt x="426" y="319"/>
                  <a:pt x="426" y="319"/>
                  <a:pt x="426" y="319"/>
                </a:cubicBezTo>
                <a:cubicBezTo>
                  <a:pt x="426" y="321"/>
                  <a:pt x="426" y="321"/>
                  <a:pt x="426" y="321"/>
                </a:cubicBezTo>
                <a:cubicBezTo>
                  <a:pt x="426" y="321"/>
                  <a:pt x="426" y="321"/>
                  <a:pt x="426" y="321"/>
                </a:cubicBezTo>
                <a:cubicBezTo>
                  <a:pt x="426" y="322"/>
                  <a:pt x="426" y="322"/>
                  <a:pt x="426" y="322"/>
                </a:cubicBezTo>
                <a:cubicBezTo>
                  <a:pt x="425" y="322"/>
                  <a:pt x="425" y="322"/>
                  <a:pt x="425" y="322"/>
                </a:cubicBezTo>
                <a:cubicBezTo>
                  <a:pt x="424" y="321"/>
                  <a:pt x="424" y="321"/>
                  <a:pt x="424" y="321"/>
                </a:cubicBezTo>
                <a:cubicBezTo>
                  <a:pt x="424" y="319"/>
                  <a:pt x="424" y="319"/>
                  <a:pt x="424" y="319"/>
                </a:cubicBezTo>
                <a:cubicBezTo>
                  <a:pt x="424" y="318"/>
                  <a:pt x="424" y="318"/>
                  <a:pt x="424" y="318"/>
                </a:cubicBezTo>
                <a:cubicBezTo>
                  <a:pt x="424" y="317"/>
                  <a:pt x="424" y="317"/>
                  <a:pt x="424" y="317"/>
                </a:cubicBezTo>
                <a:cubicBezTo>
                  <a:pt x="424" y="318"/>
                  <a:pt x="424" y="318"/>
                  <a:pt x="424" y="318"/>
                </a:cubicBezTo>
                <a:cubicBezTo>
                  <a:pt x="423" y="318"/>
                  <a:pt x="423" y="318"/>
                  <a:pt x="423" y="318"/>
                </a:cubicBezTo>
                <a:cubicBezTo>
                  <a:pt x="422" y="317"/>
                  <a:pt x="422" y="317"/>
                  <a:pt x="422" y="317"/>
                </a:cubicBezTo>
                <a:cubicBezTo>
                  <a:pt x="422" y="315"/>
                  <a:pt x="422" y="315"/>
                  <a:pt x="422" y="315"/>
                </a:cubicBezTo>
                <a:cubicBezTo>
                  <a:pt x="422" y="316"/>
                  <a:pt x="422" y="316"/>
                  <a:pt x="422" y="316"/>
                </a:cubicBezTo>
                <a:cubicBezTo>
                  <a:pt x="422" y="317"/>
                  <a:pt x="422" y="317"/>
                  <a:pt x="422" y="317"/>
                </a:cubicBezTo>
                <a:cubicBezTo>
                  <a:pt x="421" y="316"/>
                  <a:pt x="421" y="316"/>
                  <a:pt x="421" y="316"/>
                </a:cubicBezTo>
                <a:cubicBezTo>
                  <a:pt x="421" y="316"/>
                  <a:pt x="421" y="316"/>
                  <a:pt x="421" y="316"/>
                </a:cubicBezTo>
                <a:cubicBezTo>
                  <a:pt x="421" y="314"/>
                  <a:pt x="421" y="314"/>
                  <a:pt x="421" y="314"/>
                </a:cubicBezTo>
                <a:cubicBezTo>
                  <a:pt x="420" y="314"/>
                  <a:pt x="420" y="314"/>
                  <a:pt x="420" y="314"/>
                </a:cubicBezTo>
                <a:cubicBezTo>
                  <a:pt x="420" y="315"/>
                  <a:pt x="420" y="315"/>
                  <a:pt x="420" y="315"/>
                </a:cubicBezTo>
                <a:cubicBezTo>
                  <a:pt x="421" y="315"/>
                  <a:pt x="421" y="315"/>
                  <a:pt x="421" y="315"/>
                </a:cubicBezTo>
                <a:cubicBezTo>
                  <a:pt x="420" y="316"/>
                  <a:pt x="420" y="316"/>
                  <a:pt x="420" y="316"/>
                </a:cubicBezTo>
                <a:cubicBezTo>
                  <a:pt x="420" y="316"/>
                  <a:pt x="420" y="316"/>
                  <a:pt x="420" y="316"/>
                </a:cubicBezTo>
                <a:cubicBezTo>
                  <a:pt x="419" y="315"/>
                  <a:pt x="419" y="315"/>
                  <a:pt x="419" y="315"/>
                </a:cubicBezTo>
                <a:cubicBezTo>
                  <a:pt x="419" y="314"/>
                  <a:pt x="419" y="314"/>
                  <a:pt x="419" y="314"/>
                </a:cubicBezTo>
                <a:cubicBezTo>
                  <a:pt x="419" y="313"/>
                  <a:pt x="419" y="313"/>
                  <a:pt x="419" y="313"/>
                </a:cubicBezTo>
                <a:cubicBezTo>
                  <a:pt x="418" y="311"/>
                  <a:pt x="418" y="311"/>
                  <a:pt x="418" y="311"/>
                </a:cubicBezTo>
                <a:cubicBezTo>
                  <a:pt x="418" y="311"/>
                  <a:pt x="418" y="311"/>
                  <a:pt x="418" y="311"/>
                </a:cubicBezTo>
                <a:cubicBezTo>
                  <a:pt x="418" y="312"/>
                  <a:pt x="418" y="312"/>
                  <a:pt x="418" y="312"/>
                </a:cubicBezTo>
                <a:cubicBezTo>
                  <a:pt x="418" y="314"/>
                  <a:pt x="418" y="314"/>
                  <a:pt x="418" y="314"/>
                </a:cubicBezTo>
                <a:cubicBezTo>
                  <a:pt x="418" y="315"/>
                  <a:pt x="418" y="315"/>
                  <a:pt x="418" y="315"/>
                </a:cubicBezTo>
                <a:cubicBezTo>
                  <a:pt x="418" y="315"/>
                  <a:pt x="418" y="315"/>
                  <a:pt x="418" y="315"/>
                </a:cubicBezTo>
                <a:cubicBezTo>
                  <a:pt x="417" y="313"/>
                  <a:pt x="417" y="313"/>
                  <a:pt x="417" y="313"/>
                </a:cubicBezTo>
                <a:cubicBezTo>
                  <a:pt x="416" y="313"/>
                  <a:pt x="416" y="313"/>
                  <a:pt x="416" y="313"/>
                </a:cubicBezTo>
                <a:cubicBezTo>
                  <a:pt x="416" y="312"/>
                  <a:pt x="416" y="312"/>
                  <a:pt x="416" y="312"/>
                </a:cubicBezTo>
                <a:cubicBezTo>
                  <a:pt x="415" y="312"/>
                  <a:pt x="415" y="312"/>
                  <a:pt x="415" y="312"/>
                </a:cubicBezTo>
                <a:cubicBezTo>
                  <a:pt x="415" y="310"/>
                  <a:pt x="415" y="310"/>
                  <a:pt x="415" y="310"/>
                </a:cubicBezTo>
                <a:cubicBezTo>
                  <a:pt x="414" y="309"/>
                  <a:pt x="414" y="309"/>
                  <a:pt x="414" y="309"/>
                </a:cubicBezTo>
                <a:cubicBezTo>
                  <a:pt x="414" y="309"/>
                  <a:pt x="414" y="309"/>
                  <a:pt x="414" y="309"/>
                </a:cubicBezTo>
                <a:cubicBezTo>
                  <a:pt x="414" y="308"/>
                  <a:pt x="414" y="308"/>
                  <a:pt x="414" y="308"/>
                </a:cubicBezTo>
                <a:cubicBezTo>
                  <a:pt x="413" y="308"/>
                  <a:pt x="413" y="308"/>
                  <a:pt x="413" y="308"/>
                </a:cubicBezTo>
                <a:cubicBezTo>
                  <a:pt x="413" y="309"/>
                  <a:pt x="413" y="309"/>
                  <a:pt x="413" y="309"/>
                </a:cubicBezTo>
                <a:cubicBezTo>
                  <a:pt x="413" y="310"/>
                  <a:pt x="413" y="310"/>
                  <a:pt x="413" y="310"/>
                </a:cubicBezTo>
                <a:cubicBezTo>
                  <a:pt x="413" y="311"/>
                  <a:pt x="413" y="311"/>
                  <a:pt x="413" y="311"/>
                </a:cubicBezTo>
                <a:cubicBezTo>
                  <a:pt x="413" y="311"/>
                  <a:pt x="413" y="311"/>
                  <a:pt x="413" y="311"/>
                </a:cubicBezTo>
                <a:cubicBezTo>
                  <a:pt x="413" y="310"/>
                  <a:pt x="413" y="310"/>
                  <a:pt x="413" y="310"/>
                </a:cubicBezTo>
                <a:cubicBezTo>
                  <a:pt x="412" y="309"/>
                  <a:pt x="412" y="309"/>
                  <a:pt x="412" y="309"/>
                </a:cubicBezTo>
                <a:cubicBezTo>
                  <a:pt x="411" y="309"/>
                  <a:pt x="411" y="309"/>
                  <a:pt x="411" y="309"/>
                </a:cubicBezTo>
                <a:cubicBezTo>
                  <a:pt x="410" y="307"/>
                  <a:pt x="410" y="307"/>
                  <a:pt x="410" y="307"/>
                </a:cubicBezTo>
                <a:cubicBezTo>
                  <a:pt x="410" y="306"/>
                  <a:pt x="410" y="306"/>
                  <a:pt x="410" y="306"/>
                </a:cubicBezTo>
                <a:cubicBezTo>
                  <a:pt x="409" y="306"/>
                  <a:pt x="409" y="306"/>
                  <a:pt x="409" y="306"/>
                </a:cubicBezTo>
                <a:cubicBezTo>
                  <a:pt x="408" y="306"/>
                  <a:pt x="408" y="306"/>
                  <a:pt x="408" y="306"/>
                </a:cubicBezTo>
                <a:cubicBezTo>
                  <a:pt x="407" y="306"/>
                  <a:pt x="407" y="306"/>
                  <a:pt x="407" y="306"/>
                </a:cubicBezTo>
                <a:cubicBezTo>
                  <a:pt x="407" y="307"/>
                  <a:pt x="407" y="307"/>
                  <a:pt x="407" y="307"/>
                </a:cubicBezTo>
                <a:cubicBezTo>
                  <a:pt x="408" y="309"/>
                  <a:pt x="408" y="309"/>
                  <a:pt x="408" y="309"/>
                </a:cubicBezTo>
                <a:cubicBezTo>
                  <a:pt x="409" y="310"/>
                  <a:pt x="409" y="310"/>
                  <a:pt x="409" y="310"/>
                </a:cubicBezTo>
                <a:cubicBezTo>
                  <a:pt x="409" y="311"/>
                  <a:pt x="409" y="311"/>
                  <a:pt x="409" y="311"/>
                </a:cubicBezTo>
                <a:cubicBezTo>
                  <a:pt x="409" y="311"/>
                  <a:pt x="409" y="311"/>
                  <a:pt x="409" y="311"/>
                </a:cubicBezTo>
                <a:cubicBezTo>
                  <a:pt x="410" y="313"/>
                  <a:pt x="410" y="313"/>
                  <a:pt x="410" y="313"/>
                </a:cubicBezTo>
                <a:cubicBezTo>
                  <a:pt x="410" y="313"/>
                  <a:pt x="410" y="313"/>
                  <a:pt x="410" y="313"/>
                </a:cubicBezTo>
                <a:cubicBezTo>
                  <a:pt x="412" y="313"/>
                  <a:pt x="412" y="313"/>
                  <a:pt x="412" y="313"/>
                </a:cubicBezTo>
                <a:cubicBezTo>
                  <a:pt x="412" y="314"/>
                  <a:pt x="412" y="314"/>
                  <a:pt x="412" y="314"/>
                </a:cubicBezTo>
                <a:cubicBezTo>
                  <a:pt x="412" y="315"/>
                  <a:pt x="412" y="315"/>
                  <a:pt x="412" y="315"/>
                </a:cubicBezTo>
                <a:cubicBezTo>
                  <a:pt x="413" y="315"/>
                  <a:pt x="413" y="315"/>
                  <a:pt x="413" y="315"/>
                </a:cubicBezTo>
                <a:cubicBezTo>
                  <a:pt x="413" y="315"/>
                  <a:pt x="413" y="315"/>
                  <a:pt x="413" y="315"/>
                </a:cubicBezTo>
                <a:cubicBezTo>
                  <a:pt x="413" y="316"/>
                  <a:pt x="413" y="316"/>
                  <a:pt x="413" y="316"/>
                </a:cubicBezTo>
                <a:cubicBezTo>
                  <a:pt x="414" y="316"/>
                  <a:pt x="414" y="316"/>
                  <a:pt x="414" y="316"/>
                </a:cubicBezTo>
                <a:cubicBezTo>
                  <a:pt x="414" y="317"/>
                  <a:pt x="414" y="317"/>
                  <a:pt x="414" y="317"/>
                </a:cubicBezTo>
                <a:cubicBezTo>
                  <a:pt x="415" y="318"/>
                  <a:pt x="415" y="318"/>
                  <a:pt x="415" y="318"/>
                </a:cubicBezTo>
                <a:cubicBezTo>
                  <a:pt x="415" y="319"/>
                  <a:pt x="415" y="319"/>
                  <a:pt x="415" y="319"/>
                </a:cubicBezTo>
                <a:cubicBezTo>
                  <a:pt x="416" y="319"/>
                  <a:pt x="416" y="319"/>
                  <a:pt x="416" y="319"/>
                </a:cubicBezTo>
                <a:cubicBezTo>
                  <a:pt x="416" y="319"/>
                  <a:pt x="416" y="319"/>
                  <a:pt x="416" y="319"/>
                </a:cubicBezTo>
                <a:cubicBezTo>
                  <a:pt x="417" y="320"/>
                  <a:pt x="417" y="320"/>
                  <a:pt x="417" y="320"/>
                </a:cubicBezTo>
                <a:cubicBezTo>
                  <a:pt x="416" y="322"/>
                  <a:pt x="416" y="322"/>
                  <a:pt x="416" y="322"/>
                </a:cubicBezTo>
                <a:cubicBezTo>
                  <a:pt x="416" y="322"/>
                  <a:pt x="416" y="322"/>
                  <a:pt x="416" y="322"/>
                </a:cubicBezTo>
                <a:cubicBezTo>
                  <a:pt x="417" y="322"/>
                  <a:pt x="417" y="322"/>
                  <a:pt x="417" y="322"/>
                </a:cubicBezTo>
                <a:cubicBezTo>
                  <a:pt x="417" y="323"/>
                  <a:pt x="417" y="323"/>
                  <a:pt x="417" y="323"/>
                </a:cubicBezTo>
                <a:cubicBezTo>
                  <a:pt x="418" y="322"/>
                  <a:pt x="418" y="322"/>
                  <a:pt x="418" y="322"/>
                </a:cubicBezTo>
                <a:cubicBezTo>
                  <a:pt x="418" y="322"/>
                  <a:pt x="418" y="322"/>
                  <a:pt x="418" y="322"/>
                </a:cubicBezTo>
                <a:cubicBezTo>
                  <a:pt x="418" y="324"/>
                  <a:pt x="418" y="324"/>
                  <a:pt x="418" y="324"/>
                </a:cubicBezTo>
                <a:cubicBezTo>
                  <a:pt x="418" y="324"/>
                  <a:pt x="418" y="324"/>
                  <a:pt x="418" y="324"/>
                </a:cubicBezTo>
                <a:cubicBezTo>
                  <a:pt x="419" y="324"/>
                  <a:pt x="419" y="324"/>
                  <a:pt x="419" y="324"/>
                </a:cubicBezTo>
                <a:cubicBezTo>
                  <a:pt x="419" y="324"/>
                  <a:pt x="419" y="324"/>
                  <a:pt x="419" y="324"/>
                </a:cubicBezTo>
                <a:cubicBezTo>
                  <a:pt x="419" y="325"/>
                  <a:pt x="419" y="325"/>
                  <a:pt x="419" y="325"/>
                </a:cubicBezTo>
                <a:cubicBezTo>
                  <a:pt x="418" y="325"/>
                  <a:pt x="418" y="325"/>
                  <a:pt x="418" y="325"/>
                </a:cubicBezTo>
                <a:cubicBezTo>
                  <a:pt x="417" y="325"/>
                  <a:pt x="417" y="325"/>
                  <a:pt x="417" y="325"/>
                </a:cubicBezTo>
                <a:cubicBezTo>
                  <a:pt x="418" y="326"/>
                  <a:pt x="418" y="326"/>
                  <a:pt x="418" y="326"/>
                </a:cubicBezTo>
                <a:cubicBezTo>
                  <a:pt x="418" y="327"/>
                  <a:pt x="418" y="327"/>
                  <a:pt x="418" y="327"/>
                </a:cubicBezTo>
                <a:cubicBezTo>
                  <a:pt x="418" y="328"/>
                  <a:pt x="418" y="328"/>
                  <a:pt x="418" y="328"/>
                </a:cubicBezTo>
                <a:cubicBezTo>
                  <a:pt x="418" y="328"/>
                  <a:pt x="418" y="328"/>
                  <a:pt x="418" y="328"/>
                </a:cubicBezTo>
                <a:close/>
                <a:moveTo>
                  <a:pt x="313" y="297"/>
                </a:moveTo>
                <a:cubicBezTo>
                  <a:pt x="313" y="297"/>
                  <a:pt x="314" y="297"/>
                  <a:pt x="314" y="297"/>
                </a:cubicBezTo>
                <a:cubicBezTo>
                  <a:pt x="314" y="296"/>
                  <a:pt x="314" y="296"/>
                  <a:pt x="314" y="296"/>
                </a:cubicBezTo>
                <a:cubicBezTo>
                  <a:pt x="315" y="296"/>
                  <a:pt x="315" y="296"/>
                  <a:pt x="315" y="296"/>
                </a:cubicBezTo>
                <a:cubicBezTo>
                  <a:pt x="315" y="296"/>
                  <a:pt x="315" y="296"/>
                  <a:pt x="315" y="296"/>
                </a:cubicBezTo>
                <a:cubicBezTo>
                  <a:pt x="316" y="297"/>
                  <a:pt x="316" y="297"/>
                  <a:pt x="316" y="297"/>
                </a:cubicBezTo>
                <a:cubicBezTo>
                  <a:pt x="317" y="297"/>
                  <a:pt x="317" y="297"/>
                  <a:pt x="317" y="297"/>
                </a:cubicBezTo>
                <a:cubicBezTo>
                  <a:pt x="317" y="296"/>
                  <a:pt x="317" y="296"/>
                  <a:pt x="317" y="296"/>
                </a:cubicBezTo>
                <a:cubicBezTo>
                  <a:pt x="318" y="296"/>
                  <a:pt x="318" y="296"/>
                  <a:pt x="318" y="296"/>
                </a:cubicBezTo>
                <a:cubicBezTo>
                  <a:pt x="319" y="297"/>
                  <a:pt x="319" y="297"/>
                  <a:pt x="319" y="297"/>
                </a:cubicBezTo>
                <a:cubicBezTo>
                  <a:pt x="319" y="298"/>
                  <a:pt x="319" y="298"/>
                  <a:pt x="319" y="298"/>
                </a:cubicBezTo>
                <a:cubicBezTo>
                  <a:pt x="318" y="299"/>
                  <a:pt x="318" y="299"/>
                  <a:pt x="318" y="299"/>
                </a:cubicBezTo>
                <a:cubicBezTo>
                  <a:pt x="318" y="300"/>
                  <a:pt x="318" y="300"/>
                  <a:pt x="318" y="300"/>
                </a:cubicBezTo>
                <a:cubicBezTo>
                  <a:pt x="317" y="301"/>
                  <a:pt x="317" y="301"/>
                  <a:pt x="317" y="301"/>
                </a:cubicBezTo>
                <a:cubicBezTo>
                  <a:pt x="317" y="302"/>
                  <a:pt x="317" y="302"/>
                  <a:pt x="317" y="302"/>
                </a:cubicBezTo>
                <a:cubicBezTo>
                  <a:pt x="318" y="303"/>
                  <a:pt x="318" y="303"/>
                  <a:pt x="318" y="303"/>
                </a:cubicBezTo>
                <a:cubicBezTo>
                  <a:pt x="318" y="303"/>
                  <a:pt x="318" y="303"/>
                  <a:pt x="318" y="303"/>
                </a:cubicBezTo>
                <a:cubicBezTo>
                  <a:pt x="319" y="303"/>
                  <a:pt x="319" y="303"/>
                  <a:pt x="319" y="303"/>
                </a:cubicBezTo>
                <a:cubicBezTo>
                  <a:pt x="320" y="303"/>
                  <a:pt x="320" y="303"/>
                  <a:pt x="320" y="303"/>
                </a:cubicBezTo>
                <a:cubicBezTo>
                  <a:pt x="320" y="302"/>
                  <a:pt x="320" y="302"/>
                  <a:pt x="320" y="302"/>
                </a:cubicBezTo>
                <a:cubicBezTo>
                  <a:pt x="321" y="303"/>
                  <a:pt x="321" y="303"/>
                  <a:pt x="321" y="303"/>
                </a:cubicBezTo>
                <a:cubicBezTo>
                  <a:pt x="322" y="302"/>
                  <a:pt x="322" y="302"/>
                  <a:pt x="322" y="302"/>
                </a:cubicBezTo>
                <a:cubicBezTo>
                  <a:pt x="323" y="301"/>
                  <a:pt x="323" y="301"/>
                  <a:pt x="323" y="301"/>
                </a:cubicBezTo>
                <a:cubicBezTo>
                  <a:pt x="323" y="302"/>
                  <a:pt x="323" y="302"/>
                  <a:pt x="323" y="302"/>
                </a:cubicBezTo>
                <a:cubicBezTo>
                  <a:pt x="324" y="301"/>
                  <a:pt x="324" y="301"/>
                  <a:pt x="324" y="301"/>
                </a:cubicBezTo>
                <a:cubicBezTo>
                  <a:pt x="325" y="299"/>
                  <a:pt x="325" y="299"/>
                  <a:pt x="325" y="299"/>
                </a:cubicBezTo>
                <a:cubicBezTo>
                  <a:pt x="326" y="298"/>
                  <a:pt x="326" y="298"/>
                  <a:pt x="326" y="298"/>
                </a:cubicBezTo>
                <a:cubicBezTo>
                  <a:pt x="326" y="298"/>
                  <a:pt x="326" y="298"/>
                  <a:pt x="326" y="298"/>
                </a:cubicBezTo>
                <a:cubicBezTo>
                  <a:pt x="327" y="298"/>
                  <a:pt x="327" y="298"/>
                  <a:pt x="327" y="298"/>
                </a:cubicBezTo>
                <a:cubicBezTo>
                  <a:pt x="327" y="298"/>
                  <a:pt x="327" y="298"/>
                  <a:pt x="327" y="298"/>
                </a:cubicBezTo>
                <a:cubicBezTo>
                  <a:pt x="328" y="297"/>
                  <a:pt x="328" y="297"/>
                  <a:pt x="328" y="297"/>
                </a:cubicBezTo>
                <a:cubicBezTo>
                  <a:pt x="329" y="297"/>
                  <a:pt x="329" y="297"/>
                  <a:pt x="329" y="297"/>
                </a:cubicBezTo>
                <a:cubicBezTo>
                  <a:pt x="330" y="297"/>
                  <a:pt x="330" y="297"/>
                  <a:pt x="330" y="297"/>
                </a:cubicBezTo>
                <a:cubicBezTo>
                  <a:pt x="330" y="296"/>
                  <a:pt x="330" y="296"/>
                  <a:pt x="330" y="296"/>
                </a:cubicBezTo>
                <a:cubicBezTo>
                  <a:pt x="330" y="294"/>
                  <a:pt x="330" y="294"/>
                  <a:pt x="330" y="294"/>
                </a:cubicBezTo>
                <a:cubicBezTo>
                  <a:pt x="331" y="293"/>
                  <a:pt x="331" y="293"/>
                  <a:pt x="331" y="293"/>
                </a:cubicBezTo>
                <a:cubicBezTo>
                  <a:pt x="331" y="292"/>
                  <a:pt x="331" y="292"/>
                  <a:pt x="331" y="292"/>
                </a:cubicBezTo>
                <a:cubicBezTo>
                  <a:pt x="332" y="292"/>
                  <a:pt x="332" y="292"/>
                  <a:pt x="332" y="292"/>
                </a:cubicBezTo>
                <a:cubicBezTo>
                  <a:pt x="333" y="293"/>
                  <a:pt x="333" y="293"/>
                  <a:pt x="333" y="293"/>
                </a:cubicBezTo>
                <a:cubicBezTo>
                  <a:pt x="333" y="292"/>
                  <a:pt x="333" y="292"/>
                  <a:pt x="333" y="292"/>
                </a:cubicBezTo>
                <a:cubicBezTo>
                  <a:pt x="334" y="292"/>
                  <a:pt x="334" y="292"/>
                  <a:pt x="334" y="292"/>
                </a:cubicBezTo>
                <a:cubicBezTo>
                  <a:pt x="335" y="292"/>
                  <a:pt x="335" y="292"/>
                  <a:pt x="335" y="292"/>
                </a:cubicBezTo>
                <a:cubicBezTo>
                  <a:pt x="335" y="293"/>
                  <a:pt x="335" y="293"/>
                  <a:pt x="335" y="293"/>
                </a:cubicBezTo>
                <a:cubicBezTo>
                  <a:pt x="334" y="294"/>
                  <a:pt x="334" y="294"/>
                  <a:pt x="334" y="294"/>
                </a:cubicBezTo>
                <a:cubicBezTo>
                  <a:pt x="333" y="295"/>
                  <a:pt x="333" y="295"/>
                  <a:pt x="333" y="295"/>
                </a:cubicBezTo>
                <a:cubicBezTo>
                  <a:pt x="334" y="295"/>
                  <a:pt x="334" y="295"/>
                  <a:pt x="334" y="295"/>
                </a:cubicBezTo>
                <a:cubicBezTo>
                  <a:pt x="336" y="295"/>
                  <a:pt x="336" y="295"/>
                  <a:pt x="336" y="295"/>
                </a:cubicBezTo>
                <a:cubicBezTo>
                  <a:pt x="337" y="296"/>
                  <a:pt x="337" y="296"/>
                  <a:pt x="337" y="296"/>
                </a:cubicBezTo>
                <a:cubicBezTo>
                  <a:pt x="337" y="297"/>
                  <a:pt x="337" y="297"/>
                  <a:pt x="337" y="297"/>
                </a:cubicBezTo>
                <a:cubicBezTo>
                  <a:pt x="337" y="298"/>
                  <a:pt x="337" y="298"/>
                  <a:pt x="337" y="298"/>
                </a:cubicBezTo>
                <a:cubicBezTo>
                  <a:pt x="336" y="298"/>
                  <a:pt x="336" y="298"/>
                  <a:pt x="336" y="298"/>
                </a:cubicBezTo>
                <a:cubicBezTo>
                  <a:pt x="336" y="299"/>
                  <a:pt x="336" y="299"/>
                  <a:pt x="336" y="299"/>
                </a:cubicBezTo>
                <a:cubicBezTo>
                  <a:pt x="336" y="300"/>
                  <a:pt x="336" y="300"/>
                  <a:pt x="336" y="300"/>
                </a:cubicBezTo>
                <a:cubicBezTo>
                  <a:pt x="337" y="299"/>
                  <a:pt x="337" y="299"/>
                  <a:pt x="337" y="299"/>
                </a:cubicBezTo>
                <a:cubicBezTo>
                  <a:pt x="338" y="299"/>
                  <a:pt x="338" y="299"/>
                  <a:pt x="338" y="299"/>
                </a:cubicBezTo>
                <a:cubicBezTo>
                  <a:pt x="338" y="300"/>
                  <a:pt x="338" y="300"/>
                  <a:pt x="338" y="300"/>
                </a:cubicBezTo>
                <a:cubicBezTo>
                  <a:pt x="339" y="300"/>
                  <a:pt x="339" y="300"/>
                  <a:pt x="339" y="300"/>
                </a:cubicBezTo>
                <a:cubicBezTo>
                  <a:pt x="339" y="300"/>
                  <a:pt x="339" y="300"/>
                  <a:pt x="339" y="300"/>
                </a:cubicBezTo>
                <a:cubicBezTo>
                  <a:pt x="340" y="300"/>
                  <a:pt x="340" y="300"/>
                  <a:pt x="340" y="300"/>
                </a:cubicBezTo>
                <a:cubicBezTo>
                  <a:pt x="341" y="301"/>
                  <a:pt x="341" y="301"/>
                  <a:pt x="341" y="301"/>
                </a:cubicBezTo>
                <a:cubicBezTo>
                  <a:pt x="342" y="301"/>
                  <a:pt x="342" y="301"/>
                  <a:pt x="342" y="301"/>
                </a:cubicBezTo>
                <a:cubicBezTo>
                  <a:pt x="343" y="302"/>
                  <a:pt x="343" y="302"/>
                  <a:pt x="343" y="302"/>
                </a:cubicBezTo>
                <a:cubicBezTo>
                  <a:pt x="344" y="302"/>
                  <a:pt x="344" y="302"/>
                  <a:pt x="344" y="302"/>
                </a:cubicBezTo>
                <a:cubicBezTo>
                  <a:pt x="345" y="300"/>
                  <a:pt x="345" y="300"/>
                  <a:pt x="345" y="300"/>
                </a:cubicBezTo>
                <a:cubicBezTo>
                  <a:pt x="345" y="300"/>
                  <a:pt x="345" y="300"/>
                  <a:pt x="345" y="300"/>
                </a:cubicBezTo>
                <a:cubicBezTo>
                  <a:pt x="346" y="299"/>
                  <a:pt x="346" y="299"/>
                  <a:pt x="346" y="299"/>
                </a:cubicBezTo>
                <a:cubicBezTo>
                  <a:pt x="347" y="299"/>
                  <a:pt x="347" y="299"/>
                  <a:pt x="347" y="299"/>
                </a:cubicBezTo>
                <a:cubicBezTo>
                  <a:pt x="348" y="298"/>
                  <a:pt x="348" y="298"/>
                  <a:pt x="348" y="298"/>
                </a:cubicBezTo>
                <a:cubicBezTo>
                  <a:pt x="347" y="298"/>
                  <a:pt x="347" y="298"/>
                  <a:pt x="347" y="298"/>
                </a:cubicBezTo>
                <a:cubicBezTo>
                  <a:pt x="346" y="297"/>
                  <a:pt x="346" y="297"/>
                  <a:pt x="346" y="297"/>
                </a:cubicBezTo>
                <a:cubicBezTo>
                  <a:pt x="347" y="297"/>
                  <a:pt x="347" y="297"/>
                  <a:pt x="347" y="297"/>
                </a:cubicBezTo>
                <a:cubicBezTo>
                  <a:pt x="347" y="296"/>
                  <a:pt x="347" y="296"/>
                  <a:pt x="347" y="296"/>
                </a:cubicBezTo>
                <a:cubicBezTo>
                  <a:pt x="347" y="296"/>
                  <a:pt x="347" y="296"/>
                  <a:pt x="347" y="296"/>
                </a:cubicBezTo>
                <a:cubicBezTo>
                  <a:pt x="346" y="295"/>
                  <a:pt x="346" y="295"/>
                  <a:pt x="346" y="295"/>
                </a:cubicBezTo>
                <a:cubicBezTo>
                  <a:pt x="346" y="295"/>
                  <a:pt x="346" y="295"/>
                  <a:pt x="346" y="295"/>
                </a:cubicBezTo>
                <a:cubicBezTo>
                  <a:pt x="346" y="296"/>
                  <a:pt x="346" y="296"/>
                  <a:pt x="346" y="296"/>
                </a:cubicBezTo>
                <a:cubicBezTo>
                  <a:pt x="345" y="296"/>
                  <a:pt x="345" y="296"/>
                  <a:pt x="345" y="296"/>
                </a:cubicBezTo>
                <a:cubicBezTo>
                  <a:pt x="345" y="296"/>
                  <a:pt x="345" y="296"/>
                  <a:pt x="345" y="296"/>
                </a:cubicBezTo>
                <a:cubicBezTo>
                  <a:pt x="344" y="295"/>
                  <a:pt x="344" y="295"/>
                  <a:pt x="344" y="295"/>
                </a:cubicBezTo>
                <a:cubicBezTo>
                  <a:pt x="344" y="295"/>
                  <a:pt x="344" y="295"/>
                  <a:pt x="344" y="295"/>
                </a:cubicBezTo>
                <a:cubicBezTo>
                  <a:pt x="343" y="295"/>
                  <a:pt x="343" y="295"/>
                  <a:pt x="343" y="295"/>
                </a:cubicBezTo>
                <a:cubicBezTo>
                  <a:pt x="342" y="296"/>
                  <a:pt x="342" y="296"/>
                  <a:pt x="342" y="296"/>
                </a:cubicBezTo>
                <a:cubicBezTo>
                  <a:pt x="340" y="296"/>
                  <a:pt x="340" y="296"/>
                  <a:pt x="340" y="296"/>
                </a:cubicBezTo>
                <a:cubicBezTo>
                  <a:pt x="340" y="295"/>
                  <a:pt x="340" y="295"/>
                  <a:pt x="340" y="295"/>
                </a:cubicBezTo>
                <a:cubicBezTo>
                  <a:pt x="341" y="294"/>
                  <a:pt x="341" y="294"/>
                  <a:pt x="341" y="294"/>
                </a:cubicBezTo>
                <a:cubicBezTo>
                  <a:pt x="341" y="294"/>
                  <a:pt x="341" y="294"/>
                  <a:pt x="341" y="294"/>
                </a:cubicBezTo>
                <a:cubicBezTo>
                  <a:pt x="342" y="294"/>
                  <a:pt x="342" y="294"/>
                  <a:pt x="342" y="294"/>
                </a:cubicBezTo>
                <a:cubicBezTo>
                  <a:pt x="342" y="293"/>
                  <a:pt x="342" y="293"/>
                  <a:pt x="342" y="293"/>
                </a:cubicBezTo>
                <a:cubicBezTo>
                  <a:pt x="342" y="292"/>
                  <a:pt x="342" y="292"/>
                  <a:pt x="342" y="292"/>
                </a:cubicBezTo>
                <a:cubicBezTo>
                  <a:pt x="342" y="291"/>
                  <a:pt x="342" y="291"/>
                  <a:pt x="342" y="291"/>
                </a:cubicBezTo>
                <a:cubicBezTo>
                  <a:pt x="342" y="290"/>
                  <a:pt x="342" y="290"/>
                  <a:pt x="342" y="290"/>
                </a:cubicBezTo>
                <a:cubicBezTo>
                  <a:pt x="342" y="290"/>
                  <a:pt x="342" y="290"/>
                  <a:pt x="342" y="290"/>
                </a:cubicBezTo>
                <a:cubicBezTo>
                  <a:pt x="342" y="289"/>
                  <a:pt x="342" y="289"/>
                  <a:pt x="342" y="289"/>
                </a:cubicBezTo>
                <a:cubicBezTo>
                  <a:pt x="342" y="288"/>
                  <a:pt x="342" y="288"/>
                  <a:pt x="342" y="288"/>
                </a:cubicBezTo>
                <a:cubicBezTo>
                  <a:pt x="340" y="286"/>
                  <a:pt x="340" y="286"/>
                  <a:pt x="340" y="286"/>
                </a:cubicBezTo>
                <a:cubicBezTo>
                  <a:pt x="338" y="286"/>
                  <a:pt x="338" y="286"/>
                  <a:pt x="338" y="286"/>
                </a:cubicBezTo>
                <a:cubicBezTo>
                  <a:pt x="338" y="285"/>
                  <a:pt x="338" y="285"/>
                  <a:pt x="338" y="285"/>
                </a:cubicBezTo>
                <a:cubicBezTo>
                  <a:pt x="338" y="284"/>
                  <a:pt x="338" y="284"/>
                  <a:pt x="338" y="284"/>
                </a:cubicBezTo>
                <a:cubicBezTo>
                  <a:pt x="337" y="284"/>
                  <a:pt x="337" y="284"/>
                  <a:pt x="337" y="284"/>
                </a:cubicBezTo>
                <a:cubicBezTo>
                  <a:pt x="337" y="283"/>
                  <a:pt x="337" y="283"/>
                  <a:pt x="337" y="283"/>
                </a:cubicBezTo>
                <a:cubicBezTo>
                  <a:pt x="337" y="282"/>
                  <a:pt x="337" y="282"/>
                  <a:pt x="337" y="282"/>
                </a:cubicBezTo>
                <a:cubicBezTo>
                  <a:pt x="337" y="281"/>
                  <a:pt x="337" y="281"/>
                  <a:pt x="337" y="281"/>
                </a:cubicBezTo>
                <a:cubicBezTo>
                  <a:pt x="335" y="281"/>
                  <a:pt x="335" y="281"/>
                  <a:pt x="335" y="281"/>
                </a:cubicBezTo>
                <a:cubicBezTo>
                  <a:pt x="333" y="280"/>
                  <a:pt x="333" y="280"/>
                  <a:pt x="333" y="280"/>
                </a:cubicBezTo>
                <a:cubicBezTo>
                  <a:pt x="332" y="279"/>
                  <a:pt x="332" y="279"/>
                  <a:pt x="332" y="279"/>
                </a:cubicBezTo>
                <a:cubicBezTo>
                  <a:pt x="333" y="278"/>
                  <a:pt x="333" y="278"/>
                  <a:pt x="333" y="278"/>
                </a:cubicBezTo>
                <a:cubicBezTo>
                  <a:pt x="333" y="277"/>
                  <a:pt x="333" y="277"/>
                  <a:pt x="333" y="277"/>
                </a:cubicBezTo>
                <a:cubicBezTo>
                  <a:pt x="332" y="277"/>
                  <a:pt x="332" y="277"/>
                  <a:pt x="332" y="277"/>
                </a:cubicBezTo>
                <a:cubicBezTo>
                  <a:pt x="332" y="276"/>
                  <a:pt x="332" y="276"/>
                  <a:pt x="332" y="276"/>
                </a:cubicBezTo>
                <a:cubicBezTo>
                  <a:pt x="331" y="276"/>
                  <a:pt x="331" y="276"/>
                  <a:pt x="331" y="276"/>
                </a:cubicBezTo>
                <a:cubicBezTo>
                  <a:pt x="330" y="277"/>
                  <a:pt x="330" y="277"/>
                  <a:pt x="330" y="277"/>
                </a:cubicBezTo>
                <a:cubicBezTo>
                  <a:pt x="330" y="278"/>
                  <a:pt x="330" y="278"/>
                  <a:pt x="330" y="278"/>
                </a:cubicBezTo>
                <a:cubicBezTo>
                  <a:pt x="329" y="279"/>
                  <a:pt x="329" y="279"/>
                  <a:pt x="329" y="279"/>
                </a:cubicBezTo>
                <a:cubicBezTo>
                  <a:pt x="329" y="278"/>
                  <a:pt x="329" y="278"/>
                  <a:pt x="329" y="278"/>
                </a:cubicBezTo>
                <a:cubicBezTo>
                  <a:pt x="329" y="277"/>
                  <a:pt x="329" y="277"/>
                  <a:pt x="329" y="277"/>
                </a:cubicBezTo>
                <a:cubicBezTo>
                  <a:pt x="328" y="276"/>
                  <a:pt x="328" y="276"/>
                  <a:pt x="328" y="276"/>
                </a:cubicBezTo>
                <a:cubicBezTo>
                  <a:pt x="328" y="275"/>
                  <a:pt x="328" y="275"/>
                  <a:pt x="328" y="275"/>
                </a:cubicBezTo>
                <a:cubicBezTo>
                  <a:pt x="329" y="275"/>
                  <a:pt x="329" y="275"/>
                  <a:pt x="329" y="275"/>
                </a:cubicBezTo>
                <a:cubicBezTo>
                  <a:pt x="330" y="275"/>
                  <a:pt x="330" y="275"/>
                  <a:pt x="330" y="275"/>
                </a:cubicBezTo>
                <a:cubicBezTo>
                  <a:pt x="330" y="274"/>
                  <a:pt x="330" y="274"/>
                  <a:pt x="330" y="274"/>
                </a:cubicBezTo>
                <a:cubicBezTo>
                  <a:pt x="330" y="273"/>
                  <a:pt x="330" y="273"/>
                  <a:pt x="330" y="273"/>
                </a:cubicBezTo>
                <a:cubicBezTo>
                  <a:pt x="330" y="272"/>
                  <a:pt x="330" y="272"/>
                  <a:pt x="330" y="272"/>
                </a:cubicBezTo>
                <a:cubicBezTo>
                  <a:pt x="328" y="272"/>
                  <a:pt x="328" y="272"/>
                  <a:pt x="328" y="272"/>
                </a:cubicBezTo>
                <a:cubicBezTo>
                  <a:pt x="328" y="271"/>
                  <a:pt x="328" y="271"/>
                  <a:pt x="328" y="271"/>
                </a:cubicBezTo>
                <a:cubicBezTo>
                  <a:pt x="329" y="270"/>
                  <a:pt x="329" y="270"/>
                  <a:pt x="329" y="270"/>
                </a:cubicBezTo>
                <a:cubicBezTo>
                  <a:pt x="329" y="270"/>
                  <a:pt x="329" y="270"/>
                  <a:pt x="329" y="270"/>
                </a:cubicBezTo>
                <a:cubicBezTo>
                  <a:pt x="326" y="271"/>
                  <a:pt x="326" y="271"/>
                  <a:pt x="326" y="271"/>
                </a:cubicBezTo>
                <a:cubicBezTo>
                  <a:pt x="325" y="272"/>
                  <a:pt x="325" y="272"/>
                  <a:pt x="325" y="272"/>
                </a:cubicBezTo>
                <a:cubicBezTo>
                  <a:pt x="324" y="274"/>
                  <a:pt x="324" y="274"/>
                  <a:pt x="324" y="274"/>
                </a:cubicBezTo>
                <a:cubicBezTo>
                  <a:pt x="323" y="276"/>
                  <a:pt x="323" y="276"/>
                  <a:pt x="323" y="276"/>
                </a:cubicBezTo>
                <a:cubicBezTo>
                  <a:pt x="323" y="277"/>
                  <a:pt x="323" y="277"/>
                  <a:pt x="323" y="277"/>
                </a:cubicBezTo>
                <a:cubicBezTo>
                  <a:pt x="322" y="278"/>
                  <a:pt x="322" y="278"/>
                  <a:pt x="322" y="278"/>
                </a:cubicBezTo>
                <a:cubicBezTo>
                  <a:pt x="322" y="279"/>
                  <a:pt x="322" y="279"/>
                  <a:pt x="322" y="279"/>
                </a:cubicBezTo>
                <a:cubicBezTo>
                  <a:pt x="321" y="281"/>
                  <a:pt x="321" y="281"/>
                  <a:pt x="321" y="281"/>
                </a:cubicBezTo>
                <a:cubicBezTo>
                  <a:pt x="321" y="282"/>
                  <a:pt x="321" y="282"/>
                  <a:pt x="321" y="282"/>
                </a:cubicBezTo>
                <a:cubicBezTo>
                  <a:pt x="321" y="282"/>
                  <a:pt x="321" y="282"/>
                  <a:pt x="321" y="282"/>
                </a:cubicBezTo>
                <a:cubicBezTo>
                  <a:pt x="320" y="283"/>
                  <a:pt x="320" y="283"/>
                  <a:pt x="320" y="283"/>
                </a:cubicBezTo>
                <a:cubicBezTo>
                  <a:pt x="320" y="284"/>
                  <a:pt x="320" y="284"/>
                  <a:pt x="320" y="284"/>
                </a:cubicBezTo>
                <a:cubicBezTo>
                  <a:pt x="319" y="286"/>
                  <a:pt x="319" y="286"/>
                  <a:pt x="319" y="286"/>
                </a:cubicBezTo>
                <a:cubicBezTo>
                  <a:pt x="318" y="287"/>
                  <a:pt x="318" y="287"/>
                  <a:pt x="318" y="287"/>
                </a:cubicBezTo>
                <a:cubicBezTo>
                  <a:pt x="318" y="288"/>
                  <a:pt x="318" y="288"/>
                  <a:pt x="318" y="288"/>
                </a:cubicBezTo>
                <a:cubicBezTo>
                  <a:pt x="318" y="289"/>
                  <a:pt x="318" y="289"/>
                  <a:pt x="318" y="289"/>
                </a:cubicBezTo>
                <a:cubicBezTo>
                  <a:pt x="318" y="291"/>
                  <a:pt x="318" y="291"/>
                  <a:pt x="318" y="291"/>
                </a:cubicBezTo>
                <a:cubicBezTo>
                  <a:pt x="317" y="292"/>
                  <a:pt x="317" y="292"/>
                  <a:pt x="317" y="292"/>
                </a:cubicBezTo>
                <a:cubicBezTo>
                  <a:pt x="316" y="292"/>
                  <a:pt x="316" y="292"/>
                  <a:pt x="316" y="292"/>
                </a:cubicBezTo>
                <a:cubicBezTo>
                  <a:pt x="314" y="293"/>
                  <a:pt x="314" y="293"/>
                  <a:pt x="314" y="293"/>
                </a:cubicBezTo>
                <a:cubicBezTo>
                  <a:pt x="314" y="294"/>
                  <a:pt x="314" y="294"/>
                  <a:pt x="314" y="294"/>
                </a:cubicBezTo>
                <a:cubicBezTo>
                  <a:pt x="313" y="296"/>
                  <a:pt x="313" y="296"/>
                  <a:pt x="313" y="296"/>
                </a:cubicBezTo>
                <a:cubicBezTo>
                  <a:pt x="313" y="297"/>
                  <a:pt x="313" y="297"/>
                  <a:pt x="313" y="297"/>
                </a:cubicBezTo>
                <a:close/>
                <a:moveTo>
                  <a:pt x="323" y="315"/>
                </a:moveTo>
                <a:cubicBezTo>
                  <a:pt x="323" y="315"/>
                  <a:pt x="324" y="316"/>
                  <a:pt x="324" y="316"/>
                </a:cubicBezTo>
                <a:cubicBezTo>
                  <a:pt x="324" y="316"/>
                  <a:pt x="324" y="316"/>
                  <a:pt x="324" y="316"/>
                </a:cubicBezTo>
                <a:cubicBezTo>
                  <a:pt x="325" y="314"/>
                  <a:pt x="325" y="314"/>
                  <a:pt x="325" y="314"/>
                </a:cubicBezTo>
                <a:cubicBezTo>
                  <a:pt x="326" y="314"/>
                  <a:pt x="326" y="314"/>
                  <a:pt x="326" y="314"/>
                </a:cubicBezTo>
                <a:cubicBezTo>
                  <a:pt x="327" y="314"/>
                  <a:pt x="327" y="314"/>
                  <a:pt x="327" y="314"/>
                </a:cubicBezTo>
                <a:cubicBezTo>
                  <a:pt x="327" y="315"/>
                  <a:pt x="327" y="315"/>
                  <a:pt x="327" y="315"/>
                </a:cubicBezTo>
                <a:cubicBezTo>
                  <a:pt x="328" y="315"/>
                  <a:pt x="328" y="315"/>
                  <a:pt x="328" y="315"/>
                </a:cubicBezTo>
                <a:cubicBezTo>
                  <a:pt x="329" y="313"/>
                  <a:pt x="329" y="313"/>
                  <a:pt x="329" y="313"/>
                </a:cubicBezTo>
                <a:cubicBezTo>
                  <a:pt x="330" y="313"/>
                  <a:pt x="330" y="313"/>
                  <a:pt x="330" y="313"/>
                </a:cubicBezTo>
                <a:cubicBezTo>
                  <a:pt x="331" y="312"/>
                  <a:pt x="331" y="312"/>
                  <a:pt x="331" y="312"/>
                </a:cubicBezTo>
                <a:cubicBezTo>
                  <a:pt x="332" y="311"/>
                  <a:pt x="332" y="311"/>
                  <a:pt x="332" y="311"/>
                </a:cubicBezTo>
                <a:cubicBezTo>
                  <a:pt x="333" y="311"/>
                  <a:pt x="333" y="311"/>
                  <a:pt x="333" y="311"/>
                </a:cubicBezTo>
                <a:cubicBezTo>
                  <a:pt x="335" y="310"/>
                  <a:pt x="335" y="310"/>
                  <a:pt x="335" y="310"/>
                </a:cubicBezTo>
                <a:cubicBezTo>
                  <a:pt x="335" y="309"/>
                  <a:pt x="335" y="309"/>
                  <a:pt x="335" y="309"/>
                </a:cubicBezTo>
                <a:cubicBezTo>
                  <a:pt x="336" y="308"/>
                  <a:pt x="336" y="308"/>
                  <a:pt x="336" y="308"/>
                </a:cubicBezTo>
                <a:cubicBezTo>
                  <a:pt x="336" y="308"/>
                  <a:pt x="336" y="308"/>
                  <a:pt x="336" y="308"/>
                </a:cubicBezTo>
                <a:cubicBezTo>
                  <a:pt x="334" y="308"/>
                  <a:pt x="334" y="308"/>
                  <a:pt x="334" y="308"/>
                </a:cubicBezTo>
                <a:cubicBezTo>
                  <a:pt x="334" y="307"/>
                  <a:pt x="334" y="307"/>
                  <a:pt x="334" y="307"/>
                </a:cubicBezTo>
                <a:cubicBezTo>
                  <a:pt x="333" y="307"/>
                  <a:pt x="333" y="307"/>
                  <a:pt x="333" y="307"/>
                </a:cubicBezTo>
                <a:cubicBezTo>
                  <a:pt x="332" y="308"/>
                  <a:pt x="332" y="308"/>
                  <a:pt x="332" y="308"/>
                </a:cubicBezTo>
                <a:cubicBezTo>
                  <a:pt x="332" y="307"/>
                  <a:pt x="332" y="307"/>
                  <a:pt x="332" y="307"/>
                </a:cubicBezTo>
                <a:cubicBezTo>
                  <a:pt x="331" y="308"/>
                  <a:pt x="331" y="308"/>
                  <a:pt x="331" y="308"/>
                </a:cubicBezTo>
                <a:cubicBezTo>
                  <a:pt x="330" y="308"/>
                  <a:pt x="330" y="308"/>
                  <a:pt x="330" y="308"/>
                </a:cubicBezTo>
                <a:cubicBezTo>
                  <a:pt x="329" y="308"/>
                  <a:pt x="329" y="308"/>
                  <a:pt x="329" y="308"/>
                </a:cubicBezTo>
                <a:cubicBezTo>
                  <a:pt x="329" y="307"/>
                  <a:pt x="329" y="307"/>
                  <a:pt x="329" y="307"/>
                </a:cubicBezTo>
                <a:cubicBezTo>
                  <a:pt x="328" y="307"/>
                  <a:pt x="328" y="307"/>
                  <a:pt x="328" y="307"/>
                </a:cubicBezTo>
                <a:cubicBezTo>
                  <a:pt x="327" y="307"/>
                  <a:pt x="327" y="307"/>
                  <a:pt x="327" y="307"/>
                </a:cubicBezTo>
                <a:cubicBezTo>
                  <a:pt x="326" y="309"/>
                  <a:pt x="326" y="309"/>
                  <a:pt x="326" y="309"/>
                </a:cubicBezTo>
                <a:cubicBezTo>
                  <a:pt x="326" y="310"/>
                  <a:pt x="326" y="310"/>
                  <a:pt x="326" y="310"/>
                </a:cubicBezTo>
                <a:cubicBezTo>
                  <a:pt x="325" y="310"/>
                  <a:pt x="325" y="310"/>
                  <a:pt x="325" y="310"/>
                </a:cubicBezTo>
                <a:cubicBezTo>
                  <a:pt x="323" y="311"/>
                  <a:pt x="323" y="311"/>
                  <a:pt x="323" y="311"/>
                </a:cubicBezTo>
                <a:cubicBezTo>
                  <a:pt x="323" y="312"/>
                  <a:pt x="323" y="312"/>
                  <a:pt x="323" y="312"/>
                </a:cubicBezTo>
                <a:cubicBezTo>
                  <a:pt x="323" y="312"/>
                  <a:pt x="323" y="312"/>
                  <a:pt x="323" y="312"/>
                </a:cubicBezTo>
                <a:cubicBezTo>
                  <a:pt x="324" y="313"/>
                  <a:pt x="324" y="313"/>
                  <a:pt x="324" y="313"/>
                </a:cubicBezTo>
                <a:cubicBezTo>
                  <a:pt x="323" y="314"/>
                  <a:pt x="323" y="314"/>
                  <a:pt x="323" y="314"/>
                </a:cubicBezTo>
                <a:cubicBezTo>
                  <a:pt x="323" y="315"/>
                  <a:pt x="323" y="315"/>
                  <a:pt x="323" y="315"/>
                </a:cubicBezTo>
                <a:close/>
                <a:moveTo>
                  <a:pt x="425" y="324"/>
                </a:moveTo>
                <a:cubicBezTo>
                  <a:pt x="425" y="324"/>
                  <a:pt x="425" y="324"/>
                  <a:pt x="425" y="324"/>
                </a:cubicBezTo>
                <a:cubicBezTo>
                  <a:pt x="426" y="324"/>
                  <a:pt x="426" y="324"/>
                  <a:pt x="426" y="324"/>
                </a:cubicBezTo>
                <a:cubicBezTo>
                  <a:pt x="427" y="325"/>
                  <a:pt x="427" y="325"/>
                  <a:pt x="427" y="325"/>
                </a:cubicBezTo>
                <a:cubicBezTo>
                  <a:pt x="428" y="324"/>
                  <a:pt x="428" y="324"/>
                  <a:pt x="428" y="324"/>
                </a:cubicBezTo>
                <a:cubicBezTo>
                  <a:pt x="428" y="324"/>
                  <a:pt x="428" y="324"/>
                  <a:pt x="428" y="324"/>
                </a:cubicBezTo>
                <a:cubicBezTo>
                  <a:pt x="428" y="323"/>
                  <a:pt x="428" y="323"/>
                  <a:pt x="428" y="323"/>
                </a:cubicBezTo>
                <a:cubicBezTo>
                  <a:pt x="428" y="323"/>
                  <a:pt x="428" y="323"/>
                  <a:pt x="428" y="323"/>
                </a:cubicBezTo>
                <a:cubicBezTo>
                  <a:pt x="428" y="322"/>
                  <a:pt x="428" y="322"/>
                  <a:pt x="428" y="322"/>
                </a:cubicBezTo>
                <a:cubicBezTo>
                  <a:pt x="427" y="323"/>
                  <a:pt x="427" y="323"/>
                  <a:pt x="427" y="323"/>
                </a:cubicBezTo>
                <a:cubicBezTo>
                  <a:pt x="426" y="323"/>
                  <a:pt x="426" y="323"/>
                  <a:pt x="426" y="323"/>
                </a:cubicBezTo>
                <a:cubicBezTo>
                  <a:pt x="425" y="324"/>
                  <a:pt x="425" y="324"/>
                  <a:pt x="425" y="324"/>
                </a:cubicBezTo>
                <a:close/>
                <a:moveTo>
                  <a:pt x="393" y="315"/>
                </a:moveTo>
                <a:cubicBezTo>
                  <a:pt x="393" y="316"/>
                  <a:pt x="393" y="316"/>
                  <a:pt x="393" y="316"/>
                </a:cubicBezTo>
                <a:cubicBezTo>
                  <a:pt x="395" y="316"/>
                  <a:pt x="395" y="316"/>
                  <a:pt x="395" y="316"/>
                </a:cubicBezTo>
                <a:cubicBezTo>
                  <a:pt x="395" y="317"/>
                  <a:pt x="395" y="317"/>
                  <a:pt x="395" y="317"/>
                </a:cubicBezTo>
                <a:cubicBezTo>
                  <a:pt x="395" y="317"/>
                  <a:pt x="395" y="317"/>
                  <a:pt x="395" y="317"/>
                </a:cubicBezTo>
                <a:cubicBezTo>
                  <a:pt x="395" y="318"/>
                  <a:pt x="395" y="318"/>
                  <a:pt x="395" y="318"/>
                </a:cubicBezTo>
                <a:cubicBezTo>
                  <a:pt x="396" y="318"/>
                  <a:pt x="396" y="318"/>
                  <a:pt x="396" y="318"/>
                </a:cubicBezTo>
                <a:cubicBezTo>
                  <a:pt x="396" y="318"/>
                  <a:pt x="396" y="318"/>
                  <a:pt x="396" y="318"/>
                </a:cubicBezTo>
                <a:cubicBezTo>
                  <a:pt x="397" y="318"/>
                  <a:pt x="397" y="318"/>
                  <a:pt x="397" y="318"/>
                </a:cubicBezTo>
                <a:cubicBezTo>
                  <a:pt x="397" y="318"/>
                  <a:pt x="397" y="318"/>
                  <a:pt x="397" y="318"/>
                </a:cubicBezTo>
                <a:cubicBezTo>
                  <a:pt x="397" y="318"/>
                  <a:pt x="397" y="318"/>
                  <a:pt x="397" y="318"/>
                </a:cubicBezTo>
                <a:cubicBezTo>
                  <a:pt x="397" y="317"/>
                  <a:pt x="397" y="317"/>
                  <a:pt x="397" y="317"/>
                </a:cubicBezTo>
                <a:cubicBezTo>
                  <a:pt x="396" y="316"/>
                  <a:pt x="396" y="316"/>
                  <a:pt x="396" y="316"/>
                </a:cubicBezTo>
                <a:cubicBezTo>
                  <a:pt x="396" y="316"/>
                  <a:pt x="396" y="316"/>
                  <a:pt x="396" y="316"/>
                </a:cubicBezTo>
                <a:cubicBezTo>
                  <a:pt x="395" y="316"/>
                  <a:pt x="395" y="316"/>
                  <a:pt x="395" y="316"/>
                </a:cubicBezTo>
                <a:cubicBezTo>
                  <a:pt x="394" y="315"/>
                  <a:pt x="394" y="315"/>
                  <a:pt x="394" y="315"/>
                </a:cubicBezTo>
                <a:cubicBezTo>
                  <a:pt x="393" y="315"/>
                  <a:pt x="393" y="315"/>
                  <a:pt x="393" y="315"/>
                </a:cubicBezTo>
                <a:cubicBezTo>
                  <a:pt x="393" y="315"/>
                  <a:pt x="393" y="315"/>
                  <a:pt x="393" y="315"/>
                </a:cubicBezTo>
                <a:close/>
                <a:moveTo>
                  <a:pt x="423" y="332"/>
                </a:moveTo>
                <a:cubicBezTo>
                  <a:pt x="422" y="331"/>
                  <a:pt x="422" y="331"/>
                  <a:pt x="422" y="331"/>
                </a:cubicBezTo>
                <a:cubicBezTo>
                  <a:pt x="422" y="330"/>
                  <a:pt x="422" y="330"/>
                  <a:pt x="422" y="330"/>
                </a:cubicBezTo>
                <a:cubicBezTo>
                  <a:pt x="422" y="330"/>
                  <a:pt x="422" y="330"/>
                  <a:pt x="422" y="330"/>
                </a:cubicBezTo>
                <a:cubicBezTo>
                  <a:pt x="422" y="329"/>
                  <a:pt x="422" y="329"/>
                  <a:pt x="422" y="329"/>
                </a:cubicBezTo>
                <a:cubicBezTo>
                  <a:pt x="422" y="328"/>
                  <a:pt x="422" y="328"/>
                  <a:pt x="422" y="328"/>
                </a:cubicBezTo>
                <a:cubicBezTo>
                  <a:pt x="423" y="329"/>
                  <a:pt x="423" y="329"/>
                  <a:pt x="423" y="329"/>
                </a:cubicBezTo>
                <a:cubicBezTo>
                  <a:pt x="423" y="330"/>
                  <a:pt x="423" y="330"/>
                  <a:pt x="423" y="330"/>
                </a:cubicBezTo>
                <a:cubicBezTo>
                  <a:pt x="424" y="330"/>
                  <a:pt x="424" y="330"/>
                  <a:pt x="424" y="330"/>
                </a:cubicBezTo>
                <a:cubicBezTo>
                  <a:pt x="424" y="331"/>
                  <a:pt x="424" y="331"/>
                  <a:pt x="424" y="331"/>
                </a:cubicBezTo>
                <a:cubicBezTo>
                  <a:pt x="423" y="332"/>
                  <a:pt x="423" y="332"/>
                  <a:pt x="423" y="332"/>
                </a:cubicBezTo>
                <a:close/>
                <a:moveTo>
                  <a:pt x="422" y="335"/>
                </a:moveTo>
                <a:cubicBezTo>
                  <a:pt x="422" y="335"/>
                  <a:pt x="422" y="335"/>
                  <a:pt x="422" y="335"/>
                </a:cubicBezTo>
                <a:cubicBezTo>
                  <a:pt x="422" y="334"/>
                  <a:pt x="422" y="334"/>
                  <a:pt x="422" y="334"/>
                </a:cubicBezTo>
                <a:cubicBezTo>
                  <a:pt x="421" y="334"/>
                  <a:pt x="421" y="334"/>
                  <a:pt x="421" y="334"/>
                </a:cubicBezTo>
                <a:cubicBezTo>
                  <a:pt x="420" y="334"/>
                  <a:pt x="420" y="334"/>
                  <a:pt x="420" y="334"/>
                </a:cubicBezTo>
                <a:cubicBezTo>
                  <a:pt x="420" y="333"/>
                  <a:pt x="420" y="333"/>
                  <a:pt x="420" y="333"/>
                </a:cubicBezTo>
                <a:cubicBezTo>
                  <a:pt x="420" y="332"/>
                  <a:pt x="420" y="332"/>
                  <a:pt x="420" y="332"/>
                </a:cubicBezTo>
                <a:cubicBezTo>
                  <a:pt x="420" y="332"/>
                  <a:pt x="420" y="332"/>
                  <a:pt x="420" y="332"/>
                </a:cubicBezTo>
                <a:cubicBezTo>
                  <a:pt x="421" y="332"/>
                  <a:pt x="421" y="332"/>
                  <a:pt x="421" y="332"/>
                </a:cubicBezTo>
                <a:cubicBezTo>
                  <a:pt x="423" y="332"/>
                  <a:pt x="423" y="332"/>
                  <a:pt x="423" y="332"/>
                </a:cubicBezTo>
                <a:cubicBezTo>
                  <a:pt x="424" y="333"/>
                  <a:pt x="424" y="333"/>
                  <a:pt x="424" y="333"/>
                </a:cubicBezTo>
                <a:cubicBezTo>
                  <a:pt x="424" y="333"/>
                  <a:pt x="424" y="333"/>
                  <a:pt x="424" y="333"/>
                </a:cubicBezTo>
                <a:cubicBezTo>
                  <a:pt x="423" y="334"/>
                  <a:pt x="423" y="334"/>
                  <a:pt x="423" y="334"/>
                </a:cubicBezTo>
                <a:cubicBezTo>
                  <a:pt x="423" y="334"/>
                  <a:pt x="423" y="334"/>
                  <a:pt x="423" y="334"/>
                </a:cubicBezTo>
                <a:cubicBezTo>
                  <a:pt x="423" y="335"/>
                  <a:pt x="423" y="335"/>
                  <a:pt x="423" y="335"/>
                </a:cubicBezTo>
                <a:cubicBezTo>
                  <a:pt x="423" y="335"/>
                  <a:pt x="423" y="335"/>
                  <a:pt x="423" y="335"/>
                </a:cubicBezTo>
                <a:cubicBezTo>
                  <a:pt x="422" y="335"/>
                  <a:pt x="422" y="335"/>
                  <a:pt x="422" y="335"/>
                </a:cubicBezTo>
                <a:close/>
                <a:moveTo>
                  <a:pt x="391" y="354"/>
                </a:moveTo>
                <a:cubicBezTo>
                  <a:pt x="391" y="355"/>
                  <a:pt x="391" y="355"/>
                  <a:pt x="391" y="355"/>
                </a:cubicBezTo>
                <a:cubicBezTo>
                  <a:pt x="391" y="355"/>
                  <a:pt x="391" y="355"/>
                  <a:pt x="391" y="355"/>
                </a:cubicBezTo>
                <a:cubicBezTo>
                  <a:pt x="391" y="354"/>
                  <a:pt x="391" y="354"/>
                  <a:pt x="391" y="354"/>
                </a:cubicBezTo>
                <a:close/>
                <a:moveTo>
                  <a:pt x="392" y="355"/>
                </a:moveTo>
                <a:cubicBezTo>
                  <a:pt x="391" y="355"/>
                  <a:pt x="391" y="355"/>
                  <a:pt x="391" y="355"/>
                </a:cubicBezTo>
                <a:cubicBezTo>
                  <a:pt x="392" y="355"/>
                  <a:pt x="392" y="355"/>
                  <a:pt x="392" y="355"/>
                </a:cubicBezTo>
                <a:cubicBezTo>
                  <a:pt x="392" y="355"/>
                  <a:pt x="392" y="355"/>
                  <a:pt x="392" y="355"/>
                </a:cubicBezTo>
                <a:close/>
                <a:moveTo>
                  <a:pt x="392" y="354"/>
                </a:moveTo>
                <a:cubicBezTo>
                  <a:pt x="392" y="355"/>
                  <a:pt x="392" y="355"/>
                  <a:pt x="392" y="355"/>
                </a:cubicBezTo>
                <a:cubicBezTo>
                  <a:pt x="392" y="356"/>
                  <a:pt x="392" y="356"/>
                  <a:pt x="392" y="356"/>
                </a:cubicBezTo>
                <a:cubicBezTo>
                  <a:pt x="392" y="357"/>
                  <a:pt x="392" y="357"/>
                  <a:pt x="392" y="357"/>
                </a:cubicBezTo>
                <a:cubicBezTo>
                  <a:pt x="393" y="356"/>
                  <a:pt x="393" y="356"/>
                  <a:pt x="393" y="356"/>
                </a:cubicBezTo>
                <a:cubicBezTo>
                  <a:pt x="393" y="355"/>
                  <a:pt x="393" y="355"/>
                  <a:pt x="393" y="355"/>
                </a:cubicBezTo>
                <a:cubicBezTo>
                  <a:pt x="392" y="354"/>
                  <a:pt x="392" y="354"/>
                  <a:pt x="392" y="354"/>
                </a:cubicBezTo>
                <a:close/>
                <a:moveTo>
                  <a:pt x="401" y="345"/>
                </a:moveTo>
                <a:cubicBezTo>
                  <a:pt x="401" y="344"/>
                  <a:pt x="401" y="344"/>
                  <a:pt x="401" y="344"/>
                </a:cubicBezTo>
                <a:cubicBezTo>
                  <a:pt x="401" y="343"/>
                  <a:pt x="401" y="343"/>
                  <a:pt x="401" y="343"/>
                </a:cubicBezTo>
                <a:cubicBezTo>
                  <a:pt x="401" y="343"/>
                  <a:pt x="401" y="343"/>
                  <a:pt x="401" y="343"/>
                </a:cubicBezTo>
                <a:cubicBezTo>
                  <a:pt x="402" y="342"/>
                  <a:pt x="402" y="342"/>
                  <a:pt x="402" y="342"/>
                </a:cubicBezTo>
                <a:cubicBezTo>
                  <a:pt x="403" y="341"/>
                  <a:pt x="403" y="341"/>
                  <a:pt x="403" y="341"/>
                </a:cubicBezTo>
                <a:cubicBezTo>
                  <a:pt x="404" y="341"/>
                  <a:pt x="404" y="341"/>
                  <a:pt x="404" y="341"/>
                </a:cubicBezTo>
                <a:cubicBezTo>
                  <a:pt x="404" y="341"/>
                  <a:pt x="404" y="341"/>
                  <a:pt x="404" y="341"/>
                </a:cubicBezTo>
                <a:cubicBezTo>
                  <a:pt x="404" y="342"/>
                  <a:pt x="404" y="342"/>
                  <a:pt x="404" y="342"/>
                </a:cubicBezTo>
                <a:cubicBezTo>
                  <a:pt x="405" y="342"/>
                  <a:pt x="405" y="342"/>
                  <a:pt x="405" y="342"/>
                </a:cubicBezTo>
                <a:cubicBezTo>
                  <a:pt x="405" y="343"/>
                  <a:pt x="405" y="343"/>
                  <a:pt x="405" y="343"/>
                </a:cubicBezTo>
                <a:cubicBezTo>
                  <a:pt x="404" y="343"/>
                  <a:pt x="404" y="343"/>
                  <a:pt x="404" y="343"/>
                </a:cubicBezTo>
                <a:cubicBezTo>
                  <a:pt x="403" y="344"/>
                  <a:pt x="403" y="344"/>
                  <a:pt x="403" y="344"/>
                </a:cubicBezTo>
                <a:cubicBezTo>
                  <a:pt x="402" y="344"/>
                  <a:pt x="402" y="344"/>
                  <a:pt x="402" y="344"/>
                </a:cubicBezTo>
                <a:cubicBezTo>
                  <a:pt x="401" y="345"/>
                  <a:pt x="401" y="345"/>
                  <a:pt x="401" y="345"/>
                </a:cubicBezTo>
                <a:cubicBezTo>
                  <a:pt x="401" y="345"/>
                  <a:pt x="401" y="345"/>
                  <a:pt x="401" y="345"/>
                </a:cubicBezTo>
                <a:close/>
                <a:moveTo>
                  <a:pt x="373" y="314"/>
                </a:moveTo>
                <a:cubicBezTo>
                  <a:pt x="374" y="315"/>
                  <a:pt x="374" y="315"/>
                  <a:pt x="374" y="315"/>
                </a:cubicBezTo>
                <a:cubicBezTo>
                  <a:pt x="375" y="316"/>
                  <a:pt x="375" y="316"/>
                  <a:pt x="375" y="316"/>
                </a:cubicBezTo>
                <a:cubicBezTo>
                  <a:pt x="376" y="316"/>
                  <a:pt x="376" y="316"/>
                  <a:pt x="376" y="316"/>
                </a:cubicBezTo>
                <a:cubicBezTo>
                  <a:pt x="377" y="316"/>
                  <a:pt x="377" y="316"/>
                  <a:pt x="377" y="316"/>
                </a:cubicBezTo>
                <a:cubicBezTo>
                  <a:pt x="377" y="316"/>
                  <a:pt x="377" y="316"/>
                  <a:pt x="377" y="316"/>
                </a:cubicBezTo>
                <a:cubicBezTo>
                  <a:pt x="376" y="315"/>
                  <a:pt x="376" y="315"/>
                  <a:pt x="376" y="315"/>
                </a:cubicBezTo>
                <a:cubicBezTo>
                  <a:pt x="375" y="314"/>
                  <a:pt x="375" y="314"/>
                  <a:pt x="375" y="314"/>
                </a:cubicBezTo>
                <a:cubicBezTo>
                  <a:pt x="374" y="314"/>
                  <a:pt x="374" y="314"/>
                  <a:pt x="374" y="314"/>
                </a:cubicBezTo>
                <a:cubicBezTo>
                  <a:pt x="373" y="314"/>
                  <a:pt x="373" y="314"/>
                  <a:pt x="373" y="314"/>
                </a:cubicBezTo>
                <a:close/>
                <a:moveTo>
                  <a:pt x="364" y="305"/>
                </a:moveTo>
                <a:cubicBezTo>
                  <a:pt x="364" y="306"/>
                  <a:pt x="364" y="306"/>
                  <a:pt x="364" y="306"/>
                </a:cubicBezTo>
                <a:cubicBezTo>
                  <a:pt x="365" y="306"/>
                  <a:pt x="365" y="306"/>
                  <a:pt x="365" y="306"/>
                </a:cubicBezTo>
                <a:cubicBezTo>
                  <a:pt x="365" y="306"/>
                  <a:pt x="365" y="306"/>
                  <a:pt x="365" y="306"/>
                </a:cubicBezTo>
                <a:cubicBezTo>
                  <a:pt x="366" y="306"/>
                  <a:pt x="366" y="306"/>
                  <a:pt x="366" y="306"/>
                </a:cubicBezTo>
                <a:cubicBezTo>
                  <a:pt x="366" y="305"/>
                  <a:pt x="366" y="305"/>
                  <a:pt x="366" y="305"/>
                </a:cubicBezTo>
                <a:cubicBezTo>
                  <a:pt x="366" y="305"/>
                  <a:pt x="366" y="305"/>
                  <a:pt x="366" y="305"/>
                </a:cubicBezTo>
                <a:cubicBezTo>
                  <a:pt x="367" y="305"/>
                  <a:pt x="367" y="305"/>
                  <a:pt x="367" y="305"/>
                </a:cubicBezTo>
                <a:cubicBezTo>
                  <a:pt x="366" y="304"/>
                  <a:pt x="366" y="304"/>
                  <a:pt x="366" y="304"/>
                </a:cubicBezTo>
                <a:cubicBezTo>
                  <a:pt x="366" y="304"/>
                  <a:pt x="366" y="304"/>
                  <a:pt x="366" y="304"/>
                </a:cubicBezTo>
                <a:cubicBezTo>
                  <a:pt x="366" y="304"/>
                  <a:pt x="366" y="304"/>
                  <a:pt x="366" y="304"/>
                </a:cubicBezTo>
                <a:cubicBezTo>
                  <a:pt x="365" y="303"/>
                  <a:pt x="365" y="303"/>
                  <a:pt x="365" y="303"/>
                </a:cubicBezTo>
                <a:cubicBezTo>
                  <a:pt x="364" y="303"/>
                  <a:pt x="364" y="303"/>
                  <a:pt x="364" y="303"/>
                </a:cubicBezTo>
                <a:cubicBezTo>
                  <a:pt x="364" y="302"/>
                  <a:pt x="364" y="302"/>
                  <a:pt x="364" y="302"/>
                </a:cubicBezTo>
                <a:cubicBezTo>
                  <a:pt x="364" y="302"/>
                  <a:pt x="364" y="302"/>
                  <a:pt x="364" y="302"/>
                </a:cubicBezTo>
                <a:cubicBezTo>
                  <a:pt x="363" y="302"/>
                  <a:pt x="363" y="302"/>
                  <a:pt x="363" y="302"/>
                </a:cubicBezTo>
                <a:cubicBezTo>
                  <a:pt x="363" y="302"/>
                  <a:pt x="363" y="302"/>
                  <a:pt x="363" y="302"/>
                </a:cubicBezTo>
                <a:cubicBezTo>
                  <a:pt x="362" y="302"/>
                  <a:pt x="362" y="302"/>
                  <a:pt x="362" y="302"/>
                </a:cubicBezTo>
                <a:cubicBezTo>
                  <a:pt x="362" y="302"/>
                  <a:pt x="362" y="302"/>
                  <a:pt x="362" y="302"/>
                </a:cubicBezTo>
                <a:cubicBezTo>
                  <a:pt x="362" y="303"/>
                  <a:pt x="362" y="303"/>
                  <a:pt x="362" y="303"/>
                </a:cubicBezTo>
                <a:cubicBezTo>
                  <a:pt x="362" y="303"/>
                  <a:pt x="362" y="303"/>
                  <a:pt x="362" y="303"/>
                </a:cubicBezTo>
                <a:cubicBezTo>
                  <a:pt x="363" y="303"/>
                  <a:pt x="363" y="303"/>
                  <a:pt x="363" y="303"/>
                </a:cubicBezTo>
                <a:cubicBezTo>
                  <a:pt x="363" y="304"/>
                  <a:pt x="363" y="304"/>
                  <a:pt x="363" y="304"/>
                </a:cubicBezTo>
                <a:cubicBezTo>
                  <a:pt x="364" y="305"/>
                  <a:pt x="364" y="305"/>
                  <a:pt x="364" y="305"/>
                </a:cubicBezTo>
                <a:cubicBezTo>
                  <a:pt x="364" y="305"/>
                  <a:pt x="364" y="305"/>
                  <a:pt x="364" y="305"/>
                </a:cubicBezTo>
                <a:close/>
                <a:moveTo>
                  <a:pt x="357" y="309"/>
                </a:moveTo>
                <a:cubicBezTo>
                  <a:pt x="358" y="308"/>
                  <a:pt x="358" y="308"/>
                  <a:pt x="358" y="308"/>
                </a:cubicBezTo>
                <a:cubicBezTo>
                  <a:pt x="359" y="308"/>
                  <a:pt x="359" y="308"/>
                  <a:pt x="359" y="308"/>
                </a:cubicBezTo>
                <a:cubicBezTo>
                  <a:pt x="360" y="308"/>
                  <a:pt x="360" y="308"/>
                  <a:pt x="360" y="308"/>
                </a:cubicBezTo>
                <a:cubicBezTo>
                  <a:pt x="360" y="307"/>
                  <a:pt x="360" y="307"/>
                  <a:pt x="360" y="307"/>
                </a:cubicBezTo>
                <a:cubicBezTo>
                  <a:pt x="360" y="307"/>
                  <a:pt x="360" y="307"/>
                  <a:pt x="360" y="307"/>
                </a:cubicBezTo>
                <a:cubicBezTo>
                  <a:pt x="360" y="306"/>
                  <a:pt x="360" y="306"/>
                  <a:pt x="360" y="306"/>
                </a:cubicBezTo>
                <a:cubicBezTo>
                  <a:pt x="360" y="305"/>
                  <a:pt x="360" y="305"/>
                  <a:pt x="360" y="305"/>
                </a:cubicBezTo>
                <a:cubicBezTo>
                  <a:pt x="360" y="304"/>
                  <a:pt x="360" y="304"/>
                  <a:pt x="360" y="304"/>
                </a:cubicBezTo>
                <a:cubicBezTo>
                  <a:pt x="358" y="304"/>
                  <a:pt x="358" y="304"/>
                  <a:pt x="358" y="304"/>
                </a:cubicBezTo>
                <a:cubicBezTo>
                  <a:pt x="358" y="304"/>
                  <a:pt x="358" y="304"/>
                  <a:pt x="358" y="304"/>
                </a:cubicBezTo>
                <a:cubicBezTo>
                  <a:pt x="357" y="303"/>
                  <a:pt x="357" y="303"/>
                  <a:pt x="357" y="303"/>
                </a:cubicBezTo>
                <a:cubicBezTo>
                  <a:pt x="357" y="303"/>
                  <a:pt x="357" y="303"/>
                  <a:pt x="357" y="303"/>
                </a:cubicBezTo>
                <a:cubicBezTo>
                  <a:pt x="355" y="303"/>
                  <a:pt x="355" y="303"/>
                  <a:pt x="355" y="303"/>
                </a:cubicBezTo>
                <a:cubicBezTo>
                  <a:pt x="355" y="303"/>
                  <a:pt x="355" y="303"/>
                  <a:pt x="355" y="303"/>
                </a:cubicBezTo>
                <a:cubicBezTo>
                  <a:pt x="355" y="304"/>
                  <a:pt x="355" y="304"/>
                  <a:pt x="355" y="304"/>
                </a:cubicBezTo>
                <a:cubicBezTo>
                  <a:pt x="355" y="305"/>
                  <a:pt x="355" y="305"/>
                  <a:pt x="355" y="305"/>
                </a:cubicBezTo>
                <a:cubicBezTo>
                  <a:pt x="356" y="306"/>
                  <a:pt x="356" y="306"/>
                  <a:pt x="356" y="306"/>
                </a:cubicBezTo>
                <a:cubicBezTo>
                  <a:pt x="356" y="307"/>
                  <a:pt x="356" y="307"/>
                  <a:pt x="356" y="307"/>
                </a:cubicBezTo>
                <a:cubicBezTo>
                  <a:pt x="357" y="307"/>
                  <a:pt x="357" y="307"/>
                  <a:pt x="357" y="307"/>
                </a:cubicBezTo>
                <a:cubicBezTo>
                  <a:pt x="357" y="308"/>
                  <a:pt x="357" y="308"/>
                  <a:pt x="357" y="308"/>
                </a:cubicBezTo>
                <a:cubicBezTo>
                  <a:pt x="357" y="309"/>
                  <a:pt x="357" y="309"/>
                  <a:pt x="357" y="309"/>
                </a:cubicBezTo>
                <a:close/>
                <a:moveTo>
                  <a:pt x="356" y="314"/>
                </a:moveTo>
                <a:cubicBezTo>
                  <a:pt x="356" y="314"/>
                  <a:pt x="357" y="314"/>
                  <a:pt x="357" y="314"/>
                </a:cubicBezTo>
                <a:cubicBezTo>
                  <a:pt x="355" y="313"/>
                  <a:pt x="355" y="313"/>
                  <a:pt x="355" y="313"/>
                </a:cubicBezTo>
                <a:cubicBezTo>
                  <a:pt x="355" y="313"/>
                  <a:pt x="355" y="313"/>
                  <a:pt x="355" y="313"/>
                </a:cubicBezTo>
                <a:cubicBezTo>
                  <a:pt x="355" y="314"/>
                  <a:pt x="355" y="314"/>
                  <a:pt x="355" y="314"/>
                </a:cubicBezTo>
                <a:cubicBezTo>
                  <a:pt x="356" y="314"/>
                  <a:pt x="356" y="314"/>
                  <a:pt x="356" y="314"/>
                </a:cubicBezTo>
                <a:close/>
                <a:moveTo>
                  <a:pt x="342" y="324"/>
                </a:moveTo>
                <a:cubicBezTo>
                  <a:pt x="343" y="324"/>
                  <a:pt x="343" y="324"/>
                  <a:pt x="343" y="324"/>
                </a:cubicBezTo>
                <a:cubicBezTo>
                  <a:pt x="343" y="323"/>
                  <a:pt x="343" y="323"/>
                  <a:pt x="343" y="323"/>
                </a:cubicBezTo>
                <a:cubicBezTo>
                  <a:pt x="343" y="323"/>
                  <a:pt x="343" y="323"/>
                  <a:pt x="343" y="323"/>
                </a:cubicBezTo>
                <a:cubicBezTo>
                  <a:pt x="344" y="322"/>
                  <a:pt x="344" y="322"/>
                  <a:pt x="344" y="322"/>
                </a:cubicBezTo>
                <a:cubicBezTo>
                  <a:pt x="344" y="322"/>
                  <a:pt x="344" y="322"/>
                  <a:pt x="344" y="322"/>
                </a:cubicBezTo>
                <a:cubicBezTo>
                  <a:pt x="344" y="321"/>
                  <a:pt x="344" y="321"/>
                  <a:pt x="344" y="321"/>
                </a:cubicBezTo>
                <a:cubicBezTo>
                  <a:pt x="344" y="321"/>
                  <a:pt x="344" y="321"/>
                  <a:pt x="344" y="321"/>
                </a:cubicBezTo>
                <a:cubicBezTo>
                  <a:pt x="345" y="320"/>
                  <a:pt x="345" y="320"/>
                  <a:pt x="345" y="320"/>
                </a:cubicBezTo>
                <a:cubicBezTo>
                  <a:pt x="346" y="319"/>
                  <a:pt x="346" y="319"/>
                  <a:pt x="346" y="319"/>
                </a:cubicBezTo>
                <a:cubicBezTo>
                  <a:pt x="346" y="319"/>
                  <a:pt x="346" y="319"/>
                  <a:pt x="346" y="319"/>
                </a:cubicBezTo>
                <a:cubicBezTo>
                  <a:pt x="346" y="318"/>
                  <a:pt x="346" y="318"/>
                  <a:pt x="346" y="318"/>
                </a:cubicBezTo>
                <a:cubicBezTo>
                  <a:pt x="346" y="318"/>
                  <a:pt x="346" y="318"/>
                  <a:pt x="346" y="318"/>
                </a:cubicBezTo>
                <a:cubicBezTo>
                  <a:pt x="346" y="317"/>
                  <a:pt x="346" y="317"/>
                  <a:pt x="346" y="317"/>
                </a:cubicBezTo>
                <a:cubicBezTo>
                  <a:pt x="347" y="317"/>
                  <a:pt x="347" y="317"/>
                  <a:pt x="347" y="317"/>
                </a:cubicBezTo>
                <a:cubicBezTo>
                  <a:pt x="347" y="316"/>
                  <a:pt x="347" y="316"/>
                  <a:pt x="347" y="316"/>
                </a:cubicBezTo>
                <a:cubicBezTo>
                  <a:pt x="347" y="315"/>
                  <a:pt x="347" y="315"/>
                  <a:pt x="347" y="315"/>
                </a:cubicBezTo>
                <a:cubicBezTo>
                  <a:pt x="347" y="314"/>
                  <a:pt x="347" y="314"/>
                  <a:pt x="347" y="314"/>
                </a:cubicBezTo>
                <a:cubicBezTo>
                  <a:pt x="347" y="314"/>
                  <a:pt x="347" y="314"/>
                  <a:pt x="347" y="314"/>
                </a:cubicBezTo>
                <a:cubicBezTo>
                  <a:pt x="346" y="314"/>
                  <a:pt x="346" y="314"/>
                  <a:pt x="346" y="314"/>
                </a:cubicBezTo>
                <a:cubicBezTo>
                  <a:pt x="346" y="314"/>
                  <a:pt x="346" y="314"/>
                  <a:pt x="346" y="314"/>
                </a:cubicBezTo>
                <a:cubicBezTo>
                  <a:pt x="345" y="314"/>
                  <a:pt x="345" y="314"/>
                  <a:pt x="345" y="314"/>
                </a:cubicBezTo>
                <a:cubicBezTo>
                  <a:pt x="345" y="313"/>
                  <a:pt x="345" y="313"/>
                  <a:pt x="345" y="313"/>
                </a:cubicBezTo>
                <a:cubicBezTo>
                  <a:pt x="344" y="314"/>
                  <a:pt x="344" y="314"/>
                  <a:pt x="344" y="314"/>
                </a:cubicBezTo>
                <a:cubicBezTo>
                  <a:pt x="343" y="315"/>
                  <a:pt x="343" y="315"/>
                  <a:pt x="343" y="315"/>
                </a:cubicBezTo>
                <a:cubicBezTo>
                  <a:pt x="342" y="315"/>
                  <a:pt x="342" y="315"/>
                  <a:pt x="342" y="315"/>
                </a:cubicBezTo>
                <a:cubicBezTo>
                  <a:pt x="342" y="316"/>
                  <a:pt x="342" y="316"/>
                  <a:pt x="342" y="316"/>
                </a:cubicBezTo>
                <a:cubicBezTo>
                  <a:pt x="341" y="317"/>
                  <a:pt x="341" y="317"/>
                  <a:pt x="341" y="317"/>
                </a:cubicBezTo>
                <a:cubicBezTo>
                  <a:pt x="342" y="318"/>
                  <a:pt x="342" y="318"/>
                  <a:pt x="342" y="318"/>
                </a:cubicBezTo>
                <a:cubicBezTo>
                  <a:pt x="341" y="318"/>
                  <a:pt x="341" y="318"/>
                  <a:pt x="341" y="318"/>
                </a:cubicBezTo>
                <a:cubicBezTo>
                  <a:pt x="341" y="319"/>
                  <a:pt x="341" y="319"/>
                  <a:pt x="341" y="319"/>
                </a:cubicBezTo>
                <a:cubicBezTo>
                  <a:pt x="341" y="320"/>
                  <a:pt x="341" y="320"/>
                  <a:pt x="341" y="320"/>
                </a:cubicBezTo>
                <a:cubicBezTo>
                  <a:pt x="340" y="321"/>
                  <a:pt x="340" y="321"/>
                  <a:pt x="340" y="321"/>
                </a:cubicBezTo>
                <a:cubicBezTo>
                  <a:pt x="341" y="321"/>
                  <a:pt x="341" y="321"/>
                  <a:pt x="341" y="321"/>
                </a:cubicBezTo>
                <a:cubicBezTo>
                  <a:pt x="341" y="322"/>
                  <a:pt x="341" y="322"/>
                  <a:pt x="341" y="322"/>
                </a:cubicBezTo>
                <a:cubicBezTo>
                  <a:pt x="342" y="322"/>
                  <a:pt x="342" y="322"/>
                  <a:pt x="342" y="322"/>
                </a:cubicBezTo>
                <a:cubicBezTo>
                  <a:pt x="342" y="323"/>
                  <a:pt x="342" y="323"/>
                  <a:pt x="342" y="323"/>
                </a:cubicBezTo>
                <a:cubicBezTo>
                  <a:pt x="342" y="324"/>
                  <a:pt x="342" y="324"/>
                  <a:pt x="342" y="324"/>
                </a:cubicBezTo>
                <a:close/>
                <a:moveTo>
                  <a:pt x="330" y="376"/>
                </a:moveTo>
                <a:cubicBezTo>
                  <a:pt x="330" y="377"/>
                  <a:pt x="330" y="377"/>
                  <a:pt x="330" y="377"/>
                </a:cubicBezTo>
                <a:cubicBezTo>
                  <a:pt x="330" y="376"/>
                  <a:pt x="330" y="376"/>
                  <a:pt x="330" y="376"/>
                </a:cubicBezTo>
                <a:cubicBezTo>
                  <a:pt x="330" y="376"/>
                  <a:pt x="330" y="376"/>
                  <a:pt x="330" y="376"/>
                </a:cubicBezTo>
                <a:cubicBezTo>
                  <a:pt x="330" y="376"/>
                  <a:pt x="330" y="376"/>
                  <a:pt x="330" y="376"/>
                </a:cubicBezTo>
                <a:close/>
                <a:moveTo>
                  <a:pt x="331" y="381"/>
                </a:moveTo>
                <a:cubicBezTo>
                  <a:pt x="331" y="380"/>
                  <a:pt x="331" y="380"/>
                  <a:pt x="331" y="380"/>
                </a:cubicBezTo>
                <a:cubicBezTo>
                  <a:pt x="332" y="379"/>
                  <a:pt x="332" y="379"/>
                  <a:pt x="332" y="379"/>
                </a:cubicBezTo>
                <a:cubicBezTo>
                  <a:pt x="332" y="379"/>
                  <a:pt x="332" y="379"/>
                  <a:pt x="332" y="379"/>
                </a:cubicBezTo>
                <a:cubicBezTo>
                  <a:pt x="332" y="381"/>
                  <a:pt x="332" y="381"/>
                  <a:pt x="332" y="381"/>
                </a:cubicBezTo>
                <a:cubicBezTo>
                  <a:pt x="331" y="382"/>
                  <a:pt x="331" y="382"/>
                  <a:pt x="331" y="382"/>
                </a:cubicBezTo>
                <a:cubicBezTo>
                  <a:pt x="331" y="382"/>
                  <a:pt x="331" y="382"/>
                  <a:pt x="331" y="381"/>
                </a:cubicBezTo>
                <a:close/>
                <a:moveTo>
                  <a:pt x="323" y="380"/>
                </a:moveTo>
                <a:cubicBezTo>
                  <a:pt x="324" y="379"/>
                  <a:pt x="324" y="379"/>
                  <a:pt x="324" y="379"/>
                </a:cubicBezTo>
                <a:cubicBezTo>
                  <a:pt x="325" y="379"/>
                  <a:pt x="325" y="379"/>
                  <a:pt x="325" y="379"/>
                </a:cubicBezTo>
                <a:cubicBezTo>
                  <a:pt x="325" y="378"/>
                  <a:pt x="325" y="378"/>
                  <a:pt x="325" y="378"/>
                </a:cubicBezTo>
                <a:cubicBezTo>
                  <a:pt x="325" y="378"/>
                  <a:pt x="325" y="378"/>
                  <a:pt x="325" y="378"/>
                </a:cubicBezTo>
                <a:cubicBezTo>
                  <a:pt x="326" y="378"/>
                  <a:pt x="326" y="378"/>
                  <a:pt x="326" y="378"/>
                </a:cubicBezTo>
                <a:cubicBezTo>
                  <a:pt x="327" y="377"/>
                  <a:pt x="327" y="377"/>
                  <a:pt x="327" y="377"/>
                </a:cubicBezTo>
                <a:cubicBezTo>
                  <a:pt x="326" y="379"/>
                  <a:pt x="326" y="379"/>
                  <a:pt x="326" y="379"/>
                </a:cubicBezTo>
                <a:cubicBezTo>
                  <a:pt x="325" y="380"/>
                  <a:pt x="325" y="380"/>
                  <a:pt x="325" y="380"/>
                </a:cubicBezTo>
                <a:cubicBezTo>
                  <a:pt x="324" y="380"/>
                  <a:pt x="324" y="380"/>
                  <a:pt x="324" y="380"/>
                </a:cubicBezTo>
                <a:cubicBezTo>
                  <a:pt x="323" y="380"/>
                  <a:pt x="323" y="380"/>
                  <a:pt x="323" y="380"/>
                </a:cubicBezTo>
                <a:close/>
                <a:moveTo>
                  <a:pt x="328" y="382"/>
                </a:moveTo>
                <a:cubicBezTo>
                  <a:pt x="330" y="380"/>
                  <a:pt x="330" y="380"/>
                  <a:pt x="330" y="380"/>
                </a:cubicBezTo>
                <a:cubicBezTo>
                  <a:pt x="330" y="379"/>
                  <a:pt x="330" y="379"/>
                  <a:pt x="330" y="379"/>
                </a:cubicBezTo>
                <a:cubicBezTo>
                  <a:pt x="330" y="379"/>
                  <a:pt x="330" y="379"/>
                  <a:pt x="330" y="379"/>
                </a:cubicBezTo>
                <a:cubicBezTo>
                  <a:pt x="330" y="380"/>
                  <a:pt x="330" y="380"/>
                  <a:pt x="330" y="380"/>
                </a:cubicBezTo>
                <a:cubicBezTo>
                  <a:pt x="329" y="382"/>
                  <a:pt x="329" y="382"/>
                  <a:pt x="329" y="382"/>
                </a:cubicBezTo>
                <a:cubicBezTo>
                  <a:pt x="328" y="383"/>
                  <a:pt x="328" y="383"/>
                  <a:pt x="328" y="383"/>
                </a:cubicBezTo>
                <a:cubicBezTo>
                  <a:pt x="329" y="382"/>
                  <a:pt x="329" y="382"/>
                  <a:pt x="329" y="382"/>
                </a:cubicBezTo>
                <a:cubicBezTo>
                  <a:pt x="331" y="381"/>
                  <a:pt x="331" y="381"/>
                  <a:pt x="331" y="381"/>
                </a:cubicBezTo>
                <a:cubicBezTo>
                  <a:pt x="331" y="380"/>
                  <a:pt x="331" y="380"/>
                  <a:pt x="331" y="380"/>
                </a:cubicBezTo>
                <a:cubicBezTo>
                  <a:pt x="331" y="379"/>
                  <a:pt x="331" y="379"/>
                  <a:pt x="331" y="379"/>
                </a:cubicBezTo>
                <a:cubicBezTo>
                  <a:pt x="331" y="378"/>
                  <a:pt x="331" y="378"/>
                  <a:pt x="331" y="378"/>
                </a:cubicBezTo>
                <a:cubicBezTo>
                  <a:pt x="330" y="378"/>
                  <a:pt x="330" y="378"/>
                  <a:pt x="330" y="378"/>
                </a:cubicBezTo>
                <a:cubicBezTo>
                  <a:pt x="330" y="377"/>
                  <a:pt x="330" y="377"/>
                  <a:pt x="330" y="377"/>
                </a:cubicBezTo>
                <a:cubicBezTo>
                  <a:pt x="329" y="377"/>
                  <a:pt x="329" y="377"/>
                  <a:pt x="329" y="377"/>
                </a:cubicBezTo>
                <a:cubicBezTo>
                  <a:pt x="329" y="377"/>
                  <a:pt x="329" y="377"/>
                  <a:pt x="329" y="377"/>
                </a:cubicBezTo>
                <a:cubicBezTo>
                  <a:pt x="329" y="379"/>
                  <a:pt x="329" y="379"/>
                  <a:pt x="329" y="379"/>
                </a:cubicBezTo>
                <a:cubicBezTo>
                  <a:pt x="328" y="380"/>
                  <a:pt x="328" y="380"/>
                  <a:pt x="328" y="380"/>
                </a:cubicBezTo>
                <a:cubicBezTo>
                  <a:pt x="327" y="381"/>
                  <a:pt x="327" y="381"/>
                  <a:pt x="327" y="381"/>
                </a:cubicBezTo>
                <a:cubicBezTo>
                  <a:pt x="327" y="380"/>
                  <a:pt x="327" y="380"/>
                  <a:pt x="327" y="380"/>
                </a:cubicBezTo>
                <a:cubicBezTo>
                  <a:pt x="328" y="379"/>
                  <a:pt x="328" y="379"/>
                  <a:pt x="328" y="379"/>
                </a:cubicBezTo>
                <a:cubicBezTo>
                  <a:pt x="328" y="378"/>
                  <a:pt x="328" y="378"/>
                  <a:pt x="328" y="378"/>
                </a:cubicBezTo>
                <a:cubicBezTo>
                  <a:pt x="328" y="378"/>
                  <a:pt x="328" y="378"/>
                  <a:pt x="328" y="378"/>
                </a:cubicBezTo>
                <a:cubicBezTo>
                  <a:pt x="327" y="378"/>
                  <a:pt x="327" y="378"/>
                  <a:pt x="327" y="378"/>
                </a:cubicBezTo>
                <a:cubicBezTo>
                  <a:pt x="326" y="380"/>
                  <a:pt x="326" y="380"/>
                  <a:pt x="326" y="380"/>
                </a:cubicBezTo>
                <a:cubicBezTo>
                  <a:pt x="325" y="381"/>
                  <a:pt x="325" y="381"/>
                  <a:pt x="325" y="381"/>
                </a:cubicBezTo>
                <a:cubicBezTo>
                  <a:pt x="325" y="382"/>
                  <a:pt x="325" y="382"/>
                  <a:pt x="325" y="382"/>
                </a:cubicBezTo>
                <a:cubicBezTo>
                  <a:pt x="324" y="383"/>
                  <a:pt x="324" y="383"/>
                  <a:pt x="324" y="383"/>
                </a:cubicBezTo>
                <a:cubicBezTo>
                  <a:pt x="324" y="384"/>
                  <a:pt x="324" y="384"/>
                  <a:pt x="324" y="384"/>
                </a:cubicBezTo>
                <a:cubicBezTo>
                  <a:pt x="325" y="383"/>
                  <a:pt x="325" y="383"/>
                  <a:pt x="325" y="383"/>
                </a:cubicBezTo>
                <a:cubicBezTo>
                  <a:pt x="326" y="382"/>
                  <a:pt x="326" y="382"/>
                  <a:pt x="326" y="382"/>
                </a:cubicBezTo>
                <a:cubicBezTo>
                  <a:pt x="327" y="382"/>
                  <a:pt x="327" y="382"/>
                  <a:pt x="327" y="382"/>
                </a:cubicBezTo>
                <a:cubicBezTo>
                  <a:pt x="326" y="382"/>
                  <a:pt x="326" y="382"/>
                  <a:pt x="326" y="382"/>
                </a:cubicBezTo>
                <a:cubicBezTo>
                  <a:pt x="325" y="384"/>
                  <a:pt x="325" y="384"/>
                  <a:pt x="325" y="384"/>
                </a:cubicBezTo>
                <a:cubicBezTo>
                  <a:pt x="326" y="384"/>
                  <a:pt x="326" y="384"/>
                  <a:pt x="326" y="384"/>
                </a:cubicBezTo>
                <a:cubicBezTo>
                  <a:pt x="327" y="383"/>
                  <a:pt x="327" y="383"/>
                  <a:pt x="327" y="383"/>
                </a:cubicBezTo>
                <a:cubicBezTo>
                  <a:pt x="327" y="383"/>
                  <a:pt x="327" y="383"/>
                  <a:pt x="327" y="383"/>
                </a:cubicBezTo>
                <a:cubicBezTo>
                  <a:pt x="327" y="383"/>
                  <a:pt x="328" y="382"/>
                  <a:pt x="328" y="382"/>
                </a:cubicBezTo>
                <a:close/>
                <a:moveTo>
                  <a:pt x="327" y="382"/>
                </a:moveTo>
                <a:cubicBezTo>
                  <a:pt x="327" y="381"/>
                  <a:pt x="327" y="381"/>
                  <a:pt x="327" y="381"/>
                </a:cubicBezTo>
                <a:cubicBezTo>
                  <a:pt x="329" y="380"/>
                  <a:pt x="329" y="380"/>
                  <a:pt x="329" y="380"/>
                </a:cubicBezTo>
                <a:cubicBezTo>
                  <a:pt x="328" y="381"/>
                  <a:pt x="328" y="381"/>
                  <a:pt x="328" y="381"/>
                </a:cubicBezTo>
                <a:cubicBezTo>
                  <a:pt x="328" y="382"/>
                  <a:pt x="328" y="382"/>
                  <a:pt x="328" y="382"/>
                </a:cubicBezTo>
                <a:cubicBezTo>
                  <a:pt x="327" y="382"/>
                  <a:pt x="327" y="382"/>
                  <a:pt x="327" y="382"/>
                </a:cubicBezTo>
                <a:close/>
                <a:moveTo>
                  <a:pt x="412" y="468"/>
                </a:moveTo>
                <a:cubicBezTo>
                  <a:pt x="411" y="468"/>
                  <a:pt x="411" y="468"/>
                  <a:pt x="411" y="468"/>
                </a:cubicBezTo>
                <a:cubicBezTo>
                  <a:pt x="411" y="468"/>
                  <a:pt x="411" y="468"/>
                  <a:pt x="411" y="468"/>
                </a:cubicBezTo>
                <a:cubicBezTo>
                  <a:pt x="411" y="467"/>
                  <a:pt x="411" y="467"/>
                  <a:pt x="411" y="467"/>
                </a:cubicBezTo>
                <a:cubicBezTo>
                  <a:pt x="412" y="467"/>
                  <a:pt x="412" y="467"/>
                  <a:pt x="412" y="467"/>
                </a:cubicBezTo>
                <a:cubicBezTo>
                  <a:pt x="413" y="466"/>
                  <a:pt x="413" y="466"/>
                  <a:pt x="413" y="466"/>
                </a:cubicBezTo>
                <a:cubicBezTo>
                  <a:pt x="413" y="466"/>
                  <a:pt x="413" y="466"/>
                  <a:pt x="413" y="466"/>
                </a:cubicBezTo>
                <a:cubicBezTo>
                  <a:pt x="413" y="466"/>
                  <a:pt x="413" y="466"/>
                  <a:pt x="413" y="466"/>
                </a:cubicBezTo>
                <a:cubicBezTo>
                  <a:pt x="413" y="466"/>
                  <a:pt x="413" y="466"/>
                  <a:pt x="413" y="466"/>
                </a:cubicBezTo>
                <a:cubicBezTo>
                  <a:pt x="411" y="467"/>
                  <a:pt x="411" y="467"/>
                  <a:pt x="411" y="467"/>
                </a:cubicBezTo>
                <a:cubicBezTo>
                  <a:pt x="411" y="468"/>
                  <a:pt x="411" y="468"/>
                  <a:pt x="411" y="468"/>
                </a:cubicBezTo>
                <a:cubicBezTo>
                  <a:pt x="411" y="468"/>
                  <a:pt x="411" y="468"/>
                  <a:pt x="411" y="468"/>
                </a:cubicBezTo>
                <a:cubicBezTo>
                  <a:pt x="412" y="468"/>
                  <a:pt x="412" y="468"/>
                  <a:pt x="412" y="468"/>
                </a:cubicBezTo>
                <a:cubicBezTo>
                  <a:pt x="412" y="468"/>
                  <a:pt x="412" y="468"/>
                  <a:pt x="412" y="468"/>
                </a:cubicBezTo>
                <a:close/>
                <a:moveTo>
                  <a:pt x="443" y="474"/>
                </a:moveTo>
                <a:cubicBezTo>
                  <a:pt x="442" y="473"/>
                  <a:pt x="442" y="473"/>
                  <a:pt x="442" y="473"/>
                </a:cubicBezTo>
                <a:cubicBezTo>
                  <a:pt x="443" y="472"/>
                  <a:pt x="443" y="472"/>
                  <a:pt x="443" y="472"/>
                </a:cubicBezTo>
                <a:cubicBezTo>
                  <a:pt x="443" y="471"/>
                  <a:pt x="443" y="471"/>
                  <a:pt x="443" y="471"/>
                </a:cubicBezTo>
                <a:cubicBezTo>
                  <a:pt x="442" y="470"/>
                  <a:pt x="442" y="470"/>
                  <a:pt x="442" y="470"/>
                </a:cubicBezTo>
                <a:cubicBezTo>
                  <a:pt x="443" y="470"/>
                  <a:pt x="443" y="470"/>
                  <a:pt x="443" y="470"/>
                </a:cubicBezTo>
                <a:cubicBezTo>
                  <a:pt x="443" y="469"/>
                  <a:pt x="443" y="469"/>
                  <a:pt x="443" y="469"/>
                </a:cubicBezTo>
                <a:cubicBezTo>
                  <a:pt x="443" y="470"/>
                  <a:pt x="443" y="470"/>
                  <a:pt x="443" y="470"/>
                </a:cubicBezTo>
                <a:cubicBezTo>
                  <a:pt x="443" y="470"/>
                  <a:pt x="443" y="470"/>
                  <a:pt x="443" y="470"/>
                </a:cubicBezTo>
                <a:cubicBezTo>
                  <a:pt x="443" y="471"/>
                  <a:pt x="443" y="471"/>
                  <a:pt x="443" y="471"/>
                </a:cubicBezTo>
                <a:cubicBezTo>
                  <a:pt x="443" y="472"/>
                  <a:pt x="443" y="472"/>
                  <a:pt x="443" y="472"/>
                </a:cubicBezTo>
                <a:cubicBezTo>
                  <a:pt x="443" y="472"/>
                  <a:pt x="443" y="472"/>
                  <a:pt x="443" y="472"/>
                </a:cubicBezTo>
                <a:cubicBezTo>
                  <a:pt x="443" y="472"/>
                  <a:pt x="443" y="472"/>
                  <a:pt x="443" y="472"/>
                </a:cubicBezTo>
                <a:cubicBezTo>
                  <a:pt x="443" y="473"/>
                  <a:pt x="443" y="473"/>
                  <a:pt x="443" y="473"/>
                </a:cubicBezTo>
                <a:cubicBezTo>
                  <a:pt x="443" y="474"/>
                  <a:pt x="443" y="474"/>
                  <a:pt x="443" y="474"/>
                </a:cubicBezTo>
                <a:cubicBezTo>
                  <a:pt x="443" y="474"/>
                  <a:pt x="443" y="474"/>
                  <a:pt x="443" y="474"/>
                </a:cubicBezTo>
                <a:close/>
                <a:moveTo>
                  <a:pt x="444" y="474"/>
                </a:moveTo>
                <a:cubicBezTo>
                  <a:pt x="444" y="474"/>
                  <a:pt x="444" y="474"/>
                  <a:pt x="444" y="474"/>
                </a:cubicBezTo>
                <a:cubicBezTo>
                  <a:pt x="444" y="474"/>
                  <a:pt x="444" y="474"/>
                  <a:pt x="444" y="474"/>
                </a:cubicBezTo>
                <a:cubicBezTo>
                  <a:pt x="445" y="474"/>
                  <a:pt x="445" y="474"/>
                  <a:pt x="445" y="474"/>
                </a:cubicBezTo>
                <a:cubicBezTo>
                  <a:pt x="444" y="475"/>
                  <a:pt x="444" y="475"/>
                  <a:pt x="444" y="475"/>
                </a:cubicBezTo>
                <a:cubicBezTo>
                  <a:pt x="444" y="474"/>
                  <a:pt x="444" y="474"/>
                  <a:pt x="444" y="474"/>
                </a:cubicBezTo>
                <a:close/>
                <a:moveTo>
                  <a:pt x="456" y="430"/>
                </a:moveTo>
                <a:cubicBezTo>
                  <a:pt x="457" y="429"/>
                  <a:pt x="457" y="429"/>
                  <a:pt x="457" y="429"/>
                </a:cubicBezTo>
                <a:cubicBezTo>
                  <a:pt x="457" y="429"/>
                  <a:pt x="457" y="429"/>
                  <a:pt x="457" y="429"/>
                </a:cubicBezTo>
                <a:cubicBezTo>
                  <a:pt x="457" y="429"/>
                  <a:pt x="457" y="429"/>
                  <a:pt x="457" y="429"/>
                </a:cubicBezTo>
                <a:cubicBezTo>
                  <a:pt x="457" y="430"/>
                  <a:pt x="457" y="430"/>
                  <a:pt x="457" y="430"/>
                </a:cubicBezTo>
                <a:cubicBezTo>
                  <a:pt x="456" y="431"/>
                  <a:pt x="456" y="431"/>
                  <a:pt x="456" y="431"/>
                </a:cubicBezTo>
                <a:cubicBezTo>
                  <a:pt x="456" y="431"/>
                  <a:pt x="456" y="430"/>
                  <a:pt x="456" y="430"/>
                </a:cubicBezTo>
                <a:close/>
                <a:moveTo>
                  <a:pt x="452" y="439"/>
                </a:moveTo>
                <a:cubicBezTo>
                  <a:pt x="452" y="440"/>
                  <a:pt x="452" y="440"/>
                  <a:pt x="452" y="440"/>
                </a:cubicBezTo>
                <a:cubicBezTo>
                  <a:pt x="453" y="440"/>
                  <a:pt x="453" y="440"/>
                  <a:pt x="453" y="440"/>
                </a:cubicBezTo>
                <a:cubicBezTo>
                  <a:pt x="453" y="440"/>
                  <a:pt x="453" y="440"/>
                  <a:pt x="453" y="440"/>
                </a:cubicBezTo>
                <a:cubicBezTo>
                  <a:pt x="453" y="440"/>
                  <a:pt x="453" y="440"/>
                  <a:pt x="453" y="440"/>
                </a:cubicBezTo>
                <a:cubicBezTo>
                  <a:pt x="453" y="439"/>
                  <a:pt x="453" y="439"/>
                  <a:pt x="453" y="439"/>
                </a:cubicBezTo>
                <a:cubicBezTo>
                  <a:pt x="453" y="439"/>
                  <a:pt x="453" y="439"/>
                  <a:pt x="453" y="439"/>
                </a:cubicBezTo>
                <a:cubicBezTo>
                  <a:pt x="452" y="439"/>
                  <a:pt x="452" y="439"/>
                  <a:pt x="452" y="439"/>
                </a:cubicBezTo>
                <a:close/>
                <a:moveTo>
                  <a:pt x="459" y="450"/>
                </a:moveTo>
                <a:cubicBezTo>
                  <a:pt x="459" y="449"/>
                  <a:pt x="459" y="449"/>
                  <a:pt x="459" y="449"/>
                </a:cubicBezTo>
                <a:cubicBezTo>
                  <a:pt x="459" y="448"/>
                  <a:pt x="459" y="448"/>
                  <a:pt x="459" y="448"/>
                </a:cubicBezTo>
                <a:cubicBezTo>
                  <a:pt x="459" y="448"/>
                  <a:pt x="459" y="448"/>
                  <a:pt x="459" y="448"/>
                </a:cubicBezTo>
                <a:cubicBezTo>
                  <a:pt x="459" y="449"/>
                  <a:pt x="459" y="449"/>
                  <a:pt x="459" y="449"/>
                </a:cubicBezTo>
                <a:cubicBezTo>
                  <a:pt x="460" y="449"/>
                  <a:pt x="460" y="449"/>
                  <a:pt x="460" y="449"/>
                </a:cubicBezTo>
                <a:cubicBezTo>
                  <a:pt x="460" y="449"/>
                  <a:pt x="460" y="449"/>
                  <a:pt x="460" y="449"/>
                </a:cubicBezTo>
                <a:cubicBezTo>
                  <a:pt x="460" y="450"/>
                  <a:pt x="460" y="450"/>
                  <a:pt x="460" y="450"/>
                </a:cubicBezTo>
                <a:cubicBezTo>
                  <a:pt x="459" y="450"/>
                  <a:pt x="459" y="450"/>
                  <a:pt x="459" y="450"/>
                </a:cubicBezTo>
                <a:cubicBezTo>
                  <a:pt x="459" y="450"/>
                  <a:pt x="459" y="450"/>
                  <a:pt x="459" y="450"/>
                </a:cubicBezTo>
                <a:close/>
                <a:moveTo>
                  <a:pt x="456" y="450"/>
                </a:moveTo>
                <a:cubicBezTo>
                  <a:pt x="456" y="450"/>
                  <a:pt x="456" y="450"/>
                  <a:pt x="456" y="450"/>
                </a:cubicBezTo>
                <a:cubicBezTo>
                  <a:pt x="457" y="450"/>
                  <a:pt x="457" y="450"/>
                  <a:pt x="457" y="450"/>
                </a:cubicBezTo>
                <a:cubicBezTo>
                  <a:pt x="457" y="449"/>
                  <a:pt x="457" y="449"/>
                  <a:pt x="457" y="449"/>
                </a:cubicBezTo>
                <a:cubicBezTo>
                  <a:pt x="457" y="449"/>
                  <a:pt x="457" y="449"/>
                  <a:pt x="457" y="449"/>
                </a:cubicBezTo>
                <a:cubicBezTo>
                  <a:pt x="457" y="449"/>
                  <a:pt x="457" y="449"/>
                  <a:pt x="457" y="449"/>
                </a:cubicBezTo>
                <a:cubicBezTo>
                  <a:pt x="457" y="450"/>
                  <a:pt x="457" y="450"/>
                  <a:pt x="457" y="450"/>
                </a:cubicBezTo>
                <a:cubicBezTo>
                  <a:pt x="457" y="450"/>
                  <a:pt x="457" y="450"/>
                  <a:pt x="457" y="450"/>
                </a:cubicBezTo>
                <a:cubicBezTo>
                  <a:pt x="456" y="451"/>
                  <a:pt x="456" y="451"/>
                  <a:pt x="456" y="451"/>
                </a:cubicBezTo>
                <a:cubicBezTo>
                  <a:pt x="455" y="451"/>
                  <a:pt x="455" y="451"/>
                  <a:pt x="455" y="451"/>
                </a:cubicBezTo>
                <a:cubicBezTo>
                  <a:pt x="456" y="450"/>
                  <a:pt x="456" y="450"/>
                  <a:pt x="456" y="450"/>
                </a:cubicBezTo>
                <a:cubicBezTo>
                  <a:pt x="456" y="450"/>
                  <a:pt x="456" y="450"/>
                  <a:pt x="456" y="450"/>
                </a:cubicBezTo>
                <a:close/>
                <a:moveTo>
                  <a:pt x="446" y="466"/>
                </a:moveTo>
                <a:cubicBezTo>
                  <a:pt x="446" y="465"/>
                  <a:pt x="446" y="465"/>
                  <a:pt x="446" y="465"/>
                </a:cubicBezTo>
                <a:cubicBezTo>
                  <a:pt x="446" y="466"/>
                  <a:pt x="446" y="466"/>
                  <a:pt x="446" y="466"/>
                </a:cubicBezTo>
                <a:cubicBezTo>
                  <a:pt x="446" y="466"/>
                  <a:pt x="446" y="466"/>
                  <a:pt x="446" y="466"/>
                </a:cubicBezTo>
                <a:cubicBezTo>
                  <a:pt x="446" y="466"/>
                  <a:pt x="446" y="466"/>
                  <a:pt x="446" y="466"/>
                </a:cubicBezTo>
                <a:close/>
                <a:moveTo>
                  <a:pt x="459" y="462"/>
                </a:moveTo>
                <a:cubicBezTo>
                  <a:pt x="459" y="463"/>
                  <a:pt x="459" y="463"/>
                  <a:pt x="459" y="463"/>
                </a:cubicBezTo>
                <a:cubicBezTo>
                  <a:pt x="460" y="463"/>
                  <a:pt x="460" y="463"/>
                  <a:pt x="460" y="463"/>
                </a:cubicBezTo>
                <a:cubicBezTo>
                  <a:pt x="460" y="463"/>
                  <a:pt x="460" y="463"/>
                  <a:pt x="460" y="463"/>
                </a:cubicBezTo>
                <a:cubicBezTo>
                  <a:pt x="461" y="463"/>
                  <a:pt x="461" y="463"/>
                  <a:pt x="461" y="463"/>
                </a:cubicBezTo>
                <a:cubicBezTo>
                  <a:pt x="459" y="462"/>
                  <a:pt x="459" y="462"/>
                  <a:pt x="459" y="462"/>
                </a:cubicBezTo>
                <a:cubicBezTo>
                  <a:pt x="459" y="462"/>
                  <a:pt x="459" y="462"/>
                  <a:pt x="459" y="462"/>
                </a:cubicBezTo>
                <a:close/>
                <a:moveTo>
                  <a:pt x="445" y="438"/>
                </a:moveTo>
                <a:cubicBezTo>
                  <a:pt x="444" y="439"/>
                  <a:pt x="444" y="439"/>
                  <a:pt x="444" y="439"/>
                </a:cubicBezTo>
                <a:cubicBezTo>
                  <a:pt x="443" y="440"/>
                  <a:pt x="443" y="440"/>
                  <a:pt x="443" y="440"/>
                </a:cubicBezTo>
                <a:cubicBezTo>
                  <a:pt x="443" y="440"/>
                  <a:pt x="443" y="440"/>
                  <a:pt x="443" y="440"/>
                </a:cubicBezTo>
                <a:cubicBezTo>
                  <a:pt x="443" y="440"/>
                  <a:pt x="443" y="440"/>
                  <a:pt x="443" y="440"/>
                </a:cubicBezTo>
                <a:cubicBezTo>
                  <a:pt x="442" y="441"/>
                  <a:pt x="442" y="441"/>
                  <a:pt x="442" y="441"/>
                </a:cubicBezTo>
                <a:cubicBezTo>
                  <a:pt x="442" y="441"/>
                  <a:pt x="442" y="441"/>
                  <a:pt x="442" y="441"/>
                </a:cubicBezTo>
                <a:cubicBezTo>
                  <a:pt x="442" y="442"/>
                  <a:pt x="442" y="442"/>
                  <a:pt x="442" y="442"/>
                </a:cubicBezTo>
                <a:cubicBezTo>
                  <a:pt x="442" y="442"/>
                  <a:pt x="442" y="442"/>
                  <a:pt x="442" y="442"/>
                </a:cubicBezTo>
                <a:cubicBezTo>
                  <a:pt x="442" y="442"/>
                  <a:pt x="442" y="442"/>
                  <a:pt x="442" y="442"/>
                </a:cubicBezTo>
                <a:cubicBezTo>
                  <a:pt x="441" y="442"/>
                  <a:pt x="441" y="442"/>
                  <a:pt x="441" y="442"/>
                </a:cubicBezTo>
                <a:cubicBezTo>
                  <a:pt x="441" y="443"/>
                  <a:pt x="441" y="443"/>
                  <a:pt x="441" y="443"/>
                </a:cubicBezTo>
                <a:cubicBezTo>
                  <a:pt x="440" y="444"/>
                  <a:pt x="440" y="444"/>
                  <a:pt x="440" y="444"/>
                </a:cubicBezTo>
                <a:cubicBezTo>
                  <a:pt x="441" y="444"/>
                  <a:pt x="441" y="444"/>
                  <a:pt x="441" y="444"/>
                </a:cubicBezTo>
                <a:cubicBezTo>
                  <a:pt x="441" y="444"/>
                  <a:pt x="441" y="444"/>
                  <a:pt x="441" y="444"/>
                </a:cubicBezTo>
                <a:cubicBezTo>
                  <a:pt x="441" y="444"/>
                  <a:pt x="441" y="444"/>
                  <a:pt x="441" y="444"/>
                </a:cubicBezTo>
                <a:cubicBezTo>
                  <a:pt x="440" y="444"/>
                  <a:pt x="440" y="444"/>
                  <a:pt x="440" y="444"/>
                </a:cubicBezTo>
                <a:cubicBezTo>
                  <a:pt x="439" y="446"/>
                  <a:pt x="439" y="446"/>
                  <a:pt x="439" y="446"/>
                </a:cubicBezTo>
                <a:cubicBezTo>
                  <a:pt x="439" y="446"/>
                  <a:pt x="439" y="446"/>
                  <a:pt x="439" y="446"/>
                </a:cubicBezTo>
                <a:cubicBezTo>
                  <a:pt x="438" y="448"/>
                  <a:pt x="438" y="448"/>
                  <a:pt x="438" y="448"/>
                </a:cubicBezTo>
                <a:cubicBezTo>
                  <a:pt x="438" y="449"/>
                  <a:pt x="438" y="449"/>
                  <a:pt x="438" y="449"/>
                </a:cubicBezTo>
                <a:cubicBezTo>
                  <a:pt x="438" y="449"/>
                  <a:pt x="438" y="449"/>
                  <a:pt x="438" y="449"/>
                </a:cubicBezTo>
                <a:cubicBezTo>
                  <a:pt x="438" y="450"/>
                  <a:pt x="438" y="450"/>
                  <a:pt x="438" y="450"/>
                </a:cubicBezTo>
                <a:cubicBezTo>
                  <a:pt x="438" y="450"/>
                  <a:pt x="438" y="450"/>
                  <a:pt x="438" y="450"/>
                </a:cubicBezTo>
                <a:cubicBezTo>
                  <a:pt x="437" y="450"/>
                  <a:pt x="437" y="450"/>
                  <a:pt x="437" y="450"/>
                </a:cubicBezTo>
                <a:cubicBezTo>
                  <a:pt x="437" y="450"/>
                  <a:pt x="437" y="450"/>
                  <a:pt x="437" y="450"/>
                </a:cubicBezTo>
                <a:cubicBezTo>
                  <a:pt x="436" y="450"/>
                  <a:pt x="436" y="450"/>
                  <a:pt x="436" y="450"/>
                </a:cubicBezTo>
                <a:cubicBezTo>
                  <a:pt x="436" y="451"/>
                  <a:pt x="436" y="451"/>
                  <a:pt x="436" y="451"/>
                </a:cubicBezTo>
                <a:cubicBezTo>
                  <a:pt x="436" y="452"/>
                  <a:pt x="436" y="452"/>
                  <a:pt x="436" y="452"/>
                </a:cubicBezTo>
                <a:cubicBezTo>
                  <a:pt x="436" y="452"/>
                  <a:pt x="436" y="452"/>
                  <a:pt x="436" y="452"/>
                </a:cubicBezTo>
                <a:cubicBezTo>
                  <a:pt x="437" y="452"/>
                  <a:pt x="437" y="452"/>
                  <a:pt x="437" y="452"/>
                </a:cubicBezTo>
                <a:cubicBezTo>
                  <a:pt x="436" y="452"/>
                  <a:pt x="436" y="452"/>
                  <a:pt x="436" y="452"/>
                </a:cubicBezTo>
                <a:cubicBezTo>
                  <a:pt x="436" y="453"/>
                  <a:pt x="436" y="453"/>
                  <a:pt x="436" y="453"/>
                </a:cubicBezTo>
                <a:cubicBezTo>
                  <a:pt x="435" y="454"/>
                  <a:pt x="435" y="454"/>
                  <a:pt x="435" y="454"/>
                </a:cubicBezTo>
                <a:cubicBezTo>
                  <a:pt x="434" y="453"/>
                  <a:pt x="434" y="453"/>
                  <a:pt x="434" y="453"/>
                </a:cubicBezTo>
                <a:cubicBezTo>
                  <a:pt x="434" y="454"/>
                  <a:pt x="434" y="454"/>
                  <a:pt x="434" y="454"/>
                </a:cubicBezTo>
                <a:cubicBezTo>
                  <a:pt x="434" y="454"/>
                  <a:pt x="434" y="454"/>
                  <a:pt x="434" y="454"/>
                </a:cubicBezTo>
                <a:cubicBezTo>
                  <a:pt x="433" y="455"/>
                  <a:pt x="433" y="455"/>
                  <a:pt x="433" y="455"/>
                </a:cubicBezTo>
                <a:cubicBezTo>
                  <a:pt x="432" y="456"/>
                  <a:pt x="432" y="456"/>
                  <a:pt x="432" y="456"/>
                </a:cubicBezTo>
                <a:cubicBezTo>
                  <a:pt x="432" y="457"/>
                  <a:pt x="432" y="457"/>
                  <a:pt x="432" y="457"/>
                </a:cubicBezTo>
                <a:cubicBezTo>
                  <a:pt x="431" y="457"/>
                  <a:pt x="431" y="457"/>
                  <a:pt x="431" y="457"/>
                </a:cubicBezTo>
                <a:cubicBezTo>
                  <a:pt x="431" y="456"/>
                  <a:pt x="431" y="456"/>
                  <a:pt x="431" y="456"/>
                </a:cubicBezTo>
                <a:cubicBezTo>
                  <a:pt x="431" y="457"/>
                  <a:pt x="431" y="457"/>
                  <a:pt x="431" y="457"/>
                </a:cubicBezTo>
                <a:cubicBezTo>
                  <a:pt x="430" y="456"/>
                  <a:pt x="430" y="456"/>
                  <a:pt x="430" y="456"/>
                </a:cubicBezTo>
                <a:cubicBezTo>
                  <a:pt x="431" y="456"/>
                  <a:pt x="431" y="456"/>
                  <a:pt x="431" y="456"/>
                </a:cubicBezTo>
                <a:cubicBezTo>
                  <a:pt x="431" y="455"/>
                  <a:pt x="431" y="455"/>
                  <a:pt x="431" y="455"/>
                </a:cubicBezTo>
                <a:cubicBezTo>
                  <a:pt x="432" y="455"/>
                  <a:pt x="432" y="455"/>
                  <a:pt x="432" y="455"/>
                </a:cubicBezTo>
                <a:cubicBezTo>
                  <a:pt x="431" y="455"/>
                  <a:pt x="431" y="455"/>
                  <a:pt x="431" y="455"/>
                </a:cubicBezTo>
                <a:cubicBezTo>
                  <a:pt x="430" y="456"/>
                  <a:pt x="430" y="456"/>
                  <a:pt x="430" y="456"/>
                </a:cubicBezTo>
                <a:cubicBezTo>
                  <a:pt x="429" y="456"/>
                  <a:pt x="429" y="456"/>
                  <a:pt x="429" y="456"/>
                </a:cubicBezTo>
                <a:cubicBezTo>
                  <a:pt x="428" y="458"/>
                  <a:pt x="428" y="458"/>
                  <a:pt x="428" y="458"/>
                </a:cubicBezTo>
                <a:cubicBezTo>
                  <a:pt x="429" y="458"/>
                  <a:pt x="429" y="458"/>
                  <a:pt x="429" y="458"/>
                </a:cubicBezTo>
                <a:cubicBezTo>
                  <a:pt x="430" y="458"/>
                  <a:pt x="430" y="458"/>
                  <a:pt x="430" y="458"/>
                </a:cubicBezTo>
                <a:cubicBezTo>
                  <a:pt x="431" y="457"/>
                  <a:pt x="431" y="457"/>
                  <a:pt x="431" y="457"/>
                </a:cubicBezTo>
                <a:cubicBezTo>
                  <a:pt x="433" y="457"/>
                  <a:pt x="433" y="457"/>
                  <a:pt x="433" y="457"/>
                </a:cubicBezTo>
                <a:cubicBezTo>
                  <a:pt x="432" y="458"/>
                  <a:pt x="432" y="458"/>
                  <a:pt x="432" y="458"/>
                </a:cubicBezTo>
                <a:cubicBezTo>
                  <a:pt x="431" y="460"/>
                  <a:pt x="431" y="460"/>
                  <a:pt x="431" y="460"/>
                </a:cubicBezTo>
                <a:cubicBezTo>
                  <a:pt x="430" y="461"/>
                  <a:pt x="430" y="461"/>
                  <a:pt x="430" y="461"/>
                </a:cubicBezTo>
                <a:cubicBezTo>
                  <a:pt x="429" y="462"/>
                  <a:pt x="429" y="462"/>
                  <a:pt x="429" y="462"/>
                </a:cubicBezTo>
                <a:cubicBezTo>
                  <a:pt x="427" y="463"/>
                  <a:pt x="427" y="463"/>
                  <a:pt x="427" y="463"/>
                </a:cubicBezTo>
                <a:cubicBezTo>
                  <a:pt x="427" y="463"/>
                  <a:pt x="427" y="463"/>
                  <a:pt x="427" y="463"/>
                </a:cubicBezTo>
                <a:cubicBezTo>
                  <a:pt x="427" y="463"/>
                  <a:pt x="427" y="463"/>
                  <a:pt x="427" y="463"/>
                </a:cubicBezTo>
                <a:cubicBezTo>
                  <a:pt x="427" y="464"/>
                  <a:pt x="427" y="464"/>
                  <a:pt x="427" y="464"/>
                </a:cubicBezTo>
                <a:cubicBezTo>
                  <a:pt x="427" y="465"/>
                  <a:pt x="427" y="465"/>
                  <a:pt x="427" y="465"/>
                </a:cubicBezTo>
                <a:cubicBezTo>
                  <a:pt x="427" y="465"/>
                  <a:pt x="427" y="465"/>
                  <a:pt x="427" y="465"/>
                </a:cubicBezTo>
                <a:cubicBezTo>
                  <a:pt x="427" y="465"/>
                  <a:pt x="427" y="465"/>
                  <a:pt x="427" y="465"/>
                </a:cubicBezTo>
                <a:cubicBezTo>
                  <a:pt x="429" y="466"/>
                  <a:pt x="429" y="466"/>
                  <a:pt x="429" y="466"/>
                </a:cubicBezTo>
                <a:cubicBezTo>
                  <a:pt x="430" y="466"/>
                  <a:pt x="430" y="466"/>
                  <a:pt x="430" y="466"/>
                </a:cubicBezTo>
                <a:cubicBezTo>
                  <a:pt x="431" y="465"/>
                  <a:pt x="431" y="465"/>
                  <a:pt x="431" y="465"/>
                </a:cubicBezTo>
                <a:cubicBezTo>
                  <a:pt x="432" y="465"/>
                  <a:pt x="432" y="465"/>
                  <a:pt x="432" y="465"/>
                </a:cubicBezTo>
                <a:cubicBezTo>
                  <a:pt x="433" y="464"/>
                  <a:pt x="433" y="464"/>
                  <a:pt x="433" y="464"/>
                </a:cubicBezTo>
                <a:cubicBezTo>
                  <a:pt x="433" y="464"/>
                  <a:pt x="433" y="464"/>
                  <a:pt x="433" y="464"/>
                </a:cubicBezTo>
                <a:cubicBezTo>
                  <a:pt x="433" y="464"/>
                  <a:pt x="433" y="464"/>
                  <a:pt x="433" y="464"/>
                </a:cubicBezTo>
                <a:cubicBezTo>
                  <a:pt x="432" y="465"/>
                  <a:pt x="432" y="465"/>
                  <a:pt x="432" y="465"/>
                </a:cubicBezTo>
                <a:cubicBezTo>
                  <a:pt x="434" y="465"/>
                  <a:pt x="434" y="465"/>
                  <a:pt x="434" y="465"/>
                </a:cubicBezTo>
                <a:cubicBezTo>
                  <a:pt x="435" y="465"/>
                  <a:pt x="435" y="465"/>
                  <a:pt x="435" y="465"/>
                </a:cubicBezTo>
                <a:cubicBezTo>
                  <a:pt x="435" y="465"/>
                  <a:pt x="435" y="465"/>
                  <a:pt x="435" y="465"/>
                </a:cubicBezTo>
                <a:cubicBezTo>
                  <a:pt x="437" y="465"/>
                  <a:pt x="437" y="465"/>
                  <a:pt x="437" y="465"/>
                </a:cubicBezTo>
                <a:cubicBezTo>
                  <a:pt x="438" y="465"/>
                  <a:pt x="438" y="465"/>
                  <a:pt x="438" y="465"/>
                </a:cubicBezTo>
                <a:cubicBezTo>
                  <a:pt x="438" y="466"/>
                  <a:pt x="438" y="466"/>
                  <a:pt x="438" y="466"/>
                </a:cubicBezTo>
                <a:cubicBezTo>
                  <a:pt x="438" y="466"/>
                  <a:pt x="438" y="466"/>
                  <a:pt x="438" y="466"/>
                </a:cubicBezTo>
                <a:cubicBezTo>
                  <a:pt x="440" y="466"/>
                  <a:pt x="440" y="466"/>
                  <a:pt x="440" y="466"/>
                </a:cubicBezTo>
                <a:cubicBezTo>
                  <a:pt x="440" y="466"/>
                  <a:pt x="440" y="466"/>
                  <a:pt x="440" y="466"/>
                </a:cubicBezTo>
                <a:cubicBezTo>
                  <a:pt x="440" y="466"/>
                  <a:pt x="440" y="466"/>
                  <a:pt x="440" y="466"/>
                </a:cubicBezTo>
                <a:cubicBezTo>
                  <a:pt x="441" y="466"/>
                  <a:pt x="441" y="466"/>
                  <a:pt x="441" y="466"/>
                </a:cubicBezTo>
                <a:cubicBezTo>
                  <a:pt x="441" y="466"/>
                  <a:pt x="441" y="466"/>
                  <a:pt x="441" y="466"/>
                </a:cubicBezTo>
                <a:cubicBezTo>
                  <a:pt x="441" y="466"/>
                  <a:pt x="441" y="466"/>
                  <a:pt x="441" y="466"/>
                </a:cubicBezTo>
                <a:cubicBezTo>
                  <a:pt x="442" y="466"/>
                  <a:pt x="442" y="466"/>
                  <a:pt x="442" y="466"/>
                </a:cubicBezTo>
                <a:cubicBezTo>
                  <a:pt x="443" y="466"/>
                  <a:pt x="443" y="466"/>
                  <a:pt x="443" y="466"/>
                </a:cubicBezTo>
                <a:cubicBezTo>
                  <a:pt x="443" y="466"/>
                  <a:pt x="443" y="466"/>
                  <a:pt x="443" y="466"/>
                </a:cubicBezTo>
                <a:cubicBezTo>
                  <a:pt x="444" y="466"/>
                  <a:pt x="444" y="466"/>
                  <a:pt x="444" y="466"/>
                </a:cubicBezTo>
                <a:cubicBezTo>
                  <a:pt x="444" y="466"/>
                  <a:pt x="444" y="466"/>
                  <a:pt x="444" y="466"/>
                </a:cubicBezTo>
                <a:cubicBezTo>
                  <a:pt x="445" y="466"/>
                  <a:pt x="445" y="466"/>
                  <a:pt x="445" y="466"/>
                </a:cubicBezTo>
                <a:cubicBezTo>
                  <a:pt x="445" y="465"/>
                  <a:pt x="445" y="465"/>
                  <a:pt x="445" y="465"/>
                </a:cubicBezTo>
                <a:cubicBezTo>
                  <a:pt x="445" y="465"/>
                  <a:pt x="445" y="465"/>
                  <a:pt x="445" y="465"/>
                </a:cubicBezTo>
                <a:cubicBezTo>
                  <a:pt x="445" y="464"/>
                  <a:pt x="445" y="464"/>
                  <a:pt x="445" y="464"/>
                </a:cubicBezTo>
                <a:cubicBezTo>
                  <a:pt x="445" y="464"/>
                  <a:pt x="445" y="464"/>
                  <a:pt x="445" y="464"/>
                </a:cubicBezTo>
                <a:cubicBezTo>
                  <a:pt x="446" y="463"/>
                  <a:pt x="446" y="463"/>
                  <a:pt x="446" y="463"/>
                </a:cubicBezTo>
                <a:cubicBezTo>
                  <a:pt x="446" y="463"/>
                  <a:pt x="446" y="463"/>
                  <a:pt x="446" y="463"/>
                </a:cubicBezTo>
                <a:cubicBezTo>
                  <a:pt x="446" y="464"/>
                  <a:pt x="446" y="464"/>
                  <a:pt x="446" y="464"/>
                </a:cubicBezTo>
                <a:cubicBezTo>
                  <a:pt x="446" y="465"/>
                  <a:pt x="446" y="465"/>
                  <a:pt x="446" y="465"/>
                </a:cubicBezTo>
                <a:cubicBezTo>
                  <a:pt x="446" y="465"/>
                  <a:pt x="446" y="465"/>
                  <a:pt x="446" y="465"/>
                </a:cubicBezTo>
                <a:cubicBezTo>
                  <a:pt x="446" y="464"/>
                  <a:pt x="446" y="464"/>
                  <a:pt x="446" y="464"/>
                </a:cubicBezTo>
                <a:cubicBezTo>
                  <a:pt x="447" y="464"/>
                  <a:pt x="447" y="464"/>
                  <a:pt x="447" y="464"/>
                </a:cubicBezTo>
                <a:cubicBezTo>
                  <a:pt x="447" y="464"/>
                  <a:pt x="447" y="464"/>
                  <a:pt x="447" y="464"/>
                </a:cubicBezTo>
                <a:cubicBezTo>
                  <a:pt x="447" y="464"/>
                  <a:pt x="447" y="464"/>
                  <a:pt x="447" y="464"/>
                </a:cubicBezTo>
                <a:cubicBezTo>
                  <a:pt x="447" y="465"/>
                  <a:pt x="447" y="465"/>
                  <a:pt x="447" y="465"/>
                </a:cubicBezTo>
                <a:cubicBezTo>
                  <a:pt x="447" y="466"/>
                  <a:pt x="447" y="466"/>
                  <a:pt x="447" y="466"/>
                </a:cubicBezTo>
                <a:cubicBezTo>
                  <a:pt x="447" y="465"/>
                  <a:pt x="447" y="465"/>
                  <a:pt x="447" y="465"/>
                </a:cubicBezTo>
                <a:cubicBezTo>
                  <a:pt x="448" y="465"/>
                  <a:pt x="448" y="465"/>
                  <a:pt x="448" y="465"/>
                </a:cubicBezTo>
                <a:cubicBezTo>
                  <a:pt x="448" y="466"/>
                  <a:pt x="448" y="466"/>
                  <a:pt x="448" y="466"/>
                </a:cubicBezTo>
                <a:cubicBezTo>
                  <a:pt x="446" y="466"/>
                  <a:pt x="446" y="466"/>
                  <a:pt x="446" y="466"/>
                </a:cubicBezTo>
                <a:cubicBezTo>
                  <a:pt x="445" y="467"/>
                  <a:pt x="445" y="467"/>
                  <a:pt x="445" y="467"/>
                </a:cubicBezTo>
                <a:cubicBezTo>
                  <a:pt x="446" y="467"/>
                  <a:pt x="446" y="467"/>
                  <a:pt x="446" y="467"/>
                </a:cubicBezTo>
                <a:cubicBezTo>
                  <a:pt x="446" y="467"/>
                  <a:pt x="446" y="467"/>
                  <a:pt x="446" y="467"/>
                </a:cubicBezTo>
                <a:cubicBezTo>
                  <a:pt x="447" y="467"/>
                  <a:pt x="447" y="467"/>
                  <a:pt x="447" y="467"/>
                </a:cubicBezTo>
                <a:cubicBezTo>
                  <a:pt x="447" y="467"/>
                  <a:pt x="447" y="467"/>
                  <a:pt x="447" y="467"/>
                </a:cubicBezTo>
                <a:cubicBezTo>
                  <a:pt x="448" y="467"/>
                  <a:pt x="448" y="467"/>
                  <a:pt x="448" y="467"/>
                </a:cubicBezTo>
                <a:cubicBezTo>
                  <a:pt x="448" y="468"/>
                  <a:pt x="448" y="468"/>
                  <a:pt x="448" y="468"/>
                </a:cubicBezTo>
                <a:cubicBezTo>
                  <a:pt x="448" y="467"/>
                  <a:pt x="448" y="467"/>
                  <a:pt x="448" y="467"/>
                </a:cubicBezTo>
                <a:cubicBezTo>
                  <a:pt x="449" y="467"/>
                  <a:pt x="449" y="467"/>
                  <a:pt x="449" y="467"/>
                </a:cubicBezTo>
                <a:cubicBezTo>
                  <a:pt x="449" y="466"/>
                  <a:pt x="449" y="466"/>
                  <a:pt x="449" y="466"/>
                </a:cubicBezTo>
                <a:cubicBezTo>
                  <a:pt x="449" y="466"/>
                  <a:pt x="449" y="466"/>
                  <a:pt x="449" y="466"/>
                </a:cubicBezTo>
                <a:cubicBezTo>
                  <a:pt x="450" y="466"/>
                  <a:pt x="450" y="466"/>
                  <a:pt x="450" y="466"/>
                </a:cubicBezTo>
                <a:cubicBezTo>
                  <a:pt x="451" y="466"/>
                  <a:pt x="451" y="466"/>
                  <a:pt x="451" y="466"/>
                </a:cubicBezTo>
                <a:cubicBezTo>
                  <a:pt x="451" y="467"/>
                  <a:pt x="451" y="467"/>
                  <a:pt x="451" y="467"/>
                </a:cubicBezTo>
                <a:cubicBezTo>
                  <a:pt x="452" y="466"/>
                  <a:pt x="452" y="466"/>
                  <a:pt x="452" y="466"/>
                </a:cubicBezTo>
                <a:cubicBezTo>
                  <a:pt x="453" y="466"/>
                  <a:pt x="453" y="466"/>
                  <a:pt x="453" y="466"/>
                </a:cubicBezTo>
                <a:cubicBezTo>
                  <a:pt x="453" y="466"/>
                  <a:pt x="453" y="466"/>
                  <a:pt x="453" y="466"/>
                </a:cubicBezTo>
                <a:cubicBezTo>
                  <a:pt x="453" y="467"/>
                  <a:pt x="453" y="467"/>
                  <a:pt x="453" y="467"/>
                </a:cubicBezTo>
                <a:cubicBezTo>
                  <a:pt x="453" y="467"/>
                  <a:pt x="453" y="467"/>
                  <a:pt x="453" y="467"/>
                </a:cubicBezTo>
                <a:cubicBezTo>
                  <a:pt x="452" y="467"/>
                  <a:pt x="452" y="467"/>
                  <a:pt x="452" y="467"/>
                </a:cubicBezTo>
                <a:cubicBezTo>
                  <a:pt x="451" y="468"/>
                  <a:pt x="451" y="468"/>
                  <a:pt x="451" y="468"/>
                </a:cubicBezTo>
                <a:cubicBezTo>
                  <a:pt x="450" y="468"/>
                  <a:pt x="450" y="468"/>
                  <a:pt x="450" y="468"/>
                </a:cubicBezTo>
                <a:cubicBezTo>
                  <a:pt x="450" y="469"/>
                  <a:pt x="450" y="469"/>
                  <a:pt x="450" y="469"/>
                </a:cubicBezTo>
                <a:cubicBezTo>
                  <a:pt x="450" y="469"/>
                  <a:pt x="450" y="469"/>
                  <a:pt x="450" y="469"/>
                </a:cubicBezTo>
                <a:cubicBezTo>
                  <a:pt x="449" y="469"/>
                  <a:pt x="449" y="469"/>
                  <a:pt x="449" y="469"/>
                </a:cubicBezTo>
                <a:cubicBezTo>
                  <a:pt x="449" y="469"/>
                  <a:pt x="449" y="469"/>
                  <a:pt x="449" y="469"/>
                </a:cubicBezTo>
                <a:cubicBezTo>
                  <a:pt x="448" y="470"/>
                  <a:pt x="448" y="470"/>
                  <a:pt x="448" y="470"/>
                </a:cubicBezTo>
                <a:cubicBezTo>
                  <a:pt x="448" y="470"/>
                  <a:pt x="448" y="470"/>
                  <a:pt x="448" y="470"/>
                </a:cubicBezTo>
                <a:cubicBezTo>
                  <a:pt x="447" y="470"/>
                  <a:pt x="447" y="470"/>
                  <a:pt x="447" y="470"/>
                </a:cubicBezTo>
                <a:cubicBezTo>
                  <a:pt x="446" y="471"/>
                  <a:pt x="446" y="471"/>
                  <a:pt x="446" y="471"/>
                </a:cubicBezTo>
                <a:cubicBezTo>
                  <a:pt x="445" y="471"/>
                  <a:pt x="445" y="471"/>
                  <a:pt x="445" y="471"/>
                </a:cubicBezTo>
                <a:cubicBezTo>
                  <a:pt x="445" y="472"/>
                  <a:pt x="445" y="472"/>
                  <a:pt x="445" y="472"/>
                </a:cubicBezTo>
                <a:cubicBezTo>
                  <a:pt x="446" y="472"/>
                  <a:pt x="446" y="472"/>
                  <a:pt x="446" y="472"/>
                </a:cubicBezTo>
                <a:cubicBezTo>
                  <a:pt x="446" y="473"/>
                  <a:pt x="446" y="473"/>
                  <a:pt x="446" y="473"/>
                </a:cubicBezTo>
                <a:cubicBezTo>
                  <a:pt x="447" y="473"/>
                  <a:pt x="447" y="473"/>
                  <a:pt x="447" y="473"/>
                </a:cubicBezTo>
                <a:cubicBezTo>
                  <a:pt x="447" y="472"/>
                  <a:pt x="447" y="472"/>
                  <a:pt x="447" y="472"/>
                </a:cubicBezTo>
                <a:cubicBezTo>
                  <a:pt x="447" y="472"/>
                  <a:pt x="447" y="472"/>
                  <a:pt x="447" y="472"/>
                </a:cubicBezTo>
                <a:cubicBezTo>
                  <a:pt x="448" y="472"/>
                  <a:pt x="448" y="472"/>
                  <a:pt x="448" y="472"/>
                </a:cubicBezTo>
                <a:cubicBezTo>
                  <a:pt x="448" y="472"/>
                  <a:pt x="448" y="472"/>
                  <a:pt x="448" y="472"/>
                </a:cubicBezTo>
                <a:cubicBezTo>
                  <a:pt x="448" y="473"/>
                  <a:pt x="448" y="473"/>
                  <a:pt x="448" y="473"/>
                </a:cubicBezTo>
                <a:cubicBezTo>
                  <a:pt x="449" y="472"/>
                  <a:pt x="449" y="472"/>
                  <a:pt x="449" y="472"/>
                </a:cubicBezTo>
                <a:cubicBezTo>
                  <a:pt x="450" y="472"/>
                  <a:pt x="450" y="472"/>
                  <a:pt x="450" y="472"/>
                </a:cubicBezTo>
                <a:cubicBezTo>
                  <a:pt x="450" y="471"/>
                  <a:pt x="450" y="471"/>
                  <a:pt x="450" y="471"/>
                </a:cubicBezTo>
                <a:cubicBezTo>
                  <a:pt x="450" y="471"/>
                  <a:pt x="450" y="471"/>
                  <a:pt x="450" y="471"/>
                </a:cubicBezTo>
                <a:cubicBezTo>
                  <a:pt x="451" y="470"/>
                  <a:pt x="451" y="470"/>
                  <a:pt x="451" y="470"/>
                </a:cubicBezTo>
                <a:cubicBezTo>
                  <a:pt x="451" y="470"/>
                  <a:pt x="451" y="470"/>
                  <a:pt x="451" y="470"/>
                </a:cubicBezTo>
                <a:cubicBezTo>
                  <a:pt x="451" y="469"/>
                  <a:pt x="451" y="469"/>
                  <a:pt x="451" y="469"/>
                </a:cubicBezTo>
                <a:cubicBezTo>
                  <a:pt x="452" y="468"/>
                  <a:pt x="452" y="468"/>
                  <a:pt x="452" y="468"/>
                </a:cubicBezTo>
                <a:cubicBezTo>
                  <a:pt x="453" y="468"/>
                  <a:pt x="453" y="468"/>
                  <a:pt x="453" y="468"/>
                </a:cubicBezTo>
                <a:cubicBezTo>
                  <a:pt x="453" y="468"/>
                  <a:pt x="453" y="468"/>
                  <a:pt x="453" y="468"/>
                </a:cubicBezTo>
                <a:cubicBezTo>
                  <a:pt x="454" y="468"/>
                  <a:pt x="454" y="468"/>
                  <a:pt x="454" y="468"/>
                </a:cubicBezTo>
                <a:cubicBezTo>
                  <a:pt x="453" y="469"/>
                  <a:pt x="453" y="469"/>
                  <a:pt x="453" y="469"/>
                </a:cubicBezTo>
                <a:cubicBezTo>
                  <a:pt x="454" y="469"/>
                  <a:pt x="454" y="469"/>
                  <a:pt x="454" y="469"/>
                </a:cubicBezTo>
                <a:cubicBezTo>
                  <a:pt x="455" y="468"/>
                  <a:pt x="455" y="468"/>
                  <a:pt x="455" y="468"/>
                </a:cubicBezTo>
                <a:cubicBezTo>
                  <a:pt x="455" y="467"/>
                  <a:pt x="455" y="467"/>
                  <a:pt x="455" y="467"/>
                </a:cubicBezTo>
                <a:cubicBezTo>
                  <a:pt x="456" y="466"/>
                  <a:pt x="456" y="466"/>
                  <a:pt x="456" y="466"/>
                </a:cubicBezTo>
                <a:cubicBezTo>
                  <a:pt x="456" y="464"/>
                  <a:pt x="456" y="464"/>
                  <a:pt x="456" y="464"/>
                </a:cubicBezTo>
                <a:cubicBezTo>
                  <a:pt x="456" y="464"/>
                  <a:pt x="456" y="464"/>
                  <a:pt x="456" y="464"/>
                </a:cubicBezTo>
                <a:cubicBezTo>
                  <a:pt x="456" y="464"/>
                  <a:pt x="456" y="464"/>
                  <a:pt x="456" y="464"/>
                </a:cubicBezTo>
                <a:cubicBezTo>
                  <a:pt x="457" y="464"/>
                  <a:pt x="457" y="464"/>
                  <a:pt x="457" y="464"/>
                </a:cubicBezTo>
                <a:cubicBezTo>
                  <a:pt x="457" y="465"/>
                  <a:pt x="457" y="465"/>
                  <a:pt x="457" y="465"/>
                </a:cubicBezTo>
                <a:cubicBezTo>
                  <a:pt x="458" y="465"/>
                  <a:pt x="458" y="465"/>
                  <a:pt x="458" y="465"/>
                </a:cubicBezTo>
                <a:cubicBezTo>
                  <a:pt x="458" y="466"/>
                  <a:pt x="458" y="466"/>
                  <a:pt x="458" y="466"/>
                </a:cubicBezTo>
                <a:cubicBezTo>
                  <a:pt x="458" y="467"/>
                  <a:pt x="458" y="467"/>
                  <a:pt x="458" y="467"/>
                </a:cubicBezTo>
                <a:cubicBezTo>
                  <a:pt x="457" y="468"/>
                  <a:pt x="457" y="468"/>
                  <a:pt x="457" y="468"/>
                </a:cubicBezTo>
                <a:cubicBezTo>
                  <a:pt x="458" y="468"/>
                  <a:pt x="458" y="468"/>
                  <a:pt x="458" y="468"/>
                </a:cubicBezTo>
                <a:cubicBezTo>
                  <a:pt x="457" y="469"/>
                  <a:pt x="457" y="469"/>
                  <a:pt x="457" y="469"/>
                </a:cubicBezTo>
                <a:cubicBezTo>
                  <a:pt x="456" y="470"/>
                  <a:pt x="456" y="470"/>
                  <a:pt x="456" y="470"/>
                </a:cubicBezTo>
                <a:cubicBezTo>
                  <a:pt x="456" y="472"/>
                  <a:pt x="456" y="472"/>
                  <a:pt x="456" y="472"/>
                </a:cubicBezTo>
                <a:cubicBezTo>
                  <a:pt x="456" y="472"/>
                  <a:pt x="456" y="472"/>
                  <a:pt x="456" y="472"/>
                </a:cubicBezTo>
                <a:cubicBezTo>
                  <a:pt x="455" y="473"/>
                  <a:pt x="455" y="473"/>
                  <a:pt x="455" y="473"/>
                </a:cubicBezTo>
                <a:cubicBezTo>
                  <a:pt x="455" y="474"/>
                  <a:pt x="455" y="474"/>
                  <a:pt x="455" y="474"/>
                </a:cubicBezTo>
                <a:cubicBezTo>
                  <a:pt x="456" y="474"/>
                  <a:pt x="456" y="474"/>
                  <a:pt x="456" y="474"/>
                </a:cubicBezTo>
                <a:cubicBezTo>
                  <a:pt x="457" y="473"/>
                  <a:pt x="457" y="473"/>
                  <a:pt x="457" y="473"/>
                </a:cubicBezTo>
                <a:cubicBezTo>
                  <a:pt x="458" y="472"/>
                  <a:pt x="458" y="472"/>
                  <a:pt x="458" y="472"/>
                </a:cubicBezTo>
                <a:cubicBezTo>
                  <a:pt x="458" y="472"/>
                  <a:pt x="458" y="472"/>
                  <a:pt x="458" y="472"/>
                </a:cubicBezTo>
                <a:cubicBezTo>
                  <a:pt x="459" y="470"/>
                  <a:pt x="459" y="470"/>
                  <a:pt x="459" y="470"/>
                </a:cubicBezTo>
                <a:cubicBezTo>
                  <a:pt x="460" y="470"/>
                  <a:pt x="460" y="470"/>
                  <a:pt x="460" y="470"/>
                </a:cubicBezTo>
                <a:cubicBezTo>
                  <a:pt x="460" y="470"/>
                  <a:pt x="460" y="470"/>
                  <a:pt x="460" y="470"/>
                </a:cubicBezTo>
                <a:cubicBezTo>
                  <a:pt x="461" y="470"/>
                  <a:pt x="461" y="470"/>
                  <a:pt x="461" y="470"/>
                </a:cubicBezTo>
                <a:cubicBezTo>
                  <a:pt x="461" y="471"/>
                  <a:pt x="461" y="471"/>
                  <a:pt x="461" y="471"/>
                </a:cubicBezTo>
                <a:cubicBezTo>
                  <a:pt x="460" y="471"/>
                  <a:pt x="460" y="471"/>
                  <a:pt x="460" y="471"/>
                </a:cubicBezTo>
                <a:cubicBezTo>
                  <a:pt x="459" y="472"/>
                  <a:pt x="459" y="472"/>
                  <a:pt x="459" y="472"/>
                </a:cubicBezTo>
                <a:cubicBezTo>
                  <a:pt x="459" y="473"/>
                  <a:pt x="459" y="473"/>
                  <a:pt x="459" y="473"/>
                </a:cubicBezTo>
                <a:cubicBezTo>
                  <a:pt x="459" y="473"/>
                  <a:pt x="459" y="473"/>
                  <a:pt x="459" y="473"/>
                </a:cubicBezTo>
                <a:cubicBezTo>
                  <a:pt x="459" y="474"/>
                  <a:pt x="459" y="474"/>
                  <a:pt x="459" y="474"/>
                </a:cubicBezTo>
                <a:cubicBezTo>
                  <a:pt x="459" y="475"/>
                  <a:pt x="459" y="475"/>
                  <a:pt x="459" y="475"/>
                </a:cubicBezTo>
                <a:cubicBezTo>
                  <a:pt x="460" y="476"/>
                  <a:pt x="460" y="476"/>
                  <a:pt x="460" y="476"/>
                </a:cubicBezTo>
                <a:cubicBezTo>
                  <a:pt x="460" y="475"/>
                  <a:pt x="460" y="475"/>
                  <a:pt x="460" y="475"/>
                </a:cubicBezTo>
                <a:cubicBezTo>
                  <a:pt x="460" y="474"/>
                  <a:pt x="460" y="474"/>
                  <a:pt x="460" y="474"/>
                </a:cubicBezTo>
                <a:cubicBezTo>
                  <a:pt x="460" y="474"/>
                  <a:pt x="461" y="474"/>
                  <a:pt x="461" y="474"/>
                </a:cubicBezTo>
                <a:cubicBezTo>
                  <a:pt x="461" y="474"/>
                  <a:pt x="462" y="475"/>
                  <a:pt x="462" y="475"/>
                </a:cubicBezTo>
                <a:cubicBezTo>
                  <a:pt x="462" y="475"/>
                  <a:pt x="462" y="475"/>
                  <a:pt x="462" y="475"/>
                </a:cubicBezTo>
                <a:cubicBezTo>
                  <a:pt x="463" y="475"/>
                  <a:pt x="463" y="475"/>
                  <a:pt x="463" y="475"/>
                </a:cubicBezTo>
                <a:cubicBezTo>
                  <a:pt x="463" y="474"/>
                  <a:pt x="463" y="474"/>
                  <a:pt x="463" y="474"/>
                </a:cubicBezTo>
                <a:cubicBezTo>
                  <a:pt x="463" y="474"/>
                  <a:pt x="463" y="474"/>
                  <a:pt x="463" y="474"/>
                </a:cubicBezTo>
                <a:cubicBezTo>
                  <a:pt x="463" y="473"/>
                  <a:pt x="463" y="473"/>
                  <a:pt x="463" y="473"/>
                </a:cubicBezTo>
                <a:cubicBezTo>
                  <a:pt x="463" y="472"/>
                  <a:pt x="463" y="472"/>
                  <a:pt x="463" y="472"/>
                </a:cubicBezTo>
                <a:cubicBezTo>
                  <a:pt x="464" y="472"/>
                  <a:pt x="464" y="472"/>
                  <a:pt x="464" y="472"/>
                </a:cubicBezTo>
                <a:cubicBezTo>
                  <a:pt x="464" y="472"/>
                  <a:pt x="464" y="472"/>
                  <a:pt x="464" y="472"/>
                </a:cubicBezTo>
                <a:cubicBezTo>
                  <a:pt x="464" y="471"/>
                  <a:pt x="464" y="471"/>
                  <a:pt x="464" y="471"/>
                </a:cubicBezTo>
                <a:cubicBezTo>
                  <a:pt x="464" y="470"/>
                  <a:pt x="464" y="470"/>
                  <a:pt x="464" y="470"/>
                </a:cubicBezTo>
                <a:cubicBezTo>
                  <a:pt x="465" y="469"/>
                  <a:pt x="465" y="469"/>
                  <a:pt x="465" y="469"/>
                </a:cubicBezTo>
                <a:cubicBezTo>
                  <a:pt x="466" y="468"/>
                  <a:pt x="466" y="468"/>
                  <a:pt x="466" y="468"/>
                </a:cubicBezTo>
                <a:cubicBezTo>
                  <a:pt x="465" y="466"/>
                  <a:pt x="465" y="466"/>
                  <a:pt x="465" y="466"/>
                </a:cubicBezTo>
                <a:cubicBezTo>
                  <a:pt x="465" y="465"/>
                  <a:pt x="465" y="465"/>
                  <a:pt x="465" y="465"/>
                </a:cubicBezTo>
                <a:cubicBezTo>
                  <a:pt x="465" y="465"/>
                  <a:pt x="465" y="465"/>
                  <a:pt x="465" y="465"/>
                </a:cubicBezTo>
                <a:cubicBezTo>
                  <a:pt x="465" y="466"/>
                  <a:pt x="465" y="466"/>
                  <a:pt x="465" y="466"/>
                </a:cubicBezTo>
                <a:cubicBezTo>
                  <a:pt x="465" y="467"/>
                  <a:pt x="465" y="467"/>
                  <a:pt x="465" y="467"/>
                </a:cubicBezTo>
                <a:cubicBezTo>
                  <a:pt x="464" y="467"/>
                  <a:pt x="464" y="467"/>
                  <a:pt x="464" y="467"/>
                </a:cubicBezTo>
                <a:cubicBezTo>
                  <a:pt x="463" y="468"/>
                  <a:pt x="463" y="468"/>
                  <a:pt x="463" y="468"/>
                </a:cubicBezTo>
                <a:cubicBezTo>
                  <a:pt x="462" y="468"/>
                  <a:pt x="462" y="468"/>
                  <a:pt x="462" y="468"/>
                </a:cubicBezTo>
                <a:cubicBezTo>
                  <a:pt x="462" y="467"/>
                  <a:pt x="462" y="467"/>
                  <a:pt x="462" y="467"/>
                </a:cubicBezTo>
                <a:cubicBezTo>
                  <a:pt x="462" y="467"/>
                  <a:pt x="462" y="467"/>
                  <a:pt x="462" y="467"/>
                </a:cubicBezTo>
                <a:cubicBezTo>
                  <a:pt x="462" y="466"/>
                  <a:pt x="462" y="466"/>
                  <a:pt x="462" y="466"/>
                </a:cubicBezTo>
                <a:cubicBezTo>
                  <a:pt x="463" y="465"/>
                  <a:pt x="463" y="465"/>
                  <a:pt x="463" y="465"/>
                </a:cubicBezTo>
                <a:cubicBezTo>
                  <a:pt x="464" y="464"/>
                  <a:pt x="464" y="464"/>
                  <a:pt x="464" y="464"/>
                </a:cubicBezTo>
                <a:cubicBezTo>
                  <a:pt x="464" y="464"/>
                  <a:pt x="464" y="464"/>
                  <a:pt x="464" y="464"/>
                </a:cubicBezTo>
                <a:cubicBezTo>
                  <a:pt x="465" y="464"/>
                  <a:pt x="465" y="464"/>
                  <a:pt x="465" y="464"/>
                </a:cubicBezTo>
                <a:cubicBezTo>
                  <a:pt x="465" y="463"/>
                  <a:pt x="465" y="463"/>
                  <a:pt x="465" y="463"/>
                </a:cubicBezTo>
                <a:cubicBezTo>
                  <a:pt x="465" y="463"/>
                  <a:pt x="465" y="463"/>
                  <a:pt x="465" y="463"/>
                </a:cubicBezTo>
                <a:cubicBezTo>
                  <a:pt x="464" y="463"/>
                  <a:pt x="464" y="463"/>
                  <a:pt x="464" y="463"/>
                </a:cubicBezTo>
                <a:cubicBezTo>
                  <a:pt x="464" y="463"/>
                  <a:pt x="464" y="463"/>
                  <a:pt x="464" y="463"/>
                </a:cubicBezTo>
                <a:cubicBezTo>
                  <a:pt x="463" y="464"/>
                  <a:pt x="463" y="464"/>
                  <a:pt x="463" y="464"/>
                </a:cubicBezTo>
                <a:cubicBezTo>
                  <a:pt x="463" y="464"/>
                  <a:pt x="463" y="464"/>
                  <a:pt x="463" y="464"/>
                </a:cubicBezTo>
                <a:cubicBezTo>
                  <a:pt x="462" y="464"/>
                  <a:pt x="462" y="464"/>
                  <a:pt x="462" y="464"/>
                </a:cubicBezTo>
                <a:cubicBezTo>
                  <a:pt x="462" y="465"/>
                  <a:pt x="462" y="465"/>
                  <a:pt x="462" y="465"/>
                </a:cubicBezTo>
                <a:cubicBezTo>
                  <a:pt x="460" y="466"/>
                  <a:pt x="460" y="466"/>
                  <a:pt x="460" y="466"/>
                </a:cubicBezTo>
                <a:cubicBezTo>
                  <a:pt x="460" y="467"/>
                  <a:pt x="460" y="467"/>
                  <a:pt x="460" y="467"/>
                </a:cubicBezTo>
                <a:cubicBezTo>
                  <a:pt x="460" y="467"/>
                  <a:pt x="460" y="467"/>
                  <a:pt x="460" y="467"/>
                </a:cubicBezTo>
                <a:cubicBezTo>
                  <a:pt x="459" y="466"/>
                  <a:pt x="459" y="466"/>
                  <a:pt x="459" y="466"/>
                </a:cubicBezTo>
                <a:cubicBezTo>
                  <a:pt x="459" y="466"/>
                  <a:pt x="459" y="466"/>
                  <a:pt x="459" y="466"/>
                </a:cubicBezTo>
                <a:cubicBezTo>
                  <a:pt x="458" y="465"/>
                  <a:pt x="458" y="465"/>
                  <a:pt x="458" y="465"/>
                </a:cubicBezTo>
                <a:cubicBezTo>
                  <a:pt x="458" y="464"/>
                  <a:pt x="458" y="464"/>
                  <a:pt x="458" y="464"/>
                </a:cubicBezTo>
                <a:cubicBezTo>
                  <a:pt x="459" y="465"/>
                  <a:pt x="459" y="465"/>
                  <a:pt x="459" y="465"/>
                </a:cubicBezTo>
                <a:cubicBezTo>
                  <a:pt x="459" y="465"/>
                  <a:pt x="459" y="465"/>
                  <a:pt x="459" y="465"/>
                </a:cubicBezTo>
                <a:cubicBezTo>
                  <a:pt x="460" y="464"/>
                  <a:pt x="460" y="464"/>
                  <a:pt x="460" y="464"/>
                </a:cubicBezTo>
                <a:cubicBezTo>
                  <a:pt x="459" y="464"/>
                  <a:pt x="459" y="464"/>
                  <a:pt x="459" y="464"/>
                </a:cubicBezTo>
                <a:cubicBezTo>
                  <a:pt x="458" y="463"/>
                  <a:pt x="458" y="463"/>
                  <a:pt x="458" y="463"/>
                </a:cubicBezTo>
                <a:cubicBezTo>
                  <a:pt x="459" y="463"/>
                  <a:pt x="459" y="463"/>
                  <a:pt x="459" y="463"/>
                </a:cubicBezTo>
                <a:cubicBezTo>
                  <a:pt x="460" y="463"/>
                  <a:pt x="460" y="463"/>
                  <a:pt x="460" y="463"/>
                </a:cubicBezTo>
                <a:cubicBezTo>
                  <a:pt x="459" y="463"/>
                  <a:pt x="459" y="463"/>
                  <a:pt x="459" y="463"/>
                </a:cubicBezTo>
                <a:cubicBezTo>
                  <a:pt x="459" y="463"/>
                  <a:pt x="459" y="463"/>
                  <a:pt x="459" y="463"/>
                </a:cubicBezTo>
                <a:cubicBezTo>
                  <a:pt x="459" y="462"/>
                  <a:pt x="459" y="462"/>
                  <a:pt x="459" y="462"/>
                </a:cubicBezTo>
                <a:cubicBezTo>
                  <a:pt x="459" y="462"/>
                  <a:pt x="459" y="462"/>
                  <a:pt x="459" y="462"/>
                </a:cubicBezTo>
                <a:cubicBezTo>
                  <a:pt x="460" y="462"/>
                  <a:pt x="460" y="462"/>
                  <a:pt x="460" y="462"/>
                </a:cubicBezTo>
                <a:cubicBezTo>
                  <a:pt x="460" y="462"/>
                  <a:pt x="460" y="462"/>
                  <a:pt x="460" y="462"/>
                </a:cubicBezTo>
                <a:cubicBezTo>
                  <a:pt x="461" y="461"/>
                  <a:pt x="461" y="461"/>
                  <a:pt x="461" y="461"/>
                </a:cubicBezTo>
                <a:cubicBezTo>
                  <a:pt x="462" y="460"/>
                  <a:pt x="462" y="460"/>
                  <a:pt x="462" y="460"/>
                </a:cubicBezTo>
                <a:cubicBezTo>
                  <a:pt x="463" y="460"/>
                  <a:pt x="463" y="460"/>
                  <a:pt x="463" y="460"/>
                </a:cubicBezTo>
                <a:cubicBezTo>
                  <a:pt x="463" y="460"/>
                  <a:pt x="463" y="460"/>
                  <a:pt x="463" y="460"/>
                </a:cubicBezTo>
                <a:cubicBezTo>
                  <a:pt x="464" y="459"/>
                  <a:pt x="464" y="459"/>
                  <a:pt x="464" y="459"/>
                </a:cubicBezTo>
                <a:cubicBezTo>
                  <a:pt x="464" y="459"/>
                  <a:pt x="464" y="459"/>
                  <a:pt x="464" y="459"/>
                </a:cubicBezTo>
                <a:cubicBezTo>
                  <a:pt x="464" y="458"/>
                  <a:pt x="464" y="458"/>
                  <a:pt x="464" y="458"/>
                </a:cubicBezTo>
                <a:cubicBezTo>
                  <a:pt x="464" y="457"/>
                  <a:pt x="464" y="457"/>
                  <a:pt x="464" y="457"/>
                </a:cubicBezTo>
                <a:cubicBezTo>
                  <a:pt x="463" y="458"/>
                  <a:pt x="463" y="458"/>
                  <a:pt x="463" y="458"/>
                </a:cubicBezTo>
                <a:cubicBezTo>
                  <a:pt x="463" y="458"/>
                  <a:pt x="463" y="458"/>
                  <a:pt x="463" y="458"/>
                </a:cubicBezTo>
                <a:cubicBezTo>
                  <a:pt x="462" y="458"/>
                  <a:pt x="462" y="458"/>
                  <a:pt x="462" y="458"/>
                </a:cubicBezTo>
                <a:cubicBezTo>
                  <a:pt x="462" y="458"/>
                  <a:pt x="462" y="458"/>
                  <a:pt x="462" y="458"/>
                </a:cubicBezTo>
                <a:cubicBezTo>
                  <a:pt x="462" y="458"/>
                  <a:pt x="462" y="458"/>
                  <a:pt x="462" y="458"/>
                </a:cubicBezTo>
                <a:cubicBezTo>
                  <a:pt x="462" y="459"/>
                  <a:pt x="462" y="459"/>
                  <a:pt x="462" y="459"/>
                </a:cubicBezTo>
                <a:cubicBezTo>
                  <a:pt x="461" y="459"/>
                  <a:pt x="461" y="459"/>
                  <a:pt x="461" y="459"/>
                </a:cubicBezTo>
                <a:cubicBezTo>
                  <a:pt x="461" y="459"/>
                  <a:pt x="461" y="459"/>
                  <a:pt x="461" y="459"/>
                </a:cubicBezTo>
                <a:cubicBezTo>
                  <a:pt x="460" y="460"/>
                  <a:pt x="460" y="460"/>
                  <a:pt x="460" y="460"/>
                </a:cubicBezTo>
                <a:cubicBezTo>
                  <a:pt x="459" y="460"/>
                  <a:pt x="459" y="460"/>
                  <a:pt x="459" y="460"/>
                </a:cubicBezTo>
                <a:cubicBezTo>
                  <a:pt x="459" y="461"/>
                  <a:pt x="459" y="461"/>
                  <a:pt x="459" y="461"/>
                </a:cubicBezTo>
                <a:cubicBezTo>
                  <a:pt x="459" y="461"/>
                  <a:pt x="459" y="461"/>
                  <a:pt x="459" y="461"/>
                </a:cubicBezTo>
                <a:cubicBezTo>
                  <a:pt x="459" y="461"/>
                  <a:pt x="459" y="461"/>
                  <a:pt x="459" y="461"/>
                </a:cubicBezTo>
                <a:cubicBezTo>
                  <a:pt x="459" y="460"/>
                  <a:pt x="459" y="460"/>
                  <a:pt x="459" y="460"/>
                </a:cubicBezTo>
                <a:cubicBezTo>
                  <a:pt x="459" y="460"/>
                  <a:pt x="459" y="460"/>
                  <a:pt x="459" y="460"/>
                </a:cubicBezTo>
                <a:cubicBezTo>
                  <a:pt x="458" y="460"/>
                  <a:pt x="458" y="460"/>
                  <a:pt x="458" y="460"/>
                </a:cubicBezTo>
                <a:cubicBezTo>
                  <a:pt x="459" y="460"/>
                  <a:pt x="459" y="460"/>
                  <a:pt x="459" y="460"/>
                </a:cubicBezTo>
                <a:cubicBezTo>
                  <a:pt x="459" y="459"/>
                  <a:pt x="459" y="459"/>
                  <a:pt x="459" y="459"/>
                </a:cubicBezTo>
                <a:cubicBezTo>
                  <a:pt x="460" y="459"/>
                  <a:pt x="460" y="459"/>
                  <a:pt x="460" y="459"/>
                </a:cubicBezTo>
                <a:cubicBezTo>
                  <a:pt x="459" y="459"/>
                  <a:pt x="459" y="459"/>
                  <a:pt x="459" y="459"/>
                </a:cubicBezTo>
                <a:cubicBezTo>
                  <a:pt x="460" y="458"/>
                  <a:pt x="460" y="458"/>
                  <a:pt x="460" y="458"/>
                </a:cubicBezTo>
                <a:cubicBezTo>
                  <a:pt x="460" y="457"/>
                  <a:pt x="460" y="457"/>
                  <a:pt x="460" y="457"/>
                </a:cubicBezTo>
                <a:cubicBezTo>
                  <a:pt x="460" y="457"/>
                  <a:pt x="460" y="457"/>
                  <a:pt x="460" y="457"/>
                </a:cubicBezTo>
                <a:cubicBezTo>
                  <a:pt x="459" y="458"/>
                  <a:pt x="459" y="458"/>
                  <a:pt x="459" y="458"/>
                </a:cubicBezTo>
                <a:cubicBezTo>
                  <a:pt x="459" y="457"/>
                  <a:pt x="459" y="457"/>
                  <a:pt x="459" y="457"/>
                </a:cubicBezTo>
                <a:cubicBezTo>
                  <a:pt x="459" y="456"/>
                  <a:pt x="459" y="456"/>
                  <a:pt x="459" y="456"/>
                </a:cubicBezTo>
                <a:cubicBezTo>
                  <a:pt x="459" y="456"/>
                  <a:pt x="459" y="456"/>
                  <a:pt x="459" y="456"/>
                </a:cubicBezTo>
                <a:cubicBezTo>
                  <a:pt x="458" y="456"/>
                  <a:pt x="458" y="456"/>
                  <a:pt x="458" y="456"/>
                </a:cubicBezTo>
                <a:cubicBezTo>
                  <a:pt x="457" y="456"/>
                  <a:pt x="457" y="456"/>
                  <a:pt x="457" y="456"/>
                </a:cubicBezTo>
                <a:cubicBezTo>
                  <a:pt x="458" y="456"/>
                  <a:pt x="458" y="456"/>
                  <a:pt x="458" y="456"/>
                </a:cubicBezTo>
                <a:cubicBezTo>
                  <a:pt x="459" y="456"/>
                  <a:pt x="459" y="456"/>
                  <a:pt x="459" y="456"/>
                </a:cubicBezTo>
                <a:cubicBezTo>
                  <a:pt x="460" y="456"/>
                  <a:pt x="460" y="456"/>
                  <a:pt x="460" y="456"/>
                </a:cubicBezTo>
                <a:cubicBezTo>
                  <a:pt x="460" y="455"/>
                  <a:pt x="460" y="455"/>
                  <a:pt x="460" y="455"/>
                </a:cubicBezTo>
                <a:cubicBezTo>
                  <a:pt x="461" y="455"/>
                  <a:pt x="461" y="455"/>
                  <a:pt x="461" y="455"/>
                </a:cubicBezTo>
                <a:cubicBezTo>
                  <a:pt x="461" y="455"/>
                  <a:pt x="461" y="455"/>
                  <a:pt x="461" y="455"/>
                </a:cubicBezTo>
                <a:cubicBezTo>
                  <a:pt x="462" y="454"/>
                  <a:pt x="462" y="454"/>
                  <a:pt x="462" y="454"/>
                </a:cubicBezTo>
                <a:cubicBezTo>
                  <a:pt x="462" y="454"/>
                  <a:pt x="462" y="454"/>
                  <a:pt x="462" y="454"/>
                </a:cubicBezTo>
                <a:cubicBezTo>
                  <a:pt x="463" y="453"/>
                  <a:pt x="463" y="453"/>
                  <a:pt x="463" y="453"/>
                </a:cubicBezTo>
                <a:cubicBezTo>
                  <a:pt x="463" y="452"/>
                  <a:pt x="463" y="452"/>
                  <a:pt x="463" y="452"/>
                </a:cubicBezTo>
                <a:cubicBezTo>
                  <a:pt x="462" y="452"/>
                  <a:pt x="462" y="452"/>
                  <a:pt x="462" y="452"/>
                </a:cubicBezTo>
                <a:cubicBezTo>
                  <a:pt x="461" y="451"/>
                  <a:pt x="461" y="451"/>
                  <a:pt x="461" y="451"/>
                </a:cubicBezTo>
                <a:cubicBezTo>
                  <a:pt x="460" y="451"/>
                  <a:pt x="460" y="451"/>
                  <a:pt x="460" y="451"/>
                </a:cubicBezTo>
                <a:cubicBezTo>
                  <a:pt x="459" y="451"/>
                  <a:pt x="459" y="451"/>
                  <a:pt x="459" y="451"/>
                </a:cubicBezTo>
                <a:cubicBezTo>
                  <a:pt x="458" y="451"/>
                  <a:pt x="458" y="451"/>
                  <a:pt x="458" y="451"/>
                </a:cubicBezTo>
                <a:cubicBezTo>
                  <a:pt x="458" y="452"/>
                  <a:pt x="458" y="452"/>
                  <a:pt x="458" y="452"/>
                </a:cubicBezTo>
                <a:cubicBezTo>
                  <a:pt x="458" y="453"/>
                  <a:pt x="458" y="453"/>
                  <a:pt x="458" y="453"/>
                </a:cubicBezTo>
                <a:cubicBezTo>
                  <a:pt x="458" y="454"/>
                  <a:pt x="458" y="454"/>
                  <a:pt x="458" y="454"/>
                </a:cubicBezTo>
                <a:cubicBezTo>
                  <a:pt x="457" y="454"/>
                  <a:pt x="457" y="454"/>
                  <a:pt x="457" y="454"/>
                </a:cubicBezTo>
                <a:cubicBezTo>
                  <a:pt x="457" y="454"/>
                  <a:pt x="457" y="454"/>
                  <a:pt x="457" y="454"/>
                </a:cubicBezTo>
                <a:cubicBezTo>
                  <a:pt x="458" y="453"/>
                  <a:pt x="458" y="453"/>
                  <a:pt x="458" y="453"/>
                </a:cubicBezTo>
                <a:cubicBezTo>
                  <a:pt x="457" y="452"/>
                  <a:pt x="457" y="452"/>
                  <a:pt x="457" y="452"/>
                </a:cubicBezTo>
                <a:cubicBezTo>
                  <a:pt x="458" y="452"/>
                  <a:pt x="458" y="452"/>
                  <a:pt x="458" y="452"/>
                </a:cubicBezTo>
                <a:cubicBezTo>
                  <a:pt x="458" y="451"/>
                  <a:pt x="458" y="451"/>
                  <a:pt x="458" y="451"/>
                </a:cubicBezTo>
                <a:cubicBezTo>
                  <a:pt x="458" y="451"/>
                  <a:pt x="458" y="451"/>
                  <a:pt x="458" y="451"/>
                </a:cubicBezTo>
                <a:cubicBezTo>
                  <a:pt x="457" y="451"/>
                  <a:pt x="457" y="451"/>
                  <a:pt x="457" y="451"/>
                </a:cubicBezTo>
                <a:cubicBezTo>
                  <a:pt x="456" y="452"/>
                  <a:pt x="456" y="452"/>
                  <a:pt x="456" y="452"/>
                </a:cubicBezTo>
                <a:cubicBezTo>
                  <a:pt x="456" y="452"/>
                  <a:pt x="456" y="452"/>
                  <a:pt x="456" y="452"/>
                </a:cubicBezTo>
                <a:cubicBezTo>
                  <a:pt x="455" y="452"/>
                  <a:pt x="455" y="452"/>
                  <a:pt x="455" y="452"/>
                </a:cubicBezTo>
                <a:cubicBezTo>
                  <a:pt x="455" y="452"/>
                  <a:pt x="455" y="452"/>
                  <a:pt x="455" y="452"/>
                </a:cubicBezTo>
                <a:cubicBezTo>
                  <a:pt x="454" y="453"/>
                  <a:pt x="454" y="453"/>
                  <a:pt x="454" y="453"/>
                </a:cubicBezTo>
                <a:cubicBezTo>
                  <a:pt x="454" y="452"/>
                  <a:pt x="454" y="452"/>
                  <a:pt x="454" y="452"/>
                </a:cubicBezTo>
                <a:cubicBezTo>
                  <a:pt x="453" y="453"/>
                  <a:pt x="453" y="453"/>
                  <a:pt x="453" y="453"/>
                </a:cubicBezTo>
                <a:cubicBezTo>
                  <a:pt x="453" y="454"/>
                  <a:pt x="453" y="454"/>
                  <a:pt x="453" y="454"/>
                </a:cubicBezTo>
                <a:cubicBezTo>
                  <a:pt x="452" y="455"/>
                  <a:pt x="452" y="455"/>
                  <a:pt x="452" y="455"/>
                </a:cubicBezTo>
                <a:cubicBezTo>
                  <a:pt x="453" y="454"/>
                  <a:pt x="453" y="454"/>
                  <a:pt x="453" y="454"/>
                </a:cubicBezTo>
                <a:cubicBezTo>
                  <a:pt x="453" y="452"/>
                  <a:pt x="453" y="452"/>
                  <a:pt x="453" y="452"/>
                </a:cubicBezTo>
                <a:cubicBezTo>
                  <a:pt x="454" y="451"/>
                  <a:pt x="454" y="451"/>
                  <a:pt x="454" y="451"/>
                </a:cubicBezTo>
                <a:cubicBezTo>
                  <a:pt x="453" y="451"/>
                  <a:pt x="453" y="451"/>
                  <a:pt x="453" y="451"/>
                </a:cubicBezTo>
                <a:cubicBezTo>
                  <a:pt x="453" y="451"/>
                  <a:pt x="453" y="451"/>
                  <a:pt x="453" y="451"/>
                </a:cubicBezTo>
                <a:cubicBezTo>
                  <a:pt x="452" y="452"/>
                  <a:pt x="452" y="452"/>
                  <a:pt x="452" y="452"/>
                </a:cubicBezTo>
                <a:cubicBezTo>
                  <a:pt x="452" y="453"/>
                  <a:pt x="452" y="453"/>
                  <a:pt x="452" y="453"/>
                </a:cubicBezTo>
                <a:cubicBezTo>
                  <a:pt x="451" y="452"/>
                  <a:pt x="451" y="452"/>
                  <a:pt x="451" y="452"/>
                </a:cubicBezTo>
                <a:cubicBezTo>
                  <a:pt x="452" y="452"/>
                  <a:pt x="452" y="452"/>
                  <a:pt x="452" y="452"/>
                </a:cubicBezTo>
                <a:cubicBezTo>
                  <a:pt x="452" y="451"/>
                  <a:pt x="452" y="451"/>
                  <a:pt x="452" y="451"/>
                </a:cubicBezTo>
                <a:cubicBezTo>
                  <a:pt x="452" y="451"/>
                  <a:pt x="452" y="451"/>
                  <a:pt x="452" y="451"/>
                </a:cubicBezTo>
                <a:cubicBezTo>
                  <a:pt x="451" y="451"/>
                  <a:pt x="451" y="451"/>
                  <a:pt x="451" y="451"/>
                </a:cubicBezTo>
                <a:cubicBezTo>
                  <a:pt x="450" y="452"/>
                  <a:pt x="450" y="452"/>
                  <a:pt x="450" y="452"/>
                </a:cubicBezTo>
                <a:cubicBezTo>
                  <a:pt x="450" y="452"/>
                  <a:pt x="450" y="452"/>
                  <a:pt x="450" y="452"/>
                </a:cubicBezTo>
                <a:cubicBezTo>
                  <a:pt x="449" y="451"/>
                  <a:pt x="449" y="451"/>
                  <a:pt x="449" y="451"/>
                </a:cubicBezTo>
                <a:cubicBezTo>
                  <a:pt x="449" y="451"/>
                  <a:pt x="449" y="451"/>
                  <a:pt x="449" y="451"/>
                </a:cubicBezTo>
                <a:cubicBezTo>
                  <a:pt x="448" y="452"/>
                  <a:pt x="448" y="452"/>
                  <a:pt x="448" y="452"/>
                </a:cubicBezTo>
                <a:cubicBezTo>
                  <a:pt x="448" y="452"/>
                  <a:pt x="448" y="452"/>
                  <a:pt x="448" y="452"/>
                </a:cubicBezTo>
                <a:cubicBezTo>
                  <a:pt x="448" y="451"/>
                  <a:pt x="448" y="451"/>
                  <a:pt x="448" y="451"/>
                </a:cubicBezTo>
                <a:cubicBezTo>
                  <a:pt x="449" y="451"/>
                  <a:pt x="449" y="451"/>
                  <a:pt x="449" y="451"/>
                </a:cubicBezTo>
                <a:cubicBezTo>
                  <a:pt x="449" y="450"/>
                  <a:pt x="449" y="450"/>
                  <a:pt x="449" y="450"/>
                </a:cubicBezTo>
                <a:cubicBezTo>
                  <a:pt x="449" y="449"/>
                  <a:pt x="449" y="449"/>
                  <a:pt x="449" y="449"/>
                </a:cubicBezTo>
                <a:cubicBezTo>
                  <a:pt x="449" y="449"/>
                  <a:pt x="449" y="449"/>
                  <a:pt x="449" y="449"/>
                </a:cubicBezTo>
                <a:cubicBezTo>
                  <a:pt x="449" y="449"/>
                  <a:pt x="449" y="449"/>
                  <a:pt x="449" y="449"/>
                </a:cubicBezTo>
                <a:cubicBezTo>
                  <a:pt x="448" y="450"/>
                  <a:pt x="448" y="450"/>
                  <a:pt x="448" y="450"/>
                </a:cubicBezTo>
                <a:cubicBezTo>
                  <a:pt x="448" y="449"/>
                  <a:pt x="448" y="449"/>
                  <a:pt x="448" y="449"/>
                </a:cubicBezTo>
                <a:cubicBezTo>
                  <a:pt x="449" y="448"/>
                  <a:pt x="449" y="448"/>
                  <a:pt x="449" y="448"/>
                </a:cubicBezTo>
                <a:cubicBezTo>
                  <a:pt x="450" y="448"/>
                  <a:pt x="450" y="448"/>
                  <a:pt x="450" y="448"/>
                </a:cubicBezTo>
                <a:cubicBezTo>
                  <a:pt x="451" y="448"/>
                  <a:pt x="451" y="448"/>
                  <a:pt x="451" y="448"/>
                </a:cubicBezTo>
                <a:cubicBezTo>
                  <a:pt x="452" y="447"/>
                  <a:pt x="452" y="447"/>
                  <a:pt x="452" y="447"/>
                </a:cubicBezTo>
                <a:cubicBezTo>
                  <a:pt x="452" y="447"/>
                  <a:pt x="452" y="447"/>
                  <a:pt x="452" y="447"/>
                </a:cubicBezTo>
                <a:cubicBezTo>
                  <a:pt x="452" y="446"/>
                  <a:pt x="452" y="446"/>
                  <a:pt x="452" y="446"/>
                </a:cubicBezTo>
                <a:cubicBezTo>
                  <a:pt x="452" y="446"/>
                  <a:pt x="452" y="446"/>
                  <a:pt x="452" y="446"/>
                </a:cubicBezTo>
                <a:cubicBezTo>
                  <a:pt x="451" y="447"/>
                  <a:pt x="451" y="447"/>
                  <a:pt x="451" y="447"/>
                </a:cubicBezTo>
                <a:cubicBezTo>
                  <a:pt x="450" y="447"/>
                  <a:pt x="450" y="447"/>
                  <a:pt x="450" y="447"/>
                </a:cubicBezTo>
                <a:cubicBezTo>
                  <a:pt x="449" y="446"/>
                  <a:pt x="449" y="446"/>
                  <a:pt x="449" y="446"/>
                </a:cubicBezTo>
                <a:cubicBezTo>
                  <a:pt x="449" y="446"/>
                  <a:pt x="449" y="446"/>
                  <a:pt x="449" y="446"/>
                </a:cubicBezTo>
                <a:cubicBezTo>
                  <a:pt x="448" y="446"/>
                  <a:pt x="448" y="446"/>
                  <a:pt x="448" y="446"/>
                </a:cubicBezTo>
                <a:cubicBezTo>
                  <a:pt x="449" y="445"/>
                  <a:pt x="449" y="445"/>
                  <a:pt x="449" y="445"/>
                </a:cubicBezTo>
                <a:cubicBezTo>
                  <a:pt x="449" y="445"/>
                  <a:pt x="449" y="445"/>
                  <a:pt x="449" y="445"/>
                </a:cubicBezTo>
                <a:cubicBezTo>
                  <a:pt x="449" y="445"/>
                  <a:pt x="449" y="445"/>
                  <a:pt x="449" y="445"/>
                </a:cubicBezTo>
                <a:cubicBezTo>
                  <a:pt x="448" y="445"/>
                  <a:pt x="448" y="445"/>
                  <a:pt x="448" y="445"/>
                </a:cubicBezTo>
                <a:cubicBezTo>
                  <a:pt x="447" y="445"/>
                  <a:pt x="447" y="445"/>
                  <a:pt x="447" y="445"/>
                </a:cubicBezTo>
                <a:cubicBezTo>
                  <a:pt x="447" y="446"/>
                  <a:pt x="447" y="446"/>
                  <a:pt x="447" y="446"/>
                </a:cubicBezTo>
                <a:cubicBezTo>
                  <a:pt x="446" y="447"/>
                  <a:pt x="446" y="447"/>
                  <a:pt x="446" y="447"/>
                </a:cubicBezTo>
                <a:cubicBezTo>
                  <a:pt x="446" y="447"/>
                  <a:pt x="446" y="447"/>
                  <a:pt x="446" y="447"/>
                </a:cubicBezTo>
                <a:cubicBezTo>
                  <a:pt x="445" y="448"/>
                  <a:pt x="445" y="448"/>
                  <a:pt x="445" y="448"/>
                </a:cubicBezTo>
                <a:cubicBezTo>
                  <a:pt x="444" y="449"/>
                  <a:pt x="444" y="449"/>
                  <a:pt x="444" y="449"/>
                </a:cubicBezTo>
                <a:cubicBezTo>
                  <a:pt x="444" y="449"/>
                  <a:pt x="444" y="449"/>
                  <a:pt x="444" y="449"/>
                </a:cubicBezTo>
                <a:cubicBezTo>
                  <a:pt x="444" y="448"/>
                  <a:pt x="444" y="448"/>
                  <a:pt x="444" y="448"/>
                </a:cubicBezTo>
                <a:cubicBezTo>
                  <a:pt x="444" y="448"/>
                  <a:pt x="444" y="448"/>
                  <a:pt x="444" y="448"/>
                </a:cubicBezTo>
                <a:cubicBezTo>
                  <a:pt x="445" y="447"/>
                  <a:pt x="445" y="447"/>
                  <a:pt x="445" y="447"/>
                </a:cubicBezTo>
                <a:cubicBezTo>
                  <a:pt x="445" y="446"/>
                  <a:pt x="445" y="446"/>
                  <a:pt x="445" y="446"/>
                </a:cubicBezTo>
                <a:cubicBezTo>
                  <a:pt x="445" y="445"/>
                  <a:pt x="445" y="445"/>
                  <a:pt x="445" y="445"/>
                </a:cubicBezTo>
                <a:cubicBezTo>
                  <a:pt x="446" y="444"/>
                  <a:pt x="446" y="444"/>
                  <a:pt x="446" y="444"/>
                </a:cubicBezTo>
                <a:cubicBezTo>
                  <a:pt x="446" y="444"/>
                  <a:pt x="446" y="444"/>
                  <a:pt x="446" y="444"/>
                </a:cubicBezTo>
                <a:cubicBezTo>
                  <a:pt x="447" y="443"/>
                  <a:pt x="447" y="443"/>
                  <a:pt x="447" y="443"/>
                </a:cubicBezTo>
                <a:cubicBezTo>
                  <a:pt x="447" y="443"/>
                  <a:pt x="447" y="443"/>
                  <a:pt x="447" y="443"/>
                </a:cubicBezTo>
                <a:cubicBezTo>
                  <a:pt x="447" y="442"/>
                  <a:pt x="447" y="442"/>
                  <a:pt x="447" y="442"/>
                </a:cubicBezTo>
                <a:cubicBezTo>
                  <a:pt x="448" y="441"/>
                  <a:pt x="448" y="441"/>
                  <a:pt x="448" y="441"/>
                </a:cubicBezTo>
                <a:cubicBezTo>
                  <a:pt x="449" y="441"/>
                  <a:pt x="449" y="441"/>
                  <a:pt x="449" y="441"/>
                </a:cubicBezTo>
                <a:cubicBezTo>
                  <a:pt x="449" y="440"/>
                  <a:pt x="449" y="440"/>
                  <a:pt x="449" y="440"/>
                </a:cubicBezTo>
                <a:cubicBezTo>
                  <a:pt x="449" y="440"/>
                  <a:pt x="449" y="440"/>
                  <a:pt x="449" y="440"/>
                </a:cubicBezTo>
                <a:cubicBezTo>
                  <a:pt x="449" y="439"/>
                  <a:pt x="449" y="439"/>
                  <a:pt x="449" y="439"/>
                </a:cubicBezTo>
                <a:cubicBezTo>
                  <a:pt x="450" y="439"/>
                  <a:pt x="450" y="439"/>
                  <a:pt x="450" y="439"/>
                </a:cubicBezTo>
                <a:cubicBezTo>
                  <a:pt x="450" y="438"/>
                  <a:pt x="450" y="438"/>
                  <a:pt x="450" y="438"/>
                </a:cubicBezTo>
                <a:cubicBezTo>
                  <a:pt x="450" y="439"/>
                  <a:pt x="450" y="439"/>
                  <a:pt x="450" y="439"/>
                </a:cubicBezTo>
                <a:cubicBezTo>
                  <a:pt x="450" y="439"/>
                  <a:pt x="450" y="439"/>
                  <a:pt x="450" y="439"/>
                </a:cubicBezTo>
                <a:cubicBezTo>
                  <a:pt x="450" y="440"/>
                  <a:pt x="450" y="440"/>
                  <a:pt x="450" y="440"/>
                </a:cubicBezTo>
                <a:cubicBezTo>
                  <a:pt x="451" y="439"/>
                  <a:pt x="451" y="439"/>
                  <a:pt x="451" y="439"/>
                </a:cubicBezTo>
                <a:cubicBezTo>
                  <a:pt x="452" y="437"/>
                  <a:pt x="452" y="437"/>
                  <a:pt x="452" y="437"/>
                </a:cubicBezTo>
                <a:cubicBezTo>
                  <a:pt x="452" y="437"/>
                  <a:pt x="452" y="437"/>
                  <a:pt x="452" y="437"/>
                </a:cubicBezTo>
                <a:cubicBezTo>
                  <a:pt x="452" y="436"/>
                  <a:pt x="452" y="436"/>
                  <a:pt x="452" y="436"/>
                </a:cubicBezTo>
                <a:cubicBezTo>
                  <a:pt x="452" y="436"/>
                  <a:pt x="452" y="436"/>
                  <a:pt x="452" y="436"/>
                </a:cubicBezTo>
                <a:cubicBezTo>
                  <a:pt x="451" y="437"/>
                  <a:pt x="451" y="437"/>
                  <a:pt x="451" y="437"/>
                </a:cubicBezTo>
                <a:cubicBezTo>
                  <a:pt x="451" y="436"/>
                  <a:pt x="451" y="436"/>
                  <a:pt x="451" y="436"/>
                </a:cubicBezTo>
                <a:cubicBezTo>
                  <a:pt x="450" y="435"/>
                  <a:pt x="450" y="435"/>
                  <a:pt x="450" y="435"/>
                </a:cubicBezTo>
                <a:cubicBezTo>
                  <a:pt x="451" y="435"/>
                  <a:pt x="451" y="435"/>
                  <a:pt x="451" y="435"/>
                </a:cubicBezTo>
                <a:cubicBezTo>
                  <a:pt x="451" y="435"/>
                  <a:pt x="451" y="435"/>
                  <a:pt x="451" y="435"/>
                </a:cubicBezTo>
                <a:cubicBezTo>
                  <a:pt x="452" y="435"/>
                  <a:pt x="452" y="435"/>
                  <a:pt x="452" y="435"/>
                </a:cubicBezTo>
                <a:cubicBezTo>
                  <a:pt x="453" y="435"/>
                  <a:pt x="453" y="435"/>
                  <a:pt x="453" y="435"/>
                </a:cubicBezTo>
                <a:cubicBezTo>
                  <a:pt x="454" y="435"/>
                  <a:pt x="454" y="435"/>
                  <a:pt x="454" y="435"/>
                </a:cubicBezTo>
                <a:cubicBezTo>
                  <a:pt x="454" y="434"/>
                  <a:pt x="454" y="434"/>
                  <a:pt x="454" y="434"/>
                </a:cubicBezTo>
                <a:cubicBezTo>
                  <a:pt x="454" y="433"/>
                  <a:pt x="454" y="433"/>
                  <a:pt x="454" y="433"/>
                </a:cubicBezTo>
                <a:cubicBezTo>
                  <a:pt x="453" y="433"/>
                  <a:pt x="453" y="433"/>
                  <a:pt x="453" y="433"/>
                </a:cubicBezTo>
                <a:cubicBezTo>
                  <a:pt x="453" y="433"/>
                  <a:pt x="453" y="433"/>
                  <a:pt x="453" y="433"/>
                </a:cubicBezTo>
                <a:cubicBezTo>
                  <a:pt x="453" y="434"/>
                  <a:pt x="453" y="434"/>
                  <a:pt x="453" y="434"/>
                </a:cubicBezTo>
                <a:cubicBezTo>
                  <a:pt x="452" y="434"/>
                  <a:pt x="452" y="434"/>
                  <a:pt x="452" y="434"/>
                </a:cubicBezTo>
                <a:cubicBezTo>
                  <a:pt x="452" y="433"/>
                  <a:pt x="452" y="433"/>
                  <a:pt x="452" y="433"/>
                </a:cubicBezTo>
                <a:cubicBezTo>
                  <a:pt x="452" y="433"/>
                  <a:pt x="452" y="433"/>
                  <a:pt x="452" y="433"/>
                </a:cubicBezTo>
                <a:cubicBezTo>
                  <a:pt x="452" y="433"/>
                  <a:pt x="452" y="433"/>
                  <a:pt x="452" y="433"/>
                </a:cubicBezTo>
                <a:cubicBezTo>
                  <a:pt x="451" y="434"/>
                  <a:pt x="451" y="434"/>
                  <a:pt x="451" y="434"/>
                </a:cubicBezTo>
                <a:cubicBezTo>
                  <a:pt x="450" y="434"/>
                  <a:pt x="450" y="434"/>
                  <a:pt x="450" y="434"/>
                </a:cubicBezTo>
                <a:cubicBezTo>
                  <a:pt x="450" y="434"/>
                  <a:pt x="450" y="434"/>
                  <a:pt x="450" y="434"/>
                </a:cubicBezTo>
                <a:cubicBezTo>
                  <a:pt x="449" y="435"/>
                  <a:pt x="449" y="435"/>
                  <a:pt x="449" y="435"/>
                </a:cubicBezTo>
                <a:cubicBezTo>
                  <a:pt x="448" y="435"/>
                  <a:pt x="448" y="435"/>
                  <a:pt x="448" y="435"/>
                </a:cubicBezTo>
                <a:cubicBezTo>
                  <a:pt x="447" y="435"/>
                  <a:pt x="447" y="435"/>
                  <a:pt x="447" y="435"/>
                </a:cubicBezTo>
                <a:cubicBezTo>
                  <a:pt x="446" y="436"/>
                  <a:pt x="446" y="436"/>
                  <a:pt x="446" y="436"/>
                </a:cubicBezTo>
                <a:cubicBezTo>
                  <a:pt x="446" y="437"/>
                  <a:pt x="446" y="437"/>
                  <a:pt x="446" y="437"/>
                </a:cubicBezTo>
                <a:cubicBezTo>
                  <a:pt x="445" y="437"/>
                  <a:pt x="445" y="437"/>
                  <a:pt x="445" y="437"/>
                </a:cubicBezTo>
                <a:cubicBezTo>
                  <a:pt x="445" y="437"/>
                  <a:pt x="445" y="437"/>
                  <a:pt x="445" y="437"/>
                </a:cubicBezTo>
                <a:cubicBezTo>
                  <a:pt x="445" y="437"/>
                  <a:pt x="445" y="437"/>
                  <a:pt x="445" y="437"/>
                </a:cubicBezTo>
                <a:cubicBezTo>
                  <a:pt x="445" y="438"/>
                  <a:pt x="445" y="438"/>
                  <a:pt x="445" y="438"/>
                </a:cubicBezTo>
                <a:cubicBezTo>
                  <a:pt x="445" y="438"/>
                  <a:pt x="445" y="438"/>
                  <a:pt x="445" y="438"/>
                </a:cubicBezTo>
                <a:close/>
                <a:moveTo>
                  <a:pt x="405" y="450"/>
                </a:moveTo>
                <a:cubicBezTo>
                  <a:pt x="405" y="450"/>
                  <a:pt x="405" y="450"/>
                  <a:pt x="405" y="450"/>
                </a:cubicBezTo>
                <a:cubicBezTo>
                  <a:pt x="408" y="452"/>
                  <a:pt x="408" y="452"/>
                  <a:pt x="408" y="452"/>
                </a:cubicBezTo>
                <a:cubicBezTo>
                  <a:pt x="409" y="452"/>
                  <a:pt x="409" y="452"/>
                  <a:pt x="409" y="452"/>
                </a:cubicBezTo>
                <a:cubicBezTo>
                  <a:pt x="411" y="452"/>
                  <a:pt x="411" y="452"/>
                  <a:pt x="411" y="452"/>
                </a:cubicBezTo>
                <a:cubicBezTo>
                  <a:pt x="412" y="453"/>
                  <a:pt x="412" y="453"/>
                  <a:pt x="412" y="453"/>
                </a:cubicBezTo>
                <a:cubicBezTo>
                  <a:pt x="412" y="453"/>
                  <a:pt x="412" y="453"/>
                  <a:pt x="412" y="453"/>
                </a:cubicBezTo>
                <a:cubicBezTo>
                  <a:pt x="414" y="453"/>
                  <a:pt x="414" y="453"/>
                  <a:pt x="414" y="453"/>
                </a:cubicBezTo>
                <a:cubicBezTo>
                  <a:pt x="415" y="453"/>
                  <a:pt x="415" y="453"/>
                  <a:pt x="415" y="453"/>
                </a:cubicBezTo>
                <a:cubicBezTo>
                  <a:pt x="415" y="452"/>
                  <a:pt x="415" y="452"/>
                  <a:pt x="415" y="452"/>
                </a:cubicBezTo>
                <a:cubicBezTo>
                  <a:pt x="414" y="451"/>
                  <a:pt x="414" y="451"/>
                  <a:pt x="414" y="451"/>
                </a:cubicBezTo>
                <a:cubicBezTo>
                  <a:pt x="414" y="451"/>
                  <a:pt x="414" y="451"/>
                  <a:pt x="414" y="451"/>
                </a:cubicBezTo>
                <a:cubicBezTo>
                  <a:pt x="414" y="450"/>
                  <a:pt x="414" y="450"/>
                  <a:pt x="414" y="450"/>
                </a:cubicBezTo>
                <a:cubicBezTo>
                  <a:pt x="413" y="450"/>
                  <a:pt x="413" y="450"/>
                  <a:pt x="413" y="450"/>
                </a:cubicBezTo>
                <a:cubicBezTo>
                  <a:pt x="412" y="449"/>
                  <a:pt x="412" y="449"/>
                  <a:pt x="412" y="449"/>
                </a:cubicBezTo>
                <a:cubicBezTo>
                  <a:pt x="410" y="448"/>
                  <a:pt x="410" y="448"/>
                  <a:pt x="410" y="448"/>
                </a:cubicBezTo>
                <a:cubicBezTo>
                  <a:pt x="410" y="448"/>
                  <a:pt x="410" y="448"/>
                  <a:pt x="410" y="448"/>
                </a:cubicBezTo>
                <a:cubicBezTo>
                  <a:pt x="409" y="446"/>
                  <a:pt x="409" y="446"/>
                  <a:pt x="409" y="446"/>
                </a:cubicBezTo>
                <a:cubicBezTo>
                  <a:pt x="407" y="446"/>
                  <a:pt x="407" y="446"/>
                  <a:pt x="407" y="446"/>
                </a:cubicBezTo>
                <a:cubicBezTo>
                  <a:pt x="405" y="446"/>
                  <a:pt x="405" y="446"/>
                  <a:pt x="405" y="446"/>
                </a:cubicBezTo>
                <a:cubicBezTo>
                  <a:pt x="402" y="445"/>
                  <a:pt x="402" y="445"/>
                  <a:pt x="402" y="445"/>
                </a:cubicBezTo>
                <a:cubicBezTo>
                  <a:pt x="401" y="444"/>
                  <a:pt x="401" y="444"/>
                  <a:pt x="401" y="444"/>
                </a:cubicBezTo>
                <a:cubicBezTo>
                  <a:pt x="400" y="445"/>
                  <a:pt x="400" y="445"/>
                  <a:pt x="400" y="445"/>
                </a:cubicBezTo>
                <a:cubicBezTo>
                  <a:pt x="401" y="446"/>
                  <a:pt x="401" y="446"/>
                  <a:pt x="401" y="446"/>
                </a:cubicBezTo>
                <a:cubicBezTo>
                  <a:pt x="402" y="447"/>
                  <a:pt x="402" y="447"/>
                  <a:pt x="402" y="447"/>
                </a:cubicBezTo>
                <a:cubicBezTo>
                  <a:pt x="404" y="448"/>
                  <a:pt x="404" y="448"/>
                  <a:pt x="404" y="448"/>
                </a:cubicBezTo>
                <a:cubicBezTo>
                  <a:pt x="404" y="449"/>
                  <a:pt x="404" y="449"/>
                  <a:pt x="404" y="449"/>
                </a:cubicBezTo>
                <a:cubicBezTo>
                  <a:pt x="405" y="450"/>
                  <a:pt x="405" y="450"/>
                  <a:pt x="405" y="450"/>
                </a:cubicBezTo>
                <a:close/>
                <a:moveTo>
                  <a:pt x="405" y="479"/>
                </a:moveTo>
                <a:cubicBezTo>
                  <a:pt x="404" y="478"/>
                  <a:pt x="404" y="478"/>
                  <a:pt x="404" y="478"/>
                </a:cubicBezTo>
                <a:cubicBezTo>
                  <a:pt x="403" y="477"/>
                  <a:pt x="403" y="477"/>
                  <a:pt x="403" y="477"/>
                </a:cubicBezTo>
                <a:cubicBezTo>
                  <a:pt x="400" y="476"/>
                  <a:pt x="400" y="476"/>
                  <a:pt x="400" y="476"/>
                </a:cubicBezTo>
                <a:cubicBezTo>
                  <a:pt x="400" y="476"/>
                  <a:pt x="400" y="476"/>
                  <a:pt x="400" y="476"/>
                </a:cubicBezTo>
                <a:cubicBezTo>
                  <a:pt x="399" y="475"/>
                  <a:pt x="399" y="475"/>
                  <a:pt x="399" y="475"/>
                </a:cubicBezTo>
                <a:cubicBezTo>
                  <a:pt x="399" y="474"/>
                  <a:pt x="399" y="474"/>
                  <a:pt x="399" y="474"/>
                </a:cubicBezTo>
                <a:cubicBezTo>
                  <a:pt x="398" y="474"/>
                  <a:pt x="398" y="474"/>
                  <a:pt x="398" y="474"/>
                </a:cubicBezTo>
                <a:cubicBezTo>
                  <a:pt x="398" y="474"/>
                  <a:pt x="398" y="474"/>
                  <a:pt x="398" y="474"/>
                </a:cubicBezTo>
                <a:cubicBezTo>
                  <a:pt x="397" y="473"/>
                  <a:pt x="397" y="473"/>
                  <a:pt x="397" y="473"/>
                </a:cubicBezTo>
                <a:cubicBezTo>
                  <a:pt x="397" y="472"/>
                  <a:pt x="397" y="472"/>
                  <a:pt x="397" y="472"/>
                </a:cubicBezTo>
                <a:cubicBezTo>
                  <a:pt x="397" y="472"/>
                  <a:pt x="397" y="472"/>
                  <a:pt x="397" y="472"/>
                </a:cubicBezTo>
                <a:cubicBezTo>
                  <a:pt x="396" y="472"/>
                  <a:pt x="396" y="472"/>
                  <a:pt x="396" y="472"/>
                </a:cubicBezTo>
                <a:cubicBezTo>
                  <a:pt x="396" y="472"/>
                  <a:pt x="396" y="472"/>
                  <a:pt x="396" y="472"/>
                </a:cubicBezTo>
                <a:cubicBezTo>
                  <a:pt x="396" y="471"/>
                  <a:pt x="396" y="471"/>
                  <a:pt x="396" y="471"/>
                </a:cubicBezTo>
                <a:cubicBezTo>
                  <a:pt x="398" y="469"/>
                  <a:pt x="398" y="469"/>
                  <a:pt x="398" y="469"/>
                </a:cubicBezTo>
                <a:cubicBezTo>
                  <a:pt x="399" y="470"/>
                  <a:pt x="399" y="470"/>
                  <a:pt x="399" y="470"/>
                </a:cubicBezTo>
                <a:cubicBezTo>
                  <a:pt x="398" y="471"/>
                  <a:pt x="398" y="471"/>
                  <a:pt x="398" y="471"/>
                </a:cubicBezTo>
                <a:cubicBezTo>
                  <a:pt x="398" y="471"/>
                  <a:pt x="398" y="471"/>
                  <a:pt x="398" y="471"/>
                </a:cubicBezTo>
                <a:cubicBezTo>
                  <a:pt x="398" y="472"/>
                  <a:pt x="398" y="472"/>
                  <a:pt x="398" y="472"/>
                </a:cubicBezTo>
                <a:cubicBezTo>
                  <a:pt x="398" y="473"/>
                  <a:pt x="398" y="473"/>
                  <a:pt x="398" y="473"/>
                </a:cubicBezTo>
                <a:cubicBezTo>
                  <a:pt x="399" y="474"/>
                  <a:pt x="399" y="474"/>
                  <a:pt x="399" y="474"/>
                </a:cubicBezTo>
                <a:cubicBezTo>
                  <a:pt x="400" y="473"/>
                  <a:pt x="400" y="473"/>
                  <a:pt x="400" y="473"/>
                </a:cubicBezTo>
                <a:cubicBezTo>
                  <a:pt x="400" y="473"/>
                  <a:pt x="400" y="473"/>
                  <a:pt x="400" y="473"/>
                </a:cubicBezTo>
                <a:cubicBezTo>
                  <a:pt x="402" y="474"/>
                  <a:pt x="402" y="474"/>
                  <a:pt x="402" y="474"/>
                </a:cubicBezTo>
                <a:cubicBezTo>
                  <a:pt x="403" y="474"/>
                  <a:pt x="403" y="474"/>
                  <a:pt x="403" y="474"/>
                </a:cubicBezTo>
                <a:cubicBezTo>
                  <a:pt x="403" y="475"/>
                  <a:pt x="403" y="475"/>
                  <a:pt x="403" y="475"/>
                </a:cubicBezTo>
                <a:cubicBezTo>
                  <a:pt x="405" y="475"/>
                  <a:pt x="405" y="475"/>
                  <a:pt x="405" y="475"/>
                </a:cubicBezTo>
                <a:cubicBezTo>
                  <a:pt x="406" y="474"/>
                  <a:pt x="406" y="474"/>
                  <a:pt x="406" y="474"/>
                </a:cubicBezTo>
                <a:cubicBezTo>
                  <a:pt x="407" y="474"/>
                  <a:pt x="407" y="474"/>
                  <a:pt x="407" y="474"/>
                </a:cubicBezTo>
                <a:cubicBezTo>
                  <a:pt x="408" y="474"/>
                  <a:pt x="408" y="474"/>
                  <a:pt x="408" y="474"/>
                </a:cubicBezTo>
                <a:cubicBezTo>
                  <a:pt x="408" y="475"/>
                  <a:pt x="408" y="475"/>
                  <a:pt x="408" y="475"/>
                </a:cubicBezTo>
                <a:cubicBezTo>
                  <a:pt x="407" y="475"/>
                  <a:pt x="407" y="475"/>
                  <a:pt x="407" y="475"/>
                </a:cubicBezTo>
                <a:cubicBezTo>
                  <a:pt x="406" y="476"/>
                  <a:pt x="406" y="476"/>
                  <a:pt x="406" y="476"/>
                </a:cubicBezTo>
                <a:cubicBezTo>
                  <a:pt x="406" y="477"/>
                  <a:pt x="406" y="477"/>
                  <a:pt x="406" y="477"/>
                </a:cubicBezTo>
                <a:cubicBezTo>
                  <a:pt x="406" y="478"/>
                  <a:pt x="406" y="478"/>
                  <a:pt x="406" y="478"/>
                </a:cubicBezTo>
                <a:cubicBezTo>
                  <a:pt x="405" y="479"/>
                  <a:pt x="405" y="479"/>
                  <a:pt x="405" y="479"/>
                </a:cubicBezTo>
                <a:close/>
                <a:moveTo>
                  <a:pt x="414" y="483"/>
                </a:moveTo>
                <a:cubicBezTo>
                  <a:pt x="414" y="482"/>
                  <a:pt x="414" y="482"/>
                  <a:pt x="414" y="482"/>
                </a:cubicBezTo>
                <a:cubicBezTo>
                  <a:pt x="412" y="481"/>
                  <a:pt x="412" y="481"/>
                  <a:pt x="412" y="481"/>
                </a:cubicBezTo>
                <a:cubicBezTo>
                  <a:pt x="412" y="479"/>
                  <a:pt x="412" y="479"/>
                  <a:pt x="412" y="479"/>
                </a:cubicBezTo>
                <a:cubicBezTo>
                  <a:pt x="411" y="478"/>
                  <a:pt x="411" y="478"/>
                  <a:pt x="411" y="478"/>
                </a:cubicBezTo>
                <a:cubicBezTo>
                  <a:pt x="412" y="478"/>
                  <a:pt x="412" y="478"/>
                  <a:pt x="412" y="478"/>
                </a:cubicBezTo>
                <a:cubicBezTo>
                  <a:pt x="413" y="477"/>
                  <a:pt x="413" y="477"/>
                  <a:pt x="413" y="477"/>
                </a:cubicBezTo>
                <a:cubicBezTo>
                  <a:pt x="415" y="475"/>
                  <a:pt x="415" y="475"/>
                  <a:pt x="415" y="475"/>
                </a:cubicBezTo>
                <a:cubicBezTo>
                  <a:pt x="415" y="474"/>
                  <a:pt x="415" y="474"/>
                  <a:pt x="415" y="474"/>
                </a:cubicBezTo>
                <a:cubicBezTo>
                  <a:pt x="416" y="473"/>
                  <a:pt x="416" y="473"/>
                  <a:pt x="416" y="473"/>
                </a:cubicBezTo>
                <a:cubicBezTo>
                  <a:pt x="417" y="471"/>
                  <a:pt x="417" y="471"/>
                  <a:pt x="417" y="471"/>
                </a:cubicBezTo>
                <a:cubicBezTo>
                  <a:pt x="418" y="470"/>
                  <a:pt x="418" y="470"/>
                  <a:pt x="418" y="470"/>
                </a:cubicBezTo>
                <a:cubicBezTo>
                  <a:pt x="419" y="470"/>
                  <a:pt x="419" y="470"/>
                  <a:pt x="419" y="470"/>
                </a:cubicBezTo>
                <a:cubicBezTo>
                  <a:pt x="419" y="471"/>
                  <a:pt x="419" y="471"/>
                  <a:pt x="419" y="471"/>
                </a:cubicBezTo>
                <a:cubicBezTo>
                  <a:pt x="418" y="472"/>
                  <a:pt x="418" y="472"/>
                  <a:pt x="418" y="472"/>
                </a:cubicBezTo>
                <a:cubicBezTo>
                  <a:pt x="419" y="472"/>
                  <a:pt x="419" y="472"/>
                  <a:pt x="419" y="472"/>
                </a:cubicBezTo>
                <a:cubicBezTo>
                  <a:pt x="419" y="473"/>
                  <a:pt x="419" y="473"/>
                  <a:pt x="419" y="473"/>
                </a:cubicBezTo>
                <a:cubicBezTo>
                  <a:pt x="418" y="475"/>
                  <a:pt x="418" y="475"/>
                  <a:pt x="418" y="475"/>
                </a:cubicBezTo>
                <a:cubicBezTo>
                  <a:pt x="417" y="476"/>
                  <a:pt x="417" y="476"/>
                  <a:pt x="417" y="476"/>
                </a:cubicBezTo>
                <a:cubicBezTo>
                  <a:pt x="419" y="476"/>
                  <a:pt x="419" y="476"/>
                  <a:pt x="419" y="476"/>
                </a:cubicBezTo>
                <a:cubicBezTo>
                  <a:pt x="419" y="477"/>
                  <a:pt x="419" y="477"/>
                  <a:pt x="419" y="477"/>
                </a:cubicBezTo>
                <a:cubicBezTo>
                  <a:pt x="419" y="478"/>
                  <a:pt x="419" y="478"/>
                  <a:pt x="419" y="478"/>
                </a:cubicBezTo>
                <a:cubicBezTo>
                  <a:pt x="419" y="478"/>
                  <a:pt x="419" y="478"/>
                  <a:pt x="419" y="478"/>
                </a:cubicBezTo>
                <a:cubicBezTo>
                  <a:pt x="420" y="478"/>
                  <a:pt x="420" y="478"/>
                  <a:pt x="420" y="478"/>
                </a:cubicBezTo>
                <a:cubicBezTo>
                  <a:pt x="420" y="477"/>
                  <a:pt x="420" y="477"/>
                  <a:pt x="420" y="477"/>
                </a:cubicBezTo>
                <a:cubicBezTo>
                  <a:pt x="420" y="477"/>
                  <a:pt x="420" y="477"/>
                  <a:pt x="420" y="477"/>
                </a:cubicBezTo>
                <a:cubicBezTo>
                  <a:pt x="422" y="477"/>
                  <a:pt x="422" y="477"/>
                  <a:pt x="422" y="477"/>
                </a:cubicBezTo>
                <a:cubicBezTo>
                  <a:pt x="422" y="479"/>
                  <a:pt x="422" y="479"/>
                  <a:pt x="422" y="479"/>
                </a:cubicBezTo>
                <a:cubicBezTo>
                  <a:pt x="422" y="479"/>
                  <a:pt x="422" y="479"/>
                  <a:pt x="422" y="479"/>
                </a:cubicBezTo>
                <a:cubicBezTo>
                  <a:pt x="421" y="480"/>
                  <a:pt x="421" y="480"/>
                  <a:pt x="421" y="480"/>
                </a:cubicBezTo>
                <a:cubicBezTo>
                  <a:pt x="420" y="480"/>
                  <a:pt x="420" y="480"/>
                  <a:pt x="420" y="480"/>
                </a:cubicBezTo>
                <a:cubicBezTo>
                  <a:pt x="419" y="480"/>
                  <a:pt x="419" y="480"/>
                  <a:pt x="419" y="480"/>
                </a:cubicBezTo>
                <a:cubicBezTo>
                  <a:pt x="417" y="482"/>
                  <a:pt x="417" y="482"/>
                  <a:pt x="417" y="482"/>
                </a:cubicBezTo>
                <a:cubicBezTo>
                  <a:pt x="416" y="482"/>
                  <a:pt x="416" y="482"/>
                  <a:pt x="416" y="482"/>
                </a:cubicBezTo>
                <a:cubicBezTo>
                  <a:pt x="415" y="481"/>
                  <a:pt x="415" y="481"/>
                  <a:pt x="415" y="481"/>
                </a:cubicBezTo>
                <a:cubicBezTo>
                  <a:pt x="415" y="481"/>
                  <a:pt x="415" y="481"/>
                  <a:pt x="415" y="481"/>
                </a:cubicBezTo>
                <a:cubicBezTo>
                  <a:pt x="414" y="482"/>
                  <a:pt x="414" y="482"/>
                  <a:pt x="414" y="482"/>
                </a:cubicBezTo>
                <a:cubicBezTo>
                  <a:pt x="414" y="483"/>
                  <a:pt x="414" y="483"/>
                  <a:pt x="414" y="483"/>
                </a:cubicBezTo>
                <a:close/>
                <a:moveTo>
                  <a:pt x="317" y="407"/>
                </a:moveTo>
                <a:cubicBezTo>
                  <a:pt x="317" y="408"/>
                  <a:pt x="317" y="408"/>
                  <a:pt x="317" y="408"/>
                </a:cubicBezTo>
                <a:cubicBezTo>
                  <a:pt x="317" y="409"/>
                  <a:pt x="317" y="409"/>
                  <a:pt x="317" y="409"/>
                </a:cubicBezTo>
                <a:cubicBezTo>
                  <a:pt x="318" y="408"/>
                  <a:pt x="318" y="408"/>
                  <a:pt x="318" y="408"/>
                </a:cubicBezTo>
                <a:cubicBezTo>
                  <a:pt x="318" y="407"/>
                  <a:pt x="318" y="407"/>
                  <a:pt x="318" y="407"/>
                </a:cubicBezTo>
                <a:cubicBezTo>
                  <a:pt x="317" y="407"/>
                  <a:pt x="317" y="407"/>
                  <a:pt x="317" y="407"/>
                </a:cubicBezTo>
                <a:cubicBezTo>
                  <a:pt x="317" y="407"/>
                  <a:pt x="317" y="407"/>
                  <a:pt x="317" y="407"/>
                </a:cubicBezTo>
                <a:close/>
                <a:moveTo>
                  <a:pt x="317" y="421"/>
                </a:moveTo>
                <a:cubicBezTo>
                  <a:pt x="317" y="420"/>
                  <a:pt x="317" y="420"/>
                  <a:pt x="317" y="420"/>
                </a:cubicBezTo>
                <a:cubicBezTo>
                  <a:pt x="318" y="420"/>
                  <a:pt x="318" y="420"/>
                  <a:pt x="318" y="420"/>
                </a:cubicBezTo>
                <a:cubicBezTo>
                  <a:pt x="318" y="419"/>
                  <a:pt x="318" y="419"/>
                  <a:pt x="318" y="419"/>
                </a:cubicBezTo>
                <a:cubicBezTo>
                  <a:pt x="319" y="420"/>
                  <a:pt x="319" y="420"/>
                  <a:pt x="319" y="420"/>
                </a:cubicBezTo>
                <a:cubicBezTo>
                  <a:pt x="317" y="421"/>
                  <a:pt x="317" y="421"/>
                  <a:pt x="317" y="421"/>
                </a:cubicBezTo>
                <a:cubicBezTo>
                  <a:pt x="317" y="421"/>
                  <a:pt x="317" y="421"/>
                  <a:pt x="317" y="421"/>
                </a:cubicBezTo>
                <a:close/>
                <a:moveTo>
                  <a:pt x="305" y="411"/>
                </a:moveTo>
                <a:cubicBezTo>
                  <a:pt x="306" y="410"/>
                  <a:pt x="306" y="410"/>
                  <a:pt x="306" y="410"/>
                </a:cubicBezTo>
                <a:cubicBezTo>
                  <a:pt x="307" y="410"/>
                  <a:pt x="307" y="410"/>
                  <a:pt x="307" y="410"/>
                </a:cubicBezTo>
                <a:cubicBezTo>
                  <a:pt x="307" y="409"/>
                  <a:pt x="307" y="409"/>
                  <a:pt x="307" y="409"/>
                </a:cubicBezTo>
                <a:cubicBezTo>
                  <a:pt x="308" y="408"/>
                  <a:pt x="308" y="408"/>
                  <a:pt x="308" y="408"/>
                </a:cubicBezTo>
                <a:cubicBezTo>
                  <a:pt x="309" y="408"/>
                  <a:pt x="309" y="408"/>
                  <a:pt x="309" y="408"/>
                </a:cubicBezTo>
                <a:cubicBezTo>
                  <a:pt x="309" y="409"/>
                  <a:pt x="309" y="409"/>
                  <a:pt x="309" y="409"/>
                </a:cubicBezTo>
                <a:cubicBezTo>
                  <a:pt x="311" y="409"/>
                  <a:pt x="311" y="409"/>
                  <a:pt x="311" y="409"/>
                </a:cubicBezTo>
                <a:cubicBezTo>
                  <a:pt x="312" y="410"/>
                  <a:pt x="312" y="410"/>
                  <a:pt x="312" y="410"/>
                </a:cubicBezTo>
                <a:cubicBezTo>
                  <a:pt x="312" y="411"/>
                  <a:pt x="312" y="411"/>
                  <a:pt x="312" y="411"/>
                </a:cubicBezTo>
                <a:cubicBezTo>
                  <a:pt x="313" y="412"/>
                  <a:pt x="313" y="412"/>
                  <a:pt x="313" y="412"/>
                </a:cubicBezTo>
                <a:cubicBezTo>
                  <a:pt x="312" y="413"/>
                  <a:pt x="312" y="413"/>
                  <a:pt x="312" y="413"/>
                </a:cubicBezTo>
                <a:cubicBezTo>
                  <a:pt x="309" y="412"/>
                  <a:pt x="309" y="412"/>
                  <a:pt x="309" y="412"/>
                </a:cubicBezTo>
                <a:cubicBezTo>
                  <a:pt x="308" y="412"/>
                  <a:pt x="308" y="412"/>
                  <a:pt x="308" y="412"/>
                </a:cubicBezTo>
                <a:cubicBezTo>
                  <a:pt x="307" y="411"/>
                  <a:pt x="307" y="411"/>
                  <a:pt x="307" y="411"/>
                </a:cubicBezTo>
                <a:cubicBezTo>
                  <a:pt x="307" y="412"/>
                  <a:pt x="307" y="412"/>
                  <a:pt x="307" y="412"/>
                </a:cubicBezTo>
                <a:cubicBezTo>
                  <a:pt x="307" y="413"/>
                  <a:pt x="307" y="413"/>
                  <a:pt x="307" y="413"/>
                </a:cubicBezTo>
                <a:cubicBezTo>
                  <a:pt x="307" y="412"/>
                  <a:pt x="307" y="412"/>
                  <a:pt x="307" y="412"/>
                </a:cubicBezTo>
                <a:cubicBezTo>
                  <a:pt x="306" y="411"/>
                  <a:pt x="306" y="411"/>
                  <a:pt x="306" y="411"/>
                </a:cubicBezTo>
                <a:cubicBezTo>
                  <a:pt x="305" y="412"/>
                  <a:pt x="305" y="412"/>
                  <a:pt x="305" y="412"/>
                </a:cubicBezTo>
                <a:cubicBezTo>
                  <a:pt x="305" y="411"/>
                  <a:pt x="305" y="411"/>
                  <a:pt x="305" y="411"/>
                </a:cubicBezTo>
                <a:close/>
                <a:moveTo>
                  <a:pt x="48" y="416"/>
                </a:moveTo>
                <a:cubicBezTo>
                  <a:pt x="49" y="417"/>
                  <a:pt x="49" y="417"/>
                  <a:pt x="49" y="417"/>
                </a:cubicBezTo>
                <a:cubicBezTo>
                  <a:pt x="51" y="419"/>
                  <a:pt x="51" y="419"/>
                  <a:pt x="51" y="419"/>
                </a:cubicBezTo>
                <a:cubicBezTo>
                  <a:pt x="50" y="419"/>
                  <a:pt x="50" y="419"/>
                  <a:pt x="50" y="419"/>
                </a:cubicBezTo>
                <a:cubicBezTo>
                  <a:pt x="48" y="418"/>
                  <a:pt x="48" y="418"/>
                  <a:pt x="48" y="418"/>
                </a:cubicBezTo>
                <a:cubicBezTo>
                  <a:pt x="48" y="416"/>
                  <a:pt x="48" y="416"/>
                  <a:pt x="48" y="416"/>
                </a:cubicBezTo>
                <a:close/>
                <a:moveTo>
                  <a:pt x="46" y="413"/>
                </a:moveTo>
                <a:cubicBezTo>
                  <a:pt x="45" y="411"/>
                  <a:pt x="45" y="411"/>
                  <a:pt x="45" y="411"/>
                </a:cubicBezTo>
                <a:cubicBezTo>
                  <a:pt x="46" y="411"/>
                  <a:pt x="46" y="411"/>
                  <a:pt x="46" y="411"/>
                </a:cubicBezTo>
                <a:cubicBezTo>
                  <a:pt x="46" y="413"/>
                  <a:pt x="46" y="413"/>
                  <a:pt x="46" y="413"/>
                </a:cubicBezTo>
                <a:close/>
                <a:moveTo>
                  <a:pt x="39" y="407"/>
                </a:moveTo>
                <a:cubicBezTo>
                  <a:pt x="41" y="408"/>
                  <a:pt x="41" y="408"/>
                  <a:pt x="41" y="408"/>
                </a:cubicBezTo>
                <a:cubicBezTo>
                  <a:pt x="41" y="407"/>
                  <a:pt x="41" y="407"/>
                  <a:pt x="41" y="407"/>
                </a:cubicBezTo>
                <a:cubicBezTo>
                  <a:pt x="39" y="407"/>
                  <a:pt x="39" y="407"/>
                  <a:pt x="39" y="407"/>
                </a:cubicBezTo>
                <a:close/>
                <a:moveTo>
                  <a:pt x="28" y="403"/>
                </a:moveTo>
                <a:cubicBezTo>
                  <a:pt x="29" y="404"/>
                  <a:pt x="29" y="404"/>
                  <a:pt x="29" y="404"/>
                </a:cubicBezTo>
                <a:cubicBezTo>
                  <a:pt x="29" y="405"/>
                  <a:pt x="29" y="405"/>
                  <a:pt x="29" y="405"/>
                </a:cubicBezTo>
                <a:cubicBezTo>
                  <a:pt x="30" y="406"/>
                  <a:pt x="30" y="406"/>
                  <a:pt x="30" y="406"/>
                </a:cubicBezTo>
                <a:cubicBezTo>
                  <a:pt x="33" y="406"/>
                  <a:pt x="33" y="406"/>
                  <a:pt x="33" y="406"/>
                </a:cubicBezTo>
                <a:cubicBezTo>
                  <a:pt x="32" y="407"/>
                  <a:pt x="32" y="407"/>
                  <a:pt x="32" y="407"/>
                </a:cubicBezTo>
                <a:cubicBezTo>
                  <a:pt x="30" y="407"/>
                  <a:pt x="30" y="407"/>
                  <a:pt x="30" y="407"/>
                </a:cubicBezTo>
                <a:cubicBezTo>
                  <a:pt x="29" y="408"/>
                  <a:pt x="29" y="408"/>
                  <a:pt x="29" y="408"/>
                </a:cubicBezTo>
                <a:cubicBezTo>
                  <a:pt x="30" y="409"/>
                  <a:pt x="30" y="409"/>
                  <a:pt x="30" y="409"/>
                </a:cubicBezTo>
                <a:cubicBezTo>
                  <a:pt x="29" y="410"/>
                  <a:pt x="29" y="410"/>
                  <a:pt x="29" y="410"/>
                </a:cubicBezTo>
                <a:cubicBezTo>
                  <a:pt x="30" y="411"/>
                  <a:pt x="30" y="411"/>
                  <a:pt x="30" y="411"/>
                </a:cubicBezTo>
                <a:cubicBezTo>
                  <a:pt x="31" y="410"/>
                  <a:pt x="31" y="410"/>
                  <a:pt x="31" y="410"/>
                </a:cubicBezTo>
                <a:cubicBezTo>
                  <a:pt x="31" y="411"/>
                  <a:pt x="31" y="411"/>
                  <a:pt x="31" y="411"/>
                </a:cubicBezTo>
                <a:cubicBezTo>
                  <a:pt x="33" y="411"/>
                  <a:pt x="33" y="411"/>
                  <a:pt x="33" y="411"/>
                </a:cubicBezTo>
                <a:cubicBezTo>
                  <a:pt x="33" y="413"/>
                  <a:pt x="33" y="413"/>
                  <a:pt x="33" y="413"/>
                </a:cubicBezTo>
                <a:cubicBezTo>
                  <a:pt x="34" y="413"/>
                  <a:pt x="34" y="413"/>
                  <a:pt x="34" y="413"/>
                </a:cubicBezTo>
                <a:cubicBezTo>
                  <a:pt x="35" y="413"/>
                  <a:pt x="35" y="413"/>
                  <a:pt x="35" y="413"/>
                </a:cubicBezTo>
                <a:cubicBezTo>
                  <a:pt x="34" y="415"/>
                  <a:pt x="34" y="415"/>
                  <a:pt x="34" y="415"/>
                </a:cubicBezTo>
                <a:cubicBezTo>
                  <a:pt x="34" y="416"/>
                  <a:pt x="34" y="416"/>
                  <a:pt x="34" y="416"/>
                </a:cubicBezTo>
                <a:cubicBezTo>
                  <a:pt x="35" y="416"/>
                  <a:pt x="35" y="416"/>
                  <a:pt x="35" y="416"/>
                </a:cubicBezTo>
                <a:cubicBezTo>
                  <a:pt x="35" y="415"/>
                  <a:pt x="35" y="415"/>
                  <a:pt x="35" y="415"/>
                </a:cubicBezTo>
                <a:cubicBezTo>
                  <a:pt x="37" y="414"/>
                  <a:pt x="37" y="414"/>
                  <a:pt x="37" y="414"/>
                </a:cubicBezTo>
                <a:cubicBezTo>
                  <a:pt x="37" y="416"/>
                  <a:pt x="37" y="416"/>
                  <a:pt x="37" y="416"/>
                </a:cubicBezTo>
                <a:cubicBezTo>
                  <a:pt x="36" y="417"/>
                  <a:pt x="36" y="417"/>
                  <a:pt x="36" y="417"/>
                </a:cubicBezTo>
                <a:cubicBezTo>
                  <a:pt x="36" y="418"/>
                  <a:pt x="36" y="418"/>
                  <a:pt x="36" y="418"/>
                </a:cubicBezTo>
                <a:cubicBezTo>
                  <a:pt x="36" y="418"/>
                  <a:pt x="36" y="418"/>
                  <a:pt x="36" y="418"/>
                </a:cubicBezTo>
                <a:cubicBezTo>
                  <a:pt x="37" y="419"/>
                  <a:pt x="37" y="419"/>
                  <a:pt x="37" y="419"/>
                </a:cubicBezTo>
                <a:cubicBezTo>
                  <a:pt x="39" y="419"/>
                  <a:pt x="39" y="419"/>
                  <a:pt x="39" y="419"/>
                </a:cubicBezTo>
                <a:cubicBezTo>
                  <a:pt x="39" y="420"/>
                  <a:pt x="39" y="420"/>
                  <a:pt x="39" y="420"/>
                </a:cubicBezTo>
                <a:cubicBezTo>
                  <a:pt x="40" y="420"/>
                  <a:pt x="40" y="420"/>
                  <a:pt x="40" y="420"/>
                </a:cubicBezTo>
                <a:cubicBezTo>
                  <a:pt x="40" y="421"/>
                  <a:pt x="40" y="421"/>
                  <a:pt x="40" y="421"/>
                </a:cubicBezTo>
                <a:cubicBezTo>
                  <a:pt x="40" y="422"/>
                  <a:pt x="40" y="422"/>
                  <a:pt x="40" y="422"/>
                </a:cubicBezTo>
                <a:cubicBezTo>
                  <a:pt x="41" y="424"/>
                  <a:pt x="41" y="424"/>
                  <a:pt x="41" y="424"/>
                </a:cubicBezTo>
                <a:cubicBezTo>
                  <a:pt x="42" y="423"/>
                  <a:pt x="42" y="423"/>
                  <a:pt x="42" y="423"/>
                </a:cubicBezTo>
                <a:cubicBezTo>
                  <a:pt x="43" y="423"/>
                  <a:pt x="43" y="423"/>
                  <a:pt x="43" y="423"/>
                </a:cubicBezTo>
                <a:cubicBezTo>
                  <a:pt x="44" y="423"/>
                  <a:pt x="44" y="423"/>
                  <a:pt x="44" y="423"/>
                </a:cubicBezTo>
                <a:cubicBezTo>
                  <a:pt x="42" y="425"/>
                  <a:pt x="42" y="425"/>
                  <a:pt x="42" y="425"/>
                </a:cubicBezTo>
                <a:cubicBezTo>
                  <a:pt x="44" y="428"/>
                  <a:pt x="44" y="428"/>
                  <a:pt x="44" y="428"/>
                </a:cubicBezTo>
                <a:cubicBezTo>
                  <a:pt x="45" y="428"/>
                  <a:pt x="45" y="428"/>
                  <a:pt x="45" y="428"/>
                </a:cubicBezTo>
                <a:cubicBezTo>
                  <a:pt x="46" y="429"/>
                  <a:pt x="46" y="429"/>
                  <a:pt x="46" y="429"/>
                </a:cubicBezTo>
                <a:cubicBezTo>
                  <a:pt x="49" y="431"/>
                  <a:pt x="49" y="431"/>
                  <a:pt x="49" y="431"/>
                </a:cubicBezTo>
                <a:cubicBezTo>
                  <a:pt x="50" y="431"/>
                  <a:pt x="50" y="431"/>
                  <a:pt x="50" y="431"/>
                </a:cubicBezTo>
                <a:cubicBezTo>
                  <a:pt x="51" y="431"/>
                  <a:pt x="51" y="431"/>
                  <a:pt x="51" y="431"/>
                </a:cubicBezTo>
                <a:cubicBezTo>
                  <a:pt x="50" y="427"/>
                  <a:pt x="50" y="427"/>
                  <a:pt x="50" y="427"/>
                </a:cubicBezTo>
                <a:cubicBezTo>
                  <a:pt x="51" y="426"/>
                  <a:pt x="51" y="426"/>
                  <a:pt x="51" y="426"/>
                </a:cubicBezTo>
                <a:cubicBezTo>
                  <a:pt x="50" y="425"/>
                  <a:pt x="50" y="425"/>
                  <a:pt x="50" y="425"/>
                </a:cubicBezTo>
                <a:cubicBezTo>
                  <a:pt x="50" y="422"/>
                  <a:pt x="50" y="422"/>
                  <a:pt x="50" y="422"/>
                </a:cubicBezTo>
                <a:cubicBezTo>
                  <a:pt x="49" y="421"/>
                  <a:pt x="49" y="421"/>
                  <a:pt x="49" y="421"/>
                </a:cubicBezTo>
                <a:cubicBezTo>
                  <a:pt x="47" y="419"/>
                  <a:pt x="47" y="419"/>
                  <a:pt x="47" y="419"/>
                </a:cubicBezTo>
                <a:cubicBezTo>
                  <a:pt x="46" y="415"/>
                  <a:pt x="46" y="415"/>
                  <a:pt x="46" y="415"/>
                </a:cubicBezTo>
                <a:cubicBezTo>
                  <a:pt x="45" y="413"/>
                  <a:pt x="45" y="413"/>
                  <a:pt x="45" y="413"/>
                </a:cubicBezTo>
                <a:cubicBezTo>
                  <a:pt x="45" y="411"/>
                  <a:pt x="45" y="411"/>
                  <a:pt x="45" y="411"/>
                </a:cubicBezTo>
                <a:cubicBezTo>
                  <a:pt x="44" y="410"/>
                  <a:pt x="44" y="410"/>
                  <a:pt x="44" y="410"/>
                </a:cubicBezTo>
                <a:cubicBezTo>
                  <a:pt x="43" y="410"/>
                  <a:pt x="43" y="410"/>
                  <a:pt x="43" y="410"/>
                </a:cubicBezTo>
                <a:cubicBezTo>
                  <a:pt x="41" y="409"/>
                  <a:pt x="41" y="409"/>
                  <a:pt x="41" y="409"/>
                </a:cubicBezTo>
                <a:cubicBezTo>
                  <a:pt x="39" y="409"/>
                  <a:pt x="39" y="409"/>
                  <a:pt x="39" y="409"/>
                </a:cubicBezTo>
                <a:cubicBezTo>
                  <a:pt x="38" y="408"/>
                  <a:pt x="38" y="408"/>
                  <a:pt x="38" y="408"/>
                </a:cubicBezTo>
                <a:cubicBezTo>
                  <a:pt x="37" y="407"/>
                  <a:pt x="37" y="407"/>
                  <a:pt x="37" y="407"/>
                </a:cubicBezTo>
                <a:cubicBezTo>
                  <a:pt x="35" y="406"/>
                  <a:pt x="35" y="406"/>
                  <a:pt x="35" y="406"/>
                </a:cubicBezTo>
                <a:cubicBezTo>
                  <a:pt x="34" y="405"/>
                  <a:pt x="34" y="405"/>
                  <a:pt x="34" y="405"/>
                </a:cubicBezTo>
                <a:cubicBezTo>
                  <a:pt x="34" y="404"/>
                  <a:pt x="34" y="404"/>
                  <a:pt x="34" y="404"/>
                </a:cubicBezTo>
                <a:cubicBezTo>
                  <a:pt x="33" y="404"/>
                  <a:pt x="33" y="404"/>
                  <a:pt x="33" y="404"/>
                </a:cubicBezTo>
                <a:cubicBezTo>
                  <a:pt x="32" y="403"/>
                  <a:pt x="32" y="403"/>
                  <a:pt x="32" y="403"/>
                </a:cubicBezTo>
                <a:cubicBezTo>
                  <a:pt x="31" y="402"/>
                  <a:pt x="31" y="402"/>
                  <a:pt x="31" y="402"/>
                </a:cubicBezTo>
                <a:cubicBezTo>
                  <a:pt x="30" y="403"/>
                  <a:pt x="30" y="403"/>
                  <a:pt x="30" y="403"/>
                </a:cubicBezTo>
                <a:cubicBezTo>
                  <a:pt x="28" y="403"/>
                  <a:pt x="28" y="403"/>
                  <a:pt x="28" y="403"/>
                </a:cubicBezTo>
                <a:close/>
                <a:moveTo>
                  <a:pt x="40" y="405"/>
                </a:moveTo>
                <a:cubicBezTo>
                  <a:pt x="41" y="405"/>
                  <a:pt x="41" y="405"/>
                  <a:pt x="41" y="405"/>
                </a:cubicBezTo>
                <a:cubicBezTo>
                  <a:pt x="41" y="405"/>
                  <a:pt x="41" y="405"/>
                  <a:pt x="41" y="405"/>
                </a:cubicBezTo>
                <a:cubicBezTo>
                  <a:pt x="42" y="405"/>
                  <a:pt x="42" y="405"/>
                  <a:pt x="42" y="405"/>
                </a:cubicBezTo>
                <a:cubicBezTo>
                  <a:pt x="41" y="406"/>
                  <a:pt x="41" y="406"/>
                  <a:pt x="41" y="406"/>
                </a:cubicBezTo>
                <a:cubicBezTo>
                  <a:pt x="40" y="406"/>
                  <a:pt x="40" y="406"/>
                  <a:pt x="40" y="406"/>
                </a:cubicBezTo>
                <a:cubicBezTo>
                  <a:pt x="40" y="405"/>
                  <a:pt x="40" y="405"/>
                  <a:pt x="40" y="405"/>
                </a:cubicBezTo>
                <a:close/>
                <a:moveTo>
                  <a:pt x="39" y="404"/>
                </a:moveTo>
                <a:cubicBezTo>
                  <a:pt x="39" y="404"/>
                  <a:pt x="39" y="404"/>
                  <a:pt x="39" y="404"/>
                </a:cubicBezTo>
                <a:cubicBezTo>
                  <a:pt x="40" y="405"/>
                  <a:pt x="40" y="405"/>
                  <a:pt x="40" y="405"/>
                </a:cubicBezTo>
                <a:cubicBezTo>
                  <a:pt x="39" y="404"/>
                  <a:pt x="39" y="404"/>
                  <a:pt x="39" y="404"/>
                </a:cubicBezTo>
                <a:close/>
                <a:moveTo>
                  <a:pt x="31" y="377"/>
                </a:moveTo>
                <a:cubicBezTo>
                  <a:pt x="31" y="378"/>
                  <a:pt x="31" y="378"/>
                  <a:pt x="31" y="378"/>
                </a:cubicBezTo>
                <a:cubicBezTo>
                  <a:pt x="32" y="378"/>
                  <a:pt x="32" y="378"/>
                  <a:pt x="32" y="378"/>
                </a:cubicBezTo>
                <a:cubicBezTo>
                  <a:pt x="31" y="377"/>
                  <a:pt x="31" y="377"/>
                  <a:pt x="31" y="377"/>
                </a:cubicBezTo>
                <a:close/>
                <a:moveTo>
                  <a:pt x="35" y="390"/>
                </a:moveTo>
                <a:cubicBezTo>
                  <a:pt x="35" y="389"/>
                  <a:pt x="35" y="389"/>
                  <a:pt x="35" y="389"/>
                </a:cubicBezTo>
                <a:cubicBezTo>
                  <a:pt x="35" y="388"/>
                  <a:pt x="35" y="388"/>
                  <a:pt x="35" y="388"/>
                </a:cubicBezTo>
                <a:cubicBezTo>
                  <a:pt x="36" y="389"/>
                  <a:pt x="36" y="389"/>
                  <a:pt x="36" y="389"/>
                </a:cubicBezTo>
                <a:cubicBezTo>
                  <a:pt x="35" y="390"/>
                  <a:pt x="35" y="390"/>
                  <a:pt x="35" y="390"/>
                </a:cubicBezTo>
                <a:cubicBezTo>
                  <a:pt x="35" y="390"/>
                  <a:pt x="35" y="390"/>
                  <a:pt x="35" y="390"/>
                </a:cubicBezTo>
                <a:close/>
                <a:moveTo>
                  <a:pt x="34" y="394"/>
                </a:moveTo>
                <a:cubicBezTo>
                  <a:pt x="34" y="395"/>
                  <a:pt x="34" y="395"/>
                  <a:pt x="34" y="395"/>
                </a:cubicBezTo>
                <a:cubicBezTo>
                  <a:pt x="34" y="396"/>
                  <a:pt x="34" y="396"/>
                  <a:pt x="34" y="396"/>
                </a:cubicBezTo>
                <a:cubicBezTo>
                  <a:pt x="34" y="396"/>
                  <a:pt x="34" y="396"/>
                  <a:pt x="34" y="396"/>
                </a:cubicBezTo>
                <a:cubicBezTo>
                  <a:pt x="35" y="395"/>
                  <a:pt x="35" y="395"/>
                  <a:pt x="35" y="395"/>
                </a:cubicBezTo>
                <a:cubicBezTo>
                  <a:pt x="34" y="394"/>
                  <a:pt x="34" y="394"/>
                  <a:pt x="34" y="394"/>
                </a:cubicBezTo>
                <a:close/>
                <a:moveTo>
                  <a:pt x="35" y="392"/>
                </a:moveTo>
                <a:cubicBezTo>
                  <a:pt x="36" y="391"/>
                  <a:pt x="36" y="391"/>
                  <a:pt x="36" y="391"/>
                </a:cubicBezTo>
                <a:cubicBezTo>
                  <a:pt x="36" y="390"/>
                  <a:pt x="36" y="390"/>
                  <a:pt x="36" y="390"/>
                </a:cubicBezTo>
                <a:cubicBezTo>
                  <a:pt x="34" y="391"/>
                  <a:pt x="34" y="391"/>
                  <a:pt x="34" y="391"/>
                </a:cubicBezTo>
                <a:cubicBezTo>
                  <a:pt x="34" y="392"/>
                  <a:pt x="34" y="392"/>
                  <a:pt x="34" y="392"/>
                </a:cubicBezTo>
                <a:cubicBezTo>
                  <a:pt x="35" y="392"/>
                  <a:pt x="35" y="392"/>
                  <a:pt x="35" y="392"/>
                </a:cubicBezTo>
                <a:cubicBezTo>
                  <a:pt x="35" y="392"/>
                  <a:pt x="35" y="392"/>
                  <a:pt x="35" y="392"/>
                </a:cubicBezTo>
                <a:close/>
                <a:moveTo>
                  <a:pt x="37" y="391"/>
                </a:moveTo>
                <a:cubicBezTo>
                  <a:pt x="38" y="389"/>
                  <a:pt x="38" y="389"/>
                  <a:pt x="38" y="389"/>
                </a:cubicBezTo>
                <a:cubicBezTo>
                  <a:pt x="39" y="389"/>
                  <a:pt x="39" y="389"/>
                  <a:pt x="39" y="389"/>
                </a:cubicBezTo>
                <a:cubicBezTo>
                  <a:pt x="40" y="388"/>
                  <a:pt x="40" y="388"/>
                  <a:pt x="40" y="388"/>
                </a:cubicBezTo>
                <a:cubicBezTo>
                  <a:pt x="42" y="387"/>
                  <a:pt x="42" y="387"/>
                  <a:pt x="42" y="387"/>
                </a:cubicBezTo>
                <a:cubicBezTo>
                  <a:pt x="42" y="388"/>
                  <a:pt x="42" y="388"/>
                  <a:pt x="42" y="388"/>
                </a:cubicBezTo>
                <a:cubicBezTo>
                  <a:pt x="40" y="389"/>
                  <a:pt x="40" y="389"/>
                  <a:pt x="40" y="389"/>
                </a:cubicBezTo>
                <a:cubicBezTo>
                  <a:pt x="39" y="390"/>
                  <a:pt x="39" y="390"/>
                  <a:pt x="39" y="390"/>
                </a:cubicBezTo>
                <a:cubicBezTo>
                  <a:pt x="37" y="391"/>
                  <a:pt x="37" y="391"/>
                  <a:pt x="37" y="391"/>
                </a:cubicBezTo>
                <a:cubicBezTo>
                  <a:pt x="37" y="391"/>
                  <a:pt x="37" y="391"/>
                  <a:pt x="37" y="391"/>
                </a:cubicBezTo>
                <a:close/>
                <a:moveTo>
                  <a:pt x="36" y="384"/>
                </a:moveTo>
                <a:cubicBezTo>
                  <a:pt x="36" y="383"/>
                  <a:pt x="36" y="383"/>
                  <a:pt x="36" y="383"/>
                </a:cubicBezTo>
                <a:cubicBezTo>
                  <a:pt x="36" y="382"/>
                  <a:pt x="36" y="382"/>
                  <a:pt x="36" y="382"/>
                </a:cubicBezTo>
                <a:cubicBezTo>
                  <a:pt x="37" y="383"/>
                  <a:pt x="37" y="383"/>
                  <a:pt x="37" y="383"/>
                </a:cubicBezTo>
                <a:cubicBezTo>
                  <a:pt x="36" y="383"/>
                  <a:pt x="36" y="383"/>
                  <a:pt x="36" y="383"/>
                </a:cubicBezTo>
                <a:cubicBezTo>
                  <a:pt x="36" y="384"/>
                  <a:pt x="36" y="384"/>
                  <a:pt x="36" y="384"/>
                </a:cubicBezTo>
                <a:cubicBezTo>
                  <a:pt x="36" y="384"/>
                  <a:pt x="36" y="384"/>
                  <a:pt x="36" y="384"/>
                </a:cubicBezTo>
                <a:close/>
                <a:moveTo>
                  <a:pt x="33" y="384"/>
                </a:moveTo>
                <a:cubicBezTo>
                  <a:pt x="34" y="385"/>
                  <a:pt x="34" y="385"/>
                  <a:pt x="34" y="385"/>
                </a:cubicBezTo>
                <a:cubicBezTo>
                  <a:pt x="35" y="384"/>
                  <a:pt x="35" y="384"/>
                  <a:pt x="35" y="384"/>
                </a:cubicBezTo>
                <a:cubicBezTo>
                  <a:pt x="35" y="383"/>
                  <a:pt x="35" y="383"/>
                  <a:pt x="35" y="383"/>
                </a:cubicBezTo>
                <a:cubicBezTo>
                  <a:pt x="33" y="384"/>
                  <a:pt x="33" y="384"/>
                  <a:pt x="33" y="384"/>
                </a:cubicBezTo>
                <a:close/>
                <a:moveTo>
                  <a:pt x="31" y="380"/>
                </a:moveTo>
                <a:cubicBezTo>
                  <a:pt x="31" y="382"/>
                  <a:pt x="31" y="382"/>
                  <a:pt x="31" y="382"/>
                </a:cubicBezTo>
                <a:cubicBezTo>
                  <a:pt x="32" y="383"/>
                  <a:pt x="32" y="383"/>
                  <a:pt x="32" y="383"/>
                </a:cubicBezTo>
                <a:cubicBezTo>
                  <a:pt x="32" y="384"/>
                  <a:pt x="32" y="384"/>
                  <a:pt x="32" y="384"/>
                </a:cubicBezTo>
                <a:cubicBezTo>
                  <a:pt x="33" y="383"/>
                  <a:pt x="33" y="383"/>
                  <a:pt x="33" y="383"/>
                </a:cubicBezTo>
                <a:cubicBezTo>
                  <a:pt x="32" y="381"/>
                  <a:pt x="32" y="381"/>
                  <a:pt x="32" y="381"/>
                </a:cubicBezTo>
                <a:cubicBezTo>
                  <a:pt x="31" y="380"/>
                  <a:pt x="31" y="380"/>
                  <a:pt x="31" y="380"/>
                </a:cubicBezTo>
                <a:close/>
                <a:moveTo>
                  <a:pt x="32" y="379"/>
                </a:moveTo>
                <a:cubicBezTo>
                  <a:pt x="33" y="379"/>
                  <a:pt x="33" y="379"/>
                  <a:pt x="33" y="379"/>
                </a:cubicBezTo>
                <a:cubicBezTo>
                  <a:pt x="33" y="380"/>
                  <a:pt x="33" y="380"/>
                  <a:pt x="33" y="380"/>
                </a:cubicBezTo>
                <a:cubicBezTo>
                  <a:pt x="33" y="381"/>
                  <a:pt x="33" y="381"/>
                  <a:pt x="33" y="381"/>
                </a:cubicBezTo>
                <a:cubicBezTo>
                  <a:pt x="34" y="381"/>
                  <a:pt x="34" y="381"/>
                  <a:pt x="34" y="381"/>
                </a:cubicBezTo>
                <a:cubicBezTo>
                  <a:pt x="35" y="380"/>
                  <a:pt x="35" y="380"/>
                  <a:pt x="35" y="380"/>
                </a:cubicBezTo>
                <a:cubicBezTo>
                  <a:pt x="34" y="381"/>
                  <a:pt x="34" y="381"/>
                  <a:pt x="34" y="381"/>
                </a:cubicBezTo>
                <a:cubicBezTo>
                  <a:pt x="35" y="383"/>
                  <a:pt x="35" y="383"/>
                  <a:pt x="35" y="383"/>
                </a:cubicBezTo>
                <a:cubicBezTo>
                  <a:pt x="36" y="381"/>
                  <a:pt x="36" y="381"/>
                  <a:pt x="36" y="381"/>
                </a:cubicBezTo>
                <a:cubicBezTo>
                  <a:pt x="36" y="378"/>
                  <a:pt x="36" y="378"/>
                  <a:pt x="36" y="378"/>
                </a:cubicBezTo>
                <a:cubicBezTo>
                  <a:pt x="35" y="377"/>
                  <a:pt x="35" y="377"/>
                  <a:pt x="35" y="377"/>
                </a:cubicBezTo>
                <a:cubicBezTo>
                  <a:pt x="33" y="378"/>
                  <a:pt x="33" y="378"/>
                  <a:pt x="33" y="378"/>
                </a:cubicBezTo>
                <a:cubicBezTo>
                  <a:pt x="32" y="379"/>
                  <a:pt x="32" y="379"/>
                  <a:pt x="32" y="379"/>
                </a:cubicBezTo>
                <a:close/>
                <a:moveTo>
                  <a:pt x="32" y="376"/>
                </a:moveTo>
                <a:cubicBezTo>
                  <a:pt x="33" y="377"/>
                  <a:pt x="33" y="377"/>
                  <a:pt x="33" y="377"/>
                </a:cubicBezTo>
                <a:cubicBezTo>
                  <a:pt x="33" y="376"/>
                  <a:pt x="33" y="376"/>
                  <a:pt x="33" y="376"/>
                </a:cubicBezTo>
                <a:cubicBezTo>
                  <a:pt x="33" y="376"/>
                  <a:pt x="33" y="376"/>
                  <a:pt x="33" y="376"/>
                </a:cubicBezTo>
                <a:cubicBezTo>
                  <a:pt x="32" y="376"/>
                  <a:pt x="32" y="376"/>
                  <a:pt x="32" y="376"/>
                </a:cubicBezTo>
                <a:close/>
                <a:moveTo>
                  <a:pt x="35" y="374"/>
                </a:moveTo>
                <a:cubicBezTo>
                  <a:pt x="35" y="373"/>
                  <a:pt x="35" y="373"/>
                  <a:pt x="35" y="373"/>
                </a:cubicBezTo>
                <a:cubicBezTo>
                  <a:pt x="36" y="372"/>
                  <a:pt x="36" y="372"/>
                  <a:pt x="36" y="372"/>
                </a:cubicBezTo>
                <a:cubicBezTo>
                  <a:pt x="37" y="372"/>
                  <a:pt x="37" y="372"/>
                  <a:pt x="37" y="372"/>
                </a:cubicBezTo>
                <a:cubicBezTo>
                  <a:pt x="37" y="373"/>
                  <a:pt x="37" y="373"/>
                  <a:pt x="37" y="373"/>
                </a:cubicBezTo>
                <a:cubicBezTo>
                  <a:pt x="35" y="374"/>
                  <a:pt x="35" y="374"/>
                  <a:pt x="35" y="374"/>
                </a:cubicBezTo>
                <a:cubicBezTo>
                  <a:pt x="35" y="374"/>
                  <a:pt x="35" y="374"/>
                  <a:pt x="35" y="374"/>
                </a:cubicBezTo>
                <a:close/>
                <a:moveTo>
                  <a:pt x="27" y="371"/>
                </a:moveTo>
                <a:cubicBezTo>
                  <a:pt x="30" y="374"/>
                  <a:pt x="30" y="374"/>
                  <a:pt x="30" y="374"/>
                </a:cubicBezTo>
                <a:cubicBezTo>
                  <a:pt x="30" y="375"/>
                  <a:pt x="30" y="375"/>
                  <a:pt x="30" y="375"/>
                </a:cubicBezTo>
                <a:cubicBezTo>
                  <a:pt x="30" y="376"/>
                  <a:pt x="30" y="376"/>
                  <a:pt x="30" y="376"/>
                </a:cubicBezTo>
                <a:cubicBezTo>
                  <a:pt x="29" y="376"/>
                  <a:pt x="29" y="376"/>
                  <a:pt x="29" y="376"/>
                </a:cubicBezTo>
                <a:cubicBezTo>
                  <a:pt x="29" y="375"/>
                  <a:pt x="29" y="375"/>
                  <a:pt x="29" y="375"/>
                </a:cubicBezTo>
                <a:cubicBezTo>
                  <a:pt x="27" y="373"/>
                  <a:pt x="27" y="373"/>
                  <a:pt x="27" y="373"/>
                </a:cubicBezTo>
                <a:cubicBezTo>
                  <a:pt x="27" y="371"/>
                  <a:pt x="27" y="371"/>
                  <a:pt x="27" y="371"/>
                </a:cubicBezTo>
                <a:cubicBezTo>
                  <a:pt x="27" y="371"/>
                  <a:pt x="27" y="370"/>
                  <a:pt x="27" y="371"/>
                </a:cubicBezTo>
                <a:close/>
                <a:moveTo>
                  <a:pt x="29" y="369"/>
                </a:moveTo>
                <a:cubicBezTo>
                  <a:pt x="30" y="371"/>
                  <a:pt x="30" y="371"/>
                  <a:pt x="30" y="371"/>
                </a:cubicBezTo>
                <a:cubicBezTo>
                  <a:pt x="30" y="372"/>
                  <a:pt x="30" y="372"/>
                  <a:pt x="30" y="372"/>
                </a:cubicBezTo>
                <a:cubicBezTo>
                  <a:pt x="31" y="374"/>
                  <a:pt x="31" y="374"/>
                  <a:pt x="31" y="374"/>
                </a:cubicBezTo>
                <a:cubicBezTo>
                  <a:pt x="32" y="375"/>
                  <a:pt x="32" y="375"/>
                  <a:pt x="32" y="375"/>
                </a:cubicBezTo>
                <a:cubicBezTo>
                  <a:pt x="32" y="373"/>
                  <a:pt x="32" y="373"/>
                  <a:pt x="32" y="373"/>
                </a:cubicBezTo>
                <a:cubicBezTo>
                  <a:pt x="31" y="371"/>
                  <a:pt x="31" y="371"/>
                  <a:pt x="31" y="371"/>
                </a:cubicBezTo>
                <a:cubicBezTo>
                  <a:pt x="30" y="369"/>
                  <a:pt x="30" y="369"/>
                  <a:pt x="30" y="369"/>
                </a:cubicBezTo>
                <a:cubicBezTo>
                  <a:pt x="30" y="369"/>
                  <a:pt x="30" y="369"/>
                  <a:pt x="30" y="369"/>
                </a:cubicBezTo>
                <a:cubicBezTo>
                  <a:pt x="29" y="369"/>
                  <a:pt x="29" y="369"/>
                  <a:pt x="29" y="369"/>
                </a:cubicBezTo>
                <a:close/>
                <a:moveTo>
                  <a:pt x="27" y="368"/>
                </a:moveTo>
                <a:cubicBezTo>
                  <a:pt x="29" y="368"/>
                  <a:pt x="29" y="368"/>
                  <a:pt x="29" y="368"/>
                </a:cubicBezTo>
                <a:cubicBezTo>
                  <a:pt x="29" y="368"/>
                  <a:pt x="29" y="368"/>
                  <a:pt x="29" y="368"/>
                </a:cubicBezTo>
                <a:cubicBezTo>
                  <a:pt x="30" y="368"/>
                  <a:pt x="30" y="368"/>
                  <a:pt x="30" y="368"/>
                </a:cubicBezTo>
                <a:cubicBezTo>
                  <a:pt x="31" y="367"/>
                  <a:pt x="31" y="367"/>
                  <a:pt x="31" y="367"/>
                </a:cubicBezTo>
                <a:cubicBezTo>
                  <a:pt x="29" y="366"/>
                  <a:pt x="29" y="366"/>
                  <a:pt x="29" y="366"/>
                </a:cubicBezTo>
                <a:cubicBezTo>
                  <a:pt x="28" y="367"/>
                  <a:pt x="28" y="367"/>
                  <a:pt x="28" y="367"/>
                </a:cubicBezTo>
                <a:cubicBezTo>
                  <a:pt x="27" y="368"/>
                  <a:pt x="27" y="368"/>
                  <a:pt x="27" y="368"/>
                </a:cubicBezTo>
                <a:close/>
                <a:moveTo>
                  <a:pt x="14" y="368"/>
                </a:moveTo>
                <a:cubicBezTo>
                  <a:pt x="14" y="366"/>
                  <a:pt x="14" y="366"/>
                  <a:pt x="14" y="366"/>
                </a:cubicBezTo>
                <a:cubicBezTo>
                  <a:pt x="16" y="363"/>
                  <a:pt x="16" y="363"/>
                  <a:pt x="16" y="363"/>
                </a:cubicBezTo>
                <a:cubicBezTo>
                  <a:pt x="18" y="363"/>
                  <a:pt x="18" y="363"/>
                  <a:pt x="18" y="363"/>
                </a:cubicBezTo>
                <a:cubicBezTo>
                  <a:pt x="17" y="365"/>
                  <a:pt x="17" y="365"/>
                  <a:pt x="17" y="365"/>
                </a:cubicBezTo>
                <a:cubicBezTo>
                  <a:pt x="18" y="365"/>
                  <a:pt x="18" y="365"/>
                  <a:pt x="18" y="365"/>
                </a:cubicBezTo>
                <a:cubicBezTo>
                  <a:pt x="19" y="364"/>
                  <a:pt x="19" y="364"/>
                  <a:pt x="19" y="364"/>
                </a:cubicBezTo>
                <a:cubicBezTo>
                  <a:pt x="20" y="364"/>
                  <a:pt x="20" y="364"/>
                  <a:pt x="20" y="364"/>
                </a:cubicBezTo>
                <a:cubicBezTo>
                  <a:pt x="20" y="365"/>
                  <a:pt x="20" y="365"/>
                  <a:pt x="20" y="365"/>
                </a:cubicBezTo>
                <a:cubicBezTo>
                  <a:pt x="20" y="367"/>
                  <a:pt x="20" y="367"/>
                  <a:pt x="20" y="367"/>
                </a:cubicBezTo>
                <a:cubicBezTo>
                  <a:pt x="18" y="368"/>
                  <a:pt x="18" y="368"/>
                  <a:pt x="18" y="368"/>
                </a:cubicBezTo>
                <a:cubicBezTo>
                  <a:pt x="16" y="369"/>
                  <a:pt x="16" y="369"/>
                  <a:pt x="16" y="369"/>
                </a:cubicBezTo>
                <a:cubicBezTo>
                  <a:pt x="17" y="369"/>
                  <a:pt x="17" y="369"/>
                  <a:pt x="17" y="369"/>
                </a:cubicBezTo>
                <a:cubicBezTo>
                  <a:pt x="17" y="370"/>
                  <a:pt x="17" y="370"/>
                  <a:pt x="17" y="370"/>
                </a:cubicBezTo>
                <a:cubicBezTo>
                  <a:pt x="18" y="369"/>
                  <a:pt x="18" y="369"/>
                  <a:pt x="18" y="369"/>
                </a:cubicBezTo>
                <a:cubicBezTo>
                  <a:pt x="19" y="368"/>
                  <a:pt x="19" y="368"/>
                  <a:pt x="19" y="368"/>
                </a:cubicBezTo>
                <a:cubicBezTo>
                  <a:pt x="21" y="366"/>
                  <a:pt x="21" y="366"/>
                  <a:pt x="21" y="366"/>
                </a:cubicBezTo>
                <a:cubicBezTo>
                  <a:pt x="23" y="365"/>
                  <a:pt x="23" y="365"/>
                  <a:pt x="23" y="365"/>
                </a:cubicBezTo>
                <a:cubicBezTo>
                  <a:pt x="23" y="365"/>
                  <a:pt x="23" y="365"/>
                  <a:pt x="23" y="365"/>
                </a:cubicBezTo>
                <a:cubicBezTo>
                  <a:pt x="21" y="367"/>
                  <a:pt x="21" y="367"/>
                  <a:pt x="21" y="367"/>
                </a:cubicBezTo>
                <a:cubicBezTo>
                  <a:pt x="21" y="369"/>
                  <a:pt x="21" y="369"/>
                  <a:pt x="21" y="369"/>
                </a:cubicBezTo>
                <a:cubicBezTo>
                  <a:pt x="19" y="371"/>
                  <a:pt x="19" y="371"/>
                  <a:pt x="19" y="371"/>
                </a:cubicBezTo>
                <a:cubicBezTo>
                  <a:pt x="19" y="373"/>
                  <a:pt x="19" y="373"/>
                  <a:pt x="19" y="373"/>
                </a:cubicBezTo>
                <a:cubicBezTo>
                  <a:pt x="18" y="374"/>
                  <a:pt x="18" y="374"/>
                  <a:pt x="18" y="374"/>
                </a:cubicBezTo>
                <a:cubicBezTo>
                  <a:pt x="17" y="374"/>
                  <a:pt x="17" y="374"/>
                  <a:pt x="17" y="374"/>
                </a:cubicBezTo>
                <a:cubicBezTo>
                  <a:pt x="16" y="375"/>
                  <a:pt x="16" y="375"/>
                  <a:pt x="16" y="375"/>
                </a:cubicBezTo>
                <a:cubicBezTo>
                  <a:pt x="17" y="375"/>
                  <a:pt x="17" y="375"/>
                  <a:pt x="17" y="375"/>
                </a:cubicBezTo>
                <a:cubicBezTo>
                  <a:pt x="18" y="375"/>
                  <a:pt x="18" y="375"/>
                  <a:pt x="18" y="375"/>
                </a:cubicBezTo>
                <a:cubicBezTo>
                  <a:pt x="19" y="375"/>
                  <a:pt x="19" y="375"/>
                  <a:pt x="19" y="375"/>
                </a:cubicBezTo>
                <a:cubicBezTo>
                  <a:pt x="19" y="376"/>
                  <a:pt x="19" y="376"/>
                  <a:pt x="19" y="376"/>
                </a:cubicBezTo>
                <a:cubicBezTo>
                  <a:pt x="18" y="376"/>
                  <a:pt x="18" y="376"/>
                  <a:pt x="18" y="376"/>
                </a:cubicBezTo>
                <a:cubicBezTo>
                  <a:pt x="17" y="378"/>
                  <a:pt x="17" y="378"/>
                  <a:pt x="17" y="378"/>
                </a:cubicBezTo>
                <a:cubicBezTo>
                  <a:pt x="17" y="379"/>
                  <a:pt x="17" y="379"/>
                  <a:pt x="17" y="379"/>
                </a:cubicBezTo>
                <a:cubicBezTo>
                  <a:pt x="17" y="381"/>
                  <a:pt x="17" y="381"/>
                  <a:pt x="17" y="381"/>
                </a:cubicBezTo>
                <a:cubicBezTo>
                  <a:pt x="18" y="383"/>
                  <a:pt x="18" y="383"/>
                  <a:pt x="18" y="383"/>
                </a:cubicBezTo>
                <a:cubicBezTo>
                  <a:pt x="18" y="385"/>
                  <a:pt x="18" y="385"/>
                  <a:pt x="18" y="385"/>
                </a:cubicBezTo>
                <a:cubicBezTo>
                  <a:pt x="19" y="384"/>
                  <a:pt x="19" y="384"/>
                  <a:pt x="19" y="384"/>
                </a:cubicBezTo>
                <a:cubicBezTo>
                  <a:pt x="19" y="385"/>
                  <a:pt x="19" y="385"/>
                  <a:pt x="19" y="385"/>
                </a:cubicBezTo>
                <a:cubicBezTo>
                  <a:pt x="19" y="386"/>
                  <a:pt x="19" y="386"/>
                  <a:pt x="19" y="386"/>
                </a:cubicBezTo>
                <a:cubicBezTo>
                  <a:pt x="17" y="386"/>
                  <a:pt x="17" y="386"/>
                  <a:pt x="17" y="386"/>
                </a:cubicBezTo>
                <a:cubicBezTo>
                  <a:pt x="15" y="382"/>
                  <a:pt x="15" y="382"/>
                  <a:pt x="15" y="382"/>
                </a:cubicBezTo>
                <a:cubicBezTo>
                  <a:pt x="15" y="380"/>
                  <a:pt x="15" y="380"/>
                  <a:pt x="15" y="380"/>
                </a:cubicBezTo>
                <a:cubicBezTo>
                  <a:pt x="15" y="379"/>
                  <a:pt x="15" y="379"/>
                  <a:pt x="15" y="379"/>
                </a:cubicBezTo>
                <a:cubicBezTo>
                  <a:pt x="14" y="379"/>
                  <a:pt x="14" y="379"/>
                  <a:pt x="14" y="379"/>
                </a:cubicBezTo>
                <a:cubicBezTo>
                  <a:pt x="14" y="378"/>
                  <a:pt x="14" y="378"/>
                  <a:pt x="14" y="378"/>
                </a:cubicBezTo>
                <a:cubicBezTo>
                  <a:pt x="14" y="377"/>
                  <a:pt x="14" y="377"/>
                  <a:pt x="14" y="377"/>
                </a:cubicBezTo>
                <a:cubicBezTo>
                  <a:pt x="16" y="377"/>
                  <a:pt x="16" y="377"/>
                  <a:pt x="16" y="377"/>
                </a:cubicBezTo>
                <a:cubicBezTo>
                  <a:pt x="14" y="376"/>
                  <a:pt x="14" y="376"/>
                  <a:pt x="14" y="376"/>
                </a:cubicBezTo>
                <a:cubicBezTo>
                  <a:pt x="14" y="376"/>
                  <a:pt x="14" y="376"/>
                  <a:pt x="14" y="376"/>
                </a:cubicBezTo>
                <a:cubicBezTo>
                  <a:pt x="14" y="374"/>
                  <a:pt x="14" y="374"/>
                  <a:pt x="14" y="374"/>
                </a:cubicBezTo>
                <a:cubicBezTo>
                  <a:pt x="13" y="373"/>
                  <a:pt x="13" y="373"/>
                  <a:pt x="13" y="373"/>
                </a:cubicBezTo>
                <a:cubicBezTo>
                  <a:pt x="14" y="372"/>
                  <a:pt x="14" y="372"/>
                  <a:pt x="14" y="372"/>
                </a:cubicBezTo>
                <a:cubicBezTo>
                  <a:pt x="15" y="373"/>
                  <a:pt x="15" y="373"/>
                  <a:pt x="15" y="373"/>
                </a:cubicBezTo>
                <a:cubicBezTo>
                  <a:pt x="15" y="373"/>
                  <a:pt x="15" y="373"/>
                  <a:pt x="15" y="373"/>
                </a:cubicBezTo>
                <a:cubicBezTo>
                  <a:pt x="15" y="372"/>
                  <a:pt x="15" y="372"/>
                  <a:pt x="15" y="372"/>
                </a:cubicBezTo>
                <a:cubicBezTo>
                  <a:pt x="14" y="371"/>
                  <a:pt x="14" y="371"/>
                  <a:pt x="14" y="371"/>
                </a:cubicBezTo>
                <a:cubicBezTo>
                  <a:pt x="13" y="371"/>
                  <a:pt x="13" y="371"/>
                  <a:pt x="13" y="371"/>
                </a:cubicBezTo>
                <a:cubicBezTo>
                  <a:pt x="13" y="370"/>
                  <a:pt x="13" y="370"/>
                  <a:pt x="13" y="370"/>
                </a:cubicBezTo>
                <a:cubicBezTo>
                  <a:pt x="14" y="368"/>
                  <a:pt x="14" y="368"/>
                  <a:pt x="14" y="368"/>
                </a:cubicBezTo>
                <a:close/>
                <a:moveTo>
                  <a:pt x="29" y="362"/>
                </a:moveTo>
                <a:cubicBezTo>
                  <a:pt x="29" y="361"/>
                  <a:pt x="29" y="361"/>
                  <a:pt x="29" y="361"/>
                </a:cubicBezTo>
                <a:cubicBezTo>
                  <a:pt x="30" y="360"/>
                  <a:pt x="30" y="360"/>
                  <a:pt x="30" y="360"/>
                </a:cubicBezTo>
                <a:cubicBezTo>
                  <a:pt x="30" y="361"/>
                  <a:pt x="30" y="361"/>
                  <a:pt x="30" y="361"/>
                </a:cubicBezTo>
                <a:cubicBezTo>
                  <a:pt x="29" y="362"/>
                  <a:pt x="29" y="362"/>
                  <a:pt x="29" y="362"/>
                </a:cubicBezTo>
                <a:close/>
                <a:moveTo>
                  <a:pt x="157" y="170"/>
                </a:moveTo>
                <a:cubicBezTo>
                  <a:pt x="158" y="171"/>
                  <a:pt x="158" y="171"/>
                  <a:pt x="158" y="171"/>
                </a:cubicBezTo>
                <a:cubicBezTo>
                  <a:pt x="158" y="171"/>
                  <a:pt x="158" y="171"/>
                  <a:pt x="158" y="171"/>
                </a:cubicBezTo>
                <a:cubicBezTo>
                  <a:pt x="158" y="170"/>
                  <a:pt x="158" y="170"/>
                  <a:pt x="158" y="170"/>
                </a:cubicBezTo>
                <a:cubicBezTo>
                  <a:pt x="159" y="170"/>
                  <a:pt x="159" y="170"/>
                  <a:pt x="159" y="170"/>
                </a:cubicBezTo>
                <a:cubicBezTo>
                  <a:pt x="157" y="170"/>
                  <a:pt x="157" y="170"/>
                  <a:pt x="157" y="170"/>
                </a:cubicBezTo>
                <a:cubicBezTo>
                  <a:pt x="157" y="170"/>
                  <a:pt x="157" y="170"/>
                  <a:pt x="157" y="170"/>
                </a:cubicBezTo>
                <a:close/>
                <a:moveTo>
                  <a:pt x="145" y="158"/>
                </a:moveTo>
                <a:cubicBezTo>
                  <a:pt x="146" y="159"/>
                  <a:pt x="146" y="159"/>
                  <a:pt x="146" y="159"/>
                </a:cubicBezTo>
                <a:cubicBezTo>
                  <a:pt x="147" y="158"/>
                  <a:pt x="147" y="158"/>
                  <a:pt x="147" y="158"/>
                </a:cubicBezTo>
                <a:cubicBezTo>
                  <a:pt x="147" y="157"/>
                  <a:pt x="147" y="157"/>
                  <a:pt x="147" y="157"/>
                </a:cubicBezTo>
                <a:cubicBezTo>
                  <a:pt x="145" y="157"/>
                  <a:pt x="145" y="157"/>
                  <a:pt x="145" y="157"/>
                </a:cubicBezTo>
                <a:cubicBezTo>
                  <a:pt x="145" y="158"/>
                  <a:pt x="145" y="158"/>
                  <a:pt x="145" y="158"/>
                </a:cubicBezTo>
                <a:close/>
                <a:moveTo>
                  <a:pt x="101" y="162"/>
                </a:moveTo>
                <a:cubicBezTo>
                  <a:pt x="101" y="162"/>
                  <a:pt x="101" y="162"/>
                  <a:pt x="101" y="162"/>
                </a:cubicBezTo>
                <a:cubicBezTo>
                  <a:pt x="102" y="161"/>
                  <a:pt x="102" y="161"/>
                  <a:pt x="102" y="161"/>
                </a:cubicBezTo>
                <a:cubicBezTo>
                  <a:pt x="101" y="161"/>
                  <a:pt x="101" y="161"/>
                  <a:pt x="101" y="161"/>
                </a:cubicBezTo>
                <a:cubicBezTo>
                  <a:pt x="101" y="161"/>
                  <a:pt x="101" y="162"/>
                  <a:pt x="101" y="162"/>
                </a:cubicBezTo>
                <a:close/>
                <a:moveTo>
                  <a:pt x="100" y="164"/>
                </a:moveTo>
                <a:cubicBezTo>
                  <a:pt x="100" y="164"/>
                  <a:pt x="100" y="164"/>
                  <a:pt x="100" y="164"/>
                </a:cubicBezTo>
                <a:cubicBezTo>
                  <a:pt x="101" y="163"/>
                  <a:pt x="101" y="163"/>
                  <a:pt x="101" y="163"/>
                </a:cubicBezTo>
                <a:cubicBezTo>
                  <a:pt x="101" y="164"/>
                  <a:pt x="101" y="164"/>
                  <a:pt x="101" y="164"/>
                </a:cubicBezTo>
                <a:cubicBezTo>
                  <a:pt x="100" y="164"/>
                  <a:pt x="100" y="164"/>
                  <a:pt x="100" y="164"/>
                </a:cubicBezTo>
                <a:close/>
                <a:moveTo>
                  <a:pt x="98" y="168"/>
                </a:moveTo>
                <a:cubicBezTo>
                  <a:pt x="98" y="170"/>
                  <a:pt x="98" y="170"/>
                  <a:pt x="98" y="170"/>
                </a:cubicBezTo>
                <a:cubicBezTo>
                  <a:pt x="98" y="171"/>
                  <a:pt x="98" y="171"/>
                  <a:pt x="98" y="171"/>
                </a:cubicBezTo>
                <a:cubicBezTo>
                  <a:pt x="98" y="172"/>
                  <a:pt x="98" y="172"/>
                  <a:pt x="98" y="172"/>
                </a:cubicBezTo>
                <a:cubicBezTo>
                  <a:pt x="99" y="172"/>
                  <a:pt x="99" y="172"/>
                  <a:pt x="99" y="172"/>
                </a:cubicBezTo>
                <a:cubicBezTo>
                  <a:pt x="100" y="171"/>
                  <a:pt x="100" y="171"/>
                  <a:pt x="100" y="171"/>
                </a:cubicBezTo>
                <a:cubicBezTo>
                  <a:pt x="101" y="171"/>
                  <a:pt x="101" y="171"/>
                  <a:pt x="101" y="171"/>
                </a:cubicBezTo>
                <a:cubicBezTo>
                  <a:pt x="105" y="168"/>
                  <a:pt x="105" y="168"/>
                  <a:pt x="105" y="168"/>
                </a:cubicBezTo>
                <a:cubicBezTo>
                  <a:pt x="107" y="167"/>
                  <a:pt x="107" y="167"/>
                  <a:pt x="107" y="167"/>
                </a:cubicBezTo>
                <a:cubicBezTo>
                  <a:pt x="108" y="165"/>
                  <a:pt x="108" y="165"/>
                  <a:pt x="108" y="165"/>
                </a:cubicBezTo>
                <a:cubicBezTo>
                  <a:pt x="107" y="166"/>
                  <a:pt x="107" y="166"/>
                  <a:pt x="107" y="166"/>
                </a:cubicBezTo>
                <a:cubicBezTo>
                  <a:pt x="106" y="165"/>
                  <a:pt x="106" y="165"/>
                  <a:pt x="106" y="165"/>
                </a:cubicBezTo>
                <a:cubicBezTo>
                  <a:pt x="106" y="163"/>
                  <a:pt x="106" y="163"/>
                  <a:pt x="106" y="163"/>
                </a:cubicBezTo>
                <a:cubicBezTo>
                  <a:pt x="105" y="163"/>
                  <a:pt x="105" y="163"/>
                  <a:pt x="105" y="163"/>
                </a:cubicBezTo>
                <a:cubicBezTo>
                  <a:pt x="104" y="165"/>
                  <a:pt x="104" y="165"/>
                  <a:pt x="104" y="165"/>
                </a:cubicBezTo>
                <a:cubicBezTo>
                  <a:pt x="103" y="165"/>
                  <a:pt x="103" y="165"/>
                  <a:pt x="103" y="165"/>
                </a:cubicBezTo>
                <a:cubicBezTo>
                  <a:pt x="103" y="166"/>
                  <a:pt x="103" y="166"/>
                  <a:pt x="103" y="166"/>
                </a:cubicBezTo>
                <a:cubicBezTo>
                  <a:pt x="102" y="166"/>
                  <a:pt x="102" y="166"/>
                  <a:pt x="102" y="166"/>
                </a:cubicBezTo>
                <a:cubicBezTo>
                  <a:pt x="102" y="167"/>
                  <a:pt x="102" y="167"/>
                  <a:pt x="102" y="167"/>
                </a:cubicBezTo>
                <a:cubicBezTo>
                  <a:pt x="102" y="168"/>
                  <a:pt x="102" y="168"/>
                  <a:pt x="102" y="168"/>
                </a:cubicBezTo>
                <a:cubicBezTo>
                  <a:pt x="101" y="167"/>
                  <a:pt x="101" y="167"/>
                  <a:pt x="101" y="167"/>
                </a:cubicBezTo>
                <a:cubicBezTo>
                  <a:pt x="101" y="166"/>
                  <a:pt x="101" y="166"/>
                  <a:pt x="101" y="166"/>
                </a:cubicBezTo>
                <a:cubicBezTo>
                  <a:pt x="101" y="165"/>
                  <a:pt x="101" y="165"/>
                  <a:pt x="101" y="165"/>
                </a:cubicBezTo>
                <a:cubicBezTo>
                  <a:pt x="100" y="166"/>
                  <a:pt x="100" y="166"/>
                  <a:pt x="100" y="166"/>
                </a:cubicBezTo>
                <a:cubicBezTo>
                  <a:pt x="99" y="166"/>
                  <a:pt x="99" y="166"/>
                  <a:pt x="99" y="166"/>
                </a:cubicBezTo>
                <a:cubicBezTo>
                  <a:pt x="99" y="167"/>
                  <a:pt x="99" y="167"/>
                  <a:pt x="99" y="167"/>
                </a:cubicBezTo>
                <a:cubicBezTo>
                  <a:pt x="98" y="168"/>
                  <a:pt x="98" y="168"/>
                  <a:pt x="98" y="168"/>
                </a:cubicBezTo>
                <a:close/>
                <a:moveTo>
                  <a:pt x="94" y="172"/>
                </a:moveTo>
                <a:cubicBezTo>
                  <a:pt x="94" y="171"/>
                  <a:pt x="94" y="171"/>
                  <a:pt x="94" y="171"/>
                </a:cubicBezTo>
                <a:cubicBezTo>
                  <a:pt x="94" y="168"/>
                  <a:pt x="94" y="168"/>
                  <a:pt x="94" y="168"/>
                </a:cubicBezTo>
                <a:cubicBezTo>
                  <a:pt x="93" y="169"/>
                  <a:pt x="93" y="169"/>
                  <a:pt x="93" y="169"/>
                </a:cubicBezTo>
                <a:cubicBezTo>
                  <a:pt x="93" y="171"/>
                  <a:pt x="93" y="171"/>
                  <a:pt x="93" y="171"/>
                </a:cubicBezTo>
                <a:cubicBezTo>
                  <a:pt x="92" y="171"/>
                  <a:pt x="92" y="171"/>
                  <a:pt x="92" y="171"/>
                </a:cubicBezTo>
                <a:cubicBezTo>
                  <a:pt x="93" y="171"/>
                  <a:pt x="93" y="171"/>
                  <a:pt x="93" y="171"/>
                </a:cubicBezTo>
                <a:cubicBezTo>
                  <a:pt x="93" y="171"/>
                  <a:pt x="94" y="172"/>
                  <a:pt x="94" y="172"/>
                </a:cubicBezTo>
                <a:close/>
                <a:moveTo>
                  <a:pt x="94" y="173"/>
                </a:moveTo>
                <a:cubicBezTo>
                  <a:pt x="95" y="172"/>
                  <a:pt x="95" y="172"/>
                  <a:pt x="95" y="172"/>
                </a:cubicBezTo>
                <a:cubicBezTo>
                  <a:pt x="95" y="171"/>
                  <a:pt x="95" y="171"/>
                  <a:pt x="95" y="171"/>
                </a:cubicBezTo>
                <a:cubicBezTo>
                  <a:pt x="95" y="170"/>
                  <a:pt x="95" y="170"/>
                  <a:pt x="95" y="170"/>
                </a:cubicBezTo>
                <a:cubicBezTo>
                  <a:pt x="95" y="168"/>
                  <a:pt x="95" y="168"/>
                  <a:pt x="95" y="168"/>
                </a:cubicBezTo>
                <a:cubicBezTo>
                  <a:pt x="95" y="167"/>
                  <a:pt x="95" y="167"/>
                  <a:pt x="95" y="167"/>
                </a:cubicBezTo>
                <a:cubicBezTo>
                  <a:pt x="96" y="167"/>
                  <a:pt x="96" y="167"/>
                  <a:pt x="96" y="167"/>
                </a:cubicBezTo>
                <a:cubicBezTo>
                  <a:pt x="96" y="167"/>
                  <a:pt x="96" y="167"/>
                  <a:pt x="96" y="167"/>
                </a:cubicBezTo>
                <a:cubicBezTo>
                  <a:pt x="97" y="166"/>
                  <a:pt x="97" y="166"/>
                  <a:pt x="97" y="166"/>
                </a:cubicBezTo>
                <a:cubicBezTo>
                  <a:pt x="97" y="168"/>
                  <a:pt x="97" y="168"/>
                  <a:pt x="97" y="168"/>
                </a:cubicBezTo>
                <a:cubicBezTo>
                  <a:pt x="97" y="171"/>
                  <a:pt x="97" y="171"/>
                  <a:pt x="97" y="171"/>
                </a:cubicBezTo>
                <a:cubicBezTo>
                  <a:pt x="97" y="172"/>
                  <a:pt x="97" y="172"/>
                  <a:pt x="97" y="172"/>
                </a:cubicBezTo>
                <a:cubicBezTo>
                  <a:pt x="97" y="173"/>
                  <a:pt x="97" y="173"/>
                  <a:pt x="97" y="173"/>
                </a:cubicBezTo>
                <a:cubicBezTo>
                  <a:pt x="96" y="174"/>
                  <a:pt x="96" y="174"/>
                  <a:pt x="96" y="174"/>
                </a:cubicBezTo>
                <a:cubicBezTo>
                  <a:pt x="94" y="173"/>
                  <a:pt x="94" y="173"/>
                  <a:pt x="94" y="173"/>
                </a:cubicBezTo>
                <a:close/>
                <a:moveTo>
                  <a:pt x="96" y="179"/>
                </a:moveTo>
                <a:cubicBezTo>
                  <a:pt x="97" y="178"/>
                  <a:pt x="97" y="178"/>
                  <a:pt x="97" y="178"/>
                </a:cubicBezTo>
                <a:cubicBezTo>
                  <a:pt x="96" y="176"/>
                  <a:pt x="96" y="176"/>
                  <a:pt x="96" y="176"/>
                </a:cubicBezTo>
                <a:cubicBezTo>
                  <a:pt x="96" y="174"/>
                  <a:pt x="96" y="174"/>
                  <a:pt x="96" y="174"/>
                </a:cubicBezTo>
                <a:cubicBezTo>
                  <a:pt x="95" y="174"/>
                  <a:pt x="95" y="174"/>
                  <a:pt x="95" y="174"/>
                </a:cubicBezTo>
                <a:cubicBezTo>
                  <a:pt x="93" y="172"/>
                  <a:pt x="93" y="172"/>
                  <a:pt x="93" y="172"/>
                </a:cubicBezTo>
                <a:cubicBezTo>
                  <a:pt x="92" y="173"/>
                  <a:pt x="92" y="173"/>
                  <a:pt x="92" y="173"/>
                </a:cubicBezTo>
                <a:cubicBezTo>
                  <a:pt x="92" y="173"/>
                  <a:pt x="92" y="173"/>
                  <a:pt x="92" y="173"/>
                </a:cubicBezTo>
                <a:cubicBezTo>
                  <a:pt x="94" y="175"/>
                  <a:pt x="94" y="175"/>
                  <a:pt x="94" y="175"/>
                </a:cubicBezTo>
                <a:cubicBezTo>
                  <a:pt x="93" y="175"/>
                  <a:pt x="93" y="175"/>
                  <a:pt x="93" y="175"/>
                </a:cubicBezTo>
                <a:cubicBezTo>
                  <a:pt x="93" y="176"/>
                  <a:pt x="93" y="176"/>
                  <a:pt x="93" y="176"/>
                </a:cubicBezTo>
                <a:cubicBezTo>
                  <a:pt x="94" y="177"/>
                  <a:pt x="94" y="177"/>
                  <a:pt x="94" y="177"/>
                </a:cubicBezTo>
                <a:cubicBezTo>
                  <a:pt x="96" y="179"/>
                  <a:pt x="96" y="179"/>
                  <a:pt x="96" y="179"/>
                </a:cubicBezTo>
                <a:close/>
                <a:moveTo>
                  <a:pt x="82" y="156"/>
                </a:moveTo>
                <a:cubicBezTo>
                  <a:pt x="83" y="158"/>
                  <a:pt x="83" y="158"/>
                  <a:pt x="83" y="158"/>
                </a:cubicBezTo>
                <a:cubicBezTo>
                  <a:pt x="84" y="158"/>
                  <a:pt x="84" y="158"/>
                  <a:pt x="84" y="158"/>
                </a:cubicBezTo>
                <a:cubicBezTo>
                  <a:pt x="85" y="158"/>
                  <a:pt x="85" y="158"/>
                  <a:pt x="85" y="158"/>
                </a:cubicBezTo>
                <a:cubicBezTo>
                  <a:pt x="85" y="158"/>
                  <a:pt x="85" y="158"/>
                  <a:pt x="85" y="158"/>
                </a:cubicBezTo>
                <a:cubicBezTo>
                  <a:pt x="84" y="156"/>
                  <a:pt x="84" y="156"/>
                  <a:pt x="84" y="156"/>
                </a:cubicBezTo>
                <a:cubicBezTo>
                  <a:pt x="83" y="156"/>
                  <a:pt x="83" y="156"/>
                  <a:pt x="83" y="156"/>
                </a:cubicBezTo>
                <a:cubicBezTo>
                  <a:pt x="82" y="156"/>
                  <a:pt x="82" y="156"/>
                  <a:pt x="82" y="156"/>
                </a:cubicBezTo>
                <a:close/>
                <a:moveTo>
                  <a:pt x="56" y="425"/>
                </a:moveTo>
                <a:cubicBezTo>
                  <a:pt x="56" y="425"/>
                  <a:pt x="56" y="425"/>
                  <a:pt x="56" y="425"/>
                </a:cubicBezTo>
                <a:cubicBezTo>
                  <a:pt x="55" y="424"/>
                  <a:pt x="55" y="424"/>
                  <a:pt x="55" y="424"/>
                </a:cubicBezTo>
                <a:cubicBezTo>
                  <a:pt x="54" y="422"/>
                  <a:pt x="54" y="422"/>
                  <a:pt x="54" y="422"/>
                </a:cubicBezTo>
                <a:cubicBezTo>
                  <a:pt x="56" y="420"/>
                  <a:pt x="56" y="420"/>
                  <a:pt x="56" y="420"/>
                </a:cubicBezTo>
                <a:cubicBezTo>
                  <a:pt x="56" y="418"/>
                  <a:pt x="56" y="418"/>
                  <a:pt x="56" y="418"/>
                </a:cubicBezTo>
                <a:cubicBezTo>
                  <a:pt x="55" y="419"/>
                  <a:pt x="55" y="419"/>
                  <a:pt x="55" y="419"/>
                </a:cubicBezTo>
                <a:cubicBezTo>
                  <a:pt x="54" y="419"/>
                  <a:pt x="54" y="419"/>
                  <a:pt x="54" y="419"/>
                </a:cubicBezTo>
                <a:cubicBezTo>
                  <a:pt x="52" y="420"/>
                  <a:pt x="52" y="420"/>
                  <a:pt x="52" y="420"/>
                </a:cubicBezTo>
                <a:cubicBezTo>
                  <a:pt x="51" y="419"/>
                  <a:pt x="51" y="419"/>
                  <a:pt x="51" y="419"/>
                </a:cubicBezTo>
                <a:cubicBezTo>
                  <a:pt x="51" y="417"/>
                  <a:pt x="51" y="417"/>
                  <a:pt x="51" y="417"/>
                </a:cubicBezTo>
                <a:cubicBezTo>
                  <a:pt x="52" y="417"/>
                  <a:pt x="52" y="417"/>
                  <a:pt x="52" y="417"/>
                </a:cubicBezTo>
                <a:cubicBezTo>
                  <a:pt x="52" y="418"/>
                  <a:pt x="52" y="418"/>
                  <a:pt x="52" y="418"/>
                </a:cubicBezTo>
                <a:cubicBezTo>
                  <a:pt x="53" y="419"/>
                  <a:pt x="53" y="419"/>
                  <a:pt x="53" y="419"/>
                </a:cubicBezTo>
                <a:cubicBezTo>
                  <a:pt x="53" y="418"/>
                  <a:pt x="53" y="418"/>
                  <a:pt x="53" y="418"/>
                </a:cubicBezTo>
                <a:cubicBezTo>
                  <a:pt x="52" y="417"/>
                  <a:pt x="52" y="417"/>
                  <a:pt x="52" y="417"/>
                </a:cubicBezTo>
                <a:cubicBezTo>
                  <a:pt x="52" y="416"/>
                  <a:pt x="52" y="416"/>
                  <a:pt x="52" y="416"/>
                </a:cubicBezTo>
                <a:cubicBezTo>
                  <a:pt x="51" y="416"/>
                  <a:pt x="51" y="416"/>
                  <a:pt x="51" y="416"/>
                </a:cubicBezTo>
                <a:cubicBezTo>
                  <a:pt x="50" y="416"/>
                  <a:pt x="50" y="416"/>
                  <a:pt x="50" y="416"/>
                </a:cubicBezTo>
                <a:cubicBezTo>
                  <a:pt x="49" y="416"/>
                  <a:pt x="49" y="416"/>
                  <a:pt x="49" y="416"/>
                </a:cubicBezTo>
                <a:cubicBezTo>
                  <a:pt x="48" y="414"/>
                  <a:pt x="48" y="414"/>
                  <a:pt x="48" y="414"/>
                </a:cubicBezTo>
                <a:cubicBezTo>
                  <a:pt x="48" y="413"/>
                  <a:pt x="48" y="413"/>
                  <a:pt x="48" y="413"/>
                </a:cubicBezTo>
                <a:cubicBezTo>
                  <a:pt x="50" y="412"/>
                  <a:pt x="50" y="412"/>
                  <a:pt x="50" y="412"/>
                </a:cubicBezTo>
                <a:cubicBezTo>
                  <a:pt x="50" y="411"/>
                  <a:pt x="50" y="411"/>
                  <a:pt x="50" y="411"/>
                </a:cubicBezTo>
                <a:cubicBezTo>
                  <a:pt x="51" y="410"/>
                  <a:pt x="51" y="410"/>
                  <a:pt x="51" y="410"/>
                </a:cubicBezTo>
                <a:cubicBezTo>
                  <a:pt x="51" y="410"/>
                  <a:pt x="51" y="410"/>
                  <a:pt x="51" y="410"/>
                </a:cubicBezTo>
                <a:cubicBezTo>
                  <a:pt x="50" y="410"/>
                  <a:pt x="50" y="410"/>
                  <a:pt x="50" y="410"/>
                </a:cubicBezTo>
                <a:cubicBezTo>
                  <a:pt x="48" y="410"/>
                  <a:pt x="48" y="410"/>
                  <a:pt x="48" y="410"/>
                </a:cubicBezTo>
                <a:cubicBezTo>
                  <a:pt x="48" y="410"/>
                  <a:pt x="48" y="410"/>
                  <a:pt x="48" y="410"/>
                </a:cubicBezTo>
                <a:cubicBezTo>
                  <a:pt x="49" y="409"/>
                  <a:pt x="49" y="409"/>
                  <a:pt x="49" y="409"/>
                </a:cubicBezTo>
                <a:cubicBezTo>
                  <a:pt x="50" y="407"/>
                  <a:pt x="50" y="407"/>
                  <a:pt x="50" y="407"/>
                </a:cubicBezTo>
                <a:cubicBezTo>
                  <a:pt x="50" y="405"/>
                  <a:pt x="50" y="405"/>
                  <a:pt x="50" y="405"/>
                </a:cubicBezTo>
                <a:cubicBezTo>
                  <a:pt x="50" y="405"/>
                  <a:pt x="50" y="405"/>
                  <a:pt x="50" y="405"/>
                </a:cubicBezTo>
                <a:cubicBezTo>
                  <a:pt x="50" y="404"/>
                  <a:pt x="50" y="404"/>
                  <a:pt x="50" y="404"/>
                </a:cubicBezTo>
                <a:cubicBezTo>
                  <a:pt x="50" y="404"/>
                  <a:pt x="50" y="404"/>
                  <a:pt x="50" y="404"/>
                </a:cubicBezTo>
                <a:cubicBezTo>
                  <a:pt x="49" y="405"/>
                  <a:pt x="49" y="405"/>
                  <a:pt x="49" y="405"/>
                </a:cubicBezTo>
                <a:cubicBezTo>
                  <a:pt x="49" y="407"/>
                  <a:pt x="49" y="407"/>
                  <a:pt x="49" y="407"/>
                </a:cubicBezTo>
                <a:cubicBezTo>
                  <a:pt x="48" y="409"/>
                  <a:pt x="48" y="409"/>
                  <a:pt x="48" y="409"/>
                </a:cubicBezTo>
                <a:cubicBezTo>
                  <a:pt x="47" y="409"/>
                  <a:pt x="47" y="409"/>
                  <a:pt x="47" y="409"/>
                </a:cubicBezTo>
                <a:cubicBezTo>
                  <a:pt x="46" y="409"/>
                  <a:pt x="46" y="409"/>
                  <a:pt x="46" y="409"/>
                </a:cubicBezTo>
                <a:cubicBezTo>
                  <a:pt x="45" y="409"/>
                  <a:pt x="45" y="409"/>
                  <a:pt x="45" y="409"/>
                </a:cubicBezTo>
                <a:cubicBezTo>
                  <a:pt x="45" y="408"/>
                  <a:pt x="45" y="408"/>
                  <a:pt x="45" y="408"/>
                </a:cubicBezTo>
                <a:cubicBezTo>
                  <a:pt x="46" y="407"/>
                  <a:pt x="46" y="407"/>
                  <a:pt x="46" y="407"/>
                </a:cubicBezTo>
                <a:cubicBezTo>
                  <a:pt x="46" y="407"/>
                  <a:pt x="46" y="407"/>
                  <a:pt x="46" y="407"/>
                </a:cubicBezTo>
                <a:cubicBezTo>
                  <a:pt x="45" y="407"/>
                  <a:pt x="45" y="407"/>
                  <a:pt x="45" y="407"/>
                </a:cubicBezTo>
                <a:cubicBezTo>
                  <a:pt x="44" y="408"/>
                  <a:pt x="44" y="408"/>
                  <a:pt x="44" y="408"/>
                </a:cubicBezTo>
                <a:cubicBezTo>
                  <a:pt x="44" y="408"/>
                  <a:pt x="44" y="408"/>
                  <a:pt x="44" y="408"/>
                </a:cubicBezTo>
                <a:cubicBezTo>
                  <a:pt x="44" y="408"/>
                  <a:pt x="44" y="408"/>
                  <a:pt x="44" y="408"/>
                </a:cubicBezTo>
                <a:cubicBezTo>
                  <a:pt x="43" y="408"/>
                  <a:pt x="43" y="408"/>
                  <a:pt x="43" y="408"/>
                </a:cubicBezTo>
                <a:cubicBezTo>
                  <a:pt x="42" y="408"/>
                  <a:pt x="42" y="408"/>
                  <a:pt x="42" y="408"/>
                </a:cubicBezTo>
                <a:cubicBezTo>
                  <a:pt x="41" y="408"/>
                  <a:pt x="41" y="408"/>
                  <a:pt x="41" y="408"/>
                </a:cubicBezTo>
                <a:cubicBezTo>
                  <a:pt x="41" y="407"/>
                  <a:pt x="41" y="407"/>
                  <a:pt x="41" y="407"/>
                </a:cubicBezTo>
                <a:cubicBezTo>
                  <a:pt x="42" y="406"/>
                  <a:pt x="42" y="406"/>
                  <a:pt x="42" y="406"/>
                </a:cubicBezTo>
                <a:cubicBezTo>
                  <a:pt x="43" y="406"/>
                  <a:pt x="43" y="406"/>
                  <a:pt x="43" y="406"/>
                </a:cubicBezTo>
                <a:cubicBezTo>
                  <a:pt x="45" y="406"/>
                  <a:pt x="45" y="406"/>
                  <a:pt x="45" y="406"/>
                </a:cubicBezTo>
                <a:cubicBezTo>
                  <a:pt x="46" y="405"/>
                  <a:pt x="46" y="405"/>
                  <a:pt x="46" y="405"/>
                </a:cubicBezTo>
                <a:cubicBezTo>
                  <a:pt x="47" y="404"/>
                  <a:pt x="47" y="404"/>
                  <a:pt x="47" y="404"/>
                </a:cubicBezTo>
                <a:cubicBezTo>
                  <a:pt x="47" y="402"/>
                  <a:pt x="47" y="402"/>
                  <a:pt x="47" y="402"/>
                </a:cubicBezTo>
                <a:cubicBezTo>
                  <a:pt x="47" y="403"/>
                  <a:pt x="47" y="403"/>
                  <a:pt x="47" y="403"/>
                </a:cubicBezTo>
                <a:cubicBezTo>
                  <a:pt x="46" y="404"/>
                  <a:pt x="46" y="404"/>
                  <a:pt x="46" y="404"/>
                </a:cubicBezTo>
                <a:cubicBezTo>
                  <a:pt x="45" y="405"/>
                  <a:pt x="45" y="405"/>
                  <a:pt x="45" y="405"/>
                </a:cubicBezTo>
                <a:cubicBezTo>
                  <a:pt x="44" y="406"/>
                  <a:pt x="44" y="406"/>
                  <a:pt x="44" y="406"/>
                </a:cubicBezTo>
                <a:cubicBezTo>
                  <a:pt x="42" y="405"/>
                  <a:pt x="42" y="405"/>
                  <a:pt x="42" y="405"/>
                </a:cubicBezTo>
                <a:cubicBezTo>
                  <a:pt x="42" y="404"/>
                  <a:pt x="42" y="404"/>
                  <a:pt x="42" y="404"/>
                </a:cubicBezTo>
                <a:cubicBezTo>
                  <a:pt x="41" y="404"/>
                  <a:pt x="41" y="404"/>
                  <a:pt x="41" y="404"/>
                </a:cubicBezTo>
                <a:cubicBezTo>
                  <a:pt x="41" y="404"/>
                  <a:pt x="41" y="404"/>
                  <a:pt x="41" y="404"/>
                </a:cubicBezTo>
                <a:cubicBezTo>
                  <a:pt x="42" y="403"/>
                  <a:pt x="42" y="403"/>
                  <a:pt x="42" y="403"/>
                </a:cubicBezTo>
                <a:cubicBezTo>
                  <a:pt x="41" y="403"/>
                  <a:pt x="41" y="403"/>
                  <a:pt x="41" y="403"/>
                </a:cubicBezTo>
                <a:cubicBezTo>
                  <a:pt x="40" y="403"/>
                  <a:pt x="40" y="403"/>
                  <a:pt x="40" y="403"/>
                </a:cubicBezTo>
                <a:cubicBezTo>
                  <a:pt x="39" y="403"/>
                  <a:pt x="39" y="403"/>
                  <a:pt x="39" y="403"/>
                </a:cubicBezTo>
                <a:cubicBezTo>
                  <a:pt x="38" y="403"/>
                  <a:pt x="38" y="403"/>
                  <a:pt x="38" y="403"/>
                </a:cubicBezTo>
                <a:cubicBezTo>
                  <a:pt x="38" y="404"/>
                  <a:pt x="38" y="404"/>
                  <a:pt x="38" y="404"/>
                </a:cubicBezTo>
                <a:cubicBezTo>
                  <a:pt x="36" y="403"/>
                  <a:pt x="36" y="403"/>
                  <a:pt x="36" y="403"/>
                </a:cubicBezTo>
                <a:cubicBezTo>
                  <a:pt x="36" y="402"/>
                  <a:pt x="36" y="402"/>
                  <a:pt x="36" y="402"/>
                </a:cubicBezTo>
                <a:cubicBezTo>
                  <a:pt x="36" y="401"/>
                  <a:pt x="36" y="401"/>
                  <a:pt x="36" y="401"/>
                </a:cubicBezTo>
                <a:cubicBezTo>
                  <a:pt x="37" y="402"/>
                  <a:pt x="37" y="402"/>
                  <a:pt x="37" y="402"/>
                </a:cubicBezTo>
                <a:cubicBezTo>
                  <a:pt x="38" y="402"/>
                  <a:pt x="38" y="402"/>
                  <a:pt x="38" y="402"/>
                </a:cubicBezTo>
                <a:cubicBezTo>
                  <a:pt x="40" y="402"/>
                  <a:pt x="40" y="402"/>
                  <a:pt x="40" y="402"/>
                </a:cubicBezTo>
                <a:cubicBezTo>
                  <a:pt x="40" y="401"/>
                  <a:pt x="40" y="401"/>
                  <a:pt x="40" y="401"/>
                </a:cubicBezTo>
                <a:cubicBezTo>
                  <a:pt x="39" y="401"/>
                  <a:pt x="39" y="401"/>
                  <a:pt x="39" y="401"/>
                </a:cubicBezTo>
                <a:cubicBezTo>
                  <a:pt x="38" y="401"/>
                  <a:pt x="38" y="401"/>
                  <a:pt x="38" y="401"/>
                </a:cubicBezTo>
                <a:cubicBezTo>
                  <a:pt x="37" y="401"/>
                  <a:pt x="37" y="401"/>
                  <a:pt x="37" y="401"/>
                </a:cubicBezTo>
                <a:cubicBezTo>
                  <a:pt x="37" y="401"/>
                  <a:pt x="37" y="401"/>
                  <a:pt x="37" y="401"/>
                </a:cubicBezTo>
                <a:cubicBezTo>
                  <a:pt x="39" y="401"/>
                  <a:pt x="39" y="401"/>
                  <a:pt x="39" y="401"/>
                </a:cubicBezTo>
                <a:cubicBezTo>
                  <a:pt x="40" y="401"/>
                  <a:pt x="40" y="401"/>
                  <a:pt x="40" y="401"/>
                </a:cubicBezTo>
                <a:cubicBezTo>
                  <a:pt x="40" y="400"/>
                  <a:pt x="40" y="400"/>
                  <a:pt x="40" y="400"/>
                </a:cubicBezTo>
                <a:cubicBezTo>
                  <a:pt x="38" y="400"/>
                  <a:pt x="38" y="400"/>
                  <a:pt x="38" y="400"/>
                </a:cubicBezTo>
                <a:cubicBezTo>
                  <a:pt x="38" y="400"/>
                  <a:pt x="38" y="400"/>
                  <a:pt x="38" y="400"/>
                </a:cubicBezTo>
                <a:cubicBezTo>
                  <a:pt x="36" y="400"/>
                  <a:pt x="36" y="400"/>
                  <a:pt x="36" y="400"/>
                </a:cubicBezTo>
                <a:cubicBezTo>
                  <a:pt x="35" y="400"/>
                  <a:pt x="35" y="400"/>
                  <a:pt x="35" y="400"/>
                </a:cubicBezTo>
                <a:cubicBezTo>
                  <a:pt x="35" y="399"/>
                  <a:pt x="35" y="399"/>
                  <a:pt x="35" y="399"/>
                </a:cubicBezTo>
                <a:cubicBezTo>
                  <a:pt x="35" y="398"/>
                  <a:pt x="35" y="398"/>
                  <a:pt x="35" y="398"/>
                </a:cubicBezTo>
                <a:cubicBezTo>
                  <a:pt x="36" y="398"/>
                  <a:pt x="36" y="398"/>
                  <a:pt x="36" y="398"/>
                </a:cubicBezTo>
                <a:cubicBezTo>
                  <a:pt x="37" y="399"/>
                  <a:pt x="37" y="399"/>
                  <a:pt x="37" y="399"/>
                </a:cubicBezTo>
                <a:cubicBezTo>
                  <a:pt x="38" y="399"/>
                  <a:pt x="38" y="399"/>
                  <a:pt x="38" y="399"/>
                </a:cubicBezTo>
                <a:cubicBezTo>
                  <a:pt x="39" y="398"/>
                  <a:pt x="39" y="398"/>
                  <a:pt x="39" y="398"/>
                </a:cubicBezTo>
                <a:cubicBezTo>
                  <a:pt x="38" y="398"/>
                  <a:pt x="38" y="398"/>
                  <a:pt x="38" y="398"/>
                </a:cubicBezTo>
                <a:cubicBezTo>
                  <a:pt x="37" y="398"/>
                  <a:pt x="37" y="398"/>
                  <a:pt x="37" y="398"/>
                </a:cubicBezTo>
                <a:cubicBezTo>
                  <a:pt x="35" y="397"/>
                  <a:pt x="35" y="397"/>
                  <a:pt x="35" y="397"/>
                </a:cubicBezTo>
                <a:cubicBezTo>
                  <a:pt x="35" y="397"/>
                  <a:pt x="35" y="397"/>
                  <a:pt x="35" y="397"/>
                </a:cubicBezTo>
                <a:cubicBezTo>
                  <a:pt x="37" y="397"/>
                  <a:pt x="37" y="397"/>
                  <a:pt x="37" y="397"/>
                </a:cubicBezTo>
                <a:cubicBezTo>
                  <a:pt x="38" y="397"/>
                  <a:pt x="38" y="397"/>
                  <a:pt x="38" y="397"/>
                </a:cubicBezTo>
                <a:cubicBezTo>
                  <a:pt x="39" y="397"/>
                  <a:pt x="39" y="397"/>
                  <a:pt x="39" y="397"/>
                </a:cubicBezTo>
                <a:cubicBezTo>
                  <a:pt x="38" y="396"/>
                  <a:pt x="38" y="396"/>
                  <a:pt x="38" y="396"/>
                </a:cubicBezTo>
                <a:cubicBezTo>
                  <a:pt x="38" y="395"/>
                  <a:pt x="38" y="395"/>
                  <a:pt x="38" y="395"/>
                </a:cubicBezTo>
                <a:cubicBezTo>
                  <a:pt x="39" y="395"/>
                  <a:pt x="39" y="395"/>
                  <a:pt x="39" y="395"/>
                </a:cubicBezTo>
                <a:cubicBezTo>
                  <a:pt x="41" y="395"/>
                  <a:pt x="41" y="395"/>
                  <a:pt x="41" y="395"/>
                </a:cubicBezTo>
                <a:cubicBezTo>
                  <a:pt x="42" y="395"/>
                  <a:pt x="42" y="395"/>
                  <a:pt x="42" y="395"/>
                </a:cubicBezTo>
                <a:cubicBezTo>
                  <a:pt x="42" y="395"/>
                  <a:pt x="42" y="395"/>
                  <a:pt x="42" y="395"/>
                </a:cubicBezTo>
                <a:cubicBezTo>
                  <a:pt x="40" y="394"/>
                  <a:pt x="40" y="394"/>
                  <a:pt x="40" y="394"/>
                </a:cubicBezTo>
                <a:cubicBezTo>
                  <a:pt x="40" y="394"/>
                  <a:pt x="40" y="394"/>
                  <a:pt x="40" y="394"/>
                </a:cubicBezTo>
                <a:cubicBezTo>
                  <a:pt x="39" y="394"/>
                  <a:pt x="39" y="394"/>
                  <a:pt x="39" y="394"/>
                </a:cubicBezTo>
                <a:cubicBezTo>
                  <a:pt x="38" y="395"/>
                  <a:pt x="38" y="395"/>
                  <a:pt x="38" y="395"/>
                </a:cubicBezTo>
                <a:cubicBezTo>
                  <a:pt x="37" y="395"/>
                  <a:pt x="37" y="395"/>
                  <a:pt x="37" y="395"/>
                </a:cubicBezTo>
                <a:cubicBezTo>
                  <a:pt x="36" y="396"/>
                  <a:pt x="36" y="396"/>
                  <a:pt x="36" y="396"/>
                </a:cubicBezTo>
                <a:cubicBezTo>
                  <a:pt x="36" y="395"/>
                  <a:pt x="36" y="395"/>
                  <a:pt x="36" y="395"/>
                </a:cubicBezTo>
                <a:cubicBezTo>
                  <a:pt x="36" y="394"/>
                  <a:pt x="36" y="394"/>
                  <a:pt x="36" y="394"/>
                </a:cubicBezTo>
                <a:cubicBezTo>
                  <a:pt x="36" y="394"/>
                  <a:pt x="36" y="394"/>
                  <a:pt x="36" y="394"/>
                </a:cubicBezTo>
                <a:cubicBezTo>
                  <a:pt x="36" y="393"/>
                  <a:pt x="36" y="393"/>
                  <a:pt x="36" y="393"/>
                </a:cubicBezTo>
                <a:cubicBezTo>
                  <a:pt x="38" y="392"/>
                  <a:pt x="38" y="392"/>
                  <a:pt x="38" y="392"/>
                </a:cubicBezTo>
                <a:cubicBezTo>
                  <a:pt x="39" y="391"/>
                  <a:pt x="39" y="391"/>
                  <a:pt x="39" y="391"/>
                </a:cubicBezTo>
                <a:cubicBezTo>
                  <a:pt x="42" y="389"/>
                  <a:pt x="42" y="389"/>
                  <a:pt x="42" y="389"/>
                </a:cubicBezTo>
                <a:cubicBezTo>
                  <a:pt x="42" y="388"/>
                  <a:pt x="42" y="388"/>
                  <a:pt x="42" y="388"/>
                </a:cubicBezTo>
                <a:cubicBezTo>
                  <a:pt x="43" y="389"/>
                  <a:pt x="43" y="389"/>
                  <a:pt x="43" y="389"/>
                </a:cubicBezTo>
                <a:cubicBezTo>
                  <a:pt x="43" y="391"/>
                  <a:pt x="43" y="391"/>
                  <a:pt x="43" y="391"/>
                </a:cubicBezTo>
                <a:cubicBezTo>
                  <a:pt x="44" y="392"/>
                  <a:pt x="44" y="392"/>
                  <a:pt x="44" y="392"/>
                </a:cubicBezTo>
                <a:cubicBezTo>
                  <a:pt x="44" y="391"/>
                  <a:pt x="44" y="391"/>
                  <a:pt x="44" y="391"/>
                </a:cubicBezTo>
                <a:cubicBezTo>
                  <a:pt x="44" y="390"/>
                  <a:pt x="44" y="390"/>
                  <a:pt x="44" y="390"/>
                </a:cubicBezTo>
                <a:cubicBezTo>
                  <a:pt x="44" y="388"/>
                  <a:pt x="44" y="388"/>
                  <a:pt x="44" y="388"/>
                </a:cubicBezTo>
                <a:cubicBezTo>
                  <a:pt x="45" y="388"/>
                  <a:pt x="45" y="388"/>
                  <a:pt x="45" y="388"/>
                </a:cubicBezTo>
                <a:cubicBezTo>
                  <a:pt x="46" y="388"/>
                  <a:pt x="46" y="388"/>
                  <a:pt x="46" y="388"/>
                </a:cubicBezTo>
                <a:cubicBezTo>
                  <a:pt x="45" y="387"/>
                  <a:pt x="45" y="387"/>
                  <a:pt x="45" y="387"/>
                </a:cubicBezTo>
                <a:cubicBezTo>
                  <a:pt x="44" y="387"/>
                  <a:pt x="44" y="387"/>
                  <a:pt x="44" y="387"/>
                </a:cubicBezTo>
                <a:cubicBezTo>
                  <a:pt x="43" y="388"/>
                  <a:pt x="43" y="388"/>
                  <a:pt x="43" y="388"/>
                </a:cubicBezTo>
                <a:cubicBezTo>
                  <a:pt x="42" y="387"/>
                  <a:pt x="42" y="387"/>
                  <a:pt x="42" y="387"/>
                </a:cubicBezTo>
                <a:cubicBezTo>
                  <a:pt x="42" y="386"/>
                  <a:pt x="42" y="386"/>
                  <a:pt x="42" y="386"/>
                </a:cubicBezTo>
                <a:cubicBezTo>
                  <a:pt x="44" y="385"/>
                  <a:pt x="44" y="385"/>
                  <a:pt x="44" y="385"/>
                </a:cubicBezTo>
                <a:cubicBezTo>
                  <a:pt x="45" y="385"/>
                  <a:pt x="45" y="385"/>
                  <a:pt x="45" y="385"/>
                </a:cubicBezTo>
                <a:cubicBezTo>
                  <a:pt x="46" y="383"/>
                  <a:pt x="46" y="383"/>
                  <a:pt x="46" y="383"/>
                </a:cubicBezTo>
                <a:cubicBezTo>
                  <a:pt x="46" y="382"/>
                  <a:pt x="46" y="382"/>
                  <a:pt x="46" y="382"/>
                </a:cubicBezTo>
                <a:cubicBezTo>
                  <a:pt x="45" y="382"/>
                  <a:pt x="45" y="382"/>
                  <a:pt x="45" y="382"/>
                </a:cubicBezTo>
                <a:cubicBezTo>
                  <a:pt x="45" y="383"/>
                  <a:pt x="45" y="383"/>
                  <a:pt x="45" y="383"/>
                </a:cubicBezTo>
                <a:cubicBezTo>
                  <a:pt x="44" y="384"/>
                  <a:pt x="44" y="384"/>
                  <a:pt x="44" y="384"/>
                </a:cubicBezTo>
                <a:cubicBezTo>
                  <a:pt x="43" y="384"/>
                  <a:pt x="43" y="384"/>
                  <a:pt x="43" y="384"/>
                </a:cubicBezTo>
                <a:cubicBezTo>
                  <a:pt x="41" y="386"/>
                  <a:pt x="41" y="386"/>
                  <a:pt x="41" y="386"/>
                </a:cubicBezTo>
                <a:cubicBezTo>
                  <a:pt x="40" y="387"/>
                  <a:pt x="40" y="387"/>
                  <a:pt x="40" y="387"/>
                </a:cubicBezTo>
                <a:cubicBezTo>
                  <a:pt x="38" y="388"/>
                  <a:pt x="38" y="388"/>
                  <a:pt x="38" y="388"/>
                </a:cubicBezTo>
                <a:cubicBezTo>
                  <a:pt x="37" y="387"/>
                  <a:pt x="37" y="387"/>
                  <a:pt x="37" y="387"/>
                </a:cubicBezTo>
                <a:cubicBezTo>
                  <a:pt x="37" y="386"/>
                  <a:pt x="37" y="386"/>
                  <a:pt x="37" y="386"/>
                </a:cubicBezTo>
                <a:cubicBezTo>
                  <a:pt x="38" y="386"/>
                  <a:pt x="38" y="386"/>
                  <a:pt x="38" y="386"/>
                </a:cubicBezTo>
                <a:cubicBezTo>
                  <a:pt x="37" y="386"/>
                  <a:pt x="37" y="386"/>
                  <a:pt x="37" y="386"/>
                </a:cubicBezTo>
                <a:cubicBezTo>
                  <a:pt x="36" y="386"/>
                  <a:pt x="36" y="386"/>
                  <a:pt x="36" y="386"/>
                </a:cubicBezTo>
                <a:cubicBezTo>
                  <a:pt x="35" y="386"/>
                  <a:pt x="35" y="386"/>
                  <a:pt x="35" y="386"/>
                </a:cubicBezTo>
                <a:cubicBezTo>
                  <a:pt x="35" y="385"/>
                  <a:pt x="35" y="385"/>
                  <a:pt x="35" y="385"/>
                </a:cubicBezTo>
                <a:cubicBezTo>
                  <a:pt x="37" y="384"/>
                  <a:pt x="37" y="384"/>
                  <a:pt x="37" y="384"/>
                </a:cubicBezTo>
                <a:cubicBezTo>
                  <a:pt x="38" y="384"/>
                  <a:pt x="38" y="384"/>
                  <a:pt x="38" y="384"/>
                </a:cubicBezTo>
                <a:cubicBezTo>
                  <a:pt x="39" y="384"/>
                  <a:pt x="39" y="384"/>
                  <a:pt x="39" y="384"/>
                </a:cubicBezTo>
                <a:cubicBezTo>
                  <a:pt x="39" y="383"/>
                  <a:pt x="39" y="383"/>
                  <a:pt x="39" y="383"/>
                </a:cubicBezTo>
                <a:cubicBezTo>
                  <a:pt x="39" y="383"/>
                  <a:pt x="39" y="383"/>
                  <a:pt x="39" y="383"/>
                </a:cubicBezTo>
                <a:cubicBezTo>
                  <a:pt x="39" y="382"/>
                  <a:pt x="39" y="382"/>
                  <a:pt x="39" y="382"/>
                </a:cubicBezTo>
                <a:cubicBezTo>
                  <a:pt x="39" y="382"/>
                  <a:pt x="39" y="382"/>
                  <a:pt x="39" y="382"/>
                </a:cubicBezTo>
                <a:cubicBezTo>
                  <a:pt x="39" y="381"/>
                  <a:pt x="39" y="381"/>
                  <a:pt x="39" y="381"/>
                </a:cubicBezTo>
                <a:cubicBezTo>
                  <a:pt x="39" y="381"/>
                  <a:pt x="39" y="381"/>
                  <a:pt x="39" y="381"/>
                </a:cubicBezTo>
                <a:cubicBezTo>
                  <a:pt x="38" y="381"/>
                  <a:pt x="38" y="381"/>
                  <a:pt x="38" y="381"/>
                </a:cubicBezTo>
                <a:cubicBezTo>
                  <a:pt x="37" y="381"/>
                  <a:pt x="37" y="381"/>
                  <a:pt x="37" y="381"/>
                </a:cubicBezTo>
                <a:cubicBezTo>
                  <a:pt x="37" y="380"/>
                  <a:pt x="37" y="380"/>
                  <a:pt x="37" y="380"/>
                </a:cubicBezTo>
                <a:cubicBezTo>
                  <a:pt x="37" y="378"/>
                  <a:pt x="37" y="378"/>
                  <a:pt x="37" y="378"/>
                </a:cubicBezTo>
                <a:cubicBezTo>
                  <a:pt x="36" y="377"/>
                  <a:pt x="36" y="377"/>
                  <a:pt x="36" y="377"/>
                </a:cubicBezTo>
                <a:cubicBezTo>
                  <a:pt x="36" y="376"/>
                  <a:pt x="36" y="376"/>
                  <a:pt x="36" y="376"/>
                </a:cubicBezTo>
                <a:cubicBezTo>
                  <a:pt x="36" y="375"/>
                  <a:pt x="36" y="375"/>
                  <a:pt x="36" y="375"/>
                </a:cubicBezTo>
                <a:cubicBezTo>
                  <a:pt x="38" y="375"/>
                  <a:pt x="38" y="375"/>
                  <a:pt x="38" y="375"/>
                </a:cubicBezTo>
                <a:cubicBezTo>
                  <a:pt x="39" y="376"/>
                  <a:pt x="39" y="376"/>
                  <a:pt x="39" y="376"/>
                </a:cubicBezTo>
                <a:cubicBezTo>
                  <a:pt x="41" y="375"/>
                  <a:pt x="41" y="375"/>
                  <a:pt x="41" y="375"/>
                </a:cubicBezTo>
                <a:cubicBezTo>
                  <a:pt x="42" y="376"/>
                  <a:pt x="42" y="376"/>
                  <a:pt x="42" y="376"/>
                </a:cubicBezTo>
                <a:cubicBezTo>
                  <a:pt x="42" y="375"/>
                  <a:pt x="42" y="375"/>
                  <a:pt x="42" y="375"/>
                </a:cubicBezTo>
                <a:cubicBezTo>
                  <a:pt x="41" y="375"/>
                  <a:pt x="41" y="375"/>
                  <a:pt x="41" y="375"/>
                </a:cubicBezTo>
                <a:cubicBezTo>
                  <a:pt x="40" y="375"/>
                  <a:pt x="40" y="375"/>
                  <a:pt x="40" y="375"/>
                </a:cubicBezTo>
                <a:cubicBezTo>
                  <a:pt x="39" y="374"/>
                  <a:pt x="39" y="374"/>
                  <a:pt x="39" y="374"/>
                </a:cubicBezTo>
                <a:cubicBezTo>
                  <a:pt x="38" y="373"/>
                  <a:pt x="38" y="373"/>
                  <a:pt x="38" y="373"/>
                </a:cubicBezTo>
                <a:cubicBezTo>
                  <a:pt x="38" y="373"/>
                  <a:pt x="38" y="373"/>
                  <a:pt x="38" y="373"/>
                </a:cubicBezTo>
                <a:cubicBezTo>
                  <a:pt x="38" y="372"/>
                  <a:pt x="38" y="372"/>
                  <a:pt x="38" y="372"/>
                </a:cubicBezTo>
                <a:cubicBezTo>
                  <a:pt x="39" y="371"/>
                  <a:pt x="39" y="371"/>
                  <a:pt x="39" y="371"/>
                </a:cubicBezTo>
                <a:cubicBezTo>
                  <a:pt x="40" y="370"/>
                  <a:pt x="40" y="370"/>
                  <a:pt x="40" y="370"/>
                </a:cubicBezTo>
                <a:cubicBezTo>
                  <a:pt x="40" y="369"/>
                  <a:pt x="40" y="369"/>
                  <a:pt x="40" y="369"/>
                </a:cubicBezTo>
                <a:cubicBezTo>
                  <a:pt x="39" y="369"/>
                  <a:pt x="39" y="369"/>
                  <a:pt x="39" y="369"/>
                </a:cubicBezTo>
                <a:cubicBezTo>
                  <a:pt x="38" y="370"/>
                  <a:pt x="38" y="370"/>
                  <a:pt x="38" y="370"/>
                </a:cubicBezTo>
                <a:cubicBezTo>
                  <a:pt x="37" y="371"/>
                  <a:pt x="37" y="371"/>
                  <a:pt x="37" y="371"/>
                </a:cubicBezTo>
                <a:cubicBezTo>
                  <a:pt x="35" y="372"/>
                  <a:pt x="35" y="372"/>
                  <a:pt x="35" y="372"/>
                </a:cubicBezTo>
                <a:cubicBezTo>
                  <a:pt x="34" y="373"/>
                  <a:pt x="34" y="373"/>
                  <a:pt x="34" y="373"/>
                </a:cubicBezTo>
                <a:cubicBezTo>
                  <a:pt x="34" y="374"/>
                  <a:pt x="34" y="374"/>
                  <a:pt x="34" y="374"/>
                </a:cubicBezTo>
                <a:cubicBezTo>
                  <a:pt x="33" y="374"/>
                  <a:pt x="33" y="374"/>
                  <a:pt x="33" y="374"/>
                </a:cubicBezTo>
                <a:cubicBezTo>
                  <a:pt x="32" y="372"/>
                  <a:pt x="32" y="372"/>
                  <a:pt x="32" y="372"/>
                </a:cubicBezTo>
                <a:cubicBezTo>
                  <a:pt x="32" y="370"/>
                  <a:pt x="32" y="370"/>
                  <a:pt x="32" y="370"/>
                </a:cubicBezTo>
                <a:cubicBezTo>
                  <a:pt x="32" y="367"/>
                  <a:pt x="32" y="367"/>
                  <a:pt x="32" y="367"/>
                </a:cubicBezTo>
                <a:cubicBezTo>
                  <a:pt x="32" y="365"/>
                  <a:pt x="32" y="365"/>
                  <a:pt x="32" y="365"/>
                </a:cubicBezTo>
                <a:cubicBezTo>
                  <a:pt x="32" y="364"/>
                  <a:pt x="32" y="364"/>
                  <a:pt x="32" y="364"/>
                </a:cubicBezTo>
                <a:cubicBezTo>
                  <a:pt x="31" y="364"/>
                  <a:pt x="31" y="364"/>
                  <a:pt x="31" y="364"/>
                </a:cubicBezTo>
                <a:cubicBezTo>
                  <a:pt x="31" y="362"/>
                  <a:pt x="31" y="362"/>
                  <a:pt x="31" y="362"/>
                </a:cubicBezTo>
                <a:cubicBezTo>
                  <a:pt x="32" y="361"/>
                  <a:pt x="32" y="361"/>
                  <a:pt x="32" y="361"/>
                </a:cubicBezTo>
                <a:cubicBezTo>
                  <a:pt x="32" y="362"/>
                  <a:pt x="32" y="362"/>
                  <a:pt x="32" y="362"/>
                </a:cubicBezTo>
                <a:cubicBezTo>
                  <a:pt x="33" y="362"/>
                  <a:pt x="33" y="362"/>
                  <a:pt x="33" y="362"/>
                </a:cubicBezTo>
                <a:cubicBezTo>
                  <a:pt x="33" y="361"/>
                  <a:pt x="33" y="361"/>
                  <a:pt x="33" y="361"/>
                </a:cubicBezTo>
                <a:cubicBezTo>
                  <a:pt x="34" y="360"/>
                  <a:pt x="34" y="360"/>
                  <a:pt x="34" y="360"/>
                </a:cubicBezTo>
                <a:cubicBezTo>
                  <a:pt x="35" y="358"/>
                  <a:pt x="35" y="358"/>
                  <a:pt x="35" y="358"/>
                </a:cubicBezTo>
                <a:cubicBezTo>
                  <a:pt x="36" y="358"/>
                  <a:pt x="36" y="358"/>
                  <a:pt x="36" y="358"/>
                </a:cubicBezTo>
                <a:cubicBezTo>
                  <a:pt x="37" y="358"/>
                  <a:pt x="37" y="358"/>
                  <a:pt x="37" y="358"/>
                </a:cubicBezTo>
                <a:cubicBezTo>
                  <a:pt x="38" y="358"/>
                  <a:pt x="38" y="358"/>
                  <a:pt x="38" y="358"/>
                </a:cubicBezTo>
                <a:cubicBezTo>
                  <a:pt x="37" y="357"/>
                  <a:pt x="37" y="357"/>
                  <a:pt x="37" y="357"/>
                </a:cubicBezTo>
                <a:cubicBezTo>
                  <a:pt x="37" y="357"/>
                  <a:pt x="37" y="357"/>
                  <a:pt x="37" y="357"/>
                </a:cubicBezTo>
                <a:cubicBezTo>
                  <a:pt x="39" y="355"/>
                  <a:pt x="39" y="355"/>
                  <a:pt x="39" y="355"/>
                </a:cubicBezTo>
                <a:cubicBezTo>
                  <a:pt x="39" y="354"/>
                  <a:pt x="39" y="354"/>
                  <a:pt x="39" y="354"/>
                </a:cubicBezTo>
                <a:cubicBezTo>
                  <a:pt x="41" y="353"/>
                  <a:pt x="41" y="353"/>
                  <a:pt x="41" y="353"/>
                </a:cubicBezTo>
                <a:cubicBezTo>
                  <a:pt x="41" y="352"/>
                  <a:pt x="41" y="352"/>
                  <a:pt x="41" y="352"/>
                </a:cubicBezTo>
                <a:cubicBezTo>
                  <a:pt x="40" y="352"/>
                  <a:pt x="40" y="352"/>
                  <a:pt x="40" y="352"/>
                </a:cubicBezTo>
                <a:cubicBezTo>
                  <a:pt x="40" y="352"/>
                  <a:pt x="40" y="352"/>
                  <a:pt x="40" y="352"/>
                </a:cubicBezTo>
                <a:cubicBezTo>
                  <a:pt x="38" y="353"/>
                  <a:pt x="38" y="353"/>
                  <a:pt x="38" y="353"/>
                </a:cubicBezTo>
                <a:cubicBezTo>
                  <a:pt x="38" y="354"/>
                  <a:pt x="38" y="354"/>
                  <a:pt x="38" y="354"/>
                </a:cubicBezTo>
                <a:cubicBezTo>
                  <a:pt x="36" y="357"/>
                  <a:pt x="36" y="357"/>
                  <a:pt x="36" y="357"/>
                </a:cubicBezTo>
                <a:cubicBezTo>
                  <a:pt x="36" y="357"/>
                  <a:pt x="36" y="357"/>
                  <a:pt x="36" y="357"/>
                </a:cubicBezTo>
                <a:cubicBezTo>
                  <a:pt x="36" y="356"/>
                  <a:pt x="36" y="356"/>
                  <a:pt x="36" y="356"/>
                </a:cubicBezTo>
                <a:cubicBezTo>
                  <a:pt x="37" y="354"/>
                  <a:pt x="37" y="354"/>
                  <a:pt x="37" y="354"/>
                </a:cubicBezTo>
                <a:cubicBezTo>
                  <a:pt x="37" y="352"/>
                  <a:pt x="37" y="352"/>
                  <a:pt x="37" y="352"/>
                </a:cubicBezTo>
                <a:cubicBezTo>
                  <a:pt x="39" y="349"/>
                  <a:pt x="39" y="349"/>
                  <a:pt x="39" y="349"/>
                </a:cubicBezTo>
                <a:cubicBezTo>
                  <a:pt x="40" y="347"/>
                  <a:pt x="40" y="347"/>
                  <a:pt x="40" y="347"/>
                </a:cubicBezTo>
                <a:cubicBezTo>
                  <a:pt x="39" y="347"/>
                  <a:pt x="39" y="347"/>
                  <a:pt x="39" y="347"/>
                </a:cubicBezTo>
                <a:cubicBezTo>
                  <a:pt x="39" y="347"/>
                  <a:pt x="39" y="347"/>
                  <a:pt x="39" y="347"/>
                </a:cubicBezTo>
                <a:cubicBezTo>
                  <a:pt x="39" y="346"/>
                  <a:pt x="39" y="346"/>
                  <a:pt x="39" y="346"/>
                </a:cubicBezTo>
                <a:cubicBezTo>
                  <a:pt x="40" y="346"/>
                  <a:pt x="40" y="346"/>
                  <a:pt x="40" y="346"/>
                </a:cubicBezTo>
                <a:cubicBezTo>
                  <a:pt x="40" y="345"/>
                  <a:pt x="40" y="345"/>
                  <a:pt x="40" y="345"/>
                </a:cubicBezTo>
                <a:cubicBezTo>
                  <a:pt x="40" y="345"/>
                  <a:pt x="40" y="345"/>
                  <a:pt x="40" y="345"/>
                </a:cubicBezTo>
                <a:cubicBezTo>
                  <a:pt x="40" y="344"/>
                  <a:pt x="40" y="344"/>
                  <a:pt x="40" y="344"/>
                </a:cubicBezTo>
                <a:cubicBezTo>
                  <a:pt x="39" y="344"/>
                  <a:pt x="39" y="344"/>
                  <a:pt x="39" y="344"/>
                </a:cubicBezTo>
                <a:cubicBezTo>
                  <a:pt x="39" y="342"/>
                  <a:pt x="39" y="342"/>
                  <a:pt x="39" y="342"/>
                </a:cubicBezTo>
                <a:cubicBezTo>
                  <a:pt x="38" y="341"/>
                  <a:pt x="38" y="341"/>
                  <a:pt x="38" y="341"/>
                </a:cubicBezTo>
                <a:cubicBezTo>
                  <a:pt x="37" y="340"/>
                  <a:pt x="37" y="340"/>
                  <a:pt x="37" y="340"/>
                </a:cubicBezTo>
                <a:cubicBezTo>
                  <a:pt x="36" y="340"/>
                  <a:pt x="36" y="340"/>
                  <a:pt x="36" y="340"/>
                </a:cubicBezTo>
                <a:cubicBezTo>
                  <a:pt x="36" y="339"/>
                  <a:pt x="36" y="339"/>
                  <a:pt x="36" y="339"/>
                </a:cubicBezTo>
                <a:cubicBezTo>
                  <a:pt x="35" y="337"/>
                  <a:pt x="35" y="337"/>
                  <a:pt x="35" y="337"/>
                </a:cubicBezTo>
                <a:cubicBezTo>
                  <a:pt x="34" y="337"/>
                  <a:pt x="34" y="337"/>
                  <a:pt x="34" y="337"/>
                </a:cubicBezTo>
                <a:cubicBezTo>
                  <a:pt x="33" y="337"/>
                  <a:pt x="33" y="337"/>
                  <a:pt x="33" y="337"/>
                </a:cubicBezTo>
                <a:cubicBezTo>
                  <a:pt x="33" y="336"/>
                  <a:pt x="33" y="336"/>
                  <a:pt x="33" y="336"/>
                </a:cubicBezTo>
                <a:cubicBezTo>
                  <a:pt x="33" y="336"/>
                  <a:pt x="33" y="336"/>
                  <a:pt x="33" y="336"/>
                </a:cubicBezTo>
                <a:cubicBezTo>
                  <a:pt x="33" y="335"/>
                  <a:pt x="33" y="335"/>
                  <a:pt x="33" y="335"/>
                </a:cubicBezTo>
                <a:cubicBezTo>
                  <a:pt x="33" y="334"/>
                  <a:pt x="33" y="334"/>
                  <a:pt x="33" y="334"/>
                </a:cubicBezTo>
                <a:cubicBezTo>
                  <a:pt x="32" y="334"/>
                  <a:pt x="32" y="334"/>
                  <a:pt x="32" y="334"/>
                </a:cubicBezTo>
                <a:cubicBezTo>
                  <a:pt x="33" y="333"/>
                  <a:pt x="33" y="333"/>
                  <a:pt x="33" y="333"/>
                </a:cubicBezTo>
                <a:cubicBezTo>
                  <a:pt x="33" y="333"/>
                  <a:pt x="33" y="333"/>
                  <a:pt x="33" y="333"/>
                </a:cubicBezTo>
                <a:cubicBezTo>
                  <a:pt x="33" y="332"/>
                  <a:pt x="33" y="332"/>
                  <a:pt x="33" y="332"/>
                </a:cubicBezTo>
                <a:cubicBezTo>
                  <a:pt x="32" y="332"/>
                  <a:pt x="32" y="332"/>
                  <a:pt x="32" y="332"/>
                </a:cubicBezTo>
                <a:cubicBezTo>
                  <a:pt x="32" y="332"/>
                  <a:pt x="32" y="332"/>
                  <a:pt x="32" y="332"/>
                </a:cubicBezTo>
                <a:cubicBezTo>
                  <a:pt x="32" y="331"/>
                  <a:pt x="32" y="331"/>
                  <a:pt x="32" y="331"/>
                </a:cubicBezTo>
                <a:cubicBezTo>
                  <a:pt x="33" y="330"/>
                  <a:pt x="33" y="330"/>
                  <a:pt x="33" y="330"/>
                </a:cubicBezTo>
                <a:cubicBezTo>
                  <a:pt x="33" y="326"/>
                  <a:pt x="33" y="326"/>
                  <a:pt x="33" y="326"/>
                </a:cubicBezTo>
                <a:cubicBezTo>
                  <a:pt x="33" y="321"/>
                  <a:pt x="33" y="321"/>
                  <a:pt x="33" y="321"/>
                </a:cubicBezTo>
                <a:cubicBezTo>
                  <a:pt x="33" y="318"/>
                  <a:pt x="33" y="318"/>
                  <a:pt x="33" y="318"/>
                </a:cubicBezTo>
                <a:cubicBezTo>
                  <a:pt x="33" y="317"/>
                  <a:pt x="33" y="317"/>
                  <a:pt x="33" y="317"/>
                </a:cubicBezTo>
                <a:cubicBezTo>
                  <a:pt x="33" y="316"/>
                  <a:pt x="33" y="316"/>
                  <a:pt x="33" y="316"/>
                </a:cubicBezTo>
                <a:cubicBezTo>
                  <a:pt x="33" y="314"/>
                  <a:pt x="33" y="314"/>
                  <a:pt x="33" y="314"/>
                </a:cubicBezTo>
                <a:cubicBezTo>
                  <a:pt x="33" y="313"/>
                  <a:pt x="33" y="313"/>
                  <a:pt x="33" y="313"/>
                </a:cubicBezTo>
                <a:cubicBezTo>
                  <a:pt x="32" y="312"/>
                  <a:pt x="32" y="312"/>
                  <a:pt x="32" y="312"/>
                </a:cubicBezTo>
                <a:cubicBezTo>
                  <a:pt x="32" y="310"/>
                  <a:pt x="32" y="310"/>
                  <a:pt x="32" y="310"/>
                </a:cubicBezTo>
                <a:cubicBezTo>
                  <a:pt x="31" y="308"/>
                  <a:pt x="31" y="308"/>
                  <a:pt x="31" y="308"/>
                </a:cubicBezTo>
                <a:cubicBezTo>
                  <a:pt x="30" y="306"/>
                  <a:pt x="30" y="306"/>
                  <a:pt x="30" y="306"/>
                </a:cubicBezTo>
                <a:cubicBezTo>
                  <a:pt x="31" y="305"/>
                  <a:pt x="31" y="305"/>
                  <a:pt x="31" y="305"/>
                </a:cubicBezTo>
                <a:cubicBezTo>
                  <a:pt x="29" y="301"/>
                  <a:pt x="29" y="301"/>
                  <a:pt x="29" y="301"/>
                </a:cubicBezTo>
                <a:cubicBezTo>
                  <a:pt x="30" y="301"/>
                  <a:pt x="30" y="301"/>
                  <a:pt x="30" y="301"/>
                </a:cubicBezTo>
                <a:cubicBezTo>
                  <a:pt x="31" y="299"/>
                  <a:pt x="31" y="299"/>
                  <a:pt x="31" y="299"/>
                </a:cubicBezTo>
                <a:cubicBezTo>
                  <a:pt x="30" y="298"/>
                  <a:pt x="30" y="298"/>
                  <a:pt x="30" y="298"/>
                </a:cubicBezTo>
                <a:cubicBezTo>
                  <a:pt x="30" y="297"/>
                  <a:pt x="30" y="297"/>
                  <a:pt x="30" y="297"/>
                </a:cubicBezTo>
                <a:cubicBezTo>
                  <a:pt x="29" y="296"/>
                  <a:pt x="29" y="296"/>
                  <a:pt x="29" y="296"/>
                </a:cubicBezTo>
                <a:cubicBezTo>
                  <a:pt x="27" y="296"/>
                  <a:pt x="27" y="296"/>
                  <a:pt x="27" y="296"/>
                </a:cubicBezTo>
                <a:cubicBezTo>
                  <a:pt x="25" y="296"/>
                  <a:pt x="25" y="296"/>
                  <a:pt x="25" y="296"/>
                </a:cubicBezTo>
                <a:cubicBezTo>
                  <a:pt x="24" y="297"/>
                  <a:pt x="24" y="297"/>
                  <a:pt x="24" y="297"/>
                </a:cubicBezTo>
                <a:cubicBezTo>
                  <a:pt x="22" y="297"/>
                  <a:pt x="22" y="297"/>
                  <a:pt x="22" y="297"/>
                </a:cubicBezTo>
                <a:cubicBezTo>
                  <a:pt x="21" y="299"/>
                  <a:pt x="21" y="299"/>
                  <a:pt x="21" y="299"/>
                </a:cubicBezTo>
                <a:cubicBezTo>
                  <a:pt x="19" y="301"/>
                  <a:pt x="19" y="301"/>
                  <a:pt x="19" y="301"/>
                </a:cubicBezTo>
                <a:cubicBezTo>
                  <a:pt x="17" y="302"/>
                  <a:pt x="17" y="302"/>
                  <a:pt x="17" y="302"/>
                </a:cubicBezTo>
                <a:cubicBezTo>
                  <a:pt x="15" y="303"/>
                  <a:pt x="15" y="303"/>
                  <a:pt x="15" y="303"/>
                </a:cubicBezTo>
                <a:cubicBezTo>
                  <a:pt x="13" y="303"/>
                  <a:pt x="13" y="303"/>
                  <a:pt x="13" y="303"/>
                </a:cubicBezTo>
                <a:cubicBezTo>
                  <a:pt x="13" y="303"/>
                  <a:pt x="13" y="303"/>
                  <a:pt x="13" y="303"/>
                </a:cubicBezTo>
                <a:cubicBezTo>
                  <a:pt x="13" y="302"/>
                  <a:pt x="13" y="302"/>
                  <a:pt x="13" y="302"/>
                </a:cubicBezTo>
                <a:cubicBezTo>
                  <a:pt x="14" y="300"/>
                  <a:pt x="14" y="300"/>
                  <a:pt x="14" y="300"/>
                </a:cubicBezTo>
                <a:cubicBezTo>
                  <a:pt x="13" y="299"/>
                  <a:pt x="13" y="299"/>
                  <a:pt x="13" y="299"/>
                </a:cubicBezTo>
                <a:cubicBezTo>
                  <a:pt x="11" y="292"/>
                  <a:pt x="11" y="292"/>
                  <a:pt x="11" y="292"/>
                </a:cubicBezTo>
                <a:cubicBezTo>
                  <a:pt x="10" y="288"/>
                  <a:pt x="10" y="288"/>
                  <a:pt x="10" y="288"/>
                </a:cubicBezTo>
                <a:cubicBezTo>
                  <a:pt x="10" y="287"/>
                  <a:pt x="10" y="287"/>
                  <a:pt x="10" y="287"/>
                </a:cubicBezTo>
                <a:cubicBezTo>
                  <a:pt x="11" y="284"/>
                  <a:pt x="11" y="284"/>
                  <a:pt x="11" y="284"/>
                </a:cubicBezTo>
                <a:cubicBezTo>
                  <a:pt x="8" y="284"/>
                  <a:pt x="8" y="284"/>
                  <a:pt x="8" y="284"/>
                </a:cubicBezTo>
                <a:cubicBezTo>
                  <a:pt x="5" y="285"/>
                  <a:pt x="5" y="285"/>
                  <a:pt x="5" y="285"/>
                </a:cubicBezTo>
                <a:cubicBezTo>
                  <a:pt x="4" y="284"/>
                  <a:pt x="4" y="284"/>
                  <a:pt x="4" y="284"/>
                </a:cubicBezTo>
                <a:cubicBezTo>
                  <a:pt x="0" y="284"/>
                  <a:pt x="0" y="284"/>
                  <a:pt x="0" y="284"/>
                </a:cubicBezTo>
                <a:cubicBezTo>
                  <a:pt x="73" y="151"/>
                  <a:pt x="73" y="151"/>
                  <a:pt x="73" y="151"/>
                </a:cubicBezTo>
                <a:cubicBezTo>
                  <a:pt x="73" y="152"/>
                  <a:pt x="73" y="152"/>
                  <a:pt x="73" y="152"/>
                </a:cubicBezTo>
                <a:cubicBezTo>
                  <a:pt x="74" y="152"/>
                  <a:pt x="74" y="152"/>
                  <a:pt x="74" y="152"/>
                </a:cubicBezTo>
                <a:cubicBezTo>
                  <a:pt x="77" y="155"/>
                  <a:pt x="77" y="155"/>
                  <a:pt x="77" y="155"/>
                </a:cubicBezTo>
                <a:cubicBezTo>
                  <a:pt x="78" y="155"/>
                  <a:pt x="78" y="155"/>
                  <a:pt x="78" y="155"/>
                </a:cubicBezTo>
                <a:cubicBezTo>
                  <a:pt x="80" y="156"/>
                  <a:pt x="80" y="156"/>
                  <a:pt x="80" y="156"/>
                </a:cubicBezTo>
                <a:cubicBezTo>
                  <a:pt x="80" y="157"/>
                  <a:pt x="80" y="157"/>
                  <a:pt x="80" y="157"/>
                </a:cubicBezTo>
                <a:cubicBezTo>
                  <a:pt x="80" y="157"/>
                  <a:pt x="80" y="157"/>
                  <a:pt x="80" y="157"/>
                </a:cubicBezTo>
                <a:cubicBezTo>
                  <a:pt x="82" y="158"/>
                  <a:pt x="82" y="158"/>
                  <a:pt x="82" y="158"/>
                </a:cubicBezTo>
                <a:cubicBezTo>
                  <a:pt x="82" y="159"/>
                  <a:pt x="82" y="159"/>
                  <a:pt x="82" y="159"/>
                </a:cubicBezTo>
                <a:cubicBezTo>
                  <a:pt x="83" y="160"/>
                  <a:pt x="83" y="160"/>
                  <a:pt x="83" y="160"/>
                </a:cubicBezTo>
                <a:cubicBezTo>
                  <a:pt x="83" y="161"/>
                  <a:pt x="83" y="161"/>
                  <a:pt x="83" y="161"/>
                </a:cubicBezTo>
                <a:cubicBezTo>
                  <a:pt x="83" y="161"/>
                  <a:pt x="83" y="161"/>
                  <a:pt x="83" y="161"/>
                </a:cubicBezTo>
                <a:cubicBezTo>
                  <a:pt x="82" y="163"/>
                  <a:pt x="82" y="163"/>
                  <a:pt x="82" y="163"/>
                </a:cubicBezTo>
                <a:cubicBezTo>
                  <a:pt x="83" y="164"/>
                  <a:pt x="83" y="164"/>
                  <a:pt x="83" y="164"/>
                </a:cubicBezTo>
                <a:cubicBezTo>
                  <a:pt x="83" y="164"/>
                  <a:pt x="83" y="164"/>
                  <a:pt x="83" y="164"/>
                </a:cubicBezTo>
                <a:cubicBezTo>
                  <a:pt x="84" y="164"/>
                  <a:pt x="84" y="164"/>
                  <a:pt x="84" y="164"/>
                </a:cubicBezTo>
                <a:cubicBezTo>
                  <a:pt x="84" y="164"/>
                  <a:pt x="84" y="164"/>
                  <a:pt x="84" y="164"/>
                </a:cubicBezTo>
                <a:cubicBezTo>
                  <a:pt x="84" y="166"/>
                  <a:pt x="84" y="166"/>
                  <a:pt x="84" y="166"/>
                </a:cubicBezTo>
                <a:cubicBezTo>
                  <a:pt x="85" y="168"/>
                  <a:pt x="85" y="168"/>
                  <a:pt x="85" y="168"/>
                </a:cubicBezTo>
                <a:cubicBezTo>
                  <a:pt x="87" y="170"/>
                  <a:pt x="87" y="170"/>
                  <a:pt x="87" y="170"/>
                </a:cubicBezTo>
                <a:cubicBezTo>
                  <a:pt x="88" y="171"/>
                  <a:pt x="88" y="171"/>
                  <a:pt x="88" y="171"/>
                </a:cubicBezTo>
                <a:cubicBezTo>
                  <a:pt x="88" y="171"/>
                  <a:pt x="88" y="171"/>
                  <a:pt x="88" y="171"/>
                </a:cubicBezTo>
                <a:cubicBezTo>
                  <a:pt x="89" y="171"/>
                  <a:pt x="89" y="171"/>
                  <a:pt x="89" y="171"/>
                </a:cubicBezTo>
                <a:cubicBezTo>
                  <a:pt x="89" y="172"/>
                  <a:pt x="89" y="172"/>
                  <a:pt x="89" y="172"/>
                </a:cubicBezTo>
                <a:cubicBezTo>
                  <a:pt x="90" y="172"/>
                  <a:pt x="90" y="172"/>
                  <a:pt x="90" y="172"/>
                </a:cubicBezTo>
                <a:cubicBezTo>
                  <a:pt x="91" y="172"/>
                  <a:pt x="91" y="172"/>
                  <a:pt x="91" y="172"/>
                </a:cubicBezTo>
                <a:cubicBezTo>
                  <a:pt x="92" y="174"/>
                  <a:pt x="92" y="174"/>
                  <a:pt x="92" y="174"/>
                </a:cubicBezTo>
                <a:cubicBezTo>
                  <a:pt x="92" y="176"/>
                  <a:pt x="92" y="176"/>
                  <a:pt x="92" y="176"/>
                </a:cubicBezTo>
                <a:cubicBezTo>
                  <a:pt x="93" y="176"/>
                  <a:pt x="93" y="176"/>
                  <a:pt x="93" y="176"/>
                </a:cubicBezTo>
                <a:cubicBezTo>
                  <a:pt x="93" y="177"/>
                  <a:pt x="93" y="177"/>
                  <a:pt x="93" y="177"/>
                </a:cubicBezTo>
                <a:cubicBezTo>
                  <a:pt x="94" y="177"/>
                  <a:pt x="94" y="177"/>
                  <a:pt x="94" y="177"/>
                </a:cubicBezTo>
                <a:cubicBezTo>
                  <a:pt x="96" y="179"/>
                  <a:pt x="96" y="179"/>
                  <a:pt x="96" y="179"/>
                </a:cubicBezTo>
                <a:cubicBezTo>
                  <a:pt x="96" y="180"/>
                  <a:pt x="96" y="180"/>
                  <a:pt x="96" y="180"/>
                </a:cubicBezTo>
                <a:cubicBezTo>
                  <a:pt x="96" y="180"/>
                  <a:pt x="96" y="180"/>
                  <a:pt x="96" y="180"/>
                </a:cubicBezTo>
                <a:cubicBezTo>
                  <a:pt x="96" y="181"/>
                  <a:pt x="96" y="181"/>
                  <a:pt x="96" y="181"/>
                </a:cubicBezTo>
                <a:cubicBezTo>
                  <a:pt x="95" y="183"/>
                  <a:pt x="95" y="183"/>
                  <a:pt x="95" y="183"/>
                </a:cubicBezTo>
                <a:cubicBezTo>
                  <a:pt x="94" y="184"/>
                  <a:pt x="94" y="184"/>
                  <a:pt x="94" y="184"/>
                </a:cubicBezTo>
                <a:cubicBezTo>
                  <a:pt x="97" y="182"/>
                  <a:pt x="97" y="182"/>
                  <a:pt x="97" y="182"/>
                </a:cubicBezTo>
                <a:cubicBezTo>
                  <a:pt x="98" y="181"/>
                  <a:pt x="98" y="181"/>
                  <a:pt x="98" y="181"/>
                </a:cubicBezTo>
                <a:cubicBezTo>
                  <a:pt x="98" y="181"/>
                  <a:pt x="98" y="181"/>
                  <a:pt x="98" y="181"/>
                </a:cubicBezTo>
                <a:cubicBezTo>
                  <a:pt x="98" y="180"/>
                  <a:pt x="98" y="180"/>
                  <a:pt x="98" y="180"/>
                </a:cubicBezTo>
                <a:cubicBezTo>
                  <a:pt x="98" y="176"/>
                  <a:pt x="98" y="176"/>
                  <a:pt x="98" y="176"/>
                </a:cubicBezTo>
                <a:cubicBezTo>
                  <a:pt x="98" y="174"/>
                  <a:pt x="98" y="174"/>
                  <a:pt x="98" y="174"/>
                </a:cubicBezTo>
                <a:cubicBezTo>
                  <a:pt x="99" y="173"/>
                  <a:pt x="99" y="173"/>
                  <a:pt x="99" y="173"/>
                </a:cubicBezTo>
                <a:cubicBezTo>
                  <a:pt x="101" y="172"/>
                  <a:pt x="101" y="172"/>
                  <a:pt x="101" y="172"/>
                </a:cubicBezTo>
                <a:cubicBezTo>
                  <a:pt x="103" y="171"/>
                  <a:pt x="103" y="171"/>
                  <a:pt x="103" y="171"/>
                </a:cubicBezTo>
                <a:cubicBezTo>
                  <a:pt x="104" y="170"/>
                  <a:pt x="104" y="170"/>
                  <a:pt x="104" y="170"/>
                </a:cubicBezTo>
                <a:cubicBezTo>
                  <a:pt x="105" y="170"/>
                  <a:pt x="105" y="170"/>
                  <a:pt x="105" y="170"/>
                </a:cubicBezTo>
                <a:cubicBezTo>
                  <a:pt x="106" y="169"/>
                  <a:pt x="106" y="169"/>
                  <a:pt x="106" y="169"/>
                </a:cubicBezTo>
                <a:cubicBezTo>
                  <a:pt x="106" y="169"/>
                  <a:pt x="106" y="169"/>
                  <a:pt x="106" y="169"/>
                </a:cubicBezTo>
                <a:cubicBezTo>
                  <a:pt x="107" y="169"/>
                  <a:pt x="107" y="169"/>
                  <a:pt x="107" y="169"/>
                </a:cubicBezTo>
                <a:cubicBezTo>
                  <a:pt x="109" y="169"/>
                  <a:pt x="109" y="169"/>
                  <a:pt x="109" y="169"/>
                </a:cubicBezTo>
                <a:cubicBezTo>
                  <a:pt x="109" y="169"/>
                  <a:pt x="109" y="169"/>
                  <a:pt x="109" y="169"/>
                </a:cubicBezTo>
                <a:cubicBezTo>
                  <a:pt x="110" y="169"/>
                  <a:pt x="110" y="169"/>
                  <a:pt x="110" y="169"/>
                </a:cubicBezTo>
                <a:cubicBezTo>
                  <a:pt x="111" y="169"/>
                  <a:pt x="111" y="169"/>
                  <a:pt x="111" y="169"/>
                </a:cubicBezTo>
                <a:cubicBezTo>
                  <a:pt x="112" y="168"/>
                  <a:pt x="112" y="168"/>
                  <a:pt x="112" y="168"/>
                </a:cubicBezTo>
                <a:cubicBezTo>
                  <a:pt x="113" y="166"/>
                  <a:pt x="113" y="166"/>
                  <a:pt x="113" y="166"/>
                </a:cubicBezTo>
                <a:cubicBezTo>
                  <a:pt x="114" y="166"/>
                  <a:pt x="114" y="166"/>
                  <a:pt x="114" y="166"/>
                </a:cubicBezTo>
                <a:cubicBezTo>
                  <a:pt x="115" y="166"/>
                  <a:pt x="115" y="166"/>
                  <a:pt x="115" y="166"/>
                </a:cubicBezTo>
                <a:cubicBezTo>
                  <a:pt x="116" y="166"/>
                  <a:pt x="116" y="166"/>
                  <a:pt x="116" y="166"/>
                </a:cubicBezTo>
                <a:cubicBezTo>
                  <a:pt x="115" y="165"/>
                  <a:pt x="115" y="165"/>
                  <a:pt x="115" y="165"/>
                </a:cubicBezTo>
                <a:cubicBezTo>
                  <a:pt x="116" y="165"/>
                  <a:pt x="116" y="165"/>
                  <a:pt x="116" y="165"/>
                </a:cubicBezTo>
                <a:cubicBezTo>
                  <a:pt x="117" y="166"/>
                  <a:pt x="117" y="166"/>
                  <a:pt x="117" y="166"/>
                </a:cubicBezTo>
                <a:cubicBezTo>
                  <a:pt x="120" y="166"/>
                  <a:pt x="120" y="166"/>
                  <a:pt x="120" y="166"/>
                </a:cubicBezTo>
                <a:cubicBezTo>
                  <a:pt x="123" y="165"/>
                  <a:pt x="123" y="165"/>
                  <a:pt x="123" y="165"/>
                </a:cubicBezTo>
                <a:cubicBezTo>
                  <a:pt x="125" y="164"/>
                  <a:pt x="125" y="164"/>
                  <a:pt x="125" y="164"/>
                </a:cubicBezTo>
                <a:cubicBezTo>
                  <a:pt x="125" y="164"/>
                  <a:pt x="125" y="164"/>
                  <a:pt x="125" y="164"/>
                </a:cubicBezTo>
                <a:cubicBezTo>
                  <a:pt x="126" y="165"/>
                  <a:pt x="126" y="165"/>
                  <a:pt x="126" y="165"/>
                </a:cubicBezTo>
                <a:cubicBezTo>
                  <a:pt x="127" y="165"/>
                  <a:pt x="127" y="165"/>
                  <a:pt x="127" y="165"/>
                </a:cubicBezTo>
                <a:cubicBezTo>
                  <a:pt x="127" y="163"/>
                  <a:pt x="127" y="163"/>
                  <a:pt x="127" y="163"/>
                </a:cubicBezTo>
                <a:cubicBezTo>
                  <a:pt x="129" y="162"/>
                  <a:pt x="129" y="162"/>
                  <a:pt x="129" y="162"/>
                </a:cubicBezTo>
                <a:cubicBezTo>
                  <a:pt x="130" y="162"/>
                  <a:pt x="130" y="162"/>
                  <a:pt x="130" y="162"/>
                </a:cubicBezTo>
                <a:cubicBezTo>
                  <a:pt x="131" y="163"/>
                  <a:pt x="131" y="163"/>
                  <a:pt x="131" y="163"/>
                </a:cubicBezTo>
                <a:cubicBezTo>
                  <a:pt x="131" y="163"/>
                  <a:pt x="131" y="163"/>
                  <a:pt x="131" y="163"/>
                </a:cubicBezTo>
                <a:cubicBezTo>
                  <a:pt x="132" y="164"/>
                  <a:pt x="132" y="164"/>
                  <a:pt x="132" y="164"/>
                </a:cubicBezTo>
                <a:cubicBezTo>
                  <a:pt x="133" y="163"/>
                  <a:pt x="133" y="163"/>
                  <a:pt x="133" y="163"/>
                </a:cubicBezTo>
                <a:cubicBezTo>
                  <a:pt x="133" y="162"/>
                  <a:pt x="133" y="162"/>
                  <a:pt x="133" y="162"/>
                </a:cubicBezTo>
                <a:cubicBezTo>
                  <a:pt x="133" y="162"/>
                  <a:pt x="133" y="162"/>
                  <a:pt x="133" y="162"/>
                </a:cubicBezTo>
                <a:cubicBezTo>
                  <a:pt x="134" y="162"/>
                  <a:pt x="134" y="162"/>
                  <a:pt x="134" y="162"/>
                </a:cubicBezTo>
                <a:cubicBezTo>
                  <a:pt x="134" y="164"/>
                  <a:pt x="134" y="164"/>
                  <a:pt x="134" y="164"/>
                </a:cubicBezTo>
                <a:cubicBezTo>
                  <a:pt x="135" y="164"/>
                  <a:pt x="135" y="164"/>
                  <a:pt x="135" y="164"/>
                </a:cubicBezTo>
                <a:cubicBezTo>
                  <a:pt x="134" y="165"/>
                  <a:pt x="134" y="165"/>
                  <a:pt x="134" y="165"/>
                </a:cubicBezTo>
                <a:cubicBezTo>
                  <a:pt x="134" y="165"/>
                  <a:pt x="134" y="165"/>
                  <a:pt x="134" y="165"/>
                </a:cubicBezTo>
                <a:cubicBezTo>
                  <a:pt x="133" y="166"/>
                  <a:pt x="133" y="166"/>
                  <a:pt x="133" y="166"/>
                </a:cubicBezTo>
                <a:cubicBezTo>
                  <a:pt x="131" y="167"/>
                  <a:pt x="131" y="167"/>
                  <a:pt x="131" y="167"/>
                </a:cubicBezTo>
                <a:cubicBezTo>
                  <a:pt x="128" y="167"/>
                  <a:pt x="128" y="167"/>
                  <a:pt x="128" y="167"/>
                </a:cubicBezTo>
                <a:cubicBezTo>
                  <a:pt x="127" y="168"/>
                  <a:pt x="127" y="168"/>
                  <a:pt x="127" y="168"/>
                </a:cubicBezTo>
                <a:cubicBezTo>
                  <a:pt x="126" y="169"/>
                  <a:pt x="126" y="169"/>
                  <a:pt x="126" y="169"/>
                </a:cubicBezTo>
                <a:cubicBezTo>
                  <a:pt x="125" y="169"/>
                  <a:pt x="125" y="169"/>
                  <a:pt x="125" y="169"/>
                </a:cubicBezTo>
                <a:cubicBezTo>
                  <a:pt x="124" y="169"/>
                  <a:pt x="124" y="169"/>
                  <a:pt x="124" y="169"/>
                </a:cubicBezTo>
                <a:cubicBezTo>
                  <a:pt x="123" y="169"/>
                  <a:pt x="123" y="169"/>
                  <a:pt x="123" y="169"/>
                </a:cubicBezTo>
                <a:cubicBezTo>
                  <a:pt x="123" y="169"/>
                  <a:pt x="123" y="169"/>
                  <a:pt x="123" y="169"/>
                </a:cubicBezTo>
                <a:cubicBezTo>
                  <a:pt x="121" y="169"/>
                  <a:pt x="121" y="169"/>
                  <a:pt x="121" y="169"/>
                </a:cubicBezTo>
                <a:cubicBezTo>
                  <a:pt x="119" y="169"/>
                  <a:pt x="119" y="169"/>
                  <a:pt x="119" y="169"/>
                </a:cubicBezTo>
                <a:cubicBezTo>
                  <a:pt x="119" y="170"/>
                  <a:pt x="119" y="170"/>
                  <a:pt x="119" y="170"/>
                </a:cubicBezTo>
                <a:cubicBezTo>
                  <a:pt x="116" y="170"/>
                  <a:pt x="116" y="170"/>
                  <a:pt x="116" y="170"/>
                </a:cubicBezTo>
                <a:cubicBezTo>
                  <a:pt x="115" y="170"/>
                  <a:pt x="115" y="170"/>
                  <a:pt x="115" y="170"/>
                </a:cubicBezTo>
                <a:cubicBezTo>
                  <a:pt x="114" y="172"/>
                  <a:pt x="114" y="172"/>
                  <a:pt x="114" y="172"/>
                </a:cubicBezTo>
                <a:cubicBezTo>
                  <a:pt x="111" y="173"/>
                  <a:pt x="111" y="173"/>
                  <a:pt x="111" y="173"/>
                </a:cubicBezTo>
                <a:cubicBezTo>
                  <a:pt x="111" y="172"/>
                  <a:pt x="111" y="172"/>
                  <a:pt x="111" y="172"/>
                </a:cubicBezTo>
                <a:cubicBezTo>
                  <a:pt x="109" y="173"/>
                  <a:pt x="109" y="173"/>
                  <a:pt x="109" y="173"/>
                </a:cubicBezTo>
                <a:cubicBezTo>
                  <a:pt x="109" y="174"/>
                  <a:pt x="109" y="174"/>
                  <a:pt x="109" y="174"/>
                </a:cubicBezTo>
                <a:cubicBezTo>
                  <a:pt x="108" y="175"/>
                  <a:pt x="108" y="175"/>
                  <a:pt x="108" y="175"/>
                </a:cubicBezTo>
                <a:cubicBezTo>
                  <a:pt x="108" y="174"/>
                  <a:pt x="108" y="174"/>
                  <a:pt x="108" y="174"/>
                </a:cubicBezTo>
                <a:cubicBezTo>
                  <a:pt x="107" y="175"/>
                  <a:pt x="107" y="175"/>
                  <a:pt x="107" y="175"/>
                </a:cubicBezTo>
                <a:cubicBezTo>
                  <a:pt x="106" y="176"/>
                  <a:pt x="106" y="176"/>
                  <a:pt x="106" y="176"/>
                </a:cubicBezTo>
                <a:cubicBezTo>
                  <a:pt x="105" y="176"/>
                  <a:pt x="105" y="176"/>
                  <a:pt x="105" y="176"/>
                </a:cubicBezTo>
                <a:cubicBezTo>
                  <a:pt x="104" y="177"/>
                  <a:pt x="104" y="177"/>
                  <a:pt x="104" y="177"/>
                </a:cubicBezTo>
                <a:cubicBezTo>
                  <a:pt x="105" y="179"/>
                  <a:pt x="105" y="179"/>
                  <a:pt x="105" y="179"/>
                </a:cubicBezTo>
                <a:cubicBezTo>
                  <a:pt x="107" y="180"/>
                  <a:pt x="107" y="180"/>
                  <a:pt x="107" y="180"/>
                </a:cubicBezTo>
                <a:cubicBezTo>
                  <a:pt x="105" y="178"/>
                  <a:pt x="105" y="178"/>
                  <a:pt x="105" y="178"/>
                </a:cubicBezTo>
                <a:cubicBezTo>
                  <a:pt x="105" y="178"/>
                  <a:pt x="105" y="178"/>
                  <a:pt x="105" y="178"/>
                </a:cubicBezTo>
                <a:cubicBezTo>
                  <a:pt x="107" y="178"/>
                  <a:pt x="107" y="178"/>
                  <a:pt x="107" y="178"/>
                </a:cubicBezTo>
                <a:cubicBezTo>
                  <a:pt x="107" y="178"/>
                  <a:pt x="107" y="178"/>
                  <a:pt x="107" y="178"/>
                </a:cubicBezTo>
                <a:cubicBezTo>
                  <a:pt x="108" y="178"/>
                  <a:pt x="108" y="178"/>
                  <a:pt x="108" y="178"/>
                </a:cubicBezTo>
                <a:cubicBezTo>
                  <a:pt x="108" y="177"/>
                  <a:pt x="108" y="177"/>
                  <a:pt x="108" y="177"/>
                </a:cubicBezTo>
                <a:cubicBezTo>
                  <a:pt x="109" y="175"/>
                  <a:pt x="109" y="175"/>
                  <a:pt x="109" y="175"/>
                </a:cubicBezTo>
                <a:cubicBezTo>
                  <a:pt x="112" y="175"/>
                  <a:pt x="112" y="175"/>
                  <a:pt x="112" y="175"/>
                </a:cubicBezTo>
                <a:cubicBezTo>
                  <a:pt x="113" y="175"/>
                  <a:pt x="113" y="175"/>
                  <a:pt x="113" y="175"/>
                </a:cubicBezTo>
                <a:cubicBezTo>
                  <a:pt x="116" y="173"/>
                  <a:pt x="116" y="173"/>
                  <a:pt x="116" y="173"/>
                </a:cubicBezTo>
                <a:cubicBezTo>
                  <a:pt x="116" y="172"/>
                  <a:pt x="116" y="172"/>
                  <a:pt x="116" y="172"/>
                </a:cubicBezTo>
                <a:cubicBezTo>
                  <a:pt x="117" y="171"/>
                  <a:pt x="117" y="171"/>
                  <a:pt x="117" y="171"/>
                </a:cubicBezTo>
                <a:cubicBezTo>
                  <a:pt x="118" y="172"/>
                  <a:pt x="118" y="172"/>
                  <a:pt x="118" y="172"/>
                </a:cubicBezTo>
                <a:cubicBezTo>
                  <a:pt x="119" y="172"/>
                  <a:pt x="119" y="172"/>
                  <a:pt x="119" y="172"/>
                </a:cubicBezTo>
                <a:cubicBezTo>
                  <a:pt x="120" y="171"/>
                  <a:pt x="120" y="171"/>
                  <a:pt x="120" y="171"/>
                </a:cubicBezTo>
                <a:cubicBezTo>
                  <a:pt x="120" y="172"/>
                  <a:pt x="120" y="172"/>
                  <a:pt x="120" y="172"/>
                </a:cubicBezTo>
                <a:cubicBezTo>
                  <a:pt x="122" y="171"/>
                  <a:pt x="122" y="171"/>
                  <a:pt x="122" y="171"/>
                </a:cubicBezTo>
                <a:cubicBezTo>
                  <a:pt x="122" y="171"/>
                  <a:pt x="122" y="171"/>
                  <a:pt x="122" y="171"/>
                </a:cubicBezTo>
                <a:cubicBezTo>
                  <a:pt x="121" y="173"/>
                  <a:pt x="121" y="173"/>
                  <a:pt x="121" y="173"/>
                </a:cubicBezTo>
                <a:cubicBezTo>
                  <a:pt x="121" y="174"/>
                  <a:pt x="121" y="174"/>
                  <a:pt x="121" y="174"/>
                </a:cubicBezTo>
                <a:cubicBezTo>
                  <a:pt x="122" y="172"/>
                  <a:pt x="122" y="172"/>
                  <a:pt x="122" y="172"/>
                </a:cubicBezTo>
                <a:cubicBezTo>
                  <a:pt x="124" y="172"/>
                  <a:pt x="124" y="172"/>
                  <a:pt x="124" y="172"/>
                </a:cubicBezTo>
                <a:cubicBezTo>
                  <a:pt x="128" y="169"/>
                  <a:pt x="128" y="169"/>
                  <a:pt x="128" y="169"/>
                </a:cubicBezTo>
                <a:cubicBezTo>
                  <a:pt x="130" y="169"/>
                  <a:pt x="130" y="169"/>
                  <a:pt x="130" y="169"/>
                </a:cubicBezTo>
                <a:cubicBezTo>
                  <a:pt x="131" y="168"/>
                  <a:pt x="131" y="168"/>
                  <a:pt x="131" y="168"/>
                </a:cubicBezTo>
                <a:cubicBezTo>
                  <a:pt x="134" y="168"/>
                  <a:pt x="134" y="168"/>
                  <a:pt x="134" y="168"/>
                </a:cubicBezTo>
                <a:cubicBezTo>
                  <a:pt x="135" y="167"/>
                  <a:pt x="135" y="167"/>
                  <a:pt x="135" y="167"/>
                </a:cubicBezTo>
                <a:cubicBezTo>
                  <a:pt x="136" y="167"/>
                  <a:pt x="136" y="167"/>
                  <a:pt x="136" y="167"/>
                </a:cubicBezTo>
                <a:cubicBezTo>
                  <a:pt x="135" y="169"/>
                  <a:pt x="135" y="169"/>
                  <a:pt x="135" y="169"/>
                </a:cubicBezTo>
                <a:cubicBezTo>
                  <a:pt x="134" y="169"/>
                  <a:pt x="134" y="169"/>
                  <a:pt x="134" y="169"/>
                </a:cubicBezTo>
                <a:cubicBezTo>
                  <a:pt x="134" y="170"/>
                  <a:pt x="134" y="170"/>
                  <a:pt x="134" y="170"/>
                </a:cubicBezTo>
                <a:cubicBezTo>
                  <a:pt x="135" y="171"/>
                  <a:pt x="135" y="171"/>
                  <a:pt x="135" y="171"/>
                </a:cubicBezTo>
                <a:cubicBezTo>
                  <a:pt x="136" y="169"/>
                  <a:pt x="136" y="169"/>
                  <a:pt x="136" y="169"/>
                </a:cubicBezTo>
                <a:cubicBezTo>
                  <a:pt x="139" y="168"/>
                  <a:pt x="139" y="168"/>
                  <a:pt x="139" y="168"/>
                </a:cubicBezTo>
                <a:cubicBezTo>
                  <a:pt x="140" y="168"/>
                  <a:pt x="140" y="168"/>
                  <a:pt x="140" y="168"/>
                </a:cubicBezTo>
                <a:cubicBezTo>
                  <a:pt x="140" y="167"/>
                  <a:pt x="140" y="167"/>
                  <a:pt x="140" y="167"/>
                </a:cubicBezTo>
                <a:cubicBezTo>
                  <a:pt x="141" y="166"/>
                  <a:pt x="141" y="166"/>
                  <a:pt x="141" y="166"/>
                </a:cubicBezTo>
                <a:cubicBezTo>
                  <a:pt x="142" y="167"/>
                  <a:pt x="142" y="167"/>
                  <a:pt x="142" y="167"/>
                </a:cubicBezTo>
                <a:cubicBezTo>
                  <a:pt x="142" y="166"/>
                  <a:pt x="142" y="166"/>
                  <a:pt x="142" y="166"/>
                </a:cubicBezTo>
                <a:cubicBezTo>
                  <a:pt x="142" y="165"/>
                  <a:pt x="142" y="165"/>
                  <a:pt x="142" y="165"/>
                </a:cubicBezTo>
                <a:cubicBezTo>
                  <a:pt x="143" y="166"/>
                  <a:pt x="143" y="166"/>
                  <a:pt x="143" y="166"/>
                </a:cubicBezTo>
                <a:cubicBezTo>
                  <a:pt x="144" y="166"/>
                  <a:pt x="144" y="166"/>
                  <a:pt x="144" y="166"/>
                </a:cubicBezTo>
                <a:cubicBezTo>
                  <a:pt x="144" y="164"/>
                  <a:pt x="144" y="164"/>
                  <a:pt x="144" y="164"/>
                </a:cubicBezTo>
                <a:cubicBezTo>
                  <a:pt x="144" y="163"/>
                  <a:pt x="144" y="163"/>
                  <a:pt x="144" y="163"/>
                </a:cubicBezTo>
                <a:cubicBezTo>
                  <a:pt x="145" y="162"/>
                  <a:pt x="145" y="162"/>
                  <a:pt x="145" y="162"/>
                </a:cubicBezTo>
                <a:cubicBezTo>
                  <a:pt x="144" y="161"/>
                  <a:pt x="144" y="161"/>
                  <a:pt x="144" y="161"/>
                </a:cubicBezTo>
                <a:cubicBezTo>
                  <a:pt x="145" y="160"/>
                  <a:pt x="145" y="160"/>
                  <a:pt x="145" y="160"/>
                </a:cubicBezTo>
                <a:cubicBezTo>
                  <a:pt x="147" y="159"/>
                  <a:pt x="147" y="159"/>
                  <a:pt x="147" y="159"/>
                </a:cubicBezTo>
                <a:cubicBezTo>
                  <a:pt x="147" y="160"/>
                  <a:pt x="147" y="160"/>
                  <a:pt x="147" y="160"/>
                </a:cubicBezTo>
                <a:cubicBezTo>
                  <a:pt x="147" y="165"/>
                  <a:pt x="147" y="165"/>
                  <a:pt x="147" y="165"/>
                </a:cubicBezTo>
                <a:cubicBezTo>
                  <a:pt x="146" y="167"/>
                  <a:pt x="146" y="167"/>
                  <a:pt x="146" y="167"/>
                </a:cubicBezTo>
                <a:cubicBezTo>
                  <a:pt x="147" y="171"/>
                  <a:pt x="147" y="171"/>
                  <a:pt x="147" y="171"/>
                </a:cubicBezTo>
                <a:cubicBezTo>
                  <a:pt x="145" y="173"/>
                  <a:pt x="145" y="173"/>
                  <a:pt x="145" y="173"/>
                </a:cubicBezTo>
                <a:cubicBezTo>
                  <a:pt x="145" y="178"/>
                  <a:pt x="145" y="178"/>
                  <a:pt x="145" y="178"/>
                </a:cubicBezTo>
                <a:cubicBezTo>
                  <a:pt x="146" y="180"/>
                  <a:pt x="146" y="180"/>
                  <a:pt x="146" y="180"/>
                </a:cubicBezTo>
                <a:cubicBezTo>
                  <a:pt x="147" y="180"/>
                  <a:pt x="147" y="180"/>
                  <a:pt x="147" y="180"/>
                </a:cubicBezTo>
                <a:cubicBezTo>
                  <a:pt x="148" y="182"/>
                  <a:pt x="148" y="182"/>
                  <a:pt x="148" y="182"/>
                </a:cubicBezTo>
                <a:cubicBezTo>
                  <a:pt x="150" y="181"/>
                  <a:pt x="150" y="181"/>
                  <a:pt x="150" y="181"/>
                </a:cubicBezTo>
                <a:cubicBezTo>
                  <a:pt x="149" y="180"/>
                  <a:pt x="149" y="180"/>
                  <a:pt x="149" y="180"/>
                </a:cubicBezTo>
                <a:cubicBezTo>
                  <a:pt x="148" y="180"/>
                  <a:pt x="148" y="180"/>
                  <a:pt x="148" y="180"/>
                </a:cubicBezTo>
                <a:cubicBezTo>
                  <a:pt x="148" y="179"/>
                  <a:pt x="148" y="179"/>
                  <a:pt x="148" y="179"/>
                </a:cubicBezTo>
                <a:cubicBezTo>
                  <a:pt x="149" y="179"/>
                  <a:pt x="149" y="179"/>
                  <a:pt x="149" y="179"/>
                </a:cubicBezTo>
                <a:cubicBezTo>
                  <a:pt x="150" y="179"/>
                  <a:pt x="150" y="179"/>
                  <a:pt x="150" y="179"/>
                </a:cubicBezTo>
                <a:cubicBezTo>
                  <a:pt x="151" y="178"/>
                  <a:pt x="151" y="178"/>
                  <a:pt x="151" y="178"/>
                </a:cubicBezTo>
                <a:cubicBezTo>
                  <a:pt x="150" y="178"/>
                  <a:pt x="150" y="178"/>
                  <a:pt x="150" y="178"/>
                </a:cubicBezTo>
                <a:cubicBezTo>
                  <a:pt x="151" y="176"/>
                  <a:pt x="151" y="176"/>
                  <a:pt x="151" y="176"/>
                </a:cubicBezTo>
                <a:cubicBezTo>
                  <a:pt x="153" y="177"/>
                  <a:pt x="153" y="177"/>
                  <a:pt x="153" y="177"/>
                </a:cubicBezTo>
                <a:cubicBezTo>
                  <a:pt x="153" y="178"/>
                  <a:pt x="153" y="178"/>
                  <a:pt x="153" y="178"/>
                </a:cubicBezTo>
                <a:cubicBezTo>
                  <a:pt x="154" y="177"/>
                  <a:pt x="154" y="177"/>
                  <a:pt x="154" y="177"/>
                </a:cubicBezTo>
                <a:cubicBezTo>
                  <a:pt x="153" y="174"/>
                  <a:pt x="153" y="174"/>
                  <a:pt x="153" y="174"/>
                </a:cubicBezTo>
                <a:cubicBezTo>
                  <a:pt x="154" y="174"/>
                  <a:pt x="154" y="174"/>
                  <a:pt x="154" y="174"/>
                </a:cubicBezTo>
                <a:cubicBezTo>
                  <a:pt x="156" y="173"/>
                  <a:pt x="156" y="173"/>
                  <a:pt x="156" y="173"/>
                </a:cubicBezTo>
                <a:cubicBezTo>
                  <a:pt x="156" y="172"/>
                  <a:pt x="156" y="172"/>
                  <a:pt x="156" y="172"/>
                </a:cubicBezTo>
                <a:cubicBezTo>
                  <a:pt x="158" y="172"/>
                  <a:pt x="158" y="172"/>
                  <a:pt x="158" y="172"/>
                </a:cubicBezTo>
                <a:cubicBezTo>
                  <a:pt x="158" y="173"/>
                  <a:pt x="158" y="173"/>
                  <a:pt x="158" y="173"/>
                </a:cubicBezTo>
                <a:cubicBezTo>
                  <a:pt x="158" y="174"/>
                  <a:pt x="158" y="174"/>
                  <a:pt x="158" y="174"/>
                </a:cubicBezTo>
                <a:cubicBezTo>
                  <a:pt x="157" y="175"/>
                  <a:pt x="157" y="175"/>
                  <a:pt x="157" y="175"/>
                </a:cubicBezTo>
                <a:cubicBezTo>
                  <a:pt x="157" y="176"/>
                  <a:pt x="157" y="176"/>
                  <a:pt x="157" y="176"/>
                </a:cubicBezTo>
                <a:cubicBezTo>
                  <a:pt x="156" y="177"/>
                  <a:pt x="156" y="177"/>
                  <a:pt x="156" y="177"/>
                </a:cubicBezTo>
                <a:cubicBezTo>
                  <a:pt x="156" y="178"/>
                  <a:pt x="156" y="178"/>
                  <a:pt x="156" y="178"/>
                </a:cubicBezTo>
                <a:cubicBezTo>
                  <a:pt x="156" y="178"/>
                  <a:pt x="156" y="178"/>
                  <a:pt x="156" y="178"/>
                </a:cubicBezTo>
                <a:cubicBezTo>
                  <a:pt x="157" y="178"/>
                  <a:pt x="157" y="178"/>
                  <a:pt x="157" y="178"/>
                </a:cubicBezTo>
                <a:cubicBezTo>
                  <a:pt x="157" y="178"/>
                  <a:pt x="157" y="178"/>
                  <a:pt x="157" y="178"/>
                </a:cubicBezTo>
                <a:cubicBezTo>
                  <a:pt x="157" y="179"/>
                  <a:pt x="157" y="179"/>
                  <a:pt x="157" y="179"/>
                </a:cubicBezTo>
                <a:cubicBezTo>
                  <a:pt x="156" y="179"/>
                  <a:pt x="156" y="179"/>
                  <a:pt x="156" y="179"/>
                </a:cubicBezTo>
                <a:cubicBezTo>
                  <a:pt x="155" y="181"/>
                  <a:pt x="155" y="181"/>
                  <a:pt x="155" y="181"/>
                </a:cubicBezTo>
                <a:cubicBezTo>
                  <a:pt x="154" y="180"/>
                  <a:pt x="154" y="180"/>
                  <a:pt x="154" y="180"/>
                </a:cubicBezTo>
                <a:cubicBezTo>
                  <a:pt x="154" y="181"/>
                  <a:pt x="154" y="181"/>
                  <a:pt x="154" y="181"/>
                </a:cubicBezTo>
                <a:cubicBezTo>
                  <a:pt x="153" y="182"/>
                  <a:pt x="153" y="182"/>
                  <a:pt x="153" y="182"/>
                </a:cubicBezTo>
                <a:cubicBezTo>
                  <a:pt x="154" y="183"/>
                  <a:pt x="154" y="183"/>
                  <a:pt x="154" y="183"/>
                </a:cubicBezTo>
                <a:cubicBezTo>
                  <a:pt x="155" y="183"/>
                  <a:pt x="155" y="183"/>
                  <a:pt x="155" y="183"/>
                </a:cubicBezTo>
                <a:cubicBezTo>
                  <a:pt x="156" y="184"/>
                  <a:pt x="156" y="184"/>
                  <a:pt x="156" y="184"/>
                </a:cubicBezTo>
                <a:cubicBezTo>
                  <a:pt x="157" y="184"/>
                  <a:pt x="157" y="184"/>
                  <a:pt x="157" y="184"/>
                </a:cubicBezTo>
                <a:cubicBezTo>
                  <a:pt x="159" y="183"/>
                  <a:pt x="159" y="183"/>
                  <a:pt x="159" y="183"/>
                </a:cubicBezTo>
                <a:cubicBezTo>
                  <a:pt x="160" y="183"/>
                  <a:pt x="160" y="183"/>
                  <a:pt x="160" y="183"/>
                </a:cubicBezTo>
                <a:cubicBezTo>
                  <a:pt x="161" y="180"/>
                  <a:pt x="161" y="180"/>
                  <a:pt x="161" y="180"/>
                </a:cubicBezTo>
                <a:cubicBezTo>
                  <a:pt x="163" y="179"/>
                  <a:pt x="163" y="179"/>
                  <a:pt x="163" y="179"/>
                </a:cubicBezTo>
                <a:cubicBezTo>
                  <a:pt x="164" y="178"/>
                  <a:pt x="164" y="178"/>
                  <a:pt x="164" y="178"/>
                </a:cubicBezTo>
                <a:cubicBezTo>
                  <a:pt x="165" y="179"/>
                  <a:pt x="165" y="179"/>
                  <a:pt x="165" y="179"/>
                </a:cubicBezTo>
                <a:cubicBezTo>
                  <a:pt x="166" y="179"/>
                  <a:pt x="166" y="179"/>
                  <a:pt x="166" y="179"/>
                </a:cubicBezTo>
                <a:cubicBezTo>
                  <a:pt x="167" y="180"/>
                  <a:pt x="167" y="180"/>
                  <a:pt x="167" y="180"/>
                </a:cubicBezTo>
                <a:cubicBezTo>
                  <a:pt x="168" y="180"/>
                  <a:pt x="168" y="180"/>
                  <a:pt x="168" y="180"/>
                </a:cubicBezTo>
                <a:cubicBezTo>
                  <a:pt x="170" y="181"/>
                  <a:pt x="170" y="181"/>
                  <a:pt x="170" y="181"/>
                </a:cubicBezTo>
                <a:cubicBezTo>
                  <a:pt x="171" y="181"/>
                  <a:pt x="171" y="181"/>
                  <a:pt x="171" y="181"/>
                </a:cubicBezTo>
                <a:cubicBezTo>
                  <a:pt x="171" y="183"/>
                  <a:pt x="171" y="183"/>
                  <a:pt x="171" y="183"/>
                </a:cubicBezTo>
                <a:cubicBezTo>
                  <a:pt x="172" y="186"/>
                  <a:pt x="172" y="186"/>
                  <a:pt x="172" y="186"/>
                </a:cubicBezTo>
                <a:cubicBezTo>
                  <a:pt x="172" y="187"/>
                  <a:pt x="172" y="187"/>
                  <a:pt x="172" y="187"/>
                </a:cubicBezTo>
                <a:cubicBezTo>
                  <a:pt x="173" y="189"/>
                  <a:pt x="173" y="189"/>
                  <a:pt x="173" y="189"/>
                </a:cubicBezTo>
                <a:cubicBezTo>
                  <a:pt x="178" y="193"/>
                  <a:pt x="178" y="193"/>
                  <a:pt x="178" y="193"/>
                </a:cubicBezTo>
                <a:cubicBezTo>
                  <a:pt x="179" y="194"/>
                  <a:pt x="179" y="194"/>
                  <a:pt x="179" y="194"/>
                </a:cubicBezTo>
                <a:cubicBezTo>
                  <a:pt x="180" y="195"/>
                  <a:pt x="180" y="195"/>
                  <a:pt x="180" y="195"/>
                </a:cubicBezTo>
                <a:cubicBezTo>
                  <a:pt x="182" y="197"/>
                  <a:pt x="182" y="197"/>
                  <a:pt x="182" y="197"/>
                </a:cubicBezTo>
                <a:cubicBezTo>
                  <a:pt x="183" y="197"/>
                  <a:pt x="183" y="197"/>
                  <a:pt x="183" y="197"/>
                </a:cubicBezTo>
                <a:cubicBezTo>
                  <a:pt x="184" y="197"/>
                  <a:pt x="184" y="197"/>
                  <a:pt x="184" y="197"/>
                </a:cubicBezTo>
                <a:cubicBezTo>
                  <a:pt x="185" y="199"/>
                  <a:pt x="185" y="199"/>
                  <a:pt x="185" y="199"/>
                </a:cubicBezTo>
                <a:cubicBezTo>
                  <a:pt x="185" y="199"/>
                  <a:pt x="185" y="199"/>
                  <a:pt x="185" y="199"/>
                </a:cubicBezTo>
                <a:cubicBezTo>
                  <a:pt x="186" y="198"/>
                  <a:pt x="186" y="198"/>
                  <a:pt x="186" y="198"/>
                </a:cubicBezTo>
                <a:cubicBezTo>
                  <a:pt x="186" y="199"/>
                  <a:pt x="186" y="199"/>
                  <a:pt x="186" y="199"/>
                </a:cubicBezTo>
                <a:cubicBezTo>
                  <a:pt x="188" y="200"/>
                  <a:pt x="188" y="200"/>
                  <a:pt x="188" y="200"/>
                </a:cubicBezTo>
                <a:cubicBezTo>
                  <a:pt x="189" y="200"/>
                  <a:pt x="189" y="200"/>
                  <a:pt x="189" y="200"/>
                </a:cubicBezTo>
                <a:cubicBezTo>
                  <a:pt x="189" y="202"/>
                  <a:pt x="189" y="202"/>
                  <a:pt x="189" y="202"/>
                </a:cubicBezTo>
                <a:cubicBezTo>
                  <a:pt x="190" y="203"/>
                  <a:pt x="190" y="203"/>
                  <a:pt x="190" y="203"/>
                </a:cubicBezTo>
                <a:cubicBezTo>
                  <a:pt x="191" y="202"/>
                  <a:pt x="191" y="202"/>
                  <a:pt x="191" y="202"/>
                </a:cubicBezTo>
                <a:cubicBezTo>
                  <a:pt x="190" y="201"/>
                  <a:pt x="190" y="201"/>
                  <a:pt x="190" y="201"/>
                </a:cubicBezTo>
                <a:cubicBezTo>
                  <a:pt x="190" y="200"/>
                  <a:pt x="190" y="200"/>
                  <a:pt x="190" y="200"/>
                </a:cubicBezTo>
                <a:cubicBezTo>
                  <a:pt x="189" y="199"/>
                  <a:pt x="189" y="199"/>
                  <a:pt x="189" y="199"/>
                </a:cubicBezTo>
                <a:cubicBezTo>
                  <a:pt x="189" y="199"/>
                  <a:pt x="189" y="199"/>
                  <a:pt x="189" y="199"/>
                </a:cubicBezTo>
                <a:cubicBezTo>
                  <a:pt x="191" y="200"/>
                  <a:pt x="191" y="200"/>
                  <a:pt x="191" y="200"/>
                </a:cubicBezTo>
                <a:cubicBezTo>
                  <a:pt x="191" y="200"/>
                  <a:pt x="191" y="200"/>
                  <a:pt x="191" y="200"/>
                </a:cubicBezTo>
                <a:cubicBezTo>
                  <a:pt x="192" y="200"/>
                  <a:pt x="192" y="200"/>
                  <a:pt x="192" y="200"/>
                </a:cubicBezTo>
                <a:cubicBezTo>
                  <a:pt x="192" y="199"/>
                  <a:pt x="192" y="199"/>
                  <a:pt x="192" y="199"/>
                </a:cubicBezTo>
                <a:cubicBezTo>
                  <a:pt x="193" y="199"/>
                  <a:pt x="193" y="199"/>
                  <a:pt x="193" y="199"/>
                </a:cubicBezTo>
                <a:cubicBezTo>
                  <a:pt x="195" y="201"/>
                  <a:pt x="195" y="201"/>
                  <a:pt x="195" y="201"/>
                </a:cubicBezTo>
                <a:cubicBezTo>
                  <a:pt x="195" y="202"/>
                  <a:pt x="195" y="202"/>
                  <a:pt x="195" y="202"/>
                </a:cubicBezTo>
                <a:cubicBezTo>
                  <a:pt x="196" y="202"/>
                  <a:pt x="196" y="202"/>
                  <a:pt x="196" y="202"/>
                </a:cubicBezTo>
                <a:cubicBezTo>
                  <a:pt x="196" y="204"/>
                  <a:pt x="196" y="204"/>
                  <a:pt x="196" y="204"/>
                </a:cubicBezTo>
                <a:cubicBezTo>
                  <a:pt x="197" y="205"/>
                  <a:pt x="197" y="205"/>
                  <a:pt x="197" y="205"/>
                </a:cubicBezTo>
                <a:cubicBezTo>
                  <a:pt x="197" y="206"/>
                  <a:pt x="197" y="206"/>
                  <a:pt x="197" y="206"/>
                </a:cubicBezTo>
                <a:cubicBezTo>
                  <a:pt x="198" y="208"/>
                  <a:pt x="198" y="208"/>
                  <a:pt x="198" y="208"/>
                </a:cubicBezTo>
                <a:cubicBezTo>
                  <a:pt x="197" y="209"/>
                  <a:pt x="197" y="209"/>
                  <a:pt x="197" y="209"/>
                </a:cubicBezTo>
                <a:cubicBezTo>
                  <a:pt x="197" y="210"/>
                  <a:pt x="197" y="210"/>
                  <a:pt x="197" y="210"/>
                </a:cubicBezTo>
                <a:cubicBezTo>
                  <a:pt x="196" y="212"/>
                  <a:pt x="196" y="212"/>
                  <a:pt x="196" y="212"/>
                </a:cubicBezTo>
                <a:cubicBezTo>
                  <a:pt x="193" y="211"/>
                  <a:pt x="193" y="211"/>
                  <a:pt x="193" y="211"/>
                </a:cubicBezTo>
                <a:cubicBezTo>
                  <a:pt x="192" y="211"/>
                  <a:pt x="192" y="211"/>
                  <a:pt x="192" y="211"/>
                </a:cubicBezTo>
                <a:cubicBezTo>
                  <a:pt x="192" y="211"/>
                  <a:pt x="192" y="211"/>
                  <a:pt x="192" y="211"/>
                </a:cubicBezTo>
                <a:cubicBezTo>
                  <a:pt x="191" y="212"/>
                  <a:pt x="191" y="212"/>
                  <a:pt x="191" y="212"/>
                </a:cubicBezTo>
                <a:cubicBezTo>
                  <a:pt x="189" y="211"/>
                  <a:pt x="189" y="211"/>
                  <a:pt x="189" y="211"/>
                </a:cubicBezTo>
                <a:cubicBezTo>
                  <a:pt x="188" y="211"/>
                  <a:pt x="188" y="211"/>
                  <a:pt x="188" y="211"/>
                </a:cubicBezTo>
                <a:cubicBezTo>
                  <a:pt x="189" y="212"/>
                  <a:pt x="189" y="212"/>
                  <a:pt x="189" y="212"/>
                </a:cubicBezTo>
                <a:cubicBezTo>
                  <a:pt x="188" y="213"/>
                  <a:pt x="188" y="213"/>
                  <a:pt x="188" y="213"/>
                </a:cubicBezTo>
                <a:cubicBezTo>
                  <a:pt x="188" y="214"/>
                  <a:pt x="188" y="214"/>
                  <a:pt x="188" y="214"/>
                </a:cubicBezTo>
                <a:cubicBezTo>
                  <a:pt x="186" y="214"/>
                  <a:pt x="186" y="214"/>
                  <a:pt x="186" y="214"/>
                </a:cubicBezTo>
                <a:cubicBezTo>
                  <a:pt x="185" y="214"/>
                  <a:pt x="185" y="214"/>
                  <a:pt x="185" y="214"/>
                </a:cubicBezTo>
                <a:cubicBezTo>
                  <a:pt x="186" y="215"/>
                  <a:pt x="186" y="215"/>
                  <a:pt x="186" y="215"/>
                </a:cubicBezTo>
                <a:cubicBezTo>
                  <a:pt x="187" y="215"/>
                  <a:pt x="187" y="215"/>
                  <a:pt x="187" y="215"/>
                </a:cubicBezTo>
                <a:cubicBezTo>
                  <a:pt x="187" y="217"/>
                  <a:pt x="187" y="217"/>
                  <a:pt x="187" y="217"/>
                </a:cubicBezTo>
                <a:cubicBezTo>
                  <a:pt x="188" y="218"/>
                  <a:pt x="188" y="218"/>
                  <a:pt x="188" y="218"/>
                </a:cubicBezTo>
                <a:cubicBezTo>
                  <a:pt x="189" y="217"/>
                  <a:pt x="189" y="217"/>
                  <a:pt x="189" y="217"/>
                </a:cubicBezTo>
                <a:cubicBezTo>
                  <a:pt x="190" y="218"/>
                  <a:pt x="190" y="218"/>
                  <a:pt x="190" y="218"/>
                </a:cubicBezTo>
                <a:cubicBezTo>
                  <a:pt x="190" y="219"/>
                  <a:pt x="190" y="219"/>
                  <a:pt x="190" y="219"/>
                </a:cubicBezTo>
                <a:cubicBezTo>
                  <a:pt x="192" y="219"/>
                  <a:pt x="192" y="219"/>
                  <a:pt x="192" y="219"/>
                </a:cubicBezTo>
                <a:cubicBezTo>
                  <a:pt x="194" y="220"/>
                  <a:pt x="194" y="220"/>
                  <a:pt x="194" y="220"/>
                </a:cubicBezTo>
                <a:cubicBezTo>
                  <a:pt x="196" y="221"/>
                  <a:pt x="196" y="221"/>
                  <a:pt x="196" y="221"/>
                </a:cubicBezTo>
                <a:cubicBezTo>
                  <a:pt x="199" y="222"/>
                  <a:pt x="199" y="222"/>
                  <a:pt x="199" y="222"/>
                </a:cubicBezTo>
                <a:cubicBezTo>
                  <a:pt x="200" y="222"/>
                  <a:pt x="200" y="222"/>
                  <a:pt x="200" y="222"/>
                </a:cubicBezTo>
                <a:cubicBezTo>
                  <a:pt x="200" y="221"/>
                  <a:pt x="200" y="221"/>
                  <a:pt x="200" y="221"/>
                </a:cubicBezTo>
                <a:cubicBezTo>
                  <a:pt x="201" y="221"/>
                  <a:pt x="201" y="221"/>
                  <a:pt x="201" y="221"/>
                </a:cubicBezTo>
                <a:cubicBezTo>
                  <a:pt x="202" y="222"/>
                  <a:pt x="202" y="222"/>
                  <a:pt x="202" y="222"/>
                </a:cubicBezTo>
                <a:cubicBezTo>
                  <a:pt x="202" y="223"/>
                  <a:pt x="202" y="223"/>
                  <a:pt x="202" y="223"/>
                </a:cubicBezTo>
                <a:cubicBezTo>
                  <a:pt x="204" y="221"/>
                  <a:pt x="204" y="221"/>
                  <a:pt x="204" y="221"/>
                </a:cubicBezTo>
                <a:cubicBezTo>
                  <a:pt x="205" y="222"/>
                  <a:pt x="205" y="222"/>
                  <a:pt x="205" y="222"/>
                </a:cubicBezTo>
                <a:cubicBezTo>
                  <a:pt x="205" y="222"/>
                  <a:pt x="205" y="222"/>
                  <a:pt x="205" y="222"/>
                </a:cubicBezTo>
                <a:cubicBezTo>
                  <a:pt x="206" y="221"/>
                  <a:pt x="206" y="221"/>
                  <a:pt x="206" y="221"/>
                </a:cubicBezTo>
                <a:cubicBezTo>
                  <a:pt x="207" y="221"/>
                  <a:pt x="207" y="221"/>
                  <a:pt x="207" y="221"/>
                </a:cubicBezTo>
                <a:cubicBezTo>
                  <a:pt x="207" y="222"/>
                  <a:pt x="207" y="222"/>
                  <a:pt x="207" y="222"/>
                </a:cubicBezTo>
                <a:cubicBezTo>
                  <a:pt x="207" y="222"/>
                  <a:pt x="207" y="222"/>
                  <a:pt x="207" y="222"/>
                </a:cubicBezTo>
                <a:cubicBezTo>
                  <a:pt x="209" y="221"/>
                  <a:pt x="209" y="221"/>
                  <a:pt x="209" y="221"/>
                </a:cubicBezTo>
                <a:cubicBezTo>
                  <a:pt x="213" y="220"/>
                  <a:pt x="213" y="220"/>
                  <a:pt x="213" y="220"/>
                </a:cubicBezTo>
                <a:cubicBezTo>
                  <a:pt x="214" y="219"/>
                  <a:pt x="214" y="219"/>
                  <a:pt x="214" y="219"/>
                </a:cubicBezTo>
                <a:cubicBezTo>
                  <a:pt x="214" y="220"/>
                  <a:pt x="214" y="220"/>
                  <a:pt x="214" y="220"/>
                </a:cubicBezTo>
                <a:cubicBezTo>
                  <a:pt x="213" y="221"/>
                  <a:pt x="213" y="221"/>
                  <a:pt x="213" y="221"/>
                </a:cubicBezTo>
                <a:cubicBezTo>
                  <a:pt x="213" y="222"/>
                  <a:pt x="213" y="222"/>
                  <a:pt x="213" y="222"/>
                </a:cubicBezTo>
                <a:cubicBezTo>
                  <a:pt x="214" y="222"/>
                  <a:pt x="214" y="222"/>
                  <a:pt x="214" y="222"/>
                </a:cubicBezTo>
                <a:cubicBezTo>
                  <a:pt x="214" y="223"/>
                  <a:pt x="214" y="223"/>
                  <a:pt x="214" y="223"/>
                </a:cubicBezTo>
                <a:cubicBezTo>
                  <a:pt x="214" y="224"/>
                  <a:pt x="214" y="224"/>
                  <a:pt x="214" y="224"/>
                </a:cubicBezTo>
                <a:cubicBezTo>
                  <a:pt x="214" y="225"/>
                  <a:pt x="214" y="225"/>
                  <a:pt x="214" y="225"/>
                </a:cubicBezTo>
                <a:cubicBezTo>
                  <a:pt x="215" y="225"/>
                  <a:pt x="215" y="225"/>
                  <a:pt x="215" y="225"/>
                </a:cubicBezTo>
                <a:cubicBezTo>
                  <a:pt x="215" y="224"/>
                  <a:pt x="215" y="224"/>
                  <a:pt x="215" y="224"/>
                </a:cubicBezTo>
                <a:cubicBezTo>
                  <a:pt x="216" y="225"/>
                  <a:pt x="216" y="225"/>
                  <a:pt x="216" y="225"/>
                </a:cubicBezTo>
                <a:cubicBezTo>
                  <a:pt x="216" y="226"/>
                  <a:pt x="216" y="226"/>
                  <a:pt x="216" y="226"/>
                </a:cubicBezTo>
                <a:cubicBezTo>
                  <a:pt x="215" y="228"/>
                  <a:pt x="215" y="228"/>
                  <a:pt x="215" y="228"/>
                </a:cubicBezTo>
                <a:cubicBezTo>
                  <a:pt x="215" y="229"/>
                  <a:pt x="215" y="229"/>
                  <a:pt x="215" y="229"/>
                </a:cubicBezTo>
                <a:cubicBezTo>
                  <a:pt x="216" y="229"/>
                  <a:pt x="216" y="229"/>
                  <a:pt x="216" y="229"/>
                </a:cubicBezTo>
                <a:cubicBezTo>
                  <a:pt x="217" y="228"/>
                  <a:pt x="217" y="228"/>
                  <a:pt x="217" y="228"/>
                </a:cubicBezTo>
                <a:cubicBezTo>
                  <a:pt x="217" y="227"/>
                  <a:pt x="217" y="227"/>
                  <a:pt x="217" y="227"/>
                </a:cubicBezTo>
                <a:cubicBezTo>
                  <a:pt x="217" y="226"/>
                  <a:pt x="217" y="226"/>
                  <a:pt x="217" y="226"/>
                </a:cubicBezTo>
                <a:cubicBezTo>
                  <a:pt x="218" y="226"/>
                  <a:pt x="218" y="226"/>
                  <a:pt x="218" y="226"/>
                </a:cubicBezTo>
                <a:cubicBezTo>
                  <a:pt x="218" y="228"/>
                  <a:pt x="218" y="228"/>
                  <a:pt x="218" y="228"/>
                </a:cubicBezTo>
                <a:cubicBezTo>
                  <a:pt x="217" y="230"/>
                  <a:pt x="217" y="230"/>
                  <a:pt x="217" y="230"/>
                </a:cubicBezTo>
                <a:cubicBezTo>
                  <a:pt x="216" y="231"/>
                  <a:pt x="216" y="231"/>
                  <a:pt x="216" y="231"/>
                </a:cubicBezTo>
                <a:cubicBezTo>
                  <a:pt x="216" y="233"/>
                  <a:pt x="216" y="233"/>
                  <a:pt x="216" y="233"/>
                </a:cubicBezTo>
                <a:cubicBezTo>
                  <a:pt x="217" y="235"/>
                  <a:pt x="217" y="235"/>
                  <a:pt x="217" y="235"/>
                </a:cubicBezTo>
                <a:cubicBezTo>
                  <a:pt x="217" y="237"/>
                  <a:pt x="217" y="237"/>
                  <a:pt x="217" y="237"/>
                </a:cubicBezTo>
                <a:cubicBezTo>
                  <a:pt x="216" y="239"/>
                  <a:pt x="216" y="239"/>
                  <a:pt x="216" y="239"/>
                </a:cubicBezTo>
                <a:cubicBezTo>
                  <a:pt x="217" y="239"/>
                  <a:pt x="217" y="239"/>
                  <a:pt x="217" y="239"/>
                </a:cubicBezTo>
                <a:cubicBezTo>
                  <a:pt x="217" y="240"/>
                  <a:pt x="217" y="240"/>
                  <a:pt x="217" y="240"/>
                </a:cubicBezTo>
                <a:cubicBezTo>
                  <a:pt x="217" y="241"/>
                  <a:pt x="217" y="241"/>
                  <a:pt x="217" y="241"/>
                </a:cubicBezTo>
                <a:cubicBezTo>
                  <a:pt x="217" y="242"/>
                  <a:pt x="217" y="242"/>
                  <a:pt x="217" y="242"/>
                </a:cubicBezTo>
                <a:cubicBezTo>
                  <a:pt x="218" y="244"/>
                  <a:pt x="218" y="244"/>
                  <a:pt x="218" y="244"/>
                </a:cubicBezTo>
                <a:cubicBezTo>
                  <a:pt x="218" y="248"/>
                  <a:pt x="218" y="248"/>
                  <a:pt x="218" y="248"/>
                </a:cubicBezTo>
                <a:cubicBezTo>
                  <a:pt x="218" y="244"/>
                  <a:pt x="218" y="244"/>
                  <a:pt x="218" y="244"/>
                </a:cubicBezTo>
                <a:cubicBezTo>
                  <a:pt x="218" y="241"/>
                  <a:pt x="218" y="241"/>
                  <a:pt x="218" y="241"/>
                </a:cubicBezTo>
                <a:cubicBezTo>
                  <a:pt x="218" y="238"/>
                  <a:pt x="218" y="238"/>
                  <a:pt x="218" y="238"/>
                </a:cubicBezTo>
                <a:cubicBezTo>
                  <a:pt x="220" y="235"/>
                  <a:pt x="220" y="235"/>
                  <a:pt x="220" y="235"/>
                </a:cubicBezTo>
                <a:cubicBezTo>
                  <a:pt x="220" y="235"/>
                  <a:pt x="220" y="235"/>
                  <a:pt x="220" y="235"/>
                </a:cubicBezTo>
                <a:cubicBezTo>
                  <a:pt x="220" y="237"/>
                  <a:pt x="220" y="237"/>
                  <a:pt x="220" y="237"/>
                </a:cubicBezTo>
                <a:cubicBezTo>
                  <a:pt x="220" y="237"/>
                  <a:pt x="220" y="237"/>
                  <a:pt x="220" y="237"/>
                </a:cubicBezTo>
                <a:cubicBezTo>
                  <a:pt x="220" y="238"/>
                  <a:pt x="220" y="238"/>
                  <a:pt x="220" y="238"/>
                </a:cubicBezTo>
                <a:cubicBezTo>
                  <a:pt x="220" y="238"/>
                  <a:pt x="220" y="238"/>
                  <a:pt x="220" y="238"/>
                </a:cubicBezTo>
                <a:cubicBezTo>
                  <a:pt x="221" y="237"/>
                  <a:pt x="221" y="237"/>
                  <a:pt x="221" y="237"/>
                </a:cubicBezTo>
                <a:cubicBezTo>
                  <a:pt x="221" y="238"/>
                  <a:pt x="221" y="238"/>
                  <a:pt x="221" y="238"/>
                </a:cubicBezTo>
                <a:cubicBezTo>
                  <a:pt x="222" y="237"/>
                  <a:pt x="222" y="237"/>
                  <a:pt x="222" y="237"/>
                </a:cubicBezTo>
                <a:cubicBezTo>
                  <a:pt x="222" y="236"/>
                  <a:pt x="222" y="236"/>
                  <a:pt x="222" y="236"/>
                </a:cubicBezTo>
                <a:cubicBezTo>
                  <a:pt x="221" y="235"/>
                  <a:pt x="221" y="235"/>
                  <a:pt x="221" y="235"/>
                </a:cubicBezTo>
                <a:cubicBezTo>
                  <a:pt x="221" y="234"/>
                  <a:pt x="221" y="234"/>
                  <a:pt x="221" y="234"/>
                </a:cubicBezTo>
                <a:cubicBezTo>
                  <a:pt x="222" y="234"/>
                  <a:pt x="222" y="234"/>
                  <a:pt x="222" y="234"/>
                </a:cubicBezTo>
                <a:cubicBezTo>
                  <a:pt x="223" y="233"/>
                  <a:pt x="223" y="233"/>
                  <a:pt x="223" y="233"/>
                </a:cubicBezTo>
                <a:cubicBezTo>
                  <a:pt x="222" y="232"/>
                  <a:pt x="222" y="232"/>
                  <a:pt x="222" y="232"/>
                </a:cubicBezTo>
                <a:cubicBezTo>
                  <a:pt x="222" y="232"/>
                  <a:pt x="222" y="232"/>
                  <a:pt x="222" y="232"/>
                </a:cubicBezTo>
                <a:cubicBezTo>
                  <a:pt x="222" y="229"/>
                  <a:pt x="222" y="229"/>
                  <a:pt x="222" y="229"/>
                </a:cubicBezTo>
                <a:cubicBezTo>
                  <a:pt x="223" y="226"/>
                  <a:pt x="223" y="226"/>
                  <a:pt x="223" y="226"/>
                </a:cubicBezTo>
                <a:cubicBezTo>
                  <a:pt x="223" y="225"/>
                  <a:pt x="223" y="225"/>
                  <a:pt x="223" y="225"/>
                </a:cubicBezTo>
                <a:cubicBezTo>
                  <a:pt x="223" y="224"/>
                  <a:pt x="223" y="224"/>
                  <a:pt x="223" y="224"/>
                </a:cubicBezTo>
                <a:cubicBezTo>
                  <a:pt x="224" y="223"/>
                  <a:pt x="224" y="223"/>
                  <a:pt x="224" y="223"/>
                </a:cubicBezTo>
                <a:cubicBezTo>
                  <a:pt x="226" y="223"/>
                  <a:pt x="226" y="223"/>
                  <a:pt x="226" y="223"/>
                </a:cubicBezTo>
                <a:cubicBezTo>
                  <a:pt x="226" y="223"/>
                  <a:pt x="226" y="223"/>
                  <a:pt x="226" y="223"/>
                </a:cubicBezTo>
                <a:cubicBezTo>
                  <a:pt x="226" y="222"/>
                  <a:pt x="226" y="222"/>
                  <a:pt x="226" y="222"/>
                </a:cubicBezTo>
                <a:cubicBezTo>
                  <a:pt x="227" y="222"/>
                  <a:pt x="227" y="222"/>
                  <a:pt x="227" y="222"/>
                </a:cubicBezTo>
                <a:cubicBezTo>
                  <a:pt x="228" y="223"/>
                  <a:pt x="228" y="223"/>
                  <a:pt x="228" y="223"/>
                </a:cubicBezTo>
                <a:cubicBezTo>
                  <a:pt x="229" y="222"/>
                  <a:pt x="229" y="222"/>
                  <a:pt x="229" y="222"/>
                </a:cubicBezTo>
                <a:cubicBezTo>
                  <a:pt x="229" y="221"/>
                  <a:pt x="229" y="221"/>
                  <a:pt x="229" y="221"/>
                </a:cubicBezTo>
                <a:cubicBezTo>
                  <a:pt x="230" y="221"/>
                  <a:pt x="230" y="221"/>
                  <a:pt x="230" y="221"/>
                </a:cubicBezTo>
                <a:cubicBezTo>
                  <a:pt x="230" y="222"/>
                  <a:pt x="230" y="222"/>
                  <a:pt x="230" y="222"/>
                </a:cubicBezTo>
                <a:cubicBezTo>
                  <a:pt x="231" y="222"/>
                  <a:pt x="231" y="222"/>
                  <a:pt x="231" y="222"/>
                </a:cubicBezTo>
                <a:cubicBezTo>
                  <a:pt x="232" y="221"/>
                  <a:pt x="232" y="221"/>
                  <a:pt x="232" y="221"/>
                </a:cubicBezTo>
                <a:cubicBezTo>
                  <a:pt x="233" y="220"/>
                  <a:pt x="233" y="220"/>
                  <a:pt x="233" y="220"/>
                </a:cubicBezTo>
                <a:cubicBezTo>
                  <a:pt x="233" y="220"/>
                  <a:pt x="233" y="220"/>
                  <a:pt x="233" y="220"/>
                </a:cubicBezTo>
                <a:cubicBezTo>
                  <a:pt x="234" y="221"/>
                  <a:pt x="234" y="221"/>
                  <a:pt x="234" y="221"/>
                </a:cubicBezTo>
                <a:cubicBezTo>
                  <a:pt x="234" y="221"/>
                  <a:pt x="234" y="221"/>
                  <a:pt x="234" y="221"/>
                </a:cubicBezTo>
                <a:cubicBezTo>
                  <a:pt x="235" y="223"/>
                  <a:pt x="235" y="223"/>
                  <a:pt x="235" y="223"/>
                </a:cubicBezTo>
                <a:cubicBezTo>
                  <a:pt x="235" y="221"/>
                  <a:pt x="235" y="221"/>
                  <a:pt x="235" y="221"/>
                </a:cubicBezTo>
                <a:cubicBezTo>
                  <a:pt x="234" y="220"/>
                  <a:pt x="234" y="220"/>
                  <a:pt x="234" y="220"/>
                </a:cubicBezTo>
                <a:cubicBezTo>
                  <a:pt x="235" y="218"/>
                  <a:pt x="235" y="218"/>
                  <a:pt x="235" y="218"/>
                </a:cubicBezTo>
                <a:cubicBezTo>
                  <a:pt x="236" y="218"/>
                  <a:pt x="236" y="218"/>
                  <a:pt x="236" y="218"/>
                </a:cubicBezTo>
                <a:cubicBezTo>
                  <a:pt x="237" y="218"/>
                  <a:pt x="237" y="218"/>
                  <a:pt x="237" y="218"/>
                </a:cubicBezTo>
                <a:cubicBezTo>
                  <a:pt x="238" y="218"/>
                  <a:pt x="238" y="218"/>
                  <a:pt x="238" y="218"/>
                </a:cubicBezTo>
                <a:cubicBezTo>
                  <a:pt x="238" y="218"/>
                  <a:pt x="238" y="218"/>
                  <a:pt x="238" y="218"/>
                </a:cubicBezTo>
                <a:cubicBezTo>
                  <a:pt x="239" y="218"/>
                  <a:pt x="239" y="218"/>
                  <a:pt x="239" y="218"/>
                </a:cubicBezTo>
                <a:cubicBezTo>
                  <a:pt x="240" y="217"/>
                  <a:pt x="240" y="217"/>
                  <a:pt x="240" y="217"/>
                </a:cubicBezTo>
                <a:cubicBezTo>
                  <a:pt x="240" y="216"/>
                  <a:pt x="240" y="216"/>
                  <a:pt x="240" y="216"/>
                </a:cubicBezTo>
                <a:cubicBezTo>
                  <a:pt x="241" y="215"/>
                  <a:pt x="241" y="215"/>
                  <a:pt x="241" y="215"/>
                </a:cubicBezTo>
                <a:cubicBezTo>
                  <a:pt x="240" y="215"/>
                  <a:pt x="240" y="215"/>
                  <a:pt x="240" y="215"/>
                </a:cubicBezTo>
                <a:cubicBezTo>
                  <a:pt x="240" y="215"/>
                  <a:pt x="240" y="215"/>
                  <a:pt x="240" y="215"/>
                </a:cubicBezTo>
                <a:cubicBezTo>
                  <a:pt x="239" y="215"/>
                  <a:pt x="239" y="215"/>
                  <a:pt x="239" y="215"/>
                </a:cubicBezTo>
                <a:cubicBezTo>
                  <a:pt x="236" y="216"/>
                  <a:pt x="236" y="216"/>
                  <a:pt x="236" y="216"/>
                </a:cubicBezTo>
                <a:cubicBezTo>
                  <a:pt x="235" y="216"/>
                  <a:pt x="235" y="216"/>
                  <a:pt x="235" y="216"/>
                </a:cubicBezTo>
                <a:cubicBezTo>
                  <a:pt x="235" y="217"/>
                  <a:pt x="235" y="217"/>
                  <a:pt x="235" y="217"/>
                </a:cubicBezTo>
                <a:cubicBezTo>
                  <a:pt x="234" y="217"/>
                  <a:pt x="234" y="217"/>
                  <a:pt x="234" y="217"/>
                </a:cubicBezTo>
                <a:cubicBezTo>
                  <a:pt x="234" y="217"/>
                  <a:pt x="234" y="217"/>
                  <a:pt x="234" y="217"/>
                </a:cubicBezTo>
                <a:cubicBezTo>
                  <a:pt x="234" y="218"/>
                  <a:pt x="234" y="218"/>
                  <a:pt x="234" y="218"/>
                </a:cubicBezTo>
                <a:cubicBezTo>
                  <a:pt x="233" y="217"/>
                  <a:pt x="233" y="217"/>
                  <a:pt x="233" y="217"/>
                </a:cubicBezTo>
                <a:cubicBezTo>
                  <a:pt x="233" y="216"/>
                  <a:pt x="233" y="216"/>
                  <a:pt x="233" y="216"/>
                </a:cubicBezTo>
                <a:cubicBezTo>
                  <a:pt x="232" y="216"/>
                  <a:pt x="232" y="216"/>
                  <a:pt x="232" y="216"/>
                </a:cubicBezTo>
                <a:cubicBezTo>
                  <a:pt x="232" y="217"/>
                  <a:pt x="232" y="217"/>
                  <a:pt x="232" y="217"/>
                </a:cubicBezTo>
                <a:cubicBezTo>
                  <a:pt x="231" y="218"/>
                  <a:pt x="231" y="218"/>
                  <a:pt x="231" y="218"/>
                </a:cubicBezTo>
                <a:cubicBezTo>
                  <a:pt x="230" y="217"/>
                  <a:pt x="230" y="217"/>
                  <a:pt x="230" y="217"/>
                </a:cubicBezTo>
                <a:cubicBezTo>
                  <a:pt x="229" y="217"/>
                  <a:pt x="229" y="217"/>
                  <a:pt x="229" y="217"/>
                </a:cubicBezTo>
                <a:cubicBezTo>
                  <a:pt x="229" y="216"/>
                  <a:pt x="229" y="216"/>
                  <a:pt x="229" y="216"/>
                </a:cubicBezTo>
                <a:cubicBezTo>
                  <a:pt x="228" y="217"/>
                  <a:pt x="228" y="217"/>
                  <a:pt x="228" y="217"/>
                </a:cubicBezTo>
                <a:cubicBezTo>
                  <a:pt x="228" y="217"/>
                  <a:pt x="228" y="217"/>
                  <a:pt x="228" y="217"/>
                </a:cubicBezTo>
                <a:cubicBezTo>
                  <a:pt x="228" y="218"/>
                  <a:pt x="228" y="218"/>
                  <a:pt x="228" y="218"/>
                </a:cubicBezTo>
                <a:cubicBezTo>
                  <a:pt x="228" y="219"/>
                  <a:pt x="228" y="219"/>
                  <a:pt x="228" y="219"/>
                </a:cubicBezTo>
                <a:cubicBezTo>
                  <a:pt x="227" y="219"/>
                  <a:pt x="227" y="219"/>
                  <a:pt x="227" y="219"/>
                </a:cubicBezTo>
                <a:cubicBezTo>
                  <a:pt x="227" y="219"/>
                  <a:pt x="227" y="219"/>
                  <a:pt x="227" y="219"/>
                </a:cubicBezTo>
                <a:cubicBezTo>
                  <a:pt x="225" y="219"/>
                  <a:pt x="225" y="219"/>
                  <a:pt x="225" y="219"/>
                </a:cubicBezTo>
                <a:cubicBezTo>
                  <a:pt x="225" y="218"/>
                  <a:pt x="225" y="218"/>
                  <a:pt x="225" y="218"/>
                </a:cubicBezTo>
                <a:cubicBezTo>
                  <a:pt x="226" y="217"/>
                  <a:pt x="226" y="217"/>
                  <a:pt x="226" y="217"/>
                </a:cubicBezTo>
                <a:cubicBezTo>
                  <a:pt x="226" y="216"/>
                  <a:pt x="226" y="216"/>
                  <a:pt x="226" y="216"/>
                </a:cubicBezTo>
                <a:cubicBezTo>
                  <a:pt x="226" y="216"/>
                  <a:pt x="226" y="216"/>
                  <a:pt x="226" y="216"/>
                </a:cubicBezTo>
                <a:cubicBezTo>
                  <a:pt x="225" y="217"/>
                  <a:pt x="225" y="217"/>
                  <a:pt x="225" y="217"/>
                </a:cubicBezTo>
                <a:cubicBezTo>
                  <a:pt x="224" y="216"/>
                  <a:pt x="224" y="216"/>
                  <a:pt x="224" y="216"/>
                </a:cubicBezTo>
                <a:cubicBezTo>
                  <a:pt x="224" y="215"/>
                  <a:pt x="224" y="215"/>
                  <a:pt x="224" y="215"/>
                </a:cubicBezTo>
                <a:cubicBezTo>
                  <a:pt x="225" y="214"/>
                  <a:pt x="225" y="214"/>
                  <a:pt x="225" y="214"/>
                </a:cubicBezTo>
                <a:cubicBezTo>
                  <a:pt x="227" y="212"/>
                  <a:pt x="227" y="212"/>
                  <a:pt x="227" y="212"/>
                </a:cubicBezTo>
                <a:cubicBezTo>
                  <a:pt x="228" y="212"/>
                  <a:pt x="228" y="212"/>
                  <a:pt x="228" y="212"/>
                </a:cubicBezTo>
                <a:cubicBezTo>
                  <a:pt x="230" y="212"/>
                  <a:pt x="230" y="212"/>
                  <a:pt x="230" y="212"/>
                </a:cubicBezTo>
                <a:cubicBezTo>
                  <a:pt x="234" y="212"/>
                  <a:pt x="234" y="212"/>
                  <a:pt x="234" y="212"/>
                </a:cubicBezTo>
                <a:cubicBezTo>
                  <a:pt x="237" y="211"/>
                  <a:pt x="237" y="211"/>
                  <a:pt x="237" y="211"/>
                </a:cubicBezTo>
                <a:cubicBezTo>
                  <a:pt x="238" y="211"/>
                  <a:pt x="238" y="211"/>
                  <a:pt x="238" y="211"/>
                </a:cubicBezTo>
                <a:cubicBezTo>
                  <a:pt x="240" y="211"/>
                  <a:pt x="240" y="211"/>
                  <a:pt x="240" y="211"/>
                </a:cubicBezTo>
                <a:cubicBezTo>
                  <a:pt x="240" y="212"/>
                  <a:pt x="240" y="212"/>
                  <a:pt x="240" y="212"/>
                </a:cubicBezTo>
                <a:cubicBezTo>
                  <a:pt x="241" y="213"/>
                  <a:pt x="241" y="213"/>
                  <a:pt x="241" y="213"/>
                </a:cubicBezTo>
                <a:cubicBezTo>
                  <a:pt x="242" y="213"/>
                  <a:pt x="242" y="213"/>
                  <a:pt x="242" y="213"/>
                </a:cubicBezTo>
                <a:cubicBezTo>
                  <a:pt x="242" y="214"/>
                  <a:pt x="242" y="214"/>
                  <a:pt x="242" y="214"/>
                </a:cubicBezTo>
                <a:cubicBezTo>
                  <a:pt x="242" y="216"/>
                  <a:pt x="242" y="216"/>
                  <a:pt x="242" y="216"/>
                </a:cubicBezTo>
                <a:cubicBezTo>
                  <a:pt x="242" y="217"/>
                  <a:pt x="242" y="217"/>
                  <a:pt x="242" y="217"/>
                </a:cubicBezTo>
                <a:cubicBezTo>
                  <a:pt x="242" y="217"/>
                  <a:pt x="242" y="217"/>
                  <a:pt x="242" y="217"/>
                </a:cubicBezTo>
                <a:cubicBezTo>
                  <a:pt x="242" y="218"/>
                  <a:pt x="242" y="218"/>
                  <a:pt x="242" y="218"/>
                </a:cubicBezTo>
                <a:cubicBezTo>
                  <a:pt x="241" y="218"/>
                  <a:pt x="241" y="218"/>
                  <a:pt x="241" y="218"/>
                </a:cubicBezTo>
                <a:cubicBezTo>
                  <a:pt x="241" y="219"/>
                  <a:pt x="241" y="219"/>
                  <a:pt x="241" y="219"/>
                </a:cubicBezTo>
                <a:cubicBezTo>
                  <a:pt x="242" y="219"/>
                  <a:pt x="242" y="219"/>
                  <a:pt x="242" y="219"/>
                </a:cubicBezTo>
                <a:cubicBezTo>
                  <a:pt x="242" y="222"/>
                  <a:pt x="242" y="222"/>
                  <a:pt x="242" y="222"/>
                </a:cubicBezTo>
                <a:cubicBezTo>
                  <a:pt x="243" y="222"/>
                  <a:pt x="243" y="222"/>
                  <a:pt x="243" y="222"/>
                </a:cubicBezTo>
                <a:cubicBezTo>
                  <a:pt x="244" y="222"/>
                  <a:pt x="244" y="222"/>
                  <a:pt x="244" y="222"/>
                </a:cubicBezTo>
                <a:cubicBezTo>
                  <a:pt x="244" y="223"/>
                  <a:pt x="244" y="223"/>
                  <a:pt x="244" y="223"/>
                </a:cubicBezTo>
                <a:cubicBezTo>
                  <a:pt x="243" y="223"/>
                  <a:pt x="243" y="223"/>
                  <a:pt x="243" y="223"/>
                </a:cubicBezTo>
                <a:cubicBezTo>
                  <a:pt x="242" y="224"/>
                  <a:pt x="242" y="224"/>
                  <a:pt x="242" y="224"/>
                </a:cubicBezTo>
                <a:cubicBezTo>
                  <a:pt x="242" y="225"/>
                  <a:pt x="242" y="225"/>
                  <a:pt x="242" y="225"/>
                </a:cubicBezTo>
                <a:cubicBezTo>
                  <a:pt x="243" y="225"/>
                  <a:pt x="243" y="225"/>
                  <a:pt x="243" y="225"/>
                </a:cubicBezTo>
                <a:cubicBezTo>
                  <a:pt x="244" y="226"/>
                  <a:pt x="244" y="226"/>
                  <a:pt x="244" y="226"/>
                </a:cubicBezTo>
                <a:cubicBezTo>
                  <a:pt x="245" y="226"/>
                  <a:pt x="245" y="226"/>
                  <a:pt x="245" y="226"/>
                </a:cubicBezTo>
                <a:cubicBezTo>
                  <a:pt x="245" y="226"/>
                  <a:pt x="245" y="226"/>
                  <a:pt x="245" y="226"/>
                </a:cubicBezTo>
                <a:cubicBezTo>
                  <a:pt x="246" y="227"/>
                  <a:pt x="246" y="227"/>
                  <a:pt x="246" y="227"/>
                </a:cubicBezTo>
                <a:cubicBezTo>
                  <a:pt x="247" y="227"/>
                  <a:pt x="247" y="227"/>
                  <a:pt x="247" y="227"/>
                </a:cubicBezTo>
                <a:cubicBezTo>
                  <a:pt x="248" y="226"/>
                  <a:pt x="248" y="226"/>
                  <a:pt x="248" y="226"/>
                </a:cubicBezTo>
                <a:cubicBezTo>
                  <a:pt x="249" y="227"/>
                  <a:pt x="249" y="227"/>
                  <a:pt x="249" y="227"/>
                </a:cubicBezTo>
                <a:cubicBezTo>
                  <a:pt x="249" y="227"/>
                  <a:pt x="249" y="227"/>
                  <a:pt x="249" y="227"/>
                </a:cubicBezTo>
                <a:cubicBezTo>
                  <a:pt x="249" y="228"/>
                  <a:pt x="249" y="228"/>
                  <a:pt x="249" y="228"/>
                </a:cubicBezTo>
                <a:cubicBezTo>
                  <a:pt x="250" y="228"/>
                  <a:pt x="250" y="228"/>
                  <a:pt x="250" y="228"/>
                </a:cubicBezTo>
                <a:cubicBezTo>
                  <a:pt x="250" y="228"/>
                  <a:pt x="250" y="228"/>
                  <a:pt x="250" y="228"/>
                </a:cubicBezTo>
                <a:cubicBezTo>
                  <a:pt x="250" y="229"/>
                  <a:pt x="250" y="229"/>
                  <a:pt x="250" y="229"/>
                </a:cubicBezTo>
                <a:cubicBezTo>
                  <a:pt x="250" y="230"/>
                  <a:pt x="250" y="230"/>
                  <a:pt x="250" y="230"/>
                </a:cubicBezTo>
                <a:cubicBezTo>
                  <a:pt x="250" y="230"/>
                  <a:pt x="250" y="230"/>
                  <a:pt x="250" y="230"/>
                </a:cubicBezTo>
                <a:cubicBezTo>
                  <a:pt x="251" y="231"/>
                  <a:pt x="251" y="231"/>
                  <a:pt x="251" y="231"/>
                </a:cubicBezTo>
                <a:cubicBezTo>
                  <a:pt x="252" y="232"/>
                  <a:pt x="252" y="232"/>
                  <a:pt x="252" y="232"/>
                </a:cubicBezTo>
                <a:cubicBezTo>
                  <a:pt x="252" y="233"/>
                  <a:pt x="252" y="233"/>
                  <a:pt x="252" y="233"/>
                </a:cubicBezTo>
                <a:cubicBezTo>
                  <a:pt x="254" y="232"/>
                  <a:pt x="254" y="232"/>
                  <a:pt x="254" y="232"/>
                </a:cubicBezTo>
                <a:cubicBezTo>
                  <a:pt x="254" y="233"/>
                  <a:pt x="254" y="233"/>
                  <a:pt x="254" y="233"/>
                </a:cubicBezTo>
                <a:cubicBezTo>
                  <a:pt x="254" y="234"/>
                  <a:pt x="254" y="234"/>
                  <a:pt x="254" y="234"/>
                </a:cubicBezTo>
                <a:cubicBezTo>
                  <a:pt x="255" y="234"/>
                  <a:pt x="255" y="234"/>
                  <a:pt x="255" y="234"/>
                </a:cubicBezTo>
                <a:cubicBezTo>
                  <a:pt x="256" y="235"/>
                  <a:pt x="256" y="235"/>
                  <a:pt x="256" y="235"/>
                </a:cubicBezTo>
                <a:cubicBezTo>
                  <a:pt x="257" y="234"/>
                  <a:pt x="257" y="234"/>
                  <a:pt x="257" y="234"/>
                </a:cubicBezTo>
                <a:cubicBezTo>
                  <a:pt x="260" y="234"/>
                  <a:pt x="260" y="234"/>
                  <a:pt x="260" y="234"/>
                </a:cubicBezTo>
                <a:cubicBezTo>
                  <a:pt x="260" y="233"/>
                  <a:pt x="260" y="233"/>
                  <a:pt x="260" y="233"/>
                </a:cubicBezTo>
                <a:cubicBezTo>
                  <a:pt x="262" y="232"/>
                  <a:pt x="262" y="232"/>
                  <a:pt x="262" y="232"/>
                </a:cubicBezTo>
                <a:cubicBezTo>
                  <a:pt x="262" y="232"/>
                  <a:pt x="262" y="232"/>
                  <a:pt x="262" y="232"/>
                </a:cubicBezTo>
                <a:cubicBezTo>
                  <a:pt x="263" y="233"/>
                  <a:pt x="263" y="233"/>
                  <a:pt x="263" y="233"/>
                </a:cubicBezTo>
                <a:cubicBezTo>
                  <a:pt x="265" y="233"/>
                  <a:pt x="265" y="233"/>
                  <a:pt x="265" y="233"/>
                </a:cubicBezTo>
                <a:cubicBezTo>
                  <a:pt x="267" y="235"/>
                  <a:pt x="267" y="235"/>
                  <a:pt x="267" y="235"/>
                </a:cubicBezTo>
                <a:cubicBezTo>
                  <a:pt x="268" y="235"/>
                  <a:pt x="268" y="235"/>
                  <a:pt x="268" y="235"/>
                </a:cubicBezTo>
                <a:cubicBezTo>
                  <a:pt x="269" y="236"/>
                  <a:pt x="269" y="236"/>
                  <a:pt x="269" y="236"/>
                </a:cubicBezTo>
                <a:cubicBezTo>
                  <a:pt x="270" y="235"/>
                  <a:pt x="270" y="235"/>
                  <a:pt x="270" y="235"/>
                </a:cubicBezTo>
                <a:cubicBezTo>
                  <a:pt x="272" y="235"/>
                  <a:pt x="272" y="235"/>
                  <a:pt x="272" y="235"/>
                </a:cubicBezTo>
                <a:cubicBezTo>
                  <a:pt x="273" y="236"/>
                  <a:pt x="273" y="236"/>
                  <a:pt x="273" y="236"/>
                </a:cubicBezTo>
                <a:cubicBezTo>
                  <a:pt x="273" y="236"/>
                  <a:pt x="273" y="236"/>
                  <a:pt x="273" y="236"/>
                </a:cubicBezTo>
                <a:cubicBezTo>
                  <a:pt x="273" y="234"/>
                  <a:pt x="273" y="234"/>
                  <a:pt x="273" y="234"/>
                </a:cubicBezTo>
                <a:cubicBezTo>
                  <a:pt x="272" y="233"/>
                  <a:pt x="272" y="233"/>
                  <a:pt x="272" y="233"/>
                </a:cubicBezTo>
                <a:cubicBezTo>
                  <a:pt x="272" y="231"/>
                  <a:pt x="272" y="231"/>
                  <a:pt x="272" y="231"/>
                </a:cubicBezTo>
                <a:cubicBezTo>
                  <a:pt x="272" y="231"/>
                  <a:pt x="272" y="231"/>
                  <a:pt x="272" y="231"/>
                </a:cubicBezTo>
                <a:cubicBezTo>
                  <a:pt x="273" y="231"/>
                  <a:pt x="273" y="231"/>
                  <a:pt x="273" y="231"/>
                </a:cubicBezTo>
                <a:cubicBezTo>
                  <a:pt x="274" y="233"/>
                  <a:pt x="274" y="233"/>
                  <a:pt x="274" y="233"/>
                </a:cubicBezTo>
                <a:cubicBezTo>
                  <a:pt x="274" y="235"/>
                  <a:pt x="274" y="235"/>
                  <a:pt x="274" y="235"/>
                </a:cubicBezTo>
                <a:cubicBezTo>
                  <a:pt x="276" y="237"/>
                  <a:pt x="276" y="237"/>
                  <a:pt x="276" y="237"/>
                </a:cubicBezTo>
                <a:cubicBezTo>
                  <a:pt x="276" y="237"/>
                  <a:pt x="276" y="237"/>
                  <a:pt x="276" y="237"/>
                </a:cubicBezTo>
                <a:cubicBezTo>
                  <a:pt x="277" y="239"/>
                  <a:pt x="277" y="239"/>
                  <a:pt x="277" y="239"/>
                </a:cubicBezTo>
                <a:cubicBezTo>
                  <a:pt x="277" y="236"/>
                  <a:pt x="277" y="236"/>
                  <a:pt x="277" y="236"/>
                </a:cubicBezTo>
                <a:cubicBezTo>
                  <a:pt x="276" y="235"/>
                  <a:pt x="276" y="235"/>
                  <a:pt x="276" y="235"/>
                </a:cubicBezTo>
                <a:cubicBezTo>
                  <a:pt x="275" y="235"/>
                  <a:pt x="275" y="235"/>
                  <a:pt x="275" y="235"/>
                </a:cubicBezTo>
                <a:cubicBezTo>
                  <a:pt x="274" y="233"/>
                  <a:pt x="274" y="233"/>
                  <a:pt x="274" y="233"/>
                </a:cubicBezTo>
                <a:cubicBezTo>
                  <a:pt x="274" y="230"/>
                  <a:pt x="274" y="230"/>
                  <a:pt x="274" y="230"/>
                </a:cubicBezTo>
                <a:cubicBezTo>
                  <a:pt x="274" y="229"/>
                  <a:pt x="274" y="229"/>
                  <a:pt x="274" y="229"/>
                </a:cubicBezTo>
                <a:cubicBezTo>
                  <a:pt x="274" y="230"/>
                  <a:pt x="274" y="230"/>
                  <a:pt x="274" y="230"/>
                </a:cubicBezTo>
                <a:cubicBezTo>
                  <a:pt x="274" y="230"/>
                  <a:pt x="274" y="230"/>
                  <a:pt x="274" y="230"/>
                </a:cubicBezTo>
                <a:cubicBezTo>
                  <a:pt x="275" y="231"/>
                  <a:pt x="275" y="231"/>
                  <a:pt x="275" y="231"/>
                </a:cubicBezTo>
                <a:cubicBezTo>
                  <a:pt x="276" y="230"/>
                  <a:pt x="276" y="230"/>
                  <a:pt x="276" y="230"/>
                </a:cubicBezTo>
                <a:cubicBezTo>
                  <a:pt x="276" y="230"/>
                  <a:pt x="276" y="230"/>
                  <a:pt x="276" y="230"/>
                </a:cubicBezTo>
                <a:cubicBezTo>
                  <a:pt x="275" y="228"/>
                  <a:pt x="275" y="228"/>
                  <a:pt x="275" y="228"/>
                </a:cubicBezTo>
                <a:cubicBezTo>
                  <a:pt x="275" y="228"/>
                  <a:pt x="275" y="228"/>
                  <a:pt x="275" y="228"/>
                </a:cubicBezTo>
                <a:cubicBezTo>
                  <a:pt x="275" y="227"/>
                  <a:pt x="275" y="227"/>
                  <a:pt x="275" y="227"/>
                </a:cubicBezTo>
                <a:cubicBezTo>
                  <a:pt x="275" y="226"/>
                  <a:pt x="275" y="226"/>
                  <a:pt x="275" y="226"/>
                </a:cubicBezTo>
                <a:cubicBezTo>
                  <a:pt x="276" y="226"/>
                  <a:pt x="276" y="226"/>
                  <a:pt x="276" y="226"/>
                </a:cubicBezTo>
                <a:cubicBezTo>
                  <a:pt x="277" y="227"/>
                  <a:pt x="277" y="227"/>
                  <a:pt x="277" y="227"/>
                </a:cubicBezTo>
                <a:cubicBezTo>
                  <a:pt x="277" y="228"/>
                  <a:pt x="277" y="228"/>
                  <a:pt x="277" y="228"/>
                </a:cubicBezTo>
                <a:cubicBezTo>
                  <a:pt x="277" y="228"/>
                  <a:pt x="277" y="228"/>
                  <a:pt x="277" y="228"/>
                </a:cubicBezTo>
                <a:cubicBezTo>
                  <a:pt x="278" y="228"/>
                  <a:pt x="278" y="228"/>
                  <a:pt x="278" y="228"/>
                </a:cubicBezTo>
                <a:cubicBezTo>
                  <a:pt x="279" y="227"/>
                  <a:pt x="279" y="227"/>
                  <a:pt x="279" y="227"/>
                </a:cubicBezTo>
                <a:cubicBezTo>
                  <a:pt x="279" y="226"/>
                  <a:pt x="279" y="226"/>
                  <a:pt x="279" y="226"/>
                </a:cubicBezTo>
                <a:cubicBezTo>
                  <a:pt x="280" y="226"/>
                  <a:pt x="280" y="226"/>
                  <a:pt x="280" y="226"/>
                </a:cubicBezTo>
                <a:cubicBezTo>
                  <a:pt x="281" y="227"/>
                  <a:pt x="281" y="227"/>
                  <a:pt x="281" y="227"/>
                </a:cubicBezTo>
                <a:cubicBezTo>
                  <a:pt x="281" y="228"/>
                  <a:pt x="281" y="228"/>
                  <a:pt x="281" y="228"/>
                </a:cubicBezTo>
                <a:cubicBezTo>
                  <a:pt x="281" y="228"/>
                  <a:pt x="281" y="228"/>
                  <a:pt x="281" y="228"/>
                </a:cubicBezTo>
                <a:cubicBezTo>
                  <a:pt x="281" y="228"/>
                  <a:pt x="281" y="228"/>
                  <a:pt x="281" y="228"/>
                </a:cubicBezTo>
                <a:cubicBezTo>
                  <a:pt x="282" y="227"/>
                  <a:pt x="282" y="227"/>
                  <a:pt x="282" y="227"/>
                </a:cubicBezTo>
                <a:cubicBezTo>
                  <a:pt x="283" y="228"/>
                  <a:pt x="283" y="228"/>
                  <a:pt x="283" y="228"/>
                </a:cubicBezTo>
                <a:cubicBezTo>
                  <a:pt x="282" y="230"/>
                  <a:pt x="282" y="230"/>
                  <a:pt x="282" y="230"/>
                </a:cubicBezTo>
                <a:cubicBezTo>
                  <a:pt x="282" y="231"/>
                  <a:pt x="282" y="231"/>
                  <a:pt x="282" y="231"/>
                </a:cubicBezTo>
                <a:cubicBezTo>
                  <a:pt x="283" y="231"/>
                  <a:pt x="283" y="231"/>
                  <a:pt x="283" y="231"/>
                </a:cubicBezTo>
                <a:cubicBezTo>
                  <a:pt x="284" y="231"/>
                  <a:pt x="284" y="231"/>
                  <a:pt x="284" y="231"/>
                </a:cubicBezTo>
                <a:cubicBezTo>
                  <a:pt x="285" y="232"/>
                  <a:pt x="285" y="232"/>
                  <a:pt x="285" y="232"/>
                </a:cubicBezTo>
                <a:cubicBezTo>
                  <a:pt x="284" y="233"/>
                  <a:pt x="284" y="233"/>
                  <a:pt x="284" y="233"/>
                </a:cubicBezTo>
                <a:cubicBezTo>
                  <a:pt x="283" y="233"/>
                  <a:pt x="283" y="233"/>
                  <a:pt x="283" y="233"/>
                </a:cubicBezTo>
                <a:cubicBezTo>
                  <a:pt x="283" y="234"/>
                  <a:pt x="283" y="234"/>
                  <a:pt x="283" y="234"/>
                </a:cubicBezTo>
                <a:cubicBezTo>
                  <a:pt x="283" y="234"/>
                  <a:pt x="283" y="234"/>
                  <a:pt x="283" y="234"/>
                </a:cubicBezTo>
                <a:cubicBezTo>
                  <a:pt x="285" y="233"/>
                  <a:pt x="285" y="233"/>
                  <a:pt x="285" y="233"/>
                </a:cubicBezTo>
                <a:cubicBezTo>
                  <a:pt x="286" y="232"/>
                  <a:pt x="286" y="232"/>
                  <a:pt x="286" y="232"/>
                </a:cubicBezTo>
                <a:cubicBezTo>
                  <a:pt x="287" y="231"/>
                  <a:pt x="287" y="231"/>
                  <a:pt x="287" y="231"/>
                </a:cubicBezTo>
                <a:cubicBezTo>
                  <a:pt x="288" y="232"/>
                  <a:pt x="288" y="232"/>
                  <a:pt x="288" y="232"/>
                </a:cubicBezTo>
                <a:cubicBezTo>
                  <a:pt x="288" y="232"/>
                  <a:pt x="288" y="232"/>
                  <a:pt x="288" y="232"/>
                </a:cubicBezTo>
                <a:cubicBezTo>
                  <a:pt x="287" y="232"/>
                  <a:pt x="287" y="232"/>
                  <a:pt x="287" y="232"/>
                </a:cubicBezTo>
                <a:cubicBezTo>
                  <a:pt x="287" y="233"/>
                  <a:pt x="287" y="233"/>
                  <a:pt x="287" y="233"/>
                </a:cubicBezTo>
                <a:cubicBezTo>
                  <a:pt x="287" y="234"/>
                  <a:pt x="287" y="234"/>
                  <a:pt x="287" y="234"/>
                </a:cubicBezTo>
                <a:cubicBezTo>
                  <a:pt x="285" y="236"/>
                  <a:pt x="285" y="236"/>
                  <a:pt x="285" y="236"/>
                </a:cubicBezTo>
                <a:cubicBezTo>
                  <a:pt x="285" y="236"/>
                  <a:pt x="285" y="236"/>
                  <a:pt x="285" y="236"/>
                </a:cubicBezTo>
                <a:cubicBezTo>
                  <a:pt x="283" y="238"/>
                  <a:pt x="283" y="238"/>
                  <a:pt x="283" y="238"/>
                </a:cubicBezTo>
                <a:cubicBezTo>
                  <a:pt x="283" y="239"/>
                  <a:pt x="283" y="239"/>
                  <a:pt x="283" y="239"/>
                </a:cubicBezTo>
                <a:cubicBezTo>
                  <a:pt x="282" y="240"/>
                  <a:pt x="282" y="240"/>
                  <a:pt x="282" y="240"/>
                </a:cubicBezTo>
                <a:cubicBezTo>
                  <a:pt x="282" y="238"/>
                  <a:pt x="282" y="238"/>
                  <a:pt x="282" y="238"/>
                </a:cubicBezTo>
                <a:cubicBezTo>
                  <a:pt x="281" y="240"/>
                  <a:pt x="281" y="240"/>
                  <a:pt x="281" y="240"/>
                </a:cubicBezTo>
                <a:cubicBezTo>
                  <a:pt x="281" y="242"/>
                  <a:pt x="281" y="242"/>
                  <a:pt x="281" y="242"/>
                </a:cubicBezTo>
                <a:cubicBezTo>
                  <a:pt x="281" y="242"/>
                  <a:pt x="281" y="242"/>
                  <a:pt x="281" y="242"/>
                </a:cubicBezTo>
                <a:cubicBezTo>
                  <a:pt x="282" y="242"/>
                  <a:pt x="282" y="242"/>
                  <a:pt x="282" y="242"/>
                </a:cubicBezTo>
                <a:cubicBezTo>
                  <a:pt x="283" y="242"/>
                  <a:pt x="283" y="242"/>
                  <a:pt x="283" y="242"/>
                </a:cubicBezTo>
                <a:cubicBezTo>
                  <a:pt x="283" y="243"/>
                  <a:pt x="283" y="243"/>
                  <a:pt x="283" y="243"/>
                </a:cubicBezTo>
                <a:cubicBezTo>
                  <a:pt x="281" y="244"/>
                  <a:pt x="281" y="244"/>
                  <a:pt x="281" y="244"/>
                </a:cubicBezTo>
                <a:cubicBezTo>
                  <a:pt x="281" y="245"/>
                  <a:pt x="281" y="245"/>
                  <a:pt x="281" y="245"/>
                </a:cubicBezTo>
                <a:cubicBezTo>
                  <a:pt x="283" y="244"/>
                  <a:pt x="283" y="244"/>
                  <a:pt x="283" y="244"/>
                </a:cubicBezTo>
                <a:cubicBezTo>
                  <a:pt x="284" y="243"/>
                  <a:pt x="284" y="243"/>
                  <a:pt x="284" y="243"/>
                </a:cubicBezTo>
                <a:cubicBezTo>
                  <a:pt x="285" y="243"/>
                  <a:pt x="285" y="243"/>
                  <a:pt x="285" y="243"/>
                </a:cubicBezTo>
                <a:cubicBezTo>
                  <a:pt x="284" y="245"/>
                  <a:pt x="284" y="245"/>
                  <a:pt x="284" y="245"/>
                </a:cubicBezTo>
                <a:cubicBezTo>
                  <a:pt x="283" y="245"/>
                  <a:pt x="283" y="245"/>
                  <a:pt x="283" y="245"/>
                </a:cubicBezTo>
                <a:cubicBezTo>
                  <a:pt x="284" y="246"/>
                  <a:pt x="284" y="246"/>
                  <a:pt x="284" y="246"/>
                </a:cubicBezTo>
                <a:cubicBezTo>
                  <a:pt x="285" y="245"/>
                  <a:pt x="285" y="245"/>
                  <a:pt x="285" y="245"/>
                </a:cubicBezTo>
                <a:cubicBezTo>
                  <a:pt x="284" y="247"/>
                  <a:pt x="284" y="247"/>
                  <a:pt x="284" y="247"/>
                </a:cubicBezTo>
                <a:cubicBezTo>
                  <a:pt x="284" y="248"/>
                  <a:pt x="284" y="248"/>
                  <a:pt x="284" y="248"/>
                </a:cubicBezTo>
                <a:cubicBezTo>
                  <a:pt x="283" y="248"/>
                  <a:pt x="283" y="248"/>
                  <a:pt x="283" y="248"/>
                </a:cubicBezTo>
                <a:cubicBezTo>
                  <a:pt x="282" y="248"/>
                  <a:pt x="282" y="248"/>
                  <a:pt x="282" y="248"/>
                </a:cubicBezTo>
                <a:cubicBezTo>
                  <a:pt x="281" y="247"/>
                  <a:pt x="281" y="247"/>
                  <a:pt x="281" y="247"/>
                </a:cubicBezTo>
                <a:cubicBezTo>
                  <a:pt x="280" y="248"/>
                  <a:pt x="280" y="248"/>
                  <a:pt x="280" y="248"/>
                </a:cubicBezTo>
                <a:cubicBezTo>
                  <a:pt x="279" y="246"/>
                  <a:pt x="279" y="246"/>
                  <a:pt x="279" y="246"/>
                </a:cubicBezTo>
                <a:cubicBezTo>
                  <a:pt x="279" y="246"/>
                  <a:pt x="279" y="246"/>
                  <a:pt x="279" y="246"/>
                </a:cubicBezTo>
                <a:cubicBezTo>
                  <a:pt x="278" y="248"/>
                  <a:pt x="278" y="248"/>
                  <a:pt x="278" y="248"/>
                </a:cubicBezTo>
                <a:cubicBezTo>
                  <a:pt x="279" y="249"/>
                  <a:pt x="279" y="249"/>
                  <a:pt x="279" y="249"/>
                </a:cubicBezTo>
                <a:cubicBezTo>
                  <a:pt x="280" y="250"/>
                  <a:pt x="280" y="250"/>
                  <a:pt x="280" y="250"/>
                </a:cubicBezTo>
                <a:cubicBezTo>
                  <a:pt x="279" y="253"/>
                  <a:pt x="279" y="253"/>
                  <a:pt x="279" y="253"/>
                </a:cubicBezTo>
                <a:cubicBezTo>
                  <a:pt x="280" y="251"/>
                  <a:pt x="280" y="251"/>
                  <a:pt x="280" y="251"/>
                </a:cubicBezTo>
                <a:cubicBezTo>
                  <a:pt x="280" y="249"/>
                  <a:pt x="280" y="249"/>
                  <a:pt x="280" y="249"/>
                </a:cubicBezTo>
                <a:cubicBezTo>
                  <a:pt x="281" y="248"/>
                  <a:pt x="281" y="248"/>
                  <a:pt x="281" y="248"/>
                </a:cubicBezTo>
                <a:cubicBezTo>
                  <a:pt x="281" y="249"/>
                  <a:pt x="281" y="249"/>
                  <a:pt x="281" y="249"/>
                </a:cubicBezTo>
                <a:cubicBezTo>
                  <a:pt x="283" y="249"/>
                  <a:pt x="283" y="249"/>
                  <a:pt x="283" y="249"/>
                </a:cubicBezTo>
                <a:cubicBezTo>
                  <a:pt x="284" y="250"/>
                  <a:pt x="284" y="250"/>
                  <a:pt x="284" y="250"/>
                </a:cubicBezTo>
                <a:cubicBezTo>
                  <a:pt x="285" y="249"/>
                  <a:pt x="285" y="249"/>
                  <a:pt x="285" y="249"/>
                </a:cubicBezTo>
                <a:cubicBezTo>
                  <a:pt x="285" y="248"/>
                  <a:pt x="285" y="248"/>
                  <a:pt x="285" y="248"/>
                </a:cubicBezTo>
                <a:cubicBezTo>
                  <a:pt x="286" y="247"/>
                  <a:pt x="286" y="247"/>
                  <a:pt x="286" y="247"/>
                </a:cubicBezTo>
                <a:cubicBezTo>
                  <a:pt x="287" y="246"/>
                  <a:pt x="287" y="246"/>
                  <a:pt x="287" y="246"/>
                </a:cubicBezTo>
                <a:cubicBezTo>
                  <a:pt x="289" y="246"/>
                  <a:pt x="289" y="246"/>
                  <a:pt x="289" y="246"/>
                </a:cubicBezTo>
                <a:cubicBezTo>
                  <a:pt x="290" y="245"/>
                  <a:pt x="290" y="245"/>
                  <a:pt x="290" y="245"/>
                </a:cubicBezTo>
                <a:cubicBezTo>
                  <a:pt x="289" y="245"/>
                  <a:pt x="289" y="245"/>
                  <a:pt x="289" y="245"/>
                </a:cubicBezTo>
                <a:cubicBezTo>
                  <a:pt x="287" y="245"/>
                  <a:pt x="287" y="245"/>
                  <a:pt x="287" y="245"/>
                </a:cubicBezTo>
                <a:cubicBezTo>
                  <a:pt x="287" y="246"/>
                  <a:pt x="287" y="246"/>
                  <a:pt x="287" y="246"/>
                </a:cubicBezTo>
                <a:cubicBezTo>
                  <a:pt x="286" y="246"/>
                  <a:pt x="286" y="246"/>
                  <a:pt x="286" y="246"/>
                </a:cubicBezTo>
                <a:cubicBezTo>
                  <a:pt x="285" y="246"/>
                  <a:pt x="285" y="246"/>
                  <a:pt x="285" y="246"/>
                </a:cubicBezTo>
                <a:cubicBezTo>
                  <a:pt x="286" y="245"/>
                  <a:pt x="286" y="245"/>
                  <a:pt x="286" y="245"/>
                </a:cubicBezTo>
                <a:cubicBezTo>
                  <a:pt x="287" y="244"/>
                  <a:pt x="287" y="244"/>
                  <a:pt x="287" y="244"/>
                </a:cubicBezTo>
                <a:cubicBezTo>
                  <a:pt x="286" y="244"/>
                  <a:pt x="286" y="244"/>
                  <a:pt x="286" y="244"/>
                </a:cubicBezTo>
                <a:cubicBezTo>
                  <a:pt x="286" y="243"/>
                  <a:pt x="286" y="243"/>
                  <a:pt x="286" y="243"/>
                </a:cubicBezTo>
                <a:cubicBezTo>
                  <a:pt x="287" y="241"/>
                  <a:pt x="287" y="241"/>
                  <a:pt x="287" y="241"/>
                </a:cubicBezTo>
                <a:cubicBezTo>
                  <a:pt x="287" y="240"/>
                  <a:pt x="287" y="240"/>
                  <a:pt x="287" y="240"/>
                </a:cubicBezTo>
                <a:cubicBezTo>
                  <a:pt x="286" y="239"/>
                  <a:pt x="286" y="239"/>
                  <a:pt x="286" y="239"/>
                </a:cubicBezTo>
                <a:cubicBezTo>
                  <a:pt x="287" y="239"/>
                  <a:pt x="287" y="239"/>
                  <a:pt x="287" y="239"/>
                </a:cubicBezTo>
                <a:cubicBezTo>
                  <a:pt x="288" y="237"/>
                  <a:pt x="288" y="237"/>
                  <a:pt x="288" y="237"/>
                </a:cubicBezTo>
                <a:cubicBezTo>
                  <a:pt x="288" y="236"/>
                  <a:pt x="288" y="236"/>
                  <a:pt x="288" y="236"/>
                </a:cubicBezTo>
                <a:cubicBezTo>
                  <a:pt x="290" y="235"/>
                  <a:pt x="290" y="235"/>
                  <a:pt x="290" y="235"/>
                </a:cubicBezTo>
                <a:cubicBezTo>
                  <a:pt x="290" y="235"/>
                  <a:pt x="290" y="235"/>
                  <a:pt x="290" y="235"/>
                </a:cubicBezTo>
                <a:cubicBezTo>
                  <a:pt x="290" y="236"/>
                  <a:pt x="290" y="236"/>
                  <a:pt x="290" y="236"/>
                </a:cubicBezTo>
                <a:cubicBezTo>
                  <a:pt x="290" y="235"/>
                  <a:pt x="290" y="235"/>
                  <a:pt x="290" y="235"/>
                </a:cubicBezTo>
                <a:cubicBezTo>
                  <a:pt x="291" y="234"/>
                  <a:pt x="291" y="234"/>
                  <a:pt x="291" y="234"/>
                </a:cubicBezTo>
                <a:cubicBezTo>
                  <a:pt x="291" y="235"/>
                  <a:pt x="291" y="235"/>
                  <a:pt x="291" y="235"/>
                </a:cubicBezTo>
                <a:cubicBezTo>
                  <a:pt x="292" y="235"/>
                  <a:pt x="292" y="235"/>
                  <a:pt x="292" y="235"/>
                </a:cubicBezTo>
                <a:cubicBezTo>
                  <a:pt x="292" y="236"/>
                  <a:pt x="292" y="236"/>
                  <a:pt x="292" y="236"/>
                </a:cubicBezTo>
                <a:cubicBezTo>
                  <a:pt x="293" y="235"/>
                  <a:pt x="293" y="235"/>
                  <a:pt x="293" y="235"/>
                </a:cubicBezTo>
                <a:cubicBezTo>
                  <a:pt x="294" y="234"/>
                  <a:pt x="294" y="234"/>
                  <a:pt x="294" y="234"/>
                </a:cubicBezTo>
                <a:cubicBezTo>
                  <a:pt x="297" y="233"/>
                  <a:pt x="297" y="233"/>
                  <a:pt x="297" y="233"/>
                </a:cubicBezTo>
                <a:cubicBezTo>
                  <a:pt x="298" y="232"/>
                  <a:pt x="298" y="232"/>
                  <a:pt x="298" y="232"/>
                </a:cubicBezTo>
                <a:cubicBezTo>
                  <a:pt x="297" y="232"/>
                  <a:pt x="297" y="232"/>
                  <a:pt x="297" y="232"/>
                </a:cubicBezTo>
                <a:cubicBezTo>
                  <a:pt x="298" y="231"/>
                  <a:pt x="298" y="231"/>
                  <a:pt x="298" y="231"/>
                </a:cubicBezTo>
                <a:cubicBezTo>
                  <a:pt x="299" y="230"/>
                  <a:pt x="299" y="230"/>
                  <a:pt x="299" y="230"/>
                </a:cubicBezTo>
                <a:cubicBezTo>
                  <a:pt x="301" y="230"/>
                  <a:pt x="301" y="230"/>
                  <a:pt x="301" y="230"/>
                </a:cubicBezTo>
                <a:cubicBezTo>
                  <a:pt x="302" y="229"/>
                  <a:pt x="302" y="229"/>
                  <a:pt x="302" y="229"/>
                </a:cubicBezTo>
                <a:cubicBezTo>
                  <a:pt x="302" y="228"/>
                  <a:pt x="302" y="228"/>
                  <a:pt x="302" y="228"/>
                </a:cubicBezTo>
                <a:cubicBezTo>
                  <a:pt x="302" y="226"/>
                  <a:pt x="302" y="226"/>
                  <a:pt x="302" y="226"/>
                </a:cubicBezTo>
                <a:cubicBezTo>
                  <a:pt x="303" y="225"/>
                  <a:pt x="303" y="225"/>
                  <a:pt x="303" y="225"/>
                </a:cubicBezTo>
                <a:cubicBezTo>
                  <a:pt x="303" y="224"/>
                  <a:pt x="303" y="224"/>
                  <a:pt x="303" y="224"/>
                </a:cubicBezTo>
                <a:cubicBezTo>
                  <a:pt x="303" y="223"/>
                  <a:pt x="303" y="223"/>
                  <a:pt x="303" y="223"/>
                </a:cubicBezTo>
                <a:cubicBezTo>
                  <a:pt x="302" y="224"/>
                  <a:pt x="302" y="224"/>
                  <a:pt x="302" y="224"/>
                </a:cubicBezTo>
                <a:cubicBezTo>
                  <a:pt x="301" y="224"/>
                  <a:pt x="301" y="224"/>
                  <a:pt x="301" y="224"/>
                </a:cubicBezTo>
                <a:cubicBezTo>
                  <a:pt x="301" y="224"/>
                  <a:pt x="301" y="224"/>
                  <a:pt x="301" y="224"/>
                </a:cubicBezTo>
                <a:cubicBezTo>
                  <a:pt x="301" y="225"/>
                  <a:pt x="301" y="225"/>
                  <a:pt x="301" y="225"/>
                </a:cubicBezTo>
                <a:cubicBezTo>
                  <a:pt x="300" y="226"/>
                  <a:pt x="300" y="226"/>
                  <a:pt x="300" y="226"/>
                </a:cubicBezTo>
                <a:cubicBezTo>
                  <a:pt x="299" y="225"/>
                  <a:pt x="299" y="225"/>
                  <a:pt x="299" y="225"/>
                </a:cubicBezTo>
                <a:cubicBezTo>
                  <a:pt x="298" y="225"/>
                  <a:pt x="298" y="225"/>
                  <a:pt x="298" y="225"/>
                </a:cubicBezTo>
                <a:cubicBezTo>
                  <a:pt x="298" y="225"/>
                  <a:pt x="298" y="225"/>
                  <a:pt x="298" y="225"/>
                </a:cubicBezTo>
                <a:cubicBezTo>
                  <a:pt x="299" y="223"/>
                  <a:pt x="299" y="223"/>
                  <a:pt x="299" y="223"/>
                </a:cubicBezTo>
                <a:cubicBezTo>
                  <a:pt x="300" y="223"/>
                  <a:pt x="300" y="223"/>
                  <a:pt x="300" y="223"/>
                </a:cubicBezTo>
                <a:cubicBezTo>
                  <a:pt x="300" y="222"/>
                  <a:pt x="300" y="222"/>
                  <a:pt x="300" y="222"/>
                </a:cubicBezTo>
                <a:cubicBezTo>
                  <a:pt x="302" y="222"/>
                  <a:pt x="302" y="222"/>
                  <a:pt x="302" y="222"/>
                </a:cubicBezTo>
                <a:cubicBezTo>
                  <a:pt x="302" y="221"/>
                  <a:pt x="302" y="221"/>
                  <a:pt x="302" y="221"/>
                </a:cubicBezTo>
                <a:cubicBezTo>
                  <a:pt x="301" y="220"/>
                  <a:pt x="301" y="220"/>
                  <a:pt x="301" y="220"/>
                </a:cubicBezTo>
                <a:cubicBezTo>
                  <a:pt x="302" y="219"/>
                  <a:pt x="302" y="219"/>
                  <a:pt x="302" y="219"/>
                </a:cubicBezTo>
                <a:cubicBezTo>
                  <a:pt x="304" y="218"/>
                  <a:pt x="304" y="218"/>
                  <a:pt x="304" y="218"/>
                </a:cubicBezTo>
                <a:cubicBezTo>
                  <a:pt x="305" y="219"/>
                  <a:pt x="305" y="219"/>
                  <a:pt x="305" y="219"/>
                </a:cubicBezTo>
                <a:cubicBezTo>
                  <a:pt x="304" y="220"/>
                  <a:pt x="304" y="220"/>
                  <a:pt x="304" y="220"/>
                </a:cubicBezTo>
                <a:cubicBezTo>
                  <a:pt x="304" y="221"/>
                  <a:pt x="304" y="221"/>
                  <a:pt x="304" y="221"/>
                </a:cubicBezTo>
                <a:cubicBezTo>
                  <a:pt x="304" y="221"/>
                  <a:pt x="304" y="221"/>
                  <a:pt x="304" y="221"/>
                </a:cubicBezTo>
                <a:cubicBezTo>
                  <a:pt x="306" y="220"/>
                  <a:pt x="306" y="220"/>
                  <a:pt x="306" y="220"/>
                </a:cubicBezTo>
                <a:cubicBezTo>
                  <a:pt x="307" y="218"/>
                  <a:pt x="307" y="218"/>
                  <a:pt x="307" y="218"/>
                </a:cubicBezTo>
                <a:cubicBezTo>
                  <a:pt x="307" y="217"/>
                  <a:pt x="307" y="217"/>
                  <a:pt x="307" y="217"/>
                </a:cubicBezTo>
                <a:cubicBezTo>
                  <a:pt x="305" y="217"/>
                  <a:pt x="305" y="217"/>
                  <a:pt x="305" y="217"/>
                </a:cubicBezTo>
                <a:cubicBezTo>
                  <a:pt x="304" y="217"/>
                  <a:pt x="304" y="217"/>
                  <a:pt x="304" y="217"/>
                </a:cubicBezTo>
                <a:cubicBezTo>
                  <a:pt x="304" y="216"/>
                  <a:pt x="304" y="216"/>
                  <a:pt x="304" y="216"/>
                </a:cubicBezTo>
                <a:cubicBezTo>
                  <a:pt x="302" y="216"/>
                  <a:pt x="302" y="216"/>
                  <a:pt x="302" y="216"/>
                </a:cubicBezTo>
                <a:cubicBezTo>
                  <a:pt x="301" y="214"/>
                  <a:pt x="301" y="214"/>
                  <a:pt x="301" y="214"/>
                </a:cubicBezTo>
                <a:cubicBezTo>
                  <a:pt x="301" y="213"/>
                  <a:pt x="301" y="213"/>
                  <a:pt x="301" y="213"/>
                </a:cubicBezTo>
                <a:cubicBezTo>
                  <a:pt x="301" y="214"/>
                  <a:pt x="301" y="214"/>
                  <a:pt x="301" y="214"/>
                </a:cubicBezTo>
                <a:cubicBezTo>
                  <a:pt x="300" y="214"/>
                  <a:pt x="300" y="214"/>
                  <a:pt x="300" y="214"/>
                </a:cubicBezTo>
                <a:cubicBezTo>
                  <a:pt x="299" y="213"/>
                  <a:pt x="299" y="213"/>
                  <a:pt x="299" y="213"/>
                </a:cubicBezTo>
                <a:cubicBezTo>
                  <a:pt x="298" y="212"/>
                  <a:pt x="298" y="212"/>
                  <a:pt x="298" y="212"/>
                </a:cubicBezTo>
                <a:cubicBezTo>
                  <a:pt x="298" y="211"/>
                  <a:pt x="298" y="211"/>
                  <a:pt x="298" y="211"/>
                </a:cubicBezTo>
                <a:cubicBezTo>
                  <a:pt x="297" y="211"/>
                  <a:pt x="297" y="211"/>
                  <a:pt x="297" y="211"/>
                </a:cubicBezTo>
                <a:cubicBezTo>
                  <a:pt x="296" y="211"/>
                  <a:pt x="296" y="211"/>
                  <a:pt x="296" y="211"/>
                </a:cubicBezTo>
                <a:cubicBezTo>
                  <a:pt x="296" y="210"/>
                  <a:pt x="296" y="210"/>
                  <a:pt x="296" y="210"/>
                </a:cubicBezTo>
                <a:cubicBezTo>
                  <a:pt x="296" y="209"/>
                  <a:pt x="296" y="209"/>
                  <a:pt x="296" y="209"/>
                </a:cubicBezTo>
                <a:cubicBezTo>
                  <a:pt x="296" y="208"/>
                  <a:pt x="296" y="208"/>
                  <a:pt x="296" y="208"/>
                </a:cubicBezTo>
                <a:cubicBezTo>
                  <a:pt x="296" y="207"/>
                  <a:pt x="296" y="207"/>
                  <a:pt x="296" y="207"/>
                </a:cubicBezTo>
                <a:cubicBezTo>
                  <a:pt x="296" y="206"/>
                  <a:pt x="296" y="206"/>
                  <a:pt x="296" y="206"/>
                </a:cubicBezTo>
                <a:cubicBezTo>
                  <a:pt x="296" y="203"/>
                  <a:pt x="296" y="203"/>
                  <a:pt x="296" y="203"/>
                </a:cubicBezTo>
                <a:cubicBezTo>
                  <a:pt x="297" y="202"/>
                  <a:pt x="297" y="202"/>
                  <a:pt x="297" y="202"/>
                </a:cubicBezTo>
                <a:cubicBezTo>
                  <a:pt x="299" y="200"/>
                  <a:pt x="299" y="200"/>
                  <a:pt x="299" y="200"/>
                </a:cubicBezTo>
                <a:cubicBezTo>
                  <a:pt x="300" y="200"/>
                  <a:pt x="300" y="200"/>
                  <a:pt x="300" y="200"/>
                </a:cubicBezTo>
                <a:cubicBezTo>
                  <a:pt x="301" y="200"/>
                  <a:pt x="301" y="200"/>
                  <a:pt x="301" y="200"/>
                </a:cubicBezTo>
                <a:cubicBezTo>
                  <a:pt x="301" y="199"/>
                  <a:pt x="301" y="199"/>
                  <a:pt x="301" y="199"/>
                </a:cubicBezTo>
                <a:cubicBezTo>
                  <a:pt x="302" y="198"/>
                  <a:pt x="302" y="198"/>
                  <a:pt x="302" y="198"/>
                </a:cubicBezTo>
                <a:cubicBezTo>
                  <a:pt x="302" y="198"/>
                  <a:pt x="302" y="198"/>
                  <a:pt x="302" y="198"/>
                </a:cubicBezTo>
                <a:cubicBezTo>
                  <a:pt x="302" y="198"/>
                  <a:pt x="302" y="198"/>
                  <a:pt x="302" y="198"/>
                </a:cubicBezTo>
                <a:cubicBezTo>
                  <a:pt x="301" y="198"/>
                  <a:pt x="301" y="198"/>
                  <a:pt x="301" y="198"/>
                </a:cubicBezTo>
                <a:cubicBezTo>
                  <a:pt x="300" y="198"/>
                  <a:pt x="300" y="198"/>
                  <a:pt x="300" y="198"/>
                </a:cubicBezTo>
                <a:cubicBezTo>
                  <a:pt x="300" y="197"/>
                  <a:pt x="300" y="197"/>
                  <a:pt x="300" y="197"/>
                </a:cubicBezTo>
                <a:cubicBezTo>
                  <a:pt x="300" y="196"/>
                  <a:pt x="300" y="196"/>
                  <a:pt x="300" y="196"/>
                </a:cubicBezTo>
                <a:cubicBezTo>
                  <a:pt x="300" y="194"/>
                  <a:pt x="300" y="194"/>
                  <a:pt x="300" y="194"/>
                </a:cubicBezTo>
                <a:cubicBezTo>
                  <a:pt x="301" y="193"/>
                  <a:pt x="301" y="193"/>
                  <a:pt x="301" y="193"/>
                </a:cubicBezTo>
                <a:cubicBezTo>
                  <a:pt x="302" y="191"/>
                  <a:pt x="302" y="191"/>
                  <a:pt x="302" y="191"/>
                </a:cubicBezTo>
                <a:cubicBezTo>
                  <a:pt x="303" y="190"/>
                  <a:pt x="303" y="190"/>
                  <a:pt x="303" y="190"/>
                </a:cubicBezTo>
                <a:cubicBezTo>
                  <a:pt x="304" y="189"/>
                  <a:pt x="304" y="189"/>
                  <a:pt x="304" y="189"/>
                </a:cubicBezTo>
                <a:cubicBezTo>
                  <a:pt x="305" y="189"/>
                  <a:pt x="305" y="189"/>
                  <a:pt x="305" y="189"/>
                </a:cubicBezTo>
                <a:cubicBezTo>
                  <a:pt x="306" y="187"/>
                  <a:pt x="306" y="187"/>
                  <a:pt x="306" y="187"/>
                </a:cubicBezTo>
                <a:cubicBezTo>
                  <a:pt x="307" y="186"/>
                  <a:pt x="307" y="186"/>
                  <a:pt x="307" y="186"/>
                </a:cubicBezTo>
                <a:cubicBezTo>
                  <a:pt x="308" y="187"/>
                  <a:pt x="308" y="187"/>
                  <a:pt x="308" y="187"/>
                </a:cubicBezTo>
                <a:cubicBezTo>
                  <a:pt x="308" y="189"/>
                  <a:pt x="308" y="189"/>
                  <a:pt x="308" y="189"/>
                </a:cubicBezTo>
                <a:cubicBezTo>
                  <a:pt x="308" y="189"/>
                  <a:pt x="308" y="189"/>
                  <a:pt x="308" y="189"/>
                </a:cubicBezTo>
                <a:cubicBezTo>
                  <a:pt x="308" y="190"/>
                  <a:pt x="308" y="190"/>
                  <a:pt x="308" y="190"/>
                </a:cubicBezTo>
                <a:cubicBezTo>
                  <a:pt x="309" y="189"/>
                  <a:pt x="309" y="189"/>
                  <a:pt x="309" y="189"/>
                </a:cubicBezTo>
                <a:cubicBezTo>
                  <a:pt x="309" y="189"/>
                  <a:pt x="309" y="189"/>
                  <a:pt x="309" y="189"/>
                </a:cubicBezTo>
                <a:cubicBezTo>
                  <a:pt x="311" y="186"/>
                  <a:pt x="311" y="186"/>
                  <a:pt x="311" y="186"/>
                </a:cubicBezTo>
                <a:cubicBezTo>
                  <a:pt x="311" y="186"/>
                  <a:pt x="311" y="186"/>
                  <a:pt x="311" y="186"/>
                </a:cubicBezTo>
                <a:cubicBezTo>
                  <a:pt x="310" y="186"/>
                  <a:pt x="310" y="186"/>
                  <a:pt x="310" y="186"/>
                </a:cubicBezTo>
                <a:cubicBezTo>
                  <a:pt x="309" y="185"/>
                  <a:pt x="309" y="185"/>
                  <a:pt x="309" y="185"/>
                </a:cubicBezTo>
                <a:cubicBezTo>
                  <a:pt x="308" y="184"/>
                  <a:pt x="308" y="184"/>
                  <a:pt x="308" y="184"/>
                </a:cubicBezTo>
                <a:cubicBezTo>
                  <a:pt x="309" y="183"/>
                  <a:pt x="309" y="183"/>
                  <a:pt x="309" y="183"/>
                </a:cubicBezTo>
                <a:cubicBezTo>
                  <a:pt x="311" y="183"/>
                  <a:pt x="311" y="183"/>
                  <a:pt x="311" y="183"/>
                </a:cubicBezTo>
                <a:cubicBezTo>
                  <a:pt x="311" y="183"/>
                  <a:pt x="311" y="183"/>
                  <a:pt x="311" y="183"/>
                </a:cubicBezTo>
                <a:cubicBezTo>
                  <a:pt x="313" y="181"/>
                  <a:pt x="313" y="181"/>
                  <a:pt x="313" y="181"/>
                </a:cubicBezTo>
                <a:cubicBezTo>
                  <a:pt x="313" y="180"/>
                  <a:pt x="313" y="180"/>
                  <a:pt x="313" y="180"/>
                </a:cubicBezTo>
                <a:cubicBezTo>
                  <a:pt x="314" y="180"/>
                  <a:pt x="314" y="180"/>
                  <a:pt x="314" y="180"/>
                </a:cubicBezTo>
                <a:cubicBezTo>
                  <a:pt x="315" y="180"/>
                  <a:pt x="315" y="180"/>
                  <a:pt x="315" y="180"/>
                </a:cubicBezTo>
                <a:cubicBezTo>
                  <a:pt x="317" y="181"/>
                  <a:pt x="317" y="181"/>
                  <a:pt x="317" y="181"/>
                </a:cubicBezTo>
                <a:cubicBezTo>
                  <a:pt x="317" y="182"/>
                  <a:pt x="317" y="182"/>
                  <a:pt x="317" y="182"/>
                </a:cubicBezTo>
                <a:cubicBezTo>
                  <a:pt x="317" y="183"/>
                  <a:pt x="317" y="183"/>
                  <a:pt x="317" y="183"/>
                </a:cubicBezTo>
                <a:cubicBezTo>
                  <a:pt x="318" y="183"/>
                  <a:pt x="318" y="183"/>
                  <a:pt x="318" y="183"/>
                </a:cubicBezTo>
                <a:cubicBezTo>
                  <a:pt x="319" y="184"/>
                  <a:pt x="319" y="184"/>
                  <a:pt x="319" y="184"/>
                </a:cubicBezTo>
                <a:cubicBezTo>
                  <a:pt x="320" y="184"/>
                  <a:pt x="320" y="184"/>
                  <a:pt x="320" y="184"/>
                </a:cubicBezTo>
                <a:cubicBezTo>
                  <a:pt x="319" y="186"/>
                  <a:pt x="319" y="186"/>
                  <a:pt x="319" y="186"/>
                </a:cubicBezTo>
                <a:cubicBezTo>
                  <a:pt x="319" y="186"/>
                  <a:pt x="319" y="186"/>
                  <a:pt x="319" y="186"/>
                </a:cubicBezTo>
                <a:cubicBezTo>
                  <a:pt x="319" y="187"/>
                  <a:pt x="319" y="187"/>
                  <a:pt x="319" y="187"/>
                </a:cubicBezTo>
                <a:cubicBezTo>
                  <a:pt x="319" y="188"/>
                  <a:pt x="319" y="188"/>
                  <a:pt x="319" y="188"/>
                </a:cubicBezTo>
                <a:cubicBezTo>
                  <a:pt x="320" y="189"/>
                  <a:pt x="320" y="189"/>
                  <a:pt x="320" y="189"/>
                </a:cubicBezTo>
                <a:cubicBezTo>
                  <a:pt x="320" y="190"/>
                  <a:pt x="320" y="190"/>
                  <a:pt x="320" y="190"/>
                </a:cubicBezTo>
                <a:cubicBezTo>
                  <a:pt x="320" y="192"/>
                  <a:pt x="320" y="192"/>
                  <a:pt x="320" y="192"/>
                </a:cubicBezTo>
                <a:cubicBezTo>
                  <a:pt x="321" y="193"/>
                  <a:pt x="321" y="193"/>
                  <a:pt x="321" y="193"/>
                </a:cubicBezTo>
                <a:cubicBezTo>
                  <a:pt x="321" y="193"/>
                  <a:pt x="321" y="193"/>
                  <a:pt x="321" y="193"/>
                </a:cubicBezTo>
                <a:cubicBezTo>
                  <a:pt x="320" y="195"/>
                  <a:pt x="320" y="195"/>
                  <a:pt x="320" y="195"/>
                </a:cubicBezTo>
                <a:cubicBezTo>
                  <a:pt x="320" y="195"/>
                  <a:pt x="320" y="195"/>
                  <a:pt x="320" y="195"/>
                </a:cubicBezTo>
                <a:cubicBezTo>
                  <a:pt x="319" y="197"/>
                  <a:pt x="319" y="197"/>
                  <a:pt x="319" y="197"/>
                </a:cubicBezTo>
                <a:cubicBezTo>
                  <a:pt x="319" y="199"/>
                  <a:pt x="319" y="199"/>
                  <a:pt x="319" y="199"/>
                </a:cubicBezTo>
                <a:cubicBezTo>
                  <a:pt x="318" y="199"/>
                  <a:pt x="318" y="199"/>
                  <a:pt x="318" y="199"/>
                </a:cubicBezTo>
                <a:cubicBezTo>
                  <a:pt x="319" y="200"/>
                  <a:pt x="319" y="200"/>
                  <a:pt x="319" y="200"/>
                </a:cubicBezTo>
                <a:cubicBezTo>
                  <a:pt x="318" y="201"/>
                  <a:pt x="318" y="201"/>
                  <a:pt x="318" y="201"/>
                </a:cubicBezTo>
                <a:cubicBezTo>
                  <a:pt x="320" y="203"/>
                  <a:pt x="320" y="203"/>
                  <a:pt x="320" y="203"/>
                </a:cubicBezTo>
                <a:cubicBezTo>
                  <a:pt x="320" y="204"/>
                  <a:pt x="320" y="204"/>
                  <a:pt x="320" y="204"/>
                </a:cubicBezTo>
                <a:cubicBezTo>
                  <a:pt x="319" y="204"/>
                  <a:pt x="319" y="204"/>
                  <a:pt x="319" y="204"/>
                </a:cubicBezTo>
                <a:cubicBezTo>
                  <a:pt x="320" y="205"/>
                  <a:pt x="320" y="205"/>
                  <a:pt x="320" y="205"/>
                </a:cubicBezTo>
                <a:cubicBezTo>
                  <a:pt x="319" y="206"/>
                  <a:pt x="319" y="206"/>
                  <a:pt x="319" y="206"/>
                </a:cubicBezTo>
                <a:cubicBezTo>
                  <a:pt x="319" y="207"/>
                  <a:pt x="319" y="207"/>
                  <a:pt x="319" y="207"/>
                </a:cubicBezTo>
                <a:cubicBezTo>
                  <a:pt x="320" y="208"/>
                  <a:pt x="320" y="208"/>
                  <a:pt x="320" y="208"/>
                </a:cubicBezTo>
                <a:cubicBezTo>
                  <a:pt x="321" y="209"/>
                  <a:pt x="321" y="209"/>
                  <a:pt x="321" y="209"/>
                </a:cubicBezTo>
                <a:cubicBezTo>
                  <a:pt x="321" y="210"/>
                  <a:pt x="321" y="210"/>
                  <a:pt x="321" y="210"/>
                </a:cubicBezTo>
                <a:cubicBezTo>
                  <a:pt x="320" y="211"/>
                  <a:pt x="320" y="211"/>
                  <a:pt x="320" y="211"/>
                </a:cubicBezTo>
                <a:cubicBezTo>
                  <a:pt x="319" y="210"/>
                  <a:pt x="319" y="210"/>
                  <a:pt x="319" y="210"/>
                </a:cubicBezTo>
                <a:cubicBezTo>
                  <a:pt x="318" y="210"/>
                  <a:pt x="318" y="210"/>
                  <a:pt x="318" y="210"/>
                </a:cubicBezTo>
                <a:cubicBezTo>
                  <a:pt x="317" y="209"/>
                  <a:pt x="317" y="209"/>
                  <a:pt x="317" y="209"/>
                </a:cubicBezTo>
                <a:cubicBezTo>
                  <a:pt x="318" y="208"/>
                  <a:pt x="318" y="208"/>
                  <a:pt x="318" y="208"/>
                </a:cubicBezTo>
                <a:cubicBezTo>
                  <a:pt x="316" y="208"/>
                  <a:pt x="316" y="208"/>
                  <a:pt x="316" y="208"/>
                </a:cubicBezTo>
                <a:cubicBezTo>
                  <a:pt x="316" y="210"/>
                  <a:pt x="316" y="210"/>
                  <a:pt x="316" y="210"/>
                </a:cubicBezTo>
                <a:cubicBezTo>
                  <a:pt x="315" y="210"/>
                  <a:pt x="315" y="210"/>
                  <a:pt x="315" y="210"/>
                </a:cubicBezTo>
                <a:cubicBezTo>
                  <a:pt x="315" y="211"/>
                  <a:pt x="315" y="211"/>
                  <a:pt x="315" y="211"/>
                </a:cubicBezTo>
                <a:cubicBezTo>
                  <a:pt x="316" y="210"/>
                  <a:pt x="316" y="210"/>
                  <a:pt x="316" y="210"/>
                </a:cubicBezTo>
                <a:cubicBezTo>
                  <a:pt x="317" y="211"/>
                  <a:pt x="317" y="211"/>
                  <a:pt x="317" y="211"/>
                </a:cubicBezTo>
                <a:cubicBezTo>
                  <a:pt x="317" y="212"/>
                  <a:pt x="317" y="212"/>
                  <a:pt x="317" y="212"/>
                </a:cubicBezTo>
                <a:cubicBezTo>
                  <a:pt x="314" y="214"/>
                  <a:pt x="314" y="214"/>
                  <a:pt x="314" y="214"/>
                </a:cubicBezTo>
                <a:cubicBezTo>
                  <a:pt x="313" y="214"/>
                  <a:pt x="313" y="214"/>
                  <a:pt x="313" y="214"/>
                </a:cubicBezTo>
                <a:cubicBezTo>
                  <a:pt x="312" y="215"/>
                  <a:pt x="312" y="215"/>
                  <a:pt x="312" y="215"/>
                </a:cubicBezTo>
                <a:cubicBezTo>
                  <a:pt x="312" y="215"/>
                  <a:pt x="312" y="215"/>
                  <a:pt x="312" y="215"/>
                </a:cubicBezTo>
                <a:cubicBezTo>
                  <a:pt x="311" y="217"/>
                  <a:pt x="311" y="217"/>
                  <a:pt x="311" y="217"/>
                </a:cubicBezTo>
                <a:cubicBezTo>
                  <a:pt x="312" y="217"/>
                  <a:pt x="312" y="217"/>
                  <a:pt x="312" y="217"/>
                </a:cubicBezTo>
                <a:cubicBezTo>
                  <a:pt x="313" y="217"/>
                  <a:pt x="313" y="217"/>
                  <a:pt x="313" y="217"/>
                </a:cubicBezTo>
                <a:cubicBezTo>
                  <a:pt x="314" y="217"/>
                  <a:pt x="314" y="217"/>
                  <a:pt x="314" y="217"/>
                </a:cubicBezTo>
                <a:cubicBezTo>
                  <a:pt x="314" y="218"/>
                  <a:pt x="314" y="218"/>
                  <a:pt x="314" y="218"/>
                </a:cubicBezTo>
                <a:cubicBezTo>
                  <a:pt x="315" y="219"/>
                  <a:pt x="315" y="219"/>
                  <a:pt x="315" y="219"/>
                </a:cubicBezTo>
                <a:cubicBezTo>
                  <a:pt x="317" y="219"/>
                  <a:pt x="317" y="219"/>
                  <a:pt x="317" y="219"/>
                </a:cubicBezTo>
                <a:cubicBezTo>
                  <a:pt x="317" y="218"/>
                  <a:pt x="317" y="218"/>
                  <a:pt x="317" y="218"/>
                </a:cubicBezTo>
                <a:cubicBezTo>
                  <a:pt x="318" y="218"/>
                  <a:pt x="318" y="218"/>
                  <a:pt x="318" y="218"/>
                </a:cubicBezTo>
                <a:cubicBezTo>
                  <a:pt x="318" y="218"/>
                  <a:pt x="318" y="218"/>
                  <a:pt x="318" y="218"/>
                </a:cubicBezTo>
                <a:cubicBezTo>
                  <a:pt x="318" y="219"/>
                  <a:pt x="318" y="219"/>
                  <a:pt x="318" y="219"/>
                </a:cubicBezTo>
                <a:cubicBezTo>
                  <a:pt x="318" y="219"/>
                  <a:pt x="318" y="219"/>
                  <a:pt x="318" y="219"/>
                </a:cubicBezTo>
                <a:cubicBezTo>
                  <a:pt x="319" y="220"/>
                  <a:pt x="319" y="220"/>
                  <a:pt x="319" y="220"/>
                </a:cubicBezTo>
                <a:cubicBezTo>
                  <a:pt x="320" y="220"/>
                  <a:pt x="320" y="220"/>
                  <a:pt x="320" y="220"/>
                </a:cubicBezTo>
                <a:cubicBezTo>
                  <a:pt x="321" y="220"/>
                  <a:pt x="321" y="220"/>
                  <a:pt x="321" y="220"/>
                </a:cubicBezTo>
                <a:cubicBezTo>
                  <a:pt x="322" y="220"/>
                  <a:pt x="322" y="220"/>
                  <a:pt x="322" y="220"/>
                </a:cubicBezTo>
                <a:cubicBezTo>
                  <a:pt x="321" y="221"/>
                  <a:pt x="321" y="221"/>
                  <a:pt x="321" y="221"/>
                </a:cubicBezTo>
                <a:cubicBezTo>
                  <a:pt x="320" y="221"/>
                  <a:pt x="320" y="221"/>
                  <a:pt x="320" y="221"/>
                </a:cubicBezTo>
                <a:cubicBezTo>
                  <a:pt x="318" y="222"/>
                  <a:pt x="318" y="222"/>
                  <a:pt x="318" y="222"/>
                </a:cubicBezTo>
                <a:cubicBezTo>
                  <a:pt x="318" y="223"/>
                  <a:pt x="318" y="223"/>
                  <a:pt x="318" y="223"/>
                </a:cubicBezTo>
                <a:cubicBezTo>
                  <a:pt x="318" y="221"/>
                  <a:pt x="318" y="221"/>
                  <a:pt x="318" y="221"/>
                </a:cubicBezTo>
                <a:cubicBezTo>
                  <a:pt x="317" y="221"/>
                  <a:pt x="317" y="221"/>
                  <a:pt x="317" y="221"/>
                </a:cubicBezTo>
                <a:cubicBezTo>
                  <a:pt x="317" y="221"/>
                  <a:pt x="317" y="221"/>
                  <a:pt x="317" y="221"/>
                </a:cubicBezTo>
                <a:cubicBezTo>
                  <a:pt x="317" y="222"/>
                  <a:pt x="317" y="222"/>
                  <a:pt x="317" y="222"/>
                </a:cubicBezTo>
                <a:cubicBezTo>
                  <a:pt x="317" y="223"/>
                  <a:pt x="317" y="223"/>
                  <a:pt x="317" y="223"/>
                </a:cubicBezTo>
                <a:cubicBezTo>
                  <a:pt x="317" y="224"/>
                  <a:pt x="317" y="224"/>
                  <a:pt x="317" y="224"/>
                </a:cubicBezTo>
                <a:cubicBezTo>
                  <a:pt x="318" y="226"/>
                  <a:pt x="318" y="226"/>
                  <a:pt x="318" y="226"/>
                </a:cubicBezTo>
                <a:cubicBezTo>
                  <a:pt x="318" y="227"/>
                  <a:pt x="318" y="227"/>
                  <a:pt x="318" y="227"/>
                </a:cubicBezTo>
                <a:cubicBezTo>
                  <a:pt x="319" y="227"/>
                  <a:pt x="319" y="227"/>
                  <a:pt x="319" y="227"/>
                </a:cubicBezTo>
                <a:cubicBezTo>
                  <a:pt x="318" y="229"/>
                  <a:pt x="318" y="229"/>
                  <a:pt x="318" y="229"/>
                </a:cubicBezTo>
                <a:cubicBezTo>
                  <a:pt x="318" y="229"/>
                  <a:pt x="318" y="229"/>
                  <a:pt x="318" y="229"/>
                </a:cubicBezTo>
                <a:cubicBezTo>
                  <a:pt x="317" y="230"/>
                  <a:pt x="317" y="230"/>
                  <a:pt x="317" y="230"/>
                </a:cubicBezTo>
                <a:cubicBezTo>
                  <a:pt x="317" y="232"/>
                  <a:pt x="317" y="232"/>
                  <a:pt x="317" y="232"/>
                </a:cubicBezTo>
                <a:cubicBezTo>
                  <a:pt x="316" y="233"/>
                  <a:pt x="316" y="233"/>
                  <a:pt x="316" y="233"/>
                </a:cubicBezTo>
                <a:cubicBezTo>
                  <a:pt x="316" y="234"/>
                  <a:pt x="316" y="234"/>
                  <a:pt x="316" y="234"/>
                </a:cubicBezTo>
                <a:cubicBezTo>
                  <a:pt x="316" y="235"/>
                  <a:pt x="316" y="235"/>
                  <a:pt x="316" y="235"/>
                </a:cubicBezTo>
                <a:cubicBezTo>
                  <a:pt x="316" y="236"/>
                  <a:pt x="316" y="236"/>
                  <a:pt x="316" y="236"/>
                </a:cubicBezTo>
                <a:cubicBezTo>
                  <a:pt x="316" y="236"/>
                  <a:pt x="316" y="236"/>
                  <a:pt x="316" y="236"/>
                </a:cubicBezTo>
                <a:cubicBezTo>
                  <a:pt x="317" y="236"/>
                  <a:pt x="317" y="236"/>
                  <a:pt x="317" y="236"/>
                </a:cubicBezTo>
                <a:cubicBezTo>
                  <a:pt x="318" y="235"/>
                  <a:pt x="318" y="235"/>
                  <a:pt x="318" y="235"/>
                </a:cubicBezTo>
                <a:cubicBezTo>
                  <a:pt x="318" y="234"/>
                  <a:pt x="318" y="234"/>
                  <a:pt x="318" y="234"/>
                </a:cubicBezTo>
                <a:cubicBezTo>
                  <a:pt x="320" y="234"/>
                  <a:pt x="320" y="234"/>
                  <a:pt x="320" y="234"/>
                </a:cubicBezTo>
                <a:cubicBezTo>
                  <a:pt x="320" y="233"/>
                  <a:pt x="320" y="233"/>
                  <a:pt x="320" y="233"/>
                </a:cubicBezTo>
                <a:cubicBezTo>
                  <a:pt x="320" y="233"/>
                  <a:pt x="320" y="233"/>
                  <a:pt x="320" y="233"/>
                </a:cubicBezTo>
                <a:cubicBezTo>
                  <a:pt x="320" y="232"/>
                  <a:pt x="320" y="232"/>
                  <a:pt x="320" y="232"/>
                </a:cubicBezTo>
                <a:cubicBezTo>
                  <a:pt x="321" y="232"/>
                  <a:pt x="321" y="232"/>
                  <a:pt x="321" y="232"/>
                </a:cubicBezTo>
                <a:cubicBezTo>
                  <a:pt x="322" y="232"/>
                  <a:pt x="322" y="232"/>
                  <a:pt x="322" y="232"/>
                </a:cubicBezTo>
                <a:cubicBezTo>
                  <a:pt x="322" y="230"/>
                  <a:pt x="322" y="230"/>
                  <a:pt x="322" y="230"/>
                </a:cubicBezTo>
                <a:cubicBezTo>
                  <a:pt x="322" y="228"/>
                  <a:pt x="322" y="228"/>
                  <a:pt x="322" y="228"/>
                </a:cubicBezTo>
                <a:cubicBezTo>
                  <a:pt x="324" y="227"/>
                  <a:pt x="324" y="227"/>
                  <a:pt x="324" y="227"/>
                </a:cubicBezTo>
                <a:cubicBezTo>
                  <a:pt x="325" y="225"/>
                  <a:pt x="325" y="225"/>
                  <a:pt x="325" y="225"/>
                </a:cubicBezTo>
                <a:cubicBezTo>
                  <a:pt x="325" y="224"/>
                  <a:pt x="325" y="224"/>
                  <a:pt x="325" y="224"/>
                </a:cubicBezTo>
                <a:cubicBezTo>
                  <a:pt x="326" y="223"/>
                  <a:pt x="326" y="223"/>
                  <a:pt x="326" y="223"/>
                </a:cubicBezTo>
                <a:cubicBezTo>
                  <a:pt x="327" y="224"/>
                  <a:pt x="327" y="224"/>
                  <a:pt x="327" y="224"/>
                </a:cubicBezTo>
                <a:cubicBezTo>
                  <a:pt x="327" y="225"/>
                  <a:pt x="327" y="225"/>
                  <a:pt x="327" y="225"/>
                </a:cubicBezTo>
                <a:cubicBezTo>
                  <a:pt x="328" y="227"/>
                  <a:pt x="328" y="227"/>
                  <a:pt x="328" y="227"/>
                </a:cubicBezTo>
                <a:cubicBezTo>
                  <a:pt x="328" y="229"/>
                  <a:pt x="328" y="229"/>
                  <a:pt x="328" y="229"/>
                </a:cubicBezTo>
                <a:cubicBezTo>
                  <a:pt x="329" y="230"/>
                  <a:pt x="329" y="230"/>
                  <a:pt x="329" y="230"/>
                </a:cubicBezTo>
                <a:cubicBezTo>
                  <a:pt x="329" y="232"/>
                  <a:pt x="329" y="232"/>
                  <a:pt x="329" y="232"/>
                </a:cubicBezTo>
                <a:cubicBezTo>
                  <a:pt x="329" y="233"/>
                  <a:pt x="329" y="233"/>
                  <a:pt x="329" y="233"/>
                </a:cubicBezTo>
                <a:cubicBezTo>
                  <a:pt x="329" y="235"/>
                  <a:pt x="329" y="235"/>
                  <a:pt x="329" y="235"/>
                </a:cubicBezTo>
                <a:cubicBezTo>
                  <a:pt x="328" y="237"/>
                  <a:pt x="328" y="237"/>
                  <a:pt x="328" y="237"/>
                </a:cubicBezTo>
                <a:cubicBezTo>
                  <a:pt x="327" y="237"/>
                  <a:pt x="327" y="237"/>
                  <a:pt x="327" y="237"/>
                </a:cubicBezTo>
                <a:cubicBezTo>
                  <a:pt x="327" y="236"/>
                  <a:pt x="327" y="236"/>
                  <a:pt x="327" y="236"/>
                </a:cubicBezTo>
                <a:cubicBezTo>
                  <a:pt x="326" y="237"/>
                  <a:pt x="326" y="237"/>
                  <a:pt x="326" y="237"/>
                </a:cubicBezTo>
                <a:cubicBezTo>
                  <a:pt x="325" y="238"/>
                  <a:pt x="325" y="238"/>
                  <a:pt x="325" y="238"/>
                </a:cubicBezTo>
                <a:cubicBezTo>
                  <a:pt x="326" y="239"/>
                  <a:pt x="326" y="239"/>
                  <a:pt x="326" y="239"/>
                </a:cubicBezTo>
                <a:cubicBezTo>
                  <a:pt x="325" y="241"/>
                  <a:pt x="325" y="241"/>
                  <a:pt x="325" y="241"/>
                </a:cubicBezTo>
                <a:cubicBezTo>
                  <a:pt x="324" y="242"/>
                  <a:pt x="324" y="242"/>
                  <a:pt x="324" y="242"/>
                </a:cubicBezTo>
                <a:cubicBezTo>
                  <a:pt x="325" y="243"/>
                  <a:pt x="325" y="243"/>
                  <a:pt x="325" y="243"/>
                </a:cubicBezTo>
                <a:cubicBezTo>
                  <a:pt x="325" y="245"/>
                  <a:pt x="325" y="245"/>
                  <a:pt x="325" y="245"/>
                </a:cubicBezTo>
                <a:cubicBezTo>
                  <a:pt x="326" y="249"/>
                  <a:pt x="326" y="249"/>
                  <a:pt x="326" y="249"/>
                </a:cubicBezTo>
                <a:cubicBezTo>
                  <a:pt x="327" y="251"/>
                  <a:pt x="327" y="251"/>
                  <a:pt x="327" y="251"/>
                </a:cubicBezTo>
                <a:cubicBezTo>
                  <a:pt x="326" y="252"/>
                  <a:pt x="326" y="252"/>
                  <a:pt x="326" y="252"/>
                </a:cubicBezTo>
                <a:cubicBezTo>
                  <a:pt x="327" y="253"/>
                  <a:pt x="327" y="253"/>
                  <a:pt x="327" y="253"/>
                </a:cubicBezTo>
                <a:cubicBezTo>
                  <a:pt x="328" y="253"/>
                  <a:pt x="328" y="253"/>
                  <a:pt x="328" y="253"/>
                </a:cubicBezTo>
                <a:cubicBezTo>
                  <a:pt x="328" y="252"/>
                  <a:pt x="328" y="252"/>
                  <a:pt x="328" y="252"/>
                </a:cubicBezTo>
                <a:cubicBezTo>
                  <a:pt x="327" y="251"/>
                  <a:pt x="327" y="251"/>
                  <a:pt x="327" y="251"/>
                </a:cubicBezTo>
                <a:cubicBezTo>
                  <a:pt x="328" y="250"/>
                  <a:pt x="328" y="250"/>
                  <a:pt x="328" y="250"/>
                </a:cubicBezTo>
                <a:cubicBezTo>
                  <a:pt x="329" y="250"/>
                  <a:pt x="329" y="250"/>
                  <a:pt x="329" y="250"/>
                </a:cubicBezTo>
                <a:cubicBezTo>
                  <a:pt x="330" y="252"/>
                  <a:pt x="330" y="252"/>
                  <a:pt x="330" y="252"/>
                </a:cubicBezTo>
                <a:cubicBezTo>
                  <a:pt x="330" y="252"/>
                  <a:pt x="330" y="252"/>
                  <a:pt x="330" y="252"/>
                </a:cubicBezTo>
                <a:cubicBezTo>
                  <a:pt x="331" y="250"/>
                  <a:pt x="331" y="250"/>
                  <a:pt x="331" y="250"/>
                </a:cubicBezTo>
                <a:cubicBezTo>
                  <a:pt x="332" y="249"/>
                  <a:pt x="332" y="249"/>
                  <a:pt x="332" y="249"/>
                </a:cubicBezTo>
                <a:cubicBezTo>
                  <a:pt x="332" y="247"/>
                  <a:pt x="332" y="247"/>
                  <a:pt x="332" y="247"/>
                </a:cubicBezTo>
                <a:cubicBezTo>
                  <a:pt x="333" y="247"/>
                  <a:pt x="333" y="247"/>
                  <a:pt x="333" y="247"/>
                </a:cubicBezTo>
                <a:cubicBezTo>
                  <a:pt x="334" y="245"/>
                  <a:pt x="334" y="245"/>
                  <a:pt x="334" y="245"/>
                </a:cubicBezTo>
                <a:cubicBezTo>
                  <a:pt x="334" y="245"/>
                  <a:pt x="334" y="245"/>
                  <a:pt x="334" y="245"/>
                </a:cubicBezTo>
                <a:cubicBezTo>
                  <a:pt x="335" y="244"/>
                  <a:pt x="335" y="244"/>
                  <a:pt x="335" y="244"/>
                </a:cubicBezTo>
                <a:cubicBezTo>
                  <a:pt x="337" y="242"/>
                  <a:pt x="337" y="242"/>
                  <a:pt x="337" y="242"/>
                </a:cubicBezTo>
                <a:cubicBezTo>
                  <a:pt x="339" y="240"/>
                  <a:pt x="339" y="240"/>
                  <a:pt x="339" y="240"/>
                </a:cubicBezTo>
                <a:cubicBezTo>
                  <a:pt x="340" y="237"/>
                  <a:pt x="340" y="237"/>
                  <a:pt x="340" y="237"/>
                </a:cubicBezTo>
                <a:cubicBezTo>
                  <a:pt x="341" y="235"/>
                  <a:pt x="341" y="235"/>
                  <a:pt x="341" y="235"/>
                </a:cubicBezTo>
                <a:cubicBezTo>
                  <a:pt x="342" y="234"/>
                  <a:pt x="342" y="234"/>
                  <a:pt x="342" y="234"/>
                </a:cubicBezTo>
                <a:cubicBezTo>
                  <a:pt x="343" y="236"/>
                  <a:pt x="343" y="236"/>
                  <a:pt x="343" y="236"/>
                </a:cubicBezTo>
                <a:cubicBezTo>
                  <a:pt x="344" y="235"/>
                  <a:pt x="344" y="235"/>
                  <a:pt x="344" y="235"/>
                </a:cubicBezTo>
                <a:cubicBezTo>
                  <a:pt x="344" y="235"/>
                  <a:pt x="344" y="235"/>
                  <a:pt x="344" y="235"/>
                </a:cubicBezTo>
                <a:cubicBezTo>
                  <a:pt x="346" y="235"/>
                  <a:pt x="346" y="235"/>
                  <a:pt x="346" y="235"/>
                </a:cubicBezTo>
                <a:cubicBezTo>
                  <a:pt x="346" y="234"/>
                  <a:pt x="346" y="234"/>
                  <a:pt x="346" y="234"/>
                </a:cubicBezTo>
                <a:cubicBezTo>
                  <a:pt x="345" y="234"/>
                  <a:pt x="345" y="234"/>
                  <a:pt x="345" y="234"/>
                </a:cubicBezTo>
                <a:cubicBezTo>
                  <a:pt x="344" y="233"/>
                  <a:pt x="344" y="233"/>
                  <a:pt x="344" y="233"/>
                </a:cubicBezTo>
                <a:cubicBezTo>
                  <a:pt x="344" y="233"/>
                  <a:pt x="344" y="233"/>
                  <a:pt x="344" y="233"/>
                </a:cubicBezTo>
                <a:cubicBezTo>
                  <a:pt x="346" y="232"/>
                  <a:pt x="346" y="232"/>
                  <a:pt x="346" y="232"/>
                </a:cubicBezTo>
                <a:cubicBezTo>
                  <a:pt x="346" y="233"/>
                  <a:pt x="346" y="233"/>
                  <a:pt x="346" y="233"/>
                </a:cubicBezTo>
                <a:cubicBezTo>
                  <a:pt x="347" y="233"/>
                  <a:pt x="347" y="233"/>
                  <a:pt x="347" y="233"/>
                </a:cubicBezTo>
                <a:cubicBezTo>
                  <a:pt x="348" y="233"/>
                  <a:pt x="348" y="233"/>
                  <a:pt x="348" y="233"/>
                </a:cubicBezTo>
                <a:cubicBezTo>
                  <a:pt x="348" y="232"/>
                  <a:pt x="348" y="232"/>
                  <a:pt x="348" y="232"/>
                </a:cubicBezTo>
                <a:cubicBezTo>
                  <a:pt x="348" y="231"/>
                  <a:pt x="348" y="231"/>
                  <a:pt x="348" y="231"/>
                </a:cubicBezTo>
                <a:cubicBezTo>
                  <a:pt x="347" y="231"/>
                  <a:pt x="347" y="231"/>
                  <a:pt x="347" y="231"/>
                </a:cubicBezTo>
                <a:cubicBezTo>
                  <a:pt x="347" y="230"/>
                  <a:pt x="347" y="230"/>
                  <a:pt x="347" y="230"/>
                </a:cubicBezTo>
                <a:cubicBezTo>
                  <a:pt x="346" y="230"/>
                  <a:pt x="346" y="230"/>
                  <a:pt x="346" y="230"/>
                </a:cubicBezTo>
                <a:cubicBezTo>
                  <a:pt x="346" y="228"/>
                  <a:pt x="346" y="228"/>
                  <a:pt x="346" y="228"/>
                </a:cubicBezTo>
                <a:cubicBezTo>
                  <a:pt x="347" y="227"/>
                  <a:pt x="347" y="227"/>
                  <a:pt x="347" y="227"/>
                </a:cubicBezTo>
                <a:cubicBezTo>
                  <a:pt x="347" y="226"/>
                  <a:pt x="347" y="226"/>
                  <a:pt x="347" y="226"/>
                </a:cubicBezTo>
                <a:cubicBezTo>
                  <a:pt x="348" y="226"/>
                  <a:pt x="348" y="226"/>
                  <a:pt x="348" y="226"/>
                </a:cubicBezTo>
                <a:cubicBezTo>
                  <a:pt x="347" y="225"/>
                  <a:pt x="347" y="225"/>
                  <a:pt x="347" y="225"/>
                </a:cubicBezTo>
                <a:cubicBezTo>
                  <a:pt x="347" y="224"/>
                  <a:pt x="347" y="224"/>
                  <a:pt x="347" y="224"/>
                </a:cubicBezTo>
                <a:cubicBezTo>
                  <a:pt x="348" y="223"/>
                  <a:pt x="348" y="223"/>
                  <a:pt x="348" y="223"/>
                </a:cubicBezTo>
                <a:cubicBezTo>
                  <a:pt x="348" y="223"/>
                  <a:pt x="348" y="223"/>
                  <a:pt x="348" y="223"/>
                </a:cubicBezTo>
                <a:cubicBezTo>
                  <a:pt x="348" y="222"/>
                  <a:pt x="348" y="222"/>
                  <a:pt x="348" y="222"/>
                </a:cubicBezTo>
                <a:cubicBezTo>
                  <a:pt x="349" y="222"/>
                  <a:pt x="349" y="222"/>
                  <a:pt x="349" y="222"/>
                </a:cubicBezTo>
                <a:cubicBezTo>
                  <a:pt x="349" y="221"/>
                  <a:pt x="349" y="221"/>
                  <a:pt x="349" y="221"/>
                </a:cubicBezTo>
                <a:cubicBezTo>
                  <a:pt x="348" y="221"/>
                  <a:pt x="348" y="221"/>
                  <a:pt x="348" y="221"/>
                </a:cubicBezTo>
                <a:cubicBezTo>
                  <a:pt x="348" y="220"/>
                  <a:pt x="348" y="220"/>
                  <a:pt x="348" y="220"/>
                </a:cubicBezTo>
                <a:cubicBezTo>
                  <a:pt x="349" y="220"/>
                  <a:pt x="349" y="220"/>
                  <a:pt x="349" y="220"/>
                </a:cubicBezTo>
                <a:cubicBezTo>
                  <a:pt x="350" y="221"/>
                  <a:pt x="350" y="221"/>
                  <a:pt x="350" y="221"/>
                </a:cubicBezTo>
                <a:cubicBezTo>
                  <a:pt x="351" y="221"/>
                  <a:pt x="351" y="221"/>
                  <a:pt x="351" y="221"/>
                </a:cubicBezTo>
                <a:cubicBezTo>
                  <a:pt x="352" y="221"/>
                  <a:pt x="352" y="221"/>
                  <a:pt x="352" y="221"/>
                </a:cubicBezTo>
                <a:cubicBezTo>
                  <a:pt x="354" y="221"/>
                  <a:pt x="354" y="221"/>
                  <a:pt x="354" y="221"/>
                </a:cubicBezTo>
                <a:cubicBezTo>
                  <a:pt x="355" y="222"/>
                  <a:pt x="355" y="222"/>
                  <a:pt x="355" y="222"/>
                </a:cubicBezTo>
                <a:cubicBezTo>
                  <a:pt x="355" y="223"/>
                  <a:pt x="355" y="223"/>
                  <a:pt x="355" y="223"/>
                </a:cubicBezTo>
                <a:cubicBezTo>
                  <a:pt x="356" y="224"/>
                  <a:pt x="356" y="224"/>
                  <a:pt x="356" y="224"/>
                </a:cubicBezTo>
                <a:cubicBezTo>
                  <a:pt x="358" y="225"/>
                  <a:pt x="358" y="225"/>
                  <a:pt x="358" y="225"/>
                </a:cubicBezTo>
                <a:cubicBezTo>
                  <a:pt x="359" y="224"/>
                  <a:pt x="359" y="224"/>
                  <a:pt x="359" y="224"/>
                </a:cubicBezTo>
                <a:cubicBezTo>
                  <a:pt x="361" y="225"/>
                  <a:pt x="361" y="225"/>
                  <a:pt x="361" y="225"/>
                </a:cubicBezTo>
                <a:cubicBezTo>
                  <a:pt x="362" y="226"/>
                  <a:pt x="362" y="226"/>
                  <a:pt x="362" y="226"/>
                </a:cubicBezTo>
                <a:cubicBezTo>
                  <a:pt x="362" y="226"/>
                  <a:pt x="362" y="226"/>
                  <a:pt x="362" y="226"/>
                </a:cubicBezTo>
                <a:cubicBezTo>
                  <a:pt x="362" y="227"/>
                  <a:pt x="362" y="227"/>
                  <a:pt x="362" y="227"/>
                </a:cubicBezTo>
                <a:cubicBezTo>
                  <a:pt x="362" y="227"/>
                  <a:pt x="362" y="227"/>
                  <a:pt x="362" y="227"/>
                </a:cubicBezTo>
                <a:cubicBezTo>
                  <a:pt x="361" y="228"/>
                  <a:pt x="361" y="228"/>
                  <a:pt x="361" y="228"/>
                </a:cubicBezTo>
                <a:cubicBezTo>
                  <a:pt x="361" y="227"/>
                  <a:pt x="361" y="227"/>
                  <a:pt x="361" y="227"/>
                </a:cubicBezTo>
                <a:cubicBezTo>
                  <a:pt x="360" y="227"/>
                  <a:pt x="360" y="227"/>
                  <a:pt x="360" y="227"/>
                </a:cubicBezTo>
                <a:cubicBezTo>
                  <a:pt x="360" y="228"/>
                  <a:pt x="360" y="228"/>
                  <a:pt x="360" y="228"/>
                </a:cubicBezTo>
                <a:cubicBezTo>
                  <a:pt x="363" y="229"/>
                  <a:pt x="363" y="229"/>
                  <a:pt x="363" y="229"/>
                </a:cubicBezTo>
                <a:cubicBezTo>
                  <a:pt x="363" y="231"/>
                  <a:pt x="363" y="231"/>
                  <a:pt x="363" y="231"/>
                </a:cubicBezTo>
                <a:cubicBezTo>
                  <a:pt x="362" y="231"/>
                  <a:pt x="362" y="231"/>
                  <a:pt x="362" y="231"/>
                </a:cubicBezTo>
                <a:cubicBezTo>
                  <a:pt x="362" y="231"/>
                  <a:pt x="362" y="231"/>
                  <a:pt x="362" y="231"/>
                </a:cubicBezTo>
                <a:cubicBezTo>
                  <a:pt x="363" y="231"/>
                  <a:pt x="363" y="231"/>
                  <a:pt x="363" y="231"/>
                </a:cubicBezTo>
                <a:cubicBezTo>
                  <a:pt x="365" y="231"/>
                  <a:pt x="365" y="231"/>
                  <a:pt x="365" y="231"/>
                </a:cubicBezTo>
                <a:cubicBezTo>
                  <a:pt x="366" y="232"/>
                  <a:pt x="366" y="232"/>
                  <a:pt x="366" y="232"/>
                </a:cubicBezTo>
                <a:cubicBezTo>
                  <a:pt x="366" y="232"/>
                  <a:pt x="366" y="232"/>
                  <a:pt x="366" y="232"/>
                </a:cubicBezTo>
                <a:cubicBezTo>
                  <a:pt x="366" y="233"/>
                  <a:pt x="366" y="233"/>
                  <a:pt x="366" y="233"/>
                </a:cubicBezTo>
                <a:cubicBezTo>
                  <a:pt x="366" y="234"/>
                  <a:pt x="366" y="234"/>
                  <a:pt x="366" y="234"/>
                </a:cubicBezTo>
                <a:cubicBezTo>
                  <a:pt x="364" y="236"/>
                  <a:pt x="364" y="236"/>
                  <a:pt x="364" y="236"/>
                </a:cubicBezTo>
                <a:cubicBezTo>
                  <a:pt x="363" y="236"/>
                  <a:pt x="363" y="236"/>
                  <a:pt x="363" y="236"/>
                </a:cubicBezTo>
                <a:cubicBezTo>
                  <a:pt x="362" y="236"/>
                  <a:pt x="362" y="236"/>
                  <a:pt x="362" y="236"/>
                </a:cubicBezTo>
                <a:cubicBezTo>
                  <a:pt x="363" y="236"/>
                  <a:pt x="363" y="236"/>
                  <a:pt x="363" y="236"/>
                </a:cubicBezTo>
                <a:cubicBezTo>
                  <a:pt x="364" y="237"/>
                  <a:pt x="364" y="237"/>
                  <a:pt x="364" y="237"/>
                </a:cubicBezTo>
                <a:cubicBezTo>
                  <a:pt x="364" y="238"/>
                  <a:pt x="364" y="238"/>
                  <a:pt x="364" y="238"/>
                </a:cubicBezTo>
                <a:cubicBezTo>
                  <a:pt x="365" y="238"/>
                  <a:pt x="365" y="238"/>
                  <a:pt x="365" y="238"/>
                </a:cubicBezTo>
                <a:cubicBezTo>
                  <a:pt x="365" y="238"/>
                  <a:pt x="365" y="238"/>
                  <a:pt x="365" y="238"/>
                </a:cubicBezTo>
                <a:cubicBezTo>
                  <a:pt x="364" y="239"/>
                  <a:pt x="364" y="239"/>
                  <a:pt x="364" y="239"/>
                </a:cubicBezTo>
                <a:cubicBezTo>
                  <a:pt x="365" y="240"/>
                  <a:pt x="365" y="240"/>
                  <a:pt x="365" y="240"/>
                </a:cubicBezTo>
                <a:cubicBezTo>
                  <a:pt x="363" y="241"/>
                  <a:pt x="363" y="241"/>
                  <a:pt x="363" y="241"/>
                </a:cubicBezTo>
                <a:cubicBezTo>
                  <a:pt x="361" y="241"/>
                  <a:pt x="361" y="241"/>
                  <a:pt x="361" y="241"/>
                </a:cubicBezTo>
                <a:cubicBezTo>
                  <a:pt x="361" y="241"/>
                  <a:pt x="361" y="241"/>
                  <a:pt x="361" y="241"/>
                </a:cubicBezTo>
                <a:cubicBezTo>
                  <a:pt x="360" y="242"/>
                  <a:pt x="360" y="242"/>
                  <a:pt x="360" y="242"/>
                </a:cubicBezTo>
                <a:cubicBezTo>
                  <a:pt x="359" y="242"/>
                  <a:pt x="359" y="242"/>
                  <a:pt x="359" y="242"/>
                </a:cubicBezTo>
                <a:cubicBezTo>
                  <a:pt x="358" y="240"/>
                  <a:pt x="358" y="240"/>
                  <a:pt x="358" y="240"/>
                </a:cubicBezTo>
                <a:cubicBezTo>
                  <a:pt x="357" y="240"/>
                  <a:pt x="357" y="240"/>
                  <a:pt x="357" y="240"/>
                </a:cubicBezTo>
                <a:cubicBezTo>
                  <a:pt x="357" y="240"/>
                  <a:pt x="357" y="240"/>
                  <a:pt x="357" y="240"/>
                </a:cubicBezTo>
                <a:cubicBezTo>
                  <a:pt x="356" y="240"/>
                  <a:pt x="356" y="240"/>
                  <a:pt x="356" y="240"/>
                </a:cubicBezTo>
                <a:cubicBezTo>
                  <a:pt x="356" y="241"/>
                  <a:pt x="356" y="241"/>
                  <a:pt x="356" y="241"/>
                </a:cubicBezTo>
                <a:cubicBezTo>
                  <a:pt x="355" y="241"/>
                  <a:pt x="355" y="241"/>
                  <a:pt x="355" y="241"/>
                </a:cubicBezTo>
                <a:cubicBezTo>
                  <a:pt x="356" y="241"/>
                  <a:pt x="356" y="241"/>
                  <a:pt x="356" y="241"/>
                </a:cubicBezTo>
                <a:cubicBezTo>
                  <a:pt x="357" y="242"/>
                  <a:pt x="357" y="242"/>
                  <a:pt x="357" y="242"/>
                </a:cubicBezTo>
                <a:cubicBezTo>
                  <a:pt x="357" y="243"/>
                  <a:pt x="357" y="243"/>
                  <a:pt x="357" y="243"/>
                </a:cubicBezTo>
                <a:cubicBezTo>
                  <a:pt x="356" y="244"/>
                  <a:pt x="356" y="244"/>
                  <a:pt x="356" y="244"/>
                </a:cubicBezTo>
                <a:cubicBezTo>
                  <a:pt x="357" y="244"/>
                  <a:pt x="357" y="244"/>
                  <a:pt x="357" y="244"/>
                </a:cubicBezTo>
                <a:cubicBezTo>
                  <a:pt x="356" y="245"/>
                  <a:pt x="356" y="245"/>
                  <a:pt x="356" y="245"/>
                </a:cubicBezTo>
                <a:cubicBezTo>
                  <a:pt x="356" y="246"/>
                  <a:pt x="356" y="246"/>
                  <a:pt x="356" y="246"/>
                </a:cubicBezTo>
                <a:cubicBezTo>
                  <a:pt x="357" y="246"/>
                  <a:pt x="357" y="246"/>
                  <a:pt x="357" y="246"/>
                </a:cubicBezTo>
                <a:cubicBezTo>
                  <a:pt x="357" y="245"/>
                  <a:pt x="357" y="245"/>
                  <a:pt x="357" y="245"/>
                </a:cubicBezTo>
                <a:cubicBezTo>
                  <a:pt x="358" y="245"/>
                  <a:pt x="358" y="245"/>
                  <a:pt x="358" y="245"/>
                </a:cubicBezTo>
                <a:cubicBezTo>
                  <a:pt x="358" y="246"/>
                  <a:pt x="358" y="246"/>
                  <a:pt x="358" y="246"/>
                </a:cubicBezTo>
                <a:cubicBezTo>
                  <a:pt x="356" y="246"/>
                  <a:pt x="356" y="246"/>
                  <a:pt x="356" y="246"/>
                </a:cubicBezTo>
                <a:cubicBezTo>
                  <a:pt x="356" y="248"/>
                  <a:pt x="356" y="248"/>
                  <a:pt x="356" y="248"/>
                </a:cubicBezTo>
                <a:cubicBezTo>
                  <a:pt x="356" y="249"/>
                  <a:pt x="356" y="249"/>
                  <a:pt x="356" y="249"/>
                </a:cubicBezTo>
                <a:cubicBezTo>
                  <a:pt x="357" y="250"/>
                  <a:pt x="357" y="250"/>
                  <a:pt x="357" y="250"/>
                </a:cubicBezTo>
                <a:cubicBezTo>
                  <a:pt x="357" y="251"/>
                  <a:pt x="357" y="251"/>
                  <a:pt x="357" y="251"/>
                </a:cubicBezTo>
                <a:cubicBezTo>
                  <a:pt x="358" y="254"/>
                  <a:pt x="358" y="254"/>
                  <a:pt x="358" y="254"/>
                </a:cubicBezTo>
                <a:cubicBezTo>
                  <a:pt x="358" y="255"/>
                  <a:pt x="358" y="255"/>
                  <a:pt x="358" y="255"/>
                </a:cubicBezTo>
                <a:cubicBezTo>
                  <a:pt x="358" y="255"/>
                  <a:pt x="358" y="255"/>
                  <a:pt x="358" y="255"/>
                </a:cubicBezTo>
                <a:cubicBezTo>
                  <a:pt x="358" y="256"/>
                  <a:pt x="358" y="256"/>
                  <a:pt x="358" y="256"/>
                </a:cubicBezTo>
                <a:cubicBezTo>
                  <a:pt x="356" y="258"/>
                  <a:pt x="356" y="258"/>
                  <a:pt x="356" y="258"/>
                </a:cubicBezTo>
                <a:cubicBezTo>
                  <a:pt x="356" y="259"/>
                  <a:pt x="356" y="259"/>
                  <a:pt x="356" y="259"/>
                </a:cubicBezTo>
                <a:cubicBezTo>
                  <a:pt x="356" y="260"/>
                  <a:pt x="356" y="260"/>
                  <a:pt x="356" y="260"/>
                </a:cubicBezTo>
                <a:cubicBezTo>
                  <a:pt x="355" y="259"/>
                  <a:pt x="355" y="259"/>
                  <a:pt x="355" y="259"/>
                </a:cubicBezTo>
                <a:cubicBezTo>
                  <a:pt x="353" y="259"/>
                  <a:pt x="353" y="259"/>
                  <a:pt x="353" y="259"/>
                </a:cubicBezTo>
                <a:cubicBezTo>
                  <a:pt x="352" y="260"/>
                  <a:pt x="352" y="260"/>
                  <a:pt x="352" y="260"/>
                </a:cubicBezTo>
                <a:cubicBezTo>
                  <a:pt x="351" y="261"/>
                  <a:pt x="351" y="261"/>
                  <a:pt x="351" y="261"/>
                </a:cubicBezTo>
                <a:cubicBezTo>
                  <a:pt x="350" y="262"/>
                  <a:pt x="350" y="262"/>
                  <a:pt x="350" y="262"/>
                </a:cubicBezTo>
                <a:cubicBezTo>
                  <a:pt x="350" y="263"/>
                  <a:pt x="350" y="263"/>
                  <a:pt x="350" y="263"/>
                </a:cubicBezTo>
                <a:cubicBezTo>
                  <a:pt x="349" y="263"/>
                  <a:pt x="349" y="263"/>
                  <a:pt x="349" y="263"/>
                </a:cubicBezTo>
                <a:cubicBezTo>
                  <a:pt x="347" y="265"/>
                  <a:pt x="347" y="265"/>
                  <a:pt x="347" y="265"/>
                </a:cubicBezTo>
                <a:cubicBezTo>
                  <a:pt x="346" y="265"/>
                  <a:pt x="346" y="265"/>
                  <a:pt x="346" y="265"/>
                </a:cubicBezTo>
                <a:cubicBezTo>
                  <a:pt x="345" y="265"/>
                  <a:pt x="345" y="265"/>
                  <a:pt x="345" y="265"/>
                </a:cubicBezTo>
                <a:cubicBezTo>
                  <a:pt x="345" y="266"/>
                  <a:pt x="345" y="266"/>
                  <a:pt x="345" y="266"/>
                </a:cubicBezTo>
                <a:cubicBezTo>
                  <a:pt x="341" y="267"/>
                  <a:pt x="341" y="267"/>
                  <a:pt x="341" y="267"/>
                </a:cubicBezTo>
                <a:cubicBezTo>
                  <a:pt x="341" y="266"/>
                  <a:pt x="341" y="266"/>
                  <a:pt x="341" y="266"/>
                </a:cubicBezTo>
                <a:cubicBezTo>
                  <a:pt x="341" y="265"/>
                  <a:pt x="341" y="265"/>
                  <a:pt x="341" y="265"/>
                </a:cubicBezTo>
                <a:cubicBezTo>
                  <a:pt x="341" y="264"/>
                  <a:pt x="341" y="264"/>
                  <a:pt x="341" y="264"/>
                </a:cubicBezTo>
                <a:cubicBezTo>
                  <a:pt x="340" y="263"/>
                  <a:pt x="340" y="263"/>
                  <a:pt x="340" y="263"/>
                </a:cubicBezTo>
                <a:cubicBezTo>
                  <a:pt x="340" y="262"/>
                  <a:pt x="340" y="262"/>
                  <a:pt x="340" y="262"/>
                </a:cubicBezTo>
                <a:cubicBezTo>
                  <a:pt x="341" y="262"/>
                  <a:pt x="341" y="262"/>
                  <a:pt x="341" y="262"/>
                </a:cubicBezTo>
                <a:cubicBezTo>
                  <a:pt x="341" y="261"/>
                  <a:pt x="341" y="261"/>
                  <a:pt x="341" y="261"/>
                </a:cubicBezTo>
                <a:cubicBezTo>
                  <a:pt x="342" y="259"/>
                  <a:pt x="342" y="259"/>
                  <a:pt x="342" y="259"/>
                </a:cubicBezTo>
                <a:cubicBezTo>
                  <a:pt x="341" y="261"/>
                  <a:pt x="341" y="261"/>
                  <a:pt x="341" y="261"/>
                </a:cubicBezTo>
                <a:cubicBezTo>
                  <a:pt x="340" y="261"/>
                  <a:pt x="340" y="261"/>
                  <a:pt x="340" y="261"/>
                </a:cubicBezTo>
                <a:cubicBezTo>
                  <a:pt x="340" y="258"/>
                  <a:pt x="340" y="258"/>
                  <a:pt x="340" y="258"/>
                </a:cubicBezTo>
                <a:cubicBezTo>
                  <a:pt x="339" y="258"/>
                  <a:pt x="339" y="258"/>
                  <a:pt x="339" y="258"/>
                </a:cubicBezTo>
                <a:cubicBezTo>
                  <a:pt x="339" y="257"/>
                  <a:pt x="339" y="257"/>
                  <a:pt x="339" y="257"/>
                </a:cubicBezTo>
                <a:cubicBezTo>
                  <a:pt x="337" y="257"/>
                  <a:pt x="337" y="257"/>
                  <a:pt x="337" y="257"/>
                </a:cubicBezTo>
                <a:cubicBezTo>
                  <a:pt x="337" y="257"/>
                  <a:pt x="337" y="257"/>
                  <a:pt x="337" y="257"/>
                </a:cubicBezTo>
                <a:cubicBezTo>
                  <a:pt x="336" y="257"/>
                  <a:pt x="336" y="257"/>
                  <a:pt x="336" y="257"/>
                </a:cubicBezTo>
                <a:cubicBezTo>
                  <a:pt x="335" y="259"/>
                  <a:pt x="335" y="259"/>
                  <a:pt x="335" y="259"/>
                </a:cubicBezTo>
                <a:cubicBezTo>
                  <a:pt x="335" y="259"/>
                  <a:pt x="335" y="259"/>
                  <a:pt x="335" y="259"/>
                </a:cubicBezTo>
                <a:cubicBezTo>
                  <a:pt x="337" y="258"/>
                  <a:pt x="337" y="258"/>
                  <a:pt x="337" y="258"/>
                </a:cubicBezTo>
                <a:cubicBezTo>
                  <a:pt x="338" y="258"/>
                  <a:pt x="338" y="258"/>
                  <a:pt x="338" y="258"/>
                </a:cubicBezTo>
                <a:cubicBezTo>
                  <a:pt x="338" y="259"/>
                  <a:pt x="338" y="259"/>
                  <a:pt x="338" y="259"/>
                </a:cubicBezTo>
                <a:cubicBezTo>
                  <a:pt x="339" y="260"/>
                  <a:pt x="339" y="260"/>
                  <a:pt x="339" y="260"/>
                </a:cubicBezTo>
                <a:cubicBezTo>
                  <a:pt x="339" y="262"/>
                  <a:pt x="339" y="262"/>
                  <a:pt x="339" y="262"/>
                </a:cubicBezTo>
                <a:cubicBezTo>
                  <a:pt x="339" y="263"/>
                  <a:pt x="339" y="263"/>
                  <a:pt x="339" y="263"/>
                </a:cubicBezTo>
                <a:cubicBezTo>
                  <a:pt x="340" y="264"/>
                  <a:pt x="340" y="264"/>
                  <a:pt x="340" y="264"/>
                </a:cubicBezTo>
                <a:cubicBezTo>
                  <a:pt x="340" y="266"/>
                  <a:pt x="340" y="266"/>
                  <a:pt x="340" y="266"/>
                </a:cubicBezTo>
                <a:cubicBezTo>
                  <a:pt x="339" y="266"/>
                  <a:pt x="339" y="266"/>
                  <a:pt x="339" y="266"/>
                </a:cubicBezTo>
                <a:cubicBezTo>
                  <a:pt x="340" y="267"/>
                  <a:pt x="340" y="267"/>
                  <a:pt x="340" y="267"/>
                </a:cubicBezTo>
                <a:cubicBezTo>
                  <a:pt x="340" y="268"/>
                  <a:pt x="340" y="268"/>
                  <a:pt x="340" y="268"/>
                </a:cubicBezTo>
                <a:cubicBezTo>
                  <a:pt x="339" y="268"/>
                  <a:pt x="339" y="268"/>
                  <a:pt x="339" y="268"/>
                </a:cubicBezTo>
                <a:cubicBezTo>
                  <a:pt x="337" y="266"/>
                  <a:pt x="337" y="266"/>
                  <a:pt x="337" y="266"/>
                </a:cubicBezTo>
                <a:cubicBezTo>
                  <a:pt x="337" y="265"/>
                  <a:pt x="337" y="265"/>
                  <a:pt x="337" y="265"/>
                </a:cubicBezTo>
                <a:cubicBezTo>
                  <a:pt x="336" y="265"/>
                  <a:pt x="336" y="265"/>
                  <a:pt x="336" y="265"/>
                </a:cubicBezTo>
                <a:cubicBezTo>
                  <a:pt x="336" y="264"/>
                  <a:pt x="336" y="264"/>
                  <a:pt x="336" y="264"/>
                </a:cubicBezTo>
                <a:cubicBezTo>
                  <a:pt x="335" y="265"/>
                  <a:pt x="335" y="265"/>
                  <a:pt x="335" y="265"/>
                </a:cubicBezTo>
                <a:cubicBezTo>
                  <a:pt x="336" y="266"/>
                  <a:pt x="336" y="266"/>
                  <a:pt x="336" y="266"/>
                </a:cubicBezTo>
                <a:cubicBezTo>
                  <a:pt x="336" y="267"/>
                  <a:pt x="336" y="267"/>
                  <a:pt x="336" y="267"/>
                </a:cubicBezTo>
                <a:cubicBezTo>
                  <a:pt x="335" y="266"/>
                  <a:pt x="335" y="266"/>
                  <a:pt x="335" y="266"/>
                </a:cubicBezTo>
                <a:cubicBezTo>
                  <a:pt x="334" y="266"/>
                  <a:pt x="334" y="266"/>
                  <a:pt x="334" y="266"/>
                </a:cubicBezTo>
                <a:cubicBezTo>
                  <a:pt x="333" y="265"/>
                  <a:pt x="333" y="265"/>
                  <a:pt x="333" y="265"/>
                </a:cubicBezTo>
                <a:cubicBezTo>
                  <a:pt x="333" y="266"/>
                  <a:pt x="333" y="266"/>
                  <a:pt x="333" y="266"/>
                </a:cubicBezTo>
                <a:cubicBezTo>
                  <a:pt x="333" y="265"/>
                  <a:pt x="333" y="265"/>
                  <a:pt x="333" y="265"/>
                </a:cubicBezTo>
                <a:cubicBezTo>
                  <a:pt x="333" y="263"/>
                  <a:pt x="333" y="263"/>
                  <a:pt x="333" y="263"/>
                </a:cubicBezTo>
                <a:cubicBezTo>
                  <a:pt x="333" y="263"/>
                  <a:pt x="333" y="263"/>
                  <a:pt x="333" y="263"/>
                </a:cubicBezTo>
                <a:cubicBezTo>
                  <a:pt x="333" y="262"/>
                  <a:pt x="333" y="262"/>
                  <a:pt x="333" y="262"/>
                </a:cubicBezTo>
                <a:cubicBezTo>
                  <a:pt x="333" y="262"/>
                  <a:pt x="333" y="262"/>
                  <a:pt x="333" y="262"/>
                </a:cubicBezTo>
                <a:cubicBezTo>
                  <a:pt x="331" y="262"/>
                  <a:pt x="331" y="262"/>
                  <a:pt x="331" y="262"/>
                </a:cubicBezTo>
                <a:cubicBezTo>
                  <a:pt x="329" y="262"/>
                  <a:pt x="329" y="262"/>
                  <a:pt x="329" y="262"/>
                </a:cubicBezTo>
                <a:cubicBezTo>
                  <a:pt x="328" y="262"/>
                  <a:pt x="328" y="262"/>
                  <a:pt x="328" y="262"/>
                </a:cubicBezTo>
                <a:cubicBezTo>
                  <a:pt x="327" y="262"/>
                  <a:pt x="327" y="262"/>
                  <a:pt x="327" y="262"/>
                </a:cubicBezTo>
                <a:cubicBezTo>
                  <a:pt x="326" y="261"/>
                  <a:pt x="326" y="261"/>
                  <a:pt x="326" y="261"/>
                </a:cubicBezTo>
                <a:cubicBezTo>
                  <a:pt x="326" y="262"/>
                  <a:pt x="326" y="262"/>
                  <a:pt x="326" y="262"/>
                </a:cubicBezTo>
                <a:cubicBezTo>
                  <a:pt x="326" y="263"/>
                  <a:pt x="326" y="263"/>
                  <a:pt x="326" y="263"/>
                </a:cubicBezTo>
                <a:cubicBezTo>
                  <a:pt x="326" y="263"/>
                  <a:pt x="326" y="263"/>
                  <a:pt x="326" y="263"/>
                </a:cubicBezTo>
                <a:cubicBezTo>
                  <a:pt x="326" y="264"/>
                  <a:pt x="326" y="264"/>
                  <a:pt x="326" y="264"/>
                </a:cubicBezTo>
                <a:cubicBezTo>
                  <a:pt x="326" y="265"/>
                  <a:pt x="326" y="265"/>
                  <a:pt x="326" y="265"/>
                </a:cubicBezTo>
                <a:cubicBezTo>
                  <a:pt x="328" y="266"/>
                  <a:pt x="328" y="266"/>
                  <a:pt x="328" y="266"/>
                </a:cubicBezTo>
                <a:cubicBezTo>
                  <a:pt x="328" y="267"/>
                  <a:pt x="328" y="267"/>
                  <a:pt x="328" y="267"/>
                </a:cubicBezTo>
                <a:cubicBezTo>
                  <a:pt x="327" y="268"/>
                  <a:pt x="327" y="268"/>
                  <a:pt x="327" y="268"/>
                </a:cubicBezTo>
                <a:cubicBezTo>
                  <a:pt x="327" y="269"/>
                  <a:pt x="327" y="269"/>
                  <a:pt x="327" y="269"/>
                </a:cubicBezTo>
                <a:cubicBezTo>
                  <a:pt x="324" y="271"/>
                  <a:pt x="324" y="271"/>
                  <a:pt x="324" y="271"/>
                </a:cubicBezTo>
                <a:cubicBezTo>
                  <a:pt x="322" y="272"/>
                  <a:pt x="322" y="272"/>
                  <a:pt x="322" y="272"/>
                </a:cubicBezTo>
                <a:cubicBezTo>
                  <a:pt x="321" y="274"/>
                  <a:pt x="321" y="274"/>
                  <a:pt x="321" y="274"/>
                </a:cubicBezTo>
                <a:cubicBezTo>
                  <a:pt x="320" y="274"/>
                  <a:pt x="320" y="274"/>
                  <a:pt x="320" y="274"/>
                </a:cubicBezTo>
                <a:cubicBezTo>
                  <a:pt x="319" y="274"/>
                  <a:pt x="319" y="274"/>
                  <a:pt x="319" y="274"/>
                </a:cubicBezTo>
                <a:cubicBezTo>
                  <a:pt x="319" y="276"/>
                  <a:pt x="319" y="276"/>
                  <a:pt x="319" y="276"/>
                </a:cubicBezTo>
                <a:cubicBezTo>
                  <a:pt x="317" y="276"/>
                  <a:pt x="317" y="276"/>
                  <a:pt x="317" y="276"/>
                </a:cubicBezTo>
                <a:cubicBezTo>
                  <a:pt x="314" y="276"/>
                  <a:pt x="314" y="276"/>
                  <a:pt x="314" y="276"/>
                </a:cubicBezTo>
                <a:cubicBezTo>
                  <a:pt x="313" y="274"/>
                  <a:pt x="313" y="274"/>
                  <a:pt x="313" y="274"/>
                </a:cubicBezTo>
                <a:cubicBezTo>
                  <a:pt x="312" y="273"/>
                  <a:pt x="312" y="273"/>
                  <a:pt x="312" y="273"/>
                </a:cubicBezTo>
                <a:cubicBezTo>
                  <a:pt x="310" y="272"/>
                  <a:pt x="310" y="272"/>
                  <a:pt x="310" y="272"/>
                </a:cubicBezTo>
                <a:cubicBezTo>
                  <a:pt x="310" y="272"/>
                  <a:pt x="310" y="272"/>
                  <a:pt x="310" y="272"/>
                </a:cubicBezTo>
                <a:cubicBezTo>
                  <a:pt x="311" y="271"/>
                  <a:pt x="311" y="271"/>
                  <a:pt x="311" y="271"/>
                </a:cubicBezTo>
                <a:cubicBezTo>
                  <a:pt x="311" y="271"/>
                  <a:pt x="311" y="271"/>
                  <a:pt x="311" y="271"/>
                </a:cubicBezTo>
                <a:cubicBezTo>
                  <a:pt x="311" y="270"/>
                  <a:pt x="311" y="270"/>
                  <a:pt x="311" y="270"/>
                </a:cubicBezTo>
                <a:cubicBezTo>
                  <a:pt x="310" y="270"/>
                  <a:pt x="310" y="270"/>
                  <a:pt x="310" y="270"/>
                </a:cubicBezTo>
                <a:cubicBezTo>
                  <a:pt x="308" y="268"/>
                  <a:pt x="308" y="268"/>
                  <a:pt x="308" y="268"/>
                </a:cubicBezTo>
                <a:cubicBezTo>
                  <a:pt x="307" y="266"/>
                  <a:pt x="307" y="266"/>
                  <a:pt x="307" y="266"/>
                </a:cubicBezTo>
                <a:cubicBezTo>
                  <a:pt x="304" y="266"/>
                  <a:pt x="304" y="266"/>
                  <a:pt x="304" y="266"/>
                </a:cubicBezTo>
                <a:cubicBezTo>
                  <a:pt x="302" y="265"/>
                  <a:pt x="302" y="265"/>
                  <a:pt x="302" y="265"/>
                </a:cubicBezTo>
                <a:cubicBezTo>
                  <a:pt x="299" y="265"/>
                  <a:pt x="299" y="265"/>
                  <a:pt x="299" y="265"/>
                </a:cubicBezTo>
                <a:cubicBezTo>
                  <a:pt x="298" y="265"/>
                  <a:pt x="298" y="265"/>
                  <a:pt x="298" y="265"/>
                </a:cubicBezTo>
                <a:cubicBezTo>
                  <a:pt x="298" y="266"/>
                  <a:pt x="298" y="266"/>
                  <a:pt x="298" y="266"/>
                </a:cubicBezTo>
                <a:cubicBezTo>
                  <a:pt x="299" y="266"/>
                  <a:pt x="299" y="266"/>
                  <a:pt x="299" y="266"/>
                </a:cubicBezTo>
                <a:cubicBezTo>
                  <a:pt x="299" y="266"/>
                  <a:pt x="299" y="266"/>
                  <a:pt x="299" y="266"/>
                </a:cubicBezTo>
                <a:cubicBezTo>
                  <a:pt x="300" y="266"/>
                  <a:pt x="300" y="266"/>
                  <a:pt x="300" y="266"/>
                </a:cubicBezTo>
                <a:cubicBezTo>
                  <a:pt x="303" y="267"/>
                  <a:pt x="303" y="267"/>
                  <a:pt x="303" y="267"/>
                </a:cubicBezTo>
                <a:cubicBezTo>
                  <a:pt x="306" y="267"/>
                  <a:pt x="306" y="267"/>
                  <a:pt x="306" y="267"/>
                </a:cubicBezTo>
                <a:cubicBezTo>
                  <a:pt x="306" y="267"/>
                  <a:pt x="306" y="267"/>
                  <a:pt x="306" y="267"/>
                </a:cubicBezTo>
                <a:cubicBezTo>
                  <a:pt x="306" y="268"/>
                  <a:pt x="306" y="268"/>
                  <a:pt x="306" y="268"/>
                </a:cubicBezTo>
                <a:cubicBezTo>
                  <a:pt x="306" y="268"/>
                  <a:pt x="306" y="268"/>
                  <a:pt x="306" y="268"/>
                </a:cubicBezTo>
                <a:cubicBezTo>
                  <a:pt x="305" y="268"/>
                  <a:pt x="305" y="268"/>
                  <a:pt x="305" y="268"/>
                </a:cubicBezTo>
                <a:cubicBezTo>
                  <a:pt x="306" y="269"/>
                  <a:pt x="306" y="269"/>
                  <a:pt x="306" y="269"/>
                </a:cubicBezTo>
                <a:cubicBezTo>
                  <a:pt x="306" y="271"/>
                  <a:pt x="306" y="271"/>
                  <a:pt x="306" y="271"/>
                </a:cubicBezTo>
                <a:cubicBezTo>
                  <a:pt x="306" y="271"/>
                  <a:pt x="306" y="271"/>
                  <a:pt x="306" y="271"/>
                </a:cubicBezTo>
                <a:cubicBezTo>
                  <a:pt x="308" y="274"/>
                  <a:pt x="308" y="274"/>
                  <a:pt x="308" y="274"/>
                </a:cubicBezTo>
                <a:cubicBezTo>
                  <a:pt x="309" y="275"/>
                  <a:pt x="309" y="275"/>
                  <a:pt x="309" y="275"/>
                </a:cubicBezTo>
                <a:cubicBezTo>
                  <a:pt x="311" y="276"/>
                  <a:pt x="311" y="276"/>
                  <a:pt x="311" y="276"/>
                </a:cubicBezTo>
                <a:cubicBezTo>
                  <a:pt x="313" y="277"/>
                  <a:pt x="313" y="277"/>
                  <a:pt x="313" y="277"/>
                </a:cubicBezTo>
                <a:cubicBezTo>
                  <a:pt x="318" y="278"/>
                  <a:pt x="318" y="278"/>
                  <a:pt x="318" y="278"/>
                </a:cubicBezTo>
                <a:cubicBezTo>
                  <a:pt x="318" y="279"/>
                  <a:pt x="318" y="279"/>
                  <a:pt x="318" y="279"/>
                </a:cubicBezTo>
                <a:cubicBezTo>
                  <a:pt x="317" y="280"/>
                  <a:pt x="317" y="280"/>
                  <a:pt x="317" y="280"/>
                </a:cubicBezTo>
                <a:cubicBezTo>
                  <a:pt x="316" y="281"/>
                  <a:pt x="316" y="281"/>
                  <a:pt x="316" y="281"/>
                </a:cubicBezTo>
                <a:cubicBezTo>
                  <a:pt x="315" y="281"/>
                  <a:pt x="315" y="281"/>
                  <a:pt x="315" y="281"/>
                </a:cubicBezTo>
                <a:cubicBezTo>
                  <a:pt x="313" y="284"/>
                  <a:pt x="313" y="284"/>
                  <a:pt x="313" y="284"/>
                </a:cubicBezTo>
                <a:cubicBezTo>
                  <a:pt x="313" y="283"/>
                  <a:pt x="313" y="283"/>
                  <a:pt x="313" y="283"/>
                </a:cubicBezTo>
                <a:cubicBezTo>
                  <a:pt x="312" y="284"/>
                  <a:pt x="312" y="284"/>
                  <a:pt x="312" y="284"/>
                </a:cubicBezTo>
                <a:cubicBezTo>
                  <a:pt x="312" y="284"/>
                  <a:pt x="312" y="284"/>
                  <a:pt x="312" y="284"/>
                </a:cubicBezTo>
                <a:cubicBezTo>
                  <a:pt x="308" y="289"/>
                  <a:pt x="308" y="289"/>
                  <a:pt x="308" y="289"/>
                </a:cubicBezTo>
                <a:cubicBezTo>
                  <a:pt x="306" y="289"/>
                  <a:pt x="306" y="289"/>
                  <a:pt x="306" y="289"/>
                </a:cubicBezTo>
                <a:cubicBezTo>
                  <a:pt x="305" y="291"/>
                  <a:pt x="305" y="291"/>
                  <a:pt x="305" y="291"/>
                </a:cubicBezTo>
                <a:cubicBezTo>
                  <a:pt x="304" y="291"/>
                  <a:pt x="304" y="291"/>
                  <a:pt x="304" y="291"/>
                </a:cubicBezTo>
                <a:cubicBezTo>
                  <a:pt x="304" y="291"/>
                  <a:pt x="304" y="291"/>
                  <a:pt x="304" y="291"/>
                </a:cubicBezTo>
                <a:cubicBezTo>
                  <a:pt x="303" y="291"/>
                  <a:pt x="303" y="291"/>
                  <a:pt x="303" y="291"/>
                </a:cubicBezTo>
                <a:cubicBezTo>
                  <a:pt x="303" y="292"/>
                  <a:pt x="303" y="292"/>
                  <a:pt x="303" y="292"/>
                </a:cubicBezTo>
                <a:cubicBezTo>
                  <a:pt x="301" y="290"/>
                  <a:pt x="301" y="290"/>
                  <a:pt x="301" y="290"/>
                </a:cubicBezTo>
                <a:cubicBezTo>
                  <a:pt x="300" y="289"/>
                  <a:pt x="300" y="289"/>
                  <a:pt x="300" y="289"/>
                </a:cubicBezTo>
                <a:cubicBezTo>
                  <a:pt x="299" y="290"/>
                  <a:pt x="299" y="290"/>
                  <a:pt x="299" y="290"/>
                </a:cubicBezTo>
                <a:cubicBezTo>
                  <a:pt x="299" y="289"/>
                  <a:pt x="299" y="289"/>
                  <a:pt x="299" y="289"/>
                </a:cubicBezTo>
                <a:cubicBezTo>
                  <a:pt x="299" y="289"/>
                  <a:pt x="299" y="289"/>
                  <a:pt x="299" y="289"/>
                </a:cubicBezTo>
                <a:cubicBezTo>
                  <a:pt x="300" y="288"/>
                  <a:pt x="300" y="288"/>
                  <a:pt x="300" y="288"/>
                </a:cubicBezTo>
                <a:cubicBezTo>
                  <a:pt x="299" y="288"/>
                  <a:pt x="299" y="288"/>
                  <a:pt x="299" y="288"/>
                </a:cubicBezTo>
                <a:cubicBezTo>
                  <a:pt x="299" y="287"/>
                  <a:pt x="299" y="287"/>
                  <a:pt x="299" y="287"/>
                </a:cubicBezTo>
                <a:cubicBezTo>
                  <a:pt x="298" y="288"/>
                  <a:pt x="298" y="288"/>
                  <a:pt x="298" y="288"/>
                </a:cubicBezTo>
                <a:cubicBezTo>
                  <a:pt x="297" y="290"/>
                  <a:pt x="297" y="290"/>
                  <a:pt x="297" y="290"/>
                </a:cubicBezTo>
                <a:cubicBezTo>
                  <a:pt x="297" y="289"/>
                  <a:pt x="297" y="289"/>
                  <a:pt x="297" y="289"/>
                </a:cubicBezTo>
                <a:cubicBezTo>
                  <a:pt x="296" y="287"/>
                  <a:pt x="296" y="287"/>
                  <a:pt x="296" y="287"/>
                </a:cubicBezTo>
                <a:cubicBezTo>
                  <a:pt x="295" y="289"/>
                  <a:pt x="295" y="289"/>
                  <a:pt x="295" y="289"/>
                </a:cubicBezTo>
                <a:cubicBezTo>
                  <a:pt x="296" y="290"/>
                  <a:pt x="296" y="290"/>
                  <a:pt x="296" y="290"/>
                </a:cubicBezTo>
                <a:cubicBezTo>
                  <a:pt x="296" y="292"/>
                  <a:pt x="296" y="292"/>
                  <a:pt x="296" y="292"/>
                </a:cubicBezTo>
                <a:cubicBezTo>
                  <a:pt x="294" y="294"/>
                  <a:pt x="294" y="294"/>
                  <a:pt x="294" y="294"/>
                </a:cubicBezTo>
                <a:cubicBezTo>
                  <a:pt x="294" y="294"/>
                  <a:pt x="294" y="294"/>
                  <a:pt x="294" y="294"/>
                </a:cubicBezTo>
                <a:cubicBezTo>
                  <a:pt x="293" y="293"/>
                  <a:pt x="293" y="293"/>
                  <a:pt x="293" y="293"/>
                </a:cubicBezTo>
                <a:cubicBezTo>
                  <a:pt x="292" y="292"/>
                  <a:pt x="292" y="292"/>
                  <a:pt x="292" y="292"/>
                </a:cubicBezTo>
                <a:cubicBezTo>
                  <a:pt x="292" y="293"/>
                  <a:pt x="292" y="293"/>
                  <a:pt x="292" y="293"/>
                </a:cubicBezTo>
                <a:cubicBezTo>
                  <a:pt x="293" y="293"/>
                  <a:pt x="293" y="293"/>
                  <a:pt x="293" y="293"/>
                </a:cubicBezTo>
                <a:cubicBezTo>
                  <a:pt x="292" y="294"/>
                  <a:pt x="292" y="294"/>
                  <a:pt x="292" y="294"/>
                </a:cubicBezTo>
                <a:cubicBezTo>
                  <a:pt x="292" y="295"/>
                  <a:pt x="292" y="295"/>
                  <a:pt x="292" y="295"/>
                </a:cubicBezTo>
                <a:cubicBezTo>
                  <a:pt x="291" y="295"/>
                  <a:pt x="291" y="295"/>
                  <a:pt x="291" y="295"/>
                </a:cubicBezTo>
                <a:cubicBezTo>
                  <a:pt x="290" y="295"/>
                  <a:pt x="290" y="295"/>
                  <a:pt x="290" y="295"/>
                </a:cubicBezTo>
                <a:cubicBezTo>
                  <a:pt x="290" y="294"/>
                  <a:pt x="290" y="294"/>
                  <a:pt x="290" y="294"/>
                </a:cubicBezTo>
                <a:cubicBezTo>
                  <a:pt x="289" y="293"/>
                  <a:pt x="289" y="293"/>
                  <a:pt x="289" y="293"/>
                </a:cubicBezTo>
                <a:cubicBezTo>
                  <a:pt x="287" y="291"/>
                  <a:pt x="287" y="291"/>
                  <a:pt x="287" y="291"/>
                </a:cubicBezTo>
                <a:cubicBezTo>
                  <a:pt x="285" y="290"/>
                  <a:pt x="285" y="290"/>
                  <a:pt x="285" y="290"/>
                </a:cubicBezTo>
                <a:cubicBezTo>
                  <a:pt x="282" y="289"/>
                  <a:pt x="282" y="289"/>
                  <a:pt x="282" y="289"/>
                </a:cubicBezTo>
                <a:cubicBezTo>
                  <a:pt x="282" y="287"/>
                  <a:pt x="282" y="287"/>
                  <a:pt x="282" y="287"/>
                </a:cubicBezTo>
                <a:cubicBezTo>
                  <a:pt x="281" y="287"/>
                  <a:pt x="281" y="287"/>
                  <a:pt x="281" y="287"/>
                </a:cubicBezTo>
                <a:cubicBezTo>
                  <a:pt x="279" y="286"/>
                  <a:pt x="279" y="286"/>
                  <a:pt x="279" y="286"/>
                </a:cubicBezTo>
                <a:cubicBezTo>
                  <a:pt x="278" y="285"/>
                  <a:pt x="278" y="285"/>
                  <a:pt x="278" y="285"/>
                </a:cubicBezTo>
                <a:cubicBezTo>
                  <a:pt x="278" y="286"/>
                  <a:pt x="278" y="286"/>
                  <a:pt x="278" y="286"/>
                </a:cubicBezTo>
                <a:cubicBezTo>
                  <a:pt x="277" y="286"/>
                  <a:pt x="277" y="286"/>
                  <a:pt x="277" y="286"/>
                </a:cubicBezTo>
                <a:cubicBezTo>
                  <a:pt x="278" y="288"/>
                  <a:pt x="278" y="288"/>
                  <a:pt x="278" y="288"/>
                </a:cubicBezTo>
                <a:cubicBezTo>
                  <a:pt x="279" y="289"/>
                  <a:pt x="279" y="289"/>
                  <a:pt x="279" y="289"/>
                </a:cubicBezTo>
                <a:cubicBezTo>
                  <a:pt x="279" y="288"/>
                  <a:pt x="279" y="288"/>
                  <a:pt x="279" y="288"/>
                </a:cubicBezTo>
                <a:cubicBezTo>
                  <a:pt x="279" y="288"/>
                  <a:pt x="279" y="288"/>
                  <a:pt x="279" y="288"/>
                </a:cubicBezTo>
                <a:cubicBezTo>
                  <a:pt x="279" y="287"/>
                  <a:pt x="279" y="287"/>
                  <a:pt x="279" y="287"/>
                </a:cubicBezTo>
                <a:cubicBezTo>
                  <a:pt x="280" y="287"/>
                  <a:pt x="280" y="287"/>
                  <a:pt x="280" y="287"/>
                </a:cubicBezTo>
                <a:cubicBezTo>
                  <a:pt x="282" y="290"/>
                  <a:pt x="282" y="290"/>
                  <a:pt x="282" y="290"/>
                </a:cubicBezTo>
                <a:cubicBezTo>
                  <a:pt x="284" y="291"/>
                  <a:pt x="284" y="291"/>
                  <a:pt x="284" y="291"/>
                </a:cubicBezTo>
                <a:cubicBezTo>
                  <a:pt x="285" y="292"/>
                  <a:pt x="285" y="292"/>
                  <a:pt x="285" y="292"/>
                </a:cubicBezTo>
                <a:cubicBezTo>
                  <a:pt x="283" y="293"/>
                  <a:pt x="283" y="293"/>
                  <a:pt x="283" y="293"/>
                </a:cubicBezTo>
                <a:cubicBezTo>
                  <a:pt x="282" y="293"/>
                  <a:pt x="282" y="293"/>
                  <a:pt x="282" y="293"/>
                </a:cubicBezTo>
                <a:cubicBezTo>
                  <a:pt x="281" y="293"/>
                  <a:pt x="281" y="293"/>
                  <a:pt x="281" y="293"/>
                </a:cubicBezTo>
                <a:cubicBezTo>
                  <a:pt x="281" y="293"/>
                  <a:pt x="281" y="293"/>
                  <a:pt x="281" y="293"/>
                </a:cubicBezTo>
                <a:cubicBezTo>
                  <a:pt x="281" y="294"/>
                  <a:pt x="281" y="294"/>
                  <a:pt x="281" y="294"/>
                </a:cubicBezTo>
                <a:cubicBezTo>
                  <a:pt x="282" y="293"/>
                  <a:pt x="282" y="293"/>
                  <a:pt x="282" y="293"/>
                </a:cubicBezTo>
                <a:cubicBezTo>
                  <a:pt x="284" y="293"/>
                  <a:pt x="284" y="293"/>
                  <a:pt x="284" y="293"/>
                </a:cubicBezTo>
                <a:cubicBezTo>
                  <a:pt x="286" y="292"/>
                  <a:pt x="286" y="292"/>
                  <a:pt x="286" y="292"/>
                </a:cubicBezTo>
                <a:cubicBezTo>
                  <a:pt x="286" y="292"/>
                  <a:pt x="286" y="292"/>
                  <a:pt x="286" y="292"/>
                </a:cubicBezTo>
                <a:cubicBezTo>
                  <a:pt x="287" y="293"/>
                  <a:pt x="287" y="293"/>
                  <a:pt x="287" y="293"/>
                </a:cubicBezTo>
                <a:cubicBezTo>
                  <a:pt x="287" y="294"/>
                  <a:pt x="287" y="294"/>
                  <a:pt x="287" y="294"/>
                </a:cubicBezTo>
                <a:cubicBezTo>
                  <a:pt x="290" y="297"/>
                  <a:pt x="290" y="297"/>
                  <a:pt x="290" y="297"/>
                </a:cubicBezTo>
                <a:cubicBezTo>
                  <a:pt x="289" y="300"/>
                  <a:pt x="289" y="300"/>
                  <a:pt x="289" y="300"/>
                </a:cubicBezTo>
                <a:cubicBezTo>
                  <a:pt x="288" y="302"/>
                  <a:pt x="288" y="302"/>
                  <a:pt x="288" y="302"/>
                </a:cubicBezTo>
                <a:cubicBezTo>
                  <a:pt x="287" y="302"/>
                  <a:pt x="287" y="302"/>
                  <a:pt x="287" y="302"/>
                </a:cubicBezTo>
                <a:cubicBezTo>
                  <a:pt x="286" y="302"/>
                  <a:pt x="286" y="302"/>
                  <a:pt x="286" y="302"/>
                </a:cubicBezTo>
                <a:cubicBezTo>
                  <a:pt x="284" y="302"/>
                  <a:pt x="284" y="302"/>
                  <a:pt x="284" y="302"/>
                </a:cubicBezTo>
                <a:cubicBezTo>
                  <a:pt x="283" y="301"/>
                  <a:pt x="283" y="301"/>
                  <a:pt x="283" y="301"/>
                </a:cubicBezTo>
                <a:cubicBezTo>
                  <a:pt x="281" y="301"/>
                  <a:pt x="281" y="301"/>
                  <a:pt x="281" y="301"/>
                </a:cubicBezTo>
                <a:cubicBezTo>
                  <a:pt x="279" y="299"/>
                  <a:pt x="279" y="299"/>
                  <a:pt x="279" y="299"/>
                </a:cubicBezTo>
                <a:cubicBezTo>
                  <a:pt x="278" y="297"/>
                  <a:pt x="278" y="297"/>
                  <a:pt x="278" y="297"/>
                </a:cubicBezTo>
                <a:cubicBezTo>
                  <a:pt x="277" y="296"/>
                  <a:pt x="277" y="296"/>
                  <a:pt x="277" y="296"/>
                </a:cubicBezTo>
                <a:cubicBezTo>
                  <a:pt x="277" y="296"/>
                  <a:pt x="277" y="296"/>
                  <a:pt x="277" y="296"/>
                </a:cubicBezTo>
                <a:cubicBezTo>
                  <a:pt x="277" y="297"/>
                  <a:pt x="277" y="297"/>
                  <a:pt x="277" y="297"/>
                </a:cubicBezTo>
                <a:cubicBezTo>
                  <a:pt x="277" y="298"/>
                  <a:pt x="277" y="298"/>
                  <a:pt x="277" y="298"/>
                </a:cubicBezTo>
                <a:cubicBezTo>
                  <a:pt x="278" y="300"/>
                  <a:pt x="278" y="300"/>
                  <a:pt x="278" y="300"/>
                </a:cubicBezTo>
                <a:cubicBezTo>
                  <a:pt x="279" y="302"/>
                  <a:pt x="279" y="302"/>
                  <a:pt x="279" y="302"/>
                </a:cubicBezTo>
                <a:cubicBezTo>
                  <a:pt x="281" y="305"/>
                  <a:pt x="281" y="305"/>
                  <a:pt x="281" y="305"/>
                </a:cubicBezTo>
                <a:cubicBezTo>
                  <a:pt x="280" y="305"/>
                  <a:pt x="280" y="305"/>
                  <a:pt x="280" y="305"/>
                </a:cubicBezTo>
                <a:cubicBezTo>
                  <a:pt x="279" y="305"/>
                  <a:pt x="279" y="305"/>
                  <a:pt x="279" y="305"/>
                </a:cubicBezTo>
                <a:cubicBezTo>
                  <a:pt x="278" y="305"/>
                  <a:pt x="278" y="305"/>
                  <a:pt x="278" y="305"/>
                </a:cubicBezTo>
                <a:cubicBezTo>
                  <a:pt x="278" y="303"/>
                  <a:pt x="278" y="303"/>
                  <a:pt x="278" y="303"/>
                </a:cubicBezTo>
                <a:cubicBezTo>
                  <a:pt x="277" y="304"/>
                  <a:pt x="277" y="304"/>
                  <a:pt x="277" y="304"/>
                </a:cubicBezTo>
                <a:cubicBezTo>
                  <a:pt x="277" y="305"/>
                  <a:pt x="277" y="305"/>
                  <a:pt x="277" y="305"/>
                </a:cubicBezTo>
                <a:cubicBezTo>
                  <a:pt x="277" y="305"/>
                  <a:pt x="277" y="305"/>
                  <a:pt x="277" y="305"/>
                </a:cubicBezTo>
                <a:cubicBezTo>
                  <a:pt x="278" y="306"/>
                  <a:pt x="278" y="306"/>
                  <a:pt x="278" y="306"/>
                </a:cubicBezTo>
                <a:cubicBezTo>
                  <a:pt x="279" y="307"/>
                  <a:pt x="279" y="307"/>
                  <a:pt x="279" y="307"/>
                </a:cubicBezTo>
                <a:cubicBezTo>
                  <a:pt x="276" y="306"/>
                  <a:pt x="276" y="306"/>
                  <a:pt x="276" y="306"/>
                </a:cubicBezTo>
                <a:cubicBezTo>
                  <a:pt x="276" y="306"/>
                  <a:pt x="276" y="306"/>
                  <a:pt x="276" y="306"/>
                </a:cubicBezTo>
                <a:cubicBezTo>
                  <a:pt x="276" y="307"/>
                  <a:pt x="276" y="307"/>
                  <a:pt x="276" y="307"/>
                </a:cubicBezTo>
                <a:cubicBezTo>
                  <a:pt x="276" y="307"/>
                  <a:pt x="276" y="307"/>
                  <a:pt x="276" y="307"/>
                </a:cubicBezTo>
                <a:cubicBezTo>
                  <a:pt x="276" y="308"/>
                  <a:pt x="276" y="308"/>
                  <a:pt x="276" y="308"/>
                </a:cubicBezTo>
                <a:cubicBezTo>
                  <a:pt x="276" y="309"/>
                  <a:pt x="276" y="309"/>
                  <a:pt x="276" y="309"/>
                </a:cubicBezTo>
                <a:cubicBezTo>
                  <a:pt x="275" y="308"/>
                  <a:pt x="275" y="308"/>
                  <a:pt x="275" y="308"/>
                </a:cubicBezTo>
                <a:cubicBezTo>
                  <a:pt x="275" y="308"/>
                  <a:pt x="275" y="308"/>
                  <a:pt x="275" y="308"/>
                </a:cubicBezTo>
                <a:cubicBezTo>
                  <a:pt x="275" y="308"/>
                  <a:pt x="275" y="308"/>
                  <a:pt x="275" y="308"/>
                </a:cubicBezTo>
                <a:cubicBezTo>
                  <a:pt x="275" y="309"/>
                  <a:pt x="275" y="309"/>
                  <a:pt x="275" y="309"/>
                </a:cubicBezTo>
                <a:cubicBezTo>
                  <a:pt x="274" y="309"/>
                  <a:pt x="274" y="309"/>
                  <a:pt x="274" y="309"/>
                </a:cubicBezTo>
                <a:cubicBezTo>
                  <a:pt x="273" y="309"/>
                  <a:pt x="273" y="309"/>
                  <a:pt x="273" y="309"/>
                </a:cubicBezTo>
                <a:cubicBezTo>
                  <a:pt x="272" y="310"/>
                  <a:pt x="272" y="310"/>
                  <a:pt x="272" y="310"/>
                </a:cubicBezTo>
                <a:cubicBezTo>
                  <a:pt x="270" y="310"/>
                  <a:pt x="270" y="310"/>
                  <a:pt x="270" y="310"/>
                </a:cubicBezTo>
                <a:cubicBezTo>
                  <a:pt x="271" y="311"/>
                  <a:pt x="271" y="311"/>
                  <a:pt x="271" y="311"/>
                </a:cubicBezTo>
                <a:cubicBezTo>
                  <a:pt x="272" y="312"/>
                  <a:pt x="272" y="312"/>
                  <a:pt x="272" y="312"/>
                </a:cubicBezTo>
                <a:cubicBezTo>
                  <a:pt x="271" y="312"/>
                  <a:pt x="271" y="312"/>
                  <a:pt x="271" y="312"/>
                </a:cubicBezTo>
                <a:cubicBezTo>
                  <a:pt x="271" y="312"/>
                  <a:pt x="271" y="312"/>
                  <a:pt x="271" y="312"/>
                </a:cubicBezTo>
                <a:cubicBezTo>
                  <a:pt x="269" y="311"/>
                  <a:pt x="269" y="311"/>
                  <a:pt x="269" y="311"/>
                </a:cubicBezTo>
                <a:cubicBezTo>
                  <a:pt x="268" y="310"/>
                  <a:pt x="268" y="310"/>
                  <a:pt x="268" y="310"/>
                </a:cubicBezTo>
                <a:cubicBezTo>
                  <a:pt x="268" y="311"/>
                  <a:pt x="268" y="311"/>
                  <a:pt x="268" y="311"/>
                </a:cubicBezTo>
                <a:cubicBezTo>
                  <a:pt x="268" y="312"/>
                  <a:pt x="268" y="312"/>
                  <a:pt x="268" y="312"/>
                </a:cubicBezTo>
                <a:cubicBezTo>
                  <a:pt x="269" y="313"/>
                  <a:pt x="269" y="313"/>
                  <a:pt x="269" y="313"/>
                </a:cubicBezTo>
                <a:cubicBezTo>
                  <a:pt x="269" y="313"/>
                  <a:pt x="269" y="313"/>
                  <a:pt x="269" y="313"/>
                </a:cubicBezTo>
                <a:cubicBezTo>
                  <a:pt x="269" y="314"/>
                  <a:pt x="269" y="314"/>
                  <a:pt x="269" y="314"/>
                </a:cubicBezTo>
                <a:cubicBezTo>
                  <a:pt x="267" y="314"/>
                  <a:pt x="267" y="314"/>
                  <a:pt x="267" y="314"/>
                </a:cubicBezTo>
                <a:cubicBezTo>
                  <a:pt x="266" y="316"/>
                  <a:pt x="266" y="316"/>
                  <a:pt x="266" y="316"/>
                </a:cubicBezTo>
                <a:cubicBezTo>
                  <a:pt x="265" y="316"/>
                  <a:pt x="265" y="316"/>
                  <a:pt x="265" y="316"/>
                </a:cubicBezTo>
                <a:cubicBezTo>
                  <a:pt x="266" y="317"/>
                  <a:pt x="266" y="317"/>
                  <a:pt x="266" y="317"/>
                </a:cubicBezTo>
                <a:cubicBezTo>
                  <a:pt x="265" y="318"/>
                  <a:pt x="265" y="318"/>
                  <a:pt x="265" y="318"/>
                </a:cubicBezTo>
                <a:cubicBezTo>
                  <a:pt x="264" y="318"/>
                  <a:pt x="264" y="318"/>
                  <a:pt x="264" y="318"/>
                </a:cubicBezTo>
                <a:cubicBezTo>
                  <a:pt x="264" y="319"/>
                  <a:pt x="264" y="319"/>
                  <a:pt x="264" y="319"/>
                </a:cubicBezTo>
                <a:cubicBezTo>
                  <a:pt x="264" y="320"/>
                  <a:pt x="264" y="320"/>
                  <a:pt x="264" y="320"/>
                </a:cubicBezTo>
                <a:cubicBezTo>
                  <a:pt x="263" y="320"/>
                  <a:pt x="263" y="320"/>
                  <a:pt x="263" y="320"/>
                </a:cubicBezTo>
                <a:cubicBezTo>
                  <a:pt x="261" y="323"/>
                  <a:pt x="261" y="323"/>
                  <a:pt x="261" y="323"/>
                </a:cubicBezTo>
                <a:cubicBezTo>
                  <a:pt x="260" y="323"/>
                  <a:pt x="260" y="323"/>
                  <a:pt x="260" y="323"/>
                </a:cubicBezTo>
                <a:cubicBezTo>
                  <a:pt x="260" y="324"/>
                  <a:pt x="260" y="324"/>
                  <a:pt x="260" y="324"/>
                </a:cubicBezTo>
                <a:cubicBezTo>
                  <a:pt x="258" y="325"/>
                  <a:pt x="258" y="325"/>
                  <a:pt x="258" y="325"/>
                </a:cubicBezTo>
                <a:cubicBezTo>
                  <a:pt x="257" y="324"/>
                  <a:pt x="257" y="324"/>
                  <a:pt x="257" y="324"/>
                </a:cubicBezTo>
                <a:cubicBezTo>
                  <a:pt x="257" y="325"/>
                  <a:pt x="257" y="325"/>
                  <a:pt x="257" y="325"/>
                </a:cubicBezTo>
                <a:cubicBezTo>
                  <a:pt x="257" y="326"/>
                  <a:pt x="257" y="326"/>
                  <a:pt x="257" y="326"/>
                </a:cubicBezTo>
                <a:cubicBezTo>
                  <a:pt x="256" y="328"/>
                  <a:pt x="256" y="328"/>
                  <a:pt x="256" y="328"/>
                </a:cubicBezTo>
                <a:cubicBezTo>
                  <a:pt x="256" y="330"/>
                  <a:pt x="256" y="330"/>
                  <a:pt x="256" y="330"/>
                </a:cubicBezTo>
                <a:cubicBezTo>
                  <a:pt x="255" y="331"/>
                  <a:pt x="255" y="331"/>
                  <a:pt x="255" y="331"/>
                </a:cubicBezTo>
                <a:cubicBezTo>
                  <a:pt x="255" y="333"/>
                  <a:pt x="255" y="333"/>
                  <a:pt x="255" y="333"/>
                </a:cubicBezTo>
                <a:cubicBezTo>
                  <a:pt x="254" y="333"/>
                  <a:pt x="254" y="333"/>
                  <a:pt x="254" y="333"/>
                </a:cubicBezTo>
                <a:cubicBezTo>
                  <a:pt x="253" y="336"/>
                  <a:pt x="253" y="336"/>
                  <a:pt x="253" y="336"/>
                </a:cubicBezTo>
                <a:cubicBezTo>
                  <a:pt x="253" y="336"/>
                  <a:pt x="253" y="336"/>
                  <a:pt x="253" y="336"/>
                </a:cubicBezTo>
                <a:cubicBezTo>
                  <a:pt x="253" y="338"/>
                  <a:pt x="253" y="338"/>
                  <a:pt x="253" y="338"/>
                </a:cubicBezTo>
                <a:cubicBezTo>
                  <a:pt x="252" y="340"/>
                  <a:pt x="252" y="340"/>
                  <a:pt x="252" y="340"/>
                </a:cubicBezTo>
                <a:cubicBezTo>
                  <a:pt x="252" y="341"/>
                  <a:pt x="252" y="341"/>
                  <a:pt x="252" y="341"/>
                </a:cubicBezTo>
                <a:cubicBezTo>
                  <a:pt x="250" y="341"/>
                  <a:pt x="250" y="341"/>
                  <a:pt x="250" y="341"/>
                </a:cubicBezTo>
                <a:cubicBezTo>
                  <a:pt x="250" y="342"/>
                  <a:pt x="250" y="342"/>
                  <a:pt x="250" y="342"/>
                </a:cubicBezTo>
                <a:cubicBezTo>
                  <a:pt x="251" y="342"/>
                  <a:pt x="251" y="342"/>
                  <a:pt x="251" y="342"/>
                </a:cubicBezTo>
                <a:cubicBezTo>
                  <a:pt x="252" y="343"/>
                  <a:pt x="252" y="343"/>
                  <a:pt x="252" y="343"/>
                </a:cubicBezTo>
                <a:cubicBezTo>
                  <a:pt x="251" y="344"/>
                  <a:pt x="251" y="344"/>
                  <a:pt x="251" y="344"/>
                </a:cubicBezTo>
                <a:cubicBezTo>
                  <a:pt x="252" y="345"/>
                  <a:pt x="252" y="345"/>
                  <a:pt x="252" y="345"/>
                </a:cubicBezTo>
                <a:cubicBezTo>
                  <a:pt x="252" y="347"/>
                  <a:pt x="252" y="347"/>
                  <a:pt x="252" y="347"/>
                </a:cubicBezTo>
                <a:cubicBezTo>
                  <a:pt x="252" y="347"/>
                  <a:pt x="252" y="347"/>
                  <a:pt x="252" y="347"/>
                </a:cubicBezTo>
                <a:cubicBezTo>
                  <a:pt x="251" y="350"/>
                  <a:pt x="251" y="350"/>
                  <a:pt x="251" y="350"/>
                </a:cubicBezTo>
                <a:cubicBezTo>
                  <a:pt x="249" y="352"/>
                  <a:pt x="249" y="352"/>
                  <a:pt x="249" y="352"/>
                </a:cubicBezTo>
                <a:cubicBezTo>
                  <a:pt x="246" y="352"/>
                  <a:pt x="246" y="352"/>
                  <a:pt x="246" y="352"/>
                </a:cubicBezTo>
                <a:cubicBezTo>
                  <a:pt x="246" y="354"/>
                  <a:pt x="246" y="354"/>
                  <a:pt x="246" y="354"/>
                </a:cubicBezTo>
                <a:cubicBezTo>
                  <a:pt x="247" y="352"/>
                  <a:pt x="247" y="352"/>
                  <a:pt x="247" y="352"/>
                </a:cubicBezTo>
                <a:cubicBezTo>
                  <a:pt x="250" y="352"/>
                  <a:pt x="250" y="352"/>
                  <a:pt x="250" y="352"/>
                </a:cubicBezTo>
                <a:cubicBezTo>
                  <a:pt x="252" y="349"/>
                  <a:pt x="252" y="349"/>
                  <a:pt x="252" y="349"/>
                </a:cubicBezTo>
                <a:cubicBezTo>
                  <a:pt x="254" y="346"/>
                  <a:pt x="254" y="346"/>
                  <a:pt x="254" y="346"/>
                </a:cubicBezTo>
                <a:cubicBezTo>
                  <a:pt x="258" y="346"/>
                  <a:pt x="258" y="346"/>
                  <a:pt x="258" y="346"/>
                </a:cubicBezTo>
                <a:cubicBezTo>
                  <a:pt x="259" y="346"/>
                  <a:pt x="259" y="346"/>
                  <a:pt x="259" y="346"/>
                </a:cubicBezTo>
                <a:cubicBezTo>
                  <a:pt x="259" y="348"/>
                  <a:pt x="259" y="348"/>
                  <a:pt x="259" y="348"/>
                </a:cubicBezTo>
                <a:cubicBezTo>
                  <a:pt x="258" y="349"/>
                  <a:pt x="258" y="349"/>
                  <a:pt x="258" y="349"/>
                </a:cubicBezTo>
                <a:cubicBezTo>
                  <a:pt x="258" y="350"/>
                  <a:pt x="258" y="350"/>
                  <a:pt x="258" y="350"/>
                </a:cubicBezTo>
                <a:cubicBezTo>
                  <a:pt x="259" y="352"/>
                  <a:pt x="259" y="352"/>
                  <a:pt x="259" y="352"/>
                </a:cubicBezTo>
                <a:cubicBezTo>
                  <a:pt x="259" y="355"/>
                  <a:pt x="259" y="355"/>
                  <a:pt x="259" y="355"/>
                </a:cubicBezTo>
                <a:cubicBezTo>
                  <a:pt x="258" y="357"/>
                  <a:pt x="258" y="357"/>
                  <a:pt x="258" y="357"/>
                </a:cubicBezTo>
                <a:cubicBezTo>
                  <a:pt x="259" y="358"/>
                  <a:pt x="259" y="358"/>
                  <a:pt x="259" y="358"/>
                </a:cubicBezTo>
                <a:cubicBezTo>
                  <a:pt x="259" y="361"/>
                  <a:pt x="259" y="361"/>
                  <a:pt x="259" y="361"/>
                </a:cubicBezTo>
                <a:cubicBezTo>
                  <a:pt x="259" y="362"/>
                  <a:pt x="259" y="362"/>
                  <a:pt x="259" y="362"/>
                </a:cubicBezTo>
                <a:cubicBezTo>
                  <a:pt x="255" y="366"/>
                  <a:pt x="255" y="366"/>
                  <a:pt x="255" y="366"/>
                </a:cubicBezTo>
                <a:cubicBezTo>
                  <a:pt x="253" y="366"/>
                  <a:pt x="253" y="366"/>
                  <a:pt x="253" y="366"/>
                </a:cubicBezTo>
                <a:cubicBezTo>
                  <a:pt x="252" y="366"/>
                  <a:pt x="252" y="366"/>
                  <a:pt x="252" y="366"/>
                </a:cubicBezTo>
                <a:cubicBezTo>
                  <a:pt x="253" y="367"/>
                  <a:pt x="253" y="367"/>
                  <a:pt x="253" y="367"/>
                </a:cubicBezTo>
                <a:cubicBezTo>
                  <a:pt x="255" y="367"/>
                  <a:pt x="255" y="367"/>
                  <a:pt x="255" y="367"/>
                </a:cubicBezTo>
                <a:cubicBezTo>
                  <a:pt x="259" y="365"/>
                  <a:pt x="259" y="365"/>
                  <a:pt x="259" y="365"/>
                </a:cubicBezTo>
                <a:cubicBezTo>
                  <a:pt x="264" y="364"/>
                  <a:pt x="264" y="364"/>
                  <a:pt x="264" y="364"/>
                </a:cubicBezTo>
                <a:cubicBezTo>
                  <a:pt x="266" y="363"/>
                  <a:pt x="266" y="363"/>
                  <a:pt x="266" y="363"/>
                </a:cubicBezTo>
                <a:cubicBezTo>
                  <a:pt x="269" y="365"/>
                  <a:pt x="269" y="365"/>
                  <a:pt x="269" y="365"/>
                </a:cubicBezTo>
                <a:cubicBezTo>
                  <a:pt x="271" y="367"/>
                  <a:pt x="271" y="367"/>
                  <a:pt x="271" y="367"/>
                </a:cubicBezTo>
                <a:cubicBezTo>
                  <a:pt x="273" y="368"/>
                  <a:pt x="273" y="368"/>
                  <a:pt x="273" y="368"/>
                </a:cubicBezTo>
                <a:cubicBezTo>
                  <a:pt x="274" y="368"/>
                  <a:pt x="274" y="368"/>
                  <a:pt x="274" y="368"/>
                </a:cubicBezTo>
                <a:cubicBezTo>
                  <a:pt x="275" y="369"/>
                  <a:pt x="275" y="369"/>
                  <a:pt x="275" y="369"/>
                </a:cubicBezTo>
                <a:cubicBezTo>
                  <a:pt x="277" y="371"/>
                  <a:pt x="277" y="371"/>
                  <a:pt x="277" y="371"/>
                </a:cubicBezTo>
                <a:cubicBezTo>
                  <a:pt x="278" y="371"/>
                  <a:pt x="278" y="371"/>
                  <a:pt x="278" y="371"/>
                </a:cubicBezTo>
                <a:cubicBezTo>
                  <a:pt x="279" y="373"/>
                  <a:pt x="279" y="373"/>
                  <a:pt x="279" y="373"/>
                </a:cubicBezTo>
                <a:cubicBezTo>
                  <a:pt x="280" y="374"/>
                  <a:pt x="280" y="374"/>
                  <a:pt x="280" y="374"/>
                </a:cubicBezTo>
                <a:cubicBezTo>
                  <a:pt x="280" y="375"/>
                  <a:pt x="280" y="375"/>
                  <a:pt x="280" y="375"/>
                </a:cubicBezTo>
                <a:cubicBezTo>
                  <a:pt x="281" y="376"/>
                  <a:pt x="281" y="376"/>
                  <a:pt x="281" y="376"/>
                </a:cubicBezTo>
                <a:cubicBezTo>
                  <a:pt x="282" y="378"/>
                  <a:pt x="282" y="378"/>
                  <a:pt x="282" y="378"/>
                </a:cubicBezTo>
                <a:cubicBezTo>
                  <a:pt x="282" y="378"/>
                  <a:pt x="282" y="378"/>
                  <a:pt x="282" y="378"/>
                </a:cubicBezTo>
                <a:cubicBezTo>
                  <a:pt x="283" y="378"/>
                  <a:pt x="283" y="378"/>
                  <a:pt x="283" y="378"/>
                </a:cubicBezTo>
                <a:cubicBezTo>
                  <a:pt x="283" y="379"/>
                  <a:pt x="283" y="379"/>
                  <a:pt x="283" y="379"/>
                </a:cubicBezTo>
                <a:cubicBezTo>
                  <a:pt x="286" y="380"/>
                  <a:pt x="286" y="380"/>
                  <a:pt x="286" y="380"/>
                </a:cubicBezTo>
                <a:cubicBezTo>
                  <a:pt x="287" y="381"/>
                  <a:pt x="287" y="381"/>
                  <a:pt x="287" y="381"/>
                </a:cubicBezTo>
                <a:cubicBezTo>
                  <a:pt x="289" y="382"/>
                  <a:pt x="289" y="382"/>
                  <a:pt x="289" y="382"/>
                </a:cubicBezTo>
                <a:cubicBezTo>
                  <a:pt x="290" y="382"/>
                  <a:pt x="290" y="382"/>
                  <a:pt x="290" y="382"/>
                </a:cubicBezTo>
                <a:cubicBezTo>
                  <a:pt x="292" y="384"/>
                  <a:pt x="292" y="384"/>
                  <a:pt x="292" y="384"/>
                </a:cubicBezTo>
                <a:cubicBezTo>
                  <a:pt x="292" y="385"/>
                  <a:pt x="292" y="385"/>
                  <a:pt x="292" y="385"/>
                </a:cubicBezTo>
                <a:cubicBezTo>
                  <a:pt x="294" y="387"/>
                  <a:pt x="294" y="387"/>
                  <a:pt x="294" y="387"/>
                </a:cubicBezTo>
                <a:cubicBezTo>
                  <a:pt x="293" y="387"/>
                  <a:pt x="293" y="387"/>
                  <a:pt x="293" y="387"/>
                </a:cubicBezTo>
                <a:cubicBezTo>
                  <a:pt x="294" y="388"/>
                  <a:pt x="294" y="388"/>
                  <a:pt x="294" y="388"/>
                </a:cubicBezTo>
                <a:cubicBezTo>
                  <a:pt x="296" y="388"/>
                  <a:pt x="296" y="388"/>
                  <a:pt x="296" y="388"/>
                </a:cubicBezTo>
                <a:cubicBezTo>
                  <a:pt x="296" y="388"/>
                  <a:pt x="296" y="388"/>
                  <a:pt x="296" y="388"/>
                </a:cubicBezTo>
                <a:cubicBezTo>
                  <a:pt x="298" y="388"/>
                  <a:pt x="298" y="388"/>
                  <a:pt x="298" y="388"/>
                </a:cubicBezTo>
                <a:cubicBezTo>
                  <a:pt x="301" y="388"/>
                  <a:pt x="301" y="388"/>
                  <a:pt x="301" y="388"/>
                </a:cubicBezTo>
                <a:cubicBezTo>
                  <a:pt x="301" y="388"/>
                  <a:pt x="301" y="388"/>
                  <a:pt x="301" y="388"/>
                </a:cubicBezTo>
                <a:cubicBezTo>
                  <a:pt x="302" y="388"/>
                  <a:pt x="302" y="388"/>
                  <a:pt x="302" y="388"/>
                </a:cubicBezTo>
                <a:cubicBezTo>
                  <a:pt x="304" y="389"/>
                  <a:pt x="304" y="389"/>
                  <a:pt x="304" y="389"/>
                </a:cubicBezTo>
                <a:cubicBezTo>
                  <a:pt x="306" y="389"/>
                  <a:pt x="306" y="389"/>
                  <a:pt x="306" y="389"/>
                </a:cubicBezTo>
                <a:cubicBezTo>
                  <a:pt x="307" y="389"/>
                  <a:pt x="307" y="389"/>
                  <a:pt x="307" y="389"/>
                </a:cubicBezTo>
                <a:cubicBezTo>
                  <a:pt x="308" y="389"/>
                  <a:pt x="308" y="389"/>
                  <a:pt x="308" y="389"/>
                </a:cubicBezTo>
                <a:cubicBezTo>
                  <a:pt x="308" y="389"/>
                  <a:pt x="308" y="389"/>
                  <a:pt x="308" y="389"/>
                </a:cubicBezTo>
                <a:cubicBezTo>
                  <a:pt x="309" y="389"/>
                  <a:pt x="309" y="389"/>
                  <a:pt x="309" y="389"/>
                </a:cubicBezTo>
                <a:cubicBezTo>
                  <a:pt x="309" y="389"/>
                  <a:pt x="309" y="389"/>
                  <a:pt x="309" y="389"/>
                </a:cubicBezTo>
                <a:cubicBezTo>
                  <a:pt x="309" y="391"/>
                  <a:pt x="309" y="391"/>
                  <a:pt x="309" y="391"/>
                </a:cubicBezTo>
                <a:cubicBezTo>
                  <a:pt x="308" y="394"/>
                  <a:pt x="308" y="394"/>
                  <a:pt x="308" y="394"/>
                </a:cubicBezTo>
                <a:cubicBezTo>
                  <a:pt x="308" y="395"/>
                  <a:pt x="308" y="395"/>
                  <a:pt x="308" y="395"/>
                </a:cubicBezTo>
                <a:cubicBezTo>
                  <a:pt x="307" y="396"/>
                  <a:pt x="307" y="396"/>
                  <a:pt x="307" y="396"/>
                </a:cubicBezTo>
                <a:cubicBezTo>
                  <a:pt x="306" y="398"/>
                  <a:pt x="306" y="398"/>
                  <a:pt x="306" y="398"/>
                </a:cubicBezTo>
                <a:cubicBezTo>
                  <a:pt x="306" y="399"/>
                  <a:pt x="306" y="399"/>
                  <a:pt x="306" y="399"/>
                </a:cubicBezTo>
                <a:cubicBezTo>
                  <a:pt x="307" y="400"/>
                  <a:pt x="307" y="400"/>
                  <a:pt x="307" y="400"/>
                </a:cubicBezTo>
                <a:cubicBezTo>
                  <a:pt x="307" y="402"/>
                  <a:pt x="307" y="402"/>
                  <a:pt x="307" y="402"/>
                </a:cubicBezTo>
                <a:cubicBezTo>
                  <a:pt x="305" y="405"/>
                  <a:pt x="305" y="405"/>
                  <a:pt x="305" y="405"/>
                </a:cubicBezTo>
                <a:cubicBezTo>
                  <a:pt x="305" y="406"/>
                  <a:pt x="305" y="406"/>
                  <a:pt x="305" y="406"/>
                </a:cubicBezTo>
                <a:cubicBezTo>
                  <a:pt x="305" y="408"/>
                  <a:pt x="305" y="408"/>
                  <a:pt x="305" y="408"/>
                </a:cubicBezTo>
                <a:cubicBezTo>
                  <a:pt x="303" y="409"/>
                  <a:pt x="303" y="409"/>
                  <a:pt x="303" y="409"/>
                </a:cubicBezTo>
                <a:cubicBezTo>
                  <a:pt x="303" y="411"/>
                  <a:pt x="303" y="411"/>
                  <a:pt x="303" y="411"/>
                </a:cubicBezTo>
                <a:cubicBezTo>
                  <a:pt x="303" y="412"/>
                  <a:pt x="303" y="412"/>
                  <a:pt x="303" y="412"/>
                </a:cubicBezTo>
                <a:cubicBezTo>
                  <a:pt x="304" y="413"/>
                  <a:pt x="304" y="413"/>
                  <a:pt x="304" y="413"/>
                </a:cubicBezTo>
                <a:cubicBezTo>
                  <a:pt x="304" y="415"/>
                  <a:pt x="304" y="415"/>
                  <a:pt x="304" y="415"/>
                </a:cubicBezTo>
                <a:cubicBezTo>
                  <a:pt x="305" y="415"/>
                  <a:pt x="305" y="415"/>
                  <a:pt x="305" y="415"/>
                </a:cubicBezTo>
                <a:cubicBezTo>
                  <a:pt x="306" y="416"/>
                  <a:pt x="306" y="416"/>
                  <a:pt x="306" y="416"/>
                </a:cubicBezTo>
                <a:cubicBezTo>
                  <a:pt x="306" y="417"/>
                  <a:pt x="306" y="417"/>
                  <a:pt x="306" y="417"/>
                </a:cubicBezTo>
                <a:cubicBezTo>
                  <a:pt x="306" y="418"/>
                  <a:pt x="306" y="418"/>
                  <a:pt x="306" y="418"/>
                </a:cubicBezTo>
                <a:cubicBezTo>
                  <a:pt x="306" y="419"/>
                  <a:pt x="306" y="419"/>
                  <a:pt x="306" y="419"/>
                </a:cubicBezTo>
                <a:cubicBezTo>
                  <a:pt x="307" y="419"/>
                  <a:pt x="307" y="419"/>
                  <a:pt x="307" y="419"/>
                </a:cubicBezTo>
                <a:cubicBezTo>
                  <a:pt x="309" y="420"/>
                  <a:pt x="309" y="420"/>
                  <a:pt x="309" y="420"/>
                </a:cubicBezTo>
                <a:cubicBezTo>
                  <a:pt x="309" y="420"/>
                  <a:pt x="309" y="420"/>
                  <a:pt x="309" y="420"/>
                </a:cubicBezTo>
                <a:cubicBezTo>
                  <a:pt x="309" y="421"/>
                  <a:pt x="309" y="421"/>
                  <a:pt x="309" y="421"/>
                </a:cubicBezTo>
                <a:cubicBezTo>
                  <a:pt x="310" y="422"/>
                  <a:pt x="310" y="422"/>
                  <a:pt x="310" y="422"/>
                </a:cubicBezTo>
                <a:cubicBezTo>
                  <a:pt x="310" y="424"/>
                  <a:pt x="310" y="424"/>
                  <a:pt x="310" y="424"/>
                </a:cubicBezTo>
                <a:cubicBezTo>
                  <a:pt x="310" y="425"/>
                  <a:pt x="310" y="425"/>
                  <a:pt x="310" y="425"/>
                </a:cubicBezTo>
                <a:cubicBezTo>
                  <a:pt x="310" y="426"/>
                  <a:pt x="310" y="426"/>
                  <a:pt x="310" y="426"/>
                </a:cubicBezTo>
                <a:cubicBezTo>
                  <a:pt x="308" y="429"/>
                  <a:pt x="308" y="429"/>
                  <a:pt x="308" y="429"/>
                </a:cubicBezTo>
                <a:cubicBezTo>
                  <a:pt x="309" y="428"/>
                  <a:pt x="309" y="428"/>
                  <a:pt x="309" y="428"/>
                </a:cubicBezTo>
                <a:cubicBezTo>
                  <a:pt x="311" y="427"/>
                  <a:pt x="311" y="427"/>
                  <a:pt x="311" y="427"/>
                </a:cubicBezTo>
                <a:cubicBezTo>
                  <a:pt x="313" y="427"/>
                  <a:pt x="313" y="427"/>
                  <a:pt x="313" y="427"/>
                </a:cubicBezTo>
                <a:cubicBezTo>
                  <a:pt x="314" y="428"/>
                  <a:pt x="314" y="428"/>
                  <a:pt x="314" y="428"/>
                </a:cubicBezTo>
                <a:cubicBezTo>
                  <a:pt x="315" y="428"/>
                  <a:pt x="315" y="428"/>
                  <a:pt x="315" y="428"/>
                </a:cubicBezTo>
                <a:cubicBezTo>
                  <a:pt x="315" y="427"/>
                  <a:pt x="315" y="427"/>
                  <a:pt x="315" y="427"/>
                </a:cubicBezTo>
                <a:cubicBezTo>
                  <a:pt x="315" y="426"/>
                  <a:pt x="315" y="426"/>
                  <a:pt x="315" y="426"/>
                </a:cubicBezTo>
                <a:cubicBezTo>
                  <a:pt x="317" y="423"/>
                  <a:pt x="317" y="423"/>
                  <a:pt x="317" y="423"/>
                </a:cubicBezTo>
                <a:cubicBezTo>
                  <a:pt x="318" y="423"/>
                  <a:pt x="318" y="423"/>
                  <a:pt x="318" y="423"/>
                </a:cubicBezTo>
                <a:cubicBezTo>
                  <a:pt x="317" y="424"/>
                  <a:pt x="317" y="424"/>
                  <a:pt x="317" y="424"/>
                </a:cubicBezTo>
                <a:cubicBezTo>
                  <a:pt x="318" y="425"/>
                  <a:pt x="318" y="425"/>
                  <a:pt x="318" y="425"/>
                </a:cubicBezTo>
                <a:cubicBezTo>
                  <a:pt x="318" y="425"/>
                  <a:pt x="318" y="425"/>
                  <a:pt x="318" y="425"/>
                </a:cubicBezTo>
                <a:cubicBezTo>
                  <a:pt x="319" y="428"/>
                  <a:pt x="319" y="428"/>
                  <a:pt x="319" y="428"/>
                </a:cubicBezTo>
                <a:cubicBezTo>
                  <a:pt x="318" y="429"/>
                  <a:pt x="318" y="429"/>
                  <a:pt x="318" y="429"/>
                </a:cubicBezTo>
                <a:cubicBezTo>
                  <a:pt x="320" y="430"/>
                  <a:pt x="320" y="430"/>
                  <a:pt x="320" y="430"/>
                </a:cubicBezTo>
                <a:cubicBezTo>
                  <a:pt x="322" y="431"/>
                  <a:pt x="322" y="431"/>
                  <a:pt x="322" y="431"/>
                </a:cubicBezTo>
                <a:cubicBezTo>
                  <a:pt x="321" y="430"/>
                  <a:pt x="321" y="430"/>
                  <a:pt x="321" y="430"/>
                </a:cubicBezTo>
                <a:cubicBezTo>
                  <a:pt x="320" y="429"/>
                  <a:pt x="320" y="429"/>
                  <a:pt x="320" y="429"/>
                </a:cubicBezTo>
                <a:cubicBezTo>
                  <a:pt x="319" y="427"/>
                  <a:pt x="319" y="427"/>
                  <a:pt x="319" y="427"/>
                </a:cubicBezTo>
                <a:cubicBezTo>
                  <a:pt x="320" y="425"/>
                  <a:pt x="320" y="425"/>
                  <a:pt x="320" y="425"/>
                </a:cubicBezTo>
                <a:cubicBezTo>
                  <a:pt x="320" y="424"/>
                  <a:pt x="320" y="424"/>
                  <a:pt x="320" y="424"/>
                </a:cubicBezTo>
                <a:cubicBezTo>
                  <a:pt x="320" y="424"/>
                  <a:pt x="320" y="424"/>
                  <a:pt x="320" y="424"/>
                </a:cubicBezTo>
                <a:cubicBezTo>
                  <a:pt x="320" y="422"/>
                  <a:pt x="320" y="422"/>
                  <a:pt x="320" y="422"/>
                </a:cubicBezTo>
                <a:cubicBezTo>
                  <a:pt x="320" y="423"/>
                  <a:pt x="320" y="423"/>
                  <a:pt x="320" y="423"/>
                </a:cubicBezTo>
                <a:cubicBezTo>
                  <a:pt x="321" y="423"/>
                  <a:pt x="321" y="423"/>
                  <a:pt x="321" y="423"/>
                </a:cubicBezTo>
                <a:cubicBezTo>
                  <a:pt x="321" y="421"/>
                  <a:pt x="321" y="421"/>
                  <a:pt x="321" y="421"/>
                </a:cubicBezTo>
                <a:cubicBezTo>
                  <a:pt x="323" y="419"/>
                  <a:pt x="323" y="419"/>
                  <a:pt x="323" y="419"/>
                </a:cubicBezTo>
                <a:cubicBezTo>
                  <a:pt x="322" y="419"/>
                  <a:pt x="322" y="419"/>
                  <a:pt x="322" y="419"/>
                </a:cubicBezTo>
                <a:cubicBezTo>
                  <a:pt x="322" y="417"/>
                  <a:pt x="322" y="417"/>
                  <a:pt x="322" y="417"/>
                </a:cubicBezTo>
                <a:cubicBezTo>
                  <a:pt x="322" y="416"/>
                  <a:pt x="322" y="416"/>
                  <a:pt x="322" y="416"/>
                </a:cubicBezTo>
                <a:cubicBezTo>
                  <a:pt x="322" y="415"/>
                  <a:pt x="322" y="415"/>
                  <a:pt x="322" y="415"/>
                </a:cubicBezTo>
                <a:cubicBezTo>
                  <a:pt x="323" y="414"/>
                  <a:pt x="323" y="414"/>
                  <a:pt x="323" y="414"/>
                </a:cubicBezTo>
                <a:cubicBezTo>
                  <a:pt x="322" y="413"/>
                  <a:pt x="322" y="413"/>
                  <a:pt x="322" y="413"/>
                </a:cubicBezTo>
                <a:cubicBezTo>
                  <a:pt x="322" y="412"/>
                  <a:pt x="322" y="412"/>
                  <a:pt x="322" y="412"/>
                </a:cubicBezTo>
                <a:cubicBezTo>
                  <a:pt x="322" y="412"/>
                  <a:pt x="322" y="412"/>
                  <a:pt x="322" y="412"/>
                </a:cubicBezTo>
                <a:cubicBezTo>
                  <a:pt x="321" y="411"/>
                  <a:pt x="321" y="411"/>
                  <a:pt x="321" y="411"/>
                </a:cubicBezTo>
                <a:cubicBezTo>
                  <a:pt x="322" y="408"/>
                  <a:pt x="322" y="408"/>
                  <a:pt x="322" y="408"/>
                </a:cubicBezTo>
                <a:cubicBezTo>
                  <a:pt x="322" y="407"/>
                  <a:pt x="322" y="407"/>
                  <a:pt x="322" y="407"/>
                </a:cubicBezTo>
                <a:cubicBezTo>
                  <a:pt x="322" y="405"/>
                  <a:pt x="322" y="405"/>
                  <a:pt x="322" y="405"/>
                </a:cubicBezTo>
                <a:cubicBezTo>
                  <a:pt x="323" y="404"/>
                  <a:pt x="323" y="404"/>
                  <a:pt x="323" y="404"/>
                </a:cubicBezTo>
                <a:cubicBezTo>
                  <a:pt x="323" y="403"/>
                  <a:pt x="323" y="403"/>
                  <a:pt x="323" y="403"/>
                </a:cubicBezTo>
                <a:cubicBezTo>
                  <a:pt x="323" y="403"/>
                  <a:pt x="323" y="403"/>
                  <a:pt x="323" y="403"/>
                </a:cubicBezTo>
                <a:cubicBezTo>
                  <a:pt x="323" y="402"/>
                  <a:pt x="323" y="402"/>
                  <a:pt x="323" y="402"/>
                </a:cubicBezTo>
                <a:cubicBezTo>
                  <a:pt x="324" y="401"/>
                  <a:pt x="324" y="401"/>
                  <a:pt x="324" y="401"/>
                </a:cubicBezTo>
                <a:cubicBezTo>
                  <a:pt x="323" y="401"/>
                  <a:pt x="323" y="401"/>
                  <a:pt x="323" y="401"/>
                </a:cubicBezTo>
                <a:cubicBezTo>
                  <a:pt x="323" y="400"/>
                  <a:pt x="323" y="400"/>
                  <a:pt x="323" y="400"/>
                </a:cubicBezTo>
                <a:cubicBezTo>
                  <a:pt x="323" y="400"/>
                  <a:pt x="323" y="400"/>
                  <a:pt x="323" y="400"/>
                </a:cubicBezTo>
                <a:cubicBezTo>
                  <a:pt x="323" y="399"/>
                  <a:pt x="323" y="399"/>
                  <a:pt x="323" y="399"/>
                </a:cubicBezTo>
                <a:cubicBezTo>
                  <a:pt x="323" y="398"/>
                  <a:pt x="323" y="398"/>
                  <a:pt x="323" y="398"/>
                </a:cubicBezTo>
                <a:cubicBezTo>
                  <a:pt x="322" y="397"/>
                  <a:pt x="322" y="397"/>
                  <a:pt x="322" y="397"/>
                </a:cubicBezTo>
                <a:cubicBezTo>
                  <a:pt x="322" y="395"/>
                  <a:pt x="322" y="395"/>
                  <a:pt x="322" y="395"/>
                </a:cubicBezTo>
                <a:cubicBezTo>
                  <a:pt x="322" y="395"/>
                  <a:pt x="322" y="395"/>
                  <a:pt x="322" y="395"/>
                </a:cubicBezTo>
                <a:cubicBezTo>
                  <a:pt x="323" y="394"/>
                  <a:pt x="323" y="394"/>
                  <a:pt x="323" y="394"/>
                </a:cubicBezTo>
                <a:cubicBezTo>
                  <a:pt x="326" y="394"/>
                  <a:pt x="326" y="394"/>
                  <a:pt x="326" y="394"/>
                </a:cubicBezTo>
                <a:cubicBezTo>
                  <a:pt x="327" y="393"/>
                  <a:pt x="327" y="393"/>
                  <a:pt x="327" y="393"/>
                </a:cubicBezTo>
                <a:cubicBezTo>
                  <a:pt x="329" y="393"/>
                  <a:pt x="329" y="393"/>
                  <a:pt x="329" y="393"/>
                </a:cubicBezTo>
                <a:cubicBezTo>
                  <a:pt x="329" y="392"/>
                  <a:pt x="329" y="392"/>
                  <a:pt x="329" y="392"/>
                </a:cubicBezTo>
                <a:cubicBezTo>
                  <a:pt x="332" y="391"/>
                  <a:pt x="332" y="391"/>
                  <a:pt x="332" y="391"/>
                </a:cubicBezTo>
                <a:cubicBezTo>
                  <a:pt x="336" y="389"/>
                  <a:pt x="336" y="389"/>
                  <a:pt x="336" y="389"/>
                </a:cubicBezTo>
                <a:cubicBezTo>
                  <a:pt x="336" y="389"/>
                  <a:pt x="336" y="389"/>
                  <a:pt x="336" y="389"/>
                </a:cubicBezTo>
                <a:cubicBezTo>
                  <a:pt x="336" y="388"/>
                  <a:pt x="336" y="388"/>
                  <a:pt x="336" y="388"/>
                </a:cubicBezTo>
                <a:cubicBezTo>
                  <a:pt x="339" y="387"/>
                  <a:pt x="339" y="387"/>
                  <a:pt x="339" y="387"/>
                </a:cubicBezTo>
                <a:cubicBezTo>
                  <a:pt x="340" y="386"/>
                  <a:pt x="340" y="386"/>
                  <a:pt x="340" y="386"/>
                </a:cubicBezTo>
                <a:cubicBezTo>
                  <a:pt x="341" y="385"/>
                  <a:pt x="341" y="385"/>
                  <a:pt x="341" y="385"/>
                </a:cubicBezTo>
                <a:cubicBezTo>
                  <a:pt x="343" y="382"/>
                  <a:pt x="343" y="382"/>
                  <a:pt x="343" y="382"/>
                </a:cubicBezTo>
                <a:cubicBezTo>
                  <a:pt x="344" y="383"/>
                  <a:pt x="344" y="383"/>
                  <a:pt x="344" y="383"/>
                </a:cubicBezTo>
                <a:cubicBezTo>
                  <a:pt x="344" y="383"/>
                  <a:pt x="344" y="383"/>
                  <a:pt x="344" y="383"/>
                </a:cubicBezTo>
                <a:cubicBezTo>
                  <a:pt x="345" y="383"/>
                  <a:pt x="345" y="383"/>
                  <a:pt x="345" y="383"/>
                </a:cubicBezTo>
                <a:cubicBezTo>
                  <a:pt x="346" y="382"/>
                  <a:pt x="346" y="382"/>
                  <a:pt x="346" y="382"/>
                </a:cubicBezTo>
                <a:cubicBezTo>
                  <a:pt x="345" y="381"/>
                  <a:pt x="345" y="381"/>
                  <a:pt x="345" y="381"/>
                </a:cubicBezTo>
                <a:cubicBezTo>
                  <a:pt x="345" y="379"/>
                  <a:pt x="345" y="379"/>
                  <a:pt x="345" y="379"/>
                </a:cubicBezTo>
                <a:cubicBezTo>
                  <a:pt x="344" y="380"/>
                  <a:pt x="344" y="380"/>
                  <a:pt x="344" y="380"/>
                </a:cubicBezTo>
                <a:cubicBezTo>
                  <a:pt x="344" y="381"/>
                  <a:pt x="344" y="381"/>
                  <a:pt x="344" y="381"/>
                </a:cubicBezTo>
                <a:cubicBezTo>
                  <a:pt x="344" y="381"/>
                  <a:pt x="344" y="381"/>
                  <a:pt x="344" y="381"/>
                </a:cubicBezTo>
                <a:cubicBezTo>
                  <a:pt x="344" y="379"/>
                  <a:pt x="344" y="379"/>
                  <a:pt x="344" y="379"/>
                </a:cubicBezTo>
                <a:cubicBezTo>
                  <a:pt x="345" y="376"/>
                  <a:pt x="345" y="376"/>
                  <a:pt x="345" y="376"/>
                </a:cubicBezTo>
                <a:cubicBezTo>
                  <a:pt x="346" y="376"/>
                  <a:pt x="346" y="376"/>
                  <a:pt x="346" y="376"/>
                </a:cubicBezTo>
                <a:cubicBezTo>
                  <a:pt x="346" y="374"/>
                  <a:pt x="346" y="374"/>
                  <a:pt x="346" y="374"/>
                </a:cubicBezTo>
                <a:cubicBezTo>
                  <a:pt x="346" y="372"/>
                  <a:pt x="346" y="372"/>
                  <a:pt x="346" y="372"/>
                </a:cubicBezTo>
                <a:cubicBezTo>
                  <a:pt x="345" y="370"/>
                  <a:pt x="345" y="370"/>
                  <a:pt x="345" y="370"/>
                </a:cubicBezTo>
                <a:cubicBezTo>
                  <a:pt x="345" y="366"/>
                  <a:pt x="345" y="366"/>
                  <a:pt x="345" y="366"/>
                </a:cubicBezTo>
                <a:cubicBezTo>
                  <a:pt x="345" y="363"/>
                  <a:pt x="345" y="363"/>
                  <a:pt x="345" y="363"/>
                </a:cubicBezTo>
                <a:cubicBezTo>
                  <a:pt x="343" y="360"/>
                  <a:pt x="343" y="360"/>
                  <a:pt x="343" y="360"/>
                </a:cubicBezTo>
                <a:cubicBezTo>
                  <a:pt x="341" y="359"/>
                  <a:pt x="341" y="359"/>
                  <a:pt x="341" y="359"/>
                </a:cubicBezTo>
                <a:cubicBezTo>
                  <a:pt x="341" y="358"/>
                  <a:pt x="341" y="358"/>
                  <a:pt x="341" y="358"/>
                </a:cubicBezTo>
                <a:cubicBezTo>
                  <a:pt x="340" y="358"/>
                  <a:pt x="340" y="358"/>
                  <a:pt x="340" y="358"/>
                </a:cubicBezTo>
                <a:cubicBezTo>
                  <a:pt x="339" y="357"/>
                  <a:pt x="339" y="357"/>
                  <a:pt x="339" y="357"/>
                </a:cubicBezTo>
                <a:cubicBezTo>
                  <a:pt x="340" y="354"/>
                  <a:pt x="340" y="354"/>
                  <a:pt x="340" y="354"/>
                </a:cubicBezTo>
                <a:cubicBezTo>
                  <a:pt x="341" y="354"/>
                  <a:pt x="341" y="354"/>
                  <a:pt x="341" y="354"/>
                </a:cubicBezTo>
                <a:cubicBezTo>
                  <a:pt x="345" y="350"/>
                  <a:pt x="345" y="350"/>
                  <a:pt x="345" y="350"/>
                </a:cubicBezTo>
                <a:cubicBezTo>
                  <a:pt x="346" y="350"/>
                  <a:pt x="346" y="350"/>
                  <a:pt x="346" y="350"/>
                </a:cubicBezTo>
                <a:cubicBezTo>
                  <a:pt x="346" y="349"/>
                  <a:pt x="346" y="349"/>
                  <a:pt x="346" y="349"/>
                </a:cubicBezTo>
                <a:cubicBezTo>
                  <a:pt x="346" y="348"/>
                  <a:pt x="346" y="348"/>
                  <a:pt x="346" y="348"/>
                </a:cubicBezTo>
                <a:cubicBezTo>
                  <a:pt x="346" y="348"/>
                  <a:pt x="346" y="348"/>
                  <a:pt x="346" y="348"/>
                </a:cubicBezTo>
                <a:cubicBezTo>
                  <a:pt x="346" y="347"/>
                  <a:pt x="346" y="347"/>
                  <a:pt x="346" y="347"/>
                </a:cubicBezTo>
                <a:cubicBezTo>
                  <a:pt x="347" y="346"/>
                  <a:pt x="347" y="346"/>
                  <a:pt x="347" y="346"/>
                </a:cubicBezTo>
                <a:cubicBezTo>
                  <a:pt x="348" y="346"/>
                  <a:pt x="348" y="346"/>
                  <a:pt x="348" y="346"/>
                </a:cubicBezTo>
                <a:cubicBezTo>
                  <a:pt x="349" y="347"/>
                  <a:pt x="349" y="347"/>
                  <a:pt x="349" y="347"/>
                </a:cubicBezTo>
                <a:cubicBezTo>
                  <a:pt x="349" y="348"/>
                  <a:pt x="349" y="348"/>
                  <a:pt x="349" y="348"/>
                </a:cubicBezTo>
                <a:cubicBezTo>
                  <a:pt x="349" y="347"/>
                  <a:pt x="349" y="347"/>
                  <a:pt x="349" y="347"/>
                </a:cubicBezTo>
                <a:cubicBezTo>
                  <a:pt x="349" y="346"/>
                  <a:pt x="349" y="346"/>
                  <a:pt x="349" y="346"/>
                </a:cubicBezTo>
                <a:cubicBezTo>
                  <a:pt x="350" y="345"/>
                  <a:pt x="350" y="345"/>
                  <a:pt x="350" y="345"/>
                </a:cubicBezTo>
                <a:cubicBezTo>
                  <a:pt x="352" y="343"/>
                  <a:pt x="352" y="343"/>
                  <a:pt x="352" y="343"/>
                </a:cubicBezTo>
                <a:cubicBezTo>
                  <a:pt x="351" y="342"/>
                  <a:pt x="351" y="342"/>
                  <a:pt x="351" y="342"/>
                </a:cubicBezTo>
                <a:cubicBezTo>
                  <a:pt x="350" y="342"/>
                  <a:pt x="350" y="342"/>
                  <a:pt x="350" y="342"/>
                </a:cubicBezTo>
                <a:cubicBezTo>
                  <a:pt x="350" y="341"/>
                  <a:pt x="350" y="341"/>
                  <a:pt x="350" y="341"/>
                </a:cubicBezTo>
                <a:cubicBezTo>
                  <a:pt x="351" y="340"/>
                  <a:pt x="351" y="340"/>
                  <a:pt x="351" y="340"/>
                </a:cubicBezTo>
                <a:cubicBezTo>
                  <a:pt x="350" y="339"/>
                  <a:pt x="350" y="339"/>
                  <a:pt x="350" y="339"/>
                </a:cubicBezTo>
                <a:cubicBezTo>
                  <a:pt x="350" y="338"/>
                  <a:pt x="350" y="338"/>
                  <a:pt x="350" y="338"/>
                </a:cubicBezTo>
                <a:cubicBezTo>
                  <a:pt x="351" y="337"/>
                  <a:pt x="351" y="337"/>
                  <a:pt x="351" y="337"/>
                </a:cubicBezTo>
                <a:cubicBezTo>
                  <a:pt x="352" y="337"/>
                  <a:pt x="352" y="337"/>
                  <a:pt x="352" y="337"/>
                </a:cubicBezTo>
                <a:cubicBezTo>
                  <a:pt x="350" y="337"/>
                  <a:pt x="350" y="337"/>
                  <a:pt x="350" y="337"/>
                </a:cubicBezTo>
                <a:cubicBezTo>
                  <a:pt x="350" y="336"/>
                  <a:pt x="350" y="336"/>
                  <a:pt x="350" y="336"/>
                </a:cubicBezTo>
                <a:cubicBezTo>
                  <a:pt x="351" y="334"/>
                  <a:pt x="351" y="334"/>
                  <a:pt x="351" y="334"/>
                </a:cubicBezTo>
                <a:cubicBezTo>
                  <a:pt x="352" y="334"/>
                  <a:pt x="352" y="334"/>
                  <a:pt x="352" y="334"/>
                </a:cubicBezTo>
                <a:cubicBezTo>
                  <a:pt x="351" y="333"/>
                  <a:pt x="351" y="333"/>
                  <a:pt x="351" y="333"/>
                </a:cubicBezTo>
                <a:cubicBezTo>
                  <a:pt x="349" y="334"/>
                  <a:pt x="349" y="334"/>
                  <a:pt x="349" y="334"/>
                </a:cubicBezTo>
                <a:cubicBezTo>
                  <a:pt x="348" y="333"/>
                  <a:pt x="348" y="333"/>
                  <a:pt x="348" y="333"/>
                </a:cubicBezTo>
                <a:cubicBezTo>
                  <a:pt x="348" y="332"/>
                  <a:pt x="348" y="332"/>
                  <a:pt x="348" y="332"/>
                </a:cubicBezTo>
                <a:cubicBezTo>
                  <a:pt x="351" y="330"/>
                  <a:pt x="351" y="330"/>
                  <a:pt x="351" y="330"/>
                </a:cubicBezTo>
                <a:cubicBezTo>
                  <a:pt x="353" y="328"/>
                  <a:pt x="353" y="328"/>
                  <a:pt x="353" y="328"/>
                </a:cubicBezTo>
                <a:cubicBezTo>
                  <a:pt x="353" y="326"/>
                  <a:pt x="353" y="326"/>
                  <a:pt x="353" y="326"/>
                </a:cubicBezTo>
                <a:cubicBezTo>
                  <a:pt x="354" y="327"/>
                  <a:pt x="354" y="327"/>
                  <a:pt x="354" y="327"/>
                </a:cubicBezTo>
                <a:cubicBezTo>
                  <a:pt x="354" y="326"/>
                  <a:pt x="354" y="326"/>
                  <a:pt x="354" y="326"/>
                </a:cubicBezTo>
                <a:cubicBezTo>
                  <a:pt x="354" y="324"/>
                  <a:pt x="354" y="324"/>
                  <a:pt x="354" y="324"/>
                </a:cubicBezTo>
                <a:cubicBezTo>
                  <a:pt x="354" y="324"/>
                  <a:pt x="354" y="324"/>
                  <a:pt x="354" y="324"/>
                </a:cubicBezTo>
                <a:cubicBezTo>
                  <a:pt x="354" y="324"/>
                  <a:pt x="354" y="324"/>
                  <a:pt x="354" y="324"/>
                </a:cubicBezTo>
                <a:cubicBezTo>
                  <a:pt x="353" y="324"/>
                  <a:pt x="353" y="324"/>
                  <a:pt x="353" y="324"/>
                </a:cubicBezTo>
                <a:cubicBezTo>
                  <a:pt x="352" y="322"/>
                  <a:pt x="352" y="322"/>
                  <a:pt x="352" y="322"/>
                </a:cubicBezTo>
                <a:cubicBezTo>
                  <a:pt x="352" y="320"/>
                  <a:pt x="352" y="320"/>
                  <a:pt x="352" y="320"/>
                </a:cubicBezTo>
                <a:cubicBezTo>
                  <a:pt x="353" y="318"/>
                  <a:pt x="353" y="318"/>
                  <a:pt x="353" y="318"/>
                </a:cubicBezTo>
                <a:cubicBezTo>
                  <a:pt x="353" y="316"/>
                  <a:pt x="353" y="316"/>
                  <a:pt x="353" y="316"/>
                </a:cubicBezTo>
                <a:cubicBezTo>
                  <a:pt x="354" y="316"/>
                  <a:pt x="354" y="316"/>
                  <a:pt x="354" y="316"/>
                </a:cubicBezTo>
                <a:cubicBezTo>
                  <a:pt x="355" y="316"/>
                  <a:pt x="355" y="316"/>
                  <a:pt x="355" y="316"/>
                </a:cubicBezTo>
                <a:cubicBezTo>
                  <a:pt x="355" y="316"/>
                  <a:pt x="355" y="316"/>
                  <a:pt x="355" y="316"/>
                </a:cubicBezTo>
                <a:cubicBezTo>
                  <a:pt x="355" y="315"/>
                  <a:pt x="355" y="315"/>
                  <a:pt x="355" y="315"/>
                </a:cubicBezTo>
                <a:cubicBezTo>
                  <a:pt x="356" y="315"/>
                  <a:pt x="356" y="315"/>
                  <a:pt x="356" y="315"/>
                </a:cubicBezTo>
                <a:cubicBezTo>
                  <a:pt x="357" y="315"/>
                  <a:pt x="357" y="315"/>
                  <a:pt x="357" y="315"/>
                </a:cubicBezTo>
                <a:cubicBezTo>
                  <a:pt x="358" y="314"/>
                  <a:pt x="358" y="314"/>
                  <a:pt x="358" y="314"/>
                </a:cubicBezTo>
                <a:cubicBezTo>
                  <a:pt x="359" y="315"/>
                  <a:pt x="359" y="315"/>
                  <a:pt x="359" y="315"/>
                </a:cubicBezTo>
                <a:cubicBezTo>
                  <a:pt x="361" y="315"/>
                  <a:pt x="361" y="315"/>
                  <a:pt x="361" y="315"/>
                </a:cubicBezTo>
                <a:cubicBezTo>
                  <a:pt x="363" y="316"/>
                  <a:pt x="363" y="316"/>
                  <a:pt x="363" y="316"/>
                </a:cubicBezTo>
                <a:cubicBezTo>
                  <a:pt x="366" y="318"/>
                  <a:pt x="366" y="318"/>
                  <a:pt x="366" y="318"/>
                </a:cubicBezTo>
                <a:cubicBezTo>
                  <a:pt x="367" y="318"/>
                  <a:pt x="367" y="318"/>
                  <a:pt x="367" y="318"/>
                </a:cubicBezTo>
                <a:cubicBezTo>
                  <a:pt x="367" y="319"/>
                  <a:pt x="367" y="319"/>
                  <a:pt x="367" y="319"/>
                </a:cubicBezTo>
                <a:cubicBezTo>
                  <a:pt x="365" y="319"/>
                  <a:pt x="365" y="319"/>
                  <a:pt x="365" y="319"/>
                </a:cubicBezTo>
                <a:cubicBezTo>
                  <a:pt x="367" y="319"/>
                  <a:pt x="367" y="319"/>
                  <a:pt x="367" y="319"/>
                </a:cubicBezTo>
                <a:cubicBezTo>
                  <a:pt x="369" y="318"/>
                  <a:pt x="369" y="318"/>
                  <a:pt x="369" y="318"/>
                </a:cubicBezTo>
                <a:cubicBezTo>
                  <a:pt x="370" y="318"/>
                  <a:pt x="370" y="318"/>
                  <a:pt x="370" y="318"/>
                </a:cubicBezTo>
                <a:cubicBezTo>
                  <a:pt x="371" y="319"/>
                  <a:pt x="371" y="319"/>
                  <a:pt x="371" y="319"/>
                </a:cubicBezTo>
                <a:cubicBezTo>
                  <a:pt x="372" y="319"/>
                  <a:pt x="372" y="319"/>
                  <a:pt x="372" y="319"/>
                </a:cubicBezTo>
                <a:cubicBezTo>
                  <a:pt x="373" y="320"/>
                  <a:pt x="373" y="320"/>
                  <a:pt x="373" y="320"/>
                </a:cubicBezTo>
                <a:cubicBezTo>
                  <a:pt x="373" y="319"/>
                  <a:pt x="373" y="319"/>
                  <a:pt x="373" y="319"/>
                </a:cubicBezTo>
                <a:cubicBezTo>
                  <a:pt x="374" y="319"/>
                  <a:pt x="374" y="319"/>
                  <a:pt x="374" y="319"/>
                </a:cubicBezTo>
                <a:cubicBezTo>
                  <a:pt x="375" y="319"/>
                  <a:pt x="375" y="319"/>
                  <a:pt x="375" y="319"/>
                </a:cubicBezTo>
                <a:cubicBezTo>
                  <a:pt x="376" y="319"/>
                  <a:pt x="376" y="319"/>
                  <a:pt x="376" y="319"/>
                </a:cubicBezTo>
                <a:cubicBezTo>
                  <a:pt x="377" y="318"/>
                  <a:pt x="377" y="318"/>
                  <a:pt x="377" y="318"/>
                </a:cubicBezTo>
                <a:cubicBezTo>
                  <a:pt x="379" y="319"/>
                  <a:pt x="379" y="319"/>
                  <a:pt x="379" y="319"/>
                </a:cubicBezTo>
                <a:cubicBezTo>
                  <a:pt x="379" y="321"/>
                  <a:pt x="379" y="321"/>
                  <a:pt x="379" y="321"/>
                </a:cubicBezTo>
                <a:cubicBezTo>
                  <a:pt x="381" y="322"/>
                  <a:pt x="381" y="322"/>
                  <a:pt x="381" y="322"/>
                </a:cubicBezTo>
                <a:cubicBezTo>
                  <a:pt x="382" y="322"/>
                  <a:pt x="382" y="322"/>
                  <a:pt x="382" y="322"/>
                </a:cubicBezTo>
                <a:cubicBezTo>
                  <a:pt x="382" y="324"/>
                  <a:pt x="382" y="324"/>
                  <a:pt x="382" y="324"/>
                </a:cubicBezTo>
                <a:cubicBezTo>
                  <a:pt x="381" y="325"/>
                  <a:pt x="381" y="325"/>
                  <a:pt x="381" y="325"/>
                </a:cubicBezTo>
                <a:cubicBezTo>
                  <a:pt x="381" y="326"/>
                  <a:pt x="381" y="326"/>
                  <a:pt x="381" y="326"/>
                </a:cubicBezTo>
                <a:cubicBezTo>
                  <a:pt x="382" y="325"/>
                  <a:pt x="382" y="325"/>
                  <a:pt x="382" y="325"/>
                </a:cubicBezTo>
                <a:cubicBezTo>
                  <a:pt x="383" y="326"/>
                  <a:pt x="383" y="326"/>
                  <a:pt x="383" y="326"/>
                </a:cubicBezTo>
                <a:cubicBezTo>
                  <a:pt x="384" y="328"/>
                  <a:pt x="384" y="328"/>
                  <a:pt x="384" y="328"/>
                </a:cubicBezTo>
                <a:cubicBezTo>
                  <a:pt x="383" y="328"/>
                  <a:pt x="383" y="328"/>
                  <a:pt x="383" y="328"/>
                </a:cubicBezTo>
                <a:cubicBezTo>
                  <a:pt x="384" y="329"/>
                  <a:pt x="384" y="329"/>
                  <a:pt x="384" y="329"/>
                </a:cubicBezTo>
                <a:cubicBezTo>
                  <a:pt x="385" y="328"/>
                  <a:pt x="385" y="328"/>
                  <a:pt x="385" y="328"/>
                </a:cubicBezTo>
                <a:cubicBezTo>
                  <a:pt x="386" y="329"/>
                  <a:pt x="386" y="329"/>
                  <a:pt x="386" y="329"/>
                </a:cubicBezTo>
                <a:cubicBezTo>
                  <a:pt x="386" y="330"/>
                  <a:pt x="386" y="330"/>
                  <a:pt x="386" y="330"/>
                </a:cubicBezTo>
                <a:cubicBezTo>
                  <a:pt x="385" y="329"/>
                  <a:pt x="385" y="329"/>
                  <a:pt x="385" y="329"/>
                </a:cubicBezTo>
                <a:cubicBezTo>
                  <a:pt x="384" y="331"/>
                  <a:pt x="384" y="331"/>
                  <a:pt x="384" y="331"/>
                </a:cubicBezTo>
                <a:cubicBezTo>
                  <a:pt x="383" y="331"/>
                  <a:pt x="383" y="331"/>
                  <a:pt x="383" y="331"/>
                </a:cubicBezTo>
                <a:cubicBezTo>
                  <a:pt x="385" y="332"/>
                  <a:pt x="385" y="332"/>
                  <a:pt x="385" y="332"/>
                </a:cubicBezTo>
                <a:cubicBezTo>
                  <a:pt x="385" y="333"/>
                  <a:pt x="385" y="333"/>
                  <a:pt x="385" y="333"/>
                </a:cubicBezTo>
                <a:cubicBezTo>
                  <a:pt x="386" y="332"/>
                  <a:pt x="386" y="332"/>
                  <a:pt x="386" y="332"/>
                </a:cubicBezTo>
                <a:cubicBezTo>
                  <a:pt x="386" y="333"/>
                  <a:pt x="386" y="333"/>
                  <a:pt x="386" y="333"/>
                </a:cubicBezTo>
                <a:cubicBezTo>
                  <a:pt x="387" y="333"/>
                  <a:pt x="387" y="333"/>
                  <a:pt x="387" y="333"/>
                </a:cubicBezTo>
                <a:cubicBezTo>
                  <a:pt x="389" y="334"/>
                  <a:pt x="389" y="334"/>
                  <a:pt x="389" y="334"/>
                </a:cubicBezTo>
                <a:cubicBezTo>
                  <a:pt x="390" y="334"/>
                  <a:pt x="390" y="334"/>
                  <a:pt x="390" y="334"/>
                </a:cubicBezTo>
                <a:cubicBezTo>
                  <a:pt x="390" y="335"/>
                  <a:pt x="390" y="335"/>
                  <a:pt x="390" y="335"/>
                </a:cubicBezTo>
                <a:cubicBezTo>
                  <a:pt x="391" y="334"/>
                  <a:pt x="391" y="334"/>
                  <a:pt x="391" y="334"/>
                </a:cubicBezTo>
                <a:cubicBezTo>
                  <a:pt x="393" y="335"/>
                  <a:pt x="393" y="335"/>
                  <a:pt x="393" y="335"/>
                </a:cubicBezTo>
                <a:cubicBezTo>
                  <a:pt x="393" y="337"/>
                  <a:pt x="393" y="337"/>
                  <a:pt x="393" y="337"/>
                </a:cubicBezTo>
                <a:cubicBezTo>
                  <a:pt x="393" y="338"/>
                  <a:pt x="393" y="338"/>
                  <a:pt x="393" y="338"/>
                </a:cubicBezTo>
                <a:cubicBezTo>
                  <a:pt x="395" y="337"/>
                  <a:pt x="395" y="337"/>
                  <a:pt x="395" y="337"/>
                </a:cubicBezTo>
                <a:cubicBezTo>
                  <a:pt x="395" y="335"/>
                  <a:pt x="395" y="335"/>
                  <a:pt x="395" y="335"/>
                </a:cubicBezTo>
                <a:cubicBezTo>
                  <a:pt x="396" y="335"/>
                  <a:pt x="396" y="335"/>
                  <a:pt x="396" y="335"/>
                </a:cubicBezTo>
                <a:cubicBezTo>
                  <a:pt x="396" y="337"/>
                  <a:pt x="396" y="337"/>
                  <a:pt x="396" y="337"/>
                </a:cubicBezTo>
                <a:cubicBezTo>
                  <a:pt x="396" y="339"/>
                  <a:pt x="396" y="339"/>
                  <a:pt x="396" y="339"/>
                </a:cubicBezTo>
                <a:cubicBezTo>
                  <a:pt x="394" y="339"/>
                  <a:pt x="394" y="339"/>
                  <a:pt x="394" y="339"/>
                </a:cubicBezTo>
                <a:cubicBezTo>
                  <a:pt x="393" y="341"/>
                  <a:pt x="393" y="341"/>
                  <a:pt x="393" y="341"/>
                </a:cubicBezTo>
                <a:cubicBezTo>
                  <a:pt x="393" y="344"/>
                  <a:pt x="393" y="344"/>
                  <a:pt x="393" y="344"/>
                </a:cubicBezTo>
                <a:cubicBezTo>
                  <a:pt x="393" y="345"/>
                  <a:pt x="393" y="345"/>
                  <a:pt x="393" y="345"/>
                </a:cubicBezTo>
                <a:cubicBezTo>
                  <a:pt x="393" y="344"/>
                  <a:pt x="393" y="344"/>
                  <a:pt x="393" y="344"/>
                </a:cubicBezTo>
                <a:cubicBezTo>
                  <a:pt x="392" y="345"/>
                  <a:pt x="392" y="345"/>
                  <a:pt x="392" y="345"/>
                </a:cubicBezTo>
                <a:cubicBezTo>
                  <a:pt x="392" y="346"/>
                  <a:pt x="392" y="346"/>
                  <a:pt x="392" y="346"/>
                </a:cubicBezTo>
                <a:cubicBezTo>
                  <a:pt x="389" y="346"/>
                  <a:pt x="389" y="346"/>
                  <a:pt x="389" y="346"/>
                </a:cubicBezTo>
                <a:cubicBezTo>
                  <a:pt x="386" y="345"/>
                  <a:pt x="386" y="345"/>
                  <a:pt x="386" y="345"/>
                </a:cubicBezTo>
                <a:cubicBezTo>
                  <a:pt x="389" y="347"/>
                  <a:pt x="389" y="347"/>
                  <a:pt x="389" y="347"/>
                </a:cubicBezTo>
                <a:cubicBezTo>
                  <a:pt x="391" y="347"/>
                  <a:pt x="391" y="347"/>
                  <a:pt x="391" y="347"/>
                </a:cubicBezTo>
                <a:cubicBezTo>
                  <a:pt x="393" y="348"/>
                  <a:pt x="393" y="348"/>
                  <a:pt x="393" y="348"/>
                </a:cubicBezTo>
                <a:cubicBezTo>
                  <a:pt x="392" y="351"/>
                  <a:pt x="392" y="351"/>
                  <a:pt x="392" y="351"/>
                </a:cubicBezTo>
                <a:cubicBezTo>
                  <a:pt x="391" y="352"/>
                  <a:pt x="391" y="352"/>
                  <a:pt x="391" y="352"/>
                </a:cubicBezTo>
                <a:cubicBezTo>
                  <a:pt x="391" y="353"/>
                  <a:pt x="391" y="353"/>
                  <a:pt x="391" y="353"/>
                </a:cubicBezTo>
                <a:cubicBezTo>
                  <a:pt x="390" y="355"/>
                  <a:pt x="390" y="355"/>
                  <a:pt x="390" y="355"/>
                </a:cubicBezTo>
                <a:cubicBezTo>
                  <a:pt x="390" y="355"/>
                  <a:pt x="390" y="355"/>
                  <a:pt x="390" y="355"/>
                </a:cubicBezTo>
                <a:cubicBezTo>
                  <a:pt x="392" y="357"/>
                  <a:pt x="392" y="357"/>
                  <a:pt x="392" y="357"/>
                </a:cubicBezTo>
                <a:cubicBezTo>
                  <a:pt x="393" y="358"/>
                  <a:pt x="393" y="358"/>
                  <a:pt x="393" y="358"/>
                </a:cubicBezTo>
                <a:cubicBezTo>
                  <a:pt x="392" y="358"/>
                  <a:pt x="392" y="358"/>
                  <a:pt x="392" y="358"/>
                </a:cubicBezTo>
                <a:cubicBezTo>
                  <a:pt x="390" y="357"/>
                  <a:pt x="390" y="357"/>
                  <a:pt x="390" y="357"/>
                </a:cubicBezTo>
                <a:cubicBezTo>
                  <a:pt x="391" y="359"/>
                  <a:pt x="391" y="359"/>
                  <a:pt x="391" y="359"/>
                </a:cubicBezTo>
                <a:cubicBezTo>
                  <a:pt x="393" y="360"/>
                  <a:pt x="393" y="360"/>
                  <a:pt x="393" y="360"/>
                </a:cubicBezTo>
                <a:cubicBezTo>
                  <a:pt x="393" y="360"/>
                  <a:pt x="393" y="360"/>
                  <a:pt x="393" y="360"/>
                </a:cubicBezTo>
                <a:cubicBezTo>
                  <a:pt x="393" y="358"/>
                  <a:pt x="393" y="358"/>
                  <a:pt x="393" y="358"/>
                </a:cubicBezTo>
                <a:cubicBezTo>
                  <a:pt x="394" y="358"/>
                  <a:pt x="394" y="358"/>
                  <a:pt x="394" y="358"/>
                </a:cubicBezTo>
                <a:cubicBezTo>
                  <a:pt x="395" y="360"/>
                  <a:pt x="395" y="360"/>
                  <a:pt x="395" y="360"/>
                </a:cubicBezTo>
                <a:cubicBezTo>
                  <a:pt x="396" y="361"/>
                  <a:pt x="396" y="361"/>
                  <a:pt x="396" y="361"/>
                </a:cubicBezTo>
                <a:cubicBezTo>
                  <a:pt x="395" y="362"/>
                  <a:pt x="395" y="362"/>
                  <a:pt x="395" y="362"/>
                </a:cubicBezTo>
                <a:cubicBezTo>
                  <a:pt x="395" y="364"/>
                  <a:pt x="395" y="364"/>
                  <a:pt x="395" y="364"/>
                </a:cubicBezTo>
                <a:cubicBezTo>
                  <a:pt x="394" y="366"/>
                  <a:pt x="394" y="366"/>
                  <a:pt x="394" y="366"/>
                </a:cubicBezTo>
                <a:cubicBezTo>
                  <a:pt x="394" y="367"/>
                  <a:pt x="394" y="367"/>
                  <a:pt x="394" y="367"/>
                </a:cubicBezTo>
                <a:cubicBezTo>
                  <a:pt x="393" y="368"/>
                  <a:pt x="393" y="368"/>
                  <a:pt x="393" y="368"/>
                </a:cubicBezTo>
                <a:cubicBezTo>
                  <a:pt x="394" y="368"/>
                  <a:pt x="394" y="368"/>
                  <a:pt x="394" y="368"/>
                </a:cubicBezTo>
                <a:cubicBezTo>
                  <a:pt x="396" y="364"/>
                  <a:pt x="396" y="364"/>
                  <a:pt x="396" y="364"/>
                </a:cubicBezTo>
                <a:cubicBezTo>
                  <a:pt x="398" y="363"/>
                  <a:pt x="398" y="363"/>
                  <a:pt x="398" y="363"/>
                </a:cubicBezTo>
                <a:cubicBezTo>
                  <a:pt x="398" y="363"/>
                  <a:pt x="398" y="363"/>
                  <a:pt x="398" y="363"/>
                </a:cubicBezTo>
                <a:cubicBezTo>
                  <a:pt x="398" y="364"/>
                  <a:pt x="398" y="364"/>
                  <a:pt x="398" y="364"/>
                </a:cubicBezTo>
                <a:cubicBezTo>
                  <a:pt x="398" y="366"/>
                  <a:pt x="398" y="366"/>
                  <a:pt x="398" y="366"/>
                </a:cubicBezTo>
                <a:cubicBezTo>
                  <a:pt x="397" y="367"/>
                  <a:pt x="397" y="367"/>
                  <a:pt x="397" y="367"/>
                </a:cubicBezTo>
                <a:cubicBezTo>
                  <a:pt x="398" y="368"/>
                  <a:pt x="398" y="368"/>
                  <a:pt x="398" y="368"/>
                </a:cubicBezTo>
                <a:cubicBezTo>
                  <a:pt x="397" y="369"/>
                  <a:pt x="397" y="369"/>
                  <a:pt x="397" y="369"/>
                </a:cubicBezTo>
                <a:cubicBezTo>
                  <a:pt x="398" y="368"/>
                  <a:pt x="398" y="368"/>
                  <a:pt x="398" y="368"/>
                </a:cubicBezTo>
                <a:cubicBezTo>
                  <a:pt x="399" y="366"/>
                  <a:pt x="399" y="366"/>
                  <a:pt x="399" y="366"/>
                </a:cubicBezTo>
                <a:cubicBezTo>
                  <a:pt x="400" y="365"/>
                  <a:pt x="400" y="365"/>
                  <a:pt x="400" y="365"/>
                </a:cubicBezTo>
                <a:cubicBezTo>
                  <a:pt x="401" y="365"/>
                  <a:pt x="401" y="365"/>
                  <a:pt x="401" y="365"/>
                </a:cubicBezTo>
                <a:cubicBezTo>
                  <a:pt x="402" y="364"/>
                  <a:pt x="402" y="364"/>
                  <a:pt x="402" y="364"/>
                </a:cubicBezTo>
                <a:cubicBezTo>
                  <a:pt x="403" y="364"/>
                  <a:pt x="403" y="364"/>
                  <a:pt x="403" y="364"/>
                </a:cubicBezTo>
                <a:cubicBezTo>
                  <a:pt x="403" y="365"/>
                  <a:pt x="403" y="365"/>
                  <a:pt x="403" y="365"/>
                </a:cubicBezTo>
                <a:cubicBezTo>
                  <a:pt x="404" y="364"/>
                  <a:pt x="404" y="364"/>
                  <a:pt x="404" y="364"/>
                </a:cubicBezTo>
                <a:cubicBezTo>
                  <a:pt x="405" y="364"/>
                  <a:pt x="405" y="364"/>
                  <a:pt x="405" y="364"/>
                </a:cubicBezTo>
                <a:cubicBezTo>
                  <a:pt x="405" y="363"/>
                  <a:pt x="405" y="363"/>
                  <a:pt x="405" y="363"/>
                </a:cubicBezTo>
                <a:cubicBezTo>
                  <a:pt x="406" y="362"/>
                  <a:pt x="406" y="362"/>
                  <a:pt x="406" y="362"/>
                </a:cubicBezTo>
                <a:cubicBezTo>
                  <a:pt x="408" y="360"/>
                  <a:pt x="408" y="360"/>
                  <a:pt x="408" y="360"/>
                </a:cubicBezTo>
                <a:cubicBezTo>
                  <a:pt x="408" y="361"/>
                  <a:pt x="408" y="361"/>
                  <a:pt x="408" y="361"/>
                </a:cubicBezTo>
                <a:cubicBezTo>
                  <a:pt x="409" y="363"/>
                  <a:pt x="409" y="363"/>
                  <a:pt x="409" y="363"/>
                </a:cubicBezTo>
                <a:cubicBezTo>
                  <a:pt x="409" y="364"/>
                  <a:pt x="409" y="364"/>
                  <a:pt x="409" y="364"/>
                </a:cubicBezTo>
                <a:cubicBezTo>
                  <a:pt x="409" y="362"/>
                  <a:pt x="409" y="362"/>
                  <a:pt x="409" y="362"/>
                </a:cubicBezTo>
                <a:cubicBezTo>
                  <a:pt x="409" y="361"/>
                  <a:pt x="409" y="361"/>
                  <a:pt x="409" y="361"/>
                </a:cubicBezTo>
                <a:cubicBezTo>
                  <a:pt x="410" y="360"/>
                  <a:pt x="410" y="360"/>
                  <a:pt x="410" y="360"/>
                </a:cubicBezTo>
                <a:cubicBezTo>
                  <a:pt x="410" y="360"/>
                  <a:pt x="410" y="360"/>
                  <a:pt x="410" y="360"/>
                </a:cubicBezTo>
                <a:cubicBezTo>
                  <a:pt x="411" y="359"/>
                  <a:pt x="411" y="359"/>
                  <a:pt x="411" y="359"/>
                </a:cubicBezTo>
                <a:cubicBezTo>
                  <a:pt x="412" y="358"/>
                  <a:pt x="412" y="358"/>
                  <a:pt x="412" y="358"/>
                </a:cubicBezTo>
                <a:cubicBezTo>
                  <a:pt x="412" y="357"/>
                  <a:pt x="412" y="357"/>
                  <a:pt x="412" y="357"/>
                </a:cubicBezTo>
                <a:cubicBezTo>
                  <a:pt x="413" y="356"/>
                  <a:pt x="413" y="356"/>
                  <a:pt x="413" y="356"/>
                </a:cubicBezTo>
                <a:cubicBezTo>
                  <a:pt x="414" y="355"/>
                  <a:pt x="414" y="355"/>
                  <a:pt x="414" y="355"/>
                </a:cubicBezTo>
                <a:cubicBezTo>
                  <a:pt x="414" y="354"/>
                  <a:pt x="414" y="354"/>
                  <a:pt x="414" y="354"/>
                </a:cubicBezTo>
                <a:cubicBezTo>
                  <a:pt x="415" y="354"/>
                  <a:pt x="415" y="354"/>
                  <a:pt x="415" y="354"/>
                </a:cubicBezTo>
                <a:cubicBezTo>
                  <a:pt x="416" y="355"/>
                  <a:pt x="416" y="355"/>
                  <a:pt x="416" y="355"/>
                </a:cubicBezTo>
                <a:cubicBezTo>
                  <a:pt x="416" y="355"/>
                  <a:pt x="416" y="355"/>
                  <a:pt x="416" y="355"/>
                </a:cubicBezTo>
                <a:cubicBezTo>
                  <a:pt x="415" y="354"/>
                  <a:pt x="415" y="354"/>
                  <a:pt x="415" y="354"/>
                </a:cubicBezTo>
                <a:cubicBezTo>
                  <a:pt x="414" y="354"/>
                  <a:pt x="414" y="354"/>
                  <a:pt x="414" y="354"/>
                </a:cubicBezTo>
                <a:cubicBezTo>
                  <a:pt x="414" y="353"/>
                  <a:pt x="414" y="353"/>
                  <a:pt x="414" y="353"/>
                </a:cubicBezTo>
                <a:cubicBezTo>
                  <a:pt x="415" y="351"/>
                  <a:pt x="415" y="351"/>
                  <a:pt x="415" y="351"/>
                </a:cubicBezTo>
                <a:cubicBezTo>
                  <a:pt x="416" y="351"/>
                  <a:pt x="416" y="351"/>
                  <a:pt x="416" y="351"/>
                </a:cubicBezTo>
                <a:cubicBezTo>
                  <a:pt x="416" y="351"/>
                  <a:pt x="416" y="351"/>
                  <a:pt x="416" y="351"/>
                </a:cubicBezTo>
                <a:cubicBezTo>
                  <a:pt x="416" y="350"/>
                  <a:pt x="416" y="350"/>
                  <a:pt x="416" y="350"/>
                </a:cubicBezTo>
                <a:cubicBezTo>
                  <a:pt x="417" y="350"/>
                  <a:pt x="417" y="350"/>
                  <a:pt x="417" y="350"/>
                </a:cubicBezTo>
                <a:cubicBezTo>
                  <a:pt x="417" y="349"/>
                  <a:pt x="417" y="349"/>
                  <a:pt x="417" y="349"/>
                </a:cubicBezTo>
                <a:cubicBezTo>
                  <a:pt x="418" y="347"/>
                  <a:pt x="418" y="347"/>
                  <a:pt x="418" y="347"/>
                </a:cubicBezTo>
                <a:cubicBezTo>
                  <a:pt x="419" y="346"/>
                  <a:pt x="419" y="346"/>
                  <a:pt x="419" y="346"/>
                </a:cubicBezTo>
                <a:cubicBezTo>
                  <a:pt x="419" y="345"/>
                  <a:pt x="419" y="345"/>
                  <a:pt x="419" y="345"/>
                </a:cubicBezTo>
                <a:cubicBezTo>
                  <a:pt x="420" y="344"/>
                  <a:pt x="420" y="344"/>
                  <a:pt x="420" y="344"/>
                </a:cubicBezTo>
                <a:cubicBezTo>
                  <a:pt x="421" y="343"/>
                  <a:pt x="421" y="343"/>
                  <a:pt x="421" y="343"/>
                </a:cubicBezTo>
                <a:cubicBezTo>
                  <a:pt x="422" y="344"/>
                  <a:pt x="422" y="344"/>
                  <a:pt x="422" y="344"/>
                </a:cubicBezTo>
                <a:cubicBezTo>
                  <a:pt x="421" y="345"/>
                  <a:pt x="421" y="345"/>
                  <a:pt x="421" y="345"/>
                </a:cubicBezTo>
                <a:cubicBezTo>
                  <a:pt x="422" y="344"/>
                  <a:pt x="422" y="344"/>
                  <a:pt x="422" y="344"/>
                </a:cubicBezTo>
                <a:cubicBezTo>
                  <a:pt x="422" y="345"/>
                  <a:pt x="422" y="345"/>
                  <a:pt x="422" y="345"/>
                </a:cubicBezTo>
                <a:cubicBezTo>
                  <a:pt x="421" y="345"/>
                  <a:pt x="421" y="345"/>
                  <a:pt x="421" y="345"/>
                </a:cubicBezTo>
                <a:cubicBezTo>
                  <a:pt x="421" y="346"/>
                  <a:pt x="421" y="346"/>
                  <a:pt x="421" y="346"/>
                </a:cubicBezTo>
                <a:cubicBezTo>
                  <a:pt x="422" y="347"/>
                  <a:pt x="422" y="347"/>
                  <a:pt x="422" y="347"/>
                </a:cubicBezTo>
                <a:cubicBezTo>
                  <a:pt x="421" y="348"/>
                  <a:pt x="421" y="348"/>
                  <a:pt x="421" y="348"/>
                </a:cubicBezTo>
                <a:cubicBezTo>
                  <a:pt x="421" y="348"/>
                  <a:pt x="421" y="348"/>
                  <a:pt x="421" y="348"/>
                </a:cubicBezTo>
                <a:cubicBezTo>
                  <a:pt x="421" y="348"/>
                  <a:pt x="421" y="348"/>
                  <a:pt x="421" y="348"/>
                </a:cubicBezTo>
                <a:cubicBezTo>
                  <a:pt x="421" y="348"/>
                  <a:pt x="421" y="348"/>
                  <a:pt x="421" y="348"/>
                </a:cubicBezTo>
                <a:cubicBezTo>
                  <a:pt x="422" y="348"/>
                  <a:pt x="422" y="348"/>
                  <a:pt x="422" y="348"/>
                </a:cubicBezTo>
                <a:cubicBezTo>
                  <a:pt x="422" y="350"/>
                  <a:pt x="422" y="350"/>
                  <a:pt x="422" y="350"/>
                </a:cubicBezTo>
                <a:cubicBezTo>
                  <a:pt x="421" y="350"/>
                  <a:pt x="421" y="350"/>
                  <a:pt x="421" y="350"/>
                </a:cubicBezTo>
                <a:cubicBezTo>
                  <a:pt x="422" y="350"/>
                  <a:pt x="422" y="350"/>
                  <a:pt x="422" y="350"/>
                </a:cubicBezTo>
                <a:cubicBezTo>
                  <a:pt x="422" y="351"/>
                  <a:pt x="422" y="351"/>
                  <a:pt x="422" y="351"/>
                </a:cubicBezTo>
                <a:cubicBezTo>
                  <a:pt x="422" y="352"/>
                  <a:pt x="422" y="352"/>
                  <a:pt x="422" y="352"/>
                </a:cubicBezTo>
                <a:cubicBezTo>
                  <a:pt x="422" y="353"/>
                  <a:pt x="422" y="353"/>
                  <a:pt x="422" y="353"/>
                </a:cubicBezTo>
                <a:cubicBezTo>
                  <a:pt x="423" y="354"/>
                  <a:pt x="423" y="354"/>
                  <a:pt x="423" y="354"/>
                </a:cubicBezTo>
                <a:cubicBezTo>
                  <a:pt x="423" y="355"/>
                  <a:pt x="423" y="355"/>
                  <a:pt x="423" y="355"/>
                </a:cubicBezTo>
                <a:cubicBezTo>
                  <a:pt x="423" y="356"/>
                  <a:pt x="423" y="356"/>
                  <a:pt x="423" y="356"/>
                </a:cubicBezTo>
                <a:cubicBezTo>
                  <a:pt x="422" y="355"/>
                  <a:pt x="422" y="355"/>
                  <a:pt x="422" y="355"/>
                </a:cubicBezTo>
                <a:cubicBezTo>
                  <a:pt x="421" y="356"/>
                  <a:pt x="421" y="356"/>
                  <a:pt x="421" y="356"/>
                </a:cubicBezTo>
                <a:cubicBezTo>
                  <a:pt x="422" y="357"/>
                  <a:pt x="422" y="357"/>
                  <a:pt x="422" y="357"/>
                </a:cubicBezTo>
                <a:cubicBezTo>
                  <a:pt x="422" y="357"/>
                  <a:pt x="422" y="357"/>
                  <a:pt x="422" y="357"/>
                </a:cubicBezTo>
                <a:cubicBezTo>
                  <a:pt x="423" y="357"/>
                  <a:pt x="423" y="357"/>
                  <a:pt x="423" y="357"/>
                </a:cubicBezTo>
                <a:cubicBezTo>
                  <a:pt x="424" y="356"/>
                  <a:pt x="424" y="356"/>
                  <a:pt x="424" y="356"/>
                </a:cubicBezTo>
                <a:cubicBezTo>
                  <a:pt x="424" y="357"/>
                  <a:pt x="424" y="357"/>
                  <a:pt x="424" y="357"/>
                </a:cubicBezTo>
                <a:cubicBezTo>
                  <a:pt x="425" y="358"/>
                  <a:pt x="425" y="358"/>
                  <a:pt x="425" y="358"/>
                </a:cubicBezTo>
                <a:cubicBezTo>
                  <a:pt x="424" y="359"/>
                  <a:pt x="424" y="359"/>
                  <a:pt x="424" y="359"/>
                </a:cubicBezTo>
                <a:cubicBezTo>
                  <a:pt x="423" y="360"/>
                  <a:pt x="423" y="360"/>
                  <a:pt x="423" y="360"/>
                </a:cubicBezTo>
                <a:cubicBezTo>
                  <a:pt x="421" y="359"/>
                  <a:pt x="421" y="359"/>
                  <a:pt x="421" y="359"/>
                </a:cubicBezTo>
                <a:cubicBezTo>
                  <a:pt x="421" y="360"/>
                  <a:pt x="421" y="360"/>
                  <a:pt x="421" y="360"/>
                </a:cubicBezTo>
                <a:cubicBezTo>
                  <a:pt x="422" y="361"/>
                  <a:pt x="422" y="361"/>
                  <a:pt x="422" y="361"/>
                </a:cubicBezTo>
                <a:cubicBezTo>
                  <a:pt x="424" y="360"/>
                  <a:pt x="424" y="360"/>
                  <a:pt x="424" y="360"/>
                </a:cubicBezTo>
                <a:cubicBezTo>
                  <a:pt x="425" y="360"/>
                  <a:pt x="425" y="360"/>
                  <a:pt x="425" y="360"/>
                </a:cubicBezTo>
                <a:cubicBezTo>
                  <a:pt x="425" y="361"/>
                  <a:pt x="425" y="361"/>
                  <a:pt x="425" y="361"/>
                </a:cubicBezTo>
                <a:cubicBezTo>
                  <a:pt x="424" y="363"/>
                  <a:pt x="424" y="363"/>
                  <a:pt x="424" y="363"/>
                </a:cubicBezTo>
                <a:cubicBezTo>
                  <a:pt x="425" y="363"/>
                  <a:pt x="425" y="363"/>
                  <a:pt x="425" y="363"/>
                </a:cubicBezTo>
                <a:cubicBezTo>
                  <a:pt x="426" y="362"/>
                  <a:pt x="426" y="362"/>
                  <a:pt x="426" y="362"/>
                </a:cubicBezTo>
                <a:cubicBezTo>
                  <a:pt x="426" y="364"/>
                  <a:pt x="426" y="364"/>
                  <a:pt x="426" y="364"/>
                </a:cubicBezTo>
                <a:cubicBezTo>
                  <a:pt x="425" y="365"/>
                  <a:pt x="425" y="365"/>
                  <a:pt x="425" y="365"/>
                </a:cubicBezTo>
                <a:cubicBezTo>
                  <a:pt x="423" y="365"/>
                  <a:pt x="423" y="365"/>
                  <a:pt x="423" y="365"/>
                </a:cubicBezTo>
                <a:cubicBezTo>
                  <a:pt x="422" y="365"/>
                  <a:pt x="422" y="365"/>
                  <a:pt x="422" y="365"/>
                </a:cubicBezTo>
                <a:cubicBezTo>
                  <a:pt x="422" y="365"/>
                  <a:pt x="422" y="365"/>
                  <a:pt x="422" y="365"/>
                </a:cubicBezTo>
                <a:cubicBezTo>
                  <a:pt x="422" y="366"/>
                  <a:pt x="422" y="366"/>
                  <a:pt x="422" y="366"/>
                </a:cubicBezTo>
                <a:cubicBezTo>
                  <a:pt x="421" y="367"/>
                  <a:pt x="421" y="367"/>
                  <a:pt x="421" y="367"/>
                </a:cubicBezTo>
                <a:cubicBezTo>
                  <a:pt x="423" y="367"/>
                  <a:pt x="423" y="367"/>
                  <a:pt x="423" y="367"/>
                </a:cubicBezTo>
                <a:cubicBezTo>
                  <a:pt x="425" y="367"/>
                  <a:pt x="425" y="367"/>
                  <a:pt x="425" y="367"/>
                </a:cubicBezTo>
                <a:cubicBezTo>
                  <a:pt x="426" y="366"/>
                  <a:pt x="426" y="366"/>
                  <a:pt x="426" y="366"/>
                </a:cubicBezTo>
                <a:cubicBezTo>
                  <a:pt x="427" y="366"/>
                  <a:pt x="427" y="366"/>
                  <a:pt x="427" y="366"/>
                </a:cubicBezTo>
                <a:cubicBezTo>
                  <a:pt x="426" y="367"/>
                  <a:pt x="426" y="367"/>
                  <a:pt x="426" y="367"/>
                </a:cubicBezTo>
                <a:cubicBezTo>
                  <a:pt x="426" y="368"/>
                  <a:pt x="426" y="368"/>
                  <a:pt x="426" y="368"/>
                </a:cubicBezTo>
                <a:cubicBezTo>
                  <a:pt x="425" y="368"/>
                  <a:pt x="425" y="368"/>
                  <a:pt x="425" y="368"/>
                </a:cubicBezTo>
                <a:cubicBezTo>
                  <a:pt x="424" y="368"/>
                  <a:pt x="424" y="368"/>
                  <a:pt x="424" y="368"/>
                </a:cubicBezTo>
                <a:cubicBezTo>
                  <a:pt x="422" y="371"/>
                  <a:pt x="422" y="371"/>
                  <a:pt x="422" y="371"/>
                </a:cubicBezTo>
                <a:cubicBezTo>
                  <a:pt x="424" y="370"/>
                  <a:pt x="424" y="370"/>
                  <a:pt x="424" y="370"/>
                </a:cubicBezTo>
                <a:cubicBezTo>
                  <a:pt x="425" y="370"/>
                  <a:pt x="425" y="370"/>
                  <a:pt x="425" y="370"/>
                </a:cubicBezTo>
                <a:cubicBezTo>
                  <a:pt x="426" y="369"/>
                  <a:pt x="426" y="369"/>
                  <a:pt x="426" y="369"/>
                </a:cubicBezTo>
                <a:cubicBezTo>
                  <a:pt x="427" y="370"/>
                  <a:pt x="427" y="370"/>
                  <a:pt x="427" y="370"/>
                </a:cubicBezTo>
                <a:cubicBezTo>
                  <a:pt x="427" y="371"/>
                  <a:pt x="427" y="371"/>
                  <a:pt x="427" y="371"/>
                </a:cubicBezTo>
                <a:cubicBezTo>
                  <a:pt x="426" y="371"/>
                  <a:pt x="426" y="371"/>
                  <a:pt x="426" y="371"/>
                </a:cubicBezTo>
                <a:cubicBezTo>
                  <a:pt x="425" y="372"/>
                  <a:pt x="425" y="372"/>
                  <a:pt x="425" y="372"/>
                </a:cubicBezTo>
                <a:cubicBezTo>
                  <a:pt x="425" y="373"/>
                  <a:pt x="425" y="373"/>
                  <a:pt x="425" y="373"/>
                </a:cubicBezTo>
                <a:cubicBezTo>
                  <a:pt x="425" y="372"/>
                  <a:pt x="425" y="372"/>
                  <a:pt x="425" y="372"/>
                </a:cubicBezTo>
                <a:cubicBezTo>
                  <a:pt x="427" y="373"/>
                  <a:pt x="427" y="373"/>
                  <a:pt x="427" y="373"/>
                </a:cubicBezTo>
                <a:cubicBezTo>
                  <a:pt x="427" y="372"/>
                  <a:pt x="427" y="372"/>
                  <a:pt x="427" y="372"/>
                </a:cubicBezTo>
                <a:cubicBezTo>
                  <a:pt x="428" y="373"/>
                  <a:pt x="428" y="373"/>
                  <a:pt x="428" y="373"/>
                </a:cubicBezTo>
                <a:cubicBezTo>
                  <a:pt x="429" y="375"/>
                  <a:pt x="429" y="375"/>
                  <a:pt x="429" y="375"/>
                </a:cubicBezTo>
                <a:cubicBezTo>
                  <a:pt x="428" y="376"/>
                  <a:pt x="428" y="376"/>
                  <a:pt x="428" y="376"/>
                </a:cubicBezTo>
                <a:cubicBezTo>
                  <a:pt x="427" y="376"/>
                  <a:pt x="427" y="376"/>
                  <a:pt x="427" y="376"/>
                </a:cubicBezTo>
                <a:cubicBezTo>
                  <a:pt x="426" y="376"/>
                  <a:pt x="426" y="376"/>
                  <a:pt x="426" y="376"/>
                </a:cubicBezTo>
                <a:cubicBezTo>
                  <a:pt x="425" y="376"/>
                  <a:pt x="425" y="376"/>
                  <a:pt x="425" y="376"/>
                </a:cubicBezTo>
                <a:cubicBezTo>
                  <a:pt x="426" y="377"/>
                  <a:pt x="426" y="377"/>
                  <a:pt x="426" y="377"/>
                </a:cubicBezTo>
                <a:cubicBezTo>
                  <a:pt x="427" y="377"/>
                  <a:pt x="427" y="377"/>
                  <a:pt x="427" y="377"/>
                </a:cubicBezTo>
                <a:cubicBezTo>
                  <a:pt x="427" y="377"/>
                  <a:pt x="427" y="377"/>
                  <a:pt x="427" y="377"/>
                </a:cubicBezTo>
                <a:cubicBezTo>
                  <a:pt x="429" y="377"/>
                  <a:pt x="429" y="377"/>
                  <a:pt x="429" y="377"/>
                </a:cubicBezTo>
                <a:cubicBezTo>
                  <a:pt x="429" y="378"/>
                  <a:pt x="429" y="378"/>
                  <a:pt x="429" y="378"/>
                </a:cubicBezTo>
                <a:cubicBezTo>
                  <a:pt x="429" y="379"/>
                  <a:pt x="429" y="379"/>
                  <a:pt x="429" y="379"/>
                </a:cubicBezTo>
                <a:cubicBezTo>
                  <a:pt x="428" y="379"/>
                  <a:pt x="428" y="379"/>
                  <a:pt x="428" y="379"/>
                </a:cubicBezTo>
                <a:cubicBezTo>
                  <a:pt x="429" y="380"/>
                  <a:pt x="429" y="380"/>
                  <a:pt x="429" y="380"/>
                </a:cubicBezTo>
                <a:cubicBezTo>
                  <a:pt x="430" y="380"/>
                  <a:pt x="430" y="380"/>
                  <a:pt x="430" y="380"/>
                </a:cubicBezTo>
                <a:cubicBezTo>
                  <a:pt x="431" y="381"/>
                  <a:pt x="431" y="381"/>
                  <a:pt x="431" y="381"/>
                </a:cubicBezTo>
                <a:cubicBezTo>
                  <a:pt x="431" y="382"/>
                  <a:pt x="431" y="382"/>
                  <a:pt x="431" y="382"/>
                </a:cubicBezTo>
                <a:cubicBezTo>
                  <a:pt x="430" y="382"/>
                  <a:pt x="430" y="382"/>
                  <a:pt x="430" y="382"/>
                </a:cubicBezTo>
                <a:cubicBezTo>
                  <a:pt x="428" y="384"/>
                  <a:pt x="428" y="384"/>
                  <a:pt x="428" y="384"/>
                </a:cubicBezTo>
                <a:cubicBezTo>
                  <a:pt x="428" y="383"/>
                  <a:pt x="428" y="383"/>
                  <a:pt x="428" y="383"/>
                </a:cubicBezTo>
                <a:cubicBezTo>
                  <a:pt x="427" y="384"/>
                  <a:pt x="427" y="384"/>
                  <a:pt x="427" y="384"/>
                </a:cubicBezTo>
                <a:cubicBezTo>
                  <a:pt x="428" y="384"/>
                  <a:pt x="428" y="384"/>
                  <a:pt x="428" y="384"/>
                </a:cubicBezTo>
                <a:cubicBezTo>
                  <a:pt x="428" y="385"/>
                  <a:pt x="428" y="385"/>
                  <a:pt x="428" y="385"/>
                </a:cubicBezTo>
                <a:cubicBezTo>
                  <a:pt x="427" y="385"/>
                  <a:pt x="427" y="385"/>
                  <a:pt x="427" y="385"/>
                </a:cubicBezTo>
                <a:cubicBezTo>
                  <a:pt x="425" y="384"/>
                  <a:pt x="425" y="384"/>
                  <a:pt x="425" y="384"/>
                </a:cubicBezTo>
                <a:cubicBezTo>
                  <a:pt x="424" y="384"/>
                  <a:pt x="424" y="384"/>
                  <a:pt x="424" y="384"/>
                </a:cubicBezTo>
                <a:cubicBezTo>
                  <a:pt x="425" y="385"/>
                  <a:pt x="425" y="385"/>
                  <a:pt x="425" y="385"/>
                </a:cubicBezTo>
                <a:cubicBezTo>
                  <a:pt x="425" y="386"/>
                  <a:pt x="425" y="386"/>
                  <a:pt x="425" y="386"/>
                </a:cubicBezTo>
                <a:cubicBezTo>
                  <a:pt x="427" y="387"/>
                  <a:pt x="427" y="387"/>
                  <a:pt x="427" y="387"/>
                </a:cubicBezTo>
                <a:cubicBezTo>
                  <a:pt x="427" y="388"/>
                  <a:pt x="427" y="388"/>
                  <a:pt x="427" y="388"/>
                </a:cubicBezTo>
                <a:cubicBezTo>
                  <a:pt x="427" y="389"/>
                  <a:pt x="427" y="389"/>
                  <a:pt x="427" y="389"/>
                </a:cubicBezTo>
                <a:cubicBezTo>
                  <a:pt x="426" y="389"/>
                  <a:pt x="426" y="389"/>
                  <a:pt x="426" y="389"/>
                </a:cubicBezTo>
                <a:cubicBezTo>
                  <a:pt x="425" y="390"/>
                  <a:pt x="425" y="390"/>
                  <a:pt x="425" y="390"/>
                </a:cubicBezTo>
                <a:cubicBezTo>
                  <a:pt x="423" y="390"/>
                  <a:pt x="423" y="390"/>
                  <a:pt x="423" y="390"/>
                </a:cubicBezTo>
                <a:cubicBezTo>
                  <a:pt x="426" y="390"/>
                  <a:pt x="426" y="390"/>
                  <a:pt x="426" y="390"/>
                </a:cubicBezTo>
                <a:cubicBezTo>
                  <a:pt x="426" y="390"/>
                  <a:pt x="426" y="390"/>
                  <a:pt x="426" y="390"/>
                </a:cubicBezTo>
                <a:cubicBezTo>
                  <a:pt x="427" y="390"/>
                  <a:pt x="427" y="390"/>
                  <a:pt x="427" y="390"/>
                </a:cubicBezTo>
                <a:cubicBezTo>
                  <a:pt x="428" y="389"/>
                  <a:pt x="428" y="389"/>
                  <a:pt x="428" y="389"/>
                </a:cubicBezTo>
                <a:cubicBezTo>
                  <a:pt x="429" y="389"/>
                  <a:pt x="429" y="389"/>
                  <a:pt x="429" y="389"/>
                </a:cubicBezTo>
                <a:cubicBezTo>
                  <a:pt x="429" y="390"/>
                  <a:pt x="429" y="390"/>
                  <a:pt x="429" y="390"/>
                </a:cubicBezTo>
                <a:cubicBezTo>
                  <a:pt x="429" y="391"/>
                  <a:pt x="429" y="391"/>
                  <a:pt x="429" y="391"/>
                </a:cubicBezTo>
                <a:cubicBezTo>
                  <a:pt x="429" y="391"/>
                  <a:pt x="429" y="391"/>
                  <a:pt x="429" y="391"/>
                </a:cubicBezTo>
                <a:cubicBezTo>
                  <a:pt x="430" y="391"/>
                  <a:pt x="430" y="391"/>
                  <a:pt x="430" y="391"/>
                </a:cubicBezTo>
                <a:cubicBezTo>
                  <a:pt x="430" y="392"/>
                  <a:pt x="430" y="392"/>
                  <a:pt x="430" y="392"/>
                </a:cubicBezTo>
                <a:cubicBezTo>
                  <a:pt x="430" y="393"/>
                  <a:pt x="430" y="393"/>
                  <a:pt x="430" y="393"/>
                </a:cubicBezTo>
                <a:cubicBezTo>
                  <a:pt x="430" y="393"/>
                  <a:pt x="430" y="393"/>
                  <a:pt x="430" y="393"/>
                </a:cubicBezTo>
                <a:cubicBezTo>
                  <a:pt x="431" y="392"/>
                  <a:pt x="431" y="392"/>
                  <a:pt x="431" y="392"/>
                </a:cubicBezTo>
                <a:cubicBezTo>
                  <a:pt x="432" y="393"/>
                  <a:pt x="432" y="393"/>
                  <a:pt x="432" y="393"/>
                </a:cubicBezTo>
                <a:cubicBezTo>
                  <a:pt x="432" y="393"/>
                  <a:pt x="432" y="393"/>
                  <a:pt x="432" y="393"/>
                </a:cubicBezTo>
                <a:cubicBezTo>
                  <a:pt x="432" y="394"/>
                  <a:pt x="432" y="394"/>
                  <a:pt x="432" y="394"/>
                </a:cubicBezTo>
                <a:cubicBezTo>
                  <a:pt x="432" y="395"/>
                  <a:pt x="432" y="395"/>
                  <a:pt x="432" y="395"/>
                </a:cubicBezTo>
                <a:cubicBezTo>
                  <a:pt x="432" y="396"/>
                  <a:pt x="432" y="396"/>
                  <a:pt x="432" y="396"/>
                </a:cubicBezTo>
                <a:cubicBezTo>
                  <a:pt x="432" y="396"/>
                  <a:pt x="432" y="396"/>
                  <a:pt x="432" y="396"/>
                </a:cubicBezTo>
                <a:cubicBezTo>
                  <a:pt x="434" y="394"/>
                  <a:pt x="434" y="394"/>
                  <a:pt x="434" y="394"/>
                </a:cubicBezTo>
                <a:cubicBezTo>
                  <a:pt x="434" y="394"/>
                  <a:pt x="434" y="394"/>
                  <a:pt x="434" y="394"/>
                </a:cubicBezTo>
                <a:cubicBezTo>
                  <a:pt x="434" y="395"/>
                  <a:pt x="434" y="395"/>
                  <a:pt x="434" y="395"/>
                </a:cubicBezTo>
                <a:cubicBezTo>
                  <a:pt x="434" y="396"/>
                  <a:pt x="434" y="396"/>
                  <a:pt x="434" y="396"/>
                </a:cubicBezTo>
                <a:cubicBezTo>
                  <a:pt x="433" y="397"/>
                  <a:pt x="433" y="397"/>
                  <a:pt x="433" y="397"/>
                </a:cubicBezTo>
                <a:cubicBezTo>
                  <a:pt x="431" y="399"/>
                  <a:pt x="431" y="399"/>
                  <a:pt x="431" y="399"/>
                </a:cubicBezTo>
                <a:cubicBezTo>
                  <a:pt x="430" y="400"/>
                  <a:pt x="430" y="400"/>
                  <a:pt x="430" y="400"/>
                </a:cubicBezTo>
                <a:cubicBezTo>
                  <a:pt x="429" y="400"/>
                  <a:pt x="429" y="400"/>
                  <a:pt x="429" y="400"/>
                </a:cubicBezTo>
                <a:cubicBezTo>
                  <a:pt x="430" y="401"/>
                  <a:pt x="430" y="401"/>
                  <a:pt x="430" y="401"/>
                </a:cubicBezTo>
                <a:cubicBezTo>
                  <a:pt x="431" y="400"/>
                  <a:pt x="431" y="400"/>
                  <a:pt x="431" y="400"/>
                </a:cubicBezTo>
                <a:cubicBezTo>
                  <a:pt x="433" y="398"/>
                  <a:pt x="433" y="398"/>
                  <a:pt x="433" y="398"/>
                </a:cubicBezTo>
                <a:cubicBezTo>
                  <a:pt x="434" y="398"/>
                  <a:pt x="434" y="398"/>
                  <a:pt x="434" y="398"/>
                </a:cubicBezTo>
                <a:cubicBezTo>
                  <a:pt x="434" y="399"/>
                  <a:pt x="434" y="399"/>
                  <a:pt x="434" y="399"/>
                </a:cubicBezTo>
                <a:cubicBezTo>
                  <a:pt x="433" y="400"/>
                  <a:pt x="433" y="400"/>
                  <a:pt x="433" y="400"/>
                </a:cubicBezTo>
                <a:cubicBezTo>
                  <a:pt x="433" y="401"/>
                  <a:pt x="433" y="401"/>
                  <a:pt x="433" y="401"/>
                </a:cubicBezTo>
                <a:cubicBezTo>
                  <a:pt x="433" y="401"/>
                  <a:pt x="433" y="401"/>
                  <a:pt x="433" y="401"/>
                </a:cubicBezTo>
                <a:cubicBezTo>
                  <a:pt x="434" y="400"/>
                  <a:pt x="434" y="400"/>
                  <a:pt x="434" y="400"/>
                </a:cubicBezTo>
                <a:cubicBezTo>
                  <a:pt x="436" y="398"/>
                  <a:pt x="436" y="398"/>
                  <a:pt x="436" y="398"/>
                </a:cubicBezTo>
                <a:cubicBezTo>
                  <a:pt x="437" y="398"/>
                  <a:pt x="437" y="398"/>
                  <a:pt x="437" y="398"/>
                </a:cubicBezTo>
                <a:cubicBezTo>
                  <a:pt x="437" y="399"/>
                  <a:pt x="437" y="399"/>
                  <a:pt x="437" y="399"/>
                </a:cubicBezTo>
                <a:cubicBezTo>
                  <a:pt x="436" y="399"/>
                  <a:pt x="436" y="399"/>
                  <a:pt x="436" y="399"/>
                </a:cubicBezTo>
                <a:cubicBezTo>
                  <a:pt x="435" y="400"/>
                  <a:pt x="435" y="400"/>
                  <a:pt x="435" y="400"/>
                </a:cubicBezTo>
                <a:cubicBezTo>
                  <a:pt x="436" y="400"/>
                  <a:pt x="436" y="400"/>
                  <a:pt x="436" y="400"/>
                </a:cubicBezTo>
                <a:cubicBezTo>
                  <a:pt x="438" y="399"/>
                  <a:pt x="438" y="399"/>
                  <a:pt x="438" y="399"/>
                </a:cubicBezTo>
                <a:cubicBezTo>
                  <a:pt x="438" y="400"/>
                  <a:pt x="438" y="400"/>
                  <a:pt x="438" y="400"/>
                </a:cubicBezTo>
                <a:cubicBezTo>
                  <a:pt x="436" y="401"/>
                  <a:pt x="436" y="401"/>
                  <a:pt x="436" y="401"/>
                </a:cubicBezTo>
                <a:cubicBezTo>
                  <a:pt x="435" y="402"/>
                  <a:pt x="435" y="402"/>
                  <a:pt x="435" y="402"/>
                </a:cubicBezTo>
                <a:cubicBezTo>
                  <a:pt x="436" y="402"/>
                  <a:pt x="436" y="402"/>
                  <a:pt x="436" y="402"/>
                </a:cubicBezTo>
                <a:cubicBezTo>
                  <a:pt x="437" y="401"/>
                  <a:pt x="437" y="401"/>
                  <a:pt x="437" y="401"/>
                </a:cubicBezTo>
                <a:cubicBezTo>
                  <a:pt x="439" y="399"/>
                  <a:pt x="439" y="399"/>
                  <a:pt x="439" y="399"/>
                </a:cubicBezTo>
                <a:cubicBezTo>
                  <a:pt x="440" y="399"/>
                  <a:pt x="440" y="399"/>
                  <a:pt x="440" y="399"/>
                </a:cubicBezTo>
                <a:cubicBezTo>
                  <a:pt x="439" y="400"/>
                  <a:pt x="439" y="400"/>
                  <a:pt x="439" y="400"/>
                </a:cubicBezTo>
                <a:cubicBezTo>
                  <a:pt x="439" y="401"/>
                  <a:pt x="439" y="401"/>
                  <a:pt x="439" y="401"/>
                </a:cubicBezTo>
                <a:cubicBezTo>
                  <a:pt x="441" y="399"/>
                  <a:pt x="441" y="399"/>
                  <a:pt x="441" y="399"/>
                </a:cubicBezTo>
                <a:cubicBezTo>
                  <a:pt x="441" y="400"/>
                  <a:pt x="441" y="400"/>
                  <a:pt x="441" y="400"/>
                </a:cubicBezTo>
                <a:cubicBezTo>
                  <a:pt x="441" y="402"/>
                  <a:pt x="441" y="402"/>
                  <a:pt x="441" y="402"/>
                </a:cubicBezTo>
                <a:cubicBezTo>
                  <a:pt x="440" y="402"/>
                  <a:pt x="440" y="402"/>
                  <a:pt x="440" y="402"/>
                </a:cubicBezTo>
                <a:cubicBezTo>
                  <a:pt x="440" y="403"/>
                  <a:pt x="440" y="403"/>
                  <a:pt x="440" y="403"/>
                </a:cubicBezTo>
                <a:cubicBezTo>
                  <a:pt x="441" y="403"/>
                  <a:pt x="441" y="403"/>
                  <a:pt x="441" y="403"/>
                </a:cubicBezTo>
                <a:cubicBezTo>
                  <a:pt x="443" y="404"/>
                  <a:pt x="443" y="404"/>
                  <a:pt x="443" y="404"/>
                </a:cubicBezTo>
                <a:cubicBezTo>
                  <a:pt x="444" y="403"/>
                  <a:pt x="444" y="403"/>
                  <a:pt x="444" y="403"/>
                </a:cubicBezTo>
                <a:cubicBezTo>
                  <a:pt x="446" y="402"/>
                  <a:pt x="446" y="402"/>
                  <a:pt x="446" y="402"/>
                </a:cubicBezTo>
                <a:cubicBezTo>
                  <a:pt x="446" y="403"/>
                  <a:pt x="446" y="403"/>
                  <a:pt x="446" y="403"/>
                </a:cubicBezTo>
                <a:cubicBezTo>
                  <a:pt x="446" y="404"/>
                  <a:pt x="446" y="404"/>
                  <a:pt x="446" y="404"/>
                </a:cubicBezTo>
                <a:cubicBezTo>
                  <a:pt x="445" y="404"/>
                  <a:pt x="445" y="404"/>
                  <a:pt x="445" y="404"/>
                </a:cubicBezTo>
                <a:cubicBezTo>
                  <a:pt x="445" y="404"/>
                  <a:pt x="445" y="404"/>
                  <a:pt x="445" y="404"/>
                </a:cubicBezTo>
                <a:cubicBezTo>
                  <a:pt x="448" y="405"/>
                  <a:pt x="448" y="405"/>
                  <a:pt x="448" y="405"/>
                </a:cubicBezTo>
                <a:cubicBezTo>
                  <a:pt x="449" y="406"/>
                  <a:pt x="449" y="406"/>
                  <a:pt x="449" y="406"/>
                </a:cubicBezTo>
                <a:cubicBezTo>
                  <a:pt x="447" y="406"/>
                  <a:pt x="447" y="406"/>
                  <a:pt x="447" y="406"/>
                </a:cubicBezTo>
                <a:cubicBezTo>
                  <a:pt x="447" y="407"/>
                  <a:pt x="447" y="407"/>
                  <a:pt x="447" y="407"/>
                </a:cubicBezTo>
                <a:cubicBezTo>
                  <a:pt x="444" y="407"/>
                  <a:pt x="444" y="407"/>
                  <a:pt x="444" y="407"/>
                </a:cubicBezTo>
                <a:cubicBezTo>
                  <a:pt x="444" y="407"/>
                  <a:pt x="444" y="407"/>
                  <a:pt x="444" y="407"/>
                </a:cubicBezTo>
                <a:cubicBezTo>
                  <a:pt x="442" y="408"/>
                  <a:pt x="442" y="408"/>
                  <a:pt x="442" y="408"/>
                </a:cubicBezTo>
                <a:cubicBezTo>
                  <a:pt x="441" y="409"/>
                  <a:pt x="441" y="409"/>
                  <a:pt x="441" y="409"/>
                </a:cubicBezTo>
                <a:cubicBezTo>
                  <a:pt x="438" y="409"/>
                  <a:pt x="438" y="409"/>
                  <a:pt x="438" y="409"/>
                </a:cubicBezTo>
                <a:cubicBezTo>
                  <a:pt x="435" y="409"/>
                  <a:pt x="435" y="409"/>
                  <a:pt x="435" y="409"/>
                </a:cubicBezTo>
                <a:cubicBezTo>
                  <a:pt x="435" y="410"/>
                  <a:pt x="435" y="410"/>
                  <a:pt x="435" y="410"/>
                </a:cubicBezTo>
                <a:cubicBezTo>
                  <a:pt x="437" y="410"/>
                  <a:pt x="437" y="410"/>
                  <a:pt x="437" y="410"/>
                </a:cubicBezTo>
                <a:cubicBezTo>
                  <a:pt x="440" y="409"/>
                  <a:pt x="440" y="409"/>
                  <a:pt x="440" y="409"/>
                </a:cubicBezTo>
                <a:cubicBezTo>
                  <a:pt x="441" y="409"/>
                  <a:pt x="441" y="409"/>
                  <a:pt x="441" y="409"/>
                </a:cubicBezTo>
                <a:cubicBezTo>
                  <a:pt x="441" y="410"/>
                  <a:pt x="441" y="410"/>
                  <a:pt x="441" y="410"/>
                </a:cubicBezTo>
                <a:cubicBezTo>
                  <a:pt x="438" y="410"/>
                  <a:pt x="438" y="410"/>
                  <a:pt x="438" y="410"/>
                </a:cubicBezTo>
                <a:cubicBezTo>
                  <a:pt x="436" y="411"/>
                  <a:pt x="436" y="411"/>
                  <a:pt x="436" y="411"/>
                </a:cubicBezTo>
                <a:cubicBezTo>
                  <a:pt x="434" y="412"/>
                  <a:pt x="434" y="412"/>
                  <a:pt x="434" y="412"/>
                </a:cubicBezTo>
                <a:cubicBezTo>
                  <a:pt x="433" y="412"/>
                  <a:pt x="433" y="412"/>
                  <a:pt x="433" y="412"/>
                </a:cubicBezTo>
                <a:cubicBezTo>
                  <a:pt x="432" y="412"/>
                  <a:pt x="432" y="412"/>
                  <a:pt x="432" y="412"/>
                </a:cubicBezTo>
                <a:cubicBezTo>
                  <a:pt x="432" y="414"/>
                  <a:pt x="432" y="414"/>
                  <a:pt x="432" y="414"/>
                </a:cubicBezTo>
                <a:cubicBezTo>
                  <a:pt x="431" y="414"/>
                  <a:pt x="431" y="414"/>
                  <a:pt x="431" y="414"/>
                </a:cubicBezTo>
                <a:cubicBezTo>
                  <a:pt x="429" y="413"/>
                  <a:pt x="429" y="413"/>
                  <a:pt x="429" y="413"/>
                </a:cubicBezTo>
                <a:cubicBezTo>
                  <a:pt x="428" y="410"/>
                  <a:pt x="428" y="410"/>
                  <a:pt x="428" y="410"/>
                </a:cubicBezTo>
                <a:cubicBezTo>
                  <a:pt x="428" y="412"/>
                  <a:pt x="428" y="412"/>
                  <a:pt x="428" y="412"/>
                </a:cubicBezTo>
                <a:cubicBezTo>
                  <a:pt x="427" y="412"/>
                  <a:pt x="427" y="412"/>
                  <a:pt x="427" y="412"/>
                </a:cubicBezTo>
                <a:cubicBezTo>
                  <a:pt x="428" y="413"/>
                  <a:pt x="428" y="413"/>
                  <a:pt x="428" y="413"/>
                </a:cubicBezTo>
                <a:cubicBezTo>
                  <a:pt x="428" y="413"/>
                  <a:pt x="428" y="413"/>
                  <a:pt x="428" y="413"/>
                </a:cubicBezTo>
                <a:cubicBezTo>
                  <a:pt x="431" y="415"/>
                  <a:pt x="431" y="415"/>
                  <a:pt x="431" y="415"/>
                </a:cubicBezTo>
                <a:cubicBezTo>
                  <a:pt x="431" y="416"/>
                  <a:pt x="431" y="416"/>
                  <a:pt x="431" y="416"/>
                </a:cubicBezTo>
                <a:cubicBezTo>
                  <a:pt x="430" y="416"/>
                  <a:pt x="430" y="416"/>
                  <a:pt x="430" y="416"/>
                </a:cubicBezTo>
                <a:cubicBezTo>
                  <a:pt x="429" y="416"/>
                  <a:pt x="429" y="416"/>
                  <a:pt x="429" y="416"/>
                </a:cubicBezTo>
                <a:cubicBezTo>
                  <a:pt x="430" y="417"/>
                  <a:pt x="430" y="417"/>
                  <a:pt x="430" y="417"/>
                </a:cubicBezTo>
                <a:cubicBezTo>
                  <a:pt x="430" y="418"/>
                  <a:pt x="430" y="418"/>
                  <a:pt x="430" y="418"/>
                </a:cubicBezTo>
                <a:cubicBezTo>
                  <a:pt x="431" y="417"/>
                  <a:pt x="431" y="417"/>
                  <a:pt x="431" y="417"/>
                </a:cubicBezTo>
                <a:cubicBezTo>
                  <a:pt x="431" y="417"/>
                  <a:pt x="431" y="417"/>
                  <a:pt x="431" y="417"/>
                </a:cubicBezTo>
                <a:cubicBezTo>
                  <a:pt x="432" y="415"/>
                  <a:pt x="432" y="415"/>
                  <a:pt x="432" y="415"/>
                </a:cubicBezTo>
                <a:cubicBezTo>
                  <a:pt x="434" y="415"/>
                  <a:pt x="434" y="415"/>
                  <a:pt x="434" y="415"/>
                </a:cubicBezTo>
                <a:cubicBezTo>
                  <a:pt x="436" y="414"/>
                  <a:pt x="436" y="414"/>
                  <a:pt x="436" y="414"/>
                </a:cubicBezTo>
                <a:cubicBezTo>
                  <a:pt x="437" y="414"/>
                  <a:pt x="437" y="414"/>
                  <a:pt x="437" y="414"/>
                </a:cubicBezTo>
                <a:cubicBezTo>
                  <a:pt x="437" y="413"/>
                  <a:pt x="437" y="413"/>
                  <a:pt x="437" y="413"/>
                </a:cubicBezTo>
                <a:cubicBezTo>
                  <a:pt x="438" y="411"/>
                  <a:pt x="438" y="411"/>
                  <a:pt x="438" y="411"/>
                </a:cubicBezTo>
                <a:cubicBezTo>
                  <a:pt x="440" y="411"/>
                  <a:pt x="440" y="411"/>
                  <a:pt x="440" y="411"/>
                </a:cubicBezTo>
                <a:cubicBezTo>
                  <a:pt x="442" y="410"/>
                  <a:pt x="442" y="410"/>
                  <a:pt x="442" y="410"/>
                </a:cubicBezTo>
                <a:cubicBezTo>
                  <a:pt x="443" y="410"/>
                  <a:pt x="443" y="410"/>
                  <a:pt x="443" y="410"/>
                </a:cubicBezTo>
                <a:cubicBezTo>
                  <a:pt x="445" y="410"/>
                  <a:pt x="445" y="410"/>
                  <a:pt x="445" y="410"/>
                </a:cubicBezTo>
                <a:cubicBezTo>
                  <a:pt x="444" y="410"/>
                  <a:pt x="444" y="410"/>
                  <a:pt x="444" y="410"/>
                </a:cubicBezTo>
                <a:cubicBezTo>
                  <a:pt x="443" y="410"/>
                  <a:pt x="443" y="410"/>
                  <a:pt x="443" y="410"/>
                </a:cubicBezTo>
                <a:cubicBezTo>
                  <a:pt x="442" y="410"/>
                  <a:pt x="442" y="410"/>
                  <a:pt x="442" y="410"/>
                </a:cubicBezTo>
                <a:cubicBezTo>
                  <a:pt x="443" y="409"/>
                  <a:pt x="443" y="409"/>
                  <a:pt x="443" y="409"/>
                </a:cubicBezTo>
                <a:cubicBezTo>
                  <a:pt x="446" y="409"/>
                  <a:pt x="446" y="409"/>
                  <a:pt x="446" y="409"/>
                </a:cubicBezTo>
                <a:cubicBezTo>
                  <a:pt x="448" y="409"/>
                  <a:pt x="448" y="409"/>
                  <a:pt x="448" y="409"/>
                </a:cubicBezTo>
                <a:cubicBezTo>
                  <a:pt x="449" y="411"/>
                  <a:pt x="449" y="411"/>
                  <a:pt x="449" y="411"/>
                </a:cubicBezTo>
                <a:cubicBezTo>
                  <a:pt x="449" y="413"/>
                  <a:pt x="449" y="413"/>
                  <a:pt x="449" y="413"/>
                </a:cubicBezTo>
                <a:cubicBezTo>
                  <a:pt x="447" y="414"/>
                  <a:pt x="447" y="414"/>
                  <a:pt x="447" y="414"/>
                </a:cubicBezTo>
                <a:cubicBezTo>
                  <a:pt x="447" y="414"/>
                  <a:pt x="447" y="414"/>
                  <a:pt x="447" y="414"/>
                </a:cubicBezTo>
                <a:cubicBezTo>
                  <a:pt x="446" y="415"/>
                  <a:pt x="446" y="415"/>
                  <a:pt x="446" y="415"/>
                </a:cubicBezTo>
                <a:cubicBezTo>
                  <a:pt x="447" y="415"/>
                  <a:pt x="447" y="415"/>
                  <a:pt x="447" y="415"/>
                </a:cubicBezTo>
                <a:cubicBezTo>
                  <a:pt x="448" y="416"/>
                  <a:pt x="448" y="416"/>
                  <a:pt x="448" y="416"/>
                </a:cubicBezTo>
                <a:cubicBezTo>
                  <a:pt x="448" y="415"/>
                  <a:pt x="448" y="415"/>
                  <a:pt x="448" y="415"/>
                </a:cubicBezTo>
                <a:cubicBezTo>
                  <a:pt x="449" y="414"/>
                  <a:pt x="449" y="414"/>
                  <a:pt x="449" y="414"/>
                </a:cubicBezTo>
                <a:cubicBezTo>
                  <a:pt x="451" y="413"/>
                  <a:pt x="451" y="413"/>
                  <a:pt x="451" y="413"/>
                </a:cubicBezTo>
                <a:cubicBezTo>
                  <a:pt x="452" y="413"/>
                  <a:pt x="452" y="413"/>
                  <a:pt x="452" y="413"/>
                </a:cubicBezTo>
                <a:cubicBezTo>
                  <a:pt x="452" y="414"/>
                  <a:pt x="452" y="414"/>
                  <a:pt x="452" y="414"/>
                </a:cubicBezTo>
                <a:cubicBezTo>
                  <a:pt x="452" y="414"/>
                  <a:pt x="452" y="414"/>
                  <a:pt x="452" y="414"/>
                </a:cubicBezTo>
                <a:cubicBezTo>
                  <a:pt x="452" y="415"/>
                  <a:pt x="452" y="415"/>
                  <a:pt x="452" y="415"/>
                </a:cubicBezTo>
                <a:cubicBezTo>
                  <a:pt x="453" y="415"/>
                  <a:pt x="453" y="415"/>
                  <a:pt x="453" y="415"/>
                </a:cubicBezTo>
                <a:cubicBezTo>
                  <a:pt x="455" y="416"/>
                  <a:pt x="455" y="416"/>
                  <a:pt x="455" y="416"/>
                </a:cubicBezTo>
                <a:cubicBezTo>
                  <a:pt x="455" y="416"/>
                  <a:pt x="455" y="416"/>
                  <a:pt x="455" y="416"/>
                </a:cubicBezTo>
                <a:cubicBezTo>
                  <a:pt x="454" y="416"/>
                  <a:pt x="454" y="416"/>
                  <a:pt x="454" y="416"/>
                </a:cubicBezTo>
                <a:cubicBezTo>
                  <a:pt x="453" y="416"/>
                  <a:pt x="453" y="416"/>
                  <a:pt x="453" y="416"/>
                </a:cubicBezTo>
                <a:cubicBezTo>
                  <a:pt x="454" y="417"/>
                  <a:pt x="454" y="417"/>
                  <a:pt x="454" y="417"/>
                </a:cubicBezTo>
                <a:cubicBezTo>
                  <a:pt x="455" y="418"/>
                  <a:pt x="455" y="418"/>
                  <a:pt x="455" y="418"/>
                </a:cubicBezTo>
                <a:cubicBezTo>
                  <a:pt x="456" y="419"/>
                  <a:pt x="456" y="419"/>
                  <a:pt x="456" y="419"/>
                </a:cubicBezTo>
                <a:cubicBezTo>
                  <a:pt x="455" y="419"/>
                  <a:pt x="455" y="419"/>
                  <a:pt x="455" y="419"/>
                </a:cubicBezTo>
                <a:cubicBezTo>
                  <a:pt x="454" y="419"/>
                  <a:pt x="454" y="419"/>
                  <a:pt x="454" y="419"/>
                </a:cubicBezTo>
                <a:cubicBezTo>
                  <a:pt x="453" y="420"/>
                  <a:pt x="453" y="420"/>
                  <a:pt x="453" y="420"/>
                </a:cubicBezTo>
                <a:cubicBezTo>
                  <a:pt x="455" y="421"/>
                  <a:pt x="455" y="421"/>
                  <a:pt x="455" y="421"/>
                </a:cubicBezTo>
                <a:cubicBezTo>
                  <a:pt x="454" y="422"/>
                  <a:pt x="454" y="422"/>
                  <a:pt x="454" y="422"/>
                </a:cubicBezTo>
                <a:cubicBezTo>
                  <a:pt x="453" y="422"/>
                  <a:pt x="453" y="422"/>
                  <a:pt x="453" y="422"/>
                </a:cubicBezTo>
                <a:cubicBezTo>
                  <a:pt x="453" y="423"/>
                  <a:pt x="453" y="423"/>
                  <a:pt x="453" y="423"/>
                </a:cubicBezTo>
                <a:cubicBezTo>
                  <a:pt x="452" y="424"/>
                  <a:pt x="452" y="424"/>
                  <a:pt x="452" y="424"/>
                </a:cubicBezTo>
                <a:cubicBezTo>
                  <a:pt x="450" y="423"/>
                  <a:pt x="450" y="423"/>
                  <a:pt x="450" y="423"/>
                </a:cubicBezTo>
                <a:cubicBezTo>
                  <a:pt x="451" y="424"/>
                  <a:pt x="451" y="424"/>
                  <a:pt x="451" y="424"/>
                </a:cubicBezTo>
                <a:cubicBezTo>
                  <a:pt x="453" y="425"/>
                  <a:pt x="453" y="425"/>
                  <a:pt x="453" y="425"/>
                </a:cubicBezTo>
                <a:cubicBezTo>
                  <a:pt x="454" y="424"/>
                  <a:pt x="454" y="424"/>
                  <a:pt x="454" y="424"/>
                </a:cubicBezTo>
                <a:cubicBezTo>
                  <a:pt x="455" y="425"/>
                  <a:pt x="455" y="425"/>
                  <a:pt x="455" y="425"/>
                </a:cubicBezTo>
                <a:cubicBezTo>
                  <a:pt x="454" y="426"/>
                  <a:pt x="454" y="426"/>
                  <a:pt x="454" y="426"/>
                </a:cubicBezTo>
                <a:cubicBezTo>
                  <a:pt x="453" y="426"/>
                  <a:pt x="453" y="426"/>
                  <a:pt x="453" y="426"/>
                </a:cubicBezTo>
                <a:cubicBezTo>
                  <a:pt x="452" y="426"/>
                  <a:pt x="452" y="426"/>
                  <a:pt x="452" y="426"/>
                </a:cubicBezTo>
                <a:cubicBezTo>
                  <a:pt x="453" y="426"/>
                  <a:pt x="453" y="426"/>
                  <a:pt x="453" y="426"/>
                </a:cubicBezTo>
                <a:cubicBezTo>
                  <a:pt x="454" y="426"/>
                  <a:pt x="454" y="426"/>
                  <a:pt x="454" y="426"/>
                </a:cubicBezTo>
                <a:cubicBezTo>
                  <a:pt x="455" y="426"/>
                  <a:pt x="455" y="426"/>
                  <a:pt x="455" y="426"/>
                </a:cubicBezTo>
                <a:cubicBezTo>
                  <a:pt x="454" y="428"/>
                  <a:pt x="454" y="428"/>
                  <a:pt x="454" y="428"/>
                </a:cubicBezTo>
                <a:cubicBezTo>
                  <a:pt x="454" y="429"/>
                  <a:pt x="454" y="429"/>
                  <a:pt x="454" y="429"/>
                </a:cubicBezTo>
                <a:cubicBezTo>
                  <a:pt x="453" y="429"/>
                  <a:pt x="453" y="429"/>
                  <a:pt x="453" y="429"/>
                </a:cubicBezTo>
                <a:cubicBezTo>
                  <a:pt x="452" y="430"/>
                  <a:pt x="452" y="430"/>
                  <a:pt x="452" y="430"/>
                </a:cubicBezTo>
                <a:cubicBezTo>
                  <a:pt x="451" y="431"/>
                  <a:pt x="451" y="431"/>
                  <a:pt x="451" y="431"/>
                </a:cubicBezTo>
                <a:cubicBezTo>
                  <a:pt x="449" y="431"/>
                  <a:pt x="449" y="431"/>
                  <a:pt x="449" y="431"/>
                </a:cubicBezTo>
                <a:cubicBezTo>
                  <a:pt x="448" y="432"/>
                  <a:pt x="448" y="432"/>
                  <a:pt x="448" y="432"/>
                </a:cubicBezTo>
                <a:cubicBezTo>
                  <a:pt x="448" y="432"/>
                  <a:pt x="448" y="432"/>
                  <a:pt x="448" y="432"/>
                </a:cubicBezTo>
                <a:cubicBezTo>
                  <a:pt x="447" y="433"/>
                  <a:pt x="447" y="433"/>
                  <a:pt x="447" y="433"/>
                </a:cubicBezTo>
                <a:cubicBezTo>
                  <a:pt x="446" y="433"/>
                  <a:pt x="446" y="433"/>
                  <a:pt x="446" y="433"/>
                </a:cubicBezTo>
                <a:cubicBezTo>
                  <a:pt x="446" y="434"/>
                  <a:pt x="446" y="434"/>
                  <a:pt x="446" y="434"/>
                </a:cubicBezTo>
                <a:cubicBezTo>
                  <a:pt x="445" y="434"/>
                  <a:pt x="445" y="434"/>
                  <a:pt x="445" y="434"/>
                </a:cubicBezTo>
                <a:cubicBezTo>
                  <a:pt x="444" y="433"/>
                  <a:pt x="444" y="433"/>
                  <a:pt x="444" y="433"/>
                </a:cubicBezTo>
                <a:cubicBezTo>
                  <a:pt x="443" y="434"/>
                  <a:pt x="443" y="434"/>
                  <a:pt x="443" y="434"/>
                </a:cubicBezTo>
                <a:cubicBezTo>
                  <a:pt x="442" y="434"/>
                  <a:pt x="442" y="434"/>
                  <a:pt x="442" y="434"/>
                </a:cubicBezTo>
                <a:cubicBezTo>
                  <a:pt x="442" y="433"/>
                  <a:pt x="442" y="433"/>
                  <a:pt x="442" y="433"/>
                </a:cubicBezTo>
                <a:cubicBezTo>
                  <a:pt x="440" y="434"/>
                  <a:pt x="440" y="434"/>
                  <a:pt x="440" y="434"/>
                </a:cubicBezTo>
                <a:cubicBezTo>
                  <a:pt x="439" y="434"/>
                  <a:pt x="439" y="434"/>
                  <a:pt x="439" y="434"/>
                </a:cubicBezTo>
                <a:cubicBezTo>
                  <a:pt x="438" y="433"/>
                  <a:pt x="438" y="433"/>
                  <a:pt x="438" y="433"/>
                </a:cubicBezTo>
                <a:cubicBezTo>
                  <a:pt x="438" y="433"/>
                  <a:pt x="438" y="433"/>
                  <a:pt x="438" y="433"/>
                </a:cubicBezTo>
                <a:cubicBezTo>
                  <a:pt x="438" y="434"/>
                  <a:pt x="438" y="434"/>
                  <a:pt x="438" y="434"/>
                </a:cubicBezTo>
                <a:cubicBezTo>
                  <a:pt x="437" y="435"/>
                  <a:pt x="437" y="435"/>
                  <a:pt x="437" y="435"/>
                </a:cubicBezTo>
                <a:cubicBezTo>
                  <a:pt x="436" y="434"/>
                  <a:pt x="436" y="434"/>
                  <a:pt x="436" y="434"/>
                </a:cubicBezTo>
                <a:cubicBezTo>
                  <a:pt x="435" y="435"/>
                  <a:pt x="435" y="435"/>
                  <a:pt x="435" y="435"/>
                </a:cubicBezTo>
                <a:cubicBezTo>
                  <a:pt x="436" y="435"/>
                  <a:pt x="436" y="435"/>
                  <a:pt x="436" y="435"/>
                </a:cubicBezTo>
                <a:cubicBezTo>
                  <a:pt x="436" y="436"/>
                  <a:pt x="436" y="436"/>
                  <a:pt x="436" y="436"/>
                </a:cubicBezTo>
                <a:cubicBezTo>
                  <a:pt x="435" y="437"/>
                  <a:pt x="435" y="437"/>
                  <a:pt x="435" y="437"/>
                </a:cubicBezTo>
                <a:cubicBezTo>
                  <a:pt x="434" y="437"/>
                  <a:pt x="434" y="437"/>
                  <a:pt x="434" y="437"/>
                </a:cubicBezTo>
                <a:cubicBezTo>
                  <a:pt x="434" y="438"/>
                  <a:pt x="434" y="438"/>
                  <a:pt x="434" y="438"/>
                </a:cubicBezTo>
                <a:cubicBezTo>
                  <a:pt x="433" y="439"/>
                  <a:pt x="433" y="439"/>
                  <a:pt x="433" y="439"/>
                </a:cubicBezTo>
                <a:cubicBezTo>
                  <a:pt x="432" y="439"/>
                  <a:pt x="432" y="439"/>
                  <a:pt x="432" y="439"/>
                </a:cubicBezTo>
                <a:cubicBezTo>
                  <a:pt x="432" y="440"/>
                  <a:pt x="432" y="440"/>
                  <a:pt x="432" y="440"/>
                </a:cubicBezTo>
                <a:cubicBezTo>
                  <a:pt x="431" y="440"/>
                  <a:pt x="431" y="440"/>
                  <a:pt x="431" y="440"/>
                </a:cubicBezTo>
                <a:cubicBezTo>
                  <a:pt x="430" y="442"/>
                  <a:pt x="430" y="442"/>
                  <a:pt x="430" y="442"/>
                </a:cubicBezTo>
                <a:cubicBezTo>
                  <a:pt x="429" y="441"/>
                  <a:pt x="429" y="441"/>
                  <a:pt x="429" y="441"/>
                </a:cubicBezTo>
                <a:cubicBezTo>
                  <a:pt x="429" y="442"/>
                  <a:pt x="429" y="442"/>
                  <a:pt x="429" y="442"/>
                </a:cubicBezTo>
                <a:cubicBezTo>
                  <a:pt x="427" y="442"/>
                  <a:pt x="427" y="442"/>
                  <a:pt x="427" y="442"/>
                </a:cubicBezTo>
                <a:cubicBezTo>
                  <a:pt x="427" y="443"/>
                  <a:pt x="427" y="443"/>
                  <a:pt x="427" y="443"/>
                </a:cubicBezTo>
                <a:cubicBezTo>
                  <a:pt x="426" y="443"/>
                  <a:pt x="426" y="443"/>
                  <a:pt x="426" y="443"/>
                </a:cubicBezTo>
                <a:cubicBezTo>
                  <a:pt x="425" y="443"/>
                  <a:pt x="425" y="443"/>
                  <a:pt x="425" y="443"/>
                </a:cubicBezTo>
                <a:cubicBezTo>
                  <a:pt x="423" y="443"/>
                  <a:pt x="423" y="443"/>
                  <a:pt x="423" y="443"/>
                </a:cubicBezTo>
                <a:cubicBezTo>
                  <a:pt x="423" y="442"/>
                  <a:pt x="423" y="442"/>
                  <a:pt x="423" y="442"/>
                </a:cubicBezTo>
                <a:cubicBezTo>
                  <a:pt x="421" y="443"/>
                  <a:pt x="421" y="443"/>
                  <a:pt x="421" y="443"/>
                </a:cubicBezTo>
                <a:cubicBezTo>
                  <a:pt x="420" y="443"/>
                  <a:pt x="420" y="443"/>
                  <a:pt x="420" y="443"/>
                </a:cubicBezTo>
                <a:cubicBezTo>
                  <a:pt x="418" y="444"/>
                  <a:pt x="418" y="444"/>
                  <a:pt x="418" y="444"/>
                </a:cubicBezTo>
                <a:cubicBezTo>
                  <a:pt x="416" y="443"/>
                  <a:pt x="416" y="443"/>
                  <a:pt x="416" y="443"/>
                </a:cubicBezTo>
                <a:cubicBezTo>
                  <a:pt x="417" y="443"/>
                  <a:pt x="417" y="443"/>
                  <a:pt x="417" y="443"/>
                </a:cubicBezTo>
                <a:cubicBezTo>
                  <a:pt x="416" y="442"/>
                  <a:pt x="416" y="442"/>
                  <a:pt x="416" y="442"/>
                </a:cubicBezTo>
                <a:cubicBezTo>
                  <a:pt x="415" y="443"/>
                  <a:pt x="415" y="443"/>
                  <a:pt x="415" y="443"/>
                </a:cubicBezTo>
                <a:cubicBezTo>
                  <a:pt x="414" y="443"/>
                  <a:pt x="414" y="443"/>
                  <a:pt x="414" y="443"/>
                </a:cubicBezTo>
                <a:cubicBezTo>
                  <a:pt x="412" y="442"/>
                  <a:pt x="412" y="442"/>
                  <a:pt x="412" y="442"/>
                </a:cubicBezTo>
                <a:cubicBezTo>
                  <a:pt x="411" y="442"/>
                  <a:pt x="411" y="442"/>
                  <a:pt x="411" y="442"/>
                </a:cubicBezTo>
                <a:cubicBezTo>
                  <a:pt x="410" y="442"/>
                  <a:pt x="410" y="442"/>
                  <a:pt x="410" y="442"/>
                </a:cubicBezTo>
                <a:cubicBezTo>
                  <a:pt x="409" y="441"/>
                  <a:pt x="409" y="441"/>
                  <a:pt x="409" y="441"/>
                </a:cubicBezTo>
                <a:cubicBezTo>
                  <a:pt x="408" y="441"/>
                  <a:pt x="408" y="441"/>
                  <a:pt x="408" y="441"/>
                </a:cubicBezTo>
                <a:cubicBezTo>
                  <a:pt x="407" y="442"/>
                  <a:pt x="407" y="442"/>
                  <a:pt x="407" y="442"/>
                </a:cubicBezTo>
                <a:cubicBezTo>
                  <a:pt x="405" y="442"/>
                  <a:pt x="405" y="442"/>
                  <a:pt x="405" y="442"/>
                </a:cubicBezTo>
                <a:cubicBezTo>
                  <a:pt x="404" y="441"/>
                  <a:pt x="404" y="441"/>
                  <a:pt x="404" y="441"/>
                </a:cubicBezTo>
                <a:cubicBezTo>
                  <a:pt x="403" y="442"/>
                  <a:pt x="403" y="442"/>
                  <a:pt x="403" y="442"/>
                </a:cubicBezTo>
                <a:cubicBezTo>
                  <a:pt x="402" y="442"/>
                  <a:pt x="402" y="442"/>
                  <a:pt x="402" y="442"/>
                </a:cubicBezTo>
                <a:cubicBezTo>
                  <a:pt x="401" y="441"/>
                  <a:pt x="401" y="441"/>
                  <a:pt x="401" y="441"/>
                </a:cubicBezTo>
                <a:cubicBezTo>
                  <a:pt x="400" y="442"/>
                  <a:pt x="400" y="442"/>
                  <a:pt x="400" y="442"/>
                </a:cubicBezTo>
                <a:cubicBezTo>
                  <a:pt x="399" y="441"/>
                  <a:pt x="399" y="441"/>
                  <a:pt x="399" y="441"/>
                </a:cubicBezTo>
                <a:cubicBezTo>
                  <a:pt x="398" y="441"/>
                  <a:pt x="398" y="441"/>
                  <a:pt x="398" y="441"/>
                </a:cubicBezTo>
                <a:cubicBezTo>
                  <a:pt x="396" y="441"/>
                  <a:pt x="396" y="441"/>
                  <a:pt x="396" y="441"/>
                </a:cubicBezTo>
                <a:cubicBezTo>
                  <a:pt x="394" y="441"/>
                  <a:pt x="394" y="441"/>
                  <a:pt x="394" y="441"/>
                </a:cubicBezTo>
                <a:cubicBezTo>
                  <a:pt x="392" y="441"/>
                  <a:pt x="392" y="441"/>
                  <a:pt x="392" y="441"/>
                </a:cubicBezTo>
                <a:cubicBezTo>
                  <a:pt x="391" y="439"/>
                  <a:pt x="391" y="439"/>
                  <a:pt x="391" y="439"/>
                </a:cubicBezTo>
                <a:cubicBezTo>
                  <a:pt x="390" y="440"/>
                  <a:pt x="390" y="440"/>
                  <a:pt x="390" y="440"/>
                </a:cubicBezTo>
                <a:cubicBezTo>
                  <a:pt x="389" y="441"/>
                  <a:pt x="389" y="441"/>
                  <a:pt x="389" y="441"/>
                </a:cubicBezTo>
                <a:cubicBezTo>
                  <a:pt x="390" y="441"/>
                  <a:pt x="390" y="441"/>
                  <a:pt x="390" y="441"/>
                </a:cubicBezTo>
                <a:cubicBezTo>
                  <a:pt x="389" y="442"/>
                  <a:pt x="389" y="442"/>
                  <a:pt x="389" y="442"/>
                </a:cubicBezTo>
                <a:cubicBezTo>
                  <a:pt x="388" y="442"/>
                  <a:pt x="388" y="442"/>
                  <a:pt x="388" y="442"/>
                </a:cubicBezTo>
                <a:cubicBezTo>
                  <a:pt x="386" y="444"/>
                  <a:pt x="386" y="444"/>
                  <a:pt x="386" y="444"/>
                </a:cubicBezTo>
                <a:cubicBezTo>
                  <a:pt x="384" y="445"/>
                  <a:pt x="384" y="445"/>
                  <a:pt x="384" y="445"/>
                </a:cubicBezTo>
                <a:cubicBezTo>
                  <a:pt x="384" y="446"/>
                  <a:pt x="384" y="446"/>
                  <a:pt x="384" y="446"/>
                </a:cubicBezTo>
                <a:cubicBezTo>
                  <a:pt x="384" y="446"/>
                  <a:pt x="384" y="446"/>
                  <a:pt x="384" y="446"/>
                </a:cubicBezTo>
                <a:cubicBezTo>
                  <a:pt x="384" y="448"/>
                  <a:pt x="384" y="448"/>
                  <a:pt x="384" y="448"/>
                </a:cubicBezTo>
                <a:cubicBezTo>
                  <a:pt x="383" y="449"/>
                  <a:pt x="383" y="449"/>
                  <a:pt x="383" y="449"/>
                </a:cubicBezTo>
                <a:cubicBezTo>
                  <a:pt x="381" y="449"/>
                  <a:pt x="381" y="449"/>
                  <a:pt x="381" y="449"/>
                </a:cubicBezTo>
                <a:cubicBezTo>
                  <a:pt x="380" y="449"/>
                  <a:pt x="380" y="449"/>
                  <a:pt x="380" y="449"/>
                </a:cubicBezTo>
                <a:cubicBezTo>
                  <a:pt x="378" y="450"/>
                  <a:pt x="378" y="450"/>
                  <a:pt x="378" y="450"/>
                </a:cubicBezTo>
                <a:cubicBezTo>
                  <a:pt x="377" y="451"/>
                  <a:pt x="377" y="451"/>
                  <a:pt x="377" y="451"/>
                </a:cubicBezTo>
                <a:cubicBezTo>
                  <a:pt x="376" y="451"/>
                  <a:pt x="376" y="451"/>
                  <a:pt x="376" y="451"/>
                </a:cubicBezTo>
                <a:cubicBezTo>
                  <a:pt x="376" y="451"/>
                  <a:pt x="376" y="451"/>
                  <a:pt x="376" y="451"/>
                </a:cubicBezTo>
                <a:cubicBezTo>
                  <a:pt x="375" y="451"/>
                  <a:pt x="375" y="451"/>
                  <a:pt x="375" y="451"/>
                </a:cubicBezTo>
                <a:cubicBezTo>
                  <a:pt x="374" y="453"/>
                  <a:pt x="374" y="453"/>
                  <a:pt x="374" y="453"/>
                </a:cubicBezTo>
                <a:cubicBezTo>
                  <a:pt x="373" y="453"/>
                  <a:pt x="373" y="453"/>
                  <a:pt x="373" y="453"/>
                </a:cubicBezTo>
                <a:cubicBezTo>
                  <a:pt x="371" y="454"/>
                  <a:pt x="371" y="454"/>
                  <a:pt x="371" y="454"/>
                </a:cubicBezTo>
                <a:cubicBezTo>
                  <a:pt x="371" y="454"/>
                  <a:pt x="371" y="454"/>
                  <a:pt x="371" y="454"/>
                </a:cubicBezTo>
                <a:cubicBezTo>
                  <a:pt x="370" y="455"/>
                  <a:pt x="370" y="455"/>
                  <a:pt x="370" y="455"/>
                </a:cubicBezTo>
                <a:cubicBezTo>
                  <a:pt x="369" y="457"/>
                  <a:pt x="369" y="457"/>
                  <a:pt x="369" y="457"/>
                </a:cubicBezTo>
                <a:cubicBezTo>
                  <a:pt x="366" y="458"/>
                  <a:pt x="366" y="458"/>
                  <a:pt x="366" y="458"/>
                </a:cubicBezTo>
                <a:cubicBezTo>
                  <a:pt x="366" y="460"/>
                  <a:pt x="366" y="460"/>
                  <a:pt x="366" y="460"/>
                </a:cubicBezTo>
                <a:cubicBezTo>
                  <a:pt x="364" y="461"/>
                  <a:pt x="364" y="461"/>
                  <a:pt x="364" y="461"/>
                </a:cubicBezTo>
                <a:cubicBezTo>
                  <a:pt x="363" y="463"/>
                  <a:pt x="363" y="463"/>
                  <a:pt x="363" y="463"/>
                </a:cubicBezTo>
                <a:cubicBezTo>
                  <a:pt x="362" y="463"/>
                  <a:pt x="362" y="463"/>
                  <a:pt x="362" y="463"/>
                </a:cubicBezTo>
                <a:cubicBezTo>
                  <a:pt x="361" y="465"/>
                  <a:pt x="361" y="465"/>
                  <a:pt x="361" y="465"/>
                </a:cubicBezTo>
                <a:cubicBezTo>
                  <a:pt x="360" y="466"/>
                  <a:pt x="360" y="466"/>
                  <a:pt x="360" y="466"/>
                </a:cubicBezTo>
                <a:cubicBezTo>
                  <a:pt x="357" y="468"/>
                  <a:pt x="357" y="468"/>
                  <a:pt x="357" y="468"/>
                </a:cubicBezTo>
                <a:cubicBezTo>
                  <a:pt x="357" y="469"/>
                  <a:pt x="357" y="469"/>
                  <a:pt x="357" y="469"/>
                </a:cubicBezTo>
                <a:cubicBezTo>
                  <a:pt x="354" y="470"/>
                  <a:pt x="354" y="470"/>
                  <a:pt x="354" y="470"/>
                </a:cubicBezTo>
                <a:cubicBezTo>
                  <a:pt x="352" y="470"/>
                  <a:pt x="352" y="470"/>
                  <a:pt x="352" y="470"/>
                </a:cubicBezTo>
                <a:cubicBezTo>
                  <a:pt x="353" y="471"/>
                  <a:pt x="353" y="471"/>
                  <a:pt x="353" y="471"/>
                </a:cubicBezTo>
                <a:cubicBezTo>
                  <a:pt x="357" y="469"/>
                  <a:pt x="357" y="469"/>
                  <a:pt x="357" y="469"/>
                </a:cubicBezTo>
                <a:cubicBezTo>
                  <a:pt x="359" y="468"/>
                  <a:pt x="359" y="468"/>
                  <a:pt x="359" y="468"/>
                </a:cubicBezTo>
                <a:cubicBezTo>
                  <a:pt x="362" y="466"/>
                  <a:pt x="362" y="466"/>
                  <a:pt x="362" y="466"/>
                </a:cubicBezTo>
                <a:cubicBezTo>
                  <a:pt x="363" y="464"/>
                  <a:pt x="363" y="464"/>
                  <a:pt x="363" y="464"/>
                </a:cubicBezTo>
                <a:cubicBezTo>
                  <a:pt x="365" y="463"/>
                  <a:pt x="365" y="463"/>
                  <a:pt x="365" y="463"/>
                </a:cubicBezTo>
                <a:cubicBezTo>
                  <a:pt x="366" y="462"/>
                  <a:pt x="366" y="462"/>
                  <a:pt x="366" y="462"/>
                </a:cubicBezTo>
                <a:cubicBezTo>
                  <a:pt x="369" y="459"/>
                  <a:pt x="369" y="459"/>
                  <a:pt x="369" y="459"/>
                </a:cubicBezTo>
                <a:cubicBezTo>
                  <a:pt x="373" y="457"/>
                  <a:pt x="373" y="457"/>
                  <a:pt x="373" y="457"/>
                </a:cubicBezTo>
                <a:cubicBezTo>
                  <a:pt x="376" y="455"/>
                  <a:pt x="376" y="455"/>
                  <a:pt x="376" y="455"/>
                </a:cubicBezTo>
                <a:cubicBezTo>
                  <a:pt x="378" y="454"/>
                  <a:pt x="378" y="454"/>
                  <a:pt x="378" y="454"/>
                </a:cubicBezTo>
                <a:cubicBezTo>
                  <a:pt x="379" y="454"/>
                  <a:pt x="379" y="454"/>
                  <a:pt x="379" y="454"/>
                </a:cubicBezTo>
                <a:cubicBezTo>
                  <a:pt x="383" y="453"/>
                  <a:pt x="383" y="453"/>
                  <a:pt x="383" y="453"/>
                </a:cubicBezTo>
                <a:cubicBezTo>
                  <a:pt x="386" y="452"/>
                  <a:pt x="386" y="452"/>
                  <a:pt x="386" y="452"/>
                </a:cubicBezTo>
                <a:cubicBezTo>
                  <a:pt x="388" y="452"/>
                  <a:pt x="388" y="452"/>
                  <a:pt x="388" y="452"/>
                </a:cubicBezTo>
                <a:cubicBezTo>
                  <a:pt x="389" y="451"/>
                  <a:pt x="389" y="451"/>
                  <a:pt x="389" y="451"/>
                </a:cubicBezTo>
                <a:cubicBezTo>
                  <a:pt x="393" y="451"/>
                  <a:pt x="393" y="451"/>
                  <a:pt x="393" y="451"/>
                </a:cubicBezTo>
                <a:cubicBezTo>
                  <a:pt x="396" y="452"/>
                  <a:pt x="396" y="452"/>
                  <a:pt x="396" y="452"/>
                </a:cubicBezTo>
                <a:cubicBezTo>
                  <a:pt x="398" y="453"/>
                  <a:pt x="398" y="453"/>
                  <a:pt x="398" y="453"/>
                </a:cubicBezTo>
                <a:cubicBezTo>
                  <a:pt x="398" y="454"/>
                  <a:pt x="398" y="454"/>
                  <a:pt x="398" y="454"/>
                </a:cubicBezTo>
                <a:cubicBezTo>
                  <a:pt x="396" y="454"/>
                  <a:pt x="396" y="454"/>
                  <a:pt x="396" y="454"/>
                </a:cubicBezTo>
                <a:cubicBezTo>
                  <a:pt x="396" y="454"/>
                  <a:pt x="396" y="454"/>
                  <a:pt x="396" y="454"/>
                </a:cubicBezTo>
                <a:cubicBezTo>
                  <a:pt x="396" y="454"/>
                  <a:pt x="396" y="454"/>
                  <a:pt x="396" y="454"/>
                </a:cubicBezTo>
                <a:cubicBezTo>
                  <a:pt x="397" y="454"/>
                  <a:pt x="397" y="454"/>
                  <a:pt x="397" y="454"/>
                </a:cubicBezTo>
                <a:cubicBezTo>
                  <a:pt x="398" y="455"/>
                  <a:pt x="398" y="455"/>
                  <a:pt x="398" y="455"/>
                </a:cubicBezTo>
                <a:cubicBezTo>
                  <a:pt x="399" y="455"/>
                  <a:pt x="399" y="455"/>
                  <a:pt x="399" y="455"/>
                </a:cubicBezTo>
                <a:cubicBezTo>
                  <a:pt x="398" y="456"/>
                  <a:pt x="398" y="456"/>
                  <a:pt x="398" y="456"/>
                </a:cubicBezTo>
                <a:cubicBezTo>
                  <a:pt x="399" y="456"/>
                  <a:pt x="399" y="456"/>
                  <a:pt x="399" y="456"/>
                </a:cubicBezTo>
                <a:cubicBezTo>
                  <a:pt x="398" y="458"/>
                  <a:pt x="398" y="458"/>
                  <a:pt x="398" y="458"/>
                </a:cubicBezTo>
                <a:cubicBezTo>
                  <a:pt x="396" y="459"/>
                  <a:pt x="396" y="459"/>
                  <a:pt x="396" y="459"/>
                </a:cubicBezTo>
                <a:cubicBezTo>
                  <a:pt x="395" y="460"/>
                  <a:pt x="395" y="460"/>
                  <a:pt x="395" y="460"/>
                </a:cubicBezTo>
                <a:cubicBezTo>
                  <a:pt x="394" y="460"/>
                  <a:pt x="394" y="460"/>
                  <a:pt x="394" y="460"/>
                </a:cubicBezTo>
                <a:cubicBezTo>
                  <a:pt x="393" y="461"/>
                  <a:pt x="393" y="461"/>
                  <a:pt x="393" y="461"/>
                </a:cubicBezTo>
                <a:cubicBezTo>
                  <a:pt x="391" y="461"/>
                  <a:pt x="391" y="461"/>
                  <a:pt x="391" y="461"/>
                </a:cubicBezTo>
                <a:cubicBezTo>
                  <a:pt x="390" y="460"/>
                  <a:pt x="390" y="460"/>
                  <a:pt x="390" y="460"/>
                </a:cubicBezTo>
                <a:cubicBezTo>
                  <a:pt x="389" y="460"/>
                  <a:pt x="389" y="460"/>
                  <a:pt x="389" y="460"/>
                </a:cubicBezTo>
                <a:cubicBezTo>
                  <a:pt x="388" y="460"/>
                  <a:pt x="388" y="460"/>
                  <a:pt x="388" y="460"/>
                </a:cubicBezTo>
                <a:cubicBezTo>
                  <a:pt x="386" y="461"/>
                  <a:pt x="386" y="461"/>
                  <a:pt x="386" y="461"/>
                </a:cubicBezTo>
                <a:cubicBezTo>
                  <a:pt x="385" y="460"/>
                  <a:pt x="385" y="460"/>
                  <a:pt x="385" y="460"/>
                </a:cubicBezTo>
                <a:cubicBezTo>
                  <a:pt x="383" y="461"/>
                  <a:pt x="383" y="461"/>
                  <a:pt x="383" y="461"/>
                </a:cubicBezTo>
                <a:cubicBezTo>
                  <a:pt x="385" y="461"/>
                  <a:pt x="385" y="461"/>
                  <a:pt x="385" y="461"/>
                </a:cubicBezTo>
                <a:cubicBezTo>
                  <a:pt x="387" y="461"/>
                  <a:pt x="387" y="461"/>
                  <a:pt x="387" y="461"/>
                </a:cubicBezTo>
                <a:cubicBezTo>
                  <a:pt x="389" y="462"/>
                  <a:pt x="389" y="462"/>
                  <a:pt x="389" y="462"/>
                </a:cubicBezTo>
                <a:cubicBezTo>
                  <a:pt x="390" y="463"/>
                  <a:pt x="390" y="463"/>
                  <a:pt x="390" y="463"/>
                </a:cubicBezTo>
                <a:cubicBezTo>
                  <a:pt x="390" y="464"/>
                  <a:pt x="390" y="464"/>
                  <a:pt x="390" y="464"/>
                </a:cubicBezTo>
                <a:cubicBezTo>
                  <a:pt x="392" y="463"/>
                  <a:pt x="392" y="463"/>
                  <a:pt x="392" y="463"/>
                </a:cubicBezTo>
                <a:cubicBezTo>
                  <a:pt x="393" y="462"/>
                  <a:pt x="393" y="462"/>
                  <a:pt x="393" y="462"/>
                </a:cubicBezTo>
                <a:cubicBezTo>
                  <a:pt x="394" y="462"/>
                  <a:pt x="394" y="462"/>
                  <a:pt x="394" y="462"/>
                </a:cubicBezTo>
                <a:cubicBezTo>
                  <a:pt x="394" y="463"/>
                  <a:pt x="394" y="463"/>
                  <a:pt x="394" y="463"/>
                </a:cubicBezTo>
                <a:cubicBezTo>
                  <a:pt x="395" y="463"/>
                  <a:pt x="395" y="463"/>
                  <a:pt x="395" y="463"/>
                </a:cubicBezTo>
                <a:cubicBezTo>
                  <a:pt x="396" y="463"/>
                  <a:pt x="396" y="463"/>
                  <a:pt x="396" y="463"/>
                </a:cubicBezTo>
                <a:cubicBezTo>
                  <a:pt x="394" y="464"/>
                  <a:pt x="394" y="464"/>
                  <a:pt x="394" y="464"/>
                </a:cubicBezTo>
                <a:cubicBezTo>
                  <a:pt x="393" y="468"/>
                  <a:pt x="393" y="468"/>
                  <a:pt x="393" y="468"/>
                </a:cubicBezTo>
                <a:cubicBezTo>
                  <a:pt x="392" y="468"/>
                  <a:pt x="392" y="468"/>
                  <a:pt x="392" y="468"/>
                </a:cubicBezTo>
                <a:cubicBezTo>
                  <a:pt x="391" y="469"/>
                  <a:pt x="391" y="469"/>
                  <a:pt x="391" y="469"/>
                </a:cubicBezTo>
                <a:cubicBezTo>
                  <a:pt x="394" y="469"/>
                  <a:pt x="394" y="469"/>
                  <a:pt x="394" y="469"/>
                </a:cubicBezTo>
                <a:cubicBezTo>
                  <a:pt x="394" y="469"/>
                  <a:pt x="394" y="469"/>
                  <a:pt x="394" y="469"/>
                </a:cubicBezTo>
                <a:cubicBezTo>
                  <a:pt x="393" y="470"/>
                  <a:pt x="393" y="470"/>
                  <a:pt x="393" y="470"/>
                </a:cubicBezTo>
                <a:cubicBezTo>
                  <a:pt x="394" y="471"/>
                  <a:pt x="394" y="471"/>
                  <a:pt x="394" y="471"/>
                </a:cubicBezTo>
                <a:cubicBezTo>
                  <a:pt x="394" y="472"/>
                  <a:pt x="394" y="472"/>
                  <a:pt x="394" y="472"/>
                </a:cubicBezTo>
                <a:cubicBezTo>
                  <a:pt x="394" y="474"/>
                  <a:pt x="394" y="474"/>
                  <a:pt x="394" y="474"/>
                </a:cubicBezTo>
                <a:cubicBezTo>
                  <a:pt x="394" y="474"/>
                  <a:pt x="394" y="474"/>
                  <a:pt x="394" y="474"/>
                </a:cubicBezTo>
                <a:cubicBezTo>
                  <a:pt x="395" y="476"/>
                  <a:pt x="395" y="476"/>
                  <a:pt x="395" y="476"/>
                </a:cubicBezTo>
                <a:cubicBezTo>
                  <a:pt x="396" y="476"/>
                  <a:pt x="396" y="476"/>
                  <a:pt x="396" y="476"/>
                </a:cubicBezTo>
                <a:cubicBezTo>
                  <a:pt x="397" y="477"/>
                  <a:pt x="397" y="477"/>
                  <a:pt x="397" y="477"/>
                </a:cubicBezTo>
                <a:cubicBezTo>
                  <a:pt x="399" y="477"/>
                  <a:pt x="399" y="477"/>
                  <a:pt x="399" y="477"/>
                </a:cubicBezTo>
                <a:cubicBezTo>
                  <a:pt x="398" y="478"/>
                  <a:pt x="398" y="478"/>
                  <a:pt x="398" y="478"/>
                </a:cubicBezTo>
                <a:cubicBezTo>
                  <a:pt x="397" y="478"/>
                  <a:pt x="397" y="478"/>
                  <a:pt x="397" y="478"/>
                </a:cubicBezTo>
                <a:cubicBezTo>
                  <a:pt x="399" y="479"/>
                  <a:pt x="399" y="479"/>
                  <a:pt x="399" y="479"/>
                </a:cubicBezTo>
                <a:cubicBezTo>
                  <a:pt x="401" y="479"/>
                  <a:pt x="401" y="479"/>
                  <a:pt x="401" y="479"/>
                </a:cubicBezTo>
                <a:cubicBezTo>
                  <a:pt x="402" y="480"/>
                  <a:pt x="402" y="480"/>
                  <a:pt x="402" y="480"/>
                </a:cubicBezTo>
                <a:cubicBezTo>
                  <a:pt x="402" y="479"/>
                  <a:pt x="402" y="479"/>
                  <a:pt x="402" y="479"/>
                </a:cubicBezTo>
                <a:cubicBezTo>
                  <a:pt x="404" y="480"/>
                  <a:pt x="404" y="480"/>
                  <a:pt x="404" y="480"/>
                </a:cubicBezTo>
                <a:cubicBezTo>
                  <a:pt x="404" y="481"/>
                  <a:pt x="404" y="481"/>
                  <a:pt x="404" y="481"/>
                </a:cubicBezTo>
                <a:cubicBezTo>
                  <a:pt x="406" y="481"/>
                  <a:pt x="406" y="481"/>
                  <a:pt x="406" y="481"/>
                </a:cubicBezTo>
                <a:cubicBezTo>
                  <a:pt x="407" y="480"/>
                  <a:pt x="407" y="480"/>
                  <a:pt x="407" y="480"/>
                </a:cubicBezTo>
                <a:cubicBezTo>
                  <a:pt x="409" y="479"/>
                  <a:pt x="409" y="479"/>
                  <a:pt x="409" y="479"/>
                </a:cubicBezTo>
                <a:cubicBezTo>
                  <a:pt x="409" y="480"/>
                  <a:pt x="409" y="480"/>
                  <a:pt x="409" y="480"/>
                </a:cubicBezTo>
                <a:cubicBezTo>
                  <a:pt x="408" y="481"/>
                  <a:pt x="408" y="481"/>
                  <a:pt x="408" y="481"/>
                </a:cubicBezTo>
                <a:cubicBezTo>
                  <a:pt x="410" y="481"/>
                  <a:pt x="410" y="481"/>
                  <a:pt x="410" y="481"/>
                </a:cubicBezTo>
                <a:cubicBezTo>
                  <a:pt x="412" y="482"/>
                  <a:pt x="412" y="482"/>
                  <a:pt x="412" y="482"/>
                </a:cubicBezTo>
                <a:cubicBezTo>
                  <a:pt x="412" y="483"/>
                  <a:pt x="412" y="483"/>
                  <a:pt x="412" y="483"/>
                </a:cubicBezTo>
                <a:cubicBezTo>
                  <a:pt x="411" y="483"/>
                  <a:pt x="411" y="483"/>
                  <a:pt x="411" y="483"/>
                </a:cubicBezTo>
                <a:cubicBezTo>
                  <a:pt x="411" y="483"/>
                  <a:pt x="411" y="483"/>
                  <a:pt x="411" y="483"/>
                </a:cubicBezTo>
                <a:cubicBezTo>
                  <a:pt x="412" y="484"/>
                  <a:pt x="412" y="484"/>
                  <a:pt x="412" y="484"/>
                </a:cubicBezTo>
                <a:cubicBezTo>
                  <a:pt x="413" y="484"/>
                  <a:pt x="413" y="484"/>
                  <a:pt x="413" y="484"/>
                </a:cubicBezTo>
                <a:cubicBezTo>
                  <a:pt x="414" y="484"/>
                  <a:pt x="414" y="484"/>
                  <a:pt x="414" y="484"/>
                </a:cubicBezTo>
                <a:cubicBezTo>
                  <a:pt x="413" y="485"/>
                  <a:pt x="413" y="485"/>
                  <a:pt x="413" y="485"/>
                </a:cubicBezTo>
                <a:cubicBezTo>
                  <a:pt x="412" y="484"/>
                  <a:pt x="412" y="484"/>
                  <a:pt x="412" y="484"/>
                </a:cubicBezTo>
                <a:cubicBezTo>
                  <a:pt x="411" y="485"/>
                  <a:pt x="411" y="485"/>
                  <a:pt x="411" y="485"/>
                </a:cubicBezTo>
                <a:cubicBezTo>
                  <a:pt x="409" y="485"/>
                  <a:pt x="409" y="485"/>
                  <a:pt x="409" y="485"/>
                </a:cubicBezTo>
                <a:cubicBezTo>
                  <a:pt x="406" y="487"/>
                  <a:pt x="406" y="487"/>
                  <a:pt x="406" y="487"/>
                </a:cubicBezTo>
                <a:cubicBezTo>
                  <a:pt x="405" y="487"/>
                  <a:pt x="405" y="487"/>
                  <a:pt x="405" y="487"/>
                </a:cubicBezTo>
                <a:cubicBezTo>
                  <a:pt x="403" y="487"/>
                  <a:pt x="403" y="487"/>
                  <a:pt x="403" y="487"/>
                </a:cubicBezTo>
                <a:cubicBezTo>
                  <a:pt x="401" y="488"/>
                  <a:pt x="401" y="488"/>
                  <a:pt x="401" y="488"/>
                </a:cubicBezTo>
                <a:cubicBezTo>
                  <a:pt x="399" y="489"/>
                  <a:pt x="399" y="489"/>
                  <a:pt x="399" y="489"/>
                </a:cubicBezTo>
                <a:cubicBezTo>
                  <a:pt x="398" y="489"/>
                  <a:pt x="398" y="489"/>
                  <a:pt x="398" y="489"/>
                </a:cubicBezTo>
                <a:cubicBezTo>
                  <a:pt x="398" y="489"/>
                  <a:pt x="398" y="489"/>
                  <a:pt x="398" y="489"/>
                </a:cubicBezTo>
                <a:cubicBezTo>
                  <a:pt x="396" y="489"/>
                  <a:pt x="396" y="489"/>
                  <a:pt x="396" y="489"/>
                </a:cubicBezTo>
                <a:cubicBezTo>
                  <a:pt x="396" y="488"/>
                  <a:pt x="396" y="488"/>
                  <a:pt x="396" y="488"/>
                </a:cubicBezTo>
                <a:cubicBezTo>
                  <a:pt x="395" y="488"/>
                  <a:pt x="395" y="488"/>
                  <a:pt x="395" y="488"/>
                </a:cubicBezTo>
                <a:cubicBezTo>
                  <a:pt x="395" y="489"/>
                  <a:pt x="395" y="489"/>
                  <a:pt x="395" y="489"/>
                </a:cubicBezTo>
                <a:cubicBezTo>
                  <a:pt x="394" y="488"/>
                  <a:pt x="394" y="488"/>
                  <a:pt x="394" y="488"/>
                </a:cubicBezTo>
                <a:cubicBezTo>
                  <a:pt x="393" y="490"/>
                  <a:pt x="393" y="490"/>
                  <a:pt x="393" y="490"/>
                </a:cubicBezTo>
                <a:cubicBezTo>
                  <a:pt x="394" y="491"/>
                  <a:pt x="394" y="491"/>
                  <a:pt x="394" y="491"/>
                </a:cubicBezTo>
                <a:cubicBezTo>
                  <a:pt x="392" y="492"/>
                  <a:pt x="392" y="492"/>
                  <a:pt x="392" y="492"/>
                </a:cubicBezTo>
                <a:cubicBezTo>
                  <a:pt x="390" y="494"/>
                  <a:pt x="390" y="494"/>
                  <a:pt x="390" y="494"/>
                </a:cubicBezTo>
                <a:cubicBezTo>
                  <a:pt x="389" y="495"/>
                  <a:pt x="389" y="495"/>
                  <a:pt x="389" y="495"/>
                </a:cubicBezTo>
                <a:cubicBezTo>
                  <a:pt x="387" y="496"/>
                  <a:pt x="387" y="496"/>
                  <a:pt x="387" y="496"/>
                </a:cubicBezTo>
                <a:cubicBezTo>
                  <a:pt x="387" y="496"/>
                  <a:pt x="387" y="496"/>
                  <a:pt x="387" y="496"/>
                </a:cubicBezTo>
                <a:cubicBezTo>
                  <a:pt x="386" y="496"/>
                  <a:pt x="386" y="496"/>
                  <a:pt x="386" y="496"/>
                </a:cubicBezTo>
                <a:cubicBezTo>
                  <a:pt x="386" y="497"/>
                  <a:pt x="386" y="497"/>
                  <a:pt x="386" y="497"/>
                </a:cubicBezTo>
                <a:cubicBezTo>
                  <a:pt x="386" y="497"/>
                  <a:pt x="386" y="497"/>
                  <a:pt x="386" y="497"/>
                </a:cubicBezTo>
                <a:cubicBezTo>
                  <a:pt x="385" y="497"/>
                  <a:pt x="385" y="497"/>
                  <a:pt x="385" y="497"/>
                </a:cubicBezTo>
                <a:cubicBezTo>
                  <a:pt x="384" y="497"/>
                  <a:pt x="384" y="497"/>
                  <a:pt x="384" y="497"/>
                </a:cubicBezTo>
                <a:cubicBezTo>
                  <a:pt x="383" y="497"/>
                  <a:pt x="383" y="497"/>
                  <a:pt x="383" y="497"/>
                </a:cubicBezTo>
                <a:cubicBezTo>
                  <a:pt x="383" y="495"/>
                  <a:pt x="383" y="495"/>
                  <a:pt x="383" y="495"/>
                </a:cubicBezTo>
                <a:cubicBezTo>
                  <a:pt x="382" y="495"/>
                  <a:pt x="382" y="495"/>
                  <a:pt x="382" y="495"/>
                </a:cubicBezTo>
                <a:cubicBezTo>
                  <a:pt x="382" y="495"/>
                  <a:pt x="382" y="495"/>
                  <a:pt x="382" y="495"/>
                </a:cubicBezTo>
                <a:cubicBezTo>
                  <a:pt x="382" y="494"/>
                  <a:pt x="382" y="494"/>
                  <a:pt x="382" y="494"/>
                </a:cubicBezTo>
                <a:cubicBezTo>
                  <a:pt x="381" y="493"/>
                  <a:pt x="381" y="493"/>
                  <a:pt x="381" y="493"/>
                </a:cubicBezTo>
                <a:cubicBezTo>
                  <a:pt x="381" y="491"/>
                  <a:pt x="381" y="491"/>
                  <a:pt x="381" y="491"/>
                </a:cubicBezTo>
                <a:cubicBezTo>
                  <a:pt x="382" y="489"/>
                  <a:pt x="382" y="489"/>
                  <a:pt x="382" y="489"/>
                </a:cubicBezTo>
                <a:cubicBezTo>
                  <a:pt x="384" y="488"/>
                  <a:pt x="384" y="488"/>
                  <a:pt x="384" y="488"/>
                </a:cubicBezTo>
                <a:cubicBezTo>
                  <a:pt x="384" y="487"/>
                  <a:pt x="384" y="487"/>
                  <a:pt x="384" y="487"/>
                </a:cubicBezTo>
                <a:cubicBezTo>
                  <a:pt x="386" y="486"/>
                  <a:pt x="386" y="486"/>
                  <a:pt x="386" y="486"/>
                </a:cubicBezTo>
                <a:cubicBezTo>
                  <a:pt x="389" y="485"/>
                  <a:pt x="389" y="485"/>
                  <a:pt x="389" y="485"/>
                </a:cubicBezTo>
                <a:cubicBezTo>
                  <a:pt x="391" y="484"/>
                  <a:pt x="391" y="484"/>
                  <a:pt x="391" y="484"/>
                </a:cubicBezTo>
                <a:cubicBezTo>
                  <a:pt x="393" y="483"/>
                  <a:pt x="393" y="483"/>
                  <a:pt x="393" y="483"/>
                </a:cubicBezTo>
                <a:cubicBezTo>
                  <a:pt x="394" y="484"/>
                  <a:pt x="394" y="484"/>
                  <a:pt x="394" y="484"/>
                </a:cubicBezTo>
                <a:cubicBezTo>
                  <a:pt x="394" y="485"/>
                  <a:pt x="394" y="485"/>
                  <a:pt x="394" y="485"/>
                </a:cubicBezTo>
                <a:cubicBezTo>
                  <a:pt x="395" y="485"/>
                  <a:pt x="395" y="485"/>
                  <a:pt x="395" y="485"/>
                </a:cubicBezTo>
                <a:cubicBezTo>
                  <a:pt x="395" y="485"/>
                  <a:pt x="395" y="485"/>
                  <a:pt x="395" y="485"/>
                </a:cubicBezTo>
                <a:cubicBezTo>
                  <a:pt x="395" y="484"/>
                  <a:pt x="395" y="484"/>
                  <a:pt x="395" y="484"/>
                </a:cubicBezTo>
                <a:cubicBezTo>
                  <a:pt x="396" y="484"/>
                  <a:pt x="396" y="484"/>
                  <a:pt x="396" y="484"/>
                </a:cubicBezTo>
                <a:cubicBezTo>
                  <a:pt x="398" y="483"/>
                  <a:pt x="398" y="483"/>
                  <a:pt x="398" y="483"/>
                </a:cubicBezTo>
                <a:cubicBezTo>
                  <a:pt x="399" y="483"/>
                  <a:pt x="399" y="483"/>
                  <a:pt x="399" y="483"/>
                </a:cubicBezTo>
                <a:cubicBezTo>
                  <a:pt x="397" y="483"/>
                  <a:pt x="397" y="483"/>
                  <a:pt x="397" y="483"/>
                </a:cubicBezTo>
                <a:cubicBezTo>
                  <a:pt x="395" y="483"/>
                  <a:pt x="395" y="483"/>
                  <a:pt x="395" y="483"/>
                </a:cubicBezTo>
                <a:cubicBezTo>
                  <a:pt x="394" y="482"/>
                  <a:pt x="394" y="482"/>
                  <a:pt x="394" y="482"/>
                </a:cubicBezTo>
                <a:cubicBezTo>
                  <a:pt x="393" y="482"/>
                  <a:pt x="393" y="482"/>
                  <a:pt x="393" y="482"/>
                </a:cubicBezTo>
                <a:cubicBezTo>
                  <a:pt x="392" y="483"/>
                  <a:pt x="392" y="483"/>
                  <a:pt x="392" y="483"/>
                </a:cubicBezTo>
                <a:cubicBezTo>
                  <a:pt x="390" y="483"/>
                  <a:pt x="390" y="483"/>
                  <a:pt x="390" y="483"/>
                </a:cubicBezTo>
                <a:cubicBezTo>
                  <a:pt x="392" y="481"/>
                  <a:pt x="392" y="481"/>
                  <a:pt x="392" y="481"/>
                </a:cubicBezTo>
                <a:cubicBezTo>
                  <a:pt x="393" y="481"/>
                  <a:pt x="393" y="481"/>
                  <a:pt x="393" y="481"/>
                </a:cubicBezTo>
                <a:cubicBezTo>
                  <a:pt x="394" y="480"/>
                  <a:pt x="394" y="480"/>
                  <a:pt x="394" y="480"/>
                </a:cubicBezTo>
                <a:cubicBezTo>
                  <a:pt x="394" y="479"/>
                  <a:pt x="394" y="479"/>
                  <a:pt x="394" y="479"/>
                </a:cubicBezTo>
                <a:cubicBezTo>
                  <a:pt x="393" y="479"/>
                  <a:pt x="393" y="479"/>
                  <a:pt x="393" y="479"/>
                </a:cubicBezTo>
                <a:cubicBezTo>
                  <a:pt x="393" y="479"/>
                  <a:pt x="393" y="479"/>
                  <a:pt x="393" y="479"/>
                </a:cubicBezTo>
                <a:cubicBezTo>
                  <a:pt x="392" y="480"/>
                  <a:pt x="392" y="480"/>
                  <a:pt x="392" y="480"/>
                </a:cubicBezTo>
                <a:cubicBezTo>
                  <a:pt x="391" y="481"/>
                  <a:pt x="391" y="481"/>
                  <a:pt x="391" y="481"/>
                </a:cubicBezTo>
                <a:cubicBezTo>
                  <a:pt x="390" y="482"/>
                  <a:pt x="390" y="482"/>
                  <a:pt x="390" y="482"/>
                </a:cubicBezTo>
                <a:cubicBezTo>
                  <a:pt x="388" y="482"/>
                  <a:pt x="388" y="482"/>
                  <a:pt x="388" y="482"/>
                </a:cubicBezTo>
                <a:cubicBezTo>
                  <a:pt x="388" y="483"/>
                  <a:pt x="388" y="483"/>
                  <a:pt x="388" y="483"/>
                </a:cubicBezTo>
                <a:cubicBezTo>
                  <a:pt x="385" y="484"/>
                  <a:pt x="385" y="484"/>
                  <a:pt x="385" y="484"/>
                </a:cubicBezTo>
                <a:cubicBezTo>
                  <a:pt x="384" y="483"/>
                  <a:pt x="384" y="483"/>
                  <a:pt x="384" y="483"/>
                </a:cubicBezTo>
                <a:cubicBezTo>
                  <a:pt x="385" y="483"/>
                  <a:pt x="385" y="483"/>
                  <a:pt x="385" y="483"/>
                </a:cubicBezTo>
                <a:cubicBezTo>
                  <a:pt x="384" y="483"/>
                  <a:pt x="384" y="483"/>
                  <a:pt x="384" y="483"/>
                </a:cubicBezTo>
                <a:cubicBezTo>
                  <a:pt x="385" y="481"/>
                  <a:pt x="385" y="481"/>
                  <a:pt x="385" y="481"/>
                </a:cubicBezTo>
                <a:cubicBezTo>
                  <a:pt x="384" y="483"/>
                  <a:pt x="384" y="483"/>
                  <a:pt x="384" y="483"/>
                </a:cubicBezTo>
                <a:cubicBezTo>
                  <a:pt x="383" y="484"/>
                  <a:pt x="383" y="484"/>
                  <a:pt x="383" y="484"/>
                </a:cubicBezTo>
                <a:cubicBezTo>
                  <a:pt x="382" y="484"/>
                  <a:pt x="382" y="484"/>
                  <a:pt x="382" y="484"/>
                </a:cubicBezTo>
                <a:cubicBezTo>
                  <a:pt x="381" y="484"/>
                  <a:pt x="381" y="484"/>
                  <a:pt x="381" y="484"/>
                </a:cubicBezTo>
                <a:cubicBezTo>
                  <a:pt x="380" y="485"/>
                  <a:pt x="380" y="485"/>
                  <a:pt x="380" y="485"/>
                </a:cubicBezTo>
                <a:cubicBezTo>
                  <a:pt x="379" y="484"/>
                  <a:pt x="379" y="484"/>
                  <a:pt x="379" y="484"/>
                </a:cubicBezTo>
                <a:cubicBezTo>
                  <a:pt x="379" y="483"/>
                  <a:pt x="379" y="483"/>
                  <a:pt x="379" y="483"/>
                </a:cubicBezTo>
                <a:cubicBezTo>
                  <a:pt x="378" y="484"/>
                  <a:pt x="378" y="484"/>
                  <a:pt x="378" y="484"/>
                </a:cubicBezTo>
                <a:cubicBezTo>
                  <a:pt x="376" y="483"/>
                  <a:pt x="376" y="483"/>
                  <a:pt x="376" y="483"/>
                </a:cubicBezTo>
                <a:cubicBezTo>
                  <a:pt x="376" y="483"/>
                  <a:pt x="376" y="483"/>
                  <a:pt x="376" y="483"/>
                </a:cubicBezTo>
                <a:cubicBezTo>
                  <a:pt x="375" y="483"/>
                  <a:pt x="375" y="483"/>
                  <a:pt x="375" y="483"/>
                </a:cubicBezTo>
                <a:cubicBezTo>
                  <a:pt x="376" y="482"/>
                  <a:pt x="376" y="482"/>
                  <a:pt x="376" y="482"/>
                </a:cubicBezTo>
                <a:cubicBezTo>
                  <a:pt x="376" y="482"/>
                  <a:pt x="376" y="482"/>
                  <a:pt x="376" y="482"/>
                </a:cubicBezTo>
                <a:cubicBezTo>
                  <a:pt x="376" y="481"/>
                  <a:pt x="376" y="481"/>
                  <a:pt x="376" y="481"/>
                </a:cubicBezTo>
                <a:cubicBezTo>
                  <a:pt x="376" y="480"/>
                  <a:pt x="376" y="480"/>
                  <a:pt x="376" y="480"/>
                </a:cubicBezTo>
                <a:cubicBezTo>
                  <a:pt x="375" y="479"/>
                  <a:pt x="375" y="479"/>
                  <a:pt x="375" y="479"/>
                </a:cubicBezTo>
                <a:cubicBezTo>
                  <a:pt x="375" y="479"/>
                  <a:pt x="375" y="479"/>
                  <a:pt x="375" y="479"/>
                </a:cubicBezTo>
                <a:cubicBezTo>
                  <a:pt x="374" y="478"/>
                  <a:pt x="374" y="478"/>
                  <a:pt x="374" y="478"/>
                </a:cubicBezTo>
                <a:cubicBezTo>
                  <a:pt x="375" y="478"/>
                  <a:pt x="375" y="478"/>
                  <a:pt x="375" y="478"/>
                </a:cubicBezTo>
                <a:cubicBezTo>
                  <a:pt x="376" y="470"/>
                  <a:pt x="376" y="470"/>
                  <a:pt x="376" y="470"/>
                </a:cubicBezTo>
                <a:cubicBezTo>
                  <a:pt x="376" y="468"/>
                  <a:pt x="376" y="468"/>
                  <a:pt x="376" y="468"/>
                </a:cubicBezTo>
                <a:cubicBezTo>
                  <a:pt x="373" y="465"/>
                  <a:pt x="373" y="465"/>
                  <a:pt x="373" y="465"/>
                </a:cubicBezTo>
                <a:cubicBezTo>
                  <a:pt x="373" y="466"/>
                  <a:pt x="373" y="466"/>
                  <a:pt x="373" y="466"/>
                </a:cubicBezTo>
                <a:cubicBezTo>
                  <a:pt x="371" y="465"/>
                  <a:pt x="371" y="465"/>
                  <a:pt x="371" y="465"/>
                </a:cubicBezTo>
                <a:cubicBezTo>
                  <a:pt x="370" y="466"/>
                  <a:pt x="370" y="466"/>
                  <a:pt x="370" y="466"/>
                </a:cubicBezTo>
                <a:cubicBezTo>
                  <a:pt x="369" y="465"/>
                  <a:pt x="369" y="465"/>
                  <a:pt x="369" y="465"/>
                </a:cubicBezTo>
                <a:cubicBezTo>
                  <a:pt x="368" y="464"/>
                  <a:pt x="368" y="464"/>
                  <a:pt x="368" y="464"/>
                </a:cubicBezTo>
                <a:cubicBezTo>
                  <a:pt x="368" y="464"/>
                  <a:pt x="368" y="464"/>
                  <a:pt x="368" y="464"/>
                </a:cubicBezTo>
                <a:cubicBezTo>
                  <a:pt x="367" y="465"/>
                  <a:pt x="367" y="465"/>
                  <a:pt x="367" y="465"/>
                </a:cubicBezTo>
                <a:cubicBezTo>
                  <a:pt x="366" y="466"/>
                  <a:pt x="366" y="466"/>
                  <a:pt x="366" y="466"/>
                </a:cubicBezTo>
                <a:cubicBezTo>
                  <a:pt x="364" y="469"/>
                  <a:pt x="364" y="469"/>
                  <a:pt x="364" y="469"/>
                </a:cubicBezTo>
                <a:cubicBezTo>
                  <a:pt x="363" y="470"/>
                  <a:pt x="363" y="470"/>
                  <a:pt x="363" y="470"/>
                </a:cubicBezTo>
                <a:cubicBezTo>
                  <a:pt x="363" y="471"/>
                  <a:pt x="363" y="471"/>
                  <a:pt x="363" y="471"/>
                </a:cubicBezTo>
                <a:cubicBezTo>
                  <a:pt x="362" y="472"/>
                  <a:pt x="362" y="472"/>
                  <a:pt x="362" y="472"/>
                </a:cubicBezTo>
                <a:cubicBezTo>
                  <a:pt x="361" y="474"/>
                  <a:pt x="361" y="474"/>
                  <a:pt x="361" y="474"/>
                </a:cubicBezTo>
                <a:cubicBezTo>
                  <a:pt x="361" y="475"/>
                  <a:pt x="361" y="475"/>
                  <a:pt x="361" y="475"/>
                </a:cubicBezTo>
                <a:cubicBezTo>
                  <a:pt x="359" y="477"/>
                  <a:pt x="359" y="477"/>
                  <a:pt x="359" y="477"/>
                </a:cubicBezTo>
                <a:cubicBezTo>
                  <a:pt x="358" y="477"/>
                  <a:pt x="358" y="477"/>
                  <a:pt x="358" y="477"/>
                </a:cubicBezTo>
                <a:cubicBezTo>
                  <a:pt x="356" y="480"/>
                  <a:pt x="356" y="480"/>
                  <a:pt x="356" y="480"/>
                </a:cubicBezTo>
                <a:cubicBezTo>
                  <a:pt x="356" y="480"/>
                  <a:pt x="356" y="480"/>
                  <a:pt x="356" y="480"/>
                </a:cubicBezTo>
                <a:cubicBezTo>
                  <a:pt x="355" y="481"/>
                  <a:pt x="355" y="481"/>
                  <a:pt x="355" y="481"/>
                </a:cubicBezTo>
                <a:cubicBezTo>
                  <a:pt x="354" y="481"/>
                  <a:pt x="354" y="481"/>
                  <a:pt x="354" y="481"/>
                </a:cubicBezTo>
                <a:cubicBezTo>
                  <a:pt x="353" y="481"/>
                  <a:pt x="353" y="481"/>
                  <a:pt x="353" y="481"/>
                </a:cubicBezTo>
                <a:cubicBezTo>
                  <a:pt x="353" y="481"/>
                  <a:pt x="353" y="481"/>
                  <a:pt x="353" y="481"/>
                </a:cubicBezTo>
                <a:cubicBezTo>
                  <a:pt x="352" y="481"/>
                  <a:pt x="352" y="481"/>
                  <a:pt x="352" y="481"/>
                </a:cubicBezTo>
                <a:cubicBezTo>
                  <a:pt x="351" y="483"/>
                  <a:pt x="351" y="483"/>
                  <a:pt x="351" y="483"/>
                </a:cubicBezTo>
                <a:cubicBezTo>
                  <a:pt x="333" y="482"/>
                  <a:pt x="333" y="482"/>
                  <a:pt x="333" y="482"/>
                </a:cubicBezTo>
                <a:cubicBezTo>
                  <a:pt x="330" y="483"/>
                  <a:pt x="330" y="483"/>
                  <a:pt x="330" y="483"/>
                </a:cubicBezTo>
                <a:cubicBezTo>
                  <a:pt x="329" y="484"/>
                  <a:pt x="329" y="484"/>
                  <a:pt x="329" y="484"/>
                </a:cubicBezTo>
                <a:cubicBezTo>
                  <a:pt x="328" y="484"/>
                  <a:pt x="328" y="484"/>
                  <a:pt x="328" y="484"/>
                </a:cubicBezTo>
                <a:cubicBezTo>
                  <a:pt x="326" y="485"/>
                  <a:pt x="326" y="485"/>
                  <a:pt x="326" y="485"/>
                </a:cubicBezTo>
                <a:cubicBezTo>
                  <a:pt x="324" y="488"/>
                  <a:pt x="324" y="488"/>
                  <a:pt x="324" y="488"/>
                </a:cubicBezTo>
                <a:cubicBezTo>
                  <a:pt x="322" y="488"/>
                  <a:pt x="322" y="488"/>
                  <a:pt x="322" y="488"/>
                </a:cubicBezTo>
                <a:cubicBezTo>
                  <a:pt x="321" y="489"/>
                  <a:pt x="321" y="489"/>
                  <a:pt x="321" y="489"/>
                </a:cubicBezTo>
                <a:cubicBezTo>
                  <a:pt x="316" y="493"/>
                  <a:pt x="316" y="493"/>
                  <a:pt x="316" y="493"/>
                </a:cubicBezTo>
                <a:cubicBezTo>
                  <a:pt x="304" y="497"/>
                  <a:pt x="304" y="497"/>
                  <a:pt x="304" y="497"/>
                </a:cubicBezTo>
                <a:cubicBezTo>
                  <a:pt x="303" y="500"/>
                  <a:pt x="303" y="500"/>
                  <a:pt x="303" y="500"/>
                </a:cubicBezTo>
                <a:cubicBezTo>
                  <a:pt x="300" y="501"/>
                  <a:pt x="300" y="501"/>
                  <a:pt x="300" y="501"/>
                </a:cubicBezTo>
                <a:cubicBezTo>
                  <a:pt x="279" y="506"/>
                  <a:pt x="279" y="506"/>
                  <a:pt x="279" y="506"/>
                </a:cubicBezTo>
                <a:cubicBezTo>
                  <a:pt x="278" y="504"/>
                  <a:pt x="278" y="504"/>
                  <a:pt x="278" y="504"/>
                </a:cubicBezTo>
                <a:cubicBezTo>
                  <a:pt x="279" y="503"/>
                  <a:pt x="279" y="503"/>
                  <a:pt x="279" y="503"/>
                </a:cubicBezTo>
                <a:cubicBezTo>
                  <a:pt x="281" y="502"/>
                  <a:pt x="281" y="502"/>
                  <a:pt x="281" y="502"/>
                </a:cubicBezTo>
                <a:cubicBezTo>
                  <a:pt x="282" y="500"/>
                  <a:pt x="282" y="500"/>
                  <a:pt x="282" y="500"/>
                </a:cubicBezTo>
                <a:cubicBezTo>
                  <a:pt x="283" y="499"/>
                  <a:pt x="283" y="499"/>
                  <a:pt x="283" y="499"/>
                </a:cubicBezTo>
                <a:cubicBezTo>
                  <a:pt x="284" y="498"/>
                  <a:pt x="284" y="498"/>
                  <a:pt x="284" y="498"/>
                </a:cubicBezTo>
                <a:cubicBezTo>
                  <a:pt x="284" y="489"/>
                  <a:pt x="284" y="489"/>
                  <a:pt x="284" y="489"/>
                </a:cubicBezTo>
                <a:cubicBezTo>
                  <a:pt x="280" y="470"/>
                  <a:pt x="280" y="470"/>
                  <a:pt x="280" y="470"/>
                </a:cubicBezTo>
                <a:cubicBezTo>
                  <a:pt x="276" y="467"/>
                  <a:pt x="276" y="467"/>
                  <a:pt x="276" y="467"/>
                </a:cubicBezTo>
                <a:cubicBezTo>
                  <a:pt x="275" y="465"/>
                  <a:pt x="275" y="465"/>
                  <a:pt x="275" y="465"/>
                </a:cubicBezTo>
                <a:cubicBezTo>
                  <a:pt x="250" y="453"/>
                  <a:pt x="250" y="453"/>
                  <a:pt x="250" y="453"/>
                </a:cubicBezTo>
                <a:cubicBezTo>
                  <a:pt x="249" y="452"/>
                  <a:pt x="249" y="452"/>
                  <a:pt x="249" y="452"/>
                </a:cubicBezTo>
                <a:cubicBezTo>
                  <a:pt x="247" y="452"/>
                  <a:pt x="247" y="452"/>
                  <a:pt x="247" y="452"/>
                </a:cubicBezTo>
                <a:cubicBezTo>
                  <a:pt x="247" y="451"/>
                  <a:pt x="247" y="451"/>
                  <a:pt x="247" y="451"/>
                </a:cubicBezTo>
                <a:cubicBezTo>
                  <a:pt x="244" y="451"/>
                  <a:pt x="244" y="451"/>
                  <a:pt x="244" y="451"/>
                </a:cubicBezTo>
                <a:cubicBezTo>
                  <a:pt x="243" y="450"/>
                  <a:pt x="243" y="450"/>
                  <a:pt x="243" y="450"/>
                </a:cubicBezTo>
                <a:cubicBezTo>
                  <a:pt x="242" y="450"/>
                  <a:pt x="242" y="450"/>
                  <a:pt x="242" y="450"/>
                </a:cubicBezTo>
                <a:cubicBezTo>
                  <a:pt x="241" y="450"/>
                  <a:pt x="241" y="450"/>
                  <a:pt x="241" y="450"/>
                </a:cubicBezTo>
                <a:cubicBezTo>
                  <a:pt x="239" y="450"/>
                  <a:pt x="239" y="450"/>
                  <a:pt x="239" y="450"/>
                </a:cubicBezTo>
                <a:cubicBezTo>
                  <a:pt x="238" y="450"/>
                  <a:pt x="238" y="450"/>
                  <a:pt x="238" y="450"/>
                </a:cubicBezTo>
                <a:cubicBezTo>
                  <a:pt x="238" y="449"/>
                  <a:pt x="238" y="449"/>
                  <a:pt x="238" y="449"/>
                </a:cubicBezTo>
                <a:cubicBezTo>
                  <a:pt x="236" y="449"/>
                  <a:pt x="236" y="449"/>
                  <a:pt x="236" y="449"/>
                </a:cubicBezTo>
                <a:cubicBezTo>
                  <a:pt x="234" y="448"/>
                  <a:pt x="234" y="448"/>
                  <a:pt x="234" y="448"/>
                </a:cubicBezTo>
                <a:cubicBezTo>
                  <a:pt x="234" y="446"/>
                  <a:pt x="234" y="446"/>
                  <a:pt x="234" y="446"/>
                </a:cubicBezTo>
                <a:cubicBezTo>
                  <a:pt x="233" y="446"/>
                  <a:pt x="233" y="446"/>
                  <a:pt x="233" y="446"/>
                </a:cubicBezTo>
                <a:cubicBezTo>
                  <a:pt x="231" y="445"/>
                  <a:pt x="231" y="445"/>
                  <a:pt x="231" y="445"/>
                </a:cubicBezTo>
                <a:cubicBezTo>
                  <a:pt x="230" y="445"/>
                  <a:pt x="230" y="445"/>
                  <a:pt x="230" y="445"/>
                </a:cubicBezTo>
                <a:cubicBezTo>
                  <a:pt x="229" y="445"/>
                  <a:pt x="229" y="445"/>
                  <a:pt x="229" y="445"/>
                </a:cubicBezTo>
                <a:cubicBezTo>
                  <a:pt x="228" y="445"/>
                  <a:pt x="228" y="445"/>
                  <a:pt x="228" y="445"/>
                </a:cubicBezTo>
                <a:cubicBezTo>
                  <a:pt x="227" y="446"/>
                  <a:pt x="227" y="446"/>
                  <a:pt x="227" y="446"/>
                </a:cubicBezTo>
                <a:cubicBezTo>
                  <a:pt x="227" y="445"/>
                  <a:pt x="227" y="445"/>
                  <a:pt x="227" y="445"/>
                </a:cubicBezTo>
                <a:cubicBezTo>
                  <a:pt x="225" y="444"/>
                  <a:pt x="225" y="444"/>
                  <a:pt x="225" y="444"/>
                </a:cubicBezTo>
                <a:cubicBezTo>
                  <a:pt x="225" y="444"/>
                  <a:pt x="225" y="444"/>
                  <a:pt x="225" y="444"/>
                </a:cubicBezTo>
                <a:cubicBezTo>
                  <a:pt x="224" y="444"/>
                  <a:pt x="224" y="444"/>
                  <a:pt x="224" y="444"/>
                </a:cubicBezTo>
                <a:cubicBezTo>
                  <a:pt x="224" y="443"/>
                  <a:pt x="224" y="443"/>
                  <a:pt x="224" y="443"/>
                </a:cubicBezTo>
                <a:cubicBezTo>
                  <a:pt x="223" y="443"/>
                  <a:pt x="223" y="443"/>
                  <a:pt x="223" y="443"/>
                </a:cubicBezTo>
                <a:cubicBezTo>
                  <a:pt x="223" y="442"/>
                  <a:pt x="223" y="442"/>
                  <a:pt x="223" y="442"/>
                </a:cubicBezTo>
                <a:cubicBezTo>
                  <a:pt x="221" y="441"/>
                  <a:pt x="221" y="441"/>
                  <a:pt x="221" y="441"/>
                </a:cubicBezTo>
                <a:cubicBezTo>
                  <a:pt x="220" y="441"/>
                  <a:pt x="220" y="441"/>
                  <a:pt x="220" y="441"/>
                </a:cubicBezTo>
                <a:cubicBezTo>
                  <a:pt x="219" y="441"/>
                  <a:pt x="219" y="441"/>
                  <a:pt x="219" y="441"/>
                </a:cubicBezTo>
                <a:lnTo>
                  <a:pt x="56" y="425"/>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2" name="Freeform 170">
            <a:extLst>
              <a:ext uri="{FF2B5EF4-FFF2-40B4-BE49-F238E27FC236}">
                <a16:creationId xmlns:a16="http://schemas.microsoft.com/office/drawing/2014/main" id="{626C8DC7-A7DB-26E2-5246-0096D74C27AA}"/>
              </a:ext>
            </a:extLst>
          </p:cNvPr>
          <p:cNvSpPr>
            <a:spLocks noEditPoints="1"/>
          </p:cNvSpPr>
          <p:nvPr userDrawn="1"/>
        </p:nvSpPr>
        <p:spPr bwMode="auto">
          <a:xfrm>
            <a:off x="2898581" y="2444035"/>
            <a:ext cx="3352582" cy="2562226"/>
          </a:xfrm>
          <a:custGeom>
            <a:avLst/>
            <a:gdLst>
              <a:gd name="T0" fmla="*/ 296 w 338"/>
              <a:gd name="T1" fmla="*/ 207 h 258"/>
              <a:gd name="T2" fmla="*/ 332 w 338"/>
              <a:gd name="T3" fmla="*/ 43 h 258"/>
              <a:gd name="T4" fmla="*/ 311 w 338"/>
              <a:gd name="T5" fmla="*/ 33 h 258"/>
              <a:gd name="T6" fmla="*/ 296 w 338"/>
              <a:gd name="T7" fmla="*/ 16 h 258"/>
              <a:gd name="T8" fmla="*/ 280 w 338"/>
              <a:gd name="T9" fmla="*/ 10 h 258"/>
              <a:gd name="T10" fmla="*/ 265 w 338"/>
              <a:gd name="T11" fmla="*/ 3 h 258"/>
              <a:gd name="T12" fmla="*/ 238 w 338"/>
              <a:gd name="T13" fmla="*/ 13 h 258"/>
              <a:gd name="T14" fmla="*/ 206 w 338"/>
              <a:gd name="T15" fmla="*/ 57 h 258"/>
              <a:gd name="T16" fmla="*/ 202 w 338"/>
              <a:gd name="T17" fmla="*/ 69 h 258"/>
              <a:gd name="T18" fmla="*/ 192 w 338"/>
              <a:gd name="T19" fmla="*/ 62 h 258"/>
              <a:gd name="T20" fmla="*/ 170 w 338"/>
              <a:gd name="T21" fmla="*/ 79 h 258"/>
              <a:gd name="T22" fmla="*/ 180 w 338"/>
              <a:gd name="T23" fmla="*/ 93 h 258"/>
              <a:gd name="T24" fmla="*/ 184 w 338"/>
              <a:gd name="T25" fmla="*/ 110 h 258"/>
              <a:gd name="T26" fmla="*/ 148 w 338"/>
              <a:gd name="T27" fmla="*/ 122 h 258"/>
              <a:gd name="T28" fmla="*/ 148 w 338"/>
              <a:gd name="T29" fmla="*/ 139 h 258"/>
              <a:gd name="T30" fmla="*/ 143 w 338"/>
              <a:gd name="T31" fmla="*/ 158 h 258"/>
              <a:gd name="T32" fmla="*/ 147 w 338"/>
              <a:gd name="T33" fmla="*/ 171 h 258"/>
              <a:gd name="T34" fmla="*/ 159 w 338"/>
              <a:gd name="T35" fmla="*/ 177 h 258"/>
              <a:gd name="T36" fmla="*/ 156 w 338"/>
              <a:gd name="T37" fmla="*/ 195 h 258"/>
              <a:gd name="T38" fmla="*/ 127 w 338"/>
              <a:gd name="T39" fmla="*/ 211 h 258"/>
              <a:gd name="T40" fmla="*/ 120 w 338"/>
              <a:gd name="T41" fmla="*/ 220 h 258"/>
              <a:gd name="T42" fmla="*/ 138 w 338"/>
              <a:gd name="T43" fmla="*/ 214 h 258"/>
              <a:gd name="T44" fmla="*/ 157 w 338"/>
              <a:gd name="T45" fmla="*/ 205 h 258"/>
              <a:gd name="T46" fmla="*/ 180 w 338"/>
              <a:gd name="T47" fmla="*/ 191 h 258"/>
              <a:gd name="T48" fmla="*/ 196 w 338"/>
              <a:gd name="T49" fmla="*/ 174 h 258"/>
              <a:gd name="T50" fmla="*/ 226 w 338"/>
              <a:gd name="T51" fmla="*/ 156 h 258"/>
              <a:gd name="T52" fmla="*/ 203 w 338"/>
              <a:gd name="T53" fmla="*/ 179 h 258"/>
              <a:gd name="T54" fmla="*/ 218 w 338"/>
              <a:gd name="T55" fmla="*/ 176 h 258"/>
              <a:gd name="T56" fmla="*/ 233 w 338"/>
              <a:gd name="T57" fmla="*/ 168 h 258"/>
              <a:gd name="T58" fmla="*/ 240 w 338"/>
              <a:gd name="T59" fmla="*/ 173 h 258"/>
              <a:gd name="T60" fmla="*/ 261 w 338"/>
              <a:gd name="T61" fmla="*/ 185 h 258"/>
              <a:gd name="T62" fmla="*/ 276 w 338"/>
              <a:gd name="T63" fmla="*/ 197 h 258"/>
              <a:gd name="T64" fmla="*/ 282 w 338"/>
              <a:gd name="T65" fmla="*/ 203 h 258"/>
              <a:gd name="T66" fmla="*/ 291 w 338"/>
              <a:gd name="T67" fmla="*/ 206 h 258"/>
              <a:gd name="T68" fmla="*/ 293 w 338"/>
              <a:gd name="T69" fmla="*/ 229 h 258"/>
              <a:gd name="T70" fmla="*/ 299 w 338"/>
              <a:gd name="T71" fmla="*/ 244 h 258"/>
              <a:gd name="T72" fmla="*/ 286 w 338"/>
              <a:gd name="T73" fmla="*/ 253 h 258"/>
              <a:gd name="T74" fmla="*/ 283 w 338"/>
              <a:gd name="T75" fmla="*/ 253 h 258"/>
              <a:gd name="T76" fmla="*/ 286 w 338"/>
              <a:gd name="T77" fmla="*/ 241 h 258"/>
              <a:gd name="T78" fmla="*/ 287 w 338"/>
              <a:gd name="T79" fmla="*/ 256 h 258"/>
              <a:gd name="T80" fmla="*/ 293 w 338"/>
              <a:gd name="T81" fmla="*/ 243 h 258"/>
              <a:gd name="T82" fmla="*/ 291 w 338"/>
              <a:gd name="T83" fmla="*/ 235 h 258"/>
              <a:gd name="T84" fmla="*/ 285 w 338"/>
              <a:gd name="T85" fmla="*/ 236 h 258"/>
              <a:gd name="T86" fmla="*/ 282 w 338"/>
              <a:gd name="T87" fmla="*/ 226 h 258"/>
              <a:gd name="T88" fmla="*/ 289 w 338"/>
              <a:gd name="T89" fmla="*/ 225 h 258"/>
              <a:gd name="T90" fmla="*/ 279 w 338"/>
              <a:gd name="T91" fmla="*/ 222 h 258"/>
              <a:gd name="T92" fmla="*/ 156 w 338"/>
              <a:gd name="T93" fmla="*/ 117 h 258"/>
              <a:gd name="T94" fmla="*/ 245 w 338"/>
              <a:gd name="T95" fmla="*/ 182 h 258"/>
              <a:gd name="T96" fmla="*/ 227 w 338"/>
              <a:gd name="T97" fmla="*/ 180 h 258"/>
              <a:gd name="T98" fmla="*/ 128 w 338"/>
              <a:gd name="T99" fmla="*/ 97 h 258"/>
              <a:gd name="T100" fmla="*/ 130 w 338"/>
              <a:gd name="T101" fmla="*/ 148 h 258"/>
              <a:gd name="T102" fmla="*/ 190 w 338"/>
              <a:gd name="T103" fmla="*/ 189 h 258"/>
              <a:gd name="T104" fmla="*/ 180 w 338"/>
              <a:gd name="T105" fmla="*/ 197 h 258"/>
              <a:gd name="T106" fmla="*/ 184 w 338"/>
              <a:gd name="T107" fmla="*/ 200 h 258"/>
              <a:gd name="T108" fmla="*/ 171 w 338"/>
              <a:gd name="T109" fmla="*/ 211 h 258"/>
              <a:gd name="T110" fmla="*/ 132 w 338"/>
              <a:gd name="T111" fmla="*/ 222 h 258"/>
              <a:gd name="T112" fmla="*/ 4 w 338"/>
              <a:gd name="T113" fmla="*/ 243 h 258"/>
              <a:gd name="T114" fmla="*/ 31 w 338"/>
              <a:gd name="T115" fmla="*/ 243 h 258"/>
              <a:gd name="T116" fmla="*/ 59 w 338"/>
              <a:gd name="T117" fmla="*/ 241 h 258"/>
              <a:gd name="T118" fmla="*/ 85 w 338"/>
              <a:gd name="T119" fmla="*/ 232 h 258"/>
              <a:gd name="T120" fmla="*/ 97 w 338"/>
              <a:gd name="T121" fmla="*/ 230 h 258"/>
              <a:gd name="T122" fmla="*/ 102 w 338"/>
              <a:gd name="T123" fmla="*/ 22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8" h="258">
                <a:moveTo>
                  <a:pt x="304" y="246"/>
                </a:moveTo>
                <a:cubicBezTo>
                  <a:pt x="304" y="246"/>
                  <a:pt x="304" y="246"/>
                  <a:pt x="304" y="246"/>
                </a:cubicBezTo>
                <a:cubicBezTo>
                  <a:pt x="304" y="245"/>
                  <a:pt x="304" y="245"/>
                  <a:pt x="304" y="245"/>
                </a:cubicBezTo>
                <a:cubicBezTo>
                  <a:pt x="305" y="245"/>
                  <a:pt x="305" y="245"/>
                  <a:pt x="305" y="245"/>
                </a:cubicBezTo>
                <a:cubicBezTo>
                  <a:pt x="305" y="244"/>
                  <a:pt x="305" y="244"/>
                  <a:pt x="305" y="244"/>
                </a:cubicBezTo>
                <a:cubicBezTo>
                  <a:pt x="305" y="244"/>
                  <a:pt x="305" y="244"/>
                  <a:pt x="305" y="244"/>
                </a:cubicBezTo>
                <a:cubicBezTo>
                  <a:pt x="305" y="243"/>
                  <a:pt x="305" y="243"/>
                  <a:pt x="305" y="243"/>
                </a:cubicBezTo>
                <a:cubicBezTo>
                  <a:pt x="304" y="243"/>
                  <a:pt x="304" y="243"/>
                  <a:pt x="304" y="243"/>
                </a:cubicBezTo>
                <a:cubicBezTo>
                  <a:pt x="304" y="241"/>
                  <a:pt x="304" y="241"/>
                  <a:pt x="304" y="241"/>
                </a:cubicBezTo>
                <a:cubicBezTo>
                  <a:pt x="303" y="240"/>
                  <a:pt x="303" y="240"/>
                  <a:pt x="303" y="240"/>
                </a:cubicBezTo>
                <a:cubicBezTo>
                  <a:pt x="302" y="239"/>
                  <a:pt x="302" y="239"/>
                  <a:pt x="302" y="239"/>
                </a:cubicBezTo>
                <a:cubicBezTo>
                  <a:pt x="301" y="239"/>
                  <a:pt x="301" y="239"/>
                  <a:pt x="301" y="239"/>
                </a:cubicBezTo>
                <a:cubicBezTo>
                  <a:pt x="301" y="238"/>
                  <a:pt x="301" y="238"/>
                  <a:pt x="301" y="238"/>
                </a:cubicBezTo>
                <a:cubicBezTo>
                  <a:pt x="300" y="236"/>
                  <a:pt x="300" y="236"/>
                  <a:pt x="300" y="236"/>
                </a:cubicBezTo>
                <a:cubicBezTo>
                  <a:pt x="299" y="236"/>
                  <a:pt x="299" y="236"/>
                  <a:pt x="299" y="236"/>
                </a:cubicBezTo>
                <a:cubicBezTo>
                  <a:pt x="298" y="236"/>
                  <a:pt x="298" y="236"/>
                  <a:pt x="298" y="236"/>
                </a:cubicBezTo>
                <a:cubicBezTo>
                  <a:pt x="298" y="235"/>
                  <a:pt x="298" y="235"/>
                  <a:pt x="298" y="235"/>
                </a:cubicBezTo>
                <a:cubicBezTo>
                  <a:pt x="298" y="235"/>
                  <a:pt x="298" y="235"/>
                  <a:pt x="298" y="235"/>
                </a:cubicBezTo>
                <a:cubicBezTo>
                  <a:pt x="298" y="234"/>
                  <a:pt x="298" y="234"/>
                  <a:pt x="298" y="234"/>
                </a:cubicBezTo>
                <a:cubicBezTo>
                  <a:pt x="298" y="233"/>
                  <a:pt x="298" y="233"/>
                  <a:pt x="298" y="233"/>
                </a:cubicBezTo>
                <a:cubicBezTo>
                  <a:pt x="297" y="233"/>
                  <a:pt x="297" y="233"/>
                  <a:pt x="297" y="233"/>
                </a:cubicBezTo>
                <a:cubicBezTo>
                  <a:pt x="298" y="232"/>
                  <a:pt x="298" y="232"/>
                  <a:pt x="298" y="232"/>
                </a:cubicBezTo>
                <a:cubicBezTo>
                  <a:pt x="298" y="232"/>
                  <a:pt x="298" y="232"/>
                  <a:pt x="298" y="232"/>
                </a:cubicBezTo>
                <a:cubicBezTo>
                  <a:pt x="298" y="231"/>
                  <a:pt x="298" y="231"/>
                  <a:pt x="298" y="231"/>
                </a:cubicBezTo>
                <a:cubicBezTo>
                  <a:pt x="297" y="231"/>
                  <a:pt x="297" y="231"/>
                  <a:pt x="297" y="231"/>
                </a:cubicBezTo>
                <a:cubicBezTo>
                  <a:pt x="297" y="231"/>
                  <a:pt x="297" y="231"/>
                  <a:pt x="297" y="231"/>
                </a:cubicBezTo>
                <a:cubicBezTo>
                  <a:pt x="297" y="230"/>
                  <a:pt x="297" y="230"/>
                  <a:pt x="297" y="230"/>
                </a:cubicBezTo>
                <a:cubicBezTo>
                  <a:pt x="298" y="229"/>
                  <a:pt x="298" y="229"/>
                  <a:pt x="298" y="229"/>
                </a:cubicBezTo>
                <a:cubicBezTo>
                  <a:pt x="298" y="225"/>
                  <a:pt x="298" y="225"/>
                  <a:pt x="298" y="225"/>
                </a:cubicBezTo>
                <a:cubicBezTo>
                  <a:pt x="298" y="220"/>
                  <a:pt x="298" y="220"/>
                  <a:pt x="298" y="220"/>
                </a:cubicBezTo>
                <a:cubicBezTo>
                  <a:pt x="298" y="217"/>
                  <a:pt x="298" y="217"/>
                  <a:pt x="298" y="217"/>
                </a:cubicBezTo>
                <a:cubicBezTo>
                  <a:pt x="298" y="216"/>
                  <a:pt x="298" y="216"/>
                  <a:pt x="298" y="216"/>
                </a:cubicBezTo>
                <a:cubicBezTo>
                  <a:pt x="298" y="215"/>
                  <a:pt x="298" y="215"/>
                  <a:pt x="298" y="215"/>
                </a:cubicBezTo>
                <a:cubicBezTo>
                  <a:pt x="298" y="213"/>
                  <a:pt x="298" y="213"/>
                  <a:pt x="298" y="213"/>
                </a:cubicBezTo>
                <a:cubicBezTo>
                  <a:pt x="298" y="212"/>
                  <a:pt x="298" y="212"/>
                  <a:pt x="298" y="212"/>
                </a:cubicBezTo>
                <a:cubicBezTo>
                  <a:pt x="297" y="211"/>
                  <a:pt x="297" y="211"/>
                  <a:pt x="297" y="211"/>
                </a:cubicBezTo>
                <a:cubicBezTo>
                  <a:pt x="297" y="209"/>
                  <a:pt x="297" y="209"/>
                  <a:pt x="297" y="209"/>
                </a:cubicBezTo>
                <a:cubicBezTo>
                  <a:pt x="296" y="207"/>
                  <a:pt x="296" y="207"/>
                  <a:pt x="296" y="207"/>
                </a:cubicBezTo>
                <a:cubicBezTo>
                  <a:pt x="295" y="205"/>
                  <a:pt x="295" y="205"/>
                  <a:pt x="295" y="205"/>
                </a:cubicBezTo>
                <a:cubicBezTo>
                  <a:pt x="296" y="204"/>
                  <a:pt x="296" y="204"/>
                  <a:pt x="296" y="204"/>
                </a:cubicBezTo>
                <a:cubicBezTo>
                  <a:pt x="294" y="200"/>
                  <a:pt x="294" y="200"/>
                  <a:pt x="294" y="200"/>
                </a:cubicBezTo>
                <a:cubicBezTo>
                  <a:pt x="295" y="200"/>
                  <a:pt x="295" y="200"/>
                  <a:pt x="295" y="200"/>
                </a:cubicBezTo>
                <a:cubicBezTo>
                  <a:pt x="296" y="198"/>
                  <a:pt x="296" y="198"/>
                  <a:pt x="296" y="198"/>
                </a:cubicBezTo>
                <a:cubicBezTo>
                  <a:pt x="295" y="197"/>
                  <a:pt x="295" y="197"/>
                  <a:pt x="295" y="197"/>
                </a:cubicBezTo>
                <a:cubicBezTo>
                  <a:pt x="295" y="196"/>
                  <a:pt x="295" y="196"/>
                  <a:pt x="295" y="196"/>
                </a:cubicBezTo>
                <a:cubicBezTo>
                  <a:pt x="294" y="195"/>
                  <a:pt x="294" y="195"/>
                  <a:pt x="294" y="195"/>
                </a:cubicBezTo>
                <a:cubicBezTo>
                  <a:pt x="292" y="195"/>
                  <a:pt x="292" y="195"/>
                  <a:pt x="292" y="195"/>
                </a:cubicBezTo>
                <a:cubicBezTo>
                  <a:pt x="290" y="195"/>
                  <a:pt x="290" y="195"/>
                  <a:pt x="290" y="195"/>
                </a:cubicBezTo>
                <a:cubicBezTo>
                  <a:pt x="289" y="196"/>
                  <a:pt x="289" y="196"/>
                  <a:pt x="289" y="196"/>
                </a:cubicBezTo>
                <a:cubicBezTo>
                  <a:pt x="287" y="196"/>
                  <a:pt x="287" y="196"/>
                  <a:pt x="287" y="196"/>
                </a:cubicBezTo>
                <a:cubicBezTo>
                  <a:pt x="286" y="198"/>
                  <a:pt x="286" y="198"/>
                  <a:pt x="286" y="198"/>
                </a:cubicBezTo>
                <a:cubicBezTo>
                  <a:pt x="284" y="200"/>
                  <a:pt x="284" y="200"/>
                  <a:pt x="284" y="200"/>
                </a:cubicBezTo>
                <a:cubicBezTo>
                  <a:pt x="282" y="201"/>
                  <a:pt x="282" y="201"/>
                  <a:pt x="282" y="201"/>
                </a:cubicBezTo>
                <a:cubicBezTo>
                  <a:pt x="280" y="202"/>
                  <a:pt x="280" y="202"/>
                  <a:pt x="280" y="202"/>
                </a:cubicBezTo>
                <a:cubicBezTo>
                  <a:pt x="278" y="202"/>
                  <a:pt x="278" y="202"/>
                  <a:pt x="278" y="202"/>
                </a:cubicBezTo>
                <a:cubicBezTo>
                  <a:pt x="278" y="202"/>
                  <a:pt x="278" y="202"/>
                  <a:pt x="278" y="202"/>
                </a:cubicBezTo>
                <a:cubicBezTo>
                  <a:pt x="278" y="201"/>
                  <a:pt x="278" y="201"/>
                  <a:pt x="278" y="201"/>
                </a:cubicBezTo>
                <a:cubicBezTo>
                  <a:pt x="279" y="199"/>
                  <a:pt x="279" y="199"/>
                  <a:pt x="279" y="199"/>
                </a:cubicBezTo>
                <a:cubicBezTo>
                  <a:pt x="278" y="198"/>
                  <a:pt x="278" y="198"/>
                  <a:pt x="278" y="198"/>
                </a:cubicBezTo>
                <a:cubicBezTo>
                  <a:pt x="276" y="191"/>
                  <a:pt x="276" y="191"/>
                  <a:pt x="276" y="191"/>
                </a:cubicBezTo>
                <a:cubicBezTo>
                  <a:pt x="275" y="187"/>
                  <a:pt x="275" y="187"/>
                  <a:pt x="275" y="187"/>
                </a:cubicBezTo>
                <a:cubicBezTo>
                  <a:pt x="275" y="186"/>
                  <a:pt x="275" y="186"/>
                  <a:pt x="275" y="186"/>
                </a:cubicBezTo>
                <a:cubicBezTo>
                  <a:pt x="276" y="183"/>
                  <a:pt x="276" y="183"/>
                  <a:pt x="276" y="183"/>
                </a:cubicBezTo>
                <a:cubicBezTo>
                  <a:pt x="273" y="183"/>
                  <a:pt x="273" y="183"/>
                  <a:pt x="273" y="183"/>
                </a:cubicBezTo>
                <a:cubicBezTo>
                  <a:pt x="270" y="184"/>
                  <a:pt x="270" y="184"/>
                  <a:pt x="270" y="184"/>
                </a:cubicBezTo>
                <a:cubicBezTo>
                  <a:pt x="269" y="183"/>
                  <a:pt x="269" y="183"/>
                  <a:pt x="269" y="183"/>
                </a:cubicBezTo>
                <a:cubicBezTo>
                  <a:pt x="265" y="183"/>
                  <a:pt x="265" y="183"/>
                  <a:pt x="265" y="183"/>
                </a:cubicBezTo>
                <a:cubicBezTo>
                  <a:pt x="338" y="50"/>
                  <a:pt x="338" y="50"/>
                  <a:pt x="338" y="50"/>
                </a:cubicBezTo>
                <a:cubicBezTo>
                  <a:pt x="338" y="50"/>
                  <a:pt x="338" y="50"/>
                  <a:pt x="338" y="50"/>
                </a:cubicBezTo>
                <a:cubicBezTo>
                  <a:pt x="336" y="50"/>
                  <a:pt x="336" y="50"/>
                  <a:pt x="336" y="50"/>
                </a:cubicBezTo>
                <a:cubicBezTo>
                  <a:pt x="335" y="50"/>
                  <a:pt x="335" y="50"/>
                  <a:pt x="335" y="50"/>
                </a:cubicBezTo>
                <a:cubicBezTo>
                  <a:pt x="335" y="49"/>
                  <a:pt x="335" y="49"/>
                  <a:pt x="335" y="49"/>
                </a:cubicBezTo>
                <a:cubicBezTo>
                  <a:pt x="334" y="46"/>
                  <a:pt x="334" y="46"/>
                  <a:pt x="334" y="46"/>
                </a:cubicBezTo>
                <a:cubicBezTo>
                  <a:pt x="333" y="45"/>
                  <a:pt x="333" y="45"/>
                  <a:pt x="333" y="45"/>
                </a:cubicBezTo>
                <a:cubicBezTo>
                  <a:pt x="333" y="45"/>
                  <a:pt x="333" y="45"/>
                  <a:pt x="333" y="45"/>
                </a:cubicBezTo>
                <a:cubicBezTo>
                  <a:pt x="332" y="43"/>
                  <a:pt x="332" y="43"/>
                  <a:pt x="332" y="43"/>
                </a:cubicBezTo>
                <a:cubicBezTo>
                  <a:pt x="332" y="42"/>
                  <a:pt x="332" y="42"/>
                  <a:pt x="332" y="42"/>
                </a:cubicBezTo>
                <a:cubicBezTo>
                  <a:pt x="331" y="41"/>
                  <a:pt x="331" y="41"/>
                  <a:pt x="331" y="41"/>
                </a:cubicBezTo>
                <a:cubicBezTo>
                  <a:pt x="329" y="41"/>
                  <a:pt x="329" y="41"/>
                  <a:pt x="329" y="41"/>
                </a:cubicBezTo>
                <a:cubicBezTo>
                  <a:pt x="328" y="41"/>
                  <a:pt x="328" y="41"/>
                  <a:pt x="328" y="41"/>
                </a:cubicBezTo>
                <a:cubicBezTo>
                  <a:pt x="327" y="41"/>
                  <a:pt x="327" y="41"/>
                  <a:pt x="327" y="41"/>
                </a:cubicBezTo>
                <a:cubicBezTo>
                  <a:pt x="325" y="42"/>
                  <a:pt x="325" y="42"/>
                  <a:pt x="325" y="42"/>
                </a:cubicBezTo>
                <a:cubicBezTo>
                  <a:pt x="324" y="41"/>
                  <a:pt x="324" y="41"/>
                  <a:pt x="324" y="41"/>
                </a:cubicBezTo>
                <a:cubicBezTo>
                  <a:pt x="324" y="41"/>
                  <a:pt x="324" y="41"/>
                  <a:pt x="324" y="41"/>
                </a:cubicBezTo>
                <a:cubicBezTo>
                  <a:pt x="323" y="41"/>
                  <a:pt x="323" y="41"/>
                  <a:pt x="323" y="41"/>
                </a:cubicBezTo>
                <a:cubicBezTo>
                  <a:pt x="323" y="41"/>
                  <a:pt x="323" y="41"/>
                  <a:pt x="323" y="41"/>
                </a:cubicBezTo>
                <a:cubicBezTo>
                  <a:pt x="322" y="41"/>
                  <a:pt x="322" y="41"/>
                  <a:pt x="322" y="41"/>
                </a:cubicBezTo>
                <a:cubicBezTo>
                  <a:pt x="322" y="41"/>
                  <a:pt x="322" y="41"/>
                  <a:pt x="322" y="41"/>
                </a:cubicBezTo>
                <a:cubicBezTo>
                  <a:pt x="323" y="41"/>
                  <a:pt x="323" y="41"/>
                  <a:pt x="323" y="41"/>
                </a:cubicBezTo>
                <a:cubicBezTo>
                  <a:pt x="323" y="40"/>
                  <a:pt x="323" y="40"/>
                  <a:pt x="323" y="40"/>
                </a:cubicBezTo>
                <a:cubicBezTo>
                  <a:pt x="322" y="39"/>
                  <a:pt x="322" y="39"/>
                  <a:pt x="322" y="39"/>
                </a:cubicBezTo>
                <a:cubicBezTo>
                  <a:pt x="321" y="40"/>
                  <a:pt x="321" y="40"/>
                  <a:pt x="321" y="40"/>
                </a:cubicBezTo>
                <a:cubicBezTo>
                  <a:pt x="320" y="39"/>
                  <a:pt x="320" y="39"/>
                  <a:pt x="320" y="39"/>
                </a:cubicBezTo>
                <a:cubicBezTo>
                  <a:pt x="320" y="39"/>
                  <a:pt x="320" y="39"/>
                  <a:pt x="320" y="39"/>
                </a:cubicBezTo>
                <a:cubicBezTo>
                  <a:pt x="321" y="39"/>
                  <a:pt x="321" y="39"/>
                  <a:pt x="321" y="39"/>
                </a:cubicBezTo>
                <a:cubicBezTo>
                  <a:pt x="320" y="38"/>
                  <a:pt x="320" y="38"/>
                  <a:pt x="320" y="38"/>
                </a:cubicBezTo>
                <a:cubicBezTo>
                  <a:pt x="320" y="38"/>
                  <a:pt x="320" y="38"/>
                  <a:pt x="320" y="38"/>
                </a:cubicBezTo>
                <a:cubicBezTo>
                  <a:pt x="319" y="38"/>
                  <a:pt x="319" y="38"/>
                  <a:pt x="319" y="38"/>
                </a:cubicBezTo>
                <a:cubicBezTo>
                  <a:pt x="319" y="37"/>
                  <a:pt x="319" y="37"/>
                  <a:pt x="319" y="37"/>
                </a:cubicBezTo>
                <a:cubicBezTo>
                  <a:pt x="318" y="36"/>
                  <a:pt x="318" y="36"/>
                  <a:pt x="318" y="36"/>
                </a:cubicBezTo>
                <a:cubicBezTo>
                  <a:pt x="316" y="35"/>
                  <a:pt x="316" y="35"/>
                  <a:pt x="316" y="35"/>
                </a:cubicBezTo>
                <a:cubicBezTo>
                  <a:pt x="316" y="35"/>
                  <a:pt x="316" y="35"/>
                  <a:pt x="316" y="35"/>
                </a:cubicBezTo>
                <a:cubicBezTo>
                  <a:pt x="315" y="35"/>
                  <a:pt x="315" y="35"/>
                  <a:pt x="315" y="35"/>
                </a:cubicBezTo>
                <a:cubicBezTo>
                  <a:pt x="315" y="35"/>
                  <a:pt x="315" y="35"/>
                  <a:pt x="315" y="35"/>
                </a:cubicBezTo>
                <a:cubicBezTo>
                  <a:pt x="314" y="35"/>
                  <a:pt x="314" y="35"/>
                  <a:pt x="314" y="35"/>
                </a:cubicBezTo>
                <a:cubicBezTo>
                  <a:pt x="314" y="35"/>
                  <a:pt x="314" y="35"/>
                  <a:pt x="314" y="35"/>
                </a:cubicBezTo>
                <a:cubicBezTo>
                  <a:pt x="314" y="35"/>
                  <a:pt x="314" y="35"/>
                  <a:pt x="314" y="35"/>
                </a:cubicBezTo>
                <a:cubicBezTo>
                  <a:pt x="313" y="34"/>
                  <a:pt x="313" y="34"/>
                  <a:pt x="313" y="34"/>
                </a:cubicBezTo>
                <a:cubicBezTo>
                  <a:pt x="312" y="35"/>
                  <a:pt x="312" y="35"/>
                  <a:pt x="312" y="35"/>
                </a:cubicBezTo>
                <a:cubicBezTo>
                  <a:pt x="312" y="35"/>
                  <a:pt x="312" y="35"/>
                  <a:pt x="312" y="35"/>
                </a:cubicBezTo>
                <a:cubicBezTo>
                  <a:pt x="312" y="34"/>
                  <a:pt x="312" y="34"/>
                  <a:pt x="312" y="34"/>
                </a:cubicBezTo>
                <a:cubicBezTo>
                  <a:pt x="312" y="34"/>
                  <a:pt x="312" y="34"/>
                  <a:pt x="312" y="34"/>
                </a:cubicBezTo>
                <a:cubicBezTo>
                  <a:pt x="312" y="33"/>
                  <a:pt x="312" y="33"/>
                  <a:pt x="312" y="33"/>
                </a:cubicBezTo>
                <a:cubicBezTo>
                  <a:pt x="311" y="33"/>
                  <a:pt x="311" y="33"/>
                  <a:pt x="311" y="33"/>
                </a:cubicBezTo>
                <a:cubicBezTo>
                  <a:pt x="310" y="33"/>
                  <a:pt x="310" y="33"/>
                  <a:pt x="310" y="33"/>
                </a:cubicBezTo>
                <a:cubicBezTo>
                  <a:pt x="310" y="32"/>
                  <a:pt x="310" y="32"/>
                  <a:pt x="310" y="32"/>
                </a:cubicBezTo>
                <a:cubicBezTo>
                  <a:pt x="310" y="32"/>
                  <a:pt x="310" y="32"/>
                  <a:pt x="310" y="32"/>
                </a:cubicBezTo>
                <a:cubicBezTo>
                  <a:pt x="309" y="31"/>
                  <a:pt x="309" y="31"/>
                  <a:pt x="309" y="31"/>
                </a:cubicBezTo>
                <a:cubicBezTo>
                  <a:pt x="308" y="30"/>
                  <a:pt x="308" y="30"/>
                  <a:pt x="308" y="30"/>
                </a:cubicBezTo>
                <a:cubicBezTo>
                  <a:pt x="308" y="30"/>
                  <a:pt x="308" y="30"/>
                  <a:pt x="308" y="30"/>
                </a:cubicBezTo>
                <a:cubicBezTo>
                  <a:pt x="308" y="29"/>
                  <a:pt x="308" y="29"/>
                  <a:pt x="308" y="29"/>
                </a:cubicBezTo>
                <a:cubicBezTo>
                  <a:pt x="307" y="29"/>
                  <a:pt x="307" y="29"/>
                  <a:pt x="307" y="29"/>
                </a:cubicBezTo>
                <a:cubicBezTo>
                  <a:pt x="307" y="30"/>
                  <a:pt x="307" y="30"/>
                  <a:pt x="307" y="30"/>
                </a:cubicBezTo>
                <a:cubicBezTo>
                  <a:pt x="304" y="32"/>
                  <a:pt x="304" y="32"/>
                  <a:pt x="304" y="32"/>
                </a:cubicBezTo>
                <a:cubicBezTo>
                  <a:pt x="302" y="33"/>
                  <a:pt x="302" y="33"/>
                  <a:pt x="302" y="33"/>
                </a:cubicBezTo>
                <a:cubicBezTo>
                  <a:pt x="304" y="32"/>
                  <a:pt x="304" y="32"/>
                  <a:pt x="304" y="32"/>
                </a:cubicBezTo>
                <a:cubicBezTo>
                  <a:pt x="305" y="29"/>
                  <a:pt x="305" y="29"/>
                  <a:pt x="305" y="29"/>
                </a:cubicBezTo>
                <a:cubicBezTo>
                  <a:pt x="307" y="28"/>
                  <a:pt x="307" y="28"/>
                  <a:pt x="307" y="28"/>
                </a:cubicBezTo>
                <a:cubicBezTo>
                  <a:pt x="307" y="26"/>
                  <a:pt x="307" y="26"/>
                  <a:pt x="307" y="26"/>
                </a:cubicBezTo>
                <a:cubicBezTo>
                  <a:pt x="306" y="26"/>
                  <a:pt x="306" y="26"/>
                  <a:pt x="306" y="26"/>
                </a:cubicBezTo>
                <a:cubicBezTo>
                  <a:pt x="305" y="25"/>
                  <a:pt x="305" y="25"/>
                  <a:pt x="305" y="25"/>
                </a:cubicBezTo>
                <a:cubicBezTo>
                  <a:pt x="303" y="25"/>
                  <a:pt x="303" y="25"/>
                  <a:pt x="303" y="25"/>
                </a:cubicBezTo>
                <a:cubicBezTo>
                  <a:pt x="301" y="25"/>
                  <a:pt x="301" y="25"/>
                  <a:pt x="301" y="25"/>
                </a:cubicBezTo>
                <a:cubicBezTo>
                  <a:pt x="300" y="25"/>
                  <a:pt x="300" y="25"/>
                  <a:pt x="300" y="25"/>
                </a:cubicBezTo>
                <a:cubicBezTo>
                  <a:pt x="300" y="26"/>
                  <a:pt x="300" y="26"/>
                  <a:pt x="300" y="26"/>
                </a:cubicBezTo>
                <a:cubicBezTo>
                  <a:pt x="298" y="26"/>
                  <a:pt x="298" y="26"/>
                  <a:pt x="298" y="26"/>
                </a:cubicBezTo>
                <a:cubicBezTo>
                  <a:pt x="297" y="28"/>
                  <a:pt x="297" y="28"/>
                  <a:pt x="297" y="28"/>
                </a:cubicBezTo>
                <a:cubicBezTo>
                  <a:pt x="295" y="29"/>
                  <a:pt x="295" y="29"/>
                  <a:pt x="295" y="29"/>
                </a:cubicBezTo>
                <a:cubicBezTo>
                  <a:pt x="296" y="28"/>
                  <a:pt x="296" y="28"/>
                  <a:pt x="296" y="28"/>
                </a:cubicBezTo>
                <a:cubicBezTo>
                  <a:pt x="296" y="26"/>
                  <a:pt x="296" y="26"/>
                  <a:pt x="296" y="26"/>
                </a:cubicBezTo>
                <a:cubicBezTo>
                  <a:pt x="296" y="24"/>
                  <a:pt x="296" y="24"/>
                  <a:pt x="296" y="24"/>
                </a:cubicBezTo>
                <a:cubicBezTo>
                  <a:pt x="296" y="23"/>
                  <a:pt x="296" y="23"/>
                  <a:pt x="296" y="23"/>
                </a:cubicBezTo>
                <a:cubicBezTo>
                  <a:pt x="294" y="22"/>
                  <a:pt x="294" y="22"/>
                  <a:pt x="294" y="22"/>
                </a:cubicBezTo>
                <a:cubicBezTo>
                  <a:pt x="294" y="22"/>
                  <a:pt x="294" y="22"/>
                  <a:pt x="294" y="22"/>
                </a:cubicBezTo>
                <a:cubicBezTo>
                  <a:pt x="295" y="21"/>
                  <a:pt x="295" y="21"/>
                  <a:pt x="295" y="21"/>
                </a:cubicBezTo>
                <a:cubicBezTo>
                  <a:pt x="296" y="21"/>
                  <a:pt x="296" y="21"/>
                  <a:pt x="296" y="21"/>
                </a:cubicBezTo>
                <a:cubicBezTo>
                  <a:pt x="296" y="21"/>
                  <a:pt x="296" y="21"/>
                  <a:pt x="296" y="21"/>
                </a:cubicBezTo>
                <a:cubicBezTo>
                  <a:pt x="293" y="19"/>
                  <a:pt x="293" y="19"/>
                  <a:pt x="293" y="19"/>
                </a:cubicBezTo>
                <a:cubicBezTo>
                  <a:pt x="293" y="18"/>
                  <a:pt x="293" y="18"/>
                  <a:pt x="293" y="18"/>
                </a:cubicBezTo>
                <a:cubicBezTo>
                  <a:pt x="294" y="17"/>
                  <a:pt x="294" y="17"/>
                  <a:pt x="294" y="17"/>
                </a:cubicBezTo>
                <a:cubicBezTo>
                  <a:pt x="295" y="16"/>
                  <a:pt x="295" y="16"/>
                  <a:pt x="295" y="16"/>
                </a:cubicBezTo>
                <a:cubicBezTo>
                  <a:pt x="296" y="16"/>
                  <a:pt x="296" y="16"/>
                  <a:pt x="296" y="16"/>
                </a:cubicBezTo>
                <a:cubicBezTo>
                  <a:pt x="296" y="15"/>
                  <a:pt x="296" y="15"/>
                  <a:pt x="296" y="15"/>
                </a:cubicBezTo>
                <a:cubicBezTo>
                  <a:pt x="295" y="13"/>
                  <a:pt x="295" y="13"/>
                  <a:pt x="295" y="13"/>
                </a:cubicBezTo>
                <a:cubicBezTo>
                  <a:pt x="294" y="13"/>
                  <a:pt x="294" y="13"/>
                  <a:pt x="294" y="13"/>
                </a:cubicBezTo>
                <a:cubicBezTo>
                  <a:pt x="294" y="14"/>
                  <a:pt x="294" y="14"/>
                  <a:pt x="294" y="14"/>
                </a:cubicBezTo>
                <a:cubicBezTo>
                  <a:pt x="293" y="13"/>
                  <a:pt x="293" y="13"/>
                  <a:pt x="293" y="13"/>
                </a:cubicBezTo>
                <a:cubicBezTo>
                  <a:pt x="292" y="12"/>
                  <a:pt x="292" y="12"/>
                  <a:pt x="292" y="12"/>
                </a:cubicBezTo>
                <a:cubicBezTo>
                  <a:pt x="291" y="13"/>
                  <a:pt x="291" y="13"/>
                  <a:pt x="291" y="13"/>
                </a:cubicBezTo>
                <a:cubicBezTo>
                  <a:pt x="290" y="12"/>
                  <a:pt x="290" y="12"/>
                  <a:pt x="290" y="12"/>
                </a:cubicBezTo>
                <a:cubicBezTo>
                  <a:pt x="289" y="12"/>
                  <a:pt x="289" y="12"/>
                  <a:pt x="289" y="12"/>
                </a:cubicBezTo>
                <a:cubicBezTo>
                  <a:pt x="288" y="12"/>
                  <a:pt x="288" y="12"/>
                  <a:pt x="288" y="12"/>
                </a:cubicBezTo>
                <a:cubicBezTo>
                  <a:pt x="287" y="12"/>
                  <a:pt x="287" y="12"/>
                  <a:pt x="287" y="12"/>
                </a:cubicBezTo>
                <a:cubicBezTo>
                  <a:pt x="286" y="13"/>
                  <a:pt x="286" y="13"/>
                  <a:pt x="286" y="13"/>
                </a:cubicBezTo>
                <a:cubicBezTo>
                  <a:pt x="286" y="14"/>
                  <a:pt x="286" y="14"/>
                  <a:pt x="286" y="14"/>
                </a:cubicBezTo>
                <a:cubicBezTo>
                  <a:pt x="285" y="13"/>
                  <a:pt x="285" y="13"/>
                  <a:pt x="285" y="13"/>
                </a:cubicBezTo>
                <a:cubicBezTo>
                  <a:pt x="286" y="12"/>
                  <a:pt x="286" y="12"/>
                  <a:pt x="286" y="12"/>
                </a:cubicBezTo>
                <a:cubicBezTo>
                  <a:pt x="286" y="11"/>
                  <a:pt x="286" y="11"/>
                  <a:pt x="286" y="11"/>
                </a:cubicBezTo>
                <a:cubicBezTo>
                  <a:pt x="286" y="10"/>
                  <a:pt x="286" y="10"/>
                  <a:pt x="286" y="10"/>
                </a:cubicBezTo>
                <a:cubicBezTo>
                  <a:pt x="286" y="9"/>
                  <a:pt x="286" y="9"/>
                  <a:pt x="286" y="9"/>
                </a:cubicBezTo>
                <a:cubicBezTo>
                  <a:pt x="287" y="9"/>
                  <a:pt x="287" y="9"/>
                  <a:pt x="287" y="9"/>
                </a:cubicBezTo>
                <a:cubicBezTo>
                  <a:pt x="287" y="8"/>
                  <a:pt x="287" y="8"/>
                  <a:pt x="287" y="8"/>
                </a:cubicBezTo>
                <a:cubicBezTo>
                  <a:pt x="288" y="7"/>
                  <a:pt x="288" y="7"/>
                  <a:pt x="288" y="7"/>
                </a:cubicBezTo>
                <a:cubicBezTo>
                  <a:pt x="287" y="6"/>
                  <a:pt x="287" y="6"/>
                  <a:pt x="287" y="6"/>
                </a:cubicBezTo>
                <a:cubicBezTo>
                  <a:pt x="287" y="6"/>
                  <a:pt x="287" y="6"/>
                  <a:pt x="287" y="6"/>
                </a:cubicBezTo>
                <a:cubicBezTo>
                  <a:pt x="285" y="7"/>
                  <a:pt x="285" y="7"/>
                  <a:pt x="285" y="7"/>
                </a:cubicBezTo>
                <a:cubicBezTo>
                  <a:pt x="285" y="8"/>
                  <a:pt x="285" y="8"/>
                  <a:pt x="285" y="8"/>
                </a:cubicBezTo>
                <a:cubicBezTo>
                  <a:pt x="285" y="8"/>
                  <a:pt x="285" y="8"/>
                  <a:pt x="285" y="8"/>
                </a:cubicBezTo>
                <a:cubicBezTo>
                  <a:pt x="284" y="8"/>
                  <a:pt x="284" y="8"/>
                  <a:pt x="284" y="8"/>
                </a:cubicBezTo>
                <a:cubicBezTo>
                  <a:pt x="283" y="8"/>
                  <a:pt x="283" y="8"/>
                  <a:pt x="283" y="8"/>
                </a:cubicBezTo>
                <a:cubicBezTo>
                  <a:pt x="282" y="9"/>
                  <a:pt x="282" y="9"/>
                  <a:pt x="282" y="9"/>
                </a:cubicBezTo>
                <a:cubicBezTo>
                  <a:pt x="283" y="10"/>
                  <a:pt x="283" y="10"/>
                  <a:pt x="283" y="10"/>
                </a:cubicBezTo>
                <a:cubicBezTo>
                  <a:pt x="282" y="11"/>
                  <a:pt x="282" y="11"/>
                  <a:pt x="282" y="11"/>
                </a:cubicBezTo>
                <a:cubicBezTo>
                  <a:pt x="281" y="11"/>
                  <a:pt x="281" y="11"/>
                  <a:pt x="281" y="11"/>
                </a:cubicBezTo>
                <a:cubicBezTo>
                  <a:pt x="281" y="11"/>
                  <a:pt x="281" y="11"/>
                  <a:pt x="281" y="11"/>
                </a:cubicBezTo>
                <a:cubicBezTo>
                  <a:pt x="280" y="12"/>
                  <a:pt x="280" y="12"/>
                  <a:pt x="280" y="12"/>
                </a:cubicBezTo>
                <a:cubicBezTo>
                  <a:pt x="280" y="13"/>
                  <a:pt x="280" y="13"/>
                  <a:pt x="280" y="13"/>
                </a:cubicBezTo>
                <a:cubicBezTo>
                  <a:pt x="280" y="12"/>
                  <a:pt x="280" y="12"/>
                  <a:pt x="280" y="12"/>
                </a:cubicBezTo>
                <a:cubicBezTo>
                  <a:pt x="280" y="11"/>
                  <a:pt x="280" y="11"/>
                  <a:pt x="280" y="11"/>
                </a:cubicBezTo>
                <a:cubicBezTo>
                  <a:pt x="280" y="10"/>
                  <a:pt x="280" y="10"/>
                  <a:pt x="280" y="10"/>
                </a:cubicBezTo>
                <a:cubicBezTo>
                  <a:pt x="280" y="10"/>
                  <a:pt x="280" y="10"/>
                  <a:pt x="280" y="10"/>
                </a:cubicBezTo>
                <a:cubicBezTo>
                  <a:pt x="279" y="11"/>
                  <a:pt x="279" y="11"/>
                  <a:pt x="279" y="11"/>
                </a:cubicBezTo>
                <a:cubicBezTo>
                  <a:pt x="279" y="11"/>
                  <a:pt x="279" y="11"/>
                  <a:pt x="279" y="11"/>
                </a:cubicBezTo>
                <a:cubicBezTo>
                  <a:pt x="278" y="12"/>
                  <a:pt x="278" y="12"/>
                  <a:pt x="278" y="12"/>
                </a:cubicBezTo>
                <a:cubicBezTo>
                  <a:pt x="278" y="10"/>
                  <a:pt x="278" y="10"/>
                  <a:pt x="278" y="10"/>
                </a:cubicBezTo>
                <a:cubicBezTo>
                  <a:pt x="278" y="9"/>
                  <a:pt x="278" y="9"/>
                  <a:pt x="278" y="9"/>
                </a:cubicBezTo>
                <a:cubicBezTo>
                  <a:pt x="276" y="9"/>
                  <a:pt x="276" y="9"/>
                  <a:pt x="276" y="9"/>
                </a:cubicBezTo>
                <a:cubicBezTo>
                  <a:pt x="277" y="8"/>
                  <a:pt x="277" y="8"/>
                  <a:pt x="277" y="8"/>
                </a:cubicBezTo>
                <a:cubicBezTo>
                  <a:pt x="278" y="7"/>
                  <a:pt x="278" y="7"/>
                  <a:pt x="278" y="7"/>
                </a:cubicBezTo>
                <a:cubicBezTo>
                  <a:pt x="279" y="6"/>
                  <a:pt x="279" y="6"/>
                  <a:pt x="279" y="6"/>
                </a:cubicBezTo>
                <a:cubicBezTo>
                  <a:pt x="281" y="7"/>
                  <a:pt x="281" y="7"/>
                  <a:pt x="281" y="7"/>
                </a:cubicBezTo>
                <a:cubicBezTo>
                  <a:pt x="282" y="7"/>
                  <a:pt x="282" y="7"/>
                  <a:pt x="282" y="7"/>
                </a:cubicBezTo>
                <a:cubicBezTo>
                  <a:pt x="284" y="6"/>
                  <a:pt x="284" y="6"/>
                  <a:pt x="284" y="6"/>
                </a:cubicBezTo>
                <a:cubicBezTo>
                  <a:pt x="285" y="5"/>
                  <a:pt x="285" y="5"/>
                  <a:pt x="285" y="5"/>
                </a:cubicBezTo>
                <a:cubicBezTo>
                  <a:pt x="285" y="5"/>
                  <a:pt x="285" y="5"/>
                  <a:pt x="285" y="5"/>
                </a:cubicBezTo>
                <a:cubicBezTo>
                  <a:pt x="285" y="4"/>
                  <a:pt x="285" y="4"/>
                  <a:pt x="285" y="4"/>
                </a:cubicBezTo>
                <a:cubicBezTo>
                  <a:pt x="285" y="4"/>
                  <a:pt x="285" y="4"/>
                  <a:pt x="285" y="4"/>
                </a:cubicBezTo>
                <a:cubicBezTo>
                  <a:pt x="284" y="3"/>
                  <a:pt x="284" y="3"/>
                  <a:pt x="284" y="3"/>
                </a:cubicBezTo>
                <a:cubicBezTo>
                  <a:pt x="283" y="3"/>
                  <a:pt x="283" y="3"/>
                  <a:pt x="283" y="3"/>
                </a:cubicBezTo>
                <a:cubicBezTo>
                  <a:pt x="283" y="2"/>
                  <a:pt x="283" y="2"/>
                  <a:pt x="283" y="2"/>
                </a:cubicBezTo>
                <a:cubicBezTo>
                  <a:pt x="282" y="1"/>
                  <a:pt x="282" y="1"/>
                  <a:pt x="282" y="1"/>
                </a:cubicBezTo>
                <a:cubicBezTo>
                  <a:pt x="282" y="1"/>
                  <a:pt x="282" y="1"/>
                  <a:pt x="282" y="1"/>
                </a:cubicBezTo>
                <a:cubicBezTo>
                  <a:pt x="282" y="1"/>
                  <a:pt x="282" y="1"/>
                  <a:pt x="282" y="1"/>
                </a:cubicBezTo>
                <a:cubicBezTo>
                  <a:pt x="283" y="0"/>
                  <a:pt x="283" y="0"/>
                  <a:pt x="283" y="0"/>
                </a:cubicBezTo>
                <a:cubicBezTo>
                  <a:pt x="283" y="0"/>
                  <a:pt x="283" y="0"/>
                  <a:pt x="283" y="0"/>
                </a:cubicBezTo>
                <a:cubicBezTo>
                  <a:pt x="283" y="0"/>
                  <a:pt x="283" y="0"/>
                  <a:pt x="283" y="0"/>
                </a:cubicBezTo>
                <a:cubicBezTo>
                  <a:pt x="280" y="1"/>
                  <a:pt x="280" y="1"/>
                  <a:pt x="280" y="1"/>
                </a:cubicBezTo>
                <a:cubicBezTo>
                  <a:pt x="280" y="2"/>
                  <a:pt x="280" y="2"/>
                  <a:pt x="280" y="2"/>
                </a:cubicBezTo>
                <a:cubicBezTo>
                  <a:pt x="278" y="2"/>
                  <a:pt x="278" y="2"/>
                  <a:pt x="278" y="2"/>
                </a:cubicBezTo>
                <a:cubicBezTo>
                  <a:pt x="277" y="2"/>
                  <a:pt x="277" y="2"/>
                  <a:pt x="277" y="2"/>
                </a:cubicBezTo>
                <a:cubicBezTo>
                  <a:pt x="274" y="5"/>
                  <a:pt x="274" y="5"/>
                  <a:pt x="274" y="5"/>
                </a:cubicBezTo>
                <a:cubicBezTo>
                  <a:pt x="272" y="5"/>
                  <a:pt x="272" y="5"/>
                  <a:pt x="272" y="5"/>
                </a:cubicBezTo>
                <a:cubicBezTo>
                  <a:pt x="270" y="5"/>
                  <a:pt x="270" y="5"/>
                  <a:pt x="270" y="5"/>
                </a:cubicBezTo>
                <a:cubicBezTo>
                  <a:pt x="268" y="4"/>
                  <a:pt x="268" y="4"/>
                  <a:pt x="268" y="4"/>
                </a:cubicBezTo>
                <a:cubicBezTo>
                  <a:pt x="267" y="4"/>
                  <a:pt x="267" y="4"/>
                  <a:pt x="267" y="4"/>
                </a:cubicBezTo>
                <a:cubicBezTo>
                  <a:pt x="267" y="4"/>
                  <a:pt x="267" y="4"/>
                  <a:pt x="267" y="4"/>
                </a:cubicBezTo>
                <a:cubicBezTo>
                  <a:pt x="266" y="4"/>
                  <a:pt x="266" y="4"/>
                  <a:pt x="266" y="4"/>
                </a:cubicBezTo>
                <a:cubicBezTo>
                  <a:pt x="265" y="3"/>
                  <a:pt x="265" y="3"/>
                  <a:pt x="265" y="3"/>
                </a:cubicBezTo>
                <a:cubicBezTo>
                  <a:pt x="264" y="4"/>
                  <a:pt x="264" y="4"/>
                  <a:pt x="264" y="4"/>
                </a:cubicBezTo>
                <a:cubicBezTo>
                  <a:pt x="264" y="5"/>
                  <a:pt x="264" y="5"/>
                  <a:pt x="264" y="5"/>
                </a:cubicBezTo>
                <a:cubicBezTo>
                  <a:pt x="263" y="5"/>
                  <a:pt x="263" y="5"/>
                  <a:pt x="263" y="5"/>
                </a:cubicBezTo>
                <a:cubicBezTo>
                  <a:pt x="263" y="4"/>
                  <a:pt x="263" y="4"/>
                  <a:pt x="263" y="4"/>
                </a:cubicBezTo>
                <a:cubicBezTo>
                  <a:pt x="263" y="3"/>
                  <a:pt x="263" y="3"/>
                  <a:pt x="263" y="3"/>
                </a:cubicBezTo>
                <a:cubicBezTo>
                  <a:pt x="264" y="3"/>
                  <a:pt x="264" y="3"/>
                  <a:pt x="264" y="3"/>
                </a:cubicBezTo>
                <a:cubicBezTo>
                  <a:pt x="263" y="2"/>
                  <a:pt x="263" y="2"/>
                  <a:pt x="263" y="2"/>
                </a:cubicBezTo>
                <a:cubicBezTo>
                  <a:pt x="262" y="3"/>
                  <a:pt x="262" y="3"/>
                  <a:pt x="262" y="3"/>
                </a:cubicBezTo>
                <a:cubicBezTo>
                  <a:pt x="259" y="4"/>
                  <a:pt x="259" y="4"/>
                  <a:pt x="259" y="4"/>
                </a:cubicBezTo>
                <a:cubicBezTo>
                  <a:pt x="258" y="5"/>
                  <a:pt x="258" y="5"/>
                  <a:pt x="258" y="5"/>
                </a:cubicBezTo>
                <a:cubicBezTo>
                  <a:pt x="257" y="6"/>
                  <a:pt x="257" y="6"/>
                  <a:pt x="257" y="6"/>
                </a:cubicBezTo>
                <a:cubicBezTo>
                  <a:pt x="257" y="7"/>
                  <a:pt x="257" y="7"/>
                  <a:pt x="257" y="7"/>
                </a:cubicBezTo>
                <a:cubicBezTo>
                  <a:pt x="259" y="7"/>
                  <a:pt x="259" y="7"/>
                  <a:pt x="259" y="7"/>
                </a:cubicBezTo>
                <a:cubicBezTo>
                  <a:pt x="258" y="8"/>
                  <a:pt x="258" y="8"/>
                  <a:pt x="258" y="8"/>
                </a:cubicBezTo>
                <a:cubicBezTo>
                  <a:pt x="256" y="8"/>
                  <a:pt x="256" y="8"/>
                  <a:pt x="256" y="8"/>
                </a:cubicBezTo>
                <a:cubicBezTo>
                  <a:pt x="255" y="9"/>
                  <a:pt x="255" y="9"/>
                  <a:pt x="255" y="9"/>
                </a:cubicBezTo>
                <a:cubicBezTo>
                  <a:pt x="254" y="12"/>
                  <a:pt x="254" y="12"/>
                  <a:pt x="254" y="12"/>
                </a:cubicBezTo>
                <a:cubicBezTo>
                  <a:pt x="253" y="14"/>
                  <a:pt x="253" y="14"/>
                  <a:pt x="253" y="14"/>
                </a:cubicBezTo>
                <a:cubicBezTo>
                  <a:pt x="252" y="14"/>
                  <a:pt x="252" y="14"/>
                  <a:pt x="252" y="14"/>
                </a:cubicBezTo>
                <a:cubicBezTo>
                  <a:pt x="252" y="14"/>
                  <a:pt x="252" y="14"/>
                  <a:pt x="252" y="14"/>
                </a:cubicBezTo>
                <a:cubicBezTo>
                  <a:pt x="252" y="12"/>
                  <a:pt x="252" y="12"/>
                  <a:pt x="252" y="12"/>
                </a:cubicBezTo>
                <a:cubicBezTo>
                  <a:pt x="254" y="9"/>
                  <a:pt x="254" y="9"/>
                  <a:pt x="254" y="9"/>
                </a:cubicBezTo>
                <a:cubicBezTo>
                  <a:pt x="254" y="8"/>
                  <a:pt x="254" y="8"/>
                  <a:pt x="254" y="8"/>
                </a:cubicBezTo>
                <a:cubicBezTo>
                  <a:pt x="254" y="8"/>
                  <a:pt x="254" y="8"/>
                  <a:pt x="254" y="8"/>
                </a:cubicBezTo>
                <a:cubicBezTo>
                  <a:pt x="251" y="10"/>
                  <a:pt x="251" y="10"/>
                  <a:pt x="251" y="10"/>
                </a:cubicBezTo>
                <a:cubicBezTo>
                  <a:pt x="249" y="10"/>
                  <a:pt x="249" y="10"/>
                  <a:pt x="249" y="10"/>
                </a:cubicBezTo>
                <a:cubicBezTo>
                  <a:pt x="249" y="9"/>
                  <a:pt x="249" y="9"/>
                  <a:pt x="249" y="9"/>
                </a:cubicBezTo>
                <a:cubicBezTo>
                  <a:pt x="248" y="8"/>
                  <a:pt x="248" y="8"/>
                  <a:pt x="248" y="8"/>
                </a:cubicBezTo>
                <a:cubicBezTo>
                  <a:pt x="246" y="8"/>
                  <a:pt x="246" y="8"/>
                  <a:pt x="246" y="8"/>
                </a:cubicBezTo>
                <a:cubicBezTo>
                  <a:pt x="245" y="8"/>
                  <a:pt x="245" y="8"/>
                  <a:pt x="245" y="8"/>
                </a:cubicBezTo>
                <a:cubicBezTo>
                  <a:pt x="245" y="8"/>
                  <a:pt x="245" y="8"/>
                  <a:pt x="245" y="8"/>
                </a:cubicBezTo>
                <a:cubicBezTo>
                  <a:pt x="247" y="9"/>
                  <a:pt x="247" y="9"/>
                  <a:pt x="247" y="9"/>
                </a:cubicBezTo>
                <a:cubicBezTo>
                  <a:pt x="248" y="10"/>
                  <a:pt x="248" y="10"/>
                  <a:pt x="248" y="10"/>
                </a:cubicBezTo>
                <a:cubicBezTo>
                  <a:pt x="247" y="10"/>
                  <a:pt x="247" y="10"/>
                  <a:pt x="247" y="10"/>
                </a:cubicBezTo>
                <a:cubicBezTo>
                  <a:pt x="246" y="10"/>
                  <a:pt x="246" y="10"/>
                  <a:pt x="246" y="10"/>
                </a:cubicBezTo>
                <a:cubicBezTo>
                  <a:pt x="243" y="9"/>
                  <a:pt x="243" y="9"/>
                  <a:pt x="243" y="9"/>
                </a:cubicBezTo>
                <a:cubicBezTo>
                  <a:pt x="241" y="11"/>
                  <a:pt x="241" y="11"/>
                  <a:pt x="241" y="11"/>
                </a:cubicBezTo>
                <a:cubicBezTo>
                  <a:pt x="238" y="13"/>
                  <a:pt x="238" y="13"/>
                  <a:pt x="238" y="13"/>
                </a:cubicBezTo>
                <a:cubicBezTo>
                  <a:pt x="234" y="15"/>
                  <a:pt x="234" y="15"/>
                  <a:pt x="234" y="15"/>
                </a:cubicBezTo>
                <a:cubicBezTo>
                  <a:pt x="231" y="17"/>
                  <a:pt x="231" y="17"/>
                  <a:pt x="231" y="17"/>
                </a:cubicBezTo>
                <a:cubicBezTo>
                  <a:pt x="229" y="19"/>
                  <a:pt x="229" y="19"/>
                  <a:pt x="229" y="19"/>
                </a:cubicBezTo>
                <a:cubicBezTo>
                  <a:pt x="226" y="22"/>
                  <a:pt x="226" y="22"/>
                  <a:pt x="226" y="22"/>
                </a:cubicBezTo>
                <a:cubicBezTo>
                  <a:pt x="224" y="23"/>
                  <a:pt x="224" y="23"/>
                  <a:pt x="224" y="23"/>
                </a:cubicBezTo>
                <a:cubicBezTo>
                  <a:pt x="222" y="23"/>
                  <a:pt x="222" y="23"/>
                  <a:pt x="222" y="23"/>
                </a:cubicBezTo>
                <a:cubicBezTo>
                  <a:pt x="221" y="24"/>
                  <a:pt x="221" y="24"/>
                  <a:pt x="221" y="24"/>
                </a:cubicBezTo>
                <a:cubicBezTo>
                  <a:pt x="219" y="24"/>
                  <a:pt x="219" y="24"/>
                  <a:pt x="219" y="24"/>
                </a:cubicBezTo>
                <a:cubicBezTo>
                  <a:pt x="217" y="26"/>
                  <a:pt x="217" y="26"/>
                  <a:pt x="217" y="26"/>
                </a:cubicBezTo>
                <a:cubicBezTo>
                  <a:pt x="215" y="26"/>
                  <a:pt x="215" y="26"/>
                  <a:pt x="215" y="26"/>
                </a:cubicBezTo>
                <a:cubicBezTo>
                  <a:pt x="214" y="25"/>
                  <a:pt x="214" y="25"/>
                  <a:pt x="214" y="25"/>
                </a:cubicBezTo>
                <a:cubicBezTo>
                  <a:pt x="213" y="25"/>
                  <a:pt x="213" y="25"/>
                  <a:pt x="213" y="25"/>
                </a:cubicBezTo>
                <a:cubicBezTo>
                  <a:pt x="211" y="24"/>
                  <a:pt x="211" y="24"/>
                  <a:pt x="211" y="24"/>
                </a:cubicBezTo>
                <a:cubicBezTo>
                  <a:pt x="210" y="23"/>
                  <a:pt x="210" y="23"/>
                  <a:pt x="210" y="23"/>
                </a:cubicBezTo>
                <a:cubicBezTo>
                  <a:pt x="208" y="22"/>
                  <a:pt x="208" y="22"/>
                  <a:pt x="208" y="22"/>
                </a:cubicBezTo>
                <a:cubicBezTo>
                  <a:pt x="207" y="22"/>
                  <a:pt x="207" y="22"/>
                  <a:pt x="207" y="22"/>
                </a:cubicBezTo>
                <a:cubicBezTo>
                  <a:pt x="205" y="24"/>
                  <a:pt x="205" y="24"/>
                  <a:pt x="205" y="24"/>
                </a:cubicBezTo>
                <a:cubicBezTo>
                  <a:pt x="203" y="26"/>
                  <a:pt x="203" y="26"/>
                  <a:pt x="203" y="26"/>
                </a:cubicBezTo>
                <a:cubicBezTo>
                  <a:pt x="203" y="27"/>
                  <a:pt x="203" y="27"/>
                  <a:pt x="203" y="27"/>
                </a:cubicBezTo>
                <a:cubicBezTo>
                  <a:pt x="201" y="29"/>
                  <a:pt x="201" y="29"/>
                  <a:pt x="201" y="29"/>
                </a:cubicBezTo>
                <a:cubicBezTo>
                  <a:pt x="201" y="30"/>
                  <a:pt x="201" y="30"/>
                  <a:pt x="201" y="30"/>
                </a:cubicBezTo>
                <a:cubicBezTo>
                  <a:pt x="200" y="30"/>
                  <a:pt x="200" y="30"/>
                  <a:pt x="200" y="30"/>
                </a:cubicBezTo>
                <a:cubicBezTo>
                  <a:pt x="199" y="29"/>
                  <a:pt x="199" y="29"/>
                  <a:pt x="199" y="29"/>
                </a:cubicBezTo>
                <a:cubicBezTo>
                  <a:pt x="198" y="30"/>
                  <a:pt x="198" y="30"/>
                  <a:pt x="198" y="30"/>
                </a:cubicBezTo>
                <a:cubicBezTo>
                  <a:pt x="199" y="33"/>
                  <a:pt x="199" y="33"/>
                  <a:pt x="199" y="33"/>
                </a:cubicBezTo>
                <a:cubicBezTo>
                  <a:pt x="201" y="38"/>
                  <a:pt x="201" y="38"/>
                  <a:pt x="201" y="38"/>
                </a:cubicBezTo>
                <a:cubicBezTo>
                  <a:pt x="202" y="42"/>
                  <a:pt x="202" y="42"/>
                  <a:pt x="202" y="42"/>
                </a:cubicBezTo>
                <a:cubicBezTo>
                  <a:pt x="203" y="46"/>
                  <a:pt x="203" y="46"/>
                  <a:pt x="203" y="46"/>
                </a:cubicBezTo>
                <a:cubicBezTo>
                  <a:pt x="203" y="50"/>
                  <a:pt x="203" y="50"/>
                  <a:pt x="203" y="50"/>
                </a:cubicBezTo>
                <a:cubicBezTo>
                  <a:pt x="201" y="52"/>
                  <a:pt x="201" y="52"/>
                  <a:pt x="201" y="52"/>
                </a:cubicBezTo>
                <a:cubicBezTo>
                  <a:pt x="200" y="54"/>
                  <a:pt x="200" y="54"/>
                  <a:pt x="200" y="54"/>
                </a:cubicBezTo>
                <a:cubicBezTo>
                  <a:pt x="200" y="54"/>
                  <a:pt x="200" y="54"/>
                  <a:pt x="200" y="54"/>
                </a:cubicBezTo>
                <a:cubicBezTo>
                  <a:pt x="203" y="57"/>
                  <a:pt x="203" y="57"/>
                  <a:pt x="203" y="57"/>
                </a:cubicBezTo>
                <a:cubicBezTo>
                  <a:pt x="204" y="58"/>
                  <a:pt x="204" y="58"/>
                  <a:pt x="204" y="58"/>
                </a:cubicBezTo>
                <a:cubicBezTo>
                  <a:pt x="204" y="57"/>
                  <a:pt x="204" y="57"/>
                  <a:pt x="204" y="57"/>
                </a:cubicBezTo>
                <a:cubicBezTo>
                  <a:pt x="204" y="57"/>
                  <a:pt x="204" y="57"/>
                  <a:pt x="204" y="57"/>
                </a:cubicBezTo>
                <a:cubicBezTo>
                  <a:pt x="205" y="57"/>
                  <a:pt x="205" y="57"/>
                  <a:pt x="205" y="57"/>
                </a:cubicBezTo>
                <a:cubicBezTo>
                  <a:pt x="206" y="57"/>
                  <a:pt x="206" y="57"/>
                  <a:pt x="206" y="57"/>
                </a:cubicBezTo>
                <a:cubicBezTo>
                  <a:pt x="205" y="57"/>
                  <a:pt x="205" y="57"/>
                  <a:pt x="205" y="57"/>
                </a:cubicBezTo>
                <a:cubicBezTo>
                  <a:pt x="205" y="58"/>
                  <a:pt x="205" y="58"/>
                  <a:pt x="205" y="58"/>
                </a:cubicBezTo>
                <a:cubicBezTo>
                  <a:pt x="208" y="61"/>
                  <a:pt x="208" y="61"/>
                  <a:pt x="208" y="61"/>
                </a:cubicBezTo>
                <a:cubicBezTo>
                  <a:pt x="208" y="61"/>
                  <a:pt x="208" y="61"/>
                  <a:pt x="208" y="61"/>
                </a:cubicBezTo>
                <a:cubicBezTo>
                  <a:pt x="206" y="61"/>
                  <a:pt x="206" y="61"/>
                  <a:pt x="206" y="61"/>
                </a:cubicBezTo>
                <a:cubicBezTo>
                  <a:pt x="206" y="62"/>
                  <a:pt x="206" y="62"/>
                  <a:pt x="206" y="62"/>
                </a:cubicBezTo>
                <a:cubicBezTo>
                  <a:pt x="206" y="65"/>
                  <a:pt x="206" y="65"/>
                  <a:pt x="206" y="65"/>
                </a:cubicBezTo>
                <a:cubicBezTo>
                  <a:pt x="206" y="66"/>
                  <a:pt x="206" y="66"/>
                  <a:pt x="206" y="66"/>
                </a:cubicBezTo>
                <a:cubicBezTo>
                  <a:pt x="207" y="67"/>
                  <a:pt x="207" y="67"/>
                  <a:pt x="207" y="67"/>
                </a:cubicBezTo>
                <a:cubicBezTo>
                  <a:pt x="208" y="66"/>
                  <a:pt x="208" y="66"/>
                  <a:pt x="208" y="66"/>
                </a:cubicBezTo>
                <a:cubicBezTo>
                  <a:pt x="209" y="66"/>
                  <a:pt x="209" y="66"/>
                  <a:pt x="209" y="66"/>
                </a:cubicBezTo>
                <a:cubicBezTo>
                  <a:pt x="210" y="66"/>
                  <a:pt x="210" y="66"/>
                  <a:pt x="210" y="66"/>
                </a:cubicBezTo>
                <a:cubicBezTo>
                  <a:pt x="210" y="67"/>
                  <a:pt x="210" y="67"/>
                  <a:pt x="210" y="67"/>
                </a:cubicBezTo>
                <a:cubicBezTo>
                  <a:pt x="212" y="67"/>
                  <a:pt x="212" y="67"/>
                  <a:pt x="212" y="67"/>
                </a:cubicBezTo>
                <a:cubicBezTo>
                  <a:pt x="214" y="67"/>
                  <a:pt x="214" y="67"/>
                  <a:pt x="214" y="67"/>
                </a:cubicBezTo>
                <a:cubicBezTo>
                  <a:pt x="216" y="68"/>
                  <a:pt x="216" y="68"/>
                  <a:pt x="216" y="68"/>
                </a:cubicBezTo>
                <a:cubicBezTo>
                  <a:pt x="214" y="69"/>
                  <a:pt x="214" y="69"/>
                  <a:pt x="214" y="69"/>
                </a:cubicBezTo>
                <a:cubicBezTo>
                  <a:pt x="214" y="70"/>
                  <a:pt x="214" y="70"/>
                  <a:pt x="214" y="70"/>
                </a:cubicBezTo>
                <a:cubicBezTo>
                  <a:pt x="214" y="72"/>
                  <a:pt x="214" y="72"/>
                  <a:pt x="214" y="72"/>
                </a:cubicBezTo>
                <a:cubicBezTo>
                  <a:pt x="212" y="72"/>
                  <a:pt x="212" y="72"/>
                  <a:pt x="212" y="72"/>
                </a:cubicBezTo>
                <a:cubicBezTo>
                  <a:pt x="212" y="71"/>
                  <a:pt x="212" y="71"/>
                  <a:pt x="212" y="71"/>
                </a:cubicBezTo>
                <a:cubicBezTo>
                  <a:pt x="211" y="70"/>
                  <a:pt x="211" y="70"/>
                  <a:pt x="211" y="70"/>
                </a:cubicBezTo>
                <a:cubicBezTo>
                  <a:pt x="210" y="71"/>
                  <a:pt x="210" y="71"/>
                  <a:pt x="210" y="71"/>
                </a:cubicBezTo>
                <a:cubicBezTo>
                  <a:pt x="208" y="71"/>
                  <a:pt x="208" y="71"/>
                  <a:pt x="208" y="71"/>
                </a:cubicBezTo>
                <a:cubicBezTo>
                  <a:pt x="208" y="70"/>
                  <a:pt x="208" y="70"/>
                  <a:pt x="208" y="70"/>
                </a:cubicBezTo>
                <a:cubicBezTo>
                  <a:pt x="207" y="68"/>
                  <a:pt x="207" y="68"/>
                  <a:pt x="207" y="68"/>
                </a:cubicBezTo>
                <a:cubicBezTo>
                  <a:pt x="206" y="68"/>
                  <a:pt x="206" y="68"/>
                  <a:pt x="206" y="68"/>
                </a:cubicBezTo>
                <a:cubicBezTo>
                  <a:pt x="205" y="68"/>
                  <a:pt x="205" y="68"/>
                  <a:pt x="205" y="68"/>
                </a:cubicBezTo>
                <a:cubicBezTo>
                  <a:pt x="204" y="67"/>
                  <a:pt x="204" y="67"/>
                  <a:pt x="204" y="67"/>
                </a:cubicBezTo>
                <a:cubicBezTo>
                  <a:pt x="204" y="65"/>
                  <a:pt x="204" y="65"/>
                  <a:pt x="204" y="65"/>
                </a:cubicBezTo>
                <a:cubicBezTo>
                  <a:pt x="206" y="61"/>
                  <a:pt x="206" y="61"/>
                  <a:pt x="206" y="61"/>
                </a:cubicBezTo>
                <a:cubicBezTo>
                  <a:pt x="205" y="60"/>
                  <a:pt x="205" y="60"/>
                  <a:pt x="205" y="60"/>
                </a:cubicBezTo>
                <a:cubicBezTo>
                  <a:pt x="205" y="60"/>
                  <a:pt x="205" y="60"/>
                  <a:pt x="205" y="60"/>
                </a:cubicBezTo>
                <a:cubicBezTo>
                  <a:pt x="204" y="61"/>
                  <a:pt x="204" y="61"/>
                  <a:pt x="204" y="61"/>
                </a:cubicBezTo>
                <a:cubicBezTo>
                  <a:pt x="204" y="65"/>
                  <a:pt x="204" y="65"/>
                  <a:pt x="204" y="65"/>
                </a:cubicBezTo>
                <a:cubicBezTo>
                  <a:pt x="203" y="67"/>
                  <a:pt x="203" y="67"/>
                  <a:pt x="203" y="67"/>
                </a:cubicBezTo>
                <a:cubicBezTo>
                  <a:pt x="202" y="68"/>
                  <a:pt x="202" y="68"/>
                  <a:pt x="202" y="68"/>
                </a:cubicBezTo>
                <a:cubicBezTo>
                  <a:pt x="202" y="69"/>
                  <a:pt x="202" y="69"/>
                  <a:pt x="202" y="69"/>
                </a:cubicBezTo>
                <a:cubicBezTo>
                  <a:pt x="203" y="68"/>
                  <a:pt x="203" y="68"/>
                  <a:pt x="203" y="68"/>
                </a:cubicBezTo>
                <a:cubicBezTo>
                  <a:pt x="204" y="68"/>
                  <a:pt x="204" y="68"/>
                  <a:pt x="204" y="68"/>
                </a:cubicBezTo>
                <a:cubicBezTo>
                  <a:pt x="204" y="69"/>
                  <a:pt x="204" y="69"/>
                  <a:pt x="204" y="69"/>
                </a:cubicBezTo>
                <a:cubicBezTo>
                  <a:pt x="206" y="69"/>
                  <a:pt x="206" y="69"/>
                  <a:pt x="206" y="69"/>
                </a:cubicBezTo>
                <a:cubicBezTo>
                  <a:pt x="206" y="70"/>
                  <a:pt x="206" y="70"/>
                  <a:pt x="206" y="70"/>
                </a:cubicBezTo>
                <a:cubicBezTo>
                  <a:pt x="206" y="72"/>
                  <a:pt x="206" y="72"/>
                  <a:pt x="206" y="72"/>
                </a:cubicBezTo>
                <a:cubicBezTo>
                  <a:pt x="205" y="74"/>
                  <a:pt x="205" y="74"/>
                  <a:pt x="205" y="74"/>
                </a:cubicBezTo>
                <a:cubicBezTo>
                  <a:pt x="203" y="74"/>
                  <a:pt x="203" y="74"/>
                  <a:pt x="203" y="74"/>
                </a:cubicBezTo>
                <a:cubicBezTo>
                  <a:pt x="205" y="72"/>
                  <a:pt x="205" y="72"/>
                  <a:pt x="205" y="72"/>
                </a:cubicBezTo>
                <a:cubicBezTo>
                  <a:pt x="205" y="71"/>
                  <a:pt x="205" y="71"/>
                  <a:pt x="205" y="71"/>
                </a:cubicBezTo>
                <a:cubicBezTo>
                  <a:pt x="204" y="71"/>
                  <a:pt x="204" y="71"/>
                  <a:pt x="204" y="71"/>
                </a:cubicBezTo>
                <a:cubicBezTo>
                  <a:pt x="203" y="71"/>
                  <a:pt x="203" y="71"/>
                  <a:pt x="203" y="71"/>
                </a:cubicBezTo>
                <a:cubicBezTo>
                  <a:pt x="203" y="71"/>
                  <a:pt x="203" y="71"/>
                  <a:pt x="203" y="71"/>
                </a:cubicBezTo>
                <a:cubicBezTo>
                  <a:pt x="201" y="73"/>
                  <a:pt x="201" y="73"/>
                  <a:pt x="201" y="73"/>
                </a:cubicBezTo>
                <a:cubicBezTo>
                  <a:pt x="201" y="74"/>
                  <a:pt x="201" y="74"/>
                  <a:pt x="201" y="74"/>
                </a:cubicBezTo>
                <a:cubicBezTo>
                  <a:pt x="200" y="74"/>
                  <a:pt x="200" y="74"/>
                  <a:pt x="200" y="74"/>
                </a:cubicBezTo>
                <a:cubicBezTo>
                  <a:pt x="198" y="75"/>
                  <a:pt x="198" y="75"/>
                  <a:pt x="198" y="75"/>
                </a:cubicBezTo>
                <a:cubicBezTo>
                  <a:pt x="198" y="74"/>
                  <a:pt x="198" y="74"/>
                  <a:pt x="198" y="74"/>
                </a:cubicBezTo>
                <a:cubicBezTo>
                  <a:pt x="198" y="73"/>
                  <a:pt x="198" y="73"/>
                  <a:pt x="198" y="73"/>
                </a:cubicBezTo>
                <a:cubicBezTo>
                  <a:pt x="196" y="73"/>
                  <a:pt x="196" y="73"/>
                  <a:pt x="196" y="73"/>
                </a:cubicBezTo>
                <a:cubicBezTo>
                  <a:pt x="195" y="73"/>
                  <a:pt x="195" y="73"/>
                  <a:pt x="195" y="73"/>
                </a:cubicBezTo>
                <a:cubicBezTo>
                  <a:pt x="195" y="72"/>
                  <a:pt x="195" y="72"/>
                  <a:pt x="195" y="72"/>
                </a:cubicBezTo>
                <a:cubicBezTo>
                  <a:pt x="194" y="72"/>
                  <a:pt x="194" y="72"/>
                  <a:pt x="194" y="72"/>
                </a:cubicBezTo>
                <a:cubicBezTo>
                  <a:pt x="193" y="72"/>
                  <a:pt x="193" y="72"/>
                  <a:pt x="193" y="72"/>
                </a:cubicBezTo>
                <a:cubicBezTo>
                  <a:pt x="192" y="72"/>
                  <a:pt x="192" y="72"/>
                  <a:pt x="192" y="72"/>
                </a:cubicBezTo>
                <a:cubicBezTo>
                  <a:pt x="192" y="71"/>
                  <a:pt x="192" y="71"/>
                  <a:pt x="192" y="71"/>
                </a:cubicBezTo>
                <a:cubicBezTo>
                  <a:pt x="191" y="70"/>
                  <a:pt x="191" y="70"/>
                  <a:pt x="191" y="70"/>
                </a:cubicBezTo>
                <a:cubicBezTo>
                  <a:pt x="191" y="71"/>
                  <a:pt x="191" y="71"/>
                  <a:pt x="191" y="71"/>
                </a:cubicBezTo>
                <a:cubicBezTo>
                  <a:pt x="190" y="71"/>
                  <a:pt x="190" y="71"/>
                  <a:pt x="190" y="71"/>
                </a:cubicBezTo>
                <a:cubicBezTo>
                  <a:pt x="190" y="69"/>
                  <a:pt x="190" y="69"/>
                  <a:pt x="190" y="69"/>
                </a:cubicBezTo>
                <a:cubicBezTo>
                  <a:pt x="189" y="68"/>
                  <a:pt x="189" y="68"/>
                  <a:pt x="189" y="68"/>
                </a:cubicBezTo>
                <a:cubicBezTo>
                  <a:pt x="189" y="67"/>
                  <a:pt x="189" y="67"/>
                  <a:pt x="189" y="67"/>
                </a:cubicBezTo>
                <a:cubicBezTo>
                  <a:pt x="191" y="67"/>
                  <a:pt x="191" y="67"/>
                  <a:pt x="191" y="67"/>
                </a:cubicBezTo>
                <a:cubicBezTo>
                  <a:pt x="192" y="65"/>
                  <a:pt x="192" y="65"/>
                  <a:pt x="192" y="65"/>
                </a:cubicBezTo>
                <a:cubicBezTo>
                  <a:pt x="193" y="65"/>
                  <a:pt x="193" y="65"/>
                  <a:pt x="193" y="65"/>
                </a:cubicBezTo>
                <a:cubicBezTo>
                  <a:pt x="193" y="64"/>
                  <a:pt x="193" y="64"/>
                  <a:pt x="193" y="64"/>
                </a:cubicBezTo>
                <a:cubicBezTo>
                  <a:pt x="193" y="63"/>
                  <a:pt x="193" y="63"/>
                  <a:pt x="193" y="63"/>
                </a:cubicBezTo>
                <a:cubicBezTo>
                  <a:pt x="192" y="62"/>
                  <a:pt x="192" y="62"/>
                  <a:pt x="192" y="62"/>
                </a:cubicBezTo>
                <a:cubicBezTo>
                  <a:pt x="191" y="61"/>
                  <a:pt x="191" y="61"/>
                  <a:pt x="191" y="61"/>
                </a:cubicBezTo>
                <a:cubicBezTo>
                  <a:pt x="189" y="61"/>
                  <a:pt x="189" y="61"/>
                  <a:pt x="189" y="61"/>
                </a:cubicBezTo>
                <a:cubicBezTo>
                  <a:pt x="187" y="62"/>
                  <a:pt x="187" y="62"/>
                  <a:pt x="187" y="62"/>
                </a:cubicBezTo>
                <a:cubicBezTo>
                  <a:pt x="186" y="62"/>
                  <a:pt x="186" y="62"/>
                  <a:pt x="186" y="62"/>
                </a:cubicBezTo>
                <a:cubicBezTo>
                  <a:pt x="185" y="62"/>
                  <a:pt x="185" y="62"/>
                  <a:pt x="185" y="62"/>
                </a:cubicBezTo>
                <a:cubicBezTo>
                  <a:pt x="184" y="62"/>
                  <a:pt x="184" y="62"/>
                  <a:pt x="184" y="62"/>
                </a:cubicBezTo>
                <a:cubicBezTo>
                  <a:pt x="180" y="63"/>
                  <a:pt x="180" y="63"/>
                  <a:pt x="180" y="63"/>
                </a:cubicBezTo>
                <a:cubicBezTo>
                  <a:pt x="180" y="64"/>
                  <a:pt x="180" y="64"/>
                  <a:pt x="180" y="64"/>
                </a:cubicBezTo>
                <a:cubicBezTo>
                  <a:pt x="181" y="64"/>
                  <a:pt x="181" y="64"/>
                  <a:pt x="181" y="64"/>
                </a:cubicBezTo>
                <a:cubicBezTo>
                  <a:pt x="182" y="66"/>
                  <a:pt x="182" y="66"/>
                  <a:pt x="182" y="66"/>
                </a:cubicBezTo>
                <a:cubicBezTo>
                  <a:pt x="182" y="66"/>
                  <a:pt x="182" y="66"/>
                  <a:pt x="182" y="66"/>
                </a:cubicBezTo>
                <a:cubicBezTo>
                  <a:pt x="181" y="66"/>
                  <a:pt x="181" y="66"/>
                  <a:pt x="181" y="66"/>
                </a:cubicBezTo>
                <a:cubicBezTo>
                  <a:pt x="180" y="66"/>
                  <a:pt x="180" y="66"/>
                  <a:pt x="180" y="66"/>
                </a:cubicBezTo>
                <a:cubicBezTo>
                  <a:pt x="179" y="65"/>
                  <a:pt x="179" y="65"/>
                  <a:pt x="179" y="65"/>
                </a:cubicBezTo>
                <a:cubicBezTo>
                  <a:pt x="178" y="65"/>
                  <a:pt x="178" y="65"/>
                  <a:pt x="178" y="65"/>
                </a:cubicBezTo>
                <a:cubicBezTo>
                  <a:pt x="176" y="64"/>
                  <a:pt x="176" y="64"/>
                  <a:pt x="176" y="64"/>
                </a:cubicBezTo>
                <a:cubicBezTo>
                  <a:pt x="174" y="65"/>
                  <a:pt x="174" y="65"/>
                  <a:pt x="174" y="65"/>
                </a:cubicBezTo>
                <a:cubicBezTo>
                  <a:pt x="173" y="66"/>
                  <a:pt x="173" y="66"/>
                  <a:pt x="173" y="66"/>
                </a:cubicBezTo>
                <a:cubicBezTo>
                  <a:pt x="173" y="66"/>
                  <a:pt x="173" y="66"/>
                  <a:pt x="173" y="66"/>
                </a:cubicBezTo>
                <a:cubicBezTo>
                  <a:pt x="171" y="66"/>
                  <a:pt x="171" y="66"/>
                  <a:pt x="171" y="66"/>
                </a:cubicBezTo>
                <a:cubicBezTo>
                  <a:pt x="171" y="66"/>
                  <a:pt x="171" y="66"/>
                  <a:pt x="171" y="66"/>
                </a:cubicBezTo>
                <a:cubicBezTo>
                  <a:pt x="170" y="66"/>
                  <a:pt x="170" y="66"/>
                  <a:pt x="170" y="66"/>
                </a:cubicBezTo>
                <a:cubicBezTo>
                  <a:pt x="168" y="67"/>
                  <a:pt x="168" y="67"/>
                  <a:pt x="168" y="67"/>
                </a:cubicBezTo>
                <a:cubicBezTo>
                  <a:pt x="168" y="68"/>
                  <a:pt x="168" y="68"/>
                  <a:pt x="168" y="68"/>
                </a:cubicBezTo>
                <a:cubicBezTo>
                  <a:pt x="167" y="68"/>
                  <a:pt x="167" y="68"/>
                  <a:pt x="167" y="68"/>
                </a:cubicBezTo>
                <a:cubicBezTo>
                  <a:pt x="166" y="69"/>
                  <a:pt x="166" y="69"/>
                  <a:pt x="166" y="69"/>
                </a:cubicBezTo>
                <a:cubicBezTo>
                  <a:pt x="164" y="70"/>
                  <a:pt x="164" y="70"/>
                  <a:pt x="164" y="70"/>
                </a:cubicBezTo>
                <a:cubicBezTo>
                  <a:pt x="163" y="70"/>
                  <a:pt x="163" y="70"/>
                  <a:pt x="163" y="70"/>
                </a:cubicBezTo>
                <a:cubicBezTo>
                  <a:pt x="164" y="69"/>
                  <a:pt x="164" y="69"/>
                  <a:pt x="164" y="69"/>
                </a:cubicBezTo>
                <a:cubicBezTo>
                  <a:pt x="164" y="69"/>
                  <a:pt x="164" y="69"/>
                  <a:pt x="164" y="69"/>
                </a:cubicBezTo>
                <a:cubicBezTo>
                  <a:pt x="163" y="69"/>
                  <a:pt x="163" y="69"/>
                  <a:pt x="163" y="69"/>
                </a:cubicBezTo>
                <a:cubicBezTo>
                  <a:pt x="162" y="70"/>
                  <a:pt x="162" y="70"/>
                  <a:pt x="162" y="70"/>
                </a:cubicBezTo>
                <a:cubicBezTo>
                  <a:pt x="162" y="71"/>
                  <a:pt x="162" y="71"/>
                  <a:pt x="162" y="71"/>
                </a:cubicBezTo>
                <a:cubicBezTo>
                  <a:pt x="164" y="73"/>
                  <a:pt x="164" y="73"/>
                  <a:pt x="164" y="73"/>
                </a:cubicBezTo>
                <a:cubicBezTo>
                  <a:pt x="165" y="76"/>
                  <a:pt x="165" y="76"/>
                  <a:pt x="165" y="76"/>
                </a:cubicBezTo>
                <a:cubicBezTo>
                  <a:pt x="167" y="76"/>
                  <a:pt x="167" y="76"/>
                  <a:pt x="167" y="76"/>
                </a:cubicBezTo>
                <a:cubicBezTo>
                  <a:pt x="168" y="78"/>
                  <a:pt x="168" y="78"/>
                  <a:pt x="168" y="78"/>
                </a:cubicBezTo>
                <a:cubicBezTo>
                  <a:pt x="170" y="79"/>
                  <a:pt x="170" y="79"/>
                  <a:pt x="170" y="79"/>
                </a:cubicBezTo>
                <a:cubicBezTo>
                  <a:pt x="170" y="80"/>
                  <a:pt x="170" y="80"/>
                  <a:pt x="170" y="80"/>
                </a:cubicBezTo>
                <a:cubicBezTo>
                  <a:pt x="172" y="80"/>
                  <a:pt x="172" y="80"/>
                  <a:pt x="172" y="80"/>
                </a:cubicBezTo>
                <a:cubicBezTo>
                  <a:pt x="173" y="81"/>
                  <a:pt x="173" y="81"/>
                  <a:pt x="173" y="81"/>
                </a:cubicBezTo>
                <a:cubicBezTo>
                  <a:pt x="173" y="82"/>
                  <a:pt x="173" y="82"/>
                  <a:pt x="173" y="82"/>
                </a:cubicBezTo>
                <a:cubicBezTo>
                  <a:pt x="170" y="82"/>
                  <a:pt x="170" y="82"/>
                  <a:pt x="170" y="82"/>
                </a:cubicBezTo>
                <a:cubicBezTo>
                  <a:pt x="170" y="80"/>
                  <a:pt x="170" y="80"/>
                  <a:pt x="170" y="80"/>
                </a:cubicBezTo>
                <a:cubicBezTo>
                  <a:pt x="169" y="79"/>
                  <a:pt x="169" y="79"/>
                  <a:pt x="169" y="79"/>
                </a:cubicBezTo>
                <a:cubicBezTo>
                  <a:pt x="168" y="79"/>
                  <a:pt x="168" y="79"/>
                  <a:pt x="168" y="79"/>
                </a:cubicBezTo>
                <a:cubicBezTo>
                  <a:pt x="167" y="79"/>
                  <a:pt x="167" y="79"/>
                  <a:pt x="167" y="79"/>
                </a:cubicBezTo>
                <a:cubicBezTo>
                  <a:pt x="166" y="80"/>
                  <a:pt x="166" y="80"/>
                  <a:pt x="166" y="80"/>
                </a:cubicBezTo>
                <a:cubicBezTo>
                  <a:pt x="165" y="80"/>
                  <a:pt x="165" y="80"/>
                  <a:pt x="165" y="80"/>
                </a:cubicBezTo>
                <a:cubicBezTo>
                  <a:pt x="164" y="79"/>
                  <a:pt x="164" y="79"/>
                  <a:pt x="164" y="79"/>
                </a:cubicBezTo>
                <a:cubicBezTo>
                  <a:pt x="165" y="78"/>
                  <a:pt x="165" y="78"/>
                  <a:pt x="165" y="78"/>
                </a:cubicBezTo>
                <a:cubicBezTo>
                  <a:pt x="165" y="77"/>
                  <a:pt x="165" y="77"/>
                  <a:pt x="165" y="77"/>
                </a:cubicBezTo>
                <a:cubicBezTo>
                  <a:pt x="164" y="77"/>
                  <a:pt x="164" y="77"/>
                  <a:pt x="164" y="77"/>
                </a:cubicBezTo>
                <a:cubicBezTo>
                  <a:pt x="163" y="79"/>
                  <a:pt x="163" y="79"/>
                  <a:pt x="163" y="79"/>
                </a:cubicBezTo>
                <a:cubicBezTo>
                  <a:pt x="164" y="81"/>
                  <a:pt x="164" y="81"/>
                  <a:pt x="164" y="81"/>
                </a:cubicBezTo>
                <a:cubicBezTo>
                  <a:pt x="164" y="82"/>
                  <a:pt x="164" y="82"/>
                  <a:pt x="164" y="82"/>
                </a:cubicBezTo>
                <a:cubicBezTo>
                  <a:pt x="164" y="83"/>
                  <a:pt x="164" y="83"/>
                  <a:pt x="164" y="83"/>
                </a:cubicBezTo>
                <a:cubicBezTo>
                  <a:pt x="163" y="84"/>
                  <a:pt x="163" y="84"/>
                  <a:pt x="163" y="84"/>
                </a:cubicBezTo>
                <a:cubicBezTo>
                  <a:pt x="162" y="85"/>
                  <a:pt x="162" y="85"/>
                  <a:pt x="162" y="85"/>
                </a:cubicBezTo>
                <a:cubicBezTo>
                  <a:pt x="161" y="87"/>
                  <a:pt x="161" y="87"/>
                  <a:pt x="161" y="87"/>
                </a:cubicBezTo>
                <a:cubicBezTo>
                  <a:pt x="162" y="89"/>
                  <a:pt x="162" y="89"/>
                  <a:pt x="162" y="89"/>
                </a:cubicBezTo>
                <a:cubicBezTo>
                  <a:pt x="164" y="91"/>
                  <a:pt x="164" y="91"/>
                  <a:pt x="164" y="91"/>
                </a:cubicBezTo>
                <a:cubicBezTo>
                  <a:pt x="166" y="92"/>
                  <a:pt x="166" y="92"/>
                  <a:pt x="166" y="92"/>
                </a:cubicBezTo>
                <a:cubicBezTo>
                  <a:pt x="167" y="94"/>
                  <a:pt x="167" y="94"/>
                  <a:pt x="167" y="94"/>
                </a:cubicBezTo>
                <a:cubicBezTo>
                  <a:pt x="168" y="94"/>
                  <a:pt x="168" y="94"/>
                  <a:pt x="168" y="94"/>
                </a:cubicBezTo>
                <a:cubicBezTo>
                  <a:pt x="170" y="93"/>
                  <a:pt x="170" y="93"/>
                  <a:pt x="170" y="93"/>
                </a:cubicBezTo>
                <a:cubicBezTo>
                  <a:pt x="171" y="92"/>
                  <a:pt x="171" y="92"/>
                  <a:pt x="171" y="92"/>
                </a:cubicBezTo>
                <a:cubicBezTo>
                  <a:pt x="173" y="93"/>
                  <a:pt x="173" y="93"/>
                  <a:pt x="173" y="93"/>
                </a:cubicBezTo>
                <a:cubicBezTo>
                  <a:pt x="176" y="93"/>
                  <a:pt x="176" y="93"/>
                  <a:pt x="176" y="93"/>
                </a:cubicBezTo>
                <a:cubicBezTo>
                  <a:pt x="177" y="94"/>
                  <a:pt x="177" y="94"/>
                  <a:pt x="177" y="94"/>
                </a:cubicBezTo>
                <a:cubicBezTo>
                  <a:pt x="177" y="95"/>
                  <a:pt x="177" y="95"/>
                  <a:pt x="177" y="95"/>
                </a:cubicBezTo>
                <a:cubicBezTo>
                  <a:pt x="178" y="96"/>
                  <a:pt x="178" y="96"/>
                  <a:pt x="178" y="96"/>
                </a:cubicBezTo>
                <a:cubicBezTo>
                  <a:pt x="178" y="95"/>
                  <a:pt x="178" y="95"/>
                  <a:pt x="178" y="95"/>
                </a:cubicBezTo>
                <a:cubicBezTo>
                  <a:pt x="178" y="93"/>
                  <a:pt x="178" y="93"/>
                  <a:pt x="178" y="93"/>
                </a:cubicBezTo>
                <a:cubicBezTo>
                  <a:pt x="179" y="93"/>
                  <a:pt x="179" y="93"/>
                  <a:pt x="179" y="93"/>
                </a:cubicBezTo>
                <a:cubicBezTo>
                  <a:pt x="180" y="93"/>
                  <a:pt x="180" y="93"/>
                  <a:pt x="180" y="93"/>
                </a:cubicBezTo>
                <a:cubicBezTo>
                  <a:pt x="180" y="94"/>
                  <a:pt x="180" y="94"/>
                  <a:pt x="180" y="94"/>
                </a:cubicBezTo>
                <a:cubicBezTo>
                  <a:pt x="179" y="95"/>
                  <a:pt x="179" y="95"/>
                  <a:pt x="179" y="95"/>
                </a:cubicBezTo>
                <a:cubicBezTo>
                  <a:pt x="179" y="97"/>
                  <a:pt x="179" y="97"/>
                  <a:pt x="179" y="97"/>
                </a:cubicBezTo>
                <a:cubicBezTo>
                  <a:pt x="179" y="97"/>
                  <a:pt x="179" y="97"/>
                  <a:pt x="179" y="97"/>
                </a:cubicBezTo>
                <a:cubicBezTo>
                  <a:pt x="181" y="95"/>
                  <a:pt x="181" y="95"/>
                  <a:pt x="181" y="95"/>
                </a:cubicBezTo>
                <a:cubicBezTo>
                  <a:pt x="181" y="95"/>
                  <a:pt x="181" y="95"/>
                  <a:pt x="181" y="95"/>
                </a:cubicBezTo>
                <a:cubicBezTo>
                  <a:pt x="183" y="94"/>
                  <a:pt x="183" y="94"/>
                  <a:pt x="183" y="94"/>
                </a:cubicBezTo>
                <a:cubicBezTo>
                  <a:pt x="186" y="93"/>
                  <a:pt x="186" y="93"/>
                  <a:pt x="186" y="93"/>
                </a:cubicBezTo>
                <a:cubicBezTo>
                  <a:pt x="188" y="92"/>
                  <a:pt x="188" y="92"/>
                  <a:pt x="188" y="92"/>
                </a:cubicBezTo>
                <a:cubicBezTo>
                  <a:pt x="189" y="91"/>
                  <a:pt x="189" y="91"/>
                  <a:pt x="189" y="91"/>
                </a:cubicBezTo>
                <a:cubicBezTo>
                  <a:pt x="189" y="91"/>
                  <a:pt x="189" y="91"/>
                  <a:pt x="189" y="91"/>
                </a:cubicBezTo>
                <a:cubicBezTo>
                  <a:pt x="189" y="92"/>
                  <a:pt x="189" y="92"/>
                  <a:pt x="189" y="92"/>
                </a:cubicBezTo>
                <a:cubicBezTo>
                  <a:pt x="190" y="92"/>
                  <a:pt x="190" y="92"/>
                  <a:pt x="190" y="92"/>
                </a:cubicBezTo>
                <a:cubicBezTo>
                  <a:pt x="192" y="91"/>
                  <a:pt x="192" y="91"/>
                  <a:pt x="192" y="91"/>
                </a:cubicBezTo>
                <a:cubicBezTo>
                  <a:pt x="194" y="91"/>
                  <a:pt x="194" y="91"/>
                  <a:pt x="194" y="91"/>
                </a:cubicBezTo>
                <a:cubicBezTo>
                  <a:pt x="194" y="90"/>
                  <a:pt x="194" y="90"/>
                  <a:pt x="194" y="90"/>
                </a:cubicBezTo>
                <a:cubicBezTo>
                  <a:pt x="194" y="91"/>
                  <a:pt x="194" y="91"/>
                  <a:pt x="194" y="91"/>
                </a:cubicBezTo>
                <a:cubicBezTo>
                  <a:pt x="192" y="92"/>
                  <a:pt x="192" y="92"/>
                  <a:pt x="192" y="92"/>
                </a:cubicBezTo>
                <a:cubicBezTo>
                  <a:pt x="193" y="93"/>
                  <a:pt x="193" y="93"/>
                  <a:pt x="193" y="93"/>
                </a:cubicBezTo>
                <a:cubicBezTo>
                  <a:pt x="193" y="93"/>
                  <a:pt x="193" y="93"/>
                  <a:pt x="193" y="93"/>
                </a:cubicBezTo>
                <a:cubicBezTo>
                  <a:pt x="192" y="95"/>
                  <a:pt x="192" y="95"/>
                  <a:pt x="192" y="95"/>
                </a:cubicBezTo>
                <a:cubicBezTo>
                  <a:pt x="190" y="95"/>
                  <a:pt x="190" y="95"/>
                  <a:pt x="190" y="95"/>
                </a:cubicBezTo>
                <a:cubicBezTo>
                  <a:pt x="190" y="95"/>
                  <a:pt x="190" y="95"/>
                  <a:pt x="190" y="95"/>
                </a:cubicBezTo>
                <a:cubicBezTo>
                  <a:pt x="189" y="95"/>
                  <a:pt x="189" y="95"/>
                  <a:pt x="189" y="95"/>
                </a:cubicBezTo>
                <a:cubicBezTo>
                  <a:pt x="187" y="96"/>
                  <a:pt x="187" y="96"/>
                  <a:pt x="187" y="96"/>
                </a:cubicBezTo>
                <a:cubicBezTo>
                  <a:pt x="187" y="96"/>
                  <a:pt x="187" y="96"/>
                  <a:pt x="187" y="96"/>
                </a:cubicBezTo>
                <a:cubicBezTo>
                  <a:pt x="189" y="96"/>
                  <a:pt x="189" y="96"/>
                  <a:pt x="189" y="96"/>
                </a:cubicBezTo>
                <a:cubicBezTo>
                  <a:pt x="190" y="97"/>
                  <a:pt x="190" y="97"/>
                  <a:pt x="190" y="97"/>
                </a:cubicBezTo>
                <a:cubicBezTo>
                  <a:pt x="189" y="99"/>
                  <a:pt x="189" y="99"/>
                  <a:pt x="189" y="99"/>
                </a:cubicBezTo>
                <a:cubicBezTo>
                  <a:pt x="187" y="101"/>
                  <a:pt x="187" y="101"/>
                  <a:pt x="187" y="101"/>
                </a:cubicBezTo>
                <a:cubicBezTo>
                  <a:pt x="187" y="103"/>
                  <a:pt x="187" y="103"/>
                  <a:pt x="187" y="103"/>
                </a:cubicBezTo>
                <a:cubicBezTo>
                  <a:pt x="186" y="104"/>
                  <a:pt x="186" y="104"/>
                  <a:pt x="186" y="104"/>
                </a:cubicBezTo>
                <a:cubicBezTo>
                  <a:pt x="186" y="104"/>
                  <a:pt x="186" y="104"/>
                  <a:pt x="186" y="104"/>
                </a:cubicBezTo>
                <a:cubicBezTo>
                  <a:pt x="186" y="105"/>
                  <a:pt x="186" y="105"/>
                  <a:pt x="186" y="105"/>
                </a:cubicBezTo>
                <a:cubicBezTo>
                  <a:pt x="187" y="106"/>
                  <a:pt x="187" y="106"/>
                  <a:pt x="187" y="106"/>
                </a:cubicBezTo>
                <a:cubicBezTo>
                  <a:pt x="186" y="107"/>
                  <a:pt x="186" y="107"/>
                  <a:pt x="186" y="107"/>
                </a:cubicBezTo>
                <a:cubicBezTo>
                  <a:pt x="185" y="109"/>
                  <a:pt x="185" y="109"/>
                  <a:pt x="185" y="109"/>
                </a:cubicBezTo>
                <a:cubicBezTo>
                  <a:pt x="184" y="110"/>
                  <a:pt x="184" y="110"/>
                  <a:pt x="184" y="110"/>
                </a:cubicBezTo>
                <a:cubicBezTo>
                  <a:pt x="183" y="109"/>
                  <a:pt x="183" y="109"/>
                  <a:pt x="183" y="109"/>
                </a:cubicBezTo>
                <a:cubicBezTo>
                  <a:pt x="182" y="110"/>
                  <a:pt x="182" y="110"/>
                  <a:pt x="182" y="110"/>
                </a:cubicBezTo>
                <a:cubicBezTo>
                  <a:pt x="181" y="111"/>
                  <a:pt x="181" y="111"/>
                  <a:pt x="181" y="111"/>
                </a:cubicBezTo>
                <a:cubicBezTo>
                  <a:pt x="180" y="111"/>
                  <a:pt x="180" y="111"/>
                  <a:pt x="180" y="111"/>
                </a:cubicBezTo>
                <a:cubicBezTo>
                  <a:pt x="178" y="111"/>
                  <a:pt x="178" y="111"/>
                  <a:pt x="178" y="111"/>
                </a:cubicBezTo>
                <a:cubicBezTo>
                  <a:pt x="177" y="110"/>
                  <a:pt x="177" y="110"/>
                  <a:pt x="177" y="110"/>
                </a:cubicBezTo>
                <a:cubicBezTo>
                  <a:pt x="176" y="110"/>
                  <a:pt x="176" y="110"/>
                  <a:pt x="176" y="110"/>
                </a:cubicBezTo>
                <a:cubicBezTo>
                  <a:pt x="176" y="110"/>
                  <a:pt x="176" y="110"/>
                  <a:pt x="176" y="110"/>
                </a:cubicBezTo>
                <a:cubicBezTo>
                  <a:pt x="175" y="109"/>
                  <a:pt x="175" y="109"/>
                  <a:pt x="175" y="109"/>
                </a:cubicBezTo>
                <a:cubicBezTo>
                  <a:pt x="174" y="109"/>
                  <a:pt x="174" y="109"/>
                  <a:pt x="174" y="109"/>
                </a:cubicBezTo>
                <a:cubicBezTo>
                  <a:pt x="173" y="110"/>
                  <a:pt x="173" y="110"/>
                  <a:pt x="173" y="110"/>
                </a:cubicBezTo>
                <a:cubicBezTo>
                  <a:pt x="172" y="111"/>
                  <a:pt x="172" y="111"/>
                  <a:pt x="172" y="111"/>
                </a:cubicBezTo>
                <a:cubicBezTo>
                  <a:pt x="171" y="113"/>
                  <a:pt x="171" y="113"/>
                  <a:pt x="171" y="113"/>
                </a:cubicBezTo>
                <a:cubicBezTo>
                  <a:pt x="168" y="113"/>
                  <a:pt x="168" y="113"/>
                  <a:pt x="168" y="113"/>
                </a:cubicBezTo>
                <a:cubicBezTo>
                  <a:pt x="167" y="114"/>
                  <a:pt x="167" y="114"/>
                  <a:pt x="167" y="114"/>
                </a:cubicBezTo>
                <a:cubicBezTo>
                  <a:pt x="166" y="114"/>
                  <a:pt x="166" y="114"/>
                  <a:pt x="166" y="114"/>
                </a:cubicBezTo>
                <a:cubicBezTo>
                  <a:pt x="165" y="114"/>
                  <a:pt x="165" y="114"/>
                  <a:pt x="165" y="114"/>
                </a:cubicBezTo>
                <a:cubicBezTo>
                  <a:pt x="163" y="114"/>
                  <a:pt x="163" y="114"/>
                  <a:pt x="163" y="114"/>
                </a:cubicBezTo>
                <a:cubicBezTo>
                  <a:pt x="162" y="115"/>
                  <a:pt x="162" y="115"/>
                  <a:pt x="162" y="115"/>
                </a:cubicBezTo>
                <a:cubicBezTo>
                  <a:pt x="160" y="115"/>
                  <a:pt x="160" y="115"/>
                  <a:pt x="160" y="115"/>
                </a:cubicBezTo>
                <a:cubicBezTo>
                  <a:pt x="159" y="116"/>
                  <a:pt x="159" y="116"/>
                  <a:pt x="159" y="116"/>
                </a:cubicBezTo>
                <a:cubicBezTo>
                  <a:pt x="159" y="117"/>
                  <a:pt x="159" y="117"/>
                  <a:pt x="159" y="117"/>
                </a:cubicBezTo>
                <a:cubicBezTo>
                  <a:pt x="158" y="119"/>
                  <a:pt x="158" y="119"/>
                  <a:pt x="158" y="119"/>
                </a:cubicBezTo>
                <a:cubicBezTo>
                  <a:pt x="158" y="120"/>
                  <a:pt x="158" y="120"/>
                  <a:pt x="158" y="120"/>
                </a:cubicBezTo>
                <a:cubicBezTo>
                  <a:pt x="157" y="120"/>
                  <a:pt x="157" y="120"/>
                  <a:pt x="157" y="120"/>
                </a:cubicBezTo>
                <a:cubicBezTo>
                  <a:pt x="156" y="118"/>
                  <a:pt x="156" y="118"/>
                  <a:pt x="156" y="118"/>
                </a:cubicBezTo>
                <a:cubicBezTo>
                  <a:pt x="154" y="118"/>
                  <a:pt x="154" y="118"/>
                  <a:pt x="154" y="118"/>
                </a:cubicBezTo>
                <a:cubicBezTo>
                  <a:pt x="153" y="118"/>
                  <a:pt x="153" y="118"/>
                  <a:pt x="153" y="118"/>
                </a:cubicBezTo>
                <a:cubicBezTo>
                  <a:pt x="154" y="119"/>
                  <a:pt x="154" y="119"/>
                  <a:pt x="154" y="119"/>
                </a:cubicBezTo>
                <a:cubicBezTo>
                  <a:pt x="154" y="120"/>
                  <a:pt x="154" y="120"/>
                  <a:pt x="154" y="120"/>
                </a:cubicBezTo>
                <a:cubicBezTo>
                  <a:pt x="154" y="121"/>
                  <a:pt x="154" y="121"/>
                  <a:pt x="154" y="121"/>
                </a:cubicBezTo>
                <a:cubicBezTo>
                  <a:pt x="153" y="121"/>
                  <a:pt x="153" y="121"/>
                  <a:pt x="153" y="121"/>
                </a:cubicBezTo>
                <a:cubicBezTo>
                  <a:pt x="153" y="120"/>
                  <a:pt x="153" y="120"/>
                  <a:pt x="153" y="120"/>
                </a:cubicBezTo>
                <a:cubicBezTo>
                  <a:pt x="152" y="118"/>
                  <a:pt x="152" y="118"/>
                  <a:pt x="152" y="118"/>
                </a:cubicBezTo>
                <a:cubicBezTo>
                  <a:pt x="151" y="119"/>
                  <a:pt x="151" y="119"/>
                  <a:pt x="151" y="119"/>
                </a:cubicBezTo>
                <a:cubicBezTo>
                  <a:pt x="149" y="120"/>
                  <a:pt x="149" y="120"/>
                  <a:pt x="149" y="120"/>
                </a:cubicBezTo>
                <a:cubicBezTo>
                  <a:pt x="149" y="122"/>
                  <a:pt x="149" y="122"/>
                  <a:pt x="149" y="122"/>
                </a:cubicBezTo>
                <a:cubicBezTo>
                  <a:pt x="148" y="122"/>
                  <a:pt x="148" y="122"/>
                  <a:pt x="148" y="122"/>
                </a:cubicBezTo>
                <a:cubicBezTo>
                  <a:pt x="147" y="122"/>
                  <a:pt x="147" y="122"/>
                  <a:pt x="147" y="122"/>
                </a:cubicBezTo>
                <a:cubicBezTo>
                  <a:pt x="144" y="125"/>
                  <a:pt x="144" y="125"/>
                  <a:pt x="144" y="125"/>
                </a:cubicBezTo>
                <a:cubicBezTo>
                  <a:pt x="144" y="127"/>
                  <a:pt x="144" y="127"/>
                  <a:pt x="144" y="127"/>
                </a:cubicBezTo>
                <a:cubicBezTo>
                  <a:pt x="143" y="127"/>
                  <a:pt x="143" y="127"/>
                  <a:pt x="143" y="127"/>
                </a:cubicBezTo>
                <a:cubicBezTo>
                  <a:pt x="142" y="127"/>
                  <a:pt x="142" y="127"/>
                  <a:pt x="142" y="127"/>
                </a:cubicBezTo>
                <a:cubicBezTo>
                  <a:pt x="141" y="127"/>
                  <a:pt x="141" y="127"/>
                  <a:pt x="141" y="127"/>
                </a:cubicBezTo>
                <a:cubicBezTo>
                  <a:pt x="140" y="127"/>
                  <a:pt x="140" y="127"/>
                  <a:pt x="140" y="127"/>
                </a:cubicBezTo>
                <a:cubicBezTo>
                  <a:pt x="142" y="129"/>
                  <a:pt x="142" y="129"/>
                  <a:pt x="142" y="129"/>
                </a:cubicBezTo>
                <a:cubicBezTo>
                  <a:pt x="141" y="130"/>
                  <a:pt x="141" y="130"/>
                  <a:pt x="141" y="130"/>
                </a:cubicBezTo>
                <a:cubicBezTo>
                  <a:pt x="141" y="130"/>
                  <a:pt x="141" y="130"/>
                  <a:pt x="141" y="130"/>
                </a:cubicBezTo>
                <a:cubicBezTo>
                  <a:pt x="140" y="129"/>
                  <a:pt x="140" y="129"/>
                  <a:pt x="140" y="129"/>
                </a:cubicBezTo>
                <a:cubicBezTo>
                  <a:pt x="139" y="129"/>
                  <a:pt x="139" y="129"/>
                  <a:pt x="139" y="129"/>
                </a:cubicBezTo>
                <a:cubicBezTo>
                  <a:pt x="139" y="130"/>
                  <a:pt x="139" y="130"/>
                  <a:pt x="139" y="130"/>
                </a:cubicBezTo>
                <a:cubicBezTo>
                  <a:pt x="137" y="132"/>
                  <a:pt x="137" y="132"/>
                  <a:pt x="137" y="132"/>
                </a:cubicBezTo>
                <a:cubicBezTo>
                  <a:pt x="137" y="132"/>
                  <a:pt x="137" y="132"/>
                  <a:pt x="137" y="132"/>
                </a:cubicBezTo>
                <a:cubicBezTo>
                  <a:pt x="138" y="134"/>
                  <a:pt x="138" y="134"/>
                  <a:pt x="138" y="134"/>
                </a:cubicBezTo>
                <a:cubicBezTo>
                  <a:pt x="139" y="136"/>
                  <a:pt x="139" y="136"/>
                  <a:pt x="139" y="136"/>
                </a:cubicBezTo>
                <a:cubicBezTo>
                  <a:pt x="138" y="137"/>
                  <a:pt x="138" y="137"/>
                  <a:pt x="138" y="137"/>
                </a:cubicBezTo>
                <a:cubicBezTo>
                  <a:pt x="138" y="138"/>
                  <a:pt x="138" y="138"/>
                  <a:pt x="138" y="138"/>
                </a:cubicBezTo>
                <a:cubicBezTo>
                  <a:pt x="138" y="139"/>
                  <a:pt x="138" y="139"/>
                  <a:pt x="138" y="139"/>
                </a:cubicBezTo>
                <a:cubicBezTo>
                  <a:pt x="139" y="139"/>
                  <a:pt x="139" y="139"/>
                  <a:pt x="139" y="139"/>
                </a:cubicBezTo>
                <a:cubicBezTo>
                  <a:pt x="140" y="138"/>
                  <a:pt x="140" y="138"/>
                  <a:pt x="140" y="138"/>
                </a:cubicBezTo>
                <a:cubicBezTo>
                  <a:pt x="140" y="138"/>
                  <a:pt x="140" y="138"/>
                  <a:pt x="140" y="138"/>
                </a:cubicBezTo>
                <a:cubicBezTo>
                  <a:pt x="140" y="140"/>
                  <a:pt x="140" y="140"/>
                  <a:pt x="140" y="140"/>
                </a:cubicBezTo>
                <a:cubicBezTo>
                  <a:pt x="139" y="140"/>
                  <a:pt x="139" y="140"/>
                  <a:pt x="139" y="140"/>
                </a:cubicBezTo>
                <a:cubicBezTo>
                  <a:pt x="139" y="141"/>
                  <a:pt x="139" y="141"/>
                  <a:pt x="139" y="141"/>
                </a:cubicBezTo>
                <a:cubicBezTo>
                  <a:pt x="139" y="141"/>
                  <a:pt x="139" y="141"/>
                  <a:pt x="139" y="141"/>
                </a:cubicBezTo>
                <a:cubicBezTo>
                  <a:pt x="140" y="141"/>
                  <a:pt x="140" y="141"/>
                  <a:pt x="140" y="141"/>
                </a:cubicBezTo>
                <a:cubicBezTo>
                  <a:pt x="141" y="141"/>
                  <a:pt x="141" y="141"/>
                  <a:pt x="141" y="141"/>
                </a:cubicBezTo>
                <a:cubicBezTo>
                  <a:pt x="142" y="141"/>
                  <a:pt x="142" y="141"/>
                  <a:pt x="142" y="141"/>
                </a:cubicBezTo>
                <a:cubicBezTo>
                  <a:pt x="142" y="141"/>
                  <a:pt x="142" y="141"/>
                  <a:pt x="142" y="141"/>
                </a:cubicBezTo>
                <a:cubicBezTo>
                  <a:pt x="142" y="142"/>
                  <a:pt x="142" y="142"/>
                  <a:pt x="142" y="142"/>
                </a:cubicBezTo>
                <a:cubicBezTo>
                  <a:pt x="143" y="142"/>
                  <a:pt x="143" y="142"/>
                  <a:pt x="143" y="142"/>
                </a:cubicBezTo>
                <a:cubicBezTo>
                  <a:pt x="144" y="143"/>
                  <a:pt x="144" y="143"/>
                  <a:pt x="144" y="143"/>
                </a:cubicBezTo>
                <a:cubicBezTo>
                  <a:pt x="146" y="143"/>
                  <a:pt x="146" y="143"/>
                  <a:pt x="146" y="143"/>
                </a:cubicBezTo>
                <a:cubicBezTo>
                  <a:pt x="147" y="142"/>
                  <a:pt x="147" y="142"/>
                  <a:pt x="147" y="142"/>
                </a:cubicBezTo>
                <a:cubicBezTo>
                  <a:pt x="147" y="140"/>
                  <a:pt x="147" y="140"/>
                  <a:pt x="147" y="140"/>
                </a:cubicBezTo>
                <a:cubicBezTo>
                  <a:pt x="148" y="139"/>
                  <a:pt x="148" y="139"/>
                  <a:pt x="148" y="139"/>
                </a:cubicBezTo>
                <a:cubicBezTo>
                  <a:pt x="150" y="139"/>
                  <a:pt x="150" y="139"/>
                  <a:pt x="150" y="139"/>
                </a:cubicBezTo>
                <a:cubicBezTo>
                  <a:pt x="151" y="138"/>
                  <a:pt x="151" y="138"/>
                  <a:pt x="151" y="138"/>
                </a:cubicBezTo>
                <a:cubicBezTo>
                  <a:pt x="150" y="139"/>
                  <a:pt x="150" y="139"/>
                  <a:pt x="150" y="139"/>
                </a:cubicBezTo>
                <a:cubicBezTo>
                  <a:pt x="149" y="139"/>
                  <a:pt x="149" y="139"/>
                  <a:pt x="149" y="139"/>
                </a:cubicBezTo>
                <a:cubicBezTo>
                  <a:pt x="147" y="141"/>
                  <a:pt x="147" y="141"/>
                  <a:pt x="147" y="141"/>
                </a:cubicBezTo>
                <a:cubicBezTo>
                  <a:pt x="147" y="143"/>
                  <a:pt x="147" y="143"/>
                  <a:pt x="147" y="143"/>
                </a:cubicBezTo>
                <a:cubicBezTo>
                  <a:pt x="146" y="143"/>
                  <a:pt x="146" y="143"/>
                  <a:pt x="146" y="143"/>
                </a:cubicBezTo>
                <a:cubicBezTo>
                  <a:pt x="147" y="145"/>
                  <a:pt x="147" y="145"/>
                  <a:pt x="147" y="145"/>
                </a:cubicBezTo>
                <a:cubicBezTo>
                  <a:pt x="147" y="146"/>
                  <a:pt x="147" y="146"/>
                  <a:pt x="147" y="146"/>
                </a:cubicBezTo>
                <a:cubicBezTo>
                  <a:pt x="146" y="146"/>
                  <a:pt x="146" y="146"/>
                  <a:pt x="146" y="146"/>
                </a:cubicBezTo>
                <a:cubicBezTo>
                  <a:pt x="145" y="145"/>
                  <a:pt x="145" y="145"/>
                  <a:pt x="145" y="145"/>
                </a:cubicBezTo>
                <a:cubicBezTo>
                  <a:pt x="145" y="145"/>
                  <a:pt x="145" y="145"/>
                  <a:pt x="145" y="145"/>
                </a:cubicBezTo>
                <a:cubicBezTo>
                  <a:pt x="145" y="144"/>
                  <a:pt x="145" y="144"/>
                  <a:pt x="145" y="144"/>
                </a:cubicBezTo>
                <a:cubicBezTo>
                  <a:pt x="144" y="144"/>
                  <a:pt x="144" y="144"/>
                  <a:pt x="144" y="144"/>
                </a:cubicBezTo>
                <a:cubicBezTo>
                  <a:pt x="143" y="143"/>
                  <a:pt x="143" y="143"/>
                  <a:pt x="143" y="143"/>
                </a:cubicBezTo>
                <a:cubicBezTo>
                  <a:pt x="141" y="143"/>
                  <a:pt x="141" y="143"/>
                  <a:pt x="141" y="143"/>
                </a:cubicBezTo>
                <a:cubicBezTo>
                  <a:pt x="141" y="142"/>
                  <a:pt x="141" y="142"/>
                  <a:pt x="141" y="142"/>
                </a:cubicBezTo>
                <a:cubicBezTo>
                  <a:pt x="140" y="143"/>
                  <a:pt x="140" y="143"/>
                  <a:pt x="140" y="143"/>
                </a:cubicBezTo>
                <a:cubicBezTo>
                  <a:pt x="139" y="143"/>
                  <a:pt x="139" y="143"/>
                  <a:pt x="139" y="143"/>
                </a:cubicBezTo>
                <a:cubicBezTo>
                  <a:pt x="138" y="144"/>
                  <a:pt x="138" y="144"/>
                  <a:pt x="138" y="144"/>
                </a:cubicBezTo>
                <a:cubicBezTo>
                  <a:pt x="137" y="145"/>
                  <a:pt x="137" y="145"/>
                  <a:pt x="137" y="145"/>
                </a:cubicBezTo>
                <a:cubicBezTo>
                  <a:pt x="136" y="144"/>
                  <a:pt x="136" y="144"/>
                  <a:pt x="136" y="144"/>
                </a:cubicBezTo>
                <a:cubicBezTo>
                  <a:pt x="136" y="145"/>
                  <a:pt x="136" y="145"/>
                  <a:pt x="136" y="145"/>
                </a:cubicBezTo>
                <a:cubicBezTo>
                  <a:pt x="136" y="146"/>
                  <a:pt x="136" y="146"/>
                  <a:pt x="136" y="146"/>
                </a:cubicBezTo>
                <a:cubicBezTo>
                  <a:pt x="137" y="146"/>
                  <a:pt x="137" y="146"/>
                  <a:pt x="137" y="146"/>
                </a:cubicBezTo>
                <a:cubicBezTo>
                  <a:pt x="136" y="147"/>
                  <a:pt x="136" y="147"/>
                  <a:pt x="136" y="147"/>
                </a:cubicBezTo>
                <a:cubicBezTo>
                  <a:pt x="136" y="149"/>
                  <a:pt x="136" y="149"/>
                  <a:pt x="136" y="149"/>
                </a:cubicBezTo>
                <a:cubicBezTo>
                  <a:pt x="136" y="150"/>
                  <a:pt x="136" y="150"/>
                  <a:pt x="136" y="150"/>
                </a:cubicBezTo>
                <a:cubicBezTo>
                  <a:pt x="137" y="150"/>
                  <a:pt x="137" y="150"/>
                  <a:pt x="137" y="150"/>
                </a:cubicBezTo>
                <a:cubicBezTo>
                  <a:pt x="137" y="152"/>
                  <a:pt x="137" y="152"/>
                  <a:pt x="137" y="152"/>
                </a:cubicBezTo>
                <a:cubicBezTo>
                  <a:pt x="138" y="153"/>
                  <a:pt x="138" y="153"/>
                  <a:pt x="138" y="153"/>
                </a:cubicBezTo>
                <a:cubicBezTo>
                  <a:pt x="138" y="154"/>
                  <a:pt x="138" y="154"/>
                  <a:pt x="138" y="154"/>
                </a:cubicBezTo>
                <a:cubicBezTo>
                  <a:pt x="139" y="155"/>
                  <a:pt x="139" y="155"/>
                  <a:pt x="139" y="155"/>
                </a:cubicBezTo>
                <a:cubicBezTo>
                  <a:pt x="139" y="155"/>
                  <a:pt x="139" y="155"/>
                  <a:pt x="139" y="155"/>
                </a:cubicBezTo>
                <a:cubicBezTo>
                  <a:pt x="137" y="155"/>
                  <a:pt x="137" y="155"/>
                  <a:pt x="137" y="155"/>
                </a:cubicBezTo>
                <a:cubicBezTo>
                  <a:pt x="137" y="156"/>
                  <a:pt x="137" y="156"/>
                  <a:pt x="137" y="156"/>
                </a:cubicBezTo>
                <a:cubicBezTo>
                  <a:pt x="141" y="158"/>
                  <a:pt x="141" y="158"/>
                  <a:pt x="141" y="158"/>
                </a:cubicBezTo>
                <a:cubicBezTo>
                  <a:pt x="143" y="158"/>
                  <a:pt x="143" y="158"/>
                  <a:pt x="143" y="158"/>
                </a:cubicBezTo>
                <a:cubicBezTo>
                  <a:pt x="145" y="157"/>
                  <a:pt x="145" y="157"/>
                  <a:pt x="145" y="157"/>
                </a:cubicBezTo>
                <a:cubicBezTo>
                  <a:pt x="146" y="157"/>
                  <a:pt x="146" y="157"/>
                  <a:pt x="146" y="157"/>
                </a:cubicBezTo>
                <a:cubicBezTo>
                  <a:pt x="146" y="157"/>
                  <a:pt x="146" y="157"/>
                  <a:pt x="146" y="157"/>
                </a:cubicBezTo>
                <a:cubicBezTo>
                  <a:pt x="147" y="157"/>
                  <a:pt x="147" y="157"/>
                  <a:pt x="147" y="157"/>
                </a:cubicBezTo>
                <a:cubicBezTo>
                  <a:pt x="149" y="155"/>
                  <a:pt x="149" y="155"/>
                  <a:pt x="149" y="155"/>
                </a:cubicBezTo>
                <a:cubicBezTo>
                  <a:pt x="149" y="154"/>
                  <a:pt x="149" y="154"/>
                  <a:pt x="149" y="154"/>
                </a:cubicBezTo>
                <a:cubicBezTo>
                  <a:pt x="148" y="153"/>
                  <a:pt x="148" y="153"/>
                  <a:pt x="148" y="153"/>
                </a:cubicBezTo>
                <a:cubicBezTo>
                  <a:pt x="148" y="152"/>
                  <a:pt x="148" y="152"/>
                  <a:pt x="148" y="152"/>
                </a:cubicBezTo>
                <a:cubicBezTo>
                  <a:pt x="150" y="152"/>
                  <a:pt x="150" y="152"/>
                  <a:pt x="150" y="152"/>
                </a:cubicBezTo>
                <a:cubicBezTo>
                  <a:pt x="152" y="150"/>
                  <a:pt x="152" y="150"/>
                  <a:pt x="152" y="150"/>
                </a:cubicBezTo>
                <a:cubicBezTo>
                  <a:pt x="154" y="148"/>
                  <a:pt x="154" y="148"/>
                  <a:pt x="154" y="148"/>
                </a:cubicBezTo>
                <a:cubicBezTo>
                  <a:pt x="155" y="149"/>
                  <a:pt x="155" y="149"/>
                  <a:pt x="155" y="149"/>
                </a:cubicBezTo>
                <a:cubicBezTo>
                  <a:pt x="154" y="149"/>
                  <a:pt x="154" y="149"/>
                  <a:pt x="154" y="149"/>
                </a:cubicBezTo>
                <a:cubicBezTo>
                  <a:pt x="152" y="151"/>
                  <a:pt x="152" y="151"/>
                  <a:pt x="152" y="151"/>
                </a:cubicBezTo>
                <a:cubicBezTo>
                  <a:pt x="150" y="152"/>
                  <a:pt x="150" y="152"/>
                  <a:pt x="150" y="152"/>
                </a:cubicBezTo>
                <a:cubicBezTo>
                  <a:pt x="150" y="153"/>
                  <a:pt x="150" y="153"/>
                  <a:pt x="150" y="153"/>
                </a:cubicBezTo>
                <a:cubicBezTo>
                  <a:pt x="151" y="154"/>
                  <a:pt x="151" y="154"/>
                  <a:pt x="151" y="154"/>
                </a:cubicBezTo>
                <a:cubicBezTo>
                  <a:pt x="151" y="155"/>
                  <a:pt x="151" y="155"/>
                  <a:pt x="151" y="155"/>
                </a:cubicBezTo>
                <a:cubicBezTo>
                  <a:pt x="150" y="156"/>
                  <a:pt x="150" y="156"/>
                  <a:pt x="150" y="156"/>
                </a:cubicBezTo>
                <a:cubicBezTo>
                  <a:pt x="149" y="157"/>
                  <a:pt x="149" y="157"/>
                  <a:pt x="149" y="157"/>
                </a:cubicBezTo>
                <a:cubicBezTo>
                  <a:pt x="148" y="159"/>
                  <a:pt x="148" y="159"/>
                  <a:pt x="148" y="159"/>
                </a:cubicBezTo>
                <a:cubicBezTo>
                  <a:pt x="149" y="160"/>
                  <a:pt x="149" y="160"/>
                  <a:pt x="149" y="160"/>
                </a:cubicBezTo>
                <a:cubicBezTo>
                  <a:pt x="148" y="161"/>
                  <a:pt x="148" y="161"/>
                  <a:pt x="148" y="161"/>
                </a:cubicBezTo>
                <a:cubicBezTo>
                  <a:pt x="148" y="162"/>
                  <a:pt x="148" y="162"/>
                  <a:pt x="148" y="162"/>
                </a:cubicBezTo>
                <a:cubicBezTo>
                  <a:pt x="148" y="163"/>
                  <a:pt x="148" y="163"/>
                  <a:pt x="148" y="163"/>
                </a:cubicBezTo>
                <a:cubicBezTo>
                  <a:pt x="148" y="164"/>
                  <a:pt x="148" y="164"/>
                  <a:pt x="148" y="164"/>
                </a:cubicBezTo>
                <a:cubicBezTo>
                  <a:pt x="147" y="165"/>
                  <a:pt x="147" y="165"/>
                  <a:pt x="147" y="165"/>
                </a:cubicBezTo>
                <a:cubicBezTo>
                  <a:pt x="146" y="166"/>
                  <a:pt x="146" y="166"/>
                  <a:pt x="146" y="166"/>
                </a:cubicBezTo>
                <a:cubicBezTo>
                  <a:pt x="146" y="167"/>
                  <a:pt x="146" y="167"/>
                  <a:pt x="146" y="167"/>
                </a:cubicBezTo>
                <a:cubicBezTo>
                  <a:pt x="145" y="166"/>
                  <a:pt x="145" y="166"/>
                  <a:pt x="145" y="166"/>
                </a:cubicBezTo>
                <a:cubicBezTo>
                  <a:pt x="145" y="167"/>
                  <a:pt x="145" y="167"/>
                  <a:pt x="145" y="167"/>
                </a:cubicBezTo>
                <a:cubicBezTo>
                  <a:pt x="145" y="168"/>
                  <a:pt x="145" y="168"/>
                  <a:pt x="145" y="168"/>
                </a:cubicBezTo>
                <a:cubicBezTo>
                  <a:pt x="145" y="169"/>
                  <a:pt x="145" y="169"/>
                  <a:pt x="145" y="169"/>
                </a:cubicBezTo>
                <a:cubicBezTo>
                  <a:pt x="146" y="170"/>
                  <a:pt x="146" y="170"/>
                  <a:pt x="146" y="170"/>
                </a:cubicBezTo>
                <a:cubicBezTo>
                  <a:pt x="147" y="169"/>
                  <a:pt x="147" y="169"/>
                  <a:pt x="147" y="169"/>
                </a:cubicBezTo>
                <a:cubicBezTo>
                  <a:pt x="148" y="169"/>
                  <a:pt x="148" y="169"/>
                  <a:pt x="148" y="169"/>
                </a:cubicBezTo>
                <a:cubicBezTo>
                  <a:pt x="148" y="170"/>
                  <a:pt x="148" y="170"/>
                  <a:pt x="148" y="170"/>
                </a:cubicBezTo>
                <a:cubicBezTo>
                  <a:pt x="147" y="171"/>
                  <a:pt x="147" y="171"/>
                  <a:pt x="147" y="171"/>
                </a:cubicBezTo>
                <a:cubicBezTo>
                  <a:pt x="146" y="171"/>
                  <a:pt x="146" y="171"/>
                  <a:pt x="146" y="171"/>
                </a:cubicBezTo>
                <a:cubicBezTo>
                  <a:pt x="145" y="171"/>
                  <a:pt x="145" y="171"/>
                  <a:pt x="145" y="171"/>
                </a:cubicBezTo>
                <a:cubicBezTo>
                  <a:pt x="146" y="172"/>
                  <a:pt x="146" y="172"/>
                  <a:pt x="146" y="172"/>
                </a:cubicBezTo>
                <a:cubicBezTo>
                  <a:pt x="145" y="172"/>
                  <a:pt x="145" y="172"/>
                  <a:pt x="145" y="172"/>
                </a:cubicBezTo>
                <a:cubicBezTo>
                  <a:pt x="146" y="173"/>
                  <a:pt x="146" y="173"/>
                  <a:pt x="146" y="173"/>
                </a:cubicBezTo>
                <a:cubicBezTo>
                  <a:pt x="145" y="174"/>
                  <a:pt x="145" y="174"/>
                  <a:pt x="145" y="174"/>
                </a:cubicBezTo>
                <a:cubicBezTo>
                  <a:pt x="144" y="174"/>
                  <a:pt x="144" y="174"/>
                  <a:pt x="144" y="174"/>
                </a:cubicBezTo>
                <a:cubicBezTo>
                  <a:pt x="143" y="175"/>
                  <a:pt x="143" y="175"/>
                  <a:pt x="143" y="175"/>
                </a:cubicBezTo>
                <a:cubicBezTo>
                  <a:pt x="142" y="174"/>
                  <a:pt x="142" y="174"/>
                  <a:pt x="142" y="174"/>
                </a:cubicBezTo>
                <a:cubicBezTo>
                  <a:pt x="142" y="175"/>
                  <a:pt x="142" y="175"/>
                  <a:pt x="142" y="175"/>
                </a:cubicBezTo>
                <a:cubicBezTo>
                  <a:pt x="142" y="175"/>
                  <a:pt x="142" y="175"/>
                  <a:pt x="142" y="175"/>
                </a:cubicBezTo>
                <a:cubicBezTo>
                  <a:pt x="144" y="175"/>
                  <a:pt x="144" y="175"/>
                  <a:pt x="144" y="175"/>
                </a:cubicBezTo>
                <a:cubicBezTo>
                  <a:pt x="144" y="176"/>
                  <a:pt x="144" y="176"/>
                  <a:pt x="144" y="176"/>
                </a:cubicBezTo>
                <a:cubicBezTo>
                  <a:pt x="146" y="175"/>
                  <a:pt x="146" y="175"/>
                  <a:pt x="146" y="175"/>
                </a:cubicBezTo>
                <a:cubicBezTo>
                  <a:pt x="148" y="173"/>
                  <a:pt x="148" y="173"/>
                  <a:pt x="148" y="173"/>
                </a:cubicBezTo>
                <a:cubicBezTo>
                  <a:pt x="149" y="173"/>
                  <a:pt x="149" y="173"/>
                  <a:pt x="149" y="173"/>
                </a:cubicBezTo>
                <a:cubicBezTo>
                  <a:pt x="150" y="173"/>
                  <a:pt x="150" y="173"/>
                  <a:pt x="150" y="173"/>
                </a:cubicBezTo>
                <a:cubicBezTo>
                  <a:pt x="151" y="172"/>
                  <a:pt x="151" y="172"/>
                  <a:pt x="151" y="172"/>
                </a:cubicBezTo>
                <a:cubicBezTo>
                  <a:pt x="153" y="172"/>
                  <a:pt x="153" y="172"/>
                  <a:pt x="153" y="172"/>
                </a:cubicBezTo>
                <a:cubicBezTo>
                  <a:pt x="152" y="173"/>
                  <a:pt x="152" y="173"/>
                  <a:pt x="152" y="173"/>
                </a:cubicBezTo>
                <a:cubicBezTo>
                  <a:pt x="151" y="173"/>
                  <a:pt x="151" y="173"/>
                  <a:pt x="151" y="173"/>
                </a:cubicBezTo>
                <a:cubicBezTo>
                  <a:pt x="151" y="174"/>
                  <a:pt x="151" y="174"/>
                  <a:pt x="151" y="174"/>
                </a:cubicBezTo>
                <a:cubicBezTo>
                  <a:pt x="152" y="174"/>
                  <a:pt x="152" y="174"/>
                  <a:pt x="152" y="174"/>
                </a:cubicBezTo>
                <a:cubicBezTo>
                  <a:pt x="153" y="175"/>
                  <a:pt x="153" y="175"/>
                  <a:pt x="153" y="175"/>
                </a:cubicBezTo>
                <a:cubicBezTo>
                  <a:pt x="152" y="176"/>
                  <a:pt x="152" y="176"/>
                  <a:pt x="152" y="176"/>
                </a:cubicBezTo>
                <a:cubicBezTo>
                  <a:pt x="153" y="176"/>
                  <a:pt x="153" y="176"/>
                  <a:pt x="153" y="176"/>
                </a:cubicBezTo>
                <a:cubicBezTo>
                  <a:pt x="154" y="176"/>
                  <a:pt x="154" y="176"/>
                  <a:pt x="154" y="176"/>
                </a:cubicBezTo>
                <a:cubicBezTo>
                  <a:pt x="155" y="175"/>
                  <a:pt x="155" y="175"/>
                  <a:pt x="155" y="175"/>
                </a:cubicBezTo>
                <a:cubicBezTo>
                  <a:pt x="155" y="175"/>
                  <a:pt x="155" y="175"/>
                  <a:pt x="155" y="175"/>
                </a:cubicBezTo>
                <a:cubicBezTo>
                  <a:pt x="155" y="176"/>
                  <a:pt x="155" y="176"/>
                  <a:pt x="155" y="176"/>
                </a:cubicBezTo>
                <a:cubicBezTo>
                  <a:pt x="156" y="177"/>
                  <a:pt x="156" y="177"/>
                  <a:pt x="156" y="177"/>
                </a:cubicBezTo>
                <a:cubicBezTo>
                  <a:pt x="156" y="179"/>
                  <a:pt x="156" y="179"/>
                  <a:pt x="156" y="179"/>
                </a:cubicBezTo>
                <a:cubicBezTo>
                  <a:pt x="156" y="180"/>
                  <a:pt x="156" y="180"/>
                  <a:pt x="156" y="180"/>
                </a:cubicBezTo>
                <a:cubicBezTo>
                  <a:pt x="157" y="182"/>
                  <a:pt x="157" y="182"/>
                  <a:pt x="157" y="182"/>
                </a:cubicBezTo>
                <a:cubicBezTo>
                  <a:pt x="157" y="182"/>
                  <a:pt x="157" y="182"/>
                  <a:pt x="157" y="182"/>
                </a:cubicBezTo>
                <a:cubicBezTo>
                  <a:pt x="158" y="181"/>
                  <a:pt x="158" y="181"/>
                  <a:pt x="158" y="181"/>
                </a:cubicBezTo>
                <a:cubicBezTo>
                  <a:pt x="158" y="179"/>
                  <a:pt x="158" y="179"/>
                  <a:pt x="158" y="179"/>
                </a:cubicBezTo>
                <a:cubicBezTo>
                  <a:pt x="159" y="177"/>
                  <a:pt x="159" y="177"/>
                  <a:pt x="159" y="177"/>
                </a:cubicBezTo>
                <a:cubicBezTo>
                  <a:pt x="159" y="176"/>
                  <a:pt x="159" y="176"/>
                  <a:pt x="159" y="176"/>
                </a:cubicBezTo>
                <a:cubicBezTo>
                  <a:pt x="160" y="175"/>
                  <a:pt x="160" y="175"/>
                  <a:pt x="160" y="175"/>
                </a:cubicBezTo>
                <a:cubicBezTo>
                  <a:pt x="161" y="175"/>
                  <a:pt x="161" y="175"/>
                  <a:pt x="161" y="175"/>
                </a:cubicBezTo>
                <a:cubicBezTo>
                  <a:pt x="162" y="174"/>
                  <a:pt x="162" y="174"/>
                  <a:pt x="162" y="174"/>
                </a:cubicBezTo>
                <a:cubicBezTo>
                  <a:pt x="164" y="174"/>
                  <a:pt x="164" y="174"/>
                  <a:pt x="164" y="174"/>
                </a:cubicBezTo>
                <a:cubicBezTo>
                  <a:pt x="162" y="175"/>
                  <a:pt x="162" y="175"/>
                  <a:pt x="162" y="175"/>
                </a:cubicBezTo>
                <a:cubicBezTo>
                  <a:pt x="161" y="177"/>
                  <a:pt x="161" y="177"/>
                  <a:pt x="161" y="177"/>
                </a:cubicBezTo>
                <a:cubicBezTo>
                  <a:pt x="160" y="178"/>
                  <a:pt x="160" y="178"/>
                  <a:pt x="160" y="178"/>
                </a:cubicBezTo>
                <a:cubicBezTo>
                  <a:pt x="162" y="179"/>
                  <a:pt x="162" y="179"/>
                  <a:pt x="162" y="179"/>
                </a:cubicBezTo>
                <a:cubicBezTo>
                  <a:pt x="163" y="180"/>
                  <a:pt x="163" y="180"/>
                  <a:pt x="163" y="180"/>
                </a:cubicBezTo>
                <a:cubicBezTo>
                  <a:pt x="165" y="179"/>
                  <a:pt x="165" y="179"/>
                  <a:pt x="165" y="179"/>
                </a:cubicBezTo>
                <a:cubicBezTo>
                  <a:pt x="167" y="178"/>
                  <a:pt x="167" y="178"/>
                  <a:pt x="167" y="178"/>
                </a:cubicBezTo>
                <a:cubicBezTo>
                  <a:pt x="168" y="177"/>
                  <a:pt x="168" y="177"/>
                  <a:pt x="168" y="177"/>
                </a:cubicBezTo>
                <a:cubicBezTo>
                  <a:pt x="169" y="177"/>
                  <a:pt x="169" y="177"/>
                  <a:pt x="169" y="177"/>
                </a:cubicBezTo>
                <a:cubicBezTo>
                  <a:pt x="171" y="176"/>
                  <a:pt x="171" y="176"/>
                  <a:pt x="171" y="176"/>
                </a:cubicBezTo>
                <a:cubicBezTo>
                  <a:pt x="172" y="176"/>
                  <a:pt x="172" y="176"/>
                  <a:pt x="172" y="176"/>
                </a:cubicBezTo>
                <a:cubicBezTo>
                  <a:pt x="171" y="177"/>
                  <a:pt x="171" y="177"/>
                  <a:pt x="171" y="177"/>
                </a:cubicBezTo>
                <a:cubicBezTo>
                  <a:pt x="170" y="178"/>
                  <a:pt x="170" y="178"/>
                  <a:pt x="170" y="178"/>
                </a:cubicBezTo>
                <a:cubicBezTo>
                  <a:pt x="170" y="179"/>
                  <a:pt x="170" y="179"/>
                  <a:pt x="170" y="179"/>
                </a:cubicBezTo>
                <a:cubicBezTo>
                  <a:pt x="169" y="180"/>
                  <a:pt x="169" y="180"/>
                  <a:pt x="169" y="180"/>
                </a:cubicBezTo>
                <a:cubicBezTo>
                  <a:pt x="165" y="182"/>
                  <a:pt x="165" y="182"/>
                  <a:pt x="165" y="182"/>
                </a:cubicBezTo>
                <a:cubicBezTo>
                  <a:pt x="164" y="183"/>
                  <a:pt x="164" y="183"/>
                  <a:pt x="164" y="183"/>
                </a:cubicBezTo>
                <a:cubicBezTo>
                  <a:pt x="163" y="185"/>
                  <a:pt x="163" y="185"/>
                  <a:pt x="163" y="185"/>
                </a:cubicBezTo>
                <a:cubicBezTo>
                  <a:pt x="163" y="186"/>
                  <a:pt x="163" y="186"/>
                  <a:pt x="163" y="186"/>
                </a:cubicBezTo>
                <a:cubicBezTo>
                  <a:pt x="163" y="187"/>
                  <a:pt x="163" y="187"/>
                  <a:pt x="163" y="187"/>
                </a:cubicBezTo>
                <a:cubicBezTo>
                  <a:pt x="164" y="188"/>
                  <a:pt x="164" y="188"/>
                  <a:pt x="164" y="188"/>
                </a:cubicBezTo>
                <a:cubicBezTo>
                  <a:pt x="162" y="188"/>
                  <a:pt x="162" y="188"/>
                  <a:pt x="162" y="188"/>
                </a:cubicBezTo>
                <a:cubicBezTo>
                  <a:pt x="161" y="188"/>
                  <a:pt x="161" y="188"/>
                  <a:pt x="161" y="188"/>
                </a:cubicBezTo>
                <a:cubicBezTo>
                  <a:pt x="160" y="189"/>
                  <a:pt x="160" y="189"/>
                  <a:pt x="160" y="189"/>
                </a:cubicBezTo>
                <a:cubicBezTo>
                  <a:pt x="160" y="191"/>
                  <a:pt x="160" y="191"/>
                  <a:pt x="160" y="191"/>
                </a:cubicBezTo>
                <a:cubicBezTo>
                  <a:pt x="158" y="193"/>
                  <a:pt x="158" y="193"/>
                  <a:pt x="158" y="193"/>
                </a:cubicBezTo>
                <a:cubicBezTo>
                  <a:pt x="158" y="194"/>
                  <a:pt x="158" y="194"/>
                  <a:pt x="158" y="194"/>
                </a:cubicBezTo>
                <a:cubicBezTo>
                  <a:pt x="158" y="194"/>
                  <a:pt x="158" y="194"/>
                  <a:pt x="158" y="194"/>
                </a:cubicBezTo>
                <a:cubicBezTo>
                  <a:pt x="158" y="195"/>
                  <a:pt x="158" y="195"/>
                  <a:pt x="158" y="195"/>
                </a:cubicBezTo>
                <a:cubicBezTo>
                  <a:pt x="158" y="196"/>
                  <a:pt x="158" y="196"/>
                  <a:pt x="158" y="196"/>
                </a:cubicBezTo>
                <a:cubicBezTo>
                  <a:pt x="157" y="196"/>
                  <a:pt x="157" y="196"/>
                  <a:pt x="157" y="196"/>
                </a:cubicBezTo>
                <a:cubicBezTo>
                  <a:pt x="157" y="195"/>
                  <a:pt x="157" y="195"/>
                  <a:pt x="157" y="195"/>
                </a:cubicBezTo>
                <a:cubicBezTo>
                  <a:pt x="156" y="195"/>
                  <a:pt x="156" y="195"/>
                  <a:pt x="156" y="195"/>
                </a:cubicBezTo>
                <a:cubicBezTo>
                  <a:pt x="155" y="196"/>
                  <a:pt x="155" y="196"/>
                  <a:pt x="155" y="196"/>
                </a:cubicBezTo>
                <a:cubicBezTo>
                  <a:pt x="154" y="197"/>
                  <a:pt x="154" y="197"/>
                  <a:pt x="154" y="197"/>
                </a:cubicBezTo>
                <a:cubicBezTo>
                  <a:pt x="154" y="198"/>
                  <a:pt x="154" y="198"/>
                  <a:pt x="154" y="198"/>
                </a:cubicBezTo>
                <a:cubicBezTo>
                  <a:pt x="154" y="198"/>
                  <a:pt x="154" y="198"/>
                  <a:pt x="154" y="198"/>
                </a:cubicBezTo>
                <a:cubicBezTo>
                  <a:pt x="153" y="198"/>
                  <a:pt x="153" y="198"/>
                  <a:pt x="153" y="198"/>
                </a:cubicBezTo>
                <a:cubicBezTo>
                  <a:pt x="152" y="198"/>
                  <a:pt x="152" y="198"/>
                  <a:pt x="152" y="198"/>
                </a:cubicBezTo>
                <a:cubicBezTo>
                  <a:pt x="152" y="198"/>
                  <a:pt x="152" y="198"/>
                  <a:pt x="152" y="198"/>
                </a:cubicBezTo>
                <a:cubicBezTo>
                  <a:pt x="149" y="200"/>
                  <a:pt x="149" y="200"/>
                  <a:pt x="149" y="200"/>
                </a:cubicBezTo>
                <a:cubicBezTo>
                  <a:pt x="148" y="202"/>
                  <a:pt x="148" y="202"/>
                  <a:pt x="148" y="202"/>
                </a:cubicBezTo>
                <a:cubicBezTo>
                  <a:pt x="148" y="202"/>
                  <a:pt x="148" y="202"/>
                  <a:pt x="148" y="202"/>
                </a:cubicBezTo>
                <a:cubicBezTo>
                  <a:pt x="148" y="203"/>
                  <a:pt x="148" y="203"/>
                  <a:pt x="148" y="203"/>
                </a:cubicBezTo>
                <a:cubicBezTo>
                  <a:pt x="147" y="202"/>
                  <a:pt x="147" y="202"/>
                  <a:pt x="147" y="202"/>
                </a:cubicBezTo>
                <a:cubicBezTo>
                  <a:pt x="147" y="201"/>
                  <a:pt x="147" y="201"/>
                  <a:pt x="147" y="201"/>
                </a:cubicBezTo>
                <a:cubicBezTo>
                  <a:pt x="145" y="202"/>
                  <a:pt x="145" y="202"/>
                  <a:pt x="145" y="202"/>
                </a:cubicBezTo>
                <a:cubicBezTo>
                  <a:pt x="144" y="203"/>
                  <a:pt x="144" y="203"/>
                  <a:pt x="144" y="203"/>
                </a:cubicBezTo>
                <a:cubicBezTo>
                  <a:pt x="143" y="203"/>
                  <a:pt x="143" y="203"/>
                  <a:pt x="143" y="203"/>
                </a:cubicBezTo>
                <a:cubicBezTo>
                  <a:pt x="143" y="204"/>
                  <a:pt x="143" y="204"/>
                  <a:pt x="143" y="204"/>
                </a:cubicBezTo>
                <a:cubicBezTo>
                  <a:pt x="141" y="205"/>
                  <a:pt x="141" y="205"/>
                  <a:pt x="141" y="205"/>
                </a:cubicBezTo>
                <a:cubicBezTo>
                  <a:pt x="140" y="205"/>
                  <a:pt x="140" y="205"/>
                  <a:pt x="140" y="205"/>
                </a:cubicBezTo>
                <a:cubicBezTo>
                  <a:pt x="138" y="206"/>
                  <a:pt x="138" y="206"/>
                  <a:pt x="138" y="206"/>
                </a:cubicBezTo>
                <a:cubicBezTo>
                  <a:pt x="135" y="207"/>
                  <a:pt x="135" y="207"/>
                  <a:pt x="135" y="207"/>
                </a:cubicBezTo>
                <a:cubicBezTo>
                  <a:pt x="133" y="209"/>
                  <a:pt x="133" y="209"/>
                  <a:pt x="133" y="209"/>
                </a:cubicBezTo>
                <a:cubicBezTo>
                  <a:pt x="132" y="211"/>
                  <a:pt x="132" y="211"/>
                  <a:pt x="132" y="211"/>
                </a:cubicBezTo>
                <a:cubicBezTo>
                  <a:pt x="132" y="211"/>
                  <a:pt x="132" y="211"/>
                  <a:pt x="132" y="211"/>
                </a:cubicBezTo>
                <a:cubicBezTo>
                  <a:pt x="133" y="212"/>
                  <a:pt x="133" y="212"/>
                  <a:pt x="133" y="212"/>
                </a:cubicBezTo>
                <a:cubicBezTo>
                  <a:pt x="133" y="213"/>
                  <a:pt x="133" y="213"/>
                  <a:pt x="133" y="213"/>
                </a:cubicBezTo>
                <a:cubicBezTo>
                  <a:pt x="132" y="214"/>
                  <a:pt x="132" y="214"/>
                  <a:pt x="132" y="214"/>
                </a:cubicBezTo>
                <a:cubicBezTo>
                  <a:pt x="132" y="213"/>
                  <a:pt x="132" y="213"/>
                  <a:pt x="132" y="213"/>
                </a:cubicBezTo>
                <a:cubicBezTo>
                  <a:pt x="131" y="213"/>
                  <a:pt x="131" y="213"/>
                  <a:pt x="131" y="213"/>
                </a:cubicBezTo>
                <a:cubicBezTo>
                  <a:pt x="131" y="213"/>
                  <a:pt x="131" y="213"/>
                  <a:pt x="131" y="213"/>
                </a:cubicBezTo>
                <a:cubicBezTo>
                  <a:pt x="131" y="214"/>
                  <a:pt x="131" y="214"/>
                  <a:pt x="131" y="214"/>
                </a:cubicBezTo>
                <a:cubicBezTo>
                  <a:pt x="130" y="214"/>
                  <a:pt x="130" y="214"/>
                  <a:pt x="130" y="214"/>
                </a:cubicBezTo>
                <a:cubicBezTo>
                  <a:pt x="130" y="214"/>
                  <a:pt x="130" y="214"/>
                  <a:pt x="130" y="214"/>
                </a:cubicBezTo>
                <a:cubicBezTo>
                  <a:pt x="130" y="212"/>
                  <a:pt x="130" y="212"/>
                  <a:pt x="130" y="212"/>
                </a:cubicBezTo>
                <a:cubicBezTo>
                  <a:pt x="130" y="212"/>
                  <a:pt x="130" y="212"/>
                  <a:pt x="130" y="212"/>
                </a:cubicBezTo>
                <a:cubicBezTo>
                  <a:pt x="129" y="211"/>
                  <a:pt x="129" y="211"/>
                  <a:pt x="129" y="211"/>
                </a:cubicBezTo>
                <a:cubicBezTo>
                  <a:pt x="128" y="211"/>
                  <a:pt x="128" y="211"/>
                  <a:pt x="128" y="211"/>
                </a:cubicBezTo>
                <a:cubicBezTo>
                  <a:pt x="127" y="211"/>
                  <a:pt x="127" y="211"/>
                  <a:pt x="127" y="211"/>
                </a:cubicBezTo>
                <a:cubicBezTo>
                  <a:pt x="126" y="211"/>
                  <a:pt x="126" y="211"/>
                  <a:pt x="126" y="211"/>
                </a:cubicBezTo>
                <a:cubicBezTo>
                  <a:pt x="124" y="212"/>
                  <a:pt x="124" y="212"/>
                  <a:pt x="124" y="212"/>
                </a:cubicBezTo>
                <a:cubicBezTo>
                  <a:pt x="123" y="212"/>
                  <a:pt x="123" y="212"/>
                  <a:pt x="123" y="212"/>
                </a:cubicBezTo>
                <a:cubicBezTo>
                  <a:pt x="122" y="213"/>
                  <a:pt x="122" y="213"/>
                  <a:pt x="122" y="213"/>
                </a:cubicBezTo>
                <a:cubicBezTo>
                  <a:pt x="121" y="214"/>
                  <a:pt x="121" y="214"/>
                  <a:pt x="121" y="214"/>
                </a:cubicBezTo>
                <a:cubicBezTo>
                  <a:pt x="119" y="215"/>
                  <a:pt x="119" y="215"/>
                  <a:pt x="119" y="215"/>
                </a:cubicBezTo>
                <a:cubicBezTo>
                  <a:pt x="118" y="216"/>
                  <a:pt x="118" y="216"/>
                  <a:pt x="118" y="216"/>
                </a:cubicBezTo>
                <a:cubicBezTo>
                  <a:pt x="118" y="217"/>
                  <a:pt x="118" y="217"/>
                  <a:pt x="118" y="217"/>
                </a:cubicBezTo>
                <a:cubicBezTo>
                  <a:pt x="118" y="217"/>
                  <a:pt x="118" y="217"/>
                  <a:pt x="118" y="217"/>
                </a:cubicBezTo>
                <a:cubicBezTo>
                  <a:pt x="117" y="217"/>
                  <a:pt x="117" y="217"/>
                  <a:pt x="117" y="217"/>
                </a:cubicBezTo>
                <a:cubicBezTo>
                  <a:pt x="115" y="218"/>
                  <a:pt x="115" y="218"/>
                  <a:pt x="115" y="218"/>
                </a:cubicBezTo>
                <a:cubicBezTo>
                  <a:pt x="115" y="218"/>
                  <a:pt x="115" y="218"/>
                  <a:pt x="115" y="218"/>
                </a:cubicBezTo>
                <a:cubicBezTo>
                  <a:pt x="114" y="219"/>
                  <a:pt x="114" y="219"/>
                  <a:pt x="114" y="219"/>
                </a:cubicBezTo>
                <a:cubicBezTo>
                  <a:pt x="114" y="219"/>
                  <a:pt x="114" y="219"/>
                  <a:pt x="114" y="219"/>
                </a:cubicBezTo>
                <a:cubicBezTo>
                  <a:pt x="113" y="219"/>
                  <a:pt x="113" y="219"/>
                  <a:pt x="113" y="219"/>
                </a:cubicBezTo>
                <a:cubicBezTo>
                  <a:pt x="112" y="219"/>
                  <a:pt x="112" y="219"/>
                  <a:pt x="112" y="219"/>
                </a:cubicBezTo>
                <a:cubicBezTo>
                  <a:pt x="111" y="220"/>
                  <a:pt x="111" y="220"/>
                  <a:pt x="111" y="220"/>
                </a:cubicBezTo>
                <a:cubicBezTo>
                  <a:pt x="111" y="221"/>
                  <a:pt x="111" y="221"/>
                  <a:pt x="111" y="221"/>
                </a:cubicBezTo>
                <a:cubicBezTo>
                  <a:pt x="111" y="222"/>
                  <a:pt x="111" y="222"/>
                  <a:pt x="111" y="222"/>
                </a:cubicBezTo>
                <a:cubicBezTo>
                  <a:pt x="112" y="222"/>
                  <a:pt x="112" y="222"/>
                  <a:pt x="112" y="222"/>
                </a:cubicBezTo>
                <a:cubicBezTo>
                  <a:pt x="112" y="221"/>
                  <a:pt x="112" y="221"/>
                  <a:pt x="112" y="221"/>
                </a:cubicBezTo>
                <a:cubicBezTo>
                  <a:pt x="112" y="220"/>
                  <a:pt x="112" y="220"/>
                  <a:pt x="112" y="220"/>
                </a:cubicBezTo>
                <a:cubicBezTo>
                  <a:pt x="113" y="220"/>
                  <a:pt x="113" y="220"/>
                  <a:pt x="113" y="220"/>
                </a:cubicBezTo>
                <a:cubicBezTo>
                  <a:pt x="113" y="220"/>
                  <a:pt x="113" y="220"/>
                  <a:pt x="113" y="220"/>
                </a:cubicBezTo>
                <a:cubicBezTo>
                  <a:pt x="113" y="221"/>
                  <a:pt x="113" y="221"/>
                  <a:pt x="113" y="221"/>
                </a:cubicBezTo>
                <a:cubicBezTo>
                  <a:pt x="113" y="222"/>
                  <a:pt x="113" y="222"/>
                  <a:pt x="113" y="222"/>
                </a:cubicBezTo>
                <a:cubicBezTo>
                  <a:pt x="115" y="222"/>
                  <a:pt x="115" y="222"/>
                  <a:pt x="115" y="222"/>
                </a:cubicBezTo>
                <a:cubicBezTo>
                  <a:pt x="116" y="220"/>
                  <a:pt x="116" y="220"/>
                  <a:pt x="116" y="220"/>
                </a:cubicBezTo>
                <a:cubicBezTo>
                  <a:pt x="116" y="219"/>
                  <a:pt x="116" y="219"/>
                  <a:pt x="116" y="219"/>
                </a:cubicBezTo>
                <a:cubicBezTo>
                  <a:pt x="117" y="220"/>
                  <a:pt x="117" y="220"/>
                  <a:pt x="117" y="220"/>
                </a:cubicBezTo>
                <a:cubicBezTo>
                  <a:pt x="116" y="221"/>
                  <a:pt x="116" y="221"/>
                  <a:pt x="116" y="221"/>
                </a:cubicBezTo>
                <a:cubicBezTo>
                  <a:pt x="117" y="221"/>
                  <a:pt x="117" y="221"/>
                  <a:pt x="117" y="221"/>
                </a:cubicBezTo>
                <a:cubicBezTo>
                  <a:pt x="118" y="221"/>
                  <a:pt x="118" y="221"/>
                  <a:pt x="118" y="221"/>
                </a:cubicBezTo>
                <a:cubicBezTo>
                  <a:pt x="118" y="220"/>
                  <a:pt x="118" y="220"/>
                  <a:pt x="118" y="220"/>
                </a:cubicBezTo>
                <a:cubicBezTo>
                  <a:pt x="119" y="221"/>
                  <a:pt x="119" y="221"/>
                  <a:pt x="119" y="221"/>
                </a:cubicBezTo>
                <a:cubicBezTo>
                  <a:pt x="119" y="221"/>
                  <a:pt x="119" y="221"/>
                  <a:pt x="119" y="221"/>
                </a:cubicBezTo>
                <a:cubicBezTo>
                  <a:pt x="119" y="220"/>
                  <a:pt x="119" y="220"/>
                  <a:pt x="119" y="220"/>
                </a:cubicBezTo>
                <a:cubicBezTo>
                  <a:pt x="120" y="220"/>
                  <a:pt x="120" y="220"/>
                  <a:pt x="120" y="220"/>
                </a:cubicBezTo>
                <a:cubicBezTo>
                  <a:pt x="121" y="220"/>
                  <a:pt x="121" y="220"/>
                  <a:pt x="121" y="220"/>
                </a:cubicBezTo>
                <a:cubicBezTo>
                  <a:pt x="122" y="219"/>
                  <a:pt x="122" y="219"/>
                  <a:pt x="122" y="219"/>
                </a:cubicBezTo>
                <a:cubicBezTo>
                  <a:pt x="123" y="218"/>
                  <a:pt x="123" y="218"/>
                  <a:pt x="123" y="218"/>
                </a:cubicBezTo>
                <a:cubicBezTo>
                  <a:pt x="123" y="217"/>
                  <a:pt x="123" y="217"/>
                  <a:pt x="123" y="217"/>
                </a:cubicBezTo>
                <a:cubicBezTo>
                  <a:pt x="124" y="216"/>
                  <a:pt x="124" y="216"/>
                  <a:pt x="124" y="216"/>
                </a:cubicBezTo>
                <a:cubicBezTo>
                  <a:pt x="125" y="215"/>
                  <a:pt x="125" y="215"/>
                  <a:pt x="125" y="215"/>
                </a:cubicBezTo>
                <a:cubicBezTo>
                  <a:pt x="125" y="215"/>
                  <a:pt x="125" y="215"/>
                  <a:pt x="125" y="215"/>
                </a:cubicBezTo>
                <a:cubicBezTo>
                  <a:pt x="127" y="216"/>
                  <a:pt x="127" y="216"/>
                  <a:pt x="127" y="216"/>
                </a:cubicBezTo>
                <a:cubicBezTo>
                  <a:pt x="126" y="216"/>
                  <a:pt x="126" y="216"/>
                  <a:pt x="126" y="216"/>
                </a:cubicBezTo>
                <a:cubicBezTo>
                  <a:pt x="125" y="216"/>
                  <a:pt x="125" y="216"/>
                  <a:pt x="125" y="216"/>
                </a:cubicBezTo>
                <a:cubicBezTo>
                  <a:pt x="125" y="217"/>
                  <a:pt x="125" y="217"/>
                  <a:pt x="125" y="217"/>
                </a:cubicBezTo>
                <a:cubicBezTo>
                  <a:pt x="125" y="219"/>
                  <a:pt x="125" y="219"/>
                  <a:pt x="125" y="219"/>
                </a:cubicBezTo>
                <a:cubicBezTo>
                  <a:pt x="125" y="219"/>
                  <a:pt x="125" y="219"/>
                  <a:pt x="125" y="219"/>
                </a:cubicBezTo>
                <a:cubicBezTo>
                  <a:pt x="127" y="218"/>
                  <a:pt x="127" y="218"/>
                  <a:pt x="127" y="218"/>
                </a:cubicBezTo>
                <a:cubicBezTo>
                  <a:pt x="127" y="217"/>
                  <a:pt x="127" y="217"/>
                  <a:pt x="127" y="217"/>
                </a:cubicBezTo>
                <a:cubicBezTo>
                  <a:pt x="128" y="216"/>
                  <a:pt x="128" y="216"/>
                  <a:pt x="128" y="216"/>
                </a:cubicBezTo>
                <a:cubicBezTo>
                  <a:pt x="128" y="217"/>
                  <a:pt x="128" y="217"/>
                  <a:pt x="128" y="217"/>
                </a:cubicBezTo>
                <a:cubicBezTo>
                  <a:pt x="129" y="216"/>
                  <a:pt x="129" y="216"/>
                  <a:pt x="129" y="216"/>
                </a:cubicBezTo>
                <a:cubicBezTo>
                  <a:pt x="129" y="216"/>
                  <a:pt x="129" y="216"/>
                  <a:pt x="129" y="216"/>
                </a:cubicBezTo>
                <a:cubicBezTo>
                  <a:pt x="129" y="217"/>
                  <a:pt x="129" y="217"/>
                  <a:pt x="129" y="217"/>
                </a:cubicBezTo>
                <a:cubicBezTo>
                  <a:pt x="129" y="218"/>
                  <a:pt x="129" y="218"/>
                  <a:pt x="129" y="218"/>
                </a:cubicBezTo>
                <a:cubicBezTo>
                  <a:pt x="129" y="218"/>
                  <a:pt x="129" y="218"/>
                  <a:pt x="129" y="218"/>
                </a:cubicBezTo>
                <a:cubicBezTo>
                  <a:pt x="130" y="217"/>
                  <a:pt x="130" y="217"/>
                  <a:pt x="130" y="217"/>
                </a:cubicBezTo>
                <a:cubicBezTo>
                  <a:pt x="131" y="217"/>
                  <a:pt x="131" y="217"/>
                  <a:pt x="131" y="217"/>
                </a:cubicBezTo>
                <a:cubicBezTo>
                  <a:pt x="132" y="216"/>
                  <a:pt x="132" y="216"/>
                  <a:pt x="132" y="216"/>
                </a:cubicBezTo>
                <a:cubicBezTo>
                  <a:pt x="133" y="216"/>
                  <a:pt x="133" y="216"/>
                  <a:pt x="133" y="216"/>
                </a:cubicBezTo>
                <a:cubicBezTo>
                  <a:pt x="135" y="214"/>
                  <a:pt x="135" y="214"/>
                  <a:pt x="135" y="214"/>
                </a:cubicBezTo>
                <a:cubicBezTo>
                  <a:pt x="136" y="214"/>
                  <a:pt x="136" y="214"/>
                  <a:pt x="136" y="214"/>
                </a:cubicBezTo>
                <a:cubicBezTo>
                  <a:pt x="136" y="214"/>
                  <a:pt x="136" y="214"/>
                  <a:pt x="136" y="214"/>
                </a:cubicBezTo>
                <a:cubicBezTo>
                  <a:pt x="136" y="215"/>
                  <a:pt x="136" y="215"/>
                  <a:pt x="136" y="215"/>
                </a:cubicBezTo>
                <a:cubicBezTo>
                  <a:pt x="136" y="216"/>
                  <a:pt x="136" y="216"/>
                  <a:pt x="136" y="216"/>
                </a:cubicBezTo>
                <a:cubicBezTo>
                  <a:pt x="135" y="217"/>
                  <a:pt x="135" y="217"/>
                  <a:pt x="135" y="217"/>
                </a:cubicBezTo>
                <a:cubicBezTo>
                  <a:pt x="135" y="218"/>
                  <a:pt x="135" y="218"/>
                  <a:pt x="135" y="218"/>
                </a:cubicBezTo>
                <a:cubicBezTo>
                  <a:pt x="135" y="218"/>
                  <a:pt x="135" y="218"/>
                  <a:pt x="135" y="218"/>
                </a:cubicBezTo>
                <a:cubicBezTo>
                  <a:pt x="137" y="216"/>
                  <a:pt x="137" y="216"/>
                  <a:pt x="137" y="216"/>
                </a:cubicBezTo>
                <a:cubicBezTo>
                  <a:pt x="137" y="214"/>
                  <a:pt x="137" y="214"/>
                  <a:pt x="137" y="214"/>
                </a:cubicBezTo>
                <a:cubicBezTo>
                  <a:pt x="137" y="214"/>
                  <a:pt x="137" y="214"/>
                  <a:pt x="137" y="214"/>
                </a:cubicBezTo>
                <a:cubicBezTo>
                  <a:pt x="138" y="214"/>
                  <a:pt x="138" y="214"/>
                  <a:pt x="138" y="214"/>
                </a:cubicBezTo>
                <a:cubicBezTo>
                  <a:pt x="139" y="214"/>
                  <a:pt x="139" y="214"/>
                  <a:pt x="139" y="214"/>
                </a:cubicBezTo>
                <a:cubicBezTo>
                  <a:pt x="140" y="214"/>
                  <a:pt x="140" y="214"/>
                  <a:pt x="140" y="214"/>
                </a:cubicBezTo>
                <a:cubicBezTo>
                  <a:pt x="141" y="214"/>
                  <a:pt x="141" y="214"/>
                  <a:pt x="141" y="214"/>
                </a:cubicBezTo>
                <a:cubicBezTo>
                  <a:pt x="142" y="213"/>
                  <a:pt x="142" y="213"/>
                  <a:pt x="142" y="213"/>
                </a:cubicBezTo>
                <a:cubicBezTo>
                  <a:pt x="143" y="213"/>
                  <a:pt x="143" y="213"/>
                  <a:pt x="143" y="213"/>
                </a:cubicBezTo>
                <a:cubicBezTo>
                  <a:pt x="143" y="213"/>
                  <a:pt x="143" y="213"/>
                  <a:pt x="143" y="213"/>
                </a:cubicBezTo>
                <a:cubicBezTo>
                  <a:pt x="144" y="212"/>
                  <a:pt x="144" y="212"/>
                  <a:pt x="144" y="212"/>
                </a:cubicBezTo>
                <a:cubicBezTo>
                  <a:pt x="144" y="211"/>
                  <a:pt x="144" y="211"/>
                  <a:pt x="144" y="211"/>
                </a:cubicBezTo>
                <a:cubicBezTo>
                  <a:pt x="144" y="211"/>
                  <a:pt x="144" y="211"/>
                  <a:pt x="144" y="211"/>
                </a:cubicBezTo>
                <a:cubicBezTo>
                  <a:pt x="144" y="212"/>
                  <a:pt x="144" y="212"/>
                  <a:pt x="144" y="212"/>
                </a:cubicBezTo>
                <a:cubicBezTo>
                  <a:pt x="144" y="213"/>
                  <a:pt x="144" y="213"/>
                  <a:pt x="144" y="213"/>
                </a:cubicBezTo>
                <a:cubicBezTo>
                  <a:pt x="145" y="213"/>
                  <a:pt x="145" y="213"/>
                  <a:pt x="145" y="213"/>
                </a:cubicBezTo>
                <a:cubicBezTo>
                  <a:pt x="146" y="212"/>
                  <a:pt x="146" y="212"/>
                  <a:pt x="146" y="212"/>
                </a:cubicBezTo>
                <a:cubicBezTo>
                  <a:pt x="145" y="212"/>
                  <a:pt x="145" y="212"/>
                  <a:pt x="145" y="212"/>
                </a:cubicBezTo>
                <a:cubicBezTo>
                  <a:pt x="146" y="211"/>
                  <a:pt x="146" y="211"/>
                  <a:pt x="146" y="211"/>
                </a:cubicBezTo>
                <a:cubicBezTo>
                  <a:pt x="146" y="210"/>
                  <a:pt x="146" y="210"/>
                  <a:pt x="146" y="210"/>
                </a:cubicBezTo>
                <a:cubicBezTo>
                  <a:pt x="144" y="210"/>
                  <a:pt x="144" y="210"/>
                  <a:pt x="144" y="210"/>
                </a:cubicBezTo>
                <a:cubicBezTo>
                  <a:pt x="144" y="210"/>
                  <a:pt x="144" y="210"/>
                  <a:pt x="144" y="210"/>
                </a:cubicBezTo>
                <a:cubicBezTo>
                  <a:pt x="146" y="210"/>
                  <a:pt x="146" y="210"/>
                  <a:pt x="146" y="210"/>
                </a:cubicBezTo>
                <a:cubicBezTo>
                  <a:pt x="148" y="209"/>
                  <a:pt x="148" y="209"/>
                  <a:pt x="148" y="209"/>
                </a:cubicBezTo>
                <a:cubicBezTo>
                  <a:pt x="150" y="209"/>
                  <a:pt x="150" y="209"/>
                  <a:pt x="150" y="209"/>
                </a:cubicBezTo>
                <a:cubicBezTo>
                  <a:pt x="151" y="208"/>
                  <a:pt x="151" y="208"/>
                  <a:pt x="151" y="208"/>
                </a:cubicBezTo>
                <a:cubicBezTo>
                  <a:pt x="150" y="207"/>
                  <a:pt x="150" y="207"/>
                  <a:pt x="150" y="207"/>
                </a:cubicBezTo>
                <a:cubicBezTo>
                  <a:pt x="150" y="207"/>
                  <a:pt x="150" y="207"/>
                  <a:pt x="150" y="207"/>
                </a:cubicBezTo>
                <a:cubicBezTo>
                  <a:pt x="151" y="207"/>
                  <a:pt x="151" y="207"/>
                  <a:pt x="151" y="207"/>
                </a:cubicBezTo>
                <a:cubicBezTo>
                  <a:pt x="151" y="207"/>
                  <a:pt x="151" y="207"/>
                  <a:pt x="151" y="207"/>
                </a:cubicBezTo>
                <a:cubicBezTo>
                  <a:pt x="152" y="206"/>
                  <a:pt x="152" y="206"/>
                  <a:pt x="152" y="206"/>
                </a:cubicBezTo>
                <a:cubicBezTo>
                  <a:pt x="153" y="206"/>
                  <a:pt x="153" y="206"/>
                  <a:pt x="153" y="206"/>
                </a:cubicBezTo>
                <a:cubicBezTo>
                  <a:pt x="153" y="207"/>
                  <a:pt x="153" y="207"/>
                  <a:pt x="153" y="207"/>
                </a:cubicBezTo>
                <a:cubicBezTo>
                  <a:pt x="154" y="207"/>
                  <a:pt x="154" y="207"/>
                  <a:pt x="154" y="207"/>
                </a:cubicBezTo>
                <a:cubicBezTo>
                  <a:pt x="154" y="206"/>
                  <a:pt x="154" y="206"/>
                  <a:pt x="154" y="206"/>
                </a:cubicBezTo>
                <a:cubicBezTo>
                  <a:pt x="154" y="206"/>
                  <a:pt x="154" y="206"/>
                  <a:pt x="154" y="206"/>
                </a:cubicBezTo>
                <a:cubicBezTo>
                  <a:pt x="155" y="205"/>
                  <a:pt x="155" y="205"/>
                  <a:pt x="155" y="205"/>
                </a:cubicBezTo>
                <a:cubicBezTo>
                  <a:pt x="155" y="204"/>
                  <a:pt x="155" y="204"/>
                  <a:pt x="155" y="204"/>
                </a:cubicBezTo>
                <a:cubicBezTo>
                  <a:pt x="155" y="204"/>
                  <a:pt x="155" y="204"/>
                  <a:pt x="155" y="204"/>
                </a:cubicBezTo>
                <a:cubicBezTo>
                  <a:pt x="156" y="204"/>
                  <a:pt x="156" y="204"/>
                  <a:pt x="156" y="204"/>
                </a:cubicBezTo>
                <a:cubicBezTo>
                  <a:pt x="156" y="205"/>
                  <a:pt x="156" y="205"/>
                  <a:pt x="156" y="205"/>
                </a:cubicBezTo>
                <a:cubicBezTo>
                  <a:pt x="157" y="205"/>
                  <a:pt x="157" y="205"/>
                  <a:pt x="157" y="205"/>
                </a:cubicBezTo>
                <a:cubicBezTo>
                  <a:pt x="158" y="204"/>
                  <a:pt x="158" y="204"/>
                  <a:pt x="158" y="204"/>
                </a:cubicBezTo>
                <a:cubicBezTo>
                  <a:pt x="159" y="203"/>
                  <a:pt x="159" y="203"/>
                  <a:pt x="159" y="203"/>
                </a:cubicBezTo>
                <a:cubicBezTo>
                  <a:pt x="160" y="204"/>
                  <a:pt x="160" y="204"/>
                  <a:pt x="160" y="204"/>
                </a:cubicBezTo>
                <a:cubicBezTo>
                  <a:pt x="160" y="202"/>
                  <a:pt x="160" y="202"/>
                  <a:pt x="160" y="202"/>
                </a:cubicBezTo>
                <a:cubicBezTo>
                  <a:pt x="161" y="202"/>
                  <a:pt x="161" y="202"/>
                  <a:pt x="161" y="202"/>
                </a:cubicBezTo>
                <a:cubicBezTo>
                  <a:pt x="161" y="203"/>
                  <a:pt x="161" y="203"/>
                  <a:pt x="161" y="203"/>
                </a:cubicBezTo>
                <a:cubicBezTo>
                  <a:pt x="162" y="203"/>
                  <a:pt x="162" y="203"/>
                  <a:pt x="162" y="203"/>
                </a:cubicBezTo>
                <a:cubicBezTo>
                  <a:pt x="164" y="201"/>
                  <a:pt x="164" y="201"/>
                  <a:pt x="164" y="201"/>
                </a:cubicBezTo>
                <a:cubicBezTo>
                  <a:pt x="164" y="200"/>
                  <a:pt x="164" y="200"/>
                  <a:pt x="164" y="200"/>
                </a:cubicBezTo>
                <a:cubicBezTo>
                  <a:pt x="163" y="200"/>
                  <a:pt x="163" y="200"/>
                  <a:pt x="163" y="200"/>
                </a:cubicBezTo>
                <a:cubicBezTo>
                  <a:pt x="162" y="200"/>
                  <a:pt x="162" y="200"/>
                  <a:pt x="162" y="200"/>
                </a:cubicBezTo>
                <a:cubicBezTo>
                  <a:pt x="162" y="200"/>
                  <a:pt x="162" y="200"/>
                  <a:pt x="162" y="200"/>
                </a:cubicBezTo>
                <a:cubicBezTo>
                  <a:pt x="164" y="199"/>
                  <a:pt x="164" y="199"/>
                  <a:pt x="164" y="199"/>
                </a:cubicBezTo>
                <a:cubicBezTo>
                  <a:pt x="165" y="198"/>
                  <a:pt x="165" y="198"/>
                  <a:pt x="165" y="198"/>
                </a:cubicBezTo>
                <a:cubicBezTo>
                  <a:pt x="166" y="197"/>
                  <a:pt x="166" y="197"/>
                  <a:pt x="166" y="197"/>
                </a:cubicBezTo>
                <a:cubicBezTo>
                  <a:pt x="166" y="197"/>
                  <a:pt x="166" y="197"/>
                  <a:pt x="166" y="197"/>
                </a:cubicBezTo>
                <a:cubicBezTo>
                  <a:pt x="167" y="198"/>
                  <a:pt x="167" y="198"/>
                  <a:pt x="167" y="198"/>
                </a:cubicBezTo>
                <a:cubicBezTo>
                  <a:pt x="168" y="196"/>
                  <a:pt x="168" y="196"/>
                  <a:pt x="168" y="196"/>
                </a:cubicBezTo>
                <a:cubicBezTo>
                  <a:pt x="169" y="196"/>
                  <a:pt x="169" y="196"/>
                  <a:pt x="169" y="196"/>
                </a:cubicBezTo>
                <a:cubicBezTo>
                  <a:pt x="170" y="195"/>
                  <a:pt x="170" y="195"/>
                  <a:pt x="170" y="195"/>
                </a:cubicBezTo>
                <a:cubicBezTo>
                  <a:pt x="170" y="195"/>
                  <a:pt x="170" y="195"/>
                  <a:pt x="170" y="195"/>
                </a:cubicBezTo>
                <a:cubicBezTo>
                  <a:pt x="171" y="194"/>
                  <a:pt x="171" y="194"/>
                  <a:pt x="171" y="194"/>
                </a:cubicBezTo>
                <a:cubicBezTo>
                  <a:pt x="172" y="194"/>
                  <a:pt x="172" y="194"/>
                  <a:pt x="172" y="194"/>
                </a:cubicBezTo>
                <a:cubicBezTo>
                  <a:pt x="172" y="195"/>
                  <a:pt x="172" y="195"/>
                  <a:pt x="172" y="195"/>
                </a:cubicBezTo>
                <a:cubicBezTo>
                  <a:pt x="173" y="195"/>
                  <a:pt x="173" y="195"/>
                  <a:pt x="173" y="195"/>
                </a:cubicBezTo>
                <a:cubicBezTo>
                  <a:pt x="173" y="194"/>
                  <a:pt x="173" y="194"/>
                  <a:pt x="173" y="194"/>
                </a:cubicBezTo>
                <a:cubicBezTo>
                  <a:pt x="174" y="194"/>
                  <a:pt x="174" y="194"/>
                  <a:pt x="174" y="194"/>
                </a:cubicBezTo>
                <a:cubicBezTo>
                  <a:pt x="174" y="194"/>
                  <a:pt x="174" y="194"/>
                  <a:pt x="174" y="194"/>
                </a:cubicBezTo>
                <a:cubicBezTo>
                  <a:pt x="174" y="193"/>
                  <a:pt x="174" y="193"/>
                  <a:pt x="174" y="193"/>
                </a:cubicBezTo>
                <a:cubicBezTo>
                  <a:pt x="175" y="193"/>
                  <a:pt x="175" y="193"/>
                  <a:pt x="175" y="193"/>
                </a:cubicBezTo>
                <a:cubicBezTo>
                  <a:pt x="176" y="192"/>
                  <a:pt x="176" y="192"/>
                  <a:pt x="176" y="192"/>
                </a:cubicBezTo>
                <a:cubicBezTo>
                  <a:pt x="176" y="192"/>
                  <a:pt x="176" y="192"/>
                  <a:pt x="176" y="192"/>
                </a:cubicBezTo>
                <a:cubicBezTo>
                  <a:pt x="178" y="193"/>
                  <a:pt x="178" y="193"/>
                  <a:pt x="178" y="193"/>
                </a:cubicBezTo>
                <a:cubicBezTo>
                  <a:pt x="178" y="191"/>
                  <a:pt x="178" y="191"/>
                  <a:pt x="178" y="191"/>
                </a:cubicBezTo>
                <a:cubicBezTo>
                  <a:pt x="179" y="191"/>
                  <a:pt x="179" y="191"/>
                  <a:pt x="179" y="191"/>
                </a:cubicBezTo>
                <a:cubicBezTo>
                  <a:pt x="179" y="192"/>
                  <a:pt x="179" y="192"/>
                  <a:pt x="179" y="192"/>
                </a:cubicBezTo>
                <a:cubicBezTo>
                  <a:pt x="179" y="192"/>
                  <a:pt x="179" y="192"/>
                  <a:pt x="179" y="192"/>
                </a:cubicBezTo>
                <a:cubicBezTo>
                  <a:pt x="180" y="191"/>
                  <a:pt x="180" y="191"/>
                  <a:pt x="180" y="191"/>
                </a:cubicBezTo>
                <a:cubicBezTo>
                  <a:pt x="181" y="192"/>
                  <a:pt x="181" y="192"/>
                  <a:pt x="181" y="192"/>
                </a:cubicBezTo>
                <a:cubicBezTo>
                  <a:pt x="181" y="192"/>
                  <a:pt x="181" y="192"/>
                  <a:pt x="181" y="192"/>
                </a:cubicBezTo>
                <a:cubicBezTo>
                  <a:pt x="182" y="190"/>
                  <a:pt x="182" y="190"/>
                  <a:pt x="182" y="190"/>
                </a:cubicBezTo>
                <a:cubicBezTo>
                  <a:pt x="181" y="190"/>
                  <a:pt x="181" y="190"/>
                  <a:pt x="181" y="190"/>
                </a:cubicBezTo>
                <a:cubicBezTo>
                  <a:pt x="180" y="190"/>
                  <a:pt x="180" y="190"/>
                  <a:pt x="180" y="190"/>
                </a:cubicBezTo>
                <a:cubicBezTo>
                  <a:pt x="181" y="189"/>
                  <a:pt x="181" y="189"/>
                  <a:pt x="181" y="189"/>
                </a:cubicBezTo>
                <a:cubicBezTo>
                  <a:pt x="182" y="188"/>
                  <a:pt x="182" y="188"/>
                  <a:pt x="182" y="188"/>
                </a:cubicBezTo>
                <a:cubicBezTo>
                  <a:pt x="183" y="188"/>
                  <a:pt x="183" y="188"/>
                  <a:pt x="183" y="188"/>
                </a:cubicBezTo>
                <a:cubicBezTo>
                  <a:pt x="183" y="189"/>
                  <a:pt x="183" y="189"/>
                  <a:pt x="183" y="189"/>
                </a:cubicBezTo>
                <a:cubicBezTo>
                  <a:pt x="183" y="188"/>
                  <a:pt x="183" y="188"/>
                  <a:pt x="183" y="188"/>
                </a:cubicBezTo>
                <a:cubicBezTo>
                  <a:pt x="183" y="188"/>
                  <a:pt x="183" y="188"/>
                  <a:pt x="183" y="188"/>
                </a:cubicBezTo>
                <a:cubicBezTo>
                  <a:pt x="182" y="187"/>
                  <a:pt x="182" y="187"/>
                  <a:pt x="182" y="187"/>
                </a:cubicBezTo>
                <a:cubicBezTo>
                  <a:pt x="183" y="187"/>
                  <a:pt x="183" y="187"/>
                  <a:pt x="183" y="187"/>
                </a:cubicBezTo>
                <a:cubicBezTo>
                  <a:pt x="184" y="187"/>
                  <a:pt x="184" y="187"/>
                  <a:pt x="184" y="187"/>
                </a:cubicBezTo>
                <a:cubicBezTo>
                  <a:pt x="185" y="186"/>
                  <a:pt x="185" y="186"/>
                  <a:pt x="185" y="186"/>
                </a:cubicBezTo>
                <a:cubicBezTo>
                  <a:pt x="187" y="186"/>
                  <a:pt x="187" y="186"/>
                  <a:pt x="187" y="186"/>
                </a:cubicBezTo>
                <a:cubicBezTo>
                  <a:pt x="188" y="185"/>
                  <a:pt x="188" y="185"/>
                  <a:pt x="188" y="185"/>
                </a:cubicBezTo>
                <a:cubicBezTo>
                  <a:pt x="189" y="185"/>
                  <a:pt x="189" y="185"/>
                  <a:pt x="189" y="185"/>
                </a:cubicBezTo>
                <a:cubicBezTo>
                  <a:pt x="190" y="183"/>
                  <a:pt x="190" y="183"/>
                  <a:pt x="190" y="183"/>
                </a:cubicBezTo>
                <a:cubicBezTo>
                  <a:pt x="190" y="181"/>
                  <a:pt x="190" y="181"/>
                  <a:pt x="190" y="181"/>
                </a:cubicBezTo>
                <a:cubicBezTo>
                  <a:pt x="190" y="181"/>
                  <a:pt x="190" y="181"/>
                  <a:pt x="190" y="181"/>
                </a:cubicBezTo>
                <a:cubicBezTo>
                  <a:pt x="190" y="181"/>
                  <a:pt x="190" y="181"/>
                  <a:pt x="190" y="181"/>
                </a:cubicBezTo>
                <a:cubicBezTo>
                  <a:pt x="189" y="180"/>
                  <a:pt x="189" y="180"/>
                  <a:pt x="189" y="180"/>
                </a:cubicBezTo>
                <a:cubicBezTo>
                  <a:pt x="188" y="179"/>
                  <a:pt x="188" y="179"/>
                  <a:pt x="188" y="179"/>
                </a:cubicBezTo>
                <a:cubicBezTo>
                  <a:pt x="187" y="179"/>
                  <a:pt x="187" y="179"/>
                  <a:pt x="187" y="179"/>
                </a:cubicBezTo>
                <a:cubicBezTo>
                  <a:pt x="187" y="178"/>
                  <a:pt x="187" y="178"/>
                  <a:pt x="187" y="178"/>
                </a:cubicBezTo>
                <a:cubicBezTo>
                  <a:pt x="187" y="177"/>
                  <a:pt x="187" y="177"/>
                  <a:pt x="187" y="177"/>
                </a:cubicBezTo>
                <a:cubicBezTo>
                  <a:pt x="189" y="176"/>
                  <a:pt x="189" y="176"/>
                  <a:pt x="189" y="176"/>
                </a:cubicBezTo>
                <a:cubicBezTo>
                  <a:pt x="189" y="176"/>
                  <a:pt x="189" y="176"/>
                  <a:pt x="189" y="176"/>
                </a:cubicBezTo>
                <a:cubicBezTo>
                  <a:pt x="190" y="175"/>
                  <a:pt x="190" y="175"/>
                  <a:pt x="190" y="175"/>
                </a:cubicBezTo>
                <a:cubicBezTo>
                  <a:pt x="190" y="175"/>
                  <a:pt x="190" y="175"/>
                  <a:pt x="190" y="175"/>
                </a:cubicBezTo>
                <a:cubicBezTo>
                  <a:pt x="190" y="175"/>
                  <a:pt x="190" y="175"/>
                  <a:pt x="190" y="175"/>
                </a:cubicBezTo>
                <a:cubicBezTo>
                  <a:pt x="190" y="174"/>
                  <a:pt x="190" y="174"/>
                  <a:pt x="190" y="174"/>
                </a:cubicBezTo>
                <a:cubicBezTo>
                  <a:pt x="192" y="174"/>
                  <a:pt x="192" y="174"/>
                  <a:pt x="192" y="174"/>
                </a:cubicBezTo>
                <a:cubicBezTo>
                  <a:pt x="193" y="173"/>
                  <a:pt x="193" y="173"/>
                  <a:pt x="193" y="173"/>
                </a:cubicBezTo>
                <a:cubicBezTo>
                  <a:pt x="194" y="174"/>
                  <a:pt x="194" y="174"/>
                  <a:pt x="194" y="174"/>
                </a:cubicBezTo>
                <a:cubicBezTo>
                  <a:pt x="196" y="173"/>
                  <a:pt x="196" y="173"/>
                  <a:pt x="196" y="173"/>
                </a:cubicBezTo>
                <a:cubicBezTo>
                  <a:pt x="196" y="174"/>
                  <a:pt x="196" y="174"/>
                  <a:pt x="196" y="174"/>
                </a:cubicBezTo>
                <a:cubicBezTo>
                  <a:pt x="196" y="175"/>
                  <a:pt x="196" y="175"/>
                  <a:pt x="196" y="175"/>
                </a:cubicBezTo>
                <a:cubicBezTo>
                  <a:pt x="197" y="175"/>
                  <a:pt x="197" y="175"/>
                  <a:pt x="197" y="175"/>
                </a:cubicBezTo>
                <a:cubicBezTo>
                  <a:pt x="198" y="173"/>
                  <a:pt x="198" y="173"/>
                  <a:pt x="198" y="173"/>
                </a:cubicBezTo>
                <a:cubicBezTo>
                  <a:pt x="198" y="173"/>
                  <a:pt x="198" y="173"/>
                  <a:pt x="198" y="173"/>
                </a:cubicBezTo>
                <a:cubicBezTo>
                  <a:pt x="197" y="173"/>
                  <a:pt x="197" y="173"/>
                  <a:pt x="197" y="173"/>
                </a:cubicBezTo>
                <a:cubicBezTo>
                  <a:pt x="197" y="172"/>
                  <a:pt x="197" y="172"/>
                  <a:pt x="197" y="172"/>
                </a:cubicBezTo>
                <a:cubicBezTo>
                  <a:pt x="198" y="172"/>
                  <a:pt x="198" y="172"/>
                  <a:pt x="198" y="172"/>
                </a:cubicBezTo>
                <a:cubicBezTo>
                  <a:pt x="199" y="172"/>
                  <a:pt x="199" y="172"/>
                  <a:pt x="199" y="172"/>
                </a:cubicBezTo>
                <a:cubicBezTo>
                  <a:pt x="201" y="172"/>
                  <a:pt x="201" y="172"/>
                  <a:pt x="201" y="172"/>
                </a:cubicBezTo>
                <a:cubicBezTo>
                  <a:pt x="201" y="170"/>
                  <a:pt x="201" y="170"/>
                  <a:pt x="201" y="170"/>
                </a:cubicBezTo>
                <a:cubicBezTo>
                  <a:pt x="201" y="168"/>
                  <a:pt x="201" y="168"/>
                  <a:pt x="201" y="168"/>
                </a:cubicBezTo>
                <a:cubicBezTo>
                  <a:pt x="199" y="167"/>
                  <a:pt x="199" y="167"/>
                  <a:pt x="199" y="167"/>
                </a:cubicBezTo>
                <a:cubicBezTo>
                  <a:pt x="198" y="167"/>
                  <a:pt x="198" y="167"/>
                  <a:pt x="198" y="167"/>
                </a:cubicBezTo>
                <a:cubicBezTo>
                  <a:pt x="198" y="168"/>
                  <a:pt x="198" y="168"/>
                  <a:pt x="198" y="168"/>
                </a:cubicBezTo>
                <a:cubicBezTo>
                  <a:pt x="198" y="168"/>
                  <a:pt x="198" y="168"/>
                  <a:pt x="198" y="168"/>
                </a:cubicBezTo>
                <a:cubicBezTo>
                  <a:pt x="199" y="167"/>
                  <a:pt x="199" y="167"/>
                  <a:pt x="199" y="167"/>
                </a:cubicBezTo>
                <a:cubicBezTo>
                  <a:pt x="200" y="167"/>
                  <a:pt x="200" y="167"/>
                  <a:pt x="200" y="167"/>
                </a:cubicBezTo>
                <a:cubicBezTo>
                  <a:pt x="201" y="168"/>
                  <a:pt x="201" y="168"/>
                  <a:pt x="201" y="168"/>
                </a:cubicBezTo>
                <a:cubicBezTo>
                  <a:pt x="203" y="167"/>
                  <a:pt x="203" y="167"/>
                  <a:pt x="203" y="167"/>
                </a:cubicBezTo>
                <a:cubicBezTo>
                  <a:pt x="204" y="166"/>
                  <a:pt x="204" y="166"/>
                  <a:pt x="204" y="166"/>
                </a:cubicBezTo>
                <a:cubicBezTo>
                  <a:pt x="204" y="166"/>
                  <a:pt x="204" y="166"/>
                  <a:pt x="204" y="166"/>
                </a:cubicBezTo>
                <a:cubicBezTo>
                  <a:pt x="207" y="164"/>
                  <a:pt x="207" y="164"/>
                  <a:pt x="207" y="164"/>
                </a:cubicBezTo>
                <a:cubicBezTo>
                  <a:pt x="208" y="163"/>
                  <a:pt x="208" y="163"/>
                  <a:pt x="208" y="163"/>
                </a:cubicBezTo>
                <a:cubicBezTo>
                  <a:pt x="210" y="163"/>
                  <a:pt x="210" y="163"/>
                  <a:pt x="210" y="163"/>
                </a:cubicBezTo>
                <a:cubicBezTo>
                  <a:pt x="210" y="162"/>
                  <a:pt x="210" y="162"/>
                  <a:pt x="210" y="162"/>
                </a:cubicBezTo>
                <a:cubicBezTo>
                  <a:pt x="210" y="161"/>
                  <a:pt x="210" y="161"/>
                  <a:pt x="210" y="161"/>
                </a:cubicBezTo>
                <a:cubicBezTo>
                  <a:pt x="213" y="159"/>
                  <a:pt x="213" y="159"/>
                  <a:pt x="213" y="159"/>
                </a:cubicBezTo>
                <a:cubicBezTo>
                  <a:pt x="215" y="159"/>
                  <a:pt x="215" y="159"/>
                  <a:pt x="215" y="159"/>
                </a:cubicBezTo>
                <a:cubicBezTo>
                  <a:pt x="218" y="157"/>
                  <a:pt x="218" y="157"/>
                  <a:pt x="218" y="157"/>
                </a:cubicBezTo>
                <a:cubicBezTo>
                  <a:pt x="220" y="157"/>
                  <a:pt x="220" y="157"/>
                  <a:pt x="220" y="157"/>
                </a:cubicBezTo>
                <a:cubicBezTo>
                  <a:pt x="222" y="154"/>
                  <a:pt x="222" y="154"/>
                  <a:pt x="222" y="154"/>
                </a:cubicBezTo>
                <a:cubicBezTo>
                  <a:pt x="221" y="156"/>
                  <a:pt x="221" y="156"/>
                  <a:pt x="221" y="156"/>
                </a:cubicBezTo>
                <a:cubicBezTo>
                  <a:pt x="221" y="157"/>
                  <a:pt x="221" y="157"/>
                  <a:pt x="221" y="157"/>
                </a:cubicBezTo>
                <a:cubicBezTo>
                  <a:pt x="222" y="157"/>
                  <a:pt x="222" y="157"/>
                  <a:pt x="222" y="157"/>
                </a:cubicBezTo>
                <a:cubicBezTo>
                  <a:pt x="223" y="158"/>
                  <a:pt x="223" y="158"/>
                  <a:pt x="223" y="158"/>
                </a:cubicBezTo>
                <a:cubicBezTo>
                  <a:pt x="223" y="158"/>
                  <a:pt x="223" y="158"/>
                  <a:pt x="223" y="158"/>
                </a:cubicBezTo>
                <a:cubicBezTo>
                  <a:pt x="225" y="156"/>
                  <a:pt x="225" y="156"/>
                  <a:pt x="225" y="156"/>
                </a:cubicBezTo>
                <a:cubicBezTo>
                  <a:pt x="226" y="156"/>
                  <a:pt x="226" y="156"/>
                  <a:pt x="226" y="156"/>
                </a:cubicBezTo>
                <a:cubicBezTo>
                  <a:pt x="228" y="155"/>
                  <a:pt x="228" y="155"/>
                  <a:pt x="228" y="155"/>
                </a:cubicBezTo>
                <a:cubicBezTo>
                  <a:pt x="229" y="154"/>
                  <a:pt x="229" y="154"/>
                  <a:pt x="229" y="154"/>
                </a:cubicBezTo>
                <a:cubicBezTo>
                  <a:pt x="229" y="156"/>
                  <a:pt x="229" y="156"/>
                  <a:pt x="229" y="156"/>
                </a:cubicBezTo>
                <a:cubicBezTo>
                  <a:pt x="227" y="157"/>
                  <a:pt x="227" y="157"/>
                  <a:pt x="227" y="157"/>
                </a:cubicBezTo>
                <a:cubicBezTo>
                  <a:pt x="225" y="157"/>
                  <a:pt x="225" y="157"/>
                  <a:pt x="225" y="157"/>
                </a:cubicBezTo>
                <a:cubicBezTo>
                  <a:pt x="222" y="160"/>
                  <a:pt x="222" y="160"/>
                  <a:pt x="222" y="160"/>
                </a:cubicBezTo>
                <a:cubicBezTo>
                  <a:pt x="222" y="161"/>
                  <a:pt x="222" y="161"/>
                  <a:pt x="222" y="161"/>
                </a:cubicBezTo>
                <a:cubicBezTo>
                  <a:pt x="224" y="163"/>
                  <a:pt x="224" y="163"/>
                  <a:pt x="224" y="163"/>
                </a:cubicBezTo>
                <a:cubicBezTo>
                  <a:pt x="224" y="164"/>
                  <a:pt x="224" y="164"/>
                  <a:pt x="224" y="164"/>
                </a:cubicBezTo>
                <a:cubicBezTo>
                  <a:pt x="223" y="163"/>
                  <a:pt x="223" y="163"/>
                  <a:pt x="223" y="163"/>
                </a:cubicBezTo>
                <a:cubicBezTo>
                  <a:pt x="222" y="163"/>
                  <a:pt x="222" y="163"/>
                  <a:pt x="222" y="163"/>
                </a:cubicBezTo>
                <a:cubicBezTo>
                  <a:pt x="221" y="163"/>
                  <a:pt x="221" y="163"/>
                  <a:pt x="221" y="163"/>
                </a:cubicBezTo>
                <a:cubicBezTo>
                  <a:pt x="220" y="163"/>
                  <a:pt x="220" y="163"/>
                  <a:pt x="220" y="163"/>
                </a:cubicBezTo>
                <a:cubicBezTo>
                  <a:pt x="219" y="162"/>
                  <a:pt x="219" y="162"/>
                  <a:pt x="219" y="162"/>
                </a:cubicBezTo>
                <a:cubicBezTo>
                  <a:pt x="219" y="161"/>
                  <a:pt x="219" y="161"/>
                  <a:pt x="219" y="161"/>
                </a:cubicBezTo>
                <a:cubicBezTo>
                  <a:pt x="217" y="162"/>
                  <a:pt x="217" y="162"/>
                  <a:pt x="217" y="162"/>
                </a:cubicBezTo>
                <a:cubicBezTo>
                  <a:pt x="216" y="162"/>
                  <a:pt x="216" y="162"/>
                  <a:pt x="216" y="162"/>
                </a:cubicBezTo>
                <a:cubicBezTo>
                  <a:pt x="214" y="163"/>
                  <a:pt x="214" y="163"/>
                  <a:pt x="214" y="163"/>
                </a:cubicBezTo>
                <a:cubicBezTo>
                  <a:pt x="212" y="163"/>
                  <a:pt x="212" y="163"/>
                  <a:pt x="212" y="163"/>
                </a:cubicBezTo>
                <a:cubicBezTo>
                  <a:pt x="211" y="164"/>
                  <a:pt x="211" y="164"/>
                  <a:pt x="211" y="164"/>
                </a:cubicBezTo>
                <a:cubicBezTo>
                  <a:pt x="211" y="166"/>
                  <a:pt x="211" y="166"/>
                  <a:pt x="211" y="166"/>
                </a:cubicBezTo>
                <a:cubicBezTo>
                  <a:pt x="211" y="166"/>
                  <a:pt x="211" y="166"/>
                  <a:pt x="211" y="166"/>
                </a:cubicBezTo>
                <a:cubicBezTo>
                  <a:pt x="210" y="168"/>
                  <a:pt x="210" y="168"/>
                  <a:pt x="210" y="168"/>
                </a:cubicBezTo>
                <a:cubicBezTo>
                  <a:pt x="209" y="169"/>
                  <a:pt x="209" y="169"/>
                  <a:pt x="209" y="169"/>
                </a:cubicBezTo>
                <a:cubicBezTo>
                  <a:pt x="208" y="171"/>
                  <a:pt x="208" y="171"/>
                  <a:pt x="208" y="171"/>
                </a:cubicBezTo>
                <a:cubicBezTo>
                  <a:pt x="204" y="174"/>
                  <a:pt x="204" y="174"/>
                  <a:pt x="204" y="174"/>
                </a:cubicBezTo>
                <a:cubicBezTo>
                  <a:pt x="203" y="175"/>
                  <a:pt x="203" y="175"/>
                  <a:pt x="203" y="175"/>
                </a:cubicBezTo>
                <a:cubicBezTo>
                  <a:pt x="203" y="176"/>
                  <a:pt x="203" y="176"/>
                  <a:pt x="203" y="176"/>
                </a:cubicBezTo>
                <a:cubicBezTo>
                  <a:pt x="205" y="178"/>
                  <a:pt x="205" y="178"/>
                  <a:pt x="205" y="178"/>
                </a:cubicBezTo>
                <a:cubicBezTo>
                  <a:pt x="205" y="177"/>
                  <a:pt x="205" y="177"/>
                  <a:pt x="205" y="177"/>
                </a:cubicBezTo>
                <a:cubicBezTo>
                  <a:pt x="206" y="177"/>
                  <a:pt x="206" y="177"/>
                  <a:pt x="206" y="177"/>
                </a:cubicBezTo>
                <a:cubicBezTo>
                  <a:pt x="207" y="176"/>
                  <a:pt x="207" y="176"/>
                  <a:pt x="207" y="176"/>
                </a:cubicBezTo>
                <a:cubicBezTo>
                  <a:pt x="208" y="176"/>
                  <a:pt x="208" y="176"/>
                  <a:pt x="208" y="176"/>
                </a:cubicBezTo>
                <a:cubicBezTo>
                  <a:pt x="208" y="177"/>
                  <a:pt x="208" y="177"/>
                  <a:pt x="208" y="177"/>
                </a:cubicBezTo>
                <a:cubicBezTo>
                  <a:pt x="206" y="178"/>
                  <a:pt x="206" y="178"/>
                  <a:pt x="206" y="178"/>
                </a:cubicBezTo>
                <a:cubicBezTo>
                  <a:pt x="205" y="179"/>
                  <a:pt x="205" y="179"/>
                  <a:pt x="205" y="179"/>
                </a:cubicBezTo>
                <a:cubicBezTo>
                  <a:pt x="204" y="180"/>
                  <a:pt x="204" y="180"/>
                  <a:pt x="204" y="180"/>
                </a:cubicBezTo>
                <a:cubicBezTo>
                  <a:pt x="203" y="179"/>
                  <a:pt x="203" y="179"/>
                  <a:pt x="203" y="179"/>
                </a:cubicBezTo>
                <a:cubicBezTo>
                  <a:pt x="202" y="179"/>
                  <a:pt x="202" y="179"/>
                  <a:pt x="202" y="179"/>
                </a:cubicBezTo>
                <a:cubicBezTo>
                  <a:pt x="201" y="180"/>
                  <a:pt x="201" y="180"/>
                  <a:pt x="201" y="180"/>
                </a:cubicBezTo>
                <a:cubicBezTo>
                  <a:pt x="201" y="181"/>
                  <a:pt x="201" y="181"/>
                  <a:pt x="201" y="181"/>
                </a:cubicBezTo>
                <a:cubicBezTo>
                  <a:pt x="200" y="180"/>
                  <a:pt x="200" y="180"/>
                  <a:pt x="200" y="180"/>
                </a:cubicBezTo>
                <a:cubicBezTo>
                  <a:pt x="199" y="181"/>
                  <a:pt x="199" y="181"/>
                  <a:pt x="199" y="181"/>
                </a:cubicBezTo>
                <a:cubicBezTo>
                  <a:pt x="200" y="182"/>
                  <a:pt x="200" y="182"/>
                  <a:pt x="200" y="182"/>
                </a:cubicBezTo>
                <a:cubicBezTo>
                  <a:pt x="201" y="184"/>
                  <a:pt x="201" y="184"/>
                  <a:pt x="201" y="184"/>
                </a:cubicBezTo>
                <a:cubicBezTo>
                  <a:pt x="202" y="184"/>
                  <a:pt x="202" y="184"/>
                  <a:pt x="202" y="184"/>
                </a:cubicBezTo>
                <a:cubicBezTo>
                  <a:pt x="202" y="183"/>
                  <a:pt x="202" y="183"/>
                  <a:pt x="202" y="183"/>
                </a:cubicBezTo>
                <a:cubicBezTo>
                  <a:pt x="203" y="184"/>
                  <a:pt x="203" y="184"/>
                  <a:pt x="203" y="184"/>
                </a:cubicBezTo>
                <a:cubicBezTo>
                  <a:pt x="203" y="182"/>
                  <a:pt x="203" y="182"/>
                  <a:pt x="203" y="182"/>
                </a:cubicBezTo>
                <a:cubicBezTo>
                  <a:pt x="204" y="182"/>
                  <a:pt x="204" y="182"/>
                  <a:pt x="204" y="182"/>
                </a:cubicBezTo>
                <a:cubicBezTo>
                  <a:pt x="204" y="183"/>
                  <a:pt x="204" y="183"/>
                  <a:pt x="204" y="183"/>
                </a:cubicBezTo>
                <a:cubicBezTo>
                  <a:pt x="205" y="183"/>
                  <a:pt x="205" y="183"/>
                  <a:pt x="205" y="183"/>
                </a:cubicBezTo>
                <a:cubicBezTo>
                  <a:pt x="205" y="182"/>
                  <a:pt x="205" y="182"/>
                  <a:pt x="205" y="182"/>
                </a:cubicBezTo>
                <a:cubicBezTo>
                  <a:pt x="206" y="182"/>
                  <a:pt x="206" y="182"/>
                  <a:pt x="206" y="182"/>
                </a:cubicBezTo>
                <a:cubicBezTo>
                  <a:pt x="208" y="181"/>
                  <a:pt x="208" y="181"/>
                  <a:pt x="208" y="181"/>
                </a:cubicBezTo>
                <a:cubicBezTo>
                  <a:pt x="208" y="179"/>
                  <a:pt x="208" y="179"/>
                  <a:pt x="208" y="179"/>
                </a:cubicBezTo>
                <a:cubicBezTo>
                  <a:pt x="209" y="179"/>
                  <a:pt x="209" y="179"/>
                  <a:pt x="209" y="179"/>
                </a:cubicBezTo>
                <a:cubicBezTo>
                  <a:pt x="209" y="179"/>
                  <a:pt x="209" y="179"/>
                  <a:pt x="209" y="179"/>
                </a:cubicBezTo>
                <a:cubicBezTo>
                  <a:pt x="208" y="180"/>
                  <a:pt x="208" y="180"/>
                  <a:pt x="208" y="180"/>
                </a:cubicBezTo>
                <a:cubicBezTo>
                  <a:pt x="209" y="181"/>
                  <a:pt x="209" y="181"/>
                  <a:pt x="209" y="181"/>
                </a:cubicBezTo>
                <a:cubicBezTo>
                  <a:pt x="210" y="181"/>
                  <a:pt x="210" y="181"/>
                  <a:pt x="210" y="181"/>
                </a:cubicBezTo>
                <a:cubicBezTo>
                  <a:pt x="212" y="179"/>
                  <a:pt x="212" y="179"/>
                  <a:pt x="212" y="179"/>
                </a:cubicBezTo>
                <a:cubicBezTo>
                  <a:pt x="213" y="179"/>
                  <a:pt x="213" y="179"/>
                  <a:pt x="213" y="179"/>
                </a:cubicBezTo>
                <a:cubicBezTo>
                  <a:pt x="214" y="180"/>
                  <a:pt x="214" y="180"/>
                  <a:pt x="214" y="180"/>
                </a:cubicBezTo>
                <a:cubicBezTo>
                  <a:pt x="214" y="179"/>
                  <a:pt x="214" y="179"/>
                  <a:pt x="214" y="179"/>
                </a:cubicBezTo>
                <a:cubicBezTo>
                  <a:pt x="215" y="177"/>
                  <a:pt x="215" y="177"/>
                  <a:pt x="215" y="177"/>
                </a:cubicBezTo>
                <a:cubicBezTo>
                  <a:pt x="216" y="176"/>
                  <a:pt x="216" y="176"/>
                  <a:pt x="216" y="176"/>
                </a:cubicBezTo>
                <a:cubicBezTo>
                  <a:pt x="217" y="176"/>
                  <a:pt x="217" y="176"/>
                  <a:pt x="217" y="176"/>
                </a:cubicBezTo>
                <a:cubicBezTo>
                  <a:pt x="216" y="178"/>
                  <a:pt x="216" y="178"/>
                  <a:pt x="216" y="178"/>
                </a:cubicBezTo>
                <a:cubicBezTo>
                  <a:pt x="216" y="179"/>
                  <a:pt x="216" y="179"/>
                  <a:pt x="216" y="179"/>
                </a:cubicBezTo>
                <a:cubicBezTo>
                  <a:pt x="216" y="178"/>
                  <a:pt x="216" y="178"/>
                  <a:pt x="216" y="178"/>
                </a:cubicBezTo>
                <a:cubicBezTo>
                  <a:pt x="218" y="176"/>
                  <a:pt x="218" y="176"/>
                  <a:pt x="218" y="176"/>
                </a:cubicBezTo>
                <a:cubicBezTo>
                  <a:pt x="218" y="174"/>
                  <a:pt x="218" y="174"/>
                  <a:pt x="218" y="174"/>
                </a:cubicBezTo>
                <a:cubicBezTo>
                  <a:pt x="219" y="174"/>
                  <a:pt x="219" y="174"/>
                  <a:pt x="219" y="174"/>
                </a:cubicBezTo>
                <a:cubicBezTo>
                  <a:pt x="219" y="175"/>
                  <a:pt x="219" y="175"/>
                  <a:pt x="219" y="175"/>
                </a:cubicBezTo>
                <a:cubicBezTo>
                  <a:pt x="218" y="176"/>
                  <a:pt x="218" y="176"/>
                  <a:pt x="218" y="176"/>
                </a:cubicBezTo>
                <a:cubicBezTo>
                  <a:pt x="219" y="177"/>
                  <a:pt x="219" y="177"/>
                  <a:pt x="219" y="177"/>
                </a:cubicBezTo>
                <a:cubicBezTo>
                  <a:pt x="220" y="175"/>
                  <a:pt x="220" y="175"/>
                  <a:pt x="220" y="175"/>
                </a:cubicBezTo>
                <a:cubicBezTo>
                  <a:pt x="221" y="176"/>
                  <a:pt x="221" y="176"/>
                  <a:pt x="221" y="176"/>
                </a:cubicBezTo>
                <a:cubicBezTo>
                  <a:pt x="221" y="177"/>
                  <a:pt x="221" y="177"/>
                  <a:pt x="221" y="177"/>
                </a:cubicBezTo>
                <a:cubicBezTo>
                  <a:pt x="222" y="177"/>
                  <a:pt x="222" y="177"/>
                  <a:pt x="222" y="177"/>
                </a:cubicBezTo>
                <a:cubicBezTo>
                  <a:pt x="222" y="177"/>
                  <a:pt x="222" y="177"/>
                  <a:pt x="222" y="177"/>
                </a:cubicBezTo>
                <a:cubicBezTo>
                  <a:pt x="223" y="177"/>
                  <a:pt x="223" y="177"/>
                  <a:pt x="223" y="177"/>
                </a:cubicBezTo>
                <a:cubicBezTo>
                  <a:pt x="224" y="175"/>
                  <a:pt x="224" y="175"/>
                  <a:pt x="224" y="175"/>
                </a:cubicBezTo>
                <a:cubicBezTo>
                  <a:pt x="226" y="175"/>
                  <a:pt x="226" y="175"/>
                  <a:pt x="226" y="175"/>
                </a:cubicBezTo>
                <a:cubicBezTo>
                  <a:pt x="227" y="174"/>
                  <a:pt x="227" y="174"/>
                  <a:pt x="227" y="174"/>
                </a:cubicBezTo>
                <a:cubicBezTo>
                  <a:pt x="226" y="174"/>
                  <a:pt x="226" y="174"/>
                  <a:pt x="226" y="174"/>
                </a:cubicBezTo>
                <a:cubicBezTo>
                  <a:pt x="226" y="173"/>
                  <a:pt x="226" y="173"/>
                  <a:pt x="226" y="173"/>
                </a:cubicBezTo>
                <a:cubicBezTo>
                  <a:pt x="229" y="172"/>
                  <a:pt x="229" y="172"/>
                  <a:pt x="229" y="172"/>
                </a:cubicBezTo>
                <a:cubicBezTo>
                  <a:pt x="229" y="171"/>
                  <a:pt x="229" y="171"/>
                  <a:pt x="229" y="171"/>
                </a:cubicBezTo>
                <a:cubicBezTo>
                  <a:pt x="229" y="170"/>
                  <a:pt x="229" y="170"/>
                  <a:pt x="229" y="170"/>
                </a:cubicBezTo>
                <a:cubicBezTo>
                  <a:pt x="228" y="170"/>
                  <a:pt x="228" y="170"/>
                  <a:pt x="228" y="170"/>
                </a:cubicBezTo>
                <a:cubicBezTo>
                  <a:pt x="227" y="169"/>
                  <a:pt x="227" y="169"/>
                  <a:pt x="227" y="169"/>
                </a:cubicBezTo>
                <a:cubicBezTo>
                  <a:pt x="226" y="169"/>
                  <a:pt x="226" y="169"/>
                  <a:pt x="226" y="169"/>
                </a:cubicBezTo>
                <a:cubicBezTo>
                  <a:pt x="226" y="168"/>
                  <a:pt x="226" y="168"/>
                  <a:pt x="226" y="168"/>
                </a:cubicBezTo>
                <a:cubicBezTo>
                  <a:pt x="227" y="168"/>
                  <a:pt x="227" y="168"/>
                  <a:pt x="227" y="168"/>
                </a:cubicBezTo>
                <a:cubicBezTo>
                  <a:pt x="228" y="169"/>
                  <a:pt x="228" y="169"/>
                  <a:pt x="228" y="169"/>
                </a:cubicBezTo>
                <a:cubicBezTo>
                  <a:pt x="229" y="168"/>
                  <a:pt x="229" y="168"/>
                  <a:pt x="229" y="168"/>
                </a:cubicBezTo>
                <a:cubicBezTo>
                  <a:pt x="229" y="167"/>
                  <a:pt x="229" y="167"/>
                  <a:pt x="229" y="167"/>
                </a:cubicBezTo>
                <a:cubicBezTo>
                  <a:pt x="228" y="167"/>
                  <a:pt x="228" y="167"/>
                  <a:pt x="228" y="167"/>
                </a:cubicBezTo>
                <a:cubicBezTo>
                  <a:pt x="226" y="166"/>
                  <a:pt x="226" y="166"/>
                  <a:pt x="226" y="166"/>
                </a:cubicBezTo>
                <a:cubicBezTo>
                  <a:pt x="226" y="165"/>
                  <a:pt x="226" y="165"/>
                  <a:pt x="226" y="165"/>
                </a:cubicBezTo>
                <a:cubicBezTo>
                  <a:pt x="228" y="165"/>
                  <a:pt x="228" y="165"/>
                  <a:pt x="228" y="165"/>
                </a:cubicBezTo>
                <a:cubicBezTo>
                  <a:pt x="229" y="165"/>
                  <a:pt x="229" y="165"/>
                  <a:pt x="229" y="165"/>
                </a:cubicBezTo>
                <a:cubicBezTo>
                  <a:pt x="229" y="165"/>
                  <a:pt x="229" y="165"/>
                  <a:pt x="229" y="165"/>
                </a:cubicBezTo>
                <a:cubicBezTo>
                  <a:pt x="229" y="165"/>
                  <a:pt x="229" y="165"/>
                  <a:pt x="229" y="165"/>
                </a:cubicBezTo>
                <a:cubicBezTo>
                  <a:pt x="229" y="163"/>
                  <a:pt x="229" y="163"/>
                  <a:pt x="229" y="163"/>
                </a:cubicBezTo>
                <a:cubicBezTo>
                  <a:pt x="231" y="162"/>
                  <a:pt x="231" y="162"/>
                  <a:pt x="231" y="162"/>
                </a:cubicBezTo>
                <a:cubicBezTo>
                  <a:pt x="232" y="163"/>
                  <a:pt x="232" y="163"/>
                  <a:pt x="232" y="163"/>
                </a:cubicBezTo>
                <a:cubicBezTo>
                  <a:pt x="233" y="163"/>
                  <a:pt x="233" y="163"/>
                  <a:pt x="233" y="163"/>
                </a:cubicBezTo>
                <a:cubicBezTo>
                  <a:pt x="235" y="163"/>
                  <a:pt x="235" y="163"/>
                  <a:pt x="235" y="163"/>
                </a:cubicBezTo>
                <a:cubicBezTo>
                  <a:pt x="232" y="164"/>
                  <a:pt x="232" y="164"/>
                  <a:pt x="232" y="164"/>
                </a:cubicBezTo>
                <a:cubicBezTo>
                  <a:pt x="232" y="165"/>
                  <a:pt x="232" y="165"/>
                  <a:pt x="232" y="165"/>
                </a:cubicBezTo>
                <a:cubicBezTo>
                  <a:pt x="233" y="168"/>
                  <a:pt x="233" y="168"/>
                  <a:pt x="233" y="168"/>
                </a:cubicBezTo>
                <a:cubicBezTo>
                  <a:pt x="233" y="167"/>
                  <a:pt x="233" y="167"/>
                  <a:pt x="233" y="167"/>
                </a:cubicBezTo>
                <a:cubicBezTo>
                  <a:pt x="234" y="165"/>
                  <a:pt x="234" y="165"/>
                  <a:pt x="234" y="165"/>
                </a:cubicBezTo>
                <a:cubicBezTo>
                  <a:pt x="235" y="164"/>
                  <a:pt x="235" y="164"/>
                  <a:pt x="235" y="164"/>
                </a:cubicBezTo>
                <a:cubicBezTo>
                  <a:pt x="236" y="164"/>
                  <a:pt x="236" y="164"/>
                  <a:pt x="236" y="164"/>
                </a:cubicBezTo>
                <a:cubicBezTo>
                  <a:pt x="235" y="165"/>
                  <a:pt x="235" y="165"/>
                  <a:pt x="235" y="165"/>
                </a:cubicBezTo>
                <a:cubicBezTo>
                  <a:pt x="235" y="166"/>
                  <a:pt x="235" y="166"/>
                  <a:pt x="235" y="166"/>
                </a:cubicBezTo>
                <a:cubicBezTo>
                  <a:pt x="235" y="167"/>
                  <a:pt x="235" y="167"/>
                  <a:pt x="235" y="167"/>
                </a:cubicBezTo>
                <a:cubicBezTo>
                  <a:pt x="236" y="166"/>
                  <a:pt x="236" y="166"/>
                  <a:pt x="236" y="166"/>
                </a:cubicBezTo>
                <a:cubicBezTo>
                  <a:pt x="237" y="165"/>
                  <a:pt x="237" y="165"/>
                  <a:pt x="237" y="165"/>
                </a:cubicBezTo>
                <a:cubicBezTo>
                  <a:pt x="238" y="166"/>
                  <a:pt x="238" y="166"/>
                  <a:pt x="238" y="166"/>
                </a:cubicBezTo>
                <a:cubicBezTo>
                  <a:pt x="239" y="165"/>
                  <a:pt x="239" y="165"/>
                  <a:pt x="239" y="165"/>
                </a:cubicBezTo>
                <a:cubicBezTo>
                  <a:pt x="239" y="165"/>
                  <a:pt x="239" y="165"/>
                  <a:pt x="239" y="165"/>
                </a:cubicBezTo>
                <a:cubicBezTo>
                  <a:pt x="241" y="164"/>
                  <a:pt x="241" y="164"/>
                  <a:pt x="241" y="164"/>
                </a:cubicBezTo>
                <a:cubicBezTo>
                  <a:pt x="242" y="164"/>
                  <a:pt x="242" y="164"/>
                  <a:pt x="242" y="164"/>
                </a:cubicBezTo>
                <a:cubicBezTo>
                  <a:pt x="243" y="164"/>
                  <a:pt x="243" y="164"/>
                  <a:pt x="243" y="164"/>
                </a:cubicBezTo>
                <a:cubicBezTo>
                  <a:pt x="243" y="165"/>
                  <a:pt x="243" y="165"/>
                  <a:pt x="243" y="165"/>
                </a:cubicBezTo>
                <a:cubicBezTo>
                  <a:pt x="241" y="165"/>
                  <a:pt x="241" y="165"/>
                  <a:pt x="241" y="165"/>
                </a:cubicBezTo>
                <a:cubicBezTo>
                  <a:pt x="240" y="166"/>
                  <a:pt x="240" y="166"/>
                  <a:pt x="240" y="166"/>
                </a:cubicBezTo>
                <a:cubicBezTo>
                  <a:pt x="239" y="166"/>
                  <a:pt x="239" y="166"/>
                  <a:pt x="239" y="166"/>
                </a:cubicBezTo>
                <a:cubicBezTo>
                  <a:pt x="239" y="167"/>
                  <a:pt x="239" y="167"/>
                  <a:pt x="239" y="167"/>
                </a:cubicBezTo>
                <a:cubicBezTo>
                  <a:pt x="239" y="168"/>
                  <a:pt x="239" y="168"/>
                  <a:pt x="239" y="168"/>
                </a:cubicBezTo>
                <a:cubicBezTo>
                  <a:pt x="242" y="168"/>
                  <a:pt x="242" y="168"/>
                  <a:pt x="242" y="168"/>
                </a:cubicBezTo>
                <a:cubicBezTo>
                  <a:pt x="242" y="169"/>
                  <a:pt x="242" y="169"/>
                  <a:pt x="242" y="169"/>
                </a:cubicBezTo>
                <a:cubicBezTo>
                  <a:pt x="242" y="169"/>
                  <a:pt x="242" y="169"/>
                  <a:pt x="242" y="169"/>
                </a:cubicBezTo>
                <a:cubicBezTo>
                  <a:pt x="241" y="168"/>
                  <a:pt x="241" y="168"/>
                  <a:pt x="241" y="168"/>
                </a:cubicBezTo>
                <a:cubicBezTo>
                  <a:pt x="239" y="168"/>
                  <a:pt x="239" y="168"/>
                  <a:pt x="239" y="168"/>
                </a:cubicBezTo>
                <a:cubicBezTo>
                  <a:pt x="238" y="169"/>
                  <a:pt x="238" y="169"/>
                  <a:pt x="238" y="169"/>
                </a:cubicBezTo>
                <a:cubicBezTo>
                  <a:pt x="238" y="170"/>
                  <a:pt x="238" y="170"/>
                  <a:pt x="238" y="170"/>
                </a:cubicBezTo>
                <a:cubicBezTo>
                  <a:pt x="239" y="170"/>
                  <a:pt x="239" y="170"/>
                  <a:pt x="239" y="170"/>
                </a:cubicBezTo>
                <a:cubicBezTo>
                  <a:pt x="240" y="169"/>
                  <a:pt x="240" y="169"/>
                  <a:pt x="240" y="169"/>
                </a:cubicBezTo>
                <a:cubicBezTo>
                  <a:pt x="241" y="170"/>
                  <a:pt x="241" y="170"/>
                  <a:pt x="241" y="170"/>
                </a:cubicBezTo>
                <a:cubicBezTo>
                  <a:pt x="240" y="170"/>
                  <a:pt x="240" y="170"/>
                  <a:pt x="240" y="170"/>
                </a:cubicBezTo>
                <a:cubicBezTo>
                  <a:pt x="239" y="170"/>
                  <a:pt x="239" y="170"/>
                  <a:pt x="239" y="170"/>
                </a:cubicBezTo>
                <a:cubicBezTo>
                  <a:pt x="239" y="171"/>
                  <a:pt x="239" y="171"/>
                  <a:pt x="239" y="171"/>
                </a:cubicBezTo>
                <a:cubicBezTo>
                  <a:pt x="241" y="172"/>
                  <a:pt x="241" y="172"/>
                  <a:pt x="241" y="172"/>
                </a:cubicBezTo>
                <a:cubicBezTo>
                  <a:pt x="241" y="173"/>
                  <a:pt x="241" y="173"/>
                  <a:pt x="241" y="173"/>
                </a:cubicBezTo>
                <a:cubicBezTo>
                  <a:pt x="241" y="173"/>
                  <a:pt x="241" y="173"/>
                  <a:pt x="241" y="173"/>
                </a:cubicBezTo>
                <a:cubicBezTo>
                  <a:pt x="240" y="173"/>
                  <a:pt x="240" y="173"/>
                  <a:pt x="240" y="173"/>
                </a:cubicBezTo>
                <a:cubicBezTo>
                  <a:pt x="240" y="174"/>
                  <a:pt x="240" y="174"/>
                  <a:pt x="240" y="174"/>
                </a:cubicBezTo>
                <a:cubicBezTo>
                  <a:pt x="241" y="174"/>
                  <a:pt x="241" y="174"/>
                  <a:pt x="241" y="174"/>
                </a:cubicBezTo>
                <a:cubicBezTo>
                  <a:pt x="242" y="173"/>
                  <a:pt x="242" y="173"/>
                  <a:pt x="242" y="173"/>
                </a:cubicBezTo>
                <a:cubicBezTo>
                  <a:pt x="243" y="174"/>
                  <a:pt x="243" y="174"/>
                  <a:pt x="243" y="174"/>
                </a:cubicBezTo>
                <a:cubicBezTo>
                  <a:pt x="244" y="175"/>
                  <a:pt x="244" y="175"/>
                  <a:pt x="244" y="175"/>
                </a:cubicBezTo>
                <a:cubicBezTo>
                  <a:pt x="246" y="174"/>
                  <a:pt x="246" y="174"/>
                  <a:pt x="246" y="174"/>
                </a:cubicBezTo>
                <a:cubicBezTo>
                  <a:pt x="247" y="175"/>
                  <a:pt x="247" y="175"/>
                  <a:pt x="247" y="175"/>
                </a:cubicBezTo>
                <a:cubicBezTo>
                  <a:pt x="247" y="176"/>
                  <a:pt x="247" y="176"/>
                  <a:pt x="247" y="176"/>
                </a:cubicBezTo>
                <a:cubicBezTo>
                  <a:pt x="246" y="176"/>
                  <a:pt x="246" y="176"/>
                  <a:pt x="246" y="176"/>
                </a:cubicBezTo>
                <a:cubicBezTo>
                  <a:pt x="246" y="177"/>
                  <a:pt x="246" y="177"/>
                  <a:pt x="246" y="177"/>
                </a:cubicBezTo>
                <a:cubicBezTo>
                  <a:pt x="247" y="177"/>
                  <a:pt x="247" y="177"/>
                  <a:pt x="247" y="177"/>
                </a:cubicBezTo>
                <a:cubicBezTo>
                  <a:pt x="247" y="178"/>
                  <a:pt x="247" y="178"/>
                  <a:pt x="247" y="178"/>
                </a:cubicBezTo>
                <a:cubicBezTo>
                  <a:pt x="248" y="178"/>
                  <a:pt x="248" y="178"/>
                  <a:pt x="248" y="178"/>
                </a:cubicBezTo>
                <a:cubicBezTo>
                  <a:pt x="249" y="177"/>
                  <a:pt x="249" y="177"/>
                  <a:pt x="249" y="177"/>
                </a:cubicBezTo>
                <a:cubicBezTo>
                  <a:pt x="248" y="176"/>
                  <a:pt x="248" y="176"/>
                  <a:pt x="248" y="176"/>
                </a:cubicBezTo>
                <a:cubicBezTo>
                  <a:pt x="249" y="176"/>
                  <a:pt x="249" y="176"/>
                  <a:pt x="249" y="176"/>
                </a:cubicBezTo>
                <a:cubicBezTo>
                  <a:pt x="250" y="176"/>
                  <a:pt x="250" y="176"/>
                  <a:pt x="250" y="176"/>
                </a:cubicBezTo>
                <a:cubicBezTo>
                  <a:pt x="249" y="177"/>
                  <a:pt x="249" y="177"/>
                  <a:pt x="249" y="177"/>
                </a:cubicBezTo>
                <a:cubicBezTo>
                  <a:pt x="249" y="178"/>
                  <a:pt x="249" y="178"/>
                  <a:pt x="249" y="178"/>
                </a:cubicBezTo>
                <a:cubicBezTo>
                  <a:pt x="248" y="179"/>
                  <a:pt x="248" y="179"/>
                  <a:pt x="248" y="179"/>
                </a:cubicBezTo>
                <a:cubicBezTo>
                  <a:pt x="249" y="181"/>
                  <a:pt x="249" y="181"/>
                  <a:pt x="249" y="181"/>
                </a:cubicBezTo>
                <a:cubicBezTo>
                  <a:pt x="248" y="181"/>
                  <a:pt x="248" y="181"/>
                  <a:pt x="248" y="181"/>
                </a:cubicBezTo>
                <a:cubicBezTo>
                  <a:pt x="248" y="181"/>
                  <a:pt x="248" y="181"/>
                  <a:pt x="248" y="181"/>
                </a:cubicBezTo>
                <a:cubicBezTo>
                  <a:pt x="247" y="181"/>
                  <a:pt x="247" y="181"/>
                  <a:pt x="247" y="181"/>
                </a:cubicBezTo>
                <a:cubicBezTo>
                  <a:pt x="247" y="182"/>
                  <a:pt x="247" y="182"/>
                  <a:pt x="247" y="182"/>
                </a:cubicBezTo>
                <a:cubicBezTo>
                  <a:pt x="250" y="182"/>
                  <a:pt x="250" y="182"/>
                  <a:pt x="250" y="182"/>
                </a:cubicBezTo>
                <a:cubicBezTo>
                  <a:pt x="251" y="182"/>
                  <a:pt x="251" y="182"/>
                  <a:pt x="251" y="182"/>
                </a:cubicBezTo>
                <a:cubicBezTo>
                  <a:pt x="252" y="182"/>
                  <a:pt x="252" y="182"/>
                  <a:pt x="252" y="182"/>
                </a:cubicBezTo>
                <a:cubicBezTo>
                  <a:pt x="253" y="182"/>
                  <a:pt x="253" y="182"/>
                  <a:pt x="253" y="182"/>
                </a:cubicBezTo>
                <a:cubicBezTo>
                  <a:pt x="255" y="182"/>
                  <a:pt x="255" y="182"/>
                  <a:pt x="255" y="182"/>
                </a:cubicBezTo>
                <a:cubicBezTo>
                  <a:pt x="256" y="182"/>
                  <a:pt x="256" y="182"/>
                  <a:pt x="256" y="182"/>
                </a:cubicBezTo>
                <a:cubicBezTo>
                  <a:pt x="257" y="182"/>
                  <a:pt x="257" y="182"/>
                  <a:pt x="257" y="182"/>
                </a:cubicBezTo>
                <a:cubicBezTo>
                  <a:pt x="257" y="183"/>
                  <a:pt x="257" y="183"/>
                  <a:pt x="257" y="183"/>
                </a:cubicBezTo>
                <a:cubicBezTo>
                  <a:pt x="258" y="183"/>
                  <a:pt x="258" y="183"/>
                  <a:pt x="258" y="183"/>
                </a:cubicBezTo>
                <a:cubicBezTo>
                  <a:pt x="259" y="184"/>
                  <a:pt x="259" y="184"/>
                  <a:pt x="259" y="184"/>
                </a:cubicBezTo>
                <a:cubicBezTo>
                  <a:pt x="259" y="185"/>
                  <a:pt x="259" y="185"/>
                  <a:pt x="259" y="185"/>
                </a:cubicBezTo>
                <a:cubicBezTo>
                  <a:pt x="260" y="185"/>
                  <a:pt x="260" y="185"/>
                  <a:pt x="260" y="185"/>
                </a:cubicBezTo>
                <a:cubicBezTo>
                  <a:pt x="261" y="185"/>
                  <a:pt x="261" y="185"/>
                  <a:pt x="261" y="185"/>
                </a:cubicBezTo>
                <a:cubicBezTo>
                  <a:pt x="263" y="185"/>
                  <a:pt x="263" y="185"/>
                  <a:pt x="263" y="185"/>
                </a:cubicBezTo>
                <a:cubicBezTo>
                  <a:pt x="263" y="184"/>
                  <a:pt x="263" y="184"/>
                  <a:pt x="263" y="184"/>
                </a:cubicBezTo>
                <a:cubicBezTo>
                  <a:pt x="264" y="184"/>
                  <a:pt x="264" y="184"/>
                  <a:pt x="264" y="184"/>
                </a:cubicBezTo>
                <a:cubicBezTo>
                  <a:pt x="263" y="185"/>
                  <a:pt x="263" y="185"/>
                  <a:pt x="263" y="185"/>
                </a:cubicBezTo>
                <a:cubicBezTo>
                  <a:pt x="263" y="186"/>
                  <a:pt x="263" y="186"/>
                  <a:pt x="263" y="186"/>
                </a:cubicBezTo>
                <a:cubicBezTo>
                  <a:pt x="261" y="186"/>
                  <a:pt x="261" y="186"/>
                  <a:pt x="261" y="186"/>
                </a:cubicBezTo>
                <a:cubicBezTo>
                  <a:pt x="262" y="187"/>
                  <a:pt x="262" y="187"/>
                  <a:pt x="262" y="187"/>
                </a:cubicBezTo>
                <a:cubicBezTo>
                  <a:pt x="263" y="188"/>
                  <a:pt x="263" y="188"/>
                  <a:pt x="263" y="188"/>
                </a:cubicBezTo>
                <a:cubicBezTo>
                  <a:pt x="264" y="189"/>
                  <a:pt x="264" y="189"/>
                  <a:pt x="264" y="189"/>
                </a:cubicBezTo>
                <a:cubicBezTo>
                  <a:pt x="265" y="189"/>
                  <a:pt x="265" y="189"/>
                  <a:pt x="265" y="189"/>
                </a:cubicBezTo>
                <a:cubicBezTo>
                  <a:pt x="266" y="190"/>
                  <a:pt x="266" y="190"/>
                  <a:pt x="266" y="190"/>
                </a:cubicBezTo>
                <a:cubicBezTo>
                  <a:pt x="269" y="189"/>
                  <a:pt x="269" y="189"/>
                  <a:pt x="269" y="189"/>
                </a:cubicBezTo>
                <a:cubicBezTo>
                  <a:pt x="270" y="189"/>
                  <a:pt x="270" y="189"/>
                  <a:pt x="270" y="189"/>
                </a:cubicBezTo>
                <a:cubicBezTo>
                  <a:pt x="270" y="190"/>
                  <a:pt x="270" y="190"/>
                  <a:pt x="270" y="190"/>
                </a:cubicBezTo>
                <a:cubicBezTo>
                  <a:pt x="271" y="189"/>
                  <a:pt x="271" y="189"/>
                  <a:pt x="271" y="189"/>
                </a:cubicBezTo>
                <a:cubicBezTo>
                  <a:pt x="272" y="188"/>
                  <a:pt x="272" y="188"/>
                  <a:pt x="272" y="188"/>
                </a:cubicBezTo>
                <a:cubicBezTo>
                  <a:pt x="273" y="188"/>
                  <a:pt x="273" y="188"/>
                  <a:pt x="273" y="188"/>
                </a:cubicBezTo>
                <a:cubicBezTo>
                  <a:pt x="272" y="188"/>
                  <a:pt x="272" y="188"/>
                  <a:pt x="272" y="188"/>
                </a:cubicBezTo>
                <a:cubicBezTo>
                  <a:pt x="271" y="189"/>
                  <a:pt x="271" y="189"/>
                  <a:pt x="271" y="189"/>
                </a:cubicBezTo>
                <a:cubicBezTo>
                  <a:pt x="271" y="191"/>
                  <a:pt x="271" y="191"/>
                  <a:pt x="271" y="191"/>
                </a:cubicBezTo>
                <a:cubicBezTo>
                  <a:pt x="271" y="193"/>
                  <a:pt x="271" y="193"/>
                  <a:pt x="271" y="193"/>
                </a:cubicBezTo>
                <a:cubicBezTo>
                  <a:pt x="270" y="193"/>
                  <a:pt x="270" y="193"/>
                  <a:pt x="270" y="193"/>
                </a:cubicBezTo>
                <a:cubicBezTo>
                  <a:pt x="268" y="192"/>
                  <a:pt x="268" y="192"/>
                  <a:pt x="268" y="192"/>
                </a:cubicBezTo>
                <a:cubicBezTo>
                  <a:pt x="268" y="192"/>
                  <a:pt x="268" y="192"/>
                  <a:pt x="268" y="192"/>
                </a:cubicBezTo>
                <a:cubicBezTo>
                  <a:pt x="269" y="194"/>
                  <a:pt x="269" y="194"/>
                  <a:pt x="269" y="194"/>
                </a:cubicBezTo>
                <a:cubicBezTo>
                  <a:pt x="269" y="195"/>
                  <a:pt x="269" y="195"/>
                  <a:pt x="269" y="195"/>
                </a:cubicBezTo>
                <a:cubicBezTo>
                  <a:pt x="270" y="196"/>
                  <a:pt x="270" y="196"/>
                  <a:pt x="270" y="196"/>
                </a:cubicBezTo>
                <a:cubicBezTo>
                  <a:pt x="271" y="195"/>
                  <a:pt x="271" y="195"/>
                  <a:pt x="271" y="195"/>
                </a:cubicBezTo>
                <a:cubicBezTo>
                  <a:pt x="272" y="196"/>
                  <a:pt x="272" y="196"/>
                  <a:pt x="272" y="196"/>
                </a:cubicBezTo>
                <a:cubicBezTo>
                  <a:pt x="271" y="197"/>
                  <a:pt x="271" y="197"/>
                  <a:pt x="271" y="197"/>
                </a:cubicBezTo>
                <a:cubicBezTo>
                  <a:pt x="271" y="197"/>
                  <a:pt x="271" y="197"/>
                  <a:pt x="271" y="197"/>
                </a:cubicBezTo>
                <a:cubicBezTo>
                  <a:pt x="271" y="197"/>
                  <a:pt x="271" y="197"/>
                  <a:pt x="271" y="197"/>
                </a:cubicBezTo>
                <a:cubicBezTo>
                  <a:pt x="272" y="199"/>
                  <a:pt x="272" y="199"/>
                  <a:pt x="272" y="199"/>
                </a:cubicBezTo>
                <a:cubicBezTo>
                  <a:pt x="273" y="198"/>
                  <a:pt x="273" y="198"/>
                  <a:pt x="273" y="198"/>
                </a:cubicBezTo>
                <a:cubicBezTo>
                  <a:pt x="274" y="199"/>
                  <a:pt x="274" y="199"/>
                  <a:pt x="274" y="199"/>
                </a:cubicBezTo>
                <a:cubicBezTo>
                  <a:pt x="275" y="197"/>
                  <a:pt x="275" y="197"/>
                  <a:pt x="275" y="197"/>
                </a:cubicBezTo>
                <a:cubicBezTo>
                  <a:pt x="276" y="195"/>
                  <a:pt x="276" y="195"/>
                  <a:pt x="276" y="195"/>
                </a:cubicBezTo>
                <a:cubicBezTo>
                  <a:pt x="276" y="197"/>
                  <a:pt x="276" y="197"/>
                  <a:pt x="276" y="197"/>
                </a:cubicBezTo>
                <a:cubicBezTo>
                  <a:pt x="276" y="198"/>
                  <a:pt x="276" y="198"/>
                  <a:pt x="276" y="198"/>
                </a:cubicBezTo>
                <a:cubicBezTo>
                  <a:pt x="275" y="199"/>
                  <a:pt x="275" y="199"/>
                  <a:pt x="275" y="199"/>
                </a:cubicBezTo>
                <a:cubicBezTo>
                  <a:pt x="275" y="199"/>
                  <a:pt x="275" y="199"/>
                  <a:pt x="275" y="199"/>
                </a:cubicBezTo>
                <a:cubicBezTo>
                  <a:pt x="274" y="200"/>
                  <a:pt x="274" y="200"/>
                  <a:pt x="274" y="200"/>
                </a:cubicBezTo>
                <a:cubicBezTo>
                  <a:pt x="274" y="201"/>
                  <a:pt x="274" y="201"/>
                  <a:pt x="274" y="201"/>
                </a:cubicBezTo>
                <a:cubicBezTo>
                  <a:pt x="275" y="202"/>
                  <a:pt x="275" y="202"/>
                  <a:pt x="275" y="202"/>
                </a:cubicBezTo>
                <a:cubicBezTo>
                  <a:pt x="275" y="202"/>
                  <a:pt x="275" y="202"/>
                  <a:pt x="275" y="202"/>
                </a:cubicBezTo>
                <a:cubicBezTo>
                  <a:pt x="275" y="205"/>
                  <a:pt x="275" y="205"/>
                  <a:pt x="275" y="205"/>
                </a:cubicBezTo>
                <a:cubicBezTo>
                  <a:pt x="275" y="206"/>
                  <a:pt x="275" y="206"/>
                  <a:pt x="275" y="206"/>
                </a:cubicBezTo>
                <a:cubicBezTo>
                  <a:pt x="276" y="206"/>
                  <a:pt x="276" y="206"/>
                  <a:pt x="276" y="206"/>
                </a:cubicBezTo>
                <a:cubicBezTo>
                  <a:pt x="276" y="207"/>
                  <a:pt x="276" y="207"/>
                  <a:pt x="276" y="207"/>
                </a:cubicBezTo>
                <a:cubicBezTo>
                  <a:pt x="276" y="208"/>
                  <a:pt x="276" y="208"/>
                  <a:pt x="276" y="208"/>
                </a:cubicBezTo>
                <a:cubicBezTo>
                  <a:pt x="278" y="210"/>
                  <a:pt x="278" y="210"/>
                  <a:pt x="278" y="210"/>
                </a:cubicBezTo>
                <a:cubicBezTo>
                  <a:pt x="279" y="211"/>
                  <a:pt x="279" y="211"/>
                  <a:pt x="279" y="211"/>
                </a:cubicBezTo>
                <a:cubicBezTo>
                  <a:pt x="279" y="211"/>
                  <a:pt x="279" y="211"/>
                  <a:pt x="279" y="211"/>
                </a:cubicBezTo>
                <a:cubicBezTo>
                  <a:pt x="279" y="211"/>
                  <a:pt x="279" y="211"/>
                  <a:pt x="279" y="211"/>
                </a:cubicBezTo>
                <a:cubicBezTo>
                  <a:pt x="280" y="212"/>
                  <a:pt x="280" y="212"/>
                  <a:pt x="280" y="212"/>
                </a:cubicBezTo>
                <a:cubicBezTo>
                  <a:pt x="281" y="211"/>
                  <a:pt x="281" y="211"/>
                  <a:pt x="281" y="211"/>
                </a:cubicBezTo>
                <a:cubicBezTo>
                  <a:pt x="281" y="211"/>
                  <a:pt x="281" y="211"/>
                  <a:pt x="281" y="211"/>
                </a:cubicBezTo>
                <a:cubicBezTo>
                  <a:pt x="281" y="210"/>
                  <a:pt x="281" y="210"/>
                  <a:pt x="281" y="210"/>
                </a:cubicBezTo>
                <a:cubicBezTo>
                  <a:pt x="281" y="211"/>
                  <a:pt x="281" y="211"/>
                  <a:pt x="281" y="211"/>
                </a:cubicBezTo>
                <a:cubicBezTo>
                  <a:pt x="282" y="211"/>
                  <a:pt x="282" y="211"/>
                  <a:pt x="282" y="211"/>
                </a:cubicBezTo>
                <a:cubicBezTo>
                  <a:pt x="283" y="210"/>
                  <a:pt x="283" y="210"/>
                  <a:pt x="283" y="210"/>
                </a:cubicBezTo>
                <a:cubicBezTo>
                  <a:pt x="282" y="208"/>
                  <a:pt x="282" y="208"/>
                  <a:pt x="282" y="208"/>
                </a:cubicBezTo>
                <a:cubicBezTo>
                  <a:pt x="281" y="208"/>
                  <a:pt x="281" y="208"/>
                  <a:pt x="281" y="208"/>
                </a:cubicBezTo>
                <a:cubicBezTo>
                  <a:pt x="281" y="208"/>
                  <a:pt x="281" y="208"/>
                  <a:pt x="281" y="208"/>
                </a:cubicBezTo>
                <a:cubicBezTo>
                  <a:pt x="280" y="208"/>
                  <a:pt x="280" y="208"/>
                  <a:pt x="280" y="208"/>
                </a:cubicBezTo>
                <a:cubicBezTo>
                  <a:pt x="281" y="207"/>
                  <a:pt x="281" y="207"/>
                  <a:pt x="281" y="207"/>
                </a:cubicBezTo>
                <a:cubicBezTo>
                  <a:pt x="281" y="206"/>
                  <a:pt x="281" y="206"/>
                  <a:pt x="281" y="206"/>
                </a:cubicBezTo>
                <a:cubicBezTo>
                  <a:pt x="281" y="205"/>
                  <a:pt x="281" y="205"/>
                  <a:pt x="281" y="205"/>
                </a:cubicBezTo>
                <a:cubicBezTo>
                  <a:pt x="280" y="205"/>
                  <a:pt x="280" y="205"/>
                  <a:pt x="280" y="205"/>
                </a:cubicBezTo>
                <a:cubicBezTo>
                  <a:pt x="280" y="204"/>
                  <a:pt x="280" y="204"/>
                  <a:pt x="280" y="204"/>
                </a:cubicBezTo>
                <a:cubicBezTo>
                  <a:pt x="280" y="204"/>
                  <a:pt x="280" y="204"/>
                  <a:pt x="280" y="204"/>
                </a:cubicBezTo>
                <a:cubicBezTo>
                  <a:pt x="280" y="202"/>
                  <a:pt x="280" y="202"/>
                  <a:pt x="280" y="202"/>
                </a:cubicBezTo>
                <a:cubicBezTo>
                  <a:pt x="281" y="202"/>
                  <a:pt x="281" y="202"/>
                  <a:pt x="281" y="202"/>
                </a:cubicBezTo>
                <a:cubicBezTo>
                  <a:pt x="281" y="204"/>
                  <a:pt x="281" y="204"/>
                  <a:pt x="281" y="204"/>
                </a:cubicBezTo>
                <a:cubicBezTo>
                  <a:pt x="282" y="204"/>
                  <a:pt x="282" y="204"/>
                  <a:pt x="282" y="204"/>
                </a:cubicBezTo>
                <a:cubicBezTo>
                  <a:pt x="282" y="203"/>
                  <a:pt x="282" y="203"/>
                  <a:pt x="282" y="203"/>
                </a:cubicBezTo>
                <a:cubicBezTo>
                  <a:pt x="283" y="204"/>
                  <a:pt x="283" y="204"/>
                  <a:pt x="283" y="204"/>
                </a:cubicBezTo>
                <a:cubicBezTo>
                  <a:pt x="283" y="205"/>
                  <a:pt x="283" y="205"/>
                  <a:pt x="283" y="205"/>
                </a:cubicBezTo>
                <a:cubicBezTo>
                  <a:pt x="283" y="206"/>
                  <a:pt x="283" y="206"/>
                  <a:pt x="283" y="206"/>
                </a:cubicBezTo>
                <a:cubicBezTo>
                  <a:pt x="283" y="207"/>
                  <a:pt x="283" y="207"/>
                  <a:pt x="283" y="207"/>
                </a:cubicBezTo>
                <a:cubicBezTo>
                  <a:pt x="284" y="207"/>
                  <a:pt x="284" y="207"/>
                  <a:pt x="284" y="207"/>
                </a:cubicBezTo>
                <a:cubicBezTo>
                  <a:pt x="285" y="206"/>
                  <a:pt x="285" y="206"/>
                  <a:pt x="285" y="206"/>
                </a:cubicBezTo>
                <a:cubicBezTo>
                  <a:pt x="285" y="206"/>
                  <a:pt x="285" y="206"/>
                  <a:pt x="285" y="206"/>
                </a:cubicBezTo>
                <a:cubicBezTo>
                  <a:pt x="285" y="207"/>
                  <a:pt x="285" y="207"/>
                  <a:pt x="285" y="207"/>
                </a:cubicBezTo>
                <a:cubicBezTo>
                  <a:pt x="284" y="208"/>
                  <a:pt x="284" y="208"/>
                  <a:pt x="284" y="208"/>
                </a:cubicBezTo>
                <a:cubicBezTo>
                  <a:pt x="284" y="209"/>
                  <a:pt x="284" y="209"/>
                  <a:pt x="284" y="209"/>
                </a:cubicBezTo>
                <a:cubicBezTo>
                  <a:pt x="284" y="210"/>
                  <a:pt x="284" y="210"/>
                  <a:pt x="284" y="210"/>
                </a:cubicBezTo>
                <a:cubicBezTo>
                  <a:pt x="284" y="211"/>
                  <a:pt x="284" y="211"/>
                  <a:pt x="284" y="211"/>
                </a:cubicBezTo>
                <a:cubicBezTo>
                  <a:pt x="284" y="212"/>
                  <a:pt x="284" y="212"/>
                  <a:pt x="284" y="212"/>
                </a:cubicBezTo>
                <a:cubicBezTo>
                  <a:pt x="286" y="212"/>
                  <a:pt x="286" y="212"/>
                  <a:pt x="286" y="212"/>
                </a:cubicBezTo>
                <a:cubicBezTo>
                  <a:pt x="286" y="212"/>
                  <a:pt x="286" y="212"/>
                  <a:pt x="286" y="212"/>
                </a:cubicBezTo>
                <a:cubicBezTo>
                  <a:pt x="287" y="211"/>
                  <a:pt x="287" y="211"/>
                  <a:pt x="287" y="211"/>
                </a:cubicBezTo>
                <a:cubicBezTo>
                  <a:pt x="287" y="212"/>
                  <a:pt x="287" y="212"/>
                  <a:pt x="287" y="212"/>
                </a:cubicBezTo>
                <a:cubicBezTo>
                  <a:pt x="286" y="212"/>
                  <a:pt x="286" y="212"/>
                  <a:pt x="286" y="212"/>
                </a:cubicBezTo>
                <a:cubicBezTo>
                  <a:pt x="287" y="214"/>
                  <a:pt x="287" y="214"/>
                  <a:pt x="287" y="214"/>
                </a:cubicBezTo>
                <a:cubicBezTo>
                  <a:pt x="287" y="214"/>
                  <a:pt x="287" y="214"/>
                  <a:pt x="287" y="214"/>
                </a:cubicBezTo>
                <a:cubicBezTo>
                  <a:pt x="289" y="212"/>
                  <a:pt x="289" y="212"/>
                  <a:pt x="289" y="212"/>
                </a:cubicBezTo>
                <a:cubicBezTo>
                  <a:pt x="289" y="211"/>
                  <a:pt x="289" y="211"/>
                  <a:pt x="289" y="211"/>
                </a:cubicBezTo>
                <a:cubicBezTo>
                  <a:pt x="289" y="210"/>
                  <a:pt x="289" y="210"/>
                  <a:pt x="289" y="210"/>
                </a:cubicBezTo>
                <a:cubicBezTo>
                  <a:pt x="289" y="207"/>
                  <a:pt x="289" y="207"/>
                  <a:pt x="289" y="207"/>
                </a:cubicBezTo>
                <a:cubicBezTo>
                  <a:pt x="290" y="204"/>
                  <a:pt x="290" y="204"/>
                  <a:pt x="290" y="204"/>
                </a:cubicBezTo>
                <a:cubicBezTo>
                  <a:pt x="290" y="201"/>
                  <a:pt x="290" y="201"/>
                  <a:pt x="290" y="201"/>
                </a:cubicBezTo>
                <a:cubicBezTo>
                  <a:pt x="290" y="200"/>
                  <a:pt x="290" y="200"/>
                  <a:pt x="290" y="200"/>
                </a:cubicBezTo>
                <a:cubicBezTo>
                  <a:pt x="290" y="199"/>
                  <a:pt x="290" y="199"/>
                  <a:pt x="290" y="199"/>
                </a:cubicBezTo>
                <a:cubicBezTo>
                  <a:pt x="290" y="198"/>
                  <a:pt x="290" y="198"/>
                  <a:pt x="290" y="198"/>
                </a:cubicBezTo>
                <a:cubicBezTo>
                  <a:pt x="290" y="199"/>
                  <a:pt x="290" y="199"/>
                  <a:pt x="290" y="199"/>
                </a:cubicBezTo>
                <a:cubicBezTo>
                  <a:pt x="291" y="200"/>
                  <a:pt x="291" y="200"/>
                  <a:pt x="291" y="200"/>
                </a:cubicBezTo>
                <a:cubicBezTo>
                  <a:pt x="291" y="200"/>
                  <a:pt x="291" y="200"/>
                  <a:pt x="291" y="200"/>
                </a:cubicBezTo>
                <a:cubicBezTo>
                  <a:pt x="292" y="199"/>
                  <a:pt x="292" y="199"/>
                  <a:pt x="292" y="199"/>
                </a:cubicBezTo>
                <a:cubicBezTo>
                  <a:pt x="293" y="198"/>
                  <a:pt x="293" y="198"/>
                  <a:pt x="293" y="198"/>
                </a:cubicBezTo>
                <a:cubicBezTo>
                  <a:pt x="292" y="200"/>
                  <a:pt x="292" y="200"/>
                  <a:pt x="292" y="200"/>
                </a:cubicBezTo>
                <a:cubicBezTo>
                  <a:pt x="292" y="202"/>
                  <a:pt x="292" y="202"/>
                  <a:pt x="292" y="202"/>
                </a:cubicBezTo>
                <a:cubicBezTo>
                  <a:pt x="292" y="204"/>
                  <a:pt x="292" y="204"/>
                  <a:pt x="292" y="204"/>
                </a:cubicBezTo>
                <a:cubicBezTo>
                  <a:pt x="291" y="206"/>
                  <a:pt x="291" y="206"/>
                  <a:pt x="291" y="206"/>
                </a:cubicBezTo>
                <a:cubicBezTo>
                  <a:pt x="291" y="207"/>
                  <a:pt x="291" y="207"/>
                  <a:pt x="291" y="207"/>
                </a:cubicBezTo>
                <a:cubicBezTo>
                  <a:pt x="291" y="208"/>
                  <a:pt x="291" y="208"/>
                  <a:pt x="291" y="208"/>
                </a:cubicBezTo>
                <a:cubicBezTo>
                  <a:pt x="291" y="209"/>
                  <a:pt x="291" y="209"/>
                  <a:pt x="291" y="209"/>
                </a:cubicBezTo>
                <a:cubicBezTo>
                  <a:pt x="290" y="211"/>
                  <a:pt x="290" y="211"/>
                  <a:pt x="290" y="211"/>
                </a:cubicBezTo>
                <a:cubicBezTo>
                  <a:pt x="291" y="212"/>
                  <a:pt x="291" y="212"/>
                  <a:pt x="291" y="212"/>
                </a:cubicBezTo>
                <a:cubicBezTo>
                  <a:pt x="291" y="213"/>
                  <a:pt x="291" y="213"/>
                  <a:pt x="291" y="213"/>
                </a:cubicBezTo>
                <a:cubicBezTo>
                  <a:pt x="292" y="214"/>
                  <a:pt x="292" y="214"/>
                  <a:pt x="292" y="214"/>
                </a:cubicBezTo>
                <a:cubicBezTo>
                  <a:pt x="292" y="216"/>
                  <a:pt x="292" y="216"/>
                  <a:pt x="292" y="216"/>
                </a:cubicBezTo>
                <a:cubicBezTo>
                  <a:pt x="293" y="216"/>
                  <a:pt x="293" y="216"/>
                  <a:pt x="293" y="216"/>
                </a:cubicBezTo>
                <a:cubicBezTo>
                  <a:pt x="293" y="217"/>
                  <a:pt x="293" y="217"/>
                  <a:pt x="293" y="217"/>
                </a:cubicBezTo>
                <a:cubicBezTo>
                  <a:pt x="294" y="218"/>
                  <a:pt x="294" y="218"/>
                  <a:pt x="294" y="218"/>
                </a:cubicBezTo>
                <a:cubicBezTo>
                  <a:pt x="295" y="217"/>
                  <a:pt x="295" y="217"/>
                  <a:pt x="295" y="217"/>
                </a:cubicBezTo>
                <a:cubicBezTo>
                  <a:pt x="295" y="218"/>
                  <a:pt x="295" y="218"/>
                  <a:pt x="295" y="218"/>
                </a:cubicBezTo>
                <a:cubicBezTo>
                  <a:pt x="296" y="217"/>
                  <a:pt x="296" y="217"/>
                  <a:pt x="296" y="217"/>
                </a:cubicBezTo>
                <a:cubicBezTo>
                  <a:pt x="298" y="217"/>
                  <a:pt x="298" y="217"/>
                  <a:pt x="298" y="217"/>
                </a:cubicBezTo>
                <a:cubicBezTo>
                  <a:pt x="298" y="217"/>
                  <a:pt x="298" y="217"/>
                  <a:pt x="298" y="217"/>
                </a:cubicBezTo>
                <a:cubicBezTo>
                  <a:pt x="296" y="218"/>
                  <a:pt x="296" y="218"/>
                  <a:pt x="296" y="218"/>
                </a:cubicBezTo>
                <a:cubicBezTo>
                  <a:pt x="295" y="219"/>
                  <a:pt x="295" y="219"/>
                  <a:pt x="295" y="219"/>
                </a:cubicBezTo>
                <a:cubicBezTo>
                  <a:pt x="295" y="219"/>
                  <a:pt x="295" y="219"/>
                  <a:pt x="295" y="219"/>
                </a:cubicBezTo>
                <a:cubicBezTo>
                  <a:pt x="296" y="220"/>
                  <a:pt x="296" y="220"/>
                  <a:pt x="296" y="220"/>
                </a:cubicBezTo>
                <a:cubicBezTo>
                  <a:pt x="296" y="220"/>
                  <a:pt x="296" y="220"/>
                  <a:pt x="296" y="220"/>
                </a:cubicBezTo>
                <a:cubicBezTo>
                  <a:pt x="295" y="221"/>
                  <a:pt x="295" y="221"/>
                  <a:pt x="295" y="221"/>
                </a:cubicBezTo>
                <a:cubicBezTo>
                  <a:pt x="295" y="221"/>
                  <a:pt x="295" y="221"/>
                  <a:pt x="295" y="221"/>
                </a:cubicBezTo>
                <a:cubicBezTo>
                  <a:pt x="296" y="223"/>
                  <a:pt x="296" y="223"/>
                  <a:pt x="296" y="223"/>
                </a:cubicBezTo>
                <a:cubicBezTo>
                  <a:pt x="296" y="224"/>
                  <a:pt x="296" y="224"/>
                  <a:pt x="296" y="224"/>
                </a:cubicBezTo>
                <a:cubicBezTo>
                  <a:pt x="295" y="224"/>
                  <a:pt x="295" y="224"/>
                  <a:pt x="295" y="224"/>
                </a:cubicBezTo>
                <a:cubicBezTo>
                  <a:pt x="294" y="223"/>
                  <a:pt x="294" y="223"/>
                  <a:pt x="294" y="223"/>
                </a:cubicBezTo>
                <a:cubicBezTo>
                  <a:pt x="294" y="222"/>
                  <a:pt x="294" y="222"/>
                  <a:pt x="294" y="222"/>
                </a:cubicBezTo>
                <a:cubicBezTo>
                  <a:pt x="293" y="223"/>
                  <a:pt x="293" y="223"/>
                  <a:pt x="293" y="223"/>
                </a:cubicBezTo>
                <a:cubicBezTo>
                  <a:pt x="294" y="224"/>
                  <a:pt x="294" y="224"/>
                  <a:pt x="294" y="224"/>
                </a:cubicBezTo>
                <a:cubicBezTo>
                  <a:pt x="293" y="225"/>
                  <a:pt x="293" y="225"/>
                  <a:pt x="293" y="225"/>
                </a:cubicBezTo>
                <a:cubicBezTo>
                  <a:pt x="293" y="226"/>
                  <a:pt x="293" y="226"/>
                  <a:pt x="293" y="226"/>
                </a:cubicBezTo>
                <a:cubicBezTo>
                  <a:pt x="294" y="226"/>
                  <a:pt x="294" y="226"/>
                  <a:pt x="294" y="226"/>
                </a:cubicBezTo>
                <a:cubicBezTo>
                  <a:pt x="293" y="227"/>
                  <a:pt x="293" y="227"/>
                  <a:pt x="293" y="227"/>
                </a:cubicBezTo>
                <a:cubicBezTo>
                  <a:pt x="292" y="227"/>
                  <a:pt x="292" y="227"/>
                  <a:pt x="292" y="227"/>
                </a:cubicBezTo>
                <a:cubicBezTo>
                  <a:pt x="292" y="228"/>
                  <a:pt x="292" y="228"/>
                  <a:pt x="292" y="228"/>
                </a:cubicBezTo>
                <a:cubicBezTo>
                  <a:pt x="292" y="229"/>
                  <a:pt x="292" y="229"/>
                  <a:pt x="292" y="229"/>
                </a:cubicBezTo>
                <a:cubicBezTo>
                  <a:pt x="293" y="229"/>
                  <a:pt x="293" y="229"/>
                  <a:pt x="293" y="229"/>
                </a:cubicBezTo>
                <a:cubicBezTo>
                  <a:pt x="293" y="229"/>
                  <a:pt x="293" y="229"/>
                  <a:pt x="293" y="229"/>
                </a:cubicBezTo>
                <a:cubicBezTo>
                  <a:pt x="294" y="230"/>
                  <a:pt x="294" y="230"/>
                  <a:pt x="294" y="230"/>
                </a:cubicBezTo>
                <a:cubicBezTo>
                  <a:pt x="295" y="230"/>
                  <a:pt x="295" y="230"/>
                  <a:pt x="295" y="230"/>
                </a:cubicBezTo>
                <a:cubicBezTo>
                  <a:pt x="295" y="230"/>
                  <a:pt x="295" y="230"/>
                  <a:pt x="295" y="230"/>
                </a:cubicBezTo>
                <a:cubicBezTo>
                  <a:pt x="296" y="231"/>
                  <a:pt x="296" y="231"/>
                  <a:pt x="296" y="231"/>
                </a:cubicBezTo>
                <a:cubicBezTo>
                  <a:pt x="296" y="231"/>
                  <a:pt x="296" y="231"/>
                  <a:pt x="296" y="231"/>
                </a:cubicBezTo>
                <a:cubicBezTo>
                  <a:pt x="295" y="231"/>
                  <a:pt x="295" y="231"/>
                  <a:pt x="295" y="231"/>
                </a:cubicBezTo>
                <a:cubicBezTo>
                  <a:pt x="294" y="231"/>
                  <a:pt x="294" y="231"/>
                  <a:pt x="294" y="231"/>
                </a:cubicBezTo>
                <a:cubicBezTo>
                  <a:pt x="295" y="232"/>
                  <a:pt x="295" y="232"/>
                  <a:pt x="295" y="232"/>
                </a:cubicBezTo>
                <a:cubicBezTo>
                  <a:pt x="296" y="233"/>
                  <a:pt x="296" y="233"/>
                  <a:pt x="296" y="233"/>
                </a:cubicBezTo>
                <a:cubicBezTo>
                  <a:pt x="296" y="234"/>
                  <a:pt x="296" y="234"/>
                  <a:pt x="296" y="234"/>
                </a:cubicBezTo>
                <a:cubicBezTo>
                  <a:pt x="297" y="235"/>
                  <a:pt x="297" y="235"/>
                  <a:pt x="297" y="235"/>
                </a:cubicBezTo>
                <a:cubicBezTo>
                  <a:pt x="298" y="235"/>
                  <a:pt x="298" y="235"/>
                  <a:pt x="298" y="235"/>
                </a:cubicBezTo>
                <a:cubicBezTo>
                  <a:pt x="297" y="235"/>
                  <a:pt x="297" y="235"/>
                  <a:pt x="297" y="235"/>
                </a:cubicBezTo>
                <a:cubicBezTo>
                  <a:pt x="296" y="235"/>
                  <a:pt x="296" y="235"/>
                  <a:pt x="296" y="235"/>
                </a:cubicBezTo>
                <a:cubicBezTo>
                  <a:pt x="295" y="236"/>
                  <a:pt x="295" y="236"/>
                  <a:pt x="295" y="236"/>
                </a:cubicBezTo>
                <a:cubicBezTo>
                  <a:pt x="296" y="237"/>
                  <a:pt x="296" y="237"/>
                  <a:pt x="296" y="237"/>
                </a:cubicBezTo>
                <a:cubicBezTo>
                  <a:pt x="297" y="239"/>
                  <a:pt x="297" y="239"/>
                  <a:pt x="297" y="239"/>
                </a:cubicBezTo>
                <a:cubicBezTo>
                  <a:pt x="298" y="240"/>
                  <a:pt x="298" y="240"/>
                  <a:pt x="298" y="240"/>
                </a:cubicBezTo>
                <a:cubicBezTo>
                  <a:pt x="299" y="240"/>
                  <a:pt x="299" y="240"/>
                  <a:pt x="299" y="240"/>
                </a:cubicBezTo>
                <a:cubicBezTo>
                  <a:pt x="300" y="240"/>
                  <a:pt x="300" y="240"/>
                  <a:pt x="300" y="240"/>
                </a:cubicBezTo>
                <a:cubicBezTo>
                  <a:pt x="298" y="241"/>
                  <a:pt x="298" y="241"/>
                  <a:pt x="298" y="241"/>
                </a:cubicBezTo>
                <a:cubicBezTo>
                  <a:pt x="297" y="241"/>
                  <a:pt x="297" y="241"/>
                  <a:pt x="297" y="241"/>
                </a:cubicBezTo>
                <a:cubicBezTo>
                  <a:pt x="296" y="241"/>
                  <a:pt x="296" y="241"/>
                  <a:pt x="296" y="241"/>
                </a:cubicBezTo>
                <a:cubicBezTo>
                  <a:pt x="295" y="242"/>
                  <a:pt x="295" y="242"/>
                  <a:pt x="295" y="242"/>
                </a:cubicBezTo>
                <a:cubicBezTo>
                  <a:pt x="293" y="245"/>
                  <a:pt x="293" y="245"/>
                  <a:pt x="293" y="245"/>
                </a:cubicBezTo>
                <a:cubicBezTo>
                  <a:pt x="292" y="246"/>
                  <a:pt x="292" y="246"/>
                  <a:pt x="292" y="246"/>
                </a:cubicBezTo>
                <a:cubicBezTo>
                  <a:pt x="292" y="247"/>
                  <a:pt x="292" y="247"/>
                  <a:pt x="292" y="247"/>
                </a:cubicBezTo>
                <a:cubicBezTo>
                  <a:pt x="293" y="248"/>
                  <a:pt x="293" y="248"/>
                  <a:pt x="293" y="248"/>
                </a:cubicBezTo>
                <a:cubicBezTo>
                  <a:pt x="294" y="247"/>
                  <a:pt x="294" y="247"/>
                  <a:pt x="294" y="247"/>
                </a:cubicBezTo>
                <a:cubicBezTo>
                  <a:pt x="295" y="245"/>
                  <a:pt x="295" y="245"/>
                  <a:pt x="295" y="245"/>
                </a:cubicBezTo>
                <a:cubicBezTo>
                  <a:pt x="295" y="245"/>
                  <a:pt x="295" y="245"/>
                  <a:pt x="295" y="245"/>
                </a:cubicBezTo>
                <a:cubicBezTo>
                  <a:pt x="296" y="244"/>
                  <a:pt x="296" y="244"/>
                  <a:pt x="296" y="244"/>
                </a:cubicBezTo>
                <a:cubicBezTo>
                  <a:pt x="297" y="243"/>
                  <a:pt x="297" y="243"/>
                  <a:pt x="297" y="243"/>
                </a:cubicBezTo>
                <a:cubicBezTo>
                  <a:pt x="297" y="243"/>
                  <a:pt x="297" y="243"/>
                  <a:pt x="297" y="243"/>
                </a:cubicBezTo>
                <a:cubicBezTo>
                  <a:pt x="298" y="243"/>
                  <a:pt x="298" y="243"/>
                  <a:pt x="298" y="243"/>
                </a:cubicBezTo>
                <a:cubicBezTo>
                  <a:pt x="300" y="243"/>
                  <a:pt x="300" y="243"/>
                  <a:pt x="300" y="243"/>
                </a:cubicBezTo>
                <a:cubicBezTo>
                  <a:pt x="299" y="244"/>
                  <a:pt x="299" y="244"/>
                  <a:pt x="299" y="244"/>
                </a:cubicBezTo>
                <a:cubicBezTo>
                  <a:pt x="299" y="245"/>
                  <a:pt x="299" y="245"/>
                  <a:pt x="299" y="245"/>
                </a:cubicBezTo>
                <a:cubicBezTo>
                  <a:pt x="301" y="245"/>
                  <a:pt x="301" y="245"/>
                  <a:pt x="301" y="245"/>
                </a:cubicBezTo>
                <a:cubicBezTo>
                  <a:pt x="301" y="245"/>
                  <a:pt x="301" y="245"/>
                  <a:pt x="301" y="245"/>
                </a:cubicBezTo>
                <a:cubicBezTo>
                  <a:pt x="299" y="246"/>
                  <a:pt x="299" y="246"/>
                  <a:pt x="299" y="246"/>
                </a:cubicBezTo>
                <a:cubicBezTo>
                  <a:pt x="299" y="247"/>
                  <a:pt x="299" y="247"/>
                  <a:pt x="299" y="247"/>
                </a:cubicBezTo>
                <a:cubicBezTo>
                  <a:pt x="300" y="248"/>
                  <a:pt x="300" y="248"/>
                  <a:pt x="300" y="248"/>
                </a:cubicBezTo>
                <a:cubicBezTo>
                  <a:pt x="299" y="250"/>
                  <a:pt x="299" y="250"/>
                  <a:pt x="299" y="250"/>
                </a:cubicBezTo>
                <a:cubicBezTo>
                  <a:pt x="298" y="251"/>
                  <a:pt x="298" y="251"/>
                  <a:pt x="298" y="251"/>
                </a:cubicBezTo>
                <a:cubicBezTo>
                  <a:pt x="299" y="251"/>
                  <a:pt x="299" y="251"/>
                  <a:pt x="299" y="251"/>
                </a:cubicBezTo>
                <a:cubicBezTo>
                  <a:pt x="299" y="252"/>
                  <a:pt x="299" y="252"/>
                  <a:pt x="299" y="252"/>
                </a:cubicBezTo>
                <a:cubicBezTo>
                  <a:pt x="298" y="252"/>
                  <a:pt x="298" y="252"/>
                  <a:pt x="298" y="252"/>
                </a:cubicBezTo>
                <a:cubicBezTo>
                  <a:pt x="297" y="252"/>
                  <a:pt x="297" y="252"/>
                  <a:pt x="297" y="252"/>
                </a:cubicBezTo>
                <a:cubicBezTo>
                  <a:pt x="296" y="253"/>
                  <a:pt x="296" y="253"/>
                  <a:pt x="296" y="253"/>
                </a:cubicBezTo>
                <a:cubicBezTo>
                  <a:pt x="296" y="253"/>
                  <a:pt x="296" y="253"/>
                  <a:pt x="296" y="253"/>
                </a:cubicBezTo>
                <a:cubicBezTo>
                  <a:pt x="297" y="253"/>
                  <a:pt x="297" y="253"/>
                  <a:pt x="297" y="253"/>
                </a:cubicBezTo>
                <a:cubicBezTo>
                  <a:pt x="298" y="253"/>
                  <a:pt x="298" y="253"/>
                  <a:pt x="298" y="253"/>
                </a:cubicBezTo>
                <a:cubicBezTo>
                  <a:pt x="299" y="253"/>
                  <a:pt x="299" y="253"/>
                  <a:pt x="299" y="253"/>
                </a:cubicBezTo>
                <a:cubicBezTo>
                  <a:pt x="299" y="254"/>
                  <a:pt x="299" y="254"/>
                  <a:pt x="299" y="254"/>
                </a:cubicBezTo>
                <a:cubicBezTo>
                  <a:pt x="298" y="254"/>
                  <a:pt x="298" y="254"/>
                  <a:pt x="298" y="254"/>
                </a:cubicBezTo>
                <a:cubicBezTo>
                  <a:pt x="297" y="254"/>
                  <a:pt x="297" y="254"/>
                  <a:pt x="297" y="254"/>
                </a:cubicBezTo>
                <a:cubicBezTo>
                  <a:pt x="296" y="254"/>
                  <a:pt x="296" y="254"/>
                  <a:pt x="296" y="254"/>
                </a:cubicBezTo>
                <a:cubicBezTo>
                  <a:pt x="296" y="255"/>
                  <a:pt x="296" y="255"/>
                  <a:pt x="296" y="255"/>
                </a:cubicBezTo>
                <a:cubicBezTo>
                  <a:pt x="295" y="256"/>
                  <a:pt x="295" y="256"/>
                  <a:pt x="295" y="256"/>
                </a:cubicBezTo>
                <a:cubicBezTo>
                  <a:pt x="296" y="258"/>
                  <a:pt x="296" y="258"/>
                  <a:pt x="296" y="258"/>
                </a:cubicBezTo>
                <a:cubicBezTo>
                  <a:pt x="297" y="257"/>
                  <a:pt x="297" y="257"/>
                  <a:pt x="297" y="257"/>
                </a:cubicBezTo>
                <a:cubicBezTo>
                  <a:pt x="297" y="256"/>
                  <a:pt x="297" y="256"/>
                  <a:pt x="297" y="256"/>
                </a:cubicBezTo>
                <a:cubicBezTo>
                  <a:pt x="298" y="256"/>
                  <a:pt x="298" y="256"/>
                  <a:pt x="298" y="256"/>
                </a:cubicBezTo>
                <a:cubicBezTo>
                  <a:pt x="299" y="256"/>
                  <a:pt x="299" y="256"/>
                  <a:pt x="299" y="256"/>
                </a:cubicBezTo>
                <a:cubicBezTo>
                  <a:pt x="301" y="254"/>
                  <a:pt x="301" y="254"/>
                  <a:pt x="301" y="254"/>
                </a:cubicBezTo>
                <a:cubicBezTo>
                  <a:pt x="302" y="252"/>
                  <a:pt x="302" y="252"/>
                  <a:pt x="302" y="252"/>
                </a:cubicBezTo>
                <a:cubicBezTo>
                  <a:pt x="302" y="250"/>
                  <a:pt x="302" y="250"/>
                  <a:pt x="302" y="250"/>
                </a:cubicBezTo>
                <a:cubicBezTo>
                  <a:pt x="304" y="247"/>
                  <a:pt x="304" y="247"/>
                  <a:pt x="304" y="247"/>
                </a:cubicBezTo>
                <a:cubicBezTo>
                  <a:pt x="304" y="246"/>
                  <a:pt x="304" y="246"/>
                  <a:pt x="304" y="246"/>
                </a:cubicBezTo>
                <a:cubicBezTo>
                  <a:pt x="304" y="246"/>
                  <a:pt x="304" y="246"/>
                  <a:pt x="304" y="246"/>
                </a:cubicBezTo>
                <a:close/>
                <a:moveTo>
                  <a:pt x="286" y="253"/>
                </a:moveTo>
                <a:cubicBezTo>
                  <a:pt x="285" y="253"/>
                  <a:pt x="285" y="253"/>
                  <a:pt x="285" y="253"/>
                </a:cubicBezTo>
                <a:cubicBezTo>
                  <a:pt x="286" y="252"/>
                  <a:pt x="286" y="252"/>
                  <a:pt x="286" y="252"/>
                </a:cubicBezTo>
                <a:cubicBezTo>
                  <a:pt x="286" y="253"/>
                  <a:pt x="286" y="253"/>
                  <a:pt x="286" y="253"/>
                </a:cubicBezTo>
                <a:cubicBezTo>
                  <a:pt x="286" y="253"/>
                  <a:pt x="286" y="253"/>
                  <a:pt x="286" y="253"/>
                </a:cubicBezTo>
                <a:close/>
                <a:moveTo>
                  <a:pt x="293" y="255"/>
                </a:moveTo>
                <a:cubicBezTo>
                  <a:pt x="294" y="255"/>
                  <a:pt x="294" y="255"/>
                  <a:pt x="294" y="255"/>
                </a:cubicBezTo>
                <a:cubicBezTo>
                  <a:pt x="295" y="255"/>
                  <a:pt x="295" y="255"/>
                  <a:pt x="295" y="255"/>
                </a:cubicBezTo>
                <a:cubicBezTo>
                  <a:pt x="294" y="256"/>
                  <a:pt x="294" y="256"/>
                  <a:pt x="294" y="256"/>
                </a:cubicBezTo>
                <a:cubicBezTo>
                  <a:pt x="293" y="255"/>
                  <a:pt x="293" y="255"/>
                  <a:pt x="293" y="255"/>
                </a:cubicBezTo>
                <a:close/>
                <a:moveTo>
                  <a:pt x="293" y="252"/>
                </a:moveTo>
                <a:cubicBezTo>
                  <a:pt x="294" y="252"/>
                  <a:pt x="294" y="252"/>
                  <a:pt x="294" y="252"/>
                </a:cubicBezTo>
                <a:cubicBezTo>
                  <a:pt x="295" y="253"/>
                  <a:pt x="295" y="253"/>
                  <a:pt x="295" y="253"/>
                </a:cubicBezTo>
                <a:cubicBezTo>
                  <a:pt x="294" y="254"/>
                  <a:pt x="294" y="254"/>
                  <a:pt x="294" y="254"/>
                </a:cubicBezTo>
                <a:cubicBezTo>
                  <a:pt x="293" y="254"/>
                  <a:pt x="293" y="254"/>
                  <a:pt x="293" y="254"/>
                </a:cubicBezTo>
                <a:cubicBezTo>
                  <a:pt x="293" y="253"/>
                  <a:pt x="293" y="253"/>
                  <a:pt x="293" y="253"/>
                </a:cubicBezTo>
                <a:cubicBezTo>
                  <a:pt x="293" y="252"/>
                  <a:pt x="293" y="252"/>
                  <a:pt x="293" y="252"/>
                </a:cubicBezTo>
                <a:close/>
                <a:moveTo>
                  <a:pt x="293" y="249"/>
                </a:moveTo>
                <a:cubicBezTo>
                  <a:pt x="294" y="251"/>
                  <a:pt x="294" y="251"/>
                  <a:pt x="294" y="251"/>
                </a:cubicBezTo>
                <a:cubicBezTo>
                  <a:pt x="293" y="252"/>
                  <a:pt x="293" y="252"/>
                  <a:pt x="293" y="252"/>
                </a:cubicBezTo>
                <a:cubicBezTo>
                  <a:pt x="293" y="251"/>
                  <a:pt x="293" y="251"/>
                  <a:pt x="293" y="251"/>
                </a:cubicBezTo>
                <a:cubicBezTo>
                  <a:pt x="292" y="250"/>
                  <a:pt x="292" y="250"/>
                  <a:pt x="292" y="250"/>
                </a:cubicBezTo>
                <a:cubicBezTo>
                  <a:pt x="293" y="249"/>
                  <a:pt x="293" y="249"/>
                  <a:pt x="293" y="249"/>
                </a:cubicBezTo>
                <a:close/>
                <a:moveTo>
                  <a:pt x="294" y="249"/>
                </a:moveTo>
                <a:cubicBezTo>
                  <a:pt x="295" y="248"/>
                  <a:pt x="295" y="248"/>
                  <a:pt x="295" y="248"/>
                </a:cubicBezTo>
                <a:cubicBezTo>
                  <a:pt x="295" y="247"/>
                  <a:pt x="295" y="247"/>
                  <a:pt x="295" y="247"/>
                </a:cubicBezTo>
                <a:cubicBezTo>
                  <a:pt x="296" y="246"/>
                  <a:pt x="296" y="246"/>
                  <a:pt x="296" y="246"/>
                </a:cubicBezTo>
                <a:cubicBezTo>
                  <a:pt x="297" y="245"/>
                  <a:pt x="297" y="245"/>
                  <a:pt x="297" y="245"/>
                </a:cubicBezTo>
                <a:cubicBezTo>
                  <a:pt x="297" y="245"/>
                  <a:pt x="297" y="245"/>
                  <a:pt x="297" y="245"/>
                </a:cubicBezTo>
                <a:cubicBezTo>
                  <a:pt x="298" y="245"/>
                  <a:pt x="298" y="245"/>
                  <a:pt x="298" y="245"/>
                </a:cubicBezTo>
                <a:cubicBezTo>
                  <a:pt x="299" y="246"/>
                  <a:pt x="299" y="246"/>
                  <a:pt x="299" y="246"/>
                </a:cubicBezTo>
                <a:cubicBezTo>
                  <a:pt x="298" y="247"/>
                  <a:pt x="298" y="247"/>
                  <a:pt x="298" y="247"/>
                </a:cubicBezTo>
                <a:cubicBezTo>
                  <a:pt x="299" y="248"/>
                  <a:pt x="299" y="248"/>
                  <a:pt x="299" y="248"/>
                </a:cubicBezTo>
                <a:cubicBezTo>
                  <a:pt x="297" y="251"/>
                  <a:pt x="297" y="251"/>
                  <a:pt x="297" y="251"/>
                </a:cubicBezTo>
                <a:cubicBezTo>
                  <a:pt x="295" y="252"/>
                  <a:pt x="295" y="252"/>
                  <a:pt x="295" y="252"/>
                </a:cubicBezTo>
                <a:cubicBezTo>
                  <a:pt x="295" y="252"/>
                  <a:pt x="295" y="252"/>
                  <a:pt x="295" y="252"/>
                </a:cubicBezTo>
                <a:cubicBezTo>
                  <a:pt x="295" y="250"/>
                  <a:pt x="295" y="250"/>
                  <a:pt x="295" y="250"/>
                </a:cubicBezTo>
                <a:cubicBezTo>
                  <a:pt x="297" y="249"/>
                  <a:pt x="297" y="249"/>
                  <a:pt x="297" y="249"/>
                </a:cubicBezTo>
                <a:cubicBezTo>
                  <a:pt x="297" y="249"/>
                  <a:pt x="297" y="249"/>
                  <a:pt x="297" y="249"/>
                </a:cubicBezTo>
                <a:cubicBezTo>
                  <a:pt x="294" y="250"/>
                  <a:pt x="294" y="250"/>
                  <a:pt x="294" y="250"/>
                </a:cubicBezTo>
                <a:cubicBezTo>
                  <a:pt x="294" y="249"/>
                  <a:pt x="294" y="249"/>
                  <a:pt x="294" y="249"/>
                </a:cubicBezTo>
                <a:close/>
                <a:moveTo>
                  <a:pt x="283" y="253"/>
                </a:moveTo>
                <a:cubicBezTo>
                  <a:pt x="283" y="253"/>
                  <a:pt x="283" y="253"/>
                  <a:pt x="283" y="253"/>
                </a:cubicBezTo>
                <a:cubicBezTo>
                  <a:pt x="284" y="253"/>
                  <a:pt x="284" y="253"/>
                  <a:pt x="284" y="253"/>
                </a:cubicBezTo>
                <a:cubicBezTo>
                  <a:pt x="284" y="254"/>
                  <a:pt x="284" y="254"/>
                  <a:pt x="284" y="254"/>
                </a:cubicBezTo>
                <a:cubicBezTo>
                  <a:pt x="285" y="256"/>
                  <a:pt x="285" y="256"/>
                  <a:pt x="285" y="256"/>
                </a:cubicBezTo>
                <a:cubicBezTo>
                  <a:pt x="284" y="257"/>
                  <a:pt x="284" y="257"/>
                  <a:pt x="284" y="257"/>
                </a:cubicBezTo>
                <a:cubicBezTo>
                  <a:pt x="284" y="257"/>
                  <a:pt x="284" y="257"/>
                  <a:pt x="284" y="257"/>
                </a:cubicBezTo>
                <a:cubicBezTo>
                  <a:pt x="283" y="255"/>
                  <a:pt x="283" y="255"/>
                  <a:pt x="283" y="255"/>
                </a:cubicBezTo>
                <a:cubicBezTo>
                  <a:pt x="283" y="254"/>
                  <a:pt x="283" y="254"/>
                  <a:pt x="283" y="254"/>
                </a:cubicBezTo>
                <a:cubicBezTo>
                  <a:pt x="283" y="253"/>
                  <a:pt x="283" y="253"/>
                  <a:pt x="283" y="253"/>
                </a:cubicBezTo>
                <a:close/>
                <a:moveTo>
                  <a:pt x="283" y="251"/>
                </a:moveTo>
                <a:cubicBezTo>
                  <a:pt x="284" y="251"/>
                  <a:pt x="284" y="251"/>
                  <a:pt x="284" y="251"/>
                </a:cubicBezTo>
                <a:cubicBezTo>
                  <a:pt x="284" y="251"/>
                  <a:pt x="284" y="251"/>
                  <a:pt x="284" y="251"/>
                </a:cubicBezTo>
                <a:cubicBezTo>
                  <a:pt x="285" y="252"/>
                  <a:pt x="285" y="252"/>
                  <a:pt x="285" y="252"/>
                </a:cubicBezTo>
                <a:cubicBezTo>
                  <a:pt x="284" y="252"/>
                  <a:pt x="284" y="252"/>
                  <a:pt x="284" y="252"/>
                </a:cubicBezTo>
                <a:cubicBezTo>
                  <a:pt x="283" y="251"/>
                  <a:pt x="283" y="251"/>
                  <a:pt x="283" y="251"/>
                </a:cubicBezTo>
                <a:close/>
                <a:moveTo>
                  <a:pt x="283" y="250"/>
                </a:moveTo>
                <a:cubicBezTo>
                  <a:pt x="283" y="249"/>
                  <a:pt x="283" y="249"/>
                  <a:pt x="283" y="249"/>
                </a:cubicBezTo>
                <a:cubicBezTo>
                  <a:pt x="283" y="250"/>
                  <a:pt x="283" y="250"/>
                  <a:pt x="283" y="250"/>
                </a:cubicBezTo>
                <a:cubicBezTo>
                  <a:pt x="283" y="250"/>
                  <a:pt x="283" y="250"/>
                  <a:pt x="283" y="250"/>
                </a:cubicBezTo>
                <a:close/>
                <a:moveTo>
                  <a:pt x="282" y="248"/>
                </a:moveTo>
                <a:cubicBezTo>
                  <a:pt x="283" y="248"/>
                  <a:pt x="283" y="248"/>
                  <a:pt x="283" y="248"/>
                </a:cubicBezTo>
                <a:cubicBezTo>
                  <a:pt x="281" y="250"/>
                  <a:pt x="281" y="250"/>
                  <a:pt x="281" y="250"/>
                </a:cubicBezTo>
                <a:cubicBezTo>
                  <a:pt x="282" y="248"/>
                  <a:pt x="282" y="248"/>
                  <a:pt x="282" y="248"/>
                </a:cubicBezTo>
                <a:close/>
                <a:moveTo>
                  <a:pt x="281" y="242"/>
                </a:moveTo>
                <a:cubicBezTo>
                  <a:pt x="281" y="241"/>
                  <a:pt x="281" y="241"/>
                  <a:pt x="281" y="241"/>
                </a:cubicBezTo>
                <a:cubicBezTo>
                  <a:pt x="282" y="242"/>
                  <a:pt x="282" y="242"/>
                  <a:pt x="282" y="242"/>
                </a:cubicBezTo>
                <a:cubicBezTo>
                  <a:pt x="281" y="242"/>
                  <a:pt x="281" y="242"/>
                  <a:pt x="281" y="242"/>
                </a:cubicBezTo>
                <a:close/>
                <a:moveTo>
                  <a:pt x="284" y="244"/>
                </a:moveTo>
                <a:cubicBezTo>
                  <a:pt x="285" y="243"/>
                  <a:pt x="285" y="243"/>
                  <a:pt x="285" y="243"/>
                </a:cubicBezTo>
                <a:cubicBezTo>
                  <a:pt x="285" y="244"/>
                  <a:pt x="285" y="244"/>
                  <a:pt x="285" y="244"/>
                </a:cubicBezTo>
                <a:cubicBezTo>
                  <a:pt x="285" y="245"/>
                  <a:pt x="285" y="245"/>
                  <a:pt x="285" y="245"/>
                </a:cubicBezTo>
                <a:cubicBezTo>
                  <a:pt x="284" y="244"/>
                  <a:pt x="284" y="244"/>
                  <a:pt x="284" y="244"/>
                </a:cubicBezTo>
                <a:close/>
                <a:moveTo>
                  <a:pt x="285" y="242"/>
                </a:moveTo>
                <a:cubicBezTo>
                  <a:pt x="285" y="240"/>
                  <a:pt x="285" y="240"/>
                  <a:pt x="285" y="240"/>
                </a:cubicBezTo>
                <a:cubicBezTo>
                  <a:pt x="287" y="240"/>
                  <a:pt x="287" y="240"/>
                  <a:pt x="287" y="240"/>
                </a:cubicBezTo>
                <a:cubicBezTo>
                  <a:pt x="287" y="241"/>
                  <a:pt x="287" y="241"/>
                  <a:pt x="287" y="241"/>
                </a:cubicBezTo>
                <a:cubicBezTo>
                  <a:pt x="287" y="241"/>
                  <a:pt x="287" y="241"/>
                  <a:pt x="287" y="241"/>
                </a:cubicBezTo>
                <a:cubicBezTo>
                  <a:pt x="286" y="241"/>
                  <a:pt x="286" y="241"/>
                  <a:pt x="286" y="241"/>
                </a:cubicBezTo>
                <a:cubicBezTo>
                  <a:pt x="285" y="242"/>
                  <a:pt x="285" y="242"/>
                  <a:pt x="285" y="242"/>
                </a:cubicBezTo>
                <a:cubicBezTo>
                  <a:pt x="285" y="242"/>
                  <a:pt x="285" y="242"/>
                  <a:pt x="285" y="242"/>
                </a:cubicBezTo>
                <a:close/>
                <a:moveTo>
                  <a:pt x="287" y="243"/>
                </a:moveTo>
                <a:cubicBezTo>
                  <a:pt x="288" y="241"/>
                  <a:pt x="288" y="241"/>
                  <a:pt x="288" y="241"/>
                </a:cubicBezTo>
                <a:cubicBezTo>
                  <a:pt x="288" y="240"/>
                  <a:pt x="288" y="240"/>
                  <a:pt x="288" y="240"/>
                </a:cubicBezTo>
                <a:cubicBezTo>
                  <a:pt x="287" y="239"/>
                  <a:pt x="287" y="239"/>
                  <a:pt x="287" y="239"/>
                </a:cubicBezTo>
                <a:cubicBezTo>
                  <a:pt x="287" y="238"/>
                  <a:pt x="287" y="238"/>
                  <a:pt x="287" y="238"/>
                </a:cubicBezTo>
                <a:cubicBezTo>
                  <a:pt x="289" y="238"/>
                  <a:pt x="289" y="238"/>
                  <a:pt x="289" y="238"/>
                </a:cubicBezTo>
                <a:cubicBezTo>
                  <a:pt x="289" y="240"/>
                  <a:pt x="289" y="240"/>
                  <a:pt x="289" y="240"/>
                </a:cubicBezTo>
                <a:cubicBezTo>
                  <a:pt x="289" y="241"/>
                  <a:pt x="289" y="241"/>
                  <a:pt x="289" y="241"/>
                </a:cubicBezTo>
                <a:cubicBezTo>
                  <a:pt x="288" y="242"/>
                  <a:pt x="288" y="242"/>
                  <a:pt x="288" y="242"/>
                </a:cubicBezTo>
                <a:cubicBezTo>
                  <a:pt x="289" y="242"/>
                  <a:pt x="289" y="242"/>
                  <a:pt x="289" y="242"/>
                </a:cubicBezTo>
                <a:cubicBezTo>
                  <a:pt x="289" y="242"/>
                  <a:pt x="289" y="242"/>
                  <a:pt x="289" y="242"/>
                </a:cubicBezTo>
                <a:cubicBezTo>
                  <a:pt x="291" y="243"/>
                  <a:pt x="291" y="243"/>
                  <a:pt x="291" y="243"/>
                </a:cubicBezTo>
                <a:cubicBezTo>
                  <a:pt x="291" y="245"/>
                  <a:pt x="291" y="245"/>
                  <a:pt x="291" y="245"/>
                </a:cubicBezTo>
                <a:cubicBezTo>
                  <a:pt x="290" y="245"/>
                  <a:pt x="290" y="245"/>
                  <a:pt x="290" y="245"/>
                </a:cubicBezTo>
                <a:cubicBezTo>
                  <a:pt x="291" y="246"/>
                  <a:pt x="291" y="246"/>
                  <a:pt x="291" y="246"/>
                </a:cubicBezTo>
                <a:cubicBezTo>
                  <a:pt x="291" y="247"/>
                  <a:pt x="291" y="247"/>
                  <a:pt x="291" y="247"/>
                </a:cubicBezTo>
                <a:cubicBezTo>
                  <a:pt x="290" y="247"/>
                  <a:pt x="290" y="247"/>
                  <a:pt x="290" y="247"/>
                </a:cubicBezTo>
                <a:cubicBezTo>
                  <a:pt x="290" y="247"/>
                  <a:pt x="290" y="247"/>
                  <a:pt x="290" y="247"/>
                </a:cubicBezTo>
                <a:cubicBezTo>
                  <a:pt x="289" y="248"/>
                  <a:pt x="289" y="248"/>
                  <a:pt x="289" y="248"/>
                </a:cubicBezTo>
                <a:cubicBezTo>
                  <a:pt x="291" y="249"/>
                  <a:pt x="291" y="249"/>
                  <a:pt x="291" y="249"/>
                </a:cubicBezTo>
                <a:cubicBezTo>
                  <a:pt x="291" y="250"/>
                  <a:pt x="291" y="250"/>
                  <a:pt x="291" y="250"/>
                </a:cubicBezTo>
                <a:cubicBezTo>
                  <a:pt x="290" y="251"/>
                  <a:pt x="290" y="251"/>
                  <a:pt x="290" y="251"/>
                </a:cubicBezTo>
                <a:cubicBezTo>
                  <a:pt x="290" y="251"/>
                  <a:pt x="290" y="251"/>
                  <a:pt x="290" y="251"/>
                </a:cubicBezTo>
                <a:cubicBezTo>
                  <a:pt x="291" y="251"/>
                  <a:pt x="291" y="251"/>
                  <a:pt x="291" y="251"/>
                </a:cubicBezTo>
                <a:cubicBezTo>
                  <a:pt x="291" y="251"/>
                  <a:pt x="291" y="251"/>
                  <a:pt x="291" y="251"/>
                </a:cubicBezTo>
                <a:cubicBezTo>
                  <a:pt x="291" y="252"/>
                  <a:pt x="291" y="252"/>
                  <a:pt x="291" y="252"/>
                </a:cubicBezTo>
                <a:cubicBezTo>
                  <a:pt x="290" y="253"/>
                  <a:pt x="290" y="253"/>
                  <a:pt x="290" y="253"/>
                </a:cubicBezTo>
                <a:cubicBezTo>
                  <a:pt x="289" y="253"/>
                  <a:pt x="289" y="253"/>
                  <a:pt x="289" y="253"/>
                </a:cubicBezTo>
                <a:cubicBezTo>
                  <a:pt x="289" y="254"/>
                  <a:pt x="289" y="254"/>
                  <a:pt x="289" y="254"/>
                </a:cubicBezTo>
                <a:cubicBezTo>
                  <a:pt x="289" y="254"/>
                  <a:pt x="289" y="254"/>
                  <a:pt x="289" y="254"/>
                </a:cubicBezTo>
                <a:cubicBezTo>
                  <a:pt x="290" y="255"/>
                  <a:pt x="290" y="255"/>
                  <a:pt x="290" y="255"/>
                </a:cubicBezTo>
                <a:cubicBezTo>
                  <a:pt x="289" y="255"/>
                  <a:pt x="289" y="255"/>
                  <a:pt x="289" y="255"/>
                </a:cubicBezTo>
                <a:cubicBezTo>
                  <a:pt x="290" y="256"/>
                  <a:pt x="290" y="256"/>
                  <a:pt x="290" y="256"/>
                </a:cubicBezTo>
                <a:cubicBezTo>
                  <a:pt x="289" y="257"/>
                  <a:pt x="289" y="257"/>
                  <a:pt x="289" y="257"/>
                </a:cubicBezTo>
                <a:cubicBezTo>
                  <a:pt x="288" y="257"/>
                  <a:pt x="288" y="257"/>
                  <a:pt x="288" y="257"/>
                </a:cubicBezTo>
                <a:cubicBezTo>
                  <a:pt x="287" y="256"/>
                  <a:pt x="287" y="256"/>
                  <a:pt x="287" y="256"/>
                </a:cubicBezTo>
                <a:cubicBezTo>
                  <a:pt x="288" y="255"/>
                  <a:pt x="288" y="255"/>
                  <a:pt x="288" y="255"/>
                </a:cubicBezTo>
                <a:cubicBezTo>
                  <a:pt x="287" y="254"/>
                  <a:pt x="287" y="254"/>
                  <a:pt x="287" y="254"/>
                </a:cubicBezTo>
                <a:cubicBezTo>
                  <a:pt x="287" y="254"/>
                  <a:pt x="287" y="254"/>
                  <a:pt x="287" y="254"/>
                </a:cubicBezTo>
                <a:cubicBezTo>
                  <a:pt x="288" y="253"/>
                  <a:pt x="288" y="253"/>
                  <a:pt x="288" y="253"/>
                </a:cubicBezTo>
                <a:cubicBezTo>
                  <a:pt x="287" y="252"/>
                  <a:pt x="287" y="252"/>
                  <a:pt x="287" y="252"/>
                </a:cubicBezTo>
                <a:cubicBezTo>
                  <a:pt x="287" y="251"/>
                  <a:pt x="287" y="251"/>
                  <a:pt x="287" y="251"/>
                </a:cubicBezTo>
                <a:cubicBezTo>
                  <a:pt x="288" y="251"/>
                  <a:pt x="288" y="251"/>
                  <a:pt x="288" y="251"/>
                </a:cubicBezTo>
                <a:cubicBezTo>
                  <a:pt x="288" y="250"/>
                  <a:pt x="288" y="250"/>
                  <a:pt x="288" y="250"/>
                </a:cubicBezTo>
                <a:cubicBezTo>
                  <a:pt x="287" y="250"/>
                  <a:pt x="287" y="250"/>
                  <a:pt x="287" y="250"/>
                </a:cubicBezTo>
                <a:cubicBezTo>
                  <a:pt x="286" y="251"/>
                  <a:pt x="286" y="251"/>
                  <a:pt x="286" y="251"/>
                </a:cubicBezTo>
                <a:cubicBezTo>
                  <a:pt x="286" y="250"/>
                  <a:pt x="286" y="250"/>
                  <a:pt x="286" y="250"/>
                </a:cubicBezTo>
                <a:cubicBezTo>
                  <a:pt x="285" y="250"/>
                  <a:pt x="285" y="250"/>
                  <a:pt x="285" y="250"/>
                </a:cubicBezTo>
                <a:cubicBezTo>
                  <a:pt x="285" y="250"/>
                  <a:pt x="285" y="250"/>
                  <a:pt x="285" y="250"/>
                </a:cubicBezTo>
                <a:cubicBezTo>
                  <a:pt x="285" y="249"/>
                  <a:pt x="285" y="249"/>
                  <a:pt x="285" y="249"/>
                </a:cubicBezTo>
                <a:cubicBezTo>
                  <a:pt x="286" y="249"/>
                  <a:pt x="286" y="249"/>
                  <a:pt x="286" y="249"/>
                </a:cubicBezTo>
                <a:cubicBezTo>
                  <a:pt x="286" y="248"/>
                  <a:pt x="286" y="248"/>
                  <a:pt x="286" y="248"/>
                </a:cubicBezTo>
                <a:cubicBezTo>
                  <a:pt x="286" y="248"/>
                  <a:pt x="286" y="248"/>
                  <a:pt x="286" y="248"/>
                </a:cubicBezTo>
                <a:cubicBezTo>
                  <a:pt x="287" y="247"/>
                  <a:pt x="287" y="247"/>
                  <a:pt x="287" y="247"/>
                </a:cubicBezTo>
                <a:cubicBezTo>
                  <a:pt x="287" y="246"/>
                  <a:pt x="287" y="246"/>
                  <a:pt x="287" y="246"/>
                </a:cubicBezTo>
                <a:cubicBezTo>
                  <a:pt x="287" y="246"/>
                  <a:pt x="287" y="246"/>
                  <a:pt x="287" y="246"/>
                </a:cubicBezTo>
                <a:cubicBezTo>
                  <a:pt x="286" y="246"/>
                  <a:pt x="286" y="246"/>
                  <a:pt x="286" y="246"/>
                </a:cubicBezTo>
                <a:cubicBezTo>
                  <a:pt x="286" y="246"/>
                  <a:pt x="286" y="246"/>
                  <a:pt x="286" y="246"/>
                </a:cubicBezTo>
                <a:cubicBezTo>
                  <a:pt x="286" y="245"/>
                  <a:pt x="286" y="245"/>
                  <a:pt x="286" y="245"/>
                </a:cubicBezTo>
                <a:cubicBezTo>
                  <a:pt x="287" y="245"/>
                  <a:pt x="287" y="245"/>
                  <a:pt x="287" y="245"/>
                </a:cubicBezTo>
                <a:cubicBezTo>
                  <a:pt x="287" y="244"/>
                  <a:pt x="287" y="244"/>
                  <a:pt x="287" y="244"/>
                </a:cubicBezTo>
                <a:cubicBezTo>
                  <a:pt x="287" y="243"/>
                  <a:pt x="287" y="243"/>
                  <a:pt x="287" y="243"/>
                </a:cubicBezTo>
                <a:close/>
                <a:moveTo>
                  <a:pt x="295" y="242"/>
                </a:moveTo>
                <a:cubicBezTo>
                  <a:pt x="294" y="241"/>
                  <a:pt x="294" y="241"/>
                  <a:pt x="294" y="241"/>
                </a:cubicBezTo>
                <a:cubicBezTo>
                  <a:pt x="295" y="240"/>
                  <a:pt x="295" y="240"/>
                  <a:pt x="295" y="240"/>
                </a:cubicBezTo>
                <a:cubicBezTo>
                  <a:pt x="295" y="239"/>
                  <a:pt x="295" y="239"/>
                  <a:pt x="295" y="239"/>
                </a:cubicBezTo>
                <a:cubicBezTo>
                  <a:pt x="296" y="239"/>
                  <a:pt x="296" y="239"/>
                  <a:pt x="296" y="239"/>
                </a:cubicBezTo>
                <a:cubicBezTo>
                  <a:pt x="296" y="241"/>
                  <a:pt x="296" y="241"/>
                  <a:pt x="296" y="241"/>
                </a:cubicBezTo>
                <a:cubicBezTo>
                  <a:pt x="295" y="242"/>
                  <a:pt x="295" y="242"/>
                  <a:pt x="295" y="242"/>
                </a:cubicBezTo>
                <a:close/>
                <a:moveTo>
                  <a:pt x="292" y="243"/>
                </a:moveTo>
                <a:cubicBezTo>
                  <a:pt x="293" y="241"/>
                  <a:pt x="293" y="241"/>
                  <a:pt x="293" y="241"/>
                </a:cubicBezTo>
                <a:cubicBezTo>
                  <a:pt x="294" y="241"/>
                  <a:pt x="294" y="241"/>
                  <a:pt x="294" y="241"/>
                </a:cubicBezTo>
                <a:cubicBezTo>
                  <a:pt x="294" y="243"/>
                  <a:pt x="294" y="243"/>
                  <a:pt x="294" y="243"/>
                </a:cubicBezTo>
                <a:cubicBezTo>
                  <a:pt x="293" y="243"/>
                  <a:pt x="293" y="243"/>
                  <a:pt x="293" y="243"/>
                </a:cubicBezTo>
                <a:cubicBezTo>
                  <a:pt x="292" y="243"/>
                  <a:pt x="292" y="243"/>
                  <a:pt x="292" y="243"/>
                </a:cubicBezTo>
                <a:close/>
                <a:moveTo>
                  <a:pt x="292" y="242"/>
                </a:moveTo>
                <a:cubicBezTo>
                  <a:pt x="292" y="241"/>
                  <a:pt x="292" y="241"/>
                  <a:pt x="292" y="241"/>
                </a:cubicBezTo>
                <a:cubicBezTo>
                  <a:pt x="294" y="239"/>
                  <a:pt x="294" y="239"/>
                  <a:pt x="294" y="239"/>
                </a:cubicBezTo>
                <a:cubicBezTo>
                  <a:pt x="294" y="240"/>
                  <a:pt x="294" y="240"/>
                  <a:pt x="294" y="240"/>
                </a:cubicBezTo>
                <a:cubicBezTo>
                  <a:pt x="293" y="241"/>
                  <a:pt x="293" y="241"/>
                  <a:pt x="293" y="241"/>
                </a:cubicBezTo>
                <a:cubicBezTo>
                  <a:pt x="292" y="242"/>
                  <a:pt x="292" y="242"/>
                  <a:pt x="292" y="242"/>
                </a:cubicBezTo>
                <a:cubicBezTo>
                  <a:pt x="292" y="242"/>
                  <a:pt x="292" y="242"/>
                  <a:pt x="292" y="242"/>
                </a:cubicBezTo>
                <a:close/>
                <a:moveTo>
                  <a:pt x="290" y="239"/>
                </a:moveTo>
                <a:cubicBezTo>
                  <a:pt x="291" y="238"/>
                  <a:pt x="291" y="238"/>
                  <a:pt x="291" y="238"/>
                </a:cubicBezTo>
                <a:cubicBezTo>
                  <a:pt x="293" y="238"/>
                  <a:pt x="293" y="238"/>
                  <a:pt x="293" y="238"/>
                </a:cubicBezTo>
                <a:cubicBezTo>
                  <a:pt x="293" y="239"/>
                  <a:pt x="293" y="239"/>
                  <a:pt x="293" y="239"/>
                </a:cubicBezTo>
                <a:cubicBezTo>
                  <a:pt x="292" y="240"/>
                  <a:pt x="292" y="240"/>
                  <a:pt x="292" y="240"/>
                </a:cubicBezTo>
                <a:cubicBezTo>
                  <a:pt x="291" y="240"/>
                  <a:pt x="291" y="240"/>
                  <a:pt x="291" y="240"/>
                </a:cubicBezTo>
                <a:cubicBezTo>
                  <a:pt x="290" y="239"/>
                  <a:pt x="290" y="239"/>
                  <a:pt x="290" y="239"/>
                </a:cubicBezTo>
                <a:close/>
                <a:moveTo>
                  <a:pt x="292" y="236"/>
                </a:moveTo>
                <a:cubicBezTo>
                  <a:pt x="293" y="234"/>
                  <a:pt x="293" y="234"/>
                  <a:pt x="293" y="234"/>
                </a:cubicBezTo>
                <a:cubicBezTo>
                  <a:pt x="294" y="233"/>
                  <a:pt x="294" y="233"/>
                  <a:pt x="294" y="233"/>
                </a:cubicBezTo>
                <a:cubicBezTo>
                  <a:pt x="295" y="235"/>
                  <a:pt x="295" y="235"/>
                  <a:pt x="295" y="235"/>
                </a:cubicBezTo>
                <a:cubicBezTo>
                  <a:pt x="294" y="236"/>
                  <a:pt x="294" y="236"/>
                  <a:pt x="294" y="236"/>
                </a:cubicBezTo>
                <a:cubicBezTo>
                  <a:pt x="292" y="237"/>
                  <a:pt x="292" y="237"/>
                  <a:pt x="292" y="237"/>
                </a:cubicBezTo>
                <a:cubicBezTo>
                  <a:pt x="292" y="236"/>
                  <a:pt x="292" y="236"/>
                  <a:pt x="292" y="236"/>
                </a:cubicBezTo>
                <a:cubicBezTo>
                  <a:pt x="292" y="236"/>
                  <a:pt x="292" y="236"/>
                  <a:pt x="292" y="236"/>
                </a:cubicBezTo>
                <a:close/>
                <a:moveTo>
                  <a:pt x="288" y="237"/>
                </a:moveTo>
                <a:cubicBezTo>
                  <a:pt x="288" y="236"/>
                  <a:pt x="288" y="236"/>
                  <a:pt x="288" y="236"/>
                </a:cubicBezTo>
                <a:cubicBezTo>
                  <a:pt x="289" y="233"/>
                  <a:pt x="289" y="233"/>
                  <a:pt x="289" y="233"/>
                </a:cubicBezTo>
                <a:cubicBezTo>
                  <a:pt x="289" y="232"/>
                  <a:pt x="289" y="232"/>
                  <a:pt x="289" y="232"/>
                </a:cubicBezTo>
                <a:cubicBezTo>
                  <a:pt x="288" y="231"/>
                  <a:pt x="288" y="231"/>
                  <a:pt x="288" y="231"/>
                </a:cubicBezTo>
                <a:cubicBezTo>
                  <a:pt x="288" y="230"/>
                  <a:pt x="288" y="230"/>
                  <a:pt x="288" y="230"/>
                </a:cubicBezTo>
                <a:cubicBezTo>
                  <a:pt x="288" y="230"/>
                  <a:pt x="288" y="230"/>
                  <a:pt x="288" y="230"/>
                </a:cubicBezTo>
                <a:cubicBezTo>
                  <a:pt x="288" y="229"/>
                  <a:pt x="288" y="229"/>
                  <a:pt x="288" y="229"/>
                </a:cubicBezTo>
                <a:cubicBezTo>
                  <a:pt x="290" y="229"/>
                  <a:pt x="290" y="229"/>
                  <a:pt x="290" y="229"/>
                </a:cubicBezTo>
                <a:cubicBezTo>
                  <a:pt x="291" y="230"/>
                  <a:pt x="291" y="230"/>
                  <a:pt x="291" y="230"/>
                </a:cubicBezTo>
                <a:cubicBezTo>
                  <a:pt x="292" y="230"/>
                  <a:pt x="292" y="230"/>
                  <a:pt x="292" y="230"/>
                </a:cubicBezTo>
                <a:cubicBezTo>
                  <a:pt x="293" y="231"/>
                  <a:pt x="293" y="231"/>
                  <a:pt x="293" y="231"/>
                </a:cubicBezTo>
                <a:cubicBezTo>
                  <a:pt x="293" y="233"/>
                  <a:pt x="293" y="233"/>
                  <a:pt x="293" y="233"/>
                </a:cubicBezTo>
                <a:cubicBezTo>
                  <a:pt x="292" y="235"/>
                  <a:pt x="292" y="235"/>
                  <a:pt x="292" y="235"/>
                </a:cubicBezTo>
                <a:cubicBezTo>
                  <a:pt x="291" y="235"/>
                  <a:pt x="291" y="235"/>
                  <a:pt x="291" y="235"/>
                </a:cubicBezTo>
                <a:cubicBezTo>
                  <a:pt x="291" y="233"/>
                  <a:pt x="291" y="233"/>
                  <a:pt x="291" y="233"/>
                </a:cubicBezTo>
                <a:cubicBezTo>
                  <a:pt x="291" y="233"/>
                  <a:pt x="291" y="233"/>
                  <a:pt x="291" y="233"/>
                </a:cubicBezTo>
                <a:cubicBezTo>
                  <a:pt x="291" y="235"/>
                  <a:pt x="291" y="235"/>
                  <a:pt x="291" y="235"/>
                </a:cubicBezTo>
                <a:cubicBezTo>
                  <a:pt x="290" y="235"/>
                  <a:pt x="290" y="235"/>
                  <a:pt x="290" y="235"/>
                </a:cubicBezTo>
                <a:cubicBezTo>
                  <a:pt x="291" y="236"/>
                  <a:pt x="291" y="236"/>
                  <a:pt x="291" y="236"/>
                </a:cubicBezTo>
                <a:cubicBezTo>
                  <a:pt x="290" y="237"/>
                  <a:pt x="290" y="237"/>
                  <a:pt x="290" y="237"/>
                </a:cubicBezTo>
                <a:cubicBezTo>
                  <a:pt x="289" y="236"/>
                  <a:pt x="289" y="236"/>
                  <a:pt x="289" y="236"/>
                </a:cubicBezTo>
                <a:cubicBezTo>
                  <a:pt x="289" y="237"/>
                  <a:pt x="289" y="237"/>
                  <a:pt x="289" y="237"/>
                </a:cubicBezTo>
                <a:cubicBezTo>
                  <a:pt x="288" y="237"/>
                  <a:pt x="288" y="237"/>
                  <a:pt x="288" y="237"/>
                </a:cubicBezTo>
                <a:close/>
                <a:moveTo>
                  <a:pt x="285" y="235"/>
                </a:moveTo>
                <a:cubicBezTo>
                  <a:pt x="284" y="235"/>
                  <a:pt x="284" y="235"/>
                  <a:pt x="284" y="235"/>
                </a:cubicBezTo>
                <a:cubicBezTo>
                  <a:pt x="285" y="233"/>
                  <a:pt x="285" y="233"/>
                  <a:pt x="285" y="233"/>
                </a:cubicBezTo>
                <a:cubicBezTo>
                  <a:pt x="284" y="233"/>
                  <a:pt x="284" y="233"/>
                  <a:pt x="284" y="233"/>
                </a:cubicBezTo>
                <a:cubicBezTo>
                  <a:pt x="284" y="232"/>
                  <a:pt x="284" y="232"/>
                  <a:pt x="284" y="232"/>
                </a:cubicBezTo>
                <a:cubicBezTo>
                  <a:pt x="285" y="231"/>
                  <a:pt x="285" y="231"/>
                  <a:pt x="285" y="231"/>
                </a:cubicBezTo>
                <a:cubicBezTo>
                  <a:pt x="286" y="231"/>
                  <a:pt x="286" y="231"/>
                  <a:pt x="286" y="231"/>
                </a:cubicBezTo>
                <a:cubicBezTo>
                  <a:pt x="286" y="230"/>
                  <a:pt x="286" y="230"/>
                  <a:pt x="286" y="230"/>
                </a:cubicBezTo>
                <a:cubicBezTo>
                  <a:pt x="286" y="230"/>
                  <a:pt x="286" y="230"/>
                  <a:pt x="286" y="230"/>
                </a:cubicBezTo>
                <a:cubicBezTo>
                  <a:pt x="287" y="231"/>
                  <a:pt x="287" y="231"/>
                  <a:pt x="287" y="231"/>
                </a:cubicBezTo>
                <a:cubicBezTo>
                  <a:pt x="287" y="232"/>
                  <a:pt x="287" y="232"/>
                  <a:pt x="287" y="232"/>
                </a:cubicBezTo>
                <a:cubicBezTo>
                  <a:pt x="287" y="233"/>
                  <a:pt x="287" y="233"/>
                  <a:pt x="287" y="233"/>
                </a:cubicBezTo>
                <a:cubicBezTo>
                  <a:pt x="288" y="233"/>
                  <a:pt x="288" y="233"/>
                  <a:pt x="288" y="233"/>
                </a:cubicBezTo>
                <a:cubicBezTo>
                  <a:pt x="288" y="233"/>
                  <a:pt x="288" y="233"/>
                  <a:pt x="288" y="233"/>
                </a:cubicBezTo>
                <a:cubicBezTo>
                  <a:pt x="287" y="236"/>
                  <a:pt x="287" y="236"/>
                  <a:pt x="287" y="236"/>
                </a:cubicBezTo>
                <a:cubicBezTo>
                  <a:pt x="285" y="238"/>
                  <a:pt x="285" y="238"/>
                  <a:pt x="285" y="238"/>
                </a:cubicBezTo>
                <a:cubicBezTo>
                  <a:pt x="285" y="239"/>
                  <a:pt x="285" y="239"/>
                  <a:pt x="285" y="239"/>
                </a:cubicBezTo>
                <a:cubicBezTo>
                  <a:pt x="285" y="240"/>
                  <a:pt x="285" y="240"/>
                  <a:pt x="285" y="240"/>
                </a:cubicBezTo>
                <a:cubicBezTo>
                  <a:pt x="283" y="240"/>
                  <a:pt x="283" y="240"/>
                  <a:pt x="283" y="240"/>
                </a:cubicBezTo>
                <a:cubicBezTo>
                  <a:pt x="284" y="239"/>
                  <a:pt x="284" y="239"/>
                  <a:pt x="284" y="239"/>
                </a:cubicBezTo>
                <a:cubicBezTo>
                  <a:pt x="283" y="238"/>
                  <a:pt x="283" y="238"/>
                  <a:pt x="283" y="238"/>
                </a:cubicBezTo>
                <a:cubicBezTo>
                  <a:pt x="283" y="240"/>
                  <a:pt x="283" y="240"/>
                  <a:pt x="283" y="240"/>
                </a:cubicBezTo>
                <a:cubicBezTo>
                  <a:pt x="282" y="240"/>
                  <a:pt x="282" y="240"/>
                  <a:pt x="282" y="240"/>
                </a:cubicBezTo>
                <a:cubicBezTo>
                  <a:pt x="282" y="239"/>
                  <a:pt x="282" y="239"/>
                  <a:pt x="282" y="239"/>
                </a:cubicBezTo>
                <a:cubicBezTo>
                  <a:pt x="283" y="238"/>
                  <a:pt x="283" y="238"/>
                  <a:pt x="283" y="238"/>
                </a:cubicBezTo>
                <a:cubicBezTo>
                  <a:pt x="283" y="237"/>
                  <a:pt x="283" y="237"/>
                  <a:pt x="283" y="237"/>
                </a:cubicBezTo>
                <a:cubicBezTo>
                  <a:pt x="283" y="236"/>
                  <a:pt x="283" y="236"/>
                  <a:pt x="283" y="236"/>
                </a:cubicBezTo>
                <a:cubicBezTo>
                  <a:pt x="284" y="237"/>
                  <a:pt x="284" y="237"/>
                  <a:pt x="284" y="237"/>
                </a:cubicBezTo>
                <a:cubicBezTo>
                  <a:pt x="285" y="236"/>
                  <a:pt x="285" y="236"/>
                  <a:pt x="285" y="236"/>
                </a:cubicBezTo>
                <a:cubicBezTo>
                  <a:pt x="285" y="235"/>
                  <a:pt x="285" y="235"/>
                  <a:pt x="285" y="235"/>
                </a:cubicBezTo>
                <a:close/>
                <a:moveTo>
                  <a:pt x="284" y="224"/>
                </a:moveTo>
                <a:cubicBezTo>
                  <a:pt x="285" y="225"/>
                  <a:pt x="285" y="225"/>
                  <a:pt x="285" y="225"/>
                </a:cubicBezTo>
                <a:cubicBezTo>
                  <a:pt x="284" y="225"/>
                  <a:pt x="284" y="225"/>
                  <a:pt x="284" y="225"/>
                </a:cubicBezTo>
                <a:cubicBezTo>
                  <a:pt x="284" y="224"/>
                  <a:pt x="284" y="224"/>
                  <a:pt x="284" y="224"/>
                </a:cubicBezTo>
                <a:close/>
                <a:moveTo>
                  <a:pt x="281" y="225"/>
                </a:moveTo>
                <a:cubicBezTo>
                  <a:pt x="282" y="224"/>
                  <a:pt x="282" y="224"/>
                  <a:pt x="282" y="224"/>
                </a:cubicBezTo>
                <a:cubicBezTo>
                  <a:pt x="283" y="224"/>
                  <a:pt x="283" y="224"/>
                  <a:pt x="283" y="224"/>
                </a:cubicBezTo>
                <a:cubicBezTo>
                  <a:pt x="283" y="224"/>
                  <a:pt x="283" y="224"/>
                  <a:pt x="283" y="224"/>
                </a:cubicBezTo>
                <a:cubicBezTo>
                  <a:pt x="284" y="226"/>
                  <a:pt x="284" y="226"/>
                  <a:pt x="284" y="226"/>
                </a:cubicBezTo>
                <a:cubicBezTo>
                  <a:pt x="284" y="228"/>
                  <a:pt x="284" y="228"/>
                  <a:pt x="284" y="228"/>
                </a:cubicBezTo>
                <a:cubicBezTo>
                  <a:pt x="283" y="230"/>
                  <a:pt x="283" y="230"/>
                  <a:pt x="283" y="230"/>
                </a:cubicBezTo>
                <a:cubicBezTo>
                  <a:pt x="283" y="230"/>
                  <a:pt x="283" y="230"/>
                  <a:pt x="283" y="230"/>
                </a:cubicBezTo>
                <a:cubicBezTo>
                  <a:pt x="283" y="233"/>
                  <a:pt x="283" y="233"/>
                  <a:pt x="283" y="233"/>
                </a:cubicBezTo>
                <a:cubicBezTo>
                  <a:pt x="282" y="233"/>
                  <a:pt x="282" y="233"/>
                  <a:pt x="282" y="233"/>
                </a:cubicBezTo>
                <a:cubicBezTo>
                  <a:pt x="281" y="235"/>
                  <a:pt x="281" y="235"/>
                  <a:pt x="281" y="235"/>
                </a:cubicBezTo>
                <a:cubicBezTo>
                  <a:pt x="281" y="237"/>
                  <a:pt x="281" y="237"/>
                  <a:pt x="281" y="237"/>
                </a:cubicBezTo>
                <a:cubicBezTo>
                  <a:pt x="281" y="238"/>
                  <a:pt x="281" y="238"/>
                  <a:pt x="281" y="238"/>
                </a:cubicBezTo>
                <a:cubicBezTo>
                  <a:pt x="280" y="238"/>
                  <a:pt x="280" y="238"/>
                  <a:pt x="280" y="238"/>
                </a:cubicBezTo>
                <a:cubicBezTo>
                  <a:pt x="280" y="237"/>
                  <a:pt x="280" y="237"/>
                  <a:pt x="280" y="237"/>
                </a:cubicBezTo>
                <a:cubicBezTo>
                  <a:pt x="280" y="236"/>
                  <a:pt x="280" y="236"/>
                  <a:pt x="280" y="236"/>
                </a:cubicBezTo>
                <a:cubicBezTo>
                  <a:pt x="280" y="236"/>
                  <a:pt x="280" y="236"/>
                  <a:pt x="280" y="236"/>
                </a:cubicBezTo>
                <a:cubicBezTo>
                  <a:pt x="279" y="234"/>
                  <a:pt x="279" y="234"/>
                  <a:pt x="279" y="234"/>
                </a:cubicBezTo>
                <a:cubicBezTo>
                  <a:pt x="280" y="233"/>
                  <a:pt x="280" y="233"/>
                  <a:pt x="280" y="233"/>
                </a:cubicBezTo>
                <a:cubicBezTo>
                  <a:pt x="281" y="233"/>
                  <a:pt x="281" y="233"/>
                  <a:pt x="281" y="233"/>
                </a:cubicBezTo>
                <a:cubicBezTo>
                  <a:pt x="281" y="232"/>
                  <a:pt x="281" y="232"/>
                  <a:pt x="281" y="232"/>
                </a:cubicBezTo>
                <a:cubicBezTo>
                  <a:pt x="281" y="232"/>
                  <a:pt x="281" y="232"/>
                  <a:pt x="281" y="232"/>
                </a:cubicBezTo>
                <a:cubicBezTo>
                  <a:pt x="281" y="232"/>
                  <a:pt x="281" y="232"/>
                  <a:pt x="281" y="232"/>
                </a:cubicBezTo>
                <a:cubicBezTo>
                  <a:pt x="280" y="232"/>
                  <a:pt x="280" y="232"/>
                  <a:pt x="280" y="232"/>
                </a:cubicBezTo>
                <a:cubicBezTo>
                  <a:pt x="280" y="231"/>
                  <a:pt x="280" y="231"/>
                  <a:pt x="280" y="231"/>
                </a:cubicBezTo>
                <a:cubicBezTo>
                  <a:pt x="280" y="231"/>
                  <a:pt x="280" y="231"/>
                  <a:pt x="280" y="231"/>
                </a:cubicBezTo>
                <a:cubicBezTo>
                  <a:pt x="281" y="230"/>
                  <a:pt x="281" y="230"/>
                  <a:pt x="281" y="230"/>
                </a:cubicBezTo>
                <a:cubicBezTo>
                  <a:pt x="279" y="230"/>
                  <a:pt x="279" y="230"/>
                  <a:pt x="279" y="230"/>
                </a:cubicBezTo>
                <a:cubicBezTo>
                  <a:pt x="279" y="229"/>
                  <a:pt x="279" y="229"/>
                  <a:pt x="279" y="229"/>
                </a:cubicBezTo>
                <a:cubicBezTo>
                  <a:pt x="280" y="229"/>
                  <a:pt x="280" y="229"/>
                  <a:pt x="280" y="229"/>
                </a:cubicBezTo>
                <a:cubicBezTo>
                  <a:pt x="281" y="228"/>
                  <a:pt x="281" y="228"/>
                  <a:pt x="281" y="228"/>
                </a:cubicBezTo>
                <a:cubicBezTo>
                  <a:pt x="281" y="227"/>
                  <a:pt x="281" y="227"/>
                  <a:pt x="281" y="227"/>
                </a:cubicBezTo>
                <a:cubicBezTo>
                  <a:pt x="282" y="226"/>
                  <a:pt x="282" y="226"/>
                  <a:pt x="282" y="226"/>
                </a:cubicBezTo>
                <a:cubicBezTo>
                  <a:pt x="281" y="226"/>
                  <a:pt x="281" y="226"/>
                  <a:pt x="281" y="226"/>
                </a:cubicBezTo>
                <a:cubicBezTo>
                  <a:pt x="281" y="225"/>
                  <a:pt x="281" y="225"/>
                  <a:pt x="281" y="225"/>
                </a:cubicBezTo>
                <a:close/>
                <a:moveTo>
                  <a:pt x="279" y="225"/>
                </a:moveTo>
                <a:cubicBezTo>
                  <a:pt x="279" y="224"/>
                  <a:pt x="279" y="224"/>
                  <a:pt x="279" y="224"/>
                </a:cubicBezTo>
                <a:cubicBezTo>
                  <a:pt x="280" y="225"/>
                  <a:pt x="280" y="225"/>
                  <a:pt x="280" y="225"/>
                </a:cubicBezTo>
                <a:cubicBezTo>
                  <a:pt x="279" y="226"/>
                  <a:pt x="279" y="226"/>
                  <a:pt x="279" y="226"/>
                </a:cubicBezTo>
                <a:cubicBezTo>
                  <a:pt x="279" y="228"/>
                  <a:pt x="279" y="228"/>
                  <a:pt x="279" y="228"/>
                </a:cubicBezTo>
                <a:cubicBezTo>
                  <a:pt x="278" y="228"/>
                  <a:pt x="278" y="228"/>
                  <a:pt x="278" y="228"/>
                </a:cubicBezTo>
                <a:cubicBezTo>
                  <a:pt x="278" y="227"/>
                  <a:pt x="278" y="227"/>
                  <a:pt x="278" y="227"/>
                </a:cubicBezTo>
                <a:cubicBezTo>
                  <a:pt x="279" y="226"/>
                  <a:pt x="279" y="226"/>
                  <a:pt x="279" y="226"/>
                </a:cubicBezTo>
                <a:cubicBezTo>
                  <a:pt x="278" y="226"/>
                  <a:pt x="278" y="226"/>
                  <a:pt x="278" y="226"/>
                </a:cubicBezTo>
                <a:cubicBezTo>
                  <a:pt x="279" y="225"/>
                  <a:pt x="279" y="225"/>
                  <a:pt x="279" y="225"/>
                </a:cubicBezTo>
                <a:close/>
                <a:moveTo>
                  <a:pt x="285" y="228"/>
                </a:moveTo>
                <a:cubicBezTo>
                  <a:pt x="285" y="227"/>
                  <a:pt x="285" y="227"/>
                  <a:pt x="285" y="227"/>
                </a:cubicBezTo>
                <a:cubicBezTo>
                  <a:pt x="285" y="225"/>
                  <a:pt x="285" y="225"/>
                  <a:pt x="285" y="225"/>
                </a:cubicBezTo>
                <a:cubicBezTo>
                  <a:pt x="286" y="225"/>
                  <a:pt x="286" y="225"/>
                  <a:pt x="286" y="225"/>
                </a:cubicBezTo>
                <a:cubicBezTo>
                  <a:pt x="288" y="225"/>
                  <a:pt x="288" y="225"/>
                  <a:pt x="288" y="225"/>
                </a:cubicBezTo>
                <a:cubicBezTo>
                  <a:pt x="287" y="224"/>
                  <a:pt x="287" y="224"/>
                  <a:pt x="287" y="224"/>
                </a:cubicBezTo>
                <a:cubicBezTo>
                  <a:pt x="288" y="223"/>
                  <a:pt x="288" y="223"/>
                  <a:pt x="288" y="223"/>
                </a:cubicBezTo>
                <a:cubicBezTo>
                  <a:pt x="287" y="222"/>
                  <a:pt x="287" y="222"/>
                  <a:pt x="287" y="222"/>
                </a:cubicBezTo>
                <a:cubicBezTo>
                  <a:pt x="287" y="220"/>
                  <a:pt x="287" y="220"/>
                  <a:pt x="287" y="220"/>
                </a:cubicBezTo>
                <a:cubicBezTo>
                  <a:pt x="288" y="219"/>
                  <a:pt x="288" y="219"/>
                  <a:pt x="288" y="219"/>
                </a:cubicBezTo>
                <a:cubicBezTo>
                  <a:pt x="288" y="215"/>
                  <a:pt x="288" y="215"/>
                  <a:pt x="288" y="215"/>
                </a:cubicBezTo>
                <a:cubicBezTo>
                  <a:pt x="289" y="213"/>
                  <a:pt x="289" y="213"/>
                  <a:pt x="289" y="213"/>
                </a:cubicBezTo>
                <a:cubicBezTo>
                  <a:pt x="290" y="214"/>
                  <a:pt x="290" y="214"/>
                  <a:pt x="290" y="214"/>
                </a:cubicBezTo>
                <a:cubicBezTo>
                  <a:pt x="290" y="215"/>
                  <a:pt x="290" y="215"/>
                  <a:pt x="290" y="215"/>
                </a:cubicBezTo>
                <a:cubicBezTo>
                  <a:pt x="291" y="216"/>
                  <a:pt x="291" y="216"/>
                  <a:pt x="291" y="216"/>
                </a:cubicBezTo>
                <a:cubicBezTo>
                  <a:pt x="292" y="217"/>
                  <a:pt x="292" y="217"/>
                  <a:pt x="292" y="217"/>
                </a:cubicBezTo>
                <a:cubicBezTo>
                  <a:pt x="292" y="222"/>
                  <a:pt x="292" y="222"/>
                  <a:pt x="292" y="222"/>
                </a:cubicBezTo>
                <a:cubicBezTo>
                  <a:pt x="292" y="223"/>
                  <a:pt x="292" y="223"/>
                  <a:pt x="292" y="223"/>
                </a:cubicBezTo>
                <a:cubicBezTo>
                  <a:pt x="291" y="223"/>
                  <a:pt x="291" y="223"/>
                  <a:pt x="291" y="223"/>
                </a:cubicBezTo>
                <a:cubicBezTo>
                  <a:pt x="291" y="220"/>
                  <a:pt x="291" y="220"/>
                  <a:pt x="291" y="220"/>
                </a:cubicBezTo>
                <a:cubicBezTo>
                  <a:pt x="291" y="218"/>
                  <a:pt x="291" y="218"/>
                  <a:pt x="291" y="218"/>
                </a:cubicBezTo>
                <a:cubicBezTo>
                  <a:pt x="290" y="219"/>
                  <a:pt x="290" y="219"/>
                  <a:pt x="290" y="219"/>
                </a:cubicBezTo>
                <a:cubicBezTo>
                  <a:pt x="290" y="223"/>
                  <a:pt x="290" y="223"/>
                  <a:pt x="290" y="223"/>
                </a:cubicBezTo>
                <a:cubicBezTo>
                  <a:pt x="290" y="224"/>
                  <a:pt x="290" y="224"/>
                  <a:pt x="290" y="224"/>
                </a:cubicBezTo>
                <a:cubicBezTo>
                  <a:pt x="290" y="225"/>
                  <a:pt x="290" y="225"/>
                  <a:pt x="290" y="225"/>
                </a:cubicBezTo>
                <a:cubicBezTo>
                  <a:pt x="289" y="225"/>
                  <a:pt x="289" y="225"/>
                  <a:pt x="289" y="225"/>
                </a:cubicBezTo>
                <a:cubicBezTo>
                  <a:pt x="288" y="225"/>
                  <a:pt x="288" y="225"/>
                  <a:pt x="288" y="225"/>
                </a:cubicBezTo>
                <a:cubicBezTo>
                  <a:pt x="288" y="227"/>
                  <a:pt x="288" y="227"/>
                  <a:pt x="288" y="227"/>
                </a:cubicBezTo>
                <a:cubicBezTo>
                  <a:pt x="286" y="228"/>
                  <a:pt x="286" y="228"/>
                  <a:pt x="286" y="228"/>
                </a:cubicBezTo>
                <a:cubicBezTo>
                  <a:pt x="285" y="229"/>
                  <a:pt x="285" y="229"/>
                  <a:pt x="285" y="229"/>
                </a:cubicBezTo>
                <a:cubicBezTo>
                  <a:pt x="285" y="228"/>
                  <a:pt x="285" y="228"/>
                  <a:pt x="285" y="228"/>
                </a:cubicBezTo>
                <a:close/>
                <a:moveTo>
                  <a:pt x="281" y="214"/>
                </a:moveTo>
                <a:cubicBezTo>
                  <a:pt x="283" y="213"/>
                  <a:pt x="283" y="213"/>
                  <a:pt x="283" y="213"/>
                </a:cubicBezTo>
                <a:cubicBezTo>
                  <a:pt x="284" y="214"/>
                  <a:pt x="284" y="214"/>
                  <a:pt x="284" y="214"/>
                </a:cubicBezTo>
                <a:cubicBezTo>
                  <a:pt x="284" y="215"/>
                  <a:pt x="284" y="215"/>
                  <a:pt x="284" y="215"/>
                </a:cubicBezTo>
                <a:cubicBezTo>
                  <a:pt x="284" y="216"/>
                  <a:pt x="284" y="216"/>
                  <a:pt x="284" y="216"/>
                </a:cubicBezTo>
                <a:cubicBezTo>
                  <a:pt x="284" y="217"/>
                  <a:pt x="284" y="217"/>
                  <a:pt x="284" y="217"/>
                </a:cubicBezTo>
                <a:cubicBezTo>
                  <a:pt x="285" y="216"/>
                  <a:pt x="285" y="216"/>
                  <a:pt x="285" y="216"/>
                </a:cubicBezTo>
                <a:cubicBezTo>
                  <a:pt x="286" y="215"/>
                  <a:pt x="286" y="215"/>
                  <a:pt x="286" y="215"/>
                </a:cubicBezTo>
                <a:cubicBezTo>
                  <a:pt x="287" y="217"/>
                  <a:pt x="287" y="217"/>
                  <a:pt x="287" y="217"/>
                </a:cubicBezTo>
                <a:cubicBezTo>
                  <a:pt x="287" y="217"/>
                  <a:pt x="287" y="217"/>
                  <a:pt x="287" y="217"/>
                </a:cubicBezTo>
                <a:cubicBezTo>
                  <a:pt x="286" y="218"/>
                  <a:pt x="286" y="218"/>
                  <a:pt x="286" y="218"/>
                </a:cubicBezTo>
                <a:cubicBezTo>
                  <a:pt x="286" y="219"/>
                  <a:pt x="286" y="219"/>
                  <a:pt x="286" y="219"/>
                </a:cubicBezTo>
                <a:cubicBezTo>
                  <a:pt x="286" y="219"/>
                  <a:pt x="286" y="219"/>
                  <a:pt x="286" y="219"/>
                </a:cubicBezTo>
                <a:cubicBezTo>
                  <a:pt x="285" y="219"/>
                  <a:pt x="285" y="219"/>
                  <a:pt x="285" y="219"/>
                </a:cubicBezTo>
                <a:cubicBezTo>
                  <a:pt x="284" y="218"/>
                  <a:pt x="284" y="218"/>
                  <a:pt x="284" y="218"/>
                </a:cubicBezTo>
                <a:cubicBezTo>
                  <a:pt x="282" y="216"/>
                  <a:pt x="282" y="216"/>
                  <a:pt x="282" y="216"/>
                </a:cubicBezTo>
                <a:cubicBezTo>
                  <a:pt x="282" y="217"/>
                  <a:pt x="282" y="217"/>
                  <a:pt x="282" y="217"/>
                </a:cubicBezTo>
                <a:cubicBezTo>
                  <a:pt x="284" y="219"/>
                  <a:pt x="284" y="219"/>
                  <a:pt x="284" y="219"/>
                </a:cubicBezTo>
                <a:cubicBezTo>
                  <a:pt x="284" y="220"/>
                  <a:pt x="284" y="220"/>
                  <a:pt x="284" y="220"/>
                </a:cubicBezTo>
                <a:cubicBezTo>
                  <a:pt x="285" y="220"/>
                  <a:pt x="285" y="220"/>
                  <a:pt x="285" y="220"/>
                </a:cubicBezTo>
                <a:cubicBezTo>
                  <a:pt x="286" y="221"/>
                  <a:pt x="286" y="221"/>
                  <a:pt x="286" y="221"/>
                </a:cubicBezTo>
                <a:cubicBezTo>
                  <a:pt x="285" y="222"/>
                  <a:pt x="285" y="222"/>
                  <a:pt x="285" y="222"/>
                </a:cubicBezTo>
                <a:cubicBezTo>
                  <a:pt x="285" y="224"/>
                  <a:pt x="285" y="224"/>
                  <a:pt x="285" y="224"/>
                </a:cubicBezTo>
                <a:cubicBezTo>
                  <a:pt x="284" y="224"/>
                  <a:pt x="284" y="224"/>
                  <a:pt x="284" y="224"/>
                </a:cubicBezTo>
                <a:cubicBezTo>
                  <a:pt x="283" y="222"/>
                  <a:pt x="283" y="222"/>
                  <a:pt x="283" y="222"/>
                </a:cubicBezTo>
                <a:cubicBezTo>
                  <a:pt x="283" y="221"/>
                  <a:pt x="283" y="221"/>
                  <a:pt x="283" y="221"/>
                </a:cubicBezTo>
                <a:cubicBezTo>
                  <a:pt x="281" y="218"/>
                  <a:pt x="281" y="218"/>
                  <a:pt x="281" y="218"/>
                </a:cubicBezTo>
                <a:cubicBezTo>
                  <a:pt x="281" y="220"/>
                  <a:pt x="281" y="220"/>
                  <a:pt x="281" y="220"/>
                </a:cubicBezTo>
                <a:cubicBezTo>
                  <a:pt x="282" y="221"/>
                  <a:pt x="282" y="221"/>
                  <a:pt x="282" y="221"/>
                </a:cubicBezTo>
                <a:cubicBezTo>
                  <a:pt x="282" y="223"/>
                  <a:pt x="282" y="223"/>
                  <a:pt x="282" y="223"/>
                </a:cubicBezTo>
                <a:cubicBezTo>
                  <a:pt x="281" y="224"/>
                  <a:pt x="281" y="224"/>
                  <a:pt x="281" y="224"/>
                </a:cubicBezTo>
                <a:cubicBezTo>
                  <a:pt x="280" y="224"/>
                  <a:pt x="280" y="224"/>
                  <a:pt x="280" y="224"/>
                </a:cubicBezTo>
                <a:cubicBezTo>
                  <a:pt x="279" y="222"/>
                  <a:pt x="279" y="222"/>
                  <a:pt x="279" y="222"/>
                </a:cubicBezTo>
                <a:cubicBezTo>
                  <a:pt x="280" y="221"/>
                  <a:pt x="280" y="221"/>
                  <a:pt x="280" y="221"/>
                </a:cubicBezTo>
                <a:cubicBezTo>
                  <a:pt x="279" y="221"/>
                  <a:pt x="279" y="221"/>
                  <a:pt x="279" y="221"/>
                </a:cubicBezTo>
                <a:cubicBezTo>
                  <a:pt x="279" y="220"/>
                  <a:pt x="279" y="220"/>
                  <a:pt x="279" y="220"/>
                </a:cubicBezTo>
                <a:cubicBezTo>
                  <a:pt x="278" y="218"/>
                  <a:pt x="278" y="218"/>
                  <a:pt x="278" y="218"/>
                </a:cubicBezTo>
                <a:cubicBezTo>
                  <a:pt x="279" y="217"/>
                  <a:pt x="279" y="217"/>
                  <a:pt x="279" y="217"/>
                </a:cubicBezTo>
                <a:cubicBezTo>
                  <a:pt x="280" y="217"/>
                  <a:pt x="280" y="217"/>
                  <a:pt x="280" y="217"/>
                </a:cubicBezTo>
                <a:cubicBezTo>
                  <a:pt x="280" y="217"/>
                  <a:pt x="280" y="217"/>
                  <a:pt x="280" y="217"/>
                </a:cubicBezTo>
                <a:cubicBezTo>
                  <a:pt x="280" y="216"/>
                  <a:pt x="280" y="216"/>
                  <a:pt x="280" y="216"/>
                </a:cubicBezTo>
                <a:cubicBezTo>
                  <a:pt x="279" y="215"/>
                  <a:pt x="279" y="215"/>
                  <a:pt x="279" y="215"/>
                </a:cubicBezTo>
                <a:cubicBezTo>
                  <a:pt x="280" y="213"/>
                  <a:pt x="280" y="213"/>
                  <a:pt x="280" y="213"/>
                </a:cubicBezTo>
                <a:cubicBezTo>
                  <a:pt x="281" y="215"/>
                  <a:pt x="281" y="215"/>
                  <a:pt x="281" y="215"/>
                </a:cubicBezTo>
                <a:cubicBezTo>
                  <a:pt x="281" y="214"/>
                  <a:pt x="281" y="214"/>
                  <a:pt x="281" y="214"/>
                </a:cubicBezTo>
                <a:cubicBezTo>
                  <a:pt x="281" y="214"/>
                  <a:pt x="281" y="214"/>
                  <a:pt x="281" y="214"/>
                </a:cubicBezTo>
                <a:close/>
                <a:moveTo>
                  <a:pt x="282" y="212"/>
                </a:moveTo>
                <a:cubicBezTo>
                  <a:pt x="283" y="211"/>
                  <a:pt x="283" y="211"/>
                  <a:pt x="283" y="211"/>
                </a:cubicBezTo>
                <a:cubicBezTo>
                  <a:pt x="283" y="212"/>
                  <a:pt x="283" y="212"/>
                  <a:pt x="283" y="212"/>
                </a:cubicBezTo>
                <a:cubicBezTo>
                  <a:pt x="282" y="213"/>
                  <a:pt x="282" y="213"/>
                  <a:pt x="282" y="213"/>
                </a:cubicBezTo>
                <a:cubicBezTo>
                  <a:pt x="282" y="212"/>
                  <a:pt x="282" y="212"/>
                  <a:pt x="282" y="212"/>
                </a:cubicBezTo>
                <a:close/>
                <a:moveTo>
                  <a:pt x="94" y="135"/>
                </a:moveTo>
                <a:cubicBezTo>
                  <a:pt x="94" y="134"/>
                  <a:pt x="94" y="134"/>
                  <a:pt x="94" y="134"/>
                </a:cubicBezTo>
                <a:cubicBezTo>
                  <a:pt x="94" y="134"/>
                  <a:pt x="94" y="134"/>
                  <a:pt x="94" y="134"/>
                </a:cubicBezTo>
                <a:cubicBezTo>
                  <a:pt x="95" y="135"/>
                  <a:pt x="95" y="135"/>
                  <a:pt x="95" y="135"/>
                </a:cubicBezTo>
                <a:cubicBezTo>
                  <a:pt x="94" y="135"/>
                  <a:pt x="94" y="135"/>
                  <a:pt x="94" y="135"/>
                </a:cubicBezTo>
                <a:close/>
                <a:moveTo>
                  <a:pt x="94" y="136"/>
                </a:moveTo>
                <a:cubicBezTo>
                  <a:pt x="94" y="136"/>
                  <a:pt x="94" y="136"/>
                  <a:pt x="94" y="136"/>
                </a:cubicBezTo>
                <a:cubicBezTo>
                  <a:pt x="94" y="137"/>
                  <a:pt x="94" y="137"/>
                  <a:pt x="94" y="137"/>
                </a:cubicBezTo>
                <a:cubicBezTo>
                  <a:pt x="96" y="139"/>
                  <a:pt x="96" y="139"/>
                  <a:pt x="96" y="139"/>
                </a:cubicBezTo>
                <a:cubicBezTo>
                  <a:pt x="96" y="140"/>
                  <a:pt x="96" y="140"/>
                  <a:pt x="96" y="140"/>
                </a:cubicBezTo>
                <a:cubicBezTo>
                  <a:pt x="94" y="138"/>
                  <a:pt x="94" y="138"/>
                  <a:pt x="94" y="138"/>
                </a:cubicBezTo>
                <a:cubicBezTo>
                  <a:pt x="93" y="137"/>
                  <a:pt x="93" y="137"/>
                  <a:pt x="93" y="137"/>
                </a:cubicBezTo>
                <a:cubicBezTo>
                  <a:pt x="93" y="136"/>
                  <a:pt x="93" y="136"/>
                  <a:pt x="93" y="136"/>
                </a:cubicBezTo>
                <a:cubicBezTo>
                  <a:pt x="93" y="136"/>
                  <a:pt x="94" y="136"/>
                  <a:pt x="94" y="136"/>
                </a:cubicBezTo>
                <a:close/>
                <a:moveTo>
                  <a:pt x="159" y="114"/>
                </a:moveTo>
                <a:cubicBezTo>
                  <a:pt x="158" y="116"/>
                  <a:pt x="158" y="116"/>
                  <a:pt x="158" y="116"/>
                </a:cubicBezTo>
                <a:cubicBezTo>
                  <a:pt x="158" y="119"/>
                  <a:pt x="158" y="119"/>
                  <a:pt x="158" y="119"/>
                </a:cubicBezTo>
                <a:cubicBezTo>
                  <a:pt x="157" y="118"/>
                  <a:pt x="157" y="118"/>
                  <a:pt x="157" y="118"/>
                </a:cubicBezTo>
                <a:cubicBezTo>
                  <a:pt x="157" y="117"/>
                  <a:pt x="157" y="117"/>
                  <a:pt x="157" y="117"/>
                </a:cubicBezTo>
                <a:cubicBezTo>
                  <a:pt x="156" y="117"/>
                  <a:pt x="156" y="117"/>
                  <a:pt x="156" y="117"/>
                </a:cubicBezTo>
                <a:cubicBezTo>
                  <a:pt x="155" y="117"/>
                  <a:pt x="155" y="117"/>
                  <a:pt x="155" y="117"/>
                </a:cubicBezTo>
                <a:cubicBezTo>
                  <a:pt x="154" y="116"/>
                  <a:pt x="154" y="116"/>
                  <a:pt x="154" y="116"/>
                </a:cubicBezTo>
                <a:cubicBezTo>
                  <a:pt x="154" y="116"/>
                  <a:pt x="154" y="116"/>
                  <a:pt x="154" y="116"/>
                </a:cubicBezTo>
                <a:cubicBezTo>
                  <a:pt x="157" y="112"/>
                  <a:pt x="157" y="112"/>
                  <a:pt x="157" y="112"/>
                </a:cubicBezTo>
                <a:cubicBezTo>
                  <a:pt x="158" y="111"/>
                  <a:pt x="158" y="111"/>
                  <a:pt x="158" y="111"/>
                </a:cubicBezTo>
                <a:cubicBezTo>
                  <a:pt x="159" y="112"/>
                  <a:pt x="159" y="112"/>
                  <a:pt x="159" y="112"/>
                </a:cubicBezTo>
                <a:cubicBezTo>
                  <a:pt x="159" y="114"/>
                  <a:pt x="159" y="114"/>
                  <a:pt x="159" y="114"/>
                </a:cubicBezTo>
                <a:close/>
                <a:moveTo>
                  <a:pt x="160" y="114"/>
                </a:moveTo>
                <a:cubicBezTo>
                  <a:pt x="160" y="114"/>
                  <a:pt x="161" y="114"/>
                  <a:pt x="161" y="114"/>
                </a:cubicBezTo>
                <a:cubicBezTo>
                  <a:pt x="161" y="113"/>
                  <a:pt x="161" y="113"/>
                  <a:pt x="161" y="113"/>
                </a:cubicBezTo>
                <a:cubicBezTo>
                  <a:pt x="160" y="112"/>
                  <a:pt x="160" y="112"/>
                  <a:pt x="160" y="112"/>
                </a:cubicBezTo>
                <a:cubicBezTo>
                  <a:pt x="160" y="111"/>
                  <a:pt x="160" y="111"/>
                  <a:pt x="160" y="111"/>
                </a:cubicBezTo>
                <a:cubicBezTo>
                  <a:pt x="159" y="110"/>
                  <a:pt x="159" y="110"/>
                  <a:pt x="159" y="110"/>
                </a:cubicBezTo>
                <a:cubicBezTo>
                  <a:pt x="160" y="110"/>
                  <a:pt x="160" y="110"/>
                  <a:pt x="160" y="110"/>
                </a:cubicBezTo>
                <a:cubicBezTo>
                  <a:pt x="162" y="110"/>
                  <a:pt x="162" y="110"/>
                  <a:pt x="162" y="110"/>
                </a:cubicBezTo>
                <a:cubicBezTo>
                  <a:pt x="165" y="111"/>
                  <a:pt x="165" y="111"/>
                  <a:pt x="165" y="111"/>
                </a:cubicBezTo>
                <a:cubicBezTo>
                  <a:pt x="165" y="112"/>
                  <a:pt x="165" y="112"/>
                  <a:pt x="165" y="112"/>
                </a:cubicBezTo>
                <a:cubicBezTo>
                  <a:pt x="163" y="112"/>
                  <a:pt x="163" y="112"/>
                  <a:pt x="163" y="112"/>
                </a:cubicBezTo>
                <a:cubicBezTo>
                  <a:pt x="161" y="115"/>
                  <a:pt x="161" y="115"/>
                  <a:pt x="161" y="115"/>
                </a:cubicBezTo>
                <a:cubicBezTo>
                  <a:pt x="160" y="114"/>
                  <a:pt x="160" y="114"/>
                  <a:pt x="160" y="114"/>
                </a:cubicBezTo>
                <a:close/>
                <a:moveTo>
                  <a:pt x="172" y="106"/>
                </a:moveTo>
                <a:cubicBezTo>
                  <a:pt x="173" y="106"/>
                  <a:pt x="173" y="106"/>
                  <a:pt x="173" y="106"/>
                </a:cubicBezTo>
                <a:cubicBezTo>
                  <a:pt x="174" y="106"/>
                  <a:pt x="174" y="106"/>
                  <a:pt x="174" y="106"/>
                </a:cubicBezTo>
                <a:cubicBezTo>
                  <a:pt x="175" y="107"/>
                  <a:pt x="175" y="107"/>
                  <a:pt x="175" y="107"/>
                </a:cubicBezTo>
                <a:cubicBezTo>
                  <a:pt x="174" y="108"/>
                  <a:pt x="174" y="108"/>
                  <a:pt x="174" y="108"/>
                </a:cubicBezTo>
                <a:cubicBezTo>
                  <a:pt x="174" y="108"/>
                  <a:pt x="174" y="108"/>
                  <a:pt x="174" y="108"/>
                </a:cubicBezTo>
                <a:cubicBezTo>
                  <a:pt x="172" y="106"/>
                  <a:pt x="172" y="106"/>
                  <a:pt x="172" y="106"/>
                </a:cubicBezTo>
                <a:close/>
                <a:moveTo>
                  <a:pt x="236" y="167"/>
                </a:moveTo>
                <a:cubicBezTo>
                  <a:pt x="237" y="166"/>
                  <a:pt x="237" y="166"/>
                  <a:pt x="237" y="166"/>
                </a:cubicBezTo>
                <a:cubicBezTo>
                  <a:pt x="238" y="167"/>
                  <a:pt x="238" y="167"/>
                  <a:pt x="238" y="167"/>
                </a:cubicBezTo>
                <a:cubicBezTo>
                  <a:pt x="237" y="167"/>
                  <a:pt x="237" y="167"/>
                  <a:pt x="237" y="167"/>
                </a:cubicBezTo>
                <a:cubicBezTo>
                  <a:pt x="236" y="167"/>
                  <a:pt x="236" y="167"/>
                  <a:pt x="236" y="167"/>
                </a:cubicBezTo>
                <a:close/>
                <a:moveTo>
                  <a:pt x="230" y="186"/>
                </a:moveTo>
                <a:cubicBezTo>
                  <a:pt x="231" y="185"/>
                  <a:pt x="231" y="185"/>
                  <a:pt x="231" y="185"/>
                </a:cubicBezTo>
                <a:cubicBezTo>
                  <a:pt x="232" y="186"/>
                  <a:pt x="232" y="186"/>
                  <a:pt x="232" y="186"/>
                </a:cubicBezTo>
                <a:cubicBezTo>
                  <a:pt x="230" y="186"/>
                  <a:pt x="230" y="186"/>
                  <a:pt x="230" y="186"/>
                </a:cubicBezTo>
                <a:close/>
                <a:moveTo>
                  <a:pt x="244" y="182"/>
                </a:moveTo>
                <a:cubicBezTo>
                  <a:pt x="245" y="182"/>
                  <a:pt x="245" y="182"/>
                  <a:pt x="245" y="182"/>
                </a:cubicBezTo>
                <a:cubicBezTo>
                  <a:pt x="246" y="182"/>
                  <a:pt x="246" y="182"/>
                  <a:pt x="246" y="182"/>
                </a:cubicBezTo>
                <a:cubicBezTo>
                  <a:pt x="245" y="183"/>
                  <a:pt x="245" y="183"/>
                  <a:pt x="245" y="183"/>
                </a:cubicBezTo>
                <a:cubicBezTo>
                  <a:pt x="244" y="183"/>
                  <a:pt x="244" y="183"/>
                  <a:pt x="244" y="183"/>
                </a:cubicBezTo>
                <a:cubicBezTo>
                  <a:pt x="244" y="182"/>
                  <a:pt x="244" y="182"/>
                  <a:pt x="244" y="182"/>
                </a:cubicBezTo>
                <a:close/>
                <a:moveTo>
                  <a:pt x="234" y="170"/>
                </a:moveTo>
                <a:cubicBezTo>
                  <a:pt x="234" y="169"/>
                  <a:pt x="234" y="169"/>
                  <a:pt x="234" y="169"/>
                </a:cubicBezTo>
                <a:cubicBezTo>
                  <a:pt x="235" y="169"/>
                  <a:pt x="235" y="169"/>
                  <a:pt x="235" y="169"/>
                </a:cubicBezTo>
                <a:cubicBezTo>
                  <a:pt x="235" y="170"/>
                  <a:pt x="235" y="170"/>
                  <a:pt x="235" y="170"/>
                </a:cubicBezTo>
                <a:cubicBezTo>
                  <a:pt x="234" y="170"/>
                  <a:pt x="234" y="170"/>
                  <a:pt x="234" y="170"/>
                </a:cubicBezTo>
                <a:close/>
                <a:moveTo>
                  <a:pt x="235" y="175"/>
                </a:moveTo>
                <a:cubicBezTo>
                  <a:pt x="235" y="173"/>
                  <a:pt x="235" y="173"/>
                  <a:pt x="235" y="173"/>
                </a:cubicBezTo>
                <a:cubicBezTo>
                  <a:pt x="236" y="172"/>
                  <a:pt x="236" y="172"/>
                  <a:pt x="236" y="172"/>
                </a:cubicBezTo>
                <a:cubicBezTo>
                  <a:pt x="237" y="172"/>
                  <a:pt x="237" y="172"/>
                  <a:pt x="237" y="172"/>
                </a:cubicBezTo>
                <a:cubicBezTo>
                  <a:pt x="237" y="174"/>
                  <a:pt x="237" y="174"/>
                  <a:pt x="237" y="174"/>
                </a:cubicBezTo>
                <a:cubicBezTo>
                  <a:pt x="238" y="174"/>
                  <a:pt x="238" y="174"/>
                  <a:pt x="238" y="174"/>
                </a:cubicBezTo>
                <a:cubicBezTo>
                  <a:pt x="238" y="174"/>
                  <a:pt x="238" y="174"/>
                  <a:pt x="238" y="174"/>
                </a:cubicBezTo>
                <a:cubicBezTo>
                  <a:pt x="237" y="175"/>
                  <a:pt x="237" y="175"/>
                  <a:pt x="237" y="175"/>
                </a:cubicBezTo>
                <a:cubicBezTo>
                  <a:pt x="235" y="175"/>
                  <a:pt x="235" y="175"/>
                  <a:pt x="235" y="175"/>
                </a:cubicBezTo>
                <a:close/>
                <a:moveTo>
                  <a:pt x="225" y="180"/>
                </a:moveTo>
                <a:cubicBezTo>
                  <a:pt x="226" y="179"/>
                  <a:pt x="226" y="179"/>
                  <a:pt x="226" y="179"/>
                </a:cubicBezTo>
                <a:cubicBezTo>
                  <a:pt x="227" y="179"/>
                  <a:pt x="227" y="179"/>
                  <a:pt x="227" y="179"/>
                </a:cubicBezTo>
                <a:cubicBezTo>
                  <a:pt x="227" y="178"/>
                  <a:pt x="227" y="178"/>
                  <a:pt x="227" y="178"/>
                </a:cubicBezTo>
                <a:cubicBezTo>
                  <a:pt x="229" y="177"/>
                  <a:pt x="229" y="177"/>
                  <a:pt x="229" y="177"/>
                </a:cubicBezTo>
                <a:cubicBezTo>
                  <a:pt x="230" y="176"/>
                  <a:pt x="230" y="176"/>
                  <a:pt x="230" y="176"/>
                </a:cubicBezTo>
                <a:cubicBezTo>
                  <a:pt x="232" y="175"/>
                  <a:pt x="232" y="175"/>
                  <a:pt x="232" y="175"/>
                </a:cubicBezTo>
                <a:cubicBezTo>
                  <a:pt x="232" y="175"/>
                  <a:pt x="232" y="175"/>
                  <a:pt x="232" y="175"/>
                </a:cubicBezTo>
                <a:cubicBezTo>
                  <a:pt x="233" y="173"/>
                  <a:pt x="233" y="173"/>
                  <a:pt x="233" y="173"/>
                </a:cubicBezTo>
                <a:cubicBezTo>
                  <a:pt x="234" y="174"/>
                  <a:pt x="234" y="174"/>
                  <a:pt x="234" y="174"/>
                </a:cubicBezTo>
                <a:cubicBezTo>
                  <a:pt x="233" y="174"/>
                  <a:pt x="233" y="174"/>
                  <a:pt x="233" y="174"/>
                </a:cubicBezTo>
                <a:cubicBezTo>
                  <a:pt x="234" y="175"/>
                  <a:pt x="234" y="175"/>
                  <a:pt x="234" y="175"/>
                </a:cubicBezTo>
                <a:cubicBezTo>
                  <a:pt x="233" y="176"/>
                  <a:pt x="233" y="176"/>
                  <a:pt x="233" y="176"/>
                </a:cubicBezTo>
                <a:cubicBezTo>
                  <a:pt x="232" y="176"/>
                  <a:pt x="232" y="176"/>
                  <a:pt x="232" y="176"/>
                </a:cubicBezTo>
                <a:cubicBezTo>
                  <a:pt x="230" y="178"/>
                  <a:pt x="230" y="178"/>
                  <a:pt x="230" y="178"/>
                </a:cubicBezTo>
                <a:cubicBezTo>
                  <a:pt x="229" y="179"/>
                  <a:pt x="229" y="179"/>
                  <a:pt x="229" y="179"/>
                </a:cubicBezTo>
                <a:cubicBezTo>
                  <a:pt x="229" y="179"/>
                  <a:pt x="229" y="179"/>
                  <a:pt x="229" y="179"/>
                </a:cubicBezTo>
                <a:cubicBezTo>
                  <a:pt x="229" y="180"/>
                  <a:pt x="229" y="180"/>
                  <a:pt x="229" y="180"/>
                </a:cubicBezTo>
                <a:cubicBezTo>
                  <a:pt x="227" y="180"/>
                  <a:pt x="227" y="180"/>
                  <a:pt x="227" y="180"/>
                </a:cubicBezTo>
                <a:cubicBezTo>
                  <a:pt x="227" y="180"/>
                  <a:pt x="227" y="180"/>
                  <a:pt x="227" y="180"/>
                </a:cubicBezTo>
                <a:cubicBezTo>
                  <a:pt x="225" y="180"/>
                  <a:pt x="225" y="180"/>
                  <a:pt x="225" y="180"/>
                </a:cubicBezTo>
                <a:cubicBezTo>
                  <a:pt x="225" y="180"/>
                  <a:pt x="225" y="180"/>
                  <a:pt x="225" y="180"/>
                </a:cubicBezTo>
                <a:close/>
                <a:moveTo>
                  <a:pt x="225" y="177"/>
                </a:moveTo>
                <a:cubicBezTo>
                  <a:pt x="227" y="176"/>
                  <a:pt x="227" y="176"/>
                  <a:pt x="227" y="176"/>
                </a:cubicBezTo>
                <a:cubicBezTo>
                  <a:pt x="227" y="177"/>
                  <a:pt x="227" y="177"/>
                  <a:pt x="227" y="177"/>
                </a:cubicBezTo>
                <a:cubicBezTo>
                  <a:pt x="226" y="178"/>
                  <a:pt x="226" y="178"/>
                  <a:pt x="226" y="178"/>
                </a:cubicBezTo>
                <a:cubicBezTo>
                  <a:pt x="226" y="178"/>
                  <a:pt x="225" y="177"/>
                  <a:pt x="225" y="177"/>
                </a:cubicBezTo>
                <a:close/>
                <a:moveTo>
                  <a:pt x="228" y="174"/>
                </a:moveTo>
                <a:cubicBezTo>
                  <a:pt x="230" y="173"/>
                  <a:pt x="230" y="173"/>
                  <a:pt x="230" y="173"/>
                </a:cubicBezTo>
                <a:cubicBezTo>
                  <a:pt x="230" y="172"/>
                  <a:pt x="230" y="172"/>
                  <a:pt x="230" y="172"/>
                </a:cubicBezTo>
                <a:cubicBezTo>
                  <a:pt x="231" y="171"/>
                  <a:pt x="231" y="171"/>
                  <a:pt x="231" y="171"/>
                </a:cubicBezTo>
                <a:cubicBezTo>
                  <a:pt x="232" y="171"/>
                  <a:pt x="232" y="171"/>
                  <a:pt x="232" y="171"/>
                </a:cubicBezTo>
                <a:cubicBezTo>
                  <a:pt x="232" y="171"/>
                  <a:pt x="232" y="171"/>
                  <a:pt x="232" y="171"/>
                </a:cubicBezTo>
                <a:cubicBezTo>
                  <a:pt x="231" y="172"/>
                  <a:pt x="231" y="172"/>
                  <a:pt x="231" y="172"/>
                </a:cubicBezTo>
                <a:cubicBezTo>
                  <a:pt x="230" y="173"/>
                  <a:pt x="230" y="173"/>
                  <a:pt x="230" y="173"/>
                </a:cubicBezTo>
                <a:cubicBezTo>
                  <a:pt x="229" y="174"/>
                  <a:pt x="229" y="174"/>
                  <a:pt x="229" y="174"/>
                </a:cubicBezTo>
                <a:cubicBezTo>
                  <a:pt x="229" y="175"/>
                  <a:pt x="229" y="175"/>
                  <a:pt x="229" y="175"/>
                </a:cubicBezTo>
                <a:cubicBezTo>
                  <a:pt x="228" y="175"/>
                  <a:pt x="228" y="175"/>
                  <a:pt x="228" y="175"/>
                </a:cubicBezTo>
                <a:cubicBezTo>
                  <a:pt x="228" y="174"/>
                  <a:pt x="228" y="174"/>
                  <a:pt x="228" y="174"/>
                </a:cubicBezTo>
                <a:close/>
                <a:moveTo>
                  <a:pt x="230" y="166"/>
                </a:moveTo>
                <a:cubicBezTo>
                  <a:pt x="231" y="165"/>
                  <a:pt x="231" y="165"/>
                  <a:pt x="231" y="165"/>
                </a:cubicBezTo>
                <a:cubicBezTo>
                  <a:pt x="232" y="166"/>
                  <a:pt x="232" y="166"/>
                  <a:pt x="232" y="166"/>
                </a:cubicBezTo>
                <a:cubicBezTo>
                  <a:pt x="231" y="166"/>
                  <a:pt x="231" y="166"/>
                  <a:pt x="231" y="166"/>
                </a:cubicBezTo>
                <a:cubicBezTo>
                  <a:pt x="232" y="167"/>
                  <a:pt x="232" y="167"/>
                  <a:pt x="232" y="167"/>
                </a:cubicBezTo>
                <a:cubicBezTo>
                  <a:pt x="231" y="168"/>
                  <a:pt x="231" y="168"/>
                  <a:pt x="231" y="168"/>
                </a:cubicBezTo>
                <a:cubicBezTo>
                  <a:pt x="230" y="166"/>
                  <a:pt x="230" y="166"/>
                  <a:pt x="230" y="166"/>
                </a:cubicBezTo>
                <a:close/>
                <a:moveTo>
                  <a:pt x="154" y="79"/>
                </a:moveTo>
                <a:cubicBezTo>
                  <a:pt x="154" y="79"/>
                  <a:pt x="155" y="79"/>
                  <a:pt x="155" y="79"/>
                </a:cubicBezTo>
                <a:cubicBezTo>
                  <a:pt x="156" y="79"/>
                  <a:pt x="156" y="79"/>
                  <a:pt x="156" y="79"/>
                </a:cubicBezTo>
                <a:cubicBezTo>
                  <a:pt x="155" y="80"/>
                  <a:pt x="155" y="80"/>
                  <a:pt x="155" y="80"/>
                </a:cubicBezTo>
                <a:cubicBezTo>
                  <a:pt x="154" y="79"/>
                  <a:pt x="154" y="79"/>
                  <a:pt x="154" y="79"/>
                </a:cubicBezTo>
                <a:close/>
                <a:moveTo>
                  <a:pt x="130" y="105"/>
                </a:moveTo>
                <a:cubicBezTo>
                  <a:pt x="131" y="103"/>
                  <a:pt x="131" y="103"/>
                  <a:pt x="131" y="103"/>
                </a:cubicBezTo>
                <a:cubicBezTo>
                  <a:pt x="131" y="102"/>
                  <a:pt x="131" y="102"/>
                  <a:pt x="131" y="102"/>
                </a:cubicBezTo>
                <a:cubicBezTo>
                  <a:pt x="129" y="101"/>
                  <a:pt x="129" y="101"/>
                  <a:pt x="129" y="101"/>
                </a:cubicBezTo>
                <a:cubicBezTo>
                  <a:pt x="130" y="100"/>
                  <a:pt x="130" y="100"/>
                  <a:pt x="130" y="100"/>
                </a:cubicBezTo>
                <a:cubicBezTo>
                  <a:pt x="129" y="98"/>
                  <a:pt x="129" y="98"/>
                  <a:pt x="129" y="98"/>
                </a:cubicBezTo>
                <a:cubicBezTo>
                  <a:pt x="128" y="97"/>
                  <a:pt x="128" y="97"/>
                  <a:pt x="128" y="97"/>
                </a:cubicBezTo>
                <a:cubicBezTo>
                  <a:pt x="126" y="96"/>
                  <a:pt x="126" y="96"/>
                  <a:pt x="126" y="96"/>
                </a:cubicBezTo>
                <a:cubicBezTo>
                  <a:pt x="125" y="98"/>
                  <a:pt x="125" y="98"/>
                  <a:pt x="125" y="98"/>
                </a:cubicBezTo>
                <a:cubicBezTo>
                  <a:pt x="124" y="98"/>
                  <a:pt x="124" y="98"/>
                  <a:pt x="124" y="98"/>
                </a:cubicBezTo>
                <a:cubicBezTo>
                  <a:pt x="123" y="96"/>
                  <a:pt x="123" y="96"/>
                  <a:pt x="123" y="96"/>
                </a:cubicBezTo>
                <a:cubicBezTo>
                  <a:pt x="123" y="94"/>
                  <a:pt x="123" y="94"/>
                  <a:pt x="123" y="94"/>
                </a:cubicBezTo>
                <a:cubicBezTo>
                  <a:pt x="126" y="92"/>
                  <a:pt x="126" y="92"/>
                  <a:pt x="126" y="92"/>
                </a:cubicBezTo>
                <a:cubicBezTo>
                  <a:pt x="127" y="89"/>
                  <a:pt x="127" y="89"/>
                  <a:pt x="127" y="89"/>
                </a:cubicBezTo>
                <a:cubicBezTo>
                  <a:pt x="127" y="89"/>
                  <a:pt x="127" y="89"/>
                  <a:pt x="127" y="89"/>
                </a:cubicBezTo>
                <a:cubicBezTo>
                  <a:pt x="127" y="92"/>
                  <a:pt x="127" y="92"/>
                  <a:pt x="127" y="92"/>
                </a:cubicBezTo>
                <a:cubicBezTo>
                  <a:pt x="127" y="93"/>
                  <a:pt x="127" y="93"/>
                  <a:pt x="127" y="93"/>
                </a:cubicBezTo>
                <a:cubicBezTo>
                  <a:pt x="129" y="93"/>
                  <a:pt x="129" y="93"/>
                  <a:pt x="129" y="93"/>
                </a:cubicBezTo>
                <a:cubicBezTo>
                  <a:pt x="129" y="94"/>
                  <a:pt x="129" y="94"/>
                  <a:pt x="129" y="94"/>
                </a:cubicBezTo>
                <a:cubicBezTo>
                  <a:pt x="130" y="94"/>
                  <a:pt x="130" y="94"/>
                  <a:pt x="130" y="94"/>
                </a:cubicBezTo>
                <a:cubicBezTo>
                  <a:pt x="131" y="94"/>
                  <a:pt x="131" y="94"/>
                  <a:pt x="131" y="94"/>
                </a:cubicBezTo>
                <a:cubicBezTo>
                  <a:pt x="133" y="94"/>
                  <a:pt x="133" y="94"/>
                  <a:pt x="133" y="94"/>
                </a:cubicBezTo>
                <a:cubicBezTo>
                  <a:pt x="134" y="95"/>
                  <a:pt x="134" y="95"/>
                  <a:pt x="134" y="95"/>
                </a:cubicBezTo>
                <a:cubicBezTo>
                  <a:pt x="134" y="96"/>
                  <a:pt x="134" y="96"/>
                  <a:pt x="134" y="96"/>
                </a:cubicBezTo>
                <a:cubicBezTo>
                  <a:pt x="133" y="96"/>
                  <a:pt x="133" y="96"/>
                  <a:pt x="133" y="96"/>
                </a:cubicBezTo>
                <a:cubicBezTo>
                  <a:pt x="134" y="98"/>
                  <a:pt x="134" y="98"/>
                  <a:pt x="134" y="98"/>
                </a:cubicBezTo>
                <a:cubicBezTo>
                  <a:pt x="135" y="99"/>
                  <a:pt x="135" y="99"/>
                  <a:pt x="135" y="99"/>
                </a:cubicBezTo>
                <a:cubicBezTo>
                  <a:pt x="135" y="100"/>
                  <a:pt x="135" y="100"/>
                  <a:pt x="135" y="100"/>
                </a:cubicBezTo>
                <a:cubicBezTo>
                  <a:pt x="138" y="102"/>
                  <a:pt x="138" y="102"/>
                  <a:pt x="138" y="102"/>
                </a:cubicBezTo>
                <a:cubicBezTo>
                  <a:pt x="138" y="104"/>
                  <a:pt x="138" y="104"/>
                  <a:pt x="138" y="104"/>
                </a:cubicBezTo>
                <a:cubicBezTo>
                  <a:pt x="137" y="104"/>
                  <a:pt x="137" y="104"/>
                  <a:pt x="137" y="104"/>
                </a:cubicBezTo>
                <a:cubicBezTo>
                  <a:pt x="135" y="103"/>
                  <a:pt x="135" y="103"/>
                  <a:pt x="135" y="103"/>
                </a:cubicBezTo>
                <a:cubicBezTo>
                  <a:pt x="135" y="103"/>
                  <a:pt x="135" y="103"/>
                  <a:pt x="135" y="103"/>
                </a:cubicBezTo>
                <a:cubicBezTo>
                  <a:pt x="134" y="104"/>
                  <a:pt x="134" y="104"/>
                  <a:pt x="134" y="104"/>
                </a:cubicBezTo>
                <a:cubicBezTo>
                  <a:pt x="133" y="104"/>
                  <a:pt x="133" y="104"/>
                  <a:pt x="133" y="104"/>
                </a:cubicBezTo>
                <a:cubicBezTo>
                  <a:pt x="131" y="106"/>
                  <a:pt x="131" y="106"/>
                  <a:pt x="131" y="106"/>
                </a:cubicBezTo>
                <a:cubicBezTo>
                  <a:pt x="130" y="105"/>
                  <a:pt x="130" y="105"/>
                  <a:pt x="130" y="105"/>
                </a:cubicBezTo>
                <a:close/>
                <a:moveTo>
                  <a:pt x="122" y="148"/>
                </a:moveTo>
                <a:cubicBezTo>
                  <a:pt x="123" y="148"/>
                  <a:pt x="123" y="148"/>
                  <a:pt x="123" y="148"/>
                </a:cubicBezTo>
                <a:cubicBezTo>
                  <a:pt x="125" y="148"/>
                  <a:pt x="125" y="148"/>
                  <a:pt x="125" y="148"/>
                </a:cubicBezTo>
                <a:cubicBezTo>
                  <a:pt x="126" y="148"/>
                  <a:pt x="126" y="148"/>
                  <a:pt x="126" y="148"/>
                </a:cubicBezTo>
                <a:cubicBezTo>
                  <a:pt x="127" y="148"/>
                  <a:pt x="127" y="148"/>
                  <a:pt x="127" y="148"/>
                </a:cubicBezTo>
                <a:cubicBezTo>
                  <a:pt x="128" y="147"/>
                  <a:pt x="128" y="147"/>
                  <a:pt x="128" y="147"/>
                </a:cubicBezTo>
                <a:cubicBezTo>
                  <a:pt x="130" y="147"/>
                  <a:pt x="130" y="147"/>
                  <a:pt x="130" y="147"/>
                </a:cubicBezTo>
                <a:cubicBezTo>
                  <a:pt x="130" y="148"/>
                  <a:pt x="130" y="148"/>
                  <a:pt x="130" y="148"/>
                </a:cubicBezTo>
                <a:cubicBezTo>
                  <a:pt x="131" y="149"/>
                  <a:pt x="131" y="149"/>
                  <a:pt x="131" y="149"/>
                </a:cubicBezTo>
                <a:cubicBezTo>
                  <a:pt x="131" y="150"/>
                  <a:pt x="131" y="150"/>
                  <a:pt x="131" y="150"/>
                </a:cubicBezTo>
                <a:cubicBezTo>
                  <a:pt x="130" y="152"/>
                  <a:pt x="130" y="152"/>
                  <a:pt x="130" y="152"/>
                </a:cubicBezTo>
                <a:cubicBezTo>
                  <a:pt x="130" y="153"/>
                  <a:pt x="130" y="153"/>
                  <a:pt x="130" y="153"/>
                </a:cubicBezTo>
                <a:cubicBezTo>
                  <a:pt x="128" y="153"/>
                  <a:pt x="128" y="153"/>
                  <a:pt x="128" y="153"/>
                </a:cubicBezTo>
                <a:cubicBezTo>
                  <a:pt x="127" y="153"/>
                  <a:pt x="127" y="153"/>
                  <a:pt x="127" y="153"/>
                </a:cubicBezTo>
                <a:cubicBezTo>
                  <a:pt x="126" y="153"/>
                  <a:pt x="126" y="153"/>
                  <a:pt x="126" y="153"/>
                </a:cubicBezTo>
                <a:cubicBezTo>
                  <a:pt x="125" y="153"/>
                  <a:pt x="125" y="153"/>
                  <a:pt x="125" y="153"/>
                </a:cubicBezTo>
                <a:cubicBezTo>
                  <a:pt x="124" y="152"/>
                  <a:pt x="124" y="152"/>
                  <a:pt x="124" y="152"/>
                </a:cubicBezTo>
                <a:cubicBezTo>
                  <a:pt x="122" y="150"/>
                  <a:pt x="122" y="150"/>
                  <a:pt x="122" y="150"/>
                </a:cubicBezTo>
                <a:cubicBezTo>
                  <a:pt x="122" y="148"/>
                  <a:pt x="122" y="148"/>
                  <a:pt x="122" y="148"/>
                </a:cubicBezTo>
                <a:close/>
                <a:moveTo>
                  <a:pt x="205" y="167"/>
                </a:moveTo>
                <a:cubicBezTo>
                  <a:pt x="207" y="165"/>
                  <a:pt x="207" y="165"/>
                  <a:pt x="207" y="165"/>
                </a:cubicBezTo>
                <a:cubicBezTo>
                  <a:pt x="208" y="165"/>
                  <a:pt x="208" y="165"/>
                  <a:pt x="208" y="165"/>
                </a:cubicBezTo>
                <a:cubicBezTo>
                  <a:pt x="208" y="166"/>
                  <a:pt x="208" y="166"/>
                  <a:pt x="208" y="166"/>
                </a:cubicBezTo>
                <a:cubicBezTo>
                  <a:pt x="206" y="167"/>
                  <a:pt x="206" y="167"/>
                  <a:pt x="206" y="167"/>
                </a:cubicBezTo>
                <a:cubicBezTo>
                  <a:pt x="205" y="167"/>
                  <a:pt x="205" y="167"/>
                  <a:pt x="205" y="167"/>
                </a:cubicBezTo>
                <a:close/>
                <a:moveTo>
                  <a:pt x="192" y="176"/>
                </a:moveTo>
                <a:cubicBezTo>
                  <a:pt x="193" y="176"/>
                  <a:pt x="193" y="176"/>
                  <a:pt x="193" y="176"/>
                </a:cubicBezTo>
                <a:cubicBezTo>
                  <a:pt x="194" y="176"/>
                  <a:pt x="194" y="176"/>
                  <a:pt x="194" y="176"/>
                </a:cubicBezTo>
                <a:cubicBezTo>
                  <a:pt x="193" y="177"/>
                  <a:pt x="193" y="177"/>
                  <a:pt x="193" y="177"/>
                </a:cubicBezTo>
                <a:cubicBezTo>
                  <a:pt x="192" y="176"/>
                  <a:pt x="192" y="176"/>
                  <a:pt x="192" y="176"/>
                </a:cubicBezTo>
                <a:close/>
                <a:moveTo>
                  <a:pt x="192" y="187"/>
                </a:moveTo>
                <a:cubicBezTo>
                  <a:pt x="192" y="186"/>
                  <a:pt x="192" y="186"/>
                  <a:pt x="192" y="186"/>
                </a:cubicBezTo>
                <a:cubicBezTo>
                  <a:pt x="193" y="187"/>
                  <a:pt x="193" y="187"/>
                  <a:pt x="193" y="187"/>
                </a:cubicBezTo>
                <a:cubicBezTo>
                  <a:pt x="193" y="188"/>
                  <a:pt x="193" y="188"/>
                  <a:pt x="193" y="188"/>
                </a:cubicBezTo>
                <a:cubicBezTo>
                  <a:pt x="192" y="188"/>
                  <a:pt x="192" y="188"/>
                  <a:pt x="192" y="188"/>
                </a:cubicBezTo>
                <a:cubicBezTo>
                  <a:pt x="191" y="188"/>
                  <a:pt x="191" y="188"/>
                  <a:pt x="191" y="188"/>
                </a:cubicBezTo>
                <a:cubicBezTo>
                  <a:pt x="192" y="187"/>
                  <a:pt x="192" y="187"/>
                  <a:pt x="192" y="187"/>
                </a:cubicBezTo>
                <a:close/>
                <a:moveTo>
                  <a:pt x="187" y="193"/>
                </a:moveTo>
                <a:cubicBezTo>
                  <a:pt x="186" y="192"/>
                  <a:pt x="186" y="192"/>
                  <a:pt x="186" y="192"/>
                </a:cubicBezTo>
                <a:cubicBezTo>
                  <a:pt x="187" y="192"/>
                  <a:pt x="187" y="192"/>
                  <a:pt x="187" y="192"/>
                </a:cubicBezTo>
                <a:cubicBezTo>
                  <a:pt x="188" y="192"/>
                  <a:pt x="188" y="192"/>
                  <a:pt x="188" y="192"/>
                </a:cubicBezTo>
                <a:cubicBezTo>
                  <a:pt x="188" y="191"/>
                  <a:pt x="188" y="191"/>
                  <a:pt x="188" y="191"/>
                </a:cubicBezTo>
                <a:cubicBezTo>
                  <a:pt x="189" y="192"/>
                  <a:pt x="189" y="192"/>
                  <a:pt x="189" y="192"/>
                </a:cubicBezTo>
                <a:cubicBezTo>
                  <a:pt x="190" y="191"/>
                  <a:pt x="190" y="191"/>
                  <a:pt x="190" y="191"/>
                </a:cubicBezTo>
                <a:cubicBezTo>
                  <a:pt x="189" y="190"/>
                  <a:pt x="189" y="190"/>
                  <a:pt x="189" y="190"/>
                </a:cubicBezTo>
                <a:cubicBezTo>
                  <a:pt x="190" y="189"/>
                  <a:pt x="190" y="189"/>
                  <a:pt x="190" y="189"/>
                </a:cubicBezTo>
                <a:cubicBezTo>
                  <a:pt x="191" y="189"/>
                  <a:pt x="191" y="189"/>
                  <a:pt x="191" y="189"/>
                </a:cubicBezTo>
                <a:cubicBezTo>
                  <a:pt x="192" y="189"/>
                  <a:pt x="192" y="189"/>
                  <a:pt x="192" y="189"/>
                </a:cubicBezTo>
                <a:cubicBezTo>
                  <a:pt x="191" y="190"/>
                  <a:pt x="191" y="190"/>
                  <a:pt x="191" y="190"/>
                </a:cubicBezTo>
                <a:cubicBezTo>
                  <a:pt x="192" y="190"/>
                  <a:pt x="192" y="190"/>
                  <a:pt x="192" y="190"/>
                </a:cubicBezTo>
                <a:cubicBezTo>
                  <a:pt x="192" y="190"/>
                  <a:pt x="192" y="190"/>
                  <a:pt x="192" y="190"/>
                </a:cubicBezTo>
                <a:cubicBezTo>
                  <a:pt x="193" y="190"/>
                  <a:pt x="193" y="190"/>
                  <a:pt x="193" y="190"/>
                </a:cubicBezTo>
                <a:cubicBezTo>
                  <a:pt x="194" y="191"/>
                  <a:pt x="194" y="191"/>
                  <a:pt x="194" y="191"/>
                </a:cubicBezTo>
                <a:cubicBezTo>
                  <a:pt x="193" y="191"/>
                  <a:pt x="193" y="191"/>
                  <a:pt x="193" y="191"/>
                </a:cubicBezTo>
                <a:cubicBezTo>
                  <a:pt x="193" y="192"/>
                  <a:pt x="193" y="192"/>
                  <a:pt x="193" y="192"/>
                </a:cubicBezTo>
                <a:cubicBezTo>
                  <a:pt x="193" y="192"/>
                  <a:pt x="193" y="192"/>
                  <a:pt x="193" y="192"/>
                </a:cubicBezTo>
                <a:cubicBezTo>
                  <a:pt x="194" y="193"/>
                  <a:pt x="194" y="193"/>
                  <a:pt x="194" y="193"/>
                </a:cubicBezTo>
                <a:cubicBezTo>
                  <a:pt x="193" y="193"/>
                  <a:pt x="193" y="193"/>
                  <a:pt x="193" y="193"/>
                </a:cubicBezTo>
                <a:cubicBezTo>
                  <a:pt x="192" y="193"/>
                  <a:pt x="192" y="193"/>
                  <a:pt x="192" y="193"/>
                </a:cubicBezTo>
                <a:cubicBezTo>
                  <a:pt x="191" y="194"/>
                  <a:pt x="191" y="194"/>
                  <a:pt x="191" y="194"/>
                </a:cubicBezTo>
                <a:cubicBezTo>
                  <a:pt x="190" y="194"/>
                  <a:pt x="190" y="194"/>
                  <a:pt x="190" y="194"/>
                </a:cubicBezTo>
                <a:cubicBezTo>
                  <a:pt x="190" y="193"/>
                  <a:pt x="190" y="193"/>
                  <a:pt x="190" y="193"/>
                </a:cubicBezTo>
                <a:cubicBezTo>
                  <a:pt x="189" y="194"/>
                  <a:pt x="189" y="194"/>
                  <a:pt x="189" y="194"/>
                </a:cubicBezTo>
                <a:cubicBezTo>
                  <a:pt x="188" y="194"/>
                  <a:pt x="188" y="194"/>
                  <a:pt x="188" y="194"/>
                </a:cubicBezTo>
                <a:cubicBezTo>
                  <a:pt x="187" y="193"/>
                  <a:pt x="187" y="193"/>
                  <a:pt x="187" y="193"/>
                </a:cubicBezTo>
                <a:close/>
                <a:moveTo>
                  <a:pt x="174" y="206"/>
                </a:moveTo>
                <a:cubicBezTo>
                  <a:pt x="173" y="206"/>
                  <a:pt x="173" y="206"/>
                  <a:pt x="173" y="206"/>
                </a:cubicBezTo>
                <a:cubicBezTo>
                  <a:pt x="173" y="207"/>
                  <a:pt x="173" y="207"/>
                  <a:pt x="173" y="207"/>
                </a:cubicBezTo>
                <a:cubicBezTo>
                  <a:pt x="172" y="206"/>
                  <a:pt x="172" y="206"/>
                  <a:pt x="172" y="206"/>
                </a:cubicBezTo>
                <a:cubicBezTo>
                  <a:pt x="172" y="205"/>
                  <a:pt x="172" y="205"/>
                  <a:pt x="172" y="205"/>
                </a:cubicBezTo>
                <a:cubicBezTo>
                  <a:pt x="172" y="204"/>
                  <a:pt x="172" y="204"/>
                  <a:pt x="172" y="204"/>
                </a:cubicBezTo>
                <a:cubicBezTo>
                  <a:pt x="173" y="203"/>
                  <a:pt x="173" y="203"/>
                  <a:pt x="173" y="203"/>
                </a:cubicBezTo>
                <a:cubicBezTo>
                  <a:pt x="173" y="201"/>
                  <a:pt x="173" y="201"/>
                  <a:pt x="173" y="201"/>
                </a:cubicBezTo>
                <a:cubicBezTo>
                  <a:pt x="172" y="201"/>
                  <a:pt x="172" y="201"/>
                  <a:pt x="172" y="201"/>
                </a:cubicBezTo>
                <a:cubicBezTo>
                  <a:pt x="172" y="200"/>
                  <a:pt x="172" y="200"/>
                  <a:pt x="172" y="200"/>
                </a:cubicBezTo>
                <a:cubicBezTo>
                  <a:pt x="174" y="199"/>
                  <a:pt x="174" y="199"/>
                  <a:pt x="174" y="199"/>
                </a:cubicBezTo>
                <a:cubicBezTo>
                  <a:pt x="177" y="197"/>
                  <a:pt x="177" y="197"/>
                  <a:pt x="177" y="197"/>
                </a:cubicBezTo>
                <a:cubicBezTo>
                  <a:pt x="178" y="197"/>
                  <a:pt x="178" y="197"/>
                  <a:pt x="178" y="197"/>
                </a:cubicBezTo>
                <a:cubicBezTo>
                  <a:pt x="179" y="197"/>
                  <a:pt x="179" y="197"/>
                  <a:pt x="179" y="197"/>
                </a:cubicBezTo>
                <a:cubicBezTo>
                  <a:pt x="179" y="200"/>
                  <a:pt x="179" y="200"/>
                  <a:pt x="179" y="200"/>
                </a:cubicBezTo>
                <a:cubicBezTo>
                  <a:pt x="179" y="200"/>
                  <a:pt x="179" y="200"/>
                  <a:pt x="179" y="200"/>
                </a:cubicBezTo>
                <a:cubicBezTo>
                  <a:pt x="180" y="199"/>
                  <a:pt x="180" y="199"/>
                  <a:pt x="180" y="199"/>
                </a:cubicBezTo>
                <a:cubicBezTo>
                  <a:pt x="180" y="198"/>
                  <a:pt x="180" y="198"/>
                  <a:pt x="180" y="198"/>
                </a:cubicBezTo>
                <a:cubicBezTo>
                  <a:pt x="180" y="197"/>
                  <a:pt x="180" y="197"/>
                  <a:pt x="180" y="197"/>
                </a:cubicBezTo>
                <a:cubicBezTo>
                  <a:pt x="181" y="198"/>
                  <a:pt x="181" y="198"/>
                  <a:pt x="181" y="198"/>
                </a:cubicBezTo>
                <a:cubicBezTo>
                  <a:pt x="182" y="197"/>
                  <a:pt x="182" y="197"/>
                  <a:pt x="182" y="197"/>
                </a:cubicBezTo>
                <a:cubicBezTo>
                  <a:pt x="180" y="196"/>
                  <a:pt x="180" y="196"/>
                  <a:pt x="180" y="196"/>
                </a:cubicBezTo>
                <a:cubicBezTo>
                  <a:pt x="180" y="196"/>
                  <a:pt x="180" y="196"/>
                  <a:pt x="180" y="196"/>
                </a:cubicBezTo>
                <a:cubicBezTo>
                  <a:pt x="181" y="194"/>
                  <a:pt x="181" y="194"/>
                  <a:pt x="181" y="194"/>
                </a:cubicBezTo>
                <a:cubicBezTo>
                  <a:pt x="182" y="194"/>
                  <a:pt x="182" y="194"/>
                  <a:pt x="182" y="194"/>
                </a:cubicBezTo>
                <a:cubicBezTo>
                  <a:pt x="183" y="195"/>
                  <a:pt x="183" y="195"/>
                  <a:pt x="183" y="195"/>
                </a:cubicBezTo>
                <a:cubicBezTo>
                  <a:pt x="183" y="196"/>
                  <a:pt x="183" y="196"/>
                  <a:pt x="183" y="196"/>
                </a:cubicBezTo>
                <a:cubicBezTo>
                  <a:pt x="182" y="197"/>
                  <a:pt x="182" y="197"/>
                  <a:pt x="182" y="197"/>
                </a:cubicBezTo>
                <a:cubicBezTo>
                  <a:pt x="182" y="198"/>
                  <a:pt x="182" y="198"/>
                  <a:pt x="182" y="198"/>
                </a:cubicBezTo>
                <a:cubicBezTo>
                  <a:pt x="183" y="197"/>
                  <a:pt x="183" y="197"/>
                  <a:pt x="183" y="197"/>
                </a:cubicBezTo>
                <a:cubicBezTo>
                  <a:pt x="184" y="196"/>
                  <a:pt x="184" y="196"/>
                  <a:pt x="184" y="196"/>
                </a:cubicBezTo>
                <a:cubicBezTo>
                  <a:pt x="184" y="196"/>
                  <a:pt x="184" y="196"/>
                  <a:pt x="184" y="196"/>
                </a:cubicBezTo>
                <a:cubicBezTo>
                  <a:pt x="185" y="197"/>
                  <a:pt x="185" y="197"/>
                  <a:pt x="185" y="197"/>
                </a:cubicBezTo>
                <a:cubicBezTo>
                  <a:pt x="185" y="195"/>
                  <a:pt x="185" y="195"/>
                  <a:pt x="185" y="195"/>
                </a:cubicBezTo>
                <a:cubicBezTo>
                  <a:pt x="185" y="195"/>
                  <a:pt x="185" y="195"/>
                  <a:pt x="185" y="195"/>
                </a:cubicBezTo>
                <a:cubicBezTo>
                  <a:pt x="185" y="194"/>
                  <a:pt x="185" y="194"/>
                  <a:pt x="185" y="194"/>
                </a:cubicBezTo>
                <a:cubicBezTo>
                  <a:pt x="186" y="195"/>
                  <a:pt x="186" y="195"/>
                  <a:pt x="186" y="195"/>
                </a:cubicBezTo>
                <a:cubicBezTo>
                  <a:pt x="186" y="196"/>
                  <a:pt x="186" y="196"/>
                  <a:pt x="186" y="196"/>
                </a:cubicBezTo>
                <a:cubicBezTo>
                  <a:pt x="186" y="196"/>
                  <a:pt x="186" y="196"/>
                  <a:pt x="186" y="196"/>
                </a:cubicBezTo>
                <a:cubicBezTo>
                  <a:pt x="186" y="197"/>
                  <a:pt x="186" y="197"/>
                  <a:pt x="186" y="197"/>
                </a:cubicBezTo>
                <a:cubicBezTo>
                  <a:pt x="187" y="197"/>
                  <a:pt x="187" y="197"/>
                  <a:pt x="187" y="197"/>
                </a:cubicBezTo>
                <a:cubicBezTo>
                  <a:pt x="188" y="196"/>
                  <a:pt x="188" y="196"/>
                  <a:pt x="188" y="196"/>
                </a:cubicBezTo>
                <a:cubicBezTo>
                  <a:pt x="189" y="195"/>
                  <a:pt x="189" y="195"/>
                  <a:pt x="189" y="195"/>
                </a:cubicBezTo>
                <a:cubicBezTo>
                  <a:pt x="190" y="196"/>
                  <a:pt x="190" y="196"/>
                  <a:pt x="190" y="196"/>
                </a:cubicBezTo>
                <a:cubicBezTo>
                  <a:pt x="190" y="197"/>
                  <a:pt x="190" y="197"/>
                  <a:pt x="190" y="197"/>
                </a:cubicBezTo>
                <a:cubicBezTo>
                  <a:pt x="189" y="197"/>
                  <a:pt x="189" y="197"/>
                  <a:pt x="189" y="197"/>
                </a:cubicBezTo>
                <a:cubicBezTo>
                  <a:pt x="188" y="197"/>
                  <a:pt x="188" y="197"/>
                  <a:pt x="188" y="197"/>
                </a:cubicBezTo>
                <a:cubicBezTo>
                  <a:pt x="188" y="198"/>
                  <a:pt x="188" y="198"/>
                  <a:pt x="188" y="198"/>
                </a:cubicBezTo>
                <a:cubicBezTo>
                  <a:pt x="189" y="198"/>
                  <a:pt x="189" y="198"/>
                  <a:pt x="189" y="198"/>
                </a:cubicBezTo>
                <a:cubicBezTo>
                  <a:pt x="189" y="199"/>
                  <a:pt x="189" y="199"/>
                  <a:pt x="189" y="199"/>
                </a:cubicBezTo>
                <a:cubicBezTo>
                  <a:pt x="188" y="201"/>
                  <a:pt x="188" y="201"/>
                  <a:pt x="188" y="201"/>
                </a:cubicBezTo>
                <a:cubicBezTo>
                  <a:pt x="187" y="200"/>
                  <a:pt x="187" y="200"/>
                  <a:pt x="187" y="200"/>
                </a:cubicBezTo>
                <a:cubicBezTo>
                  <a:pt x="187" y="200"/>
                  <a:pt x="187" y="200"/>
                  <a:pt x="187" y="200"/>
                </a:cubicBezTo>
                <a:cubicBezTo>
                  <a:pt x="186" y="200"/>
                  <a:pt x="186" y="200"/>
                  <a:pt x="186" y="200"/>
                </a:cubicBezTo>
                <a:cubicBezTo>
                  <a:pt x="185" y="200"/>
                  <a:pt x="185" y="200"/>
                  <a:pt x="185" y="200"/>
                </a:cubicBezTo>
                <a:cubicBezTo>
                  <a:pt x="184" y="200"/>
                  <a:pt x="184" y="200"/>
                  <a:pt x="184" y="200"/>
                </a:cubicBezTo>
                <a:cubicBezTo>
                  <a:pt x="184" y="200"/>
                  <a:pt x="184" y="200"/>
                  <a:pt x="184" y="200"/>
                </a:cubicBezTo>
                <a:cubicBezTo>
                  <a:pt x="185" y="201"/>
                  <a:pt x="185" y="201"/>
                  <a:pt x="185" y="201"/>
                </a:cubicBezTo>
                <a:cubicBezTo>
                  <a:pt x="185" y="202"/>
                  <a:pt x="185" y="202"/>
                  <a:pt x="185" y="202"/>
                </a:cubicBezTo>
                <a:cubicBezTo>
                  <a:pt x="185" y="203"/>
                  <a:pt x="185" y="203"/>
                  <a:pt x="185" y="203"/>
                </a:cubicBezTo>
                <a:cubicBezTo>
                  <a:pt x="184" y="203"/>
                  <a:pt x="184" y="203"/>
                  <a:pt x="184" y="203"/>
                </a:cubicBezTo>
                <a:cubicBezTo>
                  <a:pt x="183" y="202"/>
                  <a:pt x="183" y="202"/>
                  <a:pt x="183" y="202"/>
                </a:cubicBezTo>
                <a:cubicBezTo>
                  <a:pt x="181" y="202"/>
                  <a:pt x="181" y="202"/>
                  <a:pt x="181" y="202"/>
                </a:cubicBezTo>
                <a:cubicBezTo>
                  <a:pt x="181" y="202"/>
                  <a:pt x="181" y="202"/>
                  <a:pt x="181" y="202"/>
                </a:cubicBezTo>
                <a:cubicBezTo>
                  <a:pt x="182" y="203"/>
                  <a:pt x="182" y="203"/>
                  <a:pt x="182" y="203"/>
                </a:cubicBezTo>
                <a:cubicBezTo>
                  <a:pt x="182" y="203"/>
                  <a:pt x="182" y="203"/>
                  <a:pt x="182" y="203"/>
                </a:cubicBezTo>
                <a:cubicBezTo>
                  <a:pt x="181" y="204"/>
                  <a:pt x="181" y="204"/>
                  <a:pt x="181" y="204"/>
                </a:cubicBezTo>
                <a:cubicBezTo>
                  <a:pt x="180" y="204"/>
                  <a:pt x="180" y="204"/>
                  <a:pt x="180" y="204"/>
                </a:cubicBezTo>
                <a:cubicBezTo>
                  <a:pt x="179" y="204"/>
                  <a:pt x="179" y="204"/>
                  <a:pt x="179" y="204"/>
                </a:cubicBezTo>
                <a:cubicBezTo>
                  <a:pt x="179" y="204"/>
                  <a:pt x="179" y="204"/>
                  <a:pt x="179" y="204"/>
                </a:cubicBezTo>
                <a:cubicBezTo>
                  <a:pt x="178" y="205"/>
                  <a:pt x="178" y="205"/>
                  <a:pt x="178" y="205"/>
                </a:cubicBezTo>
                <a:cubicBezTo>
                  <a:pt x="177" y="205"/>
                  <a:pt x="177" y="205"/>
                  <a:pt x="177" y="205"/>
                </a:cubicBezTo>
                <a:cubicBezTo>
                  <a:pt x="177" y="206"/>
                  <a:pt x="177" y="206"/>
                  <a:pt x="177" y="206"/>
                </a:cubicBezTo>
                <a:cubicBezTo>
                  <a:pt x="177" y="206"/>
                  <a:pt x="177" y="206"/>
                  <a:pt x="177" y="206"/>
                </a:cubicBezTo>
                <a:cubicBezTo>
                  <a:pt x="176" y="207"/>
                  <a:pt x="176" y="207"/>
                  <a:pt x="176" y="207"/>
                </a:cubicBezTo>
                <a:cubicBezTo>
                  <a:pt x="176" y="208"/>
                  <a:pt x="176" y="208"/>
                  <a:pt x="176" y="208"/>
                </a:cubicBezTo>
                <a:cubicBezTo>
                  <a:pt x="175" y="209"/>
                  <a:pt x="175" y="209"/>
                  <a:pt x="175" y="209"/>
                </a:cubicBezTo>
                <a:cubicBezTo>
                  <a:pt x="174" y="209"/>
                  <a:pt x="174" y="209"/>
                  <a:pt x="174" y="209"/>
                </a:cubicBezTo>
                <a:cubicBezTo>
                  <a:pt x="173" y="209"/>
                  <a:pt x="173" y="209"/>
                  <a:pt x="173" y="209"/>
                </a:cubicBezTo>
                <a:cubicBezTo>
                  <a:pt x="173" y="208"/>
                  <a:pt x="173" y="208"/>
                  <a:pt x="173" y="208"/>
                </a:cubicBezTo>
                <a:cubicBezTo>
                  <a:pt x="176" y="207"/>
                  <a:pt x="176" y="207"/>
                  <a:pt x="176" y="207"/>
                </a:cubicBezTo>
                <a:cubicBezTo>
                  <a:pt x="176" y="206"/>
                  <a:pt x="176" y="206"/>
                  <a:pt x="176" y="206"/>
                </a:cubicBezTo>
                <a:cubicBezTo>
                  <a:pt x="176" y="205"/>
                  <a:pt x="176" y="205"/>
                  <a:pt x="176" y="205"/>
                </a:cubicBezTo>
                <a:cubicBezTo>
                  <a:pt x="176" y="205"/>
                  <a:pt x="176" y="205"/>
                  <a:pt x="176" y="205"/>
                </a:cubicBezTo>
                <a:cubicBezTo>
                  <a:pt x="175" y="206"/>
                  <a:pt x="175" y="206"/>
                  <a:pt x="175" y="206"/>
                </a:cubicBezTo>
                <a:cubicBezTo>
                  <a:pt x="174" y="205"/>
                  <a:pt x="174" y="205"/>
                  <a:pt x="174" y="205"/>
                </a:cubicBezTo>
                <a:cubicBezTo>
                  <a:pt x="175" y="205"/>
                  <a:pt x="175" y="205"/>
                  <a:pt x="175" y="205"/>
                </a:cubicBezTo>
                <a:cubicBezTo>
                  <a:pt x="173" y="205"/>
                  <a:pt x="173" y="205"/>
                  <a:pt x="173" y="205"/>
                </a:cubicBezTo>
                <a:cubicBezTo>
                  <a:pt x="173" y="205"/>
                  <a:pt x="173" y="205"/>
                  <a:pt x="173" y="205"/>
                </a:cubicBezTo>
                <a:cubicBezTo>
                  <a:pt x="173" y="205"/>
                  <a:pt x="173" y="205"/>
                  <a:pt x="173" y="205"/>
                </a:cubicBezTo>
                <a:cubicBezTo>
                  <a:pt x="174" y="206"/>
                  <a:pt x="174" y="206"/>
                  <a:pt x="174" y="206"/>
                </a:cubicBezTo>
                <a:close/>
                <a:moveTo>
                  <a:pt x="171" y="211"/>
                </a:moveTo>
                <a:cubicBezTo>
                  <a:pt x="172" y="210"/>
                  <a:pt x="172" y="210"/>
                  <a:pt x="172" y="210"/>
                </a:cubicBezTo>
                <a:cubicBezTo>
                  <a:pt x="172" y="211"/>
                  <a:pt x="172" y="211"/>
                  <a:pt x="172" y="211"/>
                </a:cubicBezTo>
                <a:cubicBezTo>
                  <a:pt x="171" y="211"/>
                  <a:pt x="171" y="211"/>
                  <a:pt x="171" y="211"/>
                </a:cubicBezTo>
                <a:close/>
                <a:moveTo>
                  <a:pt x="168" y="212"/>
                </a:moveTo>
                <a:cubicBezTo>
                  <a:pt x="169" y="210"/>
                  <a:pt x="169" y="210"/>
                  <a:pt x="169" y="210"/>
                </a:cubicBezTo>
                <a:cubicBezTo>
                  <a:pt x="171" y="209"/>
                  <a:pt x="171" y="209"/>
                  <a:pt x="171" y="209"/>
                </a:cubicBezTo>
                <a:cubicBezTo>
                  <a:pt x="169" y="212"/>
                  <a:pt x="169" y="212"/>
                  <a:pt x="169" y="212"/>
                </a:cubicBezTo>
                <a:cubicBezTo>
                  <a:pt x="168" y="212"/>
                  <a:pt x="168" y="212"/>
                  <a:pt x="168" y="212"/>
                </a:cubicBezTo>
                <a:close/>
                <a:moveTo>
                  <a:pt x="159" y="219"/>
                </a:moveTo>
                <a:cubicBezTo>
                  <a:pt x="159" y="219"/>
                  <a:pt x="159" y="219"/>
                  <a:pt x="159" y="219"/>
                </a:cubicBezTo>
                <a:cubicBezTo>
                  <a:pt x="159" y="218"/>
                  <a:pt x="159" y="218"/>
                  <a:pt x="159" y="218"/>
                </a:cubicBezTo>
                <a:cubicBezTo>
                  <a:pt x="160" y="218"/>
                  <a:pt x="160" y="218"/>
                  <a:pt x="160" y="218"/>
                </a:cubicBezTo>
                <a:cubicBezTo>
                  <a:pt x="160" y="219"/>
                  <a:pt x="160" y="219"/>
                  <a:pt x="160" y="219"/>
                </a:cubicBezTo>
                <a:cubicBezTo>
                  <a:pt x="159" y="219"/>
                  <a:pt x="159" y="219"/>
                  <a:pt x="159" y="219"/>
                </a:cubicBezTo>
                <a:close/>
                <a:moveTo>
                  <a:pt x="154" y="208"/>
                </a:moveTo>
                <a:cubicBezTo>
                  <a:pt x="156" y="208"/>
                  <a:pt x="156" y="208"/>
                  <a:pt x="156" y="208"/>
                </a:cubicBezTo>
                <a:cubicBezTo>
                  <a:pt x="156" y="209"/>
                  <a:pt x="156" y="209"/>
                  <a:pt x="156" y="209"/>
                </a:cubicBezTo>
                <a:cubicBezTo>
                  <a:pt x="155" y="209"/>
                  <a:pt x="155" y="209"/>
                  <a:pt x="155" y="209"/>
                </a:cubicBezTo>
                <a:cubicBezTo>
                  <a:pt x="154" y="208"/>
                  <a:pt x="154" y="208"/>
                  <a:pt x="154" y="208"/>
                </a:cubicBezTo>
                <a:close/>
                <a:moveTo>
                  <a:pt x="130" y="219"/>
                </a:moveTo>
                <a:cubicBezTo>
                  <a:pt x="130" y="219"/>
                  <a:pt x="131" y="219"/>
                  <a:pt x="131" y="219"/>
                </a:cubicBezTo>
                <a:cubicBezTo>
                  <a:pt x="131" y="219"/>
                  <a:pt x="131" y="219"/>
                  <a:pt x="131" y="219"/>
                </a:cubicBezTo>
                <a:cubicBezTo>
                  <a:pt x="130" y="219"/>
                  <a:pt x="130" y="219"/>
                  <a:pt x="130" y="219"/>
                </a:cubicBezTo>
                <a:close/>
                <a:moveTo>
                  <a:pt x="129" y="219"/>
                </a:moveTo>
                <a:cubicBezTo>
                  <a:pt x="129" y="220"/>
                  <a:pt x="129" y="220"/>
                  <a:pt x="129" y="220"/>
                </a:cubicBezTo>
                <a:cubicBezTo>
                  <a:pt x="129" y="220"/>
                  <a:pt x="129" y="220"/>
                  <a:pt x="129" y="220"/>
                </a:cubicBezTo>
                <a:cubicBezTo>
                  <a:pt x="129" y="219"/>
                  <a:pt x="129" y="219"/>
                  <a:pt x="129" y="219"/>
                </a:cubicBezTo>
                <a:close/>
                <a:moveTo>
                  <a:pt x="134" y="224"/>
                </a:moveTo>
                <a:cubicBezTo>
                  <a:pt x="134" y="225"/>
                  <a:pt x="134" y="225"/>
                  <a:pt x="134" y="225"/>
                </a:cubicBezTo>
                <a:cubicBezTo>
                  <a:pt x="134" y="225"/>
                  <a:pt x="134" y="225"/>
                  <a:pt x="134" y="225"/>
                </a:cubicBezTo>
                <a:cubicBezTo>
                  <a:pt x="134" y="225"/>
                  <a:pt x="134" y="225"/>
                  <a:pt x="134" y="225"/>
                </a:cubicBezTo>
                <a:cubicBezTo>
                  <a:pt x="134" y="224"/>
                  <a:pt x="134" y="224"/>
                  <a:pt x="134" y="224"/>
                </a:cubicBezTo>
                <a:close/>
                <a:moveTo>
                  <a:pt x="133" y="224"/>
                </a:moveTo>
                <a:cubicBezTo>
                  <a:pt x="134" y="222"/>
                  <a:pt x="134" y="222"/>
                  <a:pt x="134" y="222"/>
                </a:cubicBezTo>
                <a:cubicBezTo>
                  <a:pt x="134" y="223"/>
                  <a:pt x="134" y="223"/>
                  <a:pt x="134" y="223"/>
                </a:cubicBezTo>
                <a:cubicBezTo>
                  <a:pt x="134" y="223"/>
                  <a:pt x="133" y="224"/>
                  <a:pt x="133" y="224"/>
                </a:cubicBezTo>
                <a:close/>
                <a:moveTo>
                  <a:pt x="128" y="225"/>
                </a:moveTo>
                <a:cubicBezTo>
                  <a:pt x="129" y="223"/>
                  <a:pt x="129" y="223"/>
                  <a:pt x="129" y="223"/>
                </a:cubicBezTo>
                <a:cubicBezTo>
                  <a:pt x="130" y="222"/>
                  <a:pt x="130" y="222"/>
                  <a:pt x="130" y="222"/>
                </a:cubicBezTo>
                <a:cubicBezTo>
                  <a:pt x="130" y="222"/>
                  <a:pt x="130" y="222"/>
                  <a:pt x="130" y="222"/>
                </a:cubicBezTo>
                <a:cubicBezTo>
                  <a:pt x="132" y="222"/>
                  <a:pt x="132" y="222"/>
                  <a:pt x="132" y="222"/>
                </a:cubicBezTo>
                <a:cubicBezTo>
                  <a:pt x="131" y="223"/>
                  <a:pt x="131" y="223"/>
                  <a:pt x="131" y="223"/>
                </a:cubicBezTo>
                <a:cubicBezTo>
                  <a:pt x="131" y="223"/>
                  <a:pt x="131" y="223"/>
                  <a:pt x="131" y="223"/>
                </a:cubicBezTo>
                <a:cubicBezTo>
                  <a:pt x="129" y="224"/>
                  <a:pt x="129" y="224"/>
                  <a:pt x="129" y="224"/>
                </a:cubicBezTo>
                <a:cubicBezTo>
                  <a:pt x="128" y="225"/>
                  <a:pt x="128" y="225"/>
                  <a:pt x="128" y="225"/>
                </a:cubicBezTo>
                <a:close/>
                <a:moveTo>
                  <a:pt x="126" y="221"/>
                </a:moveTo>
                <a:cubicBezTo>
                  <a:pt x="126" y="221"/>
                  <a:pt x="126" y="221"/>
                  <a:pt x="126" y="221"/>
                </a:cubicBezTo>
                <a:cubicBezTo>
                  <a:pt x="126" y="219"/>
                  <a:pt x="126" y="219"/>
                  <a:pt x="126" y="219"/>
                </a:cubicBezTo>
                <a:cubicBezTo>
                  <a:pt x="127" y="219"/>
                  <a:pt x="127" y="219"/>
                  <a:pt x="127" y="219"/>
                </a:cubicBezTo>
                <a:cubicBezTo>
                  <a:pt x="128" y="220"/>
                  <a:pt x="128" y="220"/>
                  <a:pt x="128" y="220"/>
                </a:cubicBezTo>
                <a:cubicBezTo>
                  <a:pt x="127" y="221"/>
                  <a:pt x="127" y="221"/>
                  <a:pt x="127" y="221"/>
                </a:cubicBezTo>
                <a:cubicBezTo>
                  <a:pt x="127" y="221"/>
                  <a:pt x="127" y="221"/>
                  <a:pt x="127" y="221"/>
                </a:cubicBezTo>
                <a:cubicBezTo>
                  <a:pt x="126" y="221"/>
                  <a:pt x="126" y="221"/>
                  <a:pt x="126" y="221"/>
                </a:cubicBezTo>
                <a:close/>
                <a:moveTo>
                  <a:pt x="120" y="221"/>
                </a:moveTo>
                <a:cubicBezTo>
                  <a:pt x="121" y="220"/>
                  <a:pt x="121" y="220"/>
                  <a:pt x="121" y="220"/>
                </a:cubicBezTo>
                <a:cubicBezTo>
                  <a:pt x="121" y="221"/>
                  <a:pt x="121" y="221"/>
                  <a:pt x="121" y="221"/>
                </a:cubicBezTo>
                <a:cubicBezTo>
                  <a:pt x="121" y="222"/>
                  <a:pt x="121" y="222"/>
                  <a:pt x="121" y="222"/>
                </a:cubicBezTo>
                <a:cubicBezTo>
                  <a:pt x="120" y="221"/>
                  <a:pt x="120" y="221"/>
                  <a:pt x="120" y="221"/>
                </a:cubicBezTo>
                <a:close/>
                <a:moveTo>
                  <a:pt x="116" y="224"/>
                </a:moveTo>
                <a:cubicBezTo>
                  <a:pt x="116" y="223"/>
                  <a:pt x="116" y="223"/>
                  <a:pt x="116" y="223"/>
                </a:cubicBezTo>
                <a:cubicBezTo>
                  <a:pt x="117" y="222"/>
                  <a:pt x="117" y="222"/>
                  <a:pt x="117" y="222"/>
                </a:cubicBezTo>
                <a:cubicBezTo>
                  <a:pt x="117" y="223"/>
                  <a:pt x="117" y="223"/>
                  <a:pt x="117" y="223"/>
                </a:cubicBezTo>
                <a:cubicBezTo>
                  <a:pt x="116" y="224"/>
                  <a:pt x="116" y="224"/>
                  <a:pt x="116" y="224"/>
                </a:cubicBezTo>
                <a:close/>
                <a:moveTo>
                  <a:pt x="112" y="227"/>
                </a:moveTo>
                <a:cubicBezTo>
                  <a:pt x="113" y="228"/>
                  <a:pt x="113" y="228"/>
                  <a:pt x="113" y="228"/>
                </a:cubicBezTo>
                <a:cubicBezTo>
                  <a:pt x="112" y="228"/>
                  <a:pt x="112" y="228"/>
                  <a:pt x="112" y="228"/>
                </a:cubicBezTo>
                <a:cubicBezTo>
                  <a:pt x="111" y="227"/>
                  <a:pt x="111" y="227"/>
                  <a:pt x="111" y="227"/>
                </a:cubicBezTo>
                <a:cubicBezTo>
                  <a:pt x="112" y="227"/>
                  <a:pt x="112" y="227"/>
                  <a:pt x="112" y="227"/>
                </a:cubicBezTo>
                <a:close/>
                <a:moveTo>
                  <a:pt x="1" y="248"/>
                </a:moveTo>
                <a:cubicBezTo>
                  <a:pt x="0" y="249"/>
                  <a:pt x="0" y="249"/>
                  <a:pt x="0" y="249"/>
                </a:cubicBezTo>
                <a:cubicBezTo>
                  <a:pt x="1" y="249"/>
                  <a:pt x="1" y="249"/>
                  <a:pt x="1" y="249"/>
                </a:cubicBezTo>
                <a:cubicBezTo>
                  <a:pt x="1" y="248"/>
                  <a:pt x="1" y="248"/>
                  <a:pt x="1" y="248"/>
                </a:cubicBezTo>
                <a:close/>
                <a:moveTo>
                  <a:pt x="2" y="245"/>
                </a:moveTo>
                <a:cubicBezTo>
                  <a:pt x="1" y="246"/>
                  <a:pt x="1" y="246"/>
                  <a:pt x="1" y="246"/>
                </a:cubicBezTo>
                <a:cubicBezTo>
                  <a:pt x="2" y="247"/>
                  <a:pt x="2" y="247"/>
                  <a:pt x="2" y="247"/>
                </a:cubicBezTo>
                <a:cubicBezTo>
                  <a:pt x="3" y="246"/>
                  <a:pt x="3" y="246"/>
                  <a:pt x="3" y="246"/>
                </a:cubicBezTo>
                <a:cubicBezTo>
                  <a:pt x="2" y="245"/>
                  <a:pt x="2" y="245"/>
                  <a:pt x="2" y="245"/>
                </a:cubicBezTo>
                <a:close/>
                <a:moveTo>
                  <a:pt x="3" y="243"/>
                </a:moveTo>
                <a:cubicBezTo>
                  <a:pt x="4" y="243"/>
                  <a:pt x="4" y="243"/>
                  <a:pt x="4" y="243"/>
                </a:cubicBezTo>
                <a:cubicBezTo>
                  <a:pt x="4" y="242"/>
                  <a:pt x="4" y="242"/>
                  <a:pt x="4" y="242"/>
                </a:cubicBezTo>
                <a:cubicBezTo>
                  <a:pt x="3" y="243"/>
                  <a:pt x="3" y="243"/>
                  <a:pt x="3" y="243"/>
                </a:cubicBezTo>
                <a:close/>
                <a:moveTo>
                  <a:pt x="11" y="244"/>
                </a:moveTo>
                <a:cubicBezTo>
                  <a:pt x="10" y="242"/>
                  <a:pt x="10" y="242"/>
                  <a:pt x="10" y="242"/>
                </a:cubicBezTo>
                <a:cubicBezTo>
                  <a:pt x="9" y="242"/>
                  <a:pt x="9" y="242"/>
                  <a:pt x="9" y="242"/>
                </a:cubicBezTo>
                <a:cubicBezTo>
                  <a:pt x="8" y="243"/>
                  <a:pt x="8" y="243"/>
                  <a:pt x="8" y="243"/>
                </a:cubicBezTo>
                <a:cubicBezTo>
                  <a:pt x="8" y="243"/>
                  <a:pt x="8" y="243"/>
                  <a:pt x="8" y="243"/>
                </a:cubicBezTo>
                <a:cubicBezTo>
                  <a:pt x="9" y="244"/>
                  <a:pt x="9" y="244"/>
                  <a:pt x="9" y="244"/>
                </a:cubicBezTo>
                <a:cubicBezTo>
                  <a:pt x="8" y="244"/>
                  <a:pt x="8" y="244"/>
                  <a:pt x="8" y="244"/>
                </a:cubicBezTo>
                <a:cubicBezTo>
                  <a:pt x="9" y="245"/>
                  <a:pt x="9" y="245"/>
                  <a:pt x="9" y="245"/>
                </a:cubicBezTo>
                <a:cubicBezTo>
                  <a:pt x="10" y="245"/>
                  <a:pt x="10" y="245"/>
                  <a:pt x="10" y="245"/>
                </a:cubicBezTo>
                <a:cubicBezTo>
                  <a:pt x="10" y="244"/>
                  <a:pt x="10" y="244"/>
                  <a:pt x="10" y="244"/>
                </a:cubicBezTo>
                <a:cubicBezTo>
                  <a:pt x="11" y="244"/>
                  <a:pt x="11" y="244"/>
                  <a:pt x="11" y="244"/>
                </a:cubicBezTo>
                <a:close/>
                <a:moveTo>
                  <a:pt x="12" y="246"/>
                </a:moveTo>
                <a:cubicBezTo>
                  <a:pt x="13" y="246"/>
                  <a:pt x="13" y="246"/>
                  <a:pt x="13" y="246"/>
                </a:cubicBezTo>
                <a:cubicBezTo>
                  <a:pt x="14" y="245"/>
                  <a:pt x="14" y="245"/>
                  <a:pt x="14" y="245"/>
                </a:cubicBezTo>
                <a:cubicBezTo>
                  <a:pt x="14" y="244"/>
                  <a:pt x="14" y="244"/>
                  <a:pt x="14" y="244"/>
                </a:cubicBezTo>
                <a:cubicBezTo>
                  <a:pt x="15" y="243"/>
                  <a:pt x="15" y="243"/>
                  <a:pt x="15" y="243"/>
                </a:cubicBezTo>
                <a:cubicBezTo>
                  <a:pt x="14" y="243"/>
                  <a:pt x="14" y="243"/>
                  <a:pt x="14" y="243"/>
                </a:cubicBezTo>
                <a:cubicBezTo>
                  <a:pt x="13" y="244"/>
                  <a:pt x="13" y="244"/>
                  <a:pt x="13" y="244"/>
                </a:cubicBezTo>
                <a:cubicBezTo>
                  <a:pt x="13" y="245"/>
                  <a:pt x="13" y="245"/>
                  <a:pt x="13" y="245"/>
                </a:cubicBezTo>
                <a:cubicBezTo>
                  <a:pt x="12" y="246"/>
                  <a:pt x="12" y="246"/>
                  <a:pt x="12" y="246"/>
                </a:cubicBezTo>
                <a:close/>
                <a:moveTo>
                  <a:pt x="18" y="245"/>
                </a:moveTo>
                <a:cubicBezTo>
                  <a:pt x="18" y="243"/>
                  <a:pt x="18" y="243"/>
                  <a:pt x="18" y="243"/>
                </a:cubicBezTo>
                <a:cubicBezTo>
                  <a:pt x="17" y="243"/>
                  <a:pt x="17" y="243"/>
                  <a:pt x="17" y="243"/>
                </a:cubicBezTo>
                <a:cubicBezTo>
                  <a:pt x="17" y="245"/>
                  <a:pt x="17" y="245"/>
                  <a:pt x="17" y="245"/>
                </a:cubicBezTo>
                <a:cubicBezTo>
                  <a:pt x="16" y="245"/>
                  <a:pt x="16" y="245"/>
                  <a:pt x="16" y="245"/>
                </a:cubicBezTo>
                <a:cubicBezTo>
                  <a:pt x="16" y="246"/>
                  <a:pt x="16" y="246"/>
                  <a:pt x="16" y="246"/>
                </a:cubicBezTo>
                <a:cubicBezTo>
                  <a:pt x="17" y="246"/>
                  <a:pt x="17" y="246"/>
                  <a:pt x="17" y="246"/>
                </a:cubicBezTo>
                <a:cubicBezTo>
                  <a:pt x="18" y="245"/>
                  <a:pt x="18" y="245"/>
                  <a:pt x="18" y="245"/>
                </a:cubicBezTo>
                <a:close/>
                <a:moveTo>
                  <a:pt x="33" y="245"/>
                </a:moveTo>
                <a:cubicBezTo>
                  <a:pt x="33" y="244"/>
                  <a:pt x="33" y="244"/>
                  <a:pt x="33" y="244"/>
                </a:cubicBezTo>
                <a:cubicBezTo>
                  <a:pt x="34" y="243"/>
                  <a:pt x="34" y="243"/>
                  <a:pt x="34" y="243"/>
                </a:cubicBezTo>
                <a:cubicBezTo>
                  <a:pt x="34" y="242"/>
                  <a:pt x="34" y="242"/>
                  <a:pt x="34" y="242"/>
                </a:cubicBezTo>
                <a:cubicBezTo>
                  <a:pt x="33" y="241"/>
                  <a:pt x="33" y="241"/>
                  <a:pt x="33" y="241"/>
                </a:cubicBezTo>
                <a:cubicBezTo>
                  <a:pt x="32" y="242"/>
                  <a:pt x="32" y="242"/>
                  <a:pt x="32" y="242"/>
                </a:cubicBezTo>
                <a:cubicBezTo>
                  <a:pt x="32" y="243"/>
                  <a:pt x="32" y="243"/>
                  <a:pt x="32" y="243"/>
                </a:cubicBezTo>
                <a:cubicBezTo>
                  <a:pt x="31" y="243"/>
                  <a:pt x="31" y="243"/>
                  <a:pt x="31" y="243"/>
                </a:cubicBezTo>
                <a:cubicBezTo>
                  <a:pt x="31" y="243"/>
                  <a:pt x="31" y="243"/>
                  <a:pt x="31" y="243"/>
                </a:cubicBezTo>
                <a:cubicBezTo>
                  <a:pt x="30" y="244"/>
                  <a:pt x="30" y="244"/>
                  <a:pt x="30" y="244"/>
                </a:cubicBezTo>
                <a:cubicBezTo>
                  <a:pt x="29" y="244"/>
                  <a:pt x="29" y="244"/>
                  <a:pt x="29" y="244"/>
                </a:cubicBezTo>
                <a:cubicBezTo>
                  <a:pt x="28" y="244"/>
                  <a:pt x="28" y="244"/>
                  <a:pt x="28" y="244"/>
                </a:cubicBezTo>
                <a:cubicBezTo>
                  <a:pt x="28" y="244"/>
                  <a:pt x="28" y="244"/>
                  <a:pt x="28" y="244"/>
                </a:cubicBezTo>
                <a:cubicBezTo>
                  <a:pt x="28" y="245"/>
                  <a:pt x="28" y="245"/>
                  <a:pt x="28" y="245"/>
                </a:cubicBezTo>
                <a:cubicBezTo>
                  <a:pt x="29" y="245"/>
                  <a:pt x="29" y="245"/>
                  <a:pt x="29" y="245"/>
                </a:cubicBezTo>
                <a:cubicBezTo>
                  <a:pt x="30" y="245"/>
                  <a:pt x="30" y="245"/>
                  <a:pt x="30" y="245"/>
                </a:cubicBezTo>
                <a:cubicBezTo>
                  <a:pt x="32" y="244"/>
                  <a:pt x="32" y="244"/>
                  <a:pt x="32" y="244"/>
                </a:cubicBezTo>
                <a:cubicBezTo>
                  <a:pt x="33" y="245"/>
                  <a:pt x="33" y="245"/>
                  <a:pt x="33" y="245"/>
                </a:cubicBezTo>
                <a:close/>
                <a:moveTo>
                  <a:pt x="36" y="245"/>
                </a:moveTo>
                <a:cubicBezTo>
                  <a:pt x="39" y="246"/>
                  <a:pt x="39" y="246"/>
                  <a:pt x="39" y="246"/>
                </a:cubicBezTo>
                <a:cubicBezTo>
                  <a:pt x="39" y="245"/>
                  <a:pt x="39" y="245"/>
                  <a:pt x="39" y="245"/>
                </a:cubicBezTo>
                <a:cubicBezTo>
                  <a:pt x="40" y="246"/>
                  <a:pt x="40" y="246"/>
                  <a:pt x="40" y="246"/>
                </a:cubicBezTo>
                <a:cubicBezTo>
                  <a:pt x="39" y="247"/>
                  <a:pt x="39" y="247"/>
                  <a:pt x="39" y="247"/>
                </a:cubicBezTo>
                <a:cubicBezTo>
                  <a:pt x="36" y="246"/>
                  <a:pt x="36" y="246"/>
                  <a:pt x="36" y="246"/>
                </a:cubicBezTo>
                <a:cubicBezTo>
                  <a:pt x="35" y="246"/>
                  <a:pt x="35" y="246"/>
                  <a:pt x="35" y="246"/>
                </a:cubicBezTo>
                <a:cubicBezTo>
                  <a:pt x="34" y="245"/>
                  <a:pt x="34" y="245"/>
                  <a:pt x="34" y="245"/>
                </a:cubicBezTo>
                <a:cubicBezTo>
                  <a:pt x="34" y="245"/>
                  <a:pt x="36" y="245"/>
                  <a:pt x="36" y="245"/>
                </a:cubicBezTo>
                <a:close/>
                <a:moveTo>
                  <a:pt x="46" y="244"/>
                </a:moveTo>
                <a:cubicBezTo>
                  <a:pt x="45" y="243"/>
                  <a:pt x="45" y="243"/>
                  <a:pt x="45" y="243"/>
                </a:cubicBezTo>
                <a:cubicBezTo>
                  <a:pt x="43" y="243"/>
                  <a:pt x="43" y="243"/>
                  <a:pt x="43" y="243"/>
                </a:cubicBezTo>
                <a:cubicBezTo>
                  <a:pt x="43" y="244"/>
                  <a:pt x="43" y="244"/>
                  <a:pt x="43" y="244"/>
                </a:cubicBezTo>
                <a:cubicBezTo>
                  <a:pt x="45" y="244"/>
                  <a:pt x="45" y="244"/>
                  <a:pt x="45" y="244"/>
                </a:cubicBezTo>
                <a:cubicBezTo>
                  <a:pt x="46" y="244"/>
                  <a:pt x="46" y="244"/>
                  <a:pt x="46" y="244"/>
                </a:cubicBezTo>
                <a:close/>
                <a:moveTo>
                  <a:pt x="53" y="243"/>
                </a:moveTo>
                <a:cubicBezTo>
                  <a:pt x="52" y="241"/>
                  <a:pt x="52" y="241"/>
                  <a:pt x="52" y="241"/>
                </a:cubicBezTo>
                <a:cubicBezTo>
                  <a:pt x="52" y="243"/>
                  <a:pt x="52" y="243"/>
                  <a:pt x="52" y="243"/>
                </a:cubicBezTo>
                <a:cubicBezTo>
                  <a:pt x="53" y="243"/>
                  <a:pt x="53" y="243"/>
                  <a:pt x="53" y="243"/>
                </a:cubicBezTo>
                <a:close/>
                <a:moveTo>
                  <a:pt x="58" y="241"/>
                </a:moveTo>
                <a:cubicBezTo>
                  <a:pt x="56" y="240"/>
                  <a:pt x="56" y="240"/>
                  <a:pt x="56" y="240"/>
                </a:cubicBezTo>
                <a:cubicBezTo>
                  <a:pt x="55" y="241"/>
                  <a:pt x="55" y="241"/>
                  <a:pt x="55" y="241"/>
                </a:cubicBezTo>
                <a:cubicBezTo>
                  <a:pt x="55" y="242"/>
                  <a:pt x="55" y="242"/>
                  <a:pt x="55" y="242"/>
                </a:cubicBezTo>
                <a:cubicBezTo>
                  <a:pt x="57" y="241"/>
                  <a:pt x="57" y="241"/>
                  <a:pt x="57" y="241"/>
                </a:cubicBezTo>
                <a:cubicBezTo>
                  <a:pt x="58" y="241"/>
                  <a:pt x="58" y="241"/>
                  <a:pt x="58" y="241"/>
                </a:cubicBezTo>
                <a:close/>
                <a:moveTo>
                  <a:pt x="61" y="241"/>
                </a:moveTo>
                <a:cubicBezTo>
                  <a:pt x="60" y="240"/>
                  <a:pt x="60" y="240"/>
                  <a:pt x="60" y="240"/>
                </a:cubicBezTo>
                <a:cubicBezTo>
                  <a:pt x="59" y="241"/>
                  <a:pt x="59" y="241"/>
                  <a:pt x="59" y="241"/>
                </a:cubicBezTo>
                <a:cubicBezTo>
                  <a:pt x="60" y="241"/>
                  <a:pt x="60" y="241"/>
                  <a:pt x="60" y="241"/>
                </a:cubicBezTo>
                <a:cubicBezTo>
                  <a:pt x="61" y="241"/>
                  <a:pt x="61" y="241"/>
                  <a:pt x="61" y="241"/>
                </a:cubicBezTo>
                <a:close/>
                <a:moveTo>
                  <a:pt x="61" y="239"/>
                </a:moveTo>
                <a:cubicBezTo>
                  <a:pt x="61" y="238"/>
                  <a:pt x="61" y="238"/>
                  <a:pt x="61" y="238"/>
                </a:cubicBezTo>
                <a:cubicBezTo>
                  <a:pt x="60" y="239"/>
                  <a:pt x="60" y="239"/>
                  <a:pt x="60" y="239"/>
                </a:cubicBezTo>
                <a:cubicBezTo>
                  <a:pt x="61" y="239"/>
                  <a:pt x="61" y="239"/>
                  <a:pt x="61" y="239"/>
                </a:cubicBezTo>
                <a:close/>
                <a:moveTo>
                  <a:pt x="61" y="240"/>
                </a:moveTo>
                <a:cubicBezTo>
                  <a:pt x="62" y="240"/>
                  <a:pt x="62" y="240"/>
                  <a:pt x="62" y="240"/>
                </a:cubicBezTo>
                <a:cubicBezTo>
                  <a:pt x="63" y="240"/>
                  <a:pt x="63" y="240"/>
                  <a:pt x="63" y="240"/>
                </a:cubicBezTo>
                <a:cubicBezTo>
                  <a:pt x="63" y="239"/>
                  <a:pt x="63" y="239"/>
                  <a:pt x="63" y="239"/>
                </a:cubicBezTo>
                <a:cubicBezTo>
                  <a:pt x="61" y="240"/>
                  <a:pt x="61" y="240"/>
                  <a:pt x="61" y="240"/>
                </a:cubicBezTo>
                <a:close/>
                <a:moveTo>
                  <a:pt x="76" y="233"/>
                </a:moveTo>
                <a:cubicBezTo>
                  <a:pt x="76" y="234"/>
                  <a:pt x="76" y="234"/>
                  <a:pt x="76" y="234"/>
                </a:cubicBezTo>
                <a:cubicBezTo>
                  <a:pt x="77" y="234"/>
                  <a:pt x="77" y="234"/>
                  <a:pt x="77" y="234"/>
                </a:cubicBezTo>
                <a:cubicBezTo>
                  <a:pt x="76" y="235"/>
                  <a:pt x="76" y="235"/>
                  <a:pt x="76" y="235"/>
                </a:cubicBezTo>
                <a:cubicBezTo>
                  <a:pt x="75" y="236"/>
                  <a:pt x="75" y="236"/>
                  <a:pt x="75" y="236"/>
                </a:cubicBezTo>
                <a:cubicBezTo>
                  <a:pt x="74" y="237"/>
                  <a:pt x="74" y="237"/>
                  <a:pt x="74" y="237"/>
                </a:cubicBezTo>
                <a:cubicBezTo>
                  <a:pt x="72" y="239"/>
                  <a:pt x="72" y="239"/>
                  <a:pt x="72" y="239"/>
                </a:cubicBezTo>
                <a:cubicBezTo>
                  <a:pt x="70" y="239"/>
                  <a:pt x="70" y="239"/>
                  <a:pt x="70" y="239"/>
                </a:cubicBezTo>
                <a:cubicBezTo>
                  <a:pt x="69" y="241"/>
                  <a:pt x="69" y="241"/>
                  <a:pt x="69" y="241"/>
                </a:cubicBezTo>
                <a:cubicBezTo>
                  <a:pt x="66" y="241"/>
                  <a:pt x="66" y="241"/>
                  <a:pt x="66" y="241"/>
                </a:cubicBezTo>
                <a:cubicBezTo>
                  <a:pt x="67" y="240"/>
                  <a:pt x="67" y="240"/>
                  <a:pt x="67" y="240"/>
                </a:cubicBezTo>
                <a:cubicBezTo>
                  <a:pt x="68" y="240"/>
                  <a:pt x="68" y="240"/>
                  <a:pt x="68" y="240"/>
                </a:cubicBezTo>
                <a:cubicBezTo>
                  <a:pt x="69" y="238"/>
                  <a:pt x="69" y="238"/>
                  <a:pt x="69" y="238"/>
                </a:cubicBezTo>
                <a:cubicBezTo>
                  <a:pt x="70" y="238"/>
                  <a:pt x="70" y="238"/>
                  <a:pt x="70" y="238"/>
                </a:cubicBezTo>
                <a:cubicBezTo>
                  <a:pt x="70" y="237"/>
                  <a:pt x="70" y="237"/>
                  <a:pt x="70" y="237"/>
                </a:cubicBezTo>
                <a:cubicBezTo>
                  <a:pt x="71" y="236"/>
                  <a:pt x="71" y="236"/>
                  <a:pt x="71" y="236"/>
                </a:cubicBezTo>
                <a:cubicBezTo>
                  <a:pt x="73" y="236"/>
                  <a:pt x="73" y="236"/>
                  <a:pt x="73" y="236"/>
                </a:cubicBezTo>
                <a:cubicBezTo>
                  <a:pt x="73" y="234"/>
                  <a:pt x="73" y="234"/>
                  <a:pt x="73" y="234"/>
                </a:cubicBezTo>
                <a:cubicBezTo>
                  <a:pt x="73" y="234"/>
                  <a:pt x="73" y="234"/>
                  <a:pt x="73" y="234"/>
                </a:cubicBezTo>
                <a:cubicBezTo>
                  <a:pt x="75" y="234"/>
                  <a:pt x="75" y="234"/>
                  <a:pt x="75" y="234"/>
                </a:cubicBezTo>
                <a:cubicBezTo>
                  <a:pt x="75" y="234"/>
                  <a:pt x="76" y="233"/>
                  <a:pt x="76" y="233"/>
                </a:cubicBezTo>
                <a:close/>
                <a:moveTo>
                  <a:pt x="86" y="229"/>
                </a:moveTo>
                <a:cubicBezTo>
                  <a:pt x="85" y="229"/>
                  <a:pt x="85" y="229"/>
                  <a:pt x="85" y="229"/>
                </a:cubicBezTo>
                <a:cubicBezTo>
                  <a:pt x="84" y="230"/>
                  <a:pt x="84" y="230"/>
                  <a:pt x="84" y="230"/>
                </a:cubicBezTo>
                <a:cubicBezTo>
                  <a:pt x="84" y="231"/>
                  <a:pt x="84" y="231"/>
                  <a:pt x="84" y="231"/>
                </a:cubicBezTo>
                <a:cubicBezTo>
                  <a:pt x="85" y="232"/>
                  <a:pt x="85" y="232"/>
                  <a:pt x="85" y="232"/>
                </a:cubicBezTo>
                <a:cubicBezTo>
                  <a:pt x="85" y="232"/>
                  <a:pt x="85" y="232"/>
                  <a:pt x="85" y="232"/>
                </a:cubicBezTo>
                <a:cubicBezTo>
                  <a:pt x="83" y="232"/>
                  <a:pt x="83" y="232"/>
                  <a:pt x="83" y="232"/>
                </a:cubicBezTo>
                <a:cubicBezTo>
                  <a:pt x="82" y="232"/>
                  <a:pt x="82" y="232"/>
                  <a:pt x="82" y="232"/>
                </a:cubicBezTo>
                <a:cubicBezTo>
                  <a:pt x="82" y="233"/>
                  <a:pt x="82" y="233"/>
                  <a:pt x="82" y="233"/>
                </a:cubicBezTo>
                <a:cubicBezTo>
                  <a:pt x="82" y="233"/>
                  <a:pt x="82" y="233"/>
                  <a:pt x="82" y="233"/>
                </a:cubicBezTo>
                <a:cubicBezTo>
                  <a:pt x="81" y="235"/>
                  <a:pt x="81" y="235"/>
                  <a:pt x="81" y="235"/>
                </a:cubicBezTo>
                <a:cubicBezTo>
                  <a:pt x="80" y="235"/>
                  <a:pt x="80" y="235"/>
                  <a:pt x="80" y="235"/>
                </a:cubicBezTo>
                <a:cubicBezTo>
                  <a:pt x="78" y="236"/>
                  <a:pt x="78" y="236"/>
                  <a:pt x="78" y="236"/>
                </a:cubicBezTo>
                <a:cubicBezTo>
                  <a:pt x="77" y="236"/>
                  <a:pt x="77" y="236"/>
                  <a:pt x="77" y="236"/>
                </a:cubicBezTo>
                <a:cubicBezTo>
                  <a:pt x="77" y="236"/>
                  <a:pt x="77" y="236"/>
                  <a:pt x="77" y="236"/>
                </a:cubicBezTo>
                <a:cubicBezTo>
                  <a:pt x="77" y="237"/>
                  <a:pt x="77" y="237"/>
                  <a:pt x="77" y="237"/>
                </a:cubicBezTo>
                <a:cubicBezTo>
                  <a:pt x="79" y="237"/>
                  <a:pt x="79" y="237"/>
                  <a:pt x="79" y="237"/>
                </a:cubicBezTo>
                <a:cubicBezTo>
                  <a:pt x="81" y="236"/>
                  <a:pt x="81" y="236"/>
                  <a:pt x="81" y="236"/>
                </a:cubicBezTo>
                <a:cubicBezTo>
                  <a:pt x="82" y="235"/>
                  <a:pt x="82" y="235"/>
                  <a:pt x="82" y="235"/>
                </a:cubicBezTo>
                <a:cubicBezTo>
                  <a:pt x="83" y="236"/>
                  <a:pt x="83" y="236"/>
                  <a:pt x="83" y="236"/>
                </a:cubicBezTo>
                <a:cubicBezTo>
                  <a:pt x="83" y="236"/>
                  <a:pt x="83" y="236"/>
                  <a:pt x="83" y="236"/>
                </a:cubicBezTo>
                <a:cubicBezTo>
                  <a:pt x="84" y="235"/>
                  <a:pt x="84" y="235"/>
                  <a:pt x="84" y="235"/>
                </a:cubicBezTo>
                <a:cubicBezTo>
                  <a:pt x="84" y="234"/>
                  <a:pt x="84" y="234"/>
                  <a:pt x="84" y="234"/>
                </a:cubicBezTo>
                <a:cubicBezTo>
                  <a:pt x="85" y="234"/>
                  <a:pt x="85" y="234"/>
                  <a:pt x="85" y="234"/>
                </a:cubicBezTo>
                <a:cubicBezTo>
                  <a:pt x="85" y="235"/>
                  <a:pt x="85" y="235"/>
                  <a:pt x="85" y="235"/>
                </a:cubicBezTo>
                <a:cubicBezTo>
                  <a:pt x="86" y="235"/>
                  <a:pt x="86" y="235"/>
                  <a:pt x="86" y="235"/>
                </a:cubicBezTo>
                <a:cubicBezTo>
                  <a:pt x="87" y="233"/>
                  <a:pt x="87" y="233"/>
                  <a:pt x="87" y="233"/>
                </a:cubicBezTo>
                <a:cubicBezTo>
                  <a:pt x="88" y="233"/>
                  <a:pt x="88" y="233"/>
                  <a:pt x="88" y="233"/>
                </a:cubicBezTo>
                <a:cubicBezTo>
                  <a:pt x="88" y="232"/>
                  <a:pt x="88" y="232"/>
                  <a:pt x="88" y="232"/>
                </a:cubicBezTo>
                <a:cubicBezTo>
                  <a:pt x="87" y="232"/>
                  <a:pt x="87" y="232"/>
                  <a:pt x="87" y="232"/>
                </a:cubicBezTo>
                <a:cubicBezTo>
                  <a:pt x="89" y="231"/>
                  <a:pt x="89" y="231"/>
                  <a:pt x="89" y="231"/>
                </a:cubicBezTo>
                <a:cubicBezTo>
                  <a:pt x="88" y="230"/>
                  <a:pt x="88" y="230"/>
                  <a:pt x="88" y="230"/>
                </a:cubicBezTo>
                <a:cubicBezTo>
                  <a:pt x="87" y="229"/>
                  <a:pt x="87" y="229"/>
                  <a:pt x="87" y="229"/>
                </a:cubicBezTo>
                <a:cubicBezTo>
                  <a:pt x="86" y="229"/>
                  <a:pt x="86" y="229"/>
                  <a:pt x="86" y="229"/>
                </a:cubicBezTo>
                <a:close/>
                <a:moveTo>
                  <a:pt x="90" y="230"/>
                </a:moveTo>
                <a:cubicBezTo>
                  <a:pt x="90" y="230"/>
                  <a:pt x="90" y="230"/>
                  <a:pt x="90" y="230"/>
                </a:cubicBezTo>
                <a:cubicBezTo>
                  <a:pt x="89" y="229"/>
                  <a:pt x="89" y="229"/>
                  <a:pt x="89" y="229"/>
                </a:cubicBezTo>
                <a:cubicBezTo>
                  <a:pt x="89" y="230"/>
                  <a:pt x="89" y="230"/>
                  <a:pt x="89" y="230"/>
                </a:cubicBezTo>
                <a:cubicBezTo>
                  <a:pt x="90" y="230"/>
                  <a:pt x="90" y="230"/>
                  <a:pt x="90" y="230"/>
                </a:cubicBezTo>
                <a:close/>
                <a:moveTo>
                  <a:pt x="97" y="229"/>
                </a:moveTo>
                <a:cubicBezTo>
                  <a:pt x="97" y="229"/>
                  <a:pt x="97" y="229"/>
                  <a:pt x="97" y="229"/>
                </a:cubicBezTo>
                <a:cubicBezTo>
                  <a:pt x="98" y="229"/>
                  <a:pt x="98" y="229"/>
                  <a:pt x="98" y="229"/>
                </a:cubicBezTo>
                <a:cubicBezTo>
                  <a:pt x="98" y="230"/>
                  <a:pt x="98" y="230"/>
                  <a:pt x="98" y="230"/>
                </a:cubicBezTo>
                <a:cubicBezTo>
                  <a:pt x="97" y="230"/>
                  <a:pt x="97" y="230"/>
                  <a:pt x="97" y="230"/>
                </a:cubicBezTo>
                <a:cubicBezTo>
                  <a:pt x="97" y="229"/>
                  <a:pt x="97" y="229"/>
                  <a:pt x="97" y="229"/>
                </a:cubicBezTo>
                <a:close/>
                <a:moveTo>
                  <a:pt x="95" y="230"/>
                </a:moveTo>
                <a:cubicBezTo>
                  <a:pt x="95" y="229"/>
                  <a:pt x="95" y="229"/>
                  <a:pt x="95" y="229"/>
                </a:cubicBezTo>
                <a:cubicBezTo>
                  <a:pt x="96" y="230"/>
                  <a:pt x="96" y="230"/>
                  <a:pt x="96" y="230"/>
                </a:cubicBezTo>
                <a:cubicBezTo>
                  <a:pt x="95" y="230"/>
                  <a:pt x="95" y="230"/>
                  <a:pt x="95" y="230"/>
                </a:cubicBezTo>
                <a:close/>
                <a:moveTo>
                  <a:pt x="94" y="229"/>
                </a:moveTo>
                <a:cubicBezTo>
                  <a:pt x="94" y="228"/>
                  <a:pt x="94" y="228"/>
                  <a:pt x="94" y="228"/>
                </a:cubicBezTo>
                <a:cubicBezTo>
                  <a:pt x="94" y="227"/>
                  <a:pt x="94" y="227"/>
                  <a:pt x="94" y="227"/>
                </a:cubicBezTo>
                <a:cubicBezTo>
                  <a:pt x="95" y="227"/>
                  <a:pt x="95" y="227"/>
                  <a:pt x="95" y="227"/>
                </a:cubicBezTo>
                <a:cubicBezTo>
                  <a:pt x="95" y="228"/>
                  <a:pt x="95" y="228"/>
                  <a:pt x="95" y="228"/>
                </a:cubicBezTo>
                <a:cubicBezTo>
                  <a:pt x="94" y="229"/>
                  <a:pt x="94" y="229"/>
                  <a:pt x="94" y="229"/>
                </a:cubicBezTo>
                <a:close/>
                <a:moveTo>
                  <a:pt x="92" y="227"/>
                </a:moveTo>
                <a:cubicBezTo>
                  <a:pt x="91" y="228"/>
                  <a:pt x="91" y="228"/>
                  <a:pt x="91" y="228"/>
                </a:cubicBezTo>
                <a:cubicBezTo>
                  <a:pt x="91" y="229"/>
                  <a:pt x="91" y="229"/>
                  <a:pt x="91" y="229"/>
                </a:cubicBezTo>
                <a:cubicBezTo>
                  <a:pt x="92" y="230"/>
                  <a:pt x="92" y="230"/>
                  <a:pt x="92" y="230"/>
                </a:cubicBezTo>
                <a:cubicBezTo>
                  <a:pt x="93" y="229"/>
                  <a:pt x="93" y="229"/>
                  <a:pt x="93" y="229"/>
                </a:cubicBezTo>
                <a:cubicBezTo>
                  <a:pt x="93" y="228"/>
                  <a:pt x="93" y="228"/>
                  <a:pt x="93" y="228"/>
                </a:cubicBezTo>
                <a:cubicBezTo>
                  <a:pt x="92" y="228"/>
                  <a:pt x="92" y="228"/>
                  <a:pt x="92" y="228"/>
                </a:cubicBezTo>
                <a:cubicBezTo>
                  <a:pt x="92" y="227"/>
                  <a:pt x="92" y="227"/>
                  <a:pt x="92" y="227"/>
                </a:cubicBezTo>
                <a:close/>
                <a:moveTo>
                  <a:pt x="150" y="176"/>
                </a:moveTo>
                <a:cubicBezTo>
                  <a:pt x="149" y="176"/>
                  <a:pt x="149" y="176"/>
                  <a:pt x="149" y="176"/>
                </a:cubicBezTo>
                <a:cubicBezTo>
                  <a:pt x="151" y="175"/>
                  <a:pt x="151" y="175"/>
                  <a:pt x="151" y="175"/>
                </a:cubicBezTo>
                <a:cubicBezTo>
                  <a:pt x="150" y="176"/>
                  <a:pt x="150" y="176"/>
                  <a:pt x="150" y="176"/>
                </a:cubicBezTo>
                <a:cubicBezTo>
                  <a:pt x="150" y="176"/>
                  <a:pt x="150" y="176"/>
                  <a:pt x="150" y="176"/>
                </a:cubicBezTo>
                <a:close/>
                <a:moveTo>
                  <a:pt x="147" y="177"/>
                </a:moveTo>
                <a:cubicBezTo>
                  <a:pt x="147" y="177"/>
                  <a:pt x="147" y="177"/>
                  <a:pt x="147" y="177"/>
                </a:cubicBezTo>
                <a:cubicBezTo>
                  <a:pt x="147" y="176"/>
                  <a:pt x="147" y="176"/>
                  <a:pt x="147" y="176"/>
                </a:cubicBezTo>
                <a:cubicBezTo>
                  <a:pt x="148" y="175"/>
                  <a:pt x="148" y="175"/>
                  <a:pt x="148" y="175"/>
                </a:cubicBezTo>
                <a:cubicBezTo>
                  <a:pt x="149" y="174"/>
                  <a:pt x="149" y="174"/>
                  <a:pt x="149" y="174"/>
                </a:cubicBezTo>
                <a:cubicBezTo>
                  <a:pt x="149" y="175"/>
                  <a:pt x="149" y="175"/>
                  <a:pt x="149" y="175"/>
                </a:cubicBezTo>
                <a:cubicBezTo>
                  <a:pt x="148" y="176"/>
                  <a:pt x="148" y="176"/>
                  <a:pt x="148" y="176"/>
                </a:cubicBezTo>
                <a:cubicBezTo>
                  <a:pt x="147" y="177"/>
                  <a:pt x="147" y="177"/>
                  <a:pt x="147" y="177"/>
                </a:cubicBezTo>
                <a:close/>
                <a:moveTo>
                  <a:pt x="99" y="225"/>
                </a:moveTo>
                <a:cubicBezTo>
                  <a:pt x="100" y="223"/>
                  <a:pt x="100" y="223"/>
                  <a:pt x="100" y="223"/>
                </a:cubicBezTo>
                <a:cubicBezTo>
                  <a:pt x="100" y="223"/>
                  <a:pt x="100" y="223"/>
                  <a:pt x="100" y="223"/>
                </a:cubicBezTo>
                <a:cubicBezTo>
                  <a:pt x="101" y="223"/>
                  <a:pt x="101" y="223"/>
                  <a:pt x="101" y="223"/>
                </a:cubicBezTo>
                <a:cubicBezTo>
                  <a:pt x="102" y="222"/>
                  <a:pt x="102" y="222"/>
                  <a:pt x="102" y="222"/>
                </a:cubicBezTo>
                <a:cubicBezTo>
                  <a:pt x="102" y="222"/>
                  <a:pt x="102" y="222"/>
                  <a:pt x="102" y="222"/>
                </a:cubicBezTo>
                <a:cubicBezTo>
                  <a:pt x="103" y="220"/>
                  <a:pt x="103" y="220"/>
                  <a:pt x="103" y="220"/>
                </a:cubicBezTo>
                <a:cubicBezTo>
                  <a:pt x="104" y="220"/>
                  <a:pt x="104" y="220"/>
                  <a:pt x="104" y="220"/>
                </a:cubicBezTo>
                <a:cubicBezTo>
                  <a:pt x="105" y="221"/>
                  <a:pt x="105" y="221"/>
                  <a:pt x="105" y="221"/>
                </a:cubicBezTo>
                <a:cubicBezTo>
                  <a:pt x="105" y="220"/>
                  <a:pt x="105" y="220"/>
                  <a:pt x="105" y="220"/>
                </a:cubicBezTo>
                <a:cubicBezTo>
                  <a:pt x="107" y="221"/>
                  <a:pt x="107" y="221"/>
                  <a:pt x="107" y="221"/>
                </a:cubicBezTo>
                <a:cubicBezTo>
                  <a:pt x="108" y="220"/>
                  <a:pt x="108" y="220"/>
                  <a:pt x="108" y="220"/>
                </a:cubicBezTo>
                <a:cubicBezTo>
                  <a:pt x="108" y="220"/>
                  <a:pt x="108" y="220"/>
                  <a:pt x="108" y="220"/>
                </a:cubicBezTo>
                <a:cubicBezTo>
                  <a:pt x="110" y="220"/>
                  <a:pt x="110" y="220"/>
                  <a:pt x="110" y="220"/>
                </a:cubicBezTo>
                <a:cubicBezTo>
                  <a:pt x="110" y="221"/>
                  <a:pt x="110" y="221"/>
                  <a:pt x="110" y="221"/>
                </a:cubicBezTo>
                <a:cubicBezTo>
                  <a:pt x="110" y="222"/>
                  <a:pt x="110" y="222"/>
                  <a:pt x="110" y="222"/>
                </a:cubicBezTo>
                <a:cubicBezTo>
                  <a:pt x="112" y="223"/>
                  <a:pt x="112" y="223"/>
                  <a:pt x="112" y="223"/>
                </a:cubicBezTo>
                <a:cubicBezTo>
                  <a:pt x="112" y="224"/>
                  <a:pt x="112" y="224"/>
                  <a:pt x="112" y="224"/>
                </a:cubicBezTo>
                <a:cubicBezTo>
                  <a:pt x="110" y="224"/>
                  <a:pt x="110" y="224"/>
                  <a:pt x="110" y="224"/>
                </a:cubicBezTo>
                <a:cubicBezTo>
                  <a:pt x="109" y="225"/>
                  <a:pt x="109" y="225"/>
                  <a:pt x="109" y="225"/>
                </a:cubicBezTo>
                <a:cubicBezTo>
                  <a:pt x="107" y="225"/>
                  <a:pt x="107" y="225"/>
                  <a:pt x="107" y="225"/>
                </a:cubicBezTo>
                <a:cubicBezTo>
                  <a:pt x="106" y="224"/>
                  <a:pt x="106" y="224"/>
                  <a:pt x="106" y="224"/>
                </a:cubicBezTo>
                <a:cubicBezTo>
                  <a:pt x="103" y="224"/>
                  <a:pt x="103" y="224"/>
                  <a:pt x="103" y="224"/>
                </a:cubicBezTo>
                <a:cubicBezTo>
                  <a:pt x="102" y="226"/>
                  <a:pt x="102" y="226"/>
                  <a:pt x="102" y="226"/>
                </a:cubicBezTo>
                <a:cubicBezTo>
                  <a:pt x="102" y="226"/>
                  <a:pt x="102" y="226"/>
                  <a:pt x="102" y="226"/>
                </a:cubicBezTo>
                <a:cubicBezTo>
                  <a:pt x="101" y="226"/>
                  <a:pt x="101" y="226"/>
                  <a:pt x="101" y="226"/>
                </a:cubicBezTo>
                <a:cubicBezTo>
                  <a:pt x="100" y="226"/>
                  <a:pt x="100" y="226"/>
                  <a:pt x="100" y="226"/>
                </a:cubicBezTo>
                <a:lnTo>
                  <a:pt x="99" y="225"/>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3" name="Freeform 171">
            <a:extLst>
              <a:ext uri="{FF2B5EF4-FFF2-40B4-BE49-F238E27FC236}">
                <a16:creationId xmlns:a16="http://schemas.microsoft.com/office/drawing/2014/main" id="{6E1BCBA6-4DC1-3C57-70CD-9D13C7A8245A}"/>
              </a:ext>
            </a:extLst>
          </p:cNvPr>
          <p:cNvSpPr>
            <a:spLocks/>
          </p:cNvSpPr>
          <p:nvPr userDrawn="1"/>
        </p:nvSpPr>
        <p:spPr bwMode="auto">
          <a:xfrm>
            <a:off x="8168741" y="8133631"/>
            <a:ext cx="19049" cy="12702"/>
          </a:xfrm>
          <a:custGeom>
            <a:avLst/>
            <a:gdLst>
              <a:gd name="T0" fmla="*/ 6 w 6"/>
              <a:gd name="T1" fmla="*/ 0 h 4"/>
              <a:gd name="T2" fmla="*/ 3 w 6"/>
              <a:gd name="T3" fmla="*/ 0 h 4"/>
              <a:gd name="T4" fmla="*/ 0 w 6"/>
              <a:gd name="T5" fmla="*/ 4 h 4"/>
              <a:gd name="T6" fmla="*/ 3 w 6"/>
              <a:gd name="T7" fmla="*/ 4 h 4"/>
              <a:gd name="T8" fmla="*/ 6 w 6"/>
              <a:gd name="T9" fmla="*/ 0 h 4"/>
            </a:gdLst>
            <a:ahLst/>
            <a:cxnLst>
              <a:cxn ang="0">
                <a:pos x="T0" y="T1"/>
              </a:cxn>
              <a:cxn ang="0">
                <a:pos x="T2" y="T3"/>
              </a:cxn>
              <a:cxn ang="0">
                <a:pos x="T4" y="T5"/>
              </a:cxn>
              <a:cxn ang="0">
                <a:pos x="T6" y="T7"/>
              </a:cxn>
              <a:cxn ang="0">
                <a:pos x="T8" y="T9"/>
              </a:cxn>
            </a:cxnLst>
            <a:rect l="0" t="0" r="r" b="b"/>
            <a:pathLst>
              <a:path w="6" h="4">
                <a:moveTo>
                  <a:pt x="6" y="0"/>
                </a:moveTo>
                <a:lnTo>
                  <a:pt x="3" y="0"/>
                </a:lnTo>
                <a:lnTo>
                  <a:pt x="0" y="4"/>
                </a:lnTo>
                <a:lnTo>
                  <a:pt x="3" y="4"/>
                </a:lnTo>
                <a:lnTo>
                  <a:pt x="6"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4" name="Freeform 172">
            <a:extLst>
              <a:ext uri="{FF2B5EF4-FFF2-40B4-BE49-F238E27FC236}">
                <a16:creationId xmlns:a16="http://schemas.microsoft.com/office/drawing/2014/main" id="{B30FBD93-DEBC-EF1E-658A-A3FB3C890D7B}"/>
              </a:ext>
            </a:extLst>
          </p:cNvPr>
          <p:cNvSpPr>
            <a:spLocks/>
          </p:cNvSpPr>
          <p:nvPr userDrawn="1"/>
        </p:nvSpPr>
        <p:spPr bwMode="auto">
          <a:xfrm>
            <a:off x="8356051" y="8193957"/>
            <a:ext cx="139693" cy="60326"/>
          </a:xfrm>
          <a:custGeom>
            <a:avLst/>
            <a:gdLst>
              <a:gd name="T0" fmla="*/ 6 w 44"/>
              <a:gd name="T1" fmla="*/ 0 h 19"/>
              <a:gd name="T2" fmla="*/ 9 w 44"/>
              <a:gd name="T3" fmla="*/ 0 h 19"/>
              <a:gd name="T4" fmla="*/ 16 w 44"/>
              <a:gd name="T5" fmla="*/ 0 h 19"/>
              <a:gd name="T6" fmla="*/ 31 w 44"/>
              <a:gd name="T7" fmla="*/ 0 h 19"/>
              <a:gd name="T8" fmla="*/ 34 w 44"/>
              <a:gd name="T9" fmla="*/ 6 h 19"/>
              <a:gd name="T10" fmla="*/ 41 w 44"/>
              <a:gd name="T11" fmla="*/ 6 h 19"/>
              <a:gd name="T12" fmla="*/ 44 w 44"/>
              <a:gd name="T13" fmla="*/ 10 h 19"/>
              <a:gd name="T14" fmla="*/ 44 w 44"/>
              <a:gd name="T15" fmla="*/ 13 h 19"/>
              <a:gd name="T16" fmla="*/ 38 w 44"/>
              <a:gd name="T17" fmla="*/ 13 h 19"/>
              <a:gd name="T18" fmla="*/ 34 w 44"/>
              <a:gd name="T19" fmla="*/ 13 h 19"/>
              <a:gd name="T20" fmla="*/ 31 w 44"/>
              <a:gd name="T21" fmla="*/ 16 h 19"/>
              <a:gd name="T22" fmla="*/ 31 w 44"/>
              <a:gd name="T23" fmla="*/ 16 h 19"/>
              <a:gd name="T24" fmla="*/ 28 w 44"/>
              <a:gd name="T25" fmla="*/ 13 h 19"/>
              <a:gd name="T26" fmla="*/ 25 w 44"/>
              <a:gd name="T27" fmla="*/ 13 h 19"/>
              <a:gd name="T28" fmla="*/ 25 w 44"/>
              <a:gd name="T29" fmla="*/ 19 h 19"/>
              <a:gd name="T30" fmla="*/ 22 w 44"/>
              <a:gd name="T31" fmla="*/ 16 h 19"/>
              <a:gd name="T32" fmla="*/ 19 w 44"/>
              <a:gd name="T33" fmla="*/ 16 h 19"/>
              <a:gd name="T34" fmla="*/ 13 w 44"/>
              <a:gd name="T35" fmla="*/ 16 h 19"/>
              <a:gd name="T36" fmla="*/ 9 w 44"/>
              <a:gd name="T37" fmla="*/ 13 h 19"/>
              <a:gd name="T38" fmla="*/ 9 w 44"/>
              <a:gd name="T39" fmla="*/ 6 h 19"/>
              <a:gd name="T40" fmla="*/ 6 w 44"/>
              <a:gd name="T41" fmla="*/ 6 h 19"/>
              <a:gd name="T42" fmla="*/ 3 w 44"/>
              <a:gd name="T43" fmla="*/ 6 h 19"/>
              <a:gd name="T44" fmla="*/ 0 w 44"/>
              <a:gd name="T45" fmla="*/ 3 h 19"/>
              <a:gd name="T46" fmla="*/ 3 w 44"/>
              <a:gd name="T47" fmla="*/ 0 h 19"/>
              <a:gd name="T48" fmla="*/ 6 w 44"/>
              <a:gd name="T4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19">
                <a:moveTo>
                  <a:pt x="6" y="0"/>
                </a:moveTo>
                <a:lnTo>
                  <a:pt x="9" y="0"/>
                </a:lnTo>
                <a:lnTo>
                  <a:pt x="16" y="0"/>
                </a:lnTo>
                <a:lnTo>
                  <a:pt x="31" y="0"/>
                </a:lnTo>
                <a:lnTo>
                  <a:pt x="34" y="6"/>
                </a:lnTo>
                <a:lnTo>
                  <a:pt x="41" y="6"/>
                </a:lnTo>
                <a:lnTo>
                  <a:pt x="44" y="10"/>
                </a:lnTo>
                <a:lnTo>
                  <a:pt x="44" y="13"/>
                </a:lnTo>
                <a:lnTo>
                  <a:pt x="38" y="13"/>
                </a:lnTo>
                <a:lnTo>
                  <a:pt x="34" y="13"/>
                </a:lnTo>
                <a:lnTo>
                  <a:pt x="31" y="16"/>
                </a:lnTo>
                <a:lnTo>
                  <a:pt x="31" y="16"/>
                </a:lnTo>
                <a:lnTo>
                  <a:pt x="28" y="13"/>
                </a:lnTo>
                <a:lnTo>
                  <a:pt x="25" y="13"/>
                </a:lnTo>
                <a:lnTo>
                  <a:pt x="25" y="19"/>
                </a:lnTo>
                <a:lnTo>
                  <a:pt x="22" y="16"/>
                </a:lnTo>
                <a:lnTo>
                  <a:pt x="19" y="16"/>
                </a:lnTo>
                <a:lnTo>
                  <a:pt x="13" y="16"/>
                </a:lnTo>
                <a:lnTo>
                  <a:pt x="9" y="13"/>
                </a:lnTo>
                <a:lnTo>
                  <a:pt x="9" y="6"/>
                </a:lnTo>
                <a:lnTo>
                  <a:pt x="6" y="6"/>
                </a:lnTo>
                <a:lnTo>
                  <a:pt x="3" y="6"/>
                </a:lnTo>
                <a:lnTo>
                  <a:pt x="0" y="3"/>
                </a:lnTo>
                <a:lnTo>
                  <a:pt x="3" y="0"/>
                </a:lnTo>
                <a:lnTo>
                  <a:pt x="6"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5" name="Freeform 173">
            <a:extLst>
              <a:ext uri="{FF2B5EF4-FFF2-40B4-BE49-F238E27FC236}">
                <a16:creationId xmlns:a16="http://schemas.microsoft.com/office/drawing/2014/main" id="{583C1B08-E6C0-599B-A719-1F568E64D1BC}"/>
              </a:ext>
            </a:extLst>
          </p:cNvPr>
          <p:cNvSpPr>
            <a:spLocks noEditPoints="1"/>
          </p:cNvSpPr>
          <p:nvPr userDrawn="1"/>
        </p:nvSpPr>
        <p:spPr bwMode="auto">
          <a:xfrm>
            <a:off x="8603687" y="8086005"/>
            <a:ext cx="168267" cy="139702"/>
          </a:xfrm>
          <a:custGeom>
            <a:avLst/>
            <a:gdLst>
              <a:gd name="T0" fmla="*/ 15 w 17"/>
              <a:gd name="T1" fmla="*/ 13 h 14"/>
              <a:gd name="T2" fmla="*/ 16 w 17"/>
              <a:gd name="T3" fmla="*/ 10 h 14"/>
              <a:gd name="T4" fmla="*/ 16 w 17"/>
              <a:gd name="T5" fmla="*/ 8 h 14"/>
              <a:gd name="T6" fmla="*/ 17 w 17"/>
              <a:gd name="T7" fmla="*/ 7 h 14"/>
              <a:gd name="T8" fmla="*/ 17 w 17"/>
              <a:gd name="T9" fmla="*/ 5 h 14"/>
              <a:gd name="T10" fmla="*/ 17 w 17"/>
              <a:gd name="T11" fmla="*/ 3 h 14"/>
              <a:gd name="T12" fmla="*/ 16 w 17"/>
              <a:gd name="T13" fmla="*/ 3 h 14"/>
              <a:gd name="T14" fmla="*/ 14 w 17"/>
              <a:gd name="T15" fmla="*/ 2 h 14"/>
              <a:gd name="T16" fmla="*/ 10 w 17"/>
              <a:gd name="T17" fmla="*/ 2 h 14"/>
              <a:gd name="T18" fmla="*/ 7 w 17"/>
              <a:gd name="T19" fmla="*/ 2 h 14"/>
              <a:gd name="T20" fmla="*/ 8 w 17"/>
              <a:gd name="T21" fmla="*/ 3 h 14"/>
              <a:gd name="T22" fmla="*/ 11 w 17"/>
              <a:gd name="T23" fmla="*/ 5 h 14"/>
              <a:gd name="T24" fmla="*/ 11 w 17"/>
              <a:gd name="T25" fmla="*/ 7 h 14"/>
              <a:gd name="T26" fmla="*/ 13 w 17"/>
              <a:gd name="T27" fmla="*/ 9 h 14"/>
              <a:gd name="T28" fmla="*/ 14 w 17"/>
              <a:gd name="T29" fmla="*/ 11 h 14"/>
              <a:gd name="T30" fmla="*/ 11 w 17"/>
              <a:gd name="T31" fmla="*/ 11 h 14"/>
              <a:gd name="T32" fmla="*/ 8 w 17"/>
              <a:gd name="T33" fmla="*/ 11 h 14"/>
              <a:gd name="T34" fmla="*/ 5 w 17"/>
              <a:gd name="T35" fmla="*/ 11 h 14"/>
              <a:gd name="T36" fmla="*/ 5 w 17"/>
              <a:gd name="T37" fmla="*/ 10 h 14"/>
              <a:gd name="T38" fmla="*/ 2 w 17"/>
              <a:gd name="T39" fmla="*/ 10 h 14"/>
              <a:gd name="T40" fmla="*/ 0 w 17"/>
              <a:gd name="T41" fmla="*/ 11 h 14"/>
              <a:gd name="T42" fmla="*/ 2 w 17"/>
              <a:gd name="T43" fmla="*/ 12 h 14"/>
              <a:gd name="T44" fmla="*/ 4 w 17"/>
              <a:gd name="T45" fmla="*/ 14 h 14"/>
              <a:gd name="T46" fmla="*/ 5 w 17"/>
              <a:gd name="T47" fmla="*/ 13 h 14"/>
              <a:gd name="T48" fmla="*/ 9 w 17"/>
              <a:gd name="T49" fmla="*/ 13 h 14"/>
              <a:gd name="T50" fmla="*/ 13 w 17"/>
              <a:gd name="T51" fmla="*/ 13 h 14"/>
              <a:gd name="T52" fmla="*/ 15 w 17"/>
              <a:gd name="T53" fmla="*/ 14 h 14"/>
              <a:gd name="T54" fmla="*/ 11 w 17"/>
              <a:gd name="T55" fmla="*/ 0 h 14"/>
              <a:gd name="T56" fmla="*/ 11 w 17"/>
              <a:gd name="T57" fmla="*/ 1 h 14"/>
              <a:gd name="T58" fmla="*/ 7 w 17"/>
              <a:gd name="T59" fmla="*/ 8 h 14"/>
              <a:gd name="T60" fmla="*/ 10 w 17"/>
              <a:gd name="T61" fmla="*/ 8 h 14"/>
              <a:gd name="T62" fmla="*/ 8 w 17"/>
              <a:gd name="T63"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14">
                <a:moveTo>
                  <a:pt x="15" y="14"/>
                </a:moveTo>
                <a:cubicBezTo>
                  <a:pt x="15" y="13"/>
                  <a:pt x="15" y="13"/>
                  <a:pt x="15" y="13"/>
                </a:cubicBezTo>
                <a:cubicBezTo>
                  <a:pt x="16" y="11"/>
                  <a:pt x="16" y="11"/>
                  <a:pt x="16" y="11"/>
                </a:cubicBezTo>
                <a:cubicBezTo>
                  <a:pt x="16" y="10"/>
                  <a:pt x="16" y="10"/>
                  <a:pt x="16" y="10"/>
                </a:cubicBezTo>
                <a:cubicBezTo>
                  <a:pt x="16" y="9"/>
                  <a:pt x="16" y="9"/>
                  <a:pt x="16" y="9"/>
                </a:cubicBezTo>
                <a:cubicBezTo>
                  <a:pt x="16" y="8"/>
                  <a:pt x="16" y="8"/>
                  <a:pt x="16" y="8"/>
                </a:cubicBezTo>
                <a:cubicBezTo>
                  <a:pt x="16" y="8"/>
                  <a:pt x="16" y="8"/>
                  <a:pt x="16" y="8"/>
                </a:cubicBezTo>
                <a:cubicBezTo>
                  <a:pt x="17" y="7"/>
                  <a:pt x="17" y="7"/>
                  <a:pt x="17" y="7"/>
                </a:cubicBezTo>
                <a:cubicBezTo>
                  <a:pt x="17" y="6"/>
                  <a:pt x="17" y="6"/>
                  <a:pt x="17" y="6"/>
                </a:cubicBezTo>
                <a:cubicBezTo>
                  <a:pt x="17" y="5"/>
                  <a:pt x="17" y="5"/>
                  <a:pt x="17" y="5"/>
                </a:cubicBezTo>
                <a:cubicBezTo>
                  <a:pt x="17" y="4"/>
                  <a:pt x="17" y="4"/>
                  <a:pt x="17" y="4"/>
                </a:cubicBezTo>
                <a:cubicBezTo>
                  <a:pt x="17" y="3"/>
                  <a:pt x="17" y="3"/>
                  <a:pt x="17" y="3"/>
                </a:cubicBezTo>
                <a:cubicBezTo>
                  <a:pt x="17" y="3"/>
                  <a:pt x="17" y="3"/>
                  <a:pt x="17" y="3"/>
                </a:cubicBezTo>
                <a:cubicBezTo>
                  <a:pt x="16" y="3"/>
                  <a:pt x="16" y="3"/>
                  <a:pt x="16" y="3"/>
                </a:cubicBezTo>
                <a:cubicBezTo>
                  <a:pt x="15" y="3"/>
                  <a:pt x="15" y="3"/>
                  <a:pt x="15" y="3"/>
                </a:cubicBezTo>
                <a:cubicBezTo>
                  <a:pt x="14" y="2"/>
                  <a:pt x="14" y="2"/>
                  <a:pt x="14" y="2"/>
                </a:cubicBezTo>
                <a:cubicBezTo>
                  <a:pt x="11" y="2"/>
                  <a:pt x="11" y="2"/>
                  <a:pt x="11" y="2"/>
                </a:cubicBezTo>
                <a:cubicBezTo>
                  <a:pt x="10" y="2"/>
                  <a:pt x="10" y="2"/>
                  <a:pt x="10" y="2"/>
                </a:cubicBezTo>
                <a:cubicBezTo>
                  <a:pt x="9" y="2"/>
                  <a:pt x="9" y="2"/>
                  <a:pt x="9" y="2"/>
                </a:cubicBezTo>
                <a:cubicBezTo>
                  <a:pt x="7" y="2"/>
                  <a:pt x="7" y="2"/>
                  <a:pt x="7" y="2"/>
                </a:cubicBezTo>
                <a:cubicBezTo>
                  <a:pt x="7" y="2"/>
                  <a:pt x="7" y="2"/>
                  <a:pt x="7" y="2"/>
                </a:cubicBezTo>
                <a:cubicBezTo>
                  <a:pt x="7" y="2"/>
                  <a:pt x="8" y="3"/>
                  <a:pt x="8" y="3"/>
                </a:cubicBezTo>
                <a:cubicBezTo>
                  <a:pt x="11" y="4"/>
                  <a:pt x="11" y="4"/>
                  <a:pt x="11" y="4"/>
                </a:cubicBezTo>
                <a:cubicBezTo>
                  <a:pt x="11" y="5"/>
                  <a:pt x="11" y="5"/>
                  <a:pt x="11" y="5"/>
                </a:cubicBezTo>
                <a:cubicBezTo>
                  <a:pt x="11" y="6"/>
                  <a:pt x="11" y="6"/>
                  <a:pt x="11" y="6"/>
                </a:cubicBezTo>
                <a:cubicBezTo>
                  <a:pt x="11" y="7"/>
                  <a:pt x="11" y="7"/>
                  <a:pt x="11" y="7"/>
                </a:cubicBezTo>
                <a:cubicBezTo>
                  <a:pt x="11" y="8"/>
                  <a:pt x="11" y="8"/>
                  <a:pt x="11" y="8"/>
                </a:cubicBezTo>
                <a:cubicBezTo>
                  <a:pt x="13" y="9"/>
                  <a:pt x="13" y="9"/>
                  <a:pt x="13" y="9"/>
                </a:cubicBezTo>
                <a:cubicBezTo>
                  <a:pt x="14" y="10"/>
                  <a:pt x="14" y="10"/>
                  <a:pt x="14" y="10"/>
                </a:cubicBezTo>
                <a:cubicBezTo>
                  <a:pt x="14" y="11"/>
                  <a:pt x="14" y="11"/>
                  <a:pt x="14" y="11"/>
                </a:cubicBezTo>
                <a:cubicBezTo>
                  <a:pt x="11" y="11"/>
                  <a:pt x="11" y="11"/>
                  <a:pt x="11" y="11"/>
                </a:cubicBezTo>
                <a:cubicBezTo>
                  <a:pt x="11" y="11"/>
                  <a:pt x="11" y="11"/>
                  <a:pt x="11" y="11"/>
                </a:cubicBezTo>
                <a:cubicBezTo>
                  <a:pt x="9" y="11"/>
                  <a:pt x="9" y="11"/>
                  <a:pt x="9" y="11"/>
                </a:cubicBezTo>
                <a:cubicBezTo>
                  <a:pt x="8" y="11"/>
                  <a:pt x="8" y="11"/>
                  <a:pt x="8" y="11"/>
                </a:cubicBezTo>
                <a:cubicBezTo>
                  <a:pt x="7" y="10"/>
                  <a:pt x="7" y="10"/>
                  <a:pt x="7" y="10"/>
                </a:cubicBezTo>
                <a:cubicBezTo>
                  <a:pt x="5" y="11"/>
                  <a:pt x="5" y="11"/>
                  <a:pt x="5" y="11"/>
                </a:cubicBezTo>
                <a:cubicBezTo>
                  <a:pt x="5" y="10"/>
                  <a:pt x="5" y="10"/>
                  <a:pt x="5" y="10"/>
                </a:cubicBezTo>
                <a:cubicBezTo>
                  <a:pt x="5" y="10"/>
                  <a:pt x="5" y="10"/>
                  <a:pt x="5" y="10"/>
                </a:cubicBezTo>
                <a:cubicBezTo>
                  <a:pt x="3" y="11"/>
                  <a:pt x="3" y="11"/>
                  <a:pt x="3" y="11"/>
                </a:cubicBezTo>
                <a:cubicBezTo>
                  <a:pt x="2" y="10"/>
                  <a:pt x="2" y="10"/>
                  <a:pt x="2" y="10"/>
                </a:cubicBezTo>
                <a:cubicBezTo>
                  <a:pt x="0" y="10"/>
                  <a:pt x="0" y="10"/>
                  <a:pt x="0" y="10"/>
                </a:cubicBezTo>
                <a:cubicBezTo>
                  <a:pt x="0" y="11"/>
                  <a:pt x="0" y="11"/>
                  <a:pt x="0" y="11"/>
                </a:cubicBezTo>
                <a:cubicBezTo>
                  <a:pt x="0" y="12"/>
                  <a:pt x="0" y="12"/>
                  <a:pt x="0" y="12"/>
                </a:cubicBezTo>
                <a:cubicBezTo>
                  <a:pt x="2" y="12"/>
                  <a:pt x="2" y="12"/>
                  <a:pt x="2" y="12"/>
                </a:cubicBezTo>
                <a:cubicBezTo>
                  <a:pt x="3" y="14"/>
                  <a:pt x="3" y="14"/>
                  <a:pt x="3" y="14"/>
                </a:cubicBezTo>
                <a:cubicBezTo>
                  <a:pt x="4" y="14"/>
                  <a:pt x="4" y="14"/>
                  <a:pt x="4" y="14"/>
                </a:cubicBezTo>
                <a:cubicBezTo>
                  <a:pt x="4" y="13"/>
                  <a:pt x="4" y="13"/>
                  <a:pt x="4" y="13"/>
                </a:cubicBezTo>
                <a:cubicBezTo>
                  <a:pt x="5" y="13"/>
                  <a:pt x="5" y="13"/>
                  <a:pt x="5" y="13"/>
                </a:cubicBezTo>
                <a:cubicBezTo>
                  <a:pt x="7" y="13"/>
                  <a:pt x="7" y="13"/>
                  <a:pt x="7" y="13"/>
                </a:cubicBezTo>
                <a:cubicBezTo>
                  <a:pt x="9" y="13"/>
                  <a:pt x="9" y="13"/>
                  <a:pt x="9" y="13"/>
                </a:cubicBezTo>
                <a:cubicBezTo>
                  <a:pt x="12" y="13"/>
                  <a:pt x="12" y="13"/>
                  <a:pt x="12" y="13"/>
                </a:cubicBezTo>
                <a:cubicBezTo>
                  <a:pt x="13" y="13"/>
                  <a:pt x="13" y="13"/>
                  <a:pt x="13" y="13"/>
                </a:cubicBezTo>
                <a:cubicBezTo>
                  <a:pt x="14" y="13"/>
                  <a:pt x="14" y="13"/>
                  <a:pt x="14" y="13"/>
                </a:cubicBezTo>
                <a:cubicBezTo>
                  <a:pt x="15" y="14"/>
                  <a:pt x="15" y="14"/>
                  <a:pt x="15" y="14"/>
                </a:cubicBezTo>
                <a:close/>
                <a:moveTo>
                  <a:pt x="10" y="0"/>
                </a:moveTo>
                <a:cubicBezTo>
                  <a:pt x="11" y="0"/>
                  <a:pt x="11" y="0"/>
                  <a:pt x="11" y="0"/>
                </a:cubicBezTo>
                <a:cubicBezTo>
                  <a:pt x="13" y="1"/>
                  <a:pt x="13" y="1"/>
                  <a:pt x="13" y="1"/>
                </a:cubicBezTo>
                <a:cubicBezTo>
                  <a:pt x="11" y="1"/>
                  <a:pt x="11" y="1"/>
                  <a:pt x="11" y="1"/>
                </a:cubicBezTo>
                <a:cubicBezTo>
                  <a:pt x="10" y="0"/>
                  <a:pt x="10" y="0"/>
                  <a:pt x="10" y="0"/>
                </a:cubicBezTo>
                <a:close/>
                <a:moveTo>
                  <a:pt x="7" y="8"/>
                </a:moveTo>
                <a:cubicBezTo>
                  <a:pt x="9" y="7"/>
                  <a:pt x="9" y="7"/>
                  <a:pt x="9" y="7"/>
                </a:cubicBezTo>
                <a:cubicBezTo>
                  <a:pt x="10" y="8"/>
                  <a:pt x="10" y="8"/>
                  <a:pt x="10" y="8"/>
                </a:cubicBezTo>
                <a:cubicBezTo>
                  <a:pt x="10" y="9"/>
                  <a:pt x="10" y="9"/>
                  <a:pt x="10" y="9"/>
                </a:cubicBezTo>
                <a:cubicBezTo>
                  <a:pt x="8" y="9"/>
                  <a:pt x="8" y="9"/>
                  <a:pt x="8" y="9"/>
                </a:cubicBezTo>
                <a:lnTo>
                  <a:pt x="7" y="8"/>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6" name="Freeform 174">
            <a:extLst>
              <a:ext uri="{FF2B5EF4-FFF2-40B4-BE49-F238E27FC236}">
                <a16:creationId xmlns:a16="http://schemas.microsoft.com/office/drawing/2014/main" id="{68F24B00-3D21-7270-2EA8-68ACA1209A96}"/>
              </a:ext>
            </a:extLst>
          </p:cNvPr>
          <p:cNvSpPr>
            <a:spLocks noEditPoints="1"/>
          </p:cNvSpPr>
          <p:nvPr userDrawn="1"/>
        </p:nvSpPr>
        <p:spPr bwMode="auto">
          <a:xfrm>
            <a:off x="7959204" y="7876461"/>
            <a:ext cx="663533" cy="238126"/>
          </a:xfrm>
          <a:custGeom>
            <a:avLst/>
            <a:gdLst>
              <a:gd name="T0" fmla="*/ 44 w 209"/>
              <a:gd name="T1" fmla="*/ 28 h 75"/>
              <a:gd name="T2" fmla="*/ 44 w 209"/>
              <a:gd name="T3" fmla="*/ 38 h 75"/>
              <a:gd name="T4" fmla="*/ 41 w 209"/>
              <a:gd name="T5" fmla="*/ 34 h 75"/>
              <a:gd name="T6" fmla="*/ 41 w 209"/>
              <a:gd name="T7" fmla="*/ 31 h 75"/>
              <a:gd name="T8" fmla="*/ 13 w 209"/>
              <a:gd name="T9" fmla="*/ 19 h 75"/>
              <a:gd name="T10" fmla="*/ 9 w 209"/>
              <a:gd name="T11" fmla="*/ 22 h 75"/>
              <a:gd name="T12" fmla="*/ 0 w 209"/>
              <a:gd name="T13" fmla="*/ 28 h 75"/>
              <a:gd name="T14" fmla="*/ 9 w 209"/>
              <a:gd name="T15" fmla="*/ 25 h 75"/>
              <a:gd name="T16" fmla="*/ 19 w 209"/>
              <a:gd name="T17" fmla="*/ 25 h 75"/>
              <a:gd name="T18" fmla="*/ 28 w 209"/>
              <a:gd name="T19" fmla="*/ 19 h 75"/>
              <a:gd name="T20" fmla="*/ 41 w 209"/>
              <a:gd name="T21" fmla="*/ 13 h 75"/>
              <a:gd name="T22" fmla="*/ 53 w 209"/>
              <a:gd name="T23" fmla="*/ 13 h 75"/>
              <a:gd name="T24" fmla="*/ 69 w 209"/>
              <a:gd name="T25" fmla="*/ 16 h 75"/>
              <a:gd name="T26" fmla="*/ 56 w 209"/>
              <a:gd name="T27" fmla="*/ 19 h 75"/>
              <a:gd name="T28" fmla="*/ 75 w 209"/>
              <a:gd name="T29" fmla="*/ 22 h 75"/>
              <a:gd name="T30" fmla="*/ 88 w 209"/>
              <a:gd name="T31" fmla="*/ 25 h 75"/>
              <a:gd name="T32" fmla="*/ 94 w 209"/>
              <a:gd name="T33" fmla="*/ 25 h 75"/>
              <a:gd name="T34" fmla="*/ 106 w 209"/>
              <a:gd name="T35" fmla="*/ 31 h 75"/>
              <a:gd name="T36" fmla="*/ 116 w 209"/>
              <a:gd name="T37" fmla="*/ 34 h 75"/>
              <a:gd name="T38" fmla="*/ 125 w 209"/>
              <a:gd name="T39" fmla="*/ 34 h 75"/>
              <a:gd name="T40" fmla="*/ 138 w 209"/>
              <a:gd name="T41" fmla="*/ 53 h 75"/>
              <a:gd name="T42" fmla="*/ 150 w 209"/>
              <a:gd name="T43" fmla="*/ 53 h 75"/>
              <a:gd name="T44" fmla="*/ 153 w 209"/>
              <a:gd name="T45" fmla="*/ 63 h 75"/>
              <a:gd name="T46" fmla="*/ 144 w 209"/>
              <a:gd name="T47" fmla="*/ 72 h 75"/>
              <a:gd name="T48" fmla="*/ 156 w 209"/>
              <a:gd name="T49" fmla="*/ 72 h 75"/>
              <a:gd name="T50" fmla="*/ 178 w 209"/>
              <a:gd name="T51" fmla="*/ 75 h 75"/>
              <a:gd name="T52" fmla="*/ 194 w 209"/>
              <a:gd name="T53" fmla="*/ 69 h 75"/>
              <a:gd name="T54" fmla="*/ 206 w 209"/>
              <a:gd name="T55" fmla="*/ 66 h 75"/>
              <a:gd name="T56" fmla="*/ 203 w 209"/>
              <a:gd name="T57" fmla="*/ 60 h 75"/>
              <a:gd name="T58" fmla="*/ 184 w 209"/>
              <a:gd name="T59" fmla="*/ 53 h 75"/>
              <a:gd name="T60" fmla="*/ 184 w 209"/>
              <a:gd name="T61" fmla="*/ 44 h 75"/>
              <a:gd name="T62" fmla="*/ 175 w 209"/>
              <a:gd name="T63" fmla="*/ 44 h 75"/>
              <a:gd name="T64" fmla="*/ 163 w 209"/>
              <a:gd name="T65" fmla="*/ 38 h 75"/>
              <a:gd name="T66" fmla="*/ 153 w 209"/>
              <a:gd name="T67" fmla="*/ 34 h 75"/>
              <a:gd name="T68" fmla="*/ 150 w 209"/>
              <a:gd name="T69" fmla="*/ 34 h 75"/>
              <a:gd name="T70" fmla="*/ 134 w 209"/>
              <a:gd name="T71" fmla="*/ 25 h 75"/>
              <a:gd name="T72" fmla="*/ 116 w 209"/>
              <a:gd name="T73" fmla="*/ 19 h 75"/>
              <a:gd name="T74" fmla="*/ 106 w 209"/>
              <a:gd name="T75" fmla="*/ 6 h 75"/>
              <a:gd name="T76" fmla="*/ 84 w 209"/>
              <a:gd name="T77" fmla="*/ 3 h 75"/>
              <a:gd name="T78" fmla="*/ 72 w 209"/>
              <a:gd name="T79" fmla="*/ 0 h 75"/>
              <a:gd name="T80" fmla="*/ 50 w 209"/>
              <a:gd name="T81" fmla="*/ 3 h 75"/>
              <a:gd name="T82" fmla="*/ 28 w 209"/>
              <a:gd name="T83" fmla="*/ 6 h 75"/>
              <a:gd name="T84" fmla="*/ 13 w 209"/>
              <a:gd name="T85" fmla="*/ 1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9" h="75">
                <a:moveTo>
                  <a:pt x="41" y="28"/>
                </a:moveTo>
                <a:lnTo>
                  <a:pt x="41" y="25"/>
                </a:lnTo>
                <a:lnTo>
                  <a:pt x="44" y="28"/>
                </a:lnTo>
                <a:lnTo>
                  <a:pt x="50" y="31"/>
                </a:lnTo>
                <a:lnTo>
                  <a:pt x="47" y="34"/>
                </a:lnTo>
                <a:lnTo>
                  <a:pt x="44" y="38"/>
                </a:lnTo>
                <a:lnTo>
                  <a:pt x="38" y="34"/>
                </a:lnTo>
                <a:lnTo>
                  <a:pt x="38" y="31"/>
                </a:lnTo>
                <a:lnTo>
                  <a:pt x="41" y="34"/>
                </a:lnTo>
                <a:lnTo>
                  <a:pt x="41" y="34"/>
                </a:lnTo>
                <a:lnTo>
                  <a:pt x="44" y="31"/>
                </a:lnTo>
                <a:lnTo>
                  <a:pt x="41" y="31"/>
                </a:lnTo>
                <a:lnTo>
                  <a:pt x="41" y="28"/>
                </a:lnTo>
                <a:lnTo>
                  <a:pt x="41" y="28"/>
                </a:lnTo>
                <a:close/>
                <a:moveTo>
                  <a:pt x="13" y="19"/>
                </a:moveTo>
                <a:lnTo>
                  <a:pt x="16" y="22"/>
                </a:lnTo>
                <a:lnTo>
                  <a:pt x="13" y="25"/>
                </a:lnTo>
                <a:lnTo>
                  <a:pt x="9" y="22"/>
                </a:lnTo>
                <a:lnTo>
                  <a:pt x="3" y="28"/>
                </a:lnTo>
                <a:lnTo>
                  <a:pt x="0" y="25"/>
                </a:lnTo>
                <a:lnTo>
                  <a:pt x="0" y="28"/>
                </a:lnTo>
                <a:lnTo>
                  <a:pt x="3" y="31"/>
                </a:lnTo>
                <a:lnTo>
                  <a:pt x="9" y="25"/>
                </a:lnTo>
                <a:lnTo>
                  <a:pt x="9" y="25"/>
                </a:lnTo>
                <a:lnTo>
                  <a:pt x="9" y="28"/>
                </a:lnTo>
                <a:lnTo>
                  <a:pt x="16" y="28"/>
                </a:lnTo>
                <a:lnTo>
                  <a:pt x="19" y="25"/>
                </a:lnTo>
                <a:lnTo>
                  <a:pt x="22" y="22"/>
                </a:lnTo>
                <a:lnTo>
                  <a:pt x="28" y="22"/>
                </a:lnTo>
                <a:lnTo>
                  <a:pt x="28" y="19"/>
                </a:lnTo>
                <a:lnTo>
                  <a:pt x="31" y="22"/>
                </a:lnTo>
                <a:lnTo>
                  <a:pt x="34" y="22"/>
                </a:lnTo>
                <a:lnTo>
                  <a:pt x="41" y="13"/>
                </a:lnTo>
                <a:lnTo>
                  <a:pt x="44" y="13"/>
                </a:lnTo>
                <a:lnTo>
                  <a:pt x="47" y="9"/>
                </a:lnTo>
                <a:lnTo>
                  <a:pt x="53" y="13"/>
                </a:lnTo>
                <a:lnTo>
                  <a:pt x="56" y="13"/>
                </a:lnTo>
                <a:lnTo>
                  <a:pt x="66" y="13"/>
                </a:lnTo>
                <a:lnTo>
                  <a:pt x="69" y="16"/>
                </a:lnTo>
                <a:lnTo>
                  <a:pt x="66" y="16"/>
                </a:lnTo>
                <a:lnTo>
                  <a:pt x="59" y="16"/>
                </a:lnTo>
                <a:lnTo>
                  <a:pt x="56" y="19"/>
                </a:lnTo>
                <a:lnTo>
                  <a:pt x="59" y="22"/>
                </a:lnTo>
                <a:lnTo>
                  <a:pt x="72" y="22"/>
                </a:lnTo>
                <a:lnTo>
                  <a:pt x="75" y="22"/>
                </a:lnTo>
                <a:lnTo>
                  <a:pt x="78" y="22"/>
                </a:lnTo>
                <a:lnTo>
                  <a:pt x="81" y="25"/>
                </a:lnTo>
                <a:lnTo>
                  <a:pt x="88" y="25"/>
                </a:lnTo>
                <a:lnTo>
                  <a:pt x="91" y="25"/>
                </a:lnTo>
                <a:lnTo>
                  <a:pt x="91" y="22"/>
                </a:lnTo>
                <a:lnTo>
                  <a:pt x="94" y="25"/>
                </a:lnTo>
                <a:lnTo>
                  <a:pt x="94" y="25"/>
                </a:lnTo>
                <a:lnTo>
                  <a:pt x="100" y="31"/>
                </a:lnTo>
                <a:lnTo>
                  <a:pt x="106" y="31"/>
                </a:lnTo>
                <a:lnTo>
                  <a:pt x="106" y="31"/>
                </a:lnTo>
                <a:lnTo>
                  <a:pt x="109" y="34"/>
                </a:lnTo>
                <a:lnTo>
                  <a:pt x="116" y="34"/>
                </a:lnTo>
                <a:lnTo>
                  <a:pt x="119" y="34"/>
                </a:lnTo>
                <a:lnTo>
                  <a:pt x="122" y="31"/>
                </a:lnTo>
                <a:lnTo>
                  <a:pt x="125" y="34"/>
                </a:lnTo>
                <a:lnTo>
                  <a:pt x="128" y="44"/>
                </a:lnTo>
                <a:lnTo>
                  <a:pt x="134" y="53"/>
                </a:lnTo>
                <a:lnTo>
                  <a:pt x="138" y="53"/>
                </a:lnTo>
                <a:lnTo>
                  <a:pt x="141" y="50"/>
                </a:lnTo>
                <a:lnTo>
                  <a:pt x="144" y="53"/>
                </a:lnTo>
                <a:lnTo>
                  <a:pt x="150" y="53"/>
                </a:lnTo>
                <a:lnTo>
                  <a:pt x="153" y="56"/>
                </a:lnTo>
                <a:lnTo>
                  <a:pt x="156" y="56"/>
                </a:lnTo>
                <a:lnTo>
                  <a:pt x="153" y="63"/>
                </a:lnTo>
                <a:lnTo>
                  <a:pt x="150" y="63"/>
                </a:lnTo>
                <a:lnTo>
                  <a:pt x="144" y="69"/>
                </a:lnTo>
                <a:lnTo>
                  <a:pt x="144" y="72"/>
                </a:lnTo>
                <a:lnTo>
                  <a:pt x="150" y="72"/>
                </a:lnTo>
                <a:lnTo>
                  <a:pt x="153" y="72"/>
                </a:lnTo>
                <a:lnTo>
                  <a:pt x="156" y="72"/>
                </a:lnTo>
                <a:lnTo>
                  <a:pt x="166" y="69"/>
                </a:lnTo>
                <a:lnTo>
                  <a:pt x="172" y="72"/>
                </a:lnTo>
                <a:lnTo>
                  <a:pt x="178" y="75"/>
                </a:lnTo>
                <a:lnTo>
                  <a:pt x="191" y="72"/>
                </a:lnTo>
                <a:lnTo>
                  <a:pt x="191" y="69"/>
                </a:lnTo>
                <a:lnTo>
                  <a:pt x="194" y="69"/>
                </a:lnTo>
                <a:lnTo>
                  <a:pt x="197" y="66"/>
                </a:lnTo>
                <a:lnTo>
                  <a:pt x="203" y="69"/>
                </a:lnTo>
                <a:lnTo>
                  <a:pt x="206" y="66"/>
                </a:lnTo>
                <a:lnTo>
                  <a:pt x="209" y="63"/>
                </a:lnTo>
                <a:lnTo>
                  <a:pt x="209" y="60"/>
                </a:lnTo>
                <a:lnTo>
                  <a:pt x="203" y="60"/>
                </a:lnTo>
                <a:lnTo>
                  <a:pt x="203" y="56"/>
                </a:lnTo>
                <a:lnTo>
                  <a:pt x="194" y="53"/>
                </a:lnTo>
                <a:lnTo>
                  <a:pt x="184" y="53"/>
                </a:lnTo>
                <a:lnTo>
                  <a:pt x="181" y="50"/>
                </a:lnTo>
                <a:lnTo>
                  <a:pt x="181" y="50"/>
                </a:lnTo>
                <a:lnTo>
                  <a:pt x="184" y="44"/>
                </a:lnTo>
                <a:lnTo>
                  <a:pt x="181" y="44"/>
                </a:lnTo>
                <a:lnTo>
                  <a:pt x="178" y="44"/>
                </a:lnTo>
                <a:lnTo>
                  <a:pt x="175" y="44"/>
                </a:lnTo>
                <a:lnTo>
                  <a:pt x="169" y="38"/>
                </a:lnTo>
                <a:lnTo>
                  <a:pt x="166" y="41"/>
                </a:lnTo>
                <a:lnTo>
                  <a:pt x="163" y="38"/>
                </a:lnTo>
                <a:lnTo>
                  <a:pt x="156" y="34"/>
                </a:lnTo>
                <a:lnTo>
                  <a:pt x="153" y="38"/>
                </a:lnTo>
                <a:lnTo>
                  <a:pt x="153" y="34"/>
                </a:lnTo>
                <a:lnTo>
                  <a:pt x="153" y="31"/>
                </a:lnTo>
                <a:lnTo>
                  <a:pt x="150" y="31"/>
                </a:lnTo>
                <a:lnTo>
                  <a:pt x="150" y="34"/>
                </a:lnTo>
                <a:lnTo>
                  <a:pt x="147" y="31"/>
                </a:lnTo>
                <a:lnTo>
                  <a:pt x="141" y="31"/>
                </a:lnTo>
                <a:lnTo>
                  <a:pt x="134" y="25"/>
                </a:lnTo>
                <a:lnTo>
                  <a:pt x="131" y="22"/>
                </a:lnTo>
                <a:lnTo>
                  <a:pt x="125" y="19"/>
                </a:lnTo>
                <a:lnTo>
                  <a:pt x="116" y="19"/>
                </a:lnTo>
                <a:lnTo>
                  <a:pt x="113" y="16"/>
                </a:lnTo>
                <a:lnTo>
                  <a:pt x="109" y="13"/>
                </a:lnTo>
                <a:lnTo>
                  <a:pt x="106" y="6"/>
                </a:lnTo>
                <a:lnTo>
                  <a:pt x="100" y="9"/>
                </a:lnTo>
                <a:lnTo>
                  <a:pt x="100" y="6"/>
                </a:lnTo>
                <a:lnTo>
                  <a:pt x="84" y="3"/>
                </a:lnTo>
                <a:lnTo>
                  <a:pt x="81" y="6"/>
                </a:lnTo>
                <a:lnTo>
                  <a:pt x="75" y="3"/>
                </a:lnTo>
                <a:lnTo>
                  <a:pt x="72" y="0"/>
                </a:lnTo>
                <a:lnTo>
                  <a:pt x="63" y="0"/>
                </a:lnTo>
                <a:lnTo>
                  <a:pt x="53" y="0"/>
                </a:lnTo>
                <a:lnTo>
                  <a:pt x="50" y="3"/>
                </a:lnTo>
                <a:lnTo>
                  <a:pt x="38" y="3"/>
                </a:lnTo>
                <a:lnTo>
                  <a:pt x="31" y="3"/>
                </a:lnTo>
                <a:lnTo>
                  <a:pt x="28" y="6"/>
                </a:lnTo>
                <a:lnTo>
                  <a:pt x="19" y="9"/>
                </a:lnTo>
                <a:lnTo>
                  <a:pt x="16" y="13"/>
                </a:lnTo>
                <a:lnTo>
                  <a:pt x="13" y="16"/>
                </a:lnTo>
                <a:lnTo>
                  <a:pt x="13" y="1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7" name="Freeform 175">
            <a:extLst>
              <a:ext uri="{FF2B5EF4-FFF2-40B4-BE49-F238E27FC236}">
                <a16:creationId xmlns:a16="http://schemas.microsoft.com/office/drawing/2014/main" id="{F6F02A16-5D98-A7A9-926E-EDF41F9E6314}"/>
              </a:ext>
            </a:extLst>
          </p:cNvPr>
          <p:cNvSpPr>
            <a:spLocks noEditPoints="1"/>
          </p:cNvSpPr>
          <p:nvPr userDrawn="1"/>
        </p:nvSpPr>
        <p:spPr bwMode="auto">
          <a:xfrm>
            <a:off x="8365577" y="7619283"/>
            <a:ext cx="358753" cy="415926"/>
          </a:xfrm>
          <a:custGeom>
            <a:avLst/>
            <a:gdLst>
              <a:gd name="T0" fmla="*/ 106 w 113"/>
              <a:gd name="T1" fmla="*/ 115 h 131"/>
              <a:gd name="T2" fmla="*/ 91 w 113"/>
              <a:gd name="T3" fmla="*/ 131 h 131"/>
              <a:gd name="T4" fmla="*/ 106 w 113"/>
              <a:gd name="T5" fmla="*/ 122 h 131"/>
              <a:gd name="T6" fmla="*/ 97 w 113"/>
              <a:gd name="T7" fmla="*/ 122 h 131"/>
              <a:gd name="T8" fmla="*/ 91 w 113"/>
              <a:gd name="T9" fmla="*/ 131 h 131"/>
              <a:gd name="T10" fmla="*/ 113 w 113"/>
              <a:gd name="T11" fmla="*/ 100 h 131"/>
              <a:gd name="T12" fmla="*/ 106 w 113"/>
              <a:gd name="T13" fmla="*/ 100 h 131"/>
              <a:gd name="T14" fmla="*/ 94 w 113"/>
              <a:gd name="T15" fmla="*/ 90 h 131"/>
              <a:gd name="T16" fmla="*/ 85 w 113"/>
              <a:gd name="T17" fmla="*/ 97 h 131"/>
              <a:gd name="T18" fmla="*/ 85 w 113"/>
              <a:gd name="T19" fmla="*/ 100 h 131"/>
              <a:gd name="T20" fmla="*/ 94 w 113"/>
              <a:gd name="T21" fmla="*/ 90 h 131"/>
              <a:gd name="T22" fmla="*/ 85 w 113"/>
              <a:gd name="T23" fmla="*/ 87 h 131"/>
              <a:gd name="T24" fmla="*/ 81 w 113"/>
              <a:gd name="T25" fmla="*/ 87 h 131"/>
              <a:gd name="T26" fmla="*/ 66 w 113"/>
              <a:gd name="T27" fmla="*/ 72 h 131"/>
              <a:gd name="T28" fmla="*/ 75 w 113"/>
              <a:gd name="T29" fmla="*/ 87 h 131"/>
              <a:gd name="T30" fmla="*/ 66 w 113"/>
              <a:gd name="T31" fmla="*/ 78 h 131"/>
              <a:gd name="T32" fmla="*/ 66 w 113"/>
              <a:gd name="T33" fmla="*/ 72 h 131"/>
              <a:gd name="T34" fmla="*/ 50 w 113"/>
              <a:gd name="T35" fmla="*/ 72 h 131"/>
              <a:gd name="T36" fmla="*/ 53 w 113"/>
              <a:gd name="T37" fmla="*/ 69 h 131"/>
              <a:gd name="T38" fmla="*/ 81 w 113"/>
              <a:gd name="T39" fmla="*/ 65 h 131"/>
              <a:gd name="T40" fmla="*/ 81 w 113"/>
              <a:gd name="T41" fmla="*/ 59 h 131"/>
              <a:gd name="T42" fmla="*/ 63 w 113"/>
              <a:gd name="T43" fmla="*/ 56 h 131"/>
              <a:gd name="T44" fmla="*/ 66 w 113"/>
              <a:gd name="T45" fmla="*/ 65 h 131"/>
              <a:gd name="T46" fmla="*/ 66 w 113"/>
              <a:gd name="T47" fmla="*/ 56 h 131"/>
              <a:gd name="T48" fmla="*/ 63 w 113"/>
              <a:gd name="T49" fmla="*/ 50 h 131"/>
              <a:gd name="T50" fmla="*/ 53 w 113"/>
              <a:gd name="T51" fmla="*/ 40 h 131"/>
              <a:gd name="T52" fmla="*/ 50 w 113"/>
              <a:gd name="T53" fmla="*/ 47 h 131"/>
              <a:gd name="T54" fmla="*/ 50 w 113"/>
              <a:gd name="T55" fmla="*/ 37 h 131"/>
              <a:gd name="T56" fmla="*/ 44 w 113"/>
              <a:gd name="T57" fmla="*/ 34 h 131"/>
              <a:gd name="T58" fmla="*/ 38 w 113"/>
              <a:gd name="T59" fmla="*/ 3 h 131"/>
              <a:gd name="T60" fmla="*/ 41 w 113"/>
              <a:gd name="T61" fmla="*/ 15 h 131"/>
              <a:gd name="T62" fmla="*/ 35 w 113"/>
              <a:gd name="T63" fmla="*/ 22 h 131"/>
              <a:gd name="T64" fmla="*/ 35 w 113"/>
              <a:gd name="T65" fmla="*/ 9 h 131"/>
              <a:gd name="T66" fmla="*/ 25 w 113"/>
              <a:gd name="T67" fmla="*/ 0 h 131"/>
              <a:gd name="T68" fmla="*/ 6 w 113"/>
              <a:gd name="T69" fmla="*/ 3 h 131"/>
              <a:gd name="T70" fmla="*/ 19 w 113"/>
              <a:gd name="T71" fmla="*/ 0 h 131"/>
              <a:gd name="T72" fmla="*/ 19 w 113"/>
              <a:gd name="T73" fmla="*/ 3 h 131"/>
              <a:gd name="T74" fmla="*/ 0 w 113"/>
              <a:gd name="T75" fmla="*/ 3 h 131"/>
              <a:gd name="T76" fmla="*/ 31 w 113"/>
              <a:gd name="T77" fmla="*/ 37 h 131"/>
              <a:gd name="T78" fmla="*/ 28 w 113"/>
              <a:gd name="T79" fmla="*/ 40 h 131"/>
              <a:gd name="T80" fmla="*/ 19 w 113"/>
              <a:gd name="T81" fmla="*/ 59 h 131"/>
              <a:gd name="T82" fmla="*/ 19 w 113"/>
              <a:gd name="T83" fmla="*/ 59 h 131"/>
              <a:gd name="T84" fmla="*/ 19 w 113"/>
              <a:gd name="T85" fmla="*/ 59 h 131"/>
              <a:gd name="T86" fmla="*/ 16 w 113"/>
              <a:gd name="T87" fmla="*/ 59 h 131"/>
              <a:gd name="T88" fmla="*/ 19 w 113"/>
              <a:gd name="T89" fmla="*/ 47 h 131"/>
              <a:gd name="T90" fmla="*/ 13 w 113"/>
              <a:gd name="T91" fmla="*/ 44 h 131"/>
              <a:gd name="T92" fmla="*/ 16 w 113"/>
              <a:gd name="T93" fmla="*/ 50 h 131"/>
              <a:gd name="T94" fmla="*/ 22 w 113"/>
              <a:gd name="T95" fmla="*/ 59 h 131"/>
              <a:gd name="T96" fmla="*/ 19 w 113"/>
              <a:gd name="T97" fmla="*/ 72 h 131"/>
              <a:gd name="T98" fmla="*/ 25 w 113"/>
              <a:gd name="T99" fmla="*/ 6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 h="131">
                <a:moveTo>
                  <a:pt x="106" y="119"/>
                </a:moveTo>
                <a:lnTo>
                  <a:pt x="106" y="119"/>
                </a:lnTo>
                <a:lnTo>
                  <a:pt x="106" y="115"/>
                </a:lnTo>
                <a:lnTo>
                  <a:pt x="106" y="119"/>
                </a:lnTo>
                <a:lnTo>
                  <a:pt x="106" y="119"/>
                </a:lnTo>
                <a:close/>
                <a:moveTo>
                  <a:pt x="91" y="131"/>
                </a:moveTo>
                <a:lnTo>
                  <a:pt x="103" y="131"/>
                </a:lnTo>
                <a:lnTo>
                  <a:pt x="106" y="125"/>
                </a:lnTo>
                <a:lnTo>
                  <a:pt x="106" y="122"/>
                </a:lnTo>
                <a:lnTo>
                  <a:pt x="103" y="122"/>
                </a:lnTo>
                <a:lnTo>
                  <a:pt x="103" y="125"/>
                </a:lnTo>
                <a:lnTo>
                  <a:pt x="97" y="122"/>
                </a:lnTo>
                <a:lnTo>
                  <a:pt x="94" y="125"/>
                </a:lnTo>
                <a:lnTo>
                  <a:pt x="91" y="131"/>
                </a:lnTo>
                <a:lnTo>
                  <a:pt x="91" y="131"/>
                </a:lnTo>
                <a:close/>
                <a:moveTo>
                  <a:pt x="103" y="100"/>
                </a:moveTo>
                <a:lnTo>
                  <a:pt x="106" y="97"/>
                </a:lnTo>
                <a:lnTo>
                  <a:pt x="113" y="100"/>
                </a:lnTo>
                <a:lnTo>
                  <a:pt x="113" y="103"/>
                </a:lnTo>
                <a:lnTo>
                  <a:pt x="110" y="100"/>
                </a:lnTo>
                <a:lnTo>
                  <a:pt x="106" y="100"/>
                </a:lnTo>
                <a:lnTo>
                  <a:pt x="103" y="100"/>
                </a:lnTo>
                <a:lnTo>
                  <a:pt x="103" y="100"/>
                </a:lnTo>
                <a:close/>
                <a:moveTo>
                  <a:pt x="94" y="90"/>
                </a:moveTo>
                <a:lnTo>
                  <a:pt x="88" y="90"/>
                </a:lnTo>
                <a:lnTo>
                  <a:pt x="88" y="94"/>
                </a:lnTo>
                <a:lnTo>
                  <a:pt x="85" y="97"/>
                </a:lnTo>
                <a:lnTo>
                  <a:pt x="85" y="100"/>
                </a:lnTo>
                <a:lnTo>
                  <a:pt x="81" y="100"/>
                </a:lnTo>
                <a:lnTo>
                  <a:pt x="85" y="100"/>
                </a:lnTo>
                <a:lnTo>
                  <a:pt x="94" y="97"/>
                </a:lnTo>
                <a:lnTo>
                  <a:pt x="94" y="90"/>
                </a:lnTo>
                <a:lnTo>
                  <a:pt x="94" y="90"/>
                </a:lnTo>
                <a:lnTo>
                  <a:pt x="94" y="90"/>
                </a:lnTo>
                <a:close/>
                <a:moveTo>
                  <a:pt x="81" y="87"/>
                </a:moveTo>
                <a:lnTo>
                  <a:pt x="85" y="87"/>
                </a:lnTo>
                <a:lnTo>
                  <a:pt x="88" y="90"/>
                </a:lnTo>
                <a:lnTo>
                  <a:pt x="85" y="90"/>
                </a:lnTo>
                <a:lnTo>
                  <a:pt x="81" y="87"/>
                </a:lnTo>
                <a:lnTo>
                  <a:pt x="81" y="87"/>
                </a:lnTo>
                <a:lnTo>
                  <a:pt x="81" y="87"/>
                </a:lnTo>
                <a:close/>
                <a:moveTo>
                  <a:pt x="66" y="72"/>
                </a:moveTo>
                <a:lnTo>
                  <a:pt x="69" y="78"/>
                </a:lnTo>
                <a:lnTo>
                  <a:pt x="72" y="81"/>
                </a:lnTo>
                <a:lnTo>
                  <a:pt x="75" y="87"/>
                </a:lnTo>
                <a:lnTo>
                  <a:pt x="72" y="87"/>
                </a:lnTo>
                <a:lnTo>
                  <a:pt x="69" y="84"/>
                </a:lnTo>
                <a:lnTo>
                  <a:pt x="66" y="78"/>
                </a:lnTo>
                <a:lnTo>
                  <a:pt x="69" y="78"/>
                </a:lnTo>
                <a:lnTo>
                  <a:pt x="66" y="72"/>
                </a:lnTo>
                <a:lnTo>
                  <a:pt x="66" y="72"/>
                </a:lnTo>
                <a:lnTo>
                  <a:pt x="66" y="72"/>
                </a:lnTo>
                <a:close/>
                <a:moveTo>
                  <a:pt x="53" y="69"/>
                </a:moveTo>
                <a:lnTo>
                  <a:pt x="50" y="72"/>
                </a:lnTo>
                <a:lnTo>
                  <a:pt x="53" y="72"/>
                </a:lnTo>
                <a:lnTo>
                  <a:pt x="53" y="69"/>
                </a:lnTo>
                <a:lnTo>
                  <a:pt x="53" y="69"/>
                </a:lnTo>
                <a:close/>
                <a:moveTo>
                  <a:pt x="81" y="59"/>
                </a:moveTo>
                <a:lnTo>
                  <a:pt x="81" y="65"/>
                </a:lnTo>
                <a:lnTo>
                  <a:pt x="81" y="65"/>
                </a:lnTo>
                <a:lnTo>
                  <a:pt x="85" y="62"/>
                </a:lnTo>
                <a:lnTo>
                  <a:pt x="81" y="59"/>
                </a:lnTo>
                <a:lnTo>
                  <a:pt x="81" y="59"/>
                </a:lnTo>
                <a:close/>
                <a:moveTo>
                  <a:pt x="63" y="50"/>
                </a:moveTo>
                <a:lnTo>
                  <a:pt x="60" y="53"/>
                </a:lnTo>
                <a:lnTo>
                  <a:pt x="63" y="56"/>
                </a:lnTo>
                <a:lnTo>
                  <a:pt x="66" y="62"/>
                </a:lnTo>
                <a:lnTo>
                  <a:pt x="63" y="62"/>
                </a:lnTo>
                <a:lnTo>
                  <a:pt x="66" y="65"/>
                </a:lnTo>
                <a:lnTo>
                  <a:pt x="69" y="65"/>
                </a:lnTo>
                <a:lnTo>
                  <a:pt x="69" y="62"/>
                </a:lnTo>
                <a:lnTo>
                  <a:pt x="66" y="56"/>
                </a:lnTo>
                <a:lnTo>
                  <a:pt x="66" y="53"/>
                </a:lnTo>
                <a:lnTo>
                  <a:pt x="63" y="50"/>
                </a:lnTo>
                <a:lnTo>
                  <a:pt x="63" y="50"/>
                </a:lnTo>
                <a:close/>
                <a:moveTo>
                  <a:pt x="44" y="34"/>
                </a:moveTo>
                <a:lnTo>
                  <a:pt x="50" y="37"/>
                </a:lnTo>
                <a:lnTo>
                  <a:pt x="53" y="40"/>
                </a:lnTo>
                <a:lnTo>
                  <a:pt x="53" y="47"/>
                </a:lnTo>
                <a:lnTo>
                  <a:pt x="50" y="47"/>
                </a:lnTo>
                <a:lnTo>
                  <a:pt x="50" y="47"/>
                </a:lnTo>
                <a:lnTo>
                  <a:pt x="50" y="44"/>
                </a:lnTo>
                <a:lnTo>
                  <a:pt x="53" y="40"/>
                </a:lnTo>
                <a:lnTo>
                  <a:pt x="50" y="37"/>
                </a:lnTo>
                <a:lnTo>
                  <a:pt x="44" y="37"/>
                </a:lnTo>
                <a:lnTo>
                  <a:pt x="44" y="34"/>
                </a:lnTo>
                <a:lnTo>
                  <a:pt x="44" y="34"/>
                </a:lnTo>
                <a:close/>
                <a:moveTo>
                  <a:pt x="25" y="0"/>
                </a:moveTo>
                <a:lnTo>
                  <a:pt x="31" y="0"/>
                </a:lnTo>
                <a:lnTo>
                  <a:pt x="38" y="3"/>
                </a:lnTo>
                <a:lnTo>
                  <a:pt x="38" y="6"/>
                </a:lnTo>
                <a:lnTo>
                  <a:pt x="41" y="9"/>
                </a:lnTo>
                <a:lnTo>
                  <a:pt x="41" y="15"/>
                </a:lnTo>
                <a:lnTo>
                  <a:pt x="38" y="15"/>
                </a:lnTo>
                <a:lnTo>
                  <a:pt x="38" y="19"/>
                </a:lnTo>
                <a:lnTo>
                  <a:pt x="35" y="22"/>
                </a:lnTo>
                <a:lnTo>
                  <a:pt x="35" y="15"/>
                </a:lnTo>
                <a:lnTo>
                  <a:pt x="35" y="12"/>
                </a:lnTo>
                <a:lnTo>
                  <a:pt x="35" y="9"/>
                </a:lnTo>
                <a:lnTo>
                  <a:pt x="31" y="6"/>
                </a:lnTo>
                <a:lnTo>
                  <a:pt x="31" y="0"/>
                </a:lnTo>
                <a:lnTo>
                  <a:pt x="25" y="0"/>
                </a:lnTo>
                <a:lnTo>
                  <a:pt x="25" y="0"/>
                </a:lnTo>
                <a:close/>
                <a:moveTo>
                  <a:pt x="0" y="3"/>
                </a:moveTo>
                <a:lnTo>
                  <a:pt x="6" y="3"/>
                </a:lnTo>
                <a:lnTo>
                  <a:pt x="10" y="6"/>
                </a:lnTo>
                <a:lnTo>
                  <a:pt x="16" y="0"/>
                </a:lnTo>
                <a:lnTo>
                  <a:pt x="19" y="0"/>
                </a:lnTo>
                <a:lnTo>
                  <a:pt x="25" y="6"/>
                </a:lnTo>
                <a:lnTo>
                  <a:pt x="22" y="6"/>
                </a:lnTo>
                <a:lnTo>
                  <a:pt x="19" y="3"/>
                </a:lnTo>
                <a:lnTo>
                  <a:pt x="10" y="9"/>
                </a:lnTo>
                <a:lnTo>
                  <a:pt x="6" y="9"/>
                </a:lnTo>
                <a:lnTo>
                  <a:pt x="0" y="3"/>
                </a:lnTo>
                <a:lnTo>
                  <a:pt x="0" y="3"/>
                </a:lnTo>
                <a:close/>
                <a:moveTo>
                  <a:pt x="25" y="40"/>
                </a:moveTo>
                <a:lnTo>
                  <a:pt x="31" y="37"/>
                </a:lnTo>
                <a:lnTo>
                  <a:pt x="35" y="37"/>
                </a:lnTo>
                <a:lnTo>
                  <a:pt x="35" y="40"/>
                </a:lnTo>
                <a:lnTo>
                  <a:pt x="28" y="40"/>
                </a:lnTo>
                <a:lnTo>
                  <a:pt x="25" y="40"/>
                </a:lnTo>
                <a:lnTo>
                  <a:pt x="25" y="40"/>
                </a:lnTo>
                <a:close/>
                <a:moveTo>
                  <a:pt x="19" y="59"/>
                </a:moveTo>
                <a:lnTo>
                  <a:pt x="19" y="56"/>
                </a:lnTo>
                <a:lnTo>
                  <a:pt x="22" y="56"/>
                </a:lnTo>
                <a:lnTo>
                  <a:pt x="19" y="59"/>
                </a:lnTo>
                <a:lnTo>
                  <a:pt x="19" y="59"/>
                </a:lnTo>
                <a:close/>
                <a:moveTo>
                  <a:pt x="16" y="59"/>
                </a:moveTo>
                <a:lnTo>
                  <a:pt x="19" y="59"/>
                </a:lnTo>
                <a:lnTo>
                  <a:pt x="19" y="62"/>
                </a:lnTo>
                <a:lnTo>
                  <a:pt x="16" y="59"/>
                </a:lnTo>
                <a:lnTo>
                  <a:pt x="16" y="59"/>
                </a:lnTo>
                <a:close/>
                <a:moveTo>
                  <a:pt x="16" y="56"/>
                </a:moveTo>
                <a:lnTo>
                  <a:pt x="22" y="53"/>
                </a:lnTo>
                <a:lnTo>
                  <a:pt x="19" y="47"/>
                </a:lnTo>
                <a:lnTo>
                  <a:pt x="19" y="40"/>
                </a:lnTo>
                <a:lnTo>
                  <a:pt x="16" y="40"/>
                </a:lnTo>
                <a:lnTo>
                  <a:pt x="13" y="44"/>
                </a:lnTo>
                <a:lnTo>
                  <a:pt x="10" y="50"/>
                </a:lnTo>
                <a:lnTo>
                  <a:pt x="13" y="53"/>
                </a:lnTo>
                <a:lnTo>
                  <a:pt x="16" y="50"/>
                </a:lnTo>
                <a:lnTo>
                  <a:pt x="16" y="56"/>
                </a:lnTo>
                <a:lnTo>
                  <a:pt x="16" y="56"/>
                </a:lnTo>
                <a:close/>
                <a:moveTo>
                  <a:pt x="22" y="59"/>
                </a:moveTo>
                <a:lnTo>
                  <a:pt x="19" y="62"/>
                </a:lnTo>
                <a:lnTo>
                  <a:pt x="19" y="65"/>
                </a:lnTo>
                <a:lnTo>
                  <a:pt x="19" y="72"/>
                </a:lnTo>
                <a:lnTo>
                  <a:pt x="22" y="72"/>
                </a:lnTo>
                <a:lnTo>
                  <a:pt x="25" y="65"/>
                </a:lnTo>
                <a:lnTo>
                  <a:pt x="25" y="65"/>
                </a:lnTo>
                <a:lnTo>
                  <a:pt x="25" y="62"/>
                </a:lnTo>
                <a:lnTo>
                  <a:pt x="22" y="5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8" name="Freeform 176">
            <a:extLst>
              <a:ext uri="{FF2B5EF4-FFF2-40B4-BE49-F238E27FC236}">
                <a16:creationId xmlns:a16="http://schemas.microsoft.com/office/drawing/2014/main" id="{2B5C1226-5034-C0ED-C1B7-C042AA27001C}"/>
              </a:ext>
            </a:extLst>
          </p:cNvPr>
          <p:cNvSpPr>
            <a:spLocks noEditPoints="1"/>
          </p:cNvSpPr>
          <p:nvPr userDrawn="1"/>
        </p:nvSpPr>
        <p:spPr bwMode="auto">
          <a:xfrm>
            <a:off x="5774945" y="5660309"/>
            <a:ext cx="3524021" cy="2076450"/>
          </a:xfrm>
          <a:custGeom>
            <a:avLst/>
            <a:gdLst>
              <a:gd name="T0" fmla="*/ 206 w 355"/>
              <a:gd name="T1" fmla="*/ 20 h 209"/>
              <a:gd name="T2" fmla="*/ 250 w 355"/>
              <a:gd name="T3" fmla="*/ 40 h 209"/>
              <a:gd name="T4" fmla="*/ 297 w 355"/>
              <a:gd name="T5" fmla="*/ 63 h 209"/>
              <a:gd name="T6" fmla="*/ 334 w 355"/>
              <a:gd name="T7" fmla="*/ 52 h 209"/>
              <a:gd name="T8" fmla="*/ 351 w 355"/>
              <a:gd name="T9" fmla="*/ 43 h 209"/>
              <a:gd name="T10" fmla="*/ 354 w 355"/>
              <a:gd name="T11" fmla="*/ 62 h 209"/>
              <a:gd name="T12" fmla="*/ 342 w 355"/>
              <a:gd name="T13" fmla="*/ 65 h 209"/>
              <a:gd name="T14" fmla="*/ 332 w 355"/>
              <a:gd name="T15" fmla="*/ 71 h 209"/>
              <a:gd name="T16" fmla="*/ 330 w 355"/>
              <a:gd name="T17" fmla="*/ 83 h 209"/>
              <a:gd name="T18" fmla="*/ 323 w 355"/>
              <a:gd name="T19" fmla="*/ 89 h 209"/>
              <a:gd name="T20" fmla="*/ 305 w 355"/>
              <a:gd name="T21" fmla="*/ 96 h 209"/>
              <a:gd name="T22" fmla="*/ 298 w 355"/>
              <a:gd name="T23" fmla="*/ 107 h 209"/>
              <a:gd name="T24" fmla="*/ 296 w 355"/>
              <a:gd name="T25" fmla="*/ 110 h 209"/>
              <a:gd name="T26" fmla="*/ 290 w 355"/>
              <a:gd name="T27" fmla="*/ 117 h 209"/>
              <a:gd name="T28" fmla="*/ 289 w 355"/>
              <a:gd name="T29" fmla="*/ 105 h 209"/>
              <a:gd name="T30" fmla="*/ 287 w 355"/>
              <a:gd name="T31" fmla="*/ 114 h 209"/>
              <a:gd name="T32" fmla="*/ 287 w 355"/>
              <a:gd name="T33" fmla="*/ 118 h 209"/>
              <a:gd name="T34" fmla="*/ 284 w 355"/>
              <a:gd name="T35" fmla="*/ 122 h 209"/>
              <a:gd name="T36" fmla="*/ 285 w 355"/>
              <a:gd name="T37" fmla="*/ 130 h 209"/>
              <a:gd name="T38" fmla="*/ 289 w 355"/>
              <a:gd name="T39" fmla="*/ 134 h 209"/>
              <a:gd name="T40" fmla="*/ 284 w 355"/>
              <a:gd name="T41" fmla="*/ 138 h 209"/>
              <a:gd name="T42" fmla="*/ 273 w 355"/>
              <a:gd name="T43" fmla="*/ 147 h 209"/>
              <a:gd name="T44" fmla="*/ 258 w 355"/>
              <a:gd name="T45" fmla="*/ 156 h 209"/>
              <a:gd name="T46" fmla="*/ 249 w 355"/>
              <a:gd name="T47" fmla="*/ 173 h 209"/>
              <a:gd name="T48" fmla="*/ 254 w 355"/>
              <a:gd name="T49" fmla="*/ 200 h 209"/>
              <a:gd name="T50" fmla="*/ 244 w 355"/>
              <a:gd name="T51" fmla="*/ 204 h 209"/>
              <a:gd name="T52" fmla="*/ 239 w 355"/>
              <a:gd name="T53" fmla="*/ 195 h 209"/>
              <a:gd name="T54" fmla="*/ 238 w 355"/>
              <a:gd name="T55" fmla="*/ 181 h 209"/>
              <a:gd name="T56" fmla="*/ 227 w 355"/>
              <a:gd name="T57" fmla="*/ 176 h 209"/>
              <a:gd name="T58" fmla="*/ 221 w 355"/>
              <a:gd name="T59" fmla="*/ 172 h 209"/>
              <a:gd name="T60" fmla="*/ 210 w 355"/>
              <a:gd name="T61" fmla="*/ 171 h 209"/>
              <a:gd name="T62" fmla="*/ 196 w 355"/>
              <a:gd name="T63" fmla="*/ 175 h 209"/>
              <a:gd name="T64" fmla="*/ 197 w 355"/>
              <a:gd name="T65" fmla="*/ 181 h 209"/>
              <a:gd name="T66" fmla="*/ 187 w 355"/>
              <a:gd name="T67" fmla="*/ 179 h 209"/>
              <a:gd name="T68" fmla="*/ 177 w 355"/>
              <a:gd name="T69" fmla="*/ 176 h 209"/>
              <a:gd name="T70" fmla="*/ 164 w 355"/>
              <a:gd name="T71" fmla="*/ 177 h 209"/>
              <a:gd name="T72" fmla="*/ 153 w 355"/>
              <a:gd name="T73" fmla="*/ 184 h 209"/>
              <a:gd name="T74" fmla="*/ 146 w 355"/>
              <a:gd name="T75" fmla="*/ 202 h 209"/>
              <a:gd name="T76" fmla="*/ 135 w 355"/>
              <a:gd name="T77" fmla="*/ 193 h 209"/>
              <a:gd name="T78" fmla="*/ 128 w 355"/>
              <a:gd name="T79" fmla="*/ 176 h 209"/>
              <a:gd name="T80" fmla="*/ 116 w 355"/>
              <a:gd name="T81" fmla="*/ 177 h 209"/>
              <a:gd name="T82" fmla="*/ 108 w 355"/>
              <a:gd name="T83" fmla="*/ 176 h 209"/>
              <a:gd name="T84" fmla="*/ 103 w 355"/>
              <a:gd name="T85" fmla="*/ 168 h 209"/>
              <a:gd name="T86" fmla="*/ 95 w 355"/>
              <a:gd name="T87" fmla="*/ 158 h 209"/>
              <a:gd name="T88" fmla="*/ 25 w 355"/>
              <a:gd name="T89" fmla="*/ 138 h 209"/>
              <a:gd name="T90" fmla="*/ 13 w 355"/>
              <a:gd name="T91" fmla="*/ 129 h 209"/>
              <a:gd name="T92" fmla="*/ 8 w 355"/>
              <a:gd name="T93" fmla="*/ 112 h 209"/>
              <a:gd name="T94" fmla="*/ 8 w 355"/>
              <a:gd name="T95" fmla="*/ 104 h 209"/>
              <a:gd name="T96" fmla="*/ 6 w 355"/>
              <a:gd name="T97" fmla="*/ 103 h 209"/>
              <a:gd name="T98" fmla="*/ 1 w 355"/>
              <a:gd name="T99" fmla="*/ 82 h 209"/>
              <a:gd name="T100" fmla="*/ 4 w 355"/>
              <a:gd name="T101" fmla="*/ 60 h 209"/>
              <a:gd name="T102" fmla="*/ 15 w 355"/>
              <a:gd name="T103" fmla="*/ 30 h 209"/>
              <a:gd name="T104" fmla="*/ 16 w 355"/>
              <a:gd name="T105" fmla="*/ 25 h 209"/>
              <a:gd name="T106" fmla="*/ 18 w 355"/>
              <a:gd name="T107" fmla="*/ 11 h 209"/>
              <a:gd name="T108" fmla="*/ 26 w 355"/>
              <a:gd name="T109" fmla="*/ 12 h 209"/>
              <a:gd name="T110" fmla="*/ 27 w 355"/>
              <a:gd name="T111" fmla="*/ 18 h 209"/>
              <a:gd name="T112" fmla="*/ 32 w 355"/>
              <a:gd name="T113" fmla="*/ 4 h 209"/>
              <a:gd name="T114" fmla="*/ 308 w 355"/>
              <a:gd name="T115" fmla="*/ 94 h 209"/>
              <a:gd name="T116" fmla="*/ 315 w 355"/>
              <a:gd name="T117" fmla="*/ 91 h 209"/>
              <a:gd name="T118" fmla="*/ 31 w 355"/>
              <a:gd name="T119" fmla="*/ 6 h 209"/>
              <a:gd name="T120" fmla="*/ 148 w 355"/>
              <a:gd name="T121" fmla="*/ 193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5" h="209">
                <a:moveTo>
                  <a:pt x="31" y="0"/>
                </a:moveTo>
                <a:cubicBezTo>
                  <a:pt x="194" y="16"/>
                  <a:pt x="194" y="16"/>
                  <a:pt x="194" y="16"/>
                </a:cubicBezTo>
                <a:cubicBezTo>
                  <a:pt x="195" y="16"/>
                  <a:pt x="195" y="16"/>
                  <a:pt x="195" y="16"/>
                </a:cubicBezTo>
                <a:cubicBezTo>
                  <a:pt x="196" y="16"/>
                  <a:pt x="196" y="16"/>
                  <a:pt x="196" y="16"/>
                </a:cubicBezTo>
                <a:cubicBezTo>
                  <a:pt x="198" y="17"/>
                  <a:pt x="198" y="17"/>
                  <a:pt x="198" y="17"/>
                </a:cubicBezTo>
                <a:cubicBezTo>
                  <a:pt x="198" y="18"/>
                  <a:pt x="198" y="18"/>
                  <a:pt x="198" y="18"/>
                </a:cubicBezTo>
                <a:cubicBezTo>
                  <a:pt x="199" y="18"/>
                  <a:pt x="199" y="18"/>
                  <a:pt x="199" y="18"/>
                </a:cubicBezTo>
                <a:cubicBezTo>
                  <a:pt x="199" y="19"/>
                  <a:pt x="199" y="19"/>
                  <a:pt x="199" y="19"/>
                </a:cubicBezTo>
                <a:cubicBezTo>
                  <a:pt x="200" y="19"/>
                  <a:pt x="200" y="19"/>
                  <a:pt x="200" y="19"/>
                </a:cubicBezTo>
                <a:cubicBezTo>
                  <a:pt x="200" y="19"/>
                  <a:pt x="200" y="19"/>
                  <a:pt x="200" y="19"/>
                </a:cubicBezTo>
                <a:cubicBezTo>
                  <a:pt x="202" y="20"/>
                  <a:pt x="202" y="20"/>
                  <a:pt x="202" y="20"/>
                </a:cubicBezTo>
                <a:cubicBezTo>
                  <a:pt x="202" y="21"/>
                  <a:pt x="202" y="21"/>
                  <a:pt x="202" y="21"/>
                </a:cubicBezTo>
                <a:cubicBezTo>
                  <a:pt x="203" y="20"/>
                  <a:pt x="203" y="20"/>
                  <a:pt x="203" y="20"/>
                </a:cubicBezTo>
                <a:cubicBezTo>
                  <a:pt x="204" y="20"/>
                  <a:pt x="204" y="20"/>
                  <a:pt x="204" y="20"/>
                </a:cubicBezTo>
                <a:cubicBezTo>
                  <a:pt x="205" y="20"/>
                  <a:pt x="205" y="20"/>
                  <a:pt x="205" y="20"/>
                </a:cubicBezTo>
                <a:cubicBezTo>
                  <a:pt x="206" y="20"/>
                  <a:pt x="206" y="20"/>
                  <a:pt x="206" y="20"/>
                </a:cubicBezTo>
                <a:cubicBezTo>
                  <a:pt x="208" y="21"/>
                  <a:pt x="208" y="21"/>
                  <a:pt x="208" y="21"/>
                </a:cubicBezTo>
                <a:cubicBezTo>
                  <a:pt x="209" y="21"/>
                  <a:pt x="209" y="21"/>
                  <a:pt x="209" y="21"/>
                </a:cubicBezTo>
                <a:cubicBezTo>
                  <a:pt x="209" y="23"/>
                  <a:pt x="209" y="23"/>
                  <a:pt x="209" y="23"/>
                </a:cubicBezTo>
                <a:cubicBezTo>
                  <a:pt x="211" y="24"/>
                  <a:pt x="211" y="24"/>
                  <a:pt x="211" y="24"/>
                </a:cubicBezTo>
                <a:cubicBezTo>
                  <a:pt x="213" y="24"/>
                  <a:pt x="213" y="24"/>
                  <a:pt x="213" y="24"/>
                </a:cubicBezTo>
                <a:cubicBezTo>
                  <a:pt x="213" y="25"/>
                  <a:pt x="213" y="25"/>
                  <a:pt x="213" y="25"/>
                </a:cubicBezTo>
                <a:cubicBezTo>
                  <a:pt x="214" y="25"/>
                  <a:pt x="214" y="25"/>
                  <a:pt x="214" y="25"/>
                </a:cubicBezTo>
                <a:cubicBezTo>
                  <a:pt x="216" y="25"/>
                  <a:pt x="216" y="25"/>
                  <a:pt x="216" y="25"/>
                </a:cubicBezTo>
                <a:cubicBezTo>
                  <a:pt x="217" y="25"/>
                  <a:pt x="217" y="25"/>
                  <a:pt x="217" y="25"/>
                </a:cubicBezTo>
                <a:cubicBezTo>
                  <a:pt x="218" y="25"/>
                  <a:pt x="218" y="25"/>
                  <a:pt x="218" y="25"/>
                </a:cubicBezTo>
                <a:cubicBezTo>
                  <a:pt x="219" y="26"/>
                  <a:pt x="219" y="26"/>
                  <a:pt x="219" y="26"/>
                </a:cubicBezTo>
                <a:cubicBezTo>
                  <a:pt x="222" y="26"/>
                  <a:pt x="222" y="26"/>
                  <a:pt x="222" y="26"/>
                </a:cubicBezTo>
                <a:cubicBezTo>
                  <a:pt x="222" y="27"/>
                  <a:pt x="222" y="27"/>
                  <a:pt x="222" y="27"/>
                </a:cubicBezTo>
                <a:cubicBezTo>
                  <a:pt x="224" y="27"/>
                  <a:pt x="224" y="27"/>
                  <a:pt x="224" y="27"/>
                </a:cubicBezTo>
                <a:cubicBezTo>
                  <a:pt x="225" y="28"/>
                  <a:pt x="225" y="28"/>
                  <a:pt x="225" y="28"/>
                </a:cubicBezTo>
                <a:cubicBezTo>
                  <a:pt x="250" y="40"/>
                  <a:pt x="250" y="40"/>
                  <a:pt x="250" y="40"/>
                </a:cubicBezTo>
                <a:cubicBezTo>
                  <a:pt x="251" y="42"/>
                  <a:pt x="251" y="42"/>
                  <a:pt x="251" y="42"/>
                </a:cubicBezTo>
                <a:cubicBezTo>
                  <a:pt x="255" y="45"/>
                  <a:pt x="255" y="45"/>
                  <a:pt x="255" y="45"/>
                </a:cubicBezTo>
                <a:cubicBezTo>
                  <a:pt x="259" y="64"/>
                  <a:pt x="259" y="64"/>
                  <a:pt x="259" y="64"/>
                </a:cubicBezTo>
                <a:cubicBezTo>
                  <a:pt x="259" y="73"/>
                  <a:pt x="259" y="73"/>
                  <a:pt x="259" y="73"/>
                </a:cubicBezTo>
                <a:cubicBezTo>
                  <a:pt x="258" y="74"/>
                  <a:pt x="258" y="74"/>
                  <a:pt x="258" y="74"/>
                </a:cubicBezTo>
                <a:cubicBezTo>
                  <a:pt x="257" y="75"/>
                  <a:pt x="257" y="75"/>
                  <a:pt x="257" y="75"/>
                </a:cubicBezTo>
                <a:cubicBezTo>
                  <a:pt x="256" y="77"/>
                  <a:pt x="256" y="77"/>
                  <a:pt x="256" y="77"/>
                </a:cubicBezTo>
                <a:cubicBezTo>
                  <a:pt x="254" y="78"/>
                  <a:pt x="254" y="78"/>
                  <a:pt x="254" y="78"/>
                </a:cubicBezTo>
                <a:cubicBezTo>
                  <a:pt x="253" y="79"/>
                  <a:pt x="253" y="79"/>
                  <a:pt x="253" y="79"/>
                </a:cubicBezTo>
                <a:cubicBezTo>
                  <a:pt x="254" y="81"/>
                  <a:pt x="254" y="81"/>
                  <a:pt x="254" y="81"/>
                </a:cubicBezTo>
                <a:cubicBezTo>
                  <a:pt x="275" y="76"/>
                  <a:pt x="275" y="76"/>
                  <a:pt x="275" y="76"/>
                </a:cubicBezTo>
                <a:cubicBezTo>
                  <a:pt x="278" y="75"/>
                  <a:pt x="278" y="75"/>
                  <a:pt x="278" y="75"/>
                </a:cubicBezTo>
                <a:cubicBezTo>
                  <a:pt x="279" y="72"/>
                  <a:pt x="279" y="72"/>
                  <a:pt x="279" y="72"/>
                </a:cubicBezTo>
                <a:cubicBezTo>
                  <a:pt x="291" y="68"/>
                  <a:pt x="291" y="68"/>
                  <a:pt x="291" y="68"/>
                </a:cubicBezTo>
                <a:cubicBezTo>
                  <a:pt x="296" y="64"/>
                  <a:pt x="296" y="64"/>
                  <a:pt x="296" y="64"/>
                </a:cubicBezTo>
                <a:cubicBezTo>
                  <a:pt x="297" y="63"/>
                  <a:pt x="297" y="63"/>
                  <a:pt x="297" y="63"/>
                </a:cubicBezTo>
                <a:cubicBezTo>
                  <a:pt x="299" y="63"/>
                  <a:pt x="299" y="63"/>
                  <a:pt x="299" y="63"/>
                </a:cubicBezTo>
                <a:cubicBezTo>
                  <a:pt x="301" y="60"/>
                  <a:pt x="301" y="60"/>
                  <a:pt x="301" y="60"/>
                </a:cubicBezTo>
                <a:cubicBezTo>
                  <a:pt x="303" y="59"/>
                  <a:pt x="303" y="59"/>
                  <a:pt x="303" y="59"/>
                </a:cubicBezTo>
                <a:cubicBezTo>
                  <a:pt x="304" y="59"/>
                  <a:pt x="304" y="59"/>
                  <a:pt x="304" y="59"/>
                </a:cubicBezTo>
                <a:cubicBezTo>
                  <a:pt x="305" y="58"/>
                  <a:pt x="305" y="58"/>
                  <a:pt x="305" y="58"/>
                </a:cubicBezTo>
                <a:cubicBezTo>
                  <a:pt x="308" y="57"/>
                  <a:pt x="308" y="57"/>
                  <a:pt x="308" y="57"/>
                </a:cubicBezTo>
                <a:cubicBezTo>
                  <a:pt x="326" y="58"/>
                  <a:pt x="326" y="58"/>
                  <a:pt x="326" y="58"/>
                </a:cubicBezTo>
                <a:cubicBezTo>
                  <a:pt x="327" y="56"/>
                  <a:pt x="327" y="56"/>
                  <a:pt x="327" y="56"/>
                </a:cubicBezTo>
                <a:cubicBezTo>
                  <a:pt x="328" y="56"/>
                  <a:pt x="328" y="56"/>
                  <a:pt x="328" y="56"/>
                </a:cubicBezTo>
                <a:cubicBezTo>
                  <a:pt x="328" y="56"/>
                  <a:pt x="328" y="56"/>
                  <a:pt x="328" y="56"/>
                </a:cubicBezTo>
                <a:cubicBezTo>
                  <a:pt x="329" y="56"/>
                  <a:pt x="329" y="56"/>
                  <a:pt x="329" y="56"/>
                </a:cubicBezTo>
                <a:cubicBezTo>
                  <a:pt x="330" y="56"/>
                  <a:pt x="330" y="56"/>
                  <a:pt x="330" y="56"/>
                </a:cubicBezTo>
                <a:cubicBezTo>
                  <a:pt x="331" y="55"/>
                  <a:pt x="331" y="55"/>
                  <a:pt x="331" y="55"/>
                </a:cubicBezTo>
                <a:cubicBezTo>
                  <a:pt x="331" y="55"/>
                  <a:pt x="331" y="55"/>
                  <a:pt x="331" y="55"/>
                </a:cubicBezTo>
                <a:cubicBezTo>
                  <a:pt x="333" y="52"/>
                  <a:pt x="333" y="52"/>
                  <a:pt x="333" y="52"/>
                </a:cubicBezTo>
                <a:cubicBezTo>
                  <a:pt x="334" y="52"/>
                  <a:pt x="334" y="52"/>
                  <a:pt x="334" y="52"/>
                </a:cubicBezTo>
                <a:cubicBezTo>
                  <a:pt x="336" y="50"/>
                  <a:pt x="336" y="50"/>
                  <a:pt x="336" y="50"/>
                </a:cubicBezTo>
                <a:cubicBezTo>
                  <a:pt x="336" y="49"/>
                  <a:pt x="336" y="49"/>
                  <a:pt x="336" y="49"/>
                </a:cubicBezTo>
                <a:cubicBezTo>
                  <a:pt x="337" y="47"/>
                  <a:pt x="337" y="47"/>
                  <a:pt x="337" y="47"/>
                </a:cubicBezTo>
                <a:cubicBezTo>
                  <a:pt x="338" y="46"/>
                  <a:pt x="338" y="46"/>
                  <a:pt x="338" y="46"/>
                </a:cubicBezTo>
                <a:cubicBezTo>
                  <a:pt x="338" y="45"/>
                  <a:pt x="338" y="45"/>
                  <a:pt x="338" y="45"/>
                </a:cubicBezTo>
                <a:cubicBezTo>
                  <a:pt x="339" y="44"/>
                  <a:pt x="339" y="44"/>
                  <a:pt x="339" y="44"/>
                </a:cubicBezTo>
                <a:cubicBezTo>
                  <a:pt x="341" y="41"/>
                  <a:pt x="341" y="41"/>
                  <a:pt x="341" y="41"/>
                </a:cubicBezTo>
                <a:cubicBezTo>
                  <a:pt x="342" y="40"/>
                  <a:pt x="342" y="40"/>
                  <a:pt x="342" y="40"/>
                </a:cubicBezTo>
                <a:cubicBezTo>
                  <a:pt x="343" y="39"/>
                  <a:pt x="343" y="39"/>
                  <a:pt x="343" y="39"/>
                </a:cubicBezTo>
                <a:cubicBezTo>
                  <a:pt x="343" y="39"/>
                  <a:pt x="343" y="39"/>
                  <a:pt x="343" y="39"/>
                </a:cubicBezTo>
                <a:cubicBezTo>
                  <a:pt x="344" y="40"/>
                  <a:pt x="344" y="40"/>
                  <a:pt x="344" y="40"/>
                </a:cubicBezTo>
                <a:cubicBezTo>
                  <a:pt x="345" y="41"/>
                  <a:pt x="345" y="41"/>
                  <a:pt x="345" y="41"/>
                </a:cubicBezTo>
                <a:cubicBezTo>
                  <a:pt x="346" y="40"/>
                  <a:pt x="346" y="40"/>
                  <a:pt x="346" y="40"/>
                </a:cubicBezTo>
                <a:cubicBezTo>
                  <a:pt x="348" y="41"/>
                  <a:pt x="348" y="41"/>
                  <a:pt x="348" y="41"/>
                </a:cubicBezTo>
                <a:cubicBezTo>
                  <a:pt x="348" y="40"/>
                  <a:pt x="348" y="40"/>
                  <a:pt x="348" y="40"/>
                </a:cubicBezTo>
                <a:cubicBezTo>
                  <a:pt x="351" y="43"/>
                  <a:pt x="351" y="43"/>
                  <a:pt x="351" y="43"/>
                </a:cubicBezTo>
                <a:cubicBezTo>
                  <a:pt x="351" y="45"/>
                  <a:pt x="351" y="45"/>
                  <a:pt x="351" y="45"/>
                </a:cubicBezTo>
                <a:cubicBezTo>
                  <a:pt x="350" y="53"/>
                  <a:pt x="350" y="53"/>
                  <a:pt x="350" y="53"/>
                </a:cubicBezTo>
                <a:cubicBezTo>
                  <a:pt x="349" y="53"/>
                  <a:pt x="349" y="53"/>
                  <a:pt x="349" y="53"/>
                </a:cubicBezTo>
                <a:cubicBezTo>
                  <a:pt x="350" y="54"/>
                  <a:pt x="350" y="54"/>
                  <a:pt x="350" y="54"/>
                </a:cubicBezTo>
                <a:cubicBezTo>
                  <a:pt x="350" y="54"/>
                  <a:pt x="350" y="54"/>
                  <a:pt x="350" y="54"/>
                </a:cubicBezTo>
                <a:cubicBezTo>
                  <a:pt x="351" y="55"/>
                  <a:pt x="351" y="55"/>
                  <a:pt x="351" y="55"/>
                </a:cubicBezTo>
                <a:cubicBezTo>
                  <a:pt x="351" y="56"/>
                  <a:pt x="351" y="56"/>
                  <a:pt x="351" y="56"/>
                </a:cubicBezTo>
                <a:cubicBezTo>
                  <a:pt x="351" y="57"/>
                  <a:pt x="351" y="57"/>
                  <a:pt x="351" y="57"/>
                </a:cubicBezTo>
                <a:cubicBezTo>
                  <a:pt x="351" y="57"/>
                  <a:pt x="351" y="57"/>
                  <a:pt x="351" y="57"/>
                </a:cubicBezTo>
                <a:cubicBezTo>
                  <a:pt x="350" y="58"/>
                  <a:pt x="350" y="58"/>
                  <a:pt x="350" y="58"/>
                </a:cubicBezTo>
                <a:cubicBezTo>
                  <a:pt x="351" y="58"/>
                  <a:pt x="351" y="58"/>
                  <a:pt x="351" y="58"/>
                </a:cubicBezTo>
                <a:cubicBezTo>
                  <a:pt x="351" y="58"/>
                  <a:pt x="351" y="58"/>
                  <a:pt x="351" y="58"/>
                </a:cubicBezTo>
                <a:cubicBezTo>
                  <a:pt x="351" y="58"/>
                  <a:pt x="351" y="58"/>
                  <a:pt x="351" y="58"/>
                </a:cubicBezTo>
                <a:cubicBezTo>
                  <a:pt x="353" y="60"/>
                  <a:pt x="353" y="60"/>
                  <a:pt x="353" y="60"/>
                </a:cubicBezTo>
                <a:cubicBezTo>
                  <a:pt x="353" y="61"/>
                  <a:pt x="353" y="61"/>
                  <a:pt x="353" y="61"/>
                </a:cubicBezTo>
                <a:cubicBezTo>
                  <a:pt x="354" y="62"/>
                  <a:pt x="354" y="62"/>
                  <a:pt x="354" y="62"/>
                </a:cubicBezTo>
                <a:cubicBezTo>
                  <a:pt x="354" y="61"/>
                  <a:pt x="354" y="61"/>
                  <a:pt x="354" y="61"/>
                </a:cubicBezTo>
                <a:cubicBezTo>
                  <a:pt x="355" y="62"/>
                  <a:pt x="355" y="62"/>
                  <a:pt x="355" y="62"/>
                </a:cubicBezTo>
                <a:cubicBezTo>
                  <a:pt x="355" y="63"/>
                  <a:pt x="355" y="63"/>
                  <a:pt x="355" y="63"/>
                </a:cubicBezTo>
                <a:cubicBezTo>
                  <a:pt x="353" y="63"/>
                  <a:pt x="353" y="63"/>
                  <a:pt x="353" y="63"/>
                </a:cubicBezTo>
                <a:cubicBezTo>
                  <a:pt x="353" y="62"/>
                  <a:pt x="353" y="62"/>
                  <a:pt x="353" y="62"/>
                </a:cubicBezTo>
                <a:cubicBezTo>
                  <a:pt x="351" y="63"/>
                  <a:pt x="351" y="63"/>
                  <a:pt x="351" y="63"/>
                </a:cubicBezTo>
                <a:cubicBezTo>
                  <a:pt x="350" y="63"/>
                  <a:pt x="350" y="63"/>
                  <a:pt x="350" y="63"/>
                </a:cubicBezTo>
                <a:cubicBezTo>
                  <a:pt x="349" y="64"/>
                  <a:pt x="349" y="64"/>
                  <a:pt x="349" y="64"/>
                </a:cubicBezTo>
                <a:cubicBezTo>
                  <a:pt x="349" y="64"/>
                  <a:pt x="349" y="64"/>
                  <a:pt x="349" y="64"/>
                </a:cubicBezTo>
                <a:cubicBezTo>
                  <a:pt x="348" y="64"/>
                  <a:pt x="348" y="64"/>
                  <a:pt x="348" y="64"/>
                </a:cubicBezTo>
                <a:cubicBezTo>
                  <a:pt x="347" y="65"/>
                  <a:pt x="347" y="65"/>
                  <a:pt x="347" y="65"/>
                </a:cubicBezTo>
                <a:cubicBezTo>
                  <a:pt x="346" y="65"/>
                  <a:pt x="346" y="65"/>
                  <a:pt x="346" y="65"/>
                </a:cubicBezTo>
                <a:cubicBezTo>
                  <a:pt x="345" y="64"/>
                  <a:pt x="345" y="64"/>
                  <a:pt x="345" y="64"/>
                </a:cubicBezTo>
                <a:cubicBezTo>
                  <a:pt x="344" y="64"/>
                  <a:pt x="344" y="64"/>
                  <a:pt x="344" y="64"/>
                </a:cubicBezTo>
                <a:cubicBezTo>
                  <a:pt x="343" y="65"/>
                  <a:pt x="343" y="65"/>
                  <a:pt x="343" y="65"/>
                </a:cubicBezTo>
                <a:cubicBezTo>
                  <a:pt x="342" y="65"/>
                  <a:pt x="342" y="65"/>
                  <a:pt x="342" y="65"/>
                </a:cubicBezTo>
                <a:cubicBezTo>
                  <a:pt x="341" y="64"/>
                  <a:pt x="341" y="64"/>
                  <a:pt x="341" y="64"/>
                </a:cubicBezTo>
                <a:cubicBezTo>
                  <a:pt x="342" y="63"/>
                  <a:pt x="342" y="63"/>
                  <a:pt x="342" y="63"/>
                </a:cubicBezTo>
                <a:cubicBezTo>
                  <a:pt x="340" y="65"/>
                  <a:pt x="340" y="65"/>
                  <a:pt x="340" y="65"/>
                </a:cubicBezTo>
                <a:cubicBezTo>
                  <a:pt x="339" y="67"/>
                  <a:pt x="339" y="67"/>
                  <a:pt x="339" y="67"/>
                </a:cubicBezTo>
                <a:cubicBezTo>
                  <a:pt x="338" y="67"/>
                  <a:pt x="338" y="67"/>
                  <a:pt x="338" y="67"/>
                </a:cubicBezTo>
                <a:cubicBezTo>
                  <a:pt x="338" y="67"/>
                  <a:pt x="338" y="67"/>
                  <a:pt x="338" y="67"/>
                </a:cubicBezTo>
                <a:cubicBezTo>
                  <a:pt x="337" y="68"/>
                  <a:pt x="337" y="68"/>
                  <a:pt x="337" y="68"/>
                </a:cubicBezTo>
                <a:cubicBezTo>
                  <a:pt x="337" y="68"/>
                  <a:pt x="337" y="68"/>
                  <a:pt x="337" y="68"/>
                </a:cubicBezTo>
                <a:cubicBezTo>
                  <a:pt x="336" y="67"/>
                  <a:pt x="336" y="67"/>
                  <a:pt x="336" y="67"/>
                </a:cubicBezTo>
                <a:cubicBezTo>
                  <a:pt x="336" y="68"/>
                  <a:pt x="336" y="68"/>
                  <a:pt x="336" y="68"/>
                </a:cubicBezTo>
                <a:cubicBezTo>
                  <a:pt x="335" y="69"/>
                  <a:pt x="335" y="69"/>
                  <a:pt x="335" y="69"/>
                </a:cubicBezTo>
                <a:cubicBezTo>
                  <a:pt x="334" y="69"/>
                  <a:pt x="334" y="69"/>
                  <a:pt x="334" y="69"/>
                </a:cubicBezTo>
                <a:cubicBezTo>
                  <a:pt x="334" y="68"/>
                  <a:pt x="334" y="68"/>
                  <a:pt x="334" y="68"/>
                </a:cubicBezTo>
                <a:cubicBezTo>
                  <a:pt x="333" y="69"/>
                  <a:pt x="333" y="69"/>
                  <a:pt x="333" y="69"/>
                </a:cubicBezTo>
                <a:cubicBezTo>
                  <a:pt x="333" y="69"/>
                  <a:pt x="333" y="69"/>
                  <a:pt x="333" y="69"/>
                </a:cubicBezTo>
                <a:cubicBezTo>
                  <a:pt x="332" y="71"/>
                  <a:pt x="332" y="71"/>
                  <a:pt x="332" y="71"/>
                </a:cubicBezTo>
                <a:cubicBezTo>
                  <a:pt x="330" y="72"/>
                  <a:pt x="330" y="72"/>
                  <a:pt x="330" y="72"/>
                </a:cubicBezTo>
                <a:cubicBezTo>
                  <a:pt x="329" y="75"/>
                  <a:pt x="329" y="75"/>
                  <a:pt x="329" y="75"/>
                </a:cubicBezTo>
                <a:cubicBezTo>
                  <a:pt x="328" y="76"/>
                  <a:pt x="328" y="76"/>
                  <a:pt x="328" y="76"/>
                </a:cubicBezTo>
                <a:cubicBezTo>
                  <a:pt x="328" y="77"/>
                  <a:pt x="328" y="77"/>
                  <a:pt x="328" y="77"/>
                </a:cubicBezTo>
                <a:cubicBezTo>
                  <a:pt x="327" y="77"/>
                  <a:pt x="327" y="77"/>
                  <a:pt x="327" y="77"/>
                </a:cubicBezTo>
                <a:cubicBezTo>
                  <a:pt x="327" y="78"/>
                  <a:pt x="327" y="78"/>
                  <a:pt x="327" y="78"/>
                </a:cubicBezTo>
                <a:cubicBezTo>
                  <a:pt x="328" y="78"/>
                  <a:pt x="328" y="78"/>
                  <a:pt x="328" y="78"/>
                </a:cubicBezTo>
                <a:cubicBezTo>
                  <a:pt x="328" y="79"/>
                  <a:pt x="328" y="79"/>
                  <a:pt x="328" y="79"/>
                </a:cubicBezTo>
                <a:cubicBezTo>
                  <a:pt x="326" y="81"/>
                  <a:pt x="326" y="81"/>
                  <a:pt x="326" y="81"/>
                </a:cubicBezTo>
                <a:cubicBezTo>
                  <a:pt x="326" y="81"/>
                  <a:pt x="326" y="81"/>
                  <a:pt x="326" y="81"/>
                </a:cubicBezTo>
                <a:cubicBezTo>
                  <a:pt x="327" y="82"/>
                  <a:pt x="327" y="82"/>
                  <a:pt x="327" y="82"/>
                </a:cubicBezTo>
                <a:cubicBezTo>
                  <a:pt x="328" y="84"/>
                  <a:pt x="328" y="84"/>
                  <a:pt x="328" y="84"/>
                </a:cubicBezTo>
                <a:cubicBezTo>
                  <a:pt x="328" y="85"/>
                  <a:pt x="328" y="85"/>
                  <a:pt x="328" y="85"/>
                </a:cubicBezTo>
                <a:cubicBezTo>
                  <a:pt x="330" y="85"/>
                  <a:pt x="330" y="85"/>
                  <a:pt x="330" y="85"/>
                </a:cubicBezTo>
                <a:cubicBezTo>
                  <a:pt x="330" y="84"/>
                  <a:pt x="330" y="84"/>
                  <a:pt x="330" y="84"/>
                </a:cubicBezTo>
                <a:cubicBezTo>
                  <a:pt x="330" y="83"/>
                  <a:pt x="330" y="83"/>
                  <a:pt x="330" y="83"/>
                </a:cubicBezTo>
                <a:cubicBezTo>
                  <a:pt x="331" y="83"/>
                  <a:pt x="331" y="83"/>
                  <a:pt x="331" y="83"/>
                </a:cubicBezTo>
                <a:cubicBezTo>
                  <a:pt x="331" y="85"/>
                  <a:pt x="331" y="85"/>
                  <a:pt x="331" y="85"/>
                </a:cubicBezTo>
                <a:cubicBezTo>
                  <a:pt x="331" y="86"/>
                  <a:pt x="331" y="86"/>
                  <a:pt x="331" y="86"/>
                </a:cubicBezTo>
                <a:cubicBezTo>
                  <a:pt x="328" y="87"/>
                  <a:pt x="328" y="87"/>
                  <a:pt x="328" y="87"/>
                </a:cubicBezTo>
                <a:cubicBezTo>
                  <a:pt x="327" y="87"/>
                  <a:pt x="327" y="87"/>
                  <a:pt x="327" y="87"/>
                </a:cubicBezTo>
                <a:cubicBezTo>
                  <a:pt x="327" y="86"/>
                  <a:pt x="327" y="86"/>
                  <a:pt x="327" y="86"/>
                </a:cubicBezTo>
                <a:cubicBezTo>
                  <a:pt x="326" y="85"/>
                  <a:pt x="326" y="85"/>
                  <a:pt x="326" y="85"/>
                </a:cubicBezTo>
                <a:cubicBezTo>
                  <a:pt x="325" y="87"/>
                  <a:pt x="325" y="87"/>
                  <a:pt x="325" y="87"/>
                </a:cubicBezTo>
                <a:cubicBezTo>
                  <a:pt x="324" y="89"/>
                  <a:pt x="324" y="89"/>
                  <a:pt x="324" y="89"/>
                </a:cubicBezTo>
                <a:cubicBezTo>
                  <a:pt x="323" y="88"/>
                  <a:pt x="323" y="88"/>
                  <a:pt x="323" y="88"/>
                </a:cubicBezTo>
                <a:cubicBezTo>
                  <a:pt x="323" y="88"/>
                  <a:pt x="323" y="88"/>
                  <a:pt x="323" y="88"/>
                </a:cubicBezTo>
                <a:cubicBezTo>
                  <a:pt x="323" y="86"/>
                  <a:pt x="323" y="86"/>
                  <a:pt x="323" y="86"/>
                </a:cubicBezTo>
                <a:cubicBezTo>
                  <a:pt x="322" y="85"/>
                  <a:pt x="322" y="85"/>
                  <a:pt x="322" y="85"/>
                </a:cubicBezTo>
                <a:cubicBezTo>
                  <a:pt x="322" y="86"/>
                  <a:pt x="322" y="86"/>
                  <a:pt x="322" y="86"/>
                </a:cubicBezTo>
                <a:cubicBezTo>
                  <a:pt x="322" y="88"/>
                  <a:pt x="322" y="88"/>
                  <a:pt x="322" y="88"/>
                </a:cubicBezTo>
                <a:cubicBezTo>
                  <a:pt x="323" y="89"/>
                  <a:pt x="323" y="89"/>
                  <a:pt x="323" y="89"/>
                </a:cubicBezTo>
                <a:cubicBezTo>
                  <a:pt x="322" y="89"/>
                  <a:pt x="322" y="89"/>
                  <a:pt x="322" y="89"/>
                </a:cubicBezTo>
                <a:cubicBezTo>
                  <a:pt x="319" y="89"/>
                  <a:pt x="319" y="89"/>
                  <a:pt x="319" y="89"/>
                </a:cubicBezTo>
                <a:cubicBezTo>
                  <a:pt x="318" y="89"/>
                  <a:pt x="318" y="89"/>
                  <a:pt x="318" y="89"/>
                </a:cubicBezTo>
                <a:cubicBezTo>
                  <a:pt x="316" y="89"/>
                  <a:pt x="316" y="89"/>
                  <a:pt x="316" y="89"/>
                </a:cubicBezTo>
                <a:cubicBezTo>
                  <a:pt x="314" y="89"/>
                  <a:pt x="314" y="89"/>
                  <a:pt x="314" y="89"/>
                </a:cubicBezTo>
                <a:cubicBezTo>
                  <a:pt x="313" y="89"/>
                  <a:pt x="313" y="89"/>
                  <a:pt x="313" y="89"/>
                </a:cubicBezTo>
                <a:cubicBezTo>
                  <a:pt x="313" y="89"/>
                  <a:pt x="313" y="89"/>
                  <a:pt x="313" y="89"/>
                </a:cubicBezTo>
                <a:cubicBezTo>
                  <a:pt x="311" y="90"/>
                  <a:pt x="311" y="90"/>
                  <a:pt x="311" y="90"/>
                </a:cubicBezTo>
                <a:cubicBezTo>
                  <a:pt x="309" y="90"/>
                  <a:pt x="309" y="90"/>
                  <a:pt x="309" y="90"/>
                </a:cubicBezTo>
                <a:cubicBezTo>
                  <a:pt x="307" y="91"/>
                  <a:pt x="307" y="91"/>
                  <a:pt x="307" y="91"/>
                </a:cubicBezTo>
                <a:cubicBezTo>
                  <a:pt x="306" y="92"/>
                  <a:pt x="306" y="92"/>
                  <a:pt x="306" y="92"/>
                </a:cubicBezTo>
                <a:cubicBezTo>
                  <a:pt x="305" y="93"/>
                  <a:pt x="305" y="93"/>
                  <a:pt x="305" y="93"/>
                </a:cubicBezTo>
                <a:cubicBezTo>
                  <a:pt x="305" y="94"/>
                  <a:pt x="305" y="94"/>
                  <a:pt x="305" y="94"/>
                </a:cubicBezTo>
                <a:cubicBezTo>
                  <a:pt x="304" y="94"/>
                  <a:pt x="304" y="94"/>
                  <a:pt x="304" y="94"/>
                </a:cubicBezTo>
                <a:cubicBezTo>
                  <a:pt x="304" y="95"/>
                  <a:pt x="304" y="95"/>
                  <a:pt x="304" y="95"/>
                </a:cubicBezTo>
                <a:cubicBezTo>
                  <a:pt x="305" y="96"/>
                  <a:pt x="305" y="96"/>
                  <a:pt x="305" y="96"/>
                </a:cubicBezTo>
                <a:cubicBezTo>
                  <a:pt x="305" y="97"/>
                  <a:pt x="305" y="97"/>
                  <a:pt x="305" y="97"/>
                </a:cubicBezTo>
                <a:cubicBezTo>
                  <a:pt x="304" y="98"/>
                  <a:pt x="304" y="98"/>
                  <a:pt x="304" y="98"/>
                </a:cubicBezTo>
                <a:cubicBezTo>
                  <a:pt x="304" y="98"/>
                  <a:pt x="304" y="98"/>
                  <a:pt x="304" y="98"/>
                </a:cubicBezTo>
                <a:cubicBezTo>
                  <a:pt x="304" y="99"/>
                  <a:pt x="304" y="99"/>
                  <a:pt x="304" y="99"/>
                </a:cubicBezTo>
                <a:cubicBezTo>
                  <a:pt x="304" y="100"/>
                  <a:pt x="304" y="100"/>
                  <a:pt x="304" y="100"/>
                </a:cubicBezTo>
                <a:cubicBezTo>
                  <a:pt x="304" y="101"/>
                  <a:pt x="304" y="101"/>
                  <a:pt x="304" y="101"/>
                </a:cubicBezTo>
                <a:cubicBezTo>
                  <a:pt x="303" y="102"/>
                  <a:pt x="303" y="102"/>
                  <a:pt x="303" y="102"/>
                </a:cubicBezTo>
                <a:cubicBezTo>
                  <a:pt x="303" y="102"/>
                  <a:pt x="303" y="102"/>
                  <a:pt x="303" y="102"/>
                </a:cubicBezTo>
                <a:cubicBezTo>
                  <a:pt x="302" y="103"/>
                  <a:pt x="302" y="103"/>
                  <a:pt x="302" y="103"/>
                </a:cubicBezTo>
                <a:cubicBezTo>
                  <a:pt x="301" y="105"/>
                  <a:pt x="301" y="105"/>
                  <a:pt x="301" y="105"/>
                </a:cubicBezTo>
                <a:cubicBezTo>
                  <a:pt x="301" y="105"/>
                  <a:pt x="301" y="105"/>
                  <a:pt x="301" y="105"/>
                </a:cubicBezTo>
                <a:cubicBezTo>
                  <a:pt x="300" y="106"/>
                  <a:pt x="300" y="106"/>
                  <a:pt x="300" y="106"/>
                </a:cubicBezTo>
                <a:cubicBezTo>
                  <a:pt x="300" y="105"/>
                  <a:pt x="300" y="105"/>
                  <a:pt x="300" y="105"/>
                </a:cubicBezTo>
                <a:cubicBezTo>
                  <a:pt x="299" y="106"/>
                  <a:pt x="299" y="106"/>
                  <a:pt x="299" y="106"/>
                </a:cubicBezTo>
                <a:cubicBezTo>
                  <a:pt x="298" y="108"/>
                  <a:pt x="298" y="108"/>
                  <a:pt x="298" y="108"/>
                </a:cubicBezTo>
                <a:cubicBezTo>
                  <a:pt x="298" y="107"/>
                  <a:pt x="298" y="107"/>
                  <a:pt x="298" y="107"/>
                </a:cubicBezTo>
                <a:cubicBezTo>
                  <a:pt x="297" y="108"/>
                  <a:pt x="297" y="108"/>
                  <a:pt x="297" y="108"/>
                </a:cubicBezTo>
                <a:cubicBezTo>
                  <a:pt x="298" y="106"/>
                  <a:pt x="298" y="106"/>
                  <a:pt x="298" y="106"/>
                </a:cubicBezTo>
                <a:cubicBezTo>
                  <a:pt x="298" y="106"/>
                  <a:pt x="298" y="106"/>
                  <a:pt x="298" y="106"/>
                </a:cubicBezTo>
                <a:cubicBezTo>
                  <a:pt x="297" y="106"/>
                  <a:pt x="297" y="106"/>
                  <a:pt x="297" y="106"/>
                </a:cubicBezTo>
                <a:cubicBezTo>
                  <a:pt x="295" y="104"/>
                  <a:pt x="295" y="104"/>
                  <a:pt x="295" y="104"/>
                </a:cubicBezTo>
                <a:cubicBezTo>
                  <a:pt x="295" y="103"/>
                  <a:pt x="295" y="103"/>
                  <a:pt x="295" y="103"/>
                </a:cubicBezTo>
                <a:cubicBezTo>
                  <a:pt x="295" y="103"/>
                  <a:pt x="295" y="103"/>
                  <a:pt x="295" y="103"/>
                </a:cubicBezTo>
                <a:cubicBezTo>
                  <a:pt x="297" y="100"/>
                  <a:pt x="297" y="100"/>
                  <a:pt x="297" y="100"/>
                </a:cubicBezTo>
                <a:cubicBezTo>
                  <a:pt x="296" y="101"/>
                  <a:pt x="296" y="101"/>
                  <a:pt x="296" y="101"/>
                </a:cubicBezTo>
                <a:cubicBezTo>
                  <a:pt x="295" y="102"/>
                  <a:pt x="295" y="102"/>
                  <a:pt x="295" y="102"/>
                </a:cubicBezTo>
                <a:cubicBezTo>
                  <a:pt x="294" y="103"/>
                  <a:pt x="294" y="103"/>
                  <a:pt x="294" y="103"/>
                </a:cubicBezTo>
                <a:cubicBezTo>
                  <a:pt x="294" y="105"/>
                  <a:pt x="294" y="105"/>
                  <a:pt x="294" y="105"/>
                </a:cubicBezTo>
                <a:cubicBezTo>
                  <a:pt x="295" y="105"/>
                  <a:pt x="295" y="105"/>
                  <a:pt x="295" y="105"/>
                </a:cubicBezTo>
                <a:cubicBezTo>
                  <a:pt x="295" y="107"/>
                  <a:pt x="295" y="107"/>
                  <a:pt x="295" y="107"/>
                </a:cubicBezTo>
                <a:cubicBezTo>
                  <a:pt x="295" y="108"/>
                  <a:pt x="295" y="108"/>
                  <a:pt x="295" y="108"/>
                </a:cubicBezTo>
                <a:cubicBezTo>
                  <a:pt x="296" y="110"/>
                  <a:pt x="296" y="110"/>
                  <a:pt x="296" y="110"/>
                </a:cubicBezTo>
                <a:cubicBezTo>
                  <a:pt x="296" y="111"/>
                  <a:pt x="296" y="111"/>
                  <a:pt x="296" y="111"/>
                </a:cubicBezTo>
                <a:cubicBezTo>
                  <a:pt x="295" y="114"/>
                  <a:pt x="295" y="114"/>
                  <a:pt x="295" y="114"/>
                </a:cubicBezTo>
                <a:cubicBezTo>
                  <a:pt x="294" y="114"/>
                  <a:pt x="294" y="114"/>
                  <a:pt x="294" y="114"/>
                </a:cubicBezTo>
                <a:cubicBezTo>
                  <a:pt x="293" y="117"/>
                  <a:pt x="293" y="117"/>
                  <a:pt x="293" y="117"/>
                </a:cubicBezTo>
                <a:cubicBezTo>
                  <a:pt x="292" y="118"/>
                  <a:pt x="292" y="118"/>
                  <a:pt x="292" y="118"/>
                </a:cubicBezTo>
                <a:cubicBezTo>
                  <a:pt x="292" y="119"/>
                  <a:pt x="292" y="119"/>
                  <a:pt x="292" y="119"/>
                </a:cubicBezTo>
                <a:cubicBezTo>
                  <a:pt x="292" y="119"/>
                  <a:pt x="292" y="119"/>
                  <a:pt x="292" y="119"/>
                </a:cubicBezTo>
                <a:cubicBezTo>
                  <a:pt x="292" y="119"/>
                  <a:pt x="292" y="119"/>
                  <a:pt x="292" y="119"/>
                </a:cubicBezTo>
                <a:cubicBezTo>
                  <a:pt x="291" y="118"/>
                  <a:pt x="291" y="118"/>
                  <a:pt x="291" y="118"/>
                </a:cubicBezTo>
                <a:cubicBezTo>
                  <a:pt x="290" y="121"/>
                  <a:pt x="290" y="121"/>
                  <a:pt x="290" y="121"/>
                </a:cubicBezTo>
                <a:cubicBezTo>
                  <a:pt x="290" y="121"/>
                  <a:pt x="290" y="121"/>
                  <a:pt x="290" y="121"/>
                </a:cubicBezTo>
                <a:cubicBezTo>
                  <a:pt x="290" y="122"/>
                  <a:pt x="290" y="122"/>
                  <a:pt x="290" y="122"/>
                </a:cubicBezTo>
                <a:cubicBezTo>
                  <a:pt x="290" y="121"/>
                  <a:pt x="290" y="121"/>
                  <a:pt x="290" y="121"/>
                </a:cubicBezTo>
                <a:cubicBezTo>
                  <a:pt x="290" y="119"/>
                  <a:pt x="290" y="119"/>
                  <a:pt x="290" y="119"/>
                </a:cubicBezTo>
                <a:cubicBezTo>
                  <a:pt x="291" y="118"/>
                  <a:pt x="291" y="118"/>
                  <a:pt x="291" y="118"/>
                </a:cubicBezTo>
                <a:cubicBezTo>
                  <a:pt x="290" y="117"/>
                  <a:pt x="290" y="117"/>
                  <a:pt x="290" y="117"/>
                </a:cubicBezTo>
                <a:cubicBezTo>
                  <a:pt x="291" y="116"/>
                  <a:pt x="291" y="116"/>
                  <a:pt x="291" y="116"/>
                </a:cubicBezTo>
                <a:cubicBezTo>
                  <a:pt x="291" y="116"/>
                  <a:pt x="291" y="116"/>
                  <a:pt x="291" y="116"/>
                </a:cubicBezTo>
                <a:cubicBezTo>
                  <a:pt x="292" y="115"/>
                  <a:pt x="292" y="115"/>
                  <a:pt x="292" y="115"/>
                </a:cubicBezTo>
                <a:cubicBezTo>
                  <a:pt x="291" y="115"/>
                  <a:pt x="291" y="115"/>
                  <a:pt x="291" y="115"/>
                </a:cubicBezTo>
                <a:cubicBezTo>
                  <a:pt x="290" y="114"/>
                  <a:pt x="290" y="114"/>
                  <a:pt x="290" y="114"/>
                </a:cubicBezTo>
                <a:cubicBezTo>
                  <a:pt x="291" y="114"/>
                  <a:pt x="291" y="114"/>
                  <a:pt x="291" y="114"/>
                </a:cubicBezTo>
                <a:cubicBezTo>
                  <a:pt x="291" y="114"/>
                  <a:pt x="291" y="114"/>
                  <a:pt x="291" y="114"/>
                </a:cubicBezTo>
                <a:cubicBezTo>
                  <a:pt x="290" y="114"/>
                  <a:pt x="290" y="114"/>
                  <a:pt x="290" y="114"/>
                </a:cubicBezTo>
                <a:cubicBezTo>
                  <a:pt x="290" y="113"/>
                  <a:pt x="290" y="113"/>
                  <a:pt x="290" y="113"/>
                </a:cubicBezTo>
                <a:cubicBezTo>
                  <a:pt x="289" y="114"/>
                  <a:pt x="289" y="114"/>
                  <a:pt x="289" y="114"/>
                </a:cubicBezTo>
                <a:cubicBezTo>
                  <a:pt x="288" y="112"/>
                  <a:pt x="288" y="112"/>
                  <a:pt x="288" y="112"/>
                </a:cubicBezTo>
                <a:cubicBezTo>
                  <a:pt x="288" y="111"/>
                  <a:pt x="288" y="111"/>
                  <a:pt x="288" y="111"/>
                </a:cubicBezTo>
                <a:cubicBezTo>
                  <a:pt x="289" y="110"/>
                  <a:pt x="289" y="110"/>
                  <a:pt x="289" y="110"/>
                </a:cubicBezTo>
                <a:cubicBezTo>
                  <a:pt x="290" y="108"/>
                  <a:pt x="290" y="108"/>
                  <a:pt x="290" y="108"/>
                </a:cubicBezTo>
                <a:cubicBezTo>
                  <a:pt x="289" y="106"/>
                  <a:pt x="289" y="106"/>
                  <a:pt x="289" y="106"/>
                </a:cubicBezTo>
                <a:cubicBezTo>
                  <a:pt x="289" y="105"/>
                  <a:pt x="289" y="105"/>
                  <a:pt x="289" y="105"/>
                </a:cubicBezTo>
                <a:cubicBezTo>
                  <a:pt x="290" y="104"/>
                  <a:pt x="290" y="104"/>
                  <a:pt x="290" y="104"/>
                </a:cubicBezTo>
                <a:cubicBezTo>
                  <a:pt x="290" y="104"/>
                  <a:pt x="290" y="104"/>
                  <a:pt x="290" y="104"/>
                </a:cubicBezTo>
                <a:cubicBezTo>
                  <a:pt x="290" y="103"/>
                  <a:pt x="290" y="103"/>
                  <a:pt x="290" y="103"/>
                </a:cubicBezTo>
                <a:cubicBezTo>
                  <a:pt x="290" y="102"/>
                  <a:pt x="290" y="102"/>
                  <a:pt x="290" y="102"/>
                </a:cubicBezTo>
                <a:cubicBezTo>
                  <a:pt x="290" y="103"/>
                  <a:pt x="290" y="103"/>
                  <a:pt x="290" y="103"/>
                </a:cubicBezTo>
                <a:cubicBezTo>
                  <a:pt x="290" y="104"/>
                  <a:pt x="290" y="104"/>
                  <a:pt x="290" y="104"/>
                </a:cubicBezTo>
                <a:cubicBezTo>
                  <a:pt x="288" y="105"/>
                  <a:pt x="288" y="105"/>
                  <a:pt x="288" y="105"/>
                </a:cubicBezTo>
                <a:cubicBezTo>
                  <a:pt x="288" y="105"/>
                  <a:pt x="288" y="105"/>
                  <a:pt x="288" y="105"/>
                </a:cubicBezTo>
                <a:cubicBezTo>
                  <a:pt x="287" y="105"/>
                  <a:pt x="287" y="105"/>
                  <a:pt x="287" y="105"/>
                </a:cubicBezTo>
                <a:cubicBezTo>
                  <a:pt x="288" y="106"/>
                  <a:pt x="288" y="106"/>
                  <a:pt x="288" y="106"/>
                </a:cubicBezTo>
                <a:cubicBezTo>
                  <a:pt x="287" y="107"/>
                  <a:pt x="287" y="107"/>
                  <a:pt x="287" y="107"/>
                </a:cubicBezTo>
                <a:cubicBezTo>
                  <a:pt x="287" y="109"/>
                  <a:pt x="287" y="109"/>
                  <a:pt x="287" y="109"/>
                </a:cubicBezTo>
                <a:cubicBezTo>
                  <a:pt x="287" y="110"/>
                  <a:pt x="287" y="110"/>
                  <a:pt x="287" y="110"/>
                </a:cubicBezTo>
                <a:cubicBezTo>
                  <a:pt x="287" y="110"/>
                  <a:pt x="287" y="110"/>
                  <a:pt x="287" y="110"/>
                </a:cubicBezTo>
                <a:cubicBezTo>
                  <a:pt x="287" y="112"/>
                  <a:pt x="287" y="112"/>
                  <a:pt x="287" y="112"/>
                </a:cubicBezTo>
                <a:cubicBezTo>
                  <a:pt x="287" y="114"/>
                  <a:pt x="287" y="114"/>
                  <a:pt x="287" y="114"/>
                </a:cubicBezTo>
                <a:cubicBezTo>
                  <a:pt x="287" y="114"/>
                  <a:pt x="287" y="114"/>
                  <a:pt x="287" y="114"/>
                </a:cubicBezTo>
                <a:cubicBezTo>
                  <a:pt x="285" y="112"/>
                  <a:pt x="285" y="112"/>
                  <a:pt x="285" y="112"/>
                </a:cubicBezTo>
                <a:cubicBezTo>
                  <a:pt x="284" y="112"/>
                  <a:pt x="284" y="112"/>
                  <a:pt x="284" y="112"/>
                </a:cubicBezTo>
                <a:cubicBezTo>
                  <a:pt x="283" y="111"/>
                  <a:pt x="283" y="111"/>
                  <a:pt x="283" y="111"/>
                </a:cubicBezTo>
                <a:cubicBezTo>
                  <a:pt x="283" y="111"/>
                  <a:pt x="283" y="111"/>
                  <a:pt x="283" y="111"/>
                </a:cubicBezTo>
                <a:cubicBezTo>
                  <a:pt x="283" y="110"/>
                  <a:pt x="283" y="110"/>
                  <a:pt x="283" y="110"/>
                </a:cubicBezTo>
                <a:cubicBezTo>
                  <a:pt x="283" y="109"/>
                  <a:pt x="283" y="109"/>
                  <a:pt x="283" y="109"/>
                </a:cubicBezTo>
                <a:cubicBezTo>
                  <a:pt x="282" y="110"/>
                  <a:pt x="282" y="110"/>
                  <a:pt x="282" y="110"/>
                </a:cubicBezTo>
                <a:cubicBezTo>
                  <a:pt x="282" y="111"/>
                  <a:pt x="282" y="111"/>
                  <a:pt x="282" y="111"/>
                </a:cubicBezTo>
                <a:cubicBezTo>
                  <a:pt x="283" y="112"/>
                  <a:pt x="283" y="112"/>
                  <a:pt x="283" y="112"/>
                </a:cubicBezTo>
                <a:cubicBezTo>
                  <a:pt x="284" y="113"/>
                  <a:pt x="284" y="113"/>
                  <a:pt x="284" y="113"/>
                </a:cubicBezTo>
                <a:cubicBezTo>
                  <a:pt x="285" y="113"/>
                  <a:pt x="285" y="113"/>
                  <a:pt x="285" y="113"/>
                </a:cubicBezTo>
                <a:cubicBezTo>
                  <a:pt x="287" y="115"/>
                  <a:pt x="287" y="115"/>
                  <a:pt x="287" y="115"/>
                </a:cubicBezTo>
                <a:cubicBezTo>
                  <a:pt x="288" y="116"/>
                  <a:pt x="288" y="116"/>
                  <a:pt x="288" y="116"/>
                </a:cubicBezTo>
                <a:cubicBezTo>
                  <a:pt x="288" y="117"/>
                  <a:pt x="288" y="117"/>
                  <a:pt x="288" y="117"/>
                </a:cubicBezTo>
                <a:cubicBezTo>
                  <a:pt x="287" y="118"/>
                  <a:pt x="287" y="118"/>
                  <a:pt x="287" y="118"/>
                </a:cubicBezTo>
                <a:cubicBezTo>
                  <a:pt x="286" y="118"/>
                  <a:pt x="286" y="118"/>
                  <a:pt x="286" y="118"/>
                </a:cubicBezTo>
                <a:cubicBezTo>
                  <a:pt x="286" y="117"/>
                  <a:pt x="286" y="117"/>
                  <a:pt x="286" y="117"/>
                </a:cubicBezTo>
                <a:cubicBezTo>
                  <a:pt x="285" y="116"/>
                  <a:pt x="285" y="116"/>
                  <a:pt x="285" y="116"/>
                </a:cubicBezTo>
                <a:cubicBezTo>
                  <a:pt x="286" y="118"/>
                  <a:pt x="286" y="118"/>
                  <a:pt x="286" y="118"/>
                </a:cubicBezTo>
                <a:cubicBezTo>
                  <a:pt x="287" y="119"/>
                  <a:pt x="287" y="119"/>
                  <a:pt x="287" y="119"/>
                </a:cubicBezTo>
                <a:cubicBezTo>
                  <a:pt x="288" y="120"/>
                  <a:pt x="288" y="120"/>
                  <a:pt x="288" y="120"/>
                </a:cubicBezTo>
                <a:cubicBezTo>
                  <a:pt x="287" y="120"/>
                  <a:pt x="287" y="120"/>
                  <a:pt x="287" y="120"/>
                </a:cubicBezTo>
                <a:cubicBezTo>
                  <a:pt x="287" y="121"/>
                  <a:pt x="287" y="121"/>
                  <a:pt x="287" y="121"/>
                </a:cubicBezTo>
                <a:cubicBezTo>
                  <a:pt x="286" y="120"/>
                  <a:pt x="286" y="120"/>
                  <a:pt x="286" y="120"/>
                </a:cubicBezTo>
                <a:cubicBezTo>
                  <a:pt x="288" y="122"/>
                  <a:pt x="288" y="122"/>
                  <a:pt x="288" y="122"/>
                </a:cubicBezTo>
                <a:cubicBezTo>
                  <a:pt x="287" y="123"/>
                  <a:pt x="287" y="123"/>
                  <a:pt x="287" y="123"/>
                </a:cubicBezTo>
                <a:cubicBezTo>
                  <a:pt x="286" y="122"/>
                  <a:pt x="286" y="122"/>
                  <a:pt x="286" y="122"/>
                </a:cubicBezTo>
                <a:cubicBezTo>
                  <a:pt x="286" y="121"/>
                  <a:pt x="286" y="121"/>
                  <a:pt x="286" y="121"/>
                </a:cubicBezTo>
                <a:cubicBezTo>
                  <a:pt x="284" y="121"/>
                  <a:pt x="284" y="121"/>
                  <a:pt x="284" y="121"/>
                </a:cubicBezTo>
                <a:cubicBezTo>
                  <a:pt x="283" y="121"/>
                  <a:pt x="283" y="121"/>
                  <a:pt x="283" y="121"/>
                </a:cubicBezTo>
                <a:cubicBezTo>
                  <a:pt x="284" y="122"/>
                  <a:pt x="284" y="122"/>
                  <a:pt x="284" y="122"/>
                </a:cubicBezTo>
                <a:cubicBezTo>
                  <a:pt x="285" y="122"/>
                  <a:pt x="285" y="122"/>
                  <a:pt x="285" y="122"/>
                </a:cubicBezTo>
                <a:cubicBezTo>
                  <a:pt x="286" y="122"/>
                  <a:pt x="286" y="122"/>
                  <a:pt x="286" y="122"/>
                </a:cubicBezTo>
                <a:cubicBezTo>
                  <a:pt x="286" y="124"/>
                  <a:pt x="286" y="124"/>
                  <a:pt x="286" y="124"/>
                </a:cubicBezTo>
                <a:cubicBezTo>
                  <a:pt x="287" y="124"/>
                  <a:pt x="287" y="124"/>
                  <a:pt x="287" y="124"/>
                </a:cubicBezTo>
                <a:cubicBezTo>
                  <a:pt x="288" y="124"/>
                  <a:pt x="288" y="124"/>
                  <a:pt x="288" y="124"/>
                </a:cubicBezTo>
                <a:cubicBezTo>
                  <a:pt x="289" y="124"/>
                  <a:pt x="289" y="124"/>
                  <a:pt x="289" y="124"/>
                </a:cubicBezTo>
                <a:cubicBezTo>
                  <a:pt x="289" y="125"/>
                  <a:pt x="289" y="125"/>
                  <a:pt x="289" y="125"/>
                </a:cubicBezTo>
                <a:cubicBezTo>
                  <a:pt x="289" y="126"/>
                  <a:pt x="289" y="126"/>
                  <a:pt x="289" y="126"/>
                </a:cubicBezTo>
                <a:cubicBezTo>
                  <a:pt x="288" y="126"/>
                  <a:pt x="288" y="126"/>
                  <a:pt x="288" y="126"/>
                </a:cubicBezTo>
                <a:cubicBezTo>
                  <a:pt x="288" y="127"/>
                  <a:pt x="288" y="127"/>
                  <a:pt x="288" y="127"/>
                </a:cubicBezTo>
                <a:cubicBezTo>
                  <a:pt x="288" y="127"/>
                  <a:pt x="288" y="127"/>
                  <a:pt x="288" y="127"/>
                </a:cubicBezTo>
                <a:cubicBezTo>
                  <a:pt x="289" y="129"/>
                  <a:pt x="289" y="129"/>
                  <a:pt x="289" y="129"/>
                </a:cubicBezTo>
                <a:cubicBezTo>
                  <a:pt x="288" y="129"/>
                  <a:pt x="288" y="129"/>
                  <a:pt x="288" y="129"/>
                </a:cubicBezTo>
                <a:cubicBezTo>
                  <a:pt x="287" y="129"/>
                  <a:pt x="287" y="129"/>
                  <a:pt x="287" y="129"/>
                </a:cubicBezTo>
                <a:cubicBezTo>
                  <a:pt x="287" y="130"/>
                  <a:pt x="287" y="130"/>
                  <a:pt x="287" y="130"/>
                </a:cubicBezTo>
                <a:cubicBezTo>
                  <a:pt x="285" y="130"/>
                  <a:pt x="285" y="130"/>
                  <a:pt x="285" y="130"/>
                </a:cubicBezTo>
                <a:cubicBezTo>
                  <a:pt x="285" y="131"/>
                  <a:pt x="285" y="131"/>
                  <a:pt x="285" y="131"/>
                </a:cubicBezTo>
                <a:cubicBezTo>
                  <a:pt x="284" y="130"/>
                  <a:pt x="284" y="130"/>
                  <a:pt x="284" y="130"/>
                </a:cubicBezTo>
                <a:cubicBezTo>
                  <a:pt x="283" y="129"/>
                  <a:pt x="283" y="129"/>
                  <a:pt x="283" y="129"/>
                </a:cubicBezTo>
                <a:cubicBezTo>
                  <a:pt x="283" y="129"/>
                  <a:pt x="283" y="129"/>
                  <a:pt x="283" y="129"/>
                </a:cubicBezTo>
                <a:cubicBezTo>
                  <a:pt x="283" y="131"/>
                  <a:pt x="283" y="131"/>
                  <a:pt x="283" y="131"/>
                </a:cubicBezTo>
                <a:cubicBezTo>
                  <a:pt x="283" y="132"/>
                  <a:pt x="283" y="132"/>
                  <a:pt x="283" y="132"/>
                </a:cubicBezTo>
                <a:cubicBezTo>
                  <a:pt x="284" y="132"/>
                  <a:pt x="284" y="132"/>
                  <a:pt x="284" y="132"/>
                </a:cubicBezTo>
                <a:cubicBezTo>
                  <a:pt x="286" y="131"/>
                  <a:pt x="286" y="131"/>
                  <a:pt x="286" y="131"/>
                </a:cubicBezTo>
                <a:cubicBezTo>
                  <a:pt x="287" y="131"/>
                  <a:pt x="287" y="131"/>
                  <a:pt x="287" y="131"/>
                </a:cubicBezTo>
                <a:cubicBezTo>
                  <a:pt x="287" y="133"/>
                  <a:pt x="287" y="133"/>
                  <a:pt x="287" y="133"/>
                </a:cubicBezTo>
                <a:cubicBezTo>
                  <a:pt x="288" y="134"/>
                  <a:pt x="288" y="134"/>
                  <a:pt x="288" y="134"/>
                </a:cubicBezTo>
                <a:cubicBezTo>
                  <a:pt x="288" y="133"/>
                  <a:pt x="288" y="133"/>
                  <a:pt x="288" y="133"/>
                </a:cubicBezTo>
                <a:cubicBezTo>
                  <a:pt x="288" y="132"/>
                  <a:pt x="288" y="132"/>
                  <a:pt x="288" y="132"/>
                </a:cubicBezTo>
                <a:cubicBezTo>
                  <a:pt x="289" y="131"/>
                  <a:pt x="289" y="131"/>
                  <a:pt x="289" y="131"/>
                </a:cubicBezTo>
                <a:cubicBezTo>
                  <a:pt x="289" y="132"/>
                  <a:pt x="289" y="132"/>
                  <a:pt x="289" y="132"/>
                </a:cubicBezTo>
                <a:cubicBezTo>
                  <a:pt x="289" y="134"/>
                  <a:pt x="289" y="134"/>
                  <a:pt x="289" y="134"/>
                </a:cubicBezTo>
                <a:cubicBezTo>
                  <a:pt x="289" y="134"/>
                  <a:pt x="289" y="134"/>
                  <a:pt x="289" y="134"/>
                </a:cubicBezTo>
                <a:cubicBezTo>
                  <a:pt x="287" y="135"/>
                  <a:pt x="287" y="135"/>
                  <a:pt x="287" y="135"/>
                </a:cubicBezTo>
                <a:cubicBezTo>
                  <a:pt x="287" y="136"/>
                  <a:pt x="287" y="136"/>
                  <a:pt x="287" y="136"/>
                </a:cubicBezTo>
                <a:cubicBezTo>
                  <a:pt x="286" y="136"/>
                  <a:pt x="286" y="136"/>
                  <a:pt x="286" y="136"/>
                </a:cubicBezTo>
                <a:cubicBezTo>
                  <a:pt x="285" y="136"/>
                  <a:pt x="285" y="136"/>
                  <a:pt x="285" y="136"/>
                </a:cubicBezTo>
                <a:cubicBezTo>
                  <a:pt x="285" y="136"/>
                  <a:pt x="285" y="136"/>
                  <a:pt x="285" y="136"/>
                </a:cubicBezTo>
                <a:cubicBezTo>
                  <a:pt x="284" y="135"/>
                  <a:pt x="284" y="135"/>
                  <a:pt x="284" y="135"/>
                </a:cubicBezTo>
                <a:cubicBezTo>
                  <a:pt x="284" y="135"/>
                  <a:pt x="284" y="135"/>
                  <a:pt x="284" y="135"/>
                </a:cubicBezTo>
                <a:cubicBezTo>
                  <a:pt x="283" y="136"/>
                  <a:pt x="283" y="136"/>
                  <a:pt x="283" y="136"/>
                </a:cubicBezTo>
                <a:cubicBezTo>
                  <a:pt x="282" y="135"/>
                  <a:pt x="282" y="135"/>
                  <a:pt x="282" y="135"/>
                </a:cubicBezTo>
                <a:cubicBezTo>
                  <a:pt x="281" y="135"/>
                  <a:pt x="281" y="135"/>
                  <a:pt x="281" y="135"/>
                </a:cubicBezTo>
                <a:cubicBezTo>
                  <a:pt x="282" y="136"/>
                  <a:pt x="282" y="136"/>
                  <a:pt x="282" y="136"/>
                </a:cubicBezTo>
                <a:cubicBezTo>
                  <a:pt x="284" y="136"/>
                  <a:pt x="284" y="136"/>
                  <a:pt x="284" y="136"/>
                </a:cubicBezTo>
                <a:cubicBezTo>
                  <a:pt x="284" y="137"/>
                  <a:pt x="284" y="137"/>
                  <a:pt x="284" y="137"/>
                </a:cubicBezTo>
                <a:cubicBezTo>
                  <a:pt x="283" y="138"/>
                  <a:pt x="283" y="138"/>
                  <a:pt x="283" y="138"/>
                </a:cubicBezTo>
                <a:cubicBezTo>
                  <a:pt x="284" y="138"/>
                  <a:pt x="284" y="138"/>
                  <a:pt x="284" y="138"/>
                </a:cubicBezTo>
                <a:cubicBezTo>
                  <a:pt x="282" y="139"/>
                  <a:pt x="282" y="139"/>
                  <a:pt x="282" y="139"/>
                </a:cubicBezTo>
                <a:cubicBezTo>
                  <a:pt x="281" y="138"/>
                  <a:pt x="281" y="138"/>
                  <a:pt x="281" y="138"/>
                </a:cubicBezTo>
                <a:cubicBezTo>
                  <a:pt x="282" y="139"/>
                  <a:pt x="282" y="139"/>
                  <a:pt x="282" y="139"/>
                </a:cubicBezTo>
                <a:cubicBezTo>
                  <a:pt x="283" y="139"/>
                  <a:pt x="283" y="139"/>
                  <a:pt x="283" y="139"/>
                </a:cubicBezTo>
                <a:cubicBezTo>
                  <a:pt x="284" y="138"/>
                  <a:pt x="284" y="138"/>
                  <a:pt x="284" y="138"/>
                </a:cubicBezTo>
                <a:cubicBezTo>
                  <a:pt x="285" y="139"/>
                  <a:pt x="285" y="139"/>
                  <a:pt x="285" y="139"/>
                </a:cubicBezTo>
                <a:cubicBezTo>
                  <a:pt x="285" y="139"/>
                  <a:pt x="285" y="139"/>
                  <a:pt x="285" y="139"/>
                </a:cubicBezTo>
                <a:cubicBezTo>
                  <a:pt x="284" y="140"/>
                  <a:pt x="284" y="140"/>
                  <a:pt x="284" y="140"/>
                </a:cubicBezTo>
                <a:cubicBezTo>
                  <a:pt x="283" y="140"/>
                  <a:pt x="283" y="140"/>
                  <a:pt x="283" y="140"/>
                </a:cubicBezTo>
                <a:cubicBezTo>
                  <a:pt x="283" y="140"/>
                  <a:pt x="283" y="140"/>
                  <a:pt x="283" y="140"/>
                </a:cubicBezTo>
                <a:cubicBezTo>
                  <a:pt x="282" y="140"/>
                  <a:pt x="282" y="140"/>
                  <a:pt x="282" y="140"/>
                </a:cubicBezTo>
                <a:cubicBezTo>
                  <a:pt x="282" y="140"/>
                  <a:pt x="282" y="140"/>
                  <a:pt x="282" y="140"/>
                </a:cubicBezTo>
                <a:cubicBezTo>
                  <a:pt x="280" y="141"/>
                  <a:pt x="280" y="141"/>
                  <a:pt x="280" y="141"/>
                </a:cubicBezTo>
                <a:cubicBezTo>
                  <a:pt x="277" y="142"/>
                  <a:pt x="277" y="142"/>
                  <a:pt x="277" y="142"/>
                </a:cubicBezTo>
                <a:cubicBezTo>
                  <a:pt x="274" y="145"/>
                  <a:pt x="274" y="145"/>
                  <a:pt x="274" y="145"/>
                </a:cubicBezTo>
                <a:cubicBezTo>
                  <a:pt x="273" y="147"/>
                  <a:pt x="273" y="147"/>
                  <a:pt x="273" y="147"/>
                </a:cubicBezTo>
                <a:cubicBezTo>
                  <a:pt x="272" y="147"/>
                  <a:pt x="272" y="147"/>
                  <a:pt x="272" y="147"/>
                </a:cubicBezTo>
                <a:cubicBezTo>
                  <a:pt x="272" y="146"/>
                  <a:pt x="272" y="146"/>
                  <a:pt x="272" y="146"/>
                </a:cubicBezTo>
                <a:cubicBezTo>
                  <a:pt x="270" y="147"/>
                  <a:pt x="270" y="147"/>
                  <a:pt x="270" y="147"/>
                </a:cubicBezTo>
                <a:cubicBezTo>
                  <a:pt x="269" y="148"/>
                  <a:pt x="269" y="148"/>
                  <a:pt x="269" y="148"/>
                </a:cubicBezTo>
                <a:cubicBezTo>
                  <a:pt x="266" y="151"/>
                  <a:pt x="266" y="151"/>
                  <a:pt x="266" y="151"/>
                </a:cubicBezTo>
                <a:cubicBezTo>
                  <a:pt x="266" y="152"/>
                  <a:pt x="266" y="152"/>
                  <a:pt x="266" y="152"/>
                </a:cubicBezTo>
                <a:cubicBezTo>
                  <a:pt x="265" y="152"/>
                  <a:pt x="265" y="152"/>
                  <a:pt x="265" y="152"/>
                </a:cubicBezTo>
                <a:cubicBezTo>
                  <a:pt x="265" y="152"/>
                  <a:pt x="265" y="152"/>
                  <a:pt x="265" y="152"/>
                </a:cubicBezTo>
                <a:cubicBezTo>
                  <a:pt x="265" y="153"/>
                  <a:pt x="265" y="153"/>
                  <a:pt x="265" y="153"/>
                </a:cubicBezTo>
                <a:cubicBezTo>
                  <a:pt x="264" y="154"/>
                  <a:pt x="264" y="154"/>
                  <a:pt x="264" y="154"/>
                </a:cubicBezTo>
                <a:cubicBezTo>
                  <a:pt x="263" y="154"/>
                  <a:pt x="263" y="154"/>
                  <a:pt x="263" y="154"/>
                </a:cubicBezTo>
                <a:cubicBezTo>
                  <a:pt x="262" y="154"/>
                  <a:pt x="262" y="154"/>
                  <a:pt x="262" y="154"/>
                </a:cubicBezTo>
                <a:cubicBezTo>
                  <a:pt x="262" y="155"/>
                  <a:pt x="262" y="155"/>
                  <a:pt x="262" y="155"/>
                </a:cubicBezTo>
                <a:cubicBezTo>
                  <a:pt x="260" y="155"/>
                  <a:pt x="260" y="155"/>
                  <a:pt x="260" y="155"/>
                </a:cubicBezTo>
                <a:cubicBezTo>
                  <a:pt x="260" y="156"/>
                  <a:pt x="260" y="156"/>
                  <a:pt x="260" y="156"/>
                </a:cubicBezTo>
                <a:cubicBezTo>
                  <a:pt x="258" y="156"/>
                  <a:pt x="258" y="156"/>
                  <a:pt x="258" y="156"/>
                </a:cubicBezTo>
                <a:cubicBezTo>
                  <a:pt x="258" y="157"/>
                  <a:pt x="258" y="157"/>
                  <a:pt x="258" y="157"/>
                </a:cubicBezTo>
                <a:cubicBezTo>
                  <a:pt x="256" y="157"/>
                  <a:pt x="256" y="157"/>
                  <a:pt x="256" y="157"/>
                </a:cubicBezTo>
                <a:cubicBezTo>
                  <a:pt x="256" y="157"/>
                  <a:pt x="256" y="157"/>
                  <a:pt x="256" y="157"/>
                </a:cubicBezTo>
                <a:cubicBezTo>
                  <a:pt x="255" y="157"/>
                  <a:pt x="255" y="157"/>
                  <a:pt x="255" y="157"/>
                </a:cubicBezTo>
                <a:cubicBezTo>
                  <a:pt x="254" y="158"/>
                  <a:pt x="254" y="158"/>
                  <a:pt x="254" y="158"/>
                </a:cubicBezTo>
                <a:cubicBezTo>
                  <a:pt x="255" y="158"/>
                  <a:pt x="255" y="158"/>
                  <a:pt x="255" y="158"/>
                </a:cubicBezTo>
                <a:cubicBezTo>
                  <a:pt x="255" y="159"/>
                  <a:pt x="255" y="159"/>
                  <a:pt x="255" y="159"/>
                </a:cubicBezTo>
                <a:cubicBezTo>
                  <a:pt x="254" y="160"/>
                  <a:pt x="254" y="160"/>
                  <a:pt x="254" y="160"/>
                </a:cubicBezTo>
                <a:cubicBezTo>
                  <a:pt x="253" y="160"/>
                  <a:pt x="253" y="160"/>
                  <a:pt x="253" y="160"/>
                </a:cubicBezTo>
                <a:cubicBezTo>
                  <a:pt x="253" y="161"/>
                  <a:pt x="253" y="161"/>
                  <a:pt x="253" y="161"/>
                </a:cubicBezTo>
                <a:cubicBezTo>
                  <a:pt x="252" y="161"/>
                  <a:pt x="252" y="161"/>
                  <a:pt x="252" y="161"/>
                </a:cubicBezTo>
                <a:cubicBezTo>
                  <a:pt x="251" y="163"/>
                  <a:pt x="251" y="163"/>
                  <a:pt x="251" y="163"/>
                </a:cubicBezTo>
                <a:cubicBezTo>
                  <a:pt x="250" y="165"/>
                  <a:pt x="250" y="165"/>
                  <a:pt x="250" y="165"/>
                </a:cubicBezTo>
                <a:cubicBezTo>
                  <a:pt x="250" y="167"/>
                  <a:pt x="250" y="167"/>
                  <a:pt x="250" y="167"/>
                </a:cubicBezTo>
                <a:cubicBezTo>
                  <a:pt x="249" y="171"/>
                  <a:pt x="249" y="171"/>
                  <a:pt x="249" y="171"/>
                </a:cubicBezTo>
                <a:cubicBezTo>
                  <a:pt x="249" y="173"/>
                  <a:pt x="249" y="173"/>
                  <a:pt x="249" y="173"/>
                </a:cubicBezTo>
                <a:cubicBezTo>
                  <a:pt x="249" y="175"/>
                  <a:pt x="249" y="175"/>
                  <a:pt x="249" y="175"/>
                </a:cubicBezTo>
                <a:cubicBezTo>
                  <a:pt x="250" y="177"/>
                  <a:pt x="250" y="177"/>
                  <a:pt x="250" y="177"/>
                </a:cubicBezTo>
                <a:cubicBezTo>
                  <a:pt x="250" y="180"/>
                  <a:pt x="250" y="180"/>
                  <a:pt x="250" y="180"/>
                </a:cubicBezTo>
                <a:cubicBezTo>
                  <a:pt x="251" y="181"/>
                  <a:pt x="251" y="181"/>
                  <a:pt x="251" y="181"/>
                </a:cubicBezTo>
                <a:cubicBezTo>
                  <a:pt x="251" y="184"/>
                  <a:pt x="251" y="184"/>
                  <a:pt x="251" y="184"/>
                </a:cubicBezTo>
                <a:cubicBezTo>
                  <a:pt x="252" y="185"/>
                  <a:pt x="252" y="185"/>
                  <a:pt x="252" y="185"/>
                </a:cubicBezTo>
                <a:cubicBezTo>
                  <a:pt x="253" y="186"/>
                  <a:pt x="253" y="186"/>
                  <a:pt x="253" y="186"/>
                </a:cubicBezTo>
                <a:cubicBezTo>
                  <a:pt x="252" y="188"/>
                  <a:pt x="252" y="188"/>
                  <a:pt x="252" y="188"/>
                </a:cubicBezTo>
                <a:cubicBezTo>
                  <a:pt x="252" y="190"/>
                  <a:pt x="252" y="190"/>
                  <a:pt x="252" y="190"/>
                </a:cubicBezTo>
                <a:cubicBezTo>
                  <a:pt x="252" y="190"/>
                  <a:pt x="252" y="190"/>
                  <a:pt x="252" y="190"/>
                </a:cubicBezTo>
                <a:cubicBezTo>
                  <a:pt x="253" y="194"/>
                  <a:pt x="253" y="194"/>
                  <a:pt x="253" y="194"/>
                </a:cubicBezTo>
                <a:cubicBezTo>
                  <a:pt x="254" y="195"/>
                  <a:pt x="254" y="195"/>
                  <a:pt x="254" y="195"/>
                </a:cubicBezTo>
                <a:cubicBezTo>
                  <a:pt x="255" y="197"/>
                  <a:pt x="255" y="197"/>
                  <a:pt x="255" y="197"/>
                </a:cubicBezTo>
                <a:cubicBezTo>
                  <a:pt x="254" y="198"/>
                  <a:pt x="254" y="198"/>
                  <a:pt x="254" y="198"/>
                </a:cubicBezTo>
                <a:cubicBezTo>
                  <a:pt x="254" y="198"/>
                  <a:pt x="254" y="198"/>
                  <a:pt x="254" y="198"/>
                </a:cubicBezTo>
                <a:cubicBezTo>
                  <a:pt x="254" y="200"/>
                  <a:pt x="254" y="200"/>
                  <a:pt x="254" y="200"/>
                </a:cubicBezTo>
                <a:cubicBezTo>
                  <a:pt x="254" y="201"/>
                  <a:pt x="254" y="201"/>
                  <a:pt x="254" y="201"/>
                </a:cubicBezTo>
                <a:cubicBezTo>
                  <a:pt x="254" y="202"/>
                  <a:pt x="254" y="202"/>
                  <a:pt x="254" y="202"/>
                </a:cubicBezTo>
                <a:cubicBezTo>
                  <a:pt x="253" y="204"/>
                  <a:pt x="253" y="204"/>
                  <a:pt x="253" y="204"/>
                </a:cubicBezTo>
                <a:cubicBezTo>
                  <a:pt x="252" y="206"/>
                  <a:pt x="252" y="206"/>
                  <a:pt x="252" y="206"/>
                </a:cubicBezTo>
                <a:cubicBezTo>
                  <a:pt x="251" y="207"/>
                  <a:pt x="251" y="207"/>
                  <a:pt x="251" y="207"/>
                </a:cubicBezTo>
                <a:cubicBezTo>
                  <a:pt x="251" y="208"/>
                  <a:pt x="251" y="208"/>
                  <a:pt x="251" y="208"/>
                </a:cubicBezTo>
                <a:cubicBezTo>
                  <a:pt x="250" y="209"/>
                  <a:pt x="250" y="209"/>
                  <a:pt x="250" y="209"/>
                </a:cubicBezTo>
                <a:cubicBezTo>
                  <a:pt x="249" y="209"/>
                  <a:pt x="249" y="209"/>
                  <a:pt x="249" y="209"/>
                </a:cubicBezTo>
                <a:cubicBezTo>
                  <a:pt x="248" y="209"/>
                  <a:pt x="248" y="209"/>
                  <a:pt x="248" y="209"/>
                </a:cubicBezTo>
                <a:cubicBezTo>
                  <a:pt x="247" y="208"/>
                  <a:pt x="247" y="208"/>
                  <a:pt x="247" y="208"/>
                </a:cubicBezTo>
                <a:cubicBezTo>
                  <a:pt x="246" y="208"/>
                  <a:pt x="246" y="208"/>
                  <a:pt x="246" y="208"/>
                </a:cubicBezTo>
                <a:cubicBezTo>
                  <a:pt x="247" y="207"/>
                  <a:pt x="247" y="207"/>
                  <a:pt x="247" y="207"/>
                </a:cubicBezTo>
                <a:cubicBezTo>
                  <a:pt x="245" y="206"/>
                  <a:pt x="245" y="206"/>
                  <a:pt x="245" y="206"/>
                </a:cubicBezTo>
                <a:cubicBezTo>
                  <a:pt x="245" y="205"/>
                  <a:pt x="245" y="205"/>
                  <a:pt x="245" y="205"/>
                </a:cubicBezTo>
                <a:cubicBezTo>
                  <a:pt x="245" y="204"/>
                  <a:pt x="245" y="204"/>
                  <a:pt x="245" y="204"/>
                </a:cubicBezTo>
                <a:cubicBezTo>
                  <a:pt x="244" y="204"/>
                  <a:pt x="244" y="204"/>
                  <a:pt x="244" y="204"/>
                </a:cubicBezTo>
                <a:cubicBezTo>
                  <a:pt x="243" y="204"/>
                  <a:pt x="243" y="204"/>
                  <a:pt x="243" y="204"/>
                </a:cubicBezTo>
                <a:cubicBezTo>
                  <a:pt x="243" y="202"/>
                  <a:pt x="243" y="202"/>
                  <a:pt x="243" y="202"/>
                </a:cubicBezTo>
                <a:cubicBezTo>
                  <a:pt x="243" y="201"/>
                  <a:pt x="243" y="201"/>
                  <a:pt x="243" y="201"/>
                </a:cubicBezTo>
                <a:cubicBezTo>
                  <a:pt x="242" y="200"/>
                  <a:pt x="242" y="200"/>
                  <a:pt x="242" y="200"/>
                </a:cubicBezTo>
                <a:cubicBezTo>
                  <a:pt x="241" y="199"/>
                  <a:pt x="241" y="199"/>
                  <a:pt x="241" y="199"/>
                </a:cubicBezTo>
                <a:cubicBezTo>
                  <a:pt x="242" y="198"/>
                  <a:pt x="242" y="198"/>
                  <a:pt x="242" y="198"/>
                </a:cubicBezTo>
                <a:cubicBezTo>
                  <a:pt x="242" y="197"/>
                  <a:pt x="242" y="197"/>
                  <a:pt x="242" y="197"/>
                </a:cubicBezTo>
                <a:cubicBezTo>
                  <a:pt x="243" y="196"/>
                  <a:pt x="243" y="196"/>
                  <a:pt x="243" y="196"/>
                </a:cubicBezTo>
                <a:cubicBezTo>
                  <a:pt x="242" y="197"/>
                  <a:pt x="242" y="197"/>
                  <a:pt x="242" y="197"/>
                </a:cubicBezTo>
                <a:cubicBezTo>
                  <a:pt x="241" y="196"/>
                  <a:pt x="241" y="196"/>
                  <a:pt x="241" y="196"/>
                </a:cubicBezTo>
                <a:cubicBezTo>
                  <a:pt x="241" y="197"/>
                  <a:pt x="241" y="197"/>
                  <a:pt x="241" y="197"/>
                </a:cubicBezTo>
                <a:cubicBezTo>
                  <a:pt x="241" y="197"/>
                  <a:pt x="241" y="197"/>
                  <a:pt x="241" y="197"/>
                </a:cubicBezTo>
                <a:cubicBezTo>
                  <a:pt x="241" y="196"/>
                  <a:pt x="241" y="196"/>
                  <a:pt x="241" y="196"/>
                </a:cubicBezTo>
                <a:cubicBezTo>
                  <a:pt x="240" y="196"/>
                  <a:pt x="240" y="196"/>
                  <a:pt x="240" y="196"/>
                </a:cubicBezTo>
                <a:cubicBezTo>
                  <a:pt x="240" y="196"/>
                  <a:pt x="240" y="196"/>
                  <a:pt x="240" y="196"/>
                </a:cubicBezTo>
                <a:cubicBezTo>
                  <a:pt x="239" y="195"/>
                  <a:pt x="239" y="195"/>
                  <a:pt x="239" y="195"/>
                </a:cubicBezTo>
                <a:cubicBezTo>
                  <a:pt x="239" y="194"/>
                  <a:pt x="239" y="194"/>
                  <a:pt x="239" y="194"/>
                </a:cubicBezTo>
                <a:cubicBezTo>
                  <a:pt x="239" y="193"/>
                  <a:pt x="239" y="193"/>
                  <a:pt x="239" y="193"/>
                </a:cubicBezTo>
                <a:cubicBezTo>
                  <a:pt x="240" y="191"/>
                  <a:pt x="240" y="191"/>
                  <a:pt x="240" y="191"/>
                </a:cubicBezTo>
                <a:cubicBezTo>
                  <a:pt x="240" y="190"/>
                  <a:pt x="240" y="190"/>
                  <a:pt x="240" y="190"/>
                </a:cubicBezTo>
                <a:cubicBezTo>
                  <a:pt x="239" y="189"/>
                  <a:pt x="239" y="189"/>
                  <a:pt x="239" y="189"/>
                </a:cubicBezTo>
                <a:cubicBezTo>
                  <a:pt x="239" y="190"/>
                  <a:pt x="239" y="190"/>
                  <a:pt x="239" y="190"/>
                </a:cubicBezTo>
                <a:cubicBezTo>
                  <a:pt x="239" y="190"/>
                  <a:pt x="239" y="190"/>
                  <a:pt x="239" y="190"/>
                </a:cubicBezTo>
                <a:cubicBezTo>
                  <a:pt x="238" y="191"/>
                  <a:pt x="238" y="191"/>
                  <a:pt x="238" y="191"/>
                </a:cubicBezTo>
                <a:cubicBezTo>
                  <a:pt x="238" y="191"/>
                  <a:pt x="238" y="191"/>
                  <a:pt x="238" y="191"/>
                </a:cubicBezTo>
                <a:cubicBezTo>
                  <a:pt x="237" y="190"/>
                  <a:pt x="237" y="190"/>
                  <a:pt x="237" y="190"/>
                </a:cubicBezTo>
                <a:cubicBezTo>
                  <a:pt x="237" y="189"/>
                  <a:pt x="237" y="189"/>
                  <a:pt x="237" y="189"/>
                </a:cubicBezTo>
                <a:cubicBezTo>
                  <a:pt x="239" y="187"/>
                  <a:pt x="239" y="187"/>
                  <a:pt x="239" y="187"/>
                </a:cubicBezTo>
                <a:cubicBezTo>
                  <a:pt x="239" y="184"/>
                  <a:pt x="239" y="184"/>
                  <a:pt x="239" y="184"/>
                </a:cubicBezTo>
                <a:cubicBezTo>
                  <a:pt x="239" y="183"/>
                  <a:pt x="239" y="183"/>
                  <a:pt x="239" y="183"/>
                </a:cubicBezTo>
                <a:cubicBezTo>
                  <a:pt x="239" y="181"/>
                  <a:pt x="239" y="181"/>
                  <a:pt x="239" y="181"/>
                </a:cubicBezTo>
                <a:cubicBezTo>
                  <a:pt x="238" y="181"/>
                  <a:pt x="238" y="181"/>
                  <a:pt x="238" y="181"/>
                </a:cubicBezTo>
                <a:cubicBezTo>
                  <a:pt x="237" y="180"/>
                  <a:pt x="237" y="180"/>
                  <a:pt x="237" y="180"/>
                </a:cubicBezTo>
                <a:cubicBezTo>
                  <a:pt x="237" y="179"/>
                  <a:pt x="237" y="179"/>
                  <a:pt x="237" y="179"/>
                </a:cubicBezTo>
                <a:cubicBezTo>
                  <a:pt x="237" y="179"/>
                  <a:pt x="237" y="179"/>
                  <a:pt x="237" y="179"/>
                </a:cubicBezTo>
                <a:cubicBezTo>
                  <a:pt x="236" y="179"/>
                  <a:pt x="236" y="179"/>
                  <a:pt x="236" y="179"/>
                </a:cubicBezTo>
                <a:cubicBezTo>
                  <a:pt x="236" y="177"/>
                  <a:pt x="236" y="177"/>
                  <a:pt x="236" y="177"/>
                </a:cubicBezTo>
                <a:cubicBezTo>
                  <a:pt x="235" y="177"/>
                  <a:pt x="235" y="177"/>
                  <a:pt x="235" y="177"/>
                </a:cubicBezTo>
                <a:cubicBezTo>
                  <a:pt x="235" y="177"/>
                  <a:pt x="235" y="177"/>
                  <a:pt x="235" y="177"/>
                </a:cubicBezTo>
                <a:cubicBezTo>
                  <a:pt x="234" y="174"/>
                  <a:pt x="234" y="174"/>
                  <a:pt x="234" y="174"/>
                </a:cubicBezTo>
                <a:cubicBezTo>
                  <a:pt x="232" y="174"/>
                  <a:pt x="232" y="174"/>
                  <a:pt x="232" y="174"/>
                </a:cubicBezTo>
                <a:cubicBezTo>
                  <a:pt x="232" y="174"/>
                  <a:pt x="232" y="174"/>
                  <a:pt x="232" y="174"/>
                </a:cubicBezTo>
                <a:cubicBezTo>
                  <a:pt x="230" y="174"/>
                  <a:pt x="230" y="174"/>
                  <a:pt x="230" y="174"/>
                </a:cubicBezTo>
                <a:cubicBezTo>
                  <a:pt x="230" y="174"/>
                  <a:pt x="230" y="174"/>
                  <a:pt x="230" y="174"/>
                </a:cubicBezTo>
                <a:cubicBezTo>
                  <a:pt x="230" y="175"/>
                  <a:pt x="230" y="175"/>
                  <a:pt x="230" y="175"/>
                </a:cubicBezTo>
                <a:cubicBezTo>
                  <a:pt x="229" y="175"/>
                  <a:pt x="229" y="175"/>
                  <a:pt x="229" y="175"/>
                </a:cubicBezTo>
                <a:cubicBezTo>
                  <a:pt x="229" y="175"/>
                  <a:pt x="229" y="175"/>
                  <a:pt x="229" y="175"/>
                </a:cubicBezTo>
                <a:cubicBezTo>
                  <a:pt x="227" y="176"/>
                  <a:pt x="227" y="176"/>
                  <a:pt x="227" y="176"/>
                </a:cubicBezTo>
                <a:cubicBezTo>
                  <a:pt x="226" y="176"/>
                  <a:pt x="226" y="176"/>
                  <a:pt x="226" y="176"/>
                </a:cubicBezTo>
                <a:cubicBezTo>
                  <a:pt x="224" y="177"/>
                  <a:pt x="224" y="177"/>
                  <a:pt x="224" y="177"/>
                </a:cubicBezTo>
                <a:cubicBezTo>
                  <a:pt x="224" y="176"/>
                  <a:pt x="224" y="176"/>
                  <a:pt x="224" y="176"/>
                </a:cubicBezTo>
                <a:cubicBezTo>
                  <a:pt x="224" y="176"/>
                  <a:pt x="224" y="176"/>
                  <a:pt x="224" y="176"/>
                </a:cubicBezTo>
                <a:cubicBezTo>
                  <a:pt x="224" y="176"/>
                  <a:pt x="224" y="176"/>
                  <a:pt x="224" y="176"/>
                </a:cubicBezTo>
                <a:cubicBezTo>
                  <a:pt x="225" y="176"/>
                  <a:pt x="225" y="176"/>
                  <a:pt x="225" y="176"/>
                </a:cubicBezTo>
                <a:cubicBezTo>
                  <a:pt x="224" y="175"/>
                  <a:pt x="224" y="175"/>
                  <a:pt x="224" y="175"/>
                </a:cubicBezTo>
                <a:cubicBezTo>
                  <a:pt x="224" y="175"/>
                  <a:pt x="224" y="175"/>
                  <a:pt x="224" y="175"/>
                </a:cubicBezTo>
                <a:cubicBezTo>
                  <a:pt x="222" y="174"/>
                  <a:pt x="222" y="174"/>
                  <a:pt x="222" y="174"/>
                </a:cubicBezTo>
                <a:cubicBezTo>
                  <a:pt x="222" y="173"/>
                  <a:pt x="222" y="173"/>
                  <a:pt x="222" y="173"/>
                </a:cubicBezTo>
                <a:cubicBezTo>
                  <a:pt x="223" y="174"/>
                  <a:pt x="223" y="174"/>
                  <a:pt x="223" y="174"/>
                </a:cubicBezTo>
                <a:cubicBezTo>
                  <a:pt x="223" y="173"/>
                  <a:pt x="223" y="173"/>
                  <a:pt x="223" y="173"/>
                </a:cubicBezTo>
                <a:cubicBezTo>
                  <a:pt x="222" y="173"/>
                  <a:pt x="222" y="173"/>
                  <a:pt x="222" y="173"/>
                </a:cubicBezTo>
                <a:cubicBezTo>
                  <a:pt x="222" y="172"/>
                  <a:pt x="222" y="172"/>
                  <a:pt x="222" y="172"/>
                </a:cubicBezTo>
                <a:cubicBezTo>
                  <a:pt x="221" y="172"/>
                  <a:pt x="221" y="172"/>
                  <a:pt x="221" y="172"/>
                </a:cubicBezTo>
                <a:cubicBezTo>
                  <a:pt x="221" y="172"/>
                  <a:pt x="221" y="172"/>
                  <a:pt x="221" y="172"/>
                </a:cubicBezTo>
                <a:cubicBezTo>
                  <a:pt x="222" y="173"/>
                  <a:pt x="222" y="173"/>
                  <a:pt x="222" y="173"/>
                </a:cubicBezTo>
                <a:cubicBezTo>
                  <a:pt x="221" y="173"/>
                  <a:pt x="221" y="173"/>
                  <a:pt x="221" y="173"/>
                </a:cubicBezTo>
                <a:cubicBezTo>
                  <a:pt x="220" y="172"/>
                  <a:pt x="220" y="172"/>
                  <a:pt x="220" y="172"/>
                </a:cubicBezTo>
                <a:cubicBezTo>
                  <a:pt x="218" y="172"/>
                  <a:pt x="218" y="172"/>
                  <a:pt x="218" y="172"/>
                </a:cubicBezTo>
                <a:cubicBezTo>
                  <a:pt x="217" y="172"/>
                  <a:pt x="217" y="172"/>
                  <a:pt x="217" y="172"/>
                </a:cubicBezTo>
                <a:cubicBezTo>
                  <a:pt x="217" y="171"/>
                  <a:pt x="217" y="171"/>
                  <a:pt x="217" y="171"/>
                </a:cubicBezTo>
                <a:cubicBezTo>
                  <a:pt x="218" y="171"/>
                  <a:pt x="218" y="171"/>
                  <a:pt x="218" y="171"/>
                </a:cubicBezTo>
                <a:cubicBezTo>
                  <a:pt x="219" y="171"/>
                  <a:pt x="219" y="171"/>
                  <a:pt x="219" y="171"/>
                </a:cubicBezTo>
                <a:cubicBezTo>
                  <a:pt x="219" y="171"/>
                  <a:pt x="219" y="171"/>
                  <a:pt x="219" y="171"/>
                </a:cubicBezTo>
                <a:cubicBezTo>
                  <a:pt x="217" y="171"/>
                  <a:pt x="217" y="171"/>
                  <a:pt x="217" y="171"/>
                </a:cubicBezTo>
                <a:cubicBezTo>
                  <a:pt x="216" y="172"/>
                  <a:pt x="216" y="172"/>
                  <a:pt x="216" y="172"/>
                </a:cubicBezTo>
                <a:cubicBezTo>
                  <a:pt x="216" y="171"/>
                  <a:pt x="216" y="171"/>
                  <a:pt x="216" y="171"/>
                </a:cubicBezTo>
                <a:cubicBezTo>
                  <a:pt x="214" y="172"/>
                  <a:pt x="214" y="172"/>
                  <a:pt x="214" y="172"/>
                </a:cubicBezTo>
                <a:cubicBezTo>
                  <a:pt x="213" y="171"/>
                  <a:pt x="213" y="171"/>
                  <a:pt x="213" y="171"/>
                </a:cubicBezTo>
                <a:cubicBezTo>
                  <a:pt x="212" y="171"/>
                  <a:pt x="212" y="171"/>
                  <a:pt x="212" y="171"/>
                </a:cubicBezTo>
                <a:cubicBezTo>
                  <a:pt x="210" y="171"/>
                  <a:pt x="210" y="171"/>
                  <a:pt x="210" y="171"/>
                </a:cubicBezTo>
                <a:cubicBezTo>
                  <a:pt x="209" y="172"/>
                  <a:pt x="209" y="172"/>
                  <a:pt x="209" y="172"/>
                </a:cubicBezTo>
                <a:cubicBezTo>
                  <a:pt x="208" y="171"/>
                  <a:pt x="208" y="171"/>
                  <a:pt x="208" y="171"/>
                </a:cubicBezTo>
                <a:cubicBezTo>
                  <a:pt x="208" y="170"/>
                  <a:pt x="208" y="170"/>
                  <a:pt x="208" y="170"/>
                </a:cubicBezTo>
                <a:cubicBezTo>
                  <a:pt x="208" y="169"/>
                  <a:pt x="208" y="169"/>
                  <a:pt x="208" y="169"/>
                </a:cubicBezTo>
                <a:cubicBezTo>
                  <a:pt x="207" y="169"/>
                  <a:pt x="207" y="169"/>
                  <a:pt x="207" y="169"/>
                </a:cubicBezTo>
                <a:cubicBezTo>
                  <a:pt x="207" y="170"/>
                  <a:pt x="207" y="170"/>
                  <a:pt x="207" y="170"/>
                </a:cubicBezTo>
                <a:cubicBezTo>
                  <a:pt x="206" y="171"/>
                  <a:pt x="206" y="171"/>
                  <a:pt x="206" y="171"/>
                </a:cubicBezTo>
                <a:cubicBezTo>
                  <a:pt x="205" y="171"/>
                  <a:pt x="205" y="171"/>
                  <a:pt x="205" y="171"/>
                </a:cubicBezTo>
                <a:cubicBezTo>
                  <a:pt x="205" y="171"/>
                  <a:pt x="205" y="171"/>
                  <a:pt x="205" y="171"/>
                </a:cubicBezTo>
                <a:cubicBezTo>
                  <a:pt x="203" y="171"/>
                  <a:pt x="203" y="171"/>
                  <a:pt x="203" y="171"/>
                </a:cubicBezTo>
                <a:cubicBezTo>
                  <a:pt x="199" y="172"/>
                  <a:pt x="199" y="172"/>
                  <a:pt x="199" y="172"/>
                </a:cubicBezTo>
                <a:cubicBezTo>
                  <a:pt x="198" y="173"/>
                  <a:pt x="198" y="173"/>
                  <a:pt x="198" y="173"/>
                </a:cubicBezTo>
                <a:cubicBezTo>
                  <a:pt x="196" y="173"/>
                  <a:pt x="196" y="173"/>
                  <a:pt x="196" y="173"/>
                </a:cubicBezTo>
                <a:cubicBezTo>
                  <a:pt x="195" y="175"/>
                  <a:pt x="195" y="175"/>
                  <a:pt x="195" y="175"/>
                </a:cubicBezTo>
                <a:cubicBezTo>
                  <a:pt x="195" y="176"/>
                  <a:pt x="195" y="176"/>
                  <a:pt x="195" y="176"/>
                </a:cubicBezTo>
                <a:cubicBezTo>
                  <a:pt x="196" y="175"/>
                  <a:pt x="196" y="175"/>
                  <a:pt x="196" y="175"/>
                </a:cubicBezTo>
                <a:cubicBezTo>
                  <a:pt x="197" y="174"/>
                  <a:pt x="197" y="174"/>
                  <a:pt x="197" y="174"/>
                </a:cubicBezTo>
                <a:cubicBezTo>
                  <a:pt x="197" y="175"/>
                  <a:pt x="197" y="175"/>
                  <a:pt x="197" y="175"/>
                </a:cubicBezTo>
                <a:cubicBezTo>
                  <a:pt x="198" y="175"/>
                  <a:pt x="198" y="175"/>
                  <a:pt x="198" y="175"/>
                </a:cubicBezTo>
                <a:cubicBezTo>
                  <a:pt x="199" y="176"/>
                  <a:pt x="199" y="176"/>
                  <a:pt x="199" y="176"/>
                </a:cubicBezTo>
                <a:cubicBezTo>
                  <a:pt x="198" y="176"/>
                  <a:pt x="198" y="176"/>
                  <a:pt x="198" y="176"/>
                </a:cubicBezTo>
                <a:cubicBezTo>
                  <a:pt x="196" y="177"/>
                  <a:pt x="196" y="177"/>
                  <a:pt x="196" y="177"/>
                </a:cubicBezTo>
                <a:cubicBezTo>
                  <a:pt x="196" y="178"/>
                  <a:pt x="196" y="178"/>
                  <a:pt x="196" y="178"/>
                </a:cubicBezTo>
                <a:cubicBezTo>
                  <a:pt x="197" y="179"/>
                  <a:pt x="197" y="179"/>
                  <a:pt x="197" y="179"/>
                </a:cubicBezTo>
                <a:cubicBezTo>
                  <a:pt x="199" y="179"/>
                  <a:pt x="199" y="179"/>
                  <a:pt x="199" y="179"/>
                </a:cubicBezTo>
                <a:cubicBezTo>
                  <a:pt x="200" y="181"/>
                  <a:pt x="200" y="181"/>
                  <a:pt x="200" y="181"/>
                </a:cubicBezTo>
                <a:cubicBezTo>
                  <a:pt x="200" y="181"/>
                  <a:pt x="200" y="181"/>
                  <a:pt x="200" y="181"/>
                </a:cubicBezTo>
                <a:cubicBezTo>
                  <a:pt x="199" y="181"/>
                  <a:pt x="199" y="181"/>
                  <a:pt x="199" y="181"/>
                </a:cubicBezTo>
                <a:cubicBezTo>
                  <a:pt x="199" y="182"/>
                  <a:pt x="199" y="182"/>
                  <a:pt x="199" y="182"/>
                </a:cubicBezTo>
                <a:cubicBezTo>
                  <a:pt x="199" y="181"/>
                  <a:pt x="199" y="181"/>
                  <a:pt x="199" y="181"/>
                </a:cubicBezTo>
                <a:cubicBezTo>
                  <a:pt x="198" y="180"/>
                  <a:pt x="198" y="180"/>
                  <a:pt x="198" y="180"/>
                </a:cubicBezTo>
                <a:cubicBezTo>
                  <a:pt x="197" y="181"/>
                  <a:pt x="197" y="181"/>
                  <a:pt x="197" y="181"/>
                </a:cubicBezTo>
                <a:cubicBezTo>
                  <a:pt x="197" y="180"/>
                  <a:pt x="197" y="180"/>
                  <a:pt x="197" y="180"/>
                </a:cubicBezTo>
                <a:cubicBezTo>
                  <a:pt x="196" y="179"/>
                  <a:pt x="196" y="179"/>
                  <a:pt x="196" y="179"/>
                </a:cubicBezTo>
                <a:cubicBezTo>
                  <a:pt x="195" y="178"/>
                  <a:pt x="195" y="178"/>
                  <a:pt x="195" y="178"/>
                </a:cubicBezTo>
                <a:cubicBezTo>
                  <a:pt x="194" y="178"/>
                  <a:pt x="194" y="178"/>
                  <a:pt x="194" y="178"/>
                </a:cubicBezTo>
                <a:cubicBezTo>
                  <a:pt x="194" y="179"/>
                  <a:pt x="194" y="179"/>
                  <a:pt x="194" y="179"/>
                </a:cubicBezTo>
                <a:cubicBezTo>
                  <a:pt x="194" y="181"/>
                  <a:pt x="194" y="181"/>
                  <a:pt x="194" y="181"/>
                </a:cubicBezTo>
                <a:cubicBezTo>
                  <a:pt x="193" y="181"/>
                  <a:pt x="193" y="181"/>
                  <a:pt x="193" y="181"/>
                </a:cubicBezTo>
                <a:cubicBezTo>
                  <a:pt x="193" y="180"/>
                  <a:pt x="193" y="180"/>
                  <a:pt x="193" y="180"/>
                </a:cubicBezTo>
                <a:cubicBezTo>
                  <a:pt x="192" y="180"/>
                  <a:pt x="192" y="180"/>
                  <a:pt x="192" y="180"/>
                </a:cubicBezTo>
                <a:cubicBezTo>
                  <a:pt x="191" y="180"/>
                  <a:pt x="191" y="180"/>
                  <a:pt x="191" y="180"/>
                </a:cubicBezTo>
                <a:cubicBezTo>
                  <a:pt x="190" y="181"/>
                  <a:pt x="190" y="181"/>
                  <a:pt x="190" y="181"/>
                </a:cubicBezTo>
                <a:cubicBezTo>
                  <a:pt x="189" y="181"/>
                  <a:pt x="189" y="181"/>
                  <a:pt x="189" y="181"/>
                </a:cubicBezTo>
                <a:cubicBezTo>
                  <a:pt x="188" y="180"/>
                  <a:pt x="188" y="180"/>
                  <a:pt x="188" y="180"/>
                </a:cubicBezTo>
                <a:cubicBezTo>
                  <a:pt x="187" y="180"/>
                  <a:pt x="187" y="180"/>
                  <a:pt x="187" y="180"/>
                </a:cubicBezTo>
                <a:cubicBezTo>
                  <a:pt x="186" y="180"/>
                  <a:pt x="186" y="180"/>
                  <a:pt x="186" y="180"/>
                </a:cubicBezTo>
                <a:cubicBezTo>
                  <a:pt x="187" y="179"/>
                  <a:pt x="187" y="179"/>
                  <a:pt x="187" y="179"/>
                </a:cubicBezTo>
                <a:cubicBezTo>
                  <a:pt x="187" y="179"/>
                  <a:pt x="187" y="179"/>
                  <a:pt x="187" y="179"/>
                </a:cubicBezTo>
                <a:cubicBezTo>
                  <a:pt x="187" y="178"/>
                  <a:pt x="187" y="178"/>
                  <a:pt x="187" y="178"/>
                </a:cubicBezTo>
                <a:cubicBezTo>
                  <a:pt x="186" y="178"/>
                  <a:pt x="186" y="178"/>
                  <a:pt x="186" y="178"/>
                </a:cubicBezTo>
                <a:cubicBezTo>
                  <a:pt x="185" y="178"/>
                  <a:pt x="185" y="178"/>
                  <a:pt x="185" y="178"/>
                </a:cubicBezTo>
                <a:cubicBezTo>
                  <a:pt x="185" y="177"/>
                  <a:pt x="185" y="177"/>
                  <a:pt x="185" y="177"/>
                </a:cubicBezTo>
                <a:cubicBezTo>
                  <a:pt x="185" y="176"/>
                  <a:pt x="185" y="176"/>
                  <a:pt x="185" y="176"/>
                </a:cubicBezTo>
                <a:cubicBezTo>
                  <a:pt x="184" y="177"/>
                  <a:pt x="184" y="177"/>
                  <a:pt x="184" y="177"/>
                </a:cubicBezTo>
                <a:cubicBezTo>
                  <a:pt x="183" y="176"/>
                  <a:pt x="183" y="176"/>
                  <a:pt x="183" y="176"/>
                </a:cubicBezTo>
                <a:cubicBezTo>
                  <a:pt x="184" y="176"/>
                  <a:pt x="184" y="176"/>
                  <a:pt x="184" y="176"/>
                </a:cubicBezTo>
                <a:cubicBezTo>
                  <a:pt x="183" y="175"/>
                  <a:pt x="183" y="175"/>
                  <a:pt x="183" y="175"/>
                </a:cubicBezTo>
                <a:cubicBezTo>
                  <a:pt x="182" y="176"/>
                  <a:pt x="182" y="176"/>
                  <a:pt x="182" y="176"/>
                </a:cubicBezTo>
                <a:cubicBezTo>
                  <a:pt x="182" y="176"/>
                  <a:pt x="182" y="176"/>
                  <a:pt x="182" y="176"/>
                </a:cubicBezTo>
                <a:cubicBezTo>
                  <a:pt x="182" y="177"/>
                  <a:pt x="182" y="177"/>
                  <a:pt x="182" y="177"/>
                </a:cubicBezTo>
                <a:cubicBezTo>
                  <a:pt x="181" y="177"/>
                  <a:pt x="181" y="177"/>
                  <a:pt x="181" y="177"/>
                </a:cubicBezTo>
                <a:cubicBezTo>
                  <a:pt x="177" y="177"/>
                  <a:pt x="177" y="177"/>
                  <a:pt x="177" y="177"/>
                </a:cubicBezTo>
                <a:cubicBezTo>
                  <a:pt x="177" y="176"/>
                  <a:pt x="177" y="176"/>
                  <a:pt x="177" y="176"/>
                </a:cubicBezTo>
                <a:cubicBezTo>
                  <a:pt x="174" y="176"/>
                  <a:pt x="174" y="176"/>
                  <a:pt x="174" y="176"/>
                </a:cubicBezTo>
                <a:cubicBezTo>
                  <a:pt x="172" y="176"/>
                  <a:pt x="172" y="176"/>
                  <a:pt x="172" y="176"/>
                </a:cubicBezTo>
                <a:cubicBezTo>
                  <a:pt x="170" y="176"/>
                  <a:pt x="170" y="176"/>
                  <a:pt x="170" y="176"/>
                </a:cubicBezTo>
                <a:cubicBezTo>
                  <a:pt x="169" y="177"/>
                  <a:pt x="169" y="177"/>
                  <a:pt x="169" y="177"/>
                </a:cubicBezTo>
                <a:cubicBezTo>
                  <a:pt x="168" y="177"/>
                  <a:pt x="168" y="177"/>
                  <a:pt x="168" y="177"/>
                </a:cubicBezTo>
                <a:cubicBezTo>
                  <a:pt x="167" y="178"/>
                  <a:pt x="167" y="178"/>
                  <a:pt x="167" y="178"/>
                </a:cubicBezTo>
                <a:cubicBezTo>
                  <a:pt x="166" y="178"/>
                  <a:pt x="166" y="178"/>
                  <a:pt x="166" y="178"/>
                </a:cubicBezTo>
                <a:cubicBezTo>
                  <a:pt x="166" y="177"/>
                  <a:pt x="166" y="177"/>
                  <a:pt x="166" y="177"/>
                </a:cubicBezTo>
                <a:cubicBezTo>
                  <a:pt x="166" y="176"/>
                  <a:pt x="166" y="176"/>
                  <a:pt x="166" y="176"/>
                </a:cubicBezTo>
                <a:cubicBezTo>
                  <a:pt x="167" y="175"/>
                  <a:pt x="167" y="175"/>
                  <a:pt x="167" y="175"/>
                </a:cubicBezTo>
                <a:cubicBezTo>
                  <a:pt x="166" y="174"/>
                  <a:pt x="166" y="174"/>
                  <a:pt x="166" y="174"/>
                </a:cubicBezTo>
                <a:cubicBezTo>
                  <a:pt x="166" y="175"/>
                  <a:pt x="166" y="175"/>
                  <a:pt x="166" y="175"/>
                </a:cubicBezTo>
                <a:cubicBezTo>
                  <a:pt x="165" y="176"/>
                  <a:pt x="165" y="176"/>
                  <a:pt x="165" y="176"/>
                </a:cubicBezTo>
                <a:cubicBezTo>
                  <a:pt x="164" y="176"/>
                  <a:pt x="164" y="176"/>
                  <a:pt x="164" y="176"/>
                </a:cubicBezTo>
                <a:cubicBezTo>
                  <a:pt x="163" y="175"/>
                  <a:pt x="163" y="175"/>
                  <a:pt x="163" y="175"/>
                </a:cubicBezTo>
                <a:cubicBezTo>
                  <a:pt x="164" y="177"/>
                  <a:pt x="164" y="177"/>
                  <a:pt x="164" y="177"/>
                </a:cubicBezTo>
                <a:cubicBezTo>
                  <a:pt x="164" y="178"/>
                  <a:pt x="164" y="178"/>
                  <a:pt x="164" y="178"/>
                </a:cubicBezTo>
                <a:cubicBezTo>
                  <a:pt x="164" y="179"/>
                  <a:pt x="164" y="179"/>
                  <a:pt x="164" y="179"/>
                </a:cubicBezTo>
                <a:cubicBezTo>
                  <a:pt x="164" y="180"/>
                  <a:pt x="164" y="180"/>
                  <a:pt x="164" y="180"/>
                </a:cubicBezTo>
                <a:cubicBezTo>
                  <a:pt x="163" y="180"/>
                  <a:pt x="163" y="180"/>
                  <a:pt x="163" y="180"/>
                </a:cubicBezTo>
                <a:cubicBezTo>
                  <a:pt x="161" y="182"/>
                  <a:pt x="161" y="182"/>
                  <a:pt x="161" y="182"/>
                </a:cubicBezTo>
                <a:cubicBezTo>
                  <a:pt x="158" y="183"/>
                  <a:pt x="158" y="183"/>
                  <a:pt x="158" y="183"/>
                </a:cubicBezTo>
                <a:cubicBezTo>
                  <a:pt x="157" y="183"/>
                  <a:pt x="157" y="183"/>
                  <a:pt x="157" y="183"/>
                </a:cubicBezTo>
                <a:cubicBezTo>
                  <a:pt x="156" y="184"/>
                  <a:pt x="156" y="184"/>
                  <a:pt x="156" y="184"/>
                </a:cubicBezTo>
                <a:cubicBezTo>
                  <a:pt x="155" y="184"/>
                  <a:pt x="155" y="184"/>
                  <a:pt x="155" y="184"/>
                </a:cubicBezTo>
                <a:cubicBezTo>
                  <a:pt x="156" y="183"/>
                  <a:pt x="156" y="183"/>
                  <a:pt x="156" y="183"/>
                </a:cubicBezTo>
                <a:cubicBezTo>
                  <a:pt x="155" y="183"/>
                  <a:pt x="155" y="183"/>
                  <a:pt x="155" y="183"/>
                </a:cubicBezTo>
                <a:cubicBezTo>
                  <a:pt x="155" y="183"/>
                  <a:pt x="155" y="183"/>
                  <a:pt x="155" y="183"/>
                </a:cubicBezTo>
                <a:cubicBezTo>
                  <a:pt x="154" y="183"/>
                  <a:pt x="154" y="183"/>
                  <a:pt x="154" y="183"/>
                </a:cubicBezTo>
                <a:cubicBezTo>
                  <a:pt x="153" y="183"/>
                  <a:pt x="153" y="183"/>
                  <a:pt x="153" y="183"/>
                </a:cubicBezTo>
                <a:cubicBezTo>
                  <a:pt x="154" y="184"/>
                  <a:pt x="154" y="184"/>
                  <a:pt x="154" y="184"/>
                </a:cubicBezTo>
                <a:cubicBezTo>
                  <a:pt x="153" y="184"/>
                  <a:pt x="153" y="184"/>
                  <a:pt x="153" y="184"/>
                </a:cubicBezTo>
                <a:cubicBezTo>
                  <a:pt x="152" y="184"/>
                  <a:pt x="152" y="184"/>
                  <a:pt x="152" y="184"/>
                </a:cubicBezTo>
                <a:cubicBezTo>
                  <a:pt x="152" y="185"/>
                  <a:pt x="152" y="185"/>
                  <a:pt x="152" y="185"/>
                </a:cubicBezTo>
                <a:cubicBezTo>
                  <a:pt x="151" y="186"/>
                  <a:pt x="151" y="186"/>
                  <a:pt x="151" y="186"/>
                </a:cubicBezTo>
                <a:cubicBezTo>
                  <a:pt x="150" y="186"/>
                  <a:pt x="150" y="186"/>
                  <a:pt x="150" y="186"/>
                </a:cubicBezTo>
                <a:cubicBezTo>
                  <a:pt x="149" y="187"/>
                  <a:pt x="149" y="187"/>
                  <a:pt x="149" y="187"/>
                </a:cubicBezTo>
                <a:cubicBezTo>
                  <a:pt x="150" y="188"/>
                  <a:pt x="150" y="188"/>
                  <a:pt x="150" y="188"/>
                </a:cubicBezTo>
                <a:cubicBezTo>
                  <a:pt x="149" y="189"/>
                  <a:pt x="149" y="189"/>
                  <a:pt x="149" y="189"/>
                </a:cubicBezTo>
                <a:cubicBezTo>
                  <a:pt x="148" y="189"/>
                  <a:pt x="148" y="189"/>
                  <a:pt x="148" y="189"/>
                </a:cubicBezTo>
                <a:cubicBezTo>
                  <a:pt x="148" y="192"/>
                  <a:pt x="148" y="192"/>
                  <a:pt x="148" y="192"/>
                </a:cubicBezTo>
                <a:cubicBezTo>
                  <a:pt x="147" y="193"/>
                  <a:pt x="147" y="193"/>
                  <a:pt x="147" y="193"/>
                </a:cubicBezTo>
                <a:cubicBezTo>
                  <a:pt x="147" y="195"/>
                  <a:pt x="147" y="195"/>
                  <a:pt x="147" y="195"/>
                </a:cubicBezTo>
                <a:cubicBezTo>
                  <a:pt x="146" y="196"/>
                  <a:pt x="146" y="196"/>
                  <a:pt x="146" y="196"/>
                </a:cubicBezTo>
                <a:cubicBezTo>
                  <a:pt x="146" y="197"/>
                  <a:pt x="146" y="197"/>
                  <a:pt x="146" y="197"/>
                </a:cubicBezTo>
                <a:cubicBezTo>
                  <a:pt x="146" y="200"/>
                  <a:pt x="146" y="200"/>
                  <a:pt x="146" y="200"/>
                </a:cubicBezTo>
                <a:cubicBezTo>
                  <a:pt x="147" y="201"/>
                  <a:pt x="147" y="201"/>
                  <a:pt x="147" y="201"/>
                </a:cubicBezTo>
                <a:cubicBezTo>
                  <a:pt x="146" y="202"/>
                  <a:pt x="146" y="202"/>
                  <a:pt x="146" y="202"/>
                </a:cubicBezTo>
                <a:cubicBezTo>
                  <a:pt x="146" y="204"/>
                  <a:pt x="146" y="204"/>
                  <a:pt x="146" y="204"/>
                </a:cubicBezTo>
                <a:cubicBezTo>
                  <a:pt x="145" y="204"/>
                  <a:pt x="145" y="204"/>
                  <a:pt x="145" y="204"/>
                </a:cubicBezTo>
                <a:cubicBezTo>
                  <a:pt x="145" y="203"/>
                  <a:pt x="145" y="203"/>
                  <a:pt x="145" y="203"/>
                </a:cubicBezTo>
                <a:cubicBezTo>
                  <a:pt x="144" y="203"/>
                  <a:pt x="144" y="203"/>
                  <a:pt x="144" y="203"/>
                </a:cubicBezTo>
                <a:cubicBezTo>
                  <a:pt x="142" y="202"/>
                  <a:pt x="142" y="202"/>
                  <a:pt x="142" y="202"/>
                </a:cubicBezTo>
                <a:cubicBezTo>
                  <a:pt x="140" y="201"/>
                  <a:pt x="140" y="201"/>
                  <a:pt x="140" y="201"/>
                </a:cubicBezTo>
                <a:cubicBezTo>
                  <a:pt x="139" y="200"/>
                  <a:pt x="139" y="200"/>
                  <a:pt x="139" y="200"/>
                </a:cubicBezTo>
                <a:cubicBezTo>
                  <a:pt x="138" y="200"/>
                  <a:pt x="138" y="200"/>
                  <a:pt x="138" y="200"/>
                </a:cubicBezTo>
                <a:cubicBezTo>
                  <a:pt x="138" y="200"/>
                  <a:pt x="138" y="200"/>
                  <a:pt x="138" y="200"/>
                </a:cubicBezTo>
                <a:cubicBezTo>
                  <a:pt x="137" y="200"/>
                  <a:pt x="137" y="200"/>
                  <a:pt x="137" y="200"/>
                </a:cubicBezTo>
                <a:cubicBezTo>
                  <a:pt x="137" y="200"/>
                  <a:pt x="137" y="200"/>
                  <a:pt x="137" y="200"/>
                </a:cubicBezTo>
                <a:cubicBezTo>
                  <a:pt x="136" y="199"/>
                  <a:pt x="136" y="199"/>
                  <a:pt x="136" y="199"/>
                </a:cubicBezTo>
                <a:cubicBezTo>
                  <a:pt x="136" y="197"/>
                  <a:pt x="136" y="197"/>
                  <a:pt x="136" y="197"/>
                </a:cubicBezTo>
                <a:cubicBezTo>
                  <a:pt x="135" y="194"/>
                  <a:pt x="135" y="194"/>
                  <a:pt x="135" y="194"/>
                </a:cubicBezTo>
                <a:cubicBezTo>
                  <a:pt x="135" y="193"/>
                  <a:pt x="135" y="193"/>
                  <a:pt x="135" y="193"/>
                </a:cubicBezTo>
                <a:cubicBezTo>
                  <a:pt x="135" y="193"/>
                  <a:pt x="135" y="193"/>
                  <a:pt x="135" y="193"/>
                </a:cubicBezTo>
                <a:cubicBezTo>
                  <a:pt x="135" y="192"/>
                  <a:pt x="135" y="192"/>
                  <a:pt x="135" y="192"/>
                </a:cubicBezTo>
                <a:cubicBezTo>
                  <a:pt x="135" y="191"/>
                  <a:pt x="135" y="191"/>
                  <a:pt x="135" y="191"/>
                </a:cubicBezTo>
                <a:cubicBezTo>
                  <a:pt x="134" y="189"/>
                  <a:pt x="134" y="189"/>
                  <a:pt x="134" y="189"/>
                </a:cubicBezTo>
                <a:cubicBezTo>
                  <a:pt x="134" y="188"/>
                  <a:pt x="134" y="188"/>
                  <a:pt x="134" y="188"/>
                </a:cubicBezTo>
                <a:cubicBezTo>
                  <a:pt x="133" y="187"/>
                  <a:pt x="133" y="187"/>
                  <a:pt x="133" y="187"/>
                </a:cubicBezTo>
                <a:cubicBezTo>
                  <a:pt x="132" y="187"/>
                  <a:pt x="132" y="187"/>
                  <a:pt x="132" y="187"/>
                </a:cubicBezTo>
                <a:cubicBezTo>
                  <a:pt x="132" y="186"/>
                  <a:pt x="132" y="186"/>
                  <a:pt x="132" y="186"/>
                </a:cubicBezTo>
                <a:cubicBezTo>
                  <a:pt x="132" y="186"/>
                  <a:pt x="132" y="186"/>
                  <a:pt x="132" y="186"/>
                </a:cubicBezTo>
                <a:cubicBezTo>
                  <a:pt x="131" y="183"/>
                  <a:pt x="131" y="183"/>
                  <a:pt x="131" y="183"/>
                </a:cubicBezTo>
                <a:cubicBezTo>
                  <a:pt x="130" y="182"/>
                  <a:pt x="130" y="182"/>
                  <a:pt x="130" y="182"/>
                </a:cubicBezTo>
                <a:cubicBezTo>
                  <a:pt x="130" y="182"/>
                  <a:pt x="130" y="182"/>
                  <a:pt x="130" y="182"/>
                </a:cubicBezTo>
                <a:cubicBezTo>
                  <a:pt x="130" y="181"/>
                  <a:pt x="130" y="181"/>
                  <a:pt x="130" y="181"/>
                </a:cubicBezTo>
                <a:cubicBezTo>
                  <a:pt x="129" y="180"/>
                  <a:pt x="129" y="180"/>
                  <a:pt x="129" y="180"/>
                </a:cubicBezTo>
                <a:cubicBezTo>
                  <a:pt x="129" y="179"/>
                  <a:pt x="129" y="179"/>
                  <a:pt x="129" y="179"/>
                </a:cubicBezTo>
                <a:cubicBezTo>
                  <a:pt x="129" y="178"/>
                  <a:pt x="129" y="178"/>
                  <a:pt x="129" y="178"/>
                </a:cubicBezTo>
                <a:cubicBezTo>
                  <a:pt x="128" y="176"/>
                  <a:pt x="128" y="176"/>
                  <a:pt x="128" y="176"/>
                </a:cubicBezTo>
                <a:cubicBezTo>
                  <a:pt x="126" y="175"/>
                  <a:pt x="126" y="175"/>
                  <a:pt x="126" y="175"/>
                </a:cubicBezTo>
                <a:cubicBezTo>
                  <a:pt x="126" y="174"/>
                  <a:pt x="126" y="174"/>
                  <a:pt x="126" y="174"/>
                </a:cubicBezTo>
                <a:cubicBezTo>
                  <a:pt x="125" y="174"/>
                  <a:pt x="125" y="174"/>
                  <a:pt x="125" y="174"/>
                </a:cubicBezTo>
                <a:cubicBezTo>
                  <a:pt x="124" y="174"/>
                  <a:pt x="124" y="174"/>
                  <a:pt x="124" y="174"/>
                </a:cubicBezTo>
                <a:cubicBezTo>
                  <a:pt x="124" y="174"/>
                  <a:pt x="124" y="174"/>
                  <a:pt x="124" y="174"/>
                </a:cubicBezTo>
                <a:cubicBezTo>
                  <a:pt x="123" y="173"/>
                  <a:pt x="123" y="173"/>
                  <a:pt x="123" y="173"/>
                </a:cubicBezTo>
                <a:cubicBezTo>
                  <a:pt x="122" y="174"/>
                  <a:pt x="122" y="174"/>
                  <a:pt x="122" y="174"/>
                </a:cubicBezTo>
                <a:cubicBezTo>
                  <a:pt x="121" y="173"/>
                  <a:pt x="121" y="173"/>
                  <a:pt x="121" y="173"/>
                </a:cubicBezTo>
                <a:cubicBezTo>
                  <a:pt x="120" y="173"/>
                  <a:pt x="120" y="173"/>
                  <a:pt x="120" y="173"/>
                </a:cubicBezTo>
                <a:cubicBezTo>
                  <a:pt x="120" y="174"/>
                  <a:pt x="120" y="174"/>
                  <a:pt x="120" y="174"/>
                </a:cubicBezTo>
                <a:cubicBezTo>
                  <a:pt x="119" y="174"/>
                  <a:pt x="119" y="174"/>
                  <a:pt x="119" y="174"/>
                </a:cubicBezTo>
                <a:cubicBezTo>
                  <a:pt x="119" y="174"/>
                  <a:pt x="119" y="174"/>
                  <a:pt x="119" y="174"/>
                </a:cubicBezTo>
                <a:cubicBezTo>
                  <a:pt x="119" y="174"/>
                  <a:pt x="119" y="174"/>
                  <a:pt x="119" y="174"/>
                </a:cubicBezTo>
                <a:cubicBezTo>
                  <a:pt x="118" y="174"/>
                  <a:pt x="118" y="174"/>
                  <a:pt x="118" y="174"/>
                </a:cubicBezTo>
                <a:cubicBezTo>
                  <a:pt x="117" y="175"/>
                  <a:pt x="117" y="175"/>
                  <a:pt x="117" y="175"/>
                </a:cubicBezTo>
                <a:cubicBezTo>
                  <a:pt x="116" y="177"/>
                  <a:pt x="116" y="177"/>
                  <a:pt x="116" y="177"/>
                </a:cubicBezTo>
                <a:cubicBezTo>
                  <a:pt x="116" y="177"/>
                  <a:pt x="116" y="177"/>
                  <a:pt x="116" y="177"/>
                </a:cubicBezTo>
                <a:cubicBezTo>
                  <a:pt x="116" y="178"/>
                  <a:pt x="116" y="178"/>
                  <a:pt x="116" y="178"/>
                </a:cubicBezTo>
                <a:cubicBezTo>
                  <a:pt x="116" y="178"/>
                  <a:pt x="116" y="178"/>
                  <a:pt x="116" y="178"/>
                </a:cubicBezTo>
                <a:cubicBezTo>
                  <a:pt x="115" y="178"/>
                  <a:pt x="115" y="178"/>
                  <a:pt x="115" y="178"/>
                </a:cubicBezTo>
                <a:cubicBezTo>
                  <a:pt x="114" y="179"/>
                  <a:pt x="114" y="179"/>
                  <a:pt x="114" y="179"/>
                </a:cubicBezTo>
                <a:cubicBezTo>
                  <a:pt x="114" y="179"/>
                  <a:pt x="114" y="179"/>
                  <a:pt x="114" y="179"/>
                </a:cubicBezTo>
                <a:cubicBezTo>
                  <a:pt x="114" y="180"/>
                  <a:pt x="114" y="180"/>
                  <a:pt x="114" y="180"/>
                </a:cubicBezTo>
                <a:cubicBezTo>
                  <a:pt x="113" y="180"/>
                  <a:pt x="113" y="180"/>
                  <a:pt x="113" y="180"/>
                </a:cubicBezTo>
                <a:cubicBezTo>
                  <a:pt x="113" y="179"/>
                  <a:pt x="113" y="179"/>
                  <a:pt x="113" y="179"/>
                </a:cubicBezTo>
                <a:cubicBezTo>
                  <a:pt x="111" y="178"/>
                  <a:pt x="111" y="178"/>
                  <a:pt x="111" y="178"/>
                </a:cubicBezTo>
                <a:cubicBezTo>
                  <a:pt x="110" y="178"/>
                  <a:pt x="110" y="178"/>
                  <a:pt x="110" y="178"/>
                </a:cubicBezTo>
                <a:cubicBezTo>
                  <a:pt x="110" y="178"/>
                  <a:pt x="110" y="178"/>
                  <a:pt x="110" y="178"/>
                </a:cubicBezTo>
                <a:cubicBezTo>
                  <a:pt x="109" y="177"/>
                  <a:pt x="109" y="177"/>
                  <a:pt x="109" y="177"/>
                </a:cubicBezTo>
                <a:cubicBezTo>
                  <a:pt x="108" y="177"/>
                  <a:pt x="108" y="177"/>
                  <a:pt x="108" y="177"/>
                </a:cubicBezTo>
                <a:cubicBezTo>
                  <a:pt x="108" y="177"/>
                  <a:pt x="108" y="177"/>
                  <a:pt x="108" y="177"/>
                </a:cubicBezTo>
                <a:cubicBezTo>
                  <a:pt x="108" y="176"/>
                  <a:pt x="108" y="176"/>
                  <a:pt x="108" y="176"/>
                </a:cubicBezTo>
                <a:cubicBezTo>
                  <a:pt x="107" y="176"/>
                  <a:pt x="107" y="176"/>
                  <a:pt x="107" y="176"/>
                </a:cubicBezTo>
                <a:cubicBezTo>
                  <a:pt x="107" y="175"/>
                  <a:pt x="107" y="175"/>
                  <a:pt x="107" y="175"/>
                </a:cubicBezTo>
                <a:cubicBezTo>
                  <a:pt x="106" y="175"/>
                  <a:pt x="106" y="175"/>
                  <a:pt x="106" y="175"/>
                </a:cubicBezTo>
                <a:cubicBezTo>
                  <a:pt x="106" y="175"/>
                  <a:pt x="106" y="175"/>
                  <a:pt x="106" y="175"/>
                </a:cubicBezTo>
                <a:cubicBezTo>
                  <a:pt x="106" y="175"/>
                  <a:pt x="106" y="175"/>
                  <a:pt x="106" y="175"/>
                </a:cubicBezTo>
                <a:cubicBezTo>
                  <a:pt x="106" y="175"/>
                  <a:pt x="106" y="175"/>
                  <a:pt x="106" y="175"/>
                </a:cubicBezTo>
                <a:cubicBezTo>
                  <a:pt x="105" y="174"/>
                  <a:pt x="105" y="174"/>
                  <a:pt x="105" y="174"/>
                </a:cubicBezTo>
                <a:cubicBezTo>
                  <a:pt x="104" y="173"/>
                  <a:pt x="104" y="173"/>
                  <a:pt x="104" y="173"/>
                </a:cubicBezTo>
                <a:cubicBezTo>
                  <a:pt x="103" y="171"/>
                  <a:pt x="103" y="171"/>
                  <a:pt x="103" y="171"/>
                </a:cubicBezTo>
                <a:cubicBezTo>
                  <a:pt x="103" y="171"/>
                  <a:pt x="103" y="171"/>
                  <a:pt x="103" y="171"/>
                </a:cubicBezTo>
                <a:cubicBezTo>
                  <a:pt x="104" y="171"/>
                  <a:pt x="104" y="171"/>
                  <a:pt x="104" y="171"/>
                </a:cubicBezTo>
                <a:cubicBezTo>
                  <a:pt x="104" y="171"/>
                  <a:pt x="104" y="171"/>
                  <a:pt x="104" y="171"/>
                </a:cubicBezTo>
                <a:cubicBezTo>
                  <a:pt x="104" y="170"/>
                  <a:pt x="104" y="170"/>
                  <a:pt x="104" y="170"/>
                </a:cubicBezTo>
                <a:cubicBezTo>
                  <a:pt x="104" y="169"/>
                  <a:pt x="104" y="169"/>
                  <a:pt x="104" y="169"/>
                </a:cubicBezTo>
                <a:cubicBezTo>
                  <a:pt x="103" y="168"/>
                  <a:pt x="103" y="168"/>
                  <a:pt x="103" y="168"/>
                </a:cubicBezTo>
                <a:cubicBezTo>
                  <a:pt x="103" y="168"/>
                  <a:pt x="103" y="168"/>
                  <a:pt x="103" y="168"/>
                </a:cubicBezTo>
                <a:cubicBezTo>
                  <a:pt x="103" y="168"/>
                  <a:pt x="103" y="168"/>
                  <a:pt x="103" y="168"/>
                </a:cubicBezTo>
                <a:cubicBezTo>
                  <a:pt x="103" y="166"/>
                  <a:pt x="103" y="166"/>
                  <a:pt x="103" y="166"/>
                </a:cubicBezTo>
                <a:cubicBezTo>
                  <a:pt x="102" y="166"/>
                  <a:pt x="102" y="166"/>
                  <a:pt x="102" y="166"/>
                </a:cubicBezTo>
                <a:cubicBezTo>
                  <a:pt x="101" y="165"/>
                  <a:pt x="101" y="165"/>
                  <a:pt x="101" y="165"/>
                </a:cubicBezTo>
                <a:cubicBezTo>
                  <a:pt x="100" y="165"/>
                  <a:pt x="100" y="165"/>
                  <a:pt x="100" y="165"/>
                </a:cubicBezTo>
                <a:cubicBezTo>
                  <a:pt x="101" y="164"/>
                  <a:pt x="101" y="164"/>
                  <a:pt x="101" y="164"/>
                </a:cubicBezTo>
                <a:cubicBezTo>
                  <a:pt x="101" y="164"/>
                  <a:pt x="101" y="164"/>
                  <a:pt x="101" y="164"/>
                </a:cubicBezTo>
                <a:cubicBezTo>
                  <a:pt x="100" y="163"/>
                  <a:pt x="100" y="163"/>
                  <a:pt x="100" y="163"/>
                </a:cubicBezTo>
                <a:cubicBezTo>
                  <a:pt x="99" y="163"/>
                  <a:pt x="99" y="163"/>
                  <a:pt x="99" y="163"/>
                </a:cubicBezTo>
                <a:cubicBezTo>
                  <a:pt x="99" y="162"/>
                  <a:pt x="99" y="162"/>
                  <a:pt x="99" y="162"/>
                </a:cubicBezTo>
                <a:cubicBezTo>
                  <a:pt x="98" y="161"/>
                  <a:pt x="98" y="161"/>
                  <a:pt x="98" y="161"/>
                </a:cubicBezTo>
                <a:cubicBezTo>
                  <a:pt x="98" y="161"/>
                  <a:pt x="98" y="161"/>
                  <a:pt x="98" y="161"/>
                </a:cubicBezTo>
                <a:cubicBezTo>
                  <a:pt x="98" y="161"/>
                  <a:pt x="98" y="161"/>
                  <a:pt x="98" y="161"/>
                </a:cubicBezTo>
                <a:cubicBezTo>
                  <a:pt x="97" y="160"/>
                  <a:pt x="97" y="160"/>
                  <a:pt x="97" y="160"/>
                </a:cubicBezTo>
                <a:cubicBezTo>
                  <a:pt x="96" y="158"/>
                  <a:pt x="96" y="158"/>
                  <a:pt x="96" y="158"/>
                </a:cubicBezTo>
                <a:cubicBezTo>
                  <a:pt x="95" y="158"/>
                  <a:pt x="95" y="158"/>
                  <a:pt x="95" y="158"/>
                </a:cubicBezTo>
                <a:cubicBezTo>
                  <a:pt x="85" y="157"/>
                  <a:pt x="85" y="157"/>
                  <a:pt x="85" y="157"/>
                </a:cubicBezTo>
                <a:cubicBezTo>
                  <a:pt x="85" y="160"/>
                  <a:pt x="85" y="160"/>
                  <a:pt x="85" y="160"/>
                </a:cubicBezTo>
                <a:cubicBezTo>
                  <a:pt x="67" y="159"/>
                  <a:pt x="67" y="159"/>
                  <a:pt x="67" y="159"/>
                </a:cubicBezTo>
                <a:cubicBezTo>
                  <a:pt x="45" y="149"/>
                  <a:pt x="45" y="149"/>
                  <a:pt x="45" y="149"/>
                </a:cubicBezTo>
                <a:cubicBezTo>
                  <a:pt x="46" y="149"/>
                  <a:pt x="46" y="149"/>
                  <a:pt x="46" y="149"/>
                </a:cubicBezTo>
                <a:cubicBezTo>
                  <a:pt x="45" y="148"/>
                  <a:pt x="45" y="148"/>
                  <a:pt x="45" y="148"/>
                </a:cubicBezTo>
                <a:cubicBezTo>
                  <a:pt x="30" y="149"/>
                  <a:pt x="30" y="149"/>
                  <a:pt x="30" y="149"/>
                </a:cubicBezTo>
                <a:cubicBezTo>
                  <a:pt x="30" y="148"/>
                  <a:pt x="30" y="148"/>
                  <a:pt x="30" y="148"/>
                </a:cubicBezTo>
                <a:cubicBezTo>
                  <a:pt x="30" y="146"/>
                  <a:pt x="30" y="146"/>
                  <a:pt x="30" y="146"/>
                </a:cubicBezTo>
                <a:cubicBezTo>
                  <a:pt x="30" y="144"/>
                  <a:pt x="30" y="144"/>
                  <a:pt x="30" y="144"/>
                </a:cubicBezTo>
                <a:cubicBezTo>
                  <a:pt x="28" y="141"/>
                  <a:pt x="28" y="141"/>
                  <a:pt x="28" y="141"/>
                </a:cubicBezTo>
                <a:cubicBezTo>
                  <a:pt x="27" y="139"/>
                  <a:pt x="27" y="139"/>
                  <a:pt x="27" y="139"/>
                </a:cubicBezTo>
                <a:cubicBezTo>
                  <a:pt x="26" y="140"/>
                  <a:pt x="26" y="140"/>
                  <a:pt x="26" y="140"/>
                </a:cubicBezTo>
                <a:cubicBezTo>
                  <a:pt x="25" y="140"/>
                  <a:pt x="25" y="140"/>
                  <a:pt x="25" y="140"/>
                </a:cubicBezTo>
                <a:cubicBezTo>
                  <a:pt x="25" y="139"/>
                  <a:pt x="25" y="139"/>
                  <a:pt x="25" y="139"/>
                </a:cubicBezTo>
                <a:cubicBezTo>
                  <a:pt x="25" y="138"/>
                  <a:pt x="25" y="138"/>
                  <a:pt x="25" y="138"/>
                </a:cubicBezTo>
                <a:cubicBezTo>
                  <a:pt x="25" y="138"/>
                  <a:pt x="25" y="138"/>
                  <a:pt x="25" y="138"/>
                </a:cubicBezTo>
                <a:cubicBezTo>
                  <a:pt x="23" y="137"/>
                  <a:pt x="23" y="137"/>
                  <a:pt x="23" y="137"/>
                </a:cubicBezTo>
                <a:cubicBezTo>
                  <a:pt x="22" y="137"/>
                  <a:pt x="22" y="137"/>
                  <a:pt x="22" y="137"/>
                </a:cubicBezTo>
                <a:cubicBezTo>
                  <a:pt x="20" y="136"/>
                  <a:pt x="20" y="136"/>
                  <a:pt x="20" y="136"/>
                </a:cubicBezTo>
                <a:cubicBezTo>
                  <a:pt x="20" y="135"/>
                  <a:pt x="20" y="135"/>
                  <a:pt x="20" y="135"/>
                </a:cubicBezTo>
                <a:cubicBezTo>
                  <a:pt x="19" y="134"/>
                  <a:pt x="19" y="134"/>
                  <a:pt x="19" y="134"/>
                </a:cubicBezTo>
                <a:cubicBezTo>
                  <a:pt x="18" y="134"/>
                  <a:pt x="18" y="134"/>
                  <a:pt x="18" y="134"/>
                </a:cubicBezTo>
                <a:cubicBezTo>
                  <a:pt x="17" y="134"/>
                  <a:pt x="17" y="134"/>
                  <a:pt x="17" y="134"/>
                </a:cubicBezTo>
                <a:cubicBezTo>
                  <a:pt x="16" y="133"/>
                  <a:pt x="16" y="133"/>
                  <a:pt x="16" y="133"/>
                </a:cubicBezTo>
                <a:cubicBezTo>
                  <a:pt x="15" y="133"/>
                  <a:pt x="15" y="133"/>
                  <a:pt x="15" y="133"/>
                </a:cubicBezTo>
                <a:cubicBezTo>
                  <a:pt x="12" y="133"/>
                  <a:pt x="12" y="133"/>
                  <a:pt x="12" y="133"/>
                </a:cubicBezTo>
                <a:cubicBezTo>
                  <a:pt x="12" y="133"/>
                  <a:pt x="12" y="133"/>
                  <a:pt x="12" y="133"/>
                </a:cubicBezTo>
                <a:cubicBezTo>
                  <a:pt x="11" y="132"/>
                  <a:pt x="11" y="132"/>
                  <a:pt x="11" y="132"/>
                </a:cubicBezTo>
                <a:cubicBezTo>
                  <a:pt x="12" y="131"/>
                  <a:pt x="12" y="131"/>
                  <a:pt x="12" y="131"/>
                </a:cubicBezTo>
                <a:cubicBezTo>
                  <a:pt x="12" y="130"/>
                  <a:pt x="12" y="130"/>
                  <a:pt x="12" y="130"/>
                </a:cubicBezTo>
                <a:cubicBezTo>
                  <a:pt x="13" y="129"/>
                  <a:pt x="13" y="129"/>
                  <a:pt x="13" y="129"/>
                </a:cubicBezTo>
                <a:cubicBezTo>
                  <a:pt x="12" y="127"/>
                  <a:pt x="12" y="127"/>
                  <a:pt x="12" y="127"/>
                </a:cubicBezTo>
                <a:cubicBezTo>
                  <a:pt x="11" y="126"/>
                  <a:pt x="11" y="126"/>
                  <a:pt x="11" y="126"/>
                </a:cubicBezTo>
                <a:cubicBezTo>
                  <a:pt x="11" y="126"/>
                  <a:pt x="11" y="126"/>
                  <a:pt x="11" y="126"/>
                </a:cubicBezTo>
                <a:cubicBezTo>
                  <a:pt x="11" y="125"/>
                  <a:pt x="11" y="125"/>
                  <a:pt x="11" y="125"/>
                </a:cubicBezTo>
                <a:cubicBezTo>
                  <a:pt x="11" y="125"/>
                  <a:pt x="11" y="125"/>
                  <a:pt x="11" y="125"/>
                </a:cubicBezTo>
                <a:cubicBezTo>
                  <a:pt x="10" y="124"/>
                  <a:pt x="10" y="124"/>
                  <a:pt x="10" y="124"/>
                </a:cubicBezTo>
                <a:cubicBezTo>
                  <a:pt x="8" y="121"/>
                  <a:pt x="8" y="121"/>
                  <a:pt x="8" y="121"/>
                </a:cubicBezTo>
                <a:cubicBezTo>
                  <a:pt x="8" y="119"/>
                  <a:pt x="8" y="119"/>
                  <a:pt x="8" y="119"/>
                </a:cubicBezTo>
                <a:cubicBezTo>
                  <a:pt x="7" y="118"/>
                  <a:pt x="7" y="118"/>
                  <a:pt x="7" y="118"/>
                </a:cubicBezTo>
                <a:cubicBezTo>
                  <a:pt x="7" y="117"/>
                  <a:pt x="7" y="117"/>
                  <a:pt x="7" y="117"/>
                </a:cubicBezTo>
                <a:cubicBezTo>
                  <a:pt x="7" y="116"/>
                  <a:pt x="7" y="116"/>
                  <a:pt x="7" y="116"/>
                </a:cubicBezTo>
                <a:cubicBezTo>
                  <a:pt x="7" y="115"/>
                  <a:pt x="7" y="115"/>
                  <a:pt x="7" y="115"/>
                </a:cubicBezTo>
                <a:cubicBezTo>
                  <a:pt x="7" y="114"/>
                  <a:pt x="7" y="114"/>
                  <a:pt x="7" y="114"/>
                </a:cubicBezTo>
                <a:cubicBezTo>
                  <a:pt x="7" y="114"/>
                  <a:pt x="7" y="114"/>
                  <a:pt x="7" y="114"/>
                </a:cubicBezTo>
                <a:cubicBezTo>
                  <a:pt x="8" y="113"/>
                  <a:pt x="8" y="113"/>
                  <a:pt x="8" y="113"/>
                </a:cubicBezTo>
                <a:cubicBezTo>
                  <a:pt x="8" y="112"/>
                  <a:pt x="8" y="112"/>
                  <a:pt x="8" y="112"/>
                </a:cubicBezTo>
                <a:cubicBezTo>
                  <a:pt x="7" y="112"/>
                  <a:pt x="7" y="112"/>
                  <a:pt x="7" y="112"/>
                </a:cubicBezTo>
                <a:cubicBezTo>
                  <a:pt x="7" y="111"/>
                  <a:pt x="7" y="111"/>
                  <a:pt x="7" y="111"/>
                </a:cubicBezTo>
                <a:cubicBezTo>
                  <a:pt x="6" y="110"/>
                  <a:pt x="6" y="110"/>
                  <a:pt x="6" y="110"/>
                </a:cubicBezTo>
                <a:cubicBezTo>
                  <a:pt x="6" y="109"/>
                  <a:pt x="6" y="109"/>
                  <a:pt x="6" y="109"/>
                </a:cubicBezTo>
                <a:cubicBezTo>
                  <a:pt x="6" y="108"/>
                  <a:pt x="6" y="108"/>
                  <a:pt x="6" y="108"/>
                </a:cubicBezTo>
                <a:cubicBezTo>
                  <a:pt x="6" y="107"/>
                  <a:pt x="6" y="107"/>
                  <a:pt x="6" y="107"/>
                </a:cubicBezTo>
                <a:cubicBezTo>
                  <a:pt x="6" y="107"/>
                  <a:pt x="6" y="107"/>
                  <a:pt x="6" y="107"/>
                </a:cubicBezTo>
                <a:cubicBezTo>
                  <a:pt x="6" y="106"/>
                  <a:pt x="6" y="106"/>
                  <a:pt x="6" y="106"/>
                </a:cubicBezTo>
                <a:cubicBezTo>
                  <a:pt x="6" y="105"/>
                  <a:pt x="6" y="105"/>
                  <a:pt x="6" y="105"/>
                </a:cubicBezTo>
                <a:cubicBezTo>
                  <a:pt x="7" y="105"/>
                  <a:pt x="7" y="105"/>
                  <a:pt x="7" y="105"/>
                </a:cubicBezTo>
                <a:cubicBezTo>
                  <a:pt x="7" y="105"/>
                  <a:pt x="7" y="105"/>
                  <a:pt x="7" y="105"/>
                </a:cubicBezTo>
                <a:cubicBezTo>
                  <a:pt x="8" y="106"/>
                  <a:pt x="8" y="106"/>
                  <a:pt x="8" y="106"/>
                </a:cubicBezTo>
                <a:cubicBezTo>
                  <a:pt x="9" y="107"/>
                  <a:pt x="9" y="107"/>
                  <a:pt x="9" y="107"/>
                </a:cubicBezTo>
                <a:cubicBezTo>
                  <a:pt x="8" y="106"/>
                  <a:pt x="8" y="106"/>
                  <a:pt x="8" y="106"/>
                </a:cubicBezTo>
                <a:cubicBezTo>
                  <a:pt x="8" y="105"/>
                  <a:pt x="8" y="105"/>
                  <a:pt x="8" y="105"/>
                </a:cubicBezTo>
                <a:cubicBezTo>
                  <a:pt x="8" y="104"/>
                  <a:pt x="8" y="104"/>
                  <a:pt x="8" y="104"/>
                </a:cubicBezTo>
                <a:cubicBezTo>
                  <a:pt x="7" y="103"/>
                  <a:pt x="7" y="103"/>
                  <a:pt x="7" y="103"/>
                </a:cubicBezTo>
                <a:cubicBezTo>
                  <a:pt x="7" y="102"/>
                  <a:pt x="7" y="102"/>
                  <a:pt x="7" y="102"/>
                </a:cubicBezTo>
                <a:cubicBezTo>
                  <a:pt x="8" y="102"/>
                  <a:pt x="8" y="102"/>
                  <a:pt x="8" y="102"/>
                </a:cubicBezTo>
                <a:cubicBezTo>
                  <a:pt x="8" y="103"/>
                  <a:pt x="8" y="103"/>
                  <a:pt x="8" y="103"/>
                </a:cubicBezTo>
                <a:cubicBezTo>
                  <a:pt x="9" y="103"/>
                  <a:pt x="9" y="103"/>
                  <a:pt x="9" y="103"/>
                </a:cubicBezTo>
                <a:cubicBezTo>
                  <a:pt x="11" y="102"/>
                  <a:pt x="11" y="102"/>
                  <a:pt x="11" y="102"/>
                </a:cubicBezTo>
                <a:cubicBezTo>
                  <a:pt x="9" y="102"/>
                  <a:pt x="9" y="102"/>
                  <a:pt x="9" y="102"/>
                </a:cubicBezTo>
                <a:cubicBezTo>
                  <a:pt x="9" y="102"/>
                  <a:pt x="9" y="102"/>
                  <a:pt x="9" y="102"/>
                </a:cubicBezTo>
                <a:cubicBezTo>
                  <a:pt x="8" y="102"/>
                  <a:pt x="8" y="102"/>
                  <a:pt x="8" y="102"/>
                </a:cubicBezTo>
                <a:cubicBezTo>
                  <a:pt x="8" y="101"/>
                  <a:pt x="8" y="101"/>
                  <a:pt x="8" y="101"/>
                </a:cubicBezTo>
                <a:cubicBezTo>
                  <a:pt x="7" y="101"/>
                  <a:pt x="7" y="101"/>
                  <a:pt x="7" y="101"/>
                </a:cubicBezTo>
                <a:cubicBezTo>
                  <a:pt x="6" y="101"/>
                  <a:pt x="6" y="101"/>
                  <a:pt x="6" y="101"/>
                </a:cubicBezTo>
                <a:cubicBezTo>
                  <a:pt x="6" y="102"/>
                  <a:pt x="6" y="102"/>
                  <a:pt x="6" y="102"/>
                </a:cubicBezTo>
                <a:cubicBezTo>
                  <a:pt x="6" y="104"/>
                  <a:pt x="6" y="104"/>
                  <a:pt x="6" y="104"/>
                </a:cubicBezTo>
                <a:cubicBezTo>
                  <a:pt x="6" y="103"/>
                  <a:pt x="6" y="103"/>
                  <a:pt x="6" y="103"/>
                </a:cubicBezTo>
                <a:cubicBezTo>
                  <a:pt x="6" y="103"/>
                  <a:pt x="6" y="103"/>
                  <a:pt x="6" y="103"/>
                </a:cubicBezTo>
                <a:cubicBezTo>
                  <a:pt x="5" y="103"/>
                  <a:pt x="5" y="103"/>
                  <a:pt x="5" y="103"/>
                </a:cubicBezTo>
                <a:cubicBezTo>
                  <a:pt x="4" y="102"/>
                  <a:pt x="4" y="102"/>
                  <a:pt x="4" y="102"/>
                </a:cubicBezTo>
                <a:cubicBezTo>
                  <a:pt x="4" y="101"/>
                  <a:pt x="4" y="101"/>
                  <a:pt x="4" y="101"/>
                </a:cubicBezTo>
                <a:cubicBezTo>
                  <a:pt x="4" y="100"/>
                  <a:pt x="4" y="100"/>
                  <a:pt x="4" y="100"/>
                </a:cubicBezTo>
                <a:cubicBezTo>
                  <a:pt x="4" y="99"/>
                  <a:pt x="4" y="99"/>
                  <a:pt x="4" y="99"/>
                </a:cubicBezTo>
                <a:cubicBezTo>
                  <a:pt x="1" y="95"/>
                  <a:pt x="1" y="95"/>
                  <a:pt x="1" y="95"/>
                </a:cubicBezTo>
                <a:cubicBezTo>
                  <a:pt x="1" y="94"/>
                  <a:pt x="1" y="94"/>
                  <a:pt x="1" y="94"/>
                </a:cubicBezTo>
                <a:cubicBezTo>
                  <a:pt x="1" y="93"/>
                  <a:pt x="1" y="93"/>
                  <a:pt x="1" y="93"/>
                </a:cubicBezTo>
                <a:cubicBezTo>
                  <a:pt x="2" y="92"/>
                  <a:pt x="2" y="92"/>
                  <a:pt x="2" y="92"/>
                </a:cubicBezTo>
                <a:cubicBezTo>
                  <a:pt x="1" y="91"/>
                  <a:pt x="1" y="91"/>
                  <a:pt x="1" y="91"/>
                </a:cubicBezTo>
                <a:cubicBezTo>
                  <a:pt x="1" y="90"/>
                  <a:pt x="1" y="90"/>
                  <a:pt x="1" y="90"/>
                </a:cubicBezTo>
                <a:cubicBezTo>
                  <a:pt x="1" y="89"/>
                  <a:pt x="1" y="89"/>
                  <a:pt x="1" y="89"/>
                </a:cubicBezTo>
                <a:cubicBezTo>
                  <a:pt x="2" y="88"/>
                  <a:pt x="2" y="88"/>
                  <a:pt x="2" y="88"/>
                </a:cubicBezTo>
                <a:cubicBezTo>
                  <a:pt x="2" y="87"/>
                  <a:pt x="2" y="87"/>
                  <a:pt x="2" y="87"/>
                </a:cubicBezTo>
                <a:cubicBezTo>
                  <a:pt x="2" y="84"/>
                  <a:pt x="2" y="84"/>
                  <a:pt x="2" y="84"/>
                </a:cubicBezTo>
                <a:cubicBezTo>
                  <a:pt x="1" y="82"/>
                  <a:pt x="1" y="82"/>
                  <a:pt x="1" y="82"/>
                </a:cubicBezTo>
                <a:cubicBezTo>
                  <a:pt x="0" y="80"/>
                  <a:pt x="0" y="80"/>
                  <a:pt x="0" y="80"/>
                </a:cubicBezTo>
                <a:cubicBezTo>
                  <a:pt x="0" y="79"/>
                  <a:pt x="0" y="79"/>
                  <a:pt x="0" y="79"/>
                </a:cubicBezTo>
                <a:cubicBezTo>
                  <a:pt x="0" y="77"/>
                  <a:pt x="0" y="77"/>
                  <a:pt x="0" y="77"/>
                </a:cubicBezTo>
                <a:cubicBezTo>
                  <a:pt x="2" y="76"/>
                  <a:pt x="2" y="76"/>
                  <a:pt x="2" y="76"/>
                </a:cubicBezTo>
                <a:cubicBezTo>
                  <a:pt x="3" y="74"/>
                  <a:pt x="3" y="74"/>
                  <a:pt x="3" y="74"/>
                </a:cubicBezTo>
                <a:cubicBezTo>
                  <a:pt x="2" y="74"/>
                  <a:pt x="2" y="74"/>
                  <a:pt x="2" y="74"/>
                </a:cubicBezTo>
                <a:cubicBezTo>
                  <a:pt x="2" y="73"/>
                  <a:pt x="2" y="73"/>
                  <a:pt x="2" y="73"/>
                </a:cubicBezTo>
                <a:cubicBezTo>
                  <a:pt x="3" y="73"/>
                  <a:pt x="3" y="73"/>
                  <a:pt x="3" y="73"/>
                </a:cubicBezTo>
                <a:cubicBezTo>
                  <a:pt x="4" y="71"/>
                  <a:pt x="4" y="71"/>
                  <a:pt x="4" y="71"/>
                </a:cubicBezTo>
                <a:cubicBezTo>
                  <a:pt x="4" y="69"/>
                  <a:pt x="4" y="69"/>
                  <a:pt x="4" y="69"/>
                </a:cubicBezTo>
                <a:cubicBezTo>
                  <a:pt x="3" y="67"/>
                  <a:pt x="3" y="67"/>
                  <a:pt x="3" y="67"/>
                </a:cubicBezTo>
                <a:cubicBezTo>
                  <a:pt x="4" y="66"/>
                  <a:pt x="4" y="66"/>
                  <a:pt x="4" y="66"/>
                </a:cubicBezTo>
                <a:cubicBezTo>
                  <a:pt x="4" y="65"/>
                  <a:pt x="4" y="65"/>
                  <a:pt x="4" y="65"/>
                </a:cubicBezTo>
                <a:cubicBezTo>
                  <a:pt x="3" y="64"/>
                  <a:pt x="3" y="64"/>
                  <a:pt x="3" y="64"/>
                </a:cubicBezTo>
                <a:cubicBezTo>
                  <a:pt x="3" y="63"/>
                  <a:pt x="3" y="63"/>
                  <a:pt x="3" y="63"/>
                </a:cubicBezTo>
                <a:cubicBezTo>
                  <a:pt x="4" y="60"/>
                  <a:pt x="4" y="60"/>
                  <a:pt x="4" y="60"/>
                </a:cubicBezTo>
                <a:cubicBezTo>
                  <a:pt x="4" y="58"/>
                  <a:pt x="4" y="58"/>
                  <a:pt x="4" y="58"/>
                </a:cubicBezTo>
                <a:cubicBezTo>
                  <a:pt x="4" y="57"/>
                  <a:pt x="4" y="57"/>
                  <a:pt x="4" y="57"/>
                </a:cubicBezTo>
                <a:cubicBezTo>
                  <a:pt x="6" y="55"/>
                  <a:pt x="6" y="55"/>
                  <a:pt x="6" y="55"/>
                </a:cubicBezTo>
                <a:cubicBezTo>
                  <a:pt x="6" y="53"/>
                  <a:pt x="6" y="53"/>
                  <a:pt x="6" y="53"/>
                </a:cubicBezTo>
                <a:cubicBezTo>
                  <a:pt x="7" y="53"/>
                  <a:pt x="7" y="53"/>
                  <a:pt x="7" y="53"/>
                </a:cubicBezTo>
                <a:cubicBezTo>
                  <a:pt x="8" y="51"/>
                  <a:pt x="8" y="51"/>
                  <a:pt x="8" y="51"/>
                </a:cubicBezTo>
                <a:cubicBezTo>
                  <a:pt x="9" y="49"/>
                  <a:pt x="9" y="49"/>
                  <a:pt x="9" y="49"/>
                </a:cubicBezTo>
                <a:cubicBezTo>
                  <a:pt x="10" y="48"/>
                  <a:pt x="10" y="48"/>
                  <a:pt x="10" y="48"/>
                </a:cubicBezTo>
                <a:cubicBezTo>
                  <a:pt x="10" y="44"/>
                  <a:pt x="10" y="44"/>
                  <a:pt x="10" y="44"/>
                </a:cubicBezTo>
                <a:cubicBezTo>
                  <a:pt x="12" y="41"/>
                  <a:pt x="12" y="41"/>
                  <a:pt x="12" y="41"/>
                </a:cubicBezTo>
                <a:cubicBezTo>
                  <a:pt x="12" y="38"/>
                  <a:pt x="12" y="38"/>
                  <a:pt x="12" y="38"/>
                </a:cubicBezTo>
                <a:cubicBezTo>
                  <a:pt x="14" y="35"/>
                  <a:pt x="14" y="35"/>
                  <a:pt x="14" y="35"/>
                </a:cubicBezTo>
                <a:cubicBezTo>
                  <a:pt x="14" y="33"/>
                  <a:pt x="14" y="33"/>
                  <a:pt x="14" y="33"/>
                </a:cubicBezTo>
                <a:cubicBezTo>
                  <a:pt x="15" y="32"/>
                  <a:pt x="15" y="32"/>
                  <a:pt x="15" y="32"/>
                </a:cubicBezTo>
                <a:cubicBezTo>
                  <a:pt x="15" y="31"/>
                  <a:pt x="15" y="31"/>
                  <a:pt x="15" y="31"/>
                </a:cubicBezTo>
                <a:cubicBezTo>
                  <a:pt x="15" y="30"/>
                  <a:pt x="15" y="30"/>
                  <a:pt x="15" y="30"/>
                </a:cubicBezTo>
                <a:cubicBezTo>
                  <a:pt x="16" y="28"/>
                  <a:pt x="16" y="28"/>
                  <a:pt x="16" y="28"/>
                </a:cubicBezTo>
                <a:cubicBezTo>
                  <a:pt x="16" y="27"/>
                  <a:pt x="16" y="27"/>
                  <a:pt x="16" y="27"/>
                </a:cubicBezTo>
                <a:cubicBezTo>
                  <a:pt x="17" y="27"/>
                  <a:pt x="17" y="27"/>
                  <a:pt x="17" y="27"/>
                </a:cubicBezTo>
                <a:cubicBezTo>
                  <a:pt x="17" y="27"/>
                  <a:pt x="17" y="27"/>
                  <a:pt x="17" y="27"/>
                </a:cubicBezTo>
                <a:cubicBezTo>
                  <a:pt x="19" y="27"/>
                  <a:pt x="19" y="27"/>
                  <a:pt x="19" y="27"/>
                </a:cubicBezTo>
                <a:cubicBezTo>
                  <a:pt x="20" y="28"/>
                  <a:pt x="20" y="28"/>
                  <a:pt x="20" y="28"/>
                </a:cubicBezTo>
                <a:cubicBezTo>
                  <a:pt x="21" y="28"/>
                  <a:pt x="21" y="28"/>
                  <a:pt x="21" y="28"/>
                </a:cubicBezTo>
                <a:cubicBezTo>
                  <a:pt x="22" y="29"/>
                  <a:pt x="22" y="29"/>
                  <a:pt x="22" y="29"/>
                </a:cubicBezTo>
                <a:cubicBezTo>
                  <a:pt x="23" y="30"/>
                  <a:pt x="23" y="30"/>
                  <a:pt x="23" y="30"/>
                </a:cubicBezTo>
                <a:cubicBezTo>
                  <a:pt x="23" y="28"/>
                  <a:pt x="23" y="28"/>
                  <a:pt x="23" y="28"/>
                </a:cubicBezTo>
                <a:cubicBezTo>
                  <a:pt x="22" y="28"/>
                  <a:pt x="22" y="28"/>
                  <a:pt x="22" y="28"/>
                </a:cubicBezTo>
                <a:cubicBezTo>
                  <a:pt x="21" y="27"/>
                  <a:pt x="21" y="27"/>
                  <a:pt x="21" y="27"/>
                </a:cubicBezTo>
                <a:cubicBezTo>
                  <a:pt x="20" y="26"/>
                  <a:pt x="20" y="26"/>
                  <a:pt x="20" y="26"/>
                </a:cubicBezTo>
                <a:cubicBezTo>
                  <a:pt x="18" y="26"/>
                  <a:pt x="18" y="26"/>
                  <a:pt x="18" y="26"/>
                </a:cubicBezTo>
                <a:cubicBezTo>
                  <a:pt x="16" y="26"/>
                  <a:pt x="16" y="26"/>
                  <a:pt x="16" y="26"/>
                </a:cubicBezTo>
                <a:cubicBezTo>
                  <a:pt x="16" y="25"/>
                  <a:pt x="16" y="25"/>
                  <a:pt x="16" y="25"/>
                </a:cubicBezTo>
                <a:cubicBezTo>
                  <a:pt x="17" y="25"/>
                  <a:pt x="17" y="25"/>
                  <a:pt x="17" y="25"/>
                </a:cubicBezTo>
                <a:cubicBezTo>
                  <a:pt x="17" y="25"/>
                  <a:pt x="17" y="25"/>
                  <a:pt x="17" y="25"/>
                </a:cubicBezTo>
                <a:cubicBezTo>
                  <a:pt x="18" y="24"/>
                  <a:pt x="18" y="24"/>
                  <a:pt x="18" y="24"/>
                </a:cubicBezTo>
                <a:cubicBezTo>
                  <a:pt x="18" y="23"/>
                  <a:pt x="18" y="23"/>
                  <a:pt x="18" y="23"/>
                </a:cubicBezTo>
                <a:cubicBezTo>
                  <a:pt x="18" y="22"/>
                  <a:pt x="18" y="22"/>
                  <a:pt x="18" y="22"/>
                </a:cubicBezTo>
                <a:cubicBezTo>
                  <a:pt x="17" y="21"/>
                  <a:pt x="17" y="21"/>
                  <a:pt x="17" y="21"/>
                </a:cubicBezTo>
                <a:cubicBezTo>
                  <a:pt x="17" y="21"/>
                  <a:pt x="17" y="21"/>
                  <a:pt x="17" y="21"/>
                </a:cubicBezTo>
                <a:cubicBezTo>
                  <a:pt x="17" y="20"/>
                  <a:pt x="17" y="20"/>
                  <a:pt x="17" y="20"/>
                </a:cubicBezTo>
                <a:cubicBezTo>
                  <a:pt x="18" y="20"/>
                  <a:pt x="18" y="20"/>
                  <a:pt x="18" y="20"/>
                </a:cubicBezTo>
                <a:cubicBezTo>
                  <a:pt x="18" y="19"/>
                  <a:pt x="18" y="19"/>
                  <a:pt x="18" y="19"/>
                </a:cubicBezTo>
                <a:cubicBezTo>
                  <a:pt x="18" y="19"/>
                  <a:pt x="18" y="19"/>
                  <a:pt x="18" y="19"/>
                </a:cubicBezTo>
                <a:cubicBezTo>
                  <a:pt x="17" y="19"/>
                  <a:pt x="17" y="19"/>
                  <a:pt x="17" y="19"/>
                </a:cubicBezTo>
                <a:cubicBezTo>
                  <a:pt x="17" y="18"/>
                  <a:pt x="17" y="18"/>
                  <a:pt x="17" y="18"/>
                </a:cubicBezTo>
                <a:cubicBezTo>
                  <a:pt x="17" y="16"/>
                  <a:pt x="17" y="16"/>
                  <a:pt x="17" y="16"/>
                </a:cubicBezTo>
                <a:cubicBezTo>
                  <a:pt x="17" y="15"/>
                  <a:pt x="17" y="15"/>
                  <a:pt x="17" y="15"/>
                </a:cubicBezTo>
                <a:cubicBezTo>
                  <a:pt x="18" y="11"/>
                  <a:pt x="18" y="11"/>
                  <a:pt x="18" y="11"/>
                </a:cubicBezTo>
                <a:cubicBezTo>
                  <a:pt x="17" y="9"/>
                  <a:pt x="17" y="9"/>
                  <a:pt x="17" y="9"/>
                </a:cubicBezTo>
                <a:cubicBezTo>
                  <a:pt x="17" y="8"/>
                  <a:pt x="17" y="8"/>
                  <a:pt x="17" y="8"/>
                </a:cubicBezTo>
                <a:cubicBezTo>
                  <a:pt x="18" y="6"/>
                  <a:pt x="18" y="6"/>
                  <a:pt x="18" y="6"/>
                </a:cubicBezTo>
                <a:cubicBezTo>
                  <a:pt x="18" y="4"/>
                  <a:pt x="18" y="4"/>
                  <a:pt x="18" y="4"/>
                </a:cubicBezTo>
                <a:cubicBezTo>
                  <a:pt x="19" y="4"/>
                  <a:pt x="19" y="4"/>
                  <a:pt x="19" y="4"/>
                </a:cubicBezTo>
                <a:cubicBezTo>
                  <a:pt x="21" y="7"/>
                  <a:pt x="21" y="7"/>
                  <a:pt x="21" y="7"/>
                </a:cubicBezTo>
                <a:cubicBezTo>
                  <a:pt x="23" y="8"/>
                  <a:pt x="23" y="8"/>
                  <a:pt x="23" y="8"/>
                </a:cubicBezTo>
                <a:cubicBezTo>
                  <a:pt x="26" y="8"/>
                  <a:pt x="26" y="8"/>
                  <a:pt x="26" y="8"/>
                </a:cubicBezTo>
                <a:cubicBezTo>
                  <a:pt x="27" y="8"/>
                  <a:pt x="27" y="8"/>
                  <a:pt x="27" y="8"/>
                </a:cubicBezTo>
                <a:cubicBezTo>
                  <a:pt x="27" y="9"/>
                  <a:pt x="27" y="9"/>
                  <a:pt x="27" y="9"/>
                </a:cubicBezTo>
                <a:cubicBezTo>
                  <a:pt x="28" y="9"/>
                  <a:pt x="28" y="9"/>
                  <a:pt x="28" y="9"/>
                </a:cubicBezTo>
                <a:cubicBezTo>
                  <a:pt x="29" y="9"/>
                  <a:pt x="29" y="9"/>
                  <a:pt x="29" y="9"/>
                </a:cubicBezTo>
                <a:cubicBezTo>
                  <a:pt x="29" y="10"/>
                  <a:pt x="29" y="10"/>
                  <a:pt x="29" y="10"/>
                </a:cubicBezTo>
                <a:cubicBezTo>
                  <a:pt x="29" y="11"/>
                  <a:pt x="29" y="11"/>
                  <a:pt x="29" y="11"/>
                </a:cubicBezTo>
                <a:cubicBezTo>
                  <a:pt x="27" y="11"/>
                  <a:pt x="27" y="11"/>
                  <a:pt x="27" y="11"/>
                </a:cubicBezTo>
                <a:cubicBezTo>
                  <a:pt x="26" y="12"/>
                  <a:pt x="26" y="12"/>
                  <a:pt x="26" y="12"/>
                </a:cubicBezTo>
                <a:cubicBezTo>
                  <a:pt x="26" y="13"/>
                  <a:pt x="26" y="13"/>
                  <a:pt x="26" y="13"/>
                </a:cubicBezTo>
                <a:cubicBezTo>
                  <a:pt x="27" y="13"/>
                  <a:pt x="27" y="13"/>
                  <a:pt x="27" y="13"/>
                </a:cubicBezTo>
                <a:cubicBezTo>
                  <a:pt x="28" y="12"/>
                  <a:pt x="28" y="12"/>
                  <a:pt x="28" y="12"/>
                </a:cubicBezTo>
                <a:cubicBezTo>
                  <a:pt x="29" y="11"/>
                  <a:pt x="29" y="11"/>
                  <a:pt x="29" y="11"/>
                </a:cubicBezTo>
                <a:cubicBezTo>
                  <a:pt x="29" y="11"/>
                  <a:pt x="29" y="11"/>
                  <a:pt x="29" y="11"/>
                </a:cubicBezTo>
                <a:cubicBezTo>
                  <a:pt x="30" y="12"/>
                  <a:pt x="30" y="12"/>
                  <a:pt x="30" y="12"/>
                </a:cubicBezTo>
                <a:cubicBezTo>
                  <a:pt x="29" y="13"/>
                  <a:pt x="29" y="13"/>
                  <a:pt x="29" y="13"/>
                </a:cubicBezTo>
                <a:cubicBezTo>
                  <a:pt x="28" y="14"/>
                  <a:pt x="28" y="14"/>
                  <a:pt x="28" y="14"/>
                </a:cubicBezTo>
                <a:cubicBezTo>
                  <a:pt x="28" y="16"/>
                  <a:pt x="28" y="16"/>
                  <a:pt x="28" y="16"/>
                </a:cubicBezTo>
                <a:cubicBezTo>
                  <a:pt x="27" y="16"/>
                  <a:pt x="27" y="16"/>
                  <a:pt x="27" y="16"/>
                </a:cubicBezTo>
                <a:cubicBezTo>
                  <a:pt x="27" y="15"/>
                  <a:pt x="27" y="15"/>
                  <a:pt x="27" y="15"/>
                </a:cubicBezTo>
                <a:cubicBezTo>
                  <a:pt x="26" y="16"/>
                  <a:pt x="26" y="16"/>
                  <a:pt x="26" y="16"/>
                </a:cubicBezTo>
                <a:cubicBezTo>
                  <a:pt x="26" y="16"/>
                  <a:pt x="26" y="16"/>
                  <a:pt x="26" y="16"/>
                </a:cubicBezTo>
                <a:cubicBezTo>
                  <a:pt x="25" y="17"/>
                  <a:pt x="25" y="17"/>
                  <a:pt x="25" y="17"/>
                </a:cubicBezTo>
                <a:cubicBezTo>
                  <a:pt x="26" y="17"/>
                  <a:pt x="26" y="17"/>
                  <a:pt x="26" y="17"/>
                </a:cubicBezTo>
                <a:cubicBezTo>
                  <a:pt x="27" y="18"/>
                  <a:pt x="27" y="18"/>
                  <a:pt x="27" y="18"/>
                </a:cubicBezTo>
                <a:cubicBezTo>
                  <a:pt x="28" y="17"/>
                  <a:pt x="28" y="17"/>
                  <a:pt x="28" y="17"/>
                </a:cubicBezTo>
                <a:cubicBezTo>
                  <a:pt x="28" y="16"/>
                  <a:pt x="28" y="16"/>
                  <a:pt x="28" y="16"/>
                </a:cubicBezTo>
                <a:cubicBezTo>
                  <a:pt x="29" y="15"/>
                  <a:pt x="29" y="15"/>
                  <a:pt x="29" y="15"/>
                </a:cubicBezTo>
                <a:cubicBezTo>
                  <a:pt x="29" y="14"/>
                  <a:pt x="29" y="14"/>
                  <a:pt x="29" y="14"/>
                </a:cubicBezTo>
                <a:cubicBezTo>
                  <a:pt x="30" y="13"/>
                  <a:pt x="30" y="13"/>
                  <a:pt x="30" y="13"/>
                </a:cubicBezTo>
                <a:cubicBezTo>
                  <a:pt x="30" y="12"/>
                  <a:pt x="30" y="12"/>
                  <a:pt x="30" y="12"/>
                </a:cubicBezTo>
                <a:cubicBezTo>
                  <a:pt x="31" y="11"/>
                  <a:pt x="31" y="11"/>
                  <a:pt x="31" y="11"/>
                </a:cubicBezTo>
                <a:cubicBezTo>
                  <a:pt x="32" y="10"/>
                  <a:pt x="32" y="10"/>
                  <a:pt x="32" y="10"/>
                </a:cubicBezTo>
                <a:cubicBezTo>
                  <a:pt x="32" y="9"/>
                  <a:pt x="32" y="9"/>
                  <a:pt x="32" y="9"/>
                </a:cubicBezTo>
                <a:cubicBezTo>
                  <a:pt x="32" y="8"/>
                  <a:pt x="32" y="8"/>
                  <a:pt x="32" y="8"/>
                </a:cubicBezTo>
                <a:cubicBezTo>
                  <a:pt x="31" y="8"/>
                  <a:pt x="31" y="8"/>
                  <a:pt x="31" y="8"/>
                </a:cubicBezTo>
                <a:cubicBezTo>
                  <a:pt x="32" y="7"/>
                  <a:pt x="32" y="7"/>
                  <a:pt x="32" y="7"/>
                </a:cubicBezTo>
                <a:cubicBezTo>
                  <a:pt x="32" y="6"/>
                  <a:pt x="32" y="6"/>
                  <a:pt x="32" y="6"/>
                </a:cubicBezTo>
                <a:cubicBezTo>
                  <a:pt x="32" y="6"/>
                  <a:pt x="32" y="6"/>
                  <a:pt x="32" y="6"/>
                </a:cubicBezTo>
                <a:cubicBezTo>
                  <a:pt x="31" y="4"/>
                  <a:pt x="31" y="4"/>
                  <a:pt x="31" y="4"/>
                </a:cubicBezTo>
                <a:cubicBezTo>
                  <a:pt x="32" y="4"/>
                  <a:pt x="32" y="4"/>
                  <a:pt x="32" y="4"/>
                </a:cubicBezTo>
                <a:cubicBezTo>
                  <a:pt x="33" y="3"/>
                  <a:pt x="33" y="3"/>
                  <a:pt x="33" y="3"/>
                </a:cubicBezTo>
                <a:cubicBezTo>
                  <a:pt x="31" y="2"/>
                  <a:pt x="31" y="2"/>
                  <a:pt x="31" y="2"/>
                </a:cubicBezTo>
                <a:cubicBezTo>
                  <a:pt x="31" y="0"/>
                  <a:pt x="31" y="0"/>
                  <a:pt x="31" y="0"/>
                </a:cubicBezTo>
                <a:close/>
                <a:moveTo>
                  <a:pt x="326" y="89"/>
                </a:moveTo>
                <a:cubicBezTo>
                  <a:pt x="326" y="89"/>
                  <a:pt x="326" y="89"/>
                  <a:pt x="326" y="89"/>
                </a:cubicBezTo>
                <a:cubicBezTo>
                  <a:pt x="327" y="89"/>
                  <a:pt x="327" y="89"/>
                  <a:pt x="327" y="89"/>
                </a:cubicBezTo>
                <a:cubicBezTo>
                  <a:pt x="327" y="89"/>
                  <a:pt x="327" y="89"/>
                  <a:pt x="327" y="89"/>
                </a:cubicBezTo>
                <a:cubicBezTo>
                  <a:pt x="328" y="89"/>
                  <a:pt x="328" y="89"/>
                  <a:pt x="328" y="89"/>
                </a:cubicBezTo>
                <a:cubicBezTo>
                  <a:pt x="328" y="88"/>
                  <a:pt x="328" y="88"/>
                  <a:pt x="328" y="88"/>
                </a:cubicBezTo>
                <a:cubicBezTo>
                  <a:pt x="327" y="88"/>
                  <a:pt x="327" y="88"/>
                  <a:pt x="327" y="88"/>
                </a:cubicBezTo>
                <a:cubicBezTo>
                  <a:pt x="326" y="88"/>
                  <a:pt x="326" y="88"/>
                  <a:pt x="326" y="88"/>
                </a:cubicBezTo>
                <a:cubicBezTo>
                  <a:pt x="326" y="89"/>
                  <a:pt x="326" y="89"/>
                  <a:pt x="326" y="89"/>
                </a:cubicBezTo>
                <a:close/>
                <a:moveTo>
                  <a:pt x="307" y="94"/>
                </a:moveTo>
                <a:cubicBezTo>
                  <a:pt x="306" y="94"/>
                  <a:pt x="306" y="94"/>
                  <a:pt x="306" y="94"/>
                </a:cubicBezTo>
                <a:cubicBezTo>
                  <a:pt x="307" y="94"/>
                  <a:pt x="307" y="94"/>
                  <a:pt x="307" y="94"/>
                </a:cubicBezTo>
                <a:cubicBezTo>
                  <a:pt x="308" y="94"/>
                  <a:pt x="308" y="94"/>
                  <a:pt x="308" y="94"/>
                </a:cubicBezTo>
                <a:cubicBezTo>
                  <a:pt x="309" y="94"/>
                  <a:pt x="309" y="94"/>
                  <a:pt x="309" y="94"/>
                </a:cubicBezTo>
                <a:cubicBezTo>
                  <a:pt x="310" y="93"/>
                  <a:pt x="310" y="93"/>
                  <a:pt x="310" y="93"/>
                </a:cubicBezTo>
                <a:cubicBezTo>
                  <a:pt x="312" y="93"/>
                  <a:pt x="312" y="93"/>
                  <a:pt x="312" y="93"/>
                </a:cubicBezTo>
                <a:cubicBezTo>
                  <a:pt x="313" y="93"/>
                  <a:pt x="313" y="93"/>
                  <a:pt x="313" y="93"/>
                </a:cubicBezTo>
                <a:cubicBezTo>
                  <a:pt x="315" y="93"/>
                  <a:pt x="315" y="93"/>
                  <a:pt x="315" y="93"/>
                </a:cubicBezTo>
                <a:cubicBezTo>
                  <a:pt x="316" y="92"/>
                  <a:pt x="316" y="92"/>
                  <a:pt x="316" y="92"/>
                </a:cubicBezTo>
                <a:cubicBezTo>
                  <a:pt x="316" y="92"/>
                  <a:pt x="316" y="92"/>
                  <a:pt x="316" y="92"/>
                </a:cubicBezTo>
                <a:cubicBezTo>
                  <a:pt x="318" y="92"/>
                  <a:pt x="318" y="92"/>
                  <a:pt x="318" y="92"/>
                </a:cubicBezTo>
                <a:cubicBezTo>
                  <a:pt x="318" y="91"/>
                  <a:pt x="318" y="91"/>
                  <a:pt x="318" y="91"/>
                </a:cubicBezTo>
                <a:cubicBezTo>
                  <a:pt x="317" y="92"/>
                  <a:pt x="317" y="92"/>
                  <a:pt x="317" y="92"/>
                </a:cubicBezTo>
                <a:cubicBezTo>
                  <a:pt x="317" y="91"/>
                  <a:pt x="317" y="91"/>
                  <a:pt x="317" y="91"/>
                </a:cubicBezTo>
                <a:cubicBezTo>
                  <a:pt x="316" y="92"/>
                  <a:pt x="316" y="92"/>
                  <a:pt x="316" y="92"/>
                </a:cubicBezTo>
                <a:cubicBezTo>
                  <a:pt x="316" y="91"/>
                  <a:pt x="316" y="91"/>
                  <a:pt x="316" y="91"/>
                </a:cubicBezTo>
                <a:cubicBezTo>
                  <a:pt x="316" y="91"/>
                  <a:pt x="316" y="91"/>
                  <a:pt x="316" y="91"/>
                </a:cubicBezTo>
                <a:cubicBezTo>
                  <a:pt x="316" y="90"/>
                  <a:pt x="316" y="90"/>
                  <a:pt x="316" y="90"/>
                </a:cubicBezTo>
                <a:cubicBezTo>
                  <a:pt x="315" y="91"/>
                  <a:pt x="315" y="91"/>
                  <a:pt x="315" y="91"/>
                </a:cubicBezTo>
                <a:cubicBezTo>
                  <a:pt x="313" y="91"/>
                  <a:pt x="313" y="91"/>
                  <a:pt x="313" y="91"/>
                </a:cubicBezTo>
                <a:cubicBezTo>
                  <a:pt x="311" y="92"/>
                  <a:pt x="311" y="92"/>
                  <a:pt x="311" y="92"/>
                </a:cubicBezTo>
                <a:cubicBezTo>
                  <a:pt x="310" y="92"/>
                  <a:pt x="310" y="92"/>
                  <a:pt x="310" y="92"/>
                </a:cubicBezTo>
                <a:cubicBezTo>
                  <a:pt x="308" y="92"/>
                  <a:pt x="308" y="92"/>
                  <a:pt x="308" y="92"/>
                </a:cubicBezTo>
                <a:cubicBezTo>
                  <a:pt x="307" y="93"/>
                  <a:pt x="307" y="93"/>
                  <a:pt x="307" y="93"/>
                </a:cubicBezTo>
                <a:cubicBezTo>
                  <a:pt x="306" y="93"/>
                  <a:pt x="306" y="93"/>
                  <a:pt x="306" y="93"/>
                </a:cubicBezTo>
                <a:cubicBezTo>
                  <a:pt x="306" y="94"/>
                  <a:pt x="306" y="94"/>
                  <a:pt x="306" y="94"/>
                </a:cubicBezTo>
                <a:cubicBezTo>
                  <a:pt x="307" y="94"/>
                  <a:pt x="307" y="94"/>
                  <a:pt x="307" y="94"/>
                </a:cubicBezTo>
                <a:close/>
                <a:moveTo>
                  <a:pt x="31" y="6"/>
                </a:moveTo>
                <a:cubicBezTo>
                  <a:pt x="30" y="7"/>
                  <a:pt x="30" y="7"/>
                  <a:pt x="30" y="7"/>
                </a:cubicBezTo>
                <a:cubicBezTo>
                  <a:pt x="30" y="9"/>
                  <a:pt x="30" y="9"/>
                  <a:pt x="30" y="9"/>
                </a:cubicBezTo>
                <a:cubicBezTo>
                  <a:pt x="30" y="10"/>
                  <a:pt x="30" y="10"/>
                  <a:pt x="30" y="10"/>
                </a:cubicBezTo>
                <a:cubicBezTo>
                  <a:pt x="31" y="10"/>
                  <a:pt x="31" y="10"/>
                  <a:pt x="31" y="10"/>
                </a:cubicBezTo>
                <a:cubicBezTo>
                  <a:pt x="30" y="8"/>
                  <a:pt x="30" y="8"/>
                  <a:pt x="30" y="8"/>
                </a:cubicBezTo>
                <a:cubicBezTo>
                  <a:pt x="30" y="7"/>
                  <a:pt x="30" y="7"/>
                  <a:pt x="30" y="7"/>
                </a:cubicBezTo>
                <a:cubicBezTo>
                  <a:pt x="31" y="6"/>
                  <a:pt x="31" y="6"/>
                  <a:pt x="31" y="6"/>
                </a:cubicBezTo>
                <a:cubicBezTo>
                  <a:pt x="31" y="6"/>
                  <a:pt x="31" y="6"/>
                  <a:pt x="31" y="6"/>
                </a:cubicBezTo>
                <a:close/>
                <a:moveTo>
                  <a:pt x="150" y="189"/>
                </a:moveTo>
                <a:cubicBezTo>
                  <a:pt x="150" y="189"/>
                  <a:pt x="150" y="189"/>
                  <a:pt x="150" y="189"/>
                </a:cubicBezTo>
                <a:cubicBezTo>
                  <a:pt x="152" y="187"/>
                  <a:pt x="152" y="187"/>
                  <a:pt x="152" y="187"/>
                </a:cubicBezTo>
                <a:cubicBezTo>
                  <a:pt x="153" y="186"/>
                  <a:pt x="153" y="186"/>
                  <a:pt x="153" y="186"/>
                </a:cubicBezTo>
                <a:cubicBezTo>
                  <a:pt x="151" y="187"/>
                  <a:pt x="151" y="187"/>
                  <a:pt x="151" y="187"/>
                </a:cubicBezTo>
                <a:cubicBezTo>
                  <a:pt x="150" y="189"/>
                  <a:pt x="150" y="189"/>
                  <a:pt x="150" y="189"/>
                </a:cubicBezTo>
                <a:close/>
                <a:moveTo>
                  <a:pt x="148" y="192"/>
                </a:moveTo>
                <a:cubicBezTo>
                  <a:pt x="149" y="192"/>
                  <a:pt x="149" y="192"/>
                  <a:pt x="149" y="192"/>
                </a:cubicBezTo>
                <a:cubicBezTo>
                  <a:pt x="149" y="190"/>
                  <a:pt x="149" y="190"/>
                  <a:pt x="149" y="190"/>
                </a:cubicBezTo>
                <a:cubicBezTo>
                  <a:pt x="149" y="190"/>
                  <a:pt x="149" y="190"/>
                  <a:pt x="149" y="190"/>
                </a:cubicBezTo>
                <a:cubicBezTo>
                  <a:pt x="148" y="192"/>
                  <a:pt x="148" y="192"/>
                  <a:pt x="148" y="192"/>
                </a:cubicBezTo>
                <a:close/>
                <a:moveTo>
                  <a:pt x="148" y="201"/>
                </a:moveTo>
                <a:cubicBezTo>
                  <a:pt x="147" y="199"/>
                  <a:pt x="147" y="199"/>
                  <a:pt x="147" y="199"/>
                </a:cubicBezTo>
                <a:cubicBezTo>
                  <a:pt x="147" y="196"/>
                  <a:pt x="147" y="196"/>
                  <a:pt x="147" y="196"/>
                </a:cubicBezTo>
                <a:cubicBezTo>
                  <a:pt x="148" y="193"/>
                  <a:pt x="148" y="193"/>
                  <a:pt x="148" y="193"/>
                </a:cubicBezTo>
                <a:cubicBezTo>
                  <a:pt x="147" y="196"/>
                  <a:pt x="147" y="196"/>
                  <a:pt x="147" y="196"/>
                </a:cubicBezTo>
                <a:cubicBezTo>
                  <a:pt x="147" y="199"/>
                  <a:pt x="147" y="199"/>
                  <a:pt x="147" y="199"/>
                </a:cubicBezTo>
                <a:cubicBezTo>
                  <a:pt x="147" y="199"/>
                  <a:pt x="148" y="201"/>
                  <a:pt x="148" y="201"/>
                </a:cubicBez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9" name="Freeform 177">
            <a:extLst>
              <a:ext uri="{FF2B5EF4-FFF2-40B4-BE49-F238E27FC236}">
                <a16:creationId xmlns:a16="http://schemas.microsoft.com/office/drawing/2014/main" id="{CFF70BC5-D379-357D-B8DF-61A944CA94A3}"/>
              </a:ext>
            </a:extLst>
          </p:cNvPr>
          <p:cNvSpPr>
            <a:spLocks noEditPoints="1"/>
          </p:cNvSpPr>
          <p:nvPr userDrawn="1"/>
        </p:nvSpPr>
        <p:spPr bwMode="auto">
          <a:xfrm>
            <a:off x="9737087" y="13010433"/>
            <a:ext cx="1438184" cy="260350"/>
          </a:xfrm>
          <a:custGeom>
            <a:avLst/>
            <a:gdLst>
              <a:gd name="T0" fmla="*/ 142 w 145"/>
              <a:gd name="T1" fmla="*/ 24 h 26"/>
              <a:gd name="T2" fmla="*/ 141 w 145"/>
              <a:gd name="T3" fmla="*/ 22 h 26"/>
              <a:gd name="T4" fmla="*/ 139 w 145"/>
              <a:gd name="T5" fmla="*/ 21 h 26"/>
              <a:gd name="T6" fmla="*/ 138 w 145"/>
              <a:gd name="T7" fmla="*/ 20 h 26"/>
              <a:gd name="T8" fmla="*/ 141 w 145"/>
              <a:gd name="T9" fmla="*/ 21 h 26"/>
              <a:gd name="T10" fmla="*/ 141 w 145"/>
              <a:gd name="T11" fmla="*/ 21 h 26"/>
              <a:gd name="T12" fmla="*/ 143 w 145"/>
              <a:gd name="T13" fmla="*/ 23 h 26"/>
              <a:gd name="T14" fmla="*/ 144 w 145"/>
              <a:gd name="T15" fmla="*/ 24 h 26"/>
              <a:gd name="T16" fmla="*/ 145 w 145"/>
              <a:gd name="T17" fmla="*/ 25 h 26"/>
              <a:gd name="T18" fmla="*/ 143 w 145"/>
              <a:gd name="T19" fmla="*/ 26 h 26"/>
              <a:gd name="T20" fmla="*/ 142 w 145"/>
              <a:gd name="T21" fmla="*/ 25 h 26"/>
              <a:gd name="T22" fmla="*/ 8 w 145"/>
              <a:gd name="T23" fmla="*/ 0 h 26"/>
              <a:gd name="T24" fmla="*/ 7 w 145"/>
              <a:gd name="T25" fmla="*/ 0 h 26"/>
              <a:gd name="T26" fmla="*/ 5 w 145"/>
              <a:gd name="T27" fmla="*/ 1 h 26"/>
              <a:gd name="T28" fmla="*/ 5 w 145"/>
              <a:gd name="T29" fmla="*/ 0 h 26"/>
              <a:gd name="T30" fmla="*/ 1 w 145"/>
              <a:gd name="T31" fmla="*/ 5 h 26"/>
              <a:gd name="T32" fmla="*/ 2 w 145"/>
              <a:gd name="T33" fmla="*/ 6 h 26"/>
              <a:gd name="T34" fmla="*/ 0 w 145"/>
              <a:gd name="T35" fmla="*/ 6 h 26"/>
              <a:gd name="T36" fmla="*/ 10 w 145"/>
              <a:gd name="T37" fmla="*/ 8 h 26"/>
              <a:gd name="T38" fmla="*/ 12 w 145"/>
              <a:gd name="T39" fmla="*/ 9 h 26"/>
              <a:gd name="T40" fmla="*/ 11 w 145"/>
              <a:gd name="T41" fmla="*/ 8 h 26"/>
              <a:gd name="T42" fmla="*/ 13 w 145"/>
              <a:gd name="T43" fmla="*/ 8 h 26"/>
              <a:gd name="T44" fmla="*/ 13 w 145"/>
              <a:gd name="T45" fmla="*/ 7 h 26"/>
              <a:gd name="T46" fmla="*/ 14 w 145"/>
              <a:gd name="T47" fmla="*/ 7 h 26"/>
              <a:gd name="T48" fmla="*/ 15 w 145"/>
              <a:gd name="T49" fmla="*/ 6 h 26"/>
              <a:gd name="T50" fmla="*/ 13 w 145"/>
              <a:gd name="T51" fmla="*/ 6 h 26"/>
              <a:gd name="T52" fmla="*/ 15 w 145"/>
              <a:gd name="T53" fmla="*/ 5 h 26"/>
              <a:gd name="T54" fmla="*/ 18 w 145"/>
              <a:gd name="T55" fmla="*/ 4 h 26"/>
              <a:gd name="T56" fmla="*/ 19 w 145"/>
              <a:gd name="T57" fmla="*/ 3 h 26"/>
              <a:gd name="T58" fmla="*/ 18 w 145"/>
              <a:gd name="T59" fmla="*/ 3 h 26"/>
              <a:gd name="T60" fmla="*/ 19 w 145"/>
              <a:gd name="T61" fmla="*/ 2 h 26"/>
              <a:gd name="T62" fmla="*/ 17 w 145"/>
              <a:gd name="T63" fmla="*/ 1 h 26"/>
              <a:gd name="T64" fmla="*/ 17 w 145"/>
              <a:gd name="T65" fmla="*/ 2 h 26"/>
              <a:gd name="T66" fmla="*/ 15 w 145"/>
              <a:gd name="T67" fmla="*/ 1 h 26"/>
              <a:gd name="T68" fmla="*/ 13 w 145"/>
              <a:gd name="T69" fmla="*/ 0 h 26"/>
              <a:gd name="T70" fmla="*/ 12 w 145"/>
              <a:gd name="T71" fmla="*/ 1 h 26"/>
              <a:gd name="T72" fmla="*/ 12 w 145"/>
              <a:gd name="T73" fmla="*/ 3 h 26"/>
              <a:gd name="T74" fmla="*/ 13 w 145"/>
              <a:gd name="T75" fmla="*/ 5 h 26"/>
              <a:gd name="T76" fmla="*/ 11 w 145"/>
              <a:gd name="T77" fmla="*/ 5 h 26"/>
              <a:gd name="T78" fmla="*/ 8 w 145"/>
              <a:gd name="T79" fmla="*/ 1 h 26"/>
              <a:gd name="T80" fmla="*/ 9 w 145"/>
              <a:gd name="T81" fmla="*/ 2 h 26"/>
              <a:gd name="T82" fmla="*/ 10 w 145"/>
              <a:gd name="T83" fmla="*/ 1 h 26"/>
              <a:gd name="T84" fmla="*/ 10 w 145"/>
              <a:gd name="T85" fmla="*/ 3 h 26"/>
              <a:gd name="T86" fmla="*/ 9 w 145"/>
              <a:gd name="T87" fmla="*/ 6 h 26"/>
              <a:gd name="T88" fmla="*/ 6 w 145"/>
              <a:gd name="T89" fmla="*/ 6 h 26"/>
              <a:gd name="T90" fmla="*/ 6 w 145"/>
              <a:gd name="T91" fmla="*/ 8 h 26"/>
              <a:gd name="T92" fmla="*/ 4 w 145"/>
              <a:gd name="T93" fmla="*/ 8 h 26"/>
              <a:gd name="T94" fmla="*/ 2 w 145"/>
              <a:gd name="T95" fmla="*/ 8 h 26"/>
              <a:gd name="T96" fmla="*/ 3 w 145"/>
              <a:gd name="T97" fmla="*/ 7 h 26"/>
              <a:gd name="T98" fmla="*/ 4 w 145"/>
              <a:gd name="T99" fmla="*/ 5 h 26"/>
              <a:gd name="T100" fmla="*/ 6 w 145"/>
              <a:gd name="T101" fmla="*/ 5 h 26"/>
              <a:gd name="T102" fmla="*/ 5 w 145"/>
              <a:gd name="T103" fmla="*/ 4 h 26"/>
              <a:gd name="T104" fmla="*/ 4 w 145"/>
              <a:gd name="T105" fmla="*/ 2 h 26"/>
              <a:gd name="T106" fmla="*/ 6 w 145"/>
              <a:gd name="T107" fmla="*/ 3 h 26"/>
              <a:gd name="T108" fmla="*/ 8 w 145"/>
              <a:gd name="T109"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5" h="26">
                <a:moveTo>
                  <a:pt x="142" y="25"/>
                </a:moveTo>
                <a:cubicBezTo>
                  <a:pt x="142" y="24"/>
                  <a:pt x="142" y="24"/>
                  <a:pt x="142" y="24"/>
                </a:cubicBezTo>
                <a:cubicBezTo>
                  <a:pt x="141" y="23"/>
                  <a:pt x="141" y="23"/>
                  <a:pt x="141" y="23"/>
                </a:cubicBezTo>
                <a:cubicBezTo>
                  <a:pt x="141" y="22"/>
                  <a:pt x="141" y="22"/>
                  <a:pt x="141" y="22"/>
                </a:cubicBezTo>
                <a:cubicBezTo>
                  <a:pt x="140" y="22"/>
                  <a:pt x="140" y="22"/>
                  <a:pt x="140" y="22"/>
                </a:cubicBezTo>
                <a:cubicBezTo>
                  <a:pt x="139" y="21"/>
                  <a:pt x="139" y="21"/>
                  <a:pt x="139" y="21"/>
                </a:cubicBezTo>
                <a:cubicBezTo>
                  <a:pt x="138" y="21"/>
                  <a:pt x="138" y="21"/>
                  <a:pt x="138" y="21"/>
                </a:cubicBezTo>
                <a:cubicBezTo>
                  <a:pt x="138" y="20"/>
                  <a:pt x="138" y="20"/>
                  <a:pt x="138" y="20"/>
                </a:cubicBezTo>
                <a:cubicBezTo>
                  <a:pt x="139" y="20"/>
                  <a:pt x="139" y="20"/>
                  <a:pt x="139" y="20"/>
                </a:cubicBezTo>
                <a:cubicBezTo>
                  <a:pt x="141" y="21"/>
                  <a:pt x="141" y="21"/>
                  <a:pt x="141" y="21"/>
                </a:cubicBezTo>
                <a:cubicBezTo>
                  <a:pt x="141" y="21"/>
                  <a:pt x="141" y="21"/>
                  <a:pt x="141" y="21"/>
                </a:cubicBezTo>
                <a:cubicBezTo>
                  <a:pt x="141" y="21"/>
                  <a:pt x="141" y="21"/>
                  <a:pt x="141" y="21"/>
                </a:cubicBezTo>
                <a:cubicBezTo>
                  <a:pt x="142" y="22"/>
                  <a:pt x="143" y="22"/>
                  <a:pt x="143" y="22"/>
                </a:cubicBezTo>
                <a:cubicBezTo>
                  <a:pt x="143" y="23"/>
                  <a:pt x="143" y="23"/>
                  <a:pt x="143" y="23"/>
                </a:cubicBezTo>
                <a:cubicBezTo>
                  <a:pt x="143" y="24"/>
                  <a:pt x="143" y="24"/>
                  <a:pt x="143" y="24"/>
                </a:cubicBezTo>
                <a:cubicBezTo>
                  <a:pt x="144" y="24"/>
                  <a:pt x="144" y="24"/>
                  <a:pt x="144" y="24"/>
                </a:cubicBezTo>
                <a:cubicBezTo>
                  <a:pt x="145" y="24"/>
                  <a:pt x="145" y="24"/>
                  <a:pt x="145" y="24"/>
                </a:cubicBezTo>
                <a:cubicBezTo>
                  <a:pt x="145" y="25"/>
                  <a:pt x="145" y="25"/>
                  <a:pt x="145" y="25"/>
                </a:cubicBezTo>
                <a:cubicBezTo>
                  <a:pt x="144" y="25"/>
                  <a:pt x="144" y="25"/>
                  <a:pt x="144" y="25"/>
                </a:cubicBezTo>
                <a:cubicBezTo>
                  <a:pt x="143" y="26"/>
                  <a:pt x="143" y="26"/>
                  <a:pt x="143" y="26"/>
                </a:cubicBezTo>
                <a:cubicBezTo>
                  <a:pt x="142" y="26"/>
                  <a:pt x="142" y="26"/>
                  <a:pt x="142" y="26"/>
                </a:cubicBezTo>
                <a:cubicBezTo>
                  <a:pt x="142" y="25"/>
                  <a:pt x="142" y="25"/>
                  <a:pt x="142" y="25"/>
                </a:cubicBezTo>
                <a:close/>
                <a:moveTo>
                  <a:pt x="7" y="0"/>
                </a:moveTo>
                <a:cubicBezTo>
                  <a:pt x="8" y="0"/>
                  <a:pt x="8" y="0"/>
                  <a:pt x="8" y="0"/>
                </a:cubicBezTo>
                <a:cubicBezTo>
                  <a:pt x="9" y="0"/>
                  <a:pt x="9" y="0"/>
                  <a:pt x="9" y="0"/>
                </a:cubicBezTo>
                <a:cubicBezTo>
                  <a:pt x="7" y="0"/>
                  <a:pt x="7" y="0"/>
                  <a:pt x="7" y="0"/>
                </a:cubicBezTo>
                <a:close/>
                <a:moveTo>
                  <a:pt x="5" y="0"/>
                </a:moveTo>
                <a:cubicBezTo>
                  <a:pt x="5" y="1"/>
                  <a:pt x="5" y="1"/>
                  <a:pt x="5" y="1"/>
                </a:cubicBezTo>
                <a:cubicBezTo>
                  <a:pt x="6" y="1"/>
                  <a:pt x="6" y="1"/>
                  <a:pt x="6" y="1"/>
                </a:cubicBezTo>
                <a:cubicBezTo>
                  <a:pt x="5" y="0"/>
                  <a:pt x="5" y="0"/>
                  <a:pt x="5" y="0"/>
                </a:cubicBezTo>
                <a:close/>
                <a:moveTo>
                  <a:pt x="0" y="6"/>
                </a:moveTo>
                <a:cubicBezTo>
                  <a:pt x="1" y="5"/>
                  <a:pt x="1" y="5"/>
                  <a:pt x="1" y="5"/>
                </a:cubicBezTo>
                <a:cubicBezTo>
                  <a:pt x="2" y="6"/>
                  <a:pt x="2" y="6"/>
                  <a:pt x="2" y="6"/>
                </a:cubicBezTo>
                <a:cubicBezTo>
                  <a:pt x="2" y="6"/>
                  <a:pt x="2" y="6"/>
                  <a:pt x="2" y="6"/>
                </a:cubicBezTo>
                <a:cubicBezTo>
                  <a:pt x="1" y="6"/>
                  <a:pt x="1" y="6"/>
                  <a:pt x="1" y="6"/>
                </a:cubicBezTo>
                <a:cubicBezTo>
                  <a:pt x="0" y="6"/>
                  <a:pt x="0" y="6"/>
                  <a:pt x="0" y="6"/>
                </a:cubicBezTo>
                <a:close/>
                <a:moveTo>
                  <a:pt x="9" y="8"/>
                </a:moveTo>
                <a:cubicBezTo>
                  <a:pt x="10" y="8"/>
                  <a:pt x="10" y="8"/>
                  <a:pt x="10" y="8"/>
                </a:cubicBezTo>
                <a:cubicBezTo>
                  <a:pt x="11" y="9"/>
                  <a:pt x="11" y="9"/>
                  <a:pt x="11" y="9"/>
                </a:cubicBezTo>
                <a:cubicBezTo>
                  <a:pt x="12" y="9"/>
                  <a:pt x="12" y="9"/>
                  <a:pt x="12" y="9"/>
                </a:cubicBezTo>
                <a:cubicBezTo>
                  <a:pt x="12" y="9"/>
                  <a:pt x="12" y="9"/>
                  <a:pt x="12" y="9"/>
                </a:cubicBezTo>
                <a:cubicBezTo>
                  <a:pt x="11" y="8"/>
                  <a:pt x="11" y="8"/>
                  <a:pt x="11" y="8"/>
                </a:cubicBezTo>
                <a:cubicBezTo>
                  <a:pt x="12" y="7"/>
                  <a:pt x="12" y="7"/>
                  <a:pt x="12" y="7"/>
                </a:cubicBezTo>
                <a:cubicBezTo>
                  <a:pt x="13" y="8"/>
                  <a:pt x="13" y="8"/>
                  <a:pt x="13" y="8"/>
                </a:cubicBezTo>
                <a:cubicBezTo>
                  <a:pt x="13" y="8"/>
                  <a:pt x="13" y="8"/>
                  <a:pt x="13" y="8"/>
                </a:cubicBezTo>
                <a:cubicBezTo>
                  <a:pt x="13" y="7"/>
                  <a:pt x="13" y="7"/>
                  <a:pt x="13" y="7"/>
                </a:cubicBezTo>
                <a:cubicBezTo>
                  <a:pt x="13" y="6"/>
                  <a:pt x="13" y="6"/>
                  <a:pt x="13" y="6"/>
                </a:cubicBezTo>
                <a:cubicBezTo>
                  <a:pt x="14" y="7"/>
                  <a:pt x="14" y="7"/>
                  <a:pt x="14" y="7"/>
                </a:cubicBezTo>
                <a:cubicBezTo>
                  <a:pt x="15" y="6"/>
                  <a:pt x="15" y="6"/>
                  <a:pt x="15" y="6"/>
                </a:cubicBezTo>
                <a:cubicBezTo>
                  <a:pt x="15" y="6"/>
                  <a:pt x="15" y="6"/>
                  <a:pt x="15" y="6"/>
                </a:cubicBezTo>
                <a:cubicBezTo>
                  <a:pt x="14" y="6"/>
                  <a:pt x="14" y="6"/>
                  <a:pt x="14" y="6"/>
                </a:cubicBezTo>
                <a:cubicBezTo>
                  <a:pt x="13" y="6"/>
                  <a:pt x="13" y="6"/>
                  <a:pt x="13" y="6"/>
                </a:cubicBezTo>
                <a:cubicBezTo>
                  <a:pt x="14" y="5"/>
                  <a:pt x="14" y="5"/>
                  <a:pt x="14" y="5"/>
                </a:cubicBezTo>
                <a:cubicBezTo>
                  <a:pt x="15" y="5"/>
                  <a:pt x="15" y="5"/>
                  <a:pt x="15" y="5"/>
                </a:cubicBezTo>
                <a:cubicBezTo>
                  <a:pt x="17" y="5"/>
                  <a:pt x="17" y="5"/>
                  <a:pt x="17" y="5"/>
                </a:cubicBezTo>
                <a:cubicBezTo>
                  <a:pt x="18" y="4"/>
                  <a:pt x="18" y="4"/>
                  <a:pt x="18" y="4"/>
                </a:cubicBezTo>
                <a:cubicBezTo>
                  <a:pt x="19" y="4"/>
                  <a:pt x="19" y="4"/>
                  <a:pt x="19" y="4"/>
                </a:cubicBezTo>
                <a:cubicBezTo>
                  <a:pt x="19" y="3"/>
                  <a:pt x="19" y="3"/>
                  <a:pt x="19" y="3"/>
                </a:cubicBezTo>
                <a:cubicBezTo>
                  <a:pt x="18" y="3"/>
                  <a:pt x="18" y="3"/>
                  <a:pt x="18" y="3"/>
                </a:cubicBezTo>
                <a:cubicBezTo>
                  <a:pt x="18" y="3"/>
                  <a:pt x="18" y="3"/>
                  <a:pt x="18" y="3"/>
                </a:cubicBezTo>
                <a:cubicBezTo>
                  <a:pt x="18" y="2"/>
                  <a:pt x="18" y="2"/>
                  <a:pt x="18" y="2"/>
                </a:cubicBezTo>
                <a:cubicBezTo>
                  <a:pt x="19" y="2"/>
                  <a:pt x="19" y="2"/>
                  <a:pt x="19" y="2"/>
                </a:cubicBezTo>
                <a:cubicBezTo>
                  <a:pt x="19" y="2"/>
                  <a:pt x="19" y="2"/>
                  <a:pt x="19" y="2"/>
                </a:cubicBezTo>
                <a:cubicBezTo>
                  <a:pt x="17" y="1"/>
                  <a:pt x="17" y="1"/>
                  <a:pt x="17" y="1"/>
                </a:cubicBezTo>
                <a:cubicBezTo>
                  <a:pt x="16" y="1"/>
                  <a:pt x="16" y="1"/>
                  <a:pt x="16" y="1"/>
                </a:cubicBezTo>
                <a:cubicBezTo>
                  <a:pt x="17" y="2"/>
                  <a:pt x="17" y="2"/>
                  <a:pt x="17" y="2"/>
                </a:cubicBezTo>
                <a:cubicBezTo>
                  <a:pt x="16" y="3"/>
                  <a:pt x="16" y="3"/>
                  <a:pt x="16" y="3"/>
                </a:cubicBezTo>
                <a:cubicBezTo>
                  <a:pt x="15" y="1"/>
                  <a:pt x="15" y="1"/>
                  <a:pt x="15" y="1"/>
                </a:cubicBezTo>
                <a:cubicBezTo>
                  <a:pt x="15" y="0"/>
                  <a:pt x="15" y="0"/>
                  <a:pt x="15" y="0"/>
                </a:cubicBezTo>
                <a:cubicBezTo>
                  <a:pt x="13" y="0"/>
                  <a:pt x="13" y="0"/>
                  <a:pt x="13" y="0"/>
                </a:cubicBezTo>
                <a:cubicBezTo>
                  <a:pt x="13" y="1"/>
                  <a:pt x="13" y="1"/>
                  <a:pt x="13" y="1"/>
                </a:cubicBezTo>
                <a:cubicBezTo>
                  <a:pt x="12" y="1"/>
                  <a:pt x="12" y="1"/>
                  <a:pt x="12" y="1"/>
                </a:cubicBezTo>
                <a:cubicBezTo>
                  <a:pt x="12" y="2"/>
                  <a:pt x="12" y="2"/>
                  <a:pt x="12" y="2"/>
                </a:cubicBezTo>
                <a:cubicBezTo>
                  <a:pt x="12" y="3"/>
                  <a:pt x="12" y="3"/>
                  <a:pt x="12" y="3"/>
                </a:cubicBezTo>
                <a:cubicBezTo>
                  <a:pt x="13" y="4"/>
                  <a:pt x="13" y="4"/>
                  <a:pt x="13" y="4"/>
                </a:cubicBezTo>
                <a:cubicBezTo>
                  <a:pt x="13" y="5"/>
                  <a:pt x="13" y="5"/>
                  <a:pt x="13" y="5"/>
                </a:cubicBezTo>
                <a:cubicBezTo>
                  <a:pt x="12" y="4"/>
                  <a:pt x="12" y="4"/>
                  <a:pt x="12" y="4"/>
                </a:cubicBezTo>
                <a:cubicBezTo>
                  <a:pt x="11" y="5"/>
                  <a:pt x="11" y="5"/>
                  <a:pt x="11" y="5"/>
                </a:cubicBezTo>
                <a:cubicBezTo>
                  <a:pt x="9" y="8"/>
                  <a:pt x="9" y="8"/>
                  <a:pt x="9" y="8"/>
                </a:cubicBezTo>
                <a:close/>
                <a:moveTo>
                  <a:pt x="8" y="1"/>
                </a:moveTo>
                <a:cubicBezTo>
                  <a:pt x="9" y="2"/>
                  <a:pt x="9" y="2"/>
                  <a:pt x="9" y="2"/>
                </a:cubicBezTo>
                <a:cubicBezTo>
                  <a:pt x="9" y="2"/>
                  <a:pt x="9" y="2"/>
                  <a:pt x="9" y="2"/>
                </a:cubicBezTo>
                <a:cubicBezTo>
                  <a:pt x="10" y="1"/>
                  <a:pt x="10" y="1"/>
                  <a:pt x="10" y="1"/>
                </a:cubicBezTo>
                <a:cubicBezTo>
                  <a:pt x="10" y="1"/>
                  <a:pt x="10" y="1"/>
                  <a:pt x="10" y="1"/>
                </a:cubicBezTo>
                <a:cubicBezTo>
                  <a:pt x="11" y="2"/>
                  <a:pt x="11" y="2"/>
                  <a:pt x="11" y="2"/>
                </a:cubicBezTo>
                <a:cubicBezTo>
                  <a:pt x="10" y="3"/>
                  <a:pt x="10" y="3"/>
                  <a:pt x="10" y="3"/>
                </a:cubicBezTo>
                <a:cubicBezTo>
                  <a:pt x="9" y="5"/>
                  <a:pt x="9" y="5"/>
                  <a:pt x="9" y="5"/>
                </a:cubicBezTo>
                <a:cubicBezTo>
                  <a:pt x="9" y="6"/>
                  <a:pt x="9" y="6"/>
                  <a:pt x="9" y="6"/>
                </a:cubicBezTo>
                <a:cubicBezTo>
                  <a:pt x="7" y="7"/>
                  <a:pt x="7" y="7"/>
                  <a:pt x="7" y="7"/>
                </a:cubicBezTo>
                <a:cubicBezTo>
                  <a:pt x="6" y="6"/>
                  <a:pt x="6" y="6"/>
                  <a:pt x="6" y="6"/>
                </a:cubicBezTo>
                <a:cubicBezTo>
                  <a:pt x="5" y="7"/>
                  <a:pt x="5" y="7"/>
                  <a:pt x="5" y="7"/>
                </a:cubicBezTo>
                <a:cubicBezTo>
                  <a:pt x="6" y="8"/>
                  <a:pt x="6" y="8"/>
                  <a:pt x="6" y="8"/>
                </a:cubicBezTo>
                <a:cubicBezTo>
                  <a:pt x="5" y="9"/>
                  <a:pt x="5" y="9"/>
                  <a:pt x="5" y="9"/>
                </a:cubicBezTo>
                <a:cubicBezTo>
                  <a:pt x="4" y="8"/>
                  <a:pt x="4" y="8"/>
                  <a:pt x="4" y="8"/>
                </a:cubicBezTo>
                <a:cubicBezTo>
                  <a:pt x="3" y="9"/>
                  <a:pt x="3" y="9"/>
                  <a:pt x="3" y="9"/>
                </a:cubicBezTo>
                <a:cubicBezTo>
                  <a:pt x="2" y="8"/>
                  <a:pt x="2" y="8"/>
                  <a:pt x="2" y="8"/>
                </a:cubicBezTo>
                <a:cubicBezTo>
                  <a:pt x="2" y="7"/>
                  <a:pt x="2" y="7"/>
                  <a:pt x="2" y="7"/>
                </a:cubicBezTo>
                <a:cubicBezTo>
                  <a:pt x="3" y="7"/>
                  <a:pt x="3" y="7"/>
                  <a:pt x="3" y="7"/>
                </a:cubicBezTo>
                <a:cubicBezTo>
                  <a:pt x="4" y="6"/>
                  <a:pt x="4" y="6"/>
                  <a:pt x="4" y="6"/>
                </a:cubicBezTo>
                <a:cubicBezTo>
                  <a:pt x="4" y="5"/>
                  <a:pt x="4" y="5"/>
                  <a:pt x="4" y="5"/>
                </a:cubicBezTo>
                <a:cubicBezTo>
                  <a:pt x="5" y="5"/>
                  <a:pt x="5" y="5"/>
                  <a:pt x="5" y="5"/>
                </a:cubicBezTo>
                <a:cubicBezTo>
                  <a:pt x="6" y="5"/>
                  <a:pt x="6" y="5"/>
                  <a:pt x="6" y="5"/>
                </a:cubicBezTo>
                <a:cubicBezTo>
                  <a:pt x="6" y="4"/>
                  <a:pt x="6" y="4"/>
                  <a:pt x="6" y="4"/>
                </a:cubicBezTo>
                <a:cubicBezTo>
                  <a:pt x="5" y="4"/>
                  <a:pt x="5" y="4"/>
                  <a:pt x="5" y="4"/>
                </a:cubicBezTo>
                <a:cubicBezTo>
                  <a:pt x="3" y="2"/>
                  <a:pt x="3" y="2"/>
                  <a:pt x="3" y="2"/>
                </a:cubicBezTo>
                <a:cubicBezTo>
                  <a:pt x="4" y="2"/>
                  <a:pt x="4" y="2"/>
                  <a:pt x="4" y="2"/>
                </a:cubicBezTo>
                <a:cubicBezTo>
                  <a:pt x="5" y="3"/>
                  <a:pt x="5" y="3"/>
                  <a:pt x="5" y="3"/>
                </a:cubicBezTo>
                <a:cubicBezTo>
                  <a:pt x="6" y="3"/>
                  <a:pt x="6" y="3"/>
                  <a:pt x="6" y="3"/>
                </a:cubicBezTo>
                <a:cubicBezTo>
                  <a:pt x="7" y="1"/>
                  <a:pt x="7" y="1"/>
                  <a:pt x="7" y="1"/>
                </a:cubicBezTo>
                <a:lnTo>
                  <a:pt x="8" y="1"/>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0" name="Freeform 178">
            <a:extLst>
              <a:ext uri="{FF2B5EF4-FFF2-40B4-BE49-F238E27FC236}">
                <a16:creationId xmlns:a16="http://schemas.microsoft.com/office/drawing/2014/main" id="{C9036A10-C271-105B-72A7-E19633EBB030}"/>
              </a:ext>
            </a:extLst>
          </p:cNvPr>
          <p:cNvSpPr>
            <a:spLocks/>
          </p:cNvSpPr>
          <p:nvPr userDrawn="1"/>
        </p:nvSpPr>
        <p:spPr bwMode="auto">
          <a:xfrm>
            <a:off x="8048101" y="8771809"/>
            <a:ext cx="349227" cy="158750"/>
          </a:xfrm>
          <a:custGeom>
            <a:avLst/>
            <a:gdLst>
              <a:gd name="T0" fmla="*/ 94 w 110"/>
              <a:gd name="T1" fmla="*/ 43 h 50"/>
              <a:gd name="T2" fmla="*/ 88 w 110"/>
              <a:gd name="T3" fmla="*/ 31 h 50"/>
              <a:gd name="T4" fmla="*/ 94 w 110"/>
              <a:gd name="T5" fmla="*/ 25 h 50"/>
              <a:gd name="T6" fmla="*/ 97 w 110"/>
              <a:gd name="T7" fmla="*/ 25 h 50"/>
              <a:gd name="T8" fmla="*/ 94 w 110"/>
              <a:gd name="T9" fmla="*/ 22 h 50"/>
              <a:gd name="T10" fmla="*/ 91 w 110"/>
              <a:gd name="T11" fmla="*/ 25 h 50"/>
              <a:gd name="T12" fmla="*/ 88 w 110"/>
              <a:gd name="T13" fmla="*/ 18 h 50"/>
              <a:gd name="T14" fmla="*/ 81 w 110"/>
              <a:gd name="T15" fmla="*/ 15 h 50"/>
              <a:gd name="T16" fmla="*/ 75 w 110"/>
              <a:gd name="T17" fmla="*/ 9 h 50"/>
              <a:gd name="T18" fmla="*/ 66 w 110"/>
              <a:gd name="T19" fmla="*/ 12 h 50"/>
              <a:gd name="T20" fmla="*/ 66 w 110"/>
              <a:gd name="T21" fmla="*/ 18 h 50"/>
              <a:gd name="T22" fmla="*/ 60 w 110"/>
              <a:gd name="T23" fmla="*/ 25 h 50"/>
              <a:gd name="T24" fmla="*/ 50 w 110"/>
              <a:gd name="T25" fmla="*/ 28 h 50"/>
              <a:gd name="T26" fmla="*/ 50 w 110"/>
              <a:gd name="T27" fmla="*/ 34 h 50"/>
              <a:gd name="T28" fmla="*/ 56 w 110"/>
              <a:gd name="T29" fmla="*/ 37 h 50"/>
              <a:gd name="T30" fmla="*/ 56 w 110"/>
              <a:gd name="T31" fmla="*/ 43 h 50"/>
              <a:gd name="T32" fmla="*/ 50 w 110"/>
              <a:gd name="T33" fmla="*/ 47 h 50"/>
              <a:gd name="T34" fmla="*/ 41 w 110"/>
              <a:gd name="T35" fmla="*/ 47 h 50"/>
              <a:gd name="T36" fmla="*/ 41 w 110"/>
              <a:gd name="T37" fmla="*/ 43 h 50"/>
              <a:gd name="T38" fmla="*/ 41 w 110"/>
              <a:gd name="T39" fmla="*/ 37 h 50"/>
              <a:gd name="T40" fmla="*/ 38 w 110"/>
              <a:gd name="T41" fmla="*/ 34 h 50"/>
              <a:gd name="T42" fmla="*/ 38 w 110"/>
              <a:gd name="T43" fmla="*/ 37 h 50"/>
              <a:gd name="T44" fmla="*/ 31 w 110"/>
              <a:gd name="T45" fmla="*/ 40 h 50"/>
              <a:gd name="T46" fmla="*/ 25 w 110"/>
              <a:gd name="T47" fmla="*/ 34 h 50"/>
              <a:gd name="T48" fmla="*/ 19 w 110"/>
              <a:gd name="T49" fmla="*/ 28 h 50"/>
              <a:gd name="T50" fmla="*/ 16 w 110"/>
              <a:gd name="T51" fmla="*/ 25 h 50"/>
              <a:gd name="T52" fmla="*/ 13 w 110"/>
              <a:gd name="T53" fmla="*/ 25 h 50"/>
              <a:gd name="T54" fmla="*/ 6 w 110"/>
              <a:gd name="T55" fmla="*/ 25 h 50"/>
              <a:gd name="T56" fmla="*/ 3 w 110"/>
              <a:gd name="T57" fmla="*/ 25 h 50"/>
              <a:gd name="T58" fmla="*/ 3 w 110"/>
              <a:gd name="T59" fmla="*/ 18 h 50"/>
              <a:gd name="T60" fmla="*/ 3 w 110"/>
              <a:gd name="T61" fmla="*/ 12 h 50"/>
              <a:gd name="T62" fmla="*/ 3 w 110"/>
              <a:gd name="T63" fmla="*/ 9 h 50"/>
              <a:gd name="T64" fmla="*/ 3 w 110"/>
              <a:gd name="T65" fmla="*/ 3 h 50"/>
              <a:gd name="T66" fmla="*/ 10 w 110"/>
              <a:gd name="T67" fmla="*/ 3 h 50"/>
              <a:gd name="T68" fmla="*/ 13 w 110"/>
              <a:gd name="T69" fmla="*/ 6 h 50"/>
              <a:gd name="T70" fmla="*/ 16 w 110"/>
              <a:gd name="T71" fmla="*/ 6 h 50"/>
              <a:gd name="T72" fmla="*/ 16 w 110"/>
              <a:gd name="T73" fmla="*/ 9 h 50"/>
              <a:gd name="T74" fmla="*/ 16 w 110"/>
              <a:gd name="T75" fmla="*/ 12 h 50"/>
              <a:gd name="T76" fmla="*/ 22 w 110"/>
              <a:gd name="T77" fmla="*/ 12 h 50"/>
              <a:gd name="T78" fmla="*/ 19 w 110"/>
              <a:gd name="T79" fmla="*/ 9 h 50"/>
              <a:gd name="T80" fmla="*/ 25 w 110"/>
              <a:gd name="T81" fmla="*/ 9 h 50"/>
              <a:gd name="T82" fmla="*/ 38 w 110"/>
              <a:gd name="T83" fmla="*/ 15 h 50"/>
              <a:gd name="T84" fmla="*/ 47 w 110"/>
              <a:gd name="T85" fmla="*/ 12 h 50"/>
              <a:gd name="T86" fmla="*/ 63 w 110"/>
              <a:gd name="T87" fmla="*/ 3 h 50"/>
              <a:gd name="T88" fmla="*/ 72 w 110"/>
              <a:gd name="T89" fmla="*/ 0 h 50"/>
              <a:gd name="T90" fmla="*/ 75 w 110"/>
              <a:gd name="T91" fmla="*/ 3 h 50"/>
              <a:gd name="T92" fmla="*/ 88 w 110"/>
              <a:gd name="T93" fmla="*/ 3 h 50"/>
              <a:gd name="T94" fmla="*/ 100 w 110"/>
              <a:gd name="T95" fmla="*/ 9 h 50"/>
              <a:gd name="T96" fmla="*/ 103 w 110"/>
              <a:gd name="T97" fmla="*/ 15 h 50"/>
              <a:gd name="T98" fmla="*/ 110 w 110"/>
              <a:gd name="T99" fmla="*/ 18 h 50"/>
              <a:gd name="T100" fmla="*/ 110 w 110"/>
              <a:gd name="T101" fmla="*/ 25 h 50"/>
              <a:gd name="T102" fmla="*/ 106 w 110"/>
              <a:gd name="T103" fmla="*/ 34 h 50"/>
              <a:gd name="T104" fmla="*/ 103 w 110"/>
              <a:gd name="T105" fmla="*/ 40 h 50"/>
              <a:gd name="T106" fmla="*/ 100 w 110"/>
              <a:gd name="T107" fmla="*/ 4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 h="50">
                <a:moveTo>
                  <a:pt x="100" y="47"/>
                </a:moveTo>
                <a:lnTo>
                  <a:pt x="94" y="43"/>
                </a:lnTo>
                <a:lnTo>
                  <a:pt x="91" y="37"/>
                </a:lnTo>
                <a:lnTo>
                  <a:pt x="88" y="31"/>
                </a:lnTo>
                <a:lnTo>
                  <a:pt x="91" y="31"/>
                </a:lnTo>
                <a:lnTo>
                  <a:pt x="94" y="25"/>
                </a:lnTo>
                <a:lnTo>
                  <a:pt x="97" y="25"/>
                </a:lnTo>
                <a:lnTo>
                  <a:pt x="97" y="25"/>
                </a:lnTo>
                <a:lnTo>
                  <a:pt x="97" y="22"/>
                </a:lnTo>
                <a:lnTo>
                  <a:pt x="94" y="22"/>
                </a:lnTo>
                <a:lnTo>
                  <a:pt x="91" y="25"/>
                </a:lnTo>
                <a:lnTo>
                  <a:pt x="91" y="25"/>
                </a:lnTo>
                <a:lnTo>
                  <a:pt x="88" y="25"/>
                </a:lnTo>
                <a:lnTo>
                  <a:pt x="88" y="18"/>
                </a:lnTo>
                <a:lnTo>
                  <a:pt x="85" y="15"/>
                </a:lnTo>
                <a:lnTo>
                  <a:pt x="81" y="15"/>
                </a:lnTo>
                <a:lnTo>
                  <a:pt x="78" y="12"/>
                </a:lnTo>
                <a:lnTo>
                  <a:pt x="75" y="9"/>
                </a:lnTo>
                <a:lnTo>
                  <a:pt x="69" y="9"/>
                </a:lnTo>
                <a:lnTo>
                  <a:pt x="66" y="12"/>
                </a:lnTo>
                <a:lnTo>
                  <a:pt x="63" y="18"/>
                </a:lnTo>
                <a:lnTo>
                  <a:pt x="66" y="18"/>
                </a:lnTo>
                <a:lnTo>
                  <a:pt x="66" y="18"/>
                </a:lnTo>
                <a:lnTo>
                  <a:pt x="60" y="25"/>
                </a:lnTo>
                <a:lnTo>
                  <a:pt x="53" y="25"/>
                </a:lnTo>
                <a:lnTo>
                  <a:pt x="50" y="28"/>
                </a:lnTo>
                <a:lnTo>
                  <a:pt x="50" y="31"/>
                </a:lnTo>
                <a:lnTo>
                  <a:pt x="50" y="34"/>
                </a:lnTo>
                <a:lnTo>
                  <a:pt x="53" y="34"/>
                </a:lnTo>
                <a:lnTo>
                  <a:pt x="56" y="37"/>
                </a:lnTo>
                <a:lnTo>
                  <a:pt x="56" y="43"/>
                </a:lnTo>
                <a:lnTo>
                  <a:pt x="56" y="43"/>
                </a:lnTo>
                <a:lnTo>
                  <a:pt x="53" y="43"/>
                </a:lnTo>
                <a:lnTo>
                  <a:pt x="50" y="47"/>
                </a:lnTo>
                <a:lnTo>
                  <a:pt x="47" y="50"/>
                </a:lnTo>
                <a:lnTo>
                  <a:pt x="41" y="47"/>
                </a:lnTo>
                <a:lnTo>
                  <a:pt x="41" y="47"/>
                </a:lnTo>
                <a:lnTo>
                  <a:pt x="41" y="43"/>
                </a:lnTo>
                <a:lnTo>
                  <a:pt x="41" y="40"/>
                </a:lnTo>
                <a:lnTo>
                  <a:pt x="41" y="37"/>
                </a:lnTo>
                <a:lnTo>
                  <a:pt x="38" y="34"/>
                </a:lnTo>
                <a:lnTo>
                  <a:pt x="38" y="34"/>
                </a:lnTo>
                <a:lnTo>
                  <a:pt x="35" y="37"/>
                </a:lnTo>
                <a:lnTo>
                  <a:pt x="38" y="37"/>
                </a:lnTo>
                <a:lnTo>
                  <a:pt x="35" y="40"/>
                </a:lnTo>
                <a:lnTo>
                  <a:pt x="31" y="40"/>
                </a:lnTo>
                <a:lnTo>
                  <a:pt x="28" y="40"/>
                </a:lnTo>
                <a:lnTo>
                  <a:pt x="25" y="34"/>
                </a:lnTo>
                <a:lnTo>
                  <a:pt x="25" y="28"/>
                </a:lnTo>
                <a:lnTo>
                  <a:pt x="19" y="28"/>
                </a:lnTo>
                <a:lnTo>
                  <a:pt x="16" y="28"/>
                </a:lnTo>
                <a:lnTo>
                  <a:pt x="16" y="25"/>
                </a:lnTo>
                <a:lnTo>
                  <a:pt x="16" y="25"/>
                </a:lnTo>
                <a:lnTo>
                  <a:pt x="13" y="25"/>
                </a:lnTo>
                <a:lnTo>
                  <a:pt x="10" y="25"/>
                </a:lnTo>
                <a:lnTo>
                  <a:pt x="6" y="25"/>
                </a:lnTo>
                <a:lnTo>
                  <a:pt x="3" y="25"/>
                </a:lnTo>
                <a:lnTo>
                  <a:pt x="3" y="25"/>
                </a:lnTo>
                <a:lnTo>
                  <a:pt x="3" y="22"/>
                </a:lnTo>
                <a:lnTo>
                  <a:pt x="3" y="18"/>
                </a:lnTo>
                <a:lnTo>
                  <a:pt x="6" y="15"/>
                </a:lnTo>
                <a:lnTo>
                  <a:pt x="3" y="12"/>
                </a:lnTo>
                <a:lnTo>
                  <a:pt x="0" y="12"/>
                </a:lnTo>
                <a:lnTo>
                  <a:pt x="3" y="9"/>
                </a:lnTo>
                <a:lnTo>
                  <a:pt x="3" y="6"/>
                </a:lnTo>
                <a:lnTo>
                  <a:pt x="3" y="3"/>
                </a:lnTo>
                <a:lnTo>
                  <a:pt x="6" y="3"/>
                </a:lnTo>
                <a:lnTo>
                  <a:pt x="10" y="3"/>
                </a:lnTo>
                <a:lnTo>
                  <a:pt x="10" y="3"/>
                </a:lnTo>
                <a:lnTo>
                  <a:pt x="13" y="6"/>
                </a:lnTo>
                <a:lnTo>
                  <a:pt x="16" y="6"/>
                </a:lnTo>
                <a:lnTo>
                  <a:pt x="16" y="6"/>
                </a:lnTo>
                <a:lnTo>
                  <a:pt x="16" y="9"/>
                </a:lnTo>
                <a:lnTo>
                  <a:pt x="16" y="9"/>
                </a:lnTo>
                <a:lnTo>
                  <a:pt x="16" y="9"/>
                </a:lnTo>
                <a:lnTo>
                  <a:pt x="16" y="12"/>
                </a:lnTo>
                <a:lnTo>
                  <a:pt x="19" y="12"/>
                </a:lnTo>
                <a:lnTo>
                  <a:pt x="22" y="12"/>
                </a:lnTo>
                <a:lnTo>
                  <a:pt x="22" y="9"/>
                </a:lnTo>
                <a:lnTo>
                  <a:pt x="19" y="9"/>
                </a:lnTo>
                <a:lnTo>
                  <a:pt x="22" y="9"/>
                </a:lnTo>
                <a:lnTo>
                  <a:pt x="25" y="9"/>
                </a:lnTo>
                <a:lnTo>
                  <a:pt x="31" y="15"/>
                </a:lnTo>
                <a:lnTo>
                  <a:pt x="38" y="15"/>
                </a:lnTo>
                <a:lnTo>
                  <a:pt x="44" y="15"/>
                </a:lnTo>
                <a:lnTo>
                  <a:pt x="47" y="12"/>
                </a:lnTo>
                <a:lnTo>
                  <a:pt x="56" y="6"/>
                </a:lnTo>
                <a:lnTo>
                  <a:pt x="63" y="3"/>
                </a:lnTo>
                <a:lnTo>
                  <a:pt x="69" y="0"/>
                </a:lnTo>
                <a:lnTo>
                  <a:pt x="72" y="0"/>
                </a:lnTo>
                <a:lnTo>
                  <a:pt x="75" y="0"/>
                </a:lnTo>
                <a:lnTo>
                  <a:pt x="75" y="3"/>
                </a:lnTo>
                <a:lnTo>
                  <a:pt x="78" y="3"/>
                </a:lnTo>
                <a:lnTo>
                  <a:pt x="88" y="3"/>
                </a:lnTo>
                <a:lnTo>
                  <a:pt x="91" y="3"/>
                </a:lnTo>
                <a:lnTo>
                  <a:pt x="100" y="9"/>
                </a:lnTo>
                <a:lnTo>
                  <a:pt x="103" y="12"/>
                </a:lnTo>
                <a:lnTo>
                  <a:pt x="103" y="15"/>
                </a:lnTo>
                <a:lnTo>
                  <a:pt x="106" y="15"/>
                </a:lnTo>
                <a:lnTo>
                  <a:pt x="110" y="18"/>
                </a:lnTo>
                <a:lnTo>
                  <a:pt x="106" y="22"/>
                </a:lnTo>
                <a:lnTo>
                  <a:pt x="110" y="25"/>
                </a:lnTo>
                <a:lnTo>
                  <a:pt x="110" y="28"/>
                </a:lnTo>
                <a:lnTo>
                  <a:pt x="106" y="34"/>
                </a:lnTo>
                <a:lnTo>
                  <a:pt x="106" y="37"/>
                </a:lnTo>
                <a:lnTo>
                  <a:pt x="103" y="40"/>
                </a:lnTo>
                <a:lnTo>
                  <a:pt x="100" y="40"/>
                </a:lnTo>
                <a:lnTo>
                  <a:pt x="100" y="47"/>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1" name="Freeform 179">
            <a:extLst>
              <a:ext uri="{FF2B5EF4-FFF2-40B4-BE49-F238E27FC236}">
                <a16:creationId xmlns:a16="http://schemas.microsoft.com/office/drawing/2014/main" id="{0AF6BB0E-7B6A-5016-6E7B-AA9B7488B2CC}"/>
              </a:ext>
            </a:extLst>
          </p:cNvPr>
          <p:cNvSpPr>
            <a:spLocks/>
          </p:cNvSpPr>
          <p:nvPr userDrawn="1"/>
        </p:nvSpPr>
        <p:spPr bwMode="auto">
          <a:xfrm>
            <a:off x="7870311" y="8670209"/>
            <a:ext cx="209536" cy="200026"/>
          </a:xfrm>
          <a:custGeom>
            <a:avLst/>
            <a:gdLst>
              <a:gd name="T0" fmla="*/ 59 w 66"/>
              <a:gd name="T1" fmla="*/ 57 h 63"/>
              <a:gd name="T2" fmla="*/ 59 w 66"/>
              <a:gd name="T3" fmla="*/ 57 h 63"/>
              <a:gd name="T4" fmla="*/ 59 w 66"/>
              <a:gd name="T5" fmla="*/ 63 h 63"/>
              <a:gd name="T6" fmla="*/ 53 w 66"/>
              <a:gd name="T7" fmla="*/ 60 h 63"/>
              <a:gd name="T8" fmla="*/ 53 w 66"/>
              <a:gd name="T9" fmla="*/ 60 h 63"/>
              <a:gd name="T10" fmla="*/ 50 w 66"/>
              <a:gd name="T11" fmla="*/ 50 h 63"/>
              <a:gd name="T12" fmla="*/ 47 w 66"/>
              <a:gd name="T13" fmla="*/ 50 h 63"/>
              <a:gd name="T14" fmla="*/ 50 w 66"/>
              <a:gd name="T15" fmla="*/ 54 h 63"/>
              <a:gd name="T16" fmla="*/ 50 w 66"/>
              <a:gd name="T17" fmla="*/ 60 h 63"/>
              <a:gd name="T18" fmla="*/ 47 w 66"/>
              <a:gd name="T19" fmla="*/ 57 h 63"/>
              <a:gd name="T20" fmla="*/ 41 w 66"/>
              <a:gd name="T21" fmla="*/ 54 h 63"/>
              <a:gd name="T22" fmla="*/ 41 w 66"/>
              <a:gd name="T23" fmla="*/ 47 h 63"/>
              <a:gd name="T24" fmla="*/ 37 w 66"/>
              <a:gd name="T25" fmla="*/ 41 h 63"/>
              <a:gd name="T26" fmla="*/ 31 w 66"/>
              <a:gd name="T27" fmla="*/ 35 h 63"/>
              <a:gd name="T28" fmla="*/ 25 w 66"/>
              <a:gd name="T29" fmla="*/ 28 h 63"/>
              <a:gd name="T30" fmla="*/ 22 w 66"/>
              <a:gd name="T31" fmla="*/ 22 h 63"/>
              <a:gd name="T32" fmla="*/ 12 w 66"/>
              <a:gd name="T33" fmla="*/ 19 h 63"/>
              <a:gd name="T34" fmla="*/ 12 w 66"/>
              <a:gd name="T35" fmla="*/ 22 h 63"/>
              <a:gd name="T36" fmla="*/ 19 w 66"/>
              <a:gd name="T37" fmla="*/ 28 h 63"/>
              <a:gd name="T38" fmla="*/ 16 w 66"/>
              <a:gd name="T39" fmla="*/ 35 h 63"/>
              <a:gd name="T40" fmla="*/ 9 w 66"/>
              <a:gd name="T41" fmla="*/ 28 h 63"/>
              <a:gd name="T42" fmla="*/ 0 w 66"/>
              <a:gd name="T43" fmla="*/ 22 h 63"/>
              <a:gd name="T44" fmla="*/ 0 w 66"/>
              <a:gd name="T45" fmla="*/ 16 h 63"/>
              <a:gd name="T46" fmla="*/ 3 w 66"/>
              <a:gd name="T47" fmla="*/ 10 h 63"/>
              <a:gd name="T48" fmla="*/ 0 w 66"/>
              <a:gd name="T49" fmla="*/ 7 h 63"/>
              <a:gd name="T50" fmla="*/ 3 w 66"/>
              <a:gd name="T51" fmla="*/ 3 h 63"/>
              <a:gd name="T52" fmla="*/ 3 w 66"/>
              <a:gd name="T53" fmla="*/ 0 h 63"/>
              <a:gd name="T54" fmla="*/ 9 w 66"/>
              <a:gd name="T55" fmla="*/ 0 h 63"/>
              <a:gd name="T56" fmla="*/ 25 w 66"/>
              <a:gd name="T57" fmla="*/ 0 h 63"/>
              <a:gd name="T58" fmla="*/ 31 w 66"/>
              <a:gd name="T59" fmla="*/ 3 h 63"/>
              <a:gd name="T60" fmla="*/ 34 w 66"/>
              <a:gd name="T61" fmla="*/ 7 h 63"/>
              <a:gd name="T62" fmla="*/ 41 w 66"/>
              <a:gd name="T63" fmla="*/ 10 h 63"/>
              <a:gd name="T64" fmla="*/ 41 w 66"/>
              <a:gd name="T65" fmla="*/ 10 h 63"/>
              <a:gd name="T66" fmla="*/ 47 w 66"/>
              <a:gd name="T67" fmla="*/ 10 h 63"/>
              <a:gd name="T68" fmla="*/ 50 w 66"/>
              <a:gd name="T69" fmla="*/ 13 h 63"/>
              <a:gd name="T70" fmla="*/ 53 w 66"/>
              <a:gd name="T71" fmla="*/ 19 h 63"/>
              <a:gd name="T72" fmla="*/ 56 w 66"/>
              <a:gd name="T73" fmla="*/ 28 h 63"/>
              <a:gd name="T74" fmla="*/ 62 w 66"/>
              <a:gd name="T75" fmla="*/ 32 h 63"/>
              <a:gd name="T76" fmla="*/ 66 w 66"/>
              <a:gd name="T77" fmla="*/ 35 h 63"/>
              <a:gd name="T78" fmla="*/ 59 w 66"/>
              <a:gd name="T79" fmla="*/ 35 h 63"/>
              <a:gd name="T80" fmla="*/ 59 w 66"/>
              <a:gd name="T81" fmla="*/ 41 h 63"/>
              <a:gd name="T82" fmla="*/ 59 w 66"/>
              <a:gd name="T83" fmla="*/ 44 h 63"/>
              <a:gd name="T84" fmla="*/ 59 w 66"/>
              <a:gd name="T85" fmla="*/ 50 h 63"/>
              <a:gd name="T86" fmla="*/ 59 w 66"/>
              <a:gd name="T87" fmla="*/ 57 h 63"/>
              <a:gd name="T88" fmla="*/ 59 w 66"/>
              <a:gd name="T89" fmla="*/ 5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 h="63">
                <a:moveTo>
                  <a:pt x="59" y="57"/>
                </a:moveTo>
                <a:lnTo>
                  <a:pt x="59" y="57"/>
                </a:lnTo>
                <a:lnTo>
                  <a:pt x="59" y="57"/>
                </a:lnTo>
                <a:lnTo>
                  <a:pt x="59" y="57"/>
                </a:lnTo>
                <a:lnTo>
                  <a:pt x="59" y="60"/>
                </a:lnTo>
                <a:lnTo>
                  <a:pt x="59" y="63"/>
                </a:lnTo>
                <a:lnTo>
                  <a:pt x="56" y="63"/>
                </a:lnTo>
                <a:lnTo>
                  <a:pt x="53" y="60"/>
                </a:lnTo>
                <a:lnTo>
                  <a:pt x="53" y="60"/>
                </a:lnTo>
                <a:lnTo>
                  <a:pt x="53" y="60"/>
                </a:lnTo>
                <a:lnTo>
                  <a:pt x="53" y="57"/>
                </a:lnTo>
                <a:lnTo>
                  <a:pt x="50" y="50"/>
                </a:lnTo>
                <a:lnTo>
                  <a:pt x="47" y="50"/>
                </a:lnTo>
                <a:lnTo>
                  <a:pt x="47" y="50"/>
                </a:lnTo>
                <a:lnTo>
                  <a:pt x="47" y="50"/>
                </a:lnTo>
                <a:lnTo>
                  <a:pt x="50" y="54"/>
                </a:lnTo>
                <a:lnTo>
                  <a:pt x="50" y="57"/>
                </a:lnTo>
                <a:lnTo>
                  <a:pt x="50" y="60"/>
                </a:lnTo>
                <a:lnTo>
                  <a:pt x="50" y="60"/>
                </a:lnTo>
                <a:lnTo>
                  <a:pt x="47" y="57"/>
                </a:lnTo>
                <a:lnTo>
                  <a:pt x="41" y="57"/>
                </a:lnTo>
                <a:lnTo>
                  <a:pt x="41" y="54"/>
                </a:lnTo>
                <a:lnTo>
                  <a:pt x="41" y="50"/>
                </a:lnTo>
                <a:lnTo>
                  <a:pt x="41" y="47"/>
                </a:lnTo>
                <a:lnTo>
                  <a:pt x="41" y="44"/>
                </a:lnTo>
                <a:lnTo>
                  <a:pt x="37" y="41"/>
                </a:lnTo>
                <a:lnTo>
                  <a:pt x="34" y="38"/>
                </a:lnTo>
                <a:lnTo>
                  <a:pt x="31" y="35"/>
                </a:lnTo>
                <a:lnTo>
                  <a:pt x="25" y="32"/>
                </a:lnTo>
                <a:lnTo>
                  <a:pt x="25" y="28"/>
                </a:lnTo>
                <a:lnTo>
                  <a:pt x="22" y="25"/>
                </a:lnTo>
                <a:lnTo>
                  <a:pt x="22" y="22"/>
                </a:lnTo>
                <a:lnTo>
                  <a:pt x="19" y="22"/>
                </a:lnTo>
                <a:lnTo>
                  <a:pt x="12" y="19"/>
                </a:lnTo>
                <a:lnTo>
                  <a:pt x="12" y="19"/>
                </a:lnTo>
                <a:lnTo>
                  <a:pt x="12" y="22"/>
                </a:lnTo>
                <a:lnTo>
                  <a:pt x="19" y="25"/>
                </a:lnTo>
                <a:lnTo>
                  <a:pt x="19" y="28"/>
                </a:lnTo>
                <a:lnTo>
                  <a:pt x="19" y="35"/>
                </a:lnTo>
                <a:lnTo>
                  <a:pt x="16" y="35"/>
                </a:lnTo>
                <a:lnTo>
                  <a:pt x="12" y="32"/>
                </a:lnTo>
                <a:lnTo>
                  <a:pt x="9" y="28"/>
                </a:lnTo>
                <a:lnTo>
                  <a:pt x="6" y="28"/>
                </a:lnTo>
                <a:lnTo>
                  <a:pt x="0" y="22"/>
                </a:lnTo>
                <a:lnTo>
                  <a:pt x="0" y="19"/>
                </a:lnTo>
                <a:lnTo>
                  <a:pt x="0" y="16"/>
                </a:lnTo>
                <a:lnTo>
                  <a:pt x="3" y="13"/>
                </a:lnTo>
                <a:lnTo>
                  <a:pt x="3" y="10"/>
                </a:lnTo>
                <a:lnTo>
                  <a:pt x="0" y="10"/>
                </a:lnTo>
                <a:lnTo>
                  <a:pt x="0" y="7"/>
                </a:lnTo>
                <a:lnTo>
                  <a:pt x="0" y="7"/>
                </a:lnTo>
                <a:lnTo>
                  <a:pt x="3" y="3"/>
                </a:lnTo>
                <a:lnTo>
                  <a:pt x="0" y="0"/>
                </a:lnTo>
                <a:lnTo>
                  <a:pt x="3" y="0"/>
                </a:lnTo>
                <a:lnTo>
                  <a:pt x="3" y="0"/>
                </a:lnTo>
                <a:lnTo>
                  <a:pt x="9" y="0"/>
                </a:lnTo>
                <a:lnTo>
                  <a:pt x="19" y="3"/>
                </a:lnTo>
                <a:lnTo>
                  <a:pt x="25" y="0"/>
                </a:lnTo>
                <a:lnTo>
                  <a:pt x="28" y="0"/>
                </a:lnTo>
                <a:lnTo>
                  <a:pt x="31" y="3"/>
                </a:lnTo>
                <a:lnTo>
                  <a:pt x="34" y="7"/>
                </a:lnTo>
                <a:lnTo>
                  <a:pt x="34" y="7"/>
                </a:lnTo>
                <a:lnTo>
                  <a:pt x="37" y="10"/>
                </a:lnTo>
                <a:lnTo>
                  <a:pt x="41" y="10"/>
                </a:lnTo>
                <a:lnTo>
                  <a:pt x="41" y="10"/>
                </a:lnTo>
                <a:lnTo>
                  <a:pt x="41" y="10"/>
                </a:lnTo>
                <a:lnTo>
                  <a:pt x="44" y="10"/>
                </a:lnTo>
                <a:lnTo>
                  <a:pt x="47" y="10"/>
                </a:lnTo>
                <a:lnTo>
                  <a:pt x="47" y="10"/>
                </a:lnTo>
                <a:lnTo>
                  <a:pt x="50" y="13"/>
                </a:lnTo>
                <a:lnTo>
                  <a:pt x="50" y="16"/>
                </a:lnTo>
                <a:lnTo>
                  <a:pt x="53" y="19"/>
                </a:lnTo>
                <a:lnTo>
                  <a:pt x="56" y="25"/>
                </a:lnTo>
                <a:lnTo>
                  <a:pt x="56" y="28"/>
                </a:lnTo>
                <a:lnTo>
                  <a:pt x="59" y="28"/>
                </a:lnTo>
                <a:lnTo>
                  <a:pt x="62" y="32"/>
                </a:lnTo>
                <a:lnTo>
                  <a:pt x="66" y="32"/>
                </a:lnTo>
                <a:lnTo>
                  <a:pt x="66" y="35"/>
                </a:lnTo>
                <a:lnTo>
                  <a:pt x="62" y="35"/>
                </a:lnTo>
                <a:lnTo>
                  <a:pt x="59" y="35"/>
                </a:lnTo>
                <a:lnTo>
                  <a:pt x="59" y="38"/>
                </a:lnTo>
                <a:lnTo>
                  <a:pt x="59" y="41"/>
                </a:lnTo>
                <a:lnTo>
                  <a:pt x="56" y="44"/>
                </a:lnTo>
                <a:lnTo>
                  <a:pt x="59" y="44"/>
                </a:lnTo>
                <a:lnTo>
                  <a:pt x="62" y="47"/>
                </a:lnTo>
                <a:lnTo>
                  <a:pt x="59" y="50"/>
                </a:lnTo>
                <a:lnTo>
                  <a:pt x="59" y="54"/>
                </a:lnTo>
                <a:lnTo>
                  <a:pt x="59" y="57"/>
                </a:lnTo>
                <a:lnTo>
                  <a:pt x="59" y="57"/>
                </a:lnTo>
                <a:lnTo>
                  <a:pt x="59" y="57"/>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2" name="Freeform 180">
            <a:extLst>
              <a:ext uri="{FF2B5EF4-FFF2-40B4-BE49-F238E27FC236}">
                <a16:creationId xmlns:a16="http://schemas.microsoft.com/office/drawing/2014/main" id="{754DBB29-E5B2-DD9D-8970-4F521F668BAA}"/>
              </a:ext>
            </a:extLst>
          </p:cNvPr>
          <p:cNvSpPr>
            <a:spLocks/>
          </p:cNvSpPr>
          <p:nvPr userDrawn="1"/>
        </p:nvSpPr>
        <p:spPr bwMode="auto">
          <a:xfrm>
            <a:off x="7771893" y="8422558"/>
            <a:ext cx="285731" cy="279400"/>
          </a:xfrm>
          <a:custGeom>
            <a:avLst/>
            <a:gdLst>
              <a:gd name="T0" fmla="*/ 11 w 29"/>
              <a:gd name="T1" fmla="*/ 25 h 28"/>
              <a:gd name="T2" fmla="*/ 13 w 29"/>
              <a:gd name="T3" fmla="*/ 25 h 28"/>
              <a:gd name="T4" fmla="*/ 18 w 29"/>
              <a:gd name="T5" fmla="*/ 25 h 28"/>
              <a:gd name="T6" fmla="*/ 20 w 29"/>
              <a:gd name="T7" fmla="*/ 26 h 28"/>
              <a:gd name="T8" fmla="*/ 21 w 29"/>
              <a:gd name="T9" fmla="*/ 27 h 28"/>
              <a:gd name="T10" fmla="*/ 23 w 29"/>
              <a:gd name="T11" fmla="*/ 28 h 28"/>
              <a:gd name="T12" fmla="*/ 23 w 29"/>
              <a:gd name="T13" fmla="*/ 28 h 28"/>
              <a:gd name="T14" fmla="*/ 24 w 29"/>
              <a:gd name="T15" fmla="*/ 26 h 28"/>
              <a:gd name="T16" fmla="*/ 23 w 29"/>
              <a:gd name="T17" fmla="*/ 24 h 28"/>
              <a:gd name="T18" fmla="*/ 24 w 29"/>
              <a:gd name="T19" fmla="*/ 22 h 28"/>
              <a:gd name="T20" fmla="*/ 24 w 29"/>
              <a:gd name="T21" fmla="*/ 21 h 28"/>
              <a:gd name="T22" fmla="*/ 23 w 29"/>
              <a:gd name="T23" fmla="*/ 22 h 28"/>
              <a:gd name="T24" fmla="*/ 23 w 29"/>
              <a:gd name="T25" fmla="*/ 20 h 28"/>
              <a:gd name="T26" fmla="*/ 24 w 29"/>
              <a:gd name="T27" fmla="*/ 18 h 28"/>
              <a:gd name="T28" fmla="*/ 24 w 29"/>
              <a:gd name="T29" fmla="*/ 15 h 28"/>
              <a:gd name="T30" fmla="*/ 25 w 29"/>
              <a:gd name="T31" fmla="*/ 16 h 28"/>
              <a:gd name="T32" fmla="*/ 25 w 29"/>
              <a:gd name="T33" fmla="*/ 18 h 28"/>
              <a:gd name="T34" fmla="*/ 26 w 29"/>
              <a:gd name="T35" fmla="*/ 18 h 28"/>
              <a:gd name="T36" fmla="*/ 26 w 29"/>
              <a:gd name="T37" fmla="*/ 12 h 28"/>
              <a:gd name="T38" fmla="*/ 26 w 29"/>
              <a:gd name="T39" fmla="*/ 11 h 28"/>
              <a:gd name="T40" fmla="*/ 25 w 29"/>
              <a:gd name="T41" fmla="*/ 10 h 28"/>
              <a:gd name="T42" fmla="*/ 26 w 29"/>
              <a:gd name="T43" fmla="*/ 10 h 28"/>
              <a:gd name="T44" fmla="*/ 27 w 29"/>
              <a:gd name="T45" fmla="*/ 8 h 28"/>
              <a:gd name="T46" fmla="*/ 28 w 29"/>
              <a:gd name="T47" fmla="*/ 6 h 28"/>
              <a:gd name="T48" fmla="*/ 28 w 29"/>
              <a:gd name="T49" fmla="*/ 5 h 28"/>
              <a:gd name="T50" fmla="*/ 28 w 29"/>
              <a:gd name="T51" fmla="*/ 4 h 28"/>
              <a:gd name="T52" fmla="*/ 28 w 29"/>
              <a:gd name="T53" fmla="*/ 1 h 28"/>
              <a:gd name="T54" fmla="*/ 29 w 29"/>
              <a:gd name="T55" fmla="*/ 0 h 28"/>
              <a:gd name="T56" fmla="*/ 27 w 29"/>
              <a:gd name="T57" fmla="*/ 0 h 28"/>
              <a:gd name="T58" fmla="*/ 26 w 29"/>
              <a:gd name="T59" fmla="*/ 0 h 28"/>
              <a:gd name="T60" fmla="*/ 25 w 29"/>
              <a:gd name="T61" fmla="*/ 1 h 28"/>
              <a:gd name="T62" fmla="*/ 23 w 29"/>
              <a:gd name="T63" fmla="*/ 2 h 28"/>
              <a:gd name="T64" fmla="*/ 22 w 29"/>
              <a:gd name="T65" fmla="*/ 3 h 28"/>
              <a:gd name="T66" fmla="*/ 20 w 29"/>
              <a:gd name="T67" fmla="*/ 3 h 28"/>
              <a:gd name="T68" fmla="*/ 19 w 29"/>
              <a:gd name="T69" fmla="*/ 2 h 28"/>
              <a:gd name="T70" fmla="*/ 18 w 29"/>
              <a:gd name="T71" fmla="*/ 3 h 28"/>
              <a:gd name="T72" fmla="*/ 16 w 29"/>
              <a:gd name="T73" fmla="*/ 4 h 28"/>
              <a:gd name="T74" fmla="*/ 15 w 29"/>
              <a:gd name="T75" fmla="*/ 5 h 28"/>
              <a:gd name="T76" fmla="*/ 13 w 29"/>
              <a:gd name="T77" fmla="*/ 7 h 28"/>
              <a:gd name="T78" fmla="*/ 11 w 29"/>
              <a:gd name="T79" fmla="*/ 8 h 28"/>
              <a:gd name="T80" fmla="*/ 10 w 29"/>
              <a:gd name="T81" fmla="*/ 7 h 28"/>
              <a:gd name="T82" fmla="*/ 7 w 29"/>
              <a:gd name="T83" fmla="*/ 8 h 28"/>
              <a:gd name="T84" fmla="*/ 5 w 29"/>
              <a:gd name="T85" fmla="*/ 9 h 28"/>
              <a:gd name="T86" fmla="*/ 5 w 29"/>
              <a:gd name="T87" fmla="*/ 12 h 28"/>
              <a:gd name="T88" fmla="*/ 3 w 29"/>
              <a:gd name="T89" fmla="*/ 13 h 28"/>
              <a:gd name="T90" fmla="*/ 1 w 29"/>
              <a:gd name="T91" fmla="*/ 14 h 28"/>
              <a:gd name="T92" fmla="*/ 0 w 29"/>
              <a:gd name="T93" fmla="*/ 13 h 28"/>
              <a:gd name="T94" fmla="*/ 2 w 29"/>
              <a:gd name="T95" fmla="*/ 17 h 28"/>
              <a:gd name="T96" fmla="*/ 3 w 29"/>
              <a:gd name="T97" fmla="*/ 18 h 28"/>
              <a:gd name="T98" fmla="*/ 6 w 29"/>
              <a:gd name="T99" fmla="*/ 22 h 28"/>
              <a:gd name="T100" fmla="*/ 10 w 29"/>
              <a:gd name="T10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 h="28">
                <a:moveTo>
                  <a:pt x="10" y="25"/>
                </a:moveTo>
                <a:cubicBezTo>
                  <a:pt x="11" y="25"/>
                  <a:pt x="11" y="25"/>
                  <a:pt x="11" y="25"/>
                </a:cubicBezTo>
                <a:cubicBezTo>
                  <a:pt x="11" y="25"/>
                  <a:pt x="11" y="25"/>
                  <a:pt x="11" y="25"/>
                </a:cubicBezTo>
                <a:cubicBezTo>
                  <a:pt x="13" y="25"/>
                  <a:pt x="13" y="25"/>
                  <a:pt x="13" y="25"/>
                </a:cubicBezTo>
                <a:cubicBezTo>
                  <a:pt x="16" y="26"/>
                  <a:pt x="16" y="26"/>
                  <a:pt x="16" y="26"/>
                </a:cubicBezTo>
                <a:cubicBezTo>
                  <a:pt x="18" y="25"/>
                  <a:pt x="18" y="25"/>
                  <a:pt x="18" y="25"/>
                </a:cubicBezTo>
                <a:cubicBezTo>
                  <a:pt x="19" y="25"/>
                  <a:pt x="19" y="25"/>
                  <a:pt x="19" y="25"/>
                </a:cubicBezTo>
                <a:cubicBezTo>
                  <a:pt x="20" y="26"/>
                  <a:pt x="20" y="26"/>
                  <a:pt x="20" y="26"/>
                </a:cubicBezTo>
                <a:cubicBezTo>
                  <a:pt x="21" y="27"/>
                  <a:pt x="21" y="27"/>
                  <a:pt x="21" y="27"/>
                </a:cubicBezTo>
                <a:cubicBezTo>
                  <a:pt x="21" y="27"/>
                  <a:pt x="21" y="27"/>
                  <a:pt x="21" y="27"/>
                </a:cubicBezTo>
                <a:cubicBezTo>
                  <a:pt x="22" y="28"/>
                  <a:pt x="22" y="28"/>
                  <a:pt x="22" y="28"/>
                </a:cubicBezTo>
                <a:cubicBezTo>
                  <a:pt x="23" y="28"/>
                  <a:pt x="23" y="28"/>
                  <a:pt x="23" y="28"/>
                </a:cubicBezTo>
                <a:cubicBezTo>
                  <a:pt x="23" y="28"/>
                  <a:pt x="23" y="28"/>
                  <a:pt x="23" y="28"/>
                </a:cubicBezTo>
                <a:cubicBezTo>
                  <a:pt x="23" y="28"/>
                  <a:pt x="23" y="28"/>
                  <a:pt x="23" y="28"/>
                </a:cubicBezTo>
                <a:cubicBezTo>
                  <a:pt x="24" y="27"/>
                  <a:pt x="24" y="27"/>
                  <a:pt x="24" y="27"/>
                </a:cubicBezTo>
                <a:cubicBezTo>
                  <a:pt x="24" y="26"/>
                  <a:pt x="24" y="26"/>
                  <a:pt x="24" y="26"/>
                </a:cubicBezTo>
                <a:cubicBezTo>
                  <a:pt x="23" y="26"/>
                  <a:pt x="23" y="26"/>
                  <a:pt x="23" y="26"/>
                </a:cubicBezTo>
                <a:cubicBezTo>
                  <a:pt x="23" y="24"/>
                  <a:pt x="23" y="24"/>
                  <a:pt x="23" y="24"/>
                </a:cubicBezTo>
                <a:cubicBezTo>
                  <a:pt x="24" y="23"/>
                  <a:pt x="24" y="23"/>
                  <a:pt x="24" y="23"/>
                </a:cubicBezTo>
                <a:cubicBezTo>
                  <a:pt x="24" y="22"/>
                  <a:pt x="24" y="22"/>
                  <a:pt x="24" y="22"/>
                </a:cubicBezTo>
                <a:cubicBezTo>
                  <a:pt x="24" y="20"/>
                  <a:pt x="24" y="20"/>
                  <a:pt x="24" y="20"/>
                </a:cubicBezTo>
                <a:cubicBezTo>
                  <a:pt x="24" y="21"/>
                  <a:pt x="24" y="21"/>
                  <a:pt x="24" y="21"/>
                </a:cubicBezTo>
                <a:cubicBezTo>
                  <a:pt x="24" y="22"/>
                  <a:pt x="24" y="22"/>
                  <a:pt x="24" y="22"/>
                </a:cubicBezTo>
                <a:cubicBezTo>
                  <a:pt x="23" y="22"/>
                  <a:pt x="23" y="22"/>
                  <a:pt x="23" y="22"/>
                </a:cubicBezTo>
                <a:cubicBezTo>
                  <a:pt x="23" y="21"/>
                  <a:pt x="23" y="21"/>
                  <a:pt x="23" y="21"/>
                </a:cubicBezTo>
                <a:cubicBezTo>
                  <a:pt x="23" y="20"/>
                  <a:pt x="23" y="20"/>
                  <a:pt x="23" y="20"/>
                </a:cubicBezTo>
                <a:cubicBezTo>
                  <a:pt x="24" y="19"/>
                  <a:pt x="24" y="19"/>
                  <a:pt x="24" y="19"/>
                </a:cubicBezTo>
                <a:cubicBezTo>
                  <a:pt x="24" y="18"/>
                  <a:pt x="24" y="18"/>
                  <a:pt x="24" y="18"/>
                </a:cubicBezTo>
                <a:cubicBezTo>
                  <a:pt x="24" y="17"/>
                  <a:pt x="24" y="17"/>
                  <a:pt x="24" y="17"/>
                </a:cubicBezTo>
                <a:cubicBezTo>
                  <a:pt x="24" y="15"/>
                  <a:pt x="24" y="15"/>
                  <a:pt x="24" y="15"/>
                </a:cubicBezTo>
                <a:cubicBezTo>
                  <a:pt x="25" y="15"/>
                  <a:pt x="25" y="15"/>
                  <a:pt x="25" y="15"/>
                </a:cubicBezTo>
                <a:cubicBezTo>
                  <a:pt x="25" y="16"/>
                  <a:pt x="25" y="16"/>
                  <a:pt x="25" y="16"/>
                </a:cubicBezTo>
                <a:cubicBezTo>
                  <a:pt x="25" y="16"/>
                  <a:pt x="25" y="17"/>
                  <a:pt x="25" y="17"/>
                </a:cubicBezTo>
                <a:cubicBezTo>
                  <a:pt x="25" y="17"/>
                  <a:pt x="25" y="18"/>
                  <a:pt x="25" y="18"/>
                </a:cubicBezTo>
                <a:cubicBezTo>
                  <a:pt x="25" y="18"/>
                  <a:pt x="25" y="18"/>
                  <a:pt x="25" y="18"/>
                </a:cubicBezTo>
                <a:cubicBezTo>
                  <a:pt x="26" y="18"/>
                  <a:pt x="26" y="18"/>
                  <a:pt x="26" y="18"/>
                </a:cubicBezTo>
                <a:cubicBezTo>
                  <a:pt x="26" y="15"/>
                  <a:pt x="26" y="15"/>
                  <a:pt x="26" y="15"/>
                </a:cubicBezTo>
                <a:cubicBezTo>
                  <a:pt x="26" y="12"/>
                  <a:pt x="26" y="12"/>
                  <a:pt x="26" y="12"/>
                </a:cubicBezTo>
                <a:cubicBezTo>
                  <a:pt x="26" y="12"/>
                  <a:pt x="26" y="12"/>
                  <a:pt x="26" y="12"/>
                </a:cubicBezTo>
                <a:cubicBezTo>
                  <a:pt x="26" y="11"/>
                  <a:pt x="26" y="11"/>
                  <a:pt x="26" y="11"/>
                </a:cubicBezTo>
                <a:cubicBezTo>
                  <a:pt x="25" y="11"/>
                  <a:pt x="25" y="11"/>
                  <a:pt x="25" y="11"/>
                </a:cubicBezTo>
                <a:cubicBezTo>
                  <a:pt x="25" y="10"/>
                  <a:pt x="25" y="10"/>
                  <a:pt x="25" y="10"/>
                </a:cubicBezTo>
                <a:cubicBezTo>
                  <a:pt x="26" y="10"/>
                  <a:pt x="26" y="10"/>
                  <a:pt x="26" y="10"/>
                </a:cubicBezTo>
                <a:cubicBezTo>
                  <a:pt x="26" y="10"/>
                  <a:pt x="26" y="10"/>
                  <a:pt x="26" y="10"/>
                </a:cubicBezTo>
                <a:cubicBezTo>
                  <a:pt x="26" y="10"/>
                  <a:pt x="26" y="10"/>
                  <a:pt x="26" y="10"/>
                </a:cubicBezTo>
                <a:cubicBezTo>
                  <a:pt x="27" y="8"/>
                  <a:pt x="27" y="8"/>
                  <a:pt x="27" y="8"/>
                </a:cubicBezTo>
                <a:cubicBezTo>
                  <a:pt x="28" y="7"/>
                  <a:pt x="28" y="7"/>
                  <a:pt x="28" y="7"/>
                </a:cubicBezTo>
                <a:cubicBezTo>
                  <a:pt x="28" y="6"/>
                  <a:pt x="28" y="6"/>
                  <a:pt x="28" y="6"/>
                </a:cubicBezTo>
                <a:cubicBezTo>
                  <a:pt x="28" y="6"/>
                  <a:pt x="28" y="6"/>
                  <a:pt x="28" y="6"/>
                </a:cubicBezTo>
                <a:cubicBezTo>
                  <a:pt x="28" y="5"/>
                  <a:pt x="28" y="5"/>
                  <a:pt x="28" y="5"/>
                </a:cubicBezTo>
                <a:cubicBezTo>
                  <a:pt x="28" y="5"/>
                  <a:pt x="28" y="5"/>
                  <a:pt x="28" y="5"/>
                </a:cubicBezTo>
                <a:cubicBezTo>
                  <a:pt x="28" y="4"/>
                  <a:pt x="28" y="4"/>
                  <a:pt x="28" y="4"/>
                </a:cubicBezTo>
                <a:cubicBezTo>
                  <a:pt x="28" y="3"/>
                  <a:pt x="28" y="3"/>
                  <a:pt x="28" y="3"/>
                </a:cubicBezTo>
                <a:cubicBezTo>
                  <a:pt x="28" y="1"/>
                  <a:pt x="28" y="1"/>
                  <a:pt x="28" y="1"/>
                </a:cubicBezTo>
                <a:cubicBezTo>
                  <a:pt x="28" y="0"/>
                  <a:pt x="28" y="0"/>
                  <a:pt x="28" y="0"/>
                </a:cubicBezTo>
                <a:cubicBezTo>
                  <a:pt x="29" y="0"/>
                  <a:pt x="29" y="0"/>
                  <a:pt x="29" y="0"/>
                </a:cubicBezTo>
                <a:cubicBezTo>
                  <a:pt x="28" y="0"/>
                  <a:pt x="28" y="0"/>
                  <a:pt x="28" y="0"/>
                </a:cubicBezTo>
                <a:cubicBezTo>
                  <a:pt x="27" y="0"/>
                  <a:pt x="27" y="0"/>
                  <a:pt x="27" y="0"/>
                </a:cubicBezTo>
                <a:cubicBezTo>
                  <a:pt x="27" y="0"/>
                  <a:pt x="27" y="0"/>
                  <a:pt x="27" y="0"/>
                </a:cubicBezTo>
                <a:cubicBezTo>
                  <a:pt x="26" y="0"/>
                  <a:pt x="26" y="0"/>
                  <a:pt x="26" y="0"/>
                </a:cubicBezTo>
                <a:cubicBezTo>
                  <a:pt x="25" y="0"/>
                  <a:pt x="25" y="0"/>
                  <a:pt x="25" y="0"/>
                </a:cubicBezTo>
                <a:cubicBezTo>
                  <a:pt x="25" y="1"/>
                  <a:pt x="25" y="1"/>
                  <a:pt x="25" y="1"/>
                </a:cubicBezTo>
                <a:cubicBezTo>
                  <a:pt x="24" y="1"/>
                  <a:pt x="24" y="1"/>
                  <a:pt x="24" y="1"/>
                </a:cubicBezTo>
                <a:cubicBezTo>
                  <a:pt x="23" y="2"/>
                  <a:pt x="23" y="2"/>
                  <a:pt x="23" y="2"/>
                </a:cubicBezTo>
                <a:cubicBezTo>
                  <a:pt x="22" y="2"/>
                  <a:pt x="22" y="2"/>
                  <a:pt x="22" y="2"/>
                </a:cubicBezTo>
                <a:cubicBezTo>
                  <a:pt x="22" y="3"/>
                  <a:pt x="22" y="3"/>
                  <a:pt x="22" y="3"/>
                </a:cubicBezTo>
                <a:cubicBezTo>
                  <a:pt x="21" y="3"/>
                  <a:pt x="21" y="3"/>
                  <a:pt x="21" y="3"/>
                </a:cubicBezTo>
                <a:cubicBezTo>
                  <a:pt x="20" y="3"/>
                  <a:pt x="20" y="3"/>
                  <a:pt x="20" y="3"/>
                </a:cubicBezTo>
                <a:cubicBezTo>
                  <a:pt x="20" y="2"/>
                  <a:pt x="20" y="2"/>
                  <a:pt x="20" y="2"/>
                </a:cubicBezTo>
                <a:cubicBezTo>
                  <a:pt x="19" y="2"/>
                  <a:pt x="19" y="2"/>
                  <a:pt x="19" y="2"/>
                </a:cubicBezTo>
                <a:cubicBezTo>
                  <a:pt x="18" y="2"/>
                  <a:pt x="18" y="2"/>
                  <a:pt x="18" y="2"/>
                </a:cubicBezTo>
                <a:cubicBezTo>
                  <a:pt x="18" y="3"/>
                  <a:pt x="18" y="3"/>
                  <a:pt x="18" y="3"/>
                </a:cubicBezTo>
                <a:cubicBezTo>
                  <a:pt x="17" y="3"/>
                  <a:pt x="17" y="3"/>
                  <a:pt x="17" y="3"/>
                </a:cubicBezTo>
                <a:cubicBezTo>
                  <a:pt x="16" y="4"/>
                  <a:pt x="16" y="4"/>
                  <a:pt x="16" y="4"/>
                </a:cubicBezTo>
                <a:cubicBezTo>
                  <a:pt x="16" y="5"/>
                  <a:pt x="16" y="5"/>
                  <a:pt x="16" y="5"/>
                </a:cubicBezTo>
                <a:cubicBezTo>
                  <a:pt x="15" y="5"/>
                  <a:pt x="15" y="5"/>
                  <a:pt x="15" y="5"/>
                </a:cubicBezTo>
                <a:cubicBezTo>
                  <a:pt x="14" y="7"/>
                  <a:pt x="14" y="7"/>
                  <a:pt x="14" y="7"/>
                </a:cubicBezTo>
                <a:cubicBezTo>
                  <a:pt x="13" y="7"/>
                  <a:pt x="13" y="7"/>
                  <a:pt x="13" y="7"/>
                </a:cubicBezTo>
                <a:cubicBezTo>
                  <a:pt x="12" y="8"/>
                  <a:pt x="12" y="8"/>
                  <a:pt x="12" y="8"/>
                </a:cubicBezTo>
                <a:cubicBezTo>
                  <a:pt x="11" y="8"/>
                  <a:pt x="11" y="8"/>
                  <a:pt x="11" y="8"/>
                </a:cubicBezTo>
                <a:cubicBezTo>
                  <a:pt x="11" y="8"/>
                  <a:pt x="11" y="8"/>
                  <a:pt x="11" y="8"/>
                </a:cubicBezTo>
                <a:cubicBezTo>
                  <a:pt x="10" y="7"/>
                  <a:pt x="10" y="7"/>
                  <a:pt x="10" y="7"/>
                </a:cubicBezTo>
                <a:cubicBezTo>
                  <a:pt x="9" y="7"/>
                  <a:pt x="9" y="7"/>
                  <a:pt x="9" y="7"/>
                </a:cubicBezTo>
                <a:cubicBezTo>
                  <a:pt x="7" y="8"/>
                  <a:pt x="7" y="8"/>
                  <a:pt x="7" y="8"/>
                </a:cubicBezTo>
                <a:cubicBezTo>
                  <a:pt x="5" y="8"/>
                  <a:pt x="5" y="8"/>
                  <a:pt x="5" y="8"/>
                </a:cubicBezTo>
                <a:cubicBezTo>
                  <a:pt x="5" y="9"/>
                  <a:pt x="5" y="9"/>
                  <a:pt x="5" y="9"/>
                </a:cubicBezTo>
                <a:cubicBezTo>
                  <a:pt x="5" y="10"/>
                  <a:pt x="5" y="10"/>
                  <a:pt x="5" y="10"/>
                </a:cubicBezTo>
                <a:cubicBezTo>
                  <a:pt x="5" y="12"/>
                  <a:pt x="5" y="12"/>
                  <a:pt x="5" y="12"/>
                </a:cubicBezTo>
                <a:cubicBezTo>
                  <a:pt x="4" y="13"/>
                  <a:pt x="4" y="13"/>
                  <a:pt x="4" y="13"/>
                </a:cubicBezTo>
                <a:cubicBezTo>
                  <a:pt x="3" y="13"/>
                  <a:pt x="3" y="13"/>
                  <a:pt x="3" y="13"/>
                </a:cubicBezTo>
                <a:cubicBezTo>
                  <a:pt x="2" y="13"/>
                  <a:pt x="2" y="13"/>
                  <a:pt x="2" y="13"/>
                </a:cubicBezTo>
                <a:cubicBezTo>
                  <a:pt x="1" y="14"/>
                  <a:pt x="1" y="14"/>
                  <a:pt x="1" y="14"/>
                </a:cubicBezTo>
                <a:cubicBezTo>
                  <a:pt x="1" y="14"/>
                  <a:pt x="1" y="14"/>
                  <a:pt x="1" y="14"/>
                </a:cubicBezTo>
                <a:cubicBezTo>
                  <a:pt x="0" y="13"/>
                  <a:pt x="0" y="13"/>
                  <a:pt x="0" y="13"/>
                </a:cubicBezTo>
                <a:cubicBezTo>
                  <a:pt x="0" y="14"/>
                  <a:pt x="0" y="14"/>
                  <a:pt x="0" y="14"/>
                </a:cubicBezTo>
                <a:cubicBezTo>
                  <a:pt x="2" y="17"/>
                  <a:pt x="2" y="17"/>
                  <a:pt x="2" y="17"/>
                </a:cubicBezTo>
                <a:cubicBezTo>
                  <a:pt x="3" y="17"/>
                  <a:pt x="3" y="17"/>
                  <a:pt x="3" y="17"/>
                </a:cubicBezTo>
                <a:cubicBezTo>
                  <a:pt x="3" y="18"/>
                  <a:pt x="3" y="18"/>
                  <a:pt x="3" y="18"/>
                </a:cubicBezTo>
                <a:cubicBezTo>
                  <a:pt x="5" y="20"/>
                  <a:pt x="5" y="20"/>
                  <a:pt x="5" y="20"/>
                </a:cubicBezTo>
                <a:cubicBezTo>
                  <a:pt x="6" y="22"/>
                  <a:pt x="6" y="22"/>
                  <a:pt x="6" y="22"/>
                </a:cubicBezTo>
                <a:cubicBezTo>
                  <a:pt x="9" y="25"/>
                  <a:pt x="9" y="25"/>
                  <a:pt x="9" y="25"/>
                </a:cubicBezTo>
                <a:cubicBezTo>
                  <a:pt x="10" y="25"/>
                  <a:pt x="10" y="25"/>
                  <a:pt x="10" y="25"/>
                </a:cubicBez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3" name="Freeform 181">
            <a:extLst>
              <a:ext uri="{FF2B5EF4-FFF2-40B4-BE49-F238E27FC236}">
                <a16:creationId xmlns:a16="http://schemas.microsoft.com/office/drawing/2014/main" id="{F1C238C5-1AD8-4C15-E7A1-86C875AC8613}"/>
              </a:ext>
            </a:extLst>
          </p:cNvPr>
          <p:cNvSpPr>
            <a:spLocks/>
          </p:cNvSpPr>
          <p:nvPr userDrawn="1"/>
        </p:nvSpPr>
        <p:spPr bwMode="auto">
          <a:xfrm>
            <a:off x="7641726" y="8352707"/>
            <a:ext cx="415899" cy="200026"/>
          </a:xfrm>
          <a:custGeom>
            <a:avLst/>
            <a:gdLst>
              <a:gd name="T0" fmla="*/ 50 w 131"/>
              <a:gd name="T1" fmla="*/ 63 h 63"/>
              <a:gd name="T2" fmla="*/ 56 w 131"/>
              <a:gd name="T3" fmla="*/ 60 h 63"/>
              <a:gd name="T4" fmla="*/ 56 w 131"/>
              <a:gd name="T5" fmla="*/ 50 h 63"/>
              <a:gd name="T6" fmla="*/ 63 w 131"/>
              <a:gd name="T7" fmla="*/ 47 h 63"/>
              <a:gd name="T8" fmla="*/ 72 w 131"/>
              <a:gd name="T9" fmla="*/ 44 h 63"/>
              <a:gd name="T10" fmla="*/ 75 w 131"/>
              <a:gd name="T11" fmla="*/ 47 h 63"/>
              <a:gd name="T12" fmla="*/ 81 w 131"/>
              <a:gd name="T13" fmla="*/ 44 h 63"/>
              <a:gd name="T14" fmla="*/ 88 w 131"/>
              <a:gd name="T15" fmla="*/ 38 h 63"/>
              <a:gd name="T16" fmla="*/ 91 w 131"/>
              <a:gd name="T17" fmla="*/ 35 h 63"/>
              <a:gd name="T18" fmla="*/ 97 w 131"/>
              <a:gd name="T19" fmla="*/ 32 h 63"/>
              <a:gd name="T20" fmla="*/ 100 w 131"/>
              <a:gd name="T21" fmla="*/ 28 h 63"/>
              <a:gd name="T22" fmla="*/ 103 w 131"/>
              <a:gd name="T23" fmla="*/ 32 h 63"/>
              <a:gd name="T24" fmla="*/ 109 w 131"/>
              <a:gd name="T25" fmla="*/ 32 h 63"/>
              <a:gd name="T26" fmla="*/ 113 w 131"/>
              <a:gd name="T27" fmla="*/ 28 h 63"/>
              <a:gd name="T28" fmla="*/ 119 w 131"/>
              <a:gd name="T29" fmla="*/ 25 h 63"/>
              <a:gd name="T30" fmla="*/ 122 w 131"/>
              <a:gd name="T31" fmla="*/ 22 h 63"/>
              <a:gd name="T32" fmla="*/ 125 w 131"/>
              <a:gd name="T33" fmla="*/ 22 h 63"/>
              <a:gd name="T34" fmla="*/ 131 w 131"/>
              <a:gd name="T35" fmla="*/ 22 h 63"/>
              <a:gd name="T36" fmla="*/ 131 w 131"/>
              <a:gd name="T37" fmla="*/ 19 h 63"/>
              <a:gd name="T38" fmla="*/ 122 w 131"/>
              <a:gd name="T39" fmla="*/ 13 h 63"/>
              <a:gd name="T40" fmla="*/ 122 w 131"/>
              <a:gd name="T41" fmla="*/ 19 h 63"/>
              <a:gd name="T42" fmla="*/ 113 w 131"/>
              <a:gd name="T43" fmla="*/ 16 h 63"/>
              <a:gd name="T44" fmla="*/ 106 w 131"/>
              <a:gd name="T45" fmla="*/ 16 h 63"/>
              <a:gd name="T46" fmla="*/ 106 w 131"/>
              <a:gd name="T47" fmla="*/ 13 h 63"/>
              <a:gd name="T48" fmla="*/ 106 w 131"/>
              <a:gd name="T49" fmla="*/ 10 h 63"/>
              <a:gd name="T50" fmla="*/ 113 w 131"/>
              <a:gd name="T51" fmla="*/ 10 h 63"/>
              <a:gd name="T52" fmla="*/ 119 w 131"/>
              <a:gd name="T53" fmla="*/ 13 h 63"/>
              <a:gd name="T54" fmla="*/ 109 w 131"/>
              <a:gd name="T55" fmla="*/ 6 h 63"/>
              <a:gd name="T56" fmla="*/ 103 w 131"/>
              <a:gd name="T57" fmla="*/ 6 h 63"/>
              <a:gd name="T58" fmla="*/ 100 w 131"/>
              <a:gd name="T59" fmla="*/ 10 h 63"/>
              <a:gd name="T60" fmla="*/ 91 w 131"/>
              <a:gd name="T61" fmla="*/ 6 h 63"/>
              <a:gd name="T62" fmla="*/ 75 w 131"/>
              <a:gd name="T63" fmla="*/ 0 h 63"/>
              <a:gd name="T64" fmla="*/ 72 w 131"/>
              <a:gd name="T65" fmla="*/ 3 h 63"/>
              <a:gd name="T66" fmla="*/ 69 w 131"/>
              <a:gd name="T67" fmla="*/ 3 h 63"/>
              <a:gd name="T68" fmla="*/ 66 w 131"/>
              <a:gd name="T69" fmla="*/ 3 h 63"/>
              <a:gd name="T70" fmla="*/ 50 w 131"/>
              <a:gd name="T71" fmla="*/ 6 h 63"/>
              <a:gd name="T72" fmla="*/ 34 w 131"/>
              <a:gd name="T73" fmla="*/ 10 h 63"/>
              <a:gd name="T74" fmla="*/ 31 w 131"/>
              <a:gd name="T75" fmla="*/ 10 h 63"/>
              <a:gd name="T76" fmla="*/ 25 w 131"/>
              <a:gd name="T77" fmla="*/ 13 h 63"/>
              <a:gd name="T78" fmla="*/ 19 w 131"/>
              <a:gd name="T79" fmla="*/ 16 h 63"/>
              <a:gd name="T80" fmla="*/ 9 w 131"/>
              <a:gd name="T81" fmla="*/ 25 h 63"/>
              <a:gd name="T82" fmla="*/ 9 w 131"/>
              <a:gd name="T83" fmla="*/ 35 h 63"/>
              <a:gd name="T84" fmla="*/ 3 w 131"/>
              <a:gd name="T85" fmla="*/ 38 h 63"/>
              <a:gd name="T86" fmla="*/ 3 w 131"/>
              <a:gd name="T87" fmla="*/ 41 h 63"/>
              <a:gd name="T88" fmla="*/ 3 w 131"/>
              <a:gd name="T89" fmla="*/ 53 h 63"/>
              <a:gd name="T90" fmla="*/ 12 w 131"/>
              <a:gd name="T91" fmla="*/ 57 h 63"/>
              <a:gd name="T92" fmla="*/ 19 w 131"/>
              <a:gd name="T93" fmla="*/ 60 h 63"/>
              <a:gd name="T94" fmla="*/ 16 w 131"/>
              <a:gd name="T95" fmla="*/ 57 h 63"/>
              <a:gd name="T96" fmla="*/ 25 w 131"/>
              <a:gd name="T97" fmla="*/ 60 h 63"/>
              <a:gd name="T98" fmla="*/ 34 w 131"/>
              <a:gd name="T99" fmla="*/ 63 h 63"/>
              <a:gd name="T100" fmla="*/ 38 w 131"/>
              <a:gd name="T101" fmla="*/ 57 h 63"/>
              <a:gd name="T102" fmla="*/ 41 w 131"/>
              <a:gd name="T103" fmla="*/ 57 h 63"/>
              <a:gd name="T104" fmla="*/ 41 w 131"/>
              <a:gd name="T105" fmla="*/ 60 h 63"/>
              <a:gd name="T106" fmla="*/ 44 w 131"/>
              <a:gd name="T107" fmla="*/ 60 h 63"/>
              <a:gd name="T108" fmla="*/ 47 w 131"/>
              <a:gd name="T109"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1" h="63">
                <a:moveTo>
                  <a:pt x="47" y="63"/>
                </a:moveTo>
                <a:lnTo>
                  <a:pt x="50" y="63"/>
                </a:lnTo>
                <a:lnTo>
                  <a:pt x="53" y="63"/>
                </a:lnTo>
                <a:lnTo>
                  <a:pt x="56" y="60"/>
                </a:lnTo>
                <a:lnTo>
                  <a:pt x="56" y="53"/>
                </a:lnTo>
                <a:lnTo>
                  <a:pt x="56" y="50"/>
                </a:lnTo>
                <a:lnTo>
                  <a:pt x="56" y="47"/>
                </a:lnTo>
                <a:lnTo>
                  <a:pt x="63" y="47"/>
                </a:lnTo>
                <a:lnTo>
                  <a:pt x="69" y="44"/>
                </a:lnTo>
                <a:lnTo>
                  <a:pt x="72" y="44"/>
                </a:lnTo>
                <a:lnTo>
                  <a:pt x="75" y="47"/>
                </a:lnTo>
                <a:lnTo>
                  <a:pt x="75" y="47"/>
                </a:lnTo>
                <a:lnTo>
                  <a:pt x="78" y="47"/>
                </a:lnTo>
                <a:lnTo>
                  <a:pt x="81" y="44"/>
                </a:lnTo>
                <a:lnTo>
                  <a:pt x="84" y="44"/>
                </a:lnTo>
                <a:lnTo>
                  <a:pt x="88" y="38"/>
                </a:lnTo>
                <a:lnTo>
                  <a:pt x="91" y="38"/>
                </a:lnTo>
                <a:lnTo>
                  <a:pt x="91" y="35"/>
                </a:lnTo>
                <a:lnTo>
                  <a:pt x="94" y="32"/>
                </a:lnTo>
                <a:lnTo>
                  <a:pt x="97" y="32"/>
                </a:lnTo>
                <a:lnTo>
                  <a:pt x="97" y="28"/>
                </a:lnTo>
                <a:lnTo>
                  <a:pt x="100" y="28"/>
                </a:lnTo>
                <a:lnTo>
                  <a:pt x="103" y="28"/>
                </a:lnTo>
                <a:lnTo>
                  <a:pt x="103" y="32"/>
                </a:lnTo>
                <a:lnTo>
                  <a:pt x="106" y="32"/>
                </a:lnTo>
                <a:lnTo>
                  <a:pt x="109" y="32"/>
                </a:lnTo>
                <a:lnTo>
                  <a:pt x="109" y="28"/>
                </a:lnTo>
                <a:lnTo>
                  <a:pt x="113" y="28"/>
                </a:lnTo>
                <a:lnTo>
                  <a:pt x="116" y="25"/>
                </a:lnTo>
                <a:lnTo>
                  <a:pt x="119" y="25"/>
                </a:lnTo>
                <a:lnTo>
                  <a:pt x="119" y="22"/>
                </a:lnTo>
                <a:lnTo>
                  <a:pt x="122" y="22"/>
                </a:lnTo>
                <a:lnTo>
                  <a:pt x="125" y="22"/>
                </a:lnTo>
                <a:lnTo>
                  <a:pt x="125" y="22"/>
                </a:lnTo>
                <a:lnTo>
                  <a:pt x="128" y="22"/>
                </a:lnTo>
                <a:lnTo>
                  <a:pt x="131" y="22"/>
                </a:lnTo>
                <a:lnTo>
                  <a:pt x="131" y="22"/>
                </a:lnTo>
                <a:lnTo>
                  <a:pt x="131" y="19"/>
                </a:lnTo>
                <a:lnTo>
                  <a:pt x="125" y="16"/>
                </a:lnTo>
                <a:lnTo>
                  <a:pt x="122" y="13"/>
                </a:lnTo>
                <a:lnTo>
                  <a:pt x="122" y="13"/>
                </a:lnTo>
                <a:lnTo>
                  <a:pt x="122" y="19"/>
                </a:lnTo>
                <a:lnTo>
                  <a:pt x="119" y="16"/>
                </a:lnTo>
                <a:lnTo>
                  <a:pt x="113" y="16"/>
                </a:lnTo>
                <a:lnTo>
                  <a:pt x="113" y="16"/>
                </a:lnTo>
                <a:lnTo>
                  <a:pt x="106" y="16"/>
                </a:lnTo>
                <a:lnTo>
                  <a:pt x="103" y="16"/>
                </a:lnTo>
                <a:lnTo>
                  <a:pt x="106" y="13"/>
                </a:lnTo>
                <a:lnTo>
                  <a:pt x="106" y="13"/>
                </a:lnTo>
                <a:lnTo>
                  <a:pt x="106" y="10"/>
                </a:lnTo>
                <a:lnTo>
                  <a:pt x="109" y="10"/>
                </a:lnTo>
                <a:lnTo>
                  <a:pt x="113" y="10"/>
                </a:lnTo>
                <a:lnTo>
                  <a:pt x="119" y="13"/>
                </a:lnTo>
                <a:lnTo>
                  <a:pt x="119" y="13"/>
                </a:lnTo>
                <a:lnTo>
                  <a:pt x="116" y="10"/>
                </a:lnTo>
                <a:lnTo>
                  <a:pt x="109" y="6"/>
                </a:lnTo>
                <a:lnTo>
                  <a:pt x="106" y="6"/>
                </a:lnTo>
                <a:lnTo>
                  <a:pt x="103" y="6"/>
                </a:lnTo>
                <a:lnTo>
                  <a:pt x="100" y="6"/>
                </a:lnTo>
                <a:lnTo>
                  <a:pt x="100" y="10"/>
                </a:lnTo>
                <a:lnTo>
                  <a:pt x="97" y="6"/>
                </a:lnTo>
                <a:lnTo>
                  <a:pt x="91" y="6"/>
                </a:lnTo>
                <a:lnTo>
                  <a:pt x="81" y="6"/>
                </a:lnTo>
                <a:lnTo>
                  <a:pt x="75" y="0"/>
                </a:lnTo>
                <a:lnTo>
                  <a:pt x="72" y="0"/>
                </a:lnTo>
                <a:lnTo>
                  <a:pt x="72" y="3"/>
                </a:lnTo>
                <a:lnTo>
                  <a:pt x="72" y="3"/>
                </a:lnTo>
                <a:lnTo>
                  <a:pt x="69" y="3"/>
                </a:lnTo>
                <a:lnTo>
                  <a:pt x="69" y="6"/>
                </a:lnTo>
                <a:lnTo>
                  <a:pt x="66" y="3"/>
                </a:lnTo>
                <a:lnTo>
                  <a:pt x="59" y="6"/>
                </a:lnTo>
                <a:lnTo>
                  <a:pt x="50" y="6"/>
                </a:lnTo>
                <a:lnTo>
                  <a:pt x="38" y="6"/>
                </a:lnTo>
                <a:lnTo>
                  <a:pt x="34" y="10"/>
                </a:lnTo>
                <a:lnTo>
                  <a:pt x="31" y="6"/>
                </a:lnTo>
                <a:lnTo>
                  <a:pt x="31" y="10"/>
                </a:lnTo>
                <a:lnTo>
                  <a:pt x="28" y="10"/>
                </a:lnTo>
                <a:lnTo>
                  <a:pt x="25" y="13"/>
                </a:lnTo>
                <a:lnTo>
                  <a:pt x="22" y="16"/>
                </a:lnTo>
                <a:lnTo>
                  <a:pt x="19" y="16"/>
                </a:lnTo>
                <a:lnTo>
                  <a:pt x="12" y="22"/>
                </a:lnTo>
                <a:lnTo>
                  <a:pt x="9" y="25"/>
                </a:lnTo>
                <a:lnTo>
                  <a:pt x="9" y="28"/>
                </a:lnTo>
                <a:lnTo>
                  <a:pt x="9" y="35"/>
                </a:lnTo>
                <a:lnTo>
                  <a:pt x="3" y="38"/>
                </a:lnTo>
                <a:lnTo>
                  <a:pt x="3" y="38"/>
                </a:lnTo>
                <a:lnTo>
                  <a:pt x="3" y="41"/>
                </a:lnTo>
                <a:lnTo>
                  <a:pt x="3" y="41"/>
                </a:lnTo>
                <a:lnTo>
                  <a:pt x="0" y="50"/>
                </a:lnTo>
                <a:lnTo>
                  <a:pt x="3" y="53"/>
                </a:lnTo>
                <a:lnTo>
                  <a:pt x="3" y="53"/>
                </a:lnTo>
                <a:lnTo>
                  <a:pt x="12" y="57"/>
                </a:lnTo>
                <a:lnTo>
                  <a:pt x="19" y="60"/>
                </a:lnTo>
                <a:lnTo>
                  <a:pt x="19" y="60"/>
                </a:lnTo>
                <a:lnTo>
                  <a:pt x="16" y="57"/>
                </a:lnTo>
                <a:lnTo>
                  <a:pt x="16" y="57"/>
                </a:lnTo>
                <a:lnTo>
                  <a:pt x="22" y="57"/>
                </a:lnTo>
                <a:lnTo>
                  <a:pt x="25" y="60"/>
                </a:lnTo>
                <a:lnTo>
                  <a:pt x="25" y="63"/>
                </a:lnTo>
                <a:lnTo>
                  <a:pt x="34" y="63"/>
                </a:lnTo>
                <a:lnTo>
                  <a:pt x="38" y="60"/>
                </a:lnTo>
                <a:lnTo>
                  <a:pt x="38" y="57"/>
                </a:lnTo>
                <a:lnTo>
                  <a:pt x="38" y="57"/>
                </a:lnTo>
                <a:lnTo>
                  <a:pt x="41" y="57"/>
                </a:lnTo>
                <a:lnTo>
                  <a:pt x="41" y="60"/>
                </a:lnTo>
                <a:lnTo>
                  <a:pt x="41" y="60"/>
                </a:lnTo>
                <a:lnTo>
                  <a:pt x="44" y="57"/>
                </a:lnTo>
                <a:lnTo>
                  <a:pt x="44" y="60"/>
                </a:lnTo>
                <a:lnTo>
                  <a:pt x="44" y="60"/>
                </a:lnTo>
                <a:lnTo>
                  <a:pt x="47" y="63"/>
                </a:lnTo>
                <a:lnTo>
                  <a:pt x="47" y="63"/>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4" name="Freeform 182">
            <a:extLst>
              <a:ext uri="{FF2B5EF4-FFF2-40B4-BE49-F238E27FC236}">
                <a16:creationId xmlns:a16="http://schemas.microsoft.com/office/drawing/2014/main" id="{136970D4-DDC5-8DE8-F723-3FC854B763D5}"/>
              </a:ext>
            </a:extLst>
          </p:cNvPr>
          <p:cNvSpPr>
            <a:spLocks/>
          </p:cNvSpPr>
          <p:nvPr userDrawn="1"/>
        </p:nvSpPr>
        <p:spPr bwMode="auto">
          <a:xfrm>
            <a:off x="7613154" y="8463829"/>
            <a:ext cx="149216" cy="88902"/>
          </a:xfrm>
          <a:custGeom>
            <a:avLst/>
            <a:gdLst>
              <a:gd name="T0" fmla="*/ 15 w 47"/>
              <a:gd name="T1" fmla="*/ 0 h 28"/>
              <a:gd name="T2" fmla="*/ 18 w 47"/>
              <a:gd name="T3" fmla="*/ 0 h 28"/>
              <a:gd name="T4" fmla="*/ 21 w 47"/>
              <a:gd name="T5" fmla="*/ 0 h 28"/>
              <a:gd name="T6" fmla="*/ 21 w 47"/>
              <a:gd name="T7" fmla="*/ 3 h 28"/>
              <a:gd name="T8" fmla="*/ 25 w 47"/>
              <a:gd name="T9" fmla="*/ 3 h 28"/>
              <a:gd name="T10" fmla="*/ 28 w 47"/>
              <a:gd name="T11" fmla="*/ 3 h 28"/>
              <a:gd name="T12" fmla="*/ 31 w 47"/>
              <a:gd name="T13" fmla="*/ 3 h 28"/>
              <a:gd name="T14" fmla="*/ 34 w 47"/>
              <a:gd name="T15" fmla="*/ 6 h 28"/>
              <a:gd name="T16" fmla="*/ 34 w 47"/>
              <a:gd name="T17" fmla="*/ 9 h 28"/>
              <a:gd name="T18" fmla="*/ 37 w 47"/>
              <a:gd name="T19" fmla="*/ 12 h 28"/>
              <a:gd name="T20" fmla="*/ 37 w 47"/>
              <a:gd name="T21" fmla="*/ 9 h 28"/>
              <a:gd name="T22" fmla="*/ 40 w 47"/>
              <a:gd name="T23" fmla="*/ 6 h 28"/>
              <a:gd name="T24" fmla="*/ 43 w 47"/>
              <a:gd name="T25" fmla="*/ 6 h 28"/>
              <a:gd name="T26" fmla="*/ 43 w 47"/>
              <a:gd name="T27" fmla="*/ 6 h 28"/>
              <a:gd name="T28" fmla="*/ 47 w 47"/>
              <a:gd name="T29" fmla="*/ 9 h 28"/>
              <a:gd name="T30" fmla="*/ 47 w 47"/>
              <a:gd name="T31" fmla="*/ 12 h 28"/>
              <a:gd name="T32" fmla="*/ 47 w 47"/>
              <a:gd name="T33" fmla="*/ 15 h 28"/>
              <a:gd name="T34" fmla="*/ 47 w 47"/>
              <a:gd name="T35" fmla="*/ 15 h 28"/>
              <a:gd name="T36" fmla="*/ 47 w 47"/>
              <a:gd name="T37" fmla="*/ 18 h 28"/>
              <a:gd name="T38" fmla="*/ 47 w 47"/>
              <a:gd name="T39" fmla="*/ 22 h 28"/>
              <a:gd name="T40" fmla="*/ 47 w 47"/>
              <a:gd name="T41" fmla="*/ 22 h 28"/>
              <a:gd name="T42" fmla="*/ 47 w 47"/>
              <a:gd name="T43" fmla="*/ 25 h 28"/>
              <a:gd name="T44" fmla="*/ 43 w 47"/>
              <a:gd name="T45" fmla="*/ 28 h 28"/>
              <a:gd name="T46" fmla="*/ 34 w 47"/>
              <a:gd name="T47" fmla="*/ 28 h 28"/>
              <a:gd name="T48" fmla="*/ 34 w 47"/>
              <a:gd name="T49" fmla="*/ 25 h 28"/>
              <a:gd name="T50" fmla="*/ 31 w 47"/>
              <a:gd name="T51" fmla="*/ 22 h 28"/>
              <a:gd name="T52" fmla="*/ 25 w 47"/>
              <a:gd name="T53" fmla="*/ 22 h 28"/>
              <a:gd name="T54" fmla="*/ 25 w 47"/>
              <a:gd name="T55" fmla="*/ 22 h 28"/>
              <a:gd name="T56" fmla="*/ 28 w 47"/>
              <a:gd name="T57" fmla="*/ 25 h 28"/>
              <a:gd name="T58" fmla="*/ 28 w 47"/>
              <a:gd name="T59" fmla="*/ 25 h 28"/>
              <a:gd name="T60" fmla="*/ 21 w 47"/>
              <a:gd name="T61" fmla="*/ 22 h 28"/>
              <a:gd name="T62" fmla="*/ 12 w 47"/>
              <a:gd name="T63" fmla="*/ 18 h 28"/>
              <a:gd name="T64" fmla="*/ 12 w 47"/>
              <a:gd name="T65" fmla="*/ 18 h 28"/>
              <a:gd name="T66" fmla="*/ 6 w 47"/>
              <a:gd name="T67" fmla="*/ 18 h 28"/>
              <a:gd name="T68" fmla="*/ 3 w 47"/>
              <a:gd name="T69" fmla="*/ 15 h 28"/>
              <a:gd name="T70" fmla="*/ 0 w 47"/>
              <a:gd name="T71" fmla="*/ 15 h 28"/>
              <a:gd name="T72" fmla="*/ 0 w 47"/>
              <a:gd name="T73" fmla="*/ 15 h 28"/>
              <a:gd name="T74" fmla="*/ 0 w 47"/>
              <a:gd name="T75" fmla="*/ 12 h 28"/>
              <a:gd name="T76" fmla="*/ 0 w 47"/>
              <a:gd name="T77" fmla="*/ 12 h 28"/>
              <a:gd name="T78" fmla="*/ 3 w 47"/>
              <a:gd name="T79" fmla="*/ 6 h 28"/>
              <a:gd name="T80" fmla="*/ 9 w 47"/>
              <a:gd name="T81" fmla="*/ 6 h 28"/>
              <a:gd name="T82" fmla="*/ 12 w 47"/>
              <a:gd name="T83" fmla="*/ 6 h 28"/>
              <a:gd name="T84" fmla="*/ 12 w 47"/>
              <a:gd name="T85" fmla="*/ 3 h 28"/>
              <a:gd name="T86" fmla="*/ 15 w 47"/>
              <a:gd name="T8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 h="28">
                <a:moveTo>
                  <a:pt x="15" y="0"/>
                </a:moveTo>
                <a:lnTo>
                  <a:pt x="18" y="0"/>
                </a:lnTo>
                <a:lnTo>
                  <a:pt x="21" y="0"/>
                </a:lnTo>
                <a:lnTo>
                  <a:pt x="21" y="3"/>
                </a:lnTo>
                <a:lnTo>
                  <a:pt x="25" y="3"/>
                </a:lnTo>
                <a:lnTo>
                  <a:pt x="28" y="3"/>
                </a:lnTo>
                <a:lnTo>
                  <a:pt x="31" y="3"/>
                </a:lnTo>
                <a:lnTo>
                  <a:pt x="34" y="6"/>
                </a:lnTo>
                <a:lnTo>
                  <a:pt x="34" y="9"/>
                </a:lnTo>
                <a:lnTo>
                  <a:pt x="37" y="12"/>
                </a:lnTo>
                <a:lnTo>
                  <a:pt x="37" y="9"/>
                </a:lnTo>
                <a:lnTo>
                  <a:pt x="40" y="6"/>
                </a:lnTo>
                <a:lnTo>
                  <a:pt x="43" y="6"/>
                </a:lnTo>
                <a:lnTo>
                  <a:pt x="43" y="6"/>
                </a:lnTo>
                <a:lnTo>
                  <a:pt x="47" y="9"/>
                </a:lnTo>
                <a:lnTo>
                  <a:pt x="47" y="12"/>
                </a:lnTo>
                <a:lnTo>
                  <a:pt x="47" y="15"/>
                </a:lnTo>
                <a:lnTo>
                  <a:pt x="47" y="15"/>
                </a:lnTo>
                <a:lnTo>
                  <a:pt x="47" y="18"/>
                </a:lnTo>
                <a:lnTo>
                  <a:pt x="47" y="22"/>
                </a:lnTo>
                <a:lnTo>
                  <a:pt x="47" y="22"/>
                </a:lnTo>
                <a:lnTo>
                  <a:pt x="47" y="25"/>
                </a:lnTo>
                <a:lnTo>
                  <a:pt x="43" y="28"/>
                </a:lnTo>
                <a:lnTo>
                  <a:pt x="34" y="28"/>
                </a:lnTo>
                <a:lnTo>
                  <a:pt x="34" y="25"/>
                </a:lnTo>
                <a:lnTo>
                  <a:pt x="31" y="22"/>
                </a:lnTo>
                <a:lnTo>
                  <a:pt x="25" y="22"/>
                </a:lnTo>
                <a:lnTo>
                  <a:pt x="25" y="22"/>
                </a:lnTo>
                <a:lnTo>
                  <a:pt x="28" y="25"/>
                </a:lnTo>
                <a:lnTo>
                  <a:pt x="28" y="25"/>
                </a:lnTo>
                <a:lnTo>
                  <a:pt x="21" y="22"/>
                </a:lnTo>
                <a:lnTo>
                  <a:pt x="12" y="18"/>
                </a:lnTo>
                <a:lnTo>
                  <a:pt x="12" y="18"/>
                </a:lnTo>
                <a:lnTo>
                  <a:pt x="6" y="18"/>
                </a:lnTo>
                <a:lnTo>
                  <a:pt x="3" y="15"/>
                </a:lnTo>
                <a:lnTo>
                  <a:pt x="0" y="15"/>
                </a:lnTo>
                <a:lnTo>
                  <a:pt x="0" y="15"/>
                </a:lnTo>
                <a:lnTo>
                  <a:pt x="0" y="12"/>
                </a:lnTo>
                <a:lnTo>
                  <a:pt x="0" y="12"/>
                </a:lnTo>
                <a:lnTo>
                  <a:pt x="3" y="6"/>
                </a:lnTo>
                <a:lnTo>
                  <a:pt x="9" y="6"/>
                </a:lnTo>
                <a:lnTo>
                  <a:pt x="12" y="6"/>
                </a:lnTo>
                <a:lnTo>
                  <a:pt x="12" y="3"/>
                </a:lnTo>
                <a:lnTo>
                  <a:pt x="15"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5" name="Freeform 183">
            <a:extLst>
              <a:ext uri="{FF2B5EF4-FFF2-40B4-BE49-F238E27FC236}">
                <a16:creationId xmlns:a16="http://schemas.microsoft.com/office/drawing/2014/main" id="{842829A1-0C84-FE0B-C144-7F4FC36884E2}"/>
              </a:ext>
            </a:extLst>
          </p:cNvPr>
          <p:cNvSpPr>
            <a:spLocks/>
          </p:cNvSpPr>
          <p:nvPr userDrawn="1"/>
        </p:nvSpPr>
        <p:spPr bwMode="auto">
          <a:xfrm>
            <a:off x="7679821" y="8203485"/>
            <a:ext cx="69845" cy="158750"/>
          </a:xfrm>
          <a:custGeom>
            <a:avLst/>
            <a:gdLst>
              <a:gd name="T0" fmla="*/ 0 w 22"/>
              <a:gd name="T1" fmla="*/ 13 h 50"/>
              <a:gd name="T2" fmla="*/ 0 w 22"/>
              <a:gd name="T3" fmla="*/ 13 h 50"/>
              <a:gd name="T4" fmla="*/ 0 w 22"/>
              <a:gd name="T5" fmla="*/ 10 h 50"/>
              <a:gd name="T6" fmla="*/ 4 w 22"/>
              <a:gd name="T7" fmla="*/ 10 h 50"/>
              <a:gd name="T8" fmla="*/ 4 w 22"/>
              <a:gd name="T9" fmla="*/ 10 h 50"/>
              <a:gd name="T10" fmla="*/ 4 w 22"/>
              <a:gd name="T11" fmla="*/ 10 h 50"/>
              <a:gd name="T12" fmla="*/ 7 w 22"/>
              <a:gd name="T13" fmla="*/ 10 h 50"/>
              <a:gd name="T14" fmla="*/ 7 w 22"/>
              <a:gd name="T15" fmla="*/ 10 h 50"/>
              <a:gd name="T16" fmla="*/ 7 w 22"/>
              <a:gd name="T17" fmla="*/ 10 h 50"/>
              <a:gd name="T18" fmla="*/ 10 w 22"/>
              <a:gd name="T19" fmla="*/ 10 h 50"/>
              <a:gd name="T20" fmla="*/ 10 w 22"/>
              <a:gd name="T21" fmla="*/ 7 h 50"/>
              <a:gd name="T22" fmla="*/ 13 w 22"/>
              <a:gd name="T23" fmla="*/ 3 h 50"/>
              <a:gd name="T24" fmla="*/ 13 w 22"/>
              <a:gd name="T25" fmla="*/ 0 h 50"/>
              <a:gd name="T26" fmla="*/ 16 w 22"/>
              <a:gd name="T27" fmla="*/ 0 h 50"/>
              <a:gd name="T28" fmla="*/ 16 w 22"/>
              <a:gd name="T29" fmla="*/ 0 h 50"/>
              <a:gd name="T30" fmla="*/ 16 w 22"/>
              <a:gd name="T31" fmla="*/ 0 h 50"/>
              <a:gd name="T32" fmla="*/ 19 w 22"/>
              <a:gd name="T33" fmla="*/ 0 h 50"/>
              <a:gd name="T34" fmla="*/ 22 w 22"/>
              <a:gd name="T35" fmla="*/ 0 h 50"/>
              <a:gd name="T36" fmla="*/ 22 w 22"/>
              <a:gd name="T37" fmla="*/ 3 h 50"/>
              <a:gd name="T38" fmla="*/ 22 w 22"/>
              <a:gd name="T39" fmla="*/ 3 h 50"/>
              <a:gd name="T40" fmla="*/ 22 w 22"/>
              <a:gd name="T41" fmla="*/ 13 h 50"/>
              <a:gd name="T42" fmla="*/ 19 w 22"/>
              <a:gd name="T43" fmla="*/ 16 h 50"/>
              <a:gd name="T44" fmla="*/ 19 w 22"/>
              <a:gd name="T45" fmla="*/ 22 h 50"/>
              <a:gd name="T46" fmla="*/ 19 w 22"/>
              <a:gd name="T47" fmla="*/ 25 h 50"/>
              <a:gd name="T48" fmla="*/ 19 w 22"/>
              <a:gd name="T49" fmla="*/ 32 h 50"/>
              <a:gd name="T50" fmla="*/ 19 w 22"/>
              <a:gd name="T51" fmla="*/ 38 h 50"/>
              <a:gd name="T52" fmla="*/ 13 w 22"/>
              <a:gd name="T53" fmla="*/ 44 h 50"/>
              <a:gd name="T54" fmla="*/ 10 w 22"/>
              <a:gd name="T55" fmla="*/ 44 h 50"/>
              <a:gd name="T56" fmla="*/ 7 w 22"/>
              <a:gd name="T57" fmla="*/ 47 h 50"/>
              <a:gd name="T58" fmla="*/ 7 w 22"/>
              <a:gd name="T59" fmla="*/ 50 h 50"/>
              <a:gd name="T60" fmla="*/ 7 w 22"/>
              <a:gd name="T61" fmla="*/ 50 h 50"/>
              <a:gd name="T62" fmla="*/ 4 w 22"/>
              <a:gd name="T63" fmla="*/ 50 h 50"/>
              <a:gd name="T64" fmla="*/ 0 w 22"/>
              <a:gd name="T65" fmla="*/ 50 h 50"/>
              <a:gd name="T66" fmla="*/ 0 w 22"/>
              <a:gd name="T67" fmla="*/ 50 h 50"/>
              <a:gd name="T68" fmla="*/ 0 w 22"/>
              <a:gd name="T69" fmla="*/ 13 h 50"/>
              <a:gd name="T70" fmla="*/ 0 w 22"/>
              <a:gd name="T71" fmla="*/ 1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 h="50">
                <a:moveTo>
                  <a:pt x="0" y="13"/>
                </a:moveTo>
                <a:lnTo>
                  <a:pt x="0" y="13"/>
                </a:lnTo>
                <a:lnTo>
                  <a:pt x="0" y="10"/>
                </a:lnTo>
                <a:lnTo>
                  <a:pt x="4" y="10"/>
                </a:lnTo>
                <a:lnTo>
                  <a:pt x="4" y="10"/>
                </a:lnTo>
                <a:lnTo>
                  <a:pt x="4" y="10"/>
                </a:lnTo>
                <a:lnTo>
                  <a:pt x="7" y="10"/>
                </a:lnTo>
                <a:lnTo>
                  <a:pt x="7" y="10"/>
                </a:lnTo>
                <a:lnTo>
                  <a:pt x="7" y="10"/>
                </a:lnTo>
                <a:lnTo>
                  <a:pt x="10" y="10"/>
                </a:lnTo>
                <a:lnTo>
                  <a:pt x="10" y="7"/>
                </a:lnTo>
                <a:lnTo>
                  <a:pt x="13" y="3"/>
                </a:lnTo>
                <a:lnTo>
                  <a:pt x="13" y="0"/>
                </a:lnTo>
                <a:lnTo>
                  <a:pt x="16" y="0"/>
                </a:lnTo>
                <a:lnTo>
                  <a:pt x="16" y="0"/>
                </a:lnTo>
                <a:lnTo>
                  <a:pt x="16" y="0"/>
                </a:lnTo>
                <a:lnTo>
                  <a:pt x="19" y="0"/>
                </a:lnTo>
                <a:lnTo>
                  <a:pt x="22" y="0"/>
                </a:lnTo>
                <a:lnTo>
                  <a:pt x="22" y="3"/>
                </a:lnTo>
                <a:lnTo>
                  <a:pt x="22" y="3"/>
                </a:lnTo>
                <a:lnTo>
                  <a:pt x="22" y="13"/>
                </a:lnTo>
                <a:lnTo>
                  <a:pt x="19" y="16"/>
                </a:lnTo>
                <a:lnTo>
                  <a:pt x="19" y="22"/>
                </a:lnTo>
                <a:lnTo>
                  <a:pt x="19" y="25"/>
                </a:lnTo>
                <a:lnTo>
                  <a:pt x="19" y="32"/>
                </a:lnTo>
                <a:lnTo>
                  <a:pt x="19" y="38"/>
                </a:lnTo>
                <a:lnTo>
                  <a:pt x="13" y="44"/>
                </a:lnTo>
                <a:lnTo>
                  <a:pt x="10" y="44"/>
                </a:lnTo>
                <a:lnTo>
                  <a:pt x="7" y="47"/>
                </a:lnTo>
                <a:lnTo>
                  <a:pt x="7" y="50"/>
                </a:lnTo>
                <a:lnTo>
                  <a:pt x="7" y="50"/>
                </a:lnTo>
                <a:lnTo>
                  <a:pt x="4" y="50"/>
                </a:lnTo>
                <a:lnTo>
                  <a:pt x="0" y="50"/>
                </a:lnTo>
                <a:lnTo>
                  <a:pt x="0" y="50"/>
                </a:lnTo>
                <a:lnTo>
                  <a:pt x="0" y="13"/>
                </a:lnTo>
                <a:lnTo>
                  <a:pt x="0" y="13"/>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6" name="Freeform 184">
            <a:extLst>
              <a:ext uri="{FF2B5EF4-FFF2-40B4-BE49-F238E27FC236}">
                <a16:creationId xmlns:a16="http://schemas.microsoft.com/office/drawing/2014/main" id="{093E5B98-960C-44A8-A13C-9269B6DFAD16}"/>
              </a:ext>
            </a:extLst>
          </p:cNvPr>
          <p:cNvSpPr>
            <a:spLocks/>
          </p:cNvSpPr>
          <p:nvPr userDrawn="1"/>
        </p:nvSpPr>
        <p:spPr bwMode="auto">
          <a:xfrm>
            <a:off x="7482983" y="8244759"/>
            <a:ext cx="257159" cy="266702"/>
          </a:xfrm>
          <a:custGeom>
            <a:avLst/>
            <a:gdLst>
              <a:gd name="T0" fmla="*/ 41 w 81"/>
              <a:gd name="T1" fmla="*/ 84 h 84"/>
              <a:gd name="T2" fmla="*/ 41 w 81"/>
              <a:gd name="T3" fmla="*/ 81 h 84"/>
              <a:gd name="T4" fmla="*/ 41 w 81"/>
              <a:gd name="T5" fmla="*/ 81 h 84"/>
              <a:gd name="T6" fmla="*/ 44 w 81"/>
              <a:gd name="T7" fmla="*/ 75 h 84"/>
              <a:gd name="T8" fmla="*/ 50 w 81"/>
              <a:gd name="T9" fmla="*/ 75 h 84"/>
              <a:gd name="T10" fmla="*/ 53 w 81"/>
              <a:gd name="T11" fmla="*/ 75 h 84"/>
              <a:gd name="T12" fmla="*/ 53 w 81"/>
              <a:gd name="T13" fmla="*/ 72 h 84"/>
              <a:gd name="T14" fmla="*/ 59 w 81"/>
              <a:gd name="T15" fmla="*/ 69 h 84"/>
              <a:gd name="T16" fmla="*/ 59 w 81"/>
              <a:gd name="T17" fmla="*/ 62 h 84"/>
              <a:gd name="T18" fmla="*/ 59 w 81"/>
              <a:gd name="T19" fmla="*/ 59 h 84"/>
              <a:gd name="T20" fmla="*/ 62 w 81"/>
              <a:gd name="T21" fmla="*/ 56 h 84"/>
              <a:gd name="T22" fmla="*/ 69 w 81"/>
              <a:gd name="T23" fmla="*/ 50 h 84"/>
              <a:gd name="T24" fmla="*/ 72 w 81"/>
              <a:gd name="T25" fmla="*/ 50 h 84"/>
              <a:gd name="T26" fmla="*/ 75 w 81"/>
              <a:gd name="T27" fmla="*/ 47 h 84"/>
              <a:gd name="T28" fmla="*/ 78 w 81"/>
              <a:gd name="T29" fmla="*/ 44 h 84"/>
              <a:gd name="T30" fmla="*/ 81 w 81"/>
              <a:gd name="T31" fmla="*/ 44 h 84"/>
              <a:gd name="T32" fmla="*/ 81 w 81"/>
              <a:gd name="T33" fmla="*/ 40 h 84"/>
              <a:gd name="T34" fmla="*/ 78 w 81"/>
              <a:gd name="T35" fmla="*/ 40 h 84"/>
              <a:gd name="T36" fmla="*/ 75 w 81"/>
              <a:gd name="T37" fmla="*/ 40 h 84"/>
              <a:gd name="T38" fmla="*/ 75 w 81"/>
              <a:gd name="T39" fmla="*/ 40 h 84"/>
              <a:gd name="T40" fmla="*/ 72 w 81"/>
              <a:gd name="T41" fmla="*/ 40 h 84"/>
              <a:gd name="T42" fmla="*/ 69 w 81"/>
              <a:gd name="T43" fmla="*/ 40 h 84"/>
              <a:gd name="T44" fmla="*/ 69 w 81"/>
              <a:gd name="T45" fmla="*/ 37 h 84"/>
              <a:gd name="T46" fmla="*/ 66 w 81"/>
              <a:gd name="T47" fmla="*/ 37 h 84"/>
              <a:gd name="T48" fmla="*/ 62 w 81"/>
              <a:gd name="T49" fmla="*/ 37 h 84"/>
              <a:gd name="T50" fmla="*/ 62 w 81"/>
              <a:gd name="T51" fmla="*/ 37 h 84"/>
              <a:gd name="T52" fmla="*/ 62 w 81"/>
              <a:gd name="T53" fmla="*/ 0 h 84"/>
              <a:gd name="T54" fmla="*/ 62 w 81"/>
              <a:gd name="T55" fmla="*/ 0 h 84"/>
              <a:gd name="T56" fmla="*/ 28 w 81"/>
              <a:gd name="T57" fmla="*/ 0 h 84"/>
              <a:gd name="T58" fmla="*/ 28 w 81"/>
              <a:gd name="T59" fmla="*/ 9 h 84"/>
              <a:gd name="T60" fmla="*/ 19 w 81"/>
              <a:gd name="T61" fmla="*/ 9 h 84"/>
              <a:gd name="T62" fmla="*/ 22 w 81"/>
              <a:gd name="T63" fmla="*/ 12 h 84"/>
              <a:gd name="T64" fmla="*/ 22 w 81"/>
              <a:gd name="T65" fmla="*/ 15 h 84"/>
              <a:gd name="T66" fmla="*/ 25 w 81"/>
              <a:gd name="T67" fmla="*/ 19 h 84"/>
              <a:gd name="T68" fmla="*/ 28 w 81"/>
              <a:gd name="T69" fmla="*/ 22 h 84"/>
              <a:gd name="T70" fmla="*/ 31 w 81"/>
              <a:gd name="T71" fmla="*/ 22 h 84"/>
              <a:gd name="T72" fmla="*/ 31 w 81"/>
              <a:gd name="T73" fmla="*/ 25 h 84"/>
              <a:gd name="T74" fmla="*/ 34 w 81"/>
              <a:gd name="T75" fmla="*/ 25 h 84"/>
              <a:gd name="T76" fmla="*/ 34 w 81"/>
              <a:gd name="T77" fmla="*/ 28 h 84"/>
              <a:gd name="T78" fmla="*/ 37 w 81"/>
              <a:gd name="T79" fmla="*/ 28 h 84"/>
              <a:gd name="T80" fmla="*/ 41 w 81"/>
              <a:gd name="T81" fmla="*/ 28 h 84"/>
              <a:gd name="T82" fmla="*/ 41 w 81"/>
              <a:gd name="T83" fmla="*/ 31 h 84"/>
              <a:gd name="T84" fmla="*/ 37 w 81"/>
              <a:gd name="T85" fmla="*/ 34 h 84"/>
              <a:gd name="T86" fmla="*/ 12 w 81"/>
              <a:gd name="T87" fmla="*/ 34 h 84"/>
              <a:gd name="T88" fmla="*/ 0 w 81"/>
              <a:gd name="T89" fmla="*/ 53 h 84"/>
              <a:gd name="T90" fmla="*/ 0 w 81"/>
              <a:gd name="T91" fmla="*/ 56 h 84"/>
              <a:gd name="T92" fmla="*/ 3 w 81"/>
              <a:gd name="T93" fmla="*/ 56 h 84"/>
              <a:gd name="T94" fmla="*/ 0 w 81"/>
              <a:gd name="T95" fmla="*/ 59 h 84"/>
              <a:gd name="T96" fmla="*/ 3 w 81"/>
              <a:gd name="T97" fmla="*/ 59 h 84"/>
              <a:gd name="T98" fmla="*/ 3 w 81"/>
              <a:gd name="T99" fmla="*/ 62 h 84"/>
              <a:gd name="T100" fmla="*/ 3 w 81"/>
              <a:gd name="T101" fmla="*/ 62 h 84"/>
              <a:gd name="T102" fmla="*/ 0 w 81"/>
              <a:gd name="T103" fmla="*/ 66 h 84"/>
              <a:gd name="T104" fmla="*/ 0 w 81"/>
              <a:gd name="T105" fmla="*/ 66 h 84"/>
              <a:gd name="T106" fmla="*/ 0 w 81"/>
              <a:gd name="T107" fmla="*/ 66 h 84"/>
              <a:gd name="T108" fmla="*/ 3 w 81"/>
              <a:gd name="T109" fmla="*/ 72 h 84"/>
              <a:gd name="T110" fmla="*/ 6 w 81"/>
              <a:gd name="T111" fmla="*/ 75 h 84"/>
              <a:gd name="T112" fmla="*/ 9 w 81"/>
              <a:gd name="T113" fmla="*/ 75 h 84"/>
              <a:gd name="T114" fmla="*/ 9 w 81"/>
              <a:gd name="T115" fmla="*/ 78 h 84"/>
              <a:gd name="T116" fmla="*/ 22 w 81"/>
              <a:gd name="T117" fmla="*/ 81 h 84"/>
              <a:gd name="T118" fmla="*/ 28 w 81"/>
              <a:gd name="T119" fmla="*/ 81 h 84"/>
              <a:gd name="T120" fmla="*/ 31 w 81"/>
              <a:gd name="T121" fmla="*/ 81 h 84"/>
              <a:gd name="T122" fmla="*/ 41 w 81"/>
              <a:gd name="T12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 h="84">
                <a:moveTo>
                  <a:pt x="41" y="84"/>
                </a:moveTo>
                <a:lnTo>
                  <a:pt x="41" y="81"/>
                </a:lnTo>
                <a:lnTo>
                  <a:pt x="41" y="81"/>
                </a:lnTo>
                <a:lnTo>
                  <a:pt x="44" y="75"/>
                </a:lnTo>
                <a:lnTo>
                  <a:pt x="50" y="75"/>
                </a:lnTo>
                <a:lnTo>
                  <a:pt x="53" y="75"/>
                </a:lnTo>
                <a:lnTo>
                  <a:pt x="53" y="72"/>
                </a:lnTo>
                <a:lnTo>
                  <a:pt x="59" y="69"/>
                </a:lnTo>
                <a:lnTo>
                  <a:pt x="59" y="62"/>
                </a:lnTo>
                <a:lnTo>
                  <a:pt x="59" y="59"/>
                </a:lnTo>
                <a:lnTo>
                  <a:pt x="62" y="56"/>
                </a:lnTo>
                <a:lnTo>
                  <a:pt x="69" y="50"/>
                </a:lnTo>
                <a:lnTo>
                  <a:pt x="72" y="50"/>
                </a:lnTo>
                <a:lnTo>
                  <a:pt x="75" y="47"/>
                </a:lnTo>
                <a:lnTo>
                  <a:pt x="78" y="44"/>
                </a:lnTo>
                <a:lnTo>
                  <a:pt x="81" y="44"/>
                </a:lnTo>
                <a:lnTo>
                  <a:pt x="81" y="40"/>
                </a:lnTo>
                <a:lnTo>
                  <a:pt x="78" y="40"/>
                </a:lnTo>
                <a:lnTo>
                  <a:pt x="75" y="40"/>
                </a:lnTo>
                <a:lnTo>
                  <a:pt x="75" y="40"/>
                </a:lnTo>
                <a:lnTo>
                  <a:pt x="72" y="40"/>
                </a:lnTo>
                <a:lnTo>
                  <a:pt x="69" y="40"/>
                </a:lnTo>
                <a:lnTo>
                  <a:pt x="69" y="37"/>
                </a:lnTo>
                <a:lnTo>
                  <a:pt x="66" y="37"/>
                </a:lnTo>
                <a:lnTo>
                  <a:pt x="62" y="37"/>
                </a:lnTo>
                <a:lnTo>
                  <a:pt x="62" y="37"/>
                </a:lnTo>
                <a:lnTo>
                  <a:pt x="62" y="0"/>
                </a:lnTo>
                <a:lnTo>
                  <a:pt x="62" y="0"/>
                </a:lnTo>
                <a:lnTo>
                  <a:pt x="28" y="0"/>
                </a:lnTo>
                <a:lnTo>
                  <a:pt x="28" y="9"/>
                </a:lnTo>
                <a:lnTo>
                  <a:pt x="19" y="9"/>
                </a:lnTo>
                <a:lnTo>
                  <a:pt x="22" y="12"/>
                </a:lnTo>
                <a:lnTo>
                  <a:pt x="22" y="15"/>
                </a:lnTo>
                <a:lnTo>
                  <a:pt x="25" y="19"/>
                </a:lnTo>
                <a:lnTo>
                  <a:pt x="28" y="22"/>
                </a:lnTo>
                <a:lnTo>
                  <a:pt x="31" y="22"/>
                </a:lnTo>
                <a:lnTo>
                  <a:pt x="31" y="25"/>
                </a:lnTo>
                <a:lnTo>
                  <a:pt x="34" y="25"/>
                </a:lnTo>
                <a:lnTo>
                  <a:pt x="34" y="28"/>
                </a:lnTo>
                <a:lnTo>
                  <a:pt x="37" y="28"/>
                </a:lnTo>
                <a:lnTo>
                  <a:pt x="41" y="28"/>
                </a:lnTo>
                <a:lnTo>
                  <a:pt x="41" y="31"/>
                </a:lnTo>
                <a:lnTo>
                  <a:pt x="37" y="34"/>
                </a:lnTo>
                <a:lnTo>
                  <a:pt x="12" y="34"/>
                </a:lnTo>
                <a:lnTo>
                  <a:pt x="0" y="53"/>
                </a:lnTo>
                <a:lnTo>
                  <a:pt x="0" y="56"/>
                </a:lnTo>
                <a:lnTo>
                  <a:pt x="3" y="56"/>
                </a:lnTo>
                <a:lnTo>
                  <a:pt x="0" y="59"/>
                </a:lnTo>
                <a:lnTo>
                  <a:pt x="3" y="59"/>
                </a:lnTo>
                <a:lnTo>
                  <a:pt x="3" y="62"/>
                </a:lnTo>
                <a:lnTo>
                  <a:pt x="3" y="62"/>
                </a:lnTo>
                <a:lnTo>
                  <a:pt x="0" y="66"/>
                </a:lnTo>
                <a:lnTo>
                  <a:pt x="0" y="66"/>
                </a:lnTo>
                <a:lnTo>
                  <a:pt x="0" y="66"/>
                </a:lnTo>
                <a:lnTo>
                  <a:pt x="3" y="72"/>
                </a:lnTo>
                <a:lnTo>
                  <a:pt x="6" y="75"/>
                </a:lnTo>
                <a:lnTo>
                  <a:pt x="9" y="75"/>
                </a:lnTo>
                <a:lnTo>
                  <a:pt x="9" y="78"/>
                </a:lnTo>
                <a:lnTo>
                  <a:pt x="22" y="81"/>
                </a:lnTo>
                <a:lnTo>
                  <a:pt x="28" y="81"/>
                </a:lnTo>
                <a:lnTo>
                  <a:pt x="31" y="81"/>
                </a:lnTo>
                <a:lnTo>
                  <a:pt x="41" y="8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7" name="Freeform 185">
            <a:extLst>
              <a:ext uri="{FF2B5EF4-FFF2-40B4-BE49-F238E27FC236}">
                <a16:creationId xmlns:a16="http://schemas.microsoft.com/office/drawing/2014/main" id="{2FA0F238-30F0-6052-AD94-219AC3ED2BDC}"/>
              </a:ext>
            </a:extLst>
          </p:cNvPr>
          <p:cNvSpPr>
            <a:spLocks noEditPoints="1"/>
          </p:cNvSpPr>
          <p:nvPr userDrawn="1"/>
        </p:nvSpPr>
        <p:spPr bwMode="auto">
          <a:xfrm>
            <a:off x="6073376" y="7130332"/>
            <a:ext cx="1787410" cy="1323976"/>
          </a:xfrm>
          <a:custGeom>
            <a:avLst/>
            <a:gdLst>
              <a:gd name="T0" fmla="*/ 213 w 563"/>
              <a:gd name="T1" fmla="*/ 41 h 417"/>
              <a:gd name="T2" fmla="*/ 228 w 563"/>
              <a:gd name="T3" fmla="*/ 57 h 417"/>
              <a:gd name="T4" fmla="*/ 235 w 563"/>
              <a:gd name="T5" fmla="*/ 82 h 417"/>
              <a:gd name="T6" fmla="*/ 250 w 563"/>
              <a:gd name="T7" fmla="*/ 94 h 417"/>
              <a:gd name="T8" fmla="*/ 269 w 563"/>
              <a:gd name="T9" fmla="*/ 91 h 417"/>
              <a:gd name="T10" fmla="*/ 291 w 563"/>
              <a:gd name="T11" fmla="*/ 79 h 417"/>
              <a:gd name="T12" fmla="*/ 313 w 563"/>
              <a:gd name="T13" fmla="*/ 107 h 417"/>
              <a:gd name="T14" fmla="*/ 328 w 563"/>
              <a:gd name="T15" fmla="*/ 141 h 417"/>
              <a:gd name="T16" fmla="*/ 350 w 563"/>
              <a:gd name="T17" fmla="*/ 169 h 417"/>
              <a:gd name="T18" fmla="*/ 366 w 563"/>
              <a:gd name="T19" fmla="*/ 176 h 417"/>
              <a:gd name="T20" fmla="*/ 356 w 563"/>
              <a:gd name="T21" fmla="*/ 194 h 417"/>
              <a:gd name="T22" fmla="*/ 347 w 563"/>
              <a:gd name="T23" fmla="*/ 248 h 417"/>
              <a:gd name="T24" fmla="*/ 353 w 563"/>
              <a:gd name="T25" fmla="*/ 279 h 417"/>
              <a:gd name="T26" fmla="*/ 385 w 563"/>
              <a:gd name="T27" fmla="*/ 329 h 417"/>
              <a:gd name="T28" fmla="*/ 428 w 563"/>
              <a:gd name="T29" fmla="*/ 335 h 417"/>
              <a:gd name="T30" fmla="*/ 463 w 563"/>
              <a:gd name="T31" fmla="*/ 341 h 417"/>
              <a:gd name="T32" fmla="*/ 481 w 563"/>
              <a:gd name="T33" fmla="*/ 310 h 417"/>
              <a:gd name="T34" fmla="*/ 532 w 563"/>
              <a:gd name="T35" fmla="*/ 273 h 417"/>
              <a:gd name="T36" fmla="*/ 557 w 563"/>
              <a:gd name="T37" fmla="*/ 291 h 417"/>
              <a:gd name="T38" fmla="*/ 541 w 563"/>
              <a:gd name="T39" fmla="*/ 323 h 417"/>
              <a:gd name="T40" fmla="*/ 532 w 563"/>
              <a:gd name="T41" fmla="*/ 329 h 417"/>
              <a:gd name="T42" fmla="*/ 513 w 563"/>
              <a:gd name="T43" fmla="*/ 348 h 417"/>
              <a:gd name="T44" fmla="*/ 466 w 563"/>
              <a:gd name="T45" fmla="*/ 366 h 417"/>
              <a:gd name="T46" fmla="*/ 456 w 563"/>
              <a:gd name="T47" fmla="*/ 385 h 417"/>
              <a:gd name="T48" fmla="*/ 441 w 563"/>
              <a:gd name="T49" fmla="*/ 413 h 417"/>
              <a:gd name="T50" fmla="*/ 403 w 563"/>
              <a:gd name="T51" fmla="*/ 382 h 417"/>
              <a:gd name="T52" fmla="*/ 400 w 563"/>
              <a:gd name="T53" fmla="*/ 382 h 417"/>
              <a:gd name="T54" fmla="*/ 394 w 563"/>
              <a:gd name="T55" fmla="*/ 385 h 417"/>
              <a:gd name="T56" fmla="*/ 328 w 563"/>
              <a:gd name="T57" fmla="*/ 382 h 417"/>
              <a:gd name="T58" fmla="*/ 285 w 563"/>
              <a:gd name="T59" fmla="*/ 366 h 417"/>
              <a:gd name="T60" fmla="*/ 238 w 563"/>
              <a:gd name="T61" fmla="*/ 341 h 417"/>
              <a:gd name="T62" fmla="*/ 203 w 563"/>
              <a:gd name="T63" fmla="*/ 320 h 417"/>
              <a:gd name="T64" fmla="*/ 194 w 563"/>
              <a:gd name="T65" fmla="*/ 291 h 417"/>
              <a:gd name="T66" fmla="*/ 194 w 563"/>
              <a:gd name="T67" fmla="*/ 251 h 417"/>
              <a:gd name="T68" fmla="*/ 150 w 563"/>
              <a:gd name="T69" fmla="*/ 198 h 417"/>
              <a:gd name="T70" fmla="*/ 131 w 563"/>
              <a:gd name="T71" fmla="*/ 176 h 417"/>
              <a:gd name="T72" fmla="*/ 131 w 563"/>
              <a:gd name="T73" fmla="*/ 154 h 417"/>
              <a:gd name="T74" fmla="*/ 110 w 563"/>
              <a:gd name="T75" fmla="*/ 126 h 417"/>
              <a:gd name="T76" fmla="*/ 91 w 563"/>
              <a:gd name="T77" fmla="*/ 104 h 417"/>
              <a:gd name="T78" fmla="*/ 75 w 563"/>
              <a:gd name="T79" fmla="*/ 69 h 417"/>
              <a:gd name="T80" fmla="*/ 66 w 563"/>
              <a:gd name="T81" fmla="*/ 35 h 417"/>
              <a:gd name="T82" fmla="*/ 41 w 563"/>
              <a:gd name="T83" fmla="*/ 38 h 417"/>
              <a:gd name="T84" fmla="*/ 56 w 563"/>
              <a:gd name="T85" fmla="*/ 91 h 417"/>
              <a:gd name="T86" fmla="*/ 75 w 563"/>
              <a:gd name="T87" fmla="*/ 122 h 417"/>
              <a:gd name="T88" fmla="*/ 88 w 563"/>
              <a:gd name="T89" fmla="*/ 144 h 417"/>
              <a:gd name="T90" fmla="*/ 97 w 563"/>
              <a:gd name="T91" fmla="*/ 182 h 417"/>
              <a:gd name="T92" fmla="*/ 106 w 563"/>
              <a:gd name="T93" fmla="*/ 204 h 417"/>
              <a:gd name="T94" fmla="*/ 113 w 563"/>
              <a:gd name="T95" fmla="*/ 235 h 417"/>
              <a:gd name="T96" fmla="*/ 85 w 563"/>
              <a:gd name="T97" fmla="*/ 201 h 417"/>
              <a:gd name="T98" fmla="*/ 72 w 563"/>
              <a:gd name="T99" fmla="*/ 157 h 417"/>
              <a:gd name="T100" fmla="*/ 47 w 563"/>
              <a:gd name="T101" fmla="*/ 141 h 417"/>
              <a:gd name="T102" fmla="*/ 31 w 563"/>
              <a:gd name="T103" fmla="*/ 119 h 417"/>
              <a:gd name="T104" fmla="*/ 44 w 563"/>
              <a:gd name="T105" fmla="*/ 110 h 417"/>
              <a:gd name="T106" fmla="*/ 22 w 563"/>
              <a:gd name="T107" fmla="*/ 72 h 417"/>
              <a:gd name="T108" fmla="*/ 13 w 563"/>
              <a:gd name="T109" fmla="*/ 38 h 417"/>
              <a:gd name="T110" fmla="*/ 103 w 563"/>
              <a:gd name="T111" fmla="*/ 188 h 417"/>
              <a:gd name="T112" fmla="*/ 106 w 563"/>
              <a:gd name="T113" fmla="*/ 201 h 417"/>
              <a:gd name="T114" fmla="*/ 356 w 563"/>
              <a:gd name="T115" fmla="*/ 194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63" h="417">
                <a:moveTo>
                  <a:pt x="0" y="4"/>
                </a:moveTo>
                <a:lnTo>
                  <a:pt x="47" y="0"/>
                </a:lnTo>
                <a:lnTo>
                  <a:pt x="50" y="4"/>
                </a:lnTo>
                <a:lnTo>
                  <a:pt x="47" y="4"/>
                </a:lnTo>
                <a:lnTo>
                  <a:pt x="116" y="35"/>
                </a:lnTo>
                <a:lnTo>
                  <a:pt x="172" y="38"/>
                </a:lnTo>
                <a:lnTo>
                  <a:pt x="172" y="29"/>
                </a:lnTo>
                <a:lnTo>
                  <a:pt x="203" y="32"/>
                </a:lnTo>
                <a:lnTo>
                  <a:pt x="206" y="32"/>
                </a:lnTo>
                <a:lnTo>
                  <a:pt x="210" y="38"/>
                </a:lnTo>
                <a:lnTo>
                  <a:pt x="213" y="41"/>
                </a:lnTo>
                <a:lnTo>
                  <a:pt x="213" y="41"/>
                </a:lnTo>
                <a:lnTo>
                  <a:pt x="213" y="41"/>
                </a:lnTo>
                <a:lnTo>
                  <a:pt x="216" y="44"/>
                </a:lnTo>
                <a:lnTo>
                  <a:pt x="216" y="47"/>
                </a:lnTo>
                <a:lnTo>
                  <a:pt x="219" y="47"/>
                </a:lnTo>
                <a:lnTo>
                  <a:pt x="222" y="51"/>
                </a:lnTo>
                <a:lnTo>
                  <a:pt x="222" y="51"/>
                </a:lnTo>
                <a:lnTo>
                  <a:pt x="219" y="54"/>
                </a:lnTo>
                <a:lnTo>
                  <a:pt x="222" y="54"/>
                </a:lnTo>
                <a:lnTo>
                  <a:pt x="225" y="57"/>
                </a:lnTo>
                <a:lnTo>
                  <a:pt x="228" y="57"/>
                </a:lnTo>
                <a:lnTo>
                  <a:pt x="228" y="63"/>
                </a:lnTo>
                <a:lnTo>
                  <a:pt x="228" y="63"/>
                </a:lnTo>
                <a:lnTo>
                  <a:pt x="228" y="63"/>
                </a:lnTo>
                <a:lnTo>
                  <a:pt x="231" y="66"/>
                </a:lnTo>
                <a:lnTo>
                  <a:pt x="231" y="69"/>
                </a:lnTo>
                <a:lnTo>
                  <a:pt x="231" y="72"/>
                </a:lnTo>
                <a:lnTo>
                  <a:pt x="231" y="72"/>
                </a:lnTo>
                <a:lnTo>
                  <a:pt x="228" y="72"/>
                </a:lnTo>
                <a:lnTo>
                  <a:pt x="228" y="72"/>
                </a:lnTo>
                <a:lnTo>
                  <a:pt x="231" y="79"/>
                </a:lnTo>
                <a:lnTo>
                  <a:pt x="235" y="82"/>
                </a:lnTo>
                <a:lnTo>
                  <a:pt x="238" y="85"/>
                </a:lnTo>
                <a:lnTo>
                  <a:pt x="238" y="85"/>
                </a:lnTo>
                <a:lnTo>
                  <a:pt x="238" y="85"/>
                </a:lnTo>
                <a:lnTo>
                  <a:pt x="238" y="85"/>
                </a:lnTo>
                <a:lnTo>
                  <a:pt x="241" y="85"/>
                </a:lnTo>
                <a:lnTo>
                  <a:pt x="241" y="88"/>
                </a:lnTo>
                <a:lnTo>
                  <a:pt x="244" y="88"/>
                </a:lnTo>
                <a:lnTo>
                  <a:pt x="244" y="91"/>
                </a:lnTo>
                <a:lnTo>
                  <a:pt x="244" y="91"/>
                </a:lnTo>
                <a:lnTo>
                  <a:pt x="247" y="91"/>
                </a:lnTo>
                <a:lnTo>
                  <a:pt x="250" y="94"/>
                </a:lnTo>
                <a:lnTo>
                  <a:pt x="250" y="94"/>
                </a:lnTo>
                <a:lnTo>
                  <a:pt x="253" y="94"/>
                </a:lnTo>
                <a:lnTo>
                  <a:pt x="260" y="97"/>
                </a:lnTo>
                <a:lnTo>
                  <a:pt x="260" y="101"/>
                </a:lnTo>
                <a:lnTo>
                  <a:pt x="263" y="101"/>
                </a:lnTo>
                <a:lnTo>
                  <a:pt x="263" y="97"/>
                </a:lnTo>
                <a:lnTo>
                  <a:pt x="263" y="97"/>
                </a:lnTo>
                <a:lnTo>
                  <a:pt x="266" y="94"/>
                </a:lnTo>
                <a:lnTo>
                  <a:pt x="269" y="94"/>
                </a:lnTo>
                <a:lnTo>
                  <a:pt x="269" y="94"/>
                </a:lnTo>
                <a:lnTo>
                  <a:pt x="269" y="91"/>
                </a:lnTo>
                <a:lnTo>
                  <a:pt x="269" y="91"/>
                </a:lnTo>
                <a:lnTo>
                  <a:pt x="272" y="85"/>
                </a:lnTo>
                <a:lnTo>
                  <a:pt x="275" y="82"/>
                </a:lnTo>
                <a:lnTo>
                  <a:pt x="278" y="82"/>
                </a:lnTo>
                <a:lnTo>
                  <a:pt x="278" y="82"/>
                </a:lnTo>
                <a:lnTo>
                  <a:pt x="278" y="82"/>
                </a:lnTo>
                <a:lnTo>
                  <a:pt x="281" y="82"/>
                </a:lnTo>
                <a:lnTo>
                  <a:pt x="281" y="79"/>
                </a:lnTo>
                <a:lnTo>
                  <a:pt x="285" y="79"/>
                </a:lnTo>
                <a:lnTo>
                  <a:pt x="288" y="82"/>
                </a:lnTo>
                <a:lnTo>
                  <a:pt x="291" y="79"/>
                </a:lnTo>
                <a:lnTo>
                  <a:pt x="294" y="82"/>
                </a:lnTo>
                <a:lnTo>
                  <a:pt x="294" y="82"/>
                </a:lnTo>
                <a:lnTo>
                  <a:pt x="297" y="82"/>
                </a:lnTo>
                <a:lnTo>
                  <a:pt x="300" y="82"/>
                </a:lnTo>
                <a:lnTo>
                  <a:pt x="300" y="85"/>
                </a:lnTo>
                <a:lnTo>
                  <a:pt x="306" y="88"/>
                </a:lnTo>
                <a:lnTo>
                  <a:pt x="310" y="94"/>
                </a:lnTo>
                <a:lnTo>
                  <a:pt x="310" y="97"/>
                </a:lnTo>
                <a:lnTo>
                  <a:pt x="310" y="101"/>
                </a:lnTo>
                <a:lnTo>
                  <a:pt x="313" y="104"/>
                </a:lnTo>
                <a:lnTo>
                  <a:pt x="313" y="107"/>
                </a:lnTo>
                <a:lnTo>
                  <a:pt x="313" y="107"/>
                </a:lnTo>
                <a:lnTo>
                  <a:pt x="316" y="110"/>
                </a:lnTo>
                <a:lnTo>
                  <a:pt x="319" y="119"/>
                </a:lnTo>
                <a:lnTo>
                  <a:pt x="319" y="119"/>
                </a:lnTo>
                <a:lnTo>
                  <a:pt x="319" y="122"/>
                </a:lnTo>
                <a:lnTo>
                  <a:pt x="322" y="122"/>
                </a:lnTo>
                <a:lnTo>
                  <a:pt x="325" y="126"/>
                </a:lnTo>
                <a:lnTo>
                  <a:pt x="325" y="129"/>
                </a:lnTo>
                <a:lnTo>
                  <a:pt x="328" y="135"/>
                </a:lnTo>
                <a:lnTo>
                  <a:pt x="328" y="138"/>
                </a:lnTo>
                <a:lnTo>
                  <a:pt x="328" y="141"/>
                </a:lnTo>
                <a:lnTo>
                  <a:pt x="328" y="141"/>
                </a:lnTo>
                <a:lnTo>
                  <a:pt x="328" y="144"/>
                </a:lnTo>
                <a:lnTo>
                  <a:pt x="331" y="154"/>
                </a:lnTo>
                <a:lnTo>
                  <a:pt x="331" y="160"/>
                </a:lnTo>
                <a:lnTo>
                  <a:pt x="335" y="163"/>
                </a:lnTo>
                <a:lnTo>
                  <a:pt x="335" y="163"/>
                </a:lnTo>
                <a:lnTo>
                  <a:pt x="338" y="163"/>
                </a:lnTo>
                <a:lnTo>
                  <a:pt x="338" y="163"/>
                </a:lnTo>
                <a:lnTo>
                  <a:pt x="341" y="163"/>
                </a:lnTo>
                <a:lnTo>
                  <a:pt x="344" y="166"/>
                </a:lnTo>
                <a:lnTo>
                  <a:pt x="350" y="169"/>
                </a:lnTo>
                <a:lnTo>
                  <a:pt x="356" y="173"/>
                </a:lnTo>
                <a:lnTo>
                  <a:pt x="360" y="173"/>
                </a:lnTo>
                <a:lnTo>
                  <a:pt x="360" y="176"/>
                </a:lnTo>
                <a:lnTo>
                  <a:pt x="363" y="176"/>
                </a:lnTo>
                <a:lnTo>
                  <a:pt x="360" y="179"/>
                </a:lnTo>
                <a:lnTo>
                  <a:pt x="363" y="176"/>
                </a:lnTo>
                <a:lnTo>
                  <a:pt x="366" y="169"/>
                </a:lnTo>
                <a:lnTo>
                  <a:pt x="369" y="169"/>
                </a:lnTo>
                <a:lnTo>
                  <a:pt x="366" y="169"/>
                </a:lnTo>
                <a:lnTo>
                  <a:pt x="366" y="176"/>
                </a:lnTo>
                <a:lnTo>
                  <a:pt x="366" y="176"/>
                </a:lnTo>
                <a:lnTo>
                  <a:pt x="363" y="182"/>
                </a:lnTo>
                <a:lnTo>
                  <a:pt x="360" y="185"/>
                </a:lnTo>
                <a:lnTo>
                  <a:pt x="360" y="188"/>
                </a:lnTo>
                <a:lnTo>
                  <a:pt x="360" y="188"/>
                </a:lnTo>
                <a:lnTo>
                  <a:pt x="360" y="188"/>
                </a:lnTo>
                <a:lnTo>
                  <a:pt x="360" y="185"/>
                </a:lnTo>
                <a:lnTo>
                  <a:pt x="356" y="182"/>
                </a:lnTo>
                <a:lnTo>
                  <a:pt x="356" y="188"/>
                </a:lnTo>
                <a:lnTo>
                  <a:pt x="353" y="191"/>
                </a:lnTo>
                <a:lnTo>
                  <a:pt x="356" y="194"/>
                </a:lnTo>
                <a:lnTo>
                  <a:pt x="356" y="194"/>
                </a:lnTo>
                <a:lnTo>
                  <a:pt x="353" y="201"/>
                </a:lnTo>
                <a:lnTo>
                  <a:pt x="353" y="204"/>
                </a:lnTo>
                <a:lnTo>
                  <a:pt x="353" y="207"/>
                </a:lnTo>
                <a:lnTo>
                  <a:pt x="353" y="210"/>
                </a:lnTo>
                <a:lnTo>
                  <a:pt x="353" y="213"/>
                </a:lnTo>
                <a:lnTo>
                  <a:pt x="353" y="216"/>
                </a:lnTo>
                <a:lnTo>
                  <a:pt x="350" y="226"/>
                </a:lnTo>
                <a:lnTo>
                  <a:pt x="350" y="232"/>
                </a:lnTo>
                <a:lnTo>
                  <a:pt x="350" y="241"/>
                </a:lnTo>
                <a:lnTo>
                  <a:pt x="347" y="244"/>
                </a:lnTo>
                <a:lnTo>
                  <a:pt x="347" y="248"/>
                </a:lnTo>
                <a:lnTo>
                  <a:pt x="350" y="254"/>
                </a:lnTo>
                <a:lnTo>
                  <a:pt x="347" y="260"/>
                </a:lnTo>
                <a:lnTo>
                  <a:pt x="353" y="266"/>
                </a:lnTo>
                <a:lnTo>
                  <a:pt x="353" y="273"/>
                </a:lnTo>
                <a:lnTo>
                  <a:pt x="353" y="273"/>
                </a:lnTo>
                <a:lnTo>
                  <a:pt x="353" y="266"/>
                </a:lnTo>
                <a:lnTo>
                  <a:pt x="347" y="260"/>
                </a:lnTo>
                <a:lnTo>
                  <a:pt x="347" y="266"/>
                </a:lnTo>
                <a:lnTo>
                  <a:pt x="350" y="269"/>
                </a:lnTo>
                <a:lnTo>
                  <a:pt x="353" y="276"/>
                </a:lnTo>
                <a:lnTo>
                  <a:pt x="353" y="279"/>
                </a:lnTo>
                <a:lnTo>
                  <a:pt x="353" y="282"/>
                </a:lnTo>
                <a:lnTo>
                  <a:pt x="353" y="285"/>
                </a:lnTo>
                <a:lnTo>
                  <a:pt x="356" y="288"/>
                </a:lnTo>
                <a:lnTo>
                  <a:pt x="366" y="301"/>
                </a:lnTo>
                <a:lnTo>
                  <a:pt x="369" y="304"/>
                </a:lnTo>
                <a:lnTo>
                  <a:pt x="372" y="310"/>
                </a:lnTo>
                <a:lnTo>
                  <a:pt x="372" y="313"/>
                </a:lnTo>
                <a:lnTo>
                  <a:pt x="372" y="316"/>
                </a:lnTo>
                <a:lnTo>
                  <a:pt x="381" y="326"/>
                </a:lnTo>
                <a:lnTo>
                  <a:pt x="381" y="329"/>
                </a:lnTo>
                <a:lnTo>
                  <a:pt x="385" y="329"/>
                </a:lnTo>
                <a:lnTo>
                  <a:pt x="391" y="329"/>
                </a:lnTo>
                <a:lnTo>
                  <a:pt x="391" y="329"/>
                </a:lnTo>
                <a:lnTo>
                  <a:pt x="397" y="332"/>
                </a:lnTo>
                <a:lnTo>
                  <a:pt x="400" y="338"/>
                </a:lnTo>
                <a:lnTo>
                  <a:pt x="403" y="345"/>
                </a:lnTo>
                <a:lnTo>
                  <a:pt x="406" y="341"/>
                </a:lnTo>
                <a:lnTo>
                  <a:pt x="413" y="341"/>
                </a:lnTo>
                <a:lnTo>
                  <a:pt x="416" y="341"/>
                </a:lnTo>
                <a:lnTo>
                  <a:pt x="419" y="341"/>
                </a:lnTo>
                <a:lnTo>
                  <a:pt x="425" y="338"/>
                </a:lnTo>
                <a:lnTo>
                  <a:pt x="428" y="335"/>
                </a:lnTo>
                <a:lnTo>
                  <a:pt x="435" y="335"/>
                </a:lnTo>
                <a:lnTo>
                  <a:pt x="438" y="335"/>
                </a:lnTo>
                <a:lnTo>
                  <a:pt x="444" y="332"/>
                </a:lnTo>
                <a:lnTo>
                  <a:pt x="447" y="332"/>
                </a:lnTo>
                <a:lnTo>
                  <a:pt x="453" y="332"/>
                </a:lnTo>
                <a:lnTo>
                  <a:pt x="453" y="332"/>
                </a:lnTo>
                <a:lnTo>
                  <a:pt x="460" y="332"/>
                </a:lnTo>
                <a:lnTo>
                  <a:pt x="456" y="335"/>
                </a:lnTo>
                <a:lnTo>
                  <a:pt x="453" y="338"/>
                </a:lnTo>
                <a:lnTo>
                  <a:pt x="460" y="338"/>
                </a:lnTo>
                <a:lnTo>
                  <a:pt x="463" y="341"/>
                </a:lnTo>
                <a:lnTo>
                  <a:pt x="463" y="338"/>
                </a:lnTo>
                <a:lnTo>
                  <a:pt x="466" y="338"/>
                </a:lnTo>
                <a:lnTo>
                  <a:pt x="469" y="335"/>
                </a:lnTo>
                <a:lnTo>
                  <a:pt x="469" y="329"/>
                </a:lnTo>
                <a:lnTo>
                  <a:pt x="469" y="326"/>
                </a:lnTo>
                <a:lnTo>
                  <a:pt x="466" y="329"/>
                </a:lnTo>
                <a:lnTo>
                  <a:pt x="466" y="326"/>
                </a:lnTo>
                <a:lnTo>
                  <a:pt x="472" y="323"/>
                </a:lnTo>
                <a:lnTo>
                  <a:pt x="475" y="323"/>
                </a:lnTo>
                <a:lnTo>
                  <a:pt x="481" y="316"/>
                </a:lnTo>
                <a:lnTo>
                  <a:pt x="481" y="310"/>
                </a:lnTo>
                <a:lnTo>
                  <a:pt x="488" y="304"/>
                </a:lnTo>
                <a:lnTo>
                  <a:pt x="488" y="301"/>
                </a:lnTo>
                <a:lnTo>
                  <a:pt x="488" y="288"/>
                </a:lnTo>
                <a:lnTo>
                  <a:pt x="494" y="282"/>
                </a:lnTo>
                <a:lnTo>
                  <a:pt x="491" y="282"/>
                </a:lnTo>
                <a:lnTo>
                  <a:pt x="491" y="279"/>
                </a:lnTo>
                <a:lnTo>
                  <a:pt x="503" y="276"/>
                </a:lnTo>
                <a:lnTo>
                  <a:pt x="522" y="276"/>
                </a:lnTo>
                <a:lnTo>
                  <a:pt x="525" y="269"/>
                </a:lnTo>
                <a:lnTo>
                  <a:pt x="528" y="269"/>
                </a:lnTo>
                <a:lnTo>
                  <a:pt x="532" y="273"/>
                </a:lnTo>
                <a:lnTo>
                  <a:pt x="535" y="269"/>
                </a:lnTo>
                <a:lnTo>
                  <a:pt x="535" y="266"/>
                </a:lnTo>
                <a:lnTo>
                  <a:pt x="544" y="266"/>
                </a:lnTo>
                <a:lnTo>
                  <a:pt x="550" y="269"/>
                </a:lnTo>
                <a:lnTo>
                  <a:pt x="553" y="269"/>
                </a:lnTo>
                <a:lnTo>
                  <a:pt x="553" y="266"/>
                </a:lnTo>
                <a:lnTo>
                  <a:pt x="557" y="266"/>
                </a:lnTo>
                <a:lnTo>
                  <a:pt x="563" y="273"/>
                </a:lnTo>
                <a:lnTo>
                  <a:pt x="563" y="279"/>
                </a:lnTo>
                <a:lnTo>
                  <a:pt x="560" y="282"/>
                </a:lnTo>
                <a:lnTo>
                  <a:pt x="557" y="291"/>
                </a:lnTo>
                <a:lnTo>
                  <a:pt x="547" y="298"/>
                </a:lnTo>
                <a:lnTo>
                  <a:pt x="544" y="301"/>
                </a:lnTo>
                <a:lnTo>
                  <a:pt x="544" y="307"/>
                </a:lnTo>
                <a:lnTo>
                  <a:pt x="541" y="307"/>
                </a:lnTo>
                <a:lnTo>
                  <a:pt x="541" y="310"/>
                </a:lnTo>
                <a:lnTo>
                  <a:pt x="541" y="313"/>
                </a:lnTo>
                <a:lnTo>
                  <a:pt x="544" y="313"/>
                </a:lnTo>
                <a:lnTo>
                  <a:pt x="544" y="316"/>
                </a:lnTo>
                <a:lnTo>
                  <a:pt x="541" y="320"/>
                </a:lnTo>
                <a:lnTo>
                  <a:pt x="541" y="323"/>
                </a:lnTo>
                <a:lnTo>
                  <a:pt x="541" y="323"/>
                </a:lnTo>
                <a:lnTo>
                  <a:pt x="544" y="320"/>
                </a:lnTo>
                <a:lnTo>
                  <a:pt x="547" y="320"/>
                </a:lnTo>
                <a:lnTo>
                  <a:pt x="544" y="323"/>
                </a:lnTo>
                <a:lnTo>
                  <a:pt x="541" y="335"/>
                </a:lnTo>
                <a:lnTo>
                  <a:pt x="538" y="341"/>
                </a:lnTo>
                <a:lnTo>
                  <a:pt x="535" y="341"/>
                </a:lnTo>
                <a:lnTo>
                  <a:pt x="535" y="338"/>
                </a:lnTo>
                <a:lnTo>
                  <a:pt x="532" y="335"/>
                </a:lnTo>
                <a:lnTo>
                  <a:pt x="528" y="335"/>
                </a:lnTo>
                <a:lnTo>
                  <a:pt x="532" y="332"/>
                </a:lnTo>
                <a:lnTo>
                  <a:pt x="532" y="329"/>
                </a:lnTo>
                <a:lnTo>
                  <a:pt x="528" y="329"/>
                </a:lnTo>
                <a:lnTo>
                  <a:pt x="525" y="335"/>
                </a:lnTo>
                <a:lnTo>
                  <a:pt x="522" y="338"/>
                </a:lnTo>
                <a:lnTo>
                  <a:pt x="522" y="338"/>
                </a:lnTo>
                <a:lnTo>
                  <a:pt x="522" y="338"/>
                </a:lnTo>
                <a:lnTo>
                  <a:pt x="519" y="338"/>
                </a:lnTo>
                <a:lnTo>
                  <a:pt x="519" y="341"/>
                </a:lnTo>
                <a:lnTo>
                  <a:pt x="516" y="345"/>
                </a:lnTo>
                <a:lnTo>
                  <a:pt x="516" y="348"/>
                </a:lnTo>
                <a:lnTo>
                  <a:pt x="513" y="348"/>
                </a:lnTo>
                <a:lnTo>
                  <a:pt x="513" y="348"/>
                </a:lnTo>
                <a:lnTo>
                  <a:pt x="513" y="348"/>
                </a:lnTo>
                <a:lnTo>
                  <a:pt x="510" y="348"/>
                </a:lnTo>
                <a:lnTo>
                  <a:pt x="510" y="348"/>
                </a:lnTo>
                <a:lnTo>
                  <a:pt x="510" y="348"/>
                </a:lnTo>
                <a:lnTo>
                  <a:pt x="506" y="348"/>
                </a:lnTo>
                <a:lnTo>
                  <a:pt x="506" y="351"/>
                </a:lnTo>
                <a:lnTo>
                  <a:pt x="472" y="351"/>
                </a:lnTo>
                <a:lnTo>
                  <a:pt x="472" y="360"/>
                </a:lnTo>
                <a:lnTo>
                  <a:pt x="463" y="360"/>
                </a:lnTo>
                <a:lnTo>
                  <a:pt x="466" y="363"/>
                </a:lnTo>
                <a:lnTo>
                  <a:pt x="466" y="366"/>
                </a:lnTo>
                <a:lnTo>
                  <a:pt x="469" y="370"/>
                </a:lnTo>
                <a:lnTo>
                  <a:pt x="472" y="373"/>
                </a:lnTo>
                <a:lnTo>
                  <a:pt x="475" y="373"/>
                </a:lnTo>
                <a:lnTo>
                  <a:pt x="475" y="376"/>
                </a:lnTo>
                <a:lnTo>
                  <a:pt x="478" y="376"/>
                </a:lnTo>
                <a:lnTo>
                  <a:pt x="478" y="379"/>
                </a:lnTo>
                <a:lnTo>
                  <a:pt x="481" y="379"/>
                </a:lnTo>
                <a:lnTo>
                  <a:pt x="485" y="379"/>
                </a:lnTo>
                <a:lnTo>
                  <a:pt x="485" y="382"/>
                </a:lnTo>
                <a:lnTo>
                  <a:pt x="481" y="385"/>
                </a:lnTo>
                <a:lnTo>
                  <a:pt x="456" y="385"/>
                </a:lnTo>
                <a:lnTo>
                  <a:pt x="444" y="404"/>
                </a:lnTo>
                <a:lnTo>
                  <a:pt x="444" y="407"/>
                </a:lnTo>
                <a:lnTo>
                  <a:pt x="447" y="407"/>
                </a:lnTo>
                <a:lnTo>
                  <a:pt x="444" y="410"/>
                </a:lnTo>
                <a:lnTo>
                  <a:pt x="447" y="410"/>
                </a:lnTo>
                <a:lnTo>
                  <a:pt x="447" y="413"/>
                </a:lnTo>
                <a:lnTo>
                  <a:pt x="447" y="413"/>
                </a:lnTo>
                <a:lnTo>
                  <a:pt x="444" y="417"/>
                </a:lnTo>
                <a:lnTo>
                  <a:pt x="444" y="417"/>
                </a:lnTo>
                <a:lnTo>
                  <a:pt x="444" y="417"/>
                </a:lnTo>
                <a:lnTo>
                  <a:pt x="441" y="413"/>
                </a:lnTo>
                <a:lnTo>
                  <a:pt x="435" y="410"/>
                </a:lnTo>
                <a:lnTo>
                  <a:pt x="435" y="407"/>
                </a:lnTo>
                <a:lnTo>
                  <a:pt x="431" y="407"/>
                </a:lnTo>
                <a:lnTo>
                  <a:pt x="416" y="395"/>
                </a:lnTo>
                <a:lnTo>
                  <a:pt x="416" y="391"/>
                </a:lnTo>
                <a:lnTo>
                  <a:pt x="416" y="391"/>
                </a:lnTo>
                <a:lnTo>
                  <a:pt x="413" y="385"/>
                </a:lnTo>
                <a:lnTo>
                  <a:pt x="406" y="382"/>
                </a:lnTo>
                <a:lnTo>
                  <a:pt x="403" y="382"/>
                </a:lnTo>
                <a:lnTo>
                  <a:pt x="403" y="382"/>
                </a:lnTo>
                <a:lnTo>
                  <a:pt x="403" y="382"/>
                </a:lnTo>
                <a:lnTo>
                  <a:pt x="403" y="382"/>
                </a:lnTo>
                <a:lnTo>
                  <a:pt x="410" y="385"/>
                </a:lnTo>
                <a:lnTo>
                  <a:pt x="413" y="391"/>
                </a:lnTo>
                <a:lnTo>
                  <a:pt x="413" y="391"/>
                </a:lnTo>
                <a:lnTo>
                  <a:pt x="410" y="388"/>
                </a:lnTo>
                <a:lnTo>
                  <a:pt x="403" y="385"/>
                </a:lnTo>
                <a:lnTo>
                  <a:pt x="400" y="385"/>
                </a:lnTo>
                <a:lnTo>
                  <a:pt x="397" y="385"/>
                </a:lnTo>
                <a:lnTo>
                  <a:pt x="397" y="385"/>
                </a:lnTo>
                <a:lnTo>
                  <a:pt x="397" y="382"/>
                </a:lnTo>
                <a:lnTo>
                  <a:pt x="400" y="382"/>
                </a:lnTo>
                <a:lnTo>
                  <a:pt x="400" y="382"/>
                </a:lnTo>
                <a:lnTo>
                  <a:pt x="397" y="382"/>
                </a:lnTo>
                <a:lnTo>
                  <a:pt x="394" y="382"/>
                </a:lnTo>
                <a:lnTo>
                  <a:pt x="394" y="379"/>
                </a:lnTo>
                <a:lnTo>
                  <a:pt x="394" y="379"/>
                </a:lnTo>
                <a:lnTo>
                  <a:pt x="388" y="382"/>
                </a:lnTo>
                <a:lnTo>
                  <a:pt x="388" y="385"/>
                </a:lnTo>
                <a:lnTo>
                  <a:pt x="391" y="385"/>
                </a:lnTo>
                <a:lnTo>
                  <a:pt x="397" y="385"/>
                </a:lnTo>
                <a:lnTo>
                  <a:pt x="397" y="385"/>
                </a:lnTo>
                <a:lnTo>
                  <a:pt x="394" y="385"/>
                </a:lnTo>
                <a:lnTo>
                  <a:pt x="388" y="385"/>
                </a:lnTo>
                <a:lnTo>
                  <a:pt x="385" y="385"/>
                </a:lnTo>
                <a:lnTo>
                  <a:pt x="378" y="391"/>
                </a:lnTo>
                <a:lnTo>
                  <a:pt x="375" y="391"/>
                </a:lnTo>
                <a:lnTo>
                  <a:pt x="366" y="395"/>
                </a:lnTo>
                <a:lnTo>
                  <a:pt x="363" y="395"/>
                </a:lnTo>
                <a:lnTo>
                  <a:pt x="350" y="391"/>
                </a:lnTo>
                <a:lnTo>
                  <a:pt x="347" y="388"/>
                </a:lnTo>
                <a:lnTo>
                  <a:pt x="341" y="388"/>
                </a:lnTo>
                <a:lnTo>
                  <a:pt x="331" y="385"/>
                </a:lnTo>
                <a:lnTo>
                  <a:pt x="328" y="382"/>
                </a:lnTo>
                <a:lnTo>
                  <a:pt x="328" y="385"/>
                </a:lnTo>
                <a:lnTo>
                  <a:pt x="325" y="382"/>
                </a:lnTo>
                <a:lnTo>
                  <a:pt x="319" y="382"/>
                </a:lnTo>
                <a:lnTo>
                  <a:pt x="316" y="376"/>
                </a:lnTo>
                <a:lnTo>
                  <a:pt x="316" y="376"/>
                </a:lnTo>
                <a:lnTo>
                  <a:pt x="313" y="376"/>
                </a:lnTo>
                <a:lnTo>
                  <a:pt x="306" y="376"/>
                </a:lnTo>
                <a:lnTo>
                  <a:pt x="300" y="376"/>
                </a:lnTo>
                <a:lnTo>
                  <a:pt x="300" y="370"/>
                </a:lnTo>
                <a:lnTo>
                  <a:pt x="294" y="366"/>
                </a:lnTo>
                <a:lnTo>
                  <a:pt x="285" y="366"/>
                </a:lnTo>
                <a:lnTo>
                  <a:pt x="275" y="363"/>
                </a:lnTo>
                <a:lnTo>
                  <a:pt x="272" y="357"/>
                </a:lnTo>
                <a:lnTo>
                  <a:pt x="269" y="357"/>
                </a:lnTo>
                <a:lnTo>
                  <a:pt x="260" y="348"/>
                </a:lnTo>
                <a:lnTo>
                  <a:pt x="256" y="345"/>
                </a:lnTo>
                <a:lnTo>
                  <a:pt x="253" y="345"/>
                </a:lnTo>
                <a:lnTo>
                  <a:pt x="253" y="348"/>
                </a:lnTo>
                <a:lnTo>
                  <a:pt x="250" y="348"/>
                </a:lnTo>
                <a:lnTo>
                  <a:pt x="244" y="345"/>
                </a:lnTo>
                <a:lnTo>
                  <a:pt x="241" y="345"/>
                </a:lnTo>
                <a:lnTo>
                  <a:pt x="238" y="341"/>
                </a:lnTo>
                <a:lnTo>
                  <a:pt x="235" y="341"/>
                </a:lnTo>
                <a:lnTo>
                  <a:pt x="231" y="341"/>
                </a:lnTo>
                <a:lnTo>
                  <a:pt x="228" y="335"/>
                </a:lnTo>
                <a:lnTo>
                  <a:pt x="225" y="332"/>
                </a:lnTo>
                <a:lnTo>
                  <a:pt x="219" y="326"/>
                </a:lnTo>
                <a:lnTo>
                  <a:pt x="216" y="326"/>
                </a:lnTo>
                <a:lnTo>
                  <a:pt x="216" y="323"/>
                </a:lnTo>
                <a:lnTo>
                  <a:pt x="216" y="320"/>
                </a:lnTo>
                <a:lnTo>
                  <a:pt x="216" y="320"/>
                </a:lnTo>
                <a:lnTo>
                  <a:pt x="210" y="323"/>
                </a:lnTo>
                <a:lnTo>
                  <a:pt x="203" y="320"/>
                </a:lnTo>
                <a:lnTo>
                  <a:pt x="203" y="316"/>
                </a:lnTo>
                <a:lnTo>
                  <a:pt x="200" y="316"/>
                </a:lnTo>
                <a:lnTo>
                  <a:pt x="197" y="316"/>
                </a:lnTo>
                <a:lnTo>
                  <a:pt x="197" y="310"/>
                </a:lnTo>
                <a:lnTo>
                  <a:pt x="194" y="307"/>
                </a:lnTo>
                <a:lnTo>
                  <a:pt x="194" y="304"/>
                </a:lnTo>
                <a:lnTo>
                  <a:pt x="191" y="301"/>
                </a:lnTo>
                <a:lnTo>
                  <a:pt x="188" y="295"/>
                </a:lnTo>
                <a:lnTo>
                  <a:pt x="188" y="291"/>
                </a:lnTo>
                <a:lnTo>
                  <a:pt x="191" y="291"/>
                </a:lnTo>
                <a:lnTo>
                  <a:pt x="194" y="291"/>
                </a:lnTo>
                <a:lnTo>
                  <a:pt x="197" y="288"/>
                </a:lnTo>
                <a:lnTo>
                  <a:pt x="194" y="288"/>
                </a:lnTo>
                <a:lnTo>
                  <a:pt x="191" y="285"/>
                </a:lnTo>
                <a:lnTo>
                  <a:pt x="194" y="285"/>
                </a:lnTo>
                <a:lnTo>
                  <a:pt x="197" y="279"/>
                </a:lnTo>
                <a:lnTo>
                  <a:pt x="200" y="276"/>
                </a:lnTo>
                <a:lnTo>
                  <a:pt x="200" y="273"/>
                </a:lnTo>
                <a:lnTo>
                  <a:pt x="194" y="260"/>
                </a:lnTo>
                <a:lnTo>
                  <a:pt x="194" y="257"/>
                </a:lnTo>
                <a:lnTo>
                  <a:pt x="191" y="254"/>
                </a:lnTo>
                <a:lnTo>
                  <a:pt x="194" y="251"/>
                </a:lnTo>
                <a:lnTo>
                  <a:pt x="191" y="244"/>
                </a:lnTo>
                <a:lnTo>
                  <a:pt x="185" y="238"/>
                </a:lnTo>
                <a:lnTo>
                  <a:pt x="185" y="232"/>
                </a:lnTo>
                <a:lnTo>
                  <a:pt x="178" y="226"/>
                </a:lnTo>
                <a:lnTo>
                  <a:pt x="175" y="219"/>
                </a:lnTo>
                <a:lnTo>
                  <a:pt x="169" y="210"/>
                </a:lnTo>
                <a:lnTo>
                  <a:pt x="163" y="207"/>
                </a:lnTo>
                <a:lnTo>
                  <a:pt x="160" y="204"/>
                </a:lnTo>
                <a:lnTo>
                  <a:pt x="160" y="201"/>
                </a:lnTo>
                <a:lnTo>
                  <a:pt x="153" y="201"/>
                </a:lnTo>
                <a:lnTo>
                  <a:pt x="150" y="198"/>
                </a:lnTo>
                <a:lnTo>
                  <a:pt x="150" y="198"/>
                </a:lnTo>
                <a:lnTo>
                  <a:pt x="153" y="194"/>
                </a:lnTo>
                <a:lnTo>
                  <a:pt x="156" y="191"/>
                </a:lnTo>
                <a:lnTo>
                  <a:pt x="153" y="188"/>
                </a:lnTo>
                <a:lnTo>
                  <a:pt x="153" y="185"/>
                </a:lnTo>
                <a:lnTo>
                  <a:pt x="150" y="185"/>
                </a:lnTo>
                <a:lnTo>
                  <a:pt x="150" y="185"/>
                </a:lnTo>
                <a:lnTo>
                  <a:pt x="144" y="182"/>
                </a:lnTo>
                <a:lnTo>
                  <a:pt x="138" y="176"/>
                </a:lnTo>
                <a:lnTo>
                  <a:pt x="135" y="176"/>
                </a:lnTo>
                <a:lnTo>
                  <a:pt x="131" y="176"/>
                </a:lnTo>
                <a:lnTo>
                  <a:pt x="128" y="173"/>
                </a:lnTo>
                <a:lnTo>
                  <a:pt x="128" y="169"/>
                </a:lnTo>
                <a:lnTo>
                  <a:pt x="128" y="163"/>
                </a:lnTo>
                <a:lnTo>
                  <a:pt x="131" y="160"/>
                </a:lnTo>
                <a:lnTo>
                  <a:pt x="135" y="157"/>
                </a:lnTo>
                <a:lnTo>
                  <a:pt x="138" y="160"/>
                </a:lnTo>
                <a:lnTo>
                  <a:pt x="138" y="157"/>
                </a:lnTo>
                <a:lnTo>
                  <a:pt x="138" y="157"/>
                </a:lnTo>
                <a:lnTo>
                  <a:pt x="138" y="154"/>
                </a:lnTo>
                <a:lnTo>
                  <a:pt x="135" y="157"/>
                </a:lnTo>
                <a:lnTo>
                  <a:pt x="131" y="154"/>
                </a:lnTo>
                <a:lnTo>
                  <a:pt x="131" y="151"/>
                </a:lnTo>
                <a:lnTo>
                  <a:pt x="128" y="147"/>
                </a:lnTo>
                <a:lnTo>
                  <a:pt x="125" y="147"/>
                </a:lnTo>
                <a:lnTo>
                  <a:pt x="122" y="147"/>
                </a:lnTo>
                <a:lnTo>
                  <a:pt x="122" y="144"/>
                </a:lnTo>
                <a:lnTo>
                  <a:pt x="122" y="141"/>
                </a:lnTo>
                <a:lnTo>
                  <a:pt x="119" y="138"/>
                </a:lnTo>
                <a:lnTo>
                  <a:pt x="116" y="138"/>
                </a:lnTo>
                <a:lnTo>
                  <a:pt x="110" y="132"/>
                </a:lnTo>
                <a:lnTo>
                  <a:pt x="110" y="129"/>
                </a:lnTo>
                <a:lnTo>
                  <a:pt x="110" y="126"/>
                </a:lnTo>
                <a:lnTo>
                  <a:pt x="110" y="122"/>
                </a:lnTo>
                <a:lnTo>
                  <a:pt x="110" y="119"/>
                </a:lnTo>
                <a:lnTo>
                  <a:pt x="106" y="119"/>
                </a:lnTo>
                <a:lnTo>
                  <a:pt x="103" y="119"/>
                </a:lnTo>
                <a:lnTo>
                  <a:pt x="103" y="119"/>
                </a:lnTo>
                <a:lnTo>
                  <a:pt x="100" y="116"/>
                </a:lnTo>
                <a:lnTo>
                  <a:pt x="100" y="116"/>
                </a:lnTo>
                <a:lnTo>
                  <a:pt x="97" y="113"/>
                </a:lnTo>
                <a:lnTo>
                  <a:pt x="97" y="107"/>
                </a:lnTo>
                <a:lnTo>
                  <a:pt x="94" y="107"/>
                </a:lnTo>
                <a:lnTo>
                  <a:pt x="91" y="104"/>
                </a:lnTo>
                <a:lnTo>
                  <a:pt x="91" y="101"/>
                </a:lnTo>
                <a:lnTo>
                  <a:pt x="91" y="97"/>
                </a:lnTo>
                <a:lnTo>
                  <a:pt x="88" y="97"/>
                </a:lnTo>
                <a:lnTo>
                  <a:pt x="85" y="88"/>
                </a:lnTo>
                <a:lnTo>
                  <a:pt x="85" y="88"/>
                </a:lnTo>
                <a:lnTo>
                  <a:pt x="81" y="88"/>
                </a:lnTo>
                <a:lnTo>
                  <a:pt x="81" y="85"/>
                </a:lnTo>
                <a:lnTo>
                  <a:pt x="81" y="82"/>
                </a:lnTo>
                <a:lnTo>
                  <a:pt x="81" y="82"/>
                </a:lnTo>
                <a:lnTo>
                  <a:pt x="78" y="76"/>
                </a:lnTo>
                <a:lnTo>
                  <a:pt x="75" y="69"/>
                </a:lnTo>
                <a:lnTo>
                  <a:pt x="78" y="69"/>
                </a:lnTo>
                <a:lnTo>
                  <a:pt x="75" y="63"/>
                </a:lnTo>
                <a:lnTo>
                  <a:pt x="75" y="60"/>
                </a:lnTo>
                <a:lnTo>
                  <a:pt x="75" y="54"/>
                </a:lnTo>
                <a:lnTo>
                  <a:pt x="72" y="47"/>
                </a:lnTo>
                <a:lnTo>
                  <a:pt x="72" y="44"/>
                </a:lnTo>
                <a:lnTo>
                  <a:pt x="75" y="41"/>
                </a:lnTo>
                <a:lnTo>
                  <a:pt x="75" y="41"/>
                </a:lnTo>
                <a:lnTo>
                  <a:pt x="69" y="38"/>
                </a:lnTo>
                <a:lnTo>
                  <a:pt x="66" y="38"/>
                </a:lnTo>
                <a:lnTo>
                  <a:pt x="66" y="35"/>
                </a:lnTo>
                <a:lnTo>
                  <a:pt x="63" y="32"/>
                </a:lnTo>
                <a:lnTo>
                  <a:pt x="60" y="35"/>
                </a:lnTo>
                <a:lnTo>
                  <a:pt x="56" y="35"/>
                </a:lnTo>
                <a:lnTo>
                  <a:pt x="53" y="32"/>
                </a:lnTo>
                <a:lnTo>
                  <a:pt x="50" y="29"/>
                </a:lnTo>
                <a:lnTo>
                  <a:pt x="47" y="25"/>
                </a:lnTo>
                <a:lnTo>
                  <a:pt x="44" y="19"/>
                </a:lnTo>
                <a:lnTo>
                  <a:pt x="44" y="25"/>
                </a:lnTo>
                <a:lnTo>
                  <a:pt x="44" y="29"/>
                </a:lnTo>
                <a:lnTo>
                  <a:pt x="44" y="35"/>
                </a:lnTo>
                <a:lnTo>
                  <a:pt x="41" y="38"/>
                </a:lnTo>
                <a:lnTo>
                  <a:pt x="44" y="47"/>
                </a:lnTo>
                <a:lnTo>
                  <a:pt x="44" y="63"/>
                </a:lnTo>
                <a:lnTo>
                  <a:pt x="41" y="66"/>
                </a:lnTo>
                <a:lnTo>
                  <a:pt x="44" y="66"/>
                </a:lnTo>
                <a:lnTo>
                  <a:pt x="47" y="72"/>
                </a:lnTo>
                <a:lnTo>
                  <a:pt x="47" y="76"/>
                </a:lnTo>
                <a:lnTo>
                  <a:pt x="47" y="76"/>
                </a:lnTo>
                <a:lnTo>
                  <a:pt x="50" y="79"/>
                </a:lnTo>
                <a:lnTo>
                  <a:pt x="56" y="82"/>
                </a:lnTo>
                <a:lnTo>
                  <a:pt x="56" y="88"/>
                </a:lnTo>
                <a:lnTo>
                  <a:pt x="56" y="91"/>
                </a:lnTo>
                <a:lnTo>
                  <a:pt x="56" y="94"/>
                </a:lnTo>
                <a:lnTo>
                  <a:pt x="60" y="97"/>
                </a:lnTo>
                <a:lnTo>
                  <a:pt x="63" y="97"/>
                </a:lnTo>
                <a:lnTo>
                  <a:pt x="63" y="104"/>
                </a:lnTo>
                <a:lnTo>
                  <a:pt x="66" y="104"/>
                </a:lnTo>
                <a:lnTo>
                  <a:pt x="66" y="107"/>
                </a:lnTo>
                <a:lnTo>
                  <a:pt x="72" y="110"/>
                </a:lnTo>
                <a:lnTo>
                  <a:pt x="69" y="113"/>
                </a:lnTo>
                <a:lnTo>
                  <a:pt x="69" y="119"/>
                </a:lnTo>
                <a:lnTo>
                  <a:pt x="75" y="122"/>
                </a:lnTo>
                <a:lnTo>
                  <a:pt x="75" y="122"/>
                </a:lnTo>
                <a:lnTo>
                  <a:pt x="78" y="129"/>
                </a:lnTo>
                <a:lnTo>
                  <a:pt x="78" y="135"/>
                </a:lnTo>
                <a:lnTo>
                  <a:pt x="81" y="135"/>
                </a:lnTo>
                <a:lnTo>
                  <a:pt x="81" y="138"/>
                </a:lnTo>
                <a:lnTo>
                  <a:pt x="81" y="141"/>
                </a:lnTo>
                <a:lnTo>
                  <a:pt x="81" y="144"/>
                </a:lnTo>
                <a:lnTo>
                  <a:pt x="85" y="151"/>
                </a:lnTo>
                <a:lnTo>
                  <a:pt x="88" y="147"/>
                </a:lnTo>
                <a:lnTo>
                  <a:pt x="88" y="144"/>
                </a:lnTo>
                <a:lnTo>
                  <a:pt x="88" y="144"/>
                </a:lnTo>
                <a:lnTo>
                  <a:pt x="88" y="144"/>
                </a:lnTo>
                <a:lnTo>
                  <a:pt x="88" y="147"/>
                </a:lnTo>
                <a:lnTo>
                  <a:pt x="91" y="151"/>
                </a:lnTo>
                <a:lnTo>
                  <a:pt x="94" y="157"/>
                </a:lnTo>
                <a:lnTo>
                  <a:pt x="91" y="160"/>
                </a:lnTo>
                <a:lnTo>
                  <a:pt x="91" y="166"/>
                </a:lnTo>
                <a:lnTo>
                  <a:pt x="94" y="169"/>
                </a:lnTo>
                <a:lnTo>
                  <a:pt x="94" y="173"/>
                </a:lnTo>
                <a:lnTo>
                  <a:pt x="97" y="176"/>
                </a:lnTo>
                <a:lnTo>
                  <a:pt x="97" y="179"/>
                </a:lnTo>
                <a:lnTo>
                  <a:pt x="97" y="179"/>
                </a:lnTo>
                <a:lnTo>
                  <a:pt x="97" y="182"/>
                </a:lnTo>
                <a:lnTo>
                  <a:pt x="97" y="185"/>
                </a:lnTo>
                <a:lnTo>
                  <a:pt x="100" y="188"/>
                </a:lnTo>
                <a:lnTo>
                  <a:pt x="100" y="191"/>
                </a:lnTo>
                <a:lnTo>
                  <a:pt x="97" y="198"/>
                </a:lnTo>
                <a:lnTo>
                  <a:pt x="97" y="201"/>
                </a:lnTo>
                <a:lnTo>
                  <a:pt x="100" y="204"/>
                </a:lnTo>
                <a:lnTo>
                  <a:pt x="103" y="207"/>
                </a:lnTo>
                <a:lnTo>
                  <a:pt x="106" y="207"/>
                </a:lnTo>
                <a:lnTo>
                  <a:pt x="106" y="207"/>
                </a:lnTo>
                <a:lnTo>
                  <a:pt x="106" y="204"/>
                </a:lnTo>
                <a:lnTo>
                  <a:pt x="106" y="204"/>
                </a:lnTo>
                <a:lnTo>
                  <a:pt x="110" y="204"/>
                </a:lnTo>
                <a:lnTo>
                  <a:pt x="113" y="207"/>
                </a:lnTo>
                <a:lnTo>
                  <a:pt x="113" y="210"/>
                </a:lnTo>
                <a:lnTo>
                  <a:pt x="116" y="210"/>
                </a:lnTo>
                <a:lnTo>
                  <a:pt x="116" y="216"/>
                </a:lnTo>
                <a:lnTo>
                  <a:pt x="119" y="216"/>
                </a:lnTo>
                <a:lnTo>
                  <a:pt x="119" y="219"/>
                </a:lnTo>
                <a:lnTo>
                  <a:pt x="122" y="223"/>
                </a:lnTo>
                <a:lnTo>
                  <a:pt x="122" y="226"/>
                </a:lnTo>
                <a:lnTo>
                  <a:pt x="119" y="232"/>
                </a:lnTo>
                <a:lnTo>
                  <a:pt x="113" y="235"/>
                </a:lnTo>
                <a:lnTo>
                  <a:pt x="110" y="235"/>
                </a:lnTo>
                <a:lnTo>
                  <a:pt x="110" y="229"/>
                </a:lnTo>
                <a:lnTo>
                  <a:pt x="110" y="229"/>
                </a:lnTo>
                <a:lnTo>
                  <a:pt x="106" y="226"/>
                </a:lnTo>
                <a:lnTo>
                  <a:pt x="106" y="219"/>
                </a:lnTo>
                <a:lnTo>
                  <a:pt x="103" y="216"/>
                </a:lnTo>
                <a:lnTo>
                  <a:pt x="100" y="216"/>
                </a:lnTo>
                <a:lnTo>
                  <a:pt x="97" y="213"/>
                </a:lnTo>
                <a:lnTo>
                  <a:pt x="94" y="210"/>
                </a:lnTo>
                <a:lnTo>
                  <a:pt x="91" y="210"/>
                </a:lnTo>
                <a:lnTo>
                  <a:pt x="85" y="201"/>
                </a:lnTo>
                <a:lnTo>
                  <a:pt x="81" y="198"/>
                </a:lnTo>
                <a:lnTo>
                  <a:pt x="78" y="198"/>
                </a:lnTo>
                <a:lnTo>
                  <a:pt x="78" y="194"/>
                </a:lnTo>
                <a:lnTo>
                  <a:pt x="75" y="194"/>
                </a:lnTo>
                <a:lnTo>
                  <a:pt x="72" y="191"/>
                </a:lnTo>
                <a:lnTo>
                  <a:pt x="72" y="188"/>
                </a:lnTo>
                <a:lnTo>
                  <a:pt x="75" y="182"/>
                </a:lnTo>
                <a:lnTo>
                  <a:pt x="75" y="176"/>
                </a:lnTo>
                <a:lnTo>
                  <a:pt x="75" y="166"/>
                </a:lnTo>
                <a:lnTo>
                  <a:pt x="72" y="160"/>
                </a:lnTo>
                <a:lnTo>
                  <a:pt x="72" y="157"/>
                </a:lnTo>
                <a:lnTo>
                  <a:pt x="69" y="157"/>
                </a:lnTo>
                <a:lnTo>
                  <a:pt x="66" y="157"/>
                </a:lnTo>
                <a:lnTo>
                  <a:pt x="60" y="151"/>
                </a:lnTo>
                <a:lnTo>
                  <a:pt x="60" y="144"/>
                </a:lnTo>
                <a:lnTo>
                  <a:pt x="60" y="141"/>
                </a:lnTo>
                <a:lnTo>
                  <a:pt x="56" y="141"/>
                </a:lnTo>
                <a:lnTo>
                  <a:pt x="53" y="144"/>
                </a:lnTo>
                <a:lnTo>
                  <a:pt x="53" y="144"/>
                </a:lnTo>
                <a:lnTo>
                  <a:pt x="50" y="144"/>
                </a:lnTo>
                <a:lnTo>
                  <a:pt x="47" y="141"/>
                </a:lnTo>
                <a:lnTo>
                  <a:pt x="47" y="141"/>
                </a:lnTo>
                <a:lnTo>
                  <a:pt x="47" y="141"/>
                </a:lnTo>
                <a:lnTo>
                  <a:pt x="44" y="141"/>
                </a:lnTo>
                <a:lnTo>
                  <a:pt x="44" y="138"/>
                </a:lnTo>
                <a:lnTo>
                  <a:pt x="38" y="135"/>
                </a:lnTo>
                <a:lnTo>
                  <a:pt x="35" y="135"/>
                </a:lnTo>
                <a:lnTo>
                  <a:pt x="35" y="132"/>
                </a:lnTo>
                <a:lnTo>
                  <a:pt x="35" y="129"/>
                </a:lnTo>
                <a:lnTo>
                  <a:pt x="28" y="126"/>
                </a:lnTo>
                <a:lnTo>
                  <a:pt x="25" y="119"/>
                </a:lnTo>
                <a:lnTo>
                  <a:pt x="28" y="119"/>
                </a:lnTo>
                <a:lnTo>
                  <a:pt x="31" y="119"/>
                </a:lnTo>
                <a:lnTo>
                  <a:pt x="35" y="119"/>
                </a:lnTo>
                <a:lnTo>
                  <a:pt x="41" y="122"/>
                </a:lnTo>
                <a:lnTo>
                  <a:pt x="44" y="122"/>
                </a:lnTo>
                <a:lnTo>
                  <a:pt x="44" y="122"/>
                </a:lnTo>
                <a:lnTo>
                  <a:pt x="44" y="119"/>
                </a:lnTo>
                <a:lnTo>
                  <a:pt x="41" y="119"/>
                </a:lnTo>
                <a:lnTo>
                  <a:pt x="41" y="116"/>
                </a:lnTo>
                <a:lnTo>
                  <a:pt x="44" y="116"/>
                </a:lnTo>
                <a:lnTo>
                  <a:pt x="44" y="116"/>
                </a:lnTo>
                <a:lnTo>
                  <a:pt x="47" y="113"/>
                </a:lnTo>
                <a:lnTo>
                  <a:pt x="44" y="110"/>
                </a:lnTo>
                <a:lnTo>
                  <a:pt x="44" y="107"/>
                </a:lnTo>
                <a:lnTo>
                  <a:pt x="47" y="107"/>
                </a:lnTo>
                <a:lnTo>
                  <a:pt x="44" y="101"/>
                </a:lnTo>
                <a:lnTo>
                  <a:pt x="44" y="101"/>
                </a:lnTo>
                <a:lnTo>
                  <a:pt x="41" y="94"/>
                </a:lnTo>
                <a:lnTo>
                  <a:pt x="35" y="91"/>
                </a:lnTo>
                <a:lnTo>
                  <a:pt x="35" y="88"/>
                </a:lnTo>
                <a:lnTo>
                  <a:pt x="31" y="82"/>
                </a:lnTo>
                <a:lnTo>
                  <a:pt x="25" y="76"/>
                </a:lnTo>
                <a:lnTo>
                  <a:pt x="25" y="79"/>
                </a:lnTo>
                <a:lnTo>
                  <a:pt x="22" y="72"/>
                </a:lnTo>
                <a:lnTo>
                  <a:pt x="19" y="69"/>
                </a:lnTo>
                <a:lnTo>
                  <a:pt x="19" y="63"/>
                </a:lnTo>
                <a:lnTo>
                  <a:pt x="19" y="60"/>
                </a:lnTo>
                <a:lnTo>
                  <a:pt x="16" y="57"/>
                </a:lnTo>
                <a:lnTo>
                  <a:pt x="16" y="54"/>
                </a:lnTo>
                <a:lnTo>
                  <a:pt x="16" y="51"/>
                </a:lnTo>
                <a:lnTo>
                  <a:pt x="16" y="47"/>
                </a:lnTo>
                <a:lnTo>
                  <a:pt x="13" y="44"/>
                </a:lnTo>
                <a:lnTo>
                  <a:pt x="13" y="41"/>
                </a:lnTo>
                <a:lnTo>
                  <a:pt x="13" y="41"/>
                </a:lnTo>
                <a:lnTo>
                  <a:pt x="13" y="38"/>
                </a:lnTo>
                <a:lnTo>
                  <a:pt x="6" y="32"/>
                </a:lnTo>
                <a:lnTo>
                  <a:pt x="6" y="29"/>
                </a:lnTo>
                <a:lnTo>
                  <a:pt x="6" y="25"/>
                </a:lnTo>
                <a:lnTo>
                  <a:pt x="10" y="25"/>
                </a:lnTo>
                <a:lnTo>
                  <a:pt x="6" y="22"/>
                </a:lnTo>
                <a:lnTo>
                  <a:pt x="3" y="16"/>
                </a:lnTo>
                <a:lnTo>
                  <a:pt x="0" y="7"/>
                </a:lnTo>
                <a:lnTo>
                  <a:pt x="0" y="4"/>
                </a:lnTo>
                <a:lnTo>
                  <a:pt x="0" y="4"/>
                </a:lnTo>
                <a:close/>
                <a:moveTo>
                  <a:pt x="103" y="191"/>
                </a:moveTo>
                <a:lnTo>
                  <a:pt x="103" y="188"/>
                </a:lnTo>
                <a:lnTo>
                  <a:pt x="103" y="188"/>
                </a:lnTo>
                <a:lnTo>
                  <a:pt x="103" y="185"/>
                </a:lnTo>
                <a:lnTo>
                  <a:pt x="100" y="185"/>
                </a:lnTo>
                <a:lnTo>
                  <a:pt x="103" y="188"/>
                </a:lnTo>
                <a:lnTo>
                  <a:pt x="103" y="191"/>
                </a:lnTo>
                <a:lnTo>
                  <a:pt x="103" y="191"/>
                </a:lnTo>
                <a:close/>
                <a:moveTo>
                  <a:pt x="106" y="201"/>
                </a:moveTo>
                <a:lnTo>
                  <a:pt x="106" y="201"/>
                </a:lnTo>
                <a:lnTo>
                  <a:pt x="106" y="201"/>
                </a:lnTo>
                <a:lnTo>
                  <a:pt x="110" y="201"/>
                </a:lnTo>
                <a:lnTo>
                  <a:pt x="106" y="201"/>
                </a:lnTo>
                <a:lnTo>
                  <a:pt x="106" y="201"/>
                </a:lnTo>
                <a:close/>
                <a:moveTo>
                  <a:pt x="356" y="194"/>
                </a:moveTo>
                <a:lnTo>
                  <a:pt x="360" y="194"/>
                </a:lnTo>
                <a:lnTo>
                  <a:pt x="360" y="191"/>
                </a:lnTo>
                <a:lnTo>
                  <a:pt x="356" y="191"/>
                </a:lnTo>
                <a:lnTo>
                  <a:pt x="356" y="194"/>
                </a:lnTo>
                <a:lnTo>
                  <a:pt x="356" y="194"/>
                </a:lnTo>
                <a:close/>
                <a:moveTo>
                  <a:pt x="356" y="198"/>
                </a:moveTo>
                <a:lnTo>
                  <a:pt x="356" y="198"/>
                </a:lnTo>
                <a:lnTo>
                  <a:pt x="356" y="194"/>
                </a:lnTo>
                <a:lnTo>
                  <a:pt x="356" y="194"/>
                </a:lnTo>
                <a:lnTo>
                  <a:pt x="356" y="198"/>
                </a:lnTo>
                <a:lnTo>
                  <a:pt x="356" y="198"/>
                </a:lnTo>
                <a:close/>
                <a:moveTo>
                  <a:pt x="353" y="207"/>
                </a:moveTo>
                <a:lnTo>
                  <a:pt x="356" y="204"/>
                </a:lnTo>
                <a:lnTo>
                  <a:pt x="356" y="201"/>
                </a:lnTo>
                <a:lnTo>
                  <a:pt x="353" y="20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8" name="Freeform 186">
            <a:extLst>
              <a:ext uri="{FF2B5EF4-FFF2-40B4-BE49-F238E27FC236}">
                <a16:creationId xmlns:a16="http://schemas.microsoft.com/office/drawing/2014/main" id="{99A70323-1BE6-74D2-CAFB-2866B1FDE2E7}"/>
              </a:ext>
            </a:extLst>
          </p:cNvPr>
          <p:cNvSpPr>
            <a:spLocks noEditPoints="1"/>
          </p:cNvSpPr>
          <p:nvPr userDrawn="1"/>
        </p:nvSpPr>
        <p:spPr bwMode="auto">
          <a:xfrm>
            <a:off x="8613212" y="9048035"/>
            <a:ext cx="2431892" cy="2562226"/>
          </a:xfrm>
          <a:custGeom>
            <a:avLst/>
            <a:gdLst>
              <a:gd name="T0" fmla="*/ 146 w 245"/>
              <a:gd name="T1" fmla="*/ 35 h 258"/>
              <a:gd name="T2" fmla="*/ 148 w 245"/>
              <a:gd name="T3" fmla="*/ 34 h 258"/>
              <a:gd name="T4" fmla="*/ 150 w 245"/>
              <a:gd name="T5" fmla="*/ 34 h 258"/>
              <a:gd name="T6" fmla="*/ 154 w 245"/>
              <a:gd name="T7" fmla="*/ 35 h 258"/>
              <a:gd name="T8" fmla="*/ 141 w 245"/>
              <a:gd name="T9" fmla="*/ 7 h 258"/>
              <a:gd name="T10" fmla="*/ 133 w 245"/>
              <a:gd name="T11" fmla="*/ 19 h 258"/>
              <a:gd name="T12" fmla="*/ 124 w 245"/>
              <a:gd name="T13" fmla="*/ 21 h 258"/>
              <a:gd name="T14" fmla="*/ 112 w 245"/>
              <a:gd name="T15" fmla="*/ 19 h 258"/>
              <a:gd name="T16" fmla="*/ 106 w 245"/>
              <a:gd name="T17" fmla="*/ 21 h 258"/>
              <a:gd name="T18" fmla="*/ 91 w 245"/>
              <a:gd name="T19" fmla="*/ 24 h 258"/>
              <a:gd name="T20" fmla="*/ 90 w 245"/>
              <a:gd name="T21" fmla="*/ 8 h 258"/>
              <a:gd name="T22" fmla="*/ 83 w 245"/>
              <a:gd name="T23" fmla="*/ 0 h 258"/>
              <a:gd name="T24" fmla="*/ 62 w 245"/>
              <a:gd name="T25" fmla="*/ 9 h 258"/>
              <a:gd name="T26" fmla="*/ 65 w 245"/>
              <a:gd name="T27" fmla="*/ 18 h 258"/>
              <a:gd name="T28" fmla="*/ 43 w 245"/>
              <a:gd name="T29" fmla="*/ 26 h 258"/>
              <a:gd name="T30" fmla="*/ 25 w 245"/>
              <a:gd name="T31" fmla="*/ 25 h 258"/>
              <a:gd name="T32" fmla="*/ 28 w 245"/>
              <a:gd name="T33" fmla="*/ 44 h 258"/>
              <a:gd name="T34" fmla="*/ 14 w 245"/>
              <a:gd name="T35" fmla="*/ 63 h 258"/>
              <a:gd name="T36" fmla="*/ 3 w 245"/>
              <a:gd name="T37" fmla="*/ 77 h 258"/>
              <a:gd name="T38" fmla="*/ 7 w 245"/>
              <a:gd name="T39" fmla="*/ 94 h 258"/>
              <a:gd name="T40" fmla="*/ 22 w 245"/>
              <a:gd name="T41" fmla="*/ 105 h 258"/>
              <a:gd name="T42" fmla="*/ 38 w 245"/>
              <a:gd name="T43" fmla="*/ 103 h 258"/>
              <a:gd name="T44" fmla="*/ 53 w 245"/>
              <a:gd name="T45" fmla="*/ 103 h 258"/>
              <a:gd name="T46" fmla="*/ 71 w 245"/>
              <a:gd name="T47" fmla="*/ 118 h 258"/>
              <a:gd name="T48" fmla="*/ 88 w 245"/>
              <a:gd name="T49" fmla="*/ 135 h 258"/>
              <a:gd name="T50" fmla="*/ 104 w 245"/>
              <a:gd name="T51" fmla="*/ 166 h 258"/>
              <a:gd name="T52" fmla="*/ 119 w 245"/>
              <a:gd name="T53" fmla="*/ 179 h 258"/>
              <a:gd name="T54" fmla="*/ 127 w 245"/>
              <a:gd name="T55" fmla="*/ 199 h 258"/>
              <a:gd name="T56" fmla="*/ 130 w 245"/>
              <a:gd name="T57" fmla="*/ 213 h 258"/>
              <a:gd name="T58" fmla="*/ 117 w 245"/>
              <a:gd name="T59" fmla="*/ 225 h 258"/>
              <a:gd name="T60" fmla="*/ 119 w 245"/>
              <a:gd name="T61" fmla="*/ 235 h 258"/>
              <a:gd name="T62" fmla="*/ 135 w 245"/>
              <a:gd name="T63" fmla="*/ 246 h 258"/>
              <a:gd name="T64" fmla="*/ 144 w 245"/>
              <a:gd name="T65" fmla="*/ 250 h 258"/>
              <a:gd name="T66" fmla="*/ 149 w 245"/>
              <a:gd name="T67" fmla="*/ 238 h 258"/>
              <a:gd name="T68" fmla="*/ 153 w 245"/>
              <a:gd name="T69" fmla="*/ 233 h 258"/>
              <a:gd name="T70" fmla="*/ 147 w 245"/>
              <a:gd name="T71" fmla="*/ 244 h 258"/>
              <a:gd name="T72" fmla="*/ 164 w 245"/>
              <a:gd name="T73" fmla="*/ 219 h 258"/>
              <a:gd name="T74" fmla="*/ 164 w 245"/>
              <a:gd name="T75" fmla="*/ 208 h 258"/>
              <a:gd name="T76" fmla="*/ 168 w 245"/>
              <a:gd name="T77" fmla="*/ 197 h 258"/>
              <a:gd name="T78" fmla="*/ 184 w 245"/>
              <a:gd name="T79" fmla="*/ 186 h 258"/>
              <a:gd name="T80" fmla="*/ 193 w 245"/>
              <a:gd name="T81" fmla="*/ 181 h 258"/>
              <a:gd name="T82" fmla="*/ 199 w 245"/>
              <a:gd name="T83" fmla="*/ 181 h 258"/>
              <a:gd name="T84" fmla="*/ 210 w 245"/>
              <a:gd name="T85" fmla="*/ 170 h 258"/>
              <a:gd name="T86" fmla="*/ 217 w 245"/>
              <a:gd name="T87" fmla="*/ 150 h 258"/>
              <a:gd name="T88" fmla="*/ 221 w 245"/>
              <a:gd name="T89" fmla="*/ 123 h 258"/>
              <a:gd name="T90" fmla="*/ 219 w 245"/>
              <a:gd name="T91" fmla="*/ 114 h 258"/>
              <a:gd name="T92" fmla="*/ 227 w 245"/>
              <a:gd name="T93" fmla="*/ 112 h 258"/>
              <a:gd name="T94" fmla="*/ 244 w 245"/>
              <a:gd name="T95" fmla="*/ 88 h 258"/>
              <a:gd name="T96" fmla="*/ 238 w 245"/>
              <a:gd name="T97" fmla="*/ 66 h 258"/>
              <a:gd name="T98" fmla="*/ 214 w 245"/>
              <a:gd name="T99" fmla="*/ 52 h 258"/>
              <a:gd name="T100" fmla="*/ 201 w 245"/>
              <a:gd name="T101" fmla="*/ 52 h 258"/>
              <a:gd name="T102" fmla="*/ 190 w 245"/>
              <a:gd name="T103" fmla="*/ 50 h 258"/>
              <a:gd name="T104" fmla="*/ 184 w 245"/>
              <a:gd name="T105" fmla="*/ 55 h 258"/>
              <a:gd name="T106" fmla="*/ 178 w 245"/>
              <a:gd name="T107" fmla="*/ 45 h 258"/>
              <a:gd name="T108" fmla="*/ 170 w 245"/>
              <a:gd name="T109" fmla="*/ 40 h 258"/>
              <a:gd name="T110" fmla="*/ 160 w 245"/>
              <a:gd name="T111" fmla="*/ 43 h 258"/>
              <a:gd name="T112" fmla="*/ 151 w 245"/>
              <a:gd name="T113" fmla="*/ 52 h 258"/>
              <a:gd name="T114" fmla="*/ 148 w 245"/>
              <a:gd name="T115" fmla="*/ 46 h 258"/>
              <a:gd name="T116" fmla="*/ 160 w 245"/>
              <a:gd name="T117" fmla="*/ 37 h 258"/>
              <a:gd name="T118" fmla="*/ 146 w 245"/>
              <a:gd name="T119" fmla="*/ 39 h 258"/>
              <a:gd name="T120" fmla="*/ 139 w 245"/>
              <a:gd name="T121" fmla="*/ 40 h 258"/>
              <a:gd name="T122" fmla="*/ 149 w 245"/>
              <a:gd name="T123" fmla="*/ 28 h 258"/>
              <a:gd name="T124" fmla="*/ 143 w 245"/>
              <a:gd name="T125" fmla="*/ 1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5" h="258">
                <a:moveTo>
                  <a:pt x="143" y="38"/>
                </a:moveTo>
                <a:cubicBezTo>
                  <a:pt x="144" y="37"/>
                  <a:pt x="144" y="37"/>
                  <a:pt x="144" y="37"/>
                </a:cubicBezTo>
                <a:cubicBezTo>
                  <a:pt x="145" y="37"/>
                  <a:pt x="145" y="37"/>
                  <a:pt x="145" y="37"/>
                </a:cubicBezTo>
                <a:cubicBezTo>
                  <a:pt x="145" y="37"/>
                  <a:pt x="145" y="37"/>
                  <a:pt x="145" y="37"/>
                </a:cubicBezTo>
                <a:cubicBezTo>
                  <a:pt x="145" y="38"/>
                  <a:pt x="145" y="38"/>
                  <a:pt x="145" y="38"/>
                </a:cubicBezTo>
                <a:cubicBezTo>
                  <a:pt x="144" y="38"/>
                  <a:pt x="144" y="38"/>
                  <a:pt x="144" y="38"/>
                </a:cubicBezTo>
                <a:cubicBezTo>
                  <a:pt x="143" y="38"/>
                  <a:pt x="143" y="38"/>
                  <a:pt x="143" y="38"/>
                </a:cubicBezTo>
                <a:close/>
                <a:moveTo>
                  <a:pt x="142" y="38"/>
                </a:moveTo>
                <a:cubicBezTo>
                  <a:pt x="143" y="38"/>
                  <a:pt x="143" y="38"/>
                  <a:pt x="143" y="38"/>
                </a:cubicBezTo>
                <a:cubicBezTo>
                  <a:pt x="143" y="37"/>
                  <a:pt x="143" y="37"/>
                  <a:pt x="143" y="37"/>
                </a:cubicBezTo>
                <a:cubicBezTo>
                  <a:pt x="144" y="36"/>
                  <a:pt x="144" y="36"/>
                  <a:pt x="144" y="36"/>
                </a:cubicBezTo>
                <a:cubicBezTo>
                  <a:pt x="145" y="36"/>
                  <a:pt x="145" y="36"/>
                  <a:pt x="145" y="36"/>
                </a:cubicBezTo>
                <a:cubicBezTo>
                  <a:pt x="146" y="35"/>
                  <a:pt x="146" y="35"/>
                  <a:pt x="146" y="35"/>
                </a:cubicBezTo>
                <a:cubicBezTo>
                  <a:pt x="146" y="35"/>
                  <a:pt x="146" y="35"/>
                  <a:pt x="146" y="35"/>
                </a:cubicBezTo>
                <a:cubicBezTo>
                  <a:pt x="145" y="35"/>
                  <a:pt x="145" y="35"/>
                  <a:pt x="145" y="35"/>
                </a:cubicBezTo>
                <a:cubicBezTo>
                  <a:pt x="145" y="35"/>
                  <a:pt x="145" y="35"/>
                  <a:pt x="145" y="35"/>
                </a:cubicBezTo>
                <a:cubicBezTo>
                  <a:pt x="144" y="35"/>
                  <a:pt x="144" y="35"/>
                  <a:pt x="144" y="35"/>
                </a:cubicBezTo>
                <a:cubicBezTo>
                  <a:pt x="143" y="36"/>
                  <a:pt x="143" y="36"/>
                  <a:pt x="143" y="36"/>
                </a:cubicBezTo>
                <a:cubicBezTo>
                  <a:pt x="142" y="38"/>
                  <a:pt x="142" y="38"/>
                  <a:pt x="142" y="38"/>
                </a:cubicBezTo>
                <a:close/>
                <a:moveTo>
                  <a:pt x="148" y="34"/>
                </a:moveTo>
                <a:cubicBezTo>
                  <a:pt x="147" y="33"/>
                  <a:pt x="147" y="33"/>
                  <a:pt x="147" y="33"/>
                </a:cubicBezTo>
                <a:cubicBezTo>
                  <a:pt x="147" y="33"/>
                  <a:pt x="147" y="33"/>
                  <a:pt x="147" y="33"/>
                </a:cubicBezTo>
                <a:cubicBezTo>
                  <a:pt x="147" y="33"/>
                  <a:pt x="147" y="33"/>
                  <a:pt x="147" y="33"/>
                </a:cubicBezTo>
                <a:cubicBezTo>
                  <a:pt x="147" y="34"/>
                  <a:pt x="147" y="34"/>
                  <a:pt x="147" y="34"/>
                </a:cubicBezTo>
                <a:cubicBezTo>
                  <a:pt x="148" y="34"/>
                  <a:pt x="148" y="34"/>
                  <a:pt x="148" y="34"/>
                </a:cubicBezTo>
                <a:cubicBezTo>
                  <a:pt x="148" y="34"/>
                  <a:pt x="148" y="34"/>
                  <a:pt x="148" y="34"/>
                </a:cubicBezTo>
                <a:close/>
                <a:moveTo>
                  <a:pt x="148" y="32"/>
                </a:moveTo>
                <a:cubicBezTo>
                  <a:pt x="147" y="31"/>
                  <a:pt x="147" y="31"/>
                  <a:pt x="147" y="31"/>
                </a:cubicBezTo>
                <a:cubicBezTo>
                  <a:pt x="148" y="30"/>
                  <a:pt x="148" y="30"/>
                  <a:pt x="148" y="30"/>
                </a:cubicBezTo>
                <a:cubicBezTo>
                  <a:pt x="149" y="30"/>
                  <a:pt x="149" y="30"/>
                  <a:pt x="149" y="30"/>
                </a:cubicBezTo>
                <a:cubicBezTo>
                  <a:pt x="150" y="29"/>
                  <a:pt x="150" y="29"/>
                  <a:pt x="150" y="29"/>
                </a:cubicBezTo>
                <a:cubicBezTo>
                  <a:pt x="150" y="30"/>
                  <a:pt x="150" y="30"/>
                  <a:pt x="150" y="30"/>
                </a:cubicBezTo>
                <a:cubicBezTo>
                  <a:pt x="150" y="30"/>
                  <a:pt x="150" y="30"/>
                  <a:pt x="150" y="30"/>
                </a:cubicBezTo>
                <a:cubicBezTo>
                  <a:pt x="149" y="31"/>
                  <a:pt x="149" y="31"/>
                  <a:pt x="149" y="31"/>
                </a:cubicBezTo>
                <a:cubicBezTo>
                  <a:pt x="148" y="32"/>
                  <a:pt x="148" y="32"/>
                  <a:pt x="148" y="32"/>
                </a:cubicBezTo>
                <a:cubicBezTo>
                  <a:pt x="148" y="32"/>
                  <a:pt x="148" y="32"/>
                  <a:pt x="148" y="32"/>
                </a:cubicBezTo>
                <a:close/>
                <a:moveTo>
                  <a:pt x="148" y="33"/>
                </a:moveTo>
                <a:cubicBezTo>
                  <a:pt x="149" y="33"/>
                  <a:pt x="149" y="33"/>
                  <a:pt x="149" y="33"/>
                </a:cubicBezTo>
                <a:cubicBezTo>
                  <a:pt x="150" y="34"/>
                  <a:pt x="150" y="34"/>
                  <a:pt x="150" y="34"/>
                </a:cubicBezTo>
                <a:cubicBezTo>
                  <a:pt x="151" y="34"/>
                  <a:pt x="151" y="34"/>
                  <a:pt x="151" y="34"/>
                </a:cubicBezTo>
                <a:cubicBezTo>
                  <a:pt x="151" y="33"/>
                  <a:pt x="151" y="33"/>
                  <a:pt x="151" y="33"/>
                </a:cubicBezTo>
                <a:cubicBezTo>
                  <a:pt x="152" y="33"/>
                  <a:pt x="152" y="33"/>
                  <a:pt x="152" y="33"/>
                </a:cubicBezTo>
                <a:cubicBezTo>
                  <a:pt x="151" y="32"/>
                  <a:pt x="151" y="32"/>
                  <a:pt x="151" y="32"/>
                </a:cubicBezTo>
                <a:cubicBezTo>
                  <a:pt x="149" y="33"/>
                  <a:pt x="149" y="33"/>
                  <a:pt x="149" y="33"/>
                </a:cubicBezTo>
                <a:cubicBezTo>
                  <a:pt x="148" y="33"/>
                  <a:pt x="148" y="33"/>
                  <a:pt x="148" y="33"/>
                </a:cubicBezTo>
                <a:cubicBezTo>
                  <a:pt x="148" y="33"/>
                  <a:pt x="148" y="33"/>
                  <a:pt x="148" y="33"/>
                </a:cubicBezTo>
                <a:close/>
                <a:moveTo>
                  <a:pt x="152" y="35"/>
                </a:moveTo>
                <a:cubicBezTo>
                  <a:pt x="153" y="34"/>
                  <a:pt x="153" y="34"/>
                  <a:pt x="153" y="34"/>
                </a:cubicBezTo>
                <a:cubicBezTo>
                  <a:pt x="153" y="34"/>
                  <a:pt x="153" y="34"/>
                  <a:pt x="153" y="34"/>
                </a:cubicBezTo>
                <a:cubicBezTo>
                  <a:pt x="154" y="34"/>
                  <a:pt x="154" y="34"/>
                  <a:pt x="154" y="34"/>
                </a:cubicBezTo>
                <a:cubicBezTo>
                  <a:pt x="154" y="34"/>
                  <a:pt x="154" y="34"/>
                  <a:pt x="154" y="34"/>
                </a:cubicBezTo>
                <a:cubicBezTo>
                  <a:pt x="154" y="35"/>
                  <a:pt x="154" y="35"/>
                  <a:pt x="154" y="35"/>
                </a:cubicBezTo>
                <a:cubicBezTo>
                  <a:pt x="153" y="35"/>
                  <a:pt x="153" y="35"/>
                  <a:pt x="153" y="35"/>
                </a:cubicBezTo>
                <a:cubicBezTo>
                  <a:pt x="152" y="35"/>
                  <a:pt x="152" y="35"/>
                  <a:pt x="152" y="35"/>
                </a:cubicBezTo>
                <a:close/>
                <a:moveTo>
                  <a:pt x="148" y="22"/>
                </a:moveTo>
                <a:cubicBezTo>
                  <a:pt x="147" y="21"/>
                  <a:pt x="147" y="21"/>
                  <a:pt x="147" y="21"/>
                </a:cubicBezTo>
                <a:cubicBezTo>
                  <a:pt x="147" y="19"/>
                  <a:pt x="147" y="19"/>
                  <a:pt x="147" y="19"/>
                </a:cubicBezTo>
                <a:cubicBezTo>
                  <a:pt x="147" y="19"/>
                  <a:pt x="147" y="19"/>
                  <a:pt x="147" y="19"/>
                </a:cubicBezTo>
                <a:cubicBezTo>
                  <a:pt x="148" y="19"/>
                  <a:pt x="148" y="19"/>
                  <a:pt x="148" y="19"/>
                </a:cubicBezTo>
                <a:cubicBezTo>
                  <a:pt x="149" y="21"/>
                  <a:pt x="149" y="21"/>
                  <a:pt x="149" y="21"/>
                </a:cubicBezTo>
                <a:cubicBezTo>
                  <a:pt x="148" y="22"/>
                  <a:pt x="148" y="22"/>
                  <a:pt x="148" y="22"/>
                </a:cubicBezTo>
                <a:cubicBezTo>
                  <a:pt x="148" y="22"/>
                  <a:pt x="148" y="22"/>
                  <a:pt x="148" y="22"/>
                </a:cubicBezTo>
                <a:close/>
                <a:moveTo>
                  <a:pt x="142" y="9"/>
                </a:moveTo>
                <a:cubicBezTo>
                  <a:pt x="142" y="9"/>
                  <a:pt x="142" y="9"/>
                  <a:pt x="142" y="9"/>
                </a:cubicBezTo>
                <a:cubicBezTo>
                  <a:pt x="141" y="7"/>
                  <a:pt x="141" y="7"/>
                  <a:pt x="141" y="7"/>
                </a:cubicBezTo>
                <a:cubicBezTo>
                  <a:pt x="141" y="6"/>
                  <a:pt x="141" y="6"/>
                  <a:pt x="141" y="6"/>
                </a:cubicBezTo>
                <a:cubicBezTo>
                  <a:pt x="140" y="6"/>
                  <a:pt x="140" y="6"/>
                  <a:pt x="140" y="6"/>
                </a:cubicBezTo>
                <a:cubicBezTo>
                  <a:pt x="140" y="7"/>
                  <a:pt x="140" y="7"/>
                  <a:pt x="140" y="7"/>
                </a:cubicBezTo>
                <a:cubicBezTo>
                  <a:pt x="140" y="8"/>
                  <a:pt x="140" y="8"/>
                  <a:pt x="140" y="8"/>
                </a:cubicBezTo>
                <a:cubicBezTo>
                  <a:pt x="138" y="9"/>
                  <a:pt x="138" y="9"/>
                  <a:pt x="138" y="9"/>
                </a:cubicBezTo>
                <a:cubicBezTo>
                  <a:pt x="138" y="9"/>
                  <a:pt x="138" y="9"/>
                  <a:pt x="138" y="9"/>
                </a:cubicBezTo>
                <a:cubicBezTo>
                  <a:pt x="138" y="9"/>
                  <a:pt x="138" y="9"/>
                  <a:pt x="138" y="9"/>
                </a:cubicBezTo>
                <a:cubicBezTo>
                  <a:pt x="138" y="10"/>
                  <a:pt x="138" y="10"/>
                  <a:pt x="138" y="10"/>
                </a:cubicBezTo>
                <a:cubicBezTo>
                  <a:pt x="136" y="12"/>
                  <a:pt x="136" y="12"/>
                  <a:pt x="136" y="12"/>
                </a:cubicBezTo>
                <a:cubicBezTo>
                  <a:pt x="135" y="14"/>
                  <a:pt x="135" y="14"/>
                  <a:pt x="135" y="14"/>
                </a:cubicBezTo>
                <a:cubicBezTo>
                  <a:pt x="135" y="15"/>
                  <a:pt x="135" y="15"/>
                  <a:pt x="135" y="15"/>
                </a:cubicBezTo>
                <a:cubicBezTo>
                  <a:pt x="134" y="17"/>
                  <a:pt x="134" y="17"/>
                  <a:pt x="134" y="17"/>
                </a:cubicBezTo>
                <a:cubicBezTo>
                  <a:pt x="133" y="19"/>
                  <a:pt x="133" y="19"/>
                  <a:pt x="133" y="19"/>
                </a:cubicBezTo>
                <a:cubicBezTo>
                  <a:pt x="132" y="21"/>
                  <a:pt x="132" y="21"/>
                  <a:pt x="132" y="21"/>
                </a:cubicBezTo>
                <a:cubicBezTo>
                  <a:pt x="131" y="21"/>
                  <a:pt x="131" y="21"/>
                  <a:pt x="131" y="21"/>
                </a:cubicBezTo>
                <a:cubicBezTo>
                  <a:pt x="130" y="21"/>
                  <a:pt x="130" y="21"/>
                  <a:pt x="130" y="21"/>
                </a:cubicBezTo>
                <a:cubicBezTo>
                  <a:pt x="130" y="22"/>
                  <a:pt x="130" y="22"/>
                  <a:pt x="130" y="22"/>
                </a:cubicBezTo>
                <a:cubicBezTo>
                  <a:pt x="129" y="23"/>
                  <a:pt x="129" y="23"/>
                  <a:pt x="129" y="23"/>
                </a:cubicBezTo>
                <a:cubicBezTo>
                  <a:pt x="128" y="23"/>
                  <a:pt x="128" y="23"/>
                  <a:pt x="128" y="23"/>
                </a:cubicBezTo>
                <a:cubicBezTo>
                  <a:pt x="128" y="21"/>
                  <a:pt x="128" y="21"/>
                  <a:pt x="128" y="21"/>
                </a:cubicBezTo>
                <a:cubicBezTo>
                  <a:pt x="127" y="21"/>
                  <a:pt x="127" y="21"/>
                  <a:pt x="127" y="21"/>
                </a:cubicBezTo>
                <a:cubicBezTo>
                  <a:pt x="127" y="20"/>
                  <a:pt x="127" y="20"/>
                  <a:pt x="127" y="20"/>
                </a:cubicBezTo>
                <a:cubicBezTo>
                  <a:pt x="127" y="20"/>
                  <a:pt x="127" y="20"/>
                  <a:pt x="127" y="20"/>
                </a:cubicBezTo>
                <a:cubicBezTo>
                  <a:pt x="126" y="21"/>
                  <a:pt x="126" y="21"/>
                  <a:pt x="126" y="21"/>
                </a:cubicBezTo>
                <a:cubicBezTo>
                  <a:pt x="125" y="21"/>
                  <a:pt x="125" y="21"/>
                  <a:pt x="125" y="21"/>
                </a:cubicBezTo>
                <a:cubicBezTo>
                  <a:pt x="124" y="21"/>
                  <a:pt x="124" y="21"/>
                  <a:pt x="124" y="21"/>
                </a:cubicBezTo>
                <a:cubicBezTo>
                  <a:pt x="123" y="20"/>
                  <a:pt x="123" y="20"/>
                  <a:pt x="123" y="20"/>
                </a:cubicBezTo>
                <a:cubicBezTo>
                  <a:pt x="123" y="20"/>
                  <a:pt x="123" y="20"/>
                  <a:pt x="123" y="20"/>
                </a:cubicBezTo>
                <a:cubicBezTo>
                  <a:pt x="123" y="19"/>
                  <a:pt x="123" y="19"/>
                  <a:pt x="123" y="19"/>
                </a:cubicBezTo>
                <a:cubicBezTo>
                  <a:pt x="122" y="18"/>
                  <a:pt x="122" y="18"/>
                  <a:pt x="122" y="18"/>
                </a:cubicBezTo>
                <a:cubicBezTo>
                  <a:pt x="122" y="18"/>
                  <a:pt x="122" y="18"/>
                  <a:pt x="122" y="18"/>
                </a:cubicBezTo>
                <a:cubicBezTo>
                  <a:pt x="121" y="18"/>
                  <a:pt x="121" y="18"/>
                  <a:pt x="121" y="18"/>
                </a:cubicBezTo>
                <a:cubicBezTo>
                  <a:pt x="120" y="16"/>
                  <a:pt x="120" y="16"/>
                  <a:pt x="120" y="16"/>
                </a:cubicBezTo>
                <a:cubicBezTo>
                  <a:pt x="118" y="16"/>
                  <a:pt x="118" y="16"/>
                  <a:pt x="118" y="16"/>
                </a:cubicBezTo>
                <a:cubicBezTo>
                  <a:pt x="117" y="17"/>
                  <a:pt x="117" y="17"/>
                  <a:pt x="117" y="17"/>
                </a:cubicBezTo>
                <a:cubicBezTo>
                  <a:pt x="115" y="17"/>
                  <a:pt x="115" y="17"/>
                  <a:pt x="115" y="17"/>
                </a:cubicBezTo>
                <a:cubicBezTo>
                  <a:pt x="113" y="17"/>
                  <a:pt x="113" y="17"/>
                  <a:pt x="113" y="17"/>
                </a:cubicBezTo>
                <a:cubicBezTo>
                  <a:pt x="112" y="17"/>
                  <a:pt x="112" y="17"/>
                  <a:pt x="112" y="17"/>
                </a:cubicBezTo>
                <a:cubicBezTo>
                  <a:pt x="112" y="19"/>
                  <a:pt x="112" y="19"/>
                  <a:pt x="112" y="19"/>
                </a:cubicBezTo>
                <a:cubicBezTo>
                  <a:pt x="113" y="20"/>
                  <a:pt x="113" y="20"/>
                  <a:pt x="113" y="20"/>
                </a:cubicBezTo>
                <a:cubicBezTo>
                  <a:pt x="113" y="20"/>
                  <a:pt x="113" y="20"/>
                  <a:pt x="113" y="20"/>
                </a:cubicBezTo>
                <a:cubicBezTo>
                  <a:pt x="114" y="22"/>
                  <a:pt x="114" y="22"/>
                  <a:pt x="114" y="22"/>
                </a:cubicBezTo>
                <a:cubicBezTo>
                  <a:pt x="114" y="22"/>
                  <a:pt x="114" y="22"/>
                  <a:pt x="114" y="22"/>
                </a:cubicBezTo>
                <a:cubicBezTo>
                  <a:pt x="112" y="22"/>
                  <a:pt x="112" y="22"/>
                  <a:pt x="112" y="22"/>
                </a:cubicBezTo>
                <a:cubicBezTo>
                  <a:pt x="111" y="22"/>
                  <a:pt x="111" y="22"/>
                  <a:pt x="111" y="22"/>
                </a:cubicBezTo>
                <a:cubicBezTo>
                  <a:pt x="111" y="22"/>
                  <a:pt x="111" y="22"/>
                  <a:pt x="111" y="22"/>
                </a:cubicBezTo>
                <a:cubicBezTo>
                  <a:pt x="110" y="22"/>
                  <a:pt x="110" y="22"/>
                  <a:pt x="110" y="22"/>
                </a:cubicBezTo>
                <a:cubicBezTo>
                  <a:pt x="110" y="22"/>
                  <a:pt x="110" y="22"/>
                  <a:pt x="110" y="22"/>
                </a:cubicBezTo>
                <a:cubicBezTo>
                  <a:pt x="110" y="22"/>
                  <a:pt x="110" y="22"/>
                  <a:pt x="110" y="22"/>
                </a:cubicBezTo>
                <a:cubicBezTo>
                  <a:pt x="108" y="22"/>
                  <a:pt x="108" y="22"/>
                  <a:pt x="108" y="22"/>
                </a:cubicBezTo>
                <a:cubicBezTo>
                  <a:pt x="107" y="22"/>
                  <a:pt x="107" y="22"/>
                  <a:pt x="107" y="22"/>
                </a:cubicBezTo>
                <a:cubicBezTo>
                  <a:pt x="106" y="21"/>
                  <a:pt x="106" y="21"/>
                  <a:pt x="106" y="21"/>
                </a:cubicBezTo>
                <a:cubicBezTo>
                  <a:pt x="104" y="21"/>
                  <a:pt x="104" y="21"/>
                  <a:pt x="104" y="21"/>
                </a:cubicBezTo>
                <a:cubicBezTo>
                  <a:pt x="103" y="22"/>
                  <a:pt x="103" y="22"/>
                  <a:pt x="103" y="22"/>
                </a:cubicBezTo>
                <a:cubicBezTo>
                  <a:pt x="102" y="24"/>
                  <a:pt x="102" y="24"/>
                  <a:pt x="102" y="24"/>
                </a:cubicBezTo>
                <a:cubicBezTo>
                  <a:pt x="100" y="24"/>
                  <a:pt x="100" y="24"/>
                  <a:pt x="100" y="24"/>
                </a:cubicBezTo>
                <a:cubicBezTo>
                  <a:pt x="98" y="24"/>
                  <a:pt x="98" y="24"/>
                  <a:pt x="98" y="24"/>
                </a:cubicBezTo>
                <a:cubicBezTo>
                  <a:pt x="98" y="25"/>
                  <a:pt x="98" y="25"/>
                  <a:pt x="98" y="25"/>
                </a:cubicBezTo>
                <a:cubicBezTo>
                  <a:pt x="97" y="26"/>
                  <a:pt x="97" y="26"/>
                  <a:pt x="97" y="26"/>
                </a:cubicBezTo>
                <a:cubicBezTo>
                  <a:pt x="96" y="26"/>
                  <a:pt x="96" y="26"/>
                  <a:pt x="96" y="26"/>
                </a:cubicBezTo>
                <a:cubicBezTo>
                  <a:pt x="96" y="26"/>
                  <a:pt x="96" y="26"/>
                  <a:pt x="96" y="26"/>
                </a:cubicBezTo>
                <a:cubicBezTo>
                  <a:pt x="95" y="26"/>
                  <a:pt x="95" y="26"/>
                  <a:pt x="95" y="26"/>
                </a:cubicBezTo>
                <a:cubicBezTo>
                  <a:pt x="94" y="27"/>
                  <a:pt x="94" y="27"/>
                  <a:pt x="94" y="27"/>
                </a:cubicBezTo>
                <a:cubicBezTo>
                  <a:pt x="93" y="26"/>
                  <a:pt x="93" y="26"/>
                  <a:pt x="93" y="26"/>
                </a:cubicBezTo>
                <a:cubicBezTo>
                  <a:pt x="91" y="24"/>
                  <a:pt x="91" y="24"/>
                  <a:pt x="91" y="24"/>
                </a:cubicBezTo>
                <a:cubicBezTo>
                  <a:pt x="90" y="23"/>
                  <a:pt x="90" y="23"/>
                  <a:pt x="90" y="23"/>
                </a:cubicBezTo>
                <a:cubicBezTo>
                  <a:pt x="90" y="22"/>
                  <a:pt x="90" y="22"/>
                  <a:pt x="90" y="22"/>
                </a:cubicBezTo>
                <a:cubicBezTo>
                  <a:pt x="88" y="21"/>
                  <a:pt x="88" y="21"/>
                  <a:pt x="88" y="21"/>
                </a:cubicBezTo>
                <a:cubicBezTo>
                  <a:pt x="87" y="20"/>
                  <a:pt x="87" y="20"/>
                  <a:pt x="87" y="20"/>
                </a:cubicBezTo>
                <a:cubicBezTo>
                  <a:pt x="87" y="18"/>
                  <a:pt x="87" y="18"/>
                  <a:pt x="87" y="18"/>
                </a:cubicBezTo>
                <a:cubicBezTo>
                  <a:pt x="87" y="18"/>
                  <a:pt x="87" y="18"/>
                  <a:pt x="87" y="18"/>
                </a:cubicBezTo>
                <a:cubicBezTo>
                  <a:pt x="87" y="17"/>
                  <a:pt x="87" y="17"/>
                  <a:pt x="87" y="17"/>
                </a:cubicBezTo>
                <a:cubicBezTo>
                  <a:pt x="87" y="16"/>
                  <a:pt x="87" y="16"/>
                  <a:pt x="87" y="16"/>
                </a:cubicBezTo>
                <a:cubicBezTo>
                  <a:pt x="88" y="15"/>
                  <a:pt x="88" y="15"/>
                  <a:pt x="88" y="15"/>
                </a:cubicBezTo>
                <a:cubicBezTo>
                  <a:pt x="88" y="13"/>
                  <a:pt x="88" y="13"/>
                  <a:pt x="88" y="13"/>
                </a:cubicBezTo>
                <a:cubicBezTo>
                  <a:pt x="89" y="11"/>
                  <a:pt x="89" y="11"/>
                  <a:pt x="89" y="11"/>
                </a:cubicBezTo>
                <a:cubicBezTo>
                  <a:pt x="89" y="10"/>
                  <a:pt x="89" y="10"/>
                  <a:pt x="89" y="10"/>
                </a:cubicBezTo>
                <a:cubicBezTo>
                  <a:pt x="90" y="8"/>
                  <a:pt x="90" y="8"/>
                  <a:pt x="90" y="8"/>
                </a:cubicBezTo>
                <a:cubicBezTo>
                  <a:pt x="90" y="8"/>
                  <a:pt x="90" y="8"/>
                  <a:pt x="90" y="8"/>
                </a:cubicBezTo>
                <a:cubicBezTo>
                  <a:pt x="89" y="8"/>
                  <a:pt x="89" y="8"/>
                  <a:pt x="89" y="8"/>
                </a:cubicBezTo>
                <a:cubicBezTo>
                  <a:pt x="89" y="7"/>
                  <a:pt x="89" y="7"/>
                  <a:pt x="89" y="7"/>
                </a:cubicBezTo>
                <a:cubicBezTo>
                  <a:pt x="88" y="6"/>
                  <a:pt x="88" y="6"/>
                  <a:pt x="88" y="6"/>
                </a:cubicBezTo>
                <a:cubicBezTo>
                  <a:pt x="87" y="6"/>
                  <a:pt x="87" y="6"/>
                  <a:pt x="87" y="6"/>
                </a:cubicBezTo>
                <a:cubicBezTo>
                  <a:pt x="86" y="5"/>
                  <a:pt x="86" y="5"/>
                  <a:pt x="86" y="5"/>
                </a:cubicBezTo>
                <a:cubicBezTo>
                  <a:pt x="86" y="5"/>
                  <a:pt x="86" y="5"/>
                  <a:pt x="86" y="5"/>
                </a:cubicBezTo>
                <a:cubicBezTo>
                  <a:pt x="87" y="3"/>
                  <a:pt x="87" y="3"/>
                  <a:pt x="87" y="3"/>
                </a:cubicBezTo>
                <a:cubicBezTo>
                  <a:pt x="87" y="2"/>
                  <a:pt x="87" y="2"/>
                  <a:pt x="87" y="2"/>
                </a:cubicBezTo>
                <a:cubicBezTo>
                  <a:pt x="86" y="0"/>
                  <a:pt x="86" y="0"/>
                  <a:pt x="86" y="0"/>
                </a:cubicBezTo>
                <a:cubicBezTo>
                  <a:pt x="85" y="0"/>
                  <a:pt x="85" y="0"/>
                  <a:pt x="85" y="0"/>
                </a:cubicBezTo>
                <a:cubicBezTo>
                  <a:pt x="84" y="1"/>
                  <a:pt x="84" y="1"/>
                  <a:pt x="84" y="1"/>
                </a:cubicBezTo>
                <a:cubicBezTo>
                  <a:pt x="83" y="0"/>
                  <a:pt x="83" y="0"/>
                  <a:pt x="83" y="0"/>
                </a:cubicBezTo>
                <a:cubicBezTo>
                  <a:pt x="83" y="0"/>
                  <a:pt x="83" y="0"/>
                  <a:pt x="83" y="0"/>
                </a:cubicBezTo>
                <a:cubicBezTo>
                  <a:pt x="83" y="1"/>
                  <a:pt x="83" y="1"/>
                  <a:pt x="83" y="1"/>
                </a:cubicBezTo>
                <a:cubicBezTo>
                  <a:pt x="82" y="3"/>
                  <a:pt x="82" y="3"/>
                  <a:pt x="82" y="3"/>
                </a:cubicBezTo>
                <a:cubicBezTo>
                  <a:pt x="79" y="5"/>
                  <a:pt x="79" y="5"/>
                  <a:pt x="79" y="5"/>
                </a:cubicBezTo>
                <a:cubicBezTo>
                  <a:pt x="77" y="5"/>
                  <a:pt x="77" y="5"/>
                  <a:pt x="77" y="5"/>
                </a:cubicBezTo>
                <a:cubicBezTo>
                  <a:pt x="74" y="7"/>
                  <a:pt x="74" y="7"/>
                  <a:pt x="74" y="7"/>
                </a:cubicBezTo>
                <a:cubicBezTo>
                  <a:pt x="73" y="6"/>
                  <a:pt x="73" y="6"/>
                  <a:pt x="73" y="6"/>
                </a:cubicBezTo>
                <a:cubicBezTo>
                  <a:pt x="71" y="6"/>
                  <a:pt x="71" y="6"/>
                  <a:pt x="71" y="6"/>
                </a:cubicBezTo>
                <a:cubicBezTo>
                  <a:pt x="69" y="8"/>
                  <a:pt x="69" y="8"/>
                  <a:pt x="69" y="8"/>
                </a:cubicBezTo>
                <a:cubicBezTo>
                  <a:pt x="67" y="9"/>
                  <a:pt x="67" y="9"/>
                  <a:pt x="67" y="9"/>
                </a:cubicBezTo>
                <a:cubicBezTo>
                  <a:pt x="67" y="8"/>
                  <a:pt x="67" y="8"/>
                  <a:pt x="67" y="8"/>
                </a:cubicBezTo>
                <a:cubicBezTo>
                  <a:pt x="64" y="9"/>
                  <a:pt x="64" y="9"/>
                  <a:pt x="64" y="9"/>
                </a:cubicBezTo>
                <a:cubicBezTo>
                  <a:pt x="62" y="9"/>
                  <a:pt x="62" y="9"/>
                  <a:pt x="62" y="9"/>
                </a:cubicBezTo>
                <a:cubicBezTo>
                  <a:pt x="60" y="8"/>
                  <a:pt x="60" y="8"/>
                  <a:pt x="60" y="8"/>
                </a:cubicBezTo>
                <a:cubicBezTo>
                  <a:pt x="58" y="7"/>
                  <a:pt x="58" y="7"/>
                  <a:pt x="58" y="7"/>
                </a:cubicBezTo>
                <a:cubicBezTo>
                  <a:pt x="56" y="7"/>
                  <a:pt x="56" y="7"/>
                  <a:pt x="56" y="7"/>
                </a:cubicBezTo>
                <a:cubicBezTo>
                  <a:pt x="57" y="8"/>
                  <a:pt x="57" y="8"/>
                  <a:pt x="57" y="8"/>
                </a:cubicBezTo>
                <a:cubicBezTo>
                  <a:pt x="58" y="9"/>
                  <a:pt x="58" y="9"/>
                  <a:pt x="58" y="9"/>
                </a:cubicBezTo>
                <a:cubicBezTo>
                  <a:pt x="60" y="10"/>
                  <a:pt x="60" y="10"/>
                  <a:pt x="60" y="10"/>
                </a:cubicBezTo>
                <a:cubicBezTo>
                  <a:pt x="60" y="11"/>
                  <a:pt x="60" y="11"/>
                  <a:pt x="60" y="11"/>
                </a:cubicBezTo>
                <a:cubicBezTo>
                  <a:pt x="58" y="14"/>
                  <a:pt x="58" y="14"/>
                  <a:pt x="58" y="14"/>
                </a:cubicBezTo>
                <a:cubicBezTo>
                  <a:pt x="59" y="15"/>
                  <a:pt x="59" y="15"/>
                  <a:pt x="59" y="15"/>
                </a:cubicBezTo>
                <a:cubicBezTo>
                  <a:pt x="59" y="17"/>
                  <a:pt x="59" y="17"/>
                  <a:pt x="59" y="17"/>
                </a:cubicBezTo>
                <a:cubicBezTo>
                  <a:pt x="61" y="18"/>
                  <a:pt x="61" y="18"/>
                  <a:pt x="61" y="18"/>
                </a:cubicBezTo>
                <a:cubicBezTo>
                  <a:pt x="63" y="18"/>
                  <a:pt x="63" y="18"/>
                  <a:pt x="63" y="18"/>
                </a:cubicBezTo>
                <a:cubicBezTo>
                  <a:pt x="65" y="18"/>
                  <a:pt x="65" y="18"/>
                  <a:pt x="65" y="18"/>
                </a:cubicBezTo>
                <a:cubicBezTo>
                  <a:pt x="65" y="20"/>
                  <a:pt x="65" y="20"/>
                  <a:pt x="65" y="20"/>
                </a:cubicBezTo>
                <a:cubicBezTo>
                  <a:pt x="64" y="20"/>
                  <a:pt x="64" y="20"/>
                  <a:pt x="64" y="20"/>
                </a:cubicBezTo>
                <a:cubicBezTo>
                  <a:pt x="61" y="21"/>
                  <a:pt x="61" y="21"/>
                  <a:pt x="61" y="21"/>
                </a:cubicBezTo>
                <a:cubicBezTo>
                  <a:pt x="60" y="22"/>
                  <a:pt x="60" y="22"/>
                  <a:pt x="60" y="22"/>
                </a:cubicBezTo>
                <a:cubicBezTo>
                  <a:pt x="59" y="24"/>
                  <a:pt x="59" y="24"/>
                  <a:pt x="59" y="24"/>
                </a:cubicBezTo>
                <a:cubicBezTo>
                  <a:pt x="56" y="25"/>
                  <a:pt x="56" y="25"/>
                  <a:pt x="56" y="25"/>
                </a:cubicBezTo>
                <a:cubicBezTo>
                  <a:pt x="55" y="27"/>
                  <a:pt x="55" y="27"/>
                  <a:pt x="55" y="27"/>
                </a:cubicBezTo>
                <a:cubicBezTo>
                  <a:pt x="53" y="28"/>
                  <a:pt x="53" y="28"/>
                  <a:pt x="53" y="28"/>
                </a:cubicBezTo>
                <a:cubicBezTo>
                  <a:pt x="52" y="30"/>
                  <a:pt x="52" y="30"/>
                  <a:pt x="52" y="30"/>
                </a:cubicBezTo>
                <a:cubicBezTo>
                  <a:pt x="49" y="30"/>
                  <a:pt x="49" y="30"/>
                  <a:pt x="49" y="30"/>
                </a:cubicBezTo>
                <a:cubicBezTo>
                  <a:pt x="48" y="30"/>
                  <a:pt x="48" y="30"/>
                  <a:pt x="48" y="30"/>
                </a:cubicBezTo>
                <a:cubicBezTo>
                  <a:pt x="45" y="28"/>
                  <a:pt x="45" y="28"/>
                  <a:pt x="45" y="28"/>
                </a:cubicBezTo>
                <a:cubicBezTo>
                  <a:pt x="43" y="26"/>
                  <a:pt x="43" y="26"/>
                  <a:pt x="43" y="26"/>
                </a:cubicBezTo>
                <a:cubicBezTo>
                  <a:pt x="41" y="26"/>
                  <a:pt x="41" y="26"/>
                  <a:pt x="41" y="26"/>
                </a:cubicBezTo>
                <a:cubicBezTo>
                  <a:pt x="41" y="25"/>
                  <a:pt x="41" y="25"/>
                  <a:pt x="41" y="25"/>
                </a:cubicBezTo>
                <a:cubicBezTo>
                  <a:pt x="41" y="23"/>
                  <a:pt x="41" y="23"/>
                  <a:pt x="41" y="23"/>
                </a:cubicBezTo>
                <a:cubicBezTo>
                  <a:pt x="40" y="22"/>
                  <a:pt x="40" y="22"/>
                  <a:pt x="40" y="22"/>
                </a:cubicBezTo>
                <a:cubicBezTo>
                  <a:pt x="39" y="21"/>
                  <a:pt x="39" y="21"/>
                  <a:pt x="39" y="21"/>
                </a:cubicBezTo>
                <a:cubicBezTo>
                  <a:pt x="38" y="22"/>
                  <a:pt x="38" y="22"/>
                  <a:pt x="38" y="22"/>
                </a:cubicBezTo>
                <a:cubicBezTo>
                  <a:pt x="36" y="23"/>
                  <a:pt x="36" y="23"/>
                  <a:pt x="36" y="23"/>
                </a:cubicBezTo>
                <a:cubicBezTo>
                  <a:pt x="36" y="23"/>
                  <a:pt x="36" y="23"/>
                  <a:pt x="36" y="23"/>
                </a:cubicBezTo>
                <a:cubicBezTo>
                  <a:pt x="35" y="22"/>
                  <a:pt x="35" y="22"/>
                  <a:pt x="35" y="22"/>
                </a:cubicBezTo>
                <a:cubicBezTo>
                  <a:pt x="34" y="22"/>
                  <a:pt x="34" y="22"/>
                  <a:pt x="34" y="22"/>
                </a:cubicBezTo>
                <a:cubicBezTo>
                  <a:pt x="33" y="23"/>
                  <a:pt x="33" y="23"/>
                  <a:pt x="33" y="23"/>
                </a:cubicBezTo>
                <a:cubicBezTo>
                  <a:pt x="26" y="23"/>
                  <a:pt x="26" y="23"/>
                  <a:pt x="26" y="23"/>
                </a:cubicBezTo>
                <a:cubicBezTo>
                  <a:pt x="25" y="25"/>
                  <a:pt x="25" y="25"/>
                  <a:pt x="25" y="25"/>
                </a:cubicBezTo>
                <a:cubicBezTo>
                  <a:pt x="26" y="27"/>
                  <a:pt x="26" y="27"/>
                  <a:pt x="26" y="27"/>
                </a:cubicBezTo>
                <a:cubicBezTo>
                  <a:pt x="28" y="27"/>
                  <a:pt x="28" y="27"/>
                  <a:pt x="28" y="27"/>
                </a:cubicBezTo>
                <a:cubicBezTo>
                  <a:pt x="29" y="29"/>
                  <a:pt x="29" y="29"/>
                  <a:pt x="29" y="29"/>
                </a:cubicBezTo>
                <a:cubicBezTo>
                  <a:pt x="29" y="30"/>
                  <a:pt x="29" y="30"/>
                  <a:pt x="29" y="30"/>
                </a:cubicBezTo>
                <a:cubicBezTo>
                  <a:pt x="29" y="31"/>
                  <a:pt x="29" y="31"/>
                  <a:pt x="29" y="31"/>
                </a:cubicBezTo>
                <a:cubicBezTo>
                  <a:pt x="29" y="32"/>
                  <a:pt x="29" y="32"/>
                  <a:pt x="29" y="32"/>
                </a:cubicBezTo>
                <a:cubicBezTo>
                  <a:pt x="28" y="31"/>
                  <a:pt x="28" y="31"/>
                  <a:pt x="28" y="31"/>
                </a:cubicBezTo>
                <a:cubicBezTo>
                  <a:pt x="23" y="32"/>
                  <a:pt x="23" y="32"/>
                  <a:pt x="23" y="32"/>
                </a:cubicBezTo>
                <a:cubicBezTo>
                  <a:pt x="24" y="36"/>
                  <a:pt x="24" y="36"/>
                  <a:pt x="24" y="36"/>
                </a:cubicBezTo>
                <a:cubicBezTo>
                  <a:pt x="25" y="37"/>
                  <a:pt x="25" y="37"/>
                  <a:pt x="25" y="37"/>
                </a:cubicBezTo>
                <a:cubicBezTo>
                  <a:pt x="27" y="39"/>
                  <a:pt x="27" y="39"/>
                  <a:pt x="27" y="39"/>
                </a:cubicBezTo>
                <a:cubicBezTo>
                  <a:pt x="29" y="42"/>
                  <a:pt x="29" y="42"/>
                  <a:pt x="29" y="42"/>
                </a:cubicBezTo>
                <a:cubicBezTo>
                  <a:pt x="28" y="44"/>
                  <a:pt x="28" y="44"/>
                  <a:pt x="28" y="44"/>
                </a:cubicBezTo>
                <a:cubicBezTo>
                  <a:pt x="28" y="45"/>
                  <a:pt x="28" y="45"/>
                  <a:pt x="28" y="45"/>
                </a:cubicBezTo>
                <a:cubicBezTo>
                  <a:pt x="25" y="58"/>
                  <a:pt x="25" y="58"/>
                  <a:pt x="25" y="58"/>
                </a:cubicBezTo>
                <a:cubicBezTo>
                  <a:pt x="24" y="61"/>
                  <a:pt x="24" y="61"/>
                  <a:pt x="24" y="61"/>
                </a:cubicBezTo>
                <a:cubicBezTo>
                  <a:pt x="24" y="62"/>
                  <a:pt x="24" y="62"/>
                  <a:pt x="24" y="62"/>
                </a:cubicBezTo>
                <a:cubicBezTo>
                  <a:pt x="23" y="63"/>
                  <a:pt x="23" y="63"/>
                  <a:pt x="23" y="63"/>
                </a:cubicBezTo>
                <a:cubicBezTo>
                  <a:pt x="22" y="62"/>
                  <a:pt x="22" y="62"/>
                  <a:pt x="22" y="62"/>
                </a:cubicBezTo>
                <a:cubicBezTo>
                  <a:pt x="22" y="62"/>
                  <a:pt x="22" y="62"/>
                  <a:pt x="22" y="62"/>
                </a:cubicBezTo>
                <a:cubicBezTo>
                  <a:pt x="21" y="61"/>
                  <a:pt x="21" y="61"/>
                  <a:pt x="21" y="61"/>
                </a:cubicBezTo>
                <a:cubicBezTo>
                  <a:pt x="20" y="61"/>
                  <a:pt x="20" y="61"/>
                  <a:pt x="20" y="61"/>
                </a:cubicBezTo>
                <a:cubicBezTo>
                  <a:pt x="19" y="61"/>
                  <a:pt x="19" y="61"/>
                  <a:pt x="19" y="61"/>
                </a:cubicBezTo>
                <a:cubicBezTo>
                  <a:pt x="19" y="61"/>
                  <a:pt x="19" y="61"/>
                  <a:pt x="19" y="61"/>
                </a:cubicBezTo>
                <a:cubicBezTo>
                  <a:pt x="18" y="62"/>
                  <a:pt x="18" y="62"/>
                  <a:pt x="18" y="62"/>
                </a:cubicBezTo>
                <a:cubicBezTo>
                  <a:pt x="14" y="63"/>
                  <a:pt x="14" y="63"/>
                  <a:pt x="14" y="63"/>
                </a:cubicBezTo>
                <a:cubicBezTo>
                  <a:pt x="11" y="64"/>
                  <a:pt x="11" y="64"/>
                  <a:pt x="11" y="64"/>
                </a:cubicBezTo>
                <a:cubicBezTo>
                  <a:pt x="10" y="65"/>
                  <a:pt x="10" y="65"/>
                  <a:pt x="10" y="65"/>
                </a:cubicBezTo>
                <a:cubicBezTo>
                  <a:pt x="9" y="65"/>
                  <a:pt x="9" y="65"/>
                  <a:pt x="9" y="65"/>
                </a:cubicBezTo>
                <a:cubicBezTo>
                  <a:pt x="8" y="66"/>
                  <a:pt x="8" y="66"/>
                  <a:pt x="8" y="66"/>
                </a:cubicBezTo>
                <a:cubicBezTo>
                  <a:pt x="6" y="67"/>
                  <a:pt x="6" y="67"/>
                  <a:pt x="6" y="67"/>
                </a:cubicBezTo>
                <a:cubicBezTo>
                  <a:pt x="5" y="68"/>
                  <a:pt x="5" y="68"/>
                  <a:pt x="5" y="68"/>
                </a:cubicBezTo>
                <a:cubicBezTo>
                  <a:pt x="5" y="69"/>
                  <a:pt x="5" y="69"/>
                  <a:pt x="5" y="69"/>
                </a:cubicBezTo>
                <a:cubicBezTo>
                  <a:pt x="5" y="70"/>
                  <a:pt x="5" y="70"/>
                  <a:pt x="5" y="70"/>
                </a:cubicBezTo>
                <a:cubicBezTo>
                  <a:pt x="5" y="71"/>
                  <a:pt x="5" y="71"/>
                  <a:pt x="5" y="71"/>
                </a:cubicBezTo>
                <a:cubicBezTo>
                  <a:pt x="3" y="73"/>
                  <a:pt x="3" y="73"/>
                  <a:pt x="3" y="73"/>
                </a:cubicBezTo>
                <a:cubicBezTo>
                  <a:pt x="4" y="75"/>
                  <a:pt x="4" y="75"/>
                  <a:pt x="4" y="75"/>
                </a:cubicBezTo>
                <a:cubicBezTo>
                  <a:pt x="4" y="76"/>
                  <a:pt x="4" y="76"/>
                  <a:pt x="4" y="76"/>
                </a:cubicBezTo>
                <a:cubicBezTo>
                  <a:pt x="3" y="77"/>
                  <a:pt x="3" y="77"/>
                  <a:pt x="3" y="77"/>
                </a:cubicBezTo>
                <a:cubicBezTo>
                  <a:pt x="2" y="77"/>
                  <a:pt x="2" y="77"/>
                  <a:pt x="2" y="77"/>
                </a:cubicBezTo>
                <a:cubicBezTo>
                  <a:pt x="1" y="78"/>
                  <a:pt x="1" y="78"/>
                  <a:pt x="1" y="78"/>
                </a:cubicBezTo>
                <a:cubicBezTo>
                  <a:pt x="1" y="80"/>
                  <a:pt x="1" y="80"/>
                  <a:pt x="1" y="80"/>
                </a:cubicBezTo>
                <a:cubicBezTo>
                  <a:pt x="0" y="80"/>
                  <a:pt x="0" y="80"/>
                  <a:pt x="0" y="80"/>
                </a:cubicBezTo>
                <a:cubicBezTo>
                  <a:pt x="0" y="81"/>
                  <a:pt x="0" y="81"/>
                  <a:pt x="0" y="81"/>
                </a:cubicBezTo>
                <a:cubicBezTo>
                  <a:pt x="0" y="83"/>
                  <a:pt x="0" y="83"/>
                  <a:pt x="0" y="83"/>
                </a:cubicBezTo>
                <a:cubicBezTo>
                  <a:pt x="0" y="84"/>
                  <a:pt x="0" y="84"/>
                  <a:pt x="0" y="84"/>
                </a:cubicBezTo>
                <a:cubicBezTo>
                  <a:pt x="0" y="85"/>
                  <a:pt x="0" y="85"/>
                  <a:pt x="0" y="85"/>
                </a:cubicBezTo>
                <a:cubicBezTo>
                  <a:pt x="0" y="86"/>
                  <a:pt x="0" y="86"/>
                  <a:pt x="0" y="86"/>
                </a:cubicBezTo>
                <a:cubicBezTo>
                  <a:pt x="2" y="87"/>
                  <a:pt x="2" y="87"/>
                  <a:pt x="2" y="87"/>
                </a:cubicBezTo>
                <a:cubicBezTo>
                  <a:pt x="5" y="92"/>
                  <a:pt x="5" y="92"/>
                  <a:pt x="5" y="92"/>
                </a:cubicBezTo>
                <a:cubicBezTo>
                  <a:pt x="3" y="94"/>
                  <a:pt x="3" y="94"/>
                  <a:pt x="3" y="94"/>
                </a:cubicBezTo>
                <a:cubicBezTo>
                  <a:pt x="7" y="94"/>
                  <a:pt x="7" y="94"/>
                  <a:pt x="7" y="94"/>
                </a:cubicBezTo>
                <a:cubicBezTo>
                  <a:pt x="9" y="94"/>
                  <a:pt x="9" y="94"/>
                  <a:pt x="9" y="94"/>
                </a:cubicBezTo>
                <a:cubicBezTo>
                  <a:pt x="10" y="96"/>
                  <a:pt x="10" y="96"/>
                  <a:pt x="10" y="96"/>
                </a:cubicBezTo>
                <a:cubicBezTo>
                  <a:pt x="11" y="98"/>
                  <a:pt x="11" y="98"/>
                  <a:pt x="11" y="98"/>
                </a:cubicBezTo>
                <a:cubicBezTo>
                  <a:pt x="13" y="98"/>
                  <a:pt x="13" y="98"/>
                  <a:pt x="13" y="98"/>
                </a:cubicBezTo>
                <a:cubicBezTo>
                  <a:pt x="16" y="98"/>
                  <a:pt x="16" y="98"/>
                  <a:pt x="16" y="98"/>
                </a:cubicBezTo>
                <a:cubicBezTo>
                  <a:pt x="19" y="96"/>
                  <a:pt x="19" y="96"/>
                  <a:pt x="19" y="96"/>
                </a:cubicBezTo>
                <a:cubicBezTo>
                  <a:pt x="21" y="95"/>
                  <a:pt x="21" y="95"/>
                  <a:pt x="21" y="95"/>
                </a:cubicBezTo>
                <a:cubicBezTo>
                  <a:pt x="22" y="95"/>
                  <a:pt x="22" y="95"/>
                  <a:pt x="22" y="95"/>
                </a:cubicBezTo>
                <a:cubicBezTo>
                  <a:pt x="22" y="97"/>
                  <a:pt x="22" y="97"/>
                  <a:pt x="22" y="97"/>
                </a:cubicBezTo>
                <a:cubicBezTo>
                  <a:pt x="21" y="97"/>
                  <a:pt x="21" y="97"/>
                  <a:pt x="21" y="97"/>
                </a:cubicBezTo>
                <a:cubicBezTo>
                  <a:pt x="21" y="99"/>
                  <a:pt x="21" y="99"/>
                  <a:pt x="21" y="99"/>
                </a:cubicBezTo>
                <a:cubicBezTo>
                  <a:pt x="21" y="103"/>
                  <a:pt x="21" y="103"/>
                  <a:pt x="21" y="103"/>
                </a:cubicBezTo>
                <a:cubicBezTo>
                  <a:pt x="22" y="105"/>
                  <a:pt x="22" y="105"/>
                  <a:pt x="22" y="105"/>
                </a:cubicBezTo>
                <a:cubicBezTo>
                  <a:pt x="22" y="105"/>
                  <a:pt x="22" y="105"/>
                  <a:pt x="22" y="105"/>
                </a:cubicBezTo>
                <a:cubicBezTo>
                  <a:pt x="24" y="105"/>
                  <a:pt x="24" y="105"/>
                  <a:pt x="24" y="105"/>
                </a:cubicBezTo>
                <a:cubicBezTo>
                  <a:pt x="25" y="105"/>
                  <a:pt x="25" y="105"/>
                  <a:pt x="25" y="105"/>
                </a:cubicBezTo>
                <a:cubicBezTo>
                  <a:pt x="26" y="105"/>
                  <a:pt x="26" y="105"/>
                  <a:pt x="26" y="105"/>
                </a:cubicBezTo>
                <a:cubicBezTo>
                  <a:pt x="27" y="105"/>
                  <a:pt x="27" y="105"/>
                  <a:pt x="27" y="105"/>
                </a:cubicBezTo>
                <a:cubicBezTo>
                  <a:pt x="27" y="105"/>
                  <a:pt x="27" y="105"/>
                  <a:pt x="27" y="105"/>
                </a:cubicBezTo>
                <a:cubicBezTo>
                  <a:pt x="28" y="105"/>
                  <a:pt x="28" y="105"/>
                  <a:pt x="28" y="105"/>
                </a:cubicBezTo>
                <a:cubicBezTo>
                  <a:pt x="28" y="105"/>
                  <a:pt x="28" y="105"/>
                  <a:pt x="28" y="105"/>
                </a:cubicBezTo>
                <a:cubicBezTo>
                  <a:pt x="32" y="105"/>
                  <a:pt x="32" y="105"/>
                  <a:pt x="32" y="105"/>
                </a:cubicBezTo>
                <a:cubicBezTo>
                  <a:pt x="33" y="105"/>
                  <a:pt x="33" y="105"/>
                  <a:pt x="33" y="105"/>
                </a:cubicBezTo>
                <a:cubicBezTo>
                  <a:pt x="35" y="104"/>
                  <a:pt x="35" y="104"/>
                  <a:pt x="35" y="104"/>
                </a:cubicBezTo>
                <a:cubicBezTo>
                  <a:pt x="36" y="104"/>
                  <a:pt x="36" y="104"/>
                  <a:pt x="36" y="104"/>
                </a:cubicBezTo>
                <a:cubicBezTo>
                  <a:pt x="38" y="103"/>
                  <a:pt x="38" y="103"/>
                  <a:pt x="38" y="103"/>
                </a:cubicBezTo>
                <a:cubicBezTo>
                  <a:pt x="39" y="103"/>
                  <a:pt x="39" y="103"/>
                  <a:pt x="39" y="103"/>
                </a:cubicBezTo>
                <a:cubicBezTo>
                  <a:pt x="41" y="103"/>
                  <a:pt x="41" y="103"/>
                  <a:pt x="41" y="103"/>
                </a:cubicBezTo>
                <a:cubicBezTo>
                  <a:pt x="42" y="100"/>
                  <a:pt x="42" y="100"/>
                  <a:pt x="42" y="100"/>
                </a:cubicBezTo>
                <a:cubicBezTo>
                  <a:pt x="45" y="98"/>
                  <a:pt x="45" y="98"/>
                  <a:pt x="45" y="98"/>
                </a:cubicBezTo>
                <a:cubicBezTo>
                  <a:pt x="47" y="97"/>
                  <a:pt x="47" y="97"/>
                  <a:pt x="47" y="97"/>
                </a:cubicBezTo>
                <a:cubicBezTo>
                  <a:pt x="49" y="96"/>
                  <a:pt x="49" y="96"/>
                  <a:pt x="49" y="96"/>
                </a:cubicBezTo>
                <a:cubicBezTo>
                  <a:pt x="50" y="96"/>
                  <a:pt x="50" y="96"/>
                  <a:pt x="50" y="96"/>
                </a:cubicBezTo>
                <a:cubicBezTo>
                  <a:pt x="52" y="97"/>
                  <a:pt x="52" y="97"/>
                  <a:pt x="52" y="97"/>
                </a:cubicBezTo>
                <a:cubicBezTo>
                  <a:pt x="53" y="96"/>
                  <a:pt x="53" y="96"/>
                  <a:pt x="53" y="96"/>
                </a:cubicBezTo>
                <a:cubicBezTo>
                  <a:pt x="54" y="97"/>
                  <a:pt x="54" y="97"/>
                  <a:pt x="54" y="97"/>
                </a:cubicBezTo>
                <a:cubicBezTo>
                  <a:pt x="54" y="99"/>
                  <a:pt x="54" y="99"/>
                  <a:pt x="54" y="99"/>
                </a:cubicBezTo>
                <a:cubicBezTo>
                  <a:pt x="54" y="101"/>
                  <a:pt x="54" y="101"/>
                  <a:pt x="54" y="101"/>
                </a:cubicBezTo>
                <a:cubicBezTo>
                  <a:pt x="53" y="103"/>
                  <a:pt x="53" y="103"/>
                  <a:pt x="53" y="103"/>
                </a:cubicBezTo>
                <a:cubicBezTo>
                  <a:pt x="54" y="105"/>
                  <a:pt x="54" y="105"/>
                  <a:pt x="54" y="105"/>
                </a:cubicBezTo>
                <a:cubicBezTo>
                  <a:pt x="54" y="107"/>
                  <a:pt x="54" y="107"/>
                  <a:pt x="54" y="107"/>
                </a:cubicBezTo>
                <a:cubicBezTo>
                  <a:pt x="55" y="109"/>
                  <a:pt x="55" y="109"/>
                  <a:pt x="55" y="109"/>
                </a:cubicBezTo>
                <a:cubicBezTo>
                  <a:pt x="56" y="110"/>
                  <a:pt x="56" y="110"/>
                  <a:pt x="56" y="110"/>
                </a:cubicBezTo>
                <a:cubicBezTo>
                  <a:pt x="57" y="112"/>
                  <a:pt x="57" y="112"/>
                  <a:pt x="57" y="112"/>
                </a:cubicBezTo>
                <a:cubicBezTo>
                  <a:pt x="58" y="112"/>
                  <a:pt x="58" y="112"/>
                  <a:pt x="58" y="112"/>
                </a:cubicBezTo>
                <a:cubicBezTo>
                  <a:pt x="60" y="114"/>
                  <a:pt x="60" y="114"/>
                  <a:pt x="60" y="114"/>
                </a:cubicBezTo>
                <a:cubicBezTo>
                  <a:pt x="62" y="115"/>
                  <a:pt x="62" y="115"/>
                  <a:pt x="62" y="115"/>
                </a:cubicBezTo>
                <a:cubicBezTo>
                  <a:pt x="62" y="114"/>
                  <a:pt x="62" y="114"/>
                  <a:pt x="62" y="114"/>
                </a:cubicBezTo>
                <a:cubicBezTo>
                  <a:pt x="65" y="114"/>
                  <a:pt x="65" y="114"/>
                  <a:pt x="65" y="114"/>
                </a:cubicBezTo>
                <a:cubicBezTo>
                  <a:pt x="67" y="116"/>
                  <a:pt x="67" y="116"/>
                  <a:pt x="67" y="116"/>
                </a:cubicBezTo>
                <a:cubicBezTo>
                  <a:pt x="68" y="115"/>
                  <a:pt x="68" y="115"/>
                  <a:pt x="68" y="115"/>
                </a:cubicBezTo>
                <a:cubicBezTo>
                  <a:pt x="71" y="118"/>
                  <a:pt x="71" y="118"/>
                  <a:pt x="71" y="118"/>
                </a:cubicBezTo>
                <a:cubicBezTo>
                  <a:pt x="72" y="118"/>
                  <a:pt x="72" y="118"/>
                  <a:pt x="72" y="118"/>
                </a:cubicBezTo>
                <a:cubicBezTo>
                  <a:pt x="74" y="119"/>
                  <a:pt x="74" y="119"/>
                  <a:pt x="74" y="119"/>
                </a:cubicBezTo>
                <a:cubicBezTo>
                  <a:pt x="76" y="119"/>
                  <a:pt x="76" y="119"/>
                  <a:pt x="76" y="119"/>
                </a:cubicBezTo>
                <a:cubicBezTo>
                  <a:pt x="77" y="121"/>
                  <a:pt x="77" y="121"/>
                  <a:pt x="77" y="121"/>
                </a:cubicBezTo>
                <a:cubicBezTo>
                  <a:pt x="78" y="121"/>
                  <a:pt x="78" y="121"/>
                  <a:pt x="78" y="121"/>
                </a:cubicBezTo>
                <a:cubicBezTo>
                  <a:pt x="79" y="122"/>
                  <a:pt x="79" y="122"/>
                  <a:pt x="79" y="122"/>
                </a:cubicBezTo>
                <a:cubicBezTo>
                  <a:pt x="83" y="122"/>
                  <a:pt x="83" y="122"/>
                  <a:pt x="83" y="122"/>
                </a:cubicBezTo>
                <a:cubicBezTo>
                  <a:pt x="86" y="123"/>
                  <a:pt x="86" y="123"/>
                  <a:pt x="86" y="123"/>
                </a:cubicBezTo>
                <a:cubicBezTo>
                  <a:pt x="86" y="125"/>
                  <a:pt x="86" y="125"/>
                  <a:pt x="86" y="125"/>
                </a:cubicBezTo>
                <a:cubicBezTo>
                  <a:pt x="86" y="127"/>
                  <a:pt x="86" y="127"/>
                  <a:pt x="86" y="127"/>
                </a:cubicBezTo>
                <a:cubicBezTo>
                  <a:pt x="86" y="130"/>
                  <a:pt x="86" y="130"/>
                  <a:pt x="86" y="130"/>
                </a:cubicBezTo>
                <a:cubicBezTo>
                  <a:pt x="86" y="131"/>
                  <a:pt x="86" y="131"/>
                  <a:pt x="86" y="131"/>
                </a:cubicBezTo>
                <a:cubicBezTo>
                  <a:pt x="88" y="135"/>
                  <a:pt x="88" y="135"/>
                  <a:pt x="88" y="135"/>
                </a:cubicBezTo>
                <a:cubicBezTo>
                  <a:pt x="88" y="138"/>
                  <a:pt x="88" y="138"/>
                  <a:pt x="88" y="138"/>
                </a:cubicBezTo>
                <a:cubicBezTo>
                  <a:pt x="99" y="138"/>
                  <a:pt x="99" y="138"/>
                  <a:pt x="99" y="138"/>
                </a:cubicBezTo>
                <a:cubicBezTo>
                  <a:pt x="99" y="142"/>
                  <a:pt x="99" y="142"/>
                  <a:pt x="99" y="142"/>
                </a:cubicBezTo>
                <a:cubicBezTo>
                  <a:pt x="99" y="145"/>
                  <a:pt x="99" y="145"/>
                  <a:pt x="99" y="145"/>
                </a:cubicBezTo>
                <a:cubicBezTo>
                  <a:pt x="102" y="146"/>
                  <a:pt x="102" y="146"/>
                  <a:pt x="102" y="146"/>
                </a:cubicBezTo>
                <a:cubicBezTo>
                  <a:pt x="106" y="151"/>
                  <a:pt x="106" y="151"/>
                  <a:pt x="106" y="151"/>
                </a:cubicBezTo>
                <a:cubicBezTo>
                  <a:pt x="106" y="154"/>
                  <a:pt x="106" y="154"/>
                  <a:pt x="106" y="154"/>
                </a:cubicBezTo>
                <a:cubicBezTo>
                  <a:pt x="103" y="161"/>
                  <a:pt x="103" y="161"/>
                  <a:pt x="103" y="161"/>
                </a:cubicBezTo>
                <a:cubicBezTo>
                  <a:pt x="103" y="161"/>
                  <a:pt x="103" y="161"/>
                  <a:pt x="103" y="161"/>
                </a:cubicBezTo>
                <a:cubicBezTo>
                  <a:pt x="102" y="163"/>
                  <a:pt x="102" y="163"/>
                  <a:pt x="102" y="163"/>
                </a:cubicBezTo>
                <a:cubicBezTo>
                  <a:pt x="103" y="163"/>
                  <a:pt x="103" y="163"/>
                  <a:pt x="103" y="163"/>
                </a:cubicBezTo>
                <a:cubicBezTo>
                  <a:pt x="102" y="165"/>
                  <a:pt x="102" y="165"/>
                  <a:pt x="102" y="165"/>
                </a:cubicBezTo>
                <a:cubicBezTo>
                  <a:pt x="104" y="166"/>
                  <a:pt x="104" y="166"/>
                  <a:pt x="104" y="166"/>
                </a:cubicBezTo>
                <a:cubicBezTo>
                  <a:pt x="104" y="168"/>
                  <a:pt x="104" y="168"/>
                  <a:pt x="104" y="168"/>
                </a:cubicBezTo>
                <a:cubicBezTo>
                  <a:pt x="105" y="170"/>
                  <a:pt x="105" y="170"/>
                  <a:pt x="105" y="170"/>
                </a:cubicBezTo>
                <a:cubicBezTo>
                  <a:pt x="105" y="173"/>
                  <a:pt x="105" y="173"/>
                  <a:pt x="105" y="173"/>
                </a:cubicBezTo>
                <a:cubicBezTo>
                  <a:pt x="105" y="175"/>
                  <a:pt x="105" y="175"/>
                  <a:pt x="105" y="175"/>
                </a:cubicBezTo>
                <a:cubicBezTo>
                  <a:pt x="105" y="176"/>
                  <a:pt x="105" y="176"/>
                  <a:pt x="105" y="176"/>
                </a:cubicBezTo>
                <a:cubicBezTo>
                  <a:pt x="105" y="178"/>
                  <a:pt x="105" y="178"/>
                  <a:pt x="105" y="178"/>
                </a:cubicBezTo>
                <a:cubicBezTo>
                  <a:pt x="107" y="178"/>
                  <a:pt x="107" y="178"/>
                  <a:pt x="107" y="178"/>
                </a:cubicBezTo>
                <a:cubicBezTo>
                  <a:pt x="108" y="178"/>
                  <a:pt x="108" y="178"/>
                  <a:pt x="108" y="178"/>
                </a:cubicBezTo>
                <a:cubicBezTo>
                  <a:pt x="111" y="178"/>
                  <a:pt x="111" y="178"/>
                  <a:pt x="111" y="178"/>
                </a:cubicBezTo>
                <a:cubicBezTo>
                  <a:pt x="113" y="178"/>
                  <a:pt x="113" y="178"/>
                  <a:pt x="113" y="178"/>
                </a:cubicBezTo>
                <a:cubicBezTo>
                  <a:pt x="116" y="177"/>
                  <a:pt x="116" y="177"/>
                  <a:pt x="116" y="177"/>
                </a:cubicBezTo>
                <a:cubicBezTo>
                  <a:pt x="118" y="178"/>
                  <a:pt x="118" y="178"/>
                  <a:pt x="118" y="178"/>
                </a:cubicBezTo>
                <a:cubicBezTo>
                  <a:pt x="119" y="179"/>
                  <a:pt x="119" y="179"/>
                  <a:pt x="119" y="179"/>
                </a:cubicBezTo>
                <a:cubicBezTo>
                  <a:pt x="119" y="180"/>
                  <a:pt x="119" y="180"/>
                  <a:pt x="119" y="180"/>
                </a:cubicBezTo>
                <a:cubicBezTo>
                  <a:pt x="121" y="187"/>
                  <a:pt x="121" y="187"/>
                  <a:pt x="121" y="187"/>
                </a:cubicBezTo>
                <a:cubicBezTo>
                  <a:pt x="122" y="189"/>
                  <a:pt x="122" y="189"/>
                  <a:pt x="122" y="189"/>
                </a:cubicBezTo>
                <a:cubicBezTo>
                  <a:pt x="123" y="190"/>
                  <a:pt x="123" y="190"/>
                  <a:pt x="123" y="190"/>
                </a:cubicBezTo>
                <a:cubicBezTo>
                  <a:pt x="125" y="188"/>
                  <a:pt x="125" y="188"/>
                  <a:pt x="125" y="188"/>
                </a:cubicBezTo>
                <a:cubicBezTo>
                  <a:pt x="127" y="189"/>
                  <a:pt x="127" y="189"/>
                  <a:pt x="127" y="189"/>
                </a:cubicBezTo>
                <a:cubicBezTo>
                  <a:pt x="128" y="190"/>
                  <a:pt x="128" y="190"/>
                  <a:pt x="128" y="190"/>
                </a:cubicBezTo>
                <a:cubicBezTo>
                  <a:pt x="129" y="190"/>
                  <a:pt x="129" y="190"/>
                  <a:pt x="129" y="190"/>
                </a:cubicBezTo>
                <a:cubicBezTo>
                  <a:pt x="128" y="191"/>
                  <a:pt x="128" y="191"/>
                  <a:pt x="128" y="191"/>
                </a:cubicBezTo>
                <a:cubicBezTo>
                  <a:pt x="128" y="197"/>
                  <a:pt x="128" y="197"/>
                  <a:pt x="128" y="197"/>
                </a:cubicBezTo>
                <a:cubicBezTo>
                  <a:pt x="128" y="198"/>
                  <a:pt x="128" y="198"/>
                  <a:pt x="128" y="198"/>
                </a:cubicBezTo>
                <a:cubicBezTo>
                  <a:pt x="127" y="198"/>
                  <a:pt x="127" y="198"/>
                  <a:pt x="127" y="198"/>
                </a:cubicBezTo>
                <a:cubicBezTo>
                  <a:pt x="127" y="199"/>
                  <a:pt x="127" y="199"/>
                  <a:pt x="127" y="199"/>
                </a:cubicBezTo>
                <a:cubicBezTo>
                  <a:pt x="127" y="199"/>
                  <a:pt x="127" y="199"/>
                  <a:pt x="127" y="199"/>
                </a:cubicBezTo>
                <a:cubicBezTo>
                  <a:pt x="127" y="200"/>
                  <a:pt x="127" y="200"/>
                  <a:pt x="127" y="200"/>
                </a:cubicBezTo>
                <a:cubicBezTo>
                  <a:pt x="128" y="199"/>
                  <a:pt x="128" y="199"/>
                  <a:pt x="128" y="199"/>
                </a:cubicBezTo>
                <a:cubicBezTo>
                  <a:pt x="131" y="200"/>
                  <a:pt x="131" y="200"/>
                  <a:pt x="131" y="200"/>
                </a:cubicBezTo>
                <a:cubicBezTo>
                  <a:pt x="131" y="201"/>
                  <a:pt x="131" y="201"/>
                  <a:pt x="131" y="201"/>
                </a:cubicBezTo>
                <a:cubicBezTo>
                  <a:pt x="133" y="204"/>
                  <a:pt x="133" y="204"/>
                  <a:pt x="133" y="204"/>
                </a:cubicBezTo>
                <a:cubicBezTo>
                  <a:pt x="132" y="206"/>
                  <a:pt x="132" y="206"/>
                  <a:pt x="132" y="206"/>
                </a:cubicBezTo>
                <a:cubicBezTo>
                  <a:pt x="133" y="208"/>
                  <a:pt x="133" y="208"/>
                  <a:pt x="133" y="208"/>
                </a:cubicBezTo>
                <a:cubicBezTo>
                  <a:pt x="133" y="210"/>
                  <a:pt x="133" y="210"/>
                  <a:pt x="133" y="210"/>
                </a:cubicBezTo>
                <a:cubicBezTo>
                  <a:pt x="133" y="211"/>
                  <a:pt x="133" y="211"/>
                  <a:pt x="133" y="211"/>
                </a:cubicBezTo>
                <a:cubicBezTo>
                  <a:pt x="131" y="211"/>
                  <a:pt x="131" y="211"/>
                  <a:pt x="131" y="211"/>
                </a:cubicBezTo>
                <a:cubicBezTo>
                  <a:pt x="130" y="212"/>
                  <a:pt x="130" y="212"/>
                  <a:pt x="130" y="212"/>
                </a:cubicBezTo>
                <a:cubicBezTo>
                  <a:pt x="130" y="213"/>
                  <a:pt x="130" y="213"/>
                  <a:pt x="130" y="213"/>
                </a:cubicBezTo>
                <a:cubicBezTo>
                  <a:pt x="129" y="213"/>
                  <a:pt x="129" y="213"/>
                  <a:pt x="129" y="213"/>
                </a:cubicBezTo>
                <a:cubicBezTo>
                  <a:pt x="128" y="213"/>
                  <a:pt x="128" y="213"/>
                  <a:pt x="128" y="213"/>
                </a:cubicBezTo>
                <a:cubicBezTo>
                  <a:pt x="126" y="215"/>
                  <a:pt x="126" y="215"/>
                  <a:pt x="126" y="215"/>
                </a:cubicBezTo>
                <a:cubicBezTo>
                  <a:pt x="125" y="216"/>
                  <a:pt x="125" y="216"/>
                  <a:pt x="125" y="216"/>
                </a:cubicBezTo>
                <a:cubicBezTo>
                  <a:pt x="124" y="216"/>
                  <a:pt x="124" y="216"/>
                  <a:pt x="124" y="216"/>
                </a:cubicBezTo>
                <a:cubicBezTo>
                  <a:pt x="122" y="218"/>
                  <a:pt x="122" y="218"/>
                  <a:pt x="122" y="218"/>
                </a:cubicBezTo>
                <a:cubicBezTo>
                  <a:pt x="121" y="218"/>
                  <a:pt x="121" y="218"/>
                  <a:pt x="121" y="218"/>
                </a:cubicBezTo>
                <a:cubicBezTo>
                  <a:pt x="121" y="220"/>
                  <a:pt x="121" y="220"/>
                  <a:pt x="121" y="220"/>
                </a:cubicBezTo>
                <a:cubicBezTo>
                  <a:pt x="120" y="220"/>
                  <a:pt x="120" y="220"/>
                  <a:pt x="120" y="220"/>
                </a:cubicBezTo>
                <a:cubicBezTo>
                  <a:pt x="119" y="220"/>
                  <a:pt x="119" y="220"/>
                  <a:pt x="119" y="220"/>
                </a:cubicBezTo>
                <a:cubicBezTo>
                  <a:pt x="117" y="222"/>
                  <a:pt x="117" y="222"/>
                  <a:pt x="117" y="222"/>
                </a:cubicBezTo>
                <a:cubicBezTo>
                  <a:pt x="117" y="223"/>
                  <a:pt x="117" y="223"/>
                  <a:pt x="117" y="223"/>
                </a:cubicBezTo>
                <a:cubicBezTo>
                  <a:pt x="117" y="225"/>
                  <a:pt x="117" y="225"/>
                  <a:pt x="117" y="225"/>
                </a:cubicBezTo>
                <a:cubicBezTo>
                  <a:pt x="116" y="225"/>
                  <a:pt x="116" y="225"/>
                  <a:pt x="116" y="225"/>
                </a:cubicBezTo>
                <a:cubicBezTo>
                  <a:pt x="116" y="226"/>
                  <a:pt x="116" y="226"/>
                  <a:pt x="116" y="226"/>
                </a:cubicBezTo>
                <a:cubicBezTo>
                  <a:pt x="114" y="228"/>
                  <a:pt x="114" y="228"/>
                  <a:pt x="114" y="228"/>
                </a:cubicBezTo>
                <a:cubicBezTo>
                  <a:pt x="113" y="229"/>
                  <a:pt x="113" y="229"/>
                  <a:pt x="113" y="229"/>
                </a:cubicBezTo>
                <a:cubicBezTo>
                  <a:pt x="112" y="231"/>
                  <a:pt x="112" y="231"/>
                  <a:pt x="112" y="231"/>
                </a:cubicBezTo>
                <a:cubicBezTo>
                  <a:pt x="112" y="231"/>
                  <a:pt x="112" y="231"/>
                  <a:pt x="112" y="231"/>
                </a:cubicBezTo>
                <a:cubicBezTo>
                  <a:pt x="111" y="232"/>
                  <a:pt x="111" y="232"/>
                  <a:pt x="111" y="232"/>
                </a:cubicBezTo>
                <a:cubicBezTo>
                  <a:pt x="111" y="233"/>
                  <a:pt x="111" y="233"/>
                  <a:pt x="111" y="233"/>
                </a:cubicBezTo>
                <a:cubicBezTo>
                  <a:pt x="112" y="233"/>
                  <a:pt x="112" y="233"/>
                  <a:pt x="112" y="233"/>
                </a:cubicBezTo>
                <a:cubicBezTo>
                  <a:pt x="113" y="233"/>
                  <a:pt x="113" y="233"/>
                  <a:pt x="113" y="233"/>
                </a:cubicBezTo>
                <a:cubicBezTo>
                  <a:pt x="116" y="232"/>
                  <a:pt x="116" y="232"/>
                  <a:pt x="116" y="232"/>
                </a:cubicBezTo>
                <a:cubicBezTo>
                  <a:pt x="117" y="233"/>
                  <a:pt x="117" y="233"/>
                  <a:pt x="117" y="233"/>
                </a:cubicBezTo>
                <a:cubicBezTo>
                  <a:pt x="119" y="235"/>
                  <a:pt x="119" y="235"/>
                  <a:pt x="119" y="235"/>
                </a:cubicBezTo>
                <a:cubicBezTo>
                  <a:pt x="120" y="235"/>
                  <a:pt x="120" y="235"/>
                  <a:pt x="120" y="235"/>
                </a:cubicBezTo>
                <a:cubicBezTo>
                  <a:pt x="121" y="237"/>
                  <a:pt x="121" y="237"/>
                  <a:pt x="121" y="237"/>
                </a:cubicBezTo>
                <a:cubicBezTo>
                  <a:pt x="122" y="240"/>
                  <a:pt x="122" y="240"/>
                  <a:pt x="122" y="240"/>
                </a:cubicBezTo>
                <a:cubicBezTo>
                  <a:pt x="123" y="240"/>
                  <a:pt x="123" y="240"/>
                  <a:pt x="123" y="240"/>
                </a:cubicBezTo>
                <a:cubicBezTo>
                  <a:pt x="124" y="238"/>
                  <a:pt x="124" y="238"/>
                  <a:pt x="124" y="238"/>
                </a:cubicBezTo>
                <a:cubicBezTo>
                  <a:pt x="125" y="238"/>
                  <a:pt x="125" y="238"/>
                  <a:pt x="125" y="238"/>
                </a:cubicBezTo>
                <a:cubicBezTo>
                  <a:pt x="126" y="241"/>
                  <a:pt x="126" y="241"/>
                  <a:pt x="126" y="241"/>
                </a:cubicBezTo>
                <a:cubicBezTo>
                  <a:pt x="128" y="241"/>
                  <a:pt x="128" y="241"/>
                  <a:pt x="128" y="241"/>
                </a:cubicBezTo>
                <a:cubicBezTo>
                  <a:pt x="129" y="242"/>
                  <a:pt x="129" y="242"/>
                  <a:pt x="129" y="242"/>
                </a:cubicBezTo>
                <a:cubicBezTo>
                  <a:pt x="131" y="243"/>
                  <a:pt x="131" y="243"/>
                  <a:pt x="131" y="243"/>
                </a:cubicBezTo>
                <a:cubicBezTo>
                  <a:pt x="131" y="245"/>
                  <a:pt x="131" y="245"/>
                  <a:pt x="131" y="245"/>
                </a:cubicBezTo>
                <a:cubicBezTo>
                  <a:pt x="132" y="245"/>
                  <a:pt x="132" y="245"/>
                  <a:pt x="132" y="245"/>
                </a:cubicBezTo>
                <a:cubicBezTo>
                  <a:pt x="135" y="246"/>
                  <a:pt x="135" y="246"/>
                  <a:pt x="135" y="246"/>
                </a:cubicBezTo>
                <a:cubicBezTo>
                  <a:pt x="136" y="248"/>
                  <a:pt x="136" y="248"/>
                  <a:pt x="136" y="248"/>
                </a:cubicBezTo>
                <a:cubicBezTo>
                  <a:pt x="138" y="250"/>
                  <a:pt x="138" y="250"/>
                  <a:pt x="138" y="250"/>
                </a:cubicBezTo>
                <a:cubicBezTo>
                  <a:pt x="139" y="251"/>
                  <a:pt x="139" y="251"/>
                  <a:pt x="139" y="251"/>
                </a:cubicBezTo>
                <a:cubicBezTo>
                  <a:pt x="139" y="253"/>
                  <a:pt x="139" y="253"/>
                  <a:pt x="139" y="253"/>
                </a:cubicBezTo>
                <a:cubicBezTo>
                  <a:pt x="138" y="254"/>
                  <a:pt x="138" y="254"/>
                  <a:pt x="138" y="254"/>
                </a:cubicBezTo>
                <a:cubicBezTo>
                  <a:pt x="138" y="256"/>
                  <a:pt x="138" y="256"/>
                  <a:pt x="138" y="256"/>
                </a:cubicBezTo>
                <a:cubicBezTo>
                  <a:pt x="138" y="257"/>
                  <a:pt x="138" y="257"/>
                  <a:pt x="138" y="257"/>
                </a:cubicBezTo>
                <a:cubicBezTo>
                  <a:pt x="138" y="257"/>
                  <a:pt x="138" y="257"/>
                  <a:pt x="138" y="257"/>
                </a:cubicBezTo>
                <a:cubicBezTo>
                  <a:pt x="139" y="258"/>
                  <a:pt x="139" y="258"/>
                  <a:pt x="139" y="258"/>
                </a:cubicBezTo>
                <a:cubicBezTo>
                  <a:pt x="140" y="258"/>
                  <a:pt x="140" y="258"/>
                  <a:pt x="140" y="258"/>
                </a:cubicBezTo>
                <a:cubicBezTo>
                  <a:pt x="142" y="256"/>
                  <a:pt x="142" y="256"/>
                  <a:pt x="142" y="256"/>
                </a:cubicBezTo>
                <a:cubicBezTo>
                  <a:pt x="143" y="254"/>
                  <a:pt x="143" y="254"/>
                  <a:pt x="143" y="254"/>
                </a:cubicBezTo>
                <a:cubicBezTo>
                  <a:pt x="144" y="250"/>
                  <a:pt x="144" y="250"/>
                  <a:pt x="144" y="250"/>
                </a:cubicBezTo>
                <a:cubicBezTo>
                  <a:pt x="145" y="247"/>
                  <a:pt x="145" y="247"/>
                  <a:pt x="145" y="247"/>
                </a:cubicBezTo>
                <a:cubicBezTo>
                  <a:pt x="145" y="246"/>
                  <a:pt x="145" y="246"/>
                  <a:pt x="145" y="246"/>
                </a:cubicBezTo>
                <a:cubicBezTo>
                  <a:pt x="145" y="246"/>
                  <a:pt x="145" y="246"/>
                  <a:pt x="145" y="246"/>
                </a:cubicBezTo>
                <a:cubicBezTo>
                  <a:pt x="144" y="244"/>
                  <a:pt x="144" y="244"/>
                  <a:pt x="144" y="244"/>
                </a:cubicBezTo>
                <a:cubicBezTo>
                  <a:pt x="144" y="243"/>
                  <a:pt x="144" y="243"/>
                  <a:pt x="144" y="243"/>
                </a:cubicBezTo>
                <a:cubicBezTo>
                  <a:pt x="145" y="243"/>
                  <a:pt x="145" y="243"/>
                  <a:pt x="145" y="243"/>
                </a:cubicBezTo>
                <a:cubicBezTo>
                  <a:pt x="145" y="242"/>
                  <a:pt x="145" y="242"/>
                  <a:pt x="145" y="242"/>
                </a:cubicBezTo>
                <a:cubicBezTo>
                  <a:pt x="146" y="241"/>
                  <a:pt x="146" y="241"/>
                  <a:pt x="146" y="241"/>
                </a:cubicBezTo>
                <a:cubicBezTo>
                  <a:pt x="146" y="240"/>
                  <a:pt x="146" y="240"/>
                  <a:pt x="146" y="240"/>
                </a:cubicBezTo>
                <a:cubicBezTo>
                  <a:pt x="147" y="240"/>
                  <a:pt x="147" y="240"/>
                  <a:pt x="147" y="240"/>
                </a:cubicBezTo>
                <a:cubicBezTo>
                  <a:pt x="148" y="240"/>
                  <a:pt x="148" y="240"/>
                  <a:pt x="148" y="240"/>
                </a:cubicBezTo>
                <a:cubicBezTo>
                  <a:pt x="149" y="239"/>
                  <a:pt x="149" y="239"/>
                  <a:pt x="149" y="239"/>
                </a:cubicBezTo>
                <a:cubicBezTo>
                  <a:pt x="149" y="238"/>
                  <a:pt x="149" y="238"/>
                  <a:pt x="149" y="238"/>
                </a:cubicBezTo>
                <a:cubicBezTo>
                  <a:pt x="149" y="237"/>
                  <a:pt x="149" y="237"/>
                  <a:pt x="149" y="237"/>
                </a:cubicBezTo>
                <a:cubicBezTo>
                  <a:pt x="149" y="236"/>
                  <a:pt x="149" y="236"/>
                  <a:pt x="149" y="236"/>
                </a:cubicBezTo>
                <a:cubicBezTo>
                  <a:pt x="150" y="235"/>
                  <a:pt x="150" y="235"/>
                  <a:pt x="150" y="235"/>
                </a:cubicBezTo>
                <a:cubicBezTo>
                  <a:pt x="150" y="235"/>
                  <a:pt x="150" y="235"/>
                  <a:pt x="150" y="235"/>
                </a:cubicBezTo>
                <a:cubicBezTo>
                  <a:pt x="151" y="234"/>
                  <a:pt x="151" y="234"/>
                  <a:pt x="151" y="234"/>
                </a:cubicBezTo>
                <a:cubicBezTo>
                  <a:pt x="151" y="233"/>
                  <a:pt x="151" y="233"/>
                  <a:pt x="151" y="233"/>
                </a:cubicBezTo>
                <a:cubicBezTo>
                  <a:pt x="150" y="232"/>
                  <a:pt x="150" y="232"/>
                  <a:pt x="150" y="232"/>
                </a:cubicBezTo>
                <a:cubicBezTo>
                  <a:pt x="150" y="231"/>
                  <a:pt x="150" y="231"/>
                  <a:pt x="150" y="231"/>
                </a:cubicBezTo>
                <a:cubicBezTo>
                  <a:pt x="149" y="230"/>
                  <a:pt x="149" y="230"/>
                  <a:pt x="149" y="230"/>
                </a:cubicBezTo>
                <a:cubicBezTo>
                  <a:pt x="150" y="230"/>
                  <a:pt x="150" y="230"/>
                  <a:pt x="150" y="230"/>
                </a:cubicBezTo>
                <a:cubicBezTo>
                  <a:pt x="151" y="232"/>
                  <a:pt x="151" y="232"/>
                  <a:pt x="151" y="232"/>
                </a:cubicBezTo>
                <a:cubicBezTo>
                  <a:pt x="152" y="233"/>
                  <a:pt x="152" y="233"/>
                  <a:pt x="152" y="233"/>
                </a:cubicBezTo>
                <a:cubicBezTo>
                  <a:pt x="153" y="233"/>
                  <a:pt x="153" y="233"/>
                  <a:pt x="153" y="233"/>
                </a:cubicBezTo>
                <a:cubicBezTo>
                  <a:pt x="153" y="233"/>
                  <a:pt x="153" y="233"/>
                  <a:pt x="153" y="233"/>
                </a:cubicBezTo>
                <a:cubicBezTo>
                  <a:pt x="154" y="233"/>
                  <a:pt x="154" y="233"/>
                  <a:pt x="154" y="233"/>
                </a:cubicBezTo>
                <a:cubicBezTo>
                  <a:pt x="154" y="235"/>
                  <a:pt x="154" y="235"/>
                  <a:pt x="154" y="235"/>
                </a:cubicBezTo>
                <a:cubicBezTo>
                  <a:pt x="154" y="235"/>
                  <a:pt x="154" y="235"/>
                  <a:pt x="154" y="235"/>
                </a:cubicBezTo>
                <a:cubicBezTo>
                  <a:pt x="153" y="237"/>
                  <a:pt x="153" y="237"/>
                  <a:pt x="153" y="237"/>
                </a:cubicBezTo>
                <a:cubicBezTo>
                  <a:pt x="151" y="239"/>
                  <a:pt x="151" y="239"/>
                  <a:pt x="151" y="239"/>
                </a:cubicBezTo>
                <a:cubicBezTo>
                  <a:pt x="150" y="239"/>
                  <a:pt x="150" y="239"/>
                  <a:pt x="150" y="239"/>
                </a:cubicBezTo>
                <a:cubicBezTo>
                  <a:pt x="150" y="241"/>
                  <a:pt x="150" y="241"/>
                  <a:pt x="150" y="241"/>
                </a:cubicBezTo>
                <a:cubicBezTo>
                  <a:pt x="150" y="242"/>
                  <a:pt x="150" y="242"/>
                  <a:pt x="150" y="242"/>
                </a:cubicBezTo>
                <a:cubicBezTo>
                  <a:pt x="149" y="242"/>
                  <a:pt x="149" y="242"/>
                  <a:pt x="149" y="242"/>
                </a:cubicBezTo>
                <a:cubicBezTo>
                  <a:pt x="148" y="242"/>
                  <a:pt x="148" y="242"/>
                  <a:pt x="148" y="242"/>
                </a:cubicBezTo>
                <a:cubicBezTo>
                  <a:pt x="147" y="243"/>
                  <a:pt x="147" y="243"/>
                  <a:pt x="147" y="243"/>
                </a:cubicBezTo>
                <a:cubicBezTo>
                  <a:pt x="147" y="244"/>
                  <a:pt x="147" y="244"/>
                  <a:pt x="147" y="244"/>
                </a:cubicBezTo>
                <a:cubicBezTo>
                  <a:pt x="146" y="244"/>
                  <a:pt x="146" y="244"/>
                  <a:pt x="146" y="244"/>
                </a:cubicBezTo>
                <a:cubicBezTo>
                  <a:pt x="145" y="245"/>
                  <a:pt x="145" y="245"/>
                  <a:pt x="145" y="245"/>
                </a:cubicBezTo>
                <a:cubicBezTo>
                  <a:pt x="145" y="245"/>
                  <a:pt x="145" y="245"/>
                  <a:pt x="145" y="245"/>
                </a:cubicBezTo>
                <a:cubicBezTo>
                  <a:pt x="147" y="246"/>
                  <a:pt x="147" y="246"/>
                  <a:pt x="147" y="246"/>
                </a:cubicBezTo>
                <a:cubicBezTo>
                  <a:pt x="150" y="242"/>
                  <a:pt x="150" y="242"/>
                  <a:pt x="150" y="242"/>
                </a:cubicBezTo>
                <a:cubicBezTo>
                  <a:pt x="153" y="240"/>
                  <a:pt x="153" y="240"/>
                  <a:pt x="153" y="240"/>
                </a:cubicBezTo>
                <a:cubicBezTo>
                  <a:pt x="155" y="235"/>
                  <a:pt x="155" y="235"/>
                  <a:pt x="155" y="235"/>
                </a:cubicBezTo>
                <a:cubicBezTo>
                  <a:pt x="157" y="233"/>
                  <a:pt x="157" y="233"/>
                  <a:pt x="157" y="233"/>
                </a:cubicBezTo>
                <a:cubicBezTo>
                  <a:pt x="158" y="229"/>
                  <a:pt x="158" y="229"/>
                  <a:pt x="158" y="229"/>
                </a:cubicBezTo>
                <a:cubicBezTo>
                  <a:pt x="161" y="224"/>
                  <a:pt x="161" y="224"/>
                  <a:pt x="161" y="224"/>
                </a:cubicBezTo>
                <a:cubicBezTo>
                  <a:pt x="163" y="221"/>
                  <a:pt x="163" y="221"/>
                  <a:pt x="163" y="221"/>
                </a:cubicBezTo>
                <a:cubicBezTo>
                  <a:pt x="164" y="220"/>
                  <a:pt x="164" y="220"/>
                  <a:pt x="164" y="220"/>
                </a:cubicBezTo>
                <a:cubicBezTo>
                  <a:pt x="164" y="219"/>
                  <a:pt x="164" y="219"/>
                  <a:pt x="164" y="219"/>
                </a:cubicBezTo>
                <a:cubicBezTo>
                  <a:pt x="164" y="218"/>
                  <a:pt x="164" y="218"/>
                  <a:pt x="164" y="218"/>
                </a:cubicBezTo>
                <a:cubicBezTo>
                  <a:pt x="164" y="218"/>
                  <a:pt x="164" y="218"/>
                  <a:pt x="164" y="218"/>
                </a:cubicBezTo>
                <a:cubicBezTo>
                  <a:pt x="165" y="217"/>
                  <a:pt x="165" y="217"/>
                  <a:pt x="165" y="217"/>
                </a:cubicBezTo>
                <a:cubicBezTo>
                  <a:pt x="166" y="216"/>
                  <a:pt x="166" y="216"/>
                  <a:pt x="166" y="216"/>
                </a:cubicBezTo>
                <a:cubicBezTo>
                  <a:pt x="165" y="215"/>
                  <a:pt x="165" y="215"/>
                  <a:pt x="165" y="215"/>
                </a:cubicBezTo>
                <a:cubicBezTo>
                  <a:pt x="166" y="214"/>
                  <a:pt x="166" y="214"/>
                  <a:pt x="166" y="214"/>
                </a:cubicBezTo>
                <a:cubicBezTo>
                  <a:pt x="165" y="214"/>
                  <a:pt x="165" y="214"/>
                  <a:pt x="165" y="214"/>
                </a:cubicBezTo>
                <a:cubicBezTo>
                  <a:pt x="165" y="214"/>
                  <a:pt x="165" y="214"/>
                  <a:pt x="165" y="214"/>
                </a:cubicBezTo>
                <a:cubicBezTo>
                  <a:pt x="165" y="212"/>
                  <a:pt x="165" y="212"/>
                  <a:pt x="165" y="212"/>
                </a:cubicBezTo>
                <a:cubicBezTo>
                  <a:pt x="164" y="211"/>
                  <a:pt x="164" y="211"/>
                  <a:pt x="164" y="211"/>
                </a:cubicBezTo>
                <a:cubicBezTo>
                  <a:pt x="164" y="210"/>
                  <a:pt x="164" y="210"/>
                  <a:pt x="164" y="210"/>
                </a:cubicBezTo>
                <a:cubicBezTo>
                  <a:pt x="164" y="209"/>
                  <a:pt x="164" y="209"/>
                  <a:pt x="164" y="209"/>
                </a:cubicBezTo>
                <a:cubicBezTo>
                  <a:pt x="164" y="208"/>
                  <a:pt x="164" y="208"/>
                  <a:pt x="164" y="208"/>
                </a:cubicBezTo>
                <a:cubicBezTo>
                  <a:pt x="163" y="206"/>
                  <a:pt x="163" y="206"/>
                  <a:pt x="163" y="206"/>
                </a:cubicBezTo>
                <a:cubicBezTo>
                  <a:pt x="163" y="205"/>
                  <a:pt x="163" y="205"/>
                  <a:pt x="163" y="205"/>
                </a:cubicBezTo>
                <a:cubicBezTo>
                  <a:pt x="163" y="204"/>
                  <a:pt x="163" y="204"/>
                  <a:pt x="163" y="204"/>
                </a:cubicBezTo>
                <a:cubicBezTo>
                  <a:pt x="165" y="204"/>
                  <a:pt x="165" y="204"/>
                  <a:pt x="165" y="204"/>
                </a:cubicBezTo>
                <a:cubicBezTo>
                  <a:pt x="164" y="203"/>
                  <a:pt x="164" y="203"/>
                  <a:pt x="164" y="203"/>
                </a:cubicBezTo>
                <a:cubicBezTo>
                  <a:pt x="164" y="202"/>
                  <a:pt x="164" y="202"/>
                  <a:pt x="164" y="202"/>
                </a:cubicBezTo>
                <a:cubicBezTo>
                  <a:pt x="165" y="202"/>
                  <a:pt x="165" y="202"/>
                  <a:pt x="165" y="202"/>
                </a:cubicBezTo>
                <a:cubicBezTo>
                  <a:pt x="165" y="201"/>
                  <a:pt x="165" y="201"/>
                  <a:pt x="165" y="201"/>
                </a:cubicBezTo>
                <a:cubicBezTo>
                  <a:pt x="164" y="200"/>
                  <a:pt x="164" y="200"/>
                  <a:pt x="164" y="200"/>
                </a:cubicBezTo>
                <a:cubicBezTo>
                  <a:pt x="165" y="200"/>
                  <a:pt x="165" y="200"/>
                  <a:pt x="165" y="200"/>
                </a:cubicBezTo>
                <a:cubicBezTo>
                  <a:pt x="166" y="198"/>
                  <a:pt x="166" y="198"/>
                  <a:pt x="166" y="198"/>
                </a:cubicBezTo>
                <a:cubicBezTo>
                  <a:pt x="166" y="199"/>
                  <a:pt x="166" y="199"/>
                  <a:pt x="166" y="199"/>
                </a:cubicBezTo>
                <a:cubicBezTo>
                  <a:pt x="168" y="197"/>
                  <a:pt x="168" y="197"/>
                  <a:pt x="168" y="197"/>
                </a:cubicBezTo>
                <a:cubicBezTo>
                  <a:pt x="169" y="196"/>
                  <a:pt x="169" y="196"/>
                  <a:pt x="169" y="196"/>
                </a:cubicBezTo>
                <a:cubicBezTo>
                  <a:pt x="169" y="196"/>
                  <a:pt x="169" y="196"/>
                  <a:pt x="169" y="196"/>
                </a:cubicBezTo>
                <a:cubicBezTo>
                  <a:pt x="171" y="194"/>
                  <a:pt x="171" y="194"/>
                  <a:pt x="171" y="194"/>
                </a:cubicBezTo>
                <a:cubicBezTo>
                  <a:pt x="173" y="193"/>
                  <a:pt x="173" y="193"/>
                  <a:pt x="173" y="193"/>
                </a:cubicBezTo>
                <a:cubicBezTo>
                  <a:pt x="176" y="190"/>
                  <a:pt x="176" y="190"/>
                  <a:pt x="176" y="190"/>
                </a:cubicBezTo>
                <a:cubicBezTo>
                  <a:pt x="178" y="190"/>
                  <a:pt x="178" y="190"/>
                  <a:pt x="178" y="190"/>
                </a:cubicBezTo>
                <a:cubicBezTo>
                  <a:pt x="179" y="189"/>
                  <a:pt x="179" y="189"/>
                  <a:pt x="179" y="189"/>
                </a:cubicBezTo>
                <a:cubicBezTo>
                  <a:pt x="180" y="188"/>
                  <a:pt x="180" y="188"/>
                  <a:pt x="180" y="188"/>
                </a:cubicBezTo>
                <a:cubicBezTo>
                  <a:pt x="182" y="188"/>
                  <a:pt x="182" y="188"/>
                  <a:pt x="182" y="188"/>
                </a:cubicBezTo>
                <a:cubicBezTo>
                  <a:pt x="182" y="188"/>
                  <a:pt x="182" y="188"/>
                  <a:pt x="182" y="188"/>
                </a:cubicBezTo>
                <a:cubicBezTo>
                  <a:pt x="183" y="188"/>
                  <a:pt x="183" y="188"/>
                  <a:pt x="183" y="188"/>
                </a:cubicBezTo>
                <a:cubicBezTo>
                  <a:pt x="183" y="188"/>
                  <a:pt x="183" y="188"/>
                  <a:pt x="183" y="188"/>
                </a:cubicBezTo>
                <a:cubicBezTo>
                  <a:pt x="184" y="186"/>
                  <a:pt x="184" y="186"/>
                  <a:pt x="184" y="186"/>
                </a:cubicBezTo>
                <a:cubicBezTo>
                  <a:pt x="187" y="184"/>
                  <a:pt x="187" y="184"/>
                  <a:pt x="187" y="184"/>
                </a:cubicBezTo>
                <a:cubicBezTo>
                  <a:pt x="188" y="184"/>
                  <a:pt x="188" y="184"/>
                  <a:pt x="188" y="184"/>
                </a:cubicBezTo>
                <a:cubicBezTo>
                  <a:pt x="188" y="183"/>
                  <a:pt x="188" y="183"/>
                  <a:pt x="188" y="183"/>
                </a:cubicBezTo>
                <a:cubicBezTo>
                  <a:pt x="188" y="183"/>
                  <a:pt x="188" y="183"/>
                  <a:pt x="188" y="183"/>
                </a:cubicBezTo>
                <a:cubicBezTo>
                  <a:pt x="187" y="183"/>
                  <a:pt x="187" y="183"/>
                  <a:pt x="187" y="183"/>
                </a:cubicBezTo>
                <a:cubicBezTo>
                  <a:pt x="186" y="182"/>
                  <a:pt x="186" y="182"/>
                  <a:pt x="186" y="182"/>
                </a:cubicBezTo>
                <a:cubicBezTo>
                  <a:pt x="187" y="182"/>
                  <a:pt x="187" y="182"/>
                  <a:pt x="187" y="182"/>
                </a:cubicBezTo>
                <a:cubicBezTo>
                  <a:pt x="189" y="181"/>
                  <a:pt x="189" y="181"/>
                  <a:pt x="189" y="181"/>
                </a:cubicBezTo>
                <a:cubicBezTo>
                  <a:pt x="190" y="181"/>
                  <a:pt x="190" y="181"/>
                  <a:pt x="190" y="181"/>
                </a:cubicBezTo>
                <a:cubicBezTo>
                  <a:pt x="191" y="181"/>
                  <a:pt x="191" y="181"/>
                  <a:pt x="191" y="181"/>
                </a:cubicBezTo>
                <a:cubicBezTo>
                  <a:pt x="192" y="180"/>
                  <a:pt x="192" y="180"/>
                  <a:pt x="192" y="180"/>
                </a:cubicBezTo>
                <a:cubicBezTo>
                  <a:pt x="193" y="180"/>
                  <a:pt x="193" y="180"/>
                  <a:pt x="193" y="180"/>
                </a:cubicBezTo>
                <a:cubicBezTo>
                  <a:pt x="193" y="181"/>
                  <a:pt x="193" y="181"/>
                  <a:pt x="193" y="181"/>
                </a:cubicBezTo>
                <a:cubicBezTo>
                  <a:pt x="191" y="182"/>
                  <a:pt x="191" y="182"/>
                  <a:pt x="191" y="182"/>
                </a:cubicBezTo>
                <a:cubicBezTo>
                  <a:pt x="189" y="182"/>
                  <a:pt x="189" y="182"/>
                  <a:pt x="189" y="182"/>
                </a:cubicBezTo>
                <a:cubicBezTo>
                  <a:pt x="189" y="182"/>
                  <a:pt x="189" y="182"/>
                  <a:pt x="189" y="182"/>
                </a:cubicBezTo>
                <a:cubicBezTo>
                  <a:pt x="190" y="183"/>
                  <a:pt x="190" y="183"/>
                  <a:pt x="190" y="183"/>
                </a:cubicBezTo>
                <a:cubicBezTo>
                  <a:pt x="192" y="182"/>
                  <a:pt x="192" y="182"/>
                  <a:pt x="192" y="182"/>
                </a:cubicBezTo>
                <a:cubicBezTo>
                  <a:pt x="195" y="181"/>
                  <a:pt x="195" y="181"/>
                  <a:pt x="195" y="181"/>
                </a:cubicBezTo>
                <a:cubicBezTo>
                  <a:pt x="195" y="180"/>
                  <a:pt x="195" y="180"/>
                  <a:pt x="195" y="180"/>
                </a:cubicBezTo>
                <a:cubicBezTo>
                  <a:pt x="196" y="180"/>
                  <a:pt x="196" y="180"/>
                  <a:pt x="196" y="180"/>
                </a:cubicBezTo>
                <a:cubicBezTo>
                  <a:pt x="196" y="180"/>
                  <a:pt x="196" y="180"/>
                  <a:pt x="196" y="180"/>
                </a:cubicBezTo>
                <a:cubicBezTo>
                  <a:pt x="196" y="180"/>
                  <a:pt x="196" y="180"/>
                  <a:pt x="196" y="180"/>
                </a:cubicBezTo>
                <a:cubicBezTo>
                  <a:pt x="196" y="180"/>
                  <a:pt x="196" y="182"/>
                  <a:pt x="196" y="182"/>
                </a:cubicBezTo>
                <a:cubicBezTo>
                  <a:pt x="196" y="182"/>
                  <a:pt x="198" y="182"/>
                  <a:pt x="198" y="182"/>
                </a:cubicBezTo>
                <a:cubicBezTo>
                  <a:pt x="199" y="181"/>
                  <a:pt x="199" y="181"/>
                  <a:pt x="199" y="181"/>
                </a:cubicBezTo>
                <a:cubicBezTo>
                  <a:pt x="201" y="181"/>
                  <a:pt x="201" y="181"/>
                  <a:pt x="201" y="181"/>
                </a:cubicBezTo>
                <a:cubicBezTo>
                  <a:pt x="203" y="182"/>
                  <a:pt x="203" y="182"/>
                  <a:pt x="203" y="182"/>
                </a:cubicBezTo>
                <a:cubicBezTo>
                  <a:pt x="204" y="181"/>
                  <a:pt x="204" y="181"/>
                  <a:pt x="204" y="181"/>
                </a:cubicBezTo>
                <a:cubicBezTo>
                  <a:pt x="204" y="180"/>
                  <a:pt x="204" y="180"/>
                  <a:pt x="204" y="180"/>
                </a:cubicBezTo>
                <a:cubicBezTo>
                  <a:pt x="204" y="180"/>
                  <a:pt x="204" y="180"/>
                  <a:pt x="204" y="180"/>
                </a:cubicBezTo>
                <a:cubicBezTo>
                  <a:pt x="204" y="179"/>
                  <a:pt x="204" y="179"/>
                  <a:pt x="204" y="179"/>
                </a:cubicBezTo>
                <a:cubicBezTo>
                  <a:pt x="207" y="177"/>
                  <a:pt x="207" y="177"/>
                  <a:pt x="207" y="177"/>
                </a:cubicBezTo>
                <a:cubicBezTo>
                  <a:pt x="209" y="176"/>
                  <a:pt x="209" y="176"/>
                  <a:pt x="209" y="176"/>
                </a:cubicBezTo>
                <a:cubicBezTo>
                  <a:pt x="210" y="176"/>
                  <a:pt x="210" y="176"/>
                  <a:pt x="210" y="176"/>
                </a:cubicBezTo>
                <a:cubicBezTo>
                  <a:pt x="211" y="175"/>
                  <a:pt x="211" y="175"/>
                  <a:pt x="211" y="175"/>
                </a:cubicBezTo>
                <a:cubicBezTo>
                  <a:pt x="211" y="174"/>
                  <a:pt x="211" y="174"/>
                  <a:pt x="211" y="174"/>
                </a:cubicBezTo>
                <a:cubicBezTo>
                  <a:pt x="209" y="172"/>
                  <a:pt x="209" y="172"/>
                  <a:pt x="209" y="172"/>
                </a:cubicBezTo>
                <a:cubicBezTo>
                  <a:pt x="210" y="170"/>
                  <a:pt x="210" y="170"/>
                  <a:pt x="210" y="170"/>
                </a:cubicBezTo>
                <a:cubicBezTo>
                  <a:pt x="211" y="169"/>
                  <a:pt x="211" y="169"/>
                  <a:pt x="211" y="169"/>
                </a:cubicBezTo>
                <a:cubicBezTo>
                  <a:pt x="211" y="168"/>
                  <a:pt x="211" y="168"/>
                  <a:pt x="211" y="168"/>
                </a:cubicBezTo>
                <a:cubicBezTo>
                  <a:pt x="212" y="167"/>
                  <a:pt x="212" y="167"/>
                  <a:pt x="212" y="167"/>
                </a:cubicBezTo>
                <a:cubicBezTo>
                  <a:pt x="213" y="167"/>
                  <a:pt x="213" y="167"/>
                  <a:pt x="213" y="167"/>
                </a:cubicBezTo>
                <a:cubicBezTo>
                  <a:pt x="213" y="165"/>
                  <a:pt x="213" y="165"/>
                  <a:pt x="213" y="165"/>
                </a:cubicBezTo>
                <a:cubicBezTo>
                  <a:pt x="213" y="165"/>
                  <a:pt x="213" y="165"/>
                  <a:pt x="213" y="165"/>
                </a:cubicBezTo>
                <a:cubicBezTo>
                  <a:pt x="214" y="162"/>
                  <a:pt x="214" y="162"/>
                  <a:pt x="214" y="162"/>
                </a:cubicBezTo>
                <a:cubicBezTo>
                  <a:pt x="217" y="160"/>
                  <a:pt x="217" y="160"/>
                  <a:pt x="217" y="160"/>
                </a:cubicBezTo>
                <a:cubicBezTo>
                  <a:pt x="217" y="158"/>
                  <a:pt x="217" y="158"/>
                  <a:pt x="217" y="158"/>
                </a:cubicBezTo>
                <a:cubicBezTo>
                  <a:pt x="216" y="154"/>
                  <a:pt x="216" y="154"/>
                  <a:pt x="216" y="154"/>
                </a:cubicBezTo>
                <a:cubicBezTo>
                  <a:pt x="216" y="154"/>
                  <a:pt x="216" y="154"/>
                  <a:pt x="216" y="154"/>
                </a:cubicBezTo>
                <a:cubicBezTo>
                  <a:pt x="217" y="151"/>
                  <a:pt x="217" y="151"/>
                  <a:pt x="217" y="151"/>
                </a:cubicBezTo>
                <a:cubicBezTo>
                  <a:pt x="217" y="150"/>
                  <a:pt x="217" y="150"/>
                  <a:pt x="217" y="150"/>
                </a:cubicBezTo>
                <a:cubicBezTo>
                  <a:pt x="218" y="149"/>
                  <a:pt x="218" y="149"/>
                  <a:pt x="218" y="149"/>
                </a:cubicBezTo>
                <a:cubicBezTo>
                  <a:pt x="219" y="148"/>
                  <a:pt x="219" y="148"/>
                  <a:pt x="219" y="148"/>
                </a:cubicBezTo>
                <a:cubicBezTo>
                  <a:pt x="220" y="147"/>
                  <a:pt x="220" y="147"/>
                  <a:pt x="220" y="147"/>
                </a:cubicBezTo>
                <a:cubicBezTo>
                  <a:pt x="219" y="145"/>
                  <a:pt x="219" y="145"/>
                  <a:pt x="219" y="145"/>
                </a:cubicBezTo>
                <a:cubicBezTo>
                  <a:pt x="220" y="142"/>
                  <a:pt x="220" y="142"/>
                  <a:pt x="220" y="142"/>
                </a:cubicBezTo>
                <a:cubicBezTo>
                  <a:pt x="220" y="140"/>
                  <a:pt x="220" y="140"/>
                  <a:pt x="220" y="140"/>
                </a:cubicBezTo>
                <a:cubicBezTo>
                  <a:pt x="220" y="138"/>
                  <a:pt x="220" y="138"/>
                  <a:pt x="220" y="138"/>
                </a:cubicBezTo>
                <a:cubicBezTo>
                  <a:pt x="220" y="137"/>
                  <a:pt x="220" y="137"/>
                  <a:pt x="220" y="137"/>
                </a:cubicBezTo>
                <a:cubicBezTo>
                  <a:pt x="221" y="135"/>
                  <a:pt x="221" y="135"/>
                  <a:pt x="221" y="135"/>
                </a:cubicBezTo>
                <a:cubicBezTo>
                  <a:pt x="220" y="127"/>
                  <a:pt x="220" y="127"/>
                  <a:pt x="220" y="127"/>
                </a:cubicBezTo>
                <a:cubicBezTo>
                  <a:pt x="220" y="125"/>
                  <a:pt x="220" y="125"/>
                  <a:pt x="220" y="125"/>
                </a:cubicBezTo>
                <a:cubicBezTo>
                  <a:pt x="221" y="124"/>
                  <a:pt x="221" y="124"/>
                  <a:pt x="221" y="124"/>
                </a:cubicBezTo>
                <a:cubicBezTo>
                  <a:pt x="221" y="123"/>
                  <a:pt x="221" y="123"/>
                  <a:pt x="221" y="123"/>
                </a:cubicBezTo>
                <a:cubicBezTo>
                  <a:pt x="220" y="123"/>
                  <a:pt x="220" y="123"/>
                  <a:pt x="220" y="123"/>
                </a:cubicBezTo>
                <a:cubicBezTo>
                  <a:pt x="219" y="123"/>
                  <a:pt x="219" y="123"/>
                  <a:pt x="219" y="123"/>
                </a:cubicBezTo>
                <a:cubicBezTo>
                  <a:pt x="219" y="122"/>
                  <a:pt x="219" y="122"/>
                  <a:pt x="219" y="122"/>
                </a:cubicBezTo>
                <a:cubicBezTo>
                  <a:pt x="220" y="120"/>
                  <a:pt x="220" y="120"/>
                  <a:pt x="220" y="120"/>
                </a:cubicBezTo>
                <a:cubicBezTo>
                  <a:pt x="220" y="119"/>
                  <a:pt x="220" y="119"/>
                  <a:pt x="220" y="119"/>
                </a:cubicBezTo>
                <a:cubicBezTo>
                  <a:pt x="220" y="118"/>
                  <a:pt x="220" y="118"/>
                  <a:pt x="220" y="118"/>
                </a:cubicBezTo>
                <a:cubicBezTo>
                  <a:pt x="221" y="118"/>
                  <a:pt x="221" y="118"/>
                  <a:pt x="221" y="118"/>
                </a:cubicBezTo>
                <a:cubicBezTo>
                  <a:pt x="221" y="116"/>
                  <a:pt x="221" y="116"/>
                  <a:pt x="221" y="116"/>
                </a:cubicBezTo>
                <a:cubicBezTo>
                  <a:pt x="220" y="115"/>
                  <a:pt x="220" y="115"/>
                  <a:pt x="220" y="115"/>
                </a:cubicBezTo>
                <a:cubicBezTo>
                  <a:pt x="218" y="114"/>
                  <a:pt x="218" y="114"/>
                  <a:pt x="218" y="114"/>
                </a:cubicBezTo>
                <a:cubicBezTo>
                  <a:pt x="219" y="114"/>
                  <a:pt x="219" y="114"/>
                  <a:pt x="219" y="114"/>
                </a:cubicBezTo>
                <a:cubicBezTo>
                  <a:pt x="219" y="113"/>
                  <a:pt x="219" y="113"/>
                  <a:pt x="219" y="113"/>
                </a:cubicBezTo>
                <a:cubicBezTo>
                  <a:pt x="219" y="114"/>
                  <a:pt x="219" y="114"/>
                  <a:pt x="219" y="114"/>
                </a:cubicBezTo>
                <a:cubicBezTo>
                  <a:pt x="220" y="115"/>
                  <a:pt x="220" y="115"/>
                  <a:pt x="220" y="115"/>
                </a:cubicBezTo>
                <a:cubicBezTo>
                  <a:pt x="221" y="115"/>
                  <a:pt x="221" y="115"/>
                  <a:pt x="221" y="115"/>
                </a:cubicBezTo>
                <a:cubicBezTo>
                  <a:pt x="222" y="114"/>
                  <a:pt x="222" y="114"/>
                  <a:pt x="222" y="114"/>
                </a:cubicBezTo>
                <a:cubicBezTo>
                  <a:pt x="223" y="114"/>
                  <a:pt x="223" y="114"/>
                  <a:pt x="223" y="114"/>
                </a:cubicBezTo>
                <a:cubicBezTo>
                  <a:pt x="223" y="114"/>
                  <a:pt x="223" y="114"/>
                  <a:pt x="223" y="114"/>
                </a:cubicBezTo>
                <a:cubicBezTo>
                  <a:pt x="224" y="115"/>
                  <a:pt x="224" y="115"/>
                  <a:pt x="224" y="115"/>
                </a:cubicBezTo>
                <a:cubicBezTo>
                  <a:pt x="223" y="116"/>
                  <a:pt x="223" y="116"/>
                  <a:pt x="223" y="116"/>
                </a:cubicBezTo>
                <a:cubicBezTo>
                  <a:pt x="222" y="116"/>
                  <a:pt x="222" y="116"/>
                  <a:pt x="222" y="116"/>
                </a:cubicBezTo>
                <a:cubicBezTo>
                  <a:pt x="222" y="117"/>
                  <a:pt x="222" y="117"/>
                  <a:pt x="222" y="117"/>
                </a:cubicBezTo>
                <a:cubicBezTo>
                  <a:pt x="222" y="117"/>
                  <a:pt x="222" y="117"/>
                  <a:pt x="222" y="117"/>
                </a:cubicBezTo>
                <a:cubicBezTo>
                  <a:pt x="224" y="116"/>
                  <a:pt x="224" y="116"/>
                  <a:pt x="224" y="116"/>
                </a:cubicBezTo>
                <a:cubicBezTo>
                  <a:pt x="225" y="115"/>
                  <a:pt x="225" y="115"/>
                  <a:pt x="225" y="115"/>
                </a:cubicBezTo>
                <a:cubicBezTo>
                  <a:pt x="227" y="112"/>
                  <a:pt x="227" y="112"/>
                  <a:pt x="227" y="112"/>
                </a:cubicBezTo>
                <a:cubicBezTo>
                  <a:pt x="228" y="110"/>
                  <a:pt x="228" y="110"/>
                  <a:pt x="228" y="110"/>
                </a:cubicBezTo>
                <a:cubicBezTo>
                  <a:pt x="229" y="108"/>
                  <a:pt x="229" y="108"/>
                  <a:pt x="229" y="108"/>
                </a:cubicBezTo>
                <a:cubicBezTo>
                  <a:pt x="229" y="107"/>
                  <a:pt x="229" y="107"/>
                  <a:pt x="229" y="107"/>
                </a:cubicBezTo>
                <a:cubicBezTo>
                  <a:pt x="230" y="105"/>
                  <a:pt x="230" y="105"/>
                  <a:pt x="230" y="105"/>
                </a:cubicBezTo>
                <a:cubicBezTo>
                  <a:pt x="231" y="103"/>
                  <a:pt x="231" y="103"/>
                  <a:pt x="231" y="103"/>
                </a:cubicBezTo>
                <a:cubicBezTo>
                  <a:pt x="234" y="101"/>
                  <a:pt x="234" y="101"/>
                  <a:pt x="234" y="101"/>
                </a:cubicBezTo>
                <a:cubicBezTo>
                  <a:pt x="235" y="100"/>
                  <a:pt x="235" y="100"/>
                  <a:pt x="235" y="100"/>
                </a:cubicBezTo>
                <a:cubicBezTo>
                  <a:pt x="236" y="100"/>
                  <a:pt x="236" y="100"/>
                  <a:pt x="236" y="100"/>
                </a:cubicBezTo>
                <a:cubicBezTo>
                  <a:pt x="237" y="99"/>
                  <a:pt x="237" y="99"/>
                  <a:pt x="237" y="99"/>
                </a:cubicBezTo>
                <a:cubicBezTo>
                  <a:pt x="239" y="96"/>
                  <a:pt x="239" y="96"/>
                  <a:pt x="239" y="96"/>
                </a:cubicBezTo>
                <a:cubicBezTo>
                  <a:pt x="242" y="93"/>
                  <a:pt x="242" y="93"/>
                  <a:pt x="242" y="93"/>
                </a:cubicBezTo>
                <a:cubicBezTo>
                  <a:pt x="243" y="92"/>
                  <a:pt x="243" y="92"/>
                  <a:pt x="243" y="92"/>
                </a:cubicBezTo>
                <a:cubicBezTo>
                  <a:pt x="244" y="88"/>
                  <a:pt x="244" y="88"/>
                  <a:pt x="244" y="88"/>
                </a:cubicBezTo>
                <a:cubicBezTo>
                  <a:pt x="244" y="87"/>
                  <a:pt x="244" y="87"/>
                  <a:pt x="244" y="87"/>
                </a:cubicBezTo>
                <a:cubicBezTo>
                  <a:pt x="245" y="86"/>
                  <a:pt x="245" y="86"/>
                  <a:pt x="245" y="86"/>
                </a:cubicBezTo>
                <a:cubicBezTo>
                  <a:pt x="245" y="85"/>
                  <a:pt x="245" y="85"/>
                  <a:pt x="245" y="85"/>
                </a:cubicBezTo>
                <a:cubicBezTo>
                  <a:pt x="244" y="83"/>
                  <a:pt x="244" y="83"/>
                  <a:pt x="244" y="83"/>
                </a:cubicBezTo>
                <a:cubicBezTo>
                  <a:pt x="245" y="82"/>
                  <a:pt x="245" y="82"/>
                  <a:pt x="245" y="82"/>
                </a:cubicBezTo>
                <a:cubicBezTo>
                  <a:pt x="245" y="82"/>
                  <a:pt x="245" y="82"/>
                  <a:pt x="245" y="82"/>
                </a:cubicBezTo>
                <a:cubicBezTo>
                  <a:pt x="245" y="78"/>
                  <a:pt x="245" y="78"/>
                  <a:pt x="245" y="78"/>
                </a:cubicBezTo>
                <a:cubicBezTo>
                  <a:pt x="245" y="78"/>
                  <a:pt x="245" y="78"/>
                  <a:pt x="245" y="78"/>
                </a:cubicBezTo>
                <a:cubicBezTo>
                  <a:pt x="244" y="76"/>
                  <a:pt x="244" y="76"/>
                  <a:pt x="244" y="76"/>
                </a:cubicBezTo>
                <a:cubicBezTo>
                  <a:pt x="242" y="72"/>
                  <a:pt x="242" y="72"/>
                  <a:pt x="242" y="72"/>
                </a:cubicBezTo>
                <a:cubicBezTo>
                  <a:pt x="242" y="70"/>
                  <a:pt x="242" y="70"/>
                  <a:pt x="242" y="70"/>
                </a:cubicBezTo>
                <a:cubicBezTo>
                  <a:pt x="242" y="68"/>
                  <a:pt x="242" y="68"/>
                  <a:pt x="242" y="68"/>
                </a:cubicBezTo>
                <a:cubicBezTo>
                  <a:pt x="238" y="66"/>
                  <a:pt x="238" y="66"/>
                  <a:pt x="238" y="66"/>
                </a:cubicBezTo>
                <a:cubicBezTo>
                  <a:pt x="235" y="66"/>
                  <a:pt x="235" y="66"/>
                  <a:pt x="235" y="66"/>
                </a:cubicBezTo>
                <a:cubicBezTo>
                  <a:pt x="234" y="67"/>
                  <a:pt x="234" y="67"/>
                  <a:pt x="234" y="67"/>
                </a:cubicBezTo>
                <a:cubicBezTo>
                  <a:pt x="232" y="65"/>
                  <a:pt x="232" y="65"/>
                  <a:pt x="232" y="65"/>
                </a:cubicBezTo>
                <a:cubicBezTo>
                  <a:pt x="231" y="65"/>
                  <a:pt x="231" y="65"/>
                  <a:pt x="231" y="65"/>
                </a:cubicBezTo>
                <a:cubicBezTo>
                  <a:pt x="230" y="64"/>
                  <a:pt x="230" y="64"/>
                  <a:pt x="230" y="64"/>
                </a:cubicBezTo>
                <a:cubicBezTo>
                  <a:pt x="228" y="63"/>
                  <a:pt x="228" y="63"/>
                  <a:pt x="228" y="63"/>
                </a:cubicBezTo>
                <a:cubicBezTo>
                  <a:pt x="227" y="62"/>
                  <a:pt x="227" y="62"/>
                  <a:pt x="227" y="62"/>
                </a:cubicBezTo>
                <a:cubicBezTo>
                  <a:pt x="224" y="59"/>
                  <a:pt x="224" y="59"/>
                  <a:pt x="224" y="59"/>
                </a:cubicBezTo>
                <a:cubicBezTo>
                  <a:pt x="222" y="56"/>
                  <a:pt x="222" y="56"/>
                  <a:pt x="222" y="56"/>
                </a:cubicBezTo>
                <a:cubicBezTo>
                  <a:pt x="220" y="56"/>
                  <a:pt x="220" y="56"/>
                  <a:pt x="220" y="56"/>
                </a:cubicBezTo>
                <a:cubicBezTo>
                  <a:pt x="219" y="55"/>
                  <a:pt x="219" y="55"/>
                  <a:pt x="219" y="55"/>
                </a:cubicBezTo>
                <a:cubicBezTo>
                  <a:pt x="218" y="55"/>
                  <a:pt x="218" y="55"/>
                  <a:pt x="218" y="55"/>
                </a:cubicBezTo>
                <a:cubicBezTo>
                  <a:pt x="214" y="52"/>
                  <a:pt x="214" y="52"/>
                  <a:pt x="214" y="52"/>
                </a:cubicBezTo>
                <a:cubicBezTo>
                  <a:pt x="212" y="52"/>
                  <a:pt x="212" y="52"/>
                  <a:pt x="212" y="52"/>
                </a:cubicBezTo>
                <a:cubicBezTo>
                  <a:pt x="210" y="51"/>
                  <a:pt x="210" y="51"/>
                  <a:pt x="210" y="51"/>
                </a:cubicBezTo>
                <a:cubicBezTo>
                  <a:pt x="209" y="52"/>
                  <a:pt x="209" y="52"/>
                  <a:pt x="209" y="52"/>
                </a:cubicBezTo>
                <a:cubicBezTo>
                  <a:pt x="207" y="52"/>
                  <a:pt x="207" y="52"/>
                  <a:pt x="207" y="52"/>
                </a:cubicBezTo>
                <a:cubicBezTo>
                  <a:pt x="206" y="51"/>
                  <a:pt x="206" y="51"/>
                  <a:pt x="206" y="51"/>
                </a:cubicBezTo>
                <a:cubicBezTo>
                  <a:pt x="205" y="52"/>
                  <a:pt x="205" y="52"/>
                  <a:pt x="205" y="52"/>
                </a:cubicBezTo>
                <a:cubicBezTo>
                  <a:pt x="204" y="53"/>
                  <a:pt x="204" y="53"/>
                  <a:pt x="204" y="53"/>
                </a:cubicBezTo>
                <a:cubicBezTo>
                  <a:pt x="204" y="52"/>
                  <a:pt x="204" y="52"/>
                  <a:pt x="204" y="52"/>
                </a:cubicBezTo>
                <a:cubicBezTo>
                  <a:pt x="202" y="51"/>
                  <a:pt x="202" y="51"/>
                  <a:pt x="202" y="51"/>
                </a:cubicBezTo>
                <a:cubicBezTo>
                  <a:pt x="202" y="51"/>
                  <a:pt x="202" y="51"/>
                  <a:pt x="202" y="51"/>
                </a:cubicBezTo>
                <a:cubicBezTo>
                  <a:pt x="201" y="51"/>
                  <a:pt x="201" y="51"/>
                  <a:pt x="201" y="51"/>
                </a:cubicBezTo>
                <a:cubicBezTo>
                  <a:pt x="201" y="51"/>
                  <a:pt x="201" y="51"/>
                  <a:pt x="201" y="51"/>
                </a:cubicBezTo>
                <a:cubicBezTo>
                  <a:pt x="201" y="52"/>
                  <a:pt x="201" y="52"/>
                  <a:pt x="201" y="52"/>
                </a:cubicBezTo>
                <a:cubicBezTo>
                  <a:pt x="200" y="51"/>
                  <a:pt x="200" y="51"/>
                  <a:pt x="200" y="51"/>
                </a:cubicBezTo>
                <a:cubicBezTo>
                  <a:pt x="199" y="51"/>
                  <a:pt x="199" y="51"/>
                  <a:pt x="199" y="51"/>
                </a:cubicBezTo>
                <a:cubicBezTo>
                  <a:pt x="199" y="50"/>
                  <a:pt x="199" y="50"/>
                  <a:pt x="199" y="50"/>
                </a:cubicBezTo>
                <a:cubicBezTo>
                  <a:pt x="199" y="51"/>
                  <a:pt x="199" y="51"/>
                  <a:pt x="199" y="51"/>
                </a:cubicBezTo>
                <a:cubicBezTo>
                  <a:pt x="199" y="51"/>
                  <a:pt x="199" y="51"/>
                  <a:pt x="199" y="51"/>
                </a:cubicBezTo>
                <a:cubicBezTo>
                  <a:pt x="197" y="50"/>
                  <a:pt x="197" y="50"/>
                  <a:pt x="197" y="50"/>
                </a:cubicBezTo>
                <a:cubicBezTo>
                  <a:pt x="196" y="51"/>
                  <a:pt x="196" y="51"/>
                  <a:pt x="196" y="51"/>
                </a:cubicBezTo>
                <a:cubicBezTo>
                  <a:pt x="195" y="50"/>
                  <a:pt x="195" y="50"/>
                  <a:pt x="195" y="50"/>
                </a:cubicBezTo>
                <a:cubicBezTo>
                  <a:pt x="191" y="49"/>
                  <a:pt x="191" y="49"/>
                  <a:pt x="191" y="49"/>
                </a:cubicBezTo>
                <a:cubicBezTo>
                  <a:pt x="190" y="49"/>
                  <a:pt x="190" y="49"/>
                  <a:pt x="190" y="49"/>
                </a:cubicBezTo>
                <a:cubicBezTo>
                  <a:pt x="190" y="49"/>
                  <a:pt x="190" y="49"/>
                  <a:pt x="190" y="49"/>
                </a:cubicBezTo>
                <a:cubicBezTo>
                  <a:pt x="190" y="50"/>
                  <a:pt x="190" y="50"/>
                  <a:pt x="190" y="50"/>
                </a:cubicBezTo>
                <a:cubicBezTo>
                  <a:pt x="190" y="50"/>
                  <a:pt x="190" y="50"/>
                  <a:pt x="190" y="50"/>
                </a:cubicBezTo>
                <a:cubicBezTo>
                  <a:pt x="189" y="50"/>
                  <a:pt x="189" y="50"/>
                  <a:pt x="189" y="50"/>
                </a:cubicBezTo>
                <a:cubicBezTo>
                  <a:pt x="189" y="50"/>
                  <a:pt x="189" y="50"/>
                  <a:pt x="189" y="50"/>
                </a:cubicBezTo>
                <a:cubicBezTo>
                  <a:pt x="188" y="50"/>
                  <a:pt x="188" y="50"/>
                  <a:pt x="188" y="50"/>
                </a:cubicBezTo>
                <a:cubicBezTo>
                  <a:pt x="187" y="51"/>
                  <a:pt x="187" y="51"/>
                  <a:pt x="187" y="51"/>
                </a:cubicBezTo>
                <a:cubicBezTo>
                  <a:pt x="187" y="52"/>
                  <a:pt x="187" y="52"/>
                  <a:pt x="187" y="52"/>
                </a:cubicBezTo>
                <a:cubicBezTo>
                  <a:pt x="187" y="53"/>
                  <a:pt x="187" y="53"/>
                  <a:pt x="187" y="53"/>
                </a:cubicBezTo>
                <a:cubicBezTo>
                  <a:pt x="186" y="52"/>
                  <a:pt x="186" y="52"/>
                  <a:pt x="186" y="52"/>
                </a:cubicBezTo>
                <a:cubicBezTo>
                  <a:pt x="186" y="51"/>
                  <a:pt x="186" y="51"/>
                  <a:pt x="186" y="51"/>
                </a:cubicBezTo>
                <a:cubicBezTo>
                  <a:pt x="185" y="51"/>
                  <a:pt x="185" y="51"/>
                  <a:pt x="185" y="51"/>
                </a:cubicBezTo>
                <a:cubicBezTo>
                  <a:pt x="185" y="53"/>
                  <a:pt x="185" y="53"/>
                  <a:pt x="185" y="53"/>
                </a:cubicBezTo>
                <a:cubicBezTo>
                  <a:pt x="184" y="55"/>
                  <a:pt x="184" y="55"/>
                  <a:pt x="184" y="55"/>
                </a:cubicBezTo>
                <a:cubicBezTo>
                  <a:pt x="184" y="56"/>
                  <a:pt x="184" y="56"/>
                  <a:pt x="184" y="56"/>
                </a:cubicBezTo>
                <a:cubicBezTo>
                  <a:pt x="184" y="55"/>
                  <a:pt x="184" y="55"/>
                  <a:pt x="184" y="55"/>
                </a:cubicBezTo>
                <a:cubicBezTo>
                  <a:pt x="184" y="53"/>
                  <a:pt x="184" y="53"/>
                  <a:pt x="184" y="53"/>
                </a:cubicBezTo>
                <a:cubicBezTo>
                  <a:pt x="184" y="52"/>
                  <a:pt x="184" y="52"/>
                  <a:pt x="184" y="52"/>
                </a:cubicBezTo>
                <a:cubicBezTo>
                  <a:pt x="184" y="50"/>
                  <a:pt x="184" y="50"/>
                  <a:pt x="184" y="50"/>
                </a:cubicBezTo>
                <a:cubicBezTo>
                  <a:pt x="185" y="49"/>
                  <a:pt x="185" y="49"/>
                  <a:pt x="185" y="49"/>
                </a:cubicBezTo>
                <a:cubicBezTo>
                  <a:pt x="185" y="49"/>
                  <a:pt x="185" y="49"/>
                  <a:pt x="185" y="49"/>
                </a:cubicBezTo>
                <a:cubicBezTo>
                  <a:pt x="184" y="49"/>
                  <a:pt x="184" y="49"/>
                  <a:pt x="184" y="49"/>
                </a:cubicBezTo>
                <a:cubicBezTo>
                  <a:pt x="185" y="47"/>
                  <a:pt x="185" y="47"/>
                  <a:pt x="185" y="47"/>
                </a:cubicBezTo>
                <a:cubicBezTo>
                  <a:pt x="183" y="45"/>
                  <a:pt x="183" y="45"/>
                  <a:pt x="183" y="45"/>
                </a:cubicBezTo>
                <a:cubicBezTo>
                  <a:pt x="182" y="44"/>
                  <a:pt x="182" y="44"/>
                  <a:pt x="182" y="44"/>
                </a:cubicBezTo>
                <a:cubicBezTo>
                  <a:pt x="181" y="44"/>
                  <a:pt x="181" y="44"/>
                  <a:pt x="181" y="44"/>
                </a:cubicBezTo>
                <a:cubicBezTo>
                  <a:pt x="180" y="44"/>
                  <a:pt x="180" y="44"/>
                  <a:pt x="180" y="44"/>
                </a:cubicBezTo>
                <a:cubicBezTo>
                  <a:pt x="179" y="45"/>
                  <a:pt x="179" y="45"/>
                  <a:pt x="179" y="45"/>
                </a:cubicBezTo>
                <a:cubicBezTo>
                  <a:pt x="178" y="45"/>
                  <a:pt x="178" y="45"/>
                  <a:pt x="178" y="45"/>
                </a:cubicBezTo>
                <a:cubicBezTo>
                  <a:pt x="178" y="44"/>
                  <a:pt x="178" y="44"/>
                  <a:pt x="178" y="44"/>
                </a:cubicBezTo>
                <a:cubicBezTo>
                  <a:pt x="177" y="44"/>
                  <a:pt x="177" y="44"/>
                  <a:pt x="177" y="44"/>
                </a:cubicBezTo>
                <a:cubicBezTo>
                  <a:pt x="177" y="43"/>
                  <a:pt x="177" y="43"/>
                  <a:pt x="177" y="43"/>
                </a:cubicBezTo>
                <a:cubicBezTo>
                  <a:pt x="176" y="42"/>
                  <a:pt x="176" y="42"/>
                  <a:pt x="176" y="42"/>
                </a:cubicBezTo>
                <a:cubicBezTo>
                  <a:pt x="175" y="42"/>
                  <a:pt x="175" y="42"/>
                  <a:pt x="175" y="42"/>
                </a:cubicBezTo>
                <a:cubicBezTo>
                  <a:pt x="175" y="42"/>
                  <a:pt x="175" y="42"/>
                  <a:pt x="175" y="42"/>
                </a:cubicBezTo>
                <a:cubicBezTo>
                  <a:pt x="174" y="41"/>
                  <a:pt x="174" y="41"/>
                  <a:pt x="174" y="41"/>
                </a:cubicBezTo>
                <a:cubicBezTo>
                  <a:pt x="173" y="42"/>
                  <a:pt x="173" y="42"/>
                  <a:pt x="173" y="42"/>
                </a:cubicBezTo>
                <a:cubicBezTo>
                  <a:pt x="173" y="41"/>
                  <a:pt x="173" y="41"/>
                  <a:pt x="173" y="41"/>
                </a:cubicBezTo>
                <a:cubicBezTo>
                  <a:pt x="173" y="41"/>
                  <a:pt x="173" y="41"/>
                  <a:pt x="173" y="41"/>
                </a:cubicBezTo>
                <a:cubicBezTo>
                  <a:pt x="172" y="40"/>
                  <a:pt x="172" y="40"/>
                  <a:pt x="172" y="40"/>
                </a:cubicBezTo>
                <a:cubicBezTo>
                  <a:pt x="171" y="40"/>
                  <a:pt x="171" y="40"/>
                  <a:pt x="171" y="40"/>
                </a:cubicBezTo>
                <a:cubicBezTo>
                  <a:pt x="170" y="40"/>
                  <a:pt x="170" y="40"/>
                  <a:pt x="170" y="40"/>
                </a:cubicBezTo>
                <a:cubicBezTo>
                  <a:pt x="168" y="39"/>
                  <a:pt x="168" y="39"/>
                  <a:pt x="168" y="39"/>
                </a:cubicBezTo>
                <a:cubicBezTo>
                  <a:pt x="168" y="39"/>
                  <a:pt x="168" y="39"/>
                  <a:pt x="168" y="39"/>
                </a:cubicBezTo>
                <a:cubicBezTo>
                  <a:pt x="167" y="39"/>
                  <a:pt x="167" y="39"/>
                  <a:pt x="167" y="39"/>
                </a:cubicBezTo>
                <a:cubicBezTo>
                  <a:pt x="166" y="39"/>
                  <a:pt x="166" y="39"/>
                  <a:pt x="166" y="39"/>
                </a:cubicBezTo>
                <a:cubicBezTo>
                  <a:pt x="165" y="39"/>
                  <a:pt x="165" y="39"/>
                  <a:pt x="165" y="39"/>
                </a:cubicBezTo>
                <a:cubicBezTo>
                  <a:pt x="165" y="40"/>
                  <a:pt x="165" y="40"/>
                  <a:pt x="165" y="40"/>
                </a:cubicBezTo>
                <a:cubicBezTo>
                  <a:pt x="165" y="40"/>
                  <a:pt x="165" y="40"/>
                  <a:pt x="165" y="40"/>
                </a:cubicBezTo>
                <a:cubicBezTo>
                  <a:pt x="164" y="39"/>
                  <a:pt x="164" y="39"/>
                  <a:pt x="164" y="39"/>
                </a:cubicBezTo>
                <a:cubicBezTo>
                  <a:pt x="163" y="39"/>
                  <a:pt x="163" y="39"/>
                  <a:pt x="163" y="39"/>
                </a:cubicBezTo>
                <a:cubicBezTo>
                  <a:pt x="162" y="39"/>
                  <a:pt x="162" y="39"/>
                  <a:pt x="162" y="39"/>
                </a:cubicBezTo>
                <a:cubicBezTo>
                  <a:pt x="161" y="41"/>
                  <a:pt x="161" y="41"/>
                  <a:pt x="161" y="41"/>
                </a:cubicBezTo>
                <a:cubicBezTo>
                  <a:pt x="161" y="41"/>
                  <a:pt x="161" y="41"/>
                  <a:pt x="161" y="41"/>
                </a:cubicBezTo>
                <a:cubicBezTo>
                  <a:pt x="160" y="43"/>
                  <a:pt x="160" y="43"/>
                  <a:pt x="160" y="43"/>
                </a:cubicBezTo>
                <a:cubicBezTo>
                  <a:pt x="158" y="44"/>
                  <a:pt x="158" y="44"/>
                  <a:pt x="158" y="44"/>
                </a:cubicBezTo>
                <a:cubicBezTo>
                  <a:pt x="156" y="45"/>
                  <a:pt x="156" y="45"/>
                  <a:pt x="156" y="45"/>
                </a:cubicBezTo>
                <a:cubicBezTo>
                  <a:pt x="155" y="46"/>
                  <a:pt x="155" y="46"/>
                  <a:pt x="155" y="46"/>
                </a:cubicBezTo>
                <a:cubicBezTo>
                  <a:pt x="154" y="48"/>
                  <a:pt x="154" y="48"/>
                  <a:pt x="154" y="48"/>
                </a:cubicBezTo>
                <a:cubicBezTo>
                  <a:pt x="154" y="50"/>
                  <a:pt x="154" y="50"/>
                  <a:pt x="154" y="50"/>
                </a:cubicBezTo>
                <a:cubicBezTo>
                  <a:pt x="153" y="51"/>
                  <a:pt x="153" y="51"/>
                  <a:pt x="153" y="51"/>
                </a:cubicBezTo>
                <a:cubicBezTo>
                  <a:pt x="152" y="52"/>
                  <a:pt x="152" y="52"/>
                  <a:pt x="152" y="52"/>
                </a:cubicBezTo>
                <a:cubicBezTo>
                  <a:pt x="152" y="53"/>
                  <a:pt x="152" y="53"/>
                  <a:pt x="152" y="53"/>
                </a:cubicBezTo>
                <a:cubicBezTo>
                  <a:pt x="152" y="54"/>
                  <a:pt x="152" y="54"/>
                  <a:pt x="152" y="54"/>
                </a:cubicBezTo>
                <a:cubicBezTo>
                  <a:pt x="152" y="56"/>
                  <a:pt x="152" y="56"/>
                  <a:pt x="152" y="56"/>
                </a:cubicBezTo>
                <a:cubicBezTo>
                  <a:pt x="152" y="55"/>
                  <a:pt x="152" y="55"/>
                  <a:pt x="152" y="55"/>
                </a:cubicBezTo>
                <a:cubicBezTo>
                  <a:pt x="151" y="53"/>
                  <a:pt x="151" y="53"/>
                  <a:pt x="151" y="53"/>
                </a:cubicBezTo>
                <a:cubicBezTo>
                  <a:pt x="151" y="52"/>
                  <a:pt x="151" y="52"/>
                  <a:pt x="151" y="52"/>
                </a:cubicBezTo>
                <a:cubicBezTo>
                  <a:pt x="152" y="51"/>
                  <a:pt x="152" y="51"/>
                  <a:pt x="152" y="51"/>
                </a:cubicBezTo>
                <a:cubicBezTo>
                  <a:pt x="153" y="50"/>
                  <a:pt x="153" y="50"/>
                  <a:pt x="153" y="50"/>
                </a:cubicBezTo>
                <a:cubicBezTo>
                  <a:pt x="153" y="49"/>
                  <a:pt x="153" y="49"/>
                  <a:pt x="153" y="49"/>
                </a:cubicBezTo>
                <a:cubicBezTo>
                  <a:pt x="153" y="47"/>
                  <a:pt x="153" y="47"/>
                  <a:pt x="153" y="47"/>
                </a:cubicBezTo>
                <a:cubicBezTo>
                  <a:pt x="153" y="46"/>
                  <a:pt x="153" y="46"/>
                  <a:pt x="153" y="46"/>
                </a:cubicBezTo>
                <a:cubicBezTo>
                  <a:pt x="152" y="46"/>
                  <a:pt x="152" y="46"/>
                  <a:pt x="152" y="46"/>
                </a:cubicBezTo>
                <a:cubicBezTo>
                  <a:pt x="151" y="47"/>
                  <a:pt x="151" y="47"/>
                  <a:pt x="151" y="47"/>
                </a:cubicBezTo>
                <a:cubicBezTo>
                  <a:pt x="149" y="47"/>
                  <a:pt x="149" y="47"/>
                  <a:pt x="149" y="47"/>
                </a:cubicBezTo>
                <a:cubicBezTo>
                  <a:pt x="148" y="47"/>
                  <a:pt x="148" y="47"/>
                  <a:pt x="148" y="47"/>
                </a:cubicBezTo>
                <a:cubicBezTo>
                  <a:pt x="147" y="47"/>
                  <a:pt x="147" y="47"/>
                  <a:pt x="147" y="47"/>
                </a:cubicBezTo>
                <a:cubicBezTo>
                  <a:pt x="146" y="46"/>
                  <a:pt x="146" y="46"/>
                  <a:pt x="146" y="46"/>
                </a:cubicBezTo>
                <a:cubicBezTo>
                  <a:pt x="147" y="46"/>
                  <a:pt x="147" y="46"/>
                  <a:pt x="147" y="46"/>
                </a:cubicBezTo>
                <a:cubicBezTo>
                  <a:pt x="148" y="46"/>
                  <a:pt x="148" y="46"/>
                  <a:pt x="148" y="46"/>
                </a:cubicBezTo>
                <a:cubicBezTo>
                  <a:pt x="149" y="45"/>
                  <a:pt x="149" y="45"/>
                  <a:pt x="149" y="45"/>
                </a:cubicBezTo>
                <a:cubicBezTo>
                  <a:pt x="151" y="46"/>
                  <a:pt x="151" y="46"/>
                  <a:pt x="151" y="46"/>
                </a:cubicBezTo>
                <a:cubicBezTo>
                  <a:pt x="152" y="45"/>
                  <a:pt x="152" y="45"/>
                  <a:pt x="152" y="45"/>
                </a:cubicBezTo>
                <a:cubicBezTo>
                  <a:pt x="153" y="44"/>
                  <a:pt x="153" y="44"/>
                  <a:pt x="153" y="44"/>
                </a:cubicBezTo>
                <a:cubicBezTo>
                  <a:pt x="153" y="44"/>
                  <a:pt x="153" y="44"/>
                  <a:pt x="153" y="44"/>
                </a:cubicBezTo>
                <a:cubicBezTo>
                  <a:pt x="154" y="45"/>
                  <a:pt x="154" y="45"/>
                  <a:pt x="154" y="45"/>
                </a:cubicBezTo>
                <a:cubicBezTo>
                  <a:pt x="155" y="44"/>
                  <a:pt x="155" y="44"/>
                  <a:pt x="155" y="44"/>
                </a:cubicBezTo>
                <a:cubicBezTo>
                  <a:pt x="156" y="44"/>
                  <a:pt x="156" y="44"/>
                  <a:pt x="156" y="44"/>
                </a:cubicBezTo>
                <a:cubicBezTo>
                  <a:pt x="157" y="43"/>
                  <a:pt x="157" y="43"/>
                  <a:pt x="157" y="43"/>
                </a:cubicBezTo>
                <a:cubicBezTo>
                  <a:pt x="157" y="42"/>
                  <a:pt x="157" y="42"/>
                  <a:pt x="157" y="42"/>
                </a:cubicBezTo>
                <a:cubicBezTo>
                  <a:pt x="159" y="40"/>
                  <a:pt x="159" y="40"/>
                  <a:pt x="159" y="40"/>
                </a:cubicBezTo>
                <a:cubicBezTo>
                  <a:pt x="159" y="38"/>
                  <a:pt x="159" y="38"/>
                  <a:pt x="159" y="38"/>
                </a:cubicBezTo>
                <a:cubicBezTo>
                  <a:pt x="160" y="37"/>
                  <a:pt x="160" y="37"/>
                  <a:pt x="160" y="37"/>
                </a:cubicBezTo>
                <a:cubicBezTo>
                  <a:pt x="160" y="36"/>
                  <a:pt x="160" y="36"/>
                  <a:pt x="160" y="36"/>
                </a:cubicBezTo>
                <a:cubicBezTo>
                  <a:pt x="158" y="36"/>
                  <a:pt x="158" y="36"/>
                  <a:pt x="158" y="36"/>
                </a:cubicBezTo>
                <a:cubicBezTo>
                  <a:pt x="157" y="35"/>
                  <a:pt x="157" y="35"/>
                  <a:pt x="157" y="35"/>
                </a:cubicBezTo>
                <a:cubicBezTo>
                  <a:pt x="155" y="35"/>
                  <a:pt x="155" y="35"/>
                  <a:pt x="155" y="35"/>
                </a:cubicBezTo>
                <a:cubicBezTo>
                  <a:pt x="154" y="36"/>
                  <a:pt x="154" y="36"/>
                  <a:pt x="154" y="36"/>
                </a:cubicBezTo>
                <a:cubicBezTo>
                  <a:pt x="152" y="36"/>
                  <a:pt x="152" y="36"/>
                  <a:pt x="152" y="36"/>
                </a:cubicBezTo>
                <a:cubicBezTo>
                  <a:pt x="150" y="35"/>
                  <a:pt x="150" y="35"/>
                  <a:pt x="150" y="35"/>
                </a:cubicBezTo>
                <a:cubicBezTo>
                  <a:pt x="148" y="35"/>
                  <a:pt x="148" y="35"/>
                  <a:pt x="148" y="35"/>
                </a:cubicBezTo>
                <a:cubicBezTo>
                  <a:pt x="146" y="37"/>
                  <a:pt x="146" y="37"/>
                  <a:pt x="146" y="37"/>
                </a:cubicBezTo>
                <a:cubicBezTo>
                  <a:pt x="146" y="38"/>
                  <a:pt x="146" y="38"/>
                  <a:pt x="146" y="38"/>
                </a:cubicBezTo>
                <a:cubicBezTo>
                  <a:pt x="147" y="38"/>
                  <a:pt x="147" y="38"/>
                  <a:pt x="147" y="38"/>
                </a:cubicBezTo>
                <a:cubicBezTo>
                  <a:pt x="147" y="39"/>
                  <a:pt x="147" y="39"/>
                  <a:pt x="147" y="39"/>
                </a:cubicBezTo>
                <a:cubicBezTo>
                  <a:pt x="146" y="39"/>
                  <a:pt x="146" y="39"/>
                  <a:pt x="146" y="39"/>
                </a:cubicBezTo>
                <a:cubicBezTo>
                  <a:pt x="146" y="39"/>
                  <a:pt x="146" y="39"/>
                  <a:pt x="146" y="39"/>
                </a:cubicBezTo>
                <a:cubicBezTo>
                  <a:pt x="145" y="40"/>
                  <a:pt x="145" y="40"/>
                  <a:pt x="145" y="40"/>
                </a:cubicBezTo>
                <a:cubicBezTo>
                  <a:pt x="145" y="39"/>
                  <a:pt x="145" y="39"/>
                  <a:pt x="145" y="39"/>
                </a:cubicBezTo>
                <a:cubicBezTo>
                  <a:pt x="144" y="39"/>
                  <a:pt x="144" y="39"/>
                  <a:pt x="144" y="39"/>
                </a:cubicBezTo>
                <a:cubicBezTo>
                  <a:pt x="143" y="39"/>
                  <a:pt x="143" y="39"/>
                  <a:pt x="143" y="39"/>
                </a:cubicBezTo>
                <a:cubicBezTo>
                  <a:pt x="141" y="41"/>
                  <a:pt x="141" y="41"/>
                  <a:pt x="141" y="41"/>
                </a:cubicBezTo>
                <a:cubicBezTo>
                  <a:pt x="139" y="44"/>
                  <a:pt x="139" y="44"/>
                  <a:pt x="139" y="44"/>
                </a:cubicBezTo>
                <a:cubicBezTo>
                  <a:pt x="141" y="42"/>
                  <a:pt x="141" y="42"/>
                  <a:pt x="141" y="42"/>
                </a:cubicBezTo>
                <a:cubicBezTo>
                  <a:pt x="141" y="40"/>
                  <a:pt x="141" y="40"/>
                  <a:pt x="141" y="40"/>
                </a:cubicBezTo>
                <a:cubicBezTo>
                  <a:pt x="141" y="40"/>
                  <a:pt x="141" y="40"/>
                  <a:pt x="141" y="40"/>
                </a:cubicBezTo>
                <a:cubicBezTo>
                  <a:pt x="141" y="39"/>
                  <a:pt x="141" y="39"/>
                  <a:pt x="141" y="39"/>
                </a:cubicBezTo>
                <a:cubicBezTo>
                  <a:pt x="141" y="39"/>
                  <a:pt x="141" y="39"/>
                  <a:pt x="141" y="39"/>
                </a:cubicBezTo>
                <a:cubicBezTo>
                  <a:pt x="139" y="40"/>
                  <a:pt x="139" y="40"/>
                  <a:pt x="139" y="40"/>
                </a:cubicBezTo>
                <a:cubicBezTo>
                  <a:pt x="139" y="41"/>
                  <a:pt x="139" y="41"/>
                  <a:pt x="139" y="41"/>
                </a:cubicBezTo>
                <a:cubicBezTo>
                  <a:pt x="138" y="43"/>
                  <a:pt x="138" y="43"/>
                  <a:pt x="138" y="43"/>
                </a:cubicBezTo>
                <a:cubicBezTo>
                  <a:pt x="137" y="43"/>
                  <a:pt x="137" y="43"/>
                  <a:pt x="137" y="43"/>
                </a:cubicBezTo>
                <a:cubicBezTo>
                  <a:pt x="138" y="42"/>
                  <a:pt x="138" y="42"/>
                  <a:pt x="138" y="42"/>
                </a:cubicBezTo>
                <a:cubicBezTo>
                  <a:pt x="138" y="40"/>
                  <a:pt x="138" y="40"/>
                  <a:pt x="138" y="40"/>
                </a:cubicBezTo>
                <a:cubicBezTo>
                  <a:pt x="141" y="37"/>
                  <a:pt x="141" y="37"/>
                  <a:pt x="141" y="37"/>
                </a:cubicBezTo>
                <a:cubicBezTo>
                  <a:pt x="141" y="35"/>
                  <a:pt x="141" y="35"/>
                  <a:pt x="141" y="35"/>
                </a:cubicBezTo>
                <a:cubicBezTo>
                  <a:pt x="142" y="34"/>
                  <a:pt x="142" y="34"/>
                  <a:pt x="142" y="34"/>
                </a:cubicBezTo>
                <a:cubicBezTo>
                  <a:pt x="143" y="34"/>
                  <a:pt x="143" y="34"/>
                  <a:pt x="143" y="34"/>
                </a:cubicBezTo>
                <a:cubicBezTo>
                  <a:pt x="144" y="33"/>
                  <a:pt x="144" y="33"/>
                  <a:pt x="144" y="33"/>
                </a:cubicBezTo>
                <a:cubicBezTo>
                  <a:pt x="145" y="32"/>
                  <a:pt x="145" y="32"/>
                  <a:pt x="145" y="32"/>
                </a:cubicBezTo>
                <a:cubicBezTo>
                  <a:pt x="147" y="31"/>
                  <a:pt x="147" y="31"/>
                  <a:pt x="147" y="31"/>
                </a:cubicBezTo>
                <a:cubicBezTo>
                  <a:pt x="149" y="28"/>
                  <a:pt x="149" y="28"/>
                  <a:pt x="149" y="28"/>
                </a:cubicBezTo>
                <a:cubicBezTo>
                  <a:pt x="150" y="27"/>
                  <a:pt x="150" y="27"/>
                  <a:pt x="150" y="27"/>
                </a:cubicBezTo>
                <a:cubicBezTo>
                  <a:pt x="150" y="26"/>
                  <a:pt x="150" y="26"/>
                  <a:pt x="150" y="26"/>
                </a:cubicBezTo>
                <a:cubicBezTo>
                  <a:pt x="150" y="26"/>
                  <a:pt x="150" y="26"/>
                  <a:pt x="150" y="26"/>
                </a:cubicBezTo>
                <a:cubicBezTo>
                  <a:pt x="150" y="25"/>
                  <a:pt x="150" y="25"/>
                  <a:pt x="150" y="25"/>
                </a:cubicBezTo>
                <a:cubicBezTo>
                  <a:pt x="150" y="24"/>
                  <a:pt x="150" y="24"/>
                  <a:pt x="150" y="24"/>
                </a:cubicBezTo>
                <a:cubicBezTo>
                  <a:pt x="150" y="23"/>
                  <a:pt x="150" y="23"/>
                  <a:pt x="150" y="23"/>
                </a:cubicBezTo>
                <a:cubicBezTo>
                  <a:pt x="149" y="22"/>
                  <a:pt x="149" y="22"/>
                  <a:pt x="149" y="22"/>
                </a:cubicBezTo>
                <a:cubicBezTo>
                  <a:pt x="148" y="22"/>
                  <a:pt x="148" y="22"/>
                  <a:pt x="148" y="22"/>
                </a:cubicBezTo>
                <a:cubicBezTo>
                  <a:pt x="147" y="23"/>
                  <a:pt x="147" y="23"/>
                  <a:pt x="147" y="23"/>
                </a:cubicBezTo>
                <a:cubicBezTo>
                  <a:pt x="147" y="22"/>
                  <a:pt x="147" y="22"/>
                  <a:pt x="147" y="22"/>
                </a:cubicBezTo>
                <a:cubicBezTo>
                  <a:pt x="146" y="19"/>
                  <a:pt x="146" y="19"/>
                  <a:pt x="146" y="19"/>
                </a:cubicBezTo>
                <a:cubicBezTo>
                  <a:pt x="145" y="16"/>
                  <a:pt x="145" y="16"/>
                  <a:pt x="145" y="16"/>
                </a:cubicBezTo>
                <a:cubicBezTo>
                  <a:pt x="143" y="14"/>
                  <a:pt x="143" y="14"/>
                  <a:pt x="143" y="14"/>
                </a:cubicBezTo>
                <a:cubicBezTo>
                  <a:pt x="142" y="12"/>
                  <a:pt x="142" y="12"/>
                  <a:pt x="142" y="12"/>
                </a:cubicBezTo>
                <a:cubicBezTo>
                  <a:pt x="142" y="10"/>
                  <a:pt x="142" y="10"/>
                  <a:pt x="142" y="10"/>
                </a:cubicBezTo>
                <a:lnTo>
                  <a:pt x="142" y="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9" name="Freeform 187">
            <a:extLst>
              <a:ext uri="{FF2B5EF4-FFF2-40B4-BE49-F238E27FC236}">
                <a16:creationId xmlns:a16="http://schemas.microsoft.com/office/drawing/2014/main" id="{F53695C5-84B2-F1CC-F43F-739D717FCDEE}"/>
              </a:ext>
            </a:extLst>
          </p:cNvPr>
          <p:cNvSpPr>
            <a:spLocks/>
          </p:cNvSpPr>
          <p:nvPr userDrawn="1"/>
        </p:nvSpPr>
        <p:spPr bwMode="auto">
          <a:xfrm>
            <a:off x="9825983" y="9019456"/>
            <a:ext cx="177788" cy="257176"/>
          </a:xfrm>
          <a:custGeom>
            <a:avLst/>
            <a:gdLst>
              <a:gd name="T0" fmla="*/ 0 w 56"/>
              <a:gd name="T1" fmla="*/ 66 h 81"/>
              <a:gd name="T2" fmla="*/ 0 w 56"/>
              <a:gd name="T3" fmla="*/ 66 h 81"/>
              <a:gd name="T4" fmla="*/ 3 w 56"/>
              <a:gd name="T5" fmla="*/ 69 h 81"/>
              <a:gd name="T6" fmla="*/ 3 w 56"/>
              <a:gd name="T7" fmla="*/ 72 h 81"/>
              <a:gd name="T8" fmla="*/ 3 w 56"/>
              <a:gd name="T9" fmla="*/ 72 h 81"/>
              <a:gd name="T10" fmla="*/ 6 w 56"/>
              <a:gd name="T11" fmla="*/ 75 h 81"/>
              <a:gd name="T12" fmla="*/ 9 w 56"/>
              <a:gd name="T13" fmla="*/ 75 h 81"/>
              <a:gd name="T14" fmla="*/ 12 w 56"/>
              <a:gd name="T15" fmla="*/ 75 h 81"/>
              <a:gd name="T16" fmla="*/ 15 w 56"/>
              <a:gd name="T17" fmla="*/ 72 h 81"/>
              <a:gd name="T18" fmla="*/ 15 w 56"/>
              <a:gd name="T19" fmla="*/ 72 h 81"/>
              <a:gd name="T20" fmla="*/ 15 w 56"/>
              <a:gd name="T21" fmla="*/ 75 h 81"/>
              <a:gd name="T22" fmla="*/ 18 w 56"/>
              <a:gd name="T23" fmla="*/ 75 h 81"/>
              <a:gd name="T24" fmla="*/ 18 w 56"/>
              <a:gd name="T25" fmla="*/ 81 h 81"/>
              <a:gd name="T26" fmla="*/ 22 w 56"/>
              <a:gd name="T27" fmla="*/ 81 h 81"/>
              <a:gd name="T28" fmla="*/ 25 w 56"/>
              <a:gd name="T29" fmla="*/ 78 h 81"/>
              <a:gd name="T30" fmla="*/ 25 w 56"/>
              <a:gd name="T31" fmla="*/ 75 h 81"/>
              <a:gd name="T32" fmla="*/ 28 w 56"/>
              <a:gd name="T33" fmla="*/ 75 h 81"/>
              <a:gd name="T34" fmla="*/ 31 w 56"/>
              <a:gd name="T35" fmla="*/ 75 h 81"/>
              <a:gd name="T36" fmla="*/ 34 w 56"/>
              <a:gd name="T37" fmla="*/ 69 h 81"/>
              <a:gd name="T38" fmla="*/ 37 w 56"/>
              <a:gd name="T39" fmla="*/ 62 h 81"/>
              <a:gd name="T40" fmla="*/ 40 w 56"/>
              <a:gd name="T41" fmla="*/ 56 h 81"/>
              <a:gd name="T42" fmla="*/ 40 w 56"/>
              <a:gd name="T43" fmla="*/ 53 h 81"/>
              <a:gd name="T44" fmla="*/ 43 w 56"/>
              <a:gd name="T45" fmla="*/ 47 h 81"/>
              <a:gd name="T46" fmla="*/ 50 w 56"/>
              <a:gd name="T47" fmla="*/ 40 h 81"/>
              <a:gd name="T48" fmla="*/ 50 w 56"/>
              <a:gd name="T49" fmla="*/ 37 h 81"/>
              <a:gd name="T50" fmla="*/ 50 w 56"/>
              <a:gd name="T51" fmla="*/ 37 h 81"/>
              <a:gd name="T52" fmla="*/ 56 w 56"/>
              <a:gd name="T53" fmla="*/ 31 h 81"/>
              <a:gd name="T54" fmla="*/ 53 w 56"/>
              <a:gd name="T55" fmla="*/ 28 h 81"/>
              <a:gd name="T56" fmla="*/ 50 w 56"/>
              <a:gd name="T57" fmla="*/ 25 h 81"/>
              <a:gd name="T58" fmla="*/ 50 w 56"/>
              <a:gd name="T59" fmla="*/ 25 h 81"/>
              <a:gd name="T60" fmla="*/ 47 w 56"/>
              <a:gd name="T61" fmla="*/ 22 h 81"/>
              <a:gd name="T62" fmla="*/ 47 w 56"/>
              <a:gd name="T63" fmla="*/ 19 h 81"/>
              <a:gd name="T64" fmla="*/ 40 w 56"/>
              <a:gd name="T65" fmla="*/ 12 h 81"/>
              <a:gd name="T66" fmla="*/ 37 w 56"/>
              <a:gd name="T67" fmla="*/ 12 h 81"/>
              <a:gd name="T68" fmla="*/ 34 w 56"/>
              <a:gd name="T69" fmla="*/ 9 h 81"/>
              <a:gd name="T70" fmla="*/ 22 w 56"/>
              <a:gd name="T71" fmla="*/ 6 h 81"/>
              <a:gd name="T72" fmla="*/ 18 w 56"/>
              <a:gd name="T73" fmla="*/ 3 h 81"/>
              <a:gd name="T74" fmla="*/ 12 w 56"/>
              <a:gd name="T75" fmla="*/ 0 h 81"/>
              <a:gd name="T76" fmla="*/ 9 w 56"/>
              <a:gd name="T77" fmla="*/ 3 h 81"/>
              <a:gd name="T78" fmla="*/ 3 w 56"/>
              <a:gd name="T79" fmla="*/ 6 h 81"/>
              <a:gd name="T80" fmla="*/ 3 w 56"/>
              <a:gd name="T81" fmla="*/ 6 h 81"/>
              <a:gd name="T82" fmla="*/ 3 w 56"/>
              <a:gd name="T83" fmla="*/ 6 h 81"/>
              <a:gd name="T84" fmla="*/ 3 w 56"/>
              <a:gd name="T85" fmla="*/ 6 h 81"/>
              <a:gd name="T86" fmla="*/ 0 w 56"/>
              <a:gd name="T87" fmla="*/ 12 h 81"/>
              <a:gd name="T88" fmla="*/ 0 w 56"/>
              <a:gd name="T89" fmla="*/ 19 h 81"/>
              <a:gd name="T90" fmla="*/ 0 w 56"/>
              <a:gd name="T91" fmla="*/ 22 h 81"/>
              <a:gd name="T92" fmla="*/ 0 w 56"/>
              <a:gd name="T93" fmla="*/ 25 h 81"/>
              <a:gd name="T94" fmla="*/ 0 w 56"/>
              <a:gd name="T95" fmla="*/ 28 h 81"/>
              <a:gd name="T96" fmla="*/ 3 w 56"/>
              <a:gd name="T97" fmla="*/ 31 h 81"/>
              <a:gd name="T98" fmla="*/ 6 w 56"/>
              <a:gd name="T99" fmla="*/ 34 h 81"/>
              <a:gd name="T100" fmla="*/ 9 w 56"/>
              <a:gd name="T101" fmla="*/ 37 h 81"/>
              <a:gd name="T102" fmla="*/ 9 w 56"/>
              <a:gd name="T103" fmla="*/ 40 h 81"/>
              <a:gd name="T104" fmla="*/ 9 w 56"/>
              <a:gd name="T105" fmla="*/ 44 h 81"/>
              <a:gd name="T106" fmla="*/ 9 w 56"/>
              <a:gd name="T107" fmla="*/ 47 h 81"/>
              <a:gd name="T108" fmla="*/ 6 w 56"/>
              <a:gd name="T109" fmla="*/ 50 h 81"/>
              <a:gd name="T110" fmla="*/ 6 w 56"/>
              <a:gd name="T111" fmla="*/ 56 h 81"/>
              <a:gd name="T112" fmla="*/ 9 w 56"/>
              <a:gd name="T113" fmla="*/ 56 h 81"/>
              <a:gd name="T114" fmla="*/ 6 w 56"/>
              <a:gd name="T115" fmla="*/ 62 h 81"/>
              <a:gd name="T116" fmla="*/ 0 w 56"/>
              <a:gd name="T117" fmla="*/ 66 h 81"/>
              <a:gd name="T118" fmla="*/ 0 w 56"/>
              <a:gd name="T119" fmla="*/ 6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 h="81">
                <a:moveTo>
                  <a:pt x="0" y="66"/>
                </a:moveTo>
                <a:lnTo>
                  <a:pt x="0" y="66"/>
                </a:lnTo>
                <a:lnTo>
                  <a:pt x="3" y="69"/>
                </a:lnTo>
                <a:lnTo>
                  <a:pt x="3" y="72"/>
                </a:lnTo>
                <a:lnTo>
                  <a:pt x="3" y="72"/>
                </a:lnTo>
                <a:lnTo>
                  <a:pt x="6" y="75"/>
                </a:lnTo>
                <a:lnTo>
                  <a:pt x="9" y="75"/>
                </a:lnTo>
                <a:lnTo>
                  <a:pt x="12" y="75"/>
                </a:lnTo>
                <a:lnTo>
                  <a:pt x="15" y="72"/>
                </a:lnTo>
                <a:lnTo>
                  <a:pt x="15" y="72"/>
                </a:lnTo>
                <a:lnTo>
                  <a:pt x="15" y="75"/>
                </a:lnTo>
                <a:lnTo>
                  <a:pt x="18" y="75"/>
                </a:lnTo>
                <a:lnTo>
                  <a:pt x="18" y="81"/>
                </a:lnTo>
                <a:lnTo>
                  <a:pt x="22" y="81"/>
                </a:lnTo>
                <a:lnTo>
                  <a:pt x="25" y="78"/>
                </a:lnTo>
                <a:lnTo>
                  <a:pt x="25" y="75"/>
                </a:lnTo>
                <a:lnTo>
                  <a:pt x="28" y="75"/>
                </a:lnTo>
                <a:lnTo>
                  <a:pt x="31" y="75"/>
                </a:lnTo>
                <a:lnTo>
                  <a:pt x="34" y="69"/>
                </a:lnTo>
                <a:lnTo>
                  <a:pt x="37" y="62"/>
                </a:lnTo>
                <a:lnTo>
                  <a:pt x="40" y="56"/>
                </a:lnTo>
                <a:lnTo>
                  <a:pt x="40" y="53"/>
                </a:lnTo>
                <a:lnTo>
                  <a:pt x="43" y="47"/>
                </a:lnTo>
                <a:lnTo>
                  <a:pt x="50" y="40"/>
                </a:lnTo>
                <a:lnTo>
                  <a:pt x="50" y="37"/>
                </a:lnTo>
                <a:lnTo>
                  <a:pt x="50" y="37"/>
                </a:lnTo>
                <a:lnTo>
                  <a:pt x="56" y="31"/>
                </a:lnTo>
                <a:lnTo>
                  <a:pt x="53" y="28"/>
                </a:lnTo>
                <a:lnTo>
                  <a:pt x="50" y="25"/>
                </a:lnTo>
                <a:lnTo>
                  <a:pt x="50" y="25"/>
                </a:lnTo>
                <a:lnTo>
                  <a:pt x="47" y="22"/>
                </a:lnTo>
                <a:lnTo>
                  <a:pt x="47" y="19"/>
                </a:lnTo>
                <a:lnTo>
                  <a:pt x="40" y="12"/>
                </a:lnTo>
                <a:lnTo>
                  <a:pt x="37" y="12"/>
                </a:lnTo>
                <a:lnTo>
                  <a:pt x="34" y="9"/>
                </a:lnTo>
                <a:lnTo>
                  <a:pt x="22" y="6"/>
                </a:lnTo>
                <a:lnTo>
                  <a:pt x="18" y="3"/>
                </a:lnTo>
                <a:lnTo>
                  <a:pt x="12" y="0"/>
                </a:lnTo>
                <a:lnTo>
                  <a:pt x="9" y="3"/>
                </a:lnTo>
                <a:lnTo>
                  <a:pt x="3" y="6"/>
                </a:lnTo>
                <a:lnTo>
                  <a:pt x="3" y="6"/>
                </a:lnTo>
                <a:lnTo>
                  <a:pt x="3" y="6"/>
                </a:lnTo>
                <a:lnTo>
                  <a:pt x="3" y="6"/>
                </a:lnTo>
                <a:lnTo>
                  <a:pt x="0" y="12"/>
                </a:lnTo>
                <a:lnTo>
                  <a:pt x="0" y="19"/>
                </a:lnTo>
                <a:lnTo>
                  <a:pt x="0" y="22"/>
                </a:lnTo>
                <a:lnTo>
                  <a:pt x="0" y="25"/>
                </a:lnTo>
                <a:lnTo>
                  <a:pt x="0" y="28"/>
                </a:lnTo>
                <a:lnTo>
                  <a:pt x="3" y="31"/>
                </a:lnTo>
                <a:lnTo>
                  <a:pt x="6" y="34"/>
                </a:lnTo>
                <a:lnTo>
                  <a:pt x="9" y="37"/>
                </a:lnTo>
                <a:lnTo>
                  <a:pt x="9" y="40"/>
                </a:lnTo>
                <a:lnTo>
                  <a:pt x="9" y="44"/>
                </a:lnTo>
                <a:lnTo>
                  <a:pt x="9" y="47"/>
                </a:lnTo>
                <a:lnTo>
                  <a:pt x="6" y="50"/>
                </a:lnTo>
                <a:lnTo>
                  <a:pt x="6" y="56"/>
                </a:lnTo>
                <a:lnTo>
                  <a:pt x="9" y="56"/>
                </a:lnTo>
                <a:lnTo>
                  <a:pt x="6" y="62"/>
                </a:lnTo>
                <a:lnTo>
                  <a:pt x="0" y="66"/>
                </a:lnTo>
                <a:lnTo>
                  <a:pt x="0" y="6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0" name="Freeform 188">
            <a:extLst>
              <a:ext uri="{FF2B5EF4-FFF2-40B4-BE49-F238E27FC236}">
                <a16:creationId xmlns:a16="http://schemas.microsoft.com/office/drawing/2014/main" id="{B6CDB116-E5ED-C037-23BB-197483D808DD}"/>
              </a:ext>
            </a:extLst>
          </p:cNvPr>
          <p:cNvSpPr>
            <a:spLocks/>
          </p:cNvSpPr>
          <p:nvPr userDrawn="1"/>
        </p:nvSpPr>
        <p:spPr bwMode="auto">
          <a:xfrm>
            <a:off x="9606924" y="9000407"/>
            <a:ext cx="247634" cy="266702"/>
          </a:xfrm>
          <a:custGeom>
            <a:avLst/>
            <a:gdLst>
              <a:gd name="T0" fmla="*/ 31 w 78"/>
              <a:gd name="T1" fmla="*/ 84 h 84"/>
              <a:gd name="T2" fmla="*/ 34 w 78"/>
              <a:gd name="T3" fmla="*/ 84 h 84"/>
              <a:gd name="T4" fmla="*/ 44 w 78"/>
              <a:gd name="T5" fmla="*/ 84 h 84"/>
              <a:gd name="T6" fmla="*/ 41 w 78"/>
              <a:gd name="T7" fmla="*/ 78 h 84"/>
              <a:gd name="T8" fmla="*/ 37 w 78"/>
              <a:gd name="T9" fmla="*/ 75 h 84"/>
              <a:gd name="T10" fmla="*/ 41 w 78"/>
              <a:gd name="T11" fmla="*/ 68 h 84"/>
              <a:gd name="T12" fmla="*/ 53 w 78"/>
              <a:gd name="T13" fmla="*/ 68 h 84"/>
              <a:gd name="T14" fmla="*/ 62 w 78"/>
              <a:gd name="T15" fmla="*/ 65 h 84"/>
              <a:gd name="T16" fmla="*/ 69 w 78"/>
              <a:gd name="T17" fmla="*/ 72 h 84"/>
              <a:gd name="T18" fmla="*/ 78 w 78"/>
              <a:gd name="T19" fmla="*/ 62 h 84"/>
              <a:gd name="T20" fmla="*/ 75 w 78"/>
              <a:gd name="T21" fmla="*/ 56 h 84"/>
              <a:gd name="T22" fmla="*/ 78 w 78"/>
              <a:gd name="T23" fmla="*/ 50 h 84"/>
              <a:gd name="T24" fmla="*/ 78 w 78"/>
              <a:gd name="T25" fmla="*/ 43 h 84"/>
              <a:gd name="T26" fmla="*/ 72 w 78"/>
              <a:gd name="T27" fmla="*/ 37 h 84"/>
              <a:gd name="T28" fmla="*/ 69 w 78"/>
              <a:gd name="T29" fmla="*/ 31 h 84"/>
              <a:gd name="T30" fmla="*/ 69 w 78"/>
              <a:gd name="T31" fmla="*/ 25 h 84"/>
              <a:gd name="T32" fmla="*/ 72 w 78"/>
              <a:gd name="T33" fmla="*/ 12 h 84"/>
              <a:gd name="T34" fmla="*/ 72 w 78"/>
              <a:gd name="T35" fmla="*/ 12 h 84"/>
              <a:gd name="T36" fmla="*/ 78 w 78"/>
              <a:gd name="T37" fmla="*/ 6 h 84"/>
              <a:gd name="T38" fmla="*/ 66 w 78"/>
              <a:gd name="T39" fmla="*/ 3 h 84"/>
              <a:gd name="T40" fmla="*/ 56 w 78"/>
              <a:gd name="T41" fmla="*/ 0 h 84"/>
              <a:gd name="T42" fmla="*/ 47 w 78"/>
              <a:gd name="T43" fmla="*/ 0 h 84"/>
              <a:gd name="T44" fmla="*/ 31 w 78"/>
              <a:gd name="T45" fmla="*/ 0 h 84"/>
              <a:gd name="T46" fmla="*/ 19 w 78"/>
              <a:gd name="T47" fmla="*/ 3 h 84"/>
              <a:gd name="T48" fmla="*/ 19 w 78"/>
              <a:gd name="T49" fmla="*/ 6 h 84"/>
              <a:gd name="T50" fmla="*/ 16 w 78"/>
              <a:gd name="T51" fmla="*/ 12 h 84"/>
              <a:gd name="T52" fmla="*/ 9 w 78"/>
              <a:gd name="T53" fmla="*/ 18 h 84"/>
              <a:gd name="T54" fmla="*/ 3 w 78"/>
              <a:gd name="T55" fmla="*/ 25 h 84"/>
              <a:gd name="T56" fmla="*/ 0 w 78"/>
              <a:gd name="T57" fmla="*/ 37 h 84"/>
              <a:gd name="T58" fmla="*/ 3 w 78"/>
              <a:gd name="T59" fmla="*/ 40 h 84"/>
              <a:gd name="T60" fmla="*/ 6 w 78"/>
              <a:gd name="T61" fmla="*/ 43 h 84"/>
              <a:gd name="T62" fmla="*/ 9 w 78"/>
              <a:gd name="T63" fmla="*/ 50 h 84"/>
              <a:gd name="T64" fmla="*/ 12 w 78"/>
              <a:gd name="T65" fmla="*/ 53 h 84"/>
              <a:gd name="T66" fmla="*/ 16 w 78"/>
              <a:gd name="T67" fmla="*/ 56 h 84"/>
              <a:gd name="T68" fmla="*/ 19 w 78"/>
              <a:gd name="T69" fmla="*/ 65 h 84"/>
              <a:gd name="T70" fmla="*/ 22 w 78"/>
              <a:gd name="T71" fmla="*/ 72 h 84"/>
              <a:gd name="T72" fmla="*/ 28 w 78"/>
              <a:gd name="T73" fmla="*/ 78 h 84"/>
              <a:gd name="T74" fmla="*/ 28 w 78"/>
              <a:gd name="T75" fmla="*/ 8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84">
                <a:moveTo>
                  <a:pt x="31" y="84"/>
                </a:moveTo>
                <a:lnTo>
                  <a:pt x="31" y="84"/>
                </a:lnTo>
                <a:lnTo>
                  <a:pt x="34" y="84"/>
                </a:lnTo>
                <a:lnTo>
                  <a:pt x="34" y="84"/>
                </a:lnTo>
                <a:lnTo>
                  <a:pt x="37" y="84"/>
                </a:lnTo>
                <a:lnTo>
                  <a:pt x="44" y="84"/>
                </a:lnTo>
                <a:lnTo>
                  <a:pt x="44" y="84"/>
                </a:lnTo>
                <a:lnTo>
                  <a:pt x="41" y="78"/>
                </a:lnTo>
                <a:lnTo>
                  <a:pt x="41" y="78"/>
                </a:lnTo>
                <a:lnTo>
                  <a:pt x="37" y="75"/>
                </a:lnTo>
                <a:lnTo>
                  <a:pt x="37" y="68"/>
                </a:lnTo>
                <a:lnTo>
                  <a:pt x="41" y="68"/>
                </a:lnTo>
                <a:lnTo>
                  <a:pt x="47" y="68"/>
                </a:lnTo>
                <a:lnTo>
                  <a:pt x="53" y="68"/>
                </a:lnTo>
                <a:lnTo>
                  <a:pt x="56" y="65"/>
                </a:lnTo>
                <a:lnTo>
                  <a:pt x="62" y="65"/>
                </a:lnTo>
                <a:lnTo>
                  <a:pt x="66" y="72"/>
                </a:lnTo>
                <a:lnTo>
                  <a:pt x="69" y="72"/>
                </a:lnTo>
                <a:lnTo>
                  <a:pt x="75" y="68"/>
                </a:lnTo>
                <a:lnTo>
                  <a:pt x="78" y="62"/>
                </a:lnTo>
                <a:lnTo>
                  <a:pt x="75" y="62"/>
                </a:lnTo>
                <a:lnTo>
                  <a:pt x="75" y="56"/>
                </a:lnTo>
                <a:lnTo>
                  <a:pt x="78" y="53"/>
                </a:lnTo>
                <a:lnTo>
                  <a:pt x="78" y="50"/>
                </a:lnTo>
                <a:lnTo>
                  <a:pt x="78" y="46"/>
                </a:lnTo>
                <a:lnTo>
                  <a:pt x="78" y="43"/>
                </a:lnTo>
                <a:lnTo>
                  <a:pt x="75" y="40"/>
                </a:lnTo>
                <a:lnTo>
                  <a:pt x="72" y="37"/>
                </a:lnTo>
                <a:lnTo>
                  <a:pt x="69" y="34"/>
                </a:lnTo>
                <a:lnTo>
                  <a:pt x="69" y="31"/>
                </a:lnTo>
                <a:lnTo>
                  <a:pt x="69" y="28"/>
                </a:lnTo>
                <a:lnTo>
                  <a:pt x="69" y="25"/>
                </a:lnTo>
                <a:lnTo>
                  <a:pt x="69" y="18"/>
                </a:lnTo>
                <a:lnTo>
                  <a:pt x="72" y="12"/>
                </a:lnTo>
                <a:lnTo>
                  <a:pt x="72" y="12"/>
                </a:lnTo>
                <a:lnTo>
                  <a:pt x="72" y="12"/>
                </a:lnTo>
                <a:lnTo>
                  <a:pt x="78" y="6"/>
                </a:lnTo>
                <a:lnTo>
                  <a:pt x="78" y="6"/>
                </a:lnTo>
                <a:lnTo>
                  <a:pt x="72" y="3"/>
                </a:lnTo>
                <a:lnTo>
                  <a:pt x="66" y="3"/>
                </a:lnTo>
                <a:lnTo>
                  <a:pt x="59" y="0"/>
                </a:lnTo>
                <a:lnTo>
                  <a:pt x="56" y="0"/>
                </a:lnTo>
                <a:lnTo>
                  <a:pt x="53" y="0"/>
                </a:lnTo>
                <a:lnTo>
                  <a:pt x="47" y="0"/>
                </a:lnTo>
                <a:lnTo>
                  <a:pt x="37" y="3"/>
                </a:lnTo>
                <a:lnTo>
                  <a:pt x="31" y="0"/>
                </a:lnTo>
                <a:lnTo>
                  <a:pt x="22" y="0"/>
                </a:lnTo>
                <a:lnTo>
                  <a:pt x="19" y="3"/>
                </a:lnTo>
                <a:lnTo>
                  <a:pt x="19" y="6"/>
                </a:lnTo>
                <a:lnTo>
                  <a:pt x="19" y="6"/>
                </a:lnTo>
                <a:lnTo>
                  <a:pt x="16" y="9"/>
                </a:lnTo>
                <a:lnTo>
                  <a:pt x="16" y="12"/>
                </a:lnTo>
                <a:lnTo>
                  <a:pt x="12" y="15"/>
                </a:lnTo>
                <a:lnTo>
                  <a:pt x="9" y="18"/>
                </a:lnTo>
                <a:lnTo>
                  <a:pt x="6" y="18"/>
                </a:lnTo>
                <a:lnTo>
                  <a:pt x="3" y="25"/>
                </a:lnTo>
                <a:lnTo>
                  <a:pt x="3" y="28"/>
                </a:lnTo>
                <a:lnTo>
                  <a:pt x="0" y="37"/>
                </a:lnTo>
                <a:lnTo>
                  <a:pt x="0" y="37"/>
                </a:lnTo>
                <a:lnTo>
                  <a:pt x="3" y="40"/>
                </a:lnTo>
                <a:lnTo>
                  <a:pt x="6" y="43"/>
                </a:lnTo>
                <a:lnTo>
                  <a:pt x="6" y="43"/>
                </a:lnTo>
                <a:lnTo>
                  <a:pt x="9" y="46"/>
                </a:lnTo>
                <a:lnTo>
                  <a:pt x="9" y="50"/>
                </a:lnTo>
                <a:lnTo>
                  <a:pt x="12" y="53"/>
                </a:lnTo>
                <a:lnTo>
                  <a:pt x="12" y="53"/>
                </a:lnTo>
                <a:lnTo>
                  <a:pt x="16" y="53"/>
                </a:lnTo>
                <a:lnTo>
                  <a:pt x="16" y="56"/>
                </a:lnTo>
                <a:lnTo>
                  <a:pt x="19" y="62"/>
                </a:lnTo>
                <a:lnTo>
                  <a:pt x="19" y="65"/>
                </a:lnTo>
                <a:lnTo>
                  <a:pt x="19" y="68"/>
                </a:lnTo>
                <a:lnTo>
                  <a:pt x="22" y="72"/>
                </a:lnTo>
                <a:lnTo>
                  <a:pt x="22" y="75"/>
                </a:lnTo>
                <a:lnTo>
                  <a:pt x="28" y="78"/>
                </a:lnTo>
                <a:lnTo>
                  <a:pt x="28" y="78"/>
                </a:lnTo>
                <a:lnTo>
                  <a:pt x="28" y="81"/>
                </a:lnTo>
                <a:lnTo>
                  <a:pt x="31" y="8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1" name="Freeform 189">
            <a:extLst>
              <a:ext uri="{FF2B5EF4-FFF2-40B4-BE49-F238E27FC236}">
                <a16:creationId xmlns:a16="http://schemas.microsoft.com/office/drawing/2014/main" id="{24AEFDAE-C9AD-8DDF-5776-3E4357F4E250}"/>
              </a:ext>
            </a:extLst>
          </p:cNvPr>
          <p:cNvSpPr>
            <a:spLocks/>
          </p:cNvSpPr>
          <p:nvPr userDrawn="1"/>
        </p:nvSpPr>
        <p:spPr bwMode="auto">
          <a:xfrm>
            <a:off x="9387860" y="8841659"/>
            <a:ext cx="317481" cy="476250"/>
          </a:xfrm>
          <a:custGeom>
            <a:avLst/>
            <a:gdLst>
              <a:gd name="T0" fmla="*/ 16 w 100"/>
              <a:gd name="T1" fmla="*/ 65 h 150"/>
              <a:gd name="T2" fmla="*/ 22 w 100"/>
              <a:gd name="T3" fmla="*/ 65 h 150"/>
              <a:gd name="T4" fmla="*/ 28 w 100"/>
              <a:gd name="T5" fmla="*/ 71 h 150"/>
              <a:gd name="T6" fmla="*/ 25 w 100"/>
              <a:gd name="T7" fmla="*/ 81 h 150"/>
              <a:gd name="T8" fmla="*/ 28 w 100"/>
              <a:gd name="T9" fmla="*/ 84 h 150"/>
              <a:gd name="T10" fmla="*/ 34 w 100"/>
              <a:gd name="T11" fmla="*/ 87 h 150"/>
              <a:gd name="T12" fmla="*/ 38 w 100"/>
              <a:gd name="T13" fmla="*/ 90 h 150"/>
              <a:gd name="T14" fmla="*/ 34 w 100"/>
              <a:gd name="T15" fmla="*/ 96 h 150"/>
              <a:gd name="T16" fmla="*/ 31 w 100"/>
              <a:gd name="T17" fmla="*/ 106 h 150"/>
              <a:gd name="T18" fmla="*/ 28 w 100"/>
              <a:gd name="T19" fmla="*/ 115 h 150"/>
              <a:gd name="T20" fmla="*/ 28 w 100"/>
              <a:gd name="T21" fmla="*/ 122 h 150"/>
              <a:gd name="T22" fmla="*/ 28 w 100"/>
              <a:gd name="T23" fmla="*/ 128 h 150"/>
              <a:gd name="T24" fmla="*/ 38 w 100"/>
              <a:gd name="T25" fmla="*/ 134 h 150"/>
              <a:gd name="T26" fmla="*/ 41 w 100"/>
              <a:gd name="T27" fmla="*/ 140 h 150"/>
              <a:gd name="T28" fmla="*/ 50 w 100"/>
              <a:gd name="T29" fmla="*/ 150 h 150"/>
              <a:gd name="T30" fmla="*/ 56 w 100"/>
              <a:gd name="T31" fmla="*/ 147 h 150"/>
              <a:gd name="T32" fmla="*/ 59 w 100"/>
              <a:gd name="T33" fmla="*/ 147 h 150"/>
              <a:gd name="T34" fmla="*/ 63 w 100"/>
              <a:gd name="T35" fmla="*/ 140 h 150"/>
              <a:gd name="T36" fmla="*/ 75 w 100"/>
              <a:gd name="T37" fmla="*/ 140 h 150"/>
              <a:gd name="T38" fmla="*/ 81 w 100"/>
              <a:gd name="T39" fmla="*/ 131 h 150"/>
              <a:gd name="T40" fmla="*/ 91 w 100"/>
              <a:gd name="T41" fmla="*/ 134 h 150"/>
              <a:gd name="T42" fmla="*/ 100 w 100"/>
              <a:gd name="T43" fmla="*/ 134 h 150"/>
              <a:gd name="T44" fmla="*/ 97 w 100"/>
              <a:gd name="T45" fmla="*/ 128 h 150"/>
              <a:gd name="T46" fmla="*/ 91 w 100"/>
              <a:gd name="T47" fmla="*/ 125 h 150"/>
              <a:gd name="T48" fmla="*/ 88 w 100"/>
              <a:gd name="T49" fmla="*/ 118 h 150"/>
              <a:gd name="T50" fmla="*/ 88 w 100"/>
              <a:gd name="T51" fmla="*/ 112 h 150"/>
              <a:gd name="T52" fmla="*/ 85 w 100"/>
              <a:gd name="T53" fmla="*/ 103 h 150"/>
              <a:gd name="T54" fmla="*/ 81 w 100"/>
              <a:gd name="T55" fmla="*/ 103 h 150"/>
              <a:gd name="T56" fmla="*/ 78 w 100"/>
              <a:gd name="T57" fmla="*/ 96 h 150"/>
              <a:gd name="T58" fmla="*/ 75 w 100"/>
              <a:gd name="T59" fmla="*/ 93 h 150"/>
              <a:gd name="T60" fmla="*/ 69 w 100"/>
              <a:gd name="T61" fmla="*/ 87 h 150"/>
              <a:gd name="T62" fmla="*/ 72 w 100"/>
              <a:gd name="T63" fmla="*/ 78 h 150"/>
              <a:gd name="T64" fmla="*/ 75 w 100"/>
              <a:gd name="T65" fmla="*/ 68 h 150"/>
              <a:gd name="T66" fmla="*/ 81 w 100"/>
              <a:gd name="T67" fmla="*/ 65 h 150"/>
              <a:gd name="T68" fmla="*/ 85 w 100"/>
              <a:gd name="T69" fmla="*/ 59 h 150"/>
              <a:gd name="T70" fmla="*/ 88 w 100"/>
              <a:gd name="T71" fmla="*/ 56 h 150"/>
              <a:gd name="T72" fmla="*/ 85 w 100"/>
              <a:gd name="T73" fmla="*/ 53 h 150"/>
              <a:gd name="T74" fmla="*/ 85 w 100"/>
              <a:gd name="T75" fmla="*/ 43 h 150"/>
              <a:gd name="T76" fmla="*/ 69 w 100"/>
              <a:gd name="T77" fmla="*/ 37 h 150"/>
              <a:gd name="T78" fmla="*/ 63 w 100"/>
              <a:gd name="T79" fmla="*/ 34 h 150"/>
              <a:gd name="T80" fmla="*/ 56 w 100"/>
              <a:gd name="T81" fmla="*/ 37 h 150"/>
              <a:gd name="T82" fmla="*/ 56 w 100"/>
              <a:gd name="T83" fmla="*/ 37 h 150"/>
              <a:gd name="T84" fmla="*/ 59 w 100"/>
              <a:gd name="T85" fmla="*/ 28 h 150"/>
              <a:gd name="T86" fmla="*/ 53 w 100"/>
              <a:gd name="T87" fmla="*/ 18 h 150"/>
              <a:gd name="T88" fmla="*/ 41 w 100"/>
              <a:gd name="T89" fmla="*/ 9 h 150"/>
              <a:gd name="T90" fmla="*/ 34 w 100"/>
              <a:gd name="T91" fmla="*/ 3 h 150"/>
              <a:gd name="T92" fmla="*/ 31 w 100"/>
              <a:gd name="T93" fmla="*/ 0 h 150"/>
              <a:gd name="T94" fmla="*/ 25 w 100"/>
              <a:gd name="T95" fmla="*/ 9 h 150"/>
              <a:gd name="T96" fmla="*/ 19 w 100"/>
              <a:gd name="T97" fmla="*/ 12 h 150"/>
              <a:gd name="T98" fmla="*/ 13 w 100"/>
              <a:gd name="T99" fmla="*/ 21 h 150"/>
              <a:gd name="T100" fmla="*/ 22 w 100"/>
              <a:gd name="T101" fmla="*/ 25 h 150"/>
              <a:gd name="T102" fmla="*/ 25 w 100"/>
              <a:gd name="T103" fmla="*/ 34 h 150"/>
              <a:gd name="T104" fmla="*/ 13 w 100"/>
              <a:gd name="T105" fmla="*/ 34 h 150"/>
              <a:gd name="T106" fmla="*/ 9 w 100"/>
              <a:gd name="T107" fmla="*/ 34 h 150"/>
              <a:gd name="T108" fmla="*/ 6 w 100"/>
              <a:gd name="T109" fmla="*/ 43 h 150"/>
              <a:gd name="T110" fmla="*/ 3 w 100"/>
              <a:gd name="T111" fmla="*/ 53 h 150"/>
              <a:gd name="T112" fmla="*/ 16 w 100"/>
              <a:gd name="T113" fmla="*/ 6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0" h="150">
                <a:moveTo>
                  <a:pt x="16" y="65"/>
                </a:moveTo>
                <a:lnTo>
                  <a:pt x="16" y="65"/>
                </a:lnTo>
                <a:lnTo>
                  <a:pt x="19" y="68"/>
                </a:lnTo>
                <a:lnTo>
                  <a:pt x="22" y="65"/>
                </a:lnTo>
                <a:lnTo>
                  <a:pt x="25" y="65"/>
                </a:lnTo>
                <a:lnTo>
                  <a:pt x="28" y="71"/>
                </a:lnTo>
                <a:lnTo>
                  <a:pt x="28" y="75"/>
                </a:lnTo>
                <a:lnTo>
                  <a:pt x="25" y="81"/>
                </a:lnTo>
                <a:lnTo>
                  <a:pt x="25" y="81"/>
                </a:lnTo>
                <a:lnTo>
                  <a:pt x="28" y="84"/>
                </a:lnTo>
                <a:lnTo>
                  <a:pt x="31" y="84"/>
                </a:lnTo>
                <a:lnTo>
                  <a:pt x="34" y="87"/>
                </a:lnTo>
                <a:lnTo>
                  <a:pt x="34" y="90"/>
                </a:lnTo>
                <a:lnTo>
                  <a:pt x="38" y="90"/>
                </a:lnTo>
                <a:lnTo>
                  <a:pt x="38" y="90"/>
                </a:lnTo>
                <a:lnTo>
                  <a:pt x="34" y="96"/>
                </a:lnTo>
                <a:lnTo>
                  <a:pt x="34" y="100"/>
                </a:lnTo>
                <a:lnTo>
                  <a:pt x="31" y="106"/>
                </a:lnTo>
                <a:lnTo>
                  <a:pt x="31" y="112"/>
                </a:lnTo>
                <a:lnTo>
                  <a:pt x="28" y="115"/>
                </a:lnTo>
                <a:lnTo>
                  <a:pt x="28" y="118"/>
                </a:lnTo>
                <a:lnTo>
                  <a:pt x="28" y="122"/>
                </a:lnTo>
                <a:lnTo>
                  <a:pt x="28" y="122"/>
                </a:lnTo>
                <a:lnTo>
                  <a:pt x="28" y="128"/>
                </a:lnTo>
                <a:lnTo>
                  <a:pt x="31" y="131"/>
                </a:lnTo>
                <a:lnTo>
                  <a:pt x="38" y="134"/>
                </a:lnTo>
                <a:lnTo>
                  <a:pt x="38" y="137"/>
                </a:lnTo>
                <a:lnTo>
                  <a:pt x="41" y="140"/>
                </a:lnTo>
                <a:lnTo>
                  <a:pt x="47" y="147"/>
                </a:lnTo>
                <a:lnTo>
                  <a:pt x="50" y="150"/>
                </a:lnTo>
                <a:lnTo>
                  <a:pt x="53" y="147"/>
                </a:lnTo>
                <a:lnTo>
                  <a:pt x="56" y="147"/>
                </a:lnTo>
                <a:lnTo>
                  <a:pt x="56" y="147"/>
                </a:lnTo>
                <a:lnTo>
                  <a:pt x="59" y="147"/>
                </a:lnTo>
                <a:lnTo>
                  <a:pt x="63" y="143"/>
                </a:lnTo>
                <a:lnTo>
                  <a:pt x="63" y="140"/>
                </a:lnTo>
                <a:lnTo>
                  <a:pt x="69" y="140"/>
                </a:lnTo>
                <a:lnTo>
                  <a:pt x="75" y="140"/>
                </a:lnTo>
                <a:lnTo>
                  <a:pt x="78" y="134"/>
                </a:lnTo>
                <a:lnTo>
                  <a:pt x="81" y="131"/>
                </a:lnTo>
                <a:lnTo>
                  <a:pt x="88" y="131"/>
                </a:lnTo>
                <a:lnTo>
                  <a:pt x="91" y="134"/>
                </a:lnTo>
                <a:lnTo>
                  <a:pt x="94" y="134"/>
                </a:lnTo>
                <a:lnTo>
                  <a:pt x="100" y="134"/>
                </a:lnTo>
                <a:lnTo>
                  <a:pt x="97" y="131"/>
                </a:lnTo>
                <a:lnTo>
                  <a:pt x="97" y="128"/>
                </a:lnTo>
                <a:lnTo>
                  <a:pt x="97" y="128"/>
                </a:lnTo>
                <a:lnTo>
                  <a:pt x="91" y="125"/>
                </a:lnTo>
                <a:lnTo>
                  <a:pt x="91" y="122"/>
                </a:lnTo>
                <a:lnTo>
                  <a:pt x="88" y="118"/>
                </a:lnTo>
                <a:lnTo>
                  <a:pt x="88" y="115"/>
                </a:lnTo>
                <a:lnTo>
                  <a:pt x="88" y="112"/>
                </a:lnTo>
                <a:lnTo>
                  <a:pt x="85" y="106"/>
                </a:lnTo>
                <a:lnTo>
                  <a:pt x="85" y="103"/>
                </a:lnTo>
                <a:lnTo>
                  <a:pt x="81" y="103"/>
                </a:lnTo>
                <a:lnTo>
                  <a:pt x="81" y="103"/>
                </a:lnTo>
                <a:lnTo>
                  <a:pt x="78" y="100"/>
                </a:lnTo>
                <a:lnTo>
                  <a:pt x="78" y="96"/>
                </a:lnTo>
                <a:lnTo>
                  <a:pt x="75" y="93"/>
                </a:lnTo>
                <a:lnTo>
                  <a:pt x="75" y="93"/>
                </a:lnTo>
                <a:lnTo>
                  <a:pt x="72" y="90"/>
                </a:lnTo>
                <a:lnTo>
                  <a:pt x="69" y="87"/>
                </a:lnTo>
                <a:lnTo>
                  <a:pt x="69" y="87"/>
                </a:lnTo>
                <a:lnTo>
                  <a:pt x="72" y="78"/>
                </a:lnTo>
                <a:lnTo>
                  <a:pt x="72" y="75"/>
                </a:lnTo>
                <a:lnTo>
                  <a:pt x="75" y="68"/>
                </a:lnTo>
                <a:lnTo>
                  <a:pt x="78" y="68"/>
                </a:lnTo>
                <a:lnTo>
                  <a:pt x="81" y="65"/>
                </a:lnTo>
                <a:lnTo>
                  <a:pt x="85" y="62"/>
                </a:lnTo>
                <a:lnTo>
                  <a:pt x="85" y="59"/>
                </a:lnTo>
                <a:lnTo>
                  <a:pt x="88" y="56"/>
                </a:lnTo>
                <a:lnTo>
                  <a:pt x="88" y="56"/>
                </a:lnTo>
                <a:lnTo>
                  <a:pt x="88" y="56"/>
                </a:lnTo>
                <a:lnTo>
                  <a:pt x="85" y="53"/>
                </a:lnTo>
                <a:lnTo>
                  <a:pt x="85" y="46"/>
                </a:lnTo>
                <a:lnTo>
                  <a:pt x="85" y="43"/>
                </a:lnTo>
                <a:lnTo>
                  <a:pt x="75" y="43"/>
                </a:lnTo>
                <a:lnTo>
                  <a:pt x="69" y="37"/>
                </a:lnTo>
                <a:lnTo>
                  <a:pt x="66" y="34"/>
                </a:lnTo>
                <a:lnTo>
                  <a:pt x="63" y="34"/>
                </a:lnTo>
                <a:lnTo>
                  <a:pt x="59" y="34"/>
                </a:lnTo>
                <a:lnTo>
                  <a:pt x="56" y="37"/>
                </a:lnTo>
                <a:lnTo>
                  <a:pt x="56" y="43"/>
                </a:lnTo>
                <a:lnTo>
                  <a:pt x="56" y="37"/>
                </a:lnTo>
                <a:lnTo>
                  <a:pt x="56" y="31"/>
                </a:lnTo>
                <a:lnTo>
                  <a:pt x="59" y="28"/>
                </a:lnTo>
                <a:lnTo>
                  <a:pt x="56" y="21"/>
                </a:lnTo>
                <a:lnTo>
                  <a:pt x="53" y="18"/>
                </a:lnTo>
                <a:lnTo>
                  <a:pt x="44" y="15"/>
                </a:lnTo>
                <a:lnTo>
                  <a:pt x="41" y="9"/>
                </a:lnTo>
                <a:lnTo>
                  <a:pt x="41" y="6"/>
                </a:lnTo>
                <a:lnTo>
                  <a:pt x="34" y="3"/>
                </a:lnTo>
                <a:lnTo>
                  <a:pt x="31" y="0"/>
                </a:lnTo>
                <a:lnTo>
                  <a:pt x="31" y="0"/>
                </a:lnTo>
                <a:lnTo>
                  <a:pt x="31" y="3"/>
                </a:lnTo>
                <a:lnTo>
                  <a:pt x="25" y="9"/>
                </a:lnTo>
                <a:lnTo>
                  <a:pt x="22" y="12"/>
                </a:lnTo>
                <a:lnTo>
                  <a:pt x="19" y="12"/>
                </a:lnTo>
                <a:lnTo>
                  <a:pt x="13" y="18"/>
                </a:lnTo>
                <a:lnTo>
                  <a:pt x="13" y="21"/>
                </a:lnTo>
                <a:lnTo>
                  <a:pt x="16" y="25"/>
                </a:lnTo>
                <a:lnTo>
                  <a:pt x="22" y="25"/>
                </a:lnTo>
                <a:lnTo>
                  <a:pt x="25" y="28"/>
                </a:lnTo>
                <a:lnTo>
                  <a:pt x="25" y="34"/>
                </a:lnTo>
                <a:lnTo>
                  <a:pt x="19" y="34"/>
                </a:lnTo>
                <a:lnTo>
                  <a:pt x="13" y="34"/>
                </a:lnTo>
                <a:lnTo>
                  <a:pt x="13" y="37"/>
                </a:lnTo>
                <a:lnTo>
                  <a:pt x="9" y="34"/>
                </a:lnTo>
                <a:lnTo>
                  <a:pt x="6" y="37"/>
                </a:lnTo>
                <a:lnTo>
                  <a:pt x="6" y="43"/>
                </a:lnTo>
                <a:lnTo>
                  <a:pt x="0" y="46"/>
                </a:lnTo>
                <a:lnTo>
                  <a:pt x="3" y="53"/>
                </a:lnTo>
                <a:lnTo>
                  <a:pt x="6" y="59"/>
                </a:lnTo>
                <a:lnTo>
                  <a:pt x="16" y="65"/>
                </a:lnTo>
                <a:lnTo>
                  <a:pt x="16" y="65"/>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2" name="Freeform 190">
            <a:extLst>
              <a:ext uri="{FF2B5EF4-FFF2-40B4-BE49-F238E27FC236}">
                <a16:creationId xmlns:a16="http://schemas.microsoft.com/office/drawing/2014/main" id="{E89152DC-3D06-CAC3-A46D-764C830B359A}"/>
              </a:ext>
            </a:extLst>
          </p:cNvPr>
          <p:cNvSpPr>
            <a:spLocks noEditPoints="1"/>
          </p:cNvSpPr>
          <p:nvPr userDrawn="1"/>
        </p:nvSpPr>
        <p:spPr bwMode="auto">
          <a:xfrm>
            <a:off x="8654486" y="8581308"/>
            <a:ext cx="831796" cy="765176"/>
          </a:xfrm>
          <a:custGeom>
            <a:avLst/>
            <a:gdLst>
              <a:gd name="T0" fmla="*/ 48 w 84"/>
              <a:gd name="T1" fmla="*/ 77 h 77"/>
              <a:gd name="T2" fmla="*/ 56 w 84"/>
              <a:gd name="T3" fmla="*/ 69 h 77"/>
              <a:gd name="T4" fmla="*/ 59 w 84"/>
              <a:gd name="T5" fmla="*/ 65 h 77"/>
              <a:gd name="T6" fmla="*/ 56 w 84"/>
              <a:gd name="T7" fmla="*/ 58 h 77"/>
              <a:gd name="T8" fmla="*/ 54 w 84"/>
              <a:gd name="T9" fmla="*/ 54 h 77"/>
              <a:gd name="T10" fmla="*/ 63 w 84"/>
              <a:gd name="T11" fmla="*/ 56 h 77"/>
              <a:gd name="T12" fmla="*/ 73 w 84"/>
              <a:gd name="T13" fmla="*/ 52 h 77"/>
              <a:gd name="T14" fmla="*/ 76 w 84"/>
              <a:gd name="T15" fmla="*/ 45 h 77"/>
              <a:gd name="T16" fmla="*/ 77 w 84"/>
              <a:gd name="T17" fmla="*/ 37 h 77"/>
              <a:gd name="T18" fmla="*/ 82 w 84"/>
              <a:gd name="T19" fmla="*/ 35 h 77"/>
              <a:gd name="T20" fmla="*/ 80 w 84"/>
              <a:gd name="T21" fmla="*/ 30 h 77"/>
              <a:gd name="T22" fmla="*/ 84 w 84"/>
              <a:gd name="T23" fmla="*/ 26 h 77"/>
              <a:gd name="T24" fmla="*/ 78 w 84"/>
              <a:gd name="T25" fmla="*/ 25 h 77"/>
              <a:gd name="T26" fmla="*/ 74 w 84"/>
              <a:gd name="T27" fmla="*/ 25 h 77"/>
              <a:gd name="T28" fmla="*/ 77 w 84"/>
              <a:gd name="T29" fmla="*/ 22 h 77"/>
              <a:gd name="T30" fmla="*/ 72 w 84"/>
              <a:gd name="T31" fmla="*/ 19 h 77"/>
              <a:gd name="T32" fmla="*/ 68 w 84"/>
              <a:gd name="T33" fmla="*/ 16 h 77"/>
              <a:gd name="T34" fmla="*/ 65 w 84"/>
              <a:gd name="T35" fmla="*/ 15 h 77"/>
              <a:gd name="T36" fmla="*/ 71 w 84"/>
              <a:gd name="T37" fmla="*/ 13 h 77"/>
              <a:gd name="T38" fmla="*/ 63 w 84"/>
              <a:gd name="T39" fmla="*/ 11 h 77"/>
              <a:gd name="T40" fmla="*/ 55 w 84"/>
              <a:gd name="T41" fmla="*/ 14 h 77"/>
              <a:gd name="T42" fmla="*/ 50 w 84"/>
              <a:gd name="T43" fmla="*/ 16 h 77"/>
              <a:gd name="T44" fmla="*/ 36 w 84"/>
              <a:gd name="T45" fmla="*/ 14 h 77"/>
              <a:gd name="T46" fmla="*/ 33 w 84"/>
              <a:gd name="T47" fmla="*/ 11 h 77"/>
              <a:gd name="T48" fmla="*/ 26 w 84"/>
              <a:gd name="T49" fmla="*/ 7 h 77"/>
              <a:gd name="T50" fmla="*/ 22 w 84"/>
              <a:gd name="T51" fmla="*/ 2 h 77"/>
              <a:gd name="T52" fmla="*/ 19 w 84"/>
              <a:gd name="T53" fmla="*/ 7 h 77"/>
              <a:gd name="T54" fmla="*/ 21 w 84"/>
              <a:gd name="T55" fmla="*/ 8 h 77"/>
              <a:gd name="T56" fmla="*/ 18 w 84"/>
              <a:gd name="T57" fmla="*/ 9 h 77"/>
              <a:gd name="T58" fmla="*/ 12 w 84"/>
              <a:gd name="T59" fmla="*/ 14 h 77"/>
              <a:gd name="T60" fmla="*/ 10 w 84"/>
              <a:gd name="T61" fmla="*/ 23 h 77"/>
              <a:gd name="T62" fmla="*/ 8 w 84"/>
              <a:gd name="T63" fmla="*/ 17 h 77"/>
              <a:gd name="T64" fmla="*/ 10 w 84"/>
              <a:gd name="T65" fmla="*/ 10 h 77"/>
              <a:gd name="T66" fmla="*/ 10 w 84"/>
              <a:gd name="T67" fmla="*/ 6 h 77"/>
              <a:gd name="T68" fmla="*/ 9 w 84"/>
              <a:gd name="T69" fmla="*/ 6 h 77"/>
              <a:gd name="T70" fmla="*/ 3 w 84"/>
              <a:gd name="T71" fmla="*/ 12 h 77"/>
              <a:gd name="T72" fmla="*/ 0 w 84"/>
              <a:gd name="T73" fmla="*/ 21 h 77"/>
              <a:gd name="T74" fmla="*/ 6 w 84"/>
              <a:gd name="T75" fmla="*/ 28 h 77"/>
              <a:gd name="T76" fmla="*/ 5 w 84"/>
              <a:gd name="T77" fmla="*/ 33 h 77"/>
              <a:gd name="T78" fmla="*/ 12 w 84"/>
              <a:gd name="T79" fmla="*/ 35 h 77"/>
              <a:gd name="T80" fmla="*/ 19 w 84"/>
              <a:gd name="T81" fmla="*/ 35 h 77"/>
              <a:gd name="T82" fmla="*/ 28 w 84"/>
              <a:gd name="T83" fmla="*/ 40 h 77"/>
              <a:gd name="T84" fmla="*/ 34 w 84"/>
              <a:gd name="T85" fmla="*/ 41 h 77"/>
              <a:gd name="T86" fmla="*/ 36 w 84"/>
              <a:gd name="T87" fmla="*/ 44 h 77"/>
              <a:gd name="T88" fmla="*/ 34 w 84"/>
              <a:gd name="T89" fmla="*/ 50 h 77"/>
              <a:gd name="T90" fmla="*/ 34 w 84"/>
              <a:gd name="T91" fmla="*/ 56 h 77"/>
              <a:gd name="T92" fmla="*/ 35 w 84"/>
              <a:gd name="T93" fmla="*/ 64 h 77"/>
              <a:gd name="T94" fmla="*/ 37 w 84"/>
              <a:gd name="T95" fmla="*/ 67 h 77"/>
              <a:gd name="T96" fmla="*/ 30 w 84"/>
              <a:gd name="T97" fmla="*/ 2 h 77"/>
              <a:gd name="T98" fmla="*/ 31 w 84"/>
              <a:gd name="T99" fmla="*/ 3 h 77"/>
              <a:gd name="T100" fmla="*/ 28 w 84"/>
              <a:gd name="T101" fmla="*/ 3 h 77"/>
              <a:gd name="T102" fmla="*/ 21 w 84"/>
              <a:gd name="T103" fmla="*/ 1 h 77"/>
              <a:gd name="T104" fmla="*/ 57 w 84"/>
              <a:gd name="T105" fmla="*/ 9 h 77"/>
              <a:gd name="T106" fmla="*/ 58 w 84"/>
              <a:gd name="T107" fmla="*/ 1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 h="77">
                <a:moveTo>
                  <a:pt x="39" y="73"/>
                </a:moveTo>
                <a:cubicBezTo>
                  <a:pt x="41" y="75"/>
                  <a:pt x="41" y="75"/>
                  <a:pt x="41" y="75"/>
                </a:cubicBezTo>
                <a:cubicBezTo>
                  <a:pt x="44" y="77"/>
                  <a:pt x="44" y="77"/>
                  <a:pt x="44" y="77"/>
                </a:cubicBezTo>
                <a:cubicBezTo>
                  <a:pt x="45" y="77"/>
                  <a:pt x="45" y="77"/>
                  <a:pt x="45" y="77"/>
                </a:cubicBezTo>
                <a:cubicBezTo>
                  <a:pt x="48" y="77"/>
                  <a:pt x="48" y="77"/>
                  <a:pt x="48" y="77"/>
                </a:cubicBezTo>
                <a:cubicBezTo>
                  <a:pt x="49" y="75"/>
                  <a:pt x="49" y="75"/>
                  <a:pt x="49" y="75"/>
                </a:cubicBezTo>
                <a:cubicBezTo>
                  <a:pt x="51" y="74"/>
                  <a:pt x="51" y="74"/>
                  <a:pt x="51" y="74"/>
                </a:cubicBezTo>
                <a:cubicBezTo>
                  <a:pt x="52" y="72"/>
                  <a:pt x="52" y="72"/>
                  <a:pt x="52" y="72"/>
                </a:cubicBezTo>
                <a:cubicBezTo>
                  <a:pt x="55" y="71"/>
                  <a:pt x="55" y="71"/>
                  <a:pt x="55" y="71"/>
                </a:cubicBezTo>
                <a:cubicBezTo>
                  <a:pt x="56" y="69"/>
                  <a:pt x="56" y="69"/>
                  <a:pt x="56" y="69"/>
                </a:cubicBezTo>
                <a:cubicBezTo>
                  <a:pt x="57" y="68"/>
                  <a:pt x="57" y="68"/>
                  <a:pt x="57" y="68"/>
                </a:cubicBezTo>
                <a:cubicBezTo>
                  <a:pt x="60" y="67"/>
                  <a:pt x="60" y="67"/>
                  <a:pt x="60" y="67"/>
                </a:cubicBezTo>
                <a:cubicBezTo>
                  <a:pt x="61" y="67"/>
                  <a:pt x="61" y="67"/>
                  <a:pt x="61" y="67"/>
                </a:cubicBezTo>
                <a:cubicBezTo>
                  <a:pt x="61" y="65"/>
                  <a:pt x="61" y="65"/>
                  <a:pt x="61" y="65"/>
                </a:cubicBezTo>
                <a:cubicBezTo>
                  <a:pt x="59" y="65"/>
                  <a:pt x="59" y="65"/>
                  <a:pt x="59" y="65"/>
                </a:cubicBezTo>
                <a:cubicBezTo>
                  <a:pt x="57" y="65"/>
                  <a:pt x="57" y="65"/>
                  <a:pt x="57" y="65"/>
                </a:cubicBezTo>
                <a:cubicBezTo>
                  <a:pt x="55" y="64"/>
                  <a:pt x="55" y="64"/>
                  <a:pt x="55" y="64"/>
                </a:cubicBezTo>
                <a:cubicBezTo>
                  <a:pt x="55" y="62"/>
                  <a:pt x="55" y="62"/>
                  <a:pt x="55" y="62"/>
                </a:cubicBezTo>
                <a:cubicBezTo>
                  <a:pt x="54" y="61"/>
                  <a:pt x="54" y="61"/>
                  <a:pt x="54" y="61"/>
                </a:cubicBezTo>
                <a:cubicBezTo>
                  <a:pt x="56" y="58"/>
                  <a:pt x="56" y="58"/>
                  <a:pt x="56" y="58"/>
                </a:cubicBezTo>
                <a:cubicBezTo>
                  <a:pt x="56" y="57"/>
                  <a:pt x="56" y="57"/>
                  <a:pt x="56" y="57"/>
                </a:cubicBezTo>
                <a:cubicBezTo>
                  <a:pt x="54" y="56"/>
                  <a:pt x="54" y="56"/>
                  <a:pt x="54" y="56"/>
                </a:cubicBezTo>
                <a:cubicBezTo>
                  <a:pt x="53" y="55"/>
                  <a:pt x="53" y="55"/>
                  <a:pt x="53" y="55"/>
                </a:cubicBezTo>
                <a:cubicBezTo>
                  <a:pt x="52" y="54"/>
                  <a:pt x="52" y="54"/>
                  <a:pt x="52" y="54"/>
                </a:cubicBezTo>
                <a:cubicBezTo>
                  <a:pt x="54" y="54"/>
                  <a:pt x="54" y="54"/>
                  <a:pt x="54" y="54"/>
                </a:cubicBezTo>
                <a:cubicBezTo>
                  <a:pt x="56" y="55"/>
                  <a:pt x="56" y="55"/>
                  <a:pt x="56" y="55"/>
                </a:cubicBezTo>
                <a:cubicBezTo>
                  <a:pt x="58" y="56"/>
                  <a:pt x="58" y="56"/>
                  <a:pt x="58" y="56"/>
                </a:cubicBezTo>
                <a:cubicBezTo>
                  <a:pt x="60" y="56"/>
                  <a:pt x="60" y="56"/>
                  <a:pt x="60" y="56"/>
                </a:cubicBezTo>
                <a:cubicBezTo>
                  <a:pt x="63" y="55"/>
                  <a:pt x="63" y="55"/>
                  <a:pt x="63" y="55"/>
                </a:cubicBezTo>
                <a:cubicBezTo>
                  <a:pt x="63" y="56"/>
                  <a:pt x="63" y="56"/>
                  <a:pt x="63" y="56"/>
                </a:cubicBezTo>
                <a:cubicBezTo>
                  <a:pt x="65" y="55"/>
                  <a:pt x="65" y="55"/>
                  <a:pt x="65" y="55"/>
                </a:cubicBezTo>
                <a:cubicBezTo>
                  <a:pt x="67" y="53"/>
                  <a:pt x="67" y="53"/>
                  <a:pt x="67" y="53"/>
                </a:cubicBezTo>
                <a:cubicBezTo>
                  <a:pt x="69" y="53"/>
                  <a:pt x="69" y="53"/>
                  <a:pt x="69" y="53"/>
                </a:cubicBezTo>
                <a:cubicBezTo>
                  <a:pt x="70" y="54"/>
                  <a:pt x="70" y="54"/>
                  <a:pt x="70" y="54"/>
                </a:cubicBezTo>
                <a:cubicBezTo>
                  <a:pt x="73" y="52"/>
                  <a:pt x="73" y="52"/>
                  <a:pt x="73" y="52"/>
                </a:cubicBezTo>
                <a:cubicBezTo>
                  <a:pt x="75" y="52"/>
                  <a:pt x="75" y="52"/>
                  <a:pt x="75" y="52"/>
                </a:cubicBezTo>
                <a:cubicBezTo>
                  <a:pt x="78" y="50"/>
                  <a:pt x="78" y="50"/>
                  <a:pt x="78" y="50"/>
                </a:cubicBezTo>
                <a:cubicBezTo>
                  <a:pt x="79" y="48"/>
                  <a:pt x="79" y="48"/>
                  <a:pt x="79" y="48"/>
                </a:cubicBezTo>
                <a:cubicBezTo>
                  <a:pt x="79" y="47"/>
                  <a:pt x="79" y="47"/>
                  <a:pt x="79" y="47"/>
                </a:cubicBezTo>
                <a:cubicBezTo>
                  <a:pt x="76" y="45"/>
                  <a:pt x="76" y="45"/>
                  <a:pt x="76" y="45"/>
                </a:cubicBezTo>
                <a:cubicBezTo>
                  <a:pt x="75" y="43"/>
                  <a:pt x="75" y="43"/>
                  <a:pt x="75" y="43"/>
                </a:cubicBezTo>
                <a:cubicBezTo>
                  <a:pt x="74" y="41"/>
                  <a:pt x="74" y="41"/>
                  <a:pt x="74" y="41"/>
                </a:cubicBezTo>
                <a:cubicBezTo>
                  <a:pt x="76" y="40"/>
                  <a:pt x="76" y="40"/>
                  <a:pt x="76" y="40"/>
                </a:cubicBezTo>
                <a:cubicBezTo>
                  <a:pt x="76" y="38"/>
                  <a:pt x="76" y="38"/>
                  <a:pt x="76" y="38"/>
                </a:cubicBezTo>
                <a:cubicBezTo>
                  <a:pt x="77" y="37"/>
                  <a:pt x="77" y="37"/>
                  <a:pt x="77" y="37"/>
                </a:cubicBezTo>
                <a:cubicBezTo>
                  <a:pt x="78" y="38"/>
                  <a:pt x="78" y="38"/>
                  <a:pt x="78" y="38"/>
                </a:cubicBezTo>
                <a:cubicBezTo>
                  <a:pt x="78" y="37"/>
                  <a:pt x="78" y="37"/>
                  <a:pt x="78" y="37"/>
                </a:cubicBezTo>
                <a:cubicBezTo>
                  <a:pt x="80" y="37"/>
                  <a:pt x="80" y="37"/>
                  <a:pt x="80" y="37"/>
                </a:cubicBezTo>
                <a:cubicBezTo>
                  <a:pt x="82" y="37"/>
                  <a:pt x="82" y="37"/>
                  <a:pt x="82" y="37"/>
                </a:cubicBezTo>
                <a:cubicBezTo>
                  <a:pt x="82" y="35"/>
                  <a:pt x="82" y="35"/>
                  <a:pt x="82" y="35"/>
                </a:cubicBezTo>
                <a:cubicBezTo>
                  <a:pt x="81" y="34"/>
                  <a:pt x="81" y="34"/>
                  <a:pt x="81" y="34"/>
                </a:cubicBezTo>
                <a:cubicBezTo>
                  <a:pt x="79" y="34"/>
                  <a:pt x="79" y="34"/>
                  <a:pt x="79" y="34"/>
                </a:cubicBezTo>
                <a:cubicBezTo>
                  <a:pt x="78" y="33"/>
                  <a:pt x="78" y="33"/>
                  <a:pt x="78" y="33"/>
                </a:cubicBezTo>
                <a:cubicBezTo>
                  <a:pt x="78" y="32"/>
                  <a:pt x="78" y="32"/>
                  <a:pt x="78" y="32"/>
                </a:cubicBezTo>
                <a:cubicBezTo>
                  <a:pt x="80" y="30"/>
                  <a:pt x="80" y="30"/>
                  <a:pt x="80" y="30"/>
                </a:cubicBezTo>
                <a:cubicBezTo>
                  <a:pt x="81" y="30"/>
                  <a:pt x="81" y="30"/>
                  <a:pt x="81" y="30"/>
                </a:cubicBezTo>
                <a:cubicBezTo>
                  <a:pt x="82" y="29"/>
                  <a:pt x="82" y="29"/>
                  <a:pt x="82" y="29"/>
                </a:cubicBezTo>
                <a:cubicBezTo>
                  <a:pt x="84" y="27"/>
                  <a:pt x="84" y="27"/>
                  <a:pt x="84" y="27"/>
                </a:cubicBezTo>
                <a:cubicBezTo>
                  <a:pt x="84" y="26"/>
                  <a:pt x="84" y="26"/>
                  <a:pt x="84" y="26"/>
                </a:cubicBezTo>
                <a:cubicBezTo>
                  <a:pt x="84" y="26"/>
                  <a:pt x="84" y="26"/>
                  <a:pt x="84" y="26"/>
                </a:cubicBezTo>
                <a:cubicBezTo>
                  <a:pt x="81" y="25"/>
                  <a:pt x="81" y="25"/>
                  <a:pt x="81" y="25"/>
                </a:cubicBezTo>
                <a:cubicBezTo>
                  <a:pt x="80" y="25"/>
                  <a:pt x="80" y="25"/>
                  <a:pt x="80" y="25"/>
                </a:cubicBezTo>
                <a:cubicBezTo>
                  <a:pt x="80" y="25"/>
                  <a:pt x="80" y="25"/>
                  <a:pt x="80" y="25"/>
                </a:cubicBezTo>
                <a:cubicBezTo>
                  <a:pt x="78" y="25"/>
                  <a:pt x="78" y="25"/>
                  <a:pt x="78" y="25"/>
                </a:cubicBezTo>
                <a:cubicBezTo>
                  <a:pt x="78" y="25"/>
                  <a:pt x="78" y="25"/>
                  <a:pt x="78" y="25"/>
                </a:cubicBezTo>
                <a:cubicBezTo>
                  <a:pt x="77" y="25"/>
                  <a:pt x="77" y="25"/>
                  <a:pt x="77" y="25"/>
                </a:cubicBezTo>
                <a:cubicBezTo>
                  <a:pt x="75" y="26"/>
                  <a:pt x="75" y="26"/>
                  <a:pt x="75" y="26"/>
                </a:cubicBezTo>
                <a:cubicBezTo>
                  <a:pt x="73" y="26"/>
                  <a:pt x="73" y="26"/>
                  <a:pt x="73" y="26"/>
                </a:cubicBezTo>
                <a:cubicBezTo>
                  <a:pt x="72" y="26"/>
                  <a:pt x="72" y="26"/>
                  <a:pt x="72" y="26"/>
                </a:cubicBezTo>
                <a:cubicBezTo>
                  <a:pt x="74" y="25"/>
                  <a:pt x="74" y="25"/>
                  <a:pt x="74" y="25"/>
                </a:cubicBezTo>
                <a:cubicBezTo>
                  <a:pt x="74" y="25"/>
                  <a:pt x="74" y="25"/>
                  <a:pt x="74" y="25"/>
                </a:cubicBezTo>
                <a:cubicBezTo>
                  <a:pt x="75" y="25"/>
                  <a:pt x="75" y="25"/>
                  <a:pt x="75" y="25"/>
                </a:cubicBezTo>
                <a:cubicBezTo>
                  <a:pt x="76" y="24"/>
                  <a:pt x="76" y="24"/>
                  <a:pt x="76" y="24"/>
                </a:cubicBezTo>
                <a:cubicBezTo>
                  <a:pt x="77" y="23"/>
                  <a:pt x="77" y="23"/>
                  <a:pt x="77" y="23"/>
                </a:cubicBezTo>
                <a:cubicBezTo>
                  <a:pt x="77" y="22"/>
                  <a:pt x="77" y="22"/>
                  <a:pt x="77" y="22"/>
                </a:cubicBezTo>
                <a:cubicBezTo>
                  <a:pt x="77" y="22"/>
                  <a:pt x="77" y="22"/>
                  <a:pt x="77" y="22"/>
                </a:cubicBezTo>
                <a:cubicBezTo>
                  <a:pt x="77" y="21"/>
                  <a:pt x="77" y="21"/>
                  <a:pt x="77" y="21"/>
                </a:cubicBezTo>
                <a:cubicBezTo>
                  <a:pt x="76" y="20"/>
                  <a:pt x="76" y="20"/>
                  <a:pt x="76" y="20"/>
                </a:cubicBezTo>
                <a:cubicBezTo>
                  <a:pt x="75" y="19"/>
                  <a:pt x="75" y="19"/>
                  <a:pt x="75" y="19"/>
                </a:cubicBezTo>
                <a:cubicBezTo>
                  <a:pt x="72" y="19"/>
                  <a:pt x="72" y="19"/>
                  <a:pt x="72" y="19"/>
                </a:cubicBezTo>
                <a:cubicBezTo>
                  <a:pt x="72" y="18"/>
                  <a:pt x="72" y="18"/>
                  <a:pt x="72" y="18"/>
                </a:cubicBezTo>
                <a:cubicBezTo>
                  <a:pt x="71" y="18"/>
                  <a:pt x="71" y="18"/>
                  <a:pt x="71" y="18"/>
                </a:cubicBezTo>
                <a:cubicBezTo>
                  <a:pt x="70" y="18"/>
                  <a:pt x="70" y="18"/>
                  <a:pt x="70" y="18"/>
                </a:cubicBezTo>
                <a:cubicBezTo>
                  <a:pt x="69" y="17"/>
                  <a:pt x="69" y="17"/>
                  <a:pt x="69" y="17"/>
                </a:cubicBezTo>
                <a:cubicBezTo>
                  <a:pt x="68" y="16"/>
                  <a:pt x="68" y="16"/>
                  <a:pt x="68" y="16"/>
                </a:cubicBezTo>
                <a:cubicBezTo>
                  <a:pt x="67" y="16"/>
                  <a:pt x="67" y="16"/>
                  <a:pt x="67" y="16"/>
                </a:cubicBezTo>
                <a:cubicBezTo>
                  <a:pt x="68" y="18"/>
                  <a:pt x="68" y="18"/>
                  <a:pt x="68" y="18"/>
                </a:cubicBezTo>
                <a:cubicBezTo>
                  <a:pt x="67" y="16"/>
                  <a:pt x="67" y="16"/>
                  <a:pt x="67" y="16"/>
                </a:cubicBezTo>
                <a:cubicBezTo>
                  <a:pt x="66" y="15"/>
                  <a:pt x="66" y="15"/>
                  <a:pt x="66" y="15"/>
                </a:cubicBezTo>
                <a:cubicBezTo>
                  <a:pt x="65" y="15"/>
                  <a:pt x="65" y="15"/>
                  <a:pt x="65" y="15"/>
                </a:cubicBezTo>
                <a:cubicBezTo>
                  <a:pt x="65" y="14"/>
                  <a:pt x="65" y="14"/>
                  <a:pt x="65" y="14"/>
                </a:cubicBezTo>
                <a:cubicBezTo>
                  <a:pt x="65" y="13"/>
                  <a:pt x="65" y="13"/>
                  <a:pt x="65" y="13"/>
                </a:cubicBezTo>
                <a:cubicBezTo>
                  <a:pt x="68" y="13"/>
                  <a:pt x="68" y="13"/>
                  <a:pt x="68" y="13"/>
                </a:cubicBezTo>
                <a:cubicBezTo>
                  <a:pt x="69" y="13"/>
                  <a:pt x="69" y="13"/>
                  <a:pt x="69" y="13"/>
                </a:cubicBezTo>
                <a:cubicBezTo>
                  <a:pt x="71" y="13"/>
                  <a:pt x="71" y="13"/>
                  <a:pt x="71" y="13"/>
                </a:cubicBezTo>
                <a:cubicBezTo>
                  <a:pt x="71" y="12"/>
                  <a:pt x="71" y="12"/>
                  <a:pt x="71" y="12"/>
                </a:cubicBezTo>
                <a:cubicBezTo>
                  <a:pt x="69" y="12"/>
                  <a:pt x="69" y="12"/>
                  <a:pt x="69" y="12"/>
                </a:cubicBezTo>
                <a:cubicBezTo>
                  <a:pt x="67" y="11"/>
                  <a:pt x="67" y="11"/>
                  <a:pt x="67" y="11"/>
                </a:cubicBezTo>
                <a:cubicBezTo>
                  <a:pt x="65" y="12"/>
                  <a:pt x="65" y="12"/>
                  <a:pt x="65" y="12"/>
                </a:cubicBezTo>
                <a:cubicBezTo>
                  <a:pt x="63" y="11"/>
                  <a:pt x="63" y="11"/>
                  <a:pt x="63" y="11"/>
                </a:cubicBezTo>
                <a:cubicBezTo>
                  <a:pt x="60" y="12"/>
                  <a:pt x="60" y="12"/>
                  <a:pt x="60" y="12"/>
                </a:cubicBezTo>
                <a:cubicBezTo>
                  <a:pt x="60" y="12"/>
                  <a:pt x="60" y="12"/>
                  <a:pt x="60" y="12"/>
                </a:cubicBezTo>
                <a:cubicBezTo>
                  <a:pt x="58" y="12"/>
                  <a:pt x="58" y="12"/>
                  <a:pt x="58" y="12"/>
                </a:cubicBezTo>
                <a:cubicBezTo>
                  <a:pt x="56" y="14"/>
                  <a:pt x="56" y="14"/>
                  <a:pt x="56" y="14"/>
                </a:cubicBezTo>
                <a:cubicBezTo>
                  <a:pt x="55" y="14"/>
                  <a:pt x="55" y="14"/>
                  <a:pt x="55" y="14"/>
                </a:cubicBezTo>
                <a:cubicBezTo>
                  <a:pt x="53" y="15"/>
                  <a:pt x="53" y="15"/>
                  <a:pt x="53" y="15"/>
                </a:cubicBezTo>
                <a:cubicBezTo>
                  <a:pt x="53" y="15"/>
                  <a:pt x="53" y="15"/>
                  <a:pt x="53" y="15"/>
                </a:cubicBezTo>
                <a:cubicBezTo>
                  <a:pt x="51" y="16"/>
                  <a:pt x="51" y="16"/>
                  <a:pt x="51" y="16"/>
                </a:cubicBezTo>
                <a:cubicBezTo>
                  <a:pt x="51" y="16"/>
                  <a:pt x="51" y="16"/>
                  <a:pt x="51" y="16"/>
                </a:cubicBezTo>
                <a:cubicBezTo>
                  <a:pt x="50" y="16"/>
                  <a:pt x="50" y="16"/>
                  <a:pt x="50" y="16"/>
                </a:cubicBezTo>
                <a:cubicBezTo>
                  <a:pt x="47" y="14"/>
                  <a:pt x="47" y="14"/>
                  <a:pt x="47" y="14"/>
                </a:cubicBezTo>
                <a:cubicBezTo>
                  <a:pt x="46" y="13"/>
                  <a:pt x="46" y="13"/>
                  <a:pt x="46" y="13"/>
                </a:cubicBezTo>
                <a:cubicBezTo>
                  <a:pt x="45" y="13"/>
                  <a:pt x="45" y="13"/>
                  <a:pt x="45" y="13"/>
                </a:cubicBezTo>
                <a:cubicBezTo>
                  <a:pt x="42" y="13"/>
                  <a:pt x="42" y="13"/>
                  <a:pt x="42" y="13"/>
                </a:cubicBezTo>
                <a:cubicBezTo>
                  <a:pt x="36" y="14"/>
                  <a:pt x="36" y="14"/>
                  <a:pt x="36" y="14"/>
                </a:cubicBezTo>
                <a:cubicBezTo>
                  <a:pt x="34" y="14"/>
                  <a:pt x="34" y="14"/>
                  <a:pt x="34" y="14"/>
                </a:cubicBezTo>
                <a:cubicBezTo>
                  <a:pt x="32" y="13"/>
                  <a:pt x="32" y="13"/>
                  <a:pt x="32" y="13"/>
                </a:cubicBezTo>
                <a:cubicBezTo>
                  <a:pt x="32" y="12"/>
                  <a:pt x="32" y="12"/>
                  <a:pt x="32" y="12"/>
                </a:cubicBezTo>
                <a:cubicBezTo>
                  <a:pt x="32" y="11"/>
                  <a:pt x="32" y="11"/>
                  <a:pt x="32" y="11"/>
                </a:cubicBezTo>
                <a:cubicBezTo>
                  <a:pt x="33" y="11"/>
                  <a:pt x="33" y="11"/>
                  <a:pt x="33" y="11"/>
                </a:cubicBezTo>
                <a:cubicBezTo>
                  <a:pt x="33" y="10"/>
                  <a:pt x="33" y="10"/>
                  <a:pt x="33" y="10"/>
                </a:cubicBezTo>
                <a:cubicBezTo>
                  <a:pt x="31" y="8"/>
                  <a:pt x="31" y="8"/>
                  <a:pt x="31" y="8"/>
                </a:cubicBezTo>
                <a:cubicBezTo>
                  <a:pt x="30" y="8"/>
                  <a:pt x="30" y="8"/>
                  <a:pt x="30" y="8"/>
                </a:cubicBezTo>
                <a:cubicBezTo>
                  <a:pt x="27" y="8"/>
                  <a:pt x="27" y="8"/>
                  <a:pt x="27" y="8"/>
                </a:cubicBezTo>
                <a:cubicBezTo>
                  <a:pt x="26" y="7"/>
                  <a:pt x="26" y="7"/>
                  <a:pt x="26" y="7"/>
                </a:cubicBezTo>
                <a:cubicBezTo>
                  <a:pt x="25" y="7"/>
                  <a:pt x="25" y="7"/>
                  <a:pt x="25" y="7"/>
                </a:cubicBezTo>
                <a:cubicBezTo>
                  <a:pt x="24" y="8"/>
                  <a:pt x="24" y="8"/>
                  <a:pt x="24" y="8"/>
                </a:cubicBezTo>
                <a:cubicBezTo>
                  <a:pt x="23" y="6"/>
                  <a:pt x="23" y="6"/>
                  <a:pt x="23" y="6"/>
                </a:cubicBezTo>
                <a:cubicBezTo>
                  <a:pt x="23" y="4"/>
                  <a:pt x="23" y="4"/>
                  <a:pt x="23" y="4"/>
                </a:cubicBezTo>
                <a:cubicBezTo>
                  <a:pt x="22" y="2"/>
                  <a:pt x="22" y="2"/>
                  <a:pt x="22" y="2"/>
                </a:cubicBezTo>
                <a:cubicBezTo>
                  <a:pt x="22" y="2"/>
                  <a:pt x="22" y="2"/>
                  <a:pt x="22" y="2"/>
                </a:cubicBezTo>
                <a:cubicBezTo>
                  <a:pt x="20" y="3"/>
                  <a:pt x="20" y="3"/>
                  <a:pt x="20" y="3"/>
                </a:cubicBezTo>
                <a:cubicBezTo>
                  <a:pt x="18" y="5"/>
                  <a:pt x="18" y="5"/>
                  <a:pt x="18" y="5"/>
                </a:cubicBezTo>
                <a:cubicBezTo>
                  <a:pt x="19" y="6"/>
                  <a:pt x="19" y="6"/>
                  <a:pt x="19" y="6"/>
                </a:cubicBezTo>
                <a:cubicBezTo>
                  <a:pt x="19" y="7"/>
                  <a:pt x="19" y="7"/>
                  <a:pt x="19" y="7"/>
                </a:cubicBezTo>
                <a:cubicBezTo>
                  <a:pt x="21" y="6"/>
                  <a:pt x="21" y="6"/>
                  <a:pt x="21" y="6"/>
                </a:cubicBezTo>
                <a:cubicBezTo>
                  <a:pt x="22" y="6"/>
                  <a:pt x="22" y="6"/>
                  <a:pt x="22" y="6"/>
                </a:cubicBezTo>
                <a:cubicBezTo>
                  <a:pt x="23" y="7"/>
                  <a:pt x="23" y="7"/>
                  <a:pt x="23" y="7"/>
                </a:cubicBezTo>
                <a:cubicBezTo>
                  <a:pt x="22" y="8"/>
                  <a:pt x="22" y="8"/>
                  <a:pt x="22" y="8"/>
                </a:cubicBezTo>
                <a:cubicBezTo>
                  <a:pt x="21" y="8"/>
                  <a:pt x="21" y="8"/>
                  <a:pt x="21" y="8"/>
                </a:cubicBezTo>
                <a:cubicBezTo>
                  <a:pt x="20" y="8"/>
                  <a:pt x="20" y="8"/>
                  <a:pt x="20" y="8"/>
                </a:cubicBezTo>
                <a:cubicBezTo>
                  <a:pt x="20" y="7"/>
                  <a:pt x="20" y="7"/>
                  <a:pt x="20" y="7"/>
                </a:cubicBezTo>
                <a:cubicBezTo>
                  <a:pt x="19" y="8"/>
                  <a:pt x="19" y="8"/>
                  <a:pt x="19" y="8"/>
                </a:cubicBezTo>
                <a:cubicBezTo>
                  <a:pt x="19" y="8"/>
                  <a:pt x="19" y="8"/>
                  <a:pt x="19" y="8"/>
                </a:cubicBezTo>
                <a:cubicBezTo>
                  <a:pt x="18" y="9"/>
                  <a:pt x="18" y="9"/>
                  <a:pt x="18" y="9"/>
                </a:cubicBezTo>
                <a:cubicBezTo>
                  <a:pt x="15" y="9"/>
                  <a:pt x="15" y="9"/>
                  <a:pt x="15" y="9"/>
                </a:cubicBezTo>
                <a:cubicBezTo>
                  <a:pt x="12" y="11"/>
                  <a:pt x="12" y="11"/>
                  <a:pt x="12" y="11"/>
                </a:cubicBezTo>
                <a:cubicBezTo>
                  <a:pt x="11" y="12"/>
                  <a:pt x="11" y="12"/>
                  <a:pt x="11" y="12"/>
                </a:cubicBezTo>
                <a:cubicBezTo>
                  <a:pt x="11" y="13"/>
                  <a:pt x="11" y="13"/>
                  <a:pt x="11" y="13"/>
                </a:cubicBezTo>
                <a:cubicBezTo>
                  <a:pt x="12" y="14"/>
                  <a:pt x="12" y="14"/>
                  <a:pt x="12" y="14"/>
                </a:cubicBezTo>
                <a:cubicBezTo>
                  <a:pt x="12" y="17"/>
                  <a:pt x="12" y="17"/>
                  <a:pt x="12" y="17"/>
                </a:cubicBezTo>
                <a:cubicBezTo>
                  <a:pt x="12" y="18"/>
                  <a:pt x="12" y="18"/>
                  <a:pt x="12" y="18"/>
                </a:cubicBezTo>
                <a:cubicBezTo>
                  <a:pt x="13" y="20"/>
                  <a:pt x="13" y="20"/>
                  <a:pt x="13" y="20"/>
                </a:cubicBezTo>
                <a:cubicBezTo>
                  <a:pt x="12" y="22"/>
                  <a:pt x="12" y="22"/>
                  <a:pt x="12" y="22"/>
                </a:cubicBezTo>
                <a:cubicBezTo>
                  <a:pt x="10" y="23"/>
                  <a:pt x="10" y="23"/>
                  <a:pt x="10" y="23"/>
                </a:cubicBezTo>
                <a:cubicBezTo>
                  <a:pt x="9" y="23"/>
                  <a:pt x="9" y="23"/>
                  <a:pt x="9" y="23"/>
                </a:cubicBezTo>
                <a:cubicBezTo>
                  <a:pt x="9" y="21"/>
                  <a:pt x="9" y="21"/>
                  <a:pt x="9" y="21"/>
                </a:cubicBezTo>
                <a:cubicBezTo>
                  <a:pt x="7" y="19"/>
                  <a:pt x="7" y="19"/>
                  <a:pt x="7" y="19"/>
                </a:cubicBezTo>
                <a:cubicBezTo>
                  <a:pt x="7" y="18"/>
                  <a:pt x="7" y="18"/>
                  <a:pt x="7" y="18"/>
                </a:cubicBezTo>
                <a:cubicBezTo>
                  <a:pt x="8" y="17"/>
                  <a:pt x="8" y="17"/>
                  <a:pt x="8" y="17"/>
                </a:cubicBezTo>
                <a:cubicBezTo>
                  <a:pt x="8" y="16"/>
                  <a:pt x="8" y="16"/>
                  <a:pt x="8" y="16"/>
                </a:cubicBezTo>
                <a:cubicBezTo>
                  <a:pt x="11" y="14"/>
                  <a:pt x="11" y="14"/>
                  <a:pt x="11" y="14"/>
                </a:cubicBezTo>
                <a:cubicBezTo>
                  <a:pt x="11" y="12"/>
                  <a:pt x="11" y="12"/>
                  <a:pt x="11" y="12"/>
                </a:cubicBezTo>
                <a:cubicBezTo>
                  <a:pt x="10" y="11"/>
                  <a:pt x="10" y="11"/>
                  <a:pt x="10" y="11"/>
                </a:cubicBezTo>
                <a:cubicBezTo>
                  <a:pt x="10" y="10"/>
                  <a:pt x="10" y="10"/>
                  <a:pt x="10" y="10"/>
                </a:cubicBezTo>
                <a:cubicBezTo>
                  <a:pt x="10" y="9"/>
                  <a:pt x="10" y="9"/>
                  <a:pt x="10" y="9"/>
                </a:cubicBezTo>
                <a:cubicBezTo>
                  <a:pt x="9" y="9"/>
                  <a:pt x="9" y="9"/>
                  <a:pt x="9" y="9"/>
                </a:cubicBezTo>
                <a:cubicBezTo>
                  <a:pt x="9" y="8"/>
                  <a:pt x="9" y="8"/>
                  <a:pt x="9" y="8"/>
                </a:cubicBezTo>
                <a:cubicBezTo>
                  <a:pt x="9" y="7"/>
                  <a:pt x="9" y="7"/>
                  <a:pt x="9" y="7"/>
                </a:cubicBezTo>
                <a:cubicBezTo>
                  <a:pt x="10" y="6"/>
                  <a:pt x="10" y="6"/>
                  <a:pt x="10" y="6"/>
                </a:cubicBezTo>
                <a:cubicBezTo>
                  <a:pt x="12" y="6"/>
                  <a:pt x="12" y="6"/>
                  <a:pt x="12" y="6"/>
                </a:cubicBezTo>
                <a:cubicBezTo>
                  <a:pt x="13" y="4"/>
                  <a:pt x="13" y="4"/>
                  <a:pt x="13" y="4"/>
                </a:cubicBezTo>
                <a:cubicBezTo>
                  <a:pt x="12" y="4"/>
                  <a:pt x="12" y="4"/>
                  <a:pt x="12" y="4"/>
                </a:cubicBezTo>
                <a:cubicBezTo>
                  <a:pt x="12" y="4"/>
                  <a:pt x="12" y="4"/>
                  <a:pt x="12" y="4"/>
                </a:cubicBezTo>
                <a:cubicBezTo>
                  <a:pt x="9" y="6"/>
                  <a:pt x="9" y="6"/>
                  <a:pt x="9" y="6"/>
                </a:cubicBezTo>
                <a:cubicBezTo>
                  <a:pt x="7" y="9"/>
                  <a:pt x="7" y="9"/>
                  <a:pt x="7" y="9"/>
                </a:cubicBezTo>
                <a:cubicBezTo>
                  <a:pt x="6" y="9"/>
                  <a:pt x="6" y="9"/>
                  <a:pt x="6" y="9"/>
                </a:cubicBezTo>
                <a:cubicBezTo>
                  <a:pt x="5" y="10"/>
                  <a:pt x="5" y="10"/>
                  <a:pt x="5" y="10"/>
                </a:cubicBezTo>
                <a:cubicBezTo>
                  <a:pt x="4" y="11"/>
                  <a:pt x="4" y="11"/>
                  <a:pt x="4" y="11"/>
                </a:cubicBezTo>
                <a:cubicBezTo>
                  <a:pt x="3" y="12"/>
                  <a:pt x="3" y="12"/>
                  <a:pt x="3" y="12"/>
                </a:cubicBezTo>
                <a:cubicBezTo>
                  <a:pt x="1" y="15"/>
                  <a:pt x="1" y="15"/>
                  <a:pt x="1" y="15"/>
                </a:cubicBezTo>
                <a:cubicBezTo>
                  <a:pt x="1" y="16"/>
                  <a:pt x="1" y="16"/>
                  <a:pt x="1" y="16"/>
                </a:cubicBezTo>
                <a:cubicBezTo>
                  <a:pt x="1" y="17"/>
                  <a:pt x="1" y="17"/>
                  <a:pt x="1" y="17"/>
                </a:cubicBezTo>
                <a:cubicBezTo>
                  <a:pt x="1" y="19"/>
                  <a:pt x="1" y="19"/>
                  <a:pt x="1" y="19"/>
                </a:cubicBezTo>
                <a:cubicBezTo>
                  <a:pt x="0" y="21"/>
                  <a:pt x="0" y="21"/>
                  <a:pt x="0" y="21"/>
                </a:cubicBezTo>
                <a:cubicBezTo>
                  <a:pt x="0" y="22"/>
                  <a:pt x="0" y="22"/>
                  <a:pt x="0" y="22"/>
                </a:cubicBezTo>
                <a:cubicBezTo>
                  <a:pt x="1" y="22"/>
                  <a:pt x="1" y="22"/>
                  <a:pt x="1" y="22"/>
                </a:cubicBezTo>
                <a:cubicBezTo>
                  <a:pt x="2" y="22"/>
                  <a:pt x="2" y="22"/>
                  <a:pt x="2" y="22"/>
                </a:cubicBezTo>
                <a:cubicBezTo>
                  <a:pt x="5" y="26"/>
                  <a:pt x="5" y="26"/>
                  <a:pt x="5" y="26"/>
                </a:cubicBezTo>
                <a:cubicBezTo>
                  <a:pt x="6" y="28"/>
                  <a:pt x="6" y="28"/>
                  <a:pt x="6" y="28"/>
                </a:cubicBezTo>
                <a:cubicBezTo>
                  <a:pt x="6" y="29"/>
                  <a:pt x="6" y="29"/>
                  <a:pt x="6" y="29"/>
                </a:cubicBezTo>
                <a:cubicBezTo>
                  <a:pt x="5" y="31"/>
                  <a:pt x="5" y="31"/>
                  <a:pt x="5" y="31"/>
                </a:cubicBezTo>
                <a:cubicBezTo>
                  <a:pt x="5" y="31"/>
                  <a:pt x="5" y="31"/>
                  <a:pt x="5" y="31"/>
                </a:cubicBezTo>
                <a:cubicBezTo>
                  <a:pt x="5" y="32"/>
                  <a:pt x="5" y="32"/>
                  <a:pt x="5" y="32"/>
                </a:cubicBezTo>
                <a:cubicBezTo>
                  <a:pt x="5" y="33"/>
                  <a:pt x="5" y="33"/>
                  <a:pt x="5" y="33"/>
                </a:cubicBezTo>
                <a:cubicBezTo>
                  <a:pt x="7" y="34"/>
                  <a:pt x="7" y="34"/>
                  <a:pt x="7" y="34"/>
                </a:cubicBezTo>
                <a:cubicBezTo>
                  <a:pt x="8" y="35"/>
                  <a:pt x="8" y="35"/>
                  <a:pt x="8" y="35"/>
                </a:cubicBezTo>
                <a:cubicBezTo>
                  <a:pt x="9" y="35"/>
                  <a:pt x="9" y="35"/>
                  <a:pt x="9" y="35"/>
                </a:cubicBezTo>
                <a:cubicBezTo>
                  <a:pt x="11" y="36"/>
                  <a:pt x="11" y="36"/>
                  <a:pt x="11" y="36"/>
                </a:cubicBezTo>
                <a:cubicBezTo>
                  <a:pt x="12" y="35"/>
                  <a:pt x="12" y="35"/>
                  <a:pt x="12" y="35"/>
                </a:cubicBezTo>
                <a:cubicBezTo>
                  <a:pt x="13" y="35"/>
                  <a:pt x="13" y="35"/>
                  <a:pt x="13" y="35"/>
                </a:cubicBezTo>
                <a:cubicBezTo>
                  <a:pt x="15" y="36"/>
                  <a:pt x="15" y="36"/>
                  <a:pt x="15" y="36"/>
                </a:cubicBezTo>
                <a:cubicBezTo>
                  <a:pt x="15" y="35"/>
                  <a:pt x="15" y="35"/>
                  <a:pt x="15" y="35"/>
                </a:cubicBezTo>
                <a:cubicBezTo>
                  <a:pt x="17" y="35"/>
                  <a:pt x="17" y="35"/>
                  <a:pt x="17" y="35"/>
                </a:cubicBezTo>
                <a:cubicBezTo>
                  <a:pt x="19" y="35"/>
                  <a:pt x="19" y="35"/>
                  <a:pt x="19" y="35"/>
                </a:cubicBezTo>
                <a:cubicBezTo>
                  <a:pt x="20" y="36"/>
                  <a:pt x="20" y="36"/>
                  <a:pt x="20" y="36"/>
                </a:cubicBezTo>
                <a:cubicBezTo>
                  <a:pt x="25" y="41"/>
                  <a:pt x="25" y="41"/>
                  <a:pt x="25" y="41"/>
                </a:cubicBezTo>
                <a:cubicBezTo>
                  <a:pt x="27" y="40"/>
                  <a:pt x="27" y="40"/>
                  <a:pt x="27" y="40"/>
                </a:cubicBezTo>
                <a:cubicBezTo>
                  <a:pt x="27" y="41"/>
                  <a:pt x="27" y="41"/>
                  <a:pt x="27" y="41"/>
                </a:cubicBezTo>
                <a:cubicBezTo>
                  <a:pt x="28" y="40"/>
                  <a:pt x="28" y="40"/>
                  <a:pt x="28" y="40"/>
                </a:cubicBezTo>
                <a:cubicBezTo>
                  <a:pt x="29" y="41"/>
                  <a:pt x="29" y="41"/>
                  <a:pt x="29" y="41"/>
                </a:cubicBezTo>
                <a:cubicBezTo>
                  <a:pt x="30" y="41"/>
                  <a:pt x="30" y="41"/>
                  <a:pt x="30" y="41"/>
                </a:cubicBezTo>
                <a:cubicBezTo>
                  <a:pt x="31" y="41"/>
                  <a:pt x="31" y="41"/>
                  <a:pt x="31" y="41"/>
                </a:cubicBezTo>
                <a:cubicBezTo>
                  <a:pt x="32" y="41"/>
                  <a:pt x="32" y="41"/>
                  <a:pt x="32" y="41"/>
                </a:cubicBezTo>
                <a:cubicBezTo>
                  <a:pt x="34" y="41"/>
                  <a:pt x="34" y="41"/>
                  <a:pt x="34" y="41"/>
                </a:cubicBezTo>
                <a:cubicBezTo>
                  <a:pt x="34" y="40"/>
                  <a:pt x="34" y="40"/>
                  <a:pt x="34" y="40"/>
                </a:cubicBezTo>
                <a:cubicBezTo>
                  <a:pt x="35" y="40"/>
                  <a:pt x="35" y="40"/>
                  <a:pt x="35" y="40"/>
                </a:cubicBezTo>
                <a:cubicBezTo>
                  <a:pt x="36" y="41"/>
                  <a:pt x="36" y="41"/>
                  <a:pt x="36" y="41"/>
                </a:cubicBezTo>
                <a:cubicBezTo>
                  <a:pt x="37" y="43"/>
                  <a:pt x="37" y="43"/>
                  <a:pt x="37" y="43"/>
                </a:cubicBezTo>
                <a:cubicBezTo>
                  <a:pt x="36" y="44"/>
                  <a:pt x="36" y="44"/>
                  <a:pt x="36" y="44"/>
                </a:cubicBezTo>
                <a:cubicBezTo>
                  <a:pt x="36" y="45"/>
                  <a:pt x="36" y="45"/>
                  <a:pt x="36" y="45"/>
                </a:cubicBezTo>
                <a:cubicBezTo>
                  <a:pt x="36" y="46"/>
                  <a:pt x="36" y="46"/>
                  <a:pt x="36" y="46"/>
                </a:cubicBezTo>
                <a:cubicBezTo>
                  <a:pt x="34" y="47"/>
                  <a:pt x="34" y="47"/>
                  <a:pt x="34" y="47"/>
                </a:cubicBezTo>
                <a:cubicBezTo>
                  <a:pt x="34" y="48"/>
                  <a:pt x="34" y="48"/>
                  <a:pt x="34" y="48"/>
                </a:cubicBezTo>
                <a:cubicBezTo>
                  <a:pt x="34" y="50"/>
                  <a:pt x="34" y="50"/>
                  <a:pt x="34" y="50"/>
                </a:cubicBezTo>
                <a:cubicBezTo>
                  <a:pt x="34" y="51"/>
                  <a:pt x="34" y="51"/>
                  <a:pt x="34" y="51"/>
                </a:cubicBezTo>
                <a:cubicBezTo>
                  <a:pt x="34" y="52"/>
                  <a:pt x="34" y="52"/>
                  <a:pt x="34" y="52"/>
                </a:cubicBezTo>
                <a:cubicBezTo>
                  <a:pt x="34" y="54"/>
                  <a:pt x="34" y="54"/>
                  <a:pt x="34" y="54"/>
                </a:cubicBezTo>
                <a:cubicBezTo>
                  <a:pt x="34" y="55"/>
                  <a:pt x="34" y="55"/>
                  <a:pt x="34" y="55"/>
                </a:cubicBezTo>
                <a:cubicBezTo>
                  <a:pt x="34" y="56"/>
                  <a:pt x="34" y="56"/>
                  <a:pt x="34" y="56"/>
                </a:cubicBezTo>
                <a:cubicBezTo>
                  <a:pt x="36" y="59"/>
                  <a:pt x="36" y="59"/>
                  <a:pt x="36" y="59"/>
                </a:cubicBezTo>
                <a:cubicBezTo>
                  <a:pt x="34" y="63"/>
                  <a:pt x="34" y="63"/>
                  <a:pt x="34" y="63"/>
                </a:cubicBezTo>
                <a:cubicBezTo>
                  <a:pt x="34" y="64"/>
                  <a:pt x="34" y="64"/>
                  <a:pt x="34" y="64"/>
                </a:cubicBezTo>
                <a:cubicBezTo>
                  <a:pt x="35" y="64"/>
                  <a:pt x="35" y="64"/>
                  <a:pt x="35" y="64"/>
                </a:cubicBezTo>
                <a:cubicBezTo>
                  <a:pt x="35" y="64"/>
                  <a:pt x="35" y="64"/>
                  <a:pt x="35" y="64"/>
                </a:cubicBezTo>
                <a:cubicBezTo>
                  <a:pt x="35" y="64"/>
                  <a:pt x="35" y="64"/>
                  <a:pt x="35" y="64"/>
                </a:cubicBezTo>
                <a:cubicBezTo>
                  <a:pt x="36" y="65"/>
                  <a:pt x="36" y="65"/>
                  <a:pt x="36" y="65"/>
                </a:cubicBezTo>
                <a:cubicBezTo>
                  <a:pt x="36" y="65"/>
                  <a:pt x="36" y="65"/>
                  <a:pt x="36" y="65"/>
                </a:cubicBezTo>
                <a:cubicBezTo>
                  <a:pt x="37" y="67"/>
                  <a:pt x="37" y="67"/>
                  <a:pt x="37" y="67"/>
                </a:cubicBezTo>
                <a:cubicBezTo>
                  <a:pt x="37" y="67"/>
                  <a:pt x="37" y="67"/>
                  <a:pt x="37" y="67"/>
                </a:cubicBezTo>
                <a:cubicBezTo>
                  <a:pt x="37" y="69"/>
                  <a:pt x="37" y="69"/>
                  <a:pt x="37" y="69"/>
                </a:cubicBezTo>
                <a:cubicBezTo>
                  <a:pt x="39" y="72"/>
                  <a:pt x="39" y="72"/>
                  <a:pt x="39" y="72"/>
                </a:cubicBezTo>
                <a:cubicBezTo>
                  <a:pt x="39" y="73"/>
                  <a:pt x="39" y="73"/>
                  <a:pt x="39" y="73"/>
                </a:cubicBezTo>
                <a:cubicBezTo>
                  <a:pt x="39" y="73"/>
                  <a:pt x="39" y="73"/>
                  <a:pt x="39" y="73"/>
                </a:cubicBezTo>
                <a:close/>
                <a:moveTo>
                  <a:pt x="30" y="2"/>
                </a:moveTo>
                <a:cubicBezTo>
                  <a:pt x="32" y="2"/>
                  <a:pt x="32" y="2"/>
                  <a:pt x="32" y="2"/>
                </a:cubicBezTo>
                <a:cubicBezTo>
                  <a:pt x="33" y="3"/>
                  <a:pt x="33" y="3"/>
                  <a:pt x="33" y="3"/>
                </a:cubicBezTo>
                <a:cubicBezTo>
                  <a:pt x="32" y="4"/>
                  <a:pt x="32" y="4"/>
                  <a:pt x="32" y="4"/>
                </a:cubicBezTo>
                <a:cubicBezTo>
                  <a:pt x="32" y="3"/>
                  <a:pt x="32" y="3"/>
                  <a:pt x="32" y="3"/>
                </a:cubicBezTo>
                <a:cubicBezTo>
                  <a:pt x="31" y="3"/>
                  <a:pt x="31" y="3"/>
                  <a:pt x="31" y="3"/>
                </a:cubicBezTo>
                <a:cubicBezTo>
                  <a:pt x="30" y="2"/>
                  <a:pt x="30" y="2"/>
                  <a:pt x="30" y="2"/>
                </a:cubicBezTo>
                <a:close/>
                <a:moveTo>
                  <a:pt x="26" y="1"/>
                </a:moveTo>
                <a:cubicBezTo>
                  <a:pt x="27" y="2"/>
                  <a:pt x="27" y="2"/>
                  <a:pt x="27" y="2"/>
                </a:cubicBezTo>
                <a:cubicBezTo>
                  <a:pt x="28" y="3"/>
                  <a:pt x="28" y="3"/>
                  <a:pt x="28" y="3"/>
                </a:cubicBezTo>
                <a:cubicBezTo>
                  <a:pt x="28" y="3"/>
                  <a:pt x="28" y="3"/>
                  <a:pt x="28" y="3"/>
                </a:cubicBezTo>
                <a:cubicBezTo>
                  <a:pt x="26" y="3"/>
                  <a:pt x="26" y="3"/>
                  <a:pt x="26" y="3"/>
                </a:cubicBezTo>
                <a:cubicBezTo>
                  <a:pt x="26" y="2"/>
                  <a:pt x="26" y="2"/>
                  <a:pt x="26" y="2"/>
                </a:cubicBezTo>
                <a:cubicBezTo>
                  <a:pt x="26" y="1"/>
                  <a:pt x="26" y="1"/>
                  <a:pt x="26" y="1"/>
                </a:cubicBezTo>
                <a:close/>
                <a:moveTo>
                  <a:pt x="20" y="0"/>
                </a:moveTo>
                <a:cubicBezTo>
                  <a:pt x="21" y="1"/>
                  <a:pt x="21" y="1"/>
                  <a:pt x="21" y="1"/>
                </a:cubicBezTo>
                <a:cubicBezTo>
                  <a:pt x="22" y="1"/>
                  <a:pt x="22" y="1"/>
                  <a:pt x="22" y="1"/>
                </a:cubicBezTo>
                <a:cubicBezTo>
                  <a:pt x="21" y="0"/>
                  <a:pt x="21" y="0"/>
                  <a:pt x="21" y="0"/>
                </a:cubicBezTo>
                <a:cubicBezTo>
                  <a:pt x="20" y="0"/>
                  <a:pt x="20" y="0"/>
                  <a:pt x="20" y="0"/>
                </a:cubicBezTo>
                <a:close/>
                <a:moveTo>
                  <a:pt x="56" y="10"/>
                </a:moveTo>
                <a:cubicBezTo>
                  <a:pt x="57" y="9"/>
                  <a:pt x="57" y="9"/>
                  <a:pt x="57" y="9"/>
                </a:cubicBezTo>
                <a:cubicBezTo>
                  <a:pt x="57" y="10"/>
                  <a:pt x="57" y="10"/>
                  <a:pt x="57" y="10"/>
                </a:cubicBezTo>
                <a:cubicBezTo>
                  <a:pt x="59" y="9"/>
                  <a:pt x="59" y="9"/>
                  <a:pt x="59" y="9"/>
                </a:cubicBezTo>
                <a:cubicBezTo>
                  <a:pt x="60" y="10"/>
                  <a:pt x="60" y="10"/>
                  <a:pt x="60" y="10"/>
                </a:cubicBezTo>
                <a:cubicBezTo>
                  <a:pt x="59" y="11"/>
                  <a:pt x="59" y="11"/>
                  <a:pt x="59" y="11"/>
                </a:cubicBezTo>
                <a:cubicBezTo>
                  <a:pt x="58" y="11"/>
                  <a:pt x="58" y="11"/>
                  <a:pt x="58" y="11"/>
                </a:cubicBezTo>
                <a:cubicBezTo>
                  <a:pt x="56" y="11"/>
                  <a:pt x="56" y="11"/>
                  <a:pt x="56" y="11"/>
                </a:cubicBezTo>
                <a:cubicBezTo>
                  <a:pt x="56" y="11"/>
                  <a:pt x="56" y="10"/>
                  <a:pt x="56" y="10"/>
                </a:cubicBez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3" name="Freeform 191">
            <a:extLst>
              <a:ext uri="{FF2B5EF4-FFF2-40B4-BE49-F238E27FC236}">
                <a16:creationId xmlns:a16="http://schemas.microsoft.com/office/drawing/2014/main" id="{CD2A600B-203D-EB08-82F8-EFDF5CF99B56}"/>
              </a:ext>
            </a:extLst>
          </p:cNvPr>
          <p:cNvSpPr>
            <a:spLocks/>
          </p:cNvSpPr>
          <p:nvPr userDrawn="1"/>
        </p:nvSpPr>
        <p:spPr bwMode="auto">
          <a:xfrm>
            <a:off x="8286210" y="8590833"/>
            <a:ext cx="755601" cy="1063626"/>
          </a:xfrm>
          <a:custGeom>
            <a:avLst/>
            <a:gdLst>
              <a:gd name="T0" fmla="*/ 194 w 238"/>
              <a:gd name="T1" fmla="*/ 276 h 335"/>
              <a:gd name="T2" fmla="*/ 191 w 238"/>
              <a:gd name="T3" fmla="*/ 241 h 335"/>
              <a:gd name="T4" fmla="*/ 191 w 238"/>
              <a:gd name="T5" fmla="*/ 229 h 335"/>
              <a:gd name="T6" fmla="*/ 210 w 238"/>
              <a:gd name="T7" fmla="*/ 213 h 335"/>
              <a:gd name="T8" fmla="*/ 225 w 238"/>
              <a:gd name="T9" fmla="*/ 210 h 335"/>
              <a:gd name="T10" fmla="*/ 238 w 238"/>
              <a:gd name="T11" fmla="*/ 226 h 335"/>
              <a:gd name="T12" fmla="*/ 228 w 238"/>
              <a:gd name="T13" fmla="*/ 201 h 335"/>
              <a:gd name="T14" fmla="*/ 222 w 238"/>
              <a:gd name="T15" fmla="*/ 197 h 335"/>
              <a:gd name="T16" fmla="*/ 222 w 238"/>
              <a:gd name="T17" fmla="*/ 166 h 335"/>
              <a:gd name="T18" fmla="*/ 222 w 238"/>
              <a:gd name="T19" fmla="*/ 144 h 335"/>
              <a:gd name="T20" fmla="*/ 228 w 238"/>
              <a:gd name="T21" fmla="*/ 125 h 335"/>
              <a:gd name="T22" fmla="*/ 213 w 238"/>
              <a:gd name="T23" fmla="*/ 125 h 335"/>
              <a:gd name="T24" fmla="*/ 200 w 238"/>
              <a:gd name="T25" fmla="*/ 122 h 335"/>
              <a:gd name="T26" fmla="*/ 163 w 238"/>
              <a:gd name="T27" fmla="*/ 107 h 335"/>
              <a:gd name="T28" fmla="*/ 144 w 238"/>
              <a:gd name="T29" fmla="*/ 107 h 335"/>
              <a:gd name="T30" fmla="*/ 131 w 238"/>
              <a:gd name="T31" fmla="*/ 94 h 335"/>
              <a:gd name="T32" fmla="*/ 122 w 238"/>
              <a:gd name="T33" fmla="*/ 66 h 335"/>
              <a:gd name="T34" fmla="*/ 119 w 238"/>
              <a:gd name="T35" fmla="*/ 50 h 335"/>
              <a:gd name="T36" fmla="*/ 131 w 238"/>
              <a:gd name="T37" fmla="*/ 28 h 335"/>
              <a:gd name="T38" fmla="*/ 153 w 238"/>
              <a:gd name="T39" fmla="*/ 10 h 335"/>
              <a:gd name="T40" fmla="*/ 160 w 238"/>
              <a:gd name="T41" fmla="*/ 3 h 335"/>
              <a:gd name="T42" fmla="*/ 144 w 238"/>
              <a:gd name="T43" fmla="*/ 3 h 335"/>
              <a:gd name="T44" fmla="*/ 138 w 238"/>
              <a:gd name="T45" fmla="*/ 10 h 335"/>
              <a:gd name="T46" fmla="*/ 113 w 238"/>
              <a:gd name="T47" fmla="*/ 22 h 335"/>
              <a:gd name="T48" fmla="*/ 100 w 238"/>
              <a:gd name="T49" fmla="*/ 28 h 335"/>
              <a:gd name="T50" fmla="*/ 94 w 238"/>
              <a:gd name="T51" fmla="*/ 28 h 335"/>
              <a:gd name="T52" fmla="*/ 78 w 238"/>
              <a:gd name="T53" fmla="*/ 32 h 335"/>
              <a:gd name="T54" fmla="*/ 69 w 238"/>
              <a:gd name="T55" fmla="*/ 50 h 335"/>
              <a:gd name="T56" fmla="*/ 63 w 238"/>
              <a:gd name="T57" fmla="*/ 60 h 335"/>
              <a:gd name="T58" fmla="*/ 47 w 238"/>
              <a:gd name="T59" fmla="*/ 75 h 335"/>
              <a:gd name="T60" fmla="*/ 47 w 238"/>
              <a:gd name="T61" fmla="*/ 91 h 335"/>
              <a:gd name="T62" fmla="*/ 38 w 238"/>
              <a:gd name="T63" fmla="*/ 82 h 335"/>
              <a:gd name="T64" fmla="*/ 35 w 238"/>
              <a:gd name="T65" fmla="*/ 85 h 335"/>
              <a:gd name="T66" fmla="*/ 25 w 238"/>
              <a:gd name="T67" fmla="*/ 104 h 335"/>
              <a:gd name="T68" fmla="*/ 31 w 238"/>
              <a:gd name="T69" fmla="*/ 119 h 335"/>
              <a:gd name="T70" fmla="*/ 31 w 238"/>
              <a:gd name="T71" fmla="*/ 129 h 335"/>
              <a:gd name="T72" fmla="*/ 31 w 238"/>
              <a:gd name="T73" fmla="*/ 141 h 335"/>
              <a:gd name="T74" fmla="*/ 31 w 238"/>
              <a:gd name="T75" fmla="*/ 166 h 335"/>
              <a:gd name="T76" fmla="*/ 41 w 238"/>
              <a:gd name="T77" fmla="*/ 172 h 335"/>
              <a:gd name="T78" fmla="*/ 28 w 238"/>
              <a:gd name="T79" fmla="*/ 194 h 335"/>
              <a:gd name="T80" fmla="*/ 3 w 238"/>
              <a:gd name="T81" fmla="*/ 219 h 335"/>
              <a:gd name="T82" fmla="*/ 25 w 238"/>
              <a:gd name="T83" fmla="*/ 235 h 335"/>
              <a:gd name="T84" fmla="*/ 44 w 238"/>
              <a:gd name="T85" fmla="*/ 251 h 335"/>
              <a:gd name="T86" fmla="*/ 56 w 238"/>
              <a:gd name="T87" fmla="*/ 244 h 335"/>
              <a:gd name="T88" fmla="*/ 72 w 238"/>
              <a:gd name="T89" fmla="*/ 251 h 335"/>
              <a:gd name="T90" fmla="*/ 88 w 238"/>
              <a:gd name="T91" fmla="*/ 257 h 335"/>
              <a:gd name="T92" fmla="*/ 97 w 238"/>
              <a:gd name="T93" fmla="*/ 276 h 335"/>
              <a:gd name="T94" fmla="*/ 116 w 238"/>
              <a:gd name="T95" fmla="*/ 291 h 335"/>
              <a:gd name="T96" fmla="*/ 125 w 238"/>
              <a:gd name="T97" fmla="*/ 301 h 335"/>
              <a:gd name="T98" fmla="*/ 147 w 238"/>
              <a:gd name="T99" fmla="*/ 297 h 335"/>
              <a:gd name="T100" fmla="*/ 166 w 238"/>
              <a:gd name="T101" fmla="*/ 297 h 335"/>
              <a:gd name="T102" fmla="*/ 163 w 238"/>
              <a:gd name="T103" fmla="*/ 326 h 335"/>
              <a:gd name="T104" fmla="*/ 178 w 238"/>
              <a:gd name="T105" fmla="*/ 335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8" h="335">
                <a:moveTo>
                  <a:pt x="178" y="335"/>
                </a:moveTo>
                <a:lnTo>
                  <a:pt x="181" y="326"/>
                </a:lnTo>
                <a:lnTo>
                  <a:pt x="191" y="285"/>
                </a:lnTo>
                <a:lnTo>
                  <a:pt x="191" y="282"/>
                </a:lnTo>
                <a:lnTo>
                  <a:pt x="194" y="276"/>
                </a:lnTo>
                <a:lnTo>
                  <a:pt x="188" y="266"/>
                </a:lnTo>
                <a:lnTo>
                  <a:pt x="181" y="260"/>
                </a:lnTo>
                <a:lnTo>
                  <a:pt x="178" y="257"/>
                </a:lnTo>
                <a:lnTo>
                  <a:pt x="175" y="244"/>
                </a:lnTo>
                <a:lnTo>
                  <a:pt x="191" y="241"/>
                </a:lnTo>
                <a:lnTo>
                  <a:pt x="194" y="244"/>
                </a:lnTo>
                <a:lnTo>
                  <a:pt x="194" y="241"/>
                </a:lnTo>
                <a:lnTo>
                  <a:pt x="194" y="238"/>
                </a:lnTo>
                <a:lnTo>
                  <a:pt x="194" y="235"/>
                </a:lnTo>
                <a:lnTo>
                  <a:pt x="191" y="229"/>
                </a:lnTo>
                <a:lnTo>
                  <a:pt x="185" y="229"/>
                </a:lnTo>
                <a:lnTo>
                  <a:pt x="181" y="222"/>
                </a:lnTo>
                <a:lnTo>
                  <a:pt x="185" y="216"/>
                </a:lnTo>
                <a:lnTo>
                  <a:pt x="206" y="216"/>
                </a:lnTo>
                <a:lnTo>
                  <a:pt x="210" y="213"/>
                </a:lnTo>
                <a:lnTo>
                  <a:pt x="213" y="213"/>
                </a:lnTo>
                <a:lnTo>
                  <a:pt x="216" y="216"/>
                </a:lnTo>
                <a:lnTo>
                  <a:pt x="216" y="216"/>
                </a:lnTo>
                <a:lnTo>
                  <a:pt x="222" y="213"/>
                </a:lnTo>
                <a:lnTo>
                  <a:pt x="225" y="210"/>
                </a:lnTo>
                <a:lnTo>
                  <a:pt x="228" y="213"/>
                </a:lnTo>
                <a:lnTo>
                  <a:pt x="231" y="216"/>
                </a:lnTo>
                <a:lnTo>
                  <a:pt x="231" y="222"/>
                </a:lnTo>
                <a:lnTo>
                  <a:pt x="231" y="226"/>
                </a:lnTo>
                <a:lnTo>
                  <a:pt x="238" y="226"/>
                </a:lnTo>
                <a:lnTo>
                  <a:pt x="238" y="222"/>
                </a:lnTo>
                <a:lnTo>
                  <a:pt x="231" y="213"/>
                </a:lnTo>
                <a:lnTo>
                  <a:pt x="231" y="207"/>
                </a:lnTo>
                <a:lnTo>
                  <a:pt x="231" y="207"/>
                </a:lnTo>
                <a:lnTo>
                  <a:pt x="228" y="201"/>
                </a:lnTo>
                <a:lnTo>
                  <a:pt x="228" y="201"/>
                </a:lnTo>
                <a:lnTo>
                  <a:pt x="225" y="197"/>
                </a:lnTo>
                <a:lnTo>
                  <a:pt x="225" y="197"/>
                </a:lnTo>
                <a:lnTo>
                  <a:pt x="225" y="197"/>
                </a:lnTo>
                <a:lnTo>
                  <a:pt x="222" y="197"/>
                </a:lnTo>
                <a:lnTo>
                  <a:pt x="222" y="194"/>
                </a:lnTo>
                <a:lnTo>
                  <a:pt x="228" y="182"/>
                </a:lnTo>
                <a:lnTo>
                  <a:pt x="222" y="172"/>
                </a:lnTo>
                <a:lnTo>
                  <a:pt x="222" y="169"/>
                </a:lnTo>
                <a:lnTo>
                  <a:pt x="222" y="166"/>
                </a:lnTo>
                <a:lnTo>
                  <a:pt x="222" y="160"/>
                </a:lnTo>
                <a:lnTo>
                  <a:pt x="222" y="157"/>
                </a:lnTo>
                <a:lnTo>
                  <a:pt x="222" y="154"/>
                </a:lnTo>
                <a:lnTo>
                  <a:pt x="222" y="147"/>
                </a:lnTo>
                <a:lnTo>
                  <a:pt x="222" y="144"/>
                </a:lnTo>
                <a:lnTo>
                  <a:pt x="228" y="141"/>
                </a:lnTo>
                <a:lnTo>
                  <a:pt x="228" y="138"/>
                </a:lnTo>
                <a:lnTo>
                  <a:pt x="228" y="135"/>
                </a:lnTo>
                <a:lnTo>
                  <a:pt x="231" y="132"/>
                </a:lnTo>
                <a:lnTo>
                  <a:pt x="228" y="125"/>
                </a:lnTo>
                <a:lnTo>
                  <a:pt x="225" y="122"/>
                </a:lnTo>
                <a:lnTo>
                  <a:pt x="222" y="122"/>
                </a:lnTo>
                <a:lnTo>
                  <a:pt x="222" y="125"/>
                </a:lnTo>
                <a:lnTo>
                  <a:pt x="216" y="125"/>
                </a:lnTo>
                <a:lnTo>
                  <a:pt x="213" y="125"/>
                </a:lnTo>
                <a:lnTo>
                  <a:pt x="210" y="125"/>
                </a:lnTo>
                <a:lnTo>
                  <a:pt x="206" y="125"/>
                </a:lnTo>
                <a:lnTo>
                  <a:pt x="203" y="122"/>
                </a:lnTo>
                <a:lnTo>
                  <a:pt x="200" y="125"/>
                </a:lnTo>
                <a:lnTo>
                  <a:pt x="200" y="122"/>
                </a:lnTo>
                <a:lnTo>
                  <a:pt x="194" y="125"/>
                </a:lnTo>
                <a:lnTo>
                  <a:pt x="178" y="110"/>
                </a:lnTo>
                <a:lnTo>
                  <a:pt x="175" y="107"/>
                </a:lnTo>
                <a:lnTo>
                  <a:pt x="169" y="107"/>
                </a:lnTo>
                <a:lnTo>
                  <a:pt x="163" y="107"/>
                </a:lnTo>
                <a:lnTo>
                  <a:pt x="163" y="110"/>
                </a:lnTo>
                <a:lnTo>
                  <a:pt x="156" y="107"/>
                </a:lnTo>
                <a:lnTo>
                  <a:pt x="153" y="107"/>
                </a:lnTo>
                <a:lnTo>
                  <a:pt x="150" y="110"/>
                </a:lnTo>
                <a:lnTo>
                  <a:pt x="144" y="107"/>
                </a:lnTo>
                <a:lnTo>
                  <a:pt x="141" y="107"/>
                </a:lnTo>
                <a:lnTo>
                  <a:pt x="138" y="104"/>
                </a:lnTo>
                <a:lnTo>
                  <a:pt x="131" y="100"/>
                </a:lnTo>
                <a:lnTo>
                  <a:pt x="131" y="97"/>
                </a:lnTo>
                <a:lnTo>
                  <a:pt x="131" y="94"/>
                </a:lnTo>
                <a:lnTo>
                  <a:pt x="131" y="94"/>
                </a:lnTo>
                <a:lnTo>
                  <a:pt x="135" y="88"/>
                </a:lnTo>
                <a:lnTo>
                  <a:pt x="135" y="85"/>
                </a:lnTo>
                <a:lnTo>
                  <a:pt x="131" y="79"/>
                </a:lnTo>
                <a:lnTo>
                  <a:pt x="122" y="66"/>
                </a:lnTo>
                <a:lnTo>
                  <a:pt x="119" y="66"/>
                </a:lnTo>
                <a:lnTo>
                  <a:pt x="116" y="66"/>
                </a:lnTo>
                <a:lnTo>
                  <a:pt x="116" y="63"/>
                </a:lnTo>
                <a:lnTo>
                  <a:pt x="119" y="57"/>
                </a:lnTo>
                <a:lnTo>
                  <a:pt x="119" y="50"/>
                </a:lnTo>
                <a:lnTo>
                  <a:pt x="119" y="47"/>
                </a:lnTo>
                <a:lnTo>
                  <a:pt x="119" y="44"/>
                </a:lnTo>
                <a:lnTo>
                  <a:pt x="125" y="35"/>
                </a:lnTo>
                <a:lnTo>
                  <a:pt x="128" y="32"/>
                </a:lnTo>
                <a:lnTo>
                  <a:pt x="131" y="28"/>
                </a:lnTo>
                <a:lnTo>
                  <a:pt x="135" y="25"/>
                </a:lnTo>
                <a:lnTo>
                  <a:pt x="138" y="25"/>
                </a:lnTo>
                <a:lnTo>
                  <a:pt x="144" y="16"/>
                </a:lnTo>
                <a:lnTo>
                  <a:pt x="153" y="10"/>
                </a:lnTo>
                <a:lnTo>
                  <a:pt x="153" y="10"/>
                </a:lnTo>
                <a:lnTo>
                  <a:pt x="156" y="10"/>
                </a:lnTo>
                <a:lnTo>
                  <a:pt x="156" y="10"/>
                </a:lnTo>
                <a:lnTo>
                  <a:pt x="160" y="10"/>
                </a:lnTo>
                <a:lnTo>
                  <a:pt x="160" y="7"/>
                </a:lnTo>
                <a:lnTo>
                  <a:pt x="160" y="3"/>
                </a:lnTo>
                <a:lnTo>
                  <a:pt x="150" y="0"/>
                </a:lnTo>
                <a:lnTo>
                  <a:pt x="147" y="0"/>
                </a:lnTo>
                <a:lnTo>
                  <a:pt x="147" y="0"/>
                </a:lnTo>
                <a:lnTo>
                  <a:pt x="147" y="3"/>
                </a:lnTo>
                <a:lnTo>
                  <a:pt x="144" y="3"/>
                </a:lnTo>
                <a:lnTo>
                  <a:pt x="144" y="3"/>
                </a:lnTo>
                <a:lnTo>
                  <a:pt x="141" y="3"/>
                </a:lnTo>
                <a:lnTo>
                  <a:pt x="138" y="3"/>
                </a:lnTo>
                <a:lnTo>
                  <a:pt x="135" y="7"/>
                </a:lnTo>
                <a:lnTo>
                  <a:pt x="138" y="10"/>
                </a:lnTo>
                <a:lnTo>
                  <a:pt x="135" y="10"/>
                </a:lnTo>
                <a:lnTo>
                  <a:pt x="131" y="13"/>
                </a:lnTo>
                <a:lnTo>
                  <a:pt x="122" y="16"/>
                </a:lnTo>
                <a:lnTo>
                  <a:pt x="119" y="19"/>
                </a:lnTo>
                <a:lnTo>
                  <a:pt x="113" y="22"/>
                </a:lnTo>
                <a:lnTo>
                  <a:pt x="106" y="22"/>
                </a:lnTo>
                <a:lnTo>
                  <a:pt x="100" y="22"/>
                </a:lnTo>
                <a:lnTo>
                  <a:pt x="97" y="22"/>
                </a:lnTo>
                <a:lnTo>
                  <a:pt x="97" y="25"/>
                </a:lnTo>
                <a:lnTo>
                  <a:pt x="100" y="28"/>
                </a:lnTo>
                <a:lnTo>
                  <a:pt x="100" y="32"/>
                </a:lnTo>
                <a:lnTo>
                  <a:pt x="97" y="35"/>
                </a:lnTo>
                <a:lnTo>
                  <a:pt x="94" y="35"/>
                </a:lnTo>
                <a:lnTo>
                  <a:pt x="94" y="32"/>
                </a:lnTo>
                <a:lnTo>
                  <a:pt x="94" y="28"/>
                </a:lnTo>
                <a:lnTo>
                  <a:pt x="97" y="28"/>
                </a:lnTo>
                <a:lnTo>
                  <a:pt x="94" y="28"/>
                </a:lnTo>
                <a:lnTo>
                  <a:pt x="88" y="25"/>
                </a:lnTo>
                <a:lnTo>
                  <a:pt x="85" y="25"/>
                </a:lnTo>
                <a:lnTo>
                  <a:pt x="78" y="32"/>
                </a:lnTo>
                <a:lnTo>
                  <a:pt x="78" y="32"/>
                </a:lnTo>
                <a:lnTo>
                  <a:pt x="72" y="38"/>
                </a:lnTo>
                <a:lnTo>
                  <a:pt x="69" y="47"/>
                </a:lnTo>
                <a:lnTo>
                  <a:pt x="66" y="50"/>
                </a:lnTo>
                <a:lnTo>
                  <a:pt x="69" y="50"/>
                </a:lnTo>
                <a:lnTo>
                  <a:pt x="69" y="50"/>
                </a:lnTo>
                <a:lnTo>
                  <a:pt x="69" y="53"/>
                </a:lnTo>
                <a:lnTo>
                  <a:pt x="69" y="60"/>
                </a:lnTo>
                <a:lnTo>
                  <a:pt x="66" y="60"/>
                </a:lnTo>
                <a:lnTo>
                  <a:pt x="63" y="60"/>
                </a:lnTo>
                <a:lnTo>
                  <a:pt x="60" y="63"/>
                </a:lnTo>
                <a:lnTo>
                  <a:pt x="56" y="66"/>
                </a:lnTo>
                <a:lnTo>
                  <a:pt x="53" y="69"/>
                </a:lnTo>
                <a:lnTo>
                  <a:pt x="50" y="72"/>
                </a:lnTo>
                <a:lnTo>
                  <a:pt x="47" y="75"/>
                </a:lnTo>
                <a:lnTo>
                  <a:pt x="44" y="75"/>
                </a:lnTo>
                <a:lnTo>
                  <a:pt x="44" y="79"/>
                </a:lnTo>
                <a:lnTo>
                  <a:pt x="47" y="82"/>
                </a:lnTo>
                <a:lnTo>
                  <a:pt x="47" y="85"/>
                </a:lnTo>
                <a:lnTo>
                  <a:pt x="47" y="91"/>
                </a:lnTo>
                <a:lnTo>
                  <a:pt x="44" y="91"/>
                </a:lnTo>
                <a:lnTo>
                  <a:pt x="41" y="88"/>
                </a:lnTo>
                <a:lnTo>
                  <a:pt x="41" y="85"/>
                </a:lnTo>
                <a:lnTo>
                  <a:pt x="41" y="85"/>
                </a:lnTo>
                <a:lnTo>
                  <a:pt x="38" y="82"/>
                </a:lnTo>
                <a:lnTo>
                  <a:pt x="38" y="79"/>
                </a:lnTo>
                <a:lnTo>
                  <a:pt x="35" y="75"/>
                </a:lnTo>
                <a:lnTo>
                  <a:pt x="31" y="79"/>
                </a:lnTo>
                <a:lnTo>
                  <a:pt x="35" y="82"/>
                </a:lnTo>
                <a:lnTo>
                  <a:pt x="35" y="85"/>
                </a:lnTo>
                <a:lnTo>
                  <a:pt x="31" y="91"/>
                </a:lnTo>
                <a:lnTo>
                  <a:pt x="31" y="94"/>
                </a:lnTo>
                <a:lnTo>
                  <a:pt x="28" y="97"/>
                </a:lnTo>
                <a:lnTo>
                  <a:pt x="25" y="97"/>
                </a:lnTo>
                <a:lnTo>
                  <a:pt x="25" y="104"/>
                </a:lnTo>
                <a:lnTo>
                  <a:pt x="25" y="104"/>
                </a:lnTo>
                <a:lnTo>
                  <a:pt x="25" y="110"/>
                </a:lnTo>
                <a:lnTo>
                  <a:pt x="25" y="113"/>
                </a:lnTo>
                <a:lnTo>
                  <a:pt x="31" y="119"/>
                </a:lnTo>
                <a:lnTo>
                  <a:pt x="31" y="119"/>
                </a:lnTo>
                <a:lnTo>
                  <a:pt x="35" y="116"/>
                </a:lnTo>
                <a:lnTo>
                  <a:pt x="35" y="119"/>
                </a:lnTo>
                <a:lnTo>
                  <a:pt x="35" y="122"/>
                </a:lnTo>
                <a:lnTo>
                  <a:pt x="31" y="125"/>
                </a:lnTo>
                <a:lnTo>
                  <a:pt x="31" y="129"/>
                </a:lnTo>
                <a:lnTo>
                  <a:pt x="35" y="132"/>
                </a:lnTo>
                <a:lnTo>
                  <a:pt x="35" y="135"/>
                </a:lnTo>
                <a:lnTo>
                  <a:pt x="31" y="138"/>
                </a:lnTo>
                <a:lnTo>
                  <a:pt x="31" y="141"/>
                </a:lnTo>
                <a:lnTo>
                  <a:pt x="31" y="141"/>
                </a:lnTo>
                <a:lnTo>
                  <a:pt x="35" y="144"/>
                </a:lnTo>
                <a:lnTo>
                  <a:pt x="35" y="150"/>
                </a:lnTo>
                <a:lnTo>
                  <a:pt x="35" y="160"/>
                </a:lnTo>
                <a:lnTo>
                  <a:pt x="31" y="163"/>
                </a:lnTo>
                <a:lnTo>
                  <a:pt x="31" y="166"/>
                </a:lnTo>
                <a:lnTo>
                  <a:pt x="31" y="169"/>
                </a:lnTo>
                <a:lnTo>
                  <a:pt x="38" y="169"/>
                </a:lnTo>
                <a:lnTo>
                  <a:pt x="35" y="169"/>
                </a:lnTo>
                <a:lnTo>
                  <a:pt x="38" y="172"/>
                </a:lnTo>
                <a:lnTo>
                  <a:pt x="41" y="172"/>
                </a:lnTo>
                <a:lnTo>
                  <a:pt x="41" y="175"/>
                </a:lnTo>
                <a:lnTo>
                  <a:pt x="38" y="179"/>
                </a:lnTo>
                <a:lnTo>
                  <a:pt x="38" y="182"/>
                </a:lnTo>
                <a:lnTo>
                  <a:pt x="28" y="188"/>
                </a:lnTo>
                <a:lnTo>
                  <a:pt x="28" y="194"/>
                </a:lnTo>
                <a:lnTo>
                  <a:pt x="22" y="197"/>
                </a:lnTo>
                <a:lnTo>
                  <a:pt x="13" y="201"/>
                </a:lnTo>
                <a:lnTo>
                  <a:pt x="10" y="204"/>
                </a:lnTo>
                <a:lnTo>
                  <a:pt x="3" y="213"/>
                </a:lnTo>
                <a:lnTo>
                  <a:pt x="3" y="219"/>
                </a:lnTo>
                <a:lnTo>
                  <a:pt x="0" y="222"/>
                </a:lnTo>
                <a:lnTo>
                  <a:pt x="6" y="226"/>
                </a:lnTo>
                <a:lnTo>
                  <a:pt x="13" y="229"/>
                </a:lnTo>
                <a:lnTo>
                  <a:pt x="22" y="235"/>
                </a:lnTo>
                <a:lnTo>
                  <a:pt x="25" y="235"/>
                </a:lnTo>
                <a:lnTo>
                  <a:pt x="31" y="241"/>
                </a:lnTo>
                <a:lnTo>
                  <a:pt x="28" y="244"/>
                </a:lnTo>
                <a:lnTo>
                  <a:pt x="31" y="244"/>
                </a:lnTo>
                <a:lnTo>
                  <a:pt x="38" y="247"/>
                </a:lnTo>
                <a:lnTo>
                  <a:pt x="44" y="251"/>
                </a:lnTo>
                <a:lnTo>
                  <a:pt x="47" y="251"/>
                </a:lnTo>
                <a:lnTo>
                  <a:pt x="53" y="254"/>
                </a:lnTo>
                <a:lnTo>
                  <a:pt x="53" y="251"/>
                </a:lnTo>
                <a:lnTo>
                  <a:pt x="53" y="247"/>
                </a:lnTo>
                <a:lnTo>
                  <a:pt x="56" y="244"/>
                </a:lnTo>
                <a:lnTo>
                  <a:pt x="60" y="244"/>
                </a:lnTo>
                <a:lnTo>
                  <a:pt x="63" y="247"/>
                </a:lnTo>
                <a:lnTo>
                  <a:pt x="66" y="247"/>
                </a:lnTo>
                <a:lnTo>
                  <a:pt x="69" y="251"/>
                </a:lnTo>
                <a:lnTo>
                  <a:pt x="72" y="251"/>
                </a:lnTo>
                <a:lnTo>
                  <a:pt x="72" y="251"/>
                </a:lnTo>
                <a:lnTo>
                  <a:pt x="72" y="251"/>
                </a:lnTo>
                <a:lnTo>
                  <a:pt x="75" y="254"/>
                </a:lnTo>
                <a:lnTo>
                  <a:pt x="81" y="257"/>
                </a:lnTo>
                <a:lnTo>
                  <a:pt x="88" y="257"/>
                </a:lnTo>
                <a:lnTo>
                  <a:pt x="88" y="260"/>
                </a:lnTo>
                <a:lnTo>
                  <a:pt x="91" y="263"/>
                </a:lnTo>
                <a:lnTo>
                  <a:pt x="94" y="269"/>
                </a:lnTo>
                <a:lnTo>
                  <a:pt x="97" y="276"/>
                </a:lnTo>
                <a:lnTo>
                  <a:pt x="97" y="276"/>
                </a:lnTo>
                <a:lnTo>
                  <a:pt x="106" y="279"/>
                </a:lnTo>
                <a:lnTo>
                  <a:pt x="113" y="282"/>
                </a:lnTo>
                <a:lnTo>
                  <a:pt x="113" y="288"/>
                </a:lnTo>
                <a:lnTo>
                  <a:pt x="113" y="288"/>
                </a:lnTo>
                <a:lnTo>
                  <a:pt x="116" y="291"/>
                </a:lnTo>
                <a:lnTo>
                  <a:pt x="119" y="294"/>
                </a:lnTo>
                <a:lnTo>
                  <a:pt x="116" y="297"/>
                </a:lnTo>
                <a:lnTo>
                  <a:pt x="119" y="301"/>
                </a:lnTo>
                <a:lnTo>
                  <a:pt x="122" y="301"/>
                </a:lnTo>
                <a:lnTo>
                  <a:pt x="125" y="301"/>
                </a:lnTo>
                <a:lnTo>
                  <a:pt x="128" y="301"/>
                </a:lnTo>
                <a:lnTo>
                  <a:pt x="135" y="301"/>
                </a:lnTo>
                <a:lnTo>
                  <a:pt x="135" y="301"/>
                </a:lnTo>
                <a:lnTo>
                  <a:pt x="141" y="297"/>
                </a:lnTo>
                <a:lnTo>
                  <a:pt x="147" y="297"/>
                </a:lnTo>
                <a:lnTo>
                  <a:pt x="153" y="301"/>
                </a:lnTo>
                <a:lnTo>
                  <a:pt x="160" y="297"/>
                </a:lnTo>
                <a:lnTo>
                  <a:pt x="163" y="297"/>
                </a:lnTo>
                <a:lnTo>
                  <a:pt x="163" y="297"/>
                </a:lnTo>
                <a:lnTo>
                  <a:pt x="166" y="297"/>
                </a:lnTo>
                <a:lnTo>
                  <a:pt x="172" y="301"/>
                </a:lnTo>
                <a:lnTo>
                  <a:pt x="172" y="304"/>
                </a:lnTo>
                <a:lnTo>
                  <a:pt x="175" y="304"/>
                </a:lnTo>
                <a:lnTo>
                  <a:pt x="175" y="304"/>
                </a:lnTo>
                <a:lnTo>
                  <a:pt x="163" y="326"/>
                </a:lnTo>
                <a:lnTo>
                  <a:pt x="166" y="329"/>
                </a:lnTo>
                <a:lnTo>
                  <a:pt x="169" y="329"/>
                </a:lnTo>
                <a:lnTo>
                  <a:pt x="175" y="329"/>
                </a:lnTo>
                <a:lnTo>
                  <a:pt x="178" y="332"/>
                </a:lnTo>
                <a:lnTo>
                  <a:pt x="178" y="335"/>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4" name="Freeform 192">
            <a:extLst>
              <a:ext uri="{FF2B5EF4-FFF2-40B4-BE49-F238E27FC236}">
                <a16:creationId xmlns:a16="http://schemas.microsoft.com/office/drawing/2014/main" id="{877E7F5E-0181-874D-0ACB-88BC510E4A48}"/>
              </a:ext>
            </a:extLst>
          </p:cNvPr>
          <p:cNvSpPr>
            <a:spLocks noEditPoints="1"/>
          </p:cNvSpPr>
          <p:nvPr userDrawn="1"/>
        </p:nvSpPr>
        <p:spPr bwMode="auto">
          <a:xfrm>
            <a:off x="8159216" y="9295680"/>
            <a:ext cx="365102" cy="409576"/>
          </a:xfrm>
          <a:custGeom>
            <a:avLst/>
            <a:gdLst>
              <a:gd name="T0" fmla="*/ 112 w 115"/>
              <a:gd name="T1" fmla="*/ 29 h 129"/>
              <a:gd name="T2" fmla="*/ 106 w 115"/>
              <a:gd name="T3" fmla="*/ 25 h 129"/>
              <a:gd name="T4" fmla="*/ 100 w 115"/>
              <a:gd name="T5" fmla="*/ 22 h 129"/>
              <a:gd name="T6" fmla="*/ 93 w 115"/>
              <a:gd name="T7" fmla="*/ 25 h 129"/>
              <a:gd name="T8" fmla="*/ 93 w 115"/>
              <a:gd name="T9" fmla="*/ 32 h 129"/>
              <a:gd name="T10" fmla="*/ 84 w 115"/>
              <a:gd name="T11" fmla="*/ 29 h 129"/>
              <a:gd name="T12" fmla="*/ 71 w 115"/>
              <a:gd name="T13" fmla="*/ 22 h 129"/>
              <a:gd name="T14" fmla="*/ 71 w 115"/>
              <a:gd name="T15" fmla="*/ 19 h 129"/>
              <a:gd name="T16" fmla="*/ 62 w 115"/>
              <a:gd name="T17" fmla="*/ 13 h 129"/>
              <a:gd name="T18" fmla="*/ 46 w 115"/>
              <a:gd name="T19" fmla="*/ 4 h 129"/>
              <a:gd name="T20" fmla="*/ 40 w 115"/>
              <a:gd name="T21" fmla="*/ 7 h 129"/>
              <a:gd name="T22" fmla="*/ 25 w 115"/>
              <a:gd name="T23" fmla="*/ 13 h 129"/>
              <a:gd name="T24" fmla="*/ 15 w 115"/>
              <a:gd name="T25" fmla="*/ 16 h 129"/>
              <a:gd name="T26" fmla="*/ 18 w 115"/>
              <a:gd name="T27" fmla="*/ 22 h 129"/>
              <a:gd name="T28" fmla="*/ 18 w 115"/>
              <a:gd name="T29" fmla="*/ 32 h 129"/>
              <a:gd name="T30" fmla="*/ 12 w 115"/>
              <a:gd name="T31" fmla="*/ 41 h 129"/>
              <a:gd name="T32" fmla="*/ 9 w 115"/>
              <a:gd name="T33" fmla="*/ 50 h 129"/>
              <a:gd name="T34" fmla="*/ 3 w 115"/>
              <a:gd name="T35" fmla="*/ 54 h 129"/>
              <a:gd name="T36" fmla="*/ 3 w 115"/>
              <a:gd name="T37" fmla="*/ 63 h 129"/>
              <a:gd name="T38" fmla="*/ 6 w 115"/>
              <a:gd name="T39" fmla="*/ 72 h 129"/>
              <a:gd name="T40" fmla="*/ 0 w 115"/>
              <a:gd name="T41" fmla="*/ 75 h 129"/>
              <a:gd name="T42" fmla="*/ 6 w 115"/>
              <a:gd name="T43" fmla="*/ 82 h 129"/>
              <a:gd name="T44" fmla="*/ 15 w 115"/>
              <a:gd name="T45" fmla="*/ 88 h 129"/>
              <a:gd name="T46" fmla="*/ 18 w 115"/>
              <a:gd name="T47" fmla="*/ 82 h 129"/>
              <a:gd name="T48" fmla="*/ 21 w 115"/>
              <a:gd name="T49" fmla="*/ 75 h 129"/>
              <a:gd name="T50" fmla="*/ 21 w 115"/>
              <a:gd name="T51" fmla="*/ 82 h 129"/>
              <a:gd name="T52" fmla="*/ 21 w 115"/>
              <a:gd name="T53" fmla="*/ 79 h 129"/>
              <a:gd name="T54" fmla="*/ 25 w 115"/>
              <a:gd name="T55" fmla="*/ 82 h 129"/>
              <a:gd name="T56" fmla="*/ 25 w 115"/>
              <a:gd name="T57" fmla="*/ 91 h 129"/>
              <a:gd name="T58" fmla="*/ 18 w 115"/>
              <a:gd name="T59" fmla="*/ 101 h 129"/>
              <a:gd name="T60" fmla="*/ 21 w 115"/>
              <a:gd name="T61" fmla="*/ 107 h 129"/>
              <a:gd name="T62" fmla="*/ 12 w 115"/>
              <a:gd name="T63" fmla="*/ 113 h 129"/>
              <a:gd name="T64" fmla="*/ 18 w 115"/>
              <a:gd name="T65" fmla="*/ 116 h 129"/>
              <a:gd name="T66" fmla="*/ 25 w 115"/>
              <a:gd name="T67" fmla="*/ 119 h 129"/>
              <a:gd name="T68" fmla="*/ 34 w 115"/>
              <a:gd name="T69" fmla="*/ 119 h 129"/>
              <a:gd name="T70" fmla="*/ 43 w 115"/>
              <a:gd name="T71" fmla="*/ 129 h 129"/>
              <a:gd name="T72" fmla="*/ 62 w 115"/>
              <a:gd name="T73" fmla="*/ 94 h 129"/>
              <a:gd name="T74" fmla="*/ 84 w 115"/>
              <a:gd name="T75" fmla="*/ 85 h 129"/>
              <a:gd name="T76" fmla="*/ 106 w 115"/>
              <a:gd name="T77" fmla="*/ 66 h 129"/>
              <a:gd name="T78" fmla="*/ 115 w 115"/>
              <a:gd name="T79" fmla="*/ 54 h 129"/>
              <a:gd name="T80" fmla="*/ 115 w 115"/>
              <a:gd name="T81" fmla="*/ 47 h 129"/>
              <a:gd name="T82" fmla="*/ 112 w 115"/>
              <a:gd name="T83" fmla="*/ 35 h 129"/>
              <a:gd name="T84" fmla="*/ 112 w 115"/>
              <a:gd name="T85" fmla="*/ 29 h 129"/>
              <a:gd name="T86" fmla="*/ 112 w 115"/>
              <a:gd name="T87" fmla="*/ 29 h 129"/>
              <a:gd name="T88" fmla="*/ 15 w 115"/>
              <a:gd name="T89" fmla="*/ 91 h 129"/>
              <a:gd name="T90" fmla="*/ 18 w 115"/>
              <a:gd name="T91" fmla="*/ 85 h 129"/>
              <a:gd name="T92" fmla="*/ 18 w 115"/>
              <a:gd name="T93" fmla="*/ 88 h 129"/>
              <a:gd name="T94" fmla="*/ 18 w 115"/>
              <a:gd name="T95" fmla="*/ 94 h 129"/>
              <a:gd name="T96" fmla="*/ 15 w 115"/>
              <a:gd name="T97" fmla="*/ 9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5" h="129">
                <a:moveTo>
                  <a:pt x="112" y="29"/>
                </a:moveTo>
                <a:lnTo>
                  <a:pt x="112" y="29"/>
                </a:lnTo>
                <a:lnTo>
                  <a:pt x="109" y="29"/>
                </a:lnTo>
                <a:lnTo>
                  <a:pt x="106" y="25"/>
                </a:lnTo>
                <a:lnTo>
                  <a:pt x="103" y="25"/>
                </a:lnTo>
                <a:lnTo>
                  <a:pt x="100" y="22"/>
                </a:lnTo>
                <a:lnTo>
                  <a:pt x="96" y="22"/>
                </a:lnTo>
                <a:lnTo>
                  <a:pt x="93" y="25"/>
                </a:lnTo>
                <a:lnTo>
                  <a:pt x="93" y="29"/>
                </a:lnTo>
                <a:lnTo>
                  <a:pt x="93" y="32"/>
                </a:lnTo>
                <a:lnTo>
                  <a:pt x="87" y="29"/>
                </a:lnTo>
                <a:lnTo>
                  <a:pt x="84" y="29"/>
                </a:lnTo>
                <a:lnTo>
                  <a:pt x="78" y="25"/>
                </a:lnTo>
                <a:lnTo>
                  <a:pt x="71" y="22"/>
                </a:lnTo>
                <a:lnTo>
                  <a:pt x="68" y="22"/>
                </a:lnTo>
                <a:lnTo>
                  <a:pt x="71" y="19"/>
                </a:lnTo>
                <a:lnTo>
                  <a:pt x="65" y="13"/>
                </a:lnTo>
                <a:lnTo>
                  <a:pt x="62" y="13"/>
                </a:lnTo>
                <a:lnTo>
                  <a:pt x="53" y="7"/>
                </a:lnTo>
                <a:lnTo>
                  <a:pt x="46" y="4"/>
                </a:lnTo>
                <a:lnTo>
                  <a:pt x="40" y="0"/>
                </a:lnTo>
                <a:lnTo>
                  <a:pt x="40" y="7"/>
                </a:lnTo>
                <a:lnTo>
                  <a:pt x="34" y="7"/>
                </a:lnTo>
                <a:lnTo>
                  <a:pt x="25" y="13"/>
                </a:lnTo>
                <a:lnTo>
                  <a:pt x="21" y="13"/>
                </a:lnTo>
                <a:lnTo>
                  <a:pt x="15" y="16"/>
                </a:lnTo>
                <a:lnTo>
                  <a:pt x="18" y="19"/>
                </a:lnTo>
                <a:lnTo>
                  <a:pt x="18" y="22"/>
                </a:lnTo>
                <a:lnTo>
                  <a:pt x="18" y="25"/>
                </a:lnTo>
                <a:lnTo>
                  <a:pt x="18" y="32"/>
                </a:lnTo>
                <a:lnTo>
                  <a:pt x="12" y="38"/>
                </a:lnTo>
                <a:lnTo>
                  <a:pt x="12" y="41"/>
                </a:lnTo>
                <a:lnTo>
                  <a:pt x="12" y="44"/>
                </a:lnTo>
                <a:lnTo>
                  <a:pt x="9" y="50"/>
                </a:lnTo>
                <a:lnTo>
                  <a:pt x="6" y="50"/>
                </a:lnTo>
                <a:lnTo>
                  <a:pt x="3" y="54"/>
                </a:lnTo>
                <a:lnTo>
                  <a:pt x="3" y="57"/>
                </a:lnTo>
                <a:lnTo>
                  <a:pt x="3" y="63"/>
                </a:lnTo>
                <a:lnTo>
                  <a:pt x="3" y="66"/>
                </a:lnTo>
                <a:lnTo>
                  <a:pt x="6" y="72"/>
                </a:lnTo>
                <a:lnTo>
                  <a:pt x="3" y="75"/>
                </a:lnTo>
                <a:lnTo>
                  <a:pt x="0" y="75"/>
                </a:lnTo>
                <a:lnTo>
                  <a:pt x="3" y="79"/>
                </a:lnTo>
                <a:lnTo>
                  <a:pt x="6" y="82"/>
                </a:lnTo>
                <a:lnTo>
                  <a:pt x="12" y="85"/>
                </a:lnTo>
                <a:lnTo>
                  <a:pt x="15" y="88"/>
                </a:lnTo>
                <a:lnTo>
                  <a:pt x="15" y="85"/>
                </a:lnTo>
                <a:lnTo>
                  <a:pt x="18" y="82"/>
                </a:lnTo>
                <a:lnTo>
                  <a:pt x="18" y="79"/>
                </a:lnTo>
                <a:lnTo>
                  <a:pt x="21" y="75"/>
                </a:lnTo>
                <a:lnTo>
                  <a:pt x="21" y="79"/>
                </a:lnTo>
                <a:lnTo>
                  <a:pt x="21" y="82"/>
                </a:lnTo>
                <a:lnTo>
                  <a:pt x="21" y="82"/>
                </a:lnTo>
                <a:lnTo>
                  <a:pt x="21" y="79"/>
                </a:lnTo>
                <a:lnTo>
                  <a:pt x="25" y="79"/>
                </a:lnTo>
                <a:lnTo>
                  <a:pt x="25" y="82"/>
                </a:lnTo>
                <a:lnTo>
                  <a:pt x="25" y="88"/>
                </a:lnTo>
                <a:lnTo>
                  <a:pt x="25" y="91"/>
                </a:lnTo>
                <a:lnTo>
                  <a:pt x="21" y="97"/>
                </a:lnTo>
                <a:lnTo>
                  <a:pt x="18" y="101"/>
                </a:lnTo>
                <a:lnTo>
                  <a:pt x="18" y="101"/>
                </a:lnTo>
                <a:lnTo>
                  <a:pt x="21" y="107"/>
                </a:lnTo>
                <a:lnTo>
                  <a:pt x="15" y="110"/>
                </a:lnTo>
                <a:lnTo>
                  <a:pt x="12" y="113"/>
                </a:lnTo>
                <a:lnTo>
                  <a:pt x="15" y="116"/>
                </a:lnTo>
                <a:lnTo>
                  <a:pt x="18" y="116"/>
                </a:lnTo>
                <a:lnTo>
                  <a:pt x="21" y="116"/>
                </a:lnTo>
                <a:lnTo>
                  <a:pt x="25" y="119"/>
                </a:lnTo>
                <a:lnTo>
                  <a:pt x="31" y="119"/>
                </a:lnTo>
                <a:lnTo>
                  <a:pt x="34" y="119"/>
                </a:lnTo>
                <a:lnTo>
                  <a:pt x="40" y="129"/>
                </a:lnTo>
                <a:lnTo>
                  <a:pt x="43" y="129"/>
                </a:lnTo>
                <a:lnTo>
                  <a:pt x="46" y="126"/>
                </a:lnTo>
                <a:lnTo>
                  <a:pt x="62" y="94"/>
                </a:lnTo>
                <a:lnTo>
                  <a:pt x="62" y="91"/>
                </a:lnTo>
                <a:lnTo>
                  <a:pt x="84" y="85"/>
                </a:lnTo>
                <a:lnTo>
                  <a:pt x="93" y="79"/>
                </a:lnTo>
                <a:lnTo>
                  <a:pt x="106" y="66"/>
                </a:lnTo>
                <a:lnTo>
                  <a:pt x="112" y="54"/>
                </a:lnTo>
                <a:lnTo>
                  <a:pt x="115" y="54"/>
                </a:lnTo>
                <a:lnTo>
                  <a:pt x="115" y="50"/>
                </a:lnTo>
                <a:lnTo>
                  <a:pt x="115" y="47"/>
                </a:lnTo>
                <a:lnTo>
                  <a:pt x="115" y="41"/>
                </a:lnTo>
                <a:lnTo>
                  <a:pt x="112" y="35"/>
                </a:lnTo>
                <a:lnTo>
                  <a:pt x="112" y="32"/>
                </a:lnTo>
                <a:lnTo>
                  <a:pt x="112" y="29"/>
                </a:lnTo>
                <a:lnTo>
                  <a:pt x="112" y="29"/>
                </a:lnTo>
                <a:lnTo>
                  <a:pt x="112" y="29"/>
                </a:lnTo>
                <a:close/>
                <a:moveTo>
                  <a:pt x="15" y="94"/>
                </a:moveTo>
                <a:lnTo>
                  <a:pt x="15" y="91"/>
                </a:lnTo>
                <a:lnTo>
                  <a:pt x="15" y="88"/>
                </a:lnTo>
                <a:lnTo>
                  <a:pt x="18" y="85"/>
                </a:lnTo>
                <a:lnTo>
                  <a:pt x="18" y="85"/>
                </a:lnTo>
                <a:lnTo>
                  <a:pt x="18" y="88"/>
                </a:lnTo>
                <a:lnTo>
                  <a:pt x="18" y="91"/>
                </a:lnTo>
                <a:lnTo>
                  <a:pt x="18" y="94"/>
                </a:lnTo>
                <a:lnTo>
                  <a:pt x="15" y="94"/>
                </a:lnTo>
                <a:lnTo>
                  <a:pt x="15" y="9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5" name="Freeform 193">
            <a:extLst>
              <a:ext uri="{FF2B5EF4-FFF2-40B4-BE49-F238E27FC236}">
                <a16:creationId xmlns:a16="http://schemas.microsoft.com/office/drawing/2014/main" id="{EE2A6835-450E-2E8B-CFC8-04F45F113745}"/>
              </a:ext>
            </a:extLst>
          </p:cNvPr>
          <p:cNvSpPr>
            <a:spLocks/>
          </p:cNvSpPr>
          <p:nvPr userDrawn="1"/>
        </p:nvSpPr>
        <p:spPr bwMode="auto">
          <a:xfrm>
            <a:off x="8136993" y="9387759"/>
            <a:ext cx="803226" cy="1190626"/>
          </a:xfrm>
          <a:custGeom>
            <a:avLst/>
            <a:gdLst>
              <a:gd name="T0" fmla="*/ 232 w 253"/>
              <a:gd name="T1" fmla="*/ 222 h 375"/>
              <a:gd name="T2" fmla="*/ 219 w 253"/>
              <a:gd name="T3" fmla="*/ 222 h 375"/>
              <a:gd name="T4" fmla="*/ 219 w 253"/>
              <a:gd name="T5" fmla="*/ 197 h 375"/>
              <a:gd name="T6" fmla="*/ 200 w 253"/>
              <a:gd name="T7" fmla="*/ 200 h 375"/>
              <a:gd name="T8" fmla="*/ 178 w 253"/>
              <a:gd name="T9" fmla="*/ 187 h 375"/>
              <a:gd name="T10" fmla="*/ 157 w 253"/>
              <a:gd name="T11" fmla="*/ 165 h 375"/>
              <a:gd name="T12" fmla="*/ 150 w 253"/>
              <a:gd name="T13" fmla="*/ 153 h 375"/>
              <a:gd name="T14" fmla="*/ 153 w 253"/>
              <a:gd name="T15" fmla="*/ 137 h 375"/>
              <a:gd name="T16" fmla="*/ 163 w 253"/>
              <a:gd name="T17" fmla="*/ 128 h 375"/>
              <a:gd name="T18" fmla="*/ 166 w 253"/>
              <a:gd name="T19" fmla="*/ 109 h 375"/>
              <a:gd name="T20" fmla="*/ 178 w 253"/>
              <a:gd name="T21" fmla="*/ 97 h 375"/>
              <a:gd name="T22" fmla="*/ 207 w 253"/>
              <a:gd name="T23" fmla="*/ 87 h 375"/>
              <a:gd name="T24" fmla="*/ 216 w 253"/>
              <a:gd name="T25" fmla="*/ 84 h 375"/>
              <a:gd name="T26" fmla="*/ 225 w 253"/>
              <a:gd name="T27" fmla="*/ 87 h 375"/>
              <a:gd name="T28" fmla="*/ 213 w 253"/>
              <a:gd name="T29" fmla="*/ 78 h 375"/>
              <a:gd name="T30" fmla="*/ 219 w 253"/>
              <a:gd name="T31" fmla="*/ 53 h 375"/>
              <a:gd name="T32" fmla="*/ 210 w 253"/>
              <a:gd name="T33" fmla="*/ 46 h 375"/>
              <a:gd name="T34" fmla="*/ 188 w 253"/>
              <a:gd name="T35" fmla="*/ 46 h 375"/>
              <a:gd name="T36" fmla="*/ 172 w 253"/>
              <a:gd name="T37" fmla="*/ 50 h 375"/>
              <a:gd name="T38" fmla="*/ 166 w 253"/>
              <a:gd name="T39" fmla="*/ 43 h 375"/>
              <a:gd name="T40" fmla="*/ 160 w 253"/>
              <a:gd name="T41" fmla="*/ 31 h 375"/>
              <a:gd name="T42" fmla="*/ 141 w 253"/>
              <a:gd name="T43" fmla="*/ 18 h 375"/>
              <a:gd name="T44" fmla="*/ 128 w 253"/>
              <a:gd name="T45" fmla="*/ 6 h 375"/>
              <a:gd name="T46" fmla="*/ 119 w 253"/>
              <a:gd name="T47" fmla="*/ 3 h 375"/>
              <a:gd name="T48" fmla="*/ 122 w 253"/>
              <a:gd name="T49" fmla="*/ 21 h 375"/>
              <a:gd name="T50" fmla="*/ 100 w 253"/>
              <a:gd name="T51" fmla="*/ 50 h 375"/>
              <a:gd name="T52" fmla="*/ 53 w 253"/>
              <a:gd name="T53" fmla="*/ 97 h 375"/>
              <a:gd name="T54" fmla="*/ 38 w 253"/>
              <a:gd name="T55" fmla="*/ 90 h 375"/>
              <a:gd name="T56" fmla="*/ 22 w 253"/>
              <a:gd name="T57" fmla="*/ 87 h 375"/>
              <a:gd name="T58" fmla="*/ 25 w 253"/>
              <a:gd name="T59" fmla="*/ 72 h 375"/>
              <a:gd name="T60" fmla="*/ 10 w 253"/>
              <a:gd name="T61" fmla="*/ 81 h 375"/>
              <a:gd name="T62" fmla="*/ 0 w 253"/>
              <a:gd name="T63" fmla="*/ 97 h 375"/>
              <a:gd name="T64" fmla="*/ 3 w 253"/>
              <a:gd name="T65" fmla="*/ 106 h 375"/>
              <a:gd name="T66" fmla="*/ 7 w 253"/>
              <a:gd name="T67" fmla="*/ 118 h 375"/>
              <a:gd name="T68" fmla="*/ 10 w 253"/>
              <a:gd name="T69" fmla="*/ 128 h 375"/>
              <a:gd name="T70" fmla="*/ 32 w 253"/>
              <a:gd name="T71" fmla="*/ 140 h 375"/>
              <a:gd name="T72" fmla="*/ 41 w 253"/>
              <a:gd name="T73" fmla="*/ 159 h 375"/>
              <a:gd name="T74" fmla="*/ 57 w 253"/>
              <a:gd name="T75" fmla="*/ 178 h 375"/>
              <a:gd name="T76" fmla="*/ 66 w 253"/>
              <a:gd name="T77" fmla="*/ 197 h 375"/>
              <a:gd name="T78" fmla="*/ 75 w 253"/>
              <a:gd name="T79" fmla="*/ 219 h 375"/>
              <a:gd name="T80" fmla="*/ 78 w 253"/>
              <a:gd name="T81" fmla="*/ 228 h 375"/>
              <a:gd name="T82" fmla="*/ 91 w 253"/>
              <a:gd name="T83" fmla="*/ 247 h 375"/>
              <a:gd name="T84" fmla="*/ 103 w 253"/>
              <a:gd name="T85" fmla="*/ 265 h 375"/>
              <a:gd name="T86" fmla="*/ 107 w 253"/>
              <a:gd name="T87" fmla="*/ 278 h 375"/>
              <a:gd name="T88" fmla="*/ 110 w 253"/>
              <a:gd name="T89" fmla="*/ 287 h 375"/>
              <a:gd name="T90" fmla="*/ 119 w 253"/>
              <a:gd name="T91" fmla="*/ 297 h 375"/>
              <a:gd name="T92" fmla="*/ 132 w 253"/>
              <a:gd name="T93" fmla="*/ 306 h 375"/>
              <a:gd name="T94" fmla="*/ 141 w 253"/>
              <a:gd name="T95" fmla="*/ 312 h 375"/>
              <a:gd name="T96" fmla="*/ 153 w 253"/>
              <a:gd name="T97" fmla="*/ 322 h 375"/>
              <a:gd name="T98" fmla="*/ 163 w 253"/>
              <a:gd name="T99" fmla="*/ 331 h 375"/>
              <a:gd name="T100" fmla="*/ 182 w 253"/>
              <a:gd name="T101" fmla="*/ 337 h 375"/>
              <a:gd name="T102" fmla="*/ 194 w 253"/>
              <a:gd name="T103" fmla="*/ 347 h 375"/>
              <a:gd name="T104" fmla="*/ 203 w 253"/>
              <a:gd name="T105" fmla="*/ 356 h 375"/>
              <a:gd name="T106" fmla="*/ 213 w 253"/>
              <a:gd name="T107" fmla="*/ 362 h 375"/>
              <a:gd name="T108" fmla="*/ 228 w 253"/>
              <a:gd name="T109" fmla="*/ 375 h 375"/>
              <a:gd name="T110" fmla="*/ 244 w 253"/>
              <a:gd name="T111" fmla="*/ 369 h 375"/>
              <a:gd name="T112" fmla="*/ 244 w 253"/>
              <a:gd name="T113" fmla="*/ 353 h 375"/>
              <a:gd name="T114" fmla="*/ 241 w 253"/>
              <a:gd name="T115" fmla="*/ 350 h 375"/>
              <a:gd name="T116" fmla="*/ 253 w 253"/>
              <a:gd name="T117" fmla="*/ 331 h 375"/>
              <a:gd name="T118" fmla="*/ 250 w 253"/>
              <a:gd name="T119" fmla="*/ 306 h 375"/>
              <a:gd name="T120" fmla="*/ 250 w 253"/>
              <a:gd name="T121" fmla="*/ 281 h 375"/>
              <a:gd name="T122" fmla="*/ 253 w 253"/>
              <a:gd name="T123" fmla="*/ 25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375">
                <a:moveTo>
                  <a:pt x="238" y="222"/>
                </a:moveTo>
                <a:lnTo>
                  <a:pt x="235" y="222"/>
                </a:lnTo>
                <a:lnTo>
                  <a:pt x="235" y="222"/>
                </a:lnTo>
                <a:lnTo>
                  <a:pt x="232" y="222"/>
                </a:lnTo>
                <a:lnTo>
                  <a:pt x="228" y="222"/>
                </a:lnTo>
                <a:lnTo>
                  <a:pt x="225" y="222"/>
                </a:lnTo>
                <a:lnTo>
                  <a:pt x="219" y="222"/>
                </a:lnTo>
                <a:lnTo>
                  <a:pt x="219" y="222"/>
                </a:lnTo>
                <a:lnTo>
                  <a:pt x="216" y="215"/>
                </a:lnTo>
                <a:lnTo>
                  <a:pt x="216" y="203"/>
                </a:lnTo>
                <a:lnTo>
                  <a:pt x="216" y="197"/>
                </a:lnTo>
                <a:lnTo>
                  <a:pt x="219" y="197"/>
                </a:lnTo>
                <a:lnTo>
                  <a:pt x="219" y="190"/>
                </a:lnTo>
                <a:lnTo>
                  <a:pt x="216" y="190"/>
                </a:lnTo>
                <a:lnTo>
                  <a:pt x="210" y="194"/>
                </a:lnTo>
                <a:lnTo>
                  <a:pt x="200" y="200"/>
                </a:lnTo>
                <a:lnTo>
                  <a:pt x="191" y="200"/>
                </a:lnTo>
                <a:lnTo>
                  <a:pt x="185" y="200"/>
                </a:lnTo>
                <a:lnTo>
                  <a:pt x="182" y="194"/>
                </a:lnTo>
                <a:lnTo>
                  <a:pt x="178" y="187"/>
                </a:lnTo>
                <a:lnTo>
                  <a:pt x="172" y="187"/>
                </a:lnTo>
                <a:lnTo>
                  <a:pt x="160" y="187"/>
                </a:lnTo>
                <a:lnTo>
                  <a:pt x="166" y="181"/>
                </a:lnTo>
                <a:lnTo>
                  <a:pt x="157" y="165"/>
                </a:lnTo>
                <a:lnTo>
                  <a:pt x="150" y="162"/>
                </a:lnTo>
                <a:lnTo>
                  <a:pt x="150" y="159"/>
                </a:lnTo>
                <a:lnTo>
                  <a:pt x="150" y="156"/>
                </a:lnTo>
                <a:lnTo>
                  <a:pt x="150" y="153"/>
                </a:lnTo>
                <a:lnTo>
                  <a:pt x="150" y="147"/>
                </a:lnTo>
                <a:lnTo>
                  <a:pt x="150" y="143"/>
                </a:lnTo>
                <a:lnTo>
                  <a:pt x="153" y="143"/>
                </a:lnTo>
                <a:lnTo>
                  <a:pt x="153" y="137"/>
                </a:lnTo>
                <a:lnTo>
                  <a:pt x="157" y="134"/>
                </a:lnTo>
                <a:lnTo>
                  <a:pt x="160" y="134"/>
                </a:lnTo>
                <a:lnTo>
                  <a:pt x="163" y="131"/>
                </a:lnTo>
                <a:lnTo>
                  <a:pt x="163" y="128"/>
                </a:lnTo>
                <a:lnTo>
                  <a:pt x="160" y="122"/>
                </a:lnTo>
                <a:lnTo>
                  <a:pt x="166" y="115"/>
                </a:lnTo>
                <a:lnTo>
                  <a:pt x="166" y="112"/>
                </a:lnTo>
                <a:lnTo>
                  <a:pt x="166" y="109"/>
                </a:lnTo>
                <a:lnTo>
                  <a:pt x="166" y="106"/>
                </a:lnTo>
                <a:lnTo>
                  <a:pt x="169" y="103"/>
                </a:lnTo>
                <a:lnTo>
                  <a:pt x="175" y="100"/>
                </a:lnTo>
                <a:lnTo>
                  <a:pt x="178" y="97"/>
                </a:lnTo>
                <a:lnTo>
                  <a:pt x="182" y="97"/>
                </a:lnTo>
                <a:lnTo>
                  <a:pt x="185" y="93"/>
                </a:lnTo>
                <a:lnTo>
                  <a:pt x="194" y="90"/>
                </a:lnTo>
                <a:lnTo>
                  <a:pt x="207" y="87"/>
                </a:lnTo>
                <a:lnTo>
                  <a:pt x="210" y="84"/>
                </a:lnTo>
                <a:lnTo>
                  <a:pt x="210" y="84"/>
                </a:lnTo>
                <a:lnTo>
                  <a:pt x="213" y="84"/>
                </a:lnTo>
                <a:lnTo>
                  <a:pt x="216" y="84"/>
                </a:lnTo>
                <a:lnTo>
                  <a:pt x="219" y="87"/>
                </a:lnTo>
                <a:lnTo>
                  <a:pt x="219" y="87"/>
                </a:lnTo>
                <a:lnTo>
                  <a:pt x="222" y="90"/>
                </a:lnTo>
                <a:lnTo>
                  <a:pt x="225" y="87"/>
                </a:lnTo>
                <a:lnTo>
                  <a:pt x="225" y="81"/>
                </a:lnTo>
                <a:lnTo>
                  <a:pt x="222" y="78"/>
                </a:lnTo>
                <a:lnTo>
                  <a:pt x="216" y="78"/>
                </a:lnTo>
                <a:lnTo>
                  <a:pt x="213" y="78"/>
                </a:lnTo>
                <a:lnTo>
                  <a:pt x="210" y="75"/>
                </a:lnTo>
                <a:lnTo>
                  <a:pt x="222" y="53"/>
                </a:lnTo>
                <a:lnTo>
                  <a:pt x="222" y="53"/>
                </a:lnTo>
                <a:lnTo>
                  <a:pt x="219" y="53"/>
                </a:lnTo>
                <a:lnTo>
                  <a:pt x="219" y="50"/>
                </a:lnTo>
                <a:lnTo>
                  <a:pt x="213" y="46"/>
                </a:lnTo>
                <a:lnTo>
                  <a:pt x="210" y="46"/>
                </a:lnTo>
                <a:lnTo>
                  <a:pt x="210" y="46"/>
                </a:lnTo>
                <a:lnTo>
                  <a:pt x="207" y="46"/>
                </a:lnTo>
                <a:lnTo>
                  <a:pt x="200" y="50"/>
                </a:lnTo>
                <a:lnTo>
                  <a:pt x="194" y="46"/>
                </a:lnTo>
                <a:lnTo>
                  <a:pt x="188" y="46"/>
                </a:lnTo>
                <a:lnTo>
                  <a:pt x="182" y="50"/>
                </a:lnTo>
                <a:lnTo>
                  <a:pt x="182" y="50"/>
                </a:lnTo>
                <a:lnTo>
                  <a:pt x="175" y="50"/>
                </a:lnTo>
                <a:lnTo>
                  <a:pt x="172" y="50"/>
                </a:lnTo>
                <a:lnTo>
                  <a:pt x="169" y="50"/>
                </a:lnTo>
                <a:lnTo>
                  <a:pt x="166" y="50"/>
                </a:lnTo>
                <a:lnTo>
                  <a:pt x="163" y="46"/>
                </a:lnTo>
                <a:lnTo>
                  <a:pt x="166" y="43"/>
                </a:lnTo>
                <a:lnTo>
                  <a:pt x="163" y="40"/>
                </a:lnTo>
                <a:lnTo>
                  <a:pt x="160" y="37"/>
                </a:lnTo>
                <a:lnTo>
                  <a:pt x="160" y="37"/>
                </a:lnTo>
                <a:lnTo>
                  <a:pt x="160" y="31"/>
                </a:lnTo>
                <a:lnTo>
                  <a:pt x="153" y="28"/>
                </a:lnTo>
                <a:lnTo>
                  <a:pt x="144" y="25"/>
                </a:lnTo>
                <a:lnTo>
                  <a:pt x="144" y="25"/>
                </a:lnTo>
                <a:lnTo>
                  <a:pt x="141" y="18"/>
                </a:lnTo>
                <a:lnTo>
                  <a:pt x="138" y="12"/>
                </a:lnTo>
                <a:lnTo>
                  <a:pt x="135" y="9"/>
                </a:lnTo>
                <a:lnTo>
                  <a:pt x="135" y="6"/>
                </a:lnTo>
                <a:lnTo>
                  <a:pt x="128" y="6"/>
                </a:lnTo>
                <a:lnTo>
                  <a:pt x="122" y="3"/>
                </a:lnTo>
                <a:lnTo>
                  <a:pt x="119" y="0"/>
                </a:lnTo>
                <a:lnTo>
                  <a:pt x="119" y="0"/>
                </a:lnTo>
                <a:lnTo>
                  <a:pt x="119" y="3"/>
                </a:lnTo>
                <a:lnTo>
                  <a:pt x="119" y="6"/>
                </a:lnTo>
                <a:lnTo>
                  <a:pt x="122" y="12"/>
                </a:lnTo>
                <a:lnTo>
                  <a:pt x="122" y="18"/>
                </a:lnTo>
                <a:lnTo>
                  <a:pt x="122" y="21"/>
                </a:lnTo>
                <a:lnTo>
                  <a:pt x="122" y="25"/>
                </a:lnTo>
                <a:lnTo>
                  <a:pt x="119" y="25"/>
                </a:lnTo>
                <a:lnTo>
                  <a:pt x="113" y="37"/>
                </a:lnTo>
                <a:lnTo>
                  <a:pt x="100" y="50"/>
                </a:lnTo>
                <a:lnTo>
                  <a:pt x="91" y="56"/>
                </a:lnTo>
                <a:lnTo>
                  <a:pt x="69" y="62"/>
                </a:lnTo>
                <a:lnTo>
                  <a:pt x="69" y="65"/>
                </a:lnTo>
                <a:lnTo>
                  <a:pt x="53" y="97"/>
                </a:lnTo>
                <a:lnTo>
                  <a:pt x="50" y="100"/>
                </a:lnTo>
                <a:lnTo>
                  <a:pt x="47" y="100"/>
                </a:lnTo>
                <a:lnTo>
                  <a:pt x="41" y="90"/>
                </a:lnTo>
                <a:lnTo>
                  <a:pt x="38" y="90"/>
                </a:lnTo>
                <a:lnTo>
                  <a:pt x="32" y="90"/>
                </a:lnTo>
                <a:lnTo>
                  <a:pt x="28" y="87"/>
                </a:lnTo>
                <a:lnTo>
                  <a:pt x="25" y="87"/>
                </a:lnTo>
                <a:lnTo>
                  <a:pt x="22" y="87"/>
                </a:lnTo>
                <a:lnTo>
                  <a:pt x="19" y="84"/>
                </a:lnTo>
                <a:lnTo>
                  <a:pt x="22" y="81"/>
                </a:lnTo>
                <a:lnTo>
                  <a:pt x="28" y="78"/>
                </a:lnTo>
                <a:lnTo>
                  <a:pt x="25" y="72"/>
                </a:lnTo>
                <a:lnTo>
                  <a:pt x="25" y="72"/>
                </a:lnTo>
                <a:lnTo>
                  <a:pt x="25" y="72"/>
                </a:lnTo>
                <a:lnTo>
                  <a:pt x="16" y="78"/>
                </a:lnTo>
                <a:lnTo>
                  <a:pt x="10" y="81"/>
                </a:lnTo>
                <a:lnTo>
                  <a:pt x="3" y="87"/>
                </a:lnTo>
                <a:lnTo>
                  <a:pt x="3" y="90"/>
                </a:lnTo>
                <a:lnTo>
                  <a:pt x="0" y="97"/>
                </a:lnTo>
                <a:lnTo>
                  <a:pt x="0" y="97"/>
                </a:lnTo>
                <a:lnTo>
                  <a:pt x="3" y="100"/>
                </a:lnTo>
                <a:lnTo>
                  <a:pt x="7" y="103"/>
                </a:lnTo>
                <a:lnTo>
                  <a:pt x="3" y="103"/>
                </a:lnTo>
                <a:lnTo>
                  <a:pt x="3" y="106"/>
                </a:lnTo>
                <a:lnTo>
                  <a:pt x="7" y="109"/>
                </a:lnTo>
                <a:lnTo>
                  <a:pt x="10" y="115"/>
                </a:lnTo>
                <a:lnTo>
                  <a:pt x="10" y="118"/>
                </a:lnTo>
                <a:lnTo>
                  <a:pt x="7" y="118"/>
                </a:lnTo>
                <a:lnTo>
                  <a:pt x="3" y="122"/>
                </a:lnTo>
                <a:lnTo>
                  <a:pt x="0" y="125"/>
                </a:lnTo>
                <a:lnTo>
                  <a:pt x="7" y="128"/>
                </a:lnTo>
                <a:lnTo>
                  <a:pt x="10" y="128"/>
                </a:lnTo>
                <a:lnTo>
                  <a:pt x="16" y="134"/>
                </a:lnTo>
                <a:lnTo>
                  <a:pt x="19" y="134"/>
                </a:lnTo>
                <a:lnTo>
                  <a:pt x="28" y="140"/>
                </a:lnTo>
                <a:lnTo>
                  <a:pt x="32" y="140"/>
                </a:lnTo>
                <a:lnTo>
                  <a:pt x="35" y="143"/>
                </a:lnTo>
                <a:lnTo>
                  <a:pt x="38" y="150"/>
                </a:lnTo>
                <a:lnTo>
                  <a:pt x="38" y="156"/>
                </a:lnTo>
                <a:lnTo>
                  <a:pt x="41" y="159"/>
                </a:lnTo>
                <a:lnTo>
                  <a:pt x="47" y="162"/>
                </a:lnTo>
                <a:lnTo>
                  <a:pt x="53" y="168"/>
                </a:lnTo>
                <a:lnTo>
                  <a:pt x="53" y="175"/>
                </a:lnTo>
                <a:lnTo>
                  <a:pt x="57" y="178"/>
                </a:lnTo>
                <a:lnTo>
                  <a:pt x="57" y="184"/>
                </a:lnTo>
                <a:lnTo>
                  <a:pt x="60" y="190"/>
                </a:lnTo>
                <a:lnTo>
                  <a:pt x="63" y="190"/>
                </a:lnTo>
                <a:lnTo>
                  <a:pt x="66" y="197"/>
                </a:lnTo>
                <a:lnTo>
                  <a:pt x="66" y="203"/>
                </a:lnTo>
                <a:lnTo>
                  <a:pt x="66" y="203"/>
                </a:lnTo>
                <a:lnTo>
                  <a:pt x="69" y="209"/>
                </a:lnTo>
                <a:lnTo>
                  <a:pt x="75" y="219"/>
                </a:lnTo>
                <a:lnTo>
                  <a:pt x="75" y="222"/>
                </a:lnTo>
                <a:lnTo>
                  <a:pt x="75" y="225"/>
                </a:lnTo>
                <a:lnTo>
                  <a:pt x="75" y="228"/>
                </a:lnTo>
                <a:lnTo>
                  <a:pt x="78" y="228"/>
                </a:lnTo>
                <a:lnTo>
                  <a:pt x="85" y="234"/>
                </a:lnTo>
                <a:lnTo>
                  <a:pt x="88" y="237"/>
                </a:lnTo>
                <a:lnTo>
                  <a:pt x="88" y="244"/>
                </a:lnTo>
                <a:lnTo>
                  <a:pt x="91" y="247"/>
                </a:lnTo>
                <a:lnTo>
                  <a:pt x="94" y="250"/>
                </a:lnTo>
                <a:lnTo>
                  <a:pt x="97" y="253"/>
                </a:lnTo>
                <a:lnTo>
                  <a:pt x="100" y="262"/>
                </a:lnTo>
                <a:lnTo>
                  <a:pt x="103" y="265"/>
                </a:lnTo>
                <a:lnTo>
                  <a:pt x="110" y="275"/>
                </a:lnTo>
                <a:lnTo>
                  <a:pt x="110" y="278"/>
                </a:lnTo>
                <a:lnTo>
                  <a:pt x="107" y="281"/>
                </a:lnTo>
                <a:lnTo>
                  <a:pt x="107" y="278"/>
                </a:lnTo>
                <a:lnTo>
                  <a:pt x="107" y="281"/>
                </a:lnTo>
                <a:lnTo>
                  <a:pt x="107" y="284"/>
                </a:lnTo>
                <a:lnTo>
                  <a:pt x="107" y="287"/>
                </a:lnTo>
                <a:lnTo>
                  <a:pt x="110" y="287"/>
                </a:lnTo>
                <a:lnTo>
                  <a:pt x="113" y="287"/>
                </a:lnTo>
                <a:lnTo>
                  <a:pt x="113" y="290"/>
                </a:lnTo>
                <a:lnTo>
                  <a:pt x="110" y="294"/>
                </a:lnTo>
                <a:lnTo>
                  <a:pt x="119" y="297"/>
                </a:lnTo>
                <a:lnTo>
                  <a:pt x="125" y="300"/>
                </a:lnTo>
                <a:lnTo>
                  <a:pt x="125" y="303"/>
                </a:lnTo>
                <a:lnTo>
                  <a:pt x="128" y="306"/>
                </a:lnTo>
                <a:lnTo>
                  <a:pt x="132" y="306"/>
                </a:lnTo>
                <a:lnTo>
                  <a:pt x="132" y="309"/>
                </a:lnTo>
                <a:lnTo>
                  <a:pt x="135" y="312"/>
                </a:lnTo>
                <a:lnTo>
                  <a:pt x="135" y="316"/>
                </a:lnTo>
                <a:lnTo>
                  <a:pt x="141" y="312"/>
                </a:lnTo>
                <a:lnTo>
                  <a:pt x="144" y="312"/>
                </a:lnTo>
                <a:lnTo>
                  <a:pt x="144" y="316"/>
                </a:lnTo>
                <a:lnTo>
                  <a:pt x="147" y="319"/>
                </a:lnTo>
                <a:lnTo>
                  <a:pt x="153" y="322"/>
                </a:lnTo>
                <a:lnTo>
                  <a:pt x="157" y="325"/>
                </a:lnTo>
                <a:lnTo>
                  <a:pt x="157" y="328"/>
                </a:lnTo>
                <a:lnTo>
                  <a:pt x="160" y="328"/>
                </a:lnTo>
                <a:lnTo>
                  <a:pt x="163" y="331"/>
                </a:lnTo>
                <a:lnTo>
                  <a:pt x="166" y="331"/>
                </a:lnTo>
                <a:lnTo>
                  <a:pt x="169" y="331"/>
                </a:lnTo>
                <a:lnTo>
                  <a:pt x="175" y="337"/>
                </a:lnTo>
                <a:lnTo>
                  <a:pt x="182" y="337"/>
                </a:lnTo>
                <a:lnTo>
                  <a:pt x="185" y="337"/>
                </a:lnTo>
                <a:lnTo>
                  <a:pt x="188" y="341"/>
                </a:lnTo>
                <a:lnTo>
                  <a:pt x="188" y="341"/>
                </a:lnTo>
                <a:lnTo>
                  <a:pt x="194" y="347"/>
                </a:lnTo>
                <a:lnTo>
                  <a:pt x="197" y="347"/>
                </a:lnTo>
                <a:lnTo>
                  <a:pt x="200" y="353"/>
                </a:lnTo>
                <a:lnTo>
                  <a:pt x="203" y="353"/>
                </a:lnTo>
                <a:lnTo>
                  <a:pt x="203" y="356"/>
                </a:lnTo>
                <a:lnTo>
                  <a:pt x="203" y="356"/>
                </a:lnTo>
                <a:lnTo>
                  <a:pt x="203" y="359"/>
                </a:lnTo>
                <a:lnTo>
                  <a:pt x="210" y="362"/>
                </a:lnTo>
                <a:lnTo>
                  <a:pt x="213" y="362"/>
                </a:lnTo>
                <a:lnTo>
                  <a:pt x="219" y="369"/>
                </a:lnTo>
                <a:lnTo>
                  <a:pt x="222" y="372"/>
                </a:lnTo>
                <a:lnTo>
                  <a:pt x="225" y="375"/>
                </a:lnTo>
                <a:lnTo>
                  <a:pt x="228" y="375"/>
                </a:lnTo>
                <a:lnTo>
                  <a:pt x="232" y="372"/>
                </a:lnTo>
                <a:lnTo>
                  <a:pt x="238" y="369"/>
                </a:lnTo>
                <a:lnTo>
                  <a:pt x="238" y="369"/>
                </a:lnTo>
                <a:lnTo>
                  <a:pt x="244" y="369"/>
                </a:lnTo>
                <a:lnTo>
                  <a:pt x="244" y="366"/>
                </a:lnTo>
                <a:lnTo>
                  <a:pt x="241" y="362"/>
                </a:lnTo>
                <a:lnTo>
                  <a:pt x="241" y="356"/>
                </a:lnTo>
                <a:lnTo>
                  <a:pt x="244" y="353"/>
                </a:lnTo>
                <a:lnTo>
                  <a:pt x="247" y="356"/>
                </a:lnTo>
                <a:lnTo>
                  <a:pt x="247" y="353"/>
                </a:lnTo>
                <a:lnTo>
                  <a:pt x="244" y="353"/>
                </a:lnTo>
                <a:lnTo>
                  <a:pt x="241" y="350"/>
                </a:lnTo>
                <a:lnTo>
                  <a:pt x="244" y="344"/>
                </a:lnTo>
                <a:lnTo>
                  <a:pt x="250" y="341"/>
                </a:lnTo>
                <a:lnTo>
                  <a:pt x="253" y="334"/>
                </a:lnTo>
                <a:lnTo>
                  <a:pt x="253" y="331"/>
                </a:lnTo>
                <a:lnTo>
                  <a:pt x="247" y="319"/>
                </a:lnTo>
                <a:lnTo>
                  <a:pt x="250" y="316"/>
                </a:lnTo>
                <a:lnTo>
                  <a:pt x="250" y="309"/>
                </a:lnTo>
                <a:lnTo>
                  <a:pt x="250" y="306"/>
                </a:lnTo>
                <a:lnTo>
                  <a:pt x="247" y="303"/>
                </a:lnTo>
                <a:lnTo>
                  <a:pt x="250" y="300"/>
                </a:lnTo>
                <a:lnTo>
                  <a:pt x="250" y="294"/>
                </a:lnTo>
                <a:lnTo>
                  <a:pt x="250" y="281"/>
                </a:lnTo>
                <a:lnTo>
                  <a:pt x="250" y="275"/>
                </a:lnTo>
                <a:lnTo>
                  <a:pt x="250" y="269"/>
                </a:lnTo>
                <a:lnTo>
                  <a:pt x="250" y="256"/>
                </a:lnTo>
                <a:lnTo>
                  <a:pt x="253" y="250"/>
                </a:lnTo>
                <a:lnTo>
                  <a:pt x="253" y="247"/>
                </a:lnTo>
                <a:lnTo>
                  <a:pt x="238" y="222"/>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6" name="Freeform 194">
            <a:extLst>
              <a:ext uri="{FF2B5EF4-FFF2-40B4-BE49-F238E27FC236}">
                <a16:creationId xmlns:a16="http://schemas.microsoft.com/office/drawing/2014/main" id="{84F21FE4-DAC7-1475-3D86-0152371FB15B}"/>
              </a:ext>
            </a:extLst>
          </p:cNvPr>
          <p:cNvSpPr>
            <a:spLocks/>
          </p:cNvSpPr>
          <p:nvPr userDrawn="1"/>
        </p:nvSpPr>
        <p:spPr bwMode="auto">
          <a:xfrm>
            <a:off x="8892594" y="10003709"/>
            <a:ext cx="774652" cy="873126"/>
          </a:xfrm>
          <a:custGeom>
            <a:avLst/>
            <a:gdLst>
              <a:gd name="T0" fmla="*/ 234 w 244"/>
              <a:gd name="T1" fmla="*/ 203 h 275"/>
              <a:gd name="T2" fmla="*/ 231 w 244"/>
              <a:gd name="T3" fmla="*/ 156 h 275"/>
              <a:gd name="T4" fmla="*/ 222 w 244"/>
              <a:gd name="T5" fmla="*/ 131 h 275"/>
              <a:gd name="T6" fmla="*/ 181 w 244"/>
              <a:gd name="T7" fmla="*/ 109 h 275"/>
              <a:gd name="T8" fmla="*/ 181 w 244"/>
              <a:gd name="T9" fmla="*/ 90 h 275"/>
              <a:gd name="T10" fmla="*/ 159 w 244"/>
              <a:gd name="T11" fmla="*/ 81 h 275"/>
              <a:gd name="T12" fmla="*/ 150 w 244"/>
              <a:gd name="T13" fmla="*/ 71 h 275"/>
              <a:gd name="T14" fmla="*/ 134 w 244"/>
              <a:gd name="T15" fmla="*/ 68 h 275"/>
              <a:gd name="T16" fmla="*/ 115 w 244"/>
              <a:gd name="T17" fmla="*/ 56 h 275"/>
              <a:gd name="T18" fmla="*/ 100 w 244"/>
              <a:gd name="T19" fmla="*/ 56 h 275"/>
              <a:gd name="T20" fmla="*/ 87 w 244"/>
              <a:gd name="T21" fmla="*/ 43 h 275"/>
              <a:gd name="T22" fmla="*/ 81 w 244"/>
              <a:gd name="T23" fmla="*/ 28 h 275"/>
              <a:gd name="T24" fmla="*/ 81 w 244"/>
              <a:gd name="T25" fmla="*/ 9 h 275"/>
              <a:gd name="T26" fmla="*/ 75 w 244"/>
              <a:gd name="T27" fmla="*/ 3 h 275"/>
              <a:gd name="T28" fmla="*/ 59 w 244"/>
              <a:gd name="T29" fmla="*/ 3 h 275"/>
              <a:gd name="T30" fmla="*/ 40 w 244"/>
              <a:gd name="T31" fmla="*/ 21 h 275"/>
              <a:gd name="T32" fmla="*/ 25 w 244"/>
              <a:gd name="T33" fmla="*/ 25 h 275"/>
              <a:gd name="T34" fmla="*/ 12 w 244"/>
              <a:gd name="T35" fmla="*/ 28 h 275"/>
              <a:gd name="T36" fmla="*/ 15 w 244"/>
              <a:gd name="T37" fmla="*/ 56 h 275"/>
              <a:gd name="T38" fmla="*/ 12 w 244"/>
              <a:gd name="T39" fmla="*/ 81 h 275"/>
              <a:gd name="T40" fmla="*/ 12 w 244"/>
              <a:gd name="T41" fmla="*/ 106 h 275"/>
              <a:gd name="T42" fmla="*/ 12 w 244"/>
              <a:gd name="T43" fmla="*/ 115 h 275"/>
              <a:gd name="T44" fmla="*/ 15 w 244"/>
              <a:gd name="T45" fmla="*/ 137 h 275"/>
              <a:gd name="T46" fmla="*/ 6 w 244"/>
              <a:gd name="T47" fmla="*/ 150 h 275"/>
              <a:gd name="T48" fmla="*/ 9 w 244"/>
              <a:gd name="T49" fmla="*/ 159 h 275"/>
              <a:gd name="T50" fmla="*/ 9 w 244"/>
              <a:gd name="T51" fmla="*/ 165 h 275"/>
              <a:gd name="T52" fmla="*/ 15 w 244"/>
              <a:gd name="T53" fmla="*/ 175 h 275"/>
              <a:gd name="T54" fmla="*/ 19 w 244"/>
              <a:gd name="T55" fmla="*/ 187 h 275"/>
              <a:gd name="T56" fmla="*/ 31 w 244"/>
              <a:gd name="T57" fmla="*/ 203 h 275"/>
              <a:gd name="T58" fmla="*/ 25 w 244"/>
              <a:gd name="T59" fmla="*/ 222 h 275"/>
              <a:gd name="T60" fmla="*/ 53 w 244"/>
              <a:gd name="T61" fmla="*/ 275 h 275"/>
              <a:gd name="T62" fmla="*/ 62 w 244"/>
              <a:gd name="T63" fmla="*/ 272 h 275"/>
              <a:gd name="T64" fmla="*/ 69 w 244"/>
              <a:gd name="T65" fmla="*/ 262 h 275"/>
              <a:gd name="T66" fmla="*/ 84 w 244"/>
              <a:gd name="T67" fmla="*/ 256 h 275"/>
              <a:gd name="T68" fmla="*/ 100 w 244"/>
              <a:gd name="T69" fmla="*/ 256 h 275"/>
              <a:gd name="T70" fmla="*/ 109 w 244"/>
              <a:gd name="T71" fmla="*/ 259 h 275"/>
              <a:gd name="T72" fmla="*/ 115 w 244"/>
              <a:gd name="T73" fmla="*/ 269 h 275"/>
              <a:gd name="T74" fmla="*/ 119 w 244"/>
              <a:gd name="T75" fmla="*/ 256 h 275"/>
              <a:gd name="T76" fmla="*/ 144 w 244"/>
              <a:gd name="T77" fmla="*/ 253 h 275"/>
              <a:gd name="T78" fmla="*/ 153 w 244"/>
              <a:gd name="T79" fmla="*/ 240 h 275"/>
              <a:gd name="T80" fmla="*/ 150 w 244"/>
              <a:gd name="T81" fmla="*/ 225 h 275"/>
              <a:gd name="T82" fmla="*/ 159 w 244"/>
              <a:gd name="T83" fmla="*/ 206 h 275"/>
              <a:gd name="T84" fmla="*/ 212 w 244"/>
              <a:gd name="T85" fmla="*/ 197 h 275"/>
              <a:gd name="T86" fmla="*/ 231 w 244"/>
              <a:gd name="T87" fmla="*/ 20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4" h="275">
                <a:moveTo>
                  <a:pt x="231" y="209"/>
                </a:moveTo>
                <a:lnTo>
                  <a:pt x="234" y="203"/>
                </a:lnTo>
                <a:lnTo>
                  <a:pt x="234" y="203"/>
                </a:lnTo>
                <a:lnTo>
                  <a:pt x="244" y="181"/>
                </a:lnTo>
                <a:lnTo>
                  <a:pt x="244" y="172"/>
                </a:lnTo>
                <a:lnTo>
                  <a:pt x="231" y="156"/>
                </a:lnTo>
                <a:lnTo>
                  <a:pt x="222" y="153"/>
                </a:lnTo>
                <a:lnTo>
                  <a:pt x="222" y="143"/>
                </a:lnTo>
                <a:lnTo>
                  <a:pt x="222" y="131"/>
                </a:lnTo>
                <a:lnTo>
                  <a:pt x="187" y="131"/>
                </a:lnTo>
                <a:lnTo>
                  <a:pt x="187" y="122"/>
                </a:lnTo>
                <a:lnTo>
                  <a:pt x="181" y="109"/>
                </a:lnTo>
                <a:lnTo>
                  <a:pt x="181" y="106"/>
                </a:lnTo>
                <a:lnTo>
                  <a:pt x="181" y="96"/>
                </a:lnTo>
                <a:lnTo>
                  <a:pt x="181" y="90"/>
                </a:lnTo>
                <a:lnTo>
                  <a:pt x="181" y="84"/>
                </a:lnTo>
                <a:lnTo>
                  <a:pt x="172" y="81"/>
                </a:lnTo>
                <a:lnTo>
                  <a:pt x="159" y="81"/>
                </a:lnTo>
                <a:lnTo>
                  <a:pt x="156" y="78"/>
                </a:lnTo>
                <a:lnTo>
                  <a:pt x="153" y="78"/>
                </a:lnTo>
                <a:lnTo>
                  <a:pt x="150" y="71"/>
                </a:lnTo>
                <a:lnTo>
                  <a:pt x="144" y="71"/>
                </a:lnTo>
                <a:lnTo>
                  <a:pt x="137" y="68"/>
                </a:lnTo>
                <a:lnTo>
                  <a:pt x="134" y="68"/>
                </a:lnTo>
                <a:lnTo>
                  <a:pt x="125" y="59"/>
                </a:lnTo>
                <a:lnTo>
                  <a:pt x="122" y="62"/>
                </a:lnTo>
                <a:lnTo>
                  <a:pt x="115" y="56"/>
                </a:lnTo>
                <a:lnTo>
                  <a:pt x="106" y="56"/>
                </a:lnTo>
                <a:lnTo>
                  <a:pt x="106" y="59"/>
                </a:lnTo>
                <a:lnTo>
                  <a:pt x="100" y="56"/>
                </a:lnTo>
                <a:lnTo>
                  <a:pt x="94" y="50"/>
                </a:lnTo>
                <a:lnTo>
                  <a:pt x="90" y="50"/>
                </a:lnTo>
                <a:lnTo>
                  <a:pt x="87" y="43"/>
                </a:lnTo>
                <a:lnTo>
                  <a:pt x="84" y="40"/>
                </a:lnTo>
                <a:lnTo>
                  <a:pt x="81" y="34"/>
                </a:lnTo>
                <a:lnTo>
                  <a:pt x="81" y="28"/>
                </a:lnTo>
                <a:lnTo>
                  <a:pt x="78" y="21"/>
                </a:lnTo>
                <a:lnTo>
                  <a:pt x="81" y="15"/>
                </a:lnTo>
                <a:lnTo>
                  <a:pt x="81" y="9"/>
                </a:lnTo>
                <a:lnTo>
                  <a:pt x="81" y="3"/>
                </a:lnTo>
                <a:lnTo>
                  <a:pt x="78" y="0"/>
                </a:lnTo>
                <a:lnTo>
                  <a:pt x="75" y="3"/>
                </a:lnTo>
                <a:lnTo>
                  <a:pt x="69" y="0"/>
                </a:lnTo>
                <a:lnTo>
                  <a:pt x="65" y="0"/>
                </a:lnTo>
                <a:lnTo>
                  <a:pt x="59" y="3"/>
                </a:lnTo>
                <a:lnTo>
                  <a:pt x="53" y="6"/>
                </a:lnTo>
                <a:lnTo>
                  <a:pt x="44" y="12"/>
                </a:lnTo>
                <a:lnTo>
                  <a:pt x="40" y="21"/>
                </a:lnTo>
                <a:lnTo>
                  <a:pt x="34" y="21"/>
                </a:lnTo>
                <a:lnTo>
                  <a:pt x="31" y="21"/>
                </a:lnTo>
                <a:lnTo>
                  <a:pt x="25" y="25"/>
                </a:lnTo>
                <a:lnTo>
                  <a:pt x="22" y="25"/>
                </a:lnTo>
                <a:lnTo>
                  <a:pt x="15" y="28"/>
                </a:lnTo>
                <a:lnTo>
                  <a:pt x="12" y="28"/>
                </a:lnTo>
                <a:lnTo>
                  <a:pt x="0" y="28"/>
                </a:lnTo>
                <a:lnTo>
                  <a:pt x="15" y="53"/>
                </a:lnTo>
                <a:lnTo>
                  <a:pt x="15" y="56"/>
                </a:lnTo>
                <a:lnTo>
                  <a:pt x="12" y="62"/>
                </a:lnTo>
                <a:lnTo>
                  <a:pt x="12" y="75"/>
                </a:lnTo>
                <a:lnTo>
                  <a:pt x="12" y="81"/>
                </a:lnTo>
                <a:lnTo>
                  <a:pt x="12" y="87"/>
                </a:lnTo>
                <a:lnTo>
                  <a:pt x="12" y="100"/>
                </a:lnTo>
                <a:lnTo>
                  <a:pt x="12" y="106"/>
                </a:lnTo>
                <a:lnTo>
                  <a:pt x="9" y="109"/>
                </a:lnTo>
                <a:lnTo>
                  <a:pt x="12" y="112"/>
                </a:lnTo>
                <a:lnTo>
                  <a:pt x="12" y="115"/>
                </a:lnTo>
                <a:lnTo>
                  <a:pt x="12" y="122"/>
                </a:lnTo>
                <a:lnTo>
                  <a:pt x="9" y="125"/>
                </a:lnTo>
                <a:lnTo>
                  <a:pt x="15" y="137"/>
                </a:lnTo>
                <a:lnTo>
                  <a:pt x="15" y="140"/>
                </a:lnTo>
                <a:lnTo>
                  <a:pt x="12" y="147"/>
                </a:lnTo>
                <a:lnTo>
                  <a:pt x="6" y="150"/>
                </a:lnTo>
                <a:lnTo>
                  <a:pt x="3" y="156"/>
                </a:lnTo>
                <a:lnTo>
                  <a:pt x="6" y="159"/>
                </a:lnTo>
                <a:lnTo>
                  <a:pt x="9" y="159"/>
                </a:lnTo>
                <a:lnTo>
                  <a:pt x="9" y="162"/>
                </a:lnTo>
                <a:lnTo>
                  <a:pt x="9" y="162"/>
                </a:lnTo>
                <a:lnTo>
                  <a:pt x="9" y="165"/>
                </a:lnTo>
                <a:lnTo>
                  <a:pt x="15" y="168"/>
                </a:lnTo>
                <a:lnTo>
                  <a:pt x="15" y="172"/>
                </a:lnTo>
                <a:lnTo>
                  <a:pt x="15" y="175"/>
                </a:lnTo>
                <a:lnTo>
                  <a:pt x="15" y="178"/>
                </a:lnTo>
                <a:lnTo>
                  <a:pt x="15" y="181"/>
                </a:lnTo>
                <a:lnTo>
                  <a:pt x="19" y="187"/>
                </a:lnTo>
                <a:lnTo>
                  <a:pt x="22" y="193"/>
                </a:lnTo>
                <a:lnTo>
                  <a:pt x="31" y="200"/>
                </a:lnTo>
                <a:lnTo>
                  <a:pt x="31" y="203"/>
                </a:lnTo>
                <a:lnTo>
                  <a:pt x="28" y="209"/>
                </a:lnTo>
                <a:lnTo>
                  <a:pt x="31" y="212"/>
                </a:lnTo>
                <a:lnTo>
                  <a:pt x="25" y="222"/>
                </a:lnTo>
                <a:lnTo>
                  <a:pt x="28" y="228"/>
                </a:lnTo>
                <a:lnTo>
                  <a:pt x="37" y="237"/>
                </a:lnTo>
                <a:lnTo>
                  <a:pt x="53" y="275"/>
                </a:lnTo>
                <a:lnTo>
                  <a:pt x="56" y="275"/>
                </a:lnTo>
                <a:lnTo>
                  <a:pt x="59" y="272"/>
                </a:lnTo>
                <a:lnTo>
                  <a:pt x="62" y="272"/>
                </a:lnTo>
                <a:lnTo>
                  <a:pt x="62" y="272"/>
                </a:lnTo>
                <a:lnTo>
                  <a:pt x="65" y="269"/>
                </a:lnTo>
                <a:lnTo>
                  <a:pt x="69" y="262"/>
                </a:lnTo>
                <a:lnTo>
                  <a:pt x="75" y="253"/>
                </a:lnTo>
                <a:lnTo>
                  <a:pt x="81" y="253"/>
                </a:lnTo>
                <a:lnTo>
                  <a:pt x="84" y="256"/>
                </a:lnTo>
                <a:lnTo>
                  <a:pt x="90" y="256"/>
                </a:lnTo>
                <a:lnTo>
                  <a:pt x="94" y="256"/>
                </a:lnTo>
                <a:lnTo>
                  <a:pt x="100" y="256"/>
                </a:lnTo>
                <a:lnTo>
                  <a:pt x="106" y="253"/>
                </a:lnTo>
                <a:lnTo>
                  <a:pt x="109" y="256"/>
                </a:lnTo>
                <a:lnTo>
                  <a:pt x="109" y="259"/>
                </a:lnTo>
                <a:lnTo>
                  <a:pt x="112" y="269"/>
                </a:lnTo>
                <a:lnTo>
                  <a:pt x="115" y="272"/>
                </a:lnTo>
                <a:lnTo>
                  <a:pt x="115" y="269"/>
                </a:lnTo>
                <a:lnTo>
                  <a:pt x="115" y="265"/>
                </a:lnTo>
                <a:lnTo>
                  <a:pt x="119" y="262"/>
                </a:lnTo>
                <a:lnTo>
                  <a:pt x="119" y="256"/>
                </a:lnTo>
                <a:lnTo>
                  <a:pt x="122" y="253"/>
                </a:lnTo>
                <a:lnTo>
                  <a:pt x="131" y="253"/>
                </a:lnTo>
                <a:lnTo>
                  <a:pt x="144" y="253"/>
                </a:lnTo>
                <a:lnTo>
                  <a:pt x="147" y="256"/>
                </a:lnTo>
                <a:lnTo>
                  <a:pt x="147" y="250"/>
                </a:lnTo>
                <a:lnTo>
                  <a:pt x="153" y="240"/>
                </a:lnTo>
                <a:lnTo>
                  <a:pt x="153" y="234"/>
                </a:lnTo>
                <a:lnTo>
                  <a:pt x="153" y="228"/>
                </a:lnTo>
                <a:lnTo>
                  <a:pt x="150" y="225"/>
                </a:lnTo>
                <a:lnTo>
                  <a:pt x="156" y="215"/>
                </a:lnTo>
                <a:lnTo>
                  <a:pt x="159" y="209"/>
                </a:lnTo>
                <a:lnTo>
                  <a:pt x="159" y="206"/>
                </a:lnTo>
                <a:lnTo>
                  <a:pt x="165" y="203"/>
                </a:lnTo>
                <a:lnTo>
                  <a:pt x="190" y="197"/>
                </a:lnTo>
                <a:lnTo>
                  <a:pt x="212" y="197"/>
                </a:lnTo>
                <a:lnTo>
                  <a:pt x="225" y="206"/>
                </a:lnTo>
                <a:lnTo>
                  <a:pt x="228" y="206"/>
                </a:lnTo>
                <a:lnTo>
                  <a:pt x="231" y="20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7" name="Freeform 195">
            <a:extLst>
              <a:ext uri="{FF2B5EF4-FFF2-40B4-BE49-F238E27FC236}">
                <a16:creationId xmlns:a16="http://schemas.microsoft.com/office/drawing/2014/main" id="{A76EBC4B-BCBC-7308-665D-33E1342228B7}"/>
              </a:ext>
            </a:extLst>
          </p:cNvPr>
          <p:cNvSpPr>
            <a:spLocks/>
          </p:cNvSpPr>
          <p:nvPr userDrawn="1"/>
        </p:nvSpPr>
        <p:spPr bwMode="auto">
          <a:xfrm>
            <a:off x="9359287" y="10629183"/>
            <a:ext cx="536541" cy="555626"/>
          </a:xfrm>
          <a:custGeom>
            <a:avLst/>
            <a:gdLst>
              <a:gd name="T0" fmla="*/ 0 w 169"/>
              <a:gd name="T1" fmla="*/ 53 h 175"/>
              <a:gd name="T2" fmla="*/ 6 w 169"/>
              <a:gd name="T3" fmla="*/ 37 h 175"/>
              <a:gd name="T4" fmla="*/ 3 w 169"/>
              <a:gd name="T5" fmla="*/ 28 h 175"/>
              <a:gd name="T6" fmla="*/ 12 w 169"/>
              <a:gd name="T7" fmla="*/ 12 h 175"/>
              <a:gd name="T8" fmla="*/ 18 w 169"/>
              <a:gd name="T9" fmla="*/ 6 h 175"/>
              <a:gd name="T10" fmla="*/ 65 w 169"/>
              <a:gd name="T11" fmla="*/ 0 h 175"/>
              <a:gd name="T12" fmla="*/ 81 w 169"/>
              <a:gd name="T13" fmla="*/ 9 h 175"/>
              <a:gd name="T14" fmla="*/ 84 w 169"/>
              <a:gd name="T15" fmla="*/ 18 h 175"/>
              <a:gd name="T16" fmla="*/ 90 w 169"/>
              <a:gd name="T17" fmla="*/ 28 h 175"/>
              <a:gd name="T18" fmla="*/ 94 w 169"/>
              <a:gd name="T19" fmla="*/ 43 h 175"/>
              <a:gd name="T20" fmla="*/ 94 w 169"/>
              <a:gd name="T21" fmla="*/ 53 h 175"/>
              <a:gd name="T22" fmla="*/ 100 w 169"/>
              <a:gd name="T23" fmla="*/ 59 h 175"/>
              <a:gd name="T24" fmla="*/ 112 w 169"/>
              <a:gd name="T25" fmla="*/ 59 h 175"/>
              <a:gd name="T26" fmla="*/ 128 w 169"/>
              <a:gd name="T27" fmla="*/ 56 h 175"/>
              <a:gd name="T28" fmla="*/ 137 w 169"/>
              <a:gd name="T29" fmla="*/ 62 h 175"/>
              <a:gd name="T30" fmla="*/ 144 w 169"/>
              <a:gd name="T31" fmla="*/ 87 h 175"/>
              <a:gd name="T32" fmla="*/ 150 w 169"/>
              <a:gd name="T33" fmla="*/ 97 h 175"/>
              <a:gd name="T34" fmla="*/ 162 w 169"/>
              <a:gd name="T35" fmla="*/ 93 h 175"/>
              <a:gd name="T36" fmla="*/ 169 w 169"/>
              <a:gd name="T37" fmla="*/ 97 h 175"/>
              <a:gd name="T38" fmla="*/ 165 w 169"/>
              <a:gd name="T39" fmla="*/ 118 h 175"/>
              <a:gd name="T40" fmla="*/ 162 w 169"/>
              <a:gd name="T41" fmla="*/ 122 h 175"/>
              <a:gd name="T42" fmla="*/ 162 w 169"/>
              <a:gd name="T43" fmla="*/ 125 h 175"/>
              <a:gd name="T44" fmla="*/ 162 w 169"/>
              <a:gd name="T45" fmla="*/ 128 h 175"/>
              <a:gd name="T46" fmla="*/ 162 w 169"/>
              <a:gd name="T47" fmla="*/ 137 h 175"/>
              <a:gd name="T48" fmla="*/ 159 w 169"/>
              <a:gd name="T49" fmla="*/ 147 h 175"/>
              <a:gd name="T50" fmla="*/ 153 w 169"/>
              <a:gd name="T51" fmla="*/ 156 h 175"/>
              <a:gd name="T52" fmla="*/ 144 w 169"/>
              <a:gd name="T53" fmla="*/ 165 h 175"/>
              <a:gd name="T54" fmla="*/ 137 w 169"/>
              <a:gd name="T55" fmla="*/ 169 h 175"/>
              <a:gd name="T56" fmla="*/ 131 w 169"/>
              <a:gd name="T57" fmla="*/ 175 h 175"/>
              <a:gd name="T58" fmla="*/ 125 w 169"/>
              <a:gd name="T59" fmla="*/ 175 h 175"/>
              <a:gd name="T60" fmla="*/ 112 w 169"/>
              <a:gd name="T61" fmla="*/ 172 h 175"/>
              <a:gd name="T62" fmla="*/ 87 w 169"/>
              <a:gd name="T63" fmla="*/ 169 h 175"/>
              <a:gd name="T64" fmla="*/ 84 w 169"/>
              <a:gd name="T65" fmla="*/ 165 h 175"/>
              <a:gd name="T66" fmla="*/ 94 w 169"/>
              <a:gd name="T67" fmla="*/ 150 h 175"/>
              <a:gd name="T68" fmla="*/ 94 w 169"/>
              <a:gd name="T69" fmla="*/ 144 h 175"/>
              <a:gd name="T70" fmla="*/ 103 w 169"/>
              <a:gd name="T71" fmla="*/ 137 h 175"/>
              <a:gd name="T72" fmla="*/ 100 w 169"/>
              <a:gd name="T73" fmla="*/ 128 h 175"/>
              <a:gd name="T74" fmla="*/ 90 w 169"/>
              <a:gd name="T75" fmla="*/ 118 h 175"/>
              <a:gd name="T76" fmla="*/ 68 w 169"/>
              <a:gd name="T77" fmla="*/ 112 h 175"/>
              <a:gd name="T78" fmla="*/ 56 w 169"/>
              <a:gd name="T79" fmla="*/ 103 h 175"/>
              <a:gd name="T80" fmla="*/ 37 w 169"/>
              <a:gd name="T81" fmla="*/ 97 h 175"/>
              <a:gd name="T82" fmla="*/ 31 w 169"/>
              <a:gd name="T83" fmla="*/ 87 h 175"/>
              <a:gd name="T84" fmla="*/ 12 w 169"/>
              <a:gd name="T85" fmla="*/ 75 h 175"/>
              <a:gd name="T86" fmla="*/ 3 w 169"/>
              <a:gd name="T87" fmla="*/ 65 h 175"/>
              <a:gd name="T88" fmla="*/ 0 w 169"/>
              <a:gd name="T89" fmla="*/ 5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9" h="175">
                <a:moveTo>
                  <a:pt x="0" y="59"/>
                </a:moveTo>
                <a:lnTo>
                  <a:pt x="0" y="53"/>
                </a:lnTo>
                <a:lnTo>
                  <a:pt x="6" y="43"/>
                </a:lnTo>
                <a:lnTo>
                  <a:pt x="6" y="37"/>
                </a:lnTo>
                <a:lnTo>
                  <a:pt x="6" y="31"/>
                </a:lnTo>
                <a:lnTo>
                  <a:pt x="3" y="28"/>
                </a:lnTo>
                <a:lnTo>
                  <a:pt x="9" y="18"/>
                </a:lnTo>
                <a:lnTo>
                  <a:pt x="12" y="12"/>
                </a:lnTo>
                <a:lnTo>
                  <a:pt x="12" y="9"/>
                </a:lnTo>
                <a:lnTo>
                  <a:pt x="18" y="6"/>
                </a:lnTo>
                <a:lnTo>
                  <a:pt x="43" y="0"/>
                </a:lnTo>
                <a:lnTo>
                  <a:pt x="65" y="0"/>
                </a:lnTo>
                <a:lnTo>
                  <a:pt x="78" y="9"/>
                </a:lnTo>
                <a:lnTo>
                  <a:pt x="81" y="9"/>
                </a:lnTo>
                <a:lnTo>
                  <a:pt x="87" y="12"/>
                </a:lnTo>
                <a:lnTo>
                  <a:pt x="84" y="18"/>
                </a:lnTo>
                <a:lnTo>
                  <a:pt x="90" y="21"/>
                </a:lnTo>
                <a:lnTo>
                  <a:pt x="90" y="28"/>
                </a:lnTo>
                <a:lnTo>
                  <a:pt x="94" y="34"/>
                </a:lnTo>
                <a:lnTo>
                  <a:pt x="94" y="43"/>
                </a:lnTo>
                <a:lnTo>
                  <a:pt x="94" y="50"/>
                </a:lnTo>
                <a:lnTo>
                  <a:pt x="94" y="53"/>
                </a:lnTo>
                <a:lnTo>
                  <a:pt x="94" y="59"/>
                </a:lnTo>
                <a:lnTo>
                  <a:pt x="100" y="59"/>
                </a:lnTo>
                <a:lnTo>
                  <a:pt x="103" y="59"/>
                </a:lnTo>
                <a:lnTo>
                  <a:pt x="112" y="59"/>
                </a:lnTo>
                <a:lnTo>
                  <a:pt x="119" y="59"/>
                </a:lnTo>
                <a:lnTo>
                  <a:pt x="128" y="56"/>
                </a:lnTo>
                <a:lnTo>
                  <a:pt x="134" y="59"/>
                </a:lnTo>
                <a:lnTo>
                  <a:pt x="137" y="62"/>
                </a:lnTo>
                <a:lnTo>
                  <a:pt x="137" y="65"/>
                </a:lnTo>
                <a:lnTo>
                  <a:pt x="144" y="87"/>
                </a:lnTo>
                <a:lnTo>
                  <a:pt x="147" y="93"/>
                </a:lnTo>
                <a:lnTo>
                  <a:pt x="150" y="97"/>
                </a:lnTo>
                <a:lnTo>
                  <a:pt x="156" y="90"/>
                </a:lnTo>
                <a:lnTo>
                  <a:pt x="162" y="93"/>
                </a:lnTo>
                <a:lnTo>
                  <a:pt x="165" y="97"/>
                </a:lnTo>
                <a:lnTo>
                  <a:pt x="169" y="97"/>
                </a:lnTo>
                <a:lnTo>
                  <a:pt x="165" y="100"/>
                </a:lnTo>
                <a:lnTo>
                  <a:pt x="165" y="118"/>
                </a:lnTo>
                <a:lnTo>
                  <a:pt x="165" y="122"/>
                </a:lnTo>
                <a:lnTo>
                  <a:pt x="162" y="122"/>
                </a:lnTo>
                <a:lnTo>
                  <a:pt x="162" y="125"/>
                </a:lnTo>
                <a:lnTo>
                  <a:pt x="162" y="125"/>
                </a:lnTo>
                <a:lnTo>
                  <a:pt x="162" y="128"/>
                </a:lnTo>
                <a:lnTo>
                  <a:pt x="162" y="128"/>
                </a:lnTo>
                <a:lnTo>
                  <a:pt x="162" y="134"/>
                </a:lnTo>
                <a:lnTo>
                  <a:pt x="162" y="137"/>
                </a:lnTo>
                <a:lnTo>
                  <a:pt x="162" y="144"/>
                </a:lnTo>
                <a:lnTo>
                  <a:pt x="159" y="147"/>
                </a:lnTo>
                <a:lnTo>
                  <a:pt x="156" y="150"/>
                </a:lnTo>
                <a:lnTo>
                  <a:pt x="153" y="156"/>
                </a:lnTo>
                <a:lnTo>
                  <a:pt x="147" y="162"/>
                </a:lnTo>
                <a:lnTo>
                  <a:pt x="144" y="165"/>
                </a:lnTo>
                <a:lnTo>
                  <a:pt x="140" y="172"/>
                </a:lnTo>
                <a:lnTo>
                  <a:pt x="137" y="169"/>
                </a:lnTo>
                <a:lnTo>
                  <a:pt x="134" y="172"/>
                </a:lnTo>
                <a:lnTo>
                  <a:pt x="131" y="175"/>
                </a:lnTo>
                <a:lnTo>
                  <a:pt x="128" y="175"/>
                </a:lnTo>
                <a:lnTo>
                  <a:pt x="125" y="175"/>
                </a:lnTo>
                <a:lnTo>
                  <a:pt x="122" y="175"/>
                </a:lnTo>
                <a:lnTo>
                  <a:pt x="112" y="172"/>
                </a:lnTo>
                <a:lnTo>
                  <a:pt x="103" y="169"/>
                </a:lnTo>
                <a:lnTo>
                  <a:pt x="87" y="169"/>
                </a:lnTo>
                <a:lnTo>
                  <a:pt x="84" y="169"/>
                </a:lnTo>
                <a:lnTo>
                  <a:pt x="84" y="165"/>
                </a:lnTo>
                <a:lnTo>
                  <a:pt x="90" y="159"/>
                </a:lnTo>
                <a:lnTo>
                  <a:pt x="94" y="150"/>
                </a:lnTo>
                <a:lnTo>
                  <a:pt x="94" y="147"/>
                </a:lnTo>
                <a:lnTo>
                  <a:pt x="94" y="144"/>
                </a:lnTo>
                <a:lnTo>
                  <a:pt x="100" y="140"/>
                </a:lnTo>
                <a:lnTo>
                  <a:pt x="103" y="137"/>
                </a:lnTo>
                <a:lnTo>
                  <a:pt x="103" y="131"/>
                </a:lnTo>
                <a:lnTo>
                  <a:pt x="100" y="128"/>
                </a:lnTo>
                <a:lnTo>
                  <a:pt x="94" y="122"/>
                </a:lnTo>
                <a:lnTo>
                  <a:pt x="90" y="118"/>
                </a:lnTo>
                <a:lnTo>
                  <a:pt x="78" y="115"/>
                </a:lnTo>
                <a:lnTo>
                  <a:pt x="68" y="112"/>
                </a:lnTo>
                <a:lnTo>
                  <a:pt x="62" y="103"/>
                </a:lnTo>
                <a:lnTo>
                  <a:pt x="56" y="103"/>
                </a:lnTo>
                <a:lnTo>
                  <a:pt x="50" y="100"/>
                </a:lnTo>
                <a:lnTo>
                  <a:pt x="37" y="97"/>
                </a:lnTo>
                <a:lnTo>
                  <a:pt x="34" y="90"/>
                </a:lnTo>
                <a:lnTo>
                  <a:pt x="31" y="87"/>
                </a:lnTo>
                <a:lnTo>
                  <a:pt x="25" y="87"/>
                </a:lnTo>
                <a:lnTo>
                  <a:pt x="12" y="75"/>
                </a:lnTo>
                <a:lnTo>
                  <a:pt x="9" y="65"/>
                </a:lnTo>
                <a:lnTo>
                  <a:pt x="3" y="65"/>
                </a:lnTo>
                <a:lnTo>
                  <a:pt x="0" y="59"/>
                </a:lnTo>
                <a:lnTo>
                  <a:pt x="0" y="5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8" name="Freeform 196">
            <a:extLst>
              <a:ext uri="{FF2B5EF4-FFF2-40B4-BE49-F238E27FC236}">
                <a16:creationId xmlns:a16="http://schemas.microsoft.com/office/drawing/2014/main" id="{12129FFC-58A1-ECA0-2D14-422B63CA42CA}"/>
              </a:ext>
            </a:extLst>
          </p:cNvPr>
          <p:cNvSpPr>
            <a:spLocks/>
          </p:cNvSpPr>
          <p:nvPr userDrawn="1"/>
        </p:nvSpPr>
        <p:spPr bwMode="auto">
          <a:xfrm>
            <a:off x="9686293" y="11353080"/>
            <a:ext cx="317481" cy="358776"/>
          </a:xfrm>
          <a:custGeom>
            <a:avLst/>
            <a:gdLst>
              <a:gd name="T0" fmla="*/ 12 w 100"/>
              <a:gd name="T1" fmla="*/ 3 h 113"/>
              <a:gd name="T2" fmla="*/ 25 w 100"/>
              <a:gd name="T3" fmla="*/ 0 h 113"/>
              <a:gd name="T4" fmla="*/ 34 w 100"/>
              <a:gd name="T5" fmla="*/ 9 h 113"/>
              <a:gd name="T6" fmla="*/ 41 w 100"/>
              <a:gd name="T7" fmla="*/ 16 h 113"/>
              <a:gd name="T8" fmla="*/ 47 w 100"/>
              <a:gd name="T9" fmla="*/ 25 h 113"/>
              <a:gd name="T10" fmla="*/ 53 w 100"/>
              <a:gd name="T11" fmla="*/ 19 h 113"/>
              <a:gd name="T12" fmla="*/ 62 w 100"/>
              <a:gd name="T13" fmla="*/ 28 h 113"/>
              <a:gd name="T14" fmla="*/ 72 w 100"/>
              <a:gd name="T15" fmla="*/ 34 h 113"/>
              <a:gd name="T16" fmla="*/ 75 w 100"/>
              <a:gd name="T17" fmla="*/ 41 h 113"/>
              <a:gd name="T18" fmla="*/ 87 w 100"/>
              <a:gd name="T19" fmla="*/ 50 h 113"/>
              <a:gd name="T20" fmla="*/ 97 w 100"/>
              <a:gd name="T21" fmla="*/ 59 h 113"/>
              <a:gd name="T22" fmla="*/ 94 w 100"/>
              <a:gd name="T23" fmla="*/ 69 h 113"/>
              <a:gd name="T24" fmla="*/ 94 w 100"/>
              <a:gd name="T25" fmla="*/ 78 h 113"/>
              <a:gd name="T26" fmla="*/ 97 w 100"/>
              <a:gd name="T27" fmla="*/ 81 h 113"/>
              <a:gd name="T28" fmla="*/ 97 w 100"/>
              <a:gd name="T29" fmla="*/ 84 h 113"/>
              <a:gd name="T30" fmla="*/ 94 w 100"/>
              <a:gd name="T31" fmla="*/ 94 h 113"/>
              <a:gd name="T32" fmla="*/ 87 w 100"/>
              <a:gd name="T33" fmla="*/ 100 h 113"/>
              <a:gd name="T34" fmla="*/ 87 w 100"/>
              <a:gd name="T35" fmla="*/ 103 h 113"/>
              <a:gd name="T36" fmla="*/ 75 w 100"/>
              <a:gd name="T37" fmla="*/ 109 h 113"/>
              <a:gd name="T38" fmla="*/ 72 w 100"/>
              <a:gd name="T39" fmla="*/ 109 h 113"/>
              <a:gd name="T40" fmla="*/ 72 w 100"/>
              <a:gd name="T41" fmla="*/ 113 h 113"/>
              <a:gd name="T42" fmla="*/ 66 w 100"/>
              <a:gd name="T43" fmla="*/ 113 h 113"/>
              <a:gd name="T44" fmla="*/ 59 w 100"/>
              <a:gd name="T45" fmla="*/ 109 h 113"/>
              <a:gd name="T46" fmla="*/ 50 w 100"/>
              <a:gd name="T47" fmla="*/ 109 h 113"/>
              <a:gd name="T48" fmla="*/ 44 w 100"/>
              <a:gd name="T49" fmla="*/ 113 h 113"/>
              <a:gd name="T50" fmla="*/ 44 w 100"/>
              <a:gd name="T51" fmla="*/ 109 h 113"/>
              <a:gd name="T52" fmla="*/ 41 w 100"/>
              <a:gd name="T53" fmla="*/ 109 h 113"/>
              <a:gd name="T54" fmla="*/ 31 w 100"/>
              <a:gd name="T55" fmla="*/ 103 h 113"/>
              <a:gd name="T56" fmla="*/ 19 w 100"/>
              <a:gd name="T57" fmla="*/ 103 h 113"/>
              <a:gd name="T58" fmla="*/ 9 w 100"/>
              <a:gd name="T59" fmla="*/ 100 h 113"/>
              <a:gd name="T60" fmla="*/ 3 w 100"/>
              <a:gd name="T61" fmla="*/ 91 h 113"/>
              <a:gd name="T62" fmla="*/ 0 w 100"/>
              <a:gd name="T63" fmla="*/ 75 h 113"/>
              <a:gd name="T64" fmla="*/ 0 w 100"/>
              <a:gd name="T65" fmla="*/ 72 h 113"/>
              <a:gd name="T66" fmla="*/ 3 w 100"/>
              <a:gd name="T67" fmla="*/ 66 h 113"/>
              <a:gd name="T68" fmla="*/ 0 w 100"/>
              <a:gd name="T69" fmla="*/ 53 h 113"/>
              <a:gd name="T70" fmla="*/ 0 w 100"/>
              <a:gd name="T71" fmla="*/ 44 h 113"/>
              <a:gd name="T72" fmla="*/ 3 w 100"/>
              <a:gd name="T73" fmla="*/ 38 h 113"/>
              <a:gd name="T74" fmla="*/ 3 w 100"/>
              <a:gd name="T75" fmla="*/ 25 h 113"/>
              <a:gd name="T76" fmla="*/ 6 w 100"/>
              <a:gd name="T77" fmla="*/ 19 h 113"/>
              <a:gd name="T78" fmla="*/ 6 w 100"/>
              <a:gd name="T79" fmla="*/ 6 h 113"/>
              <a:gd name="T80" fmla="*/ 9 w 100"/>
              <a:gd name="T81" fmla="*/ 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113">
                <a:moveTo>
                  <a:pt x="9" y="3"/>
                </a:moveTo>
                <a:lnTo>
                  <a:pt x="12" y="3"/>
                </a:lnTo>
                <a:lnTo>
                  <a:pt x="16" y="3"/>
                </a:lnTo>
                <a:lnTo>
                  <a:pt x="25" y="0"/>
                </a:lnTo>
                <a:lnTo>
                  <a:pt x="28" y="3"/>
                </a:lnTo>
                <a:lnTo>
                  <a:pt x="34" y="9"/>
                </a:lnTo>
                <a:lnTo>
                  <a:pt x="37" y="9"/>
                </a:lnTo>
                <a:lnTo>
                  <a:pt x="41" y="16"/>
                </a:lnTo>
                <a:lnTo>
                  <a:pt x="44" y="25"/>
                </a:lnTo>
                <a:lnTo>
                  <a:pt x="47" y="25"/>
                </a:lnTo>
                <a:lnTo>
                  <a:pt x="50" y="19"/>
                </a:lnTo>
                <a:lnTo>
                  <a:pt x="53" y="19"/>
                </a:lnTo>
                <a:lnTo>
                  <a:pt x="56" y="28"/>
                </a:lnTo>
                <a:lnTo>
                  <a:pt x="62" y="28"/>
                </a:lnTo>
                <a:lnTo>
                  <a:pt x="66" y="31"/>
                </a:lnTo>
                <a:lnTo>
                  <a:pt x="72" y="34"/>
                </a:lnTo>
                <a:lnTo>
                  <a:pt x="72" y="41"/>
                </a:lnTo>
                <a:lnTo>
                  <a:pt x="75" y="41"/>
                </a:lnTo>
                <a:lnTo>
                  <a:pt x="84" y="44"/>
                </a:lnTo>
                <a:lnTo>
                  <a:pt x="87" y="50"/>
                </a:lnTo>
                <a:lnTo>
                  <a:pt x="94" y="56"/>
                </a:lnTo>
                <a:lnTo>
                  <a:pt x="97" y="59"/>
                </a:lnTo>
                <a:lnTo>
                  <a:pt x="97" y="66"/>
                </a:lnTo>
                <a:lnTo>
                  <a:pt x="94" y="69"/>
                </a:lnTo>
                <a:lnTo>
                  <a:pt x="94" y="75"/>
                </a:lnTo>
                <a:lnTo>
                  <a:pt x="94" y="78"/>
                </a:lnTo>
                <a:lnTo>
                  <a:pt x="94" y="78"/>
                </a:lnTo>
                <a:lnTo>
                  <a:pt x="97" y="81"/>
                </a:lnTo>
                <a:lnTo>
                  <a:pt x="100" y="81"/>
                </a:lnTo>
                <a:lnTo>
                  <a:pt x="97" y="84"/>
                </a:lnTo>
                <a:lnTo>
                  <a:pt x="94" y="88"/>
                </a:lnTo>
                <a:lnTo>
                  <a:pt x="94" y="94"/>
                </a:lnTo>
                <a:lnTo>
                  <a:pt x="91" y="97"/>
                </a:lnTo>
                <a:lnTo>
                  <a:pt x="87" y="100"/>
                </a:lnTo>
                <a:lnTo>
                  <a:pt x="87" y="100"/>
                </a:lnTo>
                <a:lnTo>
                  <a:pt x="87" y="103"/>
                </a:lnTo>
                <a:lnTo>
                  <a:pt x="84" y="106"/>
                </a:lnTo>
                <a:lnTo>
                  <a:pt x="75" y="109"/>
                </a:lnTo>
                <a:lnTo>
                  <a:pt x="75" y="109"/>
                </a:lnTo>
                <a:lnTo>
                  <a:pt x="72" y="109"/>
                </a:lnTo>
                <a:lnTo>
                  <a:pt x="72" y="113"/>
                </a:lnTo>
                <a:lnTo>
                  <a:pt x="72" y="113"/>
                </a:lnTo>
                <a:lnTo>
                  <a:pt x="69" y="113"/>
                </a:lnTo>
                <a:lnTo>
                  <a:pt x="66" y="113"/>
                </a:lnTo>
                <a:lnTo>
                  <a:pt x="62" y="113"/>
                </a:lnTo>
                <a:lnTo>
                  <a:pt x="59" y="109"/>
                </a:lnTo>
                <a:lnTo>
                  <a:pt x="56" y="109"/>
                </a:lnTo>
                <a:lnTo>
                  <a:pt x="50" y="109"/>
                </a:lnTo>
                <a:lnTo>
                  <a:pt x="47" y="113"/>
                </a:lnTo>
                <a:lnTo>
                  <a:pt x="44" y="113"/>
                </a:lnTo>
                <a:lnTo>
                  <a:pt x="44" y="109"/>
                </a:lnTo>
                <a:lnTo>
                  <a:pt x="44" y="109"/>
                </a:lnTo>
                <a:lnTo>
                  <a:pt x="44" y="109"/>
                </a:lnTo>
                <a:lnTo>
                  <a:pt x="41" y="109"/>
                </a:lnTo>
                <a:lnTo>
                  <a:pt x="37" y="106"/>
                </a:lnTo>
                <a:lnTo>
                  <a:pt x="31" y="103"/>
                </a:lnTo>
                <a:lnTo>
                  <a:pt x="25" y="103"/>
                </a:lnTo>
                <a:lnTo>
                  <a:pt x="19" y="103"/>
                </a:lnTo>
                <a:lnTo>
                  <a:pt x="16" y="103"/>
                </a:lnTo>
                <a:lnTo>
                  <a:pt x="9" y="100"/>
                </a:lnTo>
                <a:lnTo>
                  <a:pt x="6" y="97"/>
                </a:lnTo>
                <a:lnTo>
                  <a:pt x="3" y="91"/>
                </a:lnTo>
                <a:lnTo>
                  <a:pt x="0" y="84"/>
                </a:lnTo>
                <a:lnTo>
                  <a:pt x="0" y="75"/>
                </a:lnTo>
                <a:lnTo>
                  <a:pt x="0" y="75"/>
                </a:lnTo>
                <a:lnTo>
                  <a:pt x="0" y="72"/>
                </a:lnTo>
                <a:lnTo>
                  <a:pt x="3" y="69"/>
                </a:lnTo>
                <a:lnTo>
                  <a:pt x="3" y="66"/>
                </a:lnTo>
                <a:lnTo>
                  <a:pt x="3" y="59"/>
                </a:lnTo>
                <a:lnTo>
                  <a:pt x="0" y="53"/>
                </a:lnTo>
                <a:lnTo>
                  <a:pt x="3" y="50"/>
                </a:lnTo>
                <a:lnTo>
                  <a:pt x="0" y="44"/>
                </a:lnTo>
                <a:lnTo>
                  <a:pt x="3" y="41"/>
                </a:lnTo>
                <a:lnTo>
                  <a:pt x="3" y="38"/>
                </a:lnTo>
                <a:lnTo>
                  <a:pt x="3" y="34"/>
                </a:lnTo>
                <a:lnTo>
                  <a:pt x="3" y="25"/>
                </a:lnTo>
                <a:lnTo>
                  <a:pt x="3" y="22"/>
                </a:lnTo>
                <a:lnTo>
                  <a:pt x="6" y="19"/>
                </a:lnTo>
                <a:lnTo>
                  <a:pt x="3" y="12"/>
                </a:lnTo>
                <a:lnTo>
                  <a:pt x="6" y="6"/>
                </a:lnTo>
                <a:lnTo>
                  <a:pt x="9" y="3"/>
                </a:lnTo>
                <a:lnTo>
                  <a:pt x="9" y="3"/>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9" name="Freeform 197">
            <a:extLst>
              <a:ext uri="{FF2B5EF4-FFF2-40B4-BE49-F238E27FC236}">
                <a16:creationId xmlns:a16="http://schemas.microsoft.com/office/drawing/2014/main" id="{D915A085-F1EA-0203-864E-78018120857D}"/>
              </a:ext>
            </a:extLst>
          </p:cNvPr>
          <p:cNvSpPr>
            <a:spLocks noEditPoints="1"/>
          </p:cNvSpPr>
          <p:nvPr userDrawn="1"/>
        </p:nvSpPr>
        <p:spPr bwMode="auto">
          <a:xfrm>
            <a:off x="8930690" y="10806983"/>
            <a:ext cx="1003237" cy="2581278"/>
          </a:xfrm>
          <a:custGeom>
            <a:avLst/>
            <a:gdLst>
              <a:gd name="T0" fmla="*/ 82 w 316"/>
              <a:gd name="T1" fmla="*/ 3 h 813"/>
              <a:gd name="T2" fmla="*/ 103 w 316"/>
              <a:gd name="T3" fmla="*/ 12 h 813"/>
              <a:gd name="T4" fmla="*/ 144 w 316"/>
              <a:gd name="T5" fmla="*/ 9 h 813"/>
              <a:gd name="T6" fmla="*/ 197 w 316"/>
              <a:gd name="T7" fmla="*/ 47 h 813"/>
              <a:gd name="T8" fmla="*/ 235 w 316"/>
              <a:gd name="T9" fmla="*/ 84 h 813"/>
              <a:gd name="T10" fmla="*/ 238 w 316"/>
              <a:gd name="T11" fmla="*/ 113 h 813"/>
              <a:gd name="T12" fmla="*/ 275 w 316"/>
              <a:gd name="T13" fmla="*/ 116 h 813"/>
              <a:gd name="T14" fmla="*/ 297 w 316"/>
              <a:gd name="T15" fmla="*/ 78 h 813"/>
              <a:gd name="T16" fmla="*/ 316 w 316"/>
              <a:gd name="T17" fmla="*/ 103 h 813"/>
              <a:gd name="T18" fmla="*/ 291 w 316"/>
              <a:gd name="T19" fmla="*/ 122 h 813"/>
              <a:gd name="T20" fmla="*/ 266 w 316"/>
              <a:gd name="T21" fmla="*/ 144 h 813"/>
              <a:gd name="T22" fmla="*/ 247 w 316"/>
              <a:gd name="T23" fmla="*/ 172 h 813"/>
              <a:gd name="T24" fmla="*/ 241 w 316"/>
              <a:gd name="T25" fmla="*/ 210 h 813"/>
              <a:gd name="T26" fmla="*/ 238 w 316"/>
              <a:gd name="T27" fmla="*/ 244 h 813"/>
              <a:gd name="T28" fmla="*/ 238 w 316"/>
              <a:gd name="T29" fmla="*/ 269 h 813"/>
              <a:gd name="T30" fmla="*/ 263 w 316"/>
              <a:gd name="T31" fmla="*/ 310 h 813"/>
              <a:gd name="T32" fmla="*/ 279 w 316"/>
              <a:gd name="T33" fmla="*/ 328 h 813"/>
              <a:gd name="T34" fmla="*/ 269 w 316"/>
              <a:gd name="T35" fmla="*/ 357 h 813"/>
              <a:gd name="T36" fmla="*/ 213 w 316"/>
              <a:gd name="T37" fmla="*/ 382 h 813"/>
              <a:gd name="T38" fmla="*/ 182 w 316"/>
              <a:gd name="T39" fmla="*/ 375 h 813"/>
              <a:gd name="T40" fmla="*/ 188 w 316"/>
              <a:gd name="T41" fmla="*/ 397 h 813"/>
              <a:gd name="T42" fmla="*/ 188 w 316"/>
              <a:gd name="T43" fmla="*/ 416 h 813"/>
              <a:gd name="T44" fmla="*/ 163 w 316"/>
              <a:gd name="T45" fmla="*/ 438 h 813"/>
              <a:gd name="T46" fmla="*/ 132 w 316"/>
              <a:gd name="T47" fmla="*/ 428 h 813"/>
              <a:gd name="T48" fmla="*/ 150 w 316"/>
              <a:gd name="T49" fmla="*/ 463 h 813"/>
              <a:gd name="T50" fmla="*/ 153 w 316"/>
              <a:gd name="T51" fmla="*/ 460 h 813"/>
              <a:gd name="T52" fmla="*/ 169 w 316"/>
              <a:gd name="T53" fmla="*/ 475 h 813"/>
              <a:gd name="T54" fmla="*/ 147 w 316"/>
              <a:gd name="T55" fmla="*/ 472 h 813"/>
              <a:gd name="T56" fmla="*/ 144 w 316"/>
              <a:gd name="T57" fmla="*/ 491 h 813"/>
              <a:gd name="T58" fmla="*/ 141 w 316"/>
              <a:gd name="T59" fmla="*/ 513 h 813"/>
              <a:gd name="T60" fmla="*/ 141 w 316"/>
              <a:gd name="T61" fmla="*/ 535 h 813"/>
              <a:gd name="T62" fmla="*/ 116 w 316"/>
              <a:gd name="T63" fmla="*/ 547 h 813"/>
              <a:gd name="T64" fmla="*/ 113 w 316"/>
              <a:gd name="T65" fmla="*/ 576 h 813"/>
              <a:gd name="T66" fmla="*/ 147 w 316"/>
              <a:gd name="T67" fmla="*/ 591 h 813"/>
              <a:gd name="T68" fmla="*/ 150 w 316"/>
              <a:gd name="T69" fmla="*/ 613 h 813"/>
              <a:gd name="T70" fmla="*/ 138 w 316"/>
              <a:gd name="T71" fmla="*/ 632 h 813"/>
              <a:gd name="T72" fmla="*/ 122 w 316"/>
              <a:gd name="T73" fmla="*/ 654 h 813"/>
              <a:gd name="T74" fmla="*/ 113 w 316"/>
              <a:gd name="T75" fmla="*/ 669 h 813"/>
              <a:gd name="T76" fmla="*/ 103 w 316"/>
              <a:gd name="T77" fmla="*/ 694 h 813"/>
              <a:gd name="T78" fmla="*/ 113 w 316"/>
              <a:gd name="T79" fmla="*/ 719 h 813"/>
              <a:gd name="T80" fmla="*/ 116 w 316"/>
              <a:gd name="T81" fmla="*/ 729 h 813"/>
              <a:gd name="T82" fmla="*/ 53 w 316"/>
              <a:gd name="T83" fmla="*/ 713 h 813"/>
              <a:gd name="T84" fmla="*/ 22 w 316"/>
              <a:gd name="T85" fmla="*/ 682 h 813"/>
              <a:gd name="T86" fmla="*/ 35 w 316"/>
              <a:gd name="T87" fmla="*/ 607 h 813"/>
              <a:gd name="T88" fmla="*/ 32 w 316"/>
              <a:gd name="T89" fmla="*/ 557 h 813"/>
              <a:gd name="T90" fmla="*/ 19 w 316"/>
              <a:gd name="T91" fmla="*/ 532 h 813"/>
              <a:gd name="T92" fmla="*/ 19 w 316"/>
              <a:gd name="T93" fmla="*/ 507 h 813"/>
              <a:gd name="T94" fmla="*/ 13 w 316"/>
              <a:gd name="T95" fmla="*/ 460 h 813"/>
              <a:gd name="T96" fmla="*/ 13 w 316"/>
              <a:gd name="T97" fmla="*/ 388 h 813"/>
              <a:gd name="T98" fmla="*/ 19 w 316"/>
              <a:gd name="T99" fmla="*/ 319 h 813"/>
              <a:gd name="T100" fmla="*/ 22 w 316"/>
              <a:gd name="T101" fmla="*/ 269 h 813"/>
              <a:gd name="T102" fmla="*/ 0 w 316"/>
              <a:gd name="T103" fmla="*/ 210 h 813"/>
              <a:gd name="T104" fmla="*/ 10 w 316"/>
              <a:gd name="T105" fmla="*/ 153 h 813"/>
              <a:gd name="T106" fmla="*/ 28 w 316"/>
              <a:gd name="T107" fmla="*/ 103 h 813"/>
              <a:gd name="T108" fmla="*/ 28 w 316"/>
              <a:gd name="T109" fmla="*/ 72 h 813"/>
              <a:gd name="T110" fmla="*/ 210 w 316"/>
              <a:gd name="T111" fmla="*/ 804 h 813"/>
              <a:gd name="T112" fmla="*/ 210 w 316"/>
              <a:gd name="T113" fmla="*/ 804 h 813"/>
              <a:gd name="T114" fmla="*/ 132 w 316"/>
              <a:gd name="T115" fmla="*/ 760 h 813"/>
              <a:gd name="T116" fmla="*/ 141 w 316"/>
              <a:gd name="T117" fmla="*/ 776 h 813"/>
              <a:gd name="T118" fmla="*/ 185 w 316"/>
              <a:gd name="T119" fmla="*/ 798 h 813"/>
              <a:gd name="T120" fmla="*/ 188 w 316"/>
              <a:gd name="T121" fmla="*/ 807 h 813"/>
              <a:gd name="T122" fmla="*/ 144 w 316"/>
              <a:gd name="T123" fmla="*/ 810 h 813"/>
              <a:gd name="T124" fmla="*/ 147 w 316"/>
              <a:gd name="T125" fmla="*/ 801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 h="813">
                <a:moveTo>
                  <a:pt x="50" y="19"/>
                </a:moveTo>
                <a:lnTo>
                  <a:pt x="53" y="16"/>
                </a:lnTo>
                <a:lnTo>
                  <a:pt x="57" y="9"/>
                </a:lnTo>
                <a:lnTo>
                  <a:pt x="63" y="0"/>
                </a:lnTo>
                <a:lnTo>
                  <a:pt x="69" y="0"/>
                </a:lnTo>
                <a:lnTo>
                  <a:pt x="72" y="3"/>
                </a:lnTo>
                <a:lnTo>
                  <a:pt x="78" y="3"/>
                </a:lnTo>
                <a:lnTo>
                  <a:pt x="82" y="3"/>
                </a:lnTo>
                <a:lnTo>
                  <a:pt x="88" y="3"/>
                </a:lnTo>
                <a:lnTo>
                  <a:pt x="94" y="0"/>
                </a:lnTo>
                <a:lnTo>
                  <a:pt x="97" y="3"/>
                </a:lnTo>
                <a:lnTo>
                  <a:pt x="97" y="6"/>
                </a:lnTo>
                <a:lnTo>
                  <a:pt x="100" y="16"/>
                </a:lnTo>
                <a:lnTo>
                  <a:pt x="103" y="19"/>
                </a:lnTo>
                <a:lnTo>
                  <a:pt x="103" y="16"/>
                </a:lnTo>
                <a:lnTo>
                  <a:pt x="103" y="12"/>
                </a:lnTo>
                <a:lnTo>
                  <a:pt x="107" y="9"/>
                </a:lnTo>
                <a:lnTo>
                  <a:pt x="107" y="3"/>
                </a:lnTo>
                <a:lnTo>
                  <a:pt x="110" y="0"/>
                </a:lnTo>
                <a:lnTo>
                  <a:pt x="119" y="0"/>
                </a:lnTo>
                <a:lnTo>
                  <a:pt x="132" y="0"/>
                </a:lnTo>
                <a:lnTo>
                  <a:pt x="135" y="3"/>
                </a:lnTo>
                <a:lnTo>
                  <a:pt x="138" y="9"/>
                </a:lnTo>
                <a:lnTo>
                  <a:pt x="144" y="9"/>
                </a:lnTo>
                <a:lnTo>
                  <a:pt x="147" y="19"/>
                </a:lnTo>
                <a:lnTo>
                  <a:pt x="160" y="31"/>
                </a:lnTo>
                <a:lnTo>
                  <a:pt x="166" y="31"/>
                </a:lnTo>
                <a:lnTo>
                  <a:pt x="169" y="34"/>
                </a:lnTo>
                <a:lnTo>
                  <a:pt x="172" y="41"/>
                </a:lnTo>
                <a:lnTo>
                  <a:pt x="185" y="44"/>
                </a:lnTo>
                <a:lnTo>
                  <a:pt x="191" y="47"/>
                </a:lnTo>
                <a:lnTo>
                  <a:pt x="197" y="47"/>
                </a:lnTo>
                <a:lnTo>
                  <a:pt x="203" y="56"/>
                </a:lnTo>
                <a:lnTo>
                  <a:pt x="213" y="59"/>
                </a:lnTo>
                <a:lnTo>
                  <a:pt x="225" y="62"/>
                </a:lnTo>
                <a:lnTo>
                  <a:pt x="229" y="66"/>
                </a:lnTo>
                <a:lnTo>
                  <a:pt x="235" y="72"/>
                </a:lnTo>
                <a:lnTo>
                  <a:pt x="238" y="75"/>
                </a:lnTo>
                <a:lnTo>
                  <a:pt x="238" y="81"/>
                </a:lnTo>
                <a:lnTo>
                  <a:pt x="235" y="84"/>
                </a:lnTo>
                <a:lnTo>
                  <a:pt x="229" y="88"/>
                </a:lnTo>
                <a:lnTo>
                  <a:pt x="229" y="91"/>
                </a:lnTo>
                <a:lnTo>
                  <a:pt x="229" y="94"/>
                </a:lnTo>
                <a:lnTo>
                  <a:pt x="225" y="103"/>
                </a:lnTo>
                <a:lnTo>
                  <a:pt x="219" y="109"/>
                </a:lnTo>
                <a:lnTo>
                  <a:pt x="219" y="113"/>
                </a:lnTo>
                <a:lnTo>
                  <a:pt x="222" y="113"/>
                </a:lnTo>
                <a:lnTo>
                  <a:pt x="238" y="113"/>
                </a:lnTo>
                <a:lnTo>
                  <a:pt x="247" y="116"/>
                </a:lnTo>
                <a:lnTo>
                  <a:pt x="257" y="119"/>
                </a:lnTo>
                <a:lnTo>
                  <a:pt x="260" y="119"/>
                </a:lnTo>
                <a:lnTo>
                  <a:pt x="263" y="119"/>
                </a:lnTo>
                <a:lnTo>
                  <a:pt x="266" y="119"/>
                </a:lnTo>
                <a:lnTo>
                  <a:pt x="269" y="116"/>
                </a:lnTo>
                <a:lnTo>
                  <a:pt x="272" y="113"/>
                </a:lnTo>
                <a:lnTo>
                  <a:pt x="275" y="116"/>
                </a:lnTo>
                <a:lnTo>
                  <a:pt x="279" y="109"/>
                </a:lnTo>
                <a:lnTo>
                  <a:pt x="282" y="106"/>
                </a:lnTo>
                <a:lnTo>
                  <a:pt x="288" y="100"/>
                </a:lnTo>
                <a:lnTo>
                  <a:pt x="291" y="94"/>
                </a:lnTo>
                <a:lnTo>
                  <a:pt x="294" y="91"/>
                </a:lnTo>
                <a:lnTo>
                  <a:pt x="297" y="88"/>
                </a:lnTo>
                <a:lnTo>
                  <a:pt x="297" y="81"/>
                </a:lnTo>
                <a:lnTo>
                  <a:pt x="297" y="78"/>
                </a:lnTo>
                <a:lnTo>
                  <a:pt x="297" y="72"/>
                </a:lnTo>
                <a:lnTo>
                  <a:pt x="300" y="69"/>
                </a:lnTo>
                <a:lnTo>
                  <a:pt x="310" y="72"/>
                </a:lnTo>
                <a:lnTo>
                  <a:pt x="310" y="75"/>
                </a:lnTo>
                <a:lnTo>
                  <a:pt x="316" y="84"/>
                </a:lnTo>
                <a:lnTo>
                  <a:pt x="313" y="91"/>
                </a:lnTo>
                <a:lnTo>
                  <a:pt x="316" y="97"/>
                </a:lnTo>
                <a:lnTo>
                  <a:pt x="316" y="103"/>
                </a:lnTo>
                <a:lnTo>
                  <a:pt x="316" y="106"/>
                </a:lnTo>
                <a:lnTo>
                  <a:pt x="310" y="106"/>
                </a:lnTo>
                <a:lnTo>
                  <a:pt x="307" y="109"/>
                </a:lnTo>
                <a:lnTo>
                  <a:pt x="307" y="113"/>
                </a:lnTo>
                <a:lnTo>
                  <a:pt x="304" y="113"/>
                </a:lnTo>
                <a:lnTo>
                  <a:pt x="300" y="113"/>
                </a:lnTo>
                <a:lnTo>
                  <a:pt x="294" y="119"/>
                </a:lnTo>
                <a:lnTo>
                  <a:pt x="291" y="122"/>
                </a:lnTo>
                <a:lnTo>
                  <a:pt x="288" y="122"/>
                </a:lnTo>
                <a:lnTo>
                  <a:pt x="282" y="128"/>
                </a:lnTo>
                <a:lnTo>
                  <a:pt x="279" y="128"/>
                </a:lnTo>
                <a:lnTo>
                  <a:pt x="279" y="134"/>
                </a:lnTo>
                <a:lnTo>
                  <a:pt x="275" y="134"/>
                </a:lnTo>
                <a:lnTo>
                  <a:pt x="272" y="134"/>
                </a:lnTo>
                <a:lnTo>
                  <a:pt x="266" y="141"/>
                </a:lnTo>
                <a:lnTo>
                  <a:pt x="266" y="144"/>
                </a:lnTo>
                <a:lnTo>
                  <a:pt x="266" y="150"/>
                </a:lnTo>
                <a:lnTo>
                  <a:pt x="263" y="150"/>
                </a:lnTo>
                <a:lnTo>
                  <a:pt x="263" y="153"/>
                </a:lnTo>
                <a:lnTo>
                  <a:pt x="257" y="159"/>
                </a:lnTo>
                <a:lnTo>
                  <a:pt x="254" y="163"/>
                </a:lnTo>
                <a:lnTo>
                  <a:pt x="250" y="169"/>
                </a:lnTo>
                <a:lnTo>
                  <a:pt x="250" y="169"/>
                </a:lnTo>
                <a:lnTo>
                  <a:pt x="247" y="172"/>
                </a:lnTo>
                <a:lnTo>
                  <a:pt x="247" y="175"/>
                </a:lnTo>
                <a:lnTo>
                  <a:pt x="244" y="178"/>
                </a:lnTo>
                <a:lnTo>
                  <a:pt x="241" y="184"/>
                </a:lnTo>
                <a:lnTo>
                  <a:pt x="244" y="191"/>
                </a:lnTo>
                <a:lnTo>
                  <a:pt x="241" y="194"/>
                </a:lnTo>
                <a:lnTo>
                  <a:pt x="241" y="197"/>
                </a:lnTo>
                <a:lnTo>
                  <a:pt x="241" y="206"/>
                </a:lnTo>
                <a:lnTo>
                  <a:pt x="241" y="210"/>
                </a:lnTo>
                <a:lnTo>
                  <a:pt x="241" y="213"/>
                </a:lnTo>
                <a:lnTo>
                  <a:pt x="238" y="216"/>
                </a:lnTo>
                <a:lnTo>
                  <a:pt x="241" y="222"/>
                </a:lnTo>
                <a:lnTo>
                  <a:pt x="238" y="225"/>
                </a:lnTo>
                <a:lnTo>
                  <a:pt x="241" y="231"/>
                </a:lnTo>
                <a:lnTo>
                  <a:pt x="241" y="238"/>
                </a:lnTo>
                <a:lnTo>
                  <a:pt x="241" y="241"/>
                </a:lnTo>
                <a:lnTo>
                  <a:pt x="238" y="244"/>
                </a:lnTo>
                <a:lnTo>
                  <a:pt x="238" y="247"/>
                </a:lnTo>
                <a:lnTo>
                  <a:pt x="238" y="247"/>
                </a:lnTo>
                <a:lnTo>
                  <a:pt x="238" y="247"/>
                </a:lnTo>
                <a:lnTo>
                  <a:pt x="235" y="253"/>
                </a:lnTo>
                <a:lnTo>
                  <a:pt x="238" y="263"/>
                </a:lnTo>
                <a:lnTo>
                  <a:pt x="238" y="263"/>
                </a:lnTo>
                <a:lnTo>
                  <a:pt x="238" y="266"/>
                </a:lnTo>
                <a:lnTo>
                  <a:pt x="238" y="269"/>
                </a:lnTo>
                <a:lnTo>
                  <a:pt x="238" y="272"/>
                </a:lnTo>
                <a:lnTo>
                  <a:pt x="241" y="275"/>
                </a:lnTo>
                <a:lnTo>
                  <a:pt x="247" y="281"/>
                </a:lnTo>
                <a:lnTo>
                  <a:pt x="257" y="285"/>
                </a:lnTo>
                <a:lnTo>
                  <a:pt x="266" y="291"/>
                </a:lnTo>
                <a:lnTo>
                  <a:pt x="269" y="294"/>
                </a:lnTo>
                <a:lnTo>
                  <a:pt x="269" y="300"/>
                </a:lnTo>
                <a:lnTo>
                  <a:pt x="263" y="310"/>
                </a:lnTo>
                <a:lnTo>
                  <a:pt x="263" y="313"/>
                </a:lnTo>
                <a:lnTo>
                  <a:pt x="266" y="316"/>
                </a:lnTo>
                <a:lnTo>
                  <a:pt x="272" y="319"/>
                </a:lnTo>
                <a:lnTo>
                  <a:pt x="275" y="319"/>
                </a:lnTo>
                <a:lnTo>
                  <a:pt x="279" y="319"/>
                </a:lnTo>
                <a:lnTo>
                  <a:pt x="279" y="319"/>
                </a:lnTo>
                <a:lnTo>
                  <a:pt x="279" y="322"/>
                </a:lnTo>
                <a:lnTo>
                  <a:pt x="279" y="328"/>
                </a:lnTo>
                <a:lnTo>
                  <a:pt x="279" y="335"/>
                </a:lnTo>
                <a:lnTo>
                  <a:pt x="275" y="341"/>
                </a:lnTo>
                <a:lnTo>
                  <a:pt x="275" y="347"/>
                </a:lnTo>
                <a:lnTo>
                  <a:pt x="272" y="347"/>
                </a:lnTo>
                <a:lnTo>
                  <a:pt x="272" y="344"/>
                </a:lnTo>
                <a:lnTo>
                  <a:pt x="269" y="347"/>
                </a:lnTo>
                <a:lnTo>
                  <a:pt x="269" y="353"/>
                </a:lnTo>
                <a:lnTo>
                  <a:pt x="269" y="357"/>
                </a:lnTo>
                <a:lnTo>
                  <a:pt x="269" y="363"/>
                </a:lnTo>
                <a:lnTo>
                  <a:pt x="257" y="369"/>
                </a:lnTo>
                <a:lnTo>
                  <a:pt x="250" y="372"/>
                </a:lnTo>
                <a:lnTo>
                  <a:pt x="247" y="369"/>
                </a:lnTo>
                <a:lnTo>
                  <a:pt x="247" y="372"/>
                </a:lnTo>
                <a:lnTo>
                  <a:pt x="235" y="375"/>
                </a:lnTo>
                <a:lnTo>
                  <a:pt x="222" y="378"/>
                </a:lnTo>
                <a:lnTo>
                  <a:pt x="213" y="382"/>
                </a:lnTo>
                <a:lnTo>
                  <a:pt x="207" y="378"/>
                </a:lnTo>
                <a:lnTo>
                  <a:pt x="200" y="382"/>
                </a:lnTo>
                <a:lnTo>
                  <a:pt x="197" y="382"/>
                </a:lnTo>
                <a:lnTo>
                  <a:pt x="191" y="378"/>
                </a:lnTo>
                <a:lnTo>
                  <a:pt x="188" y="375"/>
                </a:lnTo>
                <a:lnTo>
                  <a:pt x="185" y="375"/>
                </a:lnTo>
                <a:lnTo>
                  <a:pt x="182" y="372"/>
                </a:lnTo>
                <a:lnTo>
                  <a:pt x="182" y="375"/>
                </a:lnTo>
                <a:lnTo>
                  <a:pt x="182" y="378"/>
                </a:lnTo>
                <a:lnTo>
                  <a:pt x="182" y="382"/>
                </a:lnTo>
                <a:lnTo>
                  <a:pt x="182" y="388"/>
                </a:lnTo>
                <a:lnTo>
                  <a:pt x="185" y="391"/>
                </a:lnTo>
                <a:lnTo>
                  <a:pt x="185" y="391"/>
                </a:lnTo>
                <a:lnTo>
                  <a:pt x="188" y="391"/>
                </a:lnTo>
                <a:lnTo>
                  <a:pt x="188" y="394"/>
                </a:lnTo>
                <a:lnTo>
                  <a:pt x="188" y="397"/>
                </a:lnTo>
                <a:lnTo>
                  <a:pt x="185" y="397"/>
                </a:lnTo>
                <a:lnTo>
                  <a:pt x="185" y="400"/>
                </a:lnTo>
                <a:lnTo>
                  <a:pt x="182" y="403"/>
                </a:lnTo>
                <a:lnTo>
                  <a:pt x="182" y="407"/>
                </a:lnTo>
                <a:lnTo>
                  <a:pt x="182" y="407"/>
                </a:lnTo>
                <a:lnTo>
                  <a:pt x="182" y="413"/>
                </a:lnTo>
                <a:lnTo>
                  <a:pt x="185" y="416"/>
                </a:lnTo>
                <a:lnTo>
                  <a:pt x="188" y="416"/>
                </a:lnTo>
                <a:lnTo>
                  <a:pt x="185" y="419"/>
                </a:lnTo>
                <a:lnTo>
                  <a:pt x="185" y="422"/>
                </a:lnTo>
                <a:lnTo>
                  <a:pt x="185" y="425"/>
                </a:lnTo>
                <a:lnTo>
                  <a:pt x="185" y="428"/>
                </a:lnTo>
                <a:lnTo>
                  <a:pt x="182" y="432"/>
                </a:lnTo>
                <a:lnTo>
                  <a:pt x="182" y="432"/>
                </a:lnTo>
                <a:lnTo>
                  <a:pt x="175" y="438"/>
                </a:lnTo>
                <a:lnTo>
                  <a:pt x="163" y="438"/>
                </a:lnTo>
                <a:lnTo>
                  <a:pt x="157" y="435"/>
                </a:lnTo>
                <a:lnTo>
                  <a:pt x="150" y="432"/>
                </a:lnTo>
                <a:lnTo>
                  <a:pt x="144" y="428"/>
                </a:lnTo>
                <a:lnTo>
                  <a:pt x="138" y="428"/>
                </a:lnTo>
                <a:lnTo>
                  <a:pt x="138" y="428"/>
                </a:lnTo>
                <a:lnTo>
                  <a:pt x="138" y="425"/>
                </a:lnTo>
                <a:lnTo>
                  <a:pt x="135" y="425"/>
                </a:lnTo>
                <a:lnTo>
                  <a:pt x="132" y="428"/>
                </a:lnTo>
                <a:lnTo>
                  <a:pt x="132" y="438"/>
                </a:lnTo>
                <a:lnTo>
                  <a:pt x="135" y="441"/>
                </a:lnTo>
                <a:lnTo>
                  <a:pt x="138" y="447"/>
                </a:lnTo>
                <a:lnTo>
                  <a:pt x="138" y="457"/>
                </a:lnTo>
                <a:lnTo>
                  <a:pt x="138" y="460"/>
                </a:lnTo>
                <a:lnTo>
                  <a:pt x="144" y="463"/>
                </a:lnTo>
                <a:lnTo>
                  <a:pt x="150" y="463"/>
                </a:lnTo>
                <a:lnTo>
                  <a:pt x="150" y="463"/>
                </a:lnTo>
                <a:lnTo>
                  <a:pt x="150" y="466"/>
                </a:lnTo>
                <a:lnTo>
                  <a:pt x="147" y="466"/>
                </a:lnTo>
                <a:lnTo>
                  <a:pt x="150" y="469"/>
                </a:lnTo>
                <a:lnTo>
                  <a:pt x="157" y="466"/>
                </a:lnTo>
                <a:lnTo>
                  <a:pt x="157" y="463"/>
                </a:lnTo>
                <a:lnTo>
                  <a:pt x="153" y="463"/>
                </a:lnTo>
                <a:lnTo>
                  <a:pt x="153" y="463"/>
                </a:lnTo>
                <a:lnTo>
                  <a:pt x="153" y="460"/>
                </a:lnTo>
                <a:lnTo>
                  <a:pt x="157" y="460"/>
                </a:lnTo>
                <a:lnTo>
                  <a:pt x="163" y="457"/>
                </a:lnTo>
                <a:lnTo>
                  <a:pt x="163" y="457"/>
                </a:lnTo>
                <a:lnTo>
                  <a:pt x="166" y="463"/>
                </a:lnTo>
                <a:lnTo>
                  <a:pt x="166" y="466"/>
                </a:lnTo>
                <a:lnTo>
                  <a:pt x="166" y="466"/>
                </a:lnTo>
                <a:lnTo>
                  <a:pt x="166" y="469"/>
                </a:lnTo>
                <a:lnTo>
                  <a:pt x="169" y="475"/>
                </a:lnTo>
                <a:lnTo>
                  <a:pt x="169" y="479"/>
                </a:lnTo>
                <a:lnTo>
                  <a:pt x="160" y="482"/>
                </a:lnTo>
                <a:lnTo>
                  <a:pt x="157" y="482"/>
                </a:lnTo>
                <a:lnTo>
                  <a:pt x="157" y="479"/>
                </a:lnTo>
                <a:lnTo>
                  <a:pt x="157" y="475"/>
                </a:lnTo>
                <a:lnTo>
                  <a:pt x="157" y="472"/>
                </a:lnTo>
                <a:lnTo>
                  <a:pt x="150" y="472"/>
                </a:lnTo>
                <a:lnTo>
                  <a:pt x="147" y="472"/>
                </a:lnTo>
                <a:lnTo>
                  <a:pt x="144" y="475"/>
                </a:lnTo>
                <a:lnTo>
                  <a:pt x="141" y="479"/>
                </a:lnTo>
                <a:lnTo>
                  <a:pt x="144" y="482"/>
                </a:lnTo>
                <a:lnTo>
                  <a:pt x="147" y="482"/>
                </a:lnTo>
                <a:lnTo>
                  <a:pt x="153" y="482"/>
                </a:lnTo>
                <a:lnTo>
                  <a:pt x="153" y="485"/>
                </a:lnTo>
                <a:lnTo>
                  <a:pt x="150" y="488"/>
                </a:lnTo>
                <a:lnTo>
                  <a:pt x="144" y="491"/>
                </a:lnTo>
                <a:lnTo>
                  <a:pt x="141" y="494"/>
                </a:lnTo>
                <a:lnTo>
                  <a:pt x="144" y="494"/>
                </a:lnTo>
                <a:lnTo>
                  <a:pt x="141" y="497"/>
                </a:lnTo>
                <a:lnTo>
                  <a:pt x="138" y="500"/>
                </a:lnTo>
                <a:lnTo>
                  <a:pt x="138" y="507"/>
                </a:lnTo>
                <a:lnTo>
                  <a:pt x="141" y="510"/>
                </a:lnTo>
                <a:lnTo>
                  <a:pt x="141" y="513"/>
                </a:lnTo>
                <a:lnTo>
                  <a:pt x="141" y="513"/>
                </a:lnTo>
                <a:lnTo>
                  <a:pt x="144" y="519"/>
                </a:lnTo>
                <a:lnTo>
                  <a:pt x="144" y="519"/>
                </a:lnTo>
                <a:lnTo>
                  <a:pt x="144" y="522"/>
                </a:lnTo>
                <a:lnTo>
                  <a:pt x="144" y="525"/>
                </a:lnTo>
                <a:lnTo>
                  <a:pt x="138" y="529"/>
                </a:lnTo>
                <a:lnTo>
                  <a:pt x="138" y="532"/>
                </a:lnTo>
                <a:lnTo>
                  <a:pt x="138" y="532"/>
                </a:lnTo>
                <a:lnTo>
                  <a:pt x="141" y="535"/>
                </a:lnTo>
                <a:lnTo>
                  <a:pt x="144" y="535"/>
                </a:lnTo>
                <a:lnTo>
                  <a:pt x="141" y="538"/>
                </a:lnTo>
                <a:lnTo>
                  <a:pt x="135" y="538"/>
                </a:lnTo>
                <a:lnTo>
                  <a:pt x="132" y="538"/>
                </a:lnTo>
                <a:lnTo>
                  <a:pt x="128" y="538"/>
                </a:lnTo>
                <a:lnTo>
                  <a:pt x="122" y="544"/>
                </a:lnTo>
                <a:lnTo>
                  <a:pt x="119" y="544"/>
                </a:lnTo>
                <a:lnTo>
                  <a:pt x="116" y="547"/>
                </a:lnTo>
                <a:lnTo>
                  <a:pt x="113" y="547"/>
                </a:lnTo>
                <a:lnTo>
                  <a:pt x="113" y="554"/>
                </a:lnTo>
                <a:lnTo>
                  <a:pt x="110" y="557"/>
                </a:lnTo>
                <a:lnTo>
                  <a:pt x="107" y="560"/>
                </a:lnTo>
                <a:lnTo>
                  <a:pt x="107" y="563"/>
                </a:lnTo>
                <a:lnTo>
                  <a:pt x="107" y="566"/>
                </a:lnTo>
                <a:lnTo>
                  <a:pt x="107" y="569"/>
                </a:lnTo>
                <a:lnTo>
                  <a:pt x="113" y="576"/>
                </a:lnTo>
                <a:lnTo>
                  <a:pt x="116" y="579"/>
                </a:lnTo>
                <a:lnTo>
                  <a:pt x="119" y="582"/>
                </a:lnTo>
                <a:lnTo>
                  <a:pt x="125" y="585"/>
                </a:lnTo>
                <a:lnTo>
                  <a:pt x="132" y="591"/>
                </a:lnTo>
                <a:lnTo>
                  <a:pt x="138" y="591"/>
                </a:lnTo>
                <a:lnTo>
                  <a:pt x="141" y="591"/>
                </a:lnTo>
                <a:lnTo>
                  <a:pt x="144" y="591"/>
                </a:lnTo>
                <a:lnTo>
                  <a:pt x="147" y="591"/>
                </a:lnTo>
                <a:lnTo>
                  <a:pt x="147" y="594"/>
                </a:lnTo>
                <a:lnTo>
                  <a:pt x="147" y="594"/>
                </a:lnTo>
                <a:lnTo>
                  <a:pt x="147" y="597"/>
                </a:lnTo>
                <a:lnTo>
                  <a:pt x="147" y="604"/>
                </a:lnTo>
                <a:lnTo>
                  <a:pt x="147" y="607"/>
                </a:lnTo>
                <a:lnTo>
                  <a:pt x="144" y="610"/>
                </a:lnTo>
                <a:lnTo>
                  <a:pt x="147" y="610"/>
                </a:lnTo>
                <a:lnTo>
                  <a:pt x="150" y="613"/>
                </a:lnTo>
                <a:lnTo>
                  <a:pt x="147" y="613"/>
                </a:lnTo>
                <a:lnTo>
                  <a:pt x="147" y="616"/>
                </a:lnTo>
                <a:lnTo>
                  <a:pt x="150" y="616"/>
                </a:lnTo>
                <a:lnTo>
                  <a:pt x="147" y="622"/>
                </a:lnTo>
                <a:lnTo>
                  <a:pt x="144" y="622"/>
                </a:lnTo>
                <a:lnTo>
                  <a:pt x="141" y="626"/>
                </a:lnTo>
                <a:lnTo>
                  <a:pt x="141" y="626"/>
                </a:lnTo>
                <a:lnTo>
                  <a:pt x="138" y="632"/>
                </a:lnTo>
                <a:lnTo>
                  <a:pt x="135" y="635"/>
                </a:lnTo>
                <a:lnTo>
                  <a:pt x="132" y="635"/>
                </a:lnTo>
                <a:lnTo>
                  <a:pt x="128" y="638"/>
                </a:lnTo>
                <a:lnTo>
                  <a:pt x="125" y="644"/>
                </a:lnTo>
                <a:lnTo>
                  <a:pt x="125" y="647"/>
                </a:lnTo>
                <a:lnTo>
                  <a:pt x="122" y="651"/>
                </a:lnTo>
                <a:lnTo>
                  <a:pt x="122" y="654"/>
                </a:lnTo>
                <a:lnTo>
                  <a:pt x="122" y="654"/>
                </a:lnTo>
                <a:lnTo>
                  <a:pt x="125" y="654"/>
                </a:lnTo>
                <a:lnTo>
                  <a:pt x="128" y="660"/>
                </a:lnTo>
                <a:lnTo>
                  <a:pt x="125" y="663"/>
                </a:lnTo>
                <a:lnTo>
                  <a:pt x="122" y="666"/>
                </a:lnTo>
                <a:lnTo>
                  <a:pt x="122" y="669"/>
                </a:lnTo>
                <a:lnTo>
                  <a:pt x="119" y="672"/>
                </a:lnTo>
                <a:lnTo>
                  <a:pt x="116" y="672"/>
                </a:lnTo>
                <a:lnTo>
                  <a:pt x="113" y="669"/>
                </a:lnTo>
                <a:lnTo>
                  <a:pt x="110" y="666"/>
                </a:lnTo>
                <a:lnTo>
                  <a:pt x="113" y="669"/>
                </a:lnTo>
                <a:lnTo>
                  <a:pt x="113" y="672"/>
                </a:lnTo>
                <a:lnTo>
                  <a:pt x="113" y="676"/>
                </a:lnTo>
                <a:lnTo>
                  <a:pt x="110" y="679"/>
                </a:lnTo>
                <a:lnTo>
                  <a:pt x="107" y="682"/>
                </a:lnTo>
                <a:lnTo>
                  <a:pt x="103" y="688"/>
                </a:lnTo>
                <a:lnTo>
                  <a:pt x="103" y="694"/>
                </a:lnTo>
                <a:lnTo>
                  <a:pt x="110" y="701"/>
                </a:lnTo>
                <a:lnTo>
                  <a:pt x="113" y="710"/>
                </a:lnTo>
                <a:lnTo>
                  <a:pt x="113" y="713"/>
                </a:lnTo>
                <a:lnTo>
                  <a:pt x="113" y="713"/>
                </a:lnTo>
                <a:lnTo>
                  <a:pt x="113" y="716"/>
                </a:lnTo>
                <a:lnTo>
                  <a:pt x="110" y="716"/>
                </a:lnTo>
                <a:lnTo>
                  <a:pt x="113" y="719"/>
                </a:lnTo>
                <a:lnTo>
                  <a:pt x="113" y="719"/>
                </a:lnTo>
                <a:lnTo>
                  <a:pt x="116" y="723"/>
                </a:lnTo>
                <a:lnTo>
                  <a:pt x="119" y="726"/>
                </a:lnTo>
                <a:lnTo>
                  <a:pt x="125" y="729"/>
                </a:lnTo>
                <a:lnTo>
                  <a:pt x="128" y="732"/>
                </a:lnTo>
                <a:lnTo>
                  <a:pt x="128" y="735"/>
                </a:lnTo>
                <a:lnTo>
                  <a:pt x="128" y="735"/>
                </a:lnTo>
                <a:lnTo>
                  <a:pt x="122" y="735"/>
                </a:lnTo>
                <a:lnTo>
                  <a:pt x="116" y="729"/>
                </a:lnTo>
                <a:lnTo>
                  <a:pt x="113" y="729"/>
                </a:lnTo>
                <a:lnTo>
                  <a:pt x="113" y="726"/>
                </a:lnTo>
                <a:lnTo>
                  <a:pt x="88" y="726"/>
                </a:lnTo>
                <a:lnTo>
                  <a:pt x="72" y="729"/>
                </a:lnTo>
                <a:lnTo>
                  <a:pt x="69" y="729"/>
                </a:lnTo>
                <a:lnTo>
                  <a:pt x="60" y="726"/>
                </a:lnTo>
                <a:lnTo>
                  <a:pt x="57" y="719"/>
                </a:lnTo>
                <a:lnTo>
                  <a:pt x="53" y="713"/>
                </a:lnTo>
                <a:lnTo>
                  <a:pt x="50" y="707"/>
                </a:lnTo>
                <a:lnTo>
                  <a:pt x="50" y="698"/>
                </a:lnTo>
                <a:lnTo>
                  <a:pt x="50" y="691"/>
                </a:lnTo>
                <a:lnTo>
                  <a:pt x="44" y="691"/>
                </a:lnTo>
                <a:lnTo>
                  <a:pt x="38" y="694"/>
                </a:lnTo>
                <a:lnTo>
                  <a:pt x="35" y="698"/>
                </a:lnTo>
                <a:lnTo>
                  <a:pt x="32" y="698"/>
                </a:lnTo>
                <a:lnTo>
                  <a:pt x="22" y="682"/>
                </a:lnTo>
                <a:lnTo>
                  <a:pt x="22" y="676"/>
                </a:lnTo>
                <a:lnTo>
                  <a:pt x="25" y="657"/>
                </a:lnTo>
                <a:lnTo>
                  <a:pt x="28" y="651"/>
                </a:lnTo>
                <a:lnTo>
                  <a:pt x="35" y="644"/>
                </a:lnTo>
                <a:lnTo>
                  <a:pt x="38" y="635"/>
                </a:lnTo>
                <a:lnTo>
                  <a:pt x="35" y="626"/>
                </a:lnTo>
                <a:lnTo>
                  <a:pt x="32" y="616"/>
                </a:lnTo>
                <a:lnTo>
                  <a:pt x="35" y="607"/>
                </a:lnTo>
                <a:lnTo>
                  <a:pt x="38" y="604"/>
                </a:lnTo>
                <a:lnTo>
                  <a:pt x="35" y="594"/>
                </a:lnTo>
                <a:lnTo>
                  <a:pt x="35" y="588"/>
                </a:lnTo>
                <a:lnTo>
                  <a:pt x="38" y="585"/>
                </a:lnTo>
                <a:lnTo>
                  <a:pt x="35" y="576"/>
                </a:lnTo>
                <a:lnTo>
                  <a:pt x="35" y="566"/>
                </a:lnTo>
                <a:lnTo>
                  <a:pt x="32" y="560"/>
                </a:lnTo>
                <a:lnTo>
                  <a:pt x="32" y="557"/>
                </a:lnTo>
                <a:lnTo>
                  <a:pt x="38" y="554"/>
                </a:lnTo>
                <a:lnTo>
                  <a:pt x="38" y="547"/>
                </a:lnTo>
                <a:lnTo>
                  <a:pt x="32" y="541"/>
                </a:lnTo>
                <a:lnTo>
                  <a:pt x="25" y="538"/>
                </a:lnTo>
                <a:lnTo>
                  <a:pt x="22" y="538"/>
                </a:lnTo>
                <a:lnTo>
                  <a:pt x="22" y="538"/>
                </a:lnTo>
                <a:lnTo>
                  <a:pt x="19" y="535"/>
                </a:lnTo>
                <a:lnTo>
                  <a:pt x="19" y="532"/>
                </a:lnTo>
                <a:lnTo>
                  <a:pt x="28" y="532"/>
                </a:lnTo>
                <a:lnTo>
                  <a:pt x="32" y="525"/>
                </a:lnTo>
                <a:lnTo>
                  <a:pt x="32" y="522"/>
                </a:lnTo>
                <a:lnTo>
                  <a:pt x="32" y="522"/>
                </a:lnTo>
                <a:lnTo>
                  <a:pt x="28" y="522"/>
                </a:lnTo>
                <a:lnTo>
                  <a:pt x="22" y="522"/>
                </a:lnTo>
                <a:lnTo>
                  <a:pt x="22" y="513"/>
                </a:lnTo>
                <a:lnTo>
                  <a:pt x="19" y="507"/>
                </a:lnTo>
                <a:lnTo>
                  <a:pt x="19" y="500"/>
                </a:lnTo>
                <a:lnTo>
                  <a:pt x="19" y="494"/>
                </a:lnTo>
                <a:lnTo>
                  <a:pt x="13" y="491"/>
                </a:lnTo>
                <a:lnTo>
                  <a:pt x="10" y="485"/>
                </a:lnTo>
                <a:lnTo>
                  <a:pt x="10" y="469"/>
                </a:lnTo>
                <a:lnTo>
                  <a:pt x="13" y="466"/>
                </a:lnTo>
                <a:lnTo>
                  <a:pt x="16" y="463"/>
                </a:lnTo>
                <a:lnTo>
                  <a:pt x="13" y="460"/>
                </a:lnTo>
                <a:lnTo>
                  <a:pt x="10" y="457"/>
                </a:lnTo>
                <a:lnTo>
                  <a:pt x="7" y="447"/>
                </a:lnTo>
                <a:lnTo>
                  <a:pt x="7" y="435"/>
                </a:lnTo>
                <a:lnTo>
                  <a:pt x="7" y="419"/>
                </a:lnTo>
                <a:lnTo>
                  <a:pt x="3" y="413"/>
                </a:lnTo>
                <a:lnTo>
                  <a:pt x="3" y="407"/>
                </a:lnTo>
                <a:lnTo>
                  <a:pt x="10" y="397"/>
                </a:lnTo>
                <a:lnTo>
                  <a:pt x="13" y="388"/>
                </a:lnTo>
                <a:lnTo>
                  <a:pt x="16" y="385"/>
                </a:lnTo>
                <a:lnTo>
                  <a:pt x="19" y="382"/>
                </a:lnTo>
                <a:lnTo>
                  <a:pt x="7" y="357"/>
                </a:lnTo>
                <a:lnTo>
                  <a:pt x="10" y="350"/>
                </a:lnTo>
                <a:lnTo>
                  <a:pt x="10" y="344"/>
                </a:lnTo>
                <a:lnTo>
                  <a:pt x="10" y="332"/>
                </a:lnTo>
                <a:lnTo>
                  <a:pt x="13" y="322"/>
                </a:lnTo>
                <a:lnTo>
                  <a:pt x="19" y="319"/>
                </a:lnTo>
                <a:lnTo>
                  <a:pt x="16" y="310"/>
                </a:lnTo>
                <a:lnTo>
                  <a:pt x="13" y="303"/>
                </a:lnTo>
                <a:lnTo>
                  <a:pt x="10" y="300"/>
                </a:lnTo>
                <a:lnTo>
                  <a:pt x="16" y="294"/>
                </a:lnTo>
                <a:lnTo>
                  <a:pt x="13" y="288"/>
                </a:lnTo>
                <a:lnTo>
                  <a:pt x="16" y="278"/>
                </a:lnTo>
                <a:lnTo>
                  <a:pt x="22" y="278"/>
                </a:lnTo>
                <a:lnTo>
                  <a:pt x="22" y="269"/>
                </a:lnTo>
                <a:lnTo>
                  <a:pt x="19" y="253"/>
                </a:lnTo>
                <a:lnTo>
                  <a:pt x="16" y="250"/>
                </a:lnTo>
                <a:lnTo>
                  <a:pt x="16" y="241"/>
                </a:lnTo>
                <a:lnTo>
                  <a:pt x="13" y="235"/>
                </a:lnTo>
                <a:lnTo>
                  <a:pt x="7" y="225"/>
                </a:lnTo>
                <a:lnTo>
                  <a:pt x="7" y="222"/>
                </a:lnTo>
                <a:lnTo>
                  <a:pt x="3" y="219"/>
                </a:lnTo>
                <a:lnTo>
                  <a:pt x="0" y="210"/>
                </a:lnTo>
                <a:lnTo>
                  <a:pt x="3" y="200"/>
                </a:lnTo>
                <a:lnTo>
                  <a:pt x="7" y="197"/>
                </a:lnTo>
                <a:lnTo>
                  <a:pt x="7" y="188"/>
                </a:lnTo>
                <a:lnTo>
                  <a:pt x="10" y="184"/>
                </a:lnTo>
                <a:lnTo>
                  <a:pt x="10" y="175"/>
                </a:lnTo>
                <a:lnTo>
                  <a:pt x="7" y="169"/>
                </a:lnTo>
                <a:lnTo>
                  <a:pt x="7" y="156"/>
                </a:lnTo>
                <a:lnTo>
                  <a:pt x="10" y="153"/>
                </a:lnTo>
                <a:lnTo>
                  <a:pt x="10" y="141"/>
                </a:lnTo>
                <a:lnTo>
                  <a:pt x="16" y="134"/>
                </a:lnTo>
                <a:lnTo>
                  <a:pt x="19" y="122"/>
                </a:lnTo>
                <a:lnTo>
                  <a:pt x="25" y="116"/>
                </a:lnTo>
                <a:lnTo>
                  <a:pt x="28" y="116"/>
                </a:lnTo>
                <a:lnTo>
                  <a:pt x="32" y="109"/>
                </a:lnTo>
                <a:lnTo>
                  <a:pt x="28" y="109"/>
                </a:lnTo>
                <a:lnTo>
                  <a:pt x="28" y="103"/>
                </a:lnTo>
                <a:lnTo>
                  <a:pt x="28" y="100"/>
                </a:lnTo>
                <a:lnTo>
                  <a:pt x="25" y="97"/>
                </a:lnTo>
                <a:lnTo>
                  <a:pt x="25" y="94"/>
                </a:lnTo>
                <a:lnTo>
                  <a:pt x="32" y="91"/>
                </a:lnTo>
                <a:lnTo>
                  <a:pt x="32" y="88"/>
                </a:lnTo>
                <a:lnTo>
                  <a:pt x="25" y="81"/>
                </a:lnTo>
                <a:lnTo>
                  <a:pt x="25" y="75"/>
                </a:lnTo>
                <a:lnTo>
                  <a:pt x="28" y="72"/>
                </a:lnTo>
                <a:lnTo>
                  <a:pt x="25" y="66"/>
                </a:lnTo>
                <a:lnTo>
                  <a:pt x="22" y="62"/>
                </a:lnTo>
                <a:lnTo>
                  <a:pt x="25" y="59"/>
                </a:lnTo>
                <a:lnTo>
                  <a:pt x="47" y="47"/>
                </a:lnTo>
                <a:lnTo>
                  <a:pt x="53" y="25"/>
                </a:lnTo>
                <a:lnTo>
                  <a:pt x="50" y="19"/>
                </a:lnTo>
                <a:lnTo>
                  <a:pt x="50" y="19"/>
                </a:lnTo>
                <a:close/>
                <a:moveTo>
                  <a:pt x="210" y="804"/>
                </a:moveTo>
                <a:lnTo>
                  <a:pt x="213" y="807"/>
                </a:lnTo>
                <a:lnTo>
                  <a:pt x="219" y="804"/>
                </a:lnTo>
                <a:lnTo>
                  <a:pt x="222" y="804"/>
                </a:lnTo>
                <a:lnTo>
                  <a:pt x="225" y="798"/>
                </a:lnTo>
                <a:lnTo>
                  <a:pt x="222" y="798"/>
                </a:lnTo>
                <a:lnTo>
                  <a:pt x="219" y="801"/>
                </a:lnTo>
                <a:lnTo>
                  <a:pt x="213" y="801"/>
                </a:lnTo>
                <a:lnTo>
                  <a:pt x="210" y="804"/>
                </a:lnTo>
                <a:lnTo>
                  <a:pt x="210" y="804"/>
                </a:lnTo>
                <a:close/>
                <a:moveTo>
                  <a:pt x="122" y="741"/>
                </a:moveTo>
                <a:lnTo>
                  <a:pt x="125" y="741"/>
                </a:lnTo>
                <a:lnTo>
                  <a:pt x="125" y="744"/>
                </a:lnTo>
                <a:lnTo>
                  <a:pt x="132" y="751"/>
                </a:lnTo>
                <a:lnTo>
                  <a:pt x="135" y="760"/>
                </a:lnTo>
                <a:lnTo>
                  <a:pt x="132" y="760"/>
                </a:lnTo>
                <a:lnTo>
                  <a:pt x="132" y="760"/>
                </a:lnTo>
                <a:lnTo>
                  <a:pt x="128" y="763"/>
                </a:lnTo>
                <a:lnTo>
                  <a:pt x="122" y="741"/>
                </a:lnTo>
                <a:lnTo>
                  <a:pt x="122" y="741"/>
                </a:lnTo>
                <a:close/>
                <a:moveTo>
                  <a:pt x="128" y="763"/>
                </a:moveTo>
                <a:lnTo>
                  <a:pt x="132" y="766"/>
                </a:lnTo>
                <a:lnTo>
                  <a:pt x="138" y="766"/>
                </a:lnTo>
                <a:lnTo>
                  <a:pt x="141" y="769"/>
                </a:lnTo>
                <a:lnTo>
                  <a:pt x="141" y="776"/>
                </a:lnTo>
                <a:lnTo>
                  <a:pt x="147" y="776"/>
                </a:lnTo>
                <a:lnTo>
                  <a:pt x="153" y="779"/>
                </a:lnTo>
                <a:lnTo>
                  <a:pt x="153" y="785"/>
                </a:lnTo>
                <a:lnTo>
                  <a:pt x="157" y="785"/>
                </a:lnTo>
                <a:lnTo>
                  <a:pt x="172" y="791"/>
                </a:lnTo>
                <a:lnTo>
                  <a:pt x="175" y="794"/>
                </a:lnTo>
                <a:lnTo>
                  <a:pt x="178" y="794"/>
                </a:lnTo>
                <a:lnTo>
                  <a:pt x="185" y="798"/>
                </a:lnTo>
                <a:lnTo>
                  <a:pt x="188" y="801"/>
                </a:lnTo>
                <a:lnTo>
                  <a:pt x="197" y="798"/>
                </a:lnTo>
                <a:lnTo>
                  <a:pt x="200" y="798"/>
                </a:lnTo>
                <a:lnTo>
                  <a:pt x="200" y="804"/>
                </a:lnTo>
                <a:lnTo>
                  <a:pt x="194" y="804"/>
                </a:lnTo>
                <a:lnTo>
                  <a:pt x="194" y="804"/>
                </a:lnTo>
                <a:lnTo>
                  <a:pt x="188" y="804"/>
                </a:lnTo>
                <a:lnTo>
                  <a:pt x="188" y="807"/>
                </a:lnTo>
                <a:lnTo>
                  <a:pt x="185" y="813"/>
                </a:lnTo>
                <a:lnTo>
                  <a:pt x="182" y="813"/>
                </a:lnTo>
                <a:lnTo>
                  <a:pt x="175" y="810"/>
                </a:lnTo>
                <a:lnTo>
                  <a:pt x="172" y="810"/>
                </a:lnTo>
                <a:lnTo>
                  <a:pt x="163" y="807"/>
                </a:lnTo>
                <a:lnTo>
                  <a:pt x="157" y="810"/>
                </a:lnTo>
                <a:lnTo>
                  <a:pt x="150" y="807"/>
                </a:lnTo>
                <a:lnTo>
                  <a:pt x="144" y="810"/>
                </a:lnTo>
                <a:lnTo>
                  <a:pt x="141" y="810"/>
                </a:lnTo>
                <a:lnTo>
                  <a:pt x="138" y="804"/>
                </a:lnTo>
                <a:lnTo>
                  <a:pt x="147" y="804"/>
                </a:lnTo>
                <a:lnTo>
                  <a:pt x="153" y="801"/>
                </a:lnTo>
                <a:lnTo>
                  <a:pt x="157" y="801"/>
                </a:lnTo>
                <a:lnTo>
                  <a:pt x="157" y="798"/>
                </a:lnTo>
                <a:lnTo>
                  <a:pt x="150" y="801"/>
                </a:lnTo>
                <a:lnTo>
                  <a:pt x="147" y="801"/>
                </a:lnTo>
                <a:lnTo>
                  <a:pt x="141" y="801"/>
                </a:lnTo>
                <a:lnTo>
                  <a:pt x="138" y="801"/>
                </a:lnTo>
                <a:lnTo>
                  <a:pt x="128" y="763"/>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0" name="Freeform 198">
            <a:extLst>
              <a:ext uri="{FF2B5EF4-FFF2-40B4-BE49-F238E27FC236}">
                <a16:creationId xmlns:a16="http://schemas.microsoft.com/office/drawing/2014/main" id="{87595A88-9575-6967-AFA9-6B4931DC6FEF}"/>
              </a:ext>
            </a:extLst>
          </p:cNvPr>
          <p:cNvSpPr>
            <a:spLocks noEditPoints="1"/>
          </p:cNvSpPr>
          <p:nvPr userDrawn="1"/>
        </p:nvSpPr>
        <p:spPr bwMode="auto">
          <a:xfrm>
            <a:off x="8794176" y="10508533"/>
            <a:ext cx="682582" cy="2968626"/>
          </a:xfrm>
          <a:custGeom>
            <a:avLst/>
            <a:gdLst>
              <a:gd name="T0" fmla="*/ 47 w 69"/>
              <a:gd name="T1" fmla="*/ 287 h 299"/>
              <a:gd name="T2" fmla="*/ 46 w 69"/>
              <a:gd name="T3" fmla="*/ 290 h 299"/>
              <a:gd name="T4" fmla="*/ 57 w 69"/>
              <a:gd name="T5" fmla="*/ 290 h 299"/>
              <a:gd name="T6" fmla="*/ 47 w 69"/>
              <a:gd name="T7" fmla="*/ 278 h 299"/>
              <a:gd name="T8" fmla="*/ 55 w 69"/>
              <a:gd name="T9" fmla="*/ 274 h 299"/>
              <a:gd name="T10" fmla="*/ 21 w 69"/>
              <a:gd name="T11" fmla="*/ 246 h 299"/>
              <a:gd name="T12" fmla="*/ 21 w 69"/>
              <a:gd name="T13" fmla="*/ 202 h 299"/>
              <a:gd name="T14" fmla="*/ 16 w 69"/>
              <a:gd name="T15" fmla="*/ 169 h 299"/>
              <a:gd name="T16" fmla="*/ 21 w 69"/>
              <a:gd name="T17" fmla="*/ 116 h 299"/>
              <a:gd name="T18" fmla="*/ 23 w 69"/>
              <a:gd name="T19" fmla="*/ 67 h 299"/>
              <a:gd name="T20" fmla="*/ 22 w 69"/>
              <a:gd name="T21" fmla="*/ 25 h 299"/>
              <a:gd name="T22" fmla="*/ 10 w 69"/>
              <a:gd name="T23" fmla="*/ 5 h 299"/>
              <a:gd name="T24" fmla="*/ 7 w 69"/>
              <a:gd name="T25" fmla="*/ 39 h 299"/>
              <a:gd name="T26" fmla="*/ 7 w 69"/>
              <a:gd name="T27" fmla="*/ 74 h 299"/>
              <a:gd name="T28" fmla="*/ 9 w 69"/>
              <a:gd name="T29" fmla="*/ 106 h 299"/>
              <a:gd name="T30" fmla="*/ 6 w 69"/>
              <a:gd name="T31" fmla="*/ 129 h 299"/>
              <a:gd name="T32" fmla="*/ 3 w 69"/>
              <a:gd name="T33" fmla="*/ 148 h 299"/>
              <a:gd name="T34" fmla="*/ 4 w 69"/>
              <a:gd name="T35" fmla="*/ 172 h 299"/>
              <a:gd name="T36" fmla="*/ 15 w 69"/>
              <a:gd name="T37" fmla="*/ 183 h 299"/>
              <a:gd name="T38" fmla="*/ 12 w 69"/>
              <a:gd name="T39" fmla="*/ 196 h 299"/>
              <a:gd name="T40" fmla="*/ 12 w 69"/>
              <a:gd name="T41" fmla="*/ 216 h 299"/>
              <a:gd name="T42" fmla="*/ 4 w 69"/>
              <a:gd name="T43" fmla="*/ 211 h 299"/>
              <a:gd name="T44" fmla="*/ 8 w 69"/>
              <a:gd name="T45" fmla="*/ 219 h 299"/>
              <a:gd name="T46" fmla="*/ 14 w 69"/>
              <a:gd name="T47" fmla="*/ 227 h 299"/>
              <a:gd name="T48" fmla="*/ 14 w 69"/>
              <a:gd name="T49" fmla="*/ 235 h 299"/>
              <a:gd name="T50" fmla="*/ 16 w 69"/>
              <a:gd name="T51" fmla="*/ 246 h 299"/>
              <a:gd name="T52" fmla="*/ 22 w 69"/>
              <a:gd name="T53" fmla="*/ 258 h 299"/>
              <a:gd name="T54" fmla="*/ 28 w 69"/>
              <a:gd name="T55" fmla="*/ 262 h 299"/>
              <a:gd name="T56" fmla="*/ 30 w 69"/>
              <a:gd name="T57" fmla="*/ 267 h 299"/>
              <a:gd name="T58" fmla="*/ 26 w 69"/>
              <a:gd name="T59" fmla="*/ 270 h 299"/>
              <a:gd name="T60" fmla="*/ 32 w 69"/>
              <a:gd name="T61" fmla="*/ 269 h 299"/>
              <a:gd name="T62" fmla="*/ 30 w 69"/>
              <a:gd name="T63" fmla="*/ 275 h 299"/>
              <a:gd name="T64" fmla="*/ 40 w 69"/>
              <a:gd name="T65" fmla="*/ 272 h 299"/>
              <a:gd name="T66" fmla="*/ 41 w 69"/>
              <a:gd name="T67" fmla="*/ 281 h 299"/>
              <a:gd name="T68" fmla="*/ 53 w 69"/>
              <a:gd name="T69" fmla="*/ 265 h 299"/>
              <a:gd name="T70" fmla="*/ 4 w 69"/>
              <a:gd name="T71" fmla="*/ 184 h 299"/>
              <a:gd name="T72" fmla="*/ 11 w 69"/>
              <a:gd name="T73" fmla="*/ 181 h 299"/>
              <a:gd name="T74" fmla="*/ 9 w 69"/>
              <a:gd name="T75" fmla="*/ 194 h 299"/>
              <a:gd name="T76" fmla="*/ 4 w 69"/>
              <a:gd name="T77" fmla="*/ 201 h 299"/>
              <a:gd name="T78" fmla="*/ 6 w 69"/>
              <a:gd name="T79" fmla="*/ 200 h 299"/>
              <a:gd name="T80" fmla="*/ 13 w 69"/>
              <a:gd name="T81" fmla="*/ 198 h 299"/>
              <a:gd name="T82" fmla="*/ 8 w 69"/>
              <a:gd name="T83" fmla="*/ 204 h 299"/>
              <a:gd name="T84" fmla="*/ 10 w 69"/>
              <a:gd name="T85" fmla="*/ 233 h 299"/>
              <a:gd name="T86" fmla="*/ 8 w 69"/>
              <a:gd name="T87" fmla="*/ 232 h 299"/>
              <a:gd name="T88" fmla="*/ 7 w 69"/>
              <a:gd name="T89" fmla="*/ 239 h 299"/>
              <a:gd name="T90" fmla="*/ 9 w 69"/>
              <a:gd name="T91" fmla="*/ 241 h 299"/>
              <a:gd name="T92" fmla="*/ 13 w 69"/>
              <a:gd name="T93" fmla="*/ 245 h 299"/>
              <a:gd name="T94" fmla="*/ 14 w 69"/>
              <a:gd name="T95" fmla="*/ 254 h 299"/>
              <a:gd name="T96" fmla="*/ 14 w 69"/>
              <a:gd name="T97" fmla="*/ 253 h 299"/>
              <a:gd name="T98" fmla="*/ 16 w 69"/>
              <a:gd name="T99" fmla="*/ 262 h 299"/>
              <a:gd name="T100" fmla="*/ 20 w 69"/>
              <a:gd name="T101" fmla="*/ 265 h 299"/>
              <a:gd name="T102" fmla="*/ 21 w 69"/>
              <a:gd name="T103" fmla="*/ 265 h 299"/>
              <a:gd name="T104" fmla="*/ 25 w 69"/>
              <a:gd name="T105" fmla="*/ 270 h 299"/>
              <a:gd name="T106" fmla="*/ 30 w 69"/>
              <a:gd name="T107" fmla="*/ 277 h 299"/>
              <a:gd name="T108" fmla="*/ 31 w 69"/>
              <a:gd name="T109" fmla="*/ 283 h 299"/>
              <a:gd name="T110" fmla="*/ 36 w 69"/>
              <a:gd name="T111" fmla="*/ 283 h 299"/>
              <a:gd name="T112" fmla="*/ 38 w 69"/>
              <a:gd name="T113" fmla="*/ 284 h 299"/>
              <a:gd name="T114" fmla="*/ 44 w 69"/>
              <a:gd name="T115" fmla="*/ 281 h 299"/>
              <a:gd name="T116" fmla="*/ 68 w 69"/>
              <a:gd name="T117" fmla="*/ 296 h 299"/>
              <a:gd name="T118" fmla="*/ 64 w 69"/>
              <a:gd name="T119" fmla="*/ 292 h 299"/>
              <a:gd name="T120" fmla="*/ 58 w 69"/>
              <a:gd name="T121" fmla="*/ 29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 h="299">
                <a:moveTo>
                  <a:pt x="59" y="289"/>
                </a:moveTo>
                <a:cubicBezTo>
                  <a:pt x="58" y="287"/>
                  <a:pt x="58" y="287"/>
                  <a:pt x="58" y="287"/>
                </a:cubicBezTo>
                <a:cubicBezTo>
                  <a:pt x="58" y="287"/>
                  <a:pt x="58" y="287"/>
                  <a:pt x="58" y="287"/>
                </a:cubicBezTo>
                <a:cubicBezTo>
                  <a:pt x="56" y="286"/>
                  <a:pt x="56" y="286"/>
                  <a:pt x="56" y="286"/>
                </a:cubicBezTo>
                <a:cubicBezTo>
                  <a:pt x="54" y="285"/>
                  <a:pt x="54" y="285"/>
                  <a:pt x="54" y="285"/>
                </a:cubicBezTo>
                <a:cubicBezTo>
                  <a:pt x="51" y="284"/>
                  <a:pt x="51" y="284"/>
                  <a:pt x="51" y="284"/>
                </a:cubicBezTo>
                <a:cubicBezTo>
                  <a:pt x="50" y="284"/>
                  <a:pt x="50" y="284"/>
                  <a:pt x="50" y="284"/>
                </a:cubicBezTo>
                <a:cubicBezTo>
                  <a:pt x="49" y="284"/>
                  <a:pt x="49" y="284"/>
                  <a:pt x="49" y="284"/>
                </a:cubicBezTo>
                <a:cubicBezTo>
                  <a:pt x="50" y="285"/>
                  <a:pt x="50" y="285"/>
                  <a:pt x="50" y="285"/>
                </a:cubicBezTo>
                <a:cubicBezTo>
                  <a:pt x="49" y="285"/>
                  <a:pt x="49" y="285"/>
                  <a:pt x="49" y="285"/>
                </a:cubicBezTo>
                <a:cubicBezTo>
                  <a:pt x="49" y="285"/>
                  <a:pt x="49" y="285"/>
                  <a:pt x="49" y="285"/>
                </a:cubicBezTo>
                <a:cubicBezTo>
                  <a:pt x="47" y="284"/>
                  <a:pt x="47" y="284"/>
                  <a:pt x="47" y="284"/>
                </a:cubicBezTo>
                <a:cubicBezTo>
                  <a:pt x="46" y="283"/>
                  <a:pt x="46" y="283"/>
                  <a:pt x="46" y="283"/>
                </a:cubicBezTo>
                <a:cubicBezTo>
                  <a:pt x="45" y="284"/>
                  <a:pt x="45" y="284"/>
                  <a:pt x="45" y="284"/>
                </a:cubicBezTo>
                <a:cubicBezTo>
                  <a:pt x="46" y="284"/>
                  <a:pt x="46" y="284"/>
                  <a:pt x="46" y="284"/>
                </a:cubicBezTo>
                <a:cubicBezTo>
                  <a:pt x="48" y="286"/>
                  <a:pt x="48" y="286"/>
                  <a:pt x="48" y="286"/>
                </a:cubicBezTo>
                <a:cubicBezTo>
                  <a:pt x="49" y="286"/>
                  <a:pt x="49" y="286"/>
                  <a:pt x="49" y="286"/>
                </a:cubicBezTo>
                <a:cubicBezTo>
                  <a:pt x="48" y="286"/>
                  <a:pt x="48" y="286"/>
                  <a:pt x="48" y="286"/>
                </a:cubicBezTo>
                <a:cubicBezTo>
                  <a:pt x="48" y="286"/>
                  <a:pt x="48" y="286"/>
                  <a:pt x="48" y="286"/>
                </a:cubicBezTo>
                <a:cubicBezTo>
                  <a:pt x="48" y="287"/>
                  <a:pt x="48" y="287"/>
                  <a:pt x="48" y="287"/>
                </a:cubicBezTo>
                <a:cubicBezTo>
                  <a:pt x="47" y="287"/>
                  <a:pt x="47" y="287"/>
                  <a:pt x="47" y="287"/>
                </a:cubicBezTo>
                <a:cubicBezTo>
                  <a:pt x="47" y="286"/>
                  <a:pt x="47" y="286"/>
                  <a:pt x="47" y="286"/>
                </a:cubicBezTo>
                <a:cubicBezTo>
                  <a:pt x="45" y="285"/>
                  <a:pt x="45" y="285"/>
                  <a:pt x="45" y="285"/>
                </a:cubicBezTo>
                <a:cubicBezTo>
                  <a:pt x="45" y="286"/>
                  <a:pt x="45" y="286"/>
                  <a:pt x="45" y="286"/>
                </a:cubicBezTo>
                <a:cubicBezTo>
                  <a:pt x="45" y="286"/>
                  <a:pt x="45" y="286"/>
                  <a:pt x="45" y="286"/>
                </a:cubicBezTo>
                <a:cubicBezTo>
                  <a:pt x="44" y="287"/>
                  <a:pt x="44" y="287"/>
                  <a:pt x="44" y="287"/>
                </a:cubicBezTo>
                <a:cubicBezTo>
                  <a:pt x="42" y="287"/>
                  <a:pt x="42" y="287"/>
                  <a:pt x="42" y="287"/>
                </a:cubicBezTo>
                <a:cubicBezTo>
                  <a:pt x="42" y="287"/>
                  <a:pt x="42" y="287"/>
                  <a:pt x="42" y="287"/>
                </a:cubicBezTo>
                <a:cubicBezTo>
                  <a:pt x="42" y="287"/>
                  <a:pt x="42" y="287"/>
                  <a:pt x="42" y="287"/>
                </a:cubicBezTo>
                <a:cubicBezTo>
                  <a:pt x="42" y="288"/>
                  <a:pt x="42" y="288"/>
                  <a:pt x="42" y="288"/>
                </a:cubicBezTo>
                <a:cubicBezTo>
                  <a:pt x="41" y="288"/>
                  <a:pt x="41" y="288"/>
                  <a:pt x="41" y="288"/>
                </a:cubicBezTo>
                <a:cubicBezTo>
                  <a:pt x="40" y="288"/>
                  <a:pt x="40" y="288"/>
                  <a:pt x="40" y="288"/>
                </a:cubicBezTo>
                <a:cubicBezTo>
                  <a:pt x="40" y="289"/>
                  <a:pt x="40" y="289"/>
                  <a:pt x="40" y="289"/>
                </a:cubicBezTo>
                <a:cubicBezTo>
                  <a:pt x="41" y="289"/>
                  <a:pt x="41" y="289"/>
                  <a:pt x="41" y="289"/>
                </a:cubicBezTo>
                <a:cubicBezTo>
                  <a:pt x="43" y="289"/>
                  <a:pt x="43" y="289"/>
                  <a:pt x="43" y="289"/>
                </a:cubicBezTo>
                <a:cubicBezTo>
                  <a:pt x="43" y="288"/>
                  <a:pt x="43" y="288"/>
                  <a:pt x="43" y="288"/>
                </a:cubicBezTo>
                <a:cubicBezTo>
                  <a:pt x="43" y="288"/>
                  <a:pt x="43" y="288"/>
                  <a:pt x="43" y="288"/>
                </a:cubicBezTo>
                <a:cubicBezTo>
                  <a:pt x="44" y="288"/>
                  <a:pt x="44" y="288"/>
                  <a:pt x="44" y="288"/>
                </a:cubicBezTo>
                <a:cubicBezTo>
                  <a:pt x="45" y="289"/>
                  <a:pt x="45" y="289"/>
                  <a:pt x="45" y="289"/>
                </a:cubicBezTo>
                <a:cubicBezTo>
                  <a:pt x="46" y="289"/>
                  <a:pt x="46" y="289"/>
                  <a:pt x="46" y="289"/>
                </a:cubicBezTo>
                <a:cubicBezTo>
                  <a:pt x="46" y="289"/>
                  <a:pt x="46" y="289"/>
                  <a:pt x="46" y="289"/>
                </a:cubicBezTo>
                <a:cubicBezTo>
                  <a:pt x="46" y="290"/>
                  <a:pt x="46" y="290"/>
                  <a:pt x="46" y="290"/>
                </a:cubicBezTo>
                <a:cubicBezTo>
                  <a:pt x="47" y="290"/>
                  <a:pt x="47" y="290"/>
                  <a:pt x="47" y="290"/>
                </a:cubicBezTo>
                <a:cubicBezTo>
                  <a:pt x="46" y="291"/>
                  <a:pt x="46" y="291"/>
                  <a:pt x="46" y="291"/>
                </a:cubicBezTo>
                <a:cubicBezTo>
                  <a:pt x="46" y="292"/>
                  <a:pt x="46" y="292"/>
                  <a:pt x="46" y="292"/>
                </a:cubicBezTo>
                <a:cubicBezTo>
                  <a:pt x="46" y="293"/>
                  <a:pt x="46" y="293"/>
                  <a:pt x="46" y="293"/>
                </a:cubicBezTo>
                <a:cubicBezTo>
                  <a:pt x="47" y="293"/>
                  <a:pt x="47" y="293"/>
                  <a:pt x="47" y="293"/>
                </a:cubicBezTo>
                <a:cubicBezTo>
                  <a:pt x="48" y="293"/>
                  <a:pt x="48" y="293"/>
                  <a:pt x="48" y="293"/>
                </a:cubicBezTo>
                <a:cubicBezTo>
                  <a:pt x="49" y="294"/>
                  <a:pt x="49" y="294"/>
                  <a:pt x="49" y="294"/>
                </a:cubicBezTo>
                <a:cubicBezTo>
                  <a:pt x="50" y="294"/>
                  <a:pt x="50" y="294"/>
                  <a:pt x="50" y="294"/>
                </a:cubicBezTo>
                <a:cubicBezTo>
                  <a:pt x="50" y="294"/>
                  <a:pt x="50" y="294"/>
                  <a:pt x="50" y="294"/>
                </a:cubicBezTo>
                <a:cubicBezTo>
                  <a:pt x="49" y="293"/>
                  <a:pt x="49" y="293"/>
                  <a:pt x="49" y="293"/>
                </a:cubicBezTo>
                <a:cubicBezTo>
                  <a:pt x="48" y="292"/>
                  <a:pt x="48" y="292"/>
                  <a:pt x="48" y="292"/>
                </a:cubicBezTo>
                <a:cubicBezTo>
                  <a:pt x="48" y="292"/>
                  <a:pt x="48" y="292"/>
                  <a:pt x="48" y="292"/>
                </a:cubicBezTo>
                <a:cubicBezTo>
                  <a:pt x="48" y="292"/>
                  <a:pt x="48" y="292"/>
                  <a:pt x="48" y="292"/>
                </a:cubicBezTo>
                <a:cubicBezTo>
                  <a:pt x="49" y="292"/>
                  <a:pt x="49" y="292"/>
                  <a:pt x="49" y="292"/>
                </a:cubicBezTo>
                <a:cubicBezTo>
                  <a:pt x="50" y="292"/>
                  <a:pt x="50" y="292"/>
                  <a:pt x="50" y="292"/>
                </a:cubicBezTo>
                <a:cubicBezTo>
                  <a:pt x="50" y="291"/>
                  <a:pt x="50" y="291"/>
                  <a:pt x="50" y="291"/>
                </a:cubicBezTo>
                <a:cubicBezTo>
                  <a:pt x="49" y="291"/>
                  <a:pt x="49" y="291"/>
                  <a:pt x="49" y="291"/>
                </a:cubicBezTo>
                <a:cubicBezTo>
                  <a:pt x="48" y="290"/>
                  <a:pt x="48" y="290"/>
                  <a:pt x="48" y="290"/>
                </a:cubicBezTo>
                <a:cubicBezTo>
                  <a:pt x="51" y="289"/>
                  <a:pt x="51" y="289"/>
                  <a:pt x="51" y="289"/>
                </a:cubicBezTo>
                <a:cubicBezTo>
                  <a:pt x="52" y="289"/>
                  <a:pt x="52" y="289"/>
                  <a:pt x="52" y="289"/>
                </a:cubicBezTo>
                <a:cubicBezTo>
                  <a:pt x="57" y="290"/>
                  <a:pt x="57" y="290"/>
                  <a:pt x="57" y="290"/>
                </a:cubicBezTo>
                <a:cubicBezTo>
                  <a:pt x="58" y="290"/>
                  <a:pt x="58" y="290"/>
                  <a:pt x="58" y="290"/>
                </a:cubicBezTo>
                <a:cubicBezTo>
                  <a:pt x="57" y="289"/>
                  <a:pt x="57" y="289"/>
                  <a:pt x="57" y="289"/>
                </a:cubicBezTo>
                <a:cubicBezTo>
                  <a:pt x="59" y="289"/>
                  <a:pt x="59" y="289"/>
                  <a:pt x="59" y="289"/>
                </a:cubicBezTo>
                <a:close/>
                <a:moveTo>
                  <a:pt x="58" y="286"/>
                </a:moveTo>
                <a:cubicBezTo>
                  <a:pt x="57" y="286"/>
                  <a:pt x="57" y="286"/>
                  <a:pt x="57" y="286"/>
                </a:cubicBezTo>
                <a:cubicBezTo>
                  <a:pt x="54" y="284"/>
                  <a:pt x="54" y="284"/>
                  <a:pt x="54" y="284"/>
                </a:cubicBezTo>
                <a:cubicBezTo>
                  <a:pt x="52" y="283"/>
                  <a:pt x="52" y="283"/>
                  <a:pt x="52" y="283"/>
                </a:cubicBezTo>
                <a:cubicBezTo>
                  <a:pt x="50" y="283"/>
                  <a:pt x="50" y="283"/>
                  <a:pt x="50" y="283"/>
                </a:cubicBezTo>
                <a:cubicBezTo>
                  <a:pt x="49" y="282"/>
                  <a:pt x="49" y="282"/>
                  <a:pt x="49" y="282"/>
                </a:cubicBezTo>
                <a:cubicBezTo>
                  <a:pt x="48" y="281"/>
                  <a:pt x="48" y="281"/>
                  <a:pt x="48" y="281"/>
                </a:cubicBezTo>
                <a:cubicBezTo>
                  <a:pt x="48" y="280"/>
                  <a:pt x="48" y="280"/>
                  <a:pt x="48" y="280"/>
                </a:cubicBezTo>
                <a:cubicBezTo>
                  <a:pt x="48" y="280"/>
                  <a:pt x="48" y="280"/>
                  <a:pt x="48" y="280"/>
                </a:cubicBezTo>
                <a:cubicBezTo>
                  <a:pt x="50" y="279"/>
                  <a:pt x="50" y="279"/>
                  <a:pt x="50" y="279"/>
                </a:cubicBezTo>
                <a:cubicBezTo>
                  <a:pt x="50" y="278"/>
                  <a:pt x="50" y="278"/>
                  <a:pt x="50" y="278"/>
                </a:cubicBezTo>
                <a:cubicBezTo>
                  <a:pt x="51" y="278"/>
                  <a:pt x="51" y="278"/>
                  <a:pt x="51" y="278"/>
                </a:cubicBezTo>
                <a:cubicBezTo>
                  <a:pt x="52" y="277"/>
                  <a:pt x="52" y="277"/>
                  <a:pt x="52" y="277"/>
                </a:cubicBezTo>
                <a:cubicBezTo>
                  <a:pt x="52" y="275"/>
                  <a:pt x="52" y="275"/>
                  <a:pt x="52" y="275"/>
                </a:cubicBezTo>
                <a:cubicBezTo>
                  <a:pt x="50" y="275"/>
                  <a:pt x="50" y="275"/>
                  <a:pt x="50" y="275"/>
                </a:cubicBezTo>
                <a:cubicBezTo>
                  <a:pt x="49" y="276"/>
                  <a:pt x="49" y="276"/>
                  <a:pt x="49" y="276"/>
                </a:cubicBezTo>
                <a:cubicBezTo>
                  <a:pt x="48" y="277"/>
                  <a:pt x="48" y="277"/>
                  <a:pt x="48" y="277"/>
                </a:cubicBezTo>
                <a:cubicBezTo>
                  <a:pt x="47" y="278"/>
                  <a:pt x="47" y="278"/>
                  <a:pt x="47" y="278"/>
                </a:cubicBezTo>
                <a:cubicBezTo>
                  <a:pt x="46" y="276"/>
                  <a:pt x="46" y="276"/>
                  <a:pt x="46" y="276"/>
                </a:cubicBezTo>
                <a:cubicBezTo>
                  <a:pt x="45" y="275"/>
                  <a:pt x="45" y="275"/>
                  <a:pt x="45" y="275"/>
                </a:cubicBezTo>
                <a:cubicBezTo>
                  <a:pt x="45" y="274"/>
                  <a:pt x="45" y="274"/>
                  <a:pt x="45" y="274"/>
                </a:cubicBezTo>
                <a:cubicBezTo>
                  <a:pt x="46" y="273"/>
                  <a:pt x="46" y="273"/>
                  <a:pt x="46" y="273"/>
                </a:cubicBezTo>
                <a:cubicBezTo>
                  <a:pt x="46" y="272"/>
                  <a:pt x="46" y="272"/>
                  <a:pt x="46" y="272"/>
                </a:cubicBezTo>
                <a:cubicBezTo>
                  <a:pt x="45" y="272"/>
                  <a:pt x="45" y="272"/>
                  <a:pt x="45" y="272"/>
                </a:cubicBezTo>
                <a:cubicBezTo>
                  <a:pt x="45" y="271"/>
                  <a:pt x="45" y="271"/>
                  <a:pt x="45" y="271"/>
                </a:cubicBezTo>
                <a:cubicBezTo>
                  <a:pt x="45" y="270"/>
                  <a:pt x="45" y="270"/>
                  <a:pt x="45" y="270"/>
                </a:cubicBezTo>
                <a:cubicBezTo>
                  <a:pt x="46" y="271"/>
                  <a:pt x="46" y="271"/>
                  <a:pt x="46" y="271"/>
                </a:cubicBezTo>
                <a:cubicBezTo>
                  <a:pt x="47" y="271"/>
                  <a:pt x="47" y="271"/>
                  <a:pt x="47" y="271"/>
                </a:cubicBezTo>
                <a:cubicBezTo>
                  <a:pt x="48" y="271"/>
                  <a:pt x="48" y="271"/>
                  <a:pt x="48" y="271"/>
                </a:cubicBezTo>
                <a:cubicBezTo>
                  <a:pt x="49" y="270"/>
                  <a:pt x="49" y="270"/>
                  <a:pt x="49" y="270"/>
                </a:cubicBezTo>
                <a:cubicBezTo>
                  <a:pt x="49" y="269"/>
                  <a:pt x="49" y="269"/>
                  <a:pt x="49" y="269"/>
                </a:cubicBezTo>
                <a:cubicBezTo>
                  <a:pt x="49" y="268"/>
                  <a:pt x="49" y="268"/>
                  <a:pt x="49" y="268"/>
                </a:cubicBezTo>
                <a:cubicBezTo>
                  <a:pt x="49" y="267"/>
                  <a:pt x="49" y="267"/>
                  <a:pt x="49" y="267"/>
                </a:cubicBezTo>
                <a:cubicBezTo>
                  <a:pt x="50" y="267"/>
                  <a:pt x="50" y="267"/>
                  <a:pt x="50" y="267"/>
                </a:cubicBezTo>
                <a:cubicBezTo>
                  <a:pt x="51" y="268"/>
                  <a:pt x="51" y="268"/>
                  <a:pt x="51" y="268"/>
                </a:cubicBezTo>
                <a:cubicBezTo>
                  <a:pt x="52" y="268"/>
                  <a:pt x="52" y="268"/>
                  <a:pt x="52" y="268"/>
                </a:cubicBezTo>
                <a:cubicBezTo>
                  <a:pt x="53" y="267"/>
                  <a:pt x="53" y="267"/>
                  <a:pt x="53" y="267"/>
                </a:cubicBezTo>
                <a:cubicBezTo>
                  <a:pt x="55" y="274"/>
                  <a:pt x="55" y="274"/>
                  <a:pt x="55" y="274"/>
                </a:cubicBezTo>
                <a:cubicBezTo>
                  <a:pt x="55" y="274"/>
                  <a:pt x="55" y="274"/>
                  <a:pt x="55" y="274"/>
                </a:cubicBezTo>
                <a:cubicBezTo>
                  <a:pt x="55" y="274"/>
                  <a:pt x="55" y="274"/>
                  <a:pt x="55" y="274"/>
                </a:cubicBezTo>
                <a:cubicBezTo>
                  <a:pt x="58" y="286"/>
                  <a:pt x="58" y="286"/>
                  <a:pt x="58" y="286"/>
                </a:cubicBezTo>
                <a:close/>
                <a:moveTo>
                  <a:pt x="53" y="265"/>
                </a:moveTo>
                <a:cubicBezTo>
                  <a:pt x="51" y="263"/>
                  <a:pt x="51" y="263"/>
                  <a:pt x="51" y="263"/>
                </a:cubicBezTo>
                <a:cubicBezTo>
                  <a:pt x="50" y="263"/>
                  <a:pt x="50" y="263"/>
                  <a:pt x="50" y="263"/>
                </a:cubicBezTo>
                <a:cubicBezTo>
                  <a:pt x="50" y="262"/>
                  <a:pt x="50" y="262"/>
                  <a:pt x="50" y="262"/>
                </a:cubicBezTo>
                <a:cubicBezTo>
                  <a:pt x="42" y="262"/>
                  <a:pt x="42" y="262"/>
                  <a:pt x="42" y="262"/>
                </a:cubicBezTo>
                <a:cubicBezTo>
                  <a:pt x="37" y="263"/>
                  <a:pt x="37" y="263"/>
                  <a:pt x="37" y="263"/>
                </a:cubicBezTo>
                <a:cubicBezTo>
                  <a:pt x="36" y="263"/>
                  <a:pt x="36" y="263"/>
                  <a:pt x="36" y="263"/>
                </a:cubicBezTo>
                <a:cubicBezTo>
                  <a:pt x="33" y="262"/>
                  <a:pt x="33" y="262"/>
                  <a:pt x="33" y="262"/>
                </a:cubicBezTo>
                <a:cubicBezTo>
                  <a:pt x="32" y="260"/>
                  <a:pt x="32" y="260"/>
                  <a:pt x="32" y="260"/>
                </a:cubicBezTo>
                <a:cubicBezTo>
                  <a:pt x="31" y="258"/>
                  <a:pt x="31" y="258"/>
                  <a:pt x="31" y="258"/>
                </a:cubicBezTo>
                <a:cubicBezTo>
                  <a:pt x="30" y="256"/>
                  <a:pt x="30" y="256"/>
                  <a:pt x="30" y="256"/>
                </a:cubicBezTo>
                <a:cubicBezTo>
                  <a:pt x="30" y="253"/>
                  <a:pt x="30" y="253"/>
                  <a:pt x="30" y="253"/>
                </a:cubicBezTo>
                <a:cubicBezTo>
                  <a:pt x="30" y="251"/>
                  <a:pt x="30" y="251"/>
                  <a:pt x="30" y="251"/>
                </a:cubicBezTo>
                <a:cubicBezTo>
                  <a:pt x="28" y="251"/>
                  <a:pt x="28" y="251"/>
                  <a:pt x="28" y="251"/>
                </a:cubicBezTo>
                <a:cubicBezTo>
                  <a:pt x="26" y="252"/>
                  <a:pt x="26" y="252"/>
                  <a:pt x="26" y="252"/>
                </a:cubicBezTo>
                <a:cubicBezTo>
                  <a:pt x="25" y="253"/>
                  <a:pt x="25" y="253"/>
                  <a:pt x="25" y="253"/>
                </a:cubicBezTo>
                <a:cubicBezTo>
                  <a:pt x="24" y="253"/>
                  <a:pt x="24" y="253"/>
                  <a:pt x="24" y="253"/>
                </a:cubicBezTo>
                <a:cubicBezTo>
                  <a:pt x="21" y="248"/>
                  <a:pt x="21" y="248"/>
                  <a:pt x="21" y="248"/>
                </a:cubicBezTo>
                <a:cubicBezTo>
                  <a:pt x="21" y="246"/>
                  <a:pt x="21" y="246"/>
                  <a:pt x="21" y="246"/>
                </a:cubicBezTo>
                <a:cubicBezTo>
                  <a:pt x="22" y="240"/>
                  <a:pt x="22" y="240"/>
                  <a:pt x="22" y="240"/>
                </a:cubicBezTo>
                <a:cubicBezTo>
                  <a:pt x="23" y="238"/>
                  <a:pt x="23" y="238"/>
                  <a:pt x="23" y="238"/>
                </a:cubicBezTo>
                <a:cubicBezTo>
                  <a:pt x="25" y="236"/>
                  <a:pt x="25" y="236"/>
                  <a:pt x="25" y="236"/>
                </a:cubicBezTo>
                <a:cubicBezTo>
                  <a:pt x="26" y="233"/>
                  <a:pt x="26" y="233"/>
                  <a:pt x="26" y="233"/>
                </a:cubicBezTo>
                <a:cubicBezTo>
                  <a:pt x="25" y="230"/>
                  <a:pt x="25" y="230"/>
                  <a:pt x="25" y="230"/>
                </a:cubicBezTo>
                <a:cubicBezTo>
                  <a:pt x="24" y="227"/>
                  <a:pt x="24" y="227"/>
                  <a:pt x="24" y="227"/>
                </a:cubicBezTo>
                <a:cubicBezTo>
                  <a:pt x="25" y="224"/>
                  <a:pt x="25" y="224"/>
                  <a:pt x="25" y="224"/>
                </a:cubicBezTo>
                <a:cubicBezTo>
                  <a:pt x="26" y="223"/>
                  <a:pt x="26" y="223"/>
                  <a:pt x="26" y="223"/>
                </a:cubicBezTo>
                <a:cubicBezTo>
                  <a:pt x="25" y="220"/>
                  <a:pt x="25" y="220"/>
                  <a:pt x="25" y="220"/>
                </a:cubicBezTo>
                <a:cubicBezTo>
                  <a:pt x="25" y="218"/>
                  <a:pt x="25" y="218"/>
                  <a:pt x="25" y="218"/>
                </a:cubicBezTo>
                <a:cubicBezTo>
                  <a:pt x="26" y="217"/>
                  <a:pt x="26" y="217"/>
                  <a:pt x="26" y="217"/>
                </a:cubicBezTo>
                <a:cubicBezTo>
                  <a:pt x="25" y="214"/>
                  <a:pt x="25" y="214"/>
                  <a:pt x="25" y="214"/>
                </a:cubicBezTo>
                <a:cubicBezTo>
                  <a:pt x="25" y="211"/>
                  <a:pt x="25" y="211"/>
                  <a:pt x="25" y="211"/>
                </a:cubicBezTo>
                <a:cubicBezTo>
                  <a:pt x="24" y="209"/>
                  <a:pt x="24" y="209"/>
                  <a:pt x="24" y="209"/>
                </a:cubicBezTo>
                <a:cubicBezTo>
                  <a:pt x="24" y="208"/>
                  <a:pt x="24" y="208"/>
                  <a:pt x="24" y="208"/>
                </a:cubicBezTo>
                <a:cubicBezTo>
                  <a:pt x="26" y="207"/>
                  <a:pt x="26" y="207"/>
                  <a:pt x="26" y="207"/>
                </a:cubicBezTo>
                <a:cubicBezTo>
                  <a:pt x="26" y="205"/>
                  <a:pt x="26" y="205"/>
                  <a:pt x="26" y="205"/>
                </a:cubicBezTo>
                <a:cubicBezTo>
                  <a:pt x="24" y="203"/>
                  <a:pt x="24" y="203"/>
                  <a:pt x="24" y="203"/>
                </a:cubicBezTo>
                <a:cubicBezTo>
                  <a:pt x="22" y="202"/>
                  <a:pt x="22" y="202"/>
                  <a:pt x="22" y="202"/>
                </a:cubicBezTo>
                <a:cubicBezTo>
                  <a:pt x="21" y="202"/>
                  <a:pt x="21" y="202"/>
                  <a:pt x="21" y="202"/>
                </a:cubicBezTo>
                <a:cubicBezTo>
                  <a:pt x="21" y="202"/>
                  <a:pt x="21" y="202"/>
                  <a:pt x="21" y="202"/>
                </a:cubicBezTo>
                <a:cubicBezTo>
                  <a:pt x="20" y="201"/>
                  <a:pt x="20" y="201"/>
                  <a:pt x="20" y="201"/>
                </a:cubicBezTo>
                <a:cubicBezTo>
                  <a:pt x="20" y="200"/>
                  <a:pt x="20" y="200"/>
                  <a:pt x="20" y="200"/>
                </a:cubicBezTo>
                <a:cubicBezTo>
                  <a:pt x="23" y="200"/>
                  <a:pt x="23" y="200"/>
                  <a:pt x="23" y="200"/>
                </a:cubicBezTo>
                <a:cubicBezTo>
                  <a:pt x="24" y="198"/>
                  <a:pt x="24" y="198"/>
                  <a:pt x="24" y="198"/>
                </a:cubicBezTo>
                <a:cubicBezTo>
                  <a:pt x="24" y="197"/>
                  <a:pt x="24" y="197"/>
                  <a:pt x="24" y="197"/>
                </a:cubicBezTo>
                <a:cubicBezTo>
                  <a:pt x="24" y="197"/>
                  <a:pt x="24" y="197"/>
                  <a:pt x="24" y="197"/>
                </a:cubicBezTo>
                <a:cubicBezTo>
                  <a:pt x="23" y="197"/>
                  <a:pt x="23" y="197"/>
                  <a:pt x="23" y="197"/>
                </a:cubicBezTo>
                <a:cubicBezTo>
                  <a:pt x="21" y="197"/>
                  <a:pt x="21" y="197"/>
                  <a:pt x="21" y="197"/>
                </a:cubicBezTo>
                <a:cubicBezTo>
                  <a:pt x="21" y="194"/>
                  <a:pt x="21" y="194"/>
                  <a:pt x="21" y="194"/>
                </a:cubicBezTo>
                <a:cubicBezTo>
                  <a:pt x="20" y="192"/>
                  <a:pt x="20" y="192"/>
                  <a:pt x="20" y="192"/>
                </a:cubicBezTo>
                <a:cubicBezTo>
                  <a:pt x="20" y="190"/>
                  <a:pt x="20" y="190"/>
                  <a:pt x="20" y="190"/>
                </a:cubicBezTo>
                <a:cubicBezTo>
                  <a:pt x="20" y="188"/>
                  <a:pt x="20" y="188"/>
                  <a:pt x="20" y="188"/>
                </a:cubicBezTo>
                <a:cubicBezTo>
                  <a:pt x="18" y="187"/>
                  <a:pt x="18" y="187"/>
                  <a:pt x="18" y="187"/>
                </a:cubicBezTo>
                <a:cubicBezTo>
                  <a:pt x="17" y="185"/>
                  <a:pt x="17" y="185"/>
                  <a:pt x="17" y="185"/>
                </a:cubicBezTo>
                <a:cubicBezTo>
                  <a:pt x="17" y="180"/>
                  <a:pt x="17" y="180"/>
                  <a:pt x="17" y="180"/>
                </a:cubicBezTo>
                <a:cubicBezTo>
                  <a:pt x="18" y="179"/>
                  <a:pt x="18" y="179"/>
                  <a:pt x="18" y="179"/>
                </a:cubicBezTo>
                <a:cubicBezTo>
                  <a:pt x="19" y="178"/>
                  <a:pt x="19" y="178"/>
                  <a:pt x="19" y="178"/>
                </a:cubicBezTo>
                <a:cubicBezTo>
                  <a:pt x="18" y="177"/>
                  <a:pt x="18" y="177"/>
                  <a:pt x="18" y="177"/>
                </a:cubicBezTo>
                <a:cubicBezTo>
                  <a:pt x="17" y="176"/>
                  <a:pt x="17" y="176"/>
                  <a:pt x="17" y="176"/>
                </a:cubicBezTo>
                <a:cubicBezTo>
                  <a:pt x="16" y="173"/>
                  <a:pt x="16" y="173"/>
                  <a:pt x="16" y="173"/>
                </a:cubicBezTo>
                <a:cubicBezTo>
                  <a:pt x="16" y="169"/>
                  <a:pt x="16" y="169"/>
                  <a:pt x="16" y="169"/>
                </a:cubicBezTo>
                <a:cubicBezTo>
                  <a:pt x="16" y="164"/>
                  <a:pt x="16" y="164"/>
                  <a:pt x="16" y="164"/>
                </a:cubicBezTo>
                <a:cubicBezTo>
                  <a:pt x="15" y="162"/>
                  <a:pt x="15" y="162"/>
                  <a:pt x="15" y="162"/>
                </a:cubicBezTo>
                <a:cubicBezTo>
                  <a:pt x="15" y="160"/>
                  <a:pt x="15" y="160"/>
                  <a:pt x="15" y="160"/>
                </a:cubicBezTo>
                <a:cubicBezTo>
                  <a:pt x="17" y="157"/>
                  <a:pt x="17" y="157"/>
                  <a:pt x="17" y="157"/>
                </a:cubicBezTo>
                <a:cubicBezTo>
                  <a:pt x="18" y="154"/>
                  <a:pt x="18" y="154"/>
                  <a:pt x="18" y="154"/>
                </a:cubicBezTo>
                <a:cubicBezTo>
                  <a:pt x="19" y="153"/>
                  <a:pt x="19" y="153"/>
                  <a:pt x="19" y="153"/>
                </a:cubicBezTo>
                <a:cubicBezTo>
                  <a:pt x="20" y="152"/>
                  <a:pt x="20" y="152"/>
                  <a:pt x="20" y="152"/>
                </a:cubicBezTo>
                <a:cubicBezTo>
                  <a:pt x="16" y="144"/>
                  <a:pt x="16" y="144"/>
                  <a:pt x="16" y="144"/>
                </a:cubicBezTo>
                <a:cubicBezTo>
                  <a:pt x="17" y="142"/>
                  <a:pt x="17" y="142"/>
                  <a:pt x="17" y="142"/>
                </a:cubicBezTo>
                <a:cubicBezTo>
                  <a:pt x="17" y="140"/>
                  <a:pt x="17" y="140"/>
                  <a:pt x="17" y="140"/>
                </a:cubicBezTo>
                <a:cubicBezTo>
                  <a:pt x="17" y="136"/>
                  <a:pt x="17" y="136"/>
                  <a:pt x="17" y="136"/>
                </a:cubicBezTo>
                <a:cubicBezTo>
                  <a:pt x="18" y="133"/>
                  <a:pt x="18" y="133"/>
                  <a:pt x="18" y="133"/>
                </a:cubicBezTo>
                <a:cubicBezTo>
                  <a:pt x="20" y="132"/>
                  <a:pt x="20" y="132"/>
                  <a:pt x="20" y="132"/>
                </a:cubicBezTo>
                <a:cubicBezTo>
                  <a:pt x="19" y="129"/>
                  <a:pt x="19" y="129"/>
                  <a:pt x="19" y="129"/>
                </a:cubicBezTo>
                <a:cubicBezTo>
                  <a:pt x="18" y="127"/>
                  <a:pt x="18" y="127"/>
                  <a:pt x="18" y="127"/>
                </a:cubicBezTo>
                <a:cubicBezTo>
                  <a:pt x="17" y="126"/>
                  <a:pt x="17" y="126"/>
                  <a:pt x="17" y="126"/>
                </a:cubicBezTo>
                <a:cubicBezTo>
                  <a:pt x="19" y="124"/>
                  <a:pt x="19" y="124"/>
                  <a:pt x="19" y="124"/>
                </a:cubicBezTo>
                <a:cubicBezTo>
                  <a:pt x="18" y="122"/>
                  <a:pt x="18" y="122"/>
                  <a:pt x="18" y="122"/>
                </a:cubicBezTo>
                <a:cubicBezTo>
                  <a:pt x="19" y="119"/>
                  <a:pt x="19" y="119"/>
                  <a:pt x="19" y="119"/>
                </a:cubicBezTo>
                <a:cubicBezTo>
                  <a:pt x="21" y="119"/>
                  <a:pt x="21" y="119"/>
                  <a:pt x="21" y="119"/>
                </a:cubicBezTo>
                <a:cubicBezTo>
                  <a:pt x="21" y="116"/>
                  <a:pt x="21" y="116"/>
                  <a:pt x="21" y="116"/>
                </a:cubicBezTo>
                <a:cubicBezTo>
                  <a:pt x="20" y="111"/>
                  <a:pt x="20" y="111"/>
                  <a:pt x="20" y="111"/>
                </a:cubicBezTo>
                <a:cubicBezTo>
                  <a:pt x="19" y="110"/>
                  <a:pt x="19" y="110"/>
                  <a:pt x="19" y="110"/>
                </a:cubicBezTo>
                <a:cubicBezTo>
                  <a:pt x="19" y="107"/>
                  <a:pt x="19" y="107"/>
                  <a:pt x="19" y="107"/>
                </a:cubicBezTo>
                <a:cubicBezTo>
                  <a:pt x="18" y="105"/>
                  <a:pt x="18" y="105"/>
                  <a:pt x="18" y="105"/>
                </a:cubicBezTo>
                <a:cubicBezTo>
                  <a:pt x="16" y="102"/>
                  <a:pt x="16" y="102"/>
                  <a:pt x="16" y="102"/>
                </a:cubicBezTo>
                <a:cubicBezTo>
                  <a:pt x="16" y="101"/>
                  <a:pt x="16" y="101"/>
                  <a:pt x="16" y="101"/>
                </a:cubicBezTo>
                <a:cubicBezTo>
                  <a:pt x="15" y="100"/>
                  <a:pt x="15" y="100"/>
                  <a:pt x="15" y="100"/>
                </a:cubicBezTo>
                <a:cubicBezTo>
                  <a:pt x="14" y="97"/>
                  <a:pt x="14" y="97"/>
                  <a:pt x="14" y="97"/>
                </a:cubicBezTo>
                <a:cubicBezTo>
                  <a:pt x="15" y="94"/>
                  <a:pt x="15" y="94"/>
                  <a:pt x="15" y="94"/>
                </a:cubicBezTo>
                <a:cubicBezTo>
                  <a:pt x="16" y="93"/>
                  <a:pt x="16" y="93"/>
                  <a:pt x="16" y="93"/>
                </a:cubicBezTo>
                <a:cubicBezTo>
                  <a:pt x="16" y="90"/>
                  <a:pt x="16" y="90"/>
                  <a:pt x="16" y="90"/>
                </a:cubicBezTo>
                <a:cubicBezTo>
                  <a:pt x="17" y="89"/>
                  <a:pt x="17" y="89"/>
                  <a:pt x="17" y="89"/>
                </a:cubicBezTo>
                <a:cubicBezTo>
                  <a:pt x="17" y="86"/>
                  <a:pt x="17" y="86"/>
                  <a:pt x="17" y="86"/>
                </a:cubicBezTo>
                <a:cubicBezTo>
                  <a:pt x="16" y="84"/>
                  <a:pt x="16" y="84"/>
                  <a:pt x="16" y="84"/>
                </a:cubicBezTo>
                <a:cubicBezTo>
                  <a:pt x="16" y="80"/>
                  <a:pt x="16" y="80"/>
                  <a:pt x="16" y="80"/>
                </a:cubicBezTo>
                <a:cubicBezTo>
                  <a:pt x="17" y="79"/>
                  <a:pt x="17" y="79"/>
                  <a:pt x="17" y="79"/>
                </a:cubicBezTo>
                <a:cubicBezTo>
                  <a:pt x="17" y="75"/>
                  <a:pt x="17" y="75"/>
                  <a:pt x="17" y="75"/>
                </a:cubicBezTo>
                <a:cubicBezTo>
                  <a:pt x="19" y="73"/>
                  <a:pt x="19" y="73"/>
                  <a:pt x="19" y="73"/>
                </a:cubicBezTo>
                <a:cubicBezTo>
                  <a:pt x="20" y="69"/>
                  <a:pt x="20" y="69"/>
                  <a:pt x="20" y="69"/>
                </a:cubicBezTo>
                <a:cubicBezTo>
                  <a:pt x="22" y="67"/>
                  <a:pt x="22" y="67"/>
                  <a:pt x="22" y="67"/>
                </a:cubicBezTo>
                <a:cubicBezTo>
                  <a:pt x="23" y="67"/>
                  <a:pt x="23" y="67"/>
                  <a:pt x="23" y="67"/>
                </a:cubicBezTo>
                <a:cubicBezTo>
                  <a:pt x="24" y="65"/>
                  <a:pt x="24" y="65"/>
                  <a:pt x="24" y="65"/>
                </a:cubicBezTo>
                <a:cubicBezTo>
                  <a:pt x="23" y="65"/>
                  <a:pt x="23" y="65"/>
                  <a:pt x="23" y="65"/>
                </a:cubicBezTo>
                <a:cubicBezTo>
                  <a:pt x="23" y="63"/>
                  <a:pt x="23" y="63"/>
                  <a:pt x="23" y="63"/>
                </a:cubicBezTo>
                <a:cubicBezTo>
                  <a:pt x="23" y="62"/>
                  <a:pt x="23" y="62"/>
                  <a:pt x="23" y="62"/>
                </a:cubicBezTo>
                <a:cubicBezTo>
                  <a:pt x="22" y="61"/>
                  <a:pt x="22" y="61"/>
                  <a:pt x="22" y="61"/>
                </a:cubicBezTo>
                <a:cubicBezTo>
                  <a:pt x="22" y="60"/>
                  <a:pt x="22" y="60"/>
                  <a:pt x="22" y="60"/>
                </a:cubicBezTo>
                <a:cubicBezTo>
                  <a:pt x="24" y="59"/>
                  <a:pt x="24" y="59"/>
                  <a:pt x="24" y="59"/>
                </a:cubicBezTo>
                <a:cubicBezTo>
                  <a:pt x="24" y="58"/>
                  <a:pt x="24" y="58"/>
                  <a:pt x="24" y="58"/>
                </a:cubicBezTo>
                <a:cubicBezTo>
                  <a:pt x="22" y="56"/>
                  <a:pt x="22" y="56"/>
                  <a:pt x="22" y="56"/>
                </a:cubicBezTo>
                <a:cubicBezTo>
                  <a:pt x="22" y="54"/>
                  <a:pt x="22" y="54"/>
                  <a:pt x="22" y="54"/>
                </a:cubicBezTo>
                <a:cubicBezTo>
                  <a:pt x="23" y="53"/>
                  <a:pt x="23" y="53"/>
                  <a:pt x="23" y="53"/>
                </a:cubicBezTo>
                <a:cubicBezTo>
                  <a:pt x="22" y="51"/>
                  <a:pt x="22" y="51"/>
                  <a:pt x="22" y="51"/>
                </a:cubicBezTo>
                <a:cubicBezTo>
                  <a:pt x="21" y="50"/>
                  <a:pt x="21" y="50"/>
                  <a:pt x="21" y="50"/>
                </a:cubicBezTo>
                <a:cubicBezTo>
                  <a:pt x="22" y="49"/>
                  <a:pt x="22" y="49"/>
                  <a:pt x="22" y="49"/>
                </a:cubicBezTo>
                <a:cubicBezTo>
                  <a:pt x="29" y="45"/>
                  <a:pt x="29" y="45"/>
                  <a:pt x="29" y="45"/>
                </a:cubicBezTo>
                <a:cubicBezTo>
                  <a:pt x="31" y="38"/>
                  <a:pt x="31" y="38"/>
                  <a:pt x="31" y="38"/>
                </a:cubicBezTo>
                <a:cubicBezTo>
                  <a:pt x="30" y="36"/>
                  <a:pt x="30" y="36"/>
                  <a:pt x="30" y="36"/>
                </a:cubicBezTo>
                <a:cubicBezTo>
                  <a:pt x="29" y="36"/>
                  <a:pt x="29" y="36"/>
                  <a:pt x="29" y="36"/>
                </a:cubicBezTo>
                <a:cubicBezTo>
                  <a:pt x="28" y="37"/>
                  <a:pt x="28" y="37"/>
                  <a:pt x="28" y="37"/>
                </a:cubicBezTo>
                <a:cubicBezTo>
                  <a:pt x="27" y="37"/>
                  <a:pt x="27" y="37"/>
                  <a:pt x="27" y="37"/>
                </a:cubicBezTo>
                <a:cubicBezTo>
                  <a:pt x="22" y="25"/>
                  <a:pt x="22" y="25"/>
                  <a:pt x="22" y="25"/>
                </a:cubicBezTo>
                <a:cubicBezTo>
                  <a:pt x="19" y="22"/>
                  <a:pt x="19" y="22"/>
                  <a:pt x="19" y="22"/>
                </a:cubicBezTo>
                <a:cubicBezTo>
                  <a:pt x="18" y="20"/>
                  <a:pt x="18" y="20"/>
                  <a:pt x="18" y="20"/>
                </a:cubicBezTo>
                <a:cubicBezTo>
                  <a:pt x="20" y="17"/>
                  <a:pt x="20" y="17"/>
                  <a:pt x="20" y="17"/>
                </a:cubicBezTo>
                <a:cubicBezTo>
                  <a:pt x="19" y="16"/>
                  <a:pt x="19" y="16"/>
                  <a:pt x="19" y="16"/>
                </a:cubicBezTo>
                <a:cubicBezTo>
                  <a:pt x="20" y="14"/>
                  <a:pt x="20" y="14"/>
                  <a:pt x="20" y="14"/>
                </a:cubicBezTo>
                <a:cubicBezTo>
                  <a:pt x="20" y="13"/>
                  <a:pt x="20" y="13"/>
                  <a:pt x="20" y="13"/>
                </a:cubicBezTo>
                <a:cubicBezTo>
                  <a:pt x="17" y="11"/>
                  <a:pt x="17" y="11"/>
                  <a:pt x="17" y="11"/>
                </a:cubicBezTo>
                <a:cubicBezTo>
                  <a:pt x="16" y="9"/>
                  <a:pt x="16" y="9"/>
                  <a:pt x="16" y="9"/>
                </a:cubicBezTo>
                <a:cubicBezTo>
                  <a:pt x="15" y="7"/>
                  <a:pt x="15" y="7"/>
                  <a:pt x="15" y="7"/>
                </a:cubicBezTo>
                <a:cubicBezTo>
                  <a:pt x="15" y="6"/>
                  <a:pt x="15" y="6"/>
                  <a:pt x="15" y="6"/>
                </a:cubicBezTo>
                <a:cubicBezTo>
                  <a:pt x="15" y="5"/>
                  <a:pt x="15" y="5"/>
                  <a:pt x="15" y="5"/>
                </a:cubicBezTo>
                <a:cubicBezTo>
                  <a:pt x="15" y="4"/>
                  <a:pt x="15" y="4"/>
                  <a:pt x="15" y="4"/>
                </a:cubicBezTo>
                <a:cubicBezTo>
                  <a:pt x="15" y="3"/>
                  <a:pt x="15" y="3"/>
                  <a:pt x="15" y="3"/>
                </a:cubicBezTo>
                <a:cubicBezTo>
                  <a:pt x="13" y="2"/>
                  <a:pt x="13" y="2"/>
                  <a:pt x="13" y="2"/>
                </a:cubicBezTo>
                <a:cubicBezTo>
                  <a:pt x="13" y="1"/>
                  <a:pt x="13" y="1"/>
                  <a:pt x="13" y="1"/>
                </a:cubicBezTo>
                <a:cubicBezTo>
                  <a:pt x="12" y="0"/>
                  <a:pt x="12" y="0"/>
                  <a:pt x="12" y="0"/>
                </a:cubicBezTo>
                <a:cubicBezTo>
                  <a:pt x="11" y="1"/>
                  <a:pt x="11" y="1"/>
                  <a:pt x="11" y="1"/>
                </a:cubicBezTo>
                <a:cubicBezTo>
                  <a:pt x="11" y="3"/>
                  <a:pt x="11" y="3"/>
                  <a:pt x="11" y="3"/>
                </a:cubicBezTo>
                <a:cubicBezTo>
                  <a:pt x="12" y="4"/>
                  <a:pt x="12" y="4"/>
                  <a:pt x="12" y="4"/>
                </a:cubicBezTo>
                <a:cubicBezTo>
                  <a:pt x="12" y="5"/>
                  <a:pt x="12" y="5"/>
                  <a:pt x="12" y="5"/>
                </a:cubicBezTo>
                <a:cubicBezTo>
                  <a:pt x="10" y="5"/>
                  <a:pt x="10" y="5"/>
                  <a:pt x="10" y="5"/>
                </a:cubicBezTo>
                <a:cubicBezTo>
                  <a:pt x="10" y="5"/>
                  <a:pt x="10" y="5"/>
                  <a:pt x="10" y="5"/>
                </a:cubicBezTo>
                <a:cubicBezTo>
                  <a:pt x="8" y="6"/>
                  <a:pt x="8" y="6"/>
                  <a:pt x="8" y="6"/>
                </a:cubicBezTo>
                <a:cubicBezTo>
                  <a:pt x="7" y="7"/>
                  <a:pt x="7" y="7"/>
                  <a:pt x="7" y="7"/>
                </a:cubicBezTo>
                <a:cubicBezTo>
                  <a:pt x="7" y="7"/>
                  <a:pt x="7" y="7"/>
                  <a:pt x="7" y="7"/>
                </a:cubicBezTo>
                <a:cubicBezTo>
                  <a:pt x="7" y="9"/>
                  <a:pt x="7" y="9"/>
                  <a:pt x="7" y="9"/>
                </a:cubicBezTo>
                <a:cubicBezTo>
                  <a:pt x="7" y="11"/>
                  <a:pt x="7" y="11"/>
                  <a:pt x="7" y="11"/>
                </a:cubicBezTo>
                <a:cubicBezTo>
                  <a:pt x="8" y="12"/>
                  <a:pt x="8" y="12"/>
                  <a:pt x="8" y="12"/>
                </a:cubicBezTo>
                <a:cubicBezTo>
                  <a:pt x="9" y="17"/>
                  <a:pt x="9" y="17"/>
                  <a:pt x="9" y="17"/>
                </a:cubicBezTo>
                <a:cubicBezTo>
                  <a:pt x="9" y="19"/>
                  <a:pt x="9" y="19"/>
                  <a:pt x="9" y="19"/>
                </a:cubicBezTo>
                <a:cubicBezTo>
                  <a:pt x="8" y="20"/>
                  <a:pt x="8" y="20"/>
                  <a:pt x="8" y="20"/>
                </a:cubicBezTo>
                <a:cubicBezTo>
                  <a:pt x="8" y="21"/>
                  <a:pt x="8" y="21"/>
                  <a:pt x="8" y="21"/>
                </a:cubicBezTo>
                <a:cubicBezTo>
                  <a:pt x="8" y="23"/>
                  <a:pt x="8" y="23"/>
                  <a:pt x="8" y="23"/>
                </a:cubicBezTo>
                <a:cubicBezTo>
                  <a:pt x="9" y="25"/>
                  <a:pt x="9" y="25"/>
                  <a:pt x="9" y="25"/>
                </a:cubicBezTo>
                <a:cubicBezTo>
                  <a:pt x="10" y="27"/>
                  <a:pt x="10" y="27"/>
                  <a:pt x="10" y="27"/>
                </a:cubicBezTo>
                <a:cubicBezTo>
                  <a:pt x="10" y="31"/>
                  <a:pt x="10" y="31"/>
                  <a:pt x="10" y="31"/>
                </a:cubicBezTo>
                <a:cubicBezTo>
                  <a:pt x="9" y="32"/>
                  <a:pt x="9" y="32"/>
                  <a:pt x="9" y="32"/>
                </a:cubicBezTo>
                <a:cubicBezTo>
                  <a:pt x="9" y="32"/>
                  <a:pt x="9" y="32"/>
                  <a:pt x="9" y="32"/>
                </a:cubicBezTo>
                <a:cubicBezTo>
                  <a:pt x="9" y="37"/>
                  <a:pt x="9" y="37"/>
                  <a:pt x="9" y="37"/>
                </a:cubicBezTo>
                <a:cubicBezTo>
                  <a:pt x="9" y="38"/>
                  <a:pt x="9" y="38"/>
                  <a:pt x="9" y="38"/>
                </a:cubicBezTo>
                <a:cubicBezTo>
                  <a:pt x="8" y="38"/>
                  <a:pt x="8" y="38"/>
                  <a:pt x="8" y="38"/>
                </a:cubicBezTo>
                <a:cubicBezTo>
                  <a:pt x="7" y="39"/>
                  <a:pt x="7" y="39"/>
                  <a:pt x="7" y="39"/>
                </a:cubicBezTo>
                <a:cubicBezTo>
                  <a:pt x="8" y="41"/>
                  <a:pt x="8" y="41"/>
                  <a:pt x="8" y="41"/>
                </a:cubicBezTo>
                <a:cubicBezTo>
                  <a:pt x="8" y="42"/>
                  <a:pt x="8" y="42"/>
                  <a:pt x="8" y="42"/>
                </a:cubicBezTo>
                <a:cubicBezTo>
                  <a:pt x="9" y="41"/>
                  <a:pt x="9" y="41"/>
                  <a:pt x="9" y="41"/>
                </a:cubicBezTo>
                <a:cubicBezTo>
                  <a:pt x="9" y="42"/>
                  <a:pt x="9" y="42"/>
                  <a:pt x="9" y="42"/>
                </a:cubicBezTo>
                <a:cubicBezTo>
                  <a:pt x="8" y="43"/>
                  <a:pt x="8" y="43"/>
                  <a:pt x="8" y="43"/>
                </a:cubicBezTo>
                <a:cubicBezTo>
                  <a:pt x="9" y="49"/>
                  <a:pt x="9" y="49"/>
                  <a:pt x="9" y="49"/>
                </a:cubicBezTo>
                <a:cubicBezTo>
                  <a:pt x="9" y="52"/>
                  <a:pt x="9" y="52"/>
                  <a:pt x="9" y="52"/>
                </a:cubicBezTo>
                <a:cubicBezTo>
                  <a:pt x="10" y="54"/>
                  <a:pt x="10" y="54"/>
                  <a:pt x="10" y="54"/>
                </a:cubicBezTo>
                <a:cubicBezTo>
                  <a:pt x="9" y="55"/>
                  <a:pt x="9" y="55"/>
                  <a:pt x="9" y="55"/>
                </a:cubicBezTo>
                <a:cubicBezTo>
                  <a:pt x="8" y="57"/>
                  <a:pt x="8" y="57"/>
                  <a:pt x="8" y="57"/>
                </a:cubicBezTo>
                <a:cubicBezTo>
                  <a:pt x="8" y="59"/>
                  <a:pt x="8" y="59"/>
                  <a:pt x="8" y="59"/>
                </a:cubicBezTo>
                <a:cubicBezTo>
                  <a:pt x="10" y="61"/>
                  <a:pt x="10" y="61"/>
                  <a:pt x="10" y="61"/>
                </a:cubicBezTo>
                <a:cubicBezTo>
                  <a:pt x="9" y="62"/>
                  <a:pt x="9" y="62"/>
                  <a:pt x="9" y="62"/>
                </a:cubicBezTo>
                <a:cubicBezTo>
                  <a:pt x="9" y="65"/>
                  <a:pt x="9" y="65"/>
                  <a:pt x="9" y="65"/>
                </a:cubicBezTo>
                <a:cubicBezTo>
                  <a:pt x="8" y="66"/>
                  <a:pt x="8" y="66"/>
                  <a:pt x="8" y="66"/>
                </a:cubicBezTo>
                <a:cubicBezTo>
                  <a:pt x="8" y="68"/>
                  <a:pt x="8" y="68"/>
                  <a:pt x="8" y="68"/>
                </a:cubicBezTo>
                <a:cubicBezTo>
                  <a:pt x="9" y="69"/>
                  <a:pt x="9" y="69"/>
                  <a:pt x="9" y="69"/>
                </a:cubicBezTo>
                <a:cubicBezTo>
                  <a:pt x="9" y="70"/>
                  <a:pt x="9" y="70"/>
                  <a:pt x="9" y="70"/>
                </a:cubicBezTo>
                <a:cubicBezTo>
                  <a:pt x="8" y="71"/>
                  <a:pt x="8" y="71"/>
                  <a:pt x="8" y="71"/>
                </a:cubicBezTo>
                <a:cubicBezTo>
                  <a:pt x="8" y="73"/>
                  <a:pt x="8" y="73"/>
                  <a:pt x="8" y="73"/>
                </a:cubicBezTo>
                <a:cubicBezTo>
                  <a:pt x="7" y="74"/>
                  <a:pt x="7" y="74"/>
                  <a:pt x="7" y="74"/>
                </a:cubicBezTo>
                <a:cubicBezTo>
                  <a:pt x="7" y="76"/>
                  <a:pt x="7" y="76"/>
                  <a:pt x="7" y="76"/>
                </a:cubicBezTo>
                <a:cubicBezTo>
                  <a:pt x="7" y="77"/>
                  <a:pt x="7" y="77"/>
                  <a:pt x="7" y="77"/>
                </a:cubicBezTo>
                <a:cubicBezTo>
                  <a:pt x="6" y="79"/>
                  <a:pt x="6" y="79"/>
                  <a:pt x="6" y="79"/>
                </a:cubicBezTo>
                <a:cubicBezTo>
                  <a:pt x="6" y="80"/>
                  <a:pt x="6" y="80"/>
                  <a:pt x="6" y="80"/>
                </a:cubicBezTo>
                <a:cubicBezTo>
                  <a:pt x="7" y="82"/>
                  <a:pt x="7" y="82"/>
                  <a:pt x="7" y="82"/>
                </a:cubicBezTo>
                <a:cubicBezTo>
                  <a:pt x="7" y="84"/>
                  <a:pt x="7" y="84"/>
                  <a:pt x="7" y="84"/>
                </a:cubicBezTo>
                <a:cubicBezTo>
                  <a:pt x="8" y="85"/>
                  <a:pt x="8" y="85"/>
                  <a:pt x="8" y="85"/>
                </a:cubicBezTo>
                <a:cubicBezTo>
                  <a:pt x="7" y="85"/>
                  <a:pt x="7" y="85"/>
                  <a:pt x="7" y="85"/>
                </a:cubicBezTo>
                <a:cubicBezTo>
                  <a:pt x="7" y="87"/>
                  <a:pt x="7" y="87"/>
                  <a:pt x="7" y="87"/>
                </a:cubicBezTo>
                <a:cubicBezTo>
                  <a:pt x="8" y="88"/>
                  <a:pt x="8" y="88"/>
                  <a:pt x="8" y="88"/>
                </a:cubicBezTo>
                <a:cubicBezTo>
                  <a:pt x="7" y="89"/>
                  <a:pt x="7" y="89"/>
                  <a:pt x="7" y="89"/>
                </a:cubicBezTo>
                <a:cubicBezTo>
                  <a:pt x="6" y="89"/>
                  <a:pt x="6" y="89"/>
                  <a:pt x="6" y="89"/>
                </a:cubicBezTo>
                <a:cubicBezTo>
                  <a:pt x="6" y="91"/>
                  <a:pt x="6" y="91"/>
                  <a:pt x="6" y="91"/>
                </a:cubicBezTo>
                <a:cubicBezTo>
                  <a:pt x="6" y="92"/>
                  <a:pt x="6" y="92"/>
                  <a:pt x="6" y="92"/>
                </a:cubicBezTo>
                <a:cubicBezTo>
                  <a:pt x="6" y="94"/>
                  <a:pt x="6" y="94"/>
                  <a:pt x="6" y="94"/>
                </a:cubicBezTo>
                <a:cubicBezTo>
                  <a:pt x="8" y="98"/>
                  <a:pt x="8" y="98"/>
                  <a:pt x="8" y="98"/>
                </a:cubicBezTo>
                <a:cubicBezTo>
                  <a:pt x="8" y="100"/>
                  <a:pt x="8" y="100"/>
                  <a:pt x="8" y="100"/>
                </a:cubicBezTo>
                <a:cubicBezTo>
                  <a:pt x="7" y="100"/>
                  <a:pt x="7" y="100"/>
                  <a:pt x="7" y="100"/>
                </a:cubicBezTo>
                <a:cubicBezTo>
                  <a:pt x="7" y="101"/>
                  <a:pt x="7" y="101"/>
                  <a:pt x="7" y="101"/>
                </a:cubicBezTo>
                <a:cubicBezTo>
                  <a:pt x="8" y="103"/>
                  <a:pt x="8" y="103"/>
                  <a:pt x="8" y="103"/>
                </a:cubicBezTo>
                <a:cubicBezTo>
                  <a:pt x="9" y="106"/>
                  <a:pt x="9" y="106"/>
                  <a:pt x="9" y="106"/>
                </a:cubicBezTo>
                <a:cubicBezTo>
                  <a:pt x="8" y="107"/>
                  <a:pt x="8" y="107"/>
                  <a:pt x="8" y="107"/>
                </a:cubicBezTo>
                <a:cubicBezTo>
                  <a:pt x="8" y="108"/>
                  <a:pt x="8" y="108"/>
                  <a:pt x="8" y="108"/>
                </a:cubicBezTo>
                <a:cubicBezTo>
                  <a:pt x="9" y="109"/>
                  <a:pt x="9" y="109"/>
                  <a:pt x="9" y="109"/>
                </a:cubicBezTo>
                <a:cubicBezTo>
                  <a:pt x="8" y="110"/>
                  <a:pt x="8" y="110"/>
                  <a:pt x="8" y="110"/>
                </a:cubicBezTo>
                <a:cubicBezTo>
                  <a:pt x="8" y="111"/>
                  <a:pt x="8" y="111"/>
                  <a:pt x="8" y="111"/>
                </a:cubicBezTo>
                <a:cubicBezTo>
                  <a:pt x="8" y="111"/>
                  <a:pt x="8" y="111"/>
                  <a:pt x="8" y="111"/>
                </a:cubicBezTo>
                <a:cubicBezTo>
                  <a:pt x="10" y="113"/>
                  <a:pt x="10" y="113"/>
                  <a:pt x="10" y="113"/>
                </a:cubicBezTo>
                <a:cubicBezTo>
                  <a:pt x="10" y="114"/>
                  <a:pt x="10" y="114"/>
                  <a:pt x="10" y="114"/>
                </a:cubicBezTo>
                <a:cubicBezTo>
                  <a:pt x="9" y="116"/>
                  <a:pt x="9" y="116"/>
                  <a:pt x="9" y="116"/>
                </a:cubicBezTo>
                <a:cubicBezTo>
                  <a:pt x="8" y="116"/>
                  <a:pt x="8" y="116"/>
                  <a:pt x="8" y="116"/>
                </a:cubicBezTo>
                <a:cubicBezTo>
                  <a:pt x="8" y="118"/>
                  <a:pt x="8" y="118"/>
                  <a:pt x="8" y="118"/>
                </a:cubicBezTo>
                <a:cubicBezTo>
                  <a:pt x="8" y="118"/>
                  <a:pt x="8" y="118"/>
                  <a:pt x="8" y="118"/>
                </a:cubicBezTo>
                <a:cubicBezTo>
                  <a:pt x="8" y="119"/>
                  <a:pt x="8" y="119"/>
                  <a:pt x="8" y="119"/>
                </a:cubicBezTo>
                <a:cubicBezTo>
                  <a:pt x="8" y="121"/>
                  <a:pt x="8" y="121"/>
                  <a:pt x="8" y="121"/>
                </a:cubicBezTo>
                <a:cubicBezTo>
                  <a:pt x="7" y="121"/>
                  <a:pt x="7" y="121"/>
                  <a:pt x="7" y="121"/>
                </a:cubicBezTo>
                <a:cubicBezTo>
                  <a:pt x="7" y="122"/>
                  <a:pt x="7" y="122"/>
                  <a:pt x="7" y="122"/>
                </a:cubicBezTo>
                <a:cubicBezTo>
                  <a:pt x="7" y="124"/>
                  <a:pt x="7" y="124"/>
                  <a:pt x="7" y="124"/>
                </a:cubicBezTo>
                <a:cubicBezTo>
                  <a:pt x="6" y="125"/>
                  <a:pt x="6" y="125"/>
                  <a:pt x="6" y="125"/>
                </a:cubicBezTo>
                <a:cubicBezTo>
                  <a:pt x="6" y="126"/>
                  <a:pt x="6" y="126"/>
                  <a:pt x="6" y="126"/>
                </a:cubicBezTo>
                <a:cubicBezTo>
                  <a:pt x="6" y="127"/>
                  <a:pt x="6" y="127"/>
                  <a:pt x="6" y="127"/>
                </a:cubicBezTo>
                <a:cubicBezTo>
                  <a:pt x="6" y="129"/>
                  <a:pt x="6" y="129"/>
                  <a:pt x="6" y="129"/>
                </a:cubicBezTo>
                <a:cubicBezTo>
                  <a:pt x="5" y="129"/>
                  <a:pt x="5" y="129"/>
                  <a:pt x="5" y="129"/>
                </a:cubicBezTo>
                <a:cubicBezTo>
                  <a:pt x="5" y="130"/>
                  <a:pt x="5" y="130"/>
                  <a:pt x="5" y="130"/>
                </a:cubicBezTo>
                <a:cubicBezTo>
                  <a:pt x="6" y="131"/>
                  <a:pt x="6" y="131"/>
                  <a:pt x="6" y="131"/>
                </a:cubicBezTo>
                <a:cubicBezTo>
                  <a:pt x="5" y="132"/>
                  <a:pt x="5" y="132"/>
                  <a:pt x="5" y="132"/>
                </a:cubicBezTo>
                <a:cubicBezTo>
                  <a:pt x="5" y="134"/>
                  <a:pt x="5" y="134"/>
                  <a:pt x="5" y="134"/>
                </a:cubicBezTo>
                <a:cubicBezTo>
                  <a:pt x="5" y="135"/>
                  <a:pt x="5" y="135"/>
                  <a:pt x="5" y="135"/>
                </a:cubicBezTo>
                <a:cubicBezTo>
                  <a:pt x="4" y="135"/>
                  <a:pt x="4" y="135"/>
                  <a:pt x="4" y="135"/>
                </a:cubicBezTo>
                <a:cubicBezTo>
                  <a:pt x="4" y="136"/>
                  <a:pt x="4" y="136"/>
                  <a:pt x="4" y="136"/>
                </a:cubicBezTo>
                <a:cubicBezTo>
                  <a:pt x="3" y="137"/>
                  <a:pt x="3" y="137"/>
                  <a:pt x="3" y="137"/>
                </a:cubicBezTo>
                <a:cubicBezTo>
                  <a:pt x="3" y="138"/>
                  <a:pt x="3" y="138"/>
                  <a:pt x="3" y="138"/>
                </a:cubicBezTo>
                <a:cubicBezTo>
                  <a:pt x="4" y="139"/>
                  <a:pt x="4" y="139"/>
                  <a:pt x="4" y="139"/>
                </a:cubicBezTo>
                <a:cubicBezTo>
                  <a:pt x="4" y="140"/>
                  <a:pt x="4" y="140"/>
                  <a:pt x="4" y="140"/>
                </a:cubicBezTo>
                <a:cubicBezTo>
                  <a:pt x="3" y="141"/>
                  <a:pt x="3" y="141"/>
                  <a:pt x="3" y="141"/>
                </a:cubicBezTo>
                <a:cubicBezTo>
                  <a:pt x="2" y="141"/>
                  <a:pt x="2" y="141"/>
                  <a:pt x="2" y="141"/>
                </a:cubicBezTo>
                <a:cubicBezTo>
                  <a:pt x="1" y="141"/>
                  <a:pt x="1" y="141"/>
                  <a:pt x="1" y="141"/>
                </a:cubicBezTo>
                <a:cubicBezTo>
                  <a:pt x="1" y="141"/>
                  <a:pt x="1" y="141"/>
                  <a:pt x="1" y="141"/>
                </a:cubicBezTo>
                <a:cubicBezTo>
                  <a:pt x="0" y="142"/>
                  <a:pt x="0" y="142"/>
                  <a:pt x="0" y="142"/>
                </a:cubicBezTo>
                <a:cubicBezTo>
                  <a:pt x="1" y="143"/>
                  <a:pt x="1" y="143"/>
                  <a:pt x="1" y="143"/>
                </a:cubicBezTo>
                <a:cubicBezTo>
                  <a:pt x="1" y="145"/>
                  <a:pt x="1" y="145"/>
                  <a:pt x="1" y="145"/>
                </a:cubicBezTo>
                <a:cubicBezTo>
                  <a:pt x="2" y="146"/>
                  <a:pt x="2" y="146"/>
                  <a:pt x="2" y="146"/>
                </a:cubicBezTo>
                <a:cubicBezTo>
                  <a:pt x="3" y="148"/>
                  <a:pt x="3" y="148"/>
                  <a:pt x="3" y="148"/>
                </a:cubicBezTo>
                <a:cubicBezTo>
                  <a:pt x="3" y="149"/>
                  <a:pt x="3" y="149"/>
                  <a:pt x="3" y="149"/>
                </a:cubicBezTo>
                <a:cubicBezTo>
                  <a:pt x="3" y="151"/>
                  <a:pt x="3" y="151"/>
                  <a:pt x="3" y="151"/>
                </a:cubicBezTo>
                <a:cubicBezTo>
                  <a:pt x="5" y="154"/>
                  <a:pt x="5" y="154"/>
                  <a:pt x="5" y="154"/>
                </a:cubicBezTo>
                <a:cubicBezTo>
                  <a:pt x="5" y="155"/>
                  <a:pt x="5" y="155"/>
                  <a:pt x="5" y="155"/>
                </a:cubicBezTo>
                <a:cubicBezTo>
                  <a:pt x="6" y="155"/>
                  <a:pt x="6" y="155"/>
                  <a:pt x="6" y="155"/>
                </a:cubicBezTo>
                <a:cubicBezTo>
                  <a:pt x="6" y="158"/>
                  <a:pt x="6" y="158"/>
                  <a:pt x="6" y="158"/>
                </a:cubicBezTo>
                <a:cubicBezTo>
                  <a:pt x="5" y="160"/>
                  <a:pt x="5" y="160"/>
                  <a:pt x="5" y="160"/>
                </a:cubicBezTo>
                <a:cubicBezTo>
                  <a:pt x="5" y="161"/>
                  <a:pt x="5" y="161"/>
                  <a:pt x="5" y="161"/>
                </a:cubicBezTo>
                <a:cubicBezTo>
                  <a:pt x="5" y="162"/>
                  <a:pt x="5" y="162"/>
                  <a:pt x="5" y="162"/>
                </a:cubicBezTo>
                <a:cubicBezTo>
                  <a:pt x="5" y="162"/>
                  <a:pt x="5" y="162"/>
                  <a:pt x="5" y="162"/>
                </a:cubicBezTo>
                <a:cubicBezTo>
                  <a:pt x="4" y="162"/>
                  <a:pt x="4" y="162"/>
                  <a:pt x="4" y="162"/>
                </a:cubicBezTo>
                <a:cubicBezTo>
                  <a:pt x="4" y="162"/>
                  <a:pt x="4" y="162"/>
                  <a:pt x="4" y="162"/>
                </a:cubicBezTo>
                <a:cubicBezTo>
                  <a:pt x="3" y="163"/>
                  <a:pt x="3" y="163"/>
                  <a:pt x="3" y="163"/>
                </a:cubicBezTo>
                <a:cubicBezTo>
                  <a:pt x="4" y="165"/>
                  <a:pt x="4" y="165"/>
                  <a:pt x="4" y="165"/>
                </a:cubicBezTo>
                <a:cubicBezTo>
                  <a:pt x="4" y="165"/>
                  <a:pt x="4" y="165"/>
                  <a:pt x="4" y="165"/>
                </a:cubicBezTo>
                <a:cubicBezTo>
                  <a:pt x="4" y="168"/>
                  <a:pt x="4" y="168"/>
                  <a:pt x="4" y="168"/>
                </a:cubicBezTo>
                <a:cubicBezTo>
                  <a:pt x="4" y="169"/>
                  <a:pt x="4" y="169"/>
                  <a:pt x="4" y="169"/>
                </a:cubicBezTo>
                <a:cubicBezTo>
                  <a:pt x="3" y="170"/>
                  <a:pt x="3" y="170"/>
                  <a:pt x="3" y="170"/>
                </a:cubicBezTo>
                <a:cubicBezTo>
                  <a:pt x="4" y="170"/>
                  <a:pt x="4" y="170"/>
                  <a:pt x="4" y="170"/>
                </a:cubicBezTo>
                <a:cubicBezTo>
                  <a:pt x="4" y="171"/>
                  <a:pt x="4" y="171"/>
                  <a:pt x="4" y="171"/>
                </a:cubicBezTo>
                <a:cubicBezTo>
                  <a:pt x="4" y="172"/>
                  <a:pt x="4" y="172"/>
                  <a:pt x="4" y="172"/>
                </a:cubicBezTo>
                <a:cubicBezTo>
                  <a:pt x="4" y="172"/>
                  <a:pt x="4" y="172"/>
                  <a:pt x="4" y="172"/>
                </a:cubicBezTo>
                <a:cubicBezTo>
                  <a:pt x="6" y="175"/>
                  <a:pt x="6" y="175"/>
                  <a:pt x="6" y="175"/>
                </a:cubicBezTo>
                <a:cubicBezTo>
                  <a:pt x="7" y="176"/>
                  <a:pt x="7" y="176"/>
                  <a:pt x="7" y="176"/>
                </a:cubicBezTo>
                <a:cubicBezTo>
                  <a:pt x="7" y="177"/>
                  <a:pt x="7" y="177"/>
                  <a:pt x="7" y="177"/>
                </a:cubicBezTo>
                <a:cubicBezTo>
                  <a:pt x="9" y="177"/>
                  <a:pt x="9" y="177"/>
                  <a:pt x="9" y="177"/>
                </a:cubicBezTo>
                <a:cubicBezTo>
                  <a:pt x="11" y="177"/>
                  <a:pt x="11" y="177"/>
                  <a:pt x="11" y="177"/>
                </a:cubicBezTo>
                <a:cubicBezTo>
                  <a:pt x="11" y="175"/>
                  <a:pt x="11" y="175"/>
                  <a:pt x="11" y="175"/>
                </a:cubicBezTo>
                <a:cubicBezTo>
                  <a:pt x="11" y="175"/>
                  <a:pt x="11" y="175"/>
                  <a:pt x="11" y="175"/>
                </a:cubicBezTo>
                <a:cubicBezTo>
                  <a:pt x="12" y="175"/>
                  <a:pt x="12" y="175"/>
                  <a:pt x="12" y="175"/>
                </a:cubicBezTo>
                <a:cubicBezTo>
                  <a:pt x="13" y="176"/>
                  <a:pt x="13" y="176"/>
                  <a:pt x="13" y="176"/>
                </a:cubicBezTo>
                <a:cubicBezTo>
                  <a:pt x="13" y="176"/>
                  <a:pt x="13" y="176"/>
                  <a:pt x="13" y="176"/>
                </a:cubicBezTo>
                <a:cubicBezTo>
                  <a:pt x="14" y="176"/>
                  <a:pt x="14" y="176"/>
                  <a:pt x="14" y="176"/>
                </a:cubicBezTo>
                <a:cubicBezTo>
                  <a:pt x="14" y="177"/>
                  <a:pt x="14" y="177"/>
                  <a:pt x="14" y="177"/>
                </a:cubicBezTo>
                <a:cubicBezTo>
                  <a:pt x="12" y="178"/>
                  <a:pt x="12" y="178"/>
                  <a:pt x="12" y="178"/>
                </a:cubicBezTo>
                <a:cubicBezTo>
                  <a:pt x="12" y="179"/>
                  <a:pt x="12" y="179"/>
                  <a:pt x="12" y="179"/>
                </a:cubicBezTo>
                <a:cubicBezTo>
                  <a:pt x="13" y="179"/>
                  <a:pt x="13" y="179"/>
                  <a:pt x="13" y="179"/>
                </a:cubicBezTo>
                <a:cubicBezTo>
                  <a:pt x="14" y="179"/>
                  <a:pt x="14" y="179"/>
                  <a:pt x="14" y="179"/>
                </a:cubicBezTo>
                <a:cubicBezTo>
                  <a:pt x="14" y="180"/>
                  <a:pt x="14" y="180"/>
                  <a:pt x="14" y="180"/>
                </a:cubicBezTo>
                <a:cubicBezTo>
                  <a:pt x="14" y="182"/>
                  <a:pt x="14" y="182"/>
                  <a:pt x="14" y="182"/>
                </a:cubicBezTo>
                <a:cubicBezTo>
                  <a:pt x="15" y="183"/>
                  <a:pt x="15" y="183"/>
                  <a:pt x="15" y="183"/>
                </a:cubicBezTo>
                <a:cubicBezTo>
                  <a:pt x="15" y="183"/>
                  <a:pt x="15" y="183"/>
                  <a:pt x="15" y="183"/>
                </a:cubicBezTo>
                <a:cubicBezTo>
                  <a:pt x="14" y="182"/>
                  <a:pt x="14" y="182"/>
                  <a:pt x="14" y="182"/>
                </a:cubicBezTo>
                <a:cubicBezTo>
                  <a:pt x="13" y="181"/>
                  <a:pt x="13" y="181"/>
                  <a:pt x="13" y="181"/>
                </a:cubicBezTo>
                <a:cubicBezTo>
                  <a:pt x="13" y="181"/>
                  <a:pt x="13" y="181"/>
                  <a:pt x="13" y="181"/>
                </a:cubicBezTo>
                <a:cubicBezTo>
                  <a:pt x="12" y="181"/>
                  <a:pt x="12" y="181"/>
                  <a:pt x="12" y="181"/>
                </a:cubicBezTo>
                <a:cubicBezTo>
                  <a:pt x="12" y="182"/>
                  <a:pt x="12" y="182"/>
                  <a:pt x="12" y="182"/>
                </a:cubicBezTo>
                <a:cubicBezTo>
                  <a:pt x="14" y="183"/>
                  <a:pt x="14" y="183"/>
                  <a:pt x="14" y="183"/>
                </a:cubicBezTo>
                <a:cubicBezTo>
                  <a:pt x="14" y="184"/>
                  <a:pt x="14" y="184"/>
                  <a:pt x="14" y="184"/>
                </a:cubicBezTo>
                <a:cubicBezTo>
                  <a:pt x="13" y="184"/>
                  <a:pt x="13" y="184"/>
                  <a:pt x="13" y="184"/>
                </a:cubicBezTo>
                <a:cubicBezTo>
                  <a:pt x="13" y="184"/>
                  <a:pt x="13" y="184"/>
                  <a:pt x="13" y="184"/>
                </a:cubicBezTo>
                <a:cubicBezTo>
                  <a:pt x="13" y="186"/>
                  <a:pt x="13" y="186"/>
                  <a:pt x="13" y="186"/>
                </a:cubicBezTo>
                <a:cubicBezTo>
                  <a:pt x="14" y="187"/>
                  <a:pt x="14" y="187"/>
                  <a:pt x="14" y="187"/>
                </a:cubicBezTo>
                <a:cubicBezTo>
                  <a:pt x="13" y="188"/>
                  <a:pt x="13" y="188"/>
                  <a:pt x="13" y="188"/>
                </a:cubicBezTo>
                <a:cubicBezTo>
                  <a:pt x="13" y="189"/>
                  <a:pt x="13" y="189"/>
                  <a:pt x="13" y="189"/>
                </a:cubicBezTo>
                <a:cubicBezTo>
                  <a:pt x="13" y="189"/>
                  <a:pt x="13" y="189"/>
                  <a:pt x="13" y="189"/>
                </a:cubicBezTo>
                <a:cubicBezTo>
                  <a:pt x="12" y="190"/>
                  <a:pt x="12" y="190"/>
                  <a:pt x="12" y="190"/>
                </a:cubicBezTo>
                <a:cubicBezTo>
                  <a:pt x="12" y="191"/>
                  <a:pt x="12" y="191"/>
                  <a:pt x="12" y="191"/>
                </a:cubicBezTo>
                <a:cubicBezTo>
                  <a:pt x="14" y="192"/>
                  <a:pt x="14" y="192"/>
                  <a:pt x="14" y="192"/>
                </a:cubicBezTo>
                <a:cubicBezTo>
                  <a:pt x="13" y="193"/>
                  <a:pt x="13" y="193"/>
                  <a:pt x="13" y="193"/>
                </a:cubicBezTo>
                <a:cubicBezTo>
                  <a:pt x="13" y="194"/>
                  <a:pt x="13" y="194"/>
                  <a:pt x="13" y="194"/>
                </a:cubicBezTo>
                <a:cubicBezTo>
                  <a:pt x="12" y="195"/>
                  <a:pt x="12" y="195"/>
                  <a:pt x="12" y="195"/>
                </a:cubicBezTo>
                <a:cubicBezTo>
                  <a:pt x="12" y="196"/>
                  <a:pt x="12" y="196"/>
                  <a:pt x="12" y="196"/>
                </a:cubicBezTo>
                <a:cubicBezTo>
                  <a:pt x="13" y="197"/>
                  <a:pt x="13" y="197"/>
                  <a:pt x="13" y="197"/>
                </a:cubicBezTo>
                <a:cubicBezTo>
                  <a:pt x="14" y="197"/>
                  <a:pt x="14" y="197"/>
                  <a:pt x="14" y="197"/>
                </a:cubicBezTo>
                <a:cubicBezTo>
                  <a:pt x="15" y="198"/>
                  <a:pt x="15" y="198"/>
                  <a:pt x="15" y="198"/>
                </a:cubicBezTo>
                <a:cubicBezTo>
                  <a:pt x="15" y="199"/>
                  <a:pt x="15" y="199"/>
                  <a:pt x="15" y="199"/>
                </a:cubicBezTo>
                <a:cubicBezTo>
                  <a:pt x="16" y="199"/>
                  <a:pt x="16" y="199"/>
                  <a:pt x="16" y="199"/>
                </a:cubicBezTo>
                <a:cubicBezTo>
                  <a:pt x="16" y="199"/>
                  <a:pt x="16" y="199"/>
                  <a:pt x="16" y="199"/>
                </a:cubicBezTo>
                <a:cubicBezTo>
                  <a:pt x="16" y="201"/>
                  <a:pt x="16" y="201"/>
                  <a:pt x="16" y="201"/>
                </a:cubicBezTo>
                <a:cubicBezTo>
                  <a:pt x="15" y="203"/>
                  <a:pt x="15" y="203"/>
                  <a:pt x="15" y="203"/>
                </a:cubicBezTo>
                <a:cubicBezTo>
                  <a:pt x="14" y="204"/>
                  <a:pt x="14" y="204"/>
                  <a:pt x="14" y="204"/>
                </a:cubicBezTo>
                <a:cubicBezTo>
                  <a:pt x="13" y="204"/>
                  <a:pt x="13" y="204"/>
                  <a:pt x="13" y="204"/>
                </a:cubicBezTo>
                <a:cubicBezTo>
                  <a:pt x="13" y="205"/>
                  <a:pt x="13" y="205"/>
                  <a:pt x="13" y="205"/>
                </a:cubicBezTo>
                <a:cubicBezTo>
                  <a:pt x="13" y="206"/>
                  <a:pt x="13" y="206"/>
                  <a:pt x="13" y="206"/>
                </a:cubicBezTo>
                <a:cubicBezTo>
                  <a:pt x="13" y="207"/>
                  <a:pt x="13" y="207"/>
                  <a:pt x="13" y="207"/>
                </a:cubicBezTo>
                <a:cubicBezTo>
                  <a:pt x="13" y="208"/>
                  <a:pt x="13" y="208"/>
                  <a:pt x="13" y="208"/>
                </a:cubicBezTo>
                <a:cubicBezTo>
                  <a:pt x="14" y="208"/>
                  <a:pt x="14" y="208"/>
                  <a:pt x="14" y="208"/>
                </a:cubicBezTo>
                <a:cubicBezTo>
                  <a:pt x="13" y="209"/>
                  <a:pt x="13" y="209"/>
                  <a:pt x="13" y="209"/>
                </a:cubicBezTo>
                <a:cubicBezTo>
                  <a:pt x="12" y="211"/>
                  <a:pt x="12" y="211"/>
                  <a:pt x="12" y="211"/>
                </a:cubicBezTo>
                <a:cubicBezTo>
                  <a:pt x="12" y="213"/>
                  <a:pt x="12" y="213"/>
                  <a:pt x="12" y="213"/>
                </a:cubicBezTo>
                <a:cubicBezTo>
                  <a:pt x="13" y="213"/>
                  <a:pt x="13" y="213"/>
                  <a:pt x="13" y="213"/>
                </a:cubicBezTo>
                <a:cubicBezTo>
                  <a:pt x="12" y="214"/>
                  <a:pt x="12" y="214"/>
                  <a:pt x="12" y="214"/>
                </a:cubicBezTo>
                <a:cubicBezTo>
                  <a:pt x="12" y="216"/>
                  <a:pt x="12" y="216"/>
                  <a:pt x="12" y="216"/>
                </a:cubicBezTo>
                <a:cubicBezTo>
                  <a:pt x="11" y="216"/>
                  <a:pt x="11" y="216"/>
                  <a:pt x="11" y="216"/>
                </a:cubicBezTo>
                <a:cubicBezTo>
                  <a:pt x="11" y="218"/>
                  <a:pt x="11" y="218"/>
                  <a:pt x="11" y="218"/>
                </a:cubicBezTo>
                <a:cubicBezTo>
                  <a:pt x="11" y="217"/>
                  <a:pt x="11" y="217"/>
                  <a:pt x="11" y="217"/>
                </a:cubicBezTo>
                <a:cubicBezTo>
                  <a:pt x="11" y="216"/>
                  <a:pt x="11" y="216"/>
                  <a:pt x="11" y="216"/>
                </a:cubicBezTo>
                <a:cubicBezTo>
                  <a:pt x="11" y="214"/>
                  <a:pt x="11" y="214"/>
                  <a:pt x="11" y="214"/>
                </a:cubicBezTo>
                <a:cubicBezTo>
                  <a:pt x="11" y="213"/>
                  <a:pt x="11" y="213"/>
                  <a:pt x="11" y="213"/>
                </a:cubicBezTo>
                <a:cubicBezTo>
                  <a:pt x="11" y="213"/>
                  <a:pt x="11" y="213"/>
                  <a:pt x="11" y="213"/>
                </a:cubicBezTo>
                <a:cubicBezTo>
                  <a:pt x="11" y="212"/>
                  <a:pt x="11" y="212"/>
                  <a:pt x="11" y="212"/>
                </a:cubicBezTo>
                <a:cubicBezTo>
                  <a:pt x="9" y="213"/>
                  <a:pt x="9" y="213"/>
                  <a:pt x="9" y="213"/>
                </a:cubicBezTo>
                <a:cubicBezTo>
                  <a:pt x="8" y="214"/>
                  <a:pt x="8" y="214"/>
                  <a:pt x="8" y="214"/>
                </a:cubicBezTo>
                <a:cubicBezTo>
                  <a:pt x="7" y="214"/>
                  <a:pt x="7" y="214"/>
                  <a:pt x="7" y="214"/>
                </a:cubicBezTo>
                <a:cubicBezTo>
                  <a:pt x="8" y="213"/>
                  <a:pt x="8" y="213"/>
                  <a:pt x="8" y="213"/>
                </a:cubicBezTo>
                <a:cubicBezTo>
                  <a:pt x="9" y="213"/>
                  <a:pt x="9" y="213"/>
                  <a:pt x="9" y="213"/>
                </a:cubicBezTo>
                <a:cubicBezTo>
                  <a:pt x="9" y="212"/>
                  <a:pt x="9" y="212"/>
                  <a:pt x="9" y="212"/>
                </a:cubicBezTo>
                <a:cubicBezTo>
                  <a:pt x="9" y="210"/>
                  <a:pt x="9" y="210"/>
                  <a:pt x="9" y="210"/>
                </a:cubicBezTo>
                <a:cubicBezTo>
                  <a:pt x="9" y="210"/>
                  <a:pt x="9" y="210"/>
                  <a:pt x="9" y="210"/>
                </a:cubicBezTo>
                <a:cubicBezTo>
                  <a:pt x="8" y="211"/>
                  <a:pt x="8" y="211"/>
                  <a:pt x="8" y="211"/>
                </a:cubicBezTo>
                <a:cubicBezTo>
                  <a:pt x="5" y="211"/>
                  <a:pt x="5" y="211"/>
                  <a:pt x="5" y="211"/>
                </a:cubicBezTo>
                <a:cubicBezTo>
                  <a:pt x="5" y="210"/>
                  <a:pt x="5" y="210"/>
                  <a:pt x="5" y="210"/>
                </a:cubicBezTo>
                <a:cubicBezTo>
                  <a:pt x="4" y="211"/>
                  <a:pt x="4" y="211"/>
                  <a:pt x="4" y="211"/>
                </a:cubicBezTo>
                <a:cubicBezTo>
                  <a:pt x="4" y="211"/>
                  <a:pt x="4" y="211"/>
                  <a:pt x="4" y="211"/>
                </a:cubicBezTo>
                <a:cubicBezTo>
                  <a:pt x="4" y="213"/>
                  <a:pt x="4" y="213"/>
                  <a:pt x="4" y="213"/>
                </a:cubicBezTo>
                <a:cubicBezTo>
                  <a:pt x="5" y="213"/>
                  <a:pt x="5" y="213"/>
                  <a:pt x="5" y="213"/>
                </a:cubicBezTo>
                <a:cubicBezTo>
                  <a:pt x="5" y="214"/>
                  <a:pt x="5" y="214"/>
                  <a:pt x="5" y="214"/>
                </a:cubicBezTo>
                <a:cubicBezTo>
                  <a:pt x="4" y="214"/>
                  <a:pt x="4" y="214"/>
                  <a:pt x="4" y="214"/>
                </a:cubicBezTo>
                <a:cubicBezTo>
                  <a:pt x="4" y="215"/>
                  <a:pt x="4" y="215"/>
                  <a:pt x="4" y="215"/>
                </a:cubicBezTo>
                <a:cubicBezTo>
                  <a:pt x="3" y="216"/>
                  <a:pt x="3" y="216"/>
                  <a:pt x="3" y="216"/>
                </a:cubicBezTo>
                <a:cubicBezTo>
                  <a:pt x="3" y="217"/>
                  <a:pt x="3" y="217"/>
                  <a:pt x="3" y="217"/>
                </a:cubicBezTo>
                <a:cubicBezTo>
                  <a:pt x="1" y="218"/>
                  <a:pt x="1" y="218"/>
                  <a:pt x="1" y="218"/>
                </a:cubicBezTo>
                <a:cubicBezTo>
                  <a:pt x="1" y="219"/>
                  <a:pt x="1" y="219"/>
                  <a:pt x="1" y="219"/>
                </a:cubicBezTo>
                <a:cubicBezTo>
                  <a:pt x="3" y="221"/>
                  <a:pt x="3" y="221"/>
                  <a:pt x="3" y="221"/>
                </a:cubicBezTo>
                <a:cubicBezTo>
                  <a:pt x="4" y="221"/>
                  <a:pt x="4" y="221"/>
                  <a:pt x="4" y="221"/>
                </a:cubicBezTo>
                <a:cubicBezTo>
                  <a:pt x="4" y="220"/>
                  <a:pt x="4" y="220"/>
                  <a:pt x="4" y="220"/>
                </a:cubicBezTo>
                <a:cubicBezTo>
                  <a:pt x="4" y="219"/>
                  <a:pt x="4" y="219"/>
                  <a:pt x="4" y="219"/>
                </a:cubicBezTo>
                <a:cubicBezTo>
                  <a:pt x="3" y="219"/>
                  <a:pt x="3" y="219"/>
                  <a:pt x="3" y="219"/>
                </a:cubicBezTo>
                <a:cubicBezTo>
                  <a:pt x="3" y="218"/>
                  <a:pt x="3" y="218"/>
                  <a:pt x="3" y="218"/>
                </a:cubicBezTo>
                <a:cubicBezTo>
                  <a:pt x="3" y="217"/>
                  <a:pt x="3" y="217"/>
                  <a:pt x="3" y="217"/>
                </a:cubicBezTo>
                <a:cubicBezTo>
                  <a:pt x="5" y="217"/>
                  <a:pt x="5" y="217"/>
                  <a:pt x="5" y="217"/>
                </a:cubicBezTo>
                <a:cubicBezTo>
                  <a:pt x="5" y="217"/>
                  <a:pt x="5" y="217"/>
                  <a:pt x="5" y="217"/>
                </a:cubicBezTo>
                <a:cubicBezTo>
                  <a:pt x="6" y="218"/>
                  <a:pt x="6" y="218"/>
                  <a:pt x="6" y="218"/>
                </a:cubicBezTo>
                <a:cubicBezTo>
                  <a:pt x="7" y="219"/>
                  <a:pt x="7" y="219"/>
                  <a:pt x="7" y="219"/>
                </a:cubicBezTo>
                <a:cubicBezTo>
                  <a:pt x="8" y="219"/>
                  <a:pt x="8" y="219"/>
                  <a:pt x="8" y="219"/>
                </a:cubicBezTo>
                <a:cubicBezTo>
                  <a:pt x="9" y="218"/>
                  <a:pt x="9" y="218"/>
                  <a:pt x="9" y="218"/>
                </a:cubicBezTo>
                <a:cubicBezTo>
                  <a:pt x="10" y="218"/>
                  <a:pt x="10" y="218"/>
                  <a:pt x="10" y="218"/>
                </a:cubicBezTo>
                <a:cubicBezTo>
                  <a:pt x="10" y="219"/>
                  <a:pt x="10" y="219"/>
                  <a:pt x="10" y="219"/>
                </a:cubicBezTo>
                <a:cubicBezTo>
                  <a:pt x="12" y="220"/>
                  <a:pt x="12" y="220"/>
                  <a:pt x="12" y="220"/>
                </a:cubicBezTo>
                <a:cubicBezTo>
                  <a:pt x="12" y="221"/>
                  <a:pt x="12" y="221"/>
                  <a:pt x="12" y="221"/>
                </a:cubicBezTo>
                <a:cubicBezTo>
                  <a:pt x="12" y="221"/>
                  <a:pt x="12" y="221"/>
                  <a:pt x="12" y="221"/>
                </a:cubicBezTo>
                <a:cubicBezTo>
                  <a:pt x="11" y="221"/>
                  <a:pt x="11" y="221"/>
                  <a:pt x="11" y="221"/>
                </a:cubicBezTo>
                <a:cubicBezTo>
                  <a:pt x="12" y="222"/>
                  <a:pt x="12" y="222"/>
                  <a:pt x="12" y="222"/>
                </a:cubicBezTo>
                <a:cubicBezTo>
                  <a:pt x="11" y="223"/>
                  <a:pt x="11" y="223"/>
                  <a:pt x="11" y="223"/>
                </a:cubicBezTo>
                <a:cubicBezTo>
                  <a:pt x="11" y="224"/>
                  <a:pt x="11" y="224"/>
                  <a:pt x="11" y="224"/>
                </a:cubicBezTo>
                <a:cubicBezTo>
                  <a:pt x="11" y="224"/>
                  <a:pt x="11" y="224"/>
                  <a:pt x="11" y="224"/>
                </a:cubicBezTo>
                <a:cubicBezTo>
                  <a:pt x="12" y="225"/>
                  <a:pt x="12" y="225"/>
                  <a:pt x="12" y="225"/>
                </a:cubicBezTo>
                <a:cubicBezTo>
                  <a:pt x="12" y="225"/>
                  <a:pt x="12" y="225"/>
                  <a:pt x="12" y="225"/>
                </a:cubicBezTo>
                <a:cubicBezTo>
                  <a:pt x="11" y="225"/>
                  <a:pt x="11" y="225"/>
                  <a:pt x="11" y="225"/>
                </a:cubicBezTo>
                <a:cubicBezTo>
                  <a:pt x="10" y="224"/>
                  <a:pt x="10" y="224"/>
                  <a:pt x="10" y="224"/>
                </a:cubicBezTo>
                <a:cubicBezTo>
                  <a:pt x="10" y="224"/>
                  <a:pt x="10" y="224"/>
                  <a:pt x="10" y="224"/>
                </a:cubicBezTo>
                <a:cubicBezTo>
                  <a:pt x="10" y="225"/>
                  <a:pt x="10" y="225"/>
                  <a:pt x="10" y="225"/>
                </a:cubicBezTo>
                <a:cubicBezTo>
                  <a:pt x="11" y="226"/>
                  <a:pt x="11" y="226"/>
                  <a:pt x="11" y="226"/>
                </a:cubicBezTo>
                <a:cubicBezTo>
                  <a:pt x="11" y="227"/>
                  <a:pt x="11" y="227"/>
                  <a:pt x="11" y="227"/>
                </a:cubicBezTo>
                <a:cubicBezTo>
                  <a:pt x="13" y="227"/>
                  <a:pt x="13" y="227"/>
                  <a:pt x="13" y="227"/>
                </a:cubicBezTo>
                <a:cubicBezTo>
                  <a:pt x="14" y="227"/>
                  <a:pt x="14" y="227"/>
                  <a:pt x="14" y="227"/>
                </a:cubicBezTo>
                <a:cubicBezTo>
                  <a:pt x="15" y="227"/>
                  <a:pt x="15" y="227"/>
                  <a:pt x="15" y="227"/>
                </a:cubicBezTo>
                <a:cubicBezTo>
                  <a:pt x="16" y="227"/>
                  <a:pt x="16" y="227"/>
                  <a:pt x="16" y="227"/>
                </a:cubicBezTo>
                <a:cubicBezTo>
                  <a:pt x="17" y="227"/>
                  <a:pt x="17" y="227"/>
                  <a:pt x="17" y="227"/>
                </a:cubicBezTo>
                <a:cubicBezTo>
                  <a:pt x="16" y="228"/>
                  <a:pt x="16" y="228"/>
                  <a:pt x="16" y="228"/>
                </a:cubicBezTo>
                <a:cubicBezTo>
                  <a:pt x="17" y="228"/>
                  <a:pt x="17" y="228"/>
                  <a:pt x="17" y="228"/>
                </a:cubicBezTo>
                <a:cubicBezTo>
                  <a:pt x="16" y="228"/>
                  <a:pt x="16" y="228"/>
                  <a:pt x="16" y="228"/>
                </a:cubicBezTo>
                <a:cubicBezTo>
                  <a:pt x="15" y="228"/>
                  <a:pt x="15" y="228"/>
                  <a:pt x="15" y="228"/>
                </a:cubicBezTo>
                <a:cubicBezTo>
                  <a:pt x="15" y="229"/>
                  <a:pt x="15" y="229"/>
                  <a:pt x="15" y="229"/>
                </a:cubicBezTo>
                <a:cubicBezTo>
                  <a:pt x="14" y="228"/>
                  <a:pt x="14" y="228"/>
                  <a:pt x="14" y="228"/>
                </a:cubicBezTo>
                <a:cubicBezTo>
                  <a:pt x="12" y="229"/>
                  <a:pt x="12" y="229"/>
                  <a:pt x="12" y="229"/>
                </a:cubicBezTo>
                <a:cubicBezTo>
                  <a:pt x="11" y="229"/>
                  <a:pt x="11" y="229"/>
                  <a:pt x="11" y="229"/>
                </a:cubicBezTo>
                <a:cubicBezTo>
                  <a:pt x="12" y="230"/>
                  <a:pt x="12" y="230"/>
                  <a:pt x="12" y="230"/>
                </a:cubicBezTo>
                <a:cubicBezTo>
                  <a:pt x="13" y="231"/>
                  <a:pt x="13" y="231"/>
                  <a:pt x="13" y="231"/>
                </a:cubicBezTo>
                <a:cubicBezTo>
                  <a:pt x="13" y="232"/>
                  <a:pt x="13" y="232"/>
                  <a:pt x="13" y="232"/>
                </a:cubicBezTo>
                <a:cubicBezTo>
                  <a:pt x="14" y="232"/>
                  <a:pt x="14" y="232"/>
                  <a:pt x="14" y="232"/>
                </a:cubicBezTo>
                <a:cubicBezTo>
                  <a:pt x="15" y="232"/>
                  <a:pt x="15" y="232"/>
                  <a:pt x="15" y="232"/>
                </a:cubicBezTo>
                <a:cubicBezTo>
                  <a:pt x="15" y="232"/>
                  <a:pt x="15" y="232"/>
                  <a:pt x="15" y="232"/>
                </a:cubicBezTo>
                <a:cubicBezTo>
                  <a:pt x="14" y="233"/>
                  <a:pt x="14" y="233"/>
                  <a:pt x="14" y="233"/>
                </a:cubicBezTo>
                <a:cubicBezTo>
                  <a:pt x="14" y="234"/>
                  <a:pt x="14" y="234"/>
                  <a:pt x="14" y="234"/>
                </a:cubicBezTo>
                <a:cubicBezTo>
                  <a:pt x="14" y="234"/>
                  <a:pt x="14" y="234"/>
                  <a:pt x="14" y="234"/>
                </a:cubicBezTo>
                <a:cubicBezTo>
                  <a:pt x="14" y="235"/>
                  <a:pt x="14" y="235"/>
                  <a:pt x="14" y="235"/>
                </a:cubicBezTo>
                <a:cubicBezTo>
                  <a:pt x="13" y="235"/>
                  <a:pt x="13" y="235"/>
                  <a:pt x="13" y="235"/>
                </a:cubicBezTo>
                <a:cubicBezTo>
                  <a:pt x="13" y="236"/>
                  <a:pt x="13" y="236"/>
                  <a:pt x="13" y="236"/>
                </a:cubicBezTo>
                <a:cubicBezTo>
                  <a:pt x="14" y="239"/>
                  <a:pt x="14" y="239"/>
                  <a:pt x="14" y="239"/>
                </a:cubicBezTo>
                <a:cubicBezTo>
                  <a:pt x="15" y="240"/>
                  <a:pt x="15" y="240"/>
                  <a:pt x="15" y="240"/>
                </a:cubicBezTo>
                <a:cubicBezTo>
                  <a:pt x="14" y="241"/>
                  <a:pt x="14" y="241"/>
                  <a:pt x="14" y="241"/>
                </a:cubicBezTo>
                <a:cubicBezTo>
                  <a:pt x="15" y="243"/>
                  <a:pt x="15" y="243"/>
                  <a:pt x="15" y="243"/>
                </a:cubicBezTo>
                <a:cubicBezTo>
                  <a:pt x="16" y="243"/>
                  <a:pt x="16" y="243"/>
                  <a:pt x="16" y="243"/>
                </a:cubicBezTo>
                <a:cubicBezTo>
                  <a:pt x="16" y="241"/>
                  <a:pt x="16" y="241"/>
                  <a:pt x="16" y="241"/>
                </a:cubicBezTo>
                <a:cubicBezTo>
                  <a:pt x="17" y="239"/>
                  <a:pt x="17" y="239"/>
                  <a:pt x="17" y="239"/>
                </a:cubicBezTo>
                <a:cubicBezTo>
                  <a:pt x="18" y="238"/>
                  <a:pt x="18" y="238"/>
                  <a:pt x="18" y="238"/>
                </a:cubicBezTo>
                <a:cubicBezTo>
                  <a:pt x="18" y="238"/>
                  <a:pt x="18" y="238"/>
                  <a:pt x="18" y="238"/>
                </a:cubicBezTo>
                <a:cubicBezTo>
                  <a:pt x="17" y="239"/>
                  <a:pt x="17" y="239"/>
                  <a:pt x="17" y="239"/>
                </a:cubicBezTo>
                <a:cubicBezTo>
                  <a:pt x="17" y="241"/>
                  <a:pt x="17" y="241"/>
                  <a:pt x="17" y="241"/>
                </a:cubicBezTo>
                <a:cubicBezTo>
                  <a:pt x="17" y="242"/>
                  <a:pt x="17" y="242"/>
                  <a:pt x="17" y="242"/>
                </a:cubicBezTo>
                <a:cubicBezTo>
                  <a:pt x="18" y="242"/>
                  <a:pt x="18" y="242"/>
                  <a:pt x="18" y="242"/>
                </a:cubicBezTo>
                <a:cubicBezTo>
                  <a:pt x="19" y="242"/>
                  <a:pt x="19" y="242"/>
                  <a:pt x="19" y="242"/>
                </a:cubicBezTo>
                <a:cubicBezTo>
                  <a:pt x="18" y="243"/>
                  <a:pt x="18" y="243"/>
                  <a:pt x="18" y="243"/>
                </a:cubicBezTo>
                <a:cubicBezTo>
                  <a:pt x="17" y="243"/>
                  <a:pt x="17" y="243"/>
                  <a:pt x="17" y="243"/>
                </a:cubicBezTo>
                <a:cubicBezTo>
                  <a:pt x="16" y="244"/>
                  <a:pt x="16" y="244"/>
                  <a:pt x="16" y="244"/>
                </a:cubicBezTo>
                <a:cubicBezTo>
                  <a:pt x="16" y="245"/>
                  <a:pt x="16" y="245"/>
                  <a:pt x="16" y="245"/>
                </a:cubicBezTo>
                <a:cubicBezTo>
                  <a:pt x="16" y="246"/>
                  <a:pt x="16" y="246"/>
                  <a:pt x="16" y="246"/>
                </a:cubicBezTo>
                <a:cubicBezTo>
                  <a:pt x="16" y="247"/>
                  <a:pt x="16" y="247"/>
                  <a:pt x="16" y="247"/>
                </a:cubicBezTo>
                <a:cubicBezTo>
                  <a:pt x="15" y="247"/>
                  <a:pt x="15" y="247"/>
                  <a:pt x="15" y="247"/>
                </a:cubicBezTo>
                <a:cubicBezTo>
                  <a:pt x="14" y="248"/>
                  <a:pt x="14" y="248"/>
                  <a:pt x="14" y="248"/>
                </a:cubicBezTo>
                <a:cubicBezTo>
                  <a:pt x="15" y="249"/>
                  <a:pt x="15" y="249"/>
                  <a:pt x="15" y="249"/>
                </a:cubicBezTo>
                <a:cubicBezTo>
                  <a:pt x="16" y="251"/>
                  <a:pt x="16" y="251"/>
                  <a:pt x="16" y="251"/>
                </a:cubicBezTo>
                <a:cubicBezTo>
                  <a:pt x="19" y="251"/>
                  <a:pt x="19" y="251"/>
                  <a:pt x="19" y="251"/>
                </a:cubicBezTo>
                <a:cubicBezTo>
                  <a:pt x="20" y="252"/>
                  <a:pt x="20" y="252"/>
                  <a:pt x="20" y="252"/>
                </a:cubicBezTo>
                <a:cubicBezTo>
                  <a:pt x="19" y="252"/>
                  <a:pt x="19" y="252"/>
                  <a:pt x="19" y="252"/>
                </a:cubicBezTo>
                <a:cubicBezTo>
                  <a:pt x="19" y="252"/>
                  <a:pt x="19" y="252"/>
                  <a:pt x="19" y="252"/>
                </a:cubicBezTo>
                <a:cubicBezTo>
                  <a:pt x="19" y="254"/>
                  <a:pt x="19" y="254"/>
                  <a:pt x="19" y="254"/>
                </a:cubicBezTo>
                <a:cubicBezTo>
                  <a:pt x="20" y="254"/>
                  <a:pt x="20" y="254"/>
                  <a:pt x="20" y="254"/>
                </a:cubicBezTo>
                <a:cubicBezTo>
                  <a:pt x="21" y="253"/>
                  <a:pt x="21" y="253"/>
                  <a:pt x="21" y="253"/>
                </a:cubicBezTo>
                <a:cubicBezTo>
                  <a:pt x="21" y="254"/>
                  <a:pt x="21" y="254"/>
                  <a:pt x="21" y="254"/>
                </a:cubicBezTo>
                <a:cubicBezTo>
                  <a:pt x="20" y="255"/>
                  <a:pt x="20" y="255"/>
                  <a:pt x="20" y="255"/>
                </a:cubicBezTo>
                <a:cubicBezTo>
                  <a:pt x="19" y="255"/>
                  <a:pt x="19" y="255"/>
                  <a:pt x="19" y="255"/>
                </a:cubicBezTo>
                <a:cubicBezTo>
                  <a:pt x="19" y="256"/>
                  <a:pt x="19" y="256"/>
                  <a:pt x="19" y="256"/>
                </a:cubicBezTo>
                <a:cubicBezTo>
                  <a:pt x="19" y="257"/>
                  <a:pt x="19" y="257"/>
                  <a:pt x="19" y="257"/>
                </a:cubicBezTo>
                <a:cubicBezTo>
                  <a:pt x="20" y="257"/>
                  <a:pt x="20" y="257"/>
                  <a:pt x="20" y="257"/>
                </a:cubicBezTo>
                <a:cubicBezTo>
                  <a:pt x="20" y="257"/>
                  <a:pt x="20" y="257"/>
                  <a:pt x="20" y="257"/>
                </a:cubicBezTo>
                <a:cubicBezTo>
                  <a:pt x="21" y="258"/>
                  <a:pt x="21" y="258"/>
                  <a:pt x="21" y="258"/>
                </a:cubicBezTo>
                <a:cubicBezTo>
                  <a:pt x="22" y="258"/>
                  <a:pt x="22" y="258"/>
                  <a:pt x="22" y="258"/>
                </a:cubicBezTo>
                <a:cubicBezTo>
                  <a:pt x="22" y="258"/>
                  <a:pt x="22" y="258"/>
                  <a:pt x="22" y="258"/>
                </a:cubicBezTo>
                <a:cubicBezTo>
                  <a:pt x="22" y="259"/>
                  <a:pt x="22" y="259"/>
                  <a:pt x="22" y="259"/>
                </a:cubicBezTo>
                <a:cubicBezTo>
                  <a:pt x="23" y="260"/>
                  <a:pt x="23" y="260"/>
                  <a:pt x="23" y="260"/>
                </a:cubicBezTo>
                <a:cubicBezTo>
                  <a:pt x="22" y="260"/>
                  <a:pt x="22" y="260"/>
                  <a:pt x="22" y="260"/>
                </a:cubicBezTo>
                <a:cubicBezTo>
                  <a:pt x="22" y="260"/>
                  <a:pt x="22" y="260"/>
                  <a:pt x="22" y="260"/>
                </a:cubicBezTo>
                <a:cubicBezTo>
                  <a:pt x="21" y="260"/>
                  <a:pt x="21" y="260"/>
                  <a:pt x="21" y="260"/>
                </a:cubicBezTo>
                <a:cubicBezTo>
                  <a:pt x="21" y="260"/>
                  <a:pt x="21" y="260"/>
                  <a:pt x="21" y="260"/>
                </a:cubicBezTo>
                <a:cubicBezTo>
                  <a:pt x="22" y="262"/>
                  <a:pt x="22" y="262"/>
                  <a:pt x="22" y="262"/>
                </a:cubicBezTo>
                <a:cubicBezTo>
                  <a:pt x="22" y="262"/>
                  <a:pt x="22" y="262"/>
                  <a:pt x="22" y="262"/>
                </a:cubicBezTo>
                <a:cubicBezTo>
                  <a:pt x="23" y="263"/>
                  <a:pt x="23" y="263"/>
                  <a:pt x="23" y="263"/>
                </a:cubicBezTo>
                <a:cubicBezTo>
                  <a:pt x="23" y="264"/>
                  <a:pt x="23" y="264"/>
                  <a:pt x="23" y="264"/>
                </a:cubicBezTo>
                <a:cubicBezTo>
                  <a:pt x="24" y="265"/>
                  <a:pt x="24" y="265"/>
                  <a:pt x="24" y="265"/>
                </a:cubicBezTo>
                <a:cubicBezTo>
                  <a:pt x="25" y="265"/>
                  <a:pt x="25" y="265"/>
                  <a:pt x="25" y="265"/>
                </a:cubicBezTo>
                <a:cubicBezTo>
                  <a:pt x="25" y="263"/>
                  <a:pt x="25" y="263"/>
                  <a:pt x="25" y="263"/>
                </a:cubicBezTo>
                <a:cubicBezTo>
                  <a:pt x="25" y="262"/>
                  <a:pt x="25" y="262"/>
                  <a:pt x="25" y="262"/>
                </a:cubicBezTo>
                <a:cubicBezTo>
                  <a:pt x="25" y="262"/>
                  <a:pt x="25" y="262"/>
                  <a:pt x="25" y="262"/>
                </a:cubicBezTo>
                <a:cubicBezTo>
                  <a:pt x="26" y="262"/>
                  <a:pt x="26" y="262"/>
                  <a:pt x="26" y="262"/>
                </a:cubicBezTo>
                <a:cubicBezTo>
                  <a:pt x="26" y="263"/>
                  <a:pt x="26" y="263"/>
                  <a:pt x="26" y="263"/>
                </a:cubicBezTo>
                <a:cubicBezTo>
                  <a:pt x="26" y="264"/>
                  <a:pt x="26" y="264"/>
                  <a:pt x="26" y="264"/>
                </a:cubicBezTo>
                <a:cubicBezTo>
                  <a:pt x="27" y="263"/>
                  <a:pt x="27" y="263"/>
                  <a:pt x="27" y="263"/>
                </a:cubicBezTo>
                <a:cubicBezTo>
                  <a:pt x="28" y="262"/>
                  <a:pt x="28" y="262"/>
                  <a:pt x="28" y="262"/>
                </a:cubicBezTo>
                <a:cubicBezTo>
                  <a:pt x="28" y="261"/>
                  <a:pt x="28" y="261"/>
                  <a:pt x="28" y="261"/>
                </a:cubicBezTo>
                <a:cubicBezTo>
                  <a:pt x="27" y="261"/>
                  <a:pt x="27" y="261"/>
                  <a:pt x="27" y="261"/>
                </a:cubicBezTo>
                <a:cubicBezTo>
                  <a:pt x="25" y="261"/>
                  <a:pt x="25" y="261"/>
                  <a:pt x="25" y="261"/>
                </a:cubicBezTo>
                <a:cubicBezTo>
                  <a:pt x="25" y="260"/>
                  <a:pt x="25" y="260"/>
                  <a:pt x="25" y="260"/>
                </a:cubicBezTo>
                <a:cubicBezTo>
                  <a:pt x="26" y="260"/>
                  <a:pt x="26" y="260"/>
                  <a:pt x="26" y="260"/>
                </a:cubicBezTo>
                <a:cubicBezTo>
                  <a:pt x="28" y="261"/>
                  <a:pt x="28" y="261"/>
                  <a:pt x="28" y="261"/>
                </a:cubicBezTo>
                <a:cubicBezTo>
                  <a:pt x="29" y="261"/>
                  <a:pt x="29" y="261"/>
                  <a:pt x="29" y="261"/>
                </a:cubicBezTo>
                <a:cubicBezTo>
                  <a:pt x="30" y="262"/>
                  <a:pt x="30" y="262"/>
                  <a:pt x="30" y="262"/>
                </a:cubicBezTo>
                <a:cubicBezTo>
                  <a:pt x="30" y="260"/>
                  <a:pt x="30" y="260"/>
                  <a:pt x="30" y="260"/>
                </a:cubicBezTo>
                <a:cubicBezTo>
                  <a:pt x="28" y="260"/>
                  <a:pt x="28" y="260"/>
                  <a:pt x="28" y="260"/>
                </a:cubicBezTo>
                <a:cubicBezTo>
                  <a:pt x="26" y="260"/>
                  <a:pt x="26" y="260"/>
                  <a:pt x="26" y="260"/>
                </a:cubicBezTo>
                <a:cubicBezTo>
                  <a:pt x="26" y="259"/>
                  <a:pt x="26" y="259"/>
                  <a:pt x="26" y="259"/>
                </a:cubicBezTo>
                <a:cubicBezTo>
                  <a:pt x="27" y="259"/>
                  <a:pt x="27" y="259"/>
                  <a:pt x="27" y="259"/>
                </a:cubicBezTo>
                <a:cubicBezTo>
                  <a:pt x="29" y="260"/>
                  <a:pt x="29" y="260"/>
                  <a:pt x="29" y="260"/>
                </a:cubicBezTo>
                <a:cubicBezTo>
                  <a:pt x="31" y="261"/>
                  <a:pt x="31" y="261"/>
                  <a:pt x="31" y="261"/>
                </a:cubicBezTo>
                <a:cubicBezTo>
                  <a:pt x="31" y="262"/>
                  <a:pt x="31" y="262"/>
                  <a:pt x="31" y="262"/>
                </a:cubicBezTo>
                <a:cubicBezTo>
                  <a:pt x="30" y="263"/>
                  <a:pt x="30" y="263"/>
                  <a:pt x="30" y="263"/>
                </a:cubicBezTo>
                <a:cubicBezTo>
                  <a:pt x="30" y="264"/>
                  <a:pt x="30" y="264"/>
                  <a:pt x="30" y="264"/>
                </a:cubicBezTo>
                <a:cubicBezTo>
                  <a:pt x="31" y="266"/>
                  <a:pt x="31" y="266"/>
                  <a:pt x="31" y="266"/>
                </a:cubicBezTo>
                <a:cubicBezTo>
                  <a:pt x="31" y="267"/>
                  <a:pt x="31" y="267"/>
                  <a:pt x="31" y="267"/>
                </a:cubicBezTo>
                <a:cubicBezTo>
                  <a:pt x="30" y="267"/>
                  <a:pt x="30" y="267"/>
                  <a:pt x="30" y="267"/>
                </a:cubicBezTo>
                <a:cubicBezTo>
                  <a:pt x="30" y="266"/>
                  <a:pt x="30" y="266"/>
                  <a:pt x="30" y="266"/>
                </a:cubicBezTo>
                <a:cubicBezTo>
                  <a:pt x="29" y="264"/>
                  <a:pt x="29" y="264"/>
                  <a:pt x="29" y="264"/>
                </a:cubicBezTo>
                <a:cubicBezTo>
                  <a:pt x="29" y="263"/>
                  <a:pt x="29" y="263"/>
                  <a:pt x="29" y="263"/>
                </a:cubicBezTo>
                <a:cubicBezTo>
                  <a:pt x="28" y="264"/>
                  <a:pt x="28" y="264"/>
                  <a:pt x="28" y="264"/>
                </a:cubicBezTo>
                <a:cubicBezTo>
                  <a:pt x="28" y="265"/>
                  <a:pt x="28" y="265"/>
                  <a:pt x="28" y="265"/>
                </a:cubicBezTo>
                <a:cubicBezTo>
                  <a:pt x="29" y="266"/>
                  <a:pt x="29" y="266"/>
                  <a:pt x="29" y="266"/>
                </a:cubicBezTo>
                <a:cubicBezTo>
                  <a:pt x="28" y="267"/>
                  <a:pt x="28" y="267"/>
                  <a:pt x="28" y="267"/>
                </a:cubicBezTo>
                <a:cubicBezTo>
                  <a:pt x="28" y="266"/>
                  <a:pt x="28" y="266"/>
                  <a:pt x="28" y="266"/>
                </a:cubicBezTo>
                <a:cubicBezTo>
                  <a:pt x="27" y="265"/>
                  <a:pt x="27" y="265"/>
                  <a:pt x="27" y="265"/>
                </a:cubicBezTo>
                <a:cubicBezTo>
                  <a:pt x="27" y="265"/>
                  <a:pt x="27" y="265"/>
                  <a:pt x="27" y="265"/>
                </a:cubicBezTo>
                <a:cubicBezTo>
                  <a:pt x="26" y="266"/>
                  <a:pt x="26" y="266"/>
                  <a:pt x="26" y="266"/>
                </a:cubicBezTo>
                <a:cubicBezTo>
                  <a:pt x="24" y="266"/>
                  <a:pt x="24" y="266"/>
                  <a:pt x="24" y="266"/>
                </a:cubicBezTo>
                <a:cubicBezTo>
                  <a:pt x="23" y="266"/>
                  <a:pt x="23" y="266"/>
                  <a:pt x="23" y="266"/>
                </a:cubicBezTo>
                <a:cubicBezTo>
                  <a:pt x="24" y="267"/>
                  <a:pt x="24" y="267"/>
                  <a:pt x="24" y="267"/>
                </a:cubicBezTo>
                <a:cubicBezTo>
                  <a:pt x="24" y="269"/>
                  <a:pt x="24" y="269"/>
                  <a:pt x="24" y="269"/>
                </a:cubicBezTo>
                <a:cubicBezTo>
                  <a:pt x="25" y="269"/>
                  <a:pt x="25" y="269"/>
                  <a:pt x="25" y="269"/>
                </a:cubicBezTo>
                <a:cubicBezTo>
                  <a:pt x="25" y="270"/>
                  <a:pt x="25" y="270"/>
                  <a:pt x="25" y="270"/>
                </a:cubicBezTo>
                <a:cubicBezTo>
                  <a:pt x="25" y="271"/>
                  <a:pt x="25" y="271"/>
                  <a:pt x="25" y="271"/>
                </a:cubicBezTo>
                <a:cubicBezTo>
                  <a:pt x="25" y="271"/>
                  <a:pt x="25" y="271"/>
                  <a:pt x="25" y="271"/>
                </a:cubicBezTo>
                <a:cubicBezTo>
                  <a:pt x="26" y="271"/>
                  <a:pt x="26" y="271"/>
                  <a:pt x="26" y="271"/>
                </a:cubicBezTo>
                <a:cubicBezTo>
                  <a:pt x="26" y="270"/>
                  <a:pt x="26" y="270"/>
                  <a:pt x="26" y="270"/>
                </a:cubicBezTo>
                <a:cubicBezTo>
                  <a:pt x="27" y="271"/>
                  <a:pt x="27" y="271"/>
                  <a:pt x="27" y="271"/>
                </a:cubicBezTo>
                <a:cubicBezTo>
                  <a:pt x="28" y="271"/>
                  <a:pt x="28" y="271"/>
                  <a:pt x="28" y="271"/>
                </a:cubicBezTo>
                <a:cubicBezTo>
                  <a:pt x="28" y="272"/>
                  <a:pt x="28" y="272"/>
                  <a:pt x="28" y="272"/>
                </a:cubicBezTo>
                <a:cubicBezTo>
                  <a:pt x="27" y="272"/>
                  <a:pt x="27" y="272"/>
                  <a:pt x="27" y="272"/>
                </a:cubicBezTo>
                <a:cubicBezTo>
                  <a:pt x="26" y="273"/>
                  <a:pt x="26" y="273"/>
                  <a:pt x="26" y="273"/>
                </a:cubicBezTo>
                <a:cubicBezTo>
                  <a:pt x="26" y="273"/>
                  <a:pt x="26" y="273"/>
                  <a:pt x="26" y="273"/>
                </a:cubicBezTo>
                <a:cubicBezTo>
                  <a:pt x="28" y="273"/>
                  <a:pt x="28" y="273"/>
                  <a:pt x="28" y="273"/>
                </a:cubicBezTo>
                <a:cubicBezTo>
                  <a:pt x="29" y="274"/>
                  <a:pt x="29" y="274"/>
                  <a:pt x="29" y="274"/>
                </a:cubicBezTo>
                <a:cubicBezTo>
                  <a:pt x="30" y="274"/>
                  <a:pt x="30" y="274"/>
                  <a:pt x="30" y="274"/>
                </a:cubicBezTo>
                <a:cubicBezTo>
                  <a:pt x="31" y="273"/>
                  <a:pt x="31" y="273"/>
                  <a:pt x="31" y="273"/>
                </a:cubicBezTo>
                <a:cubicBezTo>
                  <a:pt x="30" y="272"/>
                  <a:pt x="30" y="272"/>
                  <a:pt x="30" y="272"/>
                </a:cubicBezTo>
                <a:cubicBezTo>
                  <a:pt x="30" y="271"/>
                  <a:pt x="30" y="271"/>
                  <a:pt x="30" y="271"/>
                </a:cubicBezTo>
                <a:cubicBezTo>
                  <a:pt x="30" y="270"/>
                  <a:pt x="30" y="270"/>
                  <a:pt x="30" y="270"/>
                </a:cubicBezTo>
                <a:cubicBezTo>
                  <a:pt x="30" y="270"/>
                  <a:pt x="30" y="270"/>
                  <a:pt x="30" y="270"/>
                </a:cubicBezTo>
                <a:cubicBezTo>
                  <a:pt x="29" y="270"/>
                  <a:pt x="29" y="270"/>
                  <a:pt x="29" y="270"/>
                </a:cubicBezTo>
                <a:cubicBezTo>
                  <a:pt x="29" y="270"/>
                  <a:pt x="29" y="270"/>
                  <a:pt x="29" y="270"/>
                </a:cubicBezTo>
                <a:cubicBezTo>
                  <a:pt x="30" y="269"/>
                  <a:pt x="30" y="269"/>
                  <a:pt x="30" y="269"/>
                </a:cubicBezTo>
                <a:cubicBezTo>
                  <a:pt x="30" y="269"/>
                  <a:pt x="30" y="269"/>
                  <a:pt x="30" y="269"/>
                </a:cubicBezTo>
                <a:cubicBezTo>
                  <a:pt x="30" y="268"/>
                  <a:pt x="30" y="268"/>
                  <a:pt x="30" y="268"/>
                </a:cubicBezTo>
                <a:cubicBezTo>
                  <a:pt x="32" y="269"/>
                  <a:pt x="32" y="269"/>
                  <a:pt x="32" y="269"/>
                </a:cubicBezTo>
                <a:cubicBezTo>
                  <a:pt x="32" y="269"/>
                  <a:pt x="32" y="269"/>
                  <a:pt x="32" y="269"/>
                </a:cubicBezTo>
                <a:cubicBezTo>
                  <a:pt x="32" y="269"/>
                  <a:pt x="32" y="269"/>
                  <a:pt x="32" y="269"/>
                </a:cubicBezTo>
                <a:cubicBezTo>
                  <a:pt x="33" y="269"/>
                  <a:pt x="33" y="269"/>
                  <a:pt x="33" y="269"/>
                </a:cubicBezTo>
                <a:cubicBezTo>
                  <a:pt x="33" y="269"/>
                  <a:pt x="33" y="269"/>
                  <a:pt x="33" y="269"/>
                </a:cubicBezTo>
                <a:cubicBezTo>
                  <a:pt x="35" y="269"/>
                  <a:pt x="35" y="269"/>
                  <a:pt x="35" y="269"/>
                </a:cubicBezTo>
                <a:cubicBezTo>
                  <a:pt x="36" y="269"/>
                  <a:pt x="36" y="269"/>
                  <a:pt x="36" y="269"/>
                </a:cubicBezTo>
                <a:cubicBezTo>
                  <a:pt x="37" y="269"/>
                  <a:pt x="37" y="269"/>
                  <a:pt x="37" y="269"/>
                </a:cubicBezTo>
                <a:cubicBezTo>
                  <a:pt x="38" y="269"/>
                  <a:pt x="38" y="269"/>
                  <a:pt x="38" y="269"/>
                </a:cubicBezTo>
                <a:cubicBezTo>
                  <a:pt x="38" y="269"/>
                  <a:pt x="38" y="269"/>
                  <a:pt x="38" y="269"/>
                </a:cubicBezTo>
                <a:cubicBezTo>
                  <a:pt x="37" y="270"/>
                  <a:pt x="37" y="270"/>
                  <a:pt x="37" y="270"/>
                </a:cubicBezTo>
                <a:cubicBezTo>
                  <a:pt x="37" y="270"/>
                  <a:pt x="37" y="270"/>
                  <a:pt x="37" y="270"/>
                </a:cubicBezTo>
                <a:cubicBezTo>
                  <a:pt x="36" y="270"/>
                  <a:pt x="36" y="270"/>
                  <a:pt x="36" y="270"/>
                </a:cubicBezTo>
                <a:cubicBezTo>
                  <a:pt x="35" y="270"/>
                  <a:pt x="35" y="270"/>
                  <a:pt x="35" y="270"/>
                </a:cubicBezTo>
                <a:cubicBezTo>
                  <a:pt x="35" y="270"/>
                  <a:pt x="35" y="270"/>
                  <a:pt x="35" y="270"/>
                </a:cubicBezTo>
                <a:cubicBezTo>
                  <a:pt x="33" y="272"/>
                  <a:pt x="33" y="272"/>
                  <a:pt x="33" y="272"/>
                </a:cubicBezTo>
                <a:cubicBezTo>
                  <a:pt x="32" y="272"/>
                  <a:pt x="32" y="272"/>
                  <a:pt x="32" y="272"/>
                </a:cubicBezTo>
                <a:cubicBezTo>
                  <a:pt x="32" y="272"/>
                  <a:pt x="32" y="272"/>
                  <a:pt x="32" y="272"/>
                </a:cubicBezTo>
                <a:cubicBezTo>
                  <a:pt x="31" y="272"/>
                  <a:pt x="31" y="272"/>
                  <a:pt x="31" y="272"/>
                </a:cubicBezTo>
                <a:cubicBezTo>
                  <a:pt x="31" y="273"/>
                  <a:pt x="31" y="273"/>
                  <a:pt x="31" y="273"/>
                </a:cubicBezTo>
                <a:cubicBezTo>
                  <a:pt x="31" y="274"/>
                  <a:pt x="31" y="274"/>
                  <a:pt x="31" y="274"/>
                </a:cubicBezTo>
                <a:cubicBezTo>
                  <a:pt x="30" y="274"/>
                  <a:pt x="30" y="274"/>
                  <a:pt x="30" y="274"/>
                </a:cubicBezTo>
                <a:cubicBezTo>
                  <a:pt x="30" y="275"/>
                  <a:pt x="30" y="275"/>
                  <a:pt x="30" y="275"/>
                </a:cubicBezTo>
                <a:cubicBezTo>
                  <a:pt x="31" y="275"/>
                  <a:pt x="31" y="275"/>
                  <a:pt x="31" y="275"/>
                </a:cubicBezTo>
                <a:cubicBezTo>
                  <a:pt x="30" y="276"/>
                  <a:pt x="30" y="276"/>
                  <a:pt x="30" y="276"/>
                </a:cubicBezTo>
                <a:cubicBezTo>
                  <a:pt x="30" y="276"/>
                  <a:pt x="30" y="276"/>
                  <a:pt x="30" y="276"/>
                </a:cubicBezTo>
                <a:cubicBezTo>
                  <a:pt x="32" y="277"/>
                  <a:pt x="32" y="277"/>
                  <a:pt x="32" y="277"/>
                </a:cubicBezTo>
                <a:cubicBezTo>
                  <a:pt x="34" y="278"/>
                  <a:pt x="34" y="278"/>
                  <a:pt x="34" y="278"/>
                </a:cubicBezTo>
                <a:cubicBezTo>
                  <a:pt x="34" y="278"/>
                  <a:pt x="34" y="278"/>
                  <a:pt x="34" y="278"/>
                </a:cubicBezTo>
                <a:cubicBezTo>
                  <a:pt x="34" y="278"/>
                  <a:pt x="34" y="278"/>
                  <a:pt x="34" y="278"/>
                </a:cubicBezTo>
                <a:cubicBezTo>
                  <a:pt x="34" y="277"/>
                  <a:pt x="34" y="277"/>
                  <a:pt x="34" y="277"/>
                </a:cubicBezTo>
                <a:cubicBezTo>
                  <a:pt x="35" y="276"/>
                  <a:pt x="35" y="276"/>
                  <a:pt x="35" y="276"/>
                </a:cubicBezTo>
                <a:cubicBezTo>
                  <a:pt x="35" y="276"/>
                  <a:pt x="35" y="276"/>
                  <a:pt x="35" y="276"/>
                </a:cubicBezTo>
                <a:cubicBezTo>
                  <a:pt x="36" y="275"/>
                  <a:pt x="36" y="275"/>
                  <a:pt x="36" y="275"/>
                </a:cubicBezTo>
                <a:cubicBezTo>
                  <a:pt x="35" y="274"/>
                  <a:pt x="35" y="274"/>
                  <a:pt x="35" y="274"/>
                </a:cubicBezTo>
                <a:cubicBezTo>
                  <a:pt x="36" y="274"/>
                  <a:pt x="36" y="274"/>
                  <a:pt x="36" y="274"/>
                </a:cubicBezTo>
                <a:cubicBezTo>
                  <a:pt x="37" y="273"/>
                  <a:pt x="37" y="273"/>
                  <a:pt x="37" y="273"/>
                </a:cubicBezTo>
                <a:cubicBezTo>
                  <a:pt x="38" y="271"/>
                  <a:pt x="38" y="271"/>
                  <a:pt x="38" y="271"/>
                </a:cubicBezTo>
                <a:cubicBezTo>
                  <a:pt x="39" y="271"/>
                  <a:pt x="39" y="271"/>
                  <a:pt x="39" y="271"/>
                </a:cubicBezTo>
                <a:cubicBezTo>
                  <a:pt x="39" y="271"/>
                  <a:pt x="39" y="271"/>
                  <a:pt x="39" y="271"/>
                </a:cubicBezTo>
                <a:cubicBezTo>
                  <a:pt x="40" y="271"/>
                  <a:pt x="40" y="271"/>
                  <a:pt x="40" y="271"/>
                </a:cubicBezTo>
                <a:cubicBezTo>
                  <a:pt x="41" y="271"/>
                  <a:pt x="41" y="271"/>
                  <a:pt x="41" y="271"/>
                </a:cubicBezTo>
                <a:cubicBezTo>
                  <a:pt x="41" y="272"/>
                  <a:pt x="41" y="272"/>
                  <a:pt x="41" y="272"/>
                </a:cubicBezTo>
                <a:cubicBezTo>
                  <a:pt x="40" y="272"/>
                  <a:pt x="40" y="272"/>
                  <a:pt x="40" y="272"/>
                </a:cubicBezTo>
                <a:cubicBezTo>
                  <a:pt x="40" y="273"/>
                  <a:pt x="40" y="273"/>
                  <a:pt x="40" y="273"/>
                </a:cubicBezTo>
                <a:cubicBezTo>
                  <a:pt x="39" y="274"/>
                  <a:pt x="39" y="274"/>
                  <a:pt x="39" y="274"/>
                </a:cubicBezTo>
                <a:cubicBezTo>
                  <a:pt x="38" y="275"/>
                  <a:pt x="38" y="275"/>
                  <a:pt x="38" y="275"/>
                </a:cubicBezTo>
                <a:cubicBezTo>
                  <a:pt x="38" y="276"/>
                  <a:pt x="38" y="276"/>
                  <a:pt x="38" y="276"/>
                </a:cubicBezTo>
                <a:cubicBezTo>
                  <a:pt x="39" y="277"/>
                  <a:pt x="39" y="277"/>
                  <a:pt x="39" y="277"/>
                </a:cubicBezTo>
                <a:cubicBezTo>
                  <a:pt x="38" y="278"/>
                  <a:pt x="38" y="278"/>
                  <a:pt x="38" y="278"/>
                </a:cubicBezTo>
                <a:cubicBezTo>
                  <a:pt x="37" y="278"/>
                  <a:pt x="37" y="278"/>
                  <a:pt x="37" y="278"/>
                </a:cubicBezTo>
                <a:cubicBezTo>
                  <a:pt x="37" y="278"/>
                  <a:pt x="37" y="278"/>
                  <a:pt x="37" y="278"/>
                </a:cubicBezTo>
                <a:cubicBezTo>
                  <a:pt x="38" y="277"/>
                  <a:pt x="38" y="277"/>
                  <a:pt x="38" y="277"/>
                </a:cubicBezTo>
                <a:cubicBezTo>
                  <a:pt x="38" y="276"/>
                  <a:pt x="38" y="276"/>
                  <a:pt x="38" y="276"/>
                </a:cubicBezTo>
                <a:cubicBezTo>
                  <a:pt x="37" y="276"/>
                  <a:pt x="37" y="276"/>
                  <a:pt x="37" y="276"/>
                </a:cubicBezTo>
                <a:cubicBezTo>
                  <a:pt x="37" y="276"/>
                  <a:pt x="37" y="276"/>
                  <a:pt x="37" y="276"/>
                </a:cubicBezTo>
                <a:cubicBezTo>
                  <a:pt x="36" y="277"/>
                  <a:pt x="36" y="277"/>
                  <a:pt x="36" y="277"/>
                </a:cubicBezTo>
                <a:cubicBezTo>
                  <a:pt x="36" y="277"/>
                  <a:pt x="36" y="277"/>
                  <a:pt x="36" y="277"/>
                </a:cubicBezTo>
                <a:cubicBezTo>
                  <a:pt x="35" y="277"/>
                  <a:pt x="35" y="277"/>
                  <a:pt x="35" y="277"/>
                </a:cubicBezTo>
                <a:cubicBezTo>
                  <a:pt x="35" y="277"/>
                  <a:pt x="35" y="277"/>
                  <a:pt x="35" y="277"/>
                </a:cubicBezTo>
                <a:cubicBezTo>
                  <a:pt x="35" y="278"/>
                  <a:pt x="35" y="278"/>
                  <a:pt x="35" y="278"/>
                </a:cubicBezTo>
                <a:cubicBezTo>
                  <a:pt x="37" y="280"/>
                  <a:pt x="37" y="280"/>
                  <a:pt x="37" y="280"/>
                </a:cubicBezTo>
                <a:cubicBezTo>
                  <a:pt x="39" y="281"/>
                  <a:pt x="39" y="281"/>
                  <a:pt x="39" y="281"/>
                </a:cubicBezTo>
                <a:cubicBezTo>
                  <a:pt x="40" y="281"/>
                  <a:pt x="40" y="281"/>
                  <a:pt x="40" y="281"/>
                </a:cubicBezTo>
                <a:cubicBezTo>
                  <a:pt x="41" y="281"/>
                  <a:pt x="41" y="281"/>
                  <a:pt x="41" y="281"/>
                </a:cubicBezTo>
                <a:cubicBezTo>
                  <a:pt x="42" y="282"/>
                  <a:pt x="42" y="282"/>
                  <a:pt x="42" y="282"/>
                </a:cubicBezTo>
                <a:cubicBezTo>
                  <a:pt x="43" y="281"/>
                  <a:pt x="43" y="281"/>
                  <a:pt x="43" y="281"/>
                </a:cubicBezTo>
                <a:cubicBezTo>
                  <a:pt x="43" y="280"/>
                  <a:pt x="43" y="280"/>
                  <a:pt x="43" y="280"/>
                </a:cubicBezTo>
                <a:cubicBezTo>
                  <a:pt x="43" y="278"/>
                  <a:pt x="43" y="278"/>
                  <a:pt x="43" y="278"/>
                </a:cubicBezTo>
                <a:cubicBezTo>
                  <a:pt x="43" y="277"/>
                  <a:pt x="43" y="277"/>
                  <a:pt x="43" y="277"/>
                </a:cubicBezTo>
                <a:cubicBezTo>
                  <a:pt x="43" y="276"/>
                  <a:pt x="43" y="276"/>
                  <a:pt x="43" y="276"/>
                </a:cubicBezTo>
                <a:cubicBezTo>
                  <a:pt x="43" y="274"/>
                  <a:pt x="43" y="274"/>
                  <a:pt x="43" y="274"/>
                </a:cubicBezTo>
                <a:cubicBezTo>
                  <a:pt x="43" y="272"/>
                  <a:pt x="43" y="272"/>
                  <a:pt x="43" y="272"/>
                </a:cubicBezTo>
                <a:cubicBezTo>
                  <a:pt x="43" y="271"/>
                  <a:pt x="43" y="271"/>
                  <a:pt x="43" y="271"/>
                </a:cubicBezTo>
                <a:cubicBezTo>
                  <a:pt x="43" y="270"/>
                  <a:pt x="43" y="270"/>
                  <a:pt x="43" y="270"/>
                </a:cubicBezTo>
                <a:cubicBezTo>
                  <a:pt x="44" y="269"/>
                  <a:pt x="44" y="269"/>
                  <a:pt x="44" y="269"/>
                </a:cubicBezTo>
                <a:cubicBezTo>
                  <a:pt x="46" y="268"/>
                  <a:pt x="46" y="268"/>
                  <a:pt x="46" y="268"/>
                </a:cubicBezTo>
                <a:cubicBezTo>
                  <a:pt x="47" y="267"/>
                  <a:pt x="47" y="267"/>
                  <a:pt x="47" y="267"/>
                </a:cubicBezTo>
                <a:cubicBezTo>
                  <a:pt x="48" y="267"/>
                  <a:pt x="48" y="267"/>
                  <a:pt x="48" y="267"/>
                </a:cubicBezTo>
                <a:cubicBezTo>
                  <a:pt x="49" y="267"/>
                  <a:pt x="49" y="267"/>
                  <a:pt x="49" y="267"/>
                </a:cubicBezTo>
                <a:cubicBezTo>
                  <a:pt x="48" y="265"/>
                  <a:pt x="48" y="265"/>
                  <a:pt x="48" y="265"/>
                </a:cubicBezTo>
                <a:cubicBezTo>
                  <a:pt x="49" y="265"/>
                  <a:pt x="49" y="265"/>
                  <a:pt x="49" y="265"/>
                </a:cubicBezTo>
                <a:cubicBezTo>
                  <a:pt x="51" y="264"/>
                  <a:pt x="51" y="264"/>
                  <a:pt x="51" y="264"/>
                </a:cubicBezTo>
                <a:cubicBezTo>
                  <a:pt x="52" y="265"/>
                  <a:pt x="52" y="265"/>
                  <a:pt x="52" y="265"/>
                </a:cubicBezTo>
                <a:cubicBezTo>
                  <a:pt x="53" y="265"/>
                  <a:pt x="53" y="265"/>
                  <a:pt x="53" y="265"/>
                </a:cubicBezTo>
                <a:cubicBezTo>
                  <a:pt x="53" y="265"/>
                  <a:pt x="53" y="265"/>
                  <a:pt x="53" y="265"/>
                </a:cubicBezTo>
                <a:close/>
                <a:moveTo>
                  <a:pt x="66" y="298"/>
                </a:moveTo>
                <a:cubicBezTo>
                  <a:pt x="66" y="299"/>
                  <a:pt x="66" y="299"/>
                  <a:pt x="66" y="299"/>
                </a:cubicBezTo>
                <a:cubicBezTo>
                  <a:pt x="67" y="298"/>
                  <a:pt x="67" y="298"/>
                  <a:pt x="67" y="298"/>
                </a:cubicBezTo>
                <a:cubicBezTo>
                  <a:pt x="66" y="298"/>
                  <a:pt x="66" y="298"/>
                  <a:pt x="66" y="298"/>
                </a:cubicBezTo>
                <a:cubicBezTo>
                  <a:pt x="66" y="298"/>
                  <a:pt x="66" y="298"/>
                  <a:pt x="66" y="298"/>
                </a:cubicBezTo>
                <a:close/>
                <a:moveTo>
                  <a:pt x="9" y="184"/>
                </a:moveTo>
                <a:cubicBezTo>
                  <a:pt x="8" y="184"/>
                  <a:pt x="8" y="184"/>
                  <a:pt x="8" y="184"/>
                </a:cubicBezTo>
                <a:cubicBezTo>
                  <a:pt x="7" y="184"/>
                  <a:pt x="7" y="184"/>
                  <a:pt x="7" y="184"/>
                </a:cubicBezTo>
                <a:cubicBezTo>
                  <a:pt x="7" y="184"/>
                  <a:pt x="7" y="184"/>
                  <a:pt x="7" y="184"/>
                </a:cubicBezTo>
                <a:cubicBezTo>
                  <a:pt x="8" y="186"/>
                  <a:pt x="8" y="186"/>
                  <a:pt x="8" y="186"/>
                </a:cubicBezTo>
                <a:cubicBezTo>
                  <a:pt x="8" y="186"/>
                  <a:pt x="8" y="186"/>
                  <a:pt x="8" y="186"/>
                </a:cubicBezTo>
                <a:cubicBezTo>
                  <a:pt x="9" y="188"/>
                  <a:pt x="9" y="188"/>
                  <a:pt x="9" y="188"/>
                </a:cubicBezTo>
                <a:cubicBezTo>
                  <a:pt x="9" y="188"/>
                  <a:pt x="9" y="188"/>
                  <a:pt x="9" y="188"/>
                </a:cubicBezTo>
                <a:cubicBezTo>
                  <a:pt x="8" y="187"/>
                  <a:pt x="8" y="187"/>
                  <a:pt x="8" y="187"/>
                </a:cubicBezTo>
                <a:cubicBezTo>
                  <a:pt x="7" y="188"/>
                  <a:pt x="7" y="188"/>
                  <a:pt x="7" y="188"/>
                </a:cubicBezTo>
                <a:cubicBezTo>
                  <a:pt x="7" y="190"/>
                  <a:pt x="7" y="190"/>
                  <a:pt x="7" y="190"/>
                </a:cubicBezTo>
                <a:cubicBezTo>
                  <a:pt x="7" y="190"/>
                  <a:pt x="7" y="190"/>
                  <a:pt x="7" y="190"/>
                </a:cubicBezTo>
                <a:cubicBezTo>
                  <a:pt x="5" y="190"/>
                  <a:pt x="5" y="190"/>
                  <a:pt x="5" y="190"/>
                </a:cubicBezTo>
                <a:cubicBezTo>
                  <a:pt x="4" y="190"/>
                  <a:pt x="4" y="190"/>
                  <a:pt x="4" y="190"/>
                </a:cubicBezTo>
                <a:cubicBezTo>
                  <a:pt x="4" y="188"/>
                  <a:pt x="4" y="188"/>
                  <a:pt x="4" y="188"/>
                </a:cubicBezTo>
                <a:cubicBezTo>
                  <a:pt x="4" y="184"/>
                  <a:pt x="4" y="184"/>
                  <a:pt x="4" y="184"/>
                </a:cubicBezTo>
                <a:cubicBezTo>
                  <a:pt x="4" y="183"/>
                  <a:pt x="4" y="183"/>
                  <a:pt x="4" y="183"/>
                </a:cubicBezTo>
                <a:cubicBezTo>
                  <a:pt x="3" y="183"/>
                  <a:pt x="3" y="183"/>
                  <a:pt x="3" y="183"/>
                </a:cubicBezTo>
                <a:cubicBezTo>
                  <a:pt x="3" y="182"/>
                  <a:pt x="3" y="182"/>
                  <a:pt x="3" y="182"/>
                </a:cubicBezTo>
                <a:cubicBezTo>
                  <a:pt x="3" y="181"/>
                  <a:pt x="3" y="181"/>
                  <a:pt x="3" y="181"/>
                </a:cubicBezTo>
                <a:cubicBezTo>
                  <a:pt x="4" y="180"/>
                  <a:pt x="4" y="180"/>
                  <a:pt x="4" y="180"/>
                </a:cubicBezTo>
                <a:cubicBezTo>
                  <a:pt x="4" y="179"/>
                  <a:pt x="4" y="179"/>
                  <a:pt x="4" y="179"/>
                </a:cubicBezTo>
                <a:cubicBezTo>
                  <a:pt x="4" y="179"/>
                  <a:pt x="4" y="179"/>
                  <a:pt x="4" y="179"/>
                </a:cubicBezTo>
                <a:cubicBezTo>
                  <a:pt x="4" y="178"/>
                  <a:pt x="4" y="178"/>
                  <a:pt x="4" y="178"/>
                </a:cubicBezTo>
                <a:cubicBezTo>
                  <a:pt x="5" y="177"/>
                  <a:pt x="5" y="177"/>
                  <a:pt x="5" y="177"/>
                </a:cubicBezTo>
                <a:cubicBezTo>
                  <a:pt x="6" y="177"/>
                  <a:pt x="6" y="177"/>
                  <a:pt x="6" y="177"/>
                </a:cubicBezTo>
                <a:cubicBezTo>
                  <a:pt x="7" y="178"/>
                  <a:pt x="7" y="178"/>
                  <a:pt x="7" y="178"/>
                </a:cubicBezTo>
                <a:cubicBezTo>
                  <a:pt x="8" y="179"/>
                  <a:pt x="8" y="179"/>
                  <a:pt x="8" y="179"/>
                </a:cubicBezTo>
                <a:cubicBezTo>
                  <a:pt x="8" y="181"/>
                  <a:pt x="8" y="181"/>
                  <a:pt x="8" y="181"/>
                </a:cubicBezTo>
                <a:cubicBezTo>
                  <a:pt x="8" y="181"/>
                  <a:pt x="8" y="181"/>
                  <a:pt x="8" y="181"/>
                </a:cubicBezTo>
                <a:cubicBezTo>
                  <a:pt x="8" y="183"/>
                  <a:pt x="8" y="183"/>
                  <a:pt x="8" y="183"/>
                </a:cubicBezTo>
                <a:cubicBezTo>
                  <a:pt x="7" y="182"/>
                  <a:pt x="7" y="182"/>
                  <a:pt x="7" y="182"/>
                </a:cubicBezTo>
                <a:cubicBezTo>
                  <a:pt x="8" y="183"/>
                  <a:pt x="8" y="183"/>
                  <a:pt x="8" y="183"/>
                </a:cubicBezTo>
                <a:cubicBezTo>
                  <a:pt x="9" y="184"/>
                  <a:pt x="9" y="184"/>
                  <a:pt x="9" y="184"/>
                </a:cubicBezTo>
                <a:cubicBezTo>
                  <a:pt x="9" y="184"/>
                  <a:pt x="9" y="184"/>
                  <a:pt x="9" y="184"/>
                </a:cubicBezTo>
                <a:close/>
                <a:moveTo>
                  <a:pt x="10" y="181"/>
                </a:moveTo>
                <a:cubicBezTo>
                  <a:pt x="11" y="181"/>
                  <a:pt x="11" y="181"/>
                  <a:pt x="11" y="181"/>
                </a:cubicBezTo>
                <a:cubicBezTo>
                  <a:pt x="11" y="181"/>
                  <a:pt x="11" y="181"/>
                  <a:pt x="11" y="181"/>
                </a:cubicBezTo>
                <a:cubicBezTo>
                  <a:pt x="11" y="182"/>
                  <a:pt x="11" y="182"/>
                  <a:pt x="11" y="182"/>
                </a:cubicBezTo>
                <a:cubicBezTo>
                  <a:pt x="10" y="181"/>
                  <a:pt x="10" y="181"/>
                  <a:pt x="10" y="181"/>
                </a:cubicBezTo>
                <a:close/>
                <a:moveTo>
                  <a:pt x="2" y="193"/>
                </a:moveTo>
                <a:cubicBezTo>
                  <a:pt x="3" y="192"/>
                  <a:pt x="3" y="192"/>
                  <a:pt x="3" y="192"/>
                </a:cubicBezTo>
                <a:cubicBezTo>
                  <a:pt x="4" y="192"/>
                  <a:pt x="4" y="192"/>
                  <a:pt x="4" y="192"/>
                </a:cubicBezTo>
                <a:cubicBezTo>
                  <a:pt x="5" y="193"/>
                  <a:pt x="5" y="193"/>
                  <a:pt x="5" y="193"/>
                </a:cubicBezTo>
                <a:cubicBezTo>
                  <a:pt x="3" y="194"/>
                  <a:pt x="3" y="194"/>
                  <a:pt x="3" y="194"/>
                </a:cubicBezTo>
                <a:cubicBezTo>
                  <a:pt x="2" y="193"/>
                  <a:pt x="2" y="193"/>
                  <a:pt x="2" y="193"/>
                </a:cubicBezTo>
                <a:close/>
                <a:moveTo>
                  <a:pt x="11" y="194"/>
                </a:moveTo>
                <a:cubicBezTo>
                  <a:pt x="12" y="194"/>
                  <a:pt x="12" y="194"/>
                  <a:pt x="12" y="194"/>
                </a:cubicBezTo>
                <a:cubicBezTo>
                  <a:pt x="12" y="194"/>
                  <a:pt x="12" y="194"/>
                  <a:pt x="12" y="194"/>
                </a:cubicBezTo>
                <a:cubicBezTo>
                  <a:pt x="11" y="195"/>
                  <a:pt x="11" y="195"/>
                  <a:pt x="11" y="195"/>
                </a:cubicBezTo>
                <a:cubicBezTo>
                  <a:pt x="11" y="194"/>
                  <a:pt x="11" y="194"/>
                  <a:pt x="11" y="194"/>
                </a:cubicBezTo>
                <a:close/>
                <a:moveTo>
                  <a:pt x="9" y="194"/>
                </a:moveTo>
                <a:cubicBezTo>
                  <a:pt x="10" y="194"/>
                  <a:pt x="10" y="194"/>
                  <a:pt x="10" y="194"/>
                </a:cubicBezTo>
                <a:cubicBezTo>
                  <a:pt x="10" y="196"/>
                  <a:pt x="10" y="196"/>
                  <a:pt x="10" y="196"/>
                </a:cubicBezTo>
                <a:cubicBezTo>
                  <a:pt x="9" y="196"/>
                  <a:pt x="9" y="196"/>
                  <a:pt x="9" y="196"/>
                </a:cubicBezTo>
                <a:cubicBezTo>
                  <a:pt x="9" y="195"/>
                  <a:pt x="9" y="195"/>
                  <a:pt x="9" y="195"/>
                </a:cubicBezTo>
                <a:cubicBezTo>
                  <a:pt x="8" y="195"/>
                  <a:pt x="8" y="195"/>
                  <a:pt x="8" y="195"/>
                </a:cubicBezTo>
                <a:cubicBezTo>
                  <a:pt x="9" y="194"/>
                  <a:pt x="9" y="194"/>
                  <a:pt x="9" y="194"/>
                </a:cubicBezTo>
                <a:close/>
                <a:moveTo>
                  <a:pt x="6" y="194"/>
                </a:moveTo>
                <a:cubicBezTo>
                  <a:pt x="7" y="193"/>
                  <a:pt x="7" y="193"/>
                  <a:pt x="7" y="193"/>
                </a:cubicBezTo>
                <a:cubicBezTo>
                  <a:pt x="8" y="194"/>
                  <a:pt x="8" y="194"/>
                  <a:pt x="8" y="194"/>
                </a:cubicBezTo>
                <a:cubicBezTo>
                  <a:pt x="7" y="194"/>
                  <a:pt x="7" y="194"/>
                  <a:pt x="7" y="194"/>
                </a:cubicBezTo>
                <a:cubicBezTo>
                  <a:pt x="6" y="194"/>
                  <a:pt x="6" y="194"/>
                  <a:pt x="6" y="194"/>
                </a:cubicBezTo>
                <a:close/>
                <a:moveTo>
                  <a:pt x="7" y="196"/>
                </a:moveTo>
                <a:cubicBezTo>
                  <a:pt x="7" y="196"/>
                  <a:pt x="7" y="196"/>
                  <a:pt x="7" y="196"/>
                </a:cubicBezTo>
                <a:cubicBezTo>
                  <a:pt x="8" y="196"/>
                  <a:pt x="8" y="196"/>
                  <a:pt x="8" y="196"/>
                </a:cubicBezTo>
                <a:cubicBezTo>
                  <a:pt x="7" y="197"/>
                  <a:pt x="7" y="197"/>
                  <a:pt x="7" y="197"/>
                </a:cubicBezTo>
                <a:cubicBezTo>
                  <a:pt x="7" y="196"/>
                  <a:pt x="7" y="196"/>
                  <a:pt x="7" y="196"/>
                </a:cubicBezTo>
                <a:close/>
                <a:moveTo>
                  <a:pt x="5" y="198"/>
                </a:moveTo>
                <a:cubicBezTo>
                  <a:pt x="6" y="197"/>
                  <a:pt x="6" y="197"/>
                  <a:pt x="6" y="197"/>
                </a:cubicBezTo>
                <a:cubicBezTo>
                  <a:pt x="6" y="197"/>
                  <a:pt x="6" y="197"/>
                  <a:pt x="6" y="197"/>
                </a:cubicBezTo>
                <a:cubicBezTo>
                  <a:pt x="7" y="198"/>
                  <a:pt x="7" y="198"/>
                  <a:pt x="7" y="198"/>
                </a:cubicBezTo>
                <a:cubicBezTo>
                  <a:pt x="7" y="198"/>
                  <a:pt x="7" y="198"/>
                  <a:pt x="7" y="198"/>
                </a:cubicBezTo>
                <a:cubicBezTo>
                  <a:pt x="6" y="198"/>
                  <a:pt x="6" y="198"/>
                  <a:pt x="6" y="198"/>
                </a:cubicBezTo>
                <a:cubicBezTo>
                  <a:pt x="5" y="198"/>
                  <a:pt x="5" y="198"/>
                  <a:pt x="5" y="198"/>
                </a:cubicBezTo>
                <a:cubicBezTo>
                  <a:pt x="5" y="198"/>
                  <a:pt x="5" y="198"/>
                  <a:pt x="5" y="198"/>
                </a:cubicBezTo>
                <a:close/>
                <a:moveTo>
                  <a:pt x="4" y="200"/>
                </a:moveTo>
                <a:cubicBezTo>
                  <a:pt x="5" y="200"/>
                  <a:pt x="5" y="200"/>
                  <a:pt x="5" y="200"/>
                </a:cubicBezTo>
                <a:cubicBezTo>
                  <a:pt x="4" y="201"/>
                  <a:pt x="4" y="201"/>
                  <a:pt x="4" y="201"/>
                </a:cubicBezTo>
                <a:cubicBezTo>
                  <a:pt x="3" y="201"/>
                  <a:pt x="3" y="201"/>
                  <a:pt x="3" y="201"/>
                </a:cubicBezTo>
                <a:cubicBezTo>
                  <a:pt x="4" y="200"/>
                  <a:pt x="4" y="200"/>
                  <a:pt x="4" y="200"/>
                </a:cubicBezTo>
                <a:close/>
                <a:moveTo>
                  <a:pt x="10" y="199"/>
                </a:moveTo>
                <a:cubicBezTo>
                  <a:pt x="10" y="201"/>
                  <a:pt x="10" y="201"/>
                  <a:pt x="10" y="201"/>
                </a:cubicBezTo>
                <a:cubicBezTo>
                  <a:pt x="10" y="201"/>
                  <a:pt x="10" y="201"/>
                  <a:pt x="10" y="201"/>
                </a:cubicBezTo>
                <a:cubicBezTo>
                  <a:pt x="10" y="199"/>
                  <a:pt x="10" y="199"/>
                  <a:pt x="10" y="199"/>
                </a:cubicBezTo>
                <a:close/>
                <a:moveTo>
                  <a:pt x="8" y="199"/>
                </a:moveTo>
                <a:cubicBezTo>
                  <a:pt x="9" y="198"/>
                  <a:pt x="9" y="198"/>
                  <a:pt x="9" y="198"/>
                </a:cubicBezTo>
                <a:cubicBezTo>
                  <a:pt x="9" y="200"/>
                  <a:pt x="9" y="200"/>
                  <a:pt x="9" y="200"/>
                </a:cubicBezTo>
                <a:cubicBezTo>
                  <a:pt x="8" y="199"/>
                  <a:pt x="8" y="199"/>
                  <a:pt x="8" y="199"/>
                </a:cubicBezTo>
                <a:close/>
                <a:moveTo>
                  <a:pt x="5" y="209"/>
                </a:moveTo>
                <a:cubicBezTo>
                  <a:pt x="6" y="209"/>
                  <a:pt x="6" y="209"/>
                  <a:pt x="6" y="209"/>
                </a:cubicBezTo>
                <a:cubicBezTo>
                  <a:pt x="6" y="210"/>
                  <a:pt x="6" y="210"/>
                  <a:pt x="6" y="210"/>
                </a:cubicBezTo>
                <a:cubicBezTo>
                  <a:pt x="5" y="210"/>
                  <a:pt x="5" y="210"/>
                  <a:pt x="5" y="210"/>
                </a:cubicBezTo>
                <a:cubicBezTo>
                  <a:pt x="5" y="209"/>
                  <a:pt x="5" y="209"/>
                  <a:pt x="5" y="209"/>
                </a:cubicBezTo>
                <a:close/>
                <a:moveTo>
                  <a:pt x="5" y="201"/>
                </a:moveTo>
                <a:cubicBezTo>
                  <a:pt x="5" y="200"/>
                  <a:pt x="5" y="200"/>
                  <a:pt x="5" y="200"/>
                </a:cubicBezTo>
                <a:cubicBezTo>
                  <a:pt x="5" y="199"/>
                  <a:pt x="5" y="199"/>
                  <a:pt x="5" y="199"/>
                </a:cubicBezTo>
                <a:cubicBezTo>
                  <a:pt x="6" y="199"/>
                  <a:pt x="6" y="199"/>
                  <a:pt x="6" y="199"/>
                </a:cubicBezTo>
                <a:cubicBezTo>
                  <a:pt x="7" y="200"/>
                  <a:pt x="7" y="200"/>
                  <a:pt x="7" y="200"/>
                </a:cubicBezTo>
                <a:cubicBezTo>
                  <a:pt x="6" y="200"/>
                  <a:pt x="6" y="200"/>
                  <a:pt x="6" y="200"/>
                </a:cubicBezTo>
                <a:cubicBezTo>
                  <a:pt x="5" y="201"/>
                  <a:pt x="5" y="201"/>
                  <a:pt x="5" y="201"/>
                </a:cubicBezTo>
                <a:close/>
                <a:moveTo>
                  <a:pt x="3" y="203"/>
                </a:moveTo>
                <a:cubicBezTo>
                  <a:pt x="1" y="202"/>
                  <a:pt x="1" y="202"/>
                  <a:pt x="1" y="202"/>
                </a:cubicBezTo>
                <a:cubicBezTo>
                  <a:pt x="1" y="201"/>
                  <a:pt x="1" y="201"/>
                  <a:pt x="1" y="201"/>
                </a:cubicBezTo>
                <a:cubicBezTo>
                  <a:pt x="3" y="201"/>
                  <a:pt x="3" y="201"/>
                  <a:pt x="3" y="201"/>
                </a:cubicBezTo>
                <a:cubicBezTo>
                  <a:pt x="3" y="202"/>
                  <a:pt x="3" y="202"/>
                  <a:pt x="3" y="202"/>
                </a:cubicBezTo>
                <a:cubicBezTo>
                  <a:pt x="3" y="203"/>
                  <a:pt x="3" y="203"/>
                  <a:pt x="3" y="203"/>
                </a:cubicBezTo>
                <a:close/>
                <a:moveTo>
                  <a:pt x="7" y="207"/>
                </a:moveTo>
                <a:cubicBezTo>
                  <a:pt x="8" y="207"/>
                  <a:pt x="8" y="207"/>
                  <a:pt x="8" y="207"/>
                </a:cubicBezTo>
                <a:cubicBezTo>
                  <a:pt x="8" y="208"/>
                  <a:pt x="8" y="208"/>
                  <a:pt x="8" y="208"/>
                </a:cubicBezTo>
                <a:cubicBezTo>
                  <a:pt x="7" y="207"/>
                  <a:pt x="7" y="207"/>
                  <a:pt x="7" y="207"/>
                </a:cubicBezTo>
                <a:close/>
                <a:moveTo>
                  <a:pt x="9" y="208"/>
                </a:moveTo>
                <a:cubicBezTo>
                  <a:pt x="10" y="208"/>
                  <a:pt x="10" y="208"/>
                  <a:pt x="10" y="208"/>
                </a:cubicBezTo>
                <a:cubicBezTo>
                  <a:pt x="9" y="209"/>
                  <a:pt x="9" y="209"/>
                  <a:pt x="9" y="209"/>
                </a:cubicBezTo>
                <a:cubicBezTo>
                  <a:pt x="9" y="208"/>
                  <a:pt x="9" y="208"/>
                  <a:pt x="9" y="208"/>
                </a:cubicBezTo>
                <a:close/>
                <a:moveTo>
                  <a:pt x="11" y="197"/>
                </a:moveTo>
                <a:cubicBezTo>
                  <a:pt x="12" y="197"/>
                  <a:pt x="12" y="197"/>
                  <a:pt x="12" y="197"/>
                </a:cubicBezTo>
                <a:cubicBezTo>
                  <a:pt x="13" y="198"/>
                  <a:pt x="13" y="198"/>
                  <a:pt x="13" y="198"/>
                </a:cubicBezTo>
                <a:cubicBezTo>
                  <a:pt x="11" y="198"/>
                  <a:pt x="11" y="198"/>
                  <a:pt x="11" y="198"/>
                </a:cubicBezTo>
                <a:cubicBezTo>
                  <a:pt x="11" y="197"/>
                  <a:pt x="11" y="197"/>
                  <a:pt x="11" y="197"/>
                </a:cubicBezTo>
                <a:close/>
                <a:moveTo>
                  <a:pt x="13" y="198"/>
                </a:moveTo>
                <a:cubicBezTo>
                  <a:pt x="14" y="199"/>
                  <a:pt x="14" y="199"/>
                  <a:pt x="14" y="199"/>
                </a:cubicBezTo>
                <a:cubicBezTo>
                  <a:pt x="15" y="199"/>
                  <a:pt x="15" y="199"/>
                  <a:pt x="15" y="199"/>
                </a:cubicBezTo>
                <a:cubicBezTo>
                  <a:pt x="16" y="201"/>
                  <a:pt x="16" y="201"/>
                  <a:pt x="16" y="201"/>
                </a:cubicBezTo>
                <a:cubicBezTo>
                  <a:pt x="15" y="202"/>
                  <a:pt x="15" y="202"/>
                  <a:pt x="15" y="202"/>
                </a:cubicBezTo>
                <a:cubicBezTo>
                  <a:pt x="15" y="202"/>
                  <a:pt x="15" y="202"/>
                  <a:pt x="15" y="202"/>
                </a:cubicBezTo>
                <a:cubicBezTo>
                  <a:pt x="14" y="203"/>
                  <a:pt x="14" y="203"/>
                  <a:pt x="14" y="203"/>
                </a:cubicBezTo>
                <a:cubicBezTo>
                  <a:pt x="13" y="202"/>
                  <a:pt x="13" y="202"/>
                  <a:pt x="13" y="202"/>
                </a:cubicBezTo>
                <a:cubicBezTo>
                  <a:pt x="13" y="202"/>
                  <a:pt x="13" y="202"/>
                  <a:pt x="13" y="202"/>
                </a:cubicBezTo>
                <a:cubicBezTo>
                  <a:pt x="12" y="203"/>
                  <a:pt x="12" y="203"/>
                  <a:pt x="12" y="203"/>
                </a:cubicBezTo>
                <a:cubicBezTo>
                  <a:pt x="12" y="202"/>
                  <a:pt x="12" y="202"/>
                  <a:pt x="12" y="202"/>
                </a:cubicBezTo>
                <a:cubicBezTo>
                  <a:pt x="11" y="201"/>
                  <a:pt x="11" y="201"/>
                  <a:pt x="11" y="201"/>
                </a:cubicBezTo>
                <a:cubicBezTo>
                  <a:pt x="12" y="199"/>
                  <a:pt x="12" y="199"/>
                  <a:pt x="12" y="199"/>
                </a:cubicBezTo>
                <a:cubicBezTo>
                  <a:pt x="13" y="198"/>
                  <a:pt x="13" y="198"/>
                  <a:pt x="13" y="198"/>
                </a:cubicBezTo>
                <a:close/>
                <a:moveTo>
                  <a:pt x="6" y="202"/>
                </a:moveTo>
                <a:cubicBezTo>
                  <a:pt x="7" y="201"/>
                  <a:pt x="7" y="201"/>
                  <a:pt x="7" y="201"/>
                </a:cubicBezTo>
                <a:cubicBezTo>
                  <a:pt x="9" y="201"/>
                  <a:pt x="9" y="201"/>
                  <a:pt x="9" y="201"/>
                </a:cubicBezTo>
                <a:cubicBezTo>
                  <a:pt x="9" y="202"/>
                  <a:pt x="9" y="202"/>
                  <a:pt x="9" y="202"/>
                </a:cubicBezTo>
                <a:cubicBezTo>
                  <a:pt x="7" y="202"/>
                  <a:pt x="7" y="202"/>
                  <a:pt x="7" y="202"/>
                </a:cubicBezTo>
                <a:cubicBezTo>
                  <a:pt x="7" y="203"/>
                  <a:pt x="7" y="203"/>
                  <a:pt x="7" y="203"/>
                </a:cubicBezTo>
                <a:cubicBezTo>
                  <a:pt x="7" y="203"/>
                  <a:pt x="6" y="202"/>
                  <a:pt x="6" y="202"/>
                </a:cubicBezTo>
                <a:close/>
                <a:moveTo>
                  <a:pt x="8" y="204"/>
                </a:moveTo>
                <a:cubicBezTo>
                  <a:pt x="7" y="204"/>
                  <a:pt x="7" y="204"/>
                  <a:pt x="7" y="204"/>
                </a:cubicBezTo>
                <a:cubicBezTo>
                  <a:pt x="8" y="203"/>
                  <a:pt x="8" y="203"/>
                  <a:pt x="8" y="203"/>
                </a:cubicBezTo>
                <a:cubicBezTo>
                  <a:pt x="9" y="203"/>
                  <a:pt x="9" y="203"/>
                  <a:pt x="9" y="203"/>
                </a:cubicBezTo>
                <a:cubicBezTo>
                  <a:pt x="9" y="204"/>
                  <a:pt x="9" y="204"/>
                  <a:pt x="9" y="204"/>
                </a:cubicBezTo>
                <a:cubicBezTo>
                  <a:pt x="8" y="204"/>
                  <a:pt x="8" y="204"/>
                  <a:pt x="8" y="204"/>
                </a:cubicBezTo>
                <a:close/>
                <a:moveTo>
                  <a:pt x="8" y="205"/>
                </a:moveTo>
                <a:cubicBezTo>
                  <a:pt x="9" y="205"/>
                  <a:pt x="9" y="205"/>
                  <a:pt x="9" y="205"/>
                </a:cubicBezTo>
                <a:cubicBezTo>
                  <a:pt x="11" y="205"/>
                  <a:pt x="11" y="205"/>
                  <a:pt x="11" y="205"/>
                </a:cubicBezTo>
                <a:cubicBezTo>
                  <a:pt x="11" y="207"/>
                  <a:pt x="11" y="207"/>
                  <a:pt x="11" y="207"/>
                </a:cubicBezTo>
                <a:cubicBezTo>
                  <a:pt x="10" y="208"/>
                  <a:pt x="10" y="208"/>
                  <a:pt x="10" y="208"/>
                </a:cubicBezTo>
                <a:cubicBezTo>
                  <a:pt x="9" y="207"/>
                  <a:pt x="9" y="207"/>
                  <a:pt x="9" y="207"/>
                </a:cubicBezTo>
                <a:cubicBezTo>
                  <a:pt x="9" y="206"/>
                  <a:pt x="9" y="206"/>
                  <a:pt x="9" y="206"/>
                </a:cubicBezTo>
                <a:cubicBezTo>
                  <a:pt x="8" y="205"/>
                  <a:pt x="8" y="205"/>
                  <a:pt x="8" y="205"/>
                </a:cubicBezTo>
                <a:close/>
                <a:moveTo>
                  <a:pt x="6" y="209"/>
                </a:moveTo>
                <a:cubicBezTo>
                  <a:pt x="7" y="208"/>
                  <a:pt x="7" y="208"/>
                  <a:pt x="7" y="208"/>
                </a:cubicBezTo>
                <a:cubicBezTo>
                  <a:pt x="7" y="208"/>
                  <a:pt x="7" y="208"/>
                  <a:pt x="7" y="208"/>
                </a:cubicBezTo>
                <a:cubicBezTo>
                  <a:pt x="8" y="209"/>
                  <a:pt x="8" y="209"/>
                  <a:pt x="8" y="209"/>
                </a:cubicBezTo>
                <a:cubicBezTo>
                  <a:pt x="9" y="210"/>
                  <a:pt x="9" y="210"/>
                  <a:pt x="9" y="210"/>
                </a:cubicBezTo>
                <a:cubicBezTo>
                  <a:pt x="8" y="210"/>
                  <a:pt x="8" y="210"/>
                  <a:pt x="8" y="210"/>
                </a:cubicBezTo>
                <a:cubicBezTo>
                  <a:pt x="6" y="209"/>
                  <a:pt x="6" y="209"/>
                  <a:pt x="6" y="209"/>
                </a:cubicBezTo>
                <a:close/>
                <a:moveTo>
                  <a:pt x="10" y="233"/>
                </a:moveTo>
                <a:cubicBezTo>
                  <a:pt x="10" y="232"/>
                  <a:pt x="10" y="232"/>
                  <a:pt x="10" y="232"/>
                </a:cubicBezTo>
                <a:cubicBezTo>
                  <a:pt x="10" y="232"/>
                  <a:pt x="10" y="232"/>
                  <a:pt x="10" y="232"/>
                </a:cubicBezTo>
                <a:cubicBezTo>
                  <a:pt x="10" y="232"/>
                  <a:pt x="10" y="232"/>
                  <a:pt x="10" y="232"/>
                </a:cubicBezTo>
                <a:cubicBezTo>
                  <a:pt x="8" y="230"/>
                  <a:pt x="8" y="230"/>
                  <a:pt x="8" y="230"/>
                </a:cubicBezTo>
                <a:cubicBezTo>
                  <a:pt x="7" y="229"/>
                  <a:pt x="7" y="229"/>
                  <a:pt x="7" y="229"/>
                </a:cubicBezTo>
                <a:cubicBezTo>
                  <a:pt x="7" y="228"/>
                  <a:pt x="7" y="228"/>
                  <a:pt x="7" y="228"/>
                </a:cubicBezTo>
                <a:cubicBezTo>
                  <a:pt x="8" y="228"/>
                  <a:pt x="8" y="228"/>
                  <a:pt x="8" y="228"/>
                </a:cubicBezTo>
                <a:cubicBezTo>
                  <a:pt x="9" y="228"/>
                  <a:pt x="9" y="228"/>
                  <a:pt x="9" y="228"/>
                </a:cubicBezTo>
                <a:cubicBezTo>
                  <a:pt x="10" y="230"/>
                  <a:pt x="10" y="230"/>
                  <a:pt x="10" y="230"/>
                </a:cubicBezTo>
                <a:cubicBezTo>
                  <a:pt x="11" y="230"/>
                  <a:pt x="11" y="230"/>
                  <a:pt x="11" y="230"/>
                </a:cubicBezTo>
                <a:cubicBezTo>
                  <a:pt x="11" y="231"/>
                  <a:pt x="11" y="231"/>
                  <a:pt x="11" y="231"/>
                </a:cubicBezTo>
                <a:cubicBezTo>
                  <a:pt x="12" y="232"/>
                  <a:pt x="12" y="232"/>
                  <a:pt x="12" y="232"/>
                </a:cubicBezTo>
                <a:cubicBezTo>
                  <a:pt x="13" y="234"/>
                  <a:pt x="13" y="234"/>
                  <a:pt x="13" y="234"/>
                </a:cubicBezTo>
                <a:cubicBezTo>
                  <a:pt x="11" y="234"/>
                  <a:pt x="11" y="234"/>
                  <a:pt x="11" y="234"/>
                </a:cubicBezTo>
                <a:cubicBezTo>
                  <a:pt x="10" y="234"/>
                  <a:pt x="10" y="234"/>
                  <a:pt x="10" y="234"/>
                </a:cubicBezTo>
                <a:cubicBezTo>
                  <a:pt x="10" y="233"/>
                  <a:pt x="10" y="233"/>
                  <a:pt x="10" y="233"/>
                </a:cubicBezTo>
                <a:close/>
                <a:moveTo>
                  <a:pt x="5" y="231"/>
                </a:moveTo>
                <a:cubicBezTo>
                  <a:pt x="5" y="230"/>
                  <a:pt x="5" y="230"/>
                  <a:pt x="5" y="230"/>
                </a:cubicBezTo>
                <a:cubicBezTo>
                  <a:pt x="5" y="229"/>
                  <a:pt x="5" y="229"/>
                  <a:pt x="5" y="229"/>
                </a:cubicBezTo>
                <a:cubicBezTo>
                  <a:pt x="7" y="230"/>
                  <a:pt x="7" y="230"/>
                  <a:pt x="7" y="230"/>
                </a:cubicBezTo>
                <a:cubicBezTo>
                  <a:pt x="8" y="232"/>
                  <a:pt x="8" y="232"/>
                  <a:pt x="8" y="232"/>
                </a:cubicBezTo>
                <a:cubicBezTo>
                  <a:pt x="9" y="234"/>
                  <a:pt x="9" y="234"/>
                  <a:pt x="9" y="234"/>
                </a:cubicBezTo>
                <a:cubicBezTo>
                  <a:pt x="9" y="235"/>
                  <a:pt x="9" y="235"/>
                  <a:pt x="9" y="235"/>
                </a:cubicBezTo>
                <a:cubicBezTo>
                  <a:pt x="9" y="236"/>
                  <a:pt x="9" y="236"/>
                  <a:pt x="9" y="236"/>
                </a:cubicBezTo>
                <a:cubicBezTo>
                  <a:pt x="8" y="235"/>
                  <a:pt x="8" y="235"/>
                  <a:pt x="8" y="235"/>
                </a:cubicBezTo>
                <a:cubicBezTo>
                  <a:pt x="7" y="233"/>
                  <a:pt x="7" y="233"/>
                  <a:pt x="7" y="233"/>
                </a:cubicBezTo>
                <a:cubicBezTo>
                  <a:pt x="7" y="233"/>
                  <a:pt x="7" y="233"/>
                  <a:pt x="7" y="233"/>
                </a:cubicBezTo>
                <a:cubicBezTo>
                  <a:pt x="7" y="232"/>
                  <a:pt x="7" y="232"/>
                  <a:pt x="7" y="232"/>
                </a:cubicBezTo>
                <a:cubicBezTo>
                  <a:pt x="5" y="232"/>
                  <a:pt x="5" y="232"/>
                  <a:pt x="5" y="232"/>
                </a:cubicBezTo>
                <a:cubicBezTo>
                  <a:pt x="5" y="231"/>
                  <a:pt x="5" y="231"/>
                  <a:pt x="5" y="231"/>
                </a:cubicBezTo>
                <a:close/>
                <a:moveTo>
                  <a:pt x="5" y="233"/>
                </a:moveTo>
                <a:cubicBezTo>
                  <a:pt x="6" y="233"/>
                  <a:pt x="6" y="233"/>
                  <a:pt x="6" y="233"/>
                </a:cubicBezTo>
                <a:cubicBezTo>
                  <a:pt x="7" y="233"/>
                  <a:pt x="7" y="233"/>
                  <a:pt x="7" y="233"/>
                </a:cubicBezTo>
                <a:cubicBezTo>
                  <a:pt x="7" y="234"/>
                  <a:pt x="7" y="234"/>
                  <a:pt x="7" y="234"/>
                </a:cubicBezTo>
                <a:cubicBezTo>
                  <a:pt x="7" y="235"/>
                  <a:pt x="7" y="235"/>
                  <a:pt x="7" y="235"/>
                </a:cubicBezTo>
                <a:cubicBezTo>
                  <a:pt x="6" y="235"/>
                  <a:pt x="6" y="235"/>
                  <a:pt x="6" y="235"/>
                </a:cubicBezTo>
                <a:cubicBezTo>
                  <a:pt x="6" y="235"/>
                  <a:pt x="6" y="235"/>
                  <a:pt x="6" y="235"/>
                </a:cubicBezTo>
                <a:cubicBezTo>
                  <a:pt x="5" y="234"/>
                  <a:pt x="5" y="234"/>
                  <a:pt x="5" y="234"/>
                </a:cubicBezTo>
                <a:cubicBezTo>
                  <a:pt x="5" y="233"/>
                  <a:pt x="5" y="233"/>
                  <a:pt x="5" y="233"/>
                </a:cubicBezTo>
                <a:close/>
                <a:moveTo>
                  <a:pt x="8" y="240"/>
                </a:moveTo>
                <a:cubicBezTo>
                  <a:pt x="7" y="240"/>
                  <a:pt x="7" y="240"/>
                  <a:pt x="7" y="240"/>
                </a:cubicBezTo>
                <a:cubicBezTo>
                  <a:pt x="7" y="239"/>
                  <a:pt x="7" y="239"/>
                  <a:pt x="7" y="239"/>
                </a:cubicBezTo>
                <a:cubicBezTo>
                  <a:pt x="7" y="237"/>
                  <a:pt x="7" y="237"/>
                  <a:pt x="7" y="237"/>
                </a:cubicBezTo>
                <a:cubicBezTo>
                  <a:pt x="7" y="236"/>
                  <a:pt x="7" y="236"/>
                  <a:pt x="7" y="236"/>
                </a:cubicBezTo>
                <a:cubicBezTo>
                  <a:pt x="7" y="237"/>
                  <a:pt x="7" y="237"/>
                  <a:pt x="7" y="237"/>
                </a:cubicBezTo>
                <a:cubicBezTo>
                  <a:pt x="9" y="237"/>
                  <a:pt x="9" y="237"/>
                  <a:pt x="9" y="237"/>
                </a:cubicBezTo>
                <a:cubicBezTo>
                  <a:pt x="9" y="238"/>
                  <a:pt x="9" y="238"/>
                  <a:pt x="9" y="238"/>
                </a:cubicBezTo>
                <a:cubicBezTo>
                  <a:pt x="9" y="238"/>
                  <a:pt x="9" y="238"/>
                  <a:pt x="9" y="238"/>
                </a:cubicBezTo>
                <a:cubicBezTo>
                  <a:pt x="8" y="240"/>
                  <a:pt x="8" y="240"/>
                  <a:pt x="8" y="240"/>
                </a:cubicBezTo>
                <a:close/>
                <a:moveTo>
                  <a:pt x="9" y="245"/>
                </a:moveTo>
                <a:cubicBezTo>
                  <a:pt x="8" y="245"/>
                  <a:pt x="8" y="245"/>
                  <a:pt x="8" y="245"/>
                </a:cubicBezTo>
                <a:cubicBezTo>
                  <a:pt x="8" y="245"/>
                  <a:pt x="8" y="245"/>
                  <a:pt x="8" y="245"/>
                </a:cubicBezTo>
                <a:cubicBezTo>
                  <a:pt x="8" y="244"/>
                  <a:pt x="8" y="244"/>
                  <a:pt x="8" y="244"/>
                </a:cubicBezTo>
                <a:cubicBezTo>
                  <a:pt x="7" y="243"/>
                  <a:pt x="7" y="243"/>
                  <a:pt x="7" y="243"/>
                </a:cubicBezTo>
                <a:cubicBezTo>
                  <a:pt x="9" y="243"/>
                  <a:pt x="9" y="243"/>
                  <a:pt x="9" y="243"/>
                </a:cubicBezTo>
                <a:cubicBezTo>
                  <a:pt x="10" y="244"/>
                  <a:pt x="10" y="244"/>
                  <a:pt x="10" y="244"/>
                </a:cubicBezTo>
                <a:cubicBezTo>
                  <a:pt x="9" y="245"/>
                  <a:pt x="9" y="245"/>
                  <a:pt x="9" y="245"/>
                </a:cubicBezTo>
                <a:close/>
                <a:moveTo>
                  <a:pt x="12" y="244"/>
                </a:moveTo>
                <a:cubicBezTo>
                  <a:pt x="12" y="246"/>
                  <a:pt x="12" y="246"/>
                  <a:pt x="12" y="246"/>
                </a:cubicBezTo>
                <a:cubicBezTo>
                  <a:pt x="12" y="246"/>
                  <a:pt x="12" y="246"/>
                  <a:pt x="12" y="246"/>
                </a:cubicBezTo>
                <a:cubicBezTo>
                  <a:pt x="10" y="245"/>
                  <a:pt x="10" y="245"/>
                  <a:pt x="10" y="245"/>
                </a:cubicBezTo>
                <a:cubicBezTo>
                  <a:pt x="10" y="244"/>
                  <a:pt x="10" y="244"/>
                  <a:pt x="10" y="244"/>
                </a:cubicBezTo>
                <a:cubicBezTo>
                  <a:pt x="9" y="241"/>
                  <a:pt x="9" y="241"/>
                  <a:pt x="9" y="241"/>
                </a:cubicBezTo>
                <a:cubicBezTo>
                  <a:pt x="10" y="241"/>
                  <a:pt x="10" y="241"/>
                  <a:pt x="10" y="241"/>
                </a:cubicBezTo>
                <a:cubicBezTo>
                  <a:pt x="11" y="240"/>
                  <a:pt x="11" y="240"/>
                  <a:pt x="11" y="240"/>
                </a:cubicBezTo>
                <a:cubicBezTo>
                  <a:pt x="11" y="239"/>
                  <a:pt x="11" y="239"/>
                  <a:pt x="11" y="239"/>
                </a:cubicBezTo>
                <a:cubicBezTo>
                  <a:pt x="11" y="240"/>
                  <a:pt x="11" y="240"/>
                  <a:pt x="11" y="240"/>
                </a:cubicBezTo>
                <a:cubicBezTo>
                  <a:pt x="10" y="240"/>
                  <a:pt x="10" y="240"/>
                  <a:pt x="10" y="240"/>
                </a:cubicBezTo>
                <a:cubicBezTo>
                  <a:pt x="10" y="239"/>
                  <a:pt x="10" y="239"/>
                  <a:pt x="10" y="239"/>
                </a:cubicBezTo>
                <a:cubicBezTo>
                  <a:pt x="10" y="238"/>
                  <a:pt x="10" y="238"/>
                  <a:pt x="10" y="238"/>
                </a:cubicBezTo>
                <a:cubicBezTo>
                  <a:pt x="9" y="237"/>
                  <a:pt x="9" y="237"/>
                  <a:pt x="9" y="237"/>
                </a:cubicBezTo>
                <a:cubicBezTo>
                  <a:pt x="9" y="236"/>
                  <a:pt x="9" y="236"/>
                  <a:pt x="9" y="236"/>
                </a:cubicBezTo>
                <a:cubicBezTo>
                  <a:pt x="10" y="235"/>
                  <a:pt x="10" y="235"/>
                  <a:pt x="10" y="235"/>
                </a:cubicBezTo>
                <a:cubicBezTo>
                  <a:pt x="12" y="235"/>
                  <a:pt x="12" y="235"/>
                  <a:pt x="12" y="235"/>
                </a:cubicBezTo>
                <a:cubicBezTo>
                  <a:pt x="13" y="236"/>
                  <a:pt x="13" y="236"/>
                  <a:pt x="13" y="236"/>
                </a:cubicBezTo>
                <a:cubicBezTo>
                  <a:pt x="13" y="239"/>
                  <a:pt x="13" y="239"/>
                  <a:pt x="13" y="239"/>
                </a:cubicBezTo>
                <a:cubicBezTo>
                  <a:pt x="14" y="240"/>
                  <a:pt x="14" y="240"/>
                  <a:pt x="14" y="240"/>
                </a:cubicBezTo>
                <a:cubicBezTo>
                  <a:pt x="14" y="242"/>
                  <a:pt x="14" y="242"/>
                  <a:pt x="14" y="242"/>
                </a:cubicBezTo>
                <a:cubicBezTo>
                  <a:pt x="14" y="243"/>
                  <a:pt x="14" y="243"/>
                  <a:pt x="14" y="243"/>
                </a:cubicBezTo>
                <a:cubicBezTo>
                  <a:pt x="15" y="245"/>
                  <a:pt x="15" y="245"/>
                  <a:pt x="15" y="245"/>
                </a:cubicBezTo>
                <a:cubicBezTo>
                  <a:pt x="15" y="246"/>
                  <a:pt x="15" y="246"/>
                  <a:pt x="15" y="246"/>
                </a:cubicBezTo>
                <a:cubicBezTo>
                  <a:pt x="14" y="247"/>
                  <a:pt x="14" y="247"/>
                  <a:pt x="14" y="247"/>
                </a:cubicBezTo>
                <a:cubicBezTo>
                  <a:pt x="13" y="247"/>
                  <a:pt x="13" y="247"/>
                  <a:pt x="13" y="247"/>
                </a:cubicBezTo>
                <a:cubicBezTo>
                  <a:pt x="13" y="245"/>
                  <a:pt x="13" y="245"/>
                  <a:pt x="13" y="245"/>
                </a:cubicBezTo>
                <a:cubicBezTo>
                  <a:pt x="12" y="244"/>
                  <a:pt x="12" y="244"/>
                  <a:pt x="12" y="244"/>
                </a:cubicBezTo>
                <a:close/>
                <a:moveTo>
                  <a:pt x="11" y="251"/>
                </a:moveTo>
                <a:cubicBezTo>
                  <a:pt x="11" y="250"/>
                  <a:pt x="11" y="250"/>
                  <a:pt x="11" y="250"/>
                </a:cubicBezTo>
                <a:cubicBezTo>
                  <a:pt x="10" y="249"/>
                  <a:pt x="10" y="249"/>
                  <a:pt x="10" y="249"/>
                </a:cubicBezTo>
                <a:cubicBezTo>
                  <a:pt x="11" y="249"/>
                  <a:pt x="11" y="249"/>
                  <a:pt x="11" y="249"/>
                </a:cubicBezTo>
                <a:cubicBezTo>
                  <a:pt x="11" y="248"/>
                  <a:pt x="11" y="248"/>
                  <a:pt x="11" y="248"/>
                </a:cubicBezTo>
                <a:cubicBezTo>
                  <a:pt x="11" y="248"/>
                  <a:pt x="11" y="248"/>
                  <a:pt x="11" y="248"/>
                </a:cubicBezTo>
                <a:cubicBezTo>
                  <a:pt x="12" y="248"/>
                  <a:pt x="12" y="248"/>
                  <a:pt x="12" y="248"/>
                </a:cubicBezTo>
                <a:cubicBezTo>
                  <a:pt x="13" y="248"/>
                  <a:pt x="13" y="248"/>
                  <a:pt x="13" y="248"/>
                </a:cubicBezTo>
                <a:cubicBezTo>
                  <a:pt x="13" y="249"/>
                  <a:pt x="13" y="249"/>
                  <a:pt x="13" y="249"/>
                </a:cubicBezTo>
                <a:cubicBezTo>
                  <a:pt x="13" y="250"/>
                  <a:pt x="13" y="250"/>
                  <a:pt x="13" y="250"/>
                </a:cubicBezTo>
                <a:cubicBezTo>
                  <a:pt x="12" y="251"/>
                  <a:pt x="12" y="251"/>
                  <a:pt x="12" y="251"/>
                </a:cubicBezTo>
                <a:cubicBezTo>
                  <a:pt x="11" y="251"/>
                  <a:pt x="11" y="251"/>
                  <a:pt x="11" y="251"/>
                </a:cubicBezTo>
                <a:close/>
                <a:moveTo>
                  <a:pt x="11" y="253"/>
                </a:moveTo>
                <a:cubicBezTo>
                  <a:pt x="11" y="252"/>
                  <a:pt x="11" y="252"/>
                  <a:pt x="11" y="252"/>
                </a:cubicBezTo>
                <a:cubicBezTo>
                  <a:pt x="12" y="252"/>
                  <a:pt x="12" y="252"/>
                  <a:pt x="12" y="252"/>
                </a:cubicBezTo>
                <a:cubicBezTo>
                  <a:pt x="11" y="252"/>
                  <a:pt x="11" y="252"/>
                  <a:pt x="11" y="252"/>
                </a:cubicBezTo>
                <a:cubicBezTo>
                  <a:pt x="11" y="253"/>
                  <a:pt x="11" y="253"/>
                  <a:pt x="11" y="253"/>
                </a:cubicBezTo>
                <a:close/>
                <a:moveTo>
                  <a:pt x="13" y="252"/>
                </a:moveTo>
                <a:cubicBezTo>
                  <a:pt x="14" y="253"/>
                  <a:pt x="14" y="253"/>
                  <a:pt x="14" y="253"/>
                </a:cubicBezTo>
                <a:cubicBezTo>
                  <a:pt x="14" y="254"/>
                  <a:pt x="14" y="254"/>
                  <a:pt x="14" y="254"/>
                </a:cubicBezTo>
                <a:cubicBezTo>
                  <a:pt x="13" y="254"/>
                  <a:pt x="13" y="254"/>
                  <a:pt x="13" y="254"/>
                </a:cubicBezTo>
                <a:cubicBezTo>
                  <a:pt x="13" y="253"/>
                  <a:pt x="13" y="253"/>
                  <a:pt x="13" y="253"/>
                </a:cubicBezTo>
                <a:cubicBezTo>
                  <a:pt x="13" y="252"/>
                  <a:pt x="13" y="252"/>
                  <a:pt x="13" y="252"/>
                </a:cubicBezTo>
                <a:close/>
                <a:moveTo>
                  <a:pt x="14" y="251"/>
                </a:moveTo>
                <a:cubicBezTo>
                  <a:pt x="14" y="251"/>
                  <a:pt x="14" y="251"/>
                  <a:pt x="14" y="251"/>
                </a:cubicBezTo>
                <a:cubicBezTo>
                  <a:pt x="15" y="251"/>
                  <a:pt x="15" y="251"/>
                  <a:pt x="15" y="251"/>
                </a:cubicBezTo>
                <a:cubicBezTo>
                  <a:pt x="16" y="251"/>
                  <a:pt x="16" y="251"/>
                  <a:pt x="16" y="251"/>
                </a:cubicBezTo>
                <a:cubicBezTo>
                  <a:pt x="16" y="251"/>
                  <a:pt x="16" y="251"/>
                  <a:pt x="16" y="251"/>
                </a:cubicBezTo>
                <a:cubicBezTo>
                  <a:pt x="17" y="253"/>
                  <a:pt x="17" y="253"/>
                  <a:pt x="17" y="253"/>
                </a:cubicBezTo>
                <a:cubicBezTo>
                  <a:pt x="18" y="255"/>
                  <a:pt x="18" y="255"/>
                  <a:pt x="18" y="255"/>
                </a:cubicBezTo>
                <a:cubicBezTo>
                  <a:pt x="16" y="253"/>
                  <a:pt x="16" y="253"/>
                  <a:pt x="16" y="253"/>
                </a:cubicBezTo>
                <a:cubicBezTo>
                  <a:pt x="15" y="253"/>
                  <a:pt x="15" y="253"/>
                  <a:pt x="15" y="253"/>
                </a:cubicBezTo>
                <a:cubicBezTo>
                  <a:pt x="14" y="251"/>
                  <a:pt x="14" y="251"/>
                  <a:pt x="14" y="251"/>
                </a:cubicBezTo>
                <a:close/>
                <a:moveTo>
                  <a:pt x="14" y="253"/>
                </a:moveTo>
                <a:cubicBezTo>
                  <a:pt x="15" y="253"/>
                  <a:pt x="15" y="253"/>
                  <a:pt x="15" y="253"/>
                </a:cubicBezTo>
                <a:cubicBezTo>
                  <a:pt x="16" y="254"/>
                  <a:pt x="16" y="254"/>
                  <a:pt x="16" y="254"/>
                </a:cubicBezTo>
                <a:cubicBezTo>
                  <a:pt x="17" y="256"/>
                  <a:pt x="17" y="256"/>
                  <a:pt x="17" y="256"/>
                </a:cubicBezTo>
                <a:cubicBezTo>
                  <a:pt x="17" y="257"/>
                  <a:pt x="17" y="257"/>
                  <a:pt x="17" y="257"/>
                </a:cubicBezTo>
                <a:cubicBezTo>
                  <a:pt x="16" y="257"/>
                  <a:pt x="16" y="257"/>
                  <a:pt x="16" y="257"/>
                </a:cubicBezTo>
                <a:cubicBezTo>
                  <a:pt x="14" y="255"/>
                  <a:pt x="14" y="255"/>
                  <a:pt x="14" y="255"/>
                </a:cubicBezTo>
                <a:cubicBezTo>
                  <a:pt x="14" y="253"/>
                  <a:pt x="14" y="253"/>
                  <a:pt x="14" y="253"/>
                </a:cubicBezTo>
                <a:close/>
                <a:moveTo>
                  <a:pt x="15" y="260"/>
                </a:moveTo>
                <a:cubicBezTo>
                  <a:pt x="14" y="260"/>
                  <a:pt x="14" y="260"/>
                  <a:pt x="14" y="260"/>
                </a:cubicBezTo>
                <a:cubicBezTo>
                  <a:pt x="13" y="259"/>
                  <a:pt x="13" y="259"/>
                  <a:pt x="13" y="259"/>
                </a:cubicBezTo>
                <a:cubicBezTo>
                  <a:pt x="14" y="259"/>
                  <a:pt x="14" y="259"/>
                  <a:pt x="14" y="259"/>
                </a:cubicBezTo>
                <a:cubicBezTo>
                  <a:pt x="14" y="258"/>
                  <a:pt x="14" y="258"/>
                  <a:pt x="14" y="258"/>
                </a:cubicBezTo>
                <a:cubicBezTo>
                  <a:pt x="13" y="257"/>
                  <a:pt x="13" y="257"/>
                  <a:pt x="13" y="257"/>
                </a:cubicBezTo>
                <a:cubicBezTo>
                  <a:pt x="14" y="256"/>
                  <a:pt x="14" y="256"/>
                  <a:pt x="14" y="256"/>
                </a:cubicBezTo>
                <a:cubicBezTo>
                  <a:pt x="15" y="257"/>
                  <a:pt x="15" y="257"/>
                  <a:pt x="15" y="257"/>
                </a:cubicBezTo>
                <a:cubicBezTo>
                  <a:pt x="16" y="257"/>
                  <a:pt x="16" y="257"/>
                  <a:pt x="16" y="257"/>
                </a:cubicBezTo>
                <a:cubicBezTo>
                  <a:pt x="18" y="258"/>
                  <a:pt x="18" y="258"/>
                  <a:pt x="18" y="258"/>
                </a:cubicBezTo>
                <a:cubicBezTo>
                  <a:pt x="18" y="259"/>
                  <a:pt x="18" y="259"/>
                  <a:pt x="18" y="259"/>
                </a:cubicBezTo>
                <a:cubicBezTo>
                  <a:pt x="17" y="259"/>
                  <a:pt x="17" y="259"/>
                  <a:pt x="17" y="259"/>
                </a:cubicBezTo>
                <a:cubicBezTo>
                  <a:pt x="17" y="259"/>
                  <a:pt x="17" y="259"/>
                  <a:pt x="17" y="259"/>
                </a:cubicBezTo>
                <a:cubicBezTo>
                  <a:pt x="15" y="260"/>
                  <a:pt x="15" y="260"/>
                  <a:pt x="15" y="260"/>
                </a:cubicBezTo>
                <a:close/>
                <a:moveTo>
                  <a:pt x="17" y="265"/>
                </a:moveTo>
                <a:cubicBezTo>
                  <a:pt x="16" y="265"/>
                  <a:pt x="16" y="265"/>
                  <a:pt x="16" y="265"/>
                </a:cubicBezTo>
                <a:cubicBezTo>
                  <a:pt x="15" y="264"/>
                  <a:pt x="15" y="264"/>
                  <a:pt x="15" y="264"/>
                </a:cubicBezTo>
                <a:cubicBezTo>
                  <a:pt x="15" y="263"/>
                  <a:pt x="15" y="263"/>
                  <a:pt x="15" y="263"/>
                </a:cubicBezTo>
                <a:cubicBezTo>
                  <a:pt x="15" y="263"/>
                  <a:pt x="15" y="263"/>
                  <a:pt x="15" y="263"/>
                </a:cubicBezTo>
                <a:cubicBezTo>
                  <a:pt x="16" y="262"/>
                  <a:pt x="16" y="262"/>
                  <a:pt x="16" y="262"/>
                </a:cubicBezTo>
                <a:cubicBezTo>
                  <a:pt x="16" y="262"/>
                  <a:pt x="16" y="262"/>
                  <a:pt x="16" y="262"/>
                </a:cubicBezTo>
                <a:cubicBezTo>
                  <a:pt x="15" y="261"/>
                  <a:pt x="15" y="261"/>
                  <a:pt x="15" y="261"/>
                </a:cubicBezTo>
                <a:cubicBezTo>
                  <a:pt x="16" y="261"/>
                  <a:pt x="16" y="261"/>
                  <a:pt x="16" y="261"/>
                </a:cubicBezTo>
                <a:cubicBezTo>
                  <a:pt x="17" y="262"/>
                  <a:pt x="17" y="262"/>
                  <a:pt x="17" y="262"/>
                </a:cubicBezTo>
                <a:cubicBezTo>
                  <a:pt x="17" y="263"/>
                  <a:pt x="17" y="263"/>
                  <a:pt x="17" y="263"/>
                </a:cubicBezTo>
                <a:cubicBezTo>
                  <a:pt x="16" y="264"/>
                  <a:pt x="16" y="264"/>
                  <a:pt x="16" y="264"/>
                </a:cubicBezTo>
                <a:cubicBezTo>
                  <a:pt x="17" y="265"/>
                  <a:pt x="17" y="265"/>
                  <a:pt x="17" y="265"/>
                </a:cubicBezTo>
                <a:close/>
                <a:moveTo>
                  <a:pt x="17" y="263"/>
                </a:moveTo>
                <a:cubicBezTo>
                  <a:pt x="17" y="262"/>
                  <a:pt x="17" y="262"/>
                  <a:pt x="17" y="262"/>
                </a:cubicBezTo>
                <a:cubicBezTo>
                  <a:pt x="18" y="262"/>
                  <a:pt x="18" y="262"/>
                  <a:pt x="18" y="262"/>
                </a:cubicBezTo>
                <a:cubicBezTo>
                  <a:pt x="18" y="262"/>
                  <a:pt x="18" y="262"/>
                  <a:pt x="18" y="262"/>
                </a:cubicBezTo>
                <a:cubicBezTo>
                  <a:pt x="19" y="263"/>
                  <a:pt x="19" y="263"/>
                  <a:pt x="19" y="263"/>
                </a:cubicBezTo>
                <a:cubicBezTo>
                  <a:pt x="19" y="264"/>
                  <a:pt x="19" y="264"/>
                  <a:pt x="19" y="264"/>
                </a:cubicBezTo>
                <a:cubicBezTo>
                  <a:pt x="18" y="265"/>
                  <a:pt x="18" y="265"/>
                  <a:pt x="18" y="265"/>
                </a:cubicBezTo>
                <a:cubicBezTo>
                  <a:pt x="18" y="265"/>
                  <a:pt x="18" y="265"/>
                  <a:pt x="18" y="265"/>
                </a:cubicBezTo>
                <a:cubicBezTo>
                  <a:pt x="17" y="264"/>
                  <a:pt x="17" y="264"/>
                  <a:pt x="17" y="264"/>
                </a:cubicBezTo>
                <a:cubicBezTo>
                  <a:pt x="17" y="264"/>
                  <a:pt x="17" y="264"/>
                  <a:pt x="17" y="264"/>
                </a:cubicBezTo>
                <a:cubicBezTo>
                  <a:pt x="17" y="263"/>
                  <a:pt x="17" y="263"/>
                  <a:pt x="17" y="263"/>
                </a:cubicBezTo>
                <a:close/>
                <a:moveTo>
                  <a:pt x="19" y="263"/>
                </a:moveTo>
                <a:cubicBezTo>
                  <a:pt x="20" y="264"/>
                  <a:pt x="20" y="264"/>
                  <a:pt x="20" y="264"/>
                </a:cubicBezTo>
                <a:cubicBezTo>
                  <a:pt x="21" y="265"/>
                  <a:pt x="21" y="265"/>
                  <a:pt x="21" y="265"/>
                </a:cubicBezTo>
                <a:cubicBezTo>
                  <a:pt x="20" y="265"/>
                  <a:pt x="20" y="265"/>
                  <a:pt x="20" y="265"/>
                </a:cubicBezTo>
                <a:cubicBezTo>
                  <a:pt x="19" y="264"/>
                  <a:pt x="19" y="264"/>
                  <a:pt x="19" y="264"/>
                </a:cubicBezTo>
                <a:cubicBezTo>
                  <a:pt x="19" y="263"/>
                  <a:pt x="19" y="263"/>
                  <a:pt x="19" y="263"/>
                </a:cubicBezTo>
                <a:close/>
                <a:moveTo>
                  <a:pt x="19" y="268"/>
                </a:moveTo>
                <a:cubicBezTo>
                  <a:pt x="18" y="268"/>
                  <a:pt x="18" y="268"/>
                  <a:pt x="18" y="268"/>
                </a:cubicBezTo>
                <a:cubicBezTo>
                  <a:pt x="18" y="267"/>
                  <a:pt x="18" y="267"/>
                  <a:pt x="18" y="267"/>
                </a:cubicBezTo>
                <a:cubicBezTo>
                  <a:pt x="18" y="267"/>
                  <a:pt x="18" y="267"/>
                  <a:pt x="18" y="267"/>
                </a:cubicBezTo>
                <a:cubicBezTo>
                  <a:pt x="18" y="266"/>
                  <a:pt x="18" y="266"/>
                  <a:pt x="18" y="266"/>
                </a:cubicBezTo>
                <a:cubicBezTo>
                  <a:pt x="19" y="265"/>
                  <a:pt x="19" y="265"/>
                  <a:pt x="19" y="265"/>
                </a:cubicBezTo>
                <a:cubicBezTo>
                  <a:pt x="19" y="266"/>
                  <a:pt x="19" y="266"/>
                  <a:pt x="19" y="266"/>
                </a:cubicBezTo>
                <a:cubicBezTo>
                  <a:pt x="19" y="268"/>
                  <a:pt x="19" y="268"/>
                  <a:pt x="19" y="268"/>
                </a:cubicBezTo>
                <a:close/>
                <a:moveTo>
                  <a:pt x="22" y="264"/>
                </a:moveTo>
                <a:cubicBezTo>
                  <a:pt x="21" y="264"/>
                  <a:pt x="21" y="264"/>
                  <a:pt x="21" y="264"/>
                </a:cubicBezTo>
                <a:cubicBezTo>
                  <a:pt x="20" y="263"/>
                  <a:pt x="20" y="263"/>
                  <a:pt x="20" y="263"/>
                </a:cubicBezTo>
                <a:cubicBezTo>
                  <a:pt x="20" y="261"/>
                  <a:pt x="20" y="261"/>
                  <a:pt x="20" y="261"/>
                </a:cubicBezTo>
                <a:cubicBezTo>
                  <a:pt x="21" y="261"/>
                  <a:pt x="21" y="261"/>
                  <a:pt x="21" y="261"/>
                </a:cubicBezTo>
                <a:cubicBezTo>
                  <a:pt x="21" y="262"/>
                  <a:pt x="21" y="262"/>
                  <a:pt x="21" y="262"/>
                </a:cubicBezTo>
                <a:cubicBezTo>
                  <a:pt x="22" y="264"/>
                  <a:pt x="22" y="264"/>
                  <a:pt x="22" y="264"/>
                </a:cubicBezTo>
                <a:cubicBezTo>
                  <a:pt x="23" y="264"/>
                  <a:pt x="23" y="264"/>
                  <a:pt x="23" y="264"/>
                </a:cubicBezTo>
                <a:cubicBezTo>
                  <a:pt x="22" y="264"/>
                  <a:pt x="22" y="264"/>
                  <a:pt x="22" y="264"/>
                </a:cubicBezTo>
                <a:close/>
                <a:moveTo>
                  <a:pt x="22" y="266"/>
                </a:moveTo>
                <a:cubicBezTo>
                  <a:pt x="21" y="265"/>
                  <a:pt x="21" y="265"/>
                  <a:pt x="21" y="265"/>
                </a:cubicBezTo>
                <a:cubicBezTo>
                  <a:pt x="21" y="265"/>
                  <a:pt x="21" y="265"/>
                  <a:pt x="21" y="265"/>
                </a:cubicBezTo>
                <a:cubicBezTo>
                  <a:pt x="22" y="265"/>
                  <a:pt x="22" y="265"/>
                  <a:pt x="22" y="265"/>
                </a:cubicBezTo>
                <a:cubicBezTo>
                  <a:pt x="23" y="266"/>
                  <a:pt x="23" y="266"/>
                  <a:pt x="23" y="266"/>
                </a:cubicBezTo>
                <a:cubicBezTo>
                  <a:pt x="22" y="266"/>
                  <a:pt x="22" y="266"/>
                  <a:pt x="22" y="266"/>
                </a:cubicBezTo>
                <a:close/>
                <a:moveTo>
                  <a:pt x="23" y="269"/>
                </a:moveTo>
                <a:cubicBezTo>
                  <a:pt x="21" y="267"/>
                  <a:pt x="21" y="267"/>
                  <a:pt x="21" y="267"/>
                </a:cubicBezTo>
                <a:cubicBezTo>
                  <a:pt x="21" y="266"/>
                  <a:pt x="21" y="266"/>
                  <a:pt x="21" y="266"/>
                </a:cubicBezTo>
                <a:cubicBezTo>
                  <a:pt x="21" y="266"/>
                  <a:pt x="21" y="266"/>
                  <a:pt x="21" y="266"/>
                </a:cubicBezTo>
                <a:cubicBezTo>
                  <a:pt x="23" y="267"/>
                  <a:pt x="23" y="267"/>
                  <a:pt x="23" y="267"/>
                </a:cubicBezTo>
                <a:cubicBezTo>
                  <a:pt x="23" y="268"/>
                  <a:pt x="23" y="268"/>
                  <a:pt x="23" y="268"/>
                </a:cubicBezTo>
                <a:cubicBezTo>
                  <a:pt x="23" y="269"/>
                  <a:pt x="23" y="269"/>
                  <a:pt x="23" y="269"/>
                </a:cubicBezTo>
                <a:close/>
                <a:moveTo>
                  <a:pt x="24" y="271"/>
                </a:moveTo>
                <a:cubicBezTo>
                  <a:pt x="23" y="271"/>
                  <a:pt x="23" y="271"/>
                  <a:pt x="23" y="271"/>
                </a:cubicBezTo>
                <a:cubicBezTo>
                  <a:pt x="23" y="271"/>
                  <a:pt x="23" y="271"/>
                  <a:pt x="23" y="271"/>
                </a:cubicBezTo>
                <a:cubicBezTo>
                  <a:pt x="23" y="270"/>
                  <a:pt x="23" y="270"/>
                  <a:pt x="23" y="270"/>
                </a:cubicBezTo>
                <a:cubicBezTo>
                  <a:pt x="21" y="270"/>
                  <a:pt x="21" y="270"/>
                  <a:pt x="21" y="270"/>
                </a:cubicBezTo>
                <a:cubicBezTo>
                  <a:pt x="21" y="270"/>
                  <a:pt x="21" y="270"/>
                  <a:pt x="21" y="270"/>
                </a:cubicBezTo>
                <a:cubicBezTo>
                  <a:pt x="22" y="269"/>
                  <a:pt x="22" y="269"/>
                  <a:pt x="22" y="269"/>
                </a:cubicBezTo>
                <a:cubicBezTo>
                  <a:pt x="23" y="269"/>
                  <a:pt x="23" y="269"/>
                  <a:pt x="23" y="269"/>
                </a:cubicBezTo>
                <a:cubicBezTo>
                  <a:pt x="24" y="269"/>
                  <a:pt x="24" y="269"/>
                  <a:pt x="24" y="269"/>
                </a:cubicBezTo>
                <a:cubicBezTo>
                  <a:pt x="25" y="270"/>
                  <a:pt x="25" y="270"/>
                  <a:pt x="25" y="270"/>
                </a:cubicBezTo>
                <a:cubicBezTo>
                  <a:pt x="24" y="271"/>
                  <a:pt x="24" y="271"/>
                  <a:pt x="24" y="271"/>
                </a:cubicBezTo>
                <a:close/>
                <a:moveTo>
                  <a:pt x="28" y="278"/>
                </a:moveTo>
                <a:cubicBezTo>
                  <a:pt x="26" y="277"/>
                  <a:pt x="26" y="277"/>
                  <a:pt x="26" y="277"/>
                </a:cubicBezTo>
                <a:cubicBezTo>
                  <a:pt x="26" y="277"/>
                  <a:pt x="26" y="277"/>
                  <a:pt x="26" y="277"/>
                </a:cubicBezTo>
                <a:cubicBezTo>
                  <a:pt x="25" y="277"/>
                  <a:pt x="25" y="277"/>
                  <a:pt x="25" y="277"/>
                </a:cubicBezTo>
                <a:cubicBezTo>
                  <a:pt x="24" y="277"/>
                  <a:pt x="24" y="277"/>
                  <a:pt x="24" y="277"/>
                </a:cubicBezTo>
                <a:cubicBezTo>
                  <a:pt x="22" y="276"/>
                  <a:pt x="22" y="276"/>
                  <a:pt x="22" y="276"/>
                </a:cubicBezTo>
                <a:cubicBezTo>
                  <a:pt x="21" y="276"/>
                  <a:pt x="21" y="276"/>
                  <a:pt x="21" y="276"/>
                </a:cubicBezTo>
                <a:cubicBezTo>
                  <a:pt x="20" y="274"/>
                  <a:pt x="20" y="274"/>
                  <a:pt x="20" y="274"/>
                </a:cubicBezTo>
                <a:cubicBezTo>
                  <a:pt x="20" y="273"/>
                  <a:pt x="20" y="273"/>
                  <a:pt x="20" y="273"/>
                </a:cubicBezTo>
                <a:cubicBezTo>
                  <a:pt x="20" y="272"/>
                  <a:pt x="20" y="272"/>
                  <a:pt x="20" y="272"/>
                </a:cubicBezTo>
                <a:cubicBezTo>
                  <a:pt x="21" y="273"/>
                  <a:pt x="21" y="273"/>
                  <a:pt x="21" y="273"/>
                </a:cubicBezTo>
                <a:cubicBezTo>
                  <a:pt x="22" y="274"/>
                  <a:pt x="22" y="274"/>
                  <a:pt x="22" y="274"/>
                </a:cubicBezTo>
                <a:cubicBezTo>
                  <a:pt x="23" y="275"/>
                  <a:pt x="23" y="275"/>
                  <a:pt x="23" y="275"/>
                </a:cubicBezTo>
                <a:cubicBezTo>
                  <a:pt x="24" y="275"/>
                  <a:pt x="24" y="275"/>
                  <a:pt x="24" y="275"/>
                </a:cubicBezTo>
                <a:cubicBezTo>
                  <a:pt x="25" y="275"/>
                  <a:pt x="25" y="275"/>
                  <a:pt x="25" y="275"/>
                </a:cubicBezTo>
                <a:cubicBezTo>
                  <a:pt x="26" y="276"/>
                  <a:pt x="26" y="276"/>
                  <a:pt x="26" y="276"/>
                </a:cubicBezTo>
                <a:cubicBezTo>
                  <a:pt x="28" y="276"/>
                  <a:pt x="28" y="276"/>
                  <a:pt x="28" y="276"/>
                </a:cubicBezTo>
                <a:cubicBezTo>
                  <a:pt x="28" y="276"/>
                  <a:pt x="28" y="276"/>
                  <a:pt x="28" y="276"/>
                </a:cubicBezTo>
                <a:cubicBezTo>
                  <a:pt x="29" y="277"/>
                  <a:pt x="29" y="277"/>
                  <a:pt x="29" y="277"/>
                </a:cubicBezTo>
                <a:cubicBezTo>
                  <a:pt x="30" y="277"/>
                  <a:pt x="30" y="277"/>
                  <a:pt x="30" y="277"/>
                </a:cubicBezTo>
                <a:cubicBezTo>
                  <a:pt x="30" y="278"/>
                  <a:pt x="30" y="278"/>
                  <a:pt x="30" y="278"/>
                </a:cubicBezTo>
                <a:cubicBezTo>
                  <a:pt x="30" y="278"/>
                  <a:pt x="30" y="278"/>
                  <a:pt x="30" y="278"/>
                </a:cubicBezTo>
                <a:cubicBezTo>
                  <a:pt x="29" y="278"/>
                  <a:pt x="29" y="278"/>
                  <a:pt x="29" y="278"/>
                </a:cubicBezTo>
                <a:cubicBezTo>
                  <a:pt x="28" y="278"/>
                  <a:pt x="28" y="278"/>
                  <a:pt x="28" y="278"/>
                </a:cubicBezTo>
                <a:close/>
                <a:moveTo>
                  <a:pt x="24" y="278"/>
                </a:moveTo>
                <a:cubicBezTo>
                  <a:pt x="24" y="278"/>
                  <a:pt x="25" y="279"/>
                  <a:pt x="25" y="279"/>
                </a:cubicBezTo>
                <a:cubicBezTo>
                  <a:pt x="23" y="279"/>
                  <a:pt x="23" y="279"/>
                  <a:pt x="23" y="279"/>
                </a:cubicBezTo>
                <a:cubicBezTo>
                  <a:pt x="24" y="278"/>
                  <a:pt x="24" y="278"/>
                  <a:pt x="24" y="278"/>
                </a:cubicBezTo>
                <a:close/>
                <a:moveTo>
                  <a:pt x="32" y="284"/>
                </a:moveTo>
                <a:cubicBezTo>
                  <a:pt x="33" y="284"/>
                  <a:pt x="33" y="284"/>
                  <a:pt x="33" y="284"/>
                </a:cubicBezTo>
                <a:cubicBezTo>
                  <a:pt x="33" y="284"/>
                  <a:pt x="33" y="284"/>
                  <a:pt x="33" y="284"/>
                </a:cubicBezTo>
                <a:cubicBezTo>
                  <a:pt x="33" y="283"/>
                  <a:pt x="33" y="283"/>
                  <a:pt x="33" y="283"/>
                </a:cubicBezTo>
                <a:cubicBezTo>
                  <a:pt x="32" y="284"/>
                  <a:pt x="32" y="284"/>
                  <a:pt x="32" y="284"/>
                </a:cubicBezTo>
                <a:cubicBezTo>
                  <a:pt x="32" y="284"/>
                  <a:pt x="32" y="284"/>
                  <a:pt x="32" y="284"/>
                </a:cubicBezTo>
                <a:close/>
                <a:moveTo>
                  <a:pt x="36" y="285"/>
                </a:moveTo>
                <a:cubicBezTo>
                  <a:pt x="35" y="285"/>
                  <a:pt x="35" y="285"/>
                  <a:pt x="35" y="285"/>
                </a:cubicBezTo>
                <a:cubicBezTo>
                  <a:pt x="34" y="284"/>
                  <a:pt x="34" y="284"/>
                  <a:pt x="34" y="284"/>
                </a:cubicBezTo>
                <a:cubicBezTo>
                  <a:pt x="34" y="283"/>
                  <a:pt x="34" y="283"/>
                  <a:pt x="34" y="283"/>
                </a:cubicBezTo>
                <a:cubicBezTo>
                  <a:pt x="33" y="283"/>
                  <a:pt x="33" y="283"/>
                  <a:pt x="33" y="283"/>
                </a:cubicBezTo>
                <a:cubicBezTo>
                  <a:pt x="32" y="283"/>
                  <a:pt x="32" y="283"/>
                  <a:pt x="32" y="283"/>
                </a:cubicBezTo>
                <a:cubicBezTo>
                  <a:pt x="31" y="283"/>
                  <a:pt x="31" y="283"/>
                  <a:pt x="31" y="283"/>
                </a:cubicBezTo>
                <a:cubicBezTo>
                  <a:pt x="30" y="282"/>
                  <a:pt x="30" y="282"/>
                  <a:pt x="30" y="282"/>
                </a:cubicBezTo>
                <a:cubicBezTo>
                  <a:pt x="28" y="281"/>
                  <a:pt x="28" y="281"/>
                  <a:pt x="28" y="281"/>
                </a:cubicBezTo>
                <a:cubicBezTo>
                  <a:pt x="28" y="280"/>
                  <a:pt x="28" y="280"/>
                  <a:pt x="28" y="280"/>
                </a:cubicBezTo>
                <a:cubicBezTo>
                  <a:pt x="27" y="279"/>
                  <a:pt x="27" y="279"/>
                  <a:pt x="27" y="279"/>
                </a:cubicBezTo>
                <a:cubicBezTo>
                  <a:pt x="27" y="279"/>
                  <a:pt x="27" y="279"/>
                  <a:pt x="27" y="279"/>
                </a:cubicBezTo>
                <a:cubicBezTo>
                  <a:pt x="27" y="278"/>
                  <a:pt x="27" y="278"/>
                  <a:pt x="27" y="278"/>
                </a:cubicBezTo>
                <a:cubicBezTo>
                  <a:pt x="28" y="278"/>
                  <a:pt x="28" y="278"/>
                  <a:pt x="28" y="278"/>
                </a:cubicBezTo>
                <a:cubicBezTo>
                  <a:pt x="29" y="279"/>
                  <a:pt x="29" y="279"/>
                  <a:pt x="29" y="279"/>
                </a:cubicBezTo>
                <a:cubicBezTo>
                  <a:pt x="29" y="279"/>
                  <a:pt x="29" y="279"/>
                  <a:pt x="29" y="279"/>
                </a:cubicBezTo>
                <a:cubicBezTo>
                  <a:pt x="30" y="279"/>
                  <a:pt x="30" y="279"/>
                  <a:pt x="30" y="279"/>
                </a:cubicBezTo>
                <a:cubicBezTo>
                  <a:pt x="32" y="279"/>
                  <a:pt x="32" y="279"/>
                  <a:pt x="32" y="279"/>
                </a:cubicBezTo>
                <a:cubicBezTo>
                  <a:pt x="33" y="280"/>
                  <a:pt x="33" y="280"/>
                  <a:pt x="33" y="280"/>
                </a:cubicBezTo>
                <a:cubicBezTo>
                  <a:pt x="34" y="280"/>
                  <a:pt x="34" y="280"/>
                  <a:pt x="34" y="280"/>
                </a:cubicBezTo>
                <a:cubicBezTo>
                  <a:pt x="35" y="281"/>
                  <a:pt x="35" y="281"/>
                  <a:pt x="35" y="281"/>
                </a:cubicBezTo>
                <a:cubicBezTo>
                  <a:pt x="36" y="281"/>
                  <a:pt x="36" y="281"/>
                  <a:pt x="36" y="281"/>
                </a:cubicBezTo>
                <a:cubicBezTo>
                  <a:pt x="37" y="281"/>
                  <a:pt x="37" y="281"/>
                  <a:pt x="37" y="281"/>
                </a:cubicBezTo>
                <a:cubicBezTo>
                  <a:pt x="37" y="282"/>
                  <a:pt x="37" y="282"/>
                  <a:pt x="37" y="282"/>
                </a:cubicBezTo>
                <a:cubicBezTo>
                  <a:pt x="36" y="282"/>
                  <a:pt x="36" y="282"/>
                  <a:pt x="36" y="282"/>
                </a:cubicBezTo>
                <a:cubicBezTo>
                  <a:pt x="36" y="282"/>
                  <a:pt x="36" y="282"/>
                  <a:pt x="36" y="282"/>
                </a:cubicBezTo>
                <a:cubicBezTo>
                  <a:pt x="36" y="282"/>
                  <a:pt x="36" y="282"/>
                  <a:pt x="36" y="282"/>
                </a:cubicBezTo>
                <a:cubicBezTo>
                  <a:pt x="36" y="283"/>
                  <a:pt x="36" y="283"/>
                  <a:pt x="36" y="283"/>
                </a:cubicBezTo>
                <a:cubicBezTo>
                  <a:pt x="35" y="284"/>
                  <a:pt x="35" y="284"/>
                  <a:pt x="35" y="284"/>
                </a:cubicBezTo>
                <a:cubicBezTo>
                  <a:pt x="36" y="285"/>
                  <a:pt x="36" y="285"/>
                  <a:pt x="36" y="285"/>
                </a:cubicBezTo>
                <a:close/>
                <a:moveTo>
                  <a:pt x="37" y="284"/>
                </a:moveTo>
                <a:cubicBezTo>
                  <a:pt x="36" y="285"/>
                  <a:pt x="36" y="285"/>
                  <a:pt x="36" y="285"/>
                </a:cubicBezTo>
                <a:cubicBezTo>
                  <a:pt x="36" y="286"/>
                  <a:pt x="36" y="286"/>
                  <a:pt x="36" y="286"/>
                </a:cubicBezTo>
                <a:cubicBezTo>
                  <a:pt x="37" y="286"/>
                  <a:pt x="37" y="286"/>
                  <a:pt x="37" y="286"/>
                </a:cubicBezTo>
                <a:cubicBezTo>
                  <a:pt x="38" y="285"/>
                  <a:pt x="38" y="285"/>
                  <a:pt x="38" y="285"/>
                </a:cubicBezTo>
                <a:cubicBezTo>
                  <a:pt x="38" y="284"/>
                  <a:pt x="38" y="284"/>
                  <a:pt x="38" y="284"/>
                </a:cubicBezTo>
                <a:cubicBezTo>
                  <a:pt x="37" y="284"/>
                  <a:pt x="37" y="284"/>
                  <a:pt x="37" y="284"/>
                </a:cubicBezTo>
                <a:cubicBezTo>
                  <a:pt x="37" y="284"/>
                  <a:pt x="37" y="284"/>
                  <a:pt x="37" y="284"/>
                </a:cubicBezTo>
                <a:close/>
                <a:moveTo>
                  <a:pt x="44" y="283"/>
                </a:moveTo>
                <a:cubicBezTo>
                  <a:pt x="44" y="284"/>
                  <a:pt x="44" y="284"/>
                  <a:pt x="44" y="284"/>
                </a:cubicBezTo>
                <a:cubicBezTo>
                  <a:pt x="44" y="285"/>
                  <a:pt x="44" y="285"/>
                  <a:pt x="44" y="285"/>
                </a:cubicBezTo>
                <a:cubicBezTo>
                  <a:pt x="43" y="285"/>
                  <a:pt x="43" y="285"/>
                  <a:pt x="43" y="285"/>
                </a:cubicBezTo>
                <a:cubicBezTo>
                  <a:pt x="42" y="285"/>
                  <a:pt x="42" y="285"/>
                  <a:pt x="42" y="285"/>
                </a:cubicBezTo>
                <a:cubicBezTo>
                  <a:pt x="42" y="284"/>
                  <a:pt x="42" y="284"/>
                  <a:pt x="42" y="284"/>
                </a:cubicBezTo>
                <a:cubicBezTo>
                  <a:pt x="41" y="285"/>
                  <a:pt x="41" y="285"/>
                  <a:pt x="41" y="285"/>
                </a:cubicBezTo>
                <a:cubicBezTo>
                  <a:pt x="41" y="284"/>
                  <a:pt x="41" y="284"/>
                  <a:pt x="41" y="284"/>
                </a:cubicBezTo>
                <a:cubicBezTo>
                  <a:pt x="39" y="284"/>
                  <a:pt x="39" y="284"/>
                  <a:pt x="39" y="284"/>
                </a:cubicBezTo>
                <a:cubicBezTo>
                  <a:pt x="39" y="285"/>
                  <a:pt x="39" y="285"/>
                  <a:pt x="39" y="285"/>
                </a:cubicBezTo>
                <a:cubicBezTo>
                  <a:pt x="38" y="284"/>
                  <a:pt x="38" y="284"/>
                  <a:pt x="38" y="284"/>
                </a:cubicBezTo>
                <a:cubicBezTo>
                  <a:pt x="38" y="283"/>
                  <a:pt x="38" y="283"/>
                  <a:pt x="38" y="283"/>
                </a:cubicBezTo>
                <a:cubicBezTo>
                  <a:pt x="38" y="283"/>
                  <a:pt x="38" y="283"/>
                  <a:pt x="38" y="283"/>
                </a:cubicBezTo>
                <a:cubicBezTo>
                  <a:pt x="39" y="282"/>
                  <a:pt x="39" y="282"/>
                  <a:pt x="39" y="282"/>
                </a:cubicBezTo>
                <a:cubicBezTo>
                  <a:pt x="40" y="282"/>
                  <a:pt x="40" y="282"/>
                  <a:pt x="40" y="282"/>
                </a:cubicBezTo>
                <a:cubicBezTo>
                  <a:pt x="42" y="283"/>
                  <a:pt x="42" y="283"/>
                  <a:pt x="42" y="283"/>
                </a:cubicBezTo>
                <a:cubicBezTo>
                  <a:pt x="42" y="283"/>
                  <a:pt x="42" y="283"/>
                  <a:pt x="42" y="283"/>
                </a:cubicBezTo>
                <a:cubicBezTo>
                  <a:pt x="43" y="283"/>
                  <a:pt x="43" y="283"/>
                  <a:pt x="43" y="283"/>
                </a:cubicBezTo>
                <a:cubicBezTo>
                  <a:pt x="44" y="283"/>
                  <a:pt x="44" y="283"/>
                  <a:pt x="44" y="283"/>
                </a:cubicBezTo>
                <a:cubicBezTo>
                  <a:pt x="44" y="283"/>
                  <a:pt x="44" y="283"/>
                  <a:pt x="44" y="283"/>
                </a:cubicBezTo>
                <a:close/>
                <a:moveTo>
                  <a:pt x="48" y="283"/>
                </a:moveTo>
                <a:cubicBezTo>
                  <a:pt x="46" y="282"/>
                  <a:pt x="46" y="282"/>
                  <a:pt x="46" y="282"/>
                </a:cubicBezTo>
                <a:cubicBezTo>
                  <a:pt x="47" y="281"/>
                  <a:pt x="47" y="281"/>
                  <a:pt x="47" y="281"/>
                </a:cubicBezTo>
                <a:cubicBezTo>
                  <a:pt x="47" y="280"/>
                  <a:pt x="47" y="280"/>
                  <a:pt x="47" y="280"/>
                </a:cubicBezTo>
                <a:cubicBezTo>
                  <a:pt x="47" y="280"/>
                  <a:pt x="47" y="280"/>
                  <a:pt x="47" y="280"/>
                </a:cubicBezTo>
                <a:cubicBezTo>
                  <a:pt x="46" y="278"/>
                  <a:pt x="46" y="278"/>
                  <a:pt x="46" y="278"/>
                </a:cubicBezTo>
                <a:cubicBezTo>
                  <a:pt x="46" y="277"/>
                  <a:pt x="46" y="277"/>
                  <a:pt x="46" y="277"/>
                </a:cubicBezTo>
                <a:cubicBezTo>
                  <a:pt x="45" y="277"/>
                  <a:pt x="45" y="277"/>
                  <a:pt x="45" y="277"/>
                </a:cubicBezTo>
                <a:cubicBezTo>
                  <a:pt x="45" y="278"/>
                  <a:pt x="45" y="278"/>
                  <a:pt x="45" y="278"/>
                </a:cubicBezTo>
                <a:cubicBezTo>
                  <a:pt x="44" y="279"/>
                  <a:pt x="44" y="279"/>
                  <a:pt x="44" y="279"/>
                </a:cubicBezTo>
                <a:cubicBezTo>
                  <a:pt x="45" y="280"/>
                  <a:pt x="45" y="280"/>
                  <a:pt x="45" y="280"/>
                </a:cubicBezTo>
                <a:cubicBezTo>
                  <a:pt x="44" y="281"/>
                  <a:pt x="44" y="281"/>
                  <a:pt x="44" y="281"/>
                </a:cubicBezTo>
                <a:cubicBezTo>
                  <a:pt x="44" y="282"/>
                  <a:pt x="44" y="282"/>
                  <a:pt x="44" y="282"/>
                </a:cubicBezTo>
                <a:cubicBezTo>
                  <a:pt x="46" y="283"/>
                  <a:pt x="46" y="283"/>
                  <a:pt x="46" y="283"/>
                </a:cubicBezTo>
                <a:cubicBezTo>
                  <a:pt x="47" y="283"/>
                  <a:pt x="47" y="283"/>
                  <a:pt x="47" y="283"/>
                </a:cubicBezTo>
                <a:cubicBezTo>
                  <a:pt x="47" y="283"/>
                  <a:pt x="47" y="283"/>
                  <a:pt x="47" y="283"/>
                </a:cubicBezTo>
                <a:cubicBezTo>
                  <a:pt x="48" y="283"/>
                  <a:pt x="48" y="283"/>
                  <a:pt x="48" y="283"/>
                </a:cubicBezTo>
                <a:close/>
                <a:moveTo>
                  <a:pt x="43" y="292"/>
                </a:moveTo>
                <a:cubicBezTo>
                  <a:pt x="44" y="292"/>
                  <a:pt x="44" y="292"/>
                  <a:pt x="44" y="292"/>
                </a:cubicBezTo>
                <a:cubicBezTo>
                  <a:pt x="44" y="292"/>
                  <a:pt x="44" y="292"/>
                  <a:pt x="44" y="292"/>
                </a:cubicBezTo>
                <a:cubicBezTo>
                  <a:pt x="44" y="293"/>
                  <a:pt x="44" y="293"/>
                  <a:pt x="44" y="293"/>
                </a:cubicBezTo>
                <a:cubicBezTo>
                  <a:pt x="43" y="292"/>
                  <a:pt x="43" y="292"/>
                  <a:pt x="43" y="292"/>
                </a:cubicBezTo>
                <a:close/>
                <a:moveTo>
                  <a:pt x="43" y="291"/>
                </a:moveTo>
                <a:cubicBezTo>
                  <a:pt x="43" y="290"/>
                  <a:pt x="43" y="290"/>
                  <a:pt x="43" y="290"/>
                </a:cubicBezTo>
                <a:cubicBezTo>
                  <a:pt x="43" y="290"/>
                  <a:pt x="43" y="290"/>
                  <a:pt x="43" y="290"/>
                </a:cubicBezTo>
                <a:cubicBezTo>
                  <a:pt x="44" y="290"/>
                  <a:pt x="44" y="290"/>
                  <a:pt x="44" y="290"/>
                </a:cubicBezTo>
                <a:cubicBezTo>
                  <a:pt x="44" y="291"/>
                  <a:pt x="44" y="291"/>
                  <a:pt x="44" y="291"/>
                </a:cubicBezTo>
                <a:cubicBezTo>
                  <a:pt x="43" y="291"/>
                  <a:pt x="43" y="291"/>
                  <a:pt x="43" y="291"/>
                </a:cubicBezTo>
                <a:close/>
                <a:moveTo>
                  <a:pt x="68" y="297"/>
                </a:moveTo>
                <a:cubicBezTo>
                  <a:pt x="67" y="297"/>
                  <a:pt x="67" y="297"/>
                  <a:pt x="67" y="297"/>
                </a:cubicBezTo>
                <a:cubicBezTo>
                  <a:pt x="68" y="296"/>
                  <a:pt x="68" y="296"/>
                  <a:pt x="68" y="296"/>
                </a:cubicBezTo>
                <a:cubicBezTo>
                  <a:pt x="68" y="295"/>
                  <a:pt x="68" y="295"/>
                  <a:pt x="68" y="295"/>
                </a:cubicBezTo>
                <a:cubicBezTo>
                  <a:pt x="68" y="296"/>
                  <a:pt x="68" y="296"/>
                  <a:pt x="68" y="296"/>
                </a:cubicBezTo>
                <a:cubicBezTo>
                  <a:pt x="69" y="296"/>
                  <a:pt x="69" y="296"/>
                  <a:pt x="69" y="296"/>
                </a:cubicBezTo>
                <a:cubicBezTo>
                  <a:pt x="69" y="298"/>
                  <a:pt x="69" y="298"/>
                  <a:pt x="69" y="298"/>
                </a:cubicBezTo>
                <a:cubicBezTo>
                  <a:pt x="68" y="297"/>
                  <a:pt x="68" y="297"/>
                  <a:pt x="68" y="297"/>
                </a:cubicBezTo>
                <a:close/>
                <a:moveTo>
                  <a:pt x="52" y="291"/>
                </a:moveTo>
                <a:cubicBezTo>
                  <a:pt x="53" y="291"/>
                  <a:pt x="53" y="291"/>
                  <a:pt x="53" y="291"/>
                </a:cubicBezTo>
                <a:cubicBezTo>
                  <a:pt x="54" y="291"/>
                  <a:pt x="54" y="291"/>
                  <a:pt x="54" y="291"/>
                </a:cubicBezTo>
                <a:cubicBezTo>
                  <a:pt x="55" y="291"/>
                  <a:pt x="55" y="291"/>
                  <a:pt x="55" y="291"/>
                </a:cubicBezTo>
                <a:cubicBezTo>
                  <a:pt x="56" y="291"/>
                  <a:pt x="56" y="291"/>
                  <a:pt x="56" y="291"/>
                </a:cubicBezTo>
                <a:cubicBezTo>
                  <a:pt x="59" y="290"/>
                  <a:pt x="59" y="290"/>
                  <a:pt x="59" y="290"/>
                </a:cubicBezTo>
                <a:cubicBezTo>
                  <a:pt x="61" y="289"/>
                  <a:pt x="61" y="289"/>
                  <a:pt x="61" y="289"/>
                </a:cubicBezTo>
                <a:cubicBezTo>
                  <a:pt x="63" y="290"/>
                  <a:pt x="63" y="290"/>
                  <a:pt x="63" y="290"/>
                </a:cubicBezTo>
                <a:cubicBezTo>
                  <a:pt x="64" y="289"/>
                  <a:pt x="64" y="289"/>
                  <a:pt x="64" y="289"/>
                </a:cubicBezTo>
                <a:cubicBezTo>
                  <a:pt x="66" y="289"/>
                  <a:pt x="66" y="289"/>
                  <a:pt x="66" y="289"/>
                </a:cubicBezTo>
                <a:cubicBezTo>
                  <a:pt x="67" y="290"/>
                  <a:pt x="67" y="290"/>
                  <a:pt x="67" y="290"/>
                </a:cubicBezTo>
                <a:cubicBezTo>
                  <a:pt x="68" y="291"/>
                  <a:pt x="68" y="291"/>
                  <a:pt x="68" y="291"/>
                </a:cubicBezTo>
                <a:cubicBezTo>
                  <a:pt x="68" y="291"/>
                  <a:pt x="68" y="291"/>
                  <a:pt x="68" y="291"/>
                </a:cubicBezTo>
                <a:cubicBezTo>
                  <a:pt x="68" y="292"/>
                  <a:pt x="68" y="292"/>
                  <a:pt x="68" y="292"/>
                </a:cubicBezTo>
                <a:cubicBezTo>
                  <a:pt x="67" y="293"/>
                  <a:pt x="67" y="293"/>
                  <a:pt x="67" y="293"/>
                </a:cubicBezTo>
                <a:cubicBezTo>
                  <a:pt x="66" y="292"/>
                  <a:pt x="66" y="292"/>
                  <a:pt x="66" y="292"/>
                </a:cubicBezTo>
                <a:cubicBezTo>
                  <a:pt x="65" y="292"/>
                  <a:pt x="65" y="292"/>
                  <a:pt x="65" y="292"/>
                </a:cubicBezTo>
                <a:cubicBezTo>
                  <a:pt x="64" y="292"/>
                  <a:pt x="64" y="292"/>
                  <a:pt x="64" y="292"/>
                </a:cubicBezTo>
                <a:cubicBezTo>
                  <a:pt x="63" y="293"/>
                  <a:pt x="63" y="293"/>
                  <a:pt x="63" y="293"/>
                </a:cubicBezTo>
                <a:cubicBezTo>
                  <a:pt x="62" y="292"/>
                  <a:pt x="62" y="292"/>
                  <a:pt x="62" y="292"/>
                </a:cubicBezTo>
                <a:cubicBezTo>
                  <a:pt x="62" y="291"/>
                  <a:pt x="62" y="291"/>
                  <a:pt x="62" y="291"/>
                </a:cubicBezTo>
                <a:cubicBezTo>
                  <a:pt x="61" y="291"/>
                  <a:pt x="61" y="291"/>
                  <a:pt x="61" y="291"/>
                </a:cubicBezTo>
                <a:cubicBezTo>
                  <a:pt x="60" y="292"/>
                  <a:pt x="60" y="292"/>
                  <a:pt x="60" y="292"/>
                </a:cubicBezTo>
                <a:cubicBezTo>
                  <a:pt x="59" y="292"/>
                  <a:pt x="59" y="292"/>
                  <a:pt x="59" y="292"/>
                </a:cubicBezTo>
                <a:cubicBezTo>
                  <a:pt x="58" y="292"/>
                  <a:pt x="58" y="292"/>
                  <a:pt x="58" y="292"/>
                </a:cubicBezTo>
                <a:cubicBezTo>
                  <a:pt x="59" y="293"/>
                  <a:pt x="59" y="293"/>
                  <a:pt x="59" y="293"/>
                </a:cubicBezTo>
                <a:cubicBezTo>
                  <a:pt x="59" y="293"/>
                  <a:pt x="59" y="293"/>
                  <a:pt x="59" y="293"/>
                </a:cubicBezTo>
                <a:cubicBezTo>
                  <a:pt x="61" y="293"/>
                  <a:pt x="61" y="293"/>
                  <a:pt x="61" y="293"/>
                </a:cubicBezTo>
                <a:cubicBezTo>
                  <a:pt x="61" y="293"/>
                  <a:pt x="61" y="293"/>
                  <a:pt x="61" y="293"/>
                </a:cubicBezTo>
                <a:cubicBezTo>
                  <a:pt x="61" y="294"/>
                  <a:pt x="61" y="294"/>
                  <a:pt x="61" y="294"/>
                </a:cubicBezTo>
                <a:cubicBezTo>
                  <a:pt x="62" y="294"/>
                  <a:pt x="62" y="294"/>
                  <a:pt x="62" y="294"/>
                </a:cubicBezTo>
                <a:cubicBezTo>
                  <a:pt x="63" y="295"/>
                  <a:pt x="63" y="295"/>
                  <a:pt x="63" y="295"/>
                </a:cubicBezTo>
                <a:cubicBezTo>
                  <a:pt x="63" y="296"/>
                  <a:pt x="63" y="296"/>
                  <a:pt x="63" y="296"/>
                </a:cubicBezTo>
                <a:cubicBezTo>
                  <a:pt x="63" y="296"/>
                  <a:pt x="63" y="296"/>
                  <a:pt x="63" y="296"/>
                </a:cubicBezTo>
                <a:cubicBezTo>
                  <a:pt x="61" y="295"/>
                  <a:pt x="61" y="295"/>
                  <a:pt x="61" y="295"/>
                </a:cubicBezTo>
                <a:cubicBezTo>
                  <a:pt x="60" y="295"/>
                  <a:pt x="60" y="295"/>
                  <a:pt x="60" y="295"/>
                </a:cubicBezTo>
                <a:cubicBezTo>
                  <a:pt x="59" y="295"/>
                  <a:pt x="59" y="295"/>
                  <a:pt x="59" y="295"/>
                </a:cubicBezTo>
                <a:cubicBezTo>
                  <a:pt x="58" y="295"/>
                  <a:pt x="58" y="295"/>
                  <a:pt x="58" y="295"/>
                </a:cubicBezTo>
                <a:cubicBezTo>
                  <a:pt x="58" y="294"/>
                  <a:pt x="58" y="294"/>
                  <a:pt x="58" y="294"/>
                </a:cubicBezTo>
                <a:cubicBezTo>
                  <a:pt x="57" y="294"/>
                  <a:pt x="57" y="294"/>
                  <a:pt x="57" y="294"/>
                </a:cubicBezTo>
                <a:cubicBezTo>
                  <a:pt x="57" y="294"/>
                  <a:pt x="57" y="294"/>
                  <a:pt x="57" y="294"/>
                </a:cubicBezTo>
                <a:cubicBezTo>
                  <a:pt x="58" y="295"/>
                  <a:pt x="58" y="295"/>
                  <a:pt x="58" y="295"/>
                </a:cubicBezTo>
                <a:cubicBezTo>
                  <a:pt x="57" y="296"/>
                  <a:pt x="57" y="296"/>
                  <a:pt x="57" y="296"/>
                </a:cubicBezTo>
                <a:cubicBezTo>
                  <a:pt x="57" y="296"/>
                  <a:pt x="57" y="296"/>
                  <a:pt x="57" y="296"/>
                </a:cubicBezTo>
                <a:cubicBezTo>
                  <a:pt x="55" y="295"/>
                  <a:pt x="55" y="295"/>
                  <a:pt x="55" y="295"/>
                </a:cubicBezTo>
                <a:cubicBezTo>
                  <a:pt x="55" y="296"/>
                  <a:pt x="55" y="296"/>
                  <a:pt x="55" y="296"/>
                </a:cubicBezTo>
                <a:cubicBezTo>
                  <a:pt x="54" y="295"/>
                  <a:pt x="54" y="295"/>
                  <a:pt x="54" y="295"/>
                </a:cubicBezTo>
                <a:cubicBezTo>
                  <a:pt x="53" y="295"/>
                  <a:pt x="53" y="295"/>
                  <a:pt x="53" y="295"/>
                </a:cubicBezTo>
                <a:cubicBezTo>
                  <a:pt x="54" y="294"/>
                  <a:pt x="54" y="294"/>
                  <a:pt x="54" y="294"/>
                </a:cubicBezTo>
                <a:cubicBezTo>
                  <a:pt x="53" y="294"/>
                  <a:pt x="53" y="294"/>
                  <a:pt x="53" y="294"/>
                </a:cubicBezTo>
                <a:cubicBezTo>
                  <a:pt x="52" y="294"/>
                  <a:pt x="52" y="294"/>
                  <a:pt x="52" y="294"/>
                </a:cubicBezTo>
                <a:cubicBezTo>
                  <a:pt x="52" y="293"/>
                  <a:pt x="52" y="293"/>
                  <a:pt x="52" y="293"/>
                </a:cubicBezTo>
                <a:cubicBezTo>
                  <a:pt x="53" y="293"/>
                  <a:pt x="53" y="293"/>
                  <a:pt x="53" y="293"/>
                </a:cubicBezTo>
                <a:cubicBezTo>
                  <a:pt x="55" y="292"/>
                  <a:pt x="55" y="292"/>
                  <a:pt x="55" y="292"/>
                </a:cubicBezTo>
                <a:cubicBezTo>
                  <a:pt x="54" y="291"/>
                  <a:pt x="54" y="291"/>
                  <a:pt x="54" y="291"/>
                </a:cubicBezTo>
                <a:cubicBezTo>
                  <a:pt x="53" y="292"/>
                  <a:pt x="53" y="292"/>
                  <a:pt x="53" y="292"/>
                </a:cubicBezTo>
                <a:lnTo>
                  <a:pt x="52" y="291"/>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1" name="Freeform 199">
            <a:extLst>
              <a:ext uri="{FF2B5EF4-FFF2-40B4-BE49-F238E27FC236}">
                <a16:creationId xmlns:a16="http://schemas.microsoft.com/office/drawing/2014/main" id="{BC8622D6-FC47-4739-4F3D-0AC22DC4D758}"/>
              </a:ext>
            </a:extLst>
          </p:cNvPr>
          <p:cNvSpPr>
            <a:spLocks/>
          </p:cNvSpPr>
          <p:nvPr userDrawn="1"/>
        </p:nvSpPr>
        <p:spPr bwMode="auto">
          <a:xfrm>
            <a:off x="9349763" y="8305083"/>
            <a:ext cx="9525" cy="9526"/>
          </a:xfrm>
          <a:custGeom>
            <a:avLst/>
            <a:gdLst>
              <a:gd name="T0" fmla="*/ 0 w 3"/>
              <a:gd name="T1" fmla="*/ 0 h 3"/>
              <a:gd name="T2" fmla="*/ 0 w 3"/>
              <a:gd name="T3" fmla="*/ 3 h 3"/>
              <a:gd name="T4" fmla="*/ 3 w 3"/>
              <a:gd name="T5" fmla="*/ 3 h 3"/>
              <a:gd name="T6" fmla="*/ 0 w 3"/>
              <a:gd name="T7" fmla="*/ 0 h 3"/>
            </a:gdLst>
            <a:ahLst/>
            <a:cxnLst>
              <a:cxn ang="0">
                <a:pos x="T0" y="T1"/>
              </a:cxn>
              <a:cxn ang="0">
                <a:pos x="T2" y="T3"/>
              </a:cxn>
              <a:cxn ang="0">
                <a:pos x="T4" y="T5"/>
              </a:cxn>
              <a:cxn ang="0">
                <a:pos x="T6" y="T7"/>
              </a:cxn>
            </a:cxnLst>
            <a:rect l="0" t="0" r="r" b="b"/>
            <a:pathLst>
              <a:path w="3" h="3">
                <a:moveTo>
                  <a:pt x="0" y="0"/>
                </a:moveTo>
                <a:lnTo>
                  <a:pt x="0" y="3"/>
                </a:lnTo>
                <a:lnTo>
                  <a:pt x="3" y="3"/>
                </a:lnTo>
                <a:lnTo>
                  <a:pt x="0"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2" name="Freeform 200">
            <a:extLst>
              <a:ext uri="{FF2B5EF4-FFF2-40B4-BE49-F238E27FC236}">
                <a16:creationId xmlns:a16="http://schemas.microsoft.com/office/drawing/2014/main" id="{371BB57B-7889-6AF9-26F3-B9FC21E56906}"/>
              </a:ext>
            </a:extLst>
          </p:cNvPr>
          <p:cNvSpPr>
            <a:spLocks noEditPoints="1"/>
          </p:cNvSpPr>
          <p:nvPr userDrawn="1"/>
        </p:nvSpPr>
        <p:spPr bwMode="auto">
          <a:xfrm>
            <a:off x="9378336" y="8314609"/>
            <a:ext cx="38100" cy="57150"/>
          </a:xfrm>
          <a:custGeom>
            <a:avLst/>
            <a:gdLst>
              <a:gd name="T0" fmla="*/ 12 w 12"/>
              <a:gd name="T1" fmla="*/ 12 h 18"/>
              <a:gd name="T2" fmla="*/ 9 w 12"/>
              <a:gd name="T3" fmla="*/ 15 h 18"/>
              <a:gd name="T4" fmla="*/ 12 w 12"/>
              <a:gd name="T5" fmla="*/ 18 h 18"/>
              <a:gd name="T6" fmla="*/ 12 w 12"/>
              <a:gd name="T7" fmla="*/ 12 h 18"/>
              <a:gd name="T8" fmla="*/ 12 w 12"/>
              <a:gd name="T9" fmla="*/ 12 h 18"/>
              <a:gd name="T10" fmla="*/ 9 w 12"/>
              <a:gd name="T11" fmla="*/ 0 h 18"/>
              <a:gd name="T12" fmla="*/ 6 w 12"/>
              <a:gd name="T13" fmla="*/ 3 h 18"/>
              <a:gd name="T14" fmla="*/ 9 w 12"/>
              <a:gd name="T15" fmla="*/ 9 h 18"/>
              <a:gd name="T16" fmla="*/ 12 w 12"/>
              <a:gd name="T17" fmla="*/ 9 h 18"/>
              <a:gd name="T18" fmla="*/ 9 w 12"/>
              <a:gd name="T19" fmla="*/ 0 h 18"/>
              <a:gd name="T20" fmla="*/ 9 w 12"/>
              <a:gd name="T21" fmla="*/ 0 h 18"/>
              <a:gd name="T22" fmla="*/ 3 w 12"/>
              <a:gd name="T23" fmla="*/ 6 h 18"/>
              <a:gd name="T24" fmla="*/ 6 w 12"/>
              <a:gd name="T25" fmla="*/ 9 h 18"/>
              <a:gd name="T26" fmla="*/ 3 w 12"/>
              <a:gd name="T27" fmla="*/ 15 h 18"/>
              <a:gd name="T28" fmla="*/ 0 w 12"/>
              <a:gd name="T29" fmla="*/ 9 h 18"/>
              <a:gd name="T30" fmla="*/ 0 w 12"/>
              <a:gd name="T31" fmla="*/ 6 h 18"/>
              <a:gd name="T32" fmla="*/ 3 w 12"/>
              <a:gd name="T33"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8">
                <a:moveTo>
                  <a:pt x="12" y="12"/>
                </a:moveTo>
                <a:lnTo>
                  <a:pt x="9" y="15"/>
                </a:lnTo>
                <a:lnTo>
                  <a:pt x="12" y="18"/>
                </a:lnTo>
                <a:lnTo>
                  <a:pt x="12" y="12"/>
                </a:lnTo>
                <a:lnTo>
                  <a:pt x="12" y="12"/>
                </a:lnTo>
                <a:close/>
                <a:moveTo>
                  <a:pt x="9" y="0"/>
                </a:moveTo>
                <a:lnTo>
                  <a:pt x="6" y="3"/>
                </a:lnTo>
                <a:lnTo>
                  <a:pt x="9" y="9"/>
                </a:lnTo>
                <a:lnTo>
                  <a:pt x="12" y="9"/>
                </a:lnTo>
                <a:lnTo>
                  <a:pt x="9" y="0"/>
                </a:lnTo>
                <a:lnTo>
                  <a:pt x="9" y="0"/>
                </a:lnTo>
                <a:close/>
                <a:moveTo>
                  <a:pt x="3" y="6"/>
                </a:moveTo>
                <a:lnTo>
                  <a:pt x="6" y="9"/>
                </a:lnTo>
                <a:lnTo>
                  <a:pt x="3" y="15"/>
                </a:lnTo>
                <a:lnTo>
                  <a:pt x="0" y="9"/>
                </a:lnTo>
                <a:lnTo>
                  <a:pt x="0" y="6"/>
                </a:lnTo>
                <a:lnTo>
                  <a:pt x="3" y="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3" name="Freeform 201">
            <a:extLst>
              <a:ext uri="{FF2B5EF4-FFF2-40B4-BE49-F238E27FC236}">
                <a16:creationId xmlns:a16="http://schemas.microsoft.com/office/drawing/2014/main" id="{017CC1B0-9632-0826-888B-8F1915141D17}"/>
              </a:ext>
            </a:extLst>
          </p:cNvPr>
          <p:cNvSpPr>
            <a:spLocks/>
          </p:cNvSpPr>
          <p:nvPr userDrawn="1"/>
        </p:nvSpPr>
        <p:spPr bwMode="auto">
          <a:xfrm>
            <a:off x="9397388" y="8384456"/>
            <a:ext cx="9525" cy="28576"/>
          </a:xfrm>
          <a:custGeom>
            <a:avLst/>
            <a:gdLst>
              <a:gd name="T0" fmla="*/ 0 w 1"/>
              <a:gd name="T1" fmla="*/ 0 h 3"/>
              <a:gd name="T2" fmla="*/ 1 w 1"/>
              <a:gd name="T3" fmla="*/ 1 h 3"/>
              <a:gd name="T4" fmla="*/ 1 w 1"/>
              <a:gd name="T5" fmla="*/ 3 h 3"/>
              <a:gd name="T6" fmla="*/ 0 w 1"/>
              <a:gd name="T7" fmla="*/ 3 h 3"/>
              <a:gd name="T8" fmla="*/ 0 w 1"/>
              <a:gd name="T9" fmla="*/ 1 h 3"/>
              <a:gd name="T10" fmla="*/ 0 w 1"/>
              <a:gd name="T11" fmla="*/ 0 h 3"/>
            </a:gdLst>
            <a:ahLst/>
            <a:cxnLst>
              <a:cxn ang="0">
                <a:pos x="T0" y="T1"/>
              </a:cxn>
              <a:cxn ang="0">
                <a:pos x="T2" y="T3"/>
              </a:cxn>
              <a:cxn ang="0">
                <a:pos x="T4" y="T5"/>
              </a:cxn>
              <a:cxn ang="0">
                <a:pos x="T6" y="T7"/>
              </a:cxn>
              <a:cxn ang="0">
                <a:pos x="T8" y="T9"/>
              </a:cxn>
              <a:cxn ang="0">
                <a:pos x="T10" y="T11"/>
              </a:cxn>
            </a:cxnLst>
            <a:rect l="0" t="0" r="r" b="b"/>
            <a:pathLst>
              <a:path w="1" h="3">
                <a:moveTo>
                  <a:pt x="0" y="0"/>
                </a:moveTo>
                <a:cubicBezTo>
                  <a:pt x="1" y="1"/>
                  <a:pt x="1" y="1"/>
                  <a:pt x="1" y="1"/>
                </a:cubicBezTo>
                <a:cubicBezTo>
                  <a:pt x="1" y="3"/>
                  <a:pt x="1" y="3"/>
                  <a:pt x="1" y="3"/>
                </a:cubicBezTo>
                <a:cubicBezTo>
                  <a:pt x="0" y="3"/>
                  <a:pt x="0" y="3"/>
                  <a:pt x="0" y="3"/>
                </a:cubicBezTo>
                <a:cubicBezTo>
                  <a:pt x="0" y="1"/>
                  <a:pt x="0" y="1"/>
                  <a:pt x="0" y="1"/>
                </a:cubicBezTo>
                <a:cubicBezTo>
                  <a:pt x="0" y="1"/>
                  <a:pt x="1" y="0"/>
                  <a:pt x="0" y="0"/>
                </a:cubicBez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4" name="Freeform 202">
            <a:extLst>
              <a:ext uri="{FF2B5EF4-FFF2-40B4-BE49-F238E27FC236}">
                <a16:creationId xmlns:a16="http://schemas.microsoft.com/office/drawing/2014/main" id="{53D89D10-7854-3228-CCA2-401329FC8AA3}"/>
              </a:ext>
            </a:extLst>
          </p:cNvPr>
          <p:cNvSpPr>
            <a:spLocks noEditPoints="1"/>
          </p:cNvSpPr>
          <p:nvPr userDrawn="1"/>
        </p:nvSpPr>
        <p:spPr bwMode="auto">
          <a:xfrm>
            <a:off x="9397386" y="8432081"/>
            <a:ext cx="41275" cy="88902"/>
          </a:xfrm>
          <a:custGeom>
            <a:avLst/>
            <a:gdLst>
              <a:gd name="T0" fmla="*/ 10 w 13"/>
              <a:gd name="T1" fmla="*/ 16 h 28"/>
              <a:gd name="T2" fmla="*/ 3 w 13"/>
              <a:gd name="T3" fmla="*/ 22 h 28"/>
              <a:gd name="T4" fmla="*/ 6 w 13"/>
              <a:gd name="T5" fmla="*/ 25 h 28"/>
              <a:gd name="T6" fmla="*/ 10 w 13"/>
              <a:gd name="T7" fmla="*/ 28 h 28"/>
              <a:gd name="T8" fmla="*/ 10 w 13"/>
              <a:gd name="T9" fmla="*/ 22 h 28"/>
              <a:gd name="T10" fmla="*/ 10 w 13"/>
              <a:gd name="T11" fmla="*/ 16 h 28"/>
              <a:gd name="T12" fmla="*/ 10 w 13"/>
              <a:gd name="T13" fmla="*/ 16 h 28"/>
              <a:gd name="T14" fmla="*/ 0 w 13"/>
              <a:gd name="T15" fmla="*/ 0 h 28"/>
              <a:gd name="T16" fmla="*/ 10 w 13"/>
              <a:gd name="T17" fmla="*/ 0 h 28"/>
              <a:gd name="T18" fmla="*/ 13 w 13"/>
              <a:gd name="T19" fmla="*/ 10 h 28"/>
              <a:gd name="T20" fmla="*/ 10 w 13"/>
              <a:gd name="T21" fmla="*/ 13 h 28"/>
              <a:gd name="T22" fmla="*/ 6 w 13"/>
              <a:gd name="T23" fmla="*/ 10 h 28"/>
              <a:gd name="T24" fmla="*/ 6 w 13"/>
              <a:gd name="T25" fmla="*/ 10 h 28"/>
              <a:gd name="T26" fmla="*/ 6 w 13"/>
              <a:gd name="T27" fmla="*/ 7 h 28"/>
              <a:gd name="T28" fmla="*/ 0 w 13"/>
              <a:gd name="T29" fmla="*/ 3 h 28"/>
              <a:gd name="T30" fmla="*/ 0 w 13"/>
              <a:gd name="T3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28">
                <a:moveTo>
                  <a:pt x="10" y="16"/>
                </a:moveTo>
                <a:lnTo>
                  <a:pt x="3" y="22"/>
                </a:lnTo>
                <a:lnTo>
                  <a:pt x="6" y="25"/>
                </a:lnTo>
                <a:lnTo>
                  <a:pt x="10" y="28"/>
                </a:lnTo>
                <a:lnTo>
                  <a:pt x="10" y="22"/>
                </a:lnTo>
                <a:lnTo>
                  <a:pt x="10" y="16"/>
                </a:lnTo>
                <a:lnTo>
                  <a:pt x="10" y="16"/>
                </a:lnTo>
                <a:close/>
                <a:moveTo>
                  <a:pt x="0" y="0"/>
                </a:moveTo>
                <a:lnTo>
                  <a:pt x="10" y="0"/>
                </a:lnTo>
                <a:lnTo>
                  <a:pt x="13" y="10"/>
                </a:lnTo>
                <a:lnTo>
                  <a:pt x="10" y="13"/>
                </a:lnTo>
                <a:lnTo>
                  <a:pt x="6" y="10"/>
                </a:lnTo>
                <a:lnTo>
                  <a:pt x="6" y="10"/>
                </a:lnTo>
                <a:lnTo>
                  <a:pt x="6" y="7"/>
                </a:lnTo>
                <a:lnTo>
                  <a:pt x="0" y="3"/>
                </a:lnTo>
                <a:lnTo>
                  <a:pt x="0"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5" name="Freeform 203">
            <a:extLst>
              <a:ext uri="{FF2B5EF4-FFF2-40B4-BE49-F238E27FC236}">
                <a16:creationId xmlns:a16="http://schemas.microsoft.com/office/drawing/2014/main" id="{22F856E7-7FE7-D54C-3C13-F6428F97EEA2}"/>
              </a:ext>
            </a:extLst>
          </p:cNvPr>
          <p:cNvSpPr>
            <a:spLocks/>
          </p:cNvSpPr>
          <p:nvPr userDrawn="1"/>
        </p:nvSpPr>
        <p:spPr bwMode="auto">
          <a:xfrm>
            <a:off x="9508502" y="8533683"/>
            <a:ext cx="19049" cy="19050"/>
          </a:xfrm>
          <a:custGeom>
            <a:avLst/>
            <a:gdLst>
              <a:gd name="T0" fmla="*/ 3 w 6"/>
              <a:gd name="T1" fmla="*/ 0 h 6"/>
              <a:gd name="T2" fmla="*/ 0 w 6"/>
              <a:gd name="T3" fmla="*/ 3 h 6"/>
              <a:gd name="T4" fmla="*/ 3 w 6"/>
              <a:gd name="T5" fmla="*/ 6 h 6"/>
              <a:gd name="T6" fmla="*/ 6 w 6"/>
              <a:gd name="T7" fmla="*/ 6 h 6"/>
              <a:gd name="T8" fmla="*/ 6 w 6"/>
              <a:gd name="T9" fmla="*/ 3 h 6"/>
              <a:gd name="T10" fmla="*/ 3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3" y="0"/>
                </a:moveTo>
                <a:lnTo>
                  <a:pt x="0" y="3"/>
                </a:lnTo>
                <a:lnTo>
                  <a:pt x="3" y="6"/>
                </a:lnTo>
                <a:lnTo>
                  <a:pt x="6" y="6"/>
                </a:lnTo>
                <a:lnTo>
                  <a:pt x="6" y="3"/>
                </a:lnTo>
                <a:lnTo>
                  <a:pt x="3"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6" name="Freeform 204">
            <a:extLst>
              <a:ext uri="{FF2B5EF4-FFF2-40B4-BE49-F238E27FC236}">
                <a16:creationId xmlns:a16="http://schemas.microsoft.com/office/drawing/2014/main" id="{030E276F-F0D1-B967-8A8B-53C0050D74E0}"/>
              </a:ext>
            </a:extLst>
          </p:cNvPr>
          <p:cNvSpPr>
            <a:spLocks noEditPoints="1"/>
          </p:cNvSpPr>
          <p:nvPr userDrawn="1"/>
        </p:nvSpPr>
        <p:spPr bwMode="auto">
          <a:xfrm>
            <a:off x="9368813" y="8520980"/>
            <a:ext cx="47623" cy="101600"/>
          </a:xfrm>
          <a:custGeom>
            <a:avLst/>
            <a:gdLst>
              <a:gd name="T0" fmla="*/ 3 w 5"/>
              <a:gd name="T1" fmla="*/ 9 h 10"/>
              <a:gd name="T2" fmla="*/ 2 w 5"/>
              <a:gd name="T3" fmla="*/ 8 h 10"/>
              <a:gd name="T4" fmla="*/ 1 w 5"/>
              <a:gd name="T5" fmla="*/ 8 h 10"/>
              <a:gd name="T6" fmla="*/ 0 w 5"/>
              <a:gd name="T7" fmla="*/ 10 h 10"/>
              <a:gd name="T8" fmla="*/ 2 w 5"/>
              <a:gd name="T9" fmla="*/ 10 h 10"/>
              <a:gd name="T10" fmla="*/ 3 w 5"/>
              <a:gd name="T11" fmla="*/ 9 h 10"/>
              <a:gd name="T12" fmla="*/ 3 w 5"/>
              <a:gd name="T13" fmla="*/ 6 h 10"/>
              <a:gd name="T14" fmla="*/ 4 w 5"/>
              <a:gd name="T15" fmla="*/ 7 h 10"/>
              <a:gd name="T16" fmla="*/ 3 w 5"/>
              <a:gd name="T17" fmla="*/ 7 h 10"/>
              <a:gd name="T18" fmla="*/ 3 w 5"/>
              <a:gd name="T19" fmla="*/ 6 h 10"/>
              <a:gd name="T20" fmla="*/ 4 w 5"/>
              <a:gd name="T21" fmla="*/ 0 h 10"/>
              <a:gd name="T22" fmla="*/ 5 w 5"/>
              <a:gd name="T23" fmla="*/ 2 h 10"/>
              <a:gd name="T24" fmla="*/ 4 w 5"/>
              <a:gd name="T25" fmla="*/ 4 h 10"/>
              <a:gd name="T26" fmla="*/ 4 w 5"/>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0">
                <a:moveTo>
                  <a:pt x="3" y="9"/>
                </a:moveTo>
                <a:cubicBezTo>
                  <a:pt x="2" y="8"/>
                  <a:pt x="2" y="8"/>
                  <a:pt x="2" y="8"/>
                </a:cubicBezTo>
                <a:cubicBezTo>
                  <a:pt x="1" y="8"/>
                  <a:pt x="1" y="8"/>
                  <a:pt x="1" y="8"/>
                </a:cubicBezTo>
                <a:cubicBezTo>
                  <a:pt x="0" y="10"/>
                  <a:pt x="0" y="10"/>
                  <a:pt x="0" y="10"/>
                </a:cubicBezTo>
                <a:cubicBezTo>
                  <a:pt x="2" y="10"/>
                  <a:pt x="2" y="10"/>
                  <a:pt x="2" y="10"/>
                </a:cubicBezTo>
                <a:cubicBezTo>
                  <a:pt x="3" y="9"/>
                  <a:pt x="3" y="9"/>
                  <a:pt x="3" y="9"/>
                </a:cubicBezTo>
                <a:close/>
                <a:moveTo>
                  <a:pt x="3" y="6"/>
                </a:moveTo>
                <a:cubicBezTo>
                  <a:pt x="4" y="7"/>
                  <a:pt x="4" y="7"/>
                  <a:pt x="4" y="7"/>
                </a:cubicBezTo>
                <a:cubicBezTo>
                  <a:pt x="3" y="7"/>
                  <a:pt x="3" y="7"/>
                  <a:pt x="3" y="7"/>
                </a:cubicBezTo>
                <a:cubicBezTo>
                  <a:pt x="3" y="7"/>
                  <a:pt x="3" y="6"/>
                  <a:pt x="3" y="6"/>
                </a:cubicBezTo>
                <a:close/>
                <a:moveTo>
                  <a:pt x="4" y="0"/>
                </a:moveTo>
                <a:cubicBezTo>
                  <a:pt x="5" y="2"/>
                  <a:pt x="5" y="2"/>
                  <a:pt x="5" y="2"/>
                </a:cubicBezTo>
                <a:cubicBezTo>
                  <a:pt x="4" y="4"/>
                  <a:pt x="4" y="4"/>
                  <a:pt x="4" y="4"/>
                </a:cubicBezTo>
                <a:lnTo>
                  <a:pt x="4"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7" name="Freeform 206">
            <a:extLst>
              <a:ext uri="{FF2B5EF4-FFF2-40B4-BE49-F238E27FC236}">
                <a16:creationId xmlns:a16="http://schemas.microsoft.com/office/drawing/2014/main" id="{9A5B5C91-D579-9050-0555-59DDAEBAE129}"/>
              </a:ext>
            </a:extLst>
          </p:cNvPr>
          <p:cNvSpPr>
            <a:spLocks noEditPoints="1"/>
          </p:cNvSpPr>
          <p:nvPr userDrawn="1"/>
        </p:nvSpPr>
        <p:spPr bwMode="auto">
          <a:xfrm>
            <a:off x="9359288" y="8670208"/>
            <a:ext cx="88896" cy="79376"/>
          </a:xfrm>
          <a:custGeom>
            <a:avLst/>
            <a:gdLst>
              <a:gd name="T0" fmla="*/ 22 w 28"/>
              <a:gd name="T1" fmla="*/ 3 h 25"/>
              <a:gd name="T2" fmla="*/ 28 w 28"/>
              <a:gd name="T3" fmla="*/ 0 h 25"/>
              <a:gd name="T4" fmla="*/ 25 w 28"/>
              <a:gd name="T5" fmla="*/ 3 h 25"/>
              <a:gd name="T6" fmla="*/ 22 w 28"/>
              <a:gd name="T7" fmla="*/ 3 h 25"/>
              <a:gd name="T8" fmla="*/ 22 w 28"/>
              <a:gd name="T9" fmla="*/ 3 h 25"/>
              <a:gd name="T10" fmla="*/ 22 w 28"/>
              <a:gd name="T11" fmla="*/ 7 h 25"/>
              <a:gd name="T12" fmla="*/ 12 w 28"/>
              <a:gd name="T13" fmla="*/ 10 h 25"/>
              <a:gd name="T14" fmla="*/ 9 w 28"/>
              <a:gd name="T15" fmla="*/ 7 h 25"/>
              <a:gd name="T16" fmla="*/ 6 w 28"/>
              <a:gd name="T17" fmla="*/ 10 h 25"/>
              <a:gd name="T18" fmla="*/ 3 w 28"/>
              <a:gd name="T19" fmla="*/ 10 h 25"/>
              <a:gd name="T20" fmla="*/ 9 w 28"/>
              <a:gd name="T21" fmla="*/ 13 h 25"/>
              <a:gd name="T22" fmla="*/ 9 w 28"/>
              <a:gd name="T23" fmla="*/ 19 h 25"/>
              <a:gd name="T24" fmla="*/ 6 w 28"/>
              <a:gd name="T25" fmla="*/ 22 h 25"/>
              <a:gd name="T26" fmla="*/ 0 w 28"/>
              <a:gd name="T27" fmla="*/ 22 h 25"/>
              <a:gd name="T28" fmla="*/ 6 w 28"/>
              <a:gd name="T29" fmla="*/ 25 h 25"/>
              <a:gd name="T30" fmla="*/ 15 w 28"/>
              <a:gd name="T31" fmla="*/ 22 h 25"/>
              <a:gd name="T32" fmla="*/ 18 w 28"/>
              <a:gd name="T33" fmla="*/ 19 h 25"/>
              <a:gd name="T34" fmla="*/ 18 w 28"/>
              <a:gd name="T35" fmla="*/ 16 h 25"/>
              <a:gd name="T36" fmla="*/ 15 w 28"/>
              <a:gd name="T37" fmla="*/ 13 h 25"/>
              <a:gd name="T38" fmla="*/ 22 w 28"/>
              <a:gd name="T39" fmla="*/ 7 h 25"/>
              <a:gd name="T40" fmla="*/ 22 w 28"/>
              <a:gd name="T41"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25">
                <a:moveTo>
                  <a:pt x="22" y="3"/>
                </a:moveTo>
                <a:lnTo>
                  <a:pt x="28" y="0"/>
                </a:lnTo>
                <a:lnTo>
                  <a:pt x="25" y="3"/>
                </a:lnTo>
                <a:lnTo>
                  <a:pt x="22" y="3"/>
                </a:lnTo>
                <a:lnTo>
                  <a:pt x="22" y="3"/>
                </a:lnTo>
                <a:close/>
                <a:moveTo>
                  <a:pt x="22" y="7"/>
                </a:moveTo>
                <a:lnTo>
                  <a:pt x="12" y="10"/>
                </a:lnTo>
                <a:lnTo>
                  <a:pt x="9" y="7"/>
                </a:lnTo>
                <a:lnTo>
                  <a:pt x="6" y="10"/>
                </a:lnTo>
                <a:lnTo>
                  <a:pt x="3" y="10"/>
                </a:lnTo>
                <a:lnTo>
                  <a:pt x="9" y="13"/>
                </a:lnTo>
                <a:lnTo>
                  <a:pt x="9" y="19"/>
                </a:lnTo>
                <a:lnTo>
                  <a:pt x="6" y="22"/>
                </a:lnTo>
                <a:lnTo>
                  <a:pt x="0" y="22"/>
                </a:lnTo>
                <a:lnTo>
                  <a:pt x="6" y="25"/>
                </a:lnTo>
                <a:lnTo>
                  <a:pt x="15" y="22"/>
                </a:lnTo>
                <a:lnTo>
                  <a:pt x="18" y="19"/>
                </a:lnTo>
                <a:lnTo>
                  <a:pt x="18" y="16"/>
                </a:lnTo>
                <a:lnTo>
                  <a:pt x="15" y="13"/>
                </a:lnTo>
                <a:lnTo>
                  <a:pt x="22" y="7"/>
                </a:lnTo>
                <a:lnTo>
                  <a:pt x="22" y="7"/>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10" name="TextBox 1809">
            <a:extLst>
              <a:ext uri="{FF2B5EF4-FFF2-40B4-BE49-F238E27FC236}">
                <a16:creationId xmlns:a16="http://schemas.microsoft.com/office/drawing/2014/main" id="{5C9C8613-F3BE-4825-58D3-4A2EE0066D6E}"/>
              </a:ext>
            </a:extLst>
          </p:cNvPr>
          <p:cNvSpPr txBox="1"/>
          <p:nvPr userDrawn="1"/>
        </p:nvSpPr>
        <p:spPr>
          <a:xfrm>
            <a:off x="22416464" y="13226642"/>
            <a:ext cx="1872086" cy="400110"/>
          </a:xfrm>
          <a:prstGeom prst="rect">
            <a:avLst/>
          </a:prstGeom>
          <a:noFill/>
        </p:spPr>
        <p:txBody>
          <a:bodyPr wrap="square" rtlCol="0" anchor="b">
            <a:spAutoFit/>
          </a:bodyPr>
          <a:lstStyle/>
          <a:p>
            <a:pPr marL="0" marR="0" lvl="0" indent="0" algn="r" defTabSz="1828663" rtl="0" eaLnBrk="1" fontAlgn="auto" latinLnBrk="0" hangingPunct="1">
              <a:lnSpc>
                <a:spcPct val="100000"/>
              </a:lnSpc>
              <a:spcBef>
                <a:spcPts val="0"/>
              </a:spcBef>
              <a:spcAft>
                <a:spcPts val="0"/>
              </a:spcAft>
              <a:buClrTx/>
              <a:buSzTx/>
              <a:buFontTx/>
              <a:buNone/>
              <a:tabLst/>
              <a:defRPr/>
            </a:pPr>
            <a:fld id="{6CE035FB-656D-BE4C-9C54-3AFE6E724348}" type="slidenum">
              <a:rPr kumimoji="0" lang="en-GB" sz="2000" b="0" i="0" u="none" strike="noStrike" kern="1200" cap="none" spc="0" normalizeH="0" baseline="0" noProof="0" smtClean="0">
                <a:ln>
                  <a:noFill/>
                </a:ln>
                <a:solidFill>
                  <a:srgbClr val="000000"/>
                </a:solidFill>
                <a:effectLst/>
                <a:uLnTx/>
                <a:uFillTx/>
                <a:latin typeface="Noto IKEA Latin" panose="020B0502040504020204" pitchFamily="34" charset="0"/>
                <a:ea typeface="+mn-ea"/>
                <a:cs typeface="+mn-cs"/>
              </a:rPr>
              <a:pPr marL="0" marR="0" lvl="0" indent="0" algn="r" defTabSz="1828663" rtl="0" eaLnBrk="1" fontAlgn="auto" latinLnBrk="0" hangingPunct="1">
                <a:lnSpc>
                  <a:spcPct val="100000"/>
                </a:lnSpc>
                <a:spcBef>
                  <a:spcPts val="0"/>
                </a:spcBef>
                <a:spcAft>
                  <a:spcPts val="0"/>
                </a:spcAft>
                <a:buClrTx/>
                <a:buSzTx/>
                <a:buFontTx/>
                <a:buNone/>
                <a:tabLst/>
                <a:defRPr/>
              </a:pPr>
              <a:t>‹#›</a:t>
            </a:fld>
            <a:endParaRPr kumimoji="0" lang="en-GB" sz="2000" b="0" i="0" u="none" strike="noStrike" kern="1200" cap="none" spc="0" normalizeH="0" baseline="0" noProof="0">
              <a:ln>
                <a:noFill/>
              </a:ln>
              <a:solidFill>
                <a:srgbClr val="000000"/>
              </a:solidFill>
              <a:effectLst/>
              <a:uLnTx/>
              <a:uFillTx/>
              <a:latin typeface="Noto IKEA Latin" panose="020B0502040504020204" pitchFamily="34" charset="0"/>
              <a:ea typeface="+mn-ea"/>
              <a:cs typeface="+mn-cs"/>
            </a:endParaRPr>
          </a:p>
        </p:txBody>
      </p:sp>
    </p:spTree>
    <p:extLst>
      <p:ext uri="{BB962C8B-B14F-4D97-AF65-F5344CB8AC3E}">
        <p14:creationId xmlns:p14="http://schemas.microsoft.com/office/powerpoint/2010/main" val="1093826067"/>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Timeline a">
    <p:spTree>
      <p:nvGrpSpPr>
        <p:cNvPr id="1" name=""/>
        <p:cNvGrpSpPr/>
        <p:nvPr/>
      </p:nvGrpSpPr>
      <p:grpSpPr>
        <a:xfrm>
          <a:off x="0" y="0"/>
          <a:ext cx="0" cy="0"/>
          <a:chOff x="0" y="0"/>
          <a:chExt cx="0" cy="0"/>
        </a:xfrm>
      </p:grpSpPr>
      <p:cxnSp>
        <p:nvCxnSpPr>
          <p:cNvPr id="28" name="Straight Connector 27">
            <a:extLst>
              <a:ext uri="{FF2B5EF4-FFF2-40B4-BE49-F238E27FC236}">
                <a16:creationId xmlns:a16="http://schemas.microsoft.com/office/drawing/2014/main" id="{CBAD3FB8-9E01-2EC1-BC27-7E3BECA73148}"/>
              </a:ext>
            </a:extLst>
          </p:cNvPr>
          <p:cNvCxnSpPr>
            <a:cxnSpLocks/>
          </p:cNvCxnSpPr>
          <p:nvPr userDrawn="1"/>
        </p:nvCxnSpPr>
        <p:spPr>
          <a:xfrm>
            <a:off x="12191206" y="8275243"/>
            <a:ext cx="0" cy="544075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Picture Placeholder 2">
            <a:extLst>
              <a:ext uri="{FF2B5EF4-FFF2-40B4-BE49-F238E27FC236}">
                <a16:creationId xmlns:a16="http://schemas.microsoft.com/office/drawing/2014/main" id="{E6A6E655-D96A-9B80-8D18-AA4B5BEAFE99}"/>
              </a:ext>
            </a:extLst>
          </p:cNvPr>
          <p:cNvSpPr>
            <a:spLocks noGrp="1"/>
          </p:cNvSpPr>
          <p:nvPr>
            <p:ph type="pic" sz="quarter" idx="19" hasCustomPrompt="1"/>
          </p:nvPr>
        </p:nvSpPr>
        <p:spPr>
          <a:xfrm>
            <a:off x="9612583" y="3113584"/>
            <a:ext cx="5157245" cy="51588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Tree>
    <p:extLst>
      <p:ext uri="{BB962C8B-B14F-4D97-AF65-F5344CB8AC3E}">
        <p14:creationId xmlns:p14="http://schemas.microsoft.com/office/powerpoint/2010/main" val="3801319879"/>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Timeline b">
    <p:spTree>
      <p:nvGrpSpPr>
        <p:cNvPr id="1" name=""/>
        <p:cNvGrpSpPr/>
        <p:nvPr/>
      </p:nvGrpSpPr>
      <p:grpSpPr>
        <a:xfrm>
          <a:off x="0" y="0"/>
          <a:ext cx="0" cy="0"/>
          <a:chOff x="0" y="0"/>
          <a:chExt cx="0" cy="0"/>
        </a:xfrm>
      </p:grpSpPr>
      <p:cxnSp>
        <p:nvCxnSpPr>
          <p:cNvPr id="19" name="Straight Connector 18">
            <a:extLst>
              <a:ext uri="{FF2B5EF4-FFF2-40B4-BE49-F238E27FC236}">
                <a16:creationId xmlns:a16="http://schemas.microsoft.com/office/drawing/2014/main" id="{9BD6F7A3-B3D7-3785-90D5-057D3BF1DC94}"/>
              </a:ext>
            </a:extLst>
          </p:cNvPr>
          <p:cNvCxnSpPr>
            <a:cxnSpLocks/>
          </p:cNvCxnSpPr>
          <p:nvPr userDrawn="1"/>
        </p:nvCxnSpPr>
        <p:spPr>
          <a:xfrm>
            <a:off x="12191206" y="0"/>
            <a:ext cx="0" cy="137160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8556209"/>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Timeline c">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3ADC2D84-6F4C-92C9-B642-AD62273EFC2F}"/>
              </a:ext>
            </a:extLst>
          </p:cNvPr>
          <p:cNvCxnSpPr>
            <a:cxnSpLocks/>
          </p:cNvCxnSpPr>
          <p:nvPr userDrawn="1"/>
        </p:nvCxnSpPr>
        <p:spPr>
          <a:xfrm>
            <a:off x="12191206" y="0"/>
            <a:ext cx="0" cy="1060241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72936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ight pictures">
    <p:spTree>
      <p:nvGrpSpPr>
        <p:cNvPr id="1" name=""/>
        <p:cNvGrpSpPr/>
        <p:nvPr/>
      </p:nvGrpSpPr>
      <p:grpSpPr>
        <a:xfrm>
          <a:off x="0" y="0"/>
          <a:ext cx="0" cy="0"/>
          <a:chOff x="0" y="0"/>
          <a:chExt cx="0" cy="0"/>
        </a:xfrm>
      </p:grpSpPr>
      <p:sp>
        <p:nvSpPr>
          <p:cNvPr id="13" name="Picture Placeholder 2">
            <a:extLst>
              <a:ext uri="{FF2B5EF4-FFF2-40B4-BE49-F238E27FC236}">
                <a16:creationId xmlns:a16="http://schemas.microsoft.com/office/drawing/2014/main" id="{D1148F2D-229C-E245-B364-AD926A8E5678}"/>
              </a:ext>
            </a:extLst>
          </p:cNvPr>
          <p:cNvSpPr>
            <a:spLocks noGrp="1"/>
          </p:cNvSpPr>
          <p:nvPr>
            <p:ph type="pic" sz="quarter" idx="19" hasCustomPrompt="1"/>
          </p:nvPr>
        </p:nvSpPr>
        <p:spPr>
          <a:xfrm>
            <a:off x="486000" y="486000"/>
            <a:ext cx="5584600"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4" name="Text Placeholder 3">
            <a:extLst>
              <a:ext uri="{FF2B5EF4-FFF2-40B4-BE49-F238E27FC236}">
                <a16:creationId xmlns:a16="http://schemas.microsoft.com/office/drawing/2014/main" id="{EF6C2542-122E-CD4A-95A0-0315258EEA53}"/>
              </a:ext>
            </a:extLst>
          </p:cNvPr>
          <p:cNvSpPr>
            <a:spLocks noGrp="1"/>
          </p:cNvSpPr>
          <p:nvPr>
            <p:ph type="body" sz="half" idx="23" hasCustomPrompt="1"/>
          </p:nvPr>
        </p:nvSpPr>
        <p:spPr>
          <a:xfrm>
            <a:off x="513286" y="3888024"/>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15" name="Picture Placeholder 2">
            <a:extLst>
              <a:ext uri="{FF2B5EF4-FFF2-40B4-BE49-F238E27FC236}">
                <a16:creationId xmlns:a16="http://schemas.microsoft.com/office/drawing/2014/main" id="{EBB6C642-10AD-6A47-8744-E825A5EEEA34}"/>
              </a:ext>
            </a:extLst>
          </p:cNvPr>
          <p:cNvSpPr>
            <a:spLocks noGrp="1"/>
          </p:cNvSpPr>
          <p:nvPr>
            <p:ph type="pic" sz="quarter" idx="24" hasCustomPrompt="1"/>
          </p:nvPr>
        </p:nvSpPr>
        <p:spPr>
          <a:xfrm>
            <a:off x="6430566" y="486000"/>
            <a:ext cx="5584600"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6" name="Picture Placeholder 2">
            <a:extLst>
              <a:ext uri="{FF2B5EF4-FFF2-40B4-BE49-F238E27FC236}">
                <a16:creationId xmlns:a16="http://schemas.microsoft.com/office/drawing/2014/main" id="{B2B7FCEF-39D8-6D47-A0D2-218CCB2588EF}"/>
              </a:ext>
            </a:extLst>
          </p:cNvPr>
          <p:cNvSpPr>
            <a:spLocks noGrp="1"/>
          </p:cNvSpPr>
          <p:nvPr>
            <p:ph type="pic" sz="quarter" idx="25" hasCustomPrompt="1"/>
          </p:nvPr>
        </p:nvSpPr>
        <p:spPr>
          <a:xfrm>
            <a:off x="12367246" y="486000"/>
            <a:ext cx="5584600"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7" name="Picture Placeholder 2">
            <a:extLst>
              <a:ext uri="{FF2B5EF4-FFF2-40B4-BE49-F238E27FC236}">
                <a16:creationId xmlns:a16="http://schemas.microsoft.com/office/drawing/2014/main" id="{D227A8B8-BE42-0845-B6D6-A1A356E29BFC}"/>
              </a:ext>
            </a:extLst>
          </p:cNvPr>
          <p:cNvSpPr>
            <a:spLocks noGrp="1"/>
          </p:cNvSpPr>
          <p:nvPr>
            <p:ph type="pic" sz="quarter" idx="22" hasCustomPrompt="1"/>
          </p:nvPr>
        </p:nvSpPr>
        <p:spPr>
          <a:xfrm>
            <a:off x="18317394" y="461344"/>
            <a:ext cx="5584601"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8" name="Text Placeholder 3">
            <a:extLst>
              <a:ext uri="{FF2B5EF4-FFF2-40B4-BE49-F238E27FC236}">
                <a16:creationId xmlns:a16="http://schemas.microsoft.com/office/drawing/2014/main" id="{8BC99C37-5961-7A49-BB6C-EF345DB054E6}"/>
              </a:ext>
            </a:extLst>
          </p:cNvPr>
          <p:cNvSpPr>
            <a:spLocks noGrp="1"/>
          </p:cNvSpPr>
          <p:nvPr>
            <p:ph type="body" sz="half" idx="26" hasCustomPrompt="1"/>
          </p:nvPr>
        </p:nvSpPr>
        <p:spPr>
          <a:xfrm>
            <a:off x="6430566" y="3888024"/>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19" name="Text Placeholder 3">
            <a:extLst>
              <a:ext uri="{FF2B5EF4-FFF2-40B4-BE49-F238E27FC236}">
                <a16:creationId xmlns:a16="http://schemas.microsoft.com/office/drawing/2014/main" id="{EA510DE5-BF9D-6347-AB9C-33A7759FF1D4}"/>
              </a:ext>
            </a:extLst>
          </p:cNvPr>
          <p:cNvSpPr>
            <a:spLocks noGrp="1"/>
          </p:cNvSpPr>
          <p:nvPr>
            <p:ph type="body" sz="half" idx="27" hasCustomPrompt="1"/>
          </p:nvPr>
        </p:nvSpPr>
        <p:spPr>
          <a:xfrm>
            <a:off x="12347846" y="3888024"/>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24" name="Text Placeholder 3">
            <a:extLst>
              <a:ext uri="{FF2B5EF4-FFF2-40B4-BE49-F238E27FC236}">
                <a16:creationId xmlns:a16="http://schemas.microsoft.com/office/drawing/2014/main" id="{A33793B0-DBB7-ED4A-8B92-AE77D9B42399}"/>
              </a:ext>
            </a:extLst>
          </p:cNvPr>
          <p:cNvSpPr>
            <a:spLocks noGrp="1"/>
          </p:cNvSpPr>
          <p:nvPr>
            <p:ph type="body" sz="half" idx="28" hasCustomPrompt="1"/>
          </p:nvPr>
        </p:nvSpPr>
        <p:spPr>
          <a:xfrm>
            <a:off x="18344681" y="3888024"/>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27" name="Picture Placeholder 2">
            <a:extLst>
              <a:ext uri="{FF2B5EF4-FFF2-40B4-BE49-F238E27FC236}">
                <a16:creationId xmlns:a16="http://schemas.microsoft.com/office/drawing/2014/main" id="{37D70117-C030-944C-BBCC-0D4544F2D82B}"/>
              </a:ext>
            </a:extLst>
          </p:cNvPr>
          <p:cNvSpPr>
            <a:spLocks noGrp="1"/>
          </p:cNvSpPr>
          <p:nvPr>
            <p:ph type="pic" sz="quarter" idx="29" hasCustomPrompt="1"/>
          </p:nvPr>
        </p:nvSpPr>
        <p:spPr>
          <a:xfrm>
            <a:off x="486000" y="6885323"/>
            <a:ext cx="5584600"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8" name="Text Placeholder 3">
            <a:extLst>
              <a:ext uri="{FF2B5EF4-FFF2-40B4-BE49-F238E27FC236}">
                <a16:creationId xmlns:a16="http://schemas.microsoft.com/office/drawing/2014/main" id="{5568282C-2BAE-0F42-AC35-AC2003AF14A7}"/>
              </a:ext>
            </a:extLst>
          </p:cNvPr>
          <p:cNvSpPr>
            <a:spLocks noGrp="1"/>
          </p:cNvSpPr>
          <p:nvPr>
            <p:ph type="body" sz="half" idx="30" hasCustomPrompt="1"/>
          </p:nvPr>
        </p:nvSpPr>
        <p:spPr>
          <a:xfrm>
            <a:off x="513286" y="10287347"/>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29" name="Picture Placeholder 2">
            <a:extLst>
              <a:ext uri="{FF2B5EF4-FFF2-40B4-BE49-F238E27FC236}">
                <a16:creationId xmlns:a16="http://schemas.microsoft.com/office/drawing/2014/main" id="{37CDDD74-2C1A-CC4F-BC4A-348492B730E7}"/>
              </a:ext>
            </a:extLst>
          </p:cNvPr>
          <p:cNvSpPr>
            <a:spLocks noGrp="1"/>
          </p:cNvSpPr>
          <p:nvPr>
            <p:ph type="pic" sz="quarter" idx="31" hasCustomPrompt="1"/>
          </p:nvPr>
        </p:nvSpPr>
        <p:spPr>
          <a:xfrm>
            <a:off x="6430566" y="6885323"/>
            <a:ext cx="5584600"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0" name="Picture Placeholder 2">
            <a:extLst>
              <a:ext uri="{FF2B5EF4-FFF2-40B4-BE49-F238E27FC236}">
                <a16:creationId xmlns:a16="http://schemas.microsoft.com/office/drawing/2014/main" id="{F877013E-58D2-1048-9A44-45952400B3C6}"/>
              </a:ext>
            </a:extLst>
          </p:cNvPr>
          <p:cNvSpPr>
            <a:spLocks noGrp="1"/>
          </p:cNvSpPr>
          <p:nvPr>
            <p:ph type="pic" sz="quarter" idx="32" hasCustomPrompt="1"/>
          </p:nvPr>
        </p:nvSpPr>
        <p:spPr>
          <a:xfrm>
            <a:off x="12367246" y="6885323"/>
            <a:ext cx="5584600"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1" name="Picture Placeholder 2">
            <a:extLst>
              <a:ext uri="{FF2B5EF4-FFF2-40B4-BE49-F238E27FC236}">
                <a16:creationId xmlns:a16="http://schemas.microsoft.com/office/drawing/2014/main" id="{E8D329DB-9A89-5049-B680-BC0FE4373220}"/>
              </a:ext>
            </a:extLst>
          </p:cNvPr>
          <p:cNvSpPr>
            <a:spLocks noGrp="1"/>
          </p:cNvSpPr>
          <p:nvPr>
            <p:ph type="pic" sz="quarter" idx="33" hasCustomPrompt="1"/>
          </p:nvPr>
        </p:nvSpPr>
        <p:spPr>
          <a:xfrm>
            <a:off x="18317394" y="6860667"/>
            <a:ext cx="5584601"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2" name="Text Placeholder 3">
            <a:extLst>
              <a:ext uri="{FF2B5EF4-FFF2-40B4-BE49-F238E27FC236}">
                <a16:creationId xmlns:a16="http://schemas.microsoft.com/office/drawing/2014/main" id="{DCCD54B1-4EFD-D84A-AB50-B7F0F8E84372}"/>
              </a:ext>
            </a:extLst>
          </p:cNvPr>
          <p:cNvSpPr>
            <a:spLocks noGrp="1"/>
          </p:cNvSpPr>
          <p:nvPr>
            <p:ph type="body" sz="half" idx="34" hasCustomPrompt="1"/>
          </p:nvPr>
        </p:nvSpPr>
        <p:spPr>
          <a:xfrm>
            <a:off x="6430566" y="10287347"/>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33" name="Text Placeholder 3">
            <a:extLst>
              <a:ext uri="{FF2B5EF4-FFF2-40B4-BE49-F238E27FC236}">
                <a16:creationId xmlns:a16="http://schemas.microsoft.com/office/drawing/2014/main" id="{EA8F0C11-5CFB-B74A-9620-D6344A6CE488}"/>
              </a:ext>
            </a:extLst>
          </p:cNvPr>
          <p:cNvSpPr>
            <a:spLocks noGrp="1"/>
          </p:cNvSpPr>
          <p:nvPr>
            <p:ph type="body" sz="half" idx="35" hasCustomPrompt="1"/>
          </p:nvPr>
        </p:nvSpPr>
        <p:spPr>
          <a:xfrm>
            <a:off x="12347846" y="10287347"/>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34" name="Text Placeholder 3">
            <a:extLst>
              <a:ext uri="{FF2B5EF4-FFF2-40B4-BE49-F238E27FC236}">
                <a16:creationId xmlns:a16="http://schemas.microsoft.com/office/drawing/2014/main" id="{49DC448D-7351-DA40-9CEB-36EEBA5F7C1B}"/>
              </a:ext>
            </a:extLst>
          </p:cNvPr>
          <p:cNvSpPr>
            <a:spLocks noGrp="1"/>
          </p:cNvSpPr>
          <p:nvPr>
            <p:ph type="body" sz="half" idx="36" hasCustomPrompt="1"/>
          </p:nvPr>
        </p:nvSpPr>
        <p:spPr>
          <a:xfrm>
            <a:off x="18344681" y="10287347"/>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20" name="TextBox 19">
            <a:extLst>
              <a:ext uri="{FF2B5EF4-FFF2-40B4-BE49-F238E27FC236}">
                <a16:creationId xmlns:a16="http://schemas.microsoft.com/office/drawing/2014/main" id="{13CC2D47-81A3-FF42-97E8-18400B5ECD17}"/>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929673569"/>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DAE5E194-00D9-E75D-3576-A56FDA41DA3F}"/>
              </a:ext>
            </a:extLst>
          </p:cNvPr>
          <p:cNvSpPr>
            <a:spLocks noGrp="1"/>
          </p:cNvSpPr>
          <p:nvPr>
            <p:ph type="pic" sz="quarter" idx="11"/>
          </p:nvPr>
        </p:nvSpPr>
        <p:spPr>
          <a:xfrm>
            <a:off x="1927740" y="4928904"/>
            <a:ext cx="3888984" cy="3888985"/>
          </a:xfrm>
        </p:spPr>
        <p:txBody>
          <a:bodyPr/>
          <a:lstStyle/>
          <a:p>
            <a:r>
              <a:rPr lang="en-US"/>
              <a:t>Click icon to add picture</a:t>
            </a:r>
          </a:p>
        </p:txBody>
      </p:sp>
      <p:sp>
        <p:nvSpPr>
          <p:cNvPr id="13" name="Picture Placeholder 11">
            <a:extLst>
              <a:ext uri="{FF2B5EF4-FFF2-40B4-BE49-F238E27FC236}">
                <a16:creationId xmlns:a16="http://schemas.microsoft.com/office/drawing/2014/main" id="{B0BE321F-8EE4-C89E-A53D-8A85D61C9E14}"/>
              </a:ext>
            </a:extLst>
          </p:cNvPr>
          <p:cNvSpPr>
            <a:spLocks noGrp="1"/>
          </p:cNvSpPr>
          <p:nvPr>
            <p:ph type="pic" sz="quarter" idx="12"/>
          </p:nvPr>
        </p:nvSpPr>
        <p:spPr>
          <a:xfrm>
            <a:off x="7400398" y="4928904"/>
            <a:ext cx="3888984" cy="3888985"/>
          </a:xfrm>
        </p:spPr>
        <p:txBody>
          <a:bodyPr/>
          <a:lstStyle/>
          <a:p>
            <a:r>
              <a:rPr lang="en-US"/>
              <a:t>Click icon to add picture</a:t>
            </a:r>
          </a:p>
        </p:txBody>
      </p:sp>
      <p:sp>
        <p:nvSpPr>
          <p:cNvPr id="15" name="Picture Placeholder 11">
            <a:extLst>
              <a:ext uri="{FF2B5EF4-FFF2-40B4-BE49-F238E27FC236}">
                <a16:creationId xmlns:a16="http://schemas.microsoft.com/office/drawing/2014/main" id="{DD4BA9AA-7CAA-DBBF-4EC8-EEC5A6FA3F9A}"/>
              </a:ext>
            </a:extLst>
          </p:cNvPr>
          <p:cNvSpPr>
            <a:spLocks noGrp="1"/>
          </p:cNvSpPr>
          <p:nvPr>
            <p:ph type="pic" sz="quarter" idx="13"/>
          </p:nvPr>
        </p:nvSpPr>
        <p:spPr>
          <a:xfrm>
            <a:off x="12873007" y="4928904"/>
            <a:ext cx="3888984" cy="3888985"/>
          </a:xfrm>
        </p:spPr>
        <p:txBody>
          <a:bodyPr/>
          <a:lstStyle/>
          <a:p>
            <a:r>
              <a:rPr lang="en-US"/>
              <a:t>Click icon to add picture</a:t>
            </a:r>
          </a:p>
        </p:txBody>
      </p:sp>
      <p:sp>
        <p:nvSpPr>
          <p:cNvPr id="16" name="Picture Placeholder 11">
            <a:extLst>
              <a:ext uri="{FF2B5EF4-FFF2-40B4-BE49-F238E27FC236}">
                <a16:creationId xmlns:a16="http://schemas.microsoft.com/office/drawing/2014/main" id="{4A26D564-5935-444D-7220-881B06BF9B6E}"/>
              </a:ext>
            </a:extLst>
          </p:cNvPr>
          <p:cNvSpPr>
            <a:spLocks noGrp="1"/>
          </p:cNvSpPr>
          <p:nvPr>
            <p:ph type="pic" sz="quarter" idx="14"/>
          </p:nvPr>
        </p:nvSpPr>
        <p:spPr>
          <a:xfrm>
            <a:off x="18345665" y="4904780"/>
            <a:ext cx="3888984" cy="3888985"/>
          </a:xfrm>
        </p:spPr>
        <p:txBody>
          <a:bodyPr/>
          <a:lstStyle/>
          <a:p>
            <a:r>
              <a:rPr lang="en-US"/>
              <a:t>Click icon to add picture</a:t>
            </a:r>
          </a:p>
        </p:txBody>
      </p:sp>
    </p:spTree>
    <p:extLst>
      <p:ext uri="{BB962C8B-B14F-4D97-AF65-F5344CB8AC3E}">
        <p14:creationId xmlns:p14="http://schemas.microsoft.com/office/powerpoint/2010/main" val="1833461930"/>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Fullscreen image + title">
    <p:spTree>
      <p:nvGrpSpPr>
        <p:cNvPr id="1" name=""/>
        <p:cNvGrpSpPr/>
        <p:nvPr/>
      </p:nvGrpSpPr>
      <p:grpSpPr>
        <a:xfrm>
          <a:off x="0" y="0"/>
          <a:ext cx="0" cy="0"/>
          <a:chOff x="0" y="0"/>
          <a:chExt cx="0" cy="0"/>
        </a:xfrm>
      </p:grpSpPr>
      <p:sp>
        <p:nvSpPr>
          <p:cNvPr id="7" name="Picture Placeholder 4"/>
          <p:cNvSpPr>
            <a:spLocks noGrp="1"/>
          </p:cNvSpPr>
          <p:nvPr>
            <p:ph type="pic" sz="quarter" idx="10" hasCustomPrompt="1"/>
          </p:nvPr>
        </p:nvSpPr>
        <p:spPr>
          <a:xfrm>
            <a:off x="0" y="0"/>
            <a:ext cx="24382413" cy="13716000"/>
          </a:xfrm>
          <a:prstGeom prst="rect">
            <a:avLst/>
          </a:prstGeom>
        </p:spPr>
        <p:txBody>
          <a:bodyPr/>
          <a:lstStyle>
            <a:lvl1pPr marL="237048" indent="0" algn="l">
              <a:buNone/>
              <a:defRPr b="1" baseline="0">
                <a:solidFill>
                  <a:schemeClr val="bg1">
                    <a:lumMod val="95000"/>
                  </a:schemeClr>
                </a:solidFill>
              </a:defRPr>
            </a:lvl1pPr>
          </a:lstStyle>
          <a:p>
            <a:r>
              <a:rPr lang="en-GB"/>
              <a:t>Drop background picture here</a:t>
            </a:r>
          </a:p>
        </p:txBody>
      </p:sp>
      <p:sp>
        <p:nvSpPr>
          <p:cNvPr id="8" name="Text Placeholder 2"/>
          <p:cNvSpPr>
            <a:spLocks noGrp="1"/>
          </p:cNvSpPr>
          <p:nvPr>
            <p:ph type="body" sz="quarter" idx="13" hasCustomPrompt="1"/>
          </p:nvPr>
        </p:nvSpPr>
        <p:spPr>
          <a:xfrm>
            <a:off x="1980678" y="1998990"/>
            <a:ext cx="12214879" cy="2610285"/>
          </a:xfrm>
          <a:prstGeom prst="rect">
            <a:avLst/>
          </a:prstGeom>
          <a:noFill/>
          <a:effectLst>
            <a:outerShdw blurRad="101600" dir="2700000" algn="tl" rotWithShape="0">
              <a:prstClr val="black">
                <a:alpha val="50000"/>
              </a:prstClr>
            </a:outerShdw>
            <a:softEdge rad="0"/>
          </a:effectLst>
        </p:spPr>
        <p:txBody>
          <a:bodyPr wrap="square" lIns="180000" tIns="180000" rIns="180000" bIns="180000" anchor="t">
            <a:spAutoFit/>
          </a:bodyPr>
          <a:lstStyle>
            <a:lvl1pPr marL="177791" indent="0" algn="l">
              <a:spcAft>
                <a:spcPts val="1200"/>
              </a:spcAft>
              <a:buNone/>
              <a:tabLst/>
              <a:defRPr sz="9600" b="1" cap="none" spc="0">
                <a:solidFill>
                  <a:schemeClr val="bg1"/>
                </a:solidFill>
                <a:latin typeface="+mj-lt"/>
              </a:defRPr>
            </a:lvl1pPr>
            <a:lvl2pPr marL="177791" indent="0" algn="l">
              <a:spcBef>
                <a:spcPts val="0"/>
              </a:spcBef>
              <a:spcAft>
                <a:spcPts val="1200"/>
              </a:spcAft>
              <a:buFont typeface="Arial" panose="020B0604020202020204" pitchFamily="34" charset="0"/>
              <a:buNone/>
              <a:tabLst/>
              <a:defRPr sz="4000" b="1">
                <a:solidFill>
                  <a:schemeClr val="bg1"/>
                </a:solidFill>
                <a:latin typeface="+mj-lt"/>
              </a:defRPr>
            </a:lvl2pPr>
            <a:lvl3pPr marL="184141" indent="0" algn="ctr">
              <a:spcBef>
                <a:spcPts val="0"/>
              </a:spcBef>
              <a:spcAft>
                <a:spcPts val="1200"/>
              </a:spcAft>
              <a:buFont typeface="Arial" panose="020B0604020202020204" pitchFamily="34" charset="0"/>
              <a:buNone/>
              <a:tabLst>
                <a:tab pos="1672042" algn="l"/>
                <a:tab pos="1680508" algn="l"/>
              </a:tabLst>
              <a:defRPr sz="3200" b="1" i="1">
                <a:solidFill>
                  <a:schemeClr val="tx1">
                    <a:lumMod val="75000"/>
                    <a:lumOff val="25000"/>
                  </a:schemeClr>
                </a:solidFill>
              </a:defRPr>
            </a:lvl3pPr>
            <a:lvl4pPr marL="184141" indent="0" algn="ctr">
              <a:spcBef>
                <a:spcPts val="0"/>
              </a:spcBef>
              <a:spcAft>
                <a:spcPts val="1200"/>
              </a:spcAft>
              <a:buFont typeface="Arial" charset="0"/>
              <a:buNone/>
              <a:tabLst/>
              <a:defRPr sz="3200" b="1">
                <a:solidFill>
                  <a:schemeClr val="tx1">
                    <a:lumMod val="75000"/>
                    <a:lumOff val="25000"/>
                  </a:schemeClr>
                </a:solidFill>
              </a:defRPr>
            </a:lvl4pPr>
            <a:lvl5pPr marL="184141" indent="0" algn="ctr">
              <a:spcBef>
                <a:spcPts val="0"/>
              </a:spcBef>
              <a:spcAft>
                <a:spcPts val="1200"/>
              </a:spcAft>
              <a:buFont typeface="Arial" charset="0"/>
              <a:buNone/>
              <a:tabLst/>
              <a:defRPr sz="3200" b="1">
                <a:solidFill>
                  <a:schemeClr val="tx1">
                    <a:lumMod val="75000"/>
                    <a:lumOff val="25000"/>
                  </a:schemeClr>
                </a:solidFill>
              </a:defRPr>
            </a:lvl5pPr>
          </a:lstStyle>
          <a:p>
            <a:pPr lvl="0"/>
            <a:r>
              <a:rPr lang="en-GB" noProof="0"/>
              <a:t>Text</a:t>
            </a:r>
          </a:p>
          <a:p>
            <a:pPr lvl="1"/>
            <a:r>
              <a:rPr lang="en-GB" noProof="0"/>
              <a:t>More text</a:t>
            </a:r>
          </a:p>
        </p:txBody>
      </p:sp>
    </p:spTree>
    <p:extLst>
      <p:ext uri="{BB962C8B-B14F-4D97-AF65-F5344CB8AC3E}">
        <p14:creationId xmlns:p14="http://schemas.microsoft.com/office/powerpoint/2010/main" val="1784418333"/>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Fullscreen image + title - alt">
    <p:spTree>
      <p:nvGrpSpPr>
        <p:cNvPr id="1" name=""/>
        <p:cNvGrpSpPr/>
        <p:nvPr/>
      </p:nvGrpSpPr>
      <p:grpSpPr>
        <a:xfrm>
          <a:off x="0" y="0"/>
          <a:ext cx="0" cy="0"/>
          <a:chOff x="0" y="0"/>
          <a:chExt cx="0" cy="0"/>
        </a:xfrm>
      </p:grpSpPr>
      <p:sp>
        <p:nvSpPr>
          <p:cNvPr id="7" name="Picture Placeholder 4"/>
          <p:cNvSpPr>
            <a:spLocks noGrp="1"/>
          </p:cNvSpPr>
          <p:nvPr>
            <p:ph type="pic" sz="quarter" idx="10" hasCustomPrompt="1"/>
          </p:nvPr>
        </p:nvSpPr>
        <p:spPr>
          <a:xfrm>
            <a:off x="0" y="0"/>
            <a:ext cx="24382413" cy="13716000"/>
          </a:xfrm>
          <a:prstGeom prst="rect">
            <a:avLst/>
          </a:prstGeom>
        </p:spPr>
        <p:txBody>
          <a:bodyPr/>
          <a:lstStyle>
            <a:lvl1pPr marL="237048" indent="0" algn="l">
              <a:buNone/>
              <a:defRPr b="1" baseline="0">
                <a:solidFill>
                  <a:schemeClr val="bg1">
                    <a:lumMod val="95000"/>
                  </a:schemeClr>
                </a:solidFill>
              </a:defRPr>
            </a:lvl1pPr>
          </a:lstStyle>
          <a:p>
            <a:r>
              <a:rPr lang="en-GB"/>
              <a:t>Drop background picture here</a:t>
            </a:r>
          </a:p>
        </p:txBody>
      </p:sp>
      <p:sp>
        <p:nvSpPr>
          <p:cNvPr id="8" name="Text Placeholder 2"/>
          <p:cNvSpPr>
            <a:spLocks noGrp="1"/>
          </p:cNvSpPr>
          <p:nvPr>
            <p:ph type="body" sz="quarter" idx="13" hasCustomPrompt="1"/>
          </p:nvPr>
        </p:nvSpPr>
        <p:spPr>
          <a:xfrm>
            <a:off x="1980678" y="1998990"/>
            <a:ext cx="12214879" cy="2610285"/>
          </a:xfrm>
          <a:prstGeom prst="rect">
            <a:avLst/>
          </a:prstGeom>
          <a:solidFill>
            <a:schemeClr val="bg1">
              <a:alpha val="60000"/>
            </a:schemeClr>
          </a:solidFill>
          <a:effectLst>
            <a:softEdge rad="0"/>
          </a:effectLst>
        </p:spPr>
        <p:txBody>
          <a:bodyPr wrap="square" lIns="180000" tIns="180000" rIns="180000" bIns="180000" anchor="t">
            <a:spAutoFit/>
          </a:bodyPr>
          <a:lstStyle>
            <a:lvl1pPr marL="177791" indent="0" algn="l">
              <a:spcAft>
                <a:spcPts val="1200"/>
              </a:spcAft>
              <a:buNone/>
              <a:tabLst/>
              <a:defRPr sz="9600" b="1" cap="none" spc="0">
                <a:solidFill>
                  <a:schemeClr val="tx1"/>
                </a:solidFill>
                <a:latin typeface="+mj-lt"/>
              </a:defRPr>
            </a:lvl1pPr>
            <a:lvl2pPr marL="177791" indent="0" algn="l">
              <a:spcBef>
                <a:spcPts val="0"/>
              </a:spcBef>
              <a:spcAft>
                <a:spcPts val="1200"/>
              </a:spcAft>
              <a:buFont typeface="Arial" panose="020B0604020202020204" pitchFamily="34" charset="0"/>
              <a:buNone/>
              <a:tabLst/>
              <a:defRPr sz="4000" b="1">
                <a:solidFill>
                  <a:schemeClr val="tx1"/>
                </a:solidFill>
                <a:latin typeface="+mj-lt"/>
              </a:defRPr>
            </a:lvl2pPr>
            <a:lvl3pPr marL="184141" indent="0" algn="ctr">
              <a:spcBef>
                <a:spcPts val="0"/>
              </a:spcBef>
              <a:spcAft>
                <a:spcPts val="1200"/>
              </a:spcAft>
              <a:buFont typeface="Arial" panose="020B0604020202020204" pitchFamily="34" charset="0"/>
              <a:buNone/>
              <a:tabLst>
                <a:tab pos="1672042" algn="l"/>
                <a:tab pos="1680508" algn="l"/>
              </a:tabLst>
              <a:defRPr sz="3200" b="1" i="1">
                <a:solidFill>
                  <a:schemeClr val="tx1">
                    <a:lumMod val="75000"/>
                    <a:lumOff val="25000"/>
                  </a:schemeClr>
                </a:solidFill>
              </a:defRPr>
            </a:lvl3pPr>
            <a:lvl4pPr marL="184141" indent="0" algn="ctr">
              <a:spcBef>
                <a:spcPts val="0"/>
              </a:spcBef>
              <a:spcAft>
                <a:spcPts val="1200"/>
              </a:spcAft>
              <a:buFont typeface="Arial" charset="0"/>
              <a:buNone/>
              <a:tabLst/>
              <a:defRPr sz="3200" b="1">
                <a:solidFill>
                  <a:schemeClr val="tx1">
                    <a:lumMod val="75000"/>
                    <a:lumOff val="25000"/>
                  </a:schemeClr>
                </a:solidFill>
              </a:defRPr>
            </a:lvl4pPr>
            <a:lvl5pPr marL="184141" indent="0" algn="ctr">
              <a:spcBef>
                <a:spcPts val="0"/>
              </a:spcBef>
              <a:spcAft>
                <a:spcPts val="1200"/>
              </a:spcAft>
              <a:buFont typeface="Arial" charset="0"/>
              <a:buNone/>
              <a:tabLst/>
              <a:defRPr sz="3200" b="1">
                <a:solidFill>
                  <a:schemeClr val="tx1">
                    <a:lumMod val="75000"/>
                    <a:lumOff val="25000"/>
                  </a:schemeClr>
                </a:solidFill>
              </a:defRPr>
            </a:lvl5pPr>
          </a:lstStyle>
          <a:p>
            <a:pPr lvl="0"/>
            <a:r>
              <a:rPr lang="en-GB" noProof="0"/>
              <a:t>Text</a:t>
            </a:r>
          </a:p>
          <a:p>
            <a:pPr lvl="1"/>
            <a:r>
              <a:rPr lang="en-GB" noProof="0"/>
              <a:t>More text</a:t>
            </a:r>
          </a:p>
        </p:txBody>
      </p:sp>
    </p:spTree>
    <p:extLst>
      <p:ext uri="{BB962C8B-B14F-4D97-AF65-F5344CB8AC3E}">
        <p14:creationId xmlns:p14="http://schemas.microsoft.com/office/powerpoint/2010/main" val="1287048917"/>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Fullscreen image + title + text">
    <p:spTree>
      <p:nvGrpSpPr>
        <p:cNvPr id="1" name=""/>
        <p:cNvGrpSpPr/>
        <p:nvPr/>
      </p:nvGrpSpPr>
      <p:grpSpPr>
        <a:xfrm>
          <a:off x="0" y="0"/>
          <a:ext cx="0" cy="0"/>
          <a:chOff x="0" y="0"/>
          <a:chExt cx="0" cy="0"/>
        </a:xfrm>
      </p:grpSpPr>
      <p:sp>
        <p:nvSpPr>
          <p:cNvPr id="7" name="Picture Placeholder 4"/>
          <p:cNvSpPr>
            <a:spLocks noGrp="1"/>
          </p:cNvSpPr>
          <p:nvPr>
            <p:ph type="pic" sz="quarter" idx="10" hasCustomPrompt="1"/>
          </p:nvPr>
        </p:nvSpPr>
        <p:spPr>
          <a:xfrm>
            <a:off x="0" y="0"/>
            <a:ext cx="24382413" cy="13716000"/>
          </a:xfrm>
          <a:prstGeom prst="rect">
            <a:avLst/>
          </a:prstGeom>
        </p:spPr>
        <p:txBody>
          <a:bodyPr/>
          <a:lstStyle>
            <a:lvl1pPr marL="237048" indent="0" algn="l">
              <a:buNone/>
              <a:defRPr b="1" baseline="0">
                <a:solidFill>
                  <a:schemeClr val="bg1">
                    <a:lumMod val="95000"/>
                  </a:schemeClr>
                </a:solidFill>
              </a:defRPr>
            </a:lvl1pPr>
          </a:lstStyle>
          <a:p>
            <a:r>
              <a:rPr lang="en-GB"/>
              <a:t>Drop background picture here</a:t>
            </a:r>
          </a:p>
        </p:txBody>
      </p:sp>
      <p:sp>
        <p:nvSpPr>
          <p:cNvPr id="8" name="Text Placeholder 2"/>
          <p:cNvSpPr>
            <a:spLocks noGrp="1"/>
          </p:cNvSpPr>
          <p:nvPr>
            <p:ph type="body" sz="quarter" idx="13" hasCustomPrompt="1"/>
          </p:nvPr>
        </p:nvSpPr>
        <p:spPr>
          <a:xfrm>
            <a:off x="1980678" y="1998990"/>
            <a:ext cx="12214879" cy="2610285"/>
          </a:xfrm>
          <a:prstGeom prst="rect">
            <a:avLst/>
          </a:prstGeom>
          <a:noFill/>
          <a:effectLst>
            <a:outerShdw blurRad="101600" dir="2700000" algn="tl" rotWithShape="0">
              <a:prstClr val="black">
                <a:alpha val="50000"/>
              </a:prstClr>
            </a:outerShdw>
            <a:softEdge rad="0"/>
          </a:effectLst>
        </p:spPr>
        <p:txBody>
          <a:bodyPr wrap="square" lIns="180000" tIns="180000" rIns="180000" bIns="180000" anchor="t">
            <a:spAutoFit/>
          </a:bodyPr>
          <a:lstStyle>
            <a:lvl1pPr marL="177791" indent="0" algn="l">
              <a:spcAft>
                <a:spcPts val="1200"/>
              </a:spcAft>
              <a:buNone/>
              <a:tabLst/>
              <a:defRPr sz="9600" b="1" cap="none" spc="0">
                <a:solidFill>
                  <a:schemeClr val="bg1"/>
                </a:solidFill>
                <a:latin typeface="+mj-lt"/>
              </a:defRPr>
            </a:lvl1pPr>
            <a:lvl2pPr marL="177791" indent="0" algn="l">
              <a:spcBef>
                <a:spcPts val="0"/>
              </a:spcBef>
              <a:spcAft>
                <a:spcPts val="1200"/>
              </a:spcAft>
              <a:buFont typeface="Arial" panose="020B0604020202020204" pitchFamily="34" charset="0"/>
              <a:buNone/>
              <a:tabLst/>
              <a:defRPr sz="4000" b="1">
                <a:solidFill>
                  <a:schemeClr val="bg1"/>
                </a:solidFill>
                <a:latin typeface="+mj-lt"/>
              </a:defRPr>
            </a:lvl2pPr>
            <a:lvl3pPr marL="184141" indent="0" algn="ctr">
              <a:spcBef>
                <a:spcPts val="0"/>
              </a:spcBef>
              <a:spcAft>
                <a:spcPts val="1200"/>
              </a:spcAft>
              <a:buFont typeface="Arial" panose="020B0604020202020204" pitchFamily="34" charset="0"/>
              <a:buNone/>
              <a:tabLst>
                <a:tab pos="1672042" algn="l"/>
                <a:tab pos="1680508" algn="l"/>
              </a:tabLst>
              <a:defRPr sz="3200" b="1" i="1">
                <a:solidFill>
                  <a:schemeClr val="tx1">
                    <a:lumMod val="75000"/>
                    <a:lumOff val="25000"/>
                  </a:schemeClr>
                </a:solidFill>
              </a:defRPr>
            </a:lvl3pPr>
            <a:lvl4pPr marL="184141" indent="0" algn="ctr">
              <a:spcBef>
                <a:spcPts val="0"/>
              </a:spcBef>
              <a:spcAft>
                <a:spcPts val="1200"/>
              </a:spcAft>
              <a:buFont typeface="Arial" charset="0"/>
              <a:buNone/>
              <a:tabLst/>
              <a:defRPr sz="3200" b="1">
                <a:solidFill>
                  <a:schemeClr val="tx1">
                    <a:lumMod val="75000"/>
                    <a:lumOff val="25000"/>
                  </a:schemeClr>
                </a:solidFill>
              </a:defRPr>
            </a:lvl4pPr>
            <a:lvl5pPr marL="184141" indent="0" algn="ctr">
              <a:spcBef>
                <a:spcPts val="0"/>
              </a:spcBef>
              <a:spcAft>
                <a:spcPts val="1200"/>
              </a:spcAft>
              <a:buFont typeface="Arial" charset="0"/>
              <a:buNone/>
              <a:tabLst/>
              <a:defRPr sz="3200" b="1">
                <a:solidFill>
                  <a:schemeClr val="tx1">
                    <a:lumMod val="75000"/>
                    <a:lumOff val="25000"/>
                  </a:schemeClr>
                </a:solidFill>
              </a:defRPr>
            </a:lvl5pPr>
          </a:lstStyle>
          <a:p>
            <a:pPr lvl="0"/>
            <a:r>
              <a:rPr lang="en-GB" noProof="0"/>
              <a:t>Text</a:t>
            </a:r>
          </a:p>
          <a:p>
            <a:pPr lvl="1"/>
            <a:r>
              <a:rPr lang="en-GB" noProof="0"/>
              <a:t>More text</a:t>
            </a:r>
          </a:p>
        </p:txBody>
      </p:sp>
      <p:sp>
        <p:nvSpPr>
          <p:cNvPr id="4" name="Text Placeholder 2"/>
          <p:cNvSpPr>
            <a:spLocks noGrp="1"/>
          </p:cNvSpPr>
          <p:nvPr>
            <p:ph type="body" sz="quarter" idx="14" hasCustomPrompt="1"/>
          </p:nvPr>
        </p:nvSpPr>
        <p:spPr>
          <a:xfrm>
            <a:off x="14791989" y="1134930"/>
            <a:ext cx="7679500" cy="10081712"/>
          </a:xfrm>
          <a:prstGeom prst="rect">
            <a:avLst/>
          </a:prstGeom>
          <a:solidFill>
            <a:schemeClr val="bg1"/>
          </a:solidFill>
          <a:effectLst>
            <a:outerShdw blurRad="38100" dist="12700" dir="2700000" algn="tl" rotWithShape="0">
              <a:prstClr val="black">
                <a:alpha val="30000"/>
              </a:prstClr>
            </a:outerShdw>
          </a:effectLst>
        </p:spPr>
        <p:txBody>
          <a:bodyPr lIns="108000" tIns="180000" rIns="108000" bIns="108000">
            <a:noAutofit/>
          </a:bodyPr>
          <a:lstStyle>
            <a:lvl1pPr marL="237048" indent="0">
              <a:spcAft>
                <a:spcPts val="1200"/>
              </a:spcAft>
              <a:buNone/>
              <a:tabLst/>
              <a:defRPr sz="4800" b="1" cap="none" spc="0">
                <a:solidFill>
                  <a:schemeClr val="tx1">
                    <a:lumMod val="75000"/>
                    <a:lumOff val="25000"/>
                  </a:schemeClr>
                </a:solidFill>
                <a:latin typeface="+mj-lt"/>
              </a:defRPr>
            </a:lvl1pPr>
            <a:lvl2pPr marL="239982" indent="0">
              <a:spcBef>
                <a:spcPts val="0"/>
              </a:spcBef>
              <a:spcAft>
                <a:spcPts val="1200"/>
              </a:spcAft>
              <a:buNone/>
              <a:tabLst/>
              <a:defRPr sz="3600" b="0">
                <a:solidFill>
                  <a:schemeClr val="tx1">
                    <a:lumMod val="75000"/>
                    <a:lumOff val="25000"/>
                  </a:schemeClr>
                </a:solidFill>
                <a:latin typeface="+mj-lt"/>
              </a:defRPr>
            </a:lvl2pPr>
            <a:lvl3pPr marL="895305" indent="-536549" defTabSz="1254063">
              <a:spcBef>
                <a:spcPts val="0"/>
              </a:spcBef>
              <a:spcAft>
                <a:spcPts val="1200"/>
              </a:spcAft>
              <a:buFont typeface="Arial" panose="020B0604020202020204" pitchFamily="34" charset="0"/>
              <a:buChar char="•"/>
              <a:tabLst/>
              <a:defRPr lang="en-GB" sz="3600" kern="1200" noProof="0" dirty="0" smtClean="0">
                <a:solidFill>
                  <a:schemeClr val="tx1">
                    <a:lumMod val="75000"/>
                    <a:lumOff val="25000"/>
                  </a:schemeClr>
                </a:solidFill>
                <a:latin typeface="Verdana"/>
                <a:ea typeface="+mn-ea"/>
                <a:cs typeface="Verdana"/>
              </a:defRPr>
            </a:lvl3pPr>
            <a:lvl4pPr marL="1254063" indent="-536549">
              <a:spcBef>
                <a:spcPts val="0"/>
              </a:spcBef>
              <a:spcAft>
                <a:spcPts val="1200"/>
              </a:spcAft>
              <a:buFont typeface="Arial" charset="0"/>
              <a:buChar char="•"/>
              <a:tabLst/>
              <a:defRPr sz="3200">
                <a:solidFill>
                  <a:schemeClr val="tx1">
                    <a:lumMod val="75000"/>
                    <a:lumOff val="25000"/>
                  </a:schemeClr>
                </a:solidFill>
              </a:defRPr>
            </a:lvl4pPr>
            <a:lvl5pPr marL="1443460" indent="-461401">
              <a:spcBef>
                <a:spcPts val="0"/>
              </a:spcBef>
              <a:spcAft>
                <a:spcPts val="1200"/>
              </a:spcAft>
              <a:buFont typeface="Arial" charset="0"/>
              <a:buChar char="•"/>
              <a:tabLst/>
              <a:defRPr sz="3200">
                <a:solidFill>
                  <a:schemeClr val="tx1">
                    <a:lumMod val="75000"/>
                    <a:lumOff val="25000"/>
                  </a:schemeClr>
                </a:solidFill>
              </a:defRPr>
            </a:lvl5pPr>
          </a:lstStyle>
          <a:p>
            <a:pPr lvl="0"/>
            <a:r>
              <a:rPr lang="en-GB" noProof="0"/>
              <a:t>Main headline</a:t>
            </a:r>
          </a:p>
          <a:p>
            <a:pPr lvl="1"/>
            <a:r>
              <a:rPr lang="en-GB" noProof="0"/>
              <a:t>Body</a:t>
            </a:r>
          </a:p>
          <a:p>
            <a:pPr lvl="2"/>
            <a:r>
              <a:rPr lang="en-GB" noProof="0"/>
              <a:t>Bullet</a:t>
            </a:r>
          </a:p>
          <a:p>
            <a:pPr lvl="3"/>
            <a:r>
              <a:rPr lang="en-GB" noProof="0"/>
              <a:t>Bullet lvl2</a:t>
            </a:r>
          </a:p>
          <a:p>
            <a:pPr lvl="4"/>
            <a:r>
              <a:rPr lang="en-GB" noProof="0"/>
              <a:t>Bullet lvl3</a:t>
            </a:r>
          </a:p>
        </p:txBody>
      </p:sp>
    </p:spTree>
    <p:extLst>
      <p:ext uri="{BB962C8B-B14F-4D97-AF65-F5344CB8AC3E}">
        <p14:creationId xmlns:p14="http://schemas.microsoft.com/office/powerpoint/2010/main" val="964934107"/>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hin picture + text">
    <p:spTree>
      <p:nvGrpSpPr>
        <p:cNvPr id="1" name=""/>
        <p:cNvGrpSpPr/>
        <p:nvPr/>
      </p:nvGrpSpPr>
      <p:grpSpPr>
        <a:xfrm>
          <a:off x="0" y="0"/>
          <a:ext cx="0" cy="0"/>
          <a:chOff x="0" y="0"/>
          <a:chExt cx="0" cy="0"/>
        </a:xfrm>
      </p:grpSpPr>
      <p:sp>
        <p:nvSpPr>
          <p:cNvPr id="5" name="Picture Placeholder 3"/>
          <p:cNvSpPr>
            <a:spLocks noGrp="1"/>
          </p:cNvSpPr>
          <p:nvPr>
            <p:ph type="pic" sz="quarter" idx="10" hasCustomPrompt="1"/>
          </p:nvPr>
        </p:nvSpPr>
        <p:spPr>
          <a:xfrm>
            <a:off x="0" y="0"/>
            <a:ext cx="9755365" cy="13716000"/>
          </a:xfrm>
          <a:prstGeom prst="rect">
            <a:avLst/>
          </a:prstGeom>
          <a:solidFill>
            <a:schemeClr val="bg1"/>
          </a:solidFill>
        </p:spPr>
        <p:txBody>
          <a:bodyPr anchor="ctr"/>
          <a:lstStyle>
            <a:lvl1pPr marL="237048" indent="0" algn="ctr">
              <a:buNone/>
              <a:defRPr b="1" baseline="0">
                <a:solidFill>
                  <a:schemeClr val="bg1">
                    <a:lumMod val="95000"/>
                  </a:schemeClr>
                </a:solidFill>
              </a:defRPr>
            </a:lvl1pPr>
          </a:lstStyle>
          <a:p>
            <a:r>
              <a:rPr lang="en-GB"/>
              <a:t>Drop</a:t>
            </a:r>
            <a:br>
              <a:rPr lang="en-GB"/>
            </a:br>
            <a:r>
              <a:rPr lang="en-GB"/>
              <a:t>chapter picture</a:t>
            </a:r>
            <a:br>
              <a:rPr lang="en-GB"/>
            </a:br>
            <a:r>
              <a:rPr lang="en-GB"/>
              <a:t>here</a:t>
            </a:r>
          </a:p>
          <a:p>
            <a:endParaRPr lang="en-GB"/>
          </a:p>
          <a:p>
            <a:endParaRPr lang="en-GB"/>
          </a:p>
          <a:p>
            <a:endParaRPr lang="en-GB"/>
          </a:p>
          <a:p>
            <a:endParaRPr lang="en-GB"/>
          </a:p>
          <a:p>
            <a:endParaRPr lang="en-GB"/>
          </a:p>
          <a:p>
            <a:endParaRPr lang="en-GB"/>
          </a:p>
          <a:p>
            <a:endParaRPr lang="en-GB"/>
          </a:p>
        </p:txBody>
      </p:sp>
      <p:sp>
        <p:nvSpPr>
          <p:cNvPr id="6" name="Text Placeholder 2"/>
          <p:cNvSpPr>
            <a:spLocks noGrp="1"/>
          </p:cNvSpPr>
          <p:nvPr>
            <p:ph type="body" sz="quarter" idx="14" hasCustomPrompt="1"/>
          </p:nvPr>
        </p:nvSpPr>
        <p:spPr>
          <a:xfrm>
            <a:off x="9755366" y="0"/>
            <a:ext cx="14627046" cy="13716000"/>
          </a:xfrm>
          <a:prstGeom prst="rect">
            <a:avLst/>
          </a:prstGeom>
          <a:solidFill>
            <a:schemeClr val="bg1"/>
          </a:solidFill>
          <a:effectLst/>
        </p:spPr>
        <p:txBody>
          <a:bodyPr lIns="252000" tIns="504000" rIns="252000" bIns="252000" anchor="t">
            <a:noAutofit/>
          </a:bodyPr>
          <a:lstStyle>
            <a:lvl1pPr marL="0" indent="0">
              <a:spcAft>
                <a:spcPts val="1200"/>
              </a:spcAft>
              <a:buNone/>
              <a:tabLst/>
              <a:defRPr sz="4800" b="1" cap="none" spc="0">
                <a:solidFill>
                  <a:schemeClr val="tx1">
                    <a:lumMod val="90000"/>
                    <a:lumOff val="10000"/>
                  </a:schemeClr>
                </a:solidFill>
                <a:latin typeface="+mj-lt"/>
              </a:defRPr>
            </a:lvl1pPr>
            <a:lvl2pPr marL="0" indent="0">
              <a:spcBef>
                <a:spcPts val="0"/>
              </a:spcBef>
              <a:spcAft>
                <a:spcPts val="1200"/>
              </a:spcAft>
              <a:buNone/>
              <a:tabLst/>
              <a:defRPr sz="3600" b="0">
                <a:solidFill>
                  <a:schemeClr val="tx1">
                    <a:lumMod val="90000"/>
                    <a:lumOff val="10000"/>
                  </a:schemeClr>
                </a:solidFill>
                <a:latin typeface="+mj-lt"/>
              </a:defRPr>
            </a:lvl2pPr>
            <a:lvl3pPr marL="704815" indent="-536549" defTabSz="1254063">
              <a:spcBef>
                <a:spcPts val="0"/>
              </a:spcBef>
              <a:spcAft>
                <a:spcPts val="1200"/>
              </a:spcAft>
              <a:buFont typeface="Arial" panose="020B0604020202020204" pitchFamily="34" charset="0"/>
              <a:buChar char="•"/>
              <a:tabLst/>
              <a:defRPr lang="en-GB" sz="3600" kern="1200" noProof="0" dirty="0" smtClean="0">
                <a:solidFill>
                  <a:schemeClr val="tx1">
                    <a:lumMod val="90000"/>
                    <a:lumOff val="10000"/>
                  </a:schemeClr>
                </a:solidFill>
                <a:latin typeface="Verdana"/>
                <a:ea typeface="+mn-ea"/>
                <a:cs typeface="Verdana"/>
              </a:defRPr>
            </a:lvl3pPr>
            <a:lvl4pPr marL="1069923" indent="-536549">
              <a:spcBef>
                <a:spcPts val="0"/>
              </a:spcBef>
              <a:spcAft>
                <a:spcPts val="1200"/>
              </a:spcAft>
              <a:buFont typeface="Arial" charset="0"/>
              <a:buChar char="•"/>
              <a:tabLst/>
              <a:defRPr sz="3200">
                <a:solidFill>
                  <a:schemeClr val="tx1">
                    <a:lumMod val="90000"/>
                    <a:lumOff val="10000"/>
                  </a:schemeClr>
                </a:solidFill>
              </a:defRPr>
            </a:lvl4pPr>
            <a:lvl5pPr marL="1438204" indent="-460353">
              <a:spcBef>
                <a:spcPts val="0"/>
              </a:spcBef>
              <a:spcAft>
                <a:spcPts val="1200"/>
              </a:spcAft>
              <a:buFont typeface="Arial" charset="0"/>
              <a:buChar char="•"/>
              <a:tabLst/>
              <a:defRPr sz="3200">
                <a:solidFill>
                  <a:schemeClr val="tx1">
                    <a:lumMod val="90000"/>
                    <a:lumOff val="10000"/>
                  </a:schemeClr>
                </a:solidFill>
              </a:defRPr>
            </a:lvl5pPr>
          </a:lstStyle>
          <a:p>
            <a:pPr lvl="0"/>
            <a:r>
              <a:rPr lang="en-GB" noProof="0"/>
              <a:t>Main headline</a:t>
            </a:r>
          </a:p>
          <a:p>
            <a:pPr lvl="1"/>
            <a:r>
              <a:rPr lang="en-GB" noProof="0"/>
              <a:t>Body</a:t>
            </a:r>
          </a:p>
          <a:p>
            <a:pPr lvl="2"/>
            <a:r>
              <a:rPr lang="en-GB" noProof="0"/>
              <a:t>Bullet</a:t>
            </a:r>
          </a:p>
          <a:p>
            <a:pPr lvl="3"/>
            <a:r>
              <a:rPr lang="en-GB" noProof="0"/>
              <a:t>Bullet lvl2</a:t>
            </a:r>
          </a:p>
          <a:p>
            <a:pPr lvl="4"/>
            <a:r>
              <a:rPr lang="en-GB" noProof="0"/>
              <a:t>Bullet lvl3</a:t>
            </a:r>
          </a:p>
        </p:txBody>
      </p:sp>
    </p:spTree>
    <p:extLst>
      <p:ext uri="{BB962C8B-B14F-4D97-AF65-F5344CB8AC3E}">
        <p14:creationId xmlns:p14="http://schemas.microsoft.com/office/powerpoint/2010/main" val="198253456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Half picture + text">
    <p:spTree>
      <p:nvGrpSpPr>
        <p:cNvPr id="1" name=""/>
        <p:cNvGrpSpPr/>
        <p:nvPr/>
      </p:nvGrpSpPr>
      <p:grpSpPr>
        <a:xfrm>
          <a:off x="0" y="0"/>
          <a:ext cx="0" cy="0"/>
          <a:chOff x="0" y="0"/>
          <a:chExt cx="0" cy="0"/>
        </a:xfrm>
      </p:grpSpPr>
      <p:sp>
        <p:nvSpPr>
          <p:cNvPr id="5" name="Picture Placeholder 3"/>
          <p:cNvSpPr>
            <a:spLocks noGrp="1"/>
          </p:cNvSpPr>
          <p:nvPr>
            <p:ph type="pic" sz="quarter" idx="10" hasCustomPrompt="1"/>
          </p:nvPr>
        </p:nvSpPr>
        <p:spPr>
          <a:xfrm>
            <a:off x="0" y="0"/>
            <a:ext cx="12188807" cy="13716000"/>
          </a:xfrm>
          <a:prstGeom prst="rect">
            <a:avLst/>
          </a:prstGeom>
          <a:solidFill>
            <a:schemeClr val="bg1"/>
          </a:solidFill>
        </p:spPr>
        <p:txBody>
          <a:bodyPr anchor="ctr"/>
          <a:lstStyle>
            <a:lvl1pPr marL="237048" indent="0" algn="ctr">
              <a:buNone/>
              <a:defRPr b="1" baseline="0">
                <a:solidFill>
                  <a:schemeClr val="bg1">
                    <a:lumMod val="95000"/>
                  </a:schemeClr>
                </a:solidFill>
              </a:defRPr>
            </a:lvl1pPr>
          </a:lstStyle>
          <a:p>
            <a:r>
              <a:rPr lang="en-GB"/>
              <a:t>Drop</a:t>
            </a:r>
            <a:br>
              <a:rPr lang="en-GB"/>
            </a:br>
            <a:r>
              <a:rPr lang="en-GB"/>
              <a:t>chapter picture</a:t>
            </a:r>
            <a:br>
              <a:rPr lang="en-GB"/>
            </a:br>
            <a:r>
              <a:rPr lang="en-GB"/>
              <a:t>here</a:t>
            </a:r>
          </a:p>
          <a:p>
            <a:endParaRPr lang="en-GB"/>
          </a:p>
          <a:p>
            <a:endParaRPr lang="en-GB"/>
          </a:p>
          <a:p>
            <a:endParaRPr lang="en-GB"/>
          </a:p>
          <a:p>
            <a:endParaRPr lang="en-GB"/>
          </a:p>
          <a:p>
            <a:endParaRPr lang="en-GB"/>
          </a:p>
          <a:p>
            <a:endParaRPr lang="en-GB"/>
          </a:p>
          <a:p>
            <a:endParaRPr lang="en-GB"/>
          </a:p>
        </p:txBody>
      </p:sp>
      <p:sp>
        <p:nvSpPr>
          <p:cNvPr id="4" name="Text Placeholder 2"/>
          <p:cNvSpPr>
            <a:spLocks noGrp="1"/>
          </p:cNvSpPr>
          <p:nvPr>
            <p:ph type="body" sz="quarter" idx="14" hasCustomPrompt="1"/>
          </p:nvPr>
        </p:nvSpPr>
        <p:spPr>
          <a:xfrm>
            <a:off x="12188807" y="0"/>
            <a:ext cx="12193606" cy="13716000"/>
          </a:xfrm>
          <a:prstGeom prst="rect">
            <a:avLst/>
          </a:prstGeom>
          <a:solidFill>
            <a:schemeClr val="bg1"/>
          </a:solidFill>
          <a:effectLst/>
        </p:spPr>
        <p:txBody>
          <a:bodyPr lIns="252000" tIns="504000" rIns="252000" bIns="252000" anchor="t">
            <a:noAutofit/>
          </a:bodyPr>
          <a:lstStyle>
            <a:lvl1pPr marL="0" indent="0">
              <a:spcAft>
                <a:spcPts val="1200"/>
              </a:spcAft>
              <a:buNone/>
              <a:tabLst/>
              <a:defRPr sz="6400" b="1" cap="none" spc="0">
                <a:solidFill>
                  <a:schemeClr val="tx1">
                    <a:lumMod val="90000"/>
                    <a:lumOff val="10000"/>
                  </a:schemeClr>
                </a:solidFill>
                <a:latin typeface="+mj-lt"/>
              </a:defRPr>
            </a:lvl1pPr>
            <a:lvl2pPr marL="0" indent="0">
              <a:spcBef>
                <a:spcPts val="0"/>
              </a:spcBef>
              <a:spcAft>
                <a:spcPts val="1200"/>
              </a:spcAft>
              <a:buNone/>
              <a:tabLst/>
              <a:defRPr sz="3600" b="0">
                <a:solidFill>
                  <a:schemeClr val="tx1">
                    <a:lumMod val="90000"/>
                    <a:lumOff val="10000"/>
                  </a:schemeClr>
                </a:solidFill>
                <a:latin typeface="+mj-lt"/>
              </a:defRPr>
            </a:lvl2pPr>
            <a:lvl3pPr marL="704815" indent="-536549" defTabSz="1254063">
              <a:spcBef>
                <a:spcPts val="0"/>
              </a:spcBef>
              <a:spcAft>
                <a:spcPts val="3600"/>
              </a:spcAft>
              <a:buFont typeface="Arial" panose="020B0604020202020204" pitchFamily="34" charset="0"/>
              <a:buChar char="•"/>
              <a:tabLst/>
              <a:defRPr lang="en-GB" sz="3600" kern="1200" noProof="0" dirty="0" smtClean="0">
                <a:solidFill>
                  <a:schemeClr val="tx1">
                    <a:lumMod val="90000"/>
                    <a:lumOff val="10000"/>
                  </a:schemeClr>
                </a:solidFill>
                <a:latin typeface="Verdana"/>
                <a:ea typeface="+mn-ea"/>
                <a:cs typeface="Verdana"/>
              </a:defRPr>
            </a:lvl3pPr>
            <a:lvl4pPr marL="1069923" indent="-536549">
              <a:spcBef>
                <a:spcPts val="0"/>
              </a:spcBef>
              <a:spcAft>
                <a:spcPts val="1200"/>
              </a:spcAft>
              <a:buFont typeface="Arial" charset="0"/>
              <a:buChar char="•"/>
              <a:tabLst/>
              <a:defRPr sz="3200">
                <a:solidFill>
                  <a:schemeClr val="tx1">
                    <a:lumMod val="90000"/>
                    <a:lumOff val="10000"/>
                  </a:schemeClr>
                </a:solidFill>
              </a:defRPr>
            </a:lvl4pPr>
            <a:lvl5pPr marL="1438204" indent="-460353">
              <a:spcBef>
                <a:spcPts val="0"/>
              </a:spcBef>
              <a:spcAft>
                <a:spcPts val="1200"/>
              </a:spcAft>
              <a:buFont typeface="Arial" charset="0"/>
              <a:buChar char="•"/>
              <a:tabLst/>
              <a:defRPr sz="3200">
                <a:solidFill>
                  <a:schemeClr val="tx1">
                    <a:lumMod val="90000"/>
                    <a:lumOff val="10000"/>
                  </a:schemeClr>
                </a:solidFill>
              </a:defRPr>
            </a:lvl5pPr>
          </a:lstStyle>
          <a:p>
            <a:pPr lvl="0"/>
            <a:r>
              <a:rPr lang="en-GB" noProof="0"/>
              <a:t>Main headline</a:t>
            </a:r>
          </a:p>
          <a:p>
            <a:pPr lvl="1"/>
            <a:r>
              <a:rPr lang="en-GB" noProof="0"/>
              <a:t>Body</a:t>
            </a:r>
          </a:p>
          <a:p>
            <a:pPr lvl="2"/>
            <a:r>
              <a:rPr lang="en-GB" noProof="0"/>
              <a:t>Bullet</a:t>
            </a:r>
          </a:p>
          <a:p>
            <a:pPr lvl="3"/>
            <a:r>
              <a:rPr lang="en-GB" noProof="0"/>
              <a:t>Bullet lvl2</a:t>
            </a:r>
          </a:p>
          <a:p>
            <a:pPr lvl="4"/>
            <a:r>
              <a:rPr lang="en-GB" noProof="0"/>
              <a:t>Bullet lvl3</a:t>
            </a:r>
          </a:p>
        </p:txBody>
      </p:sp>
    </p:spTree>
    <p:extLst>
      <p:ext uri="{BB962C8B-B14F-4D97-AF65-F5344CB8AC3E}">
        <p14:creationId xmlns:p14="http://schemas.microsoft.com/office/powerpoint/2010/main" val="392725676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Half picture + text &amp; logo">
    <p:spTree>
      <p:nvGrpSpPr>
        <p:cNvPr id="1" name=""/>
        <p:cNvGrpSpPr/>
        <p:nvPr/>
      </p:nvGrpSpPr>
      <p:grpSpPr>
        <a:xfrm>
          <a:off x="0" y="0"/>
          <a:ext cx="0" cy="0"/>
          <a:chOff x="0" y="0"/>
          <a:chExt cx="0" cy="0"/>
        </a:xfrm>
      </p:grpSpPr>
      <p:sp>
        <p:nvSpPr>
          <p:cNvPr id="5" name="Picture Placeholder 3"/>
          <p:cNvSpPr>
            <a:spLocks noGrp="1"/>
          </p:cNvSpPr>
          <p:nvPr>
            <p:ph type="pic" sz="quarter" idx="10" hasCustomPrompt="1"/>
          </p:nvPr>
        </p:nvSpPr>
        <p:spPr>
          <a:xfrm>
            <a:off x="0" y="0"/>
            <a:ext cx="12188807" cy="13716000"/>
          </a:xfrm>
          <a:prstGeom prst="rect">
            <a:avLst/>
          </a:prstGeom>
          <a:solidFill>
            <a:schemeClr val="bg1"/>
          </a:solidFill>
        </p:spPr>
        <p:txBody>
          <a:bodyPr anchor="ctr"/>
          <a:lstStyle>
            <a:lvl1pPr marL="237048" indent="0" algn="ctr">
              <a:buNone/>
              <a:defRPr b="1" baseline="0">
                <a:solidFill>
                  <a:schemeClr val="bg1">
                    <a:lumMod val="95000"/>
                  </a:schemeClr>
                </a:solidFill>
              </a:defRPr>
            </a:lvl1pPr>
          </a:lstStyle>
          <a:p>
            <a:r>
              <a:rPr lang="en-GB"/>
              <a:t>Drop</a:t>
            </a:r>
            <a:br>
              <a:rPr lang="en-GB"/>
            </a:br>
            <a:r>
              <a:rPr lang="en-GB"/>
              <a:t>chapter picture</a:t>
            </a:r>
            <a:br>
              <a:rPr lang="en-GB"/>
            </a:br>
            <a:r>
              <a:rPr lang="en-GB"/>
              <a:t>here</a:t>
            </a:r>
          </a:p>
          <a:p>
            <a:endParaRPr lang="en-GB"/>
          </a:p>
          <a:p>
            <a:endParaRPr lang="en-GB"/>
          </a:p>
          <a:p>
            <a:endParaRPr lang="en-GB"/>
          </a:p>
          <a:p>
            <a:endParaRPr lang="en-GB"/>
          </a:p>
          <a:p>
            <a:endParaRPr lang="en-GB"/>
          </a:p>
          <a:p>
            <a:endParaRPr lang="en-GB"/>
          </a:p>
          <a:p>
            <a:endParaRPr lang="en-GB"/>
          </a:p>
        </p:txBody>
      </p:sp>
      <p:sp>
        <p:nvSpPr>
          <p:cNvPr id="4" name="Text Placeholder 2"/>
          <p:cNvSpPr>
            <a:spLocks noGrp="1"/>
          </p:cNvSpPr>
          <p:nvPr>
            <p:ph type="body" sz="quarter" idx="14" hasCustomPrompt="1"/>
          </p:nvPr>
        </p:nvSpPr>
        <p:spPr>
          <a:xfrm>
            <a:off x="12188807" y="0"/>
            <a:ext cx="12193606" cy="13716000"/>
          </a:xfrm>
          <a:prstGeom prst="rect">
            <a:avLst/>
          </a:prstGeom>
          <a:noFill/>
          <a:effectLst/>
        </p:spPr>
        <p:txBody>
          <a:bodyPr lIns="252000" tIns="504000" rIns="252000" bIns="252000" anchor="t">
            <a:noAutofit/>
          </a:bodyPr>
          <a:lstStyle>
            <a:lvl1pPr marL="0" indent="0">
              <a:spcAft>
                <a:spcPts val="1200"/>
              </a:spcAft>
              <a:buNone/>
              <a:tabLst/>
              <a:defRPr sz="4800" b="1" cap="none" spc="0">
                <a:solidFill>
                  <a:schemeClr val="tx1">
                    <a:lumMod val="90000"/>
                    <a:lumOff val="10000"/>
                  </a:schemeClr>
                </a:solidFill>
                <a:latin typeface="+mj-lt"/>
              </a:defRPr>
            </a:lvl1pPr>
            <a:lvl2pPr marL="0" indent="0">
              <a:spcBef>
                <a:spcPts val="0"/>
              </a:spcBef>
              <a:spcAft>
                <a:spcPts val="1200"/>
              </a:spcAft>
              <a:buNone/>
              <a:tabLst/>
              <a:defRPr sz="3600" b="0">
                <a:solidFill>
                  <a:schemeClr val="tx1">
                    <a:lumMod val="90000"/>
                    <a:lumOff val="10000"/>
                  </a:schemeClr>
                </a:solidFill>
                <a:latin typeface="+mj-lt"/>
              </a:defRPr>
            </a:lvl2pPr>
            <a:lvl3pPr marL="704815" indent="-536549" defTabSz="1254063">
              <a:spcBef>
                <a:spcPts val="0"/>
              </a:spcBef>
              <a:spcAft>
                <a:spcPts val="1200"/>
              </a:spcAft>
              <a:buFont typeface="Arial" panose="020B0604020202020204" pitchFamily="34" charset="0"/>
              <a:buChar char="•"/>
              <a:tabLst/>
              <a:defRPr lang="en-GB" sz="3600" kern="1200" noProof="0" dirty="0" smtClean="0">
                <a:solidFill>
                  <a:schemeClr val="tx1">
                    <a:lumMod val="90000"/>
                    <a:lumOff val="10000"/>
                  </a:schemeClr>
                </a:solidFill>
                <a:latin typeface="Verdana"/>
                <a:ea typeface="+mn-ea"/>
                <a:cs typeface="Verdana"/>
              </a:defRPr>
            </a:lvl3pPr>
            <a:lvl4pPr marL="1069923" indent="-536549">
              <a:spcBef>
                <a:spcPts val="0"/>
              </a:spcBef>
              <a:spcAft>
                <a:spcPts val="1200"/>
              </a:spcAft>
              <a:buFont typeface="Arial" charset="0"/>
              <a:buChar char="•"/>
              <a:tabLst/>
              <a:defRPr sz="3200">
                <a:solidFill>
                  <a:schemeClr val="tx1">
                    <a:lumMod val="90000"/>
                    <a:lumOff val="10000"/>
                  </a:schemeClr>
                </a:solidFill>
              </a:defRPr>
            </a:lvl4pPr>
            <a:lvl5pPr marL="1438204" indent="-460353">
              <a:spcBef>
                <a:spcPts val="0"/>
              </a:spcBef>
              <a:spcAft>
                <a:spcPts val="1200"/>
              </a:spcAft>
              <a:buFont typeface="Arial" charset="0"/>
              <a:buChar char="•"/>
              <a:tabLst/>
              <a:defRPr sz="3200">
                <a:solidFill>
                  <a:schemeClr val="tx1">
                    <a:lumMod val="90000"/>
                    <a:lumOff val="10000"/>
                  </a:schemeClr>
                </a:solidFill>
              </a:defRPr>
            </a:lvl5pPr>
          </a:lstStyle>
          <a:p>
            <a:pPr lvl="0"/>
            <a:r>
              <a:rPr lang="en-GB" noProof="0"/>
              <a:t>Main headline</a:t>
            </a:r>
          </a:p>
          <a:p>
            <a:pPr lvl="1"/>
            <a:r>
              <a:rPr lang="en-GB" noProof="0"/>
              <a:t>Body</a:t>
            </a:r>
          </a:p>
          <a:p>
            <a:pPr lvl="2"/>
            <a:r>
              <a:rPr lang="en-GB" noProof="0"/>
              <a:t>Bullet</a:t>
            </a:r>
          </a:p>
          <a:p>
            <a:pPr lvl="3"/>
            <a:r>
              <a:rPr lang="en-GB" noProof="0"/>
              <a:t>Bullet lvl2</a:t>
            </a:r>
          </a:p>
          <a:p>
            <a:pPr lvl="4"/>
            <a:r>
              <a:rPr lang="en-GB" noProof="0"/>
              <a:t>Bullet lvl3</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50101" y="11868985"/>
            <a:ext cx="2687485" cy="1363026"/>
          </a:xfrm>
          <a:prstGeom prst="rect">
            <a:avLst/>
          </a:prstGeom>
        </p:spPr>
      </p:pic>
    </p:spTree>
    <p:extLst>
      <p:ext uri="{BB962C8B-B14F-4D97-AF65-F5344CB8AC3E}">
        <p14:creationId xmlns:p14="http://schemas.microsoft.com/office/powerpoint/2010/main" val="856405778"/>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Wide picture + text">
    <p:spTree>
      <p:nvGrpSpPr>
        <p:cNvPr id="1" name=""/>
        <p:cNvGrpSpPr/>
        <p:nvPr/>
      </p:nvGrpSpPr>
      <p:grpSpPr>
        <a:xfrm>
          <a:off x="0" y="0"/>
          <a:ext cx="0" cy="0"/>
          <a:chOff x="0" y="0"/>
          <a:chExt cx="0" cy="0"/>
        </a:xfrm>
      </p:grpSpPr>
      <p:sp>
        <p:nvSpPr>
          <p:cNvPr id="5" name="Picture Placeholder 3"/>
          <p:cNvSpPr>
            <a:spLocks noGrp="1"/>
          </p:cNvSpPr>
          <p:nvPr>
            <p:ph type="pic" sz="quarter" idx="10" hasCustomPrompt="1"/>
          </p:nvPr>
        </p:nvSpPr>
        <p:spPr>
          <a:xfrm>
            <a:off x="0" y="0"/>
            <a:ext cx="14629448" cy="13716000"/>
          </a:xfrm>
          <a:prstGeom prst="rect">
            <a:avLst/>
          </a:prstGeom>
          <a:solidFill>
            <a:schemeClr val="bg1"/>
          </a:solidFill>
        </p:spPr>
        <p:txBody>
          <a:bodyPr anchor="ctr"/>
          <a:lstStyle>
            <a:lvl1pPr marL="237048" indent="0" algn="ctr">
              <a:buNone/>
              <a:defRPr b="1" baseline="0">
                <a:solidFill>
                  <a:schemeClr val="bg1">
                    <a:lumMod val="95000"/>
                  </a:schemeClr>
                </a:solidFill>
              </a:defRPr>
            </a:lvl1pPr>
          </a:lstStyle>
          <a:p>
            <a:r>
              <a:rPr lang="en-GB"/>
              <a:t>Drop</a:t>
            </a:r>
            <a:br>
              <a:rPr lang="en-GB"/>
            </a:br>
            <a:r>
              <a:rPr lang="en-GB"/>
              <a:t>chapter picture</a:t>
            </a:r>
            <a:br>
              <a:rPr lang="en-GB"/>
            </a:br>
            <a:r>
              <a:rPr lang="en-GB"/>
              <a:t>here</a:t>
            </a:r>
          </a:p>
          <a:p>
            <a:endParaRPr lang="en-GB"/>
          </a:p>
          <a:p>
            <a:endParaRPr lang="en-GB"/>
          </a:p>
          <a:p>
            <a:endParaRPr lang="en-GB"/>
          </a:p>
          <a:p>
            <a:endParaRPr lang="en-GB"/>
          </a:p>
          <a:p>
            <a:endParaRPr lang="en-GB"/>
          </a:p>
          <a:p>
            <a:endParaRPr lang="en-GB"/>
          </a:p>
          <a:p>
            <a:endParaRPr lang="en-GB"/>
          </a:p>
        </p:txBody>
      </p:sp>
      <p:sp>
        <p:nvSpPr>
          <p:cNvPr id="6" name="Text Placeholder 2"/>
          <p:cNvSpPr>
            <a:spLocks noGrp="1"/>
          </p:cNvSpPr>
          <p:nvPr>
            <p:ph type="body" sz="quarter" idx="14" hasCustomPrompt="1"/>
          </p:nvPr>
        </p:nvSpPr>
        <p:spPr>
          <a:xfrm>
            <a:off x="14629448" y="0"/>
            <a:ext cx="9752965" cy="13716000"/>
          </a:xfrm>
          <a:prstGeom prst="rect">
            <a:avLst/>
          </a:prstGeom>
          <a:solidFill>
            <a:schemeClr val="bg1"/>
          </a:solidFill>
          <a:effectLst/>
        </p:spPr>
        <p:txBody>
          <a:bodyPr lIns="252000" tIns="504000" rIns="252000" bIns="252000" anchor="t">
            <a:noAutofit/>
          </a:bodyPr>
          <a:lstStyle>
            <a:lvl1pPr marL="0" indent="0">
              <a:spcAft>
                <a:spcPts val="1200"/>
              </a:spcAft>
              <a:buNone/>
              <a:tabLst/>
              <a:defRPr sz="4800" b="1" cap="none" spc="0">
                <a:solidFill>
                  <a:schemeClr val="tx1">
                    <a:lumMod val="90000"/>
                    <a:lumOff val="10000"/>
                  </a:schemeClr>
                </a:solidFill>
                <a:latin typeface="+mj-lt"/>
              </a:defRPr>
            </a:lvl1pPr>
            <a:lvl2pPr marL="0" indent="0">
              <a:spcBef>
                <a:spcPts val="0"/>
              </a:spcBef>
              <a:spcAft>
                <a:spcPts val="1200"/>
              </a:spcAft>
              <a:buNone/>
              <a:tabLst/>
              <a:defRPr sz="3600" b="0">
                <a:solidFill>
                  <a:schemeClr val="tx1">
                    <a:lumMod val="90000"/>
                    <a:lumOff val="10000"/>
                  </a:schemeClr>
                </a:solidFill>
                <a:latin typeface="+mj-lt"/>
              </a:defRPr>
            </a:lvl2pPr>
            <a:lvl3pPr marL="704815" indent="-536549" defTabSz="1254063">
              <a:spcBef>
                <a:spcPts val="0"/>
              </a:spcBef>
              <a:spcAft>
                <a:spcPts val="1200"/>
              </a:spcAft>
              <a:buFont typeface="Arial" panose="020B0604020202020204" pitchFamily="34" charset="0"/>
              <a:buChar char="•"/>
              <a:tabLst/>
              <a:defRPr lang="en-GB" sz="3600" kern="1200" noProof="0" dirty="0" smtClean="0">
                <a:solidFill>
                  <a:schemeClr val="tx1">
                    <a:lumMod val="90000"/>
                    <a:lumOff val="10000"/>
                  </a:schemeClr>
                </a:solidFill>
                <a:latin typeface="Verdana"/>
                <a:ea typeface="+mn-ea"/>
                <a:cs typeface="Verdana"/>
              </a:defRPr>
            </a:lvl3pPr>
            <a:lvl4pPr marL="1069923" indent="-536549">
              <a:spcBef>
                <a:spcPts val="0"/>
              </a:spcBef>
              <a:spcAft>
                <a:spcPts val="1200"/>
              </a:spcAft>
              <a:buFont typeface="Arial" charset="0"/>
              <a:buChar char="•"/>
              <a:tabLst/>
              <a:defRPr sz="3200">
                <a:solidFill>
                  <a:schemeClr val="tx1">
                    <a:lumMod val="90000"/>
                    <a:lumOff val="10000"/>
                  </a:schemeClr>
                </a:solidFill>
              </a:defRPr>
            </a:lvl4pPr>
            <a:lvl5pPr marL="1438204" indent="-460353">
              <a:spcBef>
                <a:spcPts val="0"/>
              </a:spcBef>
              <a:spcAft>
                <a:spcPts val="1200"/>
              </a:spcAft>
              <a:buFont typeface="Arial" charset="0"/>
              <a:buChar char="•"/>
              <a:tabLst/>
              <a:defRPr sz="3200">
                <a:solidFill>
                  <a:schemeClr val="tx1">
                    <a:lumMod val="90000"/>
                    <a:lumOff val="10000"/>
                  </a:schemeClr>
                </a:solidFill>
              </a:defRPr>
            </a:lvl5pPr>
          </a:lstStyle>
          <a:p>
            <a:pPr lvl="0"/>
            <a:r>
              <a:rPr lang="en-GB" noProof="0"/>
              <a:t>Main headline</a:t>
            </a:r>
          </a:p>
          <a:p>
            <a:pPr lvl="1"/>
            <a:r>
              <a:rPr lang="en-GB" noProof="0"/>
              <a:t>Body</a:t>
            </a:r>
          </a:p>
          <a:p>
            <a:pPr lvl="2"/>
            <a:r>
              <a:rPr lang="en-GB" noProof="0"/>
              <a:t>Bullet</a:t>
            </a:r>
          </a:p>
          <a:p>
            <a:pPr lvl="3"/>
            <a:r>
              <a:rPr lang="en-GB" noProof="0"/>
              <a:t>Bullet lvl2</a:t>
            </a:r>
          </a:p>
          <a:p>
            <a:pPr lvl="4"/>
            <a:r>
              <a:rPr lang="en-GB" noProof="0"/>
              <a:t>Bullet lvl3</a:t>
            </a:r>
          </a:p>
        </p:txBody>
      </p:sp>
    </p:spTree>
    <p:extLst>
      <p:ext uri="{BB962C8B-B14F-4D97-AF65-F5344CB8AC3E}">
        <p14:creationId xmlns:p14="http://schemas.microsoft.com/office/powerpoint/2010/main" val="1045815900"/>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Clean">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003384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lean + text">
    <p:spTree>
      <p:nvGrpSpPr>
        <p:cNvPr id="1" name=""/>
        <p:cNvGrpSpPr/>
        <p:nvPr/>
      </p:nvGrpSpPr>
      <p:grpSpPr>
        <a:xfrm>
          <a:off x="0" y="0"/>
          <a:ext cx="0" cy="0"/>
          <a:chOff x="0" y="0"/>
          <a:chExt cx="0" cy="0"/>
        </a:xfrm>
      </p:grpSpPr>
      <p:sp>
        <p:nvSpPr>
          <p:cNvPr id="2" name="Text Placeholder 2"/>
          <p:cNvSpPr>
            <a:spLocks noGrp="1"/>
          </p:cNvSpPr>
          <p:nvPr>
            <p:ph type="body" sz="quarter" idx="14" hasCustomPrompt="1"/>
          </p:nvPr>
        </p:nvSpPr>
        <p:spPr>
          <a:xfrm>
            <a:off x="14791989" y="1134930"/>
            <a:ext cx="7679500" cy="10081712"/>
          </a:xfrm>
          <a:prstGeom prst="rect">
            <a:avLst/>
          </a:prstGeom>
          <a:solidFill>
            <a:schemeClr val="bg1"/>
          </a:solidFill>
          <a:effectLst>
            <a:outerShdw blurRad="38100" dist="12700" dir="2700000" algn="tl" rotWithShape="0">
              <a:prstClr val="black">
                <a:alpha val="30000"/>
              </a:prstClr>
            </a:outerShdw>
          </a:effectLst>
        </p:spPr>
        <p:txBody>
          <a:bodyPr lIns="108000" tIns="180000" rIns="108000" bIns="108000">
            <a:noAutofit/>
          </a:bodyPr>
          <a:lstStyle>
            <a:lvl1pPr marL="237048" indent="0">
              <a:spcAft>
                <a:spcPts val="1200"/>
              </a:spcAft>
              <a:buNone/>
              <a:tabLst/>
              <a:defRPr sz="4800" b="1" cap="none" spc="0">
                <a:solidFill>
                  <a:schemeClr val="tx1">
                    <a:lumMod val="75000"/>
                    <a:lumOff val="25000"/>
                  </a:schemeClr>
                </a:solidFill>
                <a:latin typeface="+mj-lt"/>
              </a:defRPr>
            </a:lvl1pPr>
            <a:lvl2pPr marL="239982" indent="0">
              <a:spcBef>
                <a:spcPts val="0"/>
              </a:spcBef>
              <a:spcAft>
                <a:spcPts val="1200"/>
              </a:spcAft>
              <a:buNone/>
              <a:tabLst/>
              <a:defRPr sz="3600" b="0">
                <a:solidFill>
                  <a:schemeClr val="tx1">
                    <a:lumMod val="75000"/>
                    <a:lumOff val="25000"/>
                  </a:schemeClr>
                </a:solidFill>
                <a:latin typeface="+mj-lt"/>
              </a:defRPr>
            </a:lvl2pPr>
            <a:lvl3pPr marL="895305" indent="-536549" defTabSz="1254063">
              <a:spcBef>
                <a:spcPts val="0"/>
              </a:spcBef>
              <a:spcAft>
                <a:spcPts val="1200"/>
              </a:spcAft>
              <a:buFont typeface="Arial" panose="020B0604020202020204" pitchFamily="34" charset="0"/>
              <a:buChar char="•"/>
              <a:tabLst/>
              <a:defRPr lang="en-GB" sz="3600" kern="1200" noProof="0" dirty="0" smtClean="0">
                <a:solidFill>
                  <a:schemeClr val="tx1">
                    <a:lumMod val="75000"/>
                    <a:lumOff val="25000"/>
                  </a:schemeClr>
                </a:solidFill>
                <a:latin typeface="Verdana"/>
                <a:ea typeface="+mn-ea"/>
                <a:cs typeface="Verdana"/>
              </a:defRPr>
            </a:lvl3pPr>
            <a:lvl4pPr marL="1254063" indent="-536549">
              <a:spcBef>
                <a:spcPts val="0"/>
              </a:spcBef>
              <a:spcAft>
                <a:spcPts val="1200"/>
              </a:spcAft>
              <a:buFont typeface="Arial" charset="0"/>
              <a:buChar char="•"/>
              <a:tabLst/>
              <a:defRPr sz="3200">
                <a:solidFill>
                  <a:schemeClr val="tx1">
                    <a:lumMod val="75000"/>
                    <a:lumOff val="25000"/>
                  </a:schemeClr>
                </a:solidFill>
              </a:defRPr>
            </a:lvl4pPr>
            <a:lvl5pPr marL="1443460" indent="-461401">
              <a:spcBef>
                <a:spcPts val="0"/>
              </a:spcBef>
              <a:spcAft>
                <a:spcPts val="1200"/>
              </a:spcAft>
              <a:buFont typeface="Arial" charset="0"/>
              <a:buChar char="•"/>
              <a:tabLst/>
              <a:defRPr sz="3200">
                <a:solidFill>
                  <a:schemeClr val="tx1">
                    <a:lumMod val="75000"/>
                    <a:lumOff val="25000"/>
                  </a:schemeClr>
                </a:solidFill>
              </a:defRPr>
            </a:lvl5pPr>
          </a:lstStyle>
          <a:p>
            <a:pPr lvl="0"/>
            <a:r>
              <a:rPr lang="en-GB" noProof="0"/>
              <a:t>Main headline</a:t>
            </a:r>
          </a:p>
          <a:p>
            <a:pPr lvl="1"/>
            <a:r>
              <a:rPr lang="en-GB" noProof="0"/>
              <a:t>Body</a:t>
            </a:r>
          </a:p>
          <a:p>
            <a:pPr lvl="2"/>
            <a:r>
              <a:rPr lang="en-GB" noProof="0"/>
              <a:t>Bullet</a:t>
            </a:r>
          </a:p>
          <a:p>
            <a:pPr lvl="3"/>
            <a:r>
              <a:rPr lang="en-GB" noProof="0"/>
              <a:t>Bullet lvl2</a:t>
            </a:r>
          </a:p>
          <a:p>
            <a:pPr lvl="4"/>
            <a:r>
              <a:rPr lang="en-GB" noProof="0"/>
              <a:t>Bullet lvl3</a:t>
            </a:r>
          </a:p>
        </p:txBody>
      </p:sp>
    </p:spTree>
    <p:extLst>
      <p:ext uri="{BB962C8B-B14F-4D97-AF65-F5344CB8AC3E}">
        <p14:creationId xmlns:p14="http://schemas.microsoft.com/office/powerpoint/2010/main" val="241573519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efore/aft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413F907-AE77-0746-B805-0D2E5F01B01D}"/>
              </a:ext>
            </a:extLst>
          </p:cNvPr>
          <p:cNvSpPr>
            <a:spLocks noGrp="1"/>
          </p:cNvSpPr>
          <p:nvPr>
            <p:ph type="pic" sz="quarter" idx="17" hasCustomPrompt="1"/>
          </p:nvPr>
        </p:nvSpPr>
        <p:spPr>
          <a:xfrm>
            <a:off x="3046413" y="4124207"/>
            <a:ext cx="7417707" cy="4462581"/>
          </a:xfrm>
          <a:solidFill>
            <a:srgbClr val="E4E5E3"/>
          </a:solidFill>
        </p:spPr>
        <p:txBody>
          <a:bodyPr>
            <a:normAutofit/>
          </a:bodyPr>
          <a:lstStyle>
            <a:lvl1pPr marL="0" indent="0" algn="ctr">
              <a:buNone/>
              <a:defRPr sz="2400">
                <a:solidFill>
                  <a:schemeClr val="tx1">
                    <a:lumMod val="65000"/>
                    <a:lumOff val="35000"/>
                  </a:schemeClr>
                </a:solidFill>
              </a:defRPr>
            </a:lvl1pPr>
          </a:lstStyle>
          <a:p>
            <a:r>
              <a:rPr lang="en-NL"/>
              <a:t>Drag and drop a topic-related picture into this frame</a:t>
            </a:r>
          </a:p>
        </p:txBody>
      </p:sp>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13984331" y="4124207"/>
            <a:ext cx="7351669" cy="4462581"/>
          </a:xfrm>
          <a:solidFill>
            <a:srgbClr val="E4E5E3"/>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6" name="Text Placeholder 5">
            <a:extLst>
              <a:ext uri="{FF2B5EF4-FFF2-40B4-BE49-F238E27FC236}">
                <a16:creationId xmlns:a16="http://schemas.microsoft.com/office/drawing/2014/main" id="{8B805C66-9B81-6F4A-8653-8751DC71F3C3}"/>
              </a:ext>
            </a:extLst>
          </p:cNvPr>
          <p:cNvSpPr>
            <a:spLocks noGrp="1"/>
          </p:cNvSpPr>
          <p:nvPr>
            <p:ph type="body" sz="quarter" idx="12" hasCustomPrompt="1"/>
          </p:nvPr>
        </p:nvSpPr>
        <p:spPr>
          <a:xfrm>
            <a:off x="3046413" y="9038943"/>
            <a:ext cx="7417707" cy="3003831"/>
          </a:xfrm>
        </p:spPr>
        <p:txBody>
          <a:bodyPr>
            <a:noAutofit/>
          </a:bodyPr>
          <a:lstStyle>
            <a:lvl1pPr>
              <a:spcBef>
                <a:spcPts val="0"/>
              </a:spcBef>
              <a:defRPr sz="3200"/>
            </a:lvl1pPr>
          </a:lstStyle>
          <a:p>
            <a:pPr lvl="0"/>
            <a:r>
              <a:rPr lang="en-GB" noProof="0"/>
              <a:t>Put the paragraph text here, keep it regular 32 </a:t>
            </a:r>
            <a:r>
              <a:rPr lang="en-GB" noProof="0" err="1"/>
              <a:t>pt</a:t>
            </a:r>
            <a:endParaRPr lang="en-GB" noProof="0"/>
          </a:p>
        </p:txBody>
      </p:sp>
      <p:sp>
        <p:nvSpPr>
          <p:cNvPr id="17" name="Text Placeholder 5">
            <a:extLst>
              <a:ext uri="{FF2B5EF4-FFF2-40B4-BE49-F238E27FC236}">
                <a16:creationId xmlns:a16="http://schemas.microsoft.com/office/drawing/2014/main" id="{FA6FB3B4-ED87-C644-AEAC-F1AF465F1548}"/>
              </a:ext>
            </a:extLst>
          </p:cNvPr>
          <p:cNvSpPr>
            <a:spLocks noGrp="1"/>
          </p:cNvSpPr>
          <p:nvPr>
            <p:ph type="body" sz="quarter" idx="22" hasCustomPrompt="1"/>
          </p:nvPr>
        </p:nvSpPr>
        <p:spPr>
          <a:xfrm>
            <a:off x="13993172" y="9038944"/>
            <a:ext cx="7342828" cy="3003830"/>
          </a:xfrm>
        </p:spPr>
        <p:txBody>
          <a:bodyPr>
            <a:noAutofit/>
          </a:bodyPr>
          <a:lstStyle>
            <a:lvl1pPr>
              <a:spcBef>
                <a:spcPts val="0"/>
              </a:spcBef>
              <a:defRPr sz="3200"/>
            </a:lvl1pPr>
          </a:lstStyle>
          <a:p>
            <a:pPr lvl="0"/>
            <a:r>
              <a:rPr lang="en-GB" noProof="0"/>
              <a:t>Put the paragraph text here, keep it regular 32 </a:t>
            </a:r>
            <a:r>
              <a:rPr lang="en-GB" noProof="0" err="1"/>
              <a:t>pt</a:t>
            </a:r>
            <a:endParaRPr lang="en-GB" noProof="0"/>
          </a:p>
        </p:txBody>
      </p:sp>
      <p:pic>
        <p:nvPicPr>
          <p:cNvPr id="6" name="Graphic 5">
            <a:extLst>
              <a:ext uri="{FF2B5EF4-FFF2-40B4-BE49-F238E27FC236}">
                <a16:creationId xmlns:a16="http://schemas.microsoft.com/office/drawing/2014/main" id="{326B79F7-6D85-D543-AFB0-64FD75BF7EB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31206" y="5056159"/>
            <a:ext cx="2520000" cy="2520000"/>
          </a:xfrm>
          <a:prstGeom prst="rect">
            <a:avLst/>
          </a:prstGeom>
        </p:spPr>
      </p:pic>
      <p:sp>
        <p:nvSpPr>
          <p:cNvPr id="10" name="Title 3">
            <a:extLst>
              <a:ext uri="{FF2B5EF4-FFF2-40B4-BE49-F238E27FC236}">
                <a16:creationId xmlns:a16="http://schemas.microsoft.com/office/drawing/2014/main" id="{F1E86907-9BCD-794E-BD6D-4F29BDCAC4DD}"/>
              </a:ext>
            </a:extLst>
          </p:cNvPr>
          <p:cNvSpPr>
            <a:spLocks noGrp="1"/>
          </p:cNvSpPr>
          <p:nvPr>
            <p:ph type="title" hasCustomPrompt="1"/>
          </p:nvPr>
        </p:nvSpPr>
        <p:spPr>
          <a:xfrm>
            <a:off x="1676293" y="1677600"/>
            <a:ext cx="21033007" cy="2446607"/>
          </a:xfrm>
        </p:spPr>
        <p:txBody>
          <a:bodyPr/>
          <a:lstStyle>
            <a:lvl1pPr>
              <a:defRPr sz="6000" spc="0" baseline="0"/>
            </a:lvl1pPr>
          </a:lstStyle>
          <a:p>
            <a:r>
              <a:rPr lang="en-GB"/>
              <a:t>Put a short headline here, keep it bold 60 </a:t>
            </a:r>
            <a:r>
              <a:rPr lang="en-GB" err="1"/>
              <a:t>pt</a:t>
            </a:r>
            <a:endParaRPr lang="en-NL"/>
          </a:p>
        </p:txBody>
      </p:sp>
      <p:sp>
        <p:nvSpPr>
          <p:cNvPr id="4" name="Footer Placeholder 3">
            <a:extLst>
              <a:ext uri="{FF2B5EF4-FFF2-40B4-BE49-F238E27FC236}">
                <a16:creationId xmlns:a16="http://schemas.microsoft.com/office/drawing/2014/main" id="{98B6467D-F33B-A84D-B882-5C4860E480A0}"/>
              </a:ext>
            </a:extLst>
          </p:cNvPr>
          <p:cNvSpPr>
            <a:spLocks noGrp="1"/>
          </p:cNvSpPr>
          <p:nvPr>
            <p:ph type="ftr" sz="quarter" idx="23"/>
          </p:nvPr>
        </p:nvSpPr>
        <p:spPr/>
        <p:txBody>
          <a:bodyPr/>
          <a:lstStyle/>
          <a:p>
            <a:endParaRPr lang="en-NL"/>
          </a:p>
        </p:txBody>
      </p:sp>
      <p:sp>
        <p:nvSpPr>
          <p:cNvPr id="13" name="TextBox 12">
            <a:extLst>
              <a:ext uri="{FF2B5EF4-FFF2-40B4-BE49-F238E27FC236}">
                <a16:creationId xmlns:a16="http://schemas.microsoft.com/office/drawing/2014/main" id="{698B3729-CC41-244D-B453-5B310C875397}"/>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436763781"/>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Clean with headline">
    <p:spTree>
      <p:nvGrpSpPr>
        <p:cNvPr id="1" name=""/>
        <p:cNvGrpSpPr/>
        <p:nvPr/>
      </p:nvGrpSpPr>
      <p:grpSpPr>
        <a:xfrm>
          <a:off x="0" y="0"/>
          <a:ext cx="0" cy="0"/>
          <a:chOff x="0" y="0"/>
          <a:chExt cx="0" cy="0"/>
        </a:xfrm>
      </p:grpSpPr>
      <p:sp>
        <p:nvSpPr>
          <p:cNvPr id="2" name="Text Placeholder 2"/>
          <p:cNvSpPr>
            <a:spLocks noGrp="1"/>
          </p:cNvSpPr>
          <p:nvPr>
            <p:ph type="body" sz="quarter" idx="15" hasCustomPrompt="1"/>
          </p:nvPr>
        </p:nvSpPr>
        <p:spPr>
          <a:xfrm>
            <a:off x="1332078" y="1440000"/>
            <a:ext cx="21718260" cy="2517952"/>
          </a:xfrm>
          <a:prstGeom prst="rect">
            <a:avLst/>
          </a:prstGeom>
          <a:noFill/>
          <a:effectLst/>
        </p:spPr>
        <p:txBody>
          <a:bodyPr wrap="square" lIns="108000" tIns="180000" rIns="108000" bIns="180000">
            <a:spAutoFit/>
          </a:bodyPr>
          <a:lstStyle>
            <a:lvl1pPr marL="237048" indent="0">
              <a:spcAft>
                <a:spcPts val="1200"/>
              </a:spcAft>
              <a:buNone/>
              <a:tabLst/>
              <a:defRPr sz="4800" b="1" cap="none" spc="0">
                <a:solidFill>
                  <a:schemeClr val="tx1">
                    <a:lumMod val="90000"/>
                    <a:lumOff val="10000"/>
                  </a:schemeClr>
                </a:solidFill>
                <a:latin typeface="+mj-lt"/>
              </a:defRPr>
            </a:lvl1pPr>
            <a:lvl2pPr marL="239982" indent="0">
              <a:spcBef>
                <a:spcPts val="0"/>
              </a:spcBef>
              <a:spcAft>
                <a:spcPts val="1200"/>
              </a:spcAft>
              <a:buNone/>
              <a:tabLst/>
              <a:defRPr sz="3600" b="0">
                <a:solidFill>
                  <a:schemeClr val="tx1">
                    <a:lumMod val="75000"/>
                    <a:lumOff val="25000"/>
                  </a:schemeClr>
                </a:solidFill>
                <a:latin typeface="+mj-lt"/>
              </a:defRPr>
            </a:lvl2pPr>
            <a:lvl3pPr marL="895305" indent="-536549" defTabSz="1254063">
              <a:spcBef>
                <a:spcPts val="0"/>
              </a:spcBef>
              <a:spcAft>
                <a:spcPts val="1200"/>
              </a:spcAft>
              <a:buFont typeface="Arial" panose="020B0604020202020204" pitchFamily="34" charset="0"/>
              <a:buChar char="•"/>
              <a:tabLst/>
              <a:defRPr lang="en-GB" sz="3600" kern="1200" noProof="0" dirty="0" smtClean="0">
                <a:solidFill>
                  <a:schemeClr val="tx1">
                    <a:lumMod val="75000"/>
                    <a:lumOff val="25000"/>
                  </a:schemeClr>
                </a:solidFill>
                <a:latin typeface="Verdana"/>
                <a:ea typeface="+mn-ea"/>
                <a:cs typeface="Verdana"/>
              </a:defRPr>
            </a:lvl3pPr>
            <a:lvl4pPr marL="1254063" indent="-536549">
              <a:spcBef>
                <a:spcPts val="0"/>
              </a:spcBef>
              <a:spcAft>
                <a:spcPts val="1200"/>
              </a:spcAft>
              <a:buFont typeface="Arial" charset="0"/>
              <a:buChar char="•"/>
              <a:tabLst/>
              <a:defRPr sz="3200">
                <a:solidFill>
                  <a:schemeClr val="tx1">
                    <a:lumMod val="75000"/>
                    <a:lumOff val="25000"/>
                  </a:schemeClr>
                </a:solidFill>
              </a:defRPr>
            </a:lvl4pPr>
            <a:lvl5pPr marL="1443460" indent="-461401">
              <a:spcBef>
                <a:spcPts val="0"/>
              </a:spcBef>
              <a:spcAft>
                <a:spcPts val="1200"/>
              </a:spcAft>
              <a:buFont typeface="Arial" charset="0"/>
              <a:buChar char="•"/>
              <a:tabLst/>
              <a:defRPr sz="3200">
                <a:solidFill>
                  <a:schemeClr val="tx1">
                    <a:lumMod val="75000"/>
                    <a:lumOff val="25000"/>
                  </a:schemeClr>
                </a:solidFill>
              </a:defRPr>
            </a:lvl5pPr>
          </a:lstStyle>
          <a:p>
            <a:pPr lvl="0"/>
            <a:r>
              <a:rPr lang="en-GB" noProof="0"/>
              <a:t>Main headline</a:t>
            </a:r>
          </a:p>
          <a:p>
            <a:pPr lvl="1"/>
            <a:r>
              <a:rPr lang="en-GB" noProof="0"/>
              <a:t>Body</a:t>
            </a:r>
          </a:p>
          <a:p>
            <a:pPr lvl="2"/>
            <a:r>
              <a:rPr lang="en-GB" noProof="0"/>
              <a:t>Bullet</a:t>
            </a:r>
          </a:p>
        </p:txBody>
      </p:sp>
    </p:spTree>
    <p:extLst>
      <p:ext uri="{BB962C8B-B14F-4D97-AF65-F5344CB8AC3E}">
        <p14:creationId xmlns:p14="http://schemas.microsoft.com/office/powerpoint/2010/main" val="1284358341"/>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Fullscreen image + text">
    <p:spTree>
      <p:nvGrpSpPr>
        <p:cNvPr id="1" name=""/>
        <p:cNvGrpSpPr/>
        <p:nvPr/>
      </p:nvGrpSpPr>
      <p:grpSpPr>
        <a:xfrm>
          <a:off x="0" y="0"/>
          <a:ext cx="0" cy="0"/>
          <a:chOff x="0" y="0"/>
          <a:chExt cx="0" cy="0"/>
        </a:xfrm>
      </p:grpSpPr>
      <p:sp>
        <p:nvSpPr>
          <p:cNvPr id="7" name="Picture Placeholder 4"/>
          <p:cNvSpPr>
            <a:spLocks noGrp="1"/>
          </p:cNvSpPr>
          <p:nvPr>
            <p:ph type="pic" sz="quarter" idx="10" hasCustomPrompt="1"/>
          </p:nvPr>
        </p:nvSpPr>
        <p:spPr>
          <a:xfrm>
            <a:off x="0" y="0"/>
            <a:ext cx="24382413" cy="13716000"/>
          </a:xfrm>
          <a:prstGeom prst="rect">
            <a:avLst/>
          </a:prstGeom>
        </p:spPr>
        <p:txBody>
          <a:bodyPr/>
          <a:lstStyle>
            <a:lvl1pPr marL="237048" indent="0" algn="l">
              <a:buNone/>
              <a:defRPr b="1" baseline="0">
                <a:solidFill>
                  <a:schemeClr val="bg2"/>
                </a:solidFill>
              </a:defRPr>
            </a:lvl1pPr>
          </a:lstStyle>
          <a:p>
            <a:r>
              <a:rPr lang="en-GB"/>
              <a:t>Drop background picture here</a:t>
            </a:r>
          </a:p>
        </p:txBody>
      </p:sp>
      <p:sp>
        <p:nvSpPr>
          <p:cNvPr id="4" name="Text Placeholder 2"/>
          <p:cNvSpPr>
            <a:spLocks noGrp="1"/>
          </p:cNvSpPr>
          <p:nvPr>
            <p:ph type="body" sz="quarter" idx="14" hasCustomPrompt="1"/>
          </p:nvPr>
        </p:nvSpPr>
        <p:spPr>
          <a:xfrm>
            <a:off x="14791989" y="1134930"/>
            <a:ext cx="7679500" cy="10081712"/>
          </a:xfrm>
          <a:prstGeom prst="rect">
            <a:avLst/>
          </a:prstGeom>
          <a:solidFill>
            <a:schemeClr val="bg1"/>
          </a:solidFill>
          <a:effectLst>
            <a:outerShdw blurRad="38100" dist="12700" dir="2700000" algn="tl" rotWithShape="0">
              <a:prstClr val="black">
                <a:alpha val="30000"/>
              </a:prstClr>
            </a:outerShdw>
          </a:effectLst>
        </p:spPr>
        <p:txBody>
          <a:bodyPr lIns="108000" tIns="180000" rIns="108000" bIns="108000">
            <a:noAutofit/>
          </a:bodyPr>
          <a:lstStyle>
            <a:lvl1pPr marL="237048" indent="0">
              <a:spcAft>
                <a:spcPts val="1200"/>
              </a:spcAft>
              <a:buNone/>
              <a:tabLst/>
              <a:defRPr sz="4800" b="1" cap="none" spc="0">
                <a:solidFill>
                  <a:schemeClr val="tx1">
                    <a:lumMod val="90000"/>
                    <a:lumOff val="10000"/>
                  </a:schemeClr>
                </a:solidFill>
                <a:latin typeface="+mj-lt"/>
              </a:defRPr>
            </a:lvl1pPr>
            <a:lvl2pPr marL="239982" indent="0">
              <a:spcBef>
                <a:spcPts val="0"/>
              </a:spcBef>
              <a:spcAft>
                <a:spcPts val="1200"/>
              </a:spcAft>
              <a:buNone/>
              <a:tabLst/>
              <a:defRPr sz="3600" b="0">
                <a:solidFill>
                  <a:schemeClr val="tx1">
                    <a:lumMod val="90000"/>
                    <a:lumOff val="10000"/>
                  </a:schemeClr>
                </a:solidFill>
                <a:latin typeface="+mj-lt"/>
              </a:defRPr>
            </a:lvl2pPr>
            <a:lvl3pPr marL="895305" indent="-536549" defTabSz="1254063">
              <a:spcBef>
                <a:spcPts val="0"/>
              </a:spcBef>
              <a:spcAft>
                <a:spcPts val="1200"/>
              </a:spcAft>
              <a:buFont typeface="Arial" panose="020B0604020202020204" pitchFamily="34" charset="0"/>
              <a:buChar char="•"/>
              <a:tabLst/>
              <a:defRPr lang="en-GB" sz="3600" kern="1200" noProof="0" dirty="0" smtClean="0">
                <a:solidFill>
                  <a:schemeClr val="tx1">
                    <a:lumMod val="90000"/>
                    <a:lumOff val="10000"/>
                  </a:schemeClr>
                </a:solidFill>
                <a:latin typeface="Verdana"/>
                <a:ea typeface="+mn-ea"/>
                <a:cs typeface="Verdana"/>
              </a:defRPr>
            </a:lvl3pPr>
            <a:lvl4pPr marL="1254063" indent="-536549">
              <a:spcBef>
                <a:spcPts val="0"/>
              </a:spcBef>
              <a:spcAft>
                <a:spcPts val="1200"/>
              </a:spcAft>
              <a:buFont typeface="Arial" charset="0"/>
              <a:buChar char="•"/>
              <a:tabLst/>
              <a:defRPr sz="3200">
                <a:solidFill>
                  <a:schemeClr val="tx1">
                    <a:lumMod val="90000"/>
                    <a:lumOff val="10000"/>
                  </a:schemeClr>
                </a:solidFill>
              </a:defRPr>
            </a:lvl4pPr>
            <a:lvl5pPr marL="1443460" indent="-461401">
              <a:spcBef>
                <a:spcPts val="0"/>
              </a:spcBef>
              <a:spcAft>
                <a:spcPts val="1200"/>
              </a:spcAft>
              <a:buFont typeface="Arial" charset="0"/>
              <a:buChar char="•"/>
              <a:tabLst/>
              <a:defRPr sz="3200">
                <a:solidFill>
                  <a:schemeClr val="tx1">
                    <a:lumMod val="90000"/>
                    <a:lumOff val="10000"/>
                  </a:schemeClr>
                </a:solidFill>
              </a:defRPr>
            </a:lvl5pPr>
          </a:lstStyle>
          <a:p>
            <a:pPr lvl="0"/>
            <a:r>
              <a:rPr lang="en-GB" noProof="0"/>
              <a:t>Main headline</a:t>
            </a:r>
          </a:p>
          <a:p>
            <a:pPr lvl="1"/>
            <a:r>
              <a:rPr lang="en-GB" noProof="0"/>
              <a:t>Body</a:t>
            </a:r>
          </a:p>
          <a:p>
            <a:pPr lvl="2"/>
            <a:r>
              <a:rPr lang="en-GB" noProof="0"/>
              <a:t>Bullet</a:t>
            </a:r>
          </a:p>
          <a:p>
            <a:pPr lvl="3"/>
            <a:r>
              <a:rPr lang="en-GB" noProof="0"/>
              <a:t>Bullet lvl2</a:t>
            </a:r>
          </a:p>
          <a:p>
            <a:pPr lvl="4"/>
            <a:r>
              <a:rPr lang="en-GB" noProof="0"/>
              <a:t>Bullet lvl3</a:t>
            </a:r>
          </a:p>
        </p:txBody>
      </p:sp>
    </p:spTree>
    <p:extLst>
      <p:ext uri="{BB962C8B-B14F-4D97-AF65-F5344CB8AC3E}">
        <p14:creationId xmlns:p14="http://schemas.microsoft.com/office/powerpoint/2010/main" val="322578472"/>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lean blue">
    <p:bg>
      <p:bgPr>
        <a:solidFill>
          <a:schemeClr val="accent2">
            <a:lumMod val="40000"/>
            <a:lumOff val="6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1073951"/>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lean blue with headline">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2" name="Text Placeholder 2"/>
          <p:cNvSpPr>
            <a:spLocks noGrp="1"/>
          </p:cNvSpPr>
          <p:nvPr>
            <p:ph type="body" sz="quarter" idx="15" hasCustomPrompt="1"/>
          </p:nvPr>
        </p:nvSpPr>
        <p:spPr>
          <a:xfrm>
            <a:off x="1332078" y="1440000"/>
            <a:ext cx="21718260" cy="2517952"/>
          </a:xfrm>
          <a:prstGeom prst="rect">
            <a:avLst/>
          </a:prstGeom>
          <a:noFill/>
          <a:effectLst/>
        </p:spPr>
        <p:txBody>
          <a:bodyPr wrap="square" lIns="108000" tIns="180000" rIns="108000" bIns="180000">
            <a:spAutoFit/>
          </a:bodyPr>
          <a:lstStyle>
            <a:lvl1pPr marL="237048" indent="0">
              <a:spcAft>
                <a:spcPts val="1200"/>
              </a:spcAft>
              <a:buNone/>
              <a:tabLst/>
              <a:defRPr sz="4800" b="1" cap="none" spc="0">
                <a:solidFill>
                  <a:schemeClr val="bg1"/>
                </a:solidFill>
                <a:latin typeface="+mj-lt"/>
              </a:defRPr>
            </a:lvl1pPr>
            <a:lvl2pPr marL="239982" indent="0">
              <a:spcBef>
                <a:spcPts val="0"/>
              </a:spcBef>
              <a:spcAft>
                <a:spcPts val="1200"/>
              </a:spcAft>
              <a:buNone/>
              <a:tabLst/>
              <a:defRPr sz="3600" b="0">
                <a:solidFill>
                  <a:schemeClr val="bg1"/>
                </a:solidFill>
                <a:latin typeface="+mj-lt"/>
              </a:defRPr>
            </a:lvl2pPr>
            <a:lvl3pPr marL="895305" indent="-536549" defTabSz="1254063">
              <a:spcBef>
                <a:spcPts val="0"/>
              </a:spcBef>
              <a:spcAft>
                <a:spcPts val="1200"/>
              </a:spcAft>
              <a:buFont typeface="Arial" panose="020B0604020202020204" pitchFamily="34" charset="0"/>
              <a:buChar char="•"/>
              <a:tabLst/>
              <a:defRPr lang="en-GB" sz="3600" kern="1200" noProof="0" dirty="0" smtClean="0">
                <a:solidFill>
                  <a:schemeClr val="bg1"/>
                </a:solidFill>
                <a:latin typeface="Verdana"/>
                <a:ea typeface="+mn-ea"/>
                <a:cs typeface="Verdana"/>
              </a:defRPr>
            </a:lvl3pPr>
            <a:lvl4pPr marL="1254063" indent="-536549">
              <a:spcBef>
                <a:spcPts val="0"/>
              </a:spcBef>
              <a:spcAft>
                <a:spcPts val="1200"/>
              </a:spcAft>
              <a:buFont typeface="Arial" charset="0"/>
              <a:buChar char="•"/>
              <a:tabLst/>
              <a:defRPr sz="3200">
                <a:solidFill>
                  <a:schemeClr val="tx1">
                    <a:lumMod val="75000"/>
                    <a:lumOff val="25000"/>
                  </a:schemeClr>
                </a:solidFill>
              </a:defRPr>
            </a:lvl4pPr>
            <a:lvl5pPr marL="1443460" indent="-461401">
              <a:spcBef>
                <a:spcPts val="0"/>
              </a:spcBef>
              <a:spcAft>
                <a:spcPts val="1200"/>
              </a:spcAft>
              <a:buFont typeface="Arial" charset="0"/>
              <a:buChar char="•"/>
              <a:tabLst/>
              <a:defRPr sz="3200">
                <a:solidFill>
                  <a:schemeClr val="tx1">
                    <a:lumMod val="75000"/>
                    <a:lumOff val="25000"/>
                  </a:schemeClr>
                </a:solidFill>
              </a:defRPr>
            </a:lvl5pPr>
          </a:lstStyle>
          <a:p>
            <a:pPr lvl="0"/>
            <a:r>
              <a:rPr lang="en-GB" noProof="0"/>
              <a:t>Main headline</a:t>
            </a:r>
          </a:p>
          <a:p>
            <a:pPr lvl="1"/>
            <a:r>
              <a:rPr lang="en-GB" noProof="0"/>
              <a:t>Body</a:t>
            </a:r>
          </a:p>
          <a:p>
            <a:pPr lvl="2"/>
            <a:r>
              <a:rPr lang="en-GB" noProof="0"/>
              <a:t>Bullet</a:t>
            </a:r>
          </a:p>
        </p:txBody>
      </p:sp>
    </p:spTree>
    <p:extLst>
      <p:ext uri="{BB962C8B-B14F-4D97-AF65-F5344CB8AC3E}">
        <p14:creationId xmlns:p14="http://schemas.microsoft.com/office/powerpoint/2010/main" val="580152255"/>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lean blue + text">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4" hasCustomPrompt="1"/>
          </p:nvPr>
        </p:nvSpPr>
        <p:spPr>
          <a:xfrm>
            <a:off x="14791989" y="1134930"/>
            <a:ext cx="7679500" cy="10081712"/>
          </a:xfrm>
          <a:prstGeom prst="rect">
            <a:avLst/>
          </a:prstGeom>
          <a:solidFill>
            <a:schemeClr val="bg1"/>
          </a:solidFill>
          <a:effectLst>
            <a:outerShdw blurRad="38100" dist="12700" dir="2700000" algn="tl" rotWithShape="0">
              <a:prstClr val="black">
                <a:alpha val="30000"/>
              </a:prstClr>
            </a:outerShdw>
          </a:effectLst>
        </p:spPr>
        <p:txBody>
          <a:bodyPr lIns="108000" tIns="180000" rIns="108000" bIns="108000">
            <a:noAutofit/>
          </a:bodyPr>
          <a:lstStyle>
            <a:lvl1pPr marL="237048" indent="0">
              <a:spcAft>
                <a:spcPts val="1200"/>
              </a:spcAft>
              <a:buNone/>
              <a:tabLst/>
              <a:defRPr sz="4800" b="1" cap="none" spc="0">
                <a:solidFill>
                  <a:schemeClr val="tx1">
                    <a:lumMod val="75000"/>
                    <a:lumOff val="25000"/>
                  </a:schemeClr>
                </a:solidFill>
                <a:latin typeface="+mj-lt"/>
              </a:defRPr>
            </a:lvl1pPr>
            <a:lvl2pPr marL="239982" indent="0">
              <a:spcBef>
                <a:spcPts val="0"/>
              </a:spcBef>
              <a:spcAft>
                <a:spcPts val="1200"/>
              </a:spcAft>
              <a:buNone/>
              <a:tabLst/>
              <a:defRPr sz="3600" b="0">
                <a:solidFill>
                  <a:schemeClr val="tx1">
                    <a:lumMod val="75000"/>
                    <a:lumOff val="25000"/>
                  </a:schemeClr>
                </a:solidFill>
                <a:latin typeface="+mj-lt"/>
              </a:defRPr>
            </a:lvl2pPr>
            <a:lvl3pPr marL="895305" indent="-536549" defTabSz="1254063">
              <a:spcBef>
                <a:spcPts val="0"/>
              </a:spcBef>
              <a:spcAft>
                <a:spcPts val="1200"/>
              </a:spcAft>
              <a:buFont typeface="Arial" panose="020B0604020202020204" pitchFamily="34" charset="0"/>
              <a:buChar char="•"/>
              <a:tabLst/>
              <a:defRPr lang="en-GB" sz="3600" kern="1200" noProof="0" dirty="0" smtClean="0">
                <a:solidFill>
                  <a:schemeClr val="tx1">
                    <a:lumMod val="75000"/>
                    <a:lumOff val="25000"/>
                  </a:schemeClr>
                </a:solidFill>
                <a:latin typeface="Verdana"/>
                <a:ea typeface="+mn-ea"/>
                <a:cs typeface="Verdana"/>
              </a:defRPr>
            </a:lvl3pPr>
            <a:lvl4pPr marL="1254063" indent="-536549">
              <a:spcBef>
                <a:spcPts val="0"/>
              </a:spcBef>
              <a:spcAft>
                <a:spcPts val="1200"/>
              </a:spcAft>
              <a:buFont typeface="Arial" charset="0"/>
              <a:buChar char="•"/>
              <a:tabLst/>
              <a:defRPr sz="3200">
                <a:solidFill>
                  <a:schemeClr val="tx1">
                    <a:lumMod val="75000"/>
                    <a:lumOff val="25000"/>
                  </a:schemeClr>
                </a:solidFill>
              </a:defRPr>
            </a:lvl4pPr>
            <a:lvl5pPr marL="1443460" indent="-461401">
              <a:spcBef>
                <a:spcPts val="0"/>
              </a:spcBef>
              <a:spcAft>
                <a:spcPts val="1200"/>
              </a:spcAft>
              <a:buFont typeface="Arial" charset="0"/>
              <a:buChar char="•"/>
              <a:tabLst/>
              <a:defRPr sz="3200">
                <a:solidFill>
                  <a:schemeClr val="tx1">
                    <a:lumMod val="75000"/>
                    <a:lumOff val="25000"/>
                  </a:schemeClr>
                </a:solidFill>
              </a:defRPr>
            </a:lvl5pPr>
          </a:lstStyle>
          <a:p>
            <a:pPr lvl="0"/>
            <a:r>
              <a:rPr lang="en-GB" noProof="0"/>
              <a:t>Main headline</a:t>
            </a:r>
          </a:p>
          <a:p>
            <a:pPr lvl="1"/>
            <a:r>
              <a:rPr lang="en-GB" noProof="0"/>
              <a:t>Body</a:t>
            </a:r>
          </a:p>
          <a:p>
            <a:pPr lvl="2"/>
            <a:r>
              <a:rPr lang="en-GB" noProof="0"/>
              <a:t>Bullet</a:t>
            </a:r>
          </a:p>
          <a:p>
            <a:pPr lvl="3"/>
            <a:r>
              <a:rPr lang="en-GB" noProof="0"/>
              <a:t>Bullet lvl2</a:t>
            </a:r>
          </a:p>
          <a:p>
            <a:pPr lvl="4"/>
            <a:r>
              <a:rPr lang="en-GB" noProof="0"/>
              <a:t>Bullet lvl3</a:t>
            </a:r>
          </a:p>
        </p:txBody>
      </p:sp>
    </p:spTree>
    <p:extLst>
      <p:ext uri="{BB962C8B-B14F-4D97-AF65-F5344CB8AC3E}">
        <p14:creationId xmlns:p14="http://schemas.microsoft.com/office/powerpoint/2010/main" val="4085059620"/>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itle on white background with IKEA logo">
    <p:bg>
      <p:bgPr>
        <a:solidFill>
          <a:schemeClr val="bg1"/>
        </a:solidFill>
        <a:effectLst/>
      </p:bgPr>
    </p:bg>
    <p:spTree>
      <p:nvGrpSpPr>
        <p:cNvPr id="1" name=""/>
        <p:cNvGrpSpPr/>
        <p:nvPr/>
      </p:nvGrpSpPr>
      <p:grpSpPr>
        <a:xfrm>
          <a:off x="0" y="0"/>
          <a:ext cx="0" cy="0"/>
          <a:chOff x="0" y="0"/>
          <a:chExt cx="0" cy="0"/>
        </a:xfrm>
      </p:grpSpPr>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1677491" y="1677601"/>
            <a:ext cx="21029831" cy="4013370"/>
          </a:xfrm>
          <a:prstGeom prst="rect">
            <a:avLst/>
          </a:prstGeom>
        </p:spPr>
        <p:txBody>
          <a:bodyPr vert="horz" lIns="91440" tIns="45720" rIns="91440" bIns="45720" rtlCol="0" anchor="t">
            <a:noAutofit/>
          </a:bodyPr>
          <a:lstStyle>
            <a:lvl1pPr>
              <a:defRPr/>
            </a:lvl1pPr>
          </a:lstStyle>
          <a:p>
            <a:r>
              <a:rPr lang="en-GB" noProof="0"/>
              <a:t>Put the title here,</a:t>
            </a:r>
            <a:br>
              <a:rPr lang="en-GB" noProof="0"/>
            </a:br>
            <a:r>
              <a:rPr lang="en-GB" noProof="0"/>
              <a:t>keep it bold 60 pt</a:t>
            </a:r>
          </a:p>
        </p:txBody>
      </p:sp>
      <p:sp>
        <p:nvSpPr>
          <p:cNvPr id="10" name="Text Placeholder 6">
            <a:extLst>
              <a:ext uri="{FF2B5EF4-FFF2-40B4-BE49-F238E27FC236}">
                <a16:creationId xmlns:a16="http://schemas.microsoft.com/office/drawing/2014/main" id="{ECC773ED-664B-824F-91D1-6C08CFB17BDA}"/>
              </a:ext>
            </a:extLst>
          </p:cNvPr>
          <p:cNvSpPr>
            <a:spLocks noGrp="1"/>
          </p:cNvSpPr>
          <p:nvPr>
            <p:ph type="body" sz="quarter" idx="13" hasCustomPrompt="1"/>
          </p:nvPr>
        </p:nvSpPr>
        <p:spPr>
          <a:xfrm>
            <a:off x="1700166" y="6137279"/>
            <a:ext cx="10657784" cy="3457030"/>
          </a:xfrm>
        </p:spPr>
        <p:txBody>
          <a:bodyPr/>
          <a:lstStyle>
            <a:lvl1pPr>
              <a:spcBef>
                <a:spcPts val="0"/>
              </a:spcBef>
              <a:defRPr sz="3600"/>
            </a:lvl1pPr>
          </a:lstStyle>
          <a:p>
            <a:pPr lvl="0"/>
            <a:r>
              <a:rPr lang="en-GB" noProof="0"/>
              <a:t>Put the subtitle here,</a:t>
            </a:r>
            <a:br>
              <a:rPr lang="en-GB" noProof="0"/>
            </a:br>
            <a:r>
              <a:rPr lang="en-GB" noProof="0"/>
              <a:t>keep it regular 18 </a:t>
            </a:r>
            <a:r>
              <a:rPr lang="en-GB" noProof="0" err="1"/>
              <a:t>pt</a:t>
            </a:r>
            <a:endParaRPr lang="en-GB" noProof="0"/>
          </a:p>
        </p:txBody>
      </p:sp>
      <p:sp>
        <p:nvSpPr>
          <p:cNvPr id="2" name="Footer Placeholder 1">
            <a:extLst>
              <a:ext uri="{FF2B5EF4-FFF2-40B4-BE49-F238E27FC236}">
                <a16:creationId xmlns:a16="http://schemas.microsoft.com/office/drawing/2014/main" id="{4F10DFEF-CCD5-CB42-BD22-BCB3D997661B}"/>
              </a:ext>
            </a:extLst>
          </p:cNvPr>
          <p:cNvSpPr>
            <a:spLocks noGrp="1"/>
          </p:cNvSpPr>
          <p:nvPr>
            <p:ph type="ftr" sz="quarter" idx="15"/>
          </p:nvPr>
        </p:nvSpPr>
        <p:spPr>
          <a:xfrm>
            <a:off x="1676291" y="12762655"/>
            <a:ext cx="10514916" cy="586238"/>
          </a:xfrm>
          <a:prstGeom prst="rect">
            <a:avLst/>
          </a:prstGeom>
        </p:spPr>
        <p:txBody>
          <a:bodyPr/>
          <a:lstStyle/>
          <a:p>
            <a:endParaRPr lang="en-GB">
              <a:solidFill>
                <a:srgbClr val="000000">
                  <a:tint val="75000"/>
                </a:srgbClr>
              </a:solidFill>
            </a:endParaRPr>
          </a:p>
        </p:txBody>
      </p:sp>
      <p:pic>
        <p:nvPicPr>
          <p:cNvPr id="7" name="Picture 6">
            <a:extLst>
              <a:ext uri="{FF2B5EF4-FFF2-40B4-BE49-F238E27FC236}">
                <a16:creationId xmlns:a16="http://schemas.microsoft.com/office/drawing/2014/main" id="{1B54746A-F2B1-D64D-A6FD-BA620F3BF86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570073" y="10514133"/>
            <a:ext cx="4812341" cy="3236442"/>
          </a:xfrm>
          <a:prstGeom prst="rect">
            <a:avLst/>
          </a:prstGeom>
        </p:spPr>
      </p:pic>
    </p:spTree>
    <p:extLst>
      <p:ext uri="{BB962C8B-B14F-4D97-AF65-F5344CB8AC3E}">
        <p14:creationId xmlns:p14="http://schemas.microsoft.com/office/powerpoint/2010/main" val="822758640"/>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Agenda/contents">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90F7D97-7943-F74E-8640-D30812E6AB99}"/>
              </a:ext>
            </a:extLst>
          </p:cNvPr>
          <p:cNvSpPr>
            <a:spLocks noGrp="1"/>
          </p:cNvSpPr>
          <p:nvPr>
            <p:ph type="title" hasCustomPrompt="1"/>
          </p:nvPr>
        </p:nvSpPr>
        <p:spPr>
          <a:xfrm>
            <a:off x="1676291" y="1677601"/>
            <a:ext cx="10514916" cy="2304454"/>
          </a:xfrm>
          <a:prstGeom prst="rect">
            <a:avLst/>
          </a:prstGeom>
        </p:spPr>
        <p:txBody>
          <a:bodyPr/>
          <a:lstStyle>
            <a:lvl1pPr>
              <a:lnSpc>
                <a:spcPct val="100000"/>
              </a:lnSpc>
              <a:defRPr sz="6400"/>
            </a:lvl1pPr>
          </a:lstStyle>
          <a:p>
            <a:r>
              <a:rPr lang="en-GB" noProof="0"/>
              <a:t>Agenda or contents</a:t>
            </a:r>
          </a:p>
        </p:txBody>
      </p:sp>
      <p:sp>
        <p:nvSpPr>
          <p:cNvPr id="10" name="Text Placeholder 9">
            <a:extLst>
              <a:ext uri="{FF2B5EF4-FFF2-40B4-BE49-F238E27FC236}">
                <a16:creationId xmlns:a16="http://schemas.microsoft.com/office/drawing/2014/main" id="{E234D5AF-452C-2E41-B572-1BD2DC3468B0}"/>
              </a:ext>
            </a:extLst>
          </p:cNvPr>
          <p:cNvSpPr>
            <a:spLocks noGrp="1"/>
          </p:cNvSpPr>
          <p:nvPr>
            <p:ph type="body" sz="quarter" idx="11" hasCustomPrompt="1"/>
          </p:nvPr>
        </p:nvSpPr>
        <p:spPr>
          <a:xfrm>
            <a:off x="1676291" y="4409731"/>
            <a:ext cx="10514916" cy="7633046"/>
          </a:xfrm>
        </p:spPr>
        <p:txBody>
          <a:bodyPr lIns="90000" rIns="90000">
            <a:noAutofit/>
          </a:bodyPr>
          <a:lstStyle>
            <a:lvl1pPr marL="0" marR="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sz="3600"/>
            </a:lvl1pPr>
            <a:lvl2pPr marL="914332" marR="0" indent="0" algn="l" defTabSz="1828663" rtl="0" eaLnBrk="1" fontAlgn="auto" latinLnBrk="0" hangingPunct="1">
              <a:lnSpc>
                <a:spcPct val="100000"/>
              </a:lnSpc>
              <a:spcBef>
                <a:spcPts val="1000"/>
              </a:spcBef>
              <a:spcAft>
                <a:spcPts val="0"/>
              </a:spcAft>
              <a:buClrTx/>
              <a:buSzTx/>
              <a:buFont typeface="Arial" panose="020B0604020202020204" pitchFamily="34" charset="0"/>
              <a:buNone/>
              <a:tabLst/>
              <a:defRPr sz="3600"/>
            </a:lvl2pPr>
          </a:lstStyle>
          <a:p>
            <a:pPr lvl="0"/>
            <a:r>
              <a:rPr lang="en-GB" noProof="0"/>
              <a:t>Put the agenda topic here, </a:t>
            </a:r>
            <a:br>
              <a:rPr lang="en-GB" noProof="0"/>
            </a:br>
            <a:r>
              <a:rPr lang="en-GB" noProof="0"/>
              <a:t>keep it regular 18 </a:t>
            </a:r>
            <a:r>
              <a:rPr lang="en-GB" noProof="0" err="1"/>
              <a:t>pt</a:t>
            </a:r>
            <a:endParaRPr lang="en-GB" noProof="0"/>
          </a:p>
        </p:txBody>
      </p:sp>
      <p:sp>
        <p:nvSpPr>
          <p:cNvPr id="11" name="TextBox 10">
            <a:extLst>
              <a:ext uri="{FF2B5EF4-FFF2-40B4-BE49-F238E27FC236}">
                <a16:creationId xmlns:a16="http://schemas.microsoft.com/office/drawing/2014/main" id="{97F7DB04-77BF-2E44-B6B3-908B7D2114B5}"/>
              </a:ext>
            </a:extLst>
          </p:cNvPr>
          <p:cNvSpPr txBox="1"/>
          <p:nvPr/>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smtClean="0">
                <a:solidFill>
                  <a:srgbClr val="000000"/>
                </a:solidFill>
              </a:rPr>
              <a:pPr algn="r"/>
              <a:t>‹#›</a:t>
            </a:fld>
            <a:endParaRPr lang="en-GB" sz="2000">
              <a:solidFill>
                <a:srgbClr val="000000"/>
              </a:solidFill>
            </a:endParaRPr>
          </a:p>
        </p:txBody>
      </p:sp>
      <p:sp>
        <p:nvSpPr>
          <p:cNvPr id="4" name="Footer Placeholder 3">
            <a:extLst>
              <a:ext uri="{FF2B5EF4-FFF2-40B4-BE49-F238E27FC236}">
                <a16:creationId xmlns:a16="http://schemas.microsoft.com/office/drawing/2014/main" id="{230E9C2F-08A9-3749-8604-85EB4B9FE365}"/>
              </a:ext>
            </a:extLst>
          </p:cNvPr>
          <p:cNvSpPr>
            <a:spLocks noGrp="1"/>
          </p:cNvSpPr>
          <p:nvPr>
            <p:ph type="ftr" sz="quarter" idx="12"/>
          </p:nvPr>
        </p:nvSpPr>
        <p:spPr>
          <a:xfrm>
            <a:off x="1676291" y="12762656"/>
            <a:ext cx="10514916" cy="586236"/>
          </a:xfrm>
          <a:prstGeom prst="rect">
            <a:avLst/>
          </a:prstGeom>
        </p:spPr>
        <p:txBody>
          <a:bodyPr/>
          <a:lstStyle/>
          <a:p>
            <a:endParaRPr lang="en-GB">
              <a:solidFill>
                <a:srgbClr val="000000">
                  <a:tint val="75000"/>
                </a:srgbClr>
              </a:solidFill>
            </a:endParaRPr>
          </a:p>
        </p:txBody>
      </p:sp>
    </p:spTree>
    <p:extLst>
      <p:ext uri="{BB962C8B-B14F-4D97-AF65-F5344CB8AC3E}">
        <p14:creationId xmlns:p14="http://schemas.microsoft.com/office/powerpoint/2010/main" val="1515822116"/>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Heading and blank">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7A67F5F-7995-864E-A3B0-B870396AC450}"/>
              </a:ext>
            </a:extLst>
          </p:cNvPr>
          <p:cNvSpPr txBox="1"/>
          <p:nvPr/>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smtClean="0">
                <a:solidFill>
                  <a:srgbClr val="000000"/>
                </a:solidFill>
              </a:rPr>
              <a:pPr algn="r"/>
              <a:t>‹#›</a:t>
            </a:fld>
            <a:endParaRPr lang="en-GB" sz="2000">
              <a:solidFill>
                <a:srgbClr val="000000"/>
              </a:solidFill>
            </a:endParaRPr>
          </a:p>
        </p:txBody>
      </p:sp>
      <p:sp>
        <p:nvSpPr>
          <p:cNvPr id="7" name="Footer Placeholder 1">
            <a:extLst>
              <a:ext uri="{FF2B5EF4-FFF2-40B4-BE49-F238E27FC236}">
                <a16:creationId xmlns:a16="http://schemas.microsoft.com/office/drawing/2014/main" id="{500049F7-B9FA-B848-9517-EB2FF545957D}"/>
              </a:ext>
            </a:extLst>
          </p:cNvPr>
          <p:cNvSpPr>
            <a:spLocks noGrp="1"/>
          </p:cNvSpPr>
          <p:nvPr>
            <p:ph type="ftr" sz="quarter" idx="15"/>
          </p:nvPr>
        </p:nvSpPr>
        <p:spPr>
          <a:xfrm>
            <a:off x="1676291" y="12762655"/>
            <a:ext cx="10514916" cy="586238"/>
          </a:xfrm>
          <a:prstGeom prst="rect">
            <a:avLst/>
          </a:prstGeom>
        </p:spPr>
        <p:txBody>
          <a:bodyPr/>
          <a:lstStyle/>
          <a:p>
            <a:endParaRPr lang="en-GB">
              <a:solidFill>
                <a:srgbClr val="000000">
                  <a:tint val="75000"/>
                </a:srgbClr>
              </a:solidFill>
            </a:endParaRPr>
          </a:p>
        </p:txBody>
      </p:sp>
      <p:sp>
        <p:nvSpPr>
          <p:cNvPr id="8" name="Title 1">
            <a:extLst>
              <a:ext uri="{FF2B5EF4-FFF2-40B4-BE49-F238E27FC236}">
                <a16:creationId xmlns:a16="http://schemas.microsoft.com/office/drawing/2014/main" id="{553F6C7D-ECC0-674B-A1ED-F01C3FA495FF}"/>
              </a:ext>
            </a:extLst>
          </p:cNvPr>
          <p:cNvSpPr>
            <a:spLocks noGrp="1"/>
          </p:cNvSpPr>
          <p:nvPr>
            <p:ph type="title" hasCustomPrompt="1"/>
          </p:nvPr>
        </p:nvSpPr>
        <p:spPr>
          <a:xfrm>
            <a:off x="1676294" y="1673425"/>
            <a:ext cx="20595377" cy="2304254"/>
          </a:xfrm>
          <a:prstGeom prst="rect">
            <a:avLst/>
          </a:prstGeom>
        </p:spPr>
        <p:txBody>
          <a:bodyPr/>
          <a:lstStyle>
            <a:lvl1pPr>
              <a:lnSpc>
                <a:spcPct val="100000"/>
              </a:lnSpc>
              <a:defRPr sz="6400"/>
            </a:lvl1pPr>
          </a:lstStyle>
          <a:p>
            <a:r>
              <a:rPr lang="en-GB" noProof="0"/>
              <a:t>Put the slide headline here, </a:t>
            </a:r>
            <a:br>
              <a:rPr lang="en-GB" noProof="0"/>
            </a:br>
            <a:r>
              <a:rPr lang="en-GB" noProof="0"/>
              <a:t>keep it bold 28 </a:t>
            </a:r>
            <a:r>
              <a:rPr lang="en-GB" noProof="0" err="1"/>
              <a:t>pt</a:t>
            </a:r>
            <a:endParaRPr lang="en-GB" noProof="0"/>
          </a:p>
        </p:txBody>
      </p:sp>
    </p:spTree>
    <p:extLst>
      <p:ext uri="{BB962C8B-B14F-4D97-AF65-F5344CB8AC3E}">
        <p14:creationId xmlns:p14="http://schemas.microsoft.com/office/powerpoint/2010/main" val="4175773411"/>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_Text in one column">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7A67F5F-7995-864E-A3B0-B870396AC450}"/>
              </a:ext>
            </a:extLst>
          </p:cNvPr>
          <p:cNvSpPr txBox="1"/>
          <p:nvPr/>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smtClean="0">
                <a:solidFill>
                  <a:srgbClr val="000000"/>
                </a:solidFill>
              </a:rPr>
              <a:pPr algn="r"/>
              <a:t>‹#›</a:t>
            </a:fld>
            <a:endParaRPr lang="en-GB" sz="2000">
              <a:solidFill>
                <a:srgbClr val="000000"/>
              </a:solidFill>
            </a:endParaRPr>
          </a:p>
        </p:txBody>
      </p:sp>
      <p:sp>
        <p:nvSpPr>
          <p:cNvPr id="6" name="Text Placeholder 3">
            <a:extLst>
              <a:ext uri="{FF2B5EF4-FFF2-40B4-BE49-F238E27FC236}">
                <a16:creationId xmlns:a16="http://schemas.microsoft.com/office/drawing/2014/main" id="{3397E6F6-DFC7-C54D-9E7E-CD51822BE714}"/>
              </a:ext>
            </a:extLst>
          </p:cNvPr>
          <p:cNvSpPr>
            <a:spLocks noGrp="1"/>
          </p:cNvSpPr>
          <p:nvPr>
            <p:ph type="body" sz="quarter" idx="18" hasCustomPrompt="1"/>
          </p:nvPr>
        </p:nvSpPr>
        <p:spPr>
          <a:xfrm>
            <a:off x="1674329" y="4553745"/>
            <a:ext cx="9650876" cy="7479982"/>
          </a:xfrm>
        </p:spPr>
        <p:txBody>
          <a:bodyPr>
            <a:noAutofit/>
          </a:bodyPr>
          <a:lstStyle>
            <a:lvl1pPr>
              <a:spcBef>
                <a:spcPts val="2000"/>
              </a:spcBef>
              <a:defRPr sz="2800"/>
            </a:lvl1pPr>
          </a:lstStyle>
          <a:p>
            <a:pPr lvl="0"/>
            <a:r>
              <a:rPr lang="en-GB" noProof="0"/>
              <a:t>Put the body text or caption here,</a:t>
            </a:r>
            <a:br>
              <a:rPr lang="en-GB" noProof="0"/>
            </a:br>
            <a:r>
              <a:rPr lang="en-GB" noProof="0"/>
              <a:t>keep it regular 14 </a:t>
            </a:r>
            <a:r>
              <a:rPr lang="en-GB" noProof="0" err="1"/>
              <a:t>pt</a:t>
            </a:r>
            <a:endParaRPr lang="en-GB" noProof="0"/>
          </a:p>
        </p:txBody>
      </p:sp>
      <p:sp>
        <p:nvSpPr>
          <p:cNvPr id="7" name="Footer Placeholder 1">
            <a:extLst>
              <a:ext uri="{FF2B5EF4-FFF2-40B4-BE49-F238E27FC236}">
                <a16:creationId xmlns:a16="http://schemas.microsoft.com/office/drawing/2014/main" id="{500049F7-B9FA-B848-9517-EB2FF545957D}"/>
              </a:ext>
            </a:extLst>
          </p:cNvPr>
          <p:cNvSpPr>
            <a:spLocks noGrp="1"/>
          </p:cNvSpPr>
          <p:nvPr>
            <p:ph type="ftr" sz="quarter" idx="15"/>
          </p:nvPr>
        </p:nvSpPr>
        <p:spPr>
          <a:xfrm>
            <a:off x="1676291" y="12762655"/>
            <a:ext cx="10514916" cy="586238"/>
          </a:xfrm>
          <a:prstGeom prst="rect">
            <a:avLst/>
          </a:prstGeom>
        </p:spPr>
        <p:txBody>
          <a:bodyPr/>
          <a:lstStyle/>
          <a:p>
            <a:endParaRPr lang="en-GB">
              <a:solidFill>
                <a:srgbClr val="000000">
                  <a:tint val="75000"/>
                </a:srgbClr>
              </a:solidFill>
            </a:endParaRPr>
          </a:p>
        </p:txBody>
      </p:sp>
      <p:sp>
        <p:nvSpPr>
          <p:cNvPr id="8" name="Title 1">
            <a:extLst>
              <a:ext uri="{FF2B5EF4-FFF2-40B4-BE49-F238E27FC236}">
                <a16:creationId xmlns:a16="http://schemas.microsoft.com/office/drawing/2014/main" id="{7DF40D39-CAD3-4563-ADD9-8C0B2E95C715}"/>
              </a:ext>
            </a:extLst>
          </p:cNvPr>
          <p:cNvSpPr>
            <a:spLocks noGrp="1"/>
          </p:cNvSpPr>
          <p:nvPr>
            <p:ph type="title" hasCustomPrompt="1"/>
          </p:nvPr>
        </p:nvSpPr>
        <p:spPr>
          <a:xfrm>
            <a:off x="1676294" y="1673425"/>
            <a:ext cx="20595377" cy="2304254"/>
          </a:xfrm>
          <a:prstGeom prst="rect">
            <a:avLst/>
          </a:prstGeom>
        </p:spPr>
        <p:txBody>
          <a:bodyPr/>
          <a:lstStyle>
            <a:lvl1pPr>
              <a:lnSpc>
                <a:spcPct val="100000"/>
              </a:lnSpc>
              <a:defRPr sz="6400"/>
            </a:lvl1pPr>
          </a:lstStyle>
          <a:p>
            <a:r>
              <a:rPr lang="en-GB" noProof="0"/>
              <a:t>Put the slide headline here, </a:t>
            </a:r>
            <a:br>
              <a:rPr lang="en-GB" noProof="0"/>
            </a:br>
            <a:r>
              <a:rPr lang="en-GB" noProof="0"/>
              <a:t>keep it bold 28 </a:t>
            </a:r>
            <a:r>
              <a:rPr lang="en-GB" noProof="0" err="1"/>
              <a:t>pt</a:t>
            </a:r>
            <a:endParaRPr lang="en-GB" noProof="0"/>
          </a:p>
        </p:txBody>
      </p:sp>
    </p:spTree>
    <p:extLst>
      <p:ext uri="{BB962C8B-B14F-4D97-AF65-F5344CB8AC3E}">
        <p14:creationId xmlns:p14="http://schemas.microsoft.com/office/powerpoint/2010/main" val="147180619"/>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ext in two columns">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D5F938B-E5BF-B14A-BD1E-B43861780435}"/>
              </a:ext>
            </a:extLst>
          </p:cNvPr>
          <p:cNvSpPr txBox="1"/>
          <p:nvPr/>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smtClean="0">
                <a:solidFill>
                  <a:srgbClr val="000000"/>
                </a:solidFill>
              </a:rPr>
              <a:pPr algn="r"/>
              <a:t>‹#›</a:t>
            </a:fld>
            <a:endParaRPr lang="en-GB" sz="2000">
              <a:solidFill>
                <a:srgbClr val="000000"/>
              </a:solidFill>
            </a:endParaRPr>
          </a:p>
        </p:txBody>
      </p:sp>
      <p:sp>
        <p:nvSpPr>
          <p:cNvPr id="11" name="Footer Placeholder 1">
            <a:extLst>
              <a:ext uri="{FF2B5EF4-FFF2-40B4-BE49-F238E27FC236}">
                <a16:creationId xmlns:a16="http://schemas.microsoft.com/office/drawing/2014/main" id="{71E47299-58D5-5141-A53D-1CABCA69C084}"/>
              </a:ext>
            </a:extLst>
          </p:cNvPr>
          <p:cNvSpPr>
            <a:spLocks noGrp="1"/>
          </p:cNvSpPr>
          <p:nvPr>
            <p:ph type="ftr" sz="quarter" idx="15"/>
          </p:nvPr>
        </p:nvSpPr>
        <p:spPr>
          <a:xfrm>
            <a:off x="1676291" y="12762655"/>
            <a:ext cx="10514916" cy="586238"/>
          </a:xfrm>
          <a:prstGeom prst="rect">
            <a:avLst/>
          </a:prstGeom>
        </p:spPr>
        <p:txBody>
          <a:bodyPr/>
          <a:lstStyle/>
          <a:p>
            <a:endParaRPr lang="en-GB">
              <a:solidFill>
                <a:srgbClr val="000000">
                  <a:tint val="75000"/>
                </a:srgbClr>
              </a:solidFill>
            </a:endParaRPr>
          </a:p>
        </p:txBody>
      </p:sp>
      <p:sp>
        <p:nvSpPr>
          <p:cNvPr id="13" name="Text Placeholder 3">
            <a:extLst>
              <a:ext uri="{FF2B5EF4-FFF2-40B4-BE49-F238E27FC236}">
                <a16:creationId xmlns:a16="http://schemas.microsoft.com/office/drawing/2014/main" id="{3397E6F6-DFC7-C54D-9E7E-CD51822BE714}"/>
              </a:ext>
            </a:extLst>
          </p:cNvPr>
          <p:cNvSpPr>
            <a:spLocks noGrp="1"/>
          </p:cNvSpPr>
          <p:nvPr>
            <p:ph type="body" sz="quarter" idx="19" hasCustomPrompt="1"/>
          </p:nvPr>
        </p:nvSpPr>
        <p:spPr>
          <a:xfrm>
            <a:off x="1674329" y="4553745"/>
            <a:ext cx="9650876" cy="7479982"/>
          </a:xfrm>
        </p:spPr>
        <p:txBody>
          <a:bodyPr>
            <a:noAutofit/>
          </a:bodyPr>
          <a:lstStyle>
            <a:lvl1pPr>
              <a:spcBef>
                <a:spcPts val="2000"/>
              </a:spcBef>
              <a:defRPr sz="2800"/>
            </a:lvl1pPr>
          </a:lstStyle>
          <a:p>
            <a:pPr lvl="0"/>
            <a:r>
              <a:rPr lang="en-GB" noProof="0"/>
              <a:t>Put the body text or caption here,</a:t>
            </a:r>
            <a:br>
              <a:rPr lang="en-GB" noProof="0"/>
            </a:br>
            <a:r>
              <a:rPr lang="en-GB" noProof="0"/>
              <a:t>keep it regular 14 </a:t>
            </a:r>
            <a:r>
              <a:rPr lang="en-GB" noProof="0" err="1"/>
              <a:t>pt</a:t>
            </a:r>
            <a:endParaRPr lang="en-GB" noProof="0"/>
          </a:p>
        </p:txBody>
      </p:sp>
      <p:sp>
        <p:nvSpPr>
          <p:cNvPr id="15" name="Text Placeholder 3">
            <a:extLst>
              <a:ext uri="{FF2B5EF4-FFF2-40B4-BE49-F238E27FC236}">
                <a16:creationId xmlns:a16="http://schemas.microsoft.com/office/drawing/2014/main" id="{3397E6F6-DFC7-C54D-9E7E-CD51822BE714}"/>
              </a:ext>
            </a:extLst>
          </p:cNvPr>
          <p:cNvSpPr>
            <a:spLocks noGrp="1"/>
          </p:cNvSpPr>
          <p:nvPr>
            <p:ph type="body" sz="quarter" idx="18" hasCustomPrompt="1"/>
          </p:nvPr>
        </p:nvSpPr>
        <p:spPr>
          <a:xfrm>
            <a:off x="12233918" y="4554539"/>
            <a:ext cx="9650876" cy="7479982"/>
          </a:xfrm>
        </p:spPr>
        <p:txBody>
          <a:bodyPr>
            <a:noAutofit/>
          </a:bodyPr>
          <a:lstStyle>
            <a:lvl1pPr>
              <a:spcBef>
                <a:spcPts val="2000"/>
              </a:spcBef>
              <a:defRPr sz="2800"/>
            </a:lvl1pPr>
          </a:lstStyle>
          <a:p>
            <a:pPr lvl="0"/>
            <a:r>
              <a:rPr lang="en-GB" noProof="0"/>
              <a:t>Put the body text or caption here,</a:t>
            </a:r>
            <a:br>
              <a:rPr lang="en-GB" noProof="0"/>
            </a:br>
            <a:r>
              <a:rPr lang="en-GB" noProof="0"/>
              <a:t>keep it regular 14 </a:t>
            </a:r>
            <a:r>
              <a:rPr lang="en-GB" noProof="0" err="1"/>
              <a:t>pt</a:t>
            </a:r>
            <a:endParaRPr lang="en-GB" noProof="0"/>
          </a:p>
        </p:txBody>
      </p:sp>
      <p:sp>
        <p:nvSpPr>
          <p:cNvPr id="9" name="Title 1">
            <a:extLst>
              <a:ext uri="{FF2B5EF4-FFF2-40B4-BE49-F238E27FC236}">
                <a16:creationId xmlns:a16="http://schemas.microsoft.com/office/drawing/2014/main" id="{0317E226-ED24-4581-BED8-8CF8C2023BC2}"/>
              </a:ext>
            </a:extLst>
          </p:cNvPr>
          <p:cNvSpPr>
            <a:spLocks noGrp="1"/>
          </p:cNvSpPr>
          <p:nvPr>
            <p:ph type="title" hasCustomPrompt="1"/>
          </p:nvPr>
        </p:nvSpPr>
        <p:spPr>
          <a:xfrm>
            <a:off x="1676294" y="1673425"/>
            <a:ext cx="20595377" cy="2304254"/>
          </a:xfrm>
          <a:prstGeom prst="rect">
            <a:avLst/>
          </a:prstGeom>
        </p:spPr>
        <p:txBody>
          <a:bodyPr/>
          <a:lstStyle>
            <a:lvl1pPr>
              <a:lnSpc>
                <a:spcPct val="100000"/>
              </a:lnSpc>
              <a:defRPr sz="6400"/>
            </a:lvl1pPr>
          </a:lstStyle>
          <a:p>
            <a:r>
              <a:rPr lang="en-GB" noProof="0"/>
              <a:t>Put the slide headline here, </a:t>
            </a:r>
            <a:br>
              <a:rPr lang="en-GB" noProof="0"/>
            </a:br>
            <a:r>
              <a:rPr lang="en-GB" noProof="0"/>
              <a:t>keep it bold 28 </a:t>
            </a:r>
            <a:r>
              <a:rPr lang="en-GB" noProof="0" err="1"/>
              <a:t>pt</a:t>
            </a:r>
            <a:endParaRPr lang="en-GB" noProof="0"/>
          </a:p>
        </p:txBody>
      </p:sp>
    </p:spTree>
    <p:extLst>
      <p:ext uri="{BB962C8B-B14F-4D97-AF65-F5344CB8AC3E}">
        <p14:creationId xmlns:p14="http://schemas.microsoft.com/office/powerpoint/2010/main" val="26108028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rom/to">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982E2EA-1137-0846-98DC-3E6332C29A67}"/>
              </a:ext>
            </a:extLst>
          </p:cNvPr>
          <p:cNvSpPr>
            <a:spLocks noGrp="1"/>
          </p:cNvSpPr>
          <p:nvPr>
            <p:ph type="body" sz="quarter" idx="10" hasCustomPrompt="1"/>
          </p:nvPr>
        </p:nvSpPr>
        <p:spPr>
          <a:xfrm>
            <a:off x="2686772" y="51298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5" name="Text Placeholder 5">
            <a:extLst>
              <a:ext uri="{FF2B5EF4-FFF2-40B4-BE49-F238E27FC236}">
                <a16:creationId xmlns:a16="http://schemas.microsoft.com/office/drawing/2014/main" id="{BB2544E0-599A-0E4D-B7C9-0338205DD470}"/>
              </a:ext>
            </a:extLst>
          </p:cNvPr>
          <p:cNvSpPr>
            <a:spLocks noGrp="1"/>
          </p:cNvSpPr>
          <p:nvPr>
            <p:ph type="body" sz="quarter" idx="20" hasCustomPrompt="1"/>
          </p:nvPr>
        </p:nvSpPr>
        <p:spPr>
          <a:xfrm>
            <a:off x="13902138" y="51298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6" name="Text Placeholder 5">
            <a:extLst>
              <a:ext uri="{FF2B5EF4-FFF2-40B4-BE49-F238E27FC236}">
                <a16:creationId xmlns:a16="http://schemas.microsoft.com/office/drawing/2014/main" id="{7CD185CC-288C-914E-B039-9E34B6521AAE}"/>
              </a:ext>
            </a:extLst>
          </p:cNvPr>
          <p:cNvSpPr>
            <a:spLocks noGrp="1"/>
          </p:cNvSpPr>
          <p:nvPr>
            <p:ph type="body" sz="quarter" idx="21" hasCustomPrompt="1"/>
          </p:nvPr>
        </p:nvSpPr>
        <p:spPr>
          <a:xfrm>
            <a:off x="2686772" y="686645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7" name="Text Placeholder 5">
            <a:extLst>
              <a:ext uri="{FF2B5EF4-FFF2-40B4-BE49-F238E27FC236}">
                <a16:creationId xmlns:a16="http://schemas.microsoft.com/office/drawing/2014/main" id="{734DFA83-0489-374D-984E-D148AF15FB19}"/>
              </a:ext>
            </a:extLst>
          </p:cNvPr>
          <p:cNvSpPr>
            <a:spLocks noGrp="1"/>
          </p:cNvSpPr>
          <p:nvPr>
            <p:ph type="body" sz="quarter" idx="22" hasCustomPrompt="1"/>
          </p:nvPr>
        </p:nvSpPr>
        <p:spPr>
          <a:xfrm>
            <a:off x="13902138" y="686645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8" name="Text Placeholder 5">
            <a:extLst>
              <a:ext uri="{FF2B5EF4-FFF2-40B4-BE49-F238E27FC236}">
                <a16:creationId xmlns:a16="http://schemas.microsoft.com/office/drawing/2014/main" id="{40A584AF-EFDF-6C45-8450-E6896AA5447E}"/>
              </a:ext>
            </a:extLst>
          </p:cNvPr>
          <p:cNvSpPr>
            <a:spLocks noGrp="1"/>
          </p:cNvSpPr>
          <p:nvPr>
            <p:ph type="body" sz="quarter" idx="23" hasCustomPrompt="1"/>
          </p:nvPr>
        </p:nvSpPr>
        <p:spPr>
          <a:xfrm>
            <a:off x="2686772" y="86031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9" name="Text Placeholder 5">
            <a:extLst>
              <a:ext uri="{FF2B5EF4-FFF2-40B4-BE49-F238E27FC236}">
                <a16:creationId xmlns:a16="http://schemas.microsoft.com/office/drawing/2014/main" id="{B8ADD201-5C22-9240-930B-C39DCFAEA838}"/>
              </a:ext>
            </a:extLst>
          </p:cNvPr>
          <p:cNvSpPr>
            <a:spLocks noGrp="1"/>
          </p:cNvSpPr>
          <p:nvPr>
            <p:ph type="body" sz="quarter" idx="24" hasCustomPrompt="1"/>
          </p:nvPr>
        </p:nvSpPr>
        <p:spPr>
          <a:xfrm>
            <a:off x="13902138" y="86031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20" name="Text Placeholder 5">
            <a:extLst>
              <a:ext uri="{FF2B5EF4-FFF2-40B4-BE49-F238E27FC236}">
                <a16:creationId xmlns:a16="http://schemas.microsoft.com/office/drawing/2014/main" id="{21AA854F-49C8-0740-875D-2A28B04B66F6}"/>
              </a:ext>
            </a:extLst>
          </p:cNvPr>
          <p:cNvSpPr>
            <a:spLocks noGrp="1"/>
          </p:cNvSpPr>
          <p:nvPr>
            <p:ph type="body" sz="quarter" idx="25" hasCustomPrompt="1"/>
          </p:nvPr>
        </p:nvSpPr>
        <p:spPr>
          <a:xfrm>
            <a:off x="2686772" y="10339760"/>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21" name="Text Placeholder 5">
            <a:extLst>
              <a:ext uri="{FF2B5EF4-FFF2-40B4-BE49-F238E27FC236}">
                <a16:creationId xmlns:a16="http://schemas.microsoft.com/office/drawing/2014/main" id="{8FE94F80-1B2D-0E45-8D2E-B57A96EFF5BA}"/>
              </a:ext>
            </a:extLst>
          </p:cNvPr>
          <p:cNvSpPr>
            <a:spLocks noGrp="1"/>
          </p:cNvSpPr>
          <p:nvPr>
            <p:ph type="body" sz="quarter" idx="26" hasCustomPrompt="1"/>
          </p:nvPr>
        </p:nvSpPr>
        <p:spPr>
          <a:xfrm>
            <a:off x="13902138" y="10339760"/>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pic>
        <p:nvPicPr>
          <p:cNvPr id="24" name="Graphic 23">
            <a:extLst>
              <a:ext uri="{FF2B5EF4-FFF2-40B4-BE49-F238E27FC236}">
                <a16:creationId xmlns:a16="http://schemas.microsoft.com/office/drawing/2014/main" id="{C665CCDB-76D3-9C47-BA6F-98DC8DE39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31206" y="7079462"/>
            <a:ext cx="2520000" cy="2520000"/>
          </a:xfrm>
          <a:prstGeom prst="rect">
            <a:avLst/>
          </a:prstGeom>
        </p:spPr>
      </p:pic>
      <p:sp>
        <p:nvSpPr>
          <p:cNvPr id="22" name="Title 3">
            <a:extLst>
              <a:ext uri="{FF2B5EF4-FFF2-40B4-BE49-F238E27FC236}">
                <a16:creationId xmlns:a16="http://schemas.microsoft.com/office/drawing/2014/main" id="{12B27A15-0B5F-6D42-A903-9B52ABFB9D46}"/>
              </a:ext>
            </a:extLst>
          </p:cNvPr>
          <p:cNvSpPr>
            <a:spLocks noGrp="1"/>
          </p:cNvSpPr>
          <p:nvPr>
            <p:ph type="title" hasCustomPrompt="1"/>
          </p:nvPr>
        </p:nvSpPr>
        <p:spPr>
          <a:xfrm>
            <a:off x="1676293" y="1677600"/>
            <a:ext cx="21033007" cy="2446607"/>
          </a:xfrm>
        </p:spPr>
        <p:txBody>
          <a:bodyPr/>
          <a:lstStyle>
            <a:lvl1pPr>
              <a:defRPr sz="6000" spc="0" baseline="0"/>
            </a:lvl1pPr>
          </a:lstStyle>
          <a:p>
            <a:r>
              <a:rPr lang="en-GB"/>
              <a:t>Put a short headline here, keep it bold 60 </a:t>
            </a:r>
            <a:r>
              <a:rPr lang="en-GB" err="1"/>
              <a:t>pt</a:t>
            </a:r>
            <a:endParaRPr lang="en-NL"/>
          </a:p>
        </p:txBody>
      </p:sp>
      <p:sp>
        <p:nvSpPr>
          <p:cNvPr id="5" name="Footer Placeholder 4">
            <a:extLst>
              <a:ext uri="{FF2B5EF4-FFF2-40B4-BE49-F238E27FC236}">
                <a16:creationId xmlns:a16="http://schemas.microsoft.com/office/drawing/2014/main" id="{6C67929C-C3EA-9A47-BD51-95B00CE1AD28}"/>
              </a:ext>
            </a:extLst>
          </p:cNvPr>
          <p:cNvSpPr>
            <a:spLocks noGrp="1"/>
          </p:cNvSpPr>
          <p:nvPr>
            <p:ph type="ftr" sz="quarter" idx="27"/>
          </p:nvPr>
        </p:nvSpPr>
        <p:spPr/>
        <p:txBody>
          <a:bodyPr/>
          <a:lstStyle/>
          <a:p>
            <a:endParaRPr lang="en-NL"/>
          </a:p>
        </p:txBody>
      </p:sp>
      <p:sp>
        <p:nvSpPr>
          <p:cNvPr id="23" name="TextBox 22">
            <a:extLst>
              <a:ext uri="{FF2B5EF4-FFF2-40B4-BE49-F238E27FC236}">
                <a16:creationId xmlns:a16="http://schemas.microsoft.com/office/drawing/2014/main" id="{9FDFBDEE-F22D-2B4B-A965-6CEC71F0E51D}"/>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151341187"/>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Bullet points in three column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B10EEEC-F9CA-E042-BDE6-F770471505B4}"/>
              </a:ext>
            </a:extLst>
          </p:cNvPr>
          <p:cNvSpPr txBox="1"/>
          <p:nvPr/>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smtClean="0">
                <a:solidFill>
                  <a:srgbClr val="000000"/>
                </a:solidFill>
              </a:rPr>
              <a:pPr algn="r"/>
              <a:t>‹#›</a:t>
            </a:fld>
            <a:endParaRPr lang="en-GB" sz="2000">
              <a:solidFill>
                <a:srgbClr val="000000"/>
              </a:solidFill>
            </a:endParaRPr>
          </a:p>
        </p:txBody>
      </p:sp>
      <p:sp>
        <p:nvSpPr>
          <p:cNvPr id="13" name="Footer Placeholder 1">
            <a:extLst>
              <a:ext uri="{FF2B5EF4-FFF2-40B4-BE49-F238E27FC236}">
                <a16:creationId xmlns:a16="http://schemas.microsoft.com/office/drawing/2014/main" id="{FF16714B-FB53-1F43-BB2E-33016E450AE8}"/>
              </a:ext>
            </a:extLst>
          </p:cNvPr>
          <p:cNvSpPr>
            <a:spLocks noGrp="1"/>
          </p:cNvSpPr>
          <p:nvPr>
            <p:ph type="ftr" sz="quarter" idx="15"/>
          </p:nvPr>
        </p:nvSpPr>
        <p:spPr>
          <a:xfrm>
            <a:off x="1676291" y="12762655"/>
            <a:ext cx="10514916" cy="586238"/>
          </a:xfrm>
          <a:prstGeom prst="rect">
            <a:avLst/>
          </a:prstGeom>
        </p:spPr>
        <p:txBody>
          <a:bodyPr/>
          <a:lstStyle/>
          <a:p>
            <a:endParaRPr lang="en-GB">
              <a:solidFill>
                <a:srgbClr val="000000">
                  <a:tint val="75000"/>
                </a:srgbClr>
              </a:solidFill>
            </a:endParaRPr>
          </a:p>
        </p:txBody>
      </p:sp>
      <p:sp>
        <p:nvSpPr>
          <p:cNvPr id="15" name="Text Placeholder 3">
            <a:extLst>
              <a:ext uri="{FF2B5EF4-FFF2-40B4-BE49-F238E27FC236}">
                <a16:creationId xmlns:a16="http://schemas.microsoft.com/office/drawing/2014/main" id="{3397E6F6-DFC7-C54D-9E7E-CD51822BE714}"/>
              </a:ext>
            </a:extLst>
          </p:cNvPr>
          <p:cNvSpPr>
            <a:spLocks noGrp="1"/>
          </p:cNvSpPr>
          <p:nvPr>
            <p:ph type="body" sz="quarter" idx="21" hasCustomPrompt="1"/>
          </p:nvPr>
        </p:nvSpPr>
        <p:spPr>
          <a:xfrm>
            <a:off x="1674327" y="4265716"/>
            <a:ext cx="6263592" cy="7768012"/>
          </a:xfrm>
        </p:spPr>
        <p:txBody>
          <a:bodyPr>
            <a:noAutofit/>
          </a:bodyPr>
          <a:lstStyle>
            <a:lvl1pPr>
              <a:spcBef>
                <a:spcPts val="2000"/>
              </a:spcBef>
              <a:defRPr sz="2800"/>
            </a:lvl1pPr>
          </a:lstStyle>
          <a:p>
            <a:pPr lvl="0"/>
            <a:r>
              <a:rPr lang="en-GB" noProof="0"/>
              <a:t>Put the body text here,</a:t>
            </a:r>
            <a:br>
              <a:rPr lang="en-GB" noProof="0"/>
            </a:br>
            <a:r>
              <a:rPr lang="en-GB" noProof="0"/>
              <a:t>keep it regular 14 </a:t>
            </a:r>
            <a:r>
              <a:rPr lang="en-GB" noProof="0" err="1"/>
              <a:t>pt</a:t>
            </a:r>
            <a:r>
              <a:rPr lang="en-GB" noProof="0"/>
              <a:t> </a:t>
            </a:r>
          </a:p>
        </p:txBody>
      </p:sp>
      <p:sp>
        <p:nvSpPr>
          <p:cNvPr id="16" name="Text Placeholder 3">
            <a:extLst>
              <a:ext uri="{FF2B5EF4-FFF2-40B4-BE49-F238E27FC236}">
                <a16:creationId xmlns:a16="http://schemas.microsoft.com/office/drawing/2014/main" id="{3397E6F6-DFC7-C54D-9E7E-CD51822BE714}"/>
              </a:ext>
            </a:extLst>
          </p:cNvPr>
          <p:cNvSpPr>
            <a:spLocks noGrp="1"/>
          </p:cNvSpPr>
          <p:nvPr>
            <p:ph type="body" sz="quarter" idx="22" hasCustomPrompt="1"/>
          </p:nvPr>
        </p:nvSpPr>
        <p:spPr>
          <a:xfrm>
            <a:off x="8447034" y="4265716"/>
            <a:ext cx="6263592" cy="7768012"/>
          </a:xfrm>
        </p:spPr>
        <p:txBody>
          <a:bodyPr>
            <a:noAutofit/>
          </a:bodyPr>
          <a:lstStyle>
            <a:lvl1pPr>
              <a:spcBef>
                <a:spcPts val="2000"/>
              </a:spcBef>
              <a:defRPr sz="2800"/>
            </a:lvl1pPr>
          </a:lstStyle>
          <a:p>
            <a:pPr lvl="0"/>
            <a:r>
              <a:rPr lang="en-GB" noProof="0"/>
              <a:t>Put the body text here,</a:t>
            </a:r>
            <a:br>
              <a:rPr lang="en-GB" noProof="0"/>
            </a:br>
            <a:r>
              <a:rPr lang="en-GB" noProof="0"/>
              <a:t>keep it regular 14 </a:t>
            </a:r>
            <a:r>
              <a:rPr lang="en-GB" noProof="0" err="1"/>
              <a:t>pt</a:t>
            </a:r>
            <a:endParaRPr lang="en-GB" noProof="0"/>
          </a:p>
        </p:txBody>
      </p:sp>
      <p:sp>
        <p:nvSpPr>
          <p:cNvPr id="17" name="Text Placeholder 3">
            <a:extLst>
              <a:ext uri="{FF2B5EF4-FFF2-40B4-BE49-F238E27FC236}">
                <a16:creationId xmlns:a16="http://schemas.microsoft.com/office/drawing/2014/main" id="{3397E6F6-DFC7-C54D-9E7E-CD51822BE714}"/>
              </a:ext>
            </a:extLst>
          </p:cNvPr>
          <p:cNvSpPr>
            <a:spLocks noGrp="1"/>
          </p:cNvSpPr>
          <p:nvPr>
            <p:ph type="body" sz="quarter" idx="23" hasCustomPrompt="1"/>
          </p:nvPr>
        </p:nvSpPr>
        <p:spPr>
          <a:xfrm>
            <a:off x="15219742" y="4283282"/>
            <a:ext cx="6263592" cy="7768012"/>
          </a:xfrm>
        </p:spPr>
        <p:txBody>
          <a:bodyPr>
            <a:noAutofit/>
          </a:bodyPr>
          <a:lstStyle>
            <a:lvl1pPr>
              <a:spcBef>
                <a:spcPts val="2000"/>
              </a:spcBef>
              <a:defRPr sz="2800"/>
            </a:lvl1pPr>
          </a:lstStyle>
          <a:p>
            <a:pPr lvl="0"/>
            <a:r>
              <a:rPr lang="en-GB" noProof="0"/>
              <a:t>Put the body text here,</a:t>
            </a:r>
            <a:br>
              <a:rPr lang="en-GB" noProof="0"/>
            </a:br>
            <a:r>
              <a:rPr lang="en-GB" noProof="0"/>
              <a:t>keep it regular 14 </a:t>
            </a:r>
            <a:r>
              <a:rPr lang="en-GB" noProof="0" err="1"/>
              <a:t>pt</a:t>
            </a:r>
            <a:endParaRPr lang="en-GB" noProof="0"/>
          </a:p>
        </p:txBody>
      </p:sp>
      <p:sp>
        <p:nvSpPr>
          <p:cNvPr id="8" name="Title 1">
            <a:extLst>
              <a:ext uri="{FF2B5EF4-FFF2-40B4-BE49-F238E27FC236}">
                <a16:creationId xmlns:a16="http://schemas.microsoft.com/office/drawing/2014/main" id="{EFCC2DE6-2D34-45C3-A62E-E5D4643C3305}"/>
              </a:ext>
            </a:extLst>
          </p:cNvPr>
          <p:cNvSpPr>
            <a:spLocks noGrp="1"/>
          </p:cNvSpPr>
          <p:nvPr>
            <p:ph type="title" hasCustomPrompt="1"/>
          </p:nvPr>
        </p:nvSpPr>
        <p:spPr>
          <a:xfrm>
            <a:off x="1676294" y="1673425"/>
            <a:ext cx="20595377" cy="2304254"/>
          </a:xfrm>
          <a:prstGeom prst="rect">
            <a:avLst/>
          </a:prstGeom>
        </p:spPr>
        <p:txBody>
          <a:bodyPr/>
          <a:lstStyle>
            <a:lvl1pPr>
              <a:lnSpc>
                <a:spcPct val="100000"/>
              </a:lnSpc>
              <a:defRPr sz="6400"/>
            </a:lvl1pPr>
          </a:lstStyle>
          <a:p>
            <a:r>
              <a:rPr lang="en-GB" noProof="0"/>
              <a:t>Put the slide headline here, </a:t>
            </a:r>
            <a:br>
              <a:rPr lang="en-GB" noProof="0"/>
            </a:br>
            <a:r>
              <a:rPr lang="en-GB" noProof="0"/>
              <a:t>keep it bold 28 </a:t>
            </a:r>
            <a:r>
              <a:rPr lang="en-GB" noProof="0" err="1"/>
              <a:t>pt</a:t>
            </a:r>
            <a:endParaRPr lang="en-GB" noProof="0"/>
          </a:p>
        </p:txBody>
      </p:sp>
    </p:spTree>
    <p:extLst>
      <p:ext uri="{BB962C8B-B14F-4D97-AF65-F5344CB8AC3E}">
        <p14:creationId xmlns:p14="http://schemas.microsoft.com/office/powerpoint/2010/main" val="1371925699"/>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8CE3CA0-F0EA-6747-898B-8A3A65AC1BD3}"/>
              </a:ext>
            </a:extLst>
          </p:cNvPr>
          <p:cNvSpPr>
            <a:spLocks noGrp="1"/>
          </p:cNvSpPr>
          <p:nvPr>
            <p:ph type="ftr" sz="quarter" idx="10"/>
          </p:nvPr>
        </p:nvSpPr>
        <p:spPr>
          <a:xfrm>
            <a:off x="1676291" y="12762655"/>
            <a:ext cx="10514916" cy="586238"/>
          </a:xfrm>
          <a:prstGeom prst="rect">
            <a:avLst/>
          </a:prstGeom>
        </p:spPr>
        <p:txBody>
          <a:bodyPr/>
          <a:lstStyle/>
          <a:p>
            <a:endParaRPr lang="en-GB">
              <a:solidFill>
                <a:srgbClr val="000000">
                  <a:tint val="75000"/>
                </a:srgbClr>
              </a:solidFill>
            </a:endParaRPr>
          </a:p>
        </p:txBody>
      </p:sp>
      <p:pic>
        <p:nvPicPr>
          <p:cNvPr id="4" name="Picture 3">
            <a:extLst>
              <a:ext uri="{FF2B5EF4-FFF2-40B4-BE49-F238E27FC236}">
                <a16:creationId xmlns:a16="http://schemas.microsoft.com/office/drawing/2014/main" id="{AC8D6FFB-B91A-47DC-B1F2-B7E623233A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551877" y="445959"/>
            <a:ext cx="2159859" cy="1094202"/>
          </a:xfrm>
          <a:prstGeom prst="rect">
            <a:avLst/>
          </a:prstGeom>
        </p:spPr>
      </p:pic>
    </p:spTree>
    <p:extLst>
      <p:ext uri="{BB962C8B-B14F-4D97-AF65-F5344CB8AC3E}">
        <p14:creationId xmlns:p14="http://schemas.microsoft.com/office/powerpoint/2010/main" val="2672004238"/>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047802" y="2244726"/>
            <a:ext cx="18286810" cy="4775200"/>
          </a:xfrm>
        </p:spPr>
        <p:txBody>
          <a:bodyPr anchor="b"/>
          <a:lstStyle>
            <a:lvl1pPr algn="ctr">
              <a:defRPr sz="11999"/>
            </a:lvl1pPr>
          </a:lstStyle>
          <a:p>
            <a:r>
              <a:rPr lang="en-US"/>
              <a:t>Click to edit Master title style</a:t>
            </a:r>
            <a:endParaRPr lang="en-GB"/>
          </a:p>
        </p:txBody>
      </p:sp>
      <p:sp>
        <p:nvSpPr>
          <p:cNvPr id="3" name="Subtitle 2"/>
          <p:cNvSpPr>
            <a:spLocks noGrp="1"/>
          </p:cNvSpPr>
          <p:nvPr>
            <p:ph type="subTitle" idx="1"/>
          </p:nvPr>
        </p:nvSpPr>
        <p:spPr>
          <a:xfrm>
            <a:off x="3047802" y="7204076"/>
            <a:ext cx="18286810" cy="3311524"/>
          </a:xfrm>
        </p:spPr>
        <p:txBody>
          <a:bodyPr/>
          <a:lstStyle>
            <a:lvl1pPr marL="0" indent="0" algn="ctr">
              <a:buNone/>
              <a:defRPr sz="4800"/>
            </a:lvl1pPr>
            <a:lvl2pPr marL="914354" indent="0" algn="ctr">
              <a:buNone/>
              <a:defRPr sz="4000"/>
            </a:lvl2pPr>
            <a:lvl3pPr marL="1828709" indent="0" algn="ctr">
              <a:buNone/>
              <a:defRPr sz="3600"/>
            </a:lvl3pPr>
            <a:lvl4pPr marL="2743063" indent="0" algn="ctr">
              <a:buNone/>
              <a:defRPr sz="3200"/>
            </a:lvl4pPr>
            <a:lvl5pPr marL="3657417" indent="0" algn="ctr">
              <a:buNone/>
              <a:defRPr sz="3200"/>
            </a:lvl5pPr>
            <a:lvl6pPr marL="4571771" indent="0" algn="ctr">
              <a:buNone/>
              <a:defRPr sz="3200"/>
            </a:lvl6pPr>
            <a:lvl7pPr marL="5486126" indent="0" algn="ctr">
              <a:buNone/>
              <a:defRPr sz="3200"/>
            </a:lvl7pPr>
            <a:lvl8pPr marL="6400480" indent="0" algn="ctr">
              <a:buNone/>
              <a:defRPr sz="3200"/>
            </a:lvl8pPr>
            <a:lvl9pPr marL="7314834" indent="0" algn="ctr">
              <a:buNone/>
              <a:defRPr sz="32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D4EE3BB-0729-4AB2-90EB-C22FD9FCBB91}" type="datetimeFigureOut">
              <a:rPr lang="en-GB" smtClean="0"/>
              <a:t>12/03/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19AD72-D483-4CA1-A34C-C640F8D2791A}" type="slidenum">
              <a:rPr lang="en-GB" smtClean="0"/>
              <a:t>‹#›</a:t>
            </a:fld>
            <a:endParaRPr lang="en-GB"/>
          </a:p>
        </p:txBody>
      </p:sp>
    </p:spTree>
    <p:extLst>
      <p:ext uri="{BB962C8B-B14F-4D97-AF65-F5344CB8AC3E}">
        <p14:creationId xmlns:p14="http://schemas.microsoft.com/office/powerpoint/2010/main" val="3739656081"/>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Sales">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21DCD04-C094-4DA9-A392-45DBC468C388}"/>
              </a:ext>
            </a:extLst>
          </p:cNvPr>
          <p:cNvSpPr>
            <a:spLocks noGrp="1"/>
          </p:cNvSpPr>
          <p:nvPr>
            <p:ph idx="1" hasCustomPrompt="1"/>
          </p:nvPr>
        </p:nvSpPr>
        <p:spPr bwMode="gray">
          <a:xfrm>
            <a:off x="2417912" y="4162698"/>
            <a:ext cx="19546592" cy="5390604"/>
          </a:xfrm>
          <a:prstGeom prst="rect">
            <a:avLst/>
          </a:prstGeom>
        </p:spPr>
        <p:txBody>
          <a:bodyPr/>
          <a:lstStyle>
            <a:lvl1pPr marL="959660" indent="-959660">
              <a:spcBef>
                <a:spcPts val="3200"/>
              </a:spcBef>
              <a:spcAft>
                <a:spcPts val="0"/>
              </a:spcAft>
              <a:buClr>
                <a:schemeClr val="tx2"/>
              </a:buClr>
              <a:buFont typeface="+mj-lt"/>
              <a:buAutoNum type="arabicPeriod"/>
              <a:tabLst>
                <a:tab pos="22647980" algn="r"/>
              </a:tabLst>
              <a:defRPr sz="4800">
                <a:solidFill>
                  <a:schemeClr val="tx1"/>
                </a:solidFill>
              </a:defRPr>
            </a:lvl1pPr>
            <a:lvl2pPr marL="956394" indent="0">
              <a:spcBef>
                <a:spcPts val="3200"/>
              </a:spcBef>
              <a:spcAft>
                <a:spcPts val="0"/>
              </a:spcAft>
              <a:buClr>
                <a:schemeClr val="bg2"/>
              </a:buClr>
              <a:buFont typeface="+mj-lt"/>
              <a:buNone/>
              <a:tabLst>
                <a:tab pos="22072180" algn="r"/>
              </a:tabLst>
              <a:defRPr sz="4800">
                <a:solidFill>
                  <a:schemeClr val="bg2"/>
                </a:solidFill>
              </a:defRPr>
            </a:lvl2pPr>
            <a:lvl3pPr marL="959660" indent="0">
              <a:spcBef>
                <a:spcPts val="3200"/>
              </a:spcBef>
              <a:spcAft>
                <a:spcPts val="0"/>
              </a:spcAft>
              <a:buFontTx/>
              <a:buNone/>
              <a:defRPr sz="4800">
                <a:solidFill>
                  <a:schemeClr val="bg2"/>
                </a:solidFill>
              </a:defRPr>
            </a:lvl3pPr>
            <a:lvl4pPr marL="959660" indent="0">
              <a:spcBef>
                <a:spcPts val="3200"/>
              </a:spcBef>
              <a:spcAft>
                <a:spcPts val="0"/>
              </a:spcAft>
              <a:buFontTx/>
              <a:buNone/>
              <a:defRPr sz="4800">
                <a:solidFill>
                  <a:schemeClr val="bg2"/>
                </a:solidFill>
              </a:defRPr>
            </a:lvl4pPr>
            <a:lvl5pPr marL="959660" indent="0">
              <a:spcBef>
                <a:spcPts val="3200"/>
              </a:spcBef>
              <a:spcAft>
                <a:spcPts val="0"/>
              </a:spcAft>
              <a:buFontTx/>
              <a:buNone/>
              <a:defRPr sz="4800">
                <a:solidFill>
                  <a:schemeClr val="bg2"/>
                </a:solidFill>
              </a:defRPr>
            </a:lvl5pPr>
            <a:lvl6pPr marL="959660" indent="0">
              <a:spcBef>
                <a:spcPts val="3200"/>
              </a:spcBef>
              <a:spcAft>
                <a:spcPts val="0"/>
              </a:spcAft>
              <a:buFontTx/>
              <a:buNone/>
              <a:defRPr sz="4800">
                <a:solidFill>
                  <a:schemeClr val="bg2"/>
                </a:solidFill>
              </a:defRPr>
            </a:lvl6pPr>
            <a:lvl7pPr marL="959660" indent="0">
              <a:spcBef>
                <a:spcPts val="3200"/>
              </a:spcBef>
              <a:spcAft>
                <a:spcPts val="0"/>
              </a:spcAft>
              <a:buFontTx/>
              <a:buNone/>
              <a:defRPr sz="4800">
                <a:solidFill>
                  <a:schemeClr val="bg2"/>
                </a:solidFill>
              </a:defRPr>
            </a:lvl7pPr>
            <a:lvl8pPr marL="959660" indent="0">
              <a:spcBef>
                <a:spcPts val="3200"/>
              </a:spcBef>
              <a:spcAft>
                <a:spcPts val="0"/>
              </a:spcAft>
              <a:buFontTx/>
              <a:buNone/>
              <a:defRPr sz="4800">
                <a:solidFill>
                  <a:schemeClr val="bg2"/>
                </a:solidFill>
              </a:defRPr>
            </a:lvl8pPr>
            <a:lvl9pPr marL="959660" indent="0">
              <a:spcBef>
                <a:spcPts val="3200"/>
              </a:spcBef>
              <a:spcAft>
                <a:spcPts val="0"/>
              </a:spcAft>
              <a:buFontTx/>
              <a:buNone/>
              <a:defRPr sz="4800">
                <a:solidFill>
                  <a:schemeClr val="bg2"/>
                </a:solidFill>
              </a:defRPr>
            </a:lvl9pPr>
          </a:lstStyle>
          <a:p>
            <a:pPr lvl="0"/>
            <a:r>
              <a:rPr lang="en-GB"/>
              <a:t>Click to add agenda</a:t>
            </a:r>
          </a:p>
        </p:txBody>
      </p:sp>
    </p:spTree>
    <p:extLst>
      <p:ext uri="{BB962C8B-B14F-4D97-AF65-F5344CB8AC3E}">
        <p14:creationId xmlns:p14="http://schemas.microsoft.com/office/powerpoint/2010/main" val="604509901"/>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2F5C0-C9C8-49B6-BA4B-A1F27185C7D8}"/>
              </a:ext>
            </a:extLst>
          </p:cNvPr>
          <p:cNvSpPr>
            <a:spLocks noGrp="1"/>
          </p:cNvSpPr>
          <p:nvPr>
            <p:ph type="title"/>
          </p:nvPr>
        </p:nvSpPr>
        <p:spPr/>
        <p:txBody>
          <a:bodyPr/>
          <a:lstStyle/>
          <a:p>
            <a:r>
              <a:rPr lang="en-US"/>
              <a:t>Click to edit Master title style</a:t>
            </a:r>
            <a:endParaRPr lang="sv-SE"/>
          </a:p>
        </p:txBody>
      </p:sp>
      <p:sp>
        <p:nvSpPr>
          <p:cNvPr id="3" name="Content Placeholder 2">
            <a:extLst>
              <a:ext uri="{FF2B5EF4-FFF2-40B4-BE49-F238E27FC236}">
                <a16:creationId xmlns:a16="http://schemas.microsoft.com/office/drawing/2014/main" id="{617F21F9-176D-4E75-BF2F-AB488EE43B6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A8EC14C0-EDE6-40DC-A316-9C48B1A6574C}"/>
              </a:ext>
            </a:extLst>
          </p:cNvPr>
          <p:cNvSpPr>
            <a:spLocks noGrp="1"/>
          </p:cNvSpPr>
          <p:nvPr>
            <p:ph type="dt" sz="half" idx="10"/>
          </p:nvPr>
        </p:nvSpPr>
        <p:spPr/>
        <p:txBody>
          <a:bodyPr/>
          <a:lstStyle/>
          <a:p>
            <a:fld id="{C90DBF9B-4E61-4991-BD3C-ADDD90AA276B}" type="datetimeFigureOut">
              <a:rPr lang="sv-SE" smtClean="0"/>
              <a:t>2025-03-12</a:t>
            </a:fld>
            <a:endParaRPr lang="sv-SE"/>
          </a:p>
        </p:txBody>
      </p:sp>
      <p:sp>
        <p:nvSpPr>
          <p:cNvPr id="5" name="Footer Placeholder 4">
            <a:extLst>
              <a:ext uri="{FF2B5EF4-FFF2-40B4-BE49-F238E27FC236}">
                <a16:creationId xmlns:a16="http://schemas.microsoft.com/office/drawing/2014/main" id="{693A195B-33F0-4B46-A3DD-029F75A874C0}"/>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CE658285-5B4E-4A1B-81B9-42E0F94CA505}"/>
              </a:ext>
            </a:extLst>
          </p:cNvPr>
          <p:cNvSpPr>
            <a:spLocks noGrp="1"/>
          </p:cNvSpPr>
          <p:nvPr>
            <p:ph type="sldNum" sz="quarter" idx="12"/>
          </p:nvPr>
        </p:nvSpPr>
        <p:spPr/>
        <p:txBody>
          <a:bodyPr/>
          <a:lstStyle/>
          <a:p>
            <a:fld id="{6745D983-4283-4ACD-A410-CF771FE1A7AC}" type="slidenum">
              <a:rPr lang="sv-SE" smtClean="0"/>
              <a:t>‹#›</a:t>
            </a:fld>
            <a:endParaRPr lang="sv-SE"/>
          </a:p>
        </p:txBody>
      </p:sp>
    </p:spTree>
    <p:extLst>
      <p:ext uri="{BB962C8B-B14F-4D97-AF65-F5344CB8AC3E}">
        <p14:creationId xmlns:p14="http://schemas.microsoft.com/office/powerpoint/2010/main" val="1304354535"/>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Four picture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124A353B-E374-7740-BADE-D936639B642B}"/>
              </a:ext>
            </a:extLst>
          </p:cNvPr>
          <p:cNvSpPr>
            <a:spLocks noGrp="1"/>
          </p:cNvSpPr>
          <p:nvPr>
            <p:ph type="body" sz="half" idx="2" hasCustomPrompt="1"/>
          </p:nvPr>
        </p:nvSpPr>
        <p:spPr>
          <a:xfrm>
            <a:off x="6790607" y="486000"/>
            <a:ext cx="5004056" cy="5939952"/>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3" name="Picture Placeholder 2">
            <a:extLst>
              <a:ext uri="{FF2B5EF4-FFF2-40B4-BE49-F238E27FC236}">
                <a16:creationId xmlns:a16="http://schemas.microsoft.com/office/drawing/2014/main" id="{DEE2AB82-CBD5-1145-9E32-3577A8B871DC}"/>
              </a:ext>
            </a:extLst>
          </p:cNvPr>
          <p:cNvSpPr>
            <a:spLocks noGrp="1"/>
          </p:cNvSpPr>
          <p:nvPr>
            <p:ph type="pic" sz="quarter" idx="19" hasCustomPrompt="1"/>
          </p:nvPr>
        </p:nvSpPr>
        <p:spPr>
          <a:xfrm>
            <a:off x="486000" y="486000"/>
            <a:ext cx="5849999" cy="6372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9" name="Picture Placeholder 2">
            <a:extLst>
              <a:ext uri="{FF2B5EF4-FFF2-40B4-BE49-F238E27FC236}">
                <a16:creationId xmlns:a16="http://schemas.microsoft.com/office/drawing/2014/main" id="{224B314B-F368-C345-A11C-63D267394698}"/>
              </a:ext>
            </a:extLst>
          </p:cNvPr>
          <p:cNvSpPr>
            <a:spLocks noGrp="1"/>
          </p:cNvSpPr>
          <p:nvPr>
            <p:ph type="pic" sz="quarter" idx="20" hasCustomPrompt="1"/>
          </p:nvPr>
        </p:nvSpPr>
        <p:spPr>
          <a:xfrm>
            <a:off x="6336000" y="6858000"/>
            <a:ext cx="5849999" cy="6372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3" name="Picture Placeholder 2">
            <a:extLst>
              <a:ext uri="{FF2B5EF4-FFF2-40B4-BE49-F238E27FC236}">
                <a16:creationId xmlns:a16="http://schemas.microsoft.com/office/drawing/2014/main" id="{0BDAE9D1-09EE-5948-864F-662D2BEFC95D}"/>
              </a:ext>
            </a:extLst>
          </p:cNvPr>
          <p:cNvSpPr>
            <a:spLocks noGrp="1"/>
          </p:cNvSpPr>
          <p:nvPr>
            <p:ph type="pic" sz="quarter" idx="21" hasCustomPrompt="1"/>
          </p:nvPr>
        </p:nvSpPr>
        <p:spPr>
          <a:xfrm>
            <a:off x="12201996" y="486000"/>
            <a:ext cx="5849999" cy="6372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4" name="Picture Placeholder 2">
            <a:extLst>
              <a:ext uri="{FF2B5EF4-FFF2-40B4-BE49-F238E27FC236}">
                <a16:creationId xmlns:a16="http://schemas.microsoft.com/office/drawing/2014/main" id="{5A3CC44A-564E-0843-B5E6-9CA66C87720E}"/>
              </a:ext>
            </a:extLst>
          </p:cNvPr>
          <p:cNvSpPr>
            <a:spLocks noGrp="1"/>
          </p:cNvSpPr>
          <p:nvPr>
            <p:ph type="pic" sz="quarter" idx="22" hasCustomPrompt="1"/>
          </p:nvPr>
        </p:nvSpPr>
        <p:spPr>
          <a:xfrm>
            <a:off x="18051997" y="6858000"/>
            <a:ext cx="5849999" cy="6372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5" name="Text Placeholder 3">
            <a:extLst>
              <a:ext uri="{FF2B5EF4-FFF2-40B4-BE49-F238E27FC236}">
                <a16:creationId xmlns:a16="http://schemas.microsoft.com/office/drawing/2014/main" id="{18BFCA73-5A52-2948-854C-23498017B30C}"/>
              </a:ext>
            </a:extLst>
          </p:cNvPr>
          <p:cNvSpPr>
            <a:spLocks noGrp="1"/>
          </p:cNvSpPr>
          <p:nvPr>
            <p:ph type="body" sz="half" idx="23" hasCustomPrompt="1"/>
          </p:nvPr>
        </p:nvSpPr>
        <p:spPr>
          <a:xfrm>
            <a:off x="858981" y="7290048"/>
            <a:ext cx="5004056" cy="5939952"/>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36" name="Text Placeholder 3">
            <a:extLst>
              <a:ext uri="{FF2B5EF4-FFF2-40B4-BE49-F238E27FC236}">
                <a16:creationId xmlns:a16="http://schemas.microsoft.com/office/drawing/2014/main" id="{26C19E7B-3293-A34C-8019-B66220F68581}"/>
              </a:ext>
            </a:extLst>
          </p:cNvPr>
          <p:cNvSpPr>
            <a:spLocks noGrp="1"/>
          </p:cNvSpPr>
          <p:nvPr>
            <p:ph type="body" sz="half" idx="24" hasCustomPrompt="1"/>
          </p:nvPr>
        </p:nvSpPr>
        <p:spPr>
          <a:xfrm>
            <a:off x="18500007" y="486000"/>
            <a:ext cx="5004056" cy="5939952"/>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37" name="Text Placeholder 3">
            <a:extLst>
              <a:ext uri="{FF2B5EF4-FFF2-40B4-BE49-F238E27FC236}">
                <a16:creationId xmlns:a16="http://schemas.microsoft.com/office/drawing/2014/main" id="{71E04723-43C9-E249-B03C-FDED0C006F77}"/>
              </a:ext>
            </a:extLst>
          </p:cNvPr>
          <p:cNvSpPr>
            <a:spLocks noGrp="1"/>
          </p:cNvSpPr>
          <p:nvPr>
            <p:ph type="body" sz="half" idx="25" hasCustomPrompt="1"/>
          </p:nvPr>
        </p:nvSpPr>
        <p:spPr>
          <a:xfrm>
            <a:off x="12568381" y="7290048"/>
            <a:ext cx="5004056" cy="5939952"/>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11" name="TextBox 10">
            <a:extLst>
              <a:ext uri="{FF2B5EF4-FFF2-40B4-BE49-F238E27FC236}">
                <a16:creationId xmlns:a16="http://schemas.microsoft.com/office/drawing/2014/main" id="{5D4B7E75-FBA5-1D4B-BA9C-11BD2FE3C7B0}"/>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00151903"/>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Draft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665150370"/>
              </p:ext>
            </p:extLst>
          </p:nvPr>
        </p:nvGraphicFramePr>
        <p:xfrm>
          <a:off x="4236" y="4236"/>
          <a:ext cx="4232" cy="4232"/>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4" name="Object 3" hidden="1"/>
                      <p:cNvPicPr/>
                      <p:nvPr/>
                    </p:nvPicPr>
                    <p:blipFill>
                      <a:blip r:embed="rId5"/>
                      <a:stretch>
                        <a:fillRect/>
                      </a:stretch>
                    </p:blipFill>
                    <p:spPr>
                      <a:xfrm>
                        <a:off x="4236" y="4236"/>
                        <a:ext cx="4232" cy="4232"/>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CA1B8B0-07F0-4963-BA23-096FA838985C}"/>
              </a:ext>
            </a:extLst>
          </p:cNvPr>
          <p:cNvSpPr/>
          <p:nvPr userDrawn="1">
            <p:custDataLst>
              <p:tags r:id="rId2"/>
            </p:custDataLst>
          </p:nvPr>
        </p:nvSpPr>
        <p:spPr>
          <a:xfrm>
            <a:off x="0" y="0"/>
            <a:ext cx="317479"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GB" sz="6400" b="1" i="0" baseline="0">
              <a:latin typeface="Noto IKEA Latin" panose="020B0502040504020204" pitchFamily="34" charset="0"/>
              <a:ea typeface="+mj-ea"/>
              <a:sym typeface="Noto IKEA Latin" panose="020B0502040504020204" pitchFamily="34" charset="0"/>
            </a:endParaRPr>
          </a:p>
        </p:txBody>
      </p:sp>
      <p:sp>
        <p:nvSpPr>
          <p:cNvPr id="13" name="TextBox 12">
            <a:extLst>
              <a:ext uri="{FF2B5EF4-FFF2-40B4-BE49-F238E27FC236}">
                <a16:creationId xmlns:a16="http://schemas.microsoft.com/office/drawing/2014/main" id="{7F875EEE-CE84-49C0-9066-95EB7098249A}"/>
              </a:ext>
            </a:extLst>
          </p:cNvPr>
          <p:cNvSpPr txBox="1"/>
          <p:nvPr userDrawn="1"/>
        </p:nvSpPr>
        <p:spPr>
          <a:xfrm rot="5400000">
            <a:off x="22608964" y="1856713"/>
            <a:ext cx="2519896" cy="292372"/>
          </a:xfrm>
          <a:prstGeom prst="rect">
            <a:avLst/>
          </a:prstGeom>
          <a:noFill/>
        </p:spPr>
        <p:txBody>
          <a:bodyPr wrap="square" lIns="137143" tIns="68572" rIns="137143" bIns="68572" rtlCol="0">
            <a:spAutoFit/>
          </a:bodyPr>
          <a:lstStyle/>
          <a:p>
            <a:pPr rtl="0"/>
            <a:r>
              <a:rPr lang="en-GB" sz="1000"/>
              <a:t>©</a:t>
            </a:r>
            <a:r>
              <a:rPr lang="en-GB" sz="1000" baseline="0"/>
              <a:t> Inter IKEA Systems B.V. 2021</a:t>
            </a:r>
            <a:endParaRPr lang="en-GB" sz="1000"/>
          </a:p>
        </p:txBody>
      </p:sp>
      <p:sp>
        <p:nvSpPr>
          <p:cNvPr id="20" name="textruta 5" descr="IISsidfot">
            <a:extLst>
              <a:ext uri="{FF2B5EF4-FFF2-40B4-BE49-F238E27FC236}">
                <a16:creationId xmlns:a16="http://schemas.microsoft.com/office/drawing/2014/main" id="{E9674AB1-11A0-46B8-BCD3-BAFC99DF11BE}"/>
              </a:ext>
            </a:extLst>
          </p:cNvPr>
          <p:cNvSpPr txBox="1"/>
          <p:nvPr userDrawn="1"/>
        </p:nvSpPr>
        <p:spPr>
          <a:xfrm>
            <a:off x="717504" y="13140007"/>
            <a:ext cx="795089" cy="246221"/>
          </a:xfrm>
          <a:prstGeom prst="rect">
            <a:avLst/>
          </a:prstGeom>
          <a:noFill/>
        </p:spPr>
        <p:txBody>
          <a:bodyPr wrap="none" lIns="0" tIns="0" rIns="0" bIns="0" rtlCol="0">
            <a:spAutoFit/>
          </a:bodyPr>
          <a:lstStyle/>
          <a:p>
            <a:pPr defTabSz="1828573" rtl="0"/>
            <a:r>
              <a:rPr lang="en-GB" sz="1600" b="0">
                <a:solidFill>
                  <a:srgbClr val="000000"/>
                </a:solidFill>
              </a:rPr>
              <a:t>Page </a:t>
            </a:r>
            <a:fld id="{A866930D-FFE9-43BE-BBAB-0E5EF562348B}" type="slidenum">
              <a:rPr lang="en-GB" sz="1600" b="0" smtClean="0">
                <a:solidFill>
                  <a:srgbClr val="000000"/>
                </a:solidFill>
              </a:rPr>
              <a:pPr defTabSz="1828573" rtl="0"/>
              <a:t>‹#›</a:t>
            </a:fld>
            <a:endParaRPr lang="en-GB" sz="1600" b="0">
              <a:solidFill>
                <a:srgbClr val="000000"/>
              </a:solidFill>
            </a:endParaRPr>
          </a:p>
        </p:txBody>
      </p:sp>
      <p:sp>
        <p:nvSpPr>
          <p:cNvPr id="27" name="Text Placeholder 9">
            <a:extLst>
              <a:ext uri="{FF2B5EF4-FFF2-40B4-BE49-F238E27FC236}">
                <a16:creationId xmlns:a16="http://schemas.microsoft.com/office/drawing/2014/main" id="{B00C56FB-692A-4FAB-9412-250492FA5DEE}"/>
              </a:ext>
            </a:extLst>
          </p:cNvPr>
          <p:cNvSpPr>
            <a:spLocks noGrp="1"/>
          </p:cNvSpPr>
          <p:nvPr>
            <p:ph type="body" sz="quarter" idx="13" hasCustomPrompt="1"/>
          </p:nvPr>
        </p:nvSpPr>
        <p:spPr>
          <a:xfrm>
            <a:off x="717504" y="12566363"/>
            <a:ext cx="22982330" cy="501650"/>
          </a:xfrm>
          <a:prstGeom prst="rect">
            <a:avLst/>
          </a:prstGeom>
        </p:spPr>
        <p:txBody>
          <a:bodyPr wrap="square" lIns="0" rIns="0" bIns="0" anchor="b" anchorCtr="0"/>
          <a:lstStyle>
            <a:lvl1pPr marL="0" indent="0" rtl="0">
              <a:buNone/>
              <a:defRPr kumimoji="0" lang="en-US" sz="1600" b="0" i="0" u="none" strike="noStrike" kern="1200" cap="none" spc="0" normalizeH="0" baseline="0" dirty="0" smtClean="0">
                <a:ln>
                  <a:noFill/>
                </a:ln>
                <a:solidFill>
                  <a:prstClr val="black"/>
                </a:solidFill>
                <a:effectLst/>
                <a:uLnTx/>
                <a:uFillTx/>
                <a:latin typeface="+mj-lt"/>
                <a:ea typeface="+mn-ea"/>
                <a:cs typeface="Arial"/>
              </a:defRPr>
            </a:lvl1pPr>
          </a:lstStyle>
          <a:p>
            <a:pPr marL="0" marR="0" lvl="0" indent="0" algn="l" defTabSz="1828619" rtl="0" eaLnBrk="1" fontAlgn="auto" latinLnBrk="0" hangingPunct="1">
              <a:lnSpc>
                <a:spcPct val="100000"/>
              </a:lnSpc>
              <a:spcBef>
                <a:spcPts val="0"/>
              </a:spcBef>
              <a:spcAft>
                <a:spcPts val="0"/>
              </a:spcAft>
              <a:buClrTx/>
              <a:buSzTx/>
              <a:buFontTx/>
              <a:buNone/>
              <a:tabLst/>
              <a:defRPr/>
            </a:pPr>
            <a:r>
              <a:rPr lang="en-GB"/>
              <a:t>Add notes and sources</a:t>
            </a:r>
          </a:p>
        </p:txBody>
      </p:sp>
      <p:sp>
        <p:nvSpPr>
          <p:cNvPr id="16" name="Rubrik 1">
            <a:extLst>
              <a:ext uri="{FF2B5EF4-FFF2-40B4-BE49-F238E27FC236}">
                <a16:creationId xmlns:a16="http://schemas.microsoft.com/office/drawing/2014/main" id="{A9CAA1F3-2866-4518-B987-1A2F1E9ED015}"/>
              </a:ext>
            </a:extLst>
          </p:cNvPr>
          <p:cNvSpPr>
            <a:spLocks noGrp="1"/>
          </p:cNvSpPr>
          <p:nvPr>
            <p:ph type="title"/>
          </p:nvPr>
        </p:nvSpPr>
        <p:spPr>
          <a:xfrm>
            <a:off x="723253" y="742225"/>
            <a:ext cx="22994871" cy="848562"/>
          </a:xfrm>
          <a:prstGeom prst="rect">
            <a:avLst/>
          </a:prstGeom>
        </p:spPr>
        <p:txBody>
          <a:bodyPr vert="horz" lIns="0" rIns="0" anchor="t"/>
          <a:lstStyle>
            <a:lvl1pPr rtl="0">
              <a:defRPr sz="4800">
                <a:latin typeface="Noto IKEA Latin" panose="020B0502040504020204" pitchFamily="34" charset="0"/>
                <a:cs typeface="Noto IKEA Latin" panose="020B0502040504020204" pitchFamily="34" charset="0"/>
              </a:defRPr>
            </a:lvl1pPr>
          </a:lstStyle>
          <a:p>
            <a:r>
              <a:rPr lang="en-GB"/>
              <a:t>Click to edit Master title style</a:t>
            </a:r>
          </a:p>
        </p:txBody>
      </p:sp>
      <p:sp>
        <p:nvSpPr>
          <p:cNvPr id="28" name="Text Placeholder 7">
            <a:extLst>
              <a:ext uri="{FF2B5EF4-FFF2-40B4-BE49-F238E27FC236}">
                <a16:creationId xmlns:a16="http://schemas.microsoft.com/office/drawing/2014/main" id="{FEC6445E-11CA-497E-82DB-790E6ABBE355}"/>
              </a:ext>
            </a:extLst>
          </p:cNvPr>
          <p:cNvSpPr>
            <a:spLocks noGrp="1"/>
          </p:cNvSpPr>
          <p:nvPr>
            <p:ph type="body" sz="quarter" idx="10" hasCustomPrompt="1"/>
          </p:nvPr>
        </p:nvSpPr>
        <p:spPr>
          <a:xfrm>
            <a:off x="730200" y="151809"/>
            <a:ext cx="22987924" cy="518422"/>
          </a:xfrm>
          <a:prstGeom prst="rect">
            <a:avLst/>
          </a:prstGeom>
        </p:spPr>
        <p:txBody>
          <a:bodyPr lIns="0" rIns="0"/>
          <a:lstStyle>
            <a:lvl1pPr marL="0" indent="0" rtl="0">
              <a:buNone/>
              <a:defRPr sz="3200">
                <a:solidFill>
                  <a:schemeClr val="bg1">
                    <a:lumMod val="65000"/>
                  </a:schemeClr>
                </a:solidFill>
              </a:defRPr>
            </a:lvl1pPr>
          </a:lstStyle>
          <a:p>
            <a:pPr lvl="0"/>
            <a:r>
              <a:rPr lang="en-GB"/>
              <a:t>Click to edit chapter title</a:t>
            </a:r>
          </a:p>
        </p:txBody>
      </p:sp>
      <p:sp>
        <p:nvSpPr>
          <p:cNvPr id="18" name="Platshållare för innehåll 2">
            <a:extLst>
              <a:ext uri="{FF2B5EF4-FFF2-40B4-BE49-F238E27FC236}">
                <a16:creationId xmlns:a16="http://schemas.microsoft.com/office/drawing/2014/main" id="{7CBA247A-570F-4BB3-AF40-27B29E06D638}"/>
              </a:ext>
            </a:extLst>
          </p:cNvPr>
          <p:cNvSpPr>
            <a:spLocks noGrp="1"/>
          </p:cNvSpPr>
          <p:nvPr>
            <p:ph idx="1"/>
          </p:nvPr>
        </p:nvSpPr>
        <p:spPr>
          <a:xfrm>
            <a:off x="717503" y="4061201"/>
            <a:ext cx="22982332" cy="8368370"/>
          </a:xfrm>
          <a:prstGeom prst="rect">
            <a:avLst/>
          </a:prstGeom>
        </p:spPr>
        <p:txBody>
          <a:bodyPr lIns="0" tIns="0" rIns="90000" bIns="46800"/>
          <a:lstStyle>
            <a:lvl1pPr marL="486774" indent="-486774" rtl="0">
              <a:spcBef>
                <a:spcPts val="1200"/>
              </a:spcBef>
              <a:tabLst/>
              <a:defRPr sz="2800">
                <a:latin typeface="+mj-lt"/>
              </a:defRPr>
            </a:lvl1pPr>
            <a:lvl2pPr marL="956614" indent="-469845" algn="l" rtl="0" eaLnBrk="1" fontAlgn="base" hangingPunct="1">
              <a:spcBef>
                <a:spcPct val="20000"/>
              </a:spcBef>
              <a:spcAft>
                <a:spcPct val="0"/>
              </a:spcAft>
              <a:buFont typeface="Verdana" panose="020B0604030504040204" pitchFamily="34" charset="0"/>
              <a:buChar char="−"/>
              <a:defRPr lang="en-US" sz="2800" b="0" dirty="0">
                <a:solidFill>
                  <a:schemeClr val="tx1"/>
                </a:solidFill>
                <a:latin typeface="+mj-lt"/>
                <a:cs typeface="+mn-cs"/>
              </a:defRPr>
            </a:lvl2pPr>
            <a:lvl3pPr marL="1443388" indent="-486774" algn="l" rtl="0" eaLnBrk="1" fontAlgn="base" hangingPunct="1">
              <a:spcBef>
                <a:spcPct val="20000"/>
              </a:spcBef>
              <a:spcAft>
                <a:spcPct val="0"/>
              </a:spcAft>
              <a:defRPr lang="en-US" sz="2800" b="0" dirty="0">
                <a:solidFill>
                  <a:schemeClr val="tx1"/>
                </a:solidFill>
                <a:latin typeface="+mj-lt"/>
                <a:cs typeface="+mn-cs"/>
              </a:defRPr>
            </a:lvl3pPr>
            <a:lvl4pPr algn="l" rtl="0" eaLnBrk="1" fontAlgn="base" hangingPunct="1">
              <a:spcBef>
                <a:spcPct val="20000"/>
              </a:spcBef>
              <a:spcAft>
                <a:spcPct val="0"/>
              </a:spcAft>
              <a:defRPr lang="en-US" sz="2800" b="0" dirty="0">
                <a:solidFill>
                  <a:schemeClr val="tx1"/>
                </a:solidFill>
                <a:latin typeface="+mj-lt"/>
                <a:cs typeface="+mn-cs"/>
              </a:defRPr>
            </a:lvl4pPr>
            <a:lvl5pPr algn="l" rtl="0" eaLnBrk="1" fontAlgn="base" hangingPunct="1">
              <a:spcBef>
                <a:spcPct val="20000"/>
              </a:spcBef>
              <a:spcAft>
                <a:spcPct val="0"/>
              </a:spcAft>
              <a:defRPr lang="en-US" sz="2800" b="0" dirty="0">
                <a:solidFill>
                  <a:schemeClr val="tx1"/>
                </a:solidFill>
                <a:latin typeface="+mj-lt"/>
                <a:cs typeface="+mn-cs"/>
              </a:defRPr>
            </a:lvl5pPr>
            <a:lvl6pPr marL="5333333" indent="-761904" algn="l" rtl="0" eaLnBrk="1" fontAlgn="base" hangingPunct="1">
              <a:spcBef>
                <a:spcPct val="20000"/>
              </a:spcBef>
              <a:spcAft>
                <a:spcPct val="0"/>
              </a:spcAft>
              <a:buFont typeface="Noto IKEA Latin" panose="020B0502040504020204" pitchFamily="34" charset="0"/>
              <a:buChar char="–"/>
              <a:defRPr lang="en-US" sz="2800" b="0" dirty="0">
                <a:solidFill>
                  <a:schemeClr val="tx1"/>
                </a:solidFill>
                <a:latin typeface="+mj-lt"/>
                <a:cs typeface="+mn-cs"/>
              </a:defRPr>
            </a:lvl6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5"/>
            <a:endParaRPr lang="en-GB" noProof="0"/>
          </a:p>
        </p:txBody>
      </p:sp>
      <p:sp>
        <p:nvSpPr>
          <p:cNvPr id="19" name="Text Placeholder 4">
            <a:extLst>
              <a:ext uri="{FF2B5EF4-FFF2-40B4-BE49-F238E27FC236}">
                <a16:creationId xmlns:a16="http://schemas.microsoft.com/office/drawing/2014/main" id="{3308DBAC-C49E-4800-B041-719F51F96DF6}"/>
              </a:ext>
            </a:extLst>
          </p:cNvPr>
          <p:cNvSpPr>
            <a:spLocks noGrp="1"/>
          </p:cNvSpPr>
          <p:nvPr>
            <p:ph type="body" sz="quarter" idx="14"/>
          </p:nvPr>
        </p:nvSpPr>
        <p:spPr>
          <a:xfrm>
            <a:off x="717504" y="3308855"/>
            <a:ext cx="22982330" cy="615554"/>
          </a:xfrm>
          <a:prstGeom prst="rect">
            <a:avLst/>
          </a:prstGeom>
        </p:spPr>
        <p:txBody>
          <a:bodyPr lIns="0" tIns="0" rIns="0" bIns="46800"/>
          <a:lstStyle>
            <a:lvl1pPr marL="0" indent="0" rtl="0">
              <a:buNone/>
              <a:defRPr sz="3200" b="1">
                <a:latin typeface="+mj-lt"/>
              </a:defRPr>
            </a:lvl1pPr>
          </a:lstStyle>
          <a:p>
            <a:pPr lvl="0"/>
            <a:r>
              <a:rPr lang="en-GB" noProof="0"/>
              <a:t>Click to edit Master text styles</a:t>
            </a:r>
          </a:p>
        </p:txBody>
      </p:sp>
      <p:sp>
        <p:nvSpPr>
          <p:cNvPr id="25" name="textruta 5" descr="IISsidfot">
            <a:extLst>
              <a:ext uri="{FF2B5EF4-FFF2-40B4-BE49-F238E27FC236}">
                <a16:creationId xmlns:a16="http://schemas.microsoft.com/office/drawing/2014/main" id="{A5021D52-81DF-4F85-A7AE-23708D51579A}"/>
              </a:ext>
            </a:extLst>
          </p:cNvPr>
          <p:cNvSpPr txBox="1">
            <a:spLocks/>
          </p:cNvSpPr>
          <p:nvPr userDrawn="1"/>
        </p:nvSpPr>
        <p:spPr>
          <a:xfrm>
            <a:off x="20356189" y="13140007"/>
            <a:ext cx="3332644" cy="246221"/>
          </a:xfrm>
          <a:prstGeom prst="rect">
            <a:avLst/>
          </a:prstGeom>
          <a:noFill/>
        </p:spPr>
        <p:txBody>
          <a:bodyPr wrap="none" lIns="0" tIns="0" rIns="0" bIns="0" rtlCol="0">
            <a:spAutoFit/>
          </a:bodyPr>
          <a:lstStyle/>
          <a:p>
            <a:pPr defTabSz="1828573" rtl="0"/>
            <a:r>
              <a:rPr lang="en-GB" sz="1600" b="0" noProof="0">
                <a:solidFill>
                  <a:srgbClr val="000000"/>
                </a:solidFill>
              </a:rPr>
              <a:t>Competitor Compass Product 2021</a:t>
            </a:r>
          </a:p>
        </p:txBody>
      </p:sp>
    </p:spTree>
    <p:extLst>
      <p:ext uri="{BB962C8B-B14F-4D97-AF65-F5344CB8AC3E}">
        <p14:creationId xmlns:p14="http://schemas.microsoft.com/office/powerpoint/2010/main" val="3949500050"/>
      </p:ext>
    </p:extLst>
  </p:cSld>
  <p:clrMapOvr>
    <a:masterClrMapping/>
  </p:clrMapOvr>
  <p:extLst>
    <p:ext uri="{DCECCB84-F9BA-43D5-87BE-67443E8EF086}">
      <p15:sldGuideLst xmlns:p15="http://schemas.microsoft.com/office/powerpoint/2012/main">
        <p15:guide id="2" orient="horz" pos="116">
          <p15:clr>
            <a:srgbClr val="FBAE40"/>
          </p15:clr>
        </p15:guide>
        <p15:guide id="4" pos="117">
          <p15:clr>
            <a:srgbClr val="FBAE40"/>
          </p15:clr>
        </p15:guide>
        <p15:guide id="5" pos="3746">
          <p15:clr>
            <a:srgbClr val="FBAE40"/>
          </p15:clr>
        </p15:guide>
        <p15:guide id="6" orient="horz" pos="513">
          <p15:clr>
            <a:srgbClr val="FBAE40"/>
          </p15:clr>
        </p15:guide>
        <p15:guide id="7" pos="1920">
          <p15:clr>
            <a:srgbClr val="FBAE40"/>
          </p15:clr>
        </p15:guide>
        <p15:guide id="8" orient="horz" pos="627">
          <p15:clr>
            <a:srgbClr val="FBAE40"/>
          </p15:clr>
        </p15:guide>
        <p15:guide id="9" orient="horz" pos="1976">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on simple background">
    <p:bg>
      <p:bgPr>
        <a:solidFill>
          <a:schemeClr val="bg1"/>
        </a:solidFill>
        <a:effectLst/>
      </p:bgPr>
    </p:bg>
    <p:spTree>
      <p:nvGrpSpPr>
        <p:cNvPr id="1" name=""/>
        <p:cNvGrpSpPr/>
        <p:nvPr/>
      </p:nvGrpSpPr>
      <p:grpSpPr>
        <a:xfrm>
          <a:off x="0" y="0"/>
          <a:ext cx="0" cy="0"/>
          <a:chOff x="0" y="0"/>
          <a:chExt cx="0" cy="0"/>
        </a:xfrm>
      </p:grpSpPr>
      <p:sp>
        <p:nvSpPr>
          <p:cNvPr id="2" name="textruta 1">
            <a:extLst>
              <a:ext uri="{FF2B5EF4-FFF2-40B4-BE49-F238E27FC236}">
                <a16:creationId xmlns:a16="http://schemas.microsoft.com/office/drawing/2014/main" id="{DDEB96AC-FD53-0E4B-BA42-CA10F9BD40B6}"/>
              </a:ext>
            </a:extLst>
          </p:cNvPr>
          <p:cNvSpPr txBox="1"/>
          <p:nvPr userDrawn="1"/>
        </p:nvSpPr>
        <p:spPr>
          <a:xfrm>
            <a:off x="11945566" y="13404715"/>
            <a:ext cx="0" cy="0"/>
          </a:xfrm>
          <a:prstGeom prst="rect">
            <a:avLst/>
          </a:prstGeom>
          <a:noFill/>
        </p:spPr>
        <p:txBody>
          <a:bodyPr wrap="none" rtlCol="0">
            <a:noAutofit/>
          </a:bodyPr>
          <a:lstStyle/>
          <a:p>
            <a:pPr algn="l"/>
            <a:endParaRPr lang="sv-SE" sz="3200"/>
          </a:p>
        </p:txBody>
      </p:sp>
      <p:sp>
        <p:nvSpPr>
          <p:cNvPr id="15" name="Picture Placeholder 10">
            <a:extLst>
              <a:ext uri="{FF2B5EF4-FFF2-40B4-BE49-F238E27FC236}">
                <a16:creationId xmlns:a16="http://schemas.microsoft.com/office/drawing/2014/main" id="{C05B3A55-EA25-5441-994D-E2E03165C7D1}"/>
              </a:ext>
            </a:extLst>
          </p:cNvPr>
          <p:cNvSpPr>
            <a:spLocks noGrp="1"/>
          </p:cNvSpPr>
          <p:nvPr>
            <p:ph type="pic" sz="quarter" idx="14" hasCustomPrompt="1"/>
          </p:nvPr>
        </p:nvSpPr>
        <p:spPr>
          <a:xfrm>
            <a:off x="-1" y="0"/>
            <a:ext cx="24382413" cy="13716000"/>
          </a:xfrm>
          <a:solidFill>
            <a:schemeClr val="bg1">
              <a:lumMod val="95000"/>
            </a:schemeClr>
          </a:solidFill>
        </p:spPr>
        <p:txBody>
          <a:bodyPr>
            <a:normAutofit/>
          </a:bodyPr>
          <a:lstStyle>
            <a:lvl1pPr marL="0" marR="0" indent="0" algn="ctr" defTabSz="1828663" rtl="0" eaLnBrk="1" fontAlgn="auto" latinLnBrk="0" hangingPunct="1">
              <a:lnSpc>
                <a:spcPct val="10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Tree>
    <p:extLst>
      <p:ext uri="{BB962C8B-B14F-4D97-AF65-F5344CB8AC3E}">
        <p14:creationId xmlns:p14="http://schemas.microsoft.com/office/powerpoint/2010/main" val="3631209520"/>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Title on simple background">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7C1D6C0-9082-6D41-8CF2-4BE2980201A9}"/>
              </a:ext>
            </a:extLst>
          </p:cNvPr>
          <p:cNvSpPr>
            <a:spLocks noGrp="1"/>
          </p:cNvSpPr>
          <p:nvPr>
            <p:ph type="pic" sz="quarter" idx="18" hasCustomPrompt="1"/>
          </p:nvPr>
        </p:nvSpPr>
        <p:spPr>
          <a:xfrm>
            <a:off x="491207" y="486000"/>
            <a:ext cx="23400000" cy="12744000"/>
          </a:xfrm>
          <a:custGeom>
            <a:avLst/>
            <a:gdLst>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4730 w 23399999"/>
              <a:gd name="connsiteY8"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1337594 w 23399999"/>
              <a:gd name="connsiteY8" fmla="*/ 1164380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56794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5 w 23400000"/>
              <a:gd name="connsiteY4" fmla="*/ 9824813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400000" h="12744000">
                <a:moveTo>
                  <a:pt x="2564730" y="0"/>
                </a:moveTo>
                <a:lnTo>
                  <a:pt x="23399999" y="0"/>
                </a:lnTo>
                <a:lnTo>
                  <a:pt x="23399999" y="0"/>
                </a:lnTo>
                <a:cubicBezTo>
                  <a:pt x="23399999" y="3277203"/>
                  <a:pt x="23400000" y="6554405"/>
                  <a:pt x="23400000" y="9831608"/>
                </a:cubicBezTo>
                <a:cubicBezTo>
                  <a:pt x="23399581" y="9831571"/>
                  <a:pt x="17815405" y="9823891"/>
                  <a:pt x="17820604" y="9824813"/>
                </a:cubicBezTo>
                <a:cubicBezTo>
                  <a:pt x="17837181" y="9827753"/>
                  <a:pt x="17814938" y="12744037"/>
                  <a:pt x="17820605" y="12744000"/>
                </a:cubicBezTo>
                <a:lnTo>
                  <a:pt x="0" y="12744000"/>
                </a:lnTo>
                <a:lnTo>
                  <a:pt x="0" y="12744000"/>
                </a:lnTo>
                <a:lnTo>
                  <a:pt x="0" y="851260"/>
                </a:lnTo>
                <a:cubicBezTo>
                  <a:pt x="6513" y="855406"/>
                  <a:pt x="2562637" y="855434"/>
                  <a:pt x="2560913" y="855461"/>
                </a:cubicBezTo>
                <a:cubicBezTo>
                  <a:pt x="2564931" y="864124"/>
                  <a:pt x="2564831" y="283781"/>
                  <a:pt x="2564730" y="0"/>
                </a:cubicBezTo>
                <a:close/>
              </a:path>
            </a:pathLst>
          </a:custGeom>
          <a:solidFill>
            <a:schemeClr val="bg1">
              <a:lumMod val="95000"/>
            </a:schemeClr>
          </a:solidFill>
        </p:spPr>
        <p:txBody>
          <a:bodyPr/>
          <a:lstStyle>
            <a:lvl1pPr algn="ctr">
              <a:defRPr sz="2400">
                <a:solidFill>
                  <a:schemeClr val="tx1">
                    <a:lumMod val="65000"/>
                    <a:lumOff val="35000"/>
                  </a:schemeClr>
                </a:solidFill>
              </a:defRPr>
            </a:lvl1pPr>
          </a:lstStyle>
          <a:p>
            <a:r>
              <a:rPr lang="en-NL"/>
              <a:t>Drag and drop a topic-related picture into this fram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3060000" y="3402013"/>
            <a:ext cx="12156188" cy="6911975"/>
          </a:xfrm>
          <a:prstGeom prst="rect">
            <a:avLst/>
          </a:prstGeom>
          <a:solidFill>
            <a:schemeClr val="bg1"/>
          </a:solidFill>
        </p:spPr>
        <p:txBody>
          <a:bodyPr vert="horz" lIns="720000" tIns="540000" rIns="90000" bIns="90000" rtlCol="0" anchor="t">
            <a:noAutofit/>
          </a:bodyPr>
          <a:lstStyle>
            <a:lvl1pPr>
              <a:defRPr/>
            </a:lvl1pPr>
          </a:lstStyle>
          <a:p>
            <a:r>
              <a:rPr lang="en-GB" noProof="0"/>
              <a:t>Put the title here,</a:t>
            </a:r>
            <a:br>
              <a:rPr lang="en-GB" noProof="0"/>
            </a:br>
            <a:r>
              <a:rPr lang="en-GB" noProof="0"/>
              <a:t>keep it bold 80 </a:t>
            </a:r>
            <a:r>
              <a:rPr lang="en-GB" noProof="0" err="1"/>
              <a:t>pt</a:t>
            </a:r>
            <a:endParaRPr lang="en-GB" noProof="0"/>
          </a:p>
        </p:txBody>
      </p:sp>
      <p:pic>
        <p:nvPicPr>
          <p:cNvPr id="16" name="Picture 15">
            <a:extLst>
              <a:ext uri="{FF2B5EF4-FFF2-40B4-BE49-F238E27FC236}">
                <a16:creationId xmlns:a16="http://schemas.microsoft.com/office/drawing/2014/main" id="{B318DE6B-1EB2-D248-BE9E-1B173597E1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32675" y="10313988"/>
            <a:ext cx="5058531" cy="3402012"/>
          </a:xfrm>
          <a:prstGeom prst="rect">
            <a:avLst/>
          </a:prstGeom>
        </p:spPr>
      </p:pic>
      <p:sp>
        <p:nvSpPr>
          <p:cNvPr id="18" name="TextBox 17">
            <a:extLst>
              <a:ext uri="{FF2B5EF4-FFF2-40B4-BE49-F238E27FC236}">
                <a16:creationId xmlns:a16="http://schemas.microsoft.com/office/drawing/2014/main" id="{328A1B16-9A25-3541-9435-BC1CEEFFC8BA}"/>
              </a:ext>
            </a:extLst>
          </p:cNvPr>
          <p:cNvSpPr txBox="1"/>
          <p:nvPr userDrawn="1"/>
        </p:nvSpPr>
        <p:spPr>
          <a:xfrm>
            <a:off x="400182" y="419671"/>
            <a:ext cx="2659818" cy="893713"/>
          </a:xfrm>
          <a:prstGeom prst="rect">
            <a:avLst/>
          </a:prstGeom>
          <a:noFill/>
        </p:spPr>
        <p:txBody>
          <a:bodyPr wrap="square" rtlCol="0">
            <a:noAutofit/>
          </a:bodyPr>
          <a:lstStyle/>
          <a:p>
            <a:pPr algn="l"/>
            <a:r>
              <a:rPr lang="en-NL" sz="2400"/>
              <a:t>Franchise</a:t>
            </a:r>
          </a:p>
        </p:txBody>
      </p:sp>
      <p:sp>
        <p:nvSpPr>
          <p:cNvPr id="4" name="Footer Placeholder 3">
            <a:extLst>
              <a:ext uri="{FF2B5EF4-FFF2-40B4-BE49-F238E27FC236}">
                <a16:creationId xmlns:a16="http://schemas.microsoft.com/office/drawing/2014/main" id="{14588178-ED27-7648-B4E2-E9EC58AA4B06}"/>
              </a:ext>
            </a:extLst>
          </p:cNvPr>
          <p:cNvSpPr>
            <a:spLocks noGrp="1"/>
          </p:cNvSpPr>
          <p:nvPr>
            <p:ph type="ftr" sz="quarter" idx="17"/>
          </p:nvPr>
        </p:nvSpPr>
        <p:spPr/>
        <p:txBody>
          <a:bodyPr/>
          <a:lstStyle/>
          <a:p>
            <a:r>
              <a:rPr lang="en-NL"/>
              <a:t>Insert the footer for all slides in t</a:t>
            </a:r>
            <a:r>
              <a:rPr lang="en-GB"/>
              <a:t>he</a:t>
            </a:r>
            <a:r>
              <a:rPr lang="en-NL"/>
              <a:t> top menu Insert &gt; Header &amp; Footer</a:t>
            </a:r>
          </a:p>
        </p:txBody>
      </p:sp>
    </p:spTree>
    <p:extLst>
      <p:ext uri="{BB962C8B-B14F-4D97-AF65-F5344CB8AC3E}">
        <p14:creationId xmlns:p14="http://schemas.microsoft.com/office/powerpoint/2010/main" val="2592226066"/>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on double background">
    <p:bg>
      <p:bgPr>
        <a:solidFill>
          <a:schemeClr val="bg1"/>
        </a:solidFill>
        <a:effectLst/>
      </p:bgPr>
    </p:bg>
    <p:spTree>
      <p:nvGrpSpPr>
        <p:cNvPr id="1" name=""/>
        <p:cNvGrpSpPr/>
        <p:nvPr/>
      </p:nvGrpSpPr>
      <p:grpSpPr>
        <a:xfrm>
          <a:off x="0" y="0"/>
          <a:ext cx="0" cy="0"/>
          <a:chOff x="0" y="0"/>
          <a:chExt cx="0" cy="0"/>
        </a:xfrm>
      </p:grpSpPr>
      <p:sp>
        <p:nvSpPr>
          <p:cNvPr id="17" name="Picture Placeholder 6">
            <a:extLst>
              <a:ext uri="{FF2B5EF4-FFF2-40B4-BE49-F238E27FC236}">
                <a16:creationId xmlns:a16="http://schemas.microsoft.com/office/drawing/2014/main" id="{72BA1E79-3FC6-E940-BEC4-AE05A8279CD0}"/>
              </a:ext>
            </a:extLst>
          </p:cNvPr>
          <p:cNvSpPr>
            <a:spLocks noGrp="1"/>
          </p:cNvSpPr>
          <p:nvPr>
            <p:ph type="pic" sz="quarter" idx="20" hasCustomPrompt="1"/>
          </p:nvPr>
        </p:nvSpPr>
        <p:spPr>
          <a:xfrm>
            <a:off x="491206" y="485966"/>
            <a:ext cx="8712450" cy="12744039"/>
          </a:xfrm>
          <a:custGeom>
            <a:avLst/>
            <a:gdLst>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4730 w 23399999"/>
              <a:gd name="connsiteY8"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1337594 w 23399999"/>
              <a:gd name="connsiteY8" fmla="*/ 1164380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56794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5 w 23400000"/>
              <a:gd name="connsiteY4" fmla="*/ 9824813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17820604 w 23399999"/>
              <a:gd name="connsiteY3" fmla="*/ 9824813 h 12744000"/>
              <a:gd name="connsiteX4" fmla="*/ 17820605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17820605 w 23399999"/>
              <a:gd name="connsiteY3" fmla="*/ 12744000 h 12744000"/>
              <a:gd name="connsiteX4" fmla="*/ 0 w 23399999"/>
              <a:gd name="connsiteY4" fmla="*/ 12744000 h 12744000"/>
              <a:gd name="connsiteX5" fmla="*/ 0 w 23399999"/>
              <a:gd name="connsiteY5" fmla="*/ 12744000 h 12744000"/>
              <a:gd name="connsiteX6" fmla="*/ 0 w 23399999"/>
              <a:gd name="connsiteY6" fmla="*/ 851260 h 12744000"/>
              <a:gd name="connsiteX7" fmla="*/ 2560913 w 23399999"/>
              <a:gd name="connsiteY7" fmla="*/ 855461 h 12744000"/>
              <a:gd name="connsiteX8" fmla="*/ 2564730 w 23399999"/>
              <a:gd name="connsiteY8"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17820605 w 23399999"/>
              <a:gd name="connsiteY3" fmla="*/ 12744000 h 12744000"/>
              <a:gd name="connsiteX4" fmla="*/ 0 w 23399999"/>
              <a:gd name="connsiteY4" fmla="*/ 12744000 h 12744000"/>
              <a:gd name="connsiteX5" fmla="*/ 0 w 23399999"/>
              <a:gd name="connsiteY5" fmla="*/ 12744000 h 12744000"/>
              <a:gd name="connsiteX6" fmla="*/ 0 w 23399999"/>
              <a:gd name="connsiteY6" fmla="*/ 851260 h 12744000"/>
              <a:gd name="connsiteX7" fmla="*/ 2560913 w 23399999"/>
              <a:gd name="connsiteY7" fmla="*/ 855461 h 12744000"/>
              <a:gd name="connsiteX8" fmla="*/ 2564730 w 23399999"/>
              <a:gd name="connsiteY8" fmla="*/ 0 h 12744000"/>
              <a:gd name="connsiteX0" fmla="*/ 2564730 w 23399999"/>
              <a:gd name="connsiteY0" fmla="*/ 0 h 12744000"/>
              <a:gd name="connsiteX1" fmla="*/ 23399999 w 23399999"/>
              <a:gd name="connsiteY1" fmla="*/ 0 h 12744000"/>
              <a:gd name="connsiteX2" fmla="*/ 17820605 w 23399999"/>
              <a:gd name="connsiteY2" fmla="*/ 12744000 h 12744000"/>
              <a:gd name="connsiteX3" fmla="*/ 0 w 23399999"/>
              <a:gd name="connsiteY3" fmla="*/ 12744000 h 12744000"/>
              <a:gd name="connsiteX4" fmla="*/ 0 w 23399999"/>
              <a:gd name="connsiteY4" fmla="*/ 12744000 h 12744000"/>
              <a:gd name="connsiteX5" fmla="*/ 0 w 23399999"/>
              <a:gd name="connsiteY5" fmla="*/ 851260 h 12744000"/>
              <a:gd name="connsiteX6" fmla="*/ 2560913 w 23399999"/>
              <a:gd name="connsiteY6" fmla="*/ 855461 h 12744000"/>
              <a:gd name="connsiteX7" fmla="*/ 2564730 w 23399999"/>
              <a:gd name="connsiteY7" fmla="*/ 0 h 12744000"/>
              <a:gd name="connsiteX0" fmla="*/ 2564730 w 17820605"/>
              <a:gd name="connsiteY0" fmla="*/ 0 h 12744000"/>
              <a:gd name="connsiteX1" fmla="*/ 8712450 w 17820605"/>
              <a:gd name="connsiteY1" fmla="*/ 0 h 12744000"/>
              <a:gd name="connsiteX2" fmla="*/ 17820605 w 17820605"/>
              <a:gd name="connsiteY2" fmla="*/ 12744000 h 12744000"/>
              <a:gd name="connsiteX3" fmla="*/ 0 w 17820605"/>
              <a:gd name="connsiteY3" fmla="*/ 12744000 h 12744000"/>
              <a:gd name="connsiteX4" fmla="*/ 0 w 17820605"/>
              <a:gd name="connsiteY4" fmla="*/ 12744000 h 12744000"/>
              <a:gd name="connsiteX5" fmla="*/ 0 w 17820605"/>
              <a:gd name="connsiteY5" fmla="*/ 851260 h 12744000"/>
              <a:gd name="connsiteX6" fmla="*/ 2560913 w 17820605"/>
              <a:gd name="connsiteY6" fmla="*/ 855461 h 12744000"/>
              <a:gd name="connsiteX7" fmla="*/ 2564730 w 17820605"/>
              <a:gd name="connsiteY7" fmla="*/ 0 h 12744000"/>
              <a:gd name="connsiteX0" fmla="*/ 2564730 w 17820605"/>
              <a:gd name="connsiteY0" fmla="*/ 50 h 12744050"/>
              <a:gd name="connsiteX1" fmla="*/ 8712450 w 17820605"/>
              <a:gd name="connsiteY1" fmla="*/ 50 h 12744050"/>
              <a:gd name="connsiteX2" fmla="*/ 17820605 w 17820605"/>
              <a:gd name="connsiteY2" fmla="*/ 12744050 h 12744050"/>
              <a:gd name="connsiteX3" fmla="*/ 0 w 17820605"/>
              <a:gd name="connsiteY3" fmla="*/ 12744050 h 12744050"/>
              <a:gd name="connsiteX4" fmla="*/ 0 w 17820605"/>
              <a:gd name="connsiteY4" fmla="*/ 12744050 h 12744050"/>
              <a:gd name="connsiteX5" fmla="*/ 0 w 17820605"/>
              <a:gd name="connsiteY5" fmla="*/ 851310 h 12744050"/>
              <a:gd name="connsiteX6" fmla="*/ 2560913 w 17820605"/>
              <a:gd name="connsiteY6" fmla="*/ 855511 h 12744050"/>
              <a:gd name="connsiteX7" fmla="*/ 2564730 w 17820605"/>
              <a:gd name="connsiteY7" fmla="*/ 50 h 12744050"/>
              <a:gd name="connsiteX0" fmla="*/ 2564730 w 17820605"/>
              <a:gd name="connsiteY0" fmla="*/ 50 h 12744050"/>
              <a:gd name="connsiteX1" fmla="*/ 8712450 w 17820605"/>
              <a:gd name="connsiteY1" fmla="*/ 50 h 12744050"/>
              <a:gd name="connsiteX2" fmla="*/ 17820605 w 17820605"/>
              <a:gd name="connsiteY2" fmla="*/ 12744050 h 12744050"/>
              <a:gd name="connsiteX3" fmla="*/ 0 w 17820605"/>
              <a:gd name="connsiteY3" fmla="*/ 12744050 h 12744050"/>
              <a:gd name="connsiteX4" fmla="*/ 0 w 17820605"/>
              <a:gd name="connsiteY4" fmla="*/ 12744050 h 12744050"/>
              <a:gd name="connsiteX5" fmla="*/ 0 w 17820605"/>
              <a:gd name="connsiteY5" fmla="*/ 851310 h 12744050"/>
              <a:gd name="connsiteX6" fmla="*/ 2560913 w 17820605"/>
              <a:gd name="connsiteY6" fmla="*/ 855511 h 12744050"/>
              <a:gd name="connsiteX7" fmla="*/ 2564730 w 17820605"/>
              <a:gd name="connsiteY7" fmla="*/ 50 h 12744050"/>
              <a:gd name="connsiteX0" fmla="*/ 2564730 w 8712450"/>
              <a:gd name="connsiteY0" fmla="*/ 50 h 12744050"/>
              <a:gd name="connsiteX1" fmla="*/ 8712450 w 8712450"/>
              <a:gd name="connsiteY1" fmla="*/ 50 h 12744050"/>
              <a:gd name="connsiteX2" fmla="*/ 8662317 w 8712450"/>
              <a:gd name="connsiteY2" fmla="*/ 12744050 h 12744050"/>
              <a:gd name="connsiteX3" fmla="*/ 0 w 8712450"/>
              <a:gd name="connsiteY3" fmla="*/ 12744050 h 12744050"/>
              <a:gd name="connsiteX4" fmla="*/ 0 w 8712450"/>
              <a:gd name="connsiteY4" fmla="*/ 12744050 h 12744050"/>
              <a:gd name="connsiteX5" fmla="*/ 0 w 8712450"/>
              <a:gd name="connsiteY5" fmla="*/ 851310 h 12744050"/>
              <a:gd name="connsiteX6" fmla="*/ 2560913 w 8712450"/>
              <a:gd name="connsiteY6" fmla="*/ 855511 h 12744050"/>
              <a:gd name="connsiteX7" fmla="*/ 2564730 w 8712450"/>
              <a:gd name="connsiteY7" fmla="*/ 50 h 12744050"/>
              <a:gd name="connsiteX0" fmla="*/ 2564730 w 8712450"/>
              <a:gd name="connsiteY0" fmla="*/ 34 h 12744039"/>
              <a:gd name="connsiteX1" fmla="*/ 8712450 w 8712450"/>
              <a:gd name="connsiteY1" fmla="*/ 34 h 12744039"/>
              <a:gd name="connsiteX2" fmla="*/ 8662317 w 8712450"/>
              <a:gd name="connsiteY2" fmla="*/ 12744034 h 12744039"/>
              <a:gd name="connsiteX3" fmla="*/ 0 w 8712450"/>
              <a:gd name="connsiteY3" fmla="*/ 12744034 h 12744039"/>
              <a:gd name="connsiteX4" fmla="*/ 0 w 8712450"/>
              <a:gd name="connsiteY4" fmla="*/ 12744034 h 12744039"/>
              <a:gd name="connsiteX5" fmla="*/ 0 w 8712450"/>
              <a:gd name="connsiteY5" fmla="*/ 851294 h 12744039"/>
              <a:gd name="connsiteX6" fmla="*/ 2560913 w 8712450"/>
              <a:gd name="connsiteY6" fmla="*/ 855495 h 12744039"/>
              <a:gd name="connsiteX7" fmla="*/ 2564730 w 8712450"/>
              <a:gd name="connsiteY7" fmla="*/ 34 h 12744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12450" h="12744039">
                <a:moveTo>
                  <a:pt x="2564730" y="34"/>
                </a:moveTo>
                <a:lnTo>
                  <a:pt x="8712450" y="34"/>
                </a:lnTo>
                <a:cubicBezTo>
                  <a:pt x="8676689" y="-23929"/>
                  <a:pt x="8698078" y="12753709"/>
                  <a:pt x="8662317" y="12744034"/>
                </a:cubicBezTo>
                <a:lnTo>
                  <a:pt x="0" y="12744034"/>
                </a:lnTo>
                <a:lnTo>
                  <a:pt x="0" y="12744034"/>
                </a:lnTo>
                <a:lnTo>
                  <a:pt x="0" y="851294"/>
                </a:lnTo>
                <a:cubicBezTo>
                  <a:pt x="6513" y="855440"/>
                  <a:pt x="2562637" y="855468"/>
                  <a:pt x="2560913" y="855495"/>
                </a:cubicBezTo>
                <a:cubicBezTo>
                  <a:pt x="2564931" y="864158"/>
                  <a:pt x="2564831" y="283815"/>
                  <a:pt x="2564730" y="34"/>
                </a:cubicBezTo>
                <a:close/>
              </a:path>
            </a:pathLst>
          </a:custGeom>
          <a:solidFill>
            <a:schemeClr val="bg1">
              <a:lumMod val="85000"/>
            </a:schemeClr>
          </a:solidFill>
        </p:spPr>
        <p:txBody>
          <a:bodyPr/>
          <a:lstStyle>
            <a:lvl1pPr algn="r">
              <a:defRPr sz="2400">
                <a:solidFill>
                  <a:schemeClr val="tx1">
                    <a:lumMod val="65000"/>
                    <a:lumOff val="35000"/>
                  </a:schemeClr>
                </a:solidFill>
              </a:defRPr>
            </a:lvl1pPr>
          </a:lstStyle>
          <a:p>
            <a:r>
              <a:rPr lang="en-NL"/>
              <a:t>Fill this frame with one of the Theme Colours</a:t>
            </a:r>
          </a:p>
        </p:txBody>
      </p:sp>
      <p:sp>
        <p:nvSpPr>
          <p:cNvPr id="14" name="Picture Placeholder 6">
            <a:extLst>
              <a:ext uri="{FF2B5EF4-FFF2-40B4-BE49-F238E27FC236}">
                <a16:creationId xmlns:a16="http://schemas.microsoft.com/office/drawing/2014/main" id="{692D6ABC-8D9C-1E47-A2A8-2DC39B83F77E}"/>
              </a:ext>
            </a:extLst>
          </p:cNvPr>
          <p:cNvSpPr>
            <a:spLocks noGrp="1"/>
          </p:cNvSpPr>
          <p:nvPr>
            <p:ph type="pic" sz="quarter" idx="19" hasCustomPrompt="1"/>
          </p:nvPr>
        </p:nvSpPr>
        <p:spPr>
          <a:xfrm>
            <a:off x="9165791" y="486000"/>
            <a:ext cx="14725416" cy="12744000"/>
          </a:xfrm>
          <a:custGeom>
            <a:avLst/>
            <a:gdLst>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4730 w 23399999"/>
              <a:gd name="connsiteY8"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1337594 w 23399999"/>
              <a:gd name="connsiteY8" fmla="*/ 1164380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56794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5 w 23400000"/>
              <a:gd name="connsiteY4" fmla="*/ 9824813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603855 w 23439125"/>
              <a:gd name="connsiteY0" fmla="*/ 331220 h 13075220"/>
              <a:gd name="connsiteX1" fmla="*/ 23439124 w 23439125"/>
              <a:gd name="connsiteY1" fmla="*/ 331220 h 13075220"/>
              <a:gd name="connsiteX2" fmla="*/ 23439124 w 23439125"/>
              <a:gd name="connsiteY2" fmla="*/ 331220 h 13075220"/>
              <a:gd name="connsiteX3" fmla="*/ 23439125 w 23439125"/>
              <a:gd name="connsiteY3" fmla="*/ 10162828 h 13075220"/>
              <a:gd name="connsiteX4" fmla="*/ 17859729 w 23439125"/>
              <a:gd name="connsiteY4" fmla="*/ 10156033 h 13075220"/>
              <a:gd name="connsiteX5" fmla="*/ 17859730 w 23439125"/>
              <a:gd name="connsiteY5" fmla="*/ 13075220 h 13075220"/>
              <a:gd name="connsiteX6" fmla="*/ 39125 w 23439125"/>
              <a:gd name="connsiteY6" fmla="*/ 13075220 h 13075220"/>
              <a:gd name="connsiteX7" fmla="*/ 39125 w 23439125"/>
              <a:gd name="connsiteY7" fmla="*/ 13075220 h 13075220"/>
              <a:gd name="connsiteX8" fmla="*/ 39125 w 23439125"/>
              <a:gd name="connsiteY8" fmla="*/ 1182480 h 13075220"/>
              <a:gd name="connsiteX9" fmla="*/ 2603855 w 23439125"/>
              <a:gd name="connsiteY9" fmla="*/ 331220 h 1307522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2564730 w 23400000"/>
              <a:gd name="connsiteY8" fmla="*/ 0 h 12744000"/>
              <a:gd name="connsiteX0" fmla="*/ 869121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8691210 w 23400000"/>
              <a:gd name="connsiteY8" fmla="*/ 0 h 12744000"/>
              <a:gd name="connsiteX0" fmla="*/ 8674584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8674584 w 23400000"/>
              <a:gd name="connsiteY8" fmla="*/ 0 h 12744000"/>
              <a:gd name="connsiteX0" fmla="*/ 8674584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8674584 w 23400000"/>
              <a:gd name="connsiteY7" fmla="*/ 0 h 12744000"/>
              <a:gd name="connsiteX0" fmla="*/ 0 w 14725416"/>
              <a:gd name="connsiteY0" fmla="*/ 0 h 12744000"/>
              <a:gd name="connsiteX1" fmla="*/ 14725415 w 14725416"/>
              <a:gd name="connsiteY1" fmla="*/ 0 h 12744000"/>
              <a:gd name="connsiteX2" fmla="*/ 14725415 w 14725416"/>
              <a:gd name="connsiteY2" fmla="*/ 0 h 12744000"/>
              <a:gd name="connsiteX3" fmla="*/ 14725416 w 14725416"/>
              <a:gd name="connsiteY3" fmla="*/ 9831608 h 12744000"/>
              <a:gd name="connsiteX4" fmla="*/ 9146020 w 14725416"/>
              <a:gd name="connsiteY4" fmla="*/ 9824813 h 12744000"/>
              <a:gd name="connsiteX5" fmla="*/ 9146021 w 14725416"/>
              <a:gd name="connsiteY5" fmla="*/ 12744000 h 12744000"/>
              <a:gd name="connsiteX6" fmla="*/ 3903 w 14725416"/>
              <a:gd name="connsiteY6" fmla="*/ 12744000 h 12744000"/>
              <a:gd name="connsiteX7" fmla="*/ 0 w 14725416"/>
              <a:gd name="connsiteY7" fmla="*/ 0 h 127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25416" h="12744000">
                <a:moveTo>
                  <a:pt x="0" y="0"/>
                </a:moveTo>
                <a:lnTo>
                  <a:pt x="14725415" y="0"/>
                </a:lnTo>
                <a:lnTo>
                  <a:pt x="14725415" y="0"/>
                </a:lnTo>
                <a:cubicBezTo>
                  <a:pt x="14725415" y="3277203"/>
                  <a:pt x="14725416" y="6554405"/>
                  <a:pt x="14725416" y="9831608"/>
                </a:cubicBezTo>
                <a:cubicBezTo>
                  <a:pt x="14724997" y="9831571"/>
                  <a:pt x="9140821" y="9823891"/>
                  <a:pt x="9146020" y="9824813"/>
                </a:cubicBezTo>
                <a:cubicBezTo>
                  <a:pt x="9162597" y="9827753"/>
                  <a:pt x="9140354" y="12744037"/>
                  <a:pt x="9146021" y="12744000"/>
                </a:cubicBezTo>
                <a:lnTo>
                  <a:pt x="3903" y="12744000"/>
                </a:lnTo>
                <a:lnTo>
                  <a:pt x="0" y="0"/>
                </a:lnTo>
                <a:close/>
              </a:path>
            </a:pathLst>
          </a:custGeom>
          <a:solidFill>
            <a:schemeClr val="bg1">
              <a:lumMod val="95000"/>
            </a:schemeClr>
          </a:solidFill>
        </p:spPr>
        <p:txBody>
          <a:bodyPr/>
          <a:lstStyle>
            <a:lvl1pPr algn="ctr">
              <a:defRPr sz="2400">
                <a:solidFill>
                  <a:schemeClr val="tx1">
                    <a:lumMod val="65000"/>
                    <a:lumOff val="35000"/>
                  </a:schemeClr>
                </a:solidFill>
              </a:defRPr>
            </a:lvl1pPr>
          </a:lstStyle>
          <a:p>
            <a:r>
              <a:rPr lang="en-NL"/>
              <a:t>Drag and drop a topic-related picture into this fram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3060000" y="3402013"/>
            <a:ext cx="12156188" cy="6911975"/>
          </a:xfrm>
          <a:prstGeom prst="rect">
            <a:avLst/>
          </a:prstGeom>
          <a:solidFill>
            <a:schemeClr val="bg1"/>
          </a:solidFill>
        </p:spPr>
        <p:txBody>
          <a:bodyPr vert="horz" lIns="720000" tIns="540000" rIns="90000" bIns="90000" rtlCol="0" anchor="t">
            <a:noAutofit/>
          </a:bodyPr>
          <a:lstStyle>
            <a:lvl1pPr>
              <a:defRPr/>
            </a:lvl1pPr>
          </a:lstStyle>
          <a:p>
            <a:r>
              <a:rPr lang="en-GB" noProof="0"/>
              <a:t>Put the title here,</a:t>
            </a:r>
            <a:br>
              <a:rPr lang="en-GB" noProof="0"/>
            </a:br>
            <a:r>
              <a:rPr lang="en-GB" noProof="0"/>
              <a:t>keep it bold 80 </a:t>
            </a:r>
            <a:r>
              <a:rPr lang="en-GB" noProof="0" err="1"/>
              <a:t>pt</a:t>
            </a:r>
            <a:endParaRPr lang="en-GB" noProof="0"/>
          </a:p>
        </p:txBody>
      </p:sp>
      <p:pic>
        <p:nvPicPr>
          <p:cNvPr id="16" name="Picture 15">
            <a:extLst>
              <a:ext uri="{FF2B5EF4-FFF2-40B4-BE49-F238E27FC236}">
                <a16:creationId xmlns:a16="http://schemas.microsoft.com/office/drawing/2014/main" id="{B318DE6B-1EB2-D248-BE9E-1B173597E1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32675" y="10313988"/>
            <a:ext cx="5058531" cy="3402012"/>
          </a:xfrm>
          <a:prstGeom prst="rect">
            <a:avLst/>
          </a:prstGeom>
        </p:spPr>
      </p:pic>
      <p:sp>
        <p:nvSpPr>
          <p:cNvPr id="18" name="TextBox 17">
            <a:extLst>
              <a:ext uri="{FF2B5EF4-FFF2-40B4-BE49-F238E27FC236}">
                <a16:creationId xmlns:a16="http://schemas.microsoft.com/office/drawing/2014/main" id="{328A1B16-9A25-3541-9435-BC1CEEFFC8BA}"/>
              </a:ext>
            </a:extLst>
          </p:cNvPr>
          <p:cNvSpPr txBox="1"/>
          <p:nvPr userDrawn="1"/>
        </p:nvSpPr>
        <p:spPr>
          <a:xfrm>
            <a:off x="400182" y="419671"/>
            <a:ext cx="2574000" cy="461665"/>
          </a:xfrm>
          <a:prstGeom prst="rect">
            <a:avLst/>
          </a:prstGeom>
          <a:noFill/>
        </p:spPr>
        <p:txBody>
          <a:bodyPr wrap="square" rtlCol="0">
            <a:spAutoFit/>
          </a:bodyPr>
          <a:lstStyle/>
          <a:p>
            <a:pPr algn="l"/>
            <a:r>
              <a:rPr lang="en-NL" sz="2400"/>
              <a:t>Franchise</a:t>
            </a:r>
          </a:p>
        </p:txBody>
      </p:sp>
      <p:sp>
        <p:nvSpPr>
          <p:cNvPr id="5" name="Footer Placeholder 4">
            <a:extLst>
              <a:ext uri="{FF2B5EF4-FFF2-40B4-BE49-F238E27FC236}">
                <a16:creationId xmlns:a16="http://schemas.microsoft.com/office/drawing/2014/main" id="{E75BD6A2-5F2A-D047-AC2A-DB7B531F7814}"/>
              </a:ext>
            </a:extLst>
          </p:cNvPr>
          <p:cNvSpPr>
            <a:spLocks noGrp="1"/>
          </p:cNvSpPr>
          <p:nvPr>
            <p:ph type="ftr" sz="quarter" idx="18"/>
          </p:nvPr>
        </p:nvSpPr>
        <p:spPr/>
        <p:txBody>
          <a:bodyPr/>
          <a:lstStyle/>
          <a:p>
            <a:r>
              <a:rPr lang="en-NL"/>
              <a:t>Insert the footer for all slides in t</a:t>
            </a:r>
            <a:r>
              <a:rPr lang="en-GB"/>
              <a:t>he</a:t>
            </a:r>
            <a:r>
              <a:rPr lang="en-NL"/>
              <a:t> top menu Insert &gt; Header &amp; Footer</a:t>
            </a:r>
          </a:p>
        </p:txBody>
      </p:sp>
    </p:spTree>
    <p:extLst>
      <p:ext uri="{BB962C8B-B14F-4D97-AF65-F5344CB8AC3E}">
        <p14:creationId xmlns:p14="http://schemas.microsoft.com/office/powerpoint/2010/main" val="28185933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inal slide">
    <p:bg>
      <p:bgPr>
        <a:solidFill>
          <a:schemeClr val="bg1"/>
        </a:solidFill>
        <a:effectLst/>
      </p:bgPr>
    </p:bg>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ECC773ED-664B-824F-91D1-6C08CFB17BDA}"/>
              </a:ext>
            </a:extLst>
          </p:cNvPr>
          <p:cNvSpPr>
            <a:spLocks noGrp="1"/>
          </p:cNvSpPr>
          <p:nvPr>
            <p:ph type="body" sz="quarter" idx="13" hasCustomPrompt="1"/>
          </p:nvPr>
        </p:nvSpPr>
        <p:spPr>
          <a:xfrm>
            <a:off x="1700166" y="7650089"/>
            <a:ext cx="10490247" cy="4384884"/>
          </a:xfrm>
        </p:spPr>
        <p:txBody>
          <a:bodyPr/>
          <a:lstStyle>
            <a:lvl1pPr>
              <a:spcBef>
                <a:spcPts val="0"/>
              </a:spcBef>
              <a:defRPr sz="3200" b="0"/>
            </a:lvl1pPr>
          </a:lstStyle>
          <a:p>
            <a:pPr lvl="0"/>
            <a:r>
              <a:rPr lang="en-GB" noProof="0"/>
              <a:t>Contact details, keep it regular 32 </a:t>
            </a:r>
            <a:r>
              <a:rPr lang="en-GB" noProof="0" err="1"/>
              <a:t>pt</a:t>
            </a:r>
            <a:endParaRPr lang="en-GB" noProof="0"/>
          </a:p>
        </p:txBody>
      </p:sp>
      <p:sp>
        <p:nvSpPr>
          <p:cNvPr id="3" name="Title 2">
            <a:extLst>
              <a:ext uri="{FF2B5EF4-FFF2-40B4-BE49-F238E27FC236}">
                <a16:creationId xmlns:a16="http://schemas.microsoft.com/office/drawing/2014/main" id="{7735138D-D591-9C4B-A824-FB43143DAED7}"/>
              </a:ext>
            </a:extLst>
          </p:cNvPr>
          <p:cNvSpPr>
            <a:spLocks noGrp="1"/>
          </p:cNvSpPr>
          <p:nvPr>
            <p:ph type="title" hasCustomPrompt="1"/>
          </p:nvPr>
        </p:nvSpPr>
        <p:spPr/>
        <p:txBody>
          <a:bodyPr/>
          <a:lstStyle/>
          <a:p>
            <a:r>
              <a:rPr lang="en-GB"/>
              <a:t>Thank you</a:t>
            </a:r>
            <a:endParaRPr lang="en-NL"/>
          </a:p>
        </p:txBody>
      </p:sp>
      <p:sp>
        <p:nvSpPr>
          <p:cNvPr id="8" name="Text Placeholder 6">
            <a:extLst>
              <a:ext uri="{FF2B5EF4-FFF2-40B4-BE49-F238E27FC236}">
                <a16:creationId xmlns:a16="http://schemas.microsoft.com/office/drawing/2014/main" id="{43362774-1C74-3547-A14B-E456BF8AB04B}"/>
              </a:ext>
            </a:extLst>
          </p:cNvPr>
          <p:cNvSpPr>
            <a:spLocks noGrp="1"/>
          </p:cNvSpPr>
          <p:nvPr>
            <p:ph type="body" sz="quarter" idx="16" hasCustomPrompt="1"/>
          </p:nvPr>
        </p:nvSpPr>
        <p:spPr>
          <a:xfrm>
            <a:off x="1700166" y="6858001"/>
            <a:ext cx="10490247" cy="792088"/>
          </a:xfrm>
        </p:spPr>
        <p:txBody>
          <a:bodyPr/>
          <a:lstStyle>
            <a:lvl1pPr>
              <a:spcBef>
                <a:spcPts val="0"/>
              </a:spcBef>
              <a:defRPr sz="3200" b="1"/>
            </a:lvl1pPr>
          </a:lstStyle>
          <a:p>
            <a:pPr lvl="0"/>
            <a:r>
              <a:rPr lang="en-GB" noProof="0"/>
              <a:t>Contact person’s full name, keep it bold 32 </a:t>
            </a:r>
            <a:r>
              <a:rPr lang="en-GB" noProof="0" err="1"/>
              <a:t>pt</a:t>
            </a:r>
            <a:endParaRPr lang="en-GB" noProof="0"/>
          </a:p>
        </p:txBody>
      </p:sp>
      <p:sp>
        <p:nvSpPr>
          <p:cNvPr id="5" name="Footer Placeholder 4">
            <a:extLst>
              <a:ext uri="{FF2B5EF4-FFF2-40B4-BE49-F238E27FC236}">
                <a16:creationId xmlns:a16="http://schemas.microsoft.com/office/drawing/2014/main" id="{5B8ABD2B-5975-3E47-B565-B6138DEA4BF2}"/>
              </a:ext>
            </a:extLst>
          </p:cNvPr>
          <p:cNvSpPr>
            <a:spLocks noGrp="1"/>
          </p:cNvSpPr>
          <p:nvPr>
            <p:ph type="ftr" sz="quarter" idx="17"/>
          </p:nvPr>
        </p:nvSpPr>
        <p:spPr/>
        <p:txBody>
          <a:bodyPr/>
          <a:lstStyle/>
          <a:p>
            <a:endParaRPr lang="en-NL"/>
          </a:p>
        </p:txBody>
      </p:sp>
      <p:pic>
        <p:nvPicPr>
          <p:cNvPr id="2" name="Picture 1">
            <a:extLst>
              <a:ext uri="{FF2B5EF4-FFF2-40B4-BE49-F238E27FC236}">
                <a16:creationId xmlns:a16="http://schemas.microsoft.com/office/drawing/2014/main" id="{C1CA3CE0-E9CD-AE0E-0556-0AE66627E8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32675" y="10313988"/>
            <a:ext cx="5058531" cy="3402012"/>
          </a:xfrm>
          <a:prstGeom prst="rect">
            <a:avLst/>
          </a:prstGeom>
        </p:spPr>
      </p:pic>
    </p:spTree>
    <p:extLst>
      <p:ext uri="{BB962C8B-B14F-4D97-AF65-F5344CB8AC3E}">
        <p14:creationId xmlns:p14="http://schemas.microsoft.com/office/powerpoint/2010/main" val="4170066292"/>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Agenda or conten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3293FC4-39C9-4047-8405-0EE5AF044904}"/>
              </a:ext>
            </a:extLst>
          </p:cNvPr>
          <p:cNvSpPr>
            <a:spLocks noGrp="1"/>
          </p:cNvSpPr>
          <p:nvPr>
            <p:ph type="pic" sz="quarter" idx="13" hasCustomPrompt="1"/>
          </p:nvPr>
        </p:nvSpPr>
        <p:spPr>
          <a:xfrm>
            <a:off x="486000" y="486000"/>
            <a:ext cx="10440000" cy="12744000"/>
          </a:xfrm>
          <a:solidFill>
            <a:schemeClr val="bg1">
              <a:lumMod val="95000"/>
            </a:schemeClr>
          </a:solidFill>
        </p:spPr>
        <p:txBody>
          <a:bodyPr/>
          <a:lstStyle>
            <a:lvl1pPr algn="ctr">
              <a:defRPr sz="2400">
                <a:solidFill>
                  <a:schemeClr val="tx1">
                    <a:lumMod val="65000"/>
                    <a:lumOff val="35000"/>
                  </a:schemeClr>
                </a:solidFill>
              </a:defRPr>
            </a:lvl1pPr>
          </a:lstStyle>
          <a:p>
            <a:r>
              <a:rPr lang="en-NL"/>
              <a:t>Fill this frame with one of the Theme Colours</a:t>
            </a:r>
          </a:p>
        </p:txBody>
      </p:sp>
      <p:sp>
        <p:nvSpPr>
          <p:cNvPr id="9" name="Text Placeholder 3">
            <a:extLst>
              <a:ext uri="{FF2B5EF4-FFF2-40B4-BE49-F238E27FC236}">
                <a16:creationId xmlns:a16="http://schemas.microsoft.com/office/drawing/2014/main" id="{74EDCDDC-BFAD-0048-95CD-93E49D18174D}"/>
              </a:ext>
            </a:extLst>
          </p:cNvPr>
          <p:cNvSpPr>
            <a:spLocks noGrp="1"/>
          </p:cNvSpPr>
          <p:nvPr>
            <p:ph type="body" sz="half" idx="2" hasCustomPrompt="1"/>
          </p:nvPr>
        </p:nvSpPr>
        <p:spPr>
          <a:xfrm>
            <a:off x="12191207" y="1961458"/>
            <a:ext cx="9144793" cy="10081320"/>
          </a:xfrm>
        </p:spPr>
        <p:txBody>
          <a:bodyPr>
            <a:noAutofit/>
          </a:bodyPr>
          <a:lstStyle>
            <a:lvl1pPr marL="0" marR="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sz="32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endParaRPr lang="en-GB" noProof="0"/>
          </a:p>
        </p:txBody>
      </p:sp>
      <p:sp>
        <p:nvSpPr>
          <p:cNvPr id="6" name="Title 5">
            <a:extLst>
              <a:ext uri="{FF2B5EF4-FFF2-40B4-BE49-F238E27FC236}">
                <a16:creationId xmlns:a16="http://schemas.microsoft.com/office/drawing/2014/main" id="{07211B91-AE84-A342-91A4-CA604C6D63E9}"/>
              </a:ext>
            </a:extLst>
          </p:cNvPr>
          <p:cNvSpPr>
            <a:spLocks noGrp="1"/>
          </p:cNvSpPr>
          <p:nvPr>
            <p:ph type="title" hasCustomPrompt="1"/>
          </p:nvPr>
        </p:nvSpPr>
        <p:spPr>
          <a:xfrm>
            <a:off x="1676293" y="1677600"/>
            <a:ext cx="9000000" cy="8633316"/>
          </a:xfrm>
        </p:spPr>
        <p:txBody>
          <a:bodyPr bIns="46800"/>
          <a:lstStyle/>
          <a:p>
            <a:r>
              <a:rPr lang="en-GB"/>
              <a:t>Agenda or contents</a:t>
            </a:r>
            <a:endParaRPr lang="en-NL"/>
          </a:p>
        </p:txBody>
      </p:sp>
      <p:sp>
        <p:nvSpPr>
          <p:cNvPr id="12" name="Text Placeholder 3">
            <a:extLst>
              <a:ext uri="{FF2B5EF4-FFF2-40B4-BE49-F238E27FC236}">
                <a16:creationId xmlns:a16="http://schemas.microsoft.com/office/drawing/2014/main" id="{E42BC64C-1096-A244-9939-276AF14B9BC4}"/>
              </a:ext>
            </a:extLst>
          </p:cNvPr>
          <p:cNvSpPr>
            <a:spLocks noGrp="1"/>
          </p:cNvSpPr>
          <p:nvPr>
            <p:ph type="body" sz="half" idx="15" hasCustomPrompt="1"/>
          </p:nvPr>
        </p:nvSpPr>
        <p:spPr>
          <a:xfrm>
            <a:off x="1676291" y="10313988"/>
            <a:ext cx="9000001" cy="1728790"/>
          </a:xfrm>
        </p:spPr>
        <p:txBody>
          <a:bodyPr anchor="b">
            <a:noAutofit/>
          </a:bodyPr>
          <a:lstStyle>
            <a:lvl1pPr marL="0" marR="0" indent="0" algn="l" defTabSz="1439928" rtl="0" eaLnBrk="1" fontAlgn="auto" latinLnBrk="0" hangingPunct="1">
              <a:lnSpc>
                <a:spcPct val="100000"/>
              </a:lnSpc>
              <a:spcBef>
                <a:spcPts val="2000"/>
              </a:spcBef>
              <a:spcAft>
                <a:spcPts val="0"/>
              </a:spcAft>
              <a:buClrTx/>
              <a:buSzTx/>
              <a:buFont typeface="Arial" panose="020B0604020202020204" pitchFamily="34" charset="0"/>
              <a:buNone/>
              <a:tabLst/>
              <a:defRPr sz="40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roject name, date, version</a:t>
            </a:r>
          </a:p>
        </p:txBody>
      </p:sp>
      <p:sp>
        <p:nvSpPr>
          <p:cNvPr id="7" name="Footer Placeholder 6">
            <a:extLst>
              <a:ext uri="{FF2B5EF4-FFF2-40B4-BE49-F238E27FC236}">
                <a16:creationId xmlns:a16="http://schemas.microsoft.com/office/drawing/2014/main" id="{AA71B48D-AD8E-4041-BC0A-97827EA167E2}"/>
              </a:ext>
            </a:extLst>
          </p:cNvPr>
          <p:cNvSpPr>
            <a:spLocks noGrp="1"/>
          </p:cNvSpPr>
          <p:nvPr>
            <p:ph type="ftr" sz="quarter" idx="16"/>
          </p:nvPr>
        </p:nvSpPr>
        <p:spPr/>
        <p:txBody>
          <a:bodyPr/>
          <a:lstStyle/>
          <a:p>
            <a:endParaRPr lang="en-NL"/>
          </a:p>
        </p:txBody>
      </p:sp>
      <p:sp>
        <p:nvSpPr>
          <p:cNvPr id="13" name="TextBox 12">
            <a:extLst>
              <a:ext uri="{FF2B5EF4-FFF2-40B4-BE49-F238E27FC236}">
                <a16:creationId xmlns:a16="http://schemas.microsoft.com/office/drawing/2014/main" id="{3A2D6FA1-9D20-AF47-912B-1D770AF0FEBC}"/>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496826115"/>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Chapter headline on simple background">
    <p:bg>
      <p:bgPr>
        <a:solidFill>
          <a:schemeClr val="bg1"/>
        </a:solidFill>
        <a:effectLst/>
      </p:bgPr>
    </p:bg>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ADB4BA95-E492-D840-88F6-2FE23D26918D}"/>
              </a:ext>
            </a:extLst>
          </p:cNvPr>
          <p:cNvSpPr>
            <a:spLocks noGrp="1"/>
          </p:cNvSpPr>
          <p:nvPr>
            <p:ph type="pic" sz="quarter" idx="14" hasCustomPrompt="1"/>
          </p:nvPr>
        </p:nvSpPr>
        <p:spPr>
          <a:xfrm>
            <a:off x="491206" y="486000"/>
            <a:ext cx="23400000" cy="12744000"/>
          </a:xfrm>
          <a:solidFill>
            <a:schemeClr val="bg1">
              <a:lumMod val="95000"/>
            </a:schemeClr>
          </a:solidFill>
        </p:spPr>
        <p:txBody>
          <a:bodyPr>
            <a:normAutofit/>
          </a:bodyPr>
          <a:lstStyle>
            <a:lvl1pPr marL="0" marR="0" indent="0" algn="ctr" defTabSz="1828663" rtl="0" eaLnBrk="1" fontAlgn="auto" latinLnBrk="0" hangingPunct="1">
              <a:lnSpc>
                <a:spcPct val="10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7" name="Title Placeholder 6">
            <a:extLst>
              <a:ext uri="{FF2B5EF4-FFF2-40B4-BE49-F238E27FC236}">
                <a16:creationId xmlns:a16="http://schemas.microsoft.com/office/drawing/2014/main" id="{1B090AE2-5953-9248-BD9A-B5FA2155AD8A}"/>
              </a:ext>
            </a:extLst>
          </p:cNvPr>
          <p:cNvSpPr>
            <a:spLocks noGrp="1"/>
          </p:cNvSpPr>
          <p:nvPr>
            <p:ph type="title" hasCustomPrompt="1"/>
          </p:nvPr>
        </p:nvSpPr>
        <p:spPr>
          <a:xfrm>
            <a:off x="3060000" y="3402013"/>
            <a:ext cx="12156188" cy="6911975"/>
          </a:xfrm>
          <a:prstGeom prst="rect">
            <a:avLst/>
          </a:prstGeom>
          <a:solidFill>
            <a:schemeClr val="bg1"/>
          </a:solidFill>
        </p:spPr>
        <p:txBody>
          <a:bodyPr vert="horz" lIns="720000" tIns="90000" rIns="91440" bIns="9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C4ADDE55-E340-6E4C-86B1-7B03B8C32387}"/>
              </a:ext>
            </a:extLst>
          </p:cNvPr>
          <p:cNvSpPr>
            <a:spLocks noGrp="1"/>
          </p:cNvSpPr>
          <p:nvPr>
            <p:ph type="ftr" sz="quarter" idx="15"/>
          </p:nvPr>
        </p:nvSpPr>
        <p:spPr/>
        <p:txBody>
          <a:bodyPr/>
          <a:lstStyle/>
          <a:p>
            <a:endParaRPr lang="en-NL"/>
          </a:p>
        </p:txBody>
      </p:sp>
      <p:sp>
        <p:nvSpPr>
          <p:cNvPr id="10" name="TextBox 9">
            <a:extLst>
              <a:ext uri="{FF2B5EF4-FFF2-40B4-BE49-F238E27FC236}">
                <a16:creationId xmlns:a16="http://schemas.microsoft.com/office/drawing/2014/main" id="{7FB25574-EA1E-8647-9572-8972274746BB}"/>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519958012"/>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Chapter headline on double background">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7D48BD0-6997-F144-A2F5-799BC3C77E9E}"/>
              </a:ext>
            </a:extLst>
          </p:cNvPr>
          <p:cNvSpPr>
            <a:spLocks noGrp="1"/>
          </p:cNvSpPr>
          <p:nvPr>
            <p:ph type="pic" sz="quarter" idx="16" hasCustomPrompt="1"/>
          </p:nvPr>
        </p:nvSpPr>
        <p:spPr>
          <a:xfrm>
            <a:off x="9166226" y="486000"/>
            <a:ext cx="1472498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background image into this frame</a:t>
            </a:r>
          </a:p>
        </p:txBody>
      </p:sp>
      <p:sp>
        <p:nvSpPr>
          <p:cNvPr id="8" name="Picture Placeholder 10">
            <a:extLst>
              <a:ext uri="{FF2B5EF4-FFF2-40B4-BE49-F238E27FC236}">
                <a16:creationId xmlns:a16="http://schemas.microsoft.com/office/drawing/2014/main" id="{1309BD59-499E-7B48-84B0-F24A66C27380}"/>
              </a:ext>
            </a:extLst>
          </p:cNvPr>
          <p:cNvSpPr>
            <a:spLocks noGrp="1"/>
          </p:cNvSpPr>
          <p:nvPr>
            <p:ph type="pic" sz="quarter" idx="14" hasCustomPrompt="1"/>
          </p:nvPr>
        </p:nvSpPr>
        <p:spPr>
          <a:xfrm>
            <a:off x="491206" y="486000"/>
            <a:ext cx="8675019" cy="12744000"/>
          </a:xfrm>
          <a:solidFill>
            <a:schemeClr val="bg1">
              <a:lumMod val="8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9" name="Title Placeholder 6">
            <a:extLst>
              <a:ext uri="{FF2B5EF4-FFF2-40B4-BE49-F238E27FC236}">
                <a16:creationId xmlns:a16="http://schemas.microsoft.com/office/drawing/2014/main" id="{9DDA9E19-4F77-3D4F-9876-A15B1427723D}"/>
              </a:ext>
            </a:extLst>
          </p:cNvPr>
          <p:cNvSpPr>
            <a:spLocks noGrp="1"/>
          </p:cNvSpPr>
          <p:nvPr>
            <p:ph type="title" hasCustomPrompt="1"/>
          </p:nvPr>
        </p:nvSpPr>
        <p:spPr>
          <a:xfrm>
            <a:off x="3060000" y="3402013"/>
            <a:ext cx="12156188" cy="6911975"/>
          </a:xfrm>
          <a:prstGeom prst="rect">
            <a:avLst/>
          </a:prstGeom>
          <a:solidFill>
            <a:schemeClr val="bg1"/>
          </a:solidFill>
        </p:spPr>
        <p:txBody>
          <a:bodyPr vert="horz" lIns="720000" tIns="90000" rIns="91440" bIns="9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5CA18264-1F8B-3A44-B551-1BBEE87ED5B3}"/>
              </a:ext>
            </a:extLst>
          </p:cNvPr>
          <p:cNvSpPr>
            <a:spLocks noGrp="1"/>
          </p:cNvSpPr>
          <p:nvPr>
            <p:ph type="ftr" sz="quarter" idx="17"/>
          </p:nvPr>
        </p:nvSpPr>
        <p:spPr/>
        <p:txBody>
          <a:bodyPr/>
          <a:lstStyle/>
          <a:p>
            <a:endParaRPr lang="en-NL"/>
          </a:p>
        </p:txBody>
      </p:sp>
      <p:sp>
        <p:nvSpPr>
          <p:cNvPr id="11" name="TextBox 10">
            <a:extLst>
              <a:ext uri="{FF2B5EF4-FFF2-40B4-BE49-F238E27FC236}">
                <a16:creationId xmlns:a16="http://schemas.microsoft.com/office/drawing/2014/main" id="{17ABB78B-16D4-9548-AD33-F584DB55BA7A}"/>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29644990"/>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hapter headline and number 1">
    <p:bg>
      <p:bgPr>
        <a:solidFill>
          <a:schemeClr val="bg1"/>
        </a:solidFill>
        <a:effectLst/>
      </p:bgPr>
    </p:bg>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FBC26CA4-EB48-1543-B2BB-C8B879012FEC}"/>
              </a:ext>
            </a:extLst>
          </p:cNvPr>
          <p:cNvSpPr>
            <a:spLocks noGrp="1"/>
          </p:cNvSpPr>
          <p:nvPr>
            <p:ph type="pic" sz="quarter" idx="14" hasCustomPrompt="1"/>
          </p:nvPr>
        </p:nvSpPr>
        <p:spPr>
          <a:xfrm>
            <a:off x="491206" y="486000"/>
            <a:ext cx="23400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5" name="Text Placeholder 4">
            <a:extLst>
              <a:ext uri="{FF2B5EF4-FFF2-40B4-BE49-F238E27FC236}">
                <a16:creationId xmlns:a16="http://schemas.microsoft.com/office/drawing/2014/main" id="{D692063E-373D-9A4C-B3F2-4CED294F18A0}"/>
              </a:ext>
            </a:extLst>
          </p:cNvPr>
          <p:cNvSpPr>
            <a:spLocks noGrp="1"/>
          </p:cNvSpPr>
          <p:nvPr>
            <p:ph type="body" sz="quarter" idx="11" hasCustomPrompt="1"/>
          </p:nvPr>
        </p:nvSpPr>
        <p:spPr>
          <a:xfrm>
            <a:off x="3066645" y="3402013"/>
            <a:ext cx="6113167" cy="6911975"/>
          </a:xfrm>
          <a:solidFill>
            <a:schemeClr val="bg1"/>
          </a:solidFill>
        </p:spPr>
        <p:txBody>
          <a:bodyPr anchor="ctr" anchorCtr="0">
            <a:noAutofit/>
          </a:bodyPr>
          <a:lstStyle>
            <a:lvl1pPr marL="0" indent="0" algn="ctr">
              <a:buNone/>
              <a:defRPr sz="30000" b="1" spc="-600" baseline="0">
                <a:ln>
                  <a:noFill/>
                </a:ln>
                <a:solidFill>
                  <a:schemeClr val="tx1"/>
                </a:solidFill>
              </a:defRPr>
            </a:lvl1pPr>
          </a:lstStyle>
          <a:p>
            <a:pPr lvl="0"/>
            <a:r>
              <a:rPr lang="en-GB" noProof="0"/>
              <a:t>#</a:t>
            </a:r>
          </a:p>
        </p:txBody>
      </p:sp>
      <p:sp>
        <p:nvSpPr>
          <p:cNvPr id="9" name="Title Placeholder 6">
            <a:extLst>
              <a:ext uri="{FF2B5EF4-FFF2-40B4-BE49-F238E27FC236}">
                <a16:creationId xmlns:a16="http://schemas.microsoft.com/office/drawing/2014/main" id="{8EE4B79D-13C4-D44B-B7EA-5A90670CE600}"/>
              </a:ext>
            </a:extLst>
          </p:cNvPr>
          <p:cNvSpPr>
            <a:spLocks noGrp="1"/>
          </p:cNvSpPr>
          <p:nvPr>
            <p:ph type="title" hasCustomPrompt="1"/>
          </p:nvPr>
        </p:nvSpPr>
        <p:spPr>
          <a:xfrm>
            <a:off x="9166225" y="3402013"/>
            <a:ext cx="12169775" cy="6911975"/>
          </a:xfrm>
          <a:prstGeom prst="rect">
            <a:avLst/>
          </a:prstGeom>
          <a:solidFill>
            <a:schemeClr val="bg1"/>
          </a:solidFill>
        </p:spPr>
        <p:txBody>
          <a:bodyPr vert="horz" lIns="360000" tIns="90000" rIns="91440" bIns="9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1A1CBB60-7354-0F46-A5EC-2B7F347405A8}"/>
              </a:ext>
            </a:extLst>
          </p:cNvPr>
          <p:cNvSpPr>
            <a:spLocks noGrp="1"/>
          </p:cNvSpPr>
          <p:nvPr>
            <p:ph type="ftr" sz="quarter" idx="15"/>
          </p:nvPr>
        </p:nvSpPr>
        <p:spPr/>
        <p:txBody>
          <a:bodyPr/>
          <a:lstStyle/>
          <a:p>
            <a:endParaRPr lang="en-NL"/>
          </a:p>
        </p:txBody>
      </p:sp>
      <p:sp>
        <p:nvSpPr>
          <p:cNvPr id="11" name="TextBox 10">
            <a:extLst>
              <a:ext uri="{FF2B5EF4-FFF2-40B4-BE49-F238E27FC236}">
                <a16:creationId xmlns:a16="http://schemas.microsoft.com/office/drawing/2014/main" id="{40541476-0AFC-234B-BC49-0499CC038C91}"/>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99231026"/>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hapter headline and number 2">
    <p:bg>
      <p:bgPr>
        <a:solidFill>
          <a:schemeClr val="bg1"/>
        </a:solidFill>
        <a:effectLst/>
      </p:bgPr>
    </p:bg>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F6085D9F-3237-7542-9B7D-4ED3CD3607B0}"/>
              </a:ext>
            </a:extLst>
          </p:cNvPr>
          <p:cNvSpPr>
            <a:spLocks noGrp="1"/>
          </p:cNvSpPr>
          <p:nvPr>
            <p:ph type="body" sz="quarter" idx="11" hasCustomPrompt="1"/>
          </p:nvPr>
        </p:nvSpPr>
        <p:spPr>
          <a:xfrm>
            <a:off x="3066645" y="3402013"/>
            <a:ext cx="6113167" cy="6911975"/>
          </a:xfrm>
          <a:noFill/>
        </p:spPr>
        <p:txBody>
          <a:bodyPr anchor="ctr" anchorCtr="0">
            <a:noAutofit/>
          </a:bodyPr>
          <a:lstStyle>
            <a:lvl1pPr marL="0" indent="0" algn="ctr">
              <a:buNone/>
              <a:defRPr sz="30000" b="1" spc="-600" baseline="0">
                <a:ln>
                  <a:noFill/>
                </a:ln>
                <a:solidFill>
                  <a:schemeClr val="tx1"/>
                </a:solidFill>
              </a:defRPr>
            </a:lvl1pPr>
          </a:lstStyle>
          <a:p>
            <a:pPr lvl="0"/>
            <a:r>
              <a:rPr lang="en-GB" noProof="0"/>
              <a:t>#</a:t>
            </a:r>
          </a:p>
        </p:txBody>
      </p:sp>
      <p:sp>
        <p:nvSpPr>
          <p:cNvPr id="7" name="Title Placeholder 6">
            <a:extLst>
              <a:ext uri="{FF2B5EF4-FFF2-40B4-BE49-F238E27FC236}">
                <a16:creationId xmlns:a16="http://schemas.microsoft.com/office/drawing/2014/main" id="{C80CB7B3-E10E-DC43-BC18-2A74C9A160F8}"/>
              </a:ext>
            </a:extLst>
          </p:cNvPr>
          <p:cNvSpPr>
            <a:spLocks noGrp="1"/>
          </p:cNvSpPr>
          <p:nvPr>
            <p:ph type="title" hasCustomPrompt="1"/>
          </p:nvPr>
        </p:nvSpPr>
        <p:spPr>
          <a:xfrm>
            <a:off x="9166225" y="3402013"/>
            <a:ext cx="12169775" cy="6911975"/>
          </a:xfrm>
          <a:prstGeom prst="rect">
            <a:avLst/>
          </a:prstGeom>
          <a:noFill/>
        </p:spPr>
        <p:txBody>
          <a:bodyPr vert="horz" lIns="360000" tIns="90000" rIns="91440" bIns="9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3A7F9CFD-AFFB-3B47-AFEC-CEE18A9D2CE6}"/>
              </a:ext>
            </a:extLst>
          </p:cNvPr>
          <p:cNvSpPr>
            <a:spLocks noGrp="1"/>
          </p:cNvSpPr>
          <p:nvPr>
            <p:ph type="ftr" sz="quarter" idx="12"/>
          </p:nvPr>
        </p:nvSpPr>
        <p:spPr/>
        <p:txBody>
          <a:bodyPr/>
          <a:lstStyle/>
          <a:p>
            <a:endParaRPr lang="en-NL"/>
          </a:p>
        </p:txBody>
      </p:sp>
      <p:sp>
        <p:nvSpPr>
          <p:cNvPr id="10" name="TextBox 9">
            <a:extLst>
              <a:ext uri="{FF2B5EF4-FFF2-40B4-BE49-F238E27FC236}">
                <a16:creationId xmlns:a16="http://schemas.microsoft.com/office/drawing/2014/main" id="{C416BDAF-6CDC-8648-8B2F-B8146F0C0E7E}"/>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619698089"/>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ext and picture on the right">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13127310" y="486000"/>
            <a:ext cx="10764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1674329" y="5129213"/>
            <a:ext cx="10516084" cy="6904512"/>
          </a:xfrm>
        </p:spPr>
        <p:txBody>
          <a:bodyPr>
            <a:noAutofit/>
          </a:bodyPr>
          <a:lstStyle>
            <a:lvl1pPr>
              <a:spcBef>
                <a:spcPts val="2000"/>
              </a:spcBef>
              <a:defRPr sz="3200"/>
            </a:lvl1pPr>
          </a:lstStyle>
          <a:p>
            <a:pPr lvl="0"/>
            <a:r>
              <a:rPr lang="en-GB" noProof="0"/>
              <a:t>Put the paragraph text here, keep it regular 32 </a:t>
            </a:r>
            <a:r>
              <a:rPr lang="en-GB" noProof="0" err="1"/>
              <a:t>pt</a:t>
            </a:r>
            <a:endParaRPr lang="en-GB" noProof="0"/>
          </a:p>
        </p:txBody>
      </p:sp>
      <p:sp>
        <p:nvSpPr>
          <p:cNvPr id="2" name="Title 1">
            <a:extLst>
              <a:ext uri="{FF2B5EF4-FFF2-40B4-BE49-F238E27FC236}">
                <a16:creationId xmlns:a16="http://schemas.microsoft.com/office/drawing/2014/main" id="{44A2E15B-0973-F742-A266-E1107E35FE40}"/>
              </a:ext>
            </a:extLst>
          </p:cNvPr>
          <p:cNvSpPr>
            <a:spLocks noGrp="1"/>
          </p:cNvSpPr>
          <p:nvPr>
            <p:ph type="title" hasCustomPrompt="1"/>
          </p:nvPr>
        </p:nvSpPr>
        <p:spPr>
          <a:xfrm>
            <a:off x="1676293" y="1677600"/>
            <a:ext cx="10514913" cy="3011659"/>
          </a:xfrm>
        </p:spPr>
        <p:txBody>
          <a:bodyPr/>
          <a:lstStyle/>
          <a:p>
            <a:r>
              <a:rPr lang="en-GB"/>
              <a:t>Put the headline here, keep it 80 </a:t>
            </a:r>
            <a:r>
              <a:rPr lang="en-GB" err="1"/>
              <a:t>pt</a:t>
            </a:r>
            <a:endParaRPr lang="en-NL"/>
          </a:p>
        </p:txBody>
      </p:sp>
      <p:sp>
        <p:nvSpPr>
          <p:cNvPr id="7" name="Footer Placeholder 6">
            <a:extLst>
              <a:ext uri="{FF2B5EF4-FFF2-40B4-BE49-F238E27FC236}">
                <a16:creationId xmlns:a16="http://schemas.microsoft.com/office/drawing/2014/main" id="{1BBF2C0D-081E-D341-990A-85E80DD0D1B7}"/>
              </a:ext>
            </a:extLst>
          </p:cNvPr>
          <p:cNvSpPr>
            <a:spLocks noGrp="1"/>
          </p:cNvSpPr>
          <p:nvPr>
            <p:ph type="ftr" sz="quarter" idx="19"/>
          </p:nvPr>
        </p:nvSpPr>
        <p:spPr/>
        <p:txBody>
          <a:bodyPr/>
          <a:lstStyle/>
          <a:p>
            <a:endParaRPr lang="en-NL"/>
          </a:p>
        </p:txBody>
      </p:sp>
      <p:sp>
        <p:nvSpPr>
          <p:cNvPr id="10" name="TextBox 9">
            <a:extLst>
              <a:ext uri="{FF2B5EF4-FFF2-40B4-BE49-F238E27FC236}">
                <a16:creationId xmlns:a16="http://schemas.microsoft.com/office/drawing/2014/main" id="{894FC958-E5A8-B74F-A7E7-30B82C0B44E8}"/>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332501001"/>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ext and picture on the left">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EED5078-C5D9-0E4F-B9E3-7CF7BBC8C373}"/>
              </a:ext>
            </a:extLst>
          </p:cNvPr>
          <p:cNvSpPr>
            <a:spLocks noGrp="1"/>
          </p:cNvSpPr>
          <p:nvPr>
            <p:ph type="pic" sz="quarter" idx="15" hasCustomPrompt="1"/>
          </p:nvPr>
        </p:nvSpPr>
        <p:spPr>
          <a:xfrm>
            <a:off x="491102" y="486000"/>
            <a:ext cx="10764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pPr marL="0" marR="0" lvl="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a:pPr>
            <a:r>
              <a:rPr lang="en-NL"/>
              <a:t>Drag and drop a topic-related picture into this frame</a:t>
            </a:r>
          </a:p>
        </p:txBody>
      </p:sp>
      <p:sp>
        <p:nvSpPr>
          <p:cNvPr id="12" name="Text Placeholder 3">
            <a:extLst>
              <a:ext uri="{FF2B5EF4-FFF2-40B4-BE49-F238E27FC236}">
                <a16:creationId xmlns:a16="http://schemas.microsoft.com/office/drawing/2014/main" id="{AE87E5A1-8A67-0448-BA9A-DA74F50AE099}"/>
              </a:ext>
            </a:extLst>
          </p:cNvPr>
          <p:cNvSpPr>
            <a:spLocks noGrp="1"/>
          </p:cNvSpPr>
          <p:nvPr>
            <p:ph type="body" sz="quarter" idx="18" hasCustomPrompt="1"/>
          </p:nvPr>
        </p:nvSpPr>
        <p:spPr>
          <a:xfrm>
            <a:off x="12191206" y="5129213"/>
            <a:ext cx="10516084" cy="6904512"/>
          </a:xfrm>
        </p:spPr>
        <p:txBody>
          <a:bodyPr>
            <a:noAutofit/>
          </a:bodyPr>
          <a:lstStyle>
            <a:lvl1pPr>
              <a:spcBef>
                <a:spcPts val="2000"/>
              </a:spcBef>
              <a:defRPr sz="3200"/>
            </a:lvl1pPr>
          </a:lstStyle>
          <a:p>
            <a:pPr lvl="0"/>
            <a:r>
              <a:rPr lang="en-GB" noProof="0"/>
              <a:t>Put the paragraph text here, keep it regular 32 </a:t>
            </a:r>
            <a:r>
              <a:rPr lang="en-GB" noProof="0" err="1"/>
              <a:t>pt</a:t>
            </a:r>
            <a:endParaRPr lang="en-GB" noProof="0"/>
          </a:p>
        </p:txBody>
      </p:sp>
      <p:sp>
        <p:nvSpPr>
          <p:cNvPr id="13" name="Title 1">
            <a:extLst>
              <a:ext uri="{FF2B5EF4-FFF2-40B4-BE49-F238E27FC236}">
                <a16:creationId xmlns:a16="http://schemas.microsoft.com/office/drawing/2014/main" id="{0614539B-EA7E-5F48-845E-1115C11137DF}"/>
              </a:ext>
            </a:extLst>
          </p:cNvPr>
          <p:cNvSpPr>
            <a:spLocks noGrp="1"/>
          </p:cNvSpPr>
          <p:nvPr>
            <p:ph type="title" hasCustomPrompt="1"/>
          </p:nvPr>
        </p:nvSpPr>
        <p:spPr>
          <a:xfrm>
            <a:off x="12193170" y="1677600"/>
            <a:ext cx="10514913" cy="3011659"/>
          </a:xfrm>
        </p:spPr>
        <p:txBody>
          <a:bodyPr/>
          <a:lstStyle/>
          <a:p>
            <a:r>
              <a:rPr lang="en-GB"/>
              <a:t>Put the headline here, keep it 80 </a:t>
            </a:r>
            <a:r>
              <a:rPr lang="en-GB" err="1"/>
              <a:t>pt</a:t>
            </a:r>
            <a:endParaRPr lang="en-NL"/>
          </a:p>
        </p:txBody>
      </p:sp>
      <p:sp>
        <p:nvSpPr>
          <p:cNvPr id="4" name="Footer Placeholder 3">
            <a:extLst>
              <a:ext uri="{FF2B5EF4-FFF2-40B4-BE49-F238E27FC236}">
                <a16:creationId xmlns:a16="http://schemas.microsoft.com/office/drawing/2014/main" id="{CB40AB27-22C2-8049-AEFA-EC9ADA9C74F8}"/>
              </a:ext>
            </a:extLst>
          </p:cNvPr>
          <p:cNvSpPr>
            <a:spLocks noGrp="1"/>
          </p:cNvSpPr>
          <p:nvPr>
            <p:ph type="ftr" sz="quarter" idx="19"/>
          </p:nvPr>
        </p:nvSpPr>
        <p:spPr/>
        <p:txBody>
          <a:bodyPr/>
          <a:lstStyle/>
          <a:p>
            <a:endParaRPr lang="en-NL"/>
          </a:p>
        </p:txBody>
      </p:sp>
      <p:sp>
        <p:nvSpPr>
          <p:cNvPr id="11" name="TextBox 10">
            <a:extLst>
              <a:ext uri="{FF2B5EF4-FFF2-40B4-BE49-F238E27FC236}">
                <a16:creationId xmlns:a16="http://schemas.microsoft.com/office/drawing/2014/main" id="{5D320D55-E281-9946-A96D-D7865543B7DC}"/>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424803458"/>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Statement without background">
    <p:spTree>
      <p:nvGrpSpPr>
        <p:cNvPr id="1" name=""/>
        <p:cNvGrpSpPr/>
        <p:nvPr/>
      </p:nvGrpSpPr>
      <p:grpSpPr>
        <a:xfrm>
          <a:off x="0" y="0"/>
          <a:ext cx="0" cy="0"/>
          <a:chOff x="0" y="0"/>
          <a:chExt cx="0" cy="0"/>
        </a:xfrm>
      </p:grpSpPr>
      <p:sp>
        <p:nvSpPr>
          <p:cNvPr id="6" name="Title Placeholder 6">
            <a:extLst>
              <a:ext uri="{FF2B5EF4-FFF2-40B4-BE49-F238E27FC236}">
                <a16:creationId xmlns:a16="http://schemas.microsoft.com/office/drawing/2014/main" id="{42635088-B65D-C841-9E13-05D7E3443BD4}"/>
              </a:ext>
            </a:extLst>
          </p:cNvPr>
          <p:cNvSpPr>
            <a:spLocks noGrp="1"/>
          </p:cNvSpPr>
          <p:nvPr>
            <p:ph type="title" hasCustomPrompt="1"/>
          </p:nvPr>
        </p:nvSpPr>
        <p:spPr>
          <a:xfrm>
            <a:off x="1677491" y="1692001"/>
            <a:ext cx="21029831" cy="10330998"/>
          </a:xfrm>
          <a:prstGeom prst="rect">
            <a:avLst/>
          </a:prstGeom>
        </p:spPr>
        <p:txBody>
          <a:bodyPr vert="horz" lIns="91440" tIns="45720" rIns="91440" bIns="45720" rtlCol="0" anchor="ctr">
            <a:noAutofit/>
          </a:bodyPr>
          <a:lstStyle>
            <a:lvl1pPr>
              <a:defRPr baseline="0"/>
            </a:lvl1pPr>
          </a:lstStyle>
          <a:p>
            <a:r>
              <a:rPr lang="en-GB" noProof="0"/>
              <a:t>Put a statement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DEA92304-9D31-2743-9CAA-4CF1A9292236}"/>
              </a:ext>
            </a:extLst>
          </p:cNvPr>
          <p:cNvSpPr>
            <a:spLocks noGrp="1"/>
          </p:cNvSpPr>
          <p:nvPr>
            <p:ph type="ftr" sz="quarter" idx="10"/>
          </p:nvPr>
        </p:nvSpPr>
        <p:spPr/>
        <p:txBody>
          <a:bodyPr/>
          <a:lstStyle/>
          <a:p>
            <a:endParaRPr lang="en-NL"/>
          </a:p>
        </p:txBody>
      </p:sp>
      <p:sp>
        <p:nvSpPr>
          <p:cNvPr id="7" name="TextBox 6">
            <a:extLst>
              <a:ext uri="{FF2B5EF4-FFF2-40B4-BE49-F238E27FC236}">
                <a16:creationId xmlns:a16="http://schemas.microsoft.com/office/drawing/2014/main" id="{BE9A8351-2D97-AD41-BE02-7B1C9B022881}"/>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216076463"/>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Statement 1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6070600" y="3402013"/>
            <a:ext cx="12241213" cy="6911975"/>
          </a:xfrm>
          <a:prstGeom prst="rect">
            <a:avLst/>
          </a:prstGeom>
          <a:solidFill>
            <a:schemeClr val="bg1"/>
          </a:solidFill>
        </p:spPr>
        <p:txBody>
          <a:bodyPr vert="horz" lIns="900000" tIns="90000" rIns="360000" bIns="90000" rtlCol="0" anchor="ctr">
            <a:noAutofit/>
          </a:bodyPr>
          <a:lstStyle>
            <a:lvl1pPr>
              <a:defRPr sz="6000" b="1" spc="0" baseline="0"/>
            </a:lvl1pPr>
          </a:lstStyle>
          <a:p>
            <a:r>
              <a:rPr lang="en-GB" noProof="0"/>
              <a:t>Put a short statement here, keep it regular 60 </a:t>
            </a:r>
            <a:r>
              <a:rPr lang="en-GB" noProof="0" err="1"/>
              <a:t>pt</a:t>
            </a:r>
            <a:endParaRPr lang="en-GB" noProof="0"/>
          </a:p>
        </p:txBody>
      </p:sp>
      <p:sp>
        <p:nvSpPr>
          <p:cNvPr id="4" name="Footer Placeholder 3">
            <a:extLst>
              <a:ext uri="{FF2B5EF4-FFF2-40B4-BE49-F238E27FC236}">
                <a16:creationId xmlns:a16="http://schemas.microsoft.com/office/drawing/2014/main" id="{4D585EBC-728D-F748-BD9C-1622617E10E7}"/>
              </a:ext>
            </a:extLst>
          </p:cNvPr>
          <p:cNvSpPr>
            <a:spLocks noGrp="1"/>
          </p:cNvSpPr>
          <p:nvPr>
            <p:ph type="ftr" sz="quarter" idx="15"/>
          </p:nvPr>
        </p:nvSpPr>
        <p:spPr/>
        <p:txBody>
          <a:bodyPr/>
          <a:lstStyle/>
          <a:p>
            <a:endParaRPr lang="en-NL"/>
          </a:p>
        </p:txBody>
      </p:sp>
      <p:sp>
        <p:nvSpPr>
          <p:cNvPr id="8" name="TextBox 7">
            <a:extLst>
              <a:ext uri="{FF2B5EF4-FFF2-40B4-BE49-F238E27FC236}">
                <a16:creationId xmlns:a16="http://schemas.microsoft.com/office/drawing/2014/main" id="{5F6D9EA7-3CF9-7B43-B287-97692C1A4E03}"/>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737986844"/>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tatement 2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3088131" y="3402013"/>
            <a:ext cx="9102282" cy="6911975"/>
          </a:xfrm>
          <a:prstGeom prst="rect">
            <a:avLst/>
          </a:prstGeom>
          <a:solidFill>
            <a:schemeClr val="bg1"/>
          </a:solidFill>
        </p:spPr>
        <p:txBody>
          <a:bodyPr vert="horz" lIns="720000" tIns="90000" rIns="91440" bIns="90000" rtlCol="0" anchor="ctr">
            <a:noAutofit/>
          </a:bodyPr>
          <a:lstStyle>
            <a:lvl1pPr>
              <a:defRPr sz="6000" b="0" spc="0" baseline="0"/>
            </a:lvl1pPr>
          </a:lstStyle>
          <a:p>
            <a:r>
              <a:rPr lang="en-GB" noProof="0"/>
              <a:t>Put a long statement here, keep it regular 60 </a:t>
            </a:r>
            <a:r>
              <a:rPr lang="en-GB" noProof="0" err="1"/>
              <a:t>pt</a:t>
            </a:r>
            <a:endParaRPr lang="en-GB" noProof="0"/>
          </a:p>
        </p:txBody>
      </p:sp>
      <p:sp>
        <p:nvSpPr>
          <p:cNvPr id="4" name="Footer Placeholder 3">
            <a:extLst>
              <a:ext uri="{FF2B5EF4-FFF2-40B4-BE49-F238E27FC236}">
                <a16:creationId xmlns:a16="http://schemas.microsoft.com/office/drawing/2014/main" id="{F698052A-206B-8B44-B965-9B18AA398EAF}"/>
              </a:ext>
            </a:extLst>
          </p:cNvPr>
          <p:cNvSpPr>
            <a:spLocks noGrp="1"/>
          </p:cNvSpPr>
          <p:nvPr>
            <p:ph type="ftr" sz="quarter" idx="15"/>
          </p:nvPr>
        </p:nvSpPr>
        <p:spPr/>
        <p:txBody>
          <a:bodyPr/>
          <a:lstStyle/>
          <a:p>
            <a:endParaRPr lang="en-NL"/>
          </a:p>
        </p:txBody>
      </p:sp>
      <p:sp>
        <p:nvSpPr>
          <p:cNvPr id="8" name="TextBox 7">
            <a:extLst>
              <a:ext uri="{FF2B5EF4-FFF2-40B4-BE49-F238E27FC236}">
                <a16:creationId xmlns:a16="http://schemas.microsoft.com/office/drawing/2014/main" id="{6717F6DA-71F4-F94F-A4FF-3581F301E2A5}"/>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1950336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DBA60CB-9800-E349-B589-A9C8E6B0719E}"/>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74671406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tatement 3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12191206" y="3402013"/>
            <a:ext cx="9144794" cy="6911975"/>
          </a:xfrm>
          <a:prstGeom prst="rect">
            <a:avLst/>
          </a:prstGeom>
          <a:solidFill>
            <a:schemeClr val="bg1"/>
          </a:solidFill>
        </p:spPr>
        <p:txBody>
          <a:bodyPr vert="horz" lIns="720000" tIns="90000" rIns="180000" bIns="90000" rtlCol="0" anchor="ctr">
            <a:noAutofit/>
          </a:bodyPr>
          <a:lstStyle>
            <a:lvl1pPr>
              <a:defRPr sz="4000" b="0" spc="0" baseline="0"/>
            </a:lvl1pPr>
          </a:lstStyle>
          <a:p>
            <a:r>
              <a:rPr lang="en-GB" noProof="0"/>
              <a:t>Put a long statement or a quote here, keep it regular 40 </a:t>
            </a:r>
            <a:r>
              <a:rPr lang="en-GB" noProof="0" err="1"/>
              <a:t>pt</a:t>
            </a:r>
            <a:endParaRPr lang="en-GB" noProof="0"/>
          </a:p>
        </p:txBody>
      </p:sp>
      <p:sp>
        <p:nvSpPr>
          <p:cNvPr id="4" name="Footer Placeholder 3">
            <a:extLst>
              <a:ext uri="{FF2B5EF4-FFF2-40B4-BE49-F238E27FC236}">
                <a16:creationId xmlns:a16="http://schemas.microsoft.com/office/drawing/2014/main" id="{F08AE3EC-F985-214A-B20E-84BB4377F356}"/>
              </a:ext>
            </a:extLst>
          </p:cNvPr>
          <p:cNvSpPr>
            <a:spLocks noGrp="1"/>
          </p:cNvSpPr>
          <p:nvPr>
            <p:ph type="ftr" sz="quarter" idx="15"/>
          </p:nvPr>
        </p:nvSpPr>
        <p:spPr/>
        <p:txBody>
          <a:bodyPr/>
          <a:lstStyle/>
          <a:p>
            <a:endParaRPr lang="en-NL"/>
          </a:p>
        </p:txBody>
      </p:sp>
      <p:sp>
        <p:nvSpPr>
          <p:cNvPr id="8" name="TextBox 7">
            <a:extLst>
              <a:ext uri="{FF2B5EF4-FFF2-40B4-BE49-F238E27FC236}">
                <a16:creationId xmlns:a16="http://schemas.microsoft.com/office/drawing/2014/main" id="{0FE629E5-989E-6549-877B-8C45333B32D6}"/>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39899984"/>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tatement 1 on double background">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2E196F3F-0661-674B-B21B-282CCEADCBCE}"/>
              </a:ext>
            </a:extLst>
          </p:cNvPr>
          <p:cNvSpPr>
            <a:spLocks noGrp="1"/>
          </p:cNvSpPr>
          <p:nvPr>
            <p:ph type="pic" sz="quarter" idx="16" hasCustomPrompt="1"/>
          </p:nvPr>
        </p:nvSpPr>
        <p:spPr>
          <a:xfrm>
            <a:off x="12190412" y="486000"/>
            <a:ext cx="11700793"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n inspirational picture into this frame. Or fill with one of the Theme Colours</a:t>
            </a:r>
          </a:p>
        </p:txBody>
      </p:sp>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11700000" cy="12744000"/>
          </a:xfrm>
          <a:solidFill>
            <a:schemeClr val="bg1">
              <a:lumMod val="8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9179812" y="1673225"/>
            <a:ext cx="9132001" cy="8640763"/>
          </a:xfrm>
          <a:prstGeom prst="rect">
            <a:avLst/>
          </a:prstGeom>
          <a:solidFill>
            <a:schemeClr val="bg1"/>
          </a:solidFill>
        </p:spPr>
        <p:txBody>
          <a:bodyPr vert="horz" lIns="720000" tIns="90000" rIns="180000" bIns="90000" rtlCol="0" anchor="ctr">
            <a:noAutofit/>
          </a:bodyPr>
          <a:lstStyle>
            <a:lvl1pPr>
              <a:defRPr sz="4000" b="0" spc="0" baseline="0"/>
            </a:lvl1pPr>
          </a:lstStyle>
          <a:p>
            <a:r>
              <a:rPr lang="en-GB" noProof="0"/>
              <a:t>Put a long statement or a quote here, keep it regular 40 </a:t>
            </a:r>
            <a:r>
              <a:rPr lang="en-GB" noProof="0" err="1"/>
              <a:t>pt</a:t>
            </a:r>
            <a:endParaRPr lang="en-GB" noProof="0"/>
          </a:p>
        </p:txBody>
      </p:sp>
      <p:sp>
        <p:nvSpPr>
          <p:cNvPr id="3" name="Footer Placeholder 2">
            <a:extLst>
              <a:ext uri="{FF2B5EF4-FFF2-40B4-BE49-F238E27FC236}">
                <a16:creationId xmlns:a16="http://schemas.microsoft.com/office/drawing/2014/main" id="{50DDB570-67BE-EB4D-A534-19942E8D0F02}"/>
              </a:ext>
            </a:extLst>
          </p:cNvPr>
          <p:cNvSpPr>
            <a:spLocks noGrp="1"/>
          </p:cNvSpPr>
          <p:nvPr>
            <p:ph type="ftr" sz="quarter" idx="17"/>
          </p:nvPr>
        </p:nvSpPr>
        <p:spPr/>
        <p:txBody>
          <a:bodyPr/>
          <a:lstStyle/>
          <a:p>
            <a:endParaRPr lang="en-NL"/>
          </a:p>
        </p:txBody>
      </p:sp>
      <p:sp>
        <p:nvSpPr>
          <p:cNvPr id="8" name="TextBox 7">
            <a:extLst>
              <a:ext uri="{FF2B5EF4-FFF2-40B4-BE49-F238E27FC236}">
                <a16:creationId xmlns:a16="http://schemas.microsoft.com/office/drawing/2014/main" id="{EEDCEF97-2600-484D-BCF3-2F9C6FC44F07}"/>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104790787"/>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tatement 2 on double background">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31FA6885-927C-7B4C-8BD0-54E7A0823B52}"/>
              </a:ext>
            </a:extLst>
          </p:cNvPr>
          <p:cNvSpPr>
            <a:spLocks noGrp="1"/>
          </p:cNvSpPr>
          <p:nvPr>
            <p:ph type="pic" sz="quarter" idx="16" hasCustomPrompt="1"/>
          </p:nvPr>
        </p:nvSpPr>
        <p:spPr>
          <a:xfrm>
            <a:off x="6049094" y="486000"/>
            <a:ext cx="17842112"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n inspirational picture into this frame. Or fill with one of the Theme Colours</a:t>
            </a:r>
          </a:p>
        </p:txBody>
      </p:sp>
      <p:sp>
        <p:nvSpPr>
          <p:cNvPr id="9" name="Picture Placeholder 10">
            <a:extLst>
              <a:ext uri="{FF2B5EF4-FFF2-40B4-BE49-F238E27FC236}">
                <a16:creationId xmlns:a16="http://schemas.microsoft.com/office/drawing/2014/main" id="{ADB4BA95-E492-D840-88F6-2FE23D26918D}"/>
              </a:ext>
            </a:extLst>
          </p:cNvPr>
          <p:cNvSpPr>
            <a:spLocks noGrp="1"/>
          </p:cNvSpPr>
          <p:nvPr>
            <p:ph type="pic" sz="quarter" idx="14" hasCustomPrompt="1"/>
          </p:nvPr>
        </p:nvSpPr>
        <p:spPr>
          <a:xfrm>
            <a:off x="491206" y="486000"/>
            <a:ext cx="11699207" cy="12744000"/>
          </a:xfrm>
          <a:prstGeom prst="corner">
            <a:avLst>
              <a:gd name="adj1" fmla="val 25065"/>
              <a:gd name="adj2" fmla="val 47348"/>
            </a:avLst>
          </a:prstGeom>
          <a:solidFill>
            <a:schemeClr val="bg1">
              <a:lumMod val="8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7" name="Title Placeholder 6">
            <a:extLst>
              <a:ext uri="{FF2B5EF4-FFF2-40B4-BE49-F238E27FC236}">
                <a16:creationId xmlns:a16="http://schemas.microsoft.com/office/drawing/2014/main" id="{1B090AE2-5953-9248-BD9A-B5FA2155AD8A}"/>
              </a:ext>
            </a:extLst>
          </p:cNvPr>
          <p:cNvSpPr>
            <a:spLocks noGrp="1"/>
          </p:cNvSpPr>
          <p:nvPr>
            <p:ph type="title" hasCustomPrompt="1"/>
          </p:nvPr>
        </p:nvSpPr>
        <p:spPr>
          <a:xfrm>
            <a:off x="6049093" y="3402013"/>
            <a:ext cx="12284225" cy="6911975"/>
          </a:xfrm>
          <a:prstGeom prst="rect">
            <a:avLst/>
          </a:prstGeom>
          <a:solidFill>
            <a:schemeClr val="bg1"/>
          </a:solidFill>
        </p:spPr>
        <p:txBody>
          <a:bodyPr vert="horz" lIns="720000" tIns="90000" rIns="91440" bIns="90000" rtlCol="0" anchor="ctr">
            <a:noAutofit/>
          </a:bodyPr>
          <a:lstStyle>
            <a:lvl1pPr>
              <a:defRPr/>
            </a:lvl1pPr>
          </a:lstStyle>
          <a:p>
            <a:r>
              <a:rPr lang="en-GB" noProof="0"/>
              <a:t>Put a short statement here, keep it bold 80 </a:t>
            </a:r>
            <a:r>
              <a:rPr lang="en-GB" noProof="0" err="1"/>
              <a:t>pt</a:t>
            </a:r>
            <a:endParaRPr lang="en-GB" noProof="0"/>
          </a:p>
        </p:txBody>
      </p:sp>
      <p:sp>
        <p:nvSpPr>
          <p:cNvPr id="3" name="Footer Placeholder 2">
            <a:extLst>
              <a:ext uri="{FF2B5EF4-FFF2-40B4-BE49-F238E27FC236}">
                <a16:creationId xmlns:a16="http://schemas.microsoft.com/office/drawing/2014/main" id="{23AF250D-036E-9947-B629-124D8B6FF87C}"/>
              </a:ext>
            </a:extLst>
          </p:cNvPr>
          <p:cNvSpPr>
            <a:spLocks noGrp="1"/>
          </p:cNvSpPr>
          <p:nvPr>
            <p:ph type="ftr" sz="quarter" idx="17"/>
          </p:nvPr>
        </p:nvSpPr>
        <p:spPr/>
        <p:txBody>
          <a:bodyPr/>
          <a:lstStyle/>
          <a:p>
            <a:endParaRPr lang="en-NL"/>
          </a:p>
        </p:txBody>
      </p:sp>
      <p:sp>
        <p:nvSpPr>
          <p:cNvPr id="8" name="TextBox 7">
            <a:extLst>
              <a:ext uri="{FF2B5EF4-FFF2-40B4-BE49-F238E27FC236}">
                <a16:creationId xmlns:a16="http://schemas.microsoft.com/office/drawing/2014/main" id="{EA23A869-D63F-9145-B2E7-DAF3BC84C059}"/>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034299530"/>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ext in one column">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3397E6F6-DFC7-C54D-9E7E-CD51822BE714}"/>
              </a:ext>
            </a:extLst>
          </p:cNvPr>
          <p:cNvSpPr>
            <a:spLocks noGrp="1"/>
          </p:cNvSpPr>
          <p:nvPr>
            <p:ph type="body" sz="quarter" idx="18" hasCustomPrompt="1"/>
          </p:nvPr>
        </p:nvSpPr>
        <p:spPr>
          <a:xfrm>
            <a:off x="1674329" y="5129213"/>
            <a:ext cx="10516084" cy="6904512"/>
          </a:xfrm>
        </p:spPr>
        <p:txBody>
          <a:bodyPr>
            <a:noAutofit/>
          </a:bodyPr>
          <a:lstStyle>
            <a:lvl1pPr>
              <a:spcBef>
                <a:spcPts val="2000"/>
              </a:spcBef>
              <a:defRPr sz="3200"/>
            </a:lvl1pPr>
          </a:lstStyle>
          <a:p>
            <a:pPr lvl="0"/>
            <a:r>
              <a:rPr lang="en-GB" noProof="0"/>
              <a:t>Put the paragraph text here, keep it regular 32 </a:t>
            </a:r>
            <a:r>
              <a:rPr lang="en-GB" noProof="0" err="1"/>
              <a:t>pt</a:t>
            </a:r>
            <a:endParaRPr lang="en-GB" noProof="0"/>
          </a:p>
        </p:txBody>
      </p:sp>
      <p:sp>
        <p:nvSpPr>
          <p:cNvPr id="2" name="Title 1">
            <a:extLst>
              <a:ext uri="{FF2B5EF4-FFF2-40B4-BE49-F238E27FC236}">
                <a16:creationId xmlns:a16="http://schemas.microsoft.com/office/drawing/2014/main" id="{531E4EAE-C7D1-764F-A32B-CAEBD1FFE575}"/>
              </a:ext>
            </a:extLst>
          </p:cNvPr>
          <p:cNvSpPr>
            <a:spLocks noGrp="1"/>
          </p:cNvSpPr>
          <p:nvPr>
            <p:ph type="title" hasCustomPrompt="1"/>
          </p:nvPr>
        </p:nvSpPr>
        <p:spPr/>
        <p:txBody>
          <a:bodyPr/>
          <a:lstStyle/>
          <a:p>
            <a:r>
              <a:rPr lang="en-GB"/>
              <a:t>Put the headline here, </a:t>
            </a:r>
            <a:br>
              <a:rPr lang="en-GB"/>
            </a:br>
            <a:r>
              <a:rPr lang="en-GB"/>
              <a:t>keep it bold 80 </a:t>
            </a:r>
            <a:r>
              <a:rPr lang="en-GB" err="1"/>
              <a:t>pt</a:t>
            </a:r>
            <a:endParaRPr lang="en-NL"/>
          </a:p>
        </p:txBody>
      </p:sp>
      <p:sp>
        <p:nvSpPr>
          <p:cNvPr id="7" name="Footer Placeholder 6">
            <a:extLst>
              <a:ext uri="{FF2B5EF4-FFF2-40B4-BE49-F238E27FC236}">
                <a16:creationId xmlns:a16="http://schemas.microsoft.com/office/drawing/2014/main" id="{3E14A44A-1600-B842-B2DE-66DACFA6C861}"/>
              </a:ext>
            </a:extLst>
          </p:cNvPr>
          <p:cNvSpPr>
            <a:spLocks noGrp="1"/>
          </p:cNvSpPr>
          <p:nvPr>
            <p:ph type="ftr" sz="quarter" idx="19"/>
          </p:nvPr>
        </p:nvSpPr>
        <p:spPr/>
        <p:txBody>
          <a:bodyPr/>
          <a:lstStyle/>
          <a:p>
            <a:endParaRPr lang="en-NL"/>
          </a:p>
        </p:txBody>
      </p:sp>
      <p:sp>
        <p:nvSpPr>
          <p:cNvPr id="8" name="TextBox 7">
            <a:extLst>
              <a:ext uri="{FF2B5EF4-FFF2-40B4-BE49-F238E27FC236}">
                <a16:creationId xmlns:a16="http://schemas.microsoft.com/office/drawing/2014/main" id="{CB57B542-06A9-DE4F-969F-191CC73CC3F4}"/>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584250071"/>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ext in two column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2A2A612F-B7D0-EE48-9553-5C46B1883978}"/>
              </a:ext>
            </a:extLst>
          </p:cNvPr>
          <p:cNvSpPr>
            <a:spLocks noGrp="1"/>
          </p:cNvSpPr>
          <p:nvPr>
            <p:ph type="body" sz="quarter" idx="18" hasCustomPrompt="1"/>
          </p:nvPr>
        </p:nvSpPr>
        <p:spPr>
          <a:xfrm>
            <a:off x="1674329" y="5129213"/>
            <a:ext cx="10080000" cy="6904512"/>
          </a:xfrm>
        </p:spPr>
        <p:txBody>
          <a:bodyPr>
            <a:noAutofit/>
          </a:bodyPr>
          <a:lstStyle>
            <a:lvl1pPr>
              <a:spcBef>
                <a:spcPts val="2000"/>
              </a:spcBef>
              <a:defRPr sz="3200"/>
            </a:lvl1pPr>
          </a:lstStyle>
          <a:p>
            <a:pPr lvl="0"/>
            <a:r>
              <a:rPr lang="en-GB" noProof="0"/>
              <a:t>Put the first column text here, keep it regular 32 </a:t>
            </a:r>
            <a:r>
              <a:rPr lang="en-GB" noProof="0" err="1"/>
              <a:t>pt</a:t>
            </a:r>
            <a:endParaRPr lang="en-GB" noProof="0"/>
          </a:p>
        </p:txBody>
      </p:sp>
      <p:sp>
        <p:nvSpPr>
          <p:cNvPr id="12" name="Title 1">
            <a:extLst>
              <a:ext uri="{FF2B5EF4-FFF2-40B4-BE49-F238E27FC236}">
                <a16:creationId xmlns:a16="http://schemas.microsoft.com/office/drawing/2014/main" id="{E0055953-7F4C-2747-BE6A-BA18649898F4}"/>
              </a:ext>
            </a:extLst>
          </p:cNvPr>
          <p:cNvSpPr>
            <a:spLocks noGrp="1"/>
          </p:cNvSpPr>
          <p:nvPr>
            <p:ph type="title" hasCustomPrompt="1"/>
          </p:nvPr>
        </p:nvSpPr>
        <p:spPr>
          <a:xfrm>
            <a:off x="1676293" y="1677600"/>
            <a:ext cx="21033007" cy="3011659"/>
          </a:xfrm>
        </p:spPr>
        <p:txBody>
          <a:bodyPr/>
          <a:lstStyle/>
          <a:p>
            <a:r>
              <a:rPr lang="en-GB"/>
              <a:t>Put the headline here,</a:t>
            </a:r>
            <a:br>
              <a:rPr lang="en-GB"/>
            </a:br>
            <a:r>
              <a:rPr lang="en-GB"/>
              <a:t>keep it bold 80 </a:t>
            </a:r>
            <a:r>
              <a:rPr lang="en-GB" err="1"/>
              <a:t>pt</a:t>
            </a:r>
            <a:endParaRPr lang="en-NL"/>
          </a:p>
        </p:txBody>
      </p:sp>
      <p:sp>
        <p:nvSpPr>
          <p:cNvPr id="14" name="Text Placeholder 3">
            <a:extLst>
              <a:ext uri="{FF2B5EF4-FFF2-40B4-BE49-F238E27FC236}">
                <a16:creationId xmlns:a16="http://schemas.microsoft.com/office/drawing/2014/main" id="{5F720E9C-2098-114A-B6BC-477F05727234}"/>
              </a:ext>
            </a:extLst>
          </p:cNvPr>
          <p:cNvSpPr>
            <a:spLocks noGrp="1"/>
          </p:cNvSpPr>
          <p:nvPr>
            <p:ph type="body" sz="quarter" idx="19" hasCustomPrompt="1"/>
          </p:nvPr>
        </p:nvSpPr>
        <p:spPr>
          <a:xfrm>
            <a:off x="12628084" y="5129213"/>
            <a:ext cx="10080000" cy="6904512"/>
          </a:xfrm>
        </p:spPr>
        <p:txBody>
          <a:bodyPr>
            <a:noAutofit/>
          </a:bodyPr>
          <a:lstStyle>
            <a:lvl1pPr>
              <a:spcBef>
                <a:spcPts val="2000"/>
              </a:spcBef>
              <a:defRPr sz="3200"/>
            </a:lvl1pPr>
          </a:lstStyle>
          <a:p>
            <a:pPr lvl="0"/>
            <a:r>
              <a:rPr lang="en-GB" noProof="0"/>
              <a:t>Put the second column text here, keep it regular 32 </a:t>
            </a:r>
            <a:r>
              <a:rPr lang="en-GB" noProof="0" err="1"/>
              <a:t>pt</a:t>
            </a:r>
            <a:endParaRPr lang="en-GB" noProof="0"/>
          </a:p>
        </p:txBody>
      </p:sp>
      <p:sp>
        <p:nvSpPr>
          <p:cNvPr id="4" name="Footer Placeholder 3">
            <a:extLst>
              <a:ext uri="{FF2B5EF4-FFF2-40B4-BE49-F238E27FC236}">
                <a16:creationId xmlns:a16="http://schemas.microsoft.com/office/drawing/2014/main" id="{30B91129-2FC5-334C-9789-17535DAF1987}"/>
              </a:ext>
            </a:extLst>
          </p:cNvPr>
          <p:cNvSpPr>
            <a:spLocks noGrp="1"/>
          </p:cNvSpPr>
          <p:nvPr>
            <p:ph type="ftr" sz="quarter" idx="20"/>
          </p:nvPr>
        </p:nvSpPr>
        <p:spPr/>
        <p:txBody>
          <a:bodyPr/>
          <a:lstStyle/>
          <a:p>
            <a:endParaRPr lang="en-NL"/>
          </a:p>
        </p:txBody>
      </p:sp>
      <p:sp>
        <p:nvSpPr>
          <p:cNvPr id="9" name="TextBox 8">
            <a:extLst>
              <a:ext uri="{FF2B5EF4-FFF2-40B4-BE49-F238E27FC236}">
                <a16:creationId xmlns:a16="http://schemas.microsoft.com/office/drawing/2014/main" id="{1215165C-F26D-3544-AAD2-A26EE1B743AA}"/>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822031946"/>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ext in three columns">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F48D91E-AB60-4041-B4FC-3E50759777E5}"/>
              </a:ext>
            </a:extLst>
          </p:cNvPr>
          <p:cNvSpPr>
            <a:spLocks noGrp="1"/>
          </p:cNvSpPr>
          <p:nvPr>
            <p:ph type="title" hasCustomPrompt="1"/>
          </p:nvPr>
        </p:nvSpPr>
        <p:spPr>
          <a:xfrm>
            <a:off x="1676293" y="1677600"/>
            <a:ext cx="21033007" cy="3011659"/>
          </a:xfrm>
        </p:spPr>
        <p:txBody>
          <a:bodyPr/>
          <a:lstStyle/>
          <a:p>
            <a:r>
              <a:rPr lang="en-GB"/>
              <a:t>Put the headline here,</a:t>
            </a:r>
            <a:br>
              <a:rPr lang="en-GB"/>
            </a:br>
            <a:r>
              <a:rPr lang="en-GB"/>
              <a:t>keep it bold 80 </a:t>
            </a:r>
            <a:r>
              <a:rPr lang="en-GB" err="1"/>
              <a:t>pt</a:t>
            </a:r>
            <a:endParaRPr lang="en-NL"/>
          </a:p>
        </p:txBody>
      </p:sp>
      <p:sp>
        <p:nvSpPr>
          <p:cNvPr id="19" name="Text Placeholder 3">
            <a:extLst>
              <a:ext uri="{FF2B5EF4-FFF2-40B4-BE49-F238E27FC236}">
                <a16:creationId xmlns:a16="http://schemas.microsoft.com/office/drawing/2014/main" id="{292A3CC4-2948-634E-A9F0-D2126C8DA330}"/>
              </a:ext>
            </a:extLst>
          </p:cNvPr>
          <p:cNvSpPr>
            <a:spLocks noGrp="1"/>
          </p:cNvSpPr>
          <p:nvPr>
            <p:ph type="body" sz="quarter" idx="21" hasCustomPrompt="1"/>
          </p:nvPr>
        </p:nvSpPr>
        <p:spPr>
          <a:xfrm>
            <a:off x="9166225" y="5129213"/>
            <a:ext cx="6049964" cy="6904512"/>
          </a:xfrm>
        </p:spPr>
        <p:txBody>
          <a:bodyPr>
            <a:noAutofit/>
          </a:bodyPr>
          <a:lstStyle>
            <a:lvl1pPr marL="342900" indent="-342900">
              <a:spcBef>
                <a:spcPts val="2000"/>
              </a:spcBef>
              <a:buFont typeface="Arial" panose="020B0604020202020204" pitchFamily="34" charset="0"/>
              <a:buChar char="•"/>
              <a:defRPr sz="2400"/>
            </a:lvl1pPr>
          </a:lstStyle>
          <a:p>
            <a:pPr lvl="0"/>
            <a:r>
              <a:rPr lang="en-GB" noProof="0"/>
              <a:t>Put the second column list here, keep it regular 24 </a:t>
            </a:r>
            <a:r>
              <a:rPr lang="en-GB" noProof="0" err="1"/>
              <a:t>pt</a:t>
            </a:r>
            <a:endParaRPr lang="en-GB" noProof="0"/>
          </a:p>
        </p:txBody>
      </p:sp>
      <p:sp>
        <p:nvSpPr>
          <p:cNvPr id="20" name="Text Placeholder 3">
            <a:extLst>
              <a:ext uri="{FF2B5EF4-FFF2-40B4-BE49-F238E27FC236}">
                <a16:creationId xmlns:a16="http://schemas.microsoft.com/office/drawing/2014/main" id="{B772D797-9E99-7B44-81B1-A91F96DFFAD6}"/>
              </a:ext>
            </a:extLst>
          </p:cNvPr>
          <p:cNvSpPr>
            <a:spLocks noGrp="1"/>
          </p:cNvSpPr>
          <p:nvPr>
            <p:ph type="body" sz="quarter" idx="22" hasCustomPrompt="1"/>
          </p:nvPr>
        </p:nvSpPr>
        <p:spPr>
          <a:xfrm>
            <a:off x="1676291" y="5129213"/>
            <a:ext cx="6049964" cy="6904512"/>
          </a:xfrm>
        </p:spPr>
        <p:txBody>
          <a:bodyPr>
            <a:noAutofit/>
          </a:bodyPr>
          <a:lstStyle>
            <a:lvl1pPr marL="342900" indent="-342900">
              <a:spcBef>
                <a:spcPts val="2000"/>
              </a:spcBef>
              <a:buFont typeface="Arial" panose="020B0604020202020204" pitchFamily="34" charset="0"/>
              <a:buChar char="•"/>
              <a:defRPr sz="2400"/>
            </a:lvl1pPr>
          </a:lstStyle>
          <a:p>
            <a:pPr lvl="0"/>
            <a:r>
              <a:rPr lang="en-GB" noProof="0"/>
              <a:t>Put the first column list here, keep it regular 24 </a:t>
            </a:r>
            <a:r>
              <a:rPr lang="en-GB" noProof="0" err="1"/>
              <a:t>pt</a:t>
            </a:r>
            <a:endParaRPr lang="en-GB" noProof="0"/>
          </a:p>
        </p:txBody>
      </p:sp>
      <p:sp>
        <p:nvSpPr>
          <p:cNvPr id="21" name="Text Placeholder 3">
            <a:extLst>
              <a:ext uri="{FF2B5EF4-FFF2-40B4-BE49-F238E27FC236}">
                <a16:creationId xmlns:a16="http://schemas.microsoft.com/office/drawing/2014/main" id="{EA077ACA-637D-0643-8E1E-31E31C902655}"/>
              </a:ext>
            </a:extLst>
          </p:cNvPr>
          <p:cNvSpPr>
            <a:spLocks noGrp="1"/>
          </p:cNvSpPr>
          <p:nvPr>
            <p:ph type="body" sz="quarter" idx="23" hasCustomPrompt="1"/>
          </p:nvPr>
        </p:nvSpPr>
        <p:spPr>
          <a:xfrm>
            <a:off x="16656158" y="5129213"/>
            <a:ext cx="6049964" cy="6904512"/>
          </a:xfrm>
        </p:spPr>
        <p:txBody>
          <a:bodyPr>
            <a:noAutofit/>
          </a:bodyPr>
          <a:lstStyle>
            <a:lvl1pPr marL="342900" indent="-342900">
              <a:spcBef>
                <a:spcPts val="2000"/>
              </a:spcBef>
              <a:buFont typeface="Arial" panose="020B0604020202020204" pitchFamily="34" charset="0"/>
              <a:buChar char="•"/>
              <a:defRPr sz="2400"/>
            </a:lvl1pPr>
          </a:lstStyle>
          <a:p>
            <a:pPr lvl="0"/>
            <a:r>
              <a:rPr lang="en-GB" noProof="0"/>
              <a:t>Put the third column list here, keep it regular 24 </a:t>
            </a:r>
            <a:r>
              <a:rPr lang="en-GB" noProof="0" err="1"/>
              <a:t>pt</a:t>
            </a:r>
            <a:endParaRPr lang="en-GB" noProof="0"/>
          </a:p>
        </p:txBody>
      </p:sp>
      <p:sp>
        <p:nvSpPr>
          <p:cNvPr id="4" name="Footer Placeholder 3">
            <a:extLst>
              <a:ext uri="{FF2B5EF4-FFF2-40B4-BE49-F238E27FC236}">
                <a16:creationId xmlns:a16="http://schemas.microsoft.com/office/drawing/2014/main" id="{9F259679-D8E8-0F42-BB59-3BCBFC65EB1B}"/>
              </a:ext>
            </a:extLst>
          </p:cNvPr>
          <p:cNvSpPr>
            <a:spLocks noGrp="1"/>
          </p:cNvSpPr>
          <p:nvPr>
            <p:ph type="ftr" sz="quarter" idx="24"/>
          </p:nvPr>
        </p:nvSpPr>
        <p:spPr/>
        <p:txBody>
          <a:bodyPr/>
          <a:lstStyle/>
          <a:p>
            <a:endParaRPr lang="en-NL"/>
          </a:p>
        </p:txBody>
      </p:sp>
      <p:sp>
        <p:nvSpPr>
          <p:cNvPr id="10" name="TextBox 9">
            <a:extLst>
              <a:ext uri="{FF2B5EF4-FFF2-40B4-BE49-F238E27FC236}">
                <a16:creationId xmlns:a16="http://schemas.microsoft.com/office/drawing/2014/main" id="{F6C0470B-F20E-A142-917D-853951DA8234}"/>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077466774"/>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Long text in two columns">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63367C8D-9B77-984C-8B9E-6950D34AC3FE}"/>
              </a:ext>
            </a:extLst>
          </p:cNvPr>
          <p:cNvSpPr>
            <a:spLocks noGrp="1"/>
          </p:cNvSpPr>
          <p:nvPr>
            <p:ph type="title" hasCustomPrompt="1"/>
          </p:nvPr>
        </p:nvSpPr>
        <p:spPr>
          <a:xfrm>
            <a:off x="1676293" y="1677600"/>
            <a:ext cx="21033007" cy="2446607"/>
          </a:xfrm>
        </p:spPr>
        <p:txBody>
          <a:bodyPr/>
          <a:lstStyle>
            <a:lvl1pPr>
              <a:defRPr sz="6000" spc="0" baseline="0"/>
            </a:lvl1pPr>
          </a:lstStyle>
          <a:p>
            <a:r>
              <a:rPr lang="en-GB"/>
              <a:t>Put the headline here, </a:t>
            </a:r>
            <a:br>
              <a:rPr lang="en-GB"/>
            </a:br>
            <a:r>
              <a:rPr lang="en-GB"/>
              <a:t>keep it bold 60 </a:t>
            </a:r>
            <a:r>
              <a:rPr lang="en-GB" err="1"/>
              <a:t>pt</a:t>
            </a:r>
            <a:endParaRPr lang="en-NL"/>
          </a:p>
        </p:txBody>
      </p:sp>
      <p:sp>
        <p:nvSpPr>
          <p:cNvPr id="10" name="Text Placeholder 3">
            <a:extLst>
              <a:ext uri="{FF2B5EF4-FFF2-40B4-BE49-F238E27FC236}">
                <a16:creationId xmlns:a16="http://schemas.microsoft.com/office/drawing/2014/main" id="{939100DF-247B-744C-82E5-5A131B43B255}"/>
              </a:ext>
            </a:extLst>
          </p:cNvPr>
          <p:cNvSpPr>
            <a:spLocks noGrp="1"/>
          </p:cNvSpPr>
          <p:nvPr>
            <p:ph type="body" sz="quarter" idx="18" hasCustomPrompt="1"/>
          </p:nvPr>
        </p:nvSpPr>
        <p:spPr>
          <a:xfrm>
            <a:off x="1674329" y="4124207"/>
            <a:ext cx="10080000" cy="7909518"/>
          </a:xfrm>
        </p:spPr>
        <p:txBody>
          <a:bodyPr>
            <a:noAutofit/>
          </a:bodyPr>
          <a:lstStyle>
            <a:lvl1pPr>
              <a:spcBef>
                <a:spcPts val="2000"/>
              </a:spcBef>
              <a:defRPr sz="2400"/>
            </a:lvl1pPr>
          </a:lstStyle>
          <a:p>
            <a:pPr lvl="0"/>
            <a:r>
              <a:rPr lang="en-GB" noProof="0"/>
              <a:t>Put the first column text here, keep it regular 24 </a:t>
            </a:r>
            <a:r>
              <a:rPr lang="en-GB" noProof="0" err="1"/>
              <a:t>pt</a:t>
            </a:r>
            <a:endParaRPr lang="en-GB" noProof="0"/>
          </a:p>
        </p:txBody>
      </p:sp>
      <p:sp>
        <p:nvSpPr>
          <p:cNvPr id="11" name="Text Placeholder 3">
            <a:extLst>
              <a:ext uri="{FF2B5EF4-FFF2-40B4-BE49-F238E27FC236}">
                <a16:creationId xmlns:a16="http://schemas.microsoft.com/office/drawing/2014/main" id="{9CCF0755-F145-EA44-8033-C854ED47EF7D}"/>
              </a:ext>
            </a:extLst>
          </p:cNvPr>
          <p:cNvSpPr>
            <a:spLocks noGrp="1"/>
          </p:cNvSpPr>
          <p:nvPr>
            <p:ph type="body" sz="quarter" idx="20" hasCustomPrompt="1"/>
          </p:nvPr>
        </p:nvSpPr>
        <p:spPr>
          <a:xfrm>
            <a:off x="12628084" y="4124207"/>
            <a:ext cx="10080000" cy="7909518"/>
          </a:xfrm>
        </p:spPr>
        <p:txBody>
          <a:bodyPr>
            <a:noAutofit/>
          </a:bodyPr>
          <a:lstStyle>
            <a:lvl1pPr>
              <a:spcBef>
                <a:spcPts val="2000"/>
              </a:spcBef>
              <a:defRPr sz="2400"/>
            </a:lvl1pPr>
          </a:lstStyle>
          <a:p>
            <a:pPr lvl="0"/>
            <a:r>
              <a:rPr lang="en-GB" noProof="0"/>
              <a:t>Put the second column text here, keep it regular 24 </a:t>
            </a:r>
            <a:r>
              <a:rPr lang="en-GB" noProof="0" err="1"/>
              <a:t>pt</a:t>
            </a:r>
            <a:endParaRPr lang="en-GB" noProof="0"/>
          </a:p>
        </p:txBody>
      </p:sp>
      <p:sp>
        <p:nvSpPr>
          <p:cNvPr id="4" name="Footer Placeholder 3">
            <a:extLst>
              <a:ext uri="{FF2B5EF4-FFF2-40B4-BE49-F238E27FC236}">
                <a16:creationId xmlns:a16="http://schemas.microsoft.com/office/drawing/2014/main" id="{513A86D6-E57E-5649-8AF5-453D2B2B151A}"/>
              </a:ext>
            </a:extLst>
          </p:cNvPr>
          <p:cNvSpPr>
            <a:spLocks noGrp="1"/>
          </p:cNvSpPr>
          <p:nvPr>
            <p:ph type="ftr" sz="quarter" idx="21"/>
          </p:nvPr>
        </p:nvSpPr>
        <p:spPr/>
        <p:txBody>
          <a:bodyPr/>
          <a:lstStyle/>
          <a:p>
            <a:endParaRPr lang="en-NL"/>
          </a:p>
        </p:txBody>
      </p:sp>
      <p:sp>
        <p:nvSpPr>
          <p:cNvPr id="13" name="TextBox 12">
            <a:extLst>
              <a:ext uri="{FF2B5EF4-FFF2-40B4-BE49-F238E27FC236}">
                <a16:creationId xmlns:a16="http://schemas.microsoft.com/office/drawing/2014/main" id="{F69A19F4-DC87-0B48-B9A2-A753D080F470}"/>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919120127"/>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Long text in two columns and picture">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EED5078-C5D9-0E4F-B9E3-7CF7BBC8C373}"/>
              </a:ext>
            </a:extLst>
          </p:cNvPr>
          <p:cNvSpPr>
            <a:spLocks noGrp="1"/>
          </p:cNvSpPr>
          <p:nvPr>
            <p:ph type="pic" sz="quarter" idx="15" hasCustomPrompt="1"/>
          </p:nvPr>
        </p:nvSpPr>
        <p:spPr>
          <a:xfrm>
            <a:off x="491102" y="486000"/>
            <a:ext cx="10764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2" name="Text Placeholder 3">
            <a:extLst>
              <a:ext uri="{FF2B5EF4-FFF2-40B4-BE49-F238E27FC236}">
                <a16:creationId xmlns:a16="http://schemas.microsoft.com/office/drawing/2014/main" id="{AE87E5A1-8A67-0448-BA9A-DA74F50AE099}"/>
              </a:ext>
            </a:extLst>
          </p:cNvPr>
          <p:cNvSpPr>
            <a:spLocks noGrp="1"/>
          </p:cNvSpPr>
          <p:nvPr>
            <p:ph type="body" sz="quarter" idx="18" hasCustomPrompt="1"/>
          </p:nvPr>
        </p:nvSpPr>
        <p:spPr>
          <a:xfrm>
            <a:off x="12191206" y="5129213"/>
            <a:ext cx="5040560" cy="6904512"/>
          </a:xfrm>
        </p:spPr>
        <p:txBody>
          <a:bodyPr>
            <a:noAutofit/>
          </a:bodyPr>
          <a:lstStyle>
            <a:lvl1pPr>
              <a:spcBef>
                <a:spcPts val="2000"/>
              </a:spcBef>
              <a:defRPr sz="2400"/>
            </a:lvl1pPr>
          </a:lstStyle>
          <a:p>
            <a:pPr lvl="0"/>
            <a:r>
              <a:rPr lang="en-GB" noProof="0"/>
              <a:t>Put the first column text here, keep it regular 24 </a:t>
            </a:r>
            <a:r>
              <a:rPr lang="en-GB" noProof="0" err="1"/>
              <a:t>pt</a:t>
            </a:r>
            <a:endParaRPr lang="en-GB" noProof="0"/>
          </a:p>
        </p:txBody>
      </p:sp>
      <p:sp>
        <p:nvSpPr>
          <p:cNvPr id="13" name="Title 1">
            <a:extLst>
              <a:ext uri="{FF2B5EF4-FFF2-40B4-BE49-F238E27FC236}">
                <a16:creationId xmlns:a16="http://schemas.microsoft.com/office/drawing/2014/main" id="{0614539B-EA7E-5F48-845E-1115C11137DF}"/>
              </a:ext>
            </a:extLst>
          </p:cNvPr>
          <p:cNvSpPr>
            <a:spLocks noGrp="1"/>
          </p:cNvSpPr>
          <p:nvPr>
            <p:ph type="title" hasCustomPrompt="1"/>
          </p:nvPr>
        </p:nvSpPr>
        <p:spPr>
          <a:xfrm>
            <a:off x="12193170" y="1677600"/>
            <a:ext cx="10514913" cy="3011659"/>
          </a:xfrm>
        </p:spPr>
        <p:txBody>
          <a:bodyPr/>
          <a:lstStyle>
            <a:lvl1pPr>
              <a:defRPr sz="6000" spc="0" baseline="0"/>
            </a:lvl1pPr>
          </a:lstStyle>
          <a:p>
            <a:r>
              <a:rPr lang="en-GB"/>
              <a:t>Put the headline here, keep it 60 </a:t>
            </a:r>
            <a:r>
              <a:rPr lang="en-GB" err="1"/>
              <a:t>pt</a:t>
            </a:r>
            <a:endParaRPr lang="en-NL"/>
          </a:p>
        </p:txBody>
      </p:sp>
      <p:sp>
        <p:nvSpPr>
          <p:cNvPr id="7" name="Text Placeholder 3">
            <a:extLst>
              <a:ext uri="{FF2B5EF4-FFF2-40B4-BE49-F238E27FC236}">
                <a16:creationId xmlns:a16="http://schemas.microsoft.com/office/drawing/2014/main" id="{B26CACA4-13A0-5940-A8FA-3FC8769DA450}"/>
              </a:ext>
            </a:extLst>
          </p:cNvPr>
          <p:cNvSpPr>
            <a:spLocks noGrp="1"/>
          </p:cNvSpPr>
          <p:nvPr>
            <p:ph type="body" sz="quarter" idx="20" hasCustomPrompt="1"/>
          </p:nvPr>
        </p:nvSpPr>
        <p:spPr>
          <a:xfrm>
            <a:off x="17653543" y="5164141"/>
            <a:ext cx="5040560" cy="6904512"/>
          </a:xfrm>
        </p:spPr>
        <p:txBody>
          <a:bodyPr>
            <a:noAutofit/>
          </a:bodyPr>
          <a:lstStyle>
            <a:lvl1pPr>
              <a:spcBef>
                <a:spcPts val="2000"/>
              </a:spcBef>
              <a:defRPr sz="2400"/>
            </a:lvl1pPr>
          </a:lstStyle>
          <a:p>
            <a:pPr lvl="0"/>
            <a:r>
              <a:rPr lang="en-GB" noProof="0"/>
              <a:t>Put the second column text here, keep it regular 24 </a:t>
            </a:r>
            <a:r>
              <a:rPr lang="en-GB" noProof="0" err="1"/>
              <a:t>pt</a:t>
            </a:r>
            <a:endParaRPr lang="en-GB" noProof="0"/>
          </a:p>
        </p:txBody>
      </p:sp>
      <p:sp>
        <p:nvSpPr>
          <p:cNvPr id="4" name="Footer Placeholder 3">
            <a:extLst>
              <a:ext uri="{FF2B5EF4-FFF2-40B4-BE49-F238E27FC236}">
                <a16:creationId xmlns:a16="http://schemas.microsoft.com/office/drawing/2014/main" id="{236B4C3F-2345-FD42-B780-BD49D67130E9}"/>
              </a:ext>
            </a:extLst>
          </p:cNvPr>
          <p:cNvSpPr>
            <a:spLocks noGrp="1"/>
          </p:cNvSpPr>
          <p:nvPr>
            <p:ph type="ftr" sz="quarter" idx="21"/>
          </p:nvPr>
        </p:nvSpPr>
        <p:spPr/>
        <p:txBody>
          <a:bodyPr/>
          <a:lstStyle/>
          <a:p>
            <a:endParaRPr lang="en-NL"/>
          </a:p>
        </p:txBody>
      </p:sp>
      <p:sp>
        <p:nvSpPr>
          <p:cNvPr id="11" name="TextBox 10">
            <a:extLst>
              <a:ext uri="{FF2B5EF4-FFF2-40B4-BE49-F238E27FC236}">
                <a16:creationId xmlns:a16="http://schemas.microsoft.com/office/drawing/2014/main" id="{2C18B1BF-0727-F84E-B2A7-098862261928}"/>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95962060"/>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Long text in three columns and picture">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EED5078-C5D9-0E4F-B9E3-7CF7BBC8C373}"/>
              </a:ext>
            </a:extLst>
          </p:cNvPr>
          <p:cNvSpPr>
            <a:spLocks noGrp="1"/>
          </p:cNvSpPr>
          <p:nvPr>
            <p:ph type="pic" sz="quarter" idx="15" hasCustomPrompt="1"/>
          </p:nvPr>
        </p:nvSpPr>
        <p:spPr>
          <a:xfrm>
            <a:off x="491102" y="486000"/>
            <a:ext cx="5579498"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2" name="Text Placeholder 3">
            <a:extLst>
              <a:ext uri="{FF2B5EF4-FFF2-40B4-BE49-F238E27FC236}">
                <a16:creationId xmlns:a16="http://schemas.microsoft.com/office/drawing/2014/main" id="{AE87E5A1-8A67-0448-BA9A-DA74F50AE099}"/>
              </a:ext>
            </a:extLst>
          </p:cNvPr>
          <p:cNvSpPr>
            <a:spLocks noGrp="1"/>
          </p:cNvSpPr>
          <p:nvPr>
            <p:ph type="body" sz="quarter" idx="18" hasCustomPrompt="1"/>
          </p:nvPr>
        </p:nvSpPr>
        <p:spPr>
          <a:xfrm>
            <a:off x="12191206" y="5129213"/>
            <a:ext cx="5040560" cy="6904512"/>
          </a:xfrm>
        </p:spPr>
        <p:txBody>
          <a:bodyPr>
            <a:noAutofit/>
          </a:bodyPr>
          <a:lstStyle>
            <a:lvl1pPr>
              <a:spcBef>
                <a:spcPts val="2000"/>
              </a:spcBef>
              <a:defRPr sz="1600"/>
            </a:lvl1pPr>
          </a:lstStyle>
          <a:p>
            <a:pPr lvl="0"/>
            <a:r>
              <a:rPr lang="en-GB" noProof="0"/>
              <a:t>Put the body text here, keep it regular 16 </a:t>
            </a:r>
            <a:r>
              <a:rPr lang="en-GB" noProof="0" err="1"/>
              <a:t>pt</a:t>
            </a:r>
            <a:endParaRPr lang="en-GB" noProof="0"/>
          </a:p>
        </p:txBody>
      </p:sp>
      <p:sp>
        <p:nvSpPr>
          <p:cNvPr id="13" name="Title 1">
            <a:extLst>
              <a:ext uri="{FF2B5EF4-FFF2-40B4-BE49-F238E27FC236}">
                <a16:creationId xmlns:a16="http://schemas.microsoft.com/office/drawing/2014/main" id="{0614539B-EA7E-5F48-845E-1115C11137DF}"/>
              </a:ext>
            </a:extLst>
          </p:cNvPr>
          <p:cNvSpPr>
            <a:spLocks noGrp="1"/>
          </p:cNvSpPr>
          <p:nvPr>
            <p:ph type="title" hasCustomPrompt="1"/>
          </p:nvPr>
        </p:nvSpPr>
        <p:spPr>
          <a:xfrm>
            <a:off x="6728870" y="1677600"/>
            <a:ext cx="15979214" cy="3011659"/>
          </a:xfrm>
        </p:spPr>
        <p:txBody>
          <a:bodyPr/>
          <a:lstStyle>
            <a:lvl1pPr>
              <a:defRPr sz="6000" spc="0" baseline="0"/>
            </a:lvl1pPr>
          </a:lstStyle>
          <a:p>
            <a:r>
              <a:rPr lang="en-GB"/>
              <a:t>Put the headline here, </a:t>
            </a:r>
            <a:br>
              <a:rPr lang="en-GB"/>
            </a:br>
            <a:r>
              <a:rPr lang="en-GB"/>
              <a:t>keep it 60 </a:t>
            </a:r>
            <a:r>
              <a:rPr lang="en-GB" err="1"/>
              <a:t>pt</a:t>
            </a:r>
            <a:endParaRPr lang="en-NL"/>
          </a:p>
        </p:txBody>
      </p:sp>
      <p:sp>
        <p:nvSpPr>
          <p:cNvPr id="7" name="Text Placeholder 3">
            <a:extLst>
              <a:ext uri="{FF2B5EF4-FFF2-40B4-BE49-F238E27FC236}">
                <a16:creationId xmlns:a16="http://schemas.microsoft.com/office/drawing/2014/main" id="{B26CACA4-13A0-5940-A8FA-3FC8769DA450}"/>
              </a:ext>
            </a:extLst>
          </p:cNvPr>
          <p:cNvSpPr>
            <a:spLocks noGrp="1"/>
          </p:cNvSpPr>
          <p:nvPr>
            <p:ph type="body" sz="quarter" idx="20" hasCustomPrompt="1"/>
          </p:nvPr>
        </p:nvSpPr>
        <p:spPr>
          <a:xfrm>
            <a:off x="17653543" y="5164141"/>
            <a:ext cx="5040560" cy="6904512"/>
          </a:xfrm>
        </p:spPr>
        <p:txBody>
          <a:bodyPr>
            <a:noAutofit/>
          </a:bodyPr>
          <a:lstStyle>
            <a:lvl1pPr>
              <a:spcBef>
                <a:spcPts val="2000"/>
              </a:spcBef>
              <a:defRPr sz="1600"/>
            </a:lvl1pPr>
          </a:lstStyle>
          <a:p>
            <a:pPr lvl="0"/>
            <a:r>
              <a:rPr lang="en-GB" noProof="0"/>
              <a:t>Put the body text here, keep it regular 16 </a:t>
            </a:r>
            <a:r>
              <a:rPr lang="en-GB" noProof="0" err="1"/>
              <a:t>pt</a:t>
            </a:r>
            <a:endParaRPr lang="en-GB" noProof="0"/>
          </a:p>
        </p:txBody>
      </p:sp>
      <p:sp>
        <p:nvSpPr>
          <p:cNvPr id="8" name="Text Placeholder 3">
            <a:extLst>
              <a:ext uri="{FF2B5EF4-FFF2-40B4-BE49-F238E27FC236}">
                <a16:creationId xmlns:a16="http://schemas.microsoft.com/office/drawing/2014/main" id="{0C7CE63B-C4F3-714B-8275-BBB3C3035E61}"/>
              </a:ext>
            </a:extLst>
          </p:cNvPr>
          <p:cNvSpPr>
            <a:spLocks noGrp="1"/>
          </p:cNvSpPr>
          <p:nvPr>
            <p:ph type="body" sz="quarter" idx="21" hasCustomPrompt="1"/>
          </p:nvPr>
        </p:nvSpPr>
        <p:spPr>
          <a:xfrm>
            <a:off x="6728869" y="5129213"/>
            <a:ext cx="5040560" cy="6904512"/>
          </a:xfrm>
        </p:spPr>
        <p:txBody>
          <a:bodyPr>
            <a:noAutofit/>
          </a:bodyPr>
          <a:lstStyle>
            <a:lvl1pPr>
              <a:spcBef>
                <a:spcPts val="2000"/>
              </a:spcBef>
              <a:defRPr sz="1600"/>
            </a:lvl1pPr>
          </a:lstStyle>
          <a:p>
            <a:pPr lvl="0"/>
            <a:r>
              <a:rPr lang="en-GB" noProof="0"/>
              <a:t>Put the body text here, keep it regular 16 </a:t>
            </a:r>
            <a:r>
              <a:rPr lang="en-GB" noProof="0" err="1"/>
              <a:t>pt</a:t>
            </a:r>
            <a:endParaRPr lang="en-GB" noProof="0"/>
          </a:p>
        </p:txBody>
      </p:sp>
      <p:sp>
        <p:nvSpPr>
          <p:cNvPr id="4" name="Footer Placeholder 3">
            <a:extLst>
              <a:ext uri="{FF2B5EF4-FFF2-40B4-BE49-F238E27FC236}">
                <a16:creationId xmlns:a16="http://schemas.microsoft.com/office/drawing/2014/main" id="{4194F0DB-380C-DF44-86E3-D79D56DFF85C}"/>
              </a:ext>
            </a:extLst>
          </p:cNvPr>
          <p:cNvSpPr>
            <a:spLocks noGrp="1"/>
          </p:cNvSpPr>
          <p:nvPr>
            <p:ph type="ftr" sz="quarter" idx="22"/>
          </p:nvPr>
        </p:nvSpPr>
        <p:spPr/>
        <p:txBody>
          <a:bodyPr/>
          <a:lstStyle/>
          <a:p>
            <a:endParaRPr lang="en-NL"/>
          </a:p>
        </p:txBody>
      </p:sp>
      <p:sp>
        <p:nvSpPr>
          <p:cNvPr id="11" name="TextBox 10">
            <a:extLst>
              <a:ext uri="{FF2B5EF4-FFF2-40B4-BE49-F238E27FC236}">
                <a16:creationId xmlns:a16="http://schemas.microsoft.com/office/drawing/2014/main" id="{8382B125-311F-9F4E-88E7-2B54BB6A3B94}"/>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172698568"/>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Long text in one column and picture">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6790606" y="486000"/>
            <a:ext cx="17100704"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1674329" y="5129213"/>
            <a:ext cx="4394307" cy="6904512"/>
          </a:xfrm>
        </p:spPr>
        <p:txBody>
          <a:bodyPr>
            <a:noAutofit/>
          </a:bodyPr>
          <a:lstStyle>
            <a:lvl1pPr>
              <a:spcBef>
                <a:spcPts val="2000"/>
              </a:spcBef>
              <a:defRPr sz="2400"/>
            </a:lvl1pPr>
          </a:lstStyle>
          <a:p>
            <a:pPr lvl="0"/>
            <a:r>
              <a:rPr lang="en-GB" noProof="0"/>
              <a:t>Put the paragraph text here, keep it regular 24 </a:t>
            </a:r>
            <a:r>
              <a:rPr lang="en-GB" noProof="0" err="1"/>
              <a:t>pt</a:t>
            </a:r>
            <a:endParaRPr lang="en-GB" noProof="0"/>
          </a:p>
        </p:txBody>
      </p:sp>
      <p:sp>
        <p:nvSpPr>
          <p:cNvPr id="2" name="Title 1">
            <a:extLst>
              <a:ext uri="{FF2B5EF4-FFF2-40B4-BE49-F238E27FC236}">
                <a16:creationId xmlns:a16="http://schemas.microsoft.com/office/drawing/2014/main" id="{44A2E15B-0973-F742-A266-E1107E35FE40}"/>
              </a:ext>
            </a:extLst>
          </p:cNvPr>
          <p:cNvSpPr>
            <a:spLocks noGrp="1"/>
          </p:cNvSpPr>
          <p:nvPr>
            <p:ph type="title" hasCustomPrompt="1"/>
          </p:nvPr>
        </p:nvSpPr>
        <p:spPr>
          <a:xfrm>
            <a:off x="1676293" y="1677600"/>
            <a:ext cx="4394307" cy="3011659"/>
          </a:xfrm>
        </p:spPr>
        <p:txBody>
          <a:bodyPr/>
          <a:lstStyle>
            <a:lvl1pPr>
              <a:defRPr sz="4000" spc="0" baseline="0"/>
            </a:lvl1pPr>
          </a:lstStyle>
          <a:p>
            <a:r>
              <a:rPr lang="en-GB"/>
              <a:t>Put the headline here, keep it bold 40 </a:t>
            </a:r>
            <a:r>
              <a:rPr lang="en-GB" err="1"/>
              <a:t>pt</a:t>
            </a:r>
            <a:endParaRPr lang="en-NL"/>
          </a:p>
        </p:txBody>
      </p:sp>
      <p:sp>
        <p:nvSpPr>
          <p:cNvPr id="7" name="Footer Placeholder 6">
            <a:extLst>
              <a:ext uri="{FF2B5EF4-FFF2-40B4-BE49-F238E27FC236}">
                <a16:creationId xmlns:a16="http://schemas.microsoft.com/office/drawing/2014/main" id="{BDFCBB05-AE3F-8B46-8B28-FBA47A7B8DF9}"/>
              </a:ext>
            </a:extLst>
          </p:cNvPr>
          <p:cNvSpPr>
            <a:spLocks noGrp="1"/>
          </p:cNvSpPr>
          <p:nvPr>
            <p:ph type="ftr" sz="quarter" idx="19"/>
          </p:nvPr>
        </p:nvSpPr>
        <p:spPr/>
        <p:txBody>
          <a:bodyPr/>
          <a:lstStyle/>
          <a:p>
            <a:endParaRPr lang="en-NL"/>
          </a:p>
        </p:txBody>
      </p:sp>
      <p:sp>
        <p:nvSpPr>
          <p:cNvPr id="10" name="TextBox 9">
            <a:extLst>
              <a:ext uri="{FF2B5EF4-FFF2-40B4-BE49-F238E27FC236}">
                <a16:creationId xmlns:a16="http://schemas.microsoft.com/office/drawing/2014/main" id="{1A281C68-F05E-474E-B89A-873F6871F7AE}"/>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6485059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or conten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3293FC4-39C9-4047-8405-0EE5AF044904}"/>
              </a:ext>
            </a:extLst>
          </p:cNvPr>
          <p:cNvSpPr>
            <a:spLocks noGrp="1"/>
          </p:cNvSpPr>
          <p:nvPr>
            <p:ph type="pic" sz="quarter" idx="13" hasCustomPrompt="1"/>
          </p:nvPr>
        </p:nvSpPr>
        <p:spPr>
          <a:xfrm>
            <a:off x="486000" y="486000"/>
            <a:ext cx="10440000" cy="12744000"/>
          </a:xfrm>
          <a:solidFill>
            <a:schemeClr val="bg1">
              <a:lumMod val="95000"/>
            </a:schemeClr>
          </a:solidFill>
        </p:spPr>
        <p:txBody>
          <a:bodyPr/>
          <a:lstStyle>
            <a:lvl1pPr algn="ctr">
              <a:defRPr sz="2400">
                <a:solidFill>
                  <a:schemeClr val="tx1">
                    <a:lumMod val="65000"/>
                    <a:lumOff val="35000"/>
                  </a:schemeClr>
                </a:solidFill>
              </a:defRPr>
            </a:lvl1pPr>
          </a:lstStyle>
          <a:p>
            <a:r>
              <a:rPr lang="en-NL"/>
              <a:t>Fill this frame with one of the Theme Colours</a:t>
            </a:r>
          </a:p>
        </p:txBody>
      </p:sp>
      <p:sp>
        <p:nvSpPr>
          <p:cNvPr id="9" name="Text Placeholder 3">
            <a:extLst>
              <a:ext uri="{FF2B5EF4-FFF2-40B4-BE49-F238E27FC236}">
                <a16:creationId xmlns:a16="http://schemas.microsoft.com/office/drawing/2014/main" id="{74EDCDDC-BFAD-0048-95CD-93E49D18174D}"/>
              </a:ext>
            </a:extLst>
          </p:cNvPr>
          <p:cNvSpPr>
            <a:spLocks noGrp="1"/>
          </p:cNvSpPr>
          <p:nvPr>
            <p:ph type="body" sz="half" idx="2" hasCustomPrompt="1"/>
          </p:nvPr>
        </p:nvSpPr>
        <p:spPr>
          <a:xfrm>
            <a:off x="12191207" y="1961458"/>
            <a:ext cx="9144793" cy="10081320"/>
          </a:xfrm>
        </p:spPr>
        <p:txBody>
          <a:bodyPr>
            <a:noAutofit/>
          </a:bodyPr>
          <a:lstStyle>
            <a:lvl1pPr marL="0" marR="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sz="32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endParaRPr lang="en-GB" noProof="0"/>
          </a:p>
        </p:txBody>
      </p:sp>
      <p:sp>
        <p:nvSpPr>
          <p:cNvPr id="6" name="Title 5">
            <a:extLst>
              <a:ext uri="{FF2B5EF4-FFF2-40B4-BE49-F238E27FC236}">
                <a16:creationId xmlns:a16="http://schemas.microsoft.com/office/drawing/2014/main" id="{07211B91-AE84-A342-91A4-CA604C6D63E9}"/>
              </a:ext>
            </a:extLst>
          </p:cNvPr>
          <p:cNvSpPr>
            <a:spLocks noGrp="1"/>
          </p:cNvSpPr>
          <p:nvPr>
            <p:ph type="title" hasCustomPrompt="1"/>
          </p:nvPr>
        </p:nvSpPr>
        <p:spPr>
          <a:xfrm>
            <a:off x="1676293" y="1677600"/>
            <a:ext cx="9000000" cy="8633316"/>
          </a:xfrm>
        </p:spPr>
        <p:txBody>
          <a:bodyPr bIns="46800"/>
          <a:lstStyle/>
          <a:p>
            <a:r>
              <a:rPr lang="en-GB"/>
              <a:t>Agenda or contents</a:t>
            </a:r>
            <a:endParaRPr lang="en-NL"/>
          </a:p>
        </p:txBody>
      </p:sp>
      <p:sp>
        <p:nvSpPr>
          <p:cNvPr id="7" name="Footer Placeholder 6">
            <a:extLst>
              <a:ext uri="{FF2B5EF4-FFF2-40B4-BE49-F238E27FC236}">
                <a16:creationId xmlns:a16="http://schemas.microsoft.com/office/drawing/2014/main" id="{AA71B48D-AD8E-4041-BC0A-97827EA167E2}"/>
              </a:ext>
            </a:extLst>
          </p:cNvPr>
          <p:cNvSpPr>
            <a:spLocks noGrp="1"/>
          </p:cNvSpPr>
          <p:nvPr>
            <p:ph type="ftr" sz="quarter" idx="16"/>
          </p:nvPr>
        </p:nvSpPr>
        <p:spPr/>
        <p:txBody>
          <a:bodyPr/>
          <a:lstStyle/>
          <a:p>
            <a:endParaRPr lang="en-NL"/>
          </a:p>
        </p:txBody>
      </p:sp>
      <p:sp>
        <p:nvSpPr>
          <p:cNvPr id="13" name="TextBox 12">
            <a:extLst>
              <a:ext uri="{FF2B5EF4-FFF2-40B4-BE49-F238E27FC236}">
                <a16:creationId xmlns:a16="http://schemas.microsoft.com/office/drawing/2014/main" id="{3A2D6FA1-9D20-AF47-912B-1D770AF0FEBC}"/>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6964488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Big statement on colour background, texture or image">
    <p:bg>
      <p:bgPr>
        <a:solidFill>
          <a:srgbClr val="00829B">
            <a:alpha val="95000"/>
          </a:srgbClr>
        </a:solidFill>
        <a:effectLst/>
      </p:bgPr>
    </p:bg>
    <p:spTree>
      <p:nvGrpSpPr>
        <p:cNvPr id="1" name=""/>
        <p:cNvGrpSpPr/>
        <p:nvPr/>
      </p:nvGrpSpPr>
      <p:grpSpPr>
        <a:xfrm>
          <a:off x="0" y="0"/>
          <a:ext cx="0" cy="0"/>
          <a:chOff x="0" y="0"/>
          <a:chExt cx="0" cy="0"/>
        </a:xfrm>
      </p:grpSpPr>
      <p:sp>
        <p:nvSpPr>
          <p:cNvPr id="10" name="Title Placeholder 6">
            <a:extLst>
              <a:ext uri="{FF2B5EF4-FFF2-40B4-BE49-F238E27FC236}">
                <a16:creationId xmlns:a16="http://schemas.microsoft.com/office/drawing/2014/main" id="{048B0FEC-E6E9-1B42-9F79-233E0858B4AD}"/>
              </a:ext>
            </a:extLst>
          </p:cNvPr>
          <p:cNvSpPr>
            <a:spLocks noGrp="1"/>
          </p:cNvSpPr>
          <p:nvPr>
            <p:ph type="title" hasCustomPrompt="1"/>
          </p:nvPr>
        </p:nvSpPr>
        <p:spPr>
          <a:xfrm>
            <a:off x="1679467" y="1692503"/>
            <a:ext cx="21029831" cy="10330998"/>
          </a:xfrm>
          <a:prstGeom prst="rect">
            <a:avLst/>
          </a:prstGeom>
        </p:spPr>
        <p:txBody>
          <a:bodyPr vert="horz" lIns="91440" tIns="45720" rIns="91440" bIns="45720" rtlCol="0" anchor="ctr">
            <a:noAutofit/>
          </a:bodyPr>
          <a:lstStyle>
            <a:lvl1pPr>
              <a:defRPr sz="17999" baseline="0"/>
            </a:lvl1pPr>
          </a:lstStyle>
          <a:p>
            <a:r>
              <a:rPr lang="en-GB" noProof="0"/>
              <a:t>Statement here,</a:t>
            </a:r>
            <a:br>
              <a:rPr lang="en-GB" noProof="0"/>
            </a:br>
            <a:r>
              <a:rPr lang="en-GB" noProof="0"/>
              <a:t>keep it bold 90 </a:t>
            </a:r>
            <a:r>
              <a:rPr lang="en-GB" noProof="0" err="1"/>
              <a:t>pt</a:t>
            </a:r>
            <a:endParaRPr lang="en-GB" noProof="0"/>
          </a:p>
        </p:txBody>
      </p:sp>
    </p:spTree>
    <p:extLst>
      <p:ext uri="{BB962C8B-B14F-4D97-AF65-F5344CB8AC3E}">
        <p14:creationId xmlns:p14="http://schemas.microsoft.com/office/powerpoint/2010/main" val="776170484"/>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Process">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0D2B4B01-8F71-1C43-804A-AE91ACAAB690}"/>
              </a:ext>
            </a:extLst>
          </p:cNvPr>
          <p:cNvSpPr>
            <a:spLocks noGrp="1"/>
          </p:cNvSpPr>
          <p:nvPr>
            <p:ph type="body" sz="quarter" idx="12" hasCustomPrompt="1"/>
          </p:nvPr>
        </p:nvSpPr>
        <p:spPr>
          <a:xfrm>
            <a:off x="3046413" y="7723206"/>
            <a:ext cx="3024187" cy="1727166"/>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3" name="Title 2">
            <a:extLst>
              <a:ext uri="{FF2B5EF4-FFF2-40B4-BE49-F238E27FC236}">
                <a16:creationId xmlns:a16="http://schemas.microsoft.com/office/drawing/2014/main" id="{6E79ED74-1833-CD4B-828E-58428E0E2A1D}"/>
              </a:ext>
            </a:extLst>
          </p:cNvPr>
          <p:cNvSpPr>
            <a:spLocks noGrp="1"/>
          </p:cNvSpPr>
          <p:nvPr>
            <p:ph type="title" hasCustomPrompt="1"/>
          </p:nvPr>
        </p:nvSpPr>
        <p:spPr>
          <a:xfrm>
            <a:off x="1676293" y="1677601"/>
            <a:ext cx="21033007" cy="1722906"/>
          </a:xfrm>
        </p:spPr>
        <p:txBody>
          <a:bodyPr/>
          <a:lstStyle/>
          <a:p>
            <a:r>
              <a:rPr lang="en-GB"/>
              <a:t>Process</a:t>
            </a:r>
            <a:endParaRPr lang="en-NL"/>
          </a:p>
        </p:txBody>
      </p:sp>
      <p:cxnSp>
        <p:nvCxnSpPr>
          <p:cNvPr id="5" name="Straight Arrow Connector 4">
            <a:extLst>
              <a:ext uri="{FF2B5EF4-FFF2-40B4-BE49-F238E27FC236}">
                <a16:creationId xmlns:a16="http://schemas.microsoft.com/office/drawing/2014/main" id="{0798A829-D289-394A-914F-EDD8D97B2357}"/>
              </a:ext>
            </a:extLst>
          </p:cNvPr>
          <p:cNvCxnSpPr>
            <a:cxnSpLocks/>
          </p:cNvCxnSpPr>
          <p:nvPr userDrawn="1"/>
        </p:nvCxnSpPr>
        <p:spPr>
          <a:xfrm>
            <a:off x="1674702" y="6858000"/>
            <a:ext cx="21033009" cy="0"/>
          </a:xfrm>
          <a:prstGeom prst="straightConnector1">
            <a:avLst/>
          </a:prstGeom>
          <a:ln w="190500">
            <a:solidFill>
              <a:schemeClr val="bg2"/>
            </a:solidFill>
            <a:tailEnd type="none" w="med" len="sm"/>
          </a:ln>
        </p:spPr>
        <p:style>
          <a:lnRef idx="1">
            <a:schemeClr val="accent1"/>
          </a:lnRef>
          <a:fillRef idx="0">
            <a:schemeClr val="accent1"/>
          </a:fillRef>
          <a:effectRef idx="0">
            <a:schemeClr val="accent1"/>
          </a:effectRef>
          <a:fontRef idx="minor">
            <a:schemeClr val="tx1"/>
          </a:fontRef>
        </p:style>
      </p:cxnSp>
      <p:sp>
        <p:nvSpPr>
          <p:cNvPr id="37" name="L-shape 36">
            <a:extLst>
              <a:ext uri="{FF2B5EF4-FFF2-40B4-BE49-F238E27FC236}">
                <a16:creationId xmlns:a16="http://schemas.microsoft.com/office/drawing/2014/main" id="{A3A516EF-4158-0845-AB22-B4F71119802B}"/>
              </a:ext>
            </a:extLst>
          </p:cNvPr>
          <p:cNvSpPr/>
          <p:nvPr userDrawn="1"/>
        </p:nvSpPr>
        <p:spPr>
          <a:xfrm rot="13500000">
            <a:off x="21934797" y="6498000"/>
            <a:ext cx="720000" cy="720000"/>
          </a:xfrm>
          <a:prstGeom prst="corner">
            <a:avLst>
              <a:gd name="adj1" fmla="val 26540"/>
              <a:gd name="adj2" fmla="val 2661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NL"/>
          </a:p>
        </p:txBody>
      </p:sp>
      <p:sp>
        <p:nvSpPr>
          <p:cNvPr id="38" name="Text Placeholder 5">
            <a:extLst>
              <a:ext uri="{FF2B5EF4-FFF2-40B4-BE49-F238E27FC236}">
                <a16:creationId xmlns:a16="http://schemas.microsoft.com/office/drawing/2014/main" id="{DDC37633-16B3-3744-A593-529313A8F214}"/>
              </a:ext>
            </a:extLst>
          </p:cNvPr>
          <p:cNvSpPr>
            <a:spLocks noGrp="1"/>
          </p:cNvSpPr>
          <p:nvPr>
            <p:ph type="body" sz="quarter" idx="21" hasCustomPrompt="1"/>
          </p:nvPr>
        </p:nvSpPr>
        <p:spPr>
          <a:xfrm>
            <a:off x="6142038" y="4265712"/>
            <a:ext cx="3024187" cy="1727166"/>
          </a:xfrm>
        </p:spPr>
        <p:txBody>
          <a:bodyPr anchor="b">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39" name="Text Placeholder 5">
            <a:extLst>
              <a:ext uri="{FF2B5EF4-FFF2-40B4-BE49-F238E27FC236}">
                <a16:creationId xmlns:a16="http://schemas.microsoft.com/office/drawing/2014/main" id="{4B3F39C9-E76C-2D44-9D1B-E9B07074F77E}"/>
              </a:ext>
            </a:extLst>
          </p:cNvPr>
          <p:cNvSpPr>
            <a:spLocks noGrp="1"/>
          </p:cNvSpPr>
          <p:nvPr>
            <p:ph type="body" sz="quarter" idx="22" hasCustomPrompt="1"/>
          </p:nvPr>
        </p:nvSpPr>
        <p:spPr>
          <a:xfrm>
            <a:off x="9167019" y="7723205"/>
            <a:ext cx="3024187" cy="1727166"/>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0" name="Text Placeholder 5">
            <a:extLst>
              <a:ext uri="{FF2B5EF4-FFF2-40B4-BE49-F238E27FC236}">
                <a16:creationId xmlns:a16="http://schemas.microsoft.com/office/drawing/2014/main" id="{8814CF3B-C6B0-0648-A9C1-CE26FF4CB2D8}"/>
              </a:ext>
            </a:extLst>
          </p:cNvPr>
          <p:cNvSpPr>
            <a:spLocks noGrp="1"/>
          </p:cNvSpPr>
          <p:nvPr>
            <p:ph type="body" sz="quarter" idx="23" hasCustomPrompt="1"/>
          </p:nvPr>
        </p:nvSpPr>
        <p:spPr>
          <a:xfrm>
            <a:off x="12190413" y="4265712"/>
            <a:ext cx="3024187" cy="1727166"/>
          </a:xfrm>
        </p:spPr>
        <p:txBody>
          <a:bodyPr anchor="b">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1" name="Text Placeholder 5">
            <a:extLst>
              <a:ext uri="{FF2B5EF4-FFF2-40B4-BE49-F238E27FC236}">
                <a16:creationId xmlns:a16="http://schemas.microsoft.com/office/drawing/2014/main" id="{3356431A-93FA-3546-85F8-B31F1C9169B6}"/>
              </a:ext>
            </a:extLst>
          </p:cNvPr>
          <p:cNvSpPr>
            <a:spLocks noGrp="1"/>
          </p:cNvSpPr>
          <p:nvPr>
            <p:ph type="body" sz="quarter" idx="24" hasCustomPrompt="1"/>
          </p:nvPr>
        </p:nvSpPr>
        <p:spPr>
          <a:xfrm>
            <a:off x="15287626" y="7723205"/>
            <a:ext cx="3024187" cy="1727166"/>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2" name="Text Placeholder 5">
            <a:extLst>
              <a:ext uri="{FF2B5EF4-FFF2-40B4-BE49-F238E27FC236}">
                <a16:creationId xmlns:a16="http://schemas.microsoft.com/office/drawing/2014/main" id="{5CD9E15C-1210-D245-AE40-F67BE5C74056}"/>
              </a:ext>
            </a:extLst>
          </p:cNvPr>
          <p:cNvSpPr>
            <a:spLocks noGrp="1"/>
          </p:cNvSpPr>
          <p:nvPr>
            <p:ph type="body" sz="quarter" idx="25" hasCustomPrompt="1"/>
          </p:nvPr>
        </p:nvSpPr>
        <p:spPr>
          <a:xfrm>
            <a:off x="18311813" y="4265712"/>
            <a:ext cx="3024187" cy="1727166"/>
          </a:xfrm>
        </p:spPr>
        <p:txBody>
          <a:bodyPr anchor="b">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4" name="Footer Placeholder 43">
            <a:extLst>
              <a:ext uri="{FF2B5EF4-FFF2-40B4-BE49-F238E27FC236}">
                <a16:creationId xmlns:a16="http://schemas.microsoft.com/office/drawing/2014/main" id="{3DC74232-9167-9144-A25D-B5C31FFA7A3A}"/>
              </a:ext>
            </a:extLst>
          </p:cNvPr>
          <p:cNvSpPr>
            <a:spLocks noGrp="1"/>
          </p:cNvSpPr>
          <p:nvPr>
            <p:ph type="ftr" sz="quarter" idx="26"/>
          </p:nvPr>
        </p:nvSpPr>
        <p:spPr/>
        <p:txBody>
          <a:bodyPr/>
          <a:lstStyle/>
          <a:p>
            <a:endParaRPr lang="en-NL"/>
          </a:p>
        </p:txBody>
      </p:sp>
      <p:sp>
        <p:nvSpPr>
          <p:cNvPr id="45" name="TextBox 44">
            <a:extLst>
              <a:ext uri="{FF2B5EF4-FFF2-40B4-BE49-F238E27FC236}">
                <a16:creationId xmlns:a16="http://schemas.microsoft.com/office/drawing/2014/main" id="{69E14940-6394-8440-928E-5262E6E6434C}"/>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751309013"/>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Levels">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0D2B4B01-8F71-1C43-804A-AE91ACAAB690}"/>
              </a:ext>
            </a:extLst>
          </p:cNvPr>
          <p:cNvSpPr>
            <a:spLocks noGrp="1"/>
          </p:cNvSpPr>
          <p:nvPr>
            <p:ph type="body" sz="quarter" idx="12" hasCustomPrompt="1"/>
          </p:nvPr>
        </p:nvSpPr>
        <p:spPr>
          <a:xfrm>
            <a:off x="13071796" y="5455780"/>
            <a:ext cx="6190847" cy="1397590"/>
          </a:xfrm>
        </p:spPr>
        <p:txBody>
          <a:bodyPr>
            <a:noAutofit/>
          </a:bodyPr>
          <a:lstStyle>
            <a:lvl1pPr>
              <a:spcBef>
                <a:spcPts val="0"/>
              </a:spcBef>
              <a:defRPr sz="2400"/>
            </a:lvl1pPr>
          </a:lstStyle>
          <a:p>
            <a:pPr lvl="0"/>
            <a:r>
              <a:rPr lang="en-GB" noProof="0"/>
              <a:t>Put the body text here, keep it regular 24 </a:t>
            </a:r>
            <a:r>
              <a:rPr lang="en-GB" noProof="0" err="1"/>
              <a:t>pt</a:t>
            </a:r>
            <a:endParaRPr lang="en-GB" noProof="0"/>
          </a:p>
        </p:txBody>
      </p:sp>
      <p:sp>
        <p:nvSpPr>
          <p:cNvPr id="10" name="Text Placeholder 5">
            <a:extLst>
              <a:ext uri="{FF2B5EF4-FFF2-40B4-BE49-F238E27FC236}">
                <a16:creationId xmlns:a16="http://schemas.microsoft.com/office/drawing/2014/main" id="{CCF4949C-0573-654E-8E4A-1524918D8E6F}"/>
              </a:ext>
            </a:extLst>
          </p:cNvPr>
          <p:cNvSpPr>
            <a:spLocks noGrp="1"/>
          </p:cNvSpPr>
          <p:nvPr>
            <p:ph type="body" sz="quarter" idx="15" hasCustomPrompt="1"/>
          </p:nvPr>
        </p:nvSpPr>
        <p:spPr>
          <a:xfrm>
            <a:off x="13071796" y="7832867"/>
            <a:ext cx="6190847" cy="1397590"/>
          </a:xfrm>
        </p:spPr>
        <p:txBody>
          <a:bodyPr>
            <a:noAutofit/>
          </a:bodyPr>
          <a:lstStyle>
            <a:lvl1pPr>
              <a:spcBef>
                <a:spcPts val="0"/>
              </a:spcBef>
              <a:defRPr sz="2400"/>
            </a:lvl1pPr>
          </a:lstStyle>
          <a:p>
            <a:pPr lvl="0"/>
            <a:r>
              <a:rPr lang="en-GB" noProof="0"/>
              <a:t>Put the body text here, keep it regular 24 </a:t>
            </a:r>
            <a:r>
              <a:rPr lang="en-GB" noProof="0" err="1"/>
              <a:t>pt</a:t>
            </a:r>
            <a:endParaRPr lang="en-GB" noProof="0"/>
          </a:p>
        </p:txBody>
      </p:sp>
      <p:sp>
        <p:nvSpPr>
          <p:cNvPr id="12" name="Text Placeholder 5">
            <a:extLst>
              <a:ext uri="{FF2B5EF4-FFF2-40B4-BE49-F238E27FC236}">
                <a16:creationId xmlns:a16="http://schemas.microsoft.com/office/drawing/2014/main" id="{334FE28E-7BB9-5247-A7EF-E68623CEC0DF}"/>
              </a:ext>
            </a:extLst>
          </p:cNvPr>
          <p:cNvSpPr>
            <a:spLocks noGrp="1"/>
          </p:cNvSpPr>
          <p:nvPr>
            <p:ph type="body" sz="quarter" idx="17" hasCustomPrompt="1"/>
          </p:nvPr>
        </p:nvSpPr>
        <p:spPr>
          <a:xfrm>
            <a:off x="13071796" y="10330248"/>
            <a:ext cx="6190847" cy="1397590"/>
          </a:xfrm>
        </p:spPr>
        <p:txBody>
          <a:bodyPr>
            <a:noAutofit/>
          </a:bodyPr>
          <a:lstStyle>
            <a:lvl1pPr>
              <a:spcBef>
                <a:spcPts val="0"/>
              </a:spcBef>
              <a:defRPr sz="2400"/>
            </a:lvl1pPr>
          </a:lstStyle>
          <a:p>
            <a:pPr lvl="0"/>
            <a:r>
              <a:rPr lang="en-GB" noProof="0"/>
              <a:t>Put the body text here, keep it regular 24 </a:t>
            </a:r>
            <a:r>
              <a:rPr lang="en-GB" noProof="0" err="1"/>
              <a:t>pt</a:t>
            </a:r>
            <a:endParaRPr lang="en-GB" noProof="0"/>
          </a:p>
        </p:txBody>
      </p:sp>
      <p:sp>
        <p:nvSpPr>
          <p:cNvPr id="9" name="Text Placeholder 5">
            <a:extLst>
              <a:ext uri="{FF2B5EF4-FFF2-40B4-BE49-F238E27FC236}">
                <a16:creationId xmlns:a16="http://schemas.microsoft.com/office/drawing/2014/main" id="{08916781-0481-B64C-A15B-60E03E7E77EA}"/>
              </a:ext>
            </a:extLst>
          </p:cNvPr>
          <p:cNvSpPr>
            <a:spLocks noGrp="1"/>
          </p:cNvSpPr>
          <p:nvPr>
            <p:ph type="body" sz="quarter" idx="14" hasCustomPrompt="1"/>
          </p:nvPr>
        </p:nvSpPr>
        <p:spPr>
          <a:xfrm>
            <a:off x="4674905" y="5455780"/>
            <a:ext cx="6633094" cy="1397590"/>
          </a:xfrm>
          <a:solidFill>
            <a:schemeClr val="bg1">
              <a:lumMod val="95000"/>
            </a:schemeClr>
          </a:solidFill>
        </p:spPr>
        <p:txBody>
          <a:bodyPr lIns="360000" anchor="ctr">
            <a:noAutofit/>
          </a:bodyPr>
          <a:lstStyle>
            <a:lvl1pPr>
              <a:defRPr sz="4000" b="1"/>
            </a:lvl1pPr>
          </a:lstStyle>
          <a:p>
            <a:pPr lvl="0"/>
            <a:r>
              <a:rPr lang="en-US"/>
              <a:t>Put the header here</a:t>
            </a:r>
          </a:p>
        </p:txBody>
      </p:sp>
      <p:sp>
        <p:nvSpPr>
          <p:cNvPr id="15" name="Text Placeholder 5">
            <a:extLst>
              <a:ext uri="{FF2B5EF4-FFF2-40B4-BE49-F238E27FC236}">
                <a16:creationId xmlns:a16="http://schemas.microsoft.com/office/drawing/2014/main" id="{B0FD171A-0961-AF47-AF11-4B67E2B02EBC}"/>
              </a:ext>
            </a:extLst>
          </p:cNvPr>
          <p:cNvSpPr>
            <a:spLocks noGrp="1"/>
          </p:cNvSpPr>
          <p:nvPr>
            <p:ph type="body" sz="quarter" idx="18" hasCustomPrompt="1"/>
          </p:nvPr>
        </p:nvSpPr>
        <p:spPr>
          <a:xfrm>
            <a:off x="4674905" y="7832867"/>
            <a:ext cx="6633094" cy="1397590"/>
          </a:xfrm>
          <a:solidFill>
            <a:schemeClr val="bg1">
              <a:lumMod val="95000"/>
            </a:schemeClr>
          </a:solidFill>
        </p:spPr>
        <p:txBody>
          <a:bodyPr lIns="360000" anchor="ctr">
            <a:noAutofit/>
          </a:bodyPr>
          <a:lstStyle>
            <a:lvl1pPr>
              <a:defRPr sz="4000" b="1"/>
            </a:lvl1pPr>
          </a:lstStyle>
          <a:p>
            <a:pPr lvl="0"/>
            <a:r>
              <a:rPr lang="en-US"/>
              <a:t>Put the header here</a:t>
            </a:r>
          </a:p>
        </p:txBody>
      </p:sp>
      <p:sp>
        <p:nvSpPr>
          <p:cNvPr id="16" name="Text Placeholder 5">
            <a:extLst>
              <a:ext uri="{FF2B5EF4-FFF2-40B4-BE49-F238E27FC236}">
                <a16:creationId xmlns:a16="http://schemas.microsoft.com/office/drawing/2014/main" id="{08483BCA-AF2F-134B-A357-367A5706C697}"/>
              </a:ext>
            </a:extLst>
          </p:cNvPr>
          <p:cNvSpPr>
            <a:spLocks noGrp="1"/>
          </p:cNvSpPr>
          <p:nvPr>
            <p:ph type="body" sz="quarter" idx="19" hasCustomPrompt="1"/>
          </p:nvPr>
        </p:nvSpPr>
        <p:spPr>
          <a:xfrm>
            <a:off x="4674905" y="10330248"/>
            <a:ext cx="6633094" cy="1397590"/>
          </a:xfrm>
          <a:solidFill>
            <a:schemeClr val="bg1">
              <a:lumMod val="95000"/>
            </a:schemeClr>
          </a:solidFill>
        </p:spPr>
        <p:txBody>
          <a:bodyPr lIns="360000" anchor="ctr">
            <a:noAutofit/>
          </a:bodyPr>
          <a:lstStyle>
            <a:lvl1pPr>
              <a:defRPr sz="4000" b="1"/>
            </a:lvl1pPr>
          </a:lstStyle>
          <a:p>
            <a:pPr lvl="0"/>
            <a:r>
              <a:rPr lang="en-US"/>
              <a:t>Put the header here</a:t>
            </a:r>
          </a:p>
        </p:txBody>
      </p:sp>
      <p:sp>
        <p:nvSpPr>
          <p:cNvPr id="3" name="Title 2">
            <a:extLst>
              <a:ext uri="{FF2B5EF4-FFF2-40B4-BE49-F238E27FC236}">
                <a16:creationId xmlns:a16="http://schemas.microsoft.com/office/drawing/2014/main" id="{6E79ED74-1833-CD4B-828E-58428E0E2A1D}"/>
              </a:ext>
            </a:extLst>
          </p:cNvPr>
          <p:cNvSpPr>
            <a:spLocks noGrp="1"/>
          </p:cNvSpPr>
          <p:nvPr>
            <p:ph type="title" hasCustomPrompt="1"/>
          </p:nvPr>
        </p:nvSpPr>
        <p:spPr/>
        <p:txBody>
          <a:bodyPr/>
          <a:lstStyle/>
          <a:p>
            <a:r>
              <a:rPr lang="en-GB"/>
              <a:t>Levels</a:t>
            </a:r>
            <a:endParaRPr lang="en-NL"/>
          </a:p>
        </p:txBody>
      </p:sp>
      <p:sp>
        <p:nvSpPr>
          <p:cNvPr id="5" name="Footer Placeholder 4">
            <a:extLst>
              <a:ext uri="{FF2B5EF4-FFF2-40B4-BE49-F238E27FC236}">
                <a16:creationId xmlns:a16="http://schemas.microsoft.com/office/drawing/2014/main" id="{D51935D7-8569-4141-96D6-E8BDF582C7E3}"/>
              </a:ext>
            </a:extLst>
          </p:cNvPr>
          <p:cNvSpPr>
            <a:spLocks noGrp="1"/>
          </p:cNvSpPr>
          <p:nvPr>
            <p:ph type="ftr" sz="quarter" idx="20"/>
          </p:nvPr>
        </p:nvSpPr>
        <p:spPr/>
        <p:txBody>
          <a:bodyPr/>
          <a:lstStyle/>
          <a:p>
            <a:endParaRPr lang="en-NL"/>
          </a:p>
        </p:txBody>
      </p:sp>
      <p:sp>
        <p:nvSpPr>
          <p:cNvPr id="14" name="TextBox 13">
            <a:extLst>
              <a:ext uri="{FF2B5EF4-FFF2-40B4-BE49-F238E27FC236}">
                <a16:creationId xmlns:a16="http://schemas.microsoft.com/office/drawing/2014/main" id="{95B220E9-C9CD-2D41-A852-CDC99EB96289}"/>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154503206"/>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Focus areas 1">
    <p:spTree>
      <p:nvGrpSpPr>
        <p:cNvPr id="1" name=""/>
        <p:cNvGrpSpPr/>
        <p:nvPr/>
      </p:nvGrpSpPr>
      <p:grpSpPr>
        <a:xfrm>
          <a:off x="0" y="0"/>
          <a:ext cx="0" cy="0"/>
          <a:chOff x="0" y="0"/>
          <a:chExt cx="0" cy="0"/>
        </a:xfrm>
      </p:grpSpPr>
      <p:sp>
        <p:nvSpPr>
          <p:cNvPr id="9" name="Text Placeholder 5">
            <a:extLst>
              <a:ext uri="{FF2B5EF4-FFF2-40B4-BE49-F238E27FC236}">
                <a16:creationId xmlns:a16="http://schemas.microsoft.com/office/drawing/2014/main" id="{08916781-0481-B64C-A15B-60E03E7E77EA}"/>
              </a:ext>
            </a:extLst>
          </p:cNvPr>
          <p:cNvSpPr>
            <a:spLocks noGrp="1"/>
          </p:cNvSpPr>
          <p:nvPr>
            <p:ph type="body" sz="quarter" idx="14" hasCustomPrompt="1"/>
          </p:nvPr>
        </p:nvSpPr>
        <p:spPr>
          <a:xfrm>
            <a:off x="9166225" y="5742878"/>
            <a:ext cx="6049963" cy="863104"/>
          </a:xfrm>
          <a:solidFill>
            <a:schemeClr val="bg1">
              <a:lumMod val="95000"/>
            </a:schemeClr>
          </a:solidFill>
        </p:spPr>
        <p:txBody>
          <a:bodyPr lIns="180000" anchor="ctr">
            <a:noAutofit/>
          </a:bodyPr>
          <a:lstStyle>
            <a:lvl1pPr>
              <a:lnSpc>
                <a:spcPct val="100000"/>
              </a:lnSpc>
              <a:defRPr b="1"/>
            </a:lvl1pPr>
          </a:lstStyle>
          <a:p>
            <a:pPr lvl="0"/>
            <a:r>
              <a:rPr lang="en-US"/>
              <a:t>Put the header here</a:t>
            </a:r>
          </a:p>
        </p:txBody>
      </p:sp>
      <p:sp>
        <p:nvSpPr>
          <p:cNvPr id="10" name="Text Placeholder 5">
            <a:extLst>
              <a:ext uri="{FF2B5EF4-FFF2-40B4-BE49-F238E27FC236}">
                <a16:creationId xmlns:a16="http://schemas.microsoft.com/office/drawing/2014/main" id="{CCF4949C-0573-654E-8E4A-1524918D8E6F}"/>
              </a:ext>
            </a:extLst>
          </p:cNvPr>
          <p:cNvSpPr>
            <a:spLocks noGrp="1"/>
          </p:cNvSpPr>
          <p:nvPr>
            <p:ph type="body" sz="quarter" idx="15" hasCustomPrompt="1"/>
          </p:nvPr>
        </p:nvSpPr>
        <p:spPr>
          <a:xfrm>
            <a:off x="9190264" y="6858002"/>
            <a:ext cx="6049964" cy="3455986"/>
          </a:xfrm>
        </p:spPr>
        <p:txBody>
          <a:bodyPr lIns="180000">
            <a:noAutofit/>
          </a:bodyPr>
          <a:lstStyle>
            <a:lvl1pPr>
              <a:lnSpc>
                <a:spcPct val="100000"/>
              </a:lnSpc>
              <a:spcBef>
                <a:spcPts val="0"/>
              </a:spcBef>
              <a:defRPr sz="3200"/>
            </a:lvl1pPr>
          </a:lstStyle>
          <a:p>
            <a:pPr lvl="0"/>
            <a:r>
              <a:rPr lang="en-GB" noProof="0"/>
              <a:t>Put the paragraph text here, keep it regular 32 </a:t>
            </a:r>
            <a:r>
              <a:rPr lang="en-GB" noProof="0" err="1"/>
              <a:t>pt</a:t>
            </a:r>
            <a:endParaRPr lang="en-GB" noProof="0"/>
          </a:p>
        </p:txBody>
      </p:sp>
      <p:sp>
        <p:nvSpPr>
          <p:cNvPr id="17" name="Text Placeholder 5">
            <a:extLst>
              <a:ext uri="{FF2B5EF4-FFF2-40B4-BE49-F238E27FC236}">
                <a16:creationId xmlns:a16="http://schemas.microsoft.com/office/drawing/2014/main" id="{3722BC19-3242-894A-A464-ACE95D8645BB}"/>
              </a:ext>
            </a:extLst>
          </p:cNvPr>
          <p:cNvSpPr>
            <a:spLocks noGrp="1"/>
          </p:cNvSpPr>
          <p:nvPr>
            <p:ph type="body" sz="quarter" idx="19" hasCustomPrompt="1"/>
          </p:nvPr>
        </p:nvSpPr>
        <p:spPr>
          <a:xfrm>
            <a:off x="1655888" y="5742878"/>
            <a:ext cx="6049963" cy="863104"/>
          </a:xfrm>
          <a:solidFill>
            <a:schemeClr val="bg1">
              <a:lumMod val="95000"/>
            </a:schemeClr>
          </a:solidFill>
        </p:spPr>
        <p:txBody>
          <a:bodyPr lIns="180000" anchor="ctr">
            <a:noAutofit/>
          </a:bodyPr>
          <a:lstStyle>
            <a:lvl1pPr>
              <a:lnSpc>
                <a:spcPct val="100000"/>
              </a:lnSpc>
              <a:defRPr b="1"/>
            </a:lvl1pPr>
          </a:lstStyle>
          <a:p>
            <a:pPr lvl="0"/>
            <a:r>
              <a:rPr lang="en-US"/>
              <a:t>Put the header here</a:t>
            </a:r>
          </a:p>
        </p:txBody>
      </p:sp>
      <p:sp>
        <p:nvSpPr>
          <p:cNvPr id="18" name="Text Placeholder 5">
            <a:extLst>
              <a:ext uri="{FF2B5EF4-FFF2-40B4-BE49-F238E27FC236}">
                <a16:creationId xmlns:a16="http://schemas.microsoft.com/office/drawing/2014/main" id="{07C8CE66-24CD-E646-98E5-48BB7686BEDA}"/>
              </a:ext>
            </a:extLst>
          </p:cNvPr>
          <p:cNvSpPr>
            <a:spLocks noGrp="1"/>
          </p:cNvSpPr>
          <p:nvPr>
            <p:ph type="body" sz="quarter" idx="20" hasCustomPrompt="1"/>
          </p:nvPr>
        </p:nvSpPr>
        <p:spPr>
          <a:xfrm>
            <a:off x="1679927" y="6858002"/>
            <a:ext cx="6049964" cy="3455986"/>
          </a:xfrm>
        </p:spPr>
        <p:txBody>
          <a:bodyPr lIns="180000">
            <a:noAutofit/>
          </a:bodyPr>
          <a:lstStyle>
            <a:lvl1pPr>
              <a:lnSpc>
                <a:spcPct val="100000"/>
              </a:lnSpc>
              <a:spcBef>
                <a:spcPts val="0"/>
              </a:spcBef>
              <a:defRPr sz="3200"/>
            </a:lvl1pPr>
          </a:lstStyle>
          <a:p>
            <a:pPr lvl="0"/>
            <a:r>
              <a:rPr lang="en-GB" noProof="0"/>
              <a:t>Put the paragraph text here, keep it regular 32 </a:t>
            </a:r>
            <a:r>
              <a:rPr lang="en-GB" noProof="0" err="1"/>
              <a:t>pt</a:t>
            </a:r>
            <a:endParaRPr lang="en-GB" noProof="0"/>
          </a:p>
        </p:txBody>
      </p:sp>
      <p:sp>
        <p:nvSpPr>
          <p:cNvPr id="19" name="Text Placeholder 5">
            <a:extLst>
              <a:ext uri="{FF2B5EF4-FFF2-40B4-BE49-F238E27FC236}">
                <a16:creationId xmlns:a16="http://schemas.microsoft.com/office/drawing/2014/main" id="{7F8EE651-9C67-9A40-AA5C-4FDC892EECCF}"/>
              </a:ext>
            </a:extLst>
          </p:cNvPr>
          <p:cNvSpPr>
            <a:spLocks noGrp="1"/>
          </p:cNvSpPr>
          <p:nvPr>
            <p:ph type="body" sz="quarter" idx="21" hasCustomPrompt="1"/>
          </p:nvPr>
        </p:nvSpPr>
        <p:spPr>
          <a:xfrm>
            <a:off x="16627352" y="5742878"/>
            <a:ext cx="6049963" cy="863104"/>
          </a:xfrm>
          <a:solidFill>
            <a:schemeClr val="bg1">
              <a:lumMod val="95000"/>
            </a:schemeClr>
          </a:solidFill>
        </p:spPr>
        <p:txBody>
          <a:bodyPr lIns="180000" anchor="ctr">
            <a:noAutofit/>
          </a:bodyPr>
          <a:lstStyle>
            <a:lvl1pPr>
              <a:lnSpc>
                <a:spcPct val="100000"/>
              </a:lnSpc>
              <a:defRPr b="1"/>
            </a:lvl1pPr>
          </a:lstStyle>
          <a:p>
            <a:pPr lvl="0"/>
            <a:r>
              <a:rPr lang="en-US"/>
              <a:t>Put the header here</a:t>
            </a:r>
          </a:p>
        </p:txBody>
      </p:sp>
      <p:sp>
        <p:nvSpPr>
          <p:cNvPr id="20" name="Text Placeholder 5">
            <a:extLst>
              <a:ext uri="{FF2B5EF4-FFF2-40B4-BE49-F238E27FC236}">
                <a16:creationId xmlns:a16="http://schemas.microsoft.com/office/drawing/2014/main" id="{308DDE5D-AD61-324F-8D1B-396A22DC466A}"/>
              </a:ext>
            </a:extLst>
          </p:cNvPr>
          <p:cNvSpPr>
            <a:spLocks noGrp="1"/>
          </p:cNvSpPr>
          <p:nvPr>
            <p:ph type="body" sz="quarter" idx="22" hasCustomPrompt="1"/>
          </p:nvPr>
        </p:nvSpPr>
        <p:spPr>
          <a:xfrm>
            <a:off x="16651391" y="6858002"/>
            <a:ext cx="6049964" cy="3455986"/>
          </a:xfrm>
        </p:spPr>
        <p:txBody>
          <a:bodyPr lIns="180000">
            <a:noAutofit/>
          </a:bodyPr>
          <a:lstStyle>
            <a:lvl1pPr>
              <a:lnSpc>
                <a:spcPct val="100000"/>
              </a:lnSpc>
              <a:spcBef>
                <a:spcPts val="0"/>
              </a:spcBef>
              <a:defRPr sz="3200"/>
            </a:lvl1pPr>
          </a:lstStyle>
          <a:p>
            <a:pPr lvl="0"/>
            <a:r>
              <a:rPr lang="en-GB" noProof="0"/>
              <a:t>Put the paragraph text here, keep it regular 32 </a:t>
            </a:r>
            <a:r>
              <a:rPr lang="en-GB" noProof="0" err="1"/>
              <a:t>pt</a:t>
            </a:r>
            <a:endParaRPr lang="en-GB" noProof="0"/>
          </a:p>
        </p:txBody>
      </p:sp>
      <p:sp>
        <p:nvSpPr>
          <p:cNvPr id="5" name="Title 4">
            <a:extLst>
              <a:ext uri="{FF2B5EF4-FFF2-40B4-BE49-F238E27FC236}">
                <a16:creationId xmlns:a16="http://schemas.microsoft.com/office/drawing/2014/main" id="{A8507978-2D74-7F40-9482-B33692774EA2}"/>
              </a:ext>
            </a:extLst>
          </p:cNvPr>
          <p:cNvSpPr>
            <a:spLocks noGrp="1"/>
          </p:cNvSpPr>
          <p:nvPr>
            <p:ph type="title" hasCustomPrompt="1"/>
          </p:nvPr>
        </p:nvSpPr>
        <p:spPr/>
        <p:txBody>
          <a:bodyPr/>
          <a:lstStyle/>
          <a:p>
            <a:r>
              <a:rPr lang="en-GB"/>
              <a:t>Focus areas</a:t>
            </a:r>
            <a:endParaRPr lang="en-NL"/>
          </a:p>
        </p:txBody>
      </p:sp>
      <p:sp>
        <p:nvSpPr>
          <p:cNvPr id="3" name="Footer Placeholder 2">
            <a:extLst>
              <a:ext uri="{FF2B5EF4-FFF2-40B4-BE49-F238E27FC236}">
                <a16:creationId xmlns:a16="http://schemas.microsoft.com/office/drawing/2014/main" id="{94C26B9E-3413-AB4A-98DC-12221AAB0365}"/>
              </a:ext>
            </a:extLst>
          </p:cNvPr>
          <p:cNvSpPr>
            <a:spLocks noGrp="1"/>
          </p:cNvSpPr>
          <p:nvPr>
            <p:ph type="ftr" sz="quarter" idx="23"/>
          </p:nvPr>
        </p:nvSpPr>
        <p:spPr/>
        <p:txBody>
          <a:bodyPr/>
          <a:lstStyle/>
          <a:p>
            <a:endParaRPr lang="en-NL"/>
          </a:p>
        </p:txBody>
      </p:sp>
      <p:sp>
        <p:nvSpPr>
          <p:cNvPr id="13" name="TextBox 12">
            <a:extLst>
              <a:ext uri="{FF2B5EF4-FFF2-40B4-BE49-F238E27FC236}">
                <a16:creationId xmlns:a16="http://schemas.microsoft.com/office/drawing/2014/main" id="{C1C95D9D-541E-F440-9F65-0AB08894819B}"/>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868092154"/>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Focus areas 2">
    <p:spTree>
      <p:nvGrpSpPr>
        <p:cNvPr id="1" name=""/>
        <p:cNvGrpSpPr/>
        <p:nvPr/>
      </p:nvGrpSpPr>
      <p:grpSpPr>
        <a:xfrm>
          <a:off x="0" y="0"/>
          <a:ext cx="0" cy="0"/>
          <a:chOff x="0" y="0"/>
          <a:chExt cx="0" cy="0"/>
        </a:xfrm>
      </p:grpSpPr>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9166224" y="4124207"/>
            <a:ext cx="6049963" cy="4462581"/>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6" name="Text Placeholder 5">
            <a:extLst>
              <a:ext uri="{FF2B5EF4-FFF2-40B4-BE49-F238E27FC236}">
                <a16:creationId xmlns:a16="http://schemas.microsoft.com/office/drawing/2014/main" id="{50C5C652-3240-6341-9095-4EF7D7DC26F2}"/>
              </a:ext>
            </a:extLst>
          </p:cNvPr>
          <p:cNvSpPr>
            <a:spLocks noGrp="1"/>
          </p:cNvSpPr>
          <p:nvPr>
            <p:ph type="body" sz="quarter" idx="30" hasCustomPrompt="1"/>
          </p:nvPr>
        </p:nvSpPr>
        <p:spPr>
          <a:xfrm>
            <a:off x="9166225" y="9162256"/>
            <a:ext cx="6049963" cy="2880519"/>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18" name="Picture Placeholder 2">
            <a:extLst>
              <a:ext uri="{FF2B5EF4-FFF2-40B4-BE49-F238E27FC236}">
                <a16:creationId xmlns:a16="http://schemas.microsoft.com/office/drawing/2014/main" id="{CA5C6F99-363F-0A44-B903-36748B19D967}"/>
              </a:ext>
            </a:extLst>
          </p:cNvPr>
          <p:cNvSpPr>
            <a:spLocks noGrp="1"/>
          </p:cNvSpPr>
          <p:nvPr>
            <p:ph type="pic" sz="quarter" idx="32" hasCustomPrompt="1"/>
          </p:nvPr>
        </p:nvSpPr>
        <p:spPr>
          <a:xfrm>
            <a:off x="1673111" y="4124207"/>
            <a:ext cx="6049963" cy="4462581"/>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0" name="Text Placeholder 5">
            <a:extLst>
              <a:ext uri="{FF2B5EF4-FFF2-40B4-BE49-F238E27FC236}">
                <a16:creationId xmlns:a16="http://schemas.microsoft.com/office/drawing/2014/main" id="{75455B56-07F2-2943-AFDE-22F2A9DF65C4}"/>
              </a:ext>
            </a:extLst>
          </p:cNvPr>
          <p:cNvSpPr>
            <a:spLocks noGrp="1"/>
          </p:cNvSpPr>
          <p:nvPr>
            <p:ph type="body" sz="quarter" idx="33" hasCustomPrompt="1"/>
          </p:nvPr>
        </p:nvSpPr>
        <p:spPr>
          <a:xfrm>
            <a:off x="1673112" y="9162256"/>
            <a:ext cx="6049963" cy="2880519"/>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21" name="Picture Placeholder 2">
            <a:extLst>
              <a:ext uri="{FF2B5EF4-FFF2-40B4-BE49-F238E27FC236}">
                <a16:creationId xmlns:a16="http://schemas.microsoft.com/office/drawing/2014/main" id="{2F983719-8E56-644B-87F9-AA87D0158471}"/>
              </a:ext>
            </a:extLst>
          </p:cNvPr>
          <p:cNvSpPr>
            <a:spLocks noGrp="1"/>
          </p:cNvSpPr>
          <p:nvPr>
            <p:ph type="pic" sz="quarter" idx="34" hasCustomPrompt="1"/>
          </p:nvPr>
        </p:nvSpPr>
        <p:spPr>
          <a:xfrm>
            <a:off x="16656157" y="4124207"/>
            <a:ext cx="6049963" cy="4462581"/>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2" name="Text Placeholder 5">
            <a:extLst>
              <a:ext uri="{FF2B5EF4-FFF2-40B4-BE49-F238E27FC236}">
                <a16:creationId xmlns:a16="http://schemas.microsoft.com/office/drawing/2014/main" id="{CAE497B4-C614-C44B-94BA-C3BDE7D75DEC}"/>
              </a:ext>
            </a:extLst>
          </p:cNvPr>
          <p:cNvSpPr>
            <a:spLocks noGrp="1"/>
          </p:cNvSpPr>
          <p:nvPr>
            <p:ph type="body" sz="quarter" idx="35" hasCustomPrompt="1"/>
          </p:nvPr>
        </p:nvSpPr>
        <p:spPr>
          <a:xfrm>
            <a:off x="16656158" y="9162256"/>
            <a:ext cx="6049963" cy="2880519"/>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2" name="Title 1">
            <a:extLst>
              <a:ext uri="{FF2B5EF4-FFF2-40B4-BE49-F238E27FC236}">
                <a16:creationId xmlns:a16="http://schemas.microsoft.com/office/drawing/2014/main" id="{B714AECF-762E-AF4B-AE68-4E3BB8D405CD}"/>
              </a:ext>
            </a:extLst>
          </p:cNvPr>
          <p:cNvSpPr>
            <a:spLocks noGrp="1"/>
          </p:cNvSpPr>
          <p:nvPr>
            <p:ph type="title" hasCustomPrompt="1"/>
          </p:nvPr>
        </p:nvSpPr>
        <p:spPr>
          <a:xfrm>
            <a:off x="1676293" y="1677600"/>
            <a:ext cx="21033007" cy="1724413"/>
          </a:xfrm>
        </p:spPr>
        <p:txBody>
          <a:bodyPr/>
          <a:lstStyle/>
          <a:p>
            <a:r>
              <a:rPr lang="en-GB"/>
              <a:t>Focus areas</a:t>
            </a:r>
            <a:endParaRPr lang="en-NL"/>
          </a:p>
        </p:txBody>
      </p:sp>
      <p:sp>
        <p:nvSpPr>
          <p:cNvPr id="6" name="Footer Placeholder 5">
            <a:extLst>
              <a:ext uri="{FF2B5EF4-FFF2-40B4-BE49-F238E27FC236}">
                <a16:creationId xmlns:a16="http://schemas.microsoft.com/office/drawing/2014/main" id="{905FD5AF-E14D-EF49-88A1-61AE79880A4D}"/>
              </a:ext>
            </a:extLst>
          </p:cNvPr>
          <p:cNvSpPr>
            <a:spLocks noGrp="1"/>
          </p:cNvSpPr>
          <p:nvPr>
            <p:ph type="ftr" sz="quarter" idx="36"/>
          </p:nvPr>
        </p:nvSpPr>
        <p:spPr/>
        <p:txBody>
          <a:bodyPr/>
          <a:lstStyle/>
          <a:p>
            <a:endParaRPr lang="en-NL"/>
          </a:p>
        </p:txBody>
      </p:sp>
      <p:sp>
        <p:nvSpPr>
          <p:cNvPr id="14" name="TextBox 13">
            <a:extLst>
              <a:ext uri="{FF2B5EF4-FFF2-40B4-BE49-F238E27FC236}">
                <a16:creationId xmlns:a16="http://schemas.microsoft.com/office/drawing/2014/main" id="{7DDFA0A1-FCD3-7344-8E11-BA02D0C38EE6}"/>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667241689"/>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Focus areas 3">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6F4D095-75F9-A649-B638-1297084AD7A4}"/>
              </a:ext>
            </a:extLst>
          </p:cNvPr>
          <p:cNvSpPr>
            <a:spLocks noGrp="1"/>
          </p:cNvSpPr>
          <p:nvPr>
            <p:ph type="pic" sz="quarter" idx="20" hasCustomPrompt="1"/>
          </p:nvPr>
        </p:nvSpPr>
        <p:spPr>
          <a:xfrm>
            <a:off x="3110921" y="5160730"/>
            <a:ext cx="3425835" cy="3426058"/>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3110920" y="8904152"/>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1" name="Picture Placeholder 7">
            <a:extLst>
              <a:ext uri="{FF2B5EF4-FFF2-40B4-BE49-F238E27FC236}">
                <a16:creationId xmlns:a16="http://schemas.microsoft.com/office/drawing/2014/main" id="{541447E4-2AA6-7F48-B55B-B62747E0ABD2}"/>
              </a:ext>
            </a:extLst>
          </p:cNvPr>
          <p:cNvSpPr>
            <a:spLocks noGrp="1"/>
          </p:cNvSpPr>
          <p:nvPr>
            <p:ph type="pic" sz="quarter" idx="22" hasCustomPrompt="1"/>
          </p:nvPr>
        </p:nvSpPr>
        <p:spPr>
          <a:xfrm>
            <a:off x="8045291" y="5160730"/>
            <a:ext cx="3425835" cy="3426058"/>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2" name="Text Placeholder 11">
            <a:extLst>
              <a:ext uri="{FF2B5EF4-FFF2-40B4-BE49-F238E27FC236}">
                <a16:creationId xmlns:a16="http://schemas.microsoft.com/office/drawing/2014/main" id="{2AD28FF4-13F4-2C40-9AF9-E173148BF12A}"/>
              </a:ext>
            </a:extLst>
          </p:cNvPr>
          <p:cNvSpPr>
            <a:spLocks noGrp="1"/>
          </p:cNvSpPr>
          <p:nvPr>
            <p:ph type="body" sz="quarter" idx="23" hasCustomPrompt="1"/>
          </p:nvPr>
        </p:nvSpPr>
        <p:spPr>
          <a:xfrm>
            <a:off x="8045291" y="8904152"/>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3" name="Picture Placeholder 7">
            <a:extLst>
              <a:ext uri="{FF2B5EF4-FFF2-40B4-BE49-F238E27FC236}">
                <a16:creationId xmlns:a16="http://schemas.microsoft.com/office/drawing/2014/main" id="{76549726-CD0C-C144-A1EB-76A281BC952E}"/>
              </a:ext>
            </a:extLst>
          </p:cNvPr>
          <p:cNvSpPr>
            <a:spLocks noGrp="1"/>
          </p:cNvSpPr>
          <p:nvPr>
            <p:ph type="pic" sz="quarter" idx="24" hasCustomPrompt="1"/>
          </p:nvPr>
        </p:nvSpPr>
        <p:spPr>
          <a:xfrm>
            <a:off x="12911286" y="5160730"/>
            <a:ext cx="3425835" cy="3426058"/>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4" name="Text Placeholder 11">
            <a:extLst>
              <a:ext uri="{FF2B5EF4-FFF2-40B4-BE49-F238E27FC236}">
                <a16:creationId xmlns:a16="http://schemas.microsoft.com/office/drawing/2014/main" id="{5B3AA100-6E6E-D34B-943C-1D75F59C39B5}"/>
              </a:ext>
            </a:extLst>
          </p:cNvPr>
          <p:cNvSpPr>
            <a:spLocks noGrp="1"/>
          </p:cNvSpPr>
          <p:nvPr>
            <p:ph type="body" sz="quarter" idx="25" hasCustomPrompt="1"/>
          </p:nvPr>
        </p:nvSpPr>
        <p:spPr>
          <a:xfrm>
            <a:off x="12911286" y="8904152"/>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5" name="Picture Placeholder 7">
            <a:extLst>
              <a:ext uri="{FF2B5EF4-FFF2-40B4-BE49-F238E27FC236}">
                <a16:creationId xmlns:a16="http://schemas.microsoft.com/office/drawing/2014/main" id="{DCB14019-6F34-AB4B-B98E-4393A31FE4D7}"/>
              </a:ext>
            </a:extLst>
          </p:cNvPr>
          <p:cNvSpPr>
            <a:spLocks noGrp="1"/>
          </p:cNvSpPr>
          <p:nvPr>
            <p:ph type="pic" sz="quarter" idx="26" hasCustomPrompt="1"/>
          </p:nvPr>
        </p:nvSpPr>
        <p:spPr>
          <a:xfrm>
            <a:off x="17910165" y="5160730"/>
            <a:ext cx="3425835" cy="3426058"/>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6" name="Text Placeholder 11">
            <a:extLst>
              <a:ext uri="{FF2B5EF4-FFF2-40B4-BE49-F238E27FC236}">
                <a16:creationId xmlns:a16="http://schemas.microsoft.com/office/drawing/2014/main" id="{1C762A72-2425-1F42-B142-A5C927AEEBB1}"/>
              </a:ext>
            </a:extLst>
          </p:cNvPr>
          <p:cNvSpPr>
            <a:spLocks noGrp="1"/>
          </p:cNvSpPr>
          <p:nvPr>
            <p:ph type="body" sz="quarter" idx="27" hasCustomPrompt="1"/>
          </p:nvPr>
        </p:nvSpPr>
        <p:spPr>
          <a:xfrm>
            <a:off x="17910165" y="8904152"/>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 name="Title 1">
            <a:extLst>
              <a:ext uri="{FF2B5EF4-FFF2-40B4-BE49-F238E27FC236}">
                <a16:creationId xmlns:a16="http://schemas.microsoft.com/office/drawing/2014/main" id="{A0F5E023-04B8-2F4C-ACC9-EA2D15A8206D}"/>
              </a:ext>
            </a:extLst>
          </p:cNvPr>
          <p:cNvSpPr>
            <a:spLocks noGrp="1"/>
          </p:cNvSpPr>
          <p:nvPr>
            <p:ph type="title" hasCustomPrompt="1"/>
          </p:nvPr>
        </p:nvSpPr>
        <p:spPr/>
        <p:txBody>
          <a:bodyPr/>
          <a:lstStyle/>
          <a:p>
            <a:r>
              <a:rPr lang="en-GB"/>
              <a:t>Focus areas</a:t>
            </a:r>
            <a:endParaRPr lang="en-NL"/>
          </a:p>
        </p:txBody>
      </p:sp>
      <p:sp>
        <p:nvSpPr>
          <p:cNvPr id="6" name="Footer Placeholder 5">
            <a:extLst>
              <a:ext uri="{FF2B5EF4-FFF2-40B4-BE49-F238E27FC236}">
                <a16:creationId xmlns:a16="http://schemas.microsoft.com/office/drawing/2014/main" id="{7BEF6BFC-32B9-EE4E-B0BD-51735697E79A}"/>
              </a:ext>
            </a:extLst>
          </p:cNvPr>
          <p:cNvSpPr>
            <a:spLocks noGrp="1"/>
          </p:cNvSpPr>
          <p:nvPr>
            <p:ph type="ftr" sz="quarter" idx="28"/>
          </p:nvPr>
        </p:nvSpPr>
        <p:spPr/>
        <p:txBody>
          <a:bodyPr/>
          <a:lstStyle/>
          <a:p>
            <a:endParaRPr lang="en-NL"/>
          </a:p>
        </p:txBody>
      </p:sp>
      <p:sp>
        <p:nvSpPr>
          <p:cNvPr id="17" name="TextBox 16">
            <a:extLst>
              <a:ext uri="{FF2B5EF4-FFF2-40B4-BE49-F238E27FC236}">
                <a16:creationId xmlns:a16="http://schemas.microsoft.com/office/drawing/2014/main" id="{D03693B7-36DD-2044-BD6D-C7E743BAFEC9}"/>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241674637"/>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Organisational chart">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10677922" y="1682204"/>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2" name="Title 1">
            <a:extLst>
              <a:ext uri="{FF2B5EF4-FFF2-40B4-BE49-F238E27FC236}">
                <a16:creationId xmlns:a16="http://schemas.microsoft.com/office/drawing/2014/main" id="{43DA5788-F32B-A54D-BD65-3FF50B9E8946}"/>
              </a:ext>
            </a:extLst>
          </p:cNvPr>
          <p:cNvSpPr>
            <a:spLocks noGrp="1"/>
          </p:cNvSpPr>
          <p:nvPr>
            <p:ph type="title" hasCustomPrompt="1"/>
          </p:nvPr>
        </p:nvSpPr>
        <p:spPr>
          <a:xfrm>
            <a:off x="1676294" y="1677600"/>
            <a:ext cx="7489932" cy="3011659"/>
          </a:xfrm>
        </p:spPr>
        <p:txBody>
          <a:bodyPr/>
          <a:lstStyle>
            <a:lvl1pPr>
              <a:defRPr sz="6000"/>
            </a:lvl1pPr>
          </a:lstStyle>
          <a:p>
            <a:r>
              <a:rPr lang="en-GB"/>
              <a:t>Department name</a:t>
            </a:r>
            <a:endParaRPr lang="en-NL"/>
          </a:p>
        </p:txBody>
      </p:sp>
      <p:sp>
        <p:nvSpPr>
          <p:cNvPr id="37" name="Text Placeholder 11">
            <a:extLst>
              <a:ext uri="{FF2B5EF4-FFF2-40B4-BE49-F238E27FC236}">
                <a16:creationId xmlns:a16="http://schemas.microsoft.com/office/drawing/2014/main" id="{D20C3156-2AD2-124D-9E3C-76D76447737F}"/>
              </a:ext>
            </a:extLst>
          </p:cNvPr>
          <p:cNvSpPr>
            <a:spLocks noGrp="1"/>
          </p:cNvSpPr>
          <p:nvPr>
            <p:ph type="body" sz="quarter" idx="23" hasCustomPrompt="1"/>
          </p:nvPr>
        </p:nvSpPr>
        <p:spPr>
          <a:xfrm>
            <a:off x="15935622" y="856114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8" name="Text Placeholder 11">
            <a:extLst>
              <a:ext uri="{FF2B5EF4-FFF2-40B4-BE49-F238E27FC236}">
                <a16:creationId xmlns:a16="http://schemas.microsoft.com/office/drawing/2014/main" id="{52FB8893-C886-B348-A8E3-2932C39A6C17}"/>
              </a:ext>
            </a:extLst>
          </p:cNvPr>
          <p:cNvSpPr>
            <a:spLocks noGrp="1"/>
          </p:cNvSpPr>
          <p:nvPr>
            <p:ph type="body" sz="quarter" idx="24" hasCustomPrompt="1"/>
          </p:nvPr>
        </p:nvSpPr>
        <p:spPr>
          <a:xfrm>
            <a:off x="12447959" y="856114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9" name="Text Placeholder 11">
            <a:extLst>
              <a:ext uri="{FF2B5EF4-FFF2-40B4-BE49-F238E27FC236}">
                <a16:creationId xmlns:a16="http://schemas.microsoft.com/office/drawing/2014/main" id="{4E2FB335-2D5A-A743-81A7-7FAB0B1F748A}"/>
              </a:ext>
            </a:extLst>
          </p:cNvPr>
          <p:cNvSpPr>
            <a:spLocks noGrp="1"/>
          </p:cNvSpPr>
          <p:nvPr>
            <p:ph type="body" sz="quarter" idx="25" hasCustomPrompt="1"/>
          </p:nvPr>
        </p:nvSpPr>
        <p:spPr>
          <a:xfrm>
            <a:off x="19423285" y="856114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0" name="Text Placeholder 11">
            <a:extLst>
              <a:ext uri="{FF2B5EF4-FFF2-40B4-BE49-F238E27FC236}">
                <a16:creationId xmlns:a16="http://schemas.microsoft.com/office/drawing/2014/main" id="{FDBB4D3B-21DA-AA48-875F-039F1DA49F4D}"/>
              </a:ext>
            </a:extLst>
          </p:cNvPr>
          <p:cNvSpPr>
            <a:spLocks noGrp="1"/>
          </p:cNvSpPr>
          <p:nvPr>
            <p:ph type="body" sz="quarter" idx="26" hasCustomPrompt="1"/>
          </p:nvPr>
        </p:nvSpPr>
        <p:spPr>
          <a:xfrm>
            <a:off x="8950201" y="856114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1" name="Text Placeholder 11">
            <a:extLst>
              <a:ext uri="{FF2B5EF4-FFF2-40B4-BE49-F238E27FC236}">
                <a16:creationId xmlns:a16="http://schemas.microsoft.com/office/drawing/2014/main" id="{04958B99-BADB-694D-857D-679CEF331FE2}"/>
              </a:ext>
            </a:extLst>
          </p:cNvPr>
          <p:cNvSpPr>
            <a:spLocks noGrp="1"/>
          </p:cNvSpPr>
          <p:nvPr>
            <p:ph type="body" sz="quarter" idx="27" hasCustomPrompt="1"/>
          </p:nvPr>
        </p:nvSpPr>
        <p:spPr>
          <a:xfrm>
            <a:off x="5462538" y="856114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2" name="Text Placeholder 11">
            <a:extLst>
              <a:ext uri="{FF2B5EF4-FFF2-40B4-BE49-F238E27FC236}">
                <a16:creationId xmlns:a16="http://schemas.microsoft.com/office/drawing/2014/main" id="{867B033E-55B1-E64C-AB2E-DEA20C7A2523}"/>
              </a:ext>
            </a:extLst>
          </p:cNvPr>
          <p:cNvSpPr>
            <a:spLocks noGrp="1"/>
          </p:cNvSpPr>
          <p:nvPr>
            <p:ph type="body" sz="quarter" idx="28" hasCustomPrompt="1"/>
          </p:nvPr>
        </p:nvSpPr>
        <p:spPr>
          <a:xfrm>
            <a:off x="1980134" y="856114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3" name="Text Placeholder 11">
            <a:extLst>
              <a:ext uri="{FF2B5EF4-FFF2-40B4-BE49-F238E27FC236}">
                <a16:creationId xmlns:a16="http://schemas.microsoft.com/office/drawing/2014/main" id="{1342689F-D009-8044-A2FD-60C69DAC4509}"/>
              </a:ext>
            </a:extLst>
          </p:cNvPr>
          <p:cNvSpPr>
            <a:spLocks noGrp="1"/>
          </p:cNvSpPr>
          <p:nvPr>
            <p:ph type="body" sz="quarter" idx="29" hasCustomPrompt="1"/>
          </p:nvPr>
        </p:nvSpPr>
        <p:spPr>
          <a:xfrm>
            <a:off x="3698342" y="5113633"/>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4" name="Text Placeholder 11">
            <a:extLst>
              <a:ext uri="{FF2B5EF4-FFF2-40B4-BE49-F238E27FC236}">
                <a16:creationId xmlns:a16="http://schemas.microsoft.com/office/drawing/2014/main" id="{67DEF29E-90A5-BC45-8BB6-53DBC7210B2A}"/>
              </a:ext>
            </a:extLst>
          </p:cNvPr>
          <p:cNvSpPr>
            <a:spLocks noGrp="1"/>
          </p:cNvSpPr>
          <p:nvPr>
            <p:ph type="body" sz="quarter" idx="30" hasCustomPrompt="1"/>
          </p:nvPr>
        </p:nvSpPr>
        <p:spPr>
          <a:xfrm>
            <a:off x="10677921" y="512818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5" name="Text Placeholder 11">
            <a:extLst>
              <a:ext uri="{FF2B5EF4-FFF2-40B4-BE49-F238E27FC236}">
                <a16:creationId xmlns:a16="http://schemas.microsoft.com/office/drawing/2014/main" id="{DD2C9CC6-3595-BA4C-9ADE-B391018F28A0}"/>
              </a:ext>
            </a:extLst>
          </p:cNvPr>
          <p:cNvSpPr>
            <a:spLocks noGrp="1"/>
          </p:cNvSpPr>
          <p:nvPr>
            <p:ph type="body" sz="quarter" idx="31" hasCustomPrompt="1"/>
          </p:nvPr>
        </p:nvSpPr>
        <p:spPr>
          <a:xfrm>
            <a:off x="17659090" y="512818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6" name="Text Placeholder 11">
            <a:extLst>
              <a:ext uri="{FF2B5EF4-FFF2-40B4-BE49-F238E27FC236}">
                <a16:creationId xmlns:a16="http://schemas.microsoft.com/office/drawing/2014/main" id="{9A38C78E-0083-574C-BBD2-F191805B428A}"/>
              </a:ext>
            </a:extLst>
          </p:cNvPr>
          <p:cNvSpPr>
            <a:spLocks noGrp="1"/>
          </p:cNvSpPr>
          <p:nvPr>
            <p:ph type="body" sz="quarter" idx="32" hasCustomPrompt="1"/>
          </p:nvPr>
        </p:nvSpPr>
        <p:spPr>
          <a:xfrm>
            <a:off x="1980134" y="10742265"/>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8" name="Text Placeholder 11">
            <a:extLst>
              <a:ext uri="{FF2B5EF4-FFF2-40B4-BE49-F238E27FC236}">
                <a16:creationId xmlns:a16="http://schemas.microsoft.com/office/drawing/2014/main" id="{0EC1A24F-21AB-AB45-9A34-7DD472E3106A}"/>
              </a:ext>
            </a:extLst>
          </p:cNvPr>
          <p:cNvSpPr>
            <a:spLocks noGrp="1"/>
          </p:cNvSpPr>
          <p:nvPr>
            <p:ph type="body" sz="quarter" idx="33" hasCustomPrompt="1"/>
          </p:nvPr>
        </p:nvSpPr>
        <p:spPr>
          <a:xfrm>
            <a:off x="8950201" y="10742265"/>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9" name="TextBox 48">
            <a:extLst>
              <a:ext uri="{FF2B5EF4-FFF2-40B4-BE49-F238E27FC236}">
                <a16:creationId xmlns:a16="http://schemas.microsoft.com/office/drawing/2014/main" id="{0D0F6677-E2D7-FF4E-B4A9-F9CEED474E8C}"/>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061719467"/>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Organisational chart with pictur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6F4D095-75F9-A649-B638-1297084AD7A4}"/>
              </a:ext>
            </a:extLst>
          </p:cNvPr>
          <p:cNvSpPr>
            <a:spLocks noGrp="1"/>
          </p:cNvSpPr>
          <p:nvPr>
            <p:ph type="pic" sz="quarter" idx="20" hasCustomPrompt="1"/>
          </p:nvPr>
        </p:nvSpPr>
        <p:spPr>
          <a:xfrm>
            <a:off x="10841206" y="1719944"/>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9670603" y="4512108"/>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2" name="Title 1">
            <a:extLst>
              <a:ext uri="{FF2B5EF4-FFF2-40B4-BE49-F238E27FC236}">
                <a16:creationId xmlns:a16="http://schemas.microsoft.com/office/drawing/2014/main" id="{43DA5788-F32B-A54D-BD65-3FF50B9E8946}"/>
              </a:ext>
            </a:extLst>
          </p:cNvPr>
          <p:cNvSpPr>
            <a:spLocks noGrp="1"/>
          </p:cNvSpPr>
          <p:nvPr>
            <p:ph type="title" hasCustomPrompt="1"/>
          </p:nvPr>
        </p:nvSpPr>
        <p:spPr>
          <a:xfrm>
            <a:off x="1676294" y="1677600"/>
            <a:ext cx="7489932" cy="3011659"/>
          </a:xfrm>
        </p:spPr>
        <p:txBody>
          <a:bodyPr/>
          <a:lstStyle>
            <a:lvl1pPr>
              <a:defRPr sz="6000"/>
            </a:lvl1pPr>
          </a:lstStyle>
          <a:p>
            <a:r>
              <a:rPr lang="en-GB"/>
              <a:t>Department name</a:t>
            </a:r>
            <a:endParaRPr lang="en-NL"/>
          </a:p>
        </p:txBody>
      </p:sp>
      <p:sp>
        <p:nvSpPr>
          <p:cNvPr id="31" name="Text Placeholder 11">
            <a:extLst>
              <a:ext uri="{FF2B5EF4-FFF2-40B4-BE49-F238E27FC236}">
                <a16:creationId xmlns:a16="http://schemas.microsoft.com/office/drawing/2014/main" id="{75F485D7-B4EF-5A4B-879E-86975974580C}"/>
              </a:ext>
            </a:extLst>
          </p:cNvPr>
          <p:cNvSpPr>
            <a:spLocks noGrp="1"/>
          </p:cNvSpPr>
          <p:nvPr>
            <p:ph type="body" sz="quarter" idx="30" hasCustomPrompt="1"/>
          </p:nvPr>
        </p:nvSpPr>
        <p:spPr>
          <a:xfrm>
            <a:off x="7114428" y="8596285"/>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2" name="Text Placeholder 11">
            <a:extLst>
              <a:ext uri="{FF2B5EF4-FFF2-40B4-BE49-F238E27FC236}">
                <a16:creationId xmlns:a16="http://schemas.microsoft.com/office/drawing/2014/main" id="{8EE80A14-44BF-1D48-8C22-8748FD98477A}"/>
              </a:ext>
            </a:extLst>
          </p:cNvPr>
          <p:cNvSpPr>
            <a:spLocks noGrp="1"/>
          </p:cNvSpPr>
          <p:nvPr>
            <p:ph type="body" sz="quarter" idx="31" hasCustomPrompt="1"/>
          </p:nvPr>
        </p:nvSpPr>
        <p:spPr>
          <a:xfrm>
            <a:off x="12197877" y="8596285"/>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3" name="Text Placeholder 11">
            <a:extLst>
              <a:ext uri="{FF2B5EF4-FFF2-40B4-BE49-F238E27FC236}">
                <a16:creationId xmlns:a16="http://schemas.microsoft.com/office/drawing/2014/main" id="{4122F631-7AEE-E940-A99A-F863EBC69A3E}"/>
              </a:ext>
            </a:extLst>
          </p:cNvPr>
          <p:cNvSpPr>
            <a:spLocks noGrp="1"/>
          </p:cNvSpPr>
          <p:nvPr>
            <p:ph type="body" sz="quarter" idx="32" hasCustomPrompt="1"/>
          </p:nvPr>
        </p:nvSpPr>
        <p:spPr>
          <a:xfrm>
            <a:off x="17276564" y="8596285"/>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4" name="Text Placeholder 11">
            <a:extLst>
              <a:ext uri="{FF2B5EF4-FFF2-40B4-BE49-F238E27FC236}">
                <a16:creationId xmlns:a16="http://schemas.microsoft.com/office/drawing/2014/main" id="{DEF7042E-C2C0-904C-A1CD-FA245CD87451}"/>
              </a:ext>
            </a:extLst>
          </p:cNvPr>
          <p:cNvSpPr>
            <a:spLocks noGrp="1"/>
          </p:cNvSpPr>
          <p:nvPr>
            <p:ph type="body" sz="quarter" idx="33" hasCustomPrompt="1"/>
          </p:nvPr>
        </p:nvSpPr>
        <p:spPr>
          <a:xfrm>
            <a:off x="2059333" y="8596285"/>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6" name="Text Placeholder 11">
            <a:extLst>
              <a:ext uri="{FF2B5EF4-FFF2-40B4-BE49-F238E27FC236}">
                <a16:creationId xmlns:a16="http://schemas.microsoft.com/office/drawing/2014/main" id="{BF736EFA-67F1-B044-A2C3-78E7C51705B6}"/>
              </a:ext>
            </a:extLst>
          </p:cNvPr>
          <p:cNvSpPr>
            <a:spLocks noGrp="1"/>
          </p:cNvSpPr>
          <p:nvPr>
            <p:ph type="body" sz="quarter" idx="35" hasCustomPrompt="1"/>
          </p:nvPr>
        </p:nvSpPr>
        <p:spPr>
          <a:xfrm>
            <a:off x="14755168" y="4523153"/>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18" name="Picture Placeholder 7">
            <a:extLst>
              <a:ext uri="{FF2B5EF4-FFF2-40B4-BE49-F238E27FC236}">
                <a16:creationId xmlns:a16="http://schemas.microsoft.com/office/drawing/2014/main" id="{E32092D4-F5E4-9948-BB3B-B209229D6C06}"/>
              </a:ext>
            </a:extLst>
          </p:cNvPr>
          <p:cNvSpPr>
            <a:spLocks noGrp="1"/>
          </p:cNvSpPr>
          <p:nvPr>
            <p:ph type="pic" sz="quarter" idx="36" hasCustomPrompt="1"/>
          </p:nvPr>
        </p:nvSpPr>
        <p:spPr>
          <a:xfrm>
            <a:off x="15943082" y="1719944"/>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0" name="Picture Placeholder 7">
            <a:extLst>
              <a:ext uri="{FF2B5EF4-FFF2-40B4-BE49-F238E27FC236}">
                <a16:creationId xmlns:a16="http://schemas.microsoft.com/office/drawing/2014/main" id="{9642D2C8-E8D9-D24B-8B56-E869E37E5558}"/>
              </a:ext>
            </a:extLst>
          </p:cNvPr>
          <p:cNvSpPr>
            <a:spLocks noGrp="1"/>
          </p:cNvSpPr>
          <p:nvPr>
            <p:ph type="pic" sz="quarter" idx="37" hasCustomPrompt="1"/>
          </p:nvPr>
        </p:nvSpPr>
        <p:spPr>
          <a:xfrm>
            <a:off x="3283935" y="5777880"/>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1" name="Picture Placeholder 7">
            <a:extLst>
              <a:ext uri="{FF2B5EF4-FFF2-40B4-BE49-F238E27FC236}">
                <a16:creationId xmlns:a16="http://schemas.microsoft.com/office/drawing/2014/main" id="{CDF87832-9FDB-3F47-97C5-15DEFCD1488C}"/>
              </a:ext>
            </a:extLst>
          </p:cNvPr>
          <p:cNvSpPr>
            <a:spLocks noGrp="1"/>
          </p:cNvSpPr>
          <p:nvPr>
            <p:ph type="pic" sz="quarter" idx="38" hasCustomPrompt="1"/>
          </p:nvPr>
        </p:nvSpPr>
        <p:spPr>
          <a:xfrm>
            <a:off x="8394041" y="5777880"/>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2" name="Picture Placeholder 7">
            <a:extLst>
              <a:ext uri="{FF2B5EF4-FFF2-40B4-BE49-F238E27FC236}">
                <a16:creationId xmlns:a16="http://schemas.microsoft.com/office/drawing/2014/main" id="{9F605B20-5BFC-D34B-AC34-62C629AE60C8}"/>
              </a:ext>
            </a:extLst>
          </p:cNvPr>
          <p:cNvSpPr>
            <a:spLocks noGrp="1"/>
          </p:cNvSpPr>
          <p:nvPr>
            <p:ph type="pic" sz="quarter" idx="39" hasCustomPrompt="1"/>
          </p:nvPr>
        </p:nvSpPr>
        <p:spPr>
          <a:xfrm>
            <a:off x="13459168" y="5777880"/>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3" name="Picture Placeholder 7">
            <a:extLst>
              <a:ext uri="{FF2B5EF4-FFF2-40B4-BE49-F238E27FC236}">
                <a16:creationId xmlns:a16="http://schemas.microsoft.com/office/drawing/2014/main" id="{CB528120-A57D-C04A-A5CE-A13C8EDF86ED}"/>
              </a:ext>
            </a:extLst>
          </p:cNvPr>
          <p:cNvSpPr>
            <a:spLocks noGrp="1"/>
          </p:cNvSpPr>
          <p:nvPr>
            <p:ph type="pic" sz="quarter" idx="40" hasCustomPrompt="1"/>
          </p:nvPr>
        </p:nvSpPr>
        <p:spPr>
          <a:xfrm>
            <a:off x="18569274" y="5777880"/>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4" name="Text Placeholder 11">
            <a:extLst>
              <a:ext uri="{FF2B5EF4-FFF2-40B4-BE49-F238E27FC236}">
                <a16:creationId xmlns:a16="http://schemas.microsoft.com/office/drawing/2014/main" id="{6BDE82E8-4C03-4846-972E-989D2C69E3BD}"/>
              </a:ext>
            </a:extLst>
          </p:cNvPr>
          <p:cNvSpPr>
            <a:spLocks noGrp="1"/>
          </p:cNvSpPr>
          <p:nvPr>
            <p:ph type="body" sz="quarter" idx="41" hasCustomPrompt="1"/>
          </p:nvPr>
        </p:nvSpPr>
        <p:spPr>
          <a:xfrm>
            <a:off x="2059333" y="12248703"/>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25" name="Picture Placeholder 7">
            <a:extLst>
              <a:ext uri="{FF2B5EF4-FFF2-40B4-BE49-F238E27FC236}">
                <a16:creationId xmlns:a16="http://schemas.microsoft.com/office/drawing/2014/main" id="{83187330-3EBE-934C-B545-3351D604B7B9}"/>
              </a:ext>
            </a:extLst>
          </p:cNvPr>
          <p:cNvSpPr>
            <a:spLocks noGrp="1"/>
          </p:cNvSpPr>
          <p:nvPr>
            <p:ph type="pic" sz="quarter" idx="42" hasCustomPrompt="1"/>
          </p:nvPr>
        </p:nvSpPr>
        <p:spPr>
          <a:xfrm>
            <a:off x="3283935" y="9430298"/>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6" name="TextBox 25">
            <a:extLst>
              <a:ext uri="{FF2B5EF4-FFF2-40B4-BE49-F238E27FC236}">
                <a16:creationId xmlns:a16="http://schemas.microsoft.com/office/drawing/2014/main" id="{550D2F5E-666A-C14D-8B7B-3A62CE2C1C05}"/>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4143293302"/>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Full picture">
    <p:bg>
      <p:bgPr>
        <a:solidFill>
          <a:schemeClr val="bg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73BADB48-5F7B-4C4D-BDD5-124AFC5BC91E}"/>
              </a:ext>
            </a:extLst>
          </p:cNvPr>
          <p:cNvSpPr txBox="1"/>
          <p:nvPr userDrawn="1"/>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smtClean="0">
                <a:latin typeface="Noto IKEA Latin" panose="020B0502040504020204" pitchFamily="34" charset="0"/>
              </a:rPr>
              <a:pPr algn="r"/>
              <a:t>‹#›</a:t>
            </a:fld>
            <a:endParaRPr lang="en-GB" sz="2000">
              <a:latin typeface="Noto IKEA Latin" panose="020B0502040504020204" pitchFamily="34" charset="0"/>
            </a:endParaRPr>
          </a:p>
        </p:txBody>
      </p:sp>
      <p:sp>
        <p:nvSpPr>
          <p:cNvPr id="7" name="Picture Placeholder 10">
            <a:extLst>
              <a:ext uri="{FF2B5EF4-FFF2-40B4-BE49-F238E27FC236}">
                <a16:creationId xmlns:a16="http://schemas.microsoft.com/office/drawing/2014/main" id="{83374E3F-FD44-FF48-B59B-E0793285F562}"/>
              </a:ext>
            </a:extLst>
          </p:cNvPr>
          <p:cNvSpPr>
            <a:spLocks noGrp="1"/>
          </p:cNvSpPr>
          <p:nvPr>
            <p:ph type="pic" sz="quarter" idx="14" hasCustomPrompt="1"/>
          </p:nvPr>
        </p:nvSpPr>
        <p:spPr>
          <a:xfrm>
            <a:off x="491206" y="486000"/>
            <a:ext cx="23400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picture into this frame</a:t>
            </a:r>
          </a:p>
        </p:txBody>
      </p:sp>
      <p:sp>
        <p:nvSpPr>
          <p:cNvPr id="4" name="TextBox 3">
            <a:extLst>
              <a:ext uri="{FF2B5EF4-FFF2-40B4-BE49-F238E27FC236}">
                <a16:creationId xmlns:a16="http://schemas.microsoft.com/office/drawing/2014/main" id="{A28FA5BF-CC16-F74C-B2AD-7675C1B452C4}"/>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883405454"/>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wo pcitures">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7573FD41-AC43-F04C-8700-DDD5AFA33E14}"/>
              </a:ext>
            </a:extLst>
          </p:cNvPr>
          <p:cNvSpPr>
            <a:spLocks noGrp="1"/>
          </p:cNvSpPr>
          <p:nvPr>
            <p:ph type="pic" sz="quarter" idx="14" hasCustomPrompt="1"/>
          </p:nvPr>
        </p:nvSpPr>
        <p:spPr>
          <a:xfrm>
            <a:off x="491207" y="486000"/>
            <a:ext cx="11483976" cy="9827988"/>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0" name="Picture Placeholder 10">
            <a:extLst>
              <a:ext uri="{FF2B5EF4-FFF2-40B4-BE49-F238E27FC236}">
                <a16:creationId xmlns:a16="http://schemas.microsoft.com/office/drawing/2014/main" id="{250173C0-66DE-2B44-9C5C-228A0DC74671}"/>
              </a:ext>
            </a:extLst>
          </p:cNvPr>
          <p:cNvSpPr>
            <a:spLocks noGrp="1"/>
          </p:cNvSpPr>
          <p:nvPr>
            <p:ph type="pic" sz="quarter" idx="18" hasCustomPrompt="1"/>
          </p:nvPr>
        </p:nvSpPr>
        <p:spPr>
          <a:xfrm>
            <a:off x="12407230" y="486000"/>
            <a:ext cx="11483976" cy="9827988"/>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1" name="Text Placeholder 5">
            <a:extLst>
              <a:ext uri="{FF2B5EF4-FFF2-40B4-BE49-F238E27FC236}">
                <a16:creationId xmlns:a16="http://schemas.microsoft.com/office/drawing/2014/main" id="{32E65FF3-CD8C-8D42-A347-F026094D4707}"/>
              </a:ext>
            </a:extLst>
          </p:cNvPr>
          <p:cNvSpPr>
            <a:spLocks noGrp="1"/>
          </p:cNvSpPr>
          <p:nvPr>
            <p:ph type="body" sz="quarter" idx="33" hasCustomPrompt="1"/>
          </p:nvPr>
        </p:nvSpPr>
        <p:spPr>
          <a:xfrm>
            <a:off x="486322" y="10602416"/>
            <a:ext cx="8679904" cy="1440359"/>
          </a:xfrm>
        </p:spPr>
        <p:txBody>
          <a:bodyPr>
            <a:noAutofit/>
          </a:bodyPr>
          <a:lstStyle>
            <a:lvl1pPr>
              <a:spcBef>
                <a:spcPts val="0"/>
              </a:spcBef>
              <a:defRPr sz="3200"/>
            </a:lvl1pPr>
          </a:lstStyle>
          <a:p>
            <a:pPr lvl="0"/>
            <a:r>
              <a:rPr lang="en-GB" noProof="0"/>
              <a:t>Put the description text here, keep it regular 32 </a:t>
            </a:r>
            <a:r>
              <a:rPr lang="en-GB" noProof="0" err="1"/>
              <a:t>pt</a:t>
            </a:r>
            <a:endParaRPr lang="en-GB" noProof="0"/>
          </a:p>
        </p:txBody>
      </p:sp>
      <p:sp>
        <p:nvSpPr>
          <p:cNvPr id="12" name="Text Placeholder 5">
            <a:extLst>
              <a:ext uri="{FF2B5EF4-FFF2-40B4-BE49-F238E27FC236}">
                <a16:creationId xmlns:a16="http://schemas.microsoft.com/office/drawing/2014/main" id="{7A080EE2-1AD5-5F46-8A70-65AD78446B90}"/>
              </a:ext>
            </a:extLst>
          </p:cNvPr>
          <p:cNvSpPr>
            <a:spLocks noGrp="1"/>
          </p:cNvSpPr>
          <p:nvPr>
            <p:ph type="body" sz="quarter" idx="34" hasCustomPrompt="1"/>
          </p:nvPr>
        </p:nvSpPr>
        <p:spPr>
          <a:xfrm>
            <a:off x="12407231" y="10602416"/>
            <a:ext cx="8928769" cy="1440359"/>
          </a:xfrm>
        </p:spPr>
        <p:txBody>
          <a:bodyPr>
            <a:noAutofit/>
          </a:bodyPr>
          <a:lstStyle>
            <a:lvl1pPr>
              <a:spcBef>
                <a:spcPts val="0"/>
              </a:spcBef>
              <a:defRPr sz="3200"/>
            </a:lvl1pPr>
          </a:lstStyle>
          <a:p>
            <a:pPr lvl="0"/>
            <a:r>
              <a:rPr lang="en-GB" noProof="0"/>
              <a:t>Put the </a:t>
            </a:r>
            <a:r>
              <a:rPr lang="en-GB" noProof="0" err="1"/>
              <a:t>desccription</a:t>
            </a:r>
            <a:r>
              <a:rPr lang="en-GB" noProof="0"/>
              <a:t> text here, keep it regular 32 </a:t>
            </a:r>
            <a:r>
              <a:rPr lang="en-GB" noProof="0" err="1"/>
              <a:t>pt</a:t>
            </a:r>
            <a:endParaRPr lang="en-GB" noProof="0"/>
          </a:p>
        </p:txBody>
      </p:sp>
      <p:sp>
        <p:nvSpPr>
          <p:cNvPr id="13" name="TextBox 12">
            <a:extLst>
              <a:ext uri="{FF2B5EF4-FFF2-40B4-BE49-F238E27FC236}">
                <a16:creationId xmlns:a16="http://schemas.microsoft.com/office/drawing/2014/main" id="{2B01AC93-92D9-A147-BDC6-27DC8FA8CB34}"/>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350519966"/>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Four picture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124A353B-E374-7740-BADE-D936639B642B}"/>
              </a:ext>
            </a:extLst>
          </p:cNvPr>
          <p:cNvSpPr>
            <a:spLocks noGrp="1"/>
          </p:cNvSpPr>
          <p:nvPr>
            <p:ph type="body" sz="half" idx="2" hasCustomPrompt="1"/>
          </p:nvPr>
        </p:nvSpPr>
        <p:spPr>
          <a:xfrm>
            <a:off x="6790606" y="486000"/>
            <a:ext cx="5004056" cy="5939952"/>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3" name="Picture Placeholder 2">
            <a:extLst>
              <a:ext uri="{FF2B5EF4-FFF2-40B4-BE49-F238E27FC236}">
                <a16:creationId xmlns:a16="http://schemas.microsoft.com/office/drawing/2014/main" id="{DEE2AB82-CBD5-1145-9E32-3577A8B871DC}"/>
              </a:ext>
            </a:extLst>
          </p:cNvPr>
          <p:cNvSpPr>
            <a:spLocks noGrp="1"/>
          </p:cNvSpPr>
          <p:nvPr>
            <p:ph type="pic" sz="quarter" idx="19" hasCustomPrompt="1"/>
          </p:nvPr>
        </p:nvSpPr>
        <p:spPr>
          <a:xfrm>
            <a:off x="486000" y="486000"/>
            <a:ext cx="5850000" cy="6372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9" name="Picture Placeholder 2">
            <a:extLst>
              <a:ext uri="{FF2B5EF4-FFF2-40B4-BE49-F238E27FC236}">
                <a16:creationId xmlns:a16="http://schemas.microsoft.com/office/drawing/2014/main" id="{224B314B-F368-C345-A11C-63D267394698}"/>
              </a:ext>
            </a:extLst>
          </p:cNvPr>
          <p:cNvSpPr>
            <a:spLocks noGrp="1"/>
          </p:cNvSpPr>
          <p:nvPr>
            <p:ph type="pic" sz="quarter" idx="20" hasCustomPrompt="1"/>
          </p:nvPr>
        </p:nvSpPr>
        <p:spPr>
          <a:xfrm>
            <a:off x="6336000" y="6858000"/>
            <a:ext cx="5850000" cy="6372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3" name="Picture Placeholder 2">
            <a:extLst>
              <a:ext uri="{FF2B5EF4-FFF2-40B4-BE49-F238E27FC236}">
                <a16:creationId xmlns:a16="http://schemas.microsoft.com/office/drawing/2014/main" id="{0BDAE9D1-09EE-5948-864F-662D2BEFC95D}"/>
              </a:ext>
            </a:extLst>
          </p:cNvPr>
          <p:cNvSpPr>
            <a:spLocks noGrp="1"/>
          </p:cNvSpPr>
          <p:nvPr>
            <p:ph type="pic" sz="quarter" idx="21" hasCustomPrompt="1"/>
          </p:nvPr>
        </p:nvSpPr>
        <p:spPr>
          <a:xfrm>
            <a:off x="12201996" y="486000"/>
            <a:ext cx="5850000" cy="6372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4" name="Picture Placeholder 2">
            <a:extLst>
              <a:ext uri="{FF2B5EF4-FFF2-40B4-BE49-F238E27FC236}">
                <a16:creationId xmlns:a16="http://schemas.microsoft.com/office/drawing/2014/main" id="{5A3CC44A-564E-0843-B5E6-9CA66C87720E}"/>
              </a:ext>
            </a:extLst>
          </p:cNvPr>
          <p:cNvSpPr>
            <a:spLocks noGrp="1"/>
          </p:cNvSpPr>
          <p:nvPr>
            <p:ph type="pic" sz="quarter" idx="22" hasCustomPrompt="1"/>
          </p:nvPr>
        </p:nvSpPr>
        <p:spPr>
          <a:xfrm>
            <a:off x="18051996" y="6858000"/>
            <a:ext cx="5850000" cy="6372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5" name="Text Placeholder 3">
            <a:extLst>
              <a:ext uri="{FF2B5EF4-FFF2-40B4-BE49-F238E27FC236}">
                <a16:creationId xmlns:a16="http://schemas.microsoft.com/office/drawing/2014/main" id="{18BFCA73-5A52-2948-854C-23498017B30C}"/>
              </a:ext>
            </a:extLst>
          </p:cNvPr>
          <p:cNvSpPr>
            <a:spLocks noGrp="1"/>
          </p:cNvSpPr>
          <p:nvPr>
            <p:ph type="body" sz="half" idx="23" hasCustomPrompt="1"/>
          </p:nvPr>
        </p:nvSpPr>
        <p:spPr>
          <a:xfrm>
            <a:off x="858980" y="7290048"/>
            <a:ext cx="5004056" cy="5939952"/>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36" name="Text Placeholder 3">
            <a:extLst>
              <a:ext uri="{FF2B5EF4-FFF2-40B4-BE49-F238E27FC236}">
                <a16:creationId xmlns:a16="http://schemas.microsoft.com/office/drawing/2014/main" id="{26C19E7B-3293-A34C-8019-B66220F68581}"/>
              </a:ext>
            </a:extLst>
          </p:cNvPr>
          <p:cNvSpPr>
            <a:spLocks noGrp="1"/>
          </p:cNvSpPr>
          <p:nvPr>
            <p:ph type="body" sz="half" idx="24" hasCustomPrompt="1"/>
          </p:nvPr>
        </p:nvSpPr>
        <p:spPr>
          <a:xfrm>
            <a:off x="18500006" y="486000"/>
            <a:ext cx="5004056" cy="5939952"/>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37" name="Text Placeholder 3">
            <a:extLst>
              <a:ext uri="{FF2B5EF4-FFF2-40B4-BE49-F238E27FC236}">
                <a16:creationId xmlns:a16="http://schemas.microsoft.com/office/drawing/2014/main" id="{71E04723-43C9-E249-B03C-FDED0C006F77}"/>
              </a:ext>
            </a:extLst>
          </p:cNvPr>
          <p:cNvSpPr>
            <a:spLocks noGrp="1"/>
          </p:cNvSpPr>
          <p:nvPr>
            <p:ph type="body" sz="half" idx="25" hasCustomPrompt="1"/>
          </p:nvPr>
        </p:nvSpPr>
        <p:spPr>
          <a:xfrm>
            <a:off x="12568380" y="7290048"/>
            <a:ext cx="5004056" cy="5939952"/>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11" name="TextBox 10">
            <a:extLst>
              <a:ext uri="{FF2B5EF4-FFF2-40B4-BE49-F238E27FC236}">
                <a16:creationId xmlns:a16="http://schemas.microsoft.com/office/drawing/2014/main" id="{5D4B7E75-FBA5-1D4B-BA9C-11BD2FE3C7B0}"/>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8231533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Agenda/contents">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90F7D97-7943-F74E-8640-D30812E6AB99}"/>
              </a:ext>
            </a:extLst>
          </p:cNvPr>
          <p:cNvSpPr>
            <a:spLocks noGrp="1"/>
          </p:cNvSpPr>
          <p:nvPr>
            <p:ph type="title" hasCustomPrompt="1"/>
          </p:nvPr>
        </p:nvSpPr>
        <p:spPr>
          <a:xfrm>
            <a:off x="1676291" y="1677601"/>
            <a:ext cx="10514916" cy="2304454"/>
          </a:xfrm>
          <a:prstGeom prst="rect">
            <a:avLst/>
          </a:prstGeom>
        </p:spPr>
        <p:txBody>
          <a:bodyPr/>
          <a:lstStyle>
            <a:lvl1pPr>
              <a:lnSpc>
                <a:spcPct val="100000"/>
              </a:lnSpc>
              <a:defRPr sz="7200"/>
            </a:lvl1pPr>
          </a:lstStyle>
          <a:p>
            <a:r>
              <a:rPr lang="en-GB" noProof="0"/>
              <a:t>Agenda or contents</a:t>
            </a:r>
          </a:p>
        </p:txBody>
      </p:sp>
      <p:sp>
        <p:nvSpPr>
          <p:cNvPr id="10" name="Text Placeholder 9">
            <a:extLst>
              <a:ext uri="{FF2B5EF4-FFF2-40B4-BE49-F238E27FC236}">
                <a16:creationId xmlns:a16="http://schemas.microsoft.com/office/drawing/2014/main" id="{E234D5AF-452C-2E41-B572-1BD2DC3468B0}"/>
              </a:ext>
            </a:extLst>
          </p:cNvPr>
          <p:cNvSpPr>
            <a:spLocks noGrp="1"/>
          </p:cNvSpPr>
          <p:nvPr>
            <p:ph type="body" sz="quarter" idx="11" hasCustomPrompt="1"/>
          </p:nvPr>
        </p:nvSpPr>
        <p:spPr>
          <a:xfrm>
            <a:off x="1676291" y="4409731"/>
            <a:ext cx="10514916" cy="7633046"/>
          </a:xfrm>
        </p:spPr>
        <p:txBody>
          <a:bodyPr lIns="90000" rIns="90000">
            <a:noAutofit/>
          </a:bodyPr>
          <a:lstStyle>
            <a:lvl1pPr marL="0" marR="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sz="4800"/>
            </a:lvl1pPr>
            <a:lvl2pPr marL="914332" marR="0" indent="0" algn="l" defTabSz="1828663" rtl="0" eaLnBrk="1" fontAlgn="auto" latinLnBrk="0" hangingPunct="1">
              <a:lnSpc>
                <a:spcPct val="100000"/>
              </a:lnSpc>
              <a:spcBef>
                <a:spcPts val="1000"/>
              </a:spcBef>
              <a:spcAft>
                <a:spcPts val="0"/>
              </a:spcAft>
              <a:buClrTx/>
              <a:buSzTx/>
              <a:buFont typeface="Arial" panose="020B0604020202020204" pitchFamily="34" charset="0"/>
              <a:buNone/>
              <a:tabLst/>
              <a:defRPr sz="3600"/>
            </a:lvl2pPr>
          </a:lstStyle>
          <a:p>
            <a:pPr lvl="0"/>
            <a:r>
              <a:rPr lang="en-GB" noProof="0"/>
              <a:t>Put the agenda topic here, </a:t>
            </a:r>
            <a:br>
              <a:rPr lang="en-GB" noProof="0"/>
            </a:br>
            <a:r>
              <a:rPr lang="en-GB" noProof="0"/>
              <a:t>keep it regular 24 pt</a:t>
            </a:r>
          </a:p>
        </p:txBody>
      </p:sp>
    </p:spTree>
    <p:extLst>
      <p:ext uri="{BB962C8B-B14F-4D97-AF65-F5344CB8AC3E}">
        <p14:creationId xmlns:p14="http://schemas.microsoft.com/office/powerpoint/2010/main" val="1243027212"/>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Eight pictures">
    <p:spTree>
      <p:nvGrpSpPr>
        <p:cNvPr id="1" name=""/>
        <p:cNvGrpSpPr/>
        <p:nvPr/>
      </p:nvGrpSpPr>
      <p:grpSpPr>
        <a:xfrm>
          <a:off x="0" y="0"/>
          <a:ext cx="0" cy="0"/>
          <a:chOff x="0" y="0"/>
          <a:chExt cx="0" cy="0"/>
        </a:xfrm>
      </p:grpSpPr>
      <p:sp>
        <p:nvSpPr>
          <p:cNvPr id="13" name="Picture Placeholder 2">
            <a:extLst>
              <a:ext uri="{FF2B5EF4-FFF2-40B4-BE49-F238E27FC236}">
                <a16:creationId xmlns:a16="http://schemas.microsoft.com/office/drawing/2014/main" id="{D1148F2D-229C-E245-B364-AD926A8E5678}"/>
              </a:ext>
            </a:extLst>
          </p:cNvPr>
          <p:cNvSpPr>
            <a:spLocks noGrp="1"/>
          </p:cNvSpPr>
          <p:nvPr>
            <p:ph type="pic" sz="quarter" idx="19" hasCustomPrompt="1"/>
          </p:nvPr>
        </p:nvSpPr>
        <p:spPr>
          <a:xfrm>
            <a:off x="486000" y="486000"/>
            <a:ext cx="5584600"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4" name="Text Placeholder 3">
            <a:extLst>
              <a:ext uri="{FF2B5EF4-FFF2-40B4-BE49-F238E27FC236}">
                <a16:creationId xmlns:a16="http://schemas.microsoft.com/office/drawing/2014/main" id="{EF6C2542-122E-CD4A-95A0-0315258EEA53}"/>
              </a:ext>
            </a:extLst>
          </p:cNvPr>
          <p:cNvSpPr>
            <a:spLocks noGrp="1"/>
          </p:cNvSpPr>
          <p:nvPr>
            <p:ph type="body" sz="half" idx="23" hasCustomPrompt="1"/>
          </p:nvPr>
        </p:nvSpPr>
        <p:spPr>
          <a:xfrm>
            <a:off x="513286" y="3888024"/>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15" name="Picture Placeholder 2">
            <a:extLst>
              <a:ext uri="{FF2B5EF4-FFF2-40B4-BE49-F238E27FC236}">
                <a16:creationId xmlns:a16="http://schemas.microsoft.com/office/drawing/2014/main" id="{EBB6C642-10AD-6A47-8744-E825A5EEEA34}"/>
              </a:ext>
            </a:extLst>
          </p:cNvPr>
          <p:cNvSpPr>
            <a:spLocks noGrp="1"/>
          </p:cNvSpPr>
          <p:nvPr>
            <p:ph type="pic" sz="quarter" idx="24" hasCustomPrompt="1"/>
          </p:nvPr>
        </p:nvSpPr>
        <p:spPr>
          <a:xfrm>
            <a:off x="6430566" y="486000"/>
            <a:ext cx="5584600"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6" name="Picture Placeholder 2">
            <a:extLst>
              <a:ext uri="{FF2B5EF4-FFF2-40B4-BE49-F238E27FC236}">
                <a16:creationId xmlns:a16="http://schemas.microsoft.com/office/drawing/2014/main" id="{B2B7FCEF-39D8-6D47-A0D2-218CCB2588EF}"/>
              </a:ext>
            </a:extLst>
          </p:cNvPr>
          <p:cNvSpPr>
            <a:spLocks noGrp="1"/>
          </p:cNvSpPr>
          <p:nvPr>
            <p:ph type="pic" sz="quarter" idx="25" hasCustomPrompt="1"/>
          </p:nvPr>
        </p:nvSpPr>
        <p:spPr>
          <a:xfrm>
            <a:off x="12367246" y="486000"/>
            <a:ext cx="5584600"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7" name="Picture Placeholder 2">
            <a:extLst>
              <a:ext uri="{FF2B5EF4-FFF2-40B4-BE49-F238E27FC236}">
                <a16:creationId xmlns:a16="http://schemas.microsoft.com/office/drawing/2014/main" id="{D227A8B8-BE42-0845-B6D6-A1A356E29BFC}"/>
              </a:ext>
            </a:extLst>
          </p:cNvPr>
          <p:cNvSpPr>
            <a:spLocks noGrp="1"/>
          </p:cNvSpPr>
          <p:nvPr>
            <p:ph type="pic" sz="quarter" idx="22" hasCustomPrompt="1"/>
          </p:nvPr>
        </p:nvSpPr>
        <p:spPr>
          <a:xfrm>
            <a:off x="18317394" y="461344"/>
            <a:ext cx="5584601"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8" name="Text Placeholder 3">
            <a:extLst>
              <a:ext uri="{FF2B5EF4-FFF2-40B4-BE49-F238E27FC236}">
                <a16:creationId xmlns:a16="http://schemas.microsoft.com/office/drawing/2014/main" id="{8BC99C37-5961-7A49-BB6C-EF345DB054E6}"/>
              </a:ext>
            </a:extLst>
          </p:cNvPr>
          <p:cNvSpPr>
            <a:spLocks noGrp="1"/>
          </p:cNvSpPr>
          <p:nvPr>
            <p:ph type="body" sz="half" idx="26" hasCustomPrompt="1"/>
          </p:nvPr>
        </p:nvSpPr>
        <p:spPr>
          <a:xfrm>
            <a:off x="6430566" y="3888024"/>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19" name="Text Placeholder 3">
            <a:extLst>
              <a:ext uri="{FF2B5EF4-FFF2-40B4-BE49-F238E27FC236}">
                <a16:creationId xmlns:a16="http://schemas.microsoft.com/office/drawing/2014/main" id="{EA510DE5-BF9D-6347-AB9C-33A7759FF1D4}"/>
              </a:ext>
            </a:extLst>
          </p:cNvPr>
          <p:cNvSpPr>
            <a:spLocks noGrp="1"/>
          </p:cNvSpPr>
          <p:nvPr>
            <p:ph type="body" sz="half" idx="27" hasCustomPrompt="1"/>
          </p:nvPr>
        </p:nvSpPr>
        <p:spPr>
          <a:xfrm>
            <a:off x="12347846" y="3888024"/>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24" name="Text Placeholder 3">
            <a:extLst>
              <a:ext uri="{FF2B5EF4-FFF2-40B4-BE49-F238E27FC236}">
                <a16:creationId xmlns:a16="http://schemas.microsoft.com/office/drawing/2014/main" id="{A33793B0-DBB7-ED4A-8B92-AE77D9B42399}"/>
              </a:ext>
            </a:extLst>
          </p:cNvPr>
          <p:cNvSpPr>
            <a:spLocks noGrp="1"/>
          </p:cNvSpPr>
          <p:nvPr>
            <p:ph type="body" sz="half" idx="28" hasCustomPrompt="1"/>
          </p:nvPr>
        </p:nvSpPr>
        <p:spPr>
          <a:xfrm>
            <a:off x="18344681" y="3888024"/>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27" name="Picture Placeholder 2">
            <a:extLst>
              <a:ext uri="{FF2B5EF4-FFF2-40B4-BE49-F238E27FC236}">
                <a16:creationId xmlns:a16="http://schemas.microsoft.com/office/drawing/2014/main" id="{37D70117-C030-944C-BBCC-0D4544F2D82B}"/>
              </a:ext>
            </a:extLst>
          </p:cNvPr>
          <p:cNvSpPr>
            <a:spLocks noGrp="1"/>
          </p:cNvSpPr>
          <p:nvPr>
            <p:ph type="pic" sz="quarter" idx="29" hasCustomPrompt="1"/>
          </p:nvPr>
        </p:nvSpPr>
        <p:spPr>
          <a:xfrm>
            <a:off x="486000" y="6885323"/>
            <a:ext cx="5584600"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8" name="Text Placeholder 3">
            <a:extLst>
              <a:ext uri="{FF2B5EF4-FFF2-40B4-BE49-F238E27FC236}">
                <a16:creationId xmlns:a16="http://schemas.microsoft.com/office/drawing/2014/main" id="{5568282C-2BAE-0F42-AC35-AC2003AF14A7}"/>
              </a:ext>
            </a:extLst>
          </p:cNvPr>
          <p:cNvSpPr>
            <a:spLocks noGrp="1"/>
          </p:cNvSpPr>
          <p:nvPr>
            <p:ph type="body" sz="half" idx="30" hasCustomPrompt="1"/>
          </p:nvPr>
        </p:nvSpPr>
        <p:spPr>
          <a:xfrm>
            <a:off x="513286" y="10287347"/>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29" name="Picture Placeholder 2">
            <a:extLst>
              <a:ext uri="{FF2B5EF4-FFF2-40B4-BE49-F238E27FC236}">
                <a16:creationId xmlns:a16="http://schemas.microsoft.com/office/drawing/2014/main" id="{37CDDD74-2C1A-CC4F-BC4A-348492B730E7}"/>
              </a:ext>
            </a:extLst>
          </p:cNvPr>
          <p:cNvSpPr>
            <a:spLocks noGrp="1"/>
          </p:cNvSpPr>
          <p:nvPr>
            <p:ph type="pic" sz="quarter" idx="31" hasCustomPrompt="1"/>
          </p:nvPr>
        </p:nvSpPr>
        <p:spPr>
          <a:xfrm>
            <a:off x="6430566" y="6885323"/>
            <a:ext cx="5584600"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0" name="Picture Placeholder 2">
            <a:extLst>
              <a:ext uri="{FF2B5EF4-FFF2-40B4-BE49-F238E27FC236}">
                <a16:creationId xmlns:a16="http://schemas.microsoft.com/office/drawing/2014/main" id="{F877013E-58D2-1048-9A44-45952400B3C6}"/>
              </a:ext>
            </a:extLst>
          </p:cNvPr>
          <p:cNvSpPr>
            <a:spLocks noGrp="1"/>
          </p:cNvSpPr>
          <p:nvPr>
            <p:ph type="pic" sz="quarter" idx="32" hasCustomPrompt="1"/>
          </p:nvPr>
        </p:nvSpPr>
        <p:spPr>
          <a:xfrm>
            <a:off x="12367246" y="6885323"/>
            <a:ext cx="5584600"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1" name="Picture Placeholder 2">
            <a:extLst>
              <a:ext uri="{FF2B5EF4-FFF2-40B4-BE49-F238E27FC236}">
                <a16:creationId xmlns:a16="http://schemas.microsoft.com/office/drawing/2014/main" id="{E8D329DB-9A89-5049-B680-BC0FE4373220}"/>
              </a:ext>
            </a:extLst>
          </p:cNvPr>
          <p:cNvSpPr>
            <a:spLocks noGrp="1"/>
          </p:cNvSpPr>
          <p:nvPr>
            <p:ph type="pic" sz="quarter" idx="33" hasCustomPrompt="1"/>
          </p:nvPr>
        </p:nvSpPr>
        <p:spPr>
          <a:xfrm>
            <a:off x="18317394" y="6860667"/>
            <a:ext cx="5584601"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2" name="Text Placeholder 3">
            <a:extLst>
              <a:ext uri="{FF2B5EF4-FFF2-40B4-BE49-F238E27FC236}">
                <a16:creationId xmlns:a16="http://schemas.microsoft.com/office/drawing/2014/main" id="{DCCD54B1-4EFD-D84A-AB50-B7F0F8E84372}"/>
              </a:ext>
            </a:extLst>
          </p:cNvPr>
          <p:cNvSpPr>
            <a:spLocks noGrp="1"/>
          </p:cNvSpPr>
          <p:nvPr>
            <p:ph type="body" sz="half" idx="34" hasCustomPrompt="1"/>
          </p:nvPr>
        </p:nvSpPr>
        <p:spPr>
          <a:xfrm>
            <a:off x="6430566" y="10287347"/>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33" name="Text Placeholder 3">
            <a:extLst>
              <a:ext uri="{FF2B5EF4-FFF2-40B4-BE49-F238E27FC236}">
                <a16:creationId xmlns:a16="http://schemas.microsoft.com/office/drawing/2014/main" id="{EA8F0C11-5CFB-B74A-9620-D6344A6CE488}"/>
              </a:ext>
            </a:extLst>
          </p:cNvPr>
          <p:cNvSpPr>
            <a:spLocks noGrp="1"/>
          </p:cNvSpPr>
          <p:nvPr>
            <p:ph type="body" sz="half" idx="35" hasCustomPrompt="1"/>
          </p:nvPr>
        </p:nvSpPr>
        <p:spPr>
          <a:xfrm>
            <a:off x="12347846" y="10287347"/>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34" name="Text Placeholder 3">
            <a:extLst>
              <a:ext uri="{FF2B5EF4-FFF2-40B4-BE49-F238E27FC236}">
                <a16:creationId xmlns:a16="http://schemas.microsoft.com/office/drawing/2014/main" id="{49DC448D-7351-DA40-9CEB-36EEBA5F7C1B}"/>
              </a:ext>
            </a:extLst>
          </p:cNvPr>
          <p:cNvSpPr>
            <a:spLocks noGrp="1"/>
          </p:cNvSpPr>
          <p:nvPr>
            <p:ph type="body" sz="half" idx="36" hasCustomPrompt="1"/>
          </p:nvPr>
        </p:nvSpPr>
        <p:spPr>
          <a:xfrm>
            <a:off x="18344681" y="10287347"/>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20" name="TextBox 19">
            <a:extLst>
              <a:ext uri="{FF2B5EF4-FFF2-40B4-BE49-F238E27FC236}">
                <a16:creationId xmlns:a16="http://schemas.microsoft.com/office/drawing/2014/main" id="{13CC2D47-81A3-FF42-97E8-18400B5ECD17}"/>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66646917"/>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Before/aft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413F907-AE77-0746-B805-0D2E5F01B01D}"/>
              </a:ext>
            </a:extLst>
          </p:cNvPr>
          <p:cNvSpPr>
            <a:spLocks noGrp="1"/>
          </p:cNvSpPr>
          <p:nvPr>
            <p:ph type="pic" sz="quarter" idx="17" hasCustomPrompt="1"/>
          </p:nvPr>
        </p:nvSpPr>
        <p:spPr>
          <a:xfrm>
            <a:off x="3046413" y="4124207"/>
            <a:ext cx="7417707" cy="4462581"/>
          </a:xfrm>
          <a:solidFill>
            <a:srgbClr val="E4E5E3"/>
          </a:solidFill>
        </p:spPr>
        <p:txBody>
          <a:bodyPr>
            <a:normAutofit/>
          </a:bodyPr>
          <a:lstStyle>
            <a:lvl1pPr marL="0" indent="0" algn="ctr">
              <a:buNone/>
              <a:defRPr sz="2400">
                <a:solidFill>
                  <a:schemeClr val="tx1">
                    <a:lumMod val="65000"/>
                    <a:lumOff val="35000"/>
                  </a:schemeClr>
                </a:solidFill>
              </a:defRPr>
            </a:lvl1pPr>
          </a:lstStyle>
          <a:p>
            <a:r>
              <a:rPr lang="en-NL"/>
              <a:t>Drag and drop a topic-related picture into this frame</a:t>
            </a:r>
          </a:p>
        </p:txBody>
      </p:sp>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13984331" y="4124207"/>
            <a:ext cx="7351669" cy="4462581"/>
          </a:xfrm>
          <a:solidFill>
            <a:srgbClr val="E4E5E3"/>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6" name="Text Placeholder 5">
            <a:extLst>
              <a:ext uri="{FF2B5EF4-FFF2-40B4-BE49-F238E27FC236}">
                <a16:creationId xmlns:a16="http://schemas.microsoft.com/office/drawing/2014/main" id="{8B805C66-9B81-6F4A-8653-8751DC71F3C3}"/>
              </a:ext>
            </a:extLst>
          </p:cNvPr>
          <p:cNvSpPr>
            <a:spLocks noGrp="1"/>
          </p:cNvSpPr>
          <p:nvPr>
            <p:ph type="body" sz="quarter" idx="12" hasCustomPrompt="1"/>
          </p:nvPr>
        </p:nvSpPr>
        <p:spPr>
          <a:xfrm>
            <a:off x="3046413" y="9038943"/>
            <a:ext cx="7417707" cy="3003831"/>
          </a:xfrm>
        </p:spPr>
        <p:txBody>
          <a:bodyPr>
            <a:noAutofit/>
          </a:bodyPr>
          <a:lstStyle>
            <a:lvl1pPr>
              <a:spcBef>
                <a:spcPts val="0"/>
              </a:spcBef>
              <a:defRPr sz="3200"/>
            </a:lvl1pPr>
          </a:lstStyle>
          <a:p>
            <a:pPr lvl="0"/>
            <a:r>
              <a:rPr lang="en-GB" noProof="0"/>
              <a:t>Put the paragraph text here, keep it regular 32 </a:t>
            </a:r>
            <a:r>
              <a:rPr lang="en-GB" noProof="0" err="1"/>
              <a:t>pt</a:t>
            </a:r>
            <a:endParaRPr lang="en-GB" noProof="0"/>
          </a:p>
        </p:txBody>
      </p:sp>
      <p:sp>
        <p:nvSpPr>
          <p:cNvPr id="17" name="Text Placeholder 5">
            <a:extLst>
              <a:ext uri="{FF2B5EF4-FFF2-40B4-BE49-F238E27FC236}">
                <a16:creationId xmlns:a16="http://schemas.microsoft.com/office/drawing/2014/main" id="{FA6FB3B4-ED87-C644-AEAC-F1AF465F1548}"/>
              </a:ext>
            </a:extLst>
          </p:cNvPr>
          <p:cNvSpPr>
            <a:spLocks noGrp="1"/>
          </p:cNvSpPr>
          <p:nvPr>
            <p:ph type="body" sz="quarter" idx="22" hasCustomPrompt="1"/>
          </p:nvPr>
        </p:nvSpPr>
        <p:spPr>
          <a:xfrm>
            <a:off x="13993172" y="9038944"/>
            <a:ext cx="7342828" cy="3003830"/>
          </a:xfrm>
        </p:spPr>
        <p:txBody>
          <a:bodyPr>
            <a:noAutofit/>
          </a:bodyPr>
          <a:lstStyle>
            <a:lvl1pPr>
              <a:spcBef>
                <a:spcPts val="0"/>
              </a:spcBef>
              <a:defRPr sz="3200"/>
            </a:lvl1pPr>
          </a:lstStyle>
          <a:p>
            <a:pPr lvl="0"/>
            <a:r>
              <a:rPr lang="en-GB" noProof="0"/>
              <a:t>Put the paragraph text here, keep it regular 32 </a:t>
            </a:r>
            <a:r>
              <a:rPr lang="en-GB" noProof="0" err="1"/>
              <a:t>pt</a:t>
            </a:r>
            <a:endParaRPr lang="en-GB" noProof="0"/>
          </a:p>
        </p:txBody>
      </p:sp>
      <p:pic>
        <p:nvPicPr>
          <p:cNvPr id="6" name="Graphic 5">
            <a:extLst>
              <a:ext uri="{FF2B5EF4-FFF2-40B4-BE49-F238E27FC236}">
                <a16:creationId xmlns:a16="http://schemas.microsoft.com/office/drawing/2014/main" id="{326B79F7-6D85-D543-AFB0-64FD75BF7EB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31206" y="5056159"/>
            <a:ext cx="2520000" cy="2520000"/>
          </a:xfrm>
          <a:prstGeom prst="rect">
            <a:avLst/>
          </a:prstGeom>
        </p:spPr>
      </p:pic>
      <p:sp>
        <p:nvSpPr>
          <p:cNvPr id="10" name="Title 3">
            <a:extLst>
              <a:ext uri="{FF2B5EF4-FFF2-40B4-BE49-F238E27FC236}">
                <a16:creationId xmlns:a16="http://schemas.microsoft.com/office/drawing/2014/main" id="{F1E86907-9BCD-794E-BD6D-4F29BDCAC4DD}"/>
              </a:ext>
            </a:extLst>
          </p:cNvPr>
          <p:cNvSpPr>
            <a:spLocks noGrp="1"/>
          </p:cNvSpPr>
          <p:nvPr>
            <p:ph type="title" hasCustomPrompt="1"/>
          </p:nvPr>
        </p:nvSpPr>
        <p:spPr>
          <a:xfrm>
            <a:off x="1676293" y="1677600"/>
            <a:ext cx="21033007" cy="2446607"/>
          </a:xfrm>
        </p:spPr>
        <p:txBody>
          <a:bodyPr/>
          <a:lstStyle>
            <a:lvl1pPr>
              <a:defRPr sz="6000" spc="0" baseline="0"/>
            </a:lvl1pPr>
          </a:lstStyle>
          <a:p>
            <a:r>
              <a:rPr lang="en-GB"/>
              <a:t>Put a short headline here, keep it bold 60 </a:t>
            </a:r>
            <a:r>
              <a:rPr lang="en-GB" err="1"/>
              <a:t>pt</a:t>
            </a:r>
            <a:endParaRPr lang="en-NL"/>
          </a:p>
        </p:txBody>
      </p:sp>
      <p:sp>
        <p:nvSpPr>
          <p:cNvPr id="4" name="Footer Placeholder 3">
            <a:extLst>
              <a:ext uri="{FF2B5EF4-FFF2-40B4-BE49-F238E27FC236}">
                <a16:creationId xmlns:a16="http://schemas.microsoft.com/office/drawing/2014/main" id="{98B6467D-F33B-A84D-B882-5C4860E480A0}"/>
              </a:ext>
            </a:extLst>
          </p:cNvPr>
          <p:cNvSpPr>
            <a:spLocks noGrp="1"/>
          </p:cNvSpPr>
          <p:nvPr>
            <p:ph type="ftr" sz="quarter" idx="23"/>
          </p:nvPr>
        </p:nvSpPr>
        <p:spPr/>
        <p:txBody>
          <a:bodyPr/>
          <a:lstStyle/>
          <a:p>
            <a:endParaRPr lang="en-NL"/>
          </a:p>
        </p:txBody>
      </p:sp>
      <p:sp>
        <p:nvSpPr>
          <p:cNvPr id="13" name="TextBox 12">
            <a:extLst>
              <a:ext uri="{FF2B5EF4-FFF2-40B4-BE49-F238E27FC236}">
                <a16:creationId xmlns:a16="http://schemas.microsoft.com/office/drawing/2014/main" id="{698B3729-CC41-244D-B453-5B310C875397}"/>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322367251"/>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From/to">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982E2EA-1137-0846-98DC-3E6332C29A67}"/>
              </a:ext>
            </a:extLst>
          </p:cNvPr>
          <p:cNvSpPr>
            <a:spLocks noGrp="1"/>
          </p:cNvSpPr>
          <p:nvPr>
            <p:ph type="body" sz="quarter" idx="10" hasCustomPrompt="1"/>
          </p:nvPr>
        </p:nvSpPr>
        <p:spPr>
          <a:xfrm>
            <a:off x="2686772" y="51298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5" name="Text Placeholder 5">
            <a:extLst>
              <a:ext uri="{FF2B5EF4-FFF2-40B4-BE49-F238E27FC236}">
                <a16:creationId xmlns:a16="http://schemas.microsoft.com/office/drawing/2014/main" id="{BB2544E0-599A-0E4D-B7C9-0338205DD470}"/>
              </a:ext>
            </a:extLst>
          </p:cNvPr>
          <p:cNvSpPr>
            <a:spLocks noGrp="1"/>
          </p:cNvSpPr>
          <p:nvPr>
            <p:ph type="body" sz="quarter" idx="20" hasCustomPrompt="1"/>
          </p:nvPr>
        </p:nvSpPr>
        <p:spPr>
          <a:xfrm>
            <a:off x="13902138" y="51298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6" name="Text Placeholder 5">
            <a:extLst>
              <a:ext uri="{FF2B5EF4-FFF2-40B4-BE49-F238E27FC236}">
                <a16:creationId xmlns:a16="http://schemas.microsoft.com/office/drawing/2014/main" id="{7CD185CC-288C-914E-B039-9E34B6521AAE}"/>
              </a:ext>
            </a:extLst>
          </p:cNvPr>
          <p:cNvSpPr>
            <a:spLocks noGrp="1"/>
          </p:cNvSpPr>
          <p:nvPr>
            <p:ph type="body" sz="quarter" idx="21" hasCustomPrompt="1"/>
          </p:nvPr>
        </p:nvSpPr>
        <p:spPr>
          <a:xfrm>
            <a:off x="2686772" y="686645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7" name="Text Placeholder 5">
            <a:extLst>
              <a:ext uri="{FF2B5EF4-FFF2-40B4-BE49-F238E27FC236}">
                <a16:creationId xmlns:a16="http://schemas.microsoft.com/office/drawing/2014/main" id="{734DFA83-0489-374D-984E-D148AF15FB19}"/>
              </a:ext>
            </a:extLst>
          </p:cNvPr>
          <p:cNvSpPr>
            <a:spLocks noGrp="1"/>
          </p:cNvSpPr>
          <p:nvPr>
            <p:ph type="body" sz="quarter" idx="22" hasCustomPrompt="1"/>
          </p:nvPr>
        </p:nvSpPr>
        <p:spPr>
          <a:xfrm>
            <a:off x="13902138" y="686645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8" name="Text Placeholder 5">
            <a:extLst>
              <a:ext uri="{FF2B5EF4-FFF2-40B4-BE49-F238E27FC236}">
                <a16:creationId xmlns:a16="http://schemas.microsoft.com/office/drawing/2014/main" id="{40A584AF-EFDF-6C45-8450-E6896AA5447E}"/>
              </a:ext>
            </a:extLst>
          </p:cNvPr>
          <p:cNvSpPr>
            <a:spLocks noGrp="1"/>
          </p:cNvSpPr>
          <p:nvPr>
            <p:ph type="body" sz="quarter" idx="23" hasCustomPrompt="1"/>
          </p:nvPr>
        </p:nvSpPr>
        <p:spPr>
          <a:xfrm>
            <a:off x="2686772" y="86031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9" name="Text Placeholder 5">
            <a:extLst>
              <a:ext uri="{FF2B5EF4-FFF2-40B4-BE49-F238E27FC236}">
                <a16:creationId xmlns:a16="http://schemas.microsoft.com/office/drawing/2014/main" id="{B8ADD201-5C22-9240-930B-C39DCFAEA838}"/>
              </a:ext>
            </a:extLst>
          </p:cNvPr>
          <p:cNvSpPr>
            <a:spLocks noGrp="1"/>
          </p:cNvSpPr>
          <p:nvPr>
            <p:ph type="body" sz="quarter" idx="24" hasCustomPrompt="1"/>
          </p:nvPr>
        </p:nvSpPr>
        <p:spPr>
          <a:xfrm>
            <a:off x="13902138" y="86031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20" name="Text Placeholder 5">
            <a:extLst>
              <a:ext uri="{FF2B5EF4-FFF2-40B4-BE49-F238E27FC236}">
                <a16:creationId xmlns:a16="http://schemas.microsoft.com/office/drawing/2014/main" id="{21AA854F-49C8-0740-875D-2A28B04B66F6}"/>
              </a:ext>
            </a:extLst>
          </p:cNvPr>
          <p:cNvSpPr>
            <a:spLocks noGrp="1"/>
          </p:cNvSpPr>
          <p:nvPr>
            <p:ph type="body" sz="quarter" idx="25" hasCustomPrompt="1"/>
          </p:nvPr>
        </p:nvSpPr>
        <p:spPr>
          <a:xfrm>
            <a:off x="2686772" y="10339760"/>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21" name="Text Placeholder 5">
            <a:extLst>
              <a:ext uri="{FF2B5EF4-FFF2-40B4-BE49-F238E27FC236}">
                <a16:creationId xmlns:a16="http://schemas.microsoft.com/office/drawing/2014/main" id="{8FE94F80-1B2D-0E45-8D2E-B57A96EFF5BA}"/>
              </a:ext>
            </a:extLst>
          </p:cNvPr>
          <p:cNvSpPr>
            <a:spLocks noGrp="1"/>
          </p:cNvSpPr>
          <p:nvPr>
            <p:ph type="body" sz="quarter" idx="26" hasCustomPrompt="1"/>
          </p:nvPr>
        </p:nvSpPr>
        <p:spPr>
          <a:xfrm>
            <a:off x="13902138" y="10339760"/>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pic>
        <p:nvPicPr>
          <p:cNvPr id="24" name="Graphic 23">
            <a:extLst>
              <a:ext uri="{FF2B5EF4-FFF2-40B4-BE49-F238E27FC236}">
                <a16:creationId xmlns:a16="http://schemas.microsoft.com/office/drawing/2014/main" id="{C665CCDB-76D3-9C47-BA6F-98DC8DE39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31206" y="7079462"/>
            <a:ext cx="2520000" cy="2520000"/>
          </a:xfrm>
          <a:prstGeom prst="rect">
            <a:avLst/>
          </a:prstGeom>
        </p:spPr>
      </p:pic>
      <p:sp>
        <p:nvSpPr>
          <p:cNvPr id="22" name="Title 3">
            <a:extLst>
              <a:ext uri="{FF2B5EF4-FFF2-40B4-BE49-F238E27FC236}">
                <a16:creationId xmlns:a16="http://schemas.microsoft.com/office/drawing/2014/main" id="{12B27A15-0B5F-6D42-A903-9B52ABFB9D46}"/>
              </a:ext>
            </a:extLst>
          </p:cNvPr>
          <p:cNvSpPr>
            <a:spLocks noGrp="1"/>
          </p:cNvSpPr>
          <p:nvPr>
            <p:ph type="title" hasCustomPrompt="1"/>
          </p:nvPr>
        </p:nvSpPr>
        <p:spPr>
          <a:xfrm>
            <a:off x="1676293" y="1677600"/>
            <a:ext cx="21033007" cy="2446607"/>
          </a:xfrm>
        </p:spPr>
        <p:txBody>
          <a:bodyPr/>
          <a:lstStyle>
            <a:lvl1pPr>
              <a:defRPr sz="6000" spc="0" baseline="0"/>
            </a:lvl1pPr>
          </a:lstStyle>
          <a:p>
            <a:r>
              <a:rPr lang="en-GB"/>
              <a:t>Put a short headline here, keep it bold 60 </a:t>
            </a:r>
            <a:r>
              <a:rPr lang="en-GB" err="1"/>
              <a:t>pt</a:t>
            </a:r>
            <a:endParaRPr lang="en-NL"/>
          </a:p>
        </p:txBody>
      </p:sp>
      <p:sp>
        <p:nvSpPr>
          <p:cNvPr id="5" name="Footer Placeholder 4">
            <a:extLst>
              <a:ext uri="{FF2B5EF4-FFF2-40B4-BE49-F238E27FC236}">
                <a16:creationId xmlns:a16="http://schemas.microsoft.com/office/drawing/2014/main" id="{6C67929C-C3EA-9A47-BD51-95B00CE1AD28}"/>
              </a:ext>
            </a:extLst>
          </p:cNvPr>
          <p:cNvSpPr>
            <a:spLocks noGrp="1"/>
          </p:cNvSpPr>
          <p:nvPr>
            <p:ph type="ftr" sz="quarter" idx="27"/>
          </p:nvPr>
        </p:nvSpPr>
        <p:spPr/>
        <p:txBody>
          <a:bodyPr/>
          <a:lstStyle/>
          <a:p>
            <a:endParaRPr lang="en-NL"/>
          </a:p>
        </p:txBody>
      </p:sp>
      <p:sp>
        <p:nvSpPr>
          <p:cNvPr id="23" name="TextBox 22">
            <a:extLst>
              <a:ext uri="{FF2B5EF4-FFF2-40B4-BE49-F238E27FC236}">
                <a16:creationId xmlns:a16="http://schemas.microsoft.com/office/drawing/2014/main" id="{9FDFBDEE-F22D-2B4B-A965-6CEC71F0E51D}"/>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706495179"/>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Final slide">
    <p:bg>
      <p:bgPr>
        <a:solidFill>
          <a:schemeClr val="bg1"/>
        </a:solidFill>
        <a:effectLst/>
      </p:bgPr>
    </p:bg>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ECC773ED-664B-824F-91D1-6C08CFB17BDA}"/>
              </a:ext>
            </a:extLst>
          </p:cNvPr>
          <p:cNvSpPr>
            <a:spLocks noGrp="1"/>
          </p:cNvSpPr>
          <p:nvPr>
            <p:ph type="body" sz="quarter" idx="13" hasCustomPrompt="1"/>
          </p:nvPr>
        </p:nvSpPr>
        <p:spPr>
          <a:xfrm>
            <a:off x="1700166" y="7650089"/>
            <a:ext cx="10490247" cy="4384884"/>
          </a:xfrm>
        </p:spPr>
        <p:txBody>
          <a:bodyPr/>
          <a:lstStyle>
            <a:lvl1pPr>
              <a:spcBef>
                <a:spcPts val="0"/>
              </a:spcBef>
              <a:defRPr sz="3200" b="0"/>
            </a:lvl1pPr>
          </a:lstStyle>
          <a:p>
            <a:pPr lvl="0"/>
            <a:r>
              <a:rPr lang="en-GB" noProof="0"/>
              <a:t>Contact details, keep it regular 32 </a:t>
            </a:r>
            <a:r>
              <a:rPr lang="en-GB" noProof="0" err="1"/>
              <a:t>pt</a:t>
            </a:r>
            <a:endParaRPr lang="en-GB" noProof="0"/>
          </a:p>
        </p:txBody>
      </p:sp>
      <p:pic>
        <p:nvPicPr>
          <p:cNvPr id="7" name="Picture 6">
            <a:extLst>
              <a:ext uri="{FF2B5EF4-FFF2-40B4-BE49-F238E27FC236}">
                <a16:creationId xmlns:a16="http://schemas.microsoft.com/office/drawing/2014/main" id="{8B5EDC8C-A7B6-2F44-BFD8-CD803F5DB10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209277" y="11324668"/>
            <a:ext cx="9935257" cy="2158068"/>
          </a:xfrm>
          <a:prstGeom prst="rect">
            <a:avLst/>
          </a:prstGeom>
        </p:spPr>
      </p:pic>
      <p:sp>
        <p:nvSpPr>
          <p:cNvPr id="3" name="Title 2">
            <a:extLst>
              <a:ext uri="{FF2B5EF4-FFF2-40B4-BE49-F238E27FC236}">
                <a16:creationId xmlns:a16="http://schemas.microsoft.com/office/drawing/2014/main" id="{7735138D-D591-9C4B-A824-FB43143DAED7}"/>
              </a:ext>
            </a:extLst>
          </p:cNvPr>
          <p:cNvSpPr>
            <a:spLocks noGrp="1"/>
          </p:cNvSpPr>
          <p:nvPr>
            <p:ph type="title" hasCustomPrompt="1"/>
          </p:nvPr>
        </p:nvSpPr>
        <p:spPr/>
        <p:txBody>
          <a:bodyPr/>
          <a:lstStyle/>
          <a:p>
            <a:r>
              <a:rPr lang="en-GB"/>
              <a:t>Thank you</a:t>
            </a:r>
            <a:endParaRPr lang="en-NL"/>
          </a:p>
        </p:txBody>
      </p:sp>
      <p:sp>
        <p:nvSpPr>
          <p:cNvPr id="8" name="Text Placeholder 6">
            <a:extLst>
              <a:ext uri="{FF2B5EF4-FFF2-40B4-BE49-F238E27FC236}">
                <a16:creationId xmlns:a16="http://schemas.microsoft.com/office/drawing/2014/main" id="{43362774-1C74-3547-A14B-E456BF8AB04B}"/>
              </a:ext>
            </a:extLst>
          </p:cNvPr>
          <p:cNvSpPr>
            <a:spLocks noGrp="1"/>
          </p:cNvSpPr>
          <p:nvPr>
            <p:ph type="body" sz="quarter" idx="16" hasCustomPrompt="1"/>
          </p:nvPr>
        </p:nvSpPr>
        <p:spPr>
          <a:xfrm>
            <a:off x="1700166" y="6858001"/>
            <a:ext cx="10490247" cy="792088"/>
          </a:xfrm>
        </p:spPr>
        <p:txBody>
          <a:bodyPr/>
          <a:lstStyle>
            <a:lvl1pPr>
              <a:spcBef>
                <a:spcPts val="0"/>
              </a:spcBef>
              <a:defRPr sz="3200" b="1"/>
            </a:lvl1pPr>
          </a:lstStyle>
          <a:p>
            <a:pPr lvl="0"/>
            <a:r>
              <a:rPr lang="en-GB" noProof="0"/>
              <a:t>Contact person’s full name, keep it bold 32 </a:t>
            </a:r>
            <a:r>
              <a:rPr lang="en-GB" noProof="0" err="1"/>
              <a:t>pt</a:t>
            </a:r>
            <a:endParaRPr lang="en-GB" noProof="0"/>
          </a:p>
        </p:txBody>
      </p:sp>
      <p:sp>
        <p:nvSpPr>
          <p:cNvPr id="5" name="Footer Placeholder 4">
            <a:extLst>
              <a:ext uri="{FF2B5EF4-FFF2-40B4-BE49-F238E27FC236}">
                <a16:creationId xmlns:a16="http://schemas.microsoft.com/office/drawing/2014/main" id="{5B8ABD2B-5975-3E47-B565-B6138DEA4BF2}"/>
              </a:ext>
            </a:extLst>
          </p:cNvPr>
          <p:cNvSpPr>
            <a:spLocks noGrp="1"/>
          </p:cNvSpPr>
          <p:nvPr>
            <p:ph type="ftr" sz="quarter" idx="17"/>
          </p:nvPr>
        </p:nvSpPr>
        <p:spPr/>
        <p:txBody>
          <a:bodyPr/>
          <a:lstStyle/>
          <a:p>
            <a:endParaRPr lang="en-NL"/>
          </a:p>
        </p:txBody>
      </p:sp>
    </p:spTree>
    <p:extLst>
      <p:ext uri="{BB962C8B-B14F-4D97-AF65-F5344CB8AC3E}">
        <p14:creationId xmlns:p14="http://schemas.microsoft.com/office/powerpoint/2010/main" val="783168414"/>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DBA60CB-9800-E349-B589-A9C8E6B0719E}"/>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958668346"/>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on partial colour background, texture or image with IKEA logo">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87BBF9D-BEB5-5444-89E4-010A3501B6E5}"/>
              </a:ext>
            </a:extLst>
          </p:cNvPr>
          <p:cNvSpPr>
            <a:spLocks noGrp="1"/>
          </p:cNvSpPr>
          <p:nvPr>
            <p:ph type="pic" sz="quarter" idx="14" hasCustomPrompt="1"/>
          </p:nvPr>
        </p:nvSpPr>
        <p:spPr>
          <a:xfrm>
            <a:off x="0" y="-1"/>
            <a:ext cx="24382413" cy="1045845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Drag and drop to add a pictur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1679467" y="1677601"/>
            <a:ext cx="21029831" cy="4013370"/>
          </a:xfrm>
          <a:prstGeom prst="rect">
            <a:avLst/>
          </a:prstGeom>
        </p:spPr>
        <p:txBody>
          <a:bodyPr vert="horz" lIns="91440" tIns="45720" rIns="91440" bIns="45720" rtlCol="0" anchor="t">
            <a:noAutofit/>
          </a:bodyPr>
          <a:lstStyle>
            <a:lvl1pPr>
              <a:defRPr/>
            </a:lvl1pPr>
          </a:lstStyle>
          <a:p>
            <a:r>
              <a:rPr lang="en-GB" noProof="0"/>
              <a:t>Put the title here,</a:t>
            </a:r>
            <a:br>
              <a:rPr lang="en-GB" noProof="0"/>
            </a:br>
            <a:r>
              <a:rPr lang="en-GB" noProof="0"/>
              <a:t>keep it bold 60 pt</a:t>
            </a:r>
          </a:p>
        </p:txBody>
      </p:sp>
      <p:sp>
        <p:nvSpPr>
          <p:cNvPr id="10" name="Text Placeholder 6">
            <a:extLst>
              <a:ext uri="{FF2B5EF4-FFF2-40B4-BE49-F238E27FC236}">
                <a16:creationId xmlns:a16="http://schemas.microsoft.com/office/drawing/2014/main" id="{ECC773ED-664B-824F-91D1-6C08CFB17BDA}"/>
              </a:ext>
            </a:extLst>
          </p:cNvPr>
          <p:cNvSpPr>
            <a:spLocks noGrp="1"/>
          </p:cNvSpPr>
          <p:nvPr>
            <p:ph type="body" sz="quarter" idx="13" hasCustomPrompt="1"/>
          </p:nvPr>
        </p:nvSpPr>
        <p:spPr>
          <a:xfrm>
            <a:off x="1700166" y="6137279"/>
            <a:ext cx="10657784" cy="3457030"/>
          </a:xfrm>
        </p:spPr>
        <p:txBody>
          <a:bodyPr/>
          <a:lstStyle>
            <a:lvl1pPr>
              <a:spcBef>
                <a:spcPts val="0"/>
              </a:spcBef>
              <a:defRPr sz="4800"/>
            </a:lvl1pPr>
          </a:lstStyle>
          <a:p>
            <a:pPr lvl="0"/>
            <a:r>
              <a:rPr lang="en-GB" noProof="0"/>
              <a:t>Put the subtitle here,</a:t>
            </a:r>
            <a:br>
              <a:rPr lang="en-GB" noProof="0"/>
            </a:br>
            <a:r>
              <a:rPr lang="en-GB" noProof="0"/>
              <a:t>keep it regular 24 </a:t>
            </a:r>
            <a:r>
              <a:rPr lang="en-GB" noProof="0" err="1"/>
              <a:t>pt</a:t>
            </a:r>
            <a:endParaRPr lang="en-GB" noProof="0"/>
          </a:p>
        </p:txBody>
      </p:sp>
      <p:sp>
        <p:nvSpPr>
          <p:cNvPr id="2" name="Footer Placeholder 1">
            <a:extLst>
              <a:ext uri="{FF2B5EF4-FFF2-40B4-BE49-F238E27FC236}">
                <a16:creationId xmlns:a16="http://schemas.microsoft.com/office/drawing/2014/main" id="{4F10DFEF-CCD5-CB42-BD22-BCB3D997661B}"/>
              </a:ext>
            </a:extLst>
          </p:cNvPr>
          <p:cNvSpPr>
            <a:spLocks noGrp="1"/>
          </p:cNvSpPr>
          <p:nvPr>
            <p:ph type="ftr" sz="quarter" idx="15"/>
          </p:nvPr>
        </p:nvSpPr>
        <p:spPr>
          <a:xfrm>
            <a:off x="1676291" y="12762655"/>
            <a:ext cx="10514916" cy="586238"/>
          </a:xfrm>
          <a:prstGeom prst="rect">
            <a:avLst/>
          </a:prstGeom>
        </p:spPr>
        <p:txBody>
          <a:bodyPr/>
          <a:lstStyle/>
          <a:p>
            <a:endParaRPr lang="en-GB" noProof="0"/>
          </a:p>
        </p:txBody>
      </p:sp>
      <p:pic>
        <p:nvPicPr>
          <p:cNvPr id="9" name="Picture 8">
            <a:extLst>
              <a:ext uri="{FF2B5EF4-FFF2-40B4-BE49-F238E27FC236}">
                <a16:creationId xmlns:a16="http://schemas.microsoft.com/office/drawing/2014/main" id="{96D72230-E953-2344-BE6F-83C4D88C1C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570073" y="10514133"/>
            <a:ext cx="4812341" cy="3236442"/>
          </a:xfrm>
          <a:prstGeom prst="rect">
            <a:avLst/>
          </a:prstGeom>
        </p:spPr>
      </p:pic>
      <p:sp>
        <p:nvSpPr>
          <p:cNvPr id="4" name="Text Placeholder 3">
            <a:extLst>
              <a:ext uri="{FF2B5EF4-FFF2-40B4-BE49-F238E27FC236}">
                <a16:creationId xmlns:a16="http://schemas.microsoft.com/office/drawing/2014/main" id="{B5329D23-EF50-DA48-938A-1EBB7615B30C}"/>
              </a:ext>
            </a:extLst>
          </p:cNvPr>
          <p:cNvSpPr>
            <a:spLocks noGrp="1"/>
          </p:cNvSpPr>
          <p:nvPr>
            <p:ph type="body" sz="quarter" idx="18"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1</a:t>
            </a:r>
            <a:endParaRPr lang="en-GB"/>
          </a:p>
        </p:txBody>
      </p:sp>
    </p:spTree>
    <p:extLst>
      <p:ext uri="{BB962C8B-B14F-4D97-AF65-F5344CB8AC3E}">
        <p14:creationId xmlns:p14="http://schemas.microsoft.com/office/powerpoint/2010/main" val="4087251117"/>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on white background with IKEA logo">
    <p:bg>
      <p:bgPr>
        <a:solidFill>
          <a:schemeClr val="bg1"/>
        </a:solidFill>
        <a:effectLst/>
      </p:bgPr>
    </p:bg>
    <p:spTree>
      <p:nvGrpSpPr>
        <p:cNvPr id="1" name=""/>
        <p:cNvGrpSpPr/>
        <p:nvPr/>
      </p:nvGrpSpPr>
      <p:grpSpPr>
        <a:xfrm>
          <a:off x="0" y="0"/>
          <a:ext cx="0" cy="0"/>
          <a:chOff x="0" y="0"/>
          <a:chExt cx="0" cy="0"/>
        </a:xfrm>
      </p:grpSpPr>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1677491" y="1677601"/>
            <a:ext cx="21029831" cy="4013370"/>
          </a:xfrm>
          <a:prstGeom prst="rect">
            <a:avLst/>
          </a:prstGeom>
        </p:spPr>
        <p:txBody>
          <a:bodyPr vert="horz" lIns="91440" tIns="45720" rIns="91440" bIns="45720" rtlCol="0" anchor="t">
            <a:noAutofit/>
          </a:bodyPr>
          <a:lstStyle>
            <a:lvl1pPr>
              <a:defRPr/>
            </a:lvl1pPr>
          </a:lstStyle>
          <a:p>
            <a:r>
              <a:rPr lang="en-GB" noProof="0"/>
              <a:t>Put the title here,</a:t>
            </a:r>
            <a:br>
              <a:rPr lang="en-GB" noProof="0"/>
            </a:br>
            <a:r>
              <a:rPr lang="en-GB" noProof="0"/>
              <a:t>keep it bold 60 pt</a:t>
            </a:r>
          </a:p>
        </p:txBody>
      </p:sp>
      <p:sp>
        <p:nvSpPr>
          <p:cNvPr id="10" name="Text Placeholder 6">
            <a:extLst>
              <a:ext uri="{FF2B5EF4-FFF2-40B4-BE49-F238E27FC236}">
                <a16:creationId xmlns:a16="http://schemas.microsoft.com/office/drawing/2014/main" id="{ECC773ED-664B-824F-91D1-6C08CFB17BDA}"/>
              </a:ext>
            </a:extLst>
          </p:cNvPr>
          <p:cNvSpPr>
            <a:spLocks noGrp="1"/>
          </p:cNvSpPr>
          <p:nvPr>
            <p:ph type="body" sz="quarter" idx="13" hasCustomPrompt="1"/>
          </p:nvPr>
        </p:nvSpPr>
        <p:spPr>
          <a:xfrm>
            <a:off x="1700166" y="6137279"/>
            <a:ext cx="10657784" cy="3457030"/>
          </a:xfrm>
        </p:spPr>
        <p:txBody>
          <a:bodyPr/>
          <a:lstStyle>
            <a:lvl1pPr>
              <a:spcBef>
                <a:spcPts val="0"/>
              </a:spcBef>
              <a:defRPr sz="4800"/>
            </a:lvl1pPr>
          </a:lstStyle>
          <a:p>
            <a:pPr lvl="0"/>
            <a:r>
              <a:rPr lang="en-GB" noProof="0"/>
              <a:t>Put the subtitle here,</a:t>
            </a:r>
            <a:br>
              <a:rPr lang="en-GB" noProof="0"/>
            </a:br>
            <a:r>
              <a:rPr lang="en-GB" noProof="0"/>
              <a:t>keep it regular 24 pt</a:t>
            </a:r>
          </a:p>
        </p:txBody>
      </p:sp>
      <p:sp>
        <p:nvSpPr>
          <p:cNvPr id="2" name="Footer Placeholder 1">
            <a:extLst>
              <a:ext uri="{FF2B5EF4-FFF2-40B4-BE49-F238E27FC236}">
                <a16:creationId xmlns:a16="http://schemas.microsoft.com/office/drawing/2014/main" id="{4F10DFEF-CCD5-CB42-BD22-BCB3D997661B}"/>
              </a:ext>
            </a:extLst>
          </p:cNvPr>
          <p:cNvSpPr>
            <a:spLocks noGrp="1"/>
          </p:cNvSpPr>
          <p:nvPr>
            <p:ph type="ftr" sz="quarter" idx="15"/>
          </p:nvPr>
        </p:nvSpPr>
        <p:spPr>
          <a:xfrm>
            <a:off x="1676291" y="12762655"/>
            <a:ext cx="10514916" cy="586238"/>
          </a:xfrm>
          <a:prstGeom prst="rect">
            <a:avLst/>
          </a:prstGeom>
        </p:spPr>
        <p:txBody>
          <a:bodyPr/>
          <a:lstStyle/>
          <a:p>
            <a:endParaRPr lang="en-GB" noProof="0"/>
          </a:p>
        </p:txBody>
      </p:sp>
      <p:pic>
        <p:nvPicPr>
          <p:cNvPr id="7" name="Picture 6">
            <a:extLst>
              <a:ext uri="{FF2B5EF4-FFF2-40B4-BE49-F238E27FC236}">
                <a16:creationId xmlns:a16="http://schemas.microsoft.com/office/drawing/2014/main" id="{1B54746A-F2B1-D64D-A6FD-BA620F3BF8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570073" y="10514133"/>
            <a:ext cx="4812341" cy="3236442"/>
          </a:xfrm>
          <a:prstGeom prst="rect">
            <a:avLst/>
          </a:prstGeom>
        </p:spPr>
      </p:pic>
    </p:spTree>
    <p:extLst>
      <p:ext uri="{BB962C8B-B14F-4D97-AF65-F5344CB8AC3E}">
        <p14:creationId xmlns:p14="http://schemas.microsoft.com/office/powerpoint/2010/main" val="2536352954"/>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Agenda/contents">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90F7D97-7943-F74E-8640-D30812E6AB99}"/>
              </a:ext>
            </a:extLst>
          </p:cNvPr>
          <p:cNvSpPr>
            <a:spLocks noGrp="1"/>
          </p:cNvSpPr>
          <p:nvPr>
            <p:ph type="title" hasCustomPrompt="1"/>
          </p:nvPr>
        </p:nvSpPr>
        <p:spPr>
          <a:xfrm>
            <a:off x="1676291" y="1677601"/>
            <a:ext cx="10514916" cy="2304454"/>
          </a:xfrm>
          <a:prstGeom prst="rect">
            <a:avLst/>
          </a:prstGeom>
        </p:spPr>
        <p:txBody>
          <a:bodyPr/>
          <a:lstStyle>
            <a:lvl1pPr>
              <a:lnSpc>
                <a:spcPct val="100000"/>
              </a:lnSpc>
              <a:defRPr sz="7200"/>
            </a:lvl1pPr>
          </a:lstStyle>
          <a:p>
            <a:r>
              <a:rPr lang="en-GB" noProof="0"/>
              <a:t>Agenda or contents</a:t>
            </a:r>
          </a:p>
        </p:txBody>
      </p:sp>
      <p:sp>
        <p:nvSpPr>
          <p:cNvPr id="10" name="Text Placeholder 9">
            <a:extLst>
              <a:ext uri="{FF2B5EF4-FFF2-40B4-BE49-F238E27FC236}">
                <a16:creationId xmlns:a16="http://schemas.microsoft.com/office/drawing/2014/main" id="{E234D5AF-452C-2E41-B572-1BD2DC3468B0}"/>
              </a:ext>
            </a:extLst>
          </p:cNvPr>
          <p:cNvSpPr>
            <a:spLocks noGrp="1"/>
          </p:cNvSpPr>
          <p:nvPr>
            <p:ph type="body" sz="quarter" idx="11" hasCustomPrompt="1"/>
          </p:nvPr>
        </p:nvSpPr>
        <p:spPr>
          <a:xfrm>
            <a:off x="1676291" y="4409731"/>
            <a:ext cx="10514916" cy="7633046"/>
          </a:xfrm>
        </p:spPr>
        <p:txBody>
          <a:bodyPr lIns="90000" rIns="90000">
            <a:noAutofit/>
          </a:bodyPr>
          <a:lstStyle>
            <a:lvl1pPr marL="0" marR="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sz="4800"/>
            </a:lvl1pPr>
            <a:lvl2pPr marL="914332" marR="0" indent="0" algn="l" defTabSz="1828663" rtl="0" eaLnBrk="1" fontAlgn="auto" latinLnBrk="0" hangingPunct="1">
              <a:lnSpc>
                <a:spcPct val="100000"/>
              </a:lnSpc>
              <a:spcBef>
                <a:spcPts val="1000"/>
              </a:spcBef>
              <a:spcAft>
                <a:spcPts val="0"/>
              </a:spcAft>
              <a:buClrTx/>
              <a:buSzTx/>
              <a:buFont typeface="Arial" panose="020B0604020202020204" pitchFamily="34" charset="0"/>
              <a:buNone/>
              <a:tabLst/>
              <a:defRPr sz="3600"/>
            </a:lvl2pPr>
          </a:lstStyle>
          <a:p>
            <a:pPr lvl="0"/>
            <a:r>
              <a:rPr lang="en-GB" noProof="0"/>
              <a:t>Put the agenda topic here, </a:t>
            </a:r>
            <a:br>
              <a:rPr lang="en-GB" noProof="0"/>
            </a:br>
            <a:r>
              <a:rPr lang="en-GB" noProof="0"/>
              <a:t>keep it regular 24 pt</a:t>
            </a:r>
          </a:p>
        </p:txBody>
      </p:sp>
      <p:sp>
        <p:nvSpPr>
          <p:cNvPr id="4" name="Footer Placeholder 3">
            <a:extLst>
              <a:ext uri="{FF2B5EF4-FFF2-40B4-BE49-F238E27FC236}">
                <a16:creationId xmlns:a16="http://schemas.microsoft.com/office/drawing/2014/main" id="{230E9C2F-08A9-3749-8604-85EB4B9FE365}"/>
              </a:ext>
            </a:extLst>
          </p:cNvPr>
          <p:cNvSpPr>
            <a:spLocks noGrp="1"/>
          </p:cNvSpPr>
          <p:nvPr>
            <p:ph type="ftr" sz="quarter" idx="12"/>
          </p:nvPr>
        </p:nvSpPr>
        <p:spPr>
          <a:xfrm>
            <a:off x="1676291" y="12762656"/>
            <a:ext cx="10514916" cy="586236"/>
          </a:xfrm>
          <a:prstGeom prst="rect">
            <a:avLst/>
          </a:prstGeom>
        </p:spPr>
        <p:txBody>
          <a:bodyPr/>
          <a:lstStyle/>
          <a:p>
            <a:endParaRPr lang="en-GB" noProof="0"/>
          </a:p>
        </p:txBody>
      </p:sp>
    </p:spTree>
    <p:extLst>
      <p:ext uri="{BB962C8B-B14F-4D97-AF65-F5344CB8AC3E}">
        <p14:creationId xmlns:p14="http://schemas.microsoft.com/office/powerpoint/2010/main" val="1882415042"/>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Headline and tex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115EB387-5C28-7B4F-A0C5-45C9CB988492}"/>
              </a:ext>
            </a:extLst>
          </p:cNvPr>
          <p:cNvSpPr>
            <a:spLocks noGrp="1"/>
          </p:cNvSpPr>
          <p:nvPr>
            <p:ph type="body" sz="half" idx="2" hasCustomPrompt="1"/>
          </p:nvPr>
        </p:nvSpPr>
        <p:spPr>
          <a:xfrm>
            <a:off x="13055249" y="1961458"/>
            <a:ext cx="8928409" cy="10081320"/>
          </a:xfrm>
        </p:spPr>
        <p:txBody>
          <a:bodyPr>
            <a:noAutofit/>
          </a:bodyPr>
          <a:lstStyle>
            <a:lvl1pPr marL="0" marR="0" indent="0" algn="l" defTabSz="1439928" rtl="0" eaLnBrk="1" fontAlgn="auto" latinLnBrk="0" hangingPunct="1">
              <a:lnSpc>
                <a:spcPct val="100000"/>
              </a:lnSpc>
              <a:spcBef>
                <a:spcPts val="2000"/>
              </a:spcBef>
              <a:spcAft>
                <a:spcPts val="0"/>
              </a:spcAft>
              <a:buClrTx/>
              <a:buSzTx/>
              <a:buFont typeface="Arial" panose="020B0604020202020204" pitchFamily="34" charset="0"/>
              <a:buNone/>
              <a:tabLst/>
              <a:defRPr sz="28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body text here, keep it regular 14 pt. Put the body text here, keep it regular 14 pt. Put the body text here, keep it regular 14 pt. Put the body text here, keep it regular 14 pt.</a:t>
            </a:r>
          </a:p>
        </p:txBody>
      </p:sp>
      <p:sp>
        <p:nvSpPr>
          <p:cNvPr id="8" name="Title 1">
            <a:extLst>
              <a:ext uri="{FF2B5EF4-FFF2-40B4-BE49-F238E27FC236}">
                <a16:creationId xmlns:a16="http://schemas.microsoft.com/office/drawing/2014/main" id="{E292D429-7910-E04B-A9EA-23F0ADA2C261}"/>
              </a:ext>
            </a:extLst>
          </p:cNvPr>
          <p:cNvSpPr>
            <a:spLocks noGrp="1"/>
          </p:cNvSpPr>
          <p:nvPr>
            <p:ph type="title" hasCustomPrompt="1"/>
          </p:nvPr>
        </p:nvSpPr>
        <p:spPr>
          <a:xfrm>
            <a:off x="1676291" y="1673229"/>
            <a:ext cx="10514916" cy="10369550"/>
          </a:xfrm>
          <a:prstGeom prst="rect">
            <a:avLst/>
          </a:prstGeom>
        </p:spPr>
        <p:txBody>
          <a:bodyPr/>
          <a:lstStyle>
            <a:lvl1pPr>
              <a:lnSpc>
                <a:spcPct val="100000"/>
              </a:lnSpc>
              <a:defRPr sz="7200"/>
            </a:lvl1pPr>
          </a:lstStyle>
          <a:p>
            <a:r>
              <a:rPr lang="en-GB" noProof="0"/>
              <a:t>Put the headline here, keep it bold 36 pt</a:t>
            </a:r>
          </a:p>
        </p:txBody>
      </p:sp>
      <p:sp>
        <p:nvSpPr>
          <p:cNvPr id="2" name="Footer Placeholder 1">
            <a:extLst>
              <a:ext uri="{FF2B5EF4-FFF2-40B4-BE49-F238E27FC236}">
                <a16:creationId xmlns:a16="http://schemas.microsoft.com/office/drawing/2014/main" id="{0D93D0BC-99E9-0945-A937-4D324F73864A}"/>
              </a:ext>
            </a:extLst>
          </p:cNvPr>
          <p:cNvSpPr>
            <a:spLocks noGrp="1"/>
          </p:cNvSpPr>
          <p:nvPr>
            <p:ph type="ftr" sz="quarter" idx="10"/>
          </p:nvPr>
        </p:nvSpPr>
        <p:spPr>
          <a:xfrm>
            <a:off x="1676291" y="12762655"/>
            <a:ext cx="10514916" cy="586238"/>
          </a:xfrm>
          <a:prstGeom prst="rect">
            <a:avLst/>
          </a:prstGeom>
        </p:spPr>
        <p:txBody>
          <a:bodyPr/>
          <a:lstStyle/>
          <a:p>
            <a:endParaRPr lang="en-GB" noProof="0"/>
          </a:p>
        </p:txBody>
      </p:sp>
    </p:spTree>
    <p:extLst>
      <p:ext uri="{BB962C8B-B14F-4D97-AF65-F5344CB8AC3E}">
        <p14:creationId xmlns:p14="http://schemas.microsoft.com/office/powerpoint/2010/main" val="1726794245"/>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Chapter name on colour background or image">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CEB23BBA-345D-F745-B284-713BE897A027}"/>
              </a:ext>
            </a:extLst>
          </p:cNvPr>
          <p:cNvSpPr>
            <a:spLocks noGrp="1"/>
          </p:cNvSpPr>
          <p:nvPr>
            <p:ph type="pic" sz="quarter" idx="14" hasCustomPrompt="1"/>
          </p:nvPr>
        </p:nvSpPr>
        <p:spPr>
          <a:xfrm>
            <a:off x="0" y="-54768"/>
            <a:ext cx="24382413" cy="13770768"/>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Select a colour for background. Or drag and drop to add a picture</a:t>
            </a:r>
          </a:p>
        </p:txBody>
      </p:sp>
      <p:sp>
        <p:nvSpPr>
          <p:cNvPr id="11" name="Subtitle 2">
            <a:extLst>
              <a:ext uri="{FF2B5EF4-FFF2-40B4-BE49-F238E27FC236}">
                <a16:creationId xmlns:a16="http://schemas.microsoft.com/office/drawing/2014/main" id="{9F99187E-75C3-704C-B702-5FF1467E154C}"/>
              </a:ext>
            </a:extLst>
          </p:cNvPr>
          <p:cNvSpPr>
            <a:spLocks noGrp="1"/>
          </p:cNvSpPr>
          <p:nvPr>
            <p:ph type="subTitle" idx="1" hasCustomPrompt="1"/>
          </p:nvPr>
        </p:nvSpPr>
        <p:spPr>
          <a:xfrm>
            <a:off x="1700166" y="3905672"/>
            <a:ext cx="15531275" cy="5904656"/>
          </a:xfrm>
        </p:spPr>
        <p:txBody>
          <a:bodyPr anchor="ctr" anchorCtr="0">
            <a:noAutofit/>
          </a:bodyPr>
          <a:lstStyle>
            <a:lvl1pPr marL="0" indent="0" algn="l">
              <a:lnSpc>
                <a:spcPct val="100000"/>
              </a:lnSpc>
              <a:buNone/>
              <a:defRPr sz="11999" b="1" spc="-200" baseline="0">
                <a:latin typeface="Noto IKEA Latin" panose="020B050204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GB" noProof="0"/>
              <a:t>Put the chapter headline here, </a:t>
            </a:r>
            <a:br>
              <a:rPr lang="en-GB" noProof="0"/>
            </a:br>
            <a:r>
              <a:rPr lang="en-GB" noProof="0"/>
              <a:t>keep it bold 60 </a:t>
            </a:r>
            <a:r>
              <a:rPr lang="en-GB" noProof="0" err="1"/>
              <a:t>pt</a:t>
            </a:r>
            <a:endParaRPr lang="en-GB" noProof="0"/>
          </a:p>
        </p:txBody>
      </p:sp>
      <p:sp>
        <p:nvSpPr>
          <p:cNvPr id="3" name="Footer Placeholder 2">
            <a:extLst>
              <a:ext uri="{FF2B5EF4-FFF2-40B4-BE49-F238E27FC236}">
                <a16:creationId xmlns:a16="http://schemas.microsoft.com/office/drawing/2014/main" id="{27FAFF6B-078B-C64F-9CD3-498DC3DC93C6}"/>
              </a:ext>
            </a:extLst>
          </p:cNvPr>
          <p:cNvSpPr>
            <a:spLocks noGrp="1"/>
          </p:cNvSpPr>
          <p:nvPr>
            <p:ph type="ftr" sz="quarter" idx="15"/>
          </p:nvPr>
        </p:nvSpPr>
        <p:spPr>
          <a:xfrm>
            <a:off x="1676291" y="12762655"/>
            <a:ext cx="10514916" cy="586238"/>
          </a:xfrm>
          <a:prstGeom prst="rect">
            <a:avLst/>
          </a:prstGeom>
        </p:spPr>
        <p:txBody>
          <a:bodyPr/>
          <a:lstStyle/>
          <a:p>
            <a:endParaRPr lang="en-GB" noProof="0"/>
          </a:p>
        </p:txBody>
      </p:sp>
      <p:sp>
        <p:nvSpPr>
          <p:cNvPr id="7" name="Text Placeholder 3">
            <a:extLst>
              <a:ext uri="{FF2B5EF4-FFF2-40B4-BE49-F238E27FC236}">
                <a16:creationId xmlns:a16="http://schemas.microsoft.com/office/drawing/2014/main" id="{6197EBF1-7F60-D44A-93CB-4809CDC33B1D}"/>
              </a:ext>
            </a:extLst>
          </p:cNvPr>
          <p:cNvSpPr>
            <a:spLocks noGrp="1"/>
          </p:cNvSpPr>
          <p:nvPr>
            <p:ph type="body" sz="quarter" idx="18"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1</a:t>
            </a:r>
            <a:endParaRPr lang="en-GB"/>
          </a:p>
        </p:txBody>
      </p:sp>
    </p:spTree>
    <p:extLst>
      <p:ext uri="{BB962C8B-B14F-4D97-AF65-F5344CB8AC3E}">
        <p14:creationId xmlns:p14="http://schemas.microsoft.com/office/powerpoint/2010/main" val="13019551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59_Title Sl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F6F0CEE-5038-4071-B80B-826461EE5D42}"/>
              </a:ext>
            </a:extLst>
          </p:cNvPr>
          <p:cNvSpPr>
            <a:spLocks noGrp="1"/>
          </p:cNvSpPr>
          <p:nvPr>
            <p:ph type="pic" sz="quarter" idx="10"/>
          </p:nvPr>
        </p:nvSpPr>
        <p:spPr>
          <a:xfrm>
            <a:off x="12164706" y="0"/>
            <a:ext cx="12217709" cy="13716000"/>
          </a:xfrm>
          <a:custGeom>
            <a:avLst/>
            <a:gdLst>
              <a:gd name="connsiteX0" fmla="*/ 0 w 3619500"/>
              <a:gd name="connsiteY0" fmla="*/ 0 h 5543550"/>
              <a:gd name="connsiteX1" fmla="*/ 3619500 w 3619500"/>
              <a:gd name="connsiteY1" fmla="*/ 0 h 5543550"/>
              <a:gd name="connsiteX2" fmla="*/ 3619500 w 3619500"/>
              <a:gd name="connsiteY2" fmla="*/ 5543550 h 5543550"/>
              <a:gd name="connsiteX3" fmla="*/ 0 w 3619500"/>
              <a:gd name="connsiteY3" fmla="*/ 5543550 h 5543550"/>
            </a:gdLst>
            <a:ahLst/>
            <a:cxnLst>
              <a:cxn ang="0">
                <a:pos x="connsiteX0" y="connsiteY0"/>
              </a:cxn>
              <a:cxn ang="0">
                <a:pos x="connsiteX1" y="connsiteY1"/>
              </a:cxn>
              <a:cxn ang="0">
                <a:pos x="connsiteX2" y="connsiteY2"/>
              </a:cxn>
              <a:cxn ang="0">
                <a:pos x="connsiteX3" y="connsiteY3"/>
              </a:cxn>
            </a:cxnLst>
            <a:rect l="l" t="t" r="r" b="b"/>
            <a:pathLst>
              <a:path w="3619500" h="5543550">
                <a:moveTo>
                  <a:pt x="0" y="0"/>
                </a:moveTo>
                <a:lnTo>
                  <a:pt x="3619500" y="0"/>
                </a:lnTo>
                <a:lnTo>
                  <a:pt x="3619500" y="5543550"/>
                </a:lnTo>
                <a:lnTo>
                  <a:pt x="0" y="5543550"/>
                </a:lnTo>
                <a:close/>
              </a:path>
            </a:pathLst>
          </a:custGeom>
          <a:solidFill>
            <a:schemeClr val="bg2"/>
          </a:solidFill>
          <a:ln>
            <a:noFill/>
          </a:ln>
        </p:spPr>
        <p:txBody>
          <a:bodyPr wrap="square">
            <a:noAutofit/>
          </a:bodyPr>
          <a:lstStyle>
            <a:lvl1pPr>
              <a:defRPr sz="2200"/>
            </a:lvl1pPr>
          </a:lstStyle>
          <a:p>
            <a:r>
              <a:rPr lang="en-US"/>
              <a:t>Click icon to add picture</a:t>
            </a:r>
            <a:endParaRPr lang="id-ID"/>
          </a:p>
        </p:txBody>
      </p:sp>
      <p:sp>
        <p:nvSpPr>
          <p:cNvPr id="12" name="Text Placeholder 8"/>
          <p:cNvSpPr>
            <a:spLocks noGrp="1"/>
          </p:cNvSpPr>
          <p:nvPr>
            <p:ph type="body" sz="quarter" idx="11" hasCustomPrompt="1"/>
          </p:nvPr>
        </p:nvSpPr>
        <p:spPr>
          <a:xfrm>
            <a:off x="1666768" y="6511927"/>
            <a:ext cx="9454771" cy="6395862"/>
          </a:xfrm>
          <a:prstGeom prst="rect">
            <a:avLst/>
          </a:prstGeom>
        </p:spPr>
        <p:txBody>
          <a:bodyPr/>
          <a:lstStyle>
            <a:lvl1pPr marL="0" indent="0">
              <a:buNone/>
              <a:defRPr sz="4800">
                <a:solidFill>
                  <a:schemeClr val="tx2"/>
                </a:solidFill>
                <a:latin typeface="+mj-lt"/>
              </a:defRPr>
            </a:lvl1pPr>
            <a:lvl2pPr marL="914354" indent="0">
              <a:buNone/>
              <a:defRPr sz="4000">
                <a:solidFill>
                  <a:schemeClr val="tx2"/>
                </a:solidFill>
                <a:latin typeface="+mj-lt"/>
              </a:defRPr>
            </a:lvl2pPr>
            <a:lvl3pPr marL="1828709" indent="0">
              <a:buNone/>
              <a:defRPr sz="3600">
                <a:solidFill>
                  <a:schemeClr val="tx2"/>
                </a:solidFill>
                <a:latin typeface="+mj-lt"/>
              </a:defRPr>
            </a:lvl3pPr>
            <a:lvl4pPr marL="2743063" indent="0">
              <a:buNone/>
              <a:defRPr sz="3200">
                <a:solidFill>
                  <a:schemeClr val="tx2"/>
                </a:solidFill>
                <a:latin typeface="+mj-lt"/>
              </a:defRPr>
            </a:lvl4pPr>
            <a:lvl5pPr marL="3657417" indent="0">
              <a:buNone/>
              <a:defRPr sz="3200">
                <a:solidFill>
                  <a:schemeClr val="tx2"/>
                </a:solidFill>
                <a:latin typeface="+mj-lt"/>
              </a:defRPr>
            </a:lvl5pPr>
          </a:lstStyle>
          <a:p>
            <a:pPr lvl="0"/>
            <a:r>
              <a:rPr lang="en-US"/>
              <a:t>Additional text or explanation</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itle 6"/>
          <p:cNvSpPr>
            <a:spLocks noGrp="1"/>
          </p:cNvSpPr>
          <p:nvPr>
            <p:ph type="title" hasCustomPrompt="1"/>
          </p:nvPr>
        </p:nvSpPr>
        <p:spPr>
          <a:xfrm>
            <a:off x="1667987" y="3223675"/>
            <a:ext cx="9445675" cy="2390130"/>
          </a:xfrm>
          <a:prstGeom prst="rect">
            <a:avLst/>
          </a:prstGeom>
        </p:spPr>
        <p:txBody>
          <a:bodyPr anchor="ctr"/>
          <a:lstStyle>
            <a:lvl1pPr>
              <a:defRPr sz="8000" b="1" baseline="0">
                <a:solidFill>
                  <a:schemeClr val="tx2"/>
                </a:solidFill>
              </a:defRPr>
            </a:lvl1pPr>
          </a:lstStyle>
          <a:p>
            <a:r>
              <a:rPr lang="en-US"/>
              <a:t>Slide title or statement here!</a:t>
            </a:r>
            <a:endParaRPr lang="en-GB"/>
          </a:p>
        </p:txBody>
      </p:sp>
      <p:sp>
        <p:nvSpPr>
          <p:cNvPr id="14" name="object 5"/>
          <p:cNvSpPr txBox="1"/>
          <p:nvPr userDrawn="1"/>
        </p:nvSpPr>
        <p:spPr>
          <a:xfrm>
            <a:off x="21829879" y="330728"/>
            <a:ext cx="2314425" cy="210312"/>
          </a:xfrm>
          <a:prstGeom prst="rect">
            <a:avLst/>
          </a:prstGeom>
        </p:spPr>
        <p:txBody>
          <a:bodyPr vert="horz" wrap="square" lIns="0" tIns="25398" rIns="0" bIns="0" rtlCol="0">
            <a:spAutoFit/>
          </a:bodyPr>
          <a:lstStyle/>
          <a:p>
            <a:pPr marL="25399">
              <a:lnSpc>
                <a:spcPct val="100000"/>
              </a:lnSpc>
              <a:spcBef>
                <a:spcPts val="200"/>
              </a:spcBef>
            </a:pPr>
            <a:r>
              <a:rPr sz="1200">
                <a:solidFill>
                  <a:srgbClr val="BCBEC0"/>
                </a:solidFill>
                <a:latin typeface="Noto IKEA Latin" panose="020B0502040504020204" pitchFamily="34" charset="0"/>
                <a:cs typeface="Verdana"/>
              </a:rPr>
              <a:t>© Inter IKEA </a:t>
            </a:r>
            <a:r>
              <a:rPr sz="1200" spc="-10">
                <a:solidFill>
                  <a:srgbClr val="BCBEC0"/>
                </a:solidFill>
                <a:latin typeface="Noto IKEA Latin" panose="020B0502040504020204" pitchFamily="34" charset="0"/>
                <a:cs typeface="Verdana"/>
              </a:rPr>
              <a:t>Systems </a:t>
            </a:r>
            <a:r>
              <a:rPr sz="1200" spc="-50">
                <a:solidFill>
                  <a:srgbClr val="BCBEC0"/>
                </a:solidFill>
                <a:latin typeface="Noto IKEA Latin" panose="020B0502040504020204" pitchFamily="34" charset="0"/>
                <a:cs typeface="Verdana"/>
              </a:rPr>
              <a:t>B.V.</a:t>
            </a:r>
            <a:r>
              <a:rPr sz="1200" spc="-140">
                <a:solidFill>
                  <a:srgbClr val="BCBEC0"/>
                </a:solidFill>
                <a:latin typeface="Noto IKEA Latin" panose="020B0502040504020204" pitchFamily="34" charset="0"/>
                <a:cs typeface="Verdana"/>
              </a:rPr>
              <a:t> </a:t>
            </a:r>
            <a:r>
              <a:rPr sz="1200">
                <a:solidFill>
                  <a:srgbClr val="BCBEC0"/>
                </a:solidFill>
                <a:latin typeface="Noto IKEA Latin" panose="020B0502040504020204" pitchFamily="34" charset="0"/>
                <a:cs typeface="Verdana"/>
              </a:rPr>
              <a:t>20</a:t>
            </a:r>
            <a:r>
              <a:rPr lang="de-DE" sz="1200">
                <a:solidFill>
                  <a:srgbClr val="BCBEC0"/>
                </a:solidFill>
                <a:latin typeface="Noto IKEA Latin" panose="020B0502040504020204" pitchFamily="34" charset="0"/>
                <a:cs typeface="Verdana"/>
              </a:rPr>
              <a:t>21</a:t>
            </a:r>
            <a:endParaRPr sz="1200">
              <a:latin typeface="Noto IKEA Latin" panose="020B0502040504020204" pitchFamily="34" charset="0"/>
              <a:cs typeface="Verdana"/>
            </a:endParaRPr>
          </a:p>
        </p:txBody>
      </p:sp>
      <p:sp>
        <p:nvSpPr>
          <p:cNvPr id="19" name="Freeform 16">
            <a:extLst>
              <a:ext uri="{FF2B5EF4-FFF2-40B4-BE49-F238E27FC236}">
                <a16:creationId xmlns:a16="http://schemas.microsoft.com/office/drawing/2014/main" id="{55B8A401-BE23-4241-BDCF-933FC8D52F4B}"/>
              </a:ext>
            </a:extLst>
          </p:cNvPr>
          <p:cNvSpPr>
            <a:spLocks/>
          </p:cNvSpPr>
          <p:nvPr userDrawn="1"/>
        </p:nvSpPr>
        <p:spPr bwMode="auto">
          <a:xfrm rot="10800000">
            <a:off x="868499" y="908795"/>
            <a:ext cx="717779" cy="615554"/>
          </a:xfrm>
          <a:custGeom>
            <a:avLst/>
            <a:gdLst>
              <a:gd name="T0" fmla="*/ 595 w 632"/>
              <a:gd name="T1" fmla="*/ 346 h 598"/>
              <a:gd name="T2" fmla="*/ 559 w 632"/>
              <a:gd name="T3" fmla="*/ 341 h 598"/>
              <a:gd name="T4" fmla="*/ 510 w 632"/>
              <a:gd name="T5" fmla="*/ 359 h 598"/>
              <a:gd name="T6" fmla="*/ 476 w 632"/>
              <a:gd name="T7" fmla="*/ 377 h 598"/>
              <a:gd name="T8" fmla="*/ 438 w 632"/>
              <a:gd name="T9" fmla="*/ 359 h 598"/>
              <a:gd name="T10" fmla="*/ 425 w 632"/>
              <a:gd name="T11" fmla="*/ 329 h 598"/>
              <a:gd name="T12" fmla="*/ 434 w 632"/>
              <a:gd name="T13" fmla="*/ 222 h 598"/>
              <a:gd name="T14" fmla="*/ 438 w 632"/>
              <a:gd name="T15" fmla="*/ 196 h 598"/>
              <a:gd name="T16" fmla="*/ 397 w 632"/>
              <a:gd name="T17" fmla="*/ 197 h 598"/>
              <a:gd name="T18" fmla="*/ 307 w 632"/>
              <a:gd name="T19" fmla="*/ 206 h 598"/>
              <a:gd name="T20" fmla="*/ 264 w 632"/>
              <a:gd name="T21" fmla="*/ 193 h 598"/>
              <a:gd name="T22" fmla="*/ 253 w 632"/>
              <a:gd name="T23" fmla="*/ 174 h 598"/>
              <a:gd name="T24" fmla="*/ 257 w 632"/>
              <a:gd name="T25" fmla="*/ 143 h 598"/>
              <a:gd name="T26" fmla="*/ 288 w 632"/>
              <a:gd name="T27" fmla="*/ 93 h 598"/>
              <a:gd name="T28" fmla="*/ 294 w 632"/>
              <a:gd name="T29" fmla="*/ 56 h 598"/>
              <a:gd name="T30" fmla="*/ 282 w 632"/>
              <a:gd name="T31" fmla="*/ 26 h 598"/>
              <a:gd name="T32" fmla="*/ 258 w 632"/>
              <a:gd name="T33" fmla="*/ 6 h 598"/>
              <a:gd name="T34" fmla="*/ 223 w 632"/>
              <a:gd name="T35" fmla="*/ 0 h 598"/>
              <a:gd name="T36" fmla="*/ 186 w 632"/>
              <a:gd name="T37" fmla="*/ 6 h 598"/>
              <a:gd name="T38" fmla="*/ 158 w 632"/>
              <a:gd name="T39" fmla="*/ 27 h 598"/>
              <a:gd name="T40" fmla="*/ 146 w 632"/>
              <a:gd name="T41" fmla="*/ 58 h 598"/>
              <a:gd name="T42" fmla="*/ 152 w 632"/>
              <a:gd name="T43" fmla="*/ 97 h 598"/>
              <a:gd name="T44" fmla="*/ 180 w 632"/>
              <a:gd name="T45" fmla="*/ 147 h 598"/>
              <a:gd name="T46" fmla="*/ 179 w 632"/>
              <a:gd name="T47" fmla="*/ 178 h 598"/>
              <a:gd name="T48" fmla="*/ 153 w 632"/>
              <a:gd name="T49" fmla="*/ 203 h 598"/>
              <a:gd name="T50" fmla="*/ 79 w 632"/>
              <a:gd name="T51" fmla="*/ 206 h 598"/>
              <a:gd name="T52" fmla="*/ 12 w 632"/>
              <a:gd name="T53" fmla="*/ 196 h 598"/>
              <a:gd name="T54" fmla="*/ 0 w 632"/>
              <a:gd name="T55" fmla="*/ 584 h 598"/>
              <a:gd name="T56" fmla="*/ 11 w 632"/>
              <a:gd name="T57" fmla="*/ 586 h 598"/>
              <a:gd name="T58" fmla="*/ 79 w 632"/>
              <a:gd name="T59" fmla="*/ 596 h 598"/>
              <a:gd name="T60" fmla="*/ 153 w 632"/>
              <a:gd name="T61" fmla="*/ 593 h 598"/>
              <a:gd name="T62" fmla="*/ 179 w 632"/>
              <a:gd name="T63" fmla="*/ 568 h 598"/>
              <a:gd name="T64" fmla="*/ 180 w 632"/>
              <a:gd name="T65" fmla="*/ 537 h 598"/>
              <a:gd name="T66" fmla="*/ 152 w 632"/>
              <a:gd name="T67" fmla="*/ 487 h 598"/>
              <a:gd name="T68" fmla="*/ 146 w 632"/>
              <a:gd name="T69" fmla="*/ 448 h 598"/>
              <a:gd name="T70" fmla="*/ 158 w 632"/>
              <a:gd name="T71" fmla="*/ 416 h 598"/>
              <a:gd name="T72" fmla="*/ 186 w 632"/>
              <a:gd name="T73" fmla="*/ 396 h 598"/>
              <a:gd name="T74" fmla="*/ 223 w 632"/>
              <a:gd name="T75" fmla="*/ 390 h 598"/>
              <a:gd name="T76" fmla="*/ 258 w 632"/>
              <a:gd name="T77" fmla="*/ 396 h 598"/>
              <a:gd name="T78" fmla="*/ 284 w 632"/>
              <a:gd name="T79" fmla="*/ 416 h 598"/>
              <a:gd name="T80" fmla="*/ 294 w 632"/>
              <a:gd name="T81" fmla="*/ 446 h 598"/>
              <a:gd name="T82" fmla="*/ 288 w 632"/>
              <a:gd name="T83" fmla="*/ 483 h 598"/>
              <a:gd name="T84" fmla="*/ 257 w 632"/>
              <a:gd name="T85" fmla="*/ 533 h 598"/>
              <a:gd name="T86" fmla="*/ 253 w 632"/>
              <a:gd name="T87" fmla="*/ 564 h 598"/>
              <a:gd name="T88" fmla="*/ 264 w 632"/>
              <a:gd name="T89" fmla="*/ 583 h 598"/>
              <a:gd name="T90" fmla="*/ 307 w 632"/>
              <a:gd name="T91" fmla="*/ 596 h 598"/>
              <a:gd name="T92" fmla="*/ 355 w 632"/>
              <a:gd name="T93" fmla="*/ 593 h 598"/>
              <a:gd name="T94" fmla="*/ 410 w 632"/>
              <a:gd name="T95" fmla="*/ 586 h 598"/>
              <a:gd name="T96" fmla="*/ 438 w 632"/>
              <a:gd name="T97" fmla="*/ 582 h 598"/>
              <a:gd name="T98" fmla="*/ 430 w 632"/>
              <a:gd name="T99" fmla="*/ 525 h 598"/>
              <a:gd name="T100" fmla="*/ 429 w 632"/>
              <a:gd name="T101" fmla="*/ 474 h 598"/>
              <a:gd name="T102" fmla="*/ 459 w 632"/>
              <a:gd name="T103" fmla="*/ 448 h 598"/>
              <a:gd name="T104" fmla="*/ 495 w 632"/>
              <a:gd name="T105" fmla="*/ 453 h 598"/>
              <a:gd name="T106" fmla="*/ 546 w 632"/>
              <a:gd name="T107" fmla="*/ 486 h 598"/>
              <a:gd name="T108" fmla="*/ 583 w 632"/>
              <a:gd name="T109" fmla="*/ 488 h 598"/>
              <a:gd name="T110" fmla="*/ 612 w 632"/>
              <a:gd name="T111" fmla="*/ 474 h 598"/>
              <a:gd name="T112" fmla="*/ 629 w 632"/>
              <a:gd name="T113" fmla="*/ 446 h 598"/>
              <a:gd name="T114" fmla="*/ 632 w 632"/>
              <a:gd name="T115" fmla="*/ 409 h 598"/>
              <a:gd name="T116" fmla="*/ 623 w 632"/>
              <a:gd name="T117" fmla="*/ 375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32" h="598">
                <a:moveTo>
                  <a:pt x="615" y="363"/>
                </a:moveTo>
                <a:lnTo>
                  <a:pt x="611" y="357"/>
                </a:lnTo>
                <a:lnTo>
                  <a:pt x="606" y="353"/>
                </a:lnTo>
                <a:lnTo>
                  <a:pt x="601" y="350"/>
                </a:lnTo>
                <a:lnTo>
                  <a:pt x="595" y="346"/>
                </a:lnTo>
                <a:lnTo>
                  <a:pt x="588" y="343"/>
                </a:lnTo>
                <a:lnTo>
                  <a:pt x="582" y="342"/>
                </a:lnTo>
                <a:lnTo>
                  <a:pt x="574" y="341"/>
                </a:lnTo>
                <a:lnTo>
                  <a:pt x="567" y="340"/>
                </a:lnTo>
                <a:lnTo>
                  <a:pt x="559" y="341"/>
                </a:lnTo>
                <a:lnTo>
                  <a:pt x="551" y="342"/>
                </a:lnTo>
                <a:lnTo>
                  <a:pt x="543" y="343"/>
                </a:lnTo>
                <a:lnTo>
                  <a:pt x="535" y="346"/>
                </a:lnTo>
                <a:lnTo>
                  <a:pt x="521" y="352"/>
                </a:lnTo>
                <a:lnTo>
                  <a:pt x="510" y="359"/>
                </a:lnTo>
                <a:lnTo>
                  <a:pt x="502" y="366"/>
                </a:lnTo>
                <a:lnTo>
                  <a:pt x="491" y="371"/>
                </a:lnTo>
                <a:lnTo>
                  <a:pt x="486" y="375"/>
                </a:lnTo>
                <a:lnTo>
                  <a:pt x="480" y="376"/>
                </a:lnTo>
                <a:lnTo>
                  <a:pt x="476" y="377"/>
                </a:lnTo>
                <a:lnTo>
                  <a:pt x="471" y="378"/>
                </a:lnTo>
                <a:lnTo>
                  <a:pt x="463" y="377"/>
                </a:lnTo>
                <a:lnTo>
                  <a:pt x="454" y="373"/>
                </a:lnTo>
                <a:lnTo>
                  <a:pt x="446" y="368"/>
                </a:lnTo>
                <a:lnTo>
                  <a:pt x="438" y="359"/>
                </a:lnTo>
                <a:lnTo>
                  <a:pt x="435" y="356"/>
                </a:lnTo>
                <a:lnTo>
                  <a:pt x="432" y="352"/>
                </a:lnTo>
                <a:lnTo>
                  <a:pt x="429" y="348"/>
                </a:lnTo>
                <a:lnTo>
                  <a:pt x="427" y="342"/>
                </a:lnTo>
                <a:lnTo>
                  <a:pt x="425" y="329"/>
                </a:lnTo>
                <a:lnTo>
                  <a:pt x="424" y="315"/>
                </a:lnTo>
                <a:lnTo>
                  <a:pt x="425" y="296"/>
                </a:lnTo>
                <a:lnTo>
                  <a:pt x="426" y="274"/>
                </a:lnTo>
                <a:lnTo>
                  <a:pt x="429" y="249"/>
                </a:lnTo>
                <a:lnTo>
                  <a:pt x="434" y="222"/>
                </a:lnTo>
                <a:lnTo>
                  <a:pt x="434" y="220"/>
                </a:lnTo>
                <a:lnTo>
                  <a:pt x="435" y="214"/>
                </a:lnTo>
                <a:lnTo>
                  <a:pt x="436" y="207"/>
                </a:lnTo>
                <a:lnTo>
                  <a:pt x="437" y="201"/>
                </a:lnTo>
                <a:lnTo>
                  <a:pt x="438" y="196"/>
                </a:lnTo>
                <a:lnTo>
                  <a:pt x="438" y="194"/>
                </a:lnTo>
                <a:lnTo>
                  <a:pt x="438" y="194"/>
                </a:lnTo>
                <a:lnTo>
                  <a:pt x="427" y="194"/>
                </a:lnTo>
                <a:lnTo>
                  <a:pt x="413" y="195"/>
                </a:lnTo>
                <a:lnTo>
                  <a:pt x="397" y="197"/>
                </a:lnTo>
                <a:lnTo>
                  <a:pt x="376" y="200"/>
                </a:lnTo>
                <a:lnTo>
                  <a:pt x="355" y="203"/>
                </a:lnTo>
                <a:lnTo>
                  <a:pt x="336" y="204"/>
                </a:lnTo>
                <a:lnTo>
                  <a:pt x="321" y="205"/>
                </a:lnTo>
                <a:lnTo>
                  <a:pt x="307" y="206"/>
                </a:lnTo>
                <a:lnTo>
                  <a:pt x="297" y="205"/>
                </a:lnTo>
                <a:lnTo>
                  <a:pt x="286" y="203"/>
                </a:lnTo>
                <a:lnTo>
                  <a:pt x="277" y="201"/>
                </a:lnTo>
                <a:lnTo>
                  <a:pt x="268" y="195"/>
                </a:lnTo>
                <a:lnTo>
                  <a:pt x="264" y="193"/>
                </a:lnTo>
                <a:lnTo>
                  <a:pt x="261" y="190"/>
                </a:lnTo>
                <a:lnTo>
                  <a:pt x="259" y="187"/>
                </a:lnTo>
                <a:lnTo>
                  <a:pt x="257" y="182"/>
                </a:lnTo>
                <a:lnTo>
                  <a:pt x="254" y="179"/>
                </a:lnTo>
                <a:lnTo>
                  <a:pt x="253" y="174"/>
                </a:lnTo>
                <a:lnTo>
                  <a:pt x="252" y="169"/>
                </a:lnTo>
                <a:lnTo>
                  <a:pt x="252" y="164"/>
                </a:lnTo>
                <a:lnTo>
                  <a:pt x="252" y="158"/>
                </a:lnTo>
                <a:lnTo>
                  <a:pt x="254" y="150"/>
                </a:lnTo>
                <a:lnTo>
                  <a:pt x="257" y="143"/>
                </a:lnTo>
                <a:lnTo>
                  <a:pt x="259" y="137"/>
                </a:lnTo>
                <a:lnTo>
                  <a:pt x="266" y="125"/>
                </a:lnTo>
                <a:lnTo>
                  <a:pt x="274" y="115"/>
                </a:lnTo>
                <a:lnTo>
                  <a:pt x="281" y="106"/>
                </a:lnTo>
                <a:lnTo>
                  <a:pt x="288" y="93"/>
                </a:lnTo>
                <a:lnTo>
                  <a:pt x="291" y="86"/>
                </a:lnTo>
                <a:lnTo>
                  <a:pt x="293" y="79"/>
                </a:lnTo>
                <a:lnTo>
                  <a:pt x="294" y="71"/>
                </a:lnTo>
                <a:lnTo>
                  <a:pt x="294" y="64"/>
                </a:lnTo>
                <a:lnTo>
                  <a:pt x="294" y="56"/>
                </a:lnTo>
                <a:lnTo>
                  <a:pt x="293" y="50"/>
                </a:lnTo>
                <a:lnTo>
                  <a:pt x="292" y="43"/>
                </a:lnTo>
                <a:lnTo>
                  <a:pt x="289" y="37"/>
                </a:lnTo>
                <a:lnTo>
                  <a:pt x="287" y="31"/>
                </a:lnTo>
                <a:lnTo>
                  <a:pt x="282" y="26"/>
                </a:lnTo>
                <a:lnTo>
                  <a:pt x="279" y="21"/>
                </a:lnTo>
                <a:lnTo>
                  <a:pt x="274" y="16"/>
                </a:lnTo>
                <a:lnTo>
                  <a:pt x="268" y="13"/>
                </a:lnTo>
                <a:lnTo>
                  <a:pt x="263" y="10"/>
                </a:lnTo>
                <a:lnTo>
                  <a:pt x="258" y="6"/>
                </a:lnTo>
                <a:lnTo>
                  <a:pt x="251" y="4"/>
                </a:lnTo>
                <a:lnTo>
                  <a:pt x="245" y="2"/>
                </a:lnTo>
                <a:lnTo>
                  <a:pt x="237" y="1"/>
                </a:lnTo>
                <a:lnTo>
                  <a:pt x="231" y="0"/>
                </a:lnTo>
                <a:lnTo>
                  <a:pt x="223" y="0"/>
                </a:lnTo>
                <a:lnTo>
                  <a:pt x="216" y="0"/>
                </a:lnTo>
                <a:lnTo>
                  <a:pt x="208" y="1"/>
                </a:lnTo>
                <a:lnTo>
                  <a:pt x="200" y="2"/>
                </a:lnTo>
                <a:lnTo>
                  <a:pt x="193" y="4"/>
                </a:lnTo>
                <a:lnTo>
                  <a:pt x="186" y="6"/>
                </a:lnTo>
                <a:lnTo>
                  <a:pt x="180" y="10"/>
                </a:lnTo>
                <a:lnTo>
                  <a:pt x="174" y="13"/>
                </a:lnTo>
                <a:lnTo>
                  <a:pt x="168" y="17"/>
                </a:lnTo>
                <a:lnTo>
                  <a:pt x="163" y="21"/>
                </a:lnTo>
                <a:lnTo>
                  <a:pt x="158" y="27"/>
                </a:lnTo>
                <a:lnTo>
                  <a:pt x="155" y="32"/>
                </a:lnTo>
                <a:lnTo>
                  <a:pt x="152" y="38"/>
                </a:lnTo>
                <a:lnTo>
                  <a:pt x="149" y="44"/>
                </a:lnTo>
                <a:lnTo>
                  <a:pt x="147" y="51"/>
                </a:lnTo>
                <a:lnTo>
                  <a:pt x="146" y="58"/>
                </a:lnTo>
                <a:lnTo>
                  <a:pt x="145" y="66"/>
                </a:lnTo>
                <a:lnTo>
                  <a:pt x="146" y="73"/>
                </a:lnTo>
                <a:lnTo>
                  <a:pt x="147" y="82"/>
                </a:lnTo>
                <a:lnTo>
                  <a:pt x="149" y="90"/>
                </a:lnTo>
                <a:lnTo>
                  <a:pt x="152" y="97"/>
                </a:lnTo>
                <a:lnTo>
                  <a:pt x="157" y="111"/>
                </a:lnTo>
                <a:lnTo>
                  <a:pt x="165" y="122"/>
                </a:lnTo>
                <a:lnTo>
                  <a:pt x="171" y="132"/>
                </a:lnTo>
                <a:lnTo>
                  <a:pt x="177" y="141"/>
                </a:lnTo>
                <a:lnTo>
                  <a:pt x="180" y="147"/>
                </a:lnTo>
                <a:lnTo>
                  <a:pt x="181" y="152"/>
                </a:lnTo>
                <a:lnTo>
                  <a:pt x="182" y="156"/>
                </a:lnTo>
                <a:lnTo>
                  <a:pt x="183" y="161"/>
                </a:lnTo>
                <a:lnTo>
                  <a:pt x="182" y="169"/>
                </a:lnTo>
                <a:lnTo>
                  <a:pt x="179" y="178"/>
                </a:lnTo>
                <a:lnTo>
                  <a:pt x="173" y="187"/>
                </a:lnTo>
                <a:lnTo>
                  <a:pt x="165" y="195"/>
                </a:lnTo>
                <a:lnTo>
                  <a:pt x="162" y="197"/>
                </a:lnTo>
                <a:lnTo>
                  <a:pt x="157" y="201"/>
                </a:lnTo>
                <a:lnTo>
                  <a:pt x="153" y="203"/>
                </a:lnTo>
                <a:lnTo>
                  <a:pt x="147" y="205"/>
                </a:lnTo>
                <a:lnTo>
                  <a:pt x="135" y="207"/>
                </a:lnTo>
                <a:lnTo>
                  <a:pt x="120" y="208"/>
                </a:lnTo>
                <a:lnTo>
                  <a:pt x="101" y="207"/>
                </a:lnTo>
                <a:lnTo>
                  <a:pt x="79" y="206"/>
                </a:lnTo>
                <a:lnTo>
                  <a:pt x="55" y="203"/>
                </a:lnTo>
                <a:lnTo>
                  <a:pt x="28" y="199"/>
                </a:lnTo>
                <a:lnTo>
                  <a:pt x="24" y="199"/>
                </a:lnTo>
                <a:lnTo>
                  <a:pt x="19" y="197"/>
                </a:lnTo>
                <a:lnTo>
                  <a:pt x="12" y="196"/>
                </a:lnTo>
                <a:lnTo>
                  <a:pt x="6" y="195"/>
                </a:lnTo>
                <a:lnTo>
                  <a:pt x="2" y="195"/>
                </a:lnTo>
                <a:lnTo>
                  <a:pt x="0" y="194"/>
                </a:lnTo>
                <a:lnTo>
                  <a:pt x="0" y="584"/>
                </a:lnTo>
                <a:lnTo>
                  <a:pt x="0" y="584"/>
                </a:lnTo>
                <a:lnTo>
                  <a:pt x="1" y="584"/>
                </a:lnTo>
                <a:lnTo>
                  <a:pt x="1" y="585"/>
                </a:lnTo>
                <a:lnTo>
                  <a:pt x="2" y="585"/>
                </a:lnTo>
                <a:lnTo>
                  <a:pt x="7" y="585"/>
                </a:lnTo>
                <a:lnTo>
                  <a:pt x="11" y="586"/>
                </a:lnTo>
                <a:lnTo>
                  <a:pt x="17" y="587"/>
                </a:lnTo>
                <a:lnTo>
                  <a:pt x="23" y="588"/>
                </a:lnTo>
                <a:lnTo>
                  <a:pt x="28" y="588"/>
                </a:lnTo>
                <a:lnTo>
                  <a:pt x="55" y="593"/>
                </a:lnTo>
                <a:lnTo>
                  <a:pt x="79" y="596"/>
                </a:lnTo>
                <a:lnTo>
                  <a:pt x="101" y="597"/>
                </a:lnTo>
                <a:lnTo>
                  <a:pt x="120" y="598"/>
                </a:lnTo>
                <a:lnTo>
                  <a:pt x="135" y="597"/>
                </a:lnTo>
                <a:lnTo>
                  <a:pt x="147" y="595"/>
                </a:lnTo>
                <a:lnTo>
                  <a:pt x="153" y="593"/>
                </a:lnTo>
                <a:lnTo>
                  <a:pt x="157" y="591"/>
                </a:lnTo>
                <a:lnTo>
                  <a:pt x="162" y="587"/>
                </a:lnTo>
                <a:lnTo>
                  <a:pt x="165" y="584"/>
                </a:lnTo>
                <a:lnTo>
                  <a:pt x="173" y="576"/>
                </a:lnTo>
                <a:lnTo>
                  <a:pt x="179" y="568"/>
                </a:lnTo>
                <a:lnTo>
                  <a:pt x="182" y="559"/>
                </a:lnTo>
                <a:lnTo>
                  <a:pt x="183" y="551"/>
                </a:lnTo>
                <a:lnTo>
                  <a:pt x="182" y="546"/>
                </a:lnTo>
                <a:lnTo>
                  <a:pt x="181" y="542"/>
                </a:lnTo>
                <a:lnTo>
                  <a:pt x="180" y="537"/>
                </a:lnTo>
                <a:lnTo>
                  <a:pt x="177" y="531"/>
                </a:lnTo>
                <a:lnTo>
                  <a:pt x="171" y="521"/>
                </a:lnTo>
                <a:lnTo>
                  <a:pt x="165" y="512"/>
                </a:lnTo>
                <a:lnTo>
                  <a:pt x="157" y="501"/>
                </a:lnTo>
                <a:lnTo>
                  <a:pt x="152" y="487"/>
                </a:lnTo>
                <a:lnTo>
                  <a:pt x="149" y="479"/>
                </a:lnTo>
                <a:lnTo>
                  <a:pt x="147" y="471"/>
                </a:lnTo>
                <a:lnTo>
                  <a:pt x="146" y="463"/>
                </a:lnTo>
                <a:lnTo>
                  <a:pt x="145" y="456"/>
                </a:lnTo>
                <a:lnTo>
                  <a:pt x="146" y="448"/>
                </a:lnTo>
                <a:lnTo>
                  <a:pt x="147" y="440"/>
                </a:lnTo>
                <a:lnTo>
                  <a:pt x="149" y="434"/>
                </a:lnTo>
                <a:lnTo>
                  <a:pt x="152" y="427"/>
                </a:lnTo>
                <a:lnTo>
                  <a:pt x="155" y="421"/>
                </a:lnTo>
                <a:lnTo>
                  <a:pt x="158" y="416"/>
                </a:lnTo>
                <a:lnTo>
                  <a:pt x="163" y="411"/>
                </a:lnTo>
                <a:lnTo>
                  <a:pt x="168" y="407"/>
                </a:lnTo>
                <a:lnTo>
                  <a:pt x="174" y="403"/>
                </a:lnTo>
                <a:lnTo>
                  <a:pt x="180" y="399"/>
                </a:lnTo>
                <a:lnTo>
                  <a:pt x="186" y="396"/>
                </a:lnTo>
                <a:lnTo>
                  <a:pt x="193" y="394"/>
                </a:lnTo>
                <a:lnTo>
                  <a:pt x="200" y="392"/>
                </a:lnTo>
                <a:lnTo>
                  <a:pt x="207" y="391"/>
                </a:lnTo>
                <a:lnTo>
                  <a:pt x="214" y="390"/>
                </a:lnTo>
                <a:lnTo>
                  <a:pt x="223" y="390"/>
                </a:lnTo>
                <a:lnTo>
                  <a:pt x="231" y="390"/>
                </a:lnTo>
                <a:lnTo>
                  <a:pt x="237" y="391"/>
                </a:lnTo>
                <a:lnTo>
                  <a:pt x="245" y="392"/>
                </a:lnTo>
                <a:lnTo>
                  <a:pt x="251" y="394"/>
                </a:lnTo>
                <a:lnTo>
                  <a:pt x="258" y="396"/>
                </a:lnTo>
                <a:lnTo>
                  <a:pt x="263" y="398"/>
                </a:lnTo>
                <a:lnTo>
                  <a:pt x="268" y="403"/>
                </a:lnTo>
                <a:lnTo>
                  <a:pt x="274" y="406"/>
                </a:lnTo>
                <a:lnTo>
                  <a:pt x="279" y="410"/>
                </a:lnTo>
                <a:lnTo>
                  <a:pt x="284" y="416"/>
                </a:lnTo>
                <a:lnTo>
                  <a:pt x="287" y="421"/>
                </a:lnTo>
                <a:lnTo>
                  <a:pt x="289" y="426"/>
                </a:lnTo>
                <a:lnTo>
                  <a:pt x="292" y="433"/>
                </a:lnTo>
                <a:lnTo>
                  <a:pt x="293" y="439"/>
                </a:lnTo>
                <a:lnTo>
                  <a:pt x="294" y="446"/>
                </a:lnTo>
                <a:lnTo>
                  <a:pt x="294" y="453"/>
                </a:lnTo>
                <a:lnTo>
                  <a:pt x="294" y="461"/>
                </a:lnTo>
                <a:lnTo>
                  <a:pt x="293" y="469"/>
                </a:lnTo>
                <a:lnTo>
                  <a:pt x="291" y="476"/>
                </a:lnTo>
                <a:lnTo>
                  <a:pt x="288" y="483"/>
                </a:lnTo>
                <a:lnTo>
                  <a:pt x="281" y="495"/>
                </a:lnTo>
                <a:lnTo>
                  <a:pt x="274" y="505"/>
                </a:lnTo>
                <a:lnTo>
                  <a:pt x="266" y="515"/>
                </a:lnTo>
                <a:lnTo>
                  <a:pt x="259" y="527"/>
                </a:lnTo>
                <a:lnTo>
                  <a:pt x="257" y="533"/>
                </a:lnTo>
                <a:lnTo>
                  <a:pt x="254" y="540"/>
                </a:lnTo>
                <a:lnTo>
                  <a:pt x="252" y="546"/>
                </a:lnTo>
                <a:lnTo>
                  <a:pt x="252" y="554"/>
                </a:lnTo>
                <a:lnTo>
                  <a:pt x="252" y="559"/>
                </a:lnTo>
                <a:lnTo>
                  <a:pt x="253" y="564"/>
                </a:lnTo>
                <a:lnTo>
                  <a:pt x="254" y="568"/>
                </a:lnTo>
                <a:lnTo>
                  <a:pt x="257" y="572"/>
                </a:lnTo>
                <a:lnTo>
                  <a:pt x="259" y="576"/>
                </a:lnTo>
                <a:lnTo>
                  <a:pt x="261" y="580"/>
                </a:lnTo>
                <a:lnTo>
                  <a:pt x="264" y="583"/>
                </a:lnTo>
                <a:lnTo>
                  <a:pt x="268" y="585"/>
                </a:lnTo>
                <a:lnTo>
                  <a:pt x="277" y="589"/>
                </a:lnTo>
                <a:lnTo>
                  <a:pt x="286" y="593"/>
                </a:lnTo>
                <a:lnTo>
                  <a:pt x="297" y="595"/>
                </a:lnTo>
                <a:lnTo>
                  <a:pt x="307" y="596"/>
                </a:lnTo>
                <a:lnTo>
                  <a:pt x="316" y="595"/>
                </a:lnTo>
                <a:lnTo>
                  <a:pt x="326" y="595"/>
                </a:lnTo>
                <a:lnTo>
                  <a:pt x="335" y="595"/>
                </a:lnTo>
                <a:lnTo>
                  <a:pt x="345" y="594"/>
                </a:lnTo>
                <a:lnTo>
                  <a:pt x="355" y="593"/>
                </a:lnTo>
                <a:lnTo>
                  <a:pt x="366" y="592"/>
                </a:lnTo>
                <a:lnTo>
                  <a:pt x="376" y="589"/>
                </a:lnTo>
                <a:lnTo>
                  <a:pt x="388" y="588"/>
                </a:lnTo>
                <a:lnTo>
                  <a:pt x="400" y="587"/>
                </a:lnTo>
                <a:lnTo>
                  <a:pt x="410" y="586"/>
                </a:lnTo>
                <a:lnTo>
                  <a:pt x="419" y="585"/>
                </a:lnTo>
                <a:lnTo>
                  <a:pt x="426" y="584"/>
                </a:lnTo>
                <a:lnTo>
                  <a:pt x="432" y="584"/>
                </a:lnTo>
                <a:lnTo>
                  <a:pt x="438" y="584"/>
                </a:lnTo>
                <a:lnTo>
                  <a:pt x="438" y="582"/>
                </a:lnTo>
                <a:lnTo>
                  <a:pt x="438" y="573"/>
                </a:lnTo>
                <a:lnTo>
                  <a:pt x="437" y="564"/>
                </a:lnTo>
                <a:lnTo>
                  <a:pt x="436" y="552"/>
                </a:lnTo>
                <a:lnTo>
                  <a:pt x="433" y="538"/>
                </a:lnTo>
                <a:lnTo>
                  <a:pt x="430" y="525"/>
                </a:lnTo>
                <a:lnTo>
                  <a:pt x="428" y="513"/>
                </a:lnTo>
                <a:lnTo>
                  <a:pt x="427" y="503"/>
                </a:lnTo>
                <a:lnTo>
                  <a:pt x="426" y="494"/>
                </a:lnTo>
                <a:lnTo>
                  <a:pt x="427" y="484"/>
                </a:lnTo>
                <a:lnTo>
                  <a:pt x="429" y="474"/>
                </a:lnTo>
                <a:lnTo>
                  <a:pt x="433" y="465"/>
                </a:lnTo>
                <a:lnTo>
                  <a:pt x="437" y="459"/>
                </a:lnTo>
                <a:lnTo>
                  <a:pt x="443" y="453"/>
                </a:lnTo>
                <a:lnTo>
                  <a:pt x="450" y="450"/>
                </a:lnTo>
                <a:lnTo>
                  <a:pt x="459" y="448"/>
                </a:lnTo>
                <a:lnTo>
                  <a:pt x="468" y="447"/>
                </a:lnTo>
                <a:lnTo>
                  <a:pt x="476" y="448"/>
                </a:lnTo>
                <a:lnTo>
                  <a:pt x="482" y="449"/>
                </a:lnTo>
                <a:lnTo>
                  <a:pt x="489" y="451"/>
                </a:lnTo>
                <a:lnTo>
                  <a:pt x="495" y="453"/>
                </a:lnTo>
                <a:lnTo>
                  <a:pt x="507" y="461"/>
                </a:lnTo>
                <a:lnTo>
                  <a:pt x="517" y="469"/>
                </a:lnTo>
                <a:lnTo>
                  <a:pt x="527" y="476"/>
                </a:lnTo>
                <a:lnTo>
                  <a:pt x="540" y="483"/>
                </a:lnTo>
                <a:lnTo>
                  <a:pt x="546" y="486"/>
                </a:lnTo>
                <a:lnTo>
                  <a:pt x="554" y="488"/>
                </a:lnTo>
                <a:lnTo>
                  <a:pt x="561" y="489"/>
                </a:lnTo>
                <a:lnTo>
                  <a:pt x="569" y="489"/>
                </a:lnTo>
                <a:lnTo>
                  <a:pt x="576" y="489"/>
                </a:lnTo>
                <a:lnTo>
                  <a:pt x="583" y="488"/>
                </a:lnTo>
                <a:lnTo>
                  <a:pt x="589" y="487"/>
                </a:lnTo>
                <a:lnTo>
                  <a:pt x="596" y="485"/>
                </a:lnTo>
                <a:lnTo>
                  <a:pt x="601" y="481"/>
                </a:lnTo>
                <a:lnTo>
                  <a:pt x="606" y="478"/>
                </a:lnTo>
                <a:lnTo>
                  <a:pt x="612" y="474"/>
                </a:lnTo>
                <a:lnTo>
                  <a:pt x="616" y="469"/>
                </a:lnTo>
                <a:lnTo>
                  <a:pt x="619" y="463"/>
                </a:lnTo>
                <a:lnTo>
                  <a:pt x="624" y="458"/>
                </a:lnTo>
                <a:lnTo>
                  <a:pt x="626" y="452"/>
                </a:lnTo>
                <a:lnTo>
                  <a:pt x="629" y="446"/>
                </a:lnTo>
                <a:lnTo>
                  <a:pt x="630" y="439"/>
                </a:lnTo>
                <a:lnTo>
                  <a:pt x="631" y="432"/>
                </a:lnTo>
                <a:lnTo>
                  <a:pt x="632" y="425"/>
                </a:lnTo>
                <a:lnTo>
                  <a:pt x="632" y="418"/>
                </a:lnTo>
                <a:lnTo>
                  <a:pt x="632" y="409"/>
                </a:lnTo>
                <a:lnTo>
                  <a:pt x="631" y="402"/>
                </a:lnTo>
                <a:lnTo>
                  <a:pt x="630" y="395"/>
                </a:lnTo>
                <a:lnTo>
                  <a:pt x="628" y="388"/>
                </a:lnTo>
                <a:lnTo>
                  <a:pt x="626" y="381"/>
                </a:lnTo>
                <a:lnTo>
                  <a:pt x="623" y="375"/>
                </a:lnTo>
                <a:lnTo>
                  <a:pt x="619" y="369"/>
                </a:lnTo>
                <a:lnTo>
                  <a:pt x="615" y="363"/>
                </a:lnTo>
                <a:close/>
              </a:path>
            </a:pathLst>
          </a:custGeom>
          <a:solidFill>
            <a:schemeClr val="bg1"/>
          </a:solidFill>
          <a:ln>
            <a:noFill/>
          </a:ln>
        </p:spPr>
        <p:txBody>
          <a:bodyPr vert="horz" wrap="square" lIns="487552" tIns="243776" rIns="487552" bIns="243776" numCol="1" anchor="t" anchorCtr="0" compatLnSpc="1">
            <a:prstTxWarp prst="textNoShape">
              <a:avLst/>
            </a:prstTxWarp>
          </a:bodyPr>
          <a:lstStyle/>
          <a:p>
            <a:endParaRPr lang="ru-RU" sz="4800"/>
          </a:p>
        </p:txBody>
      </p:sp>
    </p:spTree>
    <p:extLst>
      <p:ext uri="{BB962C8B-B14F-4D97-AF65-F5344CB8AC3E}">
        <p14:creationId xmlns:p14="http://schemas.microsoft.com/office/powerpoint/2010/main" val="1590018713"/>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Chapter name with number on colour background or image">
    <p:bg>
      <p:bgPr>
        <a:solidFill>
          <a:schemeClr val="bg1"/>
        </a:solidFill>
        <a:effectLst/>
      </p:bgPr>
    </p:bg>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85D87CF5-198A-D24A-8C46-75F45766C3CF}"/>
              </a:ext>
            </a:extLst>
          </p:cNvPr>
          <p:cNvSpPr>
            <a:spLocks noGrp="1"/>
          </p:cNvSpPr>
          <p:nvPr>
            <p:ph type="pic" sz="quarter" idx="14" hasCustomPrompt="1"/>
          </p:nvPr>
        </p:nvSpPr>
        <p:spPr>
          <a:xfrm>
            <a:off x="0" y="0"/>
            <a:ext cx="24382413" cy="1371600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Select a colour for background. Or drag and drop to add a picture</a:t>
            </a:r>
          </a:p>
        </p:txBody>
      </p:sp>
      <p:sp>
        <p:nvSpPr>
          <p:cNvPr id="15" name="Text Placeholder 4">
            <a:extLst>
              <a:ext uri="{FF2B5EF4-FFF2-40B4-BE49-F238E27FC236}">
                <a16:creationId xmlns:a16="http://schemas.microsoft.com/office/drawing/2014/main" id="{D692063E-373D-9A4C-B3F2-4CED294F18A0}"/>
              </a:ext>
            </a:extLst>
          </p:cNvPr>
          <p:cNvSpPr>
            <a:spLocks noGrp="1"/>
          </p:cNvSpPr>
          <p:nvPr>
            <p:ph type="body" sz="quarter" idx="11" hasCustomPrompt="1"/>
          </p:nvPr>
        </p:nvSpPr>
        <p:spPr>
          <a:xfrm>
            <a:off x="481101" y="3905672"/>
            <a:ext cx="8076674" cy="5904656"/>
          </a:xfrm>
        </p:spPr>
        <p:txBody>
          <a:bodyPr anchor="ctr" anchorCtr="0">
            <a:noAutofit/>
          </a:bodyPr>
          <a:lstStyle>
            <a:lvl1pPr marL="0" indent="0" algn="ctr">
              <a:buNone/>
              <a:defRPr sz="49996" b="1" spc="-600" baseline="0">
                <a:ln>
                  <a:noFill/>
                </a:ln>
                <a:solidFill>
                  <a:schemeClr val="tx1"/>
                </a:solidFill>
              </a:defRPr>
            </a:lvl1pPr>
          </a:lstStyle>
          <a:p>
            <a:pPr lvl="0"/>
            <a:r>
              <a:rPr lang="en-GB" noProof="0"/>
              <a:t>#</a:t>
            </a:r>
          </a:p>
        </p:txBody>
      </p:sp>
      <p:sp>
        <p:nvSpPr>
          <p:cNvPr id="8" name="Subtitle 2">
            <a:extLst>
              <a:ext uri="{FF2B5EF4-FFF2-40B4-BE49-F238E27FC236}">
                <a16:creationId xmlns:a16="http://schemas.microsoft.com/office/drawing/2014/main" id="{03179F04-E3DD-714F-9E83-2F320F41AF4B}"/>
              </a:ext>
            </a:extLst>
          </p:cNvPr>
          <p:cNvSpPr>
            <a:spLocks noGrp="1"/>
          </p:cNvSpPr>
          <p:nvPr>
            <p:ph type="subTitle" idx="1" hasCustomPrompt="1"/>
          </p:nvPr>
        </p:nvSpPr>
        <p:spPr>
          <a:xfrm>
            <a:off x="8784128" y="3905672"/>
            <a:ext cx="14400663" cy="5904656"/>
          </a:xfrm>
        </p:spPr>
        <p:txBody>
          <a:bodyPr anchor="ctr" anchorCtr="0">
            <a:noAutofit/>
          </a:bodyPr>
          <a:lstStyle>
            <a:lvl1pPr marL="0" indent="0" algn="l">
              <a:lnSpc>
                <a:spcPct val="100000"/>
              </a:lnSpc>
              <a:buNone/>
              <a:defRPr sz="11999" b="1" spc="-200" baseline="0">
                <a:latin typeface="Noto IKEA Latin" panose="020B050204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GB" noProof="0"/>
              <a:t>Put the chapter headline here, </a:t>
            </a:r>
            <a:br>
              <a:rPr lang="en-GB" noProof="0"/>
            </a:br>
            <a:r>
              <a:rPr lang="en-GB" noProof="0"/>
              <a:t>keep it bold 60 pt</a:t>
            </a:r>
          </a:p>
        </p:txBody>
      </p:sp>
      <p:sp>
        <p:nvSpPr>
          <p:cNvPr id="2" name="Footer Placeholder 1">
            <a:extLst>
              <a:ext uri="{FF2B5EF4-FFF2-40B4-BE49-F238E27FC236}">
                <a16:creationId xmlns:a16="http://schemas.microsoft.com/office/drawing/2014/main" id="{876CF0F0-F83A-094D-B7DE-7F6CCAEE674B}"/>
              </a:ext>
            </a:extLst>
          </p:cNvPr>
          <p:cNvSpPr>
            <a:spLocks noGrp="1"/>
          </p:cNvSpPr>
          <p:nvPr>
            <p:ph type="ftr" sz="quarter" idx="15"/>
          </p:nvPr>
        </p:nvSpPr>
        <p:spPr>
          <a:xfrm>
            <a:off x="1676291" y="12762655"/>
            <a:ext cx="10514916" cy="586238"/>
          </a:xfrm>
          <a:prstGeom prst="rect">
            <a:avLst/>
          </a:prstGeom>
        </p:spPr>
        <p:txBody>
          <a:bodyPr/>
          <a:lstStyle/>
          <a:p>
            <a:endParaRPr lang="en-GB" noProof="0"/>
          </a:p>
        </p:txBody>
      </p:sp>
      <p:sp>
        <p:nvSpPr>
          <p:cNvPr id="9" name="Text Placeholder 3">
            <a:extLst>
              <a:ext uri="{FF2B5EF4-FFF2-40B4-BE49-F238E27FC236}">
                <a16:creationId xmlns:a16="http://schemas.microsoft.com/office/drawing/2014/main" id="{F8BD17D0-4B46-D44C-A53F-CFC6399AEEEB}"/>
              </a:ext>
            </a:extLst>
          </p:cNvPr>
          <p:cNvSpPr>
            <a:spLocks noGrp="1"/>
          </p:cNvSpPr>
          <p:nvPr>
            <p:ph type="body" sz="quarter" idx="18"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1</a:t>
            </a:r>
            <a:endParaRPr lang="en-GB"/>
          </a:p>
        </p:txBody>
      </p:sp>
    </p:spTree>
    <p:extLst>
      <p:ext uri="{BB962C8B-B14F-4D97-AF65-F5344CB8AC3E}">
        <p14:creationId xmlns:p14="http://schemas.microsoft.com/office/powerpoint/2010/main" val="3815585871"/>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Chapter name with number on texture or image">
    <p:bg>
      <p:bgPr>
        <a:solidFill>
          <a:schemeClr val="bg1"/>
        </a:solidFill>
        <a:effectLst/>
      </p:bgPr>
    </p:bg>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C2E2C76C-B512-4744-83A7-60E61AA545D5}"/>
              </a:ext>
            </a:extLst>
          </p:cNvPr>
          <p:cNvSpPr>
            <a:spLocks noGrp="1"/>
          </p:cNvSpPr>
          <p:nvPr>
            <p:ph type="pic" sz="quarter" idx="14" hasCustomPrompt="1"/>
          </p:nvPr>
        </p:nvSpPr>
        <p:spPr>
          <a:xfrm>
            <a:off x="0" y="0"/>
            <a:ext cx="24382413" cy="1371600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Select a colour for background. Or drag and drop to add a picture</a:t>
            </a:r>
          </a:p>
        </p:txBody>
      </p:sp>
      <p:sp>
        <p:nvSpPr>
          <p:cNvPr id="5" name="Picture Placeholder 4">
            <a:extLst>
              <a:ext uri="{FF2B5EF4-FFF2-40B4-BE49-F238E27FC236}">
                <a16:creationId xmlns:a16="http://schemas.microsoft.com/office/drawing/2014/main" id="{FB1122C6-C8D2-B547-ADCC-E7F92107FD3B}"/>
              </a:ext>
            </a:extLst>
          </p:cNvPr>
          <p:cNvSpPr>
            <a:spLocks noGrp="1"/>
          </p:cNvSpPr>
          <p:nvPr>
            <p:ph type="pic" sz="quarter" idx="18" hasCustomPrompt="1"/>
          </p:nvPr>
        </p:nvSpPr>
        <p:spPr>
          <a:xfrm>
            <a:off x="1677880" y="3649662"/>
            <a:ext cx="21026657" cy="6416676"/>
          </a:xfrm>
          <a:solidFill>
            <a:schemeClr val="bg1"/>
          </a:solidFill>
        </p:spPr>
        <p:txBody>
          <a:bodyPr/>
          <a:lstStyle/>
          <a:p>
            <a:r>
              <a:rPr lang="en-GB" noProof="0"/>
              <a:t> </a:t>
            </a:r>
          </a:p>
        </p:txBody>
      </p:sp>
      <p:sp>
        <p:nvSpPr>
          <p:cNvPr id="8" name="Subtitle 2">
            <a:extLst>
              <a:ext uri="{FF2B5EF4-FFF2-40B4-BE49-F238E27FC236}">
                <a16:creationId xmlns:a16="http://schemas.microsoft.com/office/drawing/2014/main" id="{03179F04-E3DD-714F-9E83-2F320F41AF4B}"/>
              </a:ext>
            </a:extLst>
          </p:cNvPr>
          <p:cNvSpPr>
            <a:spLocks noGrp="1"/>
          </p:cNvSpPr>
          <p:nvPr>
            <p:ph type="subTitle" idx="1" hasCustomPrompt="1"/>
          </p:nvPr>
        </p:nvSpPr>
        <p:spPr>
          <a:xfrm>
            <a:off x="6718955" y="5069835"/>
            <a:ext cx="15408709" cy="3604518"/>
          </a:xfrm>
        </p:spPr>
        <p:txBody>
          <a:bodyPr anchor="ctr">
            <a:noAutofit/>
          </a:bodyPr>
          <a:lstStyle>
            <a:lvl1pPr marL="0" indent="0" algn="l">
              <a:lnSpc>
                <a:spcPct val="100000"/>
              </a:lnSpc>
              <a:buNone/>
              <a:defRPr sz="11999" b="1" spc="-200" baseline="0">
                <a:latin typeface="Noto IKEA Latin" panose="020B050204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GB" noProof="0"/>
              <a:t>Put the chapter headline here</a:t>
            </a:r>
          </a:p>
        </p:txBody>
      </p:sp>
      <p:sp>
        <p:nvSpPr>
          <p:cNvPr id="11" name="Text Placeholder 4">
            <a:extLst>
              <a:ext uri="{FF2B5EF4-FFF2-40B4-BE49-F238E27FC236}">
                <a16:creationId xmlns:a16="http://schemas.microsoft.com/office/drawing/2014/main" id="{E6CA9D82-2C12-3A47-9717-927FD5070851}"/>
              </a:ext>
            </a:extLst>
          </p:cNvPr>
          <p:cNvSpPr>
            <a:spLocks noGrp="1"/>
          </p:cNvSpPr>
          <p:nvPr>
            <p:ph type="body" sz="quarter" idx="11" hasCustomPrompt="1"/>
          </p:nvPr>
        </p:nvSpPr>
        <p:spPr>
          <a:xfrm>
            <a:off x="1700165" y="5069835"/>
            <a:ext cx="4874783" cy="3604518"/>
          </a:xfrm>
        </p:spPr>
        <p:txBody>
          <a:bodyPr anchor="ctr">
            <a:noAutofit/>
          </a:bodyPr>
          <a:lstStyle>
            <a:lvl1pPr marL="0" indent="0" algn="ctr">
              <a:lnSpc>
                <a:spcPct val="100000"/>
              </a:lnSpc>
              <a:buNone/>
              <a:defRPr sz="29999" b="1" spc="-600" baseline="0">
                <a:ln>
                  <a:noFill/>
                </a:ln>
                <a:solidFill>
                  <a:schemeClr val="tx1"/>
                </a:solidFill>
              </a:defRPr>
            </a:lvl1pPr>
          </a:lstStyle>
          <a:p>
            <a:pPr lvl="0"/>
            <a:r>
              <a:rPr lang="en-GB" noProof="0"/>
              <a:t>#</a:t>
            </a:r>
          </a:p>
        </p:txBody>
      </p:sp>
      <p:sp>
        <p:nvSpPr>
          <p:cNvPr id="3" name="Footer Placeholder 2">
            <a:extLst>
              <a:ext uri="{FF2B5EF4-FFF2-40B4-BE49-F238E27FC236}">
                <a16:creationId xmlns:a16="http://schemas.microsoft.com/office/drawing/2014/main" id="{54B6BFA2-123E-BC45-8C9A-C7B68BAB5E7A}"/>
              </a:ext>
            </a:extLst>
          </p:cNvPr>
          <p:cNvSpPr>
            <a:spLocks noGrp="1"/>
          </p:cNvSpPr>
          <p:nvPr>
            <p:ph type="ftr" sz="quarter" idx="15"/>
          </p:nvPr>
        </p:nvSpPr>
        <p:spPr>
          <a:xfrm>
            <a:off x="1676291" y="12762655"/>
            <a:ext cx="10514916" cy="586238"/>
          </a:xfrm>
          <a:prstGeom prst="rect">
            <a:avLst/>
          </a:prstGeom>
        </p:spPr>
        <p:txBody>
          <a:bodyPr/>
          <a:lstStyle/>
          <a:p>
            <a:endParaRPr lang="en-GB" noProof="0"/>
          </a:p>
        </p:txBody>
      </p:sp>
      <p:sp>
        <p:nvSpPr>
          <p:cNvPr id="9" name="Text Placeholder 3">
            <a:extLst>
              <a:ext uri="{FF2B5EF4-FFF2-40B4-BE49-F238E27FC236}">
                <a16:creationId xmlns:a16="http://schemas.microsoft.com/office/drawing/2014/main" id="{CDB35E14-306E-CC47-BA9B-1EED6583B986}"/>
              </a:ext>
            </a:extLst>
          </p:cNvPr>
          <p:cNvSpPr>
            <a:spLocks noGrp="1"/>
          </p:cNvSpPr>
          <p:nvPr>
            <p:ph type="body" sz="quarter" idx="19"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1</a:t>
            </a:r>
            <a:endParaRPr lang="en-GB"/>
          </a:p>
        </p:txBody>
      </p:sp>
    </p:spTree>
    <p:extLst>
      <p:ext uri="{BB962C8B-B14F-4D97-AF65-F5344CB8AC3E}">
        <p14:creationId xmlns:p14="http://schemas.microsoft.com/office/powerpoint/2010/main" val="3645711515"/>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ig statement on white background">
    <p:spTree>
      <p:nvGrpSpPr>
        <p:cNvPr id="1" name=""/>
        <p:cNvGrpSpPr/>
        <p:nvPr/>
      </p:nvGrpSpPr>
      <p:grpSpPr>
        <a:xfrm>
          <a:off x="0" y="0"/>
          <a:ext cx="0" cy="0"/>
          <a:chOff x="0" y="0"/>
          <a:chExt cx="0" cy="0"/>
        </a:xfrm>
      </p:grpSpPr>
      <p:sp>
        <p:nvSpPr>
          <p:cNvPr id="6" name="Title Placeholder 6">
            <a:extLst>
              <a:ext uri="{FF2B5EF4-FFF2-40B4-BE49-F238E27FC236}">
                <a16:creationId xmlns:a16="http://schemas.microsoft.com/office/drawing/2014/main" id="{42635088-B65D-C841-9E13-05D7E3443BD4}"/>
              </a:ext>
            </a:extLst>
          </p:cNvPr>
          <p:cNvSpPr>
            <a:spLocks noGrp="1"/>
          </p:cNvSpPr>
          <p:nvPr>
            <p:ph type="title" hasCustomPrompt="1"/>
          </p:nvPr>
        </p:nvSpPr>
        <p:spPr>
          <a:xfrm>
            <a:off x="1677491" y="1692001"/>
            <a:ext cx="21029831" cy="10330998"/>
          </a:xfrm>
          <a:prstGeom prst="rect">
            <a:avLst/>
          </a:prstGeom>
        </p:spPr>
        <p:txBody>
          <a:bodyPr vert="horz" lIns="91440" tIns="45720" rIns="91440" bIns="45720" rtlCol="0" anchor="ctr">
            <a:noAutofit/>
          </a:bodyPr>
          <a:lstStyle>
            <a:lvl1pPr>
              <a:defRPr baseline="0"/>
            </a:lvl1pPr>
          </a:lstStyle>
          <a:p>
            <a:r>
              <a:rPr lang="en-GB" noProof="0"/>
              <a:t>Put a statement here,</a:t>
            </a:r>
            <a:br>
              <a:rPr lang="en-GB" noProof="0"/>
            </a:br>
            <a:r>
              <a:rPr lang="en-GB" noProof="0"/>
              <a:t>keep it bold 60 </a:t>
            </a:r>
            <a:r>
              <a:rPr lang="en-GB" noProof="0" err="1"/>
              <a:t>pt</a:t>
            </a:r>
            <a:endParaRPr lang="en-GB" noProof="0"/>
          </a:p>
        </p:txBody>
      </p:sp>
      <p:sp>
        <p:nvSpPr>
          <p:cNvPr id="2" name="Footer Placeholder 1">
            <a:extLst>
              <a:ext uri="{FF2B5EF4-FFF2-40B4-BE49-F238E27FC236}">
                <a16:creationId xmlns:a16="http://schemas.microsoft.com/office/drawing/2014/main" id="{23EA3E62-0BBF-0B4D-99F6-A5BBE9391CD1}"/>
              </a:ext>
            </a:extLst>
          </p:cNvPr>
          <p:cNvSpPr>
            <a:spLocks noGrp="1"/>
          </p:cNvSpPr>
          <p:nvPr>
            <p:ph type="ftr" sz="quarter" idx="10"/>
          </p:nvPr>
        </p:nvSpPr>
        <p:spPr>
          <a:xfrm>
            <a:off x="1676291" y="12762655"/>
            <a:ext cx="10514916" cy="586238"/>
          </a:xfrm>
          <a:prstGeom prst="rect">
            <a:avLst/>
          </a:prstGeom>
        </p:spPr>
        <p:txBody>
          <a:bodyPr/>
          <a:lstStyle/>
          <a:p>
            <a:endParaRPr lang="en-GB" noProof="0"/>
          </a:p>
        </p:txBody>
      </p:sp>
    </p:spTree>
    <p:extLst>
      <p:ext uri="{BB962C8B-B14F-4D97-AF65-F5344CB8AC3E}">
        <p14:creationId xmlns:p14="http://schemas.microsoft.com/office/powerpoint/2010/main" val="2008795324"/>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ig statement on colour background, texture or image">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0" y="0"/>
            <a:ext cx="24382413" cy="1371600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Select a colour for background. Or drag and drop to add a picture</a:t>
            </a:r>
          </a:p>
        </p:txBody>
      </p:sp>
      <p:sp>
        <p:nvSpPr>
          <p:cNvPr id="10" name="Title Placeholder 6">
            <a:extLst>
              <a:ext uri="{FF2B5EF4-FFF2-40B4-BE49-F238E27FC236}">
                <a16:creationId xmlns:a16="http://schemas.microsoft.com/office/drawing/2014/main" id="{048B0FEC-E6E9-1B42-9F79-233E0858B4AD}"/>
              </a:ext>
            </a:extLst>
          </p:cNvPr>
          <p:cNvSpPr>
            <a:spLocks noGrp="1"/>
          </p:cNvSpPr>
          <p:nvPr>
            <p:ph type="title" hasCustomPrompt="1"/>
          </p:nvPr>
        </p:nvSpPr>
        <p:spPr>
          <a:xfrm>
            <a:off x="1679467" y="1692503"/>
            <a:ext cx="21029831" cy="10330998"/>
          </a:xfrm>
          <a:prstGeom prst="rect">
            <a:avLst/>
          </a:prstGeom>
        </p:spPr>
        <p:txBody>
          <a:bodyPr vert="horz" lIns="91440" tIns="45720" rIns="91440" bIns="45720" rtlCol="0" anchor="ctr">
            <a:noAutofit/>
          </a:bodyPr>
          <a:lstStyle>
            <a:lvl1pPr>
              <a:defRPr/>
            </a:lvl1pPr>
          </a:lstStyle>
          <a:p>
            <a:r>
              <a:rPr lang="en-GB" noProof="0"/>
              <a:t>Put a statement here,</a:t>
            </a:r>
            <a:br>
              <a:rPr lang="en-GB" noProof="0"/>
            </a:br>
            <a:r>
              <a:rPr lang="en-GB" noProof="0"/>
              <a:t>keep it bold 60 </a:t>
            </a:r>
            <a:r>
              <a:rPr lang="en-GB" noProof="0" err="1"/>
              <a:t>pt</a:t>
            </a:r>
            <a:endParaRPr lang="en-GB" noProof="0"/>
          </a:p>
        </p:txBody>
      </p:sp>
      <p:sp>
        <p:nvSpPr>
          <p:cNvPr id="2" name="Footer Placeholder 1">
            <a:extLst>
              <a:ext uri="{FF2B5EF4-FFF2-40B4-BE49-F238E27FC236}">
                <a16:creationId xmlns:a16="http://schemas.microsoft.com/office/drawing/2014/main" id="{CF4CDDA2-0DB6-EC42-BC2B-9EC70BD2CC1F}"/>
              </a:ext>
            </a:extLst>
          </p:cNvPr>
          <p:cNvSpPr>
            <a:spLocks noGrp="1"/>
          </p:cNvSpPr>
          <p:nvPr>
            <p:ph type="ftr" sz="quarter" idx="15"/>
          </p:nvPr>
        </p:nvSpPr>
        <p:spPr>
          <a:xfrm>
            <a:off x="1676291" y="12762655"/>
            <a:ext cx="10514916" cy="586238"/>
          </a:xfrm>
          <a:prstGeom prst="rect">
            <a:avLst/>
          </a:prstGeom>
        </p:spPr>
        <p:txBody>
          <a:bodyPr/>
          <a:lstStyle/>
          <a:p>
            <a:endParaRPr lang="en-GB" noProof="0"/>
          </a:p>
        </p:txBody>
      </p:sp>
      <p:sp>
        <p:nvSpPr>
          <p:cNvPr id="7" name="Text Placeholder 3">
            <a:extLst>
              <a:ext uri="{FF2B5EF4-FFF2-40B4-BE49-F238E27FC236}">
                <a16:creationId xmlns:a16="http://schemas.microsoft.com/office/drawing/2014/main" id="{E7B9ED26-2920-4043-83C2-B0926B2E20C6}"/>
              </a:ext>
            </a:extLst>
          </p:cNvPr>
          <p:cNvSpPr>
            <a:spLocks noGrp="1"/>
          </p:cNvSpPr>
          <p:nvPr>
            <p:ph type="body" sz="quarter" idx="18"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1</a:t>
            </a:r>
            <a:endParaRPr lang="en-GB"/>
          </a:p>
        </p:txBody>
      </p:sp>
    </p:spTree>
    <p:extLst>
      <p:ext uri="{BB962C8B-B14F-4D97-AF65-F5344CB8AC3E}">
        <p14:creationId xmlns:p14="http://schemas.microsoft.com/office/powerpoint/2010/main" val="414264776"/>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ext and image on the right">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12191206" y="0"/>
            <a:ext cx="12191207" cy="1371600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Drag and drop or click the icon to add a picture</a:t>
            </a:r>
          </a:p>
        </p:txBody>
      </p:sp>
      <p:sp>
        <p:nvSpPr>
          <p:cNvPr id="11" name="Title 1">
            <a:extLst>
              <a:ext uri="{FF2B5EF4-FFF2-40B4-BE49-F238E27FC236}">
                <a16:creationId xmlns:a16="http://schemas.microsoft.com/office/drawing/2014/main" id="{28621A64-7B8E-B242-859E-D8C6D673E4E6}"/>
              </a:ext>
            </a:extLst>
          </p:cNvPr>
          <p:cNvSpPr>
            <a:spLocks noGrp="1"/>
          </p:cNvSpPr>
          <p:nvPr>
            <p:ph type="title" hasCustomPrompt="1"/>
          </p:nvPr>
        </p:nvSpPr>
        <p:spPr>
          <a:xfrm>
            <a:off x="1081244" y="1213751"/>
            <a:ext cx="10088539" cy="3457574"/>
          </a:xfrm>
          <a:prstGeom prst="rect">
            <a:avLst/>
          </a:prstGeom>
        </p:spPr>
        <p:txBody>
          <a:bodyPr/>
          <a:lstStyle>
            <a:lvl1pPr>
              <a:lnSpc>
                <a:spcPct val="100000"/>
              </a:lnSpc>
              <a:defRPr sz="7200" baseline="0"/>
            </a:lvl1pPr>
          </a:lstStyle>
          <a:p>
            <a:r>
              <a:rPr lang="en-GB" noProof="0"/>
              <a:t>Put the slide headline here, </a:t>
            </a:r>
            <a:br>
              <a:rPr lang="en-GB" noProof="0"/>
            </a:br>
            <a:r>
              <a:rPr lang="en-GB" noProof="0"/>
              <a:t>keep it bold 36 pt</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1081245" y="5232577"/>
            <a:ext cx="10088537" cy="7652466"/>
          </a:xfrm>
        </p:spPr>
        <p:txBody>
          <a:bodyPr>
            <a:noAutofit/>
          </a:bodyPr>
          <a:lstStyle>
            <a:lvl1pPr>
              <a:spcBef>
                <a:spcPts val="2000"/>
              </a:spcBef>
              <a:defRPr sz="2800"/>
            </a:lvl1pPr>
          </a:lstStyle>
          <a:p>
            <a:pPr lvl="0"/>
            <a:r>
              <a:rPr lang="en-GB" noProof="0"/>
              <a:t>Put the body text or caption here,</a:t>
            </a:r>
            <a:br>
              <a:rPr lang="en-GB" noProof="0"/>
            </a:br>
            <a:r>
              <a:rPr lang="en-GB" noProof="0"/>
              <a:t>keep it regular 14 pt</a:t>
            </a:r>
          </a:p>
        </p:txBody>
      </p:sp>
      <p:sp>
        <p:nvSpPr>
          <p:cNvPr id="18" name="Footer Placeholder 1">
            <a:extLst>
              <a:ext uri="{FF2B5EF4-FFF2-40B4-BE49-F238E27FC236}">
                <a16:creationId xmlns:a16="http://schemas.microsoft.com/office/drawing/2014/main" id="{9268F47C-6A1E-6446-9FB4-2D298F562747}"/>
              </a:ext>
            </a:extLst>
          </p:cNvPr>
          <p:cNvSpPr>
            <a:spLocks noGrp="1"/>
          </p:cNvSpPr>
          <p:nvPr>
            <p:ph type="ftr" sz="quarter" idx="19"/>
          </p:nvPr>
        </p:nvSpPr>
        <p:spPr>
          <a:xfrm>
            <a:off x="1083205" y="12298805"/>
            <a:ext cx="10991761" cy="586238"/>
          </a:xfrm>
          <a:prstGeom prst="rect">
            <a:avLst/>
          </a:prstGeom>
        </p:spPr>
        <p:txBody>
          <a:bodyPr/>
          <a:lstStyle/>
          <a:p>
            <a:endParaRPr lang="en-GB" noProof="0"/>
          </a:p>
        </p:txBody>
      </p:sp>
      <p:sp>
        <p:nvSpPr>
          <p:cNvPr id="8" name="Text Placeholder 3">
            <a:extLst>
              <a:ext uri="{FF2B5EF4-FFF2-40B4-BE49-F238E27FC236}">
                <a16:creationId xmlns:a16="http://schemas.microsoft.com/office/drawing/2014/main" id="{0136A015-09C4-2341-87D2-A48EA3C6C85F}"/>
              </a:ext>
            </a:extLst>
          </p:cNvPr>
          <p:cNvSpPr>
            <a:spLocks noGrp="1"/>
          </p:cNvSpPr>
          <p:nvPr>
            <p:ph type="body" sz="quarter" idx="20"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1</a:t>
            </a:r>
            <a:endParaRPr lang="en-GB"/>
          </a:p>
        </p:txBody>
      </p:sp>
    </p:spTree>
    <p:extLst>
      <p:ext uri="{BB962C8B-B14F-4D97-AF65-F5344CB8AC3E}">
        <p14:creationId xmlns:p14="http://schemas.microsoft.com/office/powerpoint/2010/main" val="2462007748"/>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ext and image on the left">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5D527F14-48A9-BB4D-8ABB-D25C9E004E4D}"/>
              </a:ext>
            </a:extLst>
          </p:cNvPr>
          <p:cNvSpPr>
            <a:spLocks noGrp="1"/>
          </p:cNvSpPr>
          <p:nvPr>
            <p:ph type="pic" sz="quarter" idx="15" hasCustomPrompt="1"/>
          </p:nvPr>
        </p:nvSpPr>
        <p:spPr>
          <a:xfrm>
            <a:off x="0" y="0"/>
            <a:ext cx="12123563" cy="1371600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Drag and drop or click the icon to add a picture</a:t>
            </a:r>
          </a:p>
        </p:txBody>
      </p:sp>
      <p:sp>
        <p:nvSpPr>
          <p:cNvPr id="11" name="Title 1">
            <a:extLst>
              <a:ext uri="{FF2B5EF4-FFF2-40B4-BE49-F238E27FC236}">
                <a16:creationId xmlns:a16="http://schemas.microsoft.com/office/drawing/2014/main" id="{126F91B4-0CEF-044B-8873-D93BD278142D}"/>
              </a:ext>
            </a:extLst>
          </p:cNvPr>
          <p:cNvSpPr>
            <a:spLocks noGrp="1"/>
          </p:cNvSpPr>
          <p:nvPr>
            <p:ph type="title" hasCustomPrompt="1"/>
          </p:nvPr>
        </p:nvSpPr>
        <p:spPr>
          <a:xfrm>
            <a:off x="13053122" y="985623"/>
            <a:ext cx="10171494" cy="3457574"/>
          </a:xfrm>
          <a:prstGeom prst="rect">
            <a:avLst/>
          </a:prstGeom>
        </p:spPr>
        <p:txBody>
          <a:bodyPr/>
          <a:lstStyle>
            <a:lvl1pPr>
              <a:lnSpc>
                <a:spcPct val="100000"/>
              </a:lnSpc>
              <a:defRPr sz="7200"/>
            </a:lvl1pPr>
          </a:lstStyle>
          <a:p>
            <a:r>
              <a:rPr lang="en-GB" noProof="0"/>
              <a:t>Put the slide headline here, </a:t>
            </a:r>
            <a:br>
              <a:rPr lang="en-GB" noProof="0"/>
            </a:br>
            <a:r>
              <a:rPr lang="en-GB" noProof="0"/>
              <a:t>keep it bold 36 </a:t>
            </a:r>
            <a:r>
              <a:rPr lang="en-GB" noProof="0" err="1"/>
              <a:t>pt</a:t>
            </a:r>
            <a:endParaRPr lang="en-GB" noProof="0"/>
          </a:p>
        </p:txBody>
      </p:sp>
      <p:sp>
        <p:nvSpPr>
          <p:cNvPr id="2" name="Footer Placeholder 1">
            <a:extLst>
              <a:ext uri="{FF2B5EF4-FFF2-40B4-BE49-F238E27FC236}">
                <a16:creationId xmlns:a16="http://schemas.microsoft.com/office/drawing/2014/main" id="{6E64B2A8-161F-744F-9F85-AE3488CC641A}"/>
              </a:ext>
            </a:extLst>
          </p:cNvPr>
          <p:cNvSpPr>
            <a:spLocks noGrp="1"/>
          </p:cNvSpPr>
          <p:nvPr>
            <p:ph type="ftr" sz="quarter" idx="16"/>
          </p:nvPr>
        </p:nvSpPr>
        <p:spPr>
          <a:xfrm>
            <a:off x="1676291" y="12762655"/>
            <a:ext cx="10514916" cy="586238"/>
          </a:xfrm>
          <a:prstGeom prst="rect">
            <a:avLst/>
          </a:prstGeom>
        </p:spPr>
        <p:txBody>
          <a:bodyPr/>
          <a:lstStyle/>
          <a:p>
            <a:endParaRPr lang="en-GB" noProof="0"/>
          </a:p>
        </p:txBody>
      </p:sp>
      <p:sp>
        <p:nvSpPr>
          <p:cNvPr id="8" name="Text Placeholder 3">
            <a:extLst>
              <a:ext uri="{FF2B5EF4-FFF2-40B4-BE49-F238E27FC236}">
                <a16:creationId xmlns:a16="http://schemas.microsoft.com/office/drawing/2014/main" id="{B49D2ED4-85B6-784A-A881-461D6437618F}"/>
              </a:ext>
            </a:extLst>
          </p:cNvPr>
          <p:cNvSpPr>
            <a:spLocks noGrp="1"/>
          </p:cNvSpPr>
          <p:nvPr>
            <p:ph type="body" sz="quarter" idx="18" hasCustomPrompt="1"/>
          </p:nvPr>
        </p:nvSpPr>
        <p:spPr>
          <a:xfrm>
            <a:off x="12998462" y="5004449"/>
            <a:ext cx="10173562" cy="7725930"/>
          </a:xfrm>
        </p:spPr>
        <p:txBody>
          <a:bodyPr>
            <a:noAutofit/>
          </a:bodyPr>
          <a:lstStyle>
            <a:lvl1pPr>
              <a:spcBef>
                <a:spcPts val="2000"/>
              </a:spcBef>
              <a:defRPr sz="2800"/>
            </a:lvl1pPr>
          </a:lstStyle>
          <a:p>
            <a:pPr lvl="0"/>
            <a:r>
              <a:rPr lang="en-GB" noProof="0"/>
              <a:t>Put the body text or caption here,</a:t>
            </a:r>
            <a:br>
              <a:rPr lang="en-GB" noProof="0"/>
            </a:br>
            <a:r>
              <a:rPr lang="en-GB" noProof="0"/>
              <a:t>keep it regular 14 pt</a:t>
            </a:r>
          </a:p>
        </p:txBody>
      </p:sp>
    </p:spTree>
    <p:extLst>
      <p:ext uri="{BB962C8B-B14F-4D97-AF65-F5344CB8AC3E}">
        <p14:creationId xmlns:p14="http://schemas.microsoft.com/office/powerpoint/2010/main" val="2140151462"/>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ext in one column">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553F6C7D-ECC0-674B-A1ED-F01C3FA495FF}"/>
              </a:ext>
            </a:extLst>
          </p:cNvPr>
          <p:cNvSpPr>
            <a:spLocks noGrp="1"/>
          </p:cNvSpPr>
          <p:nvPr>
            <p:ph type="title" hasCustomPrompt="1"/>
          </p:nvPr>
        </p:nvSpPr>
        <p:spPr>
          <a:xfrm>
            <a:off x="1094657" y="1040670"/>
            <a:ext cx="21033007" cy="2428672"/>
          </a:xfrm>
          <a:prstGeom prst="rect">
            <a:avLst/>
          </a:prstGeom>
        </p:spPr>
        <p:txBody>
          <a:bodyPr/>
          <a:lstStyle>
            <a:lvl1pPr>
              <a:lnSpc>
                <a:spcPct val="100000"/>
              </a:lnSpc>
              <a:defRPr sz="7200"/>
            </a:lvl1pPr>
          </a:lstStyle>
          <a:p>
            <a:r>
              <a:rPr lang="en-GB" noProof="0"/>
              <a:t>Put the slide headline here, </a:t>
            </a:r>
            <a:br>
              <a:rPr lang="en-GB" noProof="0"/>
            </a:br>
            <a:r>
              <a:rPr lang="en-GB" noProof="0"/>
              <a:t>keep it bold 36 </a:t>
            </a:r>
            <a:r>
              <a:rPr lang="en-GB" noProof="0" err="1"/>
              <a:t>pt</a:t>
            </a:r>
            <a:endParaRPr lang="en-GB" noProof="0"/>
          </a:p>
        </p:txBody>
      </p:sp>
      <p:sp>
        <p:nvSpPr>
          <p:cNvPr id="6" name="Text Placeholder 3">
            <a:extLst>
              <a:ext uri="{FF2B5EF4-FFF2-40B4-BE49-F238E27FC236}">
                <a16:creationId xmlns:a16="http://schemas.microsoft.com/office/drawing/2014/main" id="{3397E6F6-DFC7-C54D-9E7E-CD51822BE714}"/>
              </a:ext>
            </a:extLst>
          </p:cNvPr>
          <p:cNvSpPr>
            <a:spLocks noGrp="1"/>
          </p:cNvSpPr>
          <p:nvPr>
            <p:ph type="body" sz="quarter" idx="18" hasCustomPrompt="1"/>
          </p:nvPr>
        </p:nvSpPr>
        <p:spPr>
          <a:xfrm>
            <a:off x="1094657" y="3980331"/>
            <a:ext cx="9650876" cy="8283386"/>
          </a:xfrm>
        </p:spPr>
        <p:txBody>
          <a:bodyPr>
            <a:noAutofit/>
          </a:bodyPr>
          <a:lstStyle>
            <a:lvl1pPr>
              <a:spcBef>
                <a:spcPts val="2000"/>
              </a:spcBef>
              <a:defRPr sz="2800"/>
            </a:lvl1pPr>
          </a:lstStyle>
          <a:p>
            <a:pPr lvl="0"/>
            <a:r>
              <a:rPr lang="en-GB" noProof="0"/>
              <a:t>Put the body text or caption here,</a:t>
            </a:r>
            <a:br>
              <a:rPr lang="en-GB" noProof="0"/>
            </a:br>
            <a:r>
              <a:rPr lang="en-GB" noProof="0"/>
              <a:t>keep it regular 14 </a:t>
            </a:r>
            <a:r>
              <a:rPr lang="en-GB" noProof="0" err="1"/>
              <a:t>pt</a:t>
            </a:r>
            <a:endParaRPr lang="en-GB" noProof="0"/>
          </a:p>
        </p:txBody>
      </p:sp>
    </p:spTree>
    <p:extLst>
      <p:ext uri="{BB962C8B-B14F-4D97-AF65-F5344CB8AC3E}">
        <p14:creationId xmlns:p14="http://schemas.microsoft.com/office/powerpoint/2010/main" val="291318713"/>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ext in two columns">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BE51D75E-6321-C94D-9947-17B36A281ED3}"/>
              </a:ext>
            </a:extLst>
          </p:cNvPr>
          <p:cNvSpPr>
            <a:spLocks noGrp="1"/>
          </p:cNvSpPr>
          <p:nvPr>
            <p:ph type="title" hasCustomPrompt="1"/>
          </p:nvPr>
        </p:nvSpPr>
        <p:spPr>
          <a:xfrm>
            <a:off x="1094656" y="1092425"/>
            <a:ext cx="21574906" cy="2329622"/>
          </a:xfrm>
          <a:prstGeom prst="rect">
            <a:avLst/>
          </a:prstGeom>
        </p:spPr>
        <p:txBody>
          <a:bodyPr/>
          <a:lstStyle>
            <a:lvl1pPr>
              <a:lnSpc>
                <a:spcPct val="100000"/>
              </a:lnSpc>
              <a:defRPr sz="7200"/>
            </a:lvl1pPr>
          </a:lstStyle>
          <a:p>
            <a:r>
              <a:rPr lang="en-GB" noProof="0"/>
              <a:t>Put the slide headline here, </a:t>
            </a:r>
            <a:br>
              <a:rPr lang="en-GB" noProof="0"/>
            </a:br>
            <a:r>
              <a:rPr lang="en-GB" noProof="0"/>
              <a:t>keep it bold 36 </a:t>
            </a:r>
            <a:r>
              <a:rPr lang="en-GB" noProof="0" err="1"/>
              <a:t>pt</a:t>
            </a:r>
            <a:endParaRPr lang="en-GB" noProof="0"/>
          </a:p>
        </p:txBody>
      </p:sp>
      <p:sp>
        <p:nvSpPr>
          <p:cNvPr id="7" name="Text Placeholder 3">
            <a:extLst>
              <a:ext uri="{FF2B5EF4-FFF2-40B4-BE49-F238E27FC236}">
                <a16:creationId xmlns:a16="http://schemas.microsoft.com/office/drawing/2014/main" id="{C14A6056-7DBD-554E-8300-9E7C2B02BF19}"/>
              </a:ext>
            </a:extLst>
          </p:cNvPr>
          <p:cNvSpPr>
            <a:spLocks noGrp="1"/>
          </p:cNvSpPr>
          <p:nvPr>
            <p:ph type="body" sz="quarter" idx="18" hasCustomPrompt="1"/>
          </p:nvPr>
        </p:nvSpPr>
        <p:spPr>
          <a:xfrm>
            <a:off x="1094657" y="4251348"/>
            <a:ext cx="10269072" cy="7782376"/>
          </a:xfrm>
        </p:spPr>
        <p:txBody>
          <a:bodyPr>
            <a:noAutofit/>
          </a:bodyPr>
          <a:lstStyle>
            <a:lvl1pPr>
              <a:spcBef>
                <a:spcPts val="2000"/>
              </a:spcBef>
              <a:defRPr sz="2800"/>
            </a:lvl1pPr>
          </a:lstStyle>
          <a:p>
            <a:pPr lvl="0"/>
            <a:r>
              <a:rPr lang="en-GB" noProof="0"/>
              <a:t>Put the body text or caption here,</a:t>
            </a:r>
            <a:br>
              <a:rPr lang="en-GB" noProof="0"/>
            </a:br>
            <a:r>
              <a:rPr lang="en-GB" noProof="0"/>
              <a:t>keep it regular 14 pt</a:t>
            </a:r>
          </a:p>
        </p:txBody>
      </p:sp>
      <p:sp>
        <p:nvSpPr>
          <p:cNvPr id="9" name="Text Placeholder 3">
            <a:extLst>
              <a:ext uri="{FF2B5EF4-FFF2-40B4-BE49-F238E27FC236}">
                <a16:creationId xmlns:a16="http://schemas.microsoft.com/office/drawing/2014/main" id="{747137C9-AD53-D149-A97E-41A82FBA0CF6}"/>
              </a:ext>
            </a:extLst>
          </p:cNvPr>
          <p:cNvSpPr>
            <a:spLocks noGrp="1"/>
          </p:cNvSpPr>
          <p:nvPr>
            <p:ph type="body" sz="quarter" idx="19" hasCustomPrompt="1"/>
          </p:nvPr>
        </p:nvSpPr>
        <p:spPr>
          <a:xfrm>
            <a:off x="12400491" y="4251350"/>
            <a:ext cx="10269072" cy="7782376"/>
          </a:xfrm>
        </p:spPr>
        <p:txBody>
          <a:bodyPr>
            <a:noAutofit/>
          </a:bodyPr>
          <a:lstStyle>
            <a:lvl1pPr>
              <a:spcBef>
                <a:spcPts val="2000"/>
              </a:spcBef>
              <a:defRPr sz="2800"/>
            </a:lvl1pPr>
          </a:lstStyle>
          <a:p>
            <a:pPr lvl="0"/>
            <a:r>
              <a:rPr lang="en-GB" noProof="0"/>
              <a:t>Put the body text or caption here,</a:t>
            </a:r>
            <a:br>
              <a:rPr lang="en-GB" noProof="0"/>
            </a:br>
            <a:r>
              <a:rPr lang="en-GB" noProof="0"/>
              <a:t>keep it regular 14 pt</a:t>
            </a:r>
          </a:p>
        </p:txBody>
      </p:sp>
      <p:sp>
        <p:nvSpPr>
          <p:cNvPr id="11" name="Footer Placeholder 1">
            <a:extLst>
              <a:ext uri="{FF2B5EF4-FFF2-40B4-BE49-F238E27FC236}">
                <a16:creationId xmlns:a16="http://schemas.microsoft.com/office/drawing/2014/main" id="{71E47299-58D5-5141-A53D-1CABCA69C084}"/>
              </a:ext>
            </a:extLst>
          </p:cNvPr>
          <p:cNvSpPr>
            <a:spLocks noGrp="1"/>
          </p:cNvSpPr>
          <p:nvPr>
            <p:ph type="ftr" sz="quarter" idx="15"/>
          </p:nvPr>
        </p:nvSpPr>
        <p:spPr>
          <a:xfrm>
            <a:off x="1096245" y="12806090"/>
            <a:ext cx="9649288" cy="571396"/>
          </a:xfrm>
          <a:prstGeom prst="rect">
            <a:avLst/>
          </a:prstGeom>
        </p:spPr>
        <p:txBody>
          <a:bodyPr/>
          <a:lstStyle/>
          <a:p>
            <a:endParaRPr lang="en-GB" noProof="0"/>
          </a:p>
        </p:txBody>
      </p:sp>
    </p:spTree>
    <p:extLst>
      <p:ext uri="{BB962C8B-B14F-4D97-AF65-F5344CB8AC3E}">
        <p14:creationId xmlns:p14="http://schemas.microsoft.com/office/powerpoint/2010/main" val="209596127"/>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Bullet points in three columns">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00941136-4B4C-4145-A979-62087D971861}"/>
              </a:ext>
            </a:extLst>
          </p:cNvPr>
          <p:cNvSpPr>
            <a:spLocks noGrp="1"/>
          </p:cNvSpPr>
          <p:nvPr>
            <p:ph type="title" hasCustomPrompt="1"/>
          </p:nvPr>
        </p:nvSpPr>
        <p:spPr>
          <a:xfrm>
            <a:off x="1094657" y="1144392"/>
            <a:ext cx="21033007" cy="2410304"/>
          </a:xfrm>
          <a:prstGeom prst="rect">
            <a:avLst/>
          </a:prstGeom>
        </p:spPr>
        <p:txBody>
          <a:bodyPr/>
          <a:lstStyle>
            <a:lvl1pPr>
              <a:lnSpc>
                <a:spcPct val="100000"/>
              </a:lnSpc>
              <a:defRPr sz="7200"/>
            </a:lvl1pPr>
          </a:lstStyle>
          <a:p>
            <a:r>
              <a:rPr lang="en-GB" noProof="0"/>
              <a:t>Put the slide headline here, </a:t>
            </a:r>
            <a:br>
              <a:rPr lang="en-GB" noProof="0"/>
            </a:br>
            <a:r>
              <a:rPr lang="en-GB" noProof="0"/>
              <a:t>keep it bold 36 </a:t>
            </a:r>
            <a:r>
              <a:rPr lang="en-GB" noProof="0" err="1"/>
              <a:t>pt</a:t>
            </a:r>
            <a:endParaRPr lang="en-GB" noProof="0"/>
          </a:p>
        </p:txBody>
      </p:sp>
      <p:sp>
        <p:nvSpPr>
          <p:cNvPr id="8" name="Text Placeholder 3">
            <a:extLst>
              <a:ext uri="{FF2B5EF4-FFF2-40B4-BE49-F238E27FC236}">
                <a16:creationId xmlns:a16="http://schemas.microsoft.com/office/drawing/2014/main" id="{CB00048D-5466-AD48-828A-D48CFE43B8E5}"/>
              </a:ext>
            </a:extLst>
          </p:cNvPr>
          <p:cNvSpPr>
            <a:spLocks noGrp="1"/>
          </p:cNvSpPr>
          <p:nvPr>
            <p:ph type="body" sz="quarter" idx="18" hasCustomPrompt="1"/>
          </p:nvPr>
        </p:nvSpPr>
        <p:spPr>
          <a:xfrm>
            <a:off x="1094658" y="4928833"/>
            <a:ext cx="6388570" cy="6337298"/>
          </a:xfrm>
        </p:spPr>
        <p:txBody>
          <a:bodyPr>
            <a:noAutofit/>
          </a:bodyPr>
          <a:lstStyle>
            <a:lvl1pPr marL="571471" indent="-571471">
              <a:spcBef>
                <a:spcPts val="2000"/>
              </a:spcBef>
              <a:buFont typeface="Arial" panose="020B0604020202020204" pitchFamily="34" charset="0"/>
              <a:buChar char="•"/>
              <a:defRPr sz="2800"/>
            </a:lvl1pPr>
          </a:lstStyle>
          <a:p>
            <a:pPr lvl="0"/>
            <a:r>
              <a:rPr lang="en-GB" noProof="0"/>
              <a:t>Put the list text here,</a:t>
            </a:r>
            <a:br>
              <a:rPr lang="en-GB" noProof="0"/>
            </a:br>
            <a:r>
              <a:rPr lang="en-GB" noProof="0"/>
              <a:t>keep it regular 14 pt</a:t>
            </a:r>
          </a:p>
          <a:p>
            <a:pPr lvl="0"/>
            <a:endParaRPr lang="en-GB" noProof="0"/>
          </a:p>
        </p:txBody>
      </p:sp>
      <p:sp>
        <p:nvSpPr>
          <p:cNvPr id="10" name="Text Placeholder 3">
            <a:extLst>
              <a:ext uri="{FF2B5EF4-FFF2-40B4-BE49-F238E27FC236}">
                <a16:creationId xmlns:a16="http://schemas.microsoft.com/office/drawing/2014/main" id="{316CE0BD-CEC3-544F-8484-175C25F90EEC}"/>
              </a:ext>
            </a:extLst>
          </p:cNvPr>
          <p:cNvSpPr>
            <a:spLocks noGrp="1"/>
          </p:cNvSpPr>
          <p:nvPr>
            <p:ph type="body" sz="quarter" idx="19" hasCustomPrompt="1"/>
          </p:nvPr>
        </p:nvSpPr>
        <p:spPr>
          <a:xfrm>
            <a:off x="15739847" y="4928833"/>
            <a:ext cx="6388570" cy="6337298"/>
          </a:xfrm>
        </p:spPr>
        <p:txBody>
          <a:bodyPr>
            <a:noAutofit/>
          </a:bodyPr>
          <a:lstStyle>
            <a:lvl1pPr marL="571471" indent="-571471">
              <a:spcBef>
                <a:spcPts val="2000"/>
              </a:spcBef>
              <a:buFont typeface="Arial" panose="020B0604020202020204" pitchFamily="34" charset="0"/>
              <a:buChar char="•"/>
              <a:defRPr sz="2800"/>
            </a:lvl1pPr>
          </a:lstStyle>
          <a:p>
            <a:pPr lvl="0"/>
            <a:r>
              <a:rPr lang="en-GB" noProof="0"/>
              <a:t>Put the list text here,</a:t>
            </a:r>
            <a:br>
              <a:rPr lang="en-GB" noProof="0"/>
            </a:br>
            <a:r>
              <a:rPr lang="en-GB" noProof="0"/>
              <a:t>keep it regular 14 pt</a:t>
            </a:r>
          </a:p>
          <a:p>
            <a:pPr lvl="0"/>
            <a:endParaRPr lang="en-GB" noProof="0"/>
          </a:p>
        </p:txBody>
      </p:sp>
      <p:sp>
        <p:nvSpPr>
          <p:cNvPr id="11" name="Text Placeholder 3">
            <a:extLst>
              <a:ext uri="{FF2B5EF4-FFF2-40B4-BE49-F238E27FC236}">
                <a16:creationId xmlns:a16="http://schemas.microsoft.com/office/drawing/2014/main" id="{52CADF44-9CA4-8D41-B1AA-2D27B1FDB07E}"/>
              </a:ext>
            </a:extLst>
          </p:cNvPr>
          <p:cNvSpPr>
            <a:spLocks noGrp="1"/>
          </p:cNvSpPr>
          <p:nvPr>
            <p:ph type="body" sz="quarter" idx="20" hasCustomPrompt="1"/>
          </p:nvPr>
        </p:nvSpPr>
        <p:spPr>
          <a:xfrm>
            <a:off x="8417251" y="4928833"/>
            <a:ext cx="6388570" cy="6337298"/>
          </a:xfrm>
        </p:spPr>
        <p:txBody>
          <a:bodyPr>
            <a:noAutofit/>
          </a:bodyPr>
          <a:lstStyle>
            <a:lvl1pPr marL="571471" indent="-571471">
              <a:spcBef>
                <a:spcPts val="2000"/>
              </a:spcBef>
              <a:buFont typeface="Arial" panose="020B0604020202020204" pitchFamily="34" charset="0"/>
              <a:buChar char="•"/>
              <a:defRPr sz="2800"/>
            </a:lvl1pPr>
          </a:lstStyle>
          <a:p>
            <a:pPr lvl="0"/>
            <a:r>
              <a:rPr lang="en-GB" noProof="0"/>
              <a:t>Put the list text here,</a:t>
            </a:r>
            <a:br>
              <a:rPr lang="en-GB" noProof="0"/>
            </a:br>
            <a:r>
              <a:rPr lang="en-GB" noProof="0"/>
              <a:t>keep it regular 14 pt</a:t>
            </a:r>
          </a:p>
          <a:p>
            <a:pPr lvl="0"/>
            <a:endParaRPr lang="en-GB" noProof="0"/>
          </a:p>
        </p:txBody>
      </p:sp>
      <p:sp>
        <p:nvSpPr>
          <p:cNvPr id="13" name="Footer Placeholder 1">
            <a:extLst>
              <a:ext uri="{FF2B5EF4-FFF2-40B4-BE49-F238E27FC236}">
                <a16:creationId xmlns:a16="http://schemas.microsoft.com/office/drawing/2014/main" id="{FF16714B-FB53-1F43-BB2E-33016E450AE8}"/>
              </a:ext>
            </a:extLst>
          </p:cNvPr>
          <p:cNvSpPr>
            <a:spLocks noGrp="1"/>
          </p:cNvSpPr>
          <p:nvPr>
            <p:ph type="ftr" sz="quarter" idx="15"/>
          </p:nvPr>
        </p:nvSpPr>
        <p:spPr>
          <a:xfrm>
            <a:off x="1094657" y="12885043"/>
            <a:ext cx="10514916" cy="586238"/>
          </a:xfrm>
          <a:prstGeom prst="rect">
            <a:avLst/>
          </a:prstGeom>
        </p:spPr>
        <p:txBody>
          <a:bodyPr/>
          <a:lstStyle/>
          <a:p>
            <a:endParaRPr lang="en-GB" noProof="0"/>
          </a:p>
        </p:txBody>
      </p:sp>
    </p:spTree>
    <p:extLst>
      <p:ext uri="{BB962C8B-B14F-4D97-AF65-F5344CB8AC3E}">
        <p14:creationId xmlns:p14="http://schemas.microsoft.com/office/powerpoint/2010/main" val="4214625981"/>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Full bleed image">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B11BDF8C-83D3-724E-8888-78F99356B623}"/>
              </a:ext>
            </a:extLst>
          </p:cNvPr>
          <p:cNvSpPr>
            <a:spLocks noGrp="1"/>
          </p:cNvSpPr>
          <p:nvPr>
            <p:ph type="pic" sz="quarter" idx="15" hasCustomPrompt="1"/>
          </p:nvPr>
        </p:nvSpPr>
        <p:spPr>
          <a:xfrm>
            <a:off x="0" y="0"/>
            <a:ext cx="24382413" cy="1371600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2" name="Footer Placeholder 1">
            <a:extLst>
              <a:ext uri="{FF2B5EF4-FFF2-40B4-BE49-F238E27FC236}">
                <a16:creationId xmlns:a16="http://schemas.microsoft.com/office/drawing/2014/main" id="{F9537780-6950-D34C-A608-84CFA8C94142}"/>
              </a:ext>
            </a:extLst>
          </p:cNvPr>
          <p:cNvSpPr>
            <a:spLocks noGrp="1"/>
          </p:cNvSpPr>
          <p:nvPr>
            <p:ph type="ftr" sz="quarter" idx="16"/>
          </p:nvPr>
        </p:nvSpPr>
        <p:spPr>
          <a:xfrm>
            <a:off x="1676291" y="12762655"/>
            <a:ext cx="10514916" cy="586238"/>
          </a:xfrm>
          <a:prstGeom prst="rect">
            <a:avLst/>
          </a:prstGeom>
        </p:spPr>
        <p:txBody>
          <a:bodyPr/>
          <a:lstStyle/>
          <a:p>
            <a:endParaRPr lang="en-GB"/>
          </a:p>
        </p:txBody>
      </p:sp>
      <p:sp>
        <p:nvSpPr>
          <p:cNvPr id="7" name="Text Placeholder 3">
            <a:extLst>
              <a:ext uri="{FF2B5EF4-FFF2-40B4-BE49-F238E27FC236}">
                <a16:creationId xmlns:a16="http://schemas.microsoft.com/office/drawing/2014/main" id="{E9391C66-CE44-8540-BF62-38C8D5EF9E6E}"/>
              </a:ext>
            </a:extLst>
          </p:cNvPr>
          <p:cNvSpPr>
            <a:spLocks noGrp="1"/>
          </p:cNvSpPr>
          <p:nvPr>
            <p:ph type="body" sz="quarter" idx="18"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1</a:t>
            </a:r>
            <a:endParaRPr lang="en-GB"/>
          </a:p>
        </p:txBody>
      </p:sp>
    </p:spTree>
    <p:extLst>
      <p:ext uri="{BB962C8B-B14F-4D97-AF65-F5344CB8AC3E}">
        <p14:creationId xmlns:p14="http://schemas.microsoft.com/office/powerpoint/2010/main" val="39282062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hapter name on colour background or image">
    <p:bg>
      <p:bgPr>
        <a:solidFill>
          <a:schemeClr val="bg1"/>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9F99187E-75C3-704C-B702-5FF1467E154C}"/>
              </a:ext>
            </a:extLst>
          </p:cNvPr>
          <p:cNvSpPr>
            <a:spLocks noGrp="1"/>
          </p:cNvSpPr>
          <p:nvPr>
            <p:ph type="subTitle" idx="1" hasCustomPrompt="1"/>
          </p:nvPr>
        </p:nvSpPr>
        <p:spPr>
          <a:xfrm>
            <a:off x="1700166" y="3905672"/>
            <a:ext cx="15531275" cy="5904656"/>
          </a:xfrm>
        </p:spPr>
        <p:txBody>
          <a:bodyPr anchor="ctr" anchorCtr="0">
            <a:noAutofit/>
          </a:bodyPr>
          <a:lstStyle>
            <a:lvl1pPr marL="0" indent="0" algn="l">
              <a:lnSpc>
                <a:spcPct val="100000"/>
              </a:lnSpc>
              <a:buNone/>
              <a:defRPr sz="11999" b="1" spc="-200" baseline="0">
                <a:latin typeface="Noto IKEA Latin" panose="020B050204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GB" noProof="0"/>
              <a:t>Put the chapter headline here, </a:t>
            </a:r>
            <a:br>
              <a:rPr lang="en-GB" noProof="0"/>
            </a:br>
            <a:r>
              <a:rPr lang="en-GB" noProof="0"/>
              <a:t>keep it bold 60 </a:t>
            </a:r>
            <a:r>
              <a:rPr lang="en-GB" noProof="0" err="1"/>
              <a:t>pt</a:t>
            </a:r>
            <a:endParaRPr lang="en-GB" noProof="0"/>
          </a:p>
        </p:txBody>
      </p:sp>
      <p:sp>
        <p:nvSpPr>
          <p:cNvPr id="7" name="Text Placeholder 3">
            <a:extLst>
              <a:ext uri="{FF2B5EF4-FFF2-40B4-BE49-F238E27FC236}">
                <a16:creationId xmlns:a16="http://schemas.microsoft.com/office/drawing/2014/main" id="{6197EBF1-7F60-D44A-93CB-4809CDC33B1D}"/>
              </a:ext>
            </a:extLst>
          </p:cNvPr>
          <p:cNvSpPr>
            <a:spLocks noGrp="1"/>
          </p:cNvSpPr>
          <p:nvPr>
            <p:ph type="body" sz="quarter" idx="18"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0</a:t>
            </a:r>
            <a:endParaRPr lang="en-GB"/>
          </a:p>
        </p:txBody>
      </p:sp>
    </p:spTree>
    <p:extLst>
      <p:ext uri="{BB962C8B-B14F-4D97-AF65-F5344CB8AC3E}">
        <p14:creationId xmlns:p14="http://schemas.microsoft.com/office/powerpoint/2010/main" val="60229729"/>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1_Full bleed image">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B11BDF8C-83D3-724E-8888-78F99356B623}"/>
              </a:ext>
            </a:extLst>
          </p:cNvPr>
          <p:cNvSpPr>
            <a:spLocks noGrp="1"/>
          </p:cNvSpPr>
          <p:nvPr>
            <p:ph type="pic" sz="quarter" idx="15" hasCustomPrompt="1"/>
          </p:nvPr>
        </p:nvSpPr>
        <p:spPr>
          <a:xfrm>
            <a:off x="0" y="0"/>
            <a:ext cx="24382413" cy="1371600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2" name="Footer Placeholder 1">
            <a:extLst>
              <a:ext uri="{FF2B5EF4-FFF2-40B4-BE49-F238E27FC236}">
                <a16:creationId xmlns:a16="http://schemas.microsoft.com/office/drawing/2014/main" id="{F9537780-6950-D34C-A608-84CFA8C94142}"/>
              </a:ext>
            </a:extLst>
          </p:cNvPr>
          <p:cNvSpPr>
            <a:spLocks noGrp="1"/>
          </p:cNvSpPr>
          <p:nvPr>
            <p:ph type="ftr" sz="quarter" idx="16"/>
          </p:nvPr>
        </p:nvSpPr>
        <p:spPr>
          <a:xfrm>
            <a:off x="1676291" y="12762655"/>
            <a:ext cx="10514916" cy="586238"/>
          </a:xfrm>
          <a:prstGeom prst="rect">
            <a:avLst/>
          </a:prstGeom>
        </p:spPr>
        <p:txBody>
          <a:bodyPr/>
          <a:lstStyle/>
          <a:p>
            <a:endParaRPr lang="en-GB"/>
          </a:p>
        </p:txBody>
      </p:sp>
      <p:sp>
        <p:nvSpPr>
          <p:cNvPr id="7" name="Text Placeholder 3">
            <a:extLst>
              <a:ext uri="{FF2B5EF4-FFF2-40B4-BE49-F238E27FC236}">
                <a16:creationId xmlns:a16="http://schemas.microsoft.com/office/drawing/2014/main" id="{E9391C66-CE44-8540-BF62-38C8D5EF9E6E}"/>
              </a:ext>
            </a:extLst>
          </p:cNvPr>
          <p:cNvSpPr>
            <a:spLocks noGrp="1"/>
          </p:cNvSpPr>
          <p:nvPr>
            <p:ph type="body" sz="quarter" idx="18"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1</a:t>
            </a:r>
            <a:endParaRPr lang="en-GB"/>
          </a:p>
        </p:txBody>
      </p:sp>
      <p:sp>
        <p:nvSpPr>
          <p:cNvPr id="5" name="Title Placeholder 6">
            <a:extLst>
              <a:ext uri="{FF2B5EF4-FFF2-40B4-BE49-F238E27FC236}">
                <a16:creationId xmlns:a16="http://schemas.microsoft.com/office/drawing/2014/main" id="{B70D482A-5177-43B2-8929-9CD1BCA2FB47}"/>
              </a:ext>
            </a:extLst>
          </p:cNvPr>
          <p:cNvSpPr>
            <a:spLocks noGrp="1"/>
          </p:cNvSpPr>
          <p:nvPr>
            <p:ph type="title" hasCustomPrompt="1"/>
          </p:nvPr>
        </p:nvSpPr>
        <p:spPr>
          <a:xfrm>
            <a:off x="1677491" y="1692001"/>
            <a:ext cx="21029831" cy="10330998"/>
          </a:xfrm>
          <a:prstGeom prst="rect">
            <a:avLst/>
          </a:prstGeom>
        </p:spPr>
        <p:txBody>
          <a:bodyPr vert="horz" lIns="91440" tIns="45720" rIns="91440" bIns="45720" rtlCol="0" anchor="ctr">
            <a:noAutofit/>
          </a:bodyPr>
          <a:lstStyle>
            <a:lvl1pPr>
              <a:defRPr baseline="0"/>
            </a:lvl1pPr>
          </a:lstStyle>
          <a:p>
            <a:r>
              <a:rPr lang="en-GB" noProof="0"/>
              <a:t>Put a statement here,</a:t>
            </a:r>
            <a:br>
              <a:rPr lang="en-GB" noProof="0"/>
            </a:br>
            <a:r>
              <a:rPr lang="en-GB" noProof="0"/>
              <a:t>keep it bold 60 </a:t>
            </a:r>
            <a:r>
              <a:rPr lang="en-GB" noProof="0" err="1"/>
              <a:t>pt</a:t>
            </a:r>
            <a:endParaRPr lang="en-GB" noProof="0"/>
          </a:p>
        </p:txBody>
      </p:sp>
    </p:spTree>
    <p:extLst>
      <p:ext uri="{BB962C8B-B14F-4D97-AF65-F5344CB8AC3E}">
        <p14:creationId xmlns:p14="http://schemas.microsoft.com/office/powerpoint/2010/main" val="873967002"/>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Image and caption">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70934038-8254-5843-BA59-EAFE94F02D83}"/>
              </a:ext>
            </a:extLst>
          </p:cNvPr>
          <p:cNvSpPr>
            <a:spLocks noGrp="1"/>
          </p:cNvSpPr>
          <p:nvPr>
            <p:ph type="pic" sz="quarter" idx="16" hasCustomPrompt="1"/>
          </p:nvPr>
        </p:nvSpPr>
        <p:spPr>
          <a:xfrm>
            <a:off x="1726827" y="1673229"/>
            <a:ext cx="18433558" cy="1036955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4" name="Text Placeholder 3">
            <a:extLst>
              <a:ext uri="{FF2B5EF4-FFF2-40B4-BE49-F238E27FC236}">
                <a16:creationId xmlns:a16="http://schemas.microsoft.com/office/drawing/2014/main" id="{BB8E265F-FE98-834A-BB93-0F7C365B8C12}"/>
              </a:ext>
            </a:extLst>
          </p:cNvPr>
          <p:cNvSpPr>
            <a:spLocks noGrp="1"/>
          </p:cNvSpPr>
          <p:nvPr>
            <p:ph type="body" sz="half" idx="2" hasCustomPrompt="1"/>
          </p:nvPr>
        </p:nvSpPr>
        <p:spPr>
          <a:xfrm>
            <a:off x="20512190" y="5273623"/>
            <a:ext cx="3487563" cy="6912970"/>
          </a:xfrm>
        </p:spPr>
        <p:txBody>
          <a:bodyPr anchor="b">
            <a:noAutofit/>
          </a:bodyPr>
          <a:lstStyle>
            <a:lvl1pPr marL="0" indent="0">
              <a:lnSpc>
                <a:spcPct val="100000"/>
              </a:lnSpc>
              <a:buNone/>
              <a:defRPr sz="28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US"/>
              <a:t>Put the caption here, keep it regular 14 </a:t>
            </a:r>
            <a:r>
              <a:rPr lang="en-US" err="1"/>
              <a:t>pt</a:t>
            </a:r>
            <a:endParaRPr lang="en-US"/>
          </a:p>
        </p:txBody>
      </p:sp>
      <p:sp>
        <p:nvSpPr>
          <p:cNvPr id="2" name="Footer Placeholder 1">
            <a:extLst>
              <a:ext uri="{FF2B5EF4-FFF2-40B4-BE49-F238E27FC236}">
                <a16:creationId xmlns:a16="http://schemas.microsoft.com/office/drawing/2014/main" id="{CD478C9A-6828-5647-8ED6-97370233DB2B}"/>
              </a:ext>
            </a:extLst>
          </p:cNvPr>
          <p:cNvSpPr>
            <a:spLocks noGrp="1"/>
          </p:cNvSpPr>
          <p:nvPr>
            <p:ph type="ftr" sz="quarter" idx="17"/>
          </p:nvPr>
        </p:nvSpPr>
        <p:spPr>
          <a:xfrm>
            <a:off x="1676291" y="12762655"/>
            <a:ext cx="10514916" cy="586238"/>
          </a:xfrm>
          <a:prstGeom prst="rect">
            <a:avLst/>
          </a:prstGeom>
        </p:spPr>
        <p:txBody>
          <a:bodyPr/>
          <a:lstStyle/>
          <a:p>
            <a:endParaRPr lang="en-GB"/>
          </a:p>
        </p:txBody>
      </p:sp>
    </p:spTree>
    <p:extLst>
      <p:ext uri="{BB962C8B-B14F-4D97-AF65-F5344CB8AC3E}">
        <p14:creationId xmlns:p14="http://schemas.microsoft.com/office/powerpoint/2010/main" val="1686095024"/>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Quote on imag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1600D40-C419-DE4F-928F-E01FB6D4191F}"/>
              </a:ext>
            </a:extLst>
          </p:cNvPr>
          <p:cNvSpPr>
            <a:spLocks noGrp="1"/>
          </p:cNvSpPr>
          <p:nvPr>
            <p:ph type="pic" sz="quarter" idx="14" hasCustomPrompt="1"/>
          </p:nvPr>
        </p:nvSpPr>
        <p:spPr>
          <a:xfrm>
            <a:off x="0" y="-7514"/>
            <a:ext cx="24382413" cy="13716000"/>
          </a:xfrm>
          <a:solidFill>
            <a:srgbClr val="E4E5E3"/>
          </a:solidFill>
        </p:spPr>
        <p:txBody>
          <a:bodyPr>
            <a:normAutofit/>
          </a:bodyPr>
          <a:lstStyle>
            <a:lvl1pPr>
              <a:defRPr sz="2800">
                <a:solidFill>
                  <a:schemeClr val="bg1">
                    <a:lumMod val="50000"/>
                  </a:schemeClr>
                </a:solidFill>
              </a:defRPr>
            </a:lvl1pPr>
          </a:lstStyle>
          <a:p>
            <a:r>
              <a:rPr lang="en-US"/>
              <a:t>Drag and drop or click the icon to add a picture</a:t>
            </a:r>
          </a:p>
        </p:txBody>
      </p:sp>
      <p:sp>
        <p:nvSpPr>
          <p:cNvPr id="4" name="Text Placeholder 3">
            <a:extLst>
              <a:ext uri="{FF2B5EF4-FFF2-40B4-BE49-F238E27FC236}">
                <a16:creationId xmlns:a16="http://schemas.microsoft.com/office/drawing/2014/main" id="{BB8E265F-FE98-834A-BB93-0F7C365B8C12}"/>
              </a:ext>
            </a:extLst>
          </p:cNvPr>
          <p:cNvSpPr>
            <a:spLocks noGrp="1"/>
          </p:cNvSpPr>
          <p:nvPr>
            <p:ph type="body" sz="half" idx="2" hasCustomPrompt="1"/>
          </p:nvPr>
        </p:nvSpPr>
        <p:spPr>
          <a:xfrm>
            <a:off x="13631276" y="3185593"/>
            <a:ext cx="9202503" cy="7344818"/>
          </a:xfrm>
          <a:solidFill>
            <a:schemeClr val="bg1"/>
          </a:solidFill>
        </p:spPr>
        <p:txBody>
          <a:bodyPr lIns="360000" tIns="46800" rIns="360000" bIns="46800" anchor="ctr">
            <a:noAutofit/>
          </a:bodyPr>
          <a:lstStyle>
            <a:lvl1pPr marL="0" indent="0">
              <a:lnSpc>
                <a:spcPct val="100000"/>
              </a:lnSpc>
              <a:spcBef>
                <a:spcPts val="0"/>
              </a:spcBef>
              <a:buNone/>
              <a:defRPr sz="4800" b="0" i="0">
                <a:solidFill>
                  <a:schemeClr val="tx1"/>
                </a:solidFill>
              </a:defRPr>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US"/>
              <a:t>“Put the quote here. Put the quote here. Put the quote here. Put the quote here. Put the quote here.”</a:t>
            </a:r>
          </a:p>
        </p:txBody>
      </p:sp>
      <p:sp>
        <p:nvSpPr>
          <p:cNvPr id="3" name="Footer Placeholder 2">
            <a:extLst>
              <a:ext uri="{FF2B5EF4-FFF2-40B4-BE49-F238E27FC236}">
                <a16:creationId xmlns:a16="http://schemas.microsoft.com/office/drawing/2014/main" id="{8D3BD20C-6863-AA4F-9F02-78C396B20D12}"/>
              </a:ext>
            </a:extLst>
          </p:cNvPr>
          <p:cNvSpPr>
            <a:spLocks noGrp="1"/>
          </p:cNvSpPr>
          <p:nvPr>
            <p:ph type="ftr" sz="quarter" idx="15"/>
          </p:nvPr>
        </p:nvSpPr>
        <p:spPr>
          <a:xfrm>
            <a:off x="1676291" y="12762655"/>
            <a:ext cx="10514916" cy="586238"/>
          </a:xfrm>
          <a:prstGeom prst="rect">
            <a:avLst/>
          </a:prstGeom>
        </p:spPr>
        <p:txBody>
          <a:bodyPr/>
          <a:lstStyle/>
          <a:p>
            <a:endParaRPr lang="en-GB"/>
          </a:p>
        </p:txBody>
      </p:sp>
      <p:sp>
        <p:nvSpPr>
          <p:cNvPr id="9" name="Text Placeholder 3">
            <a:extLst>
              <a:ext uri="{FF2B5EF4-FFF2-40B4-BE49-F238E27FC236}">
                <a16:creationId xmlns:a16="http://schemas.microsoft.com/office/drawing/2014/main" id="{52163A22-09CB-E440-8750-18D411BC5D92}"/>
              </a:ext>
            </a:extLst>
          </p:cNvPr>
          <p:cNvSpPr>
            <a:spLocks noGrp="1"/>
          </p:cNvSpPr>
          <p:nvPr>
            <p:ph type="body" sz="quarter" idx="18"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1</a:t>
            </a:r>
            <a:endParaRPr lang="en-GB"/>
          </a:p>
        </p:txBody>
      </p:sp>
    </p:spTree>
    <p:extLst>
      <p:ext uri="{BB962C8B-B14F-4D97-AF65-F5344CB8AC3E}">
        <p14:creationId xmlns:p14="http://schemas.microsoft.com/office/powerpoint/2010/main" val="4266591993"/>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ext blocks with descriptions">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D192AE6-FA63-7F45-9A5C-BE1D6300CED7}"/>
              </a:ext>
            </a:extLst>
          </p:cNvPr>
          <p:cNvSpPr>
            <a:spLocks noGrp="1"/>
          </p:cNvSpPr>
          <p:nvPr>
            <p:ph type="body" sz="quarter" idx="11" hasCustomPrompt="1"/>
          </p:nvPr>
        </p:nvSpPr>
        <p:spPr>
          <a:xfrm>
            <a:off x="1712100" y="5742878"/>
            <a:ext cx="6190847" cy="863104"/>
          </a:xfrm>
          <a:solidFill>
            <a:srgbClr val="E4E5E3"/>
          </a:solidFill>
        </p:spPr>
        <p:txBody>
          <a:bodyPr>
            <a:noAutofit/>
          </a:bodyPr>
          <a:lstStyle>
            <a:lvl1pPr>
              <a:lnSpc>
                <a:spcPct val="100000"/>
              </a:lnSpc>
              <a:defRPr b="1"/>
            </a:lvl1pPr>
          </a:lstStyle>
          <a:p>
            <a:pPr lvl="0"/>
            <a:r>
              <a:rPr lang="en-US"/>
              <a:t>Put the title here</a:t>
            </a:r>
          </a:p>
        </p:txBody>
      </p:sp>
      <p:sp>
        <p:nvSpPr>
          <p:cNvPr id="7" name="Text Placeholder 5">
            <a:extLst>
              <a:ext uri="{FF2B5EF4-FFF2-40B4-BE49-F238E27FC236}">
                <a16:creationId xmlns:a16="http://schemas.microsoft.com/office/drawing/2014/main" id="{0D2B4B01-8F71-1C43-804A-AE91ACAAB690}"/>
              </a:ext>
            </a:extLst>
          </p:cNvPr>
          <p:cNvSpPr>
            <a:spLocks noGrp="1"/>
          </p:cNvSpPr>
          <p:nvPr>
            <p:ph type="body" sz="quarter" idx="12" hasCustomPrompt="1"/>
          </p:nvPr>
        </p:nvSpPr>
        <p:spPr>
          <a:xfrm>
            <a:off x="1712100" y="6858002"/>
            <a:ext cx="6190847" cy="2899880"/>
          </a:xfrm>
        </p:spPr>
        <p:txBody>
          <a:bodyPr>
            <a:noAutofit/>
          </a:bodyPr>
          <a:lstStyle>
            <a:lvl1pPr>
              <a:lnSpc>
                <a:spcPct val="100000"/>
              </a:lnSpc>
              <a:spcBef>
                <a:spcPts val="0"/>
              </a:spcBef>
              <a:defRPr sz="2800"/>
            </a:lvl1pPr>
          </a:lstStyle>
          <a:p>
            <a:pPr lvl="0"/>
            <a:r>
              <a:rPr lang="en-US"/>
              <a:t>Put the body text or caption here</a:t>
            </a:r>
            <a:endParaRPr lang="en-GB"/>
          </a:p>
        </p:txBody>
      </p:sp>
      <p:sp>
        <p:nvSpPr>
          <p:cNvPr id="9" name="Text Placeholder 5">
            <a:extLst>
              <a:ext uri="{FF2B5EF4-FFF2-40B4-BE49-F238E27FC236}">
                <a16:creationId xmlns:a16="http://schemas.microsoft.com/office/drawing/2014/main" id="{08916781-0481-B64C-A15B-60E03E7E77EA}"/>
              </a:ext>
            </a:extLst>
          </p:cNvPr>
          <p:cNvSpPr>
            <a:spLocks noGrp="1"/>
          </p:cNvSpPr>
          <p:nvPr>
            <p:ph type="body" sz="quarter" idx="14" hasCustomPrompt="1"/>
          </p:nvPr>
        </p:nvSpPr>
        <p:spPr>
          <a:xfrm>
            <a:off x="9049380" y="5742878"/>
            <a:ext cx="6190847" cy="863104"/>
          </a:xfrm>
          <a:solidFill>
            <a:srgbClr val="E4E5E3"/>
          </a:solidFill>
        </p:spPr>
        <p:txBody>
          <a:bodyPr>
            <a:noAutofit/>
          </a:bodyPr>
          <a:lstStyle>
            <a:lvl1pPr>
              <a:lnSpc>
                <a:spcPct val="100000"/>
              </a:lnSpc>
              <a:defRPr b="1"/>
            </a:lvl1pPr>
          </a:lstStyle>
          <a:p>
            <a:pPr lvl="0"/>
            <a:r>
              <a:rPr lang="en-US"/>
              <a:t>Put the title here</a:t>
            </a:r>
          </a:p>
        </p:txBody>
      </p:sp>
      <p:sp>
        <p:nvSpPr>
          <p:cNvPr id="10" name="Text Placeholder 5">
            <a:extLst>
              <a:ext uri="{FF2B5EF4-FFF2-40B4-BE49-F238E27FC236}">
                <a16:creationId xmlns:a16="http://schemas.microsoft.com/office/drawing/2014/main" id="{CCF4949C-0573-654E-8E4A-1524918D8E6F}"/>
              </a:ext>
            </a:extLst>
          </p:cNvPr>
          <p:cNvSpPr>
            <a:spLocks noGrp="1"/>
          </p:cNvSpPr>
          <p:nvPr>
            <p:ph type="body" sz="quarter" idx="15" hasCustomPrompt="1"/>
          </p:nvPr>
        </p:nvSpPr>
        <p:spPr>
          <a:xfrm>
            <a:off x="9049380" y="6858002"/>
            <a:ext cx="6190847" cy="2899880"/>
          </a:xfrm>
        </p:spPr>
        <p:txBody>
          <a:bodyPr>
            <a:noAutofit/>
          </a:bodyPr>
          <a:lstStyle>
            <a:lvl1pPr>
              <a:lnSpc>
                <a:spcPct val="100000"/>
              </a:lnSpc>
              <a:spcBef>
                <a:spcPts val="0"/>
              </a:spcBef>
              <a:defRPr sz="2800"/>
            </a:lvl1pPr>
          </a:lstStyle>
          <a:p>
            <a:pPr lvl="0"/>
            <a:r>
              <a:rPr lang="en-US"/>
              <a:t>Put the body text or caption here</a:t>
            </a:r>
            <a:endParaRPr lang="en-GB"/>
          </a:p>
        </p:txBody>
      </p:sp>
      <p:sp>
        <p:nvSpPr>
          <p:cNvPr id="11" name="Text Placeholder 5">
            <a:extLst>
              <a:ext uri="{FF2B5EF4-FFF2-40B4-BE49-F238E27FC236}">
                <a16:creationId xmlns:a16="http://schemas.microsoft.com/office/drawing/2014/main" id="{A4742B0C-C25C-194C-9FE2-34262FB01095}"/>
              </a:ext>
            </a:extLst>
          </p:cNvPr>
          <p:cNvSpPr>
            <a:spLocks noGrp="1"/>
          </p:cNvSpPr>
          <p:nvPr>
            <p:ph type="body" sz="quarter" idx="16" hasCustomPrompt="1"/>
          </p:nvPr>
        </p:nvSpPr>
        <p:spPr>
          <a:xfrm>
            <a:off x="16490690" y="5742878"/>
            <a:ext cx="6190847" cy="863104"/>
          </a:xfrm>
          <a:solidFill>
            <a:srgbClr val="E4E5E3"/>
          </a:solidFill>
        </p:spPr>
        <p:txBody>
          <a:bodyPr>
            <a:noAutofit/>
          </a:bodyPr>
          <a:lstStyle>
            <a:lvl1pPr>
              <a:lnSpc>
                <a:spcPct val="100000"/>
              </a:lnSpc>
              <a:defRPr b="1"/>
            </a:lvl1pPr>
          </a:lstStyle>
          <a:p>
            <a:pPr lvl="0"/>
            <a:r>
              <a:rPr lang="en-US"/>
              <a:t>Put the title here</a:t>
            </a:r>
          </a:p>
        </p:txBody>
      </p:sp>
      <p:sp>
        <p:nvSpPr>
          <p:cNvPr id="12" name="Text Placeholder 5">
            <a:extLst>
              <a:ext uri="{FF2B5EF4-FFF2-40B4-BE49-F238E27FC236}">
                <a16:creationId xmlns:a16="http://schemas.microsoft.com/office/drawing/2014/main" id="{334FE28E-7BB9-5247-A7EF-E68623CEC0DF}"/>
              </a:ext>
            </a:extLst>
          </p:cNvPr>
          <p:cNvSpPr>
            <a:spLocks noGrp="1"/>
          </p:cNvSpPr>
          <p:nvPr>
            <p:ph type="body" sz="quarter" idx="17" hasCustomPrompt="1"/>
          </p:nvPr>
        </p:nvSpPr>
        <p:spPr>
          <a:xfrm>
            <a:off x="16490690" y="6858002"/>
            <a:ext cx="6190847" cy="2899880"/>
          </a:xfrm>
        </p:spPr>
        <p:txBody>
          <a:bodyPr>
            <a:noAutofit/>
          </a:bodyPr>
          <a:lstStyle>
            <a:lvl1pPr>
              <a:lnSpc>
                <a:spcPct val="100000"/>
              </a:lnSpc>
              <a:spcBef>
                <a:spcPts val="0"/>
              </a:spcBef>
              <a:defRPr sz="2800"/>
            </a:lvl1pPr>
          </a:lstStyle>
          <a:p>
            <a:pPr lvl="0"/>
            <a:r>
              <a:rPr lang="en-US"/>
              <a:t>Put the body text or caption here</a:t>
            </a:r>
            <a:endParaRPr lang="en-GB"/>
          </a:p>
        </p:txBody>
      </p:sp>
      <p:sp>
        <p:nvSpPr>
          <p:cNvPr id="15" name="Title 1">
            <a:extLst>
              <a:ext uri="{FF2B5EF4-FFF2-40B4-BE49-F238E27FC236}">
                <a16:creationId xmlns:a16="http://schemas.microsoft.com/office/drawing/2014/main" id="{AC11DA65-BB4F-5E44-93BC-902C228635DB}"/>
              </a:ext>
            </a:extLst>
          </p:cNvPr>
          <p:cNvSpPr>
            <a:spLocks noGrp="1"/>
          </p:cNvSpPr>
          <p:nvPr>
            <p:ph type="title" hasCustomPrompt="1"/>
          </p:nvPr>
        </p:nvSpPr>
        <p:spPr>
          <a:xfrm>
            <a:off x="1676293" y="1677601"/>
            <a:ext cx="21033007" cy="3457574"/>
          </a:xfrm>
          <a:prstGeom prst="rect">
            <a:avLst/>
          </a:prstGeom>
        </p:spPr>
        <p:txBody>
          <a:bodyPr/>
          <a:lstStyle>
            <a:lvl1pPr>
              <a:lnSpc>
                <a:spcPct val="100000"/>
              </a:lnSpc>
              <a:defRPr sz="7200"/>
            </a:lvl1pPr>
          </a:lstStyle>
          <a:p>
            <a:r>
              <a:rPr lang="en-US"/>
              <a:t>Put the slide headline here, </a:t>
            </a:r>
            <a:br>
              <a:rPr lang="en-US"/>
            </a:br>
            <a:r>
              <a:rPr lang="en-US"/>
              <a:t>keep it bold 36 </a:t>
            </a:r>
            <a:r>
              <a:rPr lang="en-US" err="1"/>
              <a:t>pt</a:t>
            </a:r>
            <a:endParaRPr lang="en-US"/>
          </a:p>
        </p:txBody>
      </p:sp>
      <p:sp>
        <p:nvSpPr>
          <p:cNvPr id="2" name="Footer Placeholder 1">
            <a:extLst>
              <a:ext uri="{FF2B5EF4-FFF2-40B4-BE49-F238E27FC236}">
                <a16:creationId xmlns:a16="http://schemas.microsoft.com/office/drawing/2014/main" id="{55D37FF6-CE62-1746-9BE3-14CF444B56EF}"/>
              </a:ext>
            </a:extLst>
          </p:cNvPr>
          <p:cNvSpPr>
            <a:spLocks noGrp="1"/>
          </p:cNvSpPr>
          <p:nvPr>
            <p:ph type="ftr" sz="quarter" idx="18"/>
          </p:nvPr>
        </p:nvSpPr>
        <p:spPr>
          <a:xfrm>
            <a:off x="1676291" y="12762655"/>
            <a:ext cx="10514916" cy="586238"/>
          </a:xfrm>
          <a:prstGeom prst="rect">
            <a:avLst/>
          </a:prstGeom>
        </p:spPr>
        <p:txBody>
          <a:bodyPr/>
          <a:lstStyle/>
          <a:p>
            <a:endParaRPr lang="en-GB"/>
          </a:p>
        </p:txBody>
      </p:sp>
    </p:spTree>
    <p:extLst>
      <p:ext uri="{BB962C8B-B14F-4D97-AF65-F5344CB8AC3E}">
        <p14:creationId xmlns:p14="http://schemas.microsoft.com/office/powerpoint/2010/main" val="3355590967"/>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Levels with descriptions">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0D2B4B01-8F71-1C43-804A-AE91ACAAB690}"/>
              </a:ext>
            </a:extLst>
          </p:cNvPr>
          <p:cNvSpPr>
            <a:spLocks noGrp="1"/>
          </p:cNvSpPr>
          <p:nvPr>
            <p:ph type="body" sz="quarter" idx="12" hasCustomPrompt="1"/>
          </p:nvPr>
        </p:nvSpPr>
        <p:spPr>
          <a:xfrm>
            <a:off x="13199256" y="5695723"/>
            <a:ext cx="6190847" cy="1397590"/>
          </a:xfrm>
        </p:spPr>
        <p:txBody>
          <a:bodyPr>
            <a:noAutofit/>
          </a:bodyPr>
          <a:lstStyle>
            <a:lvl1pPr>
              <a:spcBef>
                <a:spcPts val="0"/>
              </a:spcBef>
              <a:defRPr sz="2800"/>
            </a:lvl1pPr>
          </a:lstStyle>
          <a:p>
            <a:pPr lvl="0"/>
            <a:r>
              <a:rPr lang="en-US"/>
              <a:t>Put the body text or caption here</a:t>
            </a:r>
            <a:endParaRPr lang="en-GB"/>
          </a:p>
        </p:txBody>
      </p:sp>
      <p:sp>
        <p:nvSpPr>
          <p:cNvPr id="10" name="Text Placeholder 5">
            <a:extLst>
              <a:ext uri="{FF2B5EF4-FFF2-40B4-BE49-F238E27FC236}">
                <a16:creationId xmlns:a16="http://schemas.microsoft.com/office/drawing/2014/main" id="{CCF4949C-0573-654E-8E4A-1524918D8E6F}"/>
              </a:ext>
            </a:extLst>
          </p:cNvPr>
          <p:cNvSpPr>
            <a:spLocks noGrp="1"/>
          </p:cNvSpPr>
          <p:nvPr>
            <p:ph type="body" sz="quarter" idx="15" hasCustomPrompt="1"/>
          </p:nvPr>
        </p:nvSpPr>
        <p:spPr>
          <a:xfrm>
            <a:off x="13199256" y="7832867"/>
            <a:ext cx="6190847" cy="1397590"/>
          </a:xfrm>
        </p:spPr>
        <p:txBody>
          <a:bodyPr>
            <a:noAutofit/>
          </a:bodyPr>
          <a:lstStyle>
            <a:lvl1pPr>
              <a:spcBef>
                <a:spcPts val="0"/>
              </a:spcBef>
              <a:defRPr sz="2800"/>
            </a:lvl1pPr>
          </a:lstStyle>
          <a:p>
            <a:pPr lvl="0"/>
            <a:r>
              <a:rPr lang="en-US"/>
              <a:t>Put the body text or caption here</a:t>
            </a:r>
            <a:endParaRPr lang="en-GB"/>
          </a:p>
        </p:txBody>
      </p:sp>
      <p:sp>
        <p:nvSpPr>
          <p:cNvPr id="12" name="Text Placeholder 5">
            <a:extLst>
              <a:ext uri="{FF2B5EF4-FFF2-40B4-BE49-F238E27FC236}">
                <a16:creationId xmlns:a16="http://schemas.microsoft.com/office/drawing/2014/main" id="{334FE28E-7BB9-5247-A7EF-E68623CEC0DF}"/>
              </a:ext>
            </a:extLst>
          </p:cNvPr>
          <p:cNvSpPr>
            <a:spLocks noGrp="1"/>
          </p:cNvSpPr>
          <p:nvPr>
            <p:ph type="body" sz="quarter" idx="17" hasCustomPrompt="1"/>
          </p:nvPr>
        </p:nvSpPr>
        <p:spPr>
          <a:xfrm>
            <a:off x="13199256" y="9970011"/>
            <a:ext cx="6190847" cy="1397590"/>
          </a:xfrm>
        </p:spPr>
        <p:txBody>
          <a:bodyPr>
            <a:noAutofit/>
          </a:bodyPr>
          <a:lstStyle>
            <a:lvl1pPr>
              <a:spcBef>
                <a:spcPts val="0"/>
              </a:spcBef>
              <a:defRPr sz="2800"/>
            </a:lvl1pPr>
          </a:lstStyle>
          <a:p>
            <a:pPr lvl="0"/>
            <a:r>
              <a:rPr lang="en-US"/>
              <a:t>Put the body text or caption here</a:t>
            </a:r>
            <a:endParaRPr lang="en-GB"/>
          </a:p>
        </p:txBody>
      </p:sp>
      <p:sp>
        <p:nvSpPr>
          <p:cNvPr id="9" name="Text Placeholder 5">
            <a:extLst>
              <a:ext uri="{FF2B5EF4-FFF2-40B4-BE49-F238E27FC236}">
                <a16:creationId xmlns:a16="http://schemas.microsoft.com/office/drawing/2014/main" id="{08916781-0481-B64C-A15B-60E03E7E77EA}"/>
              </a:ext>
            </a:extLst>
          </p:cNvPr>
          <p:cNvSpPr>
            <a:spLocks noGrp="1"/>
          </p:cNvSpPr>
          <p:nvPr>
            <p:ph type="body" sz="quarter" idx="14" hasCustomPrompt="1"/>
          </p:nvPr>
        </p:nvSpPr>
        <p:spPr>
          <a:xfrm>
            <a:off x="4674905" y="5695723"/>
            <a:ext cx="6633094" cy="1397590"/>
          </a:xfrm>
          <a:solidFill>
            <a:srgbClr val="E4E5E3"/>
          </a:solidFill>
        </p:spPr>
        <p:txBody>
          <a:bodyPr anchor="ctr">
            <a:noAutofit/>
          </a:bodyPr>
          <a:lstStyle>
            <a:lvl1pPr>
              <a:defRPr sz="3600"/>
            </a:lvl1pPr>
          </a:lstStyle>
          <a:p>
            <a:pPr lvl="0"/>
            <a:r>
              <a:rPr lang="en-US"/>
              <a:t>Put the title here</a:t>
            </a:r>
          </a:p>
        </p:txBody>
      </p:sp>
      <p:sp>
        <p:nvSpPr>
          <p:cNvPr id="15" name="Text Placeholder 5">
            <a:extLst>
              <a:ext uri="{FF2B5EF4-FFF2-40B4-BE49-F238E27FC236}">
                <a16:creationId xmlns:a16="http://schemas.microsoft.com/office/drawing/2014/main" id="{B0FD171A-0961-AF47-AF11-4B67E2B02EBC}"/>
              </a:ext>
            </a:extLst>
          </p:cNvPr>
          <p:cNvSpPr>
            <a:spLocks noGrp="1"/>
          </p:cNvSpPr>
          <p:nvPr>
            <p:ph type="body" sz="quarter" idx="18" hasCustomPrompt="1"/>
          </p:nvPr>
        </p:nvSpPr>
        <p:spPr>
          <a:xfrm>
            <a:off x="4674905" y="7832867"/>
            <a:ext cx="6633094" cy="1397590"/>
          </a:xfrm>
          <a:solidFill>
            <a:srgbClr val="E4E5E3"/>
          </a:solidFill>
        </p:spPr>
        <p:txBody>
          <a:bodyPr anchor="ctr">
            <a:noAutofit/>
          </a:bodyPr>
          <a:lstStyle>
            <a:lvl1pPr>
              <a:defRPr sz="3600"/>
            </a:lvl1pPr>
          </a:lstStyle>
          <a:p>
            <a:pPr lvl="0"/>
            <a:r>
              <a:rPr lang="en-US"/>
              <a:t>Put the title here</a:t>
            </a:r>
          </a:p>
        </p:txBody>
      </p:sp>
      <p:sp>
        <p:nvSpPr>
          <p:cNvPr id="16" name="Text Placeholder 5">
            <a:extLst>
              <a:ext uri="{FF2B5EF4-FFF2-40B4-BE49-F238E27FC236}">
                <a16:creationId xmlns:a16="http://schemas.microsoft.com/office/drawing/2014/main" id="{08483BCA-AF2F-134B-A357-367A5706C697}"/>
              </a:ext>
            </a:extLst>
          </p:cNvPr>
          <p:cNvSpPr>
            <a:spLocks noGrp="1"/>
          </p:cNvSpPr>
          <p:nvPr>
            <p:ph type="body" sz="quarter" idx="19" hasCustomPrompt="1"/>
          </p:nvPr>
        </p:nvSpPr>
        <p:spPr>
          <a:xfrm>
            <a:off x="4674905" y="9970011"/>
            <a:ext cx="6633094" cy="1397590"/>
          </a:xfrm>
          <a:solidFill>
            <a:srgbClr val="E4E5E3"/>
          </a:solidFill>
        </p:spPr>
        <p:txBody>
          <a:bodyPr anchor="ctr">
            <a:noAutofit/>
          </a:bodyPr>
          <a:lstStyle>
            <a:lvl1pPr>
              <a:defRPr sz="3600"/>
            </a:lvl1pPr>
          </a:lstStyle>
          <a:p>
            <a:pPr lvl="0"/>
            <a:r>
              <a:rPr lang="en-US"/>
              <a:t>Put the title here</a:t>
            </a:r>
          </a:p>
        </p:txBody>
      </p:sp>
      <p:sp>
        <p:nvSpPr>
          <p:cNvPr id="14" name="Title 1">
            <a:extLst>
              <a:ext uri="{FF2B5EF4-FFF2-40B4-BE49-F238E27FC236}">
                <a16:creationId xmlns:a16="http://schemas.microsoft.com/office/drawing/2014/main" id="{C2251F9F-54CD-8945-9716-7D15439B9923}"/>
              </a:ext>
            </a:extLst>
          </p:cNvPr>
          <p:cNvSpPr>
            <a:spLocks noGrp="1"/>
          </p:cNvSpPr>
          <p:nvPr>
            <p:ph type="title" hasCustomPrompt="1"/>
          </p:nvPr>
        </p:nvSpPr>
        <p:spPr>
          <a:xfrm>
            <a:off x="1676293" y="1677601"/>
            <a:ext cx="21033007" cy="3457574"/>
          </a:xfrm>
          <a:prstGeom prst="rect">
            <a:avLst/>
          </a:prstGeom>
        </p:spPr>
        <p:txBody>
          <a:bodyPr/>
          <a:lstStyle>
            <a:lvl1pPr>
              <a:lnSpc>
                <a:spcPct val="100000"/>
              </a:lnSpc>
              <a:defRPr sz="7200"/>
            </a:lvl1pPr>
          </a:lstStyle>
          <a:p>
            <a:r>
              <a:rPr lang="en-US"/>
              <a:t>Put the slide headline here, </a:t>
            </a:r>
            <a:br>
              <a:rPr lang="en-US"/>
            </a:br>
            <a:r>
              <a:rPr lang="en-US"/>
              <a:t>keep it bold 36 </a:t>
            </a:r>
            <a:r>
              <a:rPr lang="en-US" err="1"/>
              <a:t>pt</a:t>
            </a:r>
            <a:endParaRPr lang="en-US"/>
          </a:p>
        </p:txBody>
      </p:sp>
      <p:sp>
        <p:nvSpPr>
          <p:cNvPr id="2" name="Footer Placeholder 1">
            <a:extLst>
              <a:ext uri="{FF2B5EF4-FFF2-40B4-BE49-F238E27FC236}">
                <a16:creationId xmlns:a16="http://schemas.microsoft.com/office/drawing/2014/main" id="{41B83894-EB72-F046-AFC0-B3038632DB2D}"/>
              </a:ext>
            </a:extLst>
          </p:cNvPr>
          <p:cNvSpPr>
            <a:spLocks noGrp="1"/>
          </p:cNvSpPr>
          <p:nvPr>
            <p:ph type="ftr" sz="quarter" idx="20"/>
          </p:nvPr>
        </p:nvSpPr>
        <p:spPr>
          <a:xfrm>
            <a:off x="1676291" y="12762655"/>
            <a:ext cx="10514916" cy="586238"/>
          </a:xfrm>
          <a:prstGeom prst="rect">
            <a:avLst/>
          </a:prstGeom>
        </p:spPr>
        <p:txBody>
          <a:bodyPr/>
          <a:lstStyle/>
          <a:p>
            <a:endParaRPr lang="en-GB"/>
          </a:p>
        </p:txBody>
      </p:sp>
    </p:spTree>
    <p:extLst>
      <p:ext uri="{BB962C8B-B14F-4D97-AF65-F5344CB8AC3E}">
        <p14:creationId xmlns:p14="http://schemas.microsoft.com/office/powerpoint/2010/main" val="3697908541"/>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efore–after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413F907-AE77-0746-B805-0D2E5F01B01D}"/>
              </a:ext>
            </a:extLst>
          </p:cNvPr>
          <p:cNvSpPr>
            <a:spLocks noGrp="1"/>
          </p:cNvSpPr>
          <p:nvPr>
            <p:ph type="pic" sz="quarter" idx="17" hasCustomPrompt="1"/>
          </p:nvPr>
        </p:nvSpPr>
        <p:spPr>
          <a:xfrm>
            <a:off x="3263687" y="4045531"/>
            <a:ext cx="7200433" cy="4606926"/>
          </a:xfrm>
          <a:solidFill>
            <a:srgbClr val="E4E5E3"/>
          </a:solidFill>
        </p:spPr>
        <p:txBody>
          <a:bodyPr>
            <a:normAutofit/>
          </a:bodyPr>
          <a:lstStyle>
            <a:lvl1pPr marL="0" indent="0">
              <a:buNone/>
              <a:defRPr sz="2800">
                <a:solidFill>
                  <a:schemeClr val="bg1">
                    <a:lumMod val="50000"/>
                  </a:schemeClr>
                </a:solidFill>
              </a:defRPr>
            </a:lvl1pPr>
          </a:lstStyle>
          <a:p>
            <a:r>
              <a:rPr lang="en-US"/>
              <a:t>Drag and drop or click the icon to add a picture</a:t>
            </a:r>
          </a:p>
        </p:txBody>
      </p:sp>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13984331" y="4045531"/>
            <a:ext cx="7200433" cy="4606926"/>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pic>
        <p:nvPicPr>
          <p:cNvPr id="2" name="Picture 1">
            <a:extLst>
              <a:ext uri="{FF2B5EF4-FFF2-40B4-BE49-F238E27FC236}">
                <a16:creationId xmlns:a16="http://schemas.microsoft.com/office/drawing/2014/main" id="{86D6265E-70AC-3048-8EA1-7C44308317B8}"/>
              </a:ext>
            </a:extLst>
          </p:cNvPr>
          <p:cNvPicPr>
            <a:picLocks noChangeAspect="1"/>
          </p:cNvPicPr>
          <p:nvPr userDrawn="1"/>
        </p:nvPicPr>
        <p:blipFill>
          <a:blip r:embed="rId2"/>
          <a:stretch>
            <a:fillRect/>
          </a:stretch>
        </p:blipFill>
        <p:spPr>
          <a:xfrm>
            <a:off x="11420351" y="5753339"/>
            <a:ext cx="1541714" cy="1257798"/>
          </a:xfrm>
          <a:prstGeom prst="rect">
            <a:avLst/>
          </a:prstGeom>
        </p:spPr>
      </p:pic>
      <p:sp>
        <p:nvSpPr>
          <p:cNvPr id="13" name="Title 1">
            <a:extLst>
              <a:ext uri="{FF2B5EF4-FFF2-40B4-BE49-F238E27FC236}">
                <a16:creationId xmlns:a16="http://schemas.microsoft.com/office/drawing/2014/main" id="{3915BC80-B2FE-8249-98A7-3859708C64C5}"/>
              </a:ext>
            </a:extLst>
          </p:cNvPr>
          <p:cNvSpPr>
            <a:spLocks noGrp="1"/>
          </p:cNvSpPr>
          <p:nvPr>
            <p:ph type="title" hasCustomPrompt="1"/>
          </p:nvPr>
        </p:nvSpPr>
        <p:spPr>
          <a:xfrm>
            <a:off x="1676293" y="1677601"/>
            <a:ext cx="21033007" cy="2372302"/>
          </a:xfrm>
          <a:prstGeom prst="rect">
            <a:avLst/>
          </a:prstGeom>
        </p:spPr>
        <p:txBody>
          <a:bodyPr/>
          <a:lstStyle>
            <a:lvl1pPr>
              <a:lnSpc>
                <a:spcPct val="100000"/>
              </a:lnSpc>
              <a:defRPr sz="7200"/>
            </a:lvl1pPr>
          </a:lstStyle>
          <a:p>
            <a:r>
              <a:rPr lang="en-US"/>
              <a:t>Put the slide headline here</a:t>
            </a:r>
          </a:p>
        </p:txBody>
      </p:sp>
      <p:sp>
        <p:nvSpPr>
          <p:cNvPr id="4" name="Footer Placeholder 3">
            <a:extLst>
              <a:ext uri="{FF2B5EF4-FFF2-40B4-BE49-F238E27FC236}">
                <a16:creationId xmlns:a16="http://schemas.microsoft.com/office/drawing/2014/main" id="{FA997E8B-6A72-3349-82A2-CA12BBB442EA}"/>
              </a:ext>
            </a:extLst>
          </p:cNvPr>
          <p:cNvSpPr>
            <a:spLocks noGrp="1"/>
          </p:cNvSpPr>
          <p:nvPr>
            <p:ph type="ftr" sz="quarter" idx="21"/>
          </p:nvPr>
        </p:nvSpPr>
        <p:spPr>
          <a:xfrm>
            <a:off x="1676291" y="12762655"/>
            <a:ext cx="10514916" cy="586238"/>
          </a:xfrm>
          <a:prstGeom prst="rect">
            <a:avLst/>
          </a:prstGeom>
        </p:spPr>
        <p:txBody>
          <a:bodyPr/>
          <a:lstStyle/>
          <a:p>
            <a:endParaRPr lang="en-GB"/>
          </a:p>
        </p:txBody>
      </p:sp>
      <p:sp>
        <p:nvSpPr>
          <p:cNvPr id="16" name="Text Placeholder 5">
            <a:extLst>
              <a:ext uri="{FF2B5EF4-FFF2-40B4-BE49-F238E27FC236}">
                <a16:creationId xmlns:a16="http://schemas.microsoft.com/office/drawing/2014/main" id="{8B805C66-9B81-6F4A-8653-8751DC71F3C3}"/>
              </a:ext>
            </a:extLst>
          </p:cNvPr>
          <p:cNvSpPr>
            <a:spLocks noGrp="1"/>
          </p:cNvSpPr>
          <p:nvPr>
            <p:ph type="body" sz="quarter" idx="12" hasCustomPrompt="1"/>
          </p:nvPr>
        </p:nvSpPr>
        <p:spPr>
          <a:xfrm>
            <a:off x="3263687" y="9038944"/>
            <a:ext cx="7200433" cy="2859616"/>
          </a:xfrm>
        </p:spPr>
        <p:txBody>
          <a:bodyPr>
            <a:noAutofit/>
          </a:bodyPr>
          <a:lstStyle>
            <a:lvl1pPr>
              <a:spcBef>
                <a:spcPts val="0"/>
              </a:spcBef>
              <a:defRPr sz="2800"/>
            </a:lvl1pPr>
          </a:lstStyle>
          <a:p>
            <a:pPr lvl="0"/>
            <a:r>
              <a:rPr lang="en-US"/>
              <a:t>Put the body text or caption here</a:t>
            </a:r>
            <a:endParaRPr lang="en-GB"/>
          </a:p>
        </p:txBody>
      </p:sp>
      <p:sp>
        <p:nvSpPr>
          <p:cNvPr id="17" name="Text Placeholder 5">
            <a:extLst>
              <a:ext uri="{FF2B5EF4-FFF2-40B4-BE49-F238E27FC236}">
                <a16:creationId xmlns:a16="http://schemas.microsoft.com/office/drawing/2014/main" id="{FA6FB3B4-ED87-C644-AEAC-F1AF465F1548}"/>
              </a:ext>
            </a:extLst>
          </p:cNvPr>
          <p:cNvSpPr>
            <a:spLocks noGrp="1"/>
          </p:cNvSpPr>
          <p:nvPr>
            <p:ph type="body" sz="quarter" idx="22" hasCustomPrompt="1"/>
          </p:nvPr>
        </p:nvSpPr>
        <p:spPr>
          <a:xfrm>
            <a:off x="13993172" y="9038944"/>
            <a:ext cx="7200433" cy="2859616"/>
          </a:xfrm>
        </p:spPr>
        <p:txBody>
          <a:bodyPr>
            <a:noAutofit/>
          </a:bodyPr>
          <a:lstStyle>
            <a:lvl1pPr>
              <a:spcBef>
                <a:spcPts val="0"/>
              </a:spcBef>
              <a:defRPr sz="2800"/>
            </a:lvl1pPr>
          </a:lstStyle>
          <a:p>
            <a:pPr lvl="0"/>
            <a:r>
              <a:rPr lang="en-US"/>
              <a:t>Put the body text or caption here</a:t>
            </a:r>
            <a:endParaRPr lang="en-GB"/>
          </a:p>
        </p:txBody>
      </p:sp>
    </p:spTree>
    <p:extLst>
      <p:ext uri="{BB962C8B-B14F-4D97-AF65-F5344CB8AC3E}">
        <p14:creationId xmlns:p14="http://schemas.microsoft.com/office/powerpoint/2010/main" val="2798214841"/>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Images with description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413F907-AE77-0746-B805-0D2E5F01B01D}"/>
              </a:ext>
            </a:extLst>
          </p:cNvPr>
          <p:cNvSpPr>
            <a:spLocks noGrp="1"/>
          </p:cNvSpPr>
          <p:nvPr>
            <p:ph type="pic" sz="quarter" idx="17" hasCustomPrompt="1"/>
          </p:nvPr>
        </p:nvSpPr>
        <p:spPr>
          <a:xfrm>
            <a:off x="1710102" y="4124207"/>
            <a:ext cx="6113952" cy="4606926"/>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9167072" y="4124207"/>
            <a:ext cx="6113952" cy="4606926"/>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13" name="Picture Placeholder 2">
            <a:extLst>
              <a:ext uri="{FF2B5EF4-FFF2-40B4-BE49-F238E27FC236}">
                <a16:creationId xmlns:a16="http://schemas.microsoft.com/office/drawing/2014/main" id="{AADE64AA-EB12-9B42-B094-87CAEF84C4AB}"/>
              </a:ext>
            </a:extLst>
          </p:cNvPr>
          <p:cNvSpPr>
            <a:spLocks noGrp="1"/>
          </p:cNvSpPr>
          <p:nvPr>
            <p:ph type="pic" sz="quarter" idx="23" hasCustomPrompt="1"/>
          </p:nvPr>
        </p:nvSpPr>
        <p:spPr>
          <a:xfrm>
            <a:off x="16545286" y="4124207"/>
            <a:ext cx="6113952" cy="4606926"/>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14" name="Title 1">
            <a:extLst>
              <a:ext uri="{FF2B5EF4-FFF2-40B4-BE49-F238E27FC236}">
                <a16:creationId xmlns:a16="http://schemas.microsoft.com/office/drawing/2014/main" id="{15330994-19DA-9E46-A2E3-C446A8DB80A5}"/>
              </a:ext>
            </a:extLst>
          </p:cNvPr>
          <p:cNvSpPr>
            <a:spLocks noGrp="1"/>
          </p:cNvSpPr>
          <p:nvPr>
            <p:ph type="title" hasCustomPrompt="1"/>
          </p:nvPr>
        </p:nvSpPr>
        <p:spPr>
          <a:xfrm>
            <a:off x="1676293" y="1677601"/>
            <a:ext cx="21033007" cy="2450978"/>
          </a:xfrm>
          <a:prstGeom prst="rect">
            <a:avLst/>
          </a:prstGeom>
        </p:spPr>
        <p:txBody>
          <a:bodyPr/>
          <a:lstStyle>
            <a:lvl1pPr>
              <a:lnSpc>
                <a:spcPct val="100000"/>
              </a:lnSpc>
              <a:defRPr sz="7200"/>
            </a:lvl1pPr>
          </a:lstStyle>
          <a:p>
            <a:r>
              <a:rPr lang="en-US"/>
              <a:t>Put the slide headline here</a:t>
            </a:r>
          </a:p>
        </p:txBody>
      </p:sp>
      <p:sp>
        <p:nvSpPr>
          <p:cNvPr id="2" name="Footer Placeholder 1">
            <a:extLst>
              <a:ext uri="{FF2B5EF4-FFF2-40B4-BE49-F238E27FC236}">
                <a16:creationId xmlns:a16="http://schemas.microsoft.com/office/drawing/2014/main" id="{CF89DA20-A770-304C-BB29-23501562357F}"/>
              </a:ext>
            </a:extLst>
          </p:cNvPr>
          <p:cNvSpPr>
            <a:spLocks noGrp="1"/>
          </p:cNvSpPr>
          <p:nvPr>
            <p:ph type="ftr" sz="quarter" idx="29"/>
          </p:nvPr>
        </p:nvSpPr>
        <p:spPr>
          <a:xfrm>
            <a:off x="1676291" y="12762655"/>
            <a:ext cx="10514916" cy="586238"/>
          </a:xfrm>
          <a:prstGeom prst="rect">
            <a:avLst/>
          </a:prstGeom>
        </p:spPr>
        <p:txBody>
          <a:bodyPr/>
          <a:lstStyle/>
          <a:p>
            <a:endParaRPr lang="en-GB"/>
          </a:p>
        </p:txBody>
      </p:sp>
      <p:sp>
        <p:nvSpPr>
          <p:cNvPr id="15" name="Text Placeholder 5">
            <a:extLst>
              <a:ext uri="{FF2B5EF4-FFF2-40B4-BE49-F238E27FC236}">
                <a16:creationId xmlns:a16="http://schemas.microsoft.com/office/drawing/2014/main" id="{EA551AE1-5794-8645-B13C-A75DC3F29BBC}"/>
              </a:ext>
            </a:extLst>
          </p:cNvPr>
          <p:cNvSpPr>
            <a:spLocks noGrp="1"/>
          </p:cNvSpPr>
          <p:nvPr>
            <p:ph type="body" sz="quarter" idx="12" hasCustomPrompt="1"/>
          </p:nvPr>
        </p:nvSpPr>
        <p:spPr>
          <a:xfrm>
            <a:off x="1710102" y="9038944"/>
            <a:ext cx="6113952" cy="2859616"/>
          </a:xfrm>
        </p:spPr>
        <p:txBody>
          <a:bodyPr>
            <a:noAutofit/>
          </a:bodyPr>
          <a:lstStyle>
            <a:lvl1pPr>
              <a:spcBef>
                <a:spcPts val="0"/>
              </a:spcBef>
              <a:defRPr sz="2800"/>
            </a:lvl1pPr>
          </a:lstStyle>
          <a:p>
            <a:pPr lvl="0"/>
            <a:r>
              <a:rPr lang="en-US"/>
              <a:t>Put the body text or caption here</a:t>
            </a:r>
            <a:endParaRPr lang="en-GB"/>
          </a:p>
        </p:txBody>
      </p:sp>
      <p:sp>
        <p:nvSpPr>
          <p:cNvPr id="16" name="Text Placeholder 5">
            <a:extLst>
              <a:ext uri="{FF2B5EF4-FFF2-40B4-BE49-F238E27FC236}">
                <a16:creationId xmlns:a16="http://schemas.microsoft.com/office/drawing/2014/main" id="{50C5C652-3240-6341-9095-4EF7D7DC26F2}"/>
              </a:ext>
            </a:extLst>
          </p:cNvPr>
          <p:cNvSpPr>
            <a:spLocks noGrp="1"/>
          </p:cNvSpPr>
          <p:nvPr>
            <p:ph type="body" sz="quarter" idx="30" hasCustomPrompt="1"/>
          </p:nvPr>
        </p:nvSpPr>
        <p:spPr>
          <a:xfrm>
            <a:off x="9134234" y="9038944"/>
            <a:ext cx="6113952" cy="2859616"/>
          </a:xfrm>
        </p:spPr>
        <p:txBody>
          <a:bodyPr>
            <a:noAutofit/>
          </a:bodyPr>
          <a:lstStyle>
            <a:lvl1pPr>
              <a:spcBef>
                <a:spcPts val="0"/>
              </a:spcBef>
              <a:defRPr sz="2800"/>
            </a:lvl1pPr>
          </a:lstStyle>
          <a:p>
            <a:pPr lvl="0"/>
            <a:r>
              <a:rPr lang="en-US"/>
              <a:t>Put the body text or caption here</a:t>
            </a:r>
            <a:endParaRPr lang="en-GB"/>
          </a:p>
        </p:txBody>
      </p:sp>
      <p:sp>
        <p:nvSpPr>
          <p:cNvPr id="25" name="Text Placeholder 5">
            <a:extLst>
              <a:ext uri="{FF2B5EF4-FFF2-40B4-BE49-F238E27FC236}">
                <a16:creationId xmlns:a16="http://schemas.microsoft.com/office/drawing/2014/main" id="{154F45D7-B176-5742-A305-63E532076396}"/>
              </a:ext>
            </a:extLst>
          </p:cNvPr>
          <p:cNvSpPr>
            <a:spLocks noGrp="1"/>
          </p:cNvSpPr>
          <p:nvPr>
            <p:ph type="body" sz="quarter" idx="31" hasCustomPrompt="1"/>
          </p:nvPr>
        </p:nvSpPr>
        <p:spPr>
          <a:xfrm>
            <a:off x="16595349" y="9038944"/>
            <a:ext cx="6113952" cy="2859616"/>
          </a:xfrm>
        </p:spPr>
        <p:txBody>
          <a:bodyPr>
            <a:noAutofit/>
          </a:bodyPr>
          <a:lstStyle>
            <a:lvl1pPr>
              <a:spcBef>
                <a:spcPts val="0"/>
              </a:spcBef>
              <a:defRPr sz="2800"/>
            </a:lvl1pPr>
          </a:lstStyle>
          <a:p>
            <a:pPr lvl="0"/>
            <a:r>
              <a:rPr lang="en-US"/>
              <a:t>Put the body text or caption here</a:t>
            </a:r>
            <a:endParaRPr lang="en-GB"/>
          </a:p>
        </p:txBody>
      </p:sp>
    </p:spTree>
    <p:extLst>
      <p:ext uri="{BB962C8B-B14F-4D97-AF65-F5344CB8AC3E}">
        <p14:creationId xmlns:p14="http://schemas.microsoft.com/office/powerpoint/2010/main" val="966795930"/>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Images with caption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124A353B-E374-7740-BADE-D936639B642B}"/>
              </a:ext>
            </a:extLst>
          </p:cNvPr>
          <p:cNvSpPr>
            <a:spLocks noGrp="1"/>
          </p:cNvSpPr>
          <p:nvPr>
            <p:ph type="body" sz="half" idx="2" hasCustomPrompt="1"/>
          </p:nvPr>
        </p:nvSpPr>
        <p:spPr>
          <a:xfrm>
            <a:off x="8058557" y="1673229"/>
            <a:ext cx="3700633" cy="4032250"/>
          </a:xfrm>
        </p:spPr>
        <p:txBody>
          <a:bodyPr>
            <a:noAutofit/>
          </a:bodyPr>
          <a:lstStyle>
            <a:lvl1pPr marL="0" indent="0">
              <a:lnSpc>
                <a:spcPct val="100000"/>
              </a:lnSpc>
              <a:buNone/>
              <a:defRPr sz="28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US"/>
              <a:t>Put the body text or caption here</a:t>
            </a:r>
            <a:endParaRPr lang="en-GB"/>
          </a:p>
        </p:txBody>
      </p:sp>
      <p:sp>
        <p:nvSpPr>
          <p:cNvPr id="3" name="Picture Placeholder 2">
            <a:extLst>
              <a:ext uri="{FF2B5EF4-FFF2-40B4-BE49-F238E27FC236}">
                <a16:creationId xmlns:a16="http://schemas.microsoft.com/office/drawing/2014/main" id="{DEE2AB82-CBD5-1145-9E32-3577A8B871DC}"/>
              </a:ext>
            </a:extLst>
          </p:cNvPr>
          <p:cNvSpPr>
            <a:spLocks noGrp="1"/>
          </p:cNvSpPr>
          <p:nvPr>
            <p:ph type="pic" sz="quarter" idx="19" hasCustomPrompt="1"/>
          </p:nvPr>
        </p:nvSpPr>
        <p:spPr>
          <a:xfrm>
            <a:off x="1679470" y="1673229"/>
            <a:ext cx="6047980" cy="403225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14" name="Text Placeholder 3">
            <a:extLst>
              <a:ext uri="{FF2B5EF4-FFF2-40B4-BE49-F238E27FC236}">
                <a16:creationId xmlns:a16="http://schemas.microsoft.com/office/drawing/2014/main" id="{0EC9DAF8-6896-F945-BC62-1FA59028EACA}"/>
              </a:ext>
            </a:extLst>
          </p:cNvPr>
          <p:cNvSpPr>
            <a:spLocks noGrp="1"/>
          </p:cNvSpPr>
          <p:nvPr>
            <p:ph type="body" sz="half" idx="20" hasCustomPrompt="1"/>
          </p:nvPr>
        </p:nvSpPr>
        <p:spPr>
          <a:xfrm>
            <a:off x="18984925" y="1673229"/>
            <a:ext cx="3700633" cy="4032250"/>
          </a:xfrm>
        </p:spPr>
        <p:txBody>
          <a:bodyPr>
            <a:noAutofit/>
          </a:bodyPr>
          <a:lstStyle>
            <a:lvl1pPr marL="0" indent="0">
              <a:lnSpc>
                <a:spcPct val="100000"/>
              </a:lnSpc>
              <a:buNone/>
              <a:defRPr sz="28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US"/>
              <a:t>Put the body text or caption here</a:t>
            </a:r>
            <a:endParaRPr lang="en-GB"/>
          </a:p>
        </p:txBody>
      </p:sp>
      <p:sp>
        <p:nvSpPr>
          <p:cNvPr id="15" name="Picture Placeholder 2">
            <a:extLst>
              <a:ext uri="{FF2B5EF4-FFF2-40B4-BE49-F238E27FC236}">
                <a16:creationId xmlns:a16="http://schemas.microsoft.com/office/drawing/2014/main" id="{DFDA796F-563B-BF4B-9884-8B1A4AA2E248}"/>
              </a:ext>
            </a:extLst>
          </p:cNvPr>
          <p:cNvSpPr>
            <a:spLocks noGrp="1"/>
          </p:cNvSpPr>
          <p:nvPr>
            <p:ph type="pic" sz="quarter" idx="21" hasCustomPrompt="1"/>
          </p:nvPr>
        </p:nvSpPr>
        <p:spPr>
          <a:xfrm>
            <a:off x="12605839" y="1673229"/>
            <a:ext cx="6047980" cy="403225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16" name="Text Placeholder 3">
            <a:extLst>
              <a:ext uri="{FF2B5EF4-FFF2-40B4-BE49-F238E27FC236}">
                <a16:creationId xmlns:a16="http://schemas.microsoft.com/office/drawing/2014/main" id="{B2CDF5E0-6262-EF4B-90E2-B7C89A2D4134}"/>
              </a:ext>
            </a:extLst>
          </p:cNvPr>
          <p:cNvSpPr>
            <a:spLocks noGrp="1"/>
          </p:cNvSpPr>
          <p:nvPr>
            <p:ph type="body" sz="half" idx="22" hasCustomPrompt="1"/>
          </p:nvPr>
        </p:nvSpPr>
        <p:spPr>
          <a:xfrm>
            <a:off x="8058557" y="6862449"/>
            <a:ext cx="3700633" cy="4032250"/>
          </a:xfrm>
        </p:spPr>
        <p:txBody>
          <a:bodyPr>
            <a:noAutofit/>
          </a:bodyPr>
          <a:lstStyle>
            <a:lvl1pPr marL="0" indent="0">
              <a:lnSpc>
                <a:spcPct val="100000"/>
              </a:lnSpc>
              <a:buNone/>
              <a:defRPr sz="28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US"/>
              <a:t>Put the body text or caption here</a:t>
            </a:r>
            <a:endParaRPr lang="en-GB"/>
          </a:p>
        </p:txBody>
      </p:sp>
      <p:sp>
        <p:nvSpPr>
          <p:cNvPr id="17" name="Picture Placeholder 2">
            <a:extLst>
              <a:ext uri="{FF2B5EF4-FFF2-40B4-BE49-F238E27FC236}">
                <a16:creationId xmlns:a16="http://schemas.microsoft.com/office/drawing/2014/main" id="{7B0F94D7-E140-844D-9E21-505B0B19C200}"/>
              </a:ext>
            </a:extLst>
          </p:cNvPr>
          <p:cNvSpPr>
            <a:spLocks noGrp="1"/>
          </p:cNvSpPr>
          <p:nvPr>
            <p:ph type="pic" sz="quarter" idx="23" hasCustomPrompt="1"/>
          </p:nvPr>
        </p:nvSpPr>
        <p:spPr>
          <a:xfrm>
            <a:off x="1679470" y="6862449"/>
            <a:ext cx="6047980" cy="403225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24" name="Text Placeholder 3">
            <a:extLst>
              <a:ext uri="{FF2B5EF4-FFF2-40B4-BE49-F238E27FC236}">
                <a16:creationId xmlns:a16="http://schemas.microsoft.com/office/drawing/2014/main" id="{7CD72929-2819-6941-BC3F-7845DE153E75}"/>
              </a:ext>
            </a:extLst>
          </p:cNvPr>
          <p:cNvSpPr>
            <a:spLocks noGrp="1"/>
          </p:cNvSpPr>
          <p:nvPr>
            <p:ph type="body" sz="half" idx="24" hasCustomPrompt="1"/>
          </p:nvPr>
        </p:nvSpPr>
        <p:spPr>
          <a:xfrm>
            <a:off x="18984925" y="6862449"/>
            <a:ext cx="3700633" cy="4032250"/>
          </a:xfrm>
        </p:spPr>
        <p:txBody>
          <a:bodyPr>
            <a:noAutofit/>
          </a:bodyPr>
          <a:lstStyle>
            <a:lvl1pPr marL="0" indent="0">
              <a:lnSpc>
                <a:spcPct val="100000"/>
              </a:lnSpc>
              <a:buNone/>
              <a:defRPr sz="28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US"/>
              <a:t>Put the body text or caption here</a:t>
            </a:r>
            <a:endParaRPr lang="en-GB"/>
          </a:p>
        </p:txBody>
      </p:sp>
      <p:sp>
        <p:nvSpPr>
          <p:cNvPr id="25" name="Picture Placeholder 2">
            <a:extLst>
              <a:ext uri="{FF2B5EF4-FFF2-40B4-BE49-F238E27FC236}">
                <a16:creationId xmlns:a16="http://schemas.microsoft.com/office/drawing/2014/main" id="{F2547076-AD08-1049-989A-EEE9D2FA7CED}"/>
              </a:ext>
            </a:extLst>
          </p:cNvPr>
          <p:cNvSpPr>
            <a:spLocks noGrp="1"/>
          </p:cNvSpPr>
          <p:nvPr>
            <p:ph type="pic" sz="quarter" idx="25" hasCustomPrompt="1"/>
          </p:nvPr>
        </p:nvSpPr>
        <p:spPr>
          <a:xfrm>
            <a:off x="12605839" y="6862449"/>
            <a:ext cx="6047980" cy="403225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2" name="Footer Placeholder 1">
            <a:extLst>
              <a:ext uri="{FF2B5EF4-FFF2-40B4-BE49-F238E27FC236}">
                <a16:creationId xmlns:a16="http://schemas.microsoft.com/office/drawing/2014/main" id="{FB4B94B8-C2C8-9849-8A0D-ED5572B53591}"/>
              </a:ext>
            </a:extLst>
          </p:cNvPr>
          <p:cNvSpPr>
            <a:spLocks noGrp="1"/>
          </p:cNvSpPr>
          <p:nvPr>
            <p:ph type="ftr" sz="quarter" idx="26"/>
          </p:nvPr>
        </p:nvSpPr>
        <p:spPr>
          <a:xfrm>
            <a:off x="1676291" y="12762655"/>
            <a:ext cx="10514916" cy="586238"/>
          </a:xfrm>
          <a:prstGeom prst="rect">
            <a:avLst/>
          </a:prstGeom>
        </p:spPr>
        <p:txBody>
          <a:bodyPr/>
          <a:lstStyle/>
          <a:p>
            <a:endParaRPr lang="en-GB"/>
          </a:p>
        </p:txBody>
      </p:sp>
    </p:spTree>
    <p:extLst>
      <p:ext uri="{BB962C8B-B14F-4D97-AF65-F5344CB8AC3E}">
        <p14:creationId xmlns:p14="http://schemas.microsoft.com/office/powerpoint/2010/main" val="2746359358"/>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Images without caption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A77A03C-07B1-E74B-85E7-036A776F1A9B}"/>
              </a:ext>
            </a:extLst>
          </p:cNvPr>
          <p:cNvSpPr>
            <a:spLocks noGrp="1"/>
          </p:cNvSpPr>
          <p:nvPr>
            <p:ph type="pic" sz="quarter" idx="14" hasCustomPrompt="1"/>
          </p:nvPr>
        </p:nvSpPr>
        <p:spPr>
          <a:xfrm>
            <a:off x="1696387" y="3374393"/>
            <a:ext cx="6622619" cy="403225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20" name="Picture Placeholder 2">
            <a:extLst>
              <a:ext uri="{FF2B5EF4-FFF2-40B4-BE49-F238E27FC236}">
                <a16:creationId xmlns:a16="http://schemas.microsoft.com/office/drawing/2014/main" id="{A688ED8B-A803-244B-9E8D-4403139D9F5F}"/>
              </a:ext>
            </a:extLst>
          </p:cNvPr>
          <p:cNvSpPr>
            <a:spLocks noGrp="1"/>
          </p:cNvSpPr>
          <p:nvPr>
            <p:ph type="pic" sz="quarter" idx="15" hasCustomPrompt="1"/>
          </p:nvPr>
        </p:nvSpPr>
        <p:spPr>
          <a:xfrm>
            <a:off x="8850829" y="3374393"/>
            <a:ext cx="6622619" cy="403225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21" name="Picture Placeholder 2">
            <a:extLst>
              <a:ext uri="{FF2B5EF4-FFF2-40B4-BE49-F238E27FC236}">
                <a16:creationId xmlns:a16="http://schemas.microsoft.com/office/drawing/2014/main" id="{54515BAC-3137-8142-834B-BE5E2C8D89DE}"/>
              </a:ext>
            </a:extLst>
          </p:cNvPr>
          <p:cNvSpPr>
            <a:spLocks noGrp="1"/>
          </p:cNvSpPr>
          <p:nvPr>
            <p:ph type="pic" sz="quarter" idx="16" hasCustomPrompt="1"/>
          </p:nvPr>
        </p:nvSpPr>
        <p:spPr>
          <a:xfrm>
            <a:off x="16051260" y="3374393"/>
            <a:ext cx="6622619" cy="403225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22" name="Picture Placeholder 2">
            <a:extLst>
              <a:ext uri="{FF2B5EF4-FFF2-40B4-BE49-F238E27FC236}">
                <a16:creationId xmlns:a16="http://schemas.microsoft.com/office/drawing/2014/main" id="{D9E4BD15-2BD8-5C48-93A2-659291D3A806}"/>
              </a:ext>
            </a:extLst>
          </p:cNvPr>
          <p:cNvSpPr>
            <a:spLocks noGrp="1"/>
          </p:cNvSpPr>
          <p:nvPr>
            <p:ph type="pic" sz="quarter" idx="17" hasCustomPrompt="1"/>
          </p:nvPr>
        </p:nvSpPr>
        <p:spPr>
          <a:xfrm>
            <a:off x="1696387" y="8010529"/>
            <a:ext cx="6622619" cy="403225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23" name="Picture Placeholder 2">
            <a:extLst>
              <a:ext uri="{FF2B5EF4-FFF2-40B4-BE49-F238E27FC236}">
                <a16:creationId xmlns:a16="http://schemas.microsoft.com/office/drawing/2014/main" id="{8743207E-00CB-EF4B-B623-25859AF44871}"/>
              </a:ext>
            </a:extLst>
          </p:cNvPr>
          <p:cNvSpPr>
            <a:spLocks noGrp="1"/>
          </p:cNvSpPr>
          <p:nvPr>
            <p:ph type="pic" sz="quarter" idx="18" hasCustomPrompt="1"/>
          </p:nvPr>
        </p:nvSpPr>
        <p:spPr>
          <a:xfrm>
            <a:off x="8850829" y="8010529"/>
            <a:ext cx="6622619" cy="403225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25" name="Picture Placeholder 2">
            <a:extLst>
              <a:ext uri="{FF2B5EF4-FFF2-40B4-BE49-F238E27FC236}">
                <a16:creationId xmlns:a16="http://schemas.microsoft.com/office/drawing/2014/main" id="{A2DCD539-83F0-274F-9BA6-621C529F0F17}"/>
              </a:ext>
            </a:extLst>
          </p:cNvPr>
          <p:cNvSpPr>
            <a:spLocks noGrp="1"/>
          </p:cNvSpPr>
          <p:nvPr>
            <p:ph type="pic" sz="quarter" idx="19" hasCustomPrompt="1"/>
          </p:nvPr>
        </p:nvSpPr>
        <p:spPr>
          <a:xfrm>
            <a:off x="16080330" y="8010529"/>
            <a:ext cx="6622619" cy="403225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26" name="Subtitle 2">
            <a:extLst>
              <a:ext uri="{FF2B5EF4-FFF2-40B4-BE49-F238E27FC236}">
                <a16:creationId xmlns:a16="http://schemas.microsoft.com/office/drawing/2014/main" id="{1C8F6E2C-59FC-6044-A67F-457F308BA7E0}"/>
              </a:ext>
            </a:extLst>
          </p:cNvPr>
          <p:cNvSpPr>
            <a:spLocks noGrp="1"/>
          </p:cNvSpPr>
          <p:nvPr>
            <p:ph type="subTitle" idx="1" hasCustomPrompt="1"/>
          </p:nvPr>
        </p:nvSpPr>
        <p:spPr>
          <a:xfrm>
            <a:off x="1677492" y="1677600"/>
            <a:ext cx="21035629" cy="1161416"/>
          </a:xfrm>
        </p:spPr>
        <p:txBody>
          <a:bodyPr>
            <a:noAutofit/>
          </a:bodyPr>
          <a:lstStyle>
            <a:lvl1pPr marL="0" indent="0" algn="l">
              <a:lnSpc>
                <a:spcPct val="100000"/>
              </a:lnSpc>
              <a:buNone/>
              <a:defRPr sz="7200" b="1" spc="-200" baseline="0">
                <a:latin typeface="Noto IKEA Latin" panose="020B050204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a:t>Put the slide headline here</a:t>
            </a:r>
          </a:p>
        </p:txBody>
      </p:sp>
      <p:sp>
        <p:nvSpPr>
          <p:cNvPr id="12" name="Footer Placeholder 1">
            <a:extLst>
              <a:ext uri="{FF2B5EF4-FFF2-40B4-BE49-F238E27FC236}">
                <a16:creationId xmlns:a16="http://schemas.microsoft.com/office/drawing/2014/main" id="{47414FD6-7CA7-5B41-89DB-9AE9788B5180}"/>
              </a:ext>
            </a:extLst>
          </p:cNvPr>
          <p:cNvSpPr>
            <a:spLocks noGrp="1"/>
          </p:cNvSpPr>
          <p:nvPr>
            <p:ph type="ftr" sz="quarter" idx="20"/>
          </p:nvPr>
        </p:nvSpPr>
        <p:spPr>
          <a:xfrm>
            <a:off x="1676291" y="12762655"/>
            <a:ext cx="10514916" cy="586238"/>
          </a:xfrm>
          <a:prstGeom prst="rect">
            <a:avLst/>
          </a:prstGeom>
        </p:spPr>
        <p:txBody>
          <a:bodyPr/>
          <a:lstStyle/>
          <a:p>
            <a:endParaRPr lang="en-GB"/>
          </a:p>
        </p:txBody>
      </p:sp>
    </p:spTree>
    <p:extLst>
      <p:ext uri="{BB962C8B-B14F-4D97-AF65-F5344CB8AC3E}">
        <p14:creationId xmlns:p14="http://schemas.microsoft.com/office/powerpoint/2010/main" val="3105706286"/>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From–to char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982E2EA-1137-0846-98DC-3E6332C29A67}"/>
              </a:ext>
            </a:extLst>
          </p:cNvPr>
          <p:cNvSpPr>
            <a:spLocks noGrp="1"/>
          </p:cNvSpPr>
          <p:nvPr>
            <p:ph type="body" sz="quarter" idx="10" hasCustomPrompt="1"/>
          </p:nvPr>
        </p:nvSpPr>
        <p:spPr>
          <a:xfrm>
            <a:off x="2686772" y="5700714"/>
            <a:ext cx="7775068" cy="1157288"/>
          </a:xfrm>
          <a:solidFill>
            <a:srgbClr val="E4E5E3"/>
          </a:solidFill>
        </p:spPr>
        <p:txBody>
          <a:bodyPr lIns="180000" tIns="180000" rIns="180000" bIns="46800">
            <a:noAutofit/>
          </a:bodyPr>
          <a:lstStyle>
            <a:lvl1pPr marL="0" indent="0">
              <a:buNone/>
              <a:defRPr sz="3600"/>
            </a:lvl1pPr>
          </a:lstStyle>
          <a:p>
            <a:pPr lvl="0"/>
            <a:r>
              <a:rPr lang="en-US"/>
              <a:t>Put the text here</a:t>
            </a:r>
          </a:p>
        </p:txBody>
      </p:sp>
      <p:sp>
        <p:nvSpPr>
          <p:cNvPr id="15" name="Text Placeholder 5">
            <a:extLst>
              <a:ext uri="{FF2B5EF4-FFF2-40B4-BE49-F238E27FC236}">
                <a16:creationId xmlns:a16="http://schemas.microsoft.com/office/drawing/2014/main" id="{BB2544E0-599A-0E4D-B7C9-0338205DD470}"/>
              </a:ext>
            </a:extLst>
          </p:cNvPr>
          <p:cNvSpPr>
            <a:spLocks noGrp="1"/>
          </p:cNvSpPr>
          <p:nvPr>
            <p:ph type="body" sz="quarter" idx="20" hasCustomPrompt="1"/>
          </p:nvPr>
        </p:nvSpPr>
        <p:spPr>
          <a:xfrm>
            <a:off x="13902138" y="5700714"/>
            <a:ext cx="7775068" cy="1157288"/>
          </a:xfrm>
          <a:solidFill>
            <a:srgbClr val="E4E5E3"/>
          </a:solidFill>
        </p:spPr>
        <p:txBody>
          <a:bodyPr lIns="180000" tIns="180000" rIns="180000" bIns="46800">
            <a:noAutofit/>
          </a:bodyPr>
          <a:lstStyle>
            <a:lvl1pPr marL="0" indent="0">
              <a:buNone/>
              <a:defRPr sz="3600"/>
            </a:lvl1pPr>
          </a:lstStyle>
          <a:p>
            <a:pPr lvl="0"/>
            <a:r>
              <a:rPr lang="en-US"/>
              <a:t>Put the text here</a:t>
            </a:r>
          </a:p>
        </p:txBody>
      </p:sp>
      <p:sp>
        <p:nvSpPr>
          <p:cNvPr id="16" name="Text Placeholder 5">
            <a:extLst>
              <a:ext uri="{FF2B5EF4-FFF2-40B4-BE49-F238E27FC236}">
                <a16:creationId xmlns:a16="http://schemas.microsoft.com/office/drawing/2014/main" id="{7CD185CC-288C-914E-B039-9E34B6521AAE}"/>
              </a:ext>
            </a:extLst>
          </p:cNvPr>
          <p:cNvSpPr>
            <a:spLocks noGrp="1"/>
          </p:cNvSpPr>
          <p:nvPr>
            <p:ph type="body" sz="quarter" idx="21" hasCustomPrompt="1"/>
          </p:nvPr>
        </p:nvSpPr>
        <p:spPr>
          <a:xfrm>
            <a:off x="2686772" y="7437364"/>
            <a:ext cx="7775068" cy="1157288"/>
          </a:xfrm>
          <a:solidFill>
            <a:srgbClr val="E4E5E3"/>
          </a:solidFill>
        </p:spPr>
        <p:txBody>
          <a:bodyPr lIns="180000" tIns="180000" rIns="180000" bIns="46800">
            <a:noAutofit/>
          </a:bodyPr>
          <a:lstStyle>
            <a:lvl1pPr marL="0" indent="0">
              <a:buNone/>
              <a:defRPr sz="3600"/>
            </a:lvl1pPr>
          </a:lstStyle>
          <a:p>
            <a:pPr lvl="0"/>
            <a:r>
              <a:rPr lang="en-US"/>
              <a:t>Put the text here</a:t>
            </a:r>
          </a:p>
        </p:txBody>
      </p:sp>
      <p:sp>
        <p:nvSpPr>
          <p:cNvPr id="17" name="Text Placeholder 5">
            <a:extLst>
              <a:ext uri="{FF2B5EF4-FFF2-40B4-BE49-F238E27FC236}">
                <a16:creationId xmlns:a16="http://schemas.microsoft.com/office/drawing/2014/main" id="{734DFA83-0489-374D-984E-D148AF15FB19}"/>
              </a:ext>
            </a:extLst>
          </p:cNvPr>
          <p:cNvSpPr>
            <a:spLocks noGrp="1"/>
          </p:cNvSpPr>
          <p:nvPr>
            <p:ph type="body" sz="quarter" idx="22" hasCustomPrompt="1"/>
          </p:nvPr>
        </p:nvSpPr>
        <p:spPr>
          <a:xfrm>
            <a:off x="13902138" y="7437364"/>
            <a:ext cx="7775068" cy="1157288"/>
          </a:xfrm>
          <a:solidFill>
            <a:srgbClr val="E4E5E3"/>
          </a:solidFill>
        </p:spPr>
        <p:txBody>
          <a:bodyPr lIns="180000" tIns="180000" rIns="180000" bIns="46800">
            <a:noAutofit/>
          </a:bodyPr>
          <a:lstStyle>
            <a:lvl1pPr marL="0" indent="0">
              <a:buNone/>
              <a:defRPr sz="3600"/>
            </a:lvl1pPr>
          </a:lstStyle>
          <a:p>
            <a:pPr lvl="0"/>
            <a:r>
              <a:rPr lang="en-US"/>
              <a:t>Put the text here</a:t>
            </a:r>
          </a:p>
        </p:txBody>
      </p:sp>
      <p:sp>
        <p:nvSpPr>
          <p:cNvPr id="18" name="Text Placeholder 5">
            <a:extLst>
              <a:ext uri="{FF2B5EF4-FFF2-40B4-BE49-F238E27FC236}">
                <a16:creationId xmlns:a16="http://schemas.microsoft.com/office/drawing/2014/main" id="{40A584AF-EFDF-6C45-8450-E6896AA5447E}"/>
              </a:ext>
            </a:extLst>
          </p:cNvPr>
          <p:cNvSpPr>
            <a:spLocks noGrp="1"/>
          </p:cNvSpPr>
          <p:nvPr>
            <p:ph type="body" sz="quarter" idx="23" hasCustomPrompt="1"/>
          </p:nvPr>
        </p:nvSpPr>
        <p:spPr>
          <a:xfrm>
            <a:off x="2686772" y="9174014"/>
            <a:ext cx="7775068" cy="1157288"/>
          </a:xfrm>
          <a:solidFill>
            <a:srgbClr val="E4E5E3"/>
          </a:solidFill>
        </p:spPr>
        <p:txBody>
          <a:bodyPr lIns="180000" tIns="180000" rIns="180000" bIns="46800">
            <a:noAutofit/>
          </a:bodyPr>
          <a:lstStyle>
            <a:lvl1pPr marL="0" indent="0">
              <a:buNone/>
              <a:defRPr sz="3600"/>
            </a:lvl1pPr>
          </a:lstStyle>
          <a:p>
            <a:pPr lvl="0"/>
            <a:r>
              <a:rPr lang="en-US"/>
              <a:t>Put the text here</a:t>
            </a:r>
          </a:p>
        </p:txBody>
      </p:sp>
      <p:sp>
        <p:nvSpPr>
          <p:cNvPr id="19" name="Text Placeholder 5">
            <a:extLst>
              <a:ext uri="{FF2B5EF4-FFF2-40B4-BE49-F238E27FC236}">
                <a16:creationId xmlns:a16="http://schemas.microsoft.com/office/drawing/2014/main" id="{B8ADD201-5C22-9240-930B-C39DCFAEA838}"/>
              </a:ext>
            </a:extLst>
          </p:cNvPr>
          <p:cNvSpPr>
            <a:spLocks noGrp="1"/>
          </p:cNvSpPr>
          <p:nvPr>
            <p:ph type="body" sz="quarter" idx="24" hasCustomPrompt="1"/>
          </p:nvPr>
        </p:nvSpPr>
        <p:spPr>
          <a:xfrm>
            <a:off x="13902138" y="9174014"/>
            <a:ext cx="7775068" cy="1157288"/>
          </a:xfrm>
          <a:solidFill>
            <a:srgbClr val="E4E5E3"/>
          </a:solidFill>
        </p:spPr>
        <p:txBody>
          <a:bodyPr lIns="180000" tIns="180000" rIns="180000" bIns="46800">
            <a:noAutofit/>
          </a:bodyPr>
          <a:lstStyle>
            <a:lvl1pPr marL="0" indent="0">
              <a:buNone/>
              <a:defRPr sz="3600"/>
            </a:lvl1pPr>
          </a:lstStyle>
          <a:p>
            <a:pPr lvl="0"/>
            <a:r>
              <a:rPr lang="en-US"/>
              <a:t>Put the text here</a:t>
            </a:r>
          </a:p>
        </p:txBody>
      </p:sp>
      <p:sp>
        <p:nvSpPr>
          <p:cNvPr id="20" name="Text Placeholder 5">
            <a:extLst>
              <a:ext uri="{FF2B5EF4-FFF2-40B4-BE49-F238E27FC236}">
                <a16:creationId xmlns:a16="http://schemas.microsoft.com/office/drawing/2014/main" id="{21AA854F-49C8-0740-875D-2A28B04B66F6}"/>
              </a:ext>
            </a:extLst>
          </p:cNvPr>
          <p:cNvSpPr>
            <a:spLocks noGrp="1"/>
          </p:cNvSpPr>
          <p:nvPr>
            <p:ph type="body" sz="quarter" idx="25" hasCustomPrompt="1"/>
          </p:nvPr>
        </p:nvSpPr>
        <p:spPr>
          <a:xfrm>
            <a:off x="2686772" y="10910666"/>
            <a:ext cx="7775068" cy="1157288"/>
          </a:xfrm>
          <a:solidFill>
            <a:srgbClr val="E4E5E3"/>
          </a:solidFill>
        </p:spPr>
        <p:txBody>
          <a:bodyPr lIns="180000" tIns="180000" rIns="180000" bIns="46800">
            <a:noAutofit/>
          </a:bodyPr>
          <a:lstStyle>
            <a:lvl1pPr marL="0" indent="0">
              <a:buNone/>
              <a:defRPr sz="3600"/>
            </a:lvl1pPr>
          </a:lstStyle>
          <a:p>
            <a:pPr lvl="0"/>
            <a:r>
              <a:rPr lang="en-US"/>
              <a:t>Put the text here</a:t>
            </a:r>
          </a:p>
        </p:txBody>
      </p:sp>
      <p:sp>
        <p:nvSpPr>
          <p:cNvPr id="21" name="Text Placeholder 5">
            <a:extLst>
              <a:ext uri="{FF2B5EF4-FFF2-40B4-BE49-F238E27FC236}">
                <a16:creationId xmlns:a16="http://schemas.microsoft.com/office/drawing/2014/main" id="{8FE94F80-1B2D-0E45-8D2E-B57A96EFF5BA}"/>
              </a:ext>
            </a:extLst>
          </p:cNvPr>
          <p:cNvSpPr>
            <a:spLocks noGrp="1"/>
          </p:cNvSpPr>
          <p:nvPr>
            <p:ph type="body" sz="quarter" idx="26" hasCustomPrompt="1"/>
          </p:nvPr>
        </p:nvSpPr>
        <p:spPr>
          <a:xfrm>
            <a:off x="13902138" y="10910666"/>
            <a:ext cx="7775068" cy="1157288"/>
          </a:xfrm>
          <a:solidFill>
            <a:srgbClr val="E4E5E3"/>
          </a:solidFill>
        </p:spPr>
        <p:txBody>
          <a:bodyPr lIns="180000" tIns="180000" rIns="180000" bIns="46800">
            <a:noAutofit/>
          </a:bodyPr>
          <a:lstStyle>
            <a:lvl1pPr marL="0" indent="0">
              <a:buNone/>
              <a:defRPr sz="3600"/>
            </a:lvl1pPr>
          </a:lstStyle>
          <a:p>
            <a:pPr lvl="0"/>
            <a:r>
              <a:rPr lang="en-US"/>
              <a:t>Put the text here</a:t>
            </a:r>
          </a:p>
        </p:txBody>
      </p:sp>
      <p:pic>
        <p:nvPicPr>
          <p:cNvPr id="13" name="Picture 12">
            <a:extLst>
              <a:ext uri="{FF2B5EF4-FFF2-40B4-BE49-F238E27FC236}">
                <a16:creationId xmlns:a16="http://schemas.microsoft.com/office/drawing/2014/main" id="{B8B9ABC5-46EF-5B4B-96D5-1DD4DD510302}"/>
              </a:ext>
            </a:extLst>
          </p:cNvPr>
          <p:cNvPicPr>
            <a:picLocks noChangeAspect="1"/>
          </p:cNvPicPr>
          <p:nvPr userDrawn="1"/>
        </p:nvPicPr>
        <p:blipFill>
          <a:blip r:embed="rId2"/>
          <a:stretch>
            <a:fillRect/>
          </a:stretch>
        </p:blipFill>
        <p:spPr>
          <a:xfrm>
            <a:off x="11411132" y="8298161"/>
            <a:ext cx="1541714" cy="1257798"/>
          </a:xfrm>
          <a:prstGeom prst="rect">
            <a:avLst/>
          </a:prstGeom>
        </p:spPr>
      </p:pic>
      <p:sp>
        <p:nvSpPr>
          <p:cNvPr id="22" name="Title 1">
            <a:extLst>
              <a:ext uri="{FF2B5EF4-FFF2-40B4-BE49-F238E27FC236}">
                <a16:creationId xmlns:a16="http://schemas.microsoft.com/office/drawing/2014/main" id="{27C49505-1F72-114A-830A-001EEE0DECFF}"/>
              </a:ext>
            </a:extLst>
          </p:cNvPr>
          <p:cNvSpPr>
            <a:spLocks noGrp="1"/>
          </p:cNvSpPr>
          <p:nvPr>
            <p:ph type="title" hasCustomPrompt="1"/>
          </p:nvPr>
        </p:nvSpPr>
        <p:spPr>
          <a:xfrm>
            <a:off x="1676293" y="1677601"/>
            <a:ext cx="21033007" cy="3457574"/>
          </a:xfrm>
          <a:prstGeom prst="rect">
            <a:avLst/>
          </a:prstGeom>
        </p:spPr>
        <p:txBody>
          <a:bodyPr/>
          <a:lstStyle>
            <a:lvl1pPr>
              <a:lnSpc>
                <a:spcPct val="100000"/>
              </a:lnSpc>
              <a:defRPr sz="7200"/>
            </a:lvl1pPr>
          </a:lstStyle>
          <a:p>
            <a:r>
              <a:rPr lang="en-US"/>
              <a:t>Put the slide headline here, </a:t>
            </a:r>
            <a:br>
              <a:rPr lang="en-US"/>
            </a:br>
            <a:r>
              <a:rPr lang="en-US"/>
              <a:t>keep it bold 36 </a:t>
            </a:r>
            <a:r>
              <a:rPr lang="en-US" err="1"/>
              <a:t>pt</a:t>
            </a:r>
            <a:endParaRPr lang="en-US"/>
          </a:p>
        </p:txBody>
      </p:sp>
      <p:sp>
        <p:nvSpPr>
          <p:cNvPr id="23" name="Footer Placeholder 1">
            <a:extLst>
              <a:ext uri="{FF2B5EF4-FFF2-40B4-BE49-F238E27FC236}">
                <a16:creationId xmlns:a16="http://schemas.microsoft.com/office/drawing/2014/main" id="{E1C2E697-BEBD-9742-A496-9922D663A345}"/>
              </a:ext>
            </a:extLst>
          </p:cNvPr>
          <p:cNvSpPr>
            <a:spLocks noGrp="1"/>
          </p:cNvSpPr>
          <p:nvPr>
            <p:ph type="ftr" sz="quarter" idx="15"/>
          </p:nvPr>
        </p:nvSpPr>
        <p:spPr>
          <a:xfrm>
            <a:off x="1676291" y="12762655"/>
            <a:ext cx="10514916" cy="586238"/>
          </a:xfrm>
          <a:prstGeom prst="rect">
            <a:avLst/>
          </a:prstGeom>
        </p:spPr>
        <p:txBody>
          <a:bodyPr/>
          <a:lstStyle/>
          <a:p>
            <a:endParaRPr lang="en-GB"/>
          </a:p>
        </p:txBody>
      </p:sp>
    </p:spTree>
    <p:extLst>
      <p:ext uri="{BB962C8B-B14F-4D97-AF65-F5344CB8AC3E}">
        <p14:creationId xmlns:p14="http://schemas.microsoft.com/office/powerpoint/2010/main" val="28165793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hapter name with number on colour background or image">
    <p:bg>
      <p:bgPr>
        <a:solidFill>
          <a:schemeClr val="bg1"/>
        </a:solidFill>
        <a:effectLst/>
      </p:bgPr>
    </p:bg>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85D87CF5-198A-D24A-8C46-75F45766C3CF}"/>
              </a:ext>
            </a:extLst>
          </p:cNvPr>
          <p:cNvSpPr>
            <a:spLocks noGrp="1"/>
          </p:cNvSpPr>
          <p:nvPr>
            <p:ph type="pic" sz="quarter" idx="14" hasCustomPrompt="1"/>
          </p:nvPr>
        </p:nvSpPr>
        <p:spPr>
          <a:xfrm>
            <a:off x="0" y="0"/>
            <a:ext cx="24382413" cy="1371600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Select a colour for background. Or drag and drop to add a picture</a:t>
            </a:r>
          </a:p>
        </p:txBody>
      </p:sp>
      <p:sp>
        <p:nvSpPr>
          <p:cNvPr id="15" name="Text Placeholder 4">
            <a:extLst>
              <a:ext uri="{FF2B5EF4-FFF2-40B4-BE49-F238E27FC236}">
                <a16:creationId xmlns:a16="http://schemas.microsoft.com/office/drawing/2014/main" id="{D692063E-373D-9A4C-B3F2-4CED294F18A0}"/>
              </a:ext>
            </a:extLst>
          </p:cNvPr>
          <p:cNvSpPr>
            <a:spLocks noGrp="1"/>
          </p:cNvSpPr>
          <p:nvPr>
            <p:ph type="body" sz="quarter" idx="11" hasCustomPrompt="1"/>
          </p:nvPr>
        </p:nvSpPr>
        <p:spPr>
          <a:xfrm>
            <a:off x="481101" y="3905672"/>
            <a:ext cx="8076674" cy="5904656"/>
          </a:xfrm>
        </p:spPr>
        <p:txBody>
          <a:bodyPr anchor="ctr" anchorCtr="0">
            <a:noAutofit/>
          </a:bodyPr>
          <a:lstStyle>
            <a:lvl1pPr marL="0" indent="0" algn="ctr">
              <a:buNone/>
              <a:defRPr sz="49996" b="1" spc="-600" baseline="0">
                <a:ln>
                  <a:noFill/>
                </a:ln>
                <a:solidFill>
                  <a:schemeClr val="tx1"/>
                </a:solidFill>
              </a:defRPr>
            </a:lvl1pPr>
          </a:lstStyle>
          <a:p>
            <a:pPr lvl="0"/>
            <a:r>
              <a:rPr lang="en-GB" noProof="0"/>
              <a:t>#</a:t>
            </a:r>
          </a:p>
        </p:txBody>
      </p:sp>
      <p:sp>
        <p:nvSpPr>
          <p:cNvPr id="8" name="Subtitle 2">
            <a:extLst>
              <a:ext uri="{FF2B5EF4-FFF2-40B4-BE49-F238E27FC236}">
                <a16:creationId xmlns:a16="http://schemas.microsoft.com/office/drawing/2014/main" id="{03179F04-E3DD-714F-9E83-2F320F41AF4B}"/>
              </a:ext>
            </a:extLst>
          </p:cNvPr>
          <p:cNvSpPr>
            <a:spLocks noGrp="1"/>
          </p:cNvSpPr>
          <p:nvPr>
            <p:ph type="subTitle" idx="1" hasCustomPrompt="1"/>
          </p:nvPr>
        </p:nvSpPr>
        <p:spPr>
          <a:xfrm>
            <a:off x="8784128" y="3905672"/>
            <a:ext cx="14400663" cy="5904656"/>
          </a:xfrm>
        </p:spPr>
        <p:txBody>
          <a:bodyPr anchor="ctr" anchorCtr="0">
            <a:noAutofit/>
          </a:bodyPr>
          <a:lstStyle>
            <a:lvl1pPr marL="0" indent="0" algn="l">
              <a:lnSpc>
                <a:spcPct val="100000"/>
              </a:lnSpc>
              <a:buNone/>
              <a:defRPr sz="11999" b="1" spc="-200" baseline="0">
                <a:latin typeface="Noto IKEA Latin" panose="020B050204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GB" noProof="0"/>
              <a:t>Put the chapter headline here, </a:t>
            </a:r>
            <a:br>
              <a:rPr lang="en-GB" noProof="0"/>
            </a:br>
            <a:r>
              <a:rPr lang="en-GB" noProof="0"/>
              <a:t>keep it bold 60 pt</a:t>
            </a:r>
          </a:p>
        </p:txBody>
      </p:sp>
      <p:sp>
        <p:nvSpPr>
          <p:cNvPr id="9" name="Text Placeholder 3">
            <a:extLst>
              <a:ext uri="{FF2B5EF4-FFF2-40B4-BE49-F238E27FC236}">
                <a16:creationId xmlns:a16="http://schemas.microsoft.com/office/drawing/2014/main" id="{F8BD17D0-4B46-D44C-A53F-CFC6399AEEEB}"/>
              </a:ext>
            </a:extLst>
          </p:cNvPr>
          <p:cNvSpPr>
            <a:spLocks noGrp="1"/>
          </p:cNvSpPr>
          <p:nvPr>
            <p:ph type="body" sz="quarter" idx="18"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2</a:t>
            </a:r>
            <a:endParaRPr lang="en-GB"/>
          </a:p>
        </p:txBody>
      </p:sp>
    </p:spTree>
    <p:extLst>
      <p:ext uri="{BB962C8B-B14F-4D97-AF65-F5344CB8AC3E}">
        <p14:creationId xmlns:p14="http://schemas.microsoft.com/office/powerpoint/2010/main" val="869537900"/>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Blocks with caption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6F4D095-75F9-A649-B638-1297084AD7A4}"/>
              </a:ext>
            </a:extLst>
          </p:cNvPr>
          <p:cNvSpPr>
            <a:spLocks noGrp="1"/>
          </p:cNvSpPr>
          <p:nvPr>
            <p:ph type="pic" sz="quarter" idx="20" hasCustomPrompt="1"/>
          </p:nvPr>
        </p:nvSpPr>
        <p:spPr>
          <a:xfrm>
            <a:off x="1696391" y="5705479"/>
            <a:ext cx="3425835" cy="3426058"/>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1696391" y="9448901"/>
            <a:ext cx="3425835" cy="1441550"/>
          </a:xfrm>
        </p:spPr>
        <p:txBody>
          <a:bodyPr>
            <a:noAutofit/>
          </a:bodyPr>
          <a:lstStyle>
            <a:lvl1pPr marL="0" indent="0">
              <a:lnSpc>
                <a:spcPct val="100000"/>
              </a:lnSpc>
              <a:buNone/>
              <a:defRPr sz="2800"/>
            </a:lvl1pPr>
            <a:lvl2pPr>
              <a:defRPr sz="2800"/>
            </a:lvl2pPr>
            <a:lvl3pPr>
              <a:defRPr sz="2800"/>
            </a:lvl3pPr>
            <a:lvl4pPr>
              <a:defRPr sz="2800"/>
            </a:lvl4pPr>
            <a:lvl5pPr>
              <a:defRPr sz="2800"/>
            </a:lvl5pPr>
          </a:lstStyle>
          <a:p>
            <a:pPr lvl="0"/>
            <a:r>
              <a:rPr lang="en-US"/>
              <a:t>Put the body text or caption here</a:t>
            </a:r>
            <a:endParaRPr lang="en-GB"/>
          </a:p>
        </p:txBody>
      </p:sp>
      <p:sp>
        <p:nvSpPr>
          <p:cNvPr id="21" name="Picture Placeholder 7">
            <a:extLst>
              <a:ext uri="{FF2B5EF4-FFF2-40B4-BE49-F238E27FC236}">
                <a16:creationId xmlns:a16="http://schemas.microsoft.com/office/drawing/2014/main" id="{541447E4-2AA6-7F48-B55B-B62747E0ABD2}"/>
              </a:ext>
            </a:extLst>
          </p:cNvPr>
          <p:cNvSpPr>
            <a:spLocks noGrp="1"/>
          </p:cNvSpPr>
          <p:nvPr>
            <p:ph type="pic" sz="quarter" idx="22" hasCustomPrompt="1"/>
          </p:nvPr>
        </p:nvSpPr>
        <p:spPr>
          <a:xfrm>
            <a:off x="7416370" y="5705479"/>
            <a:ext cx="3425835" cy="3426058"/>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22" name="Text Placeholder 11">
            <a:extLst>
              <a:ext uri="{FF2B5EF4-FFF2-40B4-BE49-F238E27FC236}">
                <a16:creationId xmlns:a16="http://schemas.microsoft.com/office/drawing/2014/main" id="{2AD28FF4-13F4-2C40-9AF9-E173148BF12A}"/>
              </a:ext>
            </a:extLst>
          </p:cNvPr>
          <p:cNvSpPr>
            <a:spLocks noGrp="1"/>
          </p:cNvSpPr>
          <p:nvPr>
            <p:ph type="body" sz="quarter" idx="23" hasCustomPrompt="1"/>
          </p:nvPr>
        </p:nvSpPr>
        <p:spPr>
          <a:xfrm>
            <a:off x="7416370" y="9448901"/>
            <a:ext cx="3425835" cy="1441550"/>
          </a:xfrm>
        </p:spPr>
        <p:txBody>
          <a:bodyPr>
            <a:noAutofit/>
          </a:bodyPr>
          <a:lstStyle>
            <a:lvl1pPr marL="0" indent="0">
              <a:lnSpc>
                <a:spcPct val="100000"/>
              </a:lnSpc>
              <a:buNone/>
              <a:defRPr sz="2800"/>
            </a:lvl1pPr>
            <a:lvl2pPr>
              <a:defRPr sz="2800"/>
            </a:lvl2pPr>
            <a:lvl3pPr>
              <a:defRPr sz="2800"/>
            </a:lvl3pPr>
            <a:lvl4pPr>
              <a:defRPr sz="2800"/>
            </a:lvl4pPr>
            <a:lvl5pPr>
              <a:defRPr sz="2800"/>
            </a:lvl5pPr>
          </a:lstStyle>
          <a:p>
            <a:pPr lvl="0"/>
            <a:r>
              <a:rPr lang="en-US"/>
              <a:t>Put the body text or caption here</a:t>
            </a:r>
            <a:endParaRPr lang="en-GB"/>
          </a:p>
        </p:txBody>
      </p:sp>
      <p:sp>
        <p:nvSpPr>
          <p:cNvPr id="23" name="Picture Placeholder 7">
            <a:extLst>
              <a:ext uri="{FF2B5EF4-FFF2-40B4-BE49-F238E27FC236}">
                <a16:creationId xmlns:a16="http://schemas.microsoft.com/office/drawing/2014/main" id="{76549726-CD0C-C144-A1EB-76A281BC952E}"/>
              </a:ext>
            </a:extLst>
          </p:cNvPr>
          <p:cNvSpPr>
            <a:spLocks noGrp="1"/>
          </p:cNvSpPr>
          <p:nvPr>
            <p:ph type="pic" sz="quarter" idx="24" hasCustomPrompt="1"/>
          </p:nvPr>
        </p:nvSpPr>
        <p:spPr>
          <a:xfrm>
            <a:off x="13582781" y="5705479"/>
            <a:ext cx="3425835" cy="3426058"/>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24" name="Text Placeholder 11">
            <a:extLst>
              <a:ext uri="{FF2B5EF4-FFF2-40B4-BE49-F238E27FC236}">
                <a16:creationId xmlns:a16="http://schemas.microsoft.com/office/drawing/2014/main" id="{5B3AA100-6E6E-D34B-943C-1D75F59C39B5}"/>
              </a:ext>
            </a:extLst>
          </p:cNvPr>
          <p:cNvSpPr>
            <a:spLocks noGrp="1"/>
          </p:cNvSpPr>
          <p:nvPr>
            <p:ph type="body" sz="quarter" idx="25" hasCustomPrompt="1"/>
          </p:nvPr>
        </p:nvSpPr>
        <p:spPr>
          <a:xfrm>
            <a:off x="13582781" y="9448901"/>
            <a:ext cx="3425835" cy="1441550"/>
          </a:xfrm>
        </p:spPr>
        <p:txBody>
          <a:bodyPr>
            <a:noAutofit/>
          </a:bodyPr>
          <a:lstStyle>
            <a:lvl1pPr marL="0" indent="0">
              <a:lnSpc>
                <a:spcPct val="100000"/>
              </a:lnSpc>
              <a:buNone/>
              <a:defRPr sz="2800"/>
            </a:lvl1pPr>
            <a:lvl2pPr>
              <a:defRPr sz="2800"/>
            </a:lvl2pPr>
            <a:lvl3pPr>
              <a:defRPr sz="2800"/>
            </a:lvl3pPr>
            <a:lvl4pPr>
              <a:defRPr sz="2800"/>
            </a:lvl4pPr>
            <a:lvl5pPr>
              <a:defRPr sz="2800"/>
            </a:lvl5pPr>
          </a:lstStyle>
          <a:p>
            <a:pPr lvl="0"/>
            <a:r>
              <a:rPr lang="en-US"/>
              <a:t>Put the body text or caption here</a:t>
            </a:r>
            <a:endParaRPr lang="en-GB"/>
          </a:p>
        </p:txBody>
      </p:sp>
      <p:sp>
        <p:nvSpPr>
          <p:cNvPr id="25" name="Picture Placeholder 7">
            <a:extLst>
              <a:ext uri="{FF2B5EF4-FFF2-40B4-BE49-F238E27FC236}">
                <a16:creationId xmlns:a16="http://schemas.microsoft.com/office/drawing/2014/main" id="{DCB14019-6F34-AB4B-B98E-4393A31FE4D7}"/>
              </a:ext>
            </a:extLst>
          </p:cNvPr>
          <p:cNvSpPr>
            <a:spLocks noGrp="1"/>
          </p:cNvSpPr>
          <p:nvPr>
            <p:ph type="pic" sz="quarter" idx="26" hasCustomPrompt="1"/>
          </p:nvPr>
        </p:nvSpPr>
        <p:spPr>
          <a:xfrm>
            <a:off x="19302761" y="5705479"/>
            <a:ext cx="3425835" cy="3426058"/>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26" name="Text Placeholder 11">
            <a:extLst>
              <a:ext uri="{FF2B5EF4-FFF2-40B4-BE49-F238E27FC236}">
                <a16:creationId xmlns:a16="http://schemas.microsoft.com/office/drawing/2014/main" id="{1C762A72-2425-1F42-B142-A5C927AEEBB1}"/>
              </a:ext>
            </a:extLst>
          </p:cNvPr>
          <p:cNvSpPr>
            <a:spLocks noGrp="1"/>
          </p:cNvSpPr>
          <p:nvPr>
            <p:ph type="body" sz="quarter" idx="27" hasCustomPrompt="1"/>
          </p:nvPr>
        </p:nvSpPr>
        <p:spPr>
          <a:xfrm>
            <a:off x="19302761" y="9448901"/>
            <a:ext cx="3425835" cy="1441550"/>
          </a:xfrm>
        </p:spPr>
        <p:txBody>
          <a:bodyPr>
            <a:noAutofit/>
          </a:bodyPr>
          <a:lstStyle>
            <a:lvl1pPr marL="0" indent="0">
              <a:lnSpc>
                <a:spcPct val="100000"/>
              </a:lnSpc>
              <a:buNone/>
              <a:defRPr sz="2800"/>
            </a:lvl1pPr>
            <a:lvl2pPr>
              <a:defRPr sz="2800"/>
            </a:lvl2pPr>
            <a:lvl3pPr>
              <a:defRPr sz="2800"/>
            </a:lvl3pPr>
            <a:lvl4pPr>
              <a:defRPr sz="2800"/>
            </a:lvl4pPr>
            <a:lvl5pPr>
              <a:defRPr sz="2800"/>
            </a:lvl5pPr>
          </a:lstStyle>
          <a:p>
            <a:pPr lvl="0"/>
            <a:r>
              <a:rPr lang="en-US"/>
              <a:t>Put the body text or caption here</a:t>
            </a:r>
            <a:endParaRPr lang="en-GB"/>
          </a:p>
        </p:txBody>
      </p:sp>
      <p:sp>
        <p:nvSpPr>
          <p:cNvPr id="15" name="Title 1">
            <a:extLst>
              <a:ext uri="{FF2B5EF4-FFF2-40B4-BE49-F238E27FC236}">
                <a16:creationId xmlns:a16="http://schemas.microsoft.com/office/drawing/2014/main" id="{8CE2F602-6CDF-0545-8DB7-6A5B5F93FE33}"/>
              </a:ext>
            </a:extLst>
          </p:cNvPr>
          <p:cNvSpPr>
            <a:spLocks noGrp="1"/>
          </p:cNvSpPr>
          <p:nvPr>
            <p:ph type="title" hasCustomPrompt="1"/>
          </p:nvPr>
        </p:nvSpPr>
        <p:spPr>
          <a:xfrm>
            <a:off x="1676293" y="1677601"/>
            <a:ext cx="21033007" cy="3457574"/>
          </a:xfrm>
          <a:prstGeom prst="rect">
            <a:avLst/>
          </a:prstGeom>
        </p:spPr>
        <p:txBody>
          <a:bodyPr/>
          <a:lstStyle>
            <a:lvl1pPr>
              <a:lnSpc>
                <a:spcPct val="100000"/>
              </a:lnSpc>
              <a:defRPr sz="7200"/>
            </a:lvl1pPr>
          </a:lstStyle>
          <a:p>
            <a:r>
              <a:rPr lang="en-US"/>
              <a:t>Put the slide headline here, </a:t>
            </a:r>
            <a:br>
              <a:rPr lang="en-US"/>
            </a:br>
            <a:r>
              <a:rPr lang="en-US"/>
              <a:t>keep it bold 36 </a:t>
            </a:r>
            <a:r>
              <a:rPr lang="en-US" err="1"/>
              <a:t>pt</a:t>
            </a:r>
            <a:endParaRPr lang="en-US"/>
          </a:p>
        </p:txBody>
      </p:sp>
      <p:sp>
        <p:nvSpPr>
          <p:cNvPr id="2" name="Footer Placeholder 1">
            <a:extLst>
              <a:ext uri="{FF2B5EF4-FFF2-40B4-BE49-F238E27FC236}">
                <a16:creationId xmlns:a16="http://schemas.microsoft.com/office/drawing/2014/main" id="{41BC659F-6930-604A-B029-50229258314D}"/>
              </a:ext>
            </a:extLst>
          </p:cNvPr>
          <p:cNvSpPr>
            <a:spLocks noGrp="1"/>
          </p:cNvSpPr>
          <p:nvPr>
            <p:ph type="ftr" sz="quarter" idx="28"/>
          </p:nvPr>
        </p:nvSpPr>
        <p:spPr>
          <a:xfrm>
            <a:off x="1676291" y="12762655"/>
            <a:ext cx="10514916" cy="586238"/>
          </a:xfrm>
          <a:prstGeom prst="rect">
            <a:avLst/>
          </a:prstGeom>
        </p:spPr>
        <p:txBody>
          <a:bodyPr/>
          <a:lstStyle/>
          <a:p>
            <a:endParaRPr lang="en-GB"/>
          </a:p>
        </p:txBody>
      </p:sp>
    </p:spTree>
    <p:extLst>
      <p:ext uri="{BB962C8B-B14F-4D97-AF65-F5344CB8AC3E}">
        <p14:creationId xmlns:p14="http://schemas.microsoft.com/office/powerpoint/2010/main" val="428219037"/>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8CE3CA0-F0EA-6747-898B-8A3A65AC1BD3}"/>
              </a:ext>
            </a:extLst>
          </p:cNvPr>
          <p:cNvSpPr>
            <a:spLocks noGrp="1"/>
          </p:cNvSpPr>
          <p:nvPr>
            <p:ph type="ftr" sz="quarter" idx="10"/>
          </p:nvPr>
        </p:nvSpPr>
        <p:spPr>
          <a:xfrm>
            <a:off x="1676291" y="12762655"/>
            <a:ext cx="10514916" cy="586238"/>
          </a:xfrm>
          <a:prstGeom prst="rect">
            <a:avLst/>
          </a:prstGeom>
        </p:spPr>
        <p:txBody>
          <a:bodyPr/>
          <a:lstStyle/>
          <a:p>
            <a:endParaRPr lang="en-GB"/>
          </a:p>
        </p:txBody>
      </p:sp>
    </p:spTree>
    <p:extLst>
      <p:ext uri="{BB962C8B-B14F-4D97-AF65-F5344CB8AC3E}">
        <p14:creationId xmlns:p14="http://schemas.microsoft.com/office/powerpoint/2010/main" val="3710179834"/>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151459" y="2107527"/>
            <a:ext cx="20092194" cy="1292662"/>
          </a:xfrm>
        </p:spPr>
        <p:txBody>
          <a:bodyPr/>
          <a:lstStyle/>
          <a:p>
            <a:r>
              <a:rPr lang="en-US"/>
              <a:t>Click to edit Master title style</a:t>
            </a:r>
            <a:endParaRPr lang="en-GB"/>
          </a:p>
        </p:txBody>
      </p:sp>
      <p:sp>
        <p:nvSpPr>
          <p:cNvPr id="3" name="Date Placeholder 2"/>
          <p:cNvSpPr>
            <a:spLocks noGrp="1"/>
          </p:cNvSpPr>
          <p:nvPr>
            <p:ph type="dt" sz="half" idx="10"/>
          </p:nvPr>
        </p:nvSpPr>
        <p:spPr>
          <a:xfrm>
            <a:off x="1219755" y="12755881"/>
            <a:ext cx="5610875" cy="553998"/>
          </a:xfrm>
        </p:spPr>
        <p:txBody>
          <a:bodyPr/>
          <a:lstStyle/>
          <a:p>
            <a:fld id="{B02616A3-6CF4-454C-90FC-1CD500243AFB}" type="datetimeFigureOut">
              <a:rPr lang="en-GB" smtClean="0"/>
              <a:t>12/03/2025</a:t>
            </a:fld>
            <a:endParaRPr lang="en-GB"/>
          </a:p>
        </p:txBody>
      </p:sp>
      <p:sp>
        <p:nvSpPr>
          <p:cNvPr id="4" name="Footer Placeholder 3"/>
          <p:cNvSpPr>
            <a:spLocks noGrp="1"/>
          </p:cNvSpPr>
          <p:nvPr>
            <p:ph type="ftr" sz="quarter" idx="11"/>
          </p:nvPr>
        </p:nvSpPr>
        <p:spPr>
          <a:xfrm>
            <a:off x="863744" y="12897913"/>
            <a:ext cx="1774073" cy="184666"/>
          </a:xfrm>
        </p:spPr>
        <p:txBody>
          <a:bodyPr/>
          <a:lstStyle/>
          <a:p>
            <a:endParaRPr lang="en-GB"/>
          </a:p>
        </p:txBody>
      </p:sp>
      <p:sp>
        <p:nvSpPr>
          <p:cNvPr id="5" name="Slide Number Placeholder 4"/>
          <p:cNvSpPr>
            <a:spLocks noGrp="1"/>
          </p:cNvSpPr>
          <p:nvPr>
            <p:ph type="sldNum" sz="quarter" idx="12"/>
          </p:nvPr>
        </p:nvSpPr>
        <p:spPr>
          <a:xfrm>
            <a:off x="22726149" y="12897913"/>
            <a:ext cx="295889" cy="184666"/>
          </a:xfrm>
        </p:spPr>
        <p:txBody>
          <a:bodyPr/>
          <a:lstStyle/>
          <a:p>
            <a:fld id="{84A08B04-7488-493E-8649-843F3ACCD056}" type="slidenum">
              <a:rPr lang="en-GB" smtClean="0"/>
              <a:t>‹#›</a:t>
            </a:fld>
            <a:endParaRPr lang="en-GB"/>
          </a:p>
        </p:txBody>
      </p:sp>
    </p:spTree>
    <p:extLst>
      <p:ext uri="{BB962C8B-B14F-4D97-AF65-F5344CB8AC3E}">
        <p14:creationId xmlns:p14="http://schemas.microsoft.com/office/powerpoint/2010/main" val="3090942443"/>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userDrawn="1">
  <p:cSld name="Text and picture on the right">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13127310" y="486000"/>
            <a:ext cx="10763999"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1439906" y="5196948"/>
            <a:ext cx="10516084" cy="6904512"/>
          </a:xfrm>
        </p:spPr>
        <p:txBody>
          <a:bodyPr>
            <a:noAutofit/>
          </a:bodyPr>
          <a:lstStyle>
            <a:lvl1pPr>
              <a:spcBef>
                <a:spcPts val="2000"/>
              </a:spcBef>
              <a:defRPr sz="3200"/>
            </a:lvl1pPr>
          </a:lstStyle>
          <a:p>
            <a:pPr lvl="0"/>
            <a:r>
              <a:rPr lang="en-GB" noProof="0"/>
              <a:t>Put the paragraph text here, keep it regular 32 </a:t>
            </a:r>
            <a:r>
              <a:rPr lang="en-GB" noProof="0" err="1"/>
              <a:t>pt</a:t>
            </a:r>
            <a:endParaRPr lang="en-GB" noProof="0"/>
          </a:p>
        </p:txBody>
      </p:sp>
      <p:sp>
        <p:nvSpPr>
          <p:cNvPr id="2" name="Title 1">
            <a:extLst>
              <a:ext uri="{FF2B5EF4-FFF2-40B4-BE49-F238E27FC236}">
                <a16:creationId xmlns:a16="http://schemas.microsoft.com/office/drawing/2014/main" id="{44A2E15B-0973-F742-A266-E1107E35FE40}"/>
              </a:ext>
            </a:extLst>
          </p:cNvPr>
          <p:cNvSpPr>
            <a:spLocks noGrp="1"/>
          </p:cNvSpPr>
          <p:nvPr>
            <p:ph type="title" hasCustomPrompt="1"/>
          </p:nvPr>
        </p:nvSpPr>
        <p:spPr>
          <a:xfrm>
            <a:off x="1439907" y="1440000"/>
            <a:ext cx="10514914" cy="3011660"/>
          </a:xfrm>
        </p:spPr>
        <p:txBody>
          <a:bodyPr/>
          <a:lstStyle/>
          <a:p>
            <a:r>
              <a:rPr lang="en-GB"/>
              <a:t>Put the headline here, keep it 80 </a:t>
            </a:r>
            <a:r>
              <a:rPr lang="en-GB" err="1"/>
              <a:t>pt</a:t>
            </a:r>
            <a:endParaRPr lang="en-NL"/>
          </a:p>
        </p:txBody>
      </p:sp>
      <p:sp>
        <p:nvSpPr>
          <p:cNvPr id="7" name="Footer Placeholder 6">
            <a:extLst>
              <a:ext uri="{FF2B5EF4-FFF2-40B4-BE49-F238E27FC236}">
                <a16:creationId xmlns:a16="http://schemas.microsoft.com/office/drawing/2014/main" id="{1BBF2C0D-081E-D341-990A-85E80DD0D1B7}"/>
              </a:ext>
            </a:extLst>
          </p:cNvPr>
          <p:cNvSpPr>
            <a:spLocks noGrp="1"/>
          </p:cNvSpPr>
          <p:nvPr>
            <p:ph type="ftr" sz="quarter" idx="19"/>
          </p:nvPr>
        </p:nvSpPr>
        <p:spPr/>
        <p:txBody>
          <a:bodyPr/>
          <a:lstStyle/>
          <a:p>
            <a:endParaRPr lang="en-NL"/>
          </a:p>
        </p:txBody>
      </p:sp>
      <p:sp>
        <p:nvSpPr>
          <p:cNvPr id="10" name="TextBox 9">
            <a:extLst>
              <a:ext uri="{FF2B5EF4-FFF2-40B4-BE49-F238E27FC236}">
                <a16:creationId xmlns:a16="http://schemas.microsoft.com/office/drawing/2014/main" id="{894FC958-E5A8-B74F-A7E7-30B82C0B44E8}"/>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112285715"/>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on simple background">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7C1D6C0-9082-6D41-8CF2-4BE2980201A9}"/>
              </a:ext>
            </a:extLst>
          </p:cNvPr>
          <p:cNvSpPr>
            <a:spLocks noGrp="1"/>
          </p:cNvSpPr>
          <p:nvPr>
            <p:ph type="pic" sz="quarter" idx="18" hasCustomPrompt="1"/>
          </p:nvPr>
        </p:nvSpPr>
        <p:spPr>
          <a:xfrm>
            <a:off x="491207" y="486000"/>
            <a:ext cx="23400000" cy="12744000"/>
          </a:xfrm>
          <a:custGeom>
            <a:avLst/>
            <a:gdLst>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4730 w 23399999"/>
              <a:gd name="connsiteY8"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1337594 w 23399999"/>
              <a:gd name="connsiteY8" fmla="*/ 1164380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56794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5 w 23400000"/>
              <a:gd name="connsiteY4" fmla="*/ 9824813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400000" h="12744000">
                <a:moveTo>
                  <a:pt x="2564730" y="0"/>
                </a:moveTo>
                <a:lnTo>
                  <a:pt x="23399999" y="0"/>
                </a:lnTo>
                <a:lnTo>
                  <a:pt x="23399999" y="0"/>
                </a:lnTo>
                <a:cubicBezTo>
                  <a:pt x="23399999" y="3277203"/>
                  <a:pt x="23400000" y="6554405"/>
                  <a:pt x="23400000" y="9831608"/>
                </a:cubicBezTo>
                <a:cubicBezTo>
                  <a:pt x="23399581" y="9831571"/>
                  <a:pt x="17815405" y="9823891"/>
                  <a:pt x="17820604" y="9824813"/>
                </a:cubicBezTo>
                <a:cubicBezTo>
                  <a:pt x="17837181" y="9827753"/>
                  <a:pt x="17814938" y="12744037"/>
                  <a:pt x="17820605" y="12744000"/>
                </a:cubicBezTo>
                <a:lnTo>
                  <a:pt x="0" y="12744000"/>
                </a:lnTo>
                <a:lnTo>
                  <a:pt x="0" y="12744000"/>
                </a:lnTo>
                <a:lnTo>
                  <a:pt x="0" y="851260"/>
                </a:lnTo>
                <a:cubicBezTo>
                  <a:pt x="6513" y="855406"/>
                  <a:pt x="2562637" y="855434"/>
                  <a:pt x="2560913" y="855461"/>
                </a:cubicBezTo>
                <a:cubicBezTo>
                  <a:pt x="2564931" y="864124"/>
                  <a:pt x="2564831" y="283781"/>
                  <a:pt x="2564730" y="0"/>
                </a:cubicBezTo>
                <a:close/>
              </a:path>
            </a:pathLst>
          </a:custGeom>
          <a:solidFill>
            <a:schemeClr val="bg1">
              <a:lumMod val="95000"/>
            </a:schemeClr>
          </a:solidFill>
        </p:spPr>
        <p:txBody>
          <a:bodyPr/>
          <a:lstStyle>
            <a:lvl1pPr algn="ctr">
              <a:defRPr sz="2400">
                <a:solidFill>
                  <a:schemeClr val="tx1">
                    <a:lumMod val="65000"/>
                    <a:lumOff val="35000"/>
                  </a:schemeClr>
                </a:solidFill>
              </a:defRPr>
            </a:lvl1pPr>
          </a:lstStyle>
          <a:p>
            <a:r>
              <a:rPr lang="en-NL"/>
              <a:t>Drag and drop a topic-related picture into this fram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3060000" y="3402013"/>
            <a:ext cx="12156188" cy="6911975"/>
          </a:xfrm>
          <a:prstGeom prst="rect">
            <a:avLst/>
          </a:prstGeom>
          <a:solidFill>
            <a:schemeClr val="bg1"/>
          </a:solidFill>
        </p:spPr>
        <p:txBody>
          <a:bodyPr vert="horz" lIns="720000" tIns="540000" rIns="360000" bIns="360000" rtlCol="0" anchor="t">
            <a:noAutofit/>
          </a:bodyPr>
          <a:lstStyle>
            <a:lvl1pPr>
              <a:defRPr/>
            </a:lvl1pPr>
          </a:lstStyle>
          <a:p>
            <a:r>
              <a:rPr lang="en-GB" noProof="0"/>
              <a:t>Put the title here,</a:t>
            </a:r>
            <a:br>
              <a:rPr lang="en-GB" noProof="0"/>
            </a:br>
            <a:r>
              <a:rPr lang="en-GB" noProof="0"/>
              <a:t>keep it bold 80 </a:t>
            </a:r>
            <a:r>
              <a:rPr lang="en-GB" noProof="0" err="1"/>
              <a:t>pt</a:t>
            </a:r>
            <a:br>
              <a:rPr lang="en-GB" noProof="0"/>
            </a:br>
            <a:endParaRPr lang="en-GB" noProof="0"/>
          </a:p>
        </p:txBody>
      </p:sp>
      <p:pic>
        <p:nvPicPr>
          <p:cNvPr id="16" name="Picture 15">
            <a:extLst>
              <a:ext uri="{FF2B5EF4-FFF2-40B4-BE49-F238E27FC236}">
                <a16:creationId xmlns:a16="http://schemas.microsoft.com/office/drawing/2014/main" id="{B318DE6B-1EB2-D248-BE9E-1B173597E1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32675" y="10313988"/>
            <a:ext cx="5058531" cy="3402012"/>
          </a:xfrm>
          <a:prstGeom prst="rect">
            <a:avLst/>
          </a:prstGeom>
        </p:spPr>
      </p:pic>
      <p:sp>
        <p:nvSpPr>
          <p:cNvPr id="18" name="TextBox 17">
            <a:extLst>
              <a:ext uri="{FF2B5EF4-FFF2-40B4-BE49-F238E27FC236}">
                <a16:creationId xmlns:a16="http://schemas.microsoft.com/office/drawing/2014/main" id="{328A1B16-9A25-3541-9435-BC1CEEFFC8BA}"/>
              </a:ext>
            </a:extLst>
          </p:cNvPr>
          <p:cNvSpPr txBox="1"/>
          <p:nvPr userDrawn="1"/>
        </p:nvSpPr>
        <p:spPr>
          <a:xfrm>
            <a:off x="400182" y="419671"/>
            <a:ext cx="2659818" cy="893713"/>
          </a:xfrm>
          <a:prstGeom prst="rect">
            <a:avLst/>
          </a:prstGeom>
          <a:noFill/>
        </p:spPr>
        <p:txBody>
          <a:bodyPr wrap="square" rtlCol="0">
            <a:noAutofit/>
          </a:bodyPr>
          <a:lstStyle/>
          <a:p>
            <a:pPr algn="l"/>
            <a:r>
              <a:rPr lang="en-NL" sz="2400"/>
              <a:t>Supply</a:t>
            </a:r>
          </a:p>
        </p:txBody>
      </p:sp>
    </p:spTree>
    <p:extLst>
      <p:ext uri="{BB962C8B-B14F-4D97-AF65-F5344CB8AC3E}">
        <p14:creationId xmlns:p14="http://schemas.microsoft.com/office/powerpoint/2010/main" val="2935682157"/>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on double background">
    <p:bg>
      <p:bgPr>
        <a:solidFill>
          <a:schemeClr val="bg1"/>
        </a:solidFill>
        <a:effectLst/>
      </p:bgPr>
    </p:bg>
    <p:spTree>
      <p:nvGrpSpPr>
        <p:cNvPr id="1" name=""/>
        <p:cNvGrpSpPr/>
        <p:nvPr/>
      </p:nvGrpSpPr>
      <p:grpSpPr>
        <a:xfrm>
          <a:off x="0" y="0"/>
          <a:ext cx="0" cy="0"/>
          <a:chOff x="0" y="0"/>
          <a:chExt cx="0" cy="0"/>
        </a:xfrm>
      </p:grpSpPr>
      <p:sp>
        <p:nvSpPr>
          <p:cNvPr id="17" name="Picture Placeholder 6">
            <a:extLst>
              <a:ext uri="{FF2B5EF4-FFF2-40B4-BE49-F238E27FC236}">
                <a16:creationId xmlns:a16="http://schemas.microsoft.com/office/drawing/2014/main" id="{72BA1E79-3FC6-E940-BEC4-AE05A8279CD0}"/>
              </a:ext>
            </a:extLst>
          </p:cNvPr>
          <p:cNvSpPr>
            <a:spLocks noGrp="1"/>
          </p:cNvSpPr>
          <p:nvPr>
            <p:ph type="pic" sz="quarter" idx="20" hasCustomPrompt="1"/>
          </p:nvPr>
        </p:nvSpPr>
        <p:spPr>
          <a:xfrm>
            <a:off x="491206" y="485966"/>
            <a:ext cx="8712450" cy="12744039"/>
          </a:xfrm>
          <a:custGeom>
            <a:avLst/>
            <a:gdLst>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4730 w 23399999"/>
              <a:gd name="connsiteY8"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1337594 w 23399999"/>
              <a:gd name="connsiteY8" fmla="*/ 1164380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56794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5 w 23400000"/>
              <a:gd name="connsiteY4" fmla="*/ 9824813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17820604 w 23399999"/>
              <a:gd name="connsiteY3" fmla="*/ 9824813 h 12744000"/>
              <a:gd name="connsiteX4" fmla="*/ 17820605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17820605 w 23399999"/>
              <a:gd name="connsiteY3" fmla="*/ 12744000 h 12744000"/>
              <a:gd name="connsiteX4" fmla="*/ 0 w 23399999"/>
              <a:gd name="connsiteY4" fmla="*/ 12744000 h 12744000"/>
              <a:gd name="connsiteX5" fmla="*/ 0 w 23399999"/>
              <a:gd name="connsiteY5" fmla="*/ 12744000 h 12744000"/>
              <a:gd name="connsiteX6" fmla="*/ 0 w 23399999"/>
              <a:gd name="connsiteY6" fmla="*/ 851260 h 12744000"/>
              <a:gd name="connsiteX7" fmla="*/ 2560913 w 23399999"/>
              <a:gd name="connsiteY7" fmla="*/ 855461 h 12744000"/>
              <a:gd name="connsiteX8" fmla="*/ 2564730 w 23399999"/>
              <a:gd name="connsiteY8"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17820605 w 23399999"/>
              <a:gd name="connsiteY3" fmla="*/ 12744000 h 12744000"/>
              <a:gd name="connsiteX4" fmla="*/ 0 w 23399999"/>
              <a:gd name="connsiteY4" fmla="*/ 12744000 h 12744000"/>
              <a:gd name="connsiteX5" fmla="*/ 0 w 23399999"/>
              <a:gd name="connsiteY5" fmla="*/ 12744000 h 12744000"/>
              <a:gd name="connsiteX6" fmla="*/ 0 w 23399999"/>
              <a:gd name="connsiteY6" fmla="*/ 851260 h 12744000"/>
              <a:gd name="connsiteX7" fmla="*/ 2560913 w 23399999"/>
              <a:gd name="connsiteY7" fmla="*/ 855461 h 12744000"/>
              <a:gd name="connsiteX8" fmla="*/ 2564730 w 23399999"/>
              <a:gd name="connsiteY8" fmla="*/ 0 h 12744000"/>
              <a:gd name="connsiteX0" fmla="*/ 2564730 w 23399999"/>
              <a:gd name="connsiteY0" fmla="*/ 0 h 12744000"/>
              <a:gd name="connsiteX1" fmla="*/ 23399999 w 23399999"/>
              <a:gd name="connsiteY1" fmla="*/ 0 h 12744000"/>
              <a:gd name="connsiteX2" fmla="*/ 17820605 w 23399999"/>
              <a:gd name="connsiteY2" fmla="*/ 12744000 h 12744000"/>
              <a:gd name="connsiteX3" fmla="*/ 0 w 23399999"/>
              <a:gd name="connsiteY3" fmla="*/ 12744000 h 12744000"/>
              <a:gd name="connsiteX4" fmla="*/ 0 w 23399999"/>
              <a:gd name="connsiteY4" fmla="*/ 12744000 h 12744000"/>
              <a:gd name="connsiteX5" fmla="*/ 0 w 23399999"/>
              <a:gd name="connsiteY5" fmla="*/ 851260 h 12744000"/>
              <a:gd name="connsiteX6" fmla="*/ 2560913 w 23399999"/>
              <a:gd name="connsiteY6" fmla="*/ 855461 h 12744000"/>
              <a:gd name="connsiteX7" fmla="*/ 2564730 w 23399999"/>
              <a:gd name="connsiteY7" fmla="*/ 0 h 12744000"/>
              <a:gd name="connsiteX0" fmla="*/ 2564730 w 17820605"/>
              <a:gd name="connsiteY0" fmla="*/ 0 h 12744000"/>
              <a:gd name="connsiteX1" fmla="*/ 8712450 w 17820605"/>
              <a:gd name="connsiteY1" fmla="*/ 0 h 12744000"/>
              <a:gd name="connsiteX2" fmla="*/ 17820605 w 17820605"/>
              <a:gd name="connsiteY2" fmla="*/ 12744000 h 12744000"/>
              <a:gd name="connsiteX3" fmla="*/ 0 w 17820605"/>
              <a:gd name="connsiteY3" fmla="*/ 12744000 h 12744000"/>
              <a:gd name="connsiteX4" fmla="*/ 0 w 17820605"/>
              <a:gd name="connsiteY4" fmla="*/ 12744000 h 12744000"/>
              <a:gd name="connsiteX5" fmla="*/ 0 w 17820605"/>
              <a:gd name="connsiteY5" fmla="*/ 851260 h 12744000"/>
              <a:gd name="connsiteX6" fmla="*/ 2560913 w 17820605"/>
              <a:gd name="connsiteY6" fmla="*/ 855461 h 12744000"/>
              <a:gd name="connsiteX7" fmla="*/ 2564730 w 17820605"/>
              <a:gd name="connsiteY7" fmla="*/ 0 h 12744000"/>
              <a:gd name="connsiteX0" fmla="*/ 2564730 w 17820605"/>
              <a:gd name="connsiteY0" fmla="*/ 50 h 12744050"/>
              <a:gd name="connsiteX1" fmla="*/ 8712450 w 17820605"/>
              <a:gd name="connsiteY1" fmla="*/ 50 h 12744050"/>
              <a:gd name="connsiteX2" fmla="*/ 17820605 w 17820605"/>
              <a:gd name="connsiteY2" fmla="*/ 12744050 h 12744050"/>
              <a:gd name="connsiteX3" fmla="*/ 0 w 17820605"/>
              <a:gd name="connsiteY3" fmla="*/ 12744050 h 12744050"/>
              <a:gd name="connsiteX4" fmla="*/ 0 w 17820605"/>
              <a:gd name="connsiteY4" fmla="*/ 12744050 h 12744050"/>
              <a:gd name="connsiteX5" fmla="*/ 0 w 17820605"/>
              <a:gd name="connsiteY5" fmla="*/ 851310 h 12744050"/>
              <a:gd name="connsiteX6" fmla="*/ 2560913 w 17820605"/>
              <a:gd name="connsiteY6" fmla="*/ 855511 h 12744050"/>
              <a:gd name="connsiteX7" fmla="*/ 2564730 w 17820605"/>
              <a:gd name="connsiteY7" fmla="*/ 50 h 12744050"/>
              <a:gd name="connsiteX0" fmla="*/ 2564730 w 17820605"/>
              <a:gd name="connsiteY0" fmla="*/ 50 h 12744050"/>
              <a:gd name="connsiteX1" fmla="*/ 8712450 w 17820605"/>
              <a:gd name="connsiteY1" fmla="*/ 50 h 12744050"/>
              <a:gd name="connsiteX2" fmla="*/ 17820605 w 17820605"/>
              <a:gd name="connsiteY2" fmla="*/ 12744050 h 12744050"/>
              <a:gd name="connsiteX3" fmla="*/ 0 w 17820605"/>
              <a:gd name="connsiteY3" fmla="*/ 12744050 h 12744050"/>
              <a:gd name="connsiteX4" fmla="*/ 0 w 17820605"/>
              <a:gd name="connsiteY4" fmla="*/ 12744050 h 12744050"/>
              <a:gd name="connsiteX5" fmla="*/ 0 w 17820605"/>
              <a:gd name="connsiteY5" fmla="*/ 851310 h 12744050"/>
              <a:gd name="connsiteX6" fmla="*/ 2560913 w 17820605"/>
              <a:gd name="connsiteY6" fmla="*/ 855511 h 12744050"/>
              <a:gd name="connsiteX7" fmla="*/ 2564730 w 17820605"/>
              <a:gd name="connsiteY7" fmla="*/ 50 h 12744050"/>
              <a:gd name="connsiteX0" fmla="*/ 2564730 w 8712450"/>
              <a:gd name="connsiteY0" fmla="*/ 50 h 12744050"/>
              <a:gd name="connsiteX1" fmla="*/ 8712450 w 8712450"/>
              <a:gd name="connsiteY1" fmla="*/ 50 h 12744050"/>
              <a:gd name="connsiteX2" fmla="*/ 8662317 w 8712450"/>
              <a:gd name="connsiteY2" fmla="*/ 12744050 h 12744050"/>
              <a:gd name="connsiteX3" fmla="*/ 0 w 8712450"/>
              <a:gd name="connsiteY3" fmla="*/ 12744050 h 12744050"/>
              <a:gd name="connsiteX4" fmla="*/ 0 w 8712450"/>
              <a:gd name="connsiteY4" fmla="*/ 12744050 h 12744050"/>
              <a:gd name="connsiteX5" fmla="*/ 0 w 8712450"/>
              <a:gd name="connsiteY5" fmla="*/ 851310 h 12744050"/>
              <a:gd name="connsiteX6" fmla="*/ 2560913 w 8712450"/>
              <a:gd name="connsiteY6" fmla="*/ 855511 h 12744050"/>
              <a:gd name="connsiteX7" fmla="*/ 2564730 w 8712450"/>
              <a:gd name="connsiteY7" fmla="*/ 50 h 12744050"/>
              <a:gd name="connsiteX0" fmla="*/ 2564730 w 8712450"/>
              <a:gd name="connsiteY0" fmla="*/ 34 h 12744039"/>
              <a:gd name="connsiteX1" fmla="*/ 8712450 w 8712450"/>
              <a:gd name="connsiteY1" fmla="*/ 34 h 12744039"/>
              <a:gd name="connsiteX2" fmla="*/ 8662317 w 8712450"/>
              <a:gd name="connsiteY2" fmla="*/ 12744034 h 12744039"/>
              <a:gd name="connsiteX3" fmla="*/ 0 w 8712450"/>
              <a:gd name="connsiteY3" fmla="*/ 12744034 h 12744039"/>
              <a:gd name="connsiteX4" fmla="*/ 0 w 8712450"/>
              <a:gd name="connsiteY4" fmla="*/ 12744034 h 12744039"/>
              <a:gd name="connsiteX5" fmla="*/ 0 w 8712450"/>
              <a:gd name="connsiteY5" fmla="*/ 851294 h 12744039"/>
              <a:gd name="connsiteX6" fmla="*/ 2560913 w 8712450"/>
              <a:gd name="connsiteY6" fmla="*/ 855495 h 12744039"/>
              <a:gd name="connsiteX7" fmla="*/ 2564730 w 8712450"/>
              <a:gd name="connsiteY7" fmla="*/ 34 h 12744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12450" h="12744039">
                <a:moveTo>
                  <a:pt x="2564730" y="34"/>
                </a:moveTo>
                <a:lnTo>
                  <a:pt x="8712450" y="34"/>
                </a:lnTo>
                <a:cubicBezTo>
                  <a:pt x="8676689" y="-23929"/>
                  <a:pt x="8698078" y="12753709"/>
                  <a:pt x="8662317" y="12744034"/>
                </a:cubicBezTo>
                <a:lnTo>
                  <a:pt x="0" y="12744034"/>
                </a:lnTo>
                <a:lnTo>
                  <a:pt x="0" y="12744034"/>
                </a:lnTo>
                <a:lnTo>
                  <a:pt x="0" y="851294"/>
                </a:lnTo>
                <a:cubicBezTo>
                  <a:pt x="6513" y="855440"/>
                  <a:pt x="2562637" y="855468"/>
                  <a:pt x="2560913" y="855495"/>
                </a:cubicBezTo>
                <a:cubicBezTo>
                  <a:pt x="2564931" y="864158"/>
                  <a:pt x="2564831" y="283815"/>
                  <a:pt x="2564730" y="34"/>
                </a:cubicBezTo>
                <a:close/>
              </a:path>
            </a:pathLst>
          </a:custGeom>
          <a:solidFill>
            <a:schemeClr val="bg1">
              <a:lumMod val="85000"/>
            </a:schemeClr>
          </a:solidFill>
        </p:spPr>
        <p:txBody>
          <a:bodyPr/>
          <a:lstStyle>
            <a:lvl1pPr algn="r">
              <a:defRPr sz="2400">
                <a:solidFill>
                  <a:schemeClr val="tx1">
                    <a:lumMod val="65000"/>
                    <a:lumOff val="35000"/>
                  </a:schemeClr>
                </a:solidFill>
              </a:defRPr>
            </a:lvl1pPr>
          </a:lstStyle>
          <a:p>
            <a:r>
              <a:rPr lang="en-NL"/>
              <a:t>Fill this frame with one of the Theme Colours</a:t>
            </a:r>
          </a:p>
        </p:txBody>
      </p:sp>
      <p:sp>
        <p:nvSpPr>
          <p:cNvPr id="14" name="Picture Placeholder 6">
            <a:extLst>
              <a:ext uri="{FF2B5EF4-FFF2-40B4-BE49-F238E27FC236}">
                <a16:creationId xmlns:a16="http://schemas.microsoft.com/office/drawing/2014/main" id="{692D6ABC-8D9C-1E47-A2A8-2DC39B83F77E}"/>
              </a:ext>
            </a:extLst>
          </p:cNvPr>
          <p:cNvSpPr>
            <a:spLocks noGrp="1"/>
          </p:cNvSpPr>
          <p:nvPr>
            <p:ph type="pic" sz="quarter" idx="19" hasCustomPrompt="1"/>
          </p:nvPr>
        </p:nvSpPr>
        <p:spPr>
          <a:xfrm>
            <a:off x="9165791" y="486000"/>
            <a:ext cx="14725416" cy="12744000"/>
          </a:xfrm>
          <a:custGeom>
            <a:avLst/>
            <a:gdLst>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4730 w 23399999"/>
              <a:gd name="connsiteY8"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1337594 w 23399999"/>
              <a:gd name="connsiteY8" fmla="*/ 1164380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56794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5 w 23400000"/>
              <a:gd name="connsiteY4" fmla="*/ 9824813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603855 w 23439125"/>
              <a:gd name="connsiteY0" fmla="*/ 331220 h 13075220"/>
              <a:gd name="connsiteX1" fmla="*/ 23439124 w 23439125"/>
              <a:gd name="connsiteY1" fmla="*/ 331220 h 13075220"/>
              <a:gd name="connsiteX2" fmla="*/ 23439124 w 23439125"/>
              <a:gd name="connsiteY2" fmla="*/ 331220 h 13075220"/>
              <a:gd name="connsiteX3" fmla="*/ 23439125 w 23439125"/>
              <a:gd name="connsiteY3" fmla="*/ 10162828 h 13075220"/>
              <a:gd name="connsiteX4" fmla="*/ 17859729 w 23439125"/>
              <a:gd name="connsiteY4" fmla="*/ 10156033 h 13075220"/>
              <a:gd name="connsiteX5" fmla="*/ 17859730 w 23439125"/>
              <a:gd name="connsiteY5" fmla="*/ 13075220 h 13075220"/>
              <a:gd name="connsiteX6" fmla="*/ 39125 w 23439125"/>
              <a:gd name="connsiteY6" fmla="*/ 13075220 h 13075220"/>
              <a:gd name="connsiteX7" fmla="*/ 39125 w 23439125"/>
              <a:gd name="connsiteY7" fmla="*/ 13075220 h 13075220"/>
              <a:gd name="connsiteX8" fmla="*/ 39125 w 23439125"/>
              <a:gd name="connsiteY8" fmla="*/ 1182480 h 13075220"/>
              <a:gd name="connsiteX9" fmla="*/ 2603855 w 23439125"/>
              <a:gd name="connsiteY9" fmla="*/ 331220 h 1307522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2564730 w 23400000"/>
              <a:gd name="connsiteY8" fmla="*/ 0 h 12744000"/>
              <a:gd name="connsiteX0" fmla="*/ 869121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8691210 w 23400000"/>
              <a:gd name="connsiteY8" fmla="*/ 0 h 12744000"/>
              <a:gd name="connsiteX0" fmla="*/ 8674584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8674584 w 23400000"/>
              <a:gd name="connsiteY8" fmla="*/ 0 h 12744000"/>
              <a:gd name="connsiteX0" fmla="*/ 8674584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8674584 w 23400000"/>
              <a:gd name="connsiteY7" fmla="*/ 0 h 12744000"/>
              <a:gd name="connsiteX0" fmla="*/ 0 w 14725416"/>
              <a:gd name="connsiteY0" fmla="*/ 0 h 12744000"/>
              <a:gd name="connsiteX1" fmla="*/ 14725415 w 14725416"/>
              <a:gd name="connsiteY1" fmla="*/ 0 h 12744000"/>
              <a:gd name="connsiteX2" fmla="*/ 14725415 w 14725416"/>
              <a:gd name="connsiteY2" fmla="*/ 0 h 12744000"/>
              <a:gd name="connsiteX3" fmla="*/ 14725416 w 14725416"/>
              <a:gd name="connsiteY3" fmla="*/ 9831608 h 12744000"/>
              <a:gd name="connsiteX4" fmla="*/ 9146020 w 14725416"/>
              <a:gd name="connsiteY4" fmla="*/ 9824813 h 12744000"/>
              <a:gd name="connsiteX5" fmla="*/ 9146021 w 14725416"/>
              <a:gd name="connsiteY5" fmla="*/ 12744000 h 12744000"/>
              <a:gd name="connsiteX6" fmla="*/ 3903 w 14725416"/>
              <a:gd name="connsiteY6" fmla="*/ 12744000 h 12744000"/>
              <a:gd name="connsiteX7" fmla="*/ 0 w 14725416"/>
              <a:gd name="connsiteY7" fmla="*/ 0 h 127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25416" h="12744000">
                <a:moveTo>
                  <a:pt x="0" y="0"/>
                </a:moveTo>
                <a:lnTo>
                  <a:pt x="14725415" y="0"/>
                </a:lnTo>
                <a:lnTo>
                  <a:pt x="14725415" y="0"/>
                </a:lnTo>
                <a:cubicBezTo>
                  <a:pt x="14725415" y="3277203"/>
                  <a:pt x="14725416" y="6554405"/>
                  <a:pt x="14725416" y="9831608"/>
                </a:cubicBezTo>
                <a:cubicBezTo>
                  <a:pt x="14724997" y="9831571"/>
                  <a:pt x="9140821" y="9823891"/>
                  <a:pt x="9146020" y="9824813"/>
                </a:cubicBezTo>
                <a:cubicBezTo>
                  <a:pt x="9162597" y="9827753"/>
                  <a:pt x="9140354" y="12744037"/>
                  <a:pt x="9146021" y="12744000"/>
                </a:cubicBezTo>
                <a:lnTo>
                  <a:pt x="3903" y="12744000"/>
                </a:lnTo>
                <a:lnTo>
                  <a:pt x="0" y="0"/>
                </a:lnTo>
                <a:close/>
              </a:path>
            </a:pathLst>
          </a:custGeom>
          <a:solidFill>
            <a:schemeClr val="bg1">
              <a:lumMod val="95000"/>
            </a:schemeClr>
          </a:solidFill>
        </p:spPr>
        <p:txBody>
          <a:bodyPr/>
          <a:lstStyle>
            <a:lvl1pPr algn="ctr">
              <a:defRPr sz="2400">
                <a:solidFill>
                  <a:schemeClr val="tx1">
                    <a:lumMod val="65000"/>
                    <a:lumOff val="35000"/>
                  </a:schemeClr>
                </a:solidFill>
              </a:defRPr>
            </a:lvl1pPr>
          </a:lstStyle>
          <a:p>
            <a:r>
              <a:rPr lang="en-NL"/>
              <a:t>Drag and drop a topic-related picture into this fram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3060000" y="3402013"/>
            <a:ext cx="12156188" cy="6911975"/>
          </a:xfrm>
          <a:prstGeom prst="rect">
            <a:avLst/>
          </a:prstGeom>
          <a:solidFill>
            <a:schemeClr val="bg1"/>
          </a:solidFill>
        </p:spPr>
        <p:txBody>
          <a:bodyPr vert="horz" lIns="720000" tIns="540000" rIns="360000" bIns="360000" rtlCol="0" anchor="t">
            <a:noAutofit/>
          </a:bodyPr>
          <a:lstStyle>
            <a:lvl1pPr>
              <a:defRPr/>
            </a:lvl1pPr>
          </a:lstStyle>
          <a:p>
            <a:r>
              <a:rPr lang="en-GB" noProof="0"/>
              <a:t>Put the title here,</a:t>
            </a:r>
            <a:br>
              <a:rPr lang="en-GB" noProof="0"/>
            </a:br>
            <a:r>
              <a:rPr lang="en-GB" noProof="0"/>
              <a:t>keep it bold 80 </a:t>
            </a:r>
            <a:r>
              <a:rPr lang="en-GB" noProof="0" err="1"/>
              <a:t>pt</a:t>
            </a:r>
            <a:endParaRPr lang="en-GB" noProof="0"/>
          </a:p>
        </p:txBody>
      </p:sp>
      <p:pic>
        <p:nvPicPr>
          <p:cNvPr id="16" name="Picture 15">
            <a:extLst>
              <a:ext uri="{FF2B5EF4-FFF2-40B4-BE49-F238E27FC236}">
                <a16:creationId xmlns:a16="http://schemas.microsoft.com/office/drawing/2014/main" id="{B318DE6B-1EB2-D248-BE9E-1B173597E1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32675" y="10313988"/>
            <a:ext cx="5058531" cy="3402012"/>
          </a:xfrm>
          <a:prstGeom prst="rect">
            <a:avLst/>
          </a:prstGeom>
        </p:spPr>
      </p:pic>
      <p:sp>
        <p:nvSpPr>
          <p:cNvPr id="18" name="TextBox 17">
            <a:extLst>
              <a:ext uri="{FF2B5EF4-FFF2-40B4-BE49-F238E27FC236}">
                <a16:creationId xmlns:a16="http://schemas.microsoft.com/office/drawing/2014/main" id="{328A1B16-9A25-3541-9435-BC1CEEFFC8BA}"/>
              </a:ext>
            </a:extLst>
          </p:cNvPr>
          <p:cNvSpPr txBox="1"/>
          <p:nvPr userDrawn="1"/>
        </p:nvSpPr>
        <p:spPr>
          <a:xfrm>
            <a:off x="400182" y="419671"/>
            <a:ext cx="2574000" cy="461665"/>
          </a:xfrm>
          <a:prstGeom prst="rect">
            <a:avLst/>
          </a:prstGeom>
          <a:noFill/>
        </p:spPr>
        <p:txBody>
          <a:bodyPr wrap="square" rtlCol="0">
            <a:spAutoFit/>
          </a:bodyPr>
          <a:lstStyle/>
          <a:p>
            <a:pPr algn="l"/>
            <a:r>
              <a:rPr lang="en-NL" sz="2400"/>
              <a:t>Range</a:t>
            </a:r>
          </a:p>
        </p:txBody>
      </p:sp>
    </p:spTree>
    <p:extLst>
      <p:ext uri="{BB962C8B-B14F-4D97-AF65-F5344CB8AC3E}">
        <p14:creationId xmlns:p14="http://schemas.microsoft.com/office/powerpoint/2010/main" val="1892785576"/>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itle on white background">
    <p:bg>
      <p:bgPr>
        <a:solidFill>
          <a:schemeClr val="bg1"/>
        </a:solidFill>
        <a:effectLst/>
      </p:bgPr>
    </p:bg>
    <p:spTree>
      <p:nvGrpSpPr>
        <p:cNvPr id="1" name=""/>
        <p:cNvGrpSpPr/>
        <p:nvPr/>
      </p:nvGrpSpPr>
      <p:grpSpPr>
        <a:xfrm>
          <a:off x="0" y="0"/>
          <a:ext cx="0" cy="0"/>
          <a:chOff x="0" y="0"/>
          <a:chExt cx="0" cy="0"/>
        </a:xfrm>
      </p:grpSpPr>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3060000" y="3402013"/>
            <a:ext cx="12156188" cy="6911975"/>
          </a:xfrm>
          <a:prstGeom prst="rect">
            <a:avLst/>
          </a:prstGeom>
          <a:solidFill>
            <a:schemeClr val="bg1"/>
          </a:solidFill>
        </p:spPr>
        <p:txBody>
          <a:bodyPr vert="horz" lIns="720000" tIns="540000" rIns="360000" bIns="360000" rtlCol="0" anchor="t">
            <a:noAutofit/>
          </a:bodyPr>
          <a:lstStyle>
            <a:lvl1pPr>
              <a:defRPr/>
            </a:lvl1pPr>
          </a:lstStyle>
          <a:p>
            <a:r>
              <a:rPr lang="en-GB" noProof="0"/>
              <a:t>Put the title here,</a:t>
            </a:r>
            <a:br>
              <a:rPr lang="en-GB" noProof="0"/>
            </a:br>
            <a:r>
              <a:rPr lang="en-GB" noProof="0"/>
              <a:t>keep it bold 80 </a:t>
            </a:r>
            <a:r>
              <a:rPr lang="en-GB" noProof="0" err="1"/>
              <a:t>pt</a:t>
            </a:r>
            <a:br>
              <a:rPr lang="en-GB" noProof="0"/>
            </a:br>
            <a:endParaRPr lang="en-GB" noProof="0"/>
          </a:p>
        </p:txBody>
      </p:sp>
      <p:pic>
        <p:nvPicPr>
          <p:cNvPr id="16" name="Picture 15">
            <a:extLst>
              <a:ext uri="{FF2B5EF4-FFF2-40B4-BE49-F238E27FC236}">
                <a16:creationId xmlns:a16="http://schemas.microsoft.com/office/drawing/2014/main" id="{B318DE6B-1EB2-D248-BE9E-1B173597E1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32675" y="10313988"/>
            <a:ext cx="5058531" cy="3402012"/>
          </a:xfrm>
          <a:prstGeom prst="rect">
            <a:avLst/>
          </a:prstGeom>
        </p:spPr>
      </p:pic>
      <p:sp>
        <p:nvSpPr>
          <p:cNvPr id="18" name="TextBox 17">
            <a:extLst>
              <a:ext uri="{FF2B5EF4-FFF2-40B4-BE49-F238E27FC236}">
                <a16:creationId xmlns:a16="http://schemas.microsoft.com/office/drawing/2014/main" id="{328A1B16-9A25-3541-9435-BC1CEEFFC8BA}"/>
              </a:ext>
            </a:extLst>
          </p:cNvPr>
          <p:cNvSpPr txBox="1"/>
          <p:nvPr userDrawn="1"/>
        </p:nvSpPr>
        <p:spPr>
          <a:xfrm>
            <a:off x="400182" y="419671"/>
            <a:ext cx="2659818" cy="893713"/>
          </a:xfrm>
          <a:prstGeom prst="rect">
            <a:avLst/>
          </a:prstGeom>
          <a:noFill/>
        </p:spPr>
        <p:txBody>
          <a:bodyPr wrap="square" rtlCol="0">
            <a:noAutofit/>
          </a:bodyPr>
          <a:lstStyle/>
          <a:p>
            <a:pPr algn="l"/>
            <a:r>
              <a:rPr lang="en-NL" sz="2400"/>
              <a:t>Range</a:t>
            </a:r>
          </a:p>
        </p:txBody>
      </p:sp>
    </p:spTree>
    <p:extLst>
      <p:ext uri="{BB962C8B-B14F-4D97-AF65-F5344CB8AC3E}">
        <p14:creationId xmlns:p14="http://schemas.microsoft.com/office/powerpoint/2010/main" val="2966592955"/>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Agenda or conten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3293FC4-39C9-4047-8405-0EE5AF044904}"/>
              </a:ext>
            </a:extLst>
          </p:cNvPr>
          <p:cNvSpPr>
            <a:spLocks noGrp="1"/>
          </p:cNvSpPr>
          <p:nvPr>
            <p:ph type="pic" sz="quarter" idx="13" hasCustomPrompt="1"/>
          </p:nvPr>
        </p:nvSpPr>
        <p:spPr>
          <a:xfrm>
            <a:off x="486000" y="486000"/>
            <a:ext cx="10440000" cy="12744000"/>
          </a:xfrm>
          <a:solidFill>
            <a:schemeClr val="bg1">
              <a:lumMod val="95000"/>
            </a:schemeClr>
          </a:solidFill>
        </p:spPr>
        <p:txBody>
          <a:bodyPr/>
          <a:lstStyle>
            <a:lvl1pPr algn="ctr">
              <a:defRPr sz="2400">
                <a:solidFill>
                  <a:schemeClr val="tx1">
                    <a:lumMod val="65000"/>
                    <a:lumOff val="35000"/>
                  </a:schemeClr>
                </a:solidFill>
              </a:defRPr>
            </a:lvl1pPr>
          </a:lstStyle>
          <a:p>
            <a:r>
              <a:rPr lang="en-NL"/>
              <a:t>Fill this frame with one of the Theme Colours</a:t>
            </a:r>
          </a:p>
        </p:txBody>
      </p:sp>
      <p:sp>
        <p:nvSpPr>
          <p:cNvPr id="9" name="Text Placeholder 3">
            <a:extLst>
              <a:ext uri="{FF2B5EF4-FFF2-40B4-BE49-F238E27FC236}">
                <a16:creationId xmlns:a16="http://schemas.microsoft.com/office/drawing/2014/main" id="{74EDCDDC-BFAD-0048-95CD-93E49D18174D}"/>
              </a:ext>
            </a:extLst>
          </p:cNvPr>
          <p:cNvSpPr>
            <a:spLocks noGrp="1"/>
          </p:cNvSpPr>
          <p:nvPr>
            <p:ph type="body" sz="half" idx="2" hasCustomPrompt="1"/>
          </p:nvPr>
        </p:nvSpPr>
        <p:spPr>
          <a:xfrm>
            <a:off x="12191207" y="1961458"/>
            <a:ext cx="9144793" cy="10081320"/>
          </a:xfrm>
        </p:spPr>
        <p:txBody>
          <a:bodyPr>
            <a:noAutofit/>
          </a:bodyPr>
          <a:lstStyle>
            <a:lvl1pPr marL="0" marR="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sz="32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endParaRPr lang="en-GB" noProof="0"/>
          </a:p>
        </p:txBody>
      </p:sp>
      <p:sp>
        <p:nvSpPr>
          <p:cNvPr id="6" name="Title 5">
            <a:extLst>
              <a:ext uri="{FF2B5EF4-FFF2-40B4-BE49-F238E27FC236}">
                <a16:creationId xmlns:a16="http://schemas.microsoft.com/office/drawing/2014/main" id="{07211B91-AE84-A342-91A4-CA604C6D63E9}"/>
              </a:ext>
            </a:extLst>
          </p:cNvPr>
          <p:cNvSpPr>
            <a:spLocks noGrp="1"/>
          </p:cNvSpPr>
          <p:nvPr>
            <p:ph type="title" hasCustomPrompt="1"/>
          </p:nvPr>
        </p:nvSpPr>
        <p:spPr>
          <a:xfrm>
            <a:off x="1676293" y="1677600"/>
            <a:ext cx="9000000" cy="8633316"/>
          </a:xfrm>
        </p:spPr>
        <p:txBody>
          <a:bodyPr bIns="46800"/>
          <a:lstStyle/>
          <a:p>
            <a:r>
              <a:rPr lang="en-GB"/>
              <a:t>Agenda or contents</a:t>
            </a:r>
            <a:endParaRPr lang="en-NL"/>
          </a:p>
        </p:txBody>
      </p:sp>
      <p:sp>
        <p:nvSpPr>
          <p:cNvPr id="12" name="Text Placeholder 3">
            <a:extLst>
              <a:ext uri="{FF2B5EF4-FFF2-40B4-BE49-F238E27FC236}">
                <a16:creationId xmlns:a16="http://schemas.microsoft.com/office/drawing/2014/main" id="{E42BC64C-1096-A244-9939-276AF14B9BC4}"/>
              </a:ext>
            </a:extLst>
          </p:cNvPr>
          <p:cNvSpPr>
            <a:spLocks noGrp="1"/>
          </p:cNvSpPr>
          <p:nvPr>
            <p:ph type="body" sz="half" idx="15" hasCustomPrompt="1"/>
          </p:nvPr>
        </p:nvSpPr>
        <p:spPr>
          <a:xfrm>
            <a:off x="1676291" y="10313988"/>
            <a:ext cx="9000001" cy="1728790"/>
          </a:xfrm>
        </p:spPr>
        <p:txBody>
          <a:bodyPr anchor="b">
            <a:noAutofit/>
          </a:bodyPr>
          <a:lstStyle>
            <a:lvl1pPr marL="0" marR="0" indent="0" algn="l" defTabSz="1439928" rtl="0" eaLnBrk="1" fontAlgn="auto" latinLnBrk="0" hangingPunct="1">
              <a:lnSpc>
                <a:spcPct val="100000"/>
              </a:lnSpc>
              <a:spcBef>
                <a:spcPts val="2000"/>
              </a:spcBef>
              <a:spcAft>
                <a:spcPts val="0"/>
              </a:spcAft>
              <a:buClrTx/>
              <a:buSzTx/>
              <a:buFont typeface="Arial" panose="020B0604020202020204" pitchFamily="34" charset="0"/>
              <a:buNone/>
              <a:tabLst/>
              <a:defRPr sz="40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Department/project name</a:t>
            </a:r>
            <a:br>
              <a:rPr lang="en-GB" noProof="0"/>
            </a:br>
            <a:r>
              <a:rPr lang="en-GB" noProof="0"/>
              <a:t>00/00/0000</a:t>
            </a:r>
          </a:p>
        </p:txBody>
      </p:sp>
      <p:sp>
        <p:nvSpPr>
          <p:cNvPr id="7" name="Footer Placeholder 6">
            <a:extLst>
              <a:ext uri="{FF2B5EF4-FFF2-40B4-BE49-F238E27FC236}">
                <a16:creationId xmlns:a16="http://schemas.microsoft.com/office/drawing/2014/main" id="{AA71B48D-AD8E-4041-BC0A-97827EA167E2}"/>
              </a:ext>
            </a:extLst>
          </p:cNvPr>
          <p:cNvSpPr>
            <a:spLocks noGrp="1"/>
          </p:cNvSpPr>
          <p:nvPr>
            <p:ph type="ftr" sz="quarter" idx="16"/>
          </p:nvPr>
        </p:nvSpPr>
        <p:spPr/>
        <p:txBody>
          <a:bodyPr/>
          <a:lstStyle/>
          <a:p>
            <a:endParaRPr lang="en-NL"/>
          </a:p>
        </p:txBody>
      </p:sp>
      <p:sp>
        <p:nvSpPr>
          <p:cNvPr id="13" name="TextBox 12">
            <a:extLst>
              <a:ext uri="{FF2B5EF4-FFF2-40B4-BE49-F238E27FC236}">
                <a16:creationId xmlns:a16="http://schemas.microsoft.com/office/drawing/2014/main" id="{3A2D6FA1-9D20-AF47-912B-1D770AF0FEBC}"/>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650976213"/>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hapter headline on simple background">
    <p:bg>
      <p:bgPr>
        <a:solidFill>
          <a:schemeClr val="bg1"/>
        </a:solidFill>
        <a:effectLst/>
      </p:bgPr>
    </p:bg>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ADB4BA95-E492-D840-88F6-2FE23D26918D}"/>
              </a:ext>
            </a:extLst>
          </p:cNvPr>
          <p:cNvSpPr>
            <a:spLocks noGrp="1"/>
          </p:cNvSpPr>
          <p:nvPr>
            <p:ph type="pic" sz="quarter" idx="14" hasCustomPrompt="1"/>
          </p:nvPr>
        </p:nvSpPr>
        <p:spPr>
          <a:xfrm>
            <a:off x="491206" y="486000"/>
            <a:ext cx="23400000" cy="12744000"/>
          </a:xfrm>
          <a:solidFill>
            <a:schemeClr val="bg1">
              <a:lumMod val="95000"/>
            </a:schemeClr>
          </a:solidFill>
        </p:spPr>
        <p:txBody>
          <a:bodyPr>
            <a:normAutofit/>
          </a:bodyPr>
          <a:lstStyle>
            <a:lvl1pPr marL="0" marR="0" indent="0" algn="ctr" defTabSz="1828663" rtl="0" eaLnBrk="1" fontAlgn="auto" latinLnBrk="0" hangingPunct="1">
              <a:lnSpc>
                <a:spcPct val="10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7" name="Title Placeholder 6">
            <a:extLst>
              <a:ext uri="{FF2B5EF4-FFF2-40B4-BE49-F238E27FC236}">
                <a16:creationId xmlns:a16="http://schemas.microsoft.com/office/drawing/2014/main" id="{1B090AE2-5953-9248-BD9A-B5FA2155AD8A}"/>
              </a:ext>
            </a:extLst>
          </p:cNvPr>
          <p:cNvSpPr>
            <a:spLocks noGrp="1"/>
          </p:cNvSpPr>
          <p:nvPr>
            <p:ph type="title" hasCustomPrompt="1"/>
          </p:nvPr>
        </p:nvSpPr>
        <p:spPr>
          <a:xfrm>
            <a:off x="3060000" y="3402013"/>
            <a:ext cx="12156188" cy="6911975"/>
          </a:xfrm>
          <a:prstGeom prst="rect">
            <a:avLst/>
          </a:prstGeom>
          <a:solidFill>
            <a:schemeClr val="bg1"/>
          </a:solidFill>
        </p:spPr>
        <p:txBody>
          <a:bodyPr vert="horz" lIns="720000" tIns="360000" rIns="360000" bIns="36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C4ADDE55-E340-6E4C-86B1-7B03B8C32387}"/>
              </a:ext>
            </a:extLst>
          </p:cNvPr>
          <p:cNvSpPr>
            <a:spLocks noGrp="1"/>
          </p:cNvSpPr>
          <p:nvPr>
            <p:ph type="ftr" sz="quarter" idx="15"/>
          </p:nvPr>
        </p:nvSpPr>
        <p:spPr/>
        <p:txBody>
          <a:bodyPr/>
          <a:lstStyle/>
          <a:p>
            <a:endParaRPr lang="en-NL"/>
          </a:p>
        </p:txBody>
      </p:sp>
      <p:sp>
        <p:nvSpPr>
          <p:cNvPr id="10" name="TextBox 9">
            <a:extLst>
              <a:ext uri="{FF2B5EF4-FFF2-40B4-BE49-F238E27FC236}">
                <a16:creationId xmlns:a16="http://schemas.microsoft.com/office/drawing/2014/main" id="{7FB25574-EA1E-8647-9572-8972274746BB}"/>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935375147"/>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hapter headline on double background">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7D48BD0-6997-F144-A2F5-799BC3C77E9E}"/>
              </a:ext>
            </a:extLst>
          </p:cNvPr>
          <p:cNvSpPr>
            <a:spLocks noGrp="1"/>
          </p:cNvSpPr>
          <p:nvPr>
            <p:ph type="pic" sz="quarter" idx="16" hasCustomPrompt="1"/>
          </p:nvPr>
        </p:nvSpPr>
        <p:spPr>
          <a:xfrm>
            <a:off x="9166226" y="486000"/>
            <a:ext cx="1472498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background image into this frame</a:t>
            </a:r>
          </a:p>
        </p:txBody>
      </p:sp>
      <p:sp>
        <p:nvSpPr>
          <p:cNvPr id="8" name="Picture Placeholder 10">
            <a:extLst>
              <a:ext uri="{FF2B5EF4-FFF2-40B4-BE49-F238E27FC236}">
                <a16:creationId xmlns:a16="http://schemas.microsoft.com/office/drawing/2014/main" id="{1309BD59-499E-7B48-84B0-F24A66C27380}"/>
              </a:ext>
            </a:extLst>
          </p:cNvPr>
          <p:cNvSpPr>
            <a:spLocks noGrp="1"/>
          </p:cNvSpPr>
          <p:nvPr>
            <p:ph type="pic" sz="quarter" idx="14" hasCustomPrompt="1"/>
          </p:nvPr>
        </p:nvSpPr>
        <p:spPr>
          <a:xfrm>
            <a:off x="491206" y="486000"/>
            <a:ext cx="8675019" cy="12744000"/>
          </a:xfrm>
          <a:solidFill>
            <a:schemeClr val="bg1">
              <a:lumMod val="8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9" name="Title Placeholder 6">
            <a:extLst>
              <a:ext uri="{FF2B5EF4-FFF2-40B4-BE49-F238E27FC236}">
                <a16:creationId xmlns:a16="http://schemas.microsoft.com/office/drawing/2014/main" id="{9DDA9E19-4F77-3D4F-9876-A15B1427723D}"/>
              </a:ext>
            </a:extLst>
          </p:cNvPr>
          <p:cNvSpPr>
            <a:spLocks noGrp="1"/>
          </p:cNvSpPr>
          <p:nvPr>
            <p:ph type="title" hasCustomPrompt="1"/>
          </p:nvPr>
        </p:nvSpPr>
        <p:spPr>
          <a:xfrm>
            <a:off x="3060000" y="3402013"/>
            <a:ext cx="12156188" cy="6911975"/>
          </a:xfrm>
          <a:prstGeom prst="rect">
            <a:avLst/>
          </a:prstGeom>
          <a:solidFill>
            <a:schemeClr val="bg1"/>
          </a:solidFill>
        </p:spPr>
        <p:txBody>
          <a:bodyPr vert="horz" lIns="720000" tIns="360000" rIns="360000" bIns="36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5CA18264-1F8B-3A44-B551-1BBEE87ED5B3}"/>
              </a:ext>
            </a:extLst>
          </p:cNvPr>
          <p:cNvSpPr>
            <a:spLocks noGrp="1"/>
          </p:cNvSpPr>
          <p:nvPr>
            <p:ph type="ftr" sz="quarter" idx="17"/>
          </p:nvPr>
        </p:nvSpPr>
        <p:spPr/>
        <p:txBody>
          <a:bodyPr/>
          <a:lstStyle/>
          <a:p>
            <a:endParaRPr lang="en-NL"/>
          </a:p>
        </p:txBody>
      </p:sp>
      <p:sp>
        <p:nvSpPr>
          <p:cNvPr id="11" name="TextBox 10">
            <a:extLst>
              <a:ext uri="{FF2B5EF4-FFF2-40B4-BE49-F238E27FC236}">
                <a16:creationId xmlns:a16="http://schemas.microsoft.com/office/drawing/2014/main" id="{17ABB78B-16D4-9548-AD33-F584DB55BA7A}"/>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40102582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hapter name with number on texture or image">
    <p:bg>
      <p:bgPr>
        <a:solidFill>
          <a:schemeClr val="bg1"/>
        </a:solidFill>
        <a:effectLst/>
      </p:bgPr>
    </p:bg>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C2E2C76C-B512-4744-83A7-60E61AA545D5}"/>
              </a:ext>
            </a:extLst>
          </p:cNvPr>
          <p:cNvSpPr>
            <a:spLocks noGrp="1"/>
          </p:cNvSpPr>
          <p:nvPr>
            <p:ph type="pic" sz="quarter" idx="14" hasCustomPrompt="1"/>
          </p:nvPr>
        </p:nvSpPr>
        <p:spPr>
          <a:xfrm>
            <a:off x="0" y="0"/>
            <a:ext cx="24382413" cy="1371600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Select a colour for background. Or drag and drop to add a picture</a:t>
            </a:r>
          </a:p>
        </p:txBody>
      </p:sp>
      <p:sp>
        <p:nvSpPr>
          <p:cNvPr id="5" name="Picture Placeholder 4">
            <a:extLst>
              <a:ext uri="{FF2B5EF4-FFF2-40B4-BE49-F238E27FC236}">
                <a16:creationId xmlns:a16="http://schemas.microsoft.com/office/drawing/2014/main" id="{FB1122C6-C8D2-B547-ADCC-E7F92107FD3B}"/>
              </a:ext>
            </a:extLst>
          </p:cNvPr>
          <p:cNvSpPr>
            <a:spLocks noGrp="1"/>
          </p:cNvSpPr>
          <p:nvPr>
            <p:ph type="pic" sz="quarter" idx="18" hasCustomPrompt="1"/>
          </p:nvPr>
        </p:nvSpPr>
        <p:spPr>
          <a:xfrm>
            <a:off x="1677880" y="3649662"/>
            <a:ext cx="21026657" cy="6416676"/>
          </a:xfrm>
          <a:solidFill>
            <a:schemeClr val="bg1"/>
          </a:solidFill>
        </p:spPr>
        <p:txBody>
          <a:bodyPr/>
          <a:lstStyle/>
          <a:p>
            <a:r>
              <a:rPr lang="en-GB" noProof="0"/>
              <a:t> </a:t>
            </a:r>
          </a:p>
        </p:txBody>
      </p:sp>
      <p:sp>
        <p:nvSpPr>
          <p:cNvPr id="8" name="Subtitle 2">
            <a:extLst>
              <a:ext uri="{FF2B5EF4-FFF2-40B4-BE49-F238E27FC236}">
                <a16:creationId xmlns:a16="http://schemas.microsoft.com/office/drawing/2014/main" id="{03179F04-E3DD-714F-9E83-2F320F41AF4B}"/>
              </a:ext>
            </a:extLst>
          </p:cNvPr>
          <p:cNvSpPr>
            <a:spLocks noGrp="1"/>
          </p:cNvSpPr>
          <p:nvPr>
            <p:ph type="subTitle" idx="1" hasCustomPrompt="1"/>
          </p:nvPr>
        </p:nvSpPr>
        <p:spPr>
          <a:xfrm>
            <a:off x="6718955" y="5069835"/>
            <a:ext cx="15408709" cy="3604518"/>
          </a:xfrm>
        </p:spPr>
        <p:txBody>
          <a:bodyPr anchor="ctr">
            <a:noAutofit/>
          </a:bodyPr>
          <a:lstStyle>
            <a:lvl1pPr marL="0" indent="0" algn="l">
              <a:lnSpc>
                <a:spcPct val="100000"/>
              </a:lnSpc>
              <a:buNone/>
              <a:defRPr sz="11999" b="1" spc="-200" baseline="0">
                <a:latin typeface="Noto IKEA Latin" panose="020B050204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GB" noProof="0"/>
              <a:t>Put the chapter headline here</a:t>
            </a:r>
          </a:p>
        </p:txBody>
      </p:sp>
      <p:sp>
        <p:nvSpPr>
          <p:cNvPr id="11" name="Text Placeholder 4">
            <a:extLst>
              <a:ext uri="{FF2B5EF4-FFF2-40B4-BE49-F238E27FC236}">
                <a16:creationId xmlns:a16="http://schemas.microsoft.com/office/drawing/2014/main" id="{E6CA9D82-2C12-3A47-9717-927FD5070851}"/>
              </a:ext>
            </a:extLst>
          </p:cNvPr>
          <p:cNvSpPr>
            <a:spLocks noGrp="1"/>
          </p:cNvSpPr>
          <p:nvPr>
            <p:ph type="body" sz="quarter" idx="11" hasCustomPrompt="1"/>
          </p:nvPr>
        </p:nvSpPr>
        <p:spPr>
          <a:xfrm>
            <a:off x="1700165" y="5069835"/>
            <a:ext cx="4874783" cy="3604518"/>
          </a:xfrm>
        </p:spPr>
        <p:txBody>
          <a:bodyPr anchor="ctr">
            <a:noAutofit/>
          </a:bodyPr>
          <a:lstStyle>
            <a:lvl1pPr marL="0" indent="0" algn="ctr">
              <a:lnSpc>
                <a:spcPct val="100000"/>
              </a:lnSpc>
              <a:buNone/>
              <a:defRPr sz="29999" b="1" spc="-600" baseline="0">
                <a:ln>
                  <a:noFill/>
                </a:ln>
                <a:solidFill>
                  <a:schemeClr val="tx1"/>
                </a:solidFill>
              </a:defRPr>
            </a:lvl1pPr>
          </a:lstStyle>
          <a:p>
            <a:pPr lvl="0"/>
            <a:r>
              <a:rPr lang="en-GB" noProof="0"/>
              <a:t>#</a:t>
            </a:r>
          </a:p>
        </p:txBody>
      </p:sp>
      <p:sp>
        <p:nvSpPr>
          <p:cNvPr id="9" name="Text Placeholder 3">
            <a:extLst>
              <a:ext uri="{FF2B5EF4-FFF2-40B4-BE49-F238E27FC236}">
                <a16:creationId xmlns:a16="http://schemas.microsoft.com/office/drawing/2014/main" id="{CDB35E14-306E-CC47-BA9B-1EED6583B986}"/>
              </a:ext>
            </a:extLst>
          </p:cNvPr>
          <p:cNvSpPr>
            <a:spLocks noGrp="1"/>
          </p:cNvSpPr>
          <p:nvPr>
            <p:ph type="body" sz="quarter" idx="19"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2</a:t>
            </a:r>
            <a:endParaRPr lang="en-GB"/>
          </a:p>
        </p:txBody>
      </p:sp>
    </p:spTree>
    <p:extLst>
      <p:ext uri="{BB962C8B-B14F-4D97-AF65-F5344CB8AC3E}">
        <p14:creationId xmlns:p14="http://schemas.microsoft.com/office/powerpoint/2010/main" val="3931644061"/>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hapter headline and number 1">
    <p:bg>
      <p:bgPr>
        <a:solidFill>
          <a:schemeClr val="bg1"/>
        </a:solidFill>
        <a:effectLst/>
      </p:bgPr>
    </p:bg>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FBC26CA4-EB48-1543-B2BB-C8B879012FEC}"/>
              </a:ext>
            </a:extLst>
          </p:cNvPr>
          <p:cNvSpPr>
            <a:spLocks noGrp="1"/>
          </p:cNvSpPr>
          <p:nvPr>
            <p:ph type="pic" sz="quarter" idx="14" hasCustomPrompt="1"/>
          </p:nvPr>
        </p:nvSpPr>
        <p:spPr>
          <a:xfrm>
            <a:off x="491206" y="486000"/>
            <a:ext cx="23400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5" name="Text Placeholder 4">
            <a:extLst>
              <a:ext uri="{FF2B5EF4-FFF2-40B4-BE49-F238E27FC236}">
                <a16:creationId xmlns:a16="http://schemas.microsoft.com/office/drawing/2014/main" id="{D692063E-373D-9A4C-B3F2-4CED294F18A0}"/>
              </a:ext>
            </a:extLst>
          </p:cNvPr>
          <p:cNvSpPr>
            <a:spLocks noGrp="1"/>
          </p:cNvSpPr>
          <p:nvPr>
            <p:ph type="body" sz="quarter" idx="11" hasCustomPrompt="1"/>
          </p:nvPr>
        </p:nvSpPr>
        <p:spPr>
          <a:xfrm>
            <a:off x="3066645" y="3402013"/>
            <a:ext cx="6113167" cy="6911975"/>
          </a:xfrm>
          <a:solidFill>
            <a:schemeClr val="bg1"/>
          </a:solidFill>
        </p:spPr>
        <p:txBody>
          <a:bodyPr anchor="ctr" anchorCtr="0">
            <a:noAutofit/>
          </a:bodyPr>
          <a:lstStyle>
            <a:lvl1pPr marL="0" indent="0" algn="ctr">
              <a:buNone/>
              <a:defRPr sz="30000" b="1" spc="-600" baseline="0">
                <a:ln>
                  <a:noFill/>
                </a:ln>
                <a:solidFill>
                  <a:schemeClr val="tx1"/>
                </a:solidFill>
              </a:defRPr>
            </a:lvl1pPr>
          </a:lstStyle>
          <a:p>
            <a:pPr lvl="0"/>
            <a:r>
              <a:rPr lang="en-GB" noProof="0"/>
              <a:t>#</a:t>
            </a:r>
          </a:p>
        </p:txBody>
      </p:sp>
      <p:sp>
        <p:nvSpPr>
          <p:cNvPr id="9" name="Title Placeholder 6">
            <a:extLst>
              <a:ext uri="{FF2B5EF4-FFF2-40B4-BE49-F238E27FC236}">
                <a16:creationId xmlns:a16="http://schemas.microsoft.com/office/drawing/2014/main" id="{8EE4B79D-13C4-D44B-B7EA-5A90670CE600}"/>
              </a:ext>
            </a:extLst>
          </p:cNvPr>
          <p:cNvSpPr>
            <a:spLocks noGrp="1"/>
          </p:cNvSpPr>
          <p:nvPr>
            <p:ph type="title" hasCustomPrompt="1"/>
          </p:nvPr>
        </p:nvSpPr>
        <p:spPr>
          <a:xfrm>
            <a:off x="9166225" y="3402013"/>
            <a:ext cx="12169775" cy="6911975"/>
          </a:xfrm>
          <a:prstGeom prst="rect">
            <a:avLst/>
          </a:prstGeom>
          <a:solidFill>
            <a:schemeClr val="bg1"/>
          </a:solidFill>
        </p:spPr>
        <p:txBody>
          <a:bodyPr vert="horz" lIns="360000" tIns="360000" rIns="360000" bIns="36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1A1CBB60-7354-0F46-A5EC-2B7F347405A8}"/>
              </a:ext>
            </a:extLst>
          </p:cNvPr>
          <p:cNvSpPr>
            <a:spLocks noGrp="1"/>
          </p:cNvSpPr>
          <p:nvPr>
            <p:ph type="ftr" sz="quarter" idx="15"/>
          </p:nvPr>
        </p:nvSpPr>
        <p:spPr/>
        <p:txBody>
          <a:bodyPr/>
          <a:lstStyle/>
          <a:p>
            <a:endParaRPr lang="en-NL"/>
          </a:p>
        </p:txBody>
      </p:sp>
      <p:sp>
        <p:nvSpPr>
          <p:cNvPr id="11" name="TextBox 10">
            <a:extLst>
              <a:ext uri="{FF2B5EF4-FFF2-40B4-BE49-F238E27FC236}">
                <a16:creationId xmlns:a16="http://schemas.microsoft.com/office/drawing/2014/main" id="{40541476-0AFC-234B-BC49-0499CC038C91}"/>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148345223"/>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Chapter headline and number 2">
    <p:bg>
      <p:bgPr>
        <a:solidFill>
          <a:schemeClr val="bg1"/>
        </a:solidFill>
        <a:effectLst/>
      </p:bgPr>
    </p:bg>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F6085D9F-3237-7542-9B7D-4ED3CD3607B0}"/>
              </a:ext>
            </a:extLst>
          </p:cNvPr>
          <p:cNvSpPr>
            <a:spLocks noGrp="1"/>
          </p:cNvSpPr>
          <p:nvPr>
            <p:ph type="body" sz="quarter" idx="11" hasCustomPrompt="1"/>
          </p:nvPr>
        </p:nvSpPr>
        <p:spPr>
          <a:xfrm>
            <a:off x="3066645" y="3402013"/>
            <a:ext cx="6113167" cy="6911975"/>
          </a:xfrm>
          <a:noFill/>
        </p:spPr>
        <p:txBody>
          <a:bodyPr anchor="ctr" anchorCtr="0">
            <a:noAutofit/>
          </a:bodyPr>
          <a:lstStyle>
            <a:lvl1pPr marL="0" indent="0" algn="ctr">
              <a:buNone/>
              <a:defRPr sz="30000" b="1" spc="-600" baseline="0">
                <a:ln>
                  <a:noFill/>
                </a:ln>
                <a:solidFill>
                  <a:schemeClr val="tx1"/>
                </a:solidFill>
              </a:defRPr>
            </a:lvl1pPr>
          </a:lstStyle>
          <a:p>
            <a:pPr lvl="0"/>
            <a:r>
              <a:rPr lang="en-GB" noProof="0"/>
              <a:t>#</a:t>
            </a:r>
          </a:p>
        </p:txBody>
      </p:sp>
      <p:sp>
        <p:nvSpPr>
          <p:cNvPr id="7" name="Title Placeholder 6">
            <a:extLst>
              <a:ext uri="{FF2B5EF4-FFF2-40B4-BE49-F238E27FC236}">
                <a16:creationId xmlns:a16="http://schemas.microsoft.com/office/drawing/2014/main" id="{C80CB7B3-E10E-DC43-BC18-2A74C9A160F8}"/>
              </a:ext>
            </a:extLst>
          </p:cNvPr>
          <p:cNvSpPr>
            <a:spLocks noGrp="1"/>
          </p:cNvSpPr>
          <p:nvPr>
            <p:ph type="title" hasCustomPrompt="1"/>
          </p:nvPr>
        </p:nvSpPr>
        <p:spPr>
          <a:xfrm>
            <a:off x="9166225" y="3402013"/>
            <a:ext cx="12169775" cy="6911975"/>
          </a:xfrm>
          <a:prstGeom prst="rect">
            <a:avLst/>
          </a:prstGeom>
          <a:noFill/>
        </p:spPr>
        <p:txBody>
          <a:bodyPr vert="horz" lIns="360000" tIns="360000" rIns="360000" bIns="36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3A7F9CFD-AFFB-3B47-AFEC-CEE18A9D2CE6}"/>
              </a:ext>
            </a:extLst>
          </p:cNvPr>
          <p:cNvSpPr>
            <a:spLocks noGrp="1"/>
          </p:cNvSpPr>
          <p:nvPr>
            <p:ph type="ftr" sz="quarter" idx="12"/>
          </p:nvPr>
        </p:nvSpPr>
        <p:spPr/>
        <p:txBody>
          <a:bodyPr/>
          <a:lstStyle/>
          <a:p>
            <a:endParaRPr lang="en-NL"/>
          </a:p>
        </p:txBody>
      </p:sp>
      <p:sp>
        <p:nvSpPr>
          <p:cNvPr id="10" name="TextBox 9">
            <a:extLst>
              <a:ext uri="{FF2B5EF4-FFF2-40B4-BE49-F238E27FC236}">
                <a16:creationId xmlns:a16="http://schemas.microsoft.com/office/drawing/2014/main" id="{C416BDAF-6CDC-8648-8B2F-B8146F0C0E7E}"/>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064596100"/>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ext and picture on the right">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13127310" y="486000"/>
            <a:ext cx="10764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1674329" y="5129213"/>
            <a:ext cx="10516084" cy="6904512"/>
          </a:xfrm>
        </p:spPr>
        <p:txBody>
          <a:bodyPr>
            <a:noAutofit/>
          </a:bodyPr>
          <a:lstStyle>
            <a:lvl1pPr>
              <a:spcBef>
                <a:spcPts val="2000"/>
              </a:spcBef>
              <a:defRPr sz="3200"/>
            </a:lvl1pPr>
          </a:lstStyle>
          <a:p>
            <a:pPr lvl="0"/>
            <a:r>
              <a:rPr lang="en-GB" noProof="0"/>
              <a:t>Put the paragraph text here, keep it regular 32 </a:t>
            </a:r>
            <a:r>
              <a:rPr lang="en-GB" noProof="0" err="1"/>
              <a:t>pt</a:t>
            </a:r>
            <a:endParaRPr lang="en-GB" noProof="0"/>
          </a:p>
        </p:txBody>
      </p:sp>
      <p:sp>
        <p:nvSpPr>
          <p:cNvPr id="2" name="Title 1">
            <a:extLst>
              <a:ext uri="{FF2B5EF4-FFF2-40B4-BE49-F238E27FC236}">
                <a16:creationId xmlns:a16="http://schemas.microsoft.com/office/drawing/2014/main" id="{44A2E15B-0973-F742-A266-E1107E35FE40}"/>
              </a:ext>
            </a:extLst>
          </p:cNvPr>
          <p:cNvSpPr>
            <a:spLocks noGrp="1"/>
          </p:cNvSpPr>
          <p:nvPr>
            <p:ph type="title" hasCustomPrompt="1"/>
          </p:nvPr>
        </p:nvSpPr>
        <p:spPr>
          <a:xfrm>
            <a:off x="1676293" y="1677600"/>
            <a:ext cx="10514913" cy="3011659"/>
          </a:xfrm>
        </p:spPr>
        <p:txBody>
          <a:bodyPr/>
          <a:lstStyle/>
          <a:p>
            <a:r>
              <a:rPr lang="en-GB"/>
              <a:t>Put the headline here, keep it 80 </a:t>
            </a:r>
            <a:r>
              <a:rPr lang="en-GB" err="1"/>
              <a:t>pt</a:t>
            </a:r>
            <a:endParaRPr lang="en-NL"/>
          </a:p>
        </p:txBody>
      </p:sp>
      <p:sp>
        <p:nvSpPr>
          <p:cNvPr id="7" name="Footer Placeholder 6">
            <a:extLst>
              <a:ext uri="{FF2B5EF4-FFF2-40B4-BE49-F238E27FC236}">
                <a16:creationId xmlns:a16="http://schemas.microsoft.com/office/drawing/2014/main" id="{1BBF2C0D-081E-D341-990A-85E80DD0D1B7}"/>
              </a:ext>
            </a:extLst>
          </p:cNvPr>
          <p:cNvSpPr>
            <a:spLocks noGrp="1"/>
          </p:cNvSpPr>
          <p:nvPr>
            <p:ph type="ftr" sz="quarter" idx="19"/>
          </p:nvPr>
        </p:nvSpPr>
        <p:spPr/>
        <p:txBody>
          <a:bodyPr/>
          <a:lstStyle/>
          <a:p>
            <a:endParaRPr lang="en-NL"/>
          </a:p>
        </p:txBody>
      </p:sp>
      <p:sp>
        <p:nvSpPr>
          <p:cNvPr id="10" name="TextBox 9">
            <a:extLst>
              <a:ext uri="{FF2B5EF4-FFF2-40B4-BE49-F238E27FC236}">
                <a16:creationId xmlns:a16="http://schemas.microsoft.com/office/drawing/2014/main" id="{894FC958-E5A8-B74F-A7E7-30B82C0B44E8}"/>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916380933"/>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ext and picture on the left">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EED5078-C5D9-0E4F-B9E3-7CF7BBC8C373}"/>
              </a:ext>
            </a:extLst>
          </p:cNvPr>
          <p:cNvSpPr>
            <a:spLocks noGrp="1"/>
          </p:cNvSpPr>
          <p:nvPr>
            <p:ph type="pic" sz="quarter" idx="15" hasCustomPrompt="1"/>
          </p:nvPr>
        </p:nvSpPr>
        <p:spPr>
          <a:xfrm>
            <a:off x="491102" y="486000"/>
            <a:ext cx="10764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pPr marL="0" marR="0" lvl="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a:pPr>
            <a:r>
              <a:rPr lang="en-NL"/>
              <a:t>Drag and drop a topic-related picture into this frame</a:t>
            </a:r>
          </a:p>
        </p:txBody>
      </p:sp>
      <p:sp>
        <p:nvSpPr>
          <p:cNvPr id="12" name="Text Placeholder 3">
            <a:extLst>
              <a:ext uri="{FF2B5EF4-FFF2-40B4-BE49-F238E27FC236}">
                <a16:creationId xmlns:a16="http://schemas.microsoft.com/office/drawing/2014/main" id="{AE87E5A1-8A67-0448-BA9A-DA74F50AE099}"/>
              </a:ext>
            </a:extLst>
          </p:cNvPr>
          <p:cNvSpPr>
            <a:spLocks noGrp="1"/>
          </p:cNvSpPr>
          <p:nvPr>
            <p:ph type="body" sz="quarter" idx="18" hasCustomPrompt="1"/>
          </p:nvPr>
        </p:nvSpPr>
        <p:spPr>
          <a:xfrm>
            <a:off x="12191206" y="5129213"/>
            <a:ext cx="10516084" cy="6904512"/>
          </a:xfrm>
        </p:spPr>
        <p:txBody>
          <a:bodyPr>
            <a:noAutofit/>
          </a:bodyPr>
          <a:lstStyle>
            <a:lvl1pPr>
              <a:spcBef>
                <a:spcPts val="2000"/>
              </a:spcBef>
              <a:defRPr sz="3200"/>
            </a:lvl1pPr>
          </a:lstStyle>
          <a:p>
            <a:pPr lvl="0"/>
            <a:r>
              <a:rPr lang="en-GB" noProof="0"/>
              <a:t>Put the paragraph text here, keep it regular 32 </a:t>
            </a:r>
            <a:r>
              <a:rPr lang="en-GB" noProof="0" err="1"/>
              <a:t>pt</a:t>
            </a:r>
            <a:endParaRPr lang="en-GB" noProof="0"/>
          </a:p>
        </p:txBody>
      </p:sp>
      <p:sp>
        <p:nvSpPr>
          <p:cNvPr id="13" name="Title 1">
            <a:extLst>
              <a:ext uri="{FF2B5EF4-FFF2-40B4-BE49-F238E27FC236}">
                <a16:creationId xmlns:a16="http://schemas.microsoft.com/office/drawing/2014/main" id="{0614539B-EA7E-5F48-845E-1115C11137DF}"/>
              </a:ext>
            </a:extLst>
          </p:cNvPr>
          <p:cNvSpPr>
            <a:spLocks noGrp="1"/>
          </p:cNvSpPr>
          <p:nvPr>
            <p:ph type="title" hasCustomPrompt="1"/>
          </p:nvPr>
        </p:nvSpPr>
        <p:spPr>
          <a:xfrm>
            <a:off x="12193170" y="1677600"/>
            <a:ext cx="10514913" cy="3011659"/>
          </a:xfrm>
        </p:spPr>
        <p:txBody>
          <a:bodyPr/>
          <a:lstStyle/>
          <a:p>
            <a:r>
              <a:rPr lang="en-GB"/>
              <a:t>Put the headline here, keep it 80 </a:t>
            </a:r>
            <a:r>
              <a:rPr lang="en-GB" err="1"/>
              <a:t>pt</a:t>
            </a:r>
            <a:endParaRPr lang="en-NL"/>
          </a:p>
        </p:txBody>
      </p:sp>
      <p:sp>
        <p:nvSpPr>
          <p:cNvPr id="4" name="Footer Placeholder 3">
            <a:extLst>
              <a:ext uri="{FF2B5EF4-FFF2-40B4-BE49-F238E27FC236}">
                <a16:creationId xmlns:a16="http://schemas.microsoft.com/office/drawing/2014/main" id="{CB40AB27-22C2-8049-AEFA-EC9ADA9C74F8}"/>
              </a:ext>
            </a:extLst>
          </p:cNvPr>
          <p:cNvSpPr>
            <a:spLocks noGrp="1"/>
          </p:cNvSpPr>
          <p:nvPr>
            <p:ph type="ftr" sz="quarter" idx="19"/>
          </p:nvPr>
        </p:nvSpPr>
        <p:spPr/>
        <p:txBody>
          <a:bodyPr/>
          <a:lstStyle/>
          <a:p>
            <a:endParaRPr lang="en-NL"/>
          </a:p>
        </p:txBody>
      </p:sp>
      <p:sp>
        <p:nvSpPr>
          <p:cNvPr id="11" name="TextBox 10">
            <a:extLst>
              <a:ext uri="{FF2B5EF4-FFF2-40B4-BE49-F238E27FC236}">
                <a16:creationId xmlns:a16="http://schemas.microsoft.com/office/drawing/2014/main" id="{5D320D55-E281-9946-A96D-D7865543B7DC}"/>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272987632"/>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Statement without background">
    <p:spTree>
      <p:nvGrpSpPr>
        <p:cNvPr id="1" name=""/>
        <p:cNvGrpSpPr/>
        <p:nvPr/>
      </p:nvGrpSpPr>
      <p:grpSpPr>
        <a:xfrm>
          <a:off x="0" y="0"/>
          <a:ext cx="0" cy="0"/>
          <a:chOff x="0" y="0"/>
          <a:chExt cx="0" cy="0"/>
        </a:xfrm>
      </p:grpSpPr>
      <p:sp>
        <p:nvSpPr>
          <p:cNvPr id="6" name="Title Placeholder 6">
            <a:extLst>
              <a:ext uri="{FF2B5EF4-FFF2-40B4-BE49-F238E27FC236}">
                <a16:creationId xmlns:a16="http://schemas.microsoft.com/office/drawing/2014/main" id="{42635088-B65D-C841-9E13-05D7E3443BD4}"/>
              </a:ext>
            </a:extLst>
          </p:cNvPr>
          <p:cNvSpPr>
            <a:spLocks noGrp="1"/>
          </p:cNvSpPr>
          <p:nvPr>
            <p:ph type="title" hasCustomPrompt="1"/>
          </p:nvPr>
        </p:nvSpPr>
        <p:spPr>
          <a:xfrm>
            <a:off x="1677491" y="1692001"/>
            <a:ext cx="21029831" cy="10330998"/>
          </a:xfrm>
          <a:prstGeom prst="rect">
            <a:avLst/>
          </a:prstGeom>
        </p:spPr>
        <p:txBody>
          <a:bodyPr vert="horz" lIns="91440" tIns="45720" rIns="91440" bIns="45720" rtlCol="0" anchor="ctr">
            <a:noAutofit/>
          </a:bodyPr>
          <a:lstStyle>
            <a:lvl1pPr>
              <a:defRPr baseline="0"/>
            </a:lvl1pPr>
          </a:lstStyle>
          <a:p>
            <a:r>
              <a:rPr lang="en-GB" noProof="0"/>
              <a:t>Put a statement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DEA92304-9D31-2743-9CAA-4CF1A9292236}"/>
              </a:ext>
            </a:extLst>
          </p:cNvPr>
          <p:cNvSpPr>
            <a:spLocks noGrp="1"/>
          </p:cNvSpPr>
          <p:nvPr>
            <p:ph type="ftr" sz="quarter" idx="10"/>
          </p:nvPr>
        </p:nvSpPr>
        <p:spPr/>
        <p:txBody>
          <a:bodyPr/>
          <a:lstStyle/>
          <a:p>
            <a:endParaRPr lang="en-NL"/>
          </a:p>
        </p:txBody>
      </p:sp>
      <p:sp>
        <p:nvSpPr>
          <p:cNvPr id="7" name="TextBox 6">
            <a:extLst>
              <a:ext uri="{FF2B5EF4-FFF2-40B4-BE49-F238E27FC236}">
                <a16:creationId xmlns:a16="http://schemas.microsoft.com/office/drawing/2014/main" id="{BE9A8351-2D97-AD41-BE02-7B1C9B022881}"/>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40473453"/>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Statement 1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6070600" y="3402013"/>
            <a:ext cx="12241213" cy="6911975"/>
          </a:xfrm>
          <a:prstGeom prst="rect">
            <a:avLst/>
          </a:prstGeom>
          <a:solidFill>
            <a:schemeClr val="bg1"/>
          </a:solidFill>
        </p:spPr>
        <p:txBody>
          <a:bodyPr vert="horz" lIns="900000" tIns="360000" rIns="360000" bIns="360000" rtlCol="0" anchor="ctr">
            <a:noAutofit/>
          </a:bodyPr>
          <a:lstStyle>
            <a:lvl1pPr>
              <a:defRPr sz="6000" b="1" spc="0" baseline="0"/>
            </a:lvl1pPr>
          </a:lstStyle>
          <a:p>
            <a:r>
              <a:rPr lang="en-GB" noProof="0"/>
              <a:t>Put a short statement here, keep it regular 60 </a:t>
            </a:r>
            <a:r>
              <a:rPr lang="en-GB" noProof="0" err="1"/>
              <a:t>pt</a:t>
            </a:r>
            <a:endParaRPr lang="en-GB" noProof="0"/>
          </a:p>
        </p:txBody>
      </p:sp>
      <p:sp>
        <p:nvSpPr>
          <p:cNvPr id="4" name="Footer Placeholder 3">
            <a:extLst>
              <a:ext uri="{FF2B5EF4-FFF2-40B4-BE49-F238E27FC236}">
                <a16:creationId xmlns:a16="http://schemas.microsoft.com/office/drawing/2014/main" id="{4D585EBC-728D-F748-BD9C-1622617E10E7}"/>
              </a:ext>
            </a:extLst>
          </p:cNvPr>
          <p:cNvSpPr>
            <a:spLocks noGrp="1"/>
          </p:cNvSpPr>
          <p:nvPr>
            <p:ph type="ftr" sz="quarter" idx="15"/>
          </p:nvPr>
        </p:nvSpPr>
        <p:spPr/>
        <p:txBody>
          <a:bodyPr/>
          <a:lstStyle/>
          <a:p>
            <a:endParaRPr lang="en-NL"/>
          </a:p>
        </p:txBody>
      </p:sp>
      <p:sp>
        <p:nvSpPr>
          <p:cNvPr id="8" name="TextBox 7">
            <a:extLst>
              <a:ext uri="{FF2B5EF4-FFF2-40B4-BE49-F238E27FC236}">
                <a16:creationId xmlns:a16="http://schemas.microsoft.com/office/drawing/2014/main" id="{5F6D9EA7-3CF9-7B43-B287-97692C1A4E03}"/>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4169431591"/>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tatement 2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3088131" y="3402013"/>
            <a:ext cx="9102282" cy="6911975"/>
          </a:xfrm>
          <a:prstGeom prst="rect">
            <a:avLst/>
          </a:prstGeom>
          <a:solidFill>
            <a:schemeClr val="bg1"/>
          </a:solidFill>
        </p:spPr>
        <p:txBody>
          <a:bodyPr vert="horz" lIns="720000" tIns="360000" rIns="360000" bIns="360000" rtlCol="0" anchor="ctr">
            <a:noAutofit/>
          </a:bodyPr>
          <a:lstStyle>
            <a:lvl1pPr>
              <a:defRPr sz="6000" b="0" spc="0" baseline="0"/>
            </a:lvl1pPr>
          </a:lstStyle>
          <a:p>
            <a:r>
              <a:rPr lang="en-GB" noProof="0"/>
              <a:t>Put a long statement here, keep it regular 60 </a:t>
            </a:r>
            <a:r>
              <a:rPr lang="en-GB" noProof="0" err="1"/>
              <a:t>pt</a:t>
            </a:r>
            <a:endParaRPr lang="en-GB" noProof="0"/>
          </a:p>
        </p:txBody>
      </p:sp>
      <p:sp>
        <p:nvSpPr>
          <p:cNvPr id="4" name="Footer Placeholder 3">
            <a:extLst>
              <a:ext uri="{FF2B5EF4-FFF2-40B4-BE49-F238E27FC236}">
                <a16:creationId xmlns:a16="http://schemas.microsoft.com/office/drawing/2014/main" id="{F698052A-206B-8B44-B965-9B18AA398EAF}"/>
              </a:ext>
            </a:extLst>
          </p:cNvPr>
          <p:cNvSpPr>
            <a:spLocks noGrp="1"/>
          </p:cNvSpPr>
          <p:nvPr>
            <p:ph type="ftr" sz="quarter" idx="15"/>
          </p:nvPr>
        </p:nvSpPr>
        <p:spPr/>
        <p:txBody>
          <a:bodyPr/>
          <a:lstStyle/>
          <a:p>
            <a:endParaRPr lang="en-NL"/>
          </a:p>
        </p:txBody>
      </p:sp>
      <p:sp>
        <p:nvSpPr>
          <p:cNvPr id="8" name="TextBox 7">
            <a:extLst>
              <a:ext uri="{FF2B5EF4-FFF2-40B4-BE49-F238E27FC236}">
                <a16:creationId xmlns:a16="http://schemas.microsoft.com/office/drawing/2014/main" id="{6717F6DA-71F4-F94F-A4FF-3581F301E2A5}"/>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635384519"/>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tatement 3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12191206" y="3402013"/>
            <a:ext cx="9144794" cy="6911975"/>
          </a:xfrm>
          <a:prstGeom prst="rect">
            <a:avLst/>
          </a:prstGeom>
          <a:solidFill>
            <a:schemeClr val="bg1"/>
          </a:solidFill>
        </p:spPr>
        <p:txBody>
          <a:bodyPr vert="horz" lIns="720000" tIns="360000" rIns="360000" bIns="360000" rtlCol="0" anchor="ctr">
            <a:noAutofit/>
          </a:bodyPr>
          <a:lstStyle>
            <a:lvl1pPr>
              <a:defRPr sz="4000" b="0" spc="0" baseline="0"/>
            </a:lvl1pPr>
          </a:lstStyle>
          <a:p>
            <a:r>
              <a:rPr lang="en-GB" noProof="0"/>
              <a:t>Put a long statement or a quote here, keep it regular 40 </a:t>
            </a:r>
            <a:r>
              <a:rPr lang="en-GB" noProof="0" err="1"/>
              <a:t>pt</a:t>
            </a:r>
            <a:endParaRPr lang="en-GB" noProof="0"/>
          </a:p>
        </p:txBody>
      </p:sp>
      <p:sp>
        <p:nvSpPr>
          <p:cNvPr id="4" name="Footer Placeholder 3">
            <a:extLst>
              <a:ext uri="{FF2B5EF4-FFF2-40B4-BE49-F238E27FC236}">
                <a16:creationId xmlns:a16="http://schemas.microsoft.com/office/drawing/2014/main" id="{F08AE3EC-F985-214A-B20E-84BB4377F356}"/>
              </a:ext>
            </a:extLst>
          </p:cNvPr>
          <p:cNvSpPr>
            <a:spLocks noGrp="1"/>
          </p:cNvSpPr>
          <p:nvPr>
            <p:ph type="ftr" sz="quarter" idx="15"/>
          </p:nvPr>
        </p:nvSpPr>
        <p:spPr/>
        <p:txBody>
          <a:bodyPr/>
          <a:lstStyle/>
          <a:p>
            <a:endParaRPr lang="en-NL"/>
          </a:p>
        </p:txBody>
      </p:sp>
      <p:sp>
        <p:nvSpPr>
          <p:cNvPr id="8" name="TextBox 7">
            <a:extLst>
              <a:ext uri="{FF2B5EF4-FFF2-40B4-BE49-F238E27FC236}">
                <a16:creationId xmlns:a16="http://schemas.microsoft.com/office/drawing/2014/main" id="{0FE629E5-989E-6549-877B-8C45333B32D6}"/>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380481870"/>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Statement 1 on double background">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2E196F3F-0661-674B-B21B-282CCEADCBCE}"/>
              </a:ext>
            </a:extLst>
          </p:cNvPr>
          <p:cNvSpPr>
            <a:spLocks noGrp="1"/>
          </p:cNvSpPr>
          <p:nvPr>
            <p:ph type="pic" sz="quarter" idx="16" hasCustomPrompt="1"/>
          </p:nvPr>
        </p:nvSpPr>
        <p:spPr>
          <a:xfrm>
            <a:off x="12190412" y="486000"/>
            <a:ext cx="11700793"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n inspirational picture into this frame. Or fill with one of the Theme Colours</a:t>
            </a:r>
          </a:p>
        </p:txBody>
      </p:sp>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11700000" cy="12744000"/>
          </a:xfrm>
          <a:solidFill>
            <a:schemeClr val="bg1">
              <a:lumMod val="8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9179812" y="1673225"/>
            <a:ext cx="9132001" cy="8640763"/>
          </a:xfrm>
          <a:prstGeom prst="rect">
            <a:avLst/>
          </a:prstGeom>
          <a:solidFill>
            <a:schemeClr val="bg1"/>
          </a:solidFill>
        </p:spPr>
        <p:txBody>
          <a:bodyPr vert="horz" lIns="720000" tIns="360000" rIns="360000" bIns="360000" rtlCol="0" anchor="ctr">
            <a:noAutofit/>
          </a:bodyPr>
          <a:lstStyle>
            <a:lvl1pPr>
              <a:defRPr sz="4000" b="0" spc="0" baseline="0"/>
            </a:lvl1pPr>
          </a:lstStyle>
          <a:p>
            <a:r>
              <a:rPr lang="en-GB" noProof="0"/>
              <a:t>Put a long statement or a quote here, keep it regular 40 </a:t>
            </a:r>
            <a:r>
              <a:rPr lang="en-GB" noProof="0" err="1"/>
              <a:t>pt</a:t>
            </a:r>
            <a:endParaRPr lang="en-GB" noProof="0"/>
          </a:p>
        </p:txBody>
      </p:sp>
      <p:sp>
        <p:nvSpPr>
          <p:cNvPr id="3" name="Footer Placeholder 2">
            <a:extLst>
              <a:ext uri="{FF2B5EF4-FFF2-40B4-BE49-F238E27FC236}">
                <a16:creationId xmlns:a16="http://schemas.microsoft.com/office/drawing/2014/main" id="{50DDB570-67BE-EB4D-A534-19942E8D0F02}"/>
              </a:ext>
            </a:extLst>
          </p:cNvPr>
          <p:cNvSpPr>
            <a:spLocks noGrp="1"/>
          </p:cNvSpPr>
          <p:nvPr>
            <p:ph type="ftr" sz="quarter" idx="17"/>
          </p:nvPr>
        </p:nvSpPr>
        <p:spPr/>
        <p:txBody>
          <a:bodyPr/>
          <a:lstStyle/>
          <a:p>
            <a:endParaRPr lang="en-NL"/>
          </a:p>
        </p:txBody>
      </p:sp>
      <p:sp>
        <p:nvSpPr>
          <p:cNvPr id="8" name="TextBox 7">
            <a:extLst>
              <a:ext uri="{FF2B5EF4-FFF2-40B4-BE49-F238E27FC236}">
                <a16:creationId xmlns:a16="http://schemas.microsoft.com/office/drawing/2014/main" id="{EEDCEF97-2600-484D-BCF3-2F9C6FC44F07}"/>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504143935"/>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Statement 2 on double background">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31FA6885-927C-7B4C-8BD0-54E7A0823B52}"/>
              </a:ext>
            </a:extLst>
          </p:cNvPr>
          <p:cNvSpPr>
            <a:spLocks noGrp="1"/>
          </p:cNvSpPr>
          <p:nvPr>
            <p:ph type="pic" sz="quarter" idx="16" hasCustomPrompt="1"/>
          </p:nvPr>
        </p:nvSpPr>
        <p:spPr>
          <a:xfrm>
            <a:off x="6049094" y="486000"/>
            <a:ext cx="17842112"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n inspirational picture into this frame. Or fill with one of the Theme Colours</a:t>
            </a:r>
          </a:p>
        </p:txBody>
      </p:sp>
      <p:sp>
        <p:nvSpPr>
          <p:cNvPr id="9" name="Picture Placeholder 10">
            <a:extLst>
              <a:ext uri="{FF2B5EF4-FFF2-40B4-BE49-F238E27FC236}">
                <a16:creationId xmlns:a16="http://schemas.microsoft.com/office/drawing/2014/main" id="{ADB4BA95-E492-D840-88F6-2FE23D26918D}"/>
              </a:ext>
            </a:extLst>
          </p:cNvPr>
          <p:cNvSpPr>
            <a:spLocks noGrp="1"/>
          </p:cNvSpPr>
          <p:nvPr>
            <p:ph type="pic" sz="quarter" idx="14" hasCustomPrompt="1"/>
          </p:nvPr>
        </p:nvSpPr>
        <p:spPr>
          <a:xfrm>
            <a:off x="491206" y="486000"/>
            <a:ext cx="11699207" cy="12744000"/>
          </a:xfrm>
          <a:prstGeom prst="corner">
            <a:avLst>
              <a:gd name="adj1" fmla="val 25065"/>
              <a:gd name="adj2" fmla="val 47348"/>
            </a:avLst>
          </a:prstGeom>
          <a:solidFill>
            <a:schemeClr val="bg1">
              <a:lumMod val="8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7" name="Title Placeholder 6">
            <a:extLst>
              <a:ext uri="{FF2B5EF4-FFF2-40B4-BE49-F238E27FC236}">
                <a16:creationId xmlns:a16="http://schemas.microsoft.com/office/drawing/2014/main" id="{1B090AE2-5953-9248-BD9A-B5FA2155AD8A}"/>
              </a:ext>
            </a:extLst>
          </p:cNvPr>
          <p:cNvSpPr>
            <a:spLocks noGrp="1"/>
          </p:cNvSpPr>
          <p:nvPr>
            <p:ph type="title" hasCustomPrompt="1"/>
          </p:nvPr>
        </p:nvSpPr>
        <p:spPr>
          <a:xfrm>
            <a:off x="6049093" y="3402013"/>
            <a:ext cx="12284225" cy="6911975"/>
          </a:xfrm>
          <a:prstGeom prst="rect">
            <a:avLst/>
          </a:prstGeom>
          <a:solidFill>
            <a:schemeClr val="bg1"/>
          </a:solidFill>
        </p:spPr>
        <p:txBody>
          <a:bodyPr vert="horz" lIns="720000" tIns="360000" rIns="360000" bIns="360000" rtlCol="0" anchor="ctr">
            <a:noAutofit/>
          </a:bodyPr>
          <a:lstStyle>
            <a:lvl1pPr>
              <a:defRPr/>
            </a:lvl1pPr>
          </a:lstStyle>
          <a:p>
            <a:r>
              <a:rPr lang="en-GB" noProof="0"/>
              <a:t>Put a short statement here, keep it bold 80 </a:t>
            </a:r>
            <a:r>
              <a:rPr lang="en-GB" noProof="0" err="1"/>
              <a:t>pt</a:t>
            </a:r>
            <a:endParaRPr lang="en-GB" noProof="0"/>
          </a:p>
        </p:txBody>
      </p:sp>
      <p:sp>
        <p:nvSpPr>
          <p:cNvPr id="3" name="Footer Placeholder 2">
            <a:extLst>
              <a:ext uri="{FF2B5EF4-FFF2-40B4-BE49-F238E27FC236}">
                <a16:creationId xmlns:a16="http://schemas.microsoft.com/office/drawing/2014/main" id="{23AF250D-036E-9947-B629-124D8B6FF87C}"/>
              </a:ext>
            </a:extLst>
          </p:cNvPr>
          <p:cNvSpPr>
            <a:spLocks noGrp="1"/>
          </p:cNvSpPr>
          <p:nvPr>
            <p:ph type="ftr" sz="quarter" idx="17"/>
          </p:nvPr>
        </p:nvSpPr>
        <p:spPr/>
        <p:txBody>
          <a:bodyPr/>
          <a:lstStyle/>
          <a:p>
            <a:endParaRPr lang="en-NL"/>
          </a:p>
        </p:txBody>
      </p:sp>
      <p:sp>
        <p:nvSpPr>
          <p:cNvPr id="8" name="TextBox 7">
            <a:extLst>
              <a:ext uri="{FF2B5EF4-FFF2-40B4-BE49-F238E27FC236}">
                <a16:creationId xmlns:a16="http://schemas.microsoft.com/office/drawing/2014/main" id="{EA23A869-D63F-9145-B2E7-DAF3BC84C059}"/>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5000538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ext and image on the right">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12191206" y="0"/>
            <a:ext cx="12191207" cy="1371600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Drag and drop or click the icon to add a picture</a:t>
            </a:r>
          </a:p>
        </p:txBody>
      </p:sp>
      <p:sp>
        <p:nvSpPr>
          <p:cNvPr id="11" name="Title 1">
            <a:extLst>
              <a:ext uri="{FF2B5EF4-FFF2-40B4-BE49-F238E27FC236}">
                <a16:creationId xmlns:a16="http://schemas.microsoft.com/office/drawing/2014/main" id="{28621A64-7B8E-B242-859E-D8C6D673E4E6}"/>
              </a:ext>
            </a:extLst>
          </p:cNvPr>
          <p:cNvSpPr>
            <a:spLocks noGrp="1"/>
          </p:cNvSpPr>
          <p:nvPr>
            <p:ph type="title" hasCustomPrompt="1"/>
          </p:nvPr>
        </p:nvSpPr>
        <p:spPr>
          <a:xfrm>
            <a:off x="1674328" y="1677601"/>
            <a:ext cx="9650878" cy="3457574"/>
          </a:xfrm>
          <a:prstGeom prst="rect">
            <a:avLst/>
          </a:prstGeom>
        </p:spPr>
        <p:txBody>
          <a:bodyPr/>
          <a:lstStyle>
            <a:lvl1pPr>
              <a:lnSpc>
                <a:spcPct val="100000"/>
              </a:lnSpc>
              <a:defRPr sz="7200" baseline="0"/>
            </a:lvl1pPr>
          </a:lstStyle>
          <a:p>
            <a:r>
              <a:rPr lang="en-GB" noProof="0"/>
              <a:t>Put the slide headline here, </a:t>
            </a:r>
            <a:br>
              <a:rPr lang="en-GB" noProof="0"/>
            </a:br>
            <a:r>
              <a:rPr lang="en-GB" noProof="0"/>
              <a:t>keep it bold 36 pt</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1674329" y="5696427"/>
            <a:ext cx="9650876" cy="6337298"/>
          </a:xfrm>
        </p:spPr>
        <p:txBody>
          <a:bodyPr>
            <a:noAutofit/>
          </a:bodyPr>
          <a:lstStyle>
            <a:lvl1pPr>
              <a:spcBef>
                <a:spcPts val="2000"/>
              </a:spcBef>
              <a:defRPr sz="2800"/>
            </a:lvl1pPr>
          </a:lstStyle>
          <a:p>
            <a:pPr lvl="0"/>
            <a:r>
              <a:rPr lang="en-GB" noProof="0"/>
              <a:t>Put the body text or caption here,</a:t>
            </a:r>
            <a:br>
              <a:rPr lang="en-GB" noProof="0"/>
            </a:br>
            <a:r>
              <a:rPr lang="en-GB" noProof="0"/>
              <a:t>keep it regular 14 pt</a:t>
            </a:r>
          </a:p>
        </p:txBody>
      </p:sp>
      <p:sp>
        <p:nvSpPr>
          <p:cNvPr id="8" name="Text Placeholder 3">
            <a:extLst>
              <a:ext uri="{FF2B5EF4-FFF2-40B4-BE49-F238E27FC236}">
                <a16:creationId xmlns:a16="http://schemas.microsoft.com/office/drawing/2014/main" id="{0136A015-09C4-2341-87D2-A48EA3C6C85F}"/>
              </a:ext>
            </a:extLst>
          </p:cNvPr>
          <p:cNvSpPr>
            <a:spLocks noGrp="1"/>
          </p:cNvSpPr>
          <p:nvPr>
            <p:ph type="body" sz="quarter" idx="20"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2</a:t>
            </a:r>
            <a:endParaRPr lang="en-GB"/>
          </a:p>
        </p:txBody>
      </p:sp>
    </p:spTree>
    <p:extLst>
      <p:ext uri="{BB962C8B-B14F-4D97-AF65-F5344CB8AC3E}">
        <p14:creationId xmlns:p14="http://schemas.microsoft.com/office/powerpoint/2010/main" val="3704141997"/>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ext in one column">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3397E6F6-DFC7-C54D-9E7E-CD51822BE714}"/>
              </a:ext>
            </a:extLst>
          </p:cNvPr>
          <p:cNvSpPr>
            <a:spLocks noGrp="1"/>
          </p:cNvSpPr>
          <p:nvPr>
            <p:ph type="body" sz="quarter" idx="18" hasCustomPrompt="1"/>
          </p:nvPr>
        </p:nvSpPr>
        <p:spPr>
          <a:xfrm>
            <a:off x="1674329" y="5129213"/>
            <a:ext cx="10516084" cy="6904512"/>
          </a:xfrm>
        </p:spPr>
        <p:txBody>
          <a:bodyPr>
            <a:noAutofit/>
          </a:bodyPr>
          <a:lstStyle>
            <a:lvl1pPr>
              <a:spcBef>
                <a:spcPts val="2000"/>
              </a:spcBef>
              <a:defRPr sz="3200"/>
            </a:lvl1pPr>
          </a:lstStyle>
          <a:p>
            <a:pPr lvl="0"/>
            <a:r>
              <a:rPr lang="en-GB" noProof="0"/>
              <a:t>Put the paragraph text here, keep it regular 32 </a:t>
            </a:r>
            <a:r>
              <a:rPr lang="en-GB" noProof="0" err="1"/>
              <a:t>pt</a:t>
            </a:r>
            <a:endParaRPr lang="en-GB" noProof="0"/>
          </a:p>
        </p:txBody>
      </p:sp>
      <p:sp>
        <p:nvSpPr>
          <p:cNvPr id="2" name="Title 1">
            <a:extLst>
              <a:ext uri="{FF2B5EF4-FFF2-40B4-BE49-F238E27FC236}">
                <a16:creationId xmlns:a16="http://schemas.microsoft.com/office/drawing/2014/main" id="{531E4EAE-C7D1-764F-A32B-CAEBD1FFE575}"/>
              </a:ext>
            </a:extLst>
          </p:cNvPr>
          <p:cNvSpPr>
            <a:spLocks noGrp="1"/>
          </p:cNvSpPr>
          <p:nvPr>
            <p:ph type="title" hasCustomPrompt="1"/>
          </p:nvPr>
        </p:nvSpPr>
        <p:spPr/>
        <p:txBody>
          <a:bodyPr/>
          <a:lstStyle/>
          <a:p>
            <a:r>
              <a:rPr lang="en-GB"/>
              <a:t>Put the headline here, </a:t>
            </a:r>
            <a:br>
              <a:rPr lang="en-GB"/>
            </a:br>
            <a:r>
              <a:rPr lang="en-GB"/>
              <a:t>keep it bold 80 </a:t>
            </a:r>
            <a:r>
              <a:rPr lang="en-GB" err="1"/>
              <a:t>pt</a:t>
            </a:r>
            <a:endParaRPr lang="en-NL"/>
          </a:p>
        </p:txBody>
      </p:sp>
      <p:sp>
        <p:nvSpPr>
          <p:cNvPr id="7" name="Footer Placeholder 6">
            <a:extLst>
              <a:ext uri="{FF2B5EF4-FFF2-40B4-BE49-F238E27FC236}">
                <a16:creationId xmlns:a16="http://schemas.microsoft.com/office/drawing/2014/main" id="{3E14A44A-1600-B842-B2DE-66DACFA6C861}"/>
              </a:ext>
            </a:extLst>
          </p:cNvPr>
          <p:cNvSpPr>
            <a:spLocks noGrp="1"/>
          </p:cNvSpPr>
          <p:nvPr>
            <p:ph type="ftr" sz="quarter" idx="19"/>
          </p:nvPr>
        </p:nvSpPr>
        <p:spPr/>
        <p:txBody>
          <a:bodyPr/>
          <a:lstStyle/>
          <a:p>
            <a:endParaRPr lang="en-NL"/>
          </a:p>
        </p:txBody>
      </p:sp>
      <p:sp>
        <p:nvSpPr>
          <p:cNvPr id="8" name="TextBox 7">
            <a:extLst>
              <a:ext uri="{FF2B5EF4-FFF2-40B4-BE49-F238E27FC236}">
                <a16:creationId xmlns:a16="http://schemas.microsoft.com/office/drawing/2014/main" id="{CB57B542-06A9-DE4F-969F-191CC73CC3F4}"/>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840839020"/>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ext in two column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2A2A612F-B7D0-EE48-9553-5C46B1883978}"/>
              </a:ext>
            </a:extLst>
          </p:cNvPr>
          <p:cNvSpPr>
            <a:spLocks noGrp="1"/>
          </p:cNvSpPr>
          <p:nvPr>
            <p:ph type="body" sz="quarter" idx="18" hasCustomPrompt="1"/>
          </p:nvPr>
        </p:nvSpPr>
        <p:spPr>
          <a:xfrm>
            <a:off x="1674329" y="5129213"/>
            <a:ext cx="10080000" cy="6904512"/>
          </a:xfrm>
        </p:spPr>
        <p:txBody>
          <a:bodyPr>
            <a:noAutofit/>
          </a:bodyPr>
          <a:lstStyle>
            <a:lvl1pPr>
              <a:spcBef>
                <a:spcPts val="2000"/>
              </a:spcBef>
              <a:defRPr sz="3200"/>
            </a:lvl1pPr>
          </a:lstStyle>
          <a:p>
            <a:pPr lvl="0"/>
            <a:r>
              <a:rPr lang="en-GB" noProof="0"/>
              <a:t>Put the first column text here, keep it regular 32 </a:t>
            </a:r>
            <a:r>
              <a:rPr lang="en-GB" noProof="0" err="1"/>
              <a:t>pt</a:t>
            </a:r>
            <a:endParaRPr lang="en-GB" noProof="0"/>
          </a:p>
        </p:txBody>
      </p:sp>
      <p:sp>
        <p:nvSpPr>
          <p:cNvPr id="12" name="Title 1">
            <a:extLst>
              <a:ext uri="{FF2B5EF4-FFF2-40B4-BE49-F238E27FC236}">
                <a16:creationId xmlns:a16="http://schemas.microsoft.com/office/drawing/2014/main" id="{E0055953-7F4C-2747-BE6A-BA18649898F4}"/>
              </a:ext>
            </a:extLst>
          </p:cNvPr>
          <p:cNvSpPr>
            <a:spLocks noGrp="1"/>
          </p:cNvSpPr>
          <p:nvPr>
            <p:ph type="title" hasCustomPrompt="1"/>
          </p:nvPr>
        </p:nvSpPr>
        <p:spPr>
          <a:xfrm>
            <a:off x="1676293" y="1677600"/>
            <a:ext cx="21033007" cy="3011659"/>
          </a:xfrm>
        </p:spPr>
        <p:txBody>
          <a:bodyPr/>
          <a:lstStyle/>
          <a:p>
            <a:r>
              <a:rPr lang="en-GB"/>
              <a:t>Put the headline here,</a:t>
            </a:r>
            <a:br>
              <a:rPr lang="en-GB"/>
            </a:br>
            <a:r>
              <a:rPr lang="en-GB"/>
              <a:t>keep it bold 80 </a:t>
            </a:r>
            <a:r>
              <a:rPr lang="en-GB" err="1"/>
              <a:t>pt</a:t>
            </a:r>
            <a:endParaRPr lang="en-NL"/>
          </a:p>
        </p:txBody>
      </p:sp>
      <p:sp>
        <p:nvSpPr>
          <p:cNvPr id="14" name="Text Placeholder 3">
            <a:extLst>
              <a:ext uri="{FF2B5EF4-FFF2-40B4-BE49-F238E27FC236}">
                <a16:creationId xmlns:a16="http://schemas.microsoft.com/office/drawing/2014/main" id="{5F720E9C-2098-114A-B6BC-477F05727234}"/>
              </a:ext>
            </a:extLst>
          </p:cNvPr>
          <p:cNvSpPr>
            <a:spLocks noGrp="1"/>
          </p:cNvSpPr>
          <p:nvPr>
            <p:ph type="body" sz="quarter" idx="19" hasCustomPrompt="1"/>
          </p:nvPr>
        </p:nvSpPr>
        <p:spPr>
          <a:xfrm>
            <a:off x="12628084" y="5129213"/>
            <a:ext cx="10080000" cy="6904512"/>
          </a:xfrm>
        </p:spPr>
        <p:txBody>
          <a:bodyPr>
            <a:noAutofit/>
          </a:bodyPr>
          <a:lstStyle>
            <a:lvl1pPr>
              <a:spcBef>
                <a:spcPts val="2000"/>
              </a:spcBef>
              <a:defRPr sz="3200"/>
            </a:lvl1pPr>
          </a:lstStyle>
          <a:p>
            <a:pPr lvl="0"/>
            <a:r>
              <a:rPr lang="en-GB" noProof="0"/>
              <a:t>Put the second column text here, keep it regular 32 </a:t>
            </a:r>
            <a:r>
              <a:rPr lang="en-GB" noProof="0" err="1"/>
              <a:t>pt</a:t>
            </a:r>
            <a:endParaRPr lang="en-GB" noProof="0"/>
          </a:p>
        </p:txBody>
      </p:sp>
      <p:sp>
        <p:nvSpPr>
          <p:cNvPr id="4" name="Footer Placeholder 3">
            <a:extLst>
              <a:ext uri="{FF2B5EF4-FFF2-40B4-BE49-F238E27FC236}">
                <a16:creationId xmlns:a16="http://schemas.microsoft.com/office/drawing/2014/main" id="{30B91129-2FC5-334C-9789-17535DAF1987}"/>
              </a:ext>
            </a:extLst>
          </p:cNvPr>
          <p:cNvSpPr>
            <a:spLocks noGrp="1"/>
          </p:cNvSpPr>
          <p:nvPr>
            <p:ph type="ftr" sz="quarter" idx="20"/>
          </p:nvPr>
        </p:nvSpPr>
        <p:spPr/>
        <p:txBody>
          <a:bodyPr/>
          <a:lstStyle/>
          <a:p>
            <a:endParaRPr lang="en-NL"/>
          </a:p>
        </p:txBody>
      </p:sp>
      <p:sp>
        <p:nvSpPr>
          <p:cNvPr id="9" name="TextBox 8">
            <a:extLst>
              <a:ext uri="{FF2B5EF4-FFF2-40B4-BE49-F238E27FC236}">
                <a16:creationId xmlns:a16="http://schemas.microsoft.com/office/drawing/2014/main" id="{1215165C-F26D-3544-AAD2-A26EE1B743AA}"/>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893746395"/>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ext in three columns">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F48D91E-AB60-4041-B4FC-3E50759777E5}"/>
              </a:ext>
            </a:extLst>
          </p:cNvPr>
          <p:cNvSpPr>
            <a:spLocks noGrp="1"/>
          </p:cNvSpPr>
          <p:nvPr>
            <p:ph type="title" hasCustomPrompt="1"/>
          </p:nvPr>
        </p:nvSpPr>
        <p:spPr>
          <a:xfrm>
            <a:off x="1676293" y="1677600"/>
            <a:ext cx="21033007" cy="3011659"/>
          </a:xfrm>
        </p:spPr>
        <p:txBody>
          <a:bodyPr/>
          <a:lstStyle/>
          <a:p>
            <a:r>
              <a:rPr lang="en-GB"/>
              <a:t>Put the headline here,</a:t>
            </a:r>
            <a:br>
              <a:rPr lang="en-GB"/>
            </a:br>
            <a:r>
              <a:rPr lang="en-GB"/>
              <a:t>keep it bold 80 </a:t>
            </a:r>
            <a:r>
              <a:rPr lang="en-GB" err="1"/>
              <a:t>pt</a:t>
            </a:r>
            <a:endParaRPr lang="en-NL"/>
          </a:p>
        </p:txBody>
      </p:sp>
      <p:sp>
        <p:nvSpPr>
          <p:cNvPr id="19" name="Text Placeholder 3">
            <a:extLst>
              <a:ext uri="{FF2B5EF4-FFF2-40B4-BE49-F238E27FC236}">
                <a16:creationId xmlns:a16="http://schemas.microsoft.com/office/drawing/2014/main" id="{292A3CC4-2948-634E-A9F0-D2126C8DA330}"/>
              </a:ext>
            </a:extLst>
          </p:cNvPr>
          <p:cNvSpPr>
            <a:spLocks noGrp="1"/>
          </p:cNvSpPr>
          <p:nvPr>
            <p:ph type="body" sz="quarter" idx="21" hasCustomPrompt="1"/>
          </p:nvPr>
        </p:nvSpPr>
        <p:spPr>
          <a:xfrm>
            <a:off x="9166225" y="5129213"/>
            <a:ext cx="6049964" cy="6904512"/>
          </a:xfrm>
        </p:spPr>
        <p:txBody>
          <a:bodyPr>
            <a:noAutofit/>
          </a:bodyPr>
          <a:lstStyle>
            <a:lvl1pPr marL="342900" indent="-342900">
              <a:spcBef>
                <a:spcPts val="2000"/>
              </a:spcBef>
              <a:buFont typeface="Arial" panose="020B0604020202020204" pitchFamily="34" charset="0"/>
              <a:buChar char="•"/>
              <a:defRPr sz="2400"/>
            </a:lvl1pPr>
          </a:lstStyle>
          <a:p>
            <a:pPr lvl="0"/>
            <a:r>
              <a:rPr lang="en-GB" noProof="0"/>
              <a:t>Put the second column list here, keep it regular 24 </a:t>
            </a:r>
            <a:r>
              <a:rPr lang="en-GB" noProof="0" err="1"/>
              <a:t>pt</a:t>
            </a:r>
            <a:endParaRPr lang="en-GB" noProof="0"/>
          </a:p>
        </p:txBody>
      </p:sp>
      <p:sp>
        <p:nvSpPr>
          <p:cNvPr id="20" name="Text Placeholder 3">
            <a:extLst>
              <a:ext uri="{FF2B5EF4-FFF2-40B4-BE49-F238E27FC236}">
                <a16:creationId xmlns:a16="http://schemas.microsoft.com/office/drawing/2014/main" id="{B772D797-9E99-7B44-81B1-A91F96DFFAD6}"/>
              </a:ext>
            </a:extLst>
          </p:cNvPr>
          <p:cNvSpPr>
            <a:spLocks noGrp="1"/>
          </p:cNvSpPr>
          <p:nvPr>
            <p:ph type="body" sz="quarter" idx="22" hasCustomPrompt="1"/>
          </p:nvPr>
        </p:nvSpPr>
        <p:spPr>
          <a:xfrm>
            <a:off x="1676291" y="5129213"/>
            <a:ext cx="6049964" cy="6904512"/>
          </a:xfrm>
        </p:spPr>
        <p:txBody>
          <a:bodyPr>
            <a:noAutofit/>
          </a:bodyPr>
          <a:lstStyle>
            <a:lvl1pPr marL="342900" indent="-342900">
              <a:spcBef>
                <a:spcPts val="2000"/>
              </a:spcBef>
              <a:buFont typeface="Arial" panose="020B0604020202020204" pitchFamily="34" charset="0"/>
              <a:buChar char="•"/>
              <a:defRPr sz="2400"/>
            </a:lvl1pPr>
          </a:lstStyle>
          <a:p>
            <a:pPr lvl="0"/>
            <a:r>
              <a:rPr lang="en-GB" noProof="0"/>
              <a:t>Put the first column list here, keep it regular 24 </a:t>
            </a:r>
            <a:r>
              <a:rPr lang="en-GB" noProof="0" err="1"/>
              <a:t>pt</a:t>
            </a:r>
            <a:endParaRPr lang="en-GB" noProof="0"/>
          </a:p>
        </p:txBody>
      </p:sp>
      <p:sp>
        <p:nvSpPr>
          <p:cNvPr id="21" name="Text Placeholder 3">
            <a:extLst>
              <a:ext uri="{FF2B5EF4-FFF2-40B4-BE49-F238E27FC236}">
                <a16:creationId xmlns:a16="http://schemas.microsoft.com/office/drawing/2014/main" id="{EA077ACA-637D-0643-8E1E-31E31C902655}"/>
              </a:ext>
            </a:extLst>
          </p:cNvPr>
          <p:cNvSpPr>
            <a:spLocks noGrp="1"/>
          </p:cNvSpPr>
          <p:nvPr>
            <p:ph type="body" sz="quarter" idx="23" hasCustomPrompt="1"/>
          </p:nvPr>
        </p:nvSpPr>
        <p:spPr>
          <a:xfrm>
            <a:off x="16656158" y="5129213"/>
            <a:ext cx="6049964" cy="6904512"/>
          </a:xfrm>
        </p:spPr>
        <p:txBody>
          <a:bodyPr>
            <a:noAutofit/>
          </a:bodyPr>
          <a:lstStyle>
            <a:lvl1pPr marL="342900" indent="-342900">
              <a:spcBef>
                <a:spcPts val="2000"/>
              </a:spcBef>
              <a:buFont typeface="Arial" panose="020B0604020202020204" pitchFamily="34" charset="0"/>
              <a:buChar char="•"/>
              <a:defRPr sz="2400"/>
            </a:lvl1pPr>
          </a:lstStyle>
          <a:p>
            <a:pPr lvl="0"/>
            <a:r>
              <a:rPr lang="en-GB" noProof="0"/>
              <a:t>Put the third column list here, keep it regular 24 </a:t>
            </a:r>
            <a:r>
              <a:rPr lang="en-GB" noProof="0" err="1"/>
              <a:t>pt</a:t>
            </a:r>
            <a:endParaRPr lang="en-GB" noProof="0"/>
          </a:p>
        </p:txBody>
      </p:sp>
      <p:sp>
        <p:nvSpPr>
          <p:cNvPr id="4" name="Footer Placeholder 3">
            <a:extLst>
              <a:ext uri="{FF2B5EF4-FFF2-40B4-BE49-F238E27FC236}">
                <a16:creationId xmlns:a16="http://schemas.microsoft.com/office/drawing/2014/main" id="{9F259679-D8E8-0F42-BB59-3BCBFC65EB1B}"/>
              </a:ext>
            </a:extLst>
          </p:cNvPr>
          <p:cNvSpPr>
            <a:spLocks noGrp="1"/>
          </p:cNvSpPr>
          <p:nvPr>
            <p:ph type="ftr" sz="quarter" idx="24"/>
          </p:nvPr>
        </p:nvSpPr>
        <p:spPr/>
        <p:txBody>
          <a:bodyPr/>
          <a:lstStyle/>
          <a:p>
            <a:endParaRPr lang="en-NL"/>
          </a:p>
        </p:txBody>
      </p:sp>
      <p:sp>
        <p:nvSpPr>
          <p:cNvPr id="10" name="TextBox 9">
            <a:extLst>
              <a:ext uri="{FF2B5EF4-FFF2-40B4-BE49-F238E27FC236}">
                <a16:creationId xmlns:a16="http://schemas.microsoft.com/office/drawing/2014/main" id="{F6C0470B-F20E-A142-917D-853951DA8234}"/>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843927858"/>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Long text in two columns">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63367C8D-9B77-984C-8B9E-6950D34AC3FE}"/>
              </a:ext>
            </a:extLst>
          </p:cNvPr>
          <p:cNvSpPr>
            <a:spLocks noGrp="1"/>
          </p:cNvSpPr>
          <p:nvPr>
            <p:ph type="title" hasCustomPrompt="1"/>
          </p:nvPr>
        </p:nvSpPr>
        <p:spPr>
          <a:xfrm>
            <a:off x="1676293" y="1677600"/>
            <a:ext cx="21033007" cy="2446607"/>
          </a:xfrm>
        </p:spPr>
        <p:txBody>
          <a:bodyPr/>
          <a:lstStyle>
            <a:lvl1pPr>
              <a:defRPr sz="6000" spc="0" baseline="0"/>
            </a:lvl1pPr>
          </a:lstStyle>
          <a:p>
            <a:r>
              <a:rPr lang="en-GB"/>
              <a:t>Put the headline here, </a:t>
            </a:r>
            <a:br>
              <a:rPr lang="en-GB"/>
            </a:br>
            <a:r>
              <a:rPr lang="en-GB"/>
              <a:t>keep it bold 60 </a:t>
            </a:r>
            <a:r>
              <a:rPr lang="en-GB" err="1"/>
              <a:t>pt</a:t>
            </a:r>
            <a:endParaRPr lang="en-NL"/>
          </a:p>
        </p:txBody>
      </p:sp>
      <p:sp>
        <p:nvSpPr>
          <p:cNvPr id="10" name="Text Placeholder 3">
            <a:extLst>
              <a:ext uri="{FF2B5EF4-FFF2-40B4-BE49-F238E27FC236}">
                <a16:creationId xmlns:a16="http://schemas.microsoft.com/office/drawing/2014/main" id="{939100DF-247B-744C-82E5-5A131B43B255}"/>
              </a:ext>
            </a:extLst>
          </p:cNvPr>
          <p:cNvSpPr>
            <a:spLocks noGrp="1"/>
          </p:cNvSpPr>
          <p:nvPr>
            <p:ph type="body" sz="quarter" idx="18" hasCustomPrompt="1"/>
          </p:nvPr>
        </p:nvSpPr>
        <p:spPr>
          <a:xfrm>
            <a:off x="1674329" y="4124207"/>
            <a:ext cx="10080000" cy="7909518"/>
          </a:xfrm>
        </p:spPr>
        <p:txBody>
          <a:bodyPr>
            <a:noAutofit/>
          </a:bodyPr>
          <a:lstStyle>
            <a:lvl1pPr>
              <a:spcBef>
                <a:spcPts val="2000"/>
              </a:spcBef>
              <a:defRPr sz="2400"/>
            </a:lvl1pPr>
          </a:lstStyle>
          <a:p>
            <a:pPr lvl="0"/>
            <a:r>
              <a:rPr lang="en-GB" noProof="0"/>
              <a:t>Put the first column text here, keep it regular 24 </a:t>
            </a:r>
            <a:r>
              <a:rPr lang="en-GB" noProof="0" err="1"/>
              <a:t>pt</a:t>
            </a:r>
            <a:endParaRPr lang="en-GB" noProof="0"/>
          </a:p>
        </p:txBody>
      </p:sp>
      <p:sp>
        <p:nvSpPr>
          <p:cNvPr id="11" name="Text Placeholder 3">
            <a:extLst>
              <a:ext uri="{FF2B5EF4-FFF2-40B4-BE49-F238E27FC236}">
                <a16:creationId xmlns:a16="http://schemas.microsoft.com/office/drawing/2014/main" id="{9CCF0755-F145-EA44-8033-C854ED47EF7D}"/>
              </a:ext>
            </a:extLst>
          </p:cNvPr>
          <p:cNvSpPr>
            <a:spLocks noGrp="1"/>
          </p:cNvSpPr>
          <p:nvPr>
            <p:ph type="body" sz="quarter" idx="20" hasCustomPrompt="1"/>
          </p:nvPr>
        </p:nvSpPr>
        <p:spPr>
          <a:xfrm>
            <a:off x="12628084" y="4124207"/>
            <a:ext cx="10080000" cy="7909518"/>
          </a:xfrm>
        </p:spPr>
        <p:txBody>
          <a:bodyPr>
            <a:noAutofit/>
          </a:bodyPr>
          <a:lstStyle>
            <a:lvl1pPr>
              <a:spcBef>
                <a:spcPts val="2000"/>
              </a:spcBef>
              <a:defRPr sz="2400"/>
            </a:lvl1pPr>
          </a:lstStyle>
          <a:p>
            <a:pPr lvl="0"/>
            <a:r>
              <a:rPr lang="en-GB" noProof="0"/>
              <a:t>Put the second column text here, keep it regular 24 </a:t>
            </a:r>
            <a:r>
              <a:rPr lang="en-GB" noProof="0" err="1"/>
              <a:t>pt</a:t>
            </a:r>
            <a:endParaRPr lang="en-GB" noProof="0"/>
          </a:p>
        </p:txBody>
      </p:sp>
      <p:sp>
        <p:nvSpPr>
          <p:cNvPr id="4" name="Footer Placeholder 3">
            <a:extLst>
              <a:ext uri="{FF2B5EF4-FFF2-40B4-BE49-F238E27FC236}">
                <a16:creationId xmlns:a16="http://schemas.microsoft.com/office/drawing/2014/main" id="{513A86D6-E57E-5649-8AF5-453D2B2B151A}"/>
              </a:ext>
            </a:extLst>
          </p:cNvPr>
          <p:cNvSpPr>
            <a:spLocks noGrp="1"/>
          </p:cNvSpPr>
          <p:nvPr>
            <p:ph type="ftr" sz="quarter" idx="21"/>
          </p:nvPr>
        </p:nvSpPr>
        <p:spPr/>
        <p:txBody>
          <a:bodyPr/>
          <a:lstStyle/>
          <a:p>
            <a:endParaRPr lang="en-NL"/>
          </a:p>
        </p:txBody>
      </p:sp>
      <p:sp>
        <p:nvSpPr>
          <p:cNvPr id="13" name="TextBox 12">
            <a:extLst>
              <a:ext uri="{FF2B5EF4-FFF2-40B4-BE49-F238E27FC236}">
                <a16:creationId xmlns:a16="http://schemas.microsoft.com/office/drawing/2014/main" id="{F69A19F4-DC87-0B48-B9A2-A753D080F470}"/>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87263836"/>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Long text in two columns and picture">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EED5078-C5D9-0E4F-B9E3-7CF7BBC8C373}"/>
              </a:ext>
            </a:extLst>
          </p:cNvPr>
          <p:cNvSpPr>
            <a:spLocks noGrp="1"/>
          </p:cNvSpPr>
          <p:nvPr>
            <p:ph type="pic" sz="quarter" idx="15" hasCustomPrompt="1"/>
          </p:nvPr>
        </p:nvSpPr>
        <p:spPr>
          <a:xfrm>
            <a:off x="491102" y="486000"/>
            <a:ext cx="10764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2" name="Text Placeholder 3">
            <a:extLst>
              <a:ext uri="{FF2B5EF4-FFF2-40B4-BE49-F238E27FC236}">
                <a16:creationId xmlns:a16="http://schemas.microsoft.com/office/drawing/2014/main" id="{AE87E5A1-8A67-0448-BA9A-DA74F50AE099}"/>
              </a:ext>
            </a:extLst>
          </p:cNvPr>
          <p:cNvSpPr>
            <a:spLocks noGrp="1"/>
          </p:cNvSpPr>
          <p:nvPr>
            <p:ph type="body" sz="quarter" idx="18" hasCustomPrompt="1"/>
          </p:nvPr>
        </p:nvSpPr>
        <p:spPr>
          <a:xfrm>
            <a:off x="12191206" y="5129213"/>
            <a:ext cx="5040560" cy="6904512"/>
          </a:xfrm>
        </p:spPr>
        <p:txBody>
          <a:bodyPr>
            <a:noAutofit/>
          </a:bodyPr>
          <a:lstStyle>
            <a:lvl1pPr>
              <a:spcBef>
                <a:spcPts val="2000"/>
              </a:spcBef>
              <a:defRPr sz="2400"/>
            </a:lvl1pPr>
          </a:lstStyle>
          <a:p>
            <a:pPr lvl="0"/>
            <a:r>
              <a:rPr lang="en-GB" noProof="0"/>
              <a:t>Put the first column text here, keep it regular 24 </a:t>
            </a:r>
            <a:r>
              <a:rPr lang="en-GB" noProof="0" err="1"/>
              <a:t>pt</a:t>
            </a:r>
            <a:endParaRPr lang="en-GB" noProof="0"/>
          </a:p>
        </p:txBody>
      </p:sp>
      <p:sp>
        <p:nvSpPr>
          <p:cNvPr id="13" name="Title 1">
            <a:extLst>
              <a:ext uri="{FF2B5EF4-FFF2-40B4-BE49-F238E27FC236}">
                <a16:creationId xmlns:a16="http://schemas.microsoft.com/office/drawing/2014/main" id="{0614539B-EA7E-5F48-845E-1115C11137DF}"/>
              </a:ext>
            </a:extLst>
          </p:cNvPr>
          <p:cNvSpPr>
            <a:spLocks noGrp="1"/>
          </p:cNvSpPr>
          <p:nvPr>
            <p:ph type="title" hasCustomPrompt="1"/>
          </p:nvPr>
        </p:nvSpPr>
        <p:spPr>
          <a:xfrm>
            <a:off x="12193170" y="1677600"/>
            <a:ext cx="10514913" cy="3011659"/>
          </a:xfrm>
        </p:spPr>
        <p:txBody>
          <a:bodyPr/>
          <a:lstStyle>
            <a:lvl1pPr>
              <a:defRPr sz="6000" spc="0" baseline="0"/>
            </a:lvl1pPr>
          </a:lstStyle>
          <a:p>
            <a:r>
              <a:rPr lang="en-GB"/>
              <a:t>Put the headline here, keep it 60 </a:t>
            </a:r>
            <a:r>
              <a:rPr lang="en-GB" err="1"/>
              <a:t>pt</a:t>
            </a:r>
            <a:endParaRPr lang="en-NL"/>
          </a:p>
        </p:txBody>
      </p:sp>
      <p:sp>
        <p:nvSpPr>
          <p:cNvPr id="7" name="Text Placeholder 3">
            <a:extLst>
              <a:ext uri="{FF2B5EF4-FFF2-40B4-BE49-F238E27FC236}">
                <a16:creationId xmlns:a16="http://schemas.microsoft.com/office/drawing/2014/main" id="{B26CACA4-13A0-5940-A8FA-3FC8769DA450}"/>
              </a:ext>
            </a:extLst>
          </p:cNvPr>
          <p:cNvSpPr>
            <a:spLocks noGrp="1"/>
          </p:cNvSpPr>
          <p:nvPr>
            <p:ph type="body" sz="quarter" idx="20" hasCustomPrompt="1"/>
          </p:nvPr>
        </p:nvSpPr>
        <p:spPr>
          <a:xfrm>
            <a:off x="17653543" y="5164141"/>
            <a:ext cx="5040560" cy="6904512"/>
          </a:xfrm>
        </p:spPr>
        <p:txBody>
          <a:bodyPr>
            <a:noAutofit/>
          </a:bodyPr>
          <a:lstStyle>
            <a:lvl1pPr>
              <a:spcBef>
                <a:spcPts val="2000"/>
              </a:spcBef>
              <a:defRPr sz="2400"/>
            </a:lvl1pPr>
          </a:lstStyle>
          <a:p>
            <a:pPr lvl="0"/>
            <a:r>
              <a:rPr lang="en-GB" noProof="0"/>
              <a:t>Put the second column text here, keep it regular 24 </a:t>
            </a:r>
            <a:r>
              <a:rPr lang="en-GB" noProof="0" err="1"/>
              <a:t>pt</a:t>
            </a:r>
            <a:endParaRPr lang="en-GB" noProof="0"/>
          </a:p>
        </p:txBody>
      </p:sp>
      <p:sp>
        <p:nvSpPr>
          <p:cNvPr id="4" name="Footer Placeholder 3">
            <a:extLst>
              <a:ext uri="{FF2B5EF4-FFF2-40B4-BE49-F238E27FC236}">
                <a16:creationId xmlns:a16="http://schemas.microsoft.com/office/drawing/2014/main" id="{236B4C3F-2345-FD42-B780-BD49D67130E9}"/>
              </a:ext>
            </a:extLst>
          </p:cNvPr>
          <p:cNvSpPr>
            <a:spLocks noGrp="1"/>
          </p:cNvSpPr>
          <p:nvPr>
            <p:ph type="ftr" sz="quarter" idx="21"/>
          </p:nvPr>
        </p:nvSpPr>
        <p:spPr/>
        <p:txBody>
          <a:bodyPr/>
          <a:lstStyle/>
          <a:p>
            <a:endParaRPr lang="en-NL"/>
          </a:p>
        </p:txBody>
      </p:sp>
      <p:sp>
        <p:nvSpPr>
          <p:cNvPr id="11" name="TextBox 10">
            <a:extLst>
              <a:ext uri="{FF2B5EF4-FFF2-40B4-BE49-F238E27FC236}">
                <a16:creationId xmlns:a16="http://schemas.microsoft.com/office/drawing/2014/main" id="{2C18B1BF-0727-F84E-B2A7-098862261928}"/>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805688754"/>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Long text in three columns and picture">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EED5078-C5D9-0E4F-B9E3-7CF7BBC8C373}"/>
              </a:ext>
            </a:extLst>
          </p:cNvPr>
          <p:cNvSpPr>
            <a:spLocks noGrp="1"/>
          </p:cNvSpPr>
          <p:nvPr>
            <p:ph type="pic" sz="quarter" idx="15" hasCustomPrompt="1"/>
          </p:nvPr>
        </p:nvSpPr>
        <p:spPr>
          <a:xfrm>
            <a:off x="491102" y="486000"/>
            <a:ext cx="5579498"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2" name="Text Placeholder 3">
            <a:extLst>
              <a:ext uri="{FF2B5EF4-FFF2-40B4-BE49-F238E27FC236}">
                <a16:creationId xmlns:a16="http://schemas.microsoft.com/office/drawing/2014/main" id="{AE87E5A1-8A67-0448-BA9A-DA74F50AE099}"/>
              </a:ext>
            </a:extLst>
          </p:cNvPr>
          <p:cNvSpPr>
            <a:spLocks noGrp="1"/>
          </p:cNvSpPr>
          <p:nvPr>
            <p:ph type="body" sz="quarter" idx="18" hasCustomPrompt="1"/>
          </p:nvPr>
        </p:nvSpPr>
        <p:spPr>
          <a:xfrm>
            <a:off x="12191206" y="5129213"/>
            <a:ext cx="5040560" cy="6904512"/>
          </a:xfrm>
        </p:spPr>
        <p:txBody>
          <a:bodyPr>
            <a:noAutofit/>
          </a:bodyPr>
          <a:lstStyle>
            <a:lvl1pPr>
              <a:spcBef>
                <a:spcPts val="2000"/>
              </a:spcBef>
              <a:defRPr sz="1600"/>
            </a:lvl1pPr>
          </a:lstStyle>
          <a:p>
            <a:pPr lvl="0"/>
            <a:r>
              <a:rPr lang="en-GB" noProof="0"/>
              <a:t>Put the body text here, keep it regular 16 </a:t>
            </a:r>
            <a:r>
              <a:rPr lang="en-GB" noProof="0" err="1"/>
              <a:t>pt</a:t>
            </a:r>
            <a:endParaRPr lang="en-GB" noProof="0"/>
          </a:p>
        </p:txBody>
      </p:sp>
      <p:sp>
        <p:nvSpPr>
          <p:cNvPr id="13" name="Title 1">
            <a:extLst>
              <a:ext uri="{FF2B5EF4-FFF2-40B4-BE49-F238E27FC236}">
                <a16:creationId xmlns:a16="http://schemas.microsoft.com/office/drawing/2014/main" id="{0614539B-EA7E-5F48-845E-1115C11137DF}"/>
              </a:ext>
            </a:extLst>
          </p:cNvPr>
          <p:cNvSpPr>
            <a:spLocks noGrp="1"/>
          </p:cNvSpPr>
          <p:nvPr>
            <p:ph type="title" hasCustomPrompt="1"/>
          </p:nvPr>
        </p:nvSpPr>
        <p:spPr>
          <a:xfrm>
            <a:off x="6728870" y="1677600"/>
            <a:ext cx="15979214" cy="3011659"/>
          </a:xfrm>
        </p:spPr>
        <p:txBody>
          <a:bodyPr/>
          <a:lstStyle>
            <a:lvl1pPr>
              <a:defRPr sz="6000" spc="0" baseline="0"/>
            </a:lvl1pPr>
          </a:lstStyle>
          <a:p>
            <a:r>
              <a:rPr lang="en-GB"/>
              <a:t>Put the headline here, </a:t>
            </a:r>
            <a:br>
              <a:rPr lang="en-GB"/>
            </a:br>
            <a:r>
              <a:rPr lang="en-GB"/>
              <a:t>keep it 60 </a:t>
            </a:r>
            <a:r>
              <a:rPr lang="en-GB" err="1"/>
              <a:t>pt</a:t>
            </a:r>
            <a:endParaRPr lang="en-NL"/>
          </a:p>
        </p:txBody>
      </p:sp>
      <p:sp>
        <p:nvSpPr>
          <p:cNvPr id="7" name="Text Placeholder 3">
            <a:extLst>
              <a:ext uri="{FF2B5EF4-FFF2-40B4-BE49-F238E27FC236}">
                <a16:creationId xmlns:a16="http://schemas.microsoft.com/office/drawing/2014/main" id="{B26CACA4-13A0-5940-A8FA-3FC8769DA450}"/>
              </a:ext>
            </a:extLst>
          </p:cNvPr>
          <p:cNvSpPr>
            <a:spLocks noGrp="1"/>
          </p:cNvSpPr>
          <p:nvPr>
            <p:ph type="body" sz="quarter" idx="20" hasCustomPrompt="1"/>
          </p:nvPr>
        </p:nvSpPr>
        <p:spPr>
          <a:xfrm>
            <a:off x="17653543" y="5164141"/>
            <a:ext cx="5040560" cy="6904512"/>
          </a:xfrm>
        </p:spPr>
        <p:txBody>
          <a:bodyPr>
            <a:noAutofit/>
          </a:bodyPr>
          <a:lstStyle>
            <a:lvl1pPr>
              <a:spcBef>
                <a:spcPts val="2000"/>
              </a:spcBef>
              <a:defRPr sz="1600"/>
            </a:lvl1pPr>
          </a:lstStyle>
          <a:p>
            <a:pPr lvl="0"/>
            <a:r>
              <a:rPr lang="en-GB" noProof="0"/>
              <a:t>Put the body text here, keep it regular 16 </a:t>
            </a:r>
            <a:r>
              <a:rPr lang="en-GB" noProof="0" err="1"/>
              <a:t>pt</a:t>
            </a:r>
            <a:endParaRPr lang="en-GB" noProof="0"/>
          </a:p>
        </p:txBody>
      </p:sp>
      <p:sp>
        <p:nvSpPr>
          <p:cNvPr id="8" name="Text Placeholder 3">
            <a:extLst>
              <a:ext uri="{FF2B5EF4-FFF2-40B4-BE49-F238E27FC236}">
                <a16:creationId xmlns:a16="http://schemas.microsoft.com/office/drawing/2014/main" id="{0C7CE63B-C4F3-714B-8275-BBB3C3035E61}"/>
              </a:ext>
            </a:extLst>
          </p:cNvPr>
          <p:cNvSpPr>
            <a:spLocks noGrp="1"/>
          </p:cNvSpPr>
          <p:nvPr>
            <p:ph type="body" sz="quarter" idx="21" hasCustomPrompt="1"/>
          </p:nvPr>
        </p:nvSpPr>
        <p:spPr>
          <a:xfrm>
            <a:off x="6728869" y="5129213"/>
            <a:ext cx="5040560" cy="6904512"/>
          </a:xfrm>
        </p:spPr>
        <p:txBody>
          <a:bodyPr>
            <a:noAutofit/>
          </a:bodyPr>
          <a:lstStyle>
            <a:lvl1pPr>
              <a:spcBef>
                <a:spcPts val="2000"/>
              </a:spcBef>
              <a:defRPr sz="1600"/>
            </a:lvl1pPr>
          </a:lstStyle>
          <a:p>
            <a:pPr lvl="0"/>
            <a:r>
              <a:rPr lang="en-GB" noProof="0"/>
              <a:t>Put the body text here, keep it regular 16 </a:t>
            </a:r>
            <a:r>
              <a:rPr lang="en-GB" noProof="0" err="1"/>
              <a:t>pt</a:t>
            </a:r>
            <a:endParaRPr lang="en-GB" noProof="0"/>
          </a:p>
        </p:txBody>
      </p:sp>
      <p:sp>
        <p:nvSpPr>
          <p:cNvPr id="4" name="Footer Placeholder 3">
            <a:extLst>
              <a:ext uri="{FF2B5EF4-FFF2-40B4-BE49-F238E27FC236}">
                <a16:creationId xmlns:a16="http://schemas.microsoft.com/office/drawing/2014/main" id="{4194F0DB-380C-DF44-86E3-D79D56DFF85C}"/>
              </a:ext>
            </a:extLst>
          </p:cNvPr>
          <p:cNvSpPr>
            <a:spLocks noGrp="1"/>
          </p:cNvSpPr>
          <p:nvPr>
            <p:ph type="ftr" sz="quarter" idx="22"/>
          </p:nvPr>
        </p:nvSpPr>
        <p:spPr/>
        <p:txBody>
          <a:bodyPr/>
          <a:lstStyle/>
          <a:p>
            <a:endParaRPr lang="en-NL"/>
          </a:p>
        </p:txBody>
      </p:sp>
      <p:sp>
        <p:nvSpPr>
          <p:cNvPr id="11" name="TextBox 10">
            <a:extLst>
              <a:ext uri="{FF2B5EF4-FFF2-40B4-BE49-F238E27FC236}">
                <a16:creationId xmlns:a16="http://schemas.microsoft.com/office/drawing/2014/main" id="{8382B125-311F-9F4E-88E7-2B54BB6A3B94}"/>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525830671"/>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Long text in one column and picture">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6790606" y="486000"/>
            <a:ext cx="17100704"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1674329" y="5129213"/>
            <a:ext cx="4394307" cy="6904512"/>
          </a:xfrm>
        </p:spPr>
        <p:txBody>
          <a:bodyPr>
            <a:noAutofit/>
          </a:bodyPr>
          <a:lstStyle>
            <a:lvl1pPr>
              <a:spcBef>
                <a:spcPts val="2000"/>
              </a:spcBef>
              <a:defRPr sz="2400"/>
            </a:lvl1pPr>
          </a:lstStyle>
          <a:p>
            <a:pPr lvl="0"/>
            <a:r>
              <a:rPr lang="en-GB" noProof="0"/>
              <a:t>Put the paragraph text here, keep it regular 24 </a:t>
            </a:r>
            <a:r>
              <a:rPr lang="en-GB" noProof="0" err="1"/>
              <a:t>pt</a:t>
            </a:r>
            <a:endParaRPr lang="en-GB" noProof="0"/>
          </a:p>
        </p:txBody>
      </p:sp>
      <p:sp>
        <p:nvSpPr>
          <p:cNvPr id="2" name="Title 1">
            <a:extLst>
              <a:ext uri="{FF2B5EF4-FFF2-40B4-BE49-F238E27FC236}">
                <a16:creationId xmlns:a16="http://schemas.microsoft.com/office/drawing/2014/main" id="{44A2E15B-0973-F742-A266-E1107E35FE40}"/>
              </a:ext>
            </a:extLst>
          </p:cNvPr>
          <p:cNvSpPr>
            <a:spLocks noGrp="1"/>
          </p:cNvSpPr>
          <p:nvPr>
            <p:ph type="title" hasCustomPrompt="1"/>
          </p:nvPr>
        </p:nvSpPr>
        <p:spPr>
          <a:xfrm>
            <a:off x="1676293" y="1677600"/>
            <a:ext cx="4394307" cy="3011659"/>
          </a:xfrm>
        </p:spPr>
        <p:txBody>
          <a:bodyPr/>
          <a:lstStyle>
            <a:lvl1pPr>
              <a:defRPr sz="4000" spc="0" baseline="0"/>
            </a:lvl1pPr>
          </a:lstStyle>
          <a:p>
            <a:r>
              <a:rPr lang="en-GB"/>
              <a:t>Put the headline here, keep it bold 40 </a:t>
            </a:r>
            <a:r>
              <a:rPr lang="en-GB" err="1"/>
              <a:t>pt</a:t>
            </a:r>
            <a:endParaRPr lang="en-NL"/>
          </a:p>
        </p:txBody>
      </p:sp>
      <p:sp>
        <p:nvSpPr>
          <p:cNvPr id="7" name="Footer Placeholder 6">
            <a:extLst>
              <a:ext uri="{FF2B5EF4-FFF2-40B4-BE49-F238E27FC236}">
                <a16:creationId xmlns:a16="http://schemas.microsoft.com/office/drawing/2014/main" id="{BDFCBB05-AE3F-8B46-8B28-FBA47A7B8DF9}"/>
              </a:ext>
            </a:extLst>
          </p:cNvPr>
          <p:cNvSpPr>
            <a:spLocks noGrp="1"/>
          </p:cNvSpPr>
          <p:nvPr>
            <p:ph type="ftr" sz="quarter" idx="19"/>
          </p:nvPr>
        </p:nvSpPr>
        <p:spPr/>
        <p:txBody>
          <a:bodyPr/>
          <a:lstStyle/>
          <a:p>
            <a:endParaRPr lang="en-NL"/>
          </a:p>
        </p:txBody>
      </p:sp>
      <p:sp>
        <p:nvSpPr>
          <p:cNvPr id="10" name="TextBox 9">
            <a:extLst>
              <a:ext uri="{FF2B5EF4-FFF2-40B4-BE49-F238E27FC236}">
                <a16:creationId xmlns:a16="http://schemas.microsoft.com/office/drawing/2014/main" id="{1A281C68-F05E-474E-B89A-873F6871F7AE}"/>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195374585"/>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Process">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0D2B4B01-8F71-1C43-804A-AE91ACAAB690}"/>
              </a:ext>
            </a:extLst>
          </p:cNvPr>
          <p:cNvSpPr>
            <a:spLocks noGrp="1"/>
          </p:cNvSpPr>
          <p:nvPr>
            <p:ph type="body" sz="quarter" idx="12" hasCustomPrompt="1"/>
          </p:nvPr>
        </p:nvSpPr>
        <p:spPr>
          <a:xfrm>
            <a:off x="3046413" y="7723206"/>
            <a:ext cx="3024187" cy="1727166"/>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3" name="Title 2">
            <a:extLst>
              <a:ext uri="{FF2B5EF4-FFF2-40B4-BE49-F238E27FC236}">
                <a16:creationId xmlns:a16="http://schemas.microsoft.com/office/drawing/2014/main" id="{6E79ED74-1833-CD4B-828E-58428E0E2A1D}"/>
              </a:ext>
            </a:extLst>
          </p:cNvPr>
          <p:cNvSpPr>
            <a:spLocks noGrp="1"/>
          </p:cNvSpPr>
          <p:nvPr>
            <p:ph type="title" hasCustomPrompt="1"/>
          </p:nvPr>
        </p:nvSpPr>
        <p:spPr>
          <a:xfrm>
            <a:off x="1676293" y="1677601"/>
            <a:ext cx="21033007" cy="1722906"/>
          </a:xfrm>
        </p:spPr>
        <p:txBody>
          <a:bodyPr/>
          <a:lstStyle/>
          <a:p>
            <a:r>
              <a:rPr lang="en-GB"/>
              <a:t>Process</a:t>
            </a:r>
            <a:endParaRPr lang="en-NL"/>
          </a:p>
        </p:txBody>
      </p:sp>
      <p:cxnSp>
        <p:nvCxnSpPr>
          <p:cNvPr id="5" name="Straight Arrow Connector 4">
            <a:extLst>
              <a:ext uri="{FF2B5EF4-FFF2-40B4-BE49-F238E27FC236}">
                <a16:creationId xmlns:a16="http://schemas.microsoft.com/office/drawing/2014/main" id="{0798A829-D289-394A-914F-EDD8D97B2357}"/>
              </a:ext>
            </a:extLst>
          </p:cNvPr>
          <p:cNvCxnSpPr>
            <a:cxnSpLocks/>
          </p:cNvCxnSpPr>
          <p:nvPr userDrawn="1"/>
        </p:nvCxnSpPr>
        <p:spPr>
          <a:xfrm>
            <a:off x="1674702" y="6858000"/>
            <a:ext cx="21033009" cy="0"/>
          </a:xfrm>
          <a:prstGeom prst="straightConnector1">
            <a:avLst/>
          </a:prstGeom>
          <a:ln w="190500">
            <a:solidFill>
              <a:schemeClr val="bg2"/>
            </a:solidFill>
            <a:tailEnd type="none" w="med" len="sm"/>
          </a:ln>
        </p:spPr>
        <p:style>
          <a:lnRef idx="1">
            <a:schemeClr val="accent1"/>
          </a:lnRef>
          <a:fillRef idx="0">
            <a:schemeClr val="accent1"/>
          </a:fillRef>
          <a:effectRef idx="0">
            <a:schemeClr val="accent1"/>
          </a:effectRef>
          <a:fontRef idx="minor">
            <a:schemeClr val="tx1"/>
          </a:fontRef>
        </p:style>
      </p:cxnSp>
      <p:sp>
        <p:nvSpPr>
          <p:cNvPr id="37" name="L-shape 36">
            <a:extLst>
              <a:ext uri="{FF2B5EF4-FFF2-40B4-BE49-F238E27FC236}">
                <a16:creationId xmlns:a16="http://schemas.microsoft.com/office/drawing/2014/main" id="{A3A516EF-4158-0845-AB22-B4F71119802B}"/>
              </a:ext>
            </a:extLst>
          </p:cNvPr>
          <p:cNvSpPr/>
          <p:nvPr userDrawn="1"/>
        </p:nvSpPr>
        <p:spPr>
          <a:xfrm rot="13500000">
            <a:off x="21934797" y="6498000"/>
            <a:ext cx="720000" cy="720000"/>
          </a:xfrm>
          <a:prstGeom prst="corner">
            <a:avLst>
              <a:gd name="adj1" fmla="val 26540"/>
              <a:gd name="adj2" fmla="val 2661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NL"/>
          </a:p>
        </p:txBody>
      </p:sp>
      <p:sp>
        <p:nvSpPr>
          <p:cNvPr id="38" name="Text Placeholder 5">
            <a:extLst>
              <a:ext uri="{FF2B5EF4-FFF2-40B4-BE49-F238E27FC236}">
                <a16:creationId xmlns:a16="http://schemas.microsoft.com/office/drawing/2014/main" id="{DDC37633-16B3-3744-A593-529313A8F214}"/>
              </a:ext>
            </a:extLst>
          </p:cNvPr>
          <p:cNvSpPr>
            <a:spLocks noGrp="1"/>
          </p:cNvSpPr>
          <p:nvPr>
            <p:ph type="body" sz="quarter" idx="21" hasCustomPrompt="1"/>
          </p:nvPr>
        </p:nvSpPr>
        <p:spPr>
          <a:xfrm>
            <a:off x="6142038" y="4265712"/>
            <a:ext cx="3024187" cy="1727166"/>
          </a:xfrm>
        </p:spPr>
        <p:txBody>
          <a:bodyPr anchor="b">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39" name="Text Placeholder 5">
            <a:extLst>
              <a:ext uri="{FF2B5EF4-FFF2-40B4-BE49-F238E27FC236}">
                <a16:creationId xmlns:a16="http://schemas.microsoft.com/office/drawing/2014/main" id="{4B3F39C9-E76C-2D44-9D1B-E9B07074F77E}"/>
              </a:ext>
            </a:extLst>
          </p:cNvPr>
          <p:cNvSpPr>
            <a:spLocks noGrp="1"/>
          </p:cNvSpPr>
          <p:nvPr>
            <p:ph type="body" sz="quarter" idx="22" hasCustomPrompt="1"/>
          </p:nvPr>
        </p:nvSpPr>
        <p:spPr>
          <a:xfrm>
            <a:off x="9167019" y="7723205"/>
            <a:ext cx="3024187" cy="1727166"/>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0" name="Text Placeholder 5">
            <a:extLst>
              <a:ext uri="{FF2B5EF4-FFF2-40B4-BE49-F238E27FC236}">
                <a16:creationId xmlns:a16="http://schemas.microsoft.com/office/drawing/2014/main" id="{8814CF3B-C6B0-0648-A9C1-CE26FF4CB2D8}"/>
              </a:ext>
            </a:extLst>
          </p:cNvPr>
          <p:cNvSpPr>
            <a:spLocks noGrp="1"/>
          </p:cNvSpPr>
          <p:nvPr>
            <p:ph type="body" sz="quarter" idx="23" hasCustomPrompt="1"/>
          </p:nvPr>
        </p:nvSpPr>
        <p:spPr>
          <a:xfrm>
            <a:off x="12190413" y="4265712"/>
            <a:ext cx="3024187" cy="1727166"/>
          </a:xfrm>
        </p:spPr>
        <p:txBody>
          <a:bodyPr anchor="b">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1" name="Text Placeholder 5">
            <a:extLst>
              <a:ext uri="{FF2B5EF4-FFF2-40B4-BE49-F238E27FC236}">
                <a16:creationId xmlns:a16="http://schemas.microsoft.com/office/drawing/2014/main" id="{3356431A-93FA-3546-85F8-B31F1C9169B6}"/>
              </a:ext>
            </a:extLst>
          </p:cNvPr>
          <p:cNvSpPr>
            <a:spLocks noGrp="1"/>
          </p:cNvSpPr>
          <p:nvPr>
            <p:ph type="body" sz="quarter" idx="24" hasCustomPrompt="1"/>
          </p:nvPr>
        </p:nvSpPr>
        <p:spPr>
          <a:xfrm>
            <a:off x="15287626" y="7723205"/>
            <a:ext cx="3024187" cy="1727166"/>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2" name="Text Placeholder 5">
            <a:extLst>
              <a:ext uri="{FF2B5EF4-FFF2-40B4-BE49-F238E27FC236}">
                <a16:creationId xmlns:a16="http://schemas.microsoft.com/office/drawing/2014/main" id="{5CD9E15C-1210-D245-AE40-F67BE5C74056}"/>
              </a:ext>
            </a:extLst>
          </p:cNvPr>
          <p:cNvSpPr>
            <a:spLocks noGrp="1"/>
          </p:cNvSpPr>
          <p:nvPr>
            <p:ph type="body" sz="quarter" idx="25" hasCustomPrompt="1"/>
          </p:nvPr>
        </p:nvSpPr>
        <p:spPr>
          <a:xfrm>
            <a:off x="18311813" y="4265712"/>
            <a:ext cx="3024187" cy="1727166"/>
          </a:xfrm>
        </p:spPr>
        <p:txBody>
          <a:bodyPr anchor="b">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4" name="Footer Placeholder 43">
            <a:extLst>
              <a:ext uri="{FF2B5EF4-FFF2-40B4-BE49-F238E27FC236}">
                <a16:creationId xmlns:a16="http://schemas.microsoft.com/office/drawing/2014/main" id="{3DC74232-9167-9144-A25D-B5C31FFA7A3A}"/>
              </a:ext>
            </a:extLst>
          </p:cNvPr>
          <p:cNvSpPr>
            <a:spLocks noGrp="1"/>
          </p:cNvSpPr>
          <p:nvPr>
            <p:ph type="ftr" sz="quarter" idx="26"/>
          </p:nvPr>
        </p:nvSpPr>
        <p:spPr/>
        <p:txBody>
          <a:bodyPr/>
          <a:lstStyle/>
          <a:p>
            <a:endParaRPr lang="en-NL"/>
          </a:p>
        </p:txBody>
      </p:sp>
      <p:sp>
        <p:nvSpPr>
          <p:cNvPr id="45" name="TextBox 44">
            <a:extLst>
              <a:ext uri="{FF2B5EF4-FFF2-40B4-BE49-F238E27FC236}">
                <a16:creationId xmlns:a16="http://schemas.microsoft.com/office/drawing/2014/main" id="{69E14940-6394-8440-928E-5262E6E6434C}"/>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956587622"/>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Levels">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0D2B4B01-8F71-1C43-804A-AE91ACAAB690}"/>
              </a:ext>
            </a:extLst>
          </p:cNvPr>
          <p:cNvSpPr>
            <a:spLocks noGrp="1"/>
          </p:cNvSpPr>
          <p:nvPr>
            <p:ph type="body" sz="quarter" idx="12" hasCustomPrompt="1"/>
          </p:nvPr>
        </p:nvSpPr>
        <p:spPr>
          <a:xfrm>
            <a:off x="13071796" y="5455780"/>
            <a:ext cx="6190847" cy="1397590"/>
          </a:xfrm>
        </p:spPr>
        <p:txBody>
          <a:bodyPr>
            <a:noAutofit/>
          </a:bodyPr>
          <a:lstStyle>
            <a:lvl1pPr>
              <a:spcBef>
                <a:spcPts val="0"/>
              </a:spcBef>
              <a:defRPr sz="2400"/>
            </a:lvl1pPr>
          </a:lstStyle>
          <a:p>
            <a:pPr lvl="0"/>
            <a:r>
              <a:rPr lang="en-GB" noProof="0"/>
              <a:t>Put the body text here, keep it regular 24 </a:t>
            </a:r>
            <a:r>
              <a:rPr lang="en-GB" noProof="0" err="1"/>
              <a:t>pt</a:t>
            </a:r>
            <a:endParaRPr lang="en-GB" noProof="0"/>
          </a:p>
        </p:txBody>
      </p:sp>
      <p:sp>
        <p:nvSpPr>
          <p:cNvPr id="10" name="Text Placeholder 5">
            <a:extLst>
              <a:ext uri="{FF2B5EF4-FFF2-40B4-BE49-F238E27FC236}">
                <a16:creationId xmlns:a16="http://schemas.microsoft.com/office/drawing/2014/main" id="{CCF4949C-0573-654E-8E4A-1524918D8E6F}"/>
              </a:ext>
            </a:extLst>
          </p:cNvPr>
          <p:cNvSpPr>
            <a:spLocks noGrp="1"/>
          </p:cNvSpPr>
          <p:nvPr>
            <p:ph type="body" sz="quarter" idx="15" hasCustomPrompt="1"/>
          </p:nvPr>
        </p:nvSpPr>
        <p:spPr>
          <a:xfrm>
            <a:off x="13071796" y="7832867"/>
            <a:ext cx="6190847" cy="1397590"/>
          </a:xfrm>
        </p:spPr>
        <p:txBody>
          <a:bodyPr>
            <a:noAutofit/>
          </a:bodyPr>
          <a:lstStyle>
            <a:lvl1pPr>
              <a:spcBef>
                <a:spcPts val="0"/>
              </a:spcBef>
              <a:defRPr sz="2400"/>
            </a:lvl1pPr>
          </a:lstStyle>
          <a:p>
            <a:pPr lvl="0"/>
            <a:r>
              <a:rPr lang="en-GB" noProof="0"/>
              <a:t>Put the body text here, keep it regular 24 </a:t>
            </a:r>
            <a:r>
              <a:rPr lang="en-GB" noProof="0" err="1"/>
              <a:t>pt</a:t>
            </a:r>
            <a:endParaRPr lang="en-GB" noProof="0"/>
          </a:p>
        </p:txBody>
      </p:sp>
      <p:sp>
        <p:nvSpPr>
          <p:cNvPr id="12" name="Text Placeholder 5">
            <a:extLst>
              <a:ext uri="{FF2B5EF4-FFF2-40B4-BE49-F238E27FC236}">
                <a16:creationId xmlns:a16="http://schemas.microsoft.com/office/drawing/2014/main" id="{334FE28E-7BB9-5247-A7EF-E68623CEC0DF}"/>
              </a:ext>
            </a:extLst>
          </p:cNvPr>
          <p:cNvSpPr>
            <a:spLocks noGrp="1"/>
          </p:cNvSpPr>
          <p:nvPr>
            <p:ph type="body" sz="quarter" idx="17" hasCustomPrompt="1"/>
          </p:nvPr>
        </p:nvSpPr>
        <p:spPr>
          <a:xfrm>
            <a:off x="13071796" y="10330248"/>
            <a:ext cx="6190847" cy="1397590"/>
          </a:xfrm>
        </p:spPr>
        <p:txBody>
          <a:bodyPr>
            <a:noAutofit/>
          </a:bodyPr>
          <a:lstStyle>
            <a:lvl1pPr>
              <a:spcBef>
                <a:spcPts val="0"/>
              </a:spcBef>
              <a:defRPr sz="2400"/>
            </a:lvl1pPr>
          </a:lstStyle>
          <a:p>
            <a:pPr lvl="0"/>
            <a:r>
              <a:rPr lang="en-GB" noProof="0"/>
              <a:t>Put the body text here, keep it regular 24 </a:t>
            </a:r>
            <a:r>
              <a:rPr lang="en-GB" noProof="0" err="1"/>
              <a:t>pt</a:t>
            </a:r>
            <a:endParaRPr lang="en-GB" noProof="0"/>
          </a:p>
        </p:txBody>
      </p:sp>
      <p:sp>
        <p:nvSpPr>
          <p:cNvPr id="9" name="Text Placeholder 5">
            <a:extLst>
              <a:ext uri="{FF2B5EF4-FFF2-40B4-BE49-F238E27FC236}">
                <a16:creationId xmlns:a16="http://schemas.microsoft.com/office/drawing/2014/main" id="{08916781-0481-B64C-A15B-60E03E7E77EA}"/>
              </a:ext>
            </a:extLst>
          </p:cNvPr>
          <p:cNvSpPr>
            <a:spLocks noGrp="1"/>
          </p:cNvSpPr>
          <p:nvPr>
            <p:ph type="body" sz="quarter" idx="14" hasCustomPrompt="1"/>
          </p:nvPr>
        </p:nvSpPr>
        <p:spPr>
          <a:xfrm>
            <a:off x="4674905" y="5455780"/>
            <a:ext cx="6633094" cy="1397590"/>
          </a:xfrm>
          <a:solidFill>
            <a:schemeClr val="bg1">
              <a:lumMod val="95000"/>
            </a:schemeClr>
          </a:solidFill>
        </p:spPr>
        <p:txBody>
          <a:bodyPr lIns="360000" anchor="ctr">
            <a:noAutofit/>
          </a:bodyPr>
          <a:lstStyle>
            <a:lvl1pPr>
              <a:defRPr sz="4000" b="1"/>
            </a:lvl1pPr>
          </a:lstStyle>
          <a:p>
            <a:pPr lvl="0"/>
            <a:r>
              <a:rPr lang="en-US"/>
              <a:t>Put the header here</a:t>
            </a:r>
          </a:p>
        </p:txBody>
      </p:sp>
      <p:sp>
        <p:nvSpPr>
          <p:cNvPr id="15" name="Text Placeholder 5">
            <a:extLst>
              <a:ext uri="{FF2B5EF4-FFF2-40B4-BE49-F238E27FC236}">
                <a16:creationId xmlns:a16="http://schemas.microsoft.com/office/drawing/2014/main" id="{B0FD171A-0961-AF47-AF11-4B67E2B02EBC}"/>
              </a:ext>
            </a:extLst>
          </p:cNvPr>
          <p:cNvSpPr>
            <a:spLocks noGrp="1"/>
          </p:cNvSpPr>
          <p:nvPr>
            <p:ph type="body" sz="quarter" idx="18" hasCustomPrompt="1"/>
          </p:nvPr>
        </p:nvSpPr>
        <p:spPr>
          <a:xfrm>
            <a:off x="4674905" y="7832867"/>
            <a:ext cx="6633094" cy="1397590"/>
          </a:xfrm>
          <a:solidFill>
            <a:schemeClr val="bg1">
              <a:lumMod val="95000"/>
            </a:schemeClr>
          </a:solidFill>
        </p:spPr>
        <p:txBody>
          <a:bodyPr lIns="360000" anchor="ctr">
            <a:noAutofit/>
          </a:bodyPr>
          <a:lstStyle>
            <a:lvl1pPr>
              <a:defRPr sz="4000" b="1"/>
            </a:lvl1pPr>
          </a:lstStyle>
          <a:p>
            <a:pPr lvl="0"/>
            <a:r>
              <a:rPr lang="en-US"/>
              <a:t>Put the header here</a:t>
            </a:r>
          </a:p>
        </p:txBody>
      </p:sp>
      <p:sp>
        <p:nvSpPr>
          <p:cNvPr id="16" name="Text Placeholder 5">
            <a:extLst>
              <a:ext uri="{FF2B5EF4-FFF2-40B4-BE49-F238E27FC236}">
                <a16:creationId xmlns:a16="http://schemas.microsoft.com/office/drawing/2014/main" id="{08483BCA-AF2F-134B-A357-367A5706C697}"/>
              </a:ext>
            </a:extLst>
          </p:cNvPr>
          <p:cNvSpPr>
            <a:spLocks noGrp="1"/>
          </p:cNvSpPr>
          <p:nvPr>
            <p:ph type="body" sz="quarter" idx="19" hasCustomPrompt="1"/>
          </p:nvPr>
        </p:nvSpPr>
        <p:spPr>
          <a:xfrm>
            <a:off x="4674905" y="10330248"/>
            <a:ext cx="6633094" cy="1397590"/>
          </a:xfrm>
          <a:solidFill>
            <a:schemeClr val="bg1">
              <a:lumMod val="95000"/>
            </a:schemeClr>
          </a:solidFill>
        </p:spPr>
        <p:txBody>
          <a:bodyPr lIns="360000" anchor="ctr">
            <a:noAutofit/>
          </a:bodyPr>
          <a:lstStyle>
            <a:lvl1pPr>
              <a:defRPr sz="4000" b="1"/>
            </a:lvl1pPr>
          </a:lstStyle>
          <a:p>
            <a:pPr lvl="0"/>
            <a:r>
              <a:rPr lang="en-US"/>
              <a:t>Put the header here</a:t>
            </a:r>
          </a:p>
        </p:txBody>
      </p:sp>
      <p:sp>
        <p:nvSpPr>
          <p:cNvPr id="3" name="Title 2">
            <a:extLst>
              <a:ext uri="{FF2B5EF4-FFF2-40B4-BE49-F238E27FC236}">
                <a16:creationId xmlns:a16="http://schemas.microsoft.com/office/drawing/2014/main" id="{6E79ED74-1833-CD4B-828E-58428E0E2A1D}"/>
              </a:ext>
            </a:extLst>
          </p:cNvPr>
          <p:cNvSpPr>
            <a:spLocks noGrp="1"/>
          </p:cNvSpPr>
          <p:nvPr>
            <p:ph type="title" hasCustomPrompt="1"/>
          </p:nvPr>
        </p:nvSpPr>
        <p:spPr/>
        <p:txBody>
          <a:bodyPr/>
          <a:lstStyle/>
          <a:p>
            <a:r>
              <a:rPr lang="en-GB"/>
              <a:t>Levels</a:t>
            </a:r>
            <a:endParaRPr lang="en-NL"/>
          </a:p>
        </p:txBody>
      </p:sp>
      <p:sp>
        <p:nvSpPr>
          <p:cNvPr id="5" name="Footer Placeholder 4">
            <a:extLst>
              <a:ext uri="{FF2B5EF4-FFF2-40B4-BE49-F238E27FC236}">
                <a16:creationId xmlns:a16="http://schemas.microsoft.com/office/drawing/2014/main" id="{D51935D7-8569-4141-96D6-E8BDF582C7E3}"/>
              </a:ext>
            </a:extLst>
          </p:cNvPr>
          <p:cNvSpPr>
            <a:spLocks noGrp="1"/>
          </p:cNvSpPr>
          <p:nvPr>
            <p:ph type="ftr" sz="quarter" idx="20"/>
          </p:nvPr>
        </p:nvSpPr>
        <p:spPr/>
        <p:txBody>
          <a:bodyPr/>
          <a:lstStyle/>
          <a:p>
            <a:endParaRPr lang="en-NL"/>
          </a:p>
        </p:txBody>
      </p:sp>
      <p:sp>
        <p:nvSpPr>
          <p:cNvPr id="14" name="TextBox 13">
            <a:extLst>
              <a:ext uri="{FF2B5EF4-FFF2-40B4-BE49-F238E27FC236}">
                <a16:creationId xmlns:a16="http://schemas.microsoft.com/office/drawing/2014/main" id="{95B220E9-C9CD-2D41-A852-CDC99EB96289}"/>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194264514"/>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Focus areas 1">
    <p:spTree>
      <p:nvGrpSpPr>
        <p:cNvPr id="1" name=""/>
        <p:cNvGrpSpPr/>
        <p:nvPr/>
      </p:nvGrpSpPr>
      <p:grpSpPr>
        <a:xfrm>
          <a:off x="0" y="0"/>
          <a:ext cx="0" cy="0"/>
          <a:chOff x="0" y="0"/>
          <a:chExt cx="0" cy="0"/>
        </a:xfrm>
      </p:grpSpPr>
      <p:sp>
        <p:nvSpPr>
          <p:cNvPr id="9" name="Text Placeholder 5">
            <a:extLst>
              <a:ext uri="{FF2B5EF4-FFF2-40B4-BE49-F238E27FC236}">
                <a16:creationId xmlns:a16="http://schemas.microsoft.com/office/drawing/2014/main" id="{08916781-0481-B64C-A15B-60E03E7E77EA}"/>
              </a:ext>
            </a:extLst>
          </p:cNvPr>
          <p:cNvSpPr>
            <a:spLocks noGrp="1"/>
          </p:cNvSpPr>
          <p:nvPr>
            <p:ph type="body" sz="quarter" idx="14" hasCustomPrompt="1"/>
          </p:nvPr>
        </p:nvSpPr>
        <p:spPr>
          <a:xfrm>
            <a:off x="9166225" y="5742878"/>
            <a:ext cx="6049963" cy="863104"/>
          </a:xfrm>
          <a:solidFill>
            <a:schemeClr val="bg1">
              <a:lumMod val="95000"/>
            </a:schemeClr>
          </a:solidFill>
        </p:spPr>
        <p:txBody>
          <a:bodyPr lIns="180000" anchor="ctr">
            <a:noAutofit/>
          </a:bodyPr>
          <a:lstStyle>
            <a:lvl1pPr>
              <a:lnSpc>
                <a:spcPct val="100000"/>
              </a:lnSpc>
              <a:defRPr b="1"/>
            </a:lvl1pPr>
          </a:lstStyle>
          <a:p>
            <a:pPr lvl="0"/>
            <a:r>
              <a:rPr lang="en-US"/>
              <a:t>Put the header here</a:t>
            </a:r>
          </a:p>
        </p:txBody>
      </p:sp>
      <p:sp>
        <p:nvSpPr>
          <p:cNvPr id="10" name="Text Placeholder 5">
            <a:extLst>
              <a:ext uri="{FF2B5EF4-FFF2-40B4-BE49-F238E27FC236}">
                <a16:creationId xmlns:a16="http://schemas.microsoft.com/office/drawing/2014/main" id="{CCF4949C-0573-654E-8E4A-1524918D8E6F}"/>
              </a:ext>
            </a:extLst>
          </p:cNvPr>
          <p:cNvSpPr>
            <a:spLocks noGrp="1"/>
          </p:cNvSpPr>
          <p:nvPr>
            <p:ph type="body" sz="quarter" idx="15" hasCustomPrompt="1"/>
          </p:nvPr>
        </p:nvSpPr>
        <p:spPr>
          <a:xfrm>
            <a:off x="9190264" y="6858002"/>
            <a:ext cx="6049964" cy="3455986"/>
          </a:xfrm>
        </p:spPr>
        <p:txBody>
          <a:bodyPr lIns="180000">
            <a:noAutofit/>
          </a:bodyPr>
          <a:lstStyle>
            <a:lvl1pPr>
              <a:lnSpc>
                <a:spcPct val="100000"/>
              </a:lnSpc>
              <a:spcBef>
                <a:spcPts val="0"/>
              </a:spcBef>
              <a:defRPr sz="3200"/>
            </a:lvl1pPr>
          </a:lstStyle>
          <a:p>
            <a:pPr lvl="0"/>
            <a:r>
              <a:rPr lang="en-GB" noProof="0"/>
              <a:t>Put the paragraph text here, keep it regular 32 </a:t>
            </a:r>
            <a:r>
              <a:rPr lang="en-GB" noProof="0" err="1"/>
              <a:t>pt</a:t>
            </a:r>
            <a:endParaRPr lang="en-GB" noProof="0"/>
          </a:p>
        </p:txBody>
      </p:sp>
      <p:sp>
        <p:nvSpPr>
          <p:cNvPr id="17" name="Text Placeholder 5">
            <a:extLst>
              <a:ext uri="{FF2B5EF4-FFF2-40B4-BE49-F238E27FC236}">
                <a16:creationId xmlns:a16="http://schemas.microsoft.com/office/drawing/2014/main" id="{3722BC19-3242-894A-A464-ACE95D8645BB}"/>
              </a:ext>
            </a:extLst>
          </p:cNvPr>
          <p:cNvSpPr>
            <a:spLocks noGrp="1"/>
          </p:cNvSpPr>
          <p:nvPr>
            <p:ph type="body" sz="quarter" idx="19" hasCustomPrompt="1"/>
          </p:nvPr>
        </p:nvSpPr>
        <p:spPr>
          <a:xfrm>
            <a:off x="1655888" y="5742878"/>
            <a:ext cx="6049963" cy="863104"/>
          </a:xfrm>
          <a:solidFill>
            <a:schemeClr val="bg1">
              <a:lumMod val="95000"/>
            </a:schemeClr>
          </a:solidFill>
        </p:spPr>
        <p:txBody>
          <a:bodyPr lIns="180000" anchor="ctr">
            <a:noAutofit/>
          </a:bodyPr>
          <a:lstStyle>
            <a:lvl1pPr>
              <a:lnSpc>
                <a:spcPct val="100000"/>
              </a:lnSpc>
              <a:defRPr b="1"/>
            </a:lvl1pPr>
          </a:lstStyle>
          <a:p>
            <a:pPr lvl="0"/>
            <a:r>
              <a:rPr lang="en-US"/>
              <a:t>Put the header here</a:t>
            </a:r>
          </a:p>
        </p:txBody>
      </p:sp>
      <p:sp>
        <p:nvSpPr>
          <p:cNvPr id="18" name="Text Placeholder 5">
            <a:extLst>
              <a:ext uri="{FF2B5EF4-FFF2-40B4-BE49-F238E27FC236}">
                <a16:creationId xmlns:a16="http://schemas.microsoft.com/office/drawing/2014/main" id="{07C8CE66-24CD-E646-98E5-48BB7686BEDA}"/>
              </a:ext>
            </a:extLst>
          </p:cNvPr>
          <p:cNvSpPr>
            <a:spLocks noGrp="1"/>
          </p:cNvSpPr>
          <p:nvPr>
            <p:ph type="body" sz="quarter" idx="20" hasCustomPrompt="1"/>
          </p:nvPr>
        </p:nvSpPr>
        <p:spPr>
          <a:xfrm>
            <a:off x="1679927" y="6858002"/>
            <a:ext cx="6049964" cy="3455986"/>
          </a:xfrm>
        </p:spPr>
        <p:txBody>
          <a:bodyPr lIns="180000">
            <a:noAutofit/>
          </a:bodyPr>
          <a:lstStyle>
            <a:lvl1pPr>
              <a:lnSpc>
                <a:spcPct val="100000"/>
              </a:lnSpc>
              <a:spcBef>
                <a:spcPts val="0"/>
              </a:spcBef>
              <a:defRPr sz="3200"/>
            </a:lvl1pPr>
          </a:lstStyle>
          <a:p>
            <a:pPr lvl="0"/>
            <a:r>
              <a:rPr lang="en-GB" noProof="0"/>
              <a:t>Put the paragraph text here, keep it regular 32 </a:t>
            </a:r>
            <a:r>
              <a:rPr lang="en-GB" noProof="0" err="1"/>
              <a:t>pt</a:t>
            </a:r>
            <a:endParaRPr lang="en-GB" noProof="0"/>
          </a:p>
        </p:txBody>
      </p:sp>
      <p:sp>
        <p:nvSpPr>
          <p:cNvPr id="19" name="Text Placeholder 5">
            <a:extLst>
              <a:ext uri="{FF2B5EF4-FFF2-40B4-BE49-F238E27FC236}">
                <a16:creationId xmlns:a16="http://schemas.microsoft.com/office/drawing/2014/main" id="{7F8EE651-9C67-9A40-AA5C-4FDC892EECCF}"/>
              </a:ext>
            </a:extLst>
          </p:cNvPr>
          <p:cNvSpPr>
            <a:spLocks noGrp="1"/>
          </p:cNvSpPr>
          <p:nvPr>
            <p:ph type="body" sz="quarter" idx="21" hasCustomPrompt="1"/>
          </p:nvPr>
        </p:nvSpPr>
        <p:spPr>
          <a:xfrm>
            <a:off x="16627352" y="5742878"/>
            <a:ext cx="6049963" cy="863104"/>
          </a:xfrm>
          <a:solidFill>
            <a:schemeClr val="bg1">
              <a:lumMod val="95000"/>
            </a:schemeClr>
          </a:solidFill>
        </p:spPr>
        <p:txBody>
          <a:bodyPr lIns="180000" anchor="ctr">
            <a:noAutofit/>
          </a:bodyPr>
          <a:lstStyle>
            <a:lvl1pPr>
              <a:lnSpc>
                <a:spcPct val="100000"/>
              </a:lnSpc>
              <a:defRPr b="1"/>
            </a:lvl1pPr>
          </a:lstStyle>
          <a:p>
            <a:pPr lvl="0"/>
            <a:r>
              <a:rPr lang="en-US"/>
              <a:t>Put the header here</a:t>
            </a:r>
          </a:p>
        </p:txBody>
      </p:sp>
      <p:sp>
        <p:nvSpPr>
          <p:cNvPr id="20" name="Text Placeholder 5">
            <a:extLst>
              <a:ext uri="{FF2B5EF4-FFF2-40B4-BE49-F238E27FC236}">
                <a16:creationId xmlns:a16="http://schemas.microsoft.com/office/drawing/2014/main" id="{308DDE5D-AD61-324F-8D1B-396A22DC466A}"/>
              </a:ext>
            </a:extLst>
          </p:cNvPr>
          <p:cNvSpPr>
            <a:spLocks noGrp="1"/>
          </p:cNvSpPr>
          <p:nvPr>
            <p:ph type="body" sz="quarter" idx="22" hasCustomPrompt="1"/>
          </p:nvPr>
        </p:nvSpPr>
        <p:spPr>
          <a:xfrm>
            <a:off x="16651391" y="6858002"/>
            <a:ext cx="6049964" cy="3455986"/>
          </a:xfrm>
        </p:spPr>
        <p:txBody>
          <a:bodyPr lIns="180000">
            <a:noAutofit/>
          </a:bodyPr>
          <a:lstStyle>
            <a:lvl1pPr>
              <a:lnSpc>
                <a:spcPct val="100000"/>
              </a:lnSpc>
              <a:spcBef>
                <a:spcPts val="0"/>
              </a:spcBef>
              <a:defRPr sz="3200"/>
            </a:lvl1pPr>
          </a:lstStyle>
          <a:p>
            <a:pPr lvl="0"/>
            <a:r>
              <a:rPr lang="en-GB" noProof="0"/>
              <a:t>Put the paragraph text here, keep it regular 32 </a:t>
            </a:r>
            <a:r>
              <a:rPr lang="en-GB" noProof="0" err="1"/>
              <a:t>pt</a:t>
            </a:r>
            <a:endParaRPr lang="en-GB" noProof="0"/>
          </a:p>
        </p:txBody>
      </p:sp>
      <p:sp>
        <p:nvSpPr>
          <p:cNvPr id="5" name="Title 4">
            <a:extLst>
              <a:ext uri="{FF2B5EF4-FFF2-40B4-BE49-F238E27FC236}">
                <a16:creationId xmlns:a16="http://schemas.microsoft.com/office/drawing/2014/main" id="{A8507978-2D74-7F40-9482-B33692774EA2}"/>
              </a:ext>
            </a:extLst>
          </p:cNvPr>
          <p:cNvSpPr>
            <a:spLocks noGrp="1"/>
          </p:cNvSpPr>
          <p:nvPr>
            <p:ph type="title" hasCustomPrompt="1"/>
          </p:nvPr>
        </p:nvSpPr>
        <p:spPr/>
        <p:txBody>
          <a:bodyPr/>
          <a:lstStyle/>
          <a:p>
            <a:r>
              <a:rPr lang="en-GB"/>
              <a:t>Focus areas</a:t>
            </a:r>
            <a:endParaRPr lang="en-NL"/>
          </a:p>
        </p:txBody>
      </p:sp>
      <p:sp>
        <p:nvSpPr>
          <p:cNvPr id="3" name="Footer Placeholder 2">
            <a:extLst>
              <a:ext uri="{FF2B5EF4-FFF2-40B4-BE49-F238E27FC236}">
                <a16:creationId xmlns:a16="http://schemas.microsoft.com/office/drawing/2014/main" id="{94C26B9E-3413-AB4A-98DC-12221AAB0365}"/>
              </a:ext>
            </a:extLst>
          </p:cNvPr>
          <p:cNvSpPr>
            <a:spLocks noGrp="1"/>
          </p:cNvSpPr>
          <p:nvPr>
            <p:ph type="ftr" sz="quarter" idx="23"/>
          </p:nvPr>
        </p:nvSpPr>
        <p:spPr/>
        <p:txBody>
          <a:bodyPr/>
          <a:lstStyle/>
          <a:p>
            <a:endParaRPr lang="en-NL"/>
          </a:p>
        </p:txBody>
      </p:sp>
      <p:sp>
        <p:nvSpPr>
          <p:cNvPr id="13" name="TextBox 12">
            <a:extLst>
              <a:ext uri="{FF2B5EF4-FFF2-40B4-BE49-F238E27FC236}">
                <a16:creationId xmlns:a16="http://schemas.microsoft.com/office/drawing/2014/main" id="{C1C95D9D-541E-F440-9F65-0AB08894819B}"/>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1091150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ext and image on the left">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5D527F14-48A9-BB4D-8ABB-D25C9E004E4D}"/>
              </a:ext>
            </a:extLst>
          </p:cNvPr>
          <p:cNvSpPr>
            <a:spLocks noGrp="1"/>
          </p:cNvSpPr>
          <p:nvPr>
            <p:ph type="pic" sz="quarter" idx="15" hasCustomPrompt="1"/>
          </p:nvPr>
        </p:nvSpPr>
        <p:spPr>
          <a:xfrm>
            <a:off x="0" y="0"/>
            <a:ext cx="12123563" cy="1371600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Drag and drop or click the icon to add a picture</a:t>
            </a:r>
          </a:p>
        </p:txBody>
      </p:sp>
      <p:sp>
        <p:nvSpPr>
          <p:cNvPr id="11" name="Title 1">
            <a:extLst>
              <a:ext uri="{FF2B5EF4-FFF2-40B4-BE49-F238E27FC236}">
                <a16:creationId xmlns:a16="http://schemas.microsoft.com/office/drawing/2014/main" id="{126F91B4-0CEF-044B-8873-D93BD278142D}"/>
              </a:ext>
            </a:extLst>
          </p:cNvPr>
          <p:cNvSpPr>
            <a:spLocks noGrp="1"/>
          </p:cNvSpPr>
          <p:nvPr>
            <p:ph type="title" hasCustomPrompt="1"/>
          </p:nvPr>
        </p:nvSpPr>
        <p:spPr>
          <a:xfrm>
            <a:off x="13353294" y="1677601"/>
            <a:ext cx="9648914" cy="3457574"/>
          </a:xfrm>
          <a:prstGeom prst="rect">
            <a:avLst/>
          </a:prstGeom>
        </p:spPr>
        <p:txBody>
          <a:bodyPr/>
          <a:lstStyle>
            <a:lvl1pPr>
              <a:lnSpc>
                <a:spcPct val="100000"/>
              </a:lnSpc>
              <a:defRPr sz="7200"/>
            </a:lvl1pPr>
          </a:lstStyle>
          <a:p>
            <a:r>
              <a:rPr lang="en-GB" noProof="0"/>
              <a:t>Put the slide headline here, </a:t>
            </a:r>
            <a:br>
              <a:rPr lang="en-GB" noProof="0"/>
            </a:br>
            <a:r>
              <a:rPr lang="en-GB" noProof="0"/>
              <a:t>keep it bold 36 pt</a:t>
            </a:r>
          </a:p>
        </p:txBody>
      </p:sp>
      <p:sp>
        <p:nvSpPr>
          <p:cNvPr id="8" name="Text Placeholder 3">
            <a:extLst>
              <a:ext uri="{FF2B5EF4-FFF2-40B4-BE49-F238E27FC236}">
                <a16:creationId xmlns:a16="http://schemas.microsoft.com/office/drawing/2014/main" id="{B49D2ED4-85B6-784A-A881-461D6437618F}"/>
              </a:ext>
            </a:extLst>
          </p:cNvPr>
          <p:cNvSpPr>
            <a:spLocks noGrp="1"/>
          </p:cNvSpPr>
          <p:nvPr>
            <p:ph type="body" sz="quarter" idx="18" hasCustomPrompt="1"/>
          </p:nvPr>
        </p:nvSpPr>
        <p:spPr>
          <a:xfrm>
            <a:off x="13298740" y="5696427"/>
            <a:ext cx="9650876" cy="6337298"/>
          </a:xfrm>
        </p:spPr>
        <p:txBody>
          <a:bodyPr>
            <a:noAutofit/>
          </a:bodyPr>
          <a:lstStyle>
            <a:lvl1pPr>
              <a:spcBef>
                <a:spcPts val="2000"/>
              </a:spcBef>
              <a:defRPr sz="2800"/>
            </a:lvl1pPr>
          </a:lstStyle>
          <a:p>
            <a:pPr lvl="0"/>
            <a:r>
              <a:rPr lang="en-GB" noProof="0"/>
              <a:t>Put the body text or caption here,</a:t>
            </a:r>
            <a:br>
              <a:rPr lang="en-GB" noProof="0"/>
            </a:br>
            <a:r>
              <a:rPr lang="en-GB" noProof="0"/>
              <a:t>keep it regular 14 pt</a:t>
            </a:r>
          </a:p>
        </p:txBody>
      </p:sp>
    </p:spTree>
    <p:extLst>
      <p:ext uri="{BB962C8B-B14F-4D97-AF65-F5344CB8AC3E}">
        <p14:creationId xmlns:p14="http://schemas.microsoft.com/office/powerpoint/2010/main" val="3108941318"/>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Focus areas 2">
    <p:spTree>
      <p:nvGrpSpPr>
        <p:cNvPr id="1" name=""/>
        <p:cNvGrpSpPr/>
        <p:nvPr/>
      </p:nvGrpSpPr>
      <p:grpSpPr>
        <a:xfrm>
          <a:off x="0" y="0"/>
          <a:ext cx="0" cy="0"/>
          <a:chOff x="0" y="0"/>
          <a:chExt cx="0" cy="0"/>
        </a:xfrm>
      </p:grpSpPr>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9166224" y="4124207"/>
            <a:ext cx="6049963" cy="4462581"/>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6" name="Text Placeholder 5">
            <a:extLst>
              <a:ext uri="{FF2B5EF4-FFF2-40B4-BE49-F238E27FC236}">
                <a16:creationId xmlns:a16="http://schemas.microsoft.com/office/drawing/2014/main" id="{50C5C652-3240-6341-9095-4EF7D7DC26F2}"/>
              </a:ext>
            </a:extLst>
          </p:cNvPr>
          <p:cNvSpPr>
            <a:spLocks noGrp="1"/>
          </p:cNvSpPr>
          <p:nvPr>
            <p:ph type="body" sz="quarter" idx="30" hasCustomPrompt="1"/>
          </p:nvPr>
        </p:nvSpPr>
        <p:spPr>
          <a:xfrm>
            <a:off x="9166225" y="9162256"/>
            <a:ext cx="6049963" cy="2880519"/>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18" name="Picture Placeholder 2">
            <a:extLst>
              <a:ext uri="{FF2B5EF4-FFF2-40B4-BE49-F238E27FC236}">
                <a16:creationId xmlns:a16="http://schemas.microsoft.com/office/drawing/2014/main" id="{CA5C6F99-363F-0A44-B903-36748B19D967}"/>
              </a:ext>
            </a:extLst>
          </p:cNvPr>
          <p:cNvSpPr>
            <a:spLocks noGrp="1"/>
          </p:cNvSpPr>
          <p:nvPr>
            <p:ph type="pic" sz="quarter" idx="32" hasCustomPrompt="1"/>
          </p:nvPr>
        </p:nvSpPr>
        <p:spPr>
          <a:xfrm>
            <a:off x="1673111" y="4124207"/>
            <a:ext cx="6049963" cy="4462581"/>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0" name="Text Placeholder 5">
            <a:extLst>
              <a:ext uri="{FF2B5EF4-FFF2-40B4-BE49-F238E27FC236}">
                <a16:creationId xmlns:a16="http://schemas.microsoft.com/office/drawing/2014/main" id="{75455B56-07F2-2943-AFDE-22F2A9DF65C4}"/>
              </a:ext>
            </a:extLst>
          </p:cNvPr>
          <p:cNvSpPr>
            <a:spLocks noGrp="1"/>
          </p:cNvSpPr>
          <p:nvPr>
            <p:ph type="body" sz="quarter" idx="33" hasCustomPrompt="1"/>
          </p:nvPr>
        </p:nvSpPr>
        <p:spPr>
          <a:xfrm>
            <a:off x="1673112" y="9162256"/>
            <a:ext cx="6049963" cy="2880519"/>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21" name="Picture Placeholder 2">
            <a:extLst>
              <a:ext uri="{FF2B5EF4-FFF2-40B4-BE49-F238E27FC236}">
                <a16:creationId xmlns:a16="http://schemas.microsoft.com/office/drawing/2014/main" id="{2F983719-8E56-644B-87F9-AA87D0158471}"/>
              </a:ext>
            </a:extLst>
          </p:cNvPr>
          <p:cNvSpPr>
            <a:spLocks noGrp="1"/>
          </p:cNvSpPr>
          <p:nvPr>
            <p:ph type="pic" sz="quarter" idx="34" hasCustomPrompt="1"/>
          </p:nvPr>
        </p:nvSpPr>
        <p:spPr>
          <a:xfrm>
            <a:off x="16656157" y="4124207"/>
            <a:ext cx="6049963" cy="4462581"/>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2" name="Text Placeholder 5">
            <a:extLst>
              <a:ext uri="{FF2B5EF4-FFF2-40B4-BE49-F238E27FC236}">
                <a16:creationId xmlns:a16="http://schemas.microsoft.com/office/drawing/2014/main" id="{CAE497B4-C614-C44B-94BA-C3BDE7D75DEC}"/>
              </a:ext>
            </a:extLst>
          </p:cNvPr>
          <p:cNvSpPr>
            <a:spLocks noGrp="1"/>
          </p:cNvSpPr>
          <p:nvPr>
            <p:ph type="body" sz="quarter" idx="35" hasCustomPrompt="1"/>
          </p:nvPr>
        </p:nvSpPr>
        <p:spPr>
          <a:xfrm>
            <a:off x="16656158" y="9162256"/>
            <a:ext cx="6049963" cy="2880519"/>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2" name="Title 1">
            <a:extLst>
              <a:ext uri="{FF2B5EF4-FFF2-40B4-BE49-F238E27FC236}">
                <a16:creationId xmlns:a16="http://schemas.microsoft.com/office/drawing/2014/main" id="{B714AECF-762E-AF4B-AE68-4E3BB8D405CD}"/>
              </a:ext>
            </a:extLst>
          </p:cNvPr>
          <p:cNvSpPr>
            <a:spLocks noGrp="1"/>
          </p:cNvSpPr>
          <p:nvPr>
            <p:ph type="title" hasCustomPrompt="1"/>
          </p:nvPr>
        </p:nvSpPr>
        <p:spPr>
          <a:xfrm>
            <a:off x="1676293" y="1677600"/>
            <a:ext cx="21033007" cy="1724413"/>
          </a:xfrm>
        </p:spPr>
        <p:txBody>
          <a:bodyPr/>
          <a:lstStyle/>
          <a:p>
            <a:r>
              <a:rPr lang="en-GB"/>
              <a:t>Focus areas</a:t>
            </a:r>
            <a:endParaRPr lang="en-NL"/>
          </a:p>
        </p:txBody>
      </p:sp>
      <p:sp>
        <p:nvSpPr>
          <p:cNvPr id="6" name="Footer Placeholder 5">
            <a:extLst>
              <a:ext uri="{FF2B5EF4-FFF2-40B4-BE49-F238E27FC236}">
                <a16:creationId xmlns:a16="http://schemas.microsoft.com/office/drawing/2014/main" id="{905FD5AF-E14D-EF49-88A1-61AE79880A4D}"/>
              </a:ext>
            </a:extLst>
          </p:cNvPr>
          <p:cNvSpPr>
            <a:spLocks noGrp="1"/>
          </p:cNvSpPr>
          <p:nvPr>
            <p:ph type="ftr" sz="quarter" idx="36"/>
          </p:nvPr>
        </p:nvSpPr>
        <p:spPr/>
        <p:txBody>
          <a:bodyPr/>
          <a:lstStyle/>
          <a:p>
            <a:endParaRPr lang="en-NL"/>
          </a:p>
        </p:txBody>
      </p:sp>
      <p:sp>
        <p:nvSpPr>
          <p:cNvPr id="14" name="TextBox 13">
            <a:extLst>
              <a:ext uri="{FF2B5EF4-FFF2-40B4-BE49-F238E27FC236}">
                <a16:creationId xmlns:a16="http://schemas.microsoft.com/office/drawing/2014/main" id="{7DDFA0A1-FCD3-7344-8E11-BA02D0C38EE6}"/>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308417410"/>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Focus areas 3">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6F4D095-75F9-A649-B638-1297084AD7A4}"/>
              </a:ext>
            </a:extLst>
          </p:cNvPr>
          <p:cNvSpPr>
            <a:spLocks noGrp="1"/>
          </p:cNvSpPr>
          <p:nvPr>
            <p:ph type="pic" sz="quarter" idx="20" hasCustomPrompt="1"/>
          </p:nvPr>
        </p:nvSpPr>
        <p:spPr>
          <a:xfrm>
            <a:off x="3110921" y="5160730"/>
            <a:ext cx="3425835" cy="3426058"/>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3110920" y="8904152"/>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1" name="Picture Placeholder 7">
            <a:extLst>
              <a:ext uri="{FF2B5EF4-FFF2-40B4-BE49-F238E27FC236}">
                <a16:creationId xmlns:a16="http://schemas.microsoft.com/office/drawing/2014/main" id="{541447E4-2AA6-7F48-B55B-B62747E0ABD2}"/>
              </a:ext>
            </a:extLst>
          </p:cNvPr>
          <p:cNvSpPr>
            <a:spLocks noGrp="1"/>
          </p:cNvSpPr>
          <p:nvPr>
            <p:ph type="pic" sz="quarter" idx="22" hasCustomPrompt="1"/>
          </p:nvPr>
        </p:nvSpPr>
        <p:spPr>
          <a:xfrm>
            <a:off x="8045291" y="5160730"/>
            <a:ext cx="3425835" cy="3426058"/>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2" name="Text Placeholder 11">
            <a:extLst>
              <a:ext uri="{FF2B5EF4-FFF2-40B4-BE49-F238E27FC236}">
                <a16:creationId xmlns:a16="http://schemas.microsoft.com/office/drawing/2014/main" id="{2AD28FF4-13F4-2C40-9AF9-E173148BF12A}"/>
              </a:ext>
            </a:extLst>
          </p:cNvPr>
          <p:cNvSpPr>
            <a:spLocks noGrp="1"/>
          </p:cNvSpPr>
          <p:nvPr>
            <p:ph type="body" sz="quarter" idx="23" hasCustomPrompt="1"/>
          </p:nvPr>
        </p:nvSpPr>
        <p:spPr>
          <a:xfrm>
            <a:off x="8045291" y="8904152"/>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3" name="Picture Placeholder 7">
            <a:extLst>
              <a:ext uri="{FF2B5EF4-FFF2-40B4-BE49-F238E27FC236}">
                <a16:creationId xmlns:a16="http://schemas.microsoft.com/office/drawing/2014/main" id="{76549726-CD0C-C144-A1EB-76A281BC952E}"/>
              </a:ext>
            </a:extLst>
          </p:cNvPr>
          <p:cNvSpPr>
            <a:spLocks noGrp="1"/>
          </p:cNvSpPr>
          <p:nvPr>
            <p:ph type="pic" sz="quarter" idx="24" hasCustomPrompt="1"/>
          </p:nvPr>
        </p:nvSpPr>
        <p:spPr>
          <a:xfrm>
            <a:off x="12911286" y="5160730"/>
            <a:ext cx="3425835" cy="3426058"/>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4" name="Text Placeholder 11">
            <a:extLst>
              <a:ext uri="{FF2B5EF4-FFF2-40B4-BE49-F238E27FC236}">
                <a16:creationId xmlns:a16="http://schemas.microsoft.com/office/drawing/2014/main" id="{5B3AA100-6E6E-D34B-943C-1D75F59C39B5}"/>
              </a:ext>
            </a:extLst>
          </p:cNvPr>
          <p:cNvSpPr>
            <a:spLocks noGrp="1"/>
          </p:cNvSpPr>
          <p:nvPr>
            <p:ph type="body" sz="quarter" idx="25" hasCustomPrompt="1"/>
          </p:nvPr>
        </p:nvSpPr>
        <p:spPr>
          <a:xfrm>
            <a:off x="12911286" y="8904152"/>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5" name="Picture Placeholder 7">
            <a:extLst>
              <a:ext uri="{FF2B5EF4-FFF2-40B4-BE49-F238E27FC236}">
                <a16:creationId xmlns:a16="http://schemas.microsoft.com/office/drawing/2014/main" id="{DCB14019-6F34-AB4B-B98E-4393A31FE4D7}"/>
              </a:ext>
            </a:extLst>
          </p:cNvPr>
          <p:cNvSpPr>
            <a:spLocks noGrp="1"/>
          </p:cNvSpPr>
          <p:nvPr>
            <p:ph type="pic" sz="quarter" idx="26" hasCustomPrompt="1"/>
          </p:nvPr>
        </p:nvSpPr>
        <p:spPr>
          <a:xfrm>
            <a:off x="17910165" y="5160730"/>
            <a:ext cx="3425835" cy="3426058"/>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6" name="Text Placeholder 11">
            <a:extLst>
              <a:ext uri="{FF2B5EF4-FFF2-40B4-BE49-F238E27FC236}">
                <a16:creationId xmlns:a16="http://schemas.microsoft.com/office/drawing/2014/main" id="{1C762A72-2425-1F42-B142-A5C927AEEBB1}"/>
              </a:ext>
            </a:extLst>
          </p:cNvPr>
          <p:cNvSpPr>
            <a:spLocks noGrp="1"/>
          </p:cNvSpPr>
          <p:nvPr>
            <p:ph type="body" sz="quarter" idx="27" hasCustomPrompt="1"/>
          </p:nvPr>
        </p:nvSpPr>
        <p:spPr>
          <a:xfrm>
            <a:off x="17910165" y="8904152"/>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 name="Title 1">
            <a:extLst>
              <a:ext uri="{FF2B5EF4-FFF2-40B4-BE49-F238E27FC236}">
                <a16:creationId xmlns:a16="http://schemas.microsoft.com/office/drawing/2014/main" id="{A0F5E023-04B8-2F4C-ACC9-EA2D15A8206D}"/>
              </a:ext>
            </a:extLst>
          </p:cNvPr>
          <p:cNvSpPr>
            <a:spLocks noGrp="1"/>
          </p:cNvSpPr>
          <p:nvPr>
            <p:ph type="title" hasCustomPrompt="1"/>
          </p:nvPr>
        </p:nvSpPr>
        <p:spPr/>
        <p:txBody>
          <a:bodyPr/>
          <a:lstStyle/>
          <a:p>
            <a:r>
              <a:rPr lang="en-GB"/>
              <a:t>Focus areas</a:t>
            </a:r>
            <a:endParaRPr lang="en-NL"/>
          </a:p>
        </p:txBody>
      </p:sp>
      <p:sp>
        <p:nvSpPr>
          <p:cNvPr id="6" name="Footer Placeholder 5">
            <a:extLst>
              <a:ext uri="{FF2B5EF4-FFF2-40B4-BE49-F238E27FC236}">
                <a16:creationId xmlns:a16="http://schemas.microsoft.com/office/drawing/2014/main" id="{7BEF6BFC-32B9-EE4E-B0BD-51735697E79A}"/>
              </a:ext>
            </a:extLst>
          </p:cNvPr>
          <p:cNvSpPr>
            <a:spLocks noGrp="1"/>
          </p:cNvSpPr>
          <p:nvPr>
            <p:ph type="ftr" sz="quarter" idx="28"/>
          </p:nvPr>
        </p:nvSpPr>
        <p:spPr/>
        <p:txBody>
          <a:bodyPr/>
          <a:lstStyle/>
          <a:p>
            <a:endParaRPr lang="en-NL"/>
          </a:p>
        </p:txBody>
      </p:sp>
      <p:sp>
        <p:nvSpPr>
          <p:cNvPr id="17" name="TextBox 16">
            <a:extLst>
              <a:ext uri="{FF2B5EF4-FFF2-40B4-BE49-F238E27FC236}">
                <a16:creationId xmlns:a16="http://schemas.microsoft.com/office/drawing/2014/main" id="{D03693B7-36DD-2044-BD6D-C7E743BAFEC9}"/>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4102898694"/>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Organisational chart">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10677922" y="1682204"/>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2" name="Title 1">
            <a:extLst>
              <a:ext uri="{FF2B5EF4-FFF2-40B4-BE49-F238E27FC236}">
                <a16:creationId xmlns:a16="http://schemas.microsoft.com/office/drawing/2014/main" id="{43DA5788-F32B-A54D-BD65-3FF50B9E8946}"/>
              </a:ext>
            </a:extLst>
          </p:cNvPr>
          <p:cNvSpPr>
            <a:spLocks noGrp="1"/>
          </p:cNvSpPr>
          <p:nvPr>
            <p:ph type="title" hasCustomPrompt="1"/>
          </p:nvPr>
        </p:nvSpPr>
        <p:spPr>
          <a:xfrm>
            <a:off x="1676294" y="1677600"/>
            <a:ext cx="7489932" cy="3011659"/>
          </a:xfrm>
        </p:spPr>
        <p:txBody>
          <a:bodyPr/>
          <a:lstStyle>
            <a:lvl1pPr>
              <a:defRPr sz="6000"/>
            </a:lvl1pPr>
          </a:lstStyle>
          <a:p>
            <a:r>
              <a:rPr lang="en-GB"/>
              <a:t>Department name</a:t>
            </a:r>
            <a:endParaRPr lang="en-NL"/>
          </a:p>
        </p:txBody>
      </p:sp>
      <p:sp>
        <p:nvSpPr>
          <p:cNvPr id="37" name="Text Placeholder 11">
            <a:extLst>
              <a:ext uri="{FF2B5EF4-FFF2-40B4-BE49-F238E27FC236}">
                <a16:creationId xmlns:a16="http://schemas.microsoft.com/office/drawing/2014/main" id="{D20C3156-2AD2-124D-9E3C-76D76447737F}"/>
              </a:ext>
            </a:extLst>
          </p:cNvPr>
          <p:cNvSpPr>
            <a:spLocks noGrp="1"/>
          </p:cNvSpPr>
          <p:nvPr>
            <p:ph type="body" sz="quarter" idx="23" hasCustomPrompt="1"/>
          </p:nvPr>
        </p:nvSpPr>
        <p:spPr>
          <a:xfrm>
            <a:off x="15935622" y="856114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8" name="Text Placeholder 11">
            <a:extLst>
              <a:ext uri="{FF2B5EF4-FFF2-40B4-BE49-F238E27FC236}">
                <a16:creationId xmlns:a16="http://schemas.microsoft.com/office/drawing/2014/main" id="{52FB8893-C886-B348-A8E3-2932C39A6C17}"/>
              </a:ext>
            </a:extLst>
          </p:cNvPr>
          <p:cNvSpPr>
            <a:spLocks noGrp="1"/>
          </p:cNvSpPr>
          <p:nvPr>
            <p:ph type="body" sz="quarter" idx="24" hasCustomPrompt="1"/>
          </p:nvPr>
        </p:nvSpPr>
        <p:spPr>
          <a:xfrm>
            <a:off x="12447959" y="856114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9" name="Text Placeholder 11">
            <a:extLst>
              <a:ext uri="{FF2B5EF4-FFF2-40B4-BE49-F238E27FC236}">
                <a16:creationId xmlns:a16="http://schemas.microsoft.com/office/drawing/2014/main" id="{4E2FB335-2D5A-A743-81A7-7FAB0B1F748A}"/>
              </a:ext>
            </a:extLst>
          </p:cNvPr>
          <p:cNvSpPr>
            <a:spLocks noGrp="1"/>
          </p:cNvSpPr>
          <p:nvPr>
            <p:ph type="body" sz="quarter" idx="25" hasCustomPrompt="1"/>
          </p:nvPr>
        </p:nvSpPr>
        <p:spPr>
          <a:xfrm>
            <a:off x="19423285" y="856114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0" name="Text Placeholder 11">
            <a:extLst>
              <a:ext uri="{FF2B5EF4-FFF2-40B4-BE49-F238E27FC236}">
                <a16:creationId xmlns:a16="http://schemas.microsoft.com/office/drawing/2014/main" id="{FDBB4D3B-21DA-AA48-875F-039F1DA49F4D}"/>
              </a:ext>
            </a:extLst>
          </p:cNvPr>
          <p:cNvSpPr>
            <a:spLocks noGrp="1"/>
          </p:cNvSpPr>
          <p:nvPr>
            <p:ph type="body" sz="quarter" idx="26" hasCustomPrompt="1"/>
          </p:nvPr>
        </p:nvSpPr>
        <p:spPr>
          <a:xfrm>
            <a:off x="8950201" y="856114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1" name="Text Placeholder 11">
            <a:extLst>
              <a:ext uri="{FF2B5EF4-FFF2-40B4-BE49-F238E27FC236}">
                <a16:creationId xmlns:a16="http://schemas.microsoft.com/office/drawing/2014/main" id="{04958B99-BADB-694D-857D-679CEF331FE2}"/>
              </a:ext>
            </a:extLst>
          </p:cNvPr>
          <p:cNvSpPr>
            <a:spLocks noGrp="1"/>
          </p:cNvSpPr>
          <p:nvPr>
            <p:ph type="body" sz="quarter" idx="27" hasCustomPrompt="1"/>
          </p:nvPr>
        </p:nvSpPr>
        <p:spPr>
          <a:xfrm>
            <a:off x="5462538" y="856114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2" name="Text Placeholder 11">
            <a:extLst>
              <a:ext uri="{FF2B5EF4-FFF2-40B4-BE49-F238E27FC236}">
                <a16:creationId xmlns:a16="http://schemas.microsoft.com/office/drawing/2014/main" id="{867B033E-55B1-E64C-AB2E-DEA20C7A2523}"/>
              </a:ext>
            </a:extLst>
          </p:cNvPr>
          <p:cNvSpPr>
            <a:spLocks noGrp="1"/>
          </p:cNvSpPr>
          <p:nvPr>
            <p:ph type="body" sz="quarter" idx="28" hasCustomPrompt="1"/>
          </p:nvPr>
        </p:nvSpPr>
        <p:spPr>
          <a:xfrm>
            <a:off x="1980134" y="856114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3" name="Text Placeholder 11">
            <a:extLst>
              <a:ext uri="{FF2B5EF4-FFF2-40B4-BE49-F238E27FC236}">
                <a16:creationId xmlns:a16="http://schemas.microsoft.com/office/drawing/2014/main" id="{1342689F-D009-8044-A2FD-60C69DAC4509}"/>
              </a:ext>
            </a:extLst>
          </p:cNvPr>
          <p:cNvSpPr>
            <a:spLocks noGrp="1"/>
          </p:cNvSpPr>
          <p:nvPr>
            <p:ph type="body" sz="quarter" idx="29" hasCustomPrompt="1"/>
          </p:nvPr>
        </p:nvSpPr>
        <p:spPr>
          <a:xfrm>
            <a:off x="3698342" y="5113633"/>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4" name="Text Placeholder 11">
            <a:extLst>
              <a:ext uri="{FF2B5EF4-FFF2-40B4-BE49-F238E27FC236}">
                <a16:creationId xmlns:a16="http://schemas.microsoft.com/office/drawing/2014/main" id="{67DEF29E-90A5-BC45-8BB6-53DBC7210B2A}"/>
              </a:ext>
            </a:extLst>
          </p:cNvPr>
          <p:cNvSpPr>
            <a:spLocks noGrp="1"/>
          </p:cNvSpPr>
          <p:nvPr>
            <p:ph type="body" sz="quarter" idx="30" hasCustomPrompt="1"/>
          </p:nvPr>
        </p:nvSpPr>
        <p:spPr>
          <a:xfrm>
            <a:off x="10677921" y="512818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5" name="Text Placeholder 11">
            <a:extLst>
              <a:ext uri="{FF2B5EF4-FFF2-40B4-BE49-F238E27FC236}">
                <a16:creationId xmlns:a16="http://schemas.microsoft.com/office/drawing/2014/main" id="{DD2C9CC6-3595-BA4C-9ADE-B391018F28A0}"/>
              </a:ext>
            </a:extLst>
          </p:cNvPr>
          <p:cNvSpPr>
            <a:spLocks noGrp="1"/>
          </p:cNvSpPr>
          <p:nvPr>
            <p:ph type="body" sz="quarter" idx="31" hasCustomPrompt="1"/>
          </p:nvPr>
        </p:nvSpPr>
        <p:spPr>
          <a:xfrm>
            <a:off x="17659090" y="5128181"/>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6" name="Text Placeholder 11">
            <a:extLst>
              <a:ext uri="{FF2B5EF4-FFF2-40B4-BE49-F238E27FC236}">
                <a16:creationId xmlns:a16="http://schemas.microsoft.com/office/drawing/2014/main" id="{9A38C78E-0083-574C-BBD2-F191805B428A}"/>
              </a:ext>
            </a:extLst>
          </p:cNvPr>
          <p:cNvSpPr>
            <a:spLocks noGrp="1"/>
          </p:cNvSpPr>
          <p:nvPr>
            <p:ph type="body" sz="quarter" idx="32" hasCustomPrompt="1"/>
          </p:nvPr>
        </p:nvSpPr>
        <p:spPr>
          <a:xfrm>
            <a:off x="1980134" y="10742265"/>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8" name="Text Placeholder 11">
            <a:extLst>
              <a:ext uri="{FF2B5EF4-FFF2-40B4-BE49-F238E27FC236}">
                <a16:creationId xmlns:a16="http://schemas.microsoft.com/office/drawing/2014/main" id="{0EC1A24F-21AB-AB45-9A34-7DD472E3106A}"/>
              </a:ext>
            </a:extLst>
          </p:cNvPr>
          <p:cNvSpPr>
            <a:spLocks noGrp="1"/>
          </p:cNvSpPr>
          <p:nvPr>
            <p:ph type="body" sz="quarter" idx="33" hasCustomPrompt="1"/>
          </p:nvPr>
        </p:nvSpPr>
        <p:spPr>
          <a:xfrm>
            <a:off x="8950201" y="10742265"/>
            <a:ext cx="3024981" cy="1728787"/>
          </a:xfrm>
          <a:solidFill>
            <a:schemeClr val="bg1">
              <a:lumMod val="95000"/>
            </a:schemeClr>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49" name="TextBox 48">
            <a:extLst>
              <a:ext uri="{FF2B5EF4-FFF2-40B4-BE49-F238E27FC236}">
                <a16:creationId xmlns:a16="http://schemas.microsoft.com/office/drawing/2014/main" id="{0D0F6677-E2D7-FF4E-B4A9-F9CEED474E8C}"/>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963140720"/>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Organisational chart with pictur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6F4D095-75F9-A649-B638-1297084AD7A4}"/>
              </a:ext>
            </a:extLst>
          </p:cNvPr>
          <p:cNvSpPr>
            <a:spLocks noGrp="1"/>
          </p:cNvSpPr>
          <p:nvPr>
            <p:ph type="pic" sz="quarter" idx="20" hasCustomPrompt="1"/>
          </p:nvPr>
        </p:nvSpPr>
        <p:spPr>
          <a:xfrm>
            <a:off x="10841206" y="1719944"/>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9670603" y="4512108"/>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2" name="Title 1">
            <a:extLst>
              <a:ext uri="{FF2B5EF4-FFF2-40B4-BE49-F238E27FC236}">
                <a16:creationId xmlns:a16="http://schemas.microsoft.com/office/drawing/2014/main" id="{43DA5788-F32B-A54D-BD65-3FF50B9E8946}"/>
              </a:ext>
            </a:extLst>
          </p:cNvPr>
          <p:cNvSpPr>
            <a:spLocks noGrp="1"/>
          </p:cNvSpPr>
          <p:nvPr>
            <p:ph type="title" hasCustomPrompt="1"/>
          </p:nvPr>
        </p:nvSpPr>
        <p:spPr>
          <a:xfrm>
            <a:off x="1676294" y="1677600"/>
            <a:ext cx="7489932" cy="3011659"/>
          </a:xfrm>
        </p:spPr>
        <p:txBody>
          <a:bodyPr/>
          <a:lstStyle>
            <a:lvl1pPr>
              <a:defRPr sz="6000"/>
            </a:lvl1pPr>
          </a:lstStyle>
          <a:p>
            <a:r>
              <a:rPr lang="en-GB"/>
              <a:t>Department name</a:t>
            </a:r>
            <a:endParaRPr lang="en-NL"/>
          </a:p>
        </p:txBody>
      </p:sp>
      <p:sp>
        <p:nvSpPr>
          <p:cNvPr id="31" name="Text Placeholder 11">
            <a:extLst>
              <a:ext uri="{FF2B5EF4-FFF2-40B4-BE49-F238E27FC236}">
                <a16:creationId xmlns:a16="http://schemas.microsoft.com/office/drawing/2014/main" id="{75F485D7-B4EF-5A4B-879E-86975974580C}"/>
              </a:ext>
            </a:extLst>
          </p:cNvPr>
          <p:cNvSpPr>
            <a:spLocks noGrp="1"/>
          </p:cNvSpPr>
          <p:nvPr>
            <p:ph type="body" sz="quarter" idx="30" hasCustomPrompt="1"/>
          </p:nvPr>
        </p:nvSpPr>
        <p:spPr>
          <a:xfrm>
            <a:off x="7114428" y="8596285"/>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2" name="Text Placeholder 11">
            <a:extLst>
              <a:ext uri="{FF2B5EF4-FFF2-40B4-BE49-F238E27FC236}">
                <a16:creationId xmlns:a16="http://schemas.microsoft.com/office/drawing/2014/main" id="{8EE80A14-44BF-1D48-8C22-8748FD98477A}"/>
              </a:ext>
            </a:extLst>
          </p:cNvPr>
          <p:cNvSpPr>
            <a:spLocks noGrp="1"/>
          </p:cNvSpPr>
          <p:nvPr>
            <p:ph type="body" sz="quarter" idx="31" hasCustomPrompt="1"/>
          </p:nvPr>
        </p:nvSpPr>
        <p:spPr>
          <a:xfrm>
            <a:off x="12197877" y="8596285"/>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3" name="Text Placeholder 11">
            <a:extLst>
              <a:ext uri="{FF2B5EF4-FFF2-40B4-BE49-F238E27FC236}">
                <a16:creationId xmlns:a16="http://schemas.microsoft.com/office/drawing/2014/main" id="{4122F631-7AEE-E940-A99A-F863EBC69A3E}"/>
              </a:ext>
            </a:extLst>
          </p:cNvPr>
          <p:cNvSpPr>
            <a:spLocks noGrp="1"/>
          </p:cNvSpPr>
          <p:nvPr>
            <p:ph type="body" sz="quarter" idx="32" hasCustomPrompt="1"/>
          </p:nvPr>
        </p:nvSpPr>
        <p:spPr>
          <a:xfrm>
            <a:off x="17276564" y="8596285"/>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4" name="Text Placeholder 11">
            <a:extLst>
              <a:ext uri="{FF2B5EF4-FFF2-40B4-BE49-F238E27FC236}">
                <a16:creationId xmlns:a16="http://schemas.microsoft.com/office/drawing/2014/main" id="{DEF7042E-C2C0-904C-A1CD-FA245CD87451}"/>
              </a:ext>
            </a:extLst>
          </p:cNvPr>
          <p:cNvSpPr>
            <a:spLocks noGrp="1"/>
          </p:cNvSpPr>
          <p:nvPr>
            <p:ph type="body" sz="quarter" idx="33" hasCustomPrompt="1"/>
          </p:nvPr>
        </p:nvSpPr>
        <p:spPr>
          <a:xfrm>
            <a:off x="2059333" y="8596285"/>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6" name="Text Placeholder 11">
            <a:extLst>
              <a:ext uri="{FF2B5EF4-FFF2-40B4-BE49-F238E27FC236}">
                <a16:creationId xmlns:a16="http://schemas.microsoft.com/office/drawing/2014/main" id="{BF736EFA-67F1-B044-A2C3-78E7C51705B6}"/>
              </a:ext>
            </a:extLst>
          </p:cNvPr>
          <p:cNvSpPr>
            <a:spLocks noGrp="1"/>
          </p:cNvSpPr>
          <p:nvPr>
            <p:ph type="body" sz="quarter" idx="35" hasCustomPrompt="1"/>
          </p:nvPr>
        </p:nvSpPr>
        <p:spPr>
          <a:xfrm>
            <a:off x="14755168" y="4523153"/>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18" name="Picture Placeholder 7">
            <a:extLst>
              <a:ext uri="{FF2B5EF4-FFF2-40B4-BE49-F238E27FC236}">
                <a16:creationId xmlns:a16="http://schemas.microsoft.com/office/drawing/2014/main" id="{E32092D4-F5E4-9948-BB3B-B209229D6C06}"/>
              </a:ext>
            </a:extLst>
          </p:cNvPr>
          <p:cNvSpPr>
            <a:spLocks noGrp="1"/>
          </p:cNvSpPr>
          <p:nvPr>
            <p:ph type="pic" sz="quarter" idx="36" hasCustomPrompt="1"/>
          </p:nvPr>
        </p:nvSpPr>
        <p:spPr>
          <a:xfrm>
            <a:off x="15943082" y="1719944"/>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0" name="Picture Placeholder 7">
            <a:extLst>
              <a:ext uri="{FF2B5EF4-FFF2-40B4-BE49-F238E27FC236}">
                <a16:creationId xmlns:a16="http://schemas.microsoft.com/office/drawing/2014/main" id="{9642D2C8-E8D9-D24B-8B56-E869E37E5558}"/>
              </a:ext>
            </a:extLst>
          </p:cNvPr>
          <p:cNvSpPr>
            <a:spLocks noGrp="1"/>
          </p:cNvSpPr>
          <p:nvPr>
            <p:ph type="pic" sz="quarter" idx="37" hasCustomPrompt="1"/>
          </p:nvPr>
        </p:nvSpPr>
        <p:spPr>
          <a:xfrm>
            <a:off x="3283935" y="5777880"/>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1" name="Picture Placeholder 7">
            <a:extLst>
              <a:ext uri="{FF2B5EF4-FFF2-40B4-BE49-F238E27FC236}">
                <a16:creationId xmlns:a16="http://schemas.microsoft.com/office/drawing/2014/main" id="{CDF87832-9FDB-3F47-97C5-15DEFCD1488C}"/>
              </a:ext>
            </a:extLst>
          </p:cNvPr>
          <p:cNvSpPr>
            <a:spLocks noGrp="1"/>
          </p:cNvSpPr>
          <p:nvPr>
            <p:ph type="pic" sz="quarter" idx="38" hasCustomPrompt="1"/>
          </p:nvPr>
        </p:nvSpPr>
        <p:spPr>
          <a:xfrm>
            <a:off x="8394041" y="5777880"/>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2" name="Picture Placeholder 7">
            <a:extLst>
              <a:ext uri="{FF2B5EF4-FFF2-40B4-BE49-F238E27FC236}">
                <a16:creationId xmlns:a16="http://schemas.microsoft.com/office/drawing/2014/main" id="{9F605B20-5BFC-D34B-AC34-62C629AE60C8}"/>
              </a:ext>
            </a:extLst>
          </p:cNvPr>
          <p:cNvSpPr>
            <a:spLocks noGrp="1"/>
          </p:cNvSpPr>
          <p:nvPr>
            <p:ph type="pic" sz="quarter" idx="39" hasCustomPrompt="1"/>
          </p:nvPr>
        </p:nvSpPr>
        <p:spPr>
          <a:xfrm>
            <a:off x="13459168" y="5777880"/>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3" name="Picture Placeholder 7">
            <a:extLst>
              <a:ext uri="{FF2B5EF4-FFF2-40B4-BE49-F238E27FC236}">
                <a16:creationId xmlns:a16="http://schemas.microsoft.com/office/drawing/2014/main" id="{CB528120-A57D-C04A-A5CE-A13C8EDF86ED}"/>
              </a:ext>
            </a:extLst>
          </p:cNvPr>
          <p:cNvSpPr>
            <a:spLocks noGrp="1"/>
          </p:cNvSpPr>
          <p:nvPr>
            <p:ph type="pic" sz="quarter" idx="40" hasCustomPrompt="1"/>
          </p:nvPr>
        </p:nvSpPr>
        <p:spPr>
          <a:xfrm>
            <a:off x="18569274" y="5777880"/>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4" name="Text Placeholder 11">
            <a:extLst>
              <a:ext uri="{FF2B5EF4-FFF2-40B4-BE49-F238E27FC236}">
                <a16:creationId xmlns:a16="http://schemas.microsoft.com/office/drawing/2014/main" id="{6BDE82E8-4C03-4846-972E-989D2C69E3BD}"/>
              </a:ext>
            </a:extLst>
          </p:cNvPr>
          <p:cNvSpPr>
            <a:spLocks noGrp="1"/>
          </p:cNvSpPr>
          <p:nvPr>
            <p:ph type="body" sz="quarter" idx="41" hasCustomPrompt="1"/>
          </p:nvPr>
        </p:nvSpPr>
        <p:spPr>
          <a:xfrm>
            <a:off x="2059333" y="12248703"/>
            <a:ext cx="5041205"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25" name="Picture Placeholder 7">
            <a:extLst>
              <a:ext uri="{FF2B5EF4-FFF2-40B4-BE49-F238E27FC236}">
                <a16:creationId xmlns:a16="http://schemas.microsoft.com/office/drawing/2014/main" id="{83187330-3EBE-934C-B545-3351D604B7B9}"/>
              </a:ext>
            </a:extLst>
          </p:cNvPr>
          <p:cNvSpPr>
            <a:spLocks noGrp="1"/>
          </p:cNvSpPr>
          <p:nvPr>
            <p:ph type="pic" sz="quarter" idx="42" hasCustomPrompt="1"/>
          </p:nvPr>
        </p:nvSpPr>
        <p:spPr>
          <a:xfrm>
            <a:off x="3283935" y="9430298"/>
            <a:ext cx="2592000" cy="2592000"/>
          </a:xfrm>
          <a:prstGeom prst="ellipse">
            <a:avLst/>
          </a:prstGeom>
          <a:solidFill>
            <a:schemeClr val="bg1">
              <a:lumMod val="95000"/>
            </a:schemeClr>
          </a:solidFill>
        </p:spPr>
        <p:txBody>
          <a:bodyPr anchor="ct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6" name="TextBox 25">
            <a:extLst>
              <a:ext uri="{FF2B5EF4-FFF2-40B4-BE49-F238E27FC236}">
                <a16:creationId xmlns:a16="http://schemas.microsoft.com/office/drawing/2014/main" id="{550D2F5E-666A-C14D-8B7B-3A62CE2C1C05}"/>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363050480"/>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Full picture">
    <p:bg>
      <p:bgPr>
        <a:solidFill>
          <a:schemeClr val="bg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73BADB48-5F7B-4C4D-BDD5-124AFC5BC91E}"/>
              </a:ext>
            </a:extLst>
          </p:cNvPr>
          <p:cNvSpPr txBox="1"/>
          <p:nvPr userDrawn="1"/>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smtClean="0">
                <a:latin typeface="Noto IKEA Latin" panose="020B0502040504020204" pitchFamily="34" charset="0"/>
              </a:rPr>
              <a:pPr algn="r"/>
              <a:t>‹#›</a:t>
            </a:fld>
            <a:endParaRPr lang="en-GB" sz="2000">
              <a:latin typeface="Noto IKEA Latin" panose="020B0502040504020204" pitchFamily="34" charset="0"/>
            </a:endParaRPr>
          </a:p>
        </p:txBody>
      </p:sp>
      <p:sp>
        <p:nvSpPr>
          <p:cNvPr id="7" name="Picture Placeholder 10">
            <a:extLst>
              <a:ext uri="{FF2B5EF4-FFF2-40B4-BE49-F238E27FC236}">
                <a16:creationId xmlns:a16="http://schemas.microsoft.com/office/drawing/2014/main" id="{83374E3F-FD44-FF48-B59B-E0793285F562}"/>
              </a:ext>
            </a:extLst>
          </p:cNvPr>
          <p:cNvSpPr>
            <a:spLocks noGrp="1"/>
          </p:cNvSpPr>
          <p:nvPr>
            <p:ph type="pic" sz="quarter" idx="14" hasCustomPrompt="1"/>
          </p:nvPr>
        </p:nvSpPr>
        <p:spPr>
          <a:xfrm>
            <a:off x="491206" y="486000"/>
            <a:ext cx="23400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picture into this frame</a:t>
            </a:r>
          </a:p>
        </p:txBody>
      </p:sp>
      <p:sp>
        <p:nvSpPr>
          <p:cNvPr id="4" name="TextBox 3">
            <a:extLst>
              <a:ext uri="{FF2B5EF4-FFF2-40B4-BE49-F238E27FC236}">
                <a16:creationId xmlns:a16="http://schemas.microsoft.com/office/drawing/2014/main" id="{A28FA5BF-CC16-F74C-B2AD-7675C1B452C4}"/>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227916747"/>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pcitures">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7573FD41-AC43-F04C-8700-DDD5AFA33E14}"/>
              </a:ext>
            </a:extLst>
          </p:cNvPr>
          <p:cNvSpPr>
            <a:spLocks noGrp="1"/>
          </p:cNvSpPr>
          <p:nvPr>
            <p:ph type="pic" sz="quarter" idx="14" hasCustomPrompt="1"/>
          </p:nvPr>
        </p:nvSpPr>
        <p:spPr>
          <a:xfrm>
            <a:off x="491207" y="486000"/>
            <a:ext cx="11483976" cy="9827988"/>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0" name="Picture Placeholder 10">
            <a:extLst>
              <a:ext uri="{FF2B5EF4-FFF2-40B4-BE49-F238E27FC236}">
                <a16:creationId xmlns:a16="http://schemas.microsoft.com/office/drawing/2014/main" id="{250173C0-66DE-2B44-9C5C-228A0DC74671}"/>
              </a:ext>
            </a:extLst>
          </p:cNvPr>
          <p:cNvSpPr>
            <a:spLocks noGrp="1"/>
          </p:cNvSpPr>
          <p:nvPr>
            <p:ph type="pic" sz="quarter" idx="18" hasCustomPrompt="1"/>
          </p:nvPr>
        </p:nvSpPr>
        <p:spPr>
          <a:xfrm>
            <a:off x="12407230" y="486000"/>
            <a:ext cx="11483976" cy="9827988"/>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1" name="Text Placeholder 5">
            <a:extLst>
              <a:ext uri="{FF2B5EF4-FFF2-40B4-BE49-F238E27FC236}">
                <a16:creationId xmlns:a16="http://schemas.microsoft.com/office/drawing/2014/main" id="{32E65FF3-CD8C-8D42-A347-F026094D4707}"/>
              </a:ext>
            </a:extLst>
          </p:cNvPr>
          <p:cNvSpPr>
            <a:spLocks noGrp="1"/>
          </p:cNvSpPr>
          <p:nvPr>
            <p:ph type="body" sz="quarter" idx="33" hasCustomPrompt="1"/>
          </p:nvPr>
        </p:nvSpPr>
        <p:spPr>
          <a:xfrm>
            <a:off x="486322" y="10602416"/>
            <a:ext cx="8679904" cy="1440359"/>
          </a:xfrm>
        </p:spPr>
        <p:txBody>
          <a:bodyPr>
            <a:noAutofit/>
          </a:bodyPr>
          <a:lstStyle>
            <a:lvl1pPr>
              <a:spcBef>
                <a:spcPts val="0"/>
              </a:spcBef>
              <a:defRPr sz="3200"/>
            </a:lvl1pPr>
          </a:lstStyle>
          <a:p>
            <a:pPr lvl="0"/>
            <a:r>
              <a:rPr lang="en-GB" noProof="0"/>
              <a:t>Put the description text here, keep it regular 32 </a:t>
            </a:r>
            <a:r>
              <a:rPr lang="en-GB" noProof="0" err="1"/>
              <a:t>pt</a:t>
            </a:r>
            <a:endParaRPr lang="en-GB" noProof="0"/>
          </a:p>
        </p:txBody>
      </p:sp>
      <p:sp>
        <p:nvSpPr>
          <p:cNvPr id="12" name="Text Placeholder 5">
            <a:extLst>
              <a:ext uri="{FF2B5EF4-FFF2-40B4-BE49-F238E27FC236}">
                <a16:creationId xmlns:a16="http://schemas.microsoft.com/office/drawing/2014/main" id="{7A080EE2-1AD5-5F46-8A70-65AD78446B90}"/>
              </a:ext>
            </a:extLst>
          </p:cNvPr>
          <p:cNvSpPr>
            <a:spLocks noGrp="1"/>
          </p:cNvSpPr>
          <p:nvPr>
            <p:ph type="body" sz="quarter" idx="34" hasCustomPrompt="1"/>
          </p:nvPr>
        </p:nvSpPr>
        <p:spPr>
          <a:xfrm>
            <a:off x="12407231" y="10602416"/>
            <a:ext cx="8928769" cy="1440359"/>
          </a:xfrm>
        </p:spPr>
        <p:txBody>
          <a:bodyPr>
            <a:noAutofit/>
          </a:bodyPr>
          <a:lstStyle>
            <a:lvl1pPr>
              <a:spcBef>
                <a:spcPts val="0"/>
              </a:spcBef>
              <a:defRPr sz="3200"/>
            </a:lvl1pPr>
          </a:lstStyle>
          <a:p>
            <a:pPr lvl="0"/>
            <a:r>
              <a:rPr lang="en-GB" noProof="0"/>
              <a:t>Put the </a:t>
            </a:r>
            <a:r>
              <a:rPr lang="en-GB" noProof="0" err="1"/>
              <a:t>desccription</a:t>
            </a:r>
            <a:r>
              <a:rPr lang="en-GB" noProof="0"/>
              <a:t> text here, keep it regular 32 </a:t>
            </a:r>
            <a:r>
              <a:rPr lang="en-GB" noProof="0" err="1"/>
              <a:t>pt</a:t>
            </a:r>
            <a:endParaRPr lang="en-GB" noProof="0"/>
          </a:p>
        </p:txBody>
      </p:sp>
      <p:sp>
        <p:nvSpPr>
          <p:cNvPr id="13" name="TextBox 12">
            <a:extLst>
              <a:ext uri="{FF2B5EF4-FFF2-40B4-BE49-F238E27FC236}">
                <a16:creationId xmlns:a16="http://schemas.microsoft.com/office/drawing/2014/main" id="{2B01AC93-92D9-A147-BDC6-27DC8FA8CB34}"/>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30518808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Four picture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124A353B-E374-7740-BADE-D936639B642B}"/>
              </a:ext>
            </a:extLst>
          </p:cNvPr>
          <p:cNvSpPr>
            <a:spLocks noGrp="1"/>
          </p:cNvSpPr>
          <p:nvPr>
            <p:ph type="body" sz="half" idx="2" hasCustomPrompt="1"/>
          </p:nvPr>
        </p:nvSpPr>
        <p:spPr>
          <a:xfrm>
            <a:off x="6790606" y="486000"/>
            <a:ext cx="5004056" cy="5939952"/>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3" name="Picture Placeholder 2">
            <a:extLst>
              <a:ext uri="{FF2B5EF4-FFF2-40B4-BE49-F238E27FC236}">
                <a16:creationId xmlns:a16="http://schemas.microsoft.com/office/drawing/2014/main" id="{DEE2AB82-CBD5-1145-9E32-3577A8B871DC}"/>
              </a:ext>
            </a:extLst>
          </p:cNvPr>
          <p:cNvSpPr>
            <a:spLocks noGrp="1"/>
          </p:cNvSpPr>
          <p:nvPr>
            <p:ph type="pic" sz="quarter" idx="19" hasCustomPrompt="1"/>
          </p:nvPr>
        </p:nvSpPr>
        <p:spPr>
          <a:xfrm>
            <a:off x="486000" y="486000"/>
            <a:ext cx="5850000" cy="6372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9" name="Picture Placeholder 2">
            <a:extLst>
              <a:ext uri="{FF2B5EF4-FFF2-40B4-BE49-F238E27FC236}">
                <a16:creationId xmlns:a16="http://schemas.microsoft.com/office/drawing/2014/main" id="{224B314B-F368-C345-A11C-63D267394698}"/>
              </a:ext>
            </a:extLst>
          </p:cNvPr>
          <p:cNvSpPr>
            <a:spLocks noGrp="1"/>
          </p:cNvSpPr>
          <p:nvPr>
            <p:ph type="pic" sz="quarter" idx="20" hasCustomPrompt="1"/>
          </p:nvPr>
        </p:nvSpPr>
        <p:spPr>
          <a:xfrm>
            <a:off x="6336000" y="6858000"/>
            <a:ext cx="5850000" cy="6372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3" name="Picture Placeholder 2">
            <a:extLst>
              <a:ext uri="{FF2B5EF4-FFF2-40B4-BE49-F238E27FC236}">
                <a16:creationId xmlns:a16="http://schemas.microsoft.com/office/drawing/2014/main" id="{0BDAE9D1-09EE-5948-864F-662D2BEFC95D}"/>
              </a:ext>
            </a:extLst>
          </p:cNvPr>
          <p:cNvSpPr>
            <a:spLocks noGrp="1"/>
          </p:cNvSpPr>
          <p:nvPr>
            <p:ph type="pic" sz="quarter" idx="21" hasCustomPrompt="1"/>
          </p:nvPr>
        </p:nvSpPr>
        <p:spPr>
          <a:xfrm>
            <a:off x="12201996" y="486000"/>
            <a:ext cx="5850000" cy="6372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4" name="Picture Placeholder 2">
            <a:extLst>
              <a:ext uri="{FF2B5EF4-FFF2-40B4-BE49-F238E27FC236}">
                <a16:creationId xmlns:a16="http://schemas.microsoft.com/office/drawing/2014/main" id="{5A3CC44A-564E-0843-B5E6-9CA66C87720E}"/>
              </a:ext>
            </a:extLst>
          </p:cNvPr>
          <p:cNvSpPr>
            <a:spLocks noGrp="1"/>
          </p:cNvSpPr>
          <p:nvPr>
            <p:ph type="pic" sz="quarter" idx="22" hasCustomPrompt="1"/>
          </p:nvPr>
        </p:nvSpPr>
        <p:spPr>
          <a:xfrm>
            <a:off x="18051996" y="6858000"/>
            <a:ext cx="5850000" cy="6372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5" name="Text Placeholder 3">
            <a:extLst>
              <a:ext uri="{FF2B5EF4-FFF2-40B4-BE49-F238E27FC236}">
                <a16:creationId xmlns:a16="http://schemas.microsoft.com/office/drawing/2014/main" id="{18BFCA73-5A52-2948-854C-23498017B30C}"/>
              </a:ext>
            </a:extLst>
          </p:cNvPr>
          <p:cNvSpPr>
            <a:spLocks noGrp="1"/>
          </p:cNvSpPr>
          <p:nvPr>
            <p:ph type="body" sz="half" idx="23" hasCustomPrompt="1"/>
          </p:nvPr>
        </p:nvSpPr>
        <p:spPr>
          <a:xfrm>
            <a:off x="858980" y="7290048"/>
            <a:ext cx="5004056" cy="5939952"/>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36" name="Text Placeholder 3">
            <a:extLst>
              <a:ext uri="{FF2B5EF4-FFF2-40B4-BE49-F238E27FC236}">
                <a16:creationId xmlns:a16="http://schemas.microsoft.com/office/drawing/2014/main" id="{26C19E7B-3293-A34C-8019-B66220F68581}"/>
              </a:ext>
            </a:extLst>
          </p:cNvPr>
          <p:cNvSpPr>
            <a:spLocks noGrp="1"/>
          </p:cNvSpPr>
          <p:nvPr>
            <p:ph type="body" sz="half" idx="24" hasCustomPrompt="1"/>
          </p:nvPr>
        </p:nvSpPr>
        <p:spPr>
          <a:xfrm>
            <a:off x="18500006" y="486000"/>
            <a:ext cx="5004056" cy="5939952"/>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37" name="Text Placeholder 3">
            <a:extLst>
              <a:ext uri="{FF2B5EF4-FFF2-40B4-BE49-F238E27FC236}">
                <a16:creationId xmlns:a16="http://schemas.microsoft.com/office/drawing/2014/main" id="{71E04723-43C9-E249-B03C-FDED0C006F77}"/>
              </a:ext>
            </a:extLst>
          </p:cNvPr>
          <p:cNvSpPr>
            <a:spLocks noGrp="1"/>
          </p:cNvSpPr>
          <p:nvPr>
            <p:ph type="body" sz="half" idx="25" hasCustomPrompt="1"/>
          </p:nvPr>
        </p:nvSpPr>
        <p:spPr>
          <a:xfrm>
            <a:off x="12568380" y="7290048"/>
            <a:ext cx="5004056" cy="5939952"/>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11" name="TextBox 10">
            <a:extLst>
              <a:ext uri="{FF2B5EF4-FFF2-40B4-BE49-F238E27FC236}">
                <a16:creationId xmlns:a16="http://schemas.microsoft.com/office/drawing/2014/main" id="{5D4B7E75-FBA5-1D4B-BA9C-11BD2FE3C7B0}"/>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768116438"/>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Eight pictures">
    <p:spTree>
      <p:nvGrpSpPr>
        <p:cNvPr id="1" name=""/>
        <p:cNvGrpSpPr/>
        <p:nvPr/>
      </p:nvGrpSpPr>
      <p:grpSpPr>
        <a:xfrm>
          <a:off x="0" y="0"/>
          <a:ext cx="0" cy="0"/>
          <a:chOff x="0" y="0"/>
          <a:chExt cx="0" cy="0"/>
        </a:xfrm>
      </p:grpSpPr>
      <p:sp>
        <p:nvSpPr>
          <p:cNvPr id="13" name="Picture Placeholder 2">
            <a:extLst>
              <a:ext uri="{FF2B5EF4-FFF2-40B4-BE49-F238E27FC236}">
                <a16:creationId xmlns:a16="http://schemas.microsoft.com/office/drawing/2014/main" id="{D1148F2D-229C-E245-B364-AD926A8E5678}"/>
              </a:ext>
            </a:extLst>
          </p:cNvPr>
          <p:cNvSpPr>
            <a:spLocks noGrp="1"/>
          </p:cNvSpPr>
          <p:nvPr>
            <p:ph type="pic" sz="quarter" idx="19" hasCustomPrompt="1"/>
          </p:nvPr>
        </p:nvSpPr>
        <p:spPr>
          <a:xfrm>
            <a:off x="486000" y="486000"/>
            <a:ext cx="5584600"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4" name="Text Placeholder 3">
            <a:extLst>
              <a:ext uri="{FF2B5EF4-FFF2-40B4-BE49-F238E27FC236}">
                <a16:creationId xmlns:a16="http://schemas.microsoft.com/office/drawing/2014/main" id="{EF6C2542-122E-CD4A-95A0-0315258EEA53}"/>
              </a:ext>
            </a:extLst>
          </p:cNvPr>
          <p:cNvSpPr>
            <a:spLocks noGrp="1"/>
          </p:cNvSpPr>
          <p:nvPr>
            <p:ph type="body" sz="half" idx="23" hasCustomPrompt="1"/>
          </p:nvPr>
        </p:nvSpPr>
        <p:spPr>
          <a:xfrm>
            <a:off x="513286" y="3888024"/>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15" name="Picture Placeholder 2">
            <a:extLst>
              <a:ext uri="{FF2B5EF4-FFF2-40B4-BE49-F238E27FC236}">
                <a16:creationId xmlns:a16="http://schemas.microsoft.com/office/drawing/2014/main" id="{EBB6C642-10AD-6A47-8744-E825A5EEEA34}"/>
              </a:ext>
            </a:extLst>
          </p:cNvPr>
          <p:cNvSpPr>
            <a:spLocks noGrp="1"/>
          </p:cNvSpPr>
          <p:nvPr>
            <p:ph type="pic" sz="quarter" idx="24" hasCustomPrompt="1"/>
          </p:nvPr>
        </p:nvSpPr>
        <p:spPr>
          <a:xfrm>
            <a:off x="6430566" y="486000"/>
            <a:ext cx="5584600"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6" name="Picture Placeholder 2">
            <a:extLst>
              <a:ext uri="{FF2B5EF4-FFF2-40B4-BE49-F238E27FC236}">
                <a16:creationId xmlns:a16="http://schemas.microsoft.com/office/drawing/2014/main" id="{B2B7FCEF-39D8-6D47-A0D2-218CCB2588EF}"/>
              </a:ext>
            </a:extLst>
          </p:cNvPr>
          <p:cNvSpPr>
            <a:spLocks noGrp="1"/>
          </p:cNvSpPr>
          <p:nvPr>
            <p:ph type="pic" sz="quarter" idx="25" hasCustomPrompt="1"/>
          </p:nvPr>
        </p:nvSpPr>
        <p:spPr>
          <a:xfrm>
            <a:off x="12367246" y="486000"/>
            <a:ext cx="5584600"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7" name="Picture Placeholder 2">
            <a:extLst>
              <a:ext uri="{FF2B5EF4-FFF2-40B4-BE49-F238E27FC236}">
                <a16:creationId xmlns:a16="http://schemas.microsoft.com/office/drawing/2014/main" id="{D227A8B8-BE42-0845-B6D6-A1A356E29BFC}"/>
              </a:ext>
            </a:extLst>
          </p:cNvPr>
          <p:cNvSpPr>
            <a:spLocks noGrp="1"/>
          </p:cNvSpPr>
          <p:nvPr>
            <p:ph type="pic" sz="quarter" idx="22" hasCustomPrompt="1"/>
          </p:nvPr>
        </p:nvSpPr>
        <p:spPr>
          <a:xfrm>
            <a:off x="18317394" y="461344"/>
            <a:ext cx="5584601"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8" name="Text Placeholder 3">
            <a:extLst>
              <a:ext uri="{FF2B5EF4-FFF2-40B4-BE49-F238E27FC236}">
                <a16:creationId xmlns:a16="http://schemas.microsoft.com/office/drawing/2014/main" id="{8BC99C37-5961-7A49-BB6C-EF345DB054E6}"/>
              </a:ext>
            </a:extLst>
          </p:cNvPr>
          <p:cNvSpPr>
            <a:spLocks noGrp="1"/>
          </p:cNvSpPr>
          <p:nvPr>
            <p:ph type="body" sz="half" idx="26" hasCustomPrompt="1"/>
          </p:nvPr>
        </p:nvSpPr>
        <p:spPr>
          <a:xfrm>
            <a:off x="6430566" y="3888024"/>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19" name="Text Placeholder 3">
            <a:extLst>
              <a:ext uri="{FF2B5EF4-FFF2-40B4-BE49-F238E27FC236}">
                <a16:creationId xmlns:a16="http://schemas.microsoft.com/office/drawing/2014/main" id="{EA510DE5-BF9D-6347-AB9C-33A7759FF1D4}"/>
              </a:ext>
            </a:extLst>
          </p:cNvPr>
          <p:cNvSpPr>
            <a:spLocks noGrp="1"/>
          </p:cNvSpPr>
          <p:nvPr>
            <p:ph type="body" sz="half" idx="27" hasCustomPrompt="1"/>
          </p:nvPr>
        </p:nvSpPr>
        <p:spPr>
          <a:xfrm>
            <a:off x="12347846" y="3888024"/>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24" name="Text Placeholder 3">
            <a:extLst>
              <a:ext uri="{FF2B5EF4-FFF2-40B4-BE49-F238E27FC236}">
                <a16:creationId xmlns:a16="http://schemas.microsoft.com/office/drawing/2014/main" id="{A33793B0-DBB7-ED4A-8B92-AE77D9B42399}"/>
              </a:ext>
            </a:extLst>
          </p:cNvPr>
          <p:cNvSpPr>
            <a:spLocks noGrp="1"/>
          </p:cNvSpPr>
          <p:nvPr>
            <p:ph type="body" sz="half" idx="28" hasCustomPrompt="1"/>
          </p:nvPr>
        </p:nvSpPr>
        <p:spPr>
          <a:xfrm>
            <a:off x="18344681" y="3888024"/>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27" name="Picture Placeholder 2">
            <a:extLst>
              <a:ext uri="{FF2B5EF4-FFF2-40B4-BE49-F238E27FC236}">
                <a16:creationId xmlns:a16="http://schemas.microsoft.com/office/drawing/2014/main" id="{37D70117-C030-944C-BBCC-0D4544F2D82B}"/>
              </a:ext>
            </a:extLst>
          </p:cNvPr>
          <p:cNvSpPr>
            <a:spLocks noGrp="1"/>
          </p:cNvSpPr>
          <p:nvPr>
            <p:ph type="pic" sz="quarter" idx="29" hasCustomPrompt="1"/>
          </p:nvPr>
        </p:nvSpPr>
        <p:spPr>
          <a:xfrm>
            <a:off x="486000" y="6885323"/>
            <a:ext cx="5584600"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8" name="Text Placeholder 3">
            <a:extLst>
              <a:ext uri="{FF2B5EF4-FFF2-40B4-BE49-F238E27FC236}">
                <a16:creationId xmlns:a16="http://schemas.microsoft.com/office/drawing/2014/main" id="{5568282C-2BAE-0F42-AC35-AC2003AF14A7}"/>
              </a:ext>
            </a:extLst>
          </p:cNvPr>
          <p:cNvSpPr>
            <a:spLocks noGrp="1"/>
          </p:cNvSpPr>
          <p:nvPr>
            <p:ph type="body" sz="half" idx="30" hasCustomPrompt="1"/>
          </p:nvPr>
        </p:nvSpPr>
        <p:spPr>
          <a:xfrm>
            <a:off x="513286" y="10287347"/>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29" name="Picture Placeholder 2">
            <a:extLst>
              <a:ext uri="{FF2B5EF4-FFF2-40B4-BE49-F238E27FC236}">
                <a16:creationId xmlns:a16="http://schemas.microsoft.com/office/drawing/2014/main" id="{37CDDD74-2C1A-CC4F-BC4A-348492B730E7}"/>
              </a:ext>
            </a:extLst>
          </p:cNvPr>
          <p:cNvSpPr>
            <a:spLocks noGrp="1"/>
          </p:cNvSpPr>
          <p:nvPr>
            <p:ph type="pic" sz="quarter" idx="31" hasCustomPrompt="1"/>
          </p:nvPr>
        </p:nvSpPr>
        <p:spPr>
          <a:xfrm>
            <a:off x="6430566" y="6885323"/>
            <a:ext cx="5584600"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0" name="Picture Placeholder 2">
            <a:extLst>
              <a:ext uri="{FF2B5EF4-FFF2-40B4-BE49-F238E27FC236}">
                <a16:creationId xmlns:a16="http://schemas.microsoft.com/office/drawing/2014/main" id="{F877013E-58D2-1048-9A44-45952400B3C6}"/>
              </a:ext>
            </a:extLst>
          </p:cNvPr>
          <p:cNvSpPr>
            <a:spLocks noGrp="1"/>
          </p:cNvSpPr>
          <p:nvPr>
            <p:ph type="pic" sz="quarter" idx="32" hasCustomPrompt="1"/>
          </p:nvPr>
        </p:nvSpPr>
        <p:spPr>
          <a:xfrm>
            <a:off x="12367246" y="6885323"/>
            <a:ext cx="5584600"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1" name="Picture Placeholder 2">
            <a:extLst>
              <a:ext uri="{FF2B5EF4-FFF2-40B4-BE49-F238E27FC236}">
                <a16:creationId xmlns:a16="http://schemas.microsoft.com/office/drawing/2014/main" id="{E8D329DB-9A89-5049-B680-BC0FE4373220}"/>
              </a:ext>
            </a:extLst>
          </p:cNvPr>
          <p:cNvSpPr>
            <a:spLocks noGrp="1"/>
          </p:cNvSpPr>
          <p:nvPr>
            <p:ph type="pic" sz="quarter" idx="33" hasCustomPrompt="1"/>
          </p:nvPr>
        </p:nvSpPr>
        <p:spPr>
          <a:xfrm>
            <a:off x="18317394" y="6860667"/>
            <a:ext cx="5584601" cy="2916013"/>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2" name="Text Placeholder 3">
            <a:extLst>
              <a:ext uri="{FF2B5EF4-FFF2-40B4-BE49-F238E27FC236}">
                <a16:creationId xmlns:a16="http://schemas.microsoft.com/office/drawing/2014/main" id="{DCCD54B1-4EFD-D84A-AB50-B7F0F8E84372}"/>
              </a:ext>
            </a:extLst>
          </p:cNvPr>
          <p:cNvSpPr>
            <a:spLocks noGrp="1"/>
          </p:cNvSpPr>
          <p:nvPr>
            <p:ph type="body" sz="half" idx="34" hasCustomPrompt="1"/>
          </p:nvPr>
        </p:nvSpPr>
        <p:spPr>
          <a:xfrm>
            <a:off x="6430566" y="10287347"/>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33" name="Text Placeholder 3">
            <a:extLst>
              <a:ext uri="{FF2B5EF4-FFF2-40B4-BE49-F238E27FC236}">
                <a16:creationId xmlns:a16="http://schemas.microsoft.com/office/drawing/2014/main" id="{EA8F0C11-5CFB-B74A-9620-D6344A6CE488}"/>
              </a:ext>
            </a:extLst>
          </p:cNvPr>
          <p:cNvSpPr>
            <a:spLocks noGrp="1"/>
          </p:cNvSpPr>
          <p:nvPr>
            <p:ph type="body" sz="half" idx="35" hasCustomPrompt="1"/>
          </p:nvPr>
        </p:nvSpPr>
        <p:spPr>
          <a:xfrm>
            <a:off x="12347846" y="10287347"/>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34" name="Text Placeholder 3">
            <a:extLst>
              <a:ext uri="{FF2B5EF4-FFF2-40B4-BE49-F238E27FC236}">
                <a16:creationId xmlns:a16="http://schemas.microsoft.com/office/drawing/2014/main" id="{49DC448D-7351-DA40-9CEB-36EEBA5F7C1B}"/>
              </a:ext>
            </a:extLst>
          </p:cNvPr>
          <p:cNvSpPr>
            <a:spLocks noGrp="1"/>
          </p:cNvSpPr>
          <p:nvPr>
            <p:ph type="body" sz="half" idx="36" hasCustomPrompt="1"/>
          </p:nvPr>
        </p:nvSpPr>
        <p:spPr>
          <a:xfrm>
            <a:off x="18344681" y="10287347"/>
            <a:ext cx="5557314" cy="2969976"/>
          </a:xfrm>
        </p:spPr>
        <p:txBody>
          <a:bodyPr>
            <a:noAutofit/>
          </a:bodyPr>
          <a:lstStyle>
            <a:lvl1pPr marL="0" indent="0">
              <a:lnSpc>
                <a:spcPct val="100000"/>
              </a:lnSpc>
              <a:buNone/>
              <a:defRPr sz="24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GB" noProof="0"/>
              <a:t>Put the description text here, keep it regular 24 </a:t>
            </a:r>
            <a:r>
              <a:rPr lang="en-GB" noProof="0" err="1"/>
              <a:t>pt</a:t>
            </a:r>
            <a:endParaRPr lang="en-GB" noProof="0"/>
          </a:p>
        </p:txBody>
      </p:sp>
      <p:sp>
        <p:nvSpPr>
          <p:cNvPr id="20" name="TextBox 19">
            <a:extLst>
              <a:ext uri="{FF2B5EF4-FFF2-40B4-BE49-F238E27FC236}">
                <a16:creationId xmlns:a16="http://schemas.microsoft.com/office/drawing/2014/main" id="{13CC2D47-81A3-FF42-97E8-18400B5ECD17}"/>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459209643"/>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Before/aft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413F907-AE77-0746-B805-0D2E5F01B01D}"/>
              </a:ext>
            </a:extLst>
          </p:cNvPr>
          <p:cNvSpPr>
            <a:spLocks noGrp="1"/>
          </p:cNvSpPr>
          <p:nvPr>
            <p:ph type="pic" sz="quarter" idx="17" hasCustomPrompt="1"/>
          </p:nvPr>
        </p:nvSpPr>
        <p:spPr>
          <a:xfrm>
            <a:off x="3046413" y="4124207"/>
            <a:ext cx="7417707" cy="4462581"/>
          </a:xfrm>
          <a:solidFill>
            <a:srgbClr val="E4E5E3"/>
          </a:solidFill>
        </p:spPr>
        <p:txBody>
          <a:bodyPr>
            <a:normAutofit/>
          </a:bodyPr>
          <a:lstStyle>
            <a:lvl1pPr marL="0" indent="0" algn="ctr">
              <a:buNone/>
              <a:defRPr sz="2400">
                <a:solidFill>
                  <a:schemeClr val="tx1">
                    <a:lumMod val="65000"/>
                    <a:lumOff val="35000"/>
                  </a:schemeClr>
                </a:solidFill>
              </a:defRPr>
            </a:lvl1pPr>
          </a:lstStyle>
          <a:p>
            <a:r>
              <a:rPr lang="en-NL"/>
              <a:t>Drag and drop a topic-related picture into this frame</a:t>
            </a:r>
          </a:p>
        </p:txBody>
      </p:sp>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13984331" y="4124207"/>
            <a:ext cx="7351669" cy="4462581"/>
          </a:xfrm>
          <a:solidFill>
            <a:srgbClr val="E4E5E3"/>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6" name="Text Placeholder 5">
            <a:extLst>
              <a:ext uri="{FF2B5EF4-FFF2-40B4-BE49-F238E27FC236}">
                <a16:creationId xmlns:a16="http://schemas.microsoft.com/office/drawing/2014/main" id="{8B805C66-9B81-6F4A-8653-8751DC71F3C3}"/>
              </a:ext>
            </a:extLst>
          </p:cNvPr>
          <p:cNvSpPr>
            <a:spLocks noGrp="1"/>
          </p:cNvSpPr>
          <p:nvPr>
            <p:ph type="body" sz="quarter" idx="12" hasCustomPrompt="1"/>
          </p:nvPr>
        </p:nvSpPr>
        <p:spPr>
          <a:xfrm>
            <a:off x="3046413" y="9038943"/>
            <a:ext cx="7417707" cy="3003831"/>
          </a:xfrm>
        </p:spPr>
        <p:txBody>
          <a:bodyPr>
            <a:noAutofit/>
          </a:bodyPr>
          <a:lstStyle>
            <a:lvl1pPr>
              <a:spcBef>
                <a:spcPts val="0"/>
              </a:spcBef>
              <a:defRPr sz="3200"/>
            </a:lvl1pPr>
          </a:lstStyle>
          <a:p>
            <a:pPr lvl="0"/>
            <a:r>
              <a:rPr lang="en-GB" noProof="0"/>
              <a:t>Put the paragraph text here, keep it regular 32 </a:t>
            </a:r>
            <a:r>
              <a:rPr lang="en-GB" noProof="0" err="1"/>
              <a:t>pt</a:t>
            </a:r>
            <a:endParaRPr lang="en-GB" noProof="0"/>
          </a:p>
        </p:txBody>
      </p:sp>
      <p:sp>
        <p:nvSpPr>
          <p:cNvPr id="17" name="Text Placeholder 5">
            <a:extLst>
              <a:ext uri="{FF2B5EF4-FFF2-40B4-BE49-F238E27FC236}">
                <a16:creationId xmlns:a16="http://schemas.microsoft.com/office/drawing/2014/main" id="{FA6FB3B4-ED87-C644-AEAC-F1AF465F1548}"/>
              </a:ext>
            </a:extLst>
          </p:cNvPr>
          <p:cNvSpPr>
            <a:spLocks noGrp="1"/>
          </p:cNvSpPr>
          <p:nvPr>
            <p:ph type="body" sz="quarter" idx="22" hasCustomPrompt="1"/>
          </p:nvPr>
        </p:nvSpPr>
        <p:spPr>
          <a:xfrm>
            <a:off x="13993172" y="9038944"/>
            <a:ext cx="7342828" cy="3003830"/>
          </a:xfrm>
        </p:spPr>
        <p:txBody>
          <a:bodyPr>
            <a:noAutofit/>
          </a:bodyPr>
          <a:lstStyle>
            <a:lvl1pPr>
              <a:spcBef>
                <a:spcPts val="0"/>
              </a:spcBef>
              <a:defRPr sz="3200"/>
            </a:lvl1pPr>
          </a:lstStyle>
          <a:p>
            <a:pPr lvl="0"/>
            <a:r>
              <a:rPr lang="en-GB" noProof="0"/>
              <a:t>Put the paragraph text here, keep it regular 32 </a:t>
            </a:r>
            <a:r>
              <a:rPr lang="en-GB" noProof="0" err="1"/>
              <a:t>pt</a:t>
            </a:r>
            <a:endParaRPr lang="en-GB" noProof="0"/>
          </a:p>
        </p:txBody>
      </p:sp>
      <p:pic>
        <p:nvPicPr>
          <p:cNvPr id="6" name="Graphic 5">
            <a:extLst>
              <a:ext uri="{FF2B5EF4-FFF2-40B4-BE49-F238E27FC236}">
                <a16:creationId xmlns:a16="http://schemas.microsoft.com/office/drawing/2014/main" id="{326B79F7-6D85-D543-AFB0-64FD75BF7EB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31206" y="5056159"/>
            <a:ext cx="2520000" cy="2520000"/>
          </a:xfrm>
          <a:prstGeom prst="rect">
            <a:avLst/>
          </a:prstGeom>
        </p:spPr>
      </p:pic>
      <p:sp>
        <p:nvSpPr>
          <p:cNvPr id="10" name="Title 3">
            <a:extLst>
              <a:ext uri="{FF2B5EF4-FFF2-40B4-BE49-F238E27FC236}">
                <a16:creationId xmlns:a16="http://schemas.microsoft.com/office/drawing/2014/main" id="{F1E86907-9BCD-794E-BD6D-4F29BDCAC4DD}"/>
              </a:ext>
            </a:extLst>
          </p:cNvPr>
          <p:cNvSpPr>
            <a:spLocks noGrp="1"/>
          </p:cNvSpPr>
          <p:nvPr>
            <p:ph type="title" hasCustomPrompt="1"/>
          </p:nvPr>
        </p:nvSpPr>
        <p:spPr>
          <a:xfrm>
            <a:off x="1676293" y="1677600"/>
            <a:ext cx="21033007" cy="2446607"/>
          </a:xfrm>
        </p:spPr>
        <p:txBody>
          <a:bodyPr/>
          <a:lstStyle>
            <a:lvl1pPr>
              <a:defRPr sz="6000" spc="0" baseline="0"/>
            </a:lvl1pPr>
          </a:lstStyle>
          <a:p>
            <a:r>
              <a:rPr lang="en-GB"/>
              <a:t>Put a short headline here, keep it bold 60 </a:t>
            </a:r>
            <a:r>
              <a:rPr lang="en-GB" err="1"/>
              <a:t>pt</a:t>
            </a:r>
            <a:endParaRPr lang="en-NL"/>
          </a:p>
        </p:txBody>
      </p:sp>
      <p:sp>
        <p:nvSpPr>
          <p:cNvPr id="4" name="Footer Placeholder 3">
            <a:extLst>
              <a:ext uri="{FF2B5EF4-FFF2-40B4-BE49-F238E27FC236}">
                <a16:creationId xmlns:a16="http://schemas.microsoft.com/office/drawing/2014/main" id="{98B6467D-F33B-A84D-B882-5C4860E480A0}"/>
              </a:ext>
            </a:extLst>
          </p:cNvPr>
          <p:cNvSpPr>
            <a:spLocks noGrp="1"/>
          </p:cNvSpPr>
          <p:nvPr>
            <p:ph type="ftr" sz="quarter" idx="23"/>
          </p:nvPr>
        </p:nvSpPr>
        <p:spPr/>
        <p:txBody>
          <a:bodyPr/>
          <a:lstStyle/>
          <a:p>
            <a:endParaRPr lang="en-NL"/>
          </a:p>
        </p:txBody>
      </p:sp>
      <p:sp>
        <p:nvSpPr>
          <p:cNvPr id="13" name="TextBox 12">
            <a:extLst>
              <a:ext uri="{FF2B5EF4-FFF2-40B4-BE49-F238E27FC236}">
                <a16:creationId xmlns:a16="http://schemas.microsoft.com/office/drawing/2014/main" id="{698B3729-CC41-244D-B453-5B310C875397}"/>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333490537"/>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From/to">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982E2EA-1137-0846-98DC-3E6332C29A67}"/>
              </a:ext>
            </a:extLst>
          </p:cNvPr>
          <p:cNvSpPr>
            <a:spLocks noGrp="1"/>
          </p:cNvSpPr>
          <p:nvPr>
            <p:ph type="body" sz="quarter" idx="10" hasCustomPrompt="1"/>
          </p:nvPr>
        </p:nvSpPr>
        <p:spPr>
          <a:xfrm>
            <a:off x="2686772" y="51298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5" name="Text Placeholder 5">
            <a:extLst>
              <a:ext uri="{FF2B5EF4-FFF2-40B4-BE49-F238E27FC236}">
                <a16:creationId xmlns:a16="http://schemas.microsoft.com/office/drawing/2014/main" id="{BB2544E0-599A-0E4D-B7C9-0338205DD470}"/>
              </a:ext>
            </a:extLst>
          </p:cNvPr>
          <p:cNvSpPr>
            <a:spLocks noGrp="1"/>
          </p:cNvSpPr>
          <p:nvPr>
            <p:ph type="body" sz="quarter" idx="20" hasCustomPrompt="1"/>
          </p:nvPr>
        </p:nvSpPr>
        <p:spPr>
          <a:xfrm>
            <a:off x="13902138" y="51298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6" name="Text Placeholder 5">
            <a:extLst>
              <a:ext uri="{FF2B5EF4-FFF2-40B4-BE49-F238E27FC236}">
                <a16:creationId xmlns:a16="http://schemas.microsoft.com/office/drawing/2014/main" id="{7CD185CC-288C-914E-B039-9E34B6521AAE}"/>
              </a:ext>
            </a:extLst>
          </p:cNvPr>
          <p:cNvSpPr>
            <a:spLocks noGrp="1"/>
          </p:cNvSpPr>
          <p:nvPr>
            <p:ph type="body" sz="quarter" idx="21" hasCustomPrompt="1"/>
          </p:nvPr>
        </p:nvSpPr>
        <p:spPr>
          <a:xfrm>
            <a:off x="2686772" y="686645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7" name="Text Placeholder 5">
            <a:extLst>
              <a:ext uri="{FF2B5EF4-FFF2-40B4-BE49-F238E27FC236}">
                <a16:creationId xmlns:a16="http://schemas.microsoft.com/office/drawing/2014/main" id="{734DFA83-0489-374D-984E-D148AF15FB19}"/>
              </a:ext>
            </a:extLst>
          </p:cNvPr>
          <p:cNvSpPr>
            <a:spLocks noGrp="1"/>
          </p:cNvSpPr>
          <p:nvPr>
            <p:ph type="body" sz="quarter" idx="22" hasCustomPrompt="1"/>
          </p:nvPr>
        </p:nvSpPr>
        <p:spPr>
          <a:xfrm>
            <a:off x="13902138" y="686645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8" name="Text Placeholder 5">
            <a:extLst>
              <a:ext uri="{FF2B5EF4-FFF2-40B4-BE49-F238E27FC236}">
                <a16:creationId xmlns:a16="http://schemas.microsoft.com/office/drawing/2014/main" id="{40A584AF-EFDF-6C45-8450-E6896AA5447E}"/>
              </a:ext>
            </a:extLst>
          </p:cNvPr>
          <p:cNvSpPr>
            <a:spLocks noGrp="1"/>
          </p:cNvSpPr>
          <p:nvPr>
            <p:ph type="body" sz="quarter" idx="23" hasCustomPrompt="1"/>
          </p:nvPr>
        </p:nvSpPr>
        <p:spPr>
          <a:xfrm>
            <a:off x="2686772" y="86031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19" name="Text Placeholder 5">
            <a:extLst>
              <a:ext uri="{FF2B5EF4-FFF2-40B4-BE49-F238E27FC236}">
                <a16:creationId xmlns:a16="http://schemas.microsoft.com/office/drawing/2014/main" id="{B8ADD201-5C22-9240-930B-C39DCFAEA838}"/>
              </a:ext>
            </a:extLst>
          </p:cNvPr>
          <p:cNvSpPr>
            <a:spLocks noGrp="1"/>
          </p:cNvSpPr>
          <p:nvPr>
            <p:ph type="body" sz="quarter" idx="24" hasCustomPrompt="1"/>
          </p:nvPr>
        </p:nvSpPr>
        <p:spPr>
          <a:xfrm>
            <a:off x="13902138" y="8603108"/>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20" name="Text Placeholder 5">
            <a:extLst>
              <a:ext uri="{FF2B5EF4-FFF2-40B4-BE49-F238E27FC236}">
                <a16:creationId xmlns:a16="http://schemas.microsoft.com/office/drawing/2014/main" id="{21AA854F-49C8-0740-875D-2A28B04B66F6}"/>
              </a:ext>
            </a:extLst>
          </p:cNvPr>
          <p:cNvSpPr>
            <a:spLocks noGrp="1"/>
          </p:cNvSpPr>
          <p:nvPr>
            <p:ph type="body" sz="quarter" idx="25" hasCustomPrompt="1"/>
          </p:nvPr>
        </p:nvSpPr>
        <p:spPr>
          <a:xfrm>
            <a:off x="2686772" y="10339760"/>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sp>
        <p:nvSpPr>
          <p:cNvPr id="21" name="Text Placeholder 5">
            <a:extLst>
              <a:ext uri="{FF2B5EF4-FFF2-40B4-BE49-F238E27FC236}">
                <a16:creationId xmlns:a16="http://schemas.microsoft.com/office/drawing/2014/main" id="{8FE94F80-1B2D-0E45-8D2E-B57A96EFF5BA}"/>
              </a:ext>
            </a:extLst>
          </p:cNvPr>
          <p:cNvSpPr>
            <a:spLocks noGrp="1"/>
          </p:cNvSpPr>
          <p:nvPr>
            <p:ph type="body" sz="quarter" idx="26" hasCustomPrompt="1"/>
          </p:nvPr>
        </p:nvSpPr>
        <p:spPr>
          <a:xfrm>
            <a:off x="13902138" y="10339760"/>
            <a:ext cx="7775068" cy="1157288"/>
          </a:xfrm>
          <a:solidFill>
            <a:schemeClr val="bg1">
              <a:lumMod val="95000"/>
            </a:schemeClr>
          </a:solidFill>
        </p:spPr>
        <p:txBody>
          <a:bodyPr lIns="180000" tIns="180000" rIns="180000" bIns="46800" anchor="ctr">
            <a:noAutofit/>
          </a:bodyPr>
          <a:lstStyle>
            <a:lvl1pPr marL="0" indent="0">
              <a:buNone/>
              <a:defRPr sz="3200"/>
            </a:lvl1pPr>
          </a:lstStyle>
          <a:p>
            <a:pPr lvl="0"/>
            <a:r>
              <a:rPr lang="en-US"/>
              <a:t>Put the text here</a:t>
            </a:r>
          </a:p>
        </p:txBody>
      </p:sp>
      <p:pic>
        <p:nvPicPr>
          <p:cNvPr id="24" name="Graphic 23">
            <a:extLst>
              <a:ext uri="{FF2B5EF4-FFF2-40B4-BE49-F238E27FC236}">
                <a16:creationId xmlns:a16="http://schemas.microsoft.com/office/drawing/2014/main" id="{C665CCDB-76D3-9C47-BA6F-98DC8DE39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31206" y="7079462"/>
            <a:ext cx="2520000" cy="2520000"/>
          </a:xfrm>
          <a:prstGeom prst="rect">
            <a:avLst/>
          </a:prstGeom>
        </p:spPr>
      </p:pic>
      <p:sp>
        <p:nvSpPr>
          <p:cNvPr id="22" name="Title 3">
            <a:extLst>
              <a:ext uri="{FF2B5EF4-FFF2-40B4-BE49-F238E27FC236}">
                <a16:creationId xmlns:a16="http://schemas.microsoft.com/office/drawing/2014/main" id="{12B27A15-0B5F-6D42-A903-9B52ABFB9D46}"/>
              </a:ext>
            </a:extLst>
          </p:cNvPr>
          <p:cNvSpPr>
            <a:spLocks noGrp="1"/>
          </p:cNvSpPr>
          <p:nvPr>
            <p:ph type="title" hasCustomPrompt="1"/>
          </p:nvPr>
        </p:nvSpPr>
        <p:spPr>
          <a:xfrm>
            <a:off x="1676293" y="1677600"/>
            <a:ext cx="21033007" cy="2446607"/>
          </a:xfrm>
        </p:spPr>
        <p:txBody>
          <a:bodyPr/>
          <a:lstStyle>
            <a:lvl1pPr>
              <a:defRPr sz="6000" spc="0" baseline="0"/>
            </a:lvl1pPr>
          </a:lstStyle>
          <a:p>
            <a:r>
              <a:rPr lang="en-GB"/>
              <a:t>Put a short headline here, keep it bold 60 </a:t>
            </a:r>
            <a:r>
              <a:rPr lang="en-GB" err="1"/>
              <a:t>pt</a:t>
            </a:r>
            <a:endParaRPr lang="en-NL"/>
          </a:p>
        </p:txBody>
      </p:sp>
      <p:sp>
        <p:nvSpPr>
          <p:cNvPr id="5" name="Footer Placeholder 4">
            <a:extLst>
              <a:ext uri="{FF2B5EF4-FFF2-40B4-BE49-F238E27FC236}">
                <a16:creationId xmlns:a16="http://schemas.microsoft.com/office/drawing/2014/main" id="{6C67929C-C3EA-9A47-BD51-95B00CE1AD28}"/>
              </a:ext>
            </a:extLst>
          </p:cNvPr>
          <p:cNvSpPr>
            <a:spLocks noGrp="1"/>
          </p:cNvSpPr>
          <p:nvPr>
            <p:ph type="ftr" sz="quarter" idx="27"/>
          </p:nvPr>
        </p:nvSpPr>
        <p:spPr/>
        <p:txBody>
          <a:bodyPr/>
          <a:lstStyle/>
          <a:p>
            <a:endParaRPr lang="en-NL"/>
          </a:p>
        </p:txBody>
      </p:sp>
      <p:sp>
        <p:nvSpPr>
          <p:cNvPr id="23" name="TextBox 22">
            <a:extLst>
              <a:ext uri="{FF2B5EF4-FFF2-40B4-BE49-F238E27FC236}">
                <a16:creationId xmlns:a16="http://schemas.microsoft.com/office/drawing/2014/main" id="{9FDFBDEE-F22D-2B4B-A965-6CEC71F0E51D}"/>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9230480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ext blocks with descriptions">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D192AE6-FA63-7F45-9A5C-BE1D6300CED7}"/>
              </a:ext>
            </a:extLst>
          </p:cNvPr>
          <p:cNvSpPr>
            <a:spLocks noGrp="1"/>
          </p:cNvSpPr>
          <p:nvPr>
            <p:ph type="body" sz="quarter" idx="11" hasCustomPrompt="1"/>
          </p:nvPr>
        </p:nvSpPr>
        <p:spPr>
          <a:xfrm>
            <a:off x="1712100" y="5742878"/>
            <a:ext cx="6190847" cy="863104"/>
          </a:xfrm>
          <a:solidFill>
            <a:srgbClr val="E4E5E3"/>
          </a:solidFill>
        </p:spPr>
        <p:txBody>
          <a:bodyPr>
            <a:noAutofit/>
          </a:bodyPr>
          <a:lstStyle>
            <a:lvl1pPr>
              <a:lnSpc>
                <a:spcPct val="100000"/>
              </a:lnSpc>
              <a:defRPr b="1"/>
            </a:lvl1pPr>
          </a:lstStyle>
          <a:p>
            <a:pPr lvl="0"/>
            <a:r>
              <a:rPr lang="en-US"/>
              <a:t>Put the title here</a:t>
            </a:r>
          </a:p>
        </p:txBody>
      </p:sp>
      <p:sp>
        <p:nvSpPr>
          <p:cNvPr id="7" name="Text Placeholder 5">
            <a:extLst>
              <a:ext uri="{FF2B5EF4-FFF2-40B4-BE49-F238E27FC236}">
                <a16:creationId xmlns:a16="http://schemas.microsoft.com/office/drawing/2014/main" id="{0D2B4B01-8F71-1C43-804A-AE91ACAAB690}"/>
              </a:ext>
            </a:extLst>
          </p:cNvPr>
          <p:cNvSpPr>
            <a:spLocks noGrp="1"/>
          </p:cNvSpPr>
          <p:nvPr>
            <p:ph type="body" sz="quarter" idx="12" hasCustomPrompt="1"/>
          </p:nvPr>
        </p:nvSpPr>
        <p:spPr>
          <a:xfrm>
            <a:off x="1712100" y="6858002"/>
            <a:ext cx="6190847" cy="2899880"/>
          </a:xfrm>
        </p:spPr>
        <p:txBody>
          <a:bodyPr>
            <a:noAutofit/>
          </a:bodyPr>
          <a:lstStyle>
            <a:lvl1pPr>
              <a:lnSpc>
                <a:spcPct val="100000"/>
              </a:lnSpc>
              <a:spcBef>
                <a:spcPts val="0"/>
              </a:spcBef>
              <a:defRPr sz="2800"/>
            </a:lvl1pPr>
          </a:lstStyle>
          <a:p>
            <a:pPr lvl="0"/>
            <a:r>
              <a:rPr lang="en-US"/>
              <a:t>Put the body text or caption here</a:t>
            </a:r>
            <a:endParaRPr lang="en-GB"/>
          </a:p>
        </p:txBody>
      </p:sp>
      <p:sp>
        <p:nvSpPr>
          <p:cNvPr id="9" name="Text Placeholder 5">
            <a:extLst>
              <a:ext uri="{FF2B5EF4-FFF2-40B4-BE49-F238E27FC236}">
                <a16:creationId xmlns:a16="http://schemas.microsoft.com/office/drawing/2014/main" id="{08916781-0481-B64C-A15B-60E03E7E77EA}"/>
              </a:ext>
            </a:extLst>
          </p:cNvPr>
          <p:cNvSpPr>
            <a:spLocks noGrp="1"/>
          </p:cNvSpPr>
          <p:nvPr>
            <p:ph type="body" sz="quarter" idx="14" hasCustomPrompt="1"/>
          </p:nvPr>
        </p:nvSpPr>
        <p:spPr>
          <a:xfrm>
            <a:off x="9049380" y="5742878"/>
            <a:ext cx="6190847" cy="863104"/>
          </a:xfrm>
          <a:solidFill>
            <a:srgbClr val="E4E5E3"/>
          </a:solidFill>
        </p:spPr>
        <p:txBody>
          <a:bodyPr>
            <a:noAutofit/>
          </a:bodyPr>
          <a:lstStyle>
            <a:lvl1pPr>
              <a:lnSpc>
                <a:spcPct val="100000"/>
              </a:lnSpc>
              <a:defRPr b="1"/>
            </a:lvl1pPr>
          </a:lstStyle>
          <a:p>
            <a:pPr lvl="0"/>
            <a:r>
              <a:rPr lang="en-US"/>
              <a:t>Put the title here</a:t>
            </a:r>
          </a:p>
        </p:txBody>
      </p:sp>
      <p:sp>
        <p:nvSpPr>
          <p:cNvPr id="10" name="Text Placeholder 5">
            <a:extLst>
              <a:ext uri="{FF2B5EF4-FFF2-40B4-BE49-F238E27FC236}">
                <a16:creationId xmlns:a16="http://schemas.microsoft.com/office/drawing/2014/main" id="{CCF4949C-0573-654E-8E4A-1524918D8E6F}"/>
              </a:ext>
            </a:extLst>
          </p:cNvPr>
          <p:cNvSpPr>
            <a:spLocks noGrp="1"/>
          </p:cNvSpPr>
          <p:nvPr>
            <p:ph type="body" sz="quarter" idx="15" hasCustomPrompt="1"/>
          </p:nvPr>
        </p:nvSpPr>
        <p:spPr>
          <a:xfrm>
            <a:off x="9049380" y="6858002"/>
            <a:ext cx="6190847" cy="2899880"/>
          </a:xfrm>
        </p:spPr>
        <p:txBody>
          <a:bodyPr>
            <a:noAutofit/>
          </a:bodyPr>
          <a:lstStyle>
            <a:lvl1pPr>
              <a:lnSpc>
                <a:spcPct val="100000"/>
              </a:lnSpc>
              <a:spcBef>
                <a:spcPts val="0"/>
              </a:spcBef>
              <a:defRPr sz="2800"/>
            </a:lvl1pPr>
          </a:lstStyle>
          <a:p>
            <a:pPr lvl="0"/>
            <a:r>
              <a:rPr lang="en-US"/>
              <a:t>Put the body text or caption here</a:t>
            </a:r>
            <a:endParaRPr lang="en-GB"/>
          </a:p>
        </p:txBody>
      </p:sp>
      <p:sp>
        <p:nvSpPr>
          <p:cNvPr id="11" name="Text Placeholder 5">
            <a:extLst>
              <a:ext uri="{FF2B5EF4-FFF2-40B4-BE49-F238E27FC236}">
                <a16:creationId xmlns:a16="http://schemas.microsoft.com/office/drawing/2014/main" id="{A4742B0C-C25C-194C-9FE2-34262FB01095}"/>
              </a:ext>
            </a:extLst>
          </p:cNvPr>
          <p:cNvSpPr>
            <a:spLocks noGrp="1"/>
          </p:cNvSpPr>
          <p:nvPr>
            <p:ph type="body" sz="quarter" idx="16" hasCustomPrompt="1"/>
          </p:nvPr>
        </p:nvSpPr>
        <p:spPr>
          <a:xfrm>
            <a:off x="16490690" y="5742878"/>
            <a:ext cx="6190847" cy="863104"/>
          </a:xfrm>
          <a:solidFill>
            <a:srgbClr val="E4E5E3"/>
          </a:solidFill>
        </p:spPr>
        <p:txBody>
          <a:bodyPr>
            <a:noAutofit/>
          </a:bodyPr>
          <a:lstStyle>
            <a:lvl1pPr>
              <a:lnSpc>
                <a:spcPct val="100000"/>
              </a:lnSpc>
              <a:defRPr b="1"/>
            </a:lvl1pPr>
          </a:lstStyle>
          <a:p>
            <a:pPr lvl="0"/>
            <a:r>
              <a:rPr lang="en-US"/>
              <a:t>Put the title here</a:t>
            </a:r>
          </a:p>
        </p:txBody>
      </p:sp>
      <p:sp>
        <p:nvSpPr>
          <p:cNvPr id="12" name="Text Placeholder 5">
            <a:extLst>
              <a:ext uri="{FF2B5EF4-FFF2-40B4-BE49-F238E27FC236}">
                <a16:creationId xmlns:a16="http://schemas.microsoft.com/office/drawing/2014/main" id="{334FE28E-7BB9-5247-A7EF-E68623CEC0DF}"/>
              </a:ext>
            </a:extLst>
          </p:cNvPr>
          <p:cNvSpPr>
            <a:spLocks noGrp="1"/>
          </p:cNvSpPr>
          <p:nvPr>
            <p:ph type="body" sz="quarter" idx="17" hasCustomPrompt="1"/>
          </p:nvPr>
        </p:nvSpPr>
        <p:spPr>
          <a:xfrm>
            <a:off x="16490690" y="6858002"/>
            <a:ext cx="6190847" cy="2899880"/>
          </a:xfrm>
        </p:spPr>
        <p:txBody>
          <a:bodyPr>
            <a:noAutofit/>
          </a:bodyPr>
          <a:lstStyle>
            <a:lvl1pPr>
              <a:lnSpc>
                <a:spcPct val="100000"/>
              </a:lnSpc>
              <a:spcBef>
                <a:spcPts val="0"/>
              </a:spcBef>
              <a:defRPr sz="2800"/>
            </a:lvl1pPr>
          </a:lstStyle>
          <a:p>
            <a:pPr lvl="0"/>
            <a:r>
              <a:rPr lang="en-US"/>
              <a:t>Put the body text or caption here</a:t>
            </a:r>
            <a:endParaRPr lang="en-GB"/>
          </a:p>
        </p:txBody>
      </p:sp>
      <p:sp>
        <p:nvSpPr>
          <p:cNvPr id="15" name="Title 1">
            <a:extLst>
              <a:ext uri="{FF2B5EF4-FFF2-40B4-BE49-F238E27FC236}">
                <a16:creationId xmlns:a16="http://schemas.microsoft.com/office/drawing/2014/main" id="{AC11DA65-BB4F-5E44-93BC-902C228635DB}"/>
              </a:ext>
            </a:extLst>
          </p:cNvPr>
          <p:cNvSpPr>
            <a:spLocks noGrp="1"/>
          </p:cNvSpPr>
          <p:nvPr>
            <p:ph type="title" hasCustomPrompt="1"/>
          </p:nvPr>
        </p:nvSpPr>
        <p:spPr>
          <a:xfrm>
            <a:off x="1676293" y="1677601"/>
            <a:ext cx="21033007" cy="3457574"/>
          </a:xfrm>
          <a:prstGeom prst="rect">
            <a:avLst/>
          </a:prstGeom>
        </p:spPr>
        <p:txBody>
          <a:bodyPr/>
          <a:lstStyle>
            <a:lvl1pPr>
              <a:lnSpc>
                <a:spcPct val="100000"/>
              </a:lnSpc>
              <a:defRPr sz="7200"/>
            </a:lvl1pPr>
          </a:lstStyle>
          <a:p>
            <a:r>
              <a:rPr lang="en-US"/>
              <a:t>Put the slide headline here, </a:t>
            </a:r>
            <a:br>
              <a:rPr lang="en-US"/>
            </a:br>
            <a:r>
              <a:rPr lang="en-US"/>
              <a:t>keep it bold 36 </a:t>
            </a:r>
            <a:r>
              <a:rPr lang="en-US" err="1"/>
              <a:t>pt</a:t>
            </a:r>
            <a:endParaRPr lang="en-US"/>
          </a:p>
        </p:txBody>
      </p:sp>
    </p:spTree>
    <p:extLst>
      <p:ext uri="{BB962C8B-B14F-4D97-AF65-F5344CB8AC3E}">
        <p14:creationId xmlns:p14="http://schemas.microsoft.com/office/powerpoint/2010/main" val="1354634844"/>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6A2C0D2-4C2B-D9FF-5D23-E3F16A0D0E73}"/>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977382970"/>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Final slide">
    <p:bg>
      <p:bgPr>
        <a:solidFill>
          <a:schemeClr val="bg1"/>
        </a:solidFill>
        <a:effectLst/>
      </p:bgPr>
    </p:bg>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ECC773ED-664B-824F-91D1-6C08CFB17BDA}"/>
              </a:ext>
            </a:extLst>
          </p:cNvPr>
          <p:cNvSpPr>
            <a:spLocks noGrp="1"/>
          </p:cNvSpPr>
          <p:nvPr>
            <p:ph type="body" sz="quarter" idx="13" hasCustomPrompt="1"/>
          </p:nvPr>
        </p:nvSpPr>
        <p:spPr>
          <a:xfrm>
            <a:off x="1700166" y="7650089"/>
            <a:ext cx="10490247" cy="4384884"/>
          </a:xfrm>
        </p:spPr>
        <p:txBody>
          <a:bodyPr/>
          <a:lstStyle>
            <a:lvl1pPr>
              <a:spcBef>
                <a:spcPts val="0"/>
              </a:spcBef>
              <a:defRPr sz="3200" b="0"/>
            </a:lvl1pPr>
          </a:lstStyle>
          <a:p>
            <a:pPr lvl="0"/>
            <a:r>
              <a:rPr lang="en-GB" noProof="0"/>
              <a:t>Contact details, keep it regular 32 </a:t>
            </a:r>
            <a:r>
              <a:rPr lang="en-GB" noProof="0" err="1"/>
              <a:t>pt</a:t>
            </a:r>
            <a:endParaRPr lang="en-GB" noProof="0"/>
          </a:p>
        </p:txBody>
      </p:sp>
      <p:sp>
        <p:nvSpPr>
          <p:cNvPr id="3" name="Title 2">
            <a:extLst>
              <a:ext uri="{FF2B5EF4-FFF2-40B4-BE49-F238E27FC236}">
                <a16:creationId xmlns:a16="http://schemas.microsoft.com/office/drawing/2014/main" id="{7735138D-D591-9C4B-A824-FB43143DAED7}"/>
              </a:ext>
            </a:extLst>
          </p:cNvPr>
          <p:cNvSpPr>
            <a:spLocks noGrp="1"/>
          </p:cNvSpPr>
          <p:nvPr>
            <p:ph type="title" hasCustomPrompt="1"/>
          </p:nvPr>
        </p:nvSpPr>
        <p:spPr/>
        <p:txBody>
          <a:bodyPr/>
          <a:lstStyle/>
          <a:p>
            <a:r>
              <a:rPr lang="en-GB"/>
              <a:t>Thank you</a:t>
            </a:r>
            <a:endParaRPr lang="en-NL"/>
          </a:p>
        </p:txBody>
      </p:sp>
      <p:sp>
        <p:nvSpPr>
          <p:cNvPr id="8" name="Text Placeholder 6">
            <a:extLst>
              <a:ext uri="{FF2B5EF4-FFF2-40B4-BE49-F238E27FC236}">
                <a16:creationId xmlns:a16="http://schemas.microsoft.com/office/drawing/2014/main" id="{43362774-1C74-3547-A14B-E456BF8AB04B}"/>
              </a:ext>
            </a:extLst>
          </p:cNvPr>
          <p:cNvSpPr>
            <a:spLocks noGrp="1"/>
          </p:cNvSpPr>
          <p:nvPr>
            <p:ph type="body" sz="quarter" idx="16" hasCustomPrompt="1"/>
          </p:nvPr>
        </p:nvSpPr>
        <p:spPr>
          <a:xfrm>
            <a:off x="1700166" y="6858001"/>
            <a:ext cx="10490247" cy="792088"/>
          </a:xfrm>
        </p:spPr>
        <p:txBody>
          <a:bodyPr/>
          <a:lstStyle>
            <a:lvl1pPr>
              <a:spcBef>
                <a:spcPts val="0"/>
              </a:spcBef>
              <a:defRPr sz="3200" b="1"/>
            </a:lvl1pPr>
          </a:lstStyle>
          <a:p>
            <a:pPr lvl="0"/>
            <a:r>
              <a:rPr lang="en-GB" noProof="0"/>
              <a:t>Contact person’s full name, keep it bold 32 </a:t>
            </a:r>
            <a:r>
              <a:rPr lang="en-GB" noProof="0" err="1"/>
              <a:t>pt</a:t>
            </a:r>
            <a:endParaRPr lang="en-GB" noProof="0"/>
          </a:p>
        </p:txBody>
      </p:sp>
      <p:sp>
        <p:nvSpPr>
          <p:cNvPr id="5" name="Footer Placeholder 4">
            <a:extLst>
              <a:ext uri="{FF2B5EF4-FFF2-40B4-BE49-F238E27FC236}">
                <a16:creationId xmlns:a16="http://schemas.microsoft.com/office/drawing/2014/main" id="{5B8ABD2B-5975-3E47-B565-B6138DEA4BF2}"/>
              </a:ext>
            </a:extLst>
          </p:cNvPr>
          <p:cNvSpPr>
            <a:spLocks noGrp="1"/>
          </p:cNvSpPr>
          <p:nvPr>
            <p:ph type="ftr" sz="quarter" idx="17"/>
          </p:nvPr>
        </p:nvSpPr>
        <p:spPr/>
        <p:txBody>
          <a:bodyPr/>
          <a:lstStyle/>
          <a:p>
            <a:endParaRPr lang="en-NL"/>
          </a:p>
        </p:txBody>
      </p:sp>
      <p:pic>
        <p:nvPicPr>
          <p:cNvPr id="2" name="Graphic 1">
            <a:extLst>
              <a:ext uri="{FF2B5EF4-FFF2-40B4-BE49-F238E27FC236}">
                <a16:creationId xmlns:a16="http://schemas.microsoft.com/office/drawing/2014/main" id="{EE9ED7DF-E221-7E00-C700-C570F8E7A43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336749" y="11325502"/>
            <a:ext cx="6804340" cy="2156400"/>
          </a:xfrm>
          <a:prstGeom prst="rect">
            <a:avLst/>
          </a:prstGeom>
        </p:spPr>
      </p:pic>
    </p:spTree>
    <p:extLst>
      <p:ext uri="{BB962C8B-B14F-4D97-AF65-F5344CB8AC3E}">
        <p14:creationId xmlns:p14="http://schemas.microsoft.com/office/powerpoint/2010/main" val="330032512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Worldmap">
    <p:bg>
      <p:bgPr>
        <a:solidFill>
          <a:schemeClr val="bg1"/>
        </a:solidFill>
        <a:effectLst/>
      </p:bgPr>
    </p:bg>
    <p:spTree>
      <p:nvGrpSpPr>
        <p:cNvPr id="1" name=""/>
        <p:cNvGrpSpPr/>
        <p:nvPr/>
      </p:nvGrpSpPr>
      <p:grpSpPr>
        <a:xfrm>
          <a:off x="0" y="0"/>
          <a:ext cx="0" cy="0"/>
          <a:chOff x="0" y="0"/>
          <a:chExt cx="0" cy="0"/>
        </a:xfrm>
      </p:grpSpPr>
      <p:sp>
        <p:nvSpPr>
          <p:cNvPr id="1607" name="Freeform 5">
            <a:extLst>
              <a:ext uri="{FF2B5EF4-FFF2-40B4-BE49-F238E27FC236}">
                <a16:creationId xmlns:a16="http://schemas.microsoft.com/office/drawing/2014/main" id="{663D4140-A46B-CC56-42A1-B64D6BC07598}"/>
              </a:ext>
            </a:extLst>
          </p:cNvPr>
          <p:cNvSpPr>
            <a:spLocks/>
          </p:cNvSpPr>
          <p:nvPr userDrawn="1"/>
        </p:nvSpPr>
        <p:spPr bwMode="auto">
          <a:xfrm>
            <a:off x="15966032" y="10181506"/>
            <a:ext cx="12701" cy="28576"/>
          </a:xfrm>
          <a:custGeom>
            <a:avLst/>
            <a:gdLst>
              <a:gd name="T0" fmla="*/ 0 w 4"/>
              <a:gd name="T1" fmla="*/ 6 h 9"/>
              <a:gd name="T2" fmla="*/ 0 w 4"/>
              <a:gd name="T3" fmla="*/ 3 h 9"/>
              <a:gd name="T4" fmla="*/ 0 w 4"/>
              <a:gd name="T5" fmla="*/ 0 h 9"/>
              <a:gd name="T6" fmla="*/ 0 w 4"/>
              <a:gd name="T7" fmla="*/ 0 h 9"/>
              <a:gd name="T8" fmla="*/ 4 w 4"/>
              <a:gd name="T9" fmla="*/ 3 h 9"/>
              <a:gd name="T10" fmla="*/ 0 w 4"/>
              <a:gd name="T11" fmla="*/ 9 h 9"/>
              <a:gd name="T12" fmla="*/ 0 w 4"/>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4" h="9">
                <a:moveTo>
                  <a:pt x="0" y="6"/>
                </a:moveTo>
                <a:lnTo>
                  <a:pt x="0" y="3"/>
                </a:lnTo>
                <a:lnTo>
                  <a:pt x="0" y="0"/>
                </a:lnTo>
                <a:lnTo>
                  <a:pt x="0" y="0"/>
                </a:lnTo>
                <a:lnTo>
                  <a:pt x="4" y="3"/>
                </a:lnTo>
                <a:lnTo>
                  <a:pt x="0" y="9"/>
                </a:lnTo>
                <a:lnTo>
                  <a:pt x="0" y="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08" name="Freeform 6">
            <a:extLst>
              <a:ext uri="{FF2B5EF4-FFF2-40B4-BE49-F238E27FC236}">
                <a16:creationId xmlns:a16="http://schemas.microsoft.com/office/drawing/2014/main" id="{CEA24B5F-4D6C-40A4-293A-552B9FC59BD1}"/>
              </a:ext>
            </a:extLst>
          </p:cNvPr>
          <p:cNvSpPr>
            <a:spLocks noEditPoints="1"/>
          </p:cNvSpPr>
          <p:nvPr userDrawn="1"/>
        </p:nvSpPr>
        <p:spPr bwMode="auto">
          <a:xfrm>
            <a:off x="15839042" y="10092609"/>
            <a:ext cx="98420" cy="69850"/>
          </a:xfrm>
          <a:custGeom>
            <a:avLst/>
            <a:gdLst>
              <a:gd name="T0" fmla="*/ 6 w 31"/>
              <a:gd name="T1" fmla="*/ 12 h 22"/>
              <a:gd name="T2" fmla="*/ 9 w 31"/>
              <a:gd name="T3" fmla="*/ 9 h 22"/>
              <a:gd name="T4" fmla="*/ 6 w 31"/>
              <a:gd name="T5" fmla="*/ 6 h 22"/>
              <a:gd name="T6" fmla="*/ 9 w 31"/>
              <a:gd name="T7" fmla="*/ 6 h 22"/>
              <a:gd name="T8" fmla="*/ 6 w 31"/>
              <a:gd name="T9" fmla="*/ 0 h 22"/>
              <a:gd name="T10" fmla="*/ 3 w 31"/>
              <a:gd name="T11" fmla="*/ 0 h 22"/>
              <a:gd name="T12" fmla="*/ 0 w 31"/>
              <a:gd name="T13" fmla="*/ 6 h 22"/>
              <a:gd name="T14" fmla="*/ 3 w 31"/>
              <a:gd name="T15" fmla="*/ 9 h 22"/>
              <a:gd name="T16" fmla="*/ 3 w 31"/>
              <a:gd name="T17" fmla="*/ 12 h 22"/>
              <a:gd name="T18" fmla="*/ 6 w 31"/>
              <a:gd name="T19" fmla="*/ 12 h 22"/>
              <a:gd name="T20" fmla="*/ 6 w 31"/>
              <a:gd name="T21" fmla="*/ 12 h 22"/>
              <a:gd name="T22" fmla="*/ 6 w 31"/>
              <a:gd name="T23" fmla="*/ 12 h 22"/>
              <a:gd name="T24" fmla="*/ 9 w 31"/>
              <a:gd name="T25" fmla="*/ 22 h 22"/>
              <a:gd name="T26" fmla="*/ 9 w 31"/>
              <a:gd name="T27" fmla="*/ 22 h 22"/>
              <a:gd name="T28" fmla="*/ 12 w 31"/>
              <a:gd name="T29" fmla="*/ 22 h 22"/>
              <a:gd name="T30" fmla="*/ 9 w 31"/>
              <a:gd name="T31" fmla="*/ 22 h 22"/>
              <a:gd name="T32" fmla="*/ 6 w 31"/>
              <a:gd name="T33" fmla="*/ 22 h 22"/>
              <a:gd name="T34" fmla="*/ 9 w 31"/>
              <a:gd name="T35" fmla="*/ 22 h 22"/>
              <a:gd name="T36" fmla="*/ 9 w 31"/>
              <a:gd name="T37" fmla="*/ 22 h 22"/>
              <a:gd name="T38" fmla="*/ 28 w 31"/>
              <a:gd name="T39" fmla="*/ 22 h 22"/>
              <a:gd name="T40" fmla="*/ 31 w 31"/>
              <a:gd name="T41" fmla="*/ 22 h 22"/>
              <a:gd name="T42" fmla="*/ 28 w 31"/>
              <a:gd name="T43" fmla="*/ 15 h 22"/>
              <a:gd name="T44" fmla="*/ 28 w 31"/>
              <a:gd name="T45" fmla="*/ 18 h 22"/>
              <a:gd name="T46" fmla="*/ 25 w 31"/>
              <a:gd name="T47" fmla="*/ 18 h 22"/>
              <a:gd name="T48" fmla="*/ 28 w 31"/>
              <a:gd name="T49" fmla="*/ 22 h 22"/>
              <a:gd name="T50" fmla="*/ 28 w 31"/>
              <a:gd name="T5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22">
                <a:moveTo>
                  <a:pt x="6" y="12"/>
                </a:moveTo>
                <a:lnTo>
                  <a:pt x="9" y="9"/>
                </a:lnTo>
                <a:lnTo>
                  <a:pt x="6" y="6"/>
                </a:lnTo>
                <a:lnTo>
                  <a:pt x="9" y="6"/>
                </a:lnTo>
                <a:lnTo>
                  <a:pt x="6" y="0"/>
                </a:lnTo>
                <a:lnTo>
                  <a:pt x="3" y="0"/>
                </a:lnTo>
                <a:lnTo>
                  <a:pt x="0" y="6"/>
                </a:lnTo>
                <a:lnTo>
                  <a:pt x="3" y="9"/>
                </a:lnTo>
                <a:lnTo>
                  <a:pt x="3" y="12"/>
                </a:lnTo>
                <a:lnTo>
                  <a:pt x="6" y="12"/>
                </a:lnTo>
                <a:lnTo>
                  <a:pt x="6" y="12"/>
                </a:lnTo>
                <a:lnTo>
                  <a:pt x="6" y="12"/>
                </a:lnTo>
                <a:close/>
                <a:moveTo>
                  <a:pt x="9" y="22"/>
                </a:moveTo>
                <a:lnTo>
                  <a:pt x="9" y="22"/>
                </a:lnTo>
                <a:lnTo>
                  <a:pt x="12" y="22"/>
                </a:lnTo>
                <a:lnTo>
                  <a:pt x="9" y="22"/>
                </a:lnTo>
                <a:lnTo>
                  <a:pt x="6" y="22"/>
                </a:lnTo>
                <a:lnTo>
                  <a:pt x="9" y="22"/>
                </a:lnTo>
                <a:lnTo>
                  <a:pt x="9" y="22"/>
                </a:lnTo>
                <a:close/>
                <a:moveTo>
                  <a:pt x="28" y="22"/>
                </a:moveTo>
                <a:lnTo>
                  <a:pt x="31" y="22"/>
                </a:lnTo>
                <a:lnTo>
                  <a:pt x="28" y="15"/>
                </a:lnTo>
                <a:lnTo>
                  <a:pt x="28" y="18"/>
                </a:lnTo>
                <a:lnTo>
                  <a:pt x="25" y="18"/>
                </a:lnTo>
                <a:lnTo>
                  <a:pt x="28" y="22"/>
                </a:lnTo>
                <a:lnTo>
                  <a:pt x="28" y="22"/>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09" name="Freeform 7">
            <a:extLst>
              <a:ext uri="{FF2B5EF4-FFF2-40B4-BE49-F238E27FC236}">
                <a16:creationId xmlns:a16="http://schemas.microsoft.com/office/drawing/2014/main" id="{4148015F-CFE2-15F1-3028-6764DE479678}"/>
              </a:ext>
            </a:extLst>
          </p:cNvPr>
          <p:cNvSpPr>
            <a:spLocks noEditPoints="1"/>
          </p:cNvSpPr>
          <p:nvPr userDrawn="1"/>
        </p:nvSpPr>
        <p:spPr bwMode="auto">
          <a:xfrm>
            <a:off x="16045403" y="9673508"/>
            <a:ext cx="596863" cy="330200"/>
          </a:xfrm>
          <a:custGeom>
            <a:avLst/>
            <a:gdLst>
              <a:gd name="T0" fmla="*/ 182 w 188"/>
              <a:gd name="T1" fmla="*/ 7 h 104"/>
              <a:gd name="T2" fmla="*/ 188 w 188"/>
              <a:gd name="T3" fmla="*/ 3 h 104"/>
              <a:gd name="T4" fmla="*/ 185 w 188"/>
              <a:gd name="T5" fmla="*/ 3 h 104"/>
              <a:gd name="T6" fmla="*/ 182 w 188"/>
              <a:gd name="T7" fmla="*/ 0 h 104"/>
              <a:gd name="T8" fmla="*/ 182 w 188"/>
              <a:gd name="T9" fmla="*/ 3 h 104"/>
              <a:gd name="T10" fmla="*/ 182 w 188"/>
              <a:gd name="T11" fmla="*/ 7 h 104"/>
              <a:gd name="T12" fmla="*/ 182 w 188"/>
              <a:gd name="T13" fmla="*/ 7 h 104"/>
              <a:gd name="T14" fmla="*/ 4 w 188"/>
              <a:gd name="T15" fmla="*/ 100 h 104"/>
              <a:gd name="T16" fmla="*/ 7 w 188"/>
              <a:gd name="T17" fmla="*/ 100 h 104"/>
              <a:gd name="T18" fmla="*/ 7 w 188"/>
              <a:gd name="T19" fmla="*/ 104 h 104"/>
              <a:gd name="T20" fmla="*/ 4 w 188"/>
              <a:gd name="T21" fmla="*/ 100 h 104"/>
              <a:gd name="T22" fmla="*/ 4 w 188"/>
              <a:gd name="T23" fmla="*/ 100 h 104"/>
              <a:gd name="T24" fmla="*/ 0 w 188"/>
              <a:gd name="T25" fmla="*/ 94 h 104"/>
              <a:gd name="T26" fmla="*/ 4 w 188"/>
              <a:gd name="T27" fmla="*/ 91 h 104"/>
              <a:gd name="T28" fmla="*/ 7 w 188"/>
              <a:gd name="T29" fmla="*/ 94 h 104"/>
              <a:gd name="T30" fmla="*/ 7 w 188"/>
              <a:gd name="T31" fmla="*/ 94 h 104"/>
              <a:gd name="T32" fmla="*/ 7 w 188"/>
              <a:gd name="T33" fmla="*/ 94 h 104"/>
              <a:gd name="T34" fmla="*/ 4 w 188"/>
              <a:gd name="T35" fmla="*/ 94 h 104"/>
              <a:gd name="T36" fmla="*/ 0 w 188"/>
              <a:gd name="T37" fmla="*/ 9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8" h="104">
                <a:moveTo>
                  <a:pt x="182" y="7"/>
                </a:moveTo>
                <a:lnTo>
                  <a:pt x="188" y="3"/>
                </a:lnTo>
                <a:lnTo>
                  <a:pt x="185" y="3"/>
                </a:lnTo>
                <a:lnTo>
                  <a:pt x="182" y="0"/>
                </a:lnTo>
                <a:lnTo>
                  <a:pt x="182" y="3"/>
                </a:lnTo>
                <a:lnTo>
                  <a:pt x="182" y="7"/>
                </a:lnTo>
                <a:lnTo>
                  <a:pt x="182" y="7"/>
                </a:lnTo>
                <a:close/>
                <a:moveTo>
                  <a:pt x="4" y="100"/>
                </a:moveTo>
                <a:lnTo>
                  <a:pt x="7" y="100"/>
                </a:lnTo>
                <a:lnTo>
                  <a:pt x="7" y="104"/>
                </a:lnTo>
                <a:lnTo>
                  <a:pt x="4" y="100"/>
                </a:lnTo>
                <a:lnTo>
                  <a:pt x="4" y="100"/>
                </a:lnTo>
                <a:close/>
                <a:moveTo>
                  <a:pt x="0" y="94"/>
                </a:moveTo>
                <a:lnTo>
                  <a:pt x="4" y="91"/>
                </a:lnTo>
                <a:lnTo>
                  <a:pt x="7" y="94"/>
                </a:lnTo>
                <a:lnTo>
                  <a:pt x="7" y="94"/>
                </a:lnTo>
                <a:lnTo>
                  <a:pt x="7" y="94"/>
                </a:lnTo>
                <a:lnTo>
                  <a:pt x="4" y="94"/>
                </a:lnTo>
                <a:lnTo>
                  <a:pt x="0" y="9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0" name="Freeform 8">
            <a:extLst>
              <a:ext uri="{FF2B5EF4-FFF2-40B4-BE49-F238E27FC236}">
                <a16:creationId xmlns:a16="http://schemas.microsoft.com/office/drawing/2014/main" id="{317C6F66-A9E3-BF48-47B1-D16EC261A1D1}"/>
              </a:ext>
            </a:extLst>
          </p:cNvPr>
          <p:cNvSpPr>
            <a:spLocks noEditPoints="1"/>
          </p:cNvSpPr>
          <p:nvPr userDrawn="1"/>
        </p:nvSpPr>
        <p:spPr bwMode="auto">
          <a:xfrm>
            <a:off x="18915420" y="8501930"/>
            <a:ext cx="136517" cy="457200"/>
          </a:xfrm>
          <a:custGeom>
            <a:avLst/>
            <a:gdLst>
              <a:gd name="T0" fmla="*/ 6 w 14"/>
              <a:gd name="T1" fmla="*/ 8 h 46"/>
              <a:gd name="T2" fmla="*/ 5 w 14"/>
              <a:gd name="T3" fmla="*/ 5 h 46"/>
              <a:gd name="T4" fmla="*/ 6 w 14"/>
              <a:gd name="T5" fmla="*/ 3 h 46"/>
              <a:gd name="T6" fmla="*/ 6 w 14"/>
              <a:gd name="T7" fmla="*/ 1 h 46"/>
              <a:gd name="T8" fmla="*/ 4 w 14"/>
              <a:gd name="T9" fmla="*/ 2 h 46"/>
              <a:gd name="T10" fmla="*/ 4 w 14"/>
              <a:gd name="T11" fmla="*/ 5 h 46"/>
              <a:gd name="T12" fmla="*/ 4 w 14"/>
              <a:gd name="T13" fmla="*/ 8 h 46"/>
              <a:gd name="T14" fmla="*/ 4 w 14"/>
              <a:gd name="T15" fmla="*/ 16 h 46"/>
              <a:gd name="T16" fmla="*/ 4 w 14"/>
              <a:gd name="T17" fmla="*/ 13 h 46"/>
              <a:gd name="T18" fmla="*/ 4 w 14"/>
              <a:gd name="T19" fmla="*/ 11 h 46"/>
              <a:gd name="T20" fmla="*/ 5 w 14"/>
              <a:gd name="T21" fmla="*/ 9 h 46"/>
              <a:gd name="T22" fmla="*/ 3 w 14"/>
              <a:gd name="T23" fmla="*/ 12 h 46"/>
              <a:gd name="T24" fmla="*/ 4 w 14"/>
              <a:gd name="T25" fmla="*/ 14 h 46"/>
              <a:gd name="T26" fmla="*/ 4 w 14"/>
              <a:gd name="T27" fmla="*/ 16 h 46"/>
              <a:gd name="T28" fmla="*/ 2 w 14"/>
              <a:gd name="T29" fmla="*/ 15 h 46"/>
              <a:gd name="T30" fmla="*/ 0 w 14"/>
              <a:gd name="T31" fmla="*/ 15 h 46"/>
              <a:gd name="T32" fmla="*/ 4 w 14"/>
              <a:gd name="T33" fmla="*/ 22 h 46"/>
              <a:gd name="T34" fmla="*/ 4 w 14"/>
              <a:gd name="T35" fmla="*/ 19 h 46"/>
              <a:gd name="T36" fmla="*/ 2 w 14"/>
              <a:gd name="T37" fmla="*/ 21 h 46"/>
              <a:gd name="T38" fmla="*/ 6 w 14"/>
              <a:gd name="T39" fmla="*/ 29 h 46"/>
              <a:gd name="T40" fmla="*/ 6 w 14"/>
              <a:gd name="T41" fmla="*/ 30 h 46"/>
              <a:gd name="T42" fmla="*/ 8 w 14"/>
              <a:gd name="T43" fmla="*/ 34 h 46"/>
              <a:gd name="T44" fmla="*/ 9 w 14"/>
              <a:gd name="T45" fmla="*/ 36 h 46"/>
              <a:gd name="T46" fmla="*/ 8 w 14"/>
              <a:gd name="T47" fmla="*/ 34 h 46"/>
              <a:gd name="T48" fmla="*/ 10 w 14"/>
              <a:gd name="T49" fmla="*/ 36 h 46"/>
              <a:gd name="T50" fmla="*/ 11 w 14"/>
              <a:gd name="T51" fmla="*/ 37 h 46"/>
              <a:gd name="T52" fmla="*/ 11 w 14"/>
              <a:gd name="T53" fmla="*/ 35 h 46"/>
              <a:gd name="T54" fmla="*/ 10 w 14"/>
              <a:gd name="T55" fmla="*/ 39 h 46"/>
              <a:gd name="T56" fmla="*/ 10 w 14"/>
              <a:gd name="T57" fmla="*/ 37 h 46"/>
              <a:gd name="T58" fmla="*/ 9 w 14"/>
              <a:gd name="T59" fmla="*/ 39 h 46"/>
              <a:gd name="T60" fmla="*/ 13 w 14"/>
              <a:gd name="T61" fmla="*/ 41 h 46"/>
              <a:gd name="T62" fmla="*/ 11 w 14"/>
              <a:gd name="T63" fmla="*/ 41 h 46"/>
              <a:gd name="T64" fmla="*/ 13 w 14"/>
              <a:gd name="T65" fmla="*/ 42 h 46"/>
              <a:gd name="T66" fmla="*/ 12 w 14"/>
              <a:gd name="T67" fmla="*/ 44 h 46"/>
              <a:gd name="T68" fmla="*/ 13 w 14"/>
              <a:gd name="T69" fmla="*/ 46 h 46"/>
              <a:gd name="T70" fmla="*/ 13 w 14"/>
              <a:gd name="T71" fmla="*/ 44 h 46"/>
              <a:gd name="T72" fmla="*/ 13 w 14"/>
              <a:gd name="T73"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46">
                <a:moveTo>
                  <a:pt x="4" y="9"/>
                </a:moveTo>
                <a:cubicBezTo>
                  <a:pt x="6" y="8"/>
                  <a:pt x="6" y="8"/>
                  <a:pt x="6" y="8"/>
                </a:cubicBezTo>
                <a:cubicBezTo>
                  <a:pt x="6" y="6"/>
                  <a:pt x="6" y="6"/>
                  <a:pt x="6" y="6"/>
                </a:cubicBezTo>
                <a:cubicBezTo>
                  <a:pt x="5" y="5"/>
                  <a:pt x="5" y="5"/>
                  <a:pt x="5" y="5"/>
                </a:cubicBezTo>
                <a:cubicBezTo>
                  <a:pt x="6" y="4"/>
                  <a:pt x="6" y="4"/>
                  <a:pt x="6" y="4"/>
                </a:cubicBezTo>
                <a:cubicBezTo>
                  <a:pt x="6" y="3"/>
                  <a:pt x="6" y="3"/>
                  <a:pt x="6" y="3"/>
                </a:cubicBezTo>
                <a:cubicBezTo>
                  <a:pt x="5" y="2"/>
                  <a:pt x="5" y="2"/>
                  <a:pt x="5" y="2"/>
                </a:cubicBezTo>
                <a:cubicBezTo>
                  <a:pt x="6" y="1"/>
                  <a:pt x="6" y="1"/>
                  <a:pt x="6" y="1"/>
                </a:cubicBezTo>
                <a:cubicBezTo>
                  <a:pt x="5" y="0"/>
                  <a:pt x="5" y="0"/>
                  <a:pt x="5" y="0"/>
                </a:cubicBezTo>
                <a:cubicBezTo>
                  <a:pt x="4" y="2"/>
                  <a:pt x="4" y="2"/>
                  <a:pt x="4" y="2"/>
                </a:cubicBezTo>
                <a:cubicBezTo>
                  <a:pt x="4" y="4"/>
                  <a:pt x="4" y="4"/>
                  <a:pt x="4" y="4"/>
                </a:cubicBezTo>
                <a:cubicBezTo>
                  <a:pt x="4" y="5"/>
                  <a:pt x="4" y="5"/>
                  <a:pt x="4" y="5"/>
                </a:cubicBezTo>
                <a:cubicBezTo>
                  <a:pt x="4" y="5"/>
                  <a:pt x="4" y="5"/>
                  <a:pt x="4" y="5"/>
                </a:cubicBezTo>
                <a:cubicBezTo>
                  <a:pt x="4" y="8"/>
                  <a:pt x="4" y="8"/>
                  <a:pt x="4" y="8"/>
                </a:cubicBezTo>
                <a:cubicBezTo>
                  <a:pt x="4" y="9"/>
                  <a:pt x="4" y="9"/>
                  <a:pt x="4" y="9"/>
                </a:cubicBezTo>
                <a:close/>
                <a:moveTo>
                  <a:pt x="4" y="16"/>
                </a:moveTo>
                <a:cubicBezTo>
                  <a:pt x="4" y="14"/>
                  <a:pt x="4" y="14"/>
                  <a:pt x="4" y="14"/>
                </a:cubicBezTo>
                <a:cubicBezTo>
                  <a:pt x="4" y="13"/>
                  <a:pt x="4" y="13"/>
                  <a:pt x="4" y="13"/>
                </a:cubicBezTo>
                <a:cubicBezTo>
                  <a:pt x="4" y="12"/>
                  <a:pt x="4" y="12"/>
                  <a:pt x="4" y="12"/>
                </a:cubicBezTo>
                <a:cubicBezTo>
                  <a:pt x="4" y="11"/>
                  <a:pt x="4" y="11"/>
                  <a:pt x="4" y="11"/>
                </a:cubicBezTo>
                <a:cubicBezTo>
                  <a:pt x="5" y="10"/>
                  <a:pt x="5" y="10"/>
                  <a:pt x="5" y="10"/>
                </a:cubicBezTo>
                <a:cubicBezTo>
                  <a:pt x="5" y="9"/>
                  <a:pt x="5" y="9"/>
                  <a:pt x="5" y="9"/>
                </a:cubicBezTo>
                <a:cubicBezTo>
                  <a:pt x="3" y="10"/>
                  <a:pt x="3" y="10"/>
                  <a:pt x="3" y="10"/>
                </a:cubicBezTo>
                <a:cubicBezTo>
                  <a:pt x="3" y="12"/>
                  <a:pt x="3" y="12"/>
                  <a:pt x="3" y="12"/>
                </a:cubicBezTo>
                <a:cubicBezTo>
                  <a:pt x="3" y="13"/>
                  <a:pt x="3" y="13"/>
                  <a:pt x="3" y="13"/>
                </a:cubicBezTo>
                <a:cubicBezTo>
                  <a:pt x="4" y="14"/>
                  <a:pt x="4" y="14"/>
                  <a:pt x="4" y="14"/>
                </a:cubicBezTo>
                <a:cubicBezTo>
                  <a:pt x="3" y="15"/>
                  <a:pt x="3" y="15"/>
                  <a:pt x="3" y="15"/>
                </a:cubicBezTo>
                <a:cubicBezTo>
                  <a:pt x="4" y="16"/>
                  <a:pt x="4" y="16"/>
                  <a:pt x="4" y="16"/>
                </a:cubicBezTo>
                <a:close/>
                <a:moveTo>
                  <a:pt x="0" y="15"/>
                </a:moveTo>
                <a:cubicBezTo>
                  <a:pt x="2" y="15"/>
                  <a:pt x="2" y="15"/>
                  <a:pt x="2" y="15"/>
                </a:cubicBezTo>
                <a:cubicBezTo>
                  <a:pt x="1" y="14"/>
                  <a:pt x="1" y="14"/>
                  <a:pt x="1" y="14"/>
                </a:cubicBezTo>
                <a:cubicBezTo>
                  <a:pt x="0" y="15"/>
                  <a:pt x="0" y="15"/>
                  <a:pt x="0" y="15"/>
                </a:cubicBezTo>
                <a:close/>
                <a:moveTo>
                  <a:pt x="2" y="22"/>
                </a:moveTo>
                <a:cubicBezTo>
                  <a:pt x="4" y="22"/>
                  <a:pt x="4" y="22"/>
                  <a:pt x="4" y="22"/>
                </a:cubicBezTo>
                <a:cubicBezTo>
                  <a:pt x="4" y="20"/>
                  <a:pt x="4" y="20"/>
                  <a:pt x="4" y="20"/>
                </a:cubicBezTo>
                <a:cubicBezTo>
                  <a:pt x="4" y="19"/>
                  <a:pt x="4" y="19"/>
                  <a:pt x="4" y="19"/>
                </a:cubicBezTo>
                <a:cubicBezTo>
                  <a:pt x="3" y="19"/>
                  <a:pt x="3" y="19"/>
                  <a:pt x="3" y="19"/>
                </a:cubicBezTo>
                <a:cubicBezTo>
                  <a:pt x="2" y="21"/>
                  <a:pt x="2" y="21"/>
                  <a:pt x="2" y="21"/>
                </a:cubicBezTo>
                <a:cubicBezTo>
                  <a:pt x="2" y="21"/>
                  <a:pt x="2" y="22"/>
                  <a:pt x="2" y="22"/>
                </a:cubicBezTo>
                <a:close/>
                <a:moveTo>
                  <a:pt x="6" y="29"/>
                </a:moveTo>
                <a:cubicBezTo>
                  <a:pt x="5" y="30"/>
                  <a:pt x="5" y="30"/>
                  <a:pt x="5" y="30"/>
                </a:cubicBezTo>
                <a:cubicBezTo>
                  <a:pt x="6" y="30"/>
                  <a:pt x="6" y="30"/>
                  <a:pt x="6" y="30"/>
                </a:cubicBezTo>
                <a:cubicBezTo>
                  <a:pt x="6" y="29"/>
                  <a:pt x="6" y="29"/>
                  <a:pt x="6" y="29"/>
                </a:cubicBezTo>
                <a:close/>
                <a:moveTo>
                  <a:pt x="8" y="34"/>
                </a:moveTo>
                <a:cubicBezTo>
                  <a:pt x="8" y="35"/>
                  <a:pt x="8" y="35"/>
                  <a:pt x="8" y="35"/>
                </a:cubicBezTo>
                <a:cubicBezTo>
                  <a:pt x="9" y="36"/>
                  <a:pt x="9" y="36"/>
                  <a:pt x="9" y="36"/>
                </a:cubicBezTo>
                <a:cubicBezTo>
                  <a:pt x="8" y="35"/>
                  <a:pt x="8" y="35"/>
                  <a:pt x="8" y="35"/>
                </a:cubicBezTo>
                <a:cubicBezTo>
                  <a:pt x="8" y="35"/>
                  <a:pt x="8" y="34"/>
                  <a:pt x="8" y="34"/>
                </a:cubicBezTo>
                <a:close/>
                <a:moveTo>
                  <a:pt x="11" y="35"/>
                </a:moveTo>
                <a:cubicBezTo>
                  <a:pt x="10" y="36"/>
                  <a:pt x="10" y="36"/>
                  <a:pt x="10" y="36"/>
                </a:cubicBezTo>
                <a:cubicBezTo>
                  <a:pt x="11" y="37"/>
                  <a:pt x="11" y="37"/>
                  <a:pt x="11" y="37"/>
                </a:cubicBezTo>
                <a:cubicBezTo>
                  <a:pt x="11" y="37"/>
                  <a:pt x="11" y="37"/>
                  <a:pt x="11" y="37"/>
                </a:cubicBezTo>
                <a:cubicBezTo>
                  <a:pt x="11" y="36"/>
                  <a:pt x="11" y="36"/>
                  <a:pt x="11" y="36"/>
                </a:cubicBezTo>
                <a:cubicBezTo>
                  <a:pt x="11" y="35"/>
                  <a:pt x="11" y="35"/>
                  <a:pt x="11" y="35"/>
                </a:cubicBezTo>
                <a:close/>
                <a:moveTo>
                  <a:pt x="9" y="39"/>
                </a:moveTo>
                <a:cubicBezTo>
                  <a:pt x="10" y="39"/>
                  <a:pt x="10" y="39"/>
                  <a:pt x="10" y="39"/>
                </a:cubicBezTo>
                <a:cubicBezTo>
                  <a:pt x="11" y="39"/>
                  <a:pt x="11" y="39"/>
                  <a:pt x="11" y="39"/>
                </a:cubicBezTo>
                <a:cubicBezTo>
                  <a:pt x="10" y="37"/>
                  <a:pt x="10" y="37"/>
                  <a:pt x="10" y="37"/>
                </a:cubicBezTo>
                <a:cubicBezTo>
                  <a:pt x="9" y="38"/>
                  <a:pt x="9" y="38"/>
                  <a:pt x="9" y="38"/>
                </a:cubicBezTo>
                <a:cubicBezTo>
                  <a:pt x="9" y="39"/>
                  <a:pt x="9" y="39"/>
                  <a:pt x="9" y="39"/>
                </a:cubicBezTo>
                <a:close/>
                <a:moveTo>
                  <a:pt x="12" y="42"/>
                </a:moveTo>
                <a:cubicBezTo>
                  <a:pt x="13" y="41"/>
                  <a:pt x="13" y="41"/>
                  <a:pt x="13" y="41"/>
                </a:cubicBezTo>
                <a:cubicBezTo>
                  <a:pt x="12" y="41"/>
                  <a:pt x="12" y="41"/>
                  <a:pt x="12" y="41"/>
                </a:cubicBezTo>
                <a:cubicBezTo>
                  <a:pt x="11" y="41"/>
                  <a:pt x="11" y="41"/>
                  <a:pt x="11" y="41"/>
                </a:cubicBezTo>
                <a:cubicBezTo>
                  <a:pt x="12" y="42"/>
                  <a:pt x="12" y="42"/>
                  <a:pt x="12" y="42"/>
                </a:cubicBezTo>
                <a:close/>
                <a:moveTo>
                  <a:pt x="13" y="42"/>
                </a:moveTo>
                <a:cubicBezTo>
                  <a:pt x="12" y="43"/>
                  <a:pt x="12" y="43"/>
                  <a:pt x="12" y="43"/>
                </a:cubicBezTo>
                <a:cubicBezTo>
                  <a:pt x="12" y="44"/>
                  <a:pt x="12" y="44"/>
                  <a:pt x="12" y="44"/>
                </a:cubicBezTo>
                <a:cubicBezTo>
                  <a:pt x="12" y="44"/>
                  <a:pt x="12" y="44"/>
                  <a:pt x="12" y="45"/>
                </a:cubicBezTo>
                <a:cubicBezTo>
                  <a:pt x="12" y="45"/>
                  <a:pt x="13" y="46"/>
                  <a:pt x="13" y="46"/>
                </a:cubicBezTo>
                <a:cubicBezTo>
                  <a:pt x="14" y="45"/>
                  <a:pt x="14" y="45"/>
                  <a:pt x="14" y="45"/>
                </a:cubicBezTo>
                <a:cubicBezTo>
                  <a:pt x="13" y="44"/>
                  <a:pt x="13" y="44"/>
                  <a:pt x="13" y="44"/>
                </a:cubicBezTo>
                <a:cubicBezTo>
                  <a:pt x="13" y="43"/>
                  <a:pt x="13" y="43"/>
                  <a:pt x="13" y="43"/>
                </a:cubicBezTo>
                <a:lnTo>
                  <a:pt x="13" y="42"/>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1" name="Freeform 9">
            <a:extLst>
              <a:ext uri="{FF2B5EF4-FFF2-40B4-BE49-F238E27FC236}">
                <a16:creationId xmlns:a16="http://schemas.microsoft.com/office/drawing/2014/main" id="{DD89DE80-3D9E-7C8A-1FEC-797731833B3B}"/>
              </a:ext>
            </a:extLst>
          </p:cNvPr>
          <p:cNvSpPr>
            <a:spLocks noEditPoints="1"/>
          </p:cNvSpPr>
          <p:nvPr userDrawn="1"/>
        </p:nvSpPr>
        <p:spPr bwMode="auto">
          <a:xfrm>
            <a:off x="22179102" y="8371759"/>
            <a:ext cx="79371" cy="149226"/>
          </a:xfrm>
          <a:custGeom>
            <a:avLst/>
            <a:gdLst>
              <a:gd name="T0" fmla="*/ 25 w 25"/>
              <a:gd name="T1" fmla="*/ 0 h 47"/>
              <a:gd name="T2" fmla="*/ 19 w 25"/>
              <a:gd name="T3" fmla="*/ 4 h 47"/>
              <a:gd name="T4" fmla="*/ 22 w 25"/>
              <a:gd name="T5" fmla="*/ 10 h 47"/>
              <a:gd name="T6" fmla="*/ 22 w 25"/>
              <a:gd name="T7" fmla="*/ 4 h 47"/>
              <a:gd name="T8" fmla="*/ 25 w 25"/>
              <a:gd name="T9" fmla="*/ 0 h 47"/>
              <a:gd name="T10" fmla="*/ 25 w 25"/>
              <a:gd name="T11" fmla="*/ 0 h 47"/>
              <a:gd name="T12" fmla="*/ 25 w 25"/>
              <a:gd name="T13" fmla="*/ 0 h 47"/>
              <a:gd name="T14" fmla="*/ 13 w 25"/>
              <a:gd name="T15" fmla="*/ 29 h 47"/>
              <a:gd name="T16" fmla="*/ 16 w 25"/>
              <a:gd name="T17" fmla="*/ 26 h 47"/>
              <a:gd name="T18" fmla="*/ 19 w 25"/>
              <a:gd name="T19" fmla="*/ 29 h 47"/>
              <a:gd name="T20" fmla="*/ 16 w 25"/>
              <a:gd name="T21" fmla="*/ 29 h 47"/>
              <a:gd name="T22" fmla="*/ 13 w 25"/>
              <a:gd name="T23" fmla="*/ 29 h 47"/>
              <a:gd name="T24" fmla="*/ 13 w 25"/>
              <a:gd name="T25" fmla="*/ 29 h 47"/>
              <a:gd name="T26" fmla="*/ 3 w 25"/>
              <a:gd name="T27" fmla="*/ 44 h 47"/>
              <a:gd name="T28" fmla="*/ 3 w 25"/>
              <a:gd name="T29" fmla="*/ 41 h 47"/>
              <a:gd name="T30" fmla="*/ 6 w 25"/>
              <a:gd name="T31" fmla="*/ 38 h 47"/>
              <a:gd name="T32" fmla="*/ 9 w 25"/>
              <a:gd name="T33" fmla="*/ 41 h 47"/>
              <a:gd name="T34" fmla="*/ 6 w 25"/>
              <a:gd name="T35" fmla="*/ 47 h 47"/>
              <a:gd name="T36" fmla="*/ 3 w 25"/>
              <a:gd name="T37" fmla="*/ 47 h 47"/>
              <a:gd name="T38" fmla="*/ 0 w 25"/>
              <a:gd name="T39" fmla="*/ 44 h 47"/>
              <a:gd name="T40" fmla="*/ 3 w 25"/>
              <a:gd name="T41"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47">
                <a:moveTo>
                  <a:pt x="25" y="0"/>
                </a:moveTo>
                <a:lnTo>
                  <a:pt x="19" y="4"/>
                </a:lnTo>
                <a:lnTo>
                  <a:pt x="22" y="10"/>
                </a:lnTo>
                <a:lnTo>
                  <a:pt x="22" y="4"/>
                </a:lnTo>
                <a:lnTo>
                  <a:pt x="25" y="0"/>
                </a:lnTo>
                <a:lnTo>
                  <a:pt x="25" y="0"/>
                </a:lnTo>
                <a:lnTo>
                  <a:pt x="25" y="0"/>
                </a:lnTo>
                <a:close/>
                <a:moveTo>
                  <a:pt x="13" y="29"/>
                </a:moveTo>
                <a:lnTo>
                  <a:pt x="16" y="26"/>
                </a:lnTo>
                <a:lnTo>
                  <a:pt x="19" y="29"/>
                </a:lnTo>
                <a:lnTo>
                  <a:pt x="16" y="29"/>
                </a:lnTo>
                <a:lnTo>
                  <a:pt x="13" y="29"/>
                </a:lnTo>
                <a:lnTo>
                  <a:pt x="13" y="29"/>
                </a:lnTo>
                <a:close/>
                <a:moveTo>
                  <a:pt x="3" y="44"/>
                </a:moveTo>
                <a:lnTo>
                  <a:pt x="3" y="41"/>
                </a:lnTo>
                <a:lnTo>
                  <a:pt x="6" y="38"/>
                </a:lnTo>
                <a:lnTo>
                  <a:pt x="9" y="41"/>
                </a:lnTo>
                <a:lnTo>
                  <a:pt x="6" y="47"/>
                </a:lnTo>
                <a:lnTo>
                  <a:pt x="3" y="47"/>
                </a:lnTo>
                <a:lnTo>
                  <a:pt x="0" y="44"/>
                </a:lnTo>
                <a:lnTo>
                  <a:pt x="3" y="4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2" name="Freeform 10">
            <a:extLst>
              <a:ext uri="{FF2B5EF4-FFF2-40B4-BE49-F238E27FC236}">
                <a16:creationId xmlns:a16="http://schemas.microsoft.com/office/drawing/2014/main" id="{91C92606-AF3B-9C58-F521-F92AE6546400}"/>
              </a:ext>
            </a:extLst>
          </p:cNvPr>
          <p:cNvSpPr>
            <a:spLocks noEditPoints="1"/>
          </p:cNvSpPr>
          <p:nvPr userDrawn="1"/>
        </p:nvSpPr>
        <p:spPr bwMode="auto">
          <a:xfrm>
            <a:off x="14537374" y="1669331"/>
            <a:ext cx="8206842" cy="4946650"/>
          </a:xfrm>
          <a:custGeom>
            <a:avLst/>
            <a:gdLst>
              <a:gd name="T0" fmla="*/ 633 w 827"/>
              <a:gd name="T1" fmla="*/ 408 h 498"/>
              <a:gd name="T2" fmla="*/ 578 w 827"/>
              <a:gd name="T3" fmla="*/ 356 h 498"/>
              <a:gd name="T4" fmla="*/ 516 w 827"/>
              <a:gd name="T5" fmla="*/ 401 h 498"/>
              <a:gd name="T6" fmla="*/ 401 w 827"/>
              <a:gd name="T7" fmla="*/ 403 h 498"/>
              <a:gd name="T8" fmla="*/ 283 w 827"/>
              <a:gd name="T9" fmla="*/ 383 h 498"/>
              <a:gd name="T10" fmla="*/ 208 w 827"/>
              <a:gd name="T11" fmla="*/ 393 h 498"/>
              <a:gd name="T12" fmla="*/ 140 w 827"/>
              <a:gd name="T13" fmla="*/ 425 h 498"/>
              <a:gd name="T14" fmla="*/ 120 w 827"/>
              <a:gd name="T15" fmla="*/ 497 h 498"/>
              <a:gd name="T16" fmla="*/ 69 w 827"/>
              <a:gd name="T17" fmla="*/ 425 h 498"/>
              <a:gd name="T18" fmla="*/ 11 w 827"/>
              <a:gd name="T19" fmla="*/ 334 h 498"/>
              <a:gd name="T20" fmla="*/ 22 w 827"/>
              <a:gd name="T21" fmla="*/ 238 h 498"/>
              <a:gd name="T22" fmla="*/ 30 w 827"/>
              <a:gd name="T23" fmla="*/ 270 h 498"/>
              <a:gd name="T24" fmla="*/ 84 w 827"/>
              <a:gd name="T25" fmla="*/ 263 h 498"/>
              <a:gd name="T26" fmla="*/ 128 w 827"/>
              <a:gd name="T27" fmla="*/ 239 h 498"/>
              <a:gd name="T28" fmla="*/ 204 w 827"/>
              <a:gd name="T29" fmla="*/ 224 h 498"/>
              <a:gd name="T30" fmla="*/ 226 w 827"/>
              <a:gd name="T31" fmla="*/ 227 h 498"/>
              <a:gd name="T32" fmla="*/ 247 w 827"/>
              <a:gd name="T33" fmla="*/ 220 h 498"/>
              <a:gd name="T34" fmla="*/ 239 w 827"/>
              <a:gd name="T35" fmla="*/ 171 h 498"/>
              <a:gd name="T36" fmla="*/ 248 w 827"/>
              <a:gd name="T37" fmla="*/ 144 h 498"/>
              <a:gd name="T38" fmla="*/ 273 w 827"/>
              <a:gd name="T39" fmla="*/ 96 h 498"/>
              <a:gd name="T40" fmla="*/ 311 w 827"/>
              <a:gd name="T41" fmla="*/ 65 h 498"/>
              <a:gd name="T42" fmla="*/ 364 w 827"/>
              <a:gd name="T43" fmla="*/ 94 h 498"/>
              <a:gd name="T44" fmla="*/ 386 w 827"/>
              <a:gd name="T45" fmla="*/ 114 h 498"/>
              <a:gd name="T46" fmla="*/ 466 w 827"/>
              <a:gd name="T47" fmla="*/ 109 h 498"/>
              <a:gd name="T48" fmla="*/ 525 w 827"/>
              <a:gd name="T49" fmla="*/ 102 h 498"/>
              <a:gd name="T50" fmla="*/ 581 w 827"/>
              <a:gd name="T51" fmla="*/ 91 h 498"/>
              <a:gd name="T52" fmla="*/ 705 w 827"/>
              <a:gd name="T53" fmla="*/ 93 h 498"/>
              <a:gd name="T54" fmla="*/ 783 w 827"/>
              <a:gd name="T55" fmla="*/ 77 h 498"/>
              <a:gd name="T56" fmla="*/ 819 w 827"/>
              <a:gd name="T57" fmla="*/ 97 h 498"/>
              <a:gd name="T58" fmla="*/ 796 w 827"/>
              <a:gd name="T59" fmla="*/ 131 h 498"/>
              <a:gd name="T60" fmla="*/ 800 w 827"/>
              <a:gd name="T61" fmla="*/ 187 h 498"/>
              <a:gd name="T62" fmla="*/ 758 w 827"/>
              <a:gd name="T63" fmla="*/ 248 h 498"/>
              <a:gd name="T64" fmla="*/ 772 w 827"/>
              <a:gd name="T65" fmla="*/ 339 h 498"/>
              <a:gd name="T66" fmla="*/ 741 w 827"/>
              <a:gd name="T67" fmla="*/ 206 h 498"/>
              <a:gd name="T68" fmla="*/ 706 w 827"/>
              <a:gd name="T69" fmla="*/ 230 h 498"/>
              <a:gd name="T70" fmla="*/ 661 w 827"/>
              <a:gd name="T71" fmla="*/ 264 h 498"/>
              <a:gd name="T72" fmla="*/ 651 w 827"/>
              <a:gd name="T73" fmla="*/ 333 h 498"/>
              <a:gd name="T74" fmla="*/ 656 w 827"/>
              <a:gd name="T75" fmla="*/ 453 h 498"/>
              <a:gd name="T76" fmla="*/ 56 w 827"/>
              <a:gd name="T77" fmla="*/ 51 h 498"/>
              <a:gd name="T78" fmla="*/ 77 w 827"/>
              <a:gd name="T79" fmla="*/ 31 h 498"/>
              <a:gd name="T80" fmla="*/ 70 w 827"/>
              <a:gd name="T81" fmla="*/ 51 h 498"/>
              <a:gd name="T82" fmla="*/ 74 w 827"/>
              <a:gd name="T83" fmla="*/ 52 h 498"/>
              <a:gd name="T84" fmla="*/ 92 w 827"/>
              <a:gd name="T85" fmla="*/ 44 h 498"/>
              <a:gd name="T86" fmla="*/ 119 w 827"/>
              <a:gd name="T87" fmla="*/ 171 h 498"/>
              <a:gd name="T88" fmla="*/ 145 w 827"/>
              <a:gd name="T89" fmla="*/ 112 h 498"/>
              <a:gd name="T90" fmla="*/ 113 w 827"/>
              <a:gd name="T91" fmla="*/ 159 h 498"/>
              <a:gd name="T92" fmla="*/ 107 w 827"/>
              <a:gd name="T93" fmla="*/ 180 h 498"/>
              <a:gd name="T94" fmla="*/ 137 w 827"/>
              <a:gd name="T95" fmla="*/ 211 h 498"/>
              <a:gd name="T96" fmla="*/ 265 w 827"/>
              <a:gd name="T97" fmla="*/ 189 h 498"/>
              <a:gd name="T98" fmla="*/ 208 w 827"/>
              <a:gd name="T99" fmla="*/ 165 h 498"/>
              <a:gd name="T100" fmla="*/ 223 w 827"/>
              <a:gd name="T101" fmla="*/ 109 h 498"/>
              <a:gd name="T102" fmla="*/ 269 w 827"/>
              <a:gd name="T103" fmla="*/ 79 h 498"/>
              <a:gd name="T104" fmla="*/ 205 w 827"/>
              <a:gd name="T105" fmla="*/ 8 h 498"/>
              <a:gd name="T106" fmla="*/ 236 w 827"/>
              <a:gd name="T107" fmla="*/ 38 h 498"/>
              <a:gd name="T108" fmla="*/ 510 w 827"/>
              <a:gd name="T109" fmla="*/ 26 h 498"/>
              <a:gd name="T110" fmla="*/ 462 w 827"/>
              <a:gd name="T111" fmla="*/ 38 h 498"/>
              <a:gd name="T112" fmla="*/ 276 w 827"/>
              <a:gd name="T113" fmla="*/ 29 h 498"/>
              <a:gd name="T114" fmla="*/ 376 w 827"/>
              <a:gd name="T115" fmla="*/ 103 h 498"/>
              <a:gd name="T116" fmla="*/ 653 w 827"/>
              <a:gd name="T117" fmla="*/ 97 h 498"/>
              <a:gd name="T118" fmla="*/ 700 w 827"/>
              <a:gd name="T119" fmla="*/ 379 h 498"/>
              <a:gd name="T120" fmla="*/ 694 w 827"/>
              <a:gd name="T121" fmla="*/ 402 h 498"/>
              <a:gd name="T122" fmla="*/ 764 w 827"/>
              <a:gd name="T123" fmla="*/ 252 h 498"/>
              <a:gd name="T124" fmla="*/ 761 w 827"/>
              <a:gd name="T125" fmla="*/ 38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7" h="498">
                <a:moveTo>
                  <a:pt x="642" y="458"/>
                </a:moveTo>
                <a:cubicBezTo>
                  <a:pt x="641" y="458"/>
                  <a:pt x="641" y="458"/>
                  <a:pt x="641" y="458"/>
                </a:cubicBezTo>
                <a:cubicBezTo>
                  <a:pt x="640" y="457"/>
                  <a:pt x="640" y="457"/>
                  <a:pt x="640" y="457"/>
                </a:cubicBezTo>
                <a:cubicBezTo>
                  <a:pt x="640" y="457"/>
                  <a:pt x="640" y="457"/>
                  <a:pt x="640" y="457"/>
                </a:cubicBezTo>
                <a:cubicBezTo>
                  <a:pt x="641" y="456"/>
                  <a:pt x="641" y="456"/>
                  <a:pt x="641" y="456"/>
                </a:cubicBezTo>
                <a:cubicBezTo>
                  <a:pt x="641" y="455"/>
                  <a:pt x="641" y="455"/>
                  <a:pt x="641" y="455"/>
                </a:cubicBezTo>
                <a:cubicBezTo>
                  <a:pt x="640" y="455"/>
                  <a:pt x="640" y="455"/>
                  <a:pt x="640" y="455"/>
                </a:cubicBezTo>
                <a:cubicBezTo>
                  <a:pt x="640" y="454"/>
                  <a:pt x="640" y="454"/>
                  <a:pt x="640" y="454"/>
                </a:cubicBezTo>
                <a:cubicBezTo>
                  <a:pt x="640" y="453"/>
                  <a:pt x="640" y="453"/>
                  <a:pt x="640" y="453"/>
                </a:cubicBezTo>
                <a:cubicBezTo>
                  <a:pt x="641" y="453"/>
                  <a:pt x="641" y="453"/>
                  <a:pt x="641" y="453"/>
                </a:cubicBezTo>
                <a:cubicBezTo>
                  <a:pt x="642" y="453"/>
                  <a:pt x="642" y="453"/>
                  <a:pt x="642" y="453"/>
                </a:cubicBezTo>
                <a:cubicBezTo>
                  <a:pt x="643" y="453"/>
                  <a:pt x="643" y="453"/>
                  <a:pt x="643" y="453"/>
                </a:cubicBezTo>
                <a:cubicBezTo>
                  <a:pt x="643" y="452"/>
                  <a:pt x="643" y="452"/>
                  <a:pt x="643" y="452"/>
                </a:cubicBezTo>
                <a:cubicBezTo>
                  <a:pt x="642" y="451"/>
                  <a:pt x="642" y="451"/>
                  <a:pt x="642" y="451"/>
                </a:cubicBezTo>
                <a:cubicBezTo>
                  <a:pt x="643" y="450"/>
                  <a:pt x="643" y="450"/>
                  <a:pt x="643" y="450"/>
                </a:cubicBezTo>
                <a:cubicBezTo>
                  <a:pt x="643" y="450"/>
                  <a:pt x="643" y="450"/>
                  <a:pt x="643" y="450"/>
                </a:cubicBezTo>
                <a:cubicBezTo>
                  <a:pt x="643" y="449"/>
                  <a:pt x="643" y="449"/>
                  <a:pt x="643" y="449"/>
                </a:cubicBezTo>
                <a:cubicBezTo>
                  <a:pt x="643" y="447"/>
                  <a:pt x="643" y="447"/>
                  <a:pt x="643" y="447"/>
                </a:cubicBezTo>
                <a:cubicBezTo>
                  <a:pt x="642" y="447"/>
                  <a:pt x="642" y="447"/>
                  <a:pt x="642" y="447"/>
                </a:cubicBezTo>
                <a:cubicBezTo>
                  <a:pt x="642" y="445"/>
                  <a:pt x="642" y="445"/>
                  <a:pt x="642" y="445"/>
                </a:cubicBezTo>
                <a:cubicBezTo>
                  <a:pt x="642" y="444"/>
                  <a:pt x="642" y="444"/>
                  <a:pt x="642" y="444"/>
                </a:cubicBezTo>
                <a:cubicBezTo>
                  <a:pt x="642" y="442"/>
                  <a:pt x="642" y="442"/>
                  <a:pt x="642" y="442"/>
                </a:cubicBezTo>
                <a:cubicBezTo>
                  <a:pt x="642" y="441"/>
                  <a:pt x="642" y="441"/>
                  <a:pt x="642" y="441"/>
                </a:cubicBezTo>
                <a:cubicBezTo>
                  <a:pt x="641" y="440"/>
                  <a:pt x="641" y="440"/>
                  <a:pt x="641" y="440"/>
                </a:cubicBezTo>
                <a:cubicBezTo>
                  <a:pt x="641" y="439"/>
                  <a:pt x="641" y="439"/>
                  <a:pt x="641" y="439"/>
                </a:cubicBezTo>
                <a:cubicBezTo>
                  <a:pt x="640" y="438"/>
                  <a:pt x="640" y="438"/>
                  <a:pt x="640" y="438"/>
                </a:cubicBezTo>
                <a:cubicBezTo>
                  <a:pt x="639" y="436"/>
                  <a:pt x="639" y="436"/>
                  <a:pt x="639" y="436"/>
                </a:cubicBezTo>
                <a:cubicBezTo>
                  <a:pt x="638" y="435"/>
                  <a:pt x="638" y="435"/>
                  <a:pt x="638" y="435"/>
                </a:cubicBezTo>
                <a:cubicBezTo>
                  <a:pt x="639" y="434"/>
                  <a:pt x="639" y="434"/>
                  <a:pt x="639" y="434"/>
                </a:cubicBezTo>
                <a:cubicBezTo>
                  <a:pt x="639" y="434"/>
                  <a:pt x="639" y="434"/>
                  <a:pt x="639" y="434"/>
                </a:cubicBezTo>
                <a:cubicBezTo>
                  <a:pt x="640" y="434"/>
                  <a:pt x="640" y="434"/>
                  <a:pt x="640" y="434"/>
                </a:cubicBezTo>
                <a:cubicBezTo>
                  <a:pt x="641" y="433"/>
                  <a:pt x="641" y="433"/>
                  <a:pt x="641" y="433"/>
                </a:cubicBezTo>
                <a:cubicBezTo>
                  <a:pt x="641" y="432"/>
                  <a:pt x="641" y="432"/>
                  <a:pt x="641" y="432"/>
                </a:cubicBezTo>
                <a:cubicBezTo>
                  <a:pt x="642" y="430"/>
                  <a:pt x="642" y="430"/>
                  <a:pt x="642" y="430"/>
                </a:cubicBezTo>
                <a:cubicBezTo>
                  <a:pt x="643" y="430"/>
                  <a:pt x="643" y="430"/>
                  <a:pt x="643" y="430"/>
                </a:cubicBezTo>
                <a:cubicBezTo>
                  <a:pt x="644" y="431"/>
                  <a:pt x="644" y="431"/>
                  <a:pt x="644" y="431"/>
                </a:cubicBezTo>
                <a:cubicBezTo>
                  <a:pt x="644" y="431"/>
                  <a:pt x="644" y="431"/>
                  <a:pt x="644" y="431"/>
                </a:cubicBezTo>
                <a:cubicBezTo>
                  <a:pt x="648" y="432"/>
                  <a:pt x="648" y="432"/>
                  <a:pt x="648" y="432"/>
                </a:cubicBezTo>
                <a:cubicBezTo>
                  <a:pt x="649" y="432"/>
                  <a:pt x="649" y="432"/>
                  <a:pt x="649" y="432"/>
                </a:cubicBezTo>
                <a:cubicBezTo>
                  <a:pt x="650" y="432"/>
                  <a:pt x="650" y="432"/>
                  <a:pt x="650" y="432"/>
                </a:cubicBezTo>
                <a:cubicBezTo>
                  <a:pt x="650" y="431"/>
                  <a:pt x="650" y="431"/>
                  <a:pt x="650" y="431"/>
                </a:cubicBezTo>
                <a:cubicBezTo>
                  <a:pt x="650" y="430"/>
                  <a:pt x="650" y="430"/>
                  <a:pt x="650" y="430"/>
                </a:cubicBezTo>
                <a:cubicBezTo>
                  <a:pt x="650" y="430"/>
                  <a:pt x="650" y="430"/>
                  <a:pt x="650" y="430"/>
                </a:cubicBezTo>
                <a:cubicBezTo>
                  <a:pt x="650" y="429"/>
                  <a:pt x="650" y="429"/>
                  <a:pt x="650" y="429"/>
                </a:cubicBezTo>
                <a:cubicBezTo>
                  <a:pt x="650" y="428"/>
                  <a:pt x="650" y="428"/>
                  <a:pt x="650" y="428"/>
                </a:cubicBezTo>
                <a:cubicBezTo>
                  <a:pt x="650" y="428"/>
                  <a:pt x="650" y="428"/>
                  <a:pt x="650" y="428"/>
                </a:cubicBezTo>
                <a:cubicBezTo>
                  <a:pt x="649" y="427"/>
                  <a:pt x="649" y="427"/>
                  <a:pt x="649" y="427"/>
                </a:cubicBezTo>
                <a:cubicBezTo>
                  <a:pt x="650" y="426"/>
                  <a:pt x="650" y="426"/>
                  <a:pt x="650" y="426"/>
                </a:cubicBezTo>
                <a:cubicBezTo>
                  <a:pt x="650" y="425"/>
                  <a:pt x="650" y="425"/>
                  <a:pt x="650" y="425"/>
                </a:cubicBezTo>
                <a:cubicBezTo>
                  <a:pt x="650" y="424"/>
                  <a:pt x="650" y="424"/>
                  <a:pt x="650" y="424"/>
                </a:cubicBezTo>
                <a:cubicBezTo>
                  <a:pt x="650" y="424"/>
                  <a:pt x="650" y="424"/>
                  <a:pt x="650" y="424"/>
                </a:cubicBezTo>
                <a:cubicBezTo>
                  <a:pt x="650" y="423"/>
                  <a:pt x="650" y="423"/>
                  <a:pt x="650" y="423"/>
                </a:cubicBezTo>
                <a:cubicBezTo>
                  <a:pt x="651" y="423"/>
                  <a:pt x="651" y="423"/>
                  <a:pt x="651" y="423"/>
                </a:cubicBezTo>
                <a:cubicBezTo>
                  <a:pt x="650" y="422"/>
                  <a:pt x="650" y="422"/>
                  <a:pt x="650" y="422"/>
                </a:cubicBezTo>
                <a:cubicBezTo>
                  <a:pt x="650" y="422"/>
                  <a:pt x="650" y="422"/>
                  <a:pt x="650" y="422"/>
                </a:cubicBezTo>
                <a:cubicBezTo>
                  <a:pt x="650" y="421"/>
                  <a:pt x="650" y="421"/>
                  <a:pt x="650" y="421"/>
                </a:cubicBezTo>
                <a:cubicBezTo>
                  <a:pt x="650" y="420"/>
                  <a:pt x="650" y="420"/>
                  <a:pt x="650" y="420"/>
                </a:cubicBezTo>
                <a:cubicBezTo>
                  <a:pt x="651" y="420"/>
                  <a:pt x="651" y="420"/>
                  <a:pt x="651" y="420"/>
                </a:cubicBezTo>
                <a:cubicBezTo>
                  <a:pt x="651" y="419"/>
                  <a:pt x="651" y="419"/>
                  <a:pt x="651" y="419"/>
                </a:cubicBezTo>
                <a:cubicBezTo>
                  <a:pt x="651" y="419"/>
                  <a:pt x="651" y="419"/>
                  <a:pt x="651" y="419"/>
                </a:cubicBezTo>
                <a:cubicBezTo>
                  <a:pt x="650" y="417"/>
                  <a:pt x="650" y="417"/>
                  <a:pt x="650" y="417"/>
                </a:cubicBezTo>
                <a:cubicBezTo>
                  <a:pt x="650" y="416"/>
                  <a:pt x="650" y="416"/>
                  <a:pt x="650" y="416"/>
                </a:cubicBezTo>
                <a:cubicBezTo>
                  <a:pt x="650" y="416"/>
                  <a:pt x="650" y="416"/>
                  <a:pt x="650" y="416"/>
                </a:cubicBezTo>
                <a:cubicBezTo>
                  <a:pt x="651" y="415"/>
                  <a:pt x="651" y="415"/>
                  <a:pt x="651" y="415"/>
                </a:cubicBezTo>
                <a:cubicBezTo>
                  <a:pt x="651" y="415"/>
                  <a:pt x="651" y="415"/>
                  <a:pt x="651" y="415"/>
                </a:cubicBezTo>
                <a:cubicBezTo>
                  <a:pt x="650" y="414"/>
                  <a:pt x="650" y="414"/>
                  <a:pt x="650" y="414"/>
                </a:cubicBezTo>
                <a:cubicBezTo>
                  <a:pt x="650" y="414"/>
                  <a:pt x="650" y="414"/>
                  <a:pt x="650" y="414"/>
                </a:cubicBezTo>
                <a:cubicBezTo>
                  <a:pt x="650" y="413"/>
                  <a:pt x="650" y="413"/>
                  <a:pt x="650" y="413"/>
                </a:cubicBezTo>
                <a:cubicBezTo>
                  <a:pt x="650" y="413"/>
                  <a:pt x="650" y="413"/>
                  <a:pt x="650" y="413"/>
                </a:cubicBezTo>
                <a:cubicBezTo>
                  <a:pt x="650" y="412"/>
                  <a:pt x="650" y="412"/>
                  <a:pt x="650" y="412"/>
                </a:cubicBezTo>
                <a:cubicBezTo>
                  <a:pt x="650" y="411"/>
                  <a:pt x="650" y="411"/>
                  <a:pt x="650" y="411"/>
                </a:cubicBezTo>
                <a:cubicBezTo>
                  <a:pt x="650" y="410"/>
                  <a:pt x="650" y="410"/>
                  <a:pt x="650" y="410"/>
                </a:cubicBezTo>
                <a:cubicBezTo>
                  <a:pt x="649" y="410"/>
                  <a:pt x="649" y="410"/>
                  <a:pt x="649" y="410"/>
                </a:cubicBezTo>
                <a:cubicBezTo>
                  <a:pt x="649" y="409"/>
                  <a:pt x="649" y="409"/>
                  <a:pt x="649" y="409"/>
                </a:cubicBezTo>
                <a:cubicBezTo>
                  <a:pt x="650" y="408"/>
                  <a:pt x="650" y="408"/>
                  <a:pt x="650" y="408"/>
                </a:cubicBezTo>
                <a:cubicBezTo>
                  <a:pt x="651" y="408"/>
                  <a:pt x="651" y="408"/>
                  <a:pt x="651" y="408"/>
                </a:cubicBezTo>
                <a:cubicBezTo>
                  <a:pt x="651" y="407"/>
                  <a:pt x="651" y="407"/>
                  <a:pt x="651" y="407"/>
                </a:cubicBezTo>
                <a:cubicBezTo>
                  <a:pt x="651" y="406"/>
                  <a:pt x="651" y="406"/>
                  <a:pt x="651" y="406"/>
                </a:cubicBezTo>
                <a:cubicBezTo>
                  <a:pt x="652" y="405"/>
                  <a:pt x="652" y="405"/>
                  <a:pt x="652" y="405"/>
                </a:cubicBezTo>
                <a:cubicBezTo>
                  <a:pt x="651" y="405"/>
                  <a:pt x="651" y="405"/>
                  <a:pt x="651" y="405"/>
                </a:cubicBezTo>
                <a:cubicBezTo>
                  <a:pt x="650" y="404"/>
                  <a:pt x="650" y="404"/>
                  <a:pt x="650" y="404"/>
                </a:cubicBezTo>
                <a:cubicBezTo>
                  <a:pt x="650" y="403"/>
                  <a:pt x="650" y="403"/>
                  <a:pt x="650" y="403"/>
                </a:cubicBezTo>
                <a:cubicBezTo>
                  <a:pt x="649" y="402"/>
                  <a:pt x="649" y="402"/>
                  <a:pt x="649" y="402"/>
                </a:cubicBezTo>
                <a:cubicBezTo>
                  <a:pt x="649" y="401"/>
                  <a:pt x="649" y="401"/>
                  <a:pt x="649" y="401"/>
                </a:cubicBezTo>
                <a:cubicBezTo>
                  <a:pt x="649" y="401"/>
                  <a:pt x="649" y="401"/>
                  <a:pt x="649" y="401"/>
                </a:cubicBezTo>
                <a:cubicBezTo>
                  <a:pt x="649" y="400"/>
                  <a:pt x="649" y="400"/>
                  <a:pt x="649" y="400"/>
                </a:cubicBezTo>
                <a:cubicBezTo>
                  <a:pt x="648" y="399"/>
                  <a:pt x="648" y="399"/>
                  <a:pt x="648" y="399"/>
                </a:cubicBezTo>
                <a:cubicBezTo>
                  <a:pt x="647" y="399"/>
                  <a:pt x="647" y="399"/>
                  <a:pt x="647" y="399"/>
                </a:cubicBezTo>
                <a:cubicBezTo>
                  <a:pt x="647" y="398"/>
                  <a:pt x="647" y="398"/>
                  <a:pt x="647" y="398"/>
                </a:cubicBezTo>
                <a:cubicBezTo>
                  <a:pt x="645" y="398"/>
                  <a:pt x="645" y="398"/>
                  <a:pt x="645" y="398"/>
                </a:cubicBezTo>
                <a:cubicBezTo>
                  <a:pt x="645" y="398"/>
                  <a:pt x="645" y="398"/>
                  <a:pt x="645" y="398"/>
                </a:cubicBezTo>
                <a:cubicBezTo>
                  <a:pt x="644" y="399"/>
                  <a:pt x="644" y="399"/>
                  <a:pt x="644" y="399"/>
                </a:cubicBezTo>
                <a:cubicBezTo>
                  <a:pt x="643" y="399"/>
                  <a:pt x="643" y="399"/>
                  <a:pt x="643" y="399"/>
                </a:cubicBezTo>
                <a:cubicBezTo>
                  <a:pt x="643" y="400"/>
                  <a:pt x="643" y="400"/>
                  <a:pt x="643" y="400"/>
                </a:cubicBezTo>
                <a:cubicBezTo>
                  <a:pt x="642" y="400"/>
                  <a:pt x="642" y="400"/>
                  <a:pt x="642" y="400"/>
                </a:cubicBezTo>
                <a:cubicBezTo>
                  <a:pt x="642" y="401"/>
                  <a:pt x="642" y="401"/>
                  <a:pt x="642" y="401"/>
                </a:cubicBezTo>
                <a:cubicBezTo>
                  <a:pt x="641" y="402"/>
                  <a:pt x="641" y="402"/>
                  <a:pt x="641" y="402"/>
                </a:cubicBezTo>
                <a:cubicBezTo>
                  <a:pt x="640" y="402"/>
                  <a:pt x="640" y="402"/>
                  <a:pt x="640" y="402"/>
                </a:cubicBezTo>
                <a:cubicBezTo>
                  <a:pt x="639" y="402"/>
                  <a:pt x="639" y="402"/>
                  <a:pt x="639" y="402"/>
                </a:cubicBezTo>
                <a:cubicBezTo>
                  <a:pt x="639" y="403"/>
                  <a:pt x="639" y="403"/>
                  <a:pt x="639" y="403"/>
                </a:cubicBezTo>
                <a:cubicBezTo>
                  <a:pt x="639" y="404"/>
                  <a:pt x="639" y="404"/>
                  <a:pt x="639" y="404"/>
                </a:cubicBezTo>
                <a:cubicBezTo>
                  <a:pt x="638" y="404"/>
                  <a:pt x="638" y="404"/>
                  <a:pt x="638" y="404"/>
                </a:cubicBezTo>
                <a:cubicBezTo>
                  <a:pt x="638" y="405"/>
                  <a:pt x="638" y="405"/>
                  <a:pt x="638" y="405"/>
                </a:cubicBezTo>
                <a:cubicBezTo>
                  <a:pt x="638" y="406"/>
                  <a:pt x="638" y="406"/>
                  <a:pt x="638" y="406"/>
                </a:cubicBezTo>
                <a:cubicBezTo>
                  <a:pt x="637" y="406"/>
                  <a:pt x="637" y="406"/>
                  <a:pt x="637" y="406"/>
                </a:cubicBezTo>
                <a:cubicBezTo>
                  <a:pt x="636" y="407"/>
                  <a:pt x="636" y="407"/>
                  <a:pt x="636" y="407"/>
                </a:cubicBezTo>
                <a:cubicBezTo>
                  <a:pt x="635" y="407"/>
                  <a:pt x="635" y="407"/>
                  <a:pt x="635" y="407"/>
                </a:cubicBezTo>
                <a:cubicBezTo>
                  <a:pt x="634" y="408"/>
                  <a:pt x="634" y="408"/>
                  <a:pt x="634" y="408"/>
                </a:cubicBezTo>
                <a:cubicBezTo>
                  <a:pt x="633" y="407"/>
                  <a:pt x="633" y="407"/>
                  <a:pt x="633" y="407"/>
                </a:cubicBezTo>
                <a:cubicBezTo>
                  <a:pt x="633" y="408"/>
                  <a:pt x="633" y="408"/>
                  <a:pt x="633" y="408"/>
                </a:cubicBezTo>
                <a:cubicBezTo>
                  <a:pt x="632" y="408"/>
                  <a:pt x="632" y="408"/>
                  <a:pt x="632" y="408"/>
                </a:cubicBezTo>
                <a:cubicBezTo>
                  <a:pt x="632" y="407"/>
                  <a:pt x="632" y="407"/>
                  <a:pt x="632" y="407"/>
                </a:cubicBezTo>
                <a:cubicBezTo>
                  <a:pt x="631" y="407"/>
                  <a:pt x="631" y="407"/>
                  <a:pt x="631" y="407"/>
                </a:cubicBezTo>
                <a:cubicBezTo>
                  <a:pt x="630" y="407"/>
                  <a:pt x="630" y="407"/>
                  <a:pt x="630" y="407"/>
                </a:cubicBezTo>
                <a:cubicBezTo>
                  <a:pt x="629" y="407"/>
                  <a:pt x="629" y="407"/>
                  <a:pt x="629" y="407"/>
                </a:cubicBezTo>
                <a:cubicBezTo>
                  <a:pt x="628" y="407"/>
                  <a:pt x="628" y="407"/>
                  <a:pt x="628" y="407"/>
                </a:cubicBezTo>
                <a:cubicBezTo>
                  <a:pt x="628" y="407"/>
                  <a:pt x="628" y="407"/>
                  <a:pt x="628" y="407"/>
                </a:cubicBezTo>
                <a:cubicBezTo>
                  <a:pt x="627" y="406"/>
                  <a:pt x="627" y="406"/>
                  <a:pt x="627" y="406"/>
                </a:cubicBezTo>
                <a:cubicBezTo>
                  <a:pt x="626" y="405"/>
                  <a:pt x="626" y="405"/>
                  <a:pt x="626" y="405"/>
                </a:cubicBezTo>
                <a:cubicBezTo>
                  <a:pt x="625" y="404"/>
                  <a:pt x="625" y="404"/>
                  <a:pt x="625" y="404"/>
                </a:cubicBezTo>
                <a:cubicBezTo>
                  <a:pt x="625" y="403"/>
                  <a:pt x="625" y="403"/>
                  <a:pt x="625" y="403"/>
                </a:cubicBezTo>
                <a:cubicBezTo>
                  <a:pt x="626" y="402"/>
                  <a:pt x="626" y="402"/>
                  <a:pt x="626" y="402"/>
                </a:cubicBezTo>
                <a:cubicBezTo>
                  <a:pt x="626" y="401"/>
                  <a:pt x="626" y="401"/>
                  <a:pt x="626" y="401"/>
                </a:cubicBezTo>
                <a:cubicBezTo>
                  <a:pt x="625" y="400"/>
                  <a:pt x="625" y="400"/>
                  <a:pt x="625" y="400"/>
                </a:cubicBezTo>
                <a:cubicBezTo>
                  <a:pt x="625" y="399"/>
                  <a:pt x="625" y="399"/>
                  <a:pt x="625" y="399"/>
                </a:cubicBezTo>
                <a:cubicBezTo>
                  <a:pt x="624" y="399"/>
                  <a:pt x="624" y="399"/>
                  <a:pt x="624" y="399"/>
                </a:cubicBezTo>
                <a:cubicBezTo>
                  <a:pt x="624" y="398"/>
                  <a:pt x="624" y="398"/>
                  <a:pt x="624" y="398"/>
                </a:cubicBezTo>
                <a:cubicBezTo>
                  <a:pt x="624" y="398"/>
                  <a:pt x="624" y="398"/>
                  <a:pt x="624" y="398"/>
                </a:cubicBezTo>
                <a:cubicBezTo>
                  <a:pt x="624" y="397"/>
                  <a:pt x="624" y="397"/>
                  <a:pt x="624" y="397"/>
                </a:cubicBezTo>
                <a:cubicBezTo>
                  <a:pt x="625" y="396"/>
                  <a:pt x="625" y="396"/>
                  <a:pt x="625" y="396"/>
                </a:cubicBezTo>
                <a:cubicBezTo>
                  <a:pt x="624" y="396"/>
                  <a:pt x="624" y="396"/>
                  <a:pt x="624" y="396"/>
                </a:cubicBezTo>
                <a:cubicBezTo>
                  <a:pt x="624" y="396"/>
                  <a:pt x="624" y="396"/>
                  <a:pt x="624" y="396"/>
                </a:cubicBezTo>
                <a:cubicBezTo>
                  <a:pt x="623" y="396"/>
                  <a:pt x="623" y="396"/>
                  <a:pt x="623" y="396"/>
                </a:cubicBezTo>
                <a:cubicBezTo>
                  <a:pt x="622" y="396"/>
                  <a:pt x="622" y="396"/>
                  <a:pt x="622" y="396"/>
                </a:cubicBezTo>
                <a:cubicBezTo>
                  <a:pt x="622" y="397"/>
                  <a:pt x="622" y="397"/>
                  <a:pt x="622" y="397"/>
                </a:cubicBezTo>
                <a:cubicBezTo>
                  <a:pt x="621" y="397"/>
                  <a:pt x="621" y="397"/>
                  <a:pt x="621" y="397"/>
                </a:cubicBezTo>
                <a:cubicBezTo>
                  <a:pt x="620" y="396"/>
                  <a:pt x="620" y="396"/>
                  <a:pt x="620" y="396"/>
                </a:cubicBezTo>
                <a:cubicBezTo>
                  <a:pt x="619" y="396"/>
                  <a:pt x="619" y="396"/>
                  <a:pt x="619" y="396"/>
                </a:cubicBezTo>
                <a:cubicBezTo>
                  <a:pt x="619" y="396"/>
                  <a:pt x="619" y="396"/>
                  <a:pt x="619" y="396"/>
                </a:cubicBezTo>
                <a:cubicBezTo>
                  <a:pt x="618" y="395"/>
                  <a:pt x="618" y="395"/>
                  <a:pt x="618" y="395"/>
                </a:cubicBezTo>
                <a:cubicBezTo>
                  <a:pt x="618" y="394"/>
                  <a:pt x="618" y="394"/>
                  <a:pt x="618" y="394"/>
                </a:cubicBezTo>
                <a:cubicBezTo>
                  <a:pt x="617" y="394"/>
                  <a:pt x="617" y="394"/>
                  <a:pt x="617" y="394"/>
                </a:cubicBezTo>
                <a:cubicBezTo>
                  <a:pt x="617" y="394"/>
                  <a:pt x="617" y="394"/>
                  <a:pt x="617" y="394"/>
                </a:cubicBezTo>
                <a:cubicBezTo>
                  <a:pt x="616" y="393"/>
                  <a:pt x="616" y="393"/>
                  <a:pt x="616" y="393"/>
                </a:cubicBezTo>
                <a:cubicBezTo>
                  <a:pt x="616" y="393"/>
                  <a:pt x="616" y="393"/>
                  <a:pt x="616" y="393"/>
                </a:cubicBezTo>
                <a:cubicBezTo>
                  <a:pt x="615" y="393"/>
                  <a:pt x="615" y="393"/>
                  <a:pt x="615" y="393"/>
                </a:cubicBezTo>
                <a:cubicBezTo>
                  <a:pt x="615" y="392"/>
                  <a:pt x="615" y="392"/>
                  <a:pt x="615" y="392"/>
                </a:cubicBezTo>
                <a:cubicBezTo>
                  <a:pt x="614" y="391"/>
                  <a:pt x="614" y="391"/>
                  <a:pt x="614" y="391"/>
                </a:cubicBezTo>
                <a:cubicBezTo>
                  <a:pt x="614" y="391"/>
                  <a:pt x="614" y="391"/>
                  <a:pt x="614" y="391"/>
                </a:cubicBezTo>
                <a:cubicBezTo>
                  <a:pt x="613" y="391"/>
                  <a:pt x="613" y="391"/>
                  <a:pt x="613" y="391"/>
                </a:cubicBezTo>
                <a:cubicBezTo>
                  <a:pt x="613" y="392"/>
                  <a:pt x="613" y="392"/>
                  <a:pt x="613" y="392"/>
                </a:cubicBezTo>
                <a:cubicBezTo>
                  <a:pt x="612" y="391"/>
                  <a:pt x="612" y="391"/>
                  <a:pt x="612" y="391"/>
                </a:cubicBezTo>
                <a:cubicBezTo>
                  <a:pt x="612" y="392"/>
                  <a:pt x="612" y="392"/>
                  <a:pt x="612" y="392"/>
                </a:cubicBezTo>
                <a:cubicBezTo>
                  <a:pt x="611" y="392"/>
                  <a:pt x="611" y="392"/>
                  <a:pt x="611" y="392"/>
                </a:cubicBezTo>
                <a:cubicBezTo>
                  <a:pt x="611" y="392"/>
                  <a:pt x="611" y="392"/>
                  <a:pt x="611" y="392"/>
                </a:cubicBezTo>
                <a:cubicBezTo>
                  <a:pt x="610" y="391"/>
                  <a:pt x="610" y="391"/>
                  <a:pt x="610" y="391"/>
                </a:cubicBezTo>
                <a:cubicBezTo>
                  <a:pt x="610" y="391"/>
                  <a:pt x="610" y="391"/>
                  <a:pt x="610" y="391"/>
                </a:cubicBezTo>
                <a:cubicBezTo>
                  <a:pt x="608" y="391"/>
                  <a:pt x="608" y="391"/>
                  <a:pt x="608" y="391"/>
                </a:cubicBezTo>
                <a:cubicBezTo>
                  <a:pt x="608" y="390"/>
                  <a:pt x="608" y="390"/>
                  <a:pt x="608" y="390"/>
                </a:cubicBezTo>
                <a:cubicBezTo>
                  <a:pt x="608" y="390"/>
                  <a:pt x="608" y="390"/>
                  <a:pt x="608" y="390"/>
                </a:cubicBezTo>
                <a:cubicBezTo>
                  <a:pt x="608" y="389"/>
                  <a:pt x="608" y="389"/>
                  <a:pt x="608" y="389"/>
                </a:cubicBezTo>
                <a:cubicBezTo>
                  <a:pt x="607" y="389"/>
                  <a:pt x="607" y="389"/>
                  <a:pt x="607" y="389"/>
                </a:cubicBezTo>
                <a:cubicBezTo>
                  <a:pt x="607" y="390"/>
                  <a:pt x="607" y="390"/>
                  <a:pt x="607" y="390"/>
                </a:cubicBezTo>
                <a:cubicBezTo>
                  <a:pt x="605" y="390"/>
                  <a:pt x="605" y="390"/>
                  <a:pt x="605" y="390"/>
                </a:cubicBezTo>
                <a:cubicBezTo>
                  <a:pt x="605" y="390"/>
                  <a:pt x="605" y="390"/>
                  <a:pt x="605" y="390"/>
                </a:cubicBezTo>
                <a:cubicBezTo>
                  <a:pt x="604" y="390"/>
                  <a:pt x="604" y="390"/>
                  <a:pt x="604" y="390"/>
                </a:cubicBezTo>
                <a:cubicBezTo>
                  <a:pt x="604" y="390"/>
                  <a:pt x="604" y="390"/>
                  <a:pt x="604" y="390"/>
                </a:cubicBezTo>
                <a:cubicBezTo>
                  <a:pt x="603" y="390"/>
                  <a:pt x="603" y="390"/>
                  <a:pt x="603" y="390"/>
                </a:cubicBezTo>
                <a:cubicBezTo>
                  <a:pt x="602" y="389"/>
                  <a:pt x="602" y="389"/>
                  <a:pt x="602" y="389"/>
                </a:cubicBezTo>
                <a:cubicBezTo>
                  <a:pt x="601" y="389"/>
                  <a:pt x="601" y="389"/>
                  <a:pt x="601" y="389"/>
                </a:cubicBezTo>
                <a:cubicBezTo>
                  <a:pt x="600" y="387"/>
                  <a:pt x="600" y="387"/>
                  <a:pt x="600" y="387"/>
                </a:cubicBezTo>
                <a:cubicBezTo>
                  <a:pt x="599" y="386"/>
                  <a:pt x="599" y="386"/>
                  <a:pt x="599" y="386"/>
                </a:cubicBezTo>
                <a:cubicBezTo>
                  <a:pt x="599" y="385"/>
                  <a:pt x="599" y="385"/>
                  <a:pt x="599" y="385"/>
                </a:cubicBezTo>
                <a:cubicBezTo>
                  <a:pt x="599" y="384"/>
                  <a:pt x="599" y="384"/>
                  <a:pt x="599" y="384"/>
                </a:cubicBezTo>
                <a:cubicBezTo>
                  <a:pt x="598" y="384"/>
                  <a:pt x="598" y="384"/>
                  <a:pt x="598" y="384"/>
                </a:cubicBezTo>
                <a:cubicBezTo>
                  <a:pt x="598" y="383"/>
                  <a:pt x="598" y="383"/>
                  <a:pt x="598" y="383"/>
                </a:cubicBezTo>
                <a:cubicBezTo>
                  <a:pt x="598" y="382"/>
                  <a:pt x="598" y="382"/>
                  <a:pt x="598" y="382"/>
                </a:cubicBezTo>
                <a:cubicBezTo>
                  <a:pt x="597" y="382"/>
                  <a:pt x="597" y="382"/>
                  <a:pt x="597" y="382"/>
                </a:cubicBezTo>
                <a:cubicBezTo>
                  <a:pt x="597" y="381"/>
                  <a:pt x="597" y="381"/>
                  <a:pt x="597" y="381"/>
                </a:cubicBezTo>
                <a:cubicBezTo>
                  <a:pt x="597" y="379"/>
                  <a:pt x="597" y="379"/>
                  <a:pt x="597" y="379"/>
                </a:cubicBezTo>
                <a:cubicBezTo>
                  <a:pt x="594" y="378"/>
                  <a:pt x="594" y="378"/>
                  <a:pt x="594" y="378"/>
                </a:cubicBezTo>
                <a:cubicBezTo>
                  <a:pt x="593" y="376"/>
                  <a:pt x="593" y="376"/>
                  <a:pt x="593" y="376"/>
                </a:cubicBezTo>
                <a:cubicBezTo>
                  <a:pt x="593" y="376"/>
                  <a:pt x="593" y="376"/>
                  <a:pt x="593" y="376"/>
                </a:cubicBezTo>
                <a:cubicBezTo>
                  <a:pt x="592" y="375"/>
                  <a:pt x="592" y="375"/>
                  <a:pt x="592" y="375"/>
                </a:cubicBezTo>
                <a:cubicBezTo>
                  <a:pt x="592" y="375"/>
                  <a:pt x="592" y="375"/>
                  <a:pt x="592" y="375"/>
                </a:cubicBezTo>
                <a:cubicBezTo>
                  <a:pt x="591" y="375"/>
                  <a:pt x="591" y="375"/>
                  <a:pt x="591" y="375"/>
                </a:cubicBezTo>
                <a:cubicBezTo>
                  <a:pt x="592" y="374"/>
                  <a:pt x="592" y="374"/>
                  <a:pt x="592" y="374"/>
                </a:cubicBezTo>
                <a:cubicBezTo>
                  <a:pt x="592" y="373"/>
                  <a:pt x="592" y="373"/>
                  <a:pt x="592" y="373"/>
                </a:cubicBezTo>
                <a:cubicBezTo>
                  <a:pt x="591" y="373"/>
                  <a:pt x="591" y="373"/>
                  <a:pt x="591" y="373"/>
                </a:cubicBezTo>
                <a:cubicBezTo>
                  <a:pt x="590" y="372"/>
                  <a:pt x="590" y="372"/>
                  <a:pt x="590" y="372"/>
                </a:cubicBezTo>
                <a:cubicBezTo>
                  <a:pt x="590" y="371"/>
                  <a:pt x="590" y="371"/>
                  <a:pt x="590" y="371"/>
                </a:cubicBezTo>
                <a:cubicBezTo>
                  <a:pt x="590" y="371"/>
                  <a:pt x="590" y="371"/>
                  <a:pt x="590" y="371"/>
                </a:cubicBezTo>
                <a:cubicBezTo>
                  <a:pt x="589" y="370"/>
                  <a:pt x="589" y="370"/>
                  <a:pt x="589" y="370"/>
                </a:cubicBezTo>
                <a:cubicBezTo>
                  <a:pt x="588" y="368"/>
                  <a:pt x="588" y="368"/>
                  <a:pt x="588" y="368"/>
                </a:cubicBezTo>
                <a:cubicBezTo>
                  <a:pt x="587" y="368"/>
                  <a:pt x="587" y="368"/>
                  <a:pt x="587" y="368"/>
                </a:cubicBezTo>
                <a:cubicBezTo>
                  <a:pt x="587" y="367"/>
                  <a:pt x="587" y="367"/>
                  <a:pt x="587" y="367"/>
                </a:cubicBezTo>
                <a:cubicBezTo>
                  <a:pt x="587" y="366"/>
                  <a:pt x="587" y="366"/>
                  <a:pt x="587" y="366"/>
                </a:cubicBezTo>
                <a:cubicBezTo>
                  <a:pt x="587" y="365"/>
                  <a:pt x="587" y="365"/>
                  <a:pt x="587" y="365"/>
                </a:cubicBezTo>
                <a:cubicBezTo>
                  <a:pt x="585" y="365"/>
                  <a:pt x="585" y="365"/>
                  <a:pt x="585" y="365"/>
                </a:cubicBezTo>
                <a:cubicBezTo>
                  <a:pt x="585" y="365"/>
                  <a:pt x="585" y="365"/>
                  <a:pt x="585" y="365"/>
                </a:cubicBezTo>
                <a:cubicBezTo>
                  <a:pt x="585" y="364"/>
                  <a:pt x="585" y="364"/>
                  <a:pt x="585" y="364"/>
                </a:cubicBezTo>
                <a:cubicBezTo>
                  <a:pt x="585" y="364"/>
                  <a:pt x="585" y="364"/>
                  <a:pt x="585" y="364"/>
                </a:cubicBezTo>
                <a:cubicBezTo>
                  <a:pt x="585" y="363"/>
                  <a:pt x="585" y="363"/>
                  <a:pt x="585" y="363"/>
                </a:cubicBezTo>
                <a:cubicBezTo>
                  <a:pt x="584" y="362"/>
                  <a:pt x="584" y="362"/>
                  <a:pt x="584" y="362"/>
                </a:cubicBezTo>
                <a:cubicBezTo>
                  <a:pt x="584" y="362"/>
                  <a:pt x="584" y="362"/>
                  <a:pt x="584" y="362"/>
                </a:cubicBezTo>
                <a:cubicBezTo>
                  <a:pt x="584" y="361"/>
                  <a:pt x="584" y="361"/>
                  <a:pt x="584" y="361"/>
                </a:cubicBezTo>
                <a:cubicBezTo>
                  <a:pt x="583" y="361"/>
                  <a:pt x="583" y="361"/>
                  <a:pt x="583" y="361"/>
                </a:cubicBezTo>
                <a:cubicBezTo>
                  <a:pt x="583" y="361"/>
                  <a:pt x="583" y="361"/>
                  <a:pt x="583" y="361"/>
                </a:cubicBezTo>
                <a:cubicBezTo>
                  <a:pt x="581" y="360"/>
                  <a:pt x="581" y="360"/>
                  <a:pt x="581" y="360"/>
                </a:cubicBezTo>
                <a:cubicBezTo>
                  <a:pt x="581" y="360"/>
                  <a:pt x="581" y="360"/>
                  <a:pt x="581" y="360"/>
                </a:cubicBezTo>
                <a:cubicBezTo>
                  <a:pt x="582" y="359"/>
                  <a:pt x="582" y="359"/>
                  <a:pt x="582" y="359"/>
                </a:cubicBezTo>
                <a:cubicBezTo>
                  <a:pt x="581" y="359"/>
                  <a:pt x="581" y="359"/>
                  <a:pt x="581" y="359"/>
                </a:cubicBezTo>
                <a:cubicBezTo>
                  <a:pt x="580" y="359"/>
                  <a:pt x="580" y="359"/>
                  <a:pt x="580" y="359"/>
                </a:cubicBezTo>
                <a:cubicBezTo>
                  <a:pt x="580" y="359"/>
                  <a:pt x="580" y="359"/>
                  <a:pt x="580" y="359"/>
                </a:cubicBezTo>
                <a:cubicBezTo>
                  <a:pt x="580" y="359"/>
                  <a:pt x="580" y="359"/>
                  <a:pt x="580" y="359"/>
                </a:cubicBezTo>
                <a:cubicBezTo>
                  <a:pt x="579" y="359"/>
                  <a:pt x="579" y="359"/>
                  <a:pt x="579" y="359"/>
                </a:cubicBezTo>
                <a:cubicBezTo>
                  <a:pt x="579" y="358"/>
                  <a:pt x="579" y="358"/>
                  <a:pt x="579" y="358"/>
                </a:cubicBezTo>
                <a:cubicBezTo>
                  <a:pt x="579" y="357"/>
                  <a:pt x="579" y="357"/>
                  <a:pt x="579" y="357"/>
                </a:cubicBezTo>
                <a:cubicBezTo>
                  <a:pt x="578" y="357"/>
                  <a:pt x="578" y="357"/>
                  <a:pt x="578" y="357"/>
                </a:cubicBezTo>
                <a:cubicBezTo>
                  <a:pt x="578" y="356"/>
                  <a:pt x="578" y="356"/>
                  <a:pt x="578" y="356"/>
                </a:cubicBezTo>
                <a:cubicBezTo>
                  <a:pt x="577" y="356"/>
                  <a:pt x="577" y="356"/>
                  <a:pt x="577" y="356"/>
                </a:cubicBezTo>
                <a:cubicBezTo>
                  <a:pt x="576" y="356"/>
                  <a:pt x="576" y="356"/>
                  <a:pt x="576" y="356"/>
                </a:cubicBezTo>
                <a:cubicBezTo>
                  <a:pt x="576" y="356"/>
                  <a:pt x="576" y="356"/>
                  <a:pt x="576" y="356"/>
                </a:cubicBezTo>
                <a:cubicBezTo>
                  <a:pt x="575" y="356"/>
                  <a:pt x="575" y="356"/>
                  <a:pt x="575" y="356"/>
                </a:cubicBezTo>
                <a:cubicBezTo>
                  <a:pt x="574" y="356"/>
                  <a:pt x="574" y="356"/>
                  <a:pt x="574" y="356"/>
                </a:cubicBezTo>
                <a:cubicBezTo>
                  <a:pt x="574" y="356"/>
                  <a:pt x="574" y="356"/>
                  <a:pt x="574" y="356"/>
                </a:cubicBezTo>
                <a:cubicBezTo>
                  <a:pt x="574" y="357"/>
                  <a:pt x="574" y="357"/>
                  <a:pt x="574" y="357"/>
                </a:cubicBezTo>
                <a:cubicBezTo>
                  <a:pt x="573" y="357"/>
                  <a:pt x="573" y="357"/>
                  <a:pt x="573" y="357"/>
                </a:cubicBezTo>
                <a:cubicBezTo>
                  <a:pt x="572" y="356"/>
                  <a:pt x="572" y="356"/>
                  <a:pt x="572" y="356"/>
                </a:cubicBezTo>
                <a:cubicBezTo>
                  <a:pt x="572" y="356"/>
                  <a:pt x="572" y="356"/>
                  <a:pt x="572" y="356"/>
                </a:cubicBezTo>
                <a:cubicBezTo>
                  <a:pt x="571" y="356"/>
                  <a:pt x="571" y="356"/>
                  <a:pt x="571" y="356"/>
                </a:cubicBezTo>
                <a:cubicBezTo>
                  <a:pt x="570" y="356"/>
                  <a:pt x="570" y="356"/>
                  <a:pt x="570" y="356"/>
                </a:cubicBezTo>
                <a:cubicBezTo>
                  <a:pt x="569" y="356"/>
                  <a:pt x="569" y="356"/>
                  <a:pt x="569" y="356"/>
                </a:cubicBezTo>
                <a:cubicBezTo>
                  <a:pt x="569" y="355"/>
                  <a:pt x="569" y="355"/>
                  <a:pt x="569" y="355"/>
                </a:cubicBezTo>
                <a:cubicBezTo>
                  <a:pt x="567" y="355"/>
                  <a:pt x="567" y="355"/>
                  <a:pt x="567" y="355"/>
                </a:cubicBezTo>
                <a:cubicBezTo>
                  <a:pt x="566" y="354"/>
                  <a:pt x="566" y="354"/>
                  <a:pt x="566" y="354"/>
                </a:cubicBezTo>
                <a:cubicBezTo>
                  <a:pt x="565" y="354"/>
                  <a:pt x="565" y="354"/>
                  <a:pt x="565" y="354"/>
                </a:cubicBezTo>
                <a:cubicBezTo>
                  <a:pt x="564" y="354"/>
                  <a:pt x="564" y="354"/>
                  <a:pt x="564" y="354"/>
                </a:cubicBezTo>
                <a:cubicBezTo>
                  <a:pt x="564" y="354"/>
                  <a:pt x="564" y="354"/>
                  <a:pt x="564" y="354"/>
                </a:cubicBezTo>
                <a:cubicBezTo>
                  <a:pt x="562" y="354"/>
                  <a:pt x="562" y="354"/>
                  <a:pt x="562" y="354"/>
                </a:cubicBezTo>
                <a:cubicBezTo>
                  <a:pt x="562" y="355"/>
                  <a:pt x="562" y="355"/>
                  <a:pt x="562" y="355"/>
                </a:cubicBezTo>
                <a:cubicBezTo>
                  <a:pt x="561" y="355"/>
                  <a:pt x="561" y="355"/>
                  <a:pt x="561" y="355"/>
                </a:cubicBezTo>
                <a:cubicBezTo>
                  <a:pt x="560" y="356"/>
                  <a:pt x="560" y="356"/>
                  <a:pt x="560" y="356"/>
                </a:cubicBezTo>
                <a:cubicBezTo>
                  <a:pt x="559" y="356"/>
                  <a:pt x="559" y="356"/>
                  <a:pt x="559" y="356"/>
                </a:cubicBezTo>
                <a:cubicBezTo>
                  <a:pt x="558" y="356"/>
                  <a:pt x="558" y="356"/>
                  <a:pt x="558" y="356"/>
                </a:cubicBezTo>
                <a:cubicBezTo>
                  <a:pt x="557" y="356"/>
                  <a:pt x="557" y="356"/>
                  <a:pt x="557" y="356"/>
                </a:cubicBezTo>
                <a:cubicBezTo>
                  <a:pt x="556" y="357"/>
                  <a:pt x="556" y="357"/>
                  <a:pt x="556" y="357"/>
                </a:cubicBezTo>
                <a:cubicBezTo>
                  <a:pt x="555" y="357"/>
                  <a:pt x="555" y="357"/>
                  <a:pt x="555" y="357"/>
                </a:cubicBezTo>
                <a:cubicBezTo>
                  <a:pt x="555" y="358"/>
                  <a:pt x="555" y="358"/>
                  <a:pt x="555" y="358"/>
                </a:cubicBezTo>
                <a:cubicBezTo>
                  <a:pt x="554" y="358"/>
                  <a:pt x="554" y="358"/>
                  <a:pt x="554" y="358"/>
                </a:cubicBezTo>
                <a:cubicBezTo>
                  <a:pt x="553" y="358"/>
                  <a:pt x="553" y="358"/>
                  <a:pt x="553" y="358"/>
                </a:cubicBezTo>
                <a:cubicBezTo>
                  <a:pt x="553" y="358"/>
                  <a:pt x="553" y="358"/>
                  <a:pt x="553" y="358"/>
                </a:cubicBezTo>
                <a:cubicBezTo>
                  <a:pt x="552" y="358"/>
                  <a:pt x="552" y="358"/>
                  <a:pt x="552" y="358"/>
                </a:cubicBezTo>
                <a:cubicBezTo>
                  <a:pt x="551" y="358"/>
                  <a:pt x="551" y="358"/>
                  <a:pt x="551" y="358"/>
                </a:cubicBezTo>
                <a:cubicBezTo>
                  <a:pt x="549" y="359"/>
                  <a:pt x="549" y="359"/>
                  <a:pt x="549" y="359"/>
                </a:cubicBezTo>
                <a:cubicBezTo>
                  <a:pt x="549" y="359"/>
                  <a:pt x="549" y="359"/>
                  <a:pt x="549" y="359"/>
                </a:cubicBezTo>
                <a:cubicBezTo>
                  <a:pt x="549" y="360"/>
                  <a:pt x="549" y="360"/>
                  <a:pt x="549" y="360"/>
                </a:cubicBezTo>
                <a:cubicBezTo>
                  <a:pt x="548" y="361"/>
                  <a:pt x="548" y="361"/>
                  <a:pt x="548" y="361"/>
                </a:cubicBezTo>
                <a:cubicBezTo>
                  <a:pt x="548" y="362"/>
                  <a:pt x="548" y="362"/>
                  <a:pt x="548" y="362"/>
                </a:cubicBezTo>
                <a:cubicBezTo>
                  <a:pt x="547" y="363"/>
                  <a:pt x="547" y="363"/>
                  <a:pt x="547" y="363"/>
                </a:cubicBezTo>
                <a:cubicBezTo>
                  <a:pt x="547" y="363"/>
                  <a:pt x="547" y="363"/>
                  <a:pt x="547" y="363"/>
                </a:cubicBezTo>
                <a:cubicBezTo>
                  <a:pt x="547" y="364"/>
                  <a:pt x="547" y="364"/>
                  <a:pt x="547" y="364"/>
                </a:cubicBezTo>
                <a:cubicBezTo>
                  <a:pt x="547" y="366"/>
                  <a:pt x="547" y="366"/>
                  <a:pt x="547" y="366"/>
                </a:cubicBezTo>
                <a:cubicBezTo>
                  <a:pt x="547" y="366"/>
                  <a:pt x="547" y="366"/>
                  <a:pt x="547" y="366"/>
                </a:cubicBezTo>
                <a:cubicBezTo>
                  <a:pt x="548" y="366"/>
                  <a:pt x="548" y="366"/>
                  <a:pt x="548" y="366"/>
                </a:cubicBezTo>
                <a:cubicBezTo>
                  <a:pt x="549" y="365"/>
                  <a:pt x="549" y="365"/>
                  <a:pt x="549" y="365"/>
                </a:cubicBezTo>
                <a:cubicBezTo>
                  <a:pt x="550" y="365"/>
                  <a:pt x="550" y="365"/>
                  <a:pt x="550" y="365"/>
                </a:cubicBezTo>
                <a:cubicBezTo>
                  <a:pt x="551" y="365"/>
                  <a:pt x="551" y="365"/>
                  <a:pt x="551" y="365"/>
                </a:cubicBezTo>
                <a:cubicBezTo>
                  <a:pt x="552" y="367"/>
                  <a:pt x="552" y="367"/>
                  <a:pt x="552" y="367"/>
                </a:cubicBezTo>
                <a:cubicBezTo>
                  <a:pt x="552" y="368"/>
                  <a:pt x="552" y="368"/>
                  <a:pt x="552" y="368"/>
                </a:cubicBezTo>
                <a:cubicBezTo>
                  <a:pt x="553" y="368"/>
                  <a:pt x="553" y="368"/>
                  <a:pt x="553" y="368"/>
                </a:cubicBezTo>
                <a:cubicBezTo>
                  <a:pt x="553" y="369"/>
                  <a:pt x="553" y="369"/>
                  <a:pt x="553" y="369"/>
                </a:cubicBezTo>
                <a:cubicBezTo>
                  <a:pt x="553" y="370"/>
                  <a:pt x="553" y="370"/>
                  <a:pt x="553" y="370"/>
                </a:cubicBezTo>
                <a:cubicBezTo>
                  <a:pt x="553" y="372"/>
                  <a:pt x="553" y="372"/>
                  <a:pt x="553" y="372"/>
                </a:cubicBezTo>
                <a:cubicBezTo>
                  <a:pt x="552" y="372"/>
                  <a:pt x="552" y="372"/>
                  <a:pt x="552" y="372"/>
                </a:cubicBezTo>
                <a:cubicBezTo>
                  <a:pt x="552" y="373"/>
                  <a:pt x="552" y="373"/>
                  <a:pt x="552" y="373"/>
                </a:cubicBezTo>
                <a:cubicBezTo>
                  <a:pt x="551" y="375"/>
                  <a:pt x="551" y="375"/>
                  <a:pt x="551" y="375"/>
                </a:cubicBezTo>
                <a:cubicBezTo>
                  <a:pt x="551" y="376"/>
                  <a:pt x="551" y="376"/>
                  <a:pt x="551" y="376"/>
                </a:cubicBezTo>
                <a:cubicBezTo>
                  <a:pt x="550" y="377"/>
                  <a:pt x="550" y="377"/>
                  <a:pt x="550" y="377"/>
                </a:cubicBezTo>
                <a:cubicBezTo>
                  <a:pt x="550" y="378"/>
                  <a:pt x="550" y="378"/>
                  <a:pt x="550" y="378"/>
                </a:cubicBezTo>
                <a:cubicBezTo>
                  <a:pt x="550" y="379"/>
                  <a:pt x="550" y="379"/>
                  <a:pt x="550" y="379"/>
                </a:cubicBezTo>
                <a:cubicBezTo>
                  <a:pt x="550" y="380"/>
                  <a:pt x="550" y="380"/>
                  <a:pt x="550" y="380"/>
                </a:cubicBezTo>
                <a:cubicBezTo>
                  <a:pt x="550" y="381"/>
                  <a:pt x="550" y="381"/>
                  <a:pt x="550" y="381"/>
                </a:cubicBezTo>
                <a:cubicBezTo>
                  <a:pt x="551" y="382"/>
                  <a:pt x="551" y="382"/>
                  <a:pt x="551" y="382"/>
                </a:cubicBezTo>
                <a:cubicBezTo>
                  <a:pt x="551" y="383"/>
                  <a:pt x="551" y="383"/>
                  <a:pt x="551" y="383"/>
                </a:cubicBezTo>
                <a:cubicBezTo>
                  <a:pt x="550" y="383"/>
                  <a:pt x="550" y="383"/>
                  <a:pt x="550" y="383"/>
                </a:cubicBezTo>
                <a:cubicBezTo>
                  <a:pt x="550" y="384"/>
                  <a:pt x="550" y="384"/>
                  <a:pt x="550" y="384"/>
                </a:cubicBezTo>
                <a:cubicBezTo>
                  <a:pt x="550" y="385"/>
                  <a:pt x="550" y="385"/>
                  <a:pt x="550" y="385"/>
                </a:cubicBezTo>
                <a:cubicBezTo>
                  <a:pt x="550" y="387"/>
                  <a:pt x="550" y="387"/>
                  <a:pt x="550" y="387"/>
                </a:cubicBezTo>
                <a:cubicBezTo>
                  <a:pt x="550" y="387"/>
                  <a:pt x="550" y="387"/>
                  <a:pt x="550" y="387"/>
                </a:cubicBezTo>
                <a:cubicBezTo>
                  <a:pt x="550" y="389"/>
                  <a:pt x="550" y="389"/>
                  <a:pt x="550" y="389"/>
                </a:cubicBezTo>
                <a:cubicBezTo>
                  <a:pt x="551" y="389"/>
                  <a:pt x="551" y="389"/>
                  <a:pt x="551" y="389"/>
                </a:cubicBezTo>
                <a:cubicBezTo>
                  <a:pt x="551" y="390"/>
                  <a:pt x="551" y="390"/>
                  <a:pt x="551" y="390"/>
                </a:cubicBezTo>
                <a:cubicBezTo>
                  <a:pt x="552" y="389"/>
                  <a:pt x="552" y="389"/>
                  <a:pt x="552" y="389"/>
                </a:cubicBezTo>
                <a:cubicBezTo>
                  <a:pt x="552" y="390"/>
                  <a:pt x="552" y="390"/>
                  <a:pt x="552" y="390"/>
                </a:cubicBezTo>
                <a:cubicBezTo>
                  <a:pt x="553" y="391"/>
                  <a:pt x="553" y="391"/>
                  <a:pt x="553" y="391"/>
                </a:cubicBezTo>
                <a:cubicBezTo>
                  <a:pt x="552" y="392"/>
                  <a:pt x="552" y="392"/>
                  <a:pt x="552" y="392"/>
                </a:cubicBezTo>
                <a:cubicBezTo>
                  <a:pt x="551" y="393"/>
                  <a:pt x="551" y="393"/>
                  <a:pt x="551" y="393"/>
                </a:cubicBezTo>
                <a:cubicBezTo>
                  <a:pt x="549" y="393"/>
                  <a:pt x="549" y="393"/>
                  <a:pt x="549" y="393"/>
                </a:cubicBezTo>
                <a:cubicBezTo>
                  <a:pt x="548" y="394"/>
                  <a:pt x="548" y="394"/>
                  <a:pt x="548" y="394"/>
                </a:cubicBezTo>
                <a:cubicBezTo>
                  <a:pt x="545" y="397"/>
                  <a:pt x="545" y="397"/>
                  <a:pt x="545" y="397"/>
                </a:cubicBezTo>
                <a:cubicBezTo>
                  <a:pt x="544" y="397"/>
                  <a:pt x="544" y="397"/>
                  <a:pt x="544" y="397"/>
                </a:cubicBezTo>
                <a:cubicBezTo>
                  <a:pt x="543" y="397"/>
                  <a:pt x="543" y="397"/>
                  <a:pt x="543" y="397"/>
                </a:cubicBezTo>
                <a:cubicBezTo>
                  <a:pt x="541" y="396"/>
                  <a:pt x="541" y="396"/>
                  <a:pt x="541" y="396"/>
                </a:cubicBezTo>
                <a:cubicBezTo>
                  <a:pt x="540" y="397"/>
                  <a:pt x="540" y="397"/>
                  <a:pt x="540" y="397"/>
                </a:cubicBezTo>
                <a:cubicBezTo>
                  <a:pt x="540" y="396"/>
                  <a:pt x="540" y="396"/>
                  <a:pt x="540" y="396"/>
                </a:cubicBezTo>
                <a:cubicBezTo>
                  <a:pt x="539" y="396"/>
                  <a:pt x="539" y="396"/>
                  <a:pt x="539" y="396"/>
                </a:cubicBezTo>
                <a:cubicBezTo>
                  <a:pt x="538" y="396"/>
                  <a:pt x="538" y="396"/>
                  <a:pt x="538" y="396"/>
                </a:cubicBezTo>
                <a:cubicBezTo>
                  <a:pt x="538" y="396"/>
                  <a:pt x="538" y="396"/>
                  <a:pt x="538" y="396"/>
                </a:cubicBezTo>
                <a:cubicBezTo>
                  <a:pt x="535" y="395"/>
                  <a:pt x="535" y="395"/>
                  <a:pt x="535" y="395"/>
                </a:cubicBezTo>
                <a:cubicBezTo>
                  <a:pt x="533" y="395"/>
                  <a:pt x="533" y="395"/>
                  <a:pt x="533" y="395"/>
                </a:cubicBezTo>
                <a:cubicBezTo>
                  <a:pt x="533" y="396"/>
                  <a:pt x="533" y="396"/>
                  <a:pt x="533" y="396"/>
                </a:cubicBezTo>
                <a:cubicBezTo>
                  <a:pt x="532" y="397"/>
                  <a:pt x="532" y="397"/>
                  <a:pt x="532" y="397"/>
                </a:cubicBezTo>
                <a:cubicBezTo>
                  <a:pt x="531" y="397"/>
                  <a:pt x="531" y="397"/>
                  <a:pt x="531" y="397"/>
                </a:cubicBezTo>
                <a:cubicBezTo>
                  <a:pt x="530" y="396"/>
                  <a:pt x="530" y="396"/>
                  <a:pt x="530" y="396"/>
                </a:cubicBezTo>
                <a:cubicBezTo>
                  <a:pt x="529" y="397"/>
                  <a:pt x="529" y="397"/>
                  <a:pt x="529" y="397"/>
                </a:cubicBezTo>
                <a:cubicBezTo>
                  <a:pt x="528" y="397"/>
                  <a:pt x="528" y="397"/>
                  <a:pt x="528" y="397"/>
                </a:cubicBezTo>
                <a:cubicBezTo>
                  <a:pt x="527" y="395"/>
                  <a:pt x="527" y="395"/>
                  <a:pt x="527" y="395"/>
                </a:cubicBezTo>
                <a:cubicBezTo>
                  <a:pt x="526" y="394"/>
                  <a:pt x="526" y="394"/>
                  <a:pt x="526" y="394"/>
                </a:cubicBezTo>
                <a:cubicBezTo>
                  <a:pt x="524" y="394"/>
                  <a:pt x="524" y="394"/>
                  <a:pt x="524" y="394"/>
                </a:cubicBezTo>
                <a:cubicBezTo>
                  <a:pt x="523" y="395"/>
                  <a:pt x="523" y="395"/>
                  <a:pt x="523" y="395"/>
                </a:cubicBezTo>
                <a:cubicBezTo>
                  <a:pt x="522" y="394"/>
                  <a:pt x="522" y="394"/>
                  <a:pt x="522" y="394"/>
                </a:cubicBezTo>
                <a:cubicBezTo>
                  <a:pt x="521" y="394"/>
                  <a:pt x="521" y="394"/>
                  <a:pt x="521" y="394"/>
                </a:cubicBezTo>
                <a:cubicBezTo>
                  <a:pt x="520" y="395"/>
                  <a:pt x="520" y="395"/>
                  <a:pt x="520" y="395"/>
                </a:cubicBezTo>
                <a:cubicBezTo>
                  <a:pt x="520" y="397"/>
                  <a:pt x="520" y="397"/>
                  <a:pt x="520" y="397"/>
                </a:cubicBezTo>
                <a:cubicBezTo>
                  <a:pt x="519" y="398"/>
                  <a:pt x="519" y="398"/>
                  <a:pt x="519" y="398"/>
                </a:cubicBezTo>
                <a:cubicBezTo>
                  <a:pt x="517" y="398"/>
                  <a:pt x="517" y="398"/>
                  <a:pt x="517" y="398"/>
                </a:cubicBezTo>
                <a:cubicBezTo>
                  <a:pt x="517" y="400"/>
                  <a:pt x="517" y="400"/>
                  <a:pt x="517" y="400"/>
                </a:cubicBezTo>
                <a:cubicBezTo>
                  <a:pt x="517" y="400"/>
                  <a:pt x="517" y="400"/>
                  <a:pt x="517" y="400"/>
                </a:cubicBezTo>
                <a:cubicBezTo>
                  <a:pt x="516" y="401"/>
                  <a:pt x="516" y="401"/>
                  <a:pt x="516" y="401"/>
                </a:cubicBezTo>
                <a:cubicBezTo>
                  <a:pt x="515" y="402"/>
                  <a:pt x="515" y="402"/>
                  <a:pt x="515" y="402"/>
                </a:cubicBezTo>
                <a:cubicBezTo>
                  <a:pt x="512" y="402"/>
                  <a:pt x="512" y="402"/>
                  <a:pt x="512" y="402"/>
                </a:cubicBezTo>
                <a:cubicBezTo>
                  <a:pt x="511" y="403"/>
                  <a:pt x="511" y="403"/>
                  <a:pt x="511" y="403"/>
                </a:cubicBezTo>
                <a:cubicBezTo>
                  <a:pt x="510" y="404"/>
                  <a:pt x="510" y="404"/>
                  <a:pt x="510" y="404"/>
                </a:cubicBezTo>
                <a:cubicBezTo>
                  <a:pt x="509" y="404"/>
                  <a:pt x="509" y="404"/>
                  <a:pt x="509" y="404"/>
                </a:cubicBezTo>
                <a:cubicBezTo>
                  <a:pt x="506" y="405"/>
                  <a:pt x="506" y="405"/>
                  <a:pt x="506" y="405"/>
                </a:cubicBezTo>
                <a:cubicBezTo>
                  <a:pt x="505" y="407"/>
                  <a:pt x="505" y="407"/>
                  <a:pt x="505" y="407"/>
                </a:cubicBezTo>
                <a:cubicBezTo>
                  <a:pt x="505" y="407"/>
                  <a:pt x="505" y="407"/>
                  <a:pt x="505" y="407"/>
                </a:cubicBezTo>
                <a:cubicBezTo>
                  <a:pt x="503" y="406"/>
                  <a:pt x="503" y="406"/>
                  <a:pt x="503" y="406"/>
                </a:cubicBezTo>
                <a:cubicBezTo>
                  <a:pt x="502" y="406"/>
                  <a:pt x="502" y="406"/>
                  <a:pt x="502" y="406"/>
                </a:cubicBezTo>
                <a:cubicBezTo>
                  <a:pt x="501" y="406"/>
                  <a:pt x="501" y="406"/>
                  <a:pt x="501" y="406"/>
                </a:cubicBezTo>
                <a:cubicBezTo>
                  <a:pt x="500" y="407"/>
                  <a:pt x="500" y="407"/>
                  <a:pt x="500" y="407"/>
                </a:cubicBezTo>
                <a:cubicBezTo>
                  <a:pt x="496" y="407"/>
                  <a:pt x="496" y="407"/>
                  <a:pt x="496" y="407"/>
                </a:cubicBezTo>
                <a:cubicBezTo>
                  <a:pt x="493" y="406"/>
                  <a:pt x="493" y="406"/>
                  <a:pt x="493" y="406"/>
                </a:cubicBezTo>
                <a:cubicBezTo>
                  <a:pt x="491" y="406"/>
                  <a:pt x="491" y="406"/>
                  <a:pt x="491" y="406"/>
                </a:cubicBezTo>
                <a:cubicBezTo>
                  <a:pt x="490" y="406"/>
                  <a:pt x="490" y="406"/>
                  <a:pt x="490" y="406"/>
                </a:cubicBezTo>
                <a:cubicBezTo>
                  <a:pt x="489" y="405"/>
                  <a:pt x="489" y="405"/>
                  <a:pt x="489" y="405"/>
                </a:cubicBezTo>
                <a:cubicBezTo>
                  <a:pt x="488" y="405"/>
                  <a:pt x="488" y="405"/>
                  <a:pt x="488" y="405"/>
                </a:cubicBezTo>
                <a:cubicBezTo>
                  <a:pt x="487" y="404"/>
                  <a:pt x="487" y="404"/>
                  <a:pt x="487" y="404"/>
                </a:cubicBezTo>
                <a:cubicBezTo>
                  <a:pt x="486" y="404"/>
                  <a:pt x="486" y="404"/>
                  <a:pt x="486" y="404"/>
                </a:cubicBezTo>
                <a:cubicBezTo>
                  <a:pt x="485" y="402"/>
                  <a:pt x="485" y="402"/>
                  <a:pt x="485" y="402"/>
                </a:cubicBezTo>
                <a:cubicBezTo>
                  <a:pt x="484" y="401"/>
                  <a:pt x="484" y="401"/>
                  <a:pt x="484" y="401"/>
                </a:cubicBezTo>
                <a:cubicBezTo>
                  <a:pt x="483" y="401"/>
                  <a:pt x="483" y="401"/>
                  <a:pt x="483" y="401"/>
                </a:cubicBezTo>
                <a:cubicBezTo>
                  <a:pt x="481" y="401"/>
                  <a:pt x="481" y="401"/>
                  <a:pt x="481" y="401"/>
                </a:cubicBezTo>
                <a:cubicBezTo>
                  <a:pt x="479" y="401"/>
                  <a:pt x="479" y="401"/>
                  <a:pt x="479" y="401"/>
                </a:cubicBezTo>
                <a:cubicBezTo>
                  <a:pt x="478" y="399"/>
                  <a:pt x="478" y="399"/>
                  <a:pt x="478" y="399"/>
                </a:cubicBezTo>
                <a:cubicBezTo>
                  <a:pt x="475" y="399"/>
                  <a:pt x="475" y="399"/>
                  <a:pt x="475" y="399"/>
                </a:cubicBezTo>
                <a:cubicBezTo>
                  <a:pt x="474" y="399"/>
                  <a:pt x="474" y="399"/>
                  <a:pt x="474" y="399"/>
                </a:cubicBezTo>
                <a:cubicBezTo>
                  <a:pt x="472" y="398"/>
                  <a:pt x="472" y="398"/>
                  <a:pt x="472" y="398"/>
                </a:cubicBezTo>
                <a:cubicBezTo>
                  <a:pt x="471" y="398"/>
                  <a:pt x="471" y="398"/>
                  <a:pt x="471" y="398"/>
                </a:cubicBezTo>
                <a:cubicBezTo>
                  <a:pt x="469" y="398"/>
                  <a:pt x="469" y="398"/>
                  <a:pt x="469" y="398"/>
                </a:cubicBezTo>
                <a:cubicBezTo>
                  <a:pt x="468" y="399"/>
                  <a:pt x="468" y="399"/>
                  <a:pt x="468" y="399"/>
                </a:cubicBezTo>
                <a:cubicBezTo>
                  <a:pt x="465" y="399"/>
                  <a:pt x="465" y="399"/>
                  <a:pt x="465" y="399"/>
                </a:cubicBezTo>
                <a:cubicBezTo>
                  <a:pt x="463" y="400"/>
                  <a:pt x="463" y="400"/>
                  <a:pt x="463" y="400"/>
                </a:cubicBezTo>
                <a:cubicBezTo>
                  <a:pt x="462" y="401"/>
                  <a:pt x="462" y="401"/>
                  <a:pt x="462" y="401"/>
                </a:cubicBezTo>
                <a:cubicBezTo>
                  <a:pt x="461" y="401"/>
                  <a:pt x="461" y="401"/>
                  <a:pt x="461" y="401"/>
                </a:cubicBezTo>
                <a:cubicBezTo>
                  <a:pt x="461" y="401"/>
                  <a:pt x="461" y="401"/>
                  <a:pt x="461" y="401"/>
                </a:cubicBezTo>
                <a:cubicBezTo>
                  <a:pt x="460" y="401"/>
                  <a:pt x="460" y="401"/>
                  <a:pt x="460" y="401"/>
                </a:cubicBezTo>
                <a:cubicBezTo>
                  <a:pt x="459" y="402"/>
                  <a:pt x="459" y="402"/>
                  <a:pt x="459" y="402"/>
                </a:cubicBezTo>
                <a:cubicBezTo>
                  <a:pt x="457" y="401"/>
                  <a:pt x="457" y="401"/>
                  <a:pt x="457" y="401"/>
                </a:cubicBezTo>
                <a:cubicBezTo>
                  <a:pt x="457" y="402"/>
                  <a:pt x="457" y="402"/>
                  <a:pt x="457" y="402"/>
                </a:cubicBezTo>
                <a:cubicBezTo>
                  <a:pt x="456" y="402"/>
                  <a:pt x="456" y="402"/>
                  <a:pt x="456" y="402"/>
                </a:cubicBezTo>
                <a:cubicBezTo>
                  <a:pt x="454" y="401"/>
                  <a:pt x="454" y="401"/>
                  <a:pt x="454" y="401"/>
                </a:cubicBezTo>
                <a:cubicBezTo>
                  <a:pt x="452" y="400"/>
                  <a:pt x="452" y="400"/>
                  <a:pt x="452" y="400"/>
                </a:cubicBezTo>
                <a:cubicBezTo>
                  <a:pt x="451" y="400"/>
                  <a:pt x="451" y="400"/>
                  <a:pt x="451" y="400"/>
                </a:cubicBezTo>
                <a:cubicBezTo>
                  <a:pt x="450" y="398"/>
                  <a:pt x="450" y="398"/>
                  <a:pt x="450" y="398"/>
                </a:cubicBezTo>
                <a:cubicBezTo>
                  <a:pt x="449" y="398"/>
                  <a:pt x="449" y="398"/>
                  <a:pt x="449" y="398"/>
                </a:cubicBezTo>
                <a:cubicBezTo>
                  <a:pt x="449" y="398"/>
                  <a:pt x="449" y="398"/>
                  <a:pt x="449" y="398"/>
                </a:cubicBezTo>
                <a:cubicBezTo>
                  <a:pt x="449" y="397"/>
                  <a:pt x="449" y="397"/>
                  <a:pt x="449" y="397"/>
                </a:cubicBezTo>
                <a:cubicBezTo>
                  <a:pt x="448" y="395"/>
                  <a:pt x="448" y="395"/>
                  <a:pt x="448" y="395"/>
                </a:cubicBezTo>
                <a:cubicBezTo>
                  <a:pt x="448" y="395"/>
                  <a:pt x="448" y="395"/>
                  <a:pt x="448" y="395"/>
                </a:cubicBezTo>
                <a:cubicBezTo>
                  <a:pt x="448" y="394"/>
                  <a:pt x="448" y="394"/>
                  <a:pt x="448" y="394"/>
                </a:cubicBezTo>
                <a:cubicBezTo>
                  <a:pt x="447" y="393"/>
                  <a:pt x="447" y="393"/>
                  <a:pt x="447" y="393"/>
                </a:cubicBezTo>
                <a:cubicBezTo>
                  <a:pt x="447" y="392"/>
                  <a:pt x="447" y="392"/>
                  <a:pt x="447" y="392"/>
                </a:cubicBezTo>
                <a:cubicBezTo>
                  <a:pt x="446" y="391"/>
                  <a:pt x="446" y="391"/>
                  <a:pt x="446" y="391"/>
                </a:cubicBezTo>
                <a:cubicBezTo>
                  <a:pt x="445" y="391"/>
                  <a:pt x="445" y="391"/>
                  <a:pt x="445" y="391"/>
                </a:cubicBezTo>
                <a:cubicBezTo>
                  <a:pt x="443" y="391"/>
                  <a:pt x="443" y="391"/>
                  <a:pt x="443" y="391"/>
                </a:cubicBezTo>
                <a:cubicBezTo>
                  <a:pt x="442" y="391"/>
                  <a:pt x="442" y="391"/>
                  <a:pt x="442" y="391"/>
                </a:cubicBezTo>
                <a:cubicBezTo>
                  <a:pt x="441" y="390"/>
                  <a:pt x="441" y="390"/>
                  <a:pt x="441" y="390"/>
                </a:cubicBezTo>
                <a:cubicBezTo>
                  <a:pt x="439" y="390"/>
                  <a:pt x="439" y="390"/>
                  <a:pt x="439" y="390"/>
                </a:cubicBezTo>
                <a:cubicBezTo>
                  <a:pt x="439" y="389"/>
                  <a:pt x="439" y="389"/>
                  <a:pt x="439" y="389"/>
                </a:cubicBezTo>
                <a:cubicBezTo>
                  <a:pt x="438" y="389"/>
                  <a:pt x="438" y="389"/>
                  <a:pt x="438" y="389"/>
                </a:cubicBezTo>
                <a:cubicBezTo>
                  <a:pt x="435" y="389"/>
                  <a:pt x="435" y="389"/>
                  <a:pt x="435" y="389"/>
                </a:cubicBezTo>
                <a:cubicBezTo>
                  <a:pt x="434" y="389"/>
                  <a:pt x="434" y="389"/>
                  <a:pt x="434" y="389"/>
                </a:cubicBezTo>
                <a:cubicBezTo>
                  <a:pt x="432" y="388"/>
                  <a:pt x="432" y="388"/>
                  <a:pt x="432" y="388"/>
                </a:cubicBezTo>
                <a:cubicBezTo>
                  <a:pt x="432" y="388"/>
                  <a:pt x="432" y="388"/>
                  <a:pt x="432" y="388"/>
                </a:cubicBezTo>
                <a:cubicBezTo>
                  <a:pt x="431" y="387"/>
                  <a:pt x="431" y="387"/>
                  <a:pt x="431" y="387"/>
                </a:cubicBezTo>
                <a:cubicBezTo>
                  <a:pt x="429" y="387"/>
                  <a:pt x="429" y="387"/>
                  <a:pt x="429" y="387"/>
                </a:cubicBezTo>
                <a:cubicBezTo>
                  <a:pt x="428" y="386"/>
                  <a:pt x="428" y="386"/>
                  <a:pt x="428" y="386"/>
                </a:cubicBezTo>
                <a:cubicBezTo>
                  <a:pt x="427" y="386"/>
                  <a:pt x="427" y="386"/>
                  <a:pt x="427" y="386"/>
                </a:cubicBezTo>
                <a:cubicBezTo>
                  <a:pt x="426" y="387"/>
                  <a:pt x="426" y="387"/>
                  <a:pt x="426" y="387"/>
                </a:cubicBezTo>
                <a:cubicBezTo>
                  <a:pt x="426" y="388"/>
                  <a:pt x="426" y="388"/>
                  <a:pt x="426" y="388"/>
                </a:cubicBezTo>
                <a:cubicBezTo>
                  <a:pt x="426" y="389"/>
                  <a:pt x="426" y="389"/>
                  <a:pt x="426" y="389"/>
                </a:cubicBezTo>
                <a:cubicBezTo>
                  <a:pt x="426" y="390"/>
                  <a:pt x="426" y="390"/>
                  <a:pt x="426" y="390"/>
                </a:cubicBezTo>
                <a:cubicBezTo>
                  <a:pt x="425" y="389"/>
                  <a:pt x="425" y="389"/>
                  <a:pt x="425" y="389"/>
                </a:cubicBezTo>
                <a:cubicBezTo>
                  <a:pt x="424" y="390"/>
                  <a:pt x="424" y="390"/>
                  <a:pt x="424" y="390"/>
                </a:cubicBezTo>
                <a:cubicBezTo>
                  <a:pt x="423" y="391"/>
                  <a:pt x="423" y="391"/>
                  <a:pt x="423" y="391"/>
                </a:cubicBezTo>
                <a:cubicBezTo>
                  <a:pt x="423" y="392"/>
                  <a:pt x="423" y="392"/>
                  <a:pt x="423" y="392"/>
                </a:cubicBezTo>
                <a:cubicBezTo>
                  <a:pt x="422" y="393"/>
                  <a:pt x="422" y="393"/>
                  <a:pt x="422" y="393"/>
                </a:cubicBezTo>
                <a:cubicBezTo>
                  <a:pt x="422" y="396"/>
                  <a:pt x="422" y="396"/>
                  <a:pt x="422" y="396"/>
                </a:cubicBezTo>
                <a:cubicBezTo>
                  <a:pt x="423" y="398"/>
                  <a:pt x="423" y="398"/>
                  <a:pt x="423" y="398"/>
                </a:cubicBezTo>
                <a:cubicBezTo>
                  <a:pt x="424" y="398"/>
                  <a:pt x="424" y="398"/>
                  <a:pt x="424" y="398"/>
                </a:cubicBezTo>
                <a:cubicBezTo>
                  <a:pt x="425" y="399"/>
                  <a:pt x="425" y="399"/>
                  <a:pt x="425" y="399"/>
                </a:cubicBezTo>
                <a:cubicBezTo>
                  <a:pt x="426" y="400"/>
                  <a:pt x="426" y="400"/>
                  <a:pt x="426" y="400"/>
                </a:cubicBezTo>
                <a:cubicBezTo>
                  <a:pt x="427" y="400"/>
                  <a:pt x="427" y="400"/>
                  <a:pt x="427" y="400"/>
                </a:cubicBezTo>
                <a:cubicBezTo>
                  <a:pt x="426" y="402"/>
                  <a:pt x="426" y="402"/>
                  <a:pt x="426" y="402"/>
                </a:cubicBezTo>
                <a:cubicBezTo>
                  <a:pt x="426" y="404"/>
                  <a:pt x="426" y="404"/>
                  <a:pt x="426" y="404"/>
                </a:cubicBezTo>
                <a:cubicBezTo>
                  <a:pt x="427" y="405"/>
                  <a:pt x="427" y="405"/>
                  <a:pt x="427" y="405"/>
                </a:cubicBezTo>
                <a:cubicBezTo>
                  <a:pt x="428" y="406"/>
                  <a:pt x="428" y="406"/>
                  <a:pt x="428" y="406"/>
                </a:cubicBezTo>
                <a:cubicBezTo>
                  <a:pt x="427" y="408"/>
                  <a:pt x="427" y="408"/>
                  <a:pt x="427" y="408"/>
                </a:cubicBezTo>
                <a:cubicBezTo>
                  <a:pt x="425" y="408"/>
                  <a:pt x="425" y="408"/>
                  <a:pt x="425" y="408"/>
                </a:cubicBezTo>
                <a:cubicBezTo>
                  <a:pt x="424" y="408"/>
                  <a:pt x="424" y="408"/>
                  <a:pt x="424" y="408"/>
                </a:cubicBezTo>
                <a:cubicBezTo>
                  <a:pt x="423" y="408"/>
                  <a:pt x="423" y="408"/>
                  <a:pt x="423" y="408"/>
                </a:cubicBezTo>
                <a:cubicBezTo>
                  <a:pt x="422" y="408"/>
                  <a:pt x="422" y="408"/>
                  <a:pt x="422" y="408"/>
                </a:cubicBezTo>
                <a:cubicBezTo>
                  <a:pt x="421" y="408"/>
                  <a:pt x="421" y="408"/>
                  <a:pt x="421" y="408"/>
                </a:cubicBezTo>
                <a:cubicBezTo>
                  <a:pt x="418" y="408"/>
                  <a:pt x="418" y="408"/>
                  <a:pt x="418" y="408"/>
                </a:cubicBezTo>
                <a:cubicBezTo>
                  <a:pt x="417" y="408"/>
                  <a:pt x="417" y="408"/>
                  <a:pt x="417" y="408"/>
                </a:cubicBezTo>
                <a:cubicBezTo>
                  <a:pt x="416" y="407"/>
                  <a:pt x="416" y="407"/>
                  <a:pt x="416" y="407"/>
                </a:cubicBezTo>
                <a:cubicBezTo>
                  <a:pt x="415" y="407"/>
                  <a:pt x="415" y="407"/>
                  <a:pt x="415" y="407"/>
                </a:cubicBezTo>
                <a:cubicBezTo>
                  <a:pt x="414" y="407"/>
                  <a:pt x="414" y="407"/>
                  <a:pt x="414" y="407"/>
                </a:cubicBezTo>
                <a:cubicBezTo>
                  <a:pt x="413" y="408"/>
                  <a:pt x="413" y="408"/>
                  <a:pt x="413" y="408"/>
                </a:cubicBezTo>
                <a:cubicBezTo>
                  <a:pt x="412" y="409"/>
                  <a:pt x="412" y="409"/>
                  <a:pt x="412" y="409"/>
                </a:cubicBezTo>
                <a:cubicBezTo>
                  <a:pt x="411" y="409"/>
                  <a:pt x="411" y="409"/>
                  <a:pt x="411" y="409"/>
                </a:cubicBezTo>
                <a:cubicBezTo>
                  <a:pt x="408" y="408"/>
                  <a:pt x="408" y="408"/>
                  <a:pt x="408" y="408"/>
                </a:cubicBezTo>
                <a:cubicBezTo>
                  <a:pt x="407" y="407"/>
                  <a:pt x="407" y="407"/>
                  <a:pt x="407" y="407"/>
                </a:cubicBezTo>
                <a:cubicBezTo>
                  <a:pt x="404" y="405"/>
                  <a:pt x="404" y="405"/>
                  <a:pt x="404" y="405"/>
                </a:cubicBezTo>
                <a:cubicBezTo>
                  <a:pt x="404" y="405"/>
                  <a:pt x="404" y="405"/>
                  <a:pt x="404" y="405"/>
                </a:cubicBezTo>
                <a:cubicBezTo>
                  <a:pt x="404" y="404"/>
                  <a:pt x="404" y="404"/>
                  <a:pt x="404" y="404"/>
                </a:cubicBezTo>
                <a:cubicBezTo>
                  <a:pt x="403" y="403"/>
                  <a:pt x="403" y="403"/>
                  <a:pt x="403" y="403"/>
                </a:cubicBezTo>
                <a:cubicBezTo>
                  <a:pt x="401" y="403"/>
                  <a:pt x="401" y="403"/>
                  <a:pt x="401" y="403"/>
                </a:cubicBezTo>
                <a:cubicBezTo>
                  <a:pt x="400" y="403"/>
                  <a:pt x="400" y="403"/>
                  <a:pt x="400" y="403"/>
                </a:cubicBezTo>
                <a:cubicBezTo>
                  <a:pt x="399" y="403"/>
                  <a:pt x="399" y="403"/>
                  <a:pt x="399" y="403"/>
                </a:cubicBezTo>
                <a:cubicBezTo>
                  <a:pt x="398" y="404"/>
                  <a:pt x="398" y="404"/>
                  <a:pt x="398" y="404"/>
                </a:cubicBezTo>
                <a:cubicBezTo>
                  <a:pt x="397" y="404"/>
                  <a:pt x="397" y="404"/>
                  <a:pt x="397" y="404"/>
                </a:cubicBezTo>
                <a:cubicBezTo>
                  <a:pt x="396" y="403"/>
                  <a:pt x="396" y="403"/>
                  <a:pt x="396" y="403"/>
                </a:cubicBezTo>
                <a:cubicBezTo>
                  <a:pt x="396" y="402"/>
                  <a:pt x="396" y="402"/>
                  <a:pt x="396" y="402"/>
                </a:cubicBezTo>
                <a:cubicBezTo>
                  <a:pt x="396" y="401"/>
                  <a:pt x="396" y="401"/>
                  <a:pt x="396" y="401"/>
                </a:cubicBezTo>
                <a:cubicBezTo>
                  <a:pt x="395" y="401"/>
                  <a:pt x="395" y="401"/>
                  <a:pt x="395" y="401"/>
                </a:cubicBezTo>
                <a:cubicBezTo>
                  <a:pt x="394" y="402"/>
                  <a:pt x="394" y="402"/>
                  <a:pt x="394" y="402"/>
                </a:cubicBezTo>
                <a:cubicBezTo>
                  <a:pt x="393" y="402"/>
                  <a:pt x="393" y="402"/>
                  <a:pt x="393" y="402"/>
                </a:cubicBezTo>
                <a:cubicBezTo>
                  <a:pt x="392" y="402"/>
                  <a:pt x="392" y="402"/>
                  <a:pt x="392" y="402"/>
                </a:cubicBezTo>
                <a:cubicBezTo>
                  <a:pt x="391" y="402"/>
                  <a:pt x="391" y="402"/>
                  <a:pt x="391" y="402"/>
                </a:cubicBezTo>
                <a:cubicBezTo>
                  <a:pt x="388" y="402"/>
                  <a:pt x="388" y="402"/>
                  <a:pt x="388" y="402"/>
                </a:cubicBezTo>
                <a:cubicBezTo>
                  <a:pt x="387" y="403"/>
                  <a:pt x="387" y="403"/>
                  <a:pt x="387" y="403"/>
                </a:cubicBezTo>
                <a:cubicBezTo>
                  <a:pt x="387" y="404"/>
                  <a:pt x="387" y="404"/>
                  <a:pt x="387" y="404"/>
                </a:cubicBezTo>
                <a:cubicBezTo>
                  <a:pt x="386" y="405"/>
                  <a:pt x="386" y="405"/>
                  <a:pt x="386" y="405"/>
                </a:cubicBezTo>
                <a:cubicBezTo>
                  <a:pt x="384" y="404"/>
                  <a:pt x="384" y="404"/>
                  <a:pt x="384" y="404"/>
                </a:cubicBezTo>
                <a:cubicBezTo>
                  <a:pt x="383" y="405"/>
                  <a:pt x="383" y="405"/>
                  <a:pt x="383" y="405"/>
                </a:cubicBezTo>
                <a:cubicBezTo>
                  <a:pt x="383" y="405"/>
                  <a:pt x="383" y="405"/>
                  <a:pt x="383" y="405"/>
                </a:cubicBezTo>
                <a:cubicBezTo>
                  <a:pt x="384" y="406"/>
                  <a:pt x="384" y="406"/>
                  <a:pt x="384" y="406"/>
                </a:cubicBezTo>
                <a:cubicBezTo>
                  <a:pt x="384" y="406"/>
                  <a:pt x="384" y="406"/>
                  <a:pt x="384" y="406"/>
                </a:cubicBezTo>
                <a:cubicBezTo>
                  <a:pt x="383" y="408"/>
                  <a:pt x="383" y="408"/>
                  <a:pt x="383" y="408"/>
                </a:cubicBezTo>
                <a:cubicBezTo>
                  <a:pt x="382" y="408"/>
                  <a:pt x="382" y="408"/>
                  <a:pt x="382" y="408"/>
                </a:cubicBezTo>
                <a:cubicBezTo>
                  <a:pt x="381" y="409"/>
                  <a:pt x="381" y="409"/>
                  <a:pt x="381" y="409"/>
                </a:cubicBezTo>
                <a:cubicBezTo>
                  <a:pt x="381" y="410"/>
                  <a:pt x="381" y="410"/>
                  <a:pt x="381" y="410"/>
                </a:cubicBezTo>
                <a:cubicBezTo>
                  <a:pt x="379" y="411"/>
                  <a:pt x="379" y="411"/>
                  <a:pt x="379" y="411"/>
                </a:cubicBezTo>
                <a:cubicBezTo>
                  <a:pt x="378" y="412"/>
                  <a:pt x="378" y="412"/>
                  <a:pt x="378" y="412"/>
                </a:cubicBezTo>
                <a:cubicBezTo>
                  <a:pt x="378" y="413"/>
                  <a:pt x="378" y="413"/>
                  <a:pt x="378" y="413"/>
                </a:cubicBezTo>
                <a:cubicBezTo>
                  <a:pt x="376" y="414"/>
                  <a:pt x="376" y="414"/>
                  <a:pt x="376" y="414"/>
                </a:cubicBezTo>
                <a:cubicBezTo>
                  <a:pt x="375" y="415"/>
                  <a:pt x="375" y="415"/>
                  <a:pt x="375" y="415"/>
                </a:cubicBezTo>
                <a:cubicBezTo>
                  <a:pt x="375" y="416"/>
                  <a:pt x="375" y="416"/>
                  <a:pt x="375" y="416"/>
                </a:cubicBezTo>
                <a:cubicBezTo>
                  <a:pt x="372" y="416"/>
                  <a:pt x="372" y="416"/>
                  <a:pt x="372" y="416"/>
                </a:cubicBezTo>
                <a:cubicBezTo>
                  <a:pt x="371" y="416"/>
                  <a:pt x="371" y="416"/>
                  <a:pt x="371" y="416"/>
                </a:cubicBezTo>
                <a:cubicBezTo>
                  <a:pt x="370" y="418"/>
                  <a:pt x="370" y="418"/>
                  <a:pt x="370" y="418"/>
                </a:cubicBezTo>
                <a:cubicBezTo>
                  <a:pt x="370" y="419"/>
                  <a:pt x="370" y="419"/>
                  <a:pt x="370" y="419"/>
                </a:cubicBezTo>
                <a:cubicBezTo>
                  <a:pt x="369" y="419"/>
                  <a:pt x="369" y="419"/>
                  <a:pt x="369" y="419"/>
                </a:cubicBezTo>
                <a:cubicBezTo>
                  <a:pt x="368" y="418"/>
                  <a:pt x="368" y="418"/>
                  <a:pt x="368" y="418"/>
                </a:cubicBezTo>
                <a:cubicBezTo>
                  <a:pt x="367" y="418"/>
                  <a:pt x="367" y="418"/>
                  <a:pt x="367" y="418"/>
                </a:cubicBezTo>
                <a:cubicBezTo>
                  <a:pt x="367" y="418"/>
                  <a:pt x="367" y="418"/>
                  <a:pt x="367" y="418"/>
                </a:cubicBezTo>
                <a:cubicBezTo>
                  <a:pt x="365" y="417"/>
                  <a:pt x="365" y="417"/>
                  <a:pt x="365" y="417"/>
                </a:cubicBezTo>
                <a:cubicBezTo>
                  <a:pt x="364" y="416"/>
                  <a:pt x="364" y="416"/>
                  <a:pt x="364" y="416"/>
                </a:cubicBezTo>
                <a:cubicBezTo>
                  <a:pt x="363" y="416"/>
                  <a:pt x="363" y="416"/>
                  <a:pt x="363" y="416"/>
                </a:cubicBezTo>
                <a:cubicBezTo>
                  <a:pt x="363" y="415"/>
                  <a:pt x="363" y="415"/>
                  <a:pt x="363" y="415"/>
                </a:cubicBezTo>
                <a:cubicBezTo>
                  <a:pt x="363" y="413"/>
                  <a:pt x="363" y="413"/>
                  <a:pt x="363" y="413"/>
                </a:cubicBezTo>
                <a:cubicBezTo>
                  <a:pt x="362" y="413"/>
                  <a:pt x="362" y="413"/>
                  <a:pt x="362" y="413"/>
                </a:cubicBezTo>
                <a:cubicBezTo>
                  <a:pt x="361" y="413"/>
                  <a:pt x="361" y="413"/>
                  <a:pt x="361" y="413"/>
                </a:cubicBezTo>
                <a:cubicBezTo>
                  <a:pt x="361" y="415"/>
                  <a:pt x="361" y="415"/>
                  <a:pt x="361" y="415"/>
                </a:cubicBezTo>
                <a:cubicBezTo>
                  <a:pt x="359" y="415"/>
                  <a:pt x="359" y="415"/>
                  <a:pt x="359" y="415"/>
                </a:cubicBezTo>
                <a:cubicBezTo>
                  <a:pt x="356" y="415"/>
                  <a:pt x="356" y="415"/>
                  <a:pt x="356" y="415"/>
                </a:cubicBezTo>
                <a:cubicBezTo>
                  <a:pt x="355" y="416"/>
                  <a:pt x="355" y="416"/>
                  <a:pt x="355" y="416"/>
                </a:cubicBezTo>
                <a:cubicBezTo>
                  <a:pt x="355" y="416"/>
                  <a:pt x="355" y="416"/>
                  <a:pt x="355" y="416"/>
                </a:cubicBezTo>
                <a:cubicBezTo>
                  <a:pt x="354" y="416"/>
                  <a:pt x="354" y="416"/>
                  <a:pt x="354" y="416"/>
                </a:cubicBezTo>
                <a:cubicBezTo>
                  <a:pt x="353" y="415"/>
                  <a:pt x="353" y="415"/>
                  <a:pt x="353" y="415"/>
                </a:cubicBezTo>
                <a:cubicBezTo>
                  <a:pt x="352" y="415"/>
                  <a:pt x="352" y="415"/>
                  <a:pt x="352" y="415"/>
                </a:cubicBezTo>
                <a:cubicBezTo>
                  <a:pt x="352" y="415"/>
                  <a:pt x="352" y="415"/>
                  <a:pt x="352" y="415"/>
                </a:cubicBezTo>
                <a:cubicBezTo>
                  <a:pt x="351" y="414"/>
                  <a:pt x="351" y="414"/>
                  <a:pt x="351" y="414"/>
                </a:cubicBezTo>
                <a:cubicBezTo>
                  <a:pt x="351" y="414"/>
                  <a:pt x="351" y="414"/>
                  <a:pt x="351" y="414"/>
                </a:cubicBezTo>
                <a:cubicBezTo>
                  <a:pt x="351" y="413"/>
                  <a:pt x="351" y="413"/>
                  <a:pt x="351" y="413"/>
                </a:cubicBezTo>
                <a:cubicBezTo>
                  <a:pt x="351" y="412"/>
                  <a:pt x="351" y="412"/>
                  <a:pt x="351" y="412"/>
                </a:cubicBezTo>
                <a:cubicBezTo>
                  <a:pt x="351" y="411"/>
                  <a:pt x="351" y="411"/>
                  <a:pt x="351" y="411"/>
                </a:cubicBezTo>
                <a:cubicBezTo>
                  <a:pt x="350" y="411"/>
                  <a:pt x="350" y="411"/>
                  <a:pt x="350" y="411"/>
                </a:cubicBezTo>
                <a:cubicBezTo>
                  <a:pt x="350" y="411"/>
                  <a:pt x="350" y="411"/>
                  <a:pt x="350" y="411"/>
                </a:cubicBezTo>
                <a:cubicBezTo>
                  <a:pt x="348" y="410"/>
                  <a:pt x="348" y="410"/>
                  <a:pt x="348" y="410"/>
                </a:cubicBezTo>
                <a:cubicBezTo>
                  <a:pt x="347" y="409"/>
                  <a:pt x="347" y="409"/>
                  <a:pt x="347" y="409"/>
                </a:cubicBezTo>
                <a:cubicBezTo>
                  <a:pt x="346" y="409"/>
                  <a:pt x="346" y="409"/>
                  <a:pt x="346" y="409"/>
                </a:cubicBezTo>
                <a:cubicBezTo>
                  <a:pt x="346" y="408"/>
                  <a:pt x="346" y="408"/>
                  <a:pt x="346" y="408"/>
                </a:cubicBezTo>
                <a:cubicBezTo>
                  <a:pt x="345" y="406"/>
                  <a:pt x="345" y="406"/>
                  <a:pt x="345" y="406"/>
                </a:cubicBezTo>
                <a:cubicBezTo>
                  <a:pt x="343" y="405"/>
                  <a:pt x="343" y="405"/>
                  <a:pt x="343" y="405"/>
                </a:cubicBezTo>
                <a:cubicBezTo>
                  <a:pt x="341" y="404"/>
                  <a:pt x="341" y="404"/>
                  <a:pt x="341" y="404"/>
                </a:cubicBezTo>
                <a:cubicBezTo>
                  <a:pt x="339" y="404"/>
                  <a:pt x="339" y="404"/>
                  <a:pt x="339" y="404"/>
                </a:cubicBezTo>
                <a:cubicBezTo>
                  <a:pt x="336" y="405"/>
                  <a:pt x="336" y="405"/>
                  <a:pt x="336" y="405"/>
                </a:cubicBezTo>
                <a:cubicBezTo>
                  <a:pt x="336" y="405"/>
                  <a:pt x="336" y="405"/>
                  <a:pt x="336" y="405"/>
                </a:cubicBezTo>
                <a:cubicBezTo>
                  <a:pt x="337" y="406"/>
                  <a:pt x="337" y="406"/>
                  <a:pt x="337" y="406"/>
                </a:cubicBezTo>
                <a:cubicBezTo>
                  <a:pt x="336" y="406"/>
                  <a:pt x="336" y="406"/>
                  <a:pt x="336" y="406"/>
                </a:cubicBezTo>
                <a:cubicBezTo>
                  <a:pt x="335" y="407"/>
                  <a:pt x="335" y="407"/>
                  <a:pt x="335" y="407"/>
                </a:cubicBezTo>
                <a:cubicBezTo>
                  <a:pt x="334" y="407"/>
                  <a:pt x="334" y="407"/>
                  <a:pt x="334" y="407"/>
                </a:cubicBezTo>
                <a:cubicBezTo>
                  <a:pt x="333" y="407"/>
                  <a:pt x="333" y="407"/>
                  <a:pt x="333" y="407"/>
                </a:cubicBezTo>
                <a:cubicBezTo>
                  <a:pt x="331" y="406"/>
                  <a:pt x="331" y="406"/>
                  <a:pt x="331" y="406"/>
                </a:cubicBezTo>
                <a:cubicBezTo>
                  <a:pt x="330" y="407"/>
                  <a:pt x="330" y="407"/>
                  <a:pt x="330" y="407"/>
                </a:cubicBezTo>
                <a:cubicBezTo>
                  <a:pt x="329" y="407"/>
                  <a:pt x="329" y="407"/>
                  <a:pt x="329" y="407"/>
                </a:cubicBezTo>
                <a:cubicBezTo>
                  <a:pt x="328" y="407"/>
                  <a:pt x="328" y="407"/>
                  <a:pt x="328" y="407"/>
                </a:cubicBezTo>
                <a:cubicBezTo>
                  <a:pt x="327" y="406"/>
                  <a:pt x="327" y="406"/>
                  <a:pt x="327" y="406"/>
                </a:cubicBezTo>
                <a:cubicBezTo>
                  <a:pt x="326" y="406"/>
                  <a:pt x="326" y="406"/>
                  <a:pt x="326" y="406"/>
                </a:cubicBezTo>
                <a:cubicBezTo>
                  <a:pt x="326" y="405"/>
                  <a:pt x="326" y="405"/>
                  <a:pt x="326" y="405"/>
                </a:cubicBezTo>
                <a:cubicBezTo>
                  <a:pt x="326" y="404"/>
                  <a:pt x="326" y="404"/>
                  <a:pt x="326" y="404"/>
                </a:cubicBezTo>
                <a:cubicBezTo>
                  <a:pt x="324" y="403"/>
                  <a:pt x="324" y="403"/>
                  <a:pt x="324" y="403"/>
                </a:cubicBezTo>
                <a:cubicBezTo>
                  <a:pt x="323" y="404"/>
                  <a:pt x="323" y="404"/>
                  <a:pt x="323" y="404"/>
                </a:cubicBezTo>
                <a:cubicBezTo>
                  <a:pt x="323" y="405"/>
                  <a:pt x="323" y="405"/>
                  <a:pt x="323" y="405"/>
                </a:cubicBezTo>
                <a:cubicBezTo>
                  <a:pt x="323" y="405"/>
                  <a:pt x="323" y="405"/>
                  <a:pt x="323" y="405"/>
                </a:cubicBezTo>
                <a:cubicBezTo>
                  <a:pt x="323" y="406"/>
                  <a:pt x="323" y="406"/>
                  <a:pt x="323" y="406"/>
                </a:cubicBezTo>
                <a:cubicBezTo>
                  <a:pt x="322" y="407"/>
                  <a:pt x="322" y="407"/>
                  <a:pt x="322" y="407"/>
                </a:cubicBezTo>
                <a:cubicBezTo>
                  <a:pt x="321" y="407"/>
                  <a:pt x="321" y="407"/>
                  <a:pt x="321" y="407"/>
                </a:cubicBezTo>
                <a:cubicBezTo>
                  <a:pt x="305" y="388"/>
                  <a:pt x="305" y="388"/>
                  <a:pt x="305" y="388"/>
                </a:cubicBezTo>
                <a:cubicBezTo>
                  <a:pt x="294" y="379"/>
                  <a:pt x="294" y="379"/>
                  <a:pt x="294" y="379"/>
                </a:cubicBezTo>
                <a:cubicBezTo>
                  <a:pt x="293" y="378"/>
                  <a:pt x="293" y="378"/>
                  <a:pt x="293" y="378"/>
                </a:cubicBezTo>
                <a:cubicBezTo>
                  <a:pt x="294" y="378"/>
                  <a:pt x="294" y="378"/>
                  <a:pt x="294" y="378"/>
                </a:cubicBezTo>
                <a:cubicBezTo>
                  <a:pt x="295" y="377"/>
                  <a:pt x="295" y="377"/>
                  <a:pt x="295" y="377"/>
                </a:cubicBezTo>
                <a:cubicBezTo>
                  <a:pt x="295" y="376"/>
                  <a:pt x="295" y="376"/>
                  <a:pt x="295" y="376"/>
                </a:cubicBezTo>
                <a:cubicBezTo>
                  <a:pt x="295" y="375"/>
                  <a:pt x="295" y="375"/>
                  <a:pt x="295" y="375"/>
                </a:cubicBezTo>
                <a:cubicBezTo>
                  <a:pt x="293" y="376"/>
                  <a:pt x="293" y="376"/>
                  <a:pt x="293" y="376"/>
                </a:cubicBezTo>
                <a:cubicBezTo>
                  <a:pt x="292" y="376"/>
                  <a:pt x="292" y="376"/>
                  <a:pt x="292" y="376"/>
                </a:cubicBezTo>
                <a:cubicBezTo>
                  <a:pt x="291" y="377"/>
                  <a:pt x="291" y="377"/>
                  <a:pt x="291" y="377"/>
                </a:cubicBezTo>
                <a:cubicBezTo>
                  <a:pt x="290" y="378"/>
                  <a:pt x="290" y="378"/>
                  <a:pt x="290" y="378"/>
                </a:cubicBezTo>
                <a:cubicBezTo>
                  <a:pt x="288" y="379"/>
                  <a:pt x="288" y="379"/>
                  <a:pt x="288" y="379"/>
                </a:cubicBezTo>
                <a:cubicBezTo>
                  <a:pt x="288" y="380"/>
                  <a:pt x="288" y="380"/>
                  <a:pt x="288" y="380"/>
                </a:cubicBezTo>
                <a:cubicBezTo>
                  <a:pt x="287" y="381"/>
                  <a:pt x="287" y="381"/>
                  <a:pt x="287" y="381"/>
                </a:cubicBezTo>
                <a:cubicBezTo>
                  <a:pt x="287" y="382"/>
                  <a:pt x="287" y="382"/>
                  <a:pt x="287" y="382"/>
                </a:cubicBezTo>
                <a:cubicBezTo>
                  <a:pt x="286" y="383"/>
                  <a:pt x="286" y="383"/>
                  <a:pt x="286" y="383"/>
                </a:cubicBezTo>
                <a:cubicBezTo>
                  <a:pt x="284" y="383"/>
                  <a:pt x="284" y="383"/>
                  <a:pt x="284" y="383"/>
                </a:cubicBezTo>
                <a:cubicBezTo>
                  <a:pt x="283" y="383"/>
                  <a:pt x="283" y="383"/>
                  <a:pt x="283" y="383"/>
                </a:cubicBezTo>
                <a:cubicBezTo>
                  <a:pt x="283" y="385"/>
                  <a:pt x="283" y="385"/>
                  <a:pt x="283" y="385"/>
                </a:cubicBezTo>
                <a:cubicBezTo>
                  <a:pt x="282" y="385"/>
                  <a:pt x="282" y="385"/>
                  <a:pt x="282" y="385"/>
                </a:cubicBezTo>
                <a:cubicBezTo>
                  <a:pt x="282" y="385"/>
                  <a:pt x="282" y="385"/>
                  <a:pt x="282" y="385"/>
                </a:cubicBezTo>
                <a:cubicBezTo>
                  <a:pt x="279" y="384"/>
                  <a:pt x="279" y="384"/>
                  <a:pt x="279" y="384"/>
                </a:cubicBezTo>
                <a:cubicBezTo>
                  <a:pt x="278" y="385"/>
                  <a:pt x="278" y="385"/>
                  <a:pt x="278" y="385"/>
                </a:cubicBezTo>
                <a:cubicBezTo>
                  <a:pt x="277" y="386"/>
                  <a:pt x="277" y="386"/>
                  <a:pt x="277" y="386"/>
                </a:cubicBezTo>
                <a:cubicBezTo>
                  <a:pt x="276" y="386"/>
                  <a:pt x="276" y="386"/>
                  <a:pt x="276" y="386"/>
                </a:cubicBezTo>
                <a:cubicBezTo>
                  <a:pt x="275" y="384"/>
                  <a:pt x="275" y="384"/>
                  <a:pt x="275" y="384"/>
                </a:cubicBezTo>
                <a:cubicBezTo>
                  <a:pt x="275" y="383"/>
                  <a:pt x="275" y="383"/>
                  <a:pt x="275" y="383"/>
                </a:cubicBezTo>
                <a:cubicBezTo>
                  <a:pt x="276" y="382"/>
                  <a:pt x="276" y="382"/>
                  <a:pt x="276" y="382"/>
                </a:cubicBezTo>
                <a:cubicBezTo>
                  <a:pt x="276" y="381"/>
                  <a:pt x="276" y="381"/>
                  <a:pt x="276" y="381"/>
                </a:cubicBezTo>
                <a:cubicBezTo>
                  <a:pt x="276" y="381"/>
                  <a:pt x="276" y="381"/>
                  <a:pt x="276" y="381"/>
                </a:cubicBezTo>
                <a:cubicBezTo>
                  <a:pt x="275" y="381"/>
                  <a:pt x="275" y="381"/>
                  <a:pt x="275" y="381"/>
                </a:cubicBezTo>
                <a:cubicBezTo>
                  <a:pt x="274" y="381"/>
                  <a:pt x="274" y="381"/>
                  <a:pt x="274" y="381"/>
                </a:cubicBezTo>
                <a:cubicBezTo>
                  <a:pt x="272" y="380"/>
                  <a:pt x="272" y="380"/>
                  <a:pt x="272" y="380"/>
                </a:cubicBezTo>
                <a:cubicBezTo>
                  <a:pt x="270" y="380"/>
                  <a:pt x="270" y="380"/>
                  <a:pt x="270" y="380"/>
                </a:cubicBezTo>
                <a:cubicBezTo>
                  <a:pt x="271" y="381"/>
                  <a:pt x="271" y="381"/>
                  <a:pt x="271" y="381"/>
                </a:cubicBezTo>
                <a:cubicBezTo>
                  <a:pt x="271" y="382"/>
                  <a:pt x="271" y="382"/>
                  <a:pt x="271" y="382"/>
                </a:cubicBezTo>
                <a:cubicBezTo>
                  <a:pt x="270" y="382"/>
                  <a:pt x="270" y="382"/>
                  <a:pt x="270" y="382"/>
                </a:cubicBezTo>
                <a:cubicBezTo>
                  <a:pt x="270" y="383"/>
                  <a:pt x="270" y="383"/>
                  <a:pt x="270" y="383"/>
                </a:cubicBezTo>
                <a:cubicBezTo>
                  <a:pt x="269" y="381"/>
                  <a:pt x="269" y="381"/>
                  <a:pt x="269" y="381"/>
                </a:cubicBezTo>
                <a:cubicBezTo>
                  <a:pt x="269" y="379"/>
                  <a:pt x="269" y="379"/>
                  <a:pt x="269" y="379"/>
                </a:cubicBezTo>
                <a:cubicBezTo>
                  <a:pt x="266" y="377"/>
                  <a:pt x="266" y="377"/>
                  <a:pt x="266" y="377"/>
                </a:cubicBezTo>
                <a:cubicBezTo>
                  <a:pt x="266" y="378"/>
                  <a:pt x="266" y="378"/>
                  <a:pt x="266" y="378"/>
                </a:cubicBezTo>
                <a:cubicBezTo>
                  <a:pt x="266" y="379"/>
                  <a:pt x="266" y="379"/>
                  <a:pt x="266" y="379"/>
                </a:cubicBezTo>
                <a:cubicBezTo>
                  <a:pt x="266" y="380"/>
                  <a:pt x="266" y="380"/>
                  <a:pt x="266" y="380"/>
                </a:cubicBezTo>
                <a:cubicBezTo>
                  <a:pt x="266" y="380"/>
                  <a:pt x="266" y="380"/>
                  <a:pt x="266" y="380"/>
                </a:cubicBezTo>
                <a:cubicBezTo>
                  <a:pt x="265" y="379"/>
                  <a:pt x="265" y="379"/>
                  <a:pt x="265" y="379"/>
                </a:cubicBezTo>
                <a:cubicBezTo>
                  <a:pt x="264" y="379"/>
                  <a:pt x="264" y="379"/>
                  <a:pt x="264" y="379"/>
                </a:cubicBezTo>
                <a:cubicBezTo>
                  <a:pt x="264" y="380"/>
                  <a:pt x="264" y="380"/>
                  <a:pt x="264" y="380"/>
                </a:cubicBezTo>
                <a:cubicBezTo>
                  <a:pt x="263" y="380"/>
                  <a:pt x="263" y="380"/>
                  <a:pt x="263" y="380"/>
                </a:cubicBezTo>
                <a:cubicBezTo>
                  <a:pt x="262" y="380"/>
                  <a:pt x="262" y="380"/>
                  <a:pt x="262" y="380"/>
                </a:cubicBezTo>
                <a:cubicBezTo>
                  <a:pt x="261" y="380"/>
                  <a:pt x="261" y="380"/>
                  <a:pt x="261" y="380"/>
                </a:cubicBezTo>
                <a:cubicBezTo>
                  <a:pt x="260" y="380"/>
                  <a:pt x="260" y="380"/>
                  <a:pt x="260" y="380"/>
                </a:cubicBezTo>
                <a:cubicBezTo>
                  <a:pt x="260" y="379"/>
                  <a:pt x="260" y="379"/>
                  <a:pt x="260" y="379"/>
                </a:cubicBezTo>
                <a:cubicBezTo>
                  <a:pt x="261" y="378"/>
                  <a:pt x="261" y="378"/>
                  <a:pt x="261" y="378"/>
                </a:cubicBezTo>
                <a:cubicBezTo>
                  <a:pt x="261" y="378"/>
                  <a:pt x="261" y="378"/>
                  <a:pt x="261" y="378"/>
                </a:cubicBezTo>
                <a:cubicBezTo>
                  <a:pt x="261" y="377"/>
                  <a:pt x="261" y="377"/>
                  <a:pt x="261" y="377"/>
                </a:cubicBezTo>
                <a:cubicBezTo>
                  <a:pt x="261" y="376"/>
                  <a:pt x="261" y="376"/>
                  <a:pt x="261" y="376"/>
                </a:cubicBezTo>
                <a:cubicBezTo>
                  <a:pt x="261" y="375"/>
                  <a:pt x="261" y="375"/>
                  <a:pt x="261" y="375"/>
                </a:cubicBezTo>
                <a:cubicBezTo>
                  <a:pt x="260" y="375"/>
                  <a:pt x="260" y="375"/>
                  <a:pt x="260" y="375"/>
                </a:cubicBezTo>
                <a:cubicBezTo>
                  <a:pt x="259" y="373"/>
                  <a:pt x="259" y="373"/>
                  <a:pt x="259" y="373"/>
                </a:cubicBezTo>
                <a:cubicBezTo>
                  <a:pt x="259" y="372"/>
                  <a:pt x="259" y="372"/>
                  <a:pt x="259" y="372"/>
                </a:cubicBezTo>
                <a:cubicBezTo>
                  <a:pt x="258" y="372"/>
                  <a:pt x="258" y="372"/>
                  <a:pt x="258" y="372"/>
                </a:cubicBezTo>
                <a:cubicBezTo>
                  <a:pt x="258" y="370"/>
                  <a:pt x="258" y="370"/>
                  <a:pt x="258" y="370"/>
                </a:cubicBezTo>
                <a:cubicBezTo>
                  <a:pt x="256" y="370"/>
                  <a:pt x="256" y="370"/>
                  <a:pt x="256" y="370"/>
                </a:cubicBezTo>
                <a:cubicBezTo>
                  <a:pt x="255" y="371"/>
                  <a:pt x="255" y="371"/>
                  <a:pt x="255" y="371"/>
                </a:cubicBezTo>
                <a:cubicBezTo>
                  <a:pt x="253" y="371"/>
                  <a:pt x="253" y="371"/>
                  <a:pt x="253" y="371"/>
                </a:cubicBezTo>
                <a:cubicBezTo>
                  <a:pt x="252" y="370"/>
                  <a:pt x="252" y="370"/>
                  <a:pt x="252" y="370"/>
                </a:cubicBezTo>
                <a:cubicBezTo>
                  <a:pt x="250" y="370"/>
                  <a:pt x="250" y="370"/>
                  <a:pt x="250" y="370"/>
                </a:cubicBezTo>
                <a:cubicBezTo>
                  <a:pt x="249" y="369"/>
                  <a:pt x="249" y="369"/>
                  <a:pt x="249" y="369"/>
                </a:cubicBezTo>
                <a:cubicBezTo>
                  <a:pt x="248" y="370"/>
                  <a:pt x="248" y="370"/>
                  <a:pt x="248" y="370"/>
                </a:cubicBezTo>
                <a:cubicBezTo>
                  <a:pt x="247" y="369"/>
                  <a:pt x="247" y="369"/>
                  <a:pt x="247" y="369"/>
                </a:cubicBezTo>
                <a:cubicBezTo>
                  <a:pt x="246" y="370"/>
                  <a:pt x="246" y="370"/>
                  <a:pt x="246" y="370"/>
                </a:cubicBezTo>
                <a:cubicBezTo>
                  <a:pt x="245" y="371"/>
                  <a:pt x="245" y="371"/>
                  <a:pt x="245" y="371"/>
                </a:cubicBezTo>
                <a:cubicBezTo>
                  <a:pt x="244" y="371"/>
                  <a:pt x="244" y="371"/>
                  <a:pt x="244" y="371"/>
                </a:cubicBezTo>
                <a:cubicBezTo>
                  <a:pt x="243" y="372"/>
                  <a:pt x="243" y="372"/>
                  <a:pt x="243" y="372"/>
                </a:cubicBezTo>
                <a:cubicBezTo>
                  <a:pt x="244" y="373"/>
                  <a:pt x="244" y="373"/>
                  <a:pt x="244" y="373"/>
                </a:cubicBezTo>
                <a:cubicBezTo>
                  <a:pt x="244" y="374"/>
                  <a:pt x="244" y="374"/>
                  <a:pt x="244" y="374"/>
                </a:cubicBezTo>
                <a:cubicBezTo>
                  <a:pt x="242" y="374"/>
                  <a:pt x="242" y="374"/>
                  <a:pt x="242" y="374"/>
                </a:cubicBezTo>
                <a:cubicBezTo>
                  <a:pt x="241" y="374"/>
                  <a:pt x="241" y="374"/>
                  <a:pt x="241" y="374"/>
                </a:cubicBezTo>
                <a:cubicBezTo>
                  <a:pt x="240" y="375"/>
                  <a:pt x="240" y="375"/>
                  <a:pt x="240" y="375"/>
                </a:cubicBezTo>
                <a:cubicBezTo>
                  <a:pt x="239" y="375"/>
                  <a:pt x="239" y="375"/>
                  <a:pt x="239" y="375"/>
                </a:cubicBezTo>
                <a:cubicBezTo>
                  <a:pt x="238" y="376"/>
                  <a:pt x="238" y="376"/>
                  <a:pt x="238" y="376"/>
                </a:cubicBezTo>
                <a:cubicBezTo>
                  <a:pt x="238" y="376"/>
                  <a:pt x="238" y="376"/>
                  <a:pt x="238" y="376"/>
                </a:cubicBezTo>
                <a:cubicBezTo>
                  <a:pt x="235" y="377"/>
                  <a:pt x="235" y="377"/>
                  <a:pt x="235" y="377"/>
                </a:cubicBezTo>
                <a:cubicBezTo>
                  <a:pt x="234" y="378"/>
                  <a:pt x="234" y="378"/>
                  <a:pt x="234" y="378"/>
                </a:cubicBezTo>
                <a:cubicBezTo>
                  <a:pt x="232" y="379"/>
                  <a:pt x="232" y="379"/>
                  <a:pt x="232" y="379"/>
                </a:cubicBezTo>
                <a:cubicBezTo>
                  <a:pt x="232" y="378"/>
                  <a:pt x="232" y="378"/>
                  <a:pt x="232" y="378"/>
                </a:cubicBezTo>
                <a:cubicBezTo>
                  <a:pt x="231" y="378"/>
                  <a:pt x="231" y="378"/>
                  <a:pt x="231" y="378"/>
                </a:cubicBezTo>
                <a:cubicBezTo>
                  <a:pt x="230" y="378"/>
                  <a:pt x="230" y="378"/>
                  <a:pt x="230" y="378"/>
                </a:cubicBezTo>
                <a:cubicBezTo>
                  <a:pt x="230" y="379"/>
                  <a:pt x="230" y="379"/>
                  <a:pt x="230" y="379"/>
                </a:cubicBezTo>
                <a:cubicBezTo>
                  <a:pt x="228" y="379"/>
                  <a:pt x="228" y="379"/>
                  <a:pt x="228" y="379"/>
                </a:cubicBezTo>
                <a:cubicBezTo>
                  <a:pt x="228" y="380"/>
                  <a:pt x="228" y="380"/>
                  <a:pt x="228" y="380"/>
                </a:cubicBezTo>
                <a:cubicBezTo>
                  <a:pt x="228" y="381"/>
                  <a:pt x="228" y="381"/>
                  <a:pt x="228" y="381"/>
                </a:cubicBezTo>
                <a:cubicBezTo>
                  <a:pt x="227" y="382"/>
                  <a:pt x="227" y="382"/>
                  <a:pt x="227" y="382"/>
                </a:cubicBezTo>
                <a:cubicBezTo>
                  <a:pt x="226" y="381"/>
                  <a:pt x="226" y="381"/>
                  <a:pt x="226" y="381"/>
                </a:cubicBezTo>
                <a:cubicBezTo>
                  <a:pt x="226" y="381"/>
                  <a:pt x="226" y="381"/>
                  <a:pt x="226" y="381"/>
                </a:cubicBezTo>
                <a:cubicBezTo>
                  <a:pt x="225" y="382"/>
                  <a:pt x="225" y="382"/>
                  <a:pt x="225" y="382"/>
                </a:cubicBezTo>
                <a:cubicBezTo>
                  <a:pt x="223" y="382"/>
                  <a:pt x="223" y="382"/>
                  <a:pt x="223" y="382"/>
                </a:cubicBezTo>
                <a:cubicBezTo>
                  <a:pt x="221" y="383"/>
                  <a:pt x="221" y="383"/>
                  <a:pt x="221" y="383"/>
                </a:cubicBezTo>
                <a:cubicBezTo>
                  <a:pt x="221" y="384"/>
                  <a:pt x="221" y="384"/>
                  <a:pt x="221" y="384"/>
                </a:cubicBezTo>
                <a:cubicBezTo>
                  <a:pt x="219" y="384"/>
                  <a:pt x="219" y="384"/>
                  <a:pt x="219" y="384"/>
                </a:cubicBezTo>
                <a:cubicBezTo>
                  <a:pt x="218" y="385"/>
                  <a:pt x="218" y="385"/>
                  <a:pt x="218" y="385"/>
                </a:cubicBezTo>
                <a:cubicBezTo>
                  <a:pt x="216" y="385"/>
                  <a:pt x="216" y="385"/>
                  <a:pt x="216" y="385"/>
                </a:cubicBezTo>
                <a:cubicBezTo>
                  <a:pt x="214" y="385"/>
                  <a:pt x="214" y="385"/>
                  <a:pt x="214" y="385"/>
                </a:cubicBezTo>
                <a:cubicBezTo>
                  <a:pt x="214" y="386"/>
                  <a:pt x="214" y="386"/>
                  <a:pt x="214" y="386"/>
                </a:cubicBezTo>
                <a:cubicBezTo>
                  <a:pt x="213" y="387"/>
                  <a:pt x="213" y="387"/>
                  <a:pt x="213" y="387"/>
                </a:cubicBezTo>
                <a:cubicBezTo>
                  <a:pt x="213" y="386"/>
                  <a:pt x="213" y="386"/>
                  <a:pt x="213" y="386"/>
                </a:cubicBezTo>
                <a:cubicBezTo>
                  <a:pt x="212" y="386"/>
                  <a:pt x="212" y="386"/>
                  <a:pt x="212" y="386"/>
                </a:cubicBezTo>
                <a:cubicBezTo>
                  <a:pt x="210" y="387"/>
                  <a:pt x="210" y="387"/>
                  <a:pt x="210" y="387"/>
                </a:cubicBezTo>
                <a:cubicBezTo>
                  <a:pt x="210" y="387"/>
                  <a:pt x="210" y="387"/>
                  <a:pt x="210" y="387"/>
                </a:cubicBezTo>
                <a:cubicBezTo>
                  <a:pt x="210" y="388"/>
                  <a:pt x="210" y="388"/>
                  <a:pt x="210" y="388"/>
                </a:cubicBezTo>
                <a:cubicBezTo>
                  <a:pt x="209" y="387"/>
                  <a:pt x="209" y="387"/>
                  <a:pt x="209" y="387"/>
                </a:cubicBezTo>
                <a:cubicBezTo>
                  <a:pt x="207" y="387"/>
                  <a:pt x="207" y="387"/>
                  <a:pt x="207" y="387"/>
                </a:cubicBezTo>
                <a:cubicBezTo>
                  <a:pt x="207" y="387"/>
                  <a:pt x="207" y="387"/>
                  <a:pt x="207" y="387"/>
                </a:cubicBezTo>
                <a:cubicBezTo>
                  <a:pt x="206" y="387"/>
                  <a:pt x="206" y="387"/>
                  <a:pt x="206" y="387"/>
                </a:cubicBezTo>
                <a:cubicBezTo>
                  <a:pt x="205" y="387"/>
                  <a:pt x="205" y="387"/>
                  <a:pt x="205" y="387"/>
                </a:cubicBezTo>
                <a:cubicBezTo>
                  <a:pt x="204" y="387"/>
                  <a:pt x="204" y="387"/>
                  <a:pt x="204" y="387"/>
                </a:cubicBezTo>
                <a:cubicBezTo>
                  <a:pt x="204" y="388"/>
                  <a:pt x="204" y="388"/>
                  <a:pt x="204" y="388"/>
                </a:cubicBezTo>
                <a:cubicBezTo>
                  <a:pt x="204" y="389"/>
                  <a:pt x="204" y="389"/>
                  <a:pt x="204" y="389"/>
                </a:cubicBezTo>
                <a:cubicBezTo>
                  <a:pt x="204" y="390"/>
                  <a:pt x="204" y="390"/>
                  <a:pt x="204" y="390"/>
                </a:cubicBezTo>
                <a:cubicBezTo>
                  <a:pt x="205" y="390"/>
                  <a:pt x="205" y="390"/>
                  <a:pt x="205" y="390"/>
                </a:cubicBezTo>
                <a:cubicBezTo>
                  <a:pt x="206" y="390"/>
                  <a:pt x="206" y="390"/>
                  <a:pt x="206" y="390"/>
                </a:cubicBezTo>
                <a:cubicBezTo>
                  <a:pt x="207" y="391"/>
                  <a:pt x="207" y="391"/>
                  <a:pt x="207" y="391"/>
                </a:cubicBezTo>
                <a:cubicBezTo>
                  <a:pt x="205" y="392"/>
                  <a:pt x="205" y="392"/>
                  <a:pt x="205" y="392"/>
                </a:cubicBezTo>
                <a:cubicBezTo>
                  <a:pt x="205" y="392"/>
                  <a:pt x="205" y="392"/>
                  <a:pt x="205" y="392"/>
                </a:cubicBezTo>
                <a:cubicBezTo>
                  <a:pt x="205" y="393"/>
                  <a:pt x="205" y="393"/>
                  <a:pt x="205" y="393"/>
                </a:cubicBezTo>
                <a:cubicBezTo>
                  <a:pt x="206" y="393"/>
                  <a:pt x="206" y="393"/>
                  <a:pt x="206" y="393"/>
                </a:cubicBezTo>
                <a:cubicBezTo>
                  <a:pt x="208" y="393"/>
                  <a:pt x="208" y="393"/>
                  <a:pt x="208" y="393"/>
                </a:cubicBezTo>
                <a:cubicBezTo>
                  <a:pt x="209" y="393"/>
                  <a:pt x="209" y="393"/>
                  <a:pt x="209" y="393"/>
                </a:cubicBezTo>
                <a:cubicBezTo>
                  <a:pt x="209" y="393"/>
                  <a:pt x="209" y="393"/>
                  <a:pt x="209" y="393"/>
                </a:cubicBezTo>
                <a:cubicBezTo>
                  <a:pt x="210" y="394"/>
                  <a:pt x="210" y="394"/>
                  <a:pt x="210" y="394"/>
                </a:cubicBezTo>
                <a:cubicBezTo>
                  <a:pt x="212" y="394"/>
                  <a:pt x="212" y="394"/>
                  <a:pt x="212" y="394"/>
                </a:cubicBezTo>
                <a:cubicBezTo>
                  <a:pt x="212" y="395"/>
                  <a:pt x="212" y="395"/>
                  <a:pt x="212" y="395"/>
                </a:cubicBezTo>
                <a:cubicBezTo>
                  <a:pt x="211" y="396"/>
                  <a:pt x="211" y="396"/>
                  <a:pt x="211" y="396"/>
                </a:cubicBezTo>
                <a:cubicBezTo>
                  <a:pt x="210" y="396"/>
                  <a:pt x="210" y="396"/>
                  <a:pt x="210" y="396"/>
                </a:cubicBezTo>
                <a:cubicBezTo>
                  <a:pt x="207" y="396"/>
                  <a:pt x="207" y="396"/>
                  <a:pt x="207" y="396"/>
                </a:cubicBezTo>
                <a:cubicBezTo>
                  <a:pt x="206" y="397"/>
                  <a:pt x="206" y="397"/>
                  <a:pt x="206" y="397"/>
                </a:cubicBezTo>
                <a:cubicBezTo>
                  <a:pt x="204" y="399"/>
                  <a:pt x="204" y="399"/>
                  <a:pt x="204" y="399"/>
                </a:cubicBezTo>
                <a:cubicBezTo>
                  <a:pt x="205" y="401"/>
                  <a:pt x="205" y="401"/>
                  <a:pt x="205" y="401"/>
                </a:cubicBezTo>
                <a:cubicBezTo>
                  <a:pt x="205" y="401"/>
                  <a:pt x="205" y="401"/>
                  <a:pt x="205" y="401"/>
                </a:cubicBezTo>
                <a:cubicBezTo>
                  <a:pt x="206" y="402"/>
                  <a:pt x="206" y="402"/>
                  <a:pt x="206" y="402"/>
                </a:cubicBezTo>
                <a:cubicBezTo>
                  <a:pt x="205" y="403"/>
                  <a:pt x="205" y="403"/>
                  <a:pt x="205" y="403"/>
                </a:cubicBezTo>
                <a:cubicBezTo>
                  <a:pt x="205" y="405"/>
                  <a:pt x="205" y="405"/>
                  <a:pt x="205" y="405"/>
                </a:cubicBezTo>
                <a:cubicBezTo>
                  <a:pt x="203" y="405"/>
                  <a:pt x="203" y="405"/>
                  <a:pt x="203" y="405"/>
                </a:cubicBezTo>
                <a:cubicBezTo>
                  <a:pt x="203" y="405"/>
                  <a:pt x="203" y="405"/>
                  <a:pt x="203" y="405"/>
                </a:cubicBezTo>
                <a:cubicBezTo>
                  <a:pt x="204" y="406"/>
                  <a:pt x="204" y="406"/>
                  <a:pt x="204" y="406"/>
                </a:cubicBezTo>
                <a:cubicBezTo>
                  <a:pt x="204" y="407"/>
                  <a:pt x="204" y="407"/>
                  <a:pt x="204" y="407"/>
                </a:cubicBezTo>
                <a:cubicBezTo>
                  <a:pt x="205" y="407"/>
                  <a:pt x="205" y="407"/>
                  <a:pt x="205" y="407"/>
                </a:cubicBezTo>
                <a:cubicBezTo>
                  <a:pt x="206" y="408"/>
                  <a:pt x="206" y="408"/>
                  <a:pt x="206" y="408"/>
                </a:cubicBezTo>
                <a:cubicBezTo>
                  <a:pt x="208" y="408"/>
                  <a:pt x="208" y="408"/>
                  <a:pt x="208" y="408"/>
                </a:cubicBezTo>
                <a:cubicBezTo>
                  <a:pt x="208" y="409"/>
                  <a:pt x="208" y="409"/>
                  <a:pt x="208" y="409"/>
                </a:cubicBezTo>
                <a:cubicBezTo>
                  <a:pt x="209" y="410"/>
                  <a:pt x="209" y="410"/>
                  <a:pt x="209" y="410"/>
                </a:cubicBezTo>
                <a:cubicBezTo>
                  <a:pt x="211" y="410"/>
                  <a:pt x="211" y="410"/>
                  <a:pt x="211" y="410"/>
                </a:cubicBezTo>
                <a:cubicBezTo>
                  <a:pt x="211" y="410"/>
                  <a:pt x="211" y="410"/>
                  <a:pt x="211" y="410"/>
                </a:cubicBezTo>
                <a:cubicBezTo>
                  <a:pt x="212" y="415"/>
                  <a:pt x="212" y="415"/>
                  <a:pt x="212" y="415"/>
                </a:cubicBezTo>
                <a:cubicBezTo>
                  <a:pt x="211" y="416"/>
                  <a:pt x="211" y="416"/>
                  <a:pt x="211" y="416"/>
                </a:cubicBezTo>
                <a:cubicBezTo>
                  <a:pt x="209" y="417"/>
                  <a:pt x="209" y="417"/>
                  <a:pt x="209" y="417"/>
                </a:cubicBezTo>
                <a:cubicBezTo>
                  <a:pt x="207" y="417"/>
                  <a:pt x="207" y="417"/>
                  <a:pt x="207" y="417"/>
                </a:cubicBezTo>
                <a:cubicBezTo>
                  <a:pt x="205" y="415"/>
                  <a:pt x="205" y="415"/>
                  <a:pt x="205" y="415"/>
                </a:cubicBezTo>
                <a:cubicBezTo>
                  <a:pt x="205" y="416"/>
                  <a:pt x="205" y="416"/>
                  <a:pt x="205" y="416"/>
                </a:cubicBezTo>
                <a:cubicBezTo>
                  <a:pt x="205" y="417"/>
                  <a:pt x="205" y="417"/>
                  <a:pt x="205" y="417"/>
                </a:cubicBezTo>
                <a:cubicBezTo>
                  <a:pt x="204" y="419"/>
                  <a:pt x="204" y="419"/>
                  <a:pt x="204" y="419"/>
                </a:cubicBezTo>
                <a:cubicBezTo>
                  <a:pt x="203" y="419"/>
                  <a:pt x="203" y="419"/>
                  <a:pt x="203" y="419"/>
                </a:cubicBezTo>
                <a:cubicBezTo>
                  <a:pt x="200" y="418"/>
                  <a:pt x="200" y="418"/>
                  <a:pt x="200" y="418"/>
                </a:cubicBezTo>
                <a:cubicBezTo>
                  <a:pt x="198" y="418"/>
                  <a:pt x="198" y="418"/>
                  <a:pt x="198" y="418"/>
                </a:cubicBezTo>
                <a:cubicBezTo>
                  <a:pt x="198" y="417"/>
                  <a:pt x="198" y="417"/>
                  <a:pt x="198" y="417"/>
                </a:cubicBezTo>
                <a:cubicBezTo>
                  <a:pt x="197" y="418"/>
                  <a:pt x="197" y="418"/>
                  <a:pt x="197" y="418"/>
                </a:cubicBezTo>
                <a:cubicBezTo>
                  <a:pt x="196" y="417"/>
                  <a:pt x="196" y="417"/>
                  <a:pt x="196" y="417"/>
                </a:cubicBezTo>
                <a:cubicBezTo>
                  <a:pt x="195" y="416"/>
                  <a:pt x="195" y="416"/>
                  <a:pt x="195" y="416"/>
                </a:cubicBezTo>
                <a:cubicBezTo>
                  <a:pt x="196" y="415"/>
                  <a:pt x="196" y="415"/>
                  <a:pt x="196" y="415"/>
                </a:cubicBezTo>
                <a:cubicBezTo>
                  <a:pt x="196" y="414"/>
                  <a:pt x="196" y="414"/>
                  <a:pt x="196" y="414"/>
                </a:cubicBezTo>
                <a:cubicBezTo>
                  <a:pt x="195" y="414"/>
                  <a:pt x="195" y="414"/>
                  <a:pt x="195" y="414"/>
                </a:cubicBezTo>
                <a:cubicBezTo>
                  <a:pt x="194" y="413"/>
                  <a:pt x="194" y="413"/>
                  <a:pt x="194" y="413"/>
                </a:cubicBezTo>
                <a:cubicBezTo>
                  <a:pt x="193" y="414"/>
                  <a:pt x="193" y="414"/>
                  <a:pt x="193" y="414"/>
                </a:cubicBezTo>
                <a:cubicBezTo>
                  <a:pt x="192" y="414"/>
                  <a:pt x="192" y="414"/>
                  <a:pt x="192" y="414"/>
                </a:cubicBezTo>
                <a:cubicBezTo>
                  <a:pt x="191" y="414"/>
                  <a:pt x="191" y="414"/>
                  <a:pt x="191" y="414"/>
                </a:cubicBezTo>
                <a:cubicBezTo>
                  <a:pt x="191" y="416"/>
                  <a:pt x="191" y="416"/>
                  <a:pt x="191" y="416"/>
                </a:cubicBezTo>
                <a:cubicBezTo>
                  <a:pt x="189" y="416"/>
                  <a:pt x="189" y="416"/>
                  <a:pt x="189" y="416"/>
                </a:cubicBezTo>
                <a:cubicBezTo>
                  <a:pt x="189" y="415"/>
                  <a:pt x="189" y="415"/>
                  <a:pt x="189" y="415"/>
                </a:cubicBezTo>
                <a:cubicBezTo>
                  <a:pt x="187" y="414"/>
                  <a:pt x="187" y="414"/>
                  <a:pt x="187" y="414"/>
                </a:cubicBezTo>
                <a:cubicBezTo>
                  <a:pt x="185" y="414"/>
                  <a:pt x="185" y="414"/>
                  <a:pt x="185" y="414"/>
                </a:cubicBezTo>
                <a:cubicBezTo>
                  <a:pt x="185" y="415"/>
                  <a:pt x="185" y="415"/>
                  <a:pt x="185" y="415"/>
                </a:cubicBezTo>
                <a:cubicBezTo>
                  <a:pt x="184" y="414"/>
                  <a:pt x="184" y="414"/>
                  <a:pt x="184" y="414"/>
                </a:cubicBezTo>
                <a:cubicBezTo>
                  <a:pt x="183" y="414"/>
                  <a:pt x="183" y="414"/>
                  <a:pt x="183" y="414"/>
                </a:cubicBezTo>
                <a:cubicBezTo>
                  <a:pt x="183" y="415"/>
                  <a:pt x="183" y="415"/>
                  <a:pt x="183" y="415"/>
                </a:cubicBezTo>
                <a:cubicBezTo>
                  <a:pt x="182" y="416"/>
                  <a:pt x="182" y="416"/>
                  <a:pt x="182" y="416"/>
                </a:cubicBezTo>
                <a:cubicBezTo>
                  <a:pt x="182" y="418"/>
                  <a:pt x="182" y="418"/>
                  <a:pt x="182" y="418"/>
                </a:cubicBezTo>
                <a:cubicBezTo>
                  <a:pt x="180" y="419"/>
                  <a:pt x="180" y="419"/>
                  <a:pt x="180" y="419"/>
                </a:cubicBezTo>
                <a:cubicBezTo>
                  <a:pt x="179" y="419"/>
                  <a:pt x="179" y="419"/>
                  <a:pt x="179" y="419"/>
                </a:cubicBezTo>
                <a:cubicBezTo>
                  <a:pt x="178" y="417"/>
                  <a:pt x="178" y="417"/>
                  <a:pt x="178" y="417"/>
                </a:cubicBezTo>
                <a:cubicBezTo>
                  <a:pt x="176" y="417"/>
                  <a:pt x="176" y="417"/>
                  <a:pt x="176" y="417"/>
                </a:cubicBezTo>
                <a:cubicBezTo>
                  <a:pt x="175" y="416"/>
                  <a:pt x="175" y="416"/>
                  <a:pt x="175" y="416"/>
                </a:cubicBezTo>
                <a:cubicBezTo>
                  <a:pt x="174" y="417"/>
                  <a:pt x="174" y="417"/>
                  <a:pt x="174" y="417"/>
                </a:cubicBezTo>
                <a:cubicBezTo>
                  <a:pt x="174" y="418"/>
                  <a:pt x="174" y="418"/>
                  <a:pt x="174" y="418"/>
                </a:cubicBezTo>
                <a:cubicBezTo>
                  <a:pt x="173" y="419"/>
                  <a:pt x="173" y="419"/>
                  <a:pt x="173" y="419"/>
                </a:cubicBezTo>
                <a:cubicBezTo>
                  <a:pt x="172" y="419"/>
                  <a:pt x="172" y="419"/>
                  <a:pt x="172" y="419"/>
                </a:cubicBezTo>
                <a:cubicBezTo>
                  <a:pt x="172" y="418"/>
                  <a:pt x="172" y="418"/>
                  <a:pt x="172" y="418"/>
                </a:cubicBezTo>
                <a:cubicBezTo>
                  <a:pt x="172" y="417"/>
                  <a:pt x="172" y="417"/>
                  <a:pt x="172" y="417"/>
                </a:cubicBezTo>
                <a:cubicBezTo>
                  <a:pt x="171" y="417"/>
                  <a:pt x="171" y="417"/>
                  <a:pt x="171" y="417"/>
                </a:cubicBezTo>
                <a:cubicBezTo>
                  <a:pt x="169" y="415"/>
                  <a:pt x="169" y="415"/>
                  <a:pt x="169" y="415"/>
                </a:cubicBezTo>
                <a:cubicBezTo>
                  <a:pt x="168" y="414"/>
                  <a:pt x="168" y="414"/>
                  <a:pt x="168" y="414"/>
                </a:cubicBezTo>
                <a:cubicBezTo>
                  <a:pt x="167" y="414"/>
                  <a:pt x="167" y="414"/>
                  <a:pt x="167" y="414"/>
                </a:cubicBezTo>
                <a:cubicBezTo>
                  <a:pt x="165" y="413"/>
                  <a:pt x="165" y="413"/>
                  <a:pt x="165" y="413"/>
                </a:cubicBezTo>
                <a:cubicBezTo>
                  <a:pt x="165" y="413"/>
                  <a:pt x="165" y="413"/>
                  <a:pt x="165" y="413"/>
                </a:cubicBezTo>
                <a:cubicBezTo>
                  <a:pt x="164" y="412"/>
                  <a:pt x="164" y="412"/>
                  <a:pt x="164" y="412"/>
                </a:cubicBezTo>
                <a:cubicBezTo>
                  <a:pt x="163" y="412"/>
                  <a:pt x="163" y="412"/>
                  <a:pt x="163" y="412"/>
                </a:cubicBezTo>
                <a:cubicBezTo>
                  <a:pt x="161" y="412"/>
                  <a:pt x="161" y="412"/>
                  <a:pt x="161" y="412"/>
                </a:cubicBezTo>
                <a:cubicBezTo>
                  <a:pt x="159" y="411"/>
                  <a:pt x="159" y="411"/>
                  <a:pt x="159" y="411"/>
                </a:cubicBezTo>
                <a:cubicBezTo>
                  <a:pt x="159" y="410"/>
                  <a:pt x="159" y="410"/>
                  <a:pt x="159" y="410"/>
                </a:cubicBezTo>
                <a:cubicBezTo>
                  <a:pt x="158" y="410"/>
                  <a:pt x="158" y="410"/>
                  <a:pt x="158" y="410"/>
                </a:cubicBezTo>
                <a:cubicBezTo>
                  <a:pt x="156" y="411"/>
                  <a:pt x="156" y="411"/>
                  <a:pt x="156" y="411"/>
                </a:cubicBezTo>
                <a:cubicBezTo>
                  <a:pt x="155" y="411"/>
                  <a:pt x="155" y="411"/>
                  <a:pt x="155" y="411"/>
                </a:cubicBezTo>
                <a:cubicBezTo>
                  <a:pt x="155" y="411"/>
                  <a:pt x="155" y="411"/>
                  <a:pt x="155" y="411"/>
                </a:cubicBezTo>
                <a:cubicBezTo>
                  <a:pt x="154" y="412"/>
                  <a:pt x="154" y="412"/>
                  <a:pt x="154" y="412"/>
                </a:cubicBezTo>
                <a:cubicBezTo>
                  <a:pt x="154" y="411"/>
                  <a:pt x="154" y="411"/>
                  <a:pt x="154" y="411"/>
                </a:cubicBezTo>
                <a:cubicBezTo>
                  <a:pt x="153" y="412"/>
                  <a:pt x="153" y="412"/>
                  <a:pt x="153" y="412"/>
                </a:cubicBezTo>
                <a:cubicBezTo>
                  <a:pt x="153" y="413"/>
                  <a:pt x="153" y="413"/>
                  <a:pt x="153" y="413"/>
                </a:cubicBezTo>
                <a:cubicBezTo>
                  <a:pt x="152" y="413"/>
                  <a:pt x="152" y="413"/>
                  <a:pt x="152" y="413"/>
                </a:cubicBezTo>
                <a:cubicBezTo>
                  <a:pt x="151" y="413"/>
                  <a:pt x="151" y="413"/>
                  <a:pt x="151" y="413"/>
                </a:cubicBezTo>
                <a:cubicBezTo>
                  <a:pt x="152" y="412"/>
                  <a:pt x="152" y="412"/>
                  <a:pt x="152" y="412"/>
                </a:cubicBezTo>
                <a:cubicBezTo>
                  <a:pt x="152" y="411"/>
                  <a:pt x="152" y="411"/>
                  <a:pt x="152" y="411"/>
                </a:cubicBezTo>
                <a:cubicBezTo>
                  <a:pt x="151" y="410"/>
                  <a:pt x="151" y="410"/>
                  <a:pt x="151" y="410"/>
                </a:cubicBezTo>
                <a:cubicBezTo>
                  <a:pt x="149" y="409"/>
                  <a:pt x="149" y="409"/>
                  <a:pt x="149" y="409"/>
                </a:cubicBezTo>
                <a:cubicBezTo>
                  <a:pt x="148" y="410"/>
                  <a:pt x="148" y="410"/>
                  <a:pt x="148" y="410"/>
                </a:cubicBezTo>
                <a:cubicBezTo>
                  <a:pt x="149" y="411"/>
                  <a:pt x="149" y="411"/>
                  <a:pt x="149" y="411"/>
                </a:cubicBezTo>
                <a:cubicBezTo>
                  <a:pt x="149" y="412"/>
                  <a:pt x="149" y="412"/>
                  <a:pt x="149" y="412"/>
                </a:cubicBezTo>
                <a:cubicBezTo>
                  <a:pt x="147" y="412"/>
                  <a:pt x="147" y="412"/>
                  <a:pt x="147" y="412"/>
                </a:cubicBezTo>
                <a:cubicBezTo>
                  <a:pt x="146" y="413"/>
                  <a:pt x="146" y="413"/>
                  <a:pt x="146" y="413"/>
                </a:cubicBezTo>
                <a:cubicBezTo>
                  <a:pt x="146" y="414"/>
                  <a:pt x="146" y="414"/>
                  <a:pt x="146" y="414"/>
                </a:cubicBezTo>
                <a:cubicBezTo>
                  <a:pt x="145" y="414"/>
                  <a:pt x="145" y="414"/>
                  <a:pt x="145" y="414"/>
                </a:cubicBezTo>
                <a:cubicBezTo>
                  <a:pt x="143" y="416"/>
                  <a:pt x="143" y="416"/>
                  <a:pt x="143" y="416"/>
                </a:cubicBezTo>
                <a:cubicBezTo>
                  <a:pt x="143" y="417"/>
                  <a:pt x="143" y="417"/>
                  <a:pt x="143" y="417"/>
                </a:cubicBezTo>
                <a:cubicBezTo>
                  <a:pt x="143" y="418"/>
                  <a:pt x="143" y="418"/>
                  <a:pt x="143" y="418"/>
                </a:cubicBezTo>
                <a:cubicBezTo>
                  <a:pt x="143" y="420"/>
                  <a:pt x="143" y="420"/>
                  <a:pt x="143" y="420"/>
                </a:cubicBezTo>
                <a:cubicBezTo>
                  <a:pt x="141" y="420"/>
                  <a:pt x="141" y="420"/>
                  <a:pt x="141" y="420"/>
                </a:cubicBezTo>
                <a:cubicBezTo>
                  <a:pt x="140" y="420"/>
                  <a:pt x="140" y="420"/>
                  <a:pt x="140" y="420"/>
                </a:cubicBezTo>
                <a:cubicBezTo>
                  <a:pt x="141" y="425"/>
                  <a:pt x="141" y="425"/>
                  <a:pt x="141" y="425"/>
                </a:cubicBezTo>
                <a:cubicBezTo>
                  <a:pt x="140" y="425"/>
                  <a:pt x="140" y="425"/>
                  <a:pt x="140" y="425"/>
                </a:cubicBezTo>
                <a:cubicBezTo>
                  <a:pt x="140" y="427"/>
                  <a:pt x="140" y="427"/>
                  <a:pt x="140" y="427"/>
                </a:cubicBezTo>
                <a:cubicBezTo>
                  <a:pt x="138" y="428"/>
                  <a:pt x="138" y="428"/>
                  <a:pt x="138" y="428"/>
                </a:cubicBezTo>
                <a:cubicBezTo>
                  <a:pt x="137" y="426"/>
                  <a:pt x="137" y="426"/>
                  <a:pt x="137" y="426"/>
                </a:cubicBezTo>
                <a:cubicBezTo>
                  <a:pt x="136" y="425"/>
                  <a:pt x="136" y="425"/>
                  <a:pt x="136" y="425"/>
                </a:cubicBezTo>
                <a:cubicBezTo>
                  <a:pt x="133" y="422"/>
                  <a:pt x="133" y="422"/>
                  <a:pt x="133" y="422"/>
                </a:cubicBezTo>
                <a:cubicBezTo>
                  <a:pt x="132" y="423"/>
                  <a:pt x="132" y="423"/>
                  <a:pt x="132" y="423"/>
                </a:cubicBezTo>
                <a:cubicBezTo>
                  <a:pt x="132" y="425"/>
                  <a:pt x="132" y="425"/>
                  <a:pt x="132" y="425"/>
                </a:cubicBezTo>
                <a:cubicBezTo>
                  <a:pt x="130" y="427"/>
                  <a:pt x="130" y="427"/>
                  <a:pt x="130" y="427"/>
                </a:cubicBezTo>
                <a:cubicBezTo>
                  <a:pt x="129" y="428"/>
                  <a:pt x="129" y="428"/>
                  <a:pt x="129" y="428"/>
                </a:cubicBezTo>
                <a:cubicBezTo>
                  <a:pt x="129" y="431"/>
                  <a:pt x="129" y="431"/>
                  <a:pt x="129" y="431"/>
                </a:cubicBezTo>
                <a:cubicBezTo>
                  <a:pt x="130" y="432"/>
                  <a:pt x="130" y="432"/>
                  <a:pt x="130" y="432"/>
                </a:cubicBezTo>
                <a:cubicBezTo>
                  <a:pt x="130" y="436"/>
                  <a:pt x="130" y="436"/>
                  <a:pt x="130" y="436"/>
                </a:cubicBezTo>
                <a:cubicBezTo>
                  <a:pt x="129" y="438"/>
                  <a:pt x="129" y="438"/>
                  <a:pt x="129" y="438"/>
                </a:cubicBezTo>
                <a:cubicBezTo>
                  <a:pt x="131" y="439"/>
                  <a:pt x="131" y="439"/>
                  <a:pt x="131" y="439"/>
                </a:cubicBezTo>
                <a:cubicBezTo>
                  <a:pt x="132" y="441"/>
                  <a:pt x="132" y="441"/>
                  <a:pt x="132" y="441"/>
                </a:cubicBezTo>
                <a:cubicBezTo>
                  <a:pt x="132" y="441"/>
                  <a:pt x="132" y="441"/>
                  <a:pt x="132" y="441"/>
                </a:cubicBezTo>
                <a:cubicBezTo>
                  <a:pt x="134" y="443"/>
                  <a:pt x="134" y="443"/>
                  <a:pt x="134" y="443"/>
                </a:cubicBezTo>
                <a:cubicBezTo>
                  <a:pt x="135" y="442"/>
                  <a:pt x="135" y="442"/>
                  <a:pt x="135" y="442"/>
                </a:cubicBezTo>
                <a:cubicBezTo>
                  <a:pt x="139" y="443"/>
                  <a:pt x="139" y="443"/>
                  <a:pt x="139" y="443"/>
                </a:cubicBezTo>
                <a:cubicBezTo>
                  <a:pt x="142" y="446"/>
                  <a:pt x="142" y="446"/>
                  <a:pt x="142" y="446"/>
                </a:cubicBezTo>
                <a:cubicBezTo>
                  <a:pt x="144" y="450"/>
                  <a:pt x="144" y="450"/>
                  <a:pt x="144" y="450"/>
                </a:cubicBezTo>
                <a:cubicBezTo>
                  <a:pt x="142" y="450"/>
                  <a:pt x="142" y="450"/>
                  <a:pt x="142" y="450"/>
                </a:cubicBezTo>
                <a:cubicBezTo>
                  <a:pt x="142" y="451"/>
                  <a:pt x="142" y="451"/>
                  <a:pt x="142" y="451"/>
                </a:cubicBezTo>
                <a:cubicBezTo>
                  <a:pt x="144" y="453"/>
                  <a:pt x="144" y="453"/>
                  <a:pt x="144" y="453"/>
                </a:cubicBezTo>
                <a:cubicBezTo>
                  <a:pt x="145" y="452"/>
                  <a:pt x="145" y="452"/>
                  <a:pt x="145" y="452"/>
                </a:cubicBezTo>
                <a:cubicBezTo>
                  <a:pt x="147" y="453"/>
                  <a:pt x="147" y="453"/>
                  <a:pt x="147" y="453"/>
                </a:cubicBezTo>
                <a:cubicBezTo>
                  <a:pt x="147" y="453"/>
                  <a:pt x="147" y="453"/>
                  <a:pt x="147" y="453"/>
                </a:cubicBezTo>
                <a:cubicBezTo>
                  <a:pt x="147" y="453"/>
                  <a:pt x="147" y="453"/>
                  <a:pt x="147" y="453"/>
                </a:cubicBezTo>
                <a:cubicBezTo>
                  <a:pt x="147" y="454"/>
                  <a:pt x="147" y="454"/>
                  <a:pt x="147" y="454"/>
                </a:cubicBezTo>
                <a:cubicBezTo>
                  <a:pt x="147" y="455"/>
                  <a:pt x="147" y="455"/>
                  <a:pt x="147" y="455"/>
                </a:cubicBezTo>
                <a:cubicBezTo>
                  <a:pt x="146" y="455"/>
                  <a:pt x="146" y="455"/>
                  <a:pt x="146" y="455"/>
                </a:cubicBezTo>
                <a:cubicBezTo>
                  <a:pt x="146" y="455"/>
                  <a:pt x="146" y="455"/>
                  <a:pt x="146" y="455"/>
                </a:cubicBezTo>
                <a:cubicBezTo>
                  <a:pt x="146" y="456"/>
                  <a:pt x="146" y="456"/>
                  <a:pt x="146" y="456"/>
                </a:cubicBezTo>
                <a:cubicBezTo>
                  <a:pt x="146" y="456"/>
                  <a:pt x="146" y="456"/>
                  <a:pt x="146" y="456"/>
                </a:cubicBezTo>
                <a:cubicBezTo>
                  <a:pt x="146" y="456"/>
                  <a:pt x="146" y="456"/>
                  <a:pt x="146" y="456"/>
                </a:cubicBezTo>
                <a:cubicBezTo>
                  <a:pt x="146" y="457"/>
                  <a:pt x="146" y="457"/>
                  <a:pt x="146" y="457"/>
                </a:cubicBezTo>
                <a:cubicBezTo>
                  <a:pt x="145" y="457"/>
                  <a:pt x="145" y="457"/>
                  <a:pt x="145" y="457"/>
                </a:cubicBezTo>
                <a:cubicBezTo>
                  <a:pt x="145" y="457"/>
                  <a:pt x="145" y="457"/>
                  <a:pt x="145" y="457"/>
                </a:cubicBezTo>
                <a:cubicBezTo>
                  <a:pt x="144" y="457"/>
                  <a:pt x="144" y="457"/>
                  <a:pt x="144" y="457"/>
                </a:cubicBezTo>
                <a:cubicBezTo>
                  <a:pt x="143" y="457"/>
                  <a:pt x="143" y="457"/>
                  <a:pt x="143" y="457"/>
                </a:cubicBezTo>
                <a:cubicBezTo>
                  <a:pt x="145" y="458"/>
                  <a:pt x="145" y="458"/>
                  <a:pt x="145" y="458"/>
                </a:cubicBezTo>
                <a:cubicBezTo>
                  <a:pt x="145" y="459"/>
                  <a:pt x="145" y="459"/>
                  <a:pt x="145" y="459"/>
                </a:cubicBezTo>
                <a:cubicBezTo>
                  <a:pt x="145" y="459"/>
                  <a:pt x="145" y="459"/>
                  <a:pt x="145" y="459"/>
                </a:cubicBezTo>
                <a:cubicBezTo>
                  <a:pt x="144" y="458"/>
                  <a:pt x="144" y="458"/>
                  <a:pt x="144" y="458"/>
                </a:cubicBezTo>
                <a:cubicBezTo>
                  <a:pt x="144" y="458"/>
                  <a:pt x="143" y="459"/>
                  <a:pt x="143" y="459"/>
                </a:cubicBezTo>
                <a:cubicBezTo>
                  <a:pt x="143" y="459"/>
                  <a:pt x="142" y="458"/>
                  <a:pt x="142" y="458"/>
                </a:cubicBezTo>
                <a:cubicBezTo>
                  <a:pt x="142" y="458"/>
                  <a:pt x="142" y="458"/>
                  <a:pt x="142" y="458"/>
                </a:cubicBezTo>
                <a:cubicBezTo>
                  <a:pt x="143" y="459"/>
                  <a:pt x="143" y="459"/>
                  <a:pt x="143" y="459"/>
                </a:cubicBezTo>
                <a:cubicBezTo>
                  <a:pt x="143" y="459"/>
                  <a:pt x="143" y="459"/>
                  <a:pt x="143" y="459"/>
                </a:cubicBezTo>
                <a:cubicBezTo>
                  <a:pt x="142" y="460"/>
                  <a:pt x="142" y="460"/>
                  <a:pt x="142" y="460"/>
                </a:cubicBezTo>
                <a:cubicBezTo>
                  <a:pt x="141" y="460"/>
                  <a:pt x="141" y="460"/>
                  <a:pt x="141" y="460"/>
                </a:cubicBezTo>
                <a:cubicBezTo>
                  <a:pt x="141" y="460"/>
                  <a:pt x="141" y="460"/>
                  <a:pt x="141" y="460"/>
                </a:cubicBezTo>
                <a:cubicBezTo>
                  <a:pt x="140" y="460"/>
                  <a:pt x="140" y="460"/>
                  <a:pt x="140" y="460"/>
                </a:cubicBezTo>
                <a:cubicBezTo>
                  <a:pt x="140" y="461"/>
                  <a:pt x="140" y="461"/>
                  <a:pt x="140" y="461"/>
                </a:cubicBezTo>
                <a:cubicBezTo>
                  <a:pt x="139" y="461"/>
                  <a:pt x="139" y="461"/>
                  <a:pt x="139" y="461"/>
                </a:cubicBezTo>
                <a:cubicBezTo>
                  <a:pt x="139" y="460"/>
                  <a:pt x="139" y="460"/>
                  <a:pt x="139" y="460"/>
                </a:cubicBezTo>
                <a:cubicBezTo>
                  <a:pt x="138" y="460"/>
                  <a:pt x="138" y="460"/>
                  <a:pt x="138" y="460"/>
                </a:cubicBezTo>
                <a:cubicBezTo>
                  <a:pt x="138" y="461"/>
                  <a:pt x="138" y="461"/>
                  <a:pt x="138" y="461"/>
                </a:cubicBezTo>
                <a:cubicBezTo>
                  <a:pt x="137" y="462"/>
                  <a:pt x="137" y="462"/>
                  <a:pt x="137" y="462"/>
                </a:cubicBezTo>
                <a:cubicBezTo>
                  <a:pt x="137" y="463"/>
                  <a:pt x="137" y="463"/>
                  <a:pt x="137" y="463"/>
                </a:cubicBezTo>
                <a:cubicBezTo>
                  <a:pt x="137" y="464"/>
                  <a:pt x="137" y="464"/>
                  <a:pt x="137" y="464"/>
                </a:cubicBezTo>
                <a:cubicBezTo>
                  <a:pt x="136" y="465"/>
                  <a:pt x="136" y="465"/>
                  <a:pt x="136" y="465"/>
                </a:cubicBezTo>
                <a:cubicBezTo>
                  <a:pt x="136" y="466"/>
                  <a:pt x="136" y="466"/>
                  <a:pt x="136" y="466"/>
                </a:cubicBezTo>
                <a:cubicBezTo>
                  <a:pt x="136" y="468"/>
                  <a:pt x="136" y="468"/>
                  <a:pt x="136" y="468"/>
                </a:cubicBezTo>
                <a:cubicBezTo>
                  <a:pt x="135" y="469"/>
                  <a:pt x="135" y="469"/>
                  <a:pt x="135" y="469"/>
                </a:cubicBezTo>
                <a:cubicBezTo>
                  <a:pt x="135" y="470"/>
                  <a:pt x="135" y="470"/>
                  <a:pt x="135" y="470"/>
                </a:cubicBezTo>
                <a:cubicBezTo>
                  <a:pt x="135" y="472"/>
                  <a:pt x="135" y="472"/>
                  <a:pt x="135" y="472"/>
                </a:cubicBezTo>
                <a:cubicBezTo>
                  <a:pt x="136" y="472"/>
                  <a:pt x="136" y="472"/>
                  <a:pt x="136" y="472"/>
                </a:cubicBezTo>
                <a:cubicBezTo>
                  <a:pt x="137" y="472"/>
                  <a:pt x="137" y="472"/>
                  <a:pt x="137" y="472"/>
                </a:cubicBezTo>
                <a:cubicBezTo>
                  <a:pt x="138" y="473"/>
                  <a:pt x="138" y="473"/>
                  <a:pt x="138" y="473"/>
                </a:cubicBezTo>
                <a:cubicBezTo>
                  <a:pt x="139" y="474"/>
                  <a:pt x="139" y="474"/>
                  <a:pt x="139" y="474"/>
                </a:cubicBezTo>
                <a:cubicBezTo>
                  <a:pt x="139" y="476"/>
                  <a:pt x="139" y="476"/>
                  <a:pt x="139" y="476"/>
                </a:cubicBezTo>
                <a:cubicBezTo>
                  <a:pt x="140" y="476"/>
                  <a:pt x="140" y="476"/>
                  <a:pt x="140" y="476"/>
                </a:cubicBezTo>
                <a:cubicBezTo>
                  <a:pt x="141" y="476"/>
                  <a:pt x="141" y="476"/>
                  <a:pt x="141" y="476"/>
                </a:cubicBezTo>
                <a:cubicBezTo>
                  <a:pt x="142" y="476"/>
                  <a:pt x="142" y="476"/>
                  <a:pt x="142" y="476"/>
                </a:cubicBezTo>
                <a:cubicBezTo>
                  <a:pt x="141" y="477"/>
                  <a:pt x="141" y="477"/>
                  <a:pt x="141" y="477"/>
                </a:cubicBezTo>
                <a:cubicBezTo>
                  <a:pt x="141" y="478"/>
                  <a:pt x="141" y="478"/>
                  <a:pt x="141" y="478"/>
                </a:cubicBezTo>
                <a:cubicBezTo>
                  <a:pt x="140" y="478"/>
                  <a:pt x="140" y="478"/>
                  <a:pt x="140" y="478"/>
                </a:cubicBezTo>
                <a:cubicBezTo>
                  <a:pt x="140" y="479"/>
                  <a:pt x="140" y="479"/>
                  <a:pt x="140" y="479"/>
                </a:cubicBezTo>
                <a:cubicBezTo>
                  <a:pt x="141" y="479"/>
                  <a:pt x="141" y="479"/>
                  <a:pt x="141" y="479"/>
                </a:cubicBezTo>
                <a:cubicBezTo>
                  <a:pt x="141" y="480"/>
                  <a:pt x="141" y="480"/>
                  <a:pt x="141" y="480"/>
                </a:cubicBezTo>
                <a:cubicBezTo>
                  <a:pt x="142" y="480"/>
                  <a:pt x="142" y="480"/>
                  <a:pt x="142" y="480"/>
                </a:cubicBezTo>
                <a:cubicBezTo>
                  <a:pt x="142" y="482"/>
                  <a:pt x="142" y="482"/>
                  <a:pt x="142" y="482"/>
                </a:cubicBezTo>
                <a:cubicBezTo>
                  <a:pt x="143" y="483"/>
                  <a:pt x="143" y="483"/>
                  <a:pt x="143" y="483"/>
                </a:cubicBezTo>
                <a:cubicBezTo>
                  <a:pt x="143" y="485"/>
                  <a:pt x="143" y="485"/>
                  <a:pt x="143" y="485"/>
                </a:cubicBezTo>
                <a:cubicBezTo>
                  <a:pt x="145" y="488"/>
                  <a:pt x="145" y="488"/>
                  <a:pt x="145" y="488"/>
                </a:cubicBezTo>
                <a:cubicBezTo>
                  <a:pt x="149" y="491"/>
                  <a:pt x="149" y="491"/>
                  <a:pt x="149" y="491"/>
                </a:cubicBezTo>
                <a:cubicBezTo>
                  <a:pt x="149" y="491"/>
                  <a:pt x="149" y="491"/>
                  <a:pt x="149" y="491"/>
                </a:cubicBezTo>
                <a:cubicBezTo>
                  <a:pt x="149" y="491"/>
                  <a:pt x="149" y="491"/>
                  <a:pt x="149" y="491"/>
                </a:cubicBezTo>
                <a:cubicBezTo>
                  <a:pt x="147" y="494"/>
                  <a:pt x="147" y="494"/>
                  <a:pt x="147" y="494"/>
                </a:cubicBezTo>
                <a:cubicBezTo>
                  <a:pt x="145" y="495"/>
                  <a:pt x="145" y="495"/>
                  <a:pt x="145" y="495"/>
                </a:cubicBezTo>
                <a:cubicBezTo>
                  <a:pt x="145" y="496"/>
                  <a:pt x="145" y="496"/>
                  <a:pt x="145" y="496"/>
                </a:cubicBezTo>
                <a:cubicBezTo>
                  <a:pt x="142" y="496"/>
                  <a:pt x="142" y="496"/>
                  <a:pt x="142" y="496"/>
                </a:cubicBezTo>
                <a:cubicBezTo>
                  <a:pt x="141" y="494"/>
                  <a:pt x="141" y="494"/>
                  <a:pt x="141" y="494"/>
                </a:cubicBezTo>
                <a:cubicBezTo>
                  <a:pt x="138" y="492"/>
                  <a:pt x="138" y="492"/>
                  <a:pt x="138" y="492"/>
                </a:cubicBezTo>
                <a:cubicBezTo>
                  <a:pt x="136" y="492"/>
                  <a:pt x="136" y="492"/>
                  <a:pt x="136" y="492"/>
                </a:cubicBezTo>
                <a:cubicBezTo>
                  <a:pt x="136" y="494"/>
                  <a:pt x="136" y="494"/>
                  <a:pt x="136" y="494"/>
                </a:cubicBezTo>
                <a:cubicBezTo>
                  <a:pt x="137" y="495"/>
                  <a:pt x="137" y="495"/>
                  <a:pt x="137" y="495"/>
                </a:cubicBezTo>
                <a:cubicBezTo>
                  <a:pt x="138" y="496"/>
                  <a:pt x="138" y="496"/>
                  <a:pt x="138" y="496"/>
                </a:cubicBezTo>
                <a:cubicBezTo>
                  <a:pt x="138" y="498"/>
                  <a:pt x="138" y="498"/>
                  <a:pt x="138" y="498"/>
                </a:cubicBezTo>
                <a:cubicBezTo>
                  <a:pt x="136" y="497"/>
                  <a:pt x="136" y="497"/>
                  <a:pt x="136" y="497"/>
                </a:cubicBezTo>
                <a:cubicBezTo>
                  <a:pt x="133" y="497"/>
                  <a:pt x="133" y="497"/>
                  <a:pt x="133" y="497"/>
                </a:cubicBezTo>
                <a:cubicBezTo>
                  <a:pt x="130" y="495"/>
                  <a:pt x="130" y="495"/>
                  <a:pt x="130" y="495"/>
                </a:cubicBezTo>
                <a:cubicBezTo>
                  <a:pt x="127" y="496"/>
                  <a:pt x="127" y="496"/>
                  <a:pt x="127" y="496"/>
                </a:cubicBezTo>
                <a:cubicBezTo>
                  <a:pt x="127" y="497"/>
                  <a:pt x="127" y="497"/>
                  <a:pt x="127" y="497"/>
                </a:cubicBezTo>
                <a:cubicBezTo>
                  <a:pt x="128" y="498"/>
                  <a:pt x="128" y="498"/>
                  <a:pt x="128" y="498"/>
                </a:cubicBezTo>
                <a:cubicBezTo>
                  <a:pt x="127" y="497"/>
                  <a:pt x="127" y="497"/>
                  <a:pt x="127" y="497"/>
                </a:cubicBezTo>
                <a:cubicBezTo>
                  <a:pt x="123" y="497"/>
                  <a:pt x="123" y="497"/>
                  <a:pt x="123" y="497"/>
                </a:cubicBezTo>
                <a:cubicBezTo>
                  <a:pt x="123" y="497"/>
                  <a:pt x="123" y="497"/>
                  <a:pt x="123" y="497"/>
                </a:cubicBezTo>
                <a:cubicBezTo>
                  <a:pt x="120" y="497"/>
                  <a:pt x="120" y="497"/>
                  <a:pt x="120" y="497"/>
                </a:cubicBezTo>
                <a:cubicBezTo>
                  <a:pt x="118" y="498"/>
                  <a:pt x="118" y="498"/>
                  <a:pt x="118" y="498"/>
                </a:cubicBezTo>
                <a:cubicBezTo>
                  <a:pt x="118" y="498"/>
                  <a:pt x="118" y="498"/>
                  <a:pt x="118" y="498"/>
                </a:cubicBezTo>
                <a:cubicBezTo>
                  <a:pt x="117" y="498"/>
                  <a:pt x="117" y="498"/>
                  <a:pt x="117" y="498"/>
                </a:cubicBezTo>
                <a:cubicBezTo>
                  <a:pt x="114" y="495"/>
                  <a:pt x="114" y="495"/>
                  <a:pt x="114" y="495"/>
                </a:cubicBezTo>
                <a:cubicBezTo>
                  <a:pt x="113" y="495"/>
                  <a:pt x="113" y="495"/>
                  <a:pt x="113" y="495"/>
                </a:cubicBezTo>
                <a:cubicBezTo>
                  <a:pt x="112" y="496"/>
                  <a:pt x="112" y="496"/>
                  <a:pt x="112" y="496"/>
                </a:cubicBezTo>
                <a:cubicBezTo>
                  <a:pt x="111" y="496"/>
                  <a:pt x="111" y="496"/>
                  <a:pt x="111" y="496"/>
                </a:cubicBezTo>
                <a:cubicBezTo>
                  <a:pt x="110" y="495"/>
                  <a:pt x="110" y="495"/>
                  <a:pt x="110" y="495"/>
                </a:cubicBezTo>
                <a:cubicBezTo>
                  <a:pt x="109" y="496"/>
                  <a:pt x="109" y="496"/>
                  <a:pt x="109" y="496"/>
                </a:cubicBezTo>
                <a:cubicBezTo>
                  <a:pt x="108" y="496"/>
                  <a:pt x="108" y="496"/>
                  <a:pt x="108" y="496"/>
                </a:cubicBezTo>
                <a:cubicBezTo>
                  <a:pt x="108" y="495"/>
                  <a:pt x="108" y="495"/>
                  <a:pt x="108" y="495"/>
                </a:cubicBezTo>
                <a:cubicBezTo>
                  <a:pt x="107" y="495"/>
                  <a:pt x="107" y="495"/>
                  <a:pt x="107" y="495"/>
                </a:cubicBezTo>
                <a:cubicBezTo>
                  <a:pt x="107" y="495"/>
                  <a:pt x="107" y="495"/>
                  <a:pt x="107" y="495"/>
                </a:cubicBezTo>
                <a:cubicBezTo>
                  <a:pt x="107" y="494"/>
                  <a:pt x="107" y="494"/>
                  <a:pt x="107" y="494"/>
                </a:cubicBezTo>
                <a:cubicBezTo>
                  <a:pt x="107" y="493"/>
                  <a:pt x="107" y="493"/>
                  <a:pt x="107" y="493"/>
                </a:cubicBezTo>
                <a:cubicBezTo>
                  <a:pt x="108" y="493"/>
                  <a:pt x="108" y="493"/>
                  <a:pt x="108" y="493"/>
                </a:cubicBezTo>
                <a:cubicBezTo>
                  <a:pt x="106" y="491"/>
                  <a:pt x="106" y="491"/>
                  <a:pt x="106" y="491"/>
                </a:cubicBezTo>
                <a:cubicBezTo>
                  <a:pt x="106" y="488"/>
                  <a:pt x="106" y="488"/>
                  <a:pt x="106" y="488"/>
                </a:cubicBezTo>
                <a:cubicBezTo>
                  <a:pt x="105" y="487"/>
                  <a:pt x="105" y="487"/>
                  <a:pt x="105" y="487"/>
                </a:cubicBezTo>
                <a:cubicBezTo>
                  <a:pt x="104" y="485"/>
                  <a:pt x="104" y="485"/>
                  <a:pt x="104" y="485"/>
                </a:cubicBezTo>
                <a:cubicBezTo>
                  <a:pt x="103" y="485"/>
                  <a:pt x="103" y="485"/>
                  <a:pt x="103" y="485"/>
                </a:cubicBezTo>
                <a:cubicBezTo>
                  <a:pt x="102" y="484"/>
                  <a:pt x="102" y="484"/>
                  <a:pt x="102" y="484"/>
                </a:cubicBezTo>
                <a:cubicBezTo>
                  <a:pt x="101" y="483"/>
                  <a:pt x="101" y="483"/>
                  <a:pt x="101" y="483"/>
                </a:cubicBezTo>
                <a:cubicBezTo>
                  <a:pt x="100" y="483"/>
                  <a:pt x="100" y="483"/>
                  <a:pt x="100" y="483"/>
                </a:cubicBezTo>
                <a:cubicBezTo>
                  <a:pt x="100" y="483"/>
                  <a:pt x="100" y="483"/>
                  <a:pt x="100" y="483"/>
                </a:cubicBezTo>
                <a:cubicBezTo>
                  <a:pt x="98" y="482"/>
                  <a:pt x="98" y="482"/>
                  <a:pt x="98" y="482"/>
                </a:cubicBezTo>
                <a:cubicBezTo>
                  <a:pt x="97" y="481"/>
                  <a:pt x="97" y="481"/>
                  <a:pt x="97" y="481"/>
                </a:cubicBezTo>
                <a:cubicBezTo>
                  <a:pt x="97" y="481"/>
                  <a:pt x="97" y="481"/>
                  <a:pt x="97" y="481"/>
                </a:cubicBezTo>
                <a:cubicBezTo>
                  <a:pt x="95" y="481"/>
                  <a:pt x="95" y="481"/>
                  <a:pt x="95" y="481"/>
                </a:cubicBezTo>
                <a:cubicBezTo>
                  <a:pt x="95" y="480"/>
                  <a:pt x="95" y="480"/>
                  <a:pt x="95" y="480"/>
                </a:cubicBezTo>
                <a:cubicBezTo>
                  <a:pt x="94" y="480"/>
                  <a:pt x="94" y="480"/>
                  <a:pt x="94" y="480"/>
                </a:cubicBezTo>
                <a:cubicBezTo>
                  <a:pt x="93" y="479"/>
                  <a:pt x="93" y="479"/>
                  <a:pt x="93" y="479"/>
                </a:cubicBezTo>
                <a:cubicBezTo>
                  <a:pt x="93" y="478"/>
                  <a:pt x="93" y="478"/>
                  <a:pt x="93" y="478"/>
                </a:cubicBezTo>
                <a:cubicBezTo>
                  <a:pt x="92" y="478"/>
                  <a:pt x="92" y="478"/>
                  <a:pt x="92" y="478"/>
                </a:cubicBezTo>
                <a:cubicBezTo>
                  <a:pt x="91" y="476"/>
                  <a:pt x="91" y="476"/>
                  <a:pt x="91" y="476"/>
                </a:cubicBezTo>
                <a:cubicBezTo>
                  <a:pt x="87" y="473"/>
                  <a:pt x="87" y="473"/>
                  <a:pt x="87" y="473"/>
                </a:cubicBezTo>
                <a:cubicBezTo>
                  <a:pt x="85" y="473"/>
                  <a:pt x="85" y="473"/>
                  <a:pt x="85" y="473"/>
                </a:cubicBezTo>
                <a:cubicBezTo>
                  <a:pt x="83" y="471"/>
                  <a:pt x="83" y="471"/>
                  <a:pt x="83" y="471"/>
                </a:cubicBezTo>
                <a:cubicBezTo>
                  <a:pt x="80" y="471"/>
                  <a:pt x="80" y="471"/>
                  <a:pt x="80" y="471"/>
                </a:cubicBezTo>
                <a:cubicBezTo>
                  <a:pt x="79" y="470"/>
                  <a:pt x="79" y="470"/>
                  <a:pt x="79" y="470"/>
                </a:cubicBezTo>
                <a:cubicBezTo>
                  <a:pt x="79" y="469"/>
                  <a:pt x="79" y="469"/>
                  <a:pt x="79" y="469"/>
                </a:cubicBezTo>
                <a:cubicBezTo>
                  <a:pt x="77" y="468"/>
                  <a:pt x="77" y="468"/>
                  <a:pt x="77" y="468"/>
                </a:cubicBezTo>
                <a:cubicBezTo>
                  <a:pt x="76" y="468"/>
                  <a:pt x="76" y="468"/>
                  <a:pt x="76" y="468"/>
                </a:cubicBezTo>
                <a:cubicBezTo>
                  <a:pt x="75" y="468"/>
                  <a:pt x="75" y="468"/>
                  <a:pt x="75" y="468"/>
                </a:cubicBezTo>
                <a:cubicBezTo>
                  <a:pt x="76" y="467"/>
                  <a:pt x="76" y="467"/>
                  <a:pt x="76" y="467"/>
                </a:cubicBezTo>
                <a:cubicBezTo>
                  <a:pt x="77" y="466"/>
                  <a:pt x="77" y="466"/>
                  <a:pt x="77" y="466"/>
                </a:cubicBezTo>
                <a:cubicBezTo>
                  <a:pt x="76" y="465"/>
                  <a:pt x="76" y="465"/>
                  <a:pt x="76" y="465"/>
                </a:cubicBezTo>
                <a:cubicBezTo>
                  <a:pt x="76" y="465"/>
                  <a:pt x="76" y="465"/>
                  <a:pt x="76" y="465"/>
                </a:cubicBezTo>
                <a:cubicBezTo>
                  <a:pt x="78" y="465"/>
                  <a:pt x="78" y="465"/>
                  <a:pt x="78" y="465"/>
                </a:cubicBezTo>
                <a:cubicBezTo>
                  <a:pt x="79" y="466"/>
                  <a:pt x="79" y="466"/>
                  <a:pt x="79" y="466"/>
                </a:cubicBezTo>
                <a:cubicBezTo>
                  <a:pt x="79" y="466"/>
                  <a:pt x="79" y="466"/>
                  <a:pt x="79" y="466"/>
                </a:cubicBezTo>
                <a:cubicBezTo>
                  <a:pt x="80" y="466"/>
                  <a:pt x="80" y="466"/>
                  <a:pt x="80" y="466"/>
                </a:cubicBezTo>
                <a:cubicBezTo>
                  <a:pt x="80" y="464"/>
                  <a:pt x="80" y="464"/>
                  <a:pt x="80" y="464"/>
                </a:cubicBezTo>
                <a:cubicBezTo>
                  <a:pt x="80" y="464"/>
                  <a:pt x="80" y="464"/>
                  <a:pt x="80" y="464"/>
                </a:cubicBezTo>
                <a:cubicBezTo>
                  <a:pt x="80" y="462"/>
                  <a:pt x="80" y="462"/>
                  <a:pt x="80" y="462"/>
                </a:cubicBezTo>
                <a:cubicBezTo>
                  <a:pt x="81" y="461"/>
                  <a:pt x="81" y="461"/>
                  <a:pt x="81" y="461"/>
                </a:cubicBezTo>
                <a:cubicBezTo>
                  <a:pt x="81" y="461"/>
                  <a:pt x="81" y="461"/>
                  <a:pt x="81" y="461"/>
                </a:cubicBezTo>
                <a:cubicBezTo>
                  <a:pt x="82" y="460"/>
                  <a:pt x="82" y="460"/>
                  <a:pt x="82" y="460"/>
                </a:cubicBezTo>
                <a:cubicBezTo>
                  <a:pt x="83" y="460"/>
                  <a:pt x="83" y="460"/>
                  <a:pt x="83" y="460"/>
                </a:cubicBezTo>
                <a:cubicBezTo>
                  <a:pt x="83" y="460"/>
                  <a:pt x="83" y="460"/>
                  <a:pt x="83" y="460"/>
                </a:cubicBezTo>
                <a:cubicBezTo>
                  <a:pt x="84" y="459"/>
                  <a:pt x="84" y="459"/>
                  <a:pt x="84" y="459"/>
                </a:cubicBezTo>
                <a:cubicBezTo>
                  <a:pt x="84" y="459"/>
                  <a:pt x="84" y="459"/>
                  <a:pt x="84" y="459"/>
                </a:cubicBezTo>
                <a:cubicBezTo>
                  <a:pt x="83" y="458"/>
                  <a:pt x="83" y="458"/>
                  <a:pt x="83" y="458"/>
                </a:cubicBezTo>
                <a:cubicBezTo>
                  <a:pt x="82" y="458"/>
                  <a:pt x="82" y="458"/>
                  <a:pt x="82" y="458"/>
                </a:cubicBezTo>
                <a:cubicBezTo>
                  <a:pt x="82" y="458"/>
                  <a:pt x="82" y="458"/>
                  <a:pt x="82" y="458"/>
                </a:cubicBezTo>
                <a:cubicBezTo>
                  <a:pt x="81" y="457"/>
                  <a:pt x="81" y="457"/>
                  <a:pt x="81" y="457"/>
                </a:cubicBezTo>
                <a:cubicBezTo>
                  <a:pt x="80" y="456"/>
                  <a:pt x="80" y="456"/>
                  <a:pt x="80" y="456"/>
                </a:cubicBezTo>
                <a:cubicBezTo>
                  <a:pt x="82" y="455"/>
                  <a:pt x="82" y="455"/>
                  <a:pt x="82" y="455"/>
                </a:cubicBezTo>
                <a:cubicBezTo>
                  <a:pt x="84" y="456"/>
                  <a:pt x="84" y="456"/>
                  <a:pt x="84" y="456"/>
                </a:cubicBezTo>
                <a:cubicBezTo>
                  <a:pt x="84" y="455"/>
                  <a:pt x="84" y="455"/>
                  <a:pt x="84" y="455"/>
                </a:cubicBezTo>
                <a:cubicBezTo>
                  <a:pt x="84" y="455"/>
                  <a:pt x="84" y="455"/>
                  <a:pt x="84" y="455"/>
                </a:cubicBezTo>
                <a:cubicBezTo>
                  <a:pt x="83" y="454"/>
                  <a:pt x="83" y="454"/>
                  <a:pt x="83" y="454"/>
                </a:cubicBezTo>
                <a:cubicBezTo>
                  <a:pt x="84" y="453"/>
                  <a:pt x="84" y="453"/>
                  <a:pt x="84" y="453"/>
                </a:cubicBezTo>
                <a:cubicBezTo>
                  <a:pt x="88" y="451"/>
                  <a:pt x="88" y="451"/>
                  <a:pt x="88" y="451"/>
                </a:cubicBezTo>
                <a:cubicBezTo>
                  <a:pt x="88" y="450"/>
                  <a:pt x="88" y="450"/>
                  <a:pt x="88" y="450"/>
                </a:cubicBezTo>
                <a:cubicBezTo>
                  <a:pt x="88" y="450"/>
                  <a:pt x="88" y="450"/>
                  <a:pt x="88" y="450"/>
                </a:cubicBezTo>
                <a:cubicBezTo>
                  <a:pt x="86" y="450"/>
                  <a:pt x="86" y="450"/>
                  <a:pt x="86" y="450"/>
                </a:cubicBezTo>
                <a:cubicBezTo>
                  <a:pt x="84" y="451"/>
                  <a:pt x="84" y="451"/>
                  <a:pt x="84" y="451"/>
                </a:cubicBezTo>
                <a:cubicBezTo>
                  <a:pt x="83" y="451"/>
                  <a:pt x="83" y="451"/>
                  <a:pt x="83" y="451"/>
                </a:cubicBezTo>
                <a:cubicBezTo>
                  <a:pt x="83" y="451"/>
                  <a:pt x="83" y="451"/>
                  <a:pt x="83" y="451"/>
                </a:cubicBezTo>
                <a:cubicBezTo>
                  <a:pt x="83" y="451"/>
                  <a:pt x="83" y="451"/>
                  <a:pt x="83" y="451"/>
                </a:cubicBezTo>
                <a:cubicBezTo>
                  <a:pt x="83" y="448"/>
                  <a:pt x="83" y="448"/>
                  <a:pt x="83" y="448"/>
                </a:cubicBezTo>
                <a:cubicBezTo>
                  <a:pt x="84" y="448"/>
                  <a:pt x="84" y="448"/>
                  <a:pt x="84" y="448"/>
                </a:cubicBezTo>
                <a:cubicBezTo>
                  <a:pt x="85" y="445"/>
                  <a:pt x="85" y="445"/>
                  <a:pt x="85" y="445"/>
                </a:cubicBezTo>
                <a:cubicBezTo>
                  <a:pt x="88" y="445"/>
                  <a:pt x="88" y="445"/>
                  <a:pt x="88" y="445"/>
                </a:cubicBezTo>
                <a:cubicBezTo>
                  <a:pt x="90" y="444"/>
                  <a:pt x="90" y="444"/>
                  <a:pt x="90" y="444"/>
                </a:cubicBezTo>
                <a:cubicBezTo>
                  <a:pt x="89" y="443"/>
                  <a:pt x="89" y="443"/>
                  <a:pt x="89" y="443"/>
                </a:cubicBezTo>
                <a:cubicBezTo>
                  <a:pt x="90" y="440"/>
                  <a:pt x="90" y="440"/>
                  <a:pt x="90" y="440"/>
                </a:cubicBezTo>
                <a:cubicBezTo>
                  <a:pt x="90" y="439"/>
                  <a:pt x="90" y="439"/>
                  <a:pt x="90" y="439"/>
                </a:cubicBezTo>
                <a:cubicBezTo>
                  <a:pt x="88" y="437"/>
                  <a:pt x="88" y="437"/>
                  <a:pt x="88" y="437"/>
                </a:cubicBezTo>
                <a:cubicBezTo>
                  <a:pt x="88" y="435"/>
                  <a:pt x="88" y="435"/>
                  <a:pt x="88" y="435"/>
                </a:cubicBezTo>
                <a:cubicBezTo>
                  <a:pt x="90" y="434"/>
                  <a:pt x="90" y="434"/>
                  <a:pt x="90" y="434"/>
                </a:cubicBezTo>
                <a:cubicBezTo>
                  <a:pt x="91" y="433"/>
                  <a:pt x="91" y="433"/>
                  <a:pt x="91" y="433"/>
                </a:cubicBezTo>
                <a:cubicBezTo>
                  <a:pt x="91" y="431"/>
                  <a:pt x="91" y="431"/>
                  <a:pt x="91" y="431"/>
                </a:cubicBezTo>
                <a:cubicBezTo>
                  <a:pt x="90" y="431"/>
                  <a:pt x="90" y="431"/>
                  <a:pt x="90" y="431"/>
                </a:cubicBezTo>
                <a:cubicBezTo>
                  <a:pt x="89" y="429"/>
                  <a:pt x="89" y="429"/>
                  <a:pt x="89" y="429"/>
                </a:cubicBezTo>
                <a:cubicBezTo>
                  <a:pt x="88" y="430"/>
                  <a:pt x="88" y="430"/>
                  <a:pt x="88" y="430"/>
                </a:cubicBezTo>
                <a:cubicBezTo>
                  <a:pt x="87" y="430"/>
                  <a:pt x="87" y="430"/>
                  <a:pt x="87" y="430"/>
                </a:cubicBezTo>
                <a:cubicBezTo>
                  <a:pt x="85" y="429"/>
                  <a:pt x="85" y="429"/>
                  <a:pt x="85" y="429"/>
                </a:cubicBezTo>
                <a:cubicBezTo>
                  <a:pt x="84" y="429"/>
                  <a:pt x="84" y="429"/>
                  <a:pt x="84" y="429"/>
                </a:cubicBezTo>
                <a:cubicBezTo>
                  <a:pt x="82" y="428"/>
                  <a:pt x="82" y="428"/>
                  <a:pt x="82" y="428"/>
                </a:cubicBezTo>
                <a:cubicBezTo>
                  <a:pt x="81" y="428"/>
                  <a:pt x="81" y="428"/>
                  <a:pt x="81" y="428"/>
                </a:cubicBezTo>
                <a:cubicBezTo>
                  <a:pt x="78" y="428"/>
                  <a:pt x="78" y="428"/>
                  <a:pt x="78" y="428"/>
                </a:cubicBezTo>
                <a:cubicBezTo>
                  <a:pt x="78" y="429"/>
                  <a:pt x="78" y="429"/>
                  <a:pt x="78" y="429"/>
                </a:cubicBezTo>
                <a:cubicBezTo>
                  <a:pt x="77" y="428"/>
                  <a:pt x="77" y="428"/>
                  <a:pt x="77" y="428"/>
                </a:cubicBezTo>
                <a:cubicBezTo>
                  <a:pt x="75" y="426"/>
                  <a:pt x="75" y="426"/>
                  <a:pt x="75" y="426"/>
                </a:cubicBezTo>
                <a:cubicBezTo>
                  <a:pt x="74" y="423"/>
                  <a:pt x="74" y="423"/>
                  <a:pt x="74" y="423"/>
                </a:cubicBezTo>
                <a:cubicBezTo>
                  <a:pt x="73" y="423"/>
                  <a:pt x="73" y="423"/>
                  <a:pt x="73" y="423"/>
                </a:cubicBezTo>
                <a:cubicBezTo>
                  <a:pt x="71" y="425"/>
                  <a:pt x="71" y="425"/>
                  <a:pt x="71" y="425"/>
                </a:cubicBezTo>
                <a:cubicBezTo>
                  <a:pt x="69" y="425"/>
                  <a:pt x="69" y="425"/>
                  <a:pt x="69" y="425"/>
                </a:cubicBezTo>
                <a:cubicBezTo>
                  <a:pt x="68" y="425"/>
                  <a:pt x="68" y="425"/>
                  <a:pt x="68" y="425"/>
                </a:cubicBezTo>
                <a:cubicBezTo>
                  <a:pt x="66" y="424"/>
                  <a:pt x="66" y="424"/>
                  <a:pt x="66" y="424"/>
                </a:cubicBezTo>
                <a:cubicBezTo>
                  <a:pt x="65" y="425"/>
                  <a:pt x="65" y="425"/>
                  <a:pt x="65" y="425"/>
                </a:cubicBezTo>
                <a:cubicBezTo>
                  <a:pt x="62" y="423"/>
                  <a:pt x="62" y="423"/>
                  <a:pt x="62" y="423"/>
                </a:cubicBezTo>
                <a:cubicBezTo>
                  <a:pt x="61" y="421"/>
                  <a:pt x="61" y="421"/>
                  <a:pt x="61" y="421"/>
                </a:cubicBezTo>
                <a:cubicBezTo>
                  <a:pt x="61" y="419"/>
                  <a:pt x="61" y="419"/>
                  <a:pt x="61" y="419"/>
                </a:cubicBezTo>
                <a:cubicBezTo>
                  <a:pt x="60" y="419"/>
                  <a:pt x="60" y="419"/>
                  <a:pt x="60" y="419"/>
                </a:cubicBezTo>
                <a:cubicBezTo>
                  <a:pt x="60" y="417"/>
                  <a:pt x="60" y="417"/>
                  <a:pt x="60" y="417"/>
                </a:cubicBezTo>
                <a:cubicBezTo>
                  <a:pt x="59" y="416"/>
                  <a:pt x="59" y="416"/>
                  <a:pt x="59" y="416"/>
                </a:cubicBezTo>
                <a:cubicBezTo>
                  <a:pt x="55" y="417"/>
                  <a:pt x="55" y="417"/>
                  <a:pt x="55" y="417"/>
                </a:cubicBezTo>
                <a:cubicBezTo>
                  <a:pt x="53" y="415"/>
                  <a:pt x="53" y="415"/>
                  <a:pt x="53" y="415"/>
                </a:cubicBezTo>
                <a:cubicBezTo>
                  <a:pt x="54" y="413"/>
                  <a:pt x="54" y="413"/>
                  <a:pt x="54" y="413"/>
                </a:cubicBezTo>
                <a:cubicBezTo>
                  <a:pt x="53" y="412"/>
                  <a:pt x="53" y="412"/>
                  <a:pt x="53" y="412"/>
                </a:cubicBezTo>
                <a:cubicBezTo>
                  <a:pt x="52" y="409"/>
                  <a:pt x="52" y="409"/>
                  <a:pt x="52" y="409"/>
                </a:cubicBezTo>
                <a:cubicBezTo>
                  <a:pt x="50" y="409"/>
                  <a:pt x="50" y="409"/>
                  <a:pt x="50" y="409"/>
                </a:cubicBezTo>
                <a:cubicBezTo>
                  <a:pt x="49" y="410"/>
                  <a:pt x="49" y="410"/>
                  <a:pt x="49" y="410"/>
                </a:cubicBezTo>
                <a:cubicBezTo>
                  <a:pt x="46" y="410"/>
                  <a:pt x="46" y="410"/>
                  <a:pt x="46" y="410"/>
                </a:cubicBezTo>
                <a:cubicBezTo>
                  <a:pt x="43" y="409"/>
                  <a:pt x="43" y="409"/>
                  <a:pt x="43" y="409"/>
                </a:cubicBezTo>
                <a:cubicBezTo>
                  <a:pt x="42" y="410"/>
                  <a:pt x="42" y="410"/>
                  <a:pt x="42" y="410"/>
                </a:cubicBezTo>
                <a:cubicBezTo>
                  <a:pt x="42" y="411"/>
                  <a:pt x="42" y="411"/>
                  <a:pt x="42" y="411"/>
                </a:cubicBezTo>
                <a:cubicBezTo>
                  <a:pt x="40" y="411"/>
                  <a:pt x="40" y="411"/>
                  <a:pt x="40" y="411"/>
                </a:cubicBezTo>
                <a:cubicBezTo>
                  <a:pt x="39" y="411"/>
                  <a:pt x="39" y="411"/>
                  <a:pt x="39" y="411"/>
                </a:cubicBezTo>
                <a:cubicBezTo>
                  <a:pt x="39" y="410"/>
                  <a:pt x="39" y="410"/>
                  <a:pt x="39" y="410"/>
                </a:cubicBezTo>
                <a:cubicBezTo>
                  <a:pt x="38" y="408"/>
                  <a:pt x="38" y="408"/>
                  <a:pt x="38" y="408"/>
                </a:cubicBezTo>
                <a:cubicBezTo>
                  <a:pt x="38" y="406"/>
                  <a:pt x="38" y="406"/>
                  <a:pt x="38" y="406"/>
                </a:cubicBezTo>
                <a:cubicBezTo>
                  <a:pt x="37" y="404"/>
                  <a:pt x="37" y="404"/>
                  <a:pt x="37" y="404"/>
                </a:cubicBezTo>
                <a:cubicBezTo>
                  <a:pt x="37" y="403"/>
                  <a:pt x="37" y="403"/>
                  <a:pt x="37" y="403"/>
                </a:cubicBezTo>
                <a:cubicBezTo>
                  <a:pt x="37" y="402"/>
                  <a:pt x="37" y="402"/>
                  <a:pt x="37" y="402"/>
                </a:cubicBezTo>
                <a:cubicBezTo>
                  <a:pt x="39" y="403"/>
                  <a:pt x="39" y="403"/>
                  <a:pt x="39" y="403"/>
                </a:cubicBezTo>
                <a:cubicBezTo>
                  <a:pt x="42" y="403"/>
                  <a:pt x="42" y="403"/>
                  <a:pt x="42" y="403"/>
                </a:cubicBezTo>
                <a:cubicBezTo>
                  <a:pt x="43" y="400"/>
                  <a:pt x="43" y="400"/>
                  <a:pt x="43" y="400"/>
                </a:cubicBezTo>
                <a:cubicBezTo>
                  <a:pt x="44" y="400"/>
                  <a:pt x="44" y="400"/>
                  <a:pt x="44" y="400"/>
                </a:cubicBezTo>
                <a:cubicBezTo>
                  <a:pt x="42" y="399"/>
                  <a:pt x="42" y="399"/>
                  <a:pt x="42" y="399"/>
                </a:cubicBezTo>
                <a:cubicBezTo>
                  <a:pt x="42" y="398"/>
                  <a:pt x="42" y="398"/>
                  <a:pt x="42" y="398"/>
                </a:cubicBezTo>
                <a:cubicBezTo>
                  <a:pt x="40" y="396"/>
                  <a:pt x="40" y="396"/>
                  <a:pt x="40" y="396"/>
                </a:cubicBezTo>
                <a:cubicBezTo>
                  <a:pt x="38" y="395"/>
                  <a:pt x="38" y="395"/>
                  <a:pt x="38" y="395"/>
                </a:cubicBezTo>
                <a:cubicBezTo>
                  <a:pt x="37" y="393"/>
                  <a:pt x="37" y="393"/>
                  <a:pt x="37" y="393"/>
                </a:cubicBezTo>
                <a:cubicBezTo>
                  <a:pt x="36" y="392"/>
                  <a:pt x="36" y="392"/>
                  <a:pt x="36" y="392"/>
                </a:cubicBezTo>
                <a:cubicBezTo>
                  <a:pt x="34" y="390"/>
                  <a:pt x="34" y="390"/>
                  <a:pt x="34" y="390"/>
                </a:cubicBezTo>
                <a:cubicBezTo>
                  <a:pt x="33" y="388"/>
                  <a:pt x="33" y="388"/>
                  <a:pt x="33" y="388"/>
                </a:cubicBezTo>
                <a:cubicBezTo>
                  <a:pt x="32" y="386"/>
                  <a:pt x="32" y="386"/>
                  <a:pt x="32" y="386"/>
                </a:cubicBezTo>
                <a:cubicBezTo>
                  <a:pt x="32" y="385"/>
                  <a:pt x="32" y="385"/>
                  <a:pt x="32" y="385"/>
                </a:cubicBezTo>
                <a:cubicBezTo>
                  <a:pt x="31" y="383"/>
                  <a:pt x="31" y="383"/>
                  <a:pt x="31" y="383"/>
                </a:cubicBezTo>
                <a:cubicBezTo>
                  <a:pt x="31" y="382"/>
                  <a:pt x="31" y="382"/>
                  <a:pt x="31" y="382"/>
                </a:cubicBezTo>
                <a:cubicBezTo>
                  <a:pt x="31" y="380"/>
                  <a:pt x="31" y="380"/>
                  <a:pt x="31" y="380"/>
                </a:cubicBezTo>
                <a:cubicBezTo>
                  <a:pt x="28" y="379"/>
                  <a:pt x="28" y="379"/>
                  <a:pt x="28" y="379"/>
                </a:cubicBezTo>
                <a:cubicBezTo>
                  <a:pt x="27" y="379"/>
                  <a:pt x="27" y="379"/>
                  <a:pt x="27" y="379"/>
                </a:cubicBezTo>
                <a:cubicBezTo>
                  <a:pt x="27" y="378"/>
                  <a:pt x="27" y="378"/>
                  <a:pt x="27" y="378"/>
                </a:cubicBezTo>
                <a:cubicBezTo>
                  <a:pt x="25" y="379"/>
                  <a:pt x="25" y="379"/>
                  <a:pt x="25" y="379"/>
                </a:cubicBezTo>
                <a:cubicBezTo>
                  <a:pt x="23" y="380"/>
                  <a:pt x="23" y="380"/>
                  <a:pt x="23" y="380"/>
                </a:cubicBezTo>
                <a:cubicBezTo>
                  <a:pt x="22" y="378"/>
                  <a:pt x="22" y="378"/>
                  <a:pt x="22" y="378"/>
                </a:cubicBezTo>
                <a:cubicBezTo>
                  <a:pt x="21" y="378"/>
                  <a:pt x="21" y="378"/>
                  <a:pt x="21" y="378"/>
                </a:cubicBezTo>
                <a:cubicBezTo>
                  <a:pt x="19" y="379"/>
                  <a:pt x="19" y="379"/>
                  <a:pt x="19" y="379"/>
                </a:cubicBezTo>
                <a:cubicBezTo>
                  <a:pt x="18" y="377"/>
                  <a:pt x="18" y="377"/>
                  <a:pt x="18" y="377"/>
                </a:cubicBezTo>
                <a:cubicBezTo>
                  <a:pt x="16" y="377"/>
                  <a:pt x="16" y="377"/>
                  <a:pt x="16" y="377"/>
                </a:cubicBezTo>
                <a:cubicBezTo>
                  <a:pt x="15" y="377"/>
                  <a:pt x="15" y="377"/>
                  <a:pt x="15" y="377"/>
                </a:cubicBezTo>
                <a:cubicBezTo>
                  <a:pt x="15" y="377"/>
                  <a:pt x="15" y="377"/>
                  <a:pt x="15" y="377"/>
                </a:cubicBezTo>
                <a:cubicBezTo>
                  <a:pt x="15" y="375"/>
                  <a:pt x="15" y="375"/>
                  <a:pt x="15" y="375"/>
                </a:cubicBezTo>
                <a:cubicBezTo>
                  <a:pt x="14" y="374"/>
                  <a:pt x="14" y="374"/>
                  <a:pt x="14" y="374"/>
                </a:cubicBezTo>
                <a:cubicBezTo>
                  <a:pt x="13" y="372"/>
                  <a:pt x="13" y="372"/>
                  <a:pt x="13" y="372"/>
                </a:cubicBezTo>
                <a:cubicBezTo>
                  <a:pt x="13" y="371"/>
                  <a:pt x="13" y="371"/>
                  <a:pt x="13" y="371"/>
                </a:cubicBezTo>
                <a:cubicBezTo>
                  <a:pt x="12" y="370"/>
                  <a:pt x="12" y="370"/>
                  <a:pt x="12" y="370"/>
                </a:cubicBezTo>
                <a:cubicBezTo>
                  <a:pt x="12" y="369"/>
                  <a:pt x="12" y="369"/>
                  <a:pt x="12" y="369"/>
                </a:cubicBezTo>
                <a:cubicBezTo>
                  <a:pt x="12" y="368"/>
                  <a:pt x="12" y="368"/>
                  <a:pt x="12" y="368"/>
                </a:cubicBezTo>
                <a:cubicBezTo>
                  <a:pt x="11" y="368"/>
                  <a:pt x="11" y="368"/>
                  <a:pt x="11" y="368"/>
                </a:cubicBezTo>
                <a:cubicBezTo>
                  <a:pt x="11" y="367"/>
                  <a:pt x="11" y="367"/>
                  <a:pt x="11" y="367"/>
                </a:cubicBezTo>
                <a:cubicBezTo>
                  <a:pt x="11" y="366"/>
                  <a:pt x="11" y="366"/>
                  <a:pt x="11" y="366"/>
                </a:cubicBezTo>
                <a:cubicBezTo>
                  <a:pt x="10" y="366"/>
                  <a:pt x="10" y="366"/>
                  <a:pt x="10" y="366"/>
                </a:cubicBezTo>
                <a:cubicBezTo>
                  <a:pt x="11" y="364"/>
                  <a:pt x="11" y="364"/>
                  <a:pt x="11" y="364"/>
                </a:cubicBezTo>
                <a:cubicBezTo>
                  <a:pt x="11" y="363"/>
                  <a:pt x="11" y="363"/>
                  <a:pt x="11" y="363"/>
                </a:cubicBezTo>
                <a:cubicBezTo>
                  <a:pt x="12" y="362"/>
                  <a:pt x="12" y="362"/>
                  <a:pt x="12" y="362"/>
                </a:cubicBezTo>
                <a:cubicBezTo>
                  <a:pt x="12" y="361"/>
                  <a:pt x="12" y="361"/>
                  <a:pt x="12" y="361"/>
                </a:cubicBezTo>
                <a:cubicBezTo>
                  <a:pt x="9" y="356"/>
                  <a:pt x="9" y="356"/>
                  <a:pt x="9" y="356"/>
                </a:cubicBezTo>
                <a:cubicBezTo>
                  <a:pt x="9" y="351"/>
                  <a:pt x="9" y="351"/>
                  <a:pt x="9" y="351"/>
                </a:cubicBezTo>
                <a:cubicBezTo>
                  <a:pt x="10" y="351"/>
                  <a:pt x="10" y="351"/>
                  <a:pt x="10" y="351"/>
                </a:cubicBezTo>
                <a:cubicBezTo>
                  <a:pt x="10" y="349"/>
                  <a:pt x="10" y="349"/>
                  <a:pt x="10" y="349"/>
                </a:cubicBezTo>
                <a:cubicBezTo>
                  <a:pt x="11" y="347"/>
                  <a:pt x="11" y="347"/>
                  <a:pt x="11" y="347"/>
                </a:cubicBezTo>
                <a:cubicBezTo>
                  <a:pt x="12" y="347"/>
                  <a:pt x="12" y="347"/>
                  <a:pt x="12" y="347"/>
                </a:cubicBezTo>
                <a:cubicBezTo>
                  <a:pt x="12" y="347"/>
                  <a:pt x="12" y="347"/>
                  <a:pt x="12" y="347"/>
                </a:cubicBezTo>
                <a:cubicBezTo>
                  <a:pt x="11" y="346"/>
                  <a:pt x="11" y="346"/>
                  <a:pt x="11" y="346"/>
                </a:cubicBezTo>
                <a:cubicBezTo>
                  <a:pt x="11" y="346"/>
                  <a:pt x="11" y="346"/>
                  <a:pt x="11" y="346"/>
                </a:cubicBezTo>
                <a:cubicBezTo>
                  <a:pt x="11" y="344"/>
                  <a:pt x="11" y="344"/>
                  <a:pt x="11" y="344"/>
                </a:cubicBezTo>
                <a:cubicBezTo>
                  <a:pt x="11" y="343"/>
                  <a:pt x="11" y="343"/>
                  <a:pt x="11" y="343"/>
                </a:cubicBezTo>
                <a:cubicBezTo>
                  <a:pt x="11" y="343"/>
                  <a:pt x="11" y="343"/>
                  <a:pt x="11" y="343"/>
                </a:cubicBezTo>
                <a:cubicBezTo>
                  <a:pt x="11" y="343"/>
                  <a:pt x="11" y="343"/>
                  <a:pt x="11" y="343"/>
                </a:cubicBezTo>
                <a:cubicBezTo>
                  <a:pt x="12" y="344"/>
                  <a:pt x="12" y="344"/>
                  <a:pt x="12" y="344"/>
                </a:cubicBezTo>
                <a:cubicBezTo>
                  <a:pt x="13" y="343"/>
                  <a:pt x="13" y="343"/>
                  <a:pt x="13" y="343"/>
                </a:cubicBezTo>
                <a:cubicBezTo>
                  <a:pt x="13" y="342"/>
                  <a:pt x="13" y="342"/>
                  <a:pt x="13" y="342"/>
                </a:cubicBezTo>
                <a:cubicBezTo>
                  <a:pt x="14" y="341"/>
                  <a:pt x="14" y="341"/>
                  <a:pt x="14" y="341"/>
                </a:cubicBezTo>
                <a:cubicBezTo>
                  <a:pt x="15" y="342"/>
                  <a:pt x="15" y="342"/>
                  <a:pt x="15" y="342"/>
                </a:cubicBezTo>
                <a:cubicBezTo>
                  <a:pt x="16" y="341"/>
                  <a:pt x="16" y="341"/>
                  <a:pt x="16" y="341"/>
                </a:cubicBezTo>
                <a:cubicBezTo>
                  <a:pt x="17" y="340"/>
                  <a:pt x="17" y="340"/>
                  <a:pt x="17" y="340"/>
                </a:cubicBezTo>
                <a:cubicBezTo>
                  <a:pt x="17" y="340"/>
                  <a:pt x="17" y="340"/>
                  <a:pt x="17" y="340"/>
                </a:cubicBezTo>
                <a:cubicBezTo>
                  <a:pt x="19" y="340"/>
                  <a:pt x="19" y="340"/>
                  <a:pt x="19" y="340"/>
                </a:cubicBezTo>
                <a:cubicBezTo>
                  <a:pt x="20" y="339"/>
                  <a:pt x="20" y="339"/>
                  <a:pt x="20" y="339"/>
                </a:cubicBezTo>
                <a:cubicBezTo>
                  <a:pt x="19" y="338"/>
                  <a:pt x="19" y="338"/>
                  <a:pt x="19" y="338"/>
                </a:cubicBezTo>
                <a:cubicBezTo>
                  <a:pt x="18" y="338"/>
                  <a:pt x="18" y="338"/>
                  <a:pt x="18" y="338"/>
                </a:cubicBezTo>
                <a:cubicBezTo>
                  <a:pt x="17" y="338"/>
                  <a:pt x="17" y="338"/>
                  <a:pt x="17" y="338"/>
                </a:cubicBezTo>
                <a:cubicBezTo>
                  <a:pt x="16" y="338"/>
                  <a:pt x="16" y="338"/>
                  <a:pt x="16" y="338"/>
                </a:cubicBezTo>
                <a:cubicBezTo>
                  <a:pt x="15" y="337"/>
                  <a:pt x="15" y="337"/>
                  <a:pt x="15" y="337"/>
                </a:cubicBezTo>
                <a:cubicBezTo>
                  <a:pt x="14" y="337"/>
                  <a:pt x="14" y="337"/>
                  <a:pt x="14" y="337"/>
                </a:cubicBezTo>
                <a:cubicBezTo>
                  <a:pt x="12" y="335"/>
                  <a:pt x="12" y="335"/>
                  <a:pt x="12" y="335"/>
                </a:cubicBezTo>
                <a:cubicBezTo>
                  <a:pt x="12" y="334"/>
                  <a:pt x="12" y="334"/>
                  <a:pt x="12" y="334"/>
                </a:cubicBezTo>
                <a:cubicBezTo>
                  <a:pt x="14" y="335"/>
                  <a:pt x="14" y="335"/>
                  <a:pt x="14" y="335"/>
                </a:cubicBezTo>
                <a:cubicBezTo>
                  <a:pt x="14" y="334"/>
                  <a:pt x="14" y="334"/>
                  <a:pt x="14" y="334"/>
                </a:cubicBezTo>
                <a:cubicBezTo>
                  <a:pt x="13" y="334"/>
                  <a:pt x="13" y="334"/>
                  <a:pt x="13" y="334"/>
                </a:cubicBezTo>
                <a:cubicBezTo>
                  <a:pt x="14" y="333"/>
                  <a:pt x="14" y="333"/>
                  <a:pt x="14" y="333"/>
                </a:cubicBezTo>
                <a:cubicBezTo>
                  <a:pt x="13" y="333"/>
                  <a:pt x="13" y="333"/>
                  <a:pt x="13" y="333"/>
                </a:cubicBezTo>
                <a:cubicBezTo>
                  <a:pt x="13" y="333"/>
                  <a:pt x="11" y="334"/>
                  <a:pt x="11" y="334"/>
                </a:cubicBezTo>
                <a:cubicBezTo>
                  <a:pt x="11" y="334"/>
                  <a:pt x="11" y="334"/>
                  <a:pt x="11" y="334"/>
                </a:cubicBezTo>
                <a:cubicBezTo>
                  <a:pt x="11" y="334"/>
                  <a:pt x="11" y="334"/>
                  <a:pt x="11" y="334"/>
                </a:cubicBezTo>
                <a:cubicBezTo>
                  <a:pt x="11" y="333"/>
                  <a:pt x="11" y="333"/>
                  <a:pt x="11" y="333"/>
                </a:cubicBezTo>
                <a:cubicBezTo>
                  <a:pt x="14" y="330"/>
                  <a:pt x="14" y="330"/>
                  <a:pt x="14" y="330"/>
                </a:cubicBezTo>
                <a:cubicBezTo>
                  <a:pt x="15" y="329"/>
                  <a:pt x="15" y="329"/>
                  <a:pt x="15" y="329"/>
                </a:cubicBezTo>
                <a:cubicBezTo>
                  <a:pt x="17" y="326"/>
                  <a:pt x="17" y="326"/>
                  <a:pt x="17" y="326"/>
                </a:cubicBezTo>
                <a:cubicBezTo>
                  <a:pt x="18" y="323"/>
                  <a:pt x="18" y="323"/>
                  <a:pt x="18" y="323"/>
                </a:cubicBezTo>
                <a:cubicBezTo>
                  <a:pt x="20" y="320"/>
                  <a:pt x="20" y="320"/>
                  <a:pt x="20" y="320"/>
                </a:cubicBezTo>
                <a:cubicBezTo>
                  <a:pt x="22" y="316"/>
                  <a:pt x="22" y="316"/>
                  <a:pt x="22" y="316"/>
                </a:cubicBezTo>
                <a:cubicBezTo>
                  <a:pt x="24" y="312"/>
                  <a:pt x="24" y="312"/>
                  <a:pt x="24" y="312"/>
                </a:cubicBezTo>
                <a:cubicBezTo>
                  <a:pt x="24" y="310"/>
                  <a:pt x="24" y="310"/>
                  <a:pt x="24" y="310"/>
                </a:cubicBezTo>
                <a:cubicBezTo>
                  <a:pt x="21" y="307"/>
                  <a:pt x="21" y="307"/>
                  <a:pt x="21" y="307"/>
                </a:cubicBezTo>
                <a:cubicBezTo>
                  <a:pt x="19" y="306"/>
                  <a:pt x="19" y="306"/>
                  <a:pt x="19" y="306"/>
                </a:cubicBezTo>
                <a:cubicBezTo>
                  <a:pt x="16" y="302"/>
                  <a:pt x="16" y="302"/>
                  <a:pt x="16" y="302"/>
                </a:cubicBezTo>
                <a:cubicBezTo>
                  <a:pt x="17" y="300"/>
                  <a:pt x="17" y="300"/>
                  <a:pt x="17" y="300"/>
                </a:cubicBezTo>
                <a:cubicBezTo>
                  <a:pt x="18" y="298"/>
                  <a:pt x="18" y="298"/>
                  <a:pt x="18" y="298"/>
                </a:cubicBezTo>
                <a:cubicBezTo>
                  <a:pt x="18" y="297"/>
                  <a:pt x="18" y="297"/>
                  <a:pt x="18" y="297"/>
                </a:cubicBezTo>
                <a:cubicBezTo>
                  <a:pt x="16" y="295"/>
                  <a:pt x="16" y="295"/>
                  <a:pt x="16" y="295"/>
                </a:cubicBezTo>
                <a:cubicBezTo>
                  <a:pt x="15" y="294"/>
                  <a:pt x="15" y="294"/>
                  <a:pt x="15" y="294"/>
                </a:cubicBezTo>
                <a:cubicBezTo>
                  <a:pt x="15" y="292"/>
                  <a:pt x="15" y="292"/>
                  <a:pt x="15" y="292"/>
                </a:cubicBezTo>
                <a:cubicBezTo>
                  <a:pt x="16" y="291"/>
                  <a:pt x="16" y="291"/>
                  <a:pt x="16" y="291"/>
                </a:cubicBezTo>
                <a:cubicBezTo>
                  <a:pt x="15" y="290"/>
                  <a:pt x="15" y="290"/>
                  <a:pt x="15" y="290"/>
                </a:cubicBezTo>
                <a:cubicBezTo>
                  <a:pt x="14" y="289"/>
                  <a:pt x="14" y="289"/>
                  <a:pt x="14" y="289"/>
                </a:cubicBezTo>
                <a:cubicBezTo>
                  <a:pt x="13" y="288"/>
                  <a:pt x="13" y="288"/>
                  <a:pt x="13" y="288"/>
                </a:cubicBezTo>
                <a:cubicBezTo>
                  <a:pt x="13" y="286"/>
                  <a:pt x="13" y="286"/>
                  <a:pt x="13" y="286"/>
                </a:cubicBezTo>
                <a:cubicBezTo>
                  <a:pt x="14" y="285"/>
                  <a:pt x="14" y="285"/>
                  <a:pt x="14" y="285"/>
                </a:cubicBezTo>
                <a:cubicBezTo>
                  <a:pt x="13" y="285"/>
                  <a:pt x="13" y="285"/>
                  <a:pt x="13" y="285"/>
                </a:cubicBezTo>
                <a:cubicBezTo>
                  <a:pt x="13" y="284"/>
                  <a:pt x="13" y="284"/>
                  <a:pt x="13" y="284"/>
                </a:cubicBezTo>
                <a:cubicBezTo>
                  <a:pt x="13" y="280"/>
                  <a:pt x="13" y="280"/>
                  <a:pt x="13" y="280"/>
                </a:cubicBezTo>
                <a:cubicBezTo>
                  <a:pt x="14" y="279"/>
                  <a:pt x="14" y="279"/>
                  <a:pt x="14" y="279"/>
                </a:cubicBezTo>
                <a:cubicBezTo>
                  <a:pt x="11" y="273"/>
                  <a:pt x="11" y="273"/>
                  <a:pt x="11" y="273"/>
                </a:cubicBezTo>
                <a:cubicBezTo>
                  <a:pt x="9" y="268"/>
                  <a:pt x="9" y="268"/>
                  <a:pt x="9" y="268"/>
                </a:cubicBezTo>
                <a:cubicBezTo>
                  <a:pt x="8" y="266"/>
                  <a:pt x="8" y="266"/>
                  <a:pt x="8" y="266"/>
                </a:cubicBezTo>
                <a:cubicBezTo>
                  <a:pt x="7" y="265"/>
                  <a:pt x="7" y="265"/>
                  <a:pt x="7" y="265"/>
                </a:cubicBezTo>
                <a:cubicBezTo>
                  <a:pt x="8" y="262"/>
                  <a:pt x="8" y="262"/>
                  <a:pt x="8" y="262"/>
                </a:cubicBezTo>
                <a:cubicBezTo>
                  <a:pt x="9" y="260"/>
                  <a:pt x="9" y="260"/>
                  <a:pt x="9" y="260"/>
                </a:cubicBezTo>
                <a:cubicBezTo>
                  <a:pt x="9" y="258"/>
                  <a:pt x="9" y="258"/>
                  <a:pt x="9" y="258"/>
                </a:cubicBezTo>
                <a:cubicBezTo>
                  <a:pt x="9" y="257"/>
                  <a:pt x="9" y="257"/>
                  <a:pt x="9" y="257"/>
                </a:cubicBezTo>
                <a:cubicBezTo>
                  <a:pt x="6" y="255"/>
                  <a:pt x="6" y="255"/>
                  <a:pt x="6" y="255"/>
                </a:cubicBezTo>
                <a:cubicBezTo>
                  <a:pt x="5" y="254"/>
                  <a:pt x="5" y="254"/>
                  <a:pt x="5" y="254"/>
                </a:cubicBezTo>
                <a:cubicBezTo>
                  <a:pt x="4" y="253"/>
                  <a:pt x="4" y="253"/>
                  <a:pt x="4" y="253"/>
                </a:cubicBezTo>
                <a:cubicBezTo>
                  <a:pt x="3" y="252"/>
                  <a:pt x="3" y="252"/>
                  <a:pt x="3" y="252"/>
                </a:cubicBezTo>
                <a:cubicBezTo>
                  <a:pt x="2" y="252"/>
                  <a:pt x="2" y="252"/>
                  <a:pt x="2" y="252"/>
                </a:cubicBezTo>
                <a:cubicBezTo>
                  <a:pt x="1" y="249"/>
                  <a:pt x="1" y="249"/>
                  <a:pt x="1" y="249"/>
                </a:cubicBezTo>
                <a:cubicBezTo>
                  <a:pt x="0" y="248"/>
                  <a:pt x="0" y="248"/>
                  <a:pt x="0" y="248"/>
                </a:cubicBezTo>
                <a:cubicBezTo>
                  <a:pt x="0" y="246"/>
                  <a:pt x="0" y="246"/>
                  <a:pt x="0" y="246"/>
                </a:cubicBezTo>
                <a:cubicBezTo>
                  <a:pt x="1" y="244"/>
                  <a:pt x="1" y="244"/>
                  <a:pt x="1" y="244"/>
                </a:cubicBezTo>
                <a:cubicBezTo>
                  <a:pt x="0" y="244"/>
                  <a:pt x="0" y="244"/>
                  <a:pt x="0" y="244"/>
                </a:cubicBezTo>
                <a:cubicBezTo>
                  <a:pt x="1" y="243"/>
                  <a:pt x="1" y="243"/>
                  <a:pt x="1" y="243"/>
                </a:cubicBezTo>
                <a:cubicBezTo>
                  <a:pt x="2" y="242"/>
                  <a:pt x="2" y="242"/>
                  <a:pt x="2" y="242"/>
                </a:cubicBezTo>
                <a:cubicBezTo>
                  <a:pt x="2" y="242"/>
                  <a:pt x="2" y="242"/>
                  <a:pt x="2" y="242"/>
                </a:cubicBezTo>
                <a:cubicBezTo>
                  <a:pt x="3" y="242"/>
                  <a:pt x="3" y="242"/>
                  <a:pt x="3" y="242"/>
                </a:cubicBezTo>
                <a:cubicBezTo>
                  <a:pt x="3" y="240"/>
                  <a:pt x="3" y="240"/>
                  <a:pt x="3" y="240"/>
                </a:cubicBezTo>
                <a:cubicBezTo>
                  <a:pt x="5" y="238"/>
                  <a:pt x="5" y="238"/>
                  <a:pt x="5" y="238"/>
                </a:cubicBezTo>
                <a:cubicBezTo>
                  <a:pt x="6" y="238"/>
                  <a:pt x="6" y="238"/>
                  <a:pt x="6" y="238"/>
                </a:cubicBezTo>
                <a:cubicBezTo>
                  <a:pt x="7" y="237"/>
                  <a:pt x="7" y="237"/>
                  <a:pt x="7" y="237"/>
                </a:cubicBezTo>
                <a:cubicBezTo>
                  <a:pt x="7" y="235"/>
                  <a:pt x="7" y="235"/>
                  <a:pt x="7" y="235"/>
                </a:cubicBezTo>
                <a:cubicBezTo>
                  <a:pt x="8" y="235"/>
                  <a:pt x="8" y="235"/>
                  <a:pt x="8" y="235"/>
                </a:cubicBezTo>
                <a:cubicBezTo>
                  <a:pt x="9" y="235"/>
                  <a:pt x="9" y="235"/>
                  <a:pt x="9" y="235"/>
                </a:cubicBezTo>
                <a:cubicBezTo>
                  <a:pt x="10" y="234"/>
                  <a:pt x="10" y="234"/>
                  <a:pt x="10" y="234"/>
                </a:cubicBezTo>
                <a:cubicBezTo>
                  <a:pt x="10" y="233"/>
                  <a:pt x="10" y="233"/>
                  <a:pt x="10" y="233"/>
                </a:cubicBezTo>
                <a:cubicBezTo>
                  <a:pt x="10" y="233"/>
                  <a:pt x="10" y="233"/>
                  <a:pt x="10" y="233"/>
                </a:cubicBezTo>
                <a:cubicBezTo>
                  <a:pt x="11" y="233"/>
                  <a:pt x="11" y="233"/>
                  <a:pt x="11" y="233"/>
                </a:cubicBezTo>
                <a:cubicBezTo>
                  <a:pt x="12" y="234"/>
                  <a:pt x="12" y="234"/>
                  <a:pt x="12" y="234"/>
                </a:cubicBezTo>
                <a:cubicBezTo>
                  <a:pt x="12" y="235"/>
                  <a:pt x="12" y="235"/>
                  <a:pt x="12" y="235"/>
                </a:cubicBezTo>
                <a:cubicBezTo>
                  <a:pt x="13" y="236"/>
                  <a:pt x="13" y="236"/>
                  <a:pt x="13" y="236"/>
                </a:cubicBezTo>
                <a:cubicBezTo>
                  <a:pt x="13" y="234"/>
                  <a:pt x="13" y="234"/>
                  <a:pt x="13" y="234"/>
                </a:cubicBezTo>
                <a:cubicBezTo>
                  <a:pt x="13" y="233"/>
                  <a:pt x="13" y="233"/>
                  <a:pt x="13" y="233"/>
                </a:cubicBezTo>
                <a:cubicBezTo>
                  <a:pt x="14" y="233"/>
                  <a:pt x="14" y="233"/>
                  <a:pt x="14" y="233"/>
                </a:cubicBezTo>
                <a:cubicBezTo>
                  <a:pt x="15" y="233"/>
                  <a:pt x="15" y="233"/>
                  <a:pt x="15" y="233"/>
                </a:cubicBezTo>
                <a:cubicBezTo>
                  <a:pt x="13" y="232"/>
                  <a:pt x="13" y="232"/>
                  <a:pt x="13" y="232"/>
                </a:cubicBezTo>
                <a:cubicBezTo>
                  <a:pt x="14" y="232"/>
                  <a:pt x="14" y="232"/>
                  <a:pt x="14" y="232"/>
                </a:cubicBezTo>
                <a:cubicBezTo>
                  <a:pt x="14" y="232"/>
                  <a:pt x="14" y="232"/>
                  <a:pt x="14" y="232"/>
                </a:cubicBezTo>
                <a:cubicBezTo>
                  <a:pt x="15" y="232"/>
                  <a:pt x="15" y="232"/>
                  <a:pt x="15" y="232"/>
                </a:cubicBezTo>
                <a:cubicBezTo>
                  <a:pt x="15" y="232"/>
                  <a:pt x="15" y="232"/>
                  <a:pt x="15" y="232"/>
                </a:cubicBezTo>
                <a:cubicBezTo>
                  <a:pt x="15" y="231"/>
                  <a:pt x="15" y="231"/>
                  <a:pt x="15" y="231"/>
                </a:cubicBezTo>
                <a:cubicBezTo>
                  <a:pt x="14" y="231"/>
                  <a:pt x="14" y="231"/>
                  <a:pt x="14" y="231"/>
                </a:cubicBezTo>
                <a:cubicBezTo>
                  <a:pt x="14" y="230"/>
                  <a:pt x="14" y="230"/>
                  <a:pt x="14" y="230"/>
                </a:cubicBezTo>
                <a:cubicBezTo>
                  <a:pt x="16" y="230"/>
                  <a:pt x="16" y="230"/>
                  <a:pt x="16" y="230"/>
                </a:cubicBezTo>
                <a:cubicBezTo>
                  <a:pt x="17" y="231"/>
                  <a:pt x="17" y="231"/>
                  <a:pt x="17" y="231"/>
                </a:cubicBezTo>
                <a:cubicBezTo>
                  <a:pt x="18" y="232"/>
                  <a:pt x="18" y="232"/>
                  <a:pt x="18" y="232"/>
                </a:cubicBezTo>
                <a:cubicBezTo>
                  <a:pt x="18" y="232"/>
                  <a:pt x="18" y="232"/>
                  <a:pt x="18" y="232"/>
                </a:cubicBezTo>
                <a:cubicBezTo>
                  <a:pt x="19" y="232"/>
                  <a:pt x="19" y="232"/>
                  <a:pt x="19" y="232"/>
                </a:cubicBezTo>
                <a:cubicBezTo>
                  <a:pt x="20" y="232"/>
                  <a:pt x="20" y="232"/>
                  <a:pt x="20" y="232"/>
                </a:cubicBezTo>
                <a:cubicBezTo>
                  <a:pt x="20" y="233"/>
                  <a:pt x="20" y="233"/>
                  <a:pt x="20" y="233"/>
                </a:cubicBezTo>
                <a:cubicBezTo>
                  <a:pt x="21" y="233"/>
                  <a:pt x="21" y="233"/>
                  <a:pt x="21" y="233"/>
                </a:cubicBezTo>
                <a:cubicBezTo>
                  <a:pt x="21" y="234"/>
                  <a:pt x="21" y="234"/>
                  <a:pt x="21" y="234"/>
                </a:cubicBezTo>
                <a:cubicBezTo>
                  <a:pt x="20" y="235"/>
                  <a:pt x="20" y="235"/>
                  <a:pt x="20" y="235"/>
                </a:cubicBezTo>
                <a:cubicBezTo>
                  <a:pt x="19" y="234"/>
                  <a:pt x="19" y="234"/>
                  <a:pt x="19" y="234"/>
                </a:cubicBezTo>
                <a:cubicBezTo>
                  <a:pt x="17" y="235"/>
                  <a:pt x="17" y="235"/>
                  <a:pt x="17" y="235"/>
                </a:cubicBezTo>
                <a:cubicBezTo>
                  <a:pt x="16" y="234"/>
                  <a:pt x="16" y="234"/>
                  <a:pt x="16" y="234"/>
                </a:cubicBezTo>
                <a:cubicBezTo>
                  <a:pt x="16" y="233"/>
                  <a:pt x="16" y="233"/>
                  <a:pt x="16" y="233"/>
                </a:cubicBezTo>
                <a:cubicBezTo>
                  <a:pt x="16" y="234"/>
                  <a:pt x="16" y="234"/>
                  <a:pt x="16" y="234"/>
                </a:cubicBezTo>
                <a:cubicBezTo>
                  <a:pt x="16" y="235"/>
                  <a:pt x="16" y="235"/>
                  <a:pt x="16" y="235"/>
                </a:cubicBezTo>
                <a:cubicBezTo>
                  <a:pt x="16" y="236"/>
                  <a:pt x="16" y="236"/>
                  <a:pt x="16" y="236"/>
                </a:cubicBezTo>
                <a:cubicBezTo>
                  <a:pt x="17" y="235"/>
                  <a:pt x="17" y="235"/>
                  <a:pt x="17" y="235"/>
                </a:cubicBezTo>
                <a:cubicBezTo>
                  <a:pt x="17" y="236"/>
                  <a:pt x="17" y="236"/>
                  <a:pt x="17" y="236"/>
                </a:cubicBezTo>
                <a:cubicBezTo>
                  <a:pt x="18" y="237"/>
                  <a:pt x="18" y="237"/>
                  <a:pt x="18" y="237"/>
                </a:cubicBezTo>
                <a:cubicBezTo>
                  <a:pt x="19" y="236"/>
                  <a:pt x="19" y="236"/>
                  <a:pt x="19" y="236"/>
                </a:cubicBezTo>
                <a:cubicBezTo>
                  <a:pt x="20" y="236"/>
                  <a:pt x="20" y="236"/>
                  <a:pt x="20" y="236"/>
                </a:cubicBezTo>
                <a:cubicBezTo>
                  <a:pt x="20" y="237"/>
                  <a:pt x="20" y="237"/>
                  <a:pt x="20" y="237"/>
                </a:cubicBezTo>
                <a:cubicBezTo>
                  <a:pt x="20" y="237"/>
                  <a:pt x="20" y="237"/>
                  <a:pt x="20" y="237"/>
                </a:cubicBezTo>
                <a:cubicBezTo>
                  <a:pt x="21" y="236"/>
                  <a:pt x="21" y="236"/>
                  <a:pt x="21" y="236"/>
                </a:cubicBezTo>
                <a:cubicBezTo>
                  <a:pt x="21" y="237"/>
                  <a:pt x="21" y="237"/>
                  <a:pt x="21" y="237"/>
                </a:cubicBezTo>
                <a:cubicBezTo>
                  <a:pt x="21" y="237"/>
                  <a:pt x="21" y="237"/>
                  <a:pt x="21" y="237"/>
                </a:cubicBezTo>
                <a:cubicBezTo>
                  <a:pt x="21" y="238"/>
                  <a:pt x="21" y="238"/>
                  <a:pt x="21" y="238"/>
                </a:cubicBezTo>
                <a:cubicBezTo>
                  <a:pt x="22" y="237"/>
                  <a:pt x="22" y="237"/>
                  <a:pt x="22" y="237"/>
                </a:cubicBezTo>
                <a:cubicBezTo>
                  <a:pt x="22" y="236"/>
                  <a:pt x="22" y="236"/>
                  <a:pt x="22" y="236"/>
                </a:cubicBezTo>
                <a:cubicBezTo>
                  <a:pt x="23" y="236"/>
                  <a:pt x="23" y="236"/>
                  <a:pt x="23" y="236"/>
                </a:cubicBezTo>
                <a:cubicBezTo>
                  <a:pt x="23" y="237"/>
                  <a:pt x="23" y="237"/>
                  <a:pt x="23" y="237"/>
                </a:cubicBezTo>
                <a:cubicBezTo>
                  <a:pt x="22" y="238"/>
                  <a:pt x="22" y="238"/>
                  <a:pt x="22" y="238"/>
                </a:cubicBezTo>
                <a:cubicBezTo>
                  <a:pt x="23" y="238"/>
                  <a:pt x="23" y="238"/>
                  <a:pt x="23" y="238"/>
                </a:cubicBezTo>
                <a:cubicBezTo>
                  <a:pt x="24" y="238"/>
                  <a:pt x="24" y="238"/>
                  <a:pt x="24" y="238"/>
                </a:cubicBezTo>
                <a:cubicBezTo>
                  <a:pt x="23" y="239"/>
                  <a:pt x="23" y="239"/>
                  <a:pt x="23" y="239"/>
                </a:cubicBezTo>
                <a:cubicBezTo>
                  <a:pt x="22" y="240"/>
                  <a:pt x="22" y="240"/>
                  <a:pt x="22" y="240"/>
                </a:cubicBezTo>
                <a:cubicBezTo>
                  <a:pt x="24" y="240"/>
                  <a:pt x="24" y="240"/>
                  <a:pt x="24" y="240"/>
                </a:cubicBezTo>
                <a:cubicBezTo>
                  <a:pt x="24" y="238"/>
                  <a:pt x="24" y="238"/>
                  <a:pt x="24" y="238"/>
                </a:cubicBezTo>
                <a:cubicBezTo>
                  <a:pt x="24" y="237"/>
                  <a:pt x="24" y="237"/>
                  <a:pt x="24" y="237"/>
                </a:cubicBezTo>
                <a:cubicBezTo>
                  <a:pt x="25" y="237"/>
                  <a:pt x="25" y="237"/>
                  <a:pt x="25" y="237"/>
                </a:cubicBezTo>
                <a:cubicBezTo>
                  <a:pt x="26" y="237"/>
                  <a:pt x="26" y="237"/>
                  <a:pt x="26" y="237"/>
                </a:cubicBezTo>
                <a:cubicBezTo>
                  <a:pt x="27" y="237"/>
                  <a:pt x="27" y="237"/>
                  <a:pt x="27" y="237"/>
                </a:cubicBezTo>
                <a:cubicBezTo>
                  <a:pt x="27" y="237"/>
                  <a:pt x="27" y="237"/>
                  <a:pt x="27" y="237"/>
                </a:cubicBezTo>
                <a:cubicBezTo>
                  <a:pt x="26" y="236"/>
                  <a:pt x="26" y="236"/>
                  <a:pt x="26" y="236"/>
                </a:cubicBezTo>
                <a:cubicBezTo>
                  <a:pt x="26" y="236"/>
                  <a:pt x="26" y="236"/>
                  <a:pt x="26" y="236"/>
                </a:cubicBezTo>
                <a:cubicBezTo>
                  <a:pt x="28" y="236"/>
                  <a:pt x="28" y="236"/>
                  <a:pt x="28" y="236"/>
                </a:cubicBezTo>
                <a:cubicBezTo>
                  <a:pt x="28" y="237"/>
                  <a:pt x="28" y="237"/>
                  <a:pt x="28" y="237"/>
                </a:cubicBezTo>
                <a:cubicBezTo>
                  <a:pt x="30" y="237"/>
                  <a:pt x="30" y="237"/>
                  <a:pt x="30" y="237"/>
                </a:cubicBezTo>
                <a:cubicBezTo>
                  <a:pt x="31" y="238"/>
                  <a:pt x="31" y="238"/>
                  <a:pt x="31" y="238"/>
                </a:cubicBezTo>
                <a:cubicBezTo>
                  <a:pt x="32" y="237"/>
                  <a:pt x="32" y="237"/>
                  <a:pt x="32" y="237"/>
                </a:cubicBezTo>
                <a:cubicBezTo>
                  <a:pt x="32" y="237"/>
                  <a:pt x="32" y="237"/>
                  <a:pt x="32" y="237"/>
                </a:cubicBezTo>
                <a:cubicBezTo>
                  <a:pt x="34" y="237"/>
                  <a:pt x="34" y="237"/>
                  <a:pt x="34" y="237"/>
                </a:cubicBezTo>
                <a:cubicBezTo>
                  <a:pt x="35" y="238"/>
                  <a:pt x="35" y="238"/>
                  <a:pt x="35" y="238"/>
                </a:cubicBezTo>
                <a:cubicBezTo>
                  <a:pt x="35" y="237"/>
                  <a:pt x="35" y="237"/>
                  <a:pt x="35" y="237"/>
                </a:cubicBezTo>
                <a:cubicBezTo>
                  <a:pt x="37" y="238"/>
                  <a:pt x="37" y="238"/>
                  <a:pt x="37" y="238"/>
                </a:cubicBezTo>
                <a:cubicBezTo>
                  <a:pt x="43" y="241"/>
                  <a:pt x="43" y="241"/>
                  <a:pt x="43" y="241"/>
                </a:cubicBezTo>
                <a:cubicBezTo>
                  <a:pt x="47" y="244"/>
                  <a:pt x="47" y="244"/>
                  <a:pt x="47" y="244"/>
                </a:cubicBezTo>
                <a:cubicBezTo>
                  <a:pt x="48" y="245"/>
                  <a:pt x="48" y="245"/>
                  <a:pt x="48" y="245"/>
                </a:cubicBezTo>
                <a:cubicBezTo>
                  <a:pt x="50" y="246"/>
                  <a:pt x="50" y="246"/>
                  <a:pt x="50" y="246"/>
                </a:cubicBezTo>
                <a:cubicBezTo>
                  <a:pt x="51" y="248"/>
                  <a:pt x="51" y="248"/>
                  <a:pt x="51" y="248"/>
                </a:cubicBezTo>
                <a:cubicBezTo>
                  <a:pt x="52" y="248"/>
                  <a:pt x="52" y="248"/>
                  <a:pt x="52" y="248"/>
                </a:cubicBezTo>
                <a:cubicBezTo>
                  <a:pt x="52" y="247"/>
                  <a:pt x="52" y="247"/>
                  <a:pt x="52" y="247"/>
                </a:cubicBezTo>
                <a:cubicBezTo>
                  <a:pt x="52" y="247"/>
                  <a:pt x="52" y="247"/>
                  <a:pt x="52" y="247"/>
                </a:cubicBezTo>
                <a:cubicBezTo>
                  <a:pt x="52" y="247"/>
                  <a:pt x="52" y="247"/>
                  <a:pt x="52" y="247"/>
                </a:cubicBezTo>
                <a:cubicBezTo>
                  <a:pt x="54" y="248"/>
                  <a:pt x="54" y="248"/>
                  <a:pt x="54" y="248"/>
                </a:cubicBezTo>
                <a:cubicBezTo>
                  <a:pt x="55" y="248"/>
                  <a:pt x="55" y="248"/>
                  <a:pt x="55" y="248"/>
                </a:cubicBezTo>
                <a:cubicBezTo>
                  <a:pt x="57" y="250"/>
                  <a:pt x="57" y="250"/>
                  <a:pt x="57" y="250"/>
                </a:cubicBezTo>
                <a:cubicBezTo>
                  <a:pt x="58" y="250"/>
                  <a:pt x="58" y="250"/>
                  <a:pt x="58" y="250"/>
                </a:cubicBezTo>
                <a:cubicBezTo>
                  <a:pt x="57" y="248"/>
                  <a:pt x="57" y="248"/>
                  <a:pt x="57" y="248"/>
                </a:cubicBezTo>
                <a:cubicBezTo>
                  <a:pt x="56" y="247"/>
                  <a:pt x="56" y="247"/>
                  <a:pt x="56" y="247"/>
                </a:cubicBezTo>
                <a:cubicBezTo>
                  <a:pt x="57" y="247"/>
                  <a:pt x="57" y="247"/>
                  <a:pt x="57" y="247"/>
                </a:cubicBezTo>
                <a:cubicBezTo>
                  <a:pt x="58" y="249"/>
                  <a:pt x="58" y="249"/>
                  <a:pt x="58" y="249"/>
                </a:cubicBezTo>
                <a:cubicBezTo>
                  <a:pt x="58" y="250"/>
                  <a:pt x="58" y="250"/>
                  <a:pt x="58" y="250"/>
                </a:cubicBezTo>
                <a:cubicBezTo>
                  <a:pt x="61" y="252"/>
                  <a:pt x="61" y="252"/>
                  <a:pt x="61" y="252"/>
                </a:cubicBezTo>
                <a:cubicBezTo>
                  <a:pt x="61" y="253"/>
                  <a:pt x="61" y="253"/>
                  <a:pt x="61" y="253"/>
                </a:cubicBezTo>
                <a:cubicBezTo>
                  <a:pt x="62" y="253"/>
                  <a:pt x="62" y="253"/>
                  <a:pt x="62" y="253"/>
                </a:cubicBezTo>
                <a:cubicBezTo>
                  <a:pt x="62" y="253"/>
                  <a:pt x="62" y="253"/>
                  <a:pt x="62" y="253"/>
                </a:cubicBezTo>
                <a:cubicBezTo>
                  <a:pt x="63" y="253"/>
                  <a:pt x="63" y="253"/>
                  <a:pt x="63" y="253"/>
                </a:cubicBezTo>
                <a:cubicBezTo>
                  <a:pt x="65" y="254"/>
                  <a:pt x="65" y="254"/>
                  <a:pt x="65" y="254"/>
                </a:cubicBezTo>
                <a:cubicBezTo>
                  <a:pt x="65" y="256"/>
                  <a:pt x="65" y="256"/>
                  <a:pt x="65" y="256"/>
                </a:cubicBezTo>
                <a:cubicBezTo>
                  <a:pt x="66" y="256"/>
                  <a:pt x="66" y="256"/>
                  <a:pt x="66" y="256"/>
                </a:cubicBezTo>
                <a:cubicBezTo>
                  <a:pt x="67" y="258"/>
                  <a:pt x="67" y="258"/>
                  <a:pt x="67" y="258"/>
                </a:cubicBezTo>
                <a:cubicBezTo>
                  <a:pt x="67" y="258"/>
                  <a:pt x="67" y="258"/>
                  <a:pt x="67" y="258"/>
                </a:cubicBezTo>
                <a:cubicBezTo>
                  <a:pt x="68" y="258"/>
                  <a:pt x="68" y="258"/>
                  <a:pt x="68" y="258"/>
                </a:cubicBezTo>
                <a:cubicBezTo>
                  <a:pt x="68" y="260"/>
                  <a:pt x="68" y="260"/>
                  <a:pt x="68" y="260"/>
                </a:cubicBezTo>
                <a:cubicBezTo>
                  <a:pt x="68" y="261"/>
                  <a:pt x="68" y="261"/>
                  <a:pt x="68" y="261"/>
                </a:cubicBezTo>
                <a:cubicBezTo>
                  <a:pt x="68" y="263"/>
                  <a:pt x="68" y="263"/>
                  <a:pt x="68" y="263"/>
                </a:cubicBezTo>
                <a:cubicBezTo>
                  <a:pt x="67" y="264"/>
                  <a:pt x="67" y="264"/>
                  <a:pt x="67" y="264"/>
                </a:cubicBezTo>
                <a:cubicBezTo>
                  <a:pt x="67" y="265"/>
                  <a:pt x="67" y="265"/>
                  <a:pt x="67" y="265"/>
                </a:cubicBezTo>
                <a:cubicBezTo>
                  <a:pt x="66" y="267"/>
                  <a:pt x="66" y="267"/>
                  <a:pt x="66" y="267"/>
                </a:cubicBezTo>
                <a:cubicBezTo>
                  <a:pt x="66" y="267"/>
                  <a:pt x="66" y="267"/>
                  <a:pt x="66" y="267"/>
                </a:cubicBezTo>
                <a:cubicBezTo>
                  <a:pt x="63" y="271"/>
                  <a:pt x="63" y="271"/>
                  <a:pt x="63" y="271"/>
                </a:cubicBezTo>
                <a:cubicBezTo>
                  <a:pt x="62" y="272"/>
                  <a:pt x="62" y="272"/>
                  <a:pt x="62" y="272"/>
                </a:cubicBezTo>
                <a:cubicBezTo>
                  <a:pt x="59" y="272"/>
                  <a:pt x="59" y="272"/>
                  <a:pt x="59" y="272"/>
                </a:cubicBezTo>
                <a:cubicBezTo>
                  <a:pt x="59" y="273"/>
                  <a:pt x="59" y="273"/>
                  <a:pt x="59" y="273"/>
                </a:cubicBezTo>
                <a:cubicBezTo>
                  <a:pt x="57" y="273"/>
                  <a:pt x="57" y="273"/>
                  <a:pt x="57" y="273"/>
                </a:cubicBezTo>
                <a:cubicBezTo>
                  <a:pt x="56" y="273"/>
                  <a:pt x="56" y="273"/>
                  <a:pt x="56" y="273"/>
                </a:cubicBezTo>
                <a:cubicBezTo>
                  <a:pt x="54" y="274"/>
                  <a:pt x="54" y="274"/>
                  <a:pt x="54" y="274"/>
                </a:cubicBezTo>
                <a:cubicBezTo>
                  <a:pt x="50" y="273"/>
                  <a:pt x="50" y="273"/>
                  <a:pt x="50" y="273"/>
                </a:cubicBezTo>
                <a:cubicBezTo>
                  <a:pt x="48" y="273"/>
                  <a:pt x="48" y="273"/>
                  <a:pt x="48" y="273"/>
                </a:cubicBezTo>
                <a:cubicBezTo>
                  <a:pt x="46" y="272"/>
                  <a:pt x="46" y="272"/>
                  <a:pt x="46" y="272"/>
                </a:cubicBezTo>
                <a:cubicBezTo>
                  <a:pt x="45" y="272"/>
                  <a:pt x="45" y="272"/>
                  <a:pt x="45" y="272"/>
                </a:cubicBezTo>
                <a:cubicBezTo>
                  <a:pt x="44" y="272"/>
                  <a:pt x="44" y="272"/>
                  <a:pt x="44" y="272"/>
                </a:cubicBezTo>
                <a:cubicBezTo>
                  <a:pt x="43" y="272"/>
                  <a:pt x="43" y="272"/>
                  <a:pt x="43" y="272"/>
                </a:cubicBezTo>
                <a:cubicBezTo>
                  <a:pt x="42" y="271"/>
                  <a:pt x="42" y="271"/>
                  <a:pt x="42" y="271"/>
                </a:cubicBezTo>
                <a:cubicBezTo>
                  <a:pt x="41" y="271"/>
                  <a:pt x="41" y="271"/>
                  <a:pt x="41" y="271"/>
                </a:cubicBezTo>
                <a:cubicBezTo>
                  <a:pt x="40" y="272"/>
                  <a:pt x="40" y="272"/>
                  <a:pt x="40" y="272"/>
                </a:cubicBezTo>
                <a:cubicBezTo>
                  <a:pt x="39" y="270"/>
                  <a:pt x="39" y="270"/>
                  <a:pt x="39" y="270"/>
                </a:cubicBezTo>
                <a:cubicBezTo>
                  <a:pt x="39" y="269"/>
                  <a:pt x="39" y="269"/>
                  <a:pt x="39" y="269"/>
                </a:cubicBezTo>
                <a:cubicBezTo>
                  <a:pt x="38" y="270"/>
                  <a:pt x="38" y="270"/>
                  <a:pt x="38" y="270"/>
                </a:cubicBezTo>
                <a:cubicBezTo>
                  <a:pt x="37" y="270"/>
                  <a:pt x="37" y="270"/>
                  <a:pt x="37" y="270"/>
                </a:cubicBezTo>
                <a:cubicBezTo>
                  <a:pt x="37" y="269"/>
                  <a:pt x="37" y="269"/>
                  <a:pt x="37" y="269"/>
                </a:cubicBezTo>
                <a:cubicBezTo>
                  <a:pt x="35" y="269"/>
                  <a:pt x="35" y="269"/>
                  <a:pt x="35" y="269"/>
                </a:cubicBezTo>
                <a:cubicBezTo>
                  <a:pt x="35" y="270"/>
                  <a:pt x="35" y="270"/>
                  <a:pt x="35" y="270"/>
                </a:cubicBezTo>
                <a:cubicBezTo>
                  <a:pt x="33" y="270"/>
                  <a:pt x="33" y="270"/>
                  <a:pt x="33" y="270"/>
                </a:cubicBezTo>
                <a:cubicBezTo>
                  <a:pt x="33" y="269"/>
                  <a:pt x="33" y="269"/>
                  <a:pt x="33" y="269"/>
                </a:cubicBezTo>
                <a:cubicBezTo>
                  <a:pt x="33" y="269"/>
                  <a:pt x="33" y="269"/>
                  <a:pt x="33" y="269"/>
                </a:cubicBezTo>
                <a:cubicBezTo>
                  <a:pt x="34" y="268"/>
                  <a:pt x="34" y="268"/>
                  <a:pt x="34" y="268"/>
                </a:cubicBezTo>
                <a:cubicBezTo>
                  <a:pt x="33" y="267"/>
                  <a:pt x="33" y="267"/>
                  <a:pt x="33" y="267"/>
                </a:cubicBezTo>
                <a:cubicBezTo>
                  <a:pt x="33" y="268"/>
                  <a:pt x="33" y="268"/>
                  <a:pt x="33" y="268"/>
                </a:cubicBezTo>
                <a:cubicBezTo>
                  <a:pt x="30" y="268"/>
                  <a:pt x="30" y="268"/>
                  <a:pt x="30" y="268"/>
                </a:cubicBezTo>
                <a:cubicBezTo>
                  <a:pt x="29" y="267"/>
                  <a:pt x="29" y="267"/>
                  <a:pt x="29" y="267"/>
                </a:cubicBezTo>
                <a:cubicBezTo>
                  <a:pt x="29" y="267"/>
                  <a:pt x="29" y="267"/>
                  <a:pt x="29" y="267"/>
                </a:cubicBezTo>
                <a:cubicBezTo>
                  <a:pt x="28" y="267"/>
                  <a:pt x="28" y="267"/>
                  <a:pt x="28" y="267"/>
                </a:cubicBezTo>
                <a:cubicBezTo>
                  <a:pt x="25" y="265"/>
                  <a:pt x="25" y="265"/>
                  <a:pt x="25" y="265"/>
                </a:cubicBezTo>
                <a:cubicBezTo>
                  <a:pt x="25" y="264"/>
                  <a:pt x="25" y="264"/>
                  <a:pt x="25" y="264"/>
                </a:cubicBezTo>
                <a:cubicBezTo>
                  <a:pt x="24" y="264"/>
                  <a:pt x="24" y="264"/>
                  <a:pt x="24" y="264"/>
                </a:cubicBezTo>
                <a:cubicBezTo>
                  <a:pt x="23" y="263"/>
                  <a:pt x="23" y="263"/>
                  <a:pt x="23" y="263"/>
                </a:cubicBezTo>
                <a:cubicBezTo>
                  <a:pt x="22" y="263"/>
                  <a:pt x="22" y="263"/>
                  <a:pt x="22" y="263"/>
                </a:cubicBezTo>
                <a:cubicBezTo>
                  <a:pt x="22" y="264"/>
                  <a:pt x="22" y="264"/>
                  <a:pt x="22" y="264"/>
                </a:cubicBezTo>
                <a:cubicBezTo>
                  <a:pt x="23" y="265"/>
                  <a:pt x="23" y="265"/>
                  <a:pt x="23" y="265"/>
                </a:cubicBezTo>
                <a:cubicBezTo>
                  <a:pt x="23" y="266"/>
                  <a:pt x="23" y="266"/>
                  <a:pt x="23" y="266"/>
                </a:cubicBezTo>
                <a:cubicBezTo>
                  <a:pt x="25" y="267"/>
                  <a:pt x="25" y="267"/>
                  <a:pt x="25" y="267"/>
                </a:cubicBezTo>
                <a:cubicBezTo>
                  <a:pt x="25" y="268"/>
                  <a:pt x="25" y="268"/>
                  <a:pt x="25" y="268"/>
                </a:cubicBezTo>
                <a:cubicBezTo>
                  <a:pt x="27" y="269"/>
                  <a:pt x="27" y="269"/>
                  <a:pt x="27" y="269"/>
                </a:cubicBezTo>
                <a:cubicBezTo>
                  <a:pt x="27" y="269"/>
                  <a:pt x="27" y="269"/>
                  <a:pt x="27" y="269"/>
                </a:cubicBezTo>
                <a:cubicBezTo>
                  <a:pt x="26" y="270"/>
                  <a:pt x="26" y="270"/>
                  <a:pt x="26" y="270"/>
                </a:cubicBezTo>
                <a:cubicBezTo>
                  <a:pt x="26" y="271"/>
                  <a:pt x="26" y="271"/>
                  <a:pt x="26" y="271"/>
                </a:cubicBezTo>
                <a:cubicBezTo>
                  <a:pt x="26" y="271"/>
                  <a:pt x="26" y="271"/>
                  <a:pt x="26" y="271"/>
                </a:cubicBezTo>
                <a:cubicBezTo>
                  <a:pt x="28" y="270"/>
                  <a:pt x="28" y="270"/>
                  <a:pt x="28" y="270"/>
                </a:cubicBezTo>
                <a:cubicBezTo>
                  <a:pt x="29" y="270"/>
                  <a:pt x="29" y="270"/>
                  <a:pt x="29" y="270"/>
                </a:cubicBezTo>
                <a:cubicBezTo>
                  <a:pt x="30" y="270"/>
                  <a:pt x="30" y="270"/>
                  <a:pt x="30" y="270"/>
                </a:cubicBezTo>
                <a:cubicBezTo>
                  <a:pt x="29" y="271"/>
                  <a:pt x="29" y="271"/>
                  <a:pt x="29" y="271"/>
                </a:cubicBezTo>
                <a:cubicBezTo>
                  <a:pt x="29" y="271"/>
                  <a:pt x="29" y="271"/>
                  <a:pt x="29" y="271"/>
                </a:cubicBezTo>
                <a:cubicBezTo>
                  <a:pt x="30" y="271"/>
                  <a:pt x="30" y="271"/>
                  <a:pt x="30" y="271"/>
                </a:cubicBezTo>
                <a:cubicBezTo>
                  <a:pt x="30" y="272"/>
                  <a:pt x="30" y="272"/>
                  <a:pt x="30" y="272"/>
                </a:cubicBezTo>
                <a:cubicBezTo>
                  <a:pt x="29" y="272"/>
                  <a:pt x="29" y="272"/>
                  <a:pt x="29" y="272"/>
                </a:cubicBezTo>
                <a:cubicBezTo>
                  <a:pt x="28" y="273"/>
                  <a:pt x="28" y="273"/>
                  <a:pt x="28" y="273"/>
                </a:cubicBezTo>
                <a:cubicBezTo>
                  <a:pt x="30" y="273"/>
                  <a:pt x="30" y="273"/>
                  <a:pt x="30" y="273"/>
                </a:cubicBezTo>
                <a:cubicBezTo>
                  <a:pt x="30" y="273"/>
                  <a:pt x="30" y="273"/>
                  <a:pt x="30" y="273"/>
                </a:cubicBezTo>
                <a:cubicBezTo>
                  <a:pt x="31" y="273"/>
                  <a:pt x="31" y="273"/>
                  <a:pt x="31" y="273"/>
                </a:cubicBezTo>
                <a:cubicBezTo>
                  <a:pt x="32" y="274"/>
                  <a:pt x="32" y="274"/>
                  <a:pt x="32" y="274"/>
                </a:cubicBezTo>
                <a:cubicBezTo>
                  <a:pt x="32" y="273"/>
                  <a:pt x="32" y="273"/>
                  <a:pt x="32" y="273"/>
                </a:cubicBezTo>
                <a:cubicBezTo>
                  <a:pt x="35" y="274"/>
                  <a:pt x="35" y="274"/>
                  <a:pt x="35" y="274"/>
                </a:cubicBezTo>
                <a:cubicBezTo>
                  <a:pt x="37" y="276"/>
                  <a:pt x="37" y="276"/>
                  <a:pt x="37" y="276"/>
                </a:cubicBezTo>
                <a:cubicBezTo>
                  <a:pt x="37" y="276"/>
                  <a:pt x="37" y="276"/>
                  <a:pt x="37" y="276"/>
                </a:cubicBezTo>
                <a:cubicBezTo>
                  <a:pt x="37" y="277"/>
                  <a:pt x="37" y="277"/>
                  <a:pt x="37" y="277"/>
                </a:cubicBezTo>
                <a:cubicBezTo>
                  <a:pt x="37" y="278"/>
                  <a:pt x="37" y="278"/>
                  <a:pt x="37" y="278"/>
                </a:cubicBezTo>
                <a:cubicBezTo>
                  <a:pt x="37" y="278"/>
                  <a:pt x="37" y="278"/>
                  <a:pt x="37" y="278"/>
                </a:cubicBezTo>
                <a:cubicBezTo>
                  <a:pt x="37" y="279"/>
                  <a:pt x="37" y="279"/>
                  <a:pt x="37" y="279"/>
                </a:cubicBezTo>
                <a:cubicBezTo>
                  <a:pt x="37" y="281"/>
                  <a:pt x="37" y="281"/>
                  <a:pt x="37" y="281"/>
                </a:cubicBezTo>
                <a:cubicBezTo>
                  <a:pt x="36" y="282"/>
                  <a:pt x="36" y="282"/>
                  <a:pt x="36" y="282"/>
                </a:cubicBezTo>
                <a:cubicBezTo>
                  <a:pt x="36" y="283"/>
                  <a:pt x="36" y="283"/>
                  <a:pt x="36" y="283"/>
                </a:cubicBezTo>
                <a:cubicBezTo>
                  <a:pt x="37" y="283"/>
                  <a:pt x="37" y="283"/>
                  <a:pt x="37" y="283"/>
                </a:cubicBezTo>
                <a:cubicBezTo>
                  <a:pt x="37" y="284"/>
                  <a:pt x="37" y="284"/>
                  <a:pt x="37" y="284"/>
                </a:cubicBezTo>
                <a:cubicBezTo>
                  <a:pt x="39" y="286"/>
                  <a:pt x="39" y="286"/>
                  <a:pt x="39" y="286"/>
                </a:cubicBezTo>
                <a:cubicBezTo>
                  <a:pt x="39" y="287"/>
                  <a:pt x="39" y="287"/>
                  <a:pt x="39" y="287"/>
                </a:cubicBezTo>
                <a:cubicBezTo>
                  <a:pt x="40" y="288"/>
                  <a:pt x="40" y="288"/>
                  <a:pt x="40" y="288"/>
                </a:cubicBezTo>
                <a:cubicBezTo>
                  <a:pt x="40" y="289"/>
                  <a:pt x="40" y="289"/>
                  <a:pt x="40" y="289"/>
                </a:cubicBezTo>
                <a:cubicBezTo>
                  <a:pt x="40" y="291"/>
                  <a:pt x="40" y="291"/>
                  <a:pt x="40" y="291"/>
                </a:cubicBezTo>
                <a:cubicBezTo>
                  <a:pt x="40" y="292"/>
                  <a:pt x="40" y="292"/>
                  <a:pt x="40" y="292"/>
                </a:cubicBezTo>
                <a:cubicBezTo>
                  <a:pt x="40" y="292"/>
                  <a:pt x="40" y="292"/>
                  <a:pt x="40" y="292"/>
                </a:cubicBezTo>
                <a:cubicBezTo>
                  <a:pt x="41" y="293"/>
                  <a:pt x="41" y="293"/>
                  <a:pt x="41" y="293"/>
                </a:cubicBezTo>
                <a:cubicBezTo>
                  <a:pt x="43" y="294"/>
                  <a:pt x="43" y="294"/>
                  <a:pt x="43" y="294"/>
                </a:cubicBezTo>
                <a:cubicBezTo>
                  <a:pt x="44" y="293"/>
                  <a:pt x="44" y="293"/>
                  <a:pt x="44" y="293"/>
                </a:cubicBezTo>
                <a:cubicBezTo>
                  <a:pt x="45" y="293"/>
                  <a:pt x="45" y="293"/>
                  <a:pt x="45" y="293"/>
                </a:cubicBezTo>
                <a:cubicBezTo>
                  <a:pt x="46" y="295"/>
                  <a:pt x="46" y="295"/>
                  <a:pt x="46" y="295"/>
                </a:cubicBezTo>
                <a:cubicBezTo>
                  <a:pt x="47" y="295"/>
                  <a:pt x="47" y="295"/>
                  <a:pt x="47" y="295"/>
                </a:cubicBezTo>
                <a:cubicBezTo>
                  <a:pt x="47" y="297"/>
                  <a:pt x="47" y="297"/>
                  <a:pt x="47" y="297"/>
                </a:cubicBezTo>
                <a:cubicBezTo>
                  <a:pt x="48" y="297"/>
                  <a:pt x="48" y="297"/>
                  <a:pt x="48" y="297"/>
                </a:cubicBezTo>
                <a:cubicBezTo>
                  <a:pt x="50" y="297"/>
                  <a:pt x="50" y="297"/>
                  <a:pt x="50" y="297"/>
                </a:cubicBezTo>
                <a:cubicBezTo>
                  <a:pt x="50" y="298"/>
                  <a:pt x="50" y="298"/>
                  <a:pt x="50" y="298"/>
                </a:cubicBezTo>
                <a:cubicBezTo>
                  <a:pt x="52" y="298"/>
                  <a:pt x="52" y="298"/>
                  <a:pt x="52" y="298"/>
                </a:cubicBezTo>
                <a:cubicBezTo>
                  <a:pt x="53" y="299"/>
                  <a:pt x="53" y="299"/>
                  <a:pt x="53" y="299"/>
                </a:cubicBezTo>
                <a:cubicBezTo>
                  <a:pt x="54" y="299"/>
                  <a:pt x="54" y="299"/>
                  <a:pt x="54" y="299"/>
                </a:cubicBezTo>
                <a:cubicBezTo>
                  <a:pt x="55" y="298"/>
                  <a:pt x="55" y="298"/>
                  <a:pt x="55" y="298"/>
                </a:cubicBezTo>
                <a:cubicBezTo>
                  <a:pt x="56" y="297"/>
                  <a:pt x="56" y="297"/>
                  <a:pt x="56" y="297"/>
                </a:cubicBezTo>
                <a:cubicBezTo>
                  <a:pt x="57" y="297"/>
                  <a:pt x="57" y="297"/>
                  <a:pt x="57" y="297"/>
                </a:cubicBezTo>
                <a:cubicBezTo>
                  <a:pt x="57" y="295"/>
                  <a:pt x="57" y="295"/>
                  <a:pt x="57" y="295"/>
                </a:cubicBezTo>
                <a:cubicBezTo>
                  <a:pt x="56" y="294"/>
                  <a:pt x="56" y="294"/>
                  <a:pt x="56" y="294"/>
                </a:cubicBezTo>
                <a:cubicBezTo>
                  <a:pt x="57" y="294"/>
                  <a:pt x="57" y="294"/>
                  <a:pt x="57" y="294"/>
                </a:cubicBezTo>
                <a:cubicBezTo>
                  <a:pt x="57" y="293"/>
                  <a:pt x="57" y="293"/>
                  <a:pt x="57" y="293"/>
                </a:cubicBezTo>
                <a:cubicBezTo>
                  <a:pt x="55" y="293"/>
                  <a:pt x="55" y="293"/>
                  <a:pt x="55" y="293"/>
                </a:cubicBezTo>
                <a:cubicBezTo>
                  <a:pt x="55" y="292"/>
                  <a:pt x="55" y="292"/>
                  <a:pt x="55" y="292"/>
                </a:cubicBezTo>
                <a:cubicBezTo>
                  <a:pt x="54" y="292"/>
                  <a:pt x="54" y="292"/>
                  <a:pt x="54" y="292"/>
                </a:cubicBezTo>
                <a:cubicBezTo>
                  <a:pt x="53" y="292"/>
                  <a:pt x="53" y="292"/>
                  <a:pt x="53" y="292"/>
                </a:cubicBezTo>
                <a:cubicBezTo>
                  <a:pt x="52" y="293"/>
                  <a:pt x="52" y="293"/>
                  <a:pt x="52" y="293"/>
                </a:cubicBezTo>
                <a:cubicBezTo>
                  <a:pt x="51" y="292"/>
                  <a:pt x="51" y="292"/>
                  <a:pt x="51" y="292"/>
                </a:cubicBezTo>
                <a:cubicBezTo>
                  <a:pt x="50" y="291"/>
                  <a:pt x="50" y="291"/>
                  <a:pt x="50" y="291"/>
                </a:cubicBezTo>
                <a:cubicBezTo>
                  <a:pt x="48" y="290"/>
                  <a:pt x="48" y="290"/>
                  <a:pt x="48" y="290"/>
                </a:cubicBezTo>
                <a:cubicBezTo>
                  <a:pt x="48" y="289"/>
                  <a:pt x="48" y="289"/>
                  <a:pt x="48" y="289"/>
                </a:cubicBezTo>
                <a:cubicBezTo>
                  <a:pt x="47" y="287"/>
                  <a:pt x="47" y="287"/>
                  <a:pt x="47" y="287"/>
                </a:cubicBezTo>
                <a:cubicBezTo>
                  <a:pt x="48" y="287"/>
                  <a:pt x="48" y="287"/>
                  <a:pt x="48" y="287"/>
                </a:cubicBezTo>
                <a:cubicBezTo>
                  <a:pt x="49" y="286"/>
                  <a:pt x="49" y="286"/>
                  <a:pt x="49" y="286"/>
                </a:cubicBezTo>
                <a:cubicBezTo>
                  <a:pt x="48" y="285"/>
                  <a:pt x="48" y="285"/>
                  <a:pt x="48" y="285"/>
                </a:cubicBezTo>
                <a:cubicBezTo>
                  <a:pt x="49" y="285"/>
                  <a:pt x="49" y="285"/>
                  <a:pt x="49" y="285"/>
                </a:cubicBezTo>
                <a:cubicBezTo>
                  <a:pt x="48" y="284"/>
                  <a:pt x="48" y="284"/>
                  <a:pt x="48" y="284"/>
                </a:cubicBezTo>
                <a:cubicBezTo>
                  <a:pt x="48" y="283"/>
                  <a:pt x="48" y="283"/>
                  <a:pt x="48" y="283"/>
                </a:cubicBezTo>
                <a:cubicBezTo>
                  <a:pt x="50" y="283"/>
                  <a:pt x="50" y="283"/>
                  <a:pt x="50" y="283"/>
                </a:cubicBezTo>
                <a:cubicBezTo>
                  <a:pt x="51" y="284"/>
                  <a:pt x="51" y="284"/>
                  <a:pt x="51" y="284"/>
                </a:cubicBezTo>
                <a:cubicBezTo>
                  <a:pt x="53" y="284"/>
                  <a:pt x="53" y="284"/>
                  <a:pt x="53" y="284"/>
                </a:cubicBezTo>
                <a:cubicBezTo>
                  <a:pt x="54" y="286"/>
                  <a:pt x="54" y="286"/>
                  <a:pt x="54" y="286"/>
                </a:cubicBezTo>
                <a:cubicBezTo>
                  <a:pt x="55" y="287"/>
                  <a:pt x="55" y="287"/>
                  <a:pt x="55" y="287"/>
                </a:cubicBezTo>
                <a:cubicBezTo>
                  <a:pt x="57" y="287"/>
                  <a:pt x="57" y="287"/>
                  <a:pt x="57" y="287"/>
                </a:cubicBezTo>
                <a:cubicBezTo>
                  <a:pt x="58" y="288"/>
                  <a:pt x="58" y="288"/>
                  <a:pt x="58" y="288"/>
                </a:cubicBezTo>
                <a:cubicBezTo>
                  <a:pt x="59" y="288"/>
                  <a:pt x="59" y="288"/>
                  <a:pt x="59" y="288"/>
                </a:cubicBezTo>
                <a:cubicBezTo>
                  <a:pt x="63" y="290"/>
                  <a:pt x="63" y="290"/>
                  <a:pt x="63" y="290"/>
                </a:cubicBezTo>
                <a:cubicBezTo>
                  <a:pt x="65" y="291"/>
                  <a:pt x="65" y="291"/>
                  <a:pt x="65" y="291"/>
                </a:cubicBezTo>
                <a:cubicBezTo>
                  <a:pt x="65" y="290"/>
                  <a:pt x="65" y="290"/>
                  <a:pt x="65" y="290"/>
                </a:cubicBezTo>
                <a:cubicBezTo>
                  <a:pt x="66" y="289"/>
                  <a:pt x="66" y="289"/>
                  <a:pt x="66" y="289"/>
                </a:cubicBezTo>
                <a:cubicBezTo>
                  <a:pt x="66" y="288"/>
                  <a:pt x="66" y="288"/>
                  <a:pt x="66" y="288"/>
                </a:cubicBezTo>
                <a:cubicBezTo>
                  <a:pt x="67" y="288"/>
                  <a:pt x="67" y="288"/>
                  <a:pt x="67" y="288"/>
                </a:cubicBezTo>
                <a:cubicBezTo>
                  <a:pt x="68" y="287"/>
                  <a:pt x="68" y="287"/>
                  <a:pt x="68" y="287"/>
                </a:cubicBezTo>
                <a:cubicBezTo>
                  <a:pt x="67" y="284"/>
                  <a:pt x="67" y="284"/>
                  <a:pt x="67" y="284"/>
                </a:cubicBezTo>
                <a:cubicBezTo>
                  <a:pt x="64" y="281"/>
                  <a:pt x="64" y="281"/>
                  <a:pt x="64" y="281"/>
                </a:cubicBezTo>
                <a:cubicBezTo>
                  <a:pt x="63" y="280"/>
                  <a:pt x="63" y="280"/>
                  <a:pt x="63" y="280"/>
                </a:cubicBezTo>
                <a:cubicBezTo>
                  <a:pt x="63" y="278"/>
                  <a:pt x="63" y="278"/>
                  <a:pt x="63" y="278"/>
                </a:cubicBezTo>
                <a:cubicBezTo>
                  <a:pt x="65" y="277"/>
                  <a:pt x="65" y="277"/>
                  <a:pt x="65" y="277"/>
                </a:cubicBezTo>
                <a:cubicBezTo>
                  <a:pt x="66" y="275"/>
                  <a:pt x="66" y="275"/>
                  <a:pt x="66" y="275"/>
                </a:cubicBezTo>
                <a:cubicBezTo>
                  <a:pt x="67" y="274"/>
                  <a:pt x="67" y="274"/>
                  <a:pt x="67" y="274"/>
                </a:cubicBezTo>
                <a:cubicBezTo>
                  <a:pt x="68" y="273"/>
                  <a:pt x="68" y="273"/>
                  <a:pt x="68" y="273"/>
                </a:cubicBezTo>
                <a:cubicBezTo>
                  <a:pt x="69" y="272"/>
                  <a:pt x="69" y="272"/>
                  <a:pt x="69" y="272"/>
                </a:cubicBezTo>
                <a:cubicBezTo>
                  <a:pt x="71" y="271"/>
                  <a:pt x="71" y="271"/>
                  <a:pt x="71" y="271"/>
                </a:cubicBezTo>
                <a:cubicBezTo>
                  <a:pt x="73" y="268"/>
                  <a:pt x="73" y="268"/>
                  <a:pt x="73" y="268"/>
                </a:cubicBezTo>
                <a:cubicBezTo>
                  <a:pt x="74" y="267"/>
                  <a:pt x="74" y="267"/>
                  <a:pt x="74" y="267"/>
                </a:cubicBezTo>
                <a:cubicBezTo>
                  <a:pt x="75" y="267"/>
                  <a:pt x="75" y="267"/>
                  <a:pt x="75" y="267"/>
                </a:cubicBezTo>
                <a:cubicBezTo>
                  <a:pt x="76" y="268"/>
                  <a:pt x="76" y="268"/>
                  <a:pt x="76" y="268"/>
                </a:cubicBezTo>
                <a:cubicBezTo>
                  <a:pt x="78" y="268"/>
                  <a:pt x="78" y="268"/>
                  <a:pt x="78" y="268"/>
                </a:cubicBezTo>
                <a:cubicBezTo>
                  <a:pt x="80" y="268"/>
                  <a:pt x="80" y="268"/>
                  <a:pt x="80" y="268"/>
                </a:cubicBezTo>
                <a:cubicBezTo>
                  <a:pt x="81" y="269"/>
                  <a:pt x="81" y="269"/>
                  <a:pt x="81" y="269"/>
                </a:cubicBezTo>
                <a:cubicBezTo>
                  <a:pt x="81" y="270"/>
                  <a:pt x="81" y="270"/>
                  <a:pt x="81" y="270"/>
                </a:cubicBezTo>
                <a:cubicBezTo>
                  <a:pt x="82" y="269"/>
                  <a:pt x="82" y="269"/>
                  <a:pt x="82" y="269"/>
                </a:cubicBezTo>
                <a:cubicBezTo>
                  <a:pt x="84" y="270"/>
                  <a:pt x="84" y="270"/>
                  <a:pt x="84" y="270"/>
                </a:cubicBezTo>
                <a:cubicBezTo>
                  <a:pt x="84" y="272"/>
                  <a:pt x="84" y="272"/>
                  <a:pt x="84" y="272"/>
                </a:cubicBezTo>
                <a:cubicBezTo>
                  <a:pt x="85" y="272"/>
                  <a:pt x="85" y="272"/>
                  <a:pt x="85" y="272"/>
                </a:cubicBezTo>
                <a:cubicBezTo>
                  <a:pt x="85" y="270"/>
                  <a:pt x="85" y="270"/>
                  <a:pt x="85" y="270"/>
                </a:cubicBezTo>
                <a:cubicBezTo>
                  <a:pt x="84" y="269"/>
                  <a:pt x="84" y="269"/>
                  <a:pt x="84" y="269"/>
                </a:cubicBezTo>
                <a:cubicBezTo>
                  <a:pt x="85" y="268"/>
                  <a:pt x="85" y="268"/>
                  <a:pt x="85" y="268"/>
                </a:cubicBezTo>
                <a:cubicBezTo>
                  <a:pt x="85" y="265"/>
                  <a:pt x="85" y="265"/>
                  <a:pt x="85" y="265"/>
                </a:cubicBezTo>
                <a:cubicBezTo>
                  <a:pt x="85" y="264"/>
                  <a:pt x="85" y="264"/>
                  <a:pt x="85" y="264"/>
                </a:cubicBezTo>
                <a:cubicBezTo>
                  <a:pt x="84" y="264"/>
                  <a:pt x="84" y="264"/>
                  <a:pt x="84" y="264"/>
                </a:cubicBezTo>
                <a:cubicBezTo>
                  <a:pt x="84" y="263"/>
                  <a:pt x="84" y="263"/>
                  <a:pt x="84" y="263"/>
                </a:cubicBezTo>
                <a:cubicBezTo>
                  <a:pt x="85" y="262"/>
                  <a:pt x="85" y="262"/>
                  <a:pt x="85" y="262"/>
                </a:cubicBezTo>
                <a:cubicBezTo>
                  <a:pt x="84" y="261"/>
                  <a:pt x="84" y="261"/>
                  <a:pt x="84" y="261"/>
                </a:cubicBezTo>
                <a:cubicBezTo>
                  <a:pt x="85" y="261"/>
                  <a:pt x="85" y="261"/>
                  <a:pt x="85" y="261"/>
                </a:cubicBezTo>
                <a:cubicBezTo>
                  <a:pt x="84" y="260"/>
                  <a:pt x="84" y="260"/>
                  <a:pt x="84" y="260"/>
                </a:cubicBezTo>
                <a:cubicBezTo>
                  <a:pt x="82" y="259"/>
                  <a:pt x="82" y="259"/>
                  <a:pt x="82" y="259"/>
                </a:cubicBezTo>
                <a:cubicBezTo>
                  <a:pt x="80" y="259"/>
                  <a:pt x="80" y="259"/>
                  <a:pt x="80" y="259"/>
                </a:cubicBezTo>
                <a:cubicBezTo>
                  <a:pt x="80" y="257"/>
                  <a:pt x="80" y="257"/>
                  <a:pt x="80" y="257"/>
                </a:cubicBezTo>
                <a:cubicBezTo>
                  <a:pt x="80" y="256"/>
                  <a:pt x="80" y="256"/>
                  <a:pt x="80" y="256"/>
                </a:cubicBezTo>
                <a:cubicBezTo>
                  <a:pt x="80" y="253"/>
                  <a:pt x="80" y="253"/>
                  <a:pt x="80" y="253"/>
                </a:cubicBezTo>
                <a:cubicBezTo>
                  <a:pt x="81" y="253"/>
                  <a:pt x="81" y="253"/>
                  <a:pt x="81" y="253"/>
                </a:cubicBezTo>
                <a:cubicBezTo>
                  <a:pt x="81" y="252"/>
                  <a:pt x="81" y="252"/>
                  <a:pt x="81" y="252"/>
                </a:cubicBezTo>
                <a:cubicBezTo>
                  <a:pt x="81" y="251"/>
                  <a:pt x="81" y="251"/>
                  <a:pt x="81" y="251"/>
                </a:cubicBezTo>
                <a:cubicBezTo>
                  <a:pt x="81" y="250"/>
                  <a:pt x="81" y="250"/>
                  <a:pt x="81" y="250"/>
                </a:cubicBezTo>
                <a:cubicBezTo>
                  <a:pt x="80" y="249"/>
                  <a:pt x="80" y="249"/>
                  <a:pt x="80" y="249"/>
                </a:cubicBezTo>
                <a:cubicBezTo>
                  <a:pt x="80" y="248"/>
                  <a:pt x="80" y="248"/>
                  <a:pt x="80" y="248"/>
                </a:cubicBezTo>
                <a:cubicBezTo>
                  <a:pt x="80" y="245"/>
                  <a:pt x="80" y="245"/>
                  <a:pt x="80" y="245"/>
                </a:cubicBezTo>
                <a:cubicBezTo>
                  <a:pt x="78" y="244"/>
                  <a:pt x="78" y="244"/>
                  <a:pt x="78" y="244"/>
                </a:cubicBezTo>
                <a:cubicBezTo>
                  <a:pt x="75" y="241"/>
                  <a:pt x="75" y="241"/>
                  <a:pt x="75" y="241"/>
                </a:cubicBezTo>
                <a:cubicBezTo>
                  <a:pt x="75" y="241"/>
                  <a:pt x="75" y="241"/>
                  <a:pt x="75" y="241"/>
                </a:cubicBezTo>
                <a:cubicBezTo>
                  <a:pt x="76" y="241"/>
                  <a:pt x="76" y="241"/>
                  <a:pt x="76" y="241"/>
                </a:cubicBezTo>
                <a:cubicBezTo>
                  <a:pt x="79" y="242"/>
                  <a:pt x="79" y="242"/>
                  <a:pt x="79" y="242"/>
                </a:cubicBezTo>
                <a:cubicBezTo>
                  <a:pt x="80" y="242"/>
                  <a:pt x="80" y="242"/>
                  <a:pt x="80" y="242"/>
                </a:cubicBezTo>
                <a:cubicBezTo>
                  <a:pt x="81" y="242"/>
                  <a:pt x="81" y="242"/>
                  <a:pt x="81" y="242"/>
                </a:cubicBezTo>
                <a:cubicBezTo>
                  <a:pt x="83" y="242"/>
                  <a:pt x="83" y="242"/>
                  <a:pt x="83" y="242"/>
                </a:cubicBezTo>
                <a:cubicBezTo>
                  <a:pt x="87" y="242"/>
                  <a:pt x="87" y="242"/>
                  <a:pt x="87" y="242"/>
                </a:cubicBezTo>
                <a:cubicBezTo>
                  <a:pt x="88" y="243"/>
                  <a:pt x="88" y="243"/>
                  <a:pt x="88" y="243"/>
                </a:cubicBezTo>
                <a:cubicBezTo>
                  <a:pt x="88" y="244"/>
                  <a:pt x="88" y="244"/>
                  <a:pt x="88" y="244"/>
                </a:cubicBezTo>
                <a:cubicBezTo>
                  <a:pt x="90" y="246"/>
                  <a:pt x="90" y="246"/>
                  <a:pt x="90" y="246"/>
                </a:cubicBezTo>
                <a:cubicBezTo>
                  <a:pt x="91" y="246"/>
                  <a:pt x="91" y="246"/>
                  <a:pt x="91" y="246"/>
                </a:cubicBezTo>
                <a:cubicBezTo>
                  <a:pt x="91" y="247"/>
                  <a:pt x="91" y="247"/>
                  <a:pt x="91" y="247"/>
                </a:cubicBezTo>
                <a:cubicBezTo>
                  <a:pt x="93" y="249"/>
                  <a:pt x="93" y="249"/>
                  <a:pt x="93" y="249"/>
                </a:cubicBezTo>
                <a:cubicBezTo>
                  <a:pt x="93" y="250"/>
                  <a:pt x="93" y="250"/>
                  <a:pt x="93" y="250"/>
                </a:cubicBezTo>
                <a:cubicBezTo>
                  <a:pt x="91" y="250"/>
                  <a:pt x="91" y="250"/>
                  <a:pt x="91" y="250"/>
                </a:cubicBezTo>
                <a:cubicBezTo>
                  <a:pt x="90" y="251"/>
                  <a:pt x="90" y="251"/>
                  <a:pt x="90" y="251"/>
                </a:cubicBezTo>
                <a:cubicBezTo>
                  <a:pt x="88" y="251"/>
                  <a:pt x="88" y="251"/>
                  <a:pt x="88" y="251"/>
                </a:cubicBezTo>
                <a:cubicBezTo>
                  <a:pt x="87" y="252"/>
                  <a:pt x="87" y="252"/>
                  <a:pt x="87" y="252"/>
                </a:cubicBezTo>
                <a:cubicBezTo>
                  <a:pt x="88" y="252"/>
                  <a:pt x="88" y="252"/>
                  <a:pt x="88" y="252"/>
                </a:cubicBezTo>
                <a:cubicBezTo>
                  <a:pt x="87" y="253"/>
                  <a:pt x="87" y="253"/>
                  <a:pt x="87" y="253"/>
                </a:cubicBezTo>
                <a:cubicBezTo>
                  <a:pt x="86" y="253"/>
                  <a:pt x="86" y="253"/>
                  <a:pt x="86" y="253"/>
                </a:cubicBezTo>
                <a:cubicBezTo>
                  <a:pt x="86" y="254"/>
                  <a:pt x="86" y="254"/>
                  <a:pt x="86" y="254"/>
                </a:cubicBezTo>
                <a:cubicBezTo>
                  <a:pt x="86" y="255"/>
                  <a:pt x="86" y="255"/>
                  <a:pt x="86" y="255"/>
                </a:cubicBezTo>
                <a:cubicBezTo>
                  <a:pt x="87" y="256"/>
                  <a:pt x="87" y="256"/>
                  <a:pt x="87" y="256"/>
                </a:cubicBezTo>
                <a:cubicBezTo>
                  <a:pt x="90" y="258"/>
                  <a:pt x="90" y="258"/>
                  <a:pt x="90" y="258"/>
                </a:cubicBezTo>
                <a:cubicBezTo>
                  <a:pt x="92" y="261"/>
                  <a:pt x="92" y="261"/>
                  <a:pt x="92" y="261"/>
                </a:cubicBezTo>
                <a:cubicBezTo>
                  <a:pt x="93" y="261"/>
                  <a:pt x="93" y="261"/>
                  <a:pt x="93" y="261"/>
                </a:cubicBezTo>
                <a:cubicBezTo>
                  <a:pt x="95" y="260"/>
                  <a:pt x="95" y="260"/>
                  <a:pt x="95" y="260"/>
                </a:cubicBezTo>
                <a:cubicBezTo>
                  <a:pt x="96" y="262"/>
                  <a:pt x="96" y="262"/>
                  <a:pt x="96" y="262"/>
                </a:cubicBezTo>
                <a:cubicBezTo>
                  <a:pt x="96" y="261"/>
                  <a:pt x="96" y="261"/>
                  <a:pt x="96" y="261"/>
                </a:cubicBezTo>
                <a:cubicBezTo>
                  <a:pt x="98" y="261"/>
                  <a:pt x="98" y="261"/>
                  <a:pt x="98" y="261"/>
                </a:cubicBezTo>
                <a:cubicBezTo>
                  <a:pt x="98" y="260"/>
                  <a:pt x="98" y="260"/>
                  <a:pt x="98" y="260"/>
                </a:cubicBezTo>
                <a:cubicBezTo>
                  <a:pt x="100" y="259"/>
                  <a:pt x="100" y="259"/>
                  <a:pt x="100" y="259"/>
                </a:cubicBezTo>
                <a:cubicBezTo>
                  <a:pt x="101" y="258"/>
                  <a:pt x="101" y="258"/>
                  <a:pt x="101" y="258"/>
                </a:cubicBezTo>
                <a:cubicBezTo>
                  <a:pt x="100" y="256"/>
                  <a:pt x="100" y="256"/>
                  <a:pt x="100" y="256"/>
                </a:cubicBezTo>
                <a:cubicBezTo>
                  <a:pt x="101" y="254"/>
                  <a:pt x="101" y="254"/>
                  <a:pt x="101" y="254"/>
                </a:cubicBezTo>
                <a:cubicBezTo>
                  <a:pt x="101" y="253"/>
                  <a:pt x="101" y="253"/>
                  <a:pt x="101" y="253"/>
                </a:cubicBezTo>
                <a:cubicBezTo>
                  <a:pt x="100" y="252"/>
                  <a:pt x="100" y="252"/>
                  <a:pt x="100" y="252"/>
                </a:cubicBezTo>
                <a:cubicBezTo>
                  <a:pt x="100" y="252"/>
                  <a:pt x="100" y="252"/>
                  <a:pt x="100" y="252"/>
                </a:cubicBezTo>
                <a:cubicBezTo>
                  <a:pt x="104" y="251"/>
                  <a:pt x="104" y="251"/>
                  <a:pt x="104" y="251"/>
                </a:cubicBezTo>
                <a:cubicBezTo>
                  <a:pt x="104" y="251"/>
                  <a:pt x="104" y="251"/>
                  <a:pt x="104" y="251"/>
                </a:cubicBezTo>
                <a:cubicBezTo>
                  <a:pt x="106" y="251"/>
                  <a:pt x="106" y="251"/>
                  <a:pt x="106" y="251"/>
                </a:cubicBezTo>
                <a:cubicBezTo>
                  <a:pt x="106" y="250"/>
                  <a:pt x="106" y="250"/>
                  <a:pt x="106" y="250"/>
                </a:cubicBezTo>
                <a:cubicBezTo>
                  <a:pt x="104" y="249"/>
                  <a:pt x="104" y="249"/>
                  <a:pt x="104" y="249"/>
                </a:cubicBezTo>
                <a:cubicBezTo>
                  <a:pt x="104" y="248"/>
                  <a:pt x="104" y="248"/>
                  <a:pt x="104" y="248"/>
                </a:cubicBezTo>
                <a:cubicBezTo>
                  <a:pt x="105" y="248"/>
                  <a:pt x="105" y="248"/>
                  <a:pt x="105" y="248"/>
                </a:cubicBezTo>
                <a:cubicBezTo>
                  <a:pt x="105" y="249"/>
                  <a:pt x="105" y="249"/>
                  <a:pt x="105" y="249"/>
                </a:cubicBezTo>
                <a:cubicBezTo>
                  <a:pt x="107" y="248"/>
                  <a:pt x="107" y="248"/>
                  <a:pt x="107" y="248"/>
                </a:cubicBezTo>
                <a:cubicBezTo>
                  <a:pt x="109" y="245"/>
                  <a:pt x="109" y="245"/>
                  <a:pt x="109" y="245"/>
                </a:cubicBezTo>
                <a:cubicBezTo>
                  <a:pt x="110" y="245"/>
                  <a:pt x="110" y="245"/>
                  <a:pt x="110" y="245"/>
                </a:cubicBezTo>
                <a:cubicBezTo>
                  <a:pt x="112" y="242"/>
                  <a:pt x="112" y="242"/>
                  <a:pt x="112" y="242"/>
                </a:cubicBezTo>
                <a:cubicBezTo>
                  <a:pt x="112" y="241"/>
                  <a:pt x="112" y="241"/>
                  <a:pt x="112" y="241"/>
                </a:cubicBezTo>
                <a:cubicBezTo>
                  <a:pt x="113" y="241"/>
                  <a:pt x="113" y="241"/>
                  <a:pt x="113" y="241"/>
                </a:cubicBezTo>
                <a:cubicBezTo>
                  <a:pt x="114" y="241"/>
                  <a:pt x="114" y="241"/>
                  <a:pt x="114" y="241"/>
                </a:cubicBezTo>
                <a:cubicBezTo>
                  <a:pt x="116" y="240"/>
                  <a:pt x="116" y="240"/>
                  <a:pt x="116" y="240"/>
                </a:cubicBezTo>
                <a:cubicBezTo>
                  <a:pt x="116" y="240"/>
                  <a:pt x="116" y="240"/>
                  <a:pt x="116" y="240"/>
                </a:cubicBezTo>
                <a:cubicBezTo>
                  <a:pt x="119" y="239"/>
                  <a:pt x="119" y="239"/>
                  <a:pt x="119" y="239"/>
                </a:cubicBezTo>
                <a:cubicBezTo>
                  <a:pt x="119" y="240"/>
                  <a:pt x="119" y="240"/>
                  <a:pt x="119" y="240"/>
                </a:cubicBezTo>
                <a:cubicBezTo>
                  <a:pt x="119" y="240"/>
                  <a:pt x="119" y="240"/>
                  <a:pt x="119" y="240"/>
                </a:cubicBezTo>
                <a:cubicBezTo>
                  <a:pt x="120" y="241"/>
                  <a:pt x="120" y="241"/>
                  <a:pt x="120" y="241"/>
                </a:cubicBezTo>
                <a:cubicBezTo>
                  <a:pt x="119" y="241"/>
                  <a:pt x="119" y="241"/>
                  <a:pt x="119" y="241"/>
                </a:cubicBezTo>
                <a:cubicBezTo>
                  <a:pt x="120" y="242"/>
                  <a:pt x="120" y="242"/>
                  <a:pt x="120" y="242"/>
                </a:cubicBezTo>
                <a:cubicBezTo>
                  <a:pt x="121" y="241"/>
                  <a:pt x="121" y="241"/>
                  <a:pt x="121" y="241"/>
                </a:cubicBezTo>
                <a:cubicBezTo>
                  <a:pt x="121" y="240"/>
                  <a:pt x="121" y="240"/>
                  <a:pt x="121" y="240"/>
                </a:cubicBezTo>
                <a:cubicBezTo>
                  <a:pt x="121" y="239"/>
                  <a:pt x="121" y="239"/>
                  <a:pt x="121" y="239"/>
                </a:cubicBezTo>
                <a:cubicBezTo>
                  <a:pt x="120" y="238"/>
                  <a:pt x="120" y="238"/>
                  <a:pt x="120" y="238"/>
                </a:cubicBezTo>
                <a:cubicBezTo>
                  <a:pt x="120" y="238"/>
                  <a:pt x="120" y="238"/>
                  <a:pt x="120" y="238"/>
                </a:cubicBezTo>
                <a:cubicBezTo>
                  <a:pt x="122" y="236"/>
                  <a:pt x="122" y="236"/>
                  <a:pt x="122" y="236"/>
                </a:cubicBezTo>
                <a:cubicBezTo>
                  <a:pt x="122" y="235"/>
                  <a:pt x="122" y="235"/>
                  <a:pt x="122" y="235"/>
                </a:cubicBezTo>
                <a:cubicBezTo>
                  <a:pt x="123" y="236"/>
                  <a:pt x="123" y="236"/>
                  <a:pt x="123" y="236"/>
                </a:cubicBezTo>
                <a:cubicBezTo>
                  <a:pt x="122" y="237"/>
                  <a:pt x="122" y="237"/>
                  <a:pt x="122" y="237"/>
                </a:cubicBezTo>
                <a:cubicBezTo>
                  <a:pt x="122" y="237"/>
                  <a:pt x="122" y="237"/>
                  <a:pt x="122" y="237"/>
                </a:cubicBezTo>
                <a:cubicBezTo>
                  <a:pt x="123" y="238"/>
                  <a:pt x="123" y="238"/>
                  <a:pt x="123" y="238"/>
                </a:cubicBezTo>
                <a:cubicBezTo>
                  <a:pt x="124" y="238"/>
                  <a:pt x="124" y="238"/>
                  <a:pt x="124" y="238"/>
                </a:cubicBezTo>
                <a:cubicBezTo>
                  <a:pt x="124" y="237"/>
                  <a:pt x="124" y="237"/>
                  <a:pt x="124" y="237"/>
                </a:cubicBezTo>
                <a:cubicBezTo>
                  <a:pt x="124" y="237"/>
                  <a:pt x="124" y="237"/>
                  <a:pt x="124" y="237"/>
                </a:cubicBezTo>
                <a:cubicBezTo>
                  <a:pt x="123" y="235"/>
                  <a:pt x="123" y="235"/>
                  <a:pt x="123" y="235"/>
                </a:cubicBezTo>
                <a:cubicBezTo>
                  <a:pt x="123" y="235"/>
                  <a:pt x="123" y="235"/>
                  <a:pt x="123" y="235"/>
                </a:cubicBezTo>
                <a:cubicBezTo>
                  <a:pt x="124" y="234"/>
                  <a:pt x="124" y="234"/>
                  <a:pt x="124" y="234"/>
                </a:cubicBezTo>
                <a:cubicBezTo>
                  <a:pt x="127" y="233"/>
                  <a:pt x="127" y="233"/>
                  <a:pt x="127" y="233"/>
                </a:cubicBezTo>
                <a:cubicBezTo>
                  <a:pt x="130" y="232"/>
                  <a:pt x="130" y="232"/>
                  <a:pt x="130" y="232"/>
                </a:cubicBezTo>
                <a:cubicBezTo>
                  <a:pt x="130" y="233"/>
                  <a:pt x="130" y="233"/>
                  <a:pt x="130" y="233"/>
                </a:cubicBezTo>
                <a:cubicBezTo>
                  <a:pt x="129" y="233"/>
                  <a:pt x="129" y="233"/>
                  <a:pt x="129" y="233"/>
                </a:cubicBezTo>
                <a:cubicBezTo>
                  <a:pt x="128" y="233"/>
                  <a:pt x="128" y="233"/>
                  <a:pt x="128" y="233"/>
                </a:cubicBezTo>
                <a:cubicBezTo>
                  <a:pt x="125" y="235"/>
                  <a:pt x="125" y="235"/>
                  <a:pt x="125" y="235"/>
                </a:cubicBezTo>
                <a:cubicBezTo>
                  <a:pt x="126" y="235"/>
                  <a:pt x="126" y="235"/>
                  <a:pt x="126" y="235"/>
                </a:cubicBezTo>
                <a:cubicBezTo>
                  <a:pt x="127" y="235"/>
                  <a:pt x="127" y="235"/>
                  <a:pt x="127" y="235"/>
                </a:cubicBezTo>
                <a:cubicBezTo>
                  <a:pt x="127" y="235"/>
                  <a:pt x="127" y="235"/>
                  <a:pt x="127" y="235"/>
                </a:cubicBezTo>
                <a:cubicBezTo>
                  <a:pt x="129" y="236"/>
                  <a:pt x="129" y="236"/>
                  <a:pt x="129" y="236"/>
                </a:cubicBezTo>
                <a:cubicBezTo>
                  <a:pt x="128" y="237"/>
                  <a:pt x="128" y="237"/>
                  <a:pt x="128" y="237"/>
                </a:cubicBezTo>
                <a:cubicBezTo>
                  <a:pt x="128" y="237"/>
                  <a:pt x="128" y="237"/>
                  <a:pt x="128" y="237"/>
                </a:cubicBezTo>
                <a:cubicBezTo>
                  <a:pt x="128" y="239"/>
                  <a:pt x="128" y="239"/>
                  <a:pt x="128" y="239"/>
                </a:cubicBezTo>
                <a:cubicBezTo>
                  <a:pt x="128" y="239"/>
                  <a:pt x="128" y="239"/>
                  <a:pt x="128" y="239"/>
                </a:cubicBezTo>
                <a:cubicBezTo>
                  <a:pt x="127" y="239"/>
                  <a:pt x="127" y="239"/>
                  <a:pt x="127" y="239"/>
                </a:cubicBezTo>
                <a:cubicBezTo>
                  <a:pt x="125" y="241"/>
                  <a:pt x="125" y="241"/>
                  <a:pt x="125" y="241"/>
                </a:cubicBezTo>
                <a:cubicBezTo>
                  <a:pt x="126" y="242"/>
                  <a:pt x="126" y="242"/>
                  <a:pt x="126" y="242"/>
                </a:cubicBezTo>
                <a:cubicBezTo>
                  <a:pt x="127" y="242"/>
                  <a:pt x="127" y="242"/>
                  <a:pt x="127" y="242"/>
                </a:cubicBezTo>
                <a:cubicBezTo>
                  <a:pt x="128" y="242"/>
                  <a:pt x="128" y="242"/>
                  <a:pt x="128" y="242"/>
                </a:cubicBezTo>
                <a:cubicBezTo>
                  <a:pt x="128" y="242"/>
                  <a:pt x="128" y="242"/>
                  <a:pt x="128" y="242"/>
                </a:cubicBezTo>
                <a:cubicBezTo>
                  <a:pt x="129" y="241"/>
                  <a:pt x="129" y="241"/>
                  <a:pt x="129" y="241"/>
                </a:cubicBezTo>
                <a:cubicBezTo>
                  <a:pt x="131" y="242"/>
                  <a:pt x="131" y="242"/>
                  <a:pt x="131" y="242"/>
                </a:cubicBezTo>
                <a:cubicBezTo>
                  <a:pt x="131" y="243"/>
                  <a:pt x="131" y="243"/>
                  <a:pt x="131" y="243"/>
                </a:cubicBezTo>
                <a:cubicBezTo>
                  <a:pt x="131" y="242"/>
                  <a:pt x="131" y="242"/>
                  <a:pt x="131" y="242"/>
                </a:cubicBezTo>
                <a:cubicBezTo>
                  <a:pt x="132" y="240"/>
                  <a:pt x="132" y="240"/>
                  <a:pt x="132" y="240"/>
                </a:cubicBezTo>
                <a:cubicBezTo>
                  <a:pt x="133" y="240"/>
                  <a:pt x="133" y="240"/>
                  <a:pt x="133" y="240"/>
                </a:cubicBezTo>
                <a:cubicBezTo>
                  <a:pt x="134" y="241"/>
                  <a:pt x="134" y="241"/>
                  <a:pt x="134" y="241"/>
                </a:cubicBezTo>
                <a:cubicBezTo>
                  <a:pt x="135" y="242"/>
                  <a:pt x="135" y="242"/>
                  <a:pt x="135" y="242"/>
                </a:cubicBezTo>
                <a:cubicBezTo>
                  <a:pt x="135" y="241"/>
                  <a:pt x="135" y="241"/>
                  <a:pt x="135" y="241"/>
                </a:cubicBezTo>
                <a:cubicBezTo>
                  <a:pt x="135" y="240"/>
                  <a:pt x="135" y="240"/>
                  <a:pt x="135" y="240"/>
                </a:cubicBezTo>
                <a:cubicBezTo>
                  <a:pt x="135" y="240"/>
                  <a:pt x="135" y="240"/>
                  <a:pt x="135" y="240"/>
                </a:cubicBezTo>
                <a:cubicBezTo>
                  <a:pt x="134" y="239"/>
                  <a:pt x="134" y="239"/>
                  <a:pt x="134" y="239"/>
                </a:cubicBezTo>
                <a:cubicBezTo>
                  <a:pt x="134" y="238"/>
                  <a:pt x="134" y="238"/>
                  <a:pt x="134" y="238"/>
                </a:cubicBezTo>
                <a:cubicBezTo>
                  <a:pt x="135" y="237"/>
                  <a:pt x="135" y="237"/>
                  <a:pt x="135" y="237"/>
                </a:cubicBezTo>
                <a:cubicBezTo>
                  <a:pt x="136" y="237"/>
                  <a:pt x="136" y="237"/>
                  <a:pt x="136" y="237"/>
                </a:cubicBezTo>
                <a:cubicBezTo>
                  <a:pt x="137" y="236"/>
                  <a:pt x="137" y="236"/>
                  <a:pt x="137" y="236"/>
                </a:cubicBezTo>
                <a:cubicBezTo>
                  <a:pt x="138" y="235"/>
                  <a:pt x="138" y="235"/>
                  <a:pt x="138" y="235"/>
                </a:cubicBezTo>
                <a:cubicBezTo>
                  <a:pt x="139" y="236"/>
                  <a:pt x="139" y="236"/>
                  <a:pt x="139" y="236"/>
                </a:cubicBezTo>
                <a:cubicBezTo>
                  <a:pt x="140" y="236"/>
                  <a:pt x="140" y="236"/>
                  <a:pt x="140" y="236"/>
                </a:cubicBezTo>
                <a:cubicBezTo>
                  <a:pt x="141" y="236"/>
                  <a:pt x="141" y="236"/>
                  <a:pt x="141" y="236"/>
                </a:cubicBezTo>
                <a:cubicBezTo>
                  <a:pt x="142" y="236"/>
                  <a:pt x="142" y="236"/>
                  <a:pt x="142" y="236"/>
                </a:cubicBezTo>
                <a:cubicBezTo>
                  <a:pt x="144" y="236"/>
                  <a:pt x="144" y="236"/>
                  <a:pt x="144" y="236"/>
                </a:cubicBezTo>
                <a:cubicBezTo>
                  <a:pt x="145" y="235"/>
                  <a:pt x="145" y="235"/>
                  <a:pt x="145" y="235"/>
                </a:cubicBezTo>
                <a:cubicBezTo>
                  <a:pt x="145" y="234"/>
                  <a:pt x="145" y="234"/>
                  <a:pt x="145" y="234"/>
                </a:cubicBezTo>
                <a:cubicBezTo>
                  <a:pt x="146" y="234"/>
                  <a:pt x="146" y="234"/>
                  <a:pt x="146" y="234"/>
                </a:cubicBezTo>
                <a:cubicBezTo>
                  <a:pt x="147" y="234"/>
                  <a:pt x="147" y="234"/>
                  <a:pt x="147" y="234"/>
                </a:cubicBezTo>
                <a:cubicBezTo>
                  <a:pt x="148" y="233"/>
                  <a:pt x="148" y="233"/>
                  <a:pt x="148" y="233"/>
                </a:cubicBezTo>
                <a:cubicBezTo>
                  <a:pt x="149" y="232"/>
                  <a:pt x="149" y="232"/>
                  <a:pt x="149" y="232"/>
                </a:cubicBezTo>
                <a:cubicBezTo>
                  <a:pt x="150" y="232"/>
                  <a:pt x="150" y="232"/>
                  <a:pt x="150" y="232"/>
                </a:cubicBezTo>
                <a:cubicBezTo>
                  <a:pt x="151" y="230"/>
                  <a:pt x="151" y="230"/>
                  <a:pt x="151" y="230"/>
                </a:cubicBezTo>
                <a:cubicBezTo>
                  <a:pt x="152" y="230"/>
                  <a:pt x="152" y="230"/>
                  <a:pt x="152" y="230"/>
                </a:cubicBezTo>
                <a:cubicBezTo>
                  <a:pt x="153" y="229"/>
                  <a:pt x="153" y="229"/>
                  <a:pt x="153" y="229"/>
                </a:cubicBezTo>
                <a:cubicBezTo>
                  <a:pt x="153" y="230"/>
                  <a:pt x="153" y="230"/>
                  <a:pt x="153" y="230"/>
                </a:cubicBezTo>
                <a:cubicBezTo>
                  <a:pt x="152" y="231"/>
                  <a:pt x="152" y="231"/>
                  <a:pt x="152" y="231"/>
                </a:cubicBezTo>
                <a:cubicBezTo>
                  <a:pt x="153" y="231"/>
                  <a:pt x="153" y="231"/>
                  <a:pt x="153" y="231"/>
                </a:cubicBezTo>
                <a:cubicBezTo>
                  <a:pt x="154" y="233"/>
                  <a:pt x="154" y="233"/>
                  <a:pt x="154" y="233"/>
                </a:cubicBezTo>
                <a:cubicBezTo>
                  <a:pt x="155" y="233"/>
                  <a:pt x="155" y="233"/>
                  <a:pt x="155" y="233"/>
                </a:cubicBezTo>
                <a:cubicBezTo>
                  <a:pt x="154" y="234"/>
                  <a:pt x="154" y="234"/>
                  <a:pt x="154" y="234"/>
                </a:cubicBezTo>
                <a:cubicBezTo>
                  <a:pt x="154" y="235"/>
                  <a:pt x="154" y="235"/>
                  <a:pt x="154" y="235"/>
                </a:cubicBezTo>
                <a:cubicBezTo>
                  <a:pt x="154" y="236"/>
                  <a:pt x="154" y="236"/>
                  <a:pt x="154" y="236"/>
                </a:cubicBezTo>
                <a:cubicBezTo>
                  <a:pt x="155" y="237"/>
                  <a:pt x="155" y="237"/>
                  <a:pt x="155" y="237"/>
                </a:cubicBezTo>
                <a:cubicBezTo>
                  <a:pt x="158" y="237"/>
                  <a:pt x="158" y="237"/>
                  <a:pt x="158" y="237"/>
                </a:cubicBezTo>
                <a:cubicBezTo>
                  <a:pt x="158" y="237"/>
                  <a:pt x="158" y="237"/>
                  <a:pt x="158" y="237"/>
                </a:cubicBezTo>
                <a:cubicBezTo>
                  <a:pt x="158" y="236"/>
                  <a:pt x="158" y="236"/>
                  <a:pt x="158" y="236"/>
                </a:cubicBezTo>
                <a:cubicBezTo>
                  <a:pt x="158" y="236"/>
                  <a:pt x="158" y="236"/>
                  <a:pt x="158" y="236"/>
                </a:cubicBezTo>
                <a:cubicBezTo>
                  <a:pt x="157" y="234"/>
                  <a:pt x="157" y="234"/>
                  <a:pt x="157" y="234"/>
                </a:cubicBezTo>
                <a:cubicBezTo>
                  <a:pt x="157" y="233"/>
                  <a:pt x="157" y="233"/>
                  <a:pt x="157" y="233"/>
                </a:cubicBezTo>
                <a:cubicBezTo>
                  <a:pt x="158" y="233"/>
                  <a:pt x="158" y="233"/>
                  <a:pt x="158" y="233"/>
                </a:cubicBezTo>
                <a:cubicBezTo>
                  <a:pt x="159" y="233"/>
                  <a:pt x="159" y="233"/>
                  <a:pt x="159" y="233"/>
                </a:cubicBezTo>
                <a:cubicBezTo>
                  <a:pt x="161" y="233"/>
                  <a:pt x="161" y="233"/>
                  <a:pt x="161" y="233"/>
                </a:cubicBezTo>
                <a:cubicBezTo>
                  <a:pt x="161" y="230"/>
                  <a:pt x="161" y="230"/>
                  <a:pt x="161" y="230"/>
                </a:cubicBezTo>
                <a:cubicBezTo>
                  <a:pt x="162" y="230"/>
                  <a:pt x="162" y="230"/>
                  <a:pt x="162" y="230"/>
                </a:cubicBezTo>
                <a:cubicBezTo>
                  <a:pt x="163" y="231"/>
                  <a:pt x="163" y="231"/>
                  <a:pt x="163" y="231"/>
                </a:cubicBezTo>
                <a:cubicBezTo>
                  <a:pt x="164" y="231"/>
                  <a:pt x="164" y="231"/>
                  <a:pt x="164" y="231"/>
                </a:cubicBezTo>
                <a:cubicBezTo>
                  <a:pt x="163" y="229"/>
                  <a:pt x="163" y="229"/>
                  <a:pt x="163" y="229"/>
                </a:cubicBezTo>
                <a:cubicBezTo>
                  <a:pt x="161" y="229"/>
                  <a:pt x="161" y="229"/>
                  <a:pt x="161" y="229"/>
                </a:cubicBezTo>
                <a:cubicBezTo>
                  <a:pt x="161" y="228"/>
                  <a:pt x="161" y="228"/>
                  <a:pt x="161" y="228"/>
                </a:cubicBezTo>
                <a:cubicBezTo>
                  <a:pt x="160" y="226"/>
                  <a:pt x="160" y="226"/>
                  <a:pt x="160" y="226"/>
                </a:cubicBezTo>
                <a:cubicBezTo>
                  <a:pt x="159" y="226"/>
                  <a:pt x="159" y="226"/>
                  <a:pt x="159" y="226"/>
                </a:cubicBezTo>
                <a:cubicBezTo>
                  <a:pt x="159" y="227"/>
                  <a:pt x="159" y="227"/>
                  <a:pt x="159" y="227"/>
                </a:cubicBezTo>
                <a:cubicBezTo>
                  <a:pt x="158" y="226"/>
                  <a:pt x="158" y="226"/>
                  <a:pt x="158" y="226"/>
                </a:cubicBezTo>
                <a:cubicBezTo>
                  <a:pt x="158" y="223"/>
                  <a:pt x="158" y="223"/>
                  <a:pt x="158" y="223"/>
                </a:cubicBezTo>
                <a:cubicBezTo>
                  <a:pt x="157" y="223"/>
                  <a:pt x="157" y="223"/>
                  <a:pt x="157" y="223"/>
                </a:cubicBezTo>
                <a:cubicBezTo>
                  <a:pt x="156" y="221"/>
                  <a:pt x="156" y="221"/>
                  <a:pt x="156" y="221"/>
                </a:cubicBezTo>
                <a:cubicBezTo>
                  <a:pt x="156" y="221"/>
                  <a:pt x="156" y="221"/>
                  <a:pt x="156" y="221"/>
                </a:cubicBezTo>
                <a:cubicBezTo>
                  <a:pt x="157" y="221"/>
                  <a:pt x="157" y="221"/>
                  <a:pt x="157" y="221"/>
                </a:cubicBezTo>
                <a:cubicBezTo>
                  <a:pt x="157" y="219"/>
                  <a:pt x="157" y="219"/>
                  <a:pt x="157" y="219"/>
                </a:cubicBezTo>
                <a:cubicBezTo>
                  <a:pt x="157" y="218"/>
                  <a:pt x="157" y="218"/>
                  <a:pt x="157" y="218"/>
                </a:cubicBezTo>
                <a:cubicBezTo>
                  <a:pt x="157" y="217"/>
                  <a:pt x="157" y="217"/>
                  <a:pt x="157" y="217"/>
                </a:cubicBezTo>
                <a:cubicBezTo>
                  <a:pt x="158" y="218"/>
                  <a:pt x="158" y="218"/>
                  <a:pt x="158" y="218"/>
                </a:cubicBezTo>
                <a:cubicBezTo>
                  <a:pt x="159" y="217"/>
                  <a:pt x="159" y="217"/>
                  <a:pt x="159" y="217"/>
                </a:cubicBezTo>
                <a:cubicBezTo>
                  <a:pt x="160" y="218"/>
                  <a:pt x="160" y="218"/>
                  <a:pt x="160" y="218"/>
                </a:cubicBezTo>
                <a:cubicBezTo>
                  <a:pt x="161" y="218"/>
                  <a:pt x="161" y="218"/>
                  <a:pt x="161" y="218"/>
                </a:cubicBezTo>
                <a:cubicBezTo>
                  <a:pt x="162" y="218"/>
                  <a:pt x="162" y="218"/>
                  <a:pt x="162" y="218"/>
                </a:cubicBezTo>
                <a:cubicBezTo>
                  <a:pt x="167" y="218"/>
                  <a:pt x="167" y="218"/>
                  <a:pt x="167" y="218"/>
                </a:cubicBezTo>
                <a:cubicBezTo>
                  <a:pt x="173" y="218"/>
                  <a:pt x="173" y="218"/>
                  <a:pt x="173" y="218"/>
                </a:cubicBezTo>
                <a:cubicBezTo>
                  <a:pt x="175" y="219"/>
                  <a:pt x="175" y="219"/>
                  <a:pt x="175" y="219"/>
                </a:cubicBezTo>
                <a:cubicBezTo>
                  <a:pt x="179" y="221"/>
                  <a:pt x="179" y="221"/>
                  <a:pt x="179" y="221"/>
                </a:cubicBezTo>
                <a:cubicBezTo>
                  <a:pt x="179" y="221"/>
                  <a:pt x="179" y="221"/>
                  <a:pt x="179" y="221"/>
                </a:cubicBezTo>
                <a:cubicBezTo>
                  <a:pt x="179" y="222"/>
                  <a:pt x="179" y="222"/>
                  <a:pt x="179" y="222"/>
                </a:cubicBezTo>
                <a:cubicBezTo>
                  <a:pt x="179" y="224"/>
                  <a:pt x="179" y="224"/>
                  <a:pt x="179" y="224"/>
                </a:cubicBezTo>
                <a:cubicBezTo>
                  <a:pt x="181" y="222"/>
                  <a:pt x="181" y="222"/>
                  <a:pt x="181" y="222"/>
                </a:cubicBezTo>
                <a:cubicBezTo>
                  <a:pt x="182" y="222"/>
                  <a:pt x="182" y="222"/>
                  <a:pt x="182" y="222"/>
                </a:cubicBezTo>
                <a:cubicBezTo>
                  <a:pt x="183" y="223"/>
                  <a:pt x="183" y="223"/>
                  <a:pt x="183" y="223"/>
                </a:cubicBezTo>
                <a:cubicBezTo>
                  <a:pt x="184" y="223"/>
                  <a:pt x="184" y="223"/>
                  <a:pt x="184" y="223"/>
                </a:cubicBezTo>
                <a:cubicBezTo>
                  <a:pt x="185" y="224"/>
                  <a:pt x="185" y="224"/>
                  <a:pt x="185" y="224"/>
                </a:cubicBezTo>
                <a:cubicBezTo>
                  <a:pt x="187" y="224"/>
                  <a:pt x="187" y="224"/>
                  <a:pt x="187" y="224"/>
                </a:cubicBezTo>
                <a:cubicBezTo>
                  <a:pt x="190" y="226"/>
                  <a:pt x="190" y="226"/>
                  <a:pt x="190" y="226"/>
                </a:cubicBezTo>
                <a:cubicBezTo>
                  <a:pt x="194" y="227"/>
                  <a:pt x="194" y="227"/>
                  <a:pt x="194" y="227"/>
                </a:cubicBezTo>
                <a:cubicBezTo>
                  <a:pt x="195" y="228"/>
                  <a:pt x="195" y="228"/>
                  <a:pt x="195" y="228"/>
                </a:cubicBezTo>
                <a:cubicBezTo>
                  <a:pt x="196" y="229"/>
                  <a:pt x="196" y="229"/>
                  <a:pt x="196" y="229"/>
                </a:cubicBezTo>
                <a:cubicBezTo>
                  <a:pt x="198" y="230"/>
                  <a:pt x="198" y="230"/>
                  <a:pt x="198" y="230"/>
                </a:cubicBezTo>
                <a:cubicBezTo>
                  <a:pt x="199" y="231"/>
                  <a:pt x="199" y="231"/>
                  <a:pt x="199" y="231"/>
                </a:cubicBezTo>
                <a:cubicBezTo>
                  <a:pt x="201" y="234"/>
                  <a:pt x="201" y="234"/>
                  <a:pt x="201" y="234"/>
                </a:cubicBezTo>
                <a:cubicBezTo>
                  <a:pt x="202" y="234"/>
                  <a:pt x="202" y="234"/>
                  <a:pt x="202" y="234"/>
                </a:cubicBezTo>
                <a:cubicBezTo>
                  <a:pt x="202" y="233"/>
                  <a:pt x="202" y="233"/>
                  <a:pt x="202" y="233"/>
                </a:cubicBezTo>
                <a:cubicBezTo>
                  <a:pt x="202" y="232"/>
                  <a:pt x="202" y="232"/>
                  <a:pt x="202" y="232"/>
                </a:cubicBezTo>
                <a:cubicBezTo>
                  <a:pt x="203" y="232"/>
                  <a:pt x="203" y="232"/>
                  <a:pt x="203" y="232"/>
                </a:cubicBezTo>
                <a:cubicBezTo>
                  <a:pt x="203" y="231"/>
                  <a:pt x="203" y="231"/>
                  <a:pt x="203" y="231"/>
                </a:cubicBezTo>
                <a:cubicBezTo>
                  <a:pt x="202" y="230"/>
                  <a:pt x="202" y="230"/>
                  <a:pt x="202" y="230"/>
                </a:cubicBezTo>
                <a:cubicBezTo>
                  <a:pt x="202" y="229"/>
                  <a:pt x="202" y="229"/>
                  <a:pt x="202" y="229"/>
                </a:cubicBezTo>
                <a:cubicBezTo>
                  <a:pt x="202" y="225"/>
                  <a:pt x="202" y="225"/>
                  <a:pt x="202" y="225"/>
                </a:cubicBezTo>
                <a:cubicBezTo>
                  <a:pt x="204" y="224"/>
                  <a:pt x="204" y="224"/>
                  <a:pt x="204" y="224"/>
                </a:cubicBezTo>
                <a:cubicBezTo>
                  <a:pt x="202" y="225"/>
                  <a:pt x="202" y="225"/>
                  <a:pt x="202" y="225"/>
                </a:cubicBezTo>
                <a:cubicBezTo>
                  <a:pt x="202" y="224"/>
                  <a:pt x="202" y="224"/>
                  <a:pt x="202" y="224"/>
                </a:cubicBezTo>
                <a:cubicBezTo>
                  <a:pt x="201" y="224"/>
                  <a:pt x="201" y="224"/>
                  <a:pt x="201" y="224"/>
                </a:cubicBezTo>
                <a:cubicBezTo>
                  <a:pt x="200" y="225"/>
                  <a:pt x="200" y="225"/>
                  <a:pt x="200" y="225"/>
                </a:cubicBezTo>
                <a:cubicBezTo>
                  <a:pt x="199" y="224"/>
                  <a:pt x="199" y="224"/>
                  <a:pt x="199" y="224"/>
                </a:cubicBezTo>
                <a:cubicBezTo>
                  <a:pt x="196" y="221"/>
                  <a:pt x="196" y="221"/>
                  <a:pt x="196" y="221"/>
                </a:cubicBezTo>
                <a:cubicBezTo>
                  <a:pt x="196" y="221"/>
                  <a:pt x="196" y="221"/>
                  <a:pt x="196" y="221"/>
                </a:cubicBezTo>
                <a:cubicBezTo>
                  <a:pt x="195" y="220"/>
                  <a:pt x="195" y="220"/>
                  <a:pt x="195" y="220"/>
                </a:cubicBezTo>
                <a:cubicBezTo>
                  <a:pt x="195" y="218"/>
                  <a:pt x="195" y="218"/>
                  <a:pt x="195" y="218"/>
                </a:cubicBezTo>
                <a:cubicBezTo>
                  <a:pt x="194" y="217"/>
                  <a:pt x="194" y="217"/>
                  <a:pt x="194" y="217"/>
                </a:cubicBezTo>
                <a:cubicBezTo>
                  <a:pt x="193" y="219"/>
                  <a:pt x="193" y="219"/>
                  <a:pt x="193" y="219"/>
                </a:cubicBezTo>
                <a:cubicBezTo>
                  <a:pt x="191" y="218"/>
                  <a:pt x="191" y="218"/>
                  <a:pt x="191" y="218"/>
                </a:cubicBezTo>
                <a:cubicBezTo>
                  <a:pt x="190" y="218"/>
                  <a:pt x="190" y="218"/>
                  <a:pt x="190" y="218"/>
                </a:cubicBezTo>
                <a:cubicBezTo>
                  <a:pt x="189" y="217"/>
                  <a:pt x="189" y="217"/>
                  <a:pt x="189" y="217"/>
                </a:cubicBezTo>
                <a:cubicBezTo>
                  <a:pt x="188" y="218"/>
                  <a:pt x="188" y="218"/>
                  <a:pt x="188" y="218"/>
                </a:cubicBezTo>
                <a:cubicBezTo>
                  <a:pt x="188" y="216"/>
                  <a:pt x="188" y="216"/>
                  <a:pt x="188" y="216"/>
                </a:cubicBezTo>
                <a:cubicBezTo>
                  <a:pt x="187" y="215"/>
                  <a:pt x="187" y="215"/>
                  <a:pt x="187" y="215"/>
                </a:cubicBezTo>
                <a:cubicBezTo>
                  <a:pt x="186" y="212"/>
                  <a:pt x="186" y="212"/>
                  <a:pt x="186" y="212"/>
                </a:cubicBezTo>
                <a:cubicBezTo>
                  <a:pt x="186" y="211"/>
                  <a:pt x="186" y="211"/>
                  <a:pt x="186" y="211"/>
                </a:cubicBezTo>
                <a:cubicBezTo>
                  <a:pt x="187" y="212"/>
                  <a:pt x="187" y="212"/>
                  <a:pt x="187" y="212"/>
                </a:cubicBezTo>
                <a:cubicBezTo>
                  <a:pt x="188" y="211"/>
                  <a:pt x="188" y="211"/>
                  <a:pt x="188" y="211"/>
                </a:cubicBezTo>
                <a:cubicBezTo>
                  <a:pt x="188" y="210"/>
                  <a:pt x="188" y="210"/>
                  <a:pt x="188" y="210"/>
                </a:cubicBezTo>
                <a:cubicBezTo>
                  <a:pt x="186" y="208"/>
                  <a:pt x="186" y="208"/>
                  <a:pt x="186" y="208"/>
                </a:cubicBezTo>
                <a:cubicBezTo>
                  <a:pt x="186" y="207"/>
                  <a:pt x="186" y="207"/>
                  <a:pt x="186" y="207"/>
                </a:cubicBezTo>
                <a:cubicBezTo>
                  <a:pt x="186" y="206"/>
                  <a:pt x="186" y="206"/>
                  <a:pt x="186" y="206"/>
                </a:cubicBezTo>
                <a:cubicBezTo>
                  <a:pt x="187" y="206"/>
                  <a:pt x="187" y="206"/>
                  <a:pt x="187" y="206"/>
                </a:cubicBezTo>
                <a:cubicBezTo>
                  <a:pt x="186" y="205"/>
                  <a:pt x="186" y="205"/>
                  <a:pt x="186" y="205"/>
                </a:cubicBezTo>
                <a:cubicBezTo>
                  <a:pt x="185" y="205"/>
                  <a:pt x="185" y="205"/>
                  <a:pt x="185" y="205"/>
                </a:cubicBezTo>
                <a:cubicBezTo>
                  <a:pt x="184" y="202"/>
                  <a:pt x="184" y="202"/>
                  <a:pt x="184" y="202"/>
                </a:cubicBezTo>
                <a:cubicBezTo>
                  <a:pt x="183" y="202"/>
                  <a:pt x="183" y="202"/>
                  <a:pt x="183" y="202"/>
                </a:cubicBezTo>
                <a:cubicBezTo>
                  <a:pt x="182" y="202"/>
                  <a:pt x="182" y="202"/>
                  <a:pt x="182" y="202"/>
                </a:cubicBezTo>
                <a:cubicBezTo>
                  <a:pt x="181" y="201"/>
                  <a:pt x="181" y="201"/>
                  <a:pt x="181" y="201"/>
                </a:cubicBezTo>
                <a:cubicBezTo>
                  <a:pt x="181" y="199"/>
                  <a:pt x="181" y="199"/>
                  <a:pt x="181" y="199"/>
                </a:cubicBezTo>
                <a:cubicBezTo>
                  <a:pt x="182" y="198"/>
                  <a:pt x="182" y="198"/>
                  <a:pt x="182" y="198"/>
                </a:cubicBezTo>
                <a:cubicBezTo>
                  <a:pt x="181" y="196"/>
                  <a:pt x="181" y="196"/>
                  <a:pt x="181" y="196"/>
                </a:cubicBezTo>
                <a:cubicBezTo>
                  <a:pt x="181" y="195"/>
                  <a:pt x="181" y="195"/>
                  <a:pt x="181" y="195"/>
                </a:cubicBezTo>
                <a:cubicBezTo>
                  <a:pt x="181" y="195"/>
                  <a:pt x="181" y="195"/>
                  <a:pt x="181" y="195"/>
                </a:cubicBezTo>
                <a:cubicBezTo>
                  <a:pt x="184" y="191"/>
                  <a:pt x="184" y="191"/>
                  <a:pt x="184" y="191"/>
                </a:cubicBezTo>
                <a:cubicBezTo>
                  <a:pt x="185" y="190"/>
                  <a:pt x="185" y="190"/>
                  <a:pt x="185" y="190"/>
                </a:cubicBezTo>
                <a:cubicBezTo>
                  <a:pt x="185" y="190"/>
                  <a:pt x="185" y="190"/>
                  <a:pt x="185" y="190"/>
                </a:cubicBezTo>
                <a:cubicBezTo>
                  <a:pt x="185" y="188"/>
                  <a:pt x="185" y="188"/>
                  <a:pt x="185" y="188"/>
                </a:cubicBezTo>
                <a:cubicBezTo>
                  <a:pt x="185" y="187"/>
                  <a:pt x="185" y="187"/>
                  <a:pt x="185" y="187"/>
                </a:cubicBezTo>
                <a:cubicBezTo>
                  <a:pt x="186" y="185"/>
                  <a:pt x="186" y="185"/>
                  <a:pt x="186" y="185"/>
                </a:cubicBezTo>
                <a:cubicBezTo>
                  <a:pt x="185" y="184"/>
                  <a:pt x="185" y="184"/>
                  <a:pt x="185" y="184"/>
                </a:cubicBezTo>
                <a:cubicBezTo>
                  <a:pt x="184" y="182"/>
                  <a:pt x="184" y="182"/>
                  <a:pt x="184" y="182"/>
                </a:cubicBezTo>
                <a:cubicBezTo>
                  <a:pt x="185" y="181"/>
                  <a:pt x="185" y="181"/>
                  <a:pt x="185" y="181"/>
                </a:cubicBezTo>
                <a:cubicBezTo>
                  <a:pt x="184" y="180"/>
                  <a:pt x="184" y="180"/>
                  <a:pt x="184" y="180"/>
                </a:cubicBezTo>
                <a:cubicBezTo>
                  <a:pt x="185" y="178"/>
                  <a:pt x="185" y="178"/>
                  <a:pt x="185" y="178"/>
                </a:cubicBezTo>
                <a:cubicBezTo>
                  <a:pt x="184" y="178"/>
                  <a:pt x="184" y="178"/>
                  <a:pt x="184" y="178"/>
                </a:cubicBezTo>
                <a:cubicBezTo>
                  <a:pt x="184" y="175"/>
                  <a:pt x="184" y="175"/>
                  <a:pt x="184" y="175"/>
                </a:cubicBezTo>
                <a:cubicBezTo>
                  <a:pt x="185" y="175"/>
                  <a:pt x="185" y="175"/>
                  <a:pt x="185" y="175"/>
                </a:cubicBezTo>
                <a:cubicBezTo>
                  <a:pt x="184" y="173"/>
                  <a:pt x="184" y="173"/>
                  <a:pt x="184" y="173"/>
                </a:cubicBezTo>
                <a:cubicBezTo>
                  <a:pt x="184" y="171"/>
                  <a:pt x="184" y="171"/>
                  <a:pt x="184" y="171"/>
                </a:cubicBezTo>
                <a:cubicBezTo>
                  <a:pt x="184" y="169"/>
                  <a:pt x="184" y="169"/>
                  <a:pt x="184" y="169"/>
                </a:cubicBezTo>
                <a:cubicBezTo>
                  <a:pt x="185" y="168"/>
                  <a:pt x="185" y="168"/>
                  <a:pt x="185" y="168"/>
                </a:cubicBezTo>
                <a:cubicBezTo>
                  <a:pt x="186" y="169"/>
                  <a:pt x="186" y="169"/>
                  <a:pt x="186" y="169"/>
                </a:cubicBezTo>
                <a:cubicBezTo>
                  <a:pt x="186" y="169"/>
                  <a:pt x="186" y="169"/>
                  <a:pt x="186" y="169"/>
                </a:cubicBezTo>
                <a:cubicBezTo>
                  <a:pt x="186" y="170"/>
                  <a:pt x="186" y="170"/>
                  <a:pt x="186" y="170"/>
                </a:cubicBezTo>
                <a:cubicBezTo>
                  <a:pt x="187" y="169"/>
                  <a:pt x="187" y="169"/>
                  <a:pt x="187" y="169"/>
                </a:cubicBezTo>
                <a:cubicBezTo>
                  <a:pt x="189" y="169"/>
                  <a:pt x="189" y="169"/>
                  <a:pt x="189" y="169"/>
                </a:cubicBezTo>
                <a:cubicBezTo>
                  <a:pt x="191" y="169"/>
                  <a:pt x="191" y="169"/>
                  <a:pt x="191" y="169"/>
                </a:cubicBezTo>
                <a:cubicBezTo>
                  <a:pt x="192" y="169"/>
                  <a:pt x="192" y="169"/>
                  <a:pt x="192" y="169"/>
                </a:cubicBezTo>
                <a:cubicBezTo>
                  <a:pt x="193" y="169"/>
                  <a:pt x="193" y="169"/>
                  <a:pt x="193" y="169"/>
                </a:cubicBezTo>
                <a:cubicBezTo>
                  <a:pt x="194" y="168"/>
                  <a:pt x="194" y="168"/>
                  <a:pt x="194" y="168"/>
                </a:cubicBezTo>
                <a:cubicBezTo>
                  <a:pt x="195" y="169"/>
                  <a:pt x="195" y="169"/>
                  <a:pt x="195" y="169"/>
                </a:cubicBezTo>
                <a:cubicBezTo>
                  <a:pt x="199" y="170"/>
                  <a:pt x="199" y="170"/>
                  <a:pt x="199" y="170"/>
                </a:cubicBezTo>
                <a:cubicBezTo>
                  <a:pt x="201" y="170"/>
                  <a:pt x="201" y="170"/>
                  <a:pt x="201" y="170"/>
                </a:cubicBezTo>
                <a:cubicBezTo>
                  <a:pt x="202" y="170"/>
                  <a:pt x="202" y="170"/>
                  <a:pt x="202" y="170"/>
                </a:cubicBezTo>
                <a:cubicBezTo>
                  <a:pt x="202" y="172"/>
                  <a:pt x="202" y="172"/>
                  <a:pt x="202" y="172"/>
                </a:cubicBezTo>
                <a:cubicBezTo>
                  <a:pt x="201" y="172"/>
                  <a:pt x="201" y="172"/>
                  <a:pt x="201" y="172"/>
                </a:cubicBezTo>
                <a:cubicBezTo>
                  <a:pt x="202" y="173"/>
                  <a:pt x="202" y="173"/>
                  <a:pt x="202" y="173"/>
                </a:cubicBezTo>
                <a:cubicBezTo>
                  <a:pt x="202" y="175"/>
                  <a:pt x="202" y="175"/>
                  <a:pt x="202" y="175"/>
                </a:cubicBezTo>
                <a:cubicBezTo>
                  <a:pt x="203" y="176"/>
                  <a:pt x="203" y="176"/>
                  <a:pt x="203" y="176"/>
                </a:cubicBezTo>
                <a:cubicBezTo>
                  <a:pt x="203" y="178"/>
                  <a:pt x="203" y="178"/>
                  <a:pt x="203" y="178"/>
                </a:cubicBezTo>
                <a:cubicBezTo>
                  <a:pt x="204" y="180"/>
                  <a:pt x="204" y="180"/>
                  <a:pt x="204" y="180"/>
                </a:cubicBezTo>
                <a:cubicBezTo>
                  <a:pt x="203" y="183"/>
                  <a:pt x="203" y="183"/>
                  <a:pt x="203" y="183"/>
                </a:cubicBezTo>
                <a:cubicBezTo>
                  <a:pt x="204" y="184"/>
                  <a:pt x="204" y="184"/>
                  <a:pt x="204" y="184"/>
                </a:cubicBezTo>
                <a:cubicBezTo>
                  <a:pt x="203" y="185"/>
                  <a:pt x="203" y="185"/>
                  <a:pt x="203" y="185"/>
                </a:cubicBezTo>
                <a:cubicBezTo>
                  <a:pt x="204" y="186"/>
                  <a:pt x="204" y="186"/>
                  <a:pt x="204" y="186"/>
                </a:cubicBezTo>
                <a:cubicBezTo>
                  <a:pt x="204" y="187"/>
                  <a:pt x="204" y="187"/>
                  <a:pt x="204" y="187"/>
                </a:cubicBezTo>
                <a:cubicBezTo>
                  <a:pt x="203" y="188"/>
                  <a:pt x="203" y="188"/>
                  <a:pt x="203" y="188"/>
                </a:cubicBezTo>
                <a:cubicBezTo>
                  <a:pt x="203" y="189"/>
                  <a:pt x="203" y="189"/>
                  <a:pt x="203" y="189"/>
                </a:cubicBezTo>
                <a:cubicBezTo>
                  <a:pt x="205" y="190"/>
                  <a:pt x="205" y="190"/>
                  <a:pt x="205" y="190"/>
                </a:cubicBezTo>
                <a:cubicBezTo>
                  <a:pt x="206" y="192"/>
                  <a:pt x="206" y="192"/>
                  <a:pt x="206" y="192"/>
                </a:cubicBezTo>
                <a:cubicBezTo>
                  <a:pt x="207" y="192"/>
                  <a:pt x="207" y="192"/>
                  <a:pt x="207" y="192"/>
                </a:cubicBezTo>
                <a:cubicBezTo>
                  <a:pt x="207" y="193"/>
                  <a:pt x="207" y="193"/>
                  <a:pt x="207" y="193"/>
                </a:cubicBezTo>
                <a:cubicBezTo>
                  <a:pt x="208" y="192"/>
                  <a:pt x="208" y="192"/>
                  <a:pt x="208" y="192"/>
                </a:cubicBezTo>
                <a:cubicBezTo>
                  <a:pt x="209" y="193"/>
                  <a:pt x="209" y="193"/>
                  <a:pt x="209" y="193"/>
                </a:cubicBezTo>
                <a:cubicBezTo>
                  <a:pt x="209" y="195"/>
                  <a:pt x="209" y="195"/>
                  <a:pt x="209" y="195"/>
                </a:cubicBezTo>
                <a:cubicBezTo>
                  <a:pt x="211" y="196"/>
                  <a:pt x="211" y="196"/>
                  <a:pt x="211" y="196"/>
                </a:cubicBezTo>
                <a:cubicBezTo>
                  <a:pt x="212" y="198"/>
                  <a:pt x="212" y="198"/>
                  <a:pt x="212" y="198"/>
                </a:cubicBezTo>
                <a:cubicBezTo>
                  <a:pt x="212" y="202"/>
                  <a:pt x="212" y="202"/>
                  <a:pt x="212" y="202"/>
                </a:cubicBezTo>
                <a:cubicBezTo>
                  <a:pt x="213" y="203"/>
                  <a:pt x="213" y="203"/>
                  <a:pt x="213" y="203"/>
                </a:cubicBezTo>
                <a:cubicBezTo>
                  <a:pt x="213" y="203"/>
                  <a:pt x="213" y="203"/>
                  <a:pt x="213" y="203"/>
                </a:cubicBezTo>
                <a:cubicBezTo>
                  <a:pt x="213" y="204"/>
                  <a:pt x="213" y="204"/>
                  <a:pt x="213" y="204"/>
                </a:cubicBezTo>
                <a:cubicBezTo>
                  <a:pt x="214" y="206"/>
                  <a:pt x="214" y="206"/>
                  <a:pt x="214" y="206"/>
                </a:cubicBezTo>
                <a:cubicBezTo>
                  <a:pt x="214" y="208"/>
                  <a:pt x="214" y="208"/>
                  <a:pt x="214" y="208"/>
                </a:cubicBezTo>
                <a:cubicBezTo>
                  <a:pt x="216" y="211"/>
                  <a:pt x="216" y="211"/>
                  <a:pt x="216" y="211"/>
                </a:cubicBezTo>
                <a:cubicBezTo>
                  <a:pt x="215" y="212"/>
                  <a:pt x="215" y="212"/>
                  <a:pt x="215" y="212"/>
                </a:cubicBezTo>
                <a:cubicBezTo>
                  <a:pt x="216" y="214"/>
                  <a:pt x="216" y="214"/>
                  <a:pt x="216" y="214"/>
                </a:cubicBezTo>
                <a:cubicBezTo>
                  <a:pt x="218" y="214"/>
                  <a:pt x="218" y="214"/>
                  <a:pt x="218" y="214"/>
                </a:cubicBezTo>
                <a:cubicBezTo>
                  <a:pt x="217" y="216"/>
                  <a:pt x="217" y="216"/>
                  <a:pt x="217" y="216"/>
                </a:cubicBezTo>
                <a:cubicBezTo>
                  <a:pt x="218" y="216"/>
                  <a:pt x="218" y="216"/>
                  <a:pt x="218" y="216"/>
                </a:cubicBezTo>
                <a:cubicBezTo>
                  <a:pt x="218" y="219"/>
                  <a:pt x="218" y="219"/>
                  <a:pt x="218" y="219"/>
                </a:cubicBezTo>
                <a:cubicBezTo>
                  <a:pt x="221" y="222"/>
                  <a:pt x="221" y="222"/>
                  <a:pt x="221" y="222"/>
                </a:cubicBezTo>
                <a:cubicBezTo>
                  <a:pt x="223" y="223"/>
                  <a:pt x="223" y="223"/>
                  <a:pt x="223" y="223"/>
                </a:cubicBezTo>
                <a:cubicBezTo>
                  <a:pt x="223" y="224"/>
                  <a:pt x="223" y="224"/>
                  <a:pt x="223" y="224"/>
                </a:cubicBezTo>
                <a:cubicBezTo>
                  <a:pt x="224" y="224"/>
                  <a:pt x="224" y="224"/>
                  <a:pt x="224" y="224"/>
                </a:cubicBezTo>
                <a:cubicBezTo>
                  <a:pt x="226" y="226"/>
                  <a:pt x="226" y="226"/>
                  <a:pt x="226" y="226"/>
                </a:cubicBezTo>
                <a:cubicBezTo>
                  <a:pt x="226" y="227"/>
                  <a:pt x="226" y="227"/>
                  <a:pt x="226" y="227"/>
                </a:cubicBezTo>
                <a:cubicBezTo>
                  <a:pt x="226" y="227"/>
                  <a:pt x="226" y="227"/>
                  <a:pt x="226" y="227"/>
                </a:cubicBezTo>
                <a:cubicBezTo>
                  <a:pt x="226" y="228"/>
                  <a:pt x="226" y="228"/>
                  <a:pt x="226" y="228"/>
                </a:cubicBezTo>
                <a:cubicBezTo>
                  <a:pt x="225" y="230"/>
                  <a:pt x="225" y="230"/>
                  <a:pt x="225" y="230"/>
                </a:cubicBezTo>
                <a:cubicBezTo>
                  <a:pt x="226" y="232"/>
                  <a:pt x="226" y="232"/>
                  <a:pt x="226" y="232"/>
                </a:cubicBezTo>
                <a:cubicBezTo>
                  <a:pt x="228" y="233"/>
                  <a:pt x="228" y="233"/>
                  <a:pt x="228" y="233"/>
                </a:cubicBezTo>
                <a:cubicBezTo>
                  <a:pt x="228" y="235"/>
                  <a:pt x="228" y="235"/>
                  <a:pt x="228" y="235"/>
                </a:cubicBezTo>
                <a:cubicBezTo>
                  <a:pt x="227" y="236"/>
                  <a:pt x="227" y="236"/>
                  <a:pt x="227" y="236"/>
                </a:cubicBezTo>
                <a:cubicBezTo>
                  <a:pt x="227" y="237"/>
                  <a:pt x="227" y="237"/>
                  <a:pt x="227" y="237"/>
                </a:cubicBezTo>
                <a:cubicBezTo>
                  <a:pt x="226" y="238"/>
                  <a:pt x="226" y="238"/>
                  <a:pt x="226" y="238"/>
                </a:cubicBezTo>
                <a:cubicBezTo>
                  <a:pt x="226" y="239"/>
                  <a:pt x="226" y="239"/>
                  <a:pt x="226" y="239"/>
                </a:cubicBezTo>
                <a:cubicBezTo>
                  <a:pt x="226" y="241"/>
                  <a:pt x="226" y="241"/>
                  <a:pt x="226" y="241"/>
                </a:cubicBezTo>
                <a:cubicBezTo>
                  <a:pt x="225" y="242"/>
                  <a:pt x="225" y="242"/>
                  <a:pt x="225" y="242"/>
                </a:cubicBezTo>
                <a:cubicBezTo>
                  <a:pt x="225" y="243"/>
                  <a:pt x="225" y="243"/>
                  <a:pt x="225" y="243"/>
                </a:cubicBezTo>
                <a:cubicBezTo>
                  <a:pt x="226" y="242"/>
                  <a:pt x="226" y="242"/>
                  <a:pt x="226" y="242"/>
                </a:cubicBezTo>
                <a:cubicBezTo>
                  <a:pt x="226" y="243"/>
                  <a:pt x="226" y="243"/>
                  <a:pt x="226" y="243"/>
                </a:cubicBezTo>
                <a:cubicBezTo>
                  <a:pt x="225" y="244"/>
                  <a:pt x="225" y="244"/>
                  <a:pt x="225" y="244"/>
                </a:cubicBezTo>
                <a:cubicBezTo>
                  <a:pt x="225" y="247"/>
                  <a:pt x="225" y="247"/>
                  <a:pt x="225" y="247"/>
                </a:cubicBezTo>
                <a:cubicBezTo>
                  <a:pt x="224" y="247"/>
                  <a:pt x="224" y="247"/>
                  <a:pt x="224" y="247"/>
                </a:cubicBezTo>
                <a:cubicBezTo>
                  <a:pt x="223" y="247"/>
                  <a:pt x="223" y="247"/>
                  <a:pt x="223" y="247"/>
                </a:cubicBezTo>
                <a:cubicBezTo>
                  <a:pt x="223" y="248"/>
                  <a:pt x="223" y="248"/>
                  <a:pt x="223" y="248"/>
                </a:cubicBezTo>
                <a:cubicBezTo>
                  <a:pt x="224" y="249"/>
                  <a:pt x="224" y="249"/>
                  <a:pt x="224" y="249"/>
                </a:cubicBezTo>
                <a:cubicBezTo>
                  <a:pt x="224" y="250"/>
                  <a:pt x="224" y="250"/>
                  <a:pt x="224" y="250"/>
                </a:cubicBezTo>
                <a:cubicBezTo>
                  <a:pt x="223" y="251"/>
                  <a:pt x="223" y="251"/>
                  <a:pt x="223" y="251"/>
                </a:cubicBezTo>
                <a:cubicBezTo>
                  <a:pt x="222" y="252"/>
                  <a:pt x="222" y="252"/>
                  <a:pt x="222" y="252"/>
                </a:cubicBezTo>
                <a:cubicBezTo>
                  <a:pt x="219" y="252"/>
                  <a:pt x="219" y="252"/>
                  <a:pt x="219" y="252"/>
                </a:cubicBezTo>
                <a:cubicBezTo>
                  <a:pt x="218" y="251"/>
                  <a:pt x="218" y="251"/>
                  <a:pt x="218" y="251"/>
                </a:cubicBezTo>
                <a:cubicBezTo>
                  <a:pt x="220" y="250"/>
                  <a:pt x="220" y="250"/>
                  <a:pt x="220" y="250"/>
                </a:cubicBezTo>
                <a:cubicBezTo>
                  <a:pt x="220" y="249"/>
                  <a:pt x="220" y="249"/>
                  <a:pt x="220" y="249"/>
                </a:cubicBezTo>
                <a:cubicBezTo>
                  <a:pt x="219" y="249"/>
                  <a:pt x="219" y="249"/>
                  <a:pt x="219" y="249"/>
                </a:cubicBezTo>
                <a:cubicBezTo>
                  <a:pt x="219" y="250"/>
                  <a:pt x="219" y="250"/>
                  <a:pt x="219" y="250"/>
                </a:cubicBezTo>
                <a:cubicBezTo>
                  <a:pt x="218" y="250"/>
                  <a:pt x="218" y="250"/>
                  <a:pt x="218" y="250"/>
                </a:cubicBezTo>
                <a:cubicBezTo>
                  <a:pt x="215" y="248"/>
                  <a:pt x="215" y="248"/>
                  <a:pt x="215" y="248"/>
                </a:cubicBezTo>
                <a:cubicBezTo>
                  <a:pt x="214" y="249"/>
                  <a:pt x="214" y="249"/>
                  <a:pt x="214" y="249"/>
                </a:cubicBezTo>
                <a:cubicBezTo>
                  <a:pt x="211" y="250"/>
                  <a:pt x="211" y="250"/>
                  <a:pt x="211" y="250"/>
                </a:cubicBezTo>
                <a:cubicBezTo>
                  <a:pt x="209" y="250"/>
                  <a:pt x="209" y="250"/>
                  <a:pt x="209" y="250"/>
                </a:cubicBezTo>
                <a:cubicBezTo>
                  <a:pt x="208" y="251"/>
                  <a:pt x="208" y="251"/>
                  <a:pt x="208" y="251"/>
                </a:cubicBezTo>
                <a:cubicBezTo>
                  <a:pt x="209" y="251"/>
                  <a:pt x="209" y="251"/>
                  <a:pt x="209" y="251"/>
                </a:cubicBezTo>
                <a:cubicBezTo>
                  <a:pt x="209" y="252"/>
                  <a:pt x="209" y="252"/>
                  <a:pt x="209" y="252"/>
                </a:cubicBezTo>
                <a:cubicBezTo>
                  <a:pt x="210" y="251"/>
                  <a:pt x="210" y="251"/>
                  <a:pt x="210" y="251"/>
                </a:cubicBezTo>
                <a:cubicBezTo>
                  <a:pt x="212" y="250"/>
                  <a:pt x="212" y="250"/>
                  <a:pt x="212" y="250"/>
                </a:cubicBezTo>
                <a:cubicBezTo>
                  <a:pt x="212" y="252"/>
                  <a:pt x="212" y="252"/>
                  <a:pt x="212" y="252"/>
                </a:cubicBezTo>
                <a:cubicBezTo>
                  <a:pt x="214" y="253"/>
                  <a:pt x="214" y="253"/>
                  <a:pt x="214" y="253"/>
                </a:cubicBezTo>
                <a:cubicBezTo>
                  <a:pt x="219" y="254"/>
                  <a:pt x="219" y="254"/>
                  <a:pt x="219" y="254"/>
                </a:cubicBezTo>
                <a:cubicBezTo>
                  <a:pt x="221" y="255"/>
                  <a:pt x="221" y="255"/>
                  <a:pt x="221" y="255"/>
                </a:cubicBezTo>
                <a:cubicBezTo>
                  <a:pt x="223" y="254"/>
                  <a:pt x="223" y="254"/>
                  <a:pt x="223" y="254"/>
                </a:cubicBezTo>
                <a:cubicBezTo>
                  <a:pt x="225" y="254"/>
                  <a:pt x="225" y="254"/>
                  <a:pt x="225" y="254"/>
                </a:cubicBezTo>
                <a:cubicBezTo>
                  <a:pt x="226" y="255"/>
                  <a:pt x="226" y="255"/>
                  <a:pt x="226" y="255"/>
                </a:cubicBezTo>
                <a:cubicBezTo>
                  <a:pt x="228" y="255"/>
                  <a:pt x="228" y="255"/>
                  <a:pt x="228" y="255"/>
                </a:cubicBezTo>
                <a:cubicBezTo>
                  <a:pt x="230" y="254"/>
                  <a:pt x="230" y="254"/>
                  <a:pt x="230" y="254"/>
                </a:cubicBezTo>
                <a:cubicBezTo>
                  <a:pt x="230" y="253"/>
                  <a:pt x="230" y="253"/>
                  <a:pt x="230" y="253"/>
                </a:cubicBezTo>
                <a:cubicBezTo>
                  <a:pt x="229" y="252"/>
                  <a:pt x="229" y="252"/>
                  <a:pt x="229" y="252"/>
                </a:cubicBezTo>
                <a:cubicBezTo>
                  <a:pt x="229" y="250"/>
                  <a:pt x="229" y="250"/>
                  <a:pt x="229" y="250"/>
                </a:cubicBezTo>
                <a:cubicBezTo>
                  <a:pt x="230" y="249"/>
                  <a:pt x="230" y="249"/>
                  <a:pt x="230" y="249"/>
                </a:cubicBezTo>
                <a:cubicBezTo>
                  <a:pt x="231" y="249"/>
                  <a:pt x="231" y="249"/>
                  <a:pt x="231" y="249"/>
                </a:cubicBezTo>
                <a:cubicBezTo>
                  <a:pt x="231" y="248"/>
                  <a:pt x="231" y="248"/>
                  <a:pt x="231" y="248"/>
                </a:cubicBezTo>
                <a:cubicBezTo>
                  <a:pt x="233" y="246"/>
                  <a:pt x="233" y="246"/>
                  <a:pt x="233" y="246"/>
                </a:cubicBezTo>
                <a:cubicBezTo>
                  <a:pt x="233" y="245"/>
                  <a:pt x="233" y="245"/>
                  <a:pt x="233" y="245"/>
                </a:cubicBezTo>
                <a:cubicBezTo>
                  <a:pt x="234" y="242"/>
                  <a:pt x="234" y="242"/>
                  <a:pt x="234" y="242"/>
                </a:cubicBezTo>
                <a:cubicBezTo>
                  <a:pt x="233" y="240"/>
                  <a:pt x="233" y="240"/>
                  <a:pt x="233" y="240"/>
                </a:cubicBezTo>
                <a:cubicBezTo>
                  <a:pt x="233" y="238"/>
                  <a:pt x="233" y="238"/>
                  <a:pt x="233" y="238"/>
                </a:cubicBezTo>
                <a:cubicBezTo>
                  <a:pt x="235" y="235"/>
                  <a:pt x="235" y="235"/>
                  <a:pt x="235" y="235"/>
                </a:cubicBezTo>
                <a:cubicBezTo>
                  <a:pt x="236" y="234"/>
                  <a:pt x="236" y="234"/>
                  <a:pt x="236" y="234"/>
                </a:cubicBezTo>
                <a:cubicBezTo>
                  <a:pt x="234" y="229"/>
                  <a:pt x="234" y="229"/>
                  <a:pt x="234" y="229"/>
                </a:cubicBezTo>
                <a:cubicBezTo>
                  <a:pt x="231" y="227"/>
                  <a:pt x="231" y="227"/>
                  <a:pt x="231" y="227"/>
                </a:cubicBezTo>
                <a:cubicBezTo>
                  <a:pt x="230" y="226"/>
                  <a:pt x="230" y="226"/>
                  <a:pt x="230" y="226"/>
                </a:cubicBezTo>
                <a:cubicBezTo>
                  <a:pt x="230" y="223"/>
                  <a:pt x="230" y="223"/>
                  <a:pt x="230" y="223"/>
                </a:cubicBezTo>
                <a:cubicBezTo>
                  <a:pt x="232" y="221"/>
                  <a:pt x="232" y="221"/>
                  <a:pt x="232" y="221"/>
                </a:cubicBezTo>
                <a:cubicBezTo>
                  <a:pt x="233" y="220"/>
                  <a:pt x="233" y="220"/>
                  <a:pt x="233" y="220"/>
                </a:cubicBezTo>
                <a:cubicBezTo>
                  <a:pt x="235" y="220"/>
                  <a:pt x="235" y="220"/>
                  <a:pt x="235" y="220"/>
                </a:cubicBezTo>
                <a:cubicBezTo>
                  <a:pt x="237" y="217"/>
                  <a:pt x="237" y="217"/>
                  <a:pt x="237" y="217"/>
                </a:cubicBezTo>
                <a:cubicBezTo>
                  <a:pt x="239" y="217"/>
                  <a:pt x="239" y="217"/>
                  <a:pt x="239" y="217"/>
                </a:cubicBezTo>
                <a:cubicBezTo>
                  <a:pt x="241" y="219"/>
                  <a:pt x="241" y="219"/>
                  <a:pt x="241" y="219"/>
                </a:cubicBezTo>
                <a:cubicBezTo>
                  <a:pt x="241" y="221"/>
                  <a:pt x="241" y="221"/>
                  <a:pt x="241" y="221"/>
                </a:cubicBezTo>
                <a:cubicBezTo>
                  <a:pt x="243" y="222"/>
                  <a:pt x="243" y="222"/>
                  <a:pt x="243" y="222"/>
                </a:cubicBezTo>
                <a:cubicBezTo>
                  <a:pt x="244" y="223"/>
                  <a:pt x="244" y="223"/>
                  <a:pt x="244" y="223"/>
                </a:cubicBezTo>
                <a:cubicBezTo>
                  <a:pt x="244" y="223"/>
                  <a:pt x="244" y="223"/>
                  <a:pt x="244" y="223"/>
                </a:cubicBezTo>
                <a:cubicBezTo>
                  <a:pt x="246" y="224"/>
                  <a:pt x="246" y="224"/>
                  <a:pt x="246" y="224"/>
                </a:cubicBezTo>
                <a:cubicBezTo>
                  <a:pt x="245" y="226"/>
                  <a:pt x="245" y="226"/>
                  <a:pt x="245" y="226"/>
                </a:cubicBezTo>
                <a:cubicBezTo>
                  <a:pt x="247" y="227"/>
                  <a:pt x="247" y="227"/>
                  <a:pt x="247" y="227"/>
                </a:cubicBezTo>
                <a:cubicBezTo>
                  <a:pt x="247" y="228"/>
                  <a:pt x="247" y="228"/>
                  <a:pt x="247" y="228"/>
                </a:cubicBezTo>
                <a:cubicBezTo>
                  <a:pt x="248" y="230"/>
                  <a:pt x="248" y="230"/>
                  <a:pt x="248" y="230"/>
                </a:cubicBezTo>
                <a:cubicBezTo>
                  <a:pt x="248" y="231"/>
                  <a:pt x="248" y="231"/>
                  <a:pt x="248" y="231"/>
                </a:cubicBezTo>
                <a:cubicBezTo>
                  <a:pt x="248" y="232"/>
                  <a:pt x="248" y="232"/>
                  <a:pt x="248" y="232"/>
                </a:cubicBezTo>
                <a:cubicBezTo>
                  <a:pt x="249" y="233"/>
                  <a:pt x="249" y="233"/>
                  <a:pt x="249" y="233"/>
                </a:cubicBezTo>
                <a:cubicBezTo>
                  <a:pt x="250" y="233"/>
                  <a:pt x="250" y="233"/>
                  <a:pt x="250" y="233"/>
                </a:cubicBezTo>
                <a:cubicBezTo>
                  <a:pt x="252" y="234"/>
                  <a:pt x="252" y="234"/>
                  <a:pt x="252" y="234"/>
                </a:cubicBezTo>
                <a:cubicBezTo>
                  <a:pt x="254" y="234"/>
                  <a:pt x="254" y="234"/>
                  <a:pt x="254" y="234"/>
                </a:cubicBezTo>
                <a:cubicBezTo>
                  <a:pt x="255" y="234"/>
                  <a:pt x="255" y="234"/>
                  <a:pt x="255" y="234"/>
                </a:cubicBezTo>
                <a:cubicBezTo>
                  <a:pt x="256" y="234"/>
                  <a:pt x="256" y="234"/>
                  <a:pt x="256" y="234"/>
                </a:cubicBezTo>
                <a:cubicBezTo>
                  <a:pt x="257" y="233"/>
                  <a:pt x="257" y="233"/>
                  <a:pt x="257" y="233"/>
                </a:cubicBezTo>
                <a:cubicBezTo>
                  <a:pt x="258" y="232"/>
                  <a:pt x="258" y="232"/>
                  <a:pt x="258" y="232"/>
                </a:cubicBezTo>
                <a:cubicBezTo>
                  <a:pt x="257" y="232"/>
                  <a:pt x="257" y="232"/>
                  <a:pt x="257" y="232"/>
                </a:cubicBezTo>
                <a:cubicBezTo>
                  <a:pt x="256" y="232"/>
                  <a:pt x="256" y="232"/>
                  <a:pt x="256" y="232"/>
                </a:cubicBezTo>
                <a:cubicBezTo>
                  <a:pt x="255" y="231"/>
                  <a:pt x="255" y="231"/>
                  <a:pt x="255" y="231"/>
                </a:cubicBezTo>
                <a:cubicBezTo>
                  <a:pt x="254" y="233"/>
                  <a:pt x="254" y="233"/>
                  <a:pt x="254" y="233"/>
                </a:cubicBezTo>
                <a:cubicBezTo>
                  <a:pt x="252" y="233"/>
                  <a:pt x="252" y="233"/>
                  <a:pt x="252" y="233"/>
                </a:cubicBezTo>
                <a:cubicBezTo>
                  <a:pt x="252" y="232"/>
                  <a:pt x="252" y="232"/>
                  <a:pt x="252" y="232"/>
                </a:cubicBezTo>
                <a:cubicBezTo>
                  <a:pt x="250" y="232"/>
                  <a:pt x="250" y="232"/>
                  <a:pt x="250" y="232"/>
                </a:cubicBezTo>
                <a:cubicBezTo>
                  <a:pt x="249" y="231"/>
                  <a:pt x="249" y="231"/>
                  <a:pt x="249" y="231"/>
                </a:cubicBezTo>
                <a:cubicBezTo>
                  <a:pt x="250" y="230"/>
                  <a:pt x="250" y="230"/>
                  <a:pt x="250" y="230"/>
                </a:cubicBezTo>
                <a:cubicBezTo>
                  <a:pt x="249" y="229"/>
                  <a:pt x="249" y="229"/>
                  <a:pt x="249" y="229"/>
                </a:cubicBezTo>
                <a:cubicBezTo>
                  <a:pt x="248" y="228"/>
                  <a:pt x="248" y="228"/>
                  <a:pt x="248" y="228"/>
                </a:cubicBezTo>
                <a:cubicBezTo>
                  <a:pt x="248" y="225"/>
                  <a:pt x="248" y="225"/>
                  <a:pt x="248" y="225"/>
                </a:cubicBezTo>
                <a:cubicBezTo>
                  <a:pt x="250" y="225"/>
                  <a:pt x="250" y="225"/>
                  <a:pt x="250" y="225"/>
                </a:cubicBezTo>
                <a:cubicBezTo>
                  <a:pt x="251" y="224"/>
                  <a:pt x="251" y="224"/>
                  <a:pt x="251" y="224"/>
                </a:cubicBezTo>
                <a:cubicBezTo>
                  <a:pt x="250" y="224"/>
                  <a:pt x="250" y="224"/>
                  <a:pt x="250" y="224"/>
                </a:cubicBezTo>
                <a:cubicBezTo>
                  <a:pt x="249" y="223"/>
                  <a:pt x="249" y="223"/>
                  <a:pt x="249" y="223"/>
                </a:cubicBezTo>
                <a:cubicBezTo>
                  <a:pt x="249" y="222"/>
                  <a:pt x="249" y="222"/>
                  <a:pt x="249" y="222"/>
                </a:cubicBezTo>
                <a:cubicBezTo>
                  <a:pt x="249" y="221"/>
                  <a:pt x="249" y="221"/>
                  <a:pt x="249" y="221"/>
                </a:cubicBezTo>
                <a:cubicBezTo>
                  <a:pt x="247" y="220"/>
                  <a:pt x="247" y="220"/>
                  <a:pt x="247" y="220"/>
                </a:cubicBezTo>
                <a:cubicBezTo>
                  <a:pt x="247" y="219"/>
                  <a:pt x="247" y="219"/>
                  <a:pt x="247" y="219"/>
                </a:cubicBezTo>
                <a:cubicBezTo>
                  <a:pt x="245" y="217"/>
                  <a:pt x="245" y="217"/>
                  <a:pt x="245" y="217"/>
                </a:cubicBezTo>
                <a:cubicBezTo>
                  <a:pt x="243" y="217"/>
                  <a:pt x="243" y="217"/>
                  <a:pt x="243" y="217"/>
                </a:cubicBezTo>
                <a:cubicBezTo>
                  <a:pt x="240" y="216"/>
                  <a:pt x="240" y="216"/>
                  <a:pt x="240" y="216"/>
                </a:cubicBezTo>
                <a:cubicBezTo>
                  <a:pt x="239" y="215"/>
                  <a:pt x="239" y="215"/>
                  <a:pt x="239" y="215"/>
                </a:cubicBezTo>
                <a:cubicBezTo>
                  <a:pt x="238" y="215"/>
                  <a:pt x="238" y="215"/>
                  <a:pt x="238" y="215"/>
                </a:cubicBezTo>
                <a:cubicBezTo>
                  <a:pt x="236" y="214"/>
                  <a:pt x="236" y="214"/>
                  <a:pt x="236" y="214"/>
                </a:cubicBezTo>
                <a:cubicBezTo>
                  <a:pt x="234" y="214"/>
                  <a:pt x="234" y="214"/>
                  <a:pt x="234" y="214"/>
                </a:cubicBezTo>
                <a:cubicBezTo>
                  <a:pt x="233" y="214"/>
                  <a:pt x="233" y="214"/>
                  <a:pt x="233" y="214"/>
                </a:cubicBezTo>
                <a:cubicBezTo>
                  <a:pt x="231" y="215"/>
                  <a:pt x="231" y="215"/>
                  <a:pt x="231" y="215"/>
                </a:cubicBezTo>
                <a:cubicBezTo>
                  <a:pt x="231" y="217"/>
                  <a:pt x="231" y="217"/>
                  <a:pt x="231" y="217"/>
                </a:cubicBezTo>
                <a:cubicBezTo>
                  <a:pt x="230" y="218"/>
                  <a:pt x="230" y="218"/>
                  <a:pt x="230" y="218"/>
                </a:cubicBezTo>
                <a:cubicBezTo>
                  <a:pt x="228" y="217"/>
                  <a:pt x="228" y="217"/>
                  <a:pt x="228" y="217"/>
                </a:cubicBezTo>
                <a:cubicBezTo>
                  <a:pt x="226" y="218"/>
                  <a:pt x="226" y="218"/>
                  <a:pt x="226" y="218"/>
                </a:cubicBezTo>
                <a:cubicBezTo>
                  <a:pt x="224" y="218"/>
                  <a:pt x="224" y="218"/>
                  <a:pt x="224" y="218"/>
                </a:cubicBezTo>
                <a:cubicBezTo>
                  <a:pt x="224" y="217"/>
                  <a:pt x="224" y="217"/>
                  <a:pt x="224" y="217"/>
                </a:cubicBezTo>
                <a:cubicBezTo>
                  <a:pt x="224" y="215"/>
                  <a:pt x="224" y="215"/>
                  <a:pt x="224" y="215"/>
                </a:cubicBezTo>
                <a:cubicBezTo>
                  <a:pt x="224" y="214"/>
                  <a:pt x="224" y="214"/>
                  <a:pt x="224" y="214"/>
                </a:cubicBezTo>
                <a:cubicBezTo>
                  <a:pt x="221" y="211"/>
                  <a:pt x="221" y="211"/>
                  <a:pt x="221" y="211"/>
                </a:cubicBezTo>
                <a:cubicBezTo>
                  <a:pt x="220" y="210"/>
                  <a:pt x="220" y="210"/>
                  <a:pt x="220" y="210"/>
                </a:cubicBezTo>
                <a:cubicBezTo>
                  <a:pt x="221" y="207"/>
                  <a:pt x="221" y="207"/>
                  <a:pt x="221" y="207"/>
                </a:cubicBezTo>
                <a:cubicBezTo>
                  <a:pt x="219" y="205"/>
                  <a:pt x="219" y="205"/>
                  <a:pt x="219" y="205"/>
                </a:cubicBezTo>
                <a:cubicBezTo>
                  <a:pt x="220" y="203"/>
                  <a:pt x="220" y="203"/>
                  <a:pt x="220" y="203"/>
                </a:cubicBezTo>
                <a:cubicBezTo>
                  <a:pt x="220" y="199"/>
                  <a:pt x="220" y="199"/>
                  <a:pt x="220" y="199"/>
                </a:cubicBezTo>
                <a:cubicBezTo>
                  <a:pt x="219" y="197"/>
                  <a:pt x="219" y="197"/>
                  <a:pt x="219" y="197"/>
                </a:cubicBezTo>
                <a:cubicBezTo>
                  <a:pt x="217" y="195"/>
                  <a:pt x="217" y="195"/>
                  <a:pt x="217" y="195"/>
                </a:cubicBezTo>
                <a:cubicBezTo>
                  <a:pt x="216" y="195"/>
                  <a:pt x="216" y="195"/>
                  <a:pt x="216" y="195"/>
                </a:cubicBezTo>
                <a:cubicBezTo>
                  <a:pt x="215" y="193"/>
                  <a:pt x="215" y="193"/>
                  <a:pt x="215" y="193"/>
                </a:cubicBezTo>
                <a:cubicBezTo>
                  <a:pt x="212" y="191"/>
                  <a:pt x="212" y="191"/>
                  <a:pt x="212" y="191"/>
                </a:cubicBezTo>
                <a:cubicBezTo>
                  <a:pt x="210" y="190"/>
                  <a:pt x="210" y="190"/>
                  <a:pt x="210" y="190"/>
                </a:cubicBezTo>
                <a:cubicBezTo>
                  <a:pt x="210" y="188"/>
                  <a:pt x="210" y="188"/>
                  <a:pt x="210" y="188"/>
                </a:cubicBezTo>
                <a:cubicBezTo>
                  <a:pt x="211" y="186"/>
                  <a:pt x="211" y="186"/>
                  <a:pt x="211" y="186"/>
                </a:cubicBezTo>
                <a:cubicBezTo>
                  <a:pt x="210" y="184"/>
                  <a:pt x="210" y="184"/>
                  <a:pt x="210" y="184"/>
                </a:cubicBezTo>
                <a:cubicBezTo>
                  <a:pt x="209" y="183"/>
                  <a:pt x="209" y="183"/>
                  <a:pt x="209" y="183"/>
                </a:cubicBezTo>
                <a:cubicBezTo>
                  <a:pt x="209" y="182"/>
                  <a:pt x="209" y="182"/>
                  <a:pt x="209" y="182"/>
                </a:cubicBezTo>
                <a:cubicBezTo>
                  <a:pt x="211" y="181"/>
                  <a:pt x="211" y="181"/>
                  <a:pt x="211" y="181"/>
                </a:cubicBezTo>
                <a:cubicBezTo>
                  <a:pt x="213" y="178"/>
                  <a:pt x="213" y="178"/>
                  <a:pt x="213" y="178"/>
                </a:cubicBezTo>
                <a:cubicBezTo>
                  <a:pt x="214" y="176"/>
                  <a:pt x="214" y="176"/>
                  <a:pt x="214" y="176"/>
                </a:cubicBezTo>
                <a:cubicBezTo>
                  <a:pt x="213" y="172"/>
                  <a:pt x="213" y="172"/>
                  <a:pt x="213" y="172"/>
                </a:cubicBezTo>
                <a:cubicBezTo>
                  <a:pt x="210" y="167"/>
                  <a:pt x="210" y="167"/>
                  <a:pt x="210" y="167"/>
                </a:cubicBezTo>
                <a:cubicBezTo>
                  <a:pt x="211" y="167"/>
                  <a:pt x="211" y="167"/>
                  <a:pt x="211" y="167"/>
                </a:cubicBezTo>
                <a:cubicBezTo>
                  <a:pt x="213" y="168"/>
                  <a:pt x="213" y="168"/>
                  <a:pt x="213" y="168"/>
                </a:cubicBezTo>
                <a:cubicBezTo>
                  <a:pt x="213" y="170"/>
                  <a:pt x="213" y="170"/>
                  <a:pt x="213" y="170"/>
                </a:cubicBezTo>
                <a:cubicBezTo>
                  <a:pt x="214" y="170"/>
                  <a:pt x="214" y="170"/>
                  <a:pt x="214" y="170"/>
                </a:cubicBezTo>
                <a:cubicBezTo>
                  <a:pt x="214" y="170"/>
                  <a:pt x="214" y="170"/>
                  <a:pt x="214" y="170"/>
                </a:cubicBezTo>
                <a:cubicBezTo>
                  <a:pt x="215" y="172"/>
                  <a:pt x="215" y="172"/>
                  <a:pt x="215" y="172"/>
                </a:cubicBezTo>
                <a:cubicBezTo>
                  <a:pt x="216" y="174"/>
                  <a:pt x="216" y="174"/>
                  <a:pt x="216" y="174"/>
                </a:cubicBezTo>
                <a:cubicBezTo>
                  <a:pt x="216" y="177"/>
                  <a:pt x="216" y="177"/>
                  <a:pt x="216" y="177"/>
                </a:cubicBezTo>
                <a:cubicBezTo>
                  <a:pt x="217" y="178"/>
                  <a:pt x="217" y="178"/>
                  <a:pt x="217" y="178"/>
                </a:cubicBezTo>
                <a:cubicBezTo>
                  <a:pt x="216" y="180"/>
                  <a:pt x="216" y="180"/>
                  <a:pt x="216" y="180"/>
                </a:cubicBezTo>
                <a:cubicBezTo>
                  <a:pt x="217" y="181"/>
                  <a:pt x="217" y="181"/>
                  <a:pt x="217" y="181"/>
                </a:cubicBezTo>
                <a:cubicBezTo>
                  <a:pt x="219" y="183"/>
                  <a:pt x="219" y="183"/>
                  <a:pt x="219" y="183"/>
                </a:cubicBezTo>
                <a:cubicBezTo>
                  <a:pt x="219" y="184"/>
                  <a:pt x="219" y="184"/>
                  <a:pt x="219" y="184"/>
                </a:cubicBezTo>
                <a:cubicBezTo>
                  <a:pt x="220" y="185"/>
                  <a:pt x="220" y="185"/>
                  <a:pt x="220" y="185"/>
                </a:cubicBezTo>
                <a:cubicBezTo>
                  <a:pt x="220" y="186"/>
                  <a:pt x="220" y="186"/>
                  <a:pt x="220" y="186"/>
                </a:cubicBezTo>
                <a:cubicBezTo>
                  <a:pt x="219" y="186"/>
                  <a:pt x="219" y="186"/>
                  <a:pt x="219" y="186"/>
                </a:cubicBezTo>
                <a:cubicBezTo>
                  <a:pt x="219" y="187"/>
                  <a:pt x="219" y="187"/>
                  <a:pt x="219" y="187"/>
                </a:cubicBezTo>
                <a:cubicBezTo>
                  <a:pt x="221" y="187"/>
                  <a:pt x="221" y="187"/>
                  <a:pt x="221" y="187"/>
                </a:cubicBezTo>
                <a:cubicBezTo>
                  <a:pt x="223" y="188"/>
                  <a:pt x="223" y="188"/>
                  <a:pt x="223" y="188"/>
                </a:cubicBezTo>
                <a:cubicBezTo>
                  <a:pt x="225" y="188"/>
                  <a:pt x="225" y="188"/>
                  <a:pt x="225" y="188"/>
                </a:cubicBezTo>
                <a:cubicBezTo>
                  <a:pt x="226" y="188"/>
                  <a:pt x="226" y="188"/>
                  <a:pt x="226" y="188"/>
                </a:cubicBezTo>
                <a:cubicBezTo>
                  <a:pt x="227" y="189"/>
                  <a:pt x="227" y="189"/>
                  <a:pt x="227" y="189"/>
                </a:cubicBezTo>
                <a:cubicBezTo>
                  <a:pt x="228" y="190"/>
                  <a:pt x="228" y="190"/>
                  <a:pt x="228" y="190"/>
                </a:cubicBezTo>
                <a:cubicBezTo>
                  <a:pt x="229" y="188"/>
                  <a:pt x="229" y="188"/>
                  <a:pt x="229" y="188"/>
                </a:cubicBezTo>
                <a:cubicBezTo>
                  <a:pt x="230" y="188"/>
                  <a:pt x="230" y="188"/>
                  <a:pt x="230" y="188"/>
                </a:cubicBezTo>
                <a:cubicBezTo>
                  <a:pt x="231" y="187"/>
                  <a:pt x="231" y="187"/>
                  <a:pt x="231" y="187"/>
                </a:cubicBezTo>
                <a:cubicBezTo>
                  <a:pt x="233" y="188"/>
                  <a:pt x="233" y="188"/>
                  <a:pt x="233" y="188"/>
                </a:cubicBezTo>
                <a:cubicBezTo>
                  <a:pt x="234" y="190"/>
                  <a:pt x="234" y="190"/>
                  <a:pt x="234" y="190"/>
                </a:cubicBezTo>
                <a:cubicBezTo>
                  <a:pt x="235" y="190"/>
                  <a:pt x="235" y="190"/>
                  <a:pt x="235" y="190"/>
                </a:cubicBezTo>
                <a:cubicBezTo>
                  <a:pt x="237" y="191"/>
                  <a:pt x="237" y="191"/>
                  <a:pt x="237" y="191"/>
                </a:cubicBezTo>
                <a:cubicBezTo>
                  <a:pt x="240" y="190"/>
                  <a:pt x="240" y="190"/>
                  <a:pt x="240" y="190"/>
                </a:cubicBezTo>
                <a:cubicBezTo>
                  <a:pt x="241" y="189"/>
                  <a:pt x="241" y="189"/>
                  <a:pt x="241" y="189"/>
                </a:cubicBezTo>
                <a:cubicBezTo>
                  <a:pt x="239" y="190"/>
                  <a:pt x="239" y="190"/>
                  <a:pt x="239" y="190"/>
                </a:cubicBezTo>
                <a:cubicBezTo>
                  <a:pt x="237" y="190"/>
                  <a:pt x="237" y="190"/>
                  <a:pt x="237" y="190"/>
                </a:cubicBezTo>
                <a:cubicBezTo>
                  <a:pt x="237" y="188"/>
                  <a:pt x="237" y="188"/>
                  <a:pt x="237" y="188"/>
                </a:cubicBezTo>
                <a:cubicBezTo>
                  <a:pt x="236" y="188"/>
                  <a:pt x="236" y="188"/>
                  <a:pt x="236" y="188"/>
                </a:cubicBezTo>
                <a:cubicBezTo>
                  <a:pt x="235" y="186"/>
                  <a:pt x="235" y="186"/>
                  <a:pt x="235" y="186"/>
                </a:cubicBezTo>
                <a:cubicBezTo>
                  <a:pt x="233" y="186"/>
                  <a:pt x="233" y="186"/>
                  <a:pt x="233" y="186"/>
                </a:cubicBezTo>
                <a:cubicBezTo>
                  <a:pt x="233" y="185"/>
                  <a:pt x="233" y="185"/>
                  <a:pt x="233" y="185"/>
                </a:cubicBezTo>
                <a:cubicBezTo>
                  <a:pt x="232" y="185"/>
                  <a:pt x="232" y="185"/>
                  <a:pt x="232" y="185"/>
                </a:cubicBezTo>
                <a:cubicBezTo>
                  <a:pt x="231" y="186"/>
                  <a:pt x="231" y="186"/>
                  <a:pt x="231" y="186"/>
                </a:cubicBezTo>
                <a:cubicBezTo>
                  <a:pt x="228" y="186"/>
                  <a:pt x="228" y="186"/>
                  <a:pt x="228" y="186"/>
                </a:cubicBezTo>
                <a:cubicBezTo>
                  <a:pt x="227" y="185"/>
                  <a:pt x="227" y="185"/>
                  <a:pt x="227" y="185"/>
                </a:cubicBezTo>
                <a:cubicBezTo>
                  <a:pt x="225" y="185"/>
                  <a:pt x="225" y="185"/>
                  <a:pt x="225" y="185"/>
                </a:cubicBezTo>
                <a:cubicBezTo>
                  <a:pt x="223" y="183"/>
                  <a:pt x="223" y="183"/>
                  <a:pt x="223" y="183"/>
                </a:cubicBezTo>
                <a:cubicBezTo>
                  <a:pt x="222" y="181"/>
                  <a:pt x="222" y="181"/>
                  <a:pt x="222" y="181"/>
                </a:cubicBezTo>
                <a:cubicBezTo>
                  <a:pt x="222" y="181"/>
                  <a:pt x="222" y="181"/>
                  <a:pt x="222" y="181"/>
                </a:cubicBezTo>
                <a:cubicBezTo>
                  <a:pt x="220" y="178"/>
                  <a:pt x="220" y="178"/>
                  <a:pt x="220" y="178"/>
                </a:cubicBezTo>
                <a:cubicBezTo>
                  <a:pt x="221" y="178"/>
                  <a:pt x="221" y="178"/>
                  <a:pt x="221" y="178"/>
                </a:cubicBezTo>
                <a:cubicBezTo>
                  <a:pt x="221" y="177"/>
                  <a:pt x="221" y="177"/>
                  <a:pt x="221" y="177"/>
                </a:cubicBezTo>
                <a:cubicBezTo>
                  <a:pt x="223" y="176"/>
                  <a:pt x="223" y="176"/>
                  <a:pt x="223" y="176"/>
                </a:cubicBezTo>
                <a:cubicBezTo>
                  <a:pt x="224" y="176"/>
                  <a:pt x="224" y="176"/>
                  <a:pt x="224" y="176"/>
                </a:cubicBezTo>
                <a:cubicBezTo>
                  <a:pt x="226" y="178"/>
                  <a:pt x="226" y="178"/>
                  <a:pt x="226" y="178"/>
                </a:cubicBezTo>
                <a:cubicBezTo>
                  <a:pt x="228" y="179"/>
                  <a:pt x="228" y="179"/>
                  <a:pt x="228" y="179"/>
                </a:cubicBezTo>
                <a:cubicBezTo>
                  <a:pt x="230" y="179"/>
                  <a:pt x="230" y="179"/>
                  <a:pt x="230" y="179"/>
                </a:cubicBezTo>
                <a:cubicBezTo>
                  <a:pt x="232" y="176"/>
                  <a:pt x="232" y="176"/>
                  <a:pt x="232" y="176"/>
                </a:cubicBezTo>
                <a:cubicBezTo>
                  <a:pt x="230" y="174"/>
                  <a:pt x="230" y="174"/>
                  <a:pt x="230" y="174"/>
                </a:cubicBezTo>
                <a:cubicBezTo>
                  <a:pt x="228" y="173"/>
                  <a:pt x="228" y="173"/>
                  <a:pt x="228" y="173"/>
                </a:cubicBezTo>
                <a:cubicBezTo>
                  <a:pt x="226" y="175"/>
                  <a:pt x="226" y="175"/>
                  <a:pt x="226" y="175"/>
                </a:cubicBezTo>
                <a:cubicBezTo>
                  <a:pt x="225" y="174"/>
                  <a:pt x="225" y="174"/>
                  <a:pt x="225" y="174"/>
                </a:cubicBezTo>
                <a:cubicBezTo>
                  <a:pt x="226" y="173"/>
                  <a:pt x="226" y="173"/>
                  <a:pt x="226" y="173"/>
                </a:cubicBezTo>
                <a:cubicBezTo>
                  <a:pt x="226" y="173"/>
                  <a:pt x="226" y="173"/>
                  <a:pt x="226" y="173"/>
                </a:cubicBezTo>
                <a:cubicBezTo>
                  <a:pt x="227" y="173"/>
                  <a:pt x="227" y="173"/>
                  <a:pt x="227" y="173"/>
                </a:cubicBezTo>
                <a:cubicBezTo>
                  <a:pt x="227" y="172"/>
                  <a:pt x="227" y="172"/>
                  <a:pt x="227" y="172"/>
                </a:cubicBezTo>
                <a:cubicBezTo>
                  <a:pt x="229" y="169"/>
                  <a:pt x="229" y="169"/>
                  <a:pt x="229" y="169"/>
                </a:cubicBezTo>
                <a:cubicBezTo>
                  <a:pt x="230" y="168"/>
                  <a:pt x="230" y="168"/>
                  <a:pt x="230" y="168"/>
                </a:cubicBezTo>
                <a:cubicBezTo>
                  <a:pt x="231" y="169"/>
                  <a:pt x="231" y="169"/>
                  <a:pt x="231" y="169"/>
                </a:cubicBezTo>
                <a:cubicBezTo>
                  <a:pt x="236" y="169"/>
                  <a:pt x="236" y="169"/>
                  <a:pt x="236" y="169"/>
                </a:cubicBezTo>
                <a:cubicBezTo>
                  <a:pt x="237" y="170"/>
                  <a:pt x="237" y="170"/>
                  <a:pt x="237" y="170"/>
                </a:cubicBezTo>
                <a:cubicBezTo>
                  <a:pt x="239" y="171"/>
                  <a:pt x="239" y="171"/>
                  <a:pt x="239" y="171"/>
                </a:cubicBezTo>
                <a:cubicBezTo>
                  <a:pt x="242" y="172"/>
                  <a:pt x="242" y="172"/>
                  <a:pt x="242" y="172"/>
                </a:cubicBezTo>
                <a:cubicBezTo>
                  <a:pt x="243" y="173"/>
                  <a:pt x="243" y="173"/>
                  <a:pt x="243" y="173"/>
                </a:cubicBezTo>
                <a:cubicBezTo>
                  <a:pt x="244" y="174"/>
                  <a:pt x="244" y="174"/>
                  <a:pt x="244" y="174"/>
                </a:cubicBezTo>
                <a:cubicBezTo>
                  <a:pt x="247" y="177"/>
                  <a:pt x="247" y="177"/>
                  <a:pt x="247" y="177"/>
                </a:cubicBezTo>
                <a:cubicBezTo>
                  <a:pt x="248" y="177"/>
                  <a:pt x="248" y="177"/>
                  <a:pt x="248" y="177"/>
                </a:cubicBezTo>
                <a:cubicBezTo>
                  <a:pt x="252" y="176"/>
                  <a:pt x="252" y="176"/>
                  <a:pt x="252" y="176"/>
                </a:cubicBezTo>
                <a:cubicBezTo>
                  <a:pt x="254" y="175"/>
                  <a:pt x="254" y="175"/>
                  <a:pt x="254" y="175"/>
                </a:cubicBezTo>
                <a:cubicBezTo>
                  <a:pt x="255" y="176"/>
                  <a:pt x="255" y="176"/>
                  <a:pt x="255" y="176"/>
                </a:cubicBezTo>
                <a:cubicBezTo>
                  <a:pt x="256" y="175"/>
                  <a:pt x="256" y="175"/>
                  <a:pt x="256" y="175"/>
                </a:cubicBezTo>
                <a:cubicBezTo>
                  <a:pt x="257" y="176"/>
                  <a:pt x="257" y="176"/>
                  <a:pt x="257" y="176"/>
                </a:cubicBezTo>
                <a:cubicBezTo>
                  <a:pt x="257" y="178"/>
                  <a:pt x="257" y="178"/>
                  <a:pt x="257" y="178"/>
                </a:cubicBezTo>
                <a:cubicBezTo>
                  <a:pt x="257" y="179"/>
                  <a:pt x="257" y="179"/>
                  <a:pt x="257" y="179"/>
                </a:cubicBezTo>
                <a:cubicBezTo>
                  <a:pt x="257" y="180"/>
                  <a:pt x="257" y="180"/>
                  <a:pt x="257" y="180"/>
                </a:cubicBezTo>
                <a:cubicBezTo>
                  <a:pt x="255" y="181"/>
                  <a:pt x="255" y="181"/>
                  <a:pt x="255" y="181"/>
                </a:cubicBezTo>
                <a:cubicBezTo>
                  <a:pt x="255" y="183"/>
                  <a:pt x="255" y="183"/>
                  <a:pt x="255" y="183"/>
                </a:cubicBezTo>
                <a:cubicBezTo>
                  <a:pt x="256" y="184"/>
                  <a:pt x="256" y="184"/>
                  <a:pt x="256" y="184"/>
                </a:cubicBezTo>
                <a:cubicBezTo>
                  <a:pt x="256" y="186"/>
                  <a:pt x="256" y="186"/>
                  <a:pt x="256" y="186"/>
                </a:cubicBezTo>
                <a:cubicBezTo>
                  <a:pt x="258" y="188"/>
                  <a:pt x="258" y="188"/>
                  <a:pt x="258" y="188"/>
                </a:cubicBezTo>
                <a:cubicBezTo>
                  <a:pt x="258" y="189"/>
                  <a:pt x="258" y="189"/>
                  <a:pt x="258" y="189"/>
                </a:cubicBezTo>
                <a:cubicBezTo>
                  <a:pt x="257" y="190"/>
                  <a:pt x="257" y="190"/>
                  <a:pt x="257" y="190"/>
                </a:cubicBezTo>
                <a:cubicBezTo>
                  <a:pt x="258" y="194"/>
                  <a:pt x="258" y="194"/>
                  <a:pt x="258" y="194"/>
                </a:cubicBezTo>
                <a:cubicBezTo>
                  <a:pt x="259" y="194"/>
                  <a:pt x="259" y="194"/>
                  <a:pt x="259" y="194"/>
                </a:cubicBezTo>
                <a:cubicBezTo>
                  <a:pt x="259" y="193"/>
                  <a:pt x="259" y="193"/>
                  <a:pt x="259" y="193"/>
                </a:cubicBezTo>
                <a:cubicBezTo>
                  <a:pt x="259" y="192"/>
                  <a:pt x="259" y="192"/>
                  <a:pt x="259" y="192"/>
                </a:cubicBezTo>
                <a:cubicBezTo>
                  <a:pt x="260" y="191"/>
                  <a:pt x="260" y="191"/>
                  <a:pt x="260" y="191"/>
                </a:cubicBezTo>
                <a:cubicBezTo>
                  <a:pt x="259" y="190"/>
                  <a:pt x="259" y="190"/>
                  <a:pt x="259" y="190"/>
                </a:cubicBezTo>
                <a:cubicBezTo>
                  <a:pt x="260" y="189"/>
                  <a:pt x="260" y="189"/>
                  <a:pt x="260" y="189"/>
                </a:cubicBezTo>
                <a:cubicBezTo>
                  <a:pt x="261" y="187"/>
                  <a:pt x="261" y="187"/>
                  <a:pt x="261" y="187"/>
                </a:cubicBezTo>
                <a:cubicBezTo>
                  <a:pt x="262" y="188"/>
                  <a:pt x="262" y="188"/>
                  <a:pt x="262" y="188"/>
                </a:cubicBezTo>
                <a:cubicBezTo>
                  <a:pt x="263" y="190"/>
                  <a:pt x="263" y="190"/>
                  <a:pt x="263" y="190"/>
                </a:cubicBezTo>
                <a:cubicBezTo>
                  <a:pt x="263" y="193"/>
                  <a:pt x="263" y="193"/>
                  <a:pt x="263" y="193"/>
                </a:cubicBezTo>
                <a:cubicBezTo>
                  <a:pt x="263" y="194"/>
                  <a:pt x="263" y="194"/>
                  <a:pt x="263" y="194"/>
                </a:cubicBezTo>
                <a:cubicBezTo>
                  <a:pt x="263" y="195"/>
                  <a:pt x="263" y="195"/>
                  <a:pt x="263" y="195"/>
                </a:cubicBezTo>
                <a:cubicBezTo>
                  <a:pt x="263" y="196"/>
                  <a:pt x="263" y="196"/>
                  <a:pt x="263" y="196"/>
                </a:cubicBezTo>
                <a:cubicBezTo>
                  <a:pt x="262" y="197"/>
                  <a:pt x="262" y="197"/>
                  <a:pt x="262" y="197"/>
                </a:cubicBezTo>
                <a:cubicBezTo>
                  <a:pt x="264" y="198"/>
                  <a:pt x="264" y="198"/>
                  <a:pt x="264" y="198"/>
                </a:cubicBezTo>
                <a:cubicBezTo>
                  <a:pt x="266" y="198"/>
                  <a:pt x="266" y="198"/>
                  <a:pt x="266" y="198"/>
                </a:cubicBezTo>
                <a:cubicBezTo>
                  <a:pt x="268" y="198"/>
                  <a:pt x="268" y="198"/>
                  <a:pt x="268" y="198"/>
                </a:cubicBezTo>
                <a:cubicBezTo>
                  <a:pt x="269" y="200"/>
                  <a:pt x="269" y="200"/>
                  <a:pt x="269" y="200"/>
                </a:cubicBezTo>
                <a:cubicBezTo>
                  <a:pt x="269" y="201"/>
                  <a:pt x="269" y="201"/>
                  <a:pt x="269" y="201"/>
                </a:cubicBezTo>
                <a:cubicBezTo>
                  <a:pt x="271" y="202"/>
                  <a:pt x="271" y="202"/>
                  <a:pt x="271" y="202"/>
                </a:cubicBezTo>
                <a:cubicBezTo>
                  <a:pt x="273" y="202"/>
                  <a:pt x="273" y="202"/>
                  <a:pt x="273" y="202"/>
                </a:cubicBezTo>
                <a:cubicBezTo>
                  <a:pt x="276" y="205"/>
                  <a:pt x="276" y="205"/>
                  <a:pt x="276" y="205"/>
                </a:cubicBezTo>
                <a:cubicBezTo>
                  <a:pt x="275" y="204"/>
                  <a:pt x="275" y="204"/>
                  <a:pt x="275" y="204"/>
                </a:cubicBezTo>
                <a:cubicBezTo>
                  <a:pt x="276" y="202"/>
                  <a:pt x="276" y="202"/>
                  <a:pt x="276" y="202"/>
                </a:cubicBezTo>
                <a:cubicBezTo>
                  <a:pt x="277" y="200"/>
                  <a:pt x="277" y="200"/>
                  <a:pt x="277" y="200"/>
                </a:cubicBezTo>
                <a:cubicBezTo>
                  <a:pt x="279" y="200"/>
                  <a:pt x="279" y="200"/>
                  <a:pt x="279" y="200"/>
                </a:cubicBezTo>
                <a:cubicBezTo>
                  <a:pt x="282" y="202"/>
                  <a:pt x="282" y="202"/>
                  <a:pt x="282" y="202"/>
                </a:cubicBezTo>
                <a:cubicBezTo>
                  <a:pt x="283" y="202"/>
                  <a:pt x="283" y="202"/>
                  <a:pt x="283" y="202"/>
                </a:cubicBezTo>
                <a:cubicBezTo>
                  <a:pt x="284" y="204"/>
                  <a:pt x="284" y="204"/>
                  <a:pt x="284" y="204"/>
                </a:cubicBezTo>
                <a:cubicBezTo>
                  <a:pt x="285" y="206"/>
                  <a:pt x="285" y="206"/>
                  <a:pt x="285" y="206"/>
                </a:cubicBezTo>
                <a:cubicBezTo>
                  <a:pt x="285" y="203"/>
                  <a:pt x="285" y="203"/>
                  <a:pt x="285" y="203"/>
                </a:cubicBezTo>
                <a:cubicBezTo>
                  <a:pt x="284" y="202"/>
                  <a:pt x="284" y="202"/>
                  <a:pt x="284" y="202"/>
                </a:cubicBezTo>
                <a:cubicBezTo>
                  <a:pt x="283" y="202"/>
                  <a:pt x="283" y="202"/>
                  <a:pt x="283" y="202"/>
                </a:cubicBezTo>
                <a:cubicBezTo>
                  <a:pt x="281" y="201"/>
                  <a:pt x="281" y="201"/>
                  <a:pt x="281" y="201"/>
                </a:cubicBezTo>
                <a:cubicBezTo>
                  <a:pt x="279" y="200"/>
                  <a:pt x="279" y="200"/>
                  <a:pt x="279" y="200"/>
                </a:cubicBezTo>
                <a:cubicBezTo>
                  <a:pt x="277" y="200"/>
                  <a:pt x="277" y="200"/>
                  <a:pt x="277" y="200"/>
                </a:cubicBezTo>
                <a:cubicBezTo>
                  <a:pt x="275" y="202"/>
                  <a:pt x="275" y="202"/>
                  <a:pt x="275" y="202"/>
                </a:cubicBezTo>
                <a:cubicBezTo>
                  <a:pt x="274" y="201"/>
                  <a:pt x="274" y="201"/>
                  <a:pt x="274" y="201"/>
                </a:cubicBezTo>
                <a:cubicBezTo>
                  <a:pt x="273" y="202"/>
                  <a:pt x="273" y="202"/>
                  <a:pt x="273" y="202"/>
                </a:cubicBezTo>
                <a:cubicBezTo>
                  <a:pt x="271" y="201"/>
                  <a:pt x="271" y="201"/>
                  <a:pt x="271" y="201"/>
                </a:cubicBezTo>
                <a:cubicBezTo>
                  <a:pt x="269" y="198"/>
                  <a:pt x="269" y="198"/>
                  <a:pt x="269" y="198"/>
                </a:cubicBezTo>
                <a:cubicBezTo>
                  <a:pt x="268" y="197"/>
                  <a:pt x="268" y="197"/>
                  <a:pt x="268" y="197"/>
                </a:cubicBezTo>
                <a:cubicBezTo>
                  <a:pt x="266" y="197"/>
                  <a:pt x="266" y="197"/>
                  <a:pt x="266" y="197"/>
                </a:cubicBezTo>
                <a:cubicBezTo>
                  <a:pt x="264" y="195"/>
                  <a:pt x="264" y="195"/>
                  <a:pt x="264" y="195"/>
                </a:cubicBezTo>
                <a:cubicBezTo>
                  <a:pt x="265" y="196"/>
                  <a:pt x="265" y="196"/>
                  <a:pt x="265" y="196"/>
                </a:cubicBezTo>
                <a:cubicBezTo>
                  <a:pt x="266" y="195"/>
                  <a:pt x="266" y="195"/>
                  <a:pt x="266" y="195"/>
                </a:cubicBezTo>
                <a:cubicBezTo>
                  <a:pt x="268" y="193"/>
                  <a:pt x="268" y="193"/>
                  <a:pt x="268" y="193"/>
                </a:cubicBezTo>
                <a:cubicBezTo>
                  <a:pt x="267" y="191"/>
                  <a:pt x="267" y="191"/>
                  <a:pt x="267" y="191"/>
                </a:cubicBezTo>
                <a:cubicBezTo>
                  <a:pt x="265" y="190"/>
                  <a:pt x="265" y="190"/>
                  <a:pt x="265" y="190"/>
                </a:cubicBezTo>
                <a:cubicBezTo>
                  <a:pt x="265" y="187"/>
                  <a:pt x="265" y="187"/>
                  <a:pt x="265" y="187"/>
                </a:cubicBezTo>
                <a:cubicBezTo>
                  <a:pt x="263" y="184"/>
                  <a:pt x="263" y="184"/>
                  <a:pt x="263" y="184"/>
                </a:cubicBezTo>
                <a:cubicBezTo>
                  <a:pt x="261" y="183"/>
                  <a:pt x="261" y="183"/>
                  <a:pt x="261" y="183"/>
                </a:cubicBezTo>
                <a:cubicBezTo>
                  <a:pt x="260" y="182"/>
                  <a:pt x="260" y="182"/>
                  <a:pt x="260" y="182"/>
                </a:cubicBezTo>
                <a:cubicBezTo>
                  <a:pt x="260" y="180"/>
                  <a:pt x="260" y="180"/>
                  <a:pt x="260" y="180"/>
                </a:cubicBezTo>
                <a:cubicBezTo>
                  <a:pt x="260" y="179"/>
                  <a:pt x="260" y="179"/>
                  <a:pt x="260" y="179"/>
                </a:cubicBezTo>
                <a:cubicBezTo>
                  <a:pt x="260" y="176"/>
                  <a:pt x="260" y="176"/>
                  <a:pt x="260" y="176"/>
                </a:cubicBezTo>
                <a:cubicBezTo>
                  <a:pt x="258" y="174"/>
                  <a:pt x="258" y="174"/>
                  <a:pt x="258" y="174"/>
                </a:cubicBezTo>
                <a:cubicBezTo>
                  <a:pt x="257" y="174"/>
                  <a:pt x="257" y="174"/>
                  <a:pt x="257" y="174"/>
                </a:cubicBezTo>
                <a:cubicBezTo>
                  <a:pt x="255" y="173"/>
                  <a:pt x="255" y="173"/>
                  <a:pt x="255" y="173"/>
                </a:cubicBezTo>
                <a:cubicBezTo>
                  <a:pt x="252" y="173"/>
                  <a:pt x="252" y="173"/>
                  <a:pt x="252" y="173"/>
                </a:cubicBezTo>
                <a:cubicBezTo>
                  <a:pt x="251" y="171"/>
                  <a:pt x="251" y="171"/>
                  <a:pt x="251" y="171"/>
                </a:cubicBezTo>
                <a:cubicBezTo>
                  <a:pt x="249" y="170"/>
                  <a:pt x="249" y="170"/>
                  <a:pt x="249" y="170"/>
                </a:cubicBezTo>
                <a:cubicBezTo>
                  <a:pt x="249" y="168"/>
                  <a:pt x="249" y="168"/>
                  <a:pt x="249" y="168"/>
                </a:cubicBezTo>
                <a:cubicBezTo>
                  <a:pt x="249" y="167"/>
                  <a:pt x="249" y="167"/>
                  <a:pt x="249" y="167"/>
                </a:cubicBezTo>
                <a:cubicBezTo>
                  <a:pt x="249" y="166"/>
                  <a:pt x="249" y="166"/>
                  <a:pt x="249" y="166"/>
                </a:cubicBezTo>
                <a:cubicBezTo>
                  <a:pt x="247" y="167"/>
                  <a:pt x="247" y="167"/>
                  <a:pt x="247" y="167"/>
                </a:cubicBezTo>
                <a:cubicBezTo>
                  <a:pt x="243" y="167"/>
                  <a:pt x="243" y="167"/>
                  <a:pt x="243" y="167"/>
                </a:cubicBezTo>
                <a:cubicBezTo>
                  <a:pt x="241" y="167"/>
                  <a:pt x="241" y="167"/>
                  <a:pt x="241" y="167"/>
                </a:cubicBezTo>
                <a:cubicBezTo>
                  <a:pt x="239" y="166"/>
                  <a:pt x="239" y="166"/>
                  <a:pt x="239" y="166"/>
                </a:cubicBezTo>
                <a:cubicBezTo>
                  <a:pt x="239" y="164"/>
                  <a:pt x="239" y="164"/>
                  <a:pt x="239" y="164"/>
                </a:cubicBezTo>
                <a:cubicBezTo>
                  <a:pt x="239" y="164"/>
                  <a:pt x="239" y="164"/>
                  <a:pt x="239" y="164"/>
                </a:cubicBezTo>
                <a:cubicBezTo>
                  <a:pt x="238" y="163"/>
                  <a:pt x="238" y="163"/>
                  <a:pt x="238" y="163"/>
                </a:cubicBezTo>
                <a:cubicBezTo>
                  <a:pt x="238" y="161"/>
                  <a:pt x="238" y="161"/>
                  <a:pt x="238" y="161"/>
                </a:cubicBezTo>
                <a:cubicBezTo>
                  <a:pt x="237" y="158"/>
                  <a:pt x="237" y="158"/>
                  <a:pt x="237" y="158"/>
                </a:cubicBezTo>
                <a:cubicBezTo>
                  <a:pt x="234" y="157"/>
                  <a:pt x="234" y="157"/>
                  <a:pt x="234" y="157"/>
                </a:cubicBezTo>
                <a:cubicBezTo>
                  <a:pt x="235" y="156"/>
                  <a:pt x="235" y="156"/>
                  <a:pt x="235" y="156"/>
                </a:cubicBezTo>
                <a:cubicBezTo>
                  <a:pt x="235" y="155"/>
                  <a:pt x="235" y="155"/>
                  <a:pt x="235" y="155"/>
                </a:cubicBezTo>
                <a:cubicBezTo>
                  <a:pt x="234" y="155"/>
                  <a:pt x="234" y="155"/>
                  <a:pt x="234" y="155"/>
                </a:cubicBezTo>
                <a:cubicBezTo>
                  <a:pt x="233" y="154"/>
                  <a:pt x="233" y="154"/>
                  <a:pt x="233" y="154"/>
                </a:cubicBezTo>
                <a:cubicBezTo>
                  <a:pt x="233" y="153"/>
                  <a:pt x="233" y="153"/>
                  <a:pt x="233" y="153"/>
                </a:cubicBezTo>
                <a:cubicBezTo>
                  <a:pt x="233" y="151"/>
                  <a:pt x="233" y="151"/>
                  <a:pt x="233" y="151"/>
                </a:cubicBezTo>
                <a:cubicBezTo>
                  <a:pt x="232" y="150"/>
                  <a:pt x="232" y="150"/>
                  <a:pt x="232" y="150"/>
                </a:cubicBezTo>
                <a:cubicBezTo>
                  <a:pt x="233" y="150"/>
                  <a:pt x="233" y="150"/>
                  <a:pt x="233" y="150"/>
                </a:cubicBezTo>
                <a:cubicBezTo>
                  <a:pt x="235" y="150"/>
                  <a:pt x="235" y="150"/>
                  <a:pt x="235" y="150"/>
                </a:cubicBezTo>
                <a:cubicBezTo>
                  <a:pt x="236" y="148"/>
                  <a:pt x="236" y="148"/>
                  <a:pt x="236" y="148"/>
                </a:cubicBezTo>
                <a:cubicBezTo>
                  <a:pt x="238" y="148"/>
                  <a:pt x="238" y="148"/>
                  <a:pt x="238" y="148"/>
                </a:cubicBezTo>
                <a:cubicBezTo>
                  <a:pt x="241" y="147"/>
                  <a:pt x="241" y="147"/>
                  <a:pt x="241" y="147"/>
                </a:cubicBezTo>
                <a:cubicBezTo>
                  <a:pt x="246" y="145"/>
                  <a:pt x="246" y="145"/>
                  <a:pt x="246" y="145"/>
                </a:cubicBezTo>
                <a:cubicBezTo>
                  <a:pt x="248" y="144"/>
                  <a:pt x="248" y="144"/>
                  <a:pt x="248" y="144"/>
                </a:cubicBezTo>
                <a:cubicBezTo>
                  <a:pt x="249" y="144"/>
                  <a:pt x="249" y="144"/>
                  <a:pt x="249" y="144"/>
                </a:cubicBezTo>
                <a:cubicBezTo>
                  <a:pt x="250" y="144"/>
                  <a:pt x="250" y="144"/>
                  <a:pt x="250" y="144"/>
                </a:cubicBezTo>
                <a:cubicBezTo>
                  <a:pt x="252" y="143"/>
                  <a:pt x="252" y="143"/>
                  <a:pt x="252" y="143"/>
                </a:cubicBezTo>
                <a:cubicBezTo>
                  <a:pt x="253" y="142"/>
                  <a:pt x="253" y="142"/>
                  <a:pt x="253" y="142"/>
                </a:cubicBezTo>
                <a:cubicBezTo>
                  <a:pt x="255" y="141"/>
                  <a:pt x="255" y="141"/>
                  <a:pt x="255" y="141"/>
                </a:cubicBezTo>
                <a:cubicBezTo>
                  <a:pt x="259" y="139"/>
                  <a:pt x="259" y="139"/>
                  <a:pt x="259" y="139"/>
                </a:cubicBezTo>
                <a:cubicBezTo>
                  <a:pt x="260" y="140"/>
                  <a:pt x="260" y="140"/>
                  <a:pt x="260" y="140"/>
                </a:cubicBezTo>
                <a:cubicBezTo>
                  <a:pt x="259" y="141"/>
                  <a:pt x="259" y="141"/>
                  <a:pt x="259" y="141"/>
                </a:cubicBezTo>
                <a:cubicBezTo>
                  <a:pt x="259" y="142"/>
                  <a:pt x="259" y="142"/>
                  <a:pt x="259" y="142"/>
                </a:cubicBezTo>
                <a:cubicBezTo>
                  <a:pt x="258" y="143"/>
                  <a:pt x="258" y="143"/>
                  <a:pt x="258" y="143"/>
                </a:cubicBezTo>
                <a:cubicBezTo>
                  <a:pt x="257" y="145"/>
                  <a:pt x="257" y="145"/>
                  <a:pt x="257" y="145"/>
                </a:cubicBezTo>
                <a:cubicBezTo>
                  <a:pt x="257" y="147"/>
                  <a:pt x="257" y="147"/>
                  <a:pt x="257" y="147"/>
                </a:cubicBezTo>
                <a:cubicBezTo>
                  <a:pt x="260" y="149"/>
                  <a:pt x="260" y="149"/>
                  <a:pt x="260" y="149"/>
                </a:cubicBezTo>
                <a:cubicBezTo>
                  <a:pt x="262" y="149"/>
                  <a:pt x="262" y="149"/>
                  <a:pt x="262" y="149"/>
                </a:cubicBezTo>
                <a:cubicBezTo>
                  <a:pt x="261" y="148"/>
                  <a:pt x="261" y="148"/>
                  <a:pt x="261" y="148"/>
                </a:cubicBezTo>
                <a:cubicBezTo>
                  <a:pt x="258" y="146"/>
                  <a:pt x="258" y="146"/>
                  <a:pt x="258" y="146"/>
                </a:cubicBezTo>
                <a:cubicBezTo>
                  <a:pt x="258" y="145"/>
                  <a:pt x="258" y="145"/>
                  <a:pt x="258" y="145"/>
                </a:cubicBezTo>
                <a:cubicBezTo>
                  <a:pt x="259" y="144"/>
                  <a:pt x="259" y="144"/>
                  <a:pt x="259" y="144"/>
                </a:cubicBezTo>
                <a:cubicBezTo>
                  <a:pt x="262" y="142"/>
                  <a:pt x="262" y="142"/>
                  <a:pt x="262" y="142"/>
                </a:cubicBezTo>
                <a:cubicBezTo>
                  <a:pt x="263" y="140"/>
                  <a:pt x="263" y="140"/>
                  <a:pt x="263" y="140"/>
                </a:cubicBezTo>
                <a:cubicBezTo>
                  <a:pt x="262" y="138"/>
                  <a:pt x="262" y="138"/>
                  <a:pt x="262" y="138"/>
                </a:cubicBezTo>
                <a:cubicBezTo>
                  <a:pt x="260" y="138"/>
                  <a:pt x="260" y="138"/>
                  <a:pt x="260" y="138"/>
                </a:cubicBezTo>
                <a:cubicBezTo>
                  <a:pt x="259" y="137"/>
                  <a:pt x="259" y="137"/>
                  <a:pt x="259" y="137"/>
                </a:cubicBezTo>
                <a:cubicBezTo>
                  <a:pt x="259" y="136"/>
                  <a:pt x="259" y="136"/>
                  <a:pt x="259" y="136"/>
                </a:cubicBezTo>
                <a:cubicBezTo>
                  <a:pt x="257" y="136"/>
                  <a:pt x="257" y="136"/>
                  <a:pt x="257" y="136"/>
                </a:cubicBezTo>
                <a:cubicBezTo>
                  <a:pt x="256" y="136"/>
                  <a:pt x="256" y="136"/>
                  <a:pt x="256" y="136"/>
                </a:cubicBezTo>
                <a:cubicBezTo>
                  <a:pt x="256" y="136"/>
                  <a:pt x="256" y="136"/>
                  <a:pt x="256" y="136"/>
                </a:cubicBezTo>
                <a:cubicBezTo>
                  <a:pt x="255" y="134"/>
                  <a:pt x="255" y="134"/>
                  <a:pt x="255" y="134"/>
                </a:cubicBezTo>
                <a:cubicBezTo>
                  <a:pt x="253" y="134"/>
                  <a:pt x="253" y="134"/>
                  <a:pt x="253" y="134"/>
                </a:cubicBezTo>
                <a:cubicBezTo>
                  <a:pt x="252" y="135"/>
                  <a:pt x="252" y="135"/>
                  <a:pt x="252" y="135"/>
                </a:cubicBezTo>
                <a:cubicBezTo>
                  <a:pt x="250" y="133"/>
                  <a:pt x="250" y="133"/>
                  <a:pt x="250" y="133"/>
                </a:cubicBezTo>
                <a:cubicBezTo>
                  <a:pt x="251" y="132"/>
                  <a:pt x="251" y="132"/>
                  <a:pt x="251" y="132"/>
                </a:cubicBezTo>
                <a:cubicBezTo>
                  <a:pt x="251" y="131"/>
                  <a:pt x="251" y="131"/>
                  <a:pt x="251" y="131"/>
                </a:cubicBezTo>
                <a:cubicBezTo>
                  <a:pt x="252" y="131"/>
                  <a:pt x="252" y="131"/>
                  <a:pt x="252" y="131"/>
                </a:cubicBezTo>
                <a:cubicBezTo>
                  <a:pt x="253" y="132"/>
                  <a:pt x="253" y="132"/>
                  <a:pt x="253" y="132"/>
                </a:cubicBezTo>
                <a:cubicBezTo>
                  <a:pt x="255" y="132"/>
                  <a:pt x="255" y="132"/>
                  <a:pt x="255" y="132"/>
                </a:cubicBezTo>
                <a:cubicBezTo>
                  <a:pt x="256" y="131"/>
                  <a:pt x="256" y="131"/>
                  <a:pt x="256" y="131"/>
                </a:cubicBezTo>
                <a:cubicBezTo>
                  <a:pt x="255" y="131"/>
                  <a:pt x="255" y="131"/>
                  <a:pt x="255" y="131"/>
                </a:cubicBezTo>
                <a:cubicBezTo>
                  <a:pt x="255" y="131"/>
                  <a:pt x="255" y="131"/>
                  <a:pt x="255" y="131"/>
                </a:cubicBezTo>
                <a:cubicBezTo>
                  <a:pt x="254" y="131"/>
                  <a:pt x="254" y="131"/>
                  <a:pt x="254" y="131"/>
                </a:cubicBezTo>
                <a:cubicBezTo>
                  <a:pt x="252" y="130"/>
                  <a:pt x="252" y="130"/>
                  <a:pt x="252" y="130"/>
                </a:cubicBezTo>
                <a:cubicBezTo>
                  <a:pt x="252" y="129"/>
                  <a:pt x="252" y="129"/>
                  <a:pt x="252" y="129"/>
                </a:cubicBezTo>
                <a:cubicBezTo>
                  <a:pt x="251" y="129"/>
                  <a:pt x="251" y="129"/>
                  <a:pt x="251" y="129"/>
                </a:cubicBezTo>
                <a:cubicBezTo>
                  <a:pt x="249" y="128"/>
                  <a:pt x="249" y="128"/>
                  <a:pt x="249" y="128"/>
                </a:cubicBezTo>
                <a:cubicBezTo>
                  <a:pt x="247" y="129"/>
                  <a:pt x="247" y="129"/>
                  <a:pt x="247" y="129"/>
                </a:cubicBezTo>
                <a:cubicBezTo>
                  <a:pt x="247" y="128"/>
                  <a:pt x="247" y="128"/>
                  <a:pt x="247" y="128"/>
                </a:cubicBezTo>
                <a:cubicBezTo>
                  <a:pt x="247" y="127"/>
                  <a:pt x="247" y="127"/>
                  <a:pt x="247" y="127"/>
                </a:cubicBezTo>
                <a:cubicBezTo>
                  <a:pt x="247" y="126"/>
                  <a:pt x="247" y="126"/>
                  <a:pt x="247" y="126"/>
                </a:cubicBezTo>
                <a:cubicBezTo>
                  <a:pt x="246" y="125"/>
                  <a:pt x="246" y="125"/>
                  <a:pt x="246" y="125"/>
                </a:cubicBezTo>
                <a:cubicBezTo>
                  <a:pt x="247" y="124"/>
                  <a:pt x="247" y="124"/>
                  <a:pt x="247" y="124"/>
                </a:cubicBezTo>
                <a:cubicBezTo>
                  <a:pt x="248" y="125"/>
                  <a:pt x="248" y="125"/>
                  <a:pt x="248" y="125"/>
                </a:cubicBezTo>
                <a:cubicBezTo>
                  <a:pt x="249" y="126"/>
                  <a:pt x="249" y="126"/>
                  <a:pt x="249" y="126"/>
                </a:cubicBezTo>
                <a:cubicBezTo>
                  <a:pt x="250" y="126"/>
                  <a:pt x="250" y="126"/>
                  <a:pt x="250" y="126"/>
                </a:cubicBezTo>
                <a:cubicBezTo>
                  <a:pt x="252" y="128"/>
                  <a:pt x="252" y="128"/>
                  <a:pt x="252" y="128"/>
                </a:cubicBezTo>
                <a:cubicBezTo>
                  <a:pt x="252" y="127"/>
                  <a:pt x="252" y="127"/>
                  <a:pt x="252" y="127"/>
                </a:cubicBezTo>
                <a:cubicBezTo>
                  <a:pt x="251" y="126"/>
                  <a:pt x="251" y="126"/>
                  <a:pt x="251" y="126"/>
                </a:cubicBezTo>
                <a:cubicBezTo>
                  <a:pt x="253" y="125"/>
                  <a:pt x="253" y="125"/>
                  <a:pt x="253" y="125"/>
                </a:cubicBezTo>
                <a:cubicBezTo>
                  <a:pt x="253" y="123"/>
                  <a:pt x="253" y="123"/>
                  <a:pt x="253" y="123"/>
                </a:cubicBezTo>
                <a:cubicBezTo>
                  <a:pt x="252" y="122"/>
                  <a:pt x="252" y="122"/>
                  <a:pt x="252" y="122"/>
                </a:cubicBezTo>
                <a:cubicBezTo>
                  <a:pt x="252" y="121"/>
                  <a:pt x="252" y="121"/>
                  <a:pt x="252" y="121"/>
                </a:cubicBezTo>
                <a:cubicBezTo>
                  <a:pt x="253" y="122"/>
                  <a:pt x="253" y="122"/>
                  <a:pt x="253" y="122"/>
                </a:cubicBezTo>
                <a:cubicBezTo>
                  <a:pt x="254" y="121"/>
                  <a:pt x="254" y="121"/>
                  <a:pt x="254" y="121"/>
                </a:cubicBezTo>
                <a:cubicBezTo>
                  <a:pt x="251" y="120"/>
                  <a:pt x="251" y="120"/>
                  <a:pt x="251" y="120"/>
                </a:cubicBezTo>
                <a:cubicBezTo>
                  <a:pt x="251" y="121"/>
                  <a:pt x="251" y="121"/>
                  <a:pt x="251" y="121"/>
                </a:cubicBezTo>
                <a:cubicBezTo>
                  <a:pt x="250" y="121"/>
                  <a:pt x="250" y="121"/>
                  <a:pt x="250" y="121"/>
                </a:cubicBezTo>
                <a:cubicBezTo>
                  <a:pt x="250" y="120"/>
                  <a:pt x="250" y="120"/>
                  <a:pt x="250" y="120"/>
                </a:cubicBezTo>
                <a:cubicBezTo>
                  <a:pt x="251" y="119"/>
                  <a:pt x="251" y="119"/>
                  <a:pt x="251" y="119"/>
                </a:cubicBezTo>
                <a:cubicBezTo>
                  <a:pt x="253" y="118"/>
                  <a:pt x="253" y="118"/>
                  <a:pt x="253" y="118"/>
                </a:cubicBezTo>
                <a:cubicBezTo>
                  <a:pt x="255" y="118"/>
                  <a:pt x="255" y="118"/>
                  <a:pt x="255" y="118"/>
                </a:cubicBezTo>
                <a:cubicBezTo>
                  <a:pt x="254" y="117"/>
                  <a:pt x="254" y="117"/>
                  <a:pt x="254" y="117"/>
                </a:cubicBezTo>
                <a:cubicBezTo>
                  <a:pt x="256" y="115"/>
                  <a:pt x="256" y="115"/>
                  <a:pt x="256" y="115"/>
                </a:cubicBezTo>
                <a:cubicBezTo>
                  <a:pt x="256" y="114"/>
                  <a:pt x="256" y="114"/>
                  <a:pt x="256" y="114"/>
                </a:cubicBezTo>
                <a:cubicBezTo>
                  <a:pt x="256" y="114"/>
                  <a:pt x="256" y="114"/>
                  <a:pt x="256" y="114"/>
                </a:cubicBezTo>
                <a:cubicBezTo>
                  <a:pt x="256" y="113"/>
                  <a:pt x="256" y="113"/>
                  <a:pt x="256" y="113"/>
                </a:cubicBezTo>
                <a:cubicBezTo>
                  <a:pt x="257" y="111"/>
                  <a:pt x="257" y="111"/>
                  <a:pt x="257" y="111"/>
                </a:cubicBezTo>
                <a:cubicBezTo>
                  <a:pt x="257" y="111"/>
                  <a:pt x="257" y="111"/>
                  <a:pt x="257" y="111"/>
                </a:cubicBezTo>
                <a:cubicBezTo>
                  <a:pt x="258" y="112"/>
                  <a:pt x="258" y="112"/>
                  <a:pt x="258" y="112"/>
                </a:cubicBezTo>
                <a:cubicBezTo>
                  <a:pt x="259" y="112"/>
                  <a:pt x="259" y="112"/>
                  <a:pt x="259" y="112"/>
                </a:cubicBezTo>
                <a:cubicBezTo>
                  <a:pt x="259" y="111"/>
                  <a:pt x="259" y="111"/>
                  <a:pt x="259" y="111"/>
                </a:cubicBezTo>
                <a:cubicBezTo>
                  <a:pt x="260" y="111"/>
                  <a:pt x="260" y="111"/>
                  <a:pt x="260" y="111"/>
                </a:cubicBezTo>
                <a:cubicBezTo>
                  <a:pt x="259" y="110"/>
                  <a:pt x="259" y="110"/>
                  <a:pt x="259" y="110"/>
                </a:cubicBezTo>
                <a:cubicBezTo>
                  <a:pt x="259" y="109"/>
                  <a:pt x="259" y="109"/>
                  <a:pt x="259" y="109"/>
                </a:cubicBezTo>
                <a:cubicBezTo>
                  <a:pt x="261" y="108"/>
                  <a:pt x="261" y="108"/>
                  <a:pt x="261" y="108"/>
                </a:cubicBezTo>
                <a:cubicBezTo>
                  <a:pt x="262" y="108"/>
                  <a:pt x="262" y="108"/>
                  <a:pt x="262" y="108"/>
                </a:cubicBezTo>
                <a:cubicBezTo>
                  <a:pt x="262" y="107"/>
                  <a:pt x="262" y="107"/>
                  <a:pt x="262" y="107"/>
                </a:cubicBezTo>
                <a:cubicBezTo>
                  <a:pt x="263" y="107"/>
                  <a:pt x="263" y="107"/>
                  <a:pt x="263" y="107"/>
                </a:cubicBezTo>
                <a:cubicBezTo>
                  <a:pt x="264" y="107"/>
                  <a:pt x="264" y="107"/>
                  <a:pt x="264" y="107"/>
                </a:cubicBezTo>
                <a:cubicBezTo>
                  <a:pt x="266" y="107"/>
                  <a:pt x="266" y="107"/>
                  <a:pt x="266" y="107"/>
                </a:cubicBezTo>
                <a:cubicBezTo>
                  <a:pt x="265" y="106"/>
                  <a:pt x="265" y="106"/>
                  <a:pt x="265" y="106"/>
                </a:cubicBezTo>
                <a:cubicBezTo>
                  <a:pt x="266" y="105"/>
                  <a:pt x="266" y="105"/>
                  <a:pt x="266" y="105"/>
                </a:cubicBezTo>
                <a:cubicBezTo>
                  <a:pt x="268" y="105"/>
                  <a:pt x="268" y="105"/>
                  <a:pt x="268" y="105"/>
                </a:cubicBezTo>
                <a:cubicBezTo>
                  <a:pt x="270" y="104"/>
                  <a:pt x="270" y="104"/>
                  <a:pt x="270" y="104"/>
                </a:cubicBezTo>
                <a:cubicBezTo>
                  <a:pt x="271" y="102"/>
                  <a:pt x="271" y="102"/>
                  <a:pt x="271" y="102"/>
                </a:cubicBezTo>
                <a:cubicBezTo>
                  <a:pt x="274" y="101"/>
                  <a:pt x="274" y="101"/>
                  <a:pt x="274" y="101"/>
                </a:cubicBezTo>
                <a:cubicBezTo>
                  <a:pt x="274" y="100"/>
                  <a:pt x="274" y="100"/>
                  <a:pt x="274" y="100"/>
                </a:cubicBezTo>
                <a:cubicBezTo>
                  <a:pt x="274" y="100"/>
                  <a:pt x="274" y="100"/>
                  <a:pt x="274" y="100"/>
                </a:cubicBezTo>
                <a:cubicBezTo>
                  <a:pt x="271" y="101"/>
                  <a:pt x="271" y="101"/>
                  <a:pt x="271" y="101"/>
                </a:cubicBezTo>
                <a:cubicBezTo>
                  <a:pt x="271" y="100"/>
                  <a:pt x="271" y="100"/>
                  <a:pt x="271" y="100"/>
                </a:cubicBezTo>
                <a:cubicBezTo>
                  <a:pt x="269" y="102"/>
                  <a:pt x="269" y="102"/>
                  <a:pt x="269" y="102"/>
                </a:cubicBezTo>
                <a:cubicBezTo>
                  <a:pt x="269" y="101"/>
                  <a:pt x="269" y="101"/>
                  <a:pt x="269" y="101"/>
                </a:cubicBezTo>
                <a:cubicBezTo>
                  <a:pt x="269" y="98"/>
                  <a:pt x="269" y="98"/>
                  <a:pt x="269" y="98"/>
                </a:cubicBezTo>
                <a:cubicBezTo>
                  <a:pt x="269" y="98"/>
                  <a:pt x="269" y="98"/>
                  <a:pt x="269" y="98"/>
                </a:cubicBezTo>
                <a:cubicBezTo>
                  <a:pt x="270" y="96"/>
                  <a:pt x="270" y="96"/>
                  <a:pt x="270" y="96"/>
                </a:cubicBezTo>
                <a:cubicBezTo>
                  <a:pt x="270" y="97"/>
                  <a:pt x="270" y="97"/>
                  <a:pt x="270" y="97"/>
                </a:cubicBezTo>
                <a:cubicBezTo>
                  <a:pt x="270" y="97"/>
                  <a:pt x="270" y="97"/>
                  <a:pt x="270" y="97"/>
                </a:cubicBezTo>
                <a:cubicBezTo>
                  <a:pt x="271" y="97"/>
                  <a:pt x="271" y="97"/>
                  <a:pt x="271" y="97"/>
                </a:cubicBezTo>
                <a:cubicBezTo>
                  <a:pt x="272" y="97"/>
                  <a:pt x="272" y="97"/>
                  <a:pt x="272" y="97"/>
                </a:cubicBezTo>
                <a:cubicBezTo>
                  <a:pt x="270" y="95"/>
                  <a:pt x="270" y="95"/>
                  <a:pt x="270" y="95"/>
                </a:cubicBezTo>
                <a:cubicBezTo>
                  <a:pt x="272" y="95"/>
                  <a:pt x="272" y="95"/>
                  <a:pt x="272" y="95"/>
                </a:cubicBezTo>
                <a:cubicBezTo>
                  <a:pt x="273" y="96"/>
                  <a:pt x="273" y="96"/>
                  <a:pt x="273" y="96"/>
                </a:cubicBezTo>
                <a:cubicBezTo>
                  <a:pt x="274" y="96"/>
                  <a:pt x="274" y="96"/>
                  <a:pt x="274" y="96"/>
                </a:cubicBezTo>
                <a:cubicBezTo>
                  <a:pt x="276" y="95"/>
                  <a:pt x="276" y="95"/>
                  <a:pt x="276" y="95"/>
                </a:cubicBezTo>
                <a:cubicBezTo>
                  <a:pt x="277" y="95"/>
                  <a:pt x="277" y="95"/>
                  <a:pt x="277" y="95"/>
                </a:cubicBezTo>
                <a:cubicBezTo>
                  <a:pt x="281" y="94"/>
                  <a:pt x="281" y="94"/>
                  <a:pt x="281" y="94"/>
                </a:cubicBezTo>
                <a:cubicBezTo>
                  <a:pt x="282" y="94"/>
                  <a:pt x="282" y="94"/>
                  <a:pt x="282" y="94"/>
                </a:cubicBezTo>
                <a:cubicBezTo>
                  <a:pt x="283" y="95"/>
                  <a:pt x="283" y="95"/>
                  <a:pt x="283" y="95"/>
                </a:cubicBezTo>
                <a:cubicBezTo>
                  <a:pt x="281" y="98"/>
                  <a:pt x="281" y="98"/>
                  <a:pt x="281" y="98"/>
                </a:cubicBezTo>
                <a:cubicBezTo>
                  <a:pt x="281" y="99"/>
                  <a:pt x="281" y="99"/>
                  <a:pt x="281" y="99"/>
                </a:cubicBezTo>
                <a:cubicBezTo>
                  <a:pt x="283" y="100"/>
                  <a:pt x="283" y="100"/>
                  <a:pt x="283" y="100"/>
                </a:cubicBezTo>
                <a:cubicBezTo>
                  <a:pt x="283" y="98"/>
                  <a:pt x="283" y="98"/>
                  <a:pt x="283" y="98"/>
                </a:cubicBezTo>
                <a:cubicBezTo>
                  <a:pt x="284" y="96"/>
                  <a:pt x="284" y="96"/>
                  <a:pt x="284" y="96"/>
                </a:cubicBezTo>
                <a:cubicBezTo>
                  <a:pt x="284" y="95"/>
                  <a:pt x="284" y="95"/>
                  <a:pt x="284" y="95"/>
                </a:cubicBezTo>
                <a:cubicBezTo>
                  <a:pt x="284" y="94"/>
                  <a:pt x="284" y="94"/>
                  <a:pt x="284" y="94"/>
                </a:cubicBezTo>
                <a:cubicBezTo>
                  <a:pt x="285" y="96"/>
                  <a:pt x="285" y="96"/>
                  <a:pt x="285" y="96"/>
                </a:cubicBezTo>
                <a:cubicBezTo>
                  <a:pt x="285" y="97"/>
                  <a:pt x="285" y="97"/>
                  <a:pt x="285" y="97"/>
                </a:cubicBezTo>
                <a:cubicBezTo>
                  <a:pt x="286" y="97"/>
                  <a:pt x="286" y="97"/>
                  <a:pt x="286" y="97"/>
                </a:cubicBezTo>
                <a:cubicBezTo>
                  <a:pt x="287" y="96"/>
                  <a:pt x="287" y="96"/>
                  <a:pt x="287" y="96"/>
                </a:cubicBezTo>
                <a:cubicBezTo>
                  <a:pt x="286" y="95"/>
                  <a:pt x="286" y="95"/>
                  <a:pt x="286" y="95"/>
                </a:cubicBezTo>
                <a:cubicBezTo>
                  <a:pt x="287" y="94"/>
                  <a:pt x="287" y="94"/>
                  <a:pt x="287" y="94"/>
                </a:cubicBezTo>
                <a:cubicBezTo>
                  <a:pt x="288" y="94"/>
                  <a:pt x="288" y="94"/>
                  <a:pt x="288" y="94"/>
                </a:cubicBezTo>
                <a:cubicBezTo>
                  <a:pt x="288" y="96"/>
                  <a:pt x="288" y="96"/>
                  <a:pt x="288" y="96"/>
                </a:cubicBezTo>
                <a:cubicBezTo>
                  <a:pt x="290" y="94"/>
                  <a:pt x="290" y="94"/>
                  <a:pt x="290" y="94"/>
                </a:cubicBezTo>
                <a:cubicBezTo>
                  <a:pt x="290" y="93"/>
                  <a:pt x="290" y="93"/>
                  <a:pt x="290" y="93"/>
                </a:cubicBezTo>
                <a:cubicBezTo>
                  <a:pt x="289" y="92"/>
                  <a:pt x="289" y="92"/>
                  <a:pt x="289" y="92"/>
                </a:cubicBezTo>
                <a:cubicBezTo>
                  <a:pt x="291" y="92"/>
                  <a:pt x="291" y="92"/>
                  <a:pt x="291" y="92"/>
                </a:cubicBezTo>
                <a:cubicBezTo>
                  <a:pt x="291" y="92"/>
                  <a:pt x="291" y="92"/>
                  <a:pt x="291" y="92"/>
                </a:cubicBezTo>
                <a:cubicBezTo>
                  <a:pt x="290" y="91"/>
                  <a:pt x="290" y="91"/>
                  <a:pt x="290" y="91"/>
                </a:cubicBezTo>
                <a:cubicBezTo>
                  <a:pt x="292" y="90"/>
                  <a:pt x="292" y="90"/>
                  <a:pt x="292" y="90"/>
                </a:cubicBezTo>
                <a:cubicBezTo>
                  <a:pt x="293" y="90"/>
                  <a:pt x="293" y="90"/>
                  <a:pt x="293" y="90"/>
                </a:cubicBezTo>
                <a:cubicBezTo>
                  <a:pt x="294" y="89"/>
                  <a:pt x="294" y="89"/>
                  <a:pt x="294" y="89"/>
                </a:cubicBezTo>
                <a:cubicBezTo>
                  <a:pt x="295" y="89"/>
                  <a:pt x="295" y="89"/>
                  <a:pt x="295" y="89"/>
                </a:cubicBezTo>
                <a:cubicBezTo>
                  <a:pt x="295" y="90"/>
                  <a:pt x="295" y="90"/>
                  <a:pt x="295" y="90"/>
                </a:cubicBezTo>
                <a:cubicBezTo>
                  <a:pt x="296" y="90"/>
                  <a:pt x="296" y="90"/>
                  <a:pt x="296" y="90"/>
                </a:cubicBezTo>
                <a:cubicBezTo>
                  <a:pt x="298" y="91"/>
                  <a:pt x="298" y="91"/>
                  <a:pt x="298" y="91"/>
                </a:cubicBezTo>
                <a:cubicBezTo>
                  <a:pt x="298" y="92"/>
                  <a:pt x="298" y="92"/>
                  <a:pt x="298" y="92"/>
                </a:cubicBezTo>
                <a:cubicBezTo>
                  <a:pt x="298" y="93"/>
                  <a:pt x="298" y="93"/>
                  <a:pt x="298" y="93"/>
                </a:cubicBezTo>
                <a:cubicBezTo>
                  <a:pt x="297" y="96"/>
                  <a:pt x="297" y="96"/>
                  <a:pt x="297" y="96"/>
                </a:cubicBezTo>
                <a:cubicBezTo>
                  <a:pt x="299" y="95"/>
                  <a:pt x="299" y="95"/>
                  <a:pt x="299" y="95"/>
                </a:cubicBezTo>
                <a:cubicBezTo>
                  <a:pt x="300" y="93"/>
                  <a:pt x="300" y="93"/>
                  <a:pt x="300" y="93"/>
                </a:cubicBezTo>
                <a:cubicBezTo>
                  <a:pt x="299" y="90"/>
                  <a:pt x="299" y="90"/>
                  <a:pt x="299" y="90"/>
                </a:cubicBezTo>
                <a:cubicBezTo>
                  <a:pt x="297" y="89"/>
                  <a:pt x="297" y="89"/>
                  <a:pt x="297" y="89"/>
                </a:cubicBezTo>
                <a:cubicBezTo>
                  <a:pt x="296" y="87"/>
                  <a:pt x="296" y="87"/>
                  <a:pt x="296" y="87"/>
                </a:cubicBezTo>
                <a:cubicBezTo>
                  <a:pt x="295" y="88"/>
                  <a:pt x="295" y="88"/>
                  <a:pt x="295" y="88"/>
                </a:cubicBezTo>
                <a:cubicBezTo>
                  <a:pt x="294" y="88"/>
                  <a:pt x="294" y="88"/>
                  <a:pt x="294" y="88"/>
                </a:cubicBezTo>
                <a:cubicBezTo>
                  <a:pt x="292" y="88"/>
                  <a:pt x="292" y="88"/>
                  <a:pt x="292" y="88"/>
                </a:cubicBezTo>
                <a:cubicBezTo>
                  <a:pt x="292" y="87"/>
                  <a:pt x="292" y="87"/>
                  <a:pt x="292" y="87"/>
                </a:cubicBezTo>
                <a:cubicBezTo>
                  <a:pt x="291" y="86"/>
                  <a:pt x="291" y="86"/>
                  <a:pt x="291" y="86"/>
                </a:cubicBezTo>
                <a:cubicBezTo>
                  <a:pt x="291" y="86"/>
                  <a:pt x="291" y="86"/>
                  <a:pt x="291" y="86"/>
                </a:cubicBezTo>
                <a:cubicBezTo>
                  <a:pt x="291" y="85"/>
                  <a:pt x="291" y="85"/>
                  <a:pt x="291" y="85"/>
                </a:cubicBezTo>
                <a:cubicBezTo>
                  <a:pt x="294" y="85"/>
                  <a:pt x="294" y="85"/>
                  <a:pt x="294" y="85"/>
                </a:cubicBezTo>
                <a:cubicBezTo>
                  <a:pt x="295" y="84"/>
                  <a:pt x="295" y="84"/>
                  <a:pt x="295" y="84"/>
                </a:cubicBezTo>
                <a:cubicBezTo>
                  <a:pt x="296" y="84"/>
                  <a:pt x="296" y="84"/>
                  <a:pt x="296" y="84"/>
                </a:cubicBezTo>
                <a:cubicBezTo>
                  <a:pt x="297" y="84"/>
                  <a:pt x="297" y="84"/>
                  <a:pt x="297" y="84"/>
                </a:cubicBezTo>
                <a:cubicBezTo>
                  <a:pt x="299" y="84"/>
                  <a:pt x="299" y="84"/>
                  <a:pt x="299" y="84"/>
                </a:cubicBezTo>
                <a:cubicBezTo>
                  <a:pt x="299" y="84"/>
                  <a:pt x="299" y="84"/>
                  <a:pt x="299" y="84"/>
                </a:cubicBezTo>
                <a:cubicBezTo>
                  <a:pt x="302" y="83"/>
                  <a:pt x="302" y="83"/>
                  <a:pt x="302" y="83"/>
                </a:cubicBezTo>
                <a:cubicBezTo>
                  <a:pt x="304" y="84"/>
                  <a:pt x="304" y="84"/>
                  <a:pt x="304" y="84"/>
                </a:cubicBezTo>
                <a:cubicBezTo>
                  <a:pt x="305" y="84"/>
                  <a:pt x="305" y="84"/>
                  <a:pt x="305" y="84"/>
                </a:cubicBezTo>
                <a:cubicBezTo>
                  <a:pt x="306" y="84"/>
                  <a:pt x="306" y="84"/>
                  <a:pt x="306" y="84"/>
                </a:cubicBezTo>
                <a:cubicBezTo>
                  <a:pt x="307" y="83"/>
                  <a:pt x="307" y="83"/>
                  <a:pt x="307" y="83"/>
                </a:cubicBezTo>
                <a:cubicBezTo>
                  <a:pt x="306" y="82"/>
                  <a:pt x="306" y="82"/>
                  <a:pt x="306" y="82"/>
                </a:cubicBezTo>
                <a:cubicBezTo>
                  <a:pt x="304" y="82"/>
                  <a:pt x="304" y="82"/>
                  <a:pt x="304" y="82"/>
                </a:cubicBezTo>
                <a:cubicBezTo>
                  <a:pt x="302" y="82"/>
                  <a:pt x="302" y="82"/>
                  <a:pt x="302" y="82"/>
                </a:cubicBezTo>
                <a:cubicBezTo>
                  <a:pt x="301" y="82"/>
                  <a:pt x="301" y="82"/>
                  <a:pt x="301" y="82"/>
                </a:cubicBezTo>
                <a:cubicBezTo>
                  <a:pt x="299" y="82"/>
                  <a:pt x="299" y="82"/>
                  <a:pt x="299" y="82"/>
                </a:cubicBezTo>
                <a:cubicBezTo>
                  <a:pt x="299" y="81"/>
                  <a:pt x="299" y="81"/>
                  <a:pt x="299" y="81"/>
                </a:cubicBezTo>
                <a:cubicBezTo>
                  <a:pt x="298" y="80"/>
                  <a:pt x="298" y="80"/>
                  <a:pt x="298" y="80"/>
                </a:cubicBezTo>
                <a:cubicBezTo>
                  <a:pt x="300" y="78"/>
                  <a:pt x="300" y="78"/>
                  <a:pt x="300" y="78"/>
                </a:cubicBezTo>
                <a:cubicBezTo>
                  <a:pt x="298" y="78"/>
                  <a:pt x="298" y="78"/>
                  <a:pt x="298" y="78"/>
                </a:cubicBezTo>
                <a:cubicBezTo>
                  <a:pt x="297" y="76"/>
                  <a:pt x="297" y="76"/>
                  <a:pt x="297" y="76"/>
                </a:cubicBezTo>
                <a:cubicBezTo>
                  <a:pt x="295" y="76"/>
                  <a:pt x="295" y="76"/>
                  <a:pt x="295" y="76"/>
                </a:cubicBezTo>
                <a:cubicBezTo>
                  <a:pt x="294" y="75"/>
                  <a:pt x="294" y="75"/>
                  <a:pt x="294" y="75"/>
                </a:cubicBezTo>
                <a:cubicBezTo>
                  <a:pt x="294" y="73"/>
                  <a:pt x="294" y="73"/>
                  <a:pt x="294" y="73"/>
                </a:cubicBezTo>
                <a:cubicBezTo>
                  <a:pt x="295" y="73"/>
                  <a:pt x="295" y="73"/>
                  <a:pt x="295" y="73"/>
                </a:cubicBezTo>
                <a:cubicBezTo>
                  <a:pt x="295" y="72"/>
                  <a:pt x="295" y="72"/>
                  <a:pt x="295" y="72"/>
                </a:cubicBezTo>
                <a:cubicBezTo>
                  <a:pt x="294" y="70"/>
                  <a:pt x="294" y="70"/>
                  <a:pt x="294" y="70"/>
                </a:cubicBezTo>
                <a:cubicBezTo>
                  <a:pt x="294" y="64"/>
                  <a:pt x="294" y="64"/>
                  <a:pt x="294" y="64"/>
                </a:cubicBezTo>
                <a:cubicBezTo>
                  <a:pt x="295" y="63"/>
                  <a:pt x="295" y="63"/>
                  <a:pt x="295" y="63"/>
                </a:cubicBezTo>
                <a:cubicBezTo>
                  <a:pt x="295" y="61"/>
                  <a:pt x="295" y="61"/>
                  <a:pt x="295" y="61"/>
                </a:cubicBezTo>
                <a:cubicBezTo>
                  <a:pt x="295" y="59"/>
                  <a:pt x="295" y="59"/>
                  <a:pt x="295" y="59"/>
                </a:cubicBezTo>
                <a:cubicBezTo>
                  <a:pt x="296" y="58"/>
                  <a:pt x="296" y="58"/>
                  <a:pt x="296" y="58"/>
                </a:cubicBezTo>
                <a:cubicBezTo>
                  <a:pt x="295" y="57"/>
                  <a:pt x="295" y="57"/>
                  <a:pt x="295" y="57"/>
                </a:cubicBezTo>
                <a:cubicBezTo>
                  <a:pt x="297" y="57"/>
                  <a:pt x="297" y="57"/>
                  <a:pt x="297" y="57"/>
                </a:cubicBezTo>
                <a:cubicBezTo>
                  <a:pt x="297" y="55"/>
                  <a:pt x="297" y="55"/>
                  <a:pt x="297" y="55"/>
                </a:cubicBezTo>
                <a:cubicBezTo>
                  <a:pt x="299" y="54"/>
                  <a:pt x="299" y="54"/>
                  <a:pt x="299" y="54"/>
                </a:cubicBezTo>
                <a:cubicBezTo>
                  <a:pt x="299" y="54"/>
                  <a:pt x="299" y="54"/>
                  <a:pt x="299" y="54"/>
                </a:cubicBezTo>
                <a:cubicBezTo>
                  <a:pt x="301" y="56"/>
                  <a:pt x="301" y="56"/>
                  <a:pt x="301" y="56"/>
                </a:cubicBezTo>
                <a:cubicBezTo>
                  <a:pt x="302" y="55"/>
                  <a:pt x="302" y="55"/>
                  <a:pt x="302" y="55"/>
                </a:cubicBezTo>
                <a:cubicBezTo>
                  <a:pt x="303" y="55"/>
                  <a:pt x="303" y="55"/>
                  <a:pt x="303" y="55"/>
                </a:cubicBezTo>
                <a:cubicBezTo>
                  <a:pt x="304" y="56"/>
                  <a:pt x="304" y="56"/>
                  <a:pt x="304" y="56"/>
                </a:cubicBezTo>
                <a:cubicBezTo>
                  <a:pt x="306" y="57"/>
                  <a:pt x="306" y="57"/>
                  <a:pt x="306" y="57"/>
                </a:cubicBezTo>
                <a:cubicBezTo>
                  <a:pt x="307" y="55"/>
                  <a:pt x="307" y="55"/>
                  <a:pt x="307" y="55"/>
                </a:cubicBezTo>
                <a:cubicBezTo>
                  <a:pt x="308" y="55"/>
                  <a:pt x="308" y="55"/>
                  <a:pt x="308" y="55"/>
                </a:cubicBezTo>
                <a:cubicBezTo>
                  <a:pt x="308" y="57"/>
                  <a:pt x="308" y="57"/>
                  <a:pt x="308" y="57"/>
                </a:cubicBezTo>
                <a:cubicBezTo>
                  <a:pt x="308" y="58"/>
                  <a:pt x="308" y="58"/>
                  <a:pt x="308" y="58"/>
                </a:cubicBezTo>
                <a:cubicBezTo>
                  <a:pt x="310" y="58"/>
                  <a:pt x="310" y="58"/>
                  <a:pt x="310" y="58"/>
                </a:cubicBezTo>
                <a:cubicBezTo>
                  <a:pt x="310" y="59"/>
                  <a:pt x="310" y="59"/>
                  <a:pt x="310" y="59"/>
                </a:cubicBezTo>
                <a:cubicBezTo>
                  <a:pt x="309" y="60"/>
                  <a:pt x="309" y="60"/>
                  <a:pt x="309" y="60"/>
                </a:cubicBezTo>
                <a:cubicBezTo>
                  <a:pt x="309" y="60"/>
                  <a:pt x="309" y="60"/>
                  <a:pt x="309" y="60"/>
                </a:cubicBezTo>
                <a:cubicBezTo>
                  <a:pt x="309" y="61"/>
                  <a:pt x="309" y="61"/>
                  <a:pt x="309" y="61"/>
                </a:cubicBezTo>
                <a:cubicBezTo>
                  <a:pt x="309" y="62"/>
                  <a:pt x="309" y="62"/>
                  <a:pt x="309" y="62"/>
                </a:cubicBezTo>
                <a:cubicBezTo>
                  <a:pt x="308" y="65"/>
                  <a:pt x="308" y="65"/>
                  <a:pt x="308" y="65"/>
                </a:cubicBezTo>
                <a:cubicBezTo>
                  <a:pt x="306" y="65"/>
                  <a:pt x="306" y="65"/>
                  <a:pt x="306" y="65"/>
                </a:cubicBezTo>
                <a:cubicBezTo>
                  <a:pt x="305" y="66"/>
                  <a:pt x="305" y="66"/>
                  <a:pt x="305" y="66"/>
                </a:cubicBezTo>
                <a:cubicBezTo>
                  <a:pt x="306" y="67"/>
                  <a:pt x="306" y="67"/>
                  <a:pt x="306" y="67"/>
                </a:cubicBezTo>
                <a:cubicBezTo>
                  <a:pt x="309" y="66"/>
                  <a:pt x="309" y="66"/>
                  <a:pt x="309" y="66"/>
                </a:cubicBezTo>
                <a:cubicBezTo>
                  <a:pt x="311" y="63"/>
                  <a:pt x="311" y="63"/>
                  <a:pt x="311" y="63"/>
                </a:cubicBezTo>
                <a:cubicBezTo>
                  <a:pt x="312" y="63"/>
                  <a:pt x="312" y="63"/>
                  <a:pt x="312" y="63"/>
                </a:cubicBezTo>
                <a:cubicBezTo>
                  <a:pt x="312" y="64"/>
                  <a:pt x="312" y="64"/>
                  <a:pt x="312" y="64"/>
                </a:cubicBezTo>
                <a:cubicBezTo>
                  <a:pt x="311" y="65"/>
                  <a:pt x="311" y="65"/>
                  <a:pt x="311" y="65"/>
                </a:cubicBezTo>
                <a:cubicBezTo>
                  <a:pt x="311" y="66"/>
                  <a:pt x="311" y="66"/>
                  <a:pt x="311" y="66"/>
                </a:cubicBezTo>
                <a:cubicBezTo>
                  <a:pt x="313" y="66"/>
                  <a:pt x="313" y="66"/>
                  <a:pt x="313" y="66"/>
                </a:cubicBezTo>
                <a:cubicBezTo>
                  <a:pt x="314" y="64"/>
                  <a:pt x="314" y="64"/>
                  <a:pt x="314" y="64"/>
                </a:cubicBezTo>
                <a:cubicBezTo>
                  <a:pt x="315" y="64"/>
                  <a:pt x="315" y="64"/>
                  <a:pt x="315" y="64"/>
                </a:cubicBezTo>
                <a:cubicBezTo>
                  <a:pt x="315" y="64"/>
                  <a:pt x="315" y="64"/>
                  <a:pt x="315" y="64"/>
                </a:cubicBezTo>
                <a:cubicBezTo>
                  <a:pt x="317" y="64"/>
                  <a:pt x="317" y="64"/>
                  <a:pt x="317" y="64"/>
                </a:cubicBezTo>
                <a:cubicBezTo>
                  <a:pt x="317" y="63"/>
                  <a:pt x="317" y="63"/>
                  <a:pt x="317" y="63"/>
                </a:cubicBezTo>
                <a:cubicBezTo>
                  <a:pt x="318" y="62"/>
                  <a:pt x="318" y="62"/>
                  <a:pt x="318" y="62"/>
                </a:cubicBezTo>
                <a:cubicBezTo>
                  <a:pt x="319" y="63"/>
                  <a:pt x="319" y="63"/>
                  <a:pt x="319" y="63"/>
                </a:cubicBezTo>
                <a:cubicBezTo>
                  <a:pt x="320" y="62"/>
                  <a:pt x="320" y="62"/>
                  <a:pt x="320" y="62"/>
                </a:cubicBezTo>
                <a:cubicBezTo>
                  <a:pt x="322" y="64"/>
                  <a:pt x="322" y="64"/>
                  <a:pt x="322" y="64"/>
                </a:cubicBezTo>
                <a:cubicBezTo>
                  <a:pt x="322" y="65"/>
                  <a:pt x="322" y="65"/>
                  <a:pt x="322" y="65"/>
                </a:cubicBezTo>
                <a:cubicBezTo>
                  <a:pt x="322" y="67"/>
                  <a:pt x="322" y="67"/>
                  <a:pt x="322" y="67"/>
                </a:cubicBezTo>
                <a:cubicBezTo>
                  <a:pt x="322" y="68"/>
                  <a:pt x="322" y="68"/>
                  <a:pt x="322" y="68"/>
                </a:cubicBezTo>
                <a:cubicBezTo>
                  <a:pt x="322" y="69"/>
                  <a:pt x="322" y="69"/>
                  <a:pt x="322" y="69"/>
                </a:cubicBezTo>
                <a:cubicBezTo>
                  <a:pt x="321" y="71"/>
                  <a:pt x="321" y="71"/>
                  <a:pt x="321" y="71"/>
                </a:cubicBezTo>
                <a:cubicBezTo>
                  <a:pt x="322" y="74"/>
                  <a:pt x="322" y="74"/>
                  <a:pt x="322" y="74"/>
                </a:cubicBezTo>
                <a:cubicBezTo>
                  <a:pt x="322" y="75"/>
                  <a:pt x="322" y="75"/>
                  <a:pt x="322" y="75"/>
                </a:cubicBezTo>
                <a:cubicBezTo>
                  <a:pt x="321" y="75"/>
                  <a:pt x="321" y="75"/>
                  <a:pt x="321" y="75"/>
                </a:cubicBezTo>
                <a:cubicBezTo>
                  <a:pt x="320" y="76"/>
                  <a:pt x="320" y="76"/>
                  <a:pt x="320" y="76"/>
                </a:cubicBezTo>
                <a:cubicBezTo>
                  <a:pt x="321" y="76"/>
                  <a:pt x="321" y="76"/>
                  <a:pt x="321" y="76"/>
                </a:cubicBezTo>
                <a:cubicBezTo>
                  <a:pt x="324" y="76"/>
                  <a:pt x="324" y="76"/>
                  <a:pt x="324" y="76"/>
                </a:cubicBezTo>
                <a:cubicBezTo>
                  <a:pt x="325" y="74"/>
                  <a:pt x="325" y="74"/>
                  <a:pt x="325" y="74"/>
                </a:cubicBezTo>
                <a:cubicBezTo>
                  <a:pt x="327" y="74"/>
                  <a:pt x="327" y="74"/>
                  <a:pt x="327" y="74"/>
                </a:cubicBezTo>
                <a:cubicBezTo>
                  <a:pt x="328" y="72"/>
                  <a:pt x="328" y="72"/>
                  <a:pt x="328" y="72"/>
                </a:cubicBezTo>
                <a:cubicBezTo>
                  <a:pt x="328" y="70"/>
                  <a:pt x="328" y="70"/>
                  <a:pt x="328" y="70"/>
                </a:cubicBezTo>
                <a:cubicBezTo>
                  <a:pt x="327" y="69"/>
                  <a:pt x="327" y="69"/>
                  <a:pt x="327" y="69"/>
                </a:cubicBezTo>
                <a:cubicBezTo>
                  <a:pt x="326" y="69"/>
                  <a:pt x="326" y="69"/>
                  <a:pt x="326" y="69"/>
                </a:cubicBezTo>
                <a:cubicBezTo>
                  <a:pt x="325" y="68"/>
                  <a:pt x="325" y="68"/>
                  <a:pt x="325" y="68"/>
                </a:cubicBezTo>
                <a:cubicBezTo>
                  <a:pt x="325" y="67"/>
                  <a:pt x="325" y="67"/>
                  <a:pt x="325" y="67"/>
                </a:cubicBezTo>
                <a:cubicBezTo>
                  <a:pt x="326" y="67"/>
                  <a:pt x="326" y="67"/>
                  <a:pt x="326" y="67"/>
                </a:cubicBezTo>
                <a:cubicBezTo>
                  <a:pt x="327" y="67"/>
                  <a:pt x="327" y="67"/>
                  <a:pt x="327" y="67"/>
                </a:cubicBezTo>
                <a:cubicBezTo>
                  <a:pt x="327" y="67"/>
                  <a:pt x="327" y="67"/>
                  <a:pt x="327" y="67"/>
                </a:cubicBezTo>
                <a:cubicBezTo>
                  <a:pt x="328" y="67"/>
                  <a:pt x="328" y="67"/>
                  <a:pt x="328" y="67"/>
                </a:cubicBezTo>
                <a:cubicBezTo>
                  <a:pt x="330" y="66"/>
                  <a:pt x="330" y="66"/>
                  <a:pt x="330" y="66"/>
                </a:cubicBezTo>
                <a:cubicBezTo>
                  <a:pt x="332" y="64"/>
                  <a:pt x="332" y="64"/>
                  <a:pt x="332" y="64"/>
                </a:cubicBezTo>
                <a:cubicBezTo>
                  <a:pt x="333" y="65"/>
                  <a:pt x="333" y="65"/>
                  <a:pt x="333" y="65"/>
                </a:cubicBezTo>
                <a:cubicBezTo>
                  <a:pt x="334" y="65"/>
                  <a:pt x="334" y="65"/>
                  <a:pt x="334" y="65"/>
                </a:cubicBezTo>
                <a:cubicBezTo>
                  <a:pt x="335" y="63"/>
                  <a:pt x="335" y="63"/>
                  <a:pt x="335" y="63"/>
                </a:cubicBezTo>
                <a:cubicBezTo>
                  <a:pt x="336" y="62"/>
                  <a:pt x="336" y="62"/>
                  <a:pt x="336" y="62"/>
                </a:cubicBezTo>
                <a:cubicBezTo>
                  <a:pt x="336" y="63"/>
                  <a:pt x="336" y="63"/>
                  <a:pt x="336" y="63"/>
                </a:cubicBezTo>
                <a:cubicBezTo>
                  <a:pt x="337" y="62"/>
                  <a:pt x="337" y="62"/>
                  <a:pt x="337" y="62"/>
                </a:cubicBezTo>
                <a:cubicBezTo>
                  <a:pt x="339" y="61"/>
                  <a:pt x="339" y="61"/>
                  <a:pt x="339" y="61"/>
                </a:cubicBezTo>
                <a:cubicBezTo>
                  <a:pt x="339" y="62"/>
                  <a:pt x="339" y="62"/>
                  <a:pt x="339" y="62"/>
                </a:cubicBezTo>
                <a:cubicBezTo>
                  <a:pt x="341" y="62"/>
                  <a:pt x="341" y="62"/>
                  <a:pt x="341" y="62"/>
                </a:cubicBezTo>
                <a:cubicBezTo>
                  <a:pt x="341" y="62"/>
                  <a:pt x="341" y="62"/>
                  <a:pt x="341" y="62"/>
                </a:cubicBezTo>
                <a:cubicBezTo>
                  <a:pt x="340" y="63"/>
                  <a:pt x="340" y="63"/>
                  <a:pt x="340" y="63"/>
                </a:cubicBezTo>
                <a:cubicBezTo>
                  <a:pt x="341" y="64"/>
                  <a:pt x="341" y="64"/>
                  <a:pt x="341" y="64"/>
                </a:cubicBezTo>
                <a:cubicBezTo>
                  <a:pt x="343" y="64"/>
                  <a:pt x="343" y="64"/>
                  <a:pt x="343" y="64"/>
                </a:cubicBezTo>
                <a:cubicBezTo>
                  <a:pt x="344" y="64"/>
                  <a:pt x="344" y="64"/>
                  <a:pt x="344" y="64"/>
                </a:cubicBezTo>
                <a:cubicBezTo>
                  <a:pt x="345" y="65"/>
                  <a:pt x="345" y="65"/>
                  <a:pt x="345" y="65"/>
                </a:cubicBezTo>
                <a:cubicBezTo>
                  <a:pt x="350" y="67"/>
                  <a:pt x="350" y="67"/>
                  <a:pt x="350" y="67"/>
                </a:cubicBezTo>
                <a:cubicBezTo>
                  <a:pt x="351" y="68"/>
                  <a:pt x="351" y="68"/>
                  <a:pt x="351" y="68"/>
                </a:cubicBezTo>
                <a:cubicBezTo>
                  <a:pt x="351" y="69"/>
                  <a:pt x="351" y="69"/>
                  <a:pt x="351" y="69"/>
                </a:cubicBezTo>
                <a:cubicBezTo>
                  <a:pt x="351" y="70"/>
                  <a:pt x="351" y="70"/>
                  <a:pt x="351" y="70"/>
                </a:cubicBezTo>
                <a:cubicBezTo>
                  <a:pt x="354" y="72"/>
                  <a:pt x="354" y="72"/>
                  <a:pt x="354" y="72"/>
                </a:cubicBezTo>
                <a:cubicBezTo>
                  <a:pt x="354" y="72"/>
                  <a:pt x="354" y="72"/>
                  <a:pt x="354" y="72"/>
                </a:cubicBezTo>
                <a:cubicBezTo>
                  <a:pt x="354" y="71"/>
                  <a:pt x="354" y="71"/>
                  <a:pt x="354" y="71"/>
                </a:cubicBezTo>
                <a:cubicBezTo>
                  <a:pt x="355" y="71"/>
                  <a:pt x="355" y="71"/>
                  <a:pt x="355" y="71"/>
                </a:cubicBezTo>
                <a:cubicBezTo>
                  <a:pt x="355" y="70"/>
                  <a:pt x="355" y="70"/>
                  <a:pt x="355" y="70"/>
                </a:cubicBezTo>
                <a:cubicBezTo>
                  <a:pt x="354" y="70"/>
                  <a:pt x="354" y="70"/>
                  <a:pt x="354" y="70"/>
                </a:cubicBezTo>
                <a:cubicBezTo>
                  <a:pt x="353" y="69"/>
                  <a:pt x="353" y="69"/>
                  <a:pt x="353" y="69"/>
                </a:cubicBezTo>
                <a:cubicBezTo>
                  <a:pt x="353" y="68"/>
                  <a:pt x="353" y="68"/>
                  <a:pt x="353" y="68"/>
                </a:cubicBezTo>
                <a:cubicBezTo>
                  <a:pt x="354" y="68"/>
                  <a:pt x="354" y="68"/>
                  <a:pt x="354" y="68"/>
                </a:cubicBezTo>
                <a:cubicBezTo>
                  <a:pt x="355" y="68"/>
                  <a:pt x="355" y="68"/>
                  <a:pt x="355" y="68"/>
                </a:cubicBezTo>
                <a:cubicBezTo>
                  <a:pt x="356" y="69"/>
                  <a:pt x="356" y="69"/>
                  <a:pt x="356" y="69"/>
                </a:cubicBezTo>
                <a:cubicBezTo>
                  <a:pt x="357" y="69"/>
                  <a:pt x="357" y="69"/>
                  <a:pt x="357" y="69"/>
                </a:cubicBezTo>
                <a:cubicBezTo>
                  <a:pt x="357" y="70"/>
                  <a:pt x="357" y="70"/>
                  <a:pt x="357" y="70"/>
                </a:cubicBezTo>
                <a:cubicBezTo>
                  <a:pt x="358" y="72"/>
                  <a:pt x="358" y="72"/>
                  <a:pt x="358" y="72"/>
                </a:cubicBezTo>
                <a:cubicBezTo>
                  <a:pt x="359" y="74"/>
                  <a:pt x="359" y="74"/>
                  <a:pt x="359" y="74"/>
                </a:cubicBezTo>
                <a:cubicBezTo>
                  <a:pt x="359" y="74"/>
                  <a:pt x="359" y="74"/>
                  <a:pt x="359" y="74"/>
                </a:cubicBezTo>
                <a:cubicBezTo>
                  <a:pt x="360" y="73"/>
                  <a:pt x="360" y="73"/>
                  <a:pt x="360" y="73"/>
                </a:cubicBezTo>
                <a:cubicBezTo>
                  <a:pt x="361" y="73"/>
                  <a:pt x="361" y="73"/>
                  <a:pt x="361" y="73"/>
                </a:cubicBezTo>
                <a:cubicBezTo>
                  <a:pt x="361" y="74"/>
                  <a:pt x="361" y="74"/>
                  <a:pt x="361" y="74"/>
                </a:cubicBezTo>
                <a:cubicBezTo>
                  <a:pt x="362" y="75"/>
                  <a:pt x="362" y="75"/>
                  <a:pt x="362" y="75"/>
                </a:cubicBezTo>
                <a:cubicBezTo>
                  <a:pt x="362" y="76"/>
                  <a:pt x="362" y="76"/>
                  <a:pt x="362" y="76"/>
                </a:cubicBezTo>
                <a:cubicBezTo>
                  <a:pt x="363" y="78"/>
                  <a:pt x="363" y="78"/>
                  <a:pt x="363" y="78"/>
                </a:cubicBezTo>
                <a:cubicBezTo>
                  <a:pt x="363" y="79"/>
                  <a:pt x="363" y="79"/>
                  <a:pt x="363" y="79"/>
                </a:cubicBezTo>
                <a:cubicBezTo>
                  <a:pt x="363" y="78"/>
                  <a:pt x="363" y="78"/>
                  <a:pt x="363" y="78"/>
                </a:cubicBezTo>
                <a:cubicBezTo>
                  <a:pt x="363" y="78"/>
                  <a:pt x="363" y="78"/>
                  <a:pt x="363" y="78"/>
                </a:cubicBezTo>
                <a:cubicBezTo>
                  <a:pt x="362" y="77"/>
                  <a:pt x="362" y="77"/>
                  <a:pt x="362" y="77"/>
                </a:cubicBezTo>
                <a:cubicBezTo>
                  <a:pt x="362" y="77"/>
                  <a:pt x="362" y="77"/>
                  <a:pt x="362" y="77"/>
                </a:cubicBezTo>
                <a:cubicBezTo>
                  <a:pt x="361" y="78"/>
                  <a:pt x="361" y="78"/>
                  <a:pt x="361" y="78"/>
                </a:cubicBezTo>
                <a:cubicBezTo>
                  <a:pt x="360" y="77"/>
                  <a:pt x="360" y="77"/>
                  <a:pt x="360" y="77"/>
                </a:cubicBezTo>
                <a:cubicBezTo>
                  <a:pt x="358" y="76"/>
                  <a:pt x="358" y="76"/>
                  <a:pt x="358" y="76"/>
                </a:cubicBezTo>
                <a:cubicBezTo>
                  <a:pt x="356" y="76"/>
                  <a:pt x="356" y="76"/>
                  <a:pt x="356" y="76"/>
                </a:cubicBezTo>
                <a:cubicBezTo>
                  <a:pt x="356" y="76"/>
                  <a:pt x="356" y="76"/>
                  <a:pt x="356" y="76"/>
                </a:cubicBezTo>
                <a:cubicBezTo>
                  <a:pt x="357" y="78"/>
                  <a:pt x="357" y="78"/>
                  <a:pt x="357" y="78"/>
                </a:cubicBezTo>
                <a:cubicBezTo>
                  <a:pt x="358" y="78"/>
                  <a:pt x="358" y="78"/>
                  <a:pt x="358" y="78"/>
                </a:cubicBezTo>
                <a:cubicBezTo>
                  <a:pt x="359" y="78"/>
                  <a:pt x="359" y="78"/>
                  <a:pt x="359" y="78"/>
                </a:cubicBezTo>
                <a:cubicBezTo>
                  <a:pt x="359" y="79"/>
                  <a:pt x="359" y="79"/>
                  <a:pt x="359" y="79"/>
                </a:cubicBezTo>
                <a:cubicBezTo>
                  <a:pt x="360" y="80"/>
                  <a:pt x="360" y="80"/>
                  <a:pt x="360" y="80"/>
                </a:cubicBezTo>
                <a:cubicBezTo>
                  <a:pt x="360" y="81"/>
                  <a:pt x="360" y="81"/>
                  <a:pt x="360" y="81"/>
                </a:cubicBezTo>
                <a:cubicBezTo>
                  <a:pt x="361" y="80"/>
                  <a:pt x="361" y="80"/>
                  <a:pt x="361" y="80"/>
                </a:cubicBezTo>
                <a:cubicBezTo>
                  <a:pt x="361" y="79"/>
                  <a:pt x="361" y="79"/>
                  <a:pt x="361" y="79"/>
                </a:cubicBezTo>
                <a:cubicBezTo>
                  <a:pt x="362" y="79"/>
                  <a:pt x="362" y="79"/>
                  <a:pt x="362" y="79"/>
                </a:cubicBezTo>
                <a:cubicBezTo>
                  <a:pt x="362" y="80"/>
                  <a:pt x="362" y="80"/>
                  <a:pt x="362" y="80"/>
                </a:cubicBezTo>
                <a:cubicBezTo>
                  <a:pt x="363" y="80"/>
                  <a:pt x="363" y="80"/>
                  <a:pt x="363" y="80"/>
                </a:cubicBezTo>
                <a:cubicBezTo>
                  <a:pt x="364" y="80"/>
                  <a:pt x="364" y="80"/>
                  <a:pt x="364" y="80"/>
                </a:cubicBezTo>
                <a:cubicBezTo>
                  <a:pt x="365" y="80"/>
                  <a:pt x="365" y="80"/>
                  <a:pt x="365" y="80"/>
                </a:cubicBezTo>
                <a:cubicBezTo>
                  <a:pt x="365" y="81"/>
                  <a:pt x="365" y="81"/>
                  <a:pt x="365" y="81"/>
                </a:cubicBezTo>
                <a:cubicBezTo>
                  <a:pt x="365" y="82"/>
                  <a:pt x="365" y="82"/>
                  <a:pt x="365" y="82"/>
                </a:cubicBezTo>
                <a:cubicBezTo>
                  <a:pt x="366" y="84"/>
                  <a:pt x="366" y="84"/>
                  <a:pt x="366" y="84"/>
                </a:cubicBezTo>
                <a:cubicBezTo>
                  <a:pt x="366" y="86"/>
                  <a:pt x="366" y="86"/>
                  <a:pt x="366" y="86"/>
                </a:cubicBezTo>
                <a:cubicBezTo>
                  <a:pt x="366" y="88"/>
                  <a:pt x="366" y="88"/>
                  <a:pt x="366" y="88"/>
                </a:cubicBezTo>
                <a:cubicBezTo>
                  <a:pt x="365" y="90"/>
                  <a:pt x="365" y="90"/>
                  <a:pt x="365" y="90"/>
                </a:cubicBezTo>
                <a:cubicBezTo>
                  <a:pt x="365" y="90"/>
                  <a:pt x="365" y="90"/>
                  <a:pt x="365" y="90"/>
                </a:cubicBezTo>
                <a:cubicBezTo>
                  <a:pt x="364" y="91"/>
                  <a:pt x="364" y="91"/>
                  <a:pt x="364" y="91"/>
                </a:cubicBezTo>
                <a:cubicBezTo>
                  <a:pt x="364" y="92"/>
                  <a:pt x="364" y="92"/>
                  <a:pt x="364" y="92"/>
                </a:cubicBezTo>
                <a:cubicBezTo>
                  <a:pt x="364" y="94"/>
                  <a:pt x="364" y="94"/>
                  <a:pt x="364" y="94"/>
                </a:cubicBezTo>
                <a:cubicBezTo>
                  <a:pt x="364" y="95"/>
                  <a:pt x="364" y="95"/>
                  <a:pt x="364" y="95"/>
                </a:cubicBezTo>
                <a:cubicBezTo>
                  <a:pt x="364" y="95"/>
                  <a:pt x="364" y="95"/>
                  <a:pt x="364" y="95"/>
                </a:cubicBezTo>
                <a:cubicBezTo>
                  <a:pt x="364" y="97"/>
                  <a:pt x="364" y="97"/>
                  <a:pt x="364" y="97"/>
                </a:cubicBezTo>
                <a:cubicBezTo>
                  <a:pt x="363" y="97"/>
                  <a:pt x="363" y="97"/>
                  <a:pt x="363" y="97"/>
                </a:cubicBezTo>
                <a:cubicBezTo>
                  <a:pt x="362" y="99"/>
                  <a:pt x="362" y="99"/>
                  <a:pt x="362" y="99"/>
                </a:cubicBezTo>
                <a:cubicBezTo>
                  <a:pt x="363" y="99"/>
                  <a:pt x="363" y="99"/>
                  <a:pt x="363" y="99"/>
                </a:cubicBezTo>
                <a:cubicBezTo>
                  <a:pt x="362" y="101"/>
                  <a:pt x="362" y="101"/>
                  <a:pt x="362" y="101"/>
                </a:cubicBezTo>
                <a:cubicBezTo>
                  <a:pt x="361" y="102"/>
                  <a:pt x="361" y="102"/>
                  <a:pt x="361" y="102"/>
                </a:cubicBezTo>
                <a:cubicBezTo>
                  <a:pt x="361" y="103"/>
                  <a:pt x="361" y="103"/>
                  <a:pt x="361" y="103"/>
                </a:cubicBezTo>
                <a:cubicBezTo>
                  <a:pt x="361" y="104"/>
                  <a:pt x="361" y="104"/>
                  <a:pt x="361" y="104"/>
                </a:cubicBezTo>
                <a:cubicBezTo>
                  <a:pt x="360" y="104"/>
                  <a:pt x="360" y="104"/>
                  <a:pt x="360" y="104"/>
                </a:cubicBezTo>
                <a:cubicBezTo>
                  <a:pt x="358" y="106"/>
                  <a:pt x="358" y="106"/>
                  <a:pt x="358" y="106"/>
                </a:cubicBezTo>
                <a:cubicBezTo>
                  <a:pt x="357" y="106"/>
                  <a:pt x="357" y="106"/>
                  <a:pt x="357" y="106"/>
                </a:cubicBezTo>
                <a:cubicBezTo>
                  <a:pt x="358" y="106"/>
                  <a:pt x="358" y="106"/>
                  <a:pt x="358" y="106"/>
                </a:cubicBezTo>
                <a:cubicBezTo>
                  <a:pt x="359" y="106"/>
                  <a:pt x="359" y="106"/>
                  <a:pt x="359" y="106"/>
                </a:cubicBezTo>
                <a:cubicBezTo>
                  <a:pt x="360" y="105"/>
                  <a:pt x="360" y="105"/>
                  <a:pt x="360" y="105"/>
                </a:cubicBezTo>
                <a:cubicBezTo>
                  <a:pt x="360" y="105"/>
                  <a:pt x="360" y="105"/>
                  <a:pt x="360" y="105"/>
                </a:cubicBezTo>
                <a:cubicBezTo>
                  <a:pt x="361" y="107"/>
                  <a:pt x="361" y="107"/>
                  <a:pt x="361" y="107"/>
                </a:cubicBezTo>
                <a:cubicBezTo>
                  <a:pt x="360" y="109"/>
                  <a:pt x="360" y="109"/>
                  <a:pt x="360" y="109"/>
                </a:cubicBezTo>
                <a:cubicBezTo>
                  <a:pt x="359" y="111"/>
                  <a:pt x="359" y="111"/>
                  <a:pt x="359" y="111"/>
                </a:cubicBezTo>
                <a:cubicBezTo>
                  <a:pt x="358" y="114"/>
                  <a:pt x="358" y="114"/>
                  <a:pt x="358" y="114"/>
                </a:cubicBezTo>
                <a:cubicBezTo>
                  <a:pt x="359" y="115"/>
                  <a:pt x="359" y="115"/>
                  <a:pt x="359" y="115"/>
                </a:cubicBezTo>
                <a:cubicBezTo>
                  <a:pt x="359" y="116"/>
                  <a:pt x="359" y="116"/>
                  <a:pt x="359" y="116"/>
                </a:cubicBezTo>
                <a:cubicBezTo>
                  <a:pt x="358" y="119"/>
                  <a:pt x="358" y="119"/>
                  <a:pt x="358" y="119"/>
                </a:cubicBezTo>
                <a:cubicBezTo>
                  <a:pt x="356" y="119"/>
                  <a:pt x="356" y="119"/>
                  <a:pt x="356" y="119"/>
                </a:cubicBezTo>
                <a:cubicBezTo>
                  <a:pt x="356" y="119"/>
                  <a:pt x="356" y="119"/>
                  <a:pt x="356" y="119"/>
                </a:cubicBezTo>
                <a:cubicBezTo>
                  <a:pt x="355" y="119"/>
                  <a:pt x="355" y="119"/>
                  <a:pt x="355" y="119"/>
                </a:cubicBezTo>
                <a:cubicBezTo>
                  <a:pt x="355" y="120"/>
                  <a:pt x="355" y="120"/>
                  <a:pt x="355" y="120"/>
                </a:cubicBezTo>
                <a:cubicBezTo>
                  <a:pt x="355" y="121"/>
                  <a:pt x="355" y="121"/>
                  <a:pt x="355" y="121"/>
                </a:cubicBezTo>
                <a:cubicBezTo>
                  <a:pt x="356" y="123"/>
                  <a:pt x="356" y="123"/>
                  <a:pt x="356" y="123"/>
                </a:cubicBezTo>
                <a:cubicBezTo>
                  <a:pt x="355" y="124"/>
                  <a:pt x="355" y="124"/>
                  <a:pt x="355" y="124"/>
                </a:cubicBezTo>
                <a:cubicBezTo>
                  <a:pt x="354" y="125"/>
                  <a:pt x="354" y="125"/>
                  <a:pt x="354" y="125"/>
                </a:cubicBezTo>
                <a:cubicBezTo>
                  <a:pt x="353" y="127"/>
                  <a:pt x="353" y="127"/>
                  <a:pt x="353" y="127"/>
                </a:cubicBezTo>
                <a:cubicBezTo>
                  <a:pt x="354" y="129"/>
                  <a:pt x="354" y="129"/>
                  <a:pt x="354" y="129"/>
                </a:cubicBezTo>
                <a:cubicBezTo>
                  <a:pt x="354" y="130"/>
                  <a:pt x="354" y="130"/>
                  <a:pt x="354" y="130"/>
                </a:cubicBezTo>
                <a:cubicBezTo>
                  <a:pt x="354" y="131"/>
                  <a:pt x="354" y="131"/>
                  <a:pt x="354" y="131"/>
                </a:cubicBezTo>
                <a:cubicBezTo>
                  <a:pt x="354" y="132"/>
                  <a:pt x="354" y="132"/>
                  <a:pt x="354" y="132"/>
                </a:cubicBezTo>
                <a:cubicBezTo>
                  <a:pt x="355" y="132"/>
                  <a:pt x="355" y="132"/>
                  <a:pt x="355" y="132"/>
                </a:cubicBezTo>
                <a:cubicBezTo>
                  <a:pt x="354" y="136"/>
                  <a:pt x="354" y="136"/>
                  <a:pt x="354" y="136"/>
                </a:cubicBezTo>
                <a:cubicBezTo>
                  <a:pt x="353" y="136"/>
                  <a:pt x="353" y="136"/>
                  <a:pt x="353" y="136"/>
                </a:cubicBezTo>
                <a:cubicBezTo>
                  <a:pt x="352" y="138"/>
                  <a:pt x="352" y="138"/>
                  <a:pt x="352" y="138"/>
                </a:cubicBezTo>
                <a:cubicBezTo>
                  <a:pt x="353" y="137"/>
                  <a:pt x="353" y="137"/>
                  <a:pt x="353" y="137"/>
                </a:cubicBezTo>
                <a:cubicBezTo>
                  <a:pt x="354" y="137"/>
                  <a:pt x="354" y="137"/>
                  <a:pt x="354" y="137"/>
                </a:cubicBezTo>
                <a:cubicBezTo>
                  <a:pt x="355" y="136"/>
                  <a:pt x="355" y="136"/>
                  <a:pt x="355" y="136"/>
                </a:cubicBezTo>
                <a:cubicBezTo>
                  <a:pt x="356" y="134"/>
                  <a:pt x="356" y="134"/>
                  <a:pt x="356" y="134"/>
                </a:cubicBezTo>
                <a:cubicBezTo>
                  <a:pt x="355" y="134"/>
                  <a:pt x="355" y="134"/>
                  <a:pt x="355" y="134"/>
                </a:cubicBezTo>
                <a:cubicBezTo>
                  <a:pt x="356" y="133"/>
                  <a:pt x="356" y="133"/>
                  <a:pt x="356" y="133"/>
                </a:cubicBezTo>
                <a:cubicBezTo>
                  <a:pt x="358" y="133"/>
                  <a:pt x="358" y="133"/>
                  <a:pt x="358" y="133"/>
                </a:cubicBezTo>
                <a:cubicBezTo>
                  <a:pt x="358" y="133"/>
                  <a:pt x="358" y="133"/>
                  <a:pt x="358" y="133"/>
                </a:cubicBezTo>
                <a:cubicBezTo>
                  <a:pt x="358" y="132"/>
                  <a:pt x="358" y="132"/>
                  <a:pt x="358" y="132"/>
                </a:cubicBezTo>
                <a:cubicBezTo>
                  <a:pt x="355" y="130"/>
                  <a:pt x="355" y="130"/>
                  <a:pt x="355" y="130"/>
                </a:cubicBezTo>
                <a:cubicBezTo>
                  <a:pt x="355" y="129"/>
                  <a:pt x="355" y="129"/>
                  <a:pt x="355" y="129"/>
                </a:cubicBezTo>
                <a:cubicBezTo>
                  <a:pt x="356" y="127"/>
                  <a:pt x="356" y="127"/>
                  <a:pt x="356" y="127"/>
                </a:cubicBezTo>
                <a:cubicBezTo>
                  <a:pt x="358" y="127"/>
                  <a:pt x="358" y="127"/>
                  <a:pt x="358" y="127"/>
                </a:cubicBezTo>
                <a:cubicBezTo>
                  <a:pt x="360" y="127"/>
                  <a:pt x="360" y="127"/>
                  <a:pt x="360" y="127"/>
                </a:cubicBezTo>
                <a:cubicBezTo>
                  <a:pt x="362" y="125"/>
                  <a:pt x="362" y="125"/>
                  <a:pt x="362" y="125"/>
                </a:cubicBezTo>
                <a:cubicBezTo>
                  <a:pt x="363" y="125"/>
                  <a:pt x="363" y="125"/>
                  <a:pt x="363" y="125"/>
                </a:cubicBezTo>
                <a:cubicBezTo>
                  <a:pt x="363" y="124"/>
                  <a:pt x="363" y="124"/>
                  <a:pt x="363" y="124"/>
                </a:cubicBezTo>
                <a:cubicBezTo>
                  <a:pt x="363" y="123"/>
                  <a:pt x="363" y="123"/>
                  <a:pt x="363" y="123"/>
                </a:cubicBezTo>
                <a:cubicBezTo>
                  <a:pt x="365" y="122"/>
                  <a:pt x="365" y="122"/>
                  <a:pt x="365" y="122"/>
                </a:cubicBezTo>
                <a:cubicBezTo>
                  <a:pt x="365" y="120"/>
                  <a:pt x="365" y="120"/>
                  <a:pt x="365" y="120"/>
                </a:cubicBezTo>
                <a:cubicBezTo>
                  <a:pt x="365" y="119"/>
                  <a:pt x="365" y="119"/>
                  <a:pt x="365" y="119"/>
                </a:cubicBezTo>
                <a:cubicBezTo>
                  <a:pt x="365" y="119"/>
                  <a:pt x="365" y="119"/>
                  <a:pt x="365" y="119"/>
                </a:cubicBezTo>
                <a:cubicBezTo>
                  <a:pt x="366" y="119"/>
                  <a:pt x="366" y="119"/>
                  <a:pt x="366" y="119"/>
                </a:cubicBezTo>
                <a:cubicBezTo>
                  <a:pt x="368" y="119"/>
                  <a:pt x="368" y="119"/>
                  <a:pt x="368" y="119"/>
                </a:cubicBezTo>
                <a:cubicBezTo>
                  <a:pt x="368" y="117"/>
                  <a:pt x="368" y="117"/>
                  <a:pt x="368" y="117"/>
                </a:cubicBezTo>
                <a:cubicBezTo>
                  <a:pt x="368" y="117"/>
                  <a:pt x="368" y="117"/>
                  <a:pt x="368" y="117"/>
                </a:cubicBezTo>
                <a:cubicBezTo>
                  <a:pt x="370" y="115"/>
                  <a:pt x="370" y="115"/>
                  <a:pt x="370" y="115"/>
                </a:cubicBezTo>
                <a:cubicBezTo>
                  <a:pt x="370" y="113"/>
                  <a:pt x="370" y="113"/>
                  <a:pt x="370" y="113"/>
                </a:cubicBezTo>
                <a:cubicBezTo>
                  <a:pt x="370" y="112"/>
                  <a:pt x="370" y="112"/>
                  <a:pt x="370" y="112"/>
                </a:cubicBezTo>
                <a:cubicBezTo>
                  <a:pt x="367" y="114"/>
                  <a:pt x="367" y="114"/>
                  <a:pt x="367" y="114"/>
                </a:cubicBezTo>
                <a:cubicBezTo>
                  <a:pt x="367" y="115"/>
                  <a:pt x="367" y="115"/>
                  <a:pt x="367" y="115"/>
                </a:cubicBezTo>
                <a:cubicBezTo>
                  <a:pt x="365" y="116"/>
                  <a:pt x="365" y="116"/>
                  <a:pt x="365" y="116"/>
                </a:cubicBezTo>
                <a:cubicBezTo>
                  <a:pt x="364" y="115"/>
                  <a:pt x="364" y="115"/>
                  <a:pt x="364" y="115"/>
                </a:cubicBezTo>
                <a:cubicBezTo>
                  <a:pt x="363" y="114"/>
                  <a:pt x="363" y="114"/>
                  <a:pt x="363" y="114"/>
                </a:cubicBezTo>
                <a:cubicBezTo>
                  <a:pt x="364" y="112"/>
                  <a:pt x="364" y="112"/>
                  <a:pt x="364" y="112"/>
                </a:cubicBezTo>
                <a:cubicBezTo>
                  <a:pt x="364" y="110"/>
                  <a:pt x="364" y="110"/>
                  <a:pt x="364" y="110"/>
                </a:cubicBezTo>
                <a:cubicBezTo>
                  <a:pt x="365" y="109"/>
                  <a:pt x="365" y="109"/>
                  <a:pt x="365" y="109"/>
                </a:cubicBezTo>
                <a:cubicBezTo>
                  <a:pt x="367" y="109"/>
                  <a:pt x="367" y="109"/>
                  <a:pt x="367" y="109"/>
                </a:cubicBezTo>
                <a:cubicBezTo>
                  <a:pt x="369" y="111"/>
                  <a:pt x="369" y="111"/>
                  <a:pt x="369" y="111"/>
                </a:cubicBezTo>
                <a:cubicBezTo>
                  <a:pt x="370" y="110"/>
                  <a:pt x="370" y="110"/>
                  <a:pt x="370" y="110"/>
                </a:cubicBezTo>
                <a:cubicBezTo>
                  <a:pt x="370" y="108"/>
                  <a:pt x="370" y="108"/>
                  <a:pt x="370" y="108"/>
                </a:cubicBezTo>
                <a:cubicBezTo>
                  <a:pt x="371" y="107"/>
                  <a:pt x="371" y="107"/>
                  <a:pt x="371" y="107"/>
                </a:cubicBezTo>
                <a:cubicBezTo>
                  <a:pt x="372" y="108"/>
                  <a:pt x="372" y="108"/>
                  <a:pt x="372" y="108"/>
                </a:cubicBezTo>
                <a:cubicBezTo>
                  <a:pt x="371" y="109"/>
                  <a:pt x="371" y="109"/>
                  <a:pt x="371" y="109"/>
                </a:cubicBezTo>
                <a:cubicBezTo>
                  <a:pt x="371" y="110"/>
                  <a:pt x="371" y="110"/>
                  <a:pt x="371" y="110"/>
                </a:cubicBezTo>
                <a:cubicBezTo>
                  <a:pt x="374" y="113"/>
                  <a:pt x="374" y="113"/>
                  <a:pt x="374" y="113"/>
                </a:cubicBezTo>
                <a:cubicBezTo>
                  <a:pt x="376" y="113"/>
                  <a:pt x="376" y="113"/>
                  <a:pt x="376" y="113"/>
                </a:cubicBezTo>
                <a:cubicBezTo>
                  <a:pt x="377" y="113"/>
                  <a:pt x="377" y="113"/>
                  <a:pt x="377" y="113"/>
                </a:cubicBezTo>
                <a:cubicBezTo>
                  <a:pt x="379" y="112"/>
                  <a:pt x="379" y="112"/>
                  <a:pt x="379" y="112"/>
                </a:cubicBezTo>
                <a:cubicBezTo>
                  <a:pt x="380" y="111"/>
                  <a:pt x="380" y="111"/>
                  <a:pt x="380" y="111"/>
                </a:cubicBezTo>
                <a:cubicBezTo>
                  <a:pt x="380" y="110"/>
                  <a:pt x="380" y="110"/>
                  <a:pt x="380" y="110"/>
                </a:cubicBezTo>
                <a:cubicBezTo>
                  <a:pt x="378" y="108"/>
                  <a:pt x="378" y="108"/>
                  <a:pt x="378" y="108"/>
                </a:cubicBezTo>
                <a:cubicBezTo>
                  <a:pt x="378" y="107"/>
                  <a:pt x="378" y="107"/>
                  <a:pt x="378" y="107"/>
                </a:cubicBezTo>
                <a:cubicBezTo>
                  <a:pt x="379" y="107"/>
                  <a:pt x="379" y="107"/>
                  <a:pt x="379" y="107"/>
                </a:cubicBezTo>
                <a:cubicBezTo>
                  <a:pt x="381" y="109"/>
                  <a:pt x="381" y="109"/>
                  <a:pt x="381" y="109"/>
                </a:cubicBezTo>
                <a:cubicBezTo>
                  <a:pt x="382" y="110"/>
                  <a:pt x="382" y="110"/>
                  <a:pt x="382" y="110"/>
                </a:cubicBezTo>
                <a:cubicBezTo>
                  <a:pt x="383" y="111"/>
                  <a:pt x="383" y="111"/>
                  <a:pt x="383" y="111"/>
                </a:cubicBezTo>
                <a:cubicBezTo>
                  <a:pt x="383" y="112"/>
                  <a:pt x="383" y="112"/>
                  <a:pt x="383" y="112"/>
                </a:cubicBezTo>
                <a:cubicBezTo>
                  <a:pt x="383" y="113"/>
                  <a:pt x="383" y="113"/>
                  <a:pt x="383" y="113"/>
                </a:cubicBezTo>
                <a:cubicBezTo>
                  <a:pt x="385" y="114"/>
                  <a:pt x="385" y="114"/>
                  <a:pt x="385" y="114"/>
                </a:cubicBezTo>
                <a:cubicBezTo>
                  <a:pt x="385" y="116"/>
                  <a:pt x="385" y="116"/>
                  <a:pt x="385" y="116"/>
                </a:cubicBezTo>
                <a:cubicBezTo>
                  <a:pt x="386" y="117"/>
                  <a:pt x="386" y="117"/>
                  <a:pt x="386" y="117"/>
                </a:cubicBezTo>
                <a:cubicBezTo>
                  <a:pt x="386" y="116"/>
                  <a:pt x="386" y="116"/>
                  <a:pt x="386" y="116"/>
                </a:cubicBezTo>
                <a:cubicBezTo>
                  <a:pt x="387" y="115"/>
                  <a:pt x="387" y="115"/>
                  <a:pt x="387" y="115"/>
                </a:cubicBezTo>
                <a:cubicBezTo>
                  <a:pt x="388" y="115"/>
                  <a:pt x="388" y="115"/>
                  <a:pt x="388" y="115"/>
                </a:cubicBezTo>
                <a:cubicBezTo>
                  <a:pt x="388" y="114"/>
                  <a:pt x="388" y="114"/>
                  <a:pt x="388" y="114"/>
                </a:cubicBezTo>
                <a:cubicBezTo>
                  <a:pt x="388" y="113"/>
                  <a:pt x="388" y="113"/>
                  <a:pt x="388" y="113"/>
                </a:cubicBezTo>
                <a:cubicBezTo>
                  <a:pt x="387" y="114"/>
                  <a:pt x="387" y="114"/>
                  <a:pt x="387" y="114"/>
                </a:cubicBezTo>
                <a:cubicBezTo>
                  <a:pt x="386" y="114"/>
                  <a:pt x="386" y="114"/>
                  <a:pt x="386" y="114"/>
                </a:cubicBezTo>
                <a:cubicBezTo>
                  <a:pt x="385" y="112"/>
                  <a:pt x="385" y="112"/>
                  <a:pt x="385" y="112"/>
                </a:cubicBezTo>
                <a:cubicBezTo>
                  <a:pt x="387" y="110"/>
                  <a:pt x="387" y="110"/>
                  <a:pt x="387" y="110"/>
                </a:cubicBezTo>
                <a:cubicBezTo>
                  <a:pt x="388" y="110"/>
                  <a:pt x="388" y="110"/>
                  <a:pt x="388" y="110"/>
                </a:cubicBezTo>
                <a:cubicBezTo>
                  <a:pt x="388" y="109"/>
                  <a:pt x="388" y="109"/>
                  <a:pt x="388" y="109"/>
                </a:cubicBezTo>
                <a:cubicBezTo>
                  <a:pt x="389" y="109"/>
                  <a:pt x="389" y="109"/>
                  <a:pt x="389" y="109"/>
                </a:cubicBezTo>
                <a:cubicBezTo>
                  <a:pt x="390" y="108"/>
                  <a:pt x="390" y="108"/>
                  <a:pt x="390" y="108"/>
                </a:cubicBezTo>
                <a:cubicBezTo>
                  <a:pt x="392" y="107"/>
                  <a:pt x="392" y="107"/>
                  <a:pt x="392" y="107"/>
                </a:cubicBezTo>
                <a:cubicBezTo>
                  <a:pt x="397" y="106"/>
                  <a:pt x="397" y="106"/>
                  <a:pt x="397" y="106"/>
                </a:cubicBezTo>
                <a:cubicBezTo>
                  <a:pt x="402" y="106"/>
                  <a:pt x="402" y="106"/>
                  <a:pt x="402" y="106"/>
                </a:cubicBezTo>
                <a:cubicBezTo>
                  <a:pt x="405" y="104"/>
                  <a:pt x="405" y="104"/>
                  <a:pt x="405" y="104"/>
                </a:cubicBezTo>
                <a:cubicBezTo>
                  <a:pt x="407" y="104"/>
                  <a:pt x="407" y="104"/>
                  <a:pt x="407" y="104"/>
                </a:cubicBezTo>
                <a:cubicBezTo>
                  <a:pt x="409" y="105"/>
                  <a:pt x="409" y="105"/>
                  <a:pt x="409" y="105"/>
                </a:cubicBezTo>
                <a:cubicBezTo>
                  <a:pt x="409" y="106"/>
                  <a:pt x="409" y="106"/>
                  <a:pt x="409" y="106"/>
                </a:cubicBezTo>
                <a:cubicBezTo>
                  <a:pt x="408" y="106"/>
                  <a:pt x="408" y="106"/>
                  <a:pt x="408" y="106"/>
                </a:cubicBezTo>
                <a:cubicBezTo>
                  <a:pt x="408" y="108"/>
                  <a:pt x="408" y="108"/>
                  <a:pt x="408" y="108"/>
                </a:cubicBezTo>
                <a:cubicBezTo>
                  <a:pt x="408" y="110"/>
                  <a:pt x="408" y="110"/>
                  <a:pt x="408" y="110"/>
                </a:cubicBezTo>
                <a:cubicBezTo>
                  <a:pt x="410" y="112"/>
                  <a:pt x="410" y="112"/>
                  <a:pt x="410" y="112"/>
                </a:cubicBezTo>
                <a:cubicBezTo>
                  <a:pt x="416" y="112"/>
                  <a:pt x="416" y="112"/>
                  <a:pt x="416" y="112"/>
                </a:cubicBezTo>
                <a:cubicBezTo>
                  <a:pt x="417" y="112"/>
                  <a:pt x="417" y="112"/>
                  <a:pt x="417" y="112"/>
                </a:cubicBezTo>
                <a:cubicBezTo>
                  <a:pt x="417" y="112"/>
                  <a:pt x="417" y="112"/>
                  <a:pt x="417" y="112"/>
                </a:cubicBezTo>
                <a:cubicBezTo>
                  <a:pt x="419" y="112"/>
                  <a:pt x="419" y="112"/>
                  <a:pt x="419" y="112"/>
                </a:cubicBezTo>
                <a:cubicBezTo>
                  <a:pt x="421" y="112"/>
                  <a:pt x="421" y="112"/>
                  <a:pt x="421" y="112"/>
                </a:cubicBezTo>
                <a:cubicBezTo>
                  <a:pt x="425" y="112"/>
                  <a:pt x="425" y="112"/>
                  <a:pt x="425" y="112"/>
                </a:cubicBezTo>
                <a:cubicBezTo>
                  <a:pt x="427" y="110"/>
                  <a:pt x="427" y="110"/>
                  <a:pt x="427" y="110"/>
                </a:cubicBezTo>
                <a:cubicBezTo>
                  <a:pt x="428" y="111"/>
                  <a:pt x="428" y="111"/>
                  <a:pt x="428" y="111"/>
                </a:cubicBezTo>
                <a:cubicBezTo>
                  <a:pt x="430" y="110"/>
                  <a:pt x="430" y="110"/>
                  <a:pt x="430" y="110"/>
                </a:cubicBezTo>
                <a:cubicBezTo>
                  <a:pt x="430" y="109"/>
                  <a:pt x="430" y="109"/>
                  <a:pt x="430" y="109"/>
                </a:cubicBezTo>
                <a:cubicBezTo>
                  <a:pt x="430" y="108"/>
                  <a:pt x="430" y="108"/>
                  <a:pt x="430" y="108"/>
                </a:cubicBezTo>
                <a:cubicBezTo>
                  <a:pt x="431" y="108"/>
                  <a:pt x="431" y="108"/>
                  <a:pt x="431" y="108"/>
                </a:cubicBezTo>
                <a:cubicBezTo>
                  <a:pt x="432" y="108"/>
                  <a:pt x="432" y="108"/>
                  <a:pt x="432" y="108"/>
                </a:cubicBezTo>
                <a:cubicBezTo>
                  <a:pt x="434" y="108"/>
                  <a:pt x="434" y="108"/>
                  <a:pt x="434" y="108"/>
                </a:cubicBezTo>
                <a:cubicBezTo>
                  <a:pt x="434" y="109"/>
                  <a:pt x="434" y="109"/>
                  <a:pt x="434" y="109"/>
                </a:cubicBezTo>
                <a:cubicBezTo>
                  <a:pt x="435" y="109"/>
                  <a:pt x="435" y="109"/>
                  <a:pt x="435" y="109"/>
                </a:cubicBezTo>
                <a:cubicBezTo>
                  <a:pt x="436" y="108"/>
                  <a:pt x="436" y="108"/>
                  <a:pt x="436" y="108"/>
                </a:cubicBezTo>
                <a:cubicBezTo>
                  <a:pt x="435" y="107"/>
                  <a:pt x="435" y="107"/>
                  <a:pt x="435" y="107"/>
                </a:cubicBezTo>
                <a:cubicBezTo>
                  <a:pt x="434" y="106"/>
                  <a:pt x="434" y="106"/>
                  <a:pt x="434" y="106"/>
                </a:cubicBezTo>
                <a:cubicBezTo>
                  <a:pt x="434" y="105"/>
                  <a:pt x="434" y="105"/>
                  <a:pt x="434" y="105"/>
                </a:cubicBezTo>
                <a:cubicBezTo>
                  <a:pt x="434" y="104"/>
                  <a:pt x="434" y="104"/>
                  <a:pt x="434" y="104"/>
                </a:cubicBezTo>
                <a:cubicBezTo>
                  <a:pt x="432" y="103"/>
                  <a:pt x="432" y="103"/>
                  <a:pt x="432" y="103"/>
                </a:cubicBezTo>
                <a:cubicBezTo>
                  <a:pt x="432" y="102"/>
                  <a:pt x="432" y="102"/>
                  <a:pt x="432" y="102"/>
                </a:cubicBezTo>
                <a:cubicBezTo>
                  <a:pt x="431" y="102"/>
                  <a:pt x="431" y="102"/>
                  <a:pt x="431" y="102"/>
                </a:cubicBezTo>
                <a:cubicBezTo>
                  <a:pt x="431" y="100"/>
                  <a:pt x="431" y="100"/>
                  <a:pt x="431" y="100"/>
                </a:cubicBezTo>
                <a:cubicBezTo>
                  <a:pt x="430" y="99"/>
                  <a:pt x="430" y="99"/>
                  <a:pt x="430" y="99"/>
                </a:cubicBezTo>
                <a:cubicBezTo>
                  <a:pt x="430" y="98"/>
                  <a:pt x="430" y="98"/>
                  <a:pt x="430" y="98"/>
                </a:cubicBezTo>
                <a:cubicBezTo>
                  <a:pt x="431" y="97"/>
                  <a:pt x="431" y="97"/>
                  <a:pt x="431" y="97"/>
                </a:cubicBezTo>
                <a:cubicBezTo>
                  <a:pt x="431" y="97"/>
                  <a:pt x="431" y="97"/>
                  <a:pt x="431" y="97"/>
                </a:cubicBezTo>
                <a:cubicBezTo>
                  <a:pt x="432" y="98"/>
                  <a:pt x="432" y="98"/>
                  <a:pt x="432" y="98"/>
                </a:cubicBezTo>
                <a:cubicBezTo>
                  <a:pt x="433" y="97"/>
                  <a:pt x="433" y="97"/>
                  <a:pt x="433" y="97"/>
                </a:cubicBezTo>
                <a:cubicBezTo>
                  <a:pt x="433" y="96"/>
                  <a:pt x="433" y="96"/>
                  <a:pt x="433" y="96"/>
                </a:cubicBezTo>
                <a:cubicBezTo>
                  <a:pt x="432" y="95"/>
                  <a:pt x="432" y="95"/>
                  <a:pt x="432" y="95"/>
                </a:cubicBezTo>
                <a:cubicBezTo>
                  <a:pt x="433" y="95"/>
                  <a:pt x="433" y="95"/>
                  <a:pt x="433" y="95"/>
                </a:cubicBezTo>
                <a:cubicBezTo>
                  <a:pt x="435" y="96"/>
                  <a:pt x="435" y="96"/>
                  <a:pt x="435" y="96"/>
                </a:cubicBezTo>
                <a:cubicBezTo>
                  <a:pt x="436" y="95"/>
                  <a:pt x="436" y="95"/>
                  <a:pt x="436" y="95"/>
                </a:cubicBezTo>
                <a:cubicBezTo>
                  <a:pt x="436" y="94"/>
                  <a:pt x="436" y="94"/>
                  <a:pt x="436" y="94"/>
                </a:cubicBezTo>
                <a:cubicBezTo>
                  <a:pt x="436" y="95"/>
                  <a:pt x="436" y="95"/>
                  <a:pt x="436" y="95"/>
                </a:cubicBezTo>
                <a:cubicBezTo>
                  <a:pt x="438" y="95"/>
                  <a:pt x="438" y="95"/>
                  <a:pt x="438" y="95"/>
                </a:cubicBezTo>
                <a:cubicBezTo>
                  <a:pt x="439" y="95"/>
                  <a:pt x="439" y="95"/>
                  <a:pt x="439" y="95"/>
                </a:cubicBezTo>
                <a:cubicBezTo>
                  <a:pt x="439" y="94"/>
                  <a:pt x="439" y="94"/>
                  <a:pt x="439" y="94"/>
                </a:cubicBezTo>
                <a:cubicBezTo>
                  <a:pt x="440" y="95"/>
                  <a:pt x="440" y="95"/>
                  <a:pt x="440" y="95"/>
                </a:cubicBezTo>
                <a:cubicBezTo>
                  <a:pt x="441" y="96"/>
                  <a:pt x="441" y="96"/>
                  <a:pt x="441" y="96"/>
                </a:cubicBezTo>
                <a:cubicBezTo>
                  <a:pt x="442" y="97"/>
                  <a:pt x="442" y="97"/>
                  <a:pt x="442" y="97"/>
                </a:cubicBezTo>
                <a:cubicBezTo>
                  <a:pt x="443" y="96"/>
                  <a:pt x="443" y="96"/>
                  <a:pt x="443" y="96"/>
                </a:cubicBezTo>
                <a:cubicBezTo>
                  <a:pt x="443" y="95"/>
                  <a:pt x="443" y="95"/>
                  <a:pt x="443" y="95"/>
                </a:cubicBezTo>
                <a:cubicBezTo>
                  <a:pt x="444" y="95"/>
                  <a:pt x="444" y="95"/>
                  <a:pt x="444" y="95"/>
                </a:cubicBezTo>
                <a:cubicBezTo>
                  <a:pt x="445" y="96"/>
                  <a:pt x="445" y="96"/>
                  <a:pt x="445" y="96"/>
                </a:cubicBezTo>
                <a:cubicBezTo>
                  <a:pt x="444" y="97"/>
                  <a:pt x="444" y="97"/>
                  <a:pt x="444" y="97"/>
                </a:cubicBezTo>
                <a:cubicBezTo>
                  <a:pt x="443" y="98"/>
                  <a:pt x="443" y="98"/>
                  <a:pt x="443" y="98"/>
                </a:cubicBezTo>
                <a:cubicBezTo>
                  <a:pt x="444" y="98"/>
                  <a:pt x="444" y="98"/>
                  <a:pt x="444" y="98"/>
                </a:cubicBezTo>
                <a:cubicBezTo>
                  <a:pt x="445" y="98"/>
                  <a:pt x="445" y="98"/>
                  <a:pt x="445" y="98"/>
                </a:cubicBezTo>
                <a:cubicBezTo>
                  <a:pt x="446" y="98"/>
                  <a:pt x="446" y="98"/>
                  <a:pt x="446" y="98"/>
                </a:cubicBezTo>
                <a:cubicBezTo>
                  <a:pt x="446" y="97"/>
                  <a:pt x="446" y="97"/>
                  <a:pt x="446" y="97"/>
                </a:cubicBezTo>
                <a:cubicBezTo>
                  <a:pt x="446" y="97"/>
                  <a:pt x="446" y="97"/>
                  <a:pt x="446" y="97"/>
                </a:cubicBezTo>
                <a:cubicBezTo>
                  <a:pt x="447" y="97"/>
                  <a:pt x="447" y="97"/>
                  <a:pt x="447" y="97"/>
                </a:cubicBezTo>
                <a:cubicBezTo>
                  <a:pt x="447" y="96"/>
                  <a:pt x="447" y="96"/>
                  <a:pt x="447" y="96"/>
                </a:cubicBezTo>
                <a:cubicBezTo>
                  <a:pt x="446" y="95"/>
                  <a:pt x="446" y="95"/>
                  <a:pt x="446" y="95"/>
                </a:cubicBezTo>
                <a:cubicBezTo>
                  <a:pt x="446" y="95"/>
                  <a:pt x="446" y="95"/>
                  <a:pt x="446" y="95"/>
                </a:cubicBezTo>
                <a:cubicBezTo>
                  <a:pt x="447" y="95"/>
                  <a:pt x="447" y="95"/>
                  <a:pt x="447" y="95"/>
                </a:cubicBezTo>
                <a:cubicBezTo>
                  <a:pt x="449" y="94"/>
                  <a:pt x="449" y="94"/>
                  <a:pt x="449" y="94"/>
                </a:cubicBezTo>
                <a:cubicBezTo>
                  <a:pt x="450" y="95"/>
                  <a:pt x="450" y="95"/>
                  <a:pt x="450" y="95"/>
                </a:cubicBezTo>
                <a:cubicBezTo>
                  <a:pt x="451" y="95"/>
                  <a:pt x="451" y="95"/>
                  <a:pt x="451" y="95"/>
                </a:cubicBezTo>
                <a:cubicBezTo>
                  <a:pt x="452" y="95"/>
                  <a:pt x="452" y="95"/>
                  <a:pt x="452" y="95"/>
                </a:cubicBezTo>
                <a:cubicBezTo>
                  <a:pt x="452" y="95"/>
                  <a:pt x="452" y="95"/>
                  <a:pt x="452" y="95"/>
                </a:cubicBezTo>
                <a:cubicBezTo>
                  <a:pt x="453" y="97"/>
                  <a:pt x="453" y="97"/>
                  <a:pt x="453" y="97"/>
                </a:cubicBezTo>
                <a:cubicBezTo>
                  <a:pt x="453" y="96"/>
                  <a:pt x="453" y="96"/>
                  <a:pt x="453" y="96"/>
                </a:cubicBezTo>
                <a:cubicBezTo>
                  <a:pt x="454" y="96"/>
                  <a:pt x="454" y="96"/>
                  <a:pt x="454" y="96"/>
                </a:cubicBezTo>
                <a:cubicBezTo>
                  <a:pt x="455" y="95"/>
                  <a:pt x="455" y="95"/>
                  <a:pt x="455" y="95"/>
                </a:cubicBezTo>
                <a:cubicBezTo>
                  <a:pt x="455" y="97"/>
                  <a:pt x="455" y="97"/>
                  <a:pt x="455" y="97"/>
                </a:cubicBezTo>
                <a:cubicBezTo>
                  <a:pt x="456" y="97"/>
                  <a:pt x="456" y="97"/>
                  <a:pt x="456" y="97"/>
                </a:cubicBezTo>
                <a:cubicBezTo>
                  <a:pt x="457" y="96"/>
                  <a:pt x="457" y="96"/>
                  <a:pt x="457" y="96"/>
                </a:cubicBezTo>
                <a:cubicBezTo>
                  <a:pt x="458" y="97"/>
                  <a:pt x="458" y="97"/>
                  <a:pt x="458" y="97"/>
                </a:cubicBezTo>
                <a:cubicBezTo>
                  <a:pt x="459" y="99"/>
                  <a:pt x="459" y="99"/>
                  <a:pt x="459" y="99"/>
                </a:cubicBezTo>
                <a:cubicBezTo>
                  <a:pt x="459" y="98"/>
                  <a:pt x="459" y="98"/>
                  <a:pt x="459" y="98"/>
                </a:cubicBezTo>
                <a:cubicBezTo>
                  <a:pt x="460" y="97"/>
                  <a:pt x="460" y="97"/>
                  <a:pt x="460" y="97"/>
                </a:cubicBezTo>
                <a:cubicBezTo>
                  <a:pt x="461" y="98"/>
                  <a:pt x="461" y="98"/>
                  <a:pt x="461" y="98"/>
                </a:cubicBezTo>
                <a:cubicBezTo>
                  <a:pt x="460" y="100"/>
                  <a:pt x="460" y="100"/>
                  <a:pt x="460" y="100"/>
                </a:cubicBezTo>
                <a:cubicBezTo>
                  <a:pt x="461" y="100"/>
                  <a:pt x="461" y="100"/>
                  <a:pt x="461" y="100"/>
                </a:cubicBezTo>
                <a:cubicBezTo>
                  <a:pt x="461" y="101"/>
                  <a:pt x="461" y="101"/>
                  <a:pt x="461" y="101"/>
                </a:cubicBezTo>
                <a:cubicBezTo>
                  <a:pt x="463" y="101"/>
                  <a:pt x="463" y="101"/>
                  <a:pt x="463" y="101"/>
                </a:cubicBezTo>
                <a:cubicBezTo>
                  <a:pt x="463" y="102"/>
                  <a:pt x="463" y="102"/>
                  <a:pt x="463" y="102"/>
                </a:cubicBezTo>
                <a:cubicBezTo>
                  <a:pt x="464" y="102"/>
                  <a:pt x="464" y="102"/>
                  <a:pt x="464" y="102"/>
                </a:cubicBezTo>
                <a:cubicBezTo>
                  <a:pt x="464" y="101"/>
                  <a:pt x="464" y="101"/>
                  <a:pt x="464" y="101"/>
                </a:cubicBezTo>
                <a:cubicBezTo>
                  <a:pt x="464" y="103"/>
                  <a:pt x="464" y="103"/>
                  <a:pt x="464" y="103"/>
                </a:cubicBezTo>
                <a:cubicBezTo>
                  <a:pt x="463" y="104"/>
                  <a:pt x="463" y="104"/>
                  <a:pt x="463" y="104"/>
                </a:cubicBezTo>
                <a:cubicBezTo>
                  <a:pt x="464" y="105"/>
                  <a:pt x="464" y="105"/>
                  <a:pt x="464" y="105"/>
                </a:cubicBezTo>
                <a:cubicBezTo>
                  <a:pt x="465" y="104"/>
                  <a:pt x="465" y="104"/>
                  <a:pt x="465" y="104"/>
                </a:cubicBezTo>
                <a:cubicBezTo>
                  <a:pt x="466" y="104"/>
                  <a:pt x="466" y="104"/>
                  <a:pt x="466" y="104"/>
                </a:cubicBezTo>
                <a:cubicBezTo>
                  <a:pt x="467" y="105"/>
                  <a:pt x="467" y="105"/>
                  <a:pt x="467" y="105"/>
                </a:cubicBezTo>
                <a:cubicBezTo>
                  <a:pt x="464" y="107"/>
                  <a:pt x="464" y="107"/>
                  <a:pt x="464" y="107"/>
                </a:cubicBezTo>
                <a:cubicBezTo>
                  <a:pt x="464" y="108"/>
                  <a:pt x="464" y="108"/>
                  <a:pt x="464" y="108"/>
                </a:cubicBezTo>
                <a:cubicBezTo>
                  <a:pt x="466" y="109"/>
                  <a:pt x="466" y="109"/>
                  <a:pt x="466" y="109"/>
                </a:cubicBezTo>
                <a:cubicBezTo>
                  <a:pt x="467" y="108"/>
                  <a:pt x="467" y="108"/>
                  <a:pt x="467" y="108"/>
                </a:cubicBezTo>
                <a:cubicBezTo>
                  <a:pt x="468" y="107"/>
                  <a:pt x="468" y="107"/>
                  <a:pt x="468" y="107"/>
                </a:cubicBezTo>
                <a:cubicBezTo>
                  <a:pt x="469" y="108"/>
                  <a:pt x="469" y="108"/>
                  <a:pt x="469" y="108"/>
                </a:cubicBezTo>
                <a:cubicBezTo>
                  <a:pt x="469" y="109"/>
                  <a:pt x="469" y="109"/>
                  <a:pt x="469" y="109"/>
                </a:cubicBezTo>
                <a:cubicBezTo>
                  <a:pt x="470" y="108"/>
                  <a:pt x="470" y="108"/>
                  <a:pt x="470" y="108"/>
                </a:cubicBezTo>
                <a:cubicBezTo>
                  <a:pt x="471" y="110"/>
                  <a:pt x="471" y="110"/>
                  <a:pt x="471" y="110"/>
                </a:cubicBezTo>
                <a:cubicBezTo>
                  <a:pt x="471" y="112"/>
                  <a:pt x="471" y="112"/>
                  <a:pt x="471" y="112"/>
                </a:cubicBezTo>
                <a:cubicBezTo>
                  <a:pt x="472" y="112"/>
                  <a:pt x="472" y="112"/>
                  <a:pt x="472" y="112"/>
                </a:cubicBezTo>
                <a:cubicBezTo>
                  <a:pt x="472" y="113"/>
                  <a:pt x="472" y="113"/>
                  <a:pt x="472" y="113"/>
                </a:cubicBezTo>
                <a:cubicBezTo>
                  <a:pt x="473" y="112"/>
                  <a:pt x="473" y="112"/>
                  <a:pt x="473" y="112"/>
                </a:cubicBezTo>
                <a:cubicBezTo>
                  <a:pt x="473" y="113"/>
                  <a:pt x="473" y="113"/>
                  <a:pt x="473" y="113"/>
                </a:cubicBezTo>
                <a:cubicBezTo>
                  <a:pt x="472" y="115"/>
                  <a:pt x="472" y="115"/>
                  <a:pt x="472" y="115"/>
                </a:cubicBezTo>
                <a:cubicBezTo>
                  <a:pt x="471" y="116"/>
                  <a:pt x="471" y="116"/>
                  <a:pt x="471" y="116"/>
                </a:cubicBezTo>
                <a:cubicBezTo>
                  <a:pt x="470" y="115"/>
                  <a:pt x="470" y="115"/>
                  <a:pt x="470" y="115"/>
                </a:cubicBezTo>
                <a:cubicBezTo>
                  <a:pt x="467" y="114"/>
                  <a:pt x="467" y="114"/>
                  <a:pt x="467" y="114"/>
                </a:cubicBezTo>
                <a:cubicBezTo>
                  <a:pt x="464" y="114"/>
                  <a:pt x="464" y="114"/>
                  <a:pt x="464" y="114"/>
                </a:cubicBezTo>
                <a:cubicBezTo>
                  <a:pt x="466" y="115"/>
                  <a:pt x="466" y="115"/>
                  <a:pt x="466" y="115"/>
                </a:cubicBezTo>
                <a:cubicBezTo>
                  <a:pt x="466" y="116"/>
                  <a:pt x="466" y="116"/>
                  <a:pt x="466" y="116"/>
                </a:cubicBezTo>
                <a:cubicBezTo>
                  <a:pt x="468" y="116"/>
                  <a:pt x="468" y="116"/>
                  <a:pt x="468" y="116"/>
                </a:cubicBezTo>
                <a:cubicBezTo>
                  <a:pt x="469" y="117"/>
                  <a:pt x="469" y="117"/>
                  <a:pt x="469" y="117"/>
                </a:cubicBezTo>
                <a:cubicBezTo>
                  <a:pt x="471" y="119"/>
                  <a:pt x="471" y="119"/>
                  <a:pt x="471" y="119"/>
                </a:cubicBezTo>
                <a:cubicBezTo>
                  <a:pt x="474" y="120"/>
                  <a:pt x="474" y="120"/>
                  <a:pt x="474" y="120"/>
                </a:cubicBezTo>
                <a:cubicBezTo>
                  <a:pt x="475" y="119"/>
                  <a:pt x="475" y="119"/>
                  <a:pt x="475" y="119"/>
                </a:cubicBezTo>
                <a:cubicBezTo>
                  <a:pt x="475" y="117"/>
                  <a:pt x="475" y="117"/>
                  <a:pt x="475" y="117"/>
                </a:cubicBezTo>
                <a:cubicBezTo>
                  <a:pt x="474" y="116"/>
                  <a:pt x="474" y="116"/>
                  <a:pt x="474" y="116"/>
                </a:cubicBezTo>
                <a:cubicBezTo>
                  <a:pt x="474" y="116"/>
                  <a:pt x="474" y="116"/>
                  <a:pt x="474" y="116"/>
                </a:cubicBezTo>
                <a:cubicBezTo>
                  <a:pt x="474" y="116"/>
                  <a:pt x="474" y="116"/>
                  <a:pt x="474" y="116"/>
                </a:cubicBezTo>
                <a:cubicBezTo>
                  <a:pt x="475" y="117"/>
                  <a:pt x="475" y="117"/>
                  <a:pt x="475" y="117"/>
                </a:cubicBezTo>
                <a:cubicBezTo>
                  <a:pt x="477" y="118"/>
                  <a:pt x="477" y="118"/>
                  <a:pt x="477" y="118"/>
                </a:cubicBezTo>
                <a:cubicBezTo>
                  <a:pt x="478" y="118"/>
                  <a:pt x="478" y="118"/>
                  <a:pt x="478" y="118"/>
                </a:cubicBezTo>
                <a:cubicBezTo>
                  <a:pt x="477" y="118"/>
                  <a:pt x="477" y="118"/>
                  <a:pt x="477" y="118"/>
                </a:cubicBezTo>
                <a:cubicBezTo>
                  <a:pt x="474" y="120"/>
                  <a:pt x="474" y="120"/>
                  <a:pt x="474" y="120"/>
                </a:cubicBezTo>
                <a:cubicBezTo>
                  <a:pt x="475" y="121"/>
                  <a:pt x="475" y="121"/>
                  <a:pt x="475" y="121"/>
                </a:cubicBezTo>
                <a:cubicBezTo>
                  <a:pt x="476" y="121"/>
                  <a:pt x="476" y="121"/>
                  <a:pt x="476" y="121"/>
                </a:cubicBezTo>
                <a:cubicBezTo>
                  <a:pt x="477" y="121"/>
                  <a:pt x="477" y="121"/>
                  <a:pt x="477" y="121"/>
                </a:cubicBezTo>
                <a:cubicBezTo>
                  <a:pt x="477" y="121"/>
                  <a:pt x="477" y="121"/>
                  <a:pt x="477" y="121"/>
                </a:cubicBezTo>
                <a:cubicBezTo>
                  <a:pt x="482" y="125"/>
                  <a:pt x="482" y="125"/>
                  <a:pt x="482" y="125"/>
                </a:cubicBezTo>
                <a:cubicBezTo>
                  <a:pt x="483" y="125"/>
                  <a:pt x="483" y="125"/>
                  <a:pt x="483" y="125"/>
                </a:cubicBezTo>
                <a:cubicBezTo>
                  <a:pt x="484" y="127"/>
                  <a:pt x="484" y="127"/>
                  <a:pt x="484" y="127"/>
                </a:cubicBezTo>
                <a:cubicBezTo>
                  <a:pt x="487" y="127"/>
                  <a:pt x="487" y="127"/>
                  <a:pt x="487" y="127"/>
                </a:cubicBezTo>
                <a:cubicBezTo>
                  <a:pt x="489" y="129"/>
                  <a:pt x="489" y="129"/>
                  <a:pt x="489" y="129"/>
                </a:cubicBezTo>
                <a:cubicBezTo>
                  <a:pt x="490" y="129"/>
                  <a:pt x="490" y="129"/>
                  <a:pt x="490" y="129"/>
                </a:cubicBezTo>
                <a:cubicBezTo>
                  <a:pt x="491" y="129"/>
                  <a:pt x="491" y="129"/>
                  <a:pt x="491" y="129"/>
                </a:cubicBezTo>
                <a:cubicBezTo>
                  <a:pt x="490" y="128"/>
                  <a:pt x="490" y="128"/>
                  <a:pt x="490" y="128"/>
                </a:cubicBezTo>
                <a:cubicBezTo>
                  <a:pt x="491" y="127"/>
                  <a:pt x="491" y="127"/>
                  <a:pt x="491" y="127"/>
                </a:cubicBezTo>
                <a:cubicBezTo>
                  <a:pt x="492" y="128"/>
                  <a:pt x="492" y="128"/>
                  <a:pt x="492" y="128"/>
                </a:cubicBezTo>
                <a:cubicBezTo>
                  <a:pt x="492" y="129"/>
                  <a:pt x="492" y="129"/>
                  <a:pt x="492" y="129"/>
                </a:cubicBezTo>
                <a:cubicBezTo>
                  <a:pt x="493" y="131"/>
                  <a:pt x="493" y="131"/>
                  <a:pt x="493" y="131"/>
                </a:cubicBezTo>
                <a:cubicBezTo>
                  <a:pt x="494" y="131"/>
                  <a:pt x="494" y="131"/>
                  <a:pt x="494" y="131"/>
                </a:cubicBezTo>
                <a:cubicBezTo>
                  <a:pt x="494" y="129"/>
                  <a:pt x="494" y="129"/>
                  <a:pt x="494" y="129"/>
                </a:cubicBezTo>
                <a:cubicBezTo>
                  <a:pt x="493" y="122"/>
                  <a:pt x="493" y="122"/>
                  <a:pt x="493" y="122"/>
                </a:cubicBezTo>
                <a:cubicBezTo>
                  <a:pt x="492" y="119"/>
                  <a:pt x="492" y="119"/>
                  <a:pt x="492" y="119"/>
                </a:cubicBezTo>
                <a:cubicBezTo>
                  <a:pt x="490" y="116"/>
                  <a:pt x="490" y="116"/>
                  <a:pt x="490" y="116"/>
                </a:cubicBezTo>
                <a:cubicBezTo>
                  <a:pt x="490" y="112"/>
                  <a:pt x="490" y="112"/>
                  <a:pt x="490" y="112"/>
                </a:cubicBezTo>
                <a:cubicBezTo>
                  <a:pt x="489" y="110"/>
                  <a:pt x="489" y="110"/>
                  <a:pt x="489" y="110"/>
                </a:cubicBezTo>
                <a:cubicBezTo>
                  <a:pt x="488" y="109"/>
                  <a:pt x="488" y="109"/>
                  <a:pt x="488" y="109"/>
                </a:cubicBezTo>
                <a:cubicBezTo>
                  <a:pt x="490" y="110"/>
                  <a:pt x="490" y="110"/>
                  <a:pt x="490" y="110"/>
                </a:cubicBezTo>
                <a:cubicBezTo>
                  <a:pt x="490" y="111"/>
                  <a:pt x="490" y="111"/>
                  <a:pt x="490" y="111"/>
                </a:cubicBezTo>
                <a:cubicBezTo>
                  <a:pt x="492" y="113"/>
                  <a:pt x="492" y="113"/>
                  <a:pt x="492" y="113"/>
                </a:cubicBezTo>
                <a:cubicBezTo>
                  <a:pt x="493" y="113"/>
                  <a:pt x="493" y="113"/>
                  <a:pt x="493" y="113"/>
                </a:cubicBezTo>
                <a:cubicBezTo>
                  <a:pt x="495" y="115"/>
                  <a:pt x="495" y="115"/>
                  <a:pt x="495" y="115"/>
                </a:cubicBezTo>
                <a:cubicBezTo>
                  <a:pt x="497" y="115"/>
                  <a:pt x="497" y="115"/>
                  <a:pt x="497" y="115"/>
                </a:cubicBezTo>
                <a:cubicBezTo>
                  <a:pt x="502" y="115"/>
                  <a:pt x="502" y="115"/>
                  <a:pt x="502" y="115"/>
                </a:cubicBezTo>
                <a:cubicBezTo>
                  <a:pt x="503" y="115"/>
                  <a:pt x="503" y="115"/>
                  <a:pt x="503" y="115"/>
                </a:cubicBezTo>
                <a:cubicBezTo>
                  <a:pt x="504" y="114"/>
                  <a:pt x="504" y="114"/>
                  <a:pt x="504" y="114"/>
                </a:cubicBezTo>
                <a:cubicBezTo>
                  <a:pt x="505" y="115"/>
                  <a:pt x="505" y="115"/>
                  <a:pt x="505" y="115"/>
                </a:cubicBezTo>
                <a:cubicBezTo>
                  <a:pt x="505" y="115"/>
                  <a:pt x="505" y="115"/>
                  <a:pt x="505" y="115"/>
                </a:cubicBezTo>
                <a:cubicBezTo>
                  <a:pt x="504" y="114"/>
                  <a:pt x="504" y="114"/>
                  <a:pt x="504" y="114"/>
                </a:cubicBezTo>
                <a:cubicBezTo>
                  <a:pt x="505" y="113"/>
                  <a:pt x="505" y="113"/>
                  <a:pt x="505" y="113"/>
                </a:cubicBezTo>
                <a:cubicBezTo>
                  <a:pt x="504" y="112"/>
                  <a:pt x="504" y="112"/>
                  <a:pt x="504" y="112"/>
                </a:cubicBezTo>
                <a:cubicBezTo>
                  <a:pt x="504" y="111"/>
                  <a:pt x="504" y="111"/>
                  <a:pt x="504" y="111"/>
                </a:cubicBezTo>
                <a:cubicBezTo>
                  <a:pt x="504" y="110"/>
                  <a:pt x="504" y="110"/>
                  <a:pt x="504" y="110"/>
                </a:cubicBezTo>
                <a:cubicBezTo>
                  <a:pt x="509" y="108"/>
                  <a:pt x="509" y="108"/>
                  <a:pt x="509" y="108"/>
                </a:cubicBezTo>
                <a:cubicBezTo>
                  <a:pt x="509" y="109"/>
                  <a:pt x="509" y="109"/>
                  <a:pt x="509" y="109"/>
                </a:cubicBezTo>
                <a:cubicBezTo>
                  <a:pt x="510" y="109"/>
                  <a:pt x="510" y="109"/>
                  <a:pt x="510" y="109"/>
                </a:cubicBezTo>
                <a:cubicBezTo>
                  <a:pt x="512" y="109"/>
                  <a:pt x="512" y="109"/>
                  <a:pt x="512" y="109"/>
                </a:cubicBezTo>
                <a:cubicBezTo>
                  <a:pt x="514" y="109"/>
                  <a:pt x="514" y="109"/>
                  <a:pt x="514" y="109"/>
                </a:cubicBezTo>
                <a:cubicBezTo>
                  <a:pt x="515" y="111"/>
                  <a:pt x="515" y="111"/>
                  <a:pt x="515" y="111"/>
                </a:cubicBezTo>
                <a:cubicBezTo>
                  <a:pt x="517" y="111"/>
                  <a:pt x="517" y="111"/>
                  <a:pt x="517" y="111"/>
                </a:cubicBezTo>
                <a:cubicBezTo>
                  <a:pt x="517" y="113"/>
                  <a:pt x="517" y="113"/>
                  <a:pt x="517" y="113"/>
                </a:cubicBezTo>
                <a:cubicBezTo>
                  <a:pt x="520" y="113"/>
                  <a:pt x="520" y="113"/>
                  <a:pt x="520" y="113"/>
                </a:cubicBezTo>
                <a:cubicBezTo>
                  <a:pt x="520" y="114"/>
                  <a:pt x="520" y="114"/>
                  <a:pt x="520" y="114"/>
                </a:cubicBezTo>
                <a:cubicBezTo>
                  <a:pt x="523" y="114"/>
                  <a:pt x="523" y="114"/>
                  <a:pt x="523" y="114"/>
                </a:cubicBezTo>
                <a:cubicBezTo>
                  <a:pt x="521" y="113"/>
                  <a:pt x="521" y="113"/>
                  <a:pt x="521" y="113"/>
                </a:cubicBezTo>
                <a:cubicBezTo>
                  <a:pt x="521" y="112"/>
                  <a:pt x="521" y="112"/>
                  <a:pt x="521" y="112"/>
                </a:cubicBezTo>
                <a:cubicBezTo>
                  <a:pt x="523" y="113"/>
                  <a:pt x="523" y="113"/>
                  <a:pt x="523" y="113"/>
                </a:cubicBezTo>
                <a:cubicBezTo>
                  <a:pt x="524" y="112"/>
                  <a:pt x="524" y="112"/>
                  <a:pt x="524" y="112"/>
                </a:cubicBezTo>
                <a:cubicBezTo>
                  <a:pt x="523" y="111"/>
                  <a:pt x="523" y="111"/>
                  <a:pt x="523" y="111"/>
                </a:cubicBezTo>
                <a:cubicBezTo>
                  <a:pt x="524" y="110"/>
                  <a:pt x="524" y="110"/>
                  <a:pt x="524" y="110"/>
                </a:cubicBezTo>
                <a:cubicBezTo>
                  <a:pt x="523" y="109"/>
                  <a:pt x="523" y="109"/>
                  <a:pt x="523" y="109"/>
                </a:cubicBezTo>
                <a:cubicBezTo>
                  <a:pt x="521" y="110"/>
                  <a:pt x="521" y="110"/>
                  <a:pt x="521" y="110"/>
                </a:cubicBezTo>
                <a:cubicBezTo>
                  <a:pt x="519" y="110"/>
                  <a:pt x="519" y="110"/>
                  <a:pt x="519" y="110"/>
                </a:cubicBezTo>
                <a:cubicBezTo>
                  <a:pt x="519" y="108"/>
                  <a:pt x="519" y="108"/>
                  <a:pt x="519" y="108"/>
                </a:cubicBezTo>
                <a:cubicBezTo>
                  <a:pt x="519" y="106"/>
                  <a:pt x="519" y="106"/>
                  <a:pt x="519" y="106"/>
                </a:cubicBezTo>
                <a:cubicBezTo>
                  <a:pt x="519" y="106"/>
                  <a:pt x="519" y="106"/>
                  <a:pt x="519" y="106"/>
                </a:cubicBezTo>
                <a:cubicBezTo>
                  <a:pt x="520" y="106"/>
                  <a:pt x="520" y="106"/>
                  <a:pt x="520" y="106"/>
                </a:cubicBezTo>
                <a:cubicBezTo>
                  <a:pt x="521" y="106"/>
                  <a:pt x="521" y="106"/>
                  <a:pt x="521" y="106"/>
                </a:cubicBezTo>
                <a:cubicBezTo>
                  <a:pt x="521" y="105"/>
                  <a:pt x="521" y="105"/>
                  <a:pt x="521" y="105"/>
                </a:cubicBezTo>
                <a:cubicBezTo>
                  <a:pt x="522" y="104"/>
                  <a:pt x="522" y="104"/>
                  <a:pt x="522" y="104"/>
                </a:cubicBezTo>
                <a:cubicBezTo>
                  <a:pt x="524" y="106"/>
                  <a:pt x="524" y="106"/>
                  <a:pt x="524" y="106"/>
                </a:cubicBezTo>
                <a:cubicBezTo>
                  <a:pt x="524" y="107"/>
                  <a:pt x="524" y="107"/>
                  <a:pt x="524" y="107"/>
                </a:cubicBezTo>
                <a:cubicBezTo>
                  <a:pt x="525" y="107"/>
                  <a:pt x="525" y="107"/>
                  <a:pt x="525" y="107"/>
                </a:cubicBezTo>
                <a:cubicBezTo>
                  <a:pt x="526" y="107"/>
                  <a:pt x="526" y="107"/>
                  <a:pt x="526" y="107"/>
                </a:cubicBezTo>
                <a:cubicBezTo>
                  <a:pt x="526" y="107"/>
                  <a:pt x="526" y="107"/>
                  <a:pt x="526" y="107"/>
                </a:cubicBezTo>
                <a:cubicBezTo>
                  <a:pt x="526" y="105"/>
                  <a:pt x="526" y="105"/>
                  <a:pt x="526" y="105"/>
                </a:cubicBezTo>
                <a:cubicBezTo>
                  <a:pt x="527" y="105"/>
                  <a:pt x="527" y="105"/>
                  <a:pt x="527" y="105"/>
                </a:cubicBezTo>
                <a:cubicBezTo>
                  <a:pt x="528" y="106"/>
                  <a:pt x="528" y="106"/>
                  <a:pt x="528" y="106"/>
                </a:cubicBezTo>
                <a:cubicBezTo>
                  <a:pt x="529" y="104"/>
                  <a:pt x="529" y="104"/>
                  <a:pt x="529" y="104"/>
                </a:cubicBezTo>
                <a:cubicBezTo>
                  <a:pt x="527" y="102"/>
                  <a:pt x="527" y="102"/>
                  <a:pt x="527" y="102"/>
                </a:cubicBezTo>
                <a:cubicBezTo>
                  <a:pt x="525" y="102"/>
                  <a:pt x="525" y="102"/>
                  <a:pt x="525" y="102"/>
                </a:cubicBezTo>
                <a:cubicBezTo>
                  <a:pt x="524" y="100"/>
                  <a:pt x="524" y="100"/>
                  <a:pt x="524" y="100"/>
                </a:cubicBezTo>
                <a:cubicBezTo>
                  <a:pt x="524" y="99"/>
                  <a:pt x="524" y="99"/>
                  <a:pt x="524" y="99"/>
                </a:cubicBezTo>
                <a:cubicBezTo>
                  <a:pt x="523" y="98"/>
                  <a:pt x="523" y="98"/>
                  <a:pt x="523" y="98"/>
                </a:cubicBezTo>
                <a:cubicBezTo>
                  <a:pt x="522" y="99"/>
                  <a:pt x="522" y="99"/>
                  <a:pt x="522" y="99"/>
                </a:cubicBezTo>
                <a:cubicBezTo>
                  <a:pt x="521" y="98"/>
                  <a:pt x="521" y="98"/>
                  <a:pt x="521" y="98"/>
                </a:cubicBezTo>
                <a:cubicBezTo>
                  <a:pt x="522" y="97"/>
                  <a:pt x="522" y="97"/>
                  <a:pt x="522" y="97"/>
                </a:cubicBezTo>
                <a:cubicBezTo>
                  <a:pt x="522" y="96"/>
                  <a:pt x="522" y="96"/>
                  <a:pt x="522" y="96"/>
                </a:cubicBezTo>
                <a:cubicBezTo>
                  <a:pt x="522" y="96"/>
                  <a:pt x="522" y="96"/>
                  <a:pt x="522" y="96"/>
                </a:cubicBezTo>
                <a:cubicBezTo>
                  <a:pt x="521" y="94"/>
                  <a:pt x="521" y="94"/>
                  <a:pt x="521" y="94"/>
                </a:cubicBezTo>
                <a:cubicBezTo>
                  <a:pt x="523" y="94"/>
                  <a:pt x="523" y="94"/>
                  <a:pt x="523" y="94"/>
                </a:cubicBezTo>
                <a:cubicBezTo>
                  <a:pt x="523" y="92"/>
                  <a:pt x="523" y="92"/>
                  <a:pt x="523" y="92"/>
                </a:cubicBezTo>
                <a:cubicBezTo>
                  <a:pt x="521" y="93"/>
                  <a:pt x="521" y="93"/>
                  <a:pt x="521" y="93"/>
                </a:cubicBezTo>
                <a:cubicBezTo>
                  <a:pt x="520" y="94"/>
                  <a:pt x="520" y="94"/>
                  <a:pt x="520" y="94"/>
                </a:cubicBezTo>
                <a:cubicBezTo>
                  <a:pt x="520" y="96"/>
                  <a:pt x="520" y="96"/>
                  <a:pt x="520" y="96"/>
                </a:cubicBezTo>
                <a:cubicBezTo>
                  <a:pt x="517" y="95"/>
                  <a:pt x="517" y="95"/>
                  <a:pt x="517" y="95"/>
                </a:cubicBezTo>
                <a:cubicBezTo>
                  <a:pt x="516" y="93"/>
                  <a:pt x="516" y="93"/>
                  <a:pt x="516" y="93"/>
                </a:cubicBezTo>
                <a:cubicBezTo>
                  <a:pt x="517" y="91"/>
                  <a:pt x="517" y="91"/>
                  <a:pt x="517" y="91"/>
                </a:cubicBezTo>
                <a:cubicBezTo>
                  <a:pt x="517" y="90"/>
                  <a:pt x="517" y="90"/>
                  <a:pt x="517" y="90"/>
                </a:cubicBezTo>
                <a:cubicBezTo>
                  <a:pt x="519" y="89"/>
                  <a:pt x="519" y="89"/>
                  <a:pt x="519" y="89"/>
                </a:cubicBezTo>
                <a:cubicBezTo>
                  <a:pt x="520" y="89"/>
                  <a:pt x="520" y="89"/>
                  <a:pt x="520" y="89"/>
                </a:cubicBezTo>
                <a:cubicBezTo>
                  <a:pt x="523" y="87"/>
                  <a:pt x="523" y="87"/>
                  <a:pt x="523" y="87"/>
                </a:cubicBezTo>
                <a:cubicBezTo>
                  <a:pt x="523" y="86"/>
                  <a:pt x="523" y="86"/>
                  <a:pt x="523" y="86"/>
                </a:cubicBezTo>
                <a:cubicBezTo>
                  <a:pt x="521" y="84"/>
                  <a:pt x="521" y="84"/>
                  <a:pt x="521" y="84"/>
                </a:cubicBezTo>
                <a:cubicBezTo>
                  <a:pt x="520" y="85"/>
                  <a:pt x="520" y="85"/>
                  <a:pt x="520" y="85"/>
                </a:cubicBezTo>
                <a:cubicBezTo>
                  <a:pt x="519" y="84"/>
                  <a:pt x="519" y="84"/>
                  <a:pt x="519" y="84"/>
                </a:cubicBezTo>
                <a:cubicBezTo>
                  <a:pt x="517" y="84"/>
                  <a:pt x="517" y="84"/>
                  <a:pt x="517" y="84"/>
                </a:cubicBezTo>
                <a:cubicBezTo>
                  <a:pt x="516" y="83"/>
                  <a:pt x="516" y="83"/>
                  <a:pt x="516" y="83"/>
                </a:cubicBezTo>
                <a:cubicBezTo>
                  <a:pt x="517" y="82"/>
                  <a:pt x="517" y="82"/>
                  <a:pt x="517" y="82"/>
                </a:cubicBezTo>
                <a:cubicBezTo>
                  <a:pt x="520" y="81"/>
                  <a:pt x="520" y="81"/>
                  <a:pt x="520" y="81"/>
                </a:cubicBezTo>
                <a:cubicBezTo>
                  <a:pt x="523" y="83"/>
                  <a:pt x="523" y="83"/>
                  <a:pt x="523" y="83"/>
                </a:cubicBezTo>
                <a:cubicBezTo>
                  <a:pt x="525" y="82"/>
                  <a:pt x="525" y="82"/>
                  <a:pt x="525" y="82"/>
                </a:cubicBezTo>
                <a:cubicBezTo>
                  <a:pt x="529" y="82"/>
                  <a:pt x="529" y="82"/>
                  <a:pt x="529" y="82"/>
                </a:cubicBezTo>
                <a:cubicBezTo>
                  <a:pt x="537" y="82"/>
                  <a:pt x="537" y="82"/>
                  <a:pt x="537" y="82"/>
                </a:cubicBezTo>
                <a:cubicBezTo>
                  <a:pt x="538" y="81"/>
                  <a:pt x="538" y="81"/>
                  <a:pt x="538" y="81"/>
                </a:cubicBezTo>
                <a:cubicBezTo>
                  <a:pt x="543" y="81"/>
                  <a:pt x="543" y="81"/>
                  <a:pt x="543" y="81"/>
                </a:cubicBezTo>
                <a:cubicBezTo>
                  <a:pt x="546" y="81"/>
                  <a:pt x="546" y="81"/>
                  <a:pt x="546" y="81"/>
                </a:cubicBezTo>
                <a:cubicBezTo>
                  <a:pt x="548" y="81"/>
                  <a:pt x="548" y="81"/>
                  <a:pt x="548" y="81"/>
                </a:cubicBezTo>
                <a:cubicBezTo>
                  <a:pt x="551" y="81"/>
                  <a:pt x="551" y="81"/>
                  <a:pt x="551" y="81"/>
                </a:cubicBezTo>
                <a:cubicBezTo>
                  <a:pt x="549" y="81"/>
                  <a:pt x="549" y="81"/>
                  <a:pt x="549" y="81"/>
                </a:cubicBezTo>
                <a:cubicBezTo>
                  <a:pt x="545" y="83"/>
                  <a:pt x="545" y="83"/>
                  <a:pt x="545" y="83"/>
                </a:cubicBezTo>
                <a:cubicBezTo>
                  <a:pt x="543" y="82"/>
                  <a:pt x="543" y="82"/>
                  <a:pt x="543" y="82"/>
                </a:cubicBezTo>
                <a:cubicBezTo>
                  <a:pt x="543" y="83"/>
                  <a:pt x="543" y="83"/>
                  <a:pt x="543" y="83"/>
                </a:cubicBezTo>
                <a:cubicBezTo>
                  <a:pt x="541" y="82"/>
                  <a:pt x="541" y="82"/>
                  <a:pt x="541" y="82"/>
                </a:cubicBezTo>
                <a:cubicBezTo>
                  <a:pt x="541" y="85"/>
                  <a:pt x="541" y="85"/>
                  <a:pt x="541" y="85"/>
                </a:cubicBezTo>
                <a:cubicBezTo>
                  <a:pt x="542" y="86"/>
                  <a:pt x="542" y="86"/>
                  <a:pt x="542" y="86"/>
                </a:cubicBezTo>
                <a:cubicBezTo>
                  <a:pt x="541" y="87"/>
                  <a:pt x="541" y="87"/>
                  <a:pt x="541" y="87"/>
                </a:cubicBezTo>
                <a:cubicBezTo>
                  <a:pt x="541" y="88"/>
                  <a:pt x="541" y="88"/>
                  <a:pt x="541" y="88"/>
                </a:cubicBezTo>
                <a:cubicBezTo>
                  <a:pt x="542" y="88"/>
                  <a:pt x="542" y="88"/>
                  <a:pt x="542" y="88"/>
                </a:cubicBezTo>
                <a:cubicBezTo>
                  <a:pt x="544" y="87"/>
                  <a:pt x="544" y="87"/>
                  <a:pt x="544" y="87"/>
                </a:cubicBezTo>
                <a:cubicBezTo>
                  <a:pt x="544" y="86"/>
                  <a:pt x="544" y="86"/>
                  <a:pt x="544" y="86"/>
                </a:cubicBezTo>
                <a:cubicBezTo>
                  <a:pt x="547" y="83"/>
                  <a:pt x="547" y="83"/>
                  <a:pt x="547" y="83"/>
                </a:cubicBezTo>
                <a:cubicBezTo>
                  <a:pt x="551" y="82"/>
                  <a:pt x="551" y="82"/>
                  <a:pt x="551" y="82"/>
                </a:cubicBezTo>
                <a:cubicBezTo>
                  <a:pt x="552" y="84"/>
                  <a:pt x="552" y="84"/>
                  <a:pt x="552" y="84"/>
                </a:cubicBezTo>
                <a:cubicBezTo>
                  <a:pt x="552" y="87"/>
                  <a:pt x="552" y="87"/>
                  <a:pt x="552" y="87"/>
                </a:cubicBezTo>
                <a:cubicBezTo>
                  <a:pt x="552" y="88"/>
                  <a:pt x="552" y="88"/>
                  <a:pt x="552" y="88"/>
                </a:cubicBezTo>
                <a:cubicBezTo>
                  <a:pt x="551" y="86"/>
                  <a:pt x="551" y="86"/>
                  <a:pt x="551" y="86"/>
                </a:cubicBezTo>
                <a:cubicBezTo>
                  <a:pt x="550" y="85"/>
                  <a:pt x="550" y="85"/>
                  <a:pt x="550" y="85"/>
                </a:cubicBezTo>
                <a:cubicBezTo>
                  <a:pt x="550" y="83"/>
                  <a:pt x="550" y="83"/>
                  <a:pt x="550" y="83"/>
                </a:cubicBezTo>
                <a:cubicBezTo>
                  <a:pt x="548" y="85"/>
                  <a:pt x="548" y="85"/>
                  <a:pt x="548" y="85"/>
                </a:cubicBezTo>
                <a:cubicBezTo>
                  <a:pt x="547" y="84"/>
                  <a:pt x="547" y="84"/>
                  <a:pt x="547" y="84"/>
                </a:cubicBezTo>
                <a:cubicBezTo>
                  <a:pt x="548" y="87"/>
                  <a:pt x="548" y="87"/>
                  <a:pt x="548" y="87"/>
                </a:cubicBezTo>
                <a:cubicBezTo>
                  <a:pt x="550" y="87"/>
                  <a:pt x="550" y="87"/>
                  <a:pt x="550" y="87"/>
                </a:cubicBezTo>
                <a:cubicBezTo>
                  <a:pt x="550" y="90"/>
                  <a:pt x="550" y="90"/>
                  <a:pt x="550" y="90"/>
                </a:cubicBezTo>
                <a:cubicBezTo>
                  <a:pt x="549" y="92"/>
                  <a:pt x="549" y="92"/>
                  <a:pt x="549" y="92"/>
                </a:cubicBezTo>
                <a:cubicBezTo>
                  <a:pt x="548" y="91"/>
                  <a:pt x="548" y="91"/>
                  <a:pt x="548" y="91"/>
                </a:cubicBezTo>
                <a:cubicBezTo>
                  <a:pt x="547" y="92"/>
                  <a:pt x="547" y="92"/>
                  <a:pt x="547" y="92"/>
                </a:cubicBezTo>
                <a:cubicBezTo>
                  <a:pt x="549" y="93"/>
                  <a:pt x="549" y="93"/>
                  <a:pt x="549" y="93"/>
                </a:cubicBezTo>
                <a:cubicBezTo>
                  <a:pt x="549" y="94"/>
                  <a:pt x="549" y="94"/>
                  <a:pt x="549" y="94"/>
                </a:cubicBezTo>
                <a:cubicBezTo>
                  <a:pt x="549" y="94"/>
                  <a:pt x="549" y="94"/>
                  <a:pt x="549" y="94"/>
                </a:cubicBezTo>
                <a:cubicBezTo>
                  <a:pt x="550" y="94"/>
                  <a:pt x="550" y="94"/>
                  <a:pt x="550" y="94"/>
                </a:cubicBezTo>
                <a:cubicBezTo>
                  <a:pt x="552" y="93"/>
                  <a:pt x="552" y="93"/>
                  <a:pt x="552" y="93"/>
                </a:cubicBezTo>
                <a:cubicBezTo>
                  <a:pt x="552" y="91"/>
                  <a:pt x="552" y="91"/>
                  <a:pt x="552" y="91"/>
                </a:cubicBezTo>
                <a:cubicBezTo>
                  <a:pt x="553" y="90"/>
                  <a:pt x="553" y="90"/>
                  <a:pt x="553" y="90"/>
                </a:cubicBezTo>
                <a:cubicBezTo>
                  <a:pt x="553" y="88"/>
                  <a:pt x="553" y="88"/>
                  <a:pt x="553" y="88"/>
                </a:cubicBezTo>
                <a:cubicBezTo>
                  <a:pt x="553" y="87"/>
                  <a:pt x="553" y="87"/>
                  <a:pt x="553" y="87"/>
                </a:cubicBezTo>
                <a:cubicBezTo>
                  <a:pt x="552" y="80"/>
                  <a:pt x="552" y="80"/>
                  <a:pt x="552" y="80"/>
                </a:cubicBezTo>
                <a:cubicBezTo>
                  <a:pt x="555" y="79"/>
                  <a:pt x="555" y="79"/>
                  <a:pt x="555" y="79"/>
                </a:cubicBezTo>
                <a:cubicBezTo>
                  <a:pt x="558" y="78"/>
                  <a:pt x="558" y="78"/>
                  <a:pt x="558" y="78"/>
                </a:cubicBezTo>
                <a:cubicBezTo>
                  <a:pt x="562" y="77"/>
                  <a:pt x="562" y="77"/>
                  <a:pt x="562" y="77"/>
                </a:cubicBezTo>
                <a:cubicBezTo>
                  <a:pt x="565" y="77"/>
                  <a:pt x="565" y="77"/>
                  <a:pt x="565" y="77"/>
                </a:cubicBezTo>
                <a:cubicBezTo>
                  <a:pt x="569" y="79"/>
                  <a:pt x="569" y="79"/>
                  <a:pt x="569" y="79"/>
                </a:cubicBezTo>
                <a:cubicBezTo>
                  <a:pt x="571" y="82"/>
                  <a:pt x="571" y="82"/>
                  <a:pt x="571" y="82"/>
                </a:cubicBezTo>
                <a:cubicBezTo>
                  <a:pt x="571" y="83"/>
                  <a:pt x="571" y="83"/>
                  <a:pt x="571" y="83"/>
                </a:cubicBezTo>
                <a:cubicBezTo>
                  <a:pt x="570" y="84"/>
                  <a:pt x="570" y="84"/>
                  <a:pt x="570" y="84"/>
                </a:cubicBezTo>
                <a:cubicBezTo>
                  <a:pt x="568" y="82"/>
                  <a:pt x="568" y="82"/>
                  <a:pt x="568" y="82"/>
                </a:cubicBezTo>
                <a:cubicBezTo>
                  <a:pt x="567" y="82"/>
                  <a:pt x="567" y="82"/>
                  <a:pt x="567" y="82"/>
                </a:cubicBezTo>
                <a:cubicBezTo>
                  <a:pt x="568" y="84"/>
                  <a:pt x="568" y="84"/>
                  <a:pt x="568" y="84"/>
                </a:cubicBezTo>
                <a:cubicBezTo>
                  <a:pt x="568" y="85"/>
                  <a:pt x="568" y="85"/>
                  <a:pt x="568" y="85"/>
                </a:cubicBezTo>
                <a:cubicBezTo>
                  <a:pt x="568" y="86"/>
                  <a:pt x="568" y="86"/>
                  <a:pt x="568" y="86"/>
                </a:cubicBezTo>
                <a:cubicBezTo>
                  <a:pt x="567" y="87"/>
                  <a:pt x="567" y="87"/>
                  <a:pt x="567" y="87"/>
                </a:cubicBezTo>
                <a:cubicBezTo>
                  <a:pt x="568" y="87"/>
                  <a:pt x="568" y="87"/>
                  <a:pt x="568" y="87"/>
                </a:cubicBezTo>
                <a:cubicBezTo>
                  <a:pt x="569" y="87"/>
                  <a:pt x="569" y="87"/>
                  <a:pt x="569" y="87"/>
                </a:cubicBezTo>
                <a:cubicBezTo>
                  <a:pt x="571" y="86"/>
                  <a:pt x="571" y="86"/>
                  <a:pt x="571" y="86"/>
                </a:cubicBezTo>
                <a:cubicBezTo>
                  <a:pt x="573" y="85"/>
                  <a:pt x="573" y="85"/>
                  <a:pt x="573" y="85"/>
                </a:cubicBezTo>
                <a:cubicBezTo>
                  <a:pt x="573" y="87"/>
                  <a:pt x="573" y="87"/>
                  <a:pt x="573" y="87"/>
                </a:cubicBezTo>
                <a:cubicBezTo>
                  <a:pt x="574" y="88"/>
                  <a:pt x="574" y="88"/>
                  <a:pt x="574" y="88"/>
                </a:cubicBezTo>
                <a:cubicBezTo>
                  <a:pt x="574" y="90"/>
                  <a:pt x="574" y="90"/>
                  <a:pt x="574" y="90"/>
                </a:cubicBezTo>
                <a:cubicBezTo>
                  <a:pt x="575" y="91"/>
                  <a:pt x="575" y="91"/>
                  <a:pt x="575" y="91"/>
                </a:cubicBezTo>
                <a:cubicBezTo>
                  <a:pt x="576" y="89"/>
                  <a:pt x="576" y="89"/>
                  <a:pt x="576" y="89"/>
                </a:cubicBezTo>
                <a:cubicBezTo>
                  <a:pt x="575" y="88"/>
                  <a:pt x="575" y="88"/>
                  <a:pt x="575" y="88"/>
                </a:cubicBezTo>
                <a:cubicBezTo>
                  <a:pt x="577" y="87"/>
                  <a:pt x="577" y="87"/>
                  <a:pt x="577" y="87"/>
                </a:cubicBezTo>
                <a:cubicBezTo>
                  <a:pt x="579" y="88"/>
                  <a:pt x="579" y="88"/>
                  <a:pt x="579" y="88"/>
                </a:cubicBezTo>
                <a:cubicBezTo>
                  <a:pt x="579" y="89"/>
                  <a:pt x="579" y="89"/>
                  <a:pt x="579" y="89"/>
                </a:cubicBezTo>
                <a:cubicBezTo>
                  <a:pt x="579" y="90"/>
                  <a:pt x="579" y="90"/>
                  <a:pt x="579" y="90"/>
                </a:cubicBezTo>
                <a:cubicBezTo>
                  <a:pt x="578" y="92"/>
                  <a:pt x="578" y="92"/>
                  <a:pt x="578" y="92"/>
                </a:cubicBezTo>
                <a:cubicBezTo>
                  <a:pt x="578" y="93"/>
                  <a:pt x="578" y="93"/>
                  <a:pt x="578" y="93"/>
                </a:cubicBezTo>
                <a:cubicBezTo>
                  <a:pt x="579" y="92"/>
                  <a:pt x="579" y="92"/>
                  <a:pt x="579" y="92"/>
                </a:cubicBezTo>
                <a:cubicBezTo>
                  <a:pt x="580" y="91"/>
                  <a:pt x="580" y="91"/>
                  <a:pt x="580" y="91"/>
                </a:cubicBezTo>
                <a:cubicBezTo>
                  <a:pt x="581" y="90"/>
                  <a:pt x="581" y="90"/>
                  <a:pt x="581" y="90"/>
                </a:cubicBezTo>
                <a:cubicBezTo>
                  <a:pt x="581" y="91"/>
                  <a:pt x="581" y="91"/>
                  <a:pt x="581" y="91"/>
                </a:cubicBezTo>
                <a:cubicBezTo>
                  <a:pt x="581" y="90"/>
                  <a:pt x="581" y="90"/>
                  <a:pt x="581" y="90"/>
                </a:cubicBezTo>
                <a:cubicBezTo>
                  <a:pt x="582" y="87"/>
                  <a:pt x="582" y="87"/>
                  <a:pt x="582" y="87"/>
                </a:cubicBezTo>
                <a:cubicBezTo>
                  <a:pt x="583" y="87"/>
                  <a:pt x="583" y="87"/>
                  <a:pt x="583" y="87"/>
                </a:cubicBezTo>
                <a:cubicBezTo>
                  <a:pt x="584" y="87"/>
                  <a:pt x="584" y="87"/>
                  <a:pt x="584" y="87"/>
                </a:cubicBezTo>
                <a:cubicBezTo>
                  <a:pt x="587" y="89"/>
                  <a:pt x="587" y="89"/>
                  <a:pt x="587" y="89"/>
                </a:cubicBezTo>
                <a:cubicBezTo>
                  <a:pt x="590" y="90"/>
                  <a:pt x="590" y="90"/>
                  <a:pt x="590" y="90"/>
                </a:cubicBezTo>
                <a:cubicBezTo>
                  <a:pt x="592" y="92"/>
                  <a:pt x="592" y="92"/>
                  <a:pt x="592" y="92"/>
                </a:cubicBezTo>
                <a:cubicBezTo>
                  <a:pt x="591" y="93"/>
                  <a:pt x="591" y="93"/>
                  <a:pt x="591" y="93"/>
                </a:cubicBezTo>
                <a:cubicBezTo>
                  <a:pt x="589" y="94"/>
                  <a:pt x="589" y="94"/>
                  <a:pt x="589" y="94"/>
                </a:cubicBezTo>
                <a:cubicBezTo>
                  <a:pt x="588" y="96"/>
                  <a:pt x="588" y="96"/>
                  <a:pt x="588" y="96"/>
                </a:cubicBezTo>
                <a:cubicBezTo>
                  <a:pt x="590" y="95"/>
                  <a:pt x="590" y="95"/>
                  <a:pt x="590" y="95"/>
                </a:cubicBezTo>
                <a:cubicBezTo>
                  <a:pt x="592" y="94"/>
                  <a:pt x="592" y="94"/>
                  <a:pt x="592" y="94"/>
                </a:cubicBezTo>
                <a:cubicBezTo>
                  <a:pt x="594" y="95"/>
                  <a:pt x="594" y="95"/>
                  <a:pt x="594" y="95"/>
                </a:cubicBezTo>
                <a:cubicBezTo>
                  <a:pt x="596" y="94"/>
                  <a:pt x="596" y="94"/>
                  <a:pt x="596" y="94"/>
                </a:cubicBezTo>
                <a:cubicBezTo>
                  <a:pt x="598" y="93"/>
                  <a:pt x="598" y="93"/>
                  <a:pt x="598" y="93"/>
                </a:cubicBezTo>
                <a:cubicBezTo>
                  <a:pt x="599" y="92"/>
                  <a:pt x="599" y="92"/>
                  <a:pt x="599" y="92"/>
                </a:cubicBezTo>
                <a:cubicBezTo>
                  <a:pt x="602" y="90"/>
                  <a:pt x="602" y="90"/>
                  <a:pt x="602" y="90"/>
                </a:cubicBezTo>
                <a:cubicBezTo>
                  <a:pt x="603" y="90"/>
                  <a:pt x="603" y="90"/>
                  <a:pt x="603" y="90"/>
                </a:cubicBezTo>
                <a:cubicBezTo>
                  <a:pt x="605" y="88"/>
                  <a:pt x="605" y="88"/>
                  <a:pt x="605" y="88"/>
                </a:cubicBezTo>
                <a:cubicBezTo>
                  <a:pt x="607" y="87"/>
                  <a:pt x="607" y="87"/>
                  <a:pt x="607" y="87"/>
                </a:cubicBezTo>
                <a:cubicBezTo>
                  <a:pt x="612" y="85"/>
                  <a:pt x="612" y="85"/>
                  <a:pt x="612" y="85"/>
                </a:cubicBezTo>
                <a:cubicBezTo>
                  <a:pt x="614" y="84"/>
                  <a:pt x="614" y="84"/>
                  <a:pt x="614" y="84"/>
                </a:cubicBezTo>
                <a:cubicBezTo>
                  <a:pt x="615" y="84"/>
                  <a:pt x="615" y="84"/>
                  <a:pt x="615" y="84"/>
                </a:cubicBezTo>
                <a:cubicBezTo>
                  <a:pt x="615" y="84"/>
                  <a:pt x="615" y="84"/>
                  <a:pt x="615" y="84"/>
                </a:cubicBezTo>
                <a:cubicBezTo>
                  <a:pt x="618" y="82"/>
                  <a:pt x="618" y="82"/>
                  <a:pt x="618" y="82"/>
                </a:cubicBezTo>
                <a:cubicBezTo>
                  <a:pt x="620" y="82"/>
                  <a:pt x="620" y="82"/>
                  <a:pt x="620" y="82"/>
                </a:cubicBezTo>
                <a:cubicBezTo>
                  <a:pt x="623" y="82"/>
                  <a:pt x="623" y="82"/>
                  <a:pt x="623" y="82"/>
                </a:cubicBezTo>
                <a:cubicBezTo>
                  <a:pt x="629" y="84"/>
                  <a:pt x="629" y="84"/>
                  <a:pt x="629" y="84"/>
                </a:cubicBezTo>
                <a:cubicBezTo>
                  <a:pt x="631" y="87"/>
                  <a:pt x="631" y="87"/>
                  <a:pt x="631" y="87"/>
                </a:cubicBezTo>
                <a:cubicBezTo>
                  <a:pt x="634" y="88"/>
                  <a:pt x="634" y="88"/>
                  <a:pt x="634" y="88"/>
                </a:cubicBezTo>
                <a:cubicBezTo>
                  <a:pt x="636" y="91"/>
                  <a:pt x="636" y="91"/>
                  <a:pt x="636" y="91"/>
                </a:cubicBezTo>
                <a:cubicBezTo>
                  <a:pt x="638" y="93"/>
                  <a:pt x="638" y="93"/>
                  <a:pt x="638" y="93"/>
                </a:cubicBezTo>
                <a:cubicBezTo>
                  <a:pt x="638" y="94"/>
                  <a:pt x="638" y="94"/>
                  <a:pt x="638" y="94"/>
                </a:cubicBezTo>
                <a:cubicBezTo>
                  <a:pt x="638" y="95"/>
                  <a:pt x="638" y="95"/>
                  <a:pt x="638" y="95"/>
                </a:cubicBezTo>
                <a:cubicBezTo>
                  <a:pt x="638" y="97"/>
                  <a:pt x="638" y="97"/>
                  <a:pt x="638" y="97"/>
                </a:cubicBezTo>
                <a:cubicBezTo>
                  <a:pt x="639" y="99"/>
                  <a:pt x="639" y="99"/>
                  <a:pt x="639" y="99"/>
                </a:cubicBezTo>
                <a:cubicBezTo>
                  <a:pt x="640" y="100"/>
                  <a:pt x="640" y="100"/>
                  <a:pt x="640" y="100"/>
                </a:cubicBezTo>
                <a:cubicBezTo>
                  <a:pt x="639" y="102"/>
                  <a:pt x="639" y="102"/>
                  <a:pt x="639" y="102"/>
                </a:cubicBezTo>
                <a:cubicBezTo>
                  <a:pt x="640" y="101"/>
                  <a:pt x="640" y="101"/>
                  <a:pt x="640" y="101"/>
                </a:cubicBezTo>
                <a:cubicBezTo>
                  <a:pt x="642" y="100"/>
                  <a:pt x="642" y="100"/>
                  <a:pt x="642" y="100"/>
                </a:cubicBezTo>
                <a:cubicBezTo>
                  <a:pt x="643" y="100"/>
                  <a:pt x="643" y="100"/>
                  <a:pt x="643" y="100"/>
                </a:cubicBezTo>
                <a:cubicBezTo>
                  <a:pt x="644" y="100"/>
                  <a:pt x="644" y="100"/>
                  <a:pt x="644" y="100"/>
                </a:cubicBezTo>
                <a:cubicBezTo>
                  <a:pt x="644" y="99"/>
                  <a:pt x="644" y="99"/>
                  <a:pt x="644" y="99"/>
                </a:cubicBezTo>
                <a:cubicBezTo>
                  <a:pt x="646" y="99"/>
                  <a:pt x="646" y="99"/>
                  <a:pt x="646" y="99"/>
                </a:cubicBezTo>
                <a:cubicBezTo>
                  <a:pt x="647" y="100"/>
                  <a:pt x="647" y="100"/>
                  <a:pt x="647" y="100"/>
                </a:cubicBezTo>
                <a:cubicBezTo>
                  <a:pt x="648" y="102"/>
                  <a:pt x="648" y="102"/>
                  <a:pt x="648" y="102"/>
                </a:cubicBezTo>
                <a:cubicBezTo>
                  <a:pt x="648" y="100"/>
                  <a:pt x="648" y="100"/>
                  <a:pt x="648" y="100"/>
                </a:cubicBezTo>
                <a:cubicBezTo>
                  <a:pt x="648" y="98"/>
                  <a:pt x="648" y="98"/>
                  <a:pt x="648" y="98"/>
                </a:cubicBezTo>
                <a:cubicBezTo>
                  <a:pt x="649" y="98"/>
                  <a:pt x="649" y="98"/>
                  <a:pt x="649" y="98"/>
                </a:cubicBezTo>
                <a:cubicBezTo>
                  <a:pt x="650" y="100"/>
                  <a:pt x="650" y="100"/>
                  <a:pt x="650" y="100"/>
                </a:cubicBezTo>
                <a:cubicBezTo>
                  <a:pt x="652" y="102"/>
                  <a:pt x="652" y="102"/>
                  <a:pt x="652" y="102"/>
                </a:cubicBezTo>
                <a:cubicBezTo>
                  <a:pt x="652" y="104"/>
                  <a:pt x="652" y="104"/>
                  <a:pt x="652" y="104"/>
                </a:cubicBezTo>
                <a:cubicBezTo>
                  <a:pt x="653" y="104"/>
                  <a:pt x="653" y="104"/>
                  <a:pt x="653" y="104"/>
                </a:cubicBezTo>
                <a:cubicBezTo>
                  <a:pt x="655" y="107"/>
                  <a:pt x="655" y="107"/>
                  <a:pt x="655" y="107"/>
                </a:cubicBezTo>
                <a:cubicBezTo>
                  <a:pt x="655" y="106"/>
                  <a:pt x="655" y="106"/>
                  <a:pt x="655" y="106"/>
                </a:cubicBezTo>
                <a:cubicBezTo>
                  <a:pt x="654" y="104"/>
                  <a:pt x="654" y="104"/>
                  <a:pt x="654" y="104"/>
                </a:cubicBezTo>
                <a:cubicBezTo>
                  <a:pt x="653" y="103"/>
                  <a:pt x="653" y="103"/>
                  <a:pt x="653" y="103"/>
                </a:cubicBezTo>
                <a:cubicBezTo>
                  <a:pt x="653" y="102"/>
                  <a:pt x="653" y="102"/>
                  <a:pt x="653" y="102"/>
                </a:cubicBezTo>
                <a:cubicBezTo>
                  <a:pt x="654" y="103"/>
                  <a:pt x="654" y="103"/>
                  <a:pt x="654" y="103"/>
                </a:cubicBezTo>
                <a:cubicBezTo>
                  <a:pt x="655" y="103"/>
                  <a:pt x="655" y="103"/>
                  <a:pt x="655" y="103"/>
                </a:cubicBezTo>
                <a:cubicBezTo>
                  <a:pt x="657" y="104"/>
                  <a:pt x="657" y="104"/>
                  <a:pt x="657" y="104"/>
                </a:cubicBezTo>
                <a:cubicBezTo>
                  <a:pt x="658" y="106"/>
                  <a:pt x="658" y="106"/>
                  <a:pt x="658" y="106"/>
                </a:cubicBezTo>
                <a:cubicBezTo>
                  <a:pt x="658" y="104"/>
                  <a:pt x="658" y="104"/>
                  <a:pt x="658" y="104"/>
                </a:cubicBezTo>
                <a:cubicBezTo>
                  <a:pt x="656" y="101"/>
                  <a:pt x="656" y="101"/>
                  <a:pt x="656" y="101"/>
                </a:cubicBezTo>
                <a:cubicBezTo>
                  <a:pt x="656" y="98"/>
                  <a:pt x="656" y="98"/>
                  <a:pt x="656" y="98"/>
                </a:cubicBezTo>
                <a:cubicBezTo>
                  <a:pt x="656" y="96"/>
                  <a:pt x="656" y="96"/>
                  <a:pt x="656" y="96"/>
                </a:cubicBezTo>
                <a:cubicBezTo>
                  <a:pt x="657" y="94"/>
                  <a:pt x="657" y="94"/>
                  <a:pt x="657" y="94"/>
                </a:cubicBezTo>
                <a:cubicBezTo>
                  <a:pt x="660" y="94"/>
                  <a:pt x="660" y="94"/>
                  <a:pt x="660" y="94"/>
                </a:cubicBezTo>
                <a:cubicBezTo>
                  <a:pt x="661" y="93"/>
                  <a:pt x="661" y="93"/>
                  <a:pt x="661" y="93"/>
                </a:cubicBezTo>
                <a:cubicBezTo>
                  <a:pt x="663" y="92"/>
                  <a:pt x="663" y="92"/>
                  <a:pt x="663" y="92"/>
                </a:cubicBezTo>
                <a:cubicBezTo>
                  <a:pt x="663" y="91"/>
                  <a:pt x="663" y="91"/>
                  <a:pt x="663" y="91"/>
                </a:cubicBezTo>
                <a:cubicBezTo>
                  <a:pt x="663" y="91"/>
                  <a:pt x="663" y="91"/>
                  <a:pt x="663" y="91"/>
                </a:cubicBezTo>
                <a:cubicBezTo>
                  <a:pt x="664" y="91"/>
                  <a:pt x="664" y="91"/>
                  <a:pt x="664" y="91"/>
                </a:cubicBezTo>
                <a:cubicBezTo>
                  <a:pt x="665" y="92"/>
                  <a:pt x="665" y="92"/>
                  <a:pt x="665" y="92"/>
                </a:cubicBezTo>
                <a:cubicBezTo>
                  <a:pt x="667" y="92"/>
                  <a:pt x="667" y="92"/>
                  <a:pt x="667" y="92"/>
                </a:cubicBezTo>
                <a:cubicBezTo>
                  <a:pt x="668" y="92"/>
                  <a:pt x="668" y="92"/>
                  <a:pt x="668" y="92"/>
                </a:cubicBezTo>
                <a:cubicBezTo>
                  <a:pt x="670" y="90"/>
                  <a:pt x="670" y="90"/>
                  <a:pt x="670" y="90"/>
                </a:cubicBezTo>
                <a:cubicBezTo>
                  <a:pt x="671" y="91"/>
                  <a:pt x="671" y="91"/>
                  <a:pt x="671" y="91"/>
                </a:cubicBezTo>
                <a:cubicBezTo>
                  <a:pt x="673" y="90"/>
                  <a:pt x="673" y="90"/>
                  <a:pt x="673" y="90"/>
                </a:cubicBezTo>
                <a:cubicBezTo>
                  <a:pt x="676" y="90"/>
                  <a:pt x="676" y="90"/>
                  <a:pt x="676" y="90"/>
                </a:cubicBezTo>
                <a:cubicBezTo>
                  <a:pt x="677" y="89"/>
                  <a:pt x="677" y="89"/>
                  <a:pt x="677" y="89"/>
                </a:cubicBezTo>
                <a:cubicBezTo>
                  <a:pt x="678" y="89"/>
                  <a:pt x="678" y="89"/>
                  <a:pt x="678" y="89"/>
                </a:cubicBezTo>
                <a:cubicBezTo>
                  <a:pt x="678" y="90"/>
                  <a:pt x="678" y="90"/>
                  <a:pt x="678" y="90"/>
                </a:cubicBezTo>
                <a:cubicBezTo>
                  <a:pt x="679" y="91"/>
                  <a:pt x="679" y="91"/>
                  <a:pt x="679" y="91"/>
                </a:cubicBezTo>
                <a:cubicBezTo>
                  <a:pt x="679" y="90"/>
                  <a:pt x="679" y="90"/>
                  <a:pt x="679" y="90"/>
                </a:cubicBezTo>
                <a:cubicBezTo>
                  <a:pt x="681" y="88"/>
                  <a:pt x="681" y="88"/>
                  <a:pt x="681" y="88"/>
                </a:cubicBezTo>
                <a:cubicBezTo>
                  <a:pt x="680" y="87"/>
                  <a:pt x="680" y="87"/>
                  <a:pt x="680" y="87"/>
                </a:cubicBezTo>
                <a:cubicBezTo>
                  <a:pt x="680" y="85"/>
                  <a:pt x="680" y="85"/>
                  <a:pt x="680" y="85"/>
                </a:cubicBezTo>
                <a:cubicBezTo>
                  <a:pt x="681" y="84"/>
                  <a:pt x="681" y="84"/>
                  <a:pt x="681" y="84"/>
                </a:cubicBezTo>
                <a:cubicBezTo>
                  <a:pt x="681" y="83"/>
                  <a:pt x="681" y="83"/>
                  <a:pt x="681" y="83"/>
                </a:cubicBezTo>
                <a:cubicBezTo>
                  <a:pt x="683" y="83"/>
                  <a:pt x="683" y="83"/>
                  <a:pt x="683" y="83"/>
                </a:cubicBezTo>
                <a:cubicBezTo>
                  <a:pt x="684" y="85"/>
                  <a:pt x="684" y="85"/>
                  <a:pt x="684" y="85"/>
                </a:cubicBezTo>
                <a:cubicBezTo>
                  <a:pt x="684" y="86"/>
                  <a:pt x="684" y="86"/>
                  <a:pt x="684" y="86"/>
                </a:cubicBezTo>
                <a:cubicBezTo>
                  <a:pt x="686" y="86"/>
                  <a:pt x="686" y="86"/>
                  <a:pt x="686" y="86"/>
                </a:cubicBezTo>
                <a:cubicBezTo>
                  <a:pt x="687" y="87"/>
                  <a:pt x="687" y="87"/>
                  <a:pt x="687" y="87"/>
                </a:cubicBezTo>
                <a:cubicBezTo>
                  <a:pt x="687" y="88"/>
                  <a:pt x="687" y="88"/>
                  <a:pt x="687" y="88"/>
                </a:cubicBezTo>
                <a:cubicBezTo>
                  <a:pt x="689" y="90"/>
                  <a:pt x="689" y="90"/>
                  <a:pt x="689" y="90"/>
                </a:cubicBezTo>
                <a:cubicBezTo>
                  <a:pt x="690" y="91"/>
                  <a:pt x="690" y="91"/>
                  <a:pt x="690" y="91"/>
                </a:cubicBezTo>
                <a:cubicBezTo>
                  <a:pt x="691" y="91"/>
                  <a:pt x="691" y="91"/>
                  <a:pt x="691" y="91"/>
                </a:cubicBezTo>
                <a:cubicBezTo>
                  <a:pt x="694" y="91"/>
                  <a:pt x="694" y="91"/>
                  <a:pt x="694" y="91"/>
                </a:cubicBezTo>
                <a:cubicBezTo>
                  <a:pt x="695" y="91"/>
                  <a:pt x="695" y="91"/>
                  <a:pt x="695" y="91"/>
                </a:cubicBezTo>
                <a:cubicBezTo>
                  <a:pt x="696" y="91"/>
                  <a:pt x="696" y="91"/>
                  <a:pt x="696" y="91"/>
                </a:cubicBezTo>
                <a:cubicBezTo>
                  <a:pt x="698" y="94"/>
                  <a:pt x="698" y="94"/>
                  <a:pt x="698" y="94"/>
                </a:cubicBezTo>
                <a:cubicBezTo>
                  <a:pt x="698" y="95"/>
                  <a:pt x="698" y="95"/>
                  <a:pt x="698" y="95"/>
                </a:cubicBezTo>
                <a:cubicBezTo>
                  <a:pt x="699" y="96"/>
                  <a:pt x="699" y="96"/>
                  <a:pt x="699" y="96"/>
                </a:cubicBezTo>
                <a:cubicBezTo>
                  <a:pt x="701" y="96"/>
                  <a:pt x="701" y="96"/>
                  <a:pt x="701" y="96"/>
                </a:cubicBezTo>
                <a:cubicBezTo>
                  <a:pt x="702" y="96"/>
                  <a:pt x="702" y="96"/>
                  <a:pt x="702" y="96"/>
                </a:cubicBezTo>
                <a:cubicBezTo>
                  <a:pt x="703" y="95"/>
                  <a:pt x="703" y="95"/>
                  <a:pt x="703" y="95"/>
                </a:cubicBezTo>
                <a:cubicBezTo>
                  <a:pt x="703" y="94"/>
                  <a:pt x="703" y="94"/>
                  <a:pt x="703" y="94"/>
                </a:cubicBezTo>
                <a:cubicBezTo>
                  <a:pt x="705" y="93"/>
                  <a:pt x="705" y="93"/>
                  <a:pt x="705" y="93"/>
                </a:cubicBezTo>
                <a:cubicBezTo>
                  <a:pt x="705" y="94"/>
                  <a:pt x="705" y="94"/>
                  <a:pt x="705" y="94"/>
                </a:cubicBezTo>
                <a:cubicBezTo>
                  <a:pt x="706" y="93"/>
                  <a:pt x="706" y="93"/>
                  <a:pt x="706" y="93"/>
                </a:cubicBezTo>
                <a:cubicBezTo>
                  <a:pt x="705" y="92"/>
                  <a:pt x="705" y="92"/>
                  <a:pt x="705" y="92"/>
                </a:cubicBezTo>
                <a:cubicBezTo>
                  <a:pt x="706" y="92"/>
                  <a:pt x="706" y="92"/>
                  <a:pt x="706" y="92"/>
                </a:cubicBezTo>
                <a:cubicBezTo>
                  <a:pt x="705" y="91"/>
                  <a:pt x="705" y="91"/>
                  <a:pt x="705" y="91"/>
                </a:cubicBezTo>
                <a:cubicBezTo>
                  <a:pt x="705" y="90"/>
                  <a:pt x="705" y="90"/>
                  <a:pt x="705" y="90"/>
                </a:cubicBezTo>
                <a:cubicBezTo>
                  <a:pt x="704" y="88"/>
                  <a:pt x="704" y="88"/>
                  <a:pt x="704" y="88"/>
                </a:cubicBezTo>
                <a:cubicBezTo>
                  <a:pt x="702" y="88"/>
                  <a:pt x="702" y="88"/>
                  <a:pt x="702" y="88"/>
                </a:cubicBezTo>
                <a:cubicBezTo>
                  <a:pt x="702" y="86"/>
                  <a:pt x="702" y="86"/>
                  <a:pt x="702" y="86"/>
                </a:cubicBezTo>
                <a:cubicBezTo>
                  <a:pt x="700" y="83"/>
                  <a:pt x="700" y="83"/>
                  <a:pt x="700" y="83"/>
                </a:cubicBezTo>
                <a:cubicBezTo>
                  <a:pt x="699" y="83"/>
                  <a:pt x="699" y="83"/>
                  <a:pt x="699" y="83"/>
                </a:cubicBezTo>
                <a:cubicBezTo>
                  <a:pt x="698" y="82"/>
                  <a:pt x="698" y="82"/>
                  <a:pt x="698" y="82"/>
                </a:cubicBezTo>
                <a:cubicBezTo>
                  <a:pt x="696" y="81"/>
                  <a:pt x="696" y="81"/>
                  <a:pt x="696" y="81"/>
                </a:cubicBezTo>
                <a:cubicBezTo>
                  <a:pt x="695" y="82"/>
                  <a:pt x="695" y="82"/>
                  <a:pt x="695" y="82"/>
                </a:cubicBezTo>
                <a:cubicBezTo>
                  <a:pt x="694" y="82"/>
                  <a:pt x="694" y="82"/>
                  <a:pt x="694" y="82"/>
                </a:cubicBezTo>
                <a:cubicBezTo>
                  <a:pt x="694" y="81"/>
                  <a:pt x="694" y="81"/>
                  <a:pt x="694" y="81"/>
                </a:cubicBezTo>
                <a:cubicBezTo>
                  <a:pt x="695" y="80"/>
                  <a:pt x="695" y="80"/>
                  <a:pt x="695" y="80"/>
                </a:cubicBezTo>
                <a:cubicBezTo>
                  <a:pt x="694" y="78"/>
                  <a:pt x="694" y="78"/>
                  <a:pt x="694" y="78"/>
                </a:cubicBezTo>
                <a:cubicBezTo>
                  <a:pt x="693" y="77"/>
                  <a:pt x="693" y="77"/>
                  <a:pt x="693" y="77"/>
                </a:cubicBezTo>
                <a:cubicBezTo>
                  <a:pt x="693" y="76"/>
                  <a:pt x="693" y="76"/>
                  <a:pt x="693" y="76"/>
                </a:cubicBezTo>
                <a:cubicBezTo>
                  <a:pt x="692" y="74"/>
                  <a:pt x="692" y="74"/>
                  <a:pt x="692" y="74"/>
                </a:cubicBezTo>
                <a:cubicBezTo>
                  <a:pt x="690" y="73"/>
                  <a:pt x="690" y="73"/>
                  <a:pt x="690" y="73"/>
                </a:cubicBezTo>
                <a:cubicBezTo>
                  <a:pt x="690" y="72"/>
                  <a:pt x="690" y="72"/>
                  <a:pt x="690" y="72"/>
                </a:cubicBezTo>
                <a:cubicBezTo>
                  <a:pt x="693" y="72"/>
                  <a:pt x="693" y="72"/>
                  <a:pt x="693" y="72"/>
                </a:cubicBezTo>
                <a:cubicBezTo>
                  <a:pt x="694" y="72"/>
                  <a:pt x="694" y="72"/>
                  <a:pt x="694" y="72"/>
                </a:cubicBezTo>
                <a:cubicBezTo>
                  <a:pt x="697" y="72"/>
                  <a:pt x="697" y="72"/>
                  <a:pt x="697" y="72"/>
                </a:cubicBezTo>
                <a:cubicBezTo>
                  <a:pt x="700" y="72"/>
                  <a:pt x="700" y="72"/>
                  <a:pt x="700" y="72"/>
                </a:cubicBezTo>
                <a:cubicBezTo>
                  <a:pt x="700" y="71"/>
                  <a:pt x="700" y="71"/>
                  <a:pt x="700" y="71"/>
                </a:cubicBezTo>
                <a:cubicBezTo>
                  <a:pt x="702" y="71"/>
                  <a:pt x="702" y="71"/>
                  <a:pt x="702" y="71"/>
                </a:cubicBezTo>
                <a:cubicBezTo>
                  <a:pt x="703" y="72"/>
                  <a:pt x="703" y="72"/>
                  <a:pt x="703" y="72"/>
                </a:cubicBezTo>
                <a:cubicBezTo>
                  <a:pt x="704" y="71"/>
                  <a:pt x="704" y="71"/>
                  <a:pt x="704" y="71"/>
                </a:cubicBezTo>
                <a:cubicBezTo>
                  <a:pt x="705" y="71"/>
                  <a:pt x="705" y="71"/>
                  <a:pt x="705" y="71"/>
                </a:cubicBezTo>
                <a:cubicBezTo>
                  <a:pt x="705" y="70"/>
                  <a:pt x="705" y="70"/>
                  <a:pt x="705" y="70"/>
                </a:cubicBezTo>
                <a:cubicBezTo>
                  <a:pt x="707" y="70"/>
                  <a:pt x="707" y="70"/>
                  <a:pt x="707" y="70"/>
                </a:cubicBezTo>
                <a:cubicBezTo>
                  <a:pt x="708" y="71"/>
                  <a:pt x="708" y="71"/>
                  <a:pt x="708" y="71"/>
                </a:cubicBezTo>
                <a:cubicBezTo>
                  <a:pt x="708" y="71"/>
                  <a:pt x="708" y="71"/>
                  <a:pt x="708" y="71"/>
                </a:cubicBezTo>
                <a:cubicBezTo>
                  <a:pt x="709" y="69"/>
                  <a:pt x="709" y="69"/>
                  <a:pt x="709" y="69"/>
                </a:cubicBezTo>
                <a:cubicBezTo>
                  <a:pt x="710" y="70"/>
                  <a:pt x="710" y="70"/>
                  <a:pt x="710" y="70"/>
                </a:cubicBezTo>
                <a:cubicBezTo>
                  <a:pt x="710" y="69"/>
                  <a:pt x="710" y="69"/>
                  <a:pt x="710" y="69"/>
                </a:cubicBezTo>
                <a:cubicBezTo>
                  <a:pt x="715" y="67"/>
                  <a:pt x="715" y="67"/>
                  <a:pt x="715" y="67"/>
                </a:cubicBezTo>
                <a:cubicBezTo>
                  <a:pt x="716" y="69"/>
                  <a:pt x="716" y="69"/>
                  <a:pt x="716" y="69"/>
                </a:cubicBezTo>
                <a:cubicBezTo>
                  <a:pt x="716" y="68"/>
                  <a:pt x="716" y="68"/>
                  <a:pt x="716" y="68"/>
                </a:cubicBezTo>
                <a:cubicBezTo>
                  <a:pt x="717" y="66"/>
                  <a:pt x="717" y="66"/>
                  <a:pt x="717" y="66"/>
                </a:cubicBezTo>
                <a:cubicBezTo>
                  <a:pt x="717" y="67"/>
                  <a:pt x="717" y="67"/>
                  <a:pt x="717" y="67"/>
                </a:cubicBezTo>
                <a:cubicBezTo>
                  <a:pt x="719" y="67"/>
                  <a:pt x="719" y="67"/>
                  <a:pt x="719" y="67"/>
                </a:cubicBezTo>
                <a:cubicBezTo>
                  <a:pt x="720" y="66"/>
                  <a:pt x="720" y="66"/>
                  <a:pt x="720" y="66"/>
                </a:cubicBezTo>
                <a:cubicBezTo>
                  <a:pt x="721" y="67"/>
                  <a:pt x="721" y="67"/>
                  <a:pt x="721" y="67"/>
                </a:cubicBezTo>
                <a:cubicBezTo>
                  <a:pt x="723" y="67"/>
                  <a:pt x="723" y="67"/>
                  <a:pt x="723" y="67"/>
                </a:cubicBezTo>
                <a:cubicBezTo>
                  <a:pt x="724" y="67"/>
                  <a:pt x="724" y="67"/>
                  <a:pt x="724" y="67"/>
                </a:cubicBezTo>
                <a:cubicBezTo>
                  <a:pt x="725" y="68"/>
                  <a:pt x="725" y="68"/>
                  <a:pt x="725" y="68"/>
                </a:cubicBezTo>
                <a:cubicBezTo>
                  <a:pt x="726" y="68"/>
                  <a:pt x="726" y="68"/>
                  <a:pt x="726" y="68"/>
                </a:cubicBezTo>
                <a:cubicBezTo>
                  <a:pt x="727" y="67"/>
                  <a:pt x="727" y="67"/>
                  <a:pt x="727" y="67"/>
                </a:cubicBezTo>
                <a:cubicBezTo>
                  <a:pt x="729" y="67"/>
                  <a:pt x="729" y="67"/>
                  <a:pt x="729" y="67"/>
                </a:cubicBezTo>
                <a:cubicBezTo>
                  <a:pt x="733" y="68"/>
                  <a:pt x="733" y="68"/>
                  <a:pt x="733" y="68"/>
                </a:cubicBezTo>
                <a:cubicBezTo>
                  <a:pt x="734" y="69"/>
                  <a:pt x="734" y="69"/>
                  <a:pt x="734" y="69"/>
                </a:cubicBezTo>
                <a:cubicBezTo>
                  <a:pt x="735" y="69"/>
                  <a:pt x="735" y="69"/>
                  <a:pt x="735" y="69"/>
                </a:cubicBezTo>
                <a:cubicBezTo>
                  <a:pt x="734" y="68"/>
                  <a:pt x="734" y="68"/>
                  <a:pt x="734" y="68"/>
                </a:cubicBezTo>
                <a:cubicBezTo>
                  <a:pt x="736" y="68"/>
                  <a:pt x="736" y="68"/>
                  <a:pt x="736" y="68"/>
                </a:cubicBezTo>
                <a:cubicBezTo>
                  <a:pt x="737" y="69"/>
                  <a:pt x="737" y="69"/>
                  <a:pt x="737" y="69"/>
                </a:cubicBezTo>
                <a:cubicBezTo>
                  <a:pt x="736" y="69"/>
                  <a:pt x="736" y="69"/>
                  <a:pt x="736" y="69"/>
                </a:cubicBezTo>
                <a:cubicBezTo>
                  <a:pt x="737" y="70"/>
                  <a:pt x="737" y="70"/>
                  <a:pt x="737" y="70"/>
                </a:cubicBezTo>
                <a:cubicBezTo>
                  <a:pt x="739" y="69"/>
                  <a:pt x="739" y="69"/>
                  <a:pt x="739" y="69"/>
                </a:cubicBezTo>
                <a:cubicBezTo>
                  <a:pt x="743" y="70"/>
                  <a:pt x="743" y="70"/>
                  <a:pt x="743" y="70"/>
                </a:cubicBezTo>
                <a:cubicBezTo>
                  <a:pt x="746" y="72"/>
                  <a:pt x="746" y="72"/>
                  <a:pt x="746" y="72"/>
                </a:cubicBezTo>
                <a:cubicBezTo>
                  <a:pt x="746" y="73"/>
                  <a:pt x="746" y="73"/>
                  <a:pt x="746" y="73"/>
                </a:cubicBezTo>
                <a:cubicBezTo>
                  <a:pt x="745" y="72"/>
                  <a:pt x="745" y="72"/>
                  <a:pt x="745" y="72"/>
                </a:cubicBezTo>
                <a:cubicBezTo>
                  <a:pt x="743" y="71"/>
                  <a:pt x="743" y="71"/>
                  <a:pt x="743" y="71"/>
                </a:cubicBezTo>
                <a:cubicBezTo>
                  <a:pt x="743" y="72"/>
                  <a:pt x="743" y="72"/>
                  <a:pt x="743" y="72"/>
                </a:cubicBezTo>
                <a:cubicBezTo>
                  <a:pt x="747" y="73"/>
                  <a:pt x="747" y="73"/>
                  <a:pt x="747" y="73"/>
                </a:cubicBezTo>
                <a:cubicBezTo>
                  <a:pt x="748" y="73"/>
                  <a:pt x="748" y="73"/>
                  <a:pt x="748" y="73"/>
                </a:cubicBezTo>
                <a:cubicBezTo>
                  <a:pt x="749" y="72"/>
                  <a:pt x="749" y="72"/>
                  <a:pt x="749" y="72"/>
                </a:cubicBezTo>
                <a:cubicBezTo>
                  <a:pt x="751" y="72"/>
                  <a:pt x="751" y="72"/>
                  <a:pt x="751" y="72"/>
                </a:cubicBezTo>
                <a:cubicBezTo>
                  <a:pt x="752" y="72"/>
                  <a:pt x="752" y="72"/>
                  <a:pt x="752" y="72"/>
                </a:cubicBezTo>
                <a:cubicBezTo>
                  <a:pt x="752" y="71"/>
                  <a:pt x="752" y="71"/>
                  <a:pt x="752" y="71"/>
                </a:cubicBezTo>
                <a:cubicBezTo>
                  <a:pt x="753" y="71"/>
                  <a:pt x="753" y="71"/>
                  <a:pt x="753" y="71"/>
                </a:cubicBezTo>
                <a:cubicBezTo>
                  <a:pt x="754" y="72"/>
                  <a:pt x="754" y="72"/>
                  <a:pt x="754" y="72"/>
                </a:cubicBezTo>
                <a:cubicBezTo>
                  <a:pt x="755" y="72"/>
                  <a:pt x="755" y="72"/>
                  <a:pt x="755" y="72"/>
                </a:cubicBezTo>
                <a:cubicBezTo>
                  <a:pt x="756" y="72"/>
                  <a:pt x="756" y="72"/>
                  <a:pt x="756" y="72"/>
                </a:cubicBezTo>
                <a:cubicBezTo>
                  <a:pt x="756" y="72"/>
                  <a:pt x="756" y="72"/>
                  <a:pt x="756" y="72"/>
                </a:cubicBezTo>
                <a:cubicBezTo>
                  <a:pt x="756" y="71"/>
                  <a:pt x="756" y="71"/>
                  <a:pt x="756" y="71"/>
                </a:cubicBezTo>
                <a:cubicBezTo>
                  <a:pt x="758" y="72"/>
                  <a:pt x="758" y="72"/>
                  <a:pt x="758" y="72"/>
                </a:cubicBezTo>
                <a:cubicBezTo>
                  <a:pt x="758" y="73"/>
                  <a:pt x="758" y="73"/>
                  <a:pt x="758" y="73"/>
                </a:cubicBezTo>
                <a:cubicBezTo>
                  <a:pt x="760" y="73"/>
                  <a:pt x="760" y="73"/>
                  <a:pt x="760" y="73"/>
                </a:cubicBezTo>
                <a:cubicBezTo>
                  <a:pt x="761" y="73"/>
                  <a:pt x="761" y="73"/>
                  <a:pt x="761" y="73"/>
                </a:cubicBezTo>
                <a:cubicBezTo>
                  <a:pt x="767" y="74"/>
                  <a:pt x="767" y="74"/>
                  <a:pt x="767" y="74"/>
                </a:cubicBezTo>
                <a:cubicBezTo>
                  <a:pt x="766" y="73"/>
                  <a:pt x="766" y="73"/>
                  <a:pt x="766" y="73"/>
                </a:cubicBezTo>
                <a:cubicBezTo>
                  <a:pt x="768" y="73"/>
                  <a:pt x="768" y="73"/>
                  <a:pt x="768" y="73"/>
                </a:cubicBezTo>
                <a:cubicBezTo>
                  <a:pt x="769" y="74"/>
                  <a:pt x="769" y="74"/>
                  <a:pt x="769" y="74"/>
                </a:cubicBezTo>
                <a:cubicBezTo>
                  <a:pt x="770" y="74"/>
                  <a:pt x="770" y="74"/>
                  <a:pt x="770" y="74"/>
                </a:cubicBezTo>
                <a:cubicBezTo>
                  <a:pt x="769" y="73"/>
                  <a:pt x="769" y="73"/>
                  <a:pt x="769" y="73"/>
                </a:cubicBezTo>
                <a:cubicBezTo>
                  <a:pt x="770" y="73"/>
                  <a:pt x="770" y="73"/>
                  <a:pt x="770" y="73"/>
                </a:cubicBezTo>
                <a:cubicBezTo>
                  <a:pt x="772" y="73"/>
                  <a:pt x="772" y="73"/>
                  <a:pt x="772" y="73"/>
                </a:cubicBezTo>
                <a:cubicBezTo>
                  <a:pt x="771" y="74"/>
                  <a:pt x="771" y="74"/>
                  <a:pt x="771" y="74"/>
                </a:cubicBezTo>
                <a:cubicBezTo>
                  <a:pt x="772" y="75"/>
                  <a:pt x="772" y="75"/>
                  <a:pt x="772" y="75"/>
                </a:cubicBezTo>
                <a:cubicBezTo>
                  <a:pt x="774" y="75"/>
                  <a:pt x="774" y="75"/>
                  <a:pt x="774" y="75"/>
                </a:cubicBezTo>
                <a:cubicBezTo>
                  <a:pt x="774" y="74"/>
                  <a:pt x="774" y="74"/>
                  <a:pt x="774" y="74"/>
                </a:cubicBezTo>
                <a:cubicBezTo>
                  <a:pt x="774" y="74"/>
                  <a:pt x="774" y="74"/>
                  <a:pt x="774" y="74"/>
                </a:cubicBezTo>
                <a:cubicBezTo>
                  <a:pt x="776" y="74"/>
                  <a:pt x="776" y="74"/>
                  <a:pt x="776" y="74"/>
                </a:cubicBezTo>
                <a:cubicBezTo>
                  <a:pt x="776" y="74"/>
                  <a:pt x="776" y="74"/>
                  <a:pt x="776" y="74"/>
                </a:cubicBezTo>
                <a:cubicBezTo>
                  <a:pt x="776" y="75"/>
                  <a:pt x="776" y="75"/>
                  <a:pt x="776" y="75"/>
                </a:cubicBezTo>
                <a:cubicBezTo>
                  <a:pt x="777" y="76"/>
                  <a:pt x="777" y="76"/>
                  <a:pt x="777" y="76"/>
                </a:cubicBezTo>
                <a:cubicBezTo>
                  <a:pt x="779" y="77"/>
                  <a:pt x="779" y="77"/>
                  <a:pt x="779" y="77"/>
                </a:cubicBezTo>
                <a:cubicBezTo>
                  <a:pt x="781" y="76"/>
                  <a:pt x="781" y="76"/>
                  <a:pt x="781" y="76"/>
                </a:cubicBezTo>
                <a:cubicBezTo>
                  <a:pt x="779" y="76"/>
                  <a:pt x="779" y="76"/>
                  <a:pt x="779" y="76"/>
                </a:cubicBezTo>
                <a:cubicBezTo>
                  <a:pt x="777" y="75"/>
                  <a:pt x="777" y="75"/>
                  <a:pt x="777" y="75"/>
                </a:cubicBezTo>
                <a:cubicBezTo>
                  <a:pt x="777" y="74"/>
                  <a:pt x="777" y="74"/>
                  <a:pt x="777" y="74"/>
                </a:cubicBezTo>
                <a:cubicBezTo>
                  <a:pt x="778" y="74"/>
                  <a:pt x="778" y="74"/>
                  <a:pt x="778" y="74"/>
                </a:cubicBezTo>
                <a:cubicBezTo>
                  <a:pt x="780" y="74"/>
                  <a:pt x="780" y="74"/>
                  <a:pt x="780" y="74"/>
                </a:cubicBezTo>
                <a:cubicBezTo>
                  <a:pt x="782" y="75"/>
                  <a:pt x="782" y="75"/>
                  <a:pt x="782" y="75"/>
                </a:cubicBezTo>
                <a:cubicBezTo>
                  <a:pt x="783" y="77"/>
                  <a:pt x="783" y="77"/>
                  <a:pt x="783" y="77"/>
                </a:cubicBezTo>
                <a:cubicBezTo>
                  <a:pt x="784" y="77"/>
                  <a:pt x="784" y="77"/>
                  <a:pt x="784" y="77"/>
                </a:cubicBezTo>
                <a:cubicBezTo>
                  <a:pt x="784" y="76"/>
                  <a:pt x="784" y="76"/>
                  <a:pt x="784" y="76"/>
                </a:cubicBezTo>
                <a:cubicBezTo>
                  <a:pt x="784" y="76"/>
                  <a:pt x="784" y="76"/>
                  <a:pt x="784" y="76"/>
                </a:cubicBezTo>
                <a:cubicBezTo>
                  <a:pt x="785" y="76"/>
                  <a:pt x="785" y="76"/>
                  <a:pt x="785" y="76"/>
                </a:cubicBezTo>
                <a:cubicBezTo>
                  <a:pt x="785" y="77"/>
                  <a:pt x="785" y="77"/>
                  <a:pt x="785" y="77"/>
                </a:cubicBezTo>
                <a:cubicBezTo>
                  <a:pt x="785" y="77"/>
                  <a:pt x="785" y="77"/>
                  <a:pt x="785" y="77"/>
                </a:cubicBezTo>
                <a:cubicBezTo>
                  <a:pt x="786" y="79"/>
                  <a:pt x="786" y="79"/>
                  <a:pt x="786" y="79"/>
                </a:cubicBezTo>
                <a:cubicBezTo>
                  <a:pt x="788" y="82"/>
                  <a:pt x="788" y="82"/>
                  <a:pt x="788" y="82"/>
                </a:cubicBezTo>
                <a:cubicBezTo>
                  <a:pt x="791" y="83"/>
                  <a:pt x="791" y="83"/>
                  <a:pt x="791" y="83"/>
                </a:cubicBezTo>
                <a:cubicBezTo>
                  <a:pt x="791" y="84"/>
                  <a:pt x="791" y="84"/>
                  <a:pt x="791" y="84"/>
                </a:cubicBezTo>
                <a:cubicBezTo>
                  <a:pt x="792" y="85"/>
                  <a:pt x="792" y="85"/>
                  <a:pt x="792" y="85"/>
                </a:cubicBezTo>
                <a:cubicBezTo>
                  <a:pt x="793" y="87"/>
                  <a:pt x="793" y="87"/>
                  <a:pt x="793" y="87"/>
                </a:cubicBezTo>
                <a:cubicBezTo>
                  <a:pt x="792" y="87"/>
                  <a:pt x="792" y="87"/>
                  <a:pt x="792" y="87"/>
                </a:cubicBezTo>
                <a:cubicBezTo>
                  <a:pt x="793" y="89"/>
                  <a:pt x="793" y="89"/>
                  <a:pt x="793" y="89"/>
                </a:cubicBezTo>
                <a:cubicBezTo>
                  <a:pt x="794" y="89"/>
                  <a:pt x="794" y="89"/>
                  <a:pt x="794" y="89"/>
                </a:cubicBezTo>
                <a:cubicBezTo>
                  <a:pt x="795" y="88"/>
                  <a:pt x="795" y="88"/>
                  <a:pt x="795" y="88"/>
                </a:cubicBezTo>
                <a:cubicBezTo>
                  <a:pt x="797" y="88"/>
                  <a:pt x="797" y="88"/>
                  <a:pt x="797" y="88"/>
                </a:cubicBezTo>
                <a:cubicBezTo>
                  <a:pt x="798" y="90"/>
                  <a:pt x="798" y="90"/>
                  <a:pt x="798" y="90"/>
                </a:cubicBezTo>
                <a:cubicBezTo>
                  <a:pt x="799" y="90"/>
                  <a:pt x="799" y="90"/>
                  <a:pt x="799" y="90"/>
                </a:cubicBezTo>
                <a:cubicBezTo>
                  <a:pt x="799" y="90"/>
                  <a:pt x="799" y="90"/>
                  <a:pt x="799" y="90"/>
                </a:cubicBezTo>
                <a:cubicBezTo>
                  <a:pt x="798" y="89"/>
                  <a:pt x="798" y="89"/>
                  <a:pt x="798" y="89"/>
                </a:cubicBezTo>
                <a:cubicBezTo>
                  <a:pt x="798" y="88"/>
                  <a:pt x="798" y="88"/>
                  <a:pt x="798" y="88"/>
                </a:cubicBezTo>
                <a:cubicBezTo>
                  <a:pt x="799" y="87"/>
                  <a:pt x="799" y="87"/>
                  <a:pt x="799" y="87"/>
                </a:cubicBezTo>
                <a:cubicBezTo>
                  <a:pt x="799" y="87"/>
                  <a:pt x="799" y="87"/>
                  <a:pt x="799" y="87"/>
                </a:cubicBezTo>
                <a:cubicBezTo>
                  <a:pt x="800" y="89"/>
                  <a:pt x="800" y="89"/>
                  <a:pt x="800" y="89"/>
                </a:cubicBezTo>
                <a:cubicBezTo>
                  <a:pt x="801" y="90"/>
                  <a:pt x="801" y="90"/>
                  <a:pt x="801" y="90"/>
                </a:cubicBezTo>
                <a:cubicBezTo>
                  <a:pt x="801" y="90"/>
                  <a:pt x="801" y="90"/>
                  <a:pt x="801" y="90"/>
                </a:cubicBezTo>
                <a:cubicBezTo>
                  <a:pt x="800" y="88"/>
                  <a:pt x="800" y="88"/>
                  <a:pt x="800" y="88"/>
                </a:cubicBezTo>
                <a:cubicBezTo>
                  <a:pt x="800" y="86"/>
                  <a:pt x="800" y="86"/>
                  <a:pt x="800" y="86"/>
                </a:cubicBezTo>
                <a:cubicBezTo>
                  <a:pt x="799" y="85"/>
                  <a:pt x="799" y="85"/>
                  <a:pt x="799" y="85"/>
                </a:cubicBezTo>
                <a:cubicBezTo>
                  <a:pt x="798" y="86"/>
                  <a:pt x="798" y="86"/>
                  <a:pt x="798" y="86"/>
                </a:cubicBezTo>
                <a:cubicBezTo>
                  <a:pt x="796" y="87"/>
                  <a:pt x="796" y="87"/>
                  <a:pt x="796" y="87"/>
                </a:cubicBezTo>
                <a:cubicBezTo>
                  <a:pt x="796" y="86"/>
                  <a:pt x="796" y="86"/>
                  <a:pt x="796" y="86"/>
                </a:cubicBezTo>
                <a:cubicBezTo>
                  <a:pt x="797" y="85"/>
                  <a:pt x="797" y="85"/>
                  <a:pt x="797" y="85"/>
                </a:cubicBezTo>
                <a:cubicBezTo>
                  <a:pt x="796" y="83"/>
                  <a:pt x="796" y="83"/>
                  <a:pt x="796" y="83"/>
                </a:cubicBezTo>
                <a:cubicBezTo>
                  <a:pt x="794" y="82"/>
                  <a:pt x="794" y="82"/>
                  <a:pt x="794" y="82"/>
                </a:cubicBezTo>
                <a:cubicBezTo>
                  <a:pt x="793" y="80"/>
                  <a:pt x="793" y="80"/>
                  <a:pt x="793" y="80"/>
                </a:cubicBezTo>
                <a:cubicBezTo>
                  <a:pt x="792" y="79"/>
                  <a:pt x="792" y="79"/>
                  <a:pt x="792" y="79"/>
                </a:cubicBezTo>
                <a:cubicBezTo>
                  <a:pt x="792" y="79"/>
                  <a:pt x="792" y="79"/>
                  <a:pt x="792" y="79"/>
                </a:cubicBezTo>
                <a:cubicBezTo>
                  <a:pt x="790" y="80"/>
                  <a:pt x="790" y="80"/>
                  <a:pt x="790" y="80"/>
                </a:cubicBezTo>
                <a:cubicBezTo>
                  <a:pt x="790" y="80"/>
                  <a:pt x="790" y="80"/>
                  <a:pt x="790" y="80"/>
                </a:cubicBezTo>
                <a:cubicBezTo>
                  <a:pt x="791" y="79"/>
                  <a:pt x="791" y="79"/>
                  <a:pt x="791" y="79"/>
                </a:cubicBezTo>
                <a:cubicBezTo>
                  <a:pt x="792" y="77"/>
                  <a:pt x="792" y="77"/>
                  <a:pt x="792" y="77"/>
                </a:cubicBezTo>
                <a:cubicBezTo>
                  <a:pt x="794" y="75"/>
                  <a:pt x="794" y="75"/>
                  <a:pt x="794" y="75"/>
                </a:cubicBezTo>
                <a:cubicBezTo>
                  <a:pt x="794" y="74"/>
                  <a:pt x="794" y="74"/>
                  <a:pt x="794" y="74"/>
                </a:cubicBezTo>
                <a:cubicBezTo>
                  <a:pt x="794" y="75"/>
                  <a:pt x="794" y="75"/>
                  <a:pt x="794" y="75"/>
                </a:cubicBezTo>
                <a:cubicBezTo>
                  <a:pt x="795" y="77"/>
                  <a:pt x="795" y="77"/>
                  <a:pt x="795" y="77"/>
                </a:cubicBezTo>
                <a:cubicBezTo>
                  <a:pt x="796" y="78"/>
                  <a:pt x="796" y="78"/>
                  <a:pt x="796" y="78"/>
                </a:cubicBezTo>
                <a:cubicBezTo>
                  <a:pt x="797" y="77"/>
                  <a:pt x="797" y="77"/>
                  <a:pt x="797" y="77"/>
                </a:cubicBezTo>
                <a:cubicBezTo>
                  <a:pt x="796" y="76"/>
                  <a:pt x="796" y="76"/>
                  <a:pt x="796" y="76"/>
                </a:cubicBezTo>
                <a:cubicBezTo>
                  <a:pt x="795" y="75"/>
                  <a:pt x="795" y="75"/>
                  <a:pt x="795" y="75"/>
                </a:cubicBezTo>
                <a:cubicBezTo>
                  <a:pt x="796" y="75"/>
                  <a:pt x="796" y="75"/>
                  <a:pt x="796" y="75"/>
                </a:cubicBezTo>
                <a:cubicBezTo>
                  <a:pt x="797" y="74"/>
                  <a:pt x="797" y="74"/>
                  <a:pt x="797" y="74"/>
                </a:cubicBezTo>
                <a:cubicBezTo>
                  <a:pt x="798" y="73"/>
                  <a:pt x="798" y="73"/>
                  <a:pt x="798" y="73"/>
                </a:cubicBezTo>
                <a:cubicBezTo>
                  <a:pt x="796" y="73"/>
                  <a:pt x="796" y="73"/>
                  <a:pt x="796" y="73"/>
                </a:cubicBezTo>
                <a:cubicBezTo>
                  <a:pt x="797" y="73"/>
                  <a:pt x="797" y="73"/>
                  <a:pt x="797" y="73"/>
                </a:cubicBezTo>
                <a:cubicBezTo>
                  <a:pt x="797" y="72"/>
                  <a:pt x="797" y="72"/>
                  <a:pt x="797" y="72"/>
                </a:cubicBezTo>
                <a:cubicBezTo>
                  <a:pt x="799" y="72"/>
                  <a:pt x="799" y="72"/>
                  <a:pt x="799" y="72"/>
                </a:cubicBezTo>
                <a:cubicBezTo>
                  <a:pt x="800" y="70"/>
                  <a:pt x="800" y="70"/>
                  <a:pt x="800" y="70"/>
                </a:cubicBezTo>
                <a:cubicBezTo>
                  <a:pt x="801" y="70"/>
                  <a:pt x="801" y="70"/>
                  <a:pt x="801" y="70"/>
                </a:cubicBezTo>
                <a:cubicBezTo>
                  <a:pt x="801" y="71"/>
                  <a:pt x="801" y="71"/>
                  <a:pt x="801" y="71"/>
                </a:cubicBezTo>
                <a:cubicBezTo>
                  <a:pt x="802" y="71"/>
                  <a:pt x="802" y="71"/>
                  <a:pt x="802" y="71"/>
                </a:cubicBezTo>
                <a:cubicBezTo>
                  <a:pt x="803" y="71"/>
                  <a:pt x="803" y="71"/>
                  <a:pt x="803" y="71"/>
                </a:cubicBezTo>
                <a:cubicBezTo>
                  <a:pt x="803" y="72"/>
                  <a:pt x="803" y="72"/>
                  <a:pt x="803" y="72"/>
                </a:cubicBezTo>
                <a:cubicBezTo>
                  <a:pt x="804" y="73"/>
                  <a:pt x="804" y="73"/>
                  <a:pt x="804" y="73"/>
                </a:cubicBezTo>
                <a:cubicBezTo>
                  <a:pt x="806" y="73"/>
                  <a:pt x="806" y="73"/>
                  <a:pt x="806" y="73"/>
                </a:cubicBezTo>
                <a:cubicBezTo>
                  <a:pt x="807" y="73"/>
                  <a:pt x="807" y="73"/>
                  <a:pt x="807" y="73"/>
                </a:cubicBezTo>
                <a:cubicBezTo>
                  <a:pt x="811" y="73"/>
                  <a:pt x="811" y="73"/>
                  <a:pt x="811" y="73"/>
                </a:cubicBezTo>
                <a:cubicBezTo>
                  <a:pt x="811" y="75"/>
                  <a:pt x="811" y="75"/>
                  <a:pt x="811" y="75"/>
                </a:cubicBezTo>
                <a:cubicBezTo>
                  <a:pt x="811" y="75"/>
                  <a:pt x="811" y="75"/>
                  <a:pt x="811" y="75"/>
                </a:cubicBezTo>
                <a:cubicBezTo>
                  <a:pt x="812" y="75"/>
                  <a:pt x="812" y="75"/>
                  <a:pt x="812" y="75"/>
                </a:cubicBezTo>
                <a:cubicBezTo>
                  <a:pt x="812" y="74"/>
                  <a:pt x="812" y="74"/>
                  <a:pt x="812" y="74"/>
                </a:cubicBezTo>
                <a:cubicBezTo>
                  <a:pt x="813" y="74"/>
                  <a:pt x="813" y="74"/>
                  <a:pt x="813" y="74"/>
                </a:cubicBezTo>
                <a:cubicBezTo>
                  <a:pt x="813" y="76"/>
                  <a:pt x="813" y="76"/>
                  <a:pt x="813" y="76"/>
                </a:cubicBezTo>
                <a:cubicBezTo>
                  <a:pt x="814" y="75"/>
                  <a:pt x="814" y="75"/>
                  <a:pt x="814" y="75"/>
                </a:cubicBezTo>
                <a:cubicBezTo>
                  <a:pt x="815" y="74"/>
                  <a:pt x="815" y="74"/>
                  <a:pt x="815" y="74"/>
                </a:cubicBezTo>
                <a:cubicBezTo>
                  <a:pt x="816" y="74"/>
                  <a:pt x="816" y="74"/>
                  <a:pt x="816" y="74"/>
                </a:cubicBezTo>
                <a:cubicBezTo>
                  <a:pt x="816" y="75"/>
                  <a:pt x="816" y="75"/>
                  <a:pt x="816" y="75"/>
                </a:cubicBezTo>
                <a:cubicBezTo>
                  <a:pt x="816" y="76"/>
                  <a:pt x="816" y="76"/>
                  <a:pt x="816" y="76"/>
                </a:cubicBezTo>
                <a:cubicBezTo>
                  <a:pt x="815" y="77"/>
                  <a:pt x="815" y="77"/>
                  <a:pt x="815" y="77"/>
                </a:cubicBezTo>
                <a:cubicBezTo>
                  <a:pt x="816" y="80"/>
                  <a:pt x="816" y="80"/>
                  <a:pt x="816" y="80"/>
                </a:cubicBezTo>
                <a:cubicBezTo>
                  <a:pt x="816" y="82"/>
                  <a:pt x="816" y="82"/>
                  <a:pt x="816" y="82"/>
                </a:cubicBezTo>
                <a:cubicBezTo>
                  <a:pt x="816" y="83"/>
                  <a:pt x="816" y="83"/>
                  <a:pt x="816" y="83"/>
                </a:cubicBezTo>
                <a:cubicBezTo>
                  <a:pt x="817" y="82"/>
                  <a:pt x="817" y="82"/>
                  <a:pt x="817" y="82"/>
                </a:cubicBezTo>
                <a:cubicBezTo>
                  <a:pt x="818" y="84"/>
                  <a:pt x="818" y="84"/>
                  <a:pt x="818" y="84"/>
                </a:cubicBezTo>
                <a:cubicBezTo>
                  <a:pt x="820" y="84"/>
                  <a:pt x="820" y="84"/>
                  <a:pt x="820" y="84"/>
                </a:cubicBezTo>
                <a:cubicBezTo>
                  <a:pt x="820" y="85"/>
                  <a:pt x="820" y="85"/>
                  <a:pt x="820" y="85"/>
                </a:cubicBezTo>
                <a:cubicBezTo>
                  <a:pt x="819" y="86"/>
                  <a:pt x="819" y="86"/>
                  <a:pt x="819" y="86"/>
                </a:cubicBezTo>
                <a:cubicBezTo>
                  <a:pt x="817" y="86"/>
                  <a:pt x="817" y="86"/>
                  <a:pt x="817" y="86"/>
                </a:cubicBezTo>
                <a:cubicBezTo>
                  <a:pt x="815" y="87"/>
                  <a:pt x="815" y="87"/>
                  <a:pt x="815" y="87"/>
                </a:cubicBezTo>
                <a:cubicBezTo>
                  <a:pt x="818" y="87"/>
                  <a:pt x="818" y="87"/>
                  <a:pt x="818" y="87"/>
                </a:cubicBezTo>
                <a:cubicBezTo>
                  <a:pt x="819" y="88"/>
                  <a:pt x="819" y="88"/>
                  <a:pt x="819" y="88"/>
                </a:cubicBezTo>
                <a:cubicBezTo>
                  <a:pt x="819" y="89"/>
                  <a:pt x="819" y="89"/>
                  <a:pt x="819" y="89"/>
                </a:cubicBezTo>
                <a:cubicBezTo>
                  <a:pt x="817" y="90"/>
                  <a:pt x="817" y="90"/>
                  <a:pt x="817" y="90"/>
                </a:cubicBezTo>
                <a:cubicBezTo>
                  <a:pt x="816" y="92"/>
                  <a:pt x="816" y="92"/>
                  <a:pt x="816" y="92"/>
                </a:cubicBezTo>
                <a:cubicBezTo>
                  <a:pt x="815" y="91"/>
                  <a:pt x="815" y="91"/>
                  <a:pt x="815" y="91"/>
                </a:cubicBezTo>
                <a:cubicBezTo>
                  <a:pt x="814" y="92"/>
                  <a:pt x="814" y="92"/>
                  <a:pt x="814" y="92"/>
                </a:cubicBezTo>
                <a:cubicBezTo>
                  <a:pt x="812" y="92"/>
                  <a:pt x="812" y="92"/>
                  <a:pt x="812" y="92"/>
                </a:cubicBezTo>
                <a:cubicBezTo>
                  <a:pt x="811" y="94"/>
                  <a:pt x="811" y="94"/>
                  <a:pt x="811" y="94"/>
                </a:cubicBezTo>
                <a:cubicBezTo>
                  <a:pt x="813" y="93"/>
                  <a:pt x="813" y="93"/>
                  <a:pt x="813" y="93"/>
                </a:cubicBezTo>
                <a:cubicBezTo>
                  <a:pt x="814" y="94"/>
                  <a:pt x="814" y="94"/>
                  <a:pt x="814" y="94"/>
                </a:cubicBezTo>
                <a:cubicBezTo>
                  <a:pt x="814" y="95"/>
                  <a:pt x="814" y="95"/>
                  <a:pt x="814" y="95"/>
                </a:cubicBezTo>
                <a:cubicBezTo>
                  <a:pt x="815" y="94"/>
                  <a:pt x="815" y="94"/>
                  <a:pt x="815" y="94"/>
                </a:cubicBezTo>
                <a:cubicBezTo>
                  <a:pt x="816" y="94"/>
                  <a:pt x="816" y="94"/>
                  <a:pt x="816" y="94"/>
                </a:cubicBezTo>
                <a:cubicBezTo>
                  <a:pt x="816" y="95"/>
                  <a:pt x="816" y="95"/>
                  <a:pt x="816" y="95"/>
                </a:cubicBezTo>
                <a:cubicBezTo>
                  <a:pt x="817" y="96"/>
                  <a:pt x="817" y="96"/>
                  <a:pt x="817" y="96"/>
                </a:cubicBezTo>
                <a:cubicBezTo>
                  <a:pt x="816" y="97"/>
                  <a:pt x="816" y="97"/>
                  <a:pt x="816" y="97"/>
                </a:cubicBezTo>
                <a:cubicBezTo>
                  <a:pt x="816" y="99"/>
                  <a:pt x="816" y="99"/>
                  <a:pt x="816" y="99"/>
                </a:cubicBezTo>
                <a:cubicBezTo>
                  <a:pt x="817" y="97"/>
                  <a:pt x="817" y="97"/>
                  <a:pt x="817" y="97"/>
                </a:cubicBezTo>
                <a:cubicBezTo>
                  <a:pt x="819" y="97"/>
                  <a:pt x="819" y="97"/>
                  <a:pt x="819" y="97"/>
                </a:cubicBezTo>
                <a:cubicBezTo>
                  <a:pt x="821" y="99"/>
                  <a:pt x="821" y="99"/>
                  <a:pt x="821" y="99"/>
                </a:cubicBezTo>
                <a:cubicBezTo>
                  <a:pt x="820" y="100"/>
                  <a:pt x="820" y="100"/>
                  <a:pt x="820" y="100"/>
                </a:cubicBezTo>
                <a:cubicBezTo>
                  <a:pt x="821" y="101"/>
                  <a:pt x="821" y="101"/>
                  <a:pt x="821" y="101"/>
                </a:cubicBezTo>
                <a:cubicBezTo>
                  <a:pt x="820" y="102"/>
                  <a:pt x="820" y="102"/>
                  <a:pt x="820" y="102"/>
                </a:cubicBezTo>
                <a:cubicBezTo>
                  <a:pt x="821" y="103"/>
                  <a:pt x="821" y="103"/>
                  <a:pt x="821" y="103"/>
                </a:cubicBezTo>
                <a:cubicBezTo>
                  <a:pt x="821" y="105"/>
                  <a:pt x="821" y="105"/>
                  <a:pt x="821" y="105"/>
                </a:cubicBezTo>
                <a:cubicBezTo>
                  <a:pt x="820" y="105"/>
                  <a:pt x="820" y="105"/>
                  <a:pt x="820" y="105"/>
                </a:cubicBezTo>
                <a:cubicBezTo>
                  <a:pt x="819" y="106"/>
                  <a:pt x="819" y="106"/>
                  <a:pt x="819" y="106"/>
                </a:cubicBezTo>
                <a:cubicBezTo>
                  <a:pt x="820" y="107"/>
                  <a:pt x="820" y="107"/>
                  <a:pt x="820" y="107"/>
                </a:cubicBezTo>
                <a:cubicBezTo>
                  <a:pt x="820" y="106"/>
                  <a:pt x="820" y="106"/>
                  <a:pt x="820" y="106"/>
                </a:cubicBezTo>
                <a:cubicBezTo>
                  <a:pt x="821" y="106"/>
                  <a:pt x="821" y="106"/>
                  <a:pt x="821" y="106"/>
                </a:cubicBezTo>
                <a:cubicBezTo>
                  <a:pt x="822" y="106"/>
                  <a:pt x="822" y="106"/>
                  <a:pt x="822" y="106"/>
                </a:cubicBezTo>
                <a:cubicBezTo>
                  <a:pt x="822" y="108"/>
                  <a:pt x="822" y="108"/>
                  <a:pt x="822" y="108"/>
                </a:cubicBezTo>
                <a:cubicBezTo>
                  <a:pt x="823" y="108"/>
                  <a:pt x="823" y="108"/>
                  <a:pt x="823" y="108"/>
                </a:cubicBezTo>
                <a:cubicBezTo>
                  <a:pt x="824" y="109"/>
                  <a:pt x="824" y="109"/>
                  <a:pt x="824" y="109"/>
                </a:cubicBezTo>
                <a:cubicBezTo>
                  <a:pt x="824" y="108"/>
                  <a:pt x="824" y="108"/>
                  <a:pt x="824" y="108"/>
                </a:cubicBezTo>
                <a:cubicBezTo>
                  <a:pt x="824" y="107"/>
                  <a:pt x="824" y="107"/>
                  <a:pt x="824" y="107"/>
                </a:cubicBezTo>
                <a:cubicBezTo>
                  <a:pt x="825" y="107"/>
                  <a:pt x="825" y="107"/>
                  <a:pt x="825" y="107"/>
                </a:cubicBezTo>
                <a:cubicBezTo>
                  <a:pt x="827" y="108"/>
                  <a:pt x="827" y="108"/>
                  <a:pt x="827" y="108"/>
                </a:cubicBezTo>
                <a:cubicBezTo>
                  <a:pt x="827" y="109"/>
                  <a:pt x="827" y="109"/>
                  <a:pt x="827" y="109"/>
                </a:cubicBezTo>
                <a:cubicBezTo>
                  <a:pt x="826" y="110"/>
                  <a:pt x="826" y="110"/>
                  <a:pt x="826" y="110"/>
                </a:cubicBezTo>
                <a:cubicBezTo>
                  <a:pt x="825" y="109"/>
                  <a:pt x="825" y="109"/>
                  <a:pt x="825" y="109"/>
                </a:cubicBezTo>
                <a:cubicBezTo>
                  <a:pt x="824" y="110"/>
                  <a:pt x="824" y="110"/>
                  <a:pt x="824" y="110"/>
                </a:cubicBezTo>
                <a:cubicBezTo>
                  <a:pt x="825" y="111"/>
                  <a:pt x="825" y="111"/>
                  <a:pt x="825" y="111"/>
                </a:cubicBezTo>
                <a:cubicBezTo>
                  <a:pt x="826" y="111"/>
                  <a:pt x="826" y="111"/>
                  <a:pt x="826" y="111"/>
                </a:cubicBezTo>
                <a:cubicBezTo>
                  <a:pt x="827" y="112"/>
                  <a:pt x="827" y="112"/>
                  <a:pt x="827" y="112"/>
                </a:cubicBezTo>
                <a:cubicBezTo>
                  <a:pt x="827" y="113"/>
                  <a:pt x="827" y="113"/>
                  <a:pt x="827" y="113"/>
                </a:cubicBezTo>
                <a:cubicBezTo>
                  <a:pt x="825" y="114"/>
                  <a:pt x="825" y="114"/>
                  <a:pt x="825" y="114"/>
                </a:cubicBezTo>
                <a:cubicBezTo>
                  <a:pt x="824" y="112"/>
                  <a:pt x="824" y="112"/>
                  <a:pt x="824" y="112"/>
                </a:cubicBezTo>
                <a:cubicBezTo>
                  <a:pt x="823" y="112"/>
                  <a:pt x="823" y="112"/>
                  <a:pt x="823" y="112"/>
                </a:cubicBezTo>
                <a:cubicBezTo>
                  <a:pt x="824" y="114"/>
                  <a:pt x="824" y="114"/>
                  <a:pt x="824" y="114"/>
                </a:cubicBezTo>
                <a:cubicBezTo>
                  <a:pt x="823" y="115"/>
                  <a:pt x="823" y="115"/>
                  <a:pt x="823" y="115"/>
                </a:cubicBezTo>
                <a:cubicBezTo>
                  <a:pt x="823" y="115"/>
                  <a:pt x="823" y="115"/>
                  <a:pt x="823" y="115"/>
                </a:cubicBezTo>
                <a:cubicBezTo>
                  <a:pt x="822" y="114"/>
                  <a:pt x="822" y="114"/>
                  <a:pt x="822" y="114"/>
                </a:cubicBezTo>
                <a:cubicBezTo>
                  <a:pt x="821" y="114"/>
                  <a:pt x="821" y="114"/>
                  <a:pt x="821" y="114"/>
                </a:cubicBezTo>
                <a:cubicBezTo>
                  <a:pt x="820" y="114"/>
                  <a:pt x="820" y="114"/>
                  <a:pt x="820" y="114"/>
                </a:cubicBezTo>
                <a:cubicBezTo>
                  <a:pt x="818" y="114"/>
                  <a:pt x="818" y="114"/>
                  <a:pt x="818" y="114"/>
                </a:cubicBezTo>
                <a:cubicBezTo>
                  <a:pt x="816" y="114"/>
                  <a:pt x="816" y="114"/>
                  <a:pt x="816" y="114"/>
                </a:cubicBezTo>
                <a:cubicBezTo>
                  <a:pt x="815" y="114"/>
                  <a:pt x="815" y="114"/>
                  <a:pt x="815" y="114"/>
                </a:cubicBezTo>
                <a:cubicBezTo>
                  <a:pt x="816" y="113"/>
                  <a:pt x="816" y="113"/>
                  <a:pt x="816" y="113"/>
                </a:cubicBezTo>
                <a:cubicBezTo>
                  <a:pt x="815" y="113"/>
                  <a:pt x="815" y="113"/>
                  <a:pt x="815" y="113"/>
                </a:cubicBezTo>
                <a:cubicBezTo>
                  <a:pt x="814" y="112"/>
                  <a:pt x="814" y="112"/>
                  <a:pt x="814" y="112"/>
                </a:cubicBezTo>
                <a:cubicBezTo>
                  <a:pt x="814" y="114"/>
                  <a:pt x="814" y="114"/>
                  <a:pt x="814" y="114"/>
                </a:cubicBezTo>
                <a:cubicBezTo>
                  <a:pt x="814" y="114"/>
                  <a:pt x="814" y="114"/>
                  <a:pt x="814" y="114"/>
                </a:cubicBezTo>
                <a:cubicBezTo>
                  <a:pt x="813" y="114"/>
                  <a:pt x="813" y="114"/>
                  <a:pt x="813" y="114"/>
                </a:cubicBezTo>
                <a:cubicBezTo>
                  <a:pt x="814" y="115"/>
                  <a:pt x="814" y="115"/>
                  <a:pt x="814" y="115"/>
                </a:cubicBezTo>
                <a:cubicBezTo>
                  <a:pt x="813" y="117"/>
                  <a:pt x="813" y="117"/>
                  <a:pt x="813" y="117"/>
                </a:cubicBezTo>
                <a:cubicBezTo>
                  <a:pt x="813" y="117"/>
                  <a:pt x="813" y="117"/>
                  <a:pt x="813" y="117"/>
                </a:cubicBezTo>
                <a:cubicBezTo>
                  <a:pt x="813" y="116"/>
                  <a:pt x="813" y="116"/>
                  <a:pt x="813" y="116"/>
                </a:cubicBezTo>
                <a:cubicBezTo>
                  <a:pt x="812" y="116"/>
                  <a:pt x="812" y="116"/>
                  <a:pt x="812" y="116"/>
                </a:cubicBezTo>
                <a:cubicBezTo>
                  <a:pt x="810" y="116"/>
                  <a:pt x="810" y="116"/>
                  <a:pt x="810" y="116"/>
                </a:cubicBezTo>
                <a:cubicBezTo>
                  <a:pt x="809" y="116"/>
                  <a:pt x="809" y="116"/>
                  <a:pt x="809" y="116"/>
                </a:cubicBezTo>
                <a:cubicBezTo>
                  <a:pt x="809" y="115"/>
                  <a:pt x="809" y="115"/>
                  <a:pt x="809" y="115"/>
                </a:cubicBezTo>
                <a:cubicBezTo>
                  <a:pt x="808" y="114"/>
                  <a:pt x="808" y="114"/>
                  <a:pt x="808" y="114"/>
                </a:cubicBezTo>
                <a:cubicBezTo>
                  <a:pt x="808" y="113"/>
                  <a:pt x="808" y="113"/>
                  <a:pt x="808" y="113"/>
                </a:cubicBezTo>
                <a:cubicBezTo>
                  <a:pt x="805" y="111"/>
                  <a:pt x="805" y="111"/>
                  <a:pt x="805" y="111"/>
                </a:cubicBezTo>
                <a:cubicBezTo>
                  <a:pt x="805" y="111"/>
                  <a:pt x="805" y="111"/>
                  <a:pt x="805" y="111"/>
                </a:cubicBezTo>
                <a:cubicBezTo>
                  <a:pt x="805" y="110"/>
                  <a:pt x="805" y="110"/>
                  <a:pt x="805" y="110"/>
                </a:cubicBezTo>
                <a:cubicBezTo>
                  <a:pt x="803" y="109"/>
                  <a:pt x="803" y="109"/>
                  <a:pt x="803" y="109"/>
                </a:cubicBezTo>
                <a:cubicBezTo>
                  <a:pt x="802" y="111"/>
                  <a:pt x="802" y="111"/>
                  <a:pt x="802" y="111"/>
                </a:cubicBezTo>
                <a:cubicBezTo>
                  <a:pt x="800" y="111"/>
                  <a:pt x="800" y="111"/>
                  <a:pt x="800" y="111"/>
                </a:cubicBezTo>
                <a:cubicBezTo>
                  <a:pt x="799" y="112"/>
                  <a:pt x="799" y="112"/>
                  <a:pt x="799" y="112"/>
                </a:cubicBezTo>
                <a:cubicBezTo>
                  <a:pt x="799" y="113"/>
                  <a:pt x="799" y="113"/>
                  <a:pt x="799" y="113"/>
                </a:cubicBezTo>
                <a:cubicBezTo>
                  <a:pt x="798" y="111"/>
                  <a:pt x="798" y="111"/>
                  <a:pt x="798" y="111"/>
                </a:cubicBezTo>
                <a:cubicBezTo>
                  <a:pt x="798" y="110"/>
                  <a:pt x="798" y="110"/>
                  <a:pt x="798" y="110"/>
                </a:cubicBezTo>
                <a:cubicBezTo>
                  <a:pt x="798" y="111"/>
                  <a:pt x="798" y="111"/>
                  <a:pt x="798" y="111"/>
                </a:cubicBezTo>
                <a:cubicBezTo>
                  <a:pt x="798" y="113"/>
                  <a:pt x="798" y="113"/>
                  <a:pt x="798" y="113"/>
                </a:cubicBezTo>
                <a:cubicBezTo>
                  <a:pt x="798" y="115"/>
                  <a:pt x="798" y="115"/>
                  <a:pt x="798" y="115"/>
                </a:cubicBezTo>
                <a:cubicBezTo>
                  <a:pt x="798" y="116"/>
                  <a:pt x="798" y="116"/>
                  <a:pt x="798" y="116"/>
                </a:cubicBezTo>
                <a:cubicBezTo>
                  <a:pt x="796" y="120"/>
                  <a:pt x="796" y="120"/>
                  <a:pt x="796" y="120"/>
                </a:cubicBezTo>
                <a:cubicBezTo>
                  <a:pt x="794" y="119"/>
                  <a:pt x="794" y="119"/>
                  <a:pt x="794" y="119"/>
                </a:cubicBezTo>
                <a:cubicBezTo>
                  <a:pt x="794" y="117"/>
                  <a:pt x="794" y="117"/>
                  <a:pt x="794" y="117"/>
                </a:cubicBezTo>
                <a:cubicBezTo>
                  <a:pt x="793" y="117"/>
                  <a:pt x="793" y="117"/>
                  <a:pt x="793" y="117"/>
                </a:cubicBezTo>
                <a:cubicBezTo>
                  <a:pt x="792" y="117"/>
                  <a:pt x="792" y="117"/>
                  <a:pt x="792" y="117"/>
                </a:cubicBezTo>
                <a:cubicBezTo>
                  <a:pt x="789" y="115"/>
                  <a:pt x="789" y="115"/>
                  <a:pt x="789" y="115"/>
                </a:cubicBezTo>
                <a:cubicBezTo>
                  <a:pt x="789" y="114"/>
                  <a:pt x="789" y="114"/>
                  <a:pt x="789" y="114"/>
                </a:cubicBezTo>
                <a:cubicBezTo>
                  <a:pt x="789" y="111"/>
                  <a:pt x="789" y="111"/>
                  <a:pt x="789" y="111"/>
                </a:cubicBezTo>
                <a:cubicBezTo>
                  <a:pt x="787" y="111"/>
                  <a:pt x="787" y="111"/>
                  <a:pt x="787" y="111"/>
                </a:cubicBezTo>
                <a:cubicBezTo>
                  <a:pt x="787" y="110"/>
                  <a:pt x="787" y="110"/>
                  <a:pt x="787" y="110"/>
                </a:cubicBezTo>
                <a:cubicBezTo>
                  <a:pt x="786" y="109"/>
                  <a:pt x="786" y="109"/>
                  <a:pt x="786" y="109"/>
                </a:cubicBezTo>
                <a:cubicBezTo>
                  <a:pt x="786" y="110"/>
                  <a:pt x="786" y="110"/>
                  <a:pt x="786" y="110"/>
                </a:cubicBezTo>
                <a:cubicBezTo>
                  <a:pt x="786" y="111"/>
                  <a:pt x="786" y="111"/>
                  <a:pt x="786" y="111"/>
                </a:cubicBezTo>
                <a:cubicBezTo>
                  <a:pt x="786" y="112"/>
                  <a:pt x="786" y="112"/>
                  <a:pt x="786" y="112"/>
                </a:cubicBezTo>
                <a:cubicBezTo>
                  <a:pt x="787" y="112"/>
                  <a:pt x="787" y="112"/>
                  <a:pt x="787" y="112"/>
                </a:cubicBezTo>
                <a:cubicBezTo>
                  <a:pt x="786" y="113"/>
                  <a:pt x="786" y="113"/>
                  <a:pt x="786" y="113"/>
                </a:cubicBezTo>
                <a:cubicBezTo>
                  <a:pt x="784" y="112"/>
                  <a:pt x="784" y="112"/>
                  <a:pt x="784" y="112"/>
                </a:cubicBezTo>
                <a:cubicBezTo>
                  <a:pt x="783" y="111"/>
                  <a:pt x="783" y="111"/>
                  <a:pt x="783" y="111"/>
                </a:cubicBezTo>
                <a:cubicBezTo>
                  <a:pt x="783" y="111"/>
                  <a:pt x="783" y="111"/>
                  <a:pt x="783" y="111"/>
                </a:cubicBezTo>
                <a:cubicBezTo>
                  <a:pt x="783" y="112"/>
                  <a:pt x="783" y="112"/>
                  <a:pt x="783" y="112"/>
                </a:cubicBezTo>
                <a:cubicBezTo>
                  <a:pt x="783" y="113"/>
                  <a:pt x="783" y="113"/>
                  <a:pt x="783" y="113"/>
                </a:cubicBezTo>
                <a:cubicBezTo>
                  <a:pt x="783" y="113"/>
                  <a:pt x="783" y="113"/>
                  <a:pt x="783" y="113"/>
                </a:cubicBezTo>
                <a:cubicBezTo>
                  <a:pt x="785" y="113"/>
                  <a:pt x="785" y="113"/>
                  <a:pt x="785" y="113"/>
                </a:cubicBezTo>
                <a:cubicBezTo>
                  <a:pt x="786" y="114"/>
                  <a:pt x="786" y="114"/>
                  <a:pt x="786" y="114"/>
                </a:cubicBezTo>
                <a:cubicBezTo>
                  <a:pt x="785" y="116"/>
                  <a:pt x="785" y="116"/>
                  <a:pt x="785" y="116"/>
                </a:cubicBezTo>
                <a:cubicBezTo>
                  <a:pt x="783" y="116"/>
                  <a:pt x="783" y="116"/>
                  <a:pt x="783" y="116"/>
                </a:cubicBezTo>
                <a:cubicBezTo>
                  <a:pt x="783" y="117"/>
                  <a:pt x="783" y="117"/>
                  <a:pt x="783" y="117"/>
                </a:cubicBezTo>
                <a:cubicBezTo>
                  <a:pt x="784" y="117"/>
                  <a:pt x="784" y="117"/>
                  <a:pt x="784" y="117"/>
                </a:cubicBezTo>
                <a:cubicBezTo>
                  <a:pt x="787" y="121"/>
                  <a:pt x="787" y="121"/>
                  <a:pt x="787" y="121"/>
                </a:cubicBezTo>
                <a:cubicBezTo>
                  <a:pt x="790" y="122"/>
                  <a:pt x="790" y="122"/>
                  <a:pt x="790" y="122"/>
                </a:cubicBezTo>
                <a:cubicBezTo>
                  <a:pt x="791" y="121"/>
                  <a:pt x="791" y="121"/>
                  <a:pt x="791" y="121"/>
                </a:cubicBezTo>
                <a:cubicBezTo>
                  <a:pt x="793" y="122"/>
                  <a:pt x="793" y="122"/>
                  <a:pt x="793" y="122"/>
                </a:cubicBezTo>
                <a:cubicBezTo>
                  <a:pt x="793" y="124"/>
                  <a:pt x="793" y="124"/>
                  <a:pt x="793" y="124"/>
                </a:cubicBezTo>
                <a:cubicBezTo>
                  <a:pt x="793" y="124"/>
                  <a:pt x="793" y="124"/>
                  <a:pt x="793" y="124"/>
                </a:cubicBezTo>
                <a:cubicBezTo>
                  <a:pt x="792" y="122"/>
                  <a:pt x="792" y="122"/>
                  <a:pt x="792" y="122"/>
                </a:cubicBezTo>
                <a:cubicBezTo>
                  <a:pt x="791" y="122"/>
                  <a:pt x="791" y="122"/>
                  <a:pt x="791" y="122"/>
                </a:cubicBezTo>
                <a:cubicBezTo>
                  <a:pt x="792" y="124"/>
                  <a:pt x="792" y="124"/>
                  <a:pt x="792" y="124"/>
                </a:cubicBezTo>
                <a:cubicBezTo>
                  <a:pt x="794" y="126"/>
                  <a:pt x="794" y="126"/>
                  <a:pt x="794" y="126"/>
                </a:cubicBezTo>
                <a:cubicBezTo>
                  <a:pt x="794" y="127"/>
                  <a:pt x="794" y="127"/>
                  <a:pt x="794" y="127"/>
                </a:cubicBezTo>
                <a:cubicBezTo>
                  <a:pt x="796" y="129"/>
                  <a:pt x="796" y="129"/>
                  <a:pt x="796" y="129"/>
                </a:cubicBezTo>
                <a:cubicBezTo>
                  <a:pt x="796" y="131"/>
                  <a:pt x="796" y="131"/>
                  <a:pt x="796" y="131"/>
                </a:cubicBezTo>
                <a:cubicBezTo>
                  <a:pt x="795" y="135"/>
                  <a:pt x="795" y="135"/>
                  <a:pt x="795" y="135"/>
                </a:cubicBezTo>
                <a:cubicBezTo>
                  <a:pt x="795" y="138"/>
                  <a:pt x="795" y="138"/>
                  <a:pt x="795" y="138"/>
                </a:cubicBezTo>
                <a:cubicBezTo>
                  <a:pt x="795" y="140"/>
                  <a:pt x="795" y="140"/>
                  <a:pt x="795" y="140"/>
                </a:cubicBezTo>
                <a:cubicBezTo>
                  <a:pt x="796" y="140"/>
                  <a:pt x="796" y="140"/>
                  <a:pt x="796" y="140"/>
                </a:cubicBezTo>
                <a:cubicBezTo>
                  <a:pt x="794" y="143"/>
                  <a:pt x="794" y="143"/>
                  <a:pt x="794" y="143"/>
                </a:cubicBezTo>
                <a:cubicBezTo>
                  <a:pt x="794" y="144"/>
                  <a:pt x="794" y="144"/>
                  <a:pt x="794" y="144"/>
                </a:cubicBezTo>
                <a:cubicBezTo>
                  <a:pt x="793" y="145"/>
                  <a:pt x="793" y="145"/>
                  <a:pt x="793" y="145"/>
                </a:cubicBezTo>
                <a:cubicBezTo>
                  <a:pt x="793" y="144"/>
                  <a:pt x="793" y="144"/>
                  <a:pt x="793" y="144"/>
                </a:cubicBezTo>
                <a:cubicBezTo>
                  <a:pt x="793" y="143"/>
                  <a:pt x="793" y="143"/>
                  <a:pt x="793" y="143"/>
                </a:cubicBezTo>
                <a:cubicBezTo>
                  <a:pt x="790" y="146"/>
                  <a:pt x="790" y="146"/>
                  <a:pt x="790" y="146"/>
                </a:cubicBezTo>
                <a:cubicBezTo>
                  <a:pt x="789" y="145"/>
                  <a:pt x="789" y="145"/>
                  <a:pt x="789" y="145"/>
                </a:cubicBezTo>
                <a:cubicBezTo>
                  <a:pt x="788" y="146"/>
                  <a:pt x="788" y="146"/>
                  <a:pt x="788" y="146"/>
                </a:cubicBezTo>
                <a:cubicBezTo>
                  <a:pt x="787" y="145"/>
                  <a:pt x="787" y="145"/>
                  <a:pt x="787" y="145"/>
                </a:cubicBezTo>
                <a:cubicBezTo>
                  <a:pt x="786" y="144"/>
                  <a:pt x="786" y="144"/>
                  <a:pt x="786" y="144"/>
                </a:cubicBezTo>
                <a:cubicBezTo>
                  <a:pt x="785" y="144"/>
                  <a:pt x="785" y="144"/>
                  <a:pt x="785" y="144"/>
                </a:cubicBezTo>
                <a:cubicBezTo>
                  <a:pt x="783" y="142"/>
                  <a:pt x="783" y="142"/>
                  <a:pt x="783" y="142"/>
                </a:cubicBezTo>
                <a:cubicBezTo>
                  <a:pt x="782" y="141"/>
                  <a:pt x="782" y="141"/>
                  <a:pt x="782" y="141"/>
                </a:cubicBezTo>
                <a:cubicBezTo>
                  <a:pt x="780" y="141"/>
                  <a:pt x="780" y="141"/>
                  <a:pt x="780" y="141"/>
                </a:cubicBezTo>
                <a:cubicBezTo>
                  <a:pt x="779" y="140"/>
                  <a:pt x="779" y="140"/>
                  <a:pt x="779" y="140"/>
                </a:cubicBezTo>
                <a:cubicBezTo>
                  <a:pt x="778" y="141"/>
                  <a:pt x="778" y="141"/>
                  <a:pt x="778" y="141"/>
                </a:cubicBezTo>
                <a:cubicBezTo>
                  <a:pt x="777" y="142"/>
                  <a:pt x="777" y="142"/>
                  <a:pt x="777" y="142"/>
                </a:cubicBezTo>
                <a:cubicBezTo>
                  <a:pt x="776" y="142"/>
                  <a:pt x="776" y="142"/>
                  <a:pt x="776" y="142"/>
                </a:cubicBezTo>
                <a:cubicBezTo>
                  <a:pt x="777" y="143"/>
                  <a:pt x="777" y="143"/>
                  <a:pt x="777" y="143"/>
                </a:cubicBezTo>
                <a:cubicBezTo>
                  <a:pt x="779" y="143"/>
                  <a:pt x="779" y="143"/>
                  <a:pt x="779" y="143"/>
                </a:cubicBezTo>
                <a:cubicBezTo>
                  <a:pt x="779" y="141"/>
                  <a:pt x="779" y="141"/>
                  <a:pt x="779" y="141"/>
                </a:cubicBezTo>
                <a:cubicBezTo>
                  <a:pt x="783" y="143"/>
                  <a:pt x="783" y="143"/>
                  <a:pt x="783" y="143"/>
                </a:cubicBezTo>
                <a:cubicBezTo>
                  <a:pt x="783" y="144"/>
                  <a:pt x="783" y="144"/>
                  <a:pt x="783" y="144"/>
                </a:cubicBezTo>
                <a:cubicBezTo>
                  <a:pt x="782" y="145"/>
                  <a:pt x="782" y="145"/>
                  <a:pt x="782" y="145"/>
                </a:cubicBezTo>
                <a:cubicBezTo>
                  <a:pt x="781" y="144"/>
                  <a:pt x="781" y="144"/>
                  <a:pt x="781" y="144"/>
                </a:cubicBezTo>
                <a:cubicBezTo>
                  <a:pt x="779" y="144"/>
                  <a:pt x="779" y="144"/>
                  <a:pt x="779" y="144"/>
                </a:cubicBezTo>
                <a:cubicBezTo>
                  <a:pt x="779" y="146"/>
                  <a:pt x="779" y="146"/>
                  <a:pt x="779" y="146"/>
                </a:cubicBezTo>
                <a:cubicBezTo>
                  <a:pt x="778" y="144"/>
                  <a:pt x="778" y="144"/>
                  <a:pt x="778" y="144"/>
                </a:cubicBezTo>
                <a:cubicBezTo>
                  <a:pt x="777" y="145"/>
                  <a:pt x="777" y="145"/>
                  <a:pt x="777" y="145"/>
                </a:cubicBezTo>
                <a:cubicBezTo>
                  <a:pt x="777" y="145"/>
                  <a:pt x="777" y="145"/>
                  <a:pt x="777" y="145"/>
                </a:cubicBezTo>
                <a:cubicBezTo>
                  <a:pt x="778" y="146"/>
                  <a:pt x="778" y="146"/>
                  <a:pt x="778" y="146"/>
                </a:cubicBezTo>
                <a:cubicBezTo>
                  <a:pt x="780" y="147"/>
                  <a:pt x="780" y="147"/>
                  <a:pt x="780" y="147"/>
                </a:cubicBezTo>
                <a:cubicBezTo>
                  <a:pt x="779" y="149"/>
                  <a:pt x="779" y="149"/>
                  <a:pt x="779" y="149"/>
                </a:cubicBezTo>
                <a:cubicBezTo>
                  <a:pt x="780" y="151"/>
                  <a:pt x="780" y="151"/>
                  <a:pt x="780" y="151"/>
                </a:cubicBezTo>
                <a:cubicBezTo>
                  <a:pt x="781" y="152"/>
                  <a:pt x="781" y="152"/>
                  <a:pt x="781" y="152"/>
                </a:cubicBezTo>
                <a:cubicBezTo>
                  <a:pt x="781" y="151"/>
                  <a:pt x="781" y="151"/>
                  <a:pt x="781" y="151"/>
                </a:cubicBezTo>
                <a:cubicBezTo>
                  <a:pt x="781" y="149"/>
                  <a:pt x="781" y="149"/>
                  <a:pt x="781" y="149"/>
                </a:cubicBezTo>
                <a:cubicBezTo>
                  <a:pt x="782" y="148"/>
                  <a:pt x="782" y="148"/>
                  <a:pt x="782" y="148"/>
                </a:cubicBezTo>
                <a:cubicBezTo>
                  <a:pt x="783" y="148"/>
                  <a:pt x="783" y="148"/>
                  <a:pt x="783" y="148"/>
                </a:cubicBezTo>
                <a:cubicBezTo>
                  <a:pt x="783" y="148"/>
                  <a:pt x="783" y="148"/>
                  <a:pt x="783" y="148"/>
                </a:cubicBezTo>
                <a:cubicBezTo>
                  <a:pt x="785" y="146"/>
                  <a:pt x="785" y="146"/>
                  <a:pt x="785" y="146"/>
                </a:cubicBezTo>
                <a:cubicBezTo>
                  <a:pt x="786" y="146"/>
                  <a:pt x="786" y="146"/>
                  <a:pt x="786" y="146"/>
                </a:cubicBezTo>
                <a:cubicBezTo>
                  <a:pt x="787" y="146"/>
                  <a:pt x="787" y="146"/>
                  <a:pt x="787" y="146"/>
                </a:cubicBezTo>
                <a:cubicBezTo>
                  <a:pt x="787" y="147"/>
                  <a:pt x="787" y="147"/>
                  <a:pt x="787" y="147"/>
                </a:cubicBezTo>
                <a:cubicBezTo>
                  <a:pt x="788" y="149"/>
                  <a:pt x="788" y="149"/>
                  <a:pt x="788" y="149"/>
                </a:cubicBezTo>
                <a:cubicBezTo>
                  <a:pt x="790" y="150"/>
                  <a:pt x="790" y="150"/>
                  <a:pt x="790" y="150"/>
                </a:cubicBezTo>
                <a:cubicBezTo>
                  <a:pt x="791" y="151"/>
                  <a:pt x="791" y="151"/>
                  <a:pt x="791" y="151"/>
                </a:cubicBezTo>
                <a:cubicBezTo>
                  <a:pt x="793" y="151"/>
                  <a:pt x="793" y="151"/>
                  <a:pt x="793" y="151"/>
                </a:cubicBezTo>
                <a:cubicBezTo>
                  <a:pt x="794" y="150"/>
                  <a:pt x="794" y="150"/>
                  <a:pt x="794" y="150"/>
                </a:cubicBezTo>
                <a:cubicBezTo>
                  <a:pt x="793" y="149"/>
                  <a:pt x="793" y="149"/>
                  <a:pt x="793" y="149"/>
                </a:cubicBezTo>
                <a:cubicBezTo>
                  <a:pt x="794" y="149"/>
                  <a:pt x="794" y="149"/>
                  <a:pt x="794" y="149"/>
                </a:cubicBezTo>
                <a:cubicBezTo>
                  <a:pt x="797" y="152"/>
                  <a:pt x="797" y="152"/>
                  <a:pt x="797" y="152"/>
                </a:cubicBezTo>
                <a:cubicBezTo>
                  <a:pt x="798" y="153"/>
                  <a:pt x="798" y="153"/>
                  <a:pt x="798" y="153"/>
                </a:cubicBezTo>
                <a:cubicBezTo>
                  <a:pt x="796" y="153"/>
                  <a:pt x="796" y="153"/>
                  <a:pt x="796" y="153"/>
                </a:cubicBezTo>
                <a:cubicBezTo>
                  <a:pt x="796" y="154"/>
                  <a:pt x="796" y="154"/>
                  <a:pt x="796" y="154"/>
                </a:cubicBezTo>
                <a:cubicBezTo>
                  <a:pt x="799" y="156"/>
                  <a:pt x="799" y="156"/>
                  <a:pt x="799" y="156"/>
                </a:cubicBezTo>
                <a:cubicBezTo>
                  <a:pt x="799" y="156"/>
                  <a:pt x="799" y="156"/>
                  <a:pt x="799" y="156"/>
                </a:cubicBezTo>
                <a:cubicBezTo>
                  <a:pt x="799" y="156"/>
                  <a:pt x="799" y="156"/>
                  <a:pt x="799" y="156"/>
                </a:cubicBezTo>
                <a:cubicBezTo>
                  <a:pt x="799" y="154"/>
                  <a:pt x="799" y="154"/>
                  <a:pt x="799" y="154"/>
                </a:cubicBezTo>
                <a:cubicBezTo>
                  <a:pt x="801" y="155"/>
                  <a:pt x="801" y="155"/>
                  <a:pt x="801" y="155"/>
                </a:cubicBezTo>
                <a:cubicBezTo>
                  <a:pt x="804" y="159"/>
                  <a:pt x="804" y="159"/>
                  <a:pt x="804" y="159"/>
                </a:cubicBezTo>
                <a:cubicBezTo>
                  <a:pt x="803" y="158"/>
                  <a:pt x="803" y="158"/>
                  <a:pt x="803" y="158"/>
                </a:cubicBezTo>
                <a:cubicBezTo>
                  <a:pt x="802" y="158"/>
                  <a:pt x="802" y="158"/>
                  <a:pt x="802" y="158"/>
                </a:cubicBezTo>
                <a:cubicBezTo>
                  <a:pt x="802" y="159"/>
                  <a:pt x="802" y="159"/>
                  <a:pt x="802" y="159"/>
                </a:cubicBezTo>
                <a:cubicBezTo>
                  <a:pt x="803" y="160"/>
                  <a:pt x="803" y="160"/>
                  <a:pt x="803" y="160"/>
                </a:cubicBezTo>
                <a:cubicBezTo>
                  <a:pt x="801" y="161"/>
                  <a:pt x="801" y="161"/>
                  <a:pt x="801" y="161"/>
                </a:cubicBezTo>
                <a:cubicBezTo>
                  <a:pt x="801" y="162"/>
                  <a:pt x="801" y="162"/>
                  <a:pt x="801" y="162"/>
                </a:cubicBezTo>
                <a:cubicBezTo>
                  <a:pt x="802" y="163"/>
                  <a:pt x="802" y="163"/>
                  <a:pt x="802" y="163"/>
                </a:cubicBezTo>
                <a:cubicBezTo>
                  <a:pt x="803" y="163"/>
                  <a:pt x="803" y="163"/>
                  <a:pt x="803" y="163"/>
                </a:cubicBezTo>
                <a:cubicBezTo>
                  <a:pt x="803" y="161"/>
                  <a:pt x="803" y="161"/>
                  <a:pt x="803" y="161"/>
                </a:cubicBezTo>
                <a:cubicBezTo>
                  <a:pt x="804" y="161"/>
                  <a:pt x="804" y="161"/>
                  <a:pt x="804" y="161"/>
                </a:cubicBezTo>
                <a:cubicBezTo>
                  <a:pt x="805" y="161"/>
                  <a:pt x="805" y="161"/>
                  <a:pt x="805" y="161"/>
                </a:cubicBezTo>
                <a:cubicBezTo>
                  <a:pt x="805" y="160"/>
                  <a:pt x="805" y="160"/>
                  <a:pt x="805" y="160"/>
                </a:cubicBezTo>
                <a:cubicBezTo>
                  <a:pt x="806" y="162"/>
                  <a:pt x="806" y="162"/>
                  <a:pt x="806" y="162"/>
                </a:cubicBezTo>
                <a:cubicBezTo>
                  <a:pt x="809" y="164"/>
                  <a:pt x="809" y="164"/>
                  <a:pt x="809" y="164"/>
                </a:cubicBezTo>
                <a:cubicBezTo>
                  <a:pt x="812" y="164"/>
                  <a:pt x="812" y="164"/>
                  <a:pt x="812" y="164"/>
                </a:cubicBezTo>
                <a:cubicBezTo>
                  <a:pt x="813" y="166"/>
                  <a:pt x="813" y="166"/>
                  <a:pt x="813" y="166"/>
                </a:cubicBezTo>
                <a:cubicBezTo>
                  <a:pt x="812" y="167"/>
                  <a:pt x="812" y="167"/>
                  <a:pt x="812" y="167"/>
                </a:cubicBezTo>
                <a:cubicBezTo>
                  <a:pt x="814" y="169"/>
                  <a:pt x="814" y="169"/>
                  <a:pt x="814" y="169"/>
                </a:cubicBezTo>
                <a:cubicBezTo>
                  <a:pt x="815" y="169"/>
                  <a:pt x="815" y="169"/>
                  <a:pt x="815" y="169"/>
                </a:cubicBezTo>
                <a:cubicBezTo>
                  <a:pt x="817" y="172"/>
                  <a:pt x="817" y="172"/>
                  <a:pt x="817" y="172"/>
                </a:cubicBezTo>
                <a:cubicBezTo>
                  <a:pt x="817" y="176"/>
                  <a:pt x="817" y="176"/>
                  <a:pt x="817" y="176"/>
                </a:cubicBezTo>
                <a:cubicBezTo>
                  <a:pt x="816" y="176"/>
                  <a:pt x="816" y="176"/>
                  <a:pt x="816" y="176"/>
                </a:cubicBezTo>
                <a:cubicBezTo>
                  <a:pt x="816" y="177"/>
                  <a:pt x="816" y="177"/>
                  <a:pt x="816" y="177"/>
                </a:cubicBezTo>
                <a:cubicBezTo>
                  <a:pt x="818" y="177"/>
                  <a:pt x="818" y="177"/>
                  <a:pt x="818" y="177"/>
                </a:cubicBezTo>
                <a:cubicBezTo>
                  <a:pt x="818" y="179"/>
                  <a:pt x="818" y="179"/>
                  <a:pt x="818" y="179"/>
                </a:cubicBezTo>
                <a:cubicBezTo>
                  <a:pt x="818" y="179"/>
                  <a:pt x="818" y="179"/>
                  <a:pt x="818" y="179"/>
                </a:cubicBezTo>
                <a:cubicBezTo>
                  <a:pt x="817" y="179"/>
                  <a:pt x="817" y="179"/>
                  <a:pt x="817" y="179"/>
                </a:cubicBezTo>
                <a:cubicBezTo>
                  <a:pt x="812" y="179"/>
                  <a:pt x="812" y="179"/>
                  <a:pt x="812" y="179"/>
                </a:cubicBezTo>
                <a:cubicBezTo>
                  <a:pt x="811" y="178"/>
                  <a:pt x="811" y="178"/>
                  <a:pt x="811" y="178"/>
                </a:cubicBezTo>
                <a:cubicBezTo>
                  <a:pt x="810" y="178"/>
                  <a:pt x="810" y="178"/>
                  <a:pt x="810" y="178"/>
                </a:cubicBezTo>
                <a:cubicBezTo>
                  <a:pt x="809" y="178"/>
                  <a:pt x="809" y="178"/>
                  <a:pt x="809" y="178"/>
                </a:cubicBezTo>
                <a:cubicBezTo>
                  <a:pt x="809" y="177"/>
                  <a:pt x="809" y="177"/>
                  <a:pt x="809" y="177"/>
                </a:cubicBezTo>
                <a:cubicBezTo>
                  <a:pt x="808" y="176"/>
                  <a:pt x="808" y="176"/>
                  <a:pt x="808" y="176"/>
                </a:cubicBezTo>
                <a:cubicBezTo>
                  <a:pt x="808" y="177"/>
                  <a:pt x="808" y="177"/>
                  <a:pt x="808" y="177"/>
                </a:cubicBezTo>
                <a:cubicBezTo>
                  <a:pt x="808" y="178"/>
                  <a:pt x="808" y="178"/>
                  <a:pt x="808" y="178"/>
                </a:cubicBezTo>
                <a:cubicBezTo>
                  <a:pt x="806" y="179"/>
                  <a:pt x="806" y="179"/>
                  <a:pt x="806" y="179"/>
                </a:cubicBezTo>
                <a:cubicBezTo>
                  <a:pt x="805" y="179"/>
                  <a:pt x="805" y="179"/>
                  <a:pt x="805" y="179"/>
                </a:cubicBezTo>
                <a:cubicBezTo>
                  <a:pt x="804" y="180"/>
                  <a:pt x="804" y="180"/>
                  <a:pt x="804" y="180"/>
                </a:cubicBezTo>
                <a:cubicBezTo>
                  <a:pt x="805" y="180"/>
                  <a:pt x="805" y="180"/>
                  <a:pt x="805" y="180"/>
                </a:cubicBezTo>
                <a:cubicBezTo>
                  <a:pt x="803" y="182"/>
                  <a:pt x="803" y="182"/>
                  <a:pt x="803" y="182"/>
                </a:cubicBezTo>
                <a:cubicBezTo>
                  <a:pt x="802" y="182"/>
                  <a:pt x="802" y="182"/>
                  <a:pt x="802" y="182"/>
                </a:cubicBezTo>
                <a:cubicBezTo>
                  <a:pt x="802" y="183"/>
                  <a:pt x="802" y="183"/>
                  <a:pt x="802" y="183"/>
                </a:cubicBezTo>
                <a:cubicBezTo>
                  <a:pt x="802" y="184"/>
                  <a:pt x="802" y="184"/>
                  <a:pt x="802" y="184"/>
                </a:cubicBezTo>
                <a:cubicBezTo>
                  <a:pt x="801" y="186"/>
                  <a:pt x="801" y="186"/>
                  <a:pt x="801" y="186"/>
                </a:cubicBezTo>
                <a:cubicBezTo>
                  <a:pt x="800" y="187"/>
                  <a:pt x="800" y="187"/>
                  <a:pt x="800" y="187"/>
                </a:cubicBezTo>
                <a:cubicBezTo>
                  <a:pt x="800" y="186"/>
                  <a:pt x="800" y="186"/>
                  <a:pt x="800" y="186"/>
                </a:cubicBezTo>
                <a:cubicBezTo>
                  <a:pt x="799" y="186"/>
                  <a:pt x="799" y="186"/>
                  <a:pt x="799" y="186"/>
                </a:cubicBezTo>
                <a:cubicBezTo>
                  <a:pt x="799" y="188"/>
                  <a:pt x="799" y="188"/>
                  <a:pt x="799" y="188"/>
                </a:cubicBezTo>
                <a:cubicBezTo>
                  <a:pt x="799" y="190"/>
                  <a:pt x="799" y="190"/>
                  <a:pt x="799" y="190"/>
                </a:cubicBezTo>
                <a:cubicBezTo>
                  <a:pt x="798" y="191"/>
                  <a:pt x="798" y="191"/>
                  <a:pt x="798" y="191"/>
                </a:cubicBezTo>
                <a:cubicBezTo>
                  <a:pt x="797" y="190"/>
                  <a:pt x="797" y="190"/>
                  <a:pt x="797" y="190"/>
                </a:cubicBezTo>
                <a:cubicBezTo>
                  <a:pt x="797" y="192"/>
                  <a:pt x="797" y="192"/>
                  <a:pt x="797" y="192"/>
                </a:cubicBezTo>
                <a:cubicBezTo>
                  <a:pt x="798" y="193"/>
                  <a:pt x="798" y="193"/>
                  <a:pt x="798" y="193"/>
                </a:cubicBezTo>
                <a:cubicBezTo>
                  <a:pt x="796" y="194"/>
                  <a:pt x="796" y="194"/>
                  <a:pt x="796" y="194"/>
                </a:cubicBezTo>
                <a:cubicBezTo>
                  <a:pt x="795" y="194"/>
                  <a:pt x="795" y="194"/>
                  <a:pt x="795" y="194"/>
                </a:cubicBezTo>
                <a:cubicBezTo>
                  <a:pt x="796" y="195"/>
                  <a:pt x="796" y="195"/>
                  <a:pt x="796" y="195"/>
                </a:cubicBezTo>
                <a:cubicBezTo>
                  <a:pt x="796" y="196"/>
                  <a:pt x="796" y="196"/>
                  <a:pt x="796" y="196"/>
                </a:cubicBezTo>
                <a:cubicBezTo>
                  <a:pt x="795" y="197"/>
                  <a:pt x="795" y="197"/>
                  <a:pt x="795" y="197"/>
                </a:cubicBezTo>
                <a:cubicBezTo>
                  <a:pt x="794" y="196"/>
                  <a:pt x="794" y="196"/>
                  <a:pt x="794" y="196"/>
                </a:cubicBezTo>
                <a:cubicBezTo>
                  <a:pt x="793" y="197"/>
                  <a:pt x="793" y="197"/>
                  <a:pt x="793" y="197"/>
                </a:cubicBezTo>
                <a:cubicBezTo>
                  <a:pt x="794" y="198"/>
                  <a:pt x="794" y="198"/>
                  <a:pt x="794" y="198"/>
                </a:cubicBezTo>
                <a:cubicBezTo>
                  <a:pt x="794" y="199"/>
                  <a:pt x="794" y="199"/>
                  <a:pt x="794" y="199"/>
                </a:cubicBezTo>
                <a:cubicBezTo>
                  <a:pt x="793" y="200"/>
                  <a:pt x="793" y="200"/>
                  <a:pt x="793" y="200"/>
                </a:cubicBezTo>
                <a:cubicBezTo>
                  <a:pt x="794" y="201"/>
                  <a:pt x="794" y="201"/>
                  <a:pt x="794" y="201"/>
                </a:cubicBezTo>
                <a:cubicBezTo>
                  <a:pt x="793" y="202"/>
                  <a:pt x="793" y="202"/>
                  <a:pt x="793" y="202"/>
                </a:cubicBezTo>
                <a:cubicBezTo>
                  <a:pt x="792" y="202"/>
                  <a:pt x="792" y="202"/>
                  <a:pt x="792" y="202"/>
                </a:cubicBezTo>
                <a:cubicBezTo>
                  <a:pt x="792" y="201"/>
                  <a:pt x="792" y="201"/>
                  <a:pt x="792" y="201"/>
                </a:cubicBezTo>
                <a:cubicBezTo>
                  <a:pt x="791" y="201"/>
                  <a:pt x="791" y="201"/>
                  <a:pt x="791" y="201"/>
                </a:cubicBezTo>
                <a:cubicBezTo>
                  <a:pt x="792" y="202"/>
                  <a:pt x="792" y="202"/>
                  <a:pt x="792" y="202"/>
                </a:cubicBezTo>
                <a:cubicBezTo>
                  <a:pt x="794" y="203"/>
                  <a:pt x="794" y="203"/>
                  <a:pt x="794" y="203"/>
                </a:cubicBezTo>
                <a:cubicBezTo>
                  <a:pt x="793" y="205"/>
                  <a:pt x="793" y="205"/>
                  <a:pt x="793" y="205"/>
                </a:cubicBezTo>
                <a:cubicBezTo>
                  <a:pt x="791" y="205"/>
                  <a:pt x="791" y="205"/>
                  <a:pt x="791" y="205"/>
                </a:cubicBezTo>
                <a:cubicBezTo>
                  <a:pt x="791" y="205"/>
                  <a:pt x="791" y="205"/>
                  <a:pt x="791" y="205"/>
                </a:cubicBezTo>
                <a:cubicBezTo>
                  <a:pt x="792" y="206"/>
                  <a:pt x="792" y="206"/>
                  <a:pt x="792" y="206"/>
                </a:cubicBezTo>
                <a:cubicBezTo>
                  <a:pt x="793" y="208"/>
                  <a:pt x="793" y="208"/>
                  <a:pt x="793" y="208"/>
                </a:cubicBezTo>
                <a:cubicBezTo>
                  <a:pt x="792" y="209"/>
                  <a:pt x="792" y="209"/>
                  <a:pt x="792" y="209"/>
                </a:cubicBezTo>
                <a:cubicBezTo>
                  <a:pt x="793" y="209"/>
                  <a:pt x="793" y="209"/>
                  <a:pt x="793" y="209"/>
                </a:cubicBezTo>
                <a:cubicBezTo>
                  <a:pt x="791" y="211"/>
                  <a:pt x="791" y="211"/>
                  <a:pt x="791" y="211"/>
                </a:cubicBezTo>
                <a:cubicBezTo>
                  <a:pt x="792" y="212"/>
                  <a:pt x="792" y="212"/>
                  <a:pt x="792" y="212"/>
                </a:cubicBezTo>
                <a:cubicBezTo>
                  <a:pt x="791" y="215"/>
                  <a:pt x="791" y="215"/>
                  <a:pt x="791" y="215"/>
                </a:cubicBezTo>
                <a:cubicBezTo>
                  <a:pt x="790" y="217"/>
                  <a:pt x="790" y="217"/>
                  <a:pt x="790" y="217"/>
                </a:cubicBezTo>
                <a:cubicBezTo>
                  <a:pt x="790" y="219"/>
                  <a:pt x="790" y="219"/>
                  <a:pt x="790" y="219"/>
                </a:cubicBezTo>
                <a:cubicBezTo>
                  <a:pt x="789" y="220"/>
                  <a:pt x="789" y="220"/>
                  <a:pt x="789" y="220"/>
                </a:cubicBezTo>
                <a:cubicBezTo>
                  <a:pt x="790" y="220"/>
                  <a:pt x="790" y="220"/>
                  <a:pt x="790" y="220"/>
                </a:cubicBezTo>
                <a:cubicBezTo>
                  <a:pt x="791" y="221"/>
                  <a:pt x="791" y="221"/>
                  <a:pt x="791" y="221"/>
                </a:cubicBezTo>
                <a:cubicBezTo>
                  <a:pt x="790" y="221"/>
                  <a:pt x="790" y="221"/>
                  <a:pt x="790" y="221"/>
                </a:cubicBezTo>
                <a:cubicBezTo>
                  <a:pt x="792" y="224"/>
                  <a:pt x="792" y="224"/>
                  <a:pt x="792" y="224"/>
                </a:cubicBezTo>
                <a:cubicBezTo>
                  <a:pt x="792" y="225"/>
                  <a:pt x="792" y="225"/>
                  <a:pt x="792" y="225"/>
                </a:cubicBezTo>
                <a:cubicBezTo>
                  <a:pt x="791" y="225"/>
                  <a:pt x="791" y="225"/>
                  <a:pt x="791" y="225"/>
                </a:cubicBezTo>
                <a:cubicBezTo>
                  <a:pt x="790" y="225"/>
                  <a:pt x="790" y="225"/>
                  <a:pt x="790" y="225"/>
                </a:cubicBezTo>
                <a:cubicBezTo>
                  <a:pt x="788" y="224"/>
                  <a:pt x="788" y="224"/>
                  <a:pt x="788" y="224"/>
                </a:cubicBezTo>
                <a:cubicBezTo>
                  <a:pt x="788" y="224"/>
                  <a:pt x="788" y="224"/>
                  <a:pt x="788" y="224"/>
                </a:cubicBezTo>
                <a:cubicBezTo>
                  <a:pt x="786" y="222"/>
                  <a:pt x="786" y="222"/>
                  <a:pt x="786" y="222"/>
                </a:cubicBezTo>
                <a:cubicBezTo>
                  <a:pt x="787" y="222"/>
                  <a:pt x="787" y="222"/>
                  <a:pt x="787" y="222"/>
                </a:cubicBezTo>
                <a:cubicBezTo>
                  <a:pt x="786" y="222"/>
                  <a:pt x="786" y="222"/>
                  <a:pt x="786" y="222"/>
                </a:cubicBezTo>
                <a:cubicBezTo>
                  <a:pt x="785" y="222"/>
                  <a:pt x="785" y="222"/>
                  <a:pt x="785" y="222"/>
                </a:cubicBezTo>
                <a:cubicBezTo>
                  <a:pt x="784" y="222"/>
                  <a:pt x="784" y="222"/>
                  <a:pt x="784" y="222"/>
                </a:cubicBezTo>
                <a:cubicBezTo>
                  <a:pt x="784" y="221"/>
                  <a:pt x="784" y="221"/>
                  <a:pt x="784" y="221"/>
                </a:cubicBezTo>
                <a:cubicBezTo>
                  <a:pt x="780" y="219"/>
                  <a:pt x="780" y="219"/>
                  <a:pt x="780" y="219"/>
                </a:cubicBezTo>
                <a:cubicBezTo>
                  <a:pt x="779" y="218"/>
                  <a:pt x="779" y="218"/>
                  <a:pt x="779" y="218"/>
                </a:cubicBezTo>
                <a:cubicBezTo>
                  <a:pt x="777" y="220"/>
                  <a:pt x="777" y="220"/>
                  <a:pt x="777" y="220"/>
                </a:cubicBezTo>
                <a:cubicBezTo>
                  <a:pt x="776" y="219"/>
                  <a:pt x="776" y="219"/>
                  <a:pt x="776" y="219"/>
                </a:cubicBezTo>
                <a:cubicBezTo>
                  <a:pt x="775" y="219"/>
                  <a:pt x="775" y="219"/>
                  <a:pt x="775" y="219"/>
                </a:cubicBezTo>
                <a:cubicBezTo>
                  <a:pt x="773" y="221"/>
                  <a:pt x="773" y="221"/>
                  <a:pt x="773" y="221"/>
                </a:cubicBezTo>
                <a:cubicBezTo>
                  <a:pt x="772" y="221"/>
                  <a:pt x="772" y="221"/>
                  <a:pt x="772" y="221"/>
                </a:cubicBezTo>
                <a:cubicBezTo>
                  <a:pt x="771" y="224"/>
                  <a:pt x="771" y="224"/>
                  <a:pt x="771" y="224"/>
                </a:cubicBezTo>
                <a:cubicBezTo>
                  <a:pt x="770" y="224"/>
                  <a:pt x="770" y="224"/>
                  <a:pt x="770" y="224"/>
                </a:cubicBezTo>
                <a:cubicBezTo>
                  <a:pt x="769" y="224"/>
                  <a:pt x="769" y="224"/>
                  <a:pt x="769" y="224"/>
                </a:cubicBezTo>
                <a:cubicBezTo>
                  <a:pt x="770" y="225"/>
                  <a:pt x="770" y="225"/>
                  <a:pt x="770" y="225"/>
                </a:cubicBezTo>
                <a:cubicBezTo>
                  <a:pt x="769" y="226"/>
                  <a:pt x="769" y="226"/>
                  <a:pt x="769" y="226"/>
                </a:cubicBezTo>
                <a:cubicBezTo>
                  <a:pt x="770" y="228"/>
                  <a:pt x="770" y="228"/>
                  <a:pt x="770" y="228"/>
                </a:cubicBezTo>
                <a:cubicBezTo>
                  <a:pt x="769" y="229"/>
                  <a:pt x="769" y="229"/>
                  <a:pt x="769" y="229"/>
                </a:cubicBezTo>
                <a:cubicBezTo>
                  <a:pt x="769" y="232"/>
                  <a:pt x="769" y="232"/>
                  <a:pt x="769" y="232"/>
                </a:cubicBezTo>
                <a:cubicBezTo>
                  <a:pt x="768" y="233"/>
                  <a:pt x="768" y="233"/>
                  <a:pt x="768" y="233"/>
                </a:cubicBezTo>
                <a:cubicBezTo>
                  <a:pt x="767" y="232"/>
                  <a:pt x="767" y="232"/>
                  <a:pt x="767" y="232"/>
                </a:cubicBezTo>
                <a:cubicBezTo>
                  <a:pt x="766" y="228"/>
                  <a:pt x="766" y="228"/>
                  <a:pt x="766" y="228"/>
                </a:cubicBezTo>
                <a:cubicBezTo>
                  <a:pt x="766" y="226"/>
                  <a:pt x="766" y="226"/>
                  <a:pt x="766" y="226"/>
                </a:cubicBezTo>
                <a:cubicBezTo>
                  <a:pt x="765" y="226"/>
                  <a:pt x="765" y="226"/>
                  <a:pt x="765" y="226"/>
                </a:cubicBezTo>
                <a:cubicBezTo>
                  <a:pt x="764" y="225"/>
                  <a:pt x="764" y="225"/>
                  <a:pt x="764" y="225"/>
                </a:cubicBezTo>
                <a:cubicBezTo>
                  <a:pt x="764" y="226"/>
                  <a:pt x="764" y="226"/>
                  <a:pt x="764" y="226"/>
                </a:cubicBezTo>
                <a:cubicBezTo>
                  <a:pt x="762" y="229"/>
                  <a:pt x="762" y="229"/>
                  <a:pt x="762" y="229"/>
                </a:cubicBezTo>
                <a:cubicBezTo>
                  <a:pt x="761" y="229"/>
                  <a:pt x="761" y="229"/>
                  <a:pt x="761" y="229"/>
                </a:cubicBezTo>
                <a:cubicBezTo>
                  <a:pt x="761" y="231"/>
                  <a:pt x="761" y="231"/>
                  <a:pt x="761" y="231"/>
                </a:cubicBezTo>
                <a:cubicBezTo>
                  <a:pt x="762" y="231"/>
                  <a:pt x="762" y="231"/>
                  <a:pt x="762" y="231"/>
                </a:cubicBezTo>
                <a:cubicBezTo>
                  <a:pt x="761" y="234"/>
                  <a:pt x="761" y="234"/>
                  <a:pt x="761" y="234"/>
                </a:cubicBezTo>
                <a:cubicBezTo>
                  <a:pt x="760" y="232"/>
                  <a:pt x="760" y="232"/>
                  <a:pt x="760" y="232"/>
                </a:cubicBezTo>
                <a:cubicBezTo>
                  <a:pt x="759" y="232"/>
                  <a:pt x="759" y="232"/>
                  <a:pt x="759" y="232"/>
                </a:cubicBezTo>
                <a:cubicBezTo>
                  <a:pt x="759" y="232"/>
                  <a:pt x="759" y="232"/>
                  <a:pt x="759" y="232"/>
                </a:cubicBezTo>
                <a:cubicBezTo>
                  <a:pt x="758" y="232"/>
                  <a:pt x="758" y="232"/>
                  <a:pt x="758" y="232"/>
                </a:cubicBezTo>
                <a:cubicBezTo>
                  <a:pt x="757" y="233"/>
                  <a:pt x="757" y="233"/>
                  <a:pt x="757" y="233"/>
                </a:cubicBezTo>
                <a:cubicBezTo>
                  <a:pt x="757" y="234"/>
                  <a:pt x="757" y="234"/>
                  <a:pt x="757" y="234"/>
                </a:cubicBezTo>
                <a:cubicBezTo>
                  <a:pt x="755" y="233"/>
                  <a:pt x="755" y="233"/>
                  <a:pt x="755" y="233"/>
                </a:cubicBezTo>
                <a:cubicBezTo>
                  <a:pt x="754" y="233"/>
                  <a:pt x="754" y="233"/>
                  <a:pt x="754" y="233"/>
                </a:cubicBezTo>
                <a:cubicBezTo>
                  <a:pt x="754" y="234"/>
                  <a:pt x="754" y="234"/>
                  <a:pt x="754" y="234"/>
                </a:cubicBezTo>
                <a:cubicBezTo>
                  <a:pt x="755" y="235"/>
                  <a:pt x="755" y="235"/>
                  <a:pt x="755" y="235"/>
                </a:cubicBezTo>
                <a:cubicBezTo>
                  <a:pt x="754" y="235"/>
                  <a:pt x="754" y="235"/>
                  <a:pt x="754" y="235"/>
                </a:cubicBezTo>
                <a:cubicBezTo>
                  <a:pt x="754" y="237"/>
                  <a:pt x="754" y="237"/>
                  <a:pt x="754" y="237"/>
                </a:cubicBezTo>
                <a:cubicBezTo>
                  <a:pt x="754" y="238"/>
                  <a:pt x="754" y="238"/>
                  <a:pt x="754" y="238"/>
                </a:cubicBezTo>
                <a:cubicBezTo>
                  <a:pt x="755" y="239"/>
                  <a:pt x="755" y="239"/>
                  <a:pt x="755" y="239"/>
                </a:cubicBezTo>
                <a:cubicBezTo>
                  <a:pt x="755" y="240"/>
                  <a:pt x="755" y="240"/>
                  <a:pt x="755" y="240"/>
                </a:cubicBezTo>
                <a:cubicBezTo>
                  <a:pt x="755" y="241"/>
                  <a:pt x="755" y="241"/>
                  <a:pt x="755" y="241"/>
                </a:cubicBezTo>
                <a:cubicBezTo>
                  <a:pt x="755" y="242"/>
                  <a:pt x="755" y="242"/>
                  <a:pt x="755" y="242"/>
                </a:cubicBezTo>
                <a:cubicBezTo>
                  <a:pt x="756" y="242"/>
                  <a:pt x="756" y="242"/>
                  <a:pt x="756" y="242"/>
                </a:cubicBezTo>
                <a:cubicBezTo>
                  <a:pt x="757" y="243"/>
                  <a:pt x="757" y="243"/>
                  <a:pt x="757" y="243"/>
                </a:cubicBezTo>
                <a:cubicBezTo>
                  <a:pt x="757" y="244"/>
                  <a:pt x="757" y="244"/>
                  <a:pt x="757" y="244"/>
                </a:cubicBezTo>
                <a:cubicBezTo>
                  <a:pt x="757" y="244"/>
                  <a:pt x="757" y="244"/>
                  <a:pt x="757" y="244"/>
                </a:cubicBezTo>
                <a:cubicBezTo>
                  <a:pt x="757" y="245"/>
                  <a:pt x="757" y="245"/>
                  <a:pt x="757" y="245"/>
                </a:cubicBezTo>
                <a:cubicBezTo>
                  <a:pt x="758" y="245"/>
                  <a:pt x="758" y="245"/>
                  <a:pt x="758" y="245"/>
                </a:cubicBezTo>
                <a:cubicBezTo>
                  <a:pt x="758" y="246"/>
                  <a:pt x="758" y="246"/>
                  <a:pt x="758" y="246"/>
                </a:cubicBezTo>
                <a:cubicBezTo>
                  <a:pt x="758" y="247"/>
                  <a:pt x="758" y="247"/>
                  <a:pt x="758" y="247"/>
                </a:cubicBezTo>
                <a:cubicBezTo>
                  <a:pt x="757" y="246"/>
                  <a:pt x="757" y="246"/>
                  <a:pt x="757" y="246"/>
                </a:cubicBezTo>
                <a:cubicBezTo>
                  <a:pt x="756" y="246"/>
                  <a:pt x="756" y="246"/>
                  <a:pt x="756" y="246"/>
                </a:cubicBezTo>
                <a:cubicBezTo>
                  <a:pt x="756" y="247"/>
                  <a:pt x="756" y="247"/>
                  <a:pt x="756" y="247"/>
                </a:cubicBezTo>
                <a:cubicBezTo>
                  <a:pt x="757" y="248"/>
                  <a:pt x="757" y="248"/>
                  <a:pt x="757" y="248"/>
                </a:cubicBezTo>
                <a:cubicBezTo>
                  <a:pt x="758" y="248"/>
                  <a:pt x="758" y="248"/>
                  <a:pt x="758" y="248"/>
                </a:cubicBezTo>
                <a:cubicBezTo>
                  <a:pt x="758" y="249"/>
                  <a:pt x="758" y="249"/>
                  <a:pt x="758" y="249"/>
                </a:cubicBezTo>
                <a:cubicBezTo>
                  <a:pt x="758" y="250"/>
                  <a:pt x="758" y="250"/>
                  <a:pt x="758" y="250"/>
                </a:cubicBezTo>
                <a:cubicBezTo>
                  <a:pt x="758" y="252"/>
                  <a:pt x="758" y="252"/>
                  <a:pt x="758" y="252"/>
                </a:cubicBezTo>
                <a:cubicBezTo>
                  <a:pt x="757" y="253"/>
                  <a:pt x="757" y="253"/>
                  <a:pt x="757" y="253"/>
                </a:cubicBezTo>
                <a:cubicBezTo>
                  <a:pt x="758" y="255"/>
                  <a:pt x="758" y="255"/>
                  <a:pt x="758" y="255"/>
                </a:cubicBezTo>
                <a:cubicBezTo>
                  <a:pt x="757" y="255"/>
                  <a:pt x="757" y="255"/>
                  <a:pt x="757" y="255"/>
                </a:cubicBezTo>
                <a:cubicBezTo>
                  <a:pt x="758" y="257"/>
                  <a:pt x="758" y="257"/>
                  <a:pt x="758" y="257"/>
                </a:cubicBezTo>
                <a:cubicBezTo>
                  <a:pt x="758" y="257"/>
                  <a:pt x="758" y="257"/>
                  <a:pt x="758" y="257"/>
                </a:cubicBezTo>
                <a:cubicBezTo>
                  <a:pt x="758" y="259"/>
                  <a:pt x="758" y="259"/>
                  <a:pt x="758" y="259"/>
                </a:cubicBezTo>
                <a:cubicBezTo>
                  <a:pt x="759" y="261"/>
                  <a:pt x="759" y="261"/>
                  <a:pt x="759" y="261"/>
                </a:cubicBezTo>
                <a:cubicBezTo>
                  <a:pt x="758" y="262"/>
                  <a:pt x="758" y="262"/>
                  <a:pt x="758" y="262"/>
                </a:cubicBezTo>
                <a:cubicBezTo>
                  <a:pt x="759" y="262"/>
                  <a:pt x="759" y="262"/>
                  <a:pt x="759" y="262"/>
                </a:cubicBezTo>
                <a:cubicBezTo>
                  <a:pt x="761" y="263"/>
                  <a:pt x="761" y="263"/>
                  <a:pt x="761" y="263"/>
                </a:cubicBezTo>
                <a:cubicBezTo>
                  <a:pt x="762" y="266"/>
                  <a:pt x="762" y="266"/>
                  <a:pt x="762" y="266"/>
                </a:cubicBezTo>
                <a:cubicBezTo>
                  <a:pt x="764" y="266"/>
                  <a:pt x="764" y="266"/>
                  <a:pt x="764" y="266"/>
                </a:cubicBezTo>
                <a:cubicBezTo>
                  <a:pt x="764" y="266"/>
                  <a:pt x="764" y="266"/>
                  <a:pt x="764" y="266"/>
                </a:cubicBezTo>
                <a:cubicBezTo>
                  <a:pt x="764" y="265"/>
                  <a:pt x="764" y="265"/>
                  <a:pt x="764" y="265"/>
                </a:cubicBezTo>
                <a:cubicBezTo>
                  <a:pt x="763" y="263"/>
                  <a:pt x="763" y="263"/>
                  <a:pt x="763" y="263"/>
                </a:cubicBezTo>
                <a:cubicBezTo>
                  <a:pt x="763" y="262"/>
                  <a:pt x="763" y="262"/>
                  <a:pt x="763" y="262"/>
                </a:cubicBezTo>
                <a:cubicBezTo>
                  <a:pt x="764" y="261"/>
                  <a:pt x="764" y="261"/>
                  <a:pt x="764" y="261"/>
                </a:cubicBezTo>
                <a:cubicBezTo>
                  <a:pt x="765" y="262"/>
                  <a:pt x="765" y="262"/>
                  <a:pt x="765" y="262"/>
                </a:cubicBezTo>
                <a:cubicBezTo>
                  <a:pt x="767" y="263"/>
                  <a:pt x="767" y="263"/>
                  <a:pt x="767" y="263"/>
                </a:cubicBezTo>
                <a:cubicBezTo>
                  <a:pt x="768" y="263"/>
                  <a:pt x="768" y="263"/>
                  <a:pt x="768" y="263"/>
                </a:cubicBezTo>
                <a:cubicBezTo>
                  <a:pt x="769" y="263"/>
                  <a:pt x="769" y="263"/>
                  <a:pt x="769" y="263"/>
                </a:cubicBezTo>
                <a:cubicBezTo>
                  <a:pt x="769" y="264"/>
                  <a:pt x="769" y="264"/>
                  <a:pt x="769" y="264"/>
                </a:cubicBezTo>
                <a:cubicBezTo>
                  <a:pt x="769" y="265"/>
                  <a:pt x="769" y="265"/>
                  <a:pt x="769" y="265"/>
                </a:cubicBezTo>
                <a:cubicBezTo>
                  <a:pt x="770" y="266"/>
                  <a:pt x="770" y="266"/>
                  <a:pt x="770" y="266"/>
                </a:cubicBezTo>
                <a:cubicBezTo>
                  <a:pt x="769" y="267"/>
                  <a:pt x="769" y="267"/>
                  <a:pt x="769" y="267"/>
                </a:cubicBezTo>
                <a:cubicBezTo>
                  <a:pt x="769" y="268"/>
                  <a:pt x="769" y="268"/>
                  <a:pt x="769" y="268"/>
                </a:cubicBezTo>
                <a:cubicBezTo>
                  <a:pt x="769" y="269"/>
                  <a:pt x="769" y="269"/>
                  <a:pt x="769" y="269"/>
                </a:cubicBezTo>
                <a:cubicBezTo>
                  <a:pt x="768" y="270"/>
                  <a:pt x="768" y="270"/>
                  <a:pt x="768" y="270"/>
                </a:cubicBezTo>
                <a:cubicBezTo>
                  <a:pt x="769" y="272"/>
                  <a:pt x="769" y="272"/>
                  <a:pt x="769" y="272"/>
                </a:cubicBezTo>
                <a:cubicBezTo>
                  <a:pt x="770" y="274"/>
                  <a:pt x="770" y="274"/>
                  <a:pt x="770" y="274"/>
                </a:cubicBezTo>
                <a:cubicBezTo>
                  <a:pt x="770" y="276"/>
                  <a:pt x="770" y="276"/>
                  <a:pt x="770" y="276"/>
                </a:cubicBezTo>
                <a:cubicBezTo>
                  <a:pt x="771" y="277"/>
                  <a:pt x="771" y="277"/>
                  <a:pt x="771" y="277"/>
                </a:cubicBezTo>
                <a:cubicBezTo>
                  <a:pt x="772" y="276"/>
                  <a:pt x="772" y="276"/>
                  <a:pt x="772" y="276"/>
                </a:cubicBezTo>
                <a:cubicBezTo>
                  <a:pt x="772" y="276"/>
                  <a:pt x="772" y="276"/>
                  <a:pt x="772" y="276"/>
                </a:cubicBezTo>
                <a:cubicBezTo>
                  <a:pt x="773" y="275"/>
                  <a:pt x="773" y="275"/>
                  <a:pt x="773" y="275"/>
                </a:cubicBezTo>
                <a:cubicBezTo>
                  <a:pt x="773" y="274"/>
                  <a:pt x="773" y="274"/>
                  <a:pt x="773" y="274"/>
                </a:cubicBezTo>
                <a:cubicBezTo>
                  <a:pt x="773" y="275"/>
                  <a:pt x="773" y="275"/>
                  <a:pt x="773" y="275"/>
                </a:cubicBezTo>
                <a:cubicBezTo>
                  <a:pt x="775" y="275"/>
                  <a:pt x="775" y="275"/>
                  <a:pt x="775" y="275"/>
                </a:cubicBezTo>
                <a:cubicBezTo>
                  <a:pt x="775" y="278"/>
                  <a:pt x="775" y="278"/>
                  <a:pt x="775" y="278"/>
                </a:cubicBezTo>
                <a:cubicBezTo>
                  <a:pt x="778" y="281"/>
                  <a:pt x="778" y="281"/>
                  <a:pt x="778" y="281"/>
                </a:cubicBezTo>
                <a:cubicBezTo>
                  <a:pt x="779" y="283"/>
                  <a:pt x="779" y="283"/>
                  <a:pt x="779" y="283"/>
                </a:cubicBezTo>
                <a:cubicBezTo>
                  <a:pt x="778" y="283"/>
                  <a:pt x="778" y="283"/>
                  <a:pt x="778" y="283"/>
                </a:cubicBezTo>
                <a:cubicBezTo>
                  <a:pt x="778" y="285"/>
                  <a:pt x="778" y="285"/>
                  <a:pt x="778" y="285"/>
                </a:cubicBezTo>
                <a:cubicBezTo>
                  <a:pt x="777" y="286"/>
                  <a:pt x="777" y="286"/>
                  <a:pt x="777" y="286"/>
                </a:cubicBezTo>
                <a:cubicBezTo>
                  <a:pt x="775" y="284"/>
                  <a:pt x="775" y="284"/>
                  <a:pt x="775" y="284"/>
                </a:cubicBezTo>
                <a:cubicBezTo>
                  <a:pt x="774" y="284"/>
                  <a:pt x="774" y="284"/>
                  <a:pt x="774" y="284"/>
                </a:cubicBezTo>
                <a:cubicBezTo>
                  <a:pt x="773" y="282"/>
                  <a:pt x="773" y="282"/>
                  <a:pt x="773" y="282"/>
                </a:cubicBezTo>
                <a:cubicBezTo>
                  <a:pt x="774" y="281"/>
                  <a:pt x="774" y="281"/>
                  <a:pt x="774" y="281"/>
                </a:cubicBezTo>
                <a:cubicBezTo>
                  <a:pt x="774" y="279"/>
                  <a:pt x="774" y="279"/>
                  <a:pt x="774" y="279"/>
                </a:cubicBezTo>
                <a:cubicBezTo>
                  <a:pt x="774" y="278"/>
                  <a:pt x="774" y="278"/>
                  <a:pt x="774" y="278"/>
                </a:cubicBezTo>
                <a:cubicBezTo>
                  <a:pt x="773" y="279"/>
                  <a:pt x="773" y="279"/>
                  <a:pt x="773" y="279"/>
                </a:cubicBezTo>
                <a:cubicBezTo>
                  <a:pt x="773" y="279"/>
                  <a:pt x="773" y="279"/>
                  <a:pt x="773" y="279"/>
                </a:cubicBezTo>
                <a:cubicBezTo>
                  <a:pt x="773" y="280"/>
                  <a:pt x="773" y="280"/>
                  <a:pt x="773" y="280"/>
                </a:cubicBezTo>
                <a:cubicBezTo>
                  <a:pt x="772" y="280"/>
                  <a:pt x="772" y="280"/>
                  <a:pt x="772" y="280"/>
                </a:cubicBezTo>
                <a:cubicBezTo>
                  <a:pt x="771" y="282"/>
                  <a:pt x="771" y="282"/>
                  <a:pt x="771" y="282"/>
                </a:cubicBezTo>
                <a:cubicBezTo>
                  <a:pt x="771" y="283"/>
                  <a:pt x="771" y="283"/>
                  <a:pt x="771" y="283"/>
                </a:cubicBezTo>
                <a:cubicBezTo>
                  <a:pt x="773" y="282"/>
                  <a:pt x="773" y="282"/>
                  <a:pt x="773" y="282"/>
                </a:cubicBezTo>
                <a:cubicBezTo>
                  <a:pt x="773" y="284"/>
                  <a:pt x="773" y="284"/>
                  <a:pt x="773" y="284"/>
                </a:cubicBezTo>
                <a:cubicBezTo>
                  <a:pt x="772" y="285"/>
                  <a:pt x="772" y="285"/>
                  <a:pt x="772" y="285"/>
                </a:cubicBezTo>
                <a:cubicBezTo>
                  <a:pt x="772" y="287"/>
                  <a:pt x="772" y="287"/>
                  <a:pt x="772" y="287"/>
                </a:cubicBezTo>
                <a:cubicBezTo>
                  <a:pt x="772" y="288"/>
                  <a:pt x="772" y="288"/>
                  <a:pt x="772" y="288"/>
                </a:cubicBezTo>
                <a:cubicBezTo>
                  <a:pt x="772" y="292"/>
                  <a:pt x="772" y="292"/>
                  <a:pt x="772" y="292"/>
                </a:cubicBezTo>
                <a:cubicBezTo>
                  <a:pt x="773" y="293"/>
                  <a:pt x="773" y="293"/>
                  <a:pt x="773" y="293"/>
                </a:cubicBezTo>
                <a:cubicBezTo>
                  <a:pt x="773" y="294"/>
                  <a:pt x="773" y="294"/>
                  <a:pt x="773" y="294"/>
                </a:cubicBezTo>
                <a:cubicBezTo>
                  <a:pt x="776" y="299"/>
                  <a:pt x="776" y="299"/>
                  <a:pt x="776" y="299"/>
                </a:cubicBezTo>
                <a:cubicBezTo>
                  <a:pt x="777" y="299"/>
                  <a:pt x="777" y="299"/>
                  <a:pt x="777" y="299"/>
                </a:cubicBezTo>
                <a:cubicBezTo>
                  <a:pt x="779" y="302"/>
                  <a:pt x="779" y="302"/>
                  <a:pt x="779" y="302"/>
                </a:cubicBezTo>
                <a:cubicBezTo>
                  <a:pt x="781" y="303"/>
                  <a:pt x="781" y="303"/>
                  <a:pt x="781" y="303"/>
                </a:cubicBezTo>
                <a:cubicBezTo>
                  <a:pt x="780" y="304"/>
                  <a:pt x="780" y="304"/>
                  <a:pt x="780" y="304"/>
                </a:cubicBezTo>
                <a:cubicBezTo>
                  <a:pt x="780" y="305"/>
                  <a:pt x="780" y="305"/>
                  <a:pt x="780" y="305"/>
                </a:cubicBezTo>
                <a:cubicBezTo>
                  <a:pt x="776" y="307"/>
                  <a:pt x="776" y="307"/>
                  <a:pt x="776" y="307"/>
                </a:cubicBezTo>
                <a:cubicBezTo>
                  <a:pt x="776" y="306"/>
                  <a:pt x="776" y="306"/>
                  <a:pt x="776" y="306"/>
                </a:cubicBezTo>
                <a:cubicBezTo>
                  <a:pt x="774" y="307"/>
                  <a:pt x="774" y="307"/>
                  <a:pt x="774" y="307"/>
                </a:cubicBezTo>
                <a:cubicBezTo>
                  <a:pt x="773" y="307"/>
                  <a:pt x="773" y="307"/>
                  <a:pt x="773" y="307"/>
                </a:cubicBezTo>
                <a:cubicBezTo>
                  <a:pt x="774" y="308"/>
                  <a:pt x="774" y="308"/>
                  <a:pt x="774" y="308"/>
                </a:cubicBezTo>
                <a:cubicBezTo>
                  <a:pt x="772" y="310"/>
                  <a:pt x="772" y="310"/>
                  <a:pt x="772" y="310"/>
                </a:cubicBezTo>
                <a:cubicBezTo>
                  <a:pt x="772" y="312"/>
                  <a:pt x="772" y="312"/>
                  <a:pt x="772" y="312"/>
                </a:cubicBezTo>
                <a:cubicBezTo>
                  <a:pt x="771" y="312"/>
                  <a:pt x="771" y="312"/>
                  <a:pt x="771" y="312"/>
                </a:cubicBezTo>
                <a:cubicBezTo>
                  <a:pt x="772" y="314"/>
                  <a:pt x="772" y="314"/>
                  <a:pt x="772" y="314"/>
                </a:cubicBezTo>
                <a:cubicBezTo>
                  <a:pt x="772" y="317"/>
                  <a:pt x="772" y="317"/>
                  <a:pt x="772" y="317"/>
                </a:cubicBezTo>
                <a:cubicBezTo>
                  <a:pt x="773" y="320"/>
                  <a:pt x="773" y="320"/>
                  <a:pt x="773" y="320"/>
                </a:cubicBezTo>
                <a:cubicBezTo>
                  <a:pt x="775" y="321"/>
                  <a:pt x="775" y="321"/>
                  <a:pt x="775" y="321"/>
                </a:cubicBezTo>
                <a:cubicBezTo>
                  <a:pt x="775" y="323"/>
                  <a:pt x="775" y="323"/>
                  <a:pt x="775" y="323"/>
                </a:cubicBezTo>
                <a:cubicBezTo>
                  <a:pt x="776" y="324"/>
                  <a:pt x="776" y="324"/>
                  <a:pt x="776" y="324"/>
                </a:cubicBezTo>
                <a:cubicBezTo>
                  <a:pt x="777" y="325"/>
                  <a:pt x="777" y="325"/>
                  <a:pt x="777" y="325"/>
                </a:cubicBezTo>
                <a:cubicBezTo>
                  <a:pt x="776" y="325"/>
                  <a:pt x="776" y="325"/>
                  <a:pt x="776" y="325"/>
                </a:cubicBezTo>
                <a:cubicBezTo>
                  <a:pt x="775" y="324"/>
                  <a:pt x="775" y="324"/>
                  <a:pt x="775" y="324"/>
                </a:cubicBezTo>
                <a:cubicBezTo>
                  <a:pt x="774" y="325"/>
                  <a:pt x="774" y="325"/>
                  <a:pt x="774" y="325"/>
                </a:cubicBezTo>
                <a:cubicBezTo>
                  <a:pt x="773" y="326"/>
                  <a:pt x="773" y="326"/>
                  <a:pt x="773" y="326"/>
                </a:cubicBezTo>
                <a:cubicBezTo>
                  <a:pt x="772" y="326"/>
                  <a:pt x="772" y="326"/>
                  <a:pt x="772" y="326"/>
                </a:cubicBezTo>
                <a:cubicBezTo>
                  <a:pt x="770" y="328"/>
                  <a:pt x="770" y="328"/>
                  <a:pt x="770" y="328"/>
                </a:cubicBezTo>
                <a:cubicBezTo>
                  <a:pt x="769" y="327"/>
                  <a:pt x="769" y="327"/>
                  <a:pt x="769" y="327"/>
                </a:cubicBezTo>
                <a:cubicBezTo>
                  <a:pt x="768" y="328"/>
                  <a:pt x="768" y="328"/>
                  <a:pt x="768" y="328"/>
                </a:cubicBezTo>
                <a:cubicBezTo>
                  <a:pt x="769" y="329"/>
                  <a:pt x="769" y="329"/>
                  <a:pt x="769" y="329"/>
                </a:cubicBezTo>
                <a:cubicBezTo>
                  <a:pt x="771" y="329"/>
                  <a:pt x="771" y="329"/>
                  <a:pt x="771" y="329"/>
                </a:cubicBezTo>
                <a:cubicBezTo>
                  <a:pt x="770" y="330"/>
                  <a:pt x="770" y="330"/>
                  <a:pt x="770" y="330"/>
                </a:cubicBezTo>
                <a:cubicBezTo>
                  <a:pt x="770" y="331"/>
                  <a:pt x="770" y="331"/>
                  <a:pt x="770" y="331"/>
                </a:cubicBezTo>
                <a:cubicBezTo>
                  <a:pt x="771" y="332"/>
                  <a:pt x="771" y="332"/>
                  <a:pt x="771" y="332"/>
                </a:cubicBezTo>
                <a:cubicBezTo>
                  <a:pt x="771" y="333"/>
                  <a:pt x="771" y="333"/>
                  <a:pt x="771" y="333"/>
                </a:cubicBezTo>
                <a:cubicBezTo>
                  <a:pt x="770" y="332"/>
                  <a:pt x="770" y="332"/>
                  <a:pt x="770" y="332"/>
                </a:cubicBezTo>
                <a:cubicBezTo>
                  <a:pt x="771" y="334"/>
                  <a:pt x="771" y="334"/>
                  <a:pt x="771" y="334"/>
                </a:cubicBezTo>
                <a:cubicBezTo>
                  <a:pt x="770" y="335"/>
                  <a:pt x="770" y="335"/>
                  <a:pt x="770" y="335"/>
                </a:cubicBezTo>
                <a:cubicBezTo>
                  <a:pt x="771" y="335"/>
                  <a:pt x="771" y="335"/>
                  <a:pt x="771" y="335"/>
                </a:cubicBezTo>
                <a:cubicBezTo>
                  <a:pt x="772" y="335"/>
                  <a:pt x="772" y="335"/>
                  <a:pt x="772" y="335"/>
                </a:cubicBezTo>
                <a:cubicBezTo>
                  <a:pt x="773" y="336"/>
                  <a:pt x="773" y="336"/>
                  <a:pt x="773" y="336"/>
                </a:cubicBezTo>
                <a:cubicBezTo>
                  <a:pt x="772" y="337"/>
                  <a:pt x="772" y="337"/>
                  <a:pt x="772" y="337"/>
                </a:cubicBezTo>
                <a:cubicBezTo>
                  <a:pt x="772" y="339"/>
                  <a:pt x="772" y="339"/>
                  <a:pt x="772" y="339"/>
                </a:cubicBezTo>
                <a:cubicBezTo>
                  <a:pt x="773" y="340"/>
                  <a:pt x="773" y="340"/>
                  <a:pt x="773" y="340"/>
                </a:cubicBezTo>
                <a:cubicBezTo>
                  <a:pt x="772" y="343"/>
                  <a:pt x="772" y="343"/>
                  <a:pt x="772" y="343"/>
                </a:cubicBezTo>
                <a:cubicBezTo>
                  <a:pt x="772" y="344"/>
                  <a:pt x="772" y="344"/>
                  <a:pt x="772" y="344"/>
                </a:cubicBezTo>
                <a:cubicBezTo>
                  <a:pt x="772" y="344"/>
                  <a:pt x="772" y="344"/>
                  <a:pt x="772" y="344"/>
                </a:cubicBezTo>
                <a:cubicBezTo>
                  <a:pt x="772" y="345"/>
                  <a:pt x="772" y="345"/>
                  <a:pt x="772" y="345"/>
                </a:cubicBezTo>
                <a:cubicBezTo>
                  <a:pt x="770" y="347"/>
                  <a:pt x="770" y="347"/>
                  <a:pt x="770" y="347"/>
                </a:cubicBezTo>
                <a:cubicBezTo>
                  <a:pt x="770" y="348"/>
                  <a:pt x="770" y="348"/>
                  <a:pt x="770" y="348"/>
                </a:cubicBezTo>
                <a:cubicBezTo>
                  <a:pt x="770" y="348"/>
                  <a:pt x="770" y="348"/>
                  <a:pt x="770" y="348"/>
                </a:cubicBezTo>
                <a:cubicBezTo>
                  <a:pt x="769" y="351"/>
                  <a:pt x="769" y="351"/>
                  <a:pt x="769" y="351"/>
                </a:cubicBezTo>
                <a:cubicBezTo>
                  <a:pt x="768" y="354"/>
                  <a:pt x="768" y="354"/>
                  <a:pt x="768" y="354"/>
                </a:cubicBezTo>
                <a:cubicBezTo>
                  <a:pt x="768" y="353"/>
                  <a:pt x="768" y="353"/>
                  <a:pt x="768" y="353"/>
                </a:cubicBezTo>
                <a:cubicBezTo>
                  <a:pt x="767" y="352"/>
                  <a:pt x="767" y="352"/>
                  <a:pt x="767" y="352"/>
                </a:cubicBezTo>
                <a:cubicBezTo>
                  <a:pt x="768" y="350"/>
                  <a:pt x="768" y="350"/>
                  <a:pt x="768" y="350"/>
                </a:cubicBezTo>
                <a:cubicBezTo>
                  <a:pt x="767" y="350"/>
                  <a:pt x="767" y="350"/>
                  <a:pt x="767" y="350"/>
                </a:cubicBezTo>
                <a:cubicBezTo>
                  <a:pt x="765" y="349"/>
                  <a:pt x="765" y="349"/>
                  <a:pt x="765" y="349"/>
                </a:cubicBezTo>
                <a:cubicBezTo>
                  <a:pt x="763" y="347"/>
                  <a:pt x="763" y="347"/>
                  <a:pt x="763" y="347"/>
                </a:cubicBezTo>
                <a:cubicBezTo>
                  <a:pt x="763" y="345"/>
                  <a:pt x="763" y="345"/>
                  <a:pt x="763" y="345"/>
                </a:cubicBezTo>
                <a:cubicBezTo>
                  <a:pt x="761" y="340"/>
                  <a:pt x="761" y="340"/>
                  <a:pt x="761" y="340"/>
                </a:cubicBezTo>
                <a:cubicBezTo>
                  <a:pt x="759" y="337"/>
                  <a:pt x="759" y="337"/>
                  <a:pt x="759" y="337"/>
                </a:cubicBezTo>
                <a:cubicBezTo>
                  <a:pt x="760" y="337"/>
                  <a:pt x="760" y="337"/>
                  <a:pt x="760" y="337"/>
                </a:cubicBezTo>
                <a:cubicBezTo>
                  <a:pt x="761" y="337"/>
                  <a:pt x="761" y="337"/>
                  <a:pt x="761" y="337"/>
                </a:cubicBezTo>
                <a:cubicBezTo>
                  <a:pt x="761" y="336"/>
                  <a:pt x="761" y="336"/>
                  <a:pt x="761" y="336"/>
                </a:cubicBezTo>
                <a:cubicBezTo>
                  <a:pt x="760" y="336"/>
                  <a:pt x="760" y="336"/>
                  <a:pt x="760" y="336"/>
                </a:cubicBezTo>
                <a:cubicBezTo>
                  <a:pt x="759" y="336"/>
                  <a:pt x="759" y="336"/>
                  <a:pt x="759" y="336"/>
                </a:cubicBezTo>
                <a:cubicBezTo>
                  <a:pt x="757" y="335"/>
                  <a:pt x="757" y="335"/>
                  <a:pt x="757" y="335"/>
                </a:cubicBezTo>
                <a:cubicBezTo>
                  <a:pt x="752" y="326"/>
                  <a:pt x="752" y="326"/>
                  <a:pt x="752" y="326"/>
                </a:cubicBezTo>
                <a:cubicBezTo>
                  <a:pt x="747" y="321"/>
                  <a:pt x="747" y="321"/>
                  <a:pt x="747" y="321"/>
                </a:cubicBezTo>
                <a:cubicBezTo>
                  <a:pt x="747" y="319"/>
                  <a:pt x="747" y="319"/>
                  <a:pt x="747" y="319"/>
                </a:cubicBezTo>
                <a:cubicBezTo>
                  <a:pt x="746" y="317"/>
                  <a:pt x="746" y="317"/>
                  <a:pt x="746" y="317"/>
                </a:cubicBezTo>
                <a:cubicBezTo>
                  <a:pt x="742" y="312"/>
                  <a:pt x="742" y="312"/>
                  <a:pt x="742" y="312"/>
                </a:cubicBezTo>
                <a:cubicBezTo>
                  <a:pt x="739" y="305"/>
                  <a:pt x="739" y="305"/>
                  <a:pt x="739" y="305"/>
                </a:cubicBezTo>
                <a:cubicBezTo>
                  <a:pt x="736" y="299"/>
                  <a:pt x="736" y="299"/>
                  <a:pt x="736" y="299"/>
                </a:cubicBezTo>
                <a:cubicBezTo>
                  <a:pt x="736" y="297"/>
                  <a:pt x="736" y="297"/>
                  <a:pt x="736" y="297"/>
                </a:cubicBezTo>
                <a:cubicBezTo>
                  <a:pt x="734" y="294"/>
                  <a:pt x="734" y="294"/>
                  <a:pt x="734" y="294"/>
                </a:cubicBezTo>
                <a:cubicBezTo>
                  <a:pt x="734" y="290"/>
                  <a:pt x="734" y="290"/>
                  <a:pt x="734" y="290"/>
                </a:cubicBezTo>
                <a:cubicBezTo>
                  <a:pt x="733" y="287"/>
                  <a:pt x="733" y="287"/>
                  <a:pt x="733" y="287"/>
                </a:cubicBezTo>
                <a:cubicBezTo>
                  <a:pt x="733" y="285"/>
                  <a:pt x="733" y="285"/>
                  <a:pt x="733" y="285"/>
                </a:cubicBezTo>
                <a:cubicBezTo>
                  <a:pt x="734" y="283"/>
                  <a:pt x="734" y="283"/>
                  <a:pt x="734" y="283"/>
                </a:cubicBezTo>
                <a:cubicBezTo>
                  <a:pt x="735" y="281"/>
                  <a:pt x="735" y="281"/>
                  <a:pt x="735" y="281"/>
                </a:cubicBezTo>
                <a:cubicBezTo>
                  <a:pt x="736" y="281"/>
                  <a:pt x="736" y="281"/>
                  <a:pt x="736" y="281"/>
                </a:cubicBezTo>
                <a:cubicBezTo>
                  <a:pt x="735" y="280"/>
                  <a:pt x="735" y="280"/>
                  <a:pt x="735" y="280"/>
                </a:cubicBezTo>
                <a:cubicBezTo>
                  <a:pt x="736" y="279"/>
                  <a:pt x="736" y="279"/>
                  <a:pt x="736" y="279"/>
                </a:cubicBezTo>
                <a:cubicBezTo>
                  <a:pt x="736" y="276"/>
                  <a:pt x="736" y="276"/>
                  <a:pt x="736" y="276"/>
                </a:cubicBezTo>
                <a:cubicBezTo>
                  <a:pt x="733" y="273"/>
                  <a:pt x="733" y="273"/>
                  <a:pt x="733" y="273"/>
                </a:cubicBezTo>
                <a:cubicBezTo>
                  <a:pt x="732" y="273"/>
                  <a:pt x="732" y="273"/>
                  <a:pt x="732" y="273"/>
                </a:cubicBezTo>
                <a:cubicBezTo>
                  <a:pt x="732" y="272"/>
                  <a:pt x="732" y="272"/>
                  <a:pt x="732" y="272"/>
                </a:cubicBezTo>
                <a:cubicBezTo>
                  <a:pt x="733" y="271"/>
                  <a:pt x="733" y="271"/>
                  <a:pt x="733" y="271"/>
                </a:cubicBezTo>
                <a:cubicBezTo>
                  <a:pt x="735" y="272"/>
                  <a:pt x="735" y="272"/>
                  <a:pt x="735" y="272"/>
                </a:cubicBezTo>
                <a:cubicBezTo>
                  <a:pt x="737" y="270"/>
                  <a:pt x="737" y="270"/>
                  <a:pt x="737" y="270"/>
                </a:cubicBezTo>
                <a:cubicBezTo>
                  <a:pt x="736" y="269"/>
                  <a:pt x="736" y="269"/>
                  <a:pt x="736" y="269"/>
                </a:cubicBezTo>
                <a:cubicBezTo>
                  <a:pt x="736" y="267"/>
                  <a:pt x="736" y="267"/>
                  <a:pt x="736" y="267"/>
                </a:cubicBezTo>
                <a:cubicBezTo>
                  <a:pt x="738" y="267"/>
                  <a:pt x="738" y="267"/>
                  <a:pt x="738" y="267"/>
                </a:cubicBezTo>
                <a:cubicBezTo>
                  <a:pt x="740" y="267"/>
                  <a:pt x="740" y="267"/>
                  <a:pt x="740" y="267"/>
                </a:cubicBezTo>
                <a:cubicBezTo>
                  <a:pt x="739" y="265"/>
                  <a:pt x="739" y="265"/>
                  <a:pt x="739" y="265"/>
                </a:cubicBezTo>
                <a:cubicBezTo>
                  <a:pt x="741" y="262"/>
                  <a:pt x="741" y="262"/>
                  <a:pt x="741" y="262"/>
                </a:cubicBezTo>
                <a:cubicBezTo>
                  <a:pt x="740" y="259"/>
                  <a:pt x="740" y="259"/>
                  <a:pt x="740" y="259"/>
                </a:cubicBezTo>
                <a:cubicBezTo>
                  <a:pt x="740" y="257"/>
                  <a:pt x="740" y="257"/>
                  <a:pt x="740" y="257"/>
                </a:cubicBezTo>
                <a:cubicBezTo>
                  <a:pt x="739" y="255"/>
                  <a:pt x="739" y="255"/>
                  <a:pt x="739" y="255"/>
                </a:cubicBezTo>
                <a:cubicBezTo>
                  <a:pt x="740" y="254"/>
                  <a:pt x="740" y="254"/>
                  <a:pt x="740" y="254"/>
                </a:cubicBezTo>
                <a:cubicBezTo>
                  <a:pt x="740" y="253"/>
                  <a:pt x="740" y="253"/>
                  <a:pt x="740" y="253"/>
                </a:cubicBezTo>
                <a:cubicBezTo>
                  <a:pt x="740" y="252"/>
                  <a:pt x="740" y="252"/>
                  <a:pt x="740" y="252"/>
                </a:cubicBezTo>
                <a:cubicBezTo>
                  <a:pt x="740" y="250"/>
                  <a:pt x="740" y="250"/>
                  <a:pt x="740" y="250"/>
                </a:cubicBezTo>
                <a:cubicBezTo>
                  <a:pt x="741" y="250"/>
                  <a:pt x="741" y="250"/>
                  <a:pt x="741" y="250"/>
                </a:cubicBezTo>
                <a:cubicBezTo>
                  <a:pt x="740" y="249"/>
                  <a:pt x="740" y="249"/>
                  <a:pt x="740" y="249"/>
                </a:cubicBezTo>
                <a:cubicBezTo>
                  <a:pt x="740" y="248"/>
                  <a:pt x="740" y="248"/>
                  <a:pt x="740" y="248"/>
                </a:cubicBezTo>
                <a:cubicBezTo>
                  <a:pt x="740" y="247"/>
                  <a:pt x="740" y="247"/>
                  <a:pt x="740" y="247"/>
                </a:cubicBezTo>
                <a:cubicBezTo>
                  <a:pt x="740" y="245"/>
                  <a:pt x="740" y="245"/>
                  <a:pt x="740" y="245"/>
                </a:cubicBezTo>
                <a:cubicBezTo>
                  <a:pt x="740" y="244"/>
                  <a:pt x="740" y="244"/>
                  <a:pt x="740" y="244"/>
                </a:cubicBezTo>
                <a:cubicBezTo>
                  <a:pt x="740" y="243"/>
                  <a:pt x="740" y="243"/>
                  <a:pt x="740" y="243"/>
                </a:cubicBezTo>
                <a:cubicBezTo>
                  <a:pt x="741" y="243"/>
                  <a:pt x="741" y="243"/>
                  <a:pt x="741" y="243"/>
                </a:cubicBezTo>
                <a:cubicBezTo>
                  <a:pt x="742" y="242"/>
                  <a:pt x="742" y="242"/>
                  <a:pt x="742" y="242"/>
                </a:cubicBezTo>
                <a:cubicBezTo>
                  <a:pt x="742" y="240"/>
                  <a:pt x="742" y="240"/>
                  <a:pt x="742" y="240"/>
                </a:cubicBezTo>
                <a:cubicBezTo>
                  <a:pt x="742" y="237"/>
                  <a:pt x="742" y="237"/>
                  <a:pt x="742" y="237"/>
                </a:cubicBezTo>
                <a:cubicBezTo>
                  <a:pt x="741" y="237"/>
                  <a:pt x="741" y="237"/>
                  <a:pt x="741" y="237"/>
                </a:cubicBezTo>
                <a:cubicBezTo>
                  <a:pt x="741" y="236"/>
                  <a:pt x="741" y="236"/>
                  <a:pt x="741" y="236"/>
                </a:cubicBezTo>
                <a:cubicBezTo>
                  <a:pt x="742" y="234"/>
                  <a:pt x="742" y="234"/>
                  <a:pt x="742" y="234"/>
                </a:cubicBezTo>
                <a:cubicBezTo>
                  <a:pt x="742" y="232"/>
                  <a:pt x="742" y="232"/>
                  <a:pt x="742" y="232"/>
                </a:cubicBezTo>
                <a:cubicBezTo>
                  <a:pt x="741" y="232"/>
                  <a:pt x="741" y="232"/>
                  <a:pt x="741" y="232"/>
                </a:cubicBezTo>
                <a:cubicBezTo>
                  <a:pt x="741" y="231"/>
                  <a:pt x="741" y="231"/>
                  <a:pt x="741" y="231"/>
                </a:cubicBezTo>
                <a:cubicBezTo>
                  <a:pt x="742" y="230"/>
                  <a:pt x="742" y="230"/>
                  <a:pt x="742" y="230"/>
                </a:cubicBezTo>
                <a:cubicBezTo>
                  <a:pt x="742" y="229"/>
                  <a:pt x="742" y="229"/>
                  <a:pt x="742" y="229"/>
                </a:cubicBezTo>
                <a:cubicBezTo>
                  <a:pt x="743" y="228"/>
                  <a:pt x="743" y="228"/>
                  <a:pt x="743" y="228"/>
                </a:cubicBezTo>
                <a:cubicBezTo>
                  <a:pt x="743" y="228"/>
                  <a:pt x="743" y="228"/>
                  <a:pt x="743" y="228"/>
                </a:cubicBezTo>
                <a:cubicBezTo>
                  <a:pt x="744" y="227"/>
                  <a:pt x="744" y="227"/>
                  <a:pt x="744" y="227"/>
                </a:cubicBezTo>
                <a:cubicBezTo>
                  <a:pt x="745" y="226"/>
                  <a:pt x="745" y="226"/>
                  <a:pt x="745" y="226"/>
                </a:cubicBezTo>
                <a:cubicBezTo>
                  <a:pt x="746" y="224"/>
                  <a:pt x="746" y="224"/>
                  <a:pt x="746" y="224"/>
                </a:cubicBezTo>
                <a:cubicBezTo>
                  <a:pt x="746" y="224"/>
                  <a:pt x="746" y="224"/>
                  <a:pt x="746" y="224"/>
                </a:cubicBezTo>
                <a:cubicBezTo>
                  <a:pt x="748" y="223"/>
                  <a:pt x="748" y="223"/>
                  <a:pt x="748" y="223"/>
                </a:cubicBezTo>
                <a:cubicBezTo>
                  <a:pt x="748" y="223"/>
                  <a:pt x="748" y="223"/>
                  <a:pt x="748" y="223"/>
                </a:cubicBezTo>
                <a:cubicBezTo>
                  <a:pt x="749" y="222"/>
                  <a:pt x="749" y="222"/>
                  <a:pt x="749" y="222"/>
                </a:cubicBezTo>
                <a:cubicBezTo>
                  <a:pt x="748" y="222"/>
                  <a:pt x="748" y="222"/>
                  <a:pt x="748" y="222"/>
                </a:cubicBezTo>
                <a:cubicBezTo>
                  <a:pt x="747" y="222"/>
                  <a:pt x="747" y="222"/>
                  <a:pt x="747" y="222"/>
                </a:cubicBezTo>
                <a:cubicBezTo>
                  <a:pt x="746" y="222"/>
                  <a:pt x="746" y="222"/>
                  <a:pt x="746" y="222"/>
                </a:cubicBezTo>
                <a:cubicBezTo>
                  <a:pt x="745" y="222"/>
                  <a:pt x="745" y="222"/>
                  <a:pt x="745" y="222"/>
                </a:cubicBezTo>
                <a:cubicBezTo>
                  <a:pt x="745" y="219"/>
                  <a:pt x="745" y="219"/>
                  <a:pt x="745" y="219"/>
                </a:cubicBezTo>
                <a:cubicBezTo>
                  <a:pt x="746" y="217"/>
                  <a:pt x="746" y="217"/>
                  <a:pt x="746" y="217"/>
                </a:cubicBezTo>
                <a:cubicBezTo>
                  <a:pt x="746" y="216"/>
                  <a:pt x="746" y="216"/>
                  <a:pt x="746" y="216"/>
                </a:cubicBezTo>
                <a:cubicBezTo>
                  <a:pt x="745" y="215"/>
                  <a:pt x="745" y="215"/>
                  <a:pt x="745" y="215"/>
                </a:cubicBezTo>
                <a:cubicBezTo>
                  <a:pt x="745" y="215"/>
                  <a:pt x="745" y="215"/>
                  <a:pt x="745" y="215"/>
                </a:cubicBezTo>
                <a:cubicBezTo>
                  <a:pt x="744" y="216"/>
                  <a:pt x="744" y="216"/>
                  <a:pt x="744" y="216"/>
                </a:cubicBezTo>
                <a:cubicBezTo>
                  <a:pt x="744" y="216"/>
                  <a:pt x="744" y="216"/>
                  <a:pt x="744" y="216"/>
                </a:cubicBezTo>
                <a:cubicBezTo>
                  <a:pt x="743" y="213"/>
                  <a:pt x="743" y="213"/>
                  <a:pt x="743" y="213"/>
                </a:cubicBezTo>
                <a:cubicBezTo>
                  <a:pt x="744" y="212"/>
                  <a:pt x="744" y="212"/>
                  <a:pt x="744" y="212"/>
                </a:cubicBezTo>
                <a:cubicBezTo>
                  <a:pt x="744" y="211"/>
                  <a:pt x="744" y="211"/>
                  <a:pt x="744" y="211"/>
                </a:cubicBezTo>
                <a:cubicBezTo>
                  <a:pt x="744" y="210"/>
                  <a:pt x="744" y="210"/>
                  <a:pt x="744" y="210"/>
                </a:cubicBezTo>
                <a:cubicBezTo>
                  <a:pt x="742" y="209"/>
                  <a:pt x="742" y="209"/>
                  <a:pt x="742" y="209"/>
                </a:cubicBezTo>
                <a:cubicBezTo>
                  <a:pt x="743" y="209"/>
                  <a:pt x="743" y="209"/>
                  <a:pt x="743" y="209"/>
                </a:cubicBezTo>
                <a:cubicBezTo>
                  <a:pt x="742" y="209"/>
                  <a:pt x="742" y="209"/>
                  <a:pt x="742" y="209"/>
                </a:cubicBezTo>
                <a:cubicBezTo>
                  <a:pt x="742" y="208"/>
                  <a:pt x="742" y="208"/>
                  <a:pt x="742" y="208"/>
                </a:cubicBezTo>
                <a:cubicBezTo>
                  <a:pt x="741" y="206"/>
                  <a:pt x="741" y="206"/>
                  <a:pt x="741" y="206"/>
                </a:cubicBezTo>
                <a:cubicBezTo>
                  <a:pt x="741" y="206"/>
                  <a:pt x="741" y="206"/>
                  <a:pt x="741" y="206"/>
                </a:cubicBezTo>
                <a:cubicBezTo>
                  <a:pt x="740" y="205"/>
                  <a:pt x="740" y="205"/>
                  <a:pt x="740" y="205"/>
                </a:cubicBezTo>
                <a:cubicBezTo>
                  <a:pt x="740" y="204"/>
                  <a:pt x="740" y="204"/>
                  <a:pt x="740" y="204"/>
                </a:cubicBezTo>
                <a:cubicBezTo>
                  <a:pt x="739" y="202"/>
                  <a:pt x="739" y="202"/>
                  <a:pt x="739" y="202"/>
                </a:cubicBezTo>
                <a:cubicBezTo>
                  <a:pt x="739" y="201"/>
                  <a:pt x="739" y="201"/>
                  <a:pt x="739" y="201"/>
                </a:cubicBezTo>
                <a:cubicBezTo>
                  <a:pt x="741" y="199"/>
                  <a:pt x="741" y="199"/>
                  <a:pt x="741" y="199"/>
                </a:cubicBezTo>
                <a:cubicBezTo>
                  <a:pt x="742" y="200"/>
                  <a:pt x="742" y="200"/>
                  <a:pt x="742" y="200"/>
                </a:cubicBezTo>
                <a:cubicBezTo>
                  <a:pt x="744" y="199"/>
                  <a:pt x="744" y="199"/>
                  <a:pt x="744" y="199"/>
                </a:cubicBezTo>
                <a:cubicBezTo>
                  <a:pt x="743" y="199"/>
                  <a:pt x="743" y="199"/>
                  <a:pt x="743" y="199"/>
                </a:cubicBezTo>
                <a:cubicBezTo>
                  <a:pt x="745" y="198"/>
                  <a:pt x="745" y="198"/>
                  <a:pt x="745" y="198"/>
                </a:cubicBezTo>
                <a:cubicBezTo>
                  <a:pt x="744" y="198"/>
                  <a:pt x="744" y="198"/>
                  <a:pt x="744" y="198"/>
                </a:cubicBezTo>
                <a:cubicBezTo>
                  <a:pt x="743" y="198"/>
                  <a:pt x="743" y="198"/>
                  <a:pt x="743" y="198"/>
                </a:cubicBezTo>
                <a:cubicBezTo>
                  <a:pt x="742" y="197"/>
                  <a:pt x="742" y="197"/>
                  <a:pt x="742" y="197"/>
                </a:cubicBezTo>
                <a:cubicBezTo>
                  <a:pt x="740" y="197"/>
                  <a:pt x="740" y="197"/>
                  <a:pt x="740" y="197"/>
                </a:cubicBezTo>
                <a:cubicBezTo>
                  <a:pt x="738" y="196"/>
                  <a:pt x="738" y="196"/>
                  <a:pt x="738" y="196"/>
                </a:cubicBezTo>
                <a:cubicBezTo>
                  <a:pt x="738" y="196"/>
                  <a:pt x="738" y="196"/>
                  <a:pt x="738" y="196"/>
                </a:cubicBezTo>
                <a:cubicBezTo>
                  <a:pt x="736" y="196"/>
                  <a:pt x="736" y="196"/>
                  <a:pt x="736" y="196"/>
                </a:cubicBezTo>
                <a:cubicBezTo>
                  <a:pt x="735" y="198"/>
                  <a:pt x="735" y="198"/>
                  <a:pt x="735" y="198"/>
                </a:cubicBezTo>
                <a:cubicBezTo>
                  <a:pt x="734" y="198"/>
                  <a:pt x="734" y="198"/>
                  <a:pt x="734" y="198"/>
                </a:cubicBezTo>
                <a:cubicBezTo>
                  <a:pt x="732" y="199"/>
                  <a:pt x="732" y="199"/>
                  <a:pt x="732" y="199"/>
                </a:cubicBezTo>
                <a:cubicBezTo>
                  <a:pt x="733" y="200"/>
                  <a:pt x="733" y="200"/>
                  <a:pt x="733" y="200"/>
                </a:cubicBezTo>
                <a:cubicBezTo>
                  <a:pt x="732" y="201"/>
                  <a:pt x="732" y="201"/>
                  <a:pt x="732" y="201"/>
                </a:cubicBezTo>
                <a:cubicBezTo>
                  <a:pt x="734" y="202"/>
                  <a:pt x="734" y="202"/>
                  <a:pt x="734" y="202"/>
                </a:cubicBezTo>
                <a:cubicBezTo>
                  <a:pt x="734" y="203"/>
                  <a:pt x="734" y="203"/>
                  <a:pt x="734" y="203"/>
                </a:cubicBezTo>
                <a:cubicBezTo>
                  <a:pt x="734" y="204"/>
                  <a:pt x="734" y="204"/>
                  <a:pt x="734" y="204"/>
                </a:cubicBezTo>
                <a:cubicBezTo>
                  <a:pt x="734" y="206"/>
                  <a:pt x="734" y="206"/>
                  <a:pt x="734" y="206"/>
                </a:cubicBezTo>
                <a:cubicBezTo>
                  <a:pt x="735" y="207"/>
                  <a:pt x="735" y="207"/>
                  <a:pt x="735" y="207"/>
                </a:cubicBezTo>
                <a:cubicBezTo>
                  <a:pt x="735" y="207"/>
                  <a:pt x="735" y="207"/>
                  <a:pt x="735" y="207"/>
                </a:cubicBezTo>
                <a:cubicBezTo>
                  <a:pt x="736" y="208"/>
                  <a:pt x="736" y="208"/>
                  <a:pt x="736" y="208"/>
                </a:cubicBezTo>
                <a:cubicBezTo>
                  <a:pt x="737" y="210"/>
                  <a:pt x="737" y="210"/>
                  <a:pt x="737" y="210"/>
                </a:cubicBezTo>
                <a:cubicBezTo>
                  <a:pt x="739" y="211"/>
                  <a:pt x="739" y="211"/>
                  <a:pt x="739" y="211"/>
                </a:cubicBezTo>
                <a:cubicBezTo>
                  <a:pt x="738" y="213"/>
                  <a:pt x="738" y="213"/>
                  <a:pt x="738" y="213"/>
                </a:cubicBezTo>
                <a:cubicBezTo>
                  <a:pt x="739" y="213"/>
                  <a:pt x="739" y="213"/>
                  <a:pt x="739" y="213"/>
                </a:cubicBezTo>
                <a:cubicBezTo>
                  <a:pt x="739" y="214"/>
                  <a:pt x="739" y="214"/>
                  <a:pt x="739" y="214"/>
                </a:cubicBezTo>
                <a:cubicBezTo>
                  <a:pt x="738" y="213"/>
                  <a:pt x="738" y="213"/>
                  <a:pt x="738" y="213"/>
                </a:cubicBezTo>
                <a:cubicBezTo>
                  <a:pt x="737" y="212"/>
                  <a:pt x="737" y="212"/>
                  <a:pt x="737" y="212"/>
                </a:cubicBezTo>
                <a:cubicBezTo>
                  <a:pt x="736" y="213"/>
                  <a:pt x="736" y="213"/>
                  <a:pt x="736" y="213"/>
                </a:cubicBezTo>
                <a:cubicBezTo>
                  <a:pt x="735" y="214"/>
                  <a:pt x="735" y="214"/>
                  <a:pt x="735" y="214"/>
                </a:cubicBezTo>
                <a:cubicBezTo>
                  <a:pt x="734" y="215"/>
                  <a:pt x="734" y="215"/>
                  <a:pt x="734" y="215"/>
                </a:cubicBezTo>
                <a:cubicBezTo>
                  <a:pt x="735" y="216"/>
                  <a:pt x="735" y="216"/>
                  <a:pt x="735" y="216"/>
                </a:cubicBezTo>
                <a:cubicBezTo>
                  <a:pt x="734" y="218"/>
                  <a:pt x="734" y="218"/>
                  <a:pt x="734" y="218"/>
                </a:cubicBezTo>
                <a:cubicBezTo>
                  <a:pt x="734" y="218"/>
                  <a:pt x="734" y="218"/>
                  <a:pt x="734" y="218"/>
                </a:cubicBezTo>
                <a:cubicBezTo>
                  <a:pt x="734" y="219"/>
                  <a:pt x="734" y="219"/>
                  <a:pt x="734" y="219"/>
                </a:cubicBezTo>
                <a:cubicBezTo>
                  <a:pt x="734" y="219"/>
                  <a:pt x="734" y="219"/>
                  <a:pt x="734" y="219"/>
                </a:cubicBezTo>
                <a:cubicBezTo>
                  <a:pt x="734" y="220"/>
                  <a:pt x="734" y="220"/>
                  <a:pt x="734" y="220"/>
                </a:cubicBezTo>
                <a:cubicBezTo>
                  <a:pt x="733" y="221"/>
                  <a:pt x="733" y="221"/>
                  <a:pt x="733" y="221"/>
                </a:cubicBezTo>
                <a:cubicBezTo>
                  <a:pt x="734" y="222"/>
                  <a:pt x="734" y="222"/>
                  <a:pt x="734" y="222"/>
                </a:cubicBezTo>
                <a:cubicBezTo>
                  <a:pt x="733" y="223"/>
                  <a:pt x="733" y="223"/>
                  <a:pt x="733" y="223"/>
                </a:cubicBezTo>
                <a:cubicBezTo>
                  <a:pt x="733" y="226"/>
                  <a:pt x="733" y="226"/>
                  <a:pt x="733" y="226"/>
                </a:cubicBezTo>
                <a:cubicBezTo>
                  <a:pt x="733" y="227"/>
                  <a:pt x="733" y="227"/>
                  <a:pt x="733" y="227"/>
                </a:cubicBezTo>
                <a:cubicBezTo>
                  <a:pt x="733" y="228"/>
                  <a:pt x="733" y="228"/>
                  <a:pt x="733" y="228"/>
                </a:cubicBezTo>
                <a:cubicBezTo>
                  <a:pt x="732" y="228"/>
                  <a:pt x="732" y="228"/>
                  <a:pt x="732" y="228"/>
                </a:cubicBezTo>
                <a:cubicBezTo>
                  <a:pt x="731" y="230"/>
                  <a:pt x="731" y="230"/>
                  <a:pt x="731" y="230"/>
                </a:cubicBezTo>
                <a:cubicBezTo>
                  <a:pt x="731" y="229"/>
                  <a:pt x="731" y="229"/>
                  <a:pt x="731" y="229"/>
                </a:cubicBezTo>
                <a:cubicBezTo>
                  <a:pt x="730" y="228"/>
                  <a:pt x="730" y="228"/>
                  <a:pt x="730" y="228"/>
                </a:cubicBezTo>
                <a:cubicBezTo>
                  <a:pt x="731" y="226"/>
                  <a:pt x="731" y="226"/>
                  <a:pt x="731" y="226"/>
                </a:cubicBezTo>
                <a:cubicBezTo>
                  <a:pt x="730" y="225"/>
                  <a:pt x="730" y="225"/>
                  <a:pt x="730" y="225"/>
                </a:cubicBezTo>
                <a:cubicBezTo>
                  <a:pt x="729" y="225"/>
                  <a:pt x="729" y="225"/>
                  <a:pt x="729" y="225"/>
                </a:cubicBezTo>
                <a:cubicBezTo>
                  <a:pt x="728" y="226"/>
                  <a:pt x="728" y="226"/>
                  <a:pt x="728" y="226"/>
                </a:cubicBezTo>
                <a:cubicBezTo>
                  <a:pt x="728" y="227"/>
                  <a:pt x="728" y="227"/>
                  <a:pt x="728" y="227"/>
                </a:cubicBezTo>
                <a:cubicBezTo>
                  <a:pt x="727" y="227"/>
                  <a:pt x="727" y="227"/>
                  <a:pt x="727" y="227"/>
                </a:cubicBezTo>
                <a:cubicBezTo>
                  <a:pt x="727" y="225"/>
                  <a:pt x="727" y="225"/>
                  <a:pt x="727" y="225"/>
                </a:cubicBezTo>
                <a:cubicBezTo>
                  <a:pt x="726" y="225"/>
                  <a:pt x="726" y="225"/>
                  <a:pt x="726" y="225"/>
                </a:cubicBezTo>
                <a:cubicBezTo>
                  <a:pt x="726" y="224"/>
                  <a:pt x="726" y="224"/>
                  <a:pt x="726" y="224"/>
                </a:cubicBezTo>
                <a:cubicBezTo>
                  <a:pt x="724" y="225"/>
                  <a:pt x="724" y="225"/>
                  <a:pt x="724" y="225"/>
                </a:cubicBezTo>
                <a:cubicBezTo>
                  <a:pt x="724" y="224"/>
                  <a:pt x="724" y="224"/>
                  <a:pt x="724" y="224"/>
                </a:cubicBezTo>
                <a:cubicBezTo>
                  <a:pt x="724" y="224"/>
                  <a:pt x="724" y="224"/>
                  <a:pt x="724" y="224"/>
                </a:cubicBezTo>
                <a:cubicBezTo>
                  <a:pt x="725" y="223"/>
                  <a:pt x="725" y="223"/>
                  <a:pt x="725" y="223"/>
                </a:cubicBezTo>
                <a:cubicBezTo>
                  <a:pt x="725" y="223"/>
                  <a:pt x="725" y="223"/>
                  <a:pt x="725" y="223"/>
                </a:cubicBezTo>
                <a:cubicBezTo>
                  <a:pt x="725" y="222"/>
                  <a:pt x="725" y="222"/>
                  <a:pt x="725" y="222"/>
                </a:cubicBezTo>
                <a:cubicBezTo>
                  <a:pt x="725" y="222"/>
                  <a:pt x="725" y="222"/>
                  <a:pt x="725" y="222"/>
                </a:cubicBezTo>
                <a:cubicBezTo>
                  <a:pt x="725" y="220"/>
                  <a:pt x="725" y="220"/>
                  <a:pt x="725" y="220"/>
                </a:cubicBezTo>
                <a:cubicBezTo>
                  <a:pt x="724" y="220"/>
                  <a:pt x="724" y="220"/>
                  <a:pt x="724" y="220"/>
                </a:cubicBezTo>
                <a:cubicBezTo>
                  <a:pt x="725" y="219"/>
                  <a:pt x="725" y="219"/>
                  <a:pt x="725" y="219"/>
                </a:cubicBezTo>
                <a:cubicBezTo>
                  <a:pt x="724" y="218"/>
                  <a:pt x="724" y="218"/>
                  <a:pt x="724" y="218"/>
                </a:cubicBezTo>
                <a:cubicBezTo>
                  <a:pt x="724" y="217"/>
                  <a:pt x="724" y="217"/>
                  <a:pt x="724" y="217"/>
                </a:cubicBezTo>
                <a:cubicBezTo>
                  <a:pt x="724" y="217"/>
                  <a:pt x="724" y="217"/>
                  <a:pt x="724" y="217"/>
                </a:cubicBezTo>
                <a:cubicBezTo>
                  <a:pt x="724" y="215"/>
                  <a:pt x="724" y="215"/>
                  <a:pt x="724" y="215"/>
                </a:cubicBezTo>
                <a:cubicBezTo>
                  <a:pt x="723" y="214"/>
                  <a:pt x="723" y="214"/>
                  <a:pt x="723" y="214"/>
                </a:cubicBezTo>
                <a:cubicBezTo>
                  <a:pt x="722" y="213"/>
                  <a:pt x="722" y="213"/>
                  <a:pt x="722" y="213"/>
                </a:cubicBezTo>
                <a:cubicBezTo>
                  <a:pt x="722" y="213"/>
                  <a:pt x="722" y="213"/>
                  <a:pt x="722" y="213"/>
                </a:cubicBezTo>
                <a:cubicBezTo>
                  <a:pt x="722" y="215"/>
                  <a:pt x="722" y="215"/>
                  <a:pt x="722" y="215"/>
                </a:cubicBezTo>
                <a:cubicBezTo>
                  <a:pt x="721" y="215"/>
                  <a:pt x="721" y="215"/>
                  <a:pt x="721" y="215"/>
                </a:cubicBezTo>
                <a:cubicBezTo>
                  <a:pt x="721" y="217"/>
                  <a:pt x="721" y="217"/>
                  <a:pt x="721" y="217"/>
                </a:cubicBezTo>
                <a:cubicBezTo>
                  <a:pt x="720" y="218"/>
                  <a:pt x="720" y="218"/>
                  <a:pt x="720" y="218"/>
                </a:cubicBezTo>
                <a:cubicBezTo>
                  <a:pt x="719" y="218"/>
                  <a:pt x="719" y="218"/>
                  <a:pt x="719" y="218"/>
                </a:cubicBezTo>
                <a:cubicBezTo>
                  <a:pt x="719" y="216"/>
                  <a:pt x="719" y="216"/>
                  <a:pt x="719" y="216"/>
                </a:cubicBezTo>
                <a:cubicBezTo>
                  <a:pt x="718" y="216"/>
                  <a:pt x="718" y="216"/>
                  <a:pt x="718" y="216"/>
                </a:cubicBezTo>
                <a:cubicBezTo>
                  <a:pt x="718" y="217"/>
                  <a:pt x="718" y="217"/>
                  <a:pt x="718" y="217"/>
                </a:cubicBezTo>
                <a:cubicBezTo>
                  <a:pt x="717" y="215"/>
                  <a:pt x="717" y="215"/>
                  <a:pt x="717" y="215"/>
                </a:cubicBezTo>
                <a:cubicBezTo>
                  <a:pt x="716" y="215"/>
                  <a:pt x="716" y="215"/>
                  <a:pt x="716" y="215"/>
                </a:cubicBezTo>
                <a:cubicBezTo>
                  <a:pt x="716" y="216"/>
                  <a:pt x="716" y="216"/>
                  <a:pt x="716" y="216"/>
                </a:cubicBezTo>
                <a:cubicBezTo>
                  <a:pt x="715" y="216"/>
                  <a:pt x="715" y="216"/>
                  <a:pt x="715" y="216"/>
                </a:cubicBezTo>
                <a:cubicBezTo>
                  <a:pt x="715" y="217"/>
                  <a:pt x="715" y="217"/>
                  <a:pt x="715" y="217"/>
                </a:cubicBezTo>
                <a:cubicBezTo>
                  <a:pt x="714" y="217"/>
                  <a:pt x="714" y="217"/>
                  <a:pt x="714" y="217"/>
                </a:cubicBezTo>
                <a:cubicBezTo>
                  <a:pt x="714" y="218"/>
                  <a:pt x="714" y="218"/>
                  <a:pt x="714" y="218"/>
                </a:cubicBezTo>
                <a:cubicBezTo>
                  <a:pt x="711" y="218"/>
                  <a:pt x="711" y="218"/>
                  <a:pt x="711" y="218"/>
                </a:cubicBezTo>
                <a:cubicBezTo>
                  <a:pt x="711" y="219"/>
                  <a:pt x="711" y="219"/>
                  <a:pt x="711" y="219"/>
                </a:cubicBezTo>
                <a:cubicBezTo>
                  <a:pt x="710" y="219"/>
                  <a:pt x="710" y="219"/>
                  <a:pt x="710" y="219"/>
                </a:cubicBezTo>
                <a:cubicBezTo>
                  <a:pt x="709" y="219"/>
                  <a:pt x="709" y="219"/>
                  <a:pt x="709" y="219"/>
                </a:cubicBezTo>
                <a:cubicBezTo>
                  <a:pt x="708" y="219"/>
                  <a:pt x="708" y="219"/>
                  <a:pt x="708" y="219"/>
                </a:cubicBezTo>
                <a:cubicBezTo>
                  <a:pt x="706" y="221"/>
                  <a:pt x="706" y="221"/>
                  <a:pt x="706" y="221"/>
                </a:cubicBezTo>
                <a:cubicBezTo>
                  <a:pt x="705" y="222"/>
                  <a:pt x="705" y="222"/>
                  <a:pt x="705" y="222"/>
                </a:cubicBezTo>
                <a:cubicBezTo>
                  <a:pt x="706" y="223"/>
                  <a:pt x="706" y="223"/>
                  <a:pt x="706" y="223"/>
                </a:cubicBezTo>
                <a:cubicBezTo>
                  <a:pt x="704" y="224"/>
                  <a:pt x="704" y="224"/>
                  <a:pt x="704" y="224"/>
                </a:cubicBezTo>
                <a:cubicBezTo>
                  <a:pt x="704" y="225"/>
                  <a:pt x="704" y="225"/>
                  <a:pt x="704" y="225"/>
                </a:cubicBezTo>
                <a:cubicBezTo>
                  <a:pt x="705" y="225"/>
                  <a:pt x="705" y="225"/>
                  <a:pt x="705" y="225"/>
                </a:cubicBezTo>
                <a:cubicBezTo>
                  <a:pt x="705" y="227"/>
                  <a:pt x="705" y="227"/>
                  <a:pt x="705" y="227"/>
                </a:cubicBezTo>
                <a:cubicBezTo>
                  <a:pt x="707" y="229"/>
                  <a:pt x="707" y="229"/>
                  <a:pt x="707" y="229"/>
                </a:cubicBezTo>
                <a:cubicBezTo>
                  <a:pt x="706" y="230"/>
                  <a:pt x="706" y="230"/>
                  <a:pt x="706" y="230"/>
                </a:cubicBezTo>
                <a:cubicBezTo>
                  <a:pt x="705" y="234"/>
                  <a:pt x="705" y="234"/>
                  <a:pt x="705" y="234"/>
                </a:cubicBezTo>
                <a:cubicBezTo>
                  <a:pt x="707" y="236"/>
                  <a:pt x="707" y="236"/>
                  <a:pt x="707" y="236"/>
                </a:cubicBezTo>
                <a:cubicBezTo>
                  <a:pt x="705" y="236"/>
                  <a:pt x="705" y="236"/>
                  <a:pt x="705" y="236"/>
                </a:cubicBezTo>
                <a:cubicBezTo>
                  <a:pt x="706" y="237"/>
                  <a:pt x="706" y="237"/>
                  <a:pt x="706" y="237"/>
                </a:cubicBezTo>
                <a:cubicBezTo>
                  <a:pt x="706" y="238"/>
                  <a:pt x="706" y="238"/>
                  <a:pt x="706" y="238"/>
                </a:cubicBezTo>
                <a:cubicBezTo>
                  <a:pt x="705" y="239"/>
                  <a:pt x="705" y="239"/>
                  <a:pt x="705" y="239"/>
                </a:cubicBezTo>
                <a:cubicBezTo>
                  <a:pt x="704" y="241"/>
                  <a:pt x="704" y="241"/>
                  <a:pt x="704" y="241"/>
                </a:cubicBezTo>
                <a:cubicBezTo>
                  <a:pt x="703" y="242"/>
                  <a:pt x="703" y="242"/>
                  <a:pt x="703" y="242"/>
                </a:cubicBezTo>
                <a:cubicBezTo>
                  <a:pt x="703" y="244"/>
                  <a:pt x="703" y="244"/>
                  <a:pt x="703" y="244"/>
                </a:cubicBezTo>
                <a:cubicBezTo>
                  <a:pt x="703" y="246"/>
                  <a:pt x="703" y="246"/>
                  <a:pt x="703" y="246"/>
                </a:cubicBezTo>
                <a:cubicBezTo>
                  <a:pt x="704" y="248"/>
                  <a:pt x="704" y="248"/>
                  <a:pt x="704" y="248"/>
                </a:cubicBezTo>
                <a:cubicBezTo>
                  <a:pt x="703" y="248"/>
                  <a:pt x="703" y="248"/>
                  <a:pt x="703" y="248"/>
                </a:cubicBezTo>
                <a:cubicBezTo>
                  <a:pt x="705" y="251"/>
                  <a:pt x="705" y="251"/>
                  <a:pt x="705" y="251"/>
                </a:cubicBezTo>
                <a:cubicBezTo>
                  <a:pt x="704" y="251"/>
                  <a:pt x="704" y="251"/>
                  <a:pt x="704" y="251"/>
                </a:cubicBezTo>
                <a:cubicBezTo>
                  <a:pt x="704" y="252"/>
                  <a:pt x="704" y="252"/>
                  <a:pt x="704" y="252"/>
                </a:cubicBezTo>
                <a:cubicBezTo>
                  <a:pt x="705" y="253"/>
                  <a:pt x="705" y="253"/>
                  <a:pt x="705" y="253"/>
                </a:cubicBezTo>
                <a:cubicBezTo>
                  <a:pt x="705" y="252"/>
                  <a:pt x="705" y="252"/>
                  <a:pt x="705" y="252"/>
                </a:cubicBezTo>
                <a:cubicBezTo>
                  <a:pt x="706" y="252"/>
                  <a:pt x="706" y="252"/>
                  <a:pt x="706" y="252"/>
                </a:cubicBezTo>
                <a:cubicBezTo>
                  <a:pt x="706" y="252"/>
                  <a:pt x="706" y="252"/>
                  <a:pt x="706" y="252"/>
                </a:cubicBezTo>
                <a:cubicBezTo>
                  <a:pt x="707" y="251"/>
                  <a:pt x="707" y="251"/>
                  <a:pt x="707" y="251"/>
                </a:cubicBezTo>
                <a:cubicBezTo>
                  <a:pt x="708" y="252"/>
                  <a:pt x="708" y="252"/>
                  <a:pt x="708" y="252"/>
                </a:cubicBezTo>
                <a:cubicBezTo>
                  <a:pt x="708" y="252"/>
                  <a:pt x="708" y="252"/>
                  <a:pt x="708" y="252"/>
                </a:cubicBezTo>
                <a:cubicBezTo>
                  <a:pt x="708" y="251"/>
                  <a:pt x="708" y="251"/>
                  <a:pt x="708" y="251"/>
                </a:cubicBezTo>
                <a:cubicBezTo>
                  <a:pt x="709" y="251"/>
                  <a:pt x="709" y="251"/>
                  <a:pt x="709" y="251"/>
                </a:cubicBezTo>
                <a:cubicBezTo>
                  <a:pt x="709" y="252"/>
                  <a:pt x="709" y="252"/>
                  <a:pt x="709" y="252"/>
                </a:cubicBezTo>
                <a:cubicBezTo>
                  <a:pt x="710" y="252"/>
                  <a:pt x="710" y="252"/>
                  <a:pt x="710" y="252"/>
                </a:cubicBezTo>
                <a:cubicBezTo>
                  <a:pt x="711" y="253"/>
                  <a:pt x="711" y="253"/>
                  <a:pt x="711" y="253"/>
                </a:cubicBezTo>
                <a:cubicBezTo>
                  <a:pt x="710" y="253"/>
                  <a:pt x="710" y="253"/>
                  <a:pt x="710" y="253"/>
                </a:cubicBezTo>
                <a:cubicBezTo>
                  <a:pt x="711" y="254"/>
                  <a:pt x="711" y="254"/>
                  <a:pt x="711" y="254"/>
                </a:cubicBezTo>
                <a:cubicBezTo>
                  <a:pt x="711" y="255"/>
                  <a:pt x="711" y="255"/>
                  <a:pt x="711" y="255"/>
                </a:cubicBezTo>
                <a:cubicBezTo>
                  <a:pt x="710" y="255"/>
                  <a:pt x="710" y="255"/>
                  <a:pt x="710" y="255"/>
                </a:cubicBezTo>
                <a:cubicBezTo>
                  <a:pt x="710" y="255"/>
                  <a:pt x="710" y="255"/>
                  <a:pt x="710" y="255"/>
                </a:cubicBezTo>
                <a:cubicBezTo>
                  <a:pt x="709" y="255"/>
                  <a:pt x="709" y="255"/>
                  <a:pt x="709" y="255"/>
                </a:cubicBezTo>
                <a:cubicBezTo>
                  <a:pt x="708" y="256"/>
                  <a:pt x="708" y="256"/>
                  <a:pt x="708" y="256"/>
                </a:cubicBezTo>
                <a:cubicBezTo>
                  <a:pt x="708" y="256"/>
                  <a:pt x="708" y="256"/>
                  <a:pt x="708" y="256"/>
                </a:cubicBezTo>
                <a:cubicBezTo>
                  <a:pt x="708" y="257"/>
                  <a:pt x="708" y="257"/>
                  <a:pt x="708" y="257"/>
                </a:cubicBezTo>
                <a:cubicBezTo>
                  <a:pt x="707" y="258"/>
                  <a:pt x="707" y="258"/>
                  <a:pt x="707" y="258"/>
                </a:cubicBezTo>
                <a:cubicBezTo>
                  <a:pt x="706" y="258"/>
                  <a:pt x="706" y="258"/>
                  <a:pt x="706" y="258"/>
                </a:cubicBezTo>
                <a:cubicBezTo>
                  <a:pt x="706" y="257"/>
                  <a:pt x="706" y="257"/>
                  <a:pt x="706" y="257"/>
                </a:cubicBezTo>
                <a:cubicBezTo>
                  <a:pt x="705" y="256"/>
                  <a:pt x="705" y="256"/>
                  <a:pt x="705" y="256"/>
                </a:cubicBezTo>
                <a:cubicBezTo>
                  <a:pt x="704" y="257"/>
                  <a:pt x="704" y="257"/>
                  <a:pt x="704" y="257"/>
                </a:cubicBezTo>
                <a:cubicBezTo>
                  <a:pt x="703" y="256"/>
                  <a:pt x="703" y="256"/>
                  <a:pt x="703" y="256"/>
                </a:cubicBezTo>
                <a:cubicBezTo>
                  <a:pt x="703" y="257"/>
                  <a:pt x="703" y="257"/>
                  <a:pt x="703" y="257"/>
                </a:cubicBezTo>
                <a:cubicBezTo>
                  <a:pt x="703" y="258"/>
                  <a:pt x="703" y="258"/>
                  <a:pt x="703" y="258"/>
                </a:cubicBezTo>
                <a:cubicBezTo>
                  <a:pt x="703" y="259"/>
                  <a:pt x="703" y="259"/>
                  <a:pt x="703" y="259"/>
                </a:cubicBezTo>
                <a:cubicBezTo>
                  <a:pt x="702" y="259"/>
                  <a:pt x="702" y="259"/>
                  <a:pt x="702" y="259"/>
                </a:cubicBezTo>
                <a:cubicBezTo>
                  <a:pt x="702" y="259"/>
                  <a:pt x="702" y="259"/>
                  <a:pt x="702" y="259"/>
                </a:cubicBezTo>
                <a:cubicBezTo>
                  <a:pt x="701" y="260"/>
                  <a:pt x="701" y="260"/>
                  <a:pt x="701" y="260"/>
                </a:cubicBezTo>
                <a:cubicBezTo>
                  <a:pt x="701" y="261"/>
                  <a:pt x="701" y="261"/>
                  <a:pt x="701" y="261"/>
                </a:cubicBezTo>
                <a:cubicBezTo>
                  <a:pt x="701" y="261"/>
                  <a:pt x="701" y="261"/>
                  <a:pt x="701" y="261"/>
                </a:cubicBezTo>
                <a:cubicBezTo>
                  <a:pt x="700" y="261"/>
                  <a:pt x="700" y="261"/>
                  <a:pt x="700" y="261"/>
                </a:cubicBezTo>
                <a:cubicBezTo>
                  <a:pt x="698" y="260"/>
                  <a:pt x="698" y="260"/>
                  <a:pt x="698" y="260"/>
                </a:cubicBezTo>
                <a:cubicBezTo>
                  <a:pt x="698" y="260"/>
                  <a:pt x="698" y="260"/>
                  <a:pt x="698" y="260"/>
                </a:cubicBezTo>
                <a:cubicBezTo>
                  <a:pt x="699" y="261"/>
                  <a:pt x="699" y="261"/>
                  <a:pt x="699" y="261"/>
                </a:cubicBezTo>
                <a:cubicBezTo>
                  <a:pt x="697" y="262"/>
                  <a:pt x="697" y="262"/>
                  <a:pt x="697" y="262"/>
                </a:cubicBezTo>
                <a:cubicBezTo>
                  <a:pt x="698" y="262"/>
                  <a:pt x="698" y="262"/>
                  <a:pt x="698" y="262"/>
                </a:cubicBezTo>
                <a:cubicBezTo>
                  <a:pt x="697" y="263"/>
                  <a:pt x="697" y="263"/>
                  <a:pt x="697" y="263"/>
                </a:cubicBezTo>
                <a:cubicBezTo>
                  <a:pt x="695" y="264"/>
                  <a:pt x="695" y="264"/>
                  <a:pt x="695" y="264"/>
                </a:cubicBezTo>
                <a:cubicBezTo>
                  <a:pt x="694" y="264"/>
                  <a:pt x="694" y="264"/>
                  <a:pt x="694" y="264"/>
                </a:cubicBezTo>
                <a:cubicBezTo>
                  <a:pt x="693" y="262"/>
                  <a:pt x="693" y="262"/>
                  <a:pt x="693" y="262"/>
                </a:cubicBezTo>
                <a:cubicBezTo>
                  <a:pt x="692" y="262"/>
                  <a:pt x="692" y="262"/>
                  <a:pt x="692" y="262"/>
                </a:cubicBezTo>
                <a:cubicBezTo>
                  <a:pt x="691" y="262"/>
                  <a:pt x="691" y="262"/>
                  <a:pt x="691" y="262"/>
                </a:cubicBezTo>
                <a:cubicBezTo>
                  <a:pt x="692" y="261"/>
                  <a:pt x="692" y="261"/>
                  <a:pt x="692" y="261"/>
                </a:cubicBezTo>
                <a:cubicBezTo>
                  <a:pt x="693" y="261"/>
                  <a:pt x="693" y="261"/>
                  <a:pt x="693" y="261"/>
                </a:cubicBezTo>
                <a:cubicBezTo>
                  <a:pt x="692" y="260"/>
                  <a:pt x="692" y="260"/>
                  <a:pt x="692" y="260"/>
                </a:cubicBezTo>
                <a:cubicBezTo>
                  <a:pt x="693" y="259"/>
                  <a:pt x="693" y="259"/>
                  <a:pt x="693" y="259"/>
                </a:cubicBezTo>
                <a:cubicBezTo>
                  <a:pt x="695" y="259"/>
                  <a:pt x="695" y="259"/>
                  <a:pt x="695" y="259"/>
                </a:cubicBezTo>
                <a:cubicBezTo>
                  <a:pt x="697" y="258"/>
                  <a:pt x="697" y="258"/>
                  <a:pt x="697" y="258"/>
                </a:cubicBezTo>
                <a:cubicBezTo>
                  <a:pt x="697" y="257"/>
                  <a:pt x="697" y="257"/>
                  <a:pt x="697" y="257"/>
                </a:cubicBezTo>
                <a:cubicBezTo>
                  <a:pt x="696" y="257"/>
                  <a:pt x="696" y="257"/>
                  <a:pt x="696" y="257"/>
                </a:cubicBezTo>
                <a:cubicBezTo>
                  <a:pt x="695" y="258"/>
                  <a:pt x="695" y="258"/>
                  <a:pt x="695" y="258"/>
                </a:cubicBezTo>
                <a:cubicBezTo>
                  <a:pt x="693" y="257"/>
                  <a:pt x="693" y="257"/>
                  <a:pt x="693" y="257"/>
                </a:cubicBezTo>
                <a:cubicBezTo>
                  <a:pt x="693" y="257"/>
                  <a:pt x="693" y="257"/>
                  <a:pt x="693" y="257"/>
                </a:cubicBezTo>
                <a:cubicBezTo>
                  <a:pt x="692" y="256"/>
                  <a:pt x="692" y="256"/>
                  <a:pt x="692" y="256"/>
                </a:cubicBezTo>
                <a:cubicBezTo>
                  <a:pt x="691" y="256"/>
                  <a:pt x="691" y="256"/>
                  <a:pt x="691" y="256"/>
                </a:cubicBezTo>
                <a:cubicBezTo>
                  <a:pt x="689" y="255"/>
                  <a:pt x="689" y="255"/>
                  <a:pt x="689" y="255"/>
                </a:cubicBezTo>
                <a:cubicBezTo>
                  <a:pt x="687" y="255"/>
                  <a:pt x="687" y="255"/>
                  <a:pt x="687" y="255"/>
                </a:cubicBezTo>
                <a:cubicBezTo>
                  <a:pt x="688" y="256"/>
                  <a:pt x="688" y="256"/>
                  <a:pt x="688" y="256"/>
                </a:cubicBezTo>
                <a:cubicBezTo>
                  <a:pt x="687" y="257"/>
                  <a:pt x="687" y="257"/>
                  <a:pt x="687" y="257"/>
                </a:cubicBezTo>
                <a:cubicBezTo>
                  <a:pt x="686" y="256"/>
                  <a:pt x="686" y="256"/>
                  <a:pt x="686" y="256"/>
                </a:cubicBezTo>
                <a:cubicBezTo>
                  <a:pt x="686" y="255"/>
                  <a:pt x="686" y="255"/>
                  <a:pt x="686" y="255"/>
                </a:cubicBezTo>
                <a:cubicBezTo>
                  <a:pt x="684" y="256"/>
                  <a:pt x="684" y="256"/>
                  <a:pt x="684" y="256"/>
                </a:cubicBezTo>
                <a:cubicBezTo>
                  <a:pt x="682" y="255"/>
                  <a:pt x="682" y="255"/>
                  <a:pt x="682" y="255"/>
                </a:cubicBezTo>
                <a:cubicBezTo>
                  <a:pt x="681" y="256"/>
                  <a:pt x="681" y="256"/>
                  <a:pt x="681" y="256"/>
                </a:cubicBezTo>
                <a:cubicBezTo>
                  <a:pt x="680" y="255"/>
                  <a:pt x="680" y="255"/>
                  <a:pt x="680" y="255"/>
                </a:cubicBezTo>
                <a:cubicBezTo>
                  <a:pt x="678" y="255"/>
                  <a:pt x="678" y="255"/>
                  <a:pt x="678" y="255"/>
                </a:cubicBezTo>
                <a:cubicBezTo>
                  <a:pt x="677" y="257"/>
                  <a:pt x="677" y="257"/>
                  <a:pt x="677" y="257"/>
                </a:cubicBezTo>
                <a:cubicBezTo>
                  <a:pt x="676" y="257"/>
                  <a:pt x="676" y="257"/>
                  <a:pt x="676" y="257"/>
                </a:cubicBezTo>
                <a:cubicBezTo>
                  <a:pt x="676" y="258"/>
                  <a:pt x="676" y="258"/>
                  <a:pt x="676" y="258"/>
                </a:cubicBezTo>
                <a:cubicBezTo>
                  <a:pt x="678" y="259"/>
                  <a:pt x="678" y="259"/>
                  <a:pt x="678" y="259"/>
                </a:cubicBezTo>
                <a:cubicBezTo>
                  <a:pt x="676" y="259"/>
                  <a:pt x="676" y="259"/>
                  <a:pt x="676" y="259"/>
                </a:cubicBezTo>
                <a:cubicBezTo>
                  <a:pt x="675" y="258"/>
                  <a:pt x="675" y="258"/>
                  <a:pt x="675" y="258"/>
                </a:cubicBezTo>
                <a:cubicBezTo>
                  <a:pt x="674" y="260"/>
                  <a:pt x="674" y="260"/>
                  <a:pt x="674" y="260"/>
                </a:cubicBezTo>
                <a:cubicBezTo>
                  <a:pt x="676" y="261"/>
                  <a:pt x="676" y="261"/>
                  <a:pt x="676" y="261"/>
                </a:cubicBezTo>
                <a:cubicBezTo>
                  <a:pt x="677" y="260"/>
                  <a:pt x="677" y="260"/>
                  <a:pt x="677" y="260"/>
                </a:cubicBezTo>
                <a:cubicBezTo>
                  <a:pt x="677" y="261"/>
                  <a:pt x="677" y="261"/>
                  <a:pt x="677" y="261"/>
                </a:cubicBezTo>
                <a:cubicBezTo>
                  <a:pt x="677" y="262"/>
                  <a:pt x="677" y="262"/>
                  <a:pt x="677" y="262"/>
                </a:cubicBezTo>
                <a:cubicBezTo>
                  <a:pt x="675" y="263"/>
                  <a:pt x="675" y="263"/>
                  <a:pt x="675" y="263"/>
                </a:cubicBezTo>
                <a:cubicBezTo>
                  <a:pt x="674" y="262"/>
                  <a:pt x="674" y="262"/>
                  <a:pt x="674" y="262"/>
                </a:cubicBezTo>
                <a:cubicBezTo>
                  <a:pt x="672" y="261"/>
                  <a:pt x="672" y="261"/>
                  <a:pt x="672" y="261"/>
                </a:cubicBezTo>
                <a:cubicBezTo>
                  <a:pt x="671" y="262"/>
                  <a:pt x="671" y="262"/>
                  <a:pt x="671" y="262"/>
                </a:cubicBezTo>
                <a:cubicBezTo>
                  <a:pt x="672" y="263"/>
                  <a:pt x="672" y="263"/>
                  <a:pt x="672" y="263"/>
                </a:cubicBezTo>
                <a:cubicBezTo>
                  <a:pt x="671" y="263"/>
                  <a:pt x="671" y="263"/>
                  <a:pt x="671" y="263"/>
                </a:cubicBezTo>
                <a:cubicBezTo>
                  <a:pt x="670" y="264"/>
                  <a:pt x="670" y="264"/>
                  <a:pt x="670" y="264"/>
                </a:cubicBezTo>
                <a:cubicBezTo>
                  <a:pt x="669" y="264"/>
                  <a:pt x="669" y="264"/>
                  <a:pt x="669" y="264"/>
                </a:cubicBezTo>
                <a:cubicBezTo>
                  <a:pt x="669" y="263"/>
                  <a:pt x="669" y="263"/>
                  <a:pt x="669" y="263"/>
                </a:cubicBezTo>
                <a:cubicBezTo>
                  <a:pt x="666" y="263"/>
                  <a:pt x="666" y="263"/>
                  <a:pt x="666" y="263"/>
                </a:cubicBezTo>
                <a:cubicBezTo>
                  <a:pt x="665" y="263"/>
                  <a:pt x="665" y="263"/>
                  <a:pt x="665" y="263"/>
                </a:cubicBezTo>
                <a:cubicBezTo>
                  <a:pt x="663" y="263"/>
                  <a:pt x="663" y="263"/>
                  <a:pt x="663" y="263"/>
                </a:cubicBezTo>
                <a:cubicBezTo>
                  <a:pt x="661" y="264"/>
                  <a:pt x="661" y="264"/>
                  <a:pt x="661" y="264"/>
                </a:cubicBezTo>
                <a:cubicBezTo>
                  <a:pt x="661" y="264"/>
                  <a:pt x="661" y="264"/>
                  <a:pt x="661" y="264"/>
                </a:cubicBezTo>
                <a:cubicBezTo>
                  <a:pt x="663" y="266"/>
                  <a:pt x="663" y="266"/>
                  <a:pt x="663" y="266"/>
                </a:cubicBezTo>
                <a:cubicBezTo>
                  <a:pt x="662" y="267"/>
                  <a:pt x="662" y="267"/>
                  <a:pt x="662" y="267"/>
                </a:cubicBezTo>
                <a:cubicBezTo>
                  <a:pt x="662" y="268"/>
                  <a:pt x="662" y="268"/>
                  <a:pt x="662" y="268"/>
                </a:cubicBezTo>
                <a:cubicBezTo>
                  <a:pt x="660" y="267"/>
                  <a:pt x="660" y="267"/>
                  <a:pt x="660" y="267"/>
                </a:cubicBezTo>
                <a:cubicBezTo>
                  <a:pt x="660" y="266"/>
                  <a:pt x="660" y="266"/>
                  <a:pt x="660" y="266"/>
                </a:cubicBezTo>
                <a:cubicBezTo>
                  <a:pt x="660" y="265"/>
                  <a:pt x="660" y="265"/>
                  <a:pt x="660" y="265"/>
                </a:cubicBezTo>
                <a:cubicBezTo>
                  <a:pt x="659" y="264"/>
                  <a:pt x="659" y="264"/>
                  <a:pt x="659" y="264"/>
                </a:cubicBezTo>
                <a:cubicBezTo>
                  <a:pt x="658" y="265"/>
                  <a:pt x="658" y="265"/>
                  <a:pt x="658" y="265"/>
                </a:cubicBezTo>
                <a:cubicBezTo>
                  <a:pt x="657" y="265"/>
                  <a:pt x="657" y="265"/>
                  <a:pt x="657" y="265"/>
                </a:cubicBezTo>
                <a:cubicBezTo>
                  <a:pt x="656" y="265"/>
                  <a:pt x="656" y="265"/>
                  <a:pt x="656" y="265"/>
                </a:cubicBezTo>
                <a:cubicBezTo>
                  <a:pt x="655" y="266"/>
                  <a:pt x="655" y="266"/>
                  <a:pt x="655" y="266"/>
                </a:cubicBezTo>
                <a:cubicBezTo>
                  <a:pt x="654" y="266"/>
                  <a:pt x="654" y="266"/>
                  <a:pt x="654" y="266"/>
                </a:cubicBezTo>
                <a:cubicBezTo>
                  <a:pt x="652" y="267"/>
                  <a:pt x="652" y="267"/>
                  <a:pt x="652" y="267"/>
                </a:cubicBezTo>
                <a:cubicBezTo>
                  <a:pt x="650" y="267"/>
                  <a:pt x="650" y="267"/>
                  <a:pt x="650" y="267"/>
                </a:cubicBezTo>
                <a:cubicBezTo>
                  <a:pt x="648" y="269"/>
                  <a:pt x="648" y="269"/>
                  <a:pt x="648" y="269"/>
                </a:cubicBezTo>
                <a:cubicBezTo>
                  <a:pt x="646" y="269"/>
                  <a:pt x="646" y="269"/>
                  <a:pt x="646" y="269"/>
                </a:cubicBezTo>
                <a:cubicBezTo>
                  <a:pt x="646" y="268"/>
                  <a:pt x="646" y="268"/>
                  <a:pt x="646" y="268"/>
                </a:cubicBezTo>
                <a:cubicBezTo>
                  <a:pt x="645" y="269"/>
                  <a:pt x="645" y="269"/>
                  <a:pt x="645" y="269"/>
                </a:cubicBezTo>
                <a:cubicBezTo>
                  <a:pt x="644" y="270"/>
                  <a:pt x="644" y="270"/>
                  <a:pt x="644" y="270"/>
                </a:cubicBezTo>
                <a:cubicBezTo>
                  <a:pt x="642" y="271"/>
                  <a:pt x="642" y="271"/>
                  <a:pt x="642" y="271"/>
                </a:cubicBezTo>
                <a:cubicBezTo>
                  <a:pt x="642" y="273"/>
                  <a:pt x="642" y="273"/>
                  <a:pt x="642" y="273"/>
                </a:cubicBezTo>
                <a:cubicBezTo>
                  <a:pt x="641" y="274"/>
                  <a:pt x="641" y="274"/>
                  <a:pt x="641" y="274"/>
                </a:cubicBezTo>
                <a:cubicBezTo>
                  <a:pt x="640" y="275"/>
                  <a:pt x="640" y="275"/>
                  <a:pt x="640" y="275"/>
                </a:cubicBezTo>
                <a:cubicBezTo>
                  <a:pt x="642" y="278"/>
                  <a:pt x="642" y="278"/>
                  <a:pt x="642" y="278"/>
                </a:cubicBezTo>
                <a:cubicBezTo>
                  <a:pt x="642" y="280"/>
                  <a:pt x="642" y="280"/>
                  <a:pt x="642" y="280"/>
                </a:cubicBezTo>
                <a:cubicBezTo>
                  <a:pt x="640" y="282"/>
                  <a:pt x="640" y="282"/>
                  <a:pt x="640" y="282"/>
                </a:cubicBezTo>
                <a:cubicBezTo>
                  <a:pt x="639" y="284"/>
                  <a:pt x="639" y="284"/>
                  <a:pt x="639" y="284"/>
                </a:cubicBezTo>
                <a:cubicBezTo>
                  <a:pt x="639" y="286"/>
                  <a:pt x="639" y="286"/>
                  <a:pt x="639" y="286"/>
                </a:cubicBezTo>
                <a:cubicBezTo>
                  <a:pt x="639" y="288"/>
                  <a:pt x="639" y="288"/>
                  <a:pt x="639" y="288"/>
                </a:cubicBezTo>
                <a:cubicBezTo>
                  <a:pt x="640" y="289"/>
                  <a:pt x="640" y="289"/>
                  <a:pt x="640" y="289"/>
                </a:cubicBezTo>
                <a:cubicBezTo>
                  <a:pt x="640" y="291"/>
                  <a:pt x="640" y="291"/>
                  <a:pt x="640" y="291"/>
                </a:cubicBezTo>
                <a:cubicBezTo>
                  <a:pt x="639" y="291"/>
                  <a:pt x="639" y="291"/>
                  <a:pt x="639" y="291"/>
                </a:cubicBezTo>
                <a:cubicBezTo>
                  <a:pt x="638" y="291"/>
                  <a:pt x="638" y="291"/>
                  <a:pt x="638" y="291"/>
                </a:cubicBezTo>
                <a:cubicBezTo>
                  <a:pt x="638" y="293"/>
                  <a:pt x="638" y="293"/>
                  <a:pt x="638" y="293"/>
                </a:cubicBezTo>
                <a:cubicBezTo>
                  <a:pt x="638" y="293"/>
                  <a:pt x="638" y="293"/>
                  <a:pt x="638" y="293"/>
                </a:cubicBezTo>
                <a:cubicBezTo>
                  <a:pt x="638" y="295"/>
                  <a:pt x="638" y="295"/>
                  <a:pt x="638" y="295"/>
                </a:cubicBezTo>
                <a:cubicBezTo>
                  <a:pt x="637" y="296"/>
                  <a:pt x="637" y="296"/>
                  <a:pt x="637" y="296"/>
                </a:cubicBezTo>
                <a:cubicBezTo>
                  <a:pt x="637" y="298"/>
                  <a:pt x="637" y="298"/>
                  <a:pt x="637" y="298"/>
                </a:cubicBezTo>
                <a:cubicBezTo>
                  <a:pt x="635" y="300"/>
                  <a:pt x="635" y="300"/>
                  <a:pt x="635" y="300"/>
                </a:cubicBezTo>
                <a:cubicBezTo>
                  <a:pt x="636" y="301"/>
                  <a:pt x="636" y="301"/>
                  <a:pt x="636" y="301"/>
                </a:cubicBezTo>
                <a:cubicBezTo>
                  <a:pt x="635" y="302"/>
                  <a:pt x="635" y="302"/>
                  <a:pt x="635" y="302"/>
                </a:cubicBezTo>
                <a:cubicBezTo>
                  <a:pt x="634" y="304"/>
                  <a:pt x="634" y="304"/>
                  <a:pt x="634" y="304"/>
                </a:cubicBezTo>
                <a:cubicBezTo>
                  <a:pt x="634" y="304"/>
                  <a:pt x="634" y="304"/>
                  <a:pt x="634" y="304"/>
                </a:cubicBezTo>
                <a:cubicBezTo>
                  <a:pt x="633" y="307"/>
                  <a:pt x="633" y="307"/>
                  <a:pt x="633" y="307"/>
                </a:cubicBezTo>
                <a:cubicBezTo>
                  <a:pt x="633" y="309"/>
                  <a:pt x="633" y="309"/>
                  <a:pt x="633" y="309"/>
                </a:cubicBezTo>
                <a:cubicBezTo>
                  <a:pt x="633" y="310"/>
                  <a:pt x="633" y="310"/>
                  <a:pt x="633" y="310"/>
                </a:cubicBezTo>
                <a:cubicBezTo>
                  <a:pt x="633" y="312"/>
                  <a:pt x="633" y="312"/>
                  <a:pt x="633" y="312"/>
                </a:cubicBezTo>
                <a:cubicBezTo>
                  <a:pt x="632" y="313"/>
                  <a:pt x="632" y="313"/>
                  <a:pt x="632" y="313"/>
                </a:cubicBezTo>
                <a:cubicBezTo>
                  <a:pt x="632" y="314"/>
                  <a:pt x="632" y="314"/>
                  <a:pt x="632" y="314"/>
                </a:cubicBezTo>
                <a:cubicBezTo>
                  <a:pt x="631" y="316"/>
                  <a:pt x="631" y="316"/>
                  <a:pt x="631" y="316"/>
                </a:cubicBezTo>
                <a:cubicBezTo>
                  <a:pt x="631" y="317"/>
                  <a:pt x="631" y="317"/>
                  <a:pt x="631" y="317"/>
                </a:cubicBezTo>
                <a:cubicBezTo>
                  <a:pt x="630" y="317"/>
                  <a:pt x="630" y="317"/>
                  <a:pt x="630" y="317"/>
                </a:cubicBezTo>
                <a:cubicBezTo>
                  <a:pt x="630" y="319"/>
                  <a:pt x="630" y="319"/>
                  <a:pt x="630" y="319"/>
                </a:cubicBezTo>
                <a:cubicBezTo>
                  <a:pt x="628" y="320"/>
                  <a:pt x="628" y="320"/>
                  <a:pt x="628" y="320"/>
                </a:cubicBezTo>
                <a:cubicBezTo>
                  <a:pt x="628" y="322"/>
                  <a:pt x="628" y="322"/>
                  <a:pt x="628" y="322"/>
                </a:cubicBezTo>
                <a:cubicBezTo>
                  <a:pt x="627" y="324"/>
                  <a:pt x="627" y="324"/>
                  <a:pt x="627" y="324"/>
                </a:cubicBezTo>
                <a:cubicBezTo>
                  <a:pt x="627" y="325"/>
                  <a:pt x="627" y="325"/>
                  <a:pt x="627" y="325"/>
                </a:cubicBezTo>
                <a:cubicBezTo>
                  <a:pt x="625" y="327"/>
                  <a:pt x="625" y="327"/>
                  <a:pt x="625" y="327"/>
                </a:cubicBezTo>
                <a:cubicBezTo>
                  <a:pt x="625" y="328"/>
                  <a:pt x="625" y="328"/>
                  <a:pt x="625" y="328"/>
                </a:cubicBezTo>
                <a:cubicBezTo>
                  <a:pt x="624" y="329"/>
                  <a:pt x="624" y="329"/>
                  <a:pt x="624" y="329"/>
                </a:cubicBezTo>
                <a:cubicBezTo>
                  <a:pt x="625" y="330"/>
                  <a:pt x="625" y="330"/>
                  <a:pt x="625" y="330"/>
                </a:cubicBezTo>
                <a:cubicBezTo>
                  <a:pt x="626" y="331"/>
                  <a:pt x="626" y="331"/>
                  <a:pt x="626" y="331"/>
                </a:cubicBezTo>
                <a:cubicBezTo>
                  <a:pt x="627" y="331"/>
                  <a:pt x="627" y="331"/>
                  <a:pt x="627" y="331"/>
                </a:cubicBezTo>
                <a:cubicBezTo>
                  <a:pt x="628" y="332"/>
                  <a:pt x="628" y="332"/>
                  <a:pt x="628" y="332"/>
                </a:cubicBezTo>
                <a:cubicBezTo>
                  <a:pt x="630" y="332"/>
                  <a:pt x="630" y="332"/>
                  <a:pt x="630" y="332"/>
                </a:cubicBezTo>
                <a:cubicBezTo>
                  <a:pt x="631" y="331"/>
                  <a:pt x="631" y="331"/>
                  <a:pt x="631" y="331"/>
                </a:cubicBezTo>
                <a:cubicBezTo>
                  <a:pt x="632" y="330"/>
                  <a:pt x="632" y="330"/>
                  <a:pt x="632" y="330"/>
                </a:cubicBezTo>
                <a:cubicBezTo>
                  <a:pt x="633" y="330"/>
                  <a:pt x="633" y="330"/>
                  <a:pt x="633" y="330"/>
                </a:cubicBezTo>
                <a:cubicBezTo>
                  <a:pt x="634" y="330"/>
                  <a:pt x="634" y="330"/>
                  <a:pt x="634" y="330"/>
                </a:cubicBezTo>
                <a:cubicBezTo>
                  <a:pt x="635" y="329"/>
                  <a:pt x="635" y="329"/>
                  <a:pt x="635" y="329"/>
                </a:cubicBezTo>
                <a:cubicBezTo>
                  <a:pt x="635" y="333"/>
                  <a:pt x="635" y="333"/>
                  <a:pt x="635" y="333"/>
                </a:cubicBezTo>
                <a:cubicBezTo>
                  <a:pt x="637" y="335"/>
                  <a:pt x="637" y="335"/>
                  <a:pt x="637" y="335"/>
                </a:cubicBezTo>
                <a:cubicBezTo>
                  <a:pt x="637" y="337"/>
                  <a:pt x="637" y="337"/>
                  <a:pt x="637" y="337"/>
                </a:cubicBezTo>
                <a:cubicBezTo>
                  <a:pt x="637" y="338"/>
                  <a:pt x="637" y="338"/>
                  <a:pt x="637" y="338"/>
                </a:cubicBezTo>
                <a:cubicBezTo>
                  <a:pt x="639" y="339"/>
                  <a:pt x="639" y="339"/>
                  <a:pt x="639" y="339"/>
                </a:cubicBezTo>
                <a:cubicBezTo>
                  <a:pt x="639" y="338"/>
                  <a:pt x="639" y="338"/>
                  <a:pt x="639" y="338"/>
                </a:cubicBezTo>
                <a:cubicBezTo>
                  <a:pt x="640" y="339"/>
                  <a:pt x="640" y="339"/>
                  <a:pt x="640" y="339"/>
                </a:cubicBezTo>
                <a:cubicBezTo>
                  <a:pt x="640" y="338"/>
                  <a:pt x="640" y="338"/>
                  <a:pt x="640" y="338"/>
                </a:cubicBezTo>
                <a:cubicBezTo>
                  <a:pt x="641" y="337"/>
                  <a:pt x="641" y="337"/>
                  <a:pt x="641" y="337"/>
                </a:cubicBezTo>
                <a:cubicBezTo>
                  <a:pt x="642" y="336"/>
                  <a:pt x="642" y="336"/>
                  <a:pt x="642" y="336"/>
                </a:cubicBezTo>
                <a:cubicBezTo>
                  <a:pt x="642" y="337"/>
                  <a:pt x="642" y="337"/>
                  <a:pt x="642" y="337"/>
                </a:cubicBezTo>
                <a:cubicBezTo>
                  <a:pt x="643" y="337"/>
                  <a:pt x="643" y="337"/>
                  <a:pt x="643" y="337"/>
                </a:cubicBezTo>
                <a:cubicBezTo>
                  <a:pt x="644" y="337"/>
                  <a:pt x="644" y="337"/>
                  <a:pt x="644" y="337"/>
                </a:cubicBezTo>
                <a:cubicBezTo>
                  <a:pt x="644" y="337"/>
                  <a:pt x="644" y="337"/>
                  <a:pt x="644" y="337"/>
                </a:cubicBezTo>
                <a:cubicBezTo>
                  <a:pt x="643" y="338"/>
                  <a:pt x="643" y="338"/>
                  <a:pt x="643" y="338"/>
                </a:cubicBezTo>
                <a:cubicBezTo>
                  <a:pt x="644" y="340"/>
                  <a:pt x="644" y="340"/>
                  <a:pt x="644" y="340"/>
                </a:cubicBezTo>
                <a:cubicBezTo>
                  <a:pt x="643" y="340"/>
                  <a:pt x="643" y="340"/>
                  <a:pt x="643" y="340"/>
                </a:cubicBezTo>
                <a:cubicBezTo>
                  <a:pt x="642" y="341"/>
                  <a:pt x="642" y="341"/>
                  <a:pt x="642" y="341"/>
                </a:cubicBezTo>
                <a:cubicBezTo>
                  <a:pt x="642" y="341"/>
                  <a:pt x="642" y="341"/>
                  <a:pt x="642" y="341"/>
                </a:cubicBezTo>
                <a:cubicBezTo>
                  <a:pt x="645" y="341"/>
                  <a:pt x="645" y="341"/>
                  <a:pt x="645" y="341"/>
                </a:cubicBezTo>
                <a:cubicBezTo>
                  <a:pt x="646" y="340"/>
                  <a:pt x="646" y="340"/>
                  <a:pt x="646" y="340"/>
                </a:cubicBezTo>
                <a:cubicBezTo>
                  <a:pt x="647" y="338"/>
                  <a:pt x="647" y="338"/>
                  <a:pt x="647" y="338"/>
                </a:cubicBezTo>
                <a:cubicBezTo>
                  <a:pt x="647" y="337"/>
                  <a:pt x="647" y="337"/>
                  <a:pt x="647" y="337"/>
                </a:cubicBezTo>
                <a:cubicBezTo>
                  <a:pt x="647" y="336"/>
                  <a:pt x="647" y="336"/>
                  <a:pt x="647" y="336"/>
                </a:cubicBezTo>
                <a:cubicBezTo>
                  <a:pt x="648" y="338"/>
                  <a:pt x="648" y="338"/>
                  <a:pt x="648" y="338"/>
                </a:cubicBezTo>
                <a:cubicBezTo>
                  <a:pt x="648" y="339"/>
                  <a:pt x="648" y="339"/>
                  <a:pt x="648" y="339"/>
                </a:cubicBezTo>
                <a:cubicBezTo>
                  <a:pt x="648" y="341"/>
                  <a:pt x="648" y="341"/>
                  <a:pt x="648" y="341"/>
                </a:cubicBezTo>
                <a:cubicBezTo>
                  <a:pt x="649" y="340"/>
                  <a:pt x="649" y="340"/>
                  <a:pt x="649" y="340"/>
                </a:cubicBezTo>
                <a:cubicBezTo>
                  <a:pt x="649" y="339"/>
                  <a:pt x="649" y="339"/>
                  <a:pt x="649" y="339"/>
                </a:cubicBezTo>
                <a:cubicBezTo>
                  <a:pt x="648" y="337"/>
                  <a:pt x="648" y="337"/>
                  <a:pt x="648" y="337"/>
                </a:cubicBezTo>
                <a:cubicBezTo>
                  <a:pt x="649" y="335"/>
                  <a:pt x="649" y="335"/>
                  <a:pt x="649" y="335"/>
                </a:cubicBezTo>
                <a:cubicBezTo>
                  <a:pt x="648" y="334"/>
                  <a:pt x="648" y="334"/>
                  <a:pt x="648" y="334"/>
                </a:cubicBezTo>
                <a:cubicBezTo>
                  <a:pt x="647" y="332"/>
                  <a:pt x="647" y="332"/>
                  <a:pt x="647" y="332"/>
                </a:cubicBezTo>
                <a:cubicBezTo>
                  <a:pt x="649" y="332"/>
                  <a:pt x="649" y="332"/>
                  <a:pt x="649" y="332"/>
                </a:cubicBezTo>
                <a:cubicBezTo>
                  <a:pt x="650" y="333"/>
                  <a:pt x="650" y="333"/>
                  <a:pt x="650" y="333"/>
                </a:cubicBezTo>
                <a:cubicBezTo>
                  <a:pt x="650" y="333"/>
                  <a:pt x="650" y="333"/>
                  <a:pt x="650" y="333"/>
                </a:cubicBezTo>
                <a:cubicBezTo>
                  <a:pt x="650" y="334"/>
                  <a:pt x="650" y="334"/>
                  <a:pt x="650" y="334"/>
                </a:cubicBezTo>
                <a:cubicBezTo>
                  <a:pt x="651" y="334"/>
                  <a:pt x="651" y="334"/>
                  <a:pt x="651" y="334"/>
                </a:cubicBezTo>
                <a:cubicBezTo>
                  <a:pt x="651" y="333"/>
                  <a:pt x="651" y="333"/>
                  <a:pt x="651" y="333"/>
                </a:cubicBezTo>
                <a:cubicBezTo>
                  <a:pt x="653" y="333"/>
                  <a:pt x="653" y="333"/>
                  <a:pt x="653" y="333"/>
                </a:cubicBezTo>
                <a:cubicBezTo>
                  <a:pt x="654" y="332"/>
                  <a:pt x="654" y="332"/>
                  <a:pt x="654" y="332"/>
                </a:cubicBezTo>
                <a:cubicBezTo>
                  <a:pt x="655" y="333"/>
                  <a:pt x="655" y="333"/>
                  <a:pt x="655" y="333"/>
                </a:cubicBezTo>
                <a:cubicBezTo>
                  <a:pt x="657" y="333"/>
                  <a:pt x="657" y="333"/>
                  <a:pt x="657" y="333"/>
                </a:cubicBezTo>
                <a:cubicBezTo>
                  <a:pt x="658" y="334"/>
                  <a:pt x="658" y="334"/>
                  <a:pt x="658" y="334"/>
                </a:cubicBezTo>
                <a:cubicBezTo>
                  <a:pt x="658" y="336"/>
                  <a:pt x="658" y="336"/>
                  <a:pt x="658" y="336"/>
                </a:cubicBezTo>
                <a:cubicBezTo>
                  <a:pt x="659" y="336"/>
                  <a:pt x="659" y="336"/>
                  <a:pt x="659" y="336"/>
                </a:cubicBezTo>
                <a:cubicBezTo>
                  <a:pt x="661" y="336"/>
                  <a:pt x="661" y="336"/>
                  <a:pt x="661" y="336"/>
                </a:cubicBezTo>
                <a:cubicBezTo>
                  <a:pt x="662" y="337"/>
                  <a:pt x="662" y="337"/>
                  <a:pt x="662" y="337"/>
                </a:cubicBezTo>
                <a:cubicBezTo>
                  <a:pt x="664" y="338"/>
                  <a:pt x="664" y="338"/>
                  <a:pt x="664" y="338"/>
                </a:cubicBezTo>
                <a:cubicBezTo>
                  <a:pt x="665" y="339"/>
                  <a:pt x="665" y="339"/>
                  <a:pt x="665" y="339"/>
                </a:cubicBezTo>
                <a:cubicBezTo>
                  <a:pt x="666" y="339"/>
                  <a:pt x="666" y="339"/>
                  <a:pt x="666" y="339"/>
                </a:cubicBezTo>
                <a:cubicBezTo>
                  <a:pt x="666" y="340"/>
                  <a:pt x="666" y="340"/>
                  <a:pt x="666" y="340"/>
                </a:cubicBezTo>
                <a:cubicBezTo>
                  <a:pt x="667" y="340"/>
                  <a:pt x="667" y="340"/>
                  <a:pt x="667" y="340"/>
                </a:cubicBezTo>
                <a:cubicBezTo>
                  <a:pt x="668" y="342"/>
                  <a:pt x="668" y="342"/>
                  <a:pt x="668" y="342"/>
                </a:cubicBezTo>
                <a:cubicBezTo>
                  <a:pt x="668" y="343"/>
                  <a:pt x="668" y="343"/>
                  <a:pt x="668" y="343"/>
                </a:cubicBezTo>
                <a:cubicBezTo>
                  <a:pt x="668" y="344"/>
                  <a:pt x="668" y="344"/>
                  <a:pt x="668" y="344"/>
                </a:cubicBezTo>
                <a:cubicBezTo>
                  <a:pt x="667" y="345"/>
                  <a:pt x="667" y="345"/>
                  <a:pt x="667" y="345"/>
                </a:cubicBezTo>
                <a:cubicBezTo>
                  <a:pt x="668" y="346"/>
                  <a:pt x="668" y="346"/>
                  <a:pt x="668" y="346"/>
                </a:cubicBezTo>
                <a:cubicBezTo>
                  <a:pt x="669" y="346"/>
                  <a:pt x="669" y="346"/>
                  <a:pt x="669" y="346"/>
                </a:cubicBezTo>
                <a:cubicBezTo>
                  <a:pt x="670" y="348"/>
                  <a:pt x="670" y="348"/>
                  <a:pt x="670" y="348"/>
                </a:cubicBezTo>
                <a:cubicBezTo>
                  <a:pt x="671" y="349"/>
                  <a:pt x="671" y="349"/>
                  <a:pt x="671" y="349"/>
                </a:cubicBezTo>
                <a:cubicBezTo>
                  <a:pt x="670" y="350"/>
                  <a:pt x="670" y="350"/>
                  <a:pt x="670" y="350"/>
                </a:cubicBezTo>
                <a:cubicBezTo>
                  <a:pt x="670" y="352"/>
                  <a:pt x="670" y="352"/>
                  <a:pt x="670" y="352"/>
                </a:cubicBezTo>
                <a:cubicBezTo>
                  <a:pt x="671" y="353"/>
                  <a:pt x="671" y="353"/>
                  <a:pt x="671" y="353"/>
                </a:cubicBezTo>
                <a:cubicBezTo>
                  <a:pt x="672" y="353"/>
                  <a:pt x="672" y="353"/>
                  <a:pt x="672" y="353"/>
                </a:cubicBezTo>
                <a:cubicBezTo>
                  <a:pt x="673" y="352"/>
                  <a:pt x="673" y="352"/>
                  <a:pt x="673" y="352"/>
                </a:cubicBezTo>
                <a:cubicBezTo>
                  <a:pt x="673" y="353"/>
                  <a:pt x="673" y="353"/>
                  <a:pt x="673" y="353"/>
                </a:cubicBezTo>
                <a:cubicBezTo>
                  <a:pt x="673" y="354"/>
                  <a:pt x="673" y="354"/>
                  <a:pt x="673" y="354"/>
                </a:cubicBezTo>
                <a:cubicBezTo>
                  <a:pt x="673" y="356"/>
                  <a:pt x="673" y="356"/>
                  <a:pt x="673" y="356"/>
                </a:cubicBezTo>
                <a:cubicBezTo>
                  <a:pt x="674" y="356"/>
                  <a:pt x="674" y="356"/>
                  <a:pt x="674" y="356"/>
                </a:cubicBezTo>
                <a:cubicBezTo>
                  <a:pt x="673" y="357"/>
                  <a:pt x="673" y="357"/>
                  <a:pt x="673" y="357"/>
                </a:cubicBezTo>
                <a:cubicBezTo>
                  <a:pt x="673" y="358"/>
                  <a:pt x="673" y="358"/>
                  <a:pt x="673" y="358"/>
                </a:cubicBezTo>
                <a:cubicBezTo>
                  <a:pt x="673" y="359"/>
                  <a:pt x="673" y="359"/>
                  <a:pt x="673" y="359"/>
                </a:cubicBezTo>
                <a:cubicBezTo>
                  <a:pt x="673" y="360"/>
                  <a:pt x="673" y="360"/>
                  <a:pt x="673" y="360"/>
                </a:cubicBezTo>
                <a:cubicBezTo>
                  <a:pt x="673" y="361"/>
                  <a:pt x="673" y="361"/>
                  <a:pt x="673" y="361"/>
                </a:cubicBezTo>
                <a:cubicBezTo>
                  <a:pt x="673" y="362"/>
                  <a:pt x="673" y="362"/>
                  <a:pt x="673" y="362"/>
                </a:cubicBezTo>
                <a:cubicBezTo>
                  <a:pt x="673" y="362"/>
                  <a:pt x="673" y="362"/>
                  <a:pt x="673" y="362"/>
                </a:cubicBezTo>
                <a:cubicBezTo>
                  <a:pt x="674" y="363"/>
                  <a:pt x="674" y="363"/>
                  <a:pt x="674" y="363"/>
                </a:cubicBezTo>
                <a:cubicBezTo>
                  <a:pt x="673" y="364"/>
                  <a:pt x="673" y="364"/>
                  <a:pt x="673" y="364"/>
                </a:cubicBezTo>
                <a:cubicBezTo>
                  <a:pt x="674" y="367"/>
                  <a:pt x="674" y="367"/>
                  <a:pt x="674" y="367"/>
                </a:cubicBezTo>
                <a:cubicBezTo>
                  <a:pt x="673" y="367"/>
                  <a:pt x="673" y="367"/>
                  <a:pt x="673" y="367"/>
                </a:cubicBezTo>
                <a:cubicBezTo>
                  <a:pt x="674" y="370"/>
                  <a:pt x="674" y="370"/>
                  <a:pt x="674" y="370"/>
                </a:cubicBezTo>
                <a:cubicBezTo>
                  <a:pt x="674" y="371"/>
                  <a:pt x="674" y="371"/>
                  <a:pt x="674" y="371"/>
                </a:cubicBezTo>
                <a:cubicBezTo>
                  <a:pt x="674" y="372"/>
                  <a:pt x="674" y="372"/>
                  <a:pt x="674" y="372"/>
                </a:cubicBezTo>
                <a:cubicBezTo>
                  <a:pt x="675" y="376"/>
                  <a:pt x="675" y="376"/>
                  <a:pt x="675" y="376"/>
                </a:cubicBezTo>
                <a:cubicBezTo>
                  <a:pt x="676" y="376"/>
                  <a:pt x="676" y="376"/>
                  <a:pt x="676" y="376"/>
                </a:cubicBezTo>
                <a:cubicBezTo>
                  <a:pt x="677" y="375"/>
                  <a:pt x="677" y="375"/>
                  <a:pt x="677" y="375"/>
                </a:cubicBezTo>
                <a:cubicBezTo>
                  <a:pt x="677" y="376"/>
                  <a:pt x="677" y="376"/>
                  <a:pt x="677" y="376"/>
                </a:cubicBezTo>
                <a:cubicBezTo>
                  <a:pt x="676" y="377"/>
                  <a:pt x="676" y="377"/>
                  <a:pt x="676" y="377"/>
                </a:cubicBezTo>
                <a:cubicBezTo>
                  <a:pt x="676" y="378"/>
                  <a:pt x="676" y="378"/>
                  <a:pt x="676" y="378"/>
                </a:cubicBezTo>
                <a:cubicBezTo>
                  <a:pt x="676" y="379"/>
                  <a:pt x="676" y="379"/>
                  <a:pt x="676" y="379"/>
                </a:cubicBezTo>
                <a:cubicBezTo>
                  <a:pt x="677" y="379"/>
                  <a:pt x="677" y="379"/>
                  <a:pt x="677" y="379"/>
                </a:cubicBezTo>
                <a:cubicBezTo>
                  <a:pt x="679" y="381"/>
                  <a:pt x="679" y="381"/>
                  <a:pt x="679" y="381"/>
                </a:cubicBezTo>
                <a:cubicBezTo>
                  <a:pt x="679" y="383"/>
                  <a:pt x="679" y="383"/>
                  <a:pt x="679" y="383"/>
                </a:cubicBezTo>
                <a:cubicBezTo>
                  <a:pt x="679" y="384"/>
                  <a:pt x="679" y="384"/>
                  <a:pt x="679" y="384"/>
                </a:cubicBezTo>
                <a:cubicBezTo>
                  <a:pt x="679" y="385"/>
                  <a:pt x="679" y="385"/>
                  <a:pt x="679" y="385"/>
                </a:cubicBezTo>
                <a:cubicBezTo>
                  <a:pt x="679" y="388"/>
                  <a:pt x="679" y="388"/>
                  <a:pt x="679" y="388"/>
                </a:cubicBezTo>
                <a:cubicBezTo>
                  <a:pt x="680" y="388"/>
                  <a:pt x="680" y="388"/>
                  <a:pt x="680" y="388"/>
                </a:cubicBezTo>
                <a:cubicBezTo>
                  <a:pt x="680" y="390"/>
                  <a:pt x="680" y="390"/>
                  <a:pt x="680" y="390"/>
                </a:cubicBezTo>
                <a:cubicBezTo>
                  <a:pt x="680" y="390"/>
                  <a:pt x="680" y="390"/>
                  <a:pt x="680" y="390"/>
                </a:cubicBezTo>
                <a:cubicBezTo>
                  <a:pt x="680" y="392"/>
                  <a:pt x="680" y="392"/>
                  <a:pt x="680" y="392"/>
                </a:cubicBezTo>
                <a:cubicBezTo>
                  <a:pt x="681" y="393"/>
                  <a:pt x="681" y="393"/>
                  <a:pt x="681" y="393"/>
                </a:cubicBezTo>
                <a:cubicBezTo>
                  <a:pt x="681" y="395"/>
                  <a:pt x="681" y="395"/>
                  <a:pt x="681" y="395"/>
                </a:cubicBezTo>
                <a:cubicBezTo>
                  <a:pt x="679" y="397"/>
                  <a:pt x="679" y="397"/>
                  <a:pt x="679" y="397"/>
                </a:cubicBezTo>
                <a:cubicBezTo>
                  <a:pt x="679" y="398"/>
                  <a:pt x="679" y="398"/>
                  <a:pt x="679" y="398"/>
                </a:cubicBezTo>
                <a:cubicBezTo>
                  <a:pt x="678" y="400"/>
                  <a:pt x="678" y="400"/>
                  <a:pt x="678" y="400"/>
                </a:cubicBezTo>
                <a:cubicBezTo>
                  <a:pt x="678" y="403"/>
                  <a:pt x="678" y="403"/>
                  <a:pt x="678" y="403"/>
                </a:cubicBezTo>
                <a:cubicBezTo>
                  <a:pt x="678" y="403"/>
                  <a:pt x="678" y="403"/>
                  <a:pt x="678" y="403"/>
                </a:cubicBezTo>
                <a:cubicBezTo>
                  <a:pt x="678" y="405"/>
                  <a:pt x="678" y="405"/>
                  <a:pt x="678" y="405"/>
                </a:cubicBezTo>
                <a:cubicBezTo>
                  <a:pt x="677" y="406"/>
                  <a:pt x="677" y="406"/>
                  <a:pt x="677" y="406"/>
                </a:cubicBezTo>
                <a:cubicBezTo>
                  <a:pt x="677" y="407"/>
                  <a:pt x="677" y="407"/>
                  <a:pt x="677" y="407"/>
                </a:cubicBezTo>
                <a:cubicBezTo>
                  <a:pt x="676" y="409"/>
                  <a:pt x="676" y="409"/>
                  <a:pt x="676" y="409"/>
                </a:cubicBezTo>
                <a:cubicBezTo>
                  <a:pt x="677" y="409"/>
                  <a:pt x="677" y="409"/>
                  <a:pt x="677" y="409"/>
                </a:cubicBezTo>
                <a:cubicBezTo>
                  <a:pt x="677" y="410"/>
                  <a:pt x="677" y="410"/>
                  <a:pt x="677" y="410"/>
                </a:cubicBezTo>
                <a:cubicBezTo>
                  <a:pt x="676" y="412"/>
                  <a:pt x="676" y="412"/>
                  <a:pt x="676" y="412"/>
                </a:cubicBezTo>
                <a:cubicBezTo>
                  <a:pt x="676" y="415"/>
                  <a:pt x="676" y="415"/>
                  <a:pt x="676" y="415"/>
                </a:cubicBezTo>
                <a:cubicBezTo>
                  <a:pt x="675" y="416"/>
                  <a:pt x="675" y="416"/>
                  <a:pt x="675" y="416"/>
                </a:cubicBezTo>
                <a:cubicBezTo>
                  <a:pt x="676" y="418"/>
                  <a:pt x="676" y="418"/>
                  <a:pt x="676" y="418"/>
                </a:cubicBezTo>
                <a:cubicBezTo>
                  <a:pt x="676" y="418"/>
                  <a:pt x="676" y="418"/>
                  <a:pt x="676" y="418"/>
                </a:cubicBezTo>
                <a:cubicBezTo>
                  <a:pt x="676" y="419"/>
                  <a:pt x="676" y="419"/>
                  <a:pt x="676" y="419"/>
                </a:cubicBezTo>
                <a:cubicBezTo>
                  <a:pt x="675" y="421"/>
                  <a:pt x="675" y="421"/>
                  <a:pt x="675" y="421"/>
                </a:cubicBezTo>
                <a:cubicBezTo>
                  <a:pt x="674" y="422"/>
                  <a:pt x="674" y="422"/>
                  <a:pt x="674" y="422"/>
                </a:cubicBezTo>
                <a:cubicBezTo>
                  <a:pt x="673" y="423"/>
                  <a:pt x="673" y="423"/>
                  <a:pt x="673" y="423"/>
                </a:cubicBezTo>
                <a:cubicBezTo>
                  <a:pt x="673" y="425"/>
                  <a:pt x="673" y="425"/>
                  <a:pt x="673" y="425"/>
                </a:cubicBezTo>
                <a:cubicBezTo>
                  <a:pt x="672" y="426"/>
                  <a:pt x="672" y="426"/>
                  <a:pt x="672" y="426"/>
                </a:cubicBezTo>
                <a:cubicBezTo>
                  <a:pt x="670" y="432"/>
                  <a:pt x="670" y="432"/>
                  <a:pt x="670" y="432"/>
                </a:cubicBezTo>
                <a:cubicBezTo>
                  <a:pt x="670" y="432"/>
                  <a:pt x="670" y="432"/>
                  <a:pt x="670" y="432"/>
                </a:cubicBezTo>
                <a:cubicBezTo>
                  <a:pt x="670" y="434"/>
                  <a:pt x="670" y="434"/>
                  <a:pt x="670" y="434"/>
                </a:cubicBezTo>
                <a:cubicBezTo>
                  <a:pt x="670" y="434"/>
                  <a:pt x="670" y="434"/>
                  <a:pt x="670" y="434"/>
                </a:cubicBezTo>
                <a:cubicBezTo>
                  <a:pt x="670" y="435"/>
                  <a:pt x="670" y="435"/>
                  <a:pt x="670" y="435"/>
                </a:cubicBezTo>
                <a:cubicBezTo>
                  <a:pt x="668" y="436"/>
                  <a:pt x="668" y="436"/>
                  <a:pt x="668" y="436"/>
                </a:cubicBezTo>
                <a:cubicBezTo>
                  <a:pt x="668" y="437"/>
                  <a:pt x="668" y="437"/>
                  <a:pt x="668" y="437"/>
                </a:cubicBezTo>
                <a:cubicBezTo>
                  <a:pt x="667" y="438"/>
                  <a:pt x="667" y="438"/>
                  <a:pt x="667" y="438"/>
                </a:cubicBezTo>
                <a:cubicBezTo>
                  <a:pt x="667" y="440"/>
                  <a:pt x="667" y="440"/>
                  <a:pt x="667" y="440"/>
                </a:cubicBezTo>
                <a:cubicBezTo>
                  <a:pt x="666" y="440"/>
                  <a:pt x="666" y="440"/>
                  <a:pt x="666" y="440"/>
                </a:cubicBezTo>
                <a:cubicBezTo>
                  <a:pt x="667" y="441"/>
                  <a:pt x="667" y="441"/>
                  <a:pt x="667" y="441"/>
                </a:cubicBezTo>
                <a:cubicBezTo>
                  <a:pt x="666" y="443"/>
                  <a:pt x="666" y="443"/>
                  <a:pt x="666" y="443"/>
                </a:cubicBezTo>
                <a:cubicBezTo>
                  <a:pt x="665" y="443"/>
                  <a:pt x="665" y="443"/>
                  <a:pt x="665" y="443"/>
                </a:cubicBezTo>
                <a:cubicBezTo>
                  <a:pt x="664" y="442"/>
                  <a:pt x="664" y="442"/>
                  <a:pt x="664" y="442"/>
                </a:cubicBezTo>
                <a:cubicBezTo>
                  <a:pt x="665" y="444"/>
                  <a:pt x="665" y="444"/>
                  <a:pt x="665" y="444"/>
                </a:cubicBezTo>
                <a:cubicBezTo>
                  <a:pt x="665" y="445"/>
                  <a:pt x="665" y="445"/>
                  <a:pt x="665" y="445"/>
                </a:cubicBezTo>
                <a:cubicBezTo>
                  <a:pt x="663" y="446"/>
                  <a:pt x="663" y="446"/>
                  <a:pt x="663" y="446"/>
                </a:cubicBezTo>
                <a:cubicBezTo>
                  <a:pt x="664" y="447"/>
                  <a:pt x="664" y="447"/>
                  <a:pt x="664" y="447"/>
                </a:cubicBezTo>
                <a:cubicBezTo>
                  <a:pt x="662" y="449"/>
                  <a:pt x="662" y="449"/>
                  <a:pt x="662" y="449"/>
                </a:cubicBezTo>
                <a:cubicBezTo>
                  <a:pt x="661" y="451"/>
                  <a:pt x="661" y="451"/>
                  <a:pt x="661" y="451"/>
                </a:cubicBezTo>
                <a:cubicBezTo>
                  <a:pt x="660" y="451"/>
                  <a:pt x="660" y="451"/>
                  <a:pt x="660" y="451"/>
                </a:cubicBezTo>
                <a:cubicBezTo>
                  <a:pt x="660" y="452"/>
                  <a:pt x="660" y="452"/>
                  <a:pt x="660" y="452"/>
                </a:cubicBezTo>
                <a:cubicBezTo>
                  <a:pt x="658" y="452"/>
                  <a:pt x="658" y="452"/>
                  <a:pt x="658" y="452"/>
                </a:cubicBezTo>
                <a:cubicBezTo>
                  <a:pt x="656" y="453"/>
                  <a:pt x="656" y="453"/>
                  <a:pt x="656" y="453"/>
                </a:cubicBezTo>
                <a:cubicBezTo>
                  <a:pt x="656" y="453"/>
                  <a:pt x="656" y="453"/>
                  <a:pt x="656" y="453"/>
                </a:cubicBezTo>
                <a:cubicBezTo>
                  <a:pt x="655" y="453"/>
                  <a:pt x="655" y="453"/>
                  <a:pt x="655" y="453"/>
                </a:cubicBezTo>
                <a:cubicBezTo>
                  <a:pt x="653" y="452"/>
                  <a:pt x="653" y="452"/>
                  <a:pt x="653" y="452"/>
                </a:cubicBezTo>
                <a:cubicBezTo>
                  <a:pt x="651" y="452"/>
                  <a:pt x="651" y="452"/>
                  <a:pt x="651" y="452"/>
                </a:cubicBezTo>
                <a:cubicBezTo>
                  <a:pt x="651" y="449"/>
                  <a:pt x="651" y="449"/>
                  <a:pt x="651" y="449"/>
                </a:cubicBezTo>
                <a:cubicBezTo>
                  <a:pt x="650" y="449"/>
                  <a:pt x="650" y="449"/>
                  <a:pt x="650" y="449"/>
                </a:cubicBezTo>
                <a:cubicBezTo>
                  <a:pt x="649" y="449"/>
                  <a:pt x="649" y="449"/>
                  <a:pt x="649" y="449"/>
                </a:cubicBezTo>
                <a:cubicBezTo>
                  <a:pt x="647" y="449"/>
                  <a:pt x="647" y="449"/>
                  <a:pt x="647" y="449"/>
                </a:cubicBezTo>
                <a:cubicBezTo>
                  <a:pt x="647" y="449"/>
                  <a:pt x="647" y="449"/>
                  <a:pt x="647" y="449"/>
                </a:cubicBezTo>
                <a:cubicBezTo>
                  <a:pt x="647" y="450"/>
                  <a:pt x="647" y="450"/>
                  <a:pt x="647" y="450"/>
                </a:cubicBezTo>
                <a:cubicBezTo>
                  <a:pt x="646" y="451"/>
                  <a:pt x="646" y="451"/>
                  <a:pt x="646" y="451"/>
                </a:cubicBezTo>
                <a:cubicBezTo>
                  <a:pt x="646" y="454"/>
                  <a:pt x="646" y="454"/>
                  <a:pt x="646" y="454"/>
                </a:cubicBezTo>
                <a:cubicBezTo>
                  <a:pt x="645" y="454"/>
                  <a:pt x="645" y="454"/>
                  <a:pt x="645" y="454"/>
                </a:cubicBezTo>
                <a:cubicBezTo>
                  <a:pt x="644" y="456"/>
                  <a:pt x="644" y="456"/>
                  <a:pt x="644" y="456"/>
                </a:cubicBezTo>
                <a:cubicBezTo>
                  <a:pt x="644" y="456"/>
                  <a:pt x="644" y="456"/>
                  <a:pt x="644" y="456"/>
                </a:cubicBezTo>
                <a:cubicBezTo>
                  <a:pt x="642" y="456"/>
                  <a:pt x="642" y="456"/>
                  <a:pt x="642" y="456"/>
                </a:cubicBezTo>
                <a:cubicBezTo>
                  <a:pt x="642" y="458"/>
                  <a:pt x="642" y="458"/>
                  <a:pt x="642" y="458"/>
                </a:cubicBezTo>
                <a:cubicBezTo>
                  <a:pt x="642" y="458"/>
                  <a:pt x="642" y="458"/>
                  <a:pt x="642" y="458"/>
                </a:cubicBezTo>
                <a:close/>
                <a:moveTo>
                  <a:pt x="208" y="462"/>
                </a:moveTo>
                <a:cubicBezTo>
                  <a:pt x="206" y="461"/>
                  <a:pt x="206" y="461"/>
                  <a:pt x="206" y="461"/>
                </a:cubicBezTo>
                <a:cubicBezTo>
                  <a:pt x="199" y="462"/>
                  <a:pt x="199" y="462"/>
                  <a:pt x="199" y="462"/>
                </a:cubicBezTo>
                <a:cubicBezTo>
                  <a:pt x="208" y="462"/>
                  <a:pt x="208" y="462"/>
                  <a:pt x="208" y="462"/>
                </a:cubicBezTo>
                <a:close/>
                <a:moveTo>
                  <a:pt x="734" y="436"/>
                </a:moveTo>
                <a:cubicBezTo>
                  <a:pt x="735" y="436"/>
                  <a:pt x="735" y="436"/>
                  <a:pt x="735" y="436"/>
                </a:cubicBezTo>
                <a:cubicBezTo>
                  <a:pt x="736" y="435"/>
                  <a:pt x="736" y="435"/>
                  <a:pt x="736" y="435"/>
                </a:cubicBezTo>
                <a:cubicBezTo>
                  <a:pt x="736" y="434"/>
                  <a:pt x="736" y="434"/>
                  <a:pt x="736" y="434"/>
                </a:cubicBezTo>
                <a:cubicBezTo>
                  <a:pt x="735" y="434"/>
                  <a:pt x="735" y="434"/>
                  <a:pt x="735" y="434"/>
                </a:cubicBezTo>
                <a:cubicBezTo>
                  <a:pt x="734" y="436"/>
                  <a:pt x="734" y="436"/>
                  <a:pt x="734" y="436"/>
                </a:cubicBezTo>
                <a:close/>
                <a:moveTo>
                  <a:pt x="41" y="64"/>
                </a:moveTo>
                <a:cubicBezTo>
                  <a:pt x="40" y="62"/>
                  <a:pt x="40" y="62"/>
                  <a:pt x="40" y="62"/>
                </a:cubicBezTo>
                <a:cubicBezTo>
                  <a:pt x="40" y="60"/>
                  <a:pt x="40" y="60"/>
                  <a:pt x="40" y="60"/>
                </a:cubicBezTo>
                <a:cubicBezTo>
                  <a:pt x="39" y="60"/>
                  <a:pt x="39" y="60"/>
                  <a:pt x="39" y="60"/>
                </a:cubicBezTo>
                <a:cubicBezTo>
                  <a:pt x="39" y="59"/>
                  <a:pt x="39" y="59"/>
                  <a:pt x="39" y="59"/>
                </a:cubicBezTo>
                <a:cubicBezTo>
                  <a:pt x="38" y="58"/>
                  <a:pt x="38" y="58"/>
                  <a:pt x="38" y="58"/>
                </a:cubicBezTo>
                <a:cubicBezTo>
                  <a:pt x="39" y="57"/>
                  <a:pt x="39" y="57"/>
                  <a:pt x="39" y="57"/>
                </a:cubicBezTo>
                <a:cubicBezTo>
                  <a:pt x="40" y="56"/>
                  <a:pt x="40" y="56"/>
                  <a:pt x="40" y="56"/>
                </a:cubicBezTo>
                <a:cubicBezTo>
                  <a:pt x="42" y="55"/>
                  <a:pt x="42" y="55"/>
                  <a:pt x="42" y="55"/>
                </a:cubicBezTo>
                <a:cubicBezTo>
                  <a:pt x="43" y="55"/>
                  <a:pt x="43" y="55"/>
                  <a:pt x="43" y="55"/>
                </a:cubicBezTo>
                <a:cubicBezTo>
                  <a:pt x="44" y="55"/>
                  <a:pt x="44" y="55"/>
                  <a:pt x="44" y="55"/>
                </a:cubicBezTo>
                <a:cubicBezTo>
                  <a:pt x="44" y="56"/>
                  <a:pt x="44" y="56"/>
                  <a:pt x="44" y="56"/>
                </a:cubicBezTo>
                <a:cubicBezTo>
                  <a:pt x="46" y="57"/>
                  <a:pt x="46" y="57"/>
                  <a:pt x="46" y="57"/>
                </a:cubicBezTo>
                <a:cubicBezTo>
                  <a:pt x="47" y="57"/>
                  <a:pt x="47" y="57"/>
                  <a:pt x="47" y="57"/>
                </a:cubicBezTo>
                <a:cubicBezTo>
                  <a:pt x="47" y="56"/>
                  <a:pt x="47" y="56"/>
                  <a:pt x="47" y="56"/>
                </a:cubicBezTo>
                <a:cubicBezTo>
                  <a:pt x="48" y="56"/>
                  <a:pt x="48" y="56"/>
                  <a:pt x="48" y="56"/>
                </a:cubicBezTo>
                <a:cubicBezTo>
                  <a:pt x="47" y="55"/>
                  <a:pt x="47" y="55"/>
                  <a:pt x="47" y="55"/>
                </a:cubicBezTo>
                <a:cubicBezTo>
                  <a:pt x="46" y="55"/>
                  <a:pt x="46" y="55"/>
                  <a:pt x="46" y="55"/>
                </a:cubicBezTo>
                <a:cubicBezTo>
                  <a:pt x="43" y="53"/>
                  <a:pt x="43" y="53"/>
                  <a:pt x="43" y="53"/>
                </a:cubicBezTo>
                <a:cubicBezTo>
                  <a:pt x="40" y="52"/>
                  <a:pt x="40" y="52"/>
                  <a:pt x="40" y="52"/>
                </a:cubicBezTo>
                <a:cubicBezTo>
                  <a:pt x="38" y="53"/>
                  <a:pt x="38" y="53"/>
                  <a:pt x="38" y="53"/>
                </a:cubicBezTo>
                <a:cubicBezTo>
                  <a:pt x="36" y="55"/>
                  <a:pt x="36" y="55"/>
                  <a:pt x="36" y="55"/>
                </a:cubicBezTo>
                <a:cubicBezTo>
                  <a:pt x="35" y="56"/>
                  <a:pt x="35" y="56"/>
                  <a:pt x="35" y="56"/>
                </a:cubicBezTo>
                <a:cubicBezTo>
                  <a:pt x="33" y="57"/>
                  <a:pt x="33" y="57"/>
                  <a:pt x="33" y="57"/>
                </a:cubicBezTo>
                <a:cubicBezTo>
                  <a:pt x="32" y="58"/>
                  <a:pt x="32" y="58"/>
                  <a:pt x="32" y="58"/>
                </a:cubicBezTo>
                <a:cubicBezTo>
                  <a:pt x="32" y="61"/>
                  <a:pt x="32" y="61"/>
                  <a:pt x="32" y="61"/>
                </a:cubicBezTo>
                <a:cubicBezTo>
                  <a:pt x="33" y="62"/>
                  <a:pt x="33" y="62"/>
                  <a:pt x="33" y="62"/>
                </a:cubicBezTo>
                <a:cubicBezTo>
                  <a:pt x="34" y="61"/>
                  <a:pt x="34" y="61"/>
                  <a:pt x="34" y="61"/>
                </a:cubicBezTo>
                <a:cubicBezTo>
                  <a:pt x="36" y="62"/>
                  <a:pt x="36" y="62"/>
                  <a:pt x="36" y="62"/>
                </a:cubicBezTo>
                <a:cubicBezTo>
                  <a:pt x="36" y="63"/>
                  <a:pt x="36" y="63"/>
                  <a:pt x="36" y="63"/>
                </a:cubicBezTo>
                <a:cubicBezTo>
                  <a:pt x="37" y="63"/>
                  <a:pt x="37" y="63"/>
                  <a:pt x="37" y="63"/>
                </a:cubicBezTo>
                <a:cubicBezTo>
                  <a:pt x="37" y="62"/>
                  <a:pt x="37" y="62"/>
                  <a:pt x="37" y="62"/>
                </a:cubicBezTo>
                <a:cubicBezTo>
                  <a:pt x="37" y="62"/>
                  <a:pt x="37" y="62"/>
                  <a:pt x="37" y="62"/>
                </a:cubicBezTo>
                <a:cubicBezTo>
                  <a:pt x="38" y="61"/>
                  <a:pt x="38" y="61"/>
                  <a:pt x="38" y="61"/>
                </a:cubicBezTo>
                <a:cubicBezTo>
                  <a:pt x="39" y="62"/>
                  <a:pt x="39" y="62"/>
                  <a:pt x="39" y="62"/>
                </a:cubicBezTo>
                <a:cubicBezTo>
                  <a:pt x="40" y="64"/>
                  <a:pt x="40" y="64"/>
                  <a:pt x="40" y="64"/>
                </a:cubicBezTo>
                <a:cubicBezTo>
                  <a:pt x="41" y="64"/>
                  <a:pt x="41" y="64"/>
                  <a:pt x="41" y="64"/>
                </a:cubicBezTo>
                <a:cubicBezTo>
                  <a:pt x="41" y="64"/>
                  <a:pt x="41" y="64"/>
                  <a:pt x="41" y="64"/>
                </a:cubicBezTo>
                <a:close/>
                <a:moveTo>
                  <a:pt x="51" y="45"/>
                </a:moveTo>
                <a:cubicBezTo>
                  <a:pt x="51" y="44"/>
                  <a:pt x="51" y="44"/>
                  <a:pt x="51" y="44"/>
                </a:cubicBezTo>
                <a:cubicBezTo>
                  <a:pt x="52" y="43"/>
                  <a:pt x="52" y="43"/>
                  <a:pt x="52" y="43"/>
                </a:cubicBezTo>
                <a:cubicBezTo>
                  <a:pt x="52" y="43"/>
                  <a:pt x="52" y="43"/>
                  <a:pt x="52" y="43"/>
                </a:cubicBezTo>
                <a:cubicBezTo>
                  <a:pt x="53" y="44"/>
                  <a:pt x="53" y="44"/>
                  <a:pt x="53" y="44"/>
                </a:cubicBezTo>
                <a:cubicBezTo>
                  <a:pt x="53" y="45"/>
                  <a:pt x="53" y="45"/>
                  <a:pt x="53" y="45"/>
                </a:cubicBezTo>
                <a:cubicBezTo>
                  <a:pt x="53" y="45"/>
                  <a:pt x="53" y="45"/>
                  <a:pt x="53" y="45"/>
                </a:cubicBezTo>
                <a:cubicBezTo>
                  <a:pt x="51" y="45"/>
                  <a:pt x="51" y="45"/>
                  <a:pt x="51" y="45"/>
                </a:cubicBezTo>
                <a:cubicBezTo>
                  <a:pt x="51" y="45"/>
                  <a:pt x="51" y="45"/>
                  <a:pt x="51" y="45"/>
                </a:cubicBezTo>
                <a:close/>
                <a:moveTo>
                  <a:pt x="48" y="70"/>
                </a:moveTo>
                <a:cubicBezTo>
                  <a:pt x="49" y="70"/>
                  <a:pt x="49" y="70"/>
                  <a:pt x="49" y="70"/>
                </a:cubicBezTo>
                <a:cubicBezTo>
                  <a:pt x="49" y="70"/>
                  <a:pt x="49" y="70"/>
                  <a:pt x="49" y="70"/>
                </a:cubicBezTo>
                <a:cubicBezTo>
                  <a:pt x="50" y="69"/>
                  <a:pt x="50" y="69"/>
                  <a:pt x="50" y="69"/>
                </a:cubicBezTo>
                <a:cubicBezTo>
                  <a:pt x="50" y="68"/>
                  <a:pt x="50" y="68"/>
                  <a:pt x="50" y="68"/>
                </a:cubicBezTo>
                <a:cubicBezTo>
                  <a:pt x="50" y="67"/>
                  <a:pt x="50" y="67"/>
                  <a:pt x="50" y="67"/>
                </a:cubicBezTo>
                <a:cubicBezTo>
                  <a:pt x="51" y="68"/>
                  <a:pt x="51" y="68"/>
                  <a:pt x="51" y="68"/>
                </a:cubicBezTo>
                <a:cubicBezTo>
                  <a:pt x="52" y="67"/>
                  <a:pt x="52" y="67"/>
                  <a:pt x="52" y="67"/>
                </a:cubicBezTo>
                <a:cubicBezTo>
                  <a:pt x="52" y="65"/>
                  <a:pt x="52" y="65"/>
                  <a:pt x="52" y="65"/>
                </a:cubicBezTo>
                <a:cubicBezTo>
                  <a:pt x="52" y="64"/>
                  <a:pt x="52" y="64"/>
                  <a:pt x="52" y="64"/>
                </a:cubicBezTo>
                <a:cubicBezTo>
                  <a:pt x="51" y="63"/>
                  <a:pt x="51" y="63"/>
                  <a:pt x="51" y="63"/>
                </a:cubicBezTo>
                <a:cubicBezTo>
                  <a:pt x="50" y="62"/>
                  <a:pt x="50" y="62"/>
                  <a:pt x="50" y="62"/>
                </a:cubicBezTo>
                <a:cubicBezTo>
                  <a:pt x="52" y="62"/>
                  <a:pt x="52" y="62"/>
                  <a:pt x="52" y="62"/>
                </a:cubicBezTo>
                <a:cubicBezTo>
                  <a:pt x="53" y="62"/>
                  <a:pt x="53" y="62"/>
                  <a:pt x="53" y="62"/>
                </a:cubicBezTo>
                <a:cubicBezTo>
                  <a:pt x="55" y="61"/>
                  <a:pt x="55" y="61"/>
                  <a:pt x="55" y="61"/>
                </a:cubicBezTo>
                <a:cubicBezTo>
                  <a:pt x="55" y="61"/>
                  <a:pt x="55" y="61"/>
                  <a:pt x="55" y="61"/>
                </a:cubicBezTo>
                <a:cubicBezTo>
                  <a:pt x="55" y="61"/>
                  <a:pt x="55" y="61"/>
                  <a:pt x="55" y="61"/>
                </a:cubicBezTo>
                <a:cubicBezTo>
                  <a:pt x="55" y="60"/>
                  <a:pt x="55" y="60"/>
                  <a:pt x="55" y="60"/>
                </a:cubicBezTo>
                <a:cubicBezTo>
                  <a:pt x="54" y="59"/>
                  <a:pt x="54" y="59"/>
                  <a:pt x="54" y="59"/>
                </a:cubicBezTo>
                <a:cubicBezTo>
                  <a:pt x="54" y="59"/>
                  <a:pt x="54" y="59"/>
                  <a:pt x="54" y="59"/>
                </a:cubicBezTo>
                <a:cubicBezTo>
                  <a:pt x="53" y="59"/>
                  <a:pt x="53" y="59"/>
                  <a:pt x="53" y="59"/>
                </a:cubicBezTo>
                <a:cubicBezTo>
                  <a:pt x="53" y="58"/>
                  <a:pt x="53" y="58"/>
                  <a:pt x="53" y="58"/>
                </a:cubicBezTo>
                <a:cubicBezTo>
                  <a:pt x="54" y="57"/>
                  <a:pt x="54" y="57"/>
                  <a:pt x="54" y="57"/>
                </a:cubicBezTo>
                <a:cubicBezTo>
                  <a:pt x="55" y="57"/>
                  <a:pt x="55" y="57"/>
                  <a:pt x="55" y="57"/>
                </a:cubicBezTo>
                <a:cubicBezTo>
                  <a:pt x="55" y="58"/>
                  <a:pt x="55" y="58"/>
                  <a:pt x="55" y="58"/>
                </a:cubicBezTo>
                <a:cubicBezTo>
                  <a:pt x="56" y="58"/>
                  <a:pt x="56" y="58"/>
                  <a:pt x="56" y="58"/>
                </a:cubicBezTo>
                <a:cubicBezTo>
                  <a:pt x="56" y="58"/>
                  <a:pt x="56" y="58"/>
                  <a:pt x="56" y="58"/>
                </a:cubicBezTo>
                <a:cubicBezTo>
                  <a:pt x="57" y="56"/>
                  <a:pt x="57" y="56"/>
                  <a:pt x="57" y="56"/>
                </a:cubicBezTo>
                <a:cubicBezTo>
                  <a:pt x="58" y="56"/>
                  <a:pt x="58" y="56"/>
                  <a:pt x="58" y="56"/>
                </a:cubicBezTo>
                <a:cubicBezTo>
                  <a:pt x="58" y="55"/>
                  <a:pt x="58" y="55"/>
                  <a:pt x="58" y="55"/>
                </a:cubicBezTo>
                <a:cubicBezTo>
                  <a:pt x="58" y="54"/>
                  <a:pt x="58" y="54"/>
                  <a:pt x="58" y="54"/>
                </a:cubicBezTo>
                <a:cubicBezTo>
                  <a:pt x="58" y="54"/>
                  <a:pt x="58" y="54"/>
                  <a:pt x="58" y="54"/>
                </a:cubicBezTo>
                <a:cubicBezTo>
                  <a:pt x="56" y="53"/>
                  <a:pt x="56" y="53"/>
                  <a:pt x="56" y="53"/>
                </a:cubicBezTo>
                <a:cubicBezTo>
                  <a:pt x="56" y="52"/>
                  <a:pt x="56" y="52"/>
                  <a:pt x="56" y="52"/>
                </a:cubicBezTo>
                <a:cubicBezTo>
                  <a:pt x="56" y="51"/>
                  <a:pt x="56" y="51"/>
                  <a:pt x="56" y="51"/>
                </a:cubicBezTo>
                <a:cubicBezTo>
                  <a:pt x="54" y="52"/>
                  <a:pt x="54" y="52"/>
                  <a:pt x="54" y="52"/>
                </a:cubicBezTo>
                <a:cubicBezTo>
                  <a:pt x="53" y="53"/>
                  <a:pt x="53" y="53"/>
                  <a:pt x="53" y="53"/>
                </a:cubicBezTo>
                <a:cubicBezTo>
                  <a:pt x="53" y="54"/>
                  <a:pt x="53" y="54"/>
                  <a:pt x="53" y="54"/>
                </a:cubicBezTo>
                <a:cubicBezTo>
                  <a:pt x="53" y="53"/>
                  <a:pt x="53" y="53"/>
                  <a:pt x="53" y="53"/>
                </a:cubicBezTo>
                <a:cubicBezTo>
                  <a:pt x="53" y="52"/>
                  <a:pt x="53" y="52"/>
                  <a:pt x="53" y="52"/>
                </a:cubicBezTo>
                <a:cubicBezTo>
                  <a:pt x="54" y="51"/>
                  <a:pt x="54" y="51"/>
                  <a:pt x="54" y="51"/>
                </a:cubicBezTo>
                <a:cubicBezTo>
                  <a:pt x="54" y="50"/>
                  <a:pt x="54" y="50"/>
                  <a:pt x="54" y="50"/>
                </a:cubicBezTo>
                <a:cubicBezTo>
                  <a:pt x="55" y="48"/>
                  <a:pt x="55" y="48"/>
                  <a:pt x="55" y="48"/>
                </a:cubicBezTo>
                <a:cubicBezTo>
                  <a:pt x="54" y="48"/>
                  <a:pt x="54" y="48"/>
                  <a:pt x="54" y="48"/>
                </a:cubicBezTo>
                <a:cubicBezTo>
                  <a:pt x="53" y="49"/>
                  <a:pt x="53" y="49"/>
                  <a:pt x="53" y="49"/>
                </a:cubicBezTo>
                <a:cubicBezTo>
                  <a:pt x="52" y="51"/>
                  <a:pt x="52" y="51"/>
                  <a:pt x="52" y="51"/>
                </a:cubicBezTo>
                <a:cubicBezTo>
                  <a:pt x="52" y="51"/>
                  <a:pt x="52" y="51"/>
                  <a:pt x="52" y="51"/>
                </a:cubicBezTo>
                <a:cubicBezTo>
                  <a:pt x="52" y="51"/>
                  <a:pt x="52" y="51"/>
                  <a:pt x="52" y="51"/>
                </a:cubicBezTo>
                <a:cubicBezTo>
                  <a:pt x="52" y="49"/>
                  <a:pt x="52" y="49"/>
                  <a:pt x="52" y="49"/>
                </a:cubicBezTo>
                <a:cubicBezTo>
                  <a:pt x="52" y="49"/>
                  <a:pt x="52" y="49"/>
                  <a:pt x="52" y="49"/>
                </a:cubicBezTo>
                <a:cubicBezTo>
                  <a:pt x="51" y="49"/>
                  <a:pt x="51" y="49"/>
                  <a:pt x="51" y="49"/>
                </a:cubicBezTo>
                <a:cubicBezTo>
                  <a:pt x="51" y="51"/>
                  <a:pt x="51" y="51"/>
                  <a:pt x="51" y="51"/>
                </a:cubicBezTo>
                <a:cubicBezTo>
                  <a:pt x="50" y="51"/>
                  <a:pt x="50" y="51"/>
                  <a:pt x="50" y="51"/>
                </a:cubicBezTo>
                <a:cubicBezTo>
                  <a:pt x="50" y="52"/>
                  <a:pt x="50" y="52"/>
                  <a:pt x="50" y="52"/>
                </a:cubicBezTo>
                <a:cubicBezTo>
                  <a:pt x="50" y="53"/>
                  <a:pt x="50" y="53"/>
                  <a:pt x="50" y="53"/>
                </a:cubicBezTo>
                <a:cubicBezTo>
                  <a:pt x="51" y="52"/>
                  <a:pt x="51" y="52"/>
                  <a:pt x="51" y="52"/>
                </a:cubicBezTo>
                <a:cubicBezTo>
                  <a:pt x="52" y="53"/>
                  <a:pt x="52" y="53"/>
                  <a:pt x="52" y="53"/>
                </a:cubicBezTo>
                <a:cubicBezTo>
                  <a:pt x="52" y="53"/>
                  <a:pt x="52" y="53"/>
                  <a:pt x="52" y="53"/>
                </a:cubicBezTo>
                <a:cubicBezTo>
                  <a:pt x="51" y="54"/>
                  <a:pt x="51" y="54"/>
                  <a:pt x="51" y="54"/>
                </a:cubicBezTo>
                <a:cubicBezTo>
                  <a:pt x="50" y="55"/>
                  <a:pt x="50" y="55"/>
                  <a:pt x="50" y="55"/>
                </a:cubicBezTo>
                <a:cubicBezTo>
                  <a:pt x="50" y="56"/>
                  <a:pt x="50" y="56"/>
                  <a:pt x="50" y="56"/>
                </a:cubicBezTo>
                <a:cubicBezTo>
                  <a:pt x="49" y="57"/>
                  <a:pt x="49" y="57"/>
                  <a:pt x="49" y="57"/>
                </a:cubicBezTo>
                <a:cubicBezTo>
                  <a:pt x="49" y="57"/>
                  <a:pt x="49" y="57"/>
                  <a:pt x="49" y="57"/>
                </a:cubicBezTo>
                <a:cubicBezTo>
                  <a:pt x="48" y="58"/>
                  <a:pt x="48" y="58"/>
                  <a:pt x="48" y="58"/>
                </a:cubicBezTo>
                <a:cubicBezTo>
                  <a:pt x="47" y="59"/>
                  <a:pt x="47" y="59"/>
                  <a:pt x="47" y="59"/>
                </a:cubicBezTo>
                <a:cubicBezTo>
                  <a:pt x="45" y="58"/>
                  <a:pt x="45" y="58"/>
                  <a:pt x="45" y="58"/>
                </a:cubicBezTo>
                <a:cubicBezTo>
                  <a:pt x="44" y="59"/>
                  <a:pt x="44" y="59"/>
                  <a:pt x="44" y="59"/>
                </a:cubicBezTo>
                <a:cubicBezTo>
                  <a:pt x="43" y="58"/>
                  <a:pt x="43" y="58"/>
                  <a:pt x="43" y="58"/>
                </a:cubicBezTo>
                <a:cubicBezTo>
                  <a:pt x="42" y="57"/>
                  <a:pt x="42" y="57"/>
                  <a:pt x="42" y="57"/>
                </a:cubicBezTo>
                <a:cubicBezTo>
                  <a:pt x="42" y="58"/>
                  <a:pt x="42" y="58"/>
                  <a:pt x="42" y="58"/>
                </a:cubicBezTo>
                <a:cubicBezTo>
                  <a:pt x="42" y="59"/>
                  <a:pt x="42" y="59"/>
                  <a:pt x="42" y="59"/>
                </a:cubicBezTo>
                <a:cubicBezTo>
                  <a:pt x="42" y="59"/>
                  <a:pt x="42" y="59"/>
                  <a:pt x="42" y="59"/>
                </a:cubicBezTo>
                <a:cubicBezTo>
                  <a:pt x="41" y="60"/>
                  <a:pt x="41" y="60"/>
                  <a:pt x="41" y="60"/>
                </a:cubicBezTo>
                <a:cubicBezTo>
                  <a:pt x="42" y="61"/>
                  <a:pt x="42" y="61"/>
                  <a:pt x="42" y="61"/>
                </a:cubicBezTo>
                <a:cubicBezTo>
                  <a:pt x="43" y="60"/>
                  <a:pt x="43" y="60"/>
                  <a:pt x="43" y="60"/>
                </a:cubicBezTo>
                <a:cubicBezTo>
                  <a:pt x="44" y="60"/>
                  <a:pt x="44" y="60"/>
                  <a:pt x="44" y="60"/>
                </a:cubicBezTo>
                <a:cubicBezTo>
                  <a:pt x="45" y="62"/>
                  <a:pt x="45" y="62"/>
                  <a:pt x="45" y="62"/>
                </a:cubicBezTo>
                <a:cubicBezTo>
                  <a:pt x="46" y="62"/>
                  <a:pt x="46" y="62"/>
                  <a:pt x="46" y="62"/>
                </a:cubicBezTo>
                <a:cubicBezTo>
                  <a:pt x="46" y="63"/>
                  <a:pt x="46" y="63"/>
                  <a:pt x="46" y="63"/>
                </a:cubicBezTo>
                <a:cubicBezTo>
                  <a:pt x="45" y="63"/>
                  <a:pt x="45" y="63"/>
                  <a:pt x="45" y="63"/>
                </a:cubicBezTo>
                <a:cubicBezTo>
                  <a:pt x="44" y="63"/>
                  <a:pt x="44" y="63"/>
                  <a:pt x="44" y="63"/>
                </a:cubicBezTo>
                <a:cubicBezTo>
                  <a:pt x="43" y="64"/>
                  <a:pt x="43" y="64"/>
                  <a:pt x="43" y="64"/>
                </a:cubicBezTo>
                <a:cubicBezTo>
                  <a:pt x="43" y="67"/>
                  <a:pt x="43" y="67"/>
                  <a:pt x="43" y="67"/>
                </a:cubicBezTo>
                <a:cubicBezTo>
                  <a:pt x="44" y="68"/>
                  <a:pt x="44" y="68"/>
                  <a:pt x="44" y="68"/>
                </a:cubicBezTo>
                <a:cubicBezTo>
                  <a:pt x="44" y="69"/>
                  <a:pt x="44" y="69"/>
                  <a:pt x="44" y="69"/>
                </a:cubicBezTo>
                <a:cubicBezTo>
                  <a:pt x="44" y="69"/>
                  <a:pt x="44" y="69"/>
                  <a:pt x="44" y="69"/>
                </a:cubicBezTo>
                <a:cubicBezTo>
                  <a:pt x="45" y="69"/>
                  <a:pt x="45" y="69"/>
                  <a:pt x="45" y="69"/>
                </a:cubicBezTo>
                <a:cubicBezTo>
                  <a:pt x="46" y="69"/>
                  <a:pt x="46" y="69"/>
                  <a:pt x="46" y="69"/>
                </a:cubicBezTo>
                <a:cubicBezTo>
                  <a:pt x="46" y="68"/>
                  <a:pt x="46" y="68"/>
                  <a:pt x="46" y="68"/>
                </a:cubicBezTo>
                <a:cubicBezTo>
                  <a:pt x="46" y="67"/>
                  <a:pt x="46" y="67"/>
                  <a:pt x="46" y="67"/>
                </a:cubicBezTo>
                <a:cubicBezTo>
                  <a:pt x="47" y="67"/>
                  <a:pt x="47" y="67"/>
                  <a:pt x="47" y="67"/>
                </a:cubicBezTo>
                <a:cubicBezTo>
                  <a:pt x="48" y="68"/>
                  <a:pt x="48" y="68"/>
                  <a:pt x="48" y="68"/>
                </a:cubicBezTo>
                <a:cubicBezTo>
                  <a:pt x="48" y="70"/>
                  <a:pt x="48" y="70"/>
                  <a:pt x="48" y="70"/>
                </a:cubicBezTo>
                <a:close/>
                <a:moveTo>
                  <a:pt x="56" y="68"/>
                </a:moveTo>
                <a:cubicBezTo>
                  <a:pt x="57" y="67"/>
                  <a:pt x="57" y="67"/>
                  <a:pt x="57" y="67"/>
                </a:cubicBezTo>
                <a:cubicBezTo>
                  <a:pt x="57" y="66"/>
                  <a:pt x="57" y="66"/>
                  <a:pt x="57" y="66"/>
                </a:cubicBezTo>
                <a:cubicBezTo>
                  <a:pt x="57" y="65"/>
                  <a:pt x="57" y="65"/>
                  <a:pt x="57" y="65"/>
                </a:cubicBezTo>
                <a:cubicBezTo>
                  <a:pt x="56" y="64"/>
                  <a:pt x="56" y="64"/>
                  <a:pt x="56" y="64"/>
                </a:cubicBezTo>
                <a:cubicBezTo>
                  <a:pt x="55" y="64"/>
                  <a:pt x="55" y="64"/>
                  <a:pt x="55" y="64"/>
                </a:cubicBezTo>
                <a:cubicBezTo>
                  <a:pt x="54" y="65"/>
                  <a:pt x="54" y="65"/>
                  <a:pt x="54" y="65"/>
                </a:cubicBezTo>
                <a:cubicBezTo>
                  <a:pt x="54" y="66"/>
                  <a:pt x="54" y="66"/>
                  <a:pt x="54" y="66"/>
                </a:cubicBezTo>
                <a:cubicBezTo>
                  <a:pt x="55" y="67"/>
                  <a:pt x="55" y="67"/>
                  <a:pt x="55" y="67"/>
                </a:cubicBezTo>
                <a:cubicBezTo>
                  <a:pt x="56" y="68"/>
                  <a:pt x="56" y="68"/>
                  <a:pt x="56" y="68"/>
                </a:cubicBezTo>
                <a:close/>
                <a:moveTo>
                  <a:pt x="58" y="71"/>
                </a:moveTo>
                <a:cubicBezTo>
                  <a:pt x="58" y="71"/>
                  <a:pt x="59" y="71"/>
                  <a:pt x="59" y="71"/>
                </a:cubicBezTo>
                <a:cubicBezTo>
                  <a:pt x="60" y="70"/>
                  <a:pt x="60" y="70"/>
                  <a:pt x="60" y="70"/>
                </a:cubicBezTo>
                <a:cubicBezTo>
                  <a:pt x="62" y="71"/>
                  <a:pt x="62" y="71"/>
                  <a:pt x="62" y="71"/>
                </a:cubicBezTo>
                <a:cubicBezTo>
                  <a:pt x="63" y="70"/>
                  <a:pt x="63" y="70"/>
                  <a:pt x="63" y="70"/>
                </a:cubicBezTo>
                <a:cubicBezTo>
                  <a:pt x="62" y="69"/>
                  <a:pt x="62" y="69"/>
                  <a:pt x="62" y="69"/>
                </a:cubicBezTo>
                <a:cubicBezTo>
                  <a:pt x="61" y="69"/>
                  <a:pt x="61" y="69"/>
                  <a:pt x="61" y="69"/>
                </a:cubicBezTo>
                <a:cubicBezTo>
                  <a:pt x="61" y="67"/>
                  <a:pt x="61" y="67"/>
                  <a:pt x="61" y="67"/>
                </a:cubicBezTo>
                <a:cubicBezTo>
                  <a:pt x="59" y="65"/>
                  <a:pt x="59" y="65"/>
                  <a:pt x="59" y="65"/>
                </a:cubicBezTo>
                <a:cubicBezTo>
                  <a:pt x="59" y="66"/>
                  <a:pt x="59" y="66"/>
                  <a:pt x="59" y="66"/>
                </a:cubicBezTo>
                <a:cubicBezTo>
                  <a:pt x="59" y="68"/>
                  <a:pt x="59" y="68"/>
                  <a:pt x="59" y="68"/>
                </a:cubicBezTo>
                <a:cubicBezTo>
                  <a:pt x="59" y="69"/>
                  <a:pt x="59" y="69"/>
                  <a:pt x="59" y="69"/>
                </a:cubicBezTo>
                <a:cubicBezTo>
                  <a:pt x="57" y="69"/>
                  <a:pt x="57" y="69"/>
                  <a:pt x="57" y="69"/>
                </a:cubicBezTo>
                <a:cubicBezTo>
                  <a:pt x="57" y="69"/>
                  <a:pt x="57" y="69"/>
                  <a:pt x="57" y="69"/>
                </a:cubicBezTo>
                <a:cubicBezTo>
                  <a:pt x="58" y="70"/>
                  <a:pt x="58" y="70"/>
                  <a:pt x="58" y="70"/>
                </a:cubicBezTo>
                <a:cubicBezTo>
                  <a:pt x="58" y="71"/>
                  <a:pt x="58" y="71"/>
                  <a:pt x="58" y="71"/>
                </a:cubicBezTo>
                <a:close/>
                <a:moveTo>
                  <a:pt x="74" y="27"/>
                </a:moveTo>
                <a:cubicBezTo>
                  <a:pt x="76" y="26"/>
                  <a:pt x="76" y="26"/>
                  <a:pt x="76" y="26"/>
                </a:cubicBezTo>
                <a:cubicBezTo>
                  <a:pt x="77" y="26"/>
                  <a:pt x="77" y="26"/>
                  <a:pt x="77" y="26"/>
                </a:cubicBezTo>
                <a:cubicBezTo>
                  <a:pt x="77" y="25"/>
                  <a:pt x="77" y="25"/>
                  <a:pt x="77" y="25"/>
                </a:cubicBezTo>
                <a:cubicBezTo>
                  <a:pt x="78" y="25"/>
                  <a:pt x="78" y="25"/>
                  <a:pt x="78" y="25"/>
                </a:cubicBezTo>
                <a:cubicBezTo>
                  <a:pt x="77" y="24"/>
                  <a:pt x="77" y="24"/>
                  <a:pt x="77" y="24"/>
                </a:cubicBezTo>
                <a:cubicBezTo>
                  <a:pt x="77" y="23"/>
                  <a:pt x="77" y="23"/>
                  <a:pt x="77" y="23"/>
                </a:cubicBezTo>
                <a:cubicBezTo>
                  <a:pt x="76" y="22"/>
                  <a:pt x="76" y="22"/>
                  <a:pt x="76" y="22"/>
                </a:cubicBezTo>
                <a:cubicBezTo>
                  <a:pt x="75" y="23"/>
                  <a:pt x="75" y="23"/>
                  <a:pt x="75" y="23"/>
                </a:cubicBezTo>
                <a:cubicBezTo>
                  <a:pt x="74" y="23"/>
                  <a:pt x="74" y="23"/>
                  <a:pt x="74" y="23"/>
                </a:cubicBezTo>
                <a:cubicBezTo>
                  <a:pt x="73" y="24"/>
                  <a:pt x="73" y="24"/>
                  <a:pt x="73" y="24"/>
                </a:cubicBezTo>
                <a:cubicBezTo>
                  <a:pt x="73" y="24"/>
                  <a:pt x="73" y="24"/>
                  <a:pt x="73" y="24"/>
                </a:cubicBezTo>
                <a:cubicBezTo>
                  <a:pt x="73" y="25"/>
                  <a:pt x="73" y="25"/>
                  <a:pt x="73" y="25"/>
                </a:cubicBezTo>
                <a:cubicBezTo>
                  <a:pt x="74" y="26"/>
                  <a:pt x="74" y="26"/>
                  <a:pt x="74" y="26"/>
                </a:cubicBezTo>
                <a:cubicBezTo>
                  <a:pt x="74" y="26"/>
                  <a:pt x="74" y="27"/>
                  <a:pt x="74" y="27"/>
                </a:cubicBezTo>
                <a:close/>
                <a:moveTo>
                  <a:pt x="76" y="29"/>
                </a:moveTo>
                <a:cubicBezTo>
                  <a:pt x="76" y="28"/>
                  <a:pt x="76" y="28"/>
                  <a:pt x="76" y="28"/>
                </a:cubicBezTo>
                <a:cubicBezTo>
                  <a:pt x="76" y="28"/>
                  <a:pt x="76" y="28"/>
                  <a:pt x="76" y="28"/>
                </a:cubicBezTo>
                <a:cubicBezTo>
                  <a:pt x="76" y="28"/>
                  <a:pt x="76" y="28"/>
                  <a:pt x="76" y="28"/>
                </a:cubicBezTo>
                <a:cubicBezTo>
                  <a:pt x="76" y="29"/>
                  <a:pt x="76" y="29"/>
                  <a:pt x="76" y="29"/>
                </a:cubicBezTo>
                <a:close/>
                <a:moveTo>
                  <a:pt x="76" y="33"/>
                </a:moveTo>
                <a:cubicBezTo>
                  <a:pt x="77" y="32"/>
                  <a:pt x="77" y="32"/>
                  <a:pt x="77" y="32"/>
                </a:cubicBezTo>
                <a:cubicBezTo>
                  <a:pt x="77" y="31"/>
                  <a:pt x="77" y="31"/>
                  <a:pt x="77" y="31"/>
                </a:cubicBezTo>
                <a:cubicBezTo>
                  <a:pt x="78" y="31"/>
                  <a:pt x="78" y="31"/>
                  <a:pt x="78" y="31"/>
                </a:cubicBezTo>
                <a:cubicBezTo>
                  <a:pt x="77" y="30"/>
                  <a:pt x="77" y="30"/>
                  <a:pt x="77" y="30"/>
                </a:cubicBezTo>
                <a:cubicBezTo>
                  <a:pt x="77" y="31"/>
                  <a:pt x="77" y="31"/>
                  <a:pt x="77" y="31"/>
                </a:cubicBezTo>
                <a:cubicBezTo>
                  <a:pt x="75" y="31"/>
                  <a:pt x="75" y="31"/>
                  <a:pt x="75" y="31"/>
                </a:cubicBezTo>
                <a:cubicBezTo>
                  <a:pt x="75" y="30"/>
                  <a:pt x="75" y="30"/>
                  <a:pt x="75" y="30"/>
                </a:cubicBezTo>
                <a:cubicBezTo>
                  <a:pt x="74" y="30"/>
                  <a:pt x="74" y="30"/>
                  <a:pt x="74" y="30"/>
                </a:cubicBezTo>
                <a:cubicBezTo>
                  <a:pt x="73" y="30"/>
                  <a:pt x="73" y="30"/>
                  <a:pt x="73" y="30"/>
                </a:cubicBezTo>
                <a:cubicBezTo>
                  <a:pt x="71" y="31"/>
                  <a:pt x="71" y="31"/>
                  <a:pt x="71" y="31"/>
                </a:cubicBezTo>
                <a:cubicBezTo>
                  <a:pt x="71" y="32"/>
                  <a:pt x="71" y="32"/>
                  <a:pt x="71" y="32"/>
                </a:cubicBezTo>
                <a:cubicBezTo>
                  <a:pt x="72" y="33"/>
                  <a:pt x="72" y="33"/>
                  <a:pt x="72" y="33"/>
                </a:cubicBezTo>
                <a:cubicBezTo>
                  <a:pt x="73" y="33"/>
                  <a:pt x="73" y="33"/>
                  <a:pt x="73" y="33"/>
                </a:cubicBezTo>
                <a:cubicBezTo>
                  <a:pt x="74" y="33"/>
                  <a:pt x="74" y="33"/>
                  <a:pt x="74" y="33"/>
                </a:cubicBezTo>
                <a:cubicBezTo>
                  <a:pt x="75" y="33"/>
                  <a:pt x="75" y="33"/>
                  <a:pt x="75" y="33"/>
                </a:cubicBezTo>
                <a:cubicBezTo>
                  <a:pt x="75" y="34"/>
                  <a:pt x="75" y="34"/>
                  <a:pt x="75" y="34"/>
                </a:cubicBezTo>
                <a:cubicBezTo>
                  <a:pt x="76" y="33"/>
                  <a:pt x="76" y="33"/>
                  <a:pt x="76" y="33"/>
                </a:cubicBezTo>
                <a:close/>
                <a:moveTo>
                  <a:pt x="79" y="33"/>
                </a:moveTo>
                <a:cubicBezTo>
                  <a:pt x="79" y="32"/>
                  <a:pt x="79" y="32"/>
                  <a:pt x="79" y="32"/>
                </a:cubicBezTo>
                <a:cubicBezTo>
                  <a:pt x="79" y="31"/>
                  <a:pt x="79" y="31"/>
                  <a:pt x="79" y="31"/>
                </a:cubicBezTo>
                <a:cubicBezTo>
                  <a:pt x="80" y="31"/>
                  <a:pt x="80" y="31"/>
                  <a:pt x="80" y="31"/>
                </a:cubicBezTo>
                <a:cubicBezTo>
                  <a:pt x="81" y="31"/>
                  <a:pt x="81" y="31"/>
                  <a:pt x="81" y="31"/>
                </a:cubicBezTo>
                <a:cubicBezTo>
                  <a:pt x="81" y="32"/>
                  <a:pt x="81" y="32"/>
                  <a:pt x="81" y="32"/>
                </a:cubicBezTo>
                <a:cubicBezTo>
                  <a:pt x="81" y="33"/>
                  <a:pt x="81" y="33"/>
                  <a:pt x="81" y="33"/>
                </a:cubicBezTo>
                <a:cubicBezTo>
                  <a:pt x="80" y="33"/>
                  <a:pt x="80" y="33"/>
                  <a:pt x="80" y="33"/>
                </a:cubicBezTo>
                <a:cubicBezTo>
                  <a:pt x="79" y="33"/>
                  <a:pt x="79" y="33"/>
                  <a:pt x="79" y="33"/>
                </a:cubicBezTo>
                <a:close/>
                <a:moveTo>
                  <a:pt x="74" y="40"/>
                </a:moveTo>
                <a:cubicBezTo>
                  <a:pt x="75" y="38"/>
                  <a:pt x="75" y="38"/>
                  <a:pt x="75" y="38"/>
                </a:cubicBezTo>
                <a:cubicBezTo>
                  <a:pt x="76" y="36"/>
                  <a:pt x="76" y="36"/>
                  <a:pt x="76" y="36"/>
                </a:cubicBezTo>
                <a:cubicBezTo>
                  <a:pt x="77" y="35"/>
                  <a:pt x="77" y="35"/>
                  <a:pt x="77" y="35"/>
                </a:cubicBezTo>
                <a:cubicBezTo>
                  <a:pt x="77" y="35"/>
                  <a:pt x="77" y="35"/>
                  <a:pt x="77" y="35"/>
                </a:cubicBezTo>
                <a:cubicBezTo>
                  <a:pt x="76" y="34"/>
                  <a:pt x="76" y="34"/>
                  <a:pt x="76" y="34"/>
                </a:cubicBezTo>
                <a:cubicBezTo>
                  <a:pt x="75" y="35"/>
                  <a:pt x="75" y="35"/>
                  <a:pt x="75" y="35"/>
                </a:cubicBezTo>
                <a:cubicBezTo>
                  <a:pt x="73" y="35"/>
                  <a:pt x="73" y="35"/>
                  <a:pt x="73" y="35"/>
                </a:cubicBezTo>
                <a:cubicBezTo>
                  <a:pt x="72" y="34"/>
                  <a:pt x="72" y="34"/>
                  <a:pt x="72" y="34"/>
                </a:cubicBezTo>
                <a:cubicBezTo>
                  <a:pt x="71" y="35"/>
                  <a:pt x="71" y="35"/>
                  <a:pt x="71" y="35"/>
                </a:cubicBezTo>
                <a:cubicBezTo>
                  <a:pt x="71" y="36"/>
                  <a:pt x="71" y="36"/>
                  <a:pt x="71" y="36"/>
                </a:cubicBezTo>
                <a:cubicBezTo>
                  <a:pt x="71" y="37"/>
                  <a:pt x="71" y="37"/>
                  <a:pt x="71" y="37"/>
                </a:cubicBezTo>
                <a:cubicBezTo>
                  <a:pt x="72" y="37"/>
                  <a:pt x="72" y="37"/>
                  <a:pt x="72" y="37"/>
                </a:cubicBezTo>
                <a:cubicBezTo>
                  <a:pt x="73" y="38"/>
                  <a:pt x="73" y="38"/>
                  <a:pt x="73" y="38"/>
                </a:cubicBezTo>
                <a:cubicBezTo>
                  <a:pt x="73" y="39"/>
                  <a:pt x="73" y="39"/>
                  <a:pt x="73" y="39"/>
                </a:cubicBezTo>
                <a:cubicBezTo>
                  <a:pt x="72" y="39"/>
                  <a:pt x="72" y="39"/>
                  <a:pt x="72" y="39"/>
                </a:cubicBezTo>
                <a:cubicBezTo>
                  <a:pt x="69" y="40"/>
                  <a:pt x="69" y="40"/>
                  <a:pt x="69" y="40"/>
                </a:cubicBezTo>
                <a:cubicBezTo>
                  <a:pt x="69" y="40"/>
                  <a:pt x="69" y="40"/>
                  <a:pt x="69" y="40"/>
                </a:cubicBezTo>
                <a:cubicBezTo>
                  <a:pt x="70" y="41"/>
                  <a:pt x="70" y="41"/>
                  <a:pt x="70" y="41"/>
                </a:cubicBezTo>
                <a:cubicBezTo>
                  <a:pt x="71" y="41"/>
                  <a:pt x="71" y="41"/>
                  <a:pt x="71" y="41"/>
                </a:cubicBezTo>
                <a:cubicBezTo>
                  <a:pt x="72" y="40"/>
                  <a:pt x="72" y="40"/>
                  <a:pt x="72" y="40"/>
                </a:cubicBezTo>
                <a:cubicBezTo>
                  <a:pt x="72" y="40"/>
                  <a:pt x="74" y="40"/>
                  <a:pt x="74" y="40"/>
                </a:cubicBezTo>
                <a:close/>
                <a:moveTo>
                  <a:pt x="77" y="40"/>
                </a:moveTo>
                <a:cubicBezTo>
                  <a:pt x="76" y="40"/>
                  <a:pt x="76" y="40"/>
                  <a:pt x="76" y="40"/>
                </a:cubicBezTo>
                <a:cubicBezTo>
                  <a:pt x="76" y="40"/>
                  <a:pt x="76" y="40"/>
                  <a:pt x="76" y="40"/>
                </a:cubicBezTo>
                <a:cubicBezTo>
                  <a:pt x="75" y="40"/>
                  <a:pt x="75" y="40"/>
                  <a:pt x="75" y="40"/>
                </a:cubicBezTo>
                <a:cubicBezTo>
                  <a:pt x="75" y="39"/>
                  <a:pt x="75" y="39"/>
                  <a:pt x="75" y="39"/>
                </a:cubicBezTo>
                <a:cubicBezTo>
                  <a:pt x="77" y="38"/>
                  <a:pt x="77" y="38"/>
                  <a:pt x="77" y="38"/>
                </a:cubicBezTo>
                <a:cubicBezTo>
                  <a:pt x="77" y="37"/>
                  <a:pt x="77" y="37"/>
                  <a:pt x="77" y="37"/>
                </a:cubicBezTo>
                <a:cubicBezTo>
                  <a:pt x="78" y="38"/>
                  <a:pt x="78" y="38"/>
                  <a:pt x="78" y="38"/>
                </a:cubicBezTo>
                <a:cubicBezTo>
                  <a:pt x="78" y="39"/>
                  <a:pt x="78" y="39"/>
                  <a:pt x="78" y="39"/>
                </a:cubicBezTo>
                <a:cubicBezTo>
                  <a:pt x="77" y="40"/>
                  <a:pt x="77" y="40"/>
                  <a:pt x="77" y="40"/>
                </a:cubicBezTo>
                <a:close/>
                <a:moveTo>
                  <a:pt x="81" y="42"/>
                </a:moveTo>
                <a:cubicBezTo>
                  <a:pt x="79" y="41"/>
                  <a:pt x="79" y="41"/>
                  <a:pt x="79" y="41"/>
                </a:cubicBezTo>
                <a:cubicBezTo>
                  <a:pt x="79" y="40"/>
                  <a:pt x="79" y="40"/>
                  <a:pt x="79" y="40"/>
                </a:cubicBezTo>
                <a:cubicBezTo>
                  <a:pt x="79" y="39"/>
                  <a:pt x="79" y="39"/>
                  <a:pt x="79" y="39"/>
                </a:cubicBezTo>
                <a:cubicBezTo>
                  <a:pt x="80" y="39"/>
                  <a:pt x="80" y="39"/>
                  <a:pt x="80" y="39"/>
                </a:cubicBezTo>
                <a:cubicBezTo>
                  <a:pt x="80" y="40"/>
                  <a:pt x="80" y="40"/>
                  <a:pt x="80" y="40"/>
                </a:cubicBezTo>
                <a:cubicBezTo>
                  <a:pt x="82" y="40"/>
                  <a:pt x="82" y="40"/>
                  <a:pt x="82" y="40"/>
                </a:cubicBezTo>
                <a:cubicBezTo>
                  <a:pt x="82" y="41"/>
                  <a:pt x="82" y="41"/>
                  <a:pt x="82" y="41"/>
                </a:cubicBezTo>
                <a:cubicBezTo>
                  <a:pt x="82" y="42"/>
                  <a:pt x="82" y="42"/>
                  <a:pt x="82" y="42"/>
                </a:cubicBezTo>
                <a:cubicBezTo>
                  <a:pt x="81" y="42"/>
                  <a:pt x="81" y="42"/>
                  <a:pt x="81" y="42"/>
                </a:cubicBezTo>
                <a:close/>
                <a:moveTo>
                  <a:pt x="79" y="46"/>
                </a:moveTo>
                <a:cubicBezTo>
                  <a:pt x="78" y="45"/>
                  <a:pt x="78" y="45"/>
                  <a:pt x="78" y="45"/>
                </a:cubicBezTo>
                <a:cubicBezTo>
                  <a:pt x="76" y="43"/>
                  <a:pt x="76" y="43"/>
                  <a:pt x="76" y="43"/>
                </a:cubicBezTo>
                <a:cubicBezTo>
                  <a:pt x="74" y="42"/>
                  <a:pt x="74" y="42"/>
                  <a:pt x="74" y="42"/>
                </a:cubicBezTo>
                <a:cubicBezTo>
                  <a:pt x="73" y="42"/>
                  <a:pt x="73" y="42"/>
                  <a:pt x="73" y="42"/>
                </a:cubicBezTo>
                <a:cubicBezTo>
                  <a:pt x="72" y="42"/>
                  <a:pt x="72" y="42"/>
                  <a:pt x="72" y="42"/>
                </a:cubicBezTo>
                <a:cubicBezTo>
                  <a:pt x="72" y="41"/>
                  <a:pt x="72" y="41"/>
                  <a:pt x="72" y="41"/>
                </a:cubicBezTo>
                <a:cubicBezTo>
                  <a:pt x="74" y="41"/>
                  <a:pt x="74" y="41"/>
                  <a:pt x="74" y="41"/>
                </a:cubicBezTo>
                <a:cubicBezTo>
                  <a:pt x="75" y="41"/>
                  <a:pt x="75" y="41"/>
                  <a:pt x="75" y="41"/>
                </a:cubicBezTo>
                <a:cubicBezTo>
                  <a:pt x="77" y="42"/>
                  <a:pt x="77" y="42"/>
                  <a:pt x="77" y="42"/>
                </a:cubicBezTo>
                <a:cubicBezTo>
                  <a:pt x="79" y="43"/>
                  <a:pt x="79" y="43"/>
                  <a:pt x="79" y="43"/>
                </a:cubicBezTo>
                <a:cubicBezTo>
                  <a:pt x="80" y="43"/>
                  <a:pt x="80" y="43"/>
                  <a:pt x="80" y="43"/>
                </a:cubicBezTo>
                <a:cubicBezTo>
                  <a:pt x="81" y="43"/>
                  <a:pt x="81" y="43"/>
                  <a:pt x="81" y="43"/>
                </a:cubicBezTo>
                <a:cubicBezTo>
                  <a:pt x="81" y="43"/>
                  <a:pt x="81" y="43"/>
                  <a:pt x="81" y="43"/>
                </a:cubicBezTo>
                <a:cubicBezTo>
                  <a:pt x="81" y="44"/>
                  <a:pt x="81" y="44"/>
                  <a:pt x="81" y="44"/>
                </a:cubicBezTo>
                <a:cubicBezTo>
                  <a:pt x="80" y="46"/>
                  <a:pt x="80" y="46"/>
                  <a:pt x="80" y="46"/>
                </a:cubicBezTo>
                <a:cubicBezTo>
                  <a:pt x="79" y="46"/>
                  <a:pt x="79" y="46"/>
                  <a:pt x="79" y="46"/>
                </a:cubicBezTo>
                <a:close/>
                <a:moveTo>
                  <a:pt x="80" y="49"/>
                </a:moveTo>
                <a:cubicBezTo>
                  <a:pt x="81" y="48"/>
                  <a:pt x="81" y="48"/>
                  <a:pt x="81" y="48"/>
                </a:cubicBezTo>
                <a:cubicBezTo>
                  <a:pt x="80" y="46"/>
                  <a:pt x="80" y="46"/>
                  <a:pt x="80" y="46"/>
                </a:cubicBezTo>
                <a:cubicBezTo>
                  <a:pt x="79" y="46"/>
                  <a:pt x="79" y="46"/>
                  <a:pt x="79" y="46"/>
                </a:cubicBezTo>
                <a:cubicBezTo>
                  <a:pt x="77" y="46"/>
                  <a:pt x="77" y="46"/>
                  <a:pt x="77" y="46"/>
                </a:cubicBezTo>
                <a:cubicBezTo>
                  <a:pt x="75" y="44"/>
                  <a:pt x="75" y="44"/>
                  <a:pt x="75" y="44"/>
                </a:cubicBezTo>
                <a:cubicBezTo>
                  <a:pt x="74" y="44"/>
                  <a:pt x="74" y="44"/>
                  <a:pt x="74" y="44"/>
                </a:cubicBezTo>
                <a:cubicBezTo>
                  <a:pt x="73" y="44"/>
                  <a:pt x="73" y="44"/>
                  <a:pt x="73" y="44"/>
                </a:cubicBezTo>
                <a:cubicBezTo>
                  <a:pt x="72" y="44"/>
                  <a:pt x="72" y="44"/>
                  <a:pt x="72" y="44"/>
                </a:cubicBezTo>
                <a:cubicBezTo>
                  <a:pt x="71" y="43"/>
                  <a:pt x="71" y="43"/>
                  <a:pt x="71" y="43"/>
                </a:cubicBezTo>
                <a:cubicBezTo>
                  <a:pt x="68" y="43"/>
                  <a:pt x="68" y="43"/>
                  <a:pt x="68" y="43"/>
                </a:cubicBezTo>
                <a:cubicBezTo>
                  <a:pt x="66" y="43"/>
                  <a:pt x="66" y="43"/>
                  <a:pt x="66" y="43"/>
                </a:cubicBezTo>
                <a:cubicBezTo>
                  <a:pt x="67" y="45"/>
                  <a:pt x="67" y="45"/>
                  <a:pt x="67" y="45"/>
                </a:cubicBezTo>
                <a:cubicBezTo>
                  <a:pt x="67" y="45"/>
                  <a:pt x="67" y="45"/>
                  <a:pt x="67" y="45"/>
                </a:cubicBezTo>
                <a:cubicBezTo>
                  <a:pt x="67" y="46"/>
                  <a:pt x="67" y="46"/>
                  <a:pt x="67" y="46"/>
                </a:cubicBezTo>
                <a:cubicBezTo>
                  <a:pt x="69" y="46"/>
                  <a:pt x="69" y="46"/>
                  <a:pt x="69" y="46"/>
                </a:cubicBezTo>
                <a:cubicBezTo>
                  <a:pt x="70" y="45"/>
                  <a:pt x="70" y="45"/>
                  <a:pt x="70" y="45"/>
                </a:cubicBezTo>
                <a:cubicBezTo>
                  <a:pt x="70" y="45"/>
                  <a:pt x="70" y="45"/>
                  <a:pt x="70" y="45"/>
                </a:cubicBezTo>
                <a:cubicBezTo>
                  <a:pt x="71" y="46"/>
                  <a:pt x="71" y="46"/>
                  <a:pt x="71" y="46"/>
                </a:cubicBezTo>
                <a:cubicBezTo>
                  <a:pt x="72" y="47"/>
                  <a:pt x="72" y="47"/>
                  <a:pt x="72" y="47"/>
                </a:cubicBezTo>
                <a:cubicBezTo>
                  <a:pt x="73" y="47"/>
                  <a:pt x="73" y="47"/>
                  <a:pt x="73" y="47"/>
                </a:cubicBezTo>
                <a:cubicBezTo>
                  <a:pt x="73" y="47"/>
                  <a:pt x="73" y="47"/>
                  <a:pt x="73" y="47"/>
                </a:cubicBezTo>
                <a:cubicBezTo>
                  <a:pt x="74" y="48"/>
                  <a:pt x="74" y="48"/>
                  <a:pt x="74" y="48"/>
                </a:cubicBezTo>
                <a:cubicBezTo>
                  <a:pt x="75" y="49"/>
                  <a:pt x="75" y="49"/>
                  <a:pt x="75" y="49"/>
                </a:cubicBezTo>
                <a:cubicBezTo>
                  <a:pt x="77" y="48"/>
                  <a:pt x="77" y="48"/>
                  <a:pt x="77" y="48"/>
                </a:cubicBezTo>
                <a:cubicBezTo>
                  <a:pt x="78" y="49"/>
                  <a:pt x="78" y="49"/>
                  <a:pt x="78" y="49"/>
                </a:cubicBezTo>
                <a:cubicBezTo>
                  <a:pt x="80" y="50"/>
                  <a:pt x="80" y="50"/>
                  <a:pt x="80" y="50"/>
                </a:cubicBezTo>
                <a:cubicBezTo>
                  <a:pt x="80" y="49"/>
                  <a:pt x="80" y="49"/>
                  <a:pt x="80" y="49"/>
                </a:cubicBezTo>
                <a:close/>
                <a:moveTo>
                  <a:pt x="71" y="51"/>
                </a:moveTo>
                <a:cubicBezTo>
                  <a:pt x="71" y="51"/>
                  <a:pt x="70" y="51"/>
                  <a:pt x="70" y="51"/>
                </a:cubicBezTo>
                <a:cubicBezTo>
                  <a:pt x="70" y="51"/>
                  <a:pt x="70" y="51"/>
                  <a:pt x="70" y="51"/>
                </a:cubicBezTo>
                <a:cubicBezTo>
                  <a:pt x="68" y="51"/>
                  <a:pt x="68" y="51"/>
                  <a:pt x="68" y="51"/>
                </a:cubicBezTo>
                <a:cubicBezTo>
                  <a:pt x="67" y="50"/>
                  <a:pt x="67" y="50"/>
                  <a:pt x="67" y="50"/>
                </a:cubicBezTo>
                <a:cubicBezTo>
                  <a:pt x="67" y="49"/>
                  <a:pt x="67" y="49"/>
                  <a:pt x="67" y="49"/>
                </a:cubicBezTo>
                <a:cubicBezTo>
                  <a:pt x="68" y="49"/>
                  <a:pt x="68" y="49"/>
                  <a:pt x="68" y="49"/>
                </a:cubicBezTo>
                <a:cubicBezTo>
                  <a:pt x="69" y="48"/>
                  <a:pt x="69" y="48"/>
                  <a:pt x="69" y="48"/>
                </a:cubicBezTo>
                <a:cubicBezTo>
                  <a:pt x="71" y="48"/>
                  <a:pt x="71" y="48"/>
                  <a:pt x="71" y="48"/>
                </a:cubicBezTo>
                <a:cubicBezTo>
                  <a:pt x="71" y="48"/>
                  <a:pt x="71" y="48"/>
                  <a:pt x="71" y="48"/>
                </a:cubicBezTo>
                <a:cubicBezTo>
                  <a:pt x="72" y="49"/>
                  <a:pt x="72" y="49"/>
                  <a:pt x="72" y="49"/>
                </a:cubicBezTo>
                <a:cubicBezTo>
                  <a:pt x="73" y="49"/>
                  <a:pt x="73" y="49"/>
                  <a:pt x="73" y="49"/>
                </a:cubicBezTo>
                <a:cubicBezTo>
                  <a:pt x="73" y="49"/>
                  <a:pt x="73" y="49"/>
                  <a:pt x="73" y="49"/>
                </a:cubicBezTo>
                <a:cubicBezTo>
                  <a:pt x="74" y="49"/>
                  <a:pt x="74" y="49"/>
                  <a:pt x="74" y="49"/>
                </a:cubicBezTo>
                <a:cubicBezTo>
                  <a:pt x="74" y="50"/>
                  <a:pt x="74" y="50"/>
                  <a:pt x="74" y="50"/>
                </a:cubicBezTo>
                <a:cubicBezTo>
                  <a:pt x="74" y="50"/>
                  <a:pt x="74" y="50"/>
                  <a:pt x="74" y="50"/>
                </a:cubicBezTo>
                <a:cubicBezTo>
                  <a:pt x="71" y="51"/>
                  <a:pt x="71" y="51"/>
                  <a:pt x="71" y="51"/>
                </a:cubicBezTo>
                <a:close/>
                <a:moveTo>
                  <a:pt x="68" y="58"/>
                </a:moveTo>
                <a:cubicBezTo>
                  <a:pt x="68" y="57"/>
                  <a:pt x="68" y="57"/>
                  <a:pt x="68" y="57"/>
                </a:cubicBezTo>
                <a:cubicBezTo>
                  <a:pt x="68" y="55"/>
                  <a:pt x="68" y="55"/>
                  <a:pt x="68" y="55"/>
                </a:cubicBezTo>
                <a:cubicBezTo>
                  <a:pt x="67" y="55"/>
                  <a:pt x="67" y="55"/>
                  <a:pt x="67" y="55"/>
                </a:cubicBezTo>
                <a:cubicBezTo>
                  <a:pt x="67" y="57"/>
                  <a:pt x="67" y="57"/>
                  <a:pt x="67" y="57"/>
                </a:cubicBezTo>
                <a:cubicBezTo>
                  <a:pt x="66" y="57"/>
                  <a:pt x="66" y="57"/>
                  <a:pt x="66" y="57"/>
                </a:cubicBezTo>
                <a:cubicBezTo>
                  <a:pt x="67" y="58"/>
                  <a:pt x="67" y="58"/>
                  <a:pt x="67" y="58"/>
                </a:cubicBezTo>
                <a:cubicBezTo>
                  <a:pt x="68" y="59"/>
                  <a:pt x="68" y="59"/>
                  <a:pt x="68" y="59"/>
                </a:cubicBezTo>
                <a:cubicBezTo>
                  <a:pt x="68" y="58"/>
                  <a:pt x="68" y="58"/>
                  <a:pt x="68" y="58"/>
                </a:cubicBezTo>
                <a:close/>
                <a:moveTo>
                  <a:pt x="70" y="58"/>
                </a:moveTo>
                <a:cubicBezTo>
                  <a:pt x="70" y="58"/>
                  <a:pt x="70" y="58"/>
                  <a:pt x="70" y="58"/>
                </a:cubicBezTo>
                <a:cubicBezTo>
                  <a:pt x="71" y="57"/>
                  <a:pt x="71" y="57"/>
                  <a:pt x="71" y="57"/>
                </a:cubicBezTo>
                <a:cubicBezTo>
                  <a:pt x="70" y="56"/>
                  <a:pt x="70" y="56"/>
                  <a:pt x="70" y="56"/>
                </a:cubicBezTo>
                <a:cubicBezTo>
                  <a:pt x="69" y="55"/>
                  <a:pt x="69" y="55"/>
                  <a:pt x="69" y="55"/>
                </a:cubicBezTo>
                <a:cubicBezTo>
                  <a:pt x="68" y="55"/>
                  <a:pt x="68" y="55"/>
                  <a:pt x="68" y="55"/>
                </a:cubicBezTo>
                <a:cubicBezTo>
                  <a:pt x="68" y="56"/>
                  <a:pt x="68" y="56"/>
                  <a:pt x="68" y="56"/>
                </a:cubicBezTo>
                <a:cubicBezTo>
                  <a:pt x="70" y="58"/>
                  <a:pt x="70" y="58"/>
                  <a:pt x="70" y="58"/>
                </a:cubicBezTo>
                <a:close/>
                <a:moveTo>
                  <a:pt x="72" y="56"/>
                </a:moveTo>
                <a:cubicBezTo>
                  <a:pt x="72" y="56"/>
                  <a:pt x="73" y="57"/>
                  <a:pt x="73" y="57"/>
                </a:cubicBezTo>
                <a:cubicBezTo>
                  <a:pt x="73" y="56"/>
                  <a:pt x="73" y="56"/>
                  <a:pt x="73" y="56"/>
                </a:cubicBezTo>
                <a:cubicBezTo>
                  <a:pt x="73" y="55"/>
                  <a:pt x="73" y="55"/>
                  <a:pt x="73" y="55"/>
                </a:cubicBezTo>
                <a:cubicBezTo>
                  <a:pt x="72" y="55"/>
                  <a:pt x="72" y="55"/>
                  <a:pt x="72" y="55"/>
                </a:cubicBezTo>
                <a:cubicBezTo>
                  <a:pt x="71" y="55"/>
                  <a:pt x="71" y="55"/>
                  <a:pt x="71" y="55"/>
                </a:cubicBezTo>
                <a:cubicBezTo>
                  <a:pt x="72" y="56"/>
                  <a:pt x="72" y="56"/>
                  <a:pt x="72" y="56"/>
                </a:cubicBezTo>
                <a:close/>
                <a:moveTo>
                  <a:pt x="72" y="60"/>
                </a:moveTo>
                <a:cubicBezTo>
                  <a:pt x="72" y="59"/>
                  <a:pt x="72" y="59"/>
                  <a:pt x="72" y="59"/>
                </a:cubicBezTo>
                <a:cubicBezTo>
                  <a:pt x="73" y="58"/>
                  <a:pt x="73" y="58"/>
                  <a:pt x="73" y="58"/>
                </a:cubicBezTo>
                <a:cubicBezTo>
                  <a:pt x="72" y="57"/>
                  <a:pt x="72" y="57"/>
                  <a:pt x="72" y="57"/>
                </a:cubicBezTo>
                <a:cubicBezTo>
                  <a:pt x="71" y="57"/>
                  <a:pt x="71" y="57"/>
                  <a:pt x="71" y="57"/>
                </a:cubicBezTo>
                <a:cubicBezTo>
                  <a:pt x="71" y="57"/>
                  <a:pt x="71" y="57"/>
                  <a:pt x="71" y="57"/>
                </a:cubicBezTo>
                <a:cubicBezTo>
                  <a:pt x="71" y="58"/>
                  <a:pt x="71" y="58"/>
                  <a:pt x="71" y="58"/>
                </a:cubicBezTo>
                <a:cubicBezTo>
                  <a:pt x="71" y="59"/>
                  <a:pt x="71" y="59"/>
                  <a:pt x="71" y="59"/>
                </a:cubicBezTo>
                <a:cubicBezTo>
                  <a:pt x="72" y="60"/>
                  <a:pt x="72" y="60"/>
                  <a:pt x="72" y="60"/>
                </a:cubicBezTo>
                <a:close/>
                <a:moveTo>
                  <a:pt x="70" y="63"/>
                </a:moveTo>
                <a:cubicBezTo>
                  <a:pt x="70" y="62"/>
                  <a:pt x="70" y="62"/>
                  <a:pt x="70" y="62"/>
                </a:cubicBezTo>
                <a:cubicBezTo>
                  <a:pt x="69" y="62"/>
                  <a:pt x="69" y="62"/>
                  <a:pt x="69" y="62"/>
                </a:cubicBezTo>
                <a:cubicBezTo>
                  <a:pt x="68" y="61"/>
                  <a:pt x="68" y="61"/>
                  <a:pt x="68" y="61"/>
                </a:cubicBezTo>
                <a:cubicBezTo>
                  <a:pt x="67" y="61"/>
                  <a:pt x="67" y="61"/>
                  <a:pt x="67" y="61"/>
                </a:cubicBezTo>
                <a:cubicBezTo>
                  <a:pt x="66" y="61"/>
                  <a:pt x="66" y="61"/>
                  <a:pt x="66" y="61"/>
                </a:cubicBezTo>
                <a:cubicBezTo>
                  <a:pt x="67" y="62"/>
                  <a:pt x="67" y="62"/>
                  <a:pt x="67" y="62"/>
                </a:cubicBezTo>
                <a:cubicBezTo>
                  <a:pt x="67" y="63"/>
                  <a:pt x="67" y="63"/>
                  <a:pt x="67" y="63"/>
                </a:cubicBezTo>
                <a:cubicBezTo>
                  <a:pt x="66" y="64"/>
                  <a:pt x="66" y="64"/>
                  <a:pt x="66" y="64"/>
                </a:cubicBezTo>
                <a:cubicBezTo>
                  <a:pt x="66" y="65"/>
                  <a:pt x="66" y="65"/>
                  <a:pt x="66" y="65"/>
                </a:cubicBezTo>
                <a:cubicBezTo>
                  <a:pt x="68" y="65"/>
                  <a:pt x="68" y="65"/>
                  <a:pt x="68" y="65"/>
                </a:cubicBezTo>
                <a:cubicBezTo>
                  <a:pt x="70" y="64"/>
                  <a:pt x="70" y="64"/>
                  <a:pt x="70" y="64"/>
                </a:cubicBezTo>
                <a:cubicBezTo>
                  <a:pt x="70" y="63"/>
                  <a:pt x="70" y="63"/>
                  <a:pt x="70" y="63"/>
                </a:cubicBezTo>
                <a:close/>
                <a:moveTo>
                  <a:pt x="71" y="61"/>
                </a:moveTo>
                <a:cubicBezTo>
                  <a:pt x="71" y="62"/>
                  <a:pt x="71" y="62"/>
                  <a:pt x="71" y="62"/>
                </a:cubicBezTo>
                <a:cubicBezTo>
                  <a:pt x="72" y="63"/>
                  <a:pt x="72" y="63"/>
                  <a:pt x="72" y="63"/>
                </a:cubicBezTo>
                <a:cubicBezTo>
                  <a:pt x="72" y="63"/>
                  <a:pt x="72" y="63"/>
                  <a:pt x="72" y="63"/>
                </a:cubicBezTo>
                <a:cubicBezTo>
                  <a:pt x="72" y="62"/>
                  <a:pt x="72" y="62"/>
                  <a:pt x="72" y="62"/>
                </a:cubicBezTo>
                <a:cubicBezTo>
                  <a:pt x="72" y="61"/>
                  <a:pt x="72" y="61"/>
                  <a:pt x="72" y="61"/>
                </a:cubicBezTo>
                <a:cubicBezTo>
                  <a:pt x="71" y="61"/>
                  <a:pt x="71" y="61"/>
                  <a:pt x="71" y="61"/>
                </a:cubicBezTo>
                <a:close/>
                <a:moveTo>
                  <a:pt x="81" y="47"/>
                </a:moveTo>
                <a:cubicBezTo>
                  <a:pt x="81" y="46"/>
                  <a:pt x="81" y="46"/>
                  <a:pt x="81" y="46"/>
                </a:cubicBezTo>
                <a:cubicBezTo>
                  <a:pt x="82" y="45"/>
                  <a:pt x="82" y="45"/>
                  <a:pt x="82" y="45"/>
                </a:cubicBezTo>
                <a:cubicBezTo>
                  <a:pt x="82" y="44"/>
                  <a:pt x="82" y="44"/>
                  <a:pt x="82" y="44"/>
                </a:cubicBezTo>
                <a:cubicBezTo>
                  <a:pt x="83" y="43"/>
                  <a:pt x="83" y="43"/>
                  <a:pt x="83" y="43"/>
                </a:cubicBezTo>
                <a:cubicBezTo>
                  <a:pt x="83" y="43"/>
                  <a:pt x="83" y="43"/>
                  <a:pt x="83" y="43"/>
                </a:cubicBezTo>
                <a:cubicBezTo>
                  <a:pt x="84" y="45"/>
                  <a:pt x="84" y="45"/>
                  <a:pt x="84" y="45"/>
                </a:cubicBezTo>
                <a:cubicBezTo>
                  <a:pt x="84" y="45"/>
                  <a:pt x="84" y="45"/>
                  <a:pt x="84" y="45"/>
                </a:cubicBezTo>
                <a:cubicBezTo>
                  <a:pt x="84" y="46"/>
                  <a:pt x="84" y="46"/>
                  <a:pt x="84" y="46"/>
                </a:cubicBezTo>
                <a:cubicBezTo>
                  <a:pt x="83" y="47"/>
                  <a:pt x="83" y="47"/>
                  <a:pt x="83" y="47"/>
                </a:cubicBezTo>
                <a:cubicBezTo>
                  <a:pt x="83" y="47"/>
                  <a:pt x="83" y="47"/>
                  <a:pt x="83" y="47"/>
                </a:cubicBezTo>
                <a:cubicBezTo>
                  <a:pt x="82" y="47"/>
                  <a:pt x="82" y="47"/>
                  <a:pt x="82" y="47"/>
                </a:cubicBezTo>
                <a:cubicBezTo>
                  <a:pt x="81" y="47"/>
                  <a:pt x="81" y="47"/>
                  <a:pt x="81" y="47"/>
                </a:cubicBezTo>
                <a:close/>
                <a:moveTo>
                  <a:pt x="74" y="60"/>
                </a:moveTo>
                <a:cubicBezTo>
                  <a:pt x="74" y="61"/>
                  <a:pt x="74" y="61"/>
                  <a:pt x="74" y="61"/>
                </a:cubicBezTo>
                <a:cubicBezTo>
                  <a:pt x="75" y="61"/>
                  <a:pt x="75" y="61"/>
                  <a:pt x="75" y="61"/>
                </a:cubicBezTo>
                <a:cubicBezTo>
                  <a:pt x="76" y="61"/>
                  <a:pt x="76" y="61"/>
                  <a:pt x="76" y="61"/>
                </a:cubicBezTo>
                <a:cubicBezTo>
                  <a:pt x="77" y="61"/>
                  <a:pt x="77" y="61"/>
                  <a:pt x="77" y="61"/>
                </a:cubicBezTo>
                <a:cubicBezTo>
                  <a:pt x="76" y="60"/>
                  <a:pt x="76" y="60"/>
                  <a:pt x="76" y="60"/>
                </a:cubicBezTo>
                <a:cubicBezTo>
                  <a:pt x="76" y="59"/>
                  <a:pt x="76" y="59"/>
                  <a:pt x="76" y="59"/>
                </a:cubicBezTo>
                <a:cubicBezTo>
                  <a:pt x="75" y="59"/>
                  <a:pt x="75" y="59"/>
                  <a:pt x="75" y="59"/>
                </a:cubicBezTo>
                <a:cubicBezTo>
                  <a:pt x="74" y="60"/>
                  <a:pt x="74" y="60"/>
                  <a:pt x="74" y="60"/>
                </a:cubicBezTo>
                <a:cubicBezTo>
                  <a:pt x="74" y="60"/>
                  <a:pt x="74" y="60"/>
                  <a:pt x="74" y="60"/>
                </a:cubicBezTo>
                <a:close/>
                <a:moveTo>
                  <a:pt x="74" y="58"/>
                </a:moveTo>
                <a:cubicBezTo>
                  <a:pt x="75" y="58"/>
                  <a:pt x="75" y="58"/>
                  <a:pt x="75" y="58"/>
                </a:cubicBezTo>
                <a:cubicBezTo>
                  <a:pt x="75" y="57"/>
                  <a:pt x="75" y="57"/>
                  <a:pt x="75" y="57"/>
                </a:cubicBezTo>
                <a:cubicBezTo>
                  <a:pt x="75" y="56"/>
                  <a:pt x="75" y="56"/>
                  <a:pt x="75" y="56"/>
                </a:cubicBezTo>
                <a:cubicBezTo>
                  <a:pt x="75" y="57"/>
                  <a:pt x="75" y="57"/>
                  <a:pt x="75" y="57"/>
                </a:cubicBezTo>
                <a:cubicBezTo>
                  <a:pt x="74" y="58"/>
                  <a:pt x="74" y="58"/>
                  <a:pt x="74" y="58"/>
                </a:cubicBezTo>
                <a:close/>
                <a:moveTo>
                  <a:pt x="76" y="57"/>
                </a:moveTo>
                <a:cubicBezTo>
                  <a:pt x="76" y="57"/>
                  <a:pt x="76" y="57"/>
                  <a:pt x="76" y="57"/>
                </a:cubicBezTo>
                <a:cubicBezTo>
                  <a:pt x="77" y="58"/>
                  <a:pt x="77" y="58"/>
                  <a:pt x="77" y="58"/>
                </a:cubicBezTo>
                <a:cubicBezTo>
                  <a:pt x="78" y="57"/>
                  <a:pt x="78" y="57"/>
                  <a:pt x="78" y="57"/>
                </a:cubicBezTo>
                <a:cubicBezTo>
                  <a:pt x="78" y="57"/>
                  <a:pt x="78" y="57"/>
                  <a:pt x="78" y="57"/>
                </a:cubicBezTo>
                <a:cubicBezTo>
                  <a:pt x="78" y="56"/>
                  <a:pt x="78" y="56"/>
                  <a:pt x="78" y="56"/>
                </a:cubicBezTo>
                <a:cubicBezTo>
                  <a:pt x="77" y="56"/>
                  <a:pt x="77" y="56"/>
                  <a:pt x="77" y="56"/>
                </a:cubicBezTo>
                <a:cubicBezTo>
                  <a:pt x="77" y="57"/>
                  <a:pt x="77" y="57"/>
                  <a:pt x="77" y="57"/>
                </a:cubicBezTo>
                <a:cubicBezTo>
                  <a:pt x="76" y="57"/>
                  <a:pt x="76" y="57"/>
                  <a:pt x="76" y="57"/>
                </a:cubicBezTo>
                <a:close/>
                <a:moveTo>
                  <a:pt x="76" y="52"/>
                </a:moveTo>
                <a:cubicBezTo>
                  <a:pt x="76" y="53"/>
                  <a:pt x="76" y="53"/>
                  <a:pt x="76" y="53"/>
                </a:cubicBezTo>
                <a:cubicBezTo>
                  <a:pt x="75" y="53"/>
                  <a:pt x="75" y="53"/>
                  <a:pt x="75" y="53"/>
                </a:cubicBezTo>
                <a:cubicBezTo>
                  <a:pt x="74" y="52"/>
                  <a:pt x="74" y="52"/>
                  <a:pt x="74" y="52"/>
                </a:cubicBezTo>
                <a:cubicBezTo>
                  <a:pt x="74" y="51"/>
                  <a:pt x="74" y="51"/>
                  <a:pt x="74" y="51"/>
                </a:cubicBezTo>
                <a:cubicBezTo>
                  <a:pt x="75" y="50"/>
                  <a:pt x="75" y="50"/>
                  <a:pt x="75" y="50"/>
                </a:cubicBezTo>
                <a:cubicBezTo>
                  <a:pt x="76" y="49"/>
                  <a:pt x="76" y="49"/>
                  <a:pt x="76" y="49"/>
                </a:cubicBezTo>
                <a:cubicBezTo>
                  <a:pt x="77" y="50"/>
                  <a:pt x="77" y="50"/>
                  <a:pt x="77" y="50"/>
                </a:cubicBezTo>
                <a:cubicBezTo>
                  <a:pt x="78" y="50"/>
                  <a:pt x="78" y="50"/>
                  <a:pt x="78" y="50"/>
                </a:cubicBezTo>
                <a:cubicBezTo>
                  <a:pt x="79" y="51"/>
                  <a:pt x="79" y="51"/>
                  <a:pt x="79" y="51"/>
                </a:cubicBezTo>
                <a:cubicBezTo>
                  <a:pt x="79" y="52"/>
                  <a:pt x="79" y="52"/>
                  <a:pt x="79" y="52"/>
                </a:cubicBezTo>
                <a:cubicBezTo>
                  <a:pt x="78" y="52"/>
                  <a:pt x="78" y="52"/>
                  <a:pt x="78" y="52"/>
                </a:cubicBezTo>
                <a:cubicBezTo>
                  <a:pt x="77" y="52"/>
                  <a:pt x="77" y="52"/>
                  <a:pt x="77" y="52"/>
                </a:cubicBezTo>
                <a:cubicBezTo>
                  <a:pt x="76" y="52"/>
                  <a:pt x="76" y="52"/>
                  <a:pt x="76" y="52"/>
                </a:cubicBezTo>
                <a:close/>
                <a:moveTo>
                  <a:pt x="81" y="51"/>
                </a:moveTo>
                <a:cubicBezTo>
                  <a:pt x="82" y="52"/>
                  <a:pt x="82" y="52"/>
                  <a:pt x="82" y="52"/>
                </a:cubicBezTo>
                <a:cubicBezTo>
                  <a:pt x="83" y="52"/>
                  <a:pt x="83" y="52"/>
                  <a:pt x="83" y="52"/>
                </a:cubicBezTo>
                <a:cubicBezTo>
                  <a:pt x="84" y="52"/>
                  <a:pt x="84" y="52"/>
                  <a:pt x="84" y="52"/>
                </a:cubicBezTo>
                <a:cubicBezTo>
                  <a:pt x="84" y="51"/>
                  <a:pt x="84" y="51"/>
                  <a:pt x="84" y="51"/>
                </a:cubicBezTo>
                <a:cubicBezTo>
                  <a:pt x="83" y="50"/>
                  <a:pt x="83" y="50"/>
                  <a:pt x="83" y="50"/>
                </a:cubicBezTo>
                <a:cubicBezTo>
                  <a:pt x="83" y="51"/>
                  <a:pt x="83" y="51"/>
                  <a:pt x="83" y="51"/>
                </a:cubicBezTo>
                <a:cubicBezTo>
                  <a:pt x="82" y="51"/>
                  <a:pt x="82" y="51"/>
                  <a:pt x="82" y="51"/>
                </a:cubicBezTo>
                <a:cubicBezTo>
                  <a:pt x="81" y="51"/>
                  <a:pt x="81" y="51"/>
                  <a:pt x="81" y="51"/>
                </a:cubicBezTo>
                <a:close/>
                <a:moveTo>
                  <a:pt x="84" y="63"/>
                </a:moveTo>
                <a:cubicBezTo>
                  <a:pt x="84" y="62"/>
                  <a:pt x="84" y="62"/>
                  <a:pt x="84" y="62"/>
                </a:cubicBezTo>
                <a:cubicBezTo>
                  <a:pt x="83" y="61"/>
                  <a:pt x="83" y="61"/>
                  <a:pt x="83" y="61"/>
                </a:cubicBezTo>
                <a:cubicBezTo>
                  <a:pt x="83" y="60"/>
                  <a:pt x="83" y="60"/>
                  <a:pt x="83" y="60"/>
                </a:cubicBezTo>
                <a:cubicBezTo>
                  <a:pt x="83" y="59"/>
                  <a:pt x="83" y="59"/>
                  <a:pt x="83" y="59"/>
                </a:cubicBezTo>
                <a:cubicBezTo>
                  <a:pt x="82" y="57"/>
                  <a:pt x="82" y="57"/>
                  <a:pt x="82" y="57"/>
                </a:cubicBezTo>
                <a:cubicBezTo>
                  <a:pt x="81" y="57"/>
                  <a:pt x="81" y="57"/>
                  <a:pt x="81" y="57"/>
                </a:cubicBezTo>
                <a:cubicBezTo>
                  <a:pt x="81" y="57"/>
                  <a:pt x="81" y="57"/>
                  <a:pt x="81" y="57"/>
                </a:cubicBezTo>
                <a:cubicBezTo>
                  <a:pt x="79" y="57"/>
                  <a:pt x="79" y="57"/>
                  <a:pt x="79" y="57"/>
                </a:cubicBezTo>
                <a:cubicBezTo>
                  <a:pt x="78" y="58"/>
                  <a:pt x="78" y="58"/>
                  <a:pt x="78" y="58"/>
                </a:cubicBezTo>
                <a:cubicBezTo>
                  <a:pt x="78" y="59"/>
                  <a:pt x="78" y="59"/>
                  <a:pt x="78" y="59"/>
                </a:cubicBezTo>
                <a:cubicBezTo>
                  <a:pt x="79" y="61"/>
                  <a:pt x="79" y="61"/>
                  <a:pt x="79" y="61"/>
                </a:cubicBezTo>
                <a:cubicBezTo>
                  <a:pt x="79" y="63"/>
                  <a:pt x="79" y="63"/>
                  <a:pt x="79" y="63"/>
                </a:cubicBezTo>
                <a:cubicBezTo>
                  <a:pt x="80" y="64"/>
                  <a:pt x="80" y="64"/>
                  <a:pt x="80" y="64"/>
                </a:cubicBezTo>
                <a:cubicBezTo>
                  <a:pt x="81" y="64"/>
                  <a:pt x="81" y="64"/>
                  <a:pt x="81" y="64"/>
                </a:cubicBezTo>
                <a:cubicBezTo>
                  <a:pt x="82" y="63"/>
                  <a:pt x="82" y="63"/>
                  <a:pt x="82" y="63"/>
                </a:cubicBezTo>
                <a:cubicBezTo>
                  <a:pt x="84" y="63"/>
                  <a:pt x="84" y="63"/>
                  <a:pt x="84" y="63"/>
                </a:cubicBezTo>
                <a:close/>
                <a:moveTo>
                  <a:pt x="87" y="62"/>
                </a:moveTo>
                <a:cubicBezTo>
                  <a:pt x="87" y="62"/>
                  <a:pt x="87" y="62"/>
                  <a:pt x="87" y="62"/>
                </a:cubicBezTo>
                <a:cubicBezTo>
                  <a:pt x="86" y="61"/>
                  <a:pt x="86" y="61"/>
                  <a:pt x="86" y="61"/>
                </a:cubicBezTo>
                <a:cubicBezTo>
                  <a:pt x="86" y="60"/>
                  <a:pt x="86" y="60"/>
                  <a:pt x="86" y="60"/>
                </a:cubicBezTo>
                <a:cubicBezTo>
                  <a:pt x="87" y="60"/>
                  <a:pt x="87" y="60"/>
                  <a:pt x="87" y="60"/>
                </a:cubicBezTo>
                <a:cubicBezTo>
                  <a:pt x="88" y="58"/>
                  <a:pt x="88" y="58"/>
                  <a:pt x="88" y="58"/>
                </a:cubicBezTo>
                <a:cubicBezTo>
                  <a:pt x="88" y="58"/>
                  <a:pt x="88" y="58"/>
                  <a:pt x="88" y="58"/>
                </a:cubicBezTo>
                <a:cubicBezTo>
                  <a:pt x="90" y="57"/>
                  <a:pt x="90" y="57"/>
                  <a:pt x="90" y="57"/>
                </a:cubicBezTo>
                <a:cubicBezTo>
                  <a:pt x="90" y="57"/>
                  <a:pt x="90" y="57"/>
                  <a:pt x="90" y="57"/>
                </a:cubicBezTo>
                <a:cubicBezTo>
                  <a:pt x="91" y="56"/>
                  <a:pt x="91" y="56"/>
                  <a:pt x="91" y="56"/>
                </a:cubicBezTo>
                <a:cubicBezTo>
                  <a:pt x="90" y="56"/>
                  <a:pt x="90" y="56"/>
                  <a:pt x="90" y="56"/>
                </a:cubicBezTo>
                <a:cubicBezTo>
                  <a:pt x="89" y="56"/>
                  <a:pt x="89" y="56"/>
                  <a:pt x="89" y="56"/>
                </a:cubicBezTo>
                <a:cubicBezTo>
                  <a:pt x="86" y="55"/>
                  <a:pt x="86" y="55"/>
                  <a:pt x="86" y="55"/>
                </a:cubicBezTo>
                <a:cubicBezTo>
                  <a:pt x="85" y="53"/>
                  <a:pt x="85" y="53"/>
                  <a:pt x="85" y="53"/>
                </a:cubicBezTo>
                <a:cubicBezTo>
                  <a:pt x="84" y="54"/>
                  <a:pt x="84" y="54"/>
                  <a:pt x="84" y="54"/>
                </a:cubicBezTo>
                <a:cubicBezTo>
                  <a:pt x="83" y="54"/>
                  <a:pt x="83" y="54"/>
                  <a:pt x="83" y="54"/>
                </a:cubicBezTo>
                <a:cubicBezTo>
                  <a:pt x="83" y="54"/>
                  <a:pt x="83" y="54"/>
                  <a:pt x="83" y="54"/>
                </a:cubicBezTo>
                <a:cubicBezTo>
                  <a:pt x="83" y="55"/>
                  <a:pt x="83" y="55"/>
                  <a:pt x="83" y="55"/>
                </a:cubicBezTo>
                <a:cubicBezTo>
                  <a:pt x="84" y="58"/>
                  <a:pt x="84" y="58"/>
                  <a:pt x="84" y="58"/>
                </a:cubicBezTo>
                <a:cubicBezTo>
                  <a:pt x="84" y="60"/>
                  <a:pt x="84" y="60"/>
                  <a:pt x="84" y="60"/>
                </a:cubicBezTo>
                <a:cubicBezTo>
                  <a:pt x="85" y="62"/>
                  <a:pt x="85" y="62"/>
                  <a:pt x="85" y="62"/>
                </a:cubicBezTo>
                <a:cubicBezTo>
                  <a:pt x="86" y="62"/>
                  <a:pt x="86" y="62"/>
                  <a:pt x="86" y="62"/>
                </a:cubicBezTo>
                <a:cubicBezTo>
                  <a:pt x="87" y="62"/>
                  <a:pt x="87" y="62"/>
                  <a:pt x="87" y="62"/>
                </a:cubicBezTo>
                <a:close/>
                <a:moveTo>
                  <a:pt x="91" y="62"/>
                </a:moveTo>
                <a:cubicBezTo>
                  <a:pt x="91" y="63"/>
                  <a:pt x="91" y="63"/>
                  <a:pt x="91" y="63"/>
                </a:cubicBezTo>
                <a:cubicBezTo>
                  <a:pt x="92" y="64"/>
                  <a:pt x="92" y="64"/>
                  <a:pt x="92" y="64"/>
                </a:cubicBezTo>
                <a:cubicBezTo>
                  <a:pt x="93" y="65"/>
                  <a:pt x="93" y="65"/>
                  <a:pt x="93" y="65"/>
                </a:cubicBezTo>
                <a:cubicBezTo>
                  <a:pt x="95" y="65"/>
                  <a:pt x="95" y="65"/>
                  <a:pt x="95" y="65"/>
                </a:cubicBezTo>
                <a:cubicBezTo>
                  <a:pt x="96" y="63"/>
                  <a:pt x="96" y="63"/>
                  <a:pt x="96" y="63"/>
                </a:cubicBezTo>
                <a:cubicBezTo>
                  <a:pt x="96" y="61"/>
                  <a:pt x="96" y="61"/>
                  <a:pt x="96" y="61"/>
                </a:cubicBezTo>
                <a:cubicBezTo>
                  <a:pt x="94" y="61"/>
                  <a:pt x="94" y="61"/>
                  <a:pt x="94" y="61"/>
                </a:cubicBezTo>
                <a:cubicBezTo>
                  <a:pt x="93" y="61"/>
                  <a:pt x="93" y="61"/>
                  <a:pt x="93" y="61"/>
                </a:cubicBezTo>
                <a:cubicBezTo>
                  <a:pt x="91" y="62"/>
                  <a:pt x="91" y="62"/>
                  <a:pt x="91" y="62"/>
                </a:cubicBezTo>
                <a:close/>
                <a:moveTo>
                  <a:pt x="91" y="65"/>
                </a:moveTo>
                <a:cubicBezTo>
                  <a:pt x="91" y="66"/>
                  <a:pt x="91" y="66"/>
                  <a:pt x="91" y="66"/>
                </a:cubicBezTo>
                <a:cubicBezTo>
                  <a:pt x="92" y="66"/>
                  <a:pt x="92" y="66"/>
                  <a:pt x="92" y="66"/>
                </a:cubicBezTo>
                <a:cubicBezTo>
                  <a:pt x="92" y="67"/>
                  <a:pt x="92" y="67"/>
                  <a:pt x="92" y="67"/>
                </a:cubicBezTo>
                <a:cubicBezTo>
                  <a:pt x="93" y="66"/>
                  <a:pt x="93" y="66"/>
                  <a:pt x="93" y="66"/>
                </a:cubicBezTo>
                <a:cubicBezTo>
                  <a:pt x="92" y="65"/>
                  <a:pt x="92" y="65"/>
                  <a:pt x="92" y="65"/>
                </a:cubicBezTo>
                <a:cubicBezTo>
                  <a:pt x="91" y="65"/>
                  <a:pt x="91" y="65"/>
                  <a:pt x="91" y="65"/>
                </a:cubicBezTo>
                <a:close/>
                <a:moveTo>
                  <a:pt x="91" y="25"/>
                </a:moveTo>
                <a:cubicBezTo>
                  <a:pt x="92" y="24"/>
                  <a:pt x="92" y="24"/>
                  <a:pt x="92" y="24"/>
                </a:cubicBezTo>
                <a:cubicBezTo>
                  <a:pt x="92" y="24"/>
                  <a:pt x="92" y="24"/>
                  <a:pt x="92" y="24"/>
                </a:cubicBezTo>
                <a:cubicBezTo>
                  <a:pt x="93" y="23"/>
                  <a:pt x="93" y="23"/>
                  <a:pt x="93" y="23"/>
                </a:cubicBezTo>
                <a:cubicBezTo>
                  <a:pt x="94" y="23"/>
                  <a:pt x="94" y="23"/>
                  <a:pt x="94" y="23"/>
                </a:cubicBezTo>
                <a:cubicBezTo>
                  <a:pt x="95" y="24"/>
                  <a:pt x="95" y="24"/>
                  <a:pt x="95" y="24"/>
                </a:cubicBezTo>
                <a:cubicBezTo>
                  <a:pt x="96" y="24"/>
                  <a:pt x="96" y="24"/>
                  <a:pt x="96" y="24"/>
                </a:cubicBezTo>
                <a:cubicBezTo>
                  <a:pt x="96" y="25"/>
                  <a:pt x="96" y="25"/>
                  <a:pt x="96" y="25"/>
                </a:cubicBezTo>
                <a:cubicBezTo>
                  <a:pt x="95" y="26"/>
                  <a:pt x="95" y="26"/>
                  <a:pt x="95" y="26"/>
                </a:cubicBezTo>
                <a:cubicBezTo>
                  <a:pt x="94" y="26"/>
                  <a:pt x="94" y="26"/>
                  <a:pt x="94" y="26"/>
                </a:cubicBezTo>
                <a:cubicBezTo>
                  <a:pt x="93" y="25"/>
                  <a:pt x="93" y="25"/>
                  <a:pt x="93" y="25"/>
                </a:cubicBezTo>
                <a:cubicBezTo>
                  <a:pt x="91" y="25"/>
                  <a:pt x="91" y="25"/>
                  <a:pt x="91" y="25"/>
                </a:cubicBezTo>
                <a:cubicBezTo>
                  <a:pt x="91" y="25"/>
                  <a:pt x="91" y="25"/>
                  <a:pt x="91" y="25"/>
                </a:cubicBezTo>
                <a:close/>
                <a:moveTo>
                  <a:pt x="93" y="42"/>
                </a:moveTo>
                <a:cubicBezTo>
                  <a:pt x="94" y="41"/>
                  <a:pt x="94" y="41"/>
                  <a:pt x="94" y="41"/>
                </a:cubicBezTo>
                <a:cubicBezTo>
                  <a:pt x="95" y="40"/>
                  <a:pt x="95" y="40"/>
                  <a:pt x="95" y="40"/>
                </a:cubicBezTo>
                <a:cubicBezTo>
                  <a:pt x="95" y="40"/>
                  <a:pt x="95" y="40"/>
                  <a:pt x="95" y="40"/>
                </a:cubicBezTo>
                <a:cubicBezTo>
                  <a:pt x="94" y="39"/>
                  <a:pt x="94" y="39"/>
                  <a:pt x="94" y="39"/>
                </a:cubicBezTo>
                <a:cubicBezTo>
                  <a:pt x="93" y="38"/>
                  <a:pt x="93" y="38"/>
                  <a:pt x="93" y="38"/>
                </a:cubicBezTo>
                <a:cubicBezTo>
                  <a:pt x="92" y="38"/>
                  <a:pt x="92" y="38"/>
                  <a:pt x="92" y="38"/>
                </a:cubicBezTo>
                <a:cubicBezTo>
                  <a:pt x="90" y="38"/>
                  <a:pt x="90" y="38"/>
                  <a:pt x="90" y="38"/>
                </a:cubicBezTo>
                <a:cubicBezTo>
                  <a:pt x="89" y="39"/>
                  <a:pt x="89" y="39"/>
                  <a:pt x="89" y="39"/>
                </a:cubicBezTo>
                <a:cubicBezTo>
                  <a:pt x="88" y="40"/>
                  <a:pt x="88" y="40"/>
                  <a:pt x="88" y="40"/>
                </a:cubicBezTo>
                <a:cubicBezTo>
                  <a:pt x="89" y="41"/>
                  <a:pt x="89" y="41"/>
                  <a:pt x="89" y="41"/>
                </a:cubicBezTo>
                <a:cubicBezTo>
                  <a:pt x="91" y="42"/>
                  <a:pt x="91" y="42"/>
                  <a:pt x="91" y="42"/>
                </a:cubicBezTo>
                <a:cubicBezTo>
                  <a:pt x="92" y="43"/>
                  <a:pt x="92" y="43"/>
                  <a:pt x="92" y="43"/>
                </a:cubicBezTo>
                <a:cubicBezTo>
                  <a:pt x="93" y="42"/>
                  <a:pt x="93" y="42"/>
                  <a:pt x="93" y="42"/>
                </a:cubicBezTo>
                <a:close/>
                <a:moveTo>
                  <a:pt x="96" y="40"/>
                </a:moveTo>
                <a:cubicBezTo>
                  <a:pt x="96" y="41"/>
                  <a:pt x="96" y="41"/>
                  <a:pt x="96" y="41"/>
                </a:cubicBezTo>
                <a:cubicBezTo>
                  <a:pt x="96" y="42"/>
                  <a:pt x="96" y="42"/>
                  <a:pt x="96" y="42"/>
                </a:cubicBezTo>
                <a:cubicBezTo>
                  <a:pt x="95" y="43"/>
                  <a:pt x="95" y="43"/>
                  <a:pt x="95" y="43"/>
                </a:cubicBezTo>
                <a:cubicBezTo>
                  <a:pt x="95" y="43"/>
                  <a:pt x="95" y="43"/>
                  <a:pt x="95" y="43"/>
                </a:cubicBezTo>
                <a:cubicBezTo>
                  <a:pt x="94" y="43"/>
                  <a:pt x="94" y="43"/>
                  <a:pt x="94" y="43"/>
                </a:cubicBezTo>
                <a:cubicBezTo>
                  <a:pt x="92" y="44"/>
                  <a:pt x="92" y="44"/>
                  <a:pt x="92" y="44"/>
                </a:cubicBezTo>
                <a:cubicBezTo>
                  <a:pt x="91" y="45"/>
                  <a:pt x="91" y="45"/>
                  <a:pt x="91" y="45"/>
                </a:cubicBezTo>
                <a:cubicBezTo>
                  <a:pt x="90" y="44"/>
                  <a:pt x="90" y="44"/>
                  <a:pt x="90" y="44"/>
                </a:cubicBezTo>
                <a:cubicBezTo>
                  <a:pt x="89" y="44"/>
                  <a:pt x="89" y="44"/>
                  <a:pt x="89" y="44"/>
                </a:cubicBezTo>
                <a:cubicBezTo>
                  <a:pt x="89" y="45"/>
                  <a:pt x="89" y="45"/>
                  <a:pt x="89" y="45"/>
                </a:cubicBezTo>
                <a:cubicBezTo>
                  <a:pt x="90" y="47"/>
                  <a:pt x="90" y="47"/>
                  <a:pt x="90" y="47"/>
                </a:cubicBezTo>
                <a:cubicBezTo>
                  <a:pt x="90" y="50"/>
                  <a:pt x="90" y="50"/>
                  <a:pt x="90" y="50"/>
                </a:cubicBezTo>
                <a:cubicBezTo>
                  <a:pt x="90" y="52"/>
                  <a:pt x="90" y="52"/>
                  <a:pt x="90" y="52"/>
                </a:cubicBezTo>
                <a:cubicBezTo>
                  <a:pt x="92" y="54"/>
                  <a:pt x="92" y="54"/>
                  <a:pt x="92" y="54"/>
                </a:cubicBezTo>
                <a:cubicBezTo>
                  <a:pt x="93" y="54"/>
                  <a:pt x="93" y="54"/>
                  <a:pt x="93" y="54"/>
                </a:cubicBezTo>
                <a:cubicBezTo>
                  <a:pt x="95" y="53"/>
                  <a:pt x="95" y="53"/>
                  <a:pt x="95" y="53"/>
                </a:cubicBezTo>
                <a:cubicBezTo>
                  <a:pt x="97" y="53"/>
                  <a:pt x="97" y="53"/>
                  <a:pt x="97" y="53"/>
                </a:cubicBezTo>
                <a:cubicBezTo>
                  <a:pt x="98" y="52"/>
                  <a:pt x="98" y="52"/>
                  <a:pt x="98" y="52"/>
                </a:cubicBezTo>
                <a:cubicBezTo>
                  <a:pt x="100" y="52"/>
                  <a:pt x="100" y="52"/>
                  <a:pt x="100" y="52"/>
                </a:cubicBezTo>
                <a:cubicBezTo>
                  <a:pt x="100" y="51"/>
                  <a:pt x="100" y="51"/>
                  <a:pt x="100" y="51"/>
                </a:cubicBezTo>
                <a:cubicBezTo>
                  <a:pt x="99" y="50"/>
                  <a:pt x="99" y="50"/>
                  <a:pt x="99" y="50"/>
                </a:cubicBezTo>
                <a:cubicBezTo>
                  <a:pt x="98" y="49"/>
                  <a:pt x="98" y="49"/>
                  <a:pt x="98" y="49"/>
                </a:cubicBezTo>
                <a:cubicBezTo>
                  <a:pt x="96" y="48"/>
                  <a:pt x="96" y="48"/>
                  <a:pt x="96" y="48"/>
                </a:cubicBezTo>
                <a:cubicBezTo>
                  <a:pt x="96" y="47"/>
                  <a:pt x="96" y="47"/>
                  <a:pt x="96" y="47"/>
                </a:cubicBezTo>
                <a:cubicBezTo>
                  <a:pt x="96" y="46"/>
                  <a:pt x="96" y="46"/>
                  <a:pt x="96" y="46"/>
                </a:cubicBezTo>
                <a:cubicBezTo>
                  <a:pt x="97" y="45"/>
                  <a:pt x="97" y="45"/>
                  <a:pt x="97" y="45"/>
                </a:cubicBezTo>
                <a:cubicBezTo>
                  <a:pt x="98" y="45"/>
                  <a:pt x="98" y="45"/>
                  <a:pt x="98" y="45"/>
                </a:cubicBezTo>
                <a:cubicBezTo>
                  <a:pt x="99" y="45"/>
                  <a:pt x="99" y="45"/>
                  <a:pt x="99" y="45"/>
                </a:cubicBezTo>
                <a:cubicBezTo>
                  <a:pt x="99" y="44"/>
                  <a:pt x="99" y="44"/>
                  <a:pt x="99" y="44"/>
                </a:cubicBezTo>
                <a:cubicBezTo>
                  <a:pt x="98" y="42"/>
                  <a:pt x="98" y="42"/>
                  <a:pt x="98" y="42"/>
                </a:cubicBezTo>
                <a:cubicBezTo>
                  <a:pt x="97" y="42"/>
                  <a:pt x="97" y="42"/>
                  <a:pt x="97" y="42"/>
                </a:cubicBezTo>
                <a:cubicBezTo>
                  <a:pt x="96" y="40"/>
                  <a:pt x="96" y="40"/>
                  <a:pt x="96" y="40"/>
                </a:cubicBezTo>
                <a:close/>
                <a:moveTo>
                  <a:pt x="102" y="43"/>
                </a:moveTo>
                <a:cubicBezTo>
                  <a:pt x="101" y="42"/>
                  <a:pt x="101" y="42"/>
                  <a:pt x="101" y="42"/>
                </a:cubicBezTo>
                <a:cubicBezTo>
                  <a:pt x="101" y="41"/>
                  <a:pt x="101" y="41"/>
                  <a:pt x="101" y="41"/>
                </a:cubicBezTo>
                <a:cubicBezTo>
                  <a:pt x="100" y="40"/>
                  <a:pt x="100" y="40"/>
                  <a:pt x="100" y="40"/>
                </a:cubicBezTo>
                <a:cubicBezTo>
                  <a:pt x="99" y="40"/>
                  <a:pt x="99" y="40"/>
                  <a:pt x="99" y="40"/>
                </a:cubicBezTo>
                <a:cubicBezTo>
                  <a:pt x="98" y="39"/>
                  <a:pt x="98" y="39"/>
                  <a:pt x="98" y="39"/>
                </a:cubicBezTo>
                <a:cubicBezTo>
                  <a:pt x="98" y="38"/>
                  <a:pt x="98" y="38"/>
                  <a:pt x="98" y="38"/>
                </a:cubicBezTo>
                <a:cubicBezTo>
                  <a:pt x="98" y="37"/>
                  <a:pt x="98" y="37"/>
                  <a:pt x="98" y="37"/>
                </a:cubicBezTo>
                <a:cubicBezTo>
                  <a:pt x="98" y="36"/>
                  <a:pt x="98" y="36"/>
                  <a:pt x="98" y="36"/>
                </a:cubicBezTo>
                <a:cubicBezTo>
                  <a:pt x="97" y="34"/>
                  <a:pt x="97" y="34"/>
                  <a:pt x="97" y="34"/>
                </a:cubicBezTo>
                <a:cubicBezTo>
                  <a:pt x="98" y="33"/>
                  <a:pt x="98" y="33"/>
                  <a:pt x="98" y="33"/>
                </a:cubicBezTo>
                <a:cubicBezTo>
                  <a:pt x="99" y="32"/>
                  <a:pt x="99" y="32"/>
                  <a:pt x="99" y="32"/>
                </a:cubicBezTo>
                <a:cubicBezTo>
                  <a:pt x="100" y="30"/>
                  <a:pt x="100" y="30"/>
                  <a:pt x="100" y="30"/>
                </a:cubicBezTo>
                <a:cubicBezTo>
                  <a:pt x="100" y="30"/>
                  <a:pt x="100" y="30"/>
                  <a:pt x="100" y="30"/>
                </a:cubicBezTo>
                <a:cubicBezTo>
                  <a:pt x="100" y="29"/>
                  <a:pt x="100" y="29"/>
                  <a:pt x="100" y="29"/>
                </a:cubicBezTo>
                <a:cubicBezTo>
                  <a:pt x="101" y="29"/>
                  <a:pt x="101" y="29"/>
                  <a:pt x="101" y="29"/>
                </a:cubicBezTo>
                <a:cubicBezTo>
                  <a:pt x="102" y="29"/>
                  <a:pt x="102" y="29"/>
                  <a:pt x="102" y="29"/>
                </a:cubicBezTo>
                <a:cubicBezTo>
                  <a:pt x="103" y="29"/>
                  <a:pt x="103" y="29"/>
                  <a:pt x="103" y="29"/>
                </a:cubicBezTo>
                <a:cubicBezTo>
                  <a:pt x="104" y="31"/>
                  <a:pt x="104" y="31"/>
                  <a:pt x="104" y="31"/>
                </a:cubicBezTo>
                <a:cubicBezTo>
                  <a:pt x="104" y="33"/>
                  <a:pt x="104" y="33"/>
                  <a:pt x="104" y="33"/>
                </a:cubicBezTo>
                <a:cubicBezTo>
                  <a:pt x="104" y="33"/>
                  <a:pt x="104" y="33"/>
                  <a:pt x="104" y="33"/>
                </a:cubicBezTo>
                <a:cubicBezTo>
                  <a:pt x="105" y="34"/>
                  <a:pt x="105" y="34"/>
                  <a:pt x="105" y="34"/>
                </a:cubicBezTo>
                <a:cubicBezTo>
                  <a:pt x="107" y="35"/>
                  <a:pt x="107" y="35"/>
                  <a:pt x="107" y="35"/>
                </a:cubicBezTo>
                <a:cubicBezTo>
                  <a:pt x="107" y="35"/>
                  <a:pt x="107" y="35"/>
                  <a:pt x="107" y="35"/>
                </a:cubicBezTo>
                <a:cubicBezTo>
                  <a:pt x="107" y="36"/>
                  <a:pt x="107" y="36"/>
                  <a:pt x="107" y="36"/>
                </a:cubicBezTo>
                <a:cubicBezTo>
                  <a:pt x="105" y="37"/>
                  <a:pt x="105" y="37"/>
                  <a:pt x="105" y="37"/>
                </a:cubicBezTo>
                <a:cubicBezTo>
                  <a:pt x="103" y="38"/>
                  <a:pt x="103" y="38"/>
                  <a:pt x="103" y="38"/>
                </a:cubicBezTo>
                <a:cubicBezTo>
                  <a:pt x="103" y="39"/>
                  <a:pt x="103" y="39"/>
                  <a:pt x="103" y="39"/>
                </a:cubicBezTo>
                <a:cubicBezTo>
                  <a:pt x="103" y="40"/>
                  <a:pt x="103" y="40"/>
                  <a:pt x="103" y="40"/>
                </a:cubicBezTo>
                <a:cubicBezTo>
                  <a:pt x="103" y="41"/>
                  <a:pt x="103" y="41"/>
                  <a:pt x="103" y="41"/>
                </a:cubicBezTo>
                <a:cubicBezTo>
                  <a:pt x="102" y="43"/>
                  <a:pt x="102" y="43"/>
                  <a:pt x="102" y="43"/>
                </a:cubicBezTo>
                <a:close/>
                <a:moveTo>
                  <a:pt x="641" y="78"/>
                </a:moveTo>
                <a:cubicBezTo>
                  <a:pt x="642" y="78"/>
                  <a:pt x="642" y="78"/>
                  <a:pt x="642" y="78"/>
                </a:cubicBezTo>
                <a:cubicBezTo>
                  <a:pt x="642" y="77"/>
                  <a:pt x="642" y="77"/>
                  <a:pt x="642" y="77"/>
                </a:cubicBezTo>
                <a:cubicBezTo>
                  <a:pt x="641" y="77"/>
                  <a:pt x="641" y="77"/>
                  <a:pt x="641" y="77"/>
                </a:cubicBezTo>
                <a:cubicBezTo>
                  <a:pt x="641" y="77"/>
                  <a:pt x="641" y="77"/>
                  <a:pt x="641" y="77"/>
                </a:cubicBezTo>
                <a:cubicBezTo>
                  <a:pt x="641" y="78"/>
                  <a:pt x="641" y="78"/>
                  <a:pt x="641" y="78"/>
                </a:cubicBezTo>
                <a:close/>
                <a:moveTo>
                  <a:pt x="636" y="77"/>
                </a:moveTo>
                <a:cubicBezTo>
                  <a:pt x="637" y="77"/>
                  <a:pt x="637" y="77"/>
                  <a:pt x="637" y="77"/>
                </a:cubicBezTo>
                <a:cubicBezTo>
                  <a:pt x="637" y="76"/>
                  <a:pt x="637" y="76"/>
                  <a:pt x="637" y="76"/>
                </a:cubicBezTo>
                <a:cubicBezTo>
                  <a:pt x="636" y="76"/>
                  <a:pt x="636" y="76"/>
                  <a:pt x="636" y="76"/>
                </a:cubicBezTo>
                <a:cubicBezTo>
                  <a:pt x="636" y="76"/>
                  <a:pt x="636" y="76"/>
                  <a:pt x="636" y="76"/>
                </a:cubicBezTo>
                <a:cubicBezTo>
                  <a:pt x="636" y="77"/>
                  <a:pt x="636" y="77"/>
                  <a:pt x="636" y="77"/>
                </a:cubicBezTo>
                <a:close/>
                <a:moveTo>
                  <a:pt x="632" y="79"/>
                </a:moveTo>
                <a:cubicBezTo>
                  <a:pt x="632" y="79"/>
                  <a:pt x="632" y="79"/>
                  <a:pt x="632" y="79"/>
                </a:cubicBezTo>
                <a:cubicBezTo>
                  <a:pt x="633" y="78"/>
                  <a:pt x="633" y="78"/>
                  <a:pt x="633" y="78"/>
                </a:cubicBezTo>
                <a:cubicBezTo>
                  <a:pt x="632" y="77"/>
                  <a:pt x="632" y="77"/>
                  <a:pt x="632" y="77"/>
                </a:cubicBezTo>
                <a:cubicBezTo>
                  <a:pt x="631" y="77"/>
                  <a:pt x="631" y="77"/>
                  <a:pt x="631" y="77"/>
                </a:cubicBezTo>
                <a:cubicBezTo>
                  <a:pt x="631" y="78"/>
                  <a:pt x="631" y="78"/>
                  <a:pt x="631" y="78"/>
                </a:cubicBezTo>
                <a:cubicBezTo>
                  <a:pt x="632" y="79"/>
                  <a:pt x="632" y="79"/>
                  <a:pt x="632" y="79"/>
                </a:cubicBezTo>
                <a:close/>
                <a:moveTo>
                  <a:pt x="741" y="212"/>
                </a:moveTo>
                <a:cubicBezTo>
                  <a:pt x="740" y="212"/>
                  <a:pt x="740" y="212"/>
                  <a:pt x="740" y="212"/>
                </a:cubicBezTo>
                <a:cubicBezTo>
                  <a:pt x="741" y="214"/>
                  <a:pt x="741" y="214"/>
                  <a:pt x="741" y="214"/>
                </a:cubicBezTo>
                <a:cubicBezTo>
                  <a:pt x="741" y="213"/>
                  <a:pt x="741" y="213"/>
                  <a:pt x="741" y="213"/>
                </a:cubicBezTo>
                <a:cubicBezTo>
                  <a:pt x="741" y="212"/>
                  <a:pt x="741" y="212"/>
                  <a:pt x="741" y="212"/>
                </a:cubicBezTo>
                <a:cubicBezTo>
                  <a:pt x="741" y="212"/>
                  <a:pt x="741" y="212"/>
                  <a:pt x="741" y="212"/>
                </a:cubicBezTo>
                <a:cubicBezTo>
                  <a:pt x="741" y="212"/>
                  <a:pt x="741" y="212"/>
                  <a:pt x="741" y="212"/>
                </a:cubicBezTo>
                <a:close/>
                <a:moveTo>
                  <a:pt x="739" y="210"/>
                </a:moveTo>
                <a:cubicBezTo>
                  <a:pt x="740" y="211"/>
                  <a:pt x="740" y="211"/>
                  <a:pt x="740" y="211"/>
                </a:cubicBezTo>
                <a:cubicBezTo>
                  <a:pt x="741" y="211"/>
                  <a:pt x="741" y="211"/>
                  <a:pt x="741" y="211"/>
                </a:cubicBezTo>
                <a:cubicBezTo>
                  <a:pt x="741" y="210"/>
                  <a:pt x="741" y="210"/>
                  <a:pt x="741" y="210"/>
                </a:cubicBezTo>
                <a:cubicBezTo>
                  <a:pt x="740" y="209"/>
                  <a:pt x="740" y="209"/>
                  <a:pt x="740" y="209"/>
                </a:cubicBezTo>
                <a:cubicBezTo>
                  <a:pt x="739" y="209"/>
                  <a:pt x="739" y="209"/>
                  <a:pt x="739" y="209"/>
                </a:cubicBezTo>
                <a:cubicBezTo>
                  <a:pt x="739" y="210"/>
                  <a:pt x="739" y="210"/>
                  <a:pt x="739" y="210"/>
                </a:cubicBezTo>
                <a:close/>
                <a:moveTo>
                  <a:pt x="117" y="133"/>
                </a:moveTo>
                <a:cubicBezTo>
                  <a:pt x="118" y="133"/>
                  <a:pt x="118" y="133"/>
                  <a:pt x="118" y="133"/>
                </a:cubicBezTo>
                <a:cubicBezTo>
                  <a:pt x="118" y="133"/>
                  <a:pt x="118" y="133"/>
                  <a:pt x="118" y="133"/>
                </a:cubicBezTo>
                <a:cubicBezTo>
                  <a:pt x="120" y="131"/>
                  <a:pt x="120" y="131"/>
                  <a:pt x="120" y="131"/>
                </a:cubicBezTo>
                <a:cubicBezTo>
                  <a:pt x="120" y="131"/>
                  <a:pt x="120" y="131"/>
                  <a:pt x="120" y="131"/>
                </a:cubicBezTo>
                <a:cubicBezTo>
                  <a:pt x="120" y="131"/>
                  <a:pt x="120" y="131"/>
                  <a:pt x="120" y="131"/>
                </a:cubicBezTo>
                <a:cubicBezTo>
                  <a:pt x="118" y="132"/>
                  <a:pt x="118" y="132"/>
                  <a:pt x="118" y="132"/>
                </a:cubicBezTo>
                <a:cubicBezTo>
                  <a:pt x="118" y="132"/>
                  <a:pt x="118" y="132"/>
                  <a:pt x="118" y="132"/>
                </a:cubicBezTo>
                <a:cubicBezTo>
                  <a:pt x="117" y="133"/>
                  <a:pt x="117" y="133"/>
                  <a:pt x="117" y="133"/>
                </a:cubicBezTo>
                <a:cubicBezTo>
                  <a:pt x="117" y="133"/>
                  <a:pt x="117" y="133"/>
                  <a:pt x="117" y="133"/>
                </a:cubicBezTo>
                <a:close/>
                <a:moveTo>
                  <a:pt x="110" y="174"/>
                </a:moveTo>
                <a:cubicBezTo>
                  <a:pt x="112" y="174"/>
                  <a:pt x="112" y="174"/>
                  <a:pt x="112" y="174"/>
                </a:cubicBezTo>
                <a:cubicBezTo>
                  <a:pt x="113" y="173"/>
                  <a:pt x="113" y="173"/>
                  <a:pt x="113" y="173"/>
                </a:cubicBezTo>
                <a:cubicBezTo>
                  <a:pt x="115" y="172"/>
                  <a:pt x="115" y="172"/>
                  <a:pt x="115" y="172"/>
                </a:cubicBezTo>
                <a:cubicBezTo>
                  <a:pt x="116" y="172"/>
                  <a:pt x="116" y="172"/>
                  <a:pt x="116" y="172"/>
                </a:cubicBezTo>
                <a:cubicBezTo>
                  <a:pt x="117" y="173"/>
                  <a:pt x="117" y="173"/>
                  <a:pt x="117" y="173"/>
                </a:cubicBezTo>
                <a:cubicBezTo>
                  <a:pt x="118" y="173"/>
                  <a:pt x="118" y="173"/>
                  <a:pt x="118" y="173"/>
                </a:cubicBezTo>
                <a:cubicBezTo>
                  <a:pt x="119" y="173"/>
                  <a:pt x="119" y="173"/>
                  <a:pt x="119" y="173"/>
                </a:cubicBezTo>
                <a:cubicBezTo>
                  <a:pt x="118" y="172"/>
                  <a:pt x="118" y="172"/>
                  <a:pt x="118" y="172"/>
                </a:cubicBezTo>
                <a:cubicBezTo>
                  <a:pt x="119" y="171"/>
                  <a:pt x="119" y="171"/>
                  <a:pt x="119" y="171"/>
                </a:cubicBezTo>
                <a:cubicBezTo>
                  <a:pt x="119" y="172"/>
                  <a:pt x="119" y="172"/>
                  <a:pt x="119" y="172"/>
                </a:cubicBezTo>
                <a:cubicBezTo>
                  <a:pt x="120" y="173"/>
                  <a:pt x="120" y="173"/>
                  <a:pt x="120" y="173"/>
                </a:cubicBezTo>
                <a:cubicBezTo>
                  <a:pt x="121" y="173"/>
                  <a:pt x="121" y="173"/>
                  <a:pt x="121" y="173"/>
                </a:cubicBezTo>
                <a:cubicBezTo>
                  <a:pt x="123" y="173"/>
                  <a:pt x="123" y="173"/>
                  <a:pt x="123" y="173"/>
                </a:cubicBezTo>
                <a:cubicBezTo>
                  <a:pt x="123" y="173"/>
                  <a:pt x="123" y="173"/>
                  <a:pt x="123" y="173"/>
                </a:cubicBezTo>
                <a:cubicBezTo>
                  <a:pt x="124" y="172"/>
                  <a:pt x="124" y="172"/>
                  <a:pt x="124" y="172"/>
                </a:cubicBezTo>
                <a:cubicBezTo>
                  <a:pt x="124" y="171"/>
                  <a:pt x="124" y="171"/>
                  <a:pt x="124" y="171"/>
                </a:cubicBezTo>
                <a:cubicBezTo>
                  <a:pt x="124" y="169"/>
                  <a:pt x="124" y="169"/>
                  <a:pt x="124" y="169"/>
                </a:cubicBezTo>
                <a:cubicBezTo>
                  <a:pt x="125" y="168"/>
                  <a:pt x="125" y="168"/>
                  <a:pt x="125" y="168"/>
                </a:cubicBezTo>
                <a:cubicBezTo>
                  <a:pt x="125" y="167"/>
                  <a:pt x="125" y="167"/>
                  <a:pt x="125" y="167"/>
                </a:cubicBezTo>
                <a:cubicBezTo>
                  <a:pt x="124" y="166"/>
                  <a:pt x="124" y="166"/>
                  <a:pt x="124" y="166"/>
                </a:cubicBezTo>
                <a:cubicBezTo>
                  <a:pt x="124" y="165"/>
                  <a:pt x="124" y="165"/>
                  <a:pt x="124" y="165"/>
                </a:cubicBezTo>
                <a:cubicBezTo>
                  <a:pt x="123" y="164"/>
                  <a:pt x="123" y="164"/>
                  <a:pt x="123" y="164"/>
                </a:cubicBezTo>
                <a:cubicBezTo>
                  <a:pt x="122" y="164"/>
                  <a:pt x="122" y="164"/>
                  <a:pt x="122" y="164"/>
                </a:cubicBezTo>
                <a:cubicBezTo>
                  <a:pt x="121" y="164"/>
                  <a:pt x="121" y="164"/>
                  <a:pt x="121" y="164"/>
                </a:cubicBezTo>
                <a:cubicBezTo>
                  <a:pt x="122" y="163"/>
                  <a:pt x="122" y="163"/>
                  <a:pt x="122" y="163"/>
                </a:cubicBezTo>
                <a:cubicBezTo>
                  <a:pt x="123" y="164"/>
                  <a:pt x="123" y="164"/>
                  <a:pt x="123" y="164"/>
                </a:cubicBezTo>
                <a:cubicBezTo>
                  <a:pt x="124" y="163"/>
                  <a:pt x="124" y="163"/>
                  <a:pt x="124" y="163"/>
                </a:cubicBezTo>
                <a:cubicBezTo>
                  <a:pt x="125" y="164"/>
                  <a:pt x="125" y="164"/>
                  <a:pt x="125" y="164"/>
                </a:cubicBezTo>
                <a:cubicBezTo>
                  <a:pt x="125" y="165"/>
                  <a:pt x="125" y="165"/>
                  <a:pt x="125" y="165"/>
                </a:cubicBezTo>
                <a:cubicBezTo>
                  <a:pt x="125" y="166"/>
                  <a:pt x="125" y="166"/>
                  <a:pt x="125" y="166"/>
                </a:cubicBezTo>
                <a:cubicBezTo>
                  <a:pt x="126" y="165"/>
                  <a:pt x="126" y="165"/>
                  <a:pt x="126" y="165"/>
                </a:cubicBezTo>
                <a:cubicBezTo>
                  <a:pt x="125" y="163"/>
                  <a:pt x="125" y="163"/>
                  <a:pt x="125" y="163"/>
                </a:cubicBezTo>
                <a:cubicBezTo>
                  <a:pt x="124" y="161"/>
                  <a:pt x="124" y="161"/>
                  <a:pt x="124" y="161"/>
                </a:cubicBezTo>
                <a:cubicBezTo>
                  <a:pt x="123" y="159"/>
                  <a:pt x="123" y="159"/>
                  <a:pt x="123" y="159"/>
                </a:cubicBezTo>
                <a:cubicBezTo>
                  <a:pt x="123" y="159"/>
                  <a:pt x="123" y="159"/>
                  <a:pt x="123" y="159"/>
                </a:cubicBezTo>
                <a:cubicBezTo>
                  <a:pt x="124" y="160"/>
                  <a:pt x="124" y="160"/>
                  <a:pt x="124" y="160"/>
                </a:cubicBezTo>
                <a:cubicBezTo>
                  <a:pt x="124" y="161"/>
                  <a:pt x="124" y="161"/>
                  <a:pt x="124" y="161"/>
                </a:cubicBezTo>
                <a:cubicBezTo>
                  <a:pt x="125" y="161"/>
                  <a:pt x="125" y="161"/>
                  <a:pt x="125" y="161"/>
                </a:cubicBezTo>
                <a:cubicBezTo>
                  <a:pt x="126" y="162"/>
                  <a:pt x="126" y="162"/>
                  <a:pt x="126" y="162"/>
                </a:cubicBezTo>
                <a:cubicBezTo>
                  <a:pt x="127" y="161"/>
                  <a:pt x="127" y="161"/>
                  <a:pt x="127" y="161"/>
                </a:cubicBezTo>
                <a:cubicBezTo>
                  <a:pt x="127" y="160"/>
                  <a:pt x="127" y="160"/>
                  <a:pt x="127" y="160"/>
                </a:cubicBezTo>
                <a:cubicBezTo>
                  <a:pt x="126" y="159"/>
                  <a:pt x="126" y="159"/>
                  <a:pt x="126" y="159"/>
                </a:cubicBezTo>
                <a:cubicBezTo>
                  <a:pt x="126" y="159"/>
                  <a:pt x="126" y="159"/>
                  <a:pt x="126" y="159"/>
                </a:cubicBezTo>
                <a:cubicBezTo>
                  <a:pt x="127" y="157"/>
                  <a:pt x="127" y="157"/>
                  <a:pt x="127" y="157"/>
                </a:cubicBezTo>
                <a:cubicBezTo>
                  <a:pt x="127" y="156"/>
                  <a:pt x="127" y="156"/>
                  <a:pt x="127" y="156"/>
                </a:cubicBezTo>
                <a:cubicBezTo>
                  <a:pt x="126" y="155"/>
                  <a:pt x="126" y="155"/>
                  <a:pt x="126" y="155"/>
                </a:cubicBezTo>
                <a:cubicBezTo>
                  <a:pt x="124" y="153"/>
                  <a:pt x="124" y="153"/>
                  <a:pt x="124" y="153"/>
                </a:cubicBezTo>
                <a:cubicBezTo>
                  <a:pt x="125" y="153"/>
                  <a:pt x="125" y="153"/>
                  <a:pt x="125" y="153"/>
                </a:cubicBezTo>
                <a:cubicBezTo>
                  <a:pt x="126" y="154"/>
                  <a:pt x="126" y="154"/>
                  <a:pt x="126" y="154"/>
                </a:cubicBezTo>
                <a:cubicBezTo>
                  <a:pt x="127" y="154"/>
                  <a:pt x="127" y="154"/>
                  <a:pt x="127" y="154"/>
                </a:cubicBezTo>
                <a:cubicBezTo>
                  <a:pt x="128" y="153"/>
                  <a:pt x="128" y="153"/>
                  <a:pt x="128" y="153"/>
                </a:cubicBezTo>
                <a:cubicBezTo>
                  <a:pt x="127" y="152"/>
                  <a:pt x="127" y="152"/>
                  <a:pt x="127" y="152"/>
                </a:cubicBezTo>
                <a:cubicBezTo>
                  <a:pt x="127" y="152"/>
                  <a:pt x="127" y="152"/>
                  <a:pt x="127" y="152"/>
                </a:cubicBezTo>
                <a:cubicBezTo>
                  <a:pt x="127" y="151"/>
                  <a:pt x="127" y="151"/>
                  <a:pt x="127" y="151"/>
                </a:cubicBezTo>
                <a:cubicBezTo>
                  <a:pt x="127" y="150"/>
                  <a:pt x="127" y="150"/>
                  <a:pt x="127" y="150"/>
                </a:cubicBezTo>
                <a:cubicBezTo>
                  <a:pt x="129" y="151"/>
                  <a:pt x="129" y="151"/>
                  <a:pt x="129" y="151"/>
                </a:cubicBezTo>
                <a:cubicBezTo>
                  <a:pt x="130" y="152"/>
                  <a:pt x="130" y="152"/>
                  <a:pt x="130" y="152"/>
                </a:cubicBezTo>
                <a:cubicBezTo>
                  <a:pt x="131" y="151"/>
                  <a:pt x="131" y="151"/>
                  <a:pt x="131" y="151"/>
                </a:cubicBezTo>
                <a:cubicBezTo>
                  <a:pt x="130" y="151"/>
                  <a:pt x="130" y="151"/>
                  <a:pt x="130" y="151"/>
                </a:cubicBezTo>
                <a:cubicBezTo>
                  <a:pt x="130" y="150"/>
                  <a:pt x="130" y="150"/>
                  <a:pt x="130" y="150"/>
                </a:cubicBezTo>
                <a:cubicBezTo>
                  <a:pt x="131" y="150"/>
                  <a:pt x="131" y="150"/>
                  <a:pt x="131" y="150"/>
                </a:cubicBezTo>
                <a:cubicBezTo>
                  <a:pt x="131" y="150"/>
                  <a:pt x="131" y="150"/>
                  <a:pt x="131" y="150"/>
                </a:cubicBezTo>
                <a:cubicBezTo>
                  <a:pt x="132" y="149"/>
                  <a:pt x="132" y="149"/>
                  <a:pt x="132" y="149"/>
                </a:cubicBezTo>
                <a:cubicBezTo>
                  <a:pt x="132" y="148"/>
                  <a:pt x="132" y="148"/>
                  <a:pt x="132" y="148"/>
                </a:cubicBezTo>
                <a:cubicBezTo>
                  <a:pt x="132" y="148"/>
                  <a:pt x="132" y="148"/>
                  <a:pt x="132" y="148"/>
                </a:cubicBezTo>
                <a:cubicBezTo>
                  <a:pt x="132" y="147"/>
                  <a:pt x="132" y="147"/>
                  <a:pt x="132" y="147"/>
                </a:cubicBezTo>
                <a:cubicBezTo>
                  <a:pt x="134" y="146"/>
                  <a:pt x="134" y="146"/>
                  <a:pt x="134" y="146"/>
                </a:cubicBezTo>
                <a:cubicBezTo>
                  <a:pt x="134" y="146"/>
                  <a:pt x="134" y="146"/>
                  <a:pt x="134" y="146"/>
                </a:cubicBezTo>
                <a:cubicBezTo>
                  <a:pt x="133" y="145"/>
                  <a:pt x="133" y="145"/>
                  <a:pt x="133" y="145"/>
                </a:cubicBezTo>
                <a:cubicBezTo>
                  <a:pt x="133" y="144"/>
                  <a:pt x="133" y="144"/>
                  <a:pt x="133" y="144"/>
                </a:cubicBezTo>
                <a:cubicBezTo>
                  <a:pt x="133" y="143"/>
                  <a:pt x="133" y="143"/>
                  <a:pt x="133" y="143"/>
                </a:cubicBezTo>
                <a:cubicBezTo>
                  <a:pt x="134" y="144"/>
                  <a:pt x="134" y="144"/>
                  <a:pt x="134" y="144"/>
                </a:cubicBezTo>
                <a:cubicBezTo>
                  <a:pt x="135" y="143"/>
                  <a:pt x="135" y="143"/>
                  <a:pt x="135" y="143"/>
                </a:cubicBezTo>
                <a:cubicBezTo>
                  <a:pt x="136" y="141"/>
                  <a:pt x="136" y="141"/>
                  <a:pt x="136" y="141"/>
                </a:cubicBezTo>
                <a:cubicBezTo>
                  <a:pt x="137" y="140"/>
                  <a:pt x="137" y="140"/>
                  <a:pt x="137" y="140"/>
                </a:cubicBezTo>
                <a:cubicBezTo>
                  <a:pt x="138" y="139"/>
                  <a:pt x="138" y="139"/>
                  <a:pt x="138" y="139"/>
                </a:cubicBezTo>
                <a:cubicBezTo>
                  <a:pt x="138" y="137"/>
                  <a:pt x="138" y="137"/>
                  <a:pt x="138" y="137"/>
                </a:cubicBezTo>
                <a:cubicBezTo>
                  <a:pt x="139" y="136"/>
                  <a:pt x="139" y="136"/>
                  <a:pt x="139" y="136"/>
                </a:cubicBezTo>
                <a:cubicBezTo>
                  <a:pt x="140" y="135"/>
                  <a:pt x="140" y="135"/>
                  <a:pt x="140" y="135"/>
                </a:cubicBezTo>
                <a:cubicBezTo>
                  <a:pt x="141" y="132"/>
                  <a:pt x="141" y="132"/>
                  <a:pt x="141" y="132"/>
                </a:cubicBezTo>
                <a:cubicBezTo>
                  <a:pt x="142" y="132"/>
                  <a:pt x="142" y="132"/>
                  <a:pt x="142" y="132"/>
                </a:cubicBezTo>
                <a:cubicBezTo>
                  <a:pt x="145" y="130"/>
                  <a:pt x="145" y="130"/>
                  <a:pt x="145" y="130"/>
                </a:cubicBezTo>
                <a:cubicBezTo>
                  <a:pt x="147" y="128"/>
                  <a:pt x="147" y="128"/>
                  <a:pt x="147" y="128"/>
                </a:cubicBezTo>
                <a:cubicBezTo>
                  <a:pt x="149" y="126"/>
                  <a:pt x="149" y="126"/>
                  <a:pt x="149" y="126"/>
                </a:cubicBezTo>
                <a:cubicBezTo>
                  <a:pt x="150" y="126"/>
                  <a:pt x="150" y="126"/>
                  <a:pt x="150" y="126"/>
                </a:cubicBezTo>
                <a:cubicBezTo>
                  <a:pt x="151" y="124"/>
                  <a:pt x="151" y="124"/>
                  <a:pt x="151" y="124"/>
                </a:cubicBezTo>
                <a:cubicBezTo>
                  <a:pt x="153" y="124"/>
                  <a:pt x="153" y="124"/>
                  <a:pt x="153" y="124"/>
                </a:cubicBezTo>
                <a:cubicBezTo>
                  <a:pt x="155" y="123"/>
                  <a:pt x="155" y="123"/>
                  <a:pt x="155" y="123"/>
                </a:cubicBezTo>
                <a:cubicBezTo>
                  <a:pt x="156" y="121"/>
                  <a:pt x="156" y="121"/>
                  <a:pt x="156" y="121"/>
                </a:cubicBezTo>
                <a:cubicBezTo>
                  <a:pt x="157" y="120"/>
                  <a:pt x="157" y="120"/>
                  <a:pt x="157" y="120"/>
                </a:cubicBezTo>
                <a:cubicBezTo>
                  <a:pt x="158" y="120"/>
                  <a:pt x="158" y="120"/>
                  <a:pt x="158" y="120"/>
                </a:cubicBezTo>
                <a:cubicBezTo>
                  <a:pt x="159" y="120"/>
                  <a:pt x="159" y="120"/>
                  <a:pt x="159" y="120"/>
                </a:cubicBezTo>
                <a:cubicBezTo>
                  <a:pt x="159" y="119"/>
                  <a:pt x="159" y="119"/>
                  <a:pt x="159" y="119"/>
                </a:cubicBezTo>
                <a:cubicBezTo>
                  <a:pt x="159" y="118"/>
                  <a:pt x="159" y="118"/>
                  <a:pt x="159" y="118"/>
                </a:cubicBezTo>
                <a:cubicBezTo>
                  <a:pt x="159" y="117"/>
                  <a:pt x="159" y="117"/>
                  <a:pt x="159" y="117"/>
                </a:cubicBezTo>
                <a:cubicBezTo>
                  <a:pt x="159" y="116"/>
                  <a:pt x="159" y="116"/>
                  <a:pt x="159" y="116"/>
                </a:cubicBezTo>
                <a:cubicBezTo>
                  <a:pt x="159" y="114"/>
                  <a:pt x="159" y="114"/>
                  <a:pt x="159" y="114"/>
                </a:cubicBezTo>
                <a:cubicBezTo>
                  <a:pt x="159" y="114"/>
                  <a:pt x="159" y="114"/>
                  <a:pt x="159" y="114"/>
                </a:cubicBezTo>
                <a:cubicBezTo>
                  <a:pt x="158" y="114"/>
                  <a:pt x="158" y="114"/>
                  <a:pt x="158" y="114"/>
                </a:cubicBezTo>
                <a:cubicBezTo>
                  <a:pt x="158" y="112"/>
                  <a:pt x="158" y="112"/>
                  <a:pt x="158" y="112"/>
                </a:cubicBezTo>
                <a:cubicBezTo>
                  <a:pt x="158" y="111"/>
                  <a:pt x="158" y="111"/>
                  <a:pt x="158" y="111"/>
                </a:cubicBezTo>
                <a:cubicBezTo>
                  <a:pt x="158" y="110"/>
                  <a:pt x="158" y="110"/>
                  <a:pt x="158" y="110"/>
                </a:cubicBezTo>
                <a:cubicBezTo>
                  <a:pt x="157" y="110"/>
                  <a:pt x="157" y="110"/>
                  <a:pt x="157" y="110"/>
                </a:cubicBezTo>
                <a:cubicBezTo>
                  <a:pt x="156" y="109"/>
                  <a:pt x="156" y="109"/>
                  <a:pt x="156" y="109"/>
                </a:cubicBezTo>
                <a:cubicBezTo>
                  <a:pt x="155" y="109"/>
                  <a:pt x="155" y="109"/>
                  <a:pt x="155" y="109"/>
                </a:cubicBezTo>
                <a:cubicBezTo>
                  <a:pt x="154" y="108"/>
                  <a:pt x="154" y="108"/>
                  <a:pt x="154" y="108"/>
                </a:cubicBezTo>
                <a:cubicBezTo>
                  <a:pt x="154" y="107"/>
                  <a:pt x="154" y="107"/>
                  <a:pt x="154" y="107"/>
                </a:cubicBezTo>
                <a:cubicBezTo>
                  <a:pt x="154" y="107"/>
                  <a:pt x="154" y="107"/>
                  <a:pt x="154" y="107"/>
                </a:cubicBezTo>
                <a:cubicBezTo>
                  <a:pt x="152" y="108"/>
                  <a:pt x="152" y="108"/>
                  <a:pt x="152" y="108"/>
                </a:cubicBezTo>
                <a:cubicBezTo>
                  <a:pt x="152" y="108"/>
                  <a:pt x="152" y="108"/>
                  <a:pt x="152" y="108"/>
                </a:cubicBezTo>
                <a:cubicBezTo>
                  <a:pt x="151" y="108"/>
                  <a:pt x="151" y="108"/>
                  <a:pt x="151" y="108"/>
                </a:cubicBezTo>
                <a:cubicBezTo>
                  <a:pt x="150" y="107"/>
                  <a:pt x="150" y="107"/>
                  <a:pt x="150" y="107"/>
                </a:cubicBezTo>
                <a:cubicBezTo>
                  <a:pt x="149" y="108"/>
                  <a:pt x="149" y="108"/>
                  <a:pt x="149" y="108"/>
                </a:cubicBezTo>
                <a:cubicBezTo>
                  <a:pt x="148" y="109"/>
                  <a:pt x="148" y="109"/>
                  <a:pt x="148" y="109"/>
                </a:cubicBezTo>
                <a:cubicBezTo>
                  <a:pt x="147" y="110"/>
                  <a:pt x="147" y="110"/>
                  <a:pt x="147" y="110"/>
                </a:cubicBezTo>
                <a:cubicBezTo>
                  <a:pt x="147" y="110"/>
                  <a:pt x="147" y="110"/>
                  <a:pt x="147" y="110"/>
                </a:cubicBezTo>
                <a:cubicBezTo>
                  <a:pt x="146" y="111"/>
                  <a:pt x="146" y="111"/>
                  <a:pt x="146" y="111"/>
                </a:cubicBezTo>
                <a:cubicBezTo>
                  <a:pt x="145" y="111"/>
                  <a:pt x="145" y="111"/>
                  <a:pt x="145" y="111"/>
                </a:cubicBezTo>
                <a:cubicBezTo>
                  <a:pt x="145" y="112"/>
                  <a:pt x="145" y="112"/>
                  <a:pt x="145" y="112"/>
                </a:cubicBezTo>
                <a:cubicBezTo>
                  <a:pt x="144" y="113"/>
                  <a:pt x="144" y="113"/>
                  <a:pt x="144" y="113"/>
                </a:cubicBezTo>
                <a:cubicBezTo>
                  <a:pt x="144" y="114"/>
                  <a:pt x="144" y="114"/>
                  <a:pt x="144" y="114"/>
                </a:cubicBezTo>
                <a:cubicBezTo>
                  <a:pt x="145" y="115"/>
                  <a:pt x="145" y="115"/>
                  <a:pt x="145" y="115"/>
                </a:cubicBezTo>
                <a:cubicBezTo>
                  <a:pt x="145" y="116"/>
                  <a:pt x="145" y="116"/>
                  <a:pt x="145" y="116"/>
                </a:cubicBezTo>
                <a:cubicBezTo>
                  <a:pt x="144" y="116"/>
                  <a:pt x="144" y="116"/>
                  <a:pt x="144" y="116"/>
                </a:cubicBezTo>
                <a:cubicBezTo>
                  <a:pt x="143" y="117"/>
                  <a:pt x="143" y="117"/>
                  <a:pt x="143" y="117"/>
                </a:cubicBezTo>
                <a:cubicBezTo>
                  <a:pt x="143" y="118"/>
                  <a:pt x="143" y="118"/>
                  <a:pt x="143" y="118"/>
                </a:cubicBezTo>
                <a:cubicBezTo>
                  <a:pt x="142" y="118"/>
                  <a:pt x="142" y="118"/>
                  <a:pt x="142" y="118"/>
                </a:cubicBezTo>
                <a:cubicBezTo>
                  <a:pt x="142" y="119"/>
                  <a:pt x="142" y="119"/>
                  <a:pt x="142" y="119"/>
                </a:cubicBezTo>
                <a:cubicBezTo>
                  <a:pt x="140" y="120"/>
                  <a:pt x="140" y="120"/>
                  <a:pt x="140" y="120"/>
                </a:cubicBezTo>
                <a:cubicBezTo>
                  <a:pt x="139" y="121"/>
                  <a:pt x="139" y="121"/>
                  <a:pt x="139" y="121"/>
                </a:cubicBezTo>
                <a:cubicBezTo>
                  <a:pt x="138" y="121"/>
                  <a:pt x="138" y="121"/>
                  <a:pt x="138" y="121"/>
                </a:cubicBezTo>
                <a:cubicBezTo>
                  <a:pt x="137" y="121"/>
                  <a:pt x="137" y="121"/>
                  <a:pt x="137" y="121"/>
                </a:cubicBezTo>
                <a:cubicBezTo>
                  <a:pt x="136" y="121"/>
                  <a:pt x="136" y="121"/>
                  <a:pt x="136" y="121"/>
                </a:cubicBezTo>
                <a:cubicBezTo>
                  <a:pt x="135" y="123"/>
                  <a:pt x="135" y="123"/>
                  <a:pt x="135" y="123"/>
                </a:cubicBezTo>
                <a:cubicBezTo>
                  <a:pt x="134" y="124"/>
                  <a:pt x="134" y="124"/>
                  <a:pt x="134" y="124"/>
                </a:cubicBezTo>
                <a:cubicBezTo>
                  <a:pt x="134" y="123"/>
                  <a:pt x="134" y="123"/>
                  <a:pt x="134" y="123"/>
                </a:cubicBezTo>
                <a:cubicBezTo>
                  <a:pt x="133" y="122"/>
                  <a:pt x="133" y="122"/>
                  <a:pt x="133" y="122"/>
                </a:cubicBezTo>
                <a:cubicBezTo>
                  <a:pt x="133" y="122"/>
                  <a:pt x="133" y="122"/>
                  <a:pt x="133" y="122"/>
                </a:cubicBezTo>
                <a:cubicBezTo>
                  <a:pt x="133" y="123"/>
                  <a:pt x="133" y="123"/>
                  <a:pt x="133" y="123"/>
                </a:cubicBezTo>
                <a:cubicBezTo>
                  <a:pt x="133" y="125"/>
                  <a:pt x="133" y="125"/>
                  <a:pt x="133" y="125"/>
                </a:cubicBezTo>
                <a:cubicBezTo>
                  <a:pt x="133" y="125"/>
                  <a:pt x="133" y="125"/>
                  <a:pt x="133" y="125"/>
                </a:cubicBezTo>
                <a:cubicBezTo>
                  <a:pt x="132" y="124"/>
                  <a:pt x="132" y="124"/>
                  <a:pt x="132" y="124"/>
                </a:cubicBezTo>
                <a:cubicBezTo>
                  <a:pt x="132" y="123"/>
                  <a:pt x="132" y="123"/>
                  <a:pt x="132" y="123"/>
                </a:cubicBezTo>
                <a:cubicBezTo>
                  <a:pt x="130" y="123"/>
                  <a:pt x="130" y="123"/>
                  <a:pt x="130" y="123"/>
                </a:cubicBezTo>
                <a:cubicBezTo>
                  <a:pt x="127" y="124"/>
                  <a:pt x="127" y="124"/>
                  <a:pt x="127" y="124"/>
                </a:cubicBezTo>
                <a:cubicBezTo>
                  <a:pt x="127" y="124"/>
                  <a:pt x="127" y="124"/>
                  <a:pt x="127" y="124"/>
                </a:cubicBezTo>
                <a:cubicBezTo>
                  <a:pt x="126" y="124"/>
                  <a:pt x="126" y="124"/>
                  <a:pt x="126" y="124"/>
                </a:cubicBezTo>
                <a:cubicBezTo>
                  <a:pt x="126" y="125"/>
                  <a:pt x="126" y="125"/>
                  <a:pt x="126" y="125"/>
                </a:cubicBezTo>
                <a:cubicBezTo>
                  <a:pt x="126" y="127"/>
                  <a:pt x="126" y="127"/>
                  <a:pt x="126" y="127"/>
                </a:cubicBezTo>
                <a:cubicBezTo>
                  <a:pt x="127" y="127"/>
                  <a:pt x="127" y="127"/>
                  <a:pt x="127" y="127"/>
                </a:cubicBezTo>
                <a:cubicBezTo>
                  <a:pt x="127" y="128"/>
                  <a:pt x="127" y="128"/>
                  <a:pt x="127" y="128"/>
                </a:cubicBezTo>
                <a:cubicBezTo>
                  <a:pt x="126" y="128"/>
                  <a:pt x="126" y="128"/>
                  <a:pt x="126" y="128"/>
                </a:cubicBezTo>
                <a:cubicBezTo>
                  <a:pt x="125" y="129"/>
                  <a:pt x="125" y="129"/>
                  <a:pt x="125" y="129"/>
                </a:cubicBezTo>
                <a:cubicBezTo>
                  <a:pt x="125" y="129"/>
                  <a:pt x="125" y="129"/>
                  <a:pt x="125" y="129"/>
                </a:cubicBezTo>
                <a:cubicBezTo>
                  <a:pt x="125" y="128"/>
                  <a:pt x="125" y="128"/>
                  <a:pt x="125" y="128"/>
                </a:cubicBezTo>
                <a:cubicBezTo>
                  <a:pt x="125" y="128"/>
                  <a:pt x="125" y="128"/>
                  <a:pt x="125" y="128"/>
                </a:cubicBezTo>
                <a:cubicBezTo>
                  <a:pt x="125" y="127"/>
                  <a:pt x="125" y="127"/>
                  <a:pt x="125" y="127"/>
                </a:cubicBezTo>
                <a:cubicBezTo>
                  <a:pt x="125" y="127"/>
                  <a:pt x="125" y="127"/>
                  <a:pt x="125" y="127"/>
                </a:cubicBezTo>
                <a:cubicBezTo>
                  <a:pt x="124" y="128"/>
                  <a:pt x="124" y="128"/>
                  <a:pt x="124" y="128"/>
                </a:cubicBezTo>
                <a:cubicBezTo>
                  <a:pt x="123" y="129"/>
                  <a:pt x="123" y="129"/>
                  <a:pt x="123" y="129"/>
                </a:cubicBezTo>
                <a:cubicBezTo>
                  <a:pt x="123" y="130"/>
                  <a:pt x="123" y="130"/>
                  <a:pt x="123" y="130"/>
                </a:cubicBezTo>
                <a:cubicBezTo>
                  <a:pt x="123" y="130"/>
                  <a:pt x="123" y="130"/>
                  <a:pt x="123" y="130"/>
                </a:cubicBezTo>
                <a:cubicBezTo>
                  <a:pt x="123" y="131"/>
                  <a:pt x="123" y="131"/>
                  <a:pt x="123" y="131"/>
                </a:cubicBezTo>
                <a:cubicBezTo>
                  <a:pt x="122" y="132"/>
                  <a:pt x="122" y="132"/>
                  <a:pt x="122" y="132"/>
                </a:cubicBezTo>
                <a:cubicBezTo>
                  <a:pt x="121" y="132"/>
                  <a:pt x="121" y="132"/>
                  <a:pt x="121" y="132"/>
                </a:cubicBezTo>
                <a:cubicBezTo>
                  <a:pt x="120" y="132"/>
                  <a:pt x="120" y="132"/>
                  <a:pt x="120" y="132"/>
                </a:cubicBezTo>
                <a:cubicBezTo>
                  <a:pt x="120" y="133"/>
                  <a:pt x="120" y="133"/>
                  <a:pt x="120" y="133"/>
                </a:cubicBezTo>
                <a:cubicBezTo>
                  <a:pt x="119" y="133"/>
                  <a:pt x="119" y="133"/>
                  <a:pt x="119" y="133"/>
                </a:cubicBezTo>
                <a:cubicBezTo>
                  <a:pt x="118" y="134"/>
                  <a:pt x="118" y="134"/>
                  <a:pt x="118" y="134"/>
                </a:cubicBezTo>
                <a:cubicBezTo>
                  <a:pt x="118" y="136"/>
                  <a:pt x="118" y="136"/>
                  <a:pt x="118" y="136"/>
                </a:cubicBezTo>
                <a:cubicBezTo>
                  <a:pt x="118" y="136"/>
                  <a:pt x="118" y="136"/>
                  <a:pt x="118" y="136"/>
                </a:cubicBezTo>
                <a:cubicBezTo>
                  <a:pt x="119" y="136"/>
                  <a:pt x="119" y="136"/>
                  <a:pt x="119" y="136"/>
                </a:cubicBezTo>
                <a:cubicBezTo>
                  <a:pt x="118" y="137"/>
                  <a:pt x="118" y="137"/>
                  <a:pt x="118" y="137"/>
                </a:cubicBezTo>
                <a:cubicBezTo>
                  <a:pt x="116" y="137"/>
                  <a:pt x="116" y="137"/>
                  <a:pt x="116" y="137"/>
                </a:cubicBezTo>
                <a:cubicBezTo>
                  <a:pt x="116" y="138"/>
                  <a:pt x="116" y="138"/>
                  <a:pt x="116" y="138"/>
                </a:cubicBezTo>
                <a:cubicBezTo>
                  <a:pt x="115" y="139"/>
                  <a:pt x="115" y="139"/>
                  <a:pt x="115" y="139"/>
                </a:cubicBezTo>
                <a:cubicBezTo>
                  <a:pt x="115" y="140"/>
                  <a:pt x="115" y="140"/>
                  <a:pt x="115" y="140"/>
                </a:cubicBezTo>
                <a:cubicBezTo>
                  <a:pt x="116" y="140"/>
                  <a:pt x="116" y="140"/>
                  <a:pt x="116" y="140"/>
                </a:cubicBezTo>
                <a:cubicBezTo>
                  <a:pt x="117" y="140"/>
                  <a:pt x="117" y="140"/>
                  <a:pt x="117" y="140"/>
                </a:cubicBezTo>
                <a:cubicBezTo>
                  <a:pt x="117" y="141"/>
                  <a:pt x="117" y="141"/>
                  <a:pt x="117" y="141"/>
                </a:cubicBezTo>
                <a:cubicBezTo>
                  <a:pt x="117" y="141"/>
                  <a:pt x="117" y="141"/>
                  <a:pt x="117" y="141"/>
                </a:cubicBezTo>
                <a:cubicBezTo>
                  <a:pt x="117" y="142"/>
                  <a:pt x="117" y="142"/>
                  <a:pt x="117" y="142"/>
                </a:cubicBezTo>
                <a:cubicBezTo>
                  <a:pt x="116" y="143"/>
                  <a:pt x="116" y="143"/>
                  <a:pt x="116" y="143"/>
                </a:cubicBezTo>
                <a:cubicBezTo>
                  <a:pt x="116" y="143"/>
                  <a:pt x="116" y="143"/>
                  <a:pt x="116" y="143"/>
                </a:cubicBezTo>
                <a:cubicBezTo>
                  <a:pt x="114" y="143"/>
                  <a:pt x="114" y="143"/>
                  <a:pt x="114" y="143"/>
                </a:cubicBezTo>
                <a:cubicBezTo>
                  <a:pt x="113" y="143"/>
                  <a:pt x="113" y="143"/>
                  <a:pt x="113" y="143"/>
                </a:cubicBezTo>
                <a:cubicBezTo>
                  <a:pt x="112" y="144"/>
                  <a:pt x="112" y="144"/>
                  <a:pt x="112" y="144"/>
                </a:cubicBezTo>
                <a:cubicBezTo>
                  <a:pt x="113" y="145"/>
                  <a:pt x="113" y="145"/>
                  <a:pt x="113" y="145"/>
                </a:cubicBezTo>
                <a:cubicBezTo>
                  <a:pt x="112" y="146"/>
                  <a:pt x="112" y="146"/>
                  <a:pt x="112" y="146"/>
                </a:cubicBezTo>
                <a:cubicBezTo>
                  <a:pt x="111" y="147"/>
                  <a:pt x="111" y="147"/>
                  <a:pt x="111" y="147"/>
                </a:cubicBezTo>
                <a:cubicBezTo>
                  <a:pt x="110" y="147"/>
                  <a:pt x="110" y="147"/>
                  <a:pt x="110" y="147"/>
                </a:cubicBezTo>
                <a:cubicBezTo>
                  <a:pt x="109" y="146"/>
                  <a:pt x="109" y="146"/>
                  <a:pt x="109" y="146"/>
                </a:cubicBezTo>
                <a:cubicBezTo>
                  <a:pt x="109" y="145"/>
                  <a:pt x="109" y="145"/>
                  <a:pt x="109" y="145"/>
                </a:cubicBezTo>
                <a:cubicBezTo>
                  <a:pt x="109" y="145"/>
                  <a:pt x="109" y="145"/>
                  <a:pt x="109" y="145"/>
                </a:cubicBezTo>
                <a:cubicBezTo>
                  <a:pt x="108" y="147"/>
                  <a:pt x="108" y="147"/>
                  <a:pt x="108" y="147"/>
                </a:cubicBezTo>
                <a:cubicBezTo>
                  <a:pt x="108" y="148"/>
                  <a:pt x="108" y="148"/>
                  <a:pt x="108" y="148"/>
                </a:cubicBezTo>
                <a:cubicBezTo>
                  <a:pt x="110" y="149"/>
                  <a:pt x="110" y="149"/>
                  <a:pt x="110" y="149"/>
                </a:cubicBezTo>
                <a:cubicBezTo>
                  <a:pt x="110" y="149"/>
                  <a:pt x="110" y="149"/>
                  <a:pt x="110" y="149"/>
                </a:cubicBezTo>
                <a:cubicBezTo>
                  <a:pt x="111" y="149"/>
                  <a:pt x="111" y="149"/>
                  <a:pt x="111" y="149"/>
                </a:cubicBezTo>
                <a:cubicBezTo>
                  <a:pt x="111" y="150"/>
                  <a:pt x="111" y="150"/>
                  <a:pt x="111" y="150"/>
                </a:cubicBezTo>
                <a:cubicBezTo>
                  <a:pt x="110" y="151"/>
                  <a:pt x="110" y="151"/>
                  <a:pt x="110" y="151"/>
                </a:cubicBezTo>
                <a:cubicBezTo>
                  <a:pt x="110" y="152"/>
                  <a:pt x="110" y="152"/>
                  <a:pt x="110" y="152"/>
                </a:cubicBezTo>
                <a:cubicBezTo>
                  <a:pt x="111" y="152"/>
                  <a:pt x="111" y="152"/>
                  <a:pt x="111" y="152"/>
                </a:cubicBezTo>
                <a:cubicBezTo>
                  <a:pt x="112" y="151"/>
                  <a:pt x="112" y="151"/>
                  <a:pt x="112" y="151"/>
                </a:cubicBezTo>
                <a:cubicBezTo>
                  <a:pt x="112" y="151"/>
                  <a:pt x="112" y="151"/>
                  <a:pt x="112" y="151"/>
                </a:cubicBezTo>
                <a:cubicBezTo>
                  <a:pt x="113" y="152"/>
                  <a:pt x="113" y="152"/>
                  <a:pt x="113" y="152"/>
                </a:cubicBezTo>
                <a:cubicBezTo>
                  <a:pt x="114" y="152"/>
                  <a:pt x="114" y="152"/>
                  <a:pt x="114" y="152"/>
                </a:cubicBezTo>
                <a:cubicBezTo>
                  <a:pt x="115" y="151"/>
                  <a:pt x="115" y="151"/>
                  <a:pt x="115" y="151"/>
                </a:cubicBezTo>
                <a:cubicBezTo>
                  <a:pt x="115" y="151"/>
                  <a:pt x="115" y="151"/>
                  <a:pt x="115" y="151"/>
                </a:cubicBezTo>
                <a:cubicBezTo>
                  <a:pt x="115" y="152"/>
                  <a:pt x="115" y="152"/>
                  <a:pt x="115" y="152"/>
                </a:cubicBezTo>
                <a:cubicBezTo>
                  <a:pt x="114" y="153"/>
                  <a:pt x="114" y="153"/>
                  <a:pt x="114" y="153"/>
                </a:cubicBezTo>
                <a:cubicBezTo>
                  <a:pt x="112" y="152"/>
                  <a:pt x="112" y="152"/>
                  <a:pt x="112" y="152"/>
                </a:cubicBezTo>
                <a:cubicBezTo>
                  <a:pt x="112" y="153"/>
                  <a:pt x="112" y="153"/>
                  <a:pt x="112" y="153"/>
                </a:cubicBezTo>
                <a:cubicBezTo>
                  <a:pt x="111" y="153"/>
                  <a:pt x="111" y="153"/>
                  <a:pt x="111" y="153"/>
                </a:cubicBezTo>
                <a:cubicBezTo>
                  <a:pt x="111" y="154"/>
                  <a:pt x="111" y="154"/>
                  <a:pt x="111" y="154"/>
                </a:cubicBezTo>
                <a:cubicBezTo>
                  <a:pt x="111" y="155"/>
                  <a:pt x="111" y="155"/>
                  <a:pt x="111" y="155"/>
                </a:cubicBezTo>
                <a:cubicBezTo>
                  <a:pt x="112" y="156"/>
                  <a:pt x="112" y="156"/>
                  <a:pt x="112" y="156"/>
                </a:cubicBezTo>
                <a:cubicBezTo>
                  <a:pt x="113" y="156"/>
                  <a:pt x="113" y="156"/>
                  <a:pt x="113" y="156"/>
                </a:cubicBezTo>
                <a:cubicBezTo>
                  <a:pt x="114" y="155"/>
                  <a:pt x="114" y="155"/>
                  <a:pt x="114" y="155"/>
                </a:cubicBezTo>
                <a:cubicBezTo>
                  <a:pt x="114" y="156"/>
                  <a:pt x="114" y="156"/>
                  <a:pt x="114" y="156"/>
                </a:cubicBezTo>
                <a:cubicBezTo>
                  <a:pt x="114" y="156"/>
                  <a:pt x="114" y="156"/>
                  <a:pt x="114" y="156"/>
                </a:cubicBezTo>
                <a:cubicBezTo>
                  <a:pt x="112" y="157"/>
                  <a:pt x="112" y="157"/>
                  <a:pt x="112" y="157"/>
                </a:cubicBezTo>
                <a:cubicBezTo>
                  <a:pt x="111" y="157"/>
                  <a:pt x="111" y="157"/>
                  <a:pt x="111" y="157"/>
                </a:cubicBezTo>
                <a:cubicBezTo>
                  <a:pt x="110" y="157"/>
                  <a:pt x="110" y="157"/>
                  <a:pt x="110" y="157"/>
                </a:cubicBezTo>
                <a:cubicBezTo>
                  <a:pt x="110" y="158"/>
                  <a:pt x="110" y="158"/>
                  <a:pt x="110" y="158"/>
                </a:cubicBezTo>
                <a:cubicBezTo>
                  <a:pt x="111" y="158"/>
                  <a:pt x="111" y="158"/>
                  <a:pt x="111" y="158"/>
                </a:cubicBezTo>
                <a:cubicBezTo>
                  <a:pt x="112" y="158"/>
                  <a:pt x="112" y="158"/>
                  <a:pt x="112" y="158"/>
                </a:cubicBezTo>
                <a:cubicBezTo>
                  <a:pt x="113" y="158"/>
                  <a:pt x="113" y="158"/>
                  <a:pt x="113" y="158"/>
                </a:cubicBezTo>
                <a:cubicBezTo>
                  <a:pt x="113" y="159"/>
                  <a:pt x="113" y="159"/>
                  <a:pt x="113" y="159"/>
                </a:cubicBezTo>
                <a:cubicBezTo>
                  <a:pt x="112" y="159"/>
                  <a:pt x="112" y="159"/>
                  <a:pt x="112" y="159"/>
                </a:cubicBezTo>
                <a:cubicBezTo>
                  <a:pt x="111" y="159"/>
                  <a:pt x="111" y="159"/>
                  <a:pt x="111" y="159"/>
                </a:cubicBezTo>
                <a:cubicBezTo>
                  <a:pt x="111" y="160"/>
                  <a:pt x="111" y="160"/>
                  <a:pt x="111" y="160"/>
                </a:cubicBezTo>
                <a:cubicBezTo>
                  <a:pt x="111" y="160"/>
                  <a:pt x="111" y="160"/>
                  <a:pt x="111" y="160"/>
                </a:cubicBezTo>
                <a:cubicBezTo>
                  <a:pt x="113" y="160"/>
                  <a:pt x="113" y="160"/>
                  <a:pt x="113" y="160"/>
                </a:cubicBezTo>
                <a:cubicBezTo>
                  <a:pt x="115" y="162"/>
                  <a:pt x="115" y="162"/>
                  <a:pt x="115" y="162"/>
                </a:cubicBezTo>
                <a:cubicBezTo>
                  <a:pt x="116" y="162"/>
                  <a:pt x="116" y="162"/>
                  <a:pt x="116" y="162"/>
                </a:cubicBezTo>
                <a:cubicBezTo>
                  <a:pt x="116" y="162"/>
                  <a:pt x="116" y="162"/>
                  <a:pt x="116" y="162"/>
                </a:cubicBezTo>
                <a:cubicBezTo>
                  <a:pt x="116" y="163"/>
                  <a:pt x="116" y="163"/>
                  <a:pt x="116" y="163"/>
                </a:cubicBezTo>
                <a:cubicBezTo>
                  <a:pt x="115" y="162"/>
                  <a:pt x="115" y="162"/>
                  <a:pt x="115" y="162"/>
                </a:cubicBezTo>
                <a:cubicBezTo>
                  <a:pt x="114" y="162"/>
                  <a:pt x="114" y="162"/>
                  <a:pt x="114" y="162"/>
                </a:cubicBezTo>
                <a:cubicBezTo>
                  <a:pt x="113" y="162"/>
                  <a:pt x="113" y="162"/>
                  <a:pt x="113" y="162"/>
                </a:cubicBezTo>
                <a:cubicBezTo>
                  <a:pt x="112" y="161"/>
                  <a:pt x="112" y="161"/>
                  <a:pt x="112" y="161"/>
                </a:cubicBezTo>
                <a:cubicBezTo>
                  <a:pt x="111" y="161"/>
                  <a:pt x="111" y="161"/>
                  <a:pt x="111" y="161"/>
                </a:cubicBezTo>
                <a:cubicBezTo>
                  <a:pt x="110" y="162"/>
                  <a:pt x="110" y="162"/>
                  <a:pt x="110" y="162"/>
                </a:cubicBezTo>
                <a:cubicBezTo>
                  <a:pt x="110" y="162"/>
                  <a:pt x="110" y="162"/>
                  <a:pt x="110" y="162"/>
                </a:cubicBezTo>
                <a:cubicBezTo>
                  <a:pt x="109" y="163"/>
                  <a:pt x="109" y="163"/>
                  <a:pt x="109" y="163"/>
                </a:cubicBezTo>
                <a:cubicBezTo>
                  <a:pt x="109" y="164"/>
                  <a:pt x="109" y="164"/>
                  <a:pt x="109" y="164"/>
                </a:cubicBezTo>
                <a:cubicBezTo>
                  <a:pt x="110" y="164"/>
                  <a:pt x="110" y="164"/>
                  <a:pt x="110" y="164"/>
                </a:cubicBezTo>
                <a:cubicBezTo>
                  <a:pt x="109" y="165"/>
                  <a:pt x="109" y="165"/>
                  <a:pt x="109" y="165"/>
                </a:cubicBezTo>
                <a:cubicBezTo>
                  <a:pt x="109" y="165"/>
                  <a:pt x="109" y="165"/>
                  <a:pt x="109" y="165"/>
                </a:cubicBezTo>
                <a:cubicBezTo>
                  <a:pt x="108" y="165"/>
                  <a:pt x="108" y="165"/>
                  <a:pt x="108" y="165"/>
                </a:cubicBezTo>
                <a:cubicBezTo>
                  <a:pt x="108" y="166"/>
                  <a:pt x="108" y="166"/>
                  <a:pt x="108" y="166"/>
                </a:cubicBezTo>
                <a:cubicBezTo>
                  <a:pt x="107" y="167"/>
                  <a:pt x="107" y="167"/>
                  <a:pt x="107" y="167"/>
                </a:cubicBezTo>
                <a:cubicBezTo>
                  <a:pt x="107" y="167"/>
                  <a:pt x="107" y="167"/>
                  <a:pt x="107" y="167"/>
                </a:cubicBezTo>
                <a:cubicBezTo>
                  <a:pt x="107" y="168"/>
                  <a:pt x="107" y="168"/>
                  <a:pt x="107" y="168"/>
                </a:cubicBezTo>
                <a:cubicBezTo>
                  <a:pt x="106" y="168"/>
                  <a:pt x="106" y="168"/>
                  <a:pt x="106" y="168"/>
                </a:cubicBezTo>
                <a:cubicBezTo>
                  <a:pt x="106" y="168"/>
                  <a:pt x="106" y="168"/>
                  <a:pt x="106" y="168"/>
                </a:cubicBezTo>
                <a:cubicBezTo>
                  <a:pt x="107" y="170"/>
                  <a:pt x="107" y="170"/>
                  <a:pt x="107" y="170"/>
                </a:cubicBezTo>
                <a:cubicBezTo>
                  <a:pt x="108" y="170"/>
                  <a:pt x="108" y="170"/>
                  <a:pt x="108" y="170"/>
                </a:cubicBezTo>
                <a:cubicBezTo>
                  <a:pt x="109" y="170"/>
                  <a:pt x="109" y="170"/>
                  <a:pt x="109" y="170"/>
                </a:cubicBezTo>
                <a:cubicBezTo>
                  <a:pt x="109" y="169"/>
                  <a:pt x="109" y="169"/>
                  <a:pt x="109" y="169"/>
                </a:cubicBezTo>
                <a:cubicBezTo>
                  <a:pt x="110" y="169"/>
                  <a:pt x="110" y="169"/>
                  <a:pt x="110" y="169"/>
                </a:cubicBezTo>
                <a:cubicBezTo>
                  <a:pt x="112" y="167"/>
                  <a:pt x="112" y="167"/>
                  <a:pt x="112" y="167"/>
                </a:cubicBezTo>
                <a:cubicBezTo>
                  <a:pt x="113" y="167"/>
                  <a:pt x="113" y="167"/>
                  <a:pt x="113" y="167"/>
                </a:cubicBezTo>
                <a:cubicBezTo>
                  <a:pt x="114" y="167"/>
                  <a:pt x="114" y="167"/>
                  <a:pt x="114" y="167"/>
                </a:cubicBezTo>
                <a:cubicBezTo>
                  <a:pt x="115" y="168"/>
                  <a:pt x="115" y="168"/>
                  <a:pt x="115" y="168"/>
                </a:cubicBezTo>
                <a:cubicBezTo>
                  <a:pt x="115" y="168"/>
                  <a:pt x="115" y="168"/>
                  <a:pt x="115" y="168"/>
                </a:cubicBezTo>
                <a:cubicBezTo>
                  <a:pt x="114" y="168"/>
                  <a:pt x="114" y="168"/>
                  <a:pt x="114" y="168"/>
                </a:cubicBezTo>
                <a:cubicBezTo>
                  <a:pt x="113" y="168"/>
                  <a:pt x="113" y="168"/>
                  <a:pt x="113" y="168"/>
                </a:cubicBezTo>
                <a:cubicBezTo>
                  <a:pt x="113" y="168"/>
                  <a:pt x="113" y="168"/>
                  <a:pt x="113" y="168"/>
                </a:cubicBezTo>
                <a:cubicBezTo>
                  <a:pt x="112" y="168"/>
                  <a:pt x="112" y="168"/>
                  <a:pt x="112" y="168"/>
                </a:cubicBezTo>
                <a:cubicBezTo>
                  <a:pt x="111" y="169"/>
                  <a:pt x="111" y="169"/>
                  <a:pt x="111" y="169"/>
                </a:cubicBezTo>
                <a:cubicBezTo>
                  <a:pt x="110" y="170"/>
                  <a:pt x="110" y="170"/>
                  <a:pt x="110" y="170"/>
                </a:cubicBezTo>
                <a:cubicBezTo>
                  <a:pt x="110" y="172"/>
                  <a:pt x="110" y="172"/>
                  <a:pt x="110" y="172"/>
                </a:cubicBezTo>
                <a:cubicBezTo>
                  <a:pt x="110" y="173"/>
                  <a:pt x="110" y="173"/>
                  <a:pt x="110" y="173"/>
                </a:cubicBezTo>
                <a:cubicBezTo>
                  <a:pt x="110" y="173"/>
                  <a:pt x="110" y="173"/>
                  <a:pt x="110" y="173"/>
                </a:cubicBezTo>
                <a:cubicBezTo>
                  <a:pt x="110" y="173"/>
                  <a:pt x="110" y="174"/>
                  <a:pt x="110" y="174"/>
                </a:cubicBezTo>
                <a:close/>
                <a:moveTo>
                  <a:pt x="115" y="208"/>
                </a:moveTo>
                <a:cubicBezTo>
                  <a:pt x="116" y="208"/>
                  <a:pt x="116" y="208"/>
                  <a:pt x="116" y="208"/>
                </a:cubicBezTo>
                <a:cubicBezTo>
                  <a:pt x="116" y="207"/>
                  <a:pt x="116" y="207"/>
                  <a:pt x="116" y="207"/>
                </a:cubicBezTo>
                <a:cubicBezTo>
                  <a:pt x="115" y="206"/>
                  <a:pt x="115" y="206"/>
                  <a:pt x="115" y="206"/>
                </a:cubicBezTo>
                <a:cubicBezTo>
                  <a:pt x="116" y="205"/>
                  <a:pt x="116" y="205"/>
                  <a:pt x="116" y="205"/>
                </a:cubicBezTo>
                <a:cubicBezTo>
                  <a:pt x="116" y="204"/>
                  <a:pt x="116" y="204"/>
                  <a:pt x="116" y="204"/>
                </a:cubicBezTo>
                <a:cubicBezTo>
                  <a:pt x="114" y="204"/>
                  <a:pt x="114" y="204"/>
                  <a:pt x="114" y="204"/>
                </a:cubicBezTo>
                <a:cubicBezTo>
                  <a:pt x="114" y="203"/>
                  <a:pt x="114" y="203"/>
                  <a:pt x="114" y="203"/>
                </a:cubicBezTo>
                <a:cubicBezTo>
                  <a:pt x="113" y="203"/>
                  <a:pt x="113" y="203"/>
                  <a:pt x="113" y="203"/>
                </a:cubicBezTo>
                <a:cubicBezTo>
                  <a:pt x="112" y="203"/>
                  <a:pt x="112" y="203"/>
                  <a:pt x="112" y="203"/>
                </a:cubicBezTo>
                <a:cubicBezTo>
                  <a:pt x="111" y="204"/>
                  <a:pt x="111" y="204"/>
                  <a:pt x="111" y="204"/>
                </a:cubicBezTo>
                <a:cubicBezTo>
                  <a:pt x="111" y="204"/>
                  <a:pt x="111" y="204"/>
                  <a:pt x="111" y="204"/>
                </a:cubicBezTo>
                <a:cubicBezTo>
                  <a:pt x="112" y="205"/>
                  <a:pt x="112" y="205"/>
                  <a:pt x="112" y="205"/>
                </a:cubicBezTo>
                <a:cubicBezTo>
                  <a:pt x="112" y="205"/>
                  <a:pt x="112" y="205"/>
                  <a:pt x="112" y="205"/>
                </a:cubicBezTo>
                <a:cubicBezTo>
                  <a:pt x="113" y="205"/>
                  <a:pt x="113" y="205"/>
                  <a:pt x="113" y="205"/>
                </a:cubicBezTo>
                <a:cubicBezTo>
                  <a:pt x="113" y="206"/>
                  <a:pt x="113" y="206"/>
                  <a:pt x="113" y="206"/>
                </a:cubicBezTo>
                <a:cubicBezTo>
                  <a:pt x="114" y="206"/>
                  <a:pt x="114" y="206"/>
                  <a:pt x="114" y="206"/>
                </a:cubicBezTo>
                <a:cubicBezTo>
                  <a:pt x="115" y="208"/>
                  <a:pt x="115" y="208"/>
                  <a:pt x="115" y="208"/>
                </a:cubicBezTo>
                <a:close/>
                <a:moveTo>
                  <a:pt x="138" y="208"/>
                </a:moveTo>
                <a:cubicBezTo>
                  <a:pt x="137" y="207"/>
                  <a:pt x="137" y="207"/>
                  <a:pt x="137" y="207"/>
                </a:cubicBezTo>
                <a:cubicBezTo>
                  <a:pt x="136" y="207"/>
                  <a:pt x="136" y="207"/>
                  <a:pt x="136" y="207"/>
                </a:cubicBezTo>
                <a:cubicBezTo>
                  <a:pt x="135" y="207"/>
                  <a:pt x="135" y="207"/>
                  <a:pt x="135" y="207"/>
                </a:cubicBezTo>
                <a:cubicBezTo>
                  <a:pt x="134" y="205"/>
                  <a:pt x="134" y="205"/>
                  <a:pt x="134" y="205"/>
                </a:cubicBezTo>
                <a:cubicBezTo>
                  <a:pt x="133" y="205"/>
                  <a:pt x="133" y="205"/>
                  <a:pt x="133" y="205"/>
                </a:cubicBezTo>
                <a:cubicBezTo>
                  <a:pt x="131" y="203"/>
                  <a:pt x="131" y="203"/>
                  <a:pt x="131" y="203"/>
                </a:cubicBezTo>
                <a:cubicBezTo>
                  <a:pt x="130" y="202"/>
                  <a:pt x="130" y="202"/>
                  <a:pt x="130" y="202"/>
                </a:cubicBezTo>
                <a:cubicBezTo>
                  <a:pt x="128" y="202"/>
                  <a:pt x="128" y="202"/>
                  <a:pt x="128" y="202"/>
                </a:cubicBezTo>
                <a:cubicBezTo>
                  <a:pt x="127" y="199"/>
                  <a:pt x="127" y="199"/>
                  <a:pt x="127" y="199"/>
                </a:cubicBezTo>
                <a:cubicBezTo>
                  <a:pt x="125" y="197"/>
                  <a:pt x="125" y="197"/>
                  <a:pt x="125" y="197"/>
                </a:cubicBezTo>
                <a:cubicBezTo>
                  <a:pt x="124" y="194"/>
                  <a:pt x="124" y="194"/>
                  <a:pt x="124" y="194"/>
                </a:cubicBezTo>
                <a:cubicBezTo>
                  <a:pt x="123" y="192"/>
                  <a:pt x="123" y="192"/>
                  <a:pt x="123" y="192"/>
                </a:cubicBezTo>
                <a:cubicBezTo>
                  <a:pt x="123" y="189"/>
                  <a:pt x="123" y="189"/>
                  <a:pt x="123" y="189"/>
                </a:cubicBezTo>
                <a:cubicBezTo>
                  <a:pt x="122" y="187"/>
                  <a:pt x="122" y="187"/>
                  <a:pt x="122" y="187"/>
                </a:cubicBezTo>
                <a:cubicBezTo>
                  <a:pt x="121" y="184"/>
                  <a:pt x="121" y="184"/>
                  <a:pt x="121" y="184"/>
                </a:cubicBezTo>
                <a:cubicBezTo>
                  <a:pt x="121" y="183"/>
                  <a:pt x="121" y="183"/>
                  <a:pt x="121" y="183"/>
                </a:cubicBezTo>
                <a:cubicBezTo>
                  <a:pt x="122" y="182"/>
                  <a:pt x="122" y="182"/>
                  <a:pt x="122" y="182"/>
                </a:cubicBezTo>
                <a:cubicBezTo>
                  <a:pt x="121" y="181"/>
                  <a:pt x="121" y="181"/>
                  <a:pt x="121" y="181"/>
                </a:cubicBezTo>
                <a:cubicBezTo>
                  <a:pt x="120" y="181"/>
                  <a:pt x="120" y="181"/>
                  <a:pt x="120" y="181"/>
                </a:cubicBezTo>
                <a:cubicBezTo>
                  <a:pt x="119" y="181"/>
                  <a:pt x="119" y="181"/>
                  <a:pt x="119" y="181"/>
                </a:cubicBezTo>
                <a:cubicBezTo>
                  <a:pt x="119" y="181"/>
                  <a:pt x="119" y="181"/>
                  <a:pt x="119" y="181"/>
                </a:cubicBezTo>
                <a:cubicBezTo>
                  <a:pt x="119" y="180"/>
                  <a:pt x="119" y="180"/>
                  <a:pt x="119" y="180"/>
                </a:cubicBezTo>
                <a:cubicBezTo>
                  <a:pt x="121" y="180"/>
                  <a:pt x="121" y="180"/>
                  <a:pt x="121" y="180"/>
                </a:cubicBezTo>
                <a:cubicBezTo>
                  <a:pt x="122" y="180"/>
                  <a:pt x="122" y="180"/>
                  <a:pt x="122" y="180"/>
                </a:cubicBezTo>
                <a:cubicBezTo>
                  <a:pt x="122" y="177"/>
                  <a:pt x="122" y="177"/>
                  <a:pt x="122" y="177"/>
                </a:cubicBezTo>
                <a:cubicBezTo>
                  <a:pt x="122" y="176"/>
                  <a:pt x="122" y="176"/>
                  <a:pt x="122" y="176"/>
                </a:cubicBezTo>
                <a:cubicBezTo>
                  <a:pt x="121" y="176"/>
                  <a:pt x="121" y="176"/>
                  <a:pt x="121" y="176"/>
                </a:cubicBezTo>
                <a:cubicBezTo>
                  <a:pt x="120" y="177"/>
                  <a:pt x="120" y="177"/>
                  <a:pt x="120" y="177"/>
                </a:cubicBezTo>
                <a:cubicBezTo>
                  <a:pt x="120" y="176"/>
                  <a:pt x="120" y="176"/>
                  <a:pt x="120" y="176"/>
                </a:cubicBezTo>
                <a:cubicBezTo>
                  <a:pt x="122" y="175"/>
                  <a:pt x="122" y="175"/>
                  <a:pt x="122" y="175"/>
                </a:cubicBezTo>
                <a:cubicBezTo>
                  <a:pt x="122" y="175"/>
                  <a:pt x="122" y="175"/>
                  <a:pt x="122" y="175"/>
                </a:cubicBezTo>
                <a:cubicBezTo>
                  <a:pt x="122" y="174"/>
                  <a:pt x="122" y="174"/>
                  <a:pt x="122" y="174"/>
                </a:cubicBezTo>
                <a:cubicBezTo>
                  <a:pt x="119" y="174"/>
                  <a:pt x="119" y="174"/>
                  <a:pt x="119" y="174"/>
                </a:cubicBezTo>
                <a:cubicBezTo>
                  <a:pt x="116" y="174"/>
                  <a:pt x="116" y="174"/>
                  <a:pt x="116" y="174"/>
                </a:cubicBezTo>
                <a:cubicBezTo>
                  <a:pt x="115" y="173"/>
                  <a:pt x="115" y="173"/>
                  <a:pt x="115" y="173"/>
                </a:cubicBezTo>
                <a:cubicBezTo>
                  <a:pt x="114" y="173"/>
                  <a:pt x="114" y="173"/>
                  <a:pt x="114" y="173"/>
                </a:cubicBezTo>
                <a:cubicBezTo>
                  <a:pt x="112" y="174"/>
                  <a:pt x="112" y="174"/>
                  <a:pt x="112" y="174"/>
                </a:cubicBezTo>
                <a:cubicBezTo>
                  <a:pt x="110" y="174"/>
                  <a:pt x="110" y="174"/>
                  <a:pt x="110" y="174"/>
                </a:cubicBezTo>
                <a:cubicBezTo>
                  <a:pt x="109" y="175"/>
                  <a:pt x="109" y="175"/>
                  <a:pt x="109" y="175"/>
                </a:cubicBezTo>
                <a:cubicBezTo>
                  <a:pt x="107" y="176"/>
                  <a:pt x="107" y="176"/>
                  <a:pt x="107" y="176"/>
                </a:cubicBezTo>
                <a:cubicBezTo>
                  <a:pt x="107" y="178"/>
                  <a:pt x="107" y="178"/>
                  <a:pt x="107" y="178"/>
                </a:cubicBezTo>
                <a:cubicBezTo>
                  <a:pt x="107" y="178"/>
                  <a:pt x="107" y="178"/>
                  <a:pt x="107" y="178"/>
                </a:cubicBezTo>
                <a:cubicBezTo>
                  <a:pt x="107" y="180"/>
                  <a:pt x="107" y="180"/>
                  <a:pt x="107" y="180"/>
                </a:cubicBezTo>
                <a:cubicBezTo>
                  <a:pt x="108" y="180"/>
                  <a:pt x="108" y="180"/>
                  <a:pt x="108" y="180"/>
                </a:cubicBezTo>
                <a:cubicBezTo>
                  <a:pt x="109" y="180"/>
                  <a:pt x="109" y="180"/>
                  <a:pt x="109" y="180"/>
                </a:cubicBezTo>
                <a:cubicBezTo>
                  <a:pt x="108" y="181"/>
                  <a:pt x="108" y="181"/>
                  <a:pt x="108" y="181"/>
                </a:cubicBezTo>
                <a:cubicBezTo>
                  <a:pt x="107" y="181"/>
                  <a:pt x="107" y="181"/>
                  <a:pt x="107" y="181"/>
                </a:cubicBezTo>
                <a:cubicBezTo>
                  <a:pt x="106" y="181"/>
                  <a:pt x="106" y="181"/>
                  <a:pt x="106" y="181"/>
                </a:cubicBezTo>
                <a:cubicBezTo>
                  <a:pt x="105" y="183"/>
                  <a:pt x="105" y="183"/>
                  <a:pt x="105" y="183"/>
                </a:cubicBezTo>
                <a:cubicBezTo>
                  <a:pt x="105" y="184"/>
                  <a:pt x="105" y="184"/>
                  <a:pt x="105" y="184"/>
                </a:cubicBezTo>
                <a:cubicBezTo>
                  <a:pt x="105" y="185"/>
                  <a:pt x="105" y="185"/>
                  <a:pt x="105" y="185"/>
                </a:cubicBezTo>
                <a:cubicBezTo>
                  <a:pt x="106" y="185"/>
                  <a:pt x="106" y="185"/>
                  <a:pt x="106" y="185"/>
                </a:cubicBezTo>
                <a:cubicBezTo>
                  <a:pt x="108" y="184"/>
                  <a:pt x="108" y="184"/>
                  <a:pt x="108" y="184"/>
                </a:cubicBezTo>
                <a:cubicBezTo>
                  <a:pt x="108" y="184"/>
                  <a:pt x="108" y="184"/>
                  <a:pt x="108" y="184"/>
                </a:cubicBezTo>
                <a:cubicBezTo>
                  <a:pt x="107" y="185"/>
                  <a:pt x="107" y="185"/>
                  <a:pt x="107" y="185"/>
                </a:cubicBezTo>
                <a:cubicBezTo>
                  <a:pt x="107" y="187"/>
                  <a:pt x="107" y="187"/>
                  <a:pt x="107" y="187"/>
                </a:cubicBezTo>
                <a:cubicBezTo>
                  <a:pt x="108" y="187"/>
                  <a:pt x="108" y="187"/>
                  <a:pt x="108" y="187"/>
                </a:cubicBezTo>
                <a:cubicBezTo>
                  <a:pt x="108" y="186"/>
                  <a:pt x="108" y="186"/>
                  <a:pt x="108" y="186"/>
                </a:cubicBezTo>
                <a:cubicBezTo>
                  <a:pt x="109" y="185"/>
                  <a:pt x="109" y="185"/>
                  <a:pt x="109" y="185"/>
                </a:cubicBezTo>
                <a:cubicBezTo>
                  <a:pt x="110" y="186"/>
                  <a:pt x="110" y="186"/>
                  <a:pt x="110" y="186"/>
                </a:cubicBezTo>
                <a:cubicBezTo>
                  <a:pt x="109" y="187"/>
                  <a:pt x="109" y="187"/>
                  <a:pt x="109" y="187"/>
                </a:cubicBezTo>
                <a:cubicBezTo>
                  <a:pt x="108" y="188"/>
                  <a:pt x="108" y="188"/>
                  <a:pt x="108" y="188"/>
                </a:cubicBezTo>
                <a:cubicBezTo>
                  <a:pt x="109" y="189"/>
                  <a:pt x="109" y="189"/>
                  <a:pt x="109" y="189"/>
                </a:cubicBezTo>
                <a:cubicBezTo>
                  <a:pt x="110" y="189"/>
                  <a:pt x="110" y="189"/>
                  <a:pt x="110" y="189"/>
                </a:cubicBezTo>
                <a:cubicBezTo>
                  <a:pt x="110" y="189"/>
                  <a:pt x="110" y="189"/>
                  <a:pt x="110" y="189"/>
                </a:cubicBezTo>
                <a:cubicBezTo>
                  <a:pt x="109" y="189"/>
                  <a:pt x="109" y="189"/>
                  <a:pt x="109" y="189"/>
                </a:cubicBezTo>
                <a:cubicBezTo>
                  <a:pt x="108" y="190"/>
                  <a:pt x="108" y="190"/>
                  <a:pt x="108" y="190"/>
                </a:cubicBezTo>
                <a:cubicBezTo>
                  <a:pt x="108" y="191"/>
                  <a:pt x="108" y="191"/>
                  <a:pt x="108" y="191"/>
                </a:cubicBezTo>
                <a:cubicBezTo>
                  <a:pt x="109" y="192"/>
                  <a:pt x="109" y="192"/>
                  <a:pt x="109" y="192"/>
                </a:cubicBezTo>
                <a:cubicBezTo>
                  <a:pt x="108" y="192"/>
                  <a:pt x="108" y="192"/>
                  <a:pt x="108" y="192"/>
                </a:cubicBezTo>
                <a:cubicBezTo>
                  <a:pt x="108" y="192"/>
                  <a:pt x="108" y="192"/>
                  <a:pt x="108" y="192"/>
                </a:cubicBezTo>
                <a:cubicBezTo>
                  <a:pt x="107" y="192"/>
                  <a:pt x="107" y="192"/>
                  <a:pt x="107" y="192"/>
                </a:cubicBezTo>
                <a:cubicBezTo>
                  <a:pt x="106" y="192"/>
                  <a:pt x="106" y="192"/>
                  <a:pt x="106" y="192"/>
                </a:cubicBezTo>
                <a:cubicBezTo>
                  <a:pt x="105" y="192"/>
                  <a:pt x="105" y="192"/>
                  <a:pt x="105" y="192"/>
                </a:cubicBezTo>
                <a:cubicBezTo>
                  <a:pt x="104" y="193"/>
                  <a:pt x="104" y="193"/>
                  <a:pt x="104" y="193"/>
                </a:cubicBezTo>
                <a:cubicBezTo>
                  <a:pt x="104" y="195"/>
                  <a:pt x="104" y="195"/>
                  <a:pt x="104" y="195"/>
                </a:cubicBezTo>
                <a:cubicBezTo>
                  <a:pt x="104" y="196"/>
                  <a:pt x="104" y="196"/>
                  <a:pt x="104" y="196"/>
                </a:cubicBezTo>
                <a:cubicBezTo>
                  <a:pt x="104" y="198"/>
                  <a:pt x="104" y="198"/>
                  <a:pt x="104" y="198"/>
                </a:cubicBezTo>
                <a:cubicBezTo>
                  <a:pt x="104" y="199"/>
                  <a:pt x="104" y="199"/>
                  <a:pt x="104" y="199"/>
                </a:cubicBezTo>
                <a:cubicBezTo>
                  <a:pt x="106" y="200"/>
                  <a:pt x="106" y="200"/>
                  <a:pt x="106" y="200"/>
                </a:cubicBezTo>
                <a:cubicBezTo>
                  <a:pt x="106" y="201"/>
                  <a:pt x="106" y="201"/>
                  <a:pt x="106" y="201"/>
                </a:cubicBezTo>
                <a:cubicBezTo>
                  <a:pt x="108" y="202"/>
                  <a:pt x="108" y="202"/>
                  <a:pt x="108" y="202"/>
                </a:cubicBezTo>
                <a:cubicBezTo>
                  <a:pt x="109" y="203"/>
                  <a:pt x="109" y="203"/>
                  <a:pt x="109" y="203"/>
                </a:cubicBezTo>
                <a:cubicBezTo>
                  <a:pt x="109" y="202"/>
                  <a:pt x="109" y="202"/>
                  <a:pt x="109" y="202"/>
                </a:cubicBezTo>
                <a:cubicBezTo>
                  <a:pt x="110" y="202"/>
                  <a:pt x="110" y="202"/>
                  <a:pt x="110" y="202"/>
                </a:cubicBezTo>
                <a:cubicBezTo>
                  <a:pt x="111" y="201"/>
                  <a:pt x="111" y="201"/>
                  <a:pt x="111" y="201"/>
                </a:cubicBezTo>
                <a:cubicBezTo>
                  <a:pt x="111" y="199"/>
                  <a:pt x="111" y="199"/>
                  <a:pt x="111" y="199"/>
                </a:cubicBezTo>
                <a:cubicBezTo>
                  <a:pt x="111" y="198"/>
                  <a:pt x="111" y="198"/>
                  <a:pt x="111" y="198"/>
                </a:cubicBezTo>
                <a:cubicBezTo>
                  <a:pt x="112" y="196"/>
                  <a:pt x="112" y="196"/>
                  <a:pt x="112" y="196"/>
                </a:cubicBezTo>
                <a:cubicBezTo>
                  <a:pt x="111" y="198"/>
                  <a:pt x="111" y="198"/>
                  <a:pt x="111" y="198"/>
                </a:cubicBezTo>
                <a:cubicBezTo>
                  <a:pt x="111" y="199"/>
                  <a:pt x="111" y="199"/>
                  <a:pt x="111" y="199"/>
                </a:cubicBezTo>
                <a:cubicBezTo>
                  <a:pt x="112" y="200"/>
                  <a:pt x="112" y="200"/>
                  <a:pt x="112" y="200"/>
                </a:cubicBezTo>
                <a:cubicBezTo>
                  <a:pt x="112" y="201"/>
                  <a:pt x="112" y="201"/>
                  <a:pt x="112" y="201"/>
                </a:cubicBezTo>
                <a:cubicBezTo>
                  <a:pt x="113" y="202"/>
                  <a:pt x="113" y="202"/>
                  <a:pt x="113" y="202"/>
                </a:cubicBezTo>
                <a:cubicBezTo>
                  <a:pt x="114" y="201"/>
                  <a:pt x="114" y="201"/>
                  <a:pt x="114" y="201"/>
                </a:cubicBezTo>
                <a:cubicBezTo>
                  <a:pt x="114" y="200"/>
                  <a:pt x="114" y="200"/>
                  <a:pt x="114" y="200"/>
                </a:cubicBezTo>
                <a:cubicBezTo>
                  <a:pt x="115" y="199"/>
                  <a:pt x="115" y="199"/>
                  <a:pt x="115" y="199"/>
                </a:cubicBezTo>
                <a:cubicBezTo>
                  <a:pt x="115" y="199"/>
                  <a:pt x="115" y="199"/>
                  <a:pt x="115" y="199"/>
                </a:cubicBezTo>
                <a:cubicBezTo>
                  <a:pt x="115" y="200"/>
                  <a:pt x="115" y="200"/>
                  <a:pt x="115" y="200"/>
                </a:cubicBezTo>
                <a:cubicBezTo>
                  <a:pt x="115" y="201"/>
                  <a:pt x="115" y="201"/>
                  <a:pt x="115" y="201"/>
                </a:cubicBezTo>
                <a:cubicBezTo>
                  <a:pt x="116" y="203"/>
                  <a:pt x="116" y="203"/>
                  <a:pt x="116" y="203"/>
                </a:cubicBezTo>
                <a:cubicBezTo>
                  <a:pt x="117" y="204"/>
                  <a:pt x="117" y="204"/>
                  <a:pt x="117" y="204"/>
                </a:cubicBezTo>
                <a:cubicBezTo>
                  <a:pt x="118" y="204"/>
                  <a:pt x="118" y="204"/>
                  <a:pt x="118" y="204"/>
                </a:cubicBezTo>
                <a:cubicBezTo>
                  <a:pt x="119" y="203"/>
                  <a:pt x="119" y="203"/>
                  <a:pt x="119" y="203"/>
                </a:cubicBezTo>
                <a:cubicBezTo>
                  <a:pt x="120" y="204"/>
                  <a:pt x="120" y="204"/>
                  <a:pt x="120" y="204"/>
                </a:cubicBezTo>
                <a:cubicBezTo>
                  <a:pt x="120" y="204"/>
                  <a:pt x="120" y="204"/>
                  <a:pt x="120" y="204"/>
                </a:cubicBezTo>
                <a:cubicBezTo>
                  <a:pt x="119" y="204"/>
                  <a:pt x="119" y="204"/>
                  <a:pt x="119" y="204"/>
                </a:cubicBezTo>
                <a:cubicBezTo>
                  <a:pt x="119" y="205"/>
                  <a:pt x="119" y="205"/>
                  <a:pt x="119" y="205"/>
                </a:cubicBezTo>
                <a:cubicBezTo>
                  <a:pt x="118" y="205"/>
                  <a:pt x="118" y="205"/>
                  <a:pt x="118" y="205"/>
                </a:cubicBezTo>
                <a:cubicBezTo>
                  <a:pt x="117" y="206"/>
                  <a:pt x="117" y="206"/>
                  <a:pt x="117" y="206"/>
                </a:cubicBezTo>
                <a:cubicBezTo>
                  <a:pt x="119" y="207"/>
                  <a:pt x="119" y="207"/>
                  <a:pt x="119" y="207"/>
                </a:cubicBezTo>
                <a:cubicBezTo>
                  <a:pt x="119" y="208"/>
                  <a:pt x="119" y="208"/>
                  <a:pt x="119" y="208"/>
                </a:cubicBezTo>
                <a:cubicBezTo>
                  <a:pt x="118" y="208"/>
                  <a:pt x="118" y="208"/>
                  <a:pt x="118" y="208"/>
                </a:cubicBezTo>
                <a:cubicBezTo>
                  <a:pt x="117" y="208"/>
                  <a:pt x="117" y="208"/>
                  <a:pt x="117" y="208"/>
                </a:cubicBezTo>
                <a:cubicBezTo>
                  <a:pt x="117" y="209"/>
                  <a:pt x="117" y="209"/>
                  <a:pt x="117" y="209"/>
                </a:cubicBezTo>
                <a:cubicBezTo>
                  <a:pt x="118" y="209"/>
                  <a:pt x="118" y="209"/>
                  <a:pt x="118" y="209"/>
                </a:cubicBezTo>
                <a:cubicBezTo>
                  <a:pt x="120" y="209"/>
                  <a:pt x="120" y="209"/>
                  <a:pt x="120" y="209"/>
                </a:cubicBezTo>
                <a:cubicBezTo>
                  <a:pt x="121" y="210"/>
                  <a:pt x="121" y="210"/>
                  <a:pt x="121" y="210"/>
                </a:cubicBezTo>
                <a:cubicBezTo>
                  <a:pt x="122" y="210"/>
                  <a:pt x="122" y="210"/>
                  <a:pt x="122" y="210"/>
                </a:cubicBezTo>
                <a:cubicBezTo>
                  <a:pt x="124" y="210"/>
                  <a:pt x="124" y="210"/>
                  <a:pt x="124" y="210"/>
                </a:cubicBezTo>
                <a:cubicBezTo>
                  <a:pt x="124" y="209"/>
                  <a:pt x="124" y="209"/>
                  <a:pt x="124" y="209"/>
                </a:cubicBezTo>
                <a:cubicBezTo>
                  <a:pt x="125" y="209"/>
                  <a:pt x="125" y="209"/>
                  <a:pt x="125" y="209"/>
                </a:cubicBezTo>
                <a:cubicBezTo>
                  <a:pt x="125" y="210"/>
                  <a:pt x="125" y="210"/>
                  <a:pt x="125" y="210"/>
                </a:cubicBezTo>
                <a:cubicBezTo>
                  <a:pt x="125" y="212"/>
                  <a:pt x="125" y="212"/>
                  <a:pt x="125" y="212"/>
                </a:cubicBezTo>
                <a:cubicBezTo>
                  <a:pt x="126" y="213"/>
                  <a:pt x="126" y="213"/>
                  <a:pt x="126" y="213"/>
                </a:cubicBezTo>
                <a:cubicBezTo>
                  <a:pt x="127" y="213"/>
                  <a:pt x="127" y="213"/>
                  <a:pt x="127" y="213"/>
                </a:cubicBezTo>
                <a:cubicBezTo>
                  <a:pt x="128" y="212"/>
                  <a:pt x="128" y="212"/>
                  <a:pt x="128" y="212"/>
                </a:cubicBezTo>
                <a:cubicBezTo>
                  <a:pt x="128" y="210"/>
                  <a:pt x="128" y="210"/>
                  <a:pt x="128" y="210"/>
                </a:cubicBezTo>
                <a:cubicBezTo>
                  <a:pt x="126" y="210"/>
                  <a:pt x="126" y="210"/>
                  <a:pt x="126" y="210"/>
                </a:cubicBezTo>
                <a:cubicBezTo>
                  <a:pt x="126" y="209"/>
                  <a:pt x="126" y="209"/>
                  <a:pt x="126" y="209"/>
                </a:cubicBezTo>
                <a:cubicBezTo>
                  <a:pt x="126" y="209"/>
                  <a:pt x="126" y="209"/>
                  <a:pt x="126" y="209"/>
                </a:cubicBezTo>
                <a:cubicBezTo>
                  <a:pt x="127" y="209"/>
                  <a:pt x="127" y="209"/>
                  <a:pt x="127" y="209"/>
                </a:cubicBezTo>
                <a:cubicBezTo>
                  <a:pt x="128" y="210"/>
                  <a:pt x="128" y="210"/>
                  <a:pt x="128" y="210"/>
                </a:cubicBezTo>
                <a:cubicBezTo>
                  <a:pt x="129" y="211"/>
                  <a:pt x="129" y="211"/>
                  <a:pt x="129" y="211"/>
                </a:cubicBezTo>
                <a:cubicBezTo>
                  <a:pt x="129" y="212"/>
                  <a:pt x="129" y="212"/>
                  <a:pt x="129" y="212"/>
                </a:cubicBezTo>
                <a:cubicBezTo>
                  <a:pt x="130" y="212"/>
                  <a:pt x="130" y="212"/>
                  <a:pt x="130" y="212"/>
                </a:cubicBezTo>
                <a:cubicBezTo>
                  <a:pt x="130" y="211"/>
                  <a:pt x="130" y="211"/>
                  <a:pt x="130" y="211"/>
                </a:cubicBezTo>
                <a:cubicBezTo>
                  <a:pt x="131" y="211"/>
                  <a:pt x="131" y="211"/>
                  <a:pt x="131" y="211"/>
                </a:cubicBezTo>
                <a:cubicBezTo>
                  <a:pt x="131" y="212"/>
                  <a:pt x="131" y="212"/>
                  <a:pt x="131" y="212"/>
                </a:cubicBezTo>
                <a:cubicBezTo>
                  <a:pt x="133" y="212"/>
                  <a:pt x="133" y="212"/>
                  <a:pt x="133" y="212"/>
                </a:cubicBezTo>
                <a:cubicBezTo>
                  <a:pt x="134" y="212"/>
                  <a:pt x="134" y="212"/>
                  <a:pt x="134" y="212"/>
                </a:cubicBezTo>
                <a:cubicBezTo>
                  <a:pt x="134" y="212"/>
                  <a:pt x="134" y="212"/>
                  <a:pt x="134" y="212"/>
                </a:cubicBezTo>
                <a:cubicBezTo>
                  <a:pt x="133" y="211"/>
                  <a:pt x="133" y="211"/>
                  <a:pt x="133" y="211"/>
                </a:cubicBezTo>
                <a:cubicBezTo>
                  <a:pt x="133" y="210"/>
                  <a:pt x="133" y="210"/>
                  <a:pt x="133" y="210"/>
                </a:cubicBezTo>
                <a:cubicBezTo>
                  <a:pt x="133" y="210"/>
                  <a:pt x="133" y="210"/>
                  <a:pt x="133" y="210"/>
                </a:cubicBezTo>
                <a:cubicBezTo>
                  <a:pt x="134" y="211"/>
                  <a:pt x="134" y="211"/>
                  <a:pt x="134" y="211"/>
                </a:cubicBezTo>
                <a:cubicBezTo>
                  <a:pt x="135" y="211"/>
                  <a:pt x="135" y="211"/>
                  <a:pt x="135" y="211"/>
                </a:cubicBezTo>
                <a:cubicBezTo>
                  <a:pt x="135" y="211"/>
                  <a:pt x="135" y="211"/>
                  <a:pt x="135" y="211"/>
                </a:cubicBezTo>
                <a:cubicBezTo>
                  <a:pt x="136" y="212"/>
                  <a:pt x="136" y="212"/>
                  <a:pt x="136" y="212"/>
                </a:cubicBezTo>
                <a:cubicBezTo>
                  <a:pt x="136" y="213"/>
                  <a:pt x="136" y="213"/>
                  <a:pt x="136" y="213"/>
                </a:cubicBezTo>
                <a:cubicBezTo>
                  <a:pt x="137" y="213"/>
                  <a:pt x="137" y="213"/>
                  <a:pt x="137" y="213"/>
                </a:cubicBezTo>
                <a:cubicBezTo>
                  <a:pt x="137" y="212"/>
                  <a:pt x="137" y="212"/>
                  <a:pt x="137" y="212"/>
                </a:cubicBezTo>
                <a:cubicBezTo>
                  <a:pt x="137" y="211"/>
                  <a:pt x="137" y="211"/>
                  <a:pt x="137" y="211"/>
                </a:cubicBezTo>
                <a:cubicBezTo>
                  <a:pt x="136" y="211"/>
                  <a:pt x="136" y="211"/>
                  <a:pt x="136" y="211"/>
                </a:cubicBezTo>
                <a:cubicBezTo>
                  <a:pt x="135" y="210"/>
                  <a:pt x="135" y="210"/>
                  <a:pt x="135" y="210"/>
                </a:cubicBezTo>
                <a:cubicBezTo>
                  <a:pt x="136" y="210"/>
                  <a:pt x="136" y="210"/>
                  <a:pt x="136" y="210"/>
                </a:cubicBezTo>
                <a:cubicBezTo>
                  <a:pt x="136" y="210"/>
                  <a:pt x="136" y="210"/>
                  <a:pt x="136" y="210"/>
                </a:cubicBezTo>
                <a:cubicBezTo>
                  <a:pt x="137" y="210"/>
                  <a:pt x="137" y="210"/>
                  <a:pt x="137" y="210"/>
                </a:cubicBezTo>
                <a:cubicBezTo>
                  <a:pt x="138" y="209"/>
                  <a:pt x="138" y="209"/>
                  <a:pt x="138" y="209"/>
                </a:cubicBezTo>
                <a:cubicBezTo>
                  <a:pt x="138" y="208"/>
                  <a:pt x="138" y="208"/>
                  <a:pt x="138" y="208"/>
                </a:cubicBezTo>
                <a:cubicBezTo>
                  <a:pt x="138" y="208"/>
                  <a:pt x="138" y="208"/>
                  <a:pt x="138" y="208"/>
                </a:cubicBezTo>
                <a:close/>
                <a:moveTo>
                  <a:pt x="44" y="286"/>
                </a:moveTo>
                <a:cubicBezTo>
                  <a:pt x="43" y="285"/>
                  <a:pt x="43" y="285"/>
                  <a:pt x="43" y="285"/>
                </a:cubicBezTo>
                <a:cubicBezTo>
                  <a:pt x="43" y="284"/>
                  <a:pt x="43" y="284"/>
                  <a:pt x="43" y="284"/>
                </a:cubicBezTo>
                <a:cubicBezTo>
                  <a:pt x="43" y="284"/>
                  <a:pt x="43" y="284"/>
                  <a:pt x="43" y="284"/>
                </a:cubicBezTo>
                <a:cubicBezTo>
                  <a:pt x="42" y="284"/>
                  <a:pt x="42" y="284"/>
                  <a:pt x="42" y="284"/>
                </a:cubicBezTo>
                <a:cubicBezTo>
                  <a:pt x="42" y="284"/>
                  <a:pt x="42" y="284"/>
                  <a:pt x="42" y="284"/>
                </a:cubicBezTo>
                <a:cubicBezTo>
                  <a:pt x="42" y="285"/>
                  <a:pt x="42" y="285"/>
                  <a:pt x="42" y="285"/>
                </a:cubicBezTo>
                <a:cubicBezTo>
                  <a:pt x="43" y="286"/>
                  <a:pt x="43" y="286"/>
                  <a:pt x="43" y="286"/>
                </a:cubicBezTo>
                <a:cubicBezTo>
                  <a:pt x="43" y="287"/>
                  <a:pt x="43" y="287"/>
                  <a:pt x="43" y="287"/>
                </a:cubicBezTo>
                <a:cubicBezTo>
                  <a:pt x="43" y="287"/>
                  <a:pt x="43" y="287"/>
                  <a:pt x="43" y="287"/>
                </a:cubicBezTo>
                <a:cubicBezTo>
                  <a:pt x="44" y="286"/>
                  <a:pt x="44" y="286"/>
                  <a:pt x="44" y="286"/>
                </a:cubicBezTo>
                <a:close/>
                <a:moveTo>
                  <a:pt x="76" y="265"/>
                </a:moveTo>
                <a:cubicBezTo>
                  <a:pt x="77" y="265"/>
                  <a:pt x="77" y="265"/>
                  <a:pt x="77" y="265"/>
                </a:cubicBezTo>
                <a:cubicBezTo>
                  <a:pt x="77" y="265"/>
                  <a:pt x="77" y="265"/>
                  <a:pt x="77" y="265"/>
                </a:cubicBezTo>
                <a:cubicBezTo>
                  <a:pt x="76" y="264"/>
                  <a:pt x="76" y="264"/>
                  <a:pt x="76" y="264"/>
                </a:cubicBezTo>
                <a:cubicBezTo>
                  <a:pt x="75" y="264"/>
                  <a:pt x="75" y="264"/>
                  <a:pt x="75" y="264"/>
                </a:cubicBezTo>
                <a:cubicBezTo>
                  <a:pt x="75" y="265"/>
                  <a:pt x="75" y="265"/>
                  <a:pt x="75" y="265"/>
                </a:cubicBezTo>
                <a:cubicBezTo>
                  <a:pt x="76" y="265"/>
                  <a:pt x="76" y="265"/>
                  <a:pt x="76" y="265"/>
                </a:cubicBezTo>
                <a:close/>
                <a:moveTo>
                  <a:pt x="101" y="238"/>
                </a:moveTo>
                <a:cubicBezTo>
                  <a:pt x="103" y="238"/>
                  <a:pt x="103" y="238"/>
                  <a:pt x="103" y="238"/>
                </a:cubicBezTo>
                <a:cubicBezTo>
                  <a:pt x="104" y="237"/>
                  <a:pt x="104" y="237"/>
                  <a:pt x="104" y="237"/>
                </a:cubicBezTo>
                <a:cubicBezTo>
                  <a:pt x="105" y="235"/>
                  <a:pt x="105" y="235"/>
                  <a:pt x="105" y="235"/>
                </a:cubicBezTo>
                <a:cubicBezTo>
                  <a:pt x="105" y="233"/>
                  <a:pt x="105" y="233"/>
                  <a:pt x="105" y="233"/>
                </a:cubicBezTo>
                <a:cubicBezTo>
                  <a:pt x="106" y="232"/>
                  <a:pt x="106" y="232"/>
                  <a:pt x="106" y="232"/>
                </a:cubicBezTo>
                <a:cubicBezTo>
                  <a:pt x="107" y="233"/>
                  <a:pt x="107" y="233"/>
                  <a:pt x="107" y="233"/>
                </a:cubicBezTo>
                <a:cubicBezTo>
                  <a:pt x="106" y="235"/>
                  <a:pt x="106" y="235"/>
                  <a:pt x="106" y="235"/>
                </a:cubicBezTo>
                <a:cubicBezTo>
                  <a:pt x="107" y="233"/>
                  <a:pt x="107" y="233"/>
                  <a:pt x="107" y="233"/>
                </a:cubicBezTo>
                <a:cubicBezTo>
                  <a:pt x="107" y="232"/>
                  <a:pt x="107" y="232"/>
                  <a:pt x="107" y="232"/>
                </a:cubicBezTo>
                <a:cubicBezTo>
                  <a:pt x="106" y="231"/>
                  <a:pt x="106" y="231"/>
                  <a:pt x="106" y="231"/>
                </a:cubicBezTo>
                <a:cubicBezTo>
                  <a:pt x="101" y="229"/>
                  <a:pt x="101" y="229"/>
                  <a:pt x="101" y="229"/>
                </a:cubicBezTo>
                <a:cubicBezTo>
                  <a:pt x="99" y="228"/>
                  <a:pt x="99" y="228"/>
                  <a:pt x="99" y="228"/>
                </a:cubicBezTo>
                <a:cubicBezTo>
                  <a:pt x="98" y="229"/>
                  <a:pt x="98" y="229"/>
                  <a:pt x="98" y="229"/>
                </a:cubicBezTo>
                <a:cubicBezTo>
                  <a:pt x="97" y="232"/>
                  <a:pt x="97" y="232"/>
                  <a:pt x="97" y="232"/>
                </a:cubicBezTo>
                <a:cubicBezTo>
                  <a:pt x="97" y="235"/>
                  <a:pt x="97" y="235"/>
                  <a:pt x="97" y="235"/>
                </a:cubicBezTo>
                <a:cubicBezTo>
                  <a:pt x="98" y="236"/>
                  <a:pt x="98" y="236"/>
                  <a:pt x="98" y="236"/>
                </a:cubicBezTo>
                <a:cubicBezTo>
                  <a:pt x="98" y="238"/>
                  <a:pt x="98" y="238"/>
                  <a:pt x="98" y="238"/>
                </a:cubicBezTo>
                <a:cubicBezTo>
                  <a:pt x="99" y="238"/>
                  <a:pt x="99" y="238"/>
                  <a:pt x="99" y="238"/>
                </a:cubicBezTo>
                <a:cubicBezTo>
                  <a:pt x="100" y="238"/>
                  <a:pt x="100" y="238"/>
                  <a:pt x="100" y="238"/>
                </a:cubicBezTo>
                <a:cubicBezTo>
                  <a:pt x="99" y="239"/>
                  <a:pt x="99" y="239"/>
                  <a:pt x="99" y="239"/>
                </a:cubicBezTo>
                <a:cubicBezTo>
                  <a:pt x="100" y="239"/>
                  <a:pt x="100" y="239"/>
                  <a:pt x="100" y="239"/>
                </a:cubicBezTo>
                <a:cubicBezTo>
                  <a:pt x="101" y="238"/>
                  <a:pt x="101" y="238"/>
                  <a:pt x="101" y="238"/>
                </a:cubicBezTo>
                <a:close/>
                <a:moveTo>
                  <a:pt x="113" y="240"/>
                </a:moveTo>
                <a:cubicBezTo>
                  <a:pt x="113" y="240"/>
                  <a:pt x="113" y="240"/>
                  <a:pt x="113" y="240"/>
                </a:cubicBezTo>
                <a:cubicBezTo>
                  <a:pt x="113" y="240"/>
                  <a:pt x="113" y="240"/>
                  <a:pt x="113" y="240"/>
                </a:cubicBezTo>
                <a:cubicBezTo>
                  <a:pt x="115" y="240"/>
                  <a:pt x="115" y="240"/>
                  <a:pt x="115" y="240"/>
                </a:cubicBezTo>
                <a:cubicBezTo>
                  <a:pt x="115" y="239"/>
                  <a:pt x="115" y="239"/>
                  <a:pt x="115" y="239"/>
                </a:cubicBezTo>
                <a:cubicBezTo>
                  <a:pt x="114" y="239"/>
                  <a:pt x="114" y="239"/>
                  <a:pt x="114" y="239"/>
                </a:cubicBezTo>
                <a:cubicBezTo>
                  <a:pt x="113" y="240"/>
                  <a:pt x="113" y="240"/>
                  <a:pt x="113" y="240"/>
                </a:cubicBezTo>
                <a:cubicBezTo>
                  <a:pt x="113" y="240"/>
                  <a:pt x="113" y="240"/>
                  <a:pt x="113" y="240"/>
                </a:cubicBezTo>
                <a:close/>
                <a:moveTo>
                  <a:pt x="131" y="240"/>
                </a:moveTo>
                <a:cubicBezTo>
                  <a:pt x="131" y="241"/>
                  <a:pt x="131" y="241"/>
                  <a:pt x="131" y="241"/>
                </a:cubicBezTo>
                <a:cubicBezTo>
                  <a:pt x="132" y="239"/>
                  <a:pt x="132" y="239"/>
                  <a:pt x="132" y="239"/>
                </a:cubicBezTo>
                <a:cubicBezTo>
                  <a:pt x="132" y="239"/>
                  <a:pt x="132" y="239"/>
                  <a:pt x="132" y="239"/>
                </a:cubicBezTo>
                <a:cubicBezTo>
                  <a:pt x="131" y="239"/>
                  <a:pt x="131" y="239"/>
                  <a:pt x="131" y="239"/>
                </a:cubicBezTo>
                <a:cubicBezTo>
                  <a:pt x="131" y="240"/>
                  <a:pt x="131" y="240"/>
                  <a:pt x="131" y="240"/>
                </a:cubicBezTo>
                <a:cubicBezTo>
                  <a:pt x="131" y="240"/>
                  <a:pt x="131" y="240"/>
                  <a:pt x="131" y="240"/>
                </a:cubicBezTo>
                <a:close/>
                <a:moveTo>
                  <a:pt x="128" y="240"/>
                </a:moveTo>
                <a:cubicBezTo>
                  <a:pt x="129" y="240"/>
                  <a:pt x="129" y="240"/>
                  <a:pt x="129" y="240"/>
                </a:cubicBezTo>
                <a:cubicBezTo>
                  <a:pt x="130" y="240"/>
                  <a:pt x="130" y="240"/>
                  <a:pt x="130" y="240"/>
                </a:cubicBezTo>
                <a:cubicBezTo>
                  <a:pt x="129" y="239"/>
                  <a:pt x="129" y="239"/>
                  <a:pt x="129" y="239"/>
                </a:cubicBezTo>
                <a:cubicBezTo>
                  <a:pt x="129" y="239"/>
                  <a:pt x="129" y="239"/>
                  <a:pt x="129" y="239"/>
                </a:cubicBezTo>
                <a:cubicBezTo>
                  <a:pt x="128" y="240"/>
                  <a:pt x="128" y="240"/>
                  <a:pt x="128" y="240"/>
                </a:cubicBezTo>
                <a:close/>
                <a:moveTo>
                  <a:pt x="143" y="234"/>
                </a:moveTo>
                <a:cubicBezTo>
                  <a:pt x="144" y="234"/>
                  <a:pt x="144" y="234"/>
                  <a:pt x="144" y="234"/>
                </a:cubicBezTo>
                <a:cubicBezTo>
                  <a:pt x="144" y="234"/>
                  <a:pt x="144" y="234"/>
                  <a:pt x="144" y="234"/>
                </a:cubicBezTo>
                <a:cubicBezTo>
                  <a:pt x="146" y="233"/>
                  <a:pt x="146" y="233"/>
                  <a:pt x="146" y="233"/>
                </a:cubicBezTo>
                <a:cubicBezTo>
                  <a:pt x="147" y="233"/>
                  <a:pt x="147" y="233"/>
                  <a:pt x="147" y="233"/>
                </a:cubicBezTo>
                <a:cubicBezTo>
                  <a:pt x="146" y="232"/>
                  <a:pt x="146" y="232"/>
                  <a:pt x="146" y="232"/>
                </a:cubicBezTo>
                <a:cubicBezTo>
                  <a:pt x="144" y="233"/>
                  <a:pt x="144" y="233"/>
                  <a:pt x="144" y="233"/>
                </a:cubicBezTo>
                <a:cubicBezTo>
                  <a:pt x="143" y="234"/>
                  <a:pt x="143" y="234"/>
                  <a:pt x="143" y="234"/>
                </a:cubicBezTo>
                <a:close/>
                <a:moveTo>
                  <a:pt x="137" y="233"/>
                </a:moveTo>
                <a:cubicBezTo>
                  <a:pt x="138" y="233"/>
                  <a:pt x="138" y="233"/>
                  <a:pt x="138" y="233"/>
                </a:cubicBezTo>
                <a:cubicBezTo>
                  <a:pt x="139" y="233"/>
                  <a:pt x="139" y="233"/>
                  <a:pt x="139" y="233"/>
                </a:cubicBezTo>
                <a:cubicBezTo>
                  <a:pt x="139" y="233"/>
                  <a:pt x="139" y="233"/>
                  <a:pt x="139" y="233"/>
                </a:cubicBezTo>
                <a:cubicBezTo>
                  <a:pt x="138" y="232"/>
                  <a:pt x="138" y="232"/>
                  <a:pt x="138" y="232"/>
                </a:cubicBezTo>
                <a:cubicBezTo>
                  <a:pt x="137" y="233"/>
                  <a:pt x="137" y="233"/>
                  <a:pt x="137" y="233"/>
                </a:cubicBezTo>
                <a:close/>
                <a:moveTo>
                  <a:pt x="133" y="232"/>
                </a:moveTo>
                <a:cubicBezTo>
                  <a:pt x="134" y="233"/>
                  <a:pt x="134" y="233"/>
                  <a:pt x="134" y="233"/>
                </a:cubicBezTo>
                <a:cubicBezTo>
                  <a:pt x="135" y="233"/>
                  <a:pt x="135" y="233"/>
                  <a:pt x="135" y="233"/>
                </a:cubicBezTo>
                <a:cubicBezTo>
                  <a:pt x="136" y="234"/>
                  <a:pt x="136" y="234"/>
                  <a:pt x="136" y="234"/>
                </a:cubicBezTo>
                <a:cubicBezTo>
                  <a:pt x="135" y="232"/>
                  <a:pt x="135" y="232"/>
                  <a:pt x="135" y="232"/>
                </a:cubicBezTo>
                <a:cubicBezTo>
                  <a:pt x="134" y="232"/>
                  <a:pt x="134" y="232"/>
                  <a:pt x="134" y="232"/>
                </a:cubicBezTo>
                <a:cubicBezTo>
                  <a:pt x="133" y="232"/>
                  <a:pt x="133" y="232"/>
                  <a:pt x="133" y="232"/>
                </a:cubicBezTo>
                <a:close/>
                <a:moveTo>
                  <a:pt x="131" y="233"/>
                </a:moveTo>
                <a:cubicBezTo>
                  <a:pt x="132" y="233"/>
                  <a:pt x="132" y="233"/>
                  <a:pt x="132" y="233"/>
                </a:cubicBezTo>
                <a:cubicBezTo>
                  <a:pt x="132" y="233"/>
                  <a:pt x="132" y="233"/>
                  <a:pt x="132" y="233"/>
                </a:cubicBezTo>
                <a:cubicBezTo>
                  <a:pt x="133" y="232"/>
                  <a:pt x="133" y="232"/>
                  <a:pt x="133" y="232"/>
                </a:cubicBezTo>
                <a:cubicBezTo>
                  <a:pt x="132" y="232"/>
                  <a:pt x="132" y="232"/>
                  <a:pt x="132" y="232"/>
                </a:cubicBezTo>
                <a:cubicBezTo>
                  <a:pt x="131" y="233"/>
                  <a:pt x="131" y="233"/>
                  <a:pt x="131" y="233"/>
                </a:cubicBezTo>
                <a:close/>
                <a:moveTo>
                  <a:pt x="266" y="192"/>
                </a:moveTo>
                <a:cubicBezTo>
                  <a:pt x="266" y="193"/>
                  <a:pt x="266" y="193"/>
                  <a:pt x="266" y="193"/>
                </a:cubicBezTo>
                <a:cubicBezTo>
                  <a:pt x="266" y="194"/>
                  <a:pt x="266" y="194"/>
                  <a:pt x="266" y="194"/>
                </a:cubicBezTo>
                <a:cubicBezTo>
                  <a:pt x="267" y="193"/>
                  <a:pt x="267" y="193"/>
                  <a:pt x="267" y="193"/>
                </a:cubicBezTo>
                <a:cubicBezTo>
                  <a:pt x="266" y="192"/>
                  <a:pt x="266" y="192"/>
                  <a:pt x="266" y="192"/>
                </a:cubicBezTo>
                <a:cubicBezTo>
                  <a:pt x="266" y="192"/>
                  <a:pt x="266" y="192"/>
                  <a:pt x="266" y="192"/>
                </a:cubicBezTo>
                <a:close/>
                <a:moveTo>
                  <a:pt x="263" y="188"/>
                </a:moveTo>
                <a:cubicBezTo>
                  <a:pt x="263" y="190"/>
                  <a:pt x="263" y="190"/>
                  <a:pt x="263" y="190"/>
                </a:cubicBezTo>
                <a:cubicBezTo>
                  <a:pt x="264" y="192"/>
                  <a:pt x="264" y="192"/>
                  <a:pt x="264" y="192"/>
                </a:cubicBezTo>
                <a:cubicBezTo>
                  <a:pt x="264" y="194"/>
                  <a:pt x="264" y="194"/>
                  <a:pt x="264" y="194"/>
                </a:cubicBezTo>
                <a:cubicBezTo>
                  <a:pt x="264" y="194"/>
                  <a:pt x="264" y="194"/>
                  <a:pt x="264" y="194"/>
                </a:cubicBezTo>
                <a:cubicBezTo>
                  <a:pt x="265" y="193"/>
                  <a:pt x="265" y="193"/>
                  <a:pt x="265" y="193"/>
                </a:cubicBezTo>
                <a:cubicBezTo>
                  <a:pt x="265" y="189"/>
                  <a:pt x="265" y="189"/>
                  <a:pt x="265" y="189"/>
                </a:cubicBezTo>
                <a:cubicBezTo>
                  <a:pt x="264" y="188"/>
                  <a:pt x="264" y="188"/>
                  <a:pt x="264" y="188"/>
                </a:cubicBezTo>
                <a:cubicBezTo>
                  <a:pt x="263" y="188"/>
                  <a:pt x="263" y="188"/>
                  <a:pt x="263" y="188"/>
                </a:cubicBezTo>
                <a:close/>
                <a:moveTo>
                  <a:pt x="262" y="186"/>
                </a:moveTo>
                <a:cubicBezTo>
                  <a:pt x="262" y="187"/>
                  <a:pt x="262" y="187"/>
                  <a:pt x="262" y="187"/>
                </a:cubicBezTo>
                <a:cubicBezTo>
                  <a:pt x="263" y="187"/>
                  <a:pt x="263" y="187"/>
                  <a:pt x="263" y="187"/>
                </a:cubicBezTo>
                <a:cubicBezTo>
                  <a:pt x="263" y="186"/>
                  <a:pt x="263" y="186"/>
                  <a:pt x="263" y="186"/>
                </a:cubicBezTo>
                <a:cubicBezTo>
                  <a:pt x="262" y="185"/>
                  <a:pt x="262" y="185"/>
                  <a:pt x="262" y="185"/>
                </a:cubicBezTo>
                <a:cubicBezTo>
                  <a:pt x="262" y="186"/>
                  <a:pt x="262" y="186"/>
                  <a:pt x="262" y="186"/>
                </a:cubicBezTo>
                <a:close/>
                <a:moveTo>
                  <a:pt x="147" y="223"/>
                </a:moveTo>
                <a:cubicBezTo>
                  <a:pt x="148" y="223"/>
                  <a:pt x="148" y="223"/>
                  <a:pt x="148" y="223"/>
                </a:cubicBezTo>
                <a:cubicBezTo>
                  <a:pt x="148" y="222"/>
                  <a:pt x="148" y="222"/>
                  <a:pt x="148" y="222"/>
                </a:cubicBezTo>
                <a:cubicBezTo>
                  <a:pt x="147" y="222"/>
                  <a:pt x="147" y="222"/>
                  <a:pt x="147" y="222"/>
                </a:cubicBezTo>
                <a:cubicBezTo>
                  <a:pt x="147" y="223"/>
                  <a:pt x="147" y="223"/>
                  <a:pt x="147" y="223"/>
                </a:cubicBezTo>
                <a:close/>
                <a:moveTo>
                  <a:pt x="153" y="228"/>
                </a:moveTo>
                <a:cubicBezTo>
                  <a:pt x="153" y="228"/>
                  <a:pt x="154" y="228"/>
                  <a:pt x="154" y="228"/>
                </a:cubicBezTo>
                <a:cubicBezTo>
                  <a:pt x="153" y="228"/>
                  <a:pt x="153" y="228"/>
                  <a:pt x="153" y="228"/>
                </a:cubicBezTo>
                <a:cubicBezTo>
                  <a:pt x="153" y="228"/>
                  <a:pt x="153" y="228"/>
                  <a:pt x="153" y="228"/>
                </a:cubicBezTo>
                <a:close/>
                <a:moveTo>
                  <a:pt x="152" y="227"/>
                </a:moveTo>
                <a:cubicBezTo>
                  <a:pt x="152" y="225"/>
                  <a:pt x="152" y="225"/>
                  <a:pt x="152" y="225"/>
                </a:cubicBezTo>
                <a:cubicBezTo>
                  <a:pt x="150" y="224"/>
                  <a:pt x="150" y="224"/>
                  <a:pt x="150" y="224"/>
                </a:cubicBezTo>
                <a:cubicBezTo>
                  <a:pt x="149" y="223"/>
                  <a:pt x="149" y="223"/>
                  <a:pt x="149" y="223"/>
                </a:cubicBezTo>
                <a:cubicBezTo>
                  <a:pt x="149" y="224"/>
                  <a:pt x="149" y="224"/>
                  <a:pt x="149" y="224"/>
                </a:cubicBezTo>
                <a:cubicBezTo>
                  <a:pt x="150" y="225"/>
                  <a:pt x="150" y="225"/>
                  <a:pt x="150" y="225"/>
                </a:cubicBezTo>
                <a:cubicBezTo>
                  <a:pt x="152" y="227"/>
                  <a:pt x="152" y="227"/>
                  <a:pt x="152" y="227"/>
                </a:cubicBezTo>
                <a:close/>
                <a:moveTo>
                  <a:pt x="156" y="221"/>
                </a:moveTo>
                <a:cubicBezTo>
                  <a:pt x="156" y="219"/>
                  <a:pt x="156" y="219"/>
                  <a:pt x="156" y="219"/>
                </a:cubicBezTo>
                <a:cubicBezTo>
                  <a:pt x="156" y="217"/>
                  <a:pt x="156" y="217"/>
                  <a:pt x="156" y="217"/>
                </a:cubicBezTo>
                <a:cubicBezTo>
                  <a:pt x="154" y="216"/>
                  <a:pt x="154" y="216"/>
                  <a:pt x="154" y="216"/>
                </a:cubicBezTo>
                <a:cubicBezTo>
                  <a:pt x="152" y="214"/>
                  <a:pt x="152" y="214"/>
                  <a:pt x="152" y="214"/>
                </a:cubicBezTo>
                <a:cubicBezTo>
                  <a:pt x="151" y="214"/>
                  <a:pt x="151" y="214"/>
                  <a:pt x="151" y="214"/>
                </a:cubicBezTo>
                <a:cubicBezTo>
                  <a:pt x="149" y="213"/>
                  <a:pt x="149" y="213"/>
                  <a:pt x="149" y="213"/>
                </a:cubicBezTo>
                <a:cubicBezTo>
                  <a:pt x="148" y="212"/>
                  <a:pt x="148" y="212"/>
                  <a:pt x="148" y="212"/>
                </a:cubicBezTo>
                <a:cubicBezTo>
                  <a:pt x="148" y="211"/>
                  <a:pt x="148" y="211"/>
                  <a:pt x="148" y="211"/>
                </a:cubicBezTo>
                <a:cubicBezTo>
                  <a:pt x="146" y="210"/>
                  <a:pt x="146" y="210"/>
                  <a:pt x="146" y="210"/>
                </a:cubicBezTo>
                <a:cubicBezTo>
                  <a:pt x="145" y="210"/>
                  <a:pt x="145" y="210"/>
                  <a:pt x="145" y="210"/>
                </a:cubicBezTo>
                <a:cubicBezTo>
                  <a:pt x="145" y="210"/>
                  <a:pt x="145" y="210"/>
                  <a:pt x="145" y="210"/>
                </a:cubicBezTo>
                <a:cubicBezTo>
                  <a:pt x="145" y="211"/>
                  <a:pt x="145" y="211"/>
                  <a:pt x="145" y="211"/>
                </a:cubicBezTo>
                <a:cubicBezTo>
                  <a:pt x="144" y="212"/>
                  <a:pt x="144" y="212"/>
                  <a:pt x="144" y="212"/>
                </a:cubicBezTo>
                <a:cubicBezTo>
                  <a:pt x="145" y="213"/>
                  <a:pt x="145" y="213"/>
                  <a:pt x="145" y="213"/>
                </a:cubicBezTo>
                <a:cubicBezTo>
                  <a:pt x="146" y="213"/>
                  <a:pt x="146" y="213"/>
                  <a:pt x="146" y="213"/>
                </a:cubicBezTo>
                <a:cubicBezTo>
                  <a:pt x="145" y="214"/>
                  <a:pt x="145" y="214"/>
                  <a:pt x="145" y="214"/>
                </a:cubicBezTo>
                <a:cubicBezTo>
                  <a:pt x="145" y="214"/>
                  <a:pt x="145" y="214"/>
                  <a:pt x="145" y="214"/>
                </a:cubicBezTo>
                <a:cubicBezTo>
                  <a:pt x="144" y="213"/>
                  <a:pt x="144" y="213"/>
                  <a:pt x="144" y="213"/>
                </a:cubicBezTo>
                <a:cubicBezTo>
                  <a:pt x="143" y="213"/>
                  <a:pt x="143" y="213"/>
                  <a:pt x="143" y="213"/>
                </a:cubicBezTo>
                <a:cubicBezTo>
                  <a:pt x="144" y="214"/>
                  <a:pt x="144" y="214"/>
                  <a:pt x="144" y="214"/>
                </a:cubicBezTo>
                <a:cubicBezTo>
                  <a:pt x="146" y="217"/>
                  <a:pt x="146" y="217"/>
                  <a:pt x="146" y="217"/>
                </a:cubicBezTo>
                <a:cubicBezTo>
                  <a:pt x="147" y="217"/>
                  <a:pt x="147" y="217"/>
                  <a:pt x="147" y="217"/>
                </a:cubicBezTo>
                <a:cubicBezTo>
                  <a:pt x="148" y="219"/>
                  <a:pt x="148" y="219"/>
                  <a:pt x="148" y="219"/>
                </a:cubicBezTo>
                <a:cubicBezTo>
                  <a:pt x="149" y="219"/>
                  <a:pt x="149" y="219"/>
                  <a:pt x="149" y="219"/>
                </a:cubicBezTo>
                <a:cubicBezTo>
                  <a:pt x="149" y="217"/>
                  <a:pt x="149" y="217"/>
                  <a:pt x="149" y="217"/>
                </a:cubicBezTo>
                <a:cubicBezTo>
                  <a:pt x="150" y="218"/>
                  <a:pt x="150" y="218"/>
                  <a:pt x="150" y="218"/>
                </a:cubicBezTo>
                <a:cubicBezTo>
                  <a:pt x="151" y="217"/>
                  <a:pt x="151" y="217"/>
                  <a:pt x="151" y="217"/>
                </a:cubicBezTo>
                <a:cubicBezTo>
                  <a:pt x="151" y="218"/>
                  <a:pt x="151" y="218"/>
                  <a:pt x="151" y="218"/>
                </a:cubicBezTo>
                <a:cubicBezTo>
                  <a:pt x="151" y="220"/>
                  <a:pt x="151" y="220"/>
                  <a:pt x="151" y="220"/>
                </a:cubicBezTo>
                <a:cubicBezTo>
                  <a:pt x="151" y="220"/>
                  <a:pt x="151" y="220"/>
                  <a:pt x="151" y="220"/>
                </a:cubicBezTo>
                <a:cubicBezTo>
                  <a:pt x="152" y="221"/>
                  <a:pt x="152" y="221"/>
                  <a:pt x="152" y="221"/>
                </a:cubicBezTo>
                <a:cubicBezTo>
                  <a:pt x="154" y="221"/>
                  <a:pt x="154" y="221"/>
                  <a:pt x="154" y="221"/>
                </a:cubicBezTo>
                <a:cubicBezTo>
                  <a:pt x="154" y="220"/>
                  <a:pt x="154" y="220"/>
                  <a:pt x="154" y="220"/>
                </a:cubicBezTo>
                <a:cubicBezTo>
                  <a:pt x="156" y="221"/>
                  <a:pt x="156" y="221"/>
                  <a:pt x="156" y="221"/>
                </a:cubicBezTo>
                <a:close/>
                <a:moveTo>
                  <a:pt x="185" y="167"/>
                </a:moveTo>
                <a:cubicBezTo>
                  <a:pt x="186" y="167"/>
                  <a:pt x="186" y="167"/>
                  <a:pt x="186" y="167"/>
                </a:cubicBezTo>
                <a:cubicBezTo>
                  <a:pt x="186" y="167"/>
                  <a:pt x="186" y="167"/>
                  <a:pt x="186" y="167"/>
                </a:cubicBezTo>
                <a:cubicBezTo>
                  <a:pt x="186" y="166"/>
                  <a:pt x="186" y="166"/>
                  <a:pt x="186" y="166"/>
                </a:cubicBezTo>
                <a:cubicBezTo>
                  <a:pt x="186" y="166"/>
                  <a:pt x="186" y="166"/>
                  <a:pt x="186" y="166"/>
                </a:cubicBezTo>
                <a:cubicBezTo>
                  <a:pt x="187" y="167"/>
                  <a:pt x="187" y="167"/>
                  <a:pt x="187" y="167"/>
                </a:cubicBezTo>
                <a:cubicBezTo>
                  <a:pt x="188" y="167"/>
                  <a:pt x="188" y="167"/>
                  <a:pt x="188" y="167"/>
                </a:cubicBezTo>
                <a:cubicBezTo>
                  <a:pt x="188" y="167"/>
                  <a:pt x="188" y="167"/>
                  <a:pt x="188" y="167"/>
                </a:cubicBezTo>
                <a:cubicBezTo>
                  <a:pt x="189" y="167"/>
                  <a:pt x="189" y="167"/>
                  <a:pt x="189" y="167"/>
                </a:cubicBezTo>
                <a:cubicBezTo>
                  <a:pt x="189" y="166"/>
                  <a:pt x="189" y="166"/>
                  <a:pt x="189" y="166"/>
                </a:cubicBezTo>
                <a:cubicBezTo>
                  <a:pt x="191" y="165"/>
                  <a:pt x="191" y="165"/>
                  <a:pt x="191" y="165"/>
                </a:cubicBezTo>
                <a:cubicBezTo>
                  <a:pt x="192" y="164"/>
                  <a:pt x="192" y="164"/>
                  <a:pt x="192" y="164"/>
                </a:cubicBezTo>
                <a:cubicBezTo>
                  <a:pt x="192" y="164"/>
                  <a:pt x="192" y="164"/>
                  <a:pt x="192" y="164"/>
                </a:cubicBezTo>
                <a:cubicBezTo>
                  <a:pt x="191" y="162"/>
                  <a:pt x="191" y="162"/>
                  <a:pt x="191" y="162"/>
                </a:cubicBezTo>
                <a:cubicBezTo>
                  <a:pt x="190" y="161"/>
                  <a:pt x="190" y="161"/>
                  <a:pt x="190" y="161"/>
                </a:cubicBezTo>
                <a:cubicBezTo>
                  <a:pt x="190" y="160"/>
                  <a:pt x="190" y="160"/>
                  <a:pt x="190" y="160"/>
                </a:cubicBezTo>
                <a:cubicBezTo>
                  <a:pt x="188" y="159"/>
                  <a:pt x="188" y="159"/>
                  <a:pt x="188" y="159"/>
                </a:cubicBezTo>
                <a:cubicBezTo>
                  <a:pt x="188" y="159"/>
                  <a:pt x="188" y="159"/>
                  <a:pt x="188" y="159"/>
                </a:cubicBezTo>
                <a:cubicBezTo>
                  <a:pt x="187" y="159"/>
                  <a:pt x="187" y="159"/>
                  <a:pt x="187" y="159"/>
                </a:cubicBezTo>
                <a:cubicBezTo>
                  <a:pt x="186" y="160"/>
                  <a:pt x="186" y="160"/>
                  <a:pt x="186" y="160"/>
                </a:cubicBezTo>
                <a:cubicBezTo>
                  <a:pt x="185" y="160"/>
                  <a:pt x="185" y="160"/>
                  <a:pt x="185" y="160"/>
                </a:cubicBezTo>
                <a:cubicBezTo>
                  <a:pt x="183" y="161"/>
                  <a:pt x="183" y="161"/>
                  <a:pt x="183" y="161"/>
                </a:cubicBezTo>
                <a:cubicBezTo>
                  <a:pt x="183" y="162"/>
                  <a:pt x="183" y="162"/>
                  <a:pt x="183" y="162"/>
                </a:cubicBezTo>
                <a:cubicBezTo>
                  <a:pt x="184" y="163"/>
                  <a:pt x="184" y="163"/>
                  <a:pt x="184" y="163"/>
                </a:cubicBezTo>
                <a:cubicBezTo>
                  <a:pt x="184" y="165"/>
                  <a:pt x="184" y="165"/>
                  <a:pt x="184" y="165"/>
                </a:cubicBezTo>
                <a:cubicBezTo>
                  <a:pt x="184" y="166"/>
                  <a:pt x="184" y="166"/>
                  <a:pt x="184" y="166"/>
                </a:cubicBezTo>
                <a:cubicBezTo>
                  <a:pt x="185" y="167"/>
                  <a:pt x="185" y="167"/>
                  <a:pt x="185" y="167"/>
                </a:cubicBezTo>
                <a:close/>
                <a:moveTo>
                  <a:pt x="189" y="220"/>
                </a:moveTo>
                <a:cubicBezTo>
                  <a:pt x="189" y="220"/>
                  <a:pt x="189" y="221"/>
                  <a:pt x="189" y="221"/>
                </a:cubicBezTo>
                <a:cubicBezTo>
                  <a:pt x="190" y="221"/>
                  <a:pt x="190" y="221"/>
                  <a:pt x="190" y="221"/>
                </a:cubicBezTo>
                <a:cubicBezTo>
                  <a:pt x="191" y="220"/>
                  <a:pt x="191" y="220"/>
                  <a:pt x="191" y="220"/>
                </a:cubicBezTo>
                <a:cubicBezTo>
                  <a:pt x="191" y="219"/>
                  <a:pt x="191" y="219"/>
                  <a:pt x="191" y="219"/>
                </a:cubicBezTo>
                <a:cubicBezTo>
                  <a:pt x="190" y="218"/>
                  <a:pt x="190" y="218"/>
                  <a:pt x="190" y="218"/>
                </a:cubicBezTo>
                <a:cubicBezTo>
                  <a:pt x="189" y="219"/>
                  <a:pt x="189" y="219"/>
                  <a:pt x="189" y="219"/>
                </a:cubicBezTo>
                <a:cubicBezTo>
                  <a:pt x="189" y="219"/>
                  <a:pt x="189" y="219"/>
                  <a:pt x="189" y="219"/>
                </a:cubicBezTo>
                <a:cubicBezTo>
                  <a:pt x="189" y="220"/>
                  <a:pt x="189" y="220"/>
                  <a:pt x="189" y="220"/>
                </a:cubicBezTo>
                <a:close/>
                <a:moveTo>
                  <a:pt x="213" y="250"/>
                </a:moveTo>
                <a:cubicBezTo>
                  <a:pt x="213" y="250"/>
                  <a:pt x="213" y="250"/>
                  <a:pt x="213" y="250"/>
                </a:cubicBezTo>
                <a:cubicBezTo>
                  <a:pt x="214" y="251"/>
                  <a:pt x="214" y="251"/>
                  <a:pt x="214" y="251"/>
                </a:cubicBezTo>
                <a:cubicBezTo>
                  <a:pt x="214" y="251"/>
                  <a:pt x="214" y="251"/>
                  <a:pt x="214" y="251"/>
                </a:cubicBezTo>
                <a:cubicBezTo>
                  <a:pt x="215" y="252"/>
                  <a:pt x="215" y="252"/>
                  <a:pt x="215" y="252"/>
                </a:cubicBezTo>
                <a:cubicBezTo>
                  <a:pt x="216" y="252"/>
                  <a:pt x="216" y="252"/>
                  <a:pt x="216" y="252"/>
                </a:cubicBezTo>
                <a:cubicBezTo>
                  <a:pt x="217" y="251"/>
                  <a:pt x="217" y="251"/>
                  <a:pt x="217" y="251"/>
                </a:cubicBezTo>
                <a:cubicBezTo>
                  <a:pt x="216" y="250"/>
                  <a:pt x="216" y="250"/>
                  <a:pt x="216" y="250"/>
                </a:cubicBezTo>
                <a:cubicBezTo>
                  <a:pt x="215" y="250"/>
                  <a:pt x="215" y="250"/>
                  <a:pt x="215" y="250"/>
                </a:cubicBezTo>
                <a:cubicBezTo>
                  <a:pt x="214" y="250"/>
                  <a:pt x="214" y="250"/>
                  <a:pt x="214" y="250"/>
                </a:cubicBezTo>
                <a:cubicBezTo>
                  <a:pt x="214" y="250"/>
                  <a:pt x="214" y="250"/>
                  <a:pt x="214" y="250"/>
                </a:cubicBezTo>
                <a:cubicBezTo>
                  <a:pt x="213" y="250"/>
                  <a:pt x="213" y="250"/>
                  <a:pt x="213" y="250"/>
                </a:cubicBezTo>
                <a:close/>
                <a:moveTo>
                  <a:pt x="208" y="166"/>
                </a:moveTo>
                <a:cubicBezTo>
                  <a:pt x="208" y="165"/>
                  <a:pt x="208" y="165"/>
                  <a:pt x="208" y="165"/>
                </a:cubicBezTo>
                <a:cubicBezTo>
                  <a:pt x="208" y="165"/>
                  <a:pt x="208" y="165"/>
                  <a:pt x="208" y="165"/>
                </a:cubicBezTo>
                <a:cubicBezTo>
                  <a:pt x="208" y="164"/>
                  <a:pt x="208" y="164"/>
                  <a:pt x="208" y="164"/>
                </a:cubicBezTo>
                <a:cubicBezTo>
                  <a:pt x="208" y="163"/>
                  <a:pt x="208" y="163"/>
                  <a:pt x="208" y="163"/>
                </a:cubicBezTo>
                <a:cubicBezTo>
                  <a:pt x="208" y="162"/>
                  <a:pt x="208" y="162"/>
                  <a:pt x="208" y="162"/>
                </a:cubicBezTo>
                <a:cubicBezTo>
                  <a:pt x="207" y="162"/>
                  <a:pt x="207" y="162"/>
                  <a:pt x="207" y="162"/>
                </a:cubicBezTo>
                <a:cubicBezTo>
                  <a:pt x="206" y="162"/>
                  <a:pt x="206" y="162"/>
                  <a:pt x="206" y="162"/>
                </a:cubicBezTo>
                <a:cubicBezTo>
                  <a:pt x="205" y="165"/>
                  <a:pt x="205" y="165"/>
                  <a:pt x="205" y="165"/>
                </a:cubicBezTo>
                <a:cubicBezTo>
                  <a:pt x="206" y="166"/>
                  <a:pt x="206" y="166"/>
                  <a:pt x="206" y="166"/>
                </a:cubicBezTo>
                <a:cubicBezTo>
                  <a:pt x="207" y="166"/>
                  <a:pt x="207" y="166"/>
                  <a:pt x="207" y="166"/>
                </a:cubicBezTo>
                <a:cubicBezTo>
                  <a:pt x="208" y="166"/>
                  <a:pt x="208" y="166"/>
                  <a:pt x="208" y="166"/>
                </a:cubicBezTo>
                <a:cubicBezTo>
                  <a:pt x="208" y="166"/>
                  <a:pt x="208" y="166"/>
                  <a:pt x="208" y="166"/>
                </a:cubicBezTo>
                <a:close/>
                <a:moveTo>
                  <a:pt x="206" y="157"/>
                </a:moveTo>
                <a:cubicBezTo>
                  <a:pt x="207" y="156"/>
                  <a:pt x="207" y="156"/>
                  <a:pt x="207" y="156"/>
                </a:cubicBezTo>
                <a:cubicBezTo>
                  <a:pt x="208" y="157"/>
                  <a:pt x="208" y="157"/>
                  <a:pt x="208" y="157"/>
                </a:cubicBezTo>
                <a:cubicBezTo>
                  <a:pt x="209" y="156"/>
                  <a:pt x="209" y="156"/>
                  <a:pt x="209" y="156"/>
                </a:cubicBezTo>
                <a:cubicBezTo>
                  <a:pt x="209" y="155"/>
                  <a:pt x="209" y="155"/>
                  <a:pt x="209" y="155"/>
                </a:cubicBezTo>
                <a:cubicBezTo>
                  <a:pt x="209" y="154"/>
                  <a:pt x="209" y="154"/>
                  <a:pt x="209" y="154"/>
                </a:cubicBezTo>
                <a:cubicBezTo>
                  <a:pt x="210" y="154"/>
                  <a:pt x="210" y="154"/>
                  <a:pt x="210" y="154"/>
                </a:cubicBezTo>
                <a:cubicBezTo>
                  <a:pt x="210" y="154"/>
                  <a:pt x="210" y="154"/>
                  <a:pt x="210" y="154"/>
                </a:cubicBezTo>
                <a:cubicBezTo>
                  <a:pt x="209" y="154"/>
                  <a:pt x="209" y="154"/>
                  <a:pt x="209" y="154"/>
                </a:cubicBezTo>
                <a:cubicBezTo>
                  <a:pt x="207" y="155"/>
                  <a:pt x="207" y="155"/>
                  <a:pt x="207" y="155"/>
                </a:cubicBezTo>
                <a:cubicBezTo>
                  <a:pt x="206" y="156"/>
                  <a:pt x="206" y="156"/>
                  <a:pt x="206" y="156"/>
                </a:cubicBezTo>
                <a:cubicBezTo>
                  <a:pt x="206" y="157"/>
                  <a:pt x="206" y="157"/>
                  <a:pt x="206" y="157"/>
                </a:cubicBezTo>
                <a:close/>
                <a:moveTo>
                  <a:pt x="212" y="159"/>
                </a:moveTo>
                <a:cubicBezTo>
                  <a:pt x="213" y="160"/>
                  <a:pt x="213" y="160"/>
                  <a:pt x="213" y="160"/>
                </a:cubicBezTo>
                <a:cubicBezTo>
                  <a:pt x="215" y="160"/>
                  <a:pt x="215" y="160"/>
                  <a:pt x="215" y="160"/>
                </a:cubicBezTo>
                <a:cubicBezTo>
                  <a:pt x="216" y="160"/>
                  <a:pt x="216" y="160"/>
                  <a:pt x="216" y="160"/>
                </a:cubicBezTo>
                <a:cubicBezTo>
                  <a:pt x="215" y="159"/>
                  <a:pt x="215" y="159"/>
                  <a:pt x="215" y="159"/>
                </a:cubicBezTo>
                <a:cubicBezTo>
                  <a:pt x="214" y="159"/>
                  <a:pt x="214" y="159"/>
                  <a:pt x="214" y="159"/>
                </a:cubicBezTo>
                <a:cubicBezTo>
                  <a:pt x="212" y="159"/>
                  <a:pt x="212" y="159"/>
                  <a:pt x="212" y="159"/>
                </a:cubicBezTo>
                <a:cubicBezTo>
                  <a:pt x="212" y="159"/>
                  <a:pt x="212" y="159"/>
                  <a:pt x="212" y="159"/>
                </a:cubicBezTo>
                <a:close/>
                <a:moveTo>
                  <a:pt x="224" y="168"/>
                </a:moveTo>
                <a:cubicBezTo>
                  <a:pt x="224" y="169"/>
                  <a:pt x="224" y="169"/>
                  <a:pt x="224" y="169"/>
                </a:cubicBezTo>
                <a:cubicBezTo>
                  <a:pt x="223" y="170"/>
                  <a:pt x="223" y="170"/>
                  <a:pt x="223" y="170"/>
                </a:cubicBezTo>
                <a:cubicBezTo>
                  <a:pt x="222" y="171"/>
                  <a:pt x="222" y="171"/>
                  <a:pt x="222" y="171"/>
                </a:cubicBezTo>
                <a:cubicBezTo>
                  <a:pt x="222" y="172"/>
                  <a:pt x="222" y="172"/>
                  <a:pt x="222" y="172"/>
                </a:cubicBezTo>
                <a:cubicBezTo>
                  <a:pt x="223" y="173"/>
                  <a:pt x="223" y="173"/>
                  <a:pt x="223" y="173"/>
                </a:cubicBezTo>
                <a:cubicBezTo>
                  <a:pt x="224" y="173"/>
                  <a:pt x="224" y="173"/>
                  <a:pt x="224" y="173"/>
                </a:cubicBezTo>
                <a:cubicBezTo>
                  <a:pt x="225" y="171"/>
                  <a:pt x="225" y="171"/>
                  <a:pt x="225" y="171"/>
                </a:cubicBezTo>
                <a:cubicBezTo>
                  <a:pt x="226" y="171"/>
                  <a:pt x="226" y="171"/>
                  <a:pt x="226" y="171"/>
                </a:cubicBezTo>
                <a:cubicBezTo>
                  <a:pt x="226" y="170"/>
                  <a:pt x="226" y="170"/>
                  <a:pt x="226" y="170"/>
                </a:cubicBezTo>
                <a:cubicBezTo>
                  <a:pt x="227" y="169"/>
                  <a:pt x="227" y="169"/>
                  <a:pt x="227" y="169"/>
                </a:cubicBezTo>
                <a:cubicBezTo>
                  <a:pt x="229" y="168"/>
                  <a:pt x="229" y="168"/>
                  <a:pt x="229" y="168"/>
                </a:cubicBezTo>
                <a:cubicBezTo>
                  <a:pt x="228" y="167"/>
                  <a:pt x="228" y="167"/>
                  <a:pt x="228" y="167"/>
                </a:cubicBezTo>
                <a:cubicBezTo>
                  <a:pt x="228" y="166"/>
                  <a:pt x="228" y="166"/>
                  <a:pt x="228" y="166"/>
                </a:cubicBezTo>
                <a:cubicBezTo>
                  <a:pt x="227" y="166"/>
                  <a:pt x="227" y="166"/>
                  <a:pt x="227" y="166"/>
                </a:cubicBezTo>
                <a:cubicBezTo>
                  <a:pt x="225" y="167"/>
                  <a:pt x="225" y="167"/>
                  <a:pt x="225" y="167"/>
                </a:cubicBezTo>
                <a:cubicBezTo>
                  <a:pt x="224" y="168"/>
                  <a:pt x="224" y="168"/>
                  <a:pt x="224" y="168"/>
                </a:cubicBezTo>
                <a:close/>
                <a:moveTo>
                  <a:pt x="228" y="156"/>
                </a:moveTo>
                <a:cubicBezTo>
                  <a:pt x="227" y="158"/>
                  <a:pt x="227" y="158"/>
                  <a:pt x="227" y="158"/>
                </a:cubicBezTo>
                <a:cubicBezTo>
                  <a:pt x="227" y="160"/>
                  <a:pt x="227" y="160"/>
                  <a:pt x="227" y="160"/>
                </a:cubicBezTo>
                <a:cubicBezTo>
                  <a:pt x="226" y="161"/>
                  <a:pt x="226" y="161"/>
                  <a:pt x="226" y="161"/>
                </a:cubicBezTo>
                <a:cubicBezTo>
                  <a:pt x="226" y="162"/>
                  <a:pt x="226" y="162"/>
                  <a:pt x="226" y="162"/>
                </a:cubicBezTo>
                <a:cubicBezTo>
                  <a:pt x="228" y="162"/>
                  <a:pt x="228" y="162"/>
                  <a:pt x="228" y="162"/>
                </a:cubicBezTo>
                <a:cubicBezTo>
                  <a:pt x="228" y="163"/>
                  <a:pt x="228" y="163"/>
                  <a:pt x="228" y="163"/>
                </a:cubicBezTo>
                <a:cubicBezTo>
                  <a:pt x="230" y="163"/>
                  <a:pt x="230" y="163"/>
                  <a:pt x="230" y="163"/>
                </a:cubicBezTo>
                <a:cubicBezTo>
                  <a:pt x="231" y="164"/>
                  <a:pt x="231" y="164"/>
                  <a:pt x="231" y="164"/>
                </a:cubicBezTo>
                <a:cubicBezTo>
                  <a:pt x="232" y="163"/>
                  <a:pt x="232" y="163"/>
                  <a:pt x="232" y="163"/>
                </a:cubicBezTo>
                <a:cubicBezTo>
                  <a:pt x="232" y="163"/>
                  <a:pt x="232" y="163"/>
                  <a:pt x="232" y="163"/>
                </a:cubicBezTo>
                <a:cubicBezTo>
                  <a:pt x="231" y="161"/>
                  <a:pt x="231" y="161"/>
                  <a:pt x="231" y="161"/>
                </a:cubicBezTo>
                <a:cubicBezTo>
                  <a:pt x="230" y="159"/>
                  <a:pt x="230" y="159"/>
                  <a:pt x="230" y="159"/>
                </a:cubicBezTo>
                <a:cubicBezTo>
                  <a:pt x="229" y="158"/>
                  <a:pt x="229" y="158"/>
                  <a:pt x="229" y="158"/>
                </a:cubicBezTo>
                <a:cubicBezTo>
                  <a:pt x="228" y="156"/>
                  <a:pt x="228" y="156"/>
                  <a:pt x="228" y="156"/>
                </a:cubicBezTo>
                <a:close/>
                <a:moveTo>
                  <a:pt x="220" y="135"/>
                </a:moveTo>
                <a:cubicBezTo>
                  <a:pt x="219" y="134"/>
                  <a:pt x="219" y="134"/>
                  <a:pt x="219" y="134"/>
                </a:cubicBezTo>
                <a:cubicBezTo>
                  <a:pt x="220" y="134"/>
                  <a:pt x="220" y="134"/>
                  <a:pt x="220" y="134"/>
                </a:cubicBezTo>
                <a:cubicBezTo>
                  <a:pt x="219" y="133"/>
                  <a:pt x="219" y="133"/>
                  <a:pt x="219" y="133"/>
                </a:cubicBezTo>
                <a:cubicBezTo>
                  <a:pt x="217" y="133"/>
                  <a:pt x="217" y="133"/>
                  <a:pt x="217" y="133"/>
                </a:cubicBezTo>
                <a:cubicBezTo>
                  <a:pt x="217" y="134"/>
                  <a:pt x="217" y="134"/>
                  <a:pt x="217" y="134"/>
                </a:cubicBezTo>
                <a:cubicBezTo>
                  <a:pt x="218" y="134"/>
                  <a:pt x="218" y="134"/>
                  <a:pt x="218" y="134"/>
                </a:cubicBezTo>
                <a:cubicBezTo>
                  <a:pt x="218" y="135"/>
                  <a:pt x="218" y="135"/>
                  <a:pt x="218" y="135"/>
                </a:cubicBezTo>
                <a:cubicBezTo>
                  <a:pt x="219" y="136"/>
                  <a:pt x="219" y="136"/>
                  <a:pt x="219" y="136"/>
                </a:cubicBezTo>
                <a:cubicBezTo>
                  <a:pt x="220" y="135"/>
                  <a:pt x="220" y="135"/>
                  <a:pt x="220" y="135"/>
                </a:cubicBezTo>
                <a:close/>
                <a:moveTo>
                  <a:pt x="224" y="120"/>
                </a:moveTo>
                <a:cubicBezTo>
                  <a:pt x="223" y="119"/>
                  <a:pt x="223" y="119"/>
                  <a:pt x="223" y="119"/>
                </a:cubicBezTo>
                <a:cubicBezTo>
                  <a:pt x="222" y="119"/>
                  <a:pt x="222" y="119"/>
                  <a:pt x="222" y="119"/>
                </a:cubicBezTo>
                <a:cubicBezTo>
                  <a:pt x="223" y="121"/>
                  <a:pt x="223" y="121"/>
                  <a:pt x="223" y="121"/>
                </a:cubicBezTo>
                <a:cubicBezTo>
                  <a:pt x="223" y="121"/>
                  <a:pt x="223" y="121"/>
                  <a:pt x="223" y="121"/>
                </a:cubicBezTo>
                <a:cubicBezTo>
                  <a:pt x="224" y="121"/>
                  <a:pt x="224" y="121"/>
                  <a:pt x="224" y="121"/>
                </a:cubicBezTo>
                <a:cubicBezTo>
                  <a:pt x="225" y="121"/>
                  <a:pt x="225" y="121"/>
                  <a:pt x="225" y="121"/>
                </a:cubicBezTo>
                <a:cubicBezTo>
                  <a:pt x="225" y="123"/>
                  <a:pt x="225" y="123"/>
                  <a:pt x="225" y="123"/>
                </a:cubicBezTo>
                <a:cubicBezTo>
                  <a:pt x="225" y="123"/>
                  <a:pt x="225" y="123"/>
                  <a:pt x="225" y="123"/>
                </a:cubicBezTo>
                <a:cubicBezTo>
                  <a:pt x="225" y="122"/>
                  <a:pt x="225" y="122"/>
                  <a:pt x="225" y="122"/>
                </a:cubicBezTo>
                <a:cubicBezTo>
                  <a:pt x="225" y="121"/>
                  <a:pt x="225" y="121"/>
                  <a:pt x="225" y="121"/>
                </a:cubicBezTo>
                <a:cubicBezTo>
                  <a:pt x="226" y="120"/>
                  <a:pt x="226" y="120"/>
                  <a:pt x="226" y="120"/>
                </a:cubicBezTo>
                <a:cubicBezTo>
                  <a:pt x="226" y="119"/>
                  <a:pt x="226" y="119"/>
                  <a:pt x="226" y="119"/>
                </a:cubicBezTo>
                <a:cubicBezTo>
                  <a:pt x="225" y="119"/>
                  <a:pt x="225" y="119"/>
                  <a:pt x="225" y="119"/>
                </a:cubicBezTo>
                <a:cubicBezTo>
                  <a:pt x="225" y="118"/>
                  <a:pt x="225" y="118"/>
                  <a:pt x="225" y="118"/>
                </a:cubicBezTo>
                <a:cubicBezTo>
                  <a:pt x="225" y="117"/>
                  <a:pt x="225" y="117"/>
                  <a:pt x="225" y="117"/>
                </a:cubicBezTo>
                <a:cubicBezTo>
                  <a:pt x="224" y="117"/>
                  <a:pt x="224" y="117"/>
                  <a:pt x="224" y="117"/>
                </a:cubicBezTo>
                <a:cubicBezTo>
                  <a:pt x="223" y="117"/>
                  <a:pt x="223" y="117"/>
                  <a:pt x="223" y="117"/>
                </a:cubicBezTo>
                <a:cubicBezTo>
                  <a:pt x="223" y="118"/>
                  <a:pt x="223" y="118"/>
                  <a:pt x="223" y="118"/>
                </a:cubicBezTo>
                <a:cubicBezTo>
                  <a:pt x="224" y="119"/>
                  <a:pt x="224" y="119"/>
                  <a:pt x="224" y="119"/>
                </a:cubicBezTo>
                <a:cubicBezTo>
                  <a:pt x="224" y="120"/>
                  <a:pt x="224" y="120"/>
                  <a:pt x="224" y="120"/>
                </a:cubicBezTo>
                <a:close/>
                <a:moveTo>
                  <a:pt x="222" y="112"/>
                </a:moveTo>
                <a:cubicBezTo>
                  <a:pt x="220" y="112"/>
                  <a:pt x="220" y="112"/>
                  <a:pt x="220" y="112"/>
                </a:cubicBezTo>
                <a:cubicBezTo>
                  <a:pt x="220" y="111"/>
                  <a:pt x="220" y="111"/>
                  <a:pt x="220" y="111"/>
                </a:cubicBezTo>
                <a:cubicBezTo>
                  <a:pt x="219" y="111"/>
                  <a:pt x="219" y="111"/>
                  <a:pt x="219" y="111"/>
                </a:cubicBezTo>
                <a:cubicBezTo>
                  <a:pt x="218" y="111"/>
                  <a:pt x="218" y="111"/>
                  <a:pt x="218" y="111"/>
                </a:cubicBezTo>
                <a:cubicBezTo>
                  <a:pt x="218" y="112"/>
                  <a:pt x="218" y="112"/>
                  <a:pt x="218" y="112"/>
                </a:cubicBezTo>
                <a:cubicBezTo>
                  <a:pt x="220" y="113"/>
                  <a:pt x="220" y="113"/>
                  <a:pt x="220" y="113"/>
                </a:cubicBezTo>
                <a:cubicBezTo>
                  <a:pt x="221" y="113"/>
                  <a:pt x="221" y="113"/>
                  <a:pt x="221" y="113"/>
                </a:cubicBezTo>
                <a:cubicBezTo>
                  <a:pt x="222" y="112"/>
                  <a:pt x="222" y="112"/>
                  <a:pt x="222" y="112"/>
                </a:cubicBezTo>
                <a:close/>
                <a:moveTo>
                  <a:pt x="222" y="111"/>
                </a:moveTo>
                <a:cubicBezTo>
                  <a:pt x="222" y="111"/>
                  <a:pt x="222" y="111"/>
                  <a:pt x="222" y="111"/>
                </a:cubicBezTo>
                <a:cubicBezTo>
                  <a:pt x="224" y="111"/>
                  <a:pt x="224" y="111"/>
                  <a:pt x="224" y="111"/>
                </a:cubicBezTo>
                <a:cubicBezTo>
                  <a:pt x="225" y="111"/>
                  <a:pt x="225" y="111"/>
                  <a:pt x="225" y="111"/>
                </a:cubicBezTo>
                <a:cubicBezTo>
                  <a:pt x="226" y="111"/>
                  <a:pt x="226" y="111"/>
                  <a:pt x="226" y="111"/>
                </a:cubicBezTo>
                <a:cubicBezTo>
                  <a:pt x="226" y="110"/>
                  <a:pt x="226" y="110"/>
                  <a:pt x="226" y="110"/>
                </a:cubicBezTo>
                <a:cubicBezTo>
                  <a:pt x="224" y="110"/>
                  <a:pt x="224" y="110"/>
                  <a:pt x="224" y="110"/>
                </a:cubicBezTo>
                <a:cubicBezTo>
                  <a:pt x="223" y="109"/>
                  <a:pt x="223" y="109"/>
                  <a:pt x="223" y="109"/>
                </a:cubicBezTo>
                <a:cubicBezTo>
                  <a:pt x="222" y="110"/>
                  <a:pt x="222" y="110"/>
                  <a:pt x="222" y="110"/>
                </a:cubicBezTo>
                <a:cubicBezTo>
                  <a:pt x="222" y="111"/>
                  <a:pt x="222" y="111"/>
                  <a:pt x="222" y="111"/>
                </a:cubicBezTo>
                <a:close/>
                <a:moveTo>
                  <a:pt x="236" y="141"/>
                </a:moveTo>
                <a:cubicBezTo>
                  <a:pt x="237" y="140"/>
                  <a:pt x="237" y="140"/>
                  <a:pt x="237" y="140"/>
                </a:cubicBezTo>
                <a:cubicBezTo>
                  <a:pt x="236" y="139"/>
                  <a:pt x="236" y="139"/>
                  <a:pt x="236" y="139"/>
                </a:cubicBezTo>
                <a:cubicBezTo>
                  <a:pt x="235" y="139"/>
                  <a:pt x="235" y="139"/>
                  <a:pt x="235" y="139"/>
                </a:cubicBezTo>
                <a:cubicBezTo>
                  <a:pt x="235" y="140"/>
                  <a:pt x="235" y="140"/>
                  <a:pt x="235" y="140"/>
                </a:cubicBezTo>
                <a:cubicBezTo>
                  <a:pt x="235" y="141"/>
                  <a:pt x="235" y="141"/>
                  <a:pt x="235" y="141"/>
                </a:cubicBezTo>
                <a:cubicBezTo>
                  <a:pt x="236" y="141"/>
                  <a:pt x="236" y="141"/>
                  <a:pt x="236" y="141"/>
                </a:cubicBezTo>
                <a:close/>
                <a:moveTo>
                  <a:pt x="240" y="140"/>
                </a:moveTo>
                <a:cubicBezTo>
                  <a:pt x="241" y="139"/>
                  <a:pt x="241" y="139"/>
                  <a:pt x="241" y="139"/>
                </a:cubicBezTo>
                <a:cubicBezTo>
                  <a:pt x="241" y="139"/>
                  <a:pt x="241" y="139"/>
                  <a:pt x="241" y="139"/>
                </a:cubicBezTo>
                <a:cubicBezTo>
                  <a:pt x="239" y="138"/>
                  <a:pt x="239" y="138"/>
                  <a:pt x="239" y="138"/>
                </a:cubicBezTo>
                <a:cubicBezTo>
                  <a:pt x="239" y="139"/>
                  <a:pt x="239" y="139"/>
                  <a:pt x="239" y="139"/>
                </a:cubicBezTo>
                <a:cubicBezTo>
                  <a:pt x="238" y="139"/>
                  <a:pt x="238" y="139"/>
                  <a:pt x="238" y="139"/>
                </a:cubicBezTo>
                <a:cubicBezTo>
                  <a:pt x="238" y="140"/>
                  <a:pt x="238" y="140"/>
                  <a:pt x="238" y="140"/>
                </a:cubicBezTo>
                <a:cubicBezTo>
                  <a:pt x="240" y="140"/>
                  <a:pt x="240" y="140"/>
                  <a:pt x="240" y="140"/>
                </a:cubicBezTo>
                <a:close/>
                <a:moveTo>
                  <a:pt x="245" y="141"/>
                </a:moveTo>
                <a:cubicBezTo>
                  <a:pt x="246" y="141"/>
                  <a:pt x="246" y="141"/>
                  <a:pt x="246" y="141"/>
                </a:cubicBezTo>
                <a:cubicBezTo>
                  <a:pt x="245" y="140"/>
                  <a:pt x="245" y="140"/>
                  <a:pt x="245" y="140"/>
                </a:cubicBezTo>
                <a:cubicBezTo>
                  <a:pt x="243" y="141"/>
                  <a:pt x="243" y="141"/>
                  <a:pt x="243" y="141"/>
                </a:cubicBezTo>
                <a:cubicBezTo>
                  <a:pt x="244" y="141"/>
                  <a:pt x="244" y="141"/>
                  <a:pt x="244" y="141"/>
                </a:cubicBezTo>
                <a:cubicBezTo>
                  <a:pt x="245" y="141"/>
                  <a:pt x="245" y="141"/>
                  <a:pt x="245" y="141"/>
                </a:cubicBezTo>
                <a:close/>
                <a:moveTo>
                  <a:pt x="254" y="138"/>
                </a:moveTo>
                <a:cubicBezTo>
                  <a:pt x="255" y="140"/>
                  <a:pt x="255" y="140"/>
                  <a:pt x="255" y="140"/>
                </a:cubicBezTo>
                <a:cubicBezTo>
                  <a:pt x="255" y="140"/>
                  <a:pt x="255" y="140"/>
                  <a:pt x="255" y="140"/>
                </a:cubicBezTo>
                <a:cubicBezTo>
                  <a:pt x="256" y="139"/>
                  <a:pt x="256" y="139"/>
                  <a:pt x="256" y="139"/>
                </a:cubicBezTo>
                <a:cubicBezTo>
                  <a:pt x="255" y="139"/>
                  <a:pt x="255" y="139"/>
                  <a:pt x="255" y="139"/>
                </a:cubicBezTo>
                <a:cubicBezTo>
                  <a:pt x="254" y="138"/>
                  <a:pt x="254" y="138"/>
                  <a:pt x="254" y="138"/>
                </a:cubicBezTo>
                <a:close/>
                <a:moveTo>
                  <a:pt x="249" y="137"/>
                </a:moveTo>
                <a:cubicBezTo>
                  <a:pt x="250" y="137"/>
                  <a:pt x="250" y="137"/>
                  <a:pt x="250" y="137"/>
                </a:cubicBezTo>
                <a:cubicBezTo>
                  <a:pt x="251" y="136"/>
                  <a:pt x="251" y="136"/>
                  <a:pt x="251" y="136"/>
                </a:cubicBezTo>
                <a:cubicBezTo>
                  <a:pt x="250" y="136"/>
                  <a:pt x="250" y="136"/>
                  <a:pt x="250" y="136"/>
                </a:cubicBezTo>
                <a:cubicBezTo>
                  <a:pt x="249" y="136"/>
                  <a:pt x="249" y="136"/>
                  <a:pt x="249" y="136"/>
                </a:cubicBezTo>
                <a:cubicBezTo>
                  <a:pt x="249" y="137"/>
                  <a:pt x="249" y="137"/>
                  <a:pt x="249" y="137"/>
                </a:cubicBezTo>
                <a:cubicBezTo>
                  <a:pt x="249" y="137"/>
                  <a:pt x="249" y="137"/>
                  <a:pt x="249" y="137"/>
                </a:cubicBezTo>
                <a:close/>
                <a:moveTo>
                  <a:pt x="245" y="132"/>
                </a:moveTo>
                <a:cubicBezTo>
                  <a:pt x="245" y="131"/>
                  <a:pt x="245" y="131"/>
                  <a:pt x="245" y="131"/>
                </a:cubicBezTo>
                <a:cubicBezTo>
                  <a:pt x="244" y="131"/>
                  <a:pt x="244" y="131"/>
                  <a:pt x="244" y="131"/>
                </a:cubicBezTo>
                <a:cubicBezTo>
                  <a:pt x="243" y="132"/>
                  <a:pt x="243" y="132"/>
                  <a:pt x="243" y="132"/>
                </a:cubicBezTo>
                <a:cubicBezTo>
                  <a:pt x="243" y="133"/>
                  <a:pt x="243" y="133"/>
                  <a:pt x="243" y="133"/>
                </a:cubicBezTo>
                <a:cubicBezTo>
                  <a:pt x="244" y="134"/>
                  <a:pt x="244" y="134"/>
                  <a:pt x="244" y="134"/>
                </a:cubicBezTo>
                <a:cubicBezTo>
                  <a:pt x="244" y="133"/>
                  <a:pt x="244" y="133"/>
                  <a:pt x="244" y="133"/>
                </a:cubicBezTo>
                <a:cubicBezTo>
                  <a:pt x="244" y="133"/>
                  <a:pt x="244" y="133"/>
                  <a:pt x="244" y="133"/>
                </a:cubicBezTo>
                <a:cubicBezTo>
                  <a:pt x="244" y="132"/>
                  <a:pt x="244" y="132"/>
                  <a:pt x="244" y="132"/>
                </a:cubicBezTo>
                <a:cubicBezTo>
                  <a:pt x="245" y="132"/>
                  <a:pt x="245" y="132"/>
                  <a:pt x="245" y="132"/>
                </a:cubicBezTo>
                <a:close/>
                <a:moveTo>
                  <a:pt x="248" y="131"/>
                </a:moveTo>
                <a:cubicBezTo>
                  <a:pt x="248" y="130"/>
                  <a:pt x="248" y="130"/>
                  <a:pt x="248" y="130"/>
                </a:cubicBezTo>
                <a:cubicBezTo>
                  <a:pt x="247" y="130"/>
                  <a:pt x="247" y="130"/>
                  <a:pt x="247" y="130"/>
                </a:cubicBezTo>
                <a:cubicBezTo>
                  <a:pt x="246" y="131"/>
                  <a:pt x="246" y="131"/>
                  <a:pt x="246" y="131"/>
                </a:cubicBezTo>
                <a:cubicBezTo>
                  <a:pt x="247" y="132"/>
                  <a:pt x="247" y="132"/>
                  <a:pt x="247" y="132"/>
                </a:cubicBezTo>
                <a:cubicBezTo>
                  <a:pt x="248" y="132"/>
                  <a:pt x="248" y="132"/>
                  <a:pt x="248" y="132"/>
                </a:cubicBezTo>
                <a:cubicBezTo>
                  <a:pt x="248" y="131"/>
                  <a:pt x="248" y="131"/>
                  <a:pt x="248" y="131"/>
                </a:cubicBezTo>
                <a:cubicBezTo>
                  <a:pt x="248" y="131"/>
                  <a:pt x="248" y="131"/>
                  <a:pt x="248" y="131"/>
                </a:cubicBezTo>
                <a:close/>
                <a:moveTo>
                  <a:pt x="249" y="132"/>
                </a:moveTo>
                <a:cubicBezTo>
                  <a:pt x="249" y="132"/>
                  <a:pt x="249" y="132"/>
                  <a:pt x="249" y="132"/>
                </a:cubicBezTo>
                <a:cubicBezTo>
                  <a:pt x="250" y="132"/>
                  <a:pt x="250" y="132"/>
                  <a:pt x="250" y="132"/>
                </a:cubicBezTo>
                <a:cubicBezTo>
                  <a:pt x="251" y="131"/>
                  <a:pt x="251" y="131"/>
                  <a:pt x="251" y="131"/>
                </a:cubicBezTo>
                <a:cubicBezTo>
                  <a:pt x="251" y="130"/>
                  <a:pt x="251" y="130"/>
                  <a:pt x="251" y="130"/>
                </a:cubicBezTo>
                <a:cubicBezTo>
                  <a:pt x="250" y="129"/>
                  <a:pt x="250" y="129"/>
                  <a:pt x="250" y="129"/>
                </a:cubicBezTo>
                <a:cubicBezTo>
                  <a:pt x="249" y="129"/>
                  <a:pt x="249" y="129"/>
                  <a:pt x="249" y="129"/>
                </a:cubicBezTo>
                <a:cubicBezTo>
                  <a:pt x="249" y="130"/>
                  <a:pt x="249" y="130"/>
                  <a:pt x="249" y="130"/>
                </a:cubicBezTo>
                <a:cubicBezTo>
                  <a:pt x="249" y="131"/>
                  <a:pt x="249" y="131"/>
                  <a:pt x="249" y="131"/>
                </a:cubicBezTo>
                <a:cubicBezTo>
                  <a:pt x="249" y="132"/>
                  <a:pt x="249" y="132"/>
                  <a:pt x="249" y="132"/>
                </a:cubicBezTo>
                <a:close/>
                <a:moveTo>
                  <a:pt x="245" y="128"/>
                </a:moveTo>
                <a:cubicBezTo>
                  <a:pt x="246" y="127"/>
                  <a:pt x="246" y="127"/>
                  <a:pt x="246" y="127"/>
                </a:cubicBezTo>
                <a:cubicBezTo>
                  <a:pt x="246" y="126"/>
                  <a:pt x="246" y="126"/>
                  <a:pt x="246" y="126"/>
                </a:cubicBezTo>
                <a:cubicBezTo>
                  <a:pt x="245" y="126"/>
                  <a:pt x="245" y="126"/>
                  <a:pt x="245" y="126"/>
                </a:cubicBezTo>
                <a:cubicBezTo>
                  <a:pt x="244" y="126"/>
                  <a:pt x="244" y="126"/>
                  <a:pt x="244" y="126"/>
                </a:cubicBezTo>
                <a:cubicBezTo>
                  <a:pt x="243" y="127"/>
                  <a:pt x="243" y="127"/>
                  <a:pt x="243" y="127"/>
                </a:cubicBezTo>
                <a:cubicBezTo>
                  <a:pt x="243" y="127"/>
                  <a:pt x="243" y="127"/>
                  <a:pt x="243" y="127"/>
                </a:cubicBezTo>
                <a:cubicBezTo>
                  <a:pt x="245" y="127"/>
                  <a:pt x="245" y="127"/>
                  <a:pt x="245" y="127"/>
                </a:cubicBezTo>
                <a:cubicBezTo>
                  <a:pt x="245" y="128"/>
                  <a:pt x="245" y="128"/>
                  <a:pt x="245" y="128"/>
                </a:cubicBezTo>
                <a:close/>
                <a:moveTo>
                  <a:pt x="251" y="125"/>
                </a:moveTo>
                <a:cubicBezTo>
                  <a:pt x="252" y="125"/>
                  <a:pt x="252" y="125"/>
                  <a:pt x="252" y="125"/>
                </a:cubicBezTo>
                <a:cubicBezTo>
                  <a:pt x="251" y="124"/>
                  <a:pt x="251" y="124"/>
                  <a:pt x="251" y="124"/>
                </a:cubicBezTo>
                <a:cubicBezTo>
                  <a:pt x="251" y="124"/>
                  <a:pt x="251" y="124"/>
                  <a:pt x="251" y="124"/>
                </a:cubicBezTo>
                <a:cubicBezTo>
                  <a:pt x="252" y="123"/>
                  <a:pt x="252" y="123"/>
                  <a:pt x="252" y="123"/>
                </a:cubicBezTo>
                <a:cubicBezTo>
                  <a:pt x="252" y="123"/>
                  <a:pt x="252" y="123"/>
                  <a:pt x="252" y="123"/>
                </a:cubicBezTo>
                <a:cubicBezTo>
                  <a:pt x="251" y="122"/>
                  <a:pt x="251" y="122"/>
                  <a:pt x="251" y="122"/>
                </a:cubicBezTo>
                <a:cubicBezTo>
                  <a:pt x="250" y="122"/>
                  <a:pt x="250" y="122"/>
                  <a:pt x="250" y="122"/>
                </a:cubicBezTo>
                <a:cubicBezTo>
                  <a:pt x="249" y="122"/>
                  <a:pt x="249" y="122"/>
                  <a:pt x="249" y="122"/>
                </a:cubicBezTo>
                <a:cubicBezTo>
                  <a:pt x="249" y="123"/>
                  <a:pt x="249" y="123"/>
                  <a:pt x="249" y="123"/>
                </a:cubicBezTo>
                <a:cubicBezTo>
                  <a:pt x="249" y="123"/>
                  <a:pt x="249" y="123"/>
                  <a:pt x="249" y="123"/>
                </a:cubicBezTo>
                <a:cubicBezTo>
                  <a:pt x="248" y="122"/>
                  <a:pt x="248" y="122"/>
                  <a:pt x="248" y="122"/>
                </a:cubicBezTo>
                <a:cubicBezTo>
                  <a:pt x="248" y="123"/>
                  <a:pt x="248" y="123"/>
                  <a:pt x="248" y="123"/>
                </a:cubicBezTo>
                <a:cubicBezTo>
                  <a:pt x="248" y="124"/>
                  <a:pt x="248" y="124"/>
                  <a:pt x="248" y="124"/>
                </a:cubicBezTo>
                <a:cubicBezTo>
                  <a:pt x="249" y="124"/>
                  <a:pt x="249" y="124"/>
                  <a:pt x="249" y="124"/>
                </a:cubicBezTo>
                <a:cubicBezTo>
                  <a:pt x="250" y="124"/>
                  <a:pt x="250" y="124"/>
                  <a:pt x="250" y="124"/>
                </a:cubicBezTo>
                <a:cubicBezTo>
                  <a:pt x="251" y="125"/>
                  <a:pt x="251" y="125"/>
                  <a:pt x="251" y="125"/>
                </a:cubicBezTo>
                <a:close/>
                <a:moveTo>
                  <a:pt x="246" y="71"/>
                </a:moveTo>
                <a:cubicBezTo>
                  <a:pt x="247" y="71"/>
                  <a:pt x="247" y="71"/>
                  <a:pt x="247" y="71"/>
                </a:cubicBezTo>
                <a:cubicBezTo>
                  <a:pt x="247" y="70"/>
                  <a:pt x="247" y="70"/>
                  <a:pt x="247" y="70"/>
                </a:cubicBezTo>
                <a:cubicBezTo>
                  <a:pt x="246" y="70"/>
                  <a:pt x="246" y="70"/>
                  <a:pt x="246" y="70"/>
                </a:cubicBezTo>
                <a:cubicBezTo>
                  <a:pt x="246" y="70"/>
                  <a:pt x="246" y="70"/>
                  <a:pt x="246" y="70"/>
                </a:cubicBezTo>
                <a:cubicBezTo>
                  <a:pt x="246" y="71"/>
                  <a:pt x="246" y="71"/>
                  <a:pt x="246" y="71"/>
                </a:cubicBezTo>
                <a:close/>
                <a:moveTo>
                  <a:pt x="239" y="82"/>
                </a:moveTo>
                <a:cubicBezTo>
                  <a:pt x="240" y="83"/>
                  <a:pt x="240" y="83"/>
                  <a:pt x="240" y="83"/>
                </a:cubicBezTo>
                <a:cubicBezTo>
                  <a:pt x="240" y="83"/>
                  <a:pt x="240" y="83"/>
                  <a:pt x="240" y="83"/>
                </a:cubicBezTo>
                <a:cubicBezTo>
                  <a:pt x="241" y="82"/>
                  <a:pt x="241" y="82"/>
                  <a:pt x="241" y="82"/>
                </a:cubicBezTo>
                <a:cubicBezTo>
                  <a:pt x="242" y="81"/>
                  <a:pt x="242" y="81"/>
                  <a:pt x="242" y="81"/>
                </a:cubicBezTo>
                <a:cubicBezTo>
                  <a:pt x="242" y="80"/>
                  <a:pt x="242" y="80"/>
                  <a:pt x="242" y="80"/>
                </a:cubicBezTo>
                <a:cubicBezTo>
                  <a:pt x="241" y="79"/>
                  <a:pt x="241" y="79"/>
                  <a:pt x="241" y="79"/>
                </a:cubicBezTo>
                <a:cubicBezTo>
                  <a:pt x="240" y="79"/>
                  <a:pt x="240" y="79"/>
                  <a:pt x="240" y="79"/>
                </a:cubicBezTo>
                <a:cubicBezTo>
                  <a:pt x="239" y="80"/>
                  <a:pt x="239" y="80"/>
                  <a:pt x="239" y="80"/>
                </a:cubicBezTo>
                <a:cubicBezTo>
                  <a:pt x="240" y="81"/>
                  <a:pt x="240" y="81"/>
                  <a:pt x="240" y="81"/>
                </a:cubicBezTo>
                <a:cubicBezTo>
                  <a:pt x="239" y="82"/>
                  <a:pt x="239" y="82"/>
                  <a:pt x="239" y="82"/>
                </a:cubicBezTo>
                <a:close/>
                <a:moveTo>
                  <a:pt x="267" y="80"/>
                </a:moveTo>
                <a:cubicBezTo>
                  <a:pt x="268" y="80"/>
                  <a:pt x="268" y="80"/>
                  <a:pt x="268" y="80"/>
                </a:cubicBezTo>
                <a:cubicBezTo>
                  <a:pt x="269" y="79"/>
                  <a:pt x="269" y="79"/>
                  <a:pt x="269" y="79"/>
                </a:cubicBezTo>
                <a:cubicBezTo>
                  <a:pt x="270" y="78"/>
                  <a:pt x="270" y="78"/>
                  <a:pt x="270" y="78"/>
                </a:cubicBezTo>
                <a:cubicBezTo>
                  <a:pt x="270" y="78"/>
                  <a:pt x="270" y="78"/>
                  <a:pt x="270" y="78"/>
                </a:cubicBezTo>
                <a:cubicBezTo>
                  <a:pt x="271" y="79"/>
                  <a:pt x="271" y="79"/>
                  <a:pt x="271" y="79"/>
                </a:cubicBezTo>
                <a:cubicBezTo>
                  <a:pt x="270" y="79"/>
                  <a:pt x="270" y="79"/>
                  <a:pt x="270" y="79"/>
                </a:cubicBezTo>
                <a:cubicBezTo>
                  <a:pt x="271" y="79"/>
                  <a:pt x="271" y="79"/>
                  <a:pt x="271" y="79"/>
                </a:cubicBezTo>
                <a:cubicBezTo>
                  <a:pt x="273" y="77"/>
                  <a:pt x="273" y="77"/>
                  <a:pt x="273" y="77"/>
                </a:cubicBezTo>
                <a:cubicBezTo>
                  <a:pt x="273" y="76"/>
                  <a:pt x="273" y="76"/>
                  <a:pt x="273" y="76"/>
                </a:cubicBezTo>
                <a:cubicBezTo>
                  <a:pt x="273" y="76"/>
                  <a:pt x="273" y="76"/>
                  <a:pt x="273" y="76"/>
                </a:cubicBezTo>
                <a:cubicBezTo>
                  <a:pt x="273" y="74"/>
                  <a:pt x="273" y="74"/>
                  <a:pt x="273" y="74"/>
                </a:cubicBezTo>
                <a:cubicBezTo>
                  <a:pt x="273" y="74"/>
                  <a:pt x="273" y="74"/>
                  <a:pt x="273" y="74"/>
                </a:cubicBezTo>
                <a:cubicBezTo>
                  <a:pt x="272" y="74"/>
                  <a:pt x="272" y="74"/>
                  <a:pt x="272" y="74"/>
                </a:cubicBezTo>
                <a:cubicBezTo>
                  <a:pt x="272" y="75"/>
                  <a:pt x="272" y="75"/>
                  <a:pt x="272" y="75"/>
                </a:cubicBezTo>
                <a:cubicBezTo>
                  <a:pt x="271" y="76"/>
                  <a:pt x="271" y="76"/>
                  <a:pt x="271" y="76"/>
                </a:cubicBezTo>
                <a:cubicBezTo>
                  <a:pt x="269" y="77"/>
                  <a:pt x="269" y="77"/>
                  <a:pt x="269" y="77"/>
                </a:cubicBezTo>
                <a:cubicBezTo>
                  <a:pt x="268" y="78"/>
                  <a:pt x="268" y="78"/>
                  <a:pt x="268" y="78"/>
                </a:cubicBezTo>
                <a:cubicBezTo>
                  <a:pt x="267" y="80"/>
                  <a:pt x="267" y="80"/>
                  <a:pt x="267" y="80"/>
                </a:cubicBezTo>
                <a:close/>
                <a:moveTo>
                  <a:pt x="280" y="81"/>
                </a:moveTo>
                <a:cubicBezTo>
                  <a:pt x="281" y="80"/>
                  <a:pt x="281" y="80"/>
                  <a:pt x="281" y="80"/>
                </a:cubicBezTo>
                <a:cubicBezTo>
                  <a:pt x="282" y="79"/>
                  <a:pt x="282" y="79"/>
                  <a:pt x="282" y="79"/>
                </a:cubicBezTo>
                <a:cubicBezTo>
                  <a:pt x="281" y="79"/>
                  <a:pt x="281" y="79"/>
                  <a:pt x="281" y="79"/>
                </a:cubicBezTo>
                <a:cubicBezTo>
                  <a:pt x="280" y="80"/>
                  <a:pt x="280" y="80"/>
                  <a:pt x="280" y="80"/>
                </a:cubicBezTo>
                <a:cubicBezTo>
                  <a:pt x="279" y="80"/>
                  <a:pt x="279" y="80"/>
                  <a:pt x="279" y="80"/>
                </a:cubicBezTo>
                <a:cubicBezTo>
                  <a:pt x="280" y="81"/>
                  <a:pt x="280" y="81"/>
                  <a:pt x="280" y="81"/>
                </a:cubicBezTo>
                <a:close/>
                <a:moveTo>
                  <a:pt x="282" y="83"/>
                </a:moveTo>
                <a:cubicBezTo>
                  <a:pt x="282" y="83"/>
                  <a:pt x="282" y="83"/>
                  <a:pt x="282" y="83"/>
                </a:cubicBezTo>
                <a:cubicBezTo>
                  <a:pt x="283" y="83"/>
                  <a:pt x="283" y="83"/>
                  <a:pt x="283" y="83"/>
                </a:cubicBezTo>
                <a:cubicBezTo>
                  <a:pt x="283" y="82"/>
                  <a:pt x="283" y="82"/>
                  <a:pt x="283" y="82"/>
                </a:cubicBezTo>
                <a:cubicBezTo>
                  <a:pt x="282" y="82"/>
                  <a:pt x="282" y="82"/>
                  <a:pt x="282" y="82"/>
                </a:cubicBezTo>
                <a:cubicBezTo>
                  <a:pt x="281" y="81"/>
                  <a:pt x="281" y="81"/>
                  <a:pt x="281" y="81"/>
                </a:cubicBezTo>
                <a:cubicBezTo>
                  <a:pt x="281" y="81"/>
                  <a:pt x="281" y="81"/>
                  <a:pt x="281" y="81"/>
                </a:cubicBezTo>
                <a:cubicBezTo>
                  <a:pt x="281" y="82"/>
                  <a:pt x="281" y="82"/>
                  <a:pt x="281" y="82"/>
                </a:cubicBezTo>
                <a:cubicBezTo>
                  <a:pt x="281" y="82"/>
                  <a:pt x="281" y="82"/>
                  <a:pt x="281" y="82"/>
                </a:cubicBezTo>
                <a:cubicBezTo>
                  <a:pt x="282" y="83"/>
                  <a:pt x="282" y="83"/>
                  <a:pt x="282" y="83"/>
                </a:cubicBezTo>
                <a:close/>
                <a:moveTo>
                  <a:pt x="271" y="86"/>
                </a:moveTo>
                <a:cubicBezTo>
                  <a:pt x="272" y="86"/>
                  <a:pt x="272" y="86"/>
                  <a:pt x="272" y="86"/>
                </a:cubicBezTo>
                <a:cubicBezTo>
                  <a:pt x="272" y="85"/>
                  <a:pt x="272" y="85"/>
                  <a:pt x="272" y="85"/>
                </a:cubicBezTo>
                <a:cubicBezTo>
                  <a:pt x="271" y="85"/>
                  <a:pt x="271" y="85"/>
                  <a:pt x="271" y="85"/>
                </a:cubicBezTo>
                <a:cubicBezTo>
                  <a:pt x="271" y="85"/>
                  <a:pt x="271" y="85"/>
                  <a:pt x="271" y="85"/>
                </a:cubicBezTo>
                <a:cubicBezTo>
                  <a:pt x="269" y="86"/>
                  <a:pt x="269" y="86"/>
                  <a:pt x="269" y="86"/>
                </a:cubicBezTo>
                <a:cubicBezTo>
                  <a:pt x="270" y="86"/>
                  <a:pt x="270" y="86"/>
                  <a:pt x="270" y="86"/>
                </a:cubicBezTo>
                <a:cubicBezTo>
                  <a:pt x="271" y="86"/>
                  <a:pt x="271" y="86"/>
                  <a:pt x="271" y="86"/>
                </a:cubicBezTo>
                <a:close/>
                <a:moveTo>
                  <a:pt x="277" y="87"/>
                </a:moveTo>
                <a:cubicBezTo>
                  <a:pt x="277" y="86"/>
                  <a:pt x="277" y="86"/>
                  <a:pt x="277" y="86"/>
                </a:cubicBezTo>
                <a:cubicBezTo>
                  <a:pt x="278" y="85"/>
                  <a:pt x="278" y="85"/>
                  <a:pt x="278" y="85"/>
                </a:cubicBezTo>
                <a:cubicBezTo>
                  <a:pt x="277" y="85"/>
                  <a:pt x="277" y="85"/>
                  <a:pt x="277" y="85"/>
                </a:cubicBezTo>
                <a:cubicBezTo>
                  <a:pt x="277" y="83"/>
                  <a:pt x="277" y="83"/>
                  <a:pt x="277" y="83"/>
                </a:cubicBezTo>
                <a:cubicBezTo>
                  <a:pt x="276" y="83"/>
                  <a:pt x="276" y="83"/>
                  <a:pt x="276" y="83"/>
                </a:cubicBezTo>
                <a:cubicBezTo>
                  <a:pt x="276" y="84"/>
                  <a:pt x="276" y="84"/>
                  <a:pt x="276" y="84"/>
                </a:cubicBezTo>
                <a:cubicBezTo>
                  <a:pt x="276" y="85"/>
                  <a:pt x="276" y="85"/>
                  <a:pt x="276" y="85"/>
                </a:cubicBezTo>
                <a:cubicBezTo>
                  <a:pt x="274" y="85"/>
                  <a:pt x="274" y="85"/>
                  <a:pt x="274" y="85"/>
                </a:cubicBezTo>
                <a:cubicBezTo>
                  <a:pt x="275" y="86"/>
                  <a:pt x="275" y="86"/>
                  <a:pt x="275" y="86"/>
                </a:cubicBezTo>
                <a:cubicBezTo>
                  <a:pt x="275" y="86"/>
                  <a:pt x="275" y="86"/>
                  <a:pt x="275" y="86"/>
                </a:cubicBezTo>
                <a:cubicBezTo>
                  <a:pt x="276" y="85"/>
                  <a:pt x="276" y="85"/>
                  <a:pt x="276" y="85"/>
                </a:cubicBezTo>
                <a:cubicBezTo>
                  <a:pt x="277" y="85"/>
                  <a:pt x="277" y="85"/>
                  <a:pt x="277" y="85"/>
                </a:cubicBezTo>
                <a:cubicBezTo>
                  <a:pt x="277" y="87"/>
                  <a:pt x="277" y="87"/>
                  <a:pt x="277" y="87"/>
                </a:cubicBezTo>
                <a:close/>
                <a:moveTo>
                  <a:pt x="277" y="93"/>
                </a:moveTo>
                <a:cubicBezTo>
                  <a:pt x="278" y="93"/>
                  <a:pt x="278" y="93"/>
                  <a:pt x="278" y="93"/>
                </a:cubicBezTo>
                <a:cubicBezTo>
                  <a:pt x="279" y="93"/>
                  <a:pt x="279" y="93"/>
                  <a:pt x="279" y="93"/>
                </a:cubicBezTo>
                <a:cubicBezTo>
                  <a:pt x="280" y="93"/>
                  <a:pt x="280" y="93"/>
                  <a:pt x="280" y="93"/>
                </a:cubicBezTo>
                <a:cubicBezTo>
                  <a:pt x="281" y="93"/>
                  <a:pt x="281" y="93"/>
                  <a:pt x="281" y="93"/>
                </a:cubicBezTo>
                <a:cubicBezTo>
                  <a:pt x="282" y="93"/>
                  <a:pt x="282" y="93"/>
                  <a:pt x="282" y="93"/>
                </a:cubicBezTo>
                <a:cubicBezTo>
                  <a:pt x="283" y="93"/>
                  <a:pt x="283" y="93"/>
                  <a:pt x="283" y="93"/>
                </a:cubicBezTo>
                <a:cubicBezTo>
                  <a:pt x="284" y="92"/>
                  <a:pt x="284" y="92"/>
                  <a:pt x="284" y="92"/>
                </a:cubicBezTo>
                <a:cubicBezTo>
                  <a:pt x="284" y="92"/>
                  <a:pt x="284" y="92"/>
                  <a:pt x="284" y="92"/>
                </a:cubicBezTo>
                <a:cubicBezTo>
                  <a:pt x="283" y="91"/>
                  <a:pt x="283" y="91"/>
                  <a:pt x="283" y="91"/>
                </a:cubicBezTo>
                <a:cubicBezTo>
                  <a:pt x="284" y="91"/>
                  <a:pt x="284" y="91"/>
                  <a:pt x="284" y="91"/>
                </a:cubicBezTo>
                <a:cubicBezTo>
                  <a:pt x="283" y="90"/>
                  <a:pt x="283" y="90"/>
                  <a:pt x="283" y="90"/>
                </a:cubicBezTo>
                <a:cubicBezTo>
                  <a:pt x="282" y="90"/>
                  <a:pt x="282" y="90"/>
                  <a:pt x="282" y="90"/>
                </a:cubicBezTo>
                <a:cubicBezTo>
                  <a:pt x="282" y="90"/>
                  <a:pt x="282" y="90"/>
                  <a:pt x="282" y="90"/>
                </a:cubicBezTo>
                <a:cubicBezTo>
                  <a:pt x="282" y="91"/>
                  <a:pt x="282" y="91"/>
                  <a:pt x="282" y="91"/>
                </a:cubicBezTo>
                <a:cubicBezTo>
                  <a:pt x="281" y="91"/>
                  <a:pt x="281" y="91"/>
                  <a:pt x="281" y="91"/>
                </a:cubicBezTo>
                <a:cubicBezTo>
                  <a:pt x="281" y="91"/>
                  <a:pt x="281" y="91"/>
                  <a:pt x="281" y="91"/>
                </a:cubicBezTo>
                <a:cubicBezTo>
                  <a:pt x="280" y="91"/>
                  <a:pt x="280" y="91"/>
                  <a:pt x="280" y="91"/>
                </a:cubicBezTo>
                <a:cubicBezTo>
                  <a:pt x="280" y="91"/>
                  <a:pt x="280" y="91"/>
                  <a:pt x="280" y="91"/>
                </a:cubicBezTo>
                <a:cubicBezTo>
                  <a:pt x="279" y="91"/>
                  <a:pt x="279" y="91"/>
                  <a:pt x="279" y="91"/>
                </a:cubicBezTo>
                <a:cubicBezTo>
                  <a:pt x="279" y="92"/>
                  <a:pt x="279" y="92"/>
                  <a:pt x="279" y="92"/>
                </a:cubicBezTo>
                <a:cubicBezTo>
                  <a:pt x="278" y="91"/>
                  <a:pt x="278" y="91"/>
                  <a:pt x="278" y="91"/>
                </a:cubicBezTo>
                <a:cubicBezTo>
                  <a:pt x="277" y="92"/>
                  <a:pt x="277" y="92"/>
                  <a:pt x="277" y="92"/>
                </a:cubicBezTo>
                <a:cubicBezTo>
                  <a:pt x="277" y="93"/>
                  <a:pt x="277" y="93"/>
                  <a:pt x="277" y="93"/>
                </a:cubicBezTo>
                <a:close/>
                <a:moveTo>
                  <a:pt x="165" y="56"/>
                </a:moveTo>
                <a:cubicBezTo>
                  <a:pt x="166" y="56"/>
                  <a:pt x="166" y="56"/>
                  <a:pt x="166" y="56"/>
                </a:cubicBezTo>
                <a:cubicBezTo>
                  <a:pt x="167" y="57"/>
                  <a:pt x="167" y="57"/>
                  <a:pt x="167" y="57"/>
                </a:cubicBezTo>
                <a:cubicBezTo>
                  <a:pt x="168" y="57"/>
                  <a:pt x="168" y="57"/>
                  <a:pt x="168" y="57"/>
                </a:cubicBezTo>
                <a:cubicBezTo>
                  <a:pt x="169" y="56"/>
                  <a:pt x="169" y="56"/>
                  <a:pt x="169" y="56"/>
                </a:cubicBezTo>
                <a:cubicBezTo>
                  <a:pt x="169" y="55"/>
                  <a:pt x="169" y="55"/>
                  <a:pt x="169" y="55"/>
                </a:cubicBezTo>
                <a:cubicBezTo>
                  <a:pt x="169" y="55"/>
                  <a:pt x="169" y="55"/>
                  <a:pt x="169" y="55"/>
                </a:cubicBezTo>
                <a:cubicBezTo>
                  <a:pt x="167" y="55"/>
                  <a:pt x="167" y="55"/>
                  <a:pt x="167" y="55"/>
                </a:cubicBezTo>
                <a:cubicBezTo>
                  <a:pt x="166" y="55"/>
                  <a:pt x="166" y="55"/>
                  <a:pt x="166" y="55"/>
                </a:cubicBezTo>
                <a:cubicBezTo>
                  <a:pt x="165" y="54"/>
                  <a:pt x="165" y="54"/>
                  <a:pt x="165" y="54"/>
                </a:cubicBezTo>
                <a:cubicBezTo>
                  <a:pt x="165" y="55"/>
                  <a:pt x="165" y="55"/>
                  <a:pt x="165" y="55"/>
                </a:cubicBezTo>
                <a:cubicBezTo>
                  <a:pt x="164" y="55"/>
                  <a:pt x="164" y="55"/>
                  <a:pt x="164" y="55"/>
                </a:cubicBezTo>
                <a:cubicBezTo>
                  <a:pt x="165" y="56"/>
                  <a:pt x="165" y="56"/>
                  <a:pt x="165" y="56"/>
                </a:cubicBezTo>
                <a:close/>
                <a:moveTo>
                  <a:pt x="162" y="29"/>
                </a:moveTo>
                <a:cubicBezTo>
                  <a:pt x="161" y="28"/>
                  <a:pt x="161" y="28"/>
                  <a:pt x="161" y="28"/>
                </a:cubicBezTo>
                <a:cubicBezTo>
                  <a:pt x="161" y="27"/>
                  <a:pt x="161" y="27"/>
                  <a:pt x="161" y="27"/>
                </a:cubicBezTo>
                <a:cubicBezTo>
                  <a:pt x="163" y="26"/>
                  <a:pt x="163" y="26"/>
                  <a:pt x="163" y="26"/>
                </a:cubicBezTo>
                <a:cubicBezTo>
                  <a:pt x="165" y="26"/>
                  <a:pt x="165" y="26"/>
                  <a:pt x="165" y="26"/>
                </a:cubicBezTo>
                <a:cubicBezTo>
                  <a:pt x="167" y="26"/>
                  <a:pt x="167" y="26"/>
                  <a:pt x="167" y="26"/>
                </a:cubicBezTo>
                <a:cubicBezTo>
                  <a:pt x="167" y="28"/>
                  <a:pt x="167" y="28"/>
                  <a:pt x="167" y="28"/>
                </a:cubicBezTo>
                <a:cubicBezTo>
                  <a:pt x="167" y="29"/>
                  <a:pt x="167" y="29"/>
                  <a:pt x="167" y="29"/>
                </a:cubicBezTo>
                <a:cubicBezTo>
                  <a:pt x="165" y="29"/>
                  <a:pt x="165" y="29"/>
                  <a:pt x="165" y="29"/>
                </a:cubicBezTo>
                <a:cubicBezTo>
                  <a:pt x="163" y="29"/>
                  <a:pt x="163" y="29"/>
                  <a:pt x="163" y="29"/>
                </a:cubicBezTo>
                <a:cubicBezTo>
                  <a:pt x="163" y="29"/>
                  <a:pt x="162" y="29"/>
                  <a:pt x="162" y="29"/>
                </a:cubicBezTo>
                <a:close/>
                <a:moveTo>
                  <a:pt x="201" y="9"/>
                </a:moveTo>
                <a:cubicBezTo>
                  <a:pt x="202" y="8"/>
                  <a:pt x="202" y="8"/>
                  <a:pt x="202" y="8"/>
                </a:cubicBezTo>
                <a:cubicBezTo>
                  <a:pt x="203" y="6"/>
                  <a:pt x="203" y="6"/>
                  <a:pt x="203" y="6"/>
                </a:cubicBezTo>
                <a:cubicBezTo>
                  <a:pt x="204" y="6"/>
                  <a:pt x="204" y="6"/>
                  <a:pt x="204" y="6"/>
                </a:cubicBezTo>
                <a:cubicBezTo>
                  <a:pt x="206" y="7"/>
                  <a:pt x="206" y="7"/>
                  <a:pt x="206" y="7"/>
                </a:cubicBezTo>
                <a:cubicBezTo>
                  <a:pt x="205" y="8"/>
                  <a:pt x="205" y="8"/>
                  <a:pt x="205" y="8"/>
                </a:cubicBezTo>
                <a:cubicBezTo>
                  <a:pt x="205" y="8"/>
                  <a:pt x="205" y="8"/>
                  <a:pt x="205" y="8"/>
                </a:cubicBezTo>
                <a:cubicBezTo>
                  <a:pt x="204" y="9"/>
                  <a:pt x="204" y="9"/>
                  <a:pt x="204" y="9"/>
                </a:cubicBezTo>
                <a:cubicBezTo>
                  <a:pt x="203" y="10"/>
                  <a:pt x="203" y="10"/>
                  <a:pt x="203" y="10"/>
                </a:cubicBezTo>
                <a:cubicBezTo>
                  <a:pt x="201" y="9"/>
                  <a:pt x="201" y="9"/>
                  <a:pt x="201" y="9"/>
                </a:cubicBezTo>
                <a:cubicBezTo>
                  <a:pt x="201" y="9"/>
                  <a:pt x="201" y="9"/>
                  <a:pt x="201" y="9"/>
                </a:cubicBezTo>
                <a:close/>
                <a:moveTo>
                  <a:pt x="229" y="27"/>
                </a:moveTo>
                <a:cubicBezTo>
                  <a:pt x="231" y="25"/>
                  <a:pt x="231" y="25"/>
                  <a:pt x="231" y="25"/>
                </a:cubicBezTo>
                <a:cubicBezTo>
                  <a:pt x="232" y="24"/>
                  <a:pt x="232" y="24"/>
                  <a:pt x="232" y="24"/>
                </a:cubicBezTo>
                <a:cubicBezTo>
                  <a:pt x="232" y="23"/>
                  <a:pt x="232" y="23"/>
                  <a:pt x="232" y="23"/>
                </a:cubicBezTo>
                <a:cubicBezTo>
                  <a:pt x="234" y="21"/>
                  <a:pt x="234" y="21"/>
                  <a:pt x="234" y="21"/>
                </a:cubicBezTo>
                <a:cubicBezTo>
                  <a:pt x="236" y="20"/>
                  <a:pt x="236" y="20"/>
                  <a:pt x="236" y="20"/>
                </a:cubicBezTo>
                <a:cubicBezTo>
                  <a:pt x="238" y="19"/>
                  <a:pt x="238" y="19"/>
                  <a:pt x="238" y="19"/>
                </a:cubicBezTo>
                <a:cubicBezTo>
                  <a:pt x="238" y="18"/>
                  <a:pt x="238" y="18"/>
                  <a:pt x="238" y="18"/>
                </a:cubicBezTo>
                <a:cubicBezTo>
                  <a:pt x="238" y="16"/>
                  <a:pt x="238" y="16"/>
                  <a:pt x="238" y="16"/>
                </a:cubicBezTo>
                <a:cubicBezTo>
                  <a:pt x="236" y="15"/>
                  <a:pt x="236" y="15"/>
                  <a:pt x="236" y="15"/>
                </a:cubicBezTo>
                <a:cubicBezTo>
                  <a:pt x="234" y="13"/>
                  <a:pt x="234" y="13"/>
                  <a:pt x="234" y="13"/>
                </a:cubicBezTo>
                <a:cubicBezTo>
                  <a:pt x="233" y="11"/>
                  <a:pt x="233" y="11"/>
                  <a:pt x="233" y="11"/>
                </a:cubicBezTo>
                <a:cubicBezTo>
                  <a:pt x="233" y="10"/>
                  <a:pt x="233" y="10"/>
                  <a:pt x="233" y="10"/>
                </a:cubicBezTo>
                <a:cubicBezTo>
                  <a:pt x="234" y="9"/>
                  <a:pt x="234" y="9"/>
                  <a:pt x="234" y="9"/>
                </a:cubicBezTo>
                <a:cubicBezTo>
                  <a:pt x="234" y="7"/>
                  <a:pt x="234" y="7"/>
                  <a:pt x="234" y="7"/>
                </a:cubicBezTo>
                <a:cubicBezTo>
                  <a:pt x="233" y="7"/>
                  <a:pt x="233" y="7"/>
                  <a:pt x="233" y="7"/>
                </a:cubicBezTo>
                <a:cubicBezTo>
                  <a:pt x="230" y="7"/>
                  <a:pt x="230" y="7"/>
                  <a:pt x="230" y="7"/>
                </a:cubicBezTo>
                <a:cubicBezTo>
                  <a:pt x="228" y="6"/>
                  <a:pt x="228" y="6"/>
                  <a:pt x="228" y="6"/>
                </a:cubicBezTo>
                <a:cubicBezTo>
                  <a:pt x="226" y="5"/>
                  <a:pt x="226" y="5"/>
                  <a:pt x="226" y="5"/>
                </a:cubicBezTo>
                <a:cubicBezTo>
                  <a:pt x="224" y="2"/>
                  <a:pt x="224" y="2"/>
                  <a:pt x="224" y="2"/>
                </a:cubicBezTo>
                <a:cubicBezTo>
                  <a:pt x="222" y="1"/>
                  <a:pt x="222" y="1"/>
                  <a:pt x="222" y="1"/>
                </a:cubicBezTo>
                <a:cubicBezTo>
                  <a:pt x="220" y="0"/>
                  <a:pt x="220" y="0"/>
                  <a:pt x="220" y="0"/>
                </a:cubicBezTo>
                <a:cubicBezTo>
                  <a:pt x="219" y="0"/>
                  <a:pt x="219" y="0"/>
                  <a:pt x="219" y="0"/>
                </a:cubicBezTo>
                <a:cubicBezTo>
                  <a:pt x="218" y="0"/>
                  <a:pt x="218" y="0"/>
                  <a:pt x="218" y="0"/>
                </a:cubicBezTo>
                <a:cubicBezTo>
                  <a:pt x="218" y="1"/>
                  <a:pt x="218" y="1"/>
                  <a:pt x="218" y="1"/>
                </a:cubicBezTo>
                <a:cubicBezTo>
                  <a:pt x="218" y="2"/>
                  <a:pt x="218" y="2"/>
                  <a:pt x="218" y="2"/>
                </a:cubicBezTo>
                <a:cubicBezTo>
                  <a:pt x="218" y="4"/>
                  <a:pt x="218" y="4"/>
                  <a:pt x="218" y="4"/>
                </a:cubicBezTo>
                <a:cubicBezTo>
                  <a:pt x="217" y="5"/>
                  <a:pt x="217" y="5"/>
                  <a:pt x="217" y="5"/>
                </a:cubicBezTo>
                <a:cubicBezTo>
                  <a:pt x="216" y="7"/>
                  <a:pt x="216" y="7"/>
                  <a:pt x="216" y="7"/>
                </a:cubicBezTo>
                <a:cubicBezTo>
                  <a:pt x="215" y="9"/>
                  <a:pt x="215" y="9"/>
                  <a:pt x="215" y="9"/>
                </a:cubicBezTo>
                <a:cubicBezTo>
                  <a:pt x="215" y="10"/>
                  <a:pt x="215" y="10"/>
                  <a:pt x="215" y="10"/>
                </a:cubicBezTo>
                <a:cubicBezTo>
                  <a:pt x="215" y="15"/>
                  <a:pt x="215" y="15"/>
                  <a:pt x="215" y="15"/>
                </a:cubicBezTo>
                <a:cubicBezTo>
                  <a:pt x="216" y="16"/>
                  <a:pt x="216" y="16"/>
                  <a:pt x="216" y="16"/>
                </a:cubicBezTo>
                <a:cubicBezTo>
                  <a:pt x="217" y="17"/>
                  <a:pt x="217" y="17"/>
                  <a:pt x="217" y="17"/>
                </a:cubicBezTo>
                <a:cubicBezTo>
                  <a:pt x="217" y="18"/>
                  <a:pt x="217" y="18"/>
                  <a:pt x="217" y="18"/>
                </a:cubicBezTo>
                <a:cubicBezTo>
                  <a:pt x="216" y="22"/>
                  <a:pt x="216" y="22"/>
                  <a:pt x="216" y="22"/>
                </a:cubicBezTo>
                <a:cubicBezTo>
                  <a:pt x="216" y="23"/>
                  <a:pt x="216" y="23"/>
                  <a:pt x="216" y="23"/>
                </a:cubicBezTo>
                <a:cubicBezTo>
                  <a:pt x="215" y="24"/>
                  <a:pt x="215" y="24"/>
                  <a:pt x="215" y="24"/>
                </a:cubicBezTo>
                <a:cubicBezTo>
                  <a:pt x="216" y="25"/>
                  <a:pt x="216" y="25"/>
                  <a:pt x="216" y="25"/>
                </a:cubicBezTo>
                <a:cubicBezTo>
                  <a:pt x="216" y="25"/>
                  <a:pt x="216" y="25"/>
                  <a:pt x="216" y="25"/>
                </a:cubicBezTo>
                <a:cubicBezTo>
                  <a:pt x="217" y="24"/>
                  <a:pt x="217" y="24"/>
                  <a:pt x="217" y="24"/>
                </a:cubicBezTo>
                <a:cubicBezTo>
                  <a:pt x="219" y="23"/>
                  <a:pt x="219" y="23"/>
                  <a:pt x="219" y="23"/>
                </a:cubicBezTo>
                <a:cubicBezTo>
                  <a:pt x="219" y="23"/>
                  <a:pt x="219" y="23"/>
                  <a:pt x="219" y="23"/>
                </a:cubicBezTo>
                <a:cubicBezTo>
                  <a:pt x="220" y="25"/>
                  <a:pt x="220" y="25"/>
                  <a:pt x="220" y="25"/>
                </a:cubicBezTo>
                <a:cubicBezTo>
                  <a:pt x="222" y="26"/>
                  <a:pt x="222" y="26"/>
                  <a:pt x="222" y="26"/>
                </a:cubicBezTo>
                <a:cubicBezTo>
                  <a:pt x="223" y="26"/>
                  <a:pt x="223" y="26"/>
                  <a:pt x="223" y="26"/>
                </a:cubicBezTo>
                <a:cubicBezTo>
                  <a:pt x="223" y="25"/>
                  <a:pt x="223" y="25"/>
                  <a:pt x="223" y="25"/>
                </a:cubicBezTo>
                <a:cubicBezTo>
                  <a:pt x="224" y="25"/>
                  <a:pt x="224" y="25"/>
                  <a:pt x="224" y="25"/>
                </a:cubicBezTo>
                <a:cubicBezTo>
                  <a:pt x="226" y="26"/>
                  <a:pt x="226" y="26"/>
                  <a:pt x="226" y="26"/>
                </a:cubicBezTo>
                <a:cubicBezTo>
                  <a:pt x="227" y="27"/>
                  <a:pt x="227" y="27"/>
                  <a:pt x="227" y="27"/>
                </a:cubicBezTo>
                <a:cubicBezTo>
                  <a:pt x="229" y="27"/>
                  <a:pt x="229" y="27"/>
                  <a:pt x="229" y="27"/>
                </a:cubicBezTo>
                <a:close/>
                <a:moveTo>
                  <a:pt x="223" y="35"/>
                </a:moveTo>
                <a:cubicBezTo>
                  <a:pt x="223" y="36"/>
                  <a:pt x="223" y="36"/>
                  <a:pt x="223" y="36"/>
                </a:cubicBezTo>
                <a:cubicBezTo>
                  <a:pt x="224" y="36"/>
                  <a:pt x="224" y="36"/>
                  <a:pt x="224" y="36"/>
                </a:cubicBezTo>
                <a:cubicBezTo>
                  <a:pt x="226" y="37"/>
                  <a:pt x="226" y="37"/>
                  <a:pt x="226" y="37"/>
                </a:cubicBezTo>
                <a:cubicBezTo>
                  <a:pt x="227" y="36"/>
                  <a:pt x="227" y="36"/>
                  <a:pt x="227" y="36"/>
                </a:cubicBezTo>
                <a:cubicBezTo>
                  <a:pt x="228" y="34"/>
                  <a:pt x="228" y="34"/>
                  <a:pt x="228" y="34"/>
                </a:cubicBezTo>
                <a:cubicBezTo>
                  <a:pt x="229" y="34"/>
                  <a:pt x="229" y="34"/>
                  <a:pt x="229" y="34"/>
                </a:cubicBezTo>
                <a:cubicBezTo>
                  <a:pt x="230" y="32"/>
                  <a:pt x="230" y="32"/>
                  <a:pt x="230" y="32"/>
                </a:cubicBezTo>
                <a:cubicBezTo>
                  <a:pt x="230" y="30"/>
                  <a:pt x="230" y="30"/>
                  <a:pt x="230" y="30"/>
                </a:cubicBezTo>
                <a:cubicBezTo>
                  <a:pt x="230" y="29"/>
                  <a:pt x="230" y="29"/>
                  <a:pt x="230" y="29"/>
                </a:cubicBezTo>
                <a:cubicBezTo>
                  <a:pt x="227" y="28"/>
                  <a:pt x="227" y="28"/>
                  <a:pt x="227" y="28"/>
                </a:cubicBezTo>
                <a:cubicBezTo>
                  <a:pt x="225" y="28"/>
                  <a:pt x="225" y="28"/>
                  <a:pt x="225" y="28"/>
                </a:cubicBezTo>
                <a:cubicBezTo>
                  <a:pt x="223" y="28"/>
                  <a:pt x="223" y="28"/>
                  <a:pt x="223" y="28"/>
                </a:cubicBezTo>
                <a:cubicBezTo>
                  <a:pt x="222" y="29"/>
                  <a:pt x="222" y="29"/>
                  <a:pt x="222" y="29"/>
                </a:cubicBezTo>
                <a:cubicBezTo>
                  <a:pt x="221" y="28"/>
                  <a:pt x="221" y="28"/>
                  <a:pt x="221" y="28"/>
                </a:cubicBezTo>
                <a:cubicBezTo>
                  <a:pt x="220" y="28"/>
                  <a:pt x="220" y="28"/>
                  <a:pt x="220" y="28"/>
                </a:cubicBezTo>
                <a:cubicBezTo>
                  <a:pt x="219" y="29"/>
                  <a:pt x="219" y="29"/>
                  <a:pt x="219" y="29"/>
                </a:cubicBezTo>
                <a:cubicBezTo>
                  <a:pt x="218" y="29"/>
                  <a:pt x="218" y="29"/>
                  <a:pt x="218" y="29"/>
                </a:cubicBezTo>
                <a:cubicBezTo>
                  <a:pt x="217" y="29"/>
                  <a:pt x="217" y="29"/>
                  <a:pt x="217" y="29"/>
                </a:cubicBezTo>
                <a:cubicBezTo>
                  <a:pt x="218" y="30"/>
                  <a:pt x="218" y="30"/>
                  <a:pt x="218" y="30"/>
                </a:cubicBezTo>
                <a:cubicBezTo>
                  <a:pt x="219" y="31"/>
                  <a:pt x="219" y="31"/>
                  <a:pt x="219" y="31"/>
                </a:cubicBezTo>
                <a:cubicBezTo>
                  <a:pt x="220" y="32"/>
                  <a:pt x="220" y="32"/>
                  <a:pt x="220" y="32"/>
                </a:cubicBezTo>
                <a:cubicBezTo>
                  <a:pt x="221" y="32"/>
                  <a:pt x="221" y="32"/>
                  <a:pt x="221" y="32"/>
                </a:cubicBezTo>
                <a:cubicBezTo>
                  <a:pt x="222" y="34"/>
                  <a:pt x="222" y="34"/>
                  <a:pt x="222" y="34"/>
                </a:cubicBezTo>
                <a:cubicBezTo>
                  <a:pt x="224" y="34"/>
                  <a:pt x="224" y="34"/>
                  <a:pt x="224" y="34"/>
                </a:cubicBezTo>
                <a:cubicBezTo>
                  <a:pt x="226" y="34"/>
                  <a:pt x="226" y="34"/>
                  <a:pt x="226" y="34"/>
                </a:cubicBezTo>
                <a:cubicBezTo>
                  <a:pt x="227" y="34"/>
                  <a:pt x="227" y="34"/>
                  <a:pt x="227" y="34"/>
                </a:cubicBezTo>
                <a:cubicBezTo>
                  <a:pt x="226" y="35"/>
                  <a:pt x="226" y="35"/>
                  <a:pt x="226" y="35"/>
                </a:cubicBezTo>
                <a:cubicBezTo>
                  <a:pt x="225" y="35"/>
                  <a:pt x="225" y="35"/>
                  <a:pt x="225" y="35"/>
                </a:cubicBezTo>
                <a:cubicBezTo>
                  <a:pt x="223" y="35"/>
                  <a:pt x="223" y="35"/>
                  <a:pt x="223" y="35"/>
                </a:cubicBezTo>
                <a:close/>
                <a:moveTo>
                  <a:pt x="266" y="39"/>
                </a:moveTo>
                <a:cubicBezTo>
                  <a:pt x="266" y="40"/>
                  <a:pt x="266" y="40"/>
                  <a:pt x="266" y="40"/>
                </a:cubicBezTo>
                <a:cubicBezTo>
                  <a:pt x="264" y="42"/>
                  <a:pt x="264" y="42"/>
                  <a:pt x="264" y="42"/>
                </a:cubicBezTo>
                <a:cubicBezTo>
                  <a:pt x="262" y="43"/>
                  <a:pt x="262" y="43"/>
                  <a:pt x="262" y="43"/>
                </a:cubicBezTo>
                <a:cubicBezTo>
                  <a:pt x="261" y="44"/>
                  <a:pt x="261" y="44"/>
                  <a:pt x="261" y="44"/>
                </a:cubicBezTo>
                <a:cubicBezTo>
                  <a:pt x="260" y="45"/>
                  <a:pt x="260" y="45"/>
                  <a:pt x="260" y="45"/>
                </a:cubicBezTo>
                <a:cubicBezTo>
                  <a:pt x="258" y="45"/>
                  <a:pt x="258" y="45"/>
                  <a:pt x="258" y="45"/>
                </a:cubicBezTo>
                <a:cubicBezTo>
                  <a:pt x="257" y="44"/>
                  <a:pt x="257" y="44"/>
                  <a:pt x="257" y="44"/>
                </a:cubicBezTo>
                <a:cubicBezTo>
                  <a:pt x="256" y="43"/>
                  <a:pt x="256" y="43"/>
                  <a:pt x="256" y="43"/>
                </a:cubicBezTo>
                <a:cubicBezTo>
                  <a:pt x="255" y="43"/>
                  <a:pt x="255" y="43"/>
                  <a:pt x="255" y="43"/>
                </a:cubicBezTo>
                <a:cubicBezTo>
                  <a:pt x="254" y="43"/>
                  <a:pt x="254" y="43"/>
                  <a:pt x="254" y="43"/>
                </a:cubicBezTo>
                <a:cubicBezTo>
                  <a:pt x="253" y="43"/>
                  <a:pt x="253" y="43"/>
                  <a:pt x="253" y="43"/>
                </a:cubicBezTo>
                <a:cubicBezTo>
                  <a:pt x="250" y="43"/>
                  <a:pt x="250" y="43"/>
                  <a:pt x="250" y="43"/>
                </a:cubicBezTo>
                <a:cubicBezTo>
                  <a:pt x="248" y="42"/>
                  <a:pt x="248" y="42"/>
                  <a:pt x="248" y="42"/>
                </a:cubicBezTo>
                <a:cubicBezTo>
                  <a:pt x="248" y="42"/>
                  <a:pt x="248" y="42"/>
                  <a:pt x="248" y="42"/>
                </a:cubicBezTo>
                <a:cubicBezTo>
                  <a:pt x="246" y="42"/>
                  <a:pt x="246" y="42"/>
                  <a:pt x="246" y="42"/>
                </a:cubicBezTo>
                <a:cubicBezTo>
                  <a:pt x="244" y="43"/>
                  <a:pt x="244" y="43"/>
                  <a:pt x="244" y="43"/>
                </a:cubicBezTo>
                <a:cubicBezTo>
                  <a:pt x="243" y="43"/>
                  <a:pt x="243" y="43"/>
                  <a:pt x="243" y="43"/>
                </a:cubicBezTo>
                <a:cubicBezTo>
                  <a:pt x="242" y="42"/>
                  <a:pt x="242" y="42"/>
                  <a:pt x="242" y="42"/>
                </a:cubicBezTo>
                <a:cubicBezTo>
                  <a:pt x="240" y="42"/>
                  <a:pt x="240" y="42"/>
                  <a:pt x="240" y="42"/>
                </a:cubicBezTo>
                <a:cubicBezTo>
                  <a:pt x="240" y="41"/>
                  <a:pt x="240" y="41"/>
                  <a:pt x="240" y="41"/>
                </a:cubicBezTo>
                <a:cubicBezTo>
                  <a:pt x="239" y="38"/>
                  <a:pt x="239" y="38"/>
                  <a:pt x="239" y="38"/>
                </a:cubicBezTo>
                <a:cubicBezTo>
                  <a:pt x="238" y="37"/>
                  <a:pt x="238" y="37"/>
                  <a:pt x="238" y="37"/>
                </a:cubicBezTo>
                <a:cubicBezTo>
                  <a:pt x="237" y="37"/>
                  <a:pt x="237" y="37"/>
                  <a:pt x="237" y="37"/>
                </a:cubicBezTo>
                <a:cubicBezTo>
                  <a:pt x="236" y="38"/>
                  <a:pt x="236" y="38"/>
                  <a:pt x="236" y="38"/>
                </a:cubicBezTo>
                <a:cubicBezTo>
                  <a:pt x="235" y="37"/>
                  <a:pt x="235" y="37"/>
                  <a:pt x="235" y="37"/>
                </a:cubicBezTo>
                <a:cubicBezTo>
                  <a:pt x="234" y="36"/>
                  <a:pt x="234" y="36"/>
                  <a:pt x="234" y="36"/>
                </a:cubicBezTo>
                <a:cubicBezTo>
                  <a:pt x="233" y="37"/>
                  <a:pt x="233" y="37"/>
                  <a:pt x="233" y="37"/>
                </a:cubicBezTo>
                <a:cubicBezTo>
                  <a:pt x="234" y="38"/>
                  <a:pt x="234" y="38"/>
                  <a:pt x="234" y="38"/>
                </a:cubicBezTo>
                <a:cubicBezTo>
                  <a:pt x="233" y="38"/>
                  <a:pt x="233" y="38"/>
                  <a:pt x="233" y="38"/>
                </a:cubicBezTo>
                <a:cubicBezTo>
                  <a:pt x="233" y="38"/>
                  <a:pt x="233" y="38"/>
                  <a:pt x="233" y="38"/>
                </a:cubicBezTo>
                <a:cubicBezTo>
                  <a:pt x="231" y="37"/>
                  <a:pt x="231" y="37"/>
                  <a:pt x="231" y="37"/>
                </a:cubicBezTo>
                <a:cubicBezTo>
                  <a:pt x="232" y="36"/>
                  <a:pt x="232" y="36"/>
                  <a:pt x="232" y="36"/>
                </a:cubicBezTo>
                <a:cubicBezTo>
                  <a:pt x="233" y="35"/>
                  <a:pt x="233" y="35"/>
                  <a:pt x="233" y="35"/>
                </a:cubicBezTo>
                <a:cubicBezTo>
                  <a:pt x="233" y="34"/>
                  <a:pt x="233" y="34"/>
                  <a:pt x="233" y="34"/>
                </a:cubicBezTo>
                <a:cubicBezTo>
                  <a:pt x="233" y="32"/>
                  <a:pt x="233" y="32"/>
                  <a:pt x="233" y="32"/>
                </a:cubicBezTo>
                <a:cubicBezTo>
                  <a:pt x="233" y="31"/>
                  <a:pt x="233" y="31"/>
                  <a:pt x="233" y="31"/>
                </a:cubicBezTo>
                <a:cubicBezTo>
                  <a:pt x="235" y="30"/>
                  <a:pt x="235" y="30"/>
                  <a:pt x="235" y="30"/>
                </a:cubicBezTo>
                <a:cubicBezTo>
                  <a:pt x="234" y="29"/>
                  <a:pt x="234" y="29"/>
                  <a:pt x="234" y="29"/>
                </a:cubicBezTo>
                <a:cubicBezTo>
                  <a:pt x="233" y="29"/>
                  <a:pt x="233" y="29"/>
                  <a:pt x="233" y="29"/>
                </a:cubicBezTo>
                <a:cubicBezTo>
                  <a:pt x="232" y="28"/>
                  <a:pt x="232" y="28"/>
                  <a:pt x="232" y="28"/>
                </a:cubicBezTo>
                <a:cubicBezTo>
                  <a:pt x="232" y="27"/>
                  <a:pt x="232" y="27"/>
                  <a:pt x="232" y="27"/>
                </a:cubicBezTo>
                <a:cubicBezTo>
                  <a:pt x="232" y="25"/>
                  <a:pt x="232" y="25"/>
                  <a:pt x="232" y="25"/>
                </a:cubicBezTo>
                <a:cubicBezTo>
                  <a:pt x="234" y="24"/>
                  <a:pt x="234" y="24"/>
                  <a:pt x="234" y="24"/>
                </a:cubicBezTo>
                <a:cubicBezTo>
                  <a:pt x="235" y="24"/>
                  <a:pt x="235" y="24"/>
                  <a:pt x="235" y="24"/>
                </a:cubicBezTo>
                <a:cubicBezTo>
                  <a:pt x="235" y="23"/>
                  <a:pt x="235" y="23"/>
                  <a:pt x="235" y="23"/>
                </a:cubicBezTo>
                <a:cubicBezTo>
                  <a:pt x="236" y="22"/>
                  <a:pt x="236" y="22"/>
                  <a:pt x="236" y="22"/>
                </a:cubicBezTo>
                <a:cubicBezTo>
                  <a:pt x="237" y="22"/>
                  <a:pt x="237" y="22"/>
                  <a:pt x="237" y="22"/>
                </a:cubicBezTo>
                <a:cubicBezTo>
                  <a:pt x="240" y="20"/>
                  <a:pt x="240" y="20"/>
                  <a:pt x="240" y="20"/>
                </a:cubicBezTo>
                <a:cubicBezTo>
                  <a:pt x="240" y="19"/>
                  <a:pt x="240" y="19"/>
                  <a:pt x="240" y="19"/>
                </a:cubicBezTo>
                <a:cubicBezTo>
                  <a:pt x="241" y="18"/>
                  <a:pt x="241" y="18"/>
                  <a:pt x="241" y="18"/>
                </a:cubicBezTo>
                <a:cubicBezTo>
                  <a:pt x="243" y="19"/>
                  <a:pt x="243" y="19"/>
                  <a:pt x="243" y="19"/>
                </a:cubicBezTo>
                <a:cubicBezTo>
                  <a:pt x="245" y="20"/>
                  <a:pt x="245" y="20"/>
                  <a:pt x="245" y="20"/>
                </a:cubicBezTo>
                <a:cubicBezTo>
                  <a:pt x="247" y="23"/>
                  <a:pt x="247" y="23"/>
                  <a:pt x="247" y="23"/>
                </a:cubicBezTo>
                <a:cubicBezTo>
                  <a:pt x="247" y="24"/>
                  <a:pt x="247" y="24"/>
                  <a:pt x="247" y="24"/>
                </a:cubicBezTo>
                <a:cubicBezTo>
                  <a:pt x="247" y="26"/>
                  <a:pt x="247" y="26"/>
                  <a:pt x="247" y="26"/>
                </a:cubicBezTo>
                <a:cubicBezTo>
                  <a:pt x="247" y="26"/>
                  <a:pt x="247" y="26"/>
                  <a:pt x="247" y="26"/>
                </a:cubicBezTo>
                <a:cubicBezTo>
                  <a:pt x="247" y="28"/>
                  <a:pt x="247" y="28"/>
                  <a:pt x="247" y="28"/>
                </a:cubicBezTo>
                <a:cubicBezTo>
                  <a:pt x="246" y="29"/>
                  <a:pt x="246" y="29"/>
                  <a:pt x="246" y="29"/>
                </a:cubicBezTo>
                <a:cubicBezTo>
                  <a:pt x="246" y="29"/>
                  <a:pt x="246" y="29"/>
                  <a:pt x="246" y="29"/>
                </a:cubicBezTo>
                <a:cubicBezTo>
                  <a:pt x="247" y="29"/>
                  <a:pt x="247" y="29"/>
                  <a:pt x="247" y="29"/>
                </a:cubicBezTo>
                <a:cubicBezTo>
                  <a:pt x="248" y="27"/>
                  <a:pt x="248" y="27"/>
                  <a:pt x="248" y="27"/>
                </a:cubicBezTo>
                <a:cubicBezTo>
                  <a:pt x="248" y="26"/>
                  <a:pt x="248" y="26"/>
                  <a:pt x="248" y="26"/>
                </a:cubicBezTo>
                <a:cubicBezTo>
                  <a:pt x="248" y="25"/>
                  <a:pt x="248" y="25"/>
                  <a:pt x="248" y="25"/>
                </a:cubicBezTo>
                <a:cubicBezTo>
                  <a:pt x="249" y="24"/>
                  <a:pt x="249" y="24"/>
                  <a:pt x="249" y="24"/>
                </a:cubicBezTo>
                <a:cubicBezTo>
                  <a:pt x="248" y="23"/>
                  <a:pt x="248" y="23"/>
                  <a:pt x="248" y="23"/>
                </a:cubicBezTo>
                <a:cubicBezTo>
                  <a:pt x="247" y="21"/>
                  <a:pt x="247" y="21"/>
                  <a:pt x="247" y="21"/>
                </a:cubicBezTo>
                <a:cubicBezTo>
                  <a:pt x="247" y="20"/>
                  <a:pt x="247" y="20"/>
                  <a:pt x="247" y="20"/>
                </a:cubicBezTo>
                <a:cubicBezTo>
                  <a:pt x="247" y="19"/>
                  <a:pt x="247" y="19"/>
                  <a:pt x="247" y="19"/>
                </a:cubicBezTo>
                <a:cubicBezTo>
                  <a:pt x="249" y="19"/>
                  <a:pt x="249" y="19"/>
                  <a:pt x="249" y="19"/>
                </a:cubicBezTo>
                <a:cubicBezTo>
                  <a:pt x="251" y="19"/>
                  <a:pt x="251" y="19"/>
                  <a:pt x="251" y="19"/>
                </a:cubicBezTo>
                <a:cubicBezTo>
                  <a:pt x="255" y="23"/>
                  <a:pt x="255" y="23"/>
                  <a:pt x="255" y="23"/>
                </a:cubicBezTo>
                <a:cubicBezTo>
                  <a:pt x="256" y="23"/>
                  <a:pt x="256" y="23"/>
                  <a:pt x="256" y="23"/>
                </a:cubicBezTo>
                <a:cubicBezTo>
                  <a:pt x="257" y="23"/>
                  <a:pt x="257" y="23"/>
                  <a:pt x="257" y="23"/>
                </a:cubicBezTo>
                <a:cubicBezTo>
                  <a:pt x="257" y="25"/>
                  <a:pt x="257" y="25"/>
                  <a:pt x="257" y="25"/>
                </a:cubicBezTo>
                <a:cubicBezTo>
                  <a:pt x="258" y="25"/>
                  <a:pt x="258" y="25"/>
                  <a:pt x="258" y="25"/>
                </a:cubicBezTo>
                <a:cubicBezTo>
                  <a:pt x="258" y="27"/>
                  <a:pt x="258" y="27"/>
                  <a:pt x="258" y="27"/>
                </a:cubicBezTo>
                <a:cubicBezTo>
                  <a:pt x="258" y="29"/>
                  <a:pt x="258" y="29"/>
                  <a:pt x="258" y="29"/>
                </a:cubicBezTo>
                <a:cubicBezTo>
                  <a:pt x="260" y="31"/>
                  <a:pt x="260" y="31"/>
                  <a:pt x="260" y="31"/>
                </a:cubicBezTo>
                <a:cubicBezTo>
                  <a:pt x="261" y="32"/>
                  <a:pt x="261" y="32"/>
                  <a:pt x="261" y="32"/>
                </a:cubicBezTo>
                <a:cubicBezTo>
                  <a:pt x="261" y="33"/>
                  <a:pt x="261" y="33"/>
                  <a:pt x="261" y="33"/>
                </a:cubicBezTo>
                <a:cubicBezTo>
                  <a:pt x="260" y="33"/>
                  <a:pt x="260" y="33"/>
                  <a:pt x="260" y="33"/>
                </a:cubicBezTo>
                <a:cubicBezTo>
                  <a:pt x="259" y="33"/>
                  <a:pt x="259" y="33"/>
                  <a:pt x="259" y="33"/>
                </a:cubicBezTo>
                <a:cubicBezTo>
                  <a:pt x="258" y="33"/>
                  <a:pt x="258" y="33"/>
                  <a:pt x="258" y="33"/>
                </a:cubicBezTo>
                <a:cubicBezTo>
                  <a:pt x="259" y="34"/>
                  <a:pt x="259" y="34"/>
                  <a:pt x="259" y="34"/>
                </a:cubicBezTo>
                <a:cubicBezTo>
                  <a:pt x="260" y="35"/>
                  <a:pt x="260" y="35"/>
                  <a:pt x="260" y="35"/>
                </a:cubicBezTo>
                <a:cubicBezTo>
                  <a:pt x="262" y="35"/>
                  <a:pt x="262" y="35"/>
                  <a:pt x="262" y="35"/>
                </a:cubicBezTo>
                <a:cubicBezTo>
                  <a:pt x="263" y="37"/>
                  <a:pt x="263" y="37"/>
                  <a:pt x="263" y="37"/>
                </a:cubicBezTo>
                <a:cubicBezTo>
                  <a:pt x="264" y="37"/>
                  <a:pt x="264" y="37"/>
                  <a:pt x="264" y="37"/>
                </a:cubicBezTo>
                <a:cubicBezTo>
                  <a:pt x="266" y="39"/>
                  <a:pt x="266" y="39"/>
                  <a:pt x="266" y="39"/>
                </a:cubicBezTo>
                <a:close/>
                <a:moveTo>
                  <a:pt x="495" y="4"/>
                </a:moveTo>
                <a:cubicBezTo>
                  <a:pt x="496" y="2"/>
                  <a:pt x="496" y="2"/>
                  <a:pt x="496" y="2"/>
                </a:cubicBezTo>
                <a:cubicBezTo>
                  <a:pt x="498" y="0"/>
                  <a:pt x="498" y="0"/>
                  <a:pt x="498" y="0"/>
                </a:cubicBezTo>
                <a:cubicBezTo>
                  <a:pt x="498" y="0"/>
                  <a:pt x="498" y="0"/>
                  <a:pt x="498" y="0"/>
                </a:cubicBezTo>
                <a:cubicBezTo>
                  <a:pt x="498" y="1"/>
                  <a:pt x="498" y="1"/>
                  <a:pt x="498" y="1"/>
                </a:cubicBezTo>
                <a:cubicBezTo>
                  <a:pt x="498" y="2"/>
                  <a:pt x="498" y="2"/>
                  <a:pt x="498" y="2"/>
                </a:cubicBezTo>
                <a:cubicBezTo>
                  <a:pt x="497" y="2"/>
                  <a:pt x="497" y="2"/>
                  <a:pt x="497" y="2"/>
                </a:cubicBezTo>
                <a:cubicBezTo>
                  <a:pt x="497" y="3"/>
                  <a:pt x="497" y="3"/>
                  <a:pt x="497" y="3"/>
                </a:cubicBezTo>
                <a:cubicBezTo>
                  <a:pt x="495" y="4"/>
                  <a:pt x="495" y="4"/>
                  <a:pt x="495" y="4"/>
                </a:cubicBezTo>
                <a:close/>
                <a:moveTo>
                  <a:pt x="509" y="25"/>
                </a:moveTo>
                <a:cubicBezTo>
                  <a:pt x="509" y="28"/>
                  <a:pt x="509" y="28"/>
                  <a:pt x="509" y="28"/>
                </a:cubicBezTo>
                <a:cubicBezTo>
                  <a:pt x="511" y="31"/>
                  <a:pt x="511" y="31"/>
                  <a:pt x="511" y="31"/>
                </a:cubicBezTo>
                <a:cubicBezTo>
                  <a:pt x="512" y="32"/>
                  <a:pt x="512" y="32"/>
                  <a:pt x="512" y="32"/>
                </a:cubicBezTo>
                <a:cubicBezTo>
                  <a:pt x="516" y="33"/>
                  <a:pt x="516" y="33"/>
                  <a:pt x="516" y="33"/>
                </a:cubicBezTo>
                <a:cubicBezTo>
                  <a:pt x="520" y="34"/>
                  <a:pt x="520" y="34"/>
                  <a:pt x="520" y="34"/>
                </a:cubicBezTo>
                <a:cubicBezTo>
                  <a:pt x="522" y="35"/>
                  <a:pt x="522" y="35"/>
                  <a:pt x="522" y="35"/>
                </a:cubicBezTo>
                <a:cubicBezTo>
                  <a:pt x="524" y="35"/>
                  <a:pt x="524" y="35"/>
                  <a:pt x="524" y="35"/>
                </a:cubicBezTo>
                <a:cubicBezTo>
                  <a:pt x="526" y="34"/>
                  <a:pt x="526" y="34"/>
                  <a:pt x="526" y="34"/>
                </a:cubicBezTo>
                <a:cubicBezTo>
                  <a:pt x="527" y="35"/>
                  <a:pt x="527" y="35"/>
                  <a:pt x="527" y="35"/>
                </a:cubicBezTo>
                <a:cubicBezTo>
                  <a:pt x="529" y="34"/>
                  <a:pt x="529" y="34"/>
                  <a:pt x="529" y="34"/>
                </a:cubicBezTo>
                <a:cubicBezTo>
                  <a:pt x="531" y="33"/>
                  <a:pt x="531" y="33"/>
                  <a:pt x="531" y="33"/>
                </a:cubicBezTo>
                <a:cubicBezTo>
                  <a:pt x="532" y="31"/>
                  <a:pt x="532" y="31"/>
                  <a:pt x="532" y="31"/>
                </a:cubicBezTo>
                <a:cubicBezTo>
                  <a:pt x="532" y="30"/>
                  <a:pt x="532" y="30"/>
                  <a:pt x="532" y="30"/>
                </a:cubicBezTo>
                <a:cubicBezTo>
                  <a:pt x="532" y="28"/>
                  <a:pt x="532" y="28"/>
                  <a:pt x="532" y="28"/>
                </a:cubicBezTo>
                <a:cubicBezTo>
                  <a:pt x="531" y="28"/>
                  <a:pt x="531" y="28"/>
                  <a:pt x="531" y="28"/>
                </a:cubicBezTo>
                <a:cubicBezTo>
                  <a:pt x="530" y="28"/>
                  <a:pt x="530" y="28"/>
                  <a:pt x="530" y="28"/>
                </a:cubicBezTo>
                <a:cubicBezTo>
                  <a:pt x="530" y="27"/>
                  <a:pt x="530" y="27"/>
                  <a:pt x="530" y="27"/>
                </a:cubicBezTo>
                <a:cubicBezTo>
                  <a:pt x="530" y="26"/>
                  <a:pt x="530" y="26"/>
                  <a:pt x="530" y="26"/>
                </a:cubicBezTo>
                <a:cubicBezTo>
                  <a:pt x="529" y="25"/>
                  <a:pt x="529" y="25"/>
                  <a:pt x="529" y="25"/>
                </a:cubicBezTo>
                <a:cubicBezTo>
                  <a:pt x="528" y="26"/>
                  <a:pt x="528" y="26"/>
                  <a:pt x="528" y="26"/>
                </a:cubicBezTo>
                <a:cubicBezTo>
                  <a:pt x="526" y="25"/>
                  <a:pt x="526" y="25"/>
                  <a:pt x="526" y="25"/>
                </a:cubicBezTo>
                <a:cubicBezTo>
                  <a:pt x="523" y="26"/>
                  <a:pt x="523" y="26"/>
                  <a:pt x="523" y="26"/>
                </a:cubicBezTo>
                <a:cubicBezTo>
                  <a:pt x="521" y="27"/>
                  <a:pt x="521" y="27"/>
                  <a:pt x="521" y="27"/>
                </a:cubicBezTo>
                <a:cubicBezTo>
                  <a:pt x="520" y="28"/>
                  <a:pt x="520" y="28"/>
                  <a:pt x="520" y="28"/>
                </a:cubicBezTo>
                <a:cubicBezTo>
                  <a:pt x="520" y="27"/>
                  <a:pt x="520" y="27"/>
                  <a:pt x="520" y="27"/>
                </a:cubicBezTo>
                <a:cubicBezTo>
                  <a:pt x="519" y="26"/>
                  <a:pt x="519" y="26"/>
                  <a:pt x="519" y="26"/>
                </a:cubicBezTo>
                <a:cubicBezTo>
                  <a:pt x="518" y="26"/>
                  <a:pt x="518" y="26"/>
                  <a:pt x="518" y="26"/>
                </a:cubicBezTo>
                <a:cubicBezTo>
                  <a:pt x="517" y="26"/>
                  <a:pt x="517" y="26"/>
                  <a:pt x="517" y="26"/>
                </a:cubicBezTo>
                <a:cubicBezTo>
                  <a:pt x="515" y="26"/>
                  <a:pt x="515" y="26"/>
                  <a:pt x="515" y="26"/>
                </a:cubicBezTo>
                <a:cubicBezTo>
                  <a:pt x="514" y="26"/>
                  <a:pt x="514" y="26"/>
                  <a:pt x="514" y="26"/>
                </a:cubicBezTo>
                <a:cubicBezTo>
                  <a:pt x="514" y="27"/>
                  <a:pt x="514" y="27"/>
                  <a:pt x="514" y="27"/>
                </a:cubicBezTo>
                <a:cubicBezTo>
                  <a:pt x="513" y="28"/>
                  <a:pt x="513" y="28"/>
                  <a:pt x="513" y="28"/>
                </a:cubicBezTo>
                <a:cubicBezTo>
                  <a:pt x="511" y="27"/>
                  <a:pt x="511" y="27"/>
                  <a:pt x="511" y="27"/>
                </a:cubicBezTo>
                <a:cubicBezTo>
                  <a:pt x="510" y="27"/>
                  <a:pt x="510" y="27"/>
                  <a:pt x="510" y="27"/>
                </a:cubicBezTo>
                <a:cubicBezTo>
                  <a:pt x="510" y="26"/>
                  <a:pt x="510" y="26"/>
                  <a:pt x="510" y="26"/>
                </a:cubicBezTo>
                <a:cubicBezTo>
                  <a:pt x="509" y="25"/>
                  <a:pt x="509" y="25"/>
                  <a:pt x="509" y="25"/>
                </a:cubicBezTo>
                <a:close/>
                <a:moveTo>
                  <a:pt x="460" y="47"/>
                </a:moveTo>
                <a:cubicBezTo>
                  <a:pt x="459" y="44"/>
                  <a:pt x="459" y="44"/>
                  <a:pt x="459" y="44"/>
                </a:cubicBezTo>
                <a:cubicBezTo>
                  <a:pt x="459" y="42"/>
                  <a:pt x="459" y="42"/>
                  <a:pt x="459" y="42"/>
                </a:cubicBezTo>
                <a:cubicBezTo>
                  <a:pt x="458" y="42"/>
                  <a:pt x="458" y="42"/>
                  <a:pt x="458" y="42"/>
                </a:cubicBezTo>
                <a:cubicBezTo>
                  <a:pt x="455" y="41"/>
                  <a:pt x="455" y="41"/>
                  <a:pt x="455" y="41"/>
                </a:cubicBezTo>
                <a:cubicBezTo>
                  <a:pt x="454" y="40"/>
                  <a:pt x="454" y="40"/>
                  <a:pt x="454" y="40"/>
                </a:cubicBezTo>
                <a:cubicBezTo>
                  <a:pt x="453" y="39"/>
                  <a:pt x="453" y="39"/>
                  <a:pt x="453" y="39"/>
                </a:cubicBezTo>
                <a:cubicBezTo>
                  <a:pt x="453" y="39"/>
                  <a:pt x="453" y="39"/>
                  <a:pt x="453" y="39"/>
                </a:cubicBezTo>
                <a:cubicBezTo>
                  <a:pt x="453" y="40"/>
                  <a:pt x="453" y="40"/>
                  <a:pt x="453" y="40"/>
                </a:cubicBezTo>
                <a:cubicBezTo>
                  <a:pt x="454" y="42"/>
                  <a:pt x="454" y="42"/>
                  <a:pt x="454" y="42"/>
                </a:cubicBezTo>
                <a:cubicBezTo>
                  <a:pt x="456" y="43"/>
                  <a:pt x="456" y="43"/>
                  <a:pt x="456" y="43"/>
                </a:cubicBezTo>
                <a:cubicBezTo>
                  <a:pt x="458" y="46"/>
                  <a:pt x="458" y="46"/>
                  <a:pt x="458" y="46"/>
                </a:cubicBezTo>
                <a:cubicBezTo>
                  <a:pt x="458" y="48"/>
                  <a:pt x="458" y="48"/>
                  <a:pt x="458" y="48"/>
                </a:cubicBezTo>
                <a:cubicBezTo>
                  <a:pt x="460" y="49"/>
                  <a:pt x="460" y="49"/>
                  <a:pt x="460" y="49"/>
                </a:cubicBezTo>
                <a:cubicBezTo>
                  <a:pt x="460" y="48"/>
                  <a:pt x="460" y="48"/>
                  <a:pt x="460" y="48"/>
                </a:cubicBezTo>
                <a:cubicBezTo>
                  <a:pt x="460" y="47"/>
                  <a:pt x="460" y="47"/>
                  <a:pt x="460" y="47"/>
                </a:cubicBezTo>
                <a:close/>
                <a:moveTo>
                  <a:pt x="485" y="50"/>
                </a:moveTo>
                <a:cubicBezTo>
                  <a:pt x="484" y="50"/>
                  <a:pt x="484" y="50"/>
                  <a:pt x="484" y="50"/>
                </a:cubicBezTo>
                <a:cubicBezTo>
                  <a:pt x="483" y="49"/>
                  <a:pt x="483" y="49"/>
                  <a:pt x="483" y="49"/>
                </a:cubicBezTo>
                <a:cubicBezTo>
                  <a:pt x="483" y="48"/>
                  <a:pt x="483" y="48"/>
                  <a:pt x="483" y="48"/>
                </a:cubicBezTo>
                <a:cubicBezTo>
                  <a:pt x="483" y="48"/>
                  <a:pt x="483" y="48"/>
                  <a:pt x="483" y="48"/>
                </a:cubicBezTo>
                <a:cubicBezTo>
                  <a:pt x="484" y="48"/>
                  <a:pt x="484" y="48"/>
                  <a:pt x="484" y="48"/>
                </a:cubicBezTo>
                <a:cubicBezTo>
                  <a:pt x="485" y="49"/>
                  <a:pt x="485" y="49"/>
                  <a:pt x="485" y="49"/>
                </a:cubicBezTo>
                <a:cubicBezTo>
                  <a:pt x="486" y="49"/>
                  <a:pt x="486" y="49"/>
                  <a:pt x="486" y="49"/>
                </a:cubicBezTo>
                <a:cubicBezTo>
                  <a:pt x="486" y="50"/>
                  <a:pt x="486" y="50"/>
                  <a:pt x="486" y="50"/>
                </a:cubicBezTo>
                <a:cubicBezTo>
                  <a:pt x="486" y="51"/>
                  <a:pt x="486" y="51"/>
                  <a:pt x="486" y="51"/>
                </a:cubicBezTo>
                <a:cubicBezTo>
                  <a:pt x="487" y="51"/>
                  <a:pt x="487" y="51"/>
                  <a:pt x="487" y="51"/>
                </a:cubicBezTo>
                <a:cubicBezTo>
                  <a:pt x="488" y="49"/>
                  <a:pt x="488" y="49"/>
                  <a:pt x="488" y="49"/>
                </a:cubicBezTo>
                <a:cubicBezTo>
                  <a:pt x="490" y="47"/>
                  <a:pt x="490" y="47"/>
                  <a:pt x="490" y="47"/>
                </a:cubicBezTo>
                <a:cubicBezTo>
                  <a:pt x="492" y="45"/>
                  <a:pt x="492" y="45"/>
                  <a:pt x="492" y="45"/>
                </a:cubicBezTo>
                <a:cubicBezTo>
                  <a:pt x="493" y="44"/>
                  <a:pt x="493" y="44"/>
                  <a:pt x="493" y="44"/>
                </a:cubicBezTo>
                <a:cubicBezTo>
                  <a:pt x="494" y="43"/>
                  <a:pt x="494" y="43"/>
                  <a:pt x="494" y="43"/>
                </a:cubicBezTo>
                <a:cubicBezTo>
                  <a:pt x="495" y="44"/>
                  <a:pt x="495" y="44"/>
                  <a:pt x="495" y="44"/>
                </a:cubicBezTo>
                <a:cubicBezTo>
                  <a:pt x="494" y="45"/>
                  <a:pt x="494" y="45"/>
                  <a:pt x="494" y="45"/>
                </a:cubicBezTo>
                <a:cubicBezTo>
                  <a:pt x="496" y="45"/>
                  <a:pt x="496" y="45"/>
                  <a:pt x="496" y="45"/>
                </a:cubicBezTo>
                <a:cubicBezTo>
                  <a:pt x="497" y="45"/>
                  <a:pt x="497" y="45"/>
                  <a:pt x="497" y="45"/>
                </a:cubicBezTo>
                <a:cubicBezTo>
                  <a:pt x="498" y="45"/>
                  <a:pt x="498" y="45"/>
                  <a:pt x="498" y="45"/>
                </a:cubicBezTo>
                <a:cubicBezTo>
                  <a:pt x="498" y="44"/>
                  <a:pt x="498" y="44"/>
                  <a:pt x="498" y="44"/>
                </a:cubicBezTo>
                <a:cubicBezTo>
                  <a:pt x="499" y="43"/>
                  <a:pt x="499" y="43"/>
                  <a:pt x="499" y="43"/>
                </a:cubicBezTo>
                <a:cubicBezTo>
                  <a:pt x="500" y="42"/>
                  <a:pt x="500" y="42"/>
                  <a:pt x="500" y="42"/>
                </a:cubicBezTo>
                <a:cubicBezTo>
                  <a:pt x="500" y="41"/>
                  <a:pt x="500" y="41"/>
                  <a:pt x="500" y="41"/>
                </a:cubicBezTo>
                <a:cubicBezTo>
                  <a:pt x="498" y="41"/>
                  <a:pt x="498" y="41"/>
                  <a:pt x="498" y="41"/>
                </a:cubicBezTo>
                <a:cubicBezTo>
                  <a:pt x="496" y="42"/>
                  <a:pt x="496" y="42"/>
                  <a:pt x="496" y="42"/>
                </a:cubicBezTo>
                <a:cubicBezTo>
                  <a:pt x="495" y="41"/>
                  <a:pt x="495" y="41"/>
                  <a:pt x="495" y="41"/>
                </a:cubicBezTo>
                <a:cubicBezTo>
                  <a:pt x="493" y="41"/>
                  <a:pt x="493" y="41"/>
                  <a:pt x="493" y="41"/>
                </a:cubicBezTo>
                <a:cubicBezTo>
                  <a:pt x="492" y="40"/>
                  <a:pt x="492" y="40"/>
                  <a:pt x="492" y="40"/>
                </a:cubicBezTo>
                <a:cubicBezTo>
                  <a:pt x="490" y="40"/>
                  <a:pt x="490" y="40"/>
                  <a:pt x="490" y="40"/>
                </a:cubicBezTo>
                <a:cubicBezTo>
                  <a:pt x="490" y="39"/>
                  <a:pt x="490" y="39"/>
                  <a:pt x="490" y="39"/>
                </a:cubicBezTo>
                <a:cubicBezTo>
                  <a:pt x="488" y="37"/>
                  <a:pt x="488" y="37"/>
                  <a:pt x="488" y="37"/>
                </a:cubicBezTo>
                <a:cubicBezTo>
                  <a:pt x="487" y="36"/>
                  <a:pt x="487" y="36"/>
                  <a:pt x="487" y="36"/>
                </a:cubicBezTo>
                <a:cubicBezTo>
                  <a:pt x="487" y="34"/>
                  <a:pt x="487" y="34"/>
                  <a:pt x="487" y="34"/>
                </a:cubicBezTo>
                <a:cubicBezTo>
                  <a:pt x="486" y="33"/>
                  <a:pt x="486" y="33"/>
                  <a:pt x="486" y="33"/>
                </a:cubicBezTo>
                <a:cubicBezTo>
                  <a:pt x="485" y="32"/>
                  <a:pt x="485" y="32"/>
                  <a:pt x="485" y="32"/>
                </a:cubicBezTo>
                <a:cubicBezTo>
                  <a:pt x="485" y="31"/>
                  <a:pt x="485" y="31"/>
                  <a:pt x="485" y="31"/>
                </a:cubicBezTo>
                <a:cubicBezTo>
                  <a:pt x="484" y="30"/>
                  <a:pt x="484" y="30"/>
                  <a:pt x="484" y="30"/>
                </a:cubicBezTo>
                <a:cubicBezTo>
                  <a:pt x="484" y="30"/>
                  <a:pt x="484" y="30"/>
                  <a:pt x="484" y="30"/>
                </a:cubicBezTo>
                <a:cubicBezTo>
                  <a:pt x="485" y="29"/>
                  <a:pt x="485" y="29"/>
                  <a:pt x="485" y="29"/>
                </a:cubicBezTo>
                <a:cubicBezTo>
                  <a:pt x="484" y="28"/>
                  <a:pt x="484" y="28"/>
                  <a:pt x="484" y="28"/>
                </a:cubicBezTo>
                <a:cubicBezTo>
                  <a:pt x="485" y="28"/>
                  <a:pt x="485" y="28"/>
                  <a:pt x="485" y="28"/>
                </a:cubicBezTo>
                <a:cubicBezTo>
                  <a:pt x="485" y="28"/>
                  <a:pt x="485" y="28"/>
                  <a:pt x="485" y="28"/>
                </a:cubicBezTo>
                <a:cubicBezTo>
                  <a:pt x="485" y="27"/>
                  <a:pt x="485" y="27"/>
                  <a:pt x="485" y="27"/>
                </a:cubicBezTo>
                <a:cubicBezTo>
                  <a:pt x="484" y="26"/>
                  <a:pt x="484" y="26"/>
                  <a:pt x="484" y="26"/>
                </a:cubicBezTo>
                <a:cubicBezTo>
                  <a:pt x="483" y="26"/>
                  <a:pt x="483" y="26"/>
                  <a:pt x="483" y="26"/>
                </a:cubicBezTo>
                <a:cubicBezTo>
                  <a:pt x="481" y="26"/>
                  <a:pt x="481" y="26"/>
                  <a:pt x="481" y="26"/>
                </a:cubicBezTo>
                <a:cubicBezTo>
                  <a:pt x="479" y="25"/>
                  <a:pt x="479" y="25"/>
                  <a:pt x="479" y="25"/>
                </a:cubicBezTo>
                <a:cubicBezTo>
                  <a:pt x="478" y="24"/>
                  <a:pt x="478" y="24"/>
                  <a:pt x="478" y="24"/>
                </a:cubicBezTo>
                <a:cubicBezTo>
                  <a:pt x="477" y="24"/>
                  <a:pt x="477" y="24"/>
                  <a:pt x="477" y="24"/>
                </a:cubicBezTo>
                <a:cubicBezTo>
                  <a:pt x="476" y="24"/>
                  <a:pt x="476" y="24"/>
                  <a:pt x="476" y="24"/>
                </a:cubicBezTo>
                <a:cubicBezTo>
                  <a:pt x="475" y="24"/>
                  <a:pt x="475" y="24"/>
                  <a:pt x="475" y="24"/>
                </a:cubicBezTo>
                <a:cubicBezTo>
                  <a:pt x="477" y="26"/>
                  <a:pt x="477" y="26"/>
                  <a:pt x="477" y="26"/>
                </a:cubicBezTo>
                <a:cubicBezTo>
                  <a:pt x="478" y="26"/>
                  <a:pt x="478" y="26"/>
                  <a:pt x="478" y="26"/>
                </a:cubicBezTo>
                <a:cubicBezTo>
                  <a:pt x="479" y="27"/>
                  <a:pt x="479" y="27"/>
                  <a:pt x="479" y="27"/>
                </a:cubicBezTo>
                <a:cubicBezTo>
                  <a:pt x="477" y="27"/>
                  <a:pt x="477" y="27"/>
                  <a:pt x="477" y="27"/>
                </a:cubicBezTo>
                <a:cubicBezTo>
                  <a:pt x="477" y="27"/>
                  <a:pt x="477" y="27"/>
                  <a:pt x="477" y="27"/>
                </a:cubicBezTo>
                <a:cubicBezTo>
                  <a:pt x="476" y="27"/>
                  <a:pt x="476" y="27"/>
                  <a:pt x="476" y="27"/>
                </a:cubicBezTo>
                <a:cubicBezTo>
                  <a:pt x="475" y="27"/>
                  <a:pt x="475" y="27"/>
                  <a:pt x="475" y="27"/>
                </a:cubicBezTo>
                <a:cubicBezTo>
                  <a:pt x="475" y="29"/>
                  <a:pt x="475" y="29"/>
                  <a:pt x="475" y="29"/>
                </a:cubicBezTo>
                <a:cubicBezTo>
                  <a:pt x="476" y="30"/>
                  <a:pt x="476" y="30"/>
                  <a:pt x="476" y="30"/>
                </a:cubicBezTo>
                <a:cubicBezTo>
                  <a:pt x="477" y="32"/>
                  <a:pt x="477" y="32"/>
                  <a:pt x="477" y="32"/>
                </a:cubicBezTo>
                <a:cubicBezTo>
                  <a:pt x="478" y="34"/>
                  <a:pt x="478" y="34"/>
                  <a:pt x="478" y="34"/>
                </a:cubicBezTo>
                <a:cubicBezTo>
                  <a:pt x="479" y="35"/>
                  <a:pt x="479" y="35"/>
                  <a:pt x="479" y="35"/>
                </a:cubicBezTo>
                <a:cubicBezTo>
                  <a:pt x="478" y="35"/>
                  <a:pt x="478" y="35"/>
                  <a:pt x="478" y="35"/>
                </a:cubicBezTo>
                <a:cubicBezTo>
                  <a:pt x="477" y="35"/>
                  <a:pt x="477" y="35"/>
                  <a:pt x="477" y="35"/>
                </a:cubicBezTo>
                <a:cubicBezTo>
                  <a:pt x="475" y="34"/>
                  <a:pt x="475" y="34"/>
                  <a:pt x="475" y="34"/>
                </a:cubicBezTo>
                <a:cubicBezTo>
                  <a:pt x="475" y="32"/>
                  <a:pt x="475" y="32"/>
                  <a:pt x="475" y="32"/>
                </a:cubicBezTo>
                <a:cubicBezTo>
                  <a:pt x="474" y="32"/>
                  <a:pt x="474" y="32"/>
                  <a:pt x="474" y="32"/>
                </a:cubicBezTo>
                <a:cubicBezTo>
                  <a:pt x="473" y="32"/>
                  <a:pt x="473" y="32"/>
                  <a:pt x="473" y="32"/>
                </a:cubicBezTo>
                <a:cubicBezTo>
                  <a:pt x="472" y="32"/>
                  <a:pt x="472" y="32"/>
                  <a:pt x="472" y="32"/>
                </a:cubicBezTo>
                <a:cubicBezTo>
                  <a:pt x="471" y="32"/>
                  <a:pt x="471" y="32"/>
                  <a:pt x="471" y="32"/>
                </a:cubicBezTo>
                <a:cubicBezTo>
                  <a:pt x="470" y="32"/>
                  <a:pt x="470" y="32"/>
                  <a:pt x="470" y="32"/>
                </a:cubicBezTo>
                <a:cubicBezTo>
                  <a:pt x="470" y="30"/>
                  <a:pt x="470" y="30"/>
                  <a:pt x="470" y="30"/>
                </a:cubicBezTo>
                <a:cubicBezTo>
                  <a:pt x="470" y="29"/>
                  <a:pt x="470" y="29"/>
                  <a:pt x="470" y="29"/>
                </a:cubicBezTo>
                <a:cubicBezTo>
                  <a:pt x="469" y="29"/>
                  <a:pt x="469" y="29"/>
                  <a:pt x="469" y="29"/>
                </a:cubicBezTo>
                <a:cubicBezTo>
                  <a:pt x="467" y="28"/>
                  <a:pt x="467" y="28"/>
                  <a:pt x="467" y="28"/>
                </a:cubicBezTo>
                <a:cubicBezTo>
                  <a:pt x="465" y="28"/>
                  <a:pt x="465" y="28"/>
                  <a:pt x="465" y="28"/>
                </a:cubicBezTo>
                <a:cubicBezTo>
                  <a:pt x="465" y="27"/>
                  <a:pt x="465" y="27"/>
                  <a:pt x="465" y="27"/>
                </a:cubicBezTo>
                <a:cubicBezTo>
                  <a:pt x="464" y="26"/>
                  <a:pt x="464" y="26"/>
                  <a:pt x="464" y="26"/>
                </a:cubicBezTo>
                <a:cubicBezTo>
                  <a:pt x="463" y="27"/>
                  <a:pt x="463" y="27"/>
                  <a:pt x="463" y="27"/>
                </a:cubicBezTo>
                <a:cubicBezTo>
                  <a:pt x="462" y="28"/>
                  <a:pt x="462" y="28"/>
                  <a:pt x="462" y="28"/>
                </a:cubicBezTo>
                <a:cubicBezTo>
                  <a:pt x="462" y="29"/>
                  <a:pt x="462" y="29"/>
                  <a:pt x="462" y="29"/>
                </a:cubicBezTo>
                <a:cubicBezTo>
                  <a:pt x="461" y="30"/>
                  <a:pt x="461" y="30"/>
                  <a:pt x="461" y="30"/>
                </a:cubicBezTo>
                <a:cubicBezTo>
                  <a:pt x="462" y="31"/>
                  <a:pt x="462" y="31"/>
                  <a:pt x="462" y="31"/>
                </a:cubicBezTo>
                <a:cubicBezTo>
                  <a:pt x="461" y="33"/>
                  <a:pt x="461" y="33"/>
                  <a:pt x="461" y="33"/>
                </a:cubicBezTo>
                <a:cubicBezTo>
                  <a:pt x="460" y="34"/>
                  <a:pt x="460" y="34"/>
                  <a:pt x="460" y="34"/>
                </a:cubicBezTo>
                <a:cubicBezTo>
                  <a:pt x="460" y="35"/>
                  <a:pt x="460" y="35"/>
                  <a:pt x="460" y="35"/>
                </a:cubicBezTo>
                <a:cubicBezTo>
                  <a:pt x="461" y="37"/>
                  <a:pt x="461" y="37"/>
                  <a:pt x="461" y="37"/>
                </a:cubicBezTo>
                <a:cubicBezTo>
                  <a:pt x="462" y="37"/>
                  <a:pt x="462" y="37"/>
                  <a:pt x="462" y="37"/>
                </a:cubicBezTo>
                <a:cubicBezTo>
                  <a:pt x="463" y="38"/>
                  <a:pt x="463" y="38"/>
                  <a:pt x="463" y="38"/>
                </a:cubicBezTo>
                <a:cubicBezTo>
                  <a:pt x="462" y="38"/>
                  <a:pt x="462" y="38"/>
                  <a:pt x="462" y="38"/>
                </a:cubicBezTo>
                <a:cubicBezTo>
                  <a:pt x="461" y="38"/>
                  <a:pt x="461" y="38"/>
                  <a:pt x="461" y="38"/>
                </a:cubicBezTo>
                <a:cubicBezTo>
                  <a:pt x="462" y="40"/>
                  <a:pt x="462" y="40"/>
                  <a:pt x="462" y="40"/>
                </a:cubicBezTo>
                <a:cubicBezTo>
                  <a:pt x="463" y="40"/>
                  <a:pt x="463" y="40"/>
                  <a:pt x="463" y="40"/>
                </a:cubicBezTo>
                <a:cubicBezTo>
                  <a:pt x="463" y="41"/>
                  <a:pt x="463" y="41"/>
                  <a:pt x="463" y="41"/>
                </a:cubicBezTo>
                <a:cubicBezTo>
                  <a:pt x="463" y="42"/>
                  <a:pt x="463" y="42"/>
                  <a:pt x="463" y="42"/>
                </a:cubicBezTo>
                <a:cubicBezTo>
                  <a:pt x="464" y="43"/>
                  <a:pt x="464" y="43"/>
                  <a:pt x="464" y="43"/>
                </a:cubicBezTo>
                <a:cubicBezTo>
                  <a:pt x="465" y="43"/>
                  <a:pt x="465" y="43"/>
                  <a:pt x="465" y="43"/>
                </a:cubicBezTo>
                <a:cubicBezTo>
                  <a:pt x="466" y="44"/>
                  <a:pt x="466" y="44"/>
                  <a:pt x="466" y="44"/>
                </a:cubicBezTo>
                <a:cubicBezTo>
                  <a:pt x="466" y="44"/>
                  <a:pt x="466" y="44"/>
                  <a:pt x="466" y="44"/>
                </a:cubicBezTo>
                <a:cubicBezTo>
                  <a:pt x="466" y="45"/>
                  <a:pt x="466" y="45"/>
                  <a:pt x="466" y="45"/>
                </a:cubicBezTo>
                <a:cubicBezTo>
                  <a:pt x="467" y="45"/>
                  <a:pt x="467" y="45"/>
                  <a:pt x="467" y="45"/>
                </a:cubicBezTo>
                <a:cubicBezTo>
                  <a:pt x="468" y="45"/>
                  <a:pt x="468" y="45"/>
                  <a:pt x="468" y="45"/>
                </a:cubicBezTo>
                <a:cubicBezTo>
                  <a:pt x="468" y="45"/>
                  <a:pt x="468" y="45"/>
                  <a:pt x="468" y="45"/>
                </a:cubicBezTo>
                <a:cubicBezTo>
                  <a:pt x="467" y="46"/>
                  <a:pt x="467" y="46"/>
                  <a:pt x="467" y="46"/>
                </a:cubicBezTo>
                <a:cubicBezTo>
                  <a:pt x="467" y="46"/>
                  <a:pt x="467" y="46"/>
                  <a:pt x="467" y="46"/>
                </a:cubicBezTo>
                <a:cubicBezTo>
                  <a:pt x="466" y="46"/>
                  <a:pt x="466" y="46"/>
                  <a:pt x="466" y="46"/>
                </a:cubicBezTo>
                <a:cubicBezTo>
                  <a:pt x="466" y="46"/>
                  <a:pt x="466" y="46"/>
                  <a:pt x="466" y="46"/>
                </a:cubicBezTo>
                <a:cubicBezTo>
                  <a:pt x="466" y="48"/>
                  <a:pt x="466" y="48"/>
                  <a:pt x="466" y="48"/>
                </a:cubicBezTo>
                <a:cubicBezTo>
                  <a:pt x="470" y="50"/>
                  <a:pt x="470" y="50"/>
                  <a:pt x="470" y="50"/>
                </a:cubicBezTo>
                <a:cubicBezTo>
                  <a:pt x="472" y="51"/>
                  <a:pt x="472" y="51"/>
                  <a:pt x="472" y="51"/>
                </a:cubicBezTo>
                <a:cubicBezTo>
                  <a:pt x="474" y="51"/>
                  <a:pt x="474" y="51"/>
                  <a:pt x="474" y="51"/>
                </a:cubicBezTo>
                <a:cubicBezTo>
                  <a:pt x="475" y="52"/>
                  <a:pt x="475" y="52"/>
                  <a:pt x="475" y="52"/>
                </a:cubicBezTo>
                <a:cubicBezTo>
                  <a:pt x="476" y="52"/>
                  <a:pt x="476" y="52"/>
                  <a:pt x="476" y="52"/>
                </a:cubicBezTo>
                <a:cubicBezTo>
                  <a:pt x="476" y="54"/>
                  <a:pt x="476" y="54"/>
                  <a:pt x="476" y="54"/>
                </a:cubicBezTo>
                <a:cubicBezTo>
                  <a:pt x="477" y="55"/>
                  <a:pt x="477" y="55"/>
                  <a:pt x="477" y="55"/>
                </a:cubicBezTo>
                <a:cubicBezTo>
                  <a:pt x="479" y="55"/>
                  <a:pt x="479" y="55"/>
                  <a:pt x="479" y="55"/>
                </a:cubicBezTo>
                <a:cubicBezTo>
                  <a:pt x="481" y="54"/>
                  <a:pt x="481" y="54"/>
                  <a:pt x="481" y="54"/>
                </a:cubicBezTo>
                <a:cubicBezTo>
                  <a:pt x="483" y="54"/>
                  <a:pt x="483" y="54"/>
                  <a:pt x="483" y="54"/>
                </a:cubicBezTo>
                <a:cubicBezTo>
                  <a:pt x="484" y="55"/>
                  <a:pt x="484" y="55"/>
                  <a:pt x="484" y="55"/>
                </a:cubicBezTo>
                <a:cubicBezTo>
                  <a:pt x="485" y="55"/>
                  <a:pt x="485" y="55"/>
                  <a:pt x="485" y="55"/>
                </a:cubicBezTo>
                <a:cubicBezTo>
                  <a:pt x="486" y="53"/>
                  <a:pt x="486" y="53"/>
                  <a:pt x="486" y="53"/>
                </a:cubicBezTo>
                <a:cubicBezTo>
                  <a:pt x="486" y="52"/>
                  <a:pt x="486" y="52"/>
                  <a:pt x="486" y="52"/>
                </a:cubicBezTo>
                <a:cubicBezTo>
                  <a:pt x="485" y="51"/>
                  <a:pt x="485" y="51"/>
                  <a:pt x="485" y="51"/>
                </a:cubicBezTo>
                <a:cubicBezTo>
                  <a:pt x="485" y="50"/>
                  <a:pt x="485" y="50"/>
                  <a:pt x="485" y="50"/>
                </a:cubicBezTo>
                <a:close/>
                <a:moveTo>
                  <a:pt x="485" y="25"/>
                </a:moveTo>
                <a:cubicBezTo>
                  <a:pt x="487" y="25"/>
                  <a:pt x="487" y="25"/>
                  <a:pt x="487" y="25"/>
                </a:cubicBezTo>
                <a:cubicBezTo>
                  <a:pt x="489" y="25"/>
                  <a:pt x="489" y="25"/>
                  <a:pt x="489" y="25"/>
                </a:cubicBezTo>
                <a:cubicBezTo>
                  <a:pt x="491" y="25"/>
                  <a:pt x="491" y="25"/>
                  <a:pt x="491" y="25"/>
                </a:cubicBezTo>
                <a:cubicBezTo>
                  <a:pt x="494" y="27"/>
                  <a:pt x="494" y="27"/>
                  <a:pt x="494" y="27"/>
                </a:cubicBezTo>
                <a:cubicBezTo>
                  <a:pt x="495" y="27"/>
                  <a:pt x="495" y="27"/>
                  <a:pt x="495" y="27"/>
                </a:cubicBezTo>
                <a:cubicBezTo>
                  <a:pt x="496" y="27"/>
                  <a:pt x="496" y="27"/>
                  <a:pt x="496" y="27"/>
                </a:cubicBezTo>
                <a:cubicBezTo>
                  <a:pt x="499" y="27"/>
                  <a:pt x="499" y="27"/>
                  <a:pt x="499" y="27"/>
                </a:cubicBezTo>
                <a:cubicBezTo>
                  <a:pt x="502" y="28"/>
                  <a:pt x="502" y="28"/>
                  <a:pt x="502" y="28"/>
                </a:cubicBezTo>
                <a:cubicBezTo>
                  <a:pt x="502" y="29"/>
                  <a:pt x="502" y="29"/>
                  <a:pt x="502" y="29"/>
                </a:cubicBezTo>
                <a:cubicBezTo>
                  <a:pt x="501" y="29"/>
                  <a:pt x="501" y="29"/>
                  <a:pt x="501" y="29"/>
                </a:cubicBezTo>
                <a:cubicBezTo>
                  <a:pt x="500" y="30"/>
                  <a:pt x="500" y="30"/>
                  <a:pt x="500" y="30"/>
                </a:cubicBezTo>
                <a:cubicBezTo>
                  <a:pt x="500" y="31"/>
                  <a:pt x="500" y="31"/>
                  <a:pt x="500" y="31"/>
                </a:cubicBezTo>
                <a:cubicBezTo>
                  <a:pt x="501" y="33"/>
                  <a:pt x="501" y="33"/>
                  <a:pt x="501" y="33"/>
                </a:cubicBezTo>
                <a:cubicBezTo>
                  <a:pt x="503" y="33"/>
                  <a:pt x="503" y="33"/>
                  <a:pt x="503" y="33"/>
                </a:cubicBezTo>
                <a:cubicBezTo>
                  <a:pt x="503" y="35"/>
                  <a:pt x="503" y="35"/>
                  <a:pt x="503" y="35"/>
                </a:cubicBezTo>
                <a:cubicBezTo>
                  <a:pt x="503" y="36"/>
                  <a:pt x="503" y="36"/>
                  <a:pt x="503" y="36"/>
                </a:cubicBezTo>
                <a:cubicBezTo>
                  <a:pt x="503" y="37"/>
                  <a:pt x="503" y="37"/>
                  <a:pt x="503" y="37"/>
                </a:cubicBezTo>
                <a:cubicBezTo>
                  <a:pt x="502" y="39"/>
                  <a:pt x="502" y="39"/>
                  <a:pt x="502" y="39"/>
                </a:cubicBezTo>
                <a:cubicBezTo>
                  <a:pt x="501" y="40"/>
                  <a:pt x="501" y="40"/>
                  <a:pt x="501" y="40"/>
                </a:cubicBezTo>
                <a:cubicBezTo>
                  <a:pt x="501" y="40"/>
                  <a:pt x="501" y="40"/>
                  <a:pt x="501" y="40"/>
                </a:cubicBezTo>
                <a:cubicBezTo>
                  <a:pt x="500" y="39"/>
                  <a:pt x="500" y="39"/>
                  <a:pt x="500" y="39"/>
                </a:cubicBezTo>
                <a:cubicBezTo>
                  <a:pt x="499" y="40"/>
                  <a:pt x="499" y="40"/>
                  <a:pt x="499" y="40"/>
                </a:cubicBezTo>
                <a:cubicBezTo>
                  <a:pt x="498" y="41"/>
                  <a:pt x="498" y="41"/>
                  <a:pt x="498" y="41"/>
                </a:cubicBezTo>
                <a:cubicBezTo>
                  <a:pt x="496" y="41"/>
                  <a:pt x="496" y="41"/>
                  <a:pt x="496" y="41"/>
                </a:cubicBezTo>
                <a:cubicBezTo>
                  <a:pt x="493" y="39"/>
                  <a:pt x="493" y="39"/>
                  <a:pt x="493" y="39"/>
                </a:cubicBezTo>
                <a:cubicBezTo>
                  <a:pt x="492" y="38"/>
                  <a:pt x="492" y="38"/>
                  <a:pt x="492" y="38"/>
                </a:cubicBezTo>
                <a:cubicBezTo>
                  <a:pt x="489" y="36"/>
                  <a:pt x="489" y="36"/>
                  <a:pt x="489" y="36"/>
                </a:cubicBezTo>
                <a:cubicBezTo>
                  <a:pt x="489" y="34"/>
                  <a:pt x="489" y="34"/>
                  <a:pt x="489" y="34"/>
                </a:cubicBezTo>
                <a:cubicBezTo>
                  <a:pt x="489" y="33"/>
                  <a:pt x="489" y="33"/>
                  <a:pt x="489" y="33"/>
                </a:cubicBezTo>
                <a:cubicBezTo>
                  <a:pt x="489" y="32"/>
                  <a:pt x="489" y="32"/>
                  <a:pt x="489" y="32"/>
                </a:cubicBezTo>
                <a:cubicBezTo>
                  <a:pt x="490" y="31"/>
                  <a:pt x="490" y="31"/>
                  <a:pt x="490" y="31"/>
                </a:cubicBezTo>
                <a:cubicBezTo>
                  <a:pt x="489" y="30"/>
                  <a:pt x="489" y="30"/>
                  <a:pt x="489" y="30"/>
                </a:cubicBezTo>
                <a:cubicBezTo>
                  <a:pt x="488" y="29"/>
                  <a:pt x="488" y="29"/>
                  <a:pt x="488" y="29"/>
                </a:cubicBezTo>
                <a:cubicBezTo>
                  <a:pt x="488" y="28"/>
                  <a:pt x="488" y="28"/>
                  <a:pt x="488" y="28"/>
                </a:cubicBezTo>
                <a:cubicBezTo>
                  <a:pt x="487" y="28"/>
                  <a:pt x="487" y="28"/>
                  <a:pt x="487" y="28"/>
                </a:cubicBezTo>
                <a:cubicBezTo>
                  <a:pt x="486" y="27"/>
                  <a:pt x="486" y="27"/>
                  <a:pt x="486" y="27"/>
                </a:cubicBezTo>
                <a:cubicBezTo>
                  <a:pt x="485" y="25"/>
                  <a:pt x="485" y="25"/>
                  <a:pt x="485" y="25"/>
                </a:cubicBezTo>
                <a:close/>
                <a:moveTo>
                  <a:pt x="277" y="58"/>
                </a:moveTo>
                <a:cubicBezTo>
                  <a:pt x="276" y="58"/>
                  <a:pt x="278" y="57"/>
                  <a:pt x="278" y="57"/>
                </a:cubicBezTo>
                <a:cubicBezTo>
                  <a:pt x="279" y="56"/>
                  <a:pt x="279" y="56"/>
                  <a:pt x="279" y="56"/>
                </a:cubicBezTo>
                <a:cubicBezTo>
                  <a:pt x="280" y="54"/>
                  <a:pt x="280" y="54"/>
                  <a:pt x="280" y="54"/>
                </a:cubicBezTo>
                <a:cubicBezTo>
                  <a:pt x="281" y="53"/>
                  <a:pt x="281" y="53"/>
                  <a:pt x="281" y="53"/>
                </a:cubicBezTo>
                <a:cubicBezTo>
                  <a:pt x="281" y="52"/>
                  <a:pt x="281" y="52"/>
                  <a:pt x="281" y="52"/>
                </a:cubicBezTo>
                <a:cubicBezTo>
                  <a:pt x="281" y="51"/>
                  <a:pt x="281" y="51"/>
                  <a:pt x="281" y="51"/>
                </a:cubicBezTo>
                <a:cubicBezTo>
                  <a:pt x="284" y="50"/>
                  <a:pt x="284" y="50"/>
                  <a:pt x="284" y="50"/>
                </a:cubicBezTo>
                <a:cubicBezTo>
                  <a:pt x="285" y="49"/>
                  <a:pt x="285" y="49"/>
                  <a:pt x="285" y="49"/>
                </a:cubicBezTo>
                <a:cubicBezTo>
                  <a:pt x="286" y="50"/>
                  <a:pt x="286" y="50"/>
                  <a:pt x="286" y="50"/>
                </a:cubicBezTo>
                <a:cubicBezTo>
                  <a:pt x="287" y="50"/>
                  <a:pt x="287" y="50"/>
                  <a:pt x="287" y="50"/>
                </a:cubicBezTo>
                <a:cubicBezTo>
                  <a:pt x="287" y="49"/>
                  <a:pt x="287" y="49"/>
                  <a:pt x="287" y="49"/>
                </a:cubicBezTo>
                <a:cubicBezTo>
                  <a:pt x="288" y="48"/>
                  <a:pt x="288" y="48"/>
                  <a:pt x="288" y="48"/>
                </a:cubicBezTo>
                <a:cubicBezTo>
                  <a:pt x="289" y="47"/>
                  <a:pt x="289" y="47"/>
                  <a:pt x="289" y="47"/>
                </a:cubicBezTo>
                <a:cubicBezTo>
                  <a:pt x="291" y="46"/>
                  <a:pt x="291" y="46"/>
                  <a:pt x="291" y="46"/>
                </a:cubicBezTo>
                <a:cubicBezTo>
                  <a:pt x="292" y="45"/>
                  <a:pt x="292" y="45"/>
                  <a:pt x="292" y="45"/>
                </a:cubicBezTo>
                <a:cubicBezTo>
                  <a:pt x="293" y="44"/>
                  <a:pt x="293" y="44"/>
                  <a:pt x="293" y="44"/>
                </a:cubicBezTo>
                <a:cubicBezTo>
                  <a:pt x="294" y="42"/>
                  <a:pt x="294" y="42"/>
                  <a:pt x="294" y="42"/>
                </a:cubicBezTo>
                <a:cubicBezTo>
                  <a:pt x="293" y="40"/>
                  <a:pt x="293" y="40"/>
                  <a:pt x="293" y="40"/>
                </a:cubicBezTo>
                <a:cubicBezTo>
                  <a:pt x="292" y="38"/>
                  <a:pt x="292" y="38"/>
                  <a:pt x="292" y="38"/>
                </a:cubicBezTo>
                <a:cubicBezTo>
                  <a:pt x="291" y="37"/>
                  <a:pt x="291" y="37"/>
                  <a:pt x="291" y="37"/>
                </a:cubicBezTo>
                <a:cubicBezTo>
                  <a:pt x="291" y="36"/>
                  <a:pt x="291" y="36"/>
                  <a:pt x="291" y="36"/>
                </a:cubicBezTo>
                <a:cubicBezTo>
                  <a:pt x="289" y="34"/>
                  <a:pt x="289" y="34"/>
                  <a:pt x="289" y="34"/>
                </a:cubicBezTo>
                <a:cubicBezTo>
                  <a:pt x="288" y="34"/>
                  <a:pt x="288" y="34"/>
                  <a:pt x="288" y="34"/>
                </a:cubicBezTo>
                <a:cubicBezTo>
                  <a:pt x="287" y="35"/>
                  <a:pt x="287" y="35"/>
                  <a:pt x="287" y="35"/>
                </a:cubicBezTo>
                <a:cubicBezTo>
                  <a:pt x="286" y="34"/>
                  <a:pt x="286" y="34"/>
                  <a:pt x="286" y="34"/>
                </a:cubicBezTo>
                <a:cubicBezTo>
                  <a:pt x="285" y="33"/>
                  <a:pt x="285" y="33"/>
                  <a:pt x="285" y="33"/>
                </a:cubicBezTo>
                <a:cubicBezTo>
                  <a:pt x="283" y="32"/>
                  <a:pt x="283" y="32"/>
                  <a:pt x="283" y="32"/>
                </a:cubicBezTo>
                <a:cubicBezTo>
                  <a:pt x="282" y="32"/>
                  <a:pt x="282" y="32"/>
                  <a:pt x="282" y="32"/>
                </a:cubicBezTo>
                <a:cubicBezTo>
                  <a:pt x="282" y="32"/>
                  <a:pt x="282" y="32"/>
                  <a:pt x="282" y="32"/>
                </a:cubicBezTo>
                <a:cubicBezTo>
                  <a:pt x="281" y="32"/>
                  <a:pt x="281" y="32"/>
                  <a:pt x="281" y="32"/>
                </a:cubicBezTo>
                <a:cubicBezTo>
                  <a:pt x="281" y="31"/>
                  <a:pt x="281" y="31"/>
                  <a:pt x="281" y="31"/>
                </a:cubicBezTo>
                <a:cubicBezTo>
                  <a:pt x="280" y="30"/>
                  <a:pt x="280" y="30"/>
                  <a:pt x="280" y="30"/>
                </a:cubicBezTo>
                <a:cubicBezTo>
                  <a:pt x="279" y="30"/>
                  <a:pt x="279" y="30"/>
                  <a:pt x="279" y="30"/>
                </a:cubicBezTo>
                <a:cubicBezTo>
                  <a:pt x="279" y="31"/>
                  <a:pt x="279" y="31"/>
                  <a:pt x="279" y="31"/>
                </a:cubicBezTo>
                <a:cubicBezTo>
                  <a:pt x="278" y="31"/>
                  <a:pt x="278" y="31"/>
                  <a:pt x="278" y="31"/>
                </a:cubicBezTo>
                <a:cubicBezTo>
                  <a:pt x="277" y="29"/>
                  <a:pt x="277" y="29"/>
                  <a:pt x="277" y="29"/>
                </a:cubicBezTo>
                <a:cubicBezTo>
                  <a:pt x="276" y="29"/>
                  <a:pt x="276" y="29"/>
                  <a:pt x="276" y="29"/>
                </a:cubicBezTo>
                <a:cubicBezTo>
                  <a:pt x="276" y="30"/>
                  <a:pt x="276" y="30"/>
                  <a:pt x="276" y="30"/>
                </a:cubicBezTo>
                <a:cubicBezTo>
                  <a:pt x="277" y="31"/>
                  <a:pt x="277" y="31"/>
                  <a:pt x="277" y="31"/>
                </a:cubicBezTo>
                <a:cubicBezTo>
                  <a:pt x="277" y="31"/>
                  <a:pt x="277" y="31"/>
                  <a:pt x="277" y="31"/>
                </a:cubicBezTo>
                <a:cubicBezTo>
                  <a:pt x="276" y="32"/>
                  <a:pt x="276" y="32"/>
                  <a:pt x="276" y="32"/>
                </a:cubicBezTo>
                <a:cubicBezTo>
                  <a:pt x="276" y="33"/>
                  <a:pt x="276" y="33"/>
                  <a:pt x="276" y="33"/>
                </a:cubicBezTo>
                <a:cubicBezTo>
                  <a:pt x="276" y="33"/>
                  <a:pt x="276" y="33"/>
                  <a:pt x="276" y="33"/>
                </a:cubicBezTo>
                <a:cubicBezTo>
                  <a:pt x="275" y="32"/>
                  <a:pt x="275" y="32"/>
                  <a:pt x="275" y="32"/>
                </a:cubicBezTo>
                <a:cubicBezTo>
                  <a:pt x="275" y="28"/>
                  <a:pt x="275" y="28"/>
                  <a:pt x="275" y="28"/>
                </a:cubicBezTo>
                <a:cubicBezTo>
                  <a:pt x="274" y="28"/>
                  <a:pt x="274" y="28"/>
                  <a:pt x="274" y="28"/>
                </a:cubicBezTo>
                <a:cubicBezTo>
                  <a:pt x="273" y="27"/>
                  <a:pt x="273" y="27"/>
                  <a:pt x="273" y="27"/>
                </a:cubicBezTo>
                <a:cubicBezTo>
                  <a:pt x="271" y="27"/>
                  <a:pt x="271" y="27"/>
                  <a:pt x="271" y="27"/>
                </a:cubicBezTo>
                <a:cubicBezTo>
                  <a:pt x="270" y="27"/>
                  <a:pt x="270" y="27"/>
                  <a:pt x="270" y="27"/>
                </a:cubicBezTo>
                <a:cubicBezTo>
                  <a:pt x="269" y="28"/>
                  <a:pt x="269" y="28"/>
                  <a:pt x="269" y="28"/>
                </a:cubicBezTo>
                <a:cubicBezTo>
                  <a:pt x="270" y="29"/>
                  <a:pt x="270" y="29"/>
                  <a:pt x="270" y="29"/>
                </a:cubicBezTo>
                <a:cubicBezTo>
                  <a:pt x="271" y="30"/>
                  <a:pt x="271" y="30"/>
                  <a:pt x="271" y="30"/>
                </a:cubicBezTo>
                <a:cubicBezTo>
                  <a:pt x="272" y="31"/>
                  <a:pt x="272" y="31"/>
                  <a:pt x="272" y="31"/>
                </a:cubicBezTo>
                <a:cubicBezTo>
                  <a:pt x="271" y="31"/>
                  <a:pt x="271" y="31"/>
                  <a:pt x="271" y="31"/>
                </a:cubicBezTo>
                <a:cubicBezTo>
                  <a:pt x="270" y="31"/>
                  <a:pt x="270" y="31"/>
                  <a:pt x="270" y="31"/>
                </a:cubicBezTo>
                <a:cubicBezTo>
                  <a:pt x="270" y="30"/>
                  <a:pt x="270" y="30"/>
                  <a:pt x="270" y="30"/>
                </a:cubicBezTo>
                <a:cubicBezTo>
                  <a:pt x="269" y="30"/>
                  <a:pt x="269" y="30"/>
                  <a:pt x="269" y="30"/>
                </a:cubicBezTo>
                <a:cubicBezTo>
                  <a:pt x="268" y="30"/>
                  <a:pt x="268" y="30"/>
                  <a:pt x="268" y="30"/>
                </a:cubicBezTo>
                <a:cubicBezTo>
                  <a:pt x="269" y="31"/>
                  <a:pt x="269" y="31"/>
                  <a:pt x="269" y="31"/>
                </a:cubicBezTo>
                <a:cubicBezTo>
                  <a:pt x="269" y="32"/>
                  <a:pt x="269" y="32"/>
                  <a:pt x="269" y="32"/>
                </a:cubicBezTo>
                <a:cubicBezTo>
                  <a:pt x="269" y="32"/>
                  <a:pt x="269" y="32"/>
                  <a:pt x="269" y="32"/>
                </a:cubicBezTo>
                <a:cubicBezTo>
                  <a:pt x="269" y="34"/>
                  <a:pt x="269" y="34"/>
                  <a:pt x="269" y="34"/>
                </a:cubicBezTo>
                <a:cubicBezTo>
                  <a:pt x="269" y="34"/>
                  <a:pt x="269" y="34"/>
                  <a:pt x="269" y="34"/>
                </a:cubicBezTo>
                <a:cubicBezTo>
                  <a:pt x="270" y="34"/>
                  <a:pt x="270" y="34"/>
                  <a:pt x="270" y="34"/>
                </a:cubicBezTo>
                <a:cubicBezTo>
                  <a:pt x="271" y="35"/>
                  <a:pt x="271" y="35"/>
                  <a:pt x="271" y="35"/>
                </a:cubicBezTo>
                <a:cubicBezTo>
                  <a:pt x="271" y="36"/>
                  <a:pt x="271" y="36"/>
                  <a:pt x="271" y="36"/>
                </a:cubicBezTo>
                <a:cubicBezTo>
                  <a:pt x="272" y="39"/>
                  <a:pt x="272" y="39"/>
                  <a:pt x="272" y="39"/>
                </a:cubicBezTo>
                <a:cubicBezTo>
                  <a:pt x="273" y="40"/>
                  <a:pt x="273" y="40"/>
                  <a:pt x="273" y="40"/>
                </a:cubicBezTo>
                <a:cubicBezTo>
                  <a:pt x="274" y="40"/>
                  <a:pt x="274" y="40"/>
                  <a:pt x="274" y="40"/>
                </a:cubicBezTo>
                <a:cubicBezTo>
                  <a:pt x="273" y="41"/>
                  <a:pt x="273" y="41"/>
                  <a:pt x="273" y="41"/>
                </a:cubicBezTo>
                <a:cubicBezTo>
                  <a:pt x="272" y="41"/>
                  <a:pt x="272" y="41"/>
                  <a:pt x="272" y="41"/>
                </a:cubicBezTo>
                <a:cubicBezTo>
                  <a:pt x="271" y="43"/>
                  <a:pt x="271" y="43"/>
                  <a:pt x="271" y="43"/>
                </a:cubicBezTo>
                <a:cubicBezTo>
                  <a:pt x="273" y="46"/>
                  <a:pt x="273" y="46"/>
                  <a:pt x="273" y="46"/>
                </a:cubicBezTo>
                <a:cubicBezTo>
                  <a:pt x="273" y="47"/>
                  <a:pt x="273" y="47"/>
                  <a:pt x="273" y="47"/>
                </a:cubicBezTo>
                <a:cubicBezTo>
                  <a:pt x="273" y="49"/>
                  <a:pt x="273" y="49"/>
                  <a:pt x="273" y="49"/>
                </a:cubicBezTo>
                <a:cubicBezTo>
                  <a:pt x="274" y="49"/>
                  <a:pt x="274" y="49"/>
                  <a:pt x="274" y="49"/>
                </a:cubicBezTo>
                <a:cubicBezTo>
                  <a:pt x="274" y="50"/>
                  <a:pt x="274" y="50"/>
                  <a:pt x="274" y="50"/>
                </a:cubicBezTo>
                <a:cubicBezTo>
                  <a:pt x="273" y="51"/>
                  <a:pt x="273" y="51"/>
                  <a:pt x="273" y="51"/>
                </a:cubicBezTo>
                <a:cubicBezTo>
                  <a:pt x="274" y="53"/>
                  <a:pt x="274" y="53"/>
                  <a:pt x="274" y="53"/>
                </a:cubicBezTo>
                <a:cubicBezTo>
                  <a:pt x="275" y="55"/>
                  <a:pt x="275" y="55"/>
                  <a:pt x="275" y="55"/>
                </a:cubicBezTo>
                <a:cubicBezTo>
                  <a:pt x="276" y="56"/>
                  <a:pt x="276" y="56"/>
                  <a:pt x="276" y="56"/>
                </a:cubicBezTo>
                <a:cubicBezTo>
                  <a:pt x="276" y="57"/>
                  <a:pt x="276" y="57"/>
                  <a:pt x="276" y="57"/>
                </a:cubicBezTo>
                <a:cubicBezTo>
                  <a:pt x="277" y="58"/>
                  <a:pt x="277" y="58"/>
                  <a:pt x="277" y="58"/>
                </a:cubicBezTo>
                <a:close/>
                <a:moveTo>
                  <a:pt x="301" y="44"/>
                </a:moveTo>
                <a:cubicBezTo>
                  <a:pt x="302" y="43"/>
                  <a:pt x="302" y="43"/>
                  <a:pt x="302" y="43"/>
                </a:cubicBezTo>
                <a:cubicBezTo>
                  <a:pt x="302" y="42"/>
                  <a:pt x="302" y="42"/>
                  <a:pt x="302" y="42"/>
                </a:cubicBezTo>
                <a:cubicBezTo>
                  <a:pt x="301" y="42"/>
                  <a:pt x="301" y="42"/>
                  <a:pt x="301" y="42"/>
                </a:cubicBezTo>
                <a:cubicBezTo>
                  <a:pt x="302" y="41"/>
                  <a:pt x="302" y="41"/>
                  <a:pt x="302" y="41"/>
                </a:cubicBezTo>
                <a:cubicBezTo>
                  <a:pt x="303" y="41"/>
                  <a:pt x="303" y="41"/>
                  <a:pt x="303" y="41"/>
                </a:cubicBezTo>
                <a:cubicBezTo>
                  <a:pt x="302" y="41"/>
                  <a:pt x="302" y="41"/>
                  <a:pt x="302" y="41"/>
                </a:cubicBezTo>
                <a:cubicBezTo>
                  <a:pt x="301" y="41"/>
                  <a:pt x="301" y="41"/>
                  <a:pt x="301" y="41"/>
                </a:cubicBezTo>
                <a:cubicBezTo>
                  <a:pt x="300" y="42"/>
                  <a:pt x="300" y="42"/>
                  <a:pt x="300" y="42"/>
                </a:cubicBezTo>
                <a:cubicBezTo>
                  <a:pt x="301" y="43"/>
                  <a:pt x="301" y="43"/>
                  <a:pt x="301" y="43"/>
                </a:cubicBezTo>
                <a:cubicBezTo>
                  <a:pt x="300" y="43"/>
                  <a:pt x="300" y="43"/>
                  <a:pt x="300" y="43"/>
                </a:cubicBezTo>
                <a:cubicBezTo>
                  <a:pt x="300" y="44"/>
                  <a:pt x="300" y="44"/>
                  <a:pt x="300" y="44"/>
                </a:cubicBezTo>
                <a:cubicBezTo>
                  <a:pt x="300" y="44"/>
                  <a:pt x="300" y="44"/>
                  <a:pt x="300" y="44"/>
                </a:cubicBezTo>
                <a:cubicBezTo>
                  <a:pt x="301" y="44"/>
                  <a:pt x="301" y="44"/>
                  <a:pt x="301" y="44"/>
                </a:cubicBezTo>
                <a:close/>
                <a:moveTo>
                  <a:pt x="302" y="44"/>
                </a:moveTo>
                <a:cubicBezTo>
                  <a:pt x="303" y="43"/>
                  <a:pt x="303" y="43"/>
                  <a:pt x="303" y="43"/>
                </a:cubicBezTo>
                <a:cubicBezTo>
                  <a:pt x="305" y="43"/>
                  <a:pt x="305" y="43"/>
                  <a:pt x="305" y="43"/>
                </a:cubicBezTo>
                <a:cubicBezTo>
                  <a:pt x="305" y="42"/>
                  <a:pt x="305" y="42"/>
                  <a:pt x="305" y="42"/>
                </a:cubicBezTo>
                <a:cubicBezTo>
                  <a:pt x="306" y="42"/>
                  <a:pt x="306" y="42"/>
                  <a:pt x="306" y="42"/>
                </a:cubicBezTo>
                <a:cubicBezTo>
                  <a:pt x="307" y="42"/>
                  <a:pt x="307" y="42"/>
                  <a:pt x="307" y="42"/>
                </a:cubicBezTo>
                <a:cubicBezTo>
                  <a:pt x="308" y="42"/>
                  <a:pt x="308" y="42"/>
                  <a:pt x="308" y="42"/>
                </a:cubicBezTo>
                <a:cubicBezTo>
                  <a:pt x="308" y="44"/>
                  <a:pt x="308" y="44"/>
                  <a:pt x="308" y="44"/>
                </a:cubicBezTo>
                <a:cubicBezTo>
                  <a:pt x="308" y="45"/>
                  <a:pt x="308" y="45"/>
                  <a:pt x="308" y="45"/>
                </a:cubicBezTo>
                <a:cubicBezTo>
                  <a:pt x="307" y="44"/>
                  <a:pt x="307" y="44"/>
                  <a:pt x="307" y="44"/>
                </a:cubicBezTo>
                <a:cubicBezTo>
                  <a:pt x="306" y="45"/>
                  <a:pt x="306" y="45"/>
                  <a:pt x="306" y="45"/>
                </a:cubicBezTo>
                <a:cubicBezTo>
                  <a:pt x="304" y="45"/>
                  <a:pt x="304" y="45"/>
                  <a:pt x="304" y="45"/>
                </a:cubicBezTo>
                <a:cubicBezTo>
                  <a:pt x="303" y="45"/>
                  <a:pt x="303" y="45"/>
                  <a:pt x="303" y="45"/>
                </a:cubicBezTo>
                <a:cubicBezTo>
                  <a:pt x="302" y="44"/>
                  <a:pt x="302" y="44"/>
                  <a:pt x="302" y="44"/>
                </a:cubicBezTo>
                <a:close/>
                <a:moveTo>
                  <a:pt x="315" y="56"/>
                </a:moveTo>
                <a:cubicBezTo>
                  <a:pt x="315" y="57"/>
                  <a:pt x="315" y="57"/>
                  <a:pt x="315" y="57"/>
                </a:cubicBezTo>
                <a:cubicBezTo>
                  <a:pt x="316" y="58"/>
                  <a:pt x="316" y="58"/>
                  <a:pt x="316" y="58"/>
                </a:cubicBezTo>
                <a:cubicBezTo>
                  <a:pt x="316" y="59"/>
                  <a:pt x="316" y="59"/>
                  <a:pt x="316" y="59"/>
                </a:cubicBezTo>
                <a:cubicBezTo>
                  <a:pt x="316" y="60"/>
                  <a:pt x="316" y="60"/>
                  <a:pt x="316" y="60"/>
                </a:cubicBezTo>
                <a:cubicBezTo>
                  <a:pt x="317" y="59"/>
                  <a:pt x="317" y="59"/>
                  <a:pt x="317" y="59"/>
                </a:cubicBezTo>
                <a:cubicBezTo>
                  <a:pt x="318" y="58"/>
                  <a:pt x="318" y="58"/>
                  <a:pt x="318" y="58"/>
                </a:cubicBezTo>
                <a:cubicBezTo>
                  <a:pt x="317" y="56"/>
                  <a:pt x="317" y="56"/>
                  <a:pt x="317" y="56"/>
                </a:cubicBezTo>
                <a:cubicBezTo>
                  <a:pt x="316" y="56"/>
                  <a:pt x="316" y="56"/>
                  <a:pt x="316" y="56"/>
                </a:cubicBezTo>
                <a:cubicBezTo>
                  <a:pt x="315" y="56"/>
                  <a:pt x="315" y="56"/>
                  <a:pt x="315" y="56"/>
                </a:cubicBezTo>
                <a:close/>
                <a:moveTo>
                  <a:pt x="432" y="94"/>
                </a:moveTo>
                <a:cubicBezTo>
                  <a:pt x="433" y="94"/>
                  <a:pt x="433" y="94"/>
                  <a:pt x="433" y="94"/>
                </a:cubicBezTo>
                <a:cubicBezTo>
                  <a:pt x="433" y="92"/>
                  <a:pt x="433" y="92"/>
                  <a:pt x="433" y="92"/>
                </a:cubicBezTo>
                <a:cubicBezTo>
                  <a:pt x="433" y="91"/>
                  <a:pt x="433" y="91"/>
                  <a:pt x="433" y="91"/>
                </a:cubicBezTo>
                <a:cubicBezTo>
                  <a:pt x="431" y="92"/>
                  <a:pt x="431" y="92"/>
                  <a:pt x="431" y="92"/>
                </a:cubicBezTo>
                <a:cubicBezTo>
                  <a:pt x="431" y="92"/>
                  <a:pt x="431" y="92"/>
                  <a:pt x="431" y="92"/>
                </a:cubicBezTo>
                <a:cubicBezTo>
                  <a:pt x="431" y="93"/>
                  <a:pt x="431" y="93"/>
                  <a:pt x="431" y="93"/>
                </a:cubicBezTo>
                <a:cubicBezTo>
                  <a:pt x="432" y="93"/>
                  <a:pt x="432" y="93"/>
                  <a:pt x="432" y="93"/>
                </a:cubicBezTo>
                <a:cubicBezTo>
                  <a:pt x="432" y="94"/>
                  <a:pt x="432" y="94"/>
                  <a:pt x="432" y="94"/>
                </a:cubicBezTo>
                <a:close/>
                <a:moveTo>
                  <a:pt x="417" y="111"/>
                </a:moveTo>
                <a:cubicBezTo>
                  <a:pt x="418" y="111"/>
                  <a:pt x="418" y="111"/>
                  <a:pt x="418" y="111"/>
                </a:cubicBezTo>
                <a:cubicBezTo>
                  <a:pt x="419" y="111"/>
                  <a:pt x="419" y="111"/>
                  <a:pt x="419" y="111"/>
                </a:cubicBezTo>
                <a:cubicBezTo>
                  <a:pt x="419" y="111"/>
                  <a:pt x="419" y="111"/>
                  <a:pt x="419" y="111"/>
                </a:cubicBezTo>
                <a:cubicBezTo>
                  <a:pt x="419" y="111"/>
                  <a:pt x="419" y="111"/>
                  <a:pt x="419" y="111"/>
                </a:cubicBezTo>
                <a:cubicBezTo>
                  <a:pt x="418" y="110"/>
                  <a:pt x="418" y="110"/>
                  <a:pt x="418" y="110"/>
                </a:cubicBezTo>
                <a:cubicBezTo>
                  <a:pt x="417" y="109"/>
                  <a:pt x="417" y="109"/>
                  <a:pt x="417" y="109"/>
                </a:cubicBezTo>
                <a:cubicBezTo>
                  <a:pt x="416" y="109"/>
                  <a:pt x="416" y="109"/>
                  <a:pt x="416" y="109"/>
                </a:cubicBezTo>
                <a:cubicBezTo>
                  <a:pt x="416" y="109"/>
                  <a:pt x="416" y="109"/>
                  <a:pt x="416" y="109"/>
                </a:cubicBezTo>
                <a:cubicBezTo>
                  <a:pt x="416" y="110"/>
                  <a:pt x="416" y="110"/>
                  <a:pt x="416" y="110"/>
                </a:cubicBezTo>
                <a:cubicBezTo>
                  <a:pt x="417" y="110"/>
                  <a:pt x="417" y="110"/>
                  <a:pt x="417" y="110"/>
                </a:cubicBezTo>
                <a:cubicBezTo>
                  <a:pt x="417" y="110"/>
                  <a:pt x="417" y="111"/>
                  <a:pt x="417" y="111"/>
                </a:cubicBezTo>
                <a:close/>
                <a:moveTo>
                  <a:pt x="373" y="104"/>
                </a:moveTo>
                <a:cubicBezTo>
                  <a:pt x="374" y="104"/>
                  <a:pt x="374" y="104"/>
                  <a:pt x="374" y="104"/>
                </a:cubicBezTo>
                <a:cubicBezTo>
                  <a:pt x="375" y="104"/>
                  <a:pt x="375" y="104"/>
                  <a:pt x="375" y="104"/>
                </a:cubicBezTo>
                <a:cubicBezTo>
                  <a:pt x="376" y="104"/>
                  <a:pt x="376" y="104"/>
                  <a:pt x="376" y="104"/>
                </a:cubicBezTo>
                <a:cubicBezTo>
                  <a:pt x="376" y="103"/>
                  <a:pt x="376" y="103"/>
                  <a:pt x="376" y="103"/>
                </a:cubicBezTo>
                <a:cubicBezTo>
                  <a:pt x="377" y="102"/>
                  <a:pt x="377" y="102"/>
                  <a:pt x="377" y="102"/>
                </a:cubicBezTo>
                <a:cubicBezTo>
                  <a:pt x="377" y="102"/>
                  <a:pt x="377" y="102"/>
                  <a:pt x="377" y="102"/>
                </a:cubicBezTo>
                <a:cubicBezTo>
                  <a:pt x="376" y="101"/>
                  <a:pt x="376" y="101"/>
                  <a:pt x="376" y="101"/>
                </a:cubicBezTo>
                <a:cubicBezTo>
                  <a:pt x="376" y="99"/>
                  <a:pt x="376" y="99"/>
                  <a:pt x="376" y="99"/>
                </a:cubicBezTo>
                <a:cubicBezTo>
                  <a:pt x="375" y="98"/>
                  <a:pt x="375" y="98"/>
                  <a:pt x="375" y="98"/>
                </a:cubicBezTo>
                <a:cubicBezTo>
                  <a:pt x="375" y="97"/>
                  <a:pt x="375" y="97"/>
                  <a:pt x="375" y="97"/>
                </a:cubicBezTo>
                <a:cubicBezTo>
                  <a:pt x="375" y="96"/>
                  <a:pt x="375" y="96"/>
                  <a:pt x="375" y="96"/>
                </a:cubicBezTo>
                <a:cubicBezTo>
                  <a:pt x="374" y="96"/>
                  <a:pt x="374" y="96"/>
                  <a:pt x="374" y="96"/>
                </a:cubicBezTo>
                <a:cubicBezTo>
                  <a:pt x="371" y="96"/>
                  <a:pt x="371" y="96"/>
                  <a:pt x="371" y="96"/>
                </a:cubicBezTo>
                <a:cubicBezTo>
                  <a:pt x="369" y="98"/>
                  <a:pt x="369" y="98"/>
                  <a:pt x="369" y="98"/>
                </a:cubicBezTo>
                <a:cubicBezTo>
                  <a:pt x="368" y="98"/>
                  <a:pt x="368" y="98"/>
                  <a:pt x="368" y="98"/>
                </a:cubicBezTo>
                <a:cubicBezTo>
                  <a:pt x="368" y="98"/>
                  <a:pt x="368" y="98"/>
                  <a:pt x="368" y="98"/>
                </a:cubicBezTo>
                <a:cubicBezTo>
                  <a:pt x="368" y="100"/>
                  <a:pt x="368" y="100"/>
                  <a:pt x="368" y="100"/>
                </a:cubicBezTo>
                <a:cubicBezTo>
                  <a:pt x="369" y="100"/>
                  <a:pt x="369" y="100"/>
                  <a:pt x="369" y="100"/>
                </a:cubicBezTo>
                <a:cubicBezTo>
                  <a:pt x="369" y="101"/>
                  <a:pt x="369" y="101"/>
                  <a:pt x="369" y="101"/>
                </a:cubicBezTo>
                <a:cubicBezTo>
                  <a:pt x="369" y="102"/>
                  <a:pt x="369" y="102"/>
                  <a:pt x="369" y="102"/>
                </a:cubicBezTo>
                <a:cubicBezTo>
                  <a:pt x="368" y="102"/>
                  <a:pt x="368" y="102"/>
                  <a:pt x="368" y="102"/>
                </a:cubicBezTo>
                <a:cubicBezTo>
                  <a:pt x="367" y="102"/>
                  <a:pt x="367" y="102"/>
                  <a:pt x="367" y="102"/>
                </a:cubicBezTo>
                <a:cubicBezTo>
                  <a:pt x="368" y="103"/>
                  <a:pt x="368" y="103"/>
                  <a:pt x="368" y="103"/>
                </a:cubicBezTo>
                <a:cubicBezTo>
                  <a:pt x="370" y="103"/>
                  <a:pt x="370" y="103"/>
                  <a:pt x="370" y="103"/>
                </a:cubicBezTo>
                <a:cubicBezTo>
                  <a:pt x="373" y="104"/>
                  <a:pt x="373" y="104"/>
                  <a:pt x="373" y="104"/>
                </a:cubicBezTo>
                <a:close/>
                <a:moveTo>
                  <a:pt x="501" y="66"/>
                </a:moveTo>
                <a:cubicBezTo>
                  <a:pt x="501" y="65"/>
                  <a:pt x="501" y="65"/>
                  <a:pt x="501" y="65"/>
                </a:cubicBezTo>
                <a:cubicBezTo>
                  <a:pt x="501" y="65"/>
                  <a:pt x="501" y="65"/>
                  <a:pt x="501" y="65"/>
                </a:cubicBezTo>
                <a:cubicBezTo>
                  <a:pt x="502" y="63"/>
                  <a:pt x="502" y="63"/>
                  <a:pt x="502" y="63"/>
                </a:cubicBezTo>
                <a:cubicBezTo>
                  <a:pt x="502" y="62"/>
                  <a:pt x="502" y="62"/>
                  <a:pt x="502" y="62"/>
                </a:cubicBezTo>
                <a:cubicBezTo>
                  <a:pt x="502" y="61"/>
                  <a:pt x="502" y="61"/>
                  <a:pt x="502" y="61"/>
                </a:cubicBezTo>
                <a:cubicBezTo>
                  <a:pt x="500" y="59"/>
                  <a:pt x="500" y="59"/>
                  <a:pt x="500" y="59"/>
                </a:cubicBezTo>
                <a:cubicBezTo>
                  <a:pt x="500" y="58"/>
                  <a:pt x="500" y="58"/>
                  <a:pt x="500" y="58"/>
                </a:cubicBezTo>
                <a:cubicBezTo>
                  <a:pt x="499" y="58"/>
                  <a:pt x="499" y="58"/>
                  <a:pt x="499" y="58"/>
                </a:cubicBezTo>
                <a:cubicBezTo>
                  <a:pt x="497" y="58"/>
                  <a:pt x="497" y="58"/>
                  <a:pt x="497" y="58"/>
                </a:cubicBezTo>
                <a:cubicBezTo>
                  <a:pt x="496" y="59"/>
                  <a:pt x="496" y="59"/>
                  <a:pt x="496" y="59"/>
                </a:cubicBezTo>
                <a:cubicBezTo>
                  <a:pt x="496" y="60"/>
                  <a:pt x="496" y="60"/>
                  <a:pt x="496" y="60"/>
                </a:cubicBezTo>
                <a:cubicBezTo>
                  <a:pt x="497" y="62"/>
                  <a:pt x="497" y="62"/>
                  <a:pt x="497" y="62"/>
                </a:cubicBezTo>
                <a:cubicBezTo>
                  <a:pt x="497" y="62"/>
                  <a:pt x="497" y="62"/>
                  <a:pt x="497" y="62"/>
                </a:cubicBezTo>
                <a:cubicBezTo>
                  <a:pt x="497" y="63"/>
                  <a:pt x="497" y="63"/>
                  <a:pt x="497" y="63"/>
                </a:cubicBezTo>
                <a:cubicBezTo>
                  <a:pt x="498" y="63"/>
                  <a:pt x="498" y="63"/>
                  <a:pt x="498" y="63"/>
                </a:cubicBezTo>
                <a:cubicBezTo>
                  <a:pt x="500" y="65"/>
                  <a:pt x="500" y="65"/>
                  <a:pt x="500" y="65"/>
                </a:cubicBezTo>
                <a:cubicBezTo>
                  <a:pt x="501" y="66"/>
                  <a:pt x="501" y="66"/>
                  <a:pt x="501" y="66"/>
                </a:cubicBezTo>
                <a:close/>
                <a:moveTo>
                  <a:pt x="504" y="75"/>
                </a:moveTo>
                <a:cubicBezTo>
                  <a:pt x="505" y="74"/>
                  <a:pt x="505" y="74"/>
                  <a:pt x="505" y="74"/>
                </a:cubicBezTo>
                <a:cubicBezTo>
                  <a:pt x="506" y="73"/>
                  <a:pt x="506" y="73"/>
                  <a:pt x="506" y="73"/>
                </a:cubicBezTo>
                <a:cubicBezTo>
                  <a:pt x="508" y="72"/>
                  <a:pt x="508" y="72"/>
                  <a:pt x="508" y="72"/>
                </a:cubicBezTo>
                <a:cubicBezTo>
                  <a:pt x="510" y="72"/>
                  <a:pt x="510" y="72"/>
                  <a:pt x="510" y="72"/>
                </a:cubicBezTo>
                <a:cubicBezTo>
                  <a:pt x="513" y="72"/>
                  <a:pt x="513" y="72"/>
                  <a:pt x="513" y="72"/>
                </a:cubicBezTo>
                <a:cubicBezTo>
                  <a:pt x="514" y="72"/>
                  <a:pt x="514" y="72"/>
                  <a:pt x="514" y="72"/>
                </a:cubicBezTo>
                <a:cubicBezTo>
                  <a:pt x="517" y="72"/>
                  <a:pt x="517" y="72"/>
                  <a:pt x="517" y="72"/>
                </a:cubicBezTo>
                <a:cubicBezTo>
                  <a:pt x="518" y="71"/>
                  <a:pt x="518" y="71"/>
                  <a:pt x="518" y="71"/>
                </a:cubicBezTo>
                <a:cubicBezTo>
                  <a:pt x="520" y="71"/>
                  <a:pt x="520" y="71"/>
                  <a:pt x="520" y="71"/>
                </a:cubicBezTo>
                <a:cubicBezTo>
                  <a:pt x="522" y="71"/>
                  <a:pt x="522" y="71"/>
                  <a:pt x="522" y="71"/>
                </a:cubicBezTo>
                <a:cubicBezTo>
                  <a:pt x="523" y="70"/>
                  <a:pt x="523" y="70"/>
                  <a:pt x="523" y="70"/>
                </a:cubicBezTo>
                <a:cubicBezTo>
                  <a:pt x="522" y="69"/>
                  <a:pt x="522" y="69"/>
                  <a:pt x="522" y="69"/>
                </a:cubicBezTo>
                <a:cubicBezTo>
                  <a:pt x="521" y="68"/>
                  <a:pt x="521" y="68"/>
                  <a:pt x="521" y="68"/>
                </a:cubicBezTo>
                <a:cubicBezTo>
                  <a:pt x="520" y="66"/>
                  <a:pt x="520" y="66"/>
                  <a:pt x="520" y="66"/>
                </a:cubicBezTo>
                <a:cubicBezTo>
                  <a:pt x="517" y="64"/>
                  <a:pt x="517" y="64"/>
                  <a:pt x="517" y="64"/>
                </a:cubicBezTo>
                <a:cubicBezTo>
                  <a:pt x="515" y="64"/>
                  <a:pt x="515" y="64"/>
                  <a:pt x="515" y="64"/>
                </a:cubicBezTo>
                <a:cubicBezTo>
                  <a:pt x="514" y="64"/>
                  <a:pt x="514" y="64"/>
                  <a:pt x="514" y="64"/>
                </a:cubicBezTo>
                <a:cubicBezTo>
                  <a:pt x="512" y="62"/>
                  <a:pt x="512" y="62"/>
                  <a:pt x="512" y="62"/>
                </a:cubicBezTo>
                <a:cubicBezTo>
                  <a:pt x="511" y="62"/>
                  <a:pt x="511" y="62"/>
                  <a:pt x="511" y="62"/>
                </a:cubicBezTo>
                <a:cubicBezTo>
                  <a:pt x="510" y="63"/>
                  <a:pt x="510" y="63"/>
                  <a:pt x="510" y="63"/>
                </a:cubicBezTo>
                <a:cubicBezTo>
                  <a:pt x="509" y="62"/>
                  <a:pt x="509" y="62"/>
                  <a:pt x="509" y="62"/>
                </a:cubicBezTo>
                <a:cubicBezTo>
                  <a:pt x="508" y="62"/>
                  <a:pt x="508" y="62"/>
                  <a:pt x="508" y="62"/>
                </a:cubicBezTo>
                <a:cubicBezTo>
                  <a:pt x="507" y="64"/>
                  <a:pt x="507" y="64"/>
                  <a:pt x="507" y="64"/>
                </a:cubicBezTo>
                <a:cubicBezTo>
                  <a:pt x="505" y="66"/>
                  <a:pt x="505" y="66"/>
                  <a:pt x="505" y="66"/>
                </a:cubicBezTo>
                <a:cubicBezTo>
                  <a:pt x="506" y="67"/>
                  <a:pt x="506" y="67"/>
                  <a:pt x="506" y="67"/>
                </a:cubicBezTo>
                <a:cubicBezTo>
                  <a:pt x="506" y="70"/>
                  <a:pt x="506" y="70"/>
                  <a:pt x="506" y="70"/>
                </a:cubicBezTo>
                <a:cubicBezTo>
                  <a:pt x="505" y="73"/>
                  <a:pt x="505" y="73"/>
                  <a:pt x="505" y="73"/>
                </a:cubicBezTo>
                <a:cubicBezTo>
                  <a:pt x="504" y="74"/>
                  <a:pt x="504" y="74"/>
                  <a:pt x="504" y="74"/>
                </a:cubicBezTo>
                <a:cubicBezTo>
                  <a:pt x="504" y="75"/>
                  <a:pt x="504" y="75"/>
                  <a:pt x="504" y="75"/>
                </a:cubicBezTo>
                <a:cubicBezTo>
                  <a:pt x="504" y="75"/>
                  <a:pt x="504" y="75"/>
                  <a:pt x="504" y="75"/>
                </a:cubicBezTo>
                <a:close/>
                <a:moveTo>
                  <a:pt x="474" y="69"/>
                </a:moveTo>
                <a:cubicBezTo>
                  <a:pt x="475" y="70"/>
                  <a:pt x="475" y="70"/>
                  <a:pt x="475" y="70"/>
                </a:cubicBezTo>
                <a:cubicBezTo>
                  <a:pt x="476" y="71"/>
                  <a:pt x="476" y="71"/>
                  <a:pt x="476" y="71"/>
                </a:cubicBezTo>
                <a:cubicBezTo>
                  <a:pt x="477" y="71"/>
                  <a:pt x="477" y="71"/>
                  <a:pt x="477" y="71"/>
                </a:cubicBezTo>
                <a:cubicBezTo>
                  <a:pt x="478" y="72"/>
                  <a:pt x="478" y="72"/>
                  <a:pt x="478" y="72"/>
                </a:cubicBezTo>
                <a:cubicBezTo>
                  <a:pt x="480" y="72"/>
                  <a:pt x="480" y="72"/>
                  <a:pt x="480" y="72"/>
                </a:cubicBezTo>
                <a:cubicBezTo>
                  <a:pt x="481" y="73"/>
                  <a:pt x="481" y="73"/>
                  <a:pt x="481" y="73"/>
                </a:cubicBezTo>
                <a:cubicBezTo>
                  <a:pt x="482" y="73"/>
                  <a:pt x="482" y="73"/>
                  <a:pt x="482" y="73"/>
                </a:cubicBezTo>
                <a:cubicBezTo>
                  <a:pt x="482" y="72"/>
                  <a:pt x="482" y="72"/>
                  <a:pt x="482" y="72"/>
                </a:cubicBezTo>
                <a:cubicBezTo>
                  <a:pt x="480" y="70"/>
                  <a:pt x="480" y="70"/>
                  <a:pt x="480" y="70"/>
                </a:cubicBezTo>
                <a:cubicBezTo>
                  <a:pt x="479" y="70"/>
                  <a:pt x="479" y="70"/>
                  <a:pt x="479" y="70"/>
                </a:cubicBezTo>
                <a:cubicBezTo>
                  <a:pt x="477" y="70"/>
                  <a:pt x="477" y="70"/>
                  <a:pt x="477" y="70"/>
                </a:cubicBezTo>
                <a:cubicBezTo>
                  <a:pt x="476" y="69"/>
                  <a:pt x="476" y="69"/>
                  <a:pt x="476" y="69"/>
                </a:cubicBezTo>
                <a:cubicBezTo>
                  <a:pt x="475" y="68"/>
                  <a:pt x="475" y="68"/>
                  <a:pt x="475" y="68"/>
                </a:cubicBezTo>
                <a:cubicBezTo>
                  <a:pt x="474" y="69"/>
                  <a:pt x="474" y="69"/>
                  <a:pt x="474" y="69"/>
                </a:cubicBezTo>
                <a:close/>
                <a:moveTo>
                  <a:pt x="514" y="108"/>
                </a:moveTo>
                <a:cubicBezTo>
                  <a:pt x="516" y="110"/>
                  <a:pt x="516" y="110"/>
                  <a:pt x="516" y="110"/>
                </a:cubicBezTo>
                <a:cubicBezTo>
                  <a:pt x="517" y="110"/>
                  <a:pt x="517" y="110"/>
                  <a:pt x="517" y="110"/>
                </a:cubicBezTo>
                <a:cubicBezTo>
                  <a:pt x="517" y="110"/>
                  <a:pt x="517" y="110"/>
                  <a:pt x="517" y="110"/>
                </a:cubicBezTo>
                <a:cubicBezTo>
                  <a:pt x="518" y="109"/>
                  <a:pt x="518" y="109"/>
                  <a:pt x="518" y="109"/>
                </a:cubicBezTo>
                <a:cubicBezTo>
                  <a:pt x="519" y="109"/>
                  <a:pt x="519" y="109"/>
                  <a:pt x="519" y="109"/>
                </a:cubicBezTo>
                <a:cubicBezTo>
                  <a:pt x="518" y="108"/>
                  <a:pt x="518" y="108"/>
                  <a:pt x="518" y="108"/>
                </a:cubicBezTo>
                <a:cubicBezTo>
                  <a:pt x="518" y="106"/>
                  <a:pt x="518" y="106"/>
                  <a:pt x="518" y="106"/>
                </a:cubicBezTo>
                <a:cubicBezTo>
                  <a:pt x="517" y="107"/>
                  <a:pt x="517" y="107"/>
                  <a:pt x="517" y="107"/>
                </a:cubicBezTo>
                <a:cubicBezTo>
                  <a:pt x="517" y="108"/>
                  <a:pt x="517" y="108"/>
                  <a:pt x="517" y="108"/>
                </a:cubicBezTo>
                <a:cubicBezTo>
                  <a:pt x="516" y="108"/>
                  <a:pt x="516" y="108"/>
                  <a:pt x="516" y="108"/>
                </a:cubicBezTo>
                <a:cubicBezTo>
                  <a:pt x="516" y="108"/>
                  <a:pt x="515" y="109"/>
                  <a:pt x="514" y="108"/>
                </a:cubicBezTo>
                <a:close/>
                <a:moveTo>
                  <a:pt x="655" y="98"/>
                </a:moveTo>
                <a:cubicBezTo>
                  <a:pt x="655" y="98"/>
                  <a:pt x="655" y="98"/>
                  <a:pt x="655" y="98"/>
                </a:cubicBezTo>
                <a:cubicBezTo>
                  <a:pt x="655" y="97"/>
                  <a:pt x="655" y="97"/>
                  <a:pt x="655" y="97"/>
                </a:cubicBezTo>
                <a:cubicBezTo>
                  <a:pt x="655" y="96"/>
                  <a:pt x="655" y="96"/>
                  <a:pt x="655" y="96"/>
                </a:cubicBezTo>
                <a:cubicBezTo>
                  <a:pt x="654" y="95"/>
                  <a:pt x="654" y="95"/>
                  <a:pt x="654" y="95"/>
                </a:cubicBezTo>
                <a:cubicBezTo>
                  <a:pt x="654" y="96"/>
                  <a:pt x="654" y="96"/>
                  <a:pt x="654" y="96"/>
                </a:cubicBezTo>
                <a:cubicBezTo>
                  <a:pt x="655" y="98"/>
                  <a:pt x="655" y="98"/>
                  <a:pt x="655" y="98"/>
                </a:cubicBezTo>
                <a:close/>
                <a:moveTo>
                  <a:pt x="654" y="99"/>
                </a:moveTo>
                <a:cubicBezTo>
                  <a:pt x="654" y="99"/>
                  <a:pt x="654" y="99"/>
                  <a:pt x="654" y="99"/>
                </a:cubicBezTo>
                <a:cubicBezTo>
                  <a:pt x="654" y="98"/>
                  <a:pt x="654" y="98"/>
                  <a:pt x="654" y="98"/>
                </a:cubicBezTo>
                <a:cubicBezTo>
                  <a:pt x="654" y="97"/>
                  <a:pt x="654" y="97"/>
                  <a:pt x="654" y="97"/>
                </a:cubicBezTo>
                <a:cubicBezTo>
                  <a:pt x="653" y="97"/>
                  <a:pt x="653" y="97"/>
                  <a:pt x="653" y="97"/>
                </a:cubicBezTo>
                <a:cubicBezTo>
                  <a:pt x="653" y="97"/>
                  <a:pt x="653" y="97"/>
                  <a:pt x="653" y="97"/>
                </a:cubicBezTo>
                <a:cubicBezTo>
                  <a:pt x="654" y="99"/>
                  <a:pt x="654" y="99"/>
                  <a:pt x="654" y="99"/>
                </a:cubicBezTo>
                <a:close/>
                <a:moveTo>
                  <a:pt x="653" y="99"/>
                </a:moveTo>
                <a:cubicBezTo>
                  <a:pt x="654" y="101"/>
                  <a:pt x="654" y="101"/>
                  <a:pt x="654" y="101"/>
                </a:cubicBezTo>
                <a:cubicBezTo>
                  <a:pt x="654" y="102"/>
                  <a:pt x="654" y="102"/>
                  <a:pt x="654" y="102"/>
                </a:cubicBezTo>
                <a:cubicBezTo>
                  <a:pt x="655" y="101"/>
                  <a:pt x="655" y="101"/>
                  <a:pt x="655" y="101"/>
                </a:cubicBezTo>
                <a:cubicBezTo>
                  <a:pt x="654" y="100"/>
                  <a:pt x="654" y="100"/>
                  <a:pt x="654" y="100"/>
                </a:cubicBezTo>
                <a:cubicBezTo>
                  <a:pt x="653" y="99"/>
                  <a:pt x="653" y="99"/>
                  <a:pt x="653" y="99"/>
                </a:cubicBezTo>
                <a:cubicBezTo>
                  <a:pt x="653" y="99"/>
                  <a:pt x="653" y="99"/>
                  <a:pt x="653" y="99"/>
                </a:cubicBezTo>
                <a:cubicBezTo>
                  <a:pt x="653" y="99"/>
                  <a:pt x="653" y="99"/>
                  <a:pt x="653" y="99"/>
                </a:cubicBezTo>
                <a:close/>
                <a:moveTo>
                  <a:pt x="650" y="98"/>
                </a:moveTo>
                <a:cubicBezTo>
                  <a:pt x="650" y="100"/>
                  <a:pt x="650" y="100"/>
                  <a:pt x="650" y="100"/>
                </a:cubicBezTo>
                <a:cubicBezTo>
                  <a:pt x="651" y="100"/>
                  <a:pt x="651" y="100"/>
                  <a:pt x="651" y="100"/>
                </a:cubicBezTo>
                <a:cubicBezTo>
                  <a:pt x="651" y="100"/>
                  <a:pt x="651" y="100"/>
                  <a:pt x="651" y="100"/>
                </a:cubicBezTo>
                <a:cubicBezTo>
                  <a:pt x="652" y="99"/>
                  <a:pt x="652" y="99"/>
                  <a:pt x="652" y="99"/>
                </a:cubicBezTo>
                <a:cubicBezTo>
                  <a:pt x="651" y="98"/>
                  <a:pt x="651" y="98"/>
                  <a:pt x="651" y="98"/>
                </a:cubicBezTo>
                <a:cubicBezTo>
                  <a:pt x="651" y="98"/>
                  <a:pt x="651" y="98"/>
                  <a:pt x="651" y="98"/>
                </a:cubicBezTo>
                <a:cubicBezTo>
                  <a:pt x="650" y="98"/>
                  <a:pt x="650" y="98"/>
                  <a:pt x="650" y="98"/>
                </a:cubicBezTo>
                <a:cubicBezTo>
                  <a:pt x="650" y="98"/>
                  <a:pt x="650" y="98"/>
                  <a:pt x="650" y="98"/>
                </a:cubicBezTo>
                <a:close/>
                <a:moveTo>
                  <a:pt x="684" y="84"/>
                </a:moveTo>
                <a:cubicBezTo>
                  <a:pt x="686" y="85"/>
                  <a:pt x="686" y="85"/>
                  <a:pt x="686" y="85"/>
                </a:cubicBezTo>
                <a:cubicBezTo>
                  <a:pt x="687" y="84"/>
                  <a:pt x="687" y="84"/>
                  <a:pt x="687" y="84"/>
                </a:cubicBezTo>
                <a:cubicBezTo>
                  <a:pt x="688" y="83"/>
                  <a:pt x="688" y="83"/>
                  <a:pt x="688" y="83"/>
                </a:cubicBezTo>
                <a:cubicBezTo>
                  <a:pt x="688" y="82"/>
                  <a:pt x="688" y="82"/>
                  <a:pt x="688" y="82"/>
                </a:cubicBezTo>
                <a:cubicBezTo>
                  <a:pt x="687" y="81"/>
                  <a:pt x="687" y="81"/>
                  <a:pt x="687" y="81"/>
                </a:cubicBezTo>
                <a:cubicBezTo>
                  <a:pt x="687" y="80"/>
                  <a:pt x="687" y="80"/>
                  <a:pt x="687" y="80"/>
                </a:cubicBezTo>
                <a:cubicBezTo>
                  <a:pt x="687" y="79"/>
                  <a:pt x="687" y="79"/>
                  <a:pt x="687" y="79"/>
                </a:cubicBezTo>
                <a:cubicBezTo>
                  <a:pt x="685" y="78"/>
                  <a:pt x="685" y="78"/>
                  <a:pt x="685" y="78"/>
                </a:cubicBezTo>
                <a:cubicBezTo>
                  <a:pt x="685" y="79"/>
                  <a:pt x="685" y="79"/>
                  <a:pt x="685" y="79"/>
                </a:cubicBezTo>
                <a:cubicBezTo>
                  <a:pt x="684" y="79"/>
                  <a:pt x="684" y="79"/>
                  <a:pt x="684" y="79"/>
                </a:cubicBezTo>
                <a:cubicBezTo>
                  <a:pt x="683" y="78"/>
                  <a:pt x="683" y="78"/>
                  <a:pt x="683" y="78"/>
                </a:cubicBezTo>
                <a:cubicBezTo>
                  <a:pt x="682" y="78"/>
                  <a:pt x="682" y="78"/>
                  <a:pt x="682" y="78"/>
                </a:cubicBezTo>
                <a:cubicBezTo>
                  <a:pt x="681" y="78"/>
                  <a:pt x="681" y="78"/>
                  <a:pt x="681" y="78"/>
                </a:cubicBezTo>
                <a:cubicBezTo>
                  <a:pt x="681" y="79"/>
                  <a:pt x="681" y="79"/>
                  <a:pt x="681" y="79"/>
                </a:cubicBezTo>
                <a:cubicBezTo>
                  <a:pt x="681" y="79"/>
                  <a:pt x="681" y="79"/>
                  <a:pt x="681" y="79"/>
                </a:cubicBezTo>
                <a:cubicBezTo>
                  <a:pt x="680" y="79"/>
                  <a:pt x="680" y="79"/>
                  <a:pt x="680" y="79"/>
                </a:cubicBezTo>
                <a:cubicBezTo>
                  <a:pt x="680" y="80"/>
                  <a:pt x="680" y="80"/>
                  <a:pt x="680" y="80"/>
                </a:cubicBezTo>
                <a:cubicBezTo>
                  <a:pt x="680" y="82"/>
                  <a:pt x="680" y="82"/>
                  <a:pt x="680" y="82"/>
                </a:cubicBezTo>
                <a:cubicBezTo>
                  <a:pt x="680" y="83"/>
                  <a:pt x="680" y="83"/>
                  <a:pt x="680" y="83"/>
                </a:cubicBezTo>
                <a:cubicBezTo>
                  <a:pt x="681" y="83"/>
                  <a:pt x="681" y="83"/>
                  <a:pt x="681" y="83"/>
                </a:cubicBezTo>
                <a:cubicBezTo>
                  <a:pt x="683" y="83"/>
                  <a:pt x="683" y="83"/>
                  <a:pt x="683" y="83"/>
                </a:cubicBezTo>
                <a:cubicBezTo>
                  <a:pt x="684" y="84"/>
                  <a:pt x="684" y="84"/>
                  <a:pt x="684" y="84"/>
                </a:cubicBezTo>
                <a:close/>
                <a:moveTo>
                  <a:pt x="692" y="81"/>
                </a:moveTo>
                <a:cubicBezTo>
                  <a:pt x="693" y="80"/>
                  <a:pt x="693" y="80"/>
                  <a:pt x="693" y="80"/>
                </a:cubicBezTo>
                <a:cubicBezTo>
                  <a:pt x="693" y="80"/>
                  <a:pt x="693" y="80"/>
                  <a:pt x="693" y="80"/>
                </a:cubicBezTo>
                <a:cubicBezTo>
                  <a:pt x="692" y="80"/>
                  <a:pt x="692" y="80"/>
                  <a:pt x="692" y="80"/>
                </a:cubicBezTo>
                <a:cubicBezTo>
                  <a:pt x="692" y="80"/>
                  <a:pt x="692" y="80"/>
                  <a:pt x="692" y="80"/>
                </a:cubicBezTo>
                <a:cubicBezTo>
                  <a:pt x="692" y="81"/>
                  <a:pt x="692" y="81"/>
                  <a:pt x="692" y="81"/>
                </a:cubicBezTo>
                <a:close/>
                <a:moveTo>
                  <a:pt x="701" y="418"/>
                </a:moveTo>
                <a:cubicBezTo>
                  <a:pt x="701" y="417"/>
                  <a:pt x="701" y="417"/>
                  <a:pt x="701" y="417"/>
                </a:cubicBezTo>
                <a:cubicBezTo>
                  <a:pt x="701" y="415"/>
                  <a:pt x="701" y="415"/>
                  <a:pt x="701" y="415"/>
                </a:cubicBezTo>
                <a:cubicBezTo>
                  <a:pt x="700" y="414"/>
                  <a:pt x="700" y="414"/>
                  <a:pt x="700" y="414"/>
                </a:cubicBezTo>
                <a:cubicBezTo>
                  <a:pt x="700" y="413"/>
                  <a:pt x="700" y="413"/>
                  <a:pt x="700" y="413"/>
                </a:cubicBezTo>
                <a:cubicBezTo>
                  <a:pt x="700" y="411"/>
                  <a:pt x="700" y="411"/>
                  <a:pt x="700" y="411"/>
                </a:cubicBezTo>
                <a:cubicBezTo>
                  <a:pt x="701" y="410"/>
                  <a:pt x="701" y="410"/>
                  <a:pt x="701" y="410"/>
                </a:cubicBezTo>
                <a:cubicBezTo>
                  <a:pt x="702" y="410"/>
                  <a:pt x="702" y="410"/>
                  <a:pt x="702" y="410"/>
                </a:cubicBezTo>
                <a:cubicBezTo>
                  <a:pt x="702" y="411"/>
                  <a:pt x="702" y="411"/>
                  <a:pt x="702" y="411"/>
                </a:cubicBezTo>
                <a:cubicBezTo>
                  <a:pt x="703" y="411"/>
                  <a:pt x="703" y="411"/>
                  <a:pt x="703" y="411"/>
                </a:cubicBezTo>
                <a:cubicBezTo>
                  <a:pt x="705" y="411"/>
                  <a:pt x="705" y="411"/>
                  <a:pt x="705" y="411"/>
                </a:cubicBezTo>
                <a:cubicBezTo>
                  <a:pt x="705" y="410"/>
                  <a:pt x="705" y="410"/>
                  <a:pt x="705" y="410"/>
                </a:cubicBezTo>
                <a:cubicBezTo>
                  <a:pt x="706" y="410"/>
                  <a:pt x="706" y="410"/>
                  <a:pt x="706" y="410"/>
                </a:cubicBezTo>
                <a:cubicBezTo>
                  <a:pt x="706" y="411"/>
                  <a:pt x="706" y="411"/>
                  <a:pt x="706" y="411"/>
                </a:cubicBezTo>
                <a:cubicBezTo>
                  <a:pt x="706" y="411"/>
                  <a:pt x="706" y="411"/>
                  <a:pt x="706" y="411"/>
                </a:cubicBezTo>
                <a:cubicBezTo>
                  <a:pt x="706" y="412"/>
                  <a:pt x="706" y="412"/>
                  <a:pt x="706" y="412"/>
                </a:cubicBezTo>
                <a:cubicBezTo>
                  <a:pt x="707" y="414"/>
                  <a:pt x="707" y="414"/>
                  <a:pt x="707" y="414"/>
                </a:cubicBezTo>
                <a:cubicBezTo>
                  <a:pt x="708" y="415"/>
                  <a:pt x="708" y="415"/>
                  <a:pt x="708" y="415"/>
                </a:cubicBezTo>
                <a:cubicBezTo>
                  <a:pt x="708" y="416"/>
                  <a:pt x="708" y="416"/>
                  <a:pt x="708" y="416"/>
                </a:cubicBezTo>
                <a:cubicBezTo>
                  <a:pt x="708" y="415"/>
                  <a:pt x="708" y="415"/>
                  <a:pt x="708" y="415"/>
                </a:cubicBezTo>
                <a:cubicBezTo>
                  <a:pt x="708" y="414"/>
                  <a:pt x="708" y="414"/>
                  <a:pt x="708" y="414"/>
                </a:cubicBezTo>
                <a:cubicBezTo>
                  <a:pt x="708" y="413"/>
                  <a:pt x="708" y="413"/>
                  <a:pt x="708" y="413"/>
                </a:cubicBezTo>
                <a:cubicBezTo>
                  <a:pt x="708" y="411"/>
                  <a:pt x="708" y="411"/>
                  <a:pt x="708" y="411"/>
                </a:cubicBezTo>
                <a:cubicBezTo>
                  <a:pt x="707" y="410"/>
                  <a:pt x="707" y="410"/>
                  <a:pt x="707" y="410"/>
                </a:cubicBezTo>
                <a:cubicBezTo>
                  <a:pt x="707" y="409"/>
                  <a:pt x="707" y="409"/>
                  <a:pt x="707" y="409"/>
                </a:cubicBezTo>
                <a:cubicBezTo>
                  <a:pt x="706" y="408"/>
                  <a:pt x="706" y="408"/>
                  <a:pt x="706" y="408"/>
                </a:cubicBezTo>
                <a:cubicBezTo>
                  <a:pt x="705" y="408"/>
                  <a:pt x="705" y="408"/>
                  <a:pt x="705" y="408"/>
                </a:cubicBezTo>
                <a:cubicBezTo>
                  <a:pt x="705" y="408"/>
                  <a:pt x="705" y="408"/>
                  <a:pt x="705" y="408"/>
                </a:cubicBezTo>
                <a:cubicBezTo>
                  <a:pt x="703" y="407"/>
                  <a:pt x="703" y="407"/>
                  <a:pt x="703" y="407"/>
                </a:cubicBezTo>
                <a:cubicBezTo>
                  <a:pt x="703" y="405"/>
                  <a:pt x="703" y="405"/>
                  <a:pt x="703" y="405"/>
                </a:cubicBezTo>
                <a:cubicBezTo>
                  <a:pt x="702" y="404"/>
                  <a:pt x="702" y="404"/>
                  <a:pt x="702" y="404"/>
                </a:cubicBezTo>
                <a:cubicBezTo>
                  <a:pt x="700" y="402"/>
                  <a:pt x="700" y="402"/>
                  <a:pt x="700" y="402"/>
                </a:cubicBezTo>
                <a:cubicBezTo>
                  <a:pt x="699" y="402"/>
                  <a:pt x="699" y="402"/>
                  <a:pt x="699" y="402"/>
                </a:cubicBezTo>
                <a:cubicBezTo>
                  <a:pt x="698" y="401"/>
                  <a:pt x="698" y="401"/>
                  <a:pt x="698" y="401"/>
                </a:cubicBezTo>
                <a:cubicBezTo>
                  <a:pt x="698" y="399"/>
                  <a:pt x="698" y="399"/>
                  <a:pt x="698" y="399"/>
                </a:cubicBezTo>
                <a:cubicBezTo>
                  <a:pt x="697" y="397"/>
                  <a:pt x="697" y="397"/>
                  <a:pt x="697" y="397"/>
                </a:cubicBezTo>
                <a:cubicBezTo>
                  <a:pt x="696" y="396"/>
                  <a:pt x="696" y="396"/>
                  <a:pt x="696" y="396"/>
                </a:cubicBezTo>
                <a:cubicBezTo>
                  <a:pt x="696" y="393"/>
                  <a:pt x="696" y="393"/>
                  <a:pt x="696" y="393"/>
                </a:cubicBezTo>
                <a:cubicBezTo>
                  <a:pt x="696" y="391"/>
                  <a:pt x="696" y="391"/>
                  <a:pt x="696" y="391"/>
                </a:cubicBezTo>
                <a:cubicBezTo>
                  <a:pt x="695" y="390"/>
                  <a:pt x="695" y="390"/>
                  <a:pt x="695" y="390"/>
                </a:cubicBezTo>
                <a:cubicBezTo>
                  <a:pt x="696" y="388"/>
                  <a:pt x="696" y="388"/>
                  <a:pt x="696" y="388"/>
                </a:cubicBezTo>
                <a:cubicBezTo>
                  <a:pt x="696" y="386"/>
                  <a:pt x="696" y="386"/>
                  <a:pt x="696" y="386"/>
                </a:cubicBezTo>
                <a:cubicBezTo>
                  <a:pt x="695" y="385"/>
                  <a:pt x="695" y="385"/>
                  <a:pt x="695" y="385"/>
                </a:cubicBezTo>
                <a:cubicBezTo>
                  <a:pt x="695" y="384"/>
                  <a:pt x="695" y="384"/>
                  <a:pt x="695" y="384"/>
                </a:cubicBezTo>
                <a:cubicBezTo>
                  <a:pt x="695" y="383"/>
                  <a:pt x="695" y="383"/>
                  <a:pt x="695" y="383"/>
                </a:cubicBezTo>
                <a:cubicBezTo>
                  <a:pt x="695" y="382"/>
                  <a:pt x="695" y="382"/>
                  <a:pt x="695" y="382"/>
                </a:cubicBezTo>
                <a:cubicBezTo>
                  <a:pt x="696" y="382"/>
                  <a:pt x="696" y="382"/>
                  <a:pt x="696" y="382"/>
                </a:cubicBezTo>
                <a:cubicBezTo>
                  <a:pt x="697" y="382"/>
                  <a:pt x="697" y="382"/>
                  <a:pt x="697" y="382"/>
                </a:cubicBezTo>
                <a:cubicBezTo>
                  <a:pt x="698" y="382"/>
                  <a:pt x="698" y="382"/>
                  <a:pt x="698" y="382"/>
                </a:cubicBezTo>
                <a:cubicBezTo>
                  <a:pt x="700" y="382"/>
                  <a:pt x="700" y="382"/>
                  <a:pt x="700" y="382"/>
                </a:cubicBezTo>
                <a:cubicBezTo>
                  <a:pt x="701" y="383"/>
                  <a:pt x="701" y="383"/>
                  <a:pt x="701" y="383"/>
                </a:cubicBezTo>
                <a:cubicBezTo>
                  <a:pt x="702" y="385"/>
                  <a:pt x="702" y="385"/>
                  <a:pt x="702" y="385"/>
                </a:cubicBezTo>
                <a:cubicBezTo>
                  <a:pt x="703" y="385"/>
                  <a:pt x="703" y="385"/>
                  <a:pt x="703" y="385"/>
                </a:cubicBezTo>
                <a:cubicBezTo>
                  <a:pt x="704" y="386"/>
                  <a:pt x="704" y="386"/>
                  <a:pt x="704" y="386"/>
                </a:cubicBezTo>
                <a:cubicBezTo>
                  <a:pt x="706" y="388"/>
                  <a:pt x="706" y="388"/>
                  <a:pt x="706" y="388"/>
                </a:cubicBezTo>
                <a:cubicBezTo>
                  <a:pt x="706" y="388"/>
                  <a:pt x="706" y="388"/>
                  <a:pt x="706" y="388"/>
                </a:cubicBezTo>
                <a:cubicBezTo>
                  <a:pt x="706" y="387"/>
                  <a:pt x="706" y="387"/>
                  <a:pt x="706" y="387"/>
                </a:cubicBezTo>
                <a:cubicBezTo>
                  <a:pt x="704" y="385"/>
                  <a:pt x="704" y="385"/>
                  <a:pt x="704" y="385"/>
                </a:cubicBezTo>
                <a:cubicBezTo>
                  <a:pt x="703" y="384"/>
                  <a:pt x="703" y="384"/>
                  <a:pt x="703" y="384"/>
                </a:cubicBezTo>
                <a:cubicBezTo>
                  <a:pt x="702" y="382"/>
                  <a:pt x="702" y="382"/>
                  <a:pt x="702" y="382"/>
                </a:cubicBezTo>
                <a:cubicBezTo>
                  <a:pt x="700" y="380"/>
                  <a:pt x="700" y="380"/>
                  <a:pt x="700" y="380"/>
                </a:cubicBezTo>
                <a:cubicBezTo>
                  <a:pt x="700" y="380"/>
                  <a:pt x="700" y="380"/>
                  <a:pt x="700" y="380"/>
                </a:cubicBezTo>
                <a:cubicBezTo>
                  <a:pt x="700" y="379"/>
                  <a:pt x="700" y="379"/>
                  <a:pt x="700" y="379"/>
                </a:cubicBezTo>
                <a:cubicBezTo>
                  <a:pt x="699" y="377"/>
                  <a:pt x="699" y="377"/>
                  <a:pt x="699" y="377"/>
                </a:cubicBezTo>
                <a:cubicBezTo>
                  <a:pt x="698" y="375"/>
                  <a:pt x="698" y="375"/>
                  <a:pt x="698" y="375"/>
                </a:cubicBezTo>
                <a:cubicBezTo>
                  <a:pt x="697" y="375"/>
                  <a:pt x="697" y="375"/>
                  <a:pt x="697" y="375"/>
                </a:cubicBezTo>
                <a:cubicBezTo>
                  <a:pt x="697" y="374"/>
                  <a:pt x="697" y="374"/>
                  <a:pt x="697" y="374"/>
                </a:cubicBezTo>
                <a:cubicBezTo>
                  <a:pt x="695" y="371"/>
                  <a:pt x="695" y="371"/>
                  <a:pt x="695" y="371"/>
                </a:cubicBezTo>
                <a:cubicBezTo>
                  <a:pt x="693" y="368"/>
                  <a:pt x="693" y="368"/>
                  <a:pt x="693" y="368"/>
                </a:cubicBezTo>
                <a:cubicBezTo>
                  <a:pt x="693" y="367"/>
                  <a:pt x="693" y="367"/>
                  <a:pt x="693" y="367"/>
                </a:cubicBezTo>
                <a:cubicBezTo>
                  <a:pt x="691" y="364"/>
                  <a:pt x="691" y="364"/>
                  <a:pt x="691" y="364"/>
                </a:cubicBezTo>
                <a:cubicBezTo>
                  <a:pt x="690" y="362"/>
                  <a:pt x="690" y="362"/>
                  <a:pt x="690" y="362"/>
                </a:cubicBezTo>
                <a:cubicBezTo>
                  <a:pt x="689" y="361"/>
                  <a:pt x="689" y="361"/>
                  <a:pt x="689" y="361"/>
                </a:cubicBezTo>
                <a:cubicBezTo>
                  <a:pt x="689" y="360"/>
                  <a:pt x="689" y="360"/>
                  <a:pt x="689" y="360"/>
                </a:cubicBezTo>
                <a:cubicBezTo>
                  <a:pt x="688" y="359"/>
                  <a:pt x="688" y="359"/>
                  <a:pt x="688" y="359"/>
                </a:cubicBezTo>
                <a:cubicBezTo>
                  <a:pt x="687" y="358"/>
                  <a:pt x="687" y="358"/>
                  <a:pt x="687" y="358"/>
                </a:cubicBezTo>
                <a:cubicBezTo>
                  <a:pt x="687" y="359"/>
                  <a:pt x="687" y="359"/>
                  <a:pt x="687" y="359"/>
                </a:cubicBezTo>
                <a:cubicBezTo>
                  <a:pt x="686" y="359"/>
                  <a:pt x="686" y="359"/>
                  <a:pt x="686" y="359"/>
                </a:cubicBezTo>
                <a:cubicBezTo>
                  <a:pt x="686" y="358"/>
                  <a:pt x="686" y="358"/>
                  <a:pt x="686" y="358"/>
                </a:cubicBezTo>
                <a:cubicBezTo>
                  <a:pt x="686" y="357"/>
                  <a:pt x="686" y="357"/>
                  <a:pt x="686" y="357"/>
                </a:cubicBezTo>
                <a:cubicBezTo>
                  <a:pt x="686" y="356"/>
                  <a:pt x="686" y="356"/>
                  <a:pt x="686" y="356"/>
                </a:cubicBezTo>
                <a:cubicBezTo>
                  <a:pt x="685" y="356"/>
                  <a:pt x="685" y="356"/>
                  <a:pt x="685" y="356"/>
                </a:cubicBezTo>
                <a:cubicBezTo>
                  <a:pt x="684" y="354"/>
                  <a:pt x="684" y="354"/>
                  <a:pt x="684" y="354"/>
                </a:cubicBezTo>
                <a:cubicBezTo>
                  <a:pt x="683" y="353"/>
                  <a:pt x="683" y="353"/>
                  <a:pt x="683" y="353"/>
                </a:cubicBezTo>
                <a:cubicBezTo>
                  <a:pt x="682" y="352"/>
                  <a:pt x="682" y="352"/>
                  <a:pt x="682" y="352"/>
                </a:cubicBezTo>
                <a:cubicBezTo>
                  <a:pt x="682" y="350"/>
                  <a:pt x="682" y="350"/>
                  <a:pt x="682" y="350"/>
                </a:cubicBezTo>
                <a:cubicBezTo>
                  <a:pt x="683" y="349"/>
                  <a:pt x="683" y="349"/>
                  <a:pt x="683" y="349"/>
                </a:cubicBezTo>
                <a:cubicBezTo>
                  <a:pt x="683" y="349"/>
                  <a:pt x="683" y="349"/>
                  <a:pt x="683" y="349"/>
                </a:cubicBezTo>
                <a:cubicBezTo>
                  <a:pt x="683" y="348"/>
                  <a:pt x="683" y="348"/>
                  <a:pt x="683" y="348"/>
                </a:cubicBezTo>
                <a:cubicBezTo>
                  <a:pt x="682" y="346"/>
                  <a:pt x="682" y="346"/>
                  <a:pt x="682" y="346"/>
                </a:cubicBezTo>
                <a:cubicBezTo>
                  <a:pt x="682" y="344"/>
                  <a:pt x="682" y="344"/>
                  <a:pt x="682" y="344"/>
                </a:cubicBezTo>
                <a:cubicBezTo>
                  <a:pt x="681" y="344"/>
                  <a:pt x="681" y="344"/>
                  <a:pt x="681" y="344"/>
                </a:cubicBezTo>
                <a:cubicBezTo>
                  <a:pt x="679" y="342"/>
                  <a:pt x="679" y="342"/>
                  <a:pt x="679" y="342"/>
                </a:cubicBezTo>
                <a:cubicBezTo>
                  <a:pt x="679" y="341"/>
                  <a:pt x="679" y="341"/>
                  <a:pt x="679" y="341"/>
                </a:cubicBezTo>
                <a:cubicBezTo>
                  <a:pt x="679" y="341"/>
                  <a:pt x="679" y="341"/>
                  <a:pt x="679" y="341"/>
                </a:cubicBezTo>
                <a:cubicBezTo>
                  <a:pt x="679" y="340"/>
                  <a:pt x="679" y="340"/>
                  <a:pt x="679" y="340"/>
                </a:cubicBezTo>
                <a:cubicBezTo>
                  <a:pt x="679" y="340"/>
                  <a:pt x="679" y="340"/>
                  <a:pt x="679" y="340"/>
                </a:cubicBezTo>
                <a:cubicBezTo>
                  <a:pt x="680" y="341"/>
                  <a:pt x="680" y="341"/>
                  <a:pt x="680" y="341"/>
                </a:cubicBezTo>
                <a:cubicBezTo>
                  <a:pt x="681" y="343"/>
                  <a:pt x="681" y="343"/>
                  <a:pt x="681" y="343"/>
                </a:cubicBezTo>
                <a:cubicBezTo>
                  <a:pt x="681" y="341"/>
                  <a:pt x="681" y="341"/>
                  <a:pt x="681" y="341"/>
                </a:cubicBezTo>
                <a:cubicBezTo>
                  <a:pt x="679" y="339"/>
                  <a:pt x="679" y="339"/>
                  <a:pt x="679" y="339"/>
                </a:cubicBezTo>
                <a:cubicBezTo>
                  <a:pt x="678" y="338"/>
                  <a:pt x="678" y="338"/>
                  <a:pt x="678" y="338"/>
                </a:cubicBezTo>
                <a:cubicBezTo>
                  <a:pt x="677" y="338"/>
                  <a:pt x="677" y="338"/>
                  <a:pt x="677" y="338"/>
                </a:cubicBezTo>
                <a:cubicBezTo>
                  <a:pt x="677" y="336"/>
                  <a:pt x="677" y="336"/>
                  <a:pt x="677" y="336"/>
                </a:cubicBezTo>
                <a:cubicBezTo>
                  <a:pt x="675" y="334"/>
                  <a:pt x="675" y="334"/>
                  <a:pt x="675" y="334"/>
                </a:cubicBezTo>
                <a:cubicBezTo>
                  <a:pt x="674" y="333"/>
                  <a:pt x="674" y="333"/>
                  <a:pt x="674" y="333"/>
                </a:cubicBezTo>
                <a:cubicBezTo>
                  <a:pt x="674" y="331"/>
                  <a:pt x="674" y="331"/>
                  <a:pt x="674" y="331"/>
                </a:cubicBezTo>
                <a:cubicBezTo>
                  <a:pt x="673" y="330"/>
                  <a:pt x="673" y="330"/>
                  <a:pt x="673" y="330"/>
                </a:cubicBezTo>
                <a:cubicBezTo>
                  <a:pt x="671" y="329"/>
                  <a:pt x="671" y="329"/>
                  <a:pt x="671" y="329"/>
                </a:cubicBezTo>
                <a:cubicBezTo>
                  <a:pt x="670" y="328"/>
                  <a:pt x="670" y="328"/>
                  <a:pt x="670" y="328"/>
                </a:cubicBezTo>
                <a:cubicBezTo>
                  <a:pt x="670" y="327"/>
                  <a:pt x="670" y="327"/>
                  <a:pt x="670" y="327"/>
                </a:cubicBezTo>
                <a:cubicBezTo>
                  <a:pt x="669" y="328"/>
                  <a:pt x="669" y="328"/>
                  <a:pt x="669" y="328"/>
                </a:cubicBezTo>
                <a:cubicBezTo>
                  <a:pt x="670" y="328"/>
                  <a:pt x="670" y="328"/>
                  <a:pt x="670" y="328"/>
                </a:cubicBezTo>
                <a:cubicBezTo>
                  <a:pt x="670" y="329"/>
                  <a:pt x="670" y="329"/>
                  <a:pt x="670" y="329"/>
                </a:cubicBezTo>
                <a:cubicBezTo>
                  <a:pt x="669" y="329"/>
                  <a:pt x="669" y="329"/>
                  <a:pt x="669" y="329"/>
                </a:cubicBezTo>
                <a:cubicBezTo>
                  <a:pt x="668" y="329"/>
                  <a:pt x="668" y="329"/>
                  <a:pt x="668" y="329"/>
                </a:cubicBezTo>
                <a:cubicBezTo>
                  <a:pt x="667" y="329"/>
                  <a:pt x="667" y="329"/>
                  <a:pt x="667" y="329"/>
                </a:cubicBezTo>
                <a:cubicBezTo>
                  <a:pt x="669" y="331"/>
                  <a:pt x="669" y="331"/>
                  <a:pt x="669" y="331"/>
                </a:cubicBezTo>
                <a:cubicBezTo>
                  <a:pt x="671" y="332"/>
                  <a:pt x="671" y="332"/>
                  <a:pt x="671" y="332"/>
                </a:cubicBezTo>
                <a:cubicBezTo>
                  <a:pt x="672" y="333"/>
                  <a:pt x="672" y="333"/>
                  <a:pt x="672" y="333"/>
                </a:cubicBezTo>
                <a:cubicBezTo>
                  <a:pt x="671" y="334"/>
                  <a:pt x="671" y="334"/>
                  <a:pt x="671" y="334"/>
                </a:cubicBezTo>
                <a:cubicBezTo>
                  <a:pt x="672" y="334"/>
                  <a:pt x="672" y="334"/>
                  <a:pt x="672" y="334"/>
                </a:cubicBezTo>
                <a:cubicBezTo>
                  <a:pt x="673" y="334"/>
                  <a:pt x="673" y="334"/>
                  <a:pt x="673" y="334"/>
                </a:cubicBezTo>
                <a:cubicBezTo>
                  <a:pt x="673" y="335"/>
                  <a:pt x="673" y="335"/>
                  <a:pt x="673" y="335"/>
                </a:cubicBezTo>
                <a:cubicBezTo>
                  <a:pt x="673" y="335"/>
                  <a:pt x="673" y="335"/>
                  <a:pt x="673" y="335"/>
                </a:cubicBezTo>
                <a:cubicBezTo>
                  <a:pt x="672" y="335"/>
                  <a:pt x="672" y="335"/>
                  <a:pt x="672" y="335"/>
                </a:cubicBezTo>
                <a:cubicBezTo>
                  <a:pt x="672" y="336"/>
                  <a:pt x="672" y="336"/>
                  <a:pt x="672" y="336"/>
                </a:cubicBezTo>
                <a:cubicBezTo>
                  <a:pt x="673" y="336"/>
                  <a:pt x="673" y="336"/>
                  <a:pt x="673" y="336"/>
                </a:cubicBezTo>
                <a:cubicBezTo>
                  <a:pt x="673" y="338"/>
                  <a:pt x="673" y="338"/>
                  <a:pt x="673" y="338"/>
                </a:cubicBezTo>
                <a:cubicBezTo>
                  <a:pt x="672" y="338"/>
                  <a:pt x="672" y="338"/>
                  <a:pt x="672" y="338"/>
                </a:cubicBezTo>
                <a:cubicBezTo>
                  <a:pt x="671" y="338"/>
                  <a:pt x="671" y="338"/>
                  <a:pt x="671" y="338"/>
                </a:cubicBezTo>
                <a:cubicBezTo>
                  <a:pt x="671" y="337"/>
                  <a:pt x="671" y="337"/>
                  <a:pt x="671" y="337"/>
                </a:cubicBezTo>
                <a:cubicBezTo>
                  <a:pt x="670" y="338"/>
                  <a:pt x="670" y="338"/>
                  <a:pt x="670" y="338"/>
                </a:cubicBezTo>
                <a:cubicBezTo>
                  <a:pt x="669" y="339"/>
                  <a:pt x="669" y="339"/>
                  <a:pt x="669" y="339"/>
                </a:cubicBezTo>
                <a:cubicBezTo>
                  <a:pt x="670" y="341"/>
                  <a:pt x="670" y="341"/>
                  <a:pt x="670" y="341"/>
                </a:cubicBezTo>
                <a:cubicBezTo>
                  <a:pt x="671" y="342"/>
                  <a:pt x="671" y="342"/>
                  <a:pt x="671" y="342"/>
                </a:cubicBezTo>
                <a:cubicBezTo>
                  <a:pt x="672" y="344"/>
                  <a:pt x="672" y="344"/>
                  <a:pt x="672" y="344"/>
                </a:cubicBezTo>
                <a:cubicBezTo>
                  <a:pt x="673" y="346"/>
                  <a:pt x="673" y="346"/>
                  <a:pt x="673" y="346"/>
                </a:cubicBezTo>
                <a:cubicBezTo>
                  <a:pt x="673" y="348"/>
                  <a:pt x="673" y="348"/>
                  <a:pt x="673" y="348"/>
                </a:cubicBezTo>
                <a:cubicBezTo>
                  <a:pt x="673" y="349"/>
                  <a:pt x="673" y="349"/>
                  <a:pt x="673" y="349"/>
                </a:cubicBezTo>
                <a:cubicBezTo>
                  <a:pt x="674" y="351"/>
                  <a:pt x="674" y="351"/>
                  <a:pt x="674" y="351"/>
                </a:cubicBezTo>
                <a:cubicBezTo>
                  <a:pt x="675" y="354"/>
                  <a:pt x="675" y="354"/>
                  <a:pt x="675" y="354"/>
                </a:cubicBezTo>
                <a:cubicBezTo>
                  <a:pt x="676" y="356"/>
                  <a:pt x="676" y="356"/>
                  <a:pt x="676" y="356"/>
                </a:cubicBezTo>
                <a:cubicBezTo>
                  <a:pt x="677" y="357"/>
                  <a:pt x="677" y="357"/>
                  <a:pt x="677" y="357"/>
                </a:cubicBezTo>
                <a:cubicBezTo>
                  <a:pt x="677" y="357"/>
                  <a:pt x="677" y="357"/>
                  <a:pt x="677" y="357"/>
                </a:cubicBezTo>
                <a:cubicBezTo>
                  <a:pt x="676" y="358"/>
                  <a:pt x="676" y="358"/>
                  <a:pt x="676" y="358"/>
                </a:cubicBezTo>
                <a:cubicBezTo>
                  <a:pt x="680" y="361"/>
                  <a:pt x="680" y="361"/>
                  <a:pt x="680" y="361"/>
                </a:cubicBezTo>
                <a:cubicBezTo>
                  <a:pt x="681" y="361"/>
                  <a:pt x="681" y="361"/>
                  <a:pt x="681" y="361"/>
                </a:cubicBezTo>
                <a:cubicBezTo>
                  <a:pt x="682" y="363"/>
                  <a:pt x="682" y="363"/>
                  <a:pt x="682" y="363"/>
                </a:cubicBezTo>
                <a:cubicBezTo>
                  <a:pt x="682" y="365"/>
                  <a:pt x="682" y="365"/>
                  <a:pt x="682" y="365"/>
                </a:cubicBezTo>
                <a:cubicBezTo>
                  <a:pt x="682" y="367"/>
                  <a:pt x="682" y="367"/>
                  <a:pt x="682" y="367"/>
                </a:cubicBezTo>
                <a:cubicBezTo>
                  <a:pt x="683" y="369"/>
                  <a:pt x="683" y="369"/>
                  <a:pt x="683" y="369"/>
                </a:cubicBezTo>
                <a:cubicBezTo>
                  <a:pt x="683" y="370"/>
                  <a:pt x="683" y="370"/>
                  <a:pt x="683" y="370"/>
                </a:cubicBezTo>
                <a:cubicBezTo>
                  <a:pt x="684" y="371"/>
                  <a:pt x="684" y="371"/>
                  <a:pt x="684" y="371"/>
                </a:cubicBezTo>
                <a:cubicBezTo>
                  <a:pt x="686" y="372"/>
                  <a:pt x="686" y="372"/>
                  <a:pt x="686" y="372"/>
                </a:cubicBezTo>
                <a:cubicBezTo>
                  <a:pt x="685" y="372"/>
                  <a:pt x="685" y="372"/>
                  <a:pt x="685" y="372"/>
                </a:cubicBezTo>
                <a:cubicBezTo>
                  <a:pt x="685" y="373"/>
                  <a:pt x="685" y="373"/>
                  <a:pt x="685" y="373"/>
                </a:cubicBezTo>
                <a:cubicBezTo>
                  <a:pt x="687" y="375"/>
                  <a:pt x="687" y="375"/>
                  <a:pt x="687" y="375"/>
                </a:cubicBezTo>
                <a:cubicBezTo>
                  <a:pt x="687" y="377"/>
                  <a:pt x="687" y="377"/>
                  <a:pt x="687" y="377"/>
                </a:cubicBezTo>
                <a:cubicBezTo>
                  <a:pt x="688" y="378"/>
                  <a:pt x="688" y="378"/>
                  <a:pt x="688" y="378"/>
                </a:cubicBezTo>
                <a:cubicBezTo>
                  <a:pt x="688" y="381"/>
                  <a:pt x="688" y="381"/>
                  <a:pt x="688" y="381"/>
                </a:cubicBezTo>
                <a:cubicBezTo>
                  <a:pt x="688" y="382"/>
                  <a:pt x="688" y="382"/>
                  <a:pt x="688" y="382"/>
                </a:cubicBezTo>
                <a:cubicBezTo>
                  <a:pt x="688" y="383"/>
                  <a:pt x="688" y="383"/>
                  <a:pt x="688" y="383"/>
                </a:cubicBezTo>
                <a:cubicBezTo>
                  <a:pt x="688" y="385"/>
                  <a:pt x="688" y="385"/>
                  <a:pt x="688" y="385"/>
                </a:cubicBezTo>
                <a:cubicBezTo>
                  <a:pt x="689" y="387"/>
                  <a:pt x="689" y="387"/>
                  <a:pt x="689" y="387"/>
                </a:cubicBezTo>
                <a:cubicBezTo>
                  <a:pt x="689" y="388"/>
                  <a:pt x="689" y="388"/>
                  <a:pt x="689" y="388"/>
                </a:cubicBezTo>
                <a:cubicBezTo>
                  <a:pt x="689" y="390"/>
                  <a:pt x="689" y="390"/>
                  <a:pt x="689" y="390"/>
                </a:cubicBezTo>
                <a:cubicBezTo>
                  <a:pt x="690" y="391"/>
                  <a:pt x="690" y="391"/>
                  <a:pt x="690" y="391"/>
                </a:cubicBezTo>
                <a:cubicBezTo>
                  <a:pt x="693" y="394"/>
                  <a:pt x="693" y="394"/>
                  <a:pt x="693" y="394"/>
                </a:cubicBezTo>
                <a:cubicBezTo>
                  <a:pt x="693" y="395"/>
                  <a:pt x="693" y="395"/>
                  <a:pt x="693" y="395"/>
                </a:cubicBezTo>
                <a:cubicBezTo>
                  <a:pt x="694" y="397"/>
                  <a:pt x="694" y="397"/>
                  <a:pt x="694" y="397"/>
                </a:cubicBezTo>
                <a:cubicBezTo>
                  <a:pt x="694" y="399"/>
                  <a:pt x="694" y="399"/>
                  <a:pt x="694" y="399"/>
                </a:cubicBezTo>
                <a:cubicBezTo>
                  <a:pt x="694" y="402"/>
                  <a:pt x="694" y="402"/>
                  <a:pt x="694" y="402"/>
                </a:cubicBezTo>
                <a:cubicBezTo>
                  <a:pt x="695" y="404"/>
                  <a:pt x="695" y="404"/>
                  <a:pt x="695" y="404"/>
                </a:cubicBezTo>
                <a:cubicBezTo>
                  <a:pt x="695" y="405"/>
                  <a:pt x="695" y="405"/>
                  <a:pt x="695" y="405"/>
                </a:cubicBezTo>
                <a:cubicBezTo>
                  <a:pt x="697" y="407"/>
                  <a:pt x="697" y="407"/>
                  <a:pt x="697" y="407"/>
                </a:cubicBezTo>
                <a:cubicBezTo>
                  <a:pt x="697" y="408"/>
                  <a:pt x="697" y="408"/>
                  <a:pt x="697" y="408"/>
                </a:cubicBezTo>
                <a:cubicBezTo>
                  <a:pt x="697" y="410"/>
                  <a:pt x="697" y="410"/>
                  <a:pt x="697" y="410"/>
                </a:cubicBezTo>
                <a:cubicBezTo>
                  <a:pt x="697" y="413"/>
                  <a:pt x="697" y="413"/>
                  <a:pt x="697" y="413"/>
                </a:cubicBezTo>
                <a:cubicBezTo>
                  <a:pt x="697" y="414"/>
                  <a:pt x="697" y="414"/>
                  <a:pt x="697" y="414"/>
                </a:cubicBezTo>
                <a:cubicBezTo>
                  <a:pt x="698" y="415"/>
                  <a:pt x="698" y="415"/>
                  <a:pt x="698" y="415"/>
                </a:cubicBezTo>
                <a:cubicBezTo>
                  <a:pt x="699" y="417"/>
                  <a:pt x="699" y="417"/>
                  <a:pt x="699" y="417"/>
                </a:cubicBezTo>
                <a:cubicBezTo>
                  <a:pt x="701" y="418"/>
                  <a:pt x="701" y="418"/>
                  <a:pt x="701" y="418"/>
                </a:cubicBezTo>
                <a:close/>
                <a:moveTo>
                  <a:pt x="637" y="329"/>
                </a:moveTo>
                <a:cubicBezTo>
                  <a:pt x="637" y="329"/>
                  <a:pt x="637" y="329"/>
                  <a:pt x="637" y="329"/>
                </a:cubicBezTo>
                <a:cubicBezTo>
                  <a:pt x="637" y="328"/>
                  <a:pt x="637" y="328"/>
                  <a:pt x="637" y="328"/>
                </a:cubicBezTo>
                <a:cubicBezTo>
                  <a:pt x="638" y="328"/>
                  <a:pt x="638" y="328"/>
                  <a:pt x="638" y="328"/>
                </a:cubicBezTo>
                <a:cubicBezTo>
                  <a:pt x="638" y="328"/>
                  <a:pt x="638" y="328"/>
                  <a:pt x="638" y="328"/>
                </a:cubicBezTo>
                <a:cubicBezTo>
                  <a:pt x="639" y="329"/>
                  <a:pt x="639" y="329"/>
                  <a:pt x="639" y="329"/>
                </a:cubicBezTo>
                <a:cubicBezTo>
                  <a:pt x="640" y="329"/>
                  <a:pt x="640" y="329"/>
                  <a:pt x="640" y="329"/>
                </a:cubicBezTo>
                <a:cubicBezTo>
                  <a:pt x="641" y="329"/>
                  <a:pt x="641" y="329"/>
                  <a:pt x="641" y="329"/>
                </a:cubicBezTo>
                <a:cubicBezTo>
                  <a:pt x="641" y="328"/>
                  <a:pt x="641" y="328"/>
                  <a:pt x="641" y="328"/>
                </a:cubicBezTo>
                <a:cubicBezTo>
                  <a:pt x="641" y="327"/>
                  <a:pt x="641" y="327"/>
                  <a:pt x="641" y="327"/>
                </a:cubicBezTo>
                <a:cubicBezTo>
                  <a:pt x="641" y="326"/>
                  <a:pt x="641" y="326"/>
                  <a:pt x="641" y="326"/>
                </a:cubicBezTo>
                <a:cubicBezTo>
                  <a:pt x="642" y="326"/>
                  <a:pt x="642" y="326"/>
                  <a:pt x="642" y="326"/>
                </a:cubicBezTo>
                <a:cubicBezTo>
                  <a:pt x="642" y="325"/>
                  <a:pt x="642" y="325"/>
                  <a:pt x="642" y="325"/>
                </a:cubicBezTo>
                <a:cubicBezTo>
                  <a:pt x="641" y="325"/>
                  <a:pt x="641" y="325"/>
                  <a:pt x="641" y="325"/>
                </a:cubicBezTo>
                <a:cubicBezTo>
                  <a:pt x="640" y="326"/>
                  <a:pt x="640" y="326"/>
                  <a:pt x="640" y="326"/>
                </a:cubicBezTo>
                <a:cubicBezTo>
                  <a:pt x="640" y="326"/>
                  <a:pt x="640" y="326"/>
                  <a:pt x="640" y="326"/>
                </a:cubicBezTo>
                <a:cubicBezTo>
                  <a:pt x="640" y="326"/>
                  <a:pt x="640" y="326"/>
                  <a:pt x="640" y="326"/>
                </a:cubicBezTo>
                <a:cubicBezTo>
                  <a:pt x="640" y="325"/>
                  <a:pt x="640" y="325"/>
                  <a:pt x="640" y="325"/>
                </a:cubicBezTo>
                <a:cubicBezTo>
                  <a:pt x="640" y="324"/>
                  <a:pt x="640" y="324"/>
                  <a:pt x="640" y="324"/>
                </a:cubicBezTo>
                <a:cubicBezTo>
                  <a:pt x="640" y="324"/>
                  <a:pt x="640" y="324"/>
                  <a:pt x="640" y="324"/>
                </a:cubicBezTo>
                <a:cubicBezTo>
                  <a:pt x="638" y="324"/>
                  <a:pt x="638" y="324"/>
                  <a:pt x="638" y="324"/>
                </a:cubicBezTo>
                <a:cubicBezTo>
                  <a:pt x="638" y="324"/>
                  <a:pt x="638" y="324"/>
                  <a:pt x="638" y="324"/>
                </a:cubicBezTo>
                <a:cubicBezTo>
                  <a:pt x="637" y="325"/>
                  <a:pt x="637" y="325"/>
                  <a:pt x="637" y="325"/>
                </a:cubicBezTo>
                <a:cubicBezTo>
                  <a:pt x="637" y="326"/>
                  <a:pt x="637" y="326"/>
                  <a:pt x="637" y="326"/>
                </a:cubicBezTo>
                <a:cubicBezTo>
                  <a:pt x="636" y="326"/>
                  <a:pt x="636" y="326"/>
                  <a:pt x="636" y="326"/>
                </a:cubicBezTo>
                <a:cubicBezTo>
                  <a:pt x="636" y="327"/>
                  <a:pt x="636" y="327"/>
                  <a:pt x="636" y="327"/>
                </a:cubicBezTo>
                <a:cubicBezTo>
                  <a:pt x="637" y="329"/>
                  <a:pt x="637" y="329"/>
                  <a:pt x="637" y="329"/>
                </a:cubicBezTo>
                <a:close/>
                <a:moveTo>
                  <a:pt x="633" y="328"/>
                </a:moveTo>
                <a:cubicBezTo>
                  <a:pt x="633" y="328"/>
                  <a:pt x="633" y="328"/>
                  <a:pt x="633" y="328"/>
                </a:cubicBezTo>
                <a:cubicBezTo>
                  <a:pt x="633" y="328"/>
                  <a:pt x="633" y="328"/>
                  <a:pt x="633" y="328"/>
                </a:cubicBezTo>
                <a:cubicBezTo>
                  <a:pt x="634" y="327"/>
                  <a:pt x="634" y="327"/>
                  <a:pt x="634" y="327"/>
                </a:cubicBezTo>
                <a:cubicBezTo>
                  <a:pt x="634" y="328"/>
                  <a:pt x="634" y="328"/>
                  <a:pt x="634" y="328"/>
                </a:cubicBezTo>
                <a:cubicBezTo>
                  <a:pt x="635" y="327"/>
                  <a:pt x="635" y="327"/>
                  <a:pt x="635" y="327"/>
                </a:cubicBezTo>
                <a:cubicBezTo>
                  <a:pt x="634" y="326"/>
                  <a:pt x="634" y="326"/>
                  <a:pt x="634" y="326"/>
                </a:cubicBezTo>
                <a:cubicBezTo>
                  <a:pt x="635" y="326"/>
                  <a:pt x="635" y="326"/>
                  <a:pt x="635" y="326"/>
                </a:cubicBezTo>
                <a:cubicBezTo>
                  <a:pt x="635" y="325"/>
                  <a:pt x="635" y="325"/>
                  <a:pt x="635" y="325"/>
                </a:cubicBezTo>
                <a:cubicBezTo>
                  <a:pt x="634" y="325"/>
                  <a:pt x="634" y="325"/>
                  <a:pt x="634" y="325"/>
                </a:cubicBezTo>
                <a:cubicBezTo>
                  <a:pt x="633" y="326"/>
                  <a:pt x="633" y="326"/>
                  <a:pt x="633" y="326"/>
                </a:cubicBezTo>
                <a:cubicBezTo>
                  <a:pt x="632" y="326"/>
                  <a:pt x="632" y="326"/>
                  <a:pt x="632" y="326"/>
                </a:cubicBezTo>
                <a:cubicBezTo>
                  <a:pt x="632" y="327"/>
                  <a:pt x="632" y="327"/>
                  <a:pt x="632" y="327"/>
                </a:cubicBezTo>
                <a:cubicBezTo>
                  <a:pt x="633" y="328"/>
                  <a:pt x="633" y="328"/>
                  <a:pt x="633" y="328"/>
                </a:cubicBezTo>
                <a:close/>
                <a:moveTo>
                  <a:pt x="641" y="332"/>
                </a:moveTo>
                <a:cubicBezTo>
                  <a:pt x="641" y="333"/>
                  <a:pt x="641" y="333"/>
                  <a:pt x="641" y="333"/>
                </a:cubicBezTo>
                <a:cubicBezTo>
                  <a:pt x="642" y="332"/>
                  <a:pt x="642" y="332"/>
                  <a:pt x="642" y="332"/>
                </a:cubicBezTo>
                <a:cubicBezTo>
                  <a:pt x="642" y="331"/>
                  <a:pt x="642" y="331"/>
                  <a:pt x="642" y="331"/>
                </a:cubicBezTo>
                <a:cubicBezTo>
                  <a:pt x="642" y="331"/>
                  <a:pt x="642" y="331"/>
                  <a:pt x="642" y="331"/>
                </a:cubicBezTo>
                <a:cubicBezTo>
                  <a:pt x="642" y="331"/>
                  <a:pt x="642" y="331"/>
                  <a:pt x="642" y="331"/>
                </a:cubicBezTo>
                <a:cubicBezTo>
                  <a:pt x="642" y="331"/>
                  <a:pt x="642" y="331"/>
                  <a:pt x="642" y="331"/>
                </a:cubicBezTo>
                <a:cubicBezTo>
                  <a:pt x="641" y="332"/>
                  <a:pt x="641" y="332"/>
                  <a:pt x="641" y="332"/>
                </a:cubicBezTo>
                <a:close/>
                <a:moveTo>
                  <a:pt x="640" y="331"/>
                </a:moveTo>
                <a:cubicBezTo>
                  <a:pt x="640" y="332"/>
                  <a:pt x="640" y="332"/>
                  <a:pt x="640" y="332"/>
                </a:cubicBezTo>
                <a:cubicBezTo>
                  <a:pt x="640" y="332"/>
                  <a:pt x="640" y="332"/>
                  <a:pt x="640" y="332"/>
                </a:cubicBezTo>
                <a:cubicBezTo>
                  <a:pt x="641" y="332"/>
                  <a:pt x="641" y="332"/>
                  <a:pt x="641" y="332"/>
                </a:cubicBezTo>
                <a:cubicBezTo>
                  <a:pt x="641" y="331"/>
                  <a:pt x="641" y="331"/>
                  <a:pt x="641" y="331"/>
                </a:cubicBezTo>
                <a:cubicBezTo>
                  <a:pt x="640" y="330"/>
                  <a:pt x="640" y="330"/>
                  <a:pt x="640" y="330"/>
                </a:cubicBezTo>
                <a:cubicBezTo>
                  <a:pt x="640" y="331"/>
                  <a:pt x="640" y="331"/>
                  <a:pt x="640" y="331"/>
                </a:cubicBezTo>
                <a:close/>
                <a:moveTo>
                  <a:pt x="640" y="337"/>
                </a:moveTo>
                <a:cubicBezTo>
                  <a:pt x="641" y="335"/>
                  <a:pt x="641" y="335"/>
                  <a:pt x="641" y="335"/>
                </a:cubicBezTo>
                <a:cubicBezTo>
                  <a:pt x="642" y="335"/>
                  <a:pt x="642" y="335"/>
                  <a:pt x="642" y="335"/>
                </a:cubicBezTo>
                <a:cubicBezTo>
                  <a:pt x="642" y="334"/>
                  <a:pt x="642" y="334"/>
                  <a:pt x="642" y="334"/>
                </a:cubicBezTo>
                <a:cubicBezTo>
                  <a:pt x="642" y="334"/>
                  <a:pt x="642" y="334"/>
                  <a:pt x="642" y="334"/>
                </a:cubicBezTo>
                <a:cubicBezTo>
                  <a:pt x="642" y="333"/>
                  <a:pt x="642" y="333"/>
                  <a:pt x="642" y="333"/>
                </a:cubicBezTo>
                <a:cubicBezTo>
                  <a:pt x="640" y="334"/>
                  <a:pt x="640" y="334"/>
                  <a:pt x="640" y="334"/>
                </a:cubicBezTo>
                <a:cubicBezTo>
                  <a:pt x="639" y="335"/>
                  <a:pt x="639" y="335"/>
                  <a:pt x="639" y="335"/>
                </a:cubicBezTo>
                <a:cubicBezTo>
                  <a:pt x="639" y="336"/>
                  <a:pt x="639" y="336"/>
                  <a:pt x="639" y="336"/>
                </a:cubicBezTo>
                <a:cubicBezTo>
                  <a:pt x="640" y="337"/>
                  <a:pt x="640" y="337"/>
                  <a:pt x="640" y="337"/>
                </a:cubicBezTo>
                <a:close/>
                <a:moveTo>
                  <a:pt x="688" y="263"/>
                </a:moveTo>
                <a:cubicBezTo>
                  <a:pt x="689" y="263"/>
                  <a:pt x="689" y="263"/>
                  <a:pt x="689" y="263"/>
                </a:cubicBezTo>
                <a:cubicBezTo>
                  <a:pt x="690" y="262"/>
                  <a:pt x="690" y="262"/>
                  <a:pt x="690" y="262"/>
                </a:cubicBezTo>
                <a:cubicBezTo>
                  <a:pt x="690" y="261"/>
                  <a:pt x="690" y="261"/>
                  <a:pt x="690" y="261"/>
                </a:cubicBezTo>
                <a:cubicBezTo>
                  <a:pt x="689" y="261"/>
                  <a:pt x="689" y="261"/>
                  <a:pt x="689" y="261"/>
                </a:cubicBezTo>
                <a:cubicBezTo>
                  <a:pt x="688" y="262"/>
                  <a:pt x="688" y="262"/>
                  <a:pt x="688" y="262"/>
                </a:cubicBezTo>
                <a:cubicBezTo>
                  <a:pt x="688" y="263"/>
                  <a:pt x="688" y="263"/>
                  <a:pt x="688" y="263"/>
                </a:cubicBezTo>
                <a:close/>
                <a:moveTo>
                  <a:pt x="765" y="255"/>
                </a:moveTo>
                <a:cubicBezTo>
                  <a:pt x="766" y="255"/>
                  <a:pt x="766" y="255"/>
                  <a:pt x="766" y="255"/>
                </a:cubicBezTo>
                <a:cubicBezTo>
                  <a:pt x="765" y="254"/>
                  <a:pt x="765" y="254"/>
                  <a:pt x="765" y="254"/>
                </a:cubicBezTo>
                <a:cubicBezTo>
                  <a:pt x="765" y="253"/>
                  <a:pt x="765" y="253"/>
                  <a:pt x="765" y="253"/>
                </a:cubicBezTo>
                <a:cubicBezTo>
                  <a:pt x="765" y="252"/>
                  <a:pt x="765" y="252"/>
                  <a:pt x="765" y="252"/>
                </a:cubicBezTo>
                <a:cubicBezTo>
                  <a:pt x="765" y="251"/>
                  <a:pt x="765" y="251"/>
                  <a:pt x="765" y="251"/>
                </a:cubicBezTo>
                <a:cubicBezTo>
                  <a:pt x="766" y="250"/>
                  <a:pt x="766" y="250"/>
                  <a:pt x="766" y="250"/>
                </a:cubicBezTo>
                <a:cubicBezTo>
                  <a:pt x="767" y="249"/>
                  <a:pt x="767" y="249"/>
                  <a:pt x="767" y="249"/>
                </a:cubicBezTo>
                <a:cubicBezTo>
                  <a:pt x="768" y="248"/>
                  <a:pt x="768" y="248"/>
                  <a:pt x="768" y="248"/>
                </a:cubicBezTo>
                <a:cubicBezTo>
                  <a:pt x="769" y="247"/>
                  <a:pt x="769" y="247"/>
                  <a:pt x="769" y="247"/>
                </a:cubicBezTo>
                <a:cubicBezTo>
                  <a:pt x="769" y="246"/>
                  <a:pt x="769" y="246"/>
                  <a:pt x="769" y="246"/>
                </a:cubicBezTo>
                <a:cubicBezTo>
                  <a:pt x="768" y="244"/>
                  <a:pt x="768" y="244"/>
                  <a:pt x="768" y="244"/>
                </a:cubicBezTo>
                <a:cubicBezTo>
                  <a:pt x="766" y="243"/>
                  <a:pt x="766" y="243"/>
                  <a:pt x="766" y="243"/>
                </a:cubicBezTo>
                <a:cubicBezTo>
                  <a:pt x="766" y="242"/>
                  <a:pt x="766" y="242"/>
                  <a:pt x="766" y="242"/>
                </a:cubicBezTo>
                <a:cubicBezTo>
                  <a:pt x="765" y="243"/>
                  <a:pt x="765" y="243"/>
                  <a:pt x="765" y="243"/>
                </a:cubicBezTo>
                <a:cubicBezTo>
                  <a:pt x="765" y="244"/>
                  <a:pt x="765" y="244"/>
                  <a:pt x="765" y="244"/>
                </a:cubicBezTo>
                <a:cubicBezTo>
                  <a:pt x="764" y="244"/>
                  <a:pt x="764" y="244"/>
                  <a:pt x="764" y="244"/>
                </a:cubicBezTo>
                <a:cubicBezTo>
                  <a:pt x="763" y="246"/>
                  <a:pt x="763" y="246"/>
                  <a:pt x="763" y="246"/>
                </a:cubicBezTo>
                <a:cubicBezTo>
                  <a:pt x="762" y="246"/>
                  <a:pt x="762" y="246"/>
                  <a:pt x="762" y="246"/>
                </a:cubicBezTo>
                <a:cubicBezTo>
                  <a:pt x="762" y="247"/>
                  <a:pt x="762" y="247"/>
                  <a:pt x="762" y="247"/>
                </a:cubicBezTo>
                <a:cubicBezTo>
                  <a:pt x="762" y="247"/>
                  <a:pt x="762" y="247"/>
                  <a:pt x="762" y="247"/>
                </a:cubicBezTo>
                <a:cubicBezTo>
                  <a:pt x="763" y="247"/>
                  <a:pt x="763" y="247"/>
                  <a:pt x="763" y="247"/>
                </a:cubicBezTo>
                <a:cubicBezTo>
                  <a:pt x="764" y="247"/>
                  <a:pt x="764" y="247"/>
                  <a:pt x="764" y="247"/>
                </a:cubicBezTo>
                <a:cubicBezTo>
                  <a:pt x="763" y="248"/>
                  <a:pt x="763" y="248"/>
                  <a:pt x="763" y="248"/>
                </a:cubicBezTo>
                <a:cubicBezTo>
                  <a:pt x="764" y="250"/>
                  <a:pt x="764" y="250"/>
                  <a:pt x="764" y="250"/>
                </a:cubicBezTo>
                <a:cubicBezTo>
                  <a:pt x="764" y="251"/>
                  <a:pt x="764" y="251"/>
                  <a:pt x="764" y="251"/>
                </a:cubicBezTo>
                <a:cubicBezTo>
                  <a:pt x="764" y="252"/>
                  <a:pt x="764" y="252"/>
                  <a:pt x="764" y="252"/>
                </a:cubicBezTo>
                <a:cubicBezTo>
                  <a:pt x="764" y="253"/>
                  <a:pt x="764" y="253"/>
                  <a:pt x="764" y="253"/>
                </a:cubicBezTo>
                <a:cubicBezTo>
                  <a:pt x="764" y="254"/>
                  <a:pt x="764" y="254"/>
                  <a:pt x="764" y="254"/>
                </a:cubicBezTo>
                <a:cubicBezTo>
                  <a:pt x="765" y="255"/>
                  <a:pt x="765" y="255"/>
                  <a:pt x="765" y="255"/>
                </a:cubicBezTo>
                <a:close/>
                <a:moveTo>
                  <a:pt x="810" y="295"/>
                </a:moveTo>
                <a:cubicBezTo>
                  <a:pt x="811" y="296"/>
                  <a:pt x="811" y="296"/>
                  <a:pt x="811" y="296"/>
                </a:cubicBezTo>
                <a:cubicBezTo>
                  <a:pt x="812" y="296"/>
                  <a:pt x="812" y="296"/>
                  <a:pt x="812" y="296"/>
                </a:cubicBezTo>
                <a:cubicBezTo>
                  <a:pt x="814" y="297"/>
                  <a:pt x="814" y="297"/>
                  <a:pt x="814" y="297"/>
                </a:cubicBezTo>
                <a:cubicBezTo>
                  <a:pt x="815" y="298"/>
                  <a:pt x="815" y="298"/>
                  <a:pt x="815" y="298"/>
                </a:cubicBezTo>
                <a:cubicBezTo>
                  <a:pt x="816" y="298"/>
                  <a:pt x="816" y="298"/>
                  <a:pt x="816" y="298"/>
                </a:cubicBezTo>
                <a:cubicBezTo>
                  <a:pt x="818" y="298"/>
                  <a:pt x="818" y="298"/>
                  <a:pt x="818" y="298"/>
                </a:cubicBezTo>
                <a:cubicBezTo>
                  <a:pt x="817" y="297"/>
                  <a:pt x="817" y="297"/>
                  <a:pt x="817" y="297"/>
                </a:cubicBezTo>
                <a:cubicBezTo>
                  <a:pt x="815" y="297"/>
                  <a:pt x="815" y="297"/>
                  <a:pt x="815" y="297"/>
                </a:cubicBezTo>
                <a:cubicBezTo>
                  <a:pt x="815" y="296"/>
                  <a:pt x="815" y="296"/>
                  <a:pt x="815" y="296"/>
                </a:cubicBezTo>
                <a:cubicBezTo>
                  <a:pt x="813" y="296"/>
                  <a:pt x="813" y="296"/>
                  <a:pt x="813" y="296"/>
                </a:cubicBezTo>
                <a:cubicBezTo>
                  <a:pt x="812" y="295"/>
                  <a:pt x="812" y="295"/>
                  <a:pt x="812" y="295"/>
                </a:cubicBezTo>
                <a:cubicBezTo>
                  <a:pt x="811" y="294"/>
                  <a:pt x="811" y="294"/>
                  <a:pt x="811" y="294"/>
                </a:cubicBezTo>
                <a:cubicBezTo>
                  <a:pt x="810" y="295"/>
                  <a:pt x="810" y="295"/>
                  <a:pt x="810" y="295"/>
                </a:cubicBezTo>
                <a:close/>
                <a:moveTo>
                  <a:pt x="797" y="292"/>
                </a:moveTo>
                <a:cubicBezTo>
                  <a:pt x="798" y="292"/>
                  <a:pt x="798" y="292"/>
                  <a:pt x="798" y="292"/>
                </a:cubicBezTo>
                <a:cubicBezTo>
                  <a:pt x="799" y="292"/>
                  <a:pt x="799" y="292"/>
                  <a:pt x="799" y="292"/>
                </a:cubicBezTo>
                <a:cubicBezTo>
                  <a:pt x="800" y="293"/>
                  <a:pt x="800" y="293"/>
                  <a:pt x="800" y="293"/>
                </a:cubicBezTo>
                <a:cubicBezTo>
                  <a:pt x="800" y="293"/>
                  <a:pt x="800" y="293"/>
                  <a:pt x="800" y="293"/>
                </a:cubicBezTo>
                <a:cubicBezTo>
                  <a:pt x="801" y="295"/>
                  <a:pt x="801" y="295"/>
                  <a:pt x="801" y="295"/>
                </a:cubicBezTo>
                <a:cubicBezTo>
                  <a:pt x="802" y="295"/>
                  <a:pt x="802" y="295"/>
                  <a:pt x="802" y="295"/>
                </a:cubicBezTo>
                <a:cubicBezTo>
                  <a:pt x="803" y="296"/>
                  <a:pt x="803" y="296"/>
                  <a:pt x="803" y="296"/>
                </a:cubicBezTo>
                <a:cubicBezTo>
                  <a:pt x="804" y="296"/>
                  <a:pt x="804" y="296"/>
                  <a:pt x="804" y="296"/>
                </a:cubicBezTo>
                <a:cubicBezTo>
                  <a:pt x="804" y="296"/>
                  <a:pt x="804" y="296"/>
                  <a:pt x="804" y="296"/>
                </a:cubicBezTo>
                <a:cubicBezTo>
                  <a:pt x="805" y="297"/>
                  <a:pt x="805" y="297"/>
                  <a:pt x="805" y="297"/>
                </a:cubicBezTo>
                <a:cubicBezTo>
                  <a:pt x="807" y="297"/>
                  <a:pt x="807" y="297"/>
                  <a:pt x="807" y="297"/>
                </a:cubicBezTo>
                <a:cubicBezTo>
                  <a:pt x="807" y="297"/>
                  <a:pt x="807" y="297"/>
                  <a:pt x="807" y="297"/>
                </a:cubicBezTo>
                <a:cubicBezTo>
                  <a:pt x="806" y="295"/>
                  <a:pt x="806" y="295"/>
                  <a:pt x="806" y="295"/>
                </a:cubicBezTo>
                <a:cubicBezTo>
                  <a:pt x="805" y="295"/>
                  <a:pt x="805" y="295"/>
                  <a:pt x="805" y="295"/>
                </a:cubicBezTo>
                <a:cubicBezTo>
                  <a:pt x="803" y="294"/>
                  <a:pt x="803" y="294"/>
                  <a:pt x="803" y="294"/>
                </a:cubicBezTo>
                <a:cubicBezTo>
                  <a:pt x="803" y="293"/>
                  <a:pt x="803" y="293"/>
                  <a:pt x="803" y="293"/>
                </a:cubicBezTo>
                <a:cubicBezTo>
                  <a:pt x="802" y="292"/>
                  <a:pt x="802" y="292"/>
                  <a:pt x="802" y="292"/>
                </a:cubicBezTo>
                <a:cubicBezTo>
                  <a:pt x="801" y="291"/>
                  <a:pt x="801" y="291"/>
                  <a:pt x="801" y="291"/>
                </a:cubicBezTo>
                <a:cubicBezTo>
                  <a:pt x="801" y="290"/>
                  <a:pt x="801" y="290"/>
                  <a:pt x="801" y="290"/>
                </a:cubicBezTo>
                <a:cubicBezTo>
                  <a:pt x="801" y="290"/>
                  <a:pt x="801" y="290"/>
                  <a:pt x="801" y="290"/>
                </a:cubicBezTo>
                <a:cubicBezTo>
                  <a:pt x="800" y="290"/>
                  <a:pt x="800" y="290"/>
                  <a:pt x="800" y="290"/>
                </a:cubicBezTo>
                <a:cubicBezTo>
                  <a:pt x="799" y="290"/>
                  <a:pt x="799" y="290"/>
                  <a:pt x="799" y="290"/>
                </a:cubicBezTo>
                <a:cubicBezTo>
                  <a:pt x="798" y="290"/>
                  <a:pt x="798" y="290"/>
                  <a:pt x="798" y="290"/>
                </a:cubicBezTo>
                <a:cubicBezTo>
                  <a:pt x="797" y="291"/>
                  <a:pt x="797" y="291"/>
                  <a:pt x="797" y="291"/>
                </a:cubicBezTo>
                <a:cubicBezTo>
                  <a:pt x="797" y="292"/>
                  <a:pt x="797" y="292"/>
                  <a:pt x="797" y="292"/>
                </a:cubicBezTo>
                <a:close/>
                <a:moveTo>
                  <a:pt x="766" y="357"/>
                </a:moveTo>
                <a:cubicBezTo>
                  <a:pt x="767" y="357"/>
                  <a:pt x="767" y="357"/>
                  <a:pt x="767" y="357"/>
                </a:cubicBezTo>
                <a:cubicBezTo>
                  <a:pt x="767" y="356"/>
                  <a:pt x="767" y="356"/>
                  <a:pt x="767" y="356"/>
                </a:cubicBezTo>
                <a:cubicBezTo>
                  <a:pt x="767" y="355"/>
                  <a:pt x="767" y="355"/>
                  <a:pt x="767" y="355"/>
                </a:cubicBezTo>
                <a:cubicBezTo>
                  <a:pt x="766" y="354"/>
                  <a:pt x="766" y="354"/>
                  <a:pt x="766" y="354"/>
                </a:cubicBezTo>
                <a:cubicBezTo>
                  <a:pt x="766" y="355"/>
                  <a:pt x="766" y="355"/>
                  <a:pt x="766" y="355"/>
                </a:cubicBezTo>
                <a:cubicBezTo>
                  <a:pt x="766" y="356"/>
                  <a:pt x="766" y="356"/>
                  <a:pt x="766" y="356"/>
                </a:cubicBezTo>
                <a:cubicBezTo>
                  <a:pt x="766" y="357"/>
                  <a:pt x="766" y="357"/>
                  <a:pt x="766" y="357"/>
                </a:cubicBezTo>
                <a:close/>
                <a:moveTo>
                  <a:pt x="760" y="355"/>
                </a:moveTo>
                <a:cubicBezTo>
                  <a:pt x="760" y="356"/>
                  <a:pt x="760" y="356"/>
                  <a:pt x="760" y="356"/>
                </a:cubicBezTo>
                <a:cubicBezTo>
                  <a:pt x="760" y="356"/>
                  <a:pt x="760" y="356"/>
                  <a:pt x="760" y="356"/>
                </a:cubicBezTo>
                <a:cubicBezTo>
                  <a:pt x="762" y="356"/>
                  <a:pt x="762" y="356"/>
                  <a:pt x="762" y="356"/>
                </a:cubicBezTo>
                <a:cubicBezTo>
                  <a:pt x="762" y="355"/>
                  <a:pt x="762" y="355"/>
                  <a:pt x="762" y="355"/>
                </a:cubicBezTo>
                <a:cubicBezTo>
                  <a:pt x="761" y="354"/>
                  <a:pt x="761" y="354"/>
                  <a:pt x="761" y="354"/>
                </a:cubicBezTo>
                <a:cubicBezTo>
                  <a:pt x="760" y="355"/>
                  <a:pt x="760" y="355"/>
                  <a:pt x="760" y="355"/>
                </a:cubicBezTo>
                <a:close/>
                <a:moveTo>
                  <a:pt x="763" y="365"/>
                </a:moveTo>
                <a:cubicBezTo>
                  <a:pt x="764" y="365"/>
                  <a:pt x="764" y="365"/>
                  <a:pt x="764" y="365"/>
                </a:cubicBezTo>
                <a:cubicBezTo>
                  <a:pt x="764" y="364"/>
                  <a:pt x="764" y="364"/>
                  <a:pt x="764" y="364"/>
                </a:cubicBezTo>
                <a:cubicBezTo>
                  <a:pt x="764" y="363"/>
                  <a:pt x="764" y="363"/>
                  <a:pt x="764" y="363"/>
                </a:cubicBezTo>
                <a:cubicBezTo>
                  <a:pt x="765" y="363"/>
                  <a:pt x="765" y="363"/>
                  <a:pt x="765" y="363"/>
                </a:cubicBezTo>
                <a:cubicBezTo>
                  <a:pt x="766" y="361"/>
                  <a:pt x="766" y="361"/>
                  <a:pt x="766" y="361"/>
                </a:cubicBezTo>
                <a:cubicBezTo>
                  <a:pt x="766" y="360"/>
                  <a:pt x="766" y="360"/>
                  <a:pt x="766" y="360"/>
                </a:cubicBezTo>
                <a:cubicBezTo>
                  <a:pt x="766" y="359"/>
                  <a:pt x="766" y="359"/>
                  <a:pt x="766" y="359"/>
                </a:cubicBezTo>
                <a:cubicBezTo>
                  <a:pt x="767" y="358"/>
                  <a:pt x="767" y="358"/>
                  <a:pt x="767" y="358"/>
                </a:cubicBezTo>
                <a:cubicBezTo>
                  <a:pt x="766" y="357"/>
                  <a:pt x="766" y="357"/>
                  <a:pt x="766" y="357"/>
                </a:cubicBezTo>
                <a:cubicBezTo>
                  <a:pt x="764" y="356"/>
                  <a:pt x="764" y="356"/>
                  <a:pt x="764" y="356"/>
                </a:cubicBezTo>
                <a:cubicBezTo>
                  <a:pt x="764" y="357"/>
                  <a:pt x="764" y="357"/>
                  <a:pt x="764" y="357"/>
                </a:cubicBezTo>
                <a:cubicBezTo>
                  <a:pt x="764" y="359"/>
                  <a:pt x="764" y="359"/>
                  <a:pt x="764" y="359"/>
                </a:cubicBezTo>
                <a:cubicBezTo>
                  <a:pt x="764" y="360"/>
                  <a:pt x="764" y="360"/>
                  <a:pt x="764" y="360"/>
                </a:cubicBezTo>
                <a:cubicBezTo>
                  <a:pt x="763" y="360"/>
                  <a:pt x="763" y="360"/>
                  <a:pt x="763" y="360"/>
                </a:cubicBezTo>
                <a:cubicBezTo>
                  <a:pt x="762" y="362"/>
                  <a:pt x="762" y="362"/>
                  <a:pt x="762" y="362"/>
                </a:cubicBezTo>
                <a:cubicBezTo>
                  <a:pt x="761" y="362"/>
                  <a:pt x="761" y="362"/>
                  <a:pt x="761" y="362"/>
                </a:cubicBezTo>
                <a:cubicBezTo>
                  <a:pt x="761" y="362"/>
                  <a:pt x="761" y="362"/>
                  <a:pt x="761" y="362"/>
                </a:cubicBezTo>
                <a:cubicBezTo>
                  <a:pt x="762" y="363"/>
                  <a:pt x="762" y="363"/>
                  <a:pt x="762" y="363"/>
                </a:cubicBezTo>
                <a:cubicBezTo>
                  <a:pt x="762" y="364"/>
                  <a:pt x="762" y="364"/>
                  <a:pt x="762" y="364"/>
                </a:cubicBezTo>
                <a:cubicBezTo>
                  <a:pt x="761" y="364"/>
                  <a:pt x="761" y="364"/>
                  <a:pt x="761" y="364"/>
                </a:cubicBezTo>
                <a:cubicBezTo>
                  <a:pt x="762" y="365"/>
                  <a:pt x="762" y="365"/>
                  <a:pt x="762" y="365"/>
                </a:cubicBezTo>
                <a:cubicBezTo>
                  <a:pt x="763" y="365"/>
                  <a:pt x="763" y="365"/>
                  <a:pt x="763" y="365"/>
                </a:cubicBezTo>
                <a:cubicBezTo>
                  <a:pt x="763" y="365"/>
                  <a:pt x="763" y="365"/>
                  <a:pt x="763" y="365"/>
                </a:cubicBezTo>
                <a:close/>
                <a:moveTo>
                  <a:pt x="762" y="373"/>
                </a:moveTo>
                <a:cubicBezTo>
                  <a:pt x="762" y="373"/>
                  <a:pt x="763" y="372"/>
                  <a:pt x="763" y="372"/>
                </a:cubicBezTo>
                <a:cubicBezTo>
                  <a:pt x="762" y="371"/>
                  <a:pt x="762" y="371"/>
                  <a:pt x="762" y="371"/>
                </a:cubicBezTo>
                <a:cubicBezTo>
                  <a:pt x="762" y="370"/>
                  <a:pt x="762" y="370"/>
                  <a:pt x="762" y="370"/>
                </a:cubicBezTo>
                <a:cubicBezTo>
                  <a:pt x="762" y="370"/>
                  <a:pt x="762" y="370"/>
                  <a:pt x="762" y="370"/>
                </a:cubicBezTo>
                <a:cubicBezTo>
                  <a:pt x="762" y="371"/>
                  <a:pt x="762" y="371"/>
                  <a:pt x="762" y="371"/>
                </a:cubicBezTo>
                <a:cubicBezTo>
                  <a:pt x="761" y="372"/>
                  <a:pt x="761" y="372"/>
                  <a:pt x="761" y="372"/>
                </a:cubicBezTo>
                <a:cubicBezTo>
                  <a:pt x="762" y="373"/>
                  <a:pt x="762" y="373"/>
                  <a:pt x="762" y="373"/>
                </a:cubicBezTo>
                <a:close/>
                <a:moveTo>
                  <a:pt x="762" y="376"/>
                </a:moveTo>
                <a:cubicBezTo>
                  <a:pt x="763" y="375"/>
                  <a:pt x="763" y="375"/>
                  <a:pt x="763" y="375"/>
                </a:cubicBezTo>
                <a:cubicBezTo>
                  <a:pt x="763" y="375"/>
                  <a:pt x="763" y="375"/>
                  <a:pt x="763" y="375"/>
                </a:cubicBezTo>
                <a:cubicBezTo>
                  <a:pt x="762" y="374"/>
                  <a:pt x="762" y="374"/>
                  <a:pt x="762" y="374"/>
                </a:cubicBezTo>
                <a:cubicBezTo>
                  <a:pt x="762" y="374"/>
                  <a:pt x="762" y="374"/>
                  <a:pt x="762" y="374"/>
                </a:cubicBezTo>
                <a:cubicBezTo>
                  <a:pt x="762" y="375"/>
                  <a:pt x="762" y="375"/>
                  <a:pt x="762" y="375"/>
                </a:cubicBezTo>
                <a:cubicBezTo>
                  <a:pt x="762" y="376"/>
                  <a:pt x="762" y="376"/>
                  <a:pt x="762" y="376"/>
                </a:cubicBezTo>
                <a:close/>
                <a:moveTo>
                  <a:pt x="760" y="377"/>
                </a:moveTo>
                <a:cubicBezTo>
                  <a:pt x="761" y="377"/>
                  <a:pt x="761" y="377"/>
                  <a:pt x="761" y="377"/>
                </a:cubicBezTo>
                <a:cubicBezTo>
                  <a:pt x="760" y="377"/>
                  <a:pt x="760" y="377"/>
                  <a:pt x="760" y="377"/>
                </a:cubicBezTo>
                <a:cubicBezTo>
                  <a:pt x="760" y="377"/>
                  <a:pt x="760" y="377"/>
                  <a:pt x="760" y="377"/>
                </a:cubicBezTo>
                <a:cubicBezTo>
                  <a:pt x="760" y="377"/>
                  <a:pt x="760" y="377"/>
                  <a:pt x="760" y="377"/>
                </a:cubicBezTo>
                <a:cubicBezTo>
                  <a:pt x="760" y="377"/>
                  <a:pt x="760" y="377"/>
                  <a:pt x="760" y="377"/>
                </a:cubicBezTo>
                <a:close/>
                <a:moveTo>
                  <a:pt x="761" y="380"/>
                </a:moveTo>
                <a:cubicBezTo>
                  <a:pt x="761" y="380"/>
                  <a:pt x="761" y="380"/>
                  <a:pt x="761" y="380"/>
                </a:cubicBezTo>
                <a:cubicBezTo>
                  <a:pt x="762" y="379"/>
                  <a:pt x="762" y="379"/>
                  <a:pt x="762" y="379"/>
                </a:cubicBezTo>
                <a:cubicBezTo>
                  <a:pt x="762" y="378"/>
                  <a:pt x="762" y="378"/>
                  <a:pt x="762" y="378"/>
                </a:cubicBezTo>
                <a:cubicBezTo>
                  <a:pt x="762" y="378"/>
                  <a:pt x="762" y="378"/>
                  <a:pt x="762" y="378"/>
                </a:cubicBezTo>
                <a:cubicBezTo>
                  <a:pt x="761" y="379"/>
                  <a:pt x="761" y="379"/>
                  <a:pt x="761" y="379"/>
                </a:cubicBezTo>
                <a:cubicBezTo>
                  <a:pt x="761" y="380"/>
                  <a:pt x="761" y="380"/>
                  <a:pt x="761" y="380"/>
                </a:cubicBezTo>
                <a:close/>
                <a:moveTo>
                  <a:pt x="759" y="388"/>
                </a:moveTo>
                <a:cubicBezTo>
                  <a:pt x="760" y="388"/>
                  <a:pt x="760" y="388"/>
                  <a:pt x="760" y="388"/>
                </a:cubicBezTo>
                <a:cubicBezTo>
                  <a:pt x="759" y="387"/>
                  <a:pt x="759" y="387"/>
                  <a:pt x="759" y="387"/>
                </a:cubicBezTo>
                <a:cubicBezTo>
                  <a:pt x="759" y="387"/>
                  <a:pt x="759" y="387"/>
                  <a:pt x="759" y="387"/>
                </a:cubicBezTo>
                <a:cubicBezTo>
                  <a:pt x="759" y="388"/>
                  <a:pt x="759" y="388"/>
                  <a:pt x="759" y="388"/>
                </a:cubicBezTo>
                <a:close/>
                <a:moveTo>
                  <a:pt x="759" y="392"/>
                </a:moveTo>
                <a:cubicBezTo>
                  <a:pt x="759" y="391"/>
                  <a:pt x="759" y="391"/>
                  <a:pt x="759" y="391"/>
                </a:cubicBezTo>
                <a:cubicBezTo>
                  <a:pt x="759" y="391"/>
                  <a:pt x="759" y="391"/>
                  <a:pt x="759" y="391"/>
                </a:cubicBezTo>
                <a:cubicBezTo>
                  <a:pt x="759" y="391"/>
                  <a:pt x="759" y="391"/>
                  <a:pt x="759" y="391"/>
                </a:cubicBezTo>
                <a:cubicBezTo>
                  <a:pt x="759" y="392"/>
                  <a:pt x="759" y="392"/>
                  <a:pt x="759" y="392"/>
                </a:cubicBezTo>
                <a:close/>
                <a:moveTo>
                  <a:pt x="759" y="393"/>
                </a:moveTo>
                <a:cubicBezTo>
                  <a:pt x="759" y="394"/>
                  <a:pt x="759" y="394"/>
                  <a:pt x="759" y="394"/>
                </a:cubicBezTo>
                <a:cubicBezTo>
                  <a:pt x="759" y="393"/>
                  <a:pt x="759" y="393"/>
                  <a:pt x="759" y="393"/>
                </a:cubicBezTo>
                <a:cubicBezTo>
                  <a:pt x="759" y="393"/>
                  <a:pt x="759" y="393"/>
                  <a:pt x="759" y="393"/>
                </a:cubicBezTo>
                <a:close/>
                <a:moveTo>
                  <a:pt x="758" y="396"/>
                </a:moveTo>
                <a:cubicBezTo>
                  <a:pt x="758" y="396"/>
                  <a:pt x="758" y="396"/>
                  <a:pt x="758" y="396"/>
                </a:cubicBezTo>
                <a:cubicBezTo>
                  <a:pt x="758" y="396"/>
                  <a:pt x="758" y="396"/>
                  <a:pt x="758" y="396"/>
                </a:cubicBezTo>
                <a:cubicBezTo>
                  <a:pt x="758" y="395"/>
                  <a:pt x="758" y="395"/>
                  <a:pt x="758" y="395"/>
                </a:cubicBezTo>
                <a:cubicBezTo>
                  <a:pt x="758" y="395"/>
                  <a:pt x="758" y="395"/>
                  <a:pt x="758" y="395"/>
                </a:cubicBezTo>
                <a:cubicBezTo>
                  <a:pt x="758" y="396"/>
                  <a:pt x="758" y="396"/>
                  <a:pt x="758" y="396"/>
                </a:cubicBezTo>
                <a:close/>
                <a:moveTo>
                  <a:pt x="757" y="401"/>
                </a:moveTo>
                <a:cubicBezTo>
                  <a:pt x="757" y="400"/>
                  <a:pt x="757" y="400"/>
                  <a:pt x="757" y="400"/>
                </a:cubicBezTo>
                <a:cubicBezTo>
                  <a:pt x="757" y="398"/>
                  <a:pt x="757" y="398"/>
                  <a:pt x="757" y="398"/>
                </a:cubicBezTo>
                <a:cubicBezTo>
                  <a:pt x="757" y="398"/>
                  <a:pt x="757" y="398"/>
                  <a:pt x="757" y="398"/>
                </a:cubicBezTo>
                <a:cubicBezTo>
                  <a:pt x="757" y="399"/>
                  <a:pt x="757" y="399"/>
                  <a:pt x="757" y="399"/>
                </a:cubicBezTo>
                <a:cubicBezTo>
                  <a:pt x="756" y="401"/>
                  <a:pt x="756" y="401"/>
                  <a:pt x="756" y="401"/>
                </a:cubicBezTo>
                <a:cubicBezTo>
                  <a:pt x="757" y="401"/>
                  <a:pt x="757" y="401"/>
                  <a:pt x="757" y="401"/>
                </a:cubicBezTo>
                <a:close/>
                <a:moveTo>
                  <a:pt x="746" y="415"/>
                </a:moveTo>
                <a:cubicBezTo>
                  <a:pt x="746" y="415"/>
                  <a:pt x="746" y="415"/>
                  <a:pt x="746" y="415"/>
                </a:cubicBezTo>
                <a:cubicBezTo>
                  <a:pt x="748" y="414"/>
                  <a:pt x="748" y="414"/>
                  <a:pt x="748" y="414"/>
                </a:cubicBezTo>
                <a:cubicBezTo>
                  <a:pt x="749" y="412"/>
                  <a:pt x="749" y="412"/>
                  <a:pt x="749" y="412"/>
                </a:cubicBezTo>
                <a:cubicBezTo>
                  <a:pt x="749" y="412"/>
                  <a:pt x="749" y="412"/>
                  <a:pt x="749" y="412"/>
                </a:cubicBezTo>
                <a:cubicBezTo>
                  <a:pt x="749" y="411"/>
                  <a:pt x="749" y="411"/>
                  <a:pt x="749" y="411"/>
                </a:cubicBezTo>
                <a:cubicBezTo>
                  <a:pt x="750" y="409"/>
                  <a:pt x="750" y="409"/>
                  <a:pt x="750" y="409"/>
                </a:cubicBezTo>
                <a:cubicBezTo>
                  <a:pt x="751" y="408"/>
                  <a:pt x="751" y="408"/>
                  <a:pt x="751" y="408"/>
                </a:cubicBezTo>
                <a:cubicBezTo>
                  <a:pt x="750" y="408"/>
                  <a:pt x="750" y="408"/>
                  <a:pt x="750" y="408"/>
                </a:cubicBezTo>
                <a:cubicBezTo>
                  <a:pt x="749" y="408"/>
                  <a:pt x="749" y="408"/>
                  <a:pt x="749" y="408"/>
                </a:cubicBezTo>
                <a:cubicBezTo>
                  <a:pt x="749" y="409"/>
                  <a:pt x="749" y="409"/>
                  <a:pt x="749" y="409"/>
                </a:cubicBezTo>
                <a:cubicBezTo>
                  <a:pt x="748" y="410"/>
                  <a:pt x="748" y="410"/>
                  <a:pt x="748" y="410"/>
                </a:cubicBezTo>
                <a:cubicBezTo>
                  <a:pt x="748" y="411"/>
                  <a:pt x="748" y="411"/>
                  <a:pt x="748" y="411"/>
                </a:cubicBezTo>
                <a:cubicBezTo>
                  <a:pt x="747" y="411"/>
                  <a:pt x="747" y="411"/>
                  <a:pt x="747" y="411"/>
                </a:cubicBezTo>
                <a:cubicBezTo>
                  <a:pt x="747" y="412"/>
                  <a:pt x="747" y="412"/>
                  <a:pt x="747" y="412"/>
                </a:cubicBezTo>
                <a:cubicBezTo>
                  <a:pt x="746" y="413"/>
                  <a:pt x="746" y="413"/>
                  <a:pt x="746" y="413"/>
                </a:cubicBezTo>
                <a:cubicBezTo>
                  <a:pt x="746" y="415"/>
                  <a:pt x="746" y="415"/>
                  <a:pt x="746" y="415"/>
                </a:cubicBezTo>
                <a:close/>
                <a:moveTo>
                  <a:pt x="734" y="429"/>
                </a:moveTo>
                <a:cubicBezTo>
                  <a:pt x="735" y="429"/>
                  <a:pt x="735" y="429"/>
                  <a:pt x="735" y="429"/>
                </a:cubicBezTo>
                <a:cubicBezTo>
                  <a:pt x="735" y="427"/>
                  <a:pt x="735" y="427"/>
                  <a:pt x="735" y="427"/>
                </a:cubicBezTo>
                <a:cubicBezTo>
                  <a:pt x="736" y="427"/>
                  <a:pt x="736" y="427"/>
                  <a:pt x="736" y="427"/>
                </a:cubicBezTo>
                <a:cubicBezTo>
                  <a:pt x="736" y="425"/>
                  <a:pt x="736" y="425"/>
                  <a:pt x="736" y="425"/>
                </a:cubicBezTo>
                <a:cubicBezTo>
                  <a:pt x="736" y="424"/>
                  <a:pt x="736" y="424"/>
                  <a:pt x="736" y="424"/>
                </a:cubicBezTo>
                <a:cubicBezTo>
                  <a:pt x="736" y="424"/>
                  <a:pt x="736" y="424"/>
                  <a:pt x="736" y="424"/>
                </a:cubicBezTo>
                <a:cubicBezTo>
                  <a:pt x="737" y="423"/>
                  <a:pt x="737" y="423"/>
                  <a:pt x="737" y="423"/>
                </a:cubicBezTo>
                <a:cubicBezTo>
                  <a:pt x="737" y="424"/>
                  <a:pt x="737" y="424"/>
                  <a:pt x="737" y="424"/>
                </a:cubicBezTo>
                <a:cubicBezTo>
                  <a:pt x="738" y="423"/>
                  <a:pt x="738" y="423"/>
                  <a:pt x="738" y="423"/>
                </a:cubicBezTo>
                <a:cubicBezTo>
                  <a:pt x="739" y="421"/>
                  <a:pt x="739" y="421"/>
                  <a:pt x="739" y="421"/>
                </a:cubicBezTo>
                <a:cubicBezTo>
                  <a:pt x="740" y="419"/>
                  <a:pt x="740" y="419"/>
                  <a:pt x="740" y="419"/>
                </a:cubicBezTo>
                <a:cubicBezTo>
                  <a:pt x="742" y="419"/>
                  <a:pt x="742" y="419"/>
                  <a:pt x="742" y="419"/>
                </a:cubicBezTo>
                <a:cubicBezTo>
                  <a:pt x="743" y="419"/>
                  <a:pt x="743" y="419"/>
                  <a:pt x="743" y="419"/>
                </a:cubicBezTo>
                <a:cubicBezTo>
                  <a:pt x="743" y="417"/>
                  <a:pt x="743" y="417"/>
                  <a:pt x="743" y="417"/>
                </a:cubicBezTo>
                <a:cubicBezTo>
                  <a:pt x="742" y="416"/>
                  <a:pt x="742" y="416"/>
                  <a:pt x="742" y="416"/>
                </a:cubicBezTo>
                <a:cubicBezTo>
                  <a:pt x="742" y="416"/>
                  <a:pt x="742" y="416"/>
                  <a:pt x="742" y="416"/>
                </a:cubicBezTo>
                <a:cubicBezTo>
                  <a:pt x="740" y="418"/>
                  <a:pt x="740" y="418"/>
                  <a:pt x="740" y="418"/>
                </a:cubicBezTo>
                <a:cubicBezTo>
                  <a:pt x="740" y="419"/>
                  <a:pt x="740" y="419"/>
                  <a:pt x="740" y="419"/>
                </a:cubicBezTo>
                <a:cubicBezTo>
                  <a:pt x="739" y="419"/>
                  <a:pt x="739" y="419"/>
                  <a:pt x="739" y="419"/>
                </a:cubicBezTo>
                <a:cubicBezTo>
                  <a:pt x="738" y="419"/>
                  <a:pt x="738" y="419"/>
                  <a:pt x="738" y="419"/>
                </a:cubicBezTo>
                <a:cubicBezTo>
                  <a:pt x="738" y="419"/>
                  <a:pt x="738" y="419"/>
                  <a:pt x="738" y="419"/>
                </a:cubicBezTo>
                <a:cubicBezTo>
                  <a:pt x="737" y="418"/>
                  <a:pt x="737" y="418"/>
                  <a:pt x="737" y="418"/>
                </a:cubicBezTo>
                <a:cubicBezTo>
                  <a:pt x="737" y="418"/>
                  <a:pt x="737" y="418"/>
                  <a:pt x="737" y="418"/>
                </a:cubicBezTo>
                <a:cubicBezTo>
                  <a:pt x="736" y="419"/>
                  <a:pt x="736" y="419"/>
                  <a:pt x="736" y="419"/>
                </a:cubicBezTo>
                <a:cubicBezTo>
                  <a:pt x="737" y="420"/>
                  <a:pt x="737" y="420"/>
                  <a:pt x="737" y="420"/>
                </a:cubicBezTo>
                <a:cubicBezTo>
                  <a:pt x="736" y="421"/>
                  <a:pt x="736" y="421"/>
                  <a:pt x="736" y="421"/>
                </a:cubicBezTo>
                <a:cubicBezTo>
                  <a:pt x="736" y="422"/>
                  <a:pt x="736" y="422"/>
                  <a:pt x="736" y="422"/>
                </a:cubicBezTo>
                <a:cubicBezTo>
                  <a:pt x="735" y="422"/>
                  <a:pt x="735" y="422"/>
                  <a:pt x="735" y="422"/>
                </a:cubicBezTo>
                <a:cubicBezTo>
                  <a:pt x="735" y="423"/>
                  <a:pt x="735" y="423"/>
                  <a:pt x="735" y="423"/>
                </a:cubicBezTo>
                <a:cubicBezTo>
                  <a:pt x="735" y="424"/>
                  <a:pt x="735" y="424"/>
                  <a:pt x="735" y="424"/>
                </a:cubicBezTo>
                <a:cubicBezTo>
                  <a:pt x="734" y="425"/>
                  <a:pt x="734" y="425"/>
                  <a:pt x="734" y="425"/>
                </a:cubicBezTo>
                <a:cubicBezTo>
                  <a:pt x="734" y="425"/>
                  <a:pt x="734" y="425"/>
                  <a:pt x="734" y="425"/>
                </a:cubicBezTo>
                <a:cubicBezTo>
                  <a:pt x="734" y="426"/>
                  <a:pt x="734" y="426"/>
                  <a:pt x="734" y="426"/>
                </a:cubicBezTo>
                <a:cubicBezTo>
                  <a:pt x="734" y="427"/>
                  <a:pt x="734" y="427"/>
                  <a:pt x="734" y="427"/>
                </a:cubicBezTo>
                <a:cubicBezTo>
                  <a:pt x="734" y="428"/>
                  <a:pt x="734" y="428"/>
                  <a:pt x="734" y="428"/>
                </a:cubicBezTo>
                <a:cubicBezTo>
                  <a:pt x="734" y="429"/>
                  <a:pt x="734" y="429"/>
                  <a:pt x="734" y="429"/>
                </a:cubicBezTo>
                <a:close/>
                <a:moveTo>
                  <a:pt x="729" y="437"/>
                </a:moveTo>
                <a:cubicBezTo>
                  <a:pt x="729" y="437"/>
                  <a:pt x="729" y="435"/>
                  <a:pt x="729" y="435"/>
                </a:cubicBezTo>
                <a:cubicBezTo>
                  <a:pt x="729" y="432"/>
                  <a:pt x="729" y="432"/>
                  <a:pt x="729" y="432"/>
                </a:cubicBezTo>
                <a:cubicBezTo>
                  <a:pt x="730" y="432"/>
                  <a:pt x="730" y="432"/>
                  <a:pt x="730" y="432"/>
                </a:cubicBezTo>
                <a:cubicBezTo>
                  <a:pt x="731" y="431"/>
                  <a:pt x="731" y="431"/>
                  <a:pt x="731" y="431"/>
                </a:cubicBezTo>
                <a:cubicBezTo>
                  <a:pt x="732" y="429"/>
                  <a:pt x="732" y="429"/>
                  <a:pt x="732" y="429"/>
                </a:cubicBezTo>
                <a:cubicBezTo>
                  <a:pt x="731" y="429"/>
                  <a:pt x="731" y="429"/>
                  <a:pt x="731" y="429"/>
                </a:cubicBezTo>
                <a:cubicBezTo>
                  <a:pt x="730" y="430"/>
                  <a:pt x="730" y="430"/>
                  <a:pt x="730" y="430"/>
                </a:cubicBezTo>
                <a:cubicBezTo>
                  <a:pt x="730" y="429"/>
                  <a:pt x="730" y="429"/>
                  <a:pt x="730" y="429"/>
                </a:cubicBezTo>
                <a:cubicBezTo>
                  <a:pt x="729" y="429"/>
                  <a:pt x="729" y="429"/>
                  <a:pt x="729" y="429"/>
                </a:cubicBezTo>
                <a:cubicBezTo>
                  <a:pt x="729" y="429"/>
                  <a:pt x="729" y="429"/>
                  <a:pt x="729" y="429"/>
                </a:cubicBezTo>
                <a:cubicBezTo>
                  <a:pt x="729" y="431"/>
                  <a:pt x="729" y="431"/>
                  <a:pt x="729" y="431"/>
                </a:cubicBezTo>
                <a:cubicBezTo>
                  <a:pt x="728" y="432"/>
                  <a:pt x="728" y="432"/>
                  <a:pt x="728" y="432"/>
                </a:cubicBezTo>
                <a:cubicBezTo>
                  <a:pt x="728" y="434"/>
                  <a:pt x="728" y="434"/>
                  <a:pt x="728" y="434"/>
                </a:cubicBezTo>
                <a:cubicBezTo>
                  <a:pt x="727" y="435"/>
                  <a:pt x="727" y="435"/>
                  <a:pt x="727" y="435"/>
                </a:cubicBezTo>
                <a:cubicBezTo>
                  <a:pt x="728" y="436"/>
                  <a:pt x="728" y="436"/>
                  <a:pt x="728" y="436"/>
                </a:cubicBezTo>
                <a:cubicBezTo>
                  <a:pt x="729" y="437"/>
                  <a:pt x="729" y="437"/>
                  <a:pt x="729" y="437"/>
                </a:cubicBezTo>
                <a:close/>
                <a:moveTo>
                  <a:pt x="12" y="336"/>
                </a:moveTo>
                <a:cubicBezTo>
                  <a:pt x="12" y="336"/>
                  <a:pt x="12" y="338"/>
                  <a:pt x="12" y="338"/>
                </a:cubicBezTo>
                <a:cubicBezTo>
                  <a:pt x="13" y="338"/>
                  <a:pt x="13" y="338"/>
                  <a:pt x="13" y="338"/>
                </a:cubicBezTo>
                <a:cubicBezTo>
                  <a:pt x="14" y="338"/>
                  <a:pt x="14" y="338"/>
                  <a:pt x="14" y="338"/>
                </a:cubicBezTo>
                <a:lnTo>
                  <a:pt x="12" y="33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3" name="Freeform 11">
            <a:extLst>
              <a:ext uri="{FF2B5EF4-FFF2-40B4-BE49-F238E27FC236}">
                <a16:creationId xmlns:a16="http://schemas.microsoft.com/office/drawing/2014/main" id="{A68A33BC-805A-43A2-D736-D3A89A662200}"/>
              </a:ext>
            </a:extLst>
          </p:cNvPr>
          <p:cNvSpPr>
            <a:spLocks noEditPoints="1"/>
          </p:cNvSpPr>
          <p:nvPr userDrawn="1"/>
        </p:nvSpPr>
        <p:spPr bwMode="auto">
          <a:xfrm>
            <a:off x="16940696" y="5184056"/>
            <a:ext cx="4066911" cy="3000376"/>
          </a:xfrm>
          <a:custGeom>
            <a:avLst/>
            <a:gdLst>
              <a:gd name="T0" fmla="*/ 306 w 410"/>
              <a:gd name="T1" fmla="*/ 40 h 302"/>
              <a:gd name="T2" fmla="*/ 309 w 410"/>
              <a:gd name="T3" fmla="*/ 29 h 302"/>
              <a:gd name="T4" fmla="*/ 310 w 410"/>
              <a:gd name="T5" fmla="*/ 14 h 302"/>
              <a:gd name="T6" fmla="*/ 307 w 410"/>
              <a:gd name="T7" fmla="*/ 5 h 302"/>
              <a:gd name="T8" fmla="*/ 320 w 410"/>
              <a:gd name="T9" fmla="*/ 0 h 302"/>
              <a:gd name="T10" fmla="*/ 332 w 410"/>
              <a:gd name="T11" fmla="*/ 2 h 302"/>
              <a:gd name="T12" fmla="*/ 339 w 410"/>
              <a:gd name="T13" fmla="*/ 6 h 302"/>
              <a:gd name="T14" fmla="*/ 345 w 410"/>
              <a:gd name="T15" fmla="*/ 14 h 302"/>
              <a:gd name="T16" fmla="*/ 355 w 410"/>
              <a:gd name="T17" fmla="*/ 25 h 302"/>
              <a:gd name="T18" fmla="*/ 363 w 410"/>
              <a:gd name="T19" fmla="*/ 36 h 302"/>
              <a:gd name="T20" fmla="*/ 371 w 410"/>
              <a:gd name="T21" fmla="*/ 37 h 302"/>
              <a:gd name="T22" fmla="*/ 380 w 410"/>
              <a:gd name="T23" fmla="*/ 43 h 302"/>
              <a:gd name="T24" fmla="*/ 383 w 410"/>
              <a:gd name="T25" fmla="*/ 50 h 302"/>
              <a:gd name="T26" fmla="*/ 395 w 410"/>
              <a:gd name="T27" fmla="*/ 52 h 302"/>
              <a:gd name="T28" fmla="*/ 403 w 410"/>
              <a:gd name="T29" fmla="*/ 44 h 302"/>
              <a:gd name="T30" fmla="*/ 408 w 410"/>
              <a:gd name="T31" fmla="*/ 54 h 302"/>
              <a:gd name="T32" fmla="*/ 409 w 410"/>
              <a:gd name="T33" fmla="*/ 65 h 302"/>
              <a:gd name="T34" fmla="*/ 408 w 410"/>
              <a:gd name="T35" fmla="*/ 74 h 302"/>
              <a:gd name="T36" fmla="*/ 397 w 410"/>
              <a:gd name="T37" fmla="*/ 80 h 302"/>
              <a:gd name="T38" fmla="*/ 401 w 410"/>
              <a:gd name="T39" fmla="*/ 96 h 302"/>
              <a:gd name="T40" fmla="*/ 370 w 410"/>
              <a:gd name="T41" fmla="*/ 131 h 302"/>
              <a:gd name="T42" fmla="*/ 355 w 410"/>
              <a:gd name="T43" fmla="*/ 140 h 302"/>
              <a:gd name="T44" fmla="*/ 355 w 410"/>
              <a:gd name="T45" fmla="*/ 136 h 302"/>
              <a:gd name="T46" fmla="*/ 355 w 410"/>
              <a:gd name="T47" fmla="*/ 126 h 302"/>
              <a:gd name="T48" fmla="*/ 341 w 410"/>
              <a:gd name="T49" fmla="*/ 131 h 302"/>
              <a:gd name="T50" fmla="*/ 330 w 410"/>
              <a:gd name="T51" fmla="*/ 142 h 302"/>
              <a:gd name="T52" fmla="*/ 339 w 410"/>
              <a:gd name="T53" fmla="*/ 150 h 302"/>
              <a:gd name="T54" fmla="*/ 349 w 410"/>
              <a:gd name="T55" fmla="*/ 151 h 302"/>
              <a:gd name="T56" fmla="*/ 363 w 410"/>
              <a:gd name="T57" fmla="*/ 153 h 302"/>
              <a:gd name="T58" fmla="*/ 355 w 410"/>
              <a:gd name="T59" fmla="*/ 159 h 302"/>
              <a:gd name="T60" fmla="*/ 348 w 410"/>
              <a:gd name="T61" fmla="*/ 169 h 302"/>
              <a:gd name="T62" fmla="*/ 358 w 410"/>
              <a:gd name="T63" fmla="*/ 188 h 302"/>
              <a:gd name="T64" fmla="*/ 361 w 410"/>
              <a:gd name="T65" fmla="*/ 199 h 302"/>
              <a:gd name="T66" fmla="*/ 350 w 410"/>
              <a:gd name="T67" fmla="*/ 197 h 302"/>
              <a:gd name="T68" fmla="*/ 366 w 410"/>
              <a:gd name="T69" fmla="*/ 209 h 302"/>
              <a:gd name="T70" fmla="*/ 366 w 410"/>
              <a:gd name="T71" fmla="*/ 212 h 302"/>
              <a:gd name="T72" fmla="*/ 371 w 410"/>
              <a:gd name="T73" fmla="*/ 217 h 302"/>
              <a:gd name="T74" fmla="*/ 370 w 410"/>
              <a:gd name="T75" fmla="*/ 223 h 302"/>
              <a:gd name="T76" fmla="*/ 367 w 410"/>
              <a:gd name="T77" fmla="*/ 230 h 302"/>
              <a:gd name="T78" fmla="*/ 365 w 410"/>
              <a:gd name="T79" fmla="*/ 238 h 302"/>
              <a:gd name="T80" fmla="*/ 361 w 410"/>
              <a:gd name="T81" fmla="*/ 243 h 302"/>
              <a:gd name="T82" fmla="*/ 361 w 410"/>
              <a:gd name="T83" fmla="*/ 250 h 302"/>
              <a:gd name="T84" fmla="*/ 357 w 410"/>
              <a:gd name="T85" fmla="*/ 252 h 302"/>
              <a:gd name="T86" fmla="*/ 353 w 410"/>
              <a:gd name="T87" fmla="*/ 259 h 302"/>
              <a:gd name="T88" fmla="*/ 348 w 410"/>
              <a:gd name="T89" fmla="*/ 263 h 302"/>
              <a:gd name="T90" fmla="*/ 341 w 410"/>
              <a:gd name="T91" fmla="*/ 270 h 302"/>
              <a:gd name="T92" fmla="*/ 331 w 410"/>
              <a:gd name="T93" fmla="*/ 273 h 302"/>
              <a:gd name="T94" fmla="*/ 325 w 410"/>
              <a:gd name="T95" fmla="*/ 275 h 302"/>
              <a:gd name="T96" fmla="*/ 313 w 410"/>
              <a:gd name="T97" fmla="*/ 280 h 302"/>
              <a:gd name="T98" fmla="*/ 309 w 410"/>
              <a:gd name="T99" fmla="*/ 282 h 302"/>
              <a:gd name="T100" fmla="*/ 306 w 410"/>
              <a:gd name="T101" fmla="*/ 287 h 302"/>
              <a:gd name="T102" fmla="*/ 299 w 410"/>
              <a:gd name="T103" fmla="*/ 279 h 302"/>
              <a:gd name="T104" fmla="*/ 252 w 410"/>
              <a:gd name="T105" fmla="*/ 285 h 302"/>
              <a:gd name="T106" fmla="*/ 348 w 410"/>
              <a:gd name="T107" fmla="*/ 265 h 302"/>
              <a:gd name="T108" fmla="*/ 365 w 410"/>
              <a:gd name="T109" fmla="*/ 200 h 302"/>
              <a:gd name="T110" fmla="*/ 375 w 410"/>
              <a:gd name="T111" fmla="*/ 270 h 302"/>
              <a:gd name="T112" fmla="*/ 376 w 410"/>
              <a:gd name="T113" fmla="*/ 250 h 302"/>
              <a:gd name="T114" fmla="*/ 368 w 410"/>
              <a:gd name="T115" fmla="*/ 267 h 302"/>
              <a:gd name="T116" fmla="*/ 312 w 410"/>
              <a:gd name="T117" fmla="*/ 284 h 302"/>
              <a:gd name="T118" fmla="*/ 300 w 410"/>
              <a:gd name="T119" fmla="*/ 298 h 302"/>
              <a:gd name="T120" fmla="*/ 312 w 410"/>
              <a:gd name="T121" fmla="*/ 29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0" h="302">
                <a:moveTo>
                  <a:pt x="124" y="64"/>
                </a:moveTo>
                <a:cubicBezTo>
                  <a:pt x="126" y="64"/>
                  <a:pt x="126" y="64"/>
                  <a:pt x="126" y="64"/>
                </a:cubicBezTo>
                <a:cubicBezTo>
                  <a:pt x="127" y="65"/>
                  <a:pt x="127" y="65"/>
                  <a:pt x="127" y="65"/>
                </a:cubicBezTo>
                <a:cubicBezTo>
                  <a:pt x="128" y="65"/>
                  <a:pt x="128" y="65"/>
                  <a:pt x="128" y="65"/>
                </a:cubicBezTo>
                <a:cubicBezTo>
                  <a:pt x="184" y="66"/>
                  <a:pt x="184" y="66"/>
                  <a:pt x="184" y="66"/>
                </a:cubicBezTo>
                <a:cubicBezTo>
                  <a:pt x="282" y="56"/>
                  <a:pt x="282" y="56"/>
                  <a:pt x="282" y="56"/>
                </a:cubicBezTo>
                <a:cubicBezTo>
                  <a:pt x="294" y="43"/>
                  <a:pt x="294" y="43"/>
                  <a:pt x="294" y="43"/>
                </a:cubicBezTo>
                <a:cubicBezTo>
                  <a:pt x="297" y="42"/>
                  <a:pt x="297" y="42"/>
                  <a:pt x="297" y="42"/>
                </a:cubicBezTo>
                <a:cubicBezTo>
                  <a:pt x="298" y="42"/>
                  <a:pt x="298" y="42"/>
                  <a:pt x="298" y="42"/>
                </a:cubicBezTo>
                <a:cubicBezTo>
                  <a:pt x="298" y="43"/>
                  <a:pt x="298" y="43"/>
                  <a:pt x="298" y="43"/>
                </a:cubicBezTo>
                <a:cubicBezTo>
                  <a:pt x="299" y="42"/>
                  <a:pt x="299" y="42"/>
                  <a:pt x="299" y="42"/>
                </a:cubicBezTo>
                <a:cubicBezTo>
                  <a:pt x="301" y="43"/>
                  <a:pt x="301" y="43"/>
                  <a:pt x="301" y="43"/>
                </a:cubicBezTo>
                <a:cubicBezTo>
                  <a:pt x="302" y="43"/>
                  <a:pt x="302" y="43"/>
                  <a:pt x="302" y="43"/>
                </a:cubicBezTo>
                <a:cubicBezTo>
                  <a:pt x="303" y="43"/>
                  <a:pt x="303" y="43"/>
                  <a:pt x="303" y="43"/>
                </a:cubicBezTo>
                <a:cubicBezTo>
                  <a:pt x="306" y="40"/>
                  <a:pt x="306" y="40"/>
                  <a:pt x="306" y="40"/>
                </a:cubicBezTo>
                <a:cubicBezTo>
                  <a:pt x="307" y="39"/>
                  <a:pt x="307" y="39"/>
                  <a:pt x="307" y="39"/>
                </a:cubicBezTo>
                <a:cubicBezTo>
                  <a:pt x="309" y="39"/>
                  <a:pt x="309" y="39"/>
                  <a:pt x="309" y="39"/>
                </a:cubicBezTo>
                <a:cubicBezTo>
                  <a:pt x="310" y="38"/>
                  <a:pt x="310" y="38"/>
                  <a:pt x="310" y="38"/>
                </a:cubicBezTo>
                <a:cubicBezTo>
                  <a:pt x="311" y="37"/>
                  <a:pt x="311" y="37"/>
                  <a:pt x="311" y="37"/>
                </a:cubicBezTo>
                <a:cubicBezTo>
                  <a:pt x="310" y="36"/>
                  <a:pt x="310" y="36"/>
                  <a:pt x="310" y="36"/>
                </a:cubicBezTo>
                <a:cubicBezTo>
                  <a:pt x="310" y="35"/>
                  <a:pt x="310" y="35"/>
                  <a:pt x="310" y="35"/>
                </a:cubicBezTo>
                <a:cubicBezTo>
                  <a:pt x="309" y="36"/>
                  <a:pt x="309" y="36"/>
                  <a:pt x="309" y="36"/>
                </a:cubicBezTo>
                <a:cubicBezTo>
                  <a:pt x="309" y="35"/>
                  <a:pt x="309" y="35"/>
                  <a:pt x="309" y="35"/>
                </a:cubicBezTo>
                <a:cubicBezTo>
                  <a:pt x="308" y="35"/>
                  <a:pt x="308" y="35"/>
                  <a:pt x="308" y="35"/>
                </a:cubicBezTo>
                <a:cubicBezTo>
                  <a:pt x="308" y="33"/>
                  <a:pt x="308" y="33"/>
                  <a:pt x="308" y="33"/>
                </a:cubicBezTo>
                <a:cubicBezTo>
                  <a:pt x="308" y="33"/>
                  <a:pt x="308" y="33"/>
                  <a:pt x="308" y="33"/>
                </a:cubicBezTo>
                <a:cubicBezTo>
                  <a:pt x="308" y="31"/>
                  <a:pt x="308" y="31"/>
                  <a:pt x="308" y="31"/>
                </a:cubicBezTo>
                <a:cubicBezTo>
                  <a:pt x="308" y="30"/>
                  <a:pt x="308" y="30"/>
                  <a:pt x="308" y="30"/>
                </a:cubicBezTo>
                <a:cubicBezTo>
                  <a:pt x="308" y="29"/>
                  <a:pt x="308" y="29"/>
                  <a:pt x="308" y="29"/>
                </a:cubicBezTo>
                <a:cubicBezTo>
                  <a:pt x="309" y="29"/>
                  <a:pt x="309" y="29"/>
                  <a:pt x="309" y="29"/>
                </a:cubicBezTo>
                <a:cubicBezTo>
                  <a:pt x="309" y="28"/>
                  <a:pt x="309" y="28"/>
                  <a:pt x="309" y="28"/>
                </a:cubicBezTo>
                <a:cubicBezTo>
                  <a:pt x="308" y="27"/>
                  <a:pt x="308" y="27"/>
                  <a:pt x="308" y="27"/>
                </a:cubicBezTo>
                <a:cubicBezTo>
                  <a:pt x="308" y="26"/>
                  <a:pt x="308" y="26"/>
                  <a:pt x="308" y="26"/>
                </a:cubicBezTo>
                <a:cubicBezTo>
                  <a:pt x="308" y="25"/>
                  <a:pt x="308" y="25"/>
                  <a:pt x="308" y="25"/>
                </a:cubicBezTo>
                <a:cubicBezTo>
                  <a:pt x="308" y="24"/>
                  <a:pt x="308" y="24"/>
                  <a:pt x="308" y="24"/>
                </a:cubicBezTo>
                <a:cubicBezTo>
                  <a:pt x="308" y="23"/>
                  <a:pt x="308" y="23"/>
                  <a:pt x="308" y="23"/>
                </a:cubicBezTo>
                <a:cubicBezTo>
                  <a:pt x="309" y="22"/>
                  <a:pt x="309" y="22"/>
                  <a:pt x="309" y="22"/>
                </a:cubicBezTo>
                <a:cubicBezTo>
                  <a:pt x="309" y="21"/>
                  <a:pt x="309" y="21"/>
                  <a:pt x="309" y="21"/>
                </a:cubicBezTo>
                <a:cubicBezTo>
                  <a:pt x="310" y="19"/>
                  <a:pt x="310" y="19"/>
                  <a:pt x="310" y="19"/>
                </a:cubicBezTo>
                <a:cubicBezTo>
                  <a:pt x="310" y="18"/>
                  <a:pt x="310" y="18"/>
                  <a:pt x="310" y="18"/>
                </a:cubicBezTo>
                <a:cubicBezTo>
                  <a:pt x="311" y="18"/>
                  <a:pt x="311" y="18"/>
                  <a:pt x="311" y="18"/>
                </a:cubicBezTo>
                <a:cubicBezTo>
                  <a:pt x="311" y="16"/>
                  <a:pt x="311" y="16"/>
                  <a:pt x="311" y="16"/>
                </a:cubicBezTo>
                <a:cubicBezTo>
                  <a:pt x="311" y="15"/>
                  <a:pt x="311" y="15"/>
                  <a:pt x="311" y="15"/>
                </a:cubicBezTo>
                <a:cubicBezTo>
                  <a:pt x="311" y="14"/>
                  <a:pt x="311" y="14"/>
                  <a:pt x="311" y="14"/>
                </a:cubicBezTo>
                <a:cubicBezTo>
                  <a:pt x="310" y="14"/>
                  <a:pt x="310" y="14"/>
                  <a:pt x="310" y="14"/>
                </a:cubicBezTo>
                <a:cubicBezTo>
                  <a:pt x="310" y="13"/>
                  <a:pt x="310" y="13"/>
                  <a:pt x="310" y="13"/>
                </a:cubicBezTo>
                <a:cubicBezTo>
                  <a:pt x="309" y="11"/>
                  <a:pt x="309" y="11"/>
                  <a:pt x="309" y="11"/>
                </a:cubicBezTo>
                <a:cubicBezTo>
                  <a:pt x="308" y="11"/>
                  <a:pt x="308" y="11"/>
                  <a:pt x="308" y="11"/>
                </a:cubicBezTo>
                <a:cubicBezTo>
                  <a:pt x="307" y="11"/>
                  <a:pt x="307" y="11"/>
                  <a:pt x="307" y="11"/>
                </a:cubicBezTo>
                <a:cubicBezTo>
                  <a:pt x="306" y="12"/>
                  <a:pt x="306" y="12"/>
                  <a:pt x="306" y="12"/>
                </a:cubicBezTo>
                <a:cubicBezTo>
                  <a:pt x="305" y="12"/>
                  <a:pt x="305" y="12"/>
                  <a:pt x="305" y="12"/>
                </a:cubicBezTo>
                <a:cubicBezTo>
                  <a:pt x="305" y="12"/>
                  <a:pt x="305" y="12"/>
                  <a:pt x="305" y="12"/>
                </a:cubicBezTo>
                <a:cubicBezTo>
                  <a:pt x="305" y="10"/>
                  <a:pt x="305" y="10"/>
                  <a:pt x="305" y="10"/>
                </a:cubicBezTo>
                <a:cubicBezTo>
                  <a:pt x="305" y="9"/>
                  <a:pt x="305" y="9"/>
                  <a:pt x="305" y="9"/>
                </a:cubicBezTo>
                <a:cubicBezTo>
                  <a:pt x="305" y="9"/>
                  <a:pt x="305" y="9"/>
                  <a:pt x="305" y="9"/>
                </a:cubicBezTo>
                <a:cubicBezTo>
                  <a:pt x="306" y="8"/>
                  <a:pt x="306" y="8"/>
                  <a:pt x="306" y="8"/>
                </a:cubicBezTo>
                <a:cubicBezTo>
                  <a:pt x="306" y="7"/>
                  <a:pt x="306" y="7"/>
                  <a:pt x="306" y="7"/>
                </a:cubicBezTo>
                <a:cubicBezTo>
                  <a:pt x="307" y="6"/>
                  <a:pt x="307" y="6"/>
                  <a:pt x="307" y="6"/>
                </a:cubicBezTo>
                <a:cubicBezTo>
                  <a:pt x="307" y="5"/>
                  <a:pt x="307" y="5"/>
                  <a:pt x="307" y="5"/>
                </a:cubicBezTo>
                <a:cubicBezTo>
                  <a:pt x="307" y="5"/>
                  <a:pt x="307" y="5"/>
                  <a:pt x="307" y="5"/>
                </a:cubicBezTo>
                <a:cubicBezTo>
                  <a:pt x="309" y="4"/>
                  <a:pt x="309" y="4"/>
                  <a:pt x="309" y="4"/>
                </a:cubicBezTo>
                <a:cubicBezTo>
                  <a:pt x="310" y="4"/>
                  <a:pt x="310" y="4"/>
                  <a:pt x="310" y="4"/>
                </a:cubicBezTo>
                <a:cubicBezTo>
                  <a:pt x="311" y="4"/>
                  <a:pt x="311" y="4"/>
                  <a:pt x="311" y="4"/>
                </a:cubicBezTo>
                <a:cubicBezTo>
                  <a:pt x="311" y="4"/>
                  <a:pt x="311" y="4"/>
                  <a:pt x="311" y="4"/>
                </a:cubicBezTo>
                <a:cubicBezTo>
                  <a:pt x="312" y="4"/>
                  <a:pt x="312" y="4"/>
                  <a:pt x="312" y="4"/>
                </a:cubicBezTo>
                <a:cubicBezTo>
                  <a:pt x="313" y="4"/>
                  <a:pt x="313" y="4"/>
                  <a:pt x="313" y="4"/>
                </a:cubicBezTo>
                <a:cubicBezTo>
                  <a:pt x="313" y="3"/>
                  <a:pt x="313" y="3"/>
                  <a:pt x="313" y="3"/>
                </a:cubicBezTo>
                <a:cubicBezTo>
                  <a:pt x="314" y="3"/>
                  <a:pt x="314" y="3"/>
                  <a:pt x="314" y="3"/>
                </a:cubicBezTo>
                <a:cubicBezTo>
                  <a:pt x="315" y="2"/>
                  <a:pt x="315" y="2"/>
                  <a:pt x="315" y="2"/>
                </a:cubicBezTo>
                <a:cubicBezTo>
                  <a:pt x="316" y="2"/>
                  <a:pt x="316" y="2"/>
                  <a:pt x="316" y="2"/>
                </a:cubicBezTo>
                <a:cubicBezTo>
                  <a:pt x="317" y="2"/>
                  <a:pt x="317" y="2"/>
                  <a:pt x="317" y="2"/>
                </a:cubicBezTo>
                <a:cubicBezTo>
                  <a:pt x="318" y="2"/>
                  <a:pt x="318" y="2"/>
                  <a:pt x="318" y="2"/>
                </a:cubicBezTo>
                <a:cubicBezTo>
                  <a:pt x="319" y="1"/>
                  <a:pt x="319" y="1"/>
                  <a:pt x="319" y="1"/>
                </a:cubicBezTo>
                <a:cubicBezTo>
                  <a:pt x="320" y="1"/>
                  <a:pt x="320" y="1"/>
                  <a:pt x="320" y="1"/>
                </a:cubicBezTo>
                <a:cubicBezTo>
                  <a:pt x="320" y="0"/>
                  <a:pt x="320" y="0"/>
                  <a:pt x="320" y="0"/>
                </a:cubicBezTo>
                <a:cubicBezTo>
                  <a:pt x="322" y="0"/>
                  <a:pt x="322" y="0"/>
                  <a:pt x="322" y="0"/>
                </a:cubicBezTo>
                <a:cubicBezTo>
                  <a:pt x="322" y="0"/>
                  <a:pt x="322" y="0"/>
                  <a:pt x="322" y="0"/>
                </a:cubicBezTo>
                <a:cubicBezTo>
                  <a:pt x="323" y="0"/>
                  <a:pt x="323" y="0"/>
                  <a:pt x="323" y="0"/>
                </a:cubicBezTo>
                <a:cubicBezTo>
                  <a:pt x="324" y="0"/>
                  <a:pt x="324" y="0"/>
                  <a:pt x="324" y="0"/>
                </a:cubicBezTo>
                <a:cubicBezTo>
                  <a:pt x="325" y="1"/>
                  <a:pt x="325" y="1"/>
                  <a:pt x="325" y="1"/>
                </a:cubicBezTo>
                <a:cubicBezTo>
                  <a:pt x="327" y="1"/>
                  <a:pt x="327" y="1"/>
                  <a:pt x="327" y="1"/>
                </a:cubicBezTo>
                <a:cubicBezTo>
                  <a:pt x="327" y="2"/>
                  <a:pt x="327" y="2"/>
                  <a:pt x="327" y="2"/>
                </a:cubicBezTo>
                <a:cubicBezTo>
                  <a:pt x="328" y="2"/>
                  <a:pt x="328" y="2"/>
                  <a:pt x="328" y="2"/>
                </a:cubicBezTo>
                <a:cubicBezTo>
                  <a:pt x="329" y="2"/>
                  <a:pt x="329" y="2"/>
                  <a:pt x="329" y="2"/>
                </a:cubicBezTo>
                <a:cubicBezTo>
                  <a:pt x="330" y="2"/>
                  <a:pt x="330" y="2"/>
                  <a:pt x="330" y="2"/>
                </a:cubicBezTo>
                <a:cubicBezTo>
                  <a:pt x="330" y="2"/>
                  <a:pt x="330" y="2"/>
                  <a:pt x="330" y="2"/>
                </a:cubicBezTo>
                <a:cubicBezTo>
                  <a:pt x="331" y="3"/>
                  <a:pt x="331" y="3"/>
                  <a:pt x="331" y="3"/>
                </a:cubicBezTo>
                <a:cubicBezTo>
                  <a:pt x="332" y="3"/>
                  <a:pt x="332" y="3"/>
                  <a:pt x="332" y="3"/>
                </a:cubicBezTo>
                <a:cubicBezTo>
                  <a:pt x="332" y="2"/>
                  <a:pt x="332" y="2"/>
                  <a:pt x="332" y="2"/>
                </a:cubicBezTo>
                <a:cubicBezTo>
                  <a:pt x="332" y="2"/>
                  <a:pt x="332" y="2"/>
                  <a:pt x="332" y="2"/>
                </a:cubicBezTo>
                <a:cubicBezTo>
                  <a:pt x="333" y="2"/>
                  <a:pt x="333" y="2"/>
                  <a:pt x="333" y="2"/>
                </a:cubicBezTo>
                <a:cubicBezTo>
                  <a:pt x="334" y="2"/>
                  <a:pt x="334" y="2"/>
                  <a:pt x="334" y="2"/>
                </a:cubicBezTo>
                <a:cubicBezTo>
                  <a:pt x="334" y="2"/>
                  <a:pt x="334" y="2"/>
                  <a:pt x="334" y="2"/>
                </a:cubicBezTo>
                <a:cubicBezTo>
                  <a:pt x="335" y="2"/>
                  <a:pt x="335" y="2"/>
                  <a:pt x="335" y="2"/>
                </a:cubicBezTo>
                <a:cubicBezTo>
                  <a:pt x="336" y="2"/>
                  <a:pt x="336" y="2"/>
                  <a:pt x="336" y="2"/>
                </a:cubicBezTo>
                <a:cubicBezTo>
                  <a:pt x="336" y="3"/>
                  <a:pt x="336" y="3"/>
                  <a:pt x="336" y="3"/>
                </a:cubicBezTo>
                <a:cubicBezTo>
                  <a:pt x="337" y="3"/>
                  <a:pt x="337" y="3"/>
                  <a:pt x="337" y="3"/>
                </a:cubicBezTo>
                <a:cubicBezTo>
                  <a:pt x="337" y="4"/>
                  <a:pt x="337" y="4"/>
                  <a:pt x="337" y="4"/>
                </a:cubicBezTo>
                <a:cubicBezTo>
                  <a:pt x="337" y="5"/>
                  <a:pt x="337" y="5"/>
                  <a:pt x="337" y="5"/>
                </a:cubicBezTo>
                <a:cubicBezTo>
                  <a:pt x="338" y="5"/>
                  <a:pt x="338" y="5"/>
                  <a:pt x="338" y="5"/>
                </a:cubicBezTo>
                <a:cubicBezTo>
                  <a:pt x="338" y="5"/>
                  <a:pt x="338" y="5"/>
                  <a:pt x="338" y="5"/>
                </a:cubicBezTo>
                <a:cubicBezTo>
                  <a:pt x="338" y="5"/>
                  <a:pt x="338" y="5"/>
                  <a:pt x="338" y="5"/>
                </a:cubicBezTo>
                <a:cubicBezTo>
                  <a:pt x="339" y="5"/>
                  <a:pt x="339" y="5"/>
                  <a:pt x="339" y="5"/>
                </a:cubicBezTo>
                <a:cubicBezTo>
                  <a:pt x="340" y="5"/>
                  <a:pt x="340" y="5"/>
                  <a:pt x="340" y="5"/>
                </a:cubicBezTo>
                <a:cubicBezTo>
                  <a:pt x="339" y="6"/>
                  <a:pt x="339" y="6"/>
                  <a:pt x="339" y="6"/>
                </a:cubicBezTo>
                <a:cubicBezTo>
                  <a:pt x="339" y="6"/>
                  <a:pt x="339" y="6"/>
                  <a:pt x="339" y="6"/>
                </a:cubicBezTo>
                <a:cubicBezTo>
                  <a:pt x="341" y="7"/>
                  <a:pt x="341" y="7"/>
                  <a:pt x="341" y="7"/>
                </a:cubicBezTo>
                <a:cubicBezTo>
                  <a:pt x="341" y="7"/>
                  <a:pt x="341" y="7"/>
                  <a:pt x="341" y="7"/>
                </a:cubicBezTo>
                <a:cubicBezTo>
                  <a:pt x="342" y="7"/>
                  <a:pt x="342" y="7"/>
                  <a:pt x="342" y="7"/>
                </a:cubicBezTo>
                <a:cubicBezTo>
                  <a:pt x="342" y="8"/>
                  <a:pt x="342" y="8"/>
                  <a:pt x="342" y="8"/>
                </a:cubicBezTo>
                <a:cubicBezTo>
                  <a:pt x="342" y="8"/>
                  <a:pt x="342" y="8"/>
                  <a:pt x="342" y="8"/>
                </a:cubicBezTo>
                <a:cubicBezTo>
                  <a:pt x="343" y="9"/>
                  <a:pt x="343" y="9"/>
                  <a:pt x="343" y="9"/>
                </a:cubicBezTo>
                <a:cubicBezTo>
                  <a:pt x="343" y="10"/>
                  <a:pt x="343" y="10"/>
                  <a:pt x="343" y="10"/>
                </a:cubicBezTo>
                <a:cubicBezTo>
                  <a:pt x="343" y="10"/>
                  <a:pt x="343" y="10"/>
                  <a:pt x="343" y="10"/>
                </a:cubicBezTo>
                <a:cubicBezTo>
                  <a:pt x="343" y="11"/>
                  <a:pt x="343" y="11"/>
                  <a:pt x="343" y="11"/>
                </a:cubicBezTo>
                <a:cubicBezTo>
                  <a:pt x="343" y="11"/>
                  <a:pt x="343" y="11"/>
                  <a:pt x="343" y="11"/>
                </a:cubicBezTo>
                <a:cubicBezTo>
                  <a:pt x="345" y="11"/>
                  <a:pt x="345" y="11"/>
                  <a:pt x="345" y="11"/>
                </a:cubicBezTo>
                <a:cubicBezTo>
                  <a:pt x="345" y="12"/>
                  <a:pt x="345" y="12"/>
                  <a:pt x="345" y="12"/>
                </a:cubicBezTo>
                <a:cubicBezTo>
                  <a:pt x="345" y="13"/>
                  <a:pt x="345" y="13"/>
                  <a:pt x="345" y="13"/>
                </a:cubicBezTo>
                <a:cubicBezTo>
                  <a:pt x="345" y="14"/>
                  <a:pt x="345" y="14"/>
                  <a:pt x="345" y="14"/>
                </a:cubicBezTo>
                <a:cubicBezTo>
                  <a:pt x="346" y="14"/>
                  <a:pt x="346" y="14"/>
                  <a:pt x="346" y="14"/>
                </a:cubicBezTo>
                <a:cubicBezTo>
                  <a:pt x="347" y="16"/>
                  <a:pt x="347" y="16"/>
                  <a:pt x="347" y="16"/>
                </a:cubicBezTo>
                <a:cubicBezTo>
                  <a:pt x="348" y="17"/>
                  <a:pt x="348" y="17"/>
                  <a:pt x="348" y="17"/>
                </a:cubicBezTo>
                <a:cubicBezTo>
                  <a:pt x="348" y="17"/>
                  <a:pt x="348" y="17"/>
                  <a:pt x="348" y="17"/>
                </a:cubicBezTo>
                <a:cubicBezTo>
                  <a:pt x="348" y="18"/>
                  <a:pt x="348" y="18"/>
                  <a:pt x="348" y="18"/>
                </a:cubicBezTo>
                <a:cubicBezTo>
                  <a:pt x="349" y="19"/>
                  <a:pt x="349" y="19"/>
                  <a:pt x="349" y="19"/>
                </a:cubicBezTo>
                <a:cubicBezTo>
                  <a:pt x="350" y="19"/>
                  <a:pt x="350" y="19"/>
                  <a:pt x="350" y="19"/>
                </a:cubicBezTo>
                <a:cubicBezTo>
                  <a:pt x="350" y="20"/>
                  <a:pt x="350" y="20"/>
                  <a:pt x="350" y="20"/>
                </a:cubicBezTo>
                <a:cubicBezTo>
                  <a:pt x="349" y="21"/>
                  <a:pt x="349" y="21"/>
                  <a:pt x="349" y="21"/>
                </a:cubicBezTo>
                <a:cubicBezTo>
                  <a:pt x="350" y="21"/>
                  <a:pt x="350" y="21"/>
                  <a:pt x="350" y="21"/>
                </a:cubicBezTo>
                <a:cubicBezTo>
                  <a:pt x="350" y="21"/>
                  <a:pt x="350" y="21"/>
                  <a:pt x="350" y="21"/>
                </a:cubicBezTo>
                <a:cubicBezTo>
                  <a:pt x="351" y="22"/>
                  <a:pt x="351" y="22"/>
                  <a:pt x="351" y="22"/>
                </a:cubicBezTo>
                <a:cubicBezTo>
                  <a:pt x="351" y="22"/>
                  <a:pt x="351" y="22"/>
                  <a:pt x="351" y="22"/>
                </a:cubicBezTo>
                <a:cubicBezTo>
                  <a:pt x="352" y="24"/>
                  <a:pt x="352" y="24"/>
                  <a:pt x="352" y="24"/>
                </a:cubicBezTo>
                <a:cubicBezTo>
                  <a:pt x="355" y="25"/>
                  <a:pt x="355" y="25"/>
                  <a:pt x="355" y="25"/>
                </a:cubicBezTo>
                <a:cubicBezTo>
                  <a:pt x="355" y="27"/>
                  <a:pt x="355" y="27"/>
                  <a:pt x="355" y="27"/>
                </a:cubicBezTo>
                <a:cubicBezTo>
                  <a:pt x="355" y="28"/>
                  <a:pt x="355" y="28"/>
                  <a:pt x="355" y="28"/>
                </a:cubicBezTo>
                <a:cubicBezTo>
                  <a:pt x="356" y="28"/>
                  <a:pt x="356" y="28"/>
                  <a:pt x="356" y="28"/>
                </a:cubicBezTo>
                <a:cubicBezTo>
                  <a:pt x="356" y="29"/>
                  <a:pt x="356" y="29"/>
                  <a:pt x="356" y="29"/>
                </a:cubicBezTo>
                <a:cubicBezTo>
                  <a:pt x="356" y="30"/>
                  <a:pt x="356" y="30"/>
                  <a:pt x="356" y="30"/>
                </a:cubicBezTo>
                <a:cubicBezTo>
                  <a:pt x="357" y="30"/>
                  <a:pt x="357" y="30"/>
                  <a:pt x="357" y="30"/>
                </a:cubicBezTo>
                <a:cubicBezTo>
                  <a:pt x="357" y="31"/>
                  <a:pt x="357" y="31"/>
                  <a:pt x="357" y="31"/>
                </a:cubicBezTo>
                <a:cubicBezTo>
                  <a:pt x="357" y="32"/>
                  <a:pt x="357" y="32"/>
                  <a:pt x="357" y="32"/>
                </a:cubicBezTo>
                <a:cubicBezTo>
                  <a:pt x="358" y="33"/>
                  <a:pt x="358" y="33"/>
                  <a:pt x="358" y="33"/>
                </a:cubicBezTo>
                <a:cubicBezTo>
                  <a:pt x="359" y="35"/>
                  <a:pt x="359" y="35"/>
                  <a:pt x="359" y="35"/>
                </a:cubicBezTo>
                <a:cubicBezTo>
                  <a:pt x="360" y="35"/>
                  <a:pt x="360" y="35"/>
                  <a:pt x="360" y="35"/>
                </a:cubicBezTo>
                <a:cubicBezTo>
                  <a:pt x="361" y="36"/>
                  <a:pt x="361" y="36"/>
                  <a:pt x="361" y="36"/>
                </a:cubicBezTo>
                <a:cubicBezTo>
                  <a:pt x="362" y="36"/>
                  <a:pt x="362" y="36"/>
                  <a:pt x="362" y="36"/>
                </a:cubicBezTo>
                <a:cubicBezTo>
                  <a:pt x="362" y="36"/>
                  <a:pt x="362" y="36"/>
                  <a:pt x="362" y="36"/>
                </a:cubicBezTo>
                <a:cubicBezTo>
                  <a:pt x="363" y="36"/>
                  <a:pt x="363" y="36"/>
                  <a:pt x="363" y="36"/>
                </a:cubicBezTo>
                <a:cubicBezTo>
                  <a:pt x="363" y="36"/>
                  <a:pt x="363" y="36"/>
                  <a:pt x="363" y="36"/>
                </a:cubicBezTo>
                <a:cubicBezTo>
                  <a:pt x="365" y="36"/>
                  <a:pt x="365" y="36"/>
                  <a:pt x="365" y="36"/>
                </a:cubicBezTo>
                <a:cubicBezTo>
                  <a:pt x="365" y="35"/>
                  <a:pt x="365" y="35"/>
                  <a:pt x="365" y="35"/>
                </a:cubicBezTo>
                <a:cubicBezTo>
                  <a:pt x="366" y="35"/>
                  <a:pt x="366" y="35"/>
                  <a:pt x="366" y="35"/>
                </a:cubicBezTo>
                <a:cubicBezTo>
                  <a:pt x="366" y="36"/>
                  <a:pt x="366" y="36"/>
                  <a:pt x="366" y="36"/>
                </a:cubicBezTo>
                <a:cubicBezTo>
                  <a:pt x="366" y="36"/>
                  <a:pt x="366" y="36"/>
                  <a:pt x="366" y="36"/>
                </a:cubicBezTo>
                <a:cubicBezTo>
                  <a:pt x="366" y="37"/>
                  <a:pt x="366" y="37"/>
                  <a:pt x="366" y="37"/>
                </a:cubicBezTo>
                <a:cubicBezTo>
                  <a:pt x="368" y="37"/>
                  <a:pt x="368" y="37"/>
                  <a:pt x="368" y="37"/>
                </a:cubicBezTo>
                <a:cubicBezTo>
                  <a:pt x="368" y="37"/>
                  <a:pt x="368" y="37"/>
                  <a:pt x="368" y="37"/>
                </a:cubicBezTo>
                <a:cubicBezTo>
                  <a:pt x="369" y="38"/>
                  <a:pt x="369" y="38"/>
                  <a:pt x="369" y="38"/>
                </a:cubicBezTo>
                <a:cubicBezTo>
                  <a:pt x="369" y="38"/>
                  <a:pt x="369" y="38"/>
                  <a:pt x="369" y="38"/>
                </a:cubicBezTo>
                <a:cubicBezTo>
                  <a:pt x="370" y="38"/>
                  <a:pt x="370" y="38"/>
                  <a:pt x="370" y="38"/>
                </a:cubicBezTo>
                <a:cubicBezTo>
                  <a:pt x="370" y="37"/>
                  <a:pt x="370" y="37"/>
                  <a:pt x="370" y="37"/>
                </a:cubicBezTo>
                <a:cubicBezTo>
                  <a:pt x="371" y="38"/>
                  <a:pt x="371" y="38"/>
                  <a:pt x="371" y="38"/>
                </a:cubicBezTo>
                <a:cubicBezTo>
                  <a:pt x="371" y="37"/>
                  <a:pt x="371" y="37"/>
                  <a:pt x="371" y="37"/>
                </a:cubicBezTo>
                <a:cubicBezTo>
                  <a:pt x="372" y="37"/>
                  <a:pt x="372" y="37"/>
                  <a:pt x="372" y="37"/>
                </a:cubicBezTo>
                <a:cubicBezTo>
                  <a:pt x="372" y="37"/>
                  <a:pt x="372" y="37"/>
                  <a:pt x="372" y="37"/>
                </a:cubicBezTo>
                <a:cubicBezTo>
                  <a:pt x="373" y="38"/>
                  <a:pt x="373" y="38"/>
                  <a:pt x="373" y="38"/>
                </a:cubicBezTo>
                <a:cubicBezTo>
                  <a:pt x="373" y="39"/>
                  <a:pt x="373" y="39"/>
                  <a:pt x="373" y="39"/>
                </a:cubicBezTo>
                <a:cubicBezTo>
                  <a:pt x="374" y="39"/>
                  <a:pt x="374" y="39"/>
                  <a:pt x="374" y="39"/>
                </a:cubicBezTo>
                <a:cubicBezTo>
                  <a:pt x="374" y="39"/>
                  <a:pt x="374" y="39"/>
                  <a:pt x="374" y="39"/>
                </a:cubicBezTo>
                <a:cubicBezTo>
                  <a:pt x="375" y="40"/>
                  <a:pt x="375" y="40"/>
                  <a:pt x="375" y="40"/>
                </a:cubicBezTo>
                <a:cubicBezTo>
                  <a:pt x="375" y="40"/>
                  <a:pt x="375" y="40"/>
                  <a:pt x="375" y="40"/>
                </a:cubicBezTo>
                <a:cubicBezTo>
                  <a:pt x="376" y="40"/>
                  <a:pt x="376" y="40"/>
                  <a:pt x="376" y="40"/>
                </a:cubicBezTo>
                <a:cubicBezTo>
                  <a:pt x="376" y="41"/>
                  <a:pt x="376" y="41"/>
                  <a:pt x="376" y="41"/>
                </a:cubicBezTo>
                <a:cubicBezTo>
                  <a:pt x="377" y="42"/>
                  <a:pt x="377" y="42"/>
                  <a:pt x="377" y="42"/>
                </a:cubicBezTo>
                <a:cubicBezTo>
                  <a:pt x="377" y="42"/>
                  <a:pt x="377" y="42"/>
                  <a:pt x="377" y="42"/>
                </a:cubicBezTo>
                <a:cubicBezTo>
                  <a:pt x="378" y="42"/>
                  <a:pt x="378" y="42"/>
                  <a:pt x="378" y="42"/>
                </a:cubicBezTo>
                <a:cubicBezTo>
                  <a:pt x="379" y="43"/>
                  <a:pt x="379" y="43"/>
                  <a:pt x="379" y="43"/>
                </a:cubicBezTo>
                <a:cubicBezTo>
                  <a:pt x="380" y="43"/>
                  <a:pt x="380" y="43"/>
                  <a:pt x="380" y="43"/>
                </a:cubicBezTo>
                <a:cubicBezTo>
                  <a:pt x="380" y="42"/>
                  <a:pt x="380" y="42"/>
                  <a:pt x="380" y="42"/>
                </a:cubicBezTo>
                <a:cubicBezTo>
                  <a:pt x="381" y="42"/>
                  <a:pt x="381" y="42"/>
                  <a:pt x="381" y="42"/>
                </a:cubicBezTo>
                <a:cubicBezTo>
                  <a:pt x="382" y="42"/>
                  <a:pt x="382" y="42"/>
                  <a:pt x="382" y="42"/>
                </a:cubicBezTo>
                <a:cubicBezTo>
                  <a:pt x="382" y="42"/>
                  <a:pt x="382" y="42"/>
                  <a:pt x="382" y="42"/>
                </a:cubicBezTo>
                <a:cubicBezTo>
                  <a:pt x="383" y="42"/>
                  <a:pt x="383" y="42"/>
                  <a:pt x="383" y="42"/>
                </a:cubicBezTo>
                <a:cubicBezTo>
                  <a:pt x="382" y="43"/>
                  <a:pt x="382" y="43"/>
                  <a:pt x="382" y="43"/>
                </a:cubicBezTo>
                <a:cubicBezTo>
                  <a:pt x="382" y="44"/>
                  <a:pt x="382" y="44"/>
                  <a:pt x="382" y="44"/>
                </a:cubicBezTo>
                <a:cubicBezTo>
                  <a:pt x="382" y="44"/>
                  <a:pt x="382" y="44"/>
                  <a:pt x="382" y="44"/>
                </a:cubicBezTo>
                <a:cubicBezTo>
                  <a:pt x="382" y="45"/>
                  <a:pt x="382" y="45"/>
                  <a:pt x="382" y="45"/>
                </a:cubicBezTo>
                <a:cubicBezTo>
                  <a:pt x="383" y="45"/>
                  <a:pt x="383" y="45"/>
                  <a:pt x="383" y="45"/>
                </a:cubicBezTo>
                <a:cubicBezTo>
                  <a:pt x="383" y="46"/>
                  <a:pt x="383" y="46"/>
                  <a:pt x="383" y="46"/>
                </a:cubicBezTo>
                <a:cubicBezTo>
                  <a:pt x="384" y="47"/>
                  <a:pt x="384" y="47"/>
                  <a:pt x="384" y="47"/>
                </a:cubicBezTo>
                <a:cubicBezTo>
                  <a:pt x="384" y="48"/>
                  <a:pt x="384" y="48"/>
                  <a:pt x="384" y="48"/>
                </a:cubicBezTo>
                <a:cubicBezTo>
                  <a:pt x="383" y="49"/>
                  <a:pt x="383" y="49"/>
                  <a:pt x="383" y="49"/>
                </a:cubicBezTo>
                <a:cubicBezTo>
                  <a:pt x="383" y="50"/>
                  <a:pt x="383" y="50"/>
                  <a:pt x="383" y="50"/>
                </a:cubicBezTo>
                <a:cubicBezTo>
                  <a:pt x="384" y="51"/>
                  <a:pt x="384" y="51"/>
                  <a:pt x="384" y="51"/>
                </a:cubicBezTo>
                <a:cubicBezTo>
                  <a:pt x="385" y="52"/>
                  <a:pt x="385" y="52"/>
                  <a:pt x="385" y="52"/>
                </a:cubicBezTo>
                <a:cubicBezTo>
                  <a:pt x="386" y="53"/>
                  <a:pt x="386" y="53"/>
                  <a:pt x="386" y="53"/>
                </a:cubicBezTo>
                <a:cubicBezTo>
                  <a:pt x="386" y="53"/>
                  <a:pt x="386" y="53"/>
                  <a:pt x="386" y="53"/>
                </a:cubicBezTo>
                <a:cubicBezTo>
                  <a:pt x="387" y="53"/>
                  <a:pt x="387" y="53"/>
                  <a:pt x="387" y="53"/>
                </a:cubicBezTo>
                <a:cubicBezTo>
                  <a:pt x="388" y="53"/>
                  <a:pt x="388" y="53"/>
                  <a:pt x="388" y="53"/>
                </a:cubicBezTo>
                <a:cubicBezTo>
                  <a:pt x="389" y="53"/>
                  <a:pt x="389" y="53"/>
                  <a:pt x="389" y="53"/>
                </a:cubicBezTo>
                <a:cubicBezTo>
                  <a:pt x="390" y="53"/>
                  <a:pt x="390" y="53"/>
                  <a:pt x="390" y="53"/>
                </a:cubicBezTo>
                <a:cubicBezTo>
                  <a:pt x="390" y="54"/>
                  <a:pt x="390" y="54"/>
                  <a:pt x="390" y="54"/>
                </a:cubicBezTo>
                <a:cubicBezTo>
                  <a:pt x="391" y="54"/>
                  <a:pt x="391" y="54"/>
                  <a:pt x="391" y="54"/>
                </a:cubicBezTo>
                <a:cubicBezTo>
                  <a:pt x="391" y="53"/>
                  <a:pt x="391" y="53"/>
                  <a:pt x="391" y="53"/>
                </a:cubicBezTo>
                <a:cubicBezTo>
                  <a:pt x="392" y="54"/>
                  <a:pt x="392" y="54"/>
                  <a:pt x="392" y="54"/>
                </a:cubicBezTo>
                <a:cubicBezTo>
                  <a:pt x="393" y="53"/>
                  <a:pt x="393" y="53"/>
                  <a:pt x="393" y="53"/>
                </a:cubicBezTo>
                <a:cubicBezTo>
                  <a:pt x="394" y="53"/>
                  <a:pt x="394" y="53"/>
                  <a:pt x="394" y="53"/>
                </a:cubicBezTo>
                <a:cubicBezTo>
                  <a:pt x="395" y="52"/>
                  <a:pt x="395" y="52"/>
                  <a:pt x="395" y="52"/>
                </a:cubicBezTo>
                <a:cubicBezTo>
                  <a:pt x="396" y="52"/>
                  <a:pt x="396" y="52"/>
                  <a:pt x="396" y="52"/>
                </a:cubicBezTo>
                <a:cubicBezTo>
                  <a:pt x="396" y="51"/>
                  <a:pt x="396" y="51"/>
                  <a:pt x="396" y="51"/>
                </a:cubicBezTo>
                <a:cubicBezTo>
                  <a:pt x="396" y="50"/>
                  <a:pt x="396" y="50"/>
                  <a:pt x="396" y="50"/>
                </a:cubicBezTo>
                <a:cubicBezTo>
                  <a:pt x="397" y="50"/>
                  <a:pt x="397" y="50"/>
                  <a:pt x="397" y="50"/>
                </a:cubicBezTo>
                <a:cubicBezTo>
                  <a:pt x="397" y="49"/>
                  <a:pt x="397" y="49"/>
                  <a:pt x="397" y="49"/>
                </a:cubicBezTo>
                <a:cubicBezTo>
                  <a:pt x="397" y="48"/>
                  <a:pt x="397" y="48"/>
                  <a:pt x="397" y="48"/>
                </a:cubicBezTo>
                <a:cubicBezTo>
                  <a:pt x="398" y="48"/>
                  <a:pt x="398" y="48"/>
                  <a:pt x="398" y="48"/>
                </a:cubicBezTo>
                <a:cubicBezTo>
                  <a:pt x="399" y="48"/>
                  <a:pt x="399" y="48"/>
                  <a:pt x="399" y="48"/>
                </a:cubicBezTo>
                <a:cubicBezTo>
                  <a:pt x="400" y="47"/>
                  <a:pt x="400" y="47"/>
                  <a:pt x="400" y="47"/>
                </a:cubicBezTo>
                <a:cubicBezTo>
                  <a:pt x="400" y="46"/>
                  <a:pt x="400" y="46"/>
                  <a:pt x="400" y="46"/>
                </a:cubicBezTo>
                <a:cubicBezTo>
                  <a:pt x="401" y="46"/>
                  <a:pt x="401" y="46"/>
                  <a:pt x="401" y="46"/>
                </a:cubicBezTo>
                <a:cubicBezTo>
                  <a:pt x="401" y="45"/>
                  <a:pt x="401" y="45"/>
                  <a:pt x="401" y="45"/>
                </a:cubicBezTo>
                <a:cubicBezTo>
                  <a:pt x="402" y="45"/>
                  <a:pt x="402" y="45"/>
                  <a:pt x="402" y="45"/>
                </a:cubicBezTo>
                <a:cubicBezTo>
                  <a:pt x="403" y="44"/>
                  <a:pt x="403" y="44"/>
                  <a:pt x="403" y="44"/>
                </a:cubicBezTo>
                <a:cubicBezTo>
                  <a:pt x="403" y="44"/>
                  <a:pt x="403" y="44"/>
                  <a:pt x="403" y="44"/>
                </a:cubicBezTo>
                <a:cubicBezTo>
                  <a:pt x="405" y="44"/>
                  <a:pt x="405" y="44"/>
                  <a:pt x="405" y="44"/>
                </a:cubicBezTo>
                <a:cubicBezTo>
                  <a:pt x="405" y="45"/>
                  <a:pt x="405" y="45"/>
                  <a:pt x="405" y="45"/>
                </a:cubicBezTo>
                <a:cubicBezTo>
                  <a:pt x="406" y="45"/>
                  <a:pt x="406" y="45"/>
                  <a:pt x="406" y="45"/>
                </a:cubicBezTo>
                <a:cubicBezTo>
                  <a:pt x="407" y="46"/>
                  <a:pt x="407" y="46"/>
                  <a:pt x="407" y="46"/>
                </a:cubicBezTo>
                <a:cubicBezTo>
                  <a:pt x="407" y="47"/>
                  <a:pt x="407" y="47"/>
                  <a:pt x="407" y="47"/>
                </a:cubicBezTo>
                <a:cubicBezTo>
                  <a:pt x="407" y="47"/>
                  <a:pt x="407" y="47"/>
                  <a:pt x="407" y="47"/>
                </a:cubicBezTo>
                <a:cubicBezTo>
                  <a:pt x="407" y="48"/>
                  <a:pt x="407" y="48"/>
                  <a:pt x="407" y="48"/>
                </a:cubicBezTo>
                <a:cubicBezTo>
                  <a:pt x="408" y="49"/>
                  <a:pt x="408" y="49"/>
                  <a:pt x="408" y="49"/>
                </a:cubicBezTo>
                <a:cubicBezTo>
                  <a:pt x="408" y="50"/>
                  <a:pt x="408" y="50"/>
                  <a:pt x="408" y="50"/>
                </a:cubicBezTo>
                <a:cubicBezTo>
                  <a:pt x="409" y="51"/>
                  <a:pt x="409" y="51"/>
                  <a:pt x="409" y="51"/>
                </a:cubicBezTo>
                <a:cubicBezTo>
                  <a:pt x="410" y="51"/>
                  <a:pt x="410" y="51"/>
                  <a:pt x="410" y="51"/>
                </a:cubicBezTo>
                <a:cubicBezTo>
                  <a:pt x="409" y="52"/>
                  <a:pt x="409" y="52"/>
                  <a:pt x="409" y="52"/>
                </a:cubicBezTo>
                <a:cubicBezTo>
                  <a:pt x="409" y="53"/>
                  <a:pt x="409" y="53"/>
                  <a:pt x="409" y="53"/>
                </a:cubicBezTo>
                <a:cubicBezTo>
                  <a:pt x="409" y="54"/>
                  <a:pt x="409" y="54"/>
                  <a:pt x="409" y="54"/>
                </a:cubicBezTo>
                <a:cubicBezTo>
                  <a:pt x="408" y="54"/>
                  <a:pt x="408" y="54"/>
                  <a:pt x="408" y="54"/>
                </a:cubicBezTo>
                <a:cubicBezTo>
                  <a:pt x="407" y="55"/>
                  <a:pt x="407" y="55"/>
                  <a:pt x="407" y="55"/>
                </a:cubicBezTo>
                <a:cubicBezTo>
                  <a:pt x="407" y="56"/>
                  <a:pt x="407" y="56"/>
                  <a:pt x="407" y="56"/>
                </a:cubicBezTo>
                <a:cubicBezTo>
                  <a:pt x="408" y="56"/>
                  <a:pt x="408" y="56"/>
                  <a:pt x="408" y="56"/>
                </a:cubicBezTo>
                <a:cubicBezTo>
                  <a:pt x="408" y="57"/>
                  <a:pt x="408" y="57"/>
                  <a:pt x="408" y="57"/>
                </a:cubicBezTo>
                <a:cubicBezTo>
                  <a:pt x="408" y="58"/>
                  <a:pt x="408" y="58"/>
                  <a:pt x="408" y="58"/>
                </a:cubicBezTo>
                <a:cubicBezTo>
                  <a:pt x="408" y="59"/>
                  <a:pt x="408" y="59"/>
                  <a:pt x="408" y="59"/>
                </a:cubicBezTo>
                <a:cubicBezTo>
                  <a:pt x="408" y="59"/>
                  <a:pt x="408" y="59"/>
                  <a:pt x="408" y="59"/>
                </a:cubicBezTo>
                <a:cubicBezTo>
                  <a:pt x="408" y="60"/>
                  <a:pt x="408" y="60"/>
                  <a:pt x="408" y="60"/>
                </a:cubicBezTo>
                <a:cubicBezTo>
                  <a:pt x="408" y="60"/>
                  <a:pt x="408" y="60"/>
                  <a:pt x="408" y="60"/>
                </a:cubicBezTo>
                <a:cubicBezTo>
                  <a:pt x="409" y="61"/>
                  <a:pt x="409" y="61"/>
                  <a:pt x="409" y="61"/>
                </a:cubicBezTo>
                <a:cubicBezTo>
                  <a:pt x="409" y="61"/>
                  <a:pt x="409" y="61"/>
                  <a:pt x="409" y="61"/>
                </a:cubicBezTo>
                <a:cubicBezTo>
                  <a:pt x="408" y="62"/>
                  <a:pt x="408" y="62"/>
                  <a:pt x="408" y="62"/>
                </a:cubicBezTo>
                <a:cubicBezTo>
                  <a:pt x="408" y="62"/>
                  <a:pt x="408" y="62"/>
                  <a:pt x="408" y="62"/>
                </a:cubicBezTo>
                <a:cubicBezTo>
                  <a:pt x="408" y="63"/>
                  <a:pt x="408" y="63"/>
                  <a:pt x="408" y="63"/>
                </a:cubicBezTo>
                <a:cubicBezTo>
                  <a:pt x="409" y="65"/>
                  <a:pt x="409" y="65"/>
                  <a:pt x="409" y="65"/>
                </a:cubicBezTo>
                <a:cubicBezTo>
                  <a:pt x="409" y="65"/>
                  <a:pt x="409" y="65"/>
                  <a:pt x="409" y="65"/>
                </a:cubicBezTo>
                <a:cubicBezTo>
                  <a:pt x="409" y="66"/>
                  <a:pt x="409" y="66"/>
                  <a:pt x="409" y="66"/>
                </a:cubicBezTo>
                <a:cubicBezTo>
                  <a:pt x="408" y="66"/>
                  <a:pt x="408" y="66"/>
                  <a:pt x="408" y="66"/>
                </a:cubicBezTo>
                <a:cubicBezTo>
                  <a:pt x="408" y="67"/>
                  <a:pt x="408" y="67"/>
                  <a:pt x="408" y="67"/>
                </a:cubicBezTo>
                <a:cubicBezTo>
                  <a:pt x="408" y="68"/>
                  <a:pt x="408" y="68"/>
                  <a:pt x="408" y="68"/>
                </a:cubicBezTo>
                <a:cubicBezTo>
                  <a:pt x="408" y="68"/>
                  <a:pt x="408" y="68"/>
                  <a:pt x="408" y="68"/>
                </a:cubicBezTo>
                <a:cubicBezTo>
                  <a:pt x="409" y="69"/>
                  <a:pt x="409" y="69"/>
                  <a:pt x="409" y="69"/>
                </a:cubicBezTo>
                <a:cubicBezTo>
                  <a:pt x="408" y="69"/>
                  <a:pt x="408" y="69"/>
                  <a:pt x="408" y="69"/>
                </a:cubicBezTo>
                <a:cubicBezTo>
                  <a:pt x="408" y="70"/>
                  <a:pt x="408" y="70"/>
                  <a:pt x="408" y="70"/>
                </a:cubicBezTo>
                <a:cubicBezTo>
                  <a:pt x="408" y="70"/>
                  <a:pt x="408" y="70"/>
                  <a:pt x="408" y="70"/>
                </a:cubicBezTo>
                <a:cubicBezTo>
                  <a:pt x="408" y="71"/>
                  <a:pt x="408" y="71"/>
                  <a:pt x="408" y="71"/>
                </a:cubicBezTo>
                <a:cubicBezTo>
                  <a:pt x="408" y="72"/>
                  <a:pt x="408" y="72"/>
                  <a:pt x="408" y="72"/>
                </a:cubicBezTo>
                <a:cubicBezTo>
                  <a:pt x="407" y="73"/>
                  <a:pt x="407" y="73"/>
                  <a:pt x="407" y="73"/>
                </a:cubicBezTo>
                <a:cubicBezTo>
                  <a:pt x="408" y="74"/>
                  <a:pt x="408" y="74"/>
                  <a:pt x="408" y="74"/>
                </a:cubicBezTo>
                <a:cubicBezTo>
                  <a:pt x="408" y="74"/>
                  <a:pt x="408" y="74"/>
                  <a:pt x="408" y="74"/>
                </a:cubicBezTo>
                <a:cubicBezTo>
                  <a:pt x="408" y="75"/>
                  <a:pt x="408" y="75"/>
                  <a:pt x="408" y="75"/>
                </a:cubicBezTo>
                <a:cubicBezTo>
                  <a:pt x="408" y="76"/>
                  <a:pt x="408" y="76"/>
                  <a:pt x="408" y="76"/>
                </a:cubicBezTo>
                <a:cubicBezTo>
                  <a:pt x="408" y="76"/>
                  <a:pt x="408" y="76"/>
                  <a:pt x="408" y="76"/>
                </a:cubicBezTo>
                <a:cubicBezTo>
                  <a:pt x="408" y="77"/>
                  <a:pt x="408" y="77"/>
                  <a:pt x="408" y="77"/>
                </a:cubicBezTo>
                <a:cubicBezTo>
                  <a:pt x="408" y="78"/>
                  <a:pt x="408" y="78"/>
                  <a:pt x="408" y="78"/>
                </a:cubicBezTo>
                <a:cubicBezTo>
                  <a:pt x="407" y="78"/>
                  <a:pt x="407" y="78"/>
                  <a:pt x="407" y="78"/>
                </a:cubicBezTo>
                <a:cubicBezTo>
                  <a:pt x="406" y="78"/>
                  <a:pt x="406" y="78"/>
                  <a:pt x="406" y="78"/>
                </a:cubicBezTo>
                <a:cubicBezTo>
                  <a:pt x="402" y="77"/>
                  <a:pt x="402" y="77"/>
                  <a:pt x="402" y="77"/>
                </a:cubicBezTo>
                <a:cubicBezTo>
                  <a:pt x="402" y="77"/>
                  <a:pt x="402" y="77"/>
                  <a:pt x="402" y="77"/>
                </a:cubicBezTo>
                <a:cubicBezTo>
                  <a:pt x="401" y="76"/>
                  <a:pt x="401" y="76"/>
                  <a:pt x="401" y="76"/>
                </a:cubicBezTo>
                <a:cubicBezTo>
                  <a:pt x="400" y="76"/>
                  <a:pt x="400" y="76"/>
                  <a:pt x="400" y="76"/>
                </a:cubicBezTo>
                <a:cubicBezTo>
                  <a:pt x="399" y="78"/>
                  <a:pt x="399" y="78"/>
                  <a:pt x="399" y="78"/>
                </a:cubicBezTo>
                <a:cubicBezTo>
                  <a:pt x="399" y="79"/>
                  <a:pt x="399" y="79"/>
                  <a:pt x="399" y="79"/>
                </a:cubicBezTo>
                <a:cubicBezTo>
                  <a:pt x="398" y="80"/>
                  <a:pt x="398" y="80"/>
                  <a:pt x="398" y="80"/>
                </a:cubicBezTo>
                <a:cubicBezTo>
                  <a:pt x="397" y="80"/>
                  <a:pt x="397" y="80"/>
                  <a:pt x="397" y="80"/>
                </a:cubicBezTo>
                <a:cubicBezTo>
                  <a:pt x="397" y="80"/>
                  <a:pt x="397" y="80"/>
                  <a:pt x="397" y="80"/>
                </a:cubicBezTo>
                <a:cubicBezTo>
                  <a:pt x="396" y="81"/>
                  <a:pt x="396" y="81"/>
                  <a:pt x="396" y="81"/>
                </a:cubicBezTo>
                <a:cubicBezTo>
                  <a:pt x="397" y="82"/>
                  <a:pt x="397" y="82"/>
                  <a:pt x="397" y="82"/>
                </a:cubicBezTo>
                <a:cubicBezTo>
                  <a:pt x="398" y="84"/>
                  <a:pt x="398" y="84"/>
                  <a:pt x="398" y="84"/>
                </a:cubicBezTo>
                <a:cubicBezTo>
                  <a:pt x="399" y="85"/>
                  <a:pt x="399" y="85"/>
                  <a:pt x="399" y="85"/>
                </a:cubicBezTo>
                <a:cubicBezTo>
                  <a:pt x="399" y="86"/>
                  <a:pt x="399" y="86"/>
                  <a:pt x="399" y="86"/>
                </a:cubicBezTo>
                <a:cubicBezTo>
                  <a:pt x="400" y="87"/>
                  <a:pt x="400" y="87"/>
                  <a:pt x="400" y="87"/>
                </a:cubicBezTo>
                <a:cubicBezTo>
                  <a:pt x="400" y="88"/>
                  <a:pt x="400" y="88"/>
                  <a:pt x="400" y="88"/>
                </a:cubicBezTo>
                <a:cubicBezTo>
                  <a:pt x="400" y="90"/>
                  <a:pt x="400" y="90"/>
                  <a:pt x="400" y="90"/>
                </a:cubicBezTo>
                <a:cubicBezTo>
                  <a:pt x="400" y="91"/>
                  <a:pt x="400" y="91"/>
                  <a:pt x="400" y="91"/>
                </a:cubicBezTo>
                <a:cubicBezTo>
                  <a:pt x="400" y="93"/>
                  <a:pt x="400" y="93"/>
                  <a:pt x="400" y="93"/>
                </a:cubicBezTo>
                <a:cubicBezTo>
                  <a:pt x="401" y="93"/>
                  <a:pt x="401" y="93"/>
                  <a:pt x="401" y="93"/>
                </a:cubicBezTo>
                <a:cubicBezTo>
                  <a:pt x="401" y="95"/>
                  <a:pt x="401" y="95"/>
                  <a:pt x="401" y="95"/>
                </a:cubicBezTo>
                <a:cubicBezTo>
                  <a:pt x="401" y="96"/>
                  <a:pt x="401" y="96"/>
                  <a:pt x="401" y="96"/>
                </a:cubicBezTo>
                <a:cubicBezTo>
                  <a:pt x="401" y="96"/>
                  <a:pt x="401" y="96"/>
                  <a:pt x="401" y="96"/>
                </a:cubicBezTo>
                <a:cubicBezTo>
                  <a:pt x="400" y="97"/>
                  <a:pt x="400" y="97"/>
                  <a:pt x="400" y="97"/>
                </a:cubicBezTo>
                <a:cubicBezTo>
                  <a:pt x="401" y="98"/>
                  <a:pt x="401" y="98"/>
                  <a:pt x="401" y="98"/>
                </a:cubicBezTo>
                <a:cubicBezTo>
                  <a:pt x="401" y="99"/>
                  <a:pt x="401" y="99"/>
                  <a:pt x="401" y="99"/>
                </a:cubicBezTo>
                <a:cubicBezTo>
                  <a:pt x="400" y="99"/>
                  <a:pt x="400" y="99"/>
                  <a:pt x="400" y="99"/>
                </a:cubicBezTo>
                <a:cubicBezTo>
                  <a:pt x="399" y="99"/>
                  <a:pt x="399" y="99"/>
                  <a:pt x="399" y="99"/>
                </a:cubicBezTo>
                <a:cubicBezTo>
                  <a:pt x="398" y="99"/>
                  <a:pt x="398" y="99"/>
                  <a:pt x="398" y="99"/>
                </a:cubicBezTo>
                <a:cubicBezTo>
                  <a:pt x="398" y="100"/>
                  <a:pt x="398" y="100"/>
                  <a:pt x="398" y="100"/>
                </a:cubicBezTo>
                <a:cubicBezTo>
                  <a:pt x="398" y="101"/>
                  <a:pt x="398" y="101"/>
                  <a:pt x="398" y="101"/>
                </a:cubicBezTo>
                <a:cubicBezTo>
                  <a:pt x="399" y="101"/>
                  <a:pt x="399" y="101"/>
                  <a:pt x="399" y="101"/>
                </a:cubicBezTo>
                <a:cubicBezTo>
                  <a:pt x="399" y="102"/>
                  <a:pt x="399" y="102"/>
                  <a:pt x="399" y="102"/>
                </a:cubicBezTo>
                <a:cubicBezTo>
                  <a:pt x="398" y="103"/>
                  <a:pt x="398" y="103"/>
                  <a:pt x="398" y="103"/>
                </a:cubicBezTo>
                <a:cubicBezTo>
                  <a:pt x="393" y="107"/>
                  <a:pt x="393" y="107"/>
                  <a:pt x="393" y="107"/>
                </a:cubicBezTo>
                <a:cubicBezTo>
                  <a:pt x="391" y="116"/>
                  <a:pt x="391" y="116"/>
                  <a:pt x="391" y="116"/>
                </a:cubicBezTo>
                <a:cubicBezTo>
                  <a:pt x="373" y="129"/>
                  <a:pt x="373" y="129"/>
                  <a:pt x="373" y="129"/>
                </a:cubicBezTo>
                <a:cubicBezTo>
                  <a:pt x="370" y="131"/>
                  <a:pt x="370" y="131"/>
                  <a:pt x="370" y="131"/>
                </a:cubicBezTo>
                <a:cubicBezTo>
                  <a:pt x="370" y="131"/>
                  <a:pt x="370" y="131"/>
                  <a:pt x="370" y="131"/>
                </a:cubicBezTo>
                <a:cubicBezTo>
                  <a:pt x="369" y="130"/>
                  <a:pt x="369" y="130"/>
                  <a:pt x="369" y="130"/>
                </a:cubicBezTo>
                <a:cubicBezTo>
                  <a:pt x="367" y="132"/>
                  <a:pt x="367" y="132"/>
                  <a:pt x="367" y="132"/>
                </a:cubicBezTo>
                <a:cubicBezTo>
                  <a:pt x="366" y="132"/>
                  <a:pt x="366" y="132"/>
                  <a:pt x="366" y="132"/>
                </a:cubicBezTo>
                <a:cubicBezTo>
                  <a:pt x="365" y="132"/>
                  <a:pt x="365" y="132"/>
                  <a:pt x="365" y="132"/>
                </a:cubicBezTo>
                <a:cubicBezTo>
                  <a:pt x="365" y="131"/>
                  <a:pt x="365" y="131"/>
                  <a:pt x="365" y="131"/>
                </a:cubicBezTo>
                <a:cubicBezTo>
                  <a:pt x="363" y="133"/>
                  <a:pt x="363" y="133"/>
                  <a:pt x="363" y="133"/>
                </a:cubicBezTo>
                <a:cubicBezTo>
                  <a:pt x="362" y="133"/>
                  <a:pt x="362" y="133"/>
                  <a:pt x="362" y="133"/>
                </a:cubicBezTo>
                <a:cubicBezTo>
                  <a:pt x="361" y="134"/>
                  <a:pt x="361" y="134"/>
                  <a:pt x="361" y="134"/>
                </a:cubicBezTo>
                <a:cubicBezTo>
                  <a:pt x="361" y="134"/>
                  <a:pt x="361" y="134"/>
                  <a:pt x="361" y="134"/>
                </a:cubicBezTo>
                <a:cubicBezTo>
                  <a:pt x="358" y="136"/>
                  <a:pt x="358" y="136"/>
                  <a:pt x="358" y="136"/>
                </a:cubicBezTo>
                <a:cubicBezTo>
                  <a:pt x="356" y="137"/>
                  <a:pt x="356" y="137"/>
                  <a:pt x="356" y="137"/>
                </a:cubicBezTo>
                <a:cubicBezTo>
                  <a:pt x="357" y="138"/>
                  <a:pt x="357" y="138"/>
                  <a:pt x="357" y="138"/>
                </a:cubicBezTo>
                <a:cubicBezTo>
                  <a:pt x="357" y="139"/>
                  <a:pt x="357" y="139"/>
                  <a:pt x="357" y="139"/>
                </a:cubicBezTo>
                <a:cubicBezTo>
                  <a:pt x="355" y="140"/>
                  <a:pt x="355" y="140"/>
                  <a:pt x="355" y="140"/>
                </a:cubicBezTo>
                <a:cubicBezTo>
                  <a:pt x="354" y="141"/>
                  <a:pt x="354" y="141"/>
                  <a:pt x="354" y="141"/>
                </a:cubicBezTo>
                <a:cubicBezTo>
                  <a:pt x="353" y="141"/>
                  <a:pt x="353" y="141"/>
                  <a:pt x="353" y="141"/>
                </a:cubicBezTo>
                <a:cubicBezTo>
                  <a:pt x="352" y="142"/>
                  <a:pt x="352" y="142"/>
                  <a:pt x="352" y="142"/>
                </a:cubicBezTo>
                <a:cubicBezTo>
                  <a:pt x="352" y="142"/>
                  <a:pt x="352" y="142"/>
                  <a:pt x="352" y="142"/>
                </a:cubicBezTo>
                <a:cubicBezTo>
                  <a:pt x="351" y="141"/>
                  <a:pt x="351" y="141"/>
                  <a:pt x="351" y="141"/>
                </a:cubicBezTo>
                <a:cubicBezTo>
                  <a:pt x="350" y="141"/>
                  <a:pt x="350" y="141"/>
                  <a:pt x="350" y="141"/>
                </a:cubicBezTo>
                <a:cubicBezTo>
                  <a:pt x="351" y="140"/>
                  <a:pt x="351" y="140"/>
                  <a:pt x="351" y="140"/>
                </a:cubicBezTo>
                <a:cubicBezTo>
                  <a:pt x="352" y="140"/>
                  <a:pt x="352" y="140"/>
                  <a:pt x="352" y="140"/>
                </a:cubicBezTo>
                <a:cubicBezTo>
                  <a:pt x="353" y="139"/>
                  <a:pt x="353" y="139"/>
                  <a:pt x="353" y="139"/>
                </a:cubicBezTo>
                <a:cubicBezTo>
                  <a:pt x="354" y="139"/>
                  <a:pt x="354" y="139"/>
                  <a:pt x="354" y="139"/>
                </a:cubicBezTo>
                <a:cubicBezTo>
                  <a:pt x="355" y="138"/>
                  <a:pt x="355" y="138"/>
                  <a:pt x="355" y="138"/>
                </a:cubicBezTo>
                <a:cubicBezTo>
                  <a:pt x="355" y="138"/>
                  <a:pt x="355" y="138"/>
                  <a:pt x="355" y="138"/>
                </a:cubicBezTo>
                <a:cubicBezTo>
                  <a:pt x="354" y="138"/>
                  <a:pt x="354" y="138"/>
                  <a:pt x="354" y="138"/>
                </a:cubicBezTo>
                <a:cubicBezTo>
                  <a:pt x="354" y="137"/>
                  <a:pt x="354" y="137"/>
                  <a:pt x="354" y="137"/>
                </a:cubicBezTo>
                <a:cubicBezTo>
                  <a:pt x="355" y="136"/>
                  <a:pt x="355" y="136"/>
                  <a:pt x="355" y="136"/>
                </a:cubicBezTo>
                <a:cubicBezTo>
                  <a:pt x="356" y="135"/>
                  <a:pt x="356" y="135"/>
                  <a:pt x="356" y="135"/>
                </a:cubicBezTo>
                <a:cubicBezTo>
                  <a:pt x="354" y="136"/>
                  <a:pt x="354" y="136"/>
                  <a:pt x="354" y="136"/>
                </a:cubicBezTo>
                <a:cubicBezTo>
                  <a:pt x="353" y="137"/>
                  <a:pt x="353" y="137"/>
                  <a:pt x="353" y="137"/>
                </a:cubicBezTo>
                <a:cubicBezTo>
                  <a:pt x="352" y="136"/>
                  <a:pt x="352" y="136"/>
                  <a:pt x="352" y="136"/>
                </a:cubicBezTo>
                <a:cubicBezTo>
                  <a:pt x="352" y="135"/>
                  <a:pt x="352" y="135"/>
                  <a:pt x="352" y="135"/>
                </a:cubicBezTo>
                <a:cubicBezTo>
                  <a:pt x="353" y="135"/>
                  <a:pt x="353" y="135"/>
                  <a:pt x="353" y="135"/>
                </a:cubicBezTo>
                <a:cubicBezTo>
                  <a:pt x="353" y="134"/>
                  <a:pt x="353" y="134"/>
                  <a:pt x="353" y="134"/>
                </a:cubicBezTo>
                <a:cubicBezTo>
                  <a:pt x="351" y="133"/>
                  <a:pt x="351" y="133"/>
                  <a:pt x="351" y="133"/>
                </a:cubicBezTo>
                <a:cubicBezTo>
                  <a:pt x="352" y="131"/>
                  <a:pt x="352" y="131"/>
                  <a:pt x="352" y="131"/>
                </a:cubicBezTo>
                <a:cubicBezTo>
                  <a:pt x="352" y="131"/>
                  <a:pt x="352" y="131"/>
                  <a:pt x="352" y="131"/>
                </a:cubicBezTo>
                <a:cubicBezTo>
                  <a:pt x="353" y="131"/>
                  <a:pt x="353" y="131"/>
                  <a:pt x="353" y="131"/>
                </a:cubicBezTo>
                <a:cubicBezTo>
                  <a:pt x="353" y="129"/>
                  <a:pt x="353" y="129"/>
                  <a:pt x="353" y="129"/>
                </a:cubicBezTo>
                <a:cubicBezTo>
                  <a:pt x="354" y="127"/>
                  <a:pt x="354" y="127"/>
                  <a:pt x="354" y="127"/>
                </a:cubicBezTo>
                <a:cubicBezTo>
                  <a:pt x="354" y="126"/>
                  <a:pt x="354" y="126"/>
                  <a:pt x="354" y="126"/>
                </a:cubicBezTo>
                <a:cubicBezTo>
                  <a:pt x="355" y="126"/>
                  <a:pt x="355" y="126"/>
                  <a:pt x="355" y="126"/>
                </a:cubicBezTo>
                <a:cubicBezTo>
                  <a:pt x="355" y="125"/>
                  <a:pt x="355" y="125"/>
                  <a:pt x="355" y="125"/>
                </a:cubicBezTo>
                <a:cubicBezTo>
                  <a:pt x="352" y="123"/>
                  <a:pt x="352" y="123"/>
                  <a:pt x="352" y="123"/>
                </a:cubicBezTo>
                <a:cubicBezTo>
                  <a:pt x="350" y="121"/>
                  <a:pt x="350" y="121"/>
                  <a:pt x="350" y="121"/>
                </a:cubicBezTo>
                <a:cubicBezTo>
                  <a:pt x="350" y="122"/>
                  <a:pt x="350" y="122"/>
                  <a:pt x="350" y="122"/>
                </a:cubicBezTo>
                <a:cubicBezTo>
                  <a:pt x="349" y="122"/>
                  <a:pt x="349" y="122"/>
                  <a:pt x="349" y="122"/>
                </a:cubicBezTo>
                <a:cubicBezTo>
                  <a:pt x="348" y="122"/>
                  <a:pt x="348" y="122"/>
                  <a:pt x="348" y="122"/>
                </a:cubicBezTo>
                <a:cubicBezTo>
                  <a:pt x="347" y="122"/>
                  <a:pt x="347" y="122"/>
                  <a:pt x="347" y="122"/>
                </a:cubicBezTo>
                <a:cubicBezTo>
                  <a:pt x="346" y="123"/>
                  <a:pt x="346" y="123"/>
                  <a:pt x="346" y="123"/>
                </a:cubicBezTo>
                <a:cubicBezTo>
                  <a:pt x="345" y="124"/>
                  <a:pt x="345" y="124"/>
                  <a:pt x="345" y="124"/>
                </a:cubicBezTo>
                <a:cubicBezTo>
                  <a:pt x="345" y="125"/>
                  <a:pt x="345" y="125"/>
                  <a:pt x="345" y="125"/>
                </a:cubicBezTo>
                <a:cubicBezTo>
                  <a:pt x="344" y="126"/>
                  <a:pt x="344" y="126"/>
                  <a:pt x="344" y="126"/>
                </a:cubicBezTo>
                <a:cubicBezTo>
                  <a:pt x="344" y="129"/>
                  <a:pt x="344" y="129"/>
                  <a:pt x="344" y="129"/>
                </a:cubicBezTo>
                <a:cubicBezTo>
                  <a:pt x="343" y="129"/>
                  <a:pt x="343" y="129"/>
                  <a:pt x="343" y="129"/>
                </a:cubicBezTo>
                <a:cubicBezTo>
                  <a:pt x="342" y="131"/>
                  <a:pt x="342" y="131"/>
                  <a:pt x="342" y="131"/>
                </a:cubicBezTo>
                <a:cubicBezTo>
                  <a:pt x="341" y="131"/>
                  <a:pt x="341" y="131"/>
                  <a:pt x="341" y="131"/>
                </a:cubicBezTo>
                <a:cubicBezTo>
                  <a:pt x="339" y="132"/>
                  <a:pt x="339" y="132"/>
                  <a:pt x="339" y="132"/>
                </a:cubicBezTo>
                <a:cubicBezTo>
                  <a:pt x="338" y="135"/>
                  <a:pt x="338" y="135"/>
                  <a:pt x="338" y="135"/>
                </a:cubicBezTo>
                <a:cubicBezTo>
                  <a:pt x="337" y="136"/>
                  <a:pt x="337" y="136"/>
                  <a:pt x="337" y="136"/>
                </a:cubicBezTo>
                <a:cubicBezTo>
                  <a:pt x="338" y="136"/>
                  <a:pt x="338" y="136"/>
                  <a:pt x="338" y="136"/>
                </a:cubicBezTo>
                <a:cubicBezTo>
                  <a:pt x="338" y="138"/>
                  <a:pt x="338" y="138"/>
                  <a:pt x="338" y="138"/>
                </a:cubicBezTo>
                <a:cubicBezTo>
                  <a:pt x="337" y="138"/>
                  <a:pt x="337" y="138"/>
                  <a:pt x="337" y="138"/>
                </a:cubicBezTo>
                <a:cubicBezTo>
                  <a:pt x="338" y="138"/>
                  <a:pt x="338" y="138"/>
                  <a:pt x="338" y="138"/>
                </a:cubicBezTo>
                <a:cubicBezTo>
                  <a:pt x="337" y="140"/>
                  <a:pt x="337" y="140"/>
                  <a:pt x="337" y="140"/>
                </a:cubicBezTo>
                <a:cubicBezTo>
                  <a:pt x="335" y="140"/>
                  <a:pt x="335" y="140"/>
                  <a:pt x="335" y="140"/>
                </a:cubicBezTo>
                <a:cubicBezTo>
                  <a:pt x="333" y="140"/>
                  <a:pt x="333" y="140"/>
                  <a:pt x="333" y="140"/>
                </a:cubicBezTo>
                <a:cubicBezTo>
                  <a:pt x="331" y="139"/>
                  <a:pt x="331" y="139"/>
                  <a:pt x="331" y="139"/>
                </a:cubicBezTo>
                <a:cubicBezTo>
                  <a:pt x="331" y="140"/>
                  <a:pt x="331" y="140"/>
                  <a:pt x="331" y="140"/>
                </a:cubicBezTo>
                <a:cubicBezTo>
                  <a:pt x="330" y="140"/>
                  <a:pt x="330" y="140"/>
                  <a:pt x="330" y="140"/>
                </a:cubicBezTo>
                <a:cubicBezTo>
                  <a:pt x="330" y="142"/>
                  <a:pt x="330" y="142"/>
                  <a:pt x="330" y="142"/>
                </a:cubicBezTo>
                <a:cubicBezTo>
                  <a:pt x="330" y="142"/>
                  <a:pt x="330" y="142"/>
                  <a:pt x="330" y="142"/>
                </a:cubicBezTo>
                <a:cubicBezTo>
                  <a:pt x="330" y="143"/>
                  <a:pt x="330" y="143"/>
                  <a:pt x="330" y="143"/>
                </a:cubicBezTo>
                <a:cubicBezTo>
                  <a:pt x="329" y="143"/>
                  <a:pt x="329" y="143"/>
                  <a:pt x="329" y="143"/>
                </a:cubicBezTo>
                <a:cubicBezTo>
                  <a:pt x="330" y="145"/>
                  <a:pt x="330" y="145"/>
                  <a:pt x="330" y="145"/>
                </a:cubicBezTo>
                <a:cubicBezTo>
                  <a:pt x="330" y="146"/>
                  <a:pt x="330" y="146"/>
                  <a:pt x="330" y="146"/>
                </a:cubicBezTo>
                <a:cubicBezTo>
                  <a:pt x="331" y="147"/>
                  <a:pt x="331" y="147"/>
                  <a:pt x="331" y="147"/>
                </a:cubicBezTo>
                <a:cubicBezTo>
                  <a:pt x="333" y="148"/>
                  <a:pt x="333" y="148"/>
                  <a:pt x="333" y="148"/>
                </a:cubicBezTo>
                <a:cubicBezTo>
                  <a:pt x="334" y="149"/>
                  <a:pt x="334" y="149"/>
                  <a:pt x="334" y="149"/>
                </a:cubicBezTo>
                <a:cubicBezTo>
                  <a:pt x="335" y="151"/>
                  <a:pt x="335" y="151"/>
                  <a:pt x="335" y="151"/>
                </a:cubicBezTo>
                <a:cubicBezTo>
                  <a:pt x="335" y="150"/>
                  <a:pt x="335" y="150"/>
                  <a:pt x="335" y="150"/>
                </a:cubicBezTo>
                <a:cubicBezTo>
                  <a:pt x="335" y="151"/>
                  <a:pt x="335" y="151"/>
                  <a:pt x="335" y="151"/>
                </a:cubicBezTo>
                <a:cubicBezTo>
                  <a:pt x="336" y="150"/>
                  <a:pt x="336" y="150"/>
                  <a:pt x="336" y="150"/>
                </a:cubicBezTo>
                <a:cubicBezTo>
                  <a:pt x="336" y="150"/>
                  <a:pt x="336" y="150"/>
                  <a:pt x="336" y="150"/>
                </a:cubicBezTo>
                <a:cubicBezTo>
                  <a:pt x="336" y="151"/>
                  <a:pt x="336" y="151"/>
                  <a:pt x="336" y="151"/>
                </a:cubicBezTo>
                <a:cubicBezTo>
                  <a:pt x="337" y="150"/>
                  <a:pt x="337" y="150"/>
                  <a:pt x="337" y="150"/>
                </a:cubicBezTo>
                <a:cubicBezTo>
                  <a:pt x="339" y="150"/>
                  <a:pt x="339" y="150"/>
                  <a:pt x="339" y="150"/>
                </a:cubicBezTo>
                <a:cubicBezTo>
                  <a:pt x="339" y="151"/>
                  <a:pt x="339" y="151"/>
                  <a:pt x="339" y="151"/>
                </a:cubicBezTo>
                <a:cubicBezTo>
                  <a:pt x="339" y="153"/>
                  <a:pt x="339" y="153"/>
                  <a:pt x="339" y="153"/>
                </a:cubicBezTo>
                <a:cubicBezTo>
                  <a:pt x="341" y="157"/>
                  <a:pt x="341" y="157"/>
                  <a:pt x="341" y="157"/>
                </a:cubicBezTo>
                <a:cubicBezTo>
                  <a:pt x="342" y="157"/>
                  <a:pt x="342" y="157"/>
                  <a:pt x="342" y="157"/>
                </a:cubicBezTo>
                <a:cubicBezTo>
                  <a:pt x="344" y="156"/>
                  <a:pt x="344" y="156"/>
                  <a:pt x="344" y="156"/>
                </a:cubicBezTo>
                <a:cubicBezTo>
                  <a:pt x="345" y="156"/>
                  <a:pt x="345" y="156"/>
                  <a:pt x="345" y="156"/>
                </a:cubicBezTo>
                <a:cubicBezTo>
                  <a:pt x="345" y="156"/>
                  <a:pt x="345" y="156"/>
                  <a:pt x="345" y="156"/>
                </a:cubicBezTo>
                <a:cubicBezTo>
                  <a:pt x="346" y="155"/>
                  <a:pt x="346" y="155"/>
                  <a:pt x="346" y="155"/>
                </a:cubicBezTo>
                <a:cubicBezTo>
                  <a:pt x="345" y="154"/>
                  <a:pt x="345" y="154"/>
                  <a:pt x="345" y="154"/>
                </a:cubicBezTo>
                <a:cubicBezTo>
                  <a:pt x="345" y="154"/>
                  <a:pt x="345" y="154"/>
                  <a:pt x="345" y="154"/>
                </a:cubicBezTo>
                <a:cubicBezTo>
                  <a:pt x="347" y="153"/>
                  <a:pt x="347" y="153"/>
                  <a:pt x="347" y="153"/>
                </a:cubicBezTo>
                <a:cubicBezTo>
                  <a:pt x="348" y="152"/>
                  <a:pt x="348" y="152"/>
                  <a:pt x="348" y="152"/>
                </a:cubicBezTo>
                <a:cubicBezTo>
                  <a:pt x="348" y="151"/>
                  <a:pt x="348" y="151"/>
                  <a:pt x="348" y="151"/>
                </a:cubicBezTo>
                <a:cubicBezTo>
                  <a:pt x="347" y="151"/>
                  <a:pt x="347" y="151"/>
                  <a:pt x="347" y="151"/>
                </a:cubicBezTo>
                <a:cubicBezTo>
                  <a:pt x="349" y="151"/>
                  <a:pt x="349" y="151"/>
                  <a:pt x="349" y="151"/>
                </a:cubicBezTo>
                <a:cubicBezTo>
                  <a:pt x="352" y="149"/>
                  <a:pt x="352" y="149"/>
                  <a:pt x="352" y="149"/>
                </a:cubicBezTo>
                <a:cubicBezTo>
                  <a:pt x="352" y="150"/>
                  <a:pt x="352" y="150"/>
                  <a:pt x="352" y="150"/>
                </a:cubicBezTo>
                <a:cubicBezTo>
                  <a:pt x="353" y="150"/>
                  <a:pt x="353" y="150"/>
                  <a:pt x="353" y="150"/>
                </a:cubicBezTo>
                <a:cubicBezTo>
                  <a:pt x="353" y="151"/>
                  <a:pt x="353" y="151"/>
                  <a:pt x="353" y="151"/>
                </a:cubicBezTo>
                <a:cubicBezTo>
                  <a:pt x="354" y="152"/>
                  <a:pt x="354" y="152"/>
                  <a:pt x="354" y="152"/>
                </a:cubicBezTo>
                <a:cubicBezTo>
                  <a:pt x="355" y="152"/>
                  <a:pt x="355" y="152"/>
                  <a:pt x="355" y="152"/>
                </a:cubicBezTo>
                <a:cubicBezTo>
                  <a:pt x="359" y="152"/>
                  <a:pt x="359" y="152"/>
                  <a:pt x="359" y="152"/>
                </a:cubicBezTo>
                <a:cubicBezTo>
                  <a:pt x="359" y="152"/>
                  <a:pt x="359" y="152"/>
                  <a:pt x="359" y="152"/>
                </a:cubicBezTo>
                <a:cubicBezTo>
                  <a:pt x="361" y="152"/>
                  <a:pt x="361" y="152"/>
                  <a:pt x="361" y="152"/>
                </a:cubicBezTo>
                <a:cubicBezTo>
                  <a:pt x="361" y="152"/>
                  <a:pt x="361" y="152"/>
                  <a:pt x="361" y="152"/>
                </a:cubicBezTo>
                <a:cubicBezTo>
                  <a:pt x="362" y="152"/>
                  <a:pt x="362" y="152"/>
                  <a:pt x="362" y="152"/>
                </a:cubicBezTo>
                <a:cubicBezTo>
                  <a:pt x="364" y="152"/>
                  <a:pt x="364" y="152"/>
                  <a:pt x="364" y="152"/>
                </a:cubicBezTo>
                <a:cubicBezTo>
                  <a:pt x="365" y="152"/>
                  <a:pt x="365" y="152"/>
                  <a:pt x="365" y="152"/>
                </a:cubicBezTo>
                <a:cubicBezTo>
                  <a:pt x="363" y="153"/>
                  <a:pt x="363" y="153"/>
                  <a:pt x="363" y="153"/>
                </a:cubicBezTo>
                <a:cubicBezTo>
                  <a:pt x="363" y="153"/>
                  <a:pt x="363" y="153"/>
                  <a:pt x="363" y="153"/>
                </a:cubicBezTo>
                <a:cubicBezTo>
                  <a:pt x="364" y="155"/>
                  <a:pt x="364" y="155"/>
                  <a:pt x="364" y="155"/>
                </a:cubicBezTo>
                <a:cubicBezTo>
                  <a:pt x="364" y="155"/>
                  <a:pt x="364" y="155"/>
                  <a:pt x="364" y="155"/>
                </a:cubicBezTo>
                <a:cubicBezTo>
                  <a:pt x="363" y="155"/>
                  <a:pt x="363" y="155"/>
                  <a:pt x="363" y="155"/>
                </a:cubicBezTo>
                <a:cubicBezTo>
                  <a:pt x="363" y="156"/>
                  <a:pt x="363" y="156"/>
                  <a:pt x="363" y="156"/>
                </a:cubicBezTo>
                <a:cubicBezTo>
                  <a:pt x="364" y="157"/>
                  <a:pt x="364" y="157"/>
                  <a:pt x="364" y="157"/>
                </a:cubicBezTo>
                <a:cubicBezTo>
                  <a:pt x="364" y="157"/>
                  <a:pt x="364" y="157"/>
                  <a:pt x="364" y="157"/>
                </a:cubicBezTo>
                <a:cubicBezTo>
                  <a:pt x="362" y="159"/>
                  <a:pt x="362" y="159"/>
                  <a:pt x="362" y="159"/>
                </a:cubicBezTo>
                <a:cubicBezTo>
                  <a:pt x="361" y="158"/>
                  <a:pt x="361" y="158"/>
                  <a:pt x="361" y="158"/>
                </a:cubicBezTo>
                <a:cubicBezTo>
                  <a:pt x="361" y="157"/>
                  <a:pt x="361" y="157"/>
                  <a:pt x="361" y="157"/>
                </a:cubicBezTo>
                <a:cubicBezTo>
                  <a:pt x="360" y="158"/>
                  <a:pt x="360" y="158"/>
                  <a:pt x="360" y="158"/>
                </a:cubicBezTo>
                <a:cubicBezTo>
                  <a:pt x="360" y="157"/>
                  <a:pt x="360" y="157"/>
                  <a:pt x="360" y="157"/>
                </a:cubicBezTo>
                <a:cubicBezTo>
                  <a:pt x="358" y="159"/>
                  <a:pt x="358" y="159"/>
                  <a:pt x="358" y="159"/>
                </a:cubicBezTo>
                <a:cubicBezTo>
                  <a:pt x="358" y="159"/>
                  <a:pt x="358" y="159"/>
                  <a:pt x="358" y="159"/>
                </a:cubicBezTo>
                <a:cubicBezTo>
                  <a:pt x="356" y="160"/>
                  <a:pt x="356" y="160"/>
                  <a:pt x="356" y="160"/>
                </a:cubicBezTo>
                <a:cubicBezTo>
                  <a:pt x="355" y="159"/>
                  <a:pt x="355" y="159"/>
                  <a:pt x="355" y="159"/>
                </a:cubicBezTo>
                <a:cubicBezTo>
                  <a:pt x="355" y="160"/>
                  <a:pt x="355" y="160"/>
                  <a:pt x="355" y="160"/>
                </a:cubicBezTo>
                <a:cubicBezTo>
                  <a:pt x="354" y="159"/>
                  <a:pt x="354" y="159"/>
                  <a:pt x="354" y="159"/>
                </a:cubicBezTo>
                <a:cubicBezTo>
                  <a:pt x="353" y="160"/>
                  <a:pt x="353" y="160"/>
                  <a:pt x="353" y="160"/>
                </a:cubicBezTo>
                <a:cubicBezTo>
                  <a:pt x="354" y="161"/>
                  <a:pt x="354" y="161"/>
                  <a:pt x="354" y="161"/>
                </a:cubicBezTo>
                <a:cubicBezTo>
                  <a:pt x="354" y="161"/>
                  <a:pt x="354" y="161"/>
                  <a:pt x="354" y="161"/>
                </a:cubicBezTo>
                <a:cubicBezTo>
                  <a:pt x="353" y="162"/>
                  <a:pt x="353" y="162"/>
                  <a:pt x="353" y="162"/>
                </a:cubicBezTo>
                <a:cubicBezTo>
                  <a:pt x="353" y="163"/>
                  <a:pt x="353" y="163"/>
                  <a:pt x="353" y="163"/>
                </a:cubicBezTo>
                <a:cubicBezTo>
                  <a:pt x="351" y="163"/>
                  <a:pt x="351" y="163"/>
                  <a:pt x="351" y="163"/>
                </a:cubicBezTo>
                <a:cubicBezTo>
                  <a:pt x="350" y="164"/>
                  <a:pt x="350" y="164"/>
                  <a:pt x="350" y="164"/>
                </a:cubicBezTo>
                <a:cubicBezTo>
                  <a:pt x="350" y="165"/>
                  <a:pt x="350" y="165"/>
                  <a:pt x="350" y="165"/>
                </a:cubicBezTo>
                <a:cubicBezTo>
                  <a:pt x="351" y="166"/>
                  <a:pt x="351" y="166"/>
                  <a:pt x="351" y="166"/>
                </a:cubicBezTo>
                <a:cubicBezTo>
                  <a:pt x="350" y="167"/>
                  <a:pt x="350" y="167"/>
                  <a:pt x="350" y="167"/>
                </a:cubicBezTo>
                <a:cubicBezTo>
                  <a:pt x="350" y="167"/>
                  <a:pt x="350" y="167"/>
                  <a:pt x="350" y="167"/>
                </a:cubicBezTo>
                <a:cubicBezTo>
                  <a:pt x="348" y="168"/>
                  <a:pt x="348" y="168"/>
                  <a:pt x="348" y="168"/>
                </a:cubicBezTo>
                <a:cubicBezTo>
                  <a:pt x="348" y="169"/>
                  <a:pt x="348" y="169"/>
                  <a:pt x="348" y="169"/>
                </a:cubicBezTo>
                <a:cubicBezTo>
                  <a:pt x="347" y="168"/>
                  <a:pt x="347" y="168"/>
                  <a:pt x="347" y="168"/>
                </a:cubicBezTo>
                <a:cubicBezTo>
                  <a:pt x="347" y="170"/>
                  <a:pt x="347" y="170"/>
                  <a:pt x="347" y="170"/>
                </a:cubicBezTo>
                <a:cubicBezTo>
                  <a:pt x="347" y="172"/>
                  <a:pt x="347" y="172"/>
                  <a:pt x="347" y="172"/>
                </a:cubicBezTo>
                <a:cubicBezTo>
                  <a:pt x="347" y="174"/>
                  <a:pt x="347" y="174"/>
                  <a:pt x="347" y="174"/>
                </a:cubicBezTo>
                <a:cubicBezTo>
                  <a:pt x="347" y="177"/>
                  <a:pt x="347" y="177"/>
                  <a:pt x="347" y="177"/>
                </a:cubicBezTo>
                <a:cubicBezTo>
                  <a:pt x="347" y="177"/>
                  <a:pt x="347" y="177"/>
                  <a:pt x="347" y="177"/>
                </a:cubicBezTo>
                <a:cubicBezTo>
                  <a:pt x="351" y="178"/>
                  <a:pt x="351" y="178"/>
                  <a:pt x="351" y="178"/>
                </a:cubicBezTo>
                <a:cubicBezTo>
                  <a:pt x="351" y="179"/>
                  <a:pt x="351" y="179"/>
                  <a:pt x="351" y="179"/>
                </a:cubicBezTo>
                <a:cubicBezTo>
                  <a:pt x="351" y="179"/>
                  <a:pt x="351" y="179"/>
                  <a:pt x="351" y="179"/>
                </a:cubicBezTo>
                <a:cubicBezTo>
                  <a:pt x="355" y="180"/>
                  <a:pt x="355" y="180"/>
                  <a:pt x="355" y="180"/>
                </a:cubicBezTo>
                <a:cubicBezTo>
                  <a:pt x="357" y="184"/>
                  <a:pt x="357" y="184"/>
                  <a:pt x="357" y="184"/>
                </a:cubicBezTo>
                <a:cubicBezTo>
                  <a:pt x="357" y="185"/>
                  <a:pt x="357" y="185"/>
                  <a:pt x="357" y="185"/>
                </a:cubicBezTo>
                <a:cubicBezTo>
                  <a:pt x="357" y="186"/>
                  <a:pt x="357" y="186"/>
                  <a:pt x="357" y="186"/>
                </a:cubicBezTo>
                <a:cubicBezTo>
                  <a:pt x="358" y="186"/>
                  <a:pt x="358" y="186"/>
                  <a:pt x="358" y="186"/>
                </a:cubicBezTo>
                <a:cubicBezTo>
                  <a:pt x="358" y="188"/>
                  <a:pt x="358" y="188"/>
                  <a:pt x="358" y="188"/>
                </a:cubicBezTo>
                <a:cubicBezTo>
                  <a:pt x="360" y="190"/>
                  <a:pt x="360" y="190"/>
                  <a:pt x="360" y="190"/>
                </a:cubicBezTo>
                <a:cubicBezTo>
                  <a:pt x="360" y="192"/>
                  <a:pt x="360" y="192"/>
                  <a:pt x="360" y="192"/>
                </a:cubicBezTo>
                <a:cubicBezTo>
                  <a:pt x="362" y="194"/>
                  <a:pt x="362" y="194"/>
                  <a:pt x="362" y="194"/>
                </a:cubicBezTo>
                <a:cubicBezTo>
                  <a:pt x="363" y="195"/>
                  <a:pt x="363" y="195"/>
                  <a:pt x="363" y="195"/>
                </a:cubicBezTo>
                <a:cubicBezTo>
                  <a:pt x="365" y="195"/>
                  <a:pt x="365" y="195"/>
                  <a:pt x="365" y="195"/>
                </a:cubicBezTo>
                <a:cubicBezTo>
                  <a:pt x="365" y="195"/>
                  <a:pt x="365" y="195"/>
                  <a:pt x="365" y="195"/>
                </a:cubicBezTo>
                <a:cubicBezTo>
                  <a:pt x="365" y="196"/>
                  <a:pt x="365" y="196"/>
                  <a:pt x="365" y="196"/>
                </a:cubicBezTo>
                <a:cubicBezTo>
                  <a:pt x="367" y="197"/>
                  <a:pt x="367" y="197"/>
                  <a:pt x="367" y="197"/>
                </a:cubicBezTo>
                <a:cubicBezTo>
                  <a:pt x="368" y="198"/>
                  <a:pt x="368" y="198"/>
                  <a:pt x="368" y="198"/>
                </a:cubicBezTo>
                <a:cubicBezTo>
                  <a:pt x="368" y="200"/>
                  <a:pt x="368" y="200"/>
                  <a:pt x="368" y="200"/>
                </a:cubicBezTo>
                <a:cubicBezTo>
                  <a:pt x="368" y="200"/>
                  <a:pt x="368" y="200"/>
                  <a:pt x="368" y="200"/>
                </a:cubicBezTo>
                <a:cubicBezTo>
                  <a:pt x="365" y="199"/>
                  <a:pt x="365" y="199"/>
                  <a:pt x="365" y="199"/>
                </a:cubicBezTo>
                <a:cubicBezTo>
                  <a:pt x="363" y="200"/>
                  <a:pt x="363" y="200"/>
                  <a:pt x="363" y="200"/>
                </a:cubicBezTo>
                <a:cubicBezTo>
                  <a:pt x="362" y="199"/>
                  <a:pt x="362" y="199"/>
                  <a:pt x="362" y="199"/>
                </a:cubicBezTo>
                <a:cubicBezTo>
                  <a:pt x="361" y="199"/>
                  <a:pt x="361" y="199"/>
                  <a:pt x="361" y="199"/>
                </a:cubicBezTo>
                <a:cubicBezTo>
                  <a:pt x="360" y="198"/>
                  <a:pt x="360" y="198"/>
                  <a:pt x="360" y="198"/>
                </a:cubicBezTo>
                <a:cubicBezTo>
                  <a:pt x="358" y="198"/>
                  <a:pt x="358" y="198"/>
                  <a:pt x="358" y="198"/>
                </a:cubicBezTo>
                <a:cubicBezTo>
                  <a:pt x="357" y="199"/>
                  <a:pt x="357" y="199"/>
                  <a:pt x="357" y="199"/>
                </a:cubicBezTo>
                <a:cubicBezTo>
                  <a:pt x="356" y="199"/>
                  <a:pt x="356" y="199"/>
                  <a:pt x="356" y="199"/>
                </a:cubicBezTo>
                <a:cubicBezTo>
                  <a:pt x="355" y="198"/>
                  <a:pt x="355" y="198"/>
                  <a:pt x="355" y="198"/>
                </a:cubicBezTo>
                <a:cubicBezTo>
                  <a:pt x="354" y="196"/>
                  <a:pt x="354" y="196"/>
                  <a:pt x="354" y="196"/>
                </a:cubicBezTo>
                <a:cubicBezTo>
                  <a:pt x="353" y="197"/>
                  <a:pt x="353" y="197"/>
                  <a:pt x="353" y="197"/>
                </a:cubicBezTo>
                <a:cubicBezTo>
                  <a:pt x="352" y="196"/>
                  <a:pt x="352" y="196"/>
                  <a:pt x="352" y="196"/>
                </a:cubicBezTo>
                <a:cubicBezTo>
                  <a:pt x="351" y="197"/>
                  <a:pt x="351" y="197"/>
                  <a:pt x="351" y="197"/>
                </a:cubicBezTo>
                <a:cubicBezTo>
                  <a:pt x="350" y="197"/>
                  <a:pt x="350" y="197"/>
                  <a:pt x="350" y="197"/>
                </a:cubicBezTo>
                <a:cubicBezTo>
                  <a:pt x="350" y="196"/>
                  <a:pt x="350" y="196"/>
                  <a:pt x="350" y="196"/>
                </a:cubicBezTo>
                <a:cubicBezTo>
                  <a:pt x="349" y="197"/>
                  <a:pt x="349" y="197"/>
                  <a:pt x="349" y="197"/>
                </a:cubicBezTo>
                <a:cubicBezTo>
                  <a:pt x="347" y="200"/>
                  <a:pt x="347" y="200"/>
                  <a:pt x="347" y="200"/>
                </a:cubicBezTo>
                <a:cubicBezTo>
                  <a:pt x="349" y="198"/>
                  <a:pt x="349" y="198"/>
                  <a:pt x="349" y="198"/>
                </a:cubicBezTo>
                <a:cubicBezTo>
                  <a:pt x="350" y="197"/>
                  <a:pt x="350" y="197"/>
                  <a:pt x="350" y="197"/>
                </a:cubicBezTo>
                <a:cubicBezTo>
                  <a:pt x="352" y="197"/>
                  <a:pt x="352" y="197"/>
                  <a:pt x="352" y="197"/>
                </a:cubicBezTo>
                <a:cubicBezTo>
                  <a:pt x="353" y="197"/>
                  <a:pt x="353" y="197"/>
                  <a:pt x="353" y="197"/>
                </a:cubicBezTo>
                <a:cubicBezTo>
                  <a:pt x="354" y="197"/>
                  <a:pt x="354" y="197"/>
                  <a:pt x="354" y="197"/>
                </a:cubicBezTo>
                <a:cubicBezTo>
                  <a:pt x="354" y="198"/>
                  <a:pt x="354" y="198"/>
                  <a:pt x="354" y="198"/>
                </a:cubicBezTo>
                <a:cubicBezTo>
                  <a:pt x="356" y="199"/>
                  <a:pt x="356" y="199"/>
                  <a:pt x="356" y="199"/>
                </a:cubicBezTo>
                <a:cubicBezTo>
                  <a:pt x="357" y="200"/>
                  <a:pt x="357" y="200"/>
                  <a:pt x="357" y="200"/>
                </a:cubicBezTo>
                <a:cubicBezTo>
                  <a:pt x="359" y="198"/>
                  <a:pt x="359" y="198"/>
                  <a:pt x="359" y="198"/>
                </a:cubicBezTo>
                <a:cubicBezTo>
                  <a:pt x="360" y="198"/>
                  <a:pt x="360" y="198"/>
                  <a:pt x="360" y="198"/>
                </a:cubicBezTo>
                <a:cubicBezTo>
                  <a:pt x="362" y="201"/>
                  <a:pt x="362" y="201"/>
                  <a:pt x="362" y="201"/>
                </a:cubicBezTo>
                <a:cubicBezTo>
                  <a:pt x="364" y="202"/>
                  <a:pt x="364" y="202"/>
                  <a:pt x="364" y="202"/>
                </a:cubicBezTo>
                <a:cubicBezTo>
                  <a:pt x="368" y="204"/>
                  <a:pt x="368" y="204"/>
                  <a:pt x="368" y="204"/>
                </a:cubicBezTo>
                <a:cubicBezTo>
                  <a:pt x="369" y="206"/>
                  <a:pt x="369" y="206"/>
                  <a:pt x="369" y="206"/>
                </a:cubicBezTo>
                <a:cubicBezTo>
                  <a:pt x="369" y="207"/>
                  <a:pt x="369" y="207"/>
                  <a:pt x="369" y="207"/>
                </a:cubicBezTo>
                <a:cubicBezTo>
                  <a:pt x="367" y="207"/>
                  <a:pt x="367" y="207"/>
                  <a:pt x="367" y="207"/>
                </a:cubicBezTo>
                <a:cubicBezTo>
                  <a:pt x="366" y="209"/>
                  <a:pt x="366" y="209"/>
                  <a:pt x="366" y="209"/>
                </a:cubicBezTo>
                <a:cubicBezTo>
                  <a:pt x="365" y="209"/>
                  <a:pt x="365" y="209"/>
                  <a:pt x="365" y="209"/>
                </a:cubicBezTo>
                <a:cubicBezTo>
                  <a:pt x="365" y="210"/>
                  <a:pt x="365" y="210"/>
                  <a:pt x="365" y="210"/>
                </a:cubicBezTo>
                <a:cubicBezTo>
                  <a:pt x="364" y="211"/>
                  <a:pt x="364" y="211"/>
                  <a:pt x="364" y="211"/>
                </a:cubicBezTo>
                <a:cubicBezTo>
                  <a:pt x="363" y="211"/>
                  <a:pt x="363" y="211"/>
                  <a:pt x="363" y="211"/>
                </a:cubicBezTo>
                <a:cubicBezTo>
                  <a:pt x="362" y="210"/>
                  <a:pt x="362" y="210"/>
                  <a:pt x="362" y="210"/>
                </a:cubicBezTo>
                <a:cubicBezTo>
                  <a:pt x="361" y="211"/>
                  <a:pt x="361" y="211"/>
                  <a:pt x="361" y="211"/>
                </a:cubicBezTo>
                <a:cubicBezTo>
                  <a:pt x="360" y="211"/>
                  <a:pt x="360" y="211"/>
                  <a:pt x="360" y="211"/>
                </a:cubicBezTo>
                <a:cubicBezTo>
                  <a:pt x="359" y="212"/>
                  <a:pt x="359" y="212"/>
                  <a:pt x="359" y="212"/>
                </a:cubicBezTo>
                <a:cubicBezTo>
                  <a:pt x="359" y="214"/>
                  <a:pt x="359" y="214"/>
                  <a:pt x="359" y="214"/>
                </a:cubicBezTo>
                <a:cubicBezTo>
                  <a:pt x="359" y="213"/>
                  <a:pt x="359" y="213"/>
                  <a:pt x="359" y="213"/>
                </a:cubicBezTo>
                <a:cubicBezTo>
                  <a:pt x="360" y="212"/>
                  <a:pt x="360" y="212"/>
                  <a:pt x="360" y="212"/>
                </a:cubicBezTo>
                <a:cubicBezTo>
                  <a:pt x="362" y="211"/>
                  <a:pt x="362" y="211"/>
                  <a:pt x="362" y="211"/>
                </a:cubicBezTo>
                <a:cubicBezTo>
                  <a:pt x="363" y="213"/>
                  <a:pt x="363" y="213"/>
                  <a:pt x="363" y="213"/>
                </a:cubicBezTo>
                <a:cubicBezTo>
                  <a:pt x="364" y="213"/>
                  <a:pt x="364" y="213"/>
                  <a:pt x="364" y="213"/>
                </a:cubicBezTo>
                <a:cubicBezTo>
                  <a:pt x="366" y="212"/>
                  <a:pt x="366" y="212"/>
                  <a:pt x="366" y="212"/>
                </a:cubicBezTo>
                <a:cubicBezTo>
                  <a:pt x="367" y="212"/>
                  <a:pt x="367" y="212"/>
                  <a:pt x="367" y="212"/>
                </a:cubicBezTo>
                <a:cubicBezTo>
                  <a:pt x="369" y="215"/>
                  <a:pt x="369" y="215"/>
                  <a:pt x="369" y="215"/>
                </a:cubicBezTo>
                <a:cubicBezTo>
                  <a:pt x="370" y="214"/>
                  <a:pt x="370" y="214"/>
                  <a:pt x="370" y="214"/>
                </a:cubicBezTo>
                <a:cubicBezTo>
                  <a:pt x="370" y="215"/>
                  <a:pt x="370" y="215"/>
                  <a:pt x="370" y="215"/>
                </a:cubicBezTo>
                <a:cubicBezTo>
                  <a:pt x="371" y="215"/>
                  <a:pt x="371" y="215"/>
                  <a:pt x="371" y="215"/>
                </a:cubicBezTo>
                <a:cubicBezTo>
                  <a:pt x="372" y="215"/>
                  <a:pt x="372" y="215"/>
                  <a:pt x="372" y="215"/>
                </a:cubicBezTo>
                <a:cubicBezTo>
                  <a:pt x="369" y="218"/>
                  <a:pt x="369" y="218"/>
                  <a:pt x="369" y="218"/>
                </a:cubicBezTo>
                <a:cubicBezTo>
                  <a:pt x="367" y="218"/>
                  <a:pt x="367" y="218"/>
                  <a:pt x="367" y="218"/>
                </a:cubicBezTo>
                <a:cubicBezTo>
                  <a:pt x="367" y="219"/>
                  <a:pt x="367" y="219"/>
                  <a:pt x="367" y="219"/>
                </a:cubicBezTo>
                <a:cubicBezTo>
                  <a:pt x="368" y="219"/>
                  <a:pt x="368" y="219"/>
                  <a:pt x="368" y="219"/>
                </a:cubicBezTo>
                <a:cubicBezTo>
                  <a:pt x="370" y="218"/>
                  <a:pt x="370" y="218"/>
                  <a:pt x="370" y="218"/>
                </a:cubicBezTo>
                <a:cubicBezTo>
                  <a:pt x="371" y="218"/>
                  <a:pt x="371" y="218"/>
                  <a:pt x="371" y="218"/>
                </a:cubicBezTo>
                <a:cubicBezTo>
                  <a:pt x="371" y="218"/>
                  <a:pt x="371" y="218"/>
                  <a:pt x="371" y="218"/>
                </a:cubicBezTo>
                <a:cubicBezTo>
                  <a:pt x="371" y="217"/>
                  <a:pt x="371" y="217"/>
                  <a:pt x="371" y="217"/>
                </a:cubicBezTo>
                <a:cubicBezTo>
                  <a:pt x="371" y="217"/>
                  <a:pt x="371" y="217"/>
                  <a:pt x="371" y="217"/>
                </a:cubicBezTo>
                <a:cubicBezTo>
                  <a:pt x="372" y="217"/>
                  <a:pt x="372" y="217"/>
                  <a:pt x="372" y="217"/>
                </a:cubicBezTo>
                <a:cubicBezTo>
                  <a:pt x="372" y="219"/>
                  <a:pt x="372" y="219"/>
                  <a:pt x="372" y="219"/>
                </a:cubicBezTo>
                <a:cubicBezTo>
                  <a:pt x="373" y="220"/>
                  <a:pt x="373" y="220"/>
                  <a:pt x="373" y="220"/>
                </a:cubicBezTo>
                <a:cubicBezTo>
                  <a:pt x="372" y="220"/>
                  <a:pt x="372" y="220"/>
                  <a:pt x="372" y="220"/>
                </a:cubicBezTo>
                <a:cubicBezTo>
                  <a:pt x="372" y="220"/>
                  <a:pt x="372" y="220"/>
                  <a:pt x="372" y="220"/>
                </a:cubicBezTo>
                <a:cubicBezTo>
                  <a:pt x="371" y="219"/>
                  <a:pt x="371" y="219"/>
                  <a:pt x="371" y="219"/>
                </a:cubicBezTo>
                <a:cubicBezTo>
                  <a:pt x="371" y="220"/>
                  <a:pt x="371" y="220"/>
                  <a:pt x="371" y="220"/>
                </a:cubicBezTo>
                <a:cubicBezTo>
                  <a:pt x="370" y="220"/>
                  <a:pt x="370" y="220"/>
                  <a:pt x="370" y="220"/>
                </a:cubicBezTo>
                <a:cubicBezTo>
                  <a:pt x="369" y="220"/>
                  <a:pt x="369" y="220"/>
                  <a:pt x="369" y="220"/>
                </a:cubicBezTo>
                <a:cubicBezTo>
                  <a:pt x="368" y="221"/>
                  <a:pt x="368" y="221"/>
                  <a:pt x="368" y="221"/>
                </a:cubicBezTo>
                <a:cubicBezTo>
                  <a:pt x="368" y="222"/>
                  <a:pt x="368" y="222"/>
                  <a:pt x="368" y="222"/>
                </a:cubicBezTo>
                <a:cubicBezTo>
                  <a:pt x="370" y="222"/>
                  <a:pt x="370" y="222"/>
                  <a:pt x="370" y="222"/>
                </a:cubicBezTo>
                <a:cubicBezTo>
                  <a:pt x="371" y="222"/>
                  <a:pt x="371" y="222"/>
                  <a:pt x="371" y="222"/>
                </a:cubicBezTo>
                <a:cubicBezTo>
                  <a:pt x="370" y="223"/>
                  <a:pt x="370" y="223"/>
                  <a:pt x="370" y="223"/>
                </a:cubicBezTo>
                <a:cubicBezTo>
                  <a:pt x="370" y="223"/>
                  <a:pt x="370" y="223"/>
                  <a:pt x="370" y="223"/>
                </a:cubicBezTo>
                <a:cubicBezTo>
                  <a:pt x="369" y="223"/>
                  <a:pt x="369" y="223"/>
                  <a:pt x="369" y="223"/>
                </a:cubicBezTo>
                <a:cubicBezTo>
                  <a:pt x="370" y="224"/>
                  <a:pt x="370" y="224"/>
                  <a:pt x="370" y="224"/>
                </a:cubicBezTo>
                <a:cubicBezTo>
                  <a:pt x="370" y="225"/>
                  <a:pt x="370" y="225"/>
                  <a:pt x="370" y="225"/>
                </a:cubicBezTo>
                <a:cubicBezTo>
                  <a:pt x="370" y="225"/>
                  <a:pt x="370" y="225"/>
                  <a:pt x="370" y="225"/>
                </a:cubicBezTo>
                <a:cubicBezTo>
                  <a:pt x="369" y="225"/>
                  <a:pt x="369" y="225"/>
                  <a:pt x="369" y="225"/>
                </a:cubicBezTo>
                <a:cubicBezTo>
                  <a:pt x="368" y="225"/>
                  <a:pt x="368" y="225"/>
                  <a:pt x="368" y="225"/>
                </a:cubicBezTo>
                <a:cubicBezTo>
                  <a:pt x="369" y="226"/>
                  <a:pt x="369" y="226"/>
                  <a:pt x="369" y="226"/>
                </a:cubicBezTo>
                <a:cubicBezTo>
                  <a:pt x="370" y="226"/>
                  <a:pt x="370" y="226"/>
                  <a:pt x="370" y="226"/>
                </a:cubicBezTo>
                <a:cubicBezTo>
                  <a:pt x="371" y="227"/>
                  <a:pt x="371" y="227"/>
                  <a:pt x="371" y="227"/>
                </a:cubicBezTo>
                <a:cubicBezTo>
                  <a:pt x="370" y="228"/>
                  <a:pt x="370" y="228"/>
                  <a:pt x="370" y="228"/>
                </a:cubicBezTo>
                <a:cubicBezTo>
                  <a:pt x="370" y="229"/>
                  <a:pt x="370" y="229"/>
                  <a:pt x="370" y="229"/>
                </a:cubicBezTo>
                <a:cubicBezTo>
                  <a:pt x="369" y="229"/>
                  <a:pt x="369" y="229"/>
                  <a:pt x="369" y="229"/>
                </a:cubicBezTo>
                <a:cubicBezTo>
                  <a:pt x="369" y="228"/>
                  <a:pt x="369" y="228"/>
                  <a:pt x="369" y="228"/>
                </a:cubicBezTo>
                <a:cubicBezTo>
                  <a:pt x="368" y="228"/>
                  <a:pt x="368" y="228"/>
                  <a:pt x="368" y="228"/>
                </a:cubicBezTo>
                <a:cubicBezTo>
                  <a:pt x="367" y="230"/>
                  <a:pt x="367" y="230"/>
                  <a:pt x="367" y="230"/>
                </a:cubicBezTo>
                <a:cubicBezTo>
                  <a:pt x="366" y="231"/>
                  <a:pt x="366" y="231"/>
                  <a:pt x="366" y="231"/>
                </a:cubicBezTo>
                <a:cubicBezTo>
                  <a:pt x="365" y="230"/>
                  <a:pt x="365" y="230"/>
                  <a:pt x="365" y="230"/>
                </a:cubicBezTo>
                <a:cubicBezTo>
                  <a:pt x="366" y="231"/>
                  <a:pt x="366" y="231"/>
                  <a:pt x="366" y="231"/>
                </a:cubicBezTo>
                <a:cubicBezTo>
                  <a:pt x="366" y="231"/>
                  <a:pt x="366" y="231"/>
                  <a:pt x="366" y="231"/>
                </a:cubicBezTo>
                <a:cubicBezTo>
                  <a:pt x="366" y="232"/>
                  <a:pt x="366" y="232"/>
                  <a:pt x="366" y="232"/>
                </a:cubicBezTo>
                <a:cubicBezTo>
                  <a:pt x="366" y="233"/>
                  <a:pt x="366" y="233"/>
                  <a:pt x="366" y="233"/>
                </a:cubicBezTo>
                <a:cubicBezTo>
                  <a:pt x="366" y="233"/>
                  <a:pt x="366" y="233"/>
                  <a:pt x="366" y="233"/>
                </a:cubicBezTo>
                <a:cubicBezTo>
                  <a:pt x="366" y="234"/>
                  <a:pt x="366" y="234"/>
                  <a:pt x="366" y="234"/>
                </a:cubicBezTo>
                <a:cubicBezTo>
                  <a:pt x="366" y="235"/>
                  <a:pt x="366" y="235"/>
                  <a:pt x="366" y="235"/>
                </a:cubicBezTo>
                <a:cubicBezTo>
                  <a:pt x="366" y="236"/>
                  <a:pt x="366" y="236"/>
                  <a:pt x="366" y="236"/>
                </a:cubicBezTo>
                <a:cubicBezTo>
                  <a:pt x="365" y="236"/>
                  <a:pt x="365" y="236"/>
                  <a:pt x="365" y="236"/>
                </a:cubicBezTo>
                <a:cubicBezTo>
                  <a:pt x="364" y="235"/>
                  <a:pt x="364" y="235"/>
                  <a:pt x="364" y="235"/>
                </a:cubicBezTo>
                <a:cubicBezTo>
                  <a:pt x="364" y="236"/>
                  <a:pt x="364" y="236"/>
                  <a:pt x="364" y="236"/>
                </a:cubicBezTo>
                <a:cubicBezTo>
                  <a:pt x="365" y="236"/>
                  <a:pt x="365" y="236"/>
                  <a:pt x="365" y="236"/>
                </a:cubicBezTo>
                <a:cubicBezTo>
                  <a:pt x="365" y="238"/>
                  <a:pt x="365" y="238"/>
                  <a:pt x="365" y="238"/>
                </a:cubicBezTo>
                <a:cubicBezTo>
                  <a:pt x="364" y="237"/>
                  <a:pt x="364" y="237"/>
                  <a:pt x="364" y="237"/>
                </a:cubicBezTo>
                <a:cubicBezTo>
                  <a:pt x="364" y="238"/>
                  <a:pt x="364" y="238"/>
                  <a:pt x="364" y="238"/>
                </a:cubicBezTo>
                <a:cubicBezTo>
                  <a:pt x="362" y="240"/>
                  <a:pt x="362" y="240"/>
                  <a:pt x="362" y="240"/>
                </a:cubicBezTo>
                <a:cubicBezTo>
                  <a:pt x="361" y="240"/>
                  <a:pt x="361" y="240"/>
                  <a:pt x="361" y="240"/>
                </a:cubicBezTo>
                <a:cubicBezTo>
                  <a:pt x="362" y="239"/>
                  <a:pt x="362" y="239"/>
                  <a:pt x="362" y="239"/>
                </a:cubicBezTo>
                <a:cubicBezTo>
                  <a:pt x="361" y="239"/>
                  <a:pt x="361" y="239"/>
                  <a:pt x="361" y="239"/>
                </a:cubicBezTo>
                <a:cubicBezTo>
                  <a:pt x="361" y="239"/>
                  <a:pt x="361" y="239"/>
                  <a:pt x="361" y="239"/>
                </a:cubicBezTo>
                <a:cubicBezTo>
                  <a:pt x="360" y="240"/>
                  <a:pt x="360" y="240"/>
                  <a:pt x="360" y="240"/>
                </a:cubicBezTo>
                <a:cubicBezTo>
                  <a:pt x="360" y="239"/>
                  <a:pt x="360" y="239"/>
                  <a:pt x="360" y="239"/>
                </a:cubicBezTo>
                <a:cubicBezTo>
                  <a:pt x="360" y="240"/>
                  <a:pt x="360" y="240"/>
                  <a:pt x="360" y="240"/>
                </a:cubicBezTo>
                <a:cubicBezTo>
                  <a:pt x="359" y="241"/>
                  <a:pt x="359" y="241"/>
                  <a:pt x="359" y="241"/>
                </a:cubicBezTo>
                <a:cubicBezTo>
                  <a:pt x="360" y="241"/>
                  <a:pt x="360" y="241"/>
                  <a:pt x="360" y="241"/>
                </a:cubicBezTo>
                <a:cubicBezTo>
                  <a:pt x="361" y="242"/>
                  <a:pt x="361" y="242"/>
                  <a:pt x="361" y="242"/>
                </a:cubicBezTo>
                <a:cubicBezTo>
                  <a:pt x="360" y="242"/>
                  <a:pt x="360" y="242"/>
                  <a:pt x="360" y="242"/>
                </a:cubicBezTo>
                <a:cubicBezTo>
                  <a:pt x="361" y="243"/>
                  <a:pt x="361" y="243"/>
                  <a:pt x="361" y="243"/>
                </a:cubicBezTo>
                <a:cubicBezTo>
                  <a:pt x="362" y="243"/>
                  <a:pt x="362" y="243"/>
                  <a:pt x="362" y="243"/>
                </a:cubicBezTo>
                <a:cubicBezTo>
                  <a:pt x="363" y="243"/>
                  <a:pt x="363" y="243"/>
                  <a:pt x="363" y="243"/>
                </a:cubicBezTo>
                <a:cubicBezTo>
                  <a:pt x="361" y="244"/>
                  <a:pt x="361" y="244"/>
                  <a:pt x="361" y="244"/>
                </a:cubicBezTo>
                <a:cubicBezTo>
                  <a:pt x="359" y="245"/>
                  <a:pt x="359" y="245"/>
                  <a:pt x="359" y="245"/>
                </a:cubicBezTo>
                <a:cubicBezTo>
                  <a:pt x="359" y="246"/>
                  <a:pt x="359" y="246"/>
                  <a:pt x="359" y="246"/>
                </a:cubicBezTo>
                <a:cubicBezTo>
                  <a:pt x="360" y="246"/>
                  <a:pt x="360" y="246"/>
                  <a:pt x="360" y="246"/>
                </a:cubicBezTo>
                <a:cubicBezTo>
                  <a:pt x="361" y="246"/>
                  <a:pt x="361" y="246"/>
                  <a:pt x="361" y="246"/>
                </a:cubicBezTo>
                <a:cubicBezTo>
                  <a:pt x="361" y="246"/>
                  <a:pt x="361" y="246"/>
                  <a:pt x="361" y="246"/>
                </a:cubicBezTo>
                <a:cubicBezTo>
                  <a:pt x="360" y="247"/>
                  <a:pt x="360" y="247"/>
                  <a:pt x="360" y="247"/>
                </a:cubicBezTo>
                <a:cubicBezTo>
                  <a:pt x="361" y="248"/>
                  <a:pt x="361" y="248"/>
                  <a:pt x="361" y="248"/>
                </a:cubicBezTo>
                <a:cubicBezTo>
                  <a:pt x="361" y="249"/>
                  <a:pt x="361" y="249"/>
                  <a:pt x="361" y="249"/>
                </a:cubicBezTo>
                <a:cubicBezTo>
                  <a:pt x="360" y="249"/>
                  <a:pt x="360" y="249"/>
                  <a:pt x="360" y="249"/>
                </a:cubicBezTo>
                <a:cubicBezTo>
                  <a:pt x="360" y="250"/>
                  <a:pt x="360" y="250"/>
                  <a:pt x="360" y="250"/>
                </a:cubicBezTo>
                <a:cubicBezTo>
                  <a:pt x="361" y="250"/>
                  <a:pt x="361" y="250"/>
                  <a:pt x="361" y="250"/>
                </a:cubicBezTo>
                <a:cubicBezTo>
                  <a:pt x="361" y="250"/>
                  <a:pt x="361" y="250"/>
                  <a:pt x="361" y="250"/>
                </a:cubicBezTo>
                <a:cubicBezTo>
                  <a:pt x="361" y="252"/>
                  <a:pt x="361" y="252"/>
                  <a:pt x="361" y="252"/>
                </a:cubicBezTo>
                <a:cubicBezTo>
                  <a:pt x="361" y="251"/>
                  <a:pt x="361" y="251"/>
                  <a:pt x="361" y="251"/>
                </a:cubicBezTo>
                <a:cubicBezTo>
                  <a:pt x="360" y="251"/>
                  <a:pt x="360" y="251"/>
                  <a:pt x="360" y="251"/>
                </a:cubicBezTo>
                <a:cubicBezTo>
                  <a:pt x="360" y="250"/>
                  <a:pt x="360" y="250"/>
                  <a:pt x="360" y="250"/>
                </a:cubicBezTo>
                <a:cubicBezTo>
                  <a:pt x="359" y="249"/>
                  <a:pt x="359" y="249"/>
                  <a:pt x="359" y="249"/>
                </a:cubicBezTo>
                <a:cubicBezTo>
                  <a:pt x="359" y="250"/>
                  <a:pt x="359" y="250"/>
                  <a:pt x="359" y="250"/>
                </a:cubicBezTo>
                <a:cubicBezTo>
                  <a:pt x="358" y="250"/>
                  <a:pt x="358" y="250"/>
                  <a:pt x="358" y="250"/>
                </a:cubicBezTo>
                <a:cubicBezTo>
                  <a:pt x="358" y="251"/>
                  <a:pt x="358" y="251"/>
                  <a:pt x="358" y="251"/>
                </a:cubicBezTo>
                <a:cubicBezTo>
                  <a:pt x="359" y="252"/>
                  <a:pt x="359" y="252"/>
                  <a:pt x="359" y="252"/>
                </a:cubicBezTo>
                <a:cubicBezTo>
                  <a:pt x="359" y="253"/>
                  <a:pt x="359" y="253"/>
                  <a:pt x="359" y="253"/>
                </a:cubicBezTo>
                <a:cubicBezTo>
                  <a:pt x="358" y="252"/>
                  <a:pt x="358" y="252"/>
                  <a:pt x="358" y="252"/>
                </a:cubicBezTo>
                <a:cubicBezTo>
                  <a:pt x="358" y="252"/>
                  <a:pt x="358" y="252"/>
                  <a:pt x="358" y="252"/>
                </a:cubicBezTo>
                <a:cubicBezTo>
                  <a:pt x="357" y="252"/>
                  <a:pt x="357" y="252"/>
                  <a:pt x="357" y="252"/>
                </a:cubicBezTo>
                <a:cubicBezTo>
                  <a:pt x="356" y="252"/>
                  <a:pt x="356" y="252"/>
                  <a:pt x="356" y="252"/>
                </a:cubicBezTo>
                <a:cubicBezTo>
                  <a:pt x="357" y="252"/>
                  <a:pt x="357" y="252"/>
                  <a:pt x="357" y="252"/>
                </a:cubicBezTo>
                <a:cubicBezTo>
                  <a:pt x="357" y="253"/>
                  <a:pt x="357" y="253"/>
                  <a:pt x="357" y="253"/>
                </a:cubicBezTo>
                <a:cubicBezTo>
                  <a:pt x="358" y="253"/>
                  <a:pt x="358" y="253"/>
                  <a:pt x="358" y="253"/>
                </a:cubicBezTo>
                <a:cubicBezTo>
                  <a:pt x="358" y="254"/>
                  <a:pt x="358" y="254"/>
                  <a:pt x="358" y="254"/>
                </a:cubicBezTo>
                <a:cubicBezTo>
                  <a:pt x="358" y="255"/>
                  <a:pt x="358" y="255"/>
                  <a:pt x="358" y="255"/>
                </a:cubicBezTo>
                <a:cubicBezTo>
                  <a:pt x="356" y="254"/>
                  <a:pt x="356" y="254"/>
                  <a:pt x="356" y="254"/>
                </a:cubicBezTo>
                <a:cubicBezTo>
                  <a:pt x="356" y="255"/>
                  <a:pt x="356" y="255"/>
                  <a:pt x="356" y="255"/>
                </a:cubicBezTo>
                <a:cubicBezTo>
                  <a:pt x="356" y="255"/>
                  <a:pt x="356" y="255"/>
                  <a:pt x="356" y="255"/>
                </a:cubicBezTo>
                <a:cubicBezTo>
                  <a:pt x="358" y="256"/>
                  <a:pt x="358" y="256"/>
                  <a:pt x="358" y="256"/>
                </a:cubicBezTo>
                <a:cubicBezTo>
                  <a:pt x="357" y="257"/>
                  <a:pt x="357" y="257"/>
                  <a:pt x="357" y="257"/>
                </a:cubicBezTo>
                <a:cubicBezTo>
                  <a:pt x="355" y="256"/>
                  <a:pt x="355" y="256"/>
                  <a:pt x="355" y="256"/>
                </a:cubicBezTo>
                <a:cubicBezTo>
                  <a:pt x="355" y="256"/>
                  <a:pt x="355" y="256"/>
                  <a:pt x="355" y="256"/>
                </a:cubicBezTo>
                <a:cubicBezTo>
                  <a:pt x="354" y="256"/>
                  <a:pt x="354" y="256"/>
                  <a:pt x="354" y="256"/>
                </a:cubicBezTo>
                <a:cubicBezTo>
                  <a:pt x="353" y="257"/>
                  <a:pt x="353" y="257"/>
                  <a:pt x="353" y="257"/>
                </a:cubicBezTo>
                <a:cubicBezTo>
                  <a:pt x="351" y="257"/>
                  <a:pt x="351" y="257"/>
                  <a:pt x="351" y="257"/>
                </a:cubicBezTo>
                <a:cubicBezTo>
                  <a:pt x="353" y="259"/>
                  <a:pt x="353" y="259"/>
                  <a:pt x="353" y="259"/>
                </a:cubicBezTo>
                <a:cubicBezTo>
                  <a:pt x="354" y="258"/>
                  <a:pt x="354" y="258"/>
                  <a:pt x="354" y="258"/>
                </a:cubicBezTo>
                <a:cubicBezTo>
                  <a:pt x="355" y="258"/>
                  <a:pt x="355" y="258"/>
                  <a:pt x="355" y="258"/>
                </a:cubicBezTo>
                <a:cubicBezTo>
                  <a:pt x="354" y="259"/>
                  <a:pt x="354" y="259"/>
                  <a:pt x="354" y="259"/>
                </a:cubicBezTo>
                <a:cubicBezTo>
                  <a:pt x="354" y="260"/>
                  <a:pt x="354" y="260"/>
                  <a:pt x="354" y="260"/>
                </a:cubicBezTo>
                <a:cubicBezTo>
                  <a:pt x="353" y="261"/>
                  <a:pt x="353" y="261"/>
                  <a:pt x="353" y="261"/>
                </a:cubicBezTo>
                <a:cubicBezTo>
                  <a:pt x="353" y="260"/>
                  <a:pt x="353" y="260"/>
                  <a:pt x="353" y="260"/>
                </a:cubicBezTo>
                <a:cubicBezTo>
                  <a:pt x="352" y="261"/>
                  <a:pt x="352" y="261"/>
                  <a:pt x="352" y="261"/>
                </a:cubicBezTo>
                <a:cubicBezTo>
                  <a:pt x="351" y="261"/>
                  <a:pt x="351" y="261"/>
                  <a:pt x="351" y="261"/>
                </a:cubicBezTo>
                <a:cubicBezTo>
                  <a:pt x="351" y="261"/>
                  <a:pt x="351" y="261"/>
                  <a:pt x="351" y="261"/>
                </a:cubicBezTo>
                <a:cubicBezTo>
                  <a:pt x="351" y="261"/>
                  <a:pt x="351" y="261"/>
                  <a:pt x="351" y="261"/>
                </a:cubicBezTo>
                <a:cubicBezTo>
                  <a:pt x="351" y="262"/>
                  <a:pt x="351" y="262"/>
                  <a:pt x="351" y="262"/>
                </a:cubicBezTo>
                <a:cubicBezTo>
                  <a:pt x="350" y="262"/>
                  <a:pt x="350" y="262"/>
                  <a:pt x="350" y="262"/>
                </a:cubicBezTo>
                <a:cubicBezTo>
                  <a:pt x="350" y="263"/>
                  <a:pt x="350" y="263"/>
                  <a:pt x="350" y="263"/>
                </a:cubicBezTo>
                <a:cubicBezTo>
                  <a:pt x="349" y="263"/>
                  <a:pt x="349" y="263"/>
                  <a:pt x="349" y="263"/>
                </a:cubicBezTo>
                <a:cubicBezTo>
                  <a:pt x="348" y="263"/>
                  <a:pt x="348" y="263"/>
                  <a:pt x="348" y="263"/>
                </a:cubicBezTo>
                <a:cubicBezTo>
                  <a:pt x="347" y="263"/>
                  <a:pt x="347" y="263"/>
                  <a:pt x="347" y="263"/>
                </a:cubicBezTo>
                <a:cubicBezTo>
                  <a:pt x="346" y="264"/>
                  <a:pt x="346" y="264"/>
                  <a:pt x="346" y="264"/>
                </a:cubicBezTo>
                <a:cubicBezTo>
                  <a:pt x="346" y="264"/>
                  <a:pt x="346" y="264"/>
                  <a:pt x="346" y="264"/>
                </a:cubicBezTo>
                <a:cubicBezTo>
                  <a:pt x="346" y="265"/>
                  <a:pt x="346" y="265"/>
                  <a:pt x="346" y="265"/>
                </a:cubicBezTo>
                <a:cubicBezTo>
                  <a:pt x="346" y="266"/>
                  <a:pt x="346" y="266"/>
                  <a:pt x="346" y="266"/>
                </a:cubicBezTo>
                <a:cubicBezTo>
                  <a:pt x="345" y="267"/>
                  <a:pt x="345" y="267"/>
                  <a:pt x="345" y="267"/>
                </a:cubicBezTo>
                <a:cubicBezTo>
                  <a:pt x="346" y="268"/>
                  <a:pt x="346" y="268"/>
                  <a:pt x="346" y="268"/>
                </a:cubicBezTo>
                <a:cubicBezTo>
                  <a:pt x="345" y="268"/>
                  <a:pt x="345" y="268"/>
                  <a:pt x="345" y="268"/>
                </a:cubicBezTo>
                <a:cubicBezTo>
                  <a:pt x="344" y="268"/>
                  <a:pt x="344" y="268"/>
                  <a:pt x="344" y="268"/>
                </a:cubicBezTo>
                <a:cubicBezTo>
                  <a:pt x="344" y="269"/>
                  <a:pt x="344" y="269"/>
                  <a:pt x="344" y="269"/>
                </a:cubicBezTo>
                <a:cubicBezTo>
                  <a:pt x="344" y="268"/>
                  <a:pt x="344" y="268"/>
                  <a:pt x="344" y="268"/>
                </a:cubicBezTo>
                <a:cubicBezTo>
                  <a:pt x="343" y="268"/>
                  <a:pt x="343" y="268"/>
                  <a:pt x="343" y="268"/>
                </a:cubicBezTo>
                <a:cubicBezTo>
                  <a:pt x="342" y="269"/>
                  <a:pt x="342" y="269"/>
                  <a:pt x="342" y="269"/>
                </a:cubicBezTo>
                <a:cubicBezTo>
                  <a:pt x="341" y="269"/>
                  <a:pt x="341" y="269"/>
                  <a:pt x="341" y="269"/>
                </a:cubicBezTo>
                <a:cubicBezTo>
                  <a:pt x="341" y="270"/>
                  <a:pt x="341" y="270"/>
                  <a:pt x="341" y="270"/>
                </a:cubicBezTo>
                <a:cubicBezTo>
                  <a:pt x="340" y="270"/>
                  <a:pt x="340" y="270"/>
                  <a:pt x="340" y="270"/>
                </a:cubicBezTo>
                <a:cubicBezTo>
                  <a:pt x="340" y="270"/>
                  <a:pt x="340" y="270"/>
                  <a:pt x="340" y="270"/>
                </a:cubicBezTo>
                <a:cubicBezTo>
                  <a:pt x="339" y="270"/>
                  <a:pt x="339" y="270"/>
                  <a:pt x="339" y="270"/>
                </a:cubicBezTo>
                <a:cubicBezTo>
                  <a:pt x="339" y="271"/>
                  <a:pt x="339" y="271"/>
                  <a:pt x="339" y="271"/>
                </a:cubicBezTo>
                <a:cubicBezTo>
                  <a:pt x="338" y="271"/>
                  <a:pt x="338" y="271"/>
                  <a:pt x="338" y="271"/>
                </a:cubicBezTo>
                <a:cubicBezTo>
                  <a:pt x="337" y="270"/>
                  <a:pt x="337" y="270"/>
                  <a:pt x="337" y="270"/>
                </a:cubicBezTo>
                <a:cubicBezTo>
                  <a:pt x="337" y="269"/>
                  <a:pt x="337" y="269"/>
                  <a:pt x="337" y="269"/>
                </a:cubicBezTo>
                <a:cubicBezTo>
                  <a:pt x="336" y="270"/>
                  <a:pt x="336" y="270"/>
                  <a:pt x="336" y="270"/>
                </a:cubicBezTo>
                <a:cubicBezTo>
                  <a:pt x="335" y="270"/>
                  <a:pt x="335" y="270"/>
                  <a:pt x="335" y="270"/>
                </a:cubicBezTo>
                <a:cubicBezTo>
                  <a:pt x="335" y="271"/>
                  <a:pt x="335" y="271"/>
                  <a:pt x="335" y="271"/>
                </a:cubicBezTo>
                <a:cubicBezTo>
                  <a:pt x="334" y="271"/>
                  <a:pt x="334" y="271"/>
                  <a:pt x="334" y="271"/>
                </a:cubicBezTo>
                <a:cubicBezTo>
                  <a:pt x="333" y="271"/>
                  <a:pt x="333" y="271"/>
                  <a:pt x="333" y="271"/>
                </a:cubicBezTo>
                <a:cubicBezTo>
                  <a:pt x="333" y="271"/>
                  <a:pt x="333" y="271"/>
                  <a:pt x="333" y="271"/>
                </a:cubicBezTo>
                <a:cubicBezTo>
                  <a:pt x="332" y="272"/>
                  <a:pt x="332" y="272"/>
                  <a:pt x="332" y="272"/>
                </a:cubicBezTo>
                <a:cubicBezTo>
                  <a:pt x="331" y="273"/>
                  <a:pt x="331" y="273"/>
                  <a:pt x="331" y="273"/>
                </a:cubicBezTo>
                <a:cubicBezTo>
                  <a:pt x="329" y="274"/>
                  <a:pt x="329" y="274"/>
                  <a:pt x="329" y="274"/>
                </a:cubicBezTo>
                <a:cubicBezTo>
                  <a:pt x="329" y="273"/>
                  <a:pt x="329" y="273"/>
                  <a:pt x="329" y="273"/>
                </a:cubicBezTo>
                <a:cubicBezTo>
                  <a:pt x="330" y="273"/>
                  <a:pt x="330" y="273"/>
                  <a:pt x="330" y="273"/>
                </a:cubicBezTo>
                <a:cubicBezTo>
                  <a:pt x="330" y="272"/>
                  <a:pt x="330" y="272"/>
                  <a:pt x="330" y="272"/>
                </a:cubicBezTo>
                <a:cubicBezTo>
                  <a:pt x="330" y="272"/>
                  <a:pt x="330" y="272"/>
                  <a:pt x="330" y="272"/>
                </a:cubicBezTo>
                <a:cubicBezTo>
                  <a:pt x="328" y="271"/>
                  <a:pt x="328" y="271"/>
                  <a:pt x="328" y="271"/>
                </a:cubicBezTo>
                <a:cubicBezTo>
                  <a:pt x="328" y="270"/>
                  <a:pt x="328" y="270"/>
                  <a:pt x="328" y="270"/>
                </a:cubicBezTo>
                <a:cubicBezTo>
                  <a:pt x="327" y="270"/>
                  <a:pt x="327" y="270"/>
                  <a:pt x="327" y="270"/>
                </a:cubicBezTo>
                <a:cubicBezTo>
                  <a:pt x="326" y="269"/>
                  <a:pt x="326" y="269"/>
                  <a:pt x="326" y="269"/>
                </a:cubicBezTo>
                <a:cubicBezTo>
                  <a:pt x="326" y="270"/>
                  <a:pt x="326" y="270"/>
                  <a:pt x="326" y="270"/>
                </a:cubicBezTo>
                <a:cubicBezTo>
                  <a:pt x="326" y="271"/>
                  <a:pt x="326" y="271"/>
                  <a:pt x="326" y="271"/>
                </a:cubicBezTo>
                <a:cubicBezTo>
                  <a:pt x="326" y="272"/>
                  <a:pt x="326" y="272"/>
                  <a:pt x="326" y="272"/>
                </a:cubicBezTo>
                <a:cubicBezTo>
                  <a:pt x="327" y="273"/>
                  <a:pt x="327" y="273"/>
                  <a:pt x="327" y="273"/>
                </a:cubicBezTo>
                <a:cubicBezTo>
                  <a:pt x="326" y="274"/>
                  <a:pt x="326" y="274"/>
                  <a:pt x="326" y="274"/>
                </a:cubicBezTo>
                <a:cubicBezTo>
                  <a:pt x="325" y="275"/>
                  <a:pt x="325" y="275"/>
                  <a:pt x="325" y="275"/>
                </a:cubicBezTo>
                <a:cubicBezTo>
                  <a:pt x="325" y="275"/>
                  <a:pt x="325" y="275"/>
                  <a:pt x="325" y="275"/>
                </a:cubicBezTo>
                <a:cubicBezTo>
                  <a:pt x="324" y="275"/>
                  <a:pt x="324" y="275"/>
                  <a:pt x="324" y="275"/>
                </a:cubicBezTo>
                <a:cubicBezTo>
                  <a:pt x="324" y="274"/>
                  <a:pt x="324" y="274"/>
                  <a:pt x="324" y="274"/>
                </a:cubicBezTo>
                <a:cubicBezTo>
                  <a:pt x="324" y="275"/>
                  <a:pt x="324" y="275"/>
                  <a:pt x="324" y="275"/>
                </a:cubicBezTo>
                <a:cubicBezTo>
                  <a:pt x="323" y="276"/>
                  <a:pt x="323" y="276"/>
                  <a:pt x="323" y="276"/>
                </a:cubicBezTo>
                <a:cubicBezTo>
                  <a:pt x="322" y="277"/>
                  <a:pt x="322" y="277"/>
                  <a:pt x="322" y="277"/>
                </a:cubicBezTo>
                <a:cubicBezTo>
                  <a:pt x="320" y="278"/>
                  <a:pt x="320" y="278"/>
                  <a:pt x="320" y="278"/>
                </a:cubicBezTo>
                <a:cubicBezTo>
                  <a:pt x="319" y="278"/>
                  <a:pt x="319" y="278"/>
                  <a:pt x="319" y="278"/>
                </a:cubicBezTo>
                <a:cubicBezTo>
                  <a:pt x="318" y="278"/>
                  <a:pt x="318" y="278"/>
                  <a:pt x="318" y="278"/>
                </a:cubicBezTo>
                <a:cubicBezTo>
                  <a:pt x="317" y="278"/>
                  <a:pt x="317" y="278"/>
                  <a:pt x="317" y="278"/>
                </a:cubicBezTo>
                <a:cubicBezTo>
                  <a:pt x="316" y="278"/>
                  <a:pt x="316" y="278"/>
                  <a:pt x="316" y="278"/>
                </a:cubicBezTo>
                <a:cubicBezTo>
                  <a:pt x="316" y="279"/>
                  <a:pt x="316" y="279"/>
                  <a:pt x="316" y="279"/>
                </a:cubicBezTo>
                <a:cubicBezTo>
                  <a:pt x="315" y="280"/>
                  <a:pt x="315" y="280"/>
                  <a:pt x="315" y="280"/>
                </a:cubicBezTo>
                <a:cubicBezTo>
                  <a:pt x="314" y="280"/>
                  <a:pt x="314" y="280"/>
                  <a:pt x="314" y="280"/>
                </a:cubicBezTo>
                <a:cubicBezTo>
                  <a:pt x="313" y="280"/>
                  <a:pt x="313" y="280"/>
                  <a:pt x="313" y="280"/>
                </a:cubicBezTo>
                <a:cubicBezTo>
                  <a:pt x="312" y="280"/>
                  <a:pt x="312" y="280"/>
                  <a:pt x="312" y="280"/>
                </a:cubicBezTo>
                <a:cubicBezTo>
                  <a:pt x="311" y="281"/>
                  <a:pt x="311" y="281"/>
                  <a:pt x="311" y="281"/>
                </a:cubicBezTo>
                <a:cubicBezTo>
                  <a:pt x="311" y="281"/>
                  <a:pt x="311" y="281"/>
                  <a:pt x="311" y="281"/>
                </a:cubicBezTo>
                <a:cubicBezTo>
                  <a:pt x="310" y="281"/>
                  <a:pt x="310" y="281"/>
                  <a:pt x="310" y="281"/>
                </a:cubicBezTo>
                <a:cubicBezTo>
                  <a:pt x="311" y="281"/>
                  <a:pt x="311" y="281"/>
                  <a:pt x="311" y="281"/>
                </a:cubicBezTo>
                <a:cubicBezTo>
                  <a:pt x="310" y="281"/>
                  <a:pt x="310" y="281"/>
                  <a:pt x="310" y="281"/>
                </a:cubicBezTo>
                <a:cubicBezTo>
                  <a:pt x="310" y="281"/>
                  <a:pt x="310" y="281"/>
                  <a:pt x="310" y="281"/>
                </a:cubicBezTo>
                <a:cubicBezTo>
                  <a:pt x="310" y="280"/>
                  <a:pt x="310" y="280"/>
                  <a:pt x="310" y="280"/>
                </a:cubicBezTo>
                <a:cubicBezTo>
                  <a:pt x="310" y="280"/>
                  <a:pt x="310" y="280"/>
                  <a:pt x="310" y="280"/>
                </a:cubicBezTo>
                <a:cubicBezTo>
                  <a:pt x="309" y="280"/>
                  <a:pt x="309" y="280"/>
                  <a:pt x="309" y="280"/>
                </a:cubicBezTo>
                <a:cubicBezTo>
                  <a:pt x="309" y="280"/>
                  <a:pt x="309" y="280"/>
                  <a:pt x="309" y="280"/>
                </a:cubicBezTo>
                <a:cubicBezTo>
                  <a:pt x="309" y="280"/>
                  <a:pt x="309" y="280"/>
                  <a:pt x="309" y="280"/>
                </a:cubicBezTo>
                <a:cubicBezTo>
                  <a:pt x="309" y="280"/>
                  <a:pt x="309" y="280"/>
                  <a:pt x="309" y="280"/>
                </a:cubicBezTo>
                <a:cubicBezTo>
                  <a:pt x="309" y="281"/>
                  <a:pt x="309" y="281"/>
                  <a:pt x="309" y="281"/>
                </a:cubicBezTo>
                <a:cubicBezTo>
                  <a:pt x="309" y="282"/>
                  <a:pt x="309" y="282"/>
                  <a:pt x="309" y="282"/>
                </a:cubicBezTo>
                <a:cubicBezTo>
                  <a:pt x="308" y="282"/>
                  <a:pt x="308" y="282"/>
                  <a:pt x="308" y="282"/>
                </a:cubicBezTo>
                <a:cubicBezTo>
                  <a:pt x="307" y="283"/>
                  <a:pt x="307" y="283"/>
                  <a:pt x="307" y="283"/>
                </a:cubicBezTo>
                <a:cubicBezTo>
                  <a:pt x="308" y="284"/>
                  <a:pt x="308" y="284"/>
                  <a:pt x="308" y="284"/>
                </a:cubicBezTo>
                <a:cubicBezTo>
                  <a:pt x="309" y="284"/>
                  <a:pt x="309" y="284"/>
                  <a:pt x="309" y="284"/>
                </a:cubicBezTo>
                <a:cubicBezTo>
                  <a:pt x="309" y="285"/>
                  <a:pt x="309" y="285"/>
                  <a:pt x="309" y="285"/>
                </a:cubicBezTo>
                <a:cubicBezTo>
                  <a:pt x="309" y="286"/>
                  <a:pt x="309" y="286"/>
                  <a:pt x="309" y="286"/>
                </a:cubicBezTo>
                <a:cubicBezTo>
                  <a:pt x="310" y="286"/>
                  <a:pt x="310" y="286"/>
                  <a:pt x="310" y="286"/>
                </a:cubicBezTo>
                <a:cubicBezTo>
                  <a:pt x="310" y="286"/>
                  <a:pt x="310" y="286"/>
                  <a:pt x="310" y="286"/>
                </a:cubicBezTo>
                <a:cubicBezTo>
                  <a:pt x="309" y="288"/>
                  <a:pt x="309" y="288"/>
                  <a:pt x="309" y="288"/>
                </a:cubicBezTo>
                <a:cubicBezTo>
                  <a:pt x="308" y="288"/>
                  <a:pt x="308" y="288"/>
                  <a:pt x="308" y="288"/>
                </a:cubicBezTo>
                <a:cubicBezTo>
                  <a:pt x="308" y="287"/>
                  <a:pt x="308" y="287"/>
                  <a:pt x="308" y="287"/>
                </a:cubicBezTo>
                <a:cubicBezTo>
                  <a:pt x="307" y="287"/>
                  <a:pt x="307" y="287"/>
                  <a:pt x="307" y="287"/>
                </a:cubicBezTo>
                <a:cubicBezTo>
                  <a:pt x="306" y="288"/>
                  <a:pt x="306" y="288"/>
                  <a:pt x="306" y="288"/>
                </a:cubicBezTo>
                <a:cubicBezTo>
                  <a:pt x="306" y="288"/>
                  <a:pt x="306" y="288"/>
                  <a:pt x="306" y="288"/>
                </a:cubicBezTo>
                <a:cubicBezTo>
                  <a:pt x="306" y="287"/>
                  <a:pt x="306" y="287"/>
                  <a:pt x="306" y="287"/>
                </a:cubicBezTo>
                <a:cubicBezTo>
                  <a:pt x="306" y="286"/>
                  <a:pt x="306" y="286"/>
                  <a:pt x="306" y="286"/>
                </a:cubicBezTo>
                <a:cubicBezTo>
                  <a:pt x="305" y="286"/>
                  <a:pt x="305" y="286"/>
                  <a:pt x="305" y="286"/>
                </a:cubicBezTo>
                <a:cubicBezTo>
                  <a:pt x="304" y="284"/>
                  <a:pt x="304" y="284"/>
                  <a:pt x="304" y="284"/>
                </a:cubicBezTo>
                <a:cubicBezTo>
                  <a:pt x="304" y="283"/>
                  <a:pt x="304" y="283"/>
                  <a:pt x="304" y="283"/>
                </a:cubicBezTo>
                <a:cubicBezTo>
                  <a:pt x="304" y="282"/>
                  <a:pt x="304" y="282"/>
                  <a:pt x="304" y="282"/>
                </a:cubicBezTo>
                <a:cubicBezTo>
                  <a:pt x="305" y="281"/>
                  <a:pt x="305" y="281"/>
                  <a:pt x="305" y="281"/>
                </a:cubicBezTo>
                <a:cubicBezTo>
                  <a:pt x="306" y="280"/>
                  <a:pt x="306" y="280"/>
                  <a:pt x="306" y="280"/>
                </a:cubicBezTo>
                <a:cubicBezTo>
                  <a:pt x="306" y="280"/>
                  <a:pt x="306" y="280"/>
                  <a:pt x="306" y="280"/>
                </a:cubicBezTo>
                <a:cubicBezTo>
                  <a:pt x="305" y="280"/>
                  <a:pt x="305" y="280"/>
                  <a:pt x="305" y="280"/>
                </a:cubicBezTo>
                <a:cubicBezTo>
                  <a:pt x="304" y="280"/>
                  <a:pt x="304" y="280"/>
                  <a:pt x="304" y="280"/>
                </a:cubicBezTo>
                <a:cubicBezTo>
                  <a:pt x="303" y="279"/>
                  <a:pt x="303" y="279"/>
                  <a:pt x="303" y="279"/>
                </a:cubicBezTo>
                <a:cubicBezTo>
                  <a:pt x="302" y="280"/>
                  <a:pt x="302" y="280"/>
                  <a:pt x="302" y="280"/>
                </a:cubicBezTo>
                <a:cubicBezTo>
                  <a:pt x="302" y="280"/>
                  <a:pt x="302" y="280"/>
                  <a:pt x="302" y="280"/>
                </a:cubicBezTo>
                <a:cubicBezTo>
                  <a:pt x="301" y="280"/>
                  <a:pt x="301" y="280"/>
                  <a:pt x="301" y="280"/>
                </a:cubicBezTo>
                <a:cubicBezTo>
                  <a:pt x="299" y="279"/>
                  <a:pt x="299" y="279"/>
                  <a:pt x="299" y="279"/>
                </a:cubicBezTo>
                <a:cubicBezTo>
                  <a:pt x="299" y="279"/>
                  <a:pt x="299" y="279"/>
                  <a:pt x="299" y="279"/>
                </a:cubicBezTo>
                <a:cubicBezTo>
                  <a:pt x="298" y="278"/>
                  <a:pt x="298" y="278"/>
                  <a:pt x="298" y="278"/>
                </a:cubicBezTo>
                <a:cubicBezTo>
                  <a:pt x="297" y="277"/>
                  <a:pt x="297" y="277"/>
                  <a:pt x="297" y="277"/>
                </a:cubicBezTo>
                <a:cubicBezTo>
                  <a:pt x="297" y="278"/>
                  <a:pt x="297" y="278"/>
                  <a:pt x="297" y="278"/>
                </a:cubicBezTo>
                <a:cubicBezTo>
                  <a:pt x="297" y="279"/>
                  <a:pt x="297" y="279"/>
                  <a:pt x="297" y="279"/>
                </a:cubicBezTo>
                <a:cubicBezTo>
                  <a:pt x="296" y="279"/>
                  <a:pt x="296" y="279"/>
                  <a:pt x="296" y="279"/>
                </a:cubicBezTo>
                <a:cubicBezTo>
                  <a:pt x="295" y="279"/>
                  <a:pt x="295" y="279"/>
                  <a:pt x="295" y="279"/>
                </a:cubicBezTo>
                <a:cubicBezTo>
                  <a:pt x="295" y="279"/>
                  <a:pt x="295" y="279"/>
                  <a:pt x="295" y="279"/>
                </a:cubicBezTo>
                <a:cubicBezTo>
                  <a:pt x="294" y="279"/>
                  <a:pt x="294" y="279"/>
                  <a:pt x="294" y="279"/>
                </a:cubicBezTo>
                <a:cubicBezTo>
                  <a:pt x="294" y="279"/>
                  <a:pt x="294" y="279"/>
                  <a:pt x="294" y="279"/>
                </a:cubicBezTo>
                <a:cubicBezTo>
                  <a:pt x="294" y="279"/>
                  <a:pt x="294" y="279"/>
                  <a:pt x="294" y="279"/>
                </a:cubicBezTo>
                <a:cubicBezTo>
                  <a:pt x="293" y="279"/>
                  <a:pt x="293" y="279"/>
                  <a:pt x="293" y="279"/>
                </a:cubicBezTo>
                <a:cubicBezTo>
                  <a:pt x="287" y="280"/>
                  <a:pt x="287" y="280"/>
                  <a:pt x="287" y="280"/>
                </a:cubicBezTo>
                <a:cubicBezTo>
                  <a:pt x="274" y="274"/>
                  <a:pt x="274" y="274"/>
                  <a:pt x="274" y="274"/>
                </a:cubicBezTo>
                <a:cubicBezTo>
                  <a:pt x="252" y="285"/>
                  <a:pt x="252" y="285"/>
                  <a:pt x="252" y="285"/>
                </a:cubicBezTo>
                <a:cubicBezTo>
                  <a:pt x="236" y="280"/>
                  <a:pt x="236" y="280"/>
                  <a:pt x="236" y="280"/>
                </a:cubicBezTo>
                <a:cubicBezTo>
                  <a:pt x="199" y="253"/>
                  <a:pt x="199" y="253"/>
                  <a:pt x="199" y="253"/>
                </a:cubicBezTo>
                <a:cubicBezTo>
                  <a:pt x="121" y="246"/>
                  <a:pt x="121" y="246"/>
                  <a:pt x="121" y="246"/>
                </a:cubicBezTo>
                <a:cubicBezTo>
                  <a:pt x="80" y="207"/>
                  <a:pt x="80" y="207"/>
                  <a:pt x="80" y="207"/>
                </a:cubicBezTo>
                <a:cubicBezTo>
                  <a:pt x="0" y="173"/>
                  <a:pt x="0" y="173"/>
                  <a:pt x="0" y="173"/>
                </a:cubicBezTo>
                <a:cubicBezTo>
                  <a:pt x="7" y="106"/>
                  <a:pt x="7" y="106"/>
                  <a:pt x="7" y="106"/>
                </a:cubicBezTo>
                <a:cubicBezTo>
                  <a:pt x="59" y="78"/>
                  <a:pt x="59" y="78"/>
                  <a:pt x="59" y="78"/>
                </a:cubicBezTo>
                <a:cubicBezTo>
                  <a:pt x="119" y="65"/>
                  <a:pt x="119" y="65"/>
                  <a:pt x="119" y="65"/>
                </a:cubicBezTo>
                <a:cubicBezTo>
                  <a:pt x="124" y="64"/>
                  <a:pt x="124" y="64"/>
                  <a:pt x="124" y="64"/>
                </a:cubicBezTo>
                <a:close/>
                <a:moveTo>
                  <a:pt x="348" y="265"/>
                </a:moveTo>
                <a:cubicBezTo>
                  <a:pt x="349" y="265"/>
                  <a:pt x="349" y="265"/>
                  <a:pt x="349" y="265"/>
                </a:cubicBezTo>
                <a:cubicBezTo>
                  <a:pt x="350" y="265"/>
                  <a:pt x="350" y="265"/>
                  <a:pt x="350" y="265"/>
                </a:cubicBezTo>
                <a:cubicBezTo>
                  <a:pt x="350" y="265"/>
                  <a:pt x="350" y="265"/>
                  <a:pt x="350" y="265"/>
                </a:cubicBezTo>
                <a:cubicBezTo>
                  <a:pt x="349" y="264"/>
                  <a:pt x="349" y="264"/>
                  <a:pt x="349" y="264"/>
                </a:cubicBezTo>
                <a:cubicBezTo>
                  <a:pt x="348" y="265"/>
                  <a:pt x="348" y="265"/>
                  <a:pt x="348" y="265"/>
                </a:cubicBezTo>
                <a:close/>
                <a:moveTo>
                  <a:pt x="362" y="249"/>
                </a:moveTo>
                <a:cubicBezTo>
                  <a:pt x="362" y="250"/>
                  <a:pt x="362" y="250"/>
                  <a:pt x="362" y="250"/>
                </a:cubicBezTo>
                <a:cubicBezTo>
                  <a:pt x="363" y="250"/>
                  <a:pt x="363" y="250"/>
                  <a:pt x="363" y="250"/>
                </a:cubicBezTo>
                <a:cubicBezTo>
                  <a:pt x="363" y="249"/>
                  <a:pt x="363" y="249"/>
                  <a:pt x="363" y="249"/>
                </a:cubicBezTo>
                <a:cubicBezTo>
                  <a:pt x="362" y="248"/>
                  <a:pt x="362" y="248"/>
                  <a:pt x="362" y="248"/>
                </a:cubicBezTo>
                <a:cubicBezTo>
                  <a:pt x="362" y="249"/>
                  <a:pt x="362" y="249"/>
                  <a:pt x="362" y="249"/>
                </a:cubicBezTo>
                <a:close/>
                <a:moveTo>
                  <a:pt x="371" y="212"/>
                </a:moveTo>
                <a:cubicBezTo>
                  <a:pt x="372" y="213"/>
                  <a:pt x="372" y="213"/>
                  <a:pt x="372" y="213"/>
                </a:cubicBezTo>
                <a:cubicBezTo>
                  <a:pt x="373" y="214"/>
                  <a:pt x="373" y="214"/>
                  <a:pt x="373" y="214"/>
                </a:cubicBezTo>
                <a:cubicBezTo>
                  <a:pt x="374" y="214"/>
                  <a:pt x="374" y="214"/>
                  <a:pt x="374" y="214"/>
                </a:cubicBezTo>
                <a:cubicBezTo>
                  <a:pt x="374" y="213"/>
                  <a:pt x="374" y="213"/>
                  <a:pt x="374" y="213"/>
                </a:cubicBezTo>
                <a:cubicBezTo>
                  <a:pt x="373" y="212"/>
                  <a:pt x="373" y="212"/>
                  <a:pt x="373" y="212"/>
                </a:cubicBezTo>
                <a:cubicBezTo>
                  <a:pt x="372" y="213"/>
                  <a:pt x="372" y="213"/>
                  <a:pt x="372" y="213"/>
                </a:cubicBezTo>
                <a:cubicBezTo>
                  <a:pt x="371" y="212"/>
                  <a:pt x="371" y="212"/>
                  <a:pt x="371" y="212"/>
                </a:cubicBezTo>
                <a:close/>
                <a:moveTo>
                  <a:pt x="365" y="200"/>
                </a:moveTo>
                <a:cubicBezTo>
                  <a:pt x="365" y="201"/>
                  <a:pt x="365" y="201"/>
                  <a:pt x="365" y="201"/>
                </a:cubicBezTo>
                <a:cubicBezTo>
                  <a:pt x="365" y="201"/>
                  <a:pt x="365" y="201"/>
                  <a:pt x="365" y="201"/>
                </a:cubicBezTo>
                <a:cubicBezTo>
                  <a:pt x="367" y="201"/>
                  <a:pt x="367" y="201"/>
                  <a:pt x="367" y="201"/>
                </a:cubicBezTo>
                <a:cubicBezTo>
                  <a:pt x="368" y="202"/>
                  <a:pt x="368" y="202"/>
                  <a:pt x="368" y="202"/>
                </a:cubicBezTo>
                <a:cubicBezTo>
                  <a:pt x="368" y="201"/>
                  <a:pt x="368" y="201"/>
                  <a:pt x="368" y="201"/>
                </a:cubicBezTo>
                <a:cubicBezTo>
                  <a:pt x="367" y="201"/>
                  <a:pt x="367" y="201"/>
                  <a:pt x="367" y="201"/>
                </a:cubicBezTo>
                <a:cubicBezTo>
                  <a:pt x="366" y="200"/>
                  <a:pt x="366" y="200"/>
                  <a:pt x="366" y="200"/>
                </a:cubicBezTo>
                <a:cubicBezTo>
                  <a:pt x="365" y="200"/>
                  <a:pt x="365" y="200"/>
                  <a:pt x="365" y="200"/>
                </a:cubicBezTo>
                <a:close/>
                <a:moveTo>
                  <a:pt x="372" y="276"/>
                </a:moveTo>
                <a:cubicBezTo>
                  <a:pt x="373" y="276"/>
                  <a:pt x="373" y="276"/>
                  <a:pt x="373" y="276"/>
                </a:cubicBezTo>
                <a:cubicBezTo>
                  <a:pt x="374" y="276"/>
                  <a:pt x="374" y="276"/>
                  <a:pt x="374" y="276"/>
                </a:cubicBezTo>
                <a:cubicBezTo>
                  <a:pt x="374" y="275"/>
                  <a:pt x="374" y="275"/>
                  <a:pt x="374" y="275"/>
                </a:cubicBezTo>
                <a:cubicBezTo>
                  <a:pt x="374" y="273"/>
                  <a:pt x="374" y="273"/>
                  <a:pt x="374" y="273"/>
                </a:cubicBezTo>
                <a:cubicBezTo>
                  <a:pt x="374" y="271"/>
                  <a:pt x="374" y="271"/>
                  <a:pt x="374" y="271"/>
                </a:cubicBezTo>
                <a:cubicBezTo>
                  <a:pt x="375" y="270"/>
                  <a:pt x="375" y="270"/>
                  <a:pt x="375" y="270"/>
                </a:cubicBezTo>
                <a:cubicBezTo>
                  <a:pt x="376" y="268"/>
                  <a:pt x="376" y="268"/>
                  <a:pt x="376" y="268"/>
                </a:cubicBezTo>
                <a:cubicBezTo>
                  <a:pt x="376" y="266"/>
                  <a:pt x="376" y="266"/>
                  <a:pt x="376" y="266"/>
                </a:cubicBezTo>
                <a:cubicBezTo>
                  <a:pt x="377" y="266"/>
                  <a:pt x="377" y="266"/>
                  <a:pt x="377" y="266"/>
                </a:cubicBezTo>
                <a:cubicBezTo>
                  <a:pt x="376" y="265"/>
                  <a:pt x="376" y="265"/>
                  <a:pt x="376" y="265"/>
                </a:cubicBezTo>
                <a:cubicBezTo>
                  <a:pt x="376" y="263"/>
                  <a:pt x="376" y="263"/>
                  <a:pt x="376" y="263"/>
                </a:cubicBezTo>
                <a:cubicBezTo>
                  <a:pt x="377" y="261"/>
                  <a:pt x="377" y="261"/>
                  <a:pt x="377" y="261"/>
                </a:cubicBezTo>
                <a:cubicBezTo>
                  <a:pt x="376" y="259"/>
                  <a:pt x="376" y="259"/>
                  <a:pt x="376" y="259"/>
                </a:cubicBezTo>
                <a:cubicBezTo>
                  <a:pt x="377" y="258"/>
                  <a:pt x="377" y="258"/>
                  <a:pt x="377" y="258"/>
                </a:cubicBezTo>
                <a:cubicBezTo>
                  <a:pt x="377" y="255"/>
                  <a:pt x="377" y="255"/>
                  <a:pt x="377" y="255"/>
                </a:cubicBezTo>
                <a:cubicBezTo>
                  <a:pt x="378" y="253"/>
                  <a:pt x="378" y="253"/>
                  <a:pt x="378" y="253"/>
                </a:cubicBezTo>
                <a:cubicBezTo>
                  <a:pt x="378" y="253"/>
                  <a:pt x="378" y="253"/>
                  <a:pt x="378" y="253"/>
                </a:cubicBezTo>
                <a:cubicBezTo>
                  <a:pt x="378" y="252"/>
                  <a:pt x="378" y="252"/>
                  <a:pt x="378" y="252"/>
                </a:cubicBezTo>
                <a:cubicBezTo>
                  <a:pt x="377" y="251"/>
                  <a:pt x="377" y="251"/>
                  <a:pt x="377" y="251"/>
                </a:cubicBezTo>
                <a:cubicBezTo>
                  <a:pt x="376" y="251"/>
                  <a:pt x="376" y="251"/>
                  <a:pt x="376" y="251"/>
                </a:cubicBezTo>
                <a:cubicBezTo>
                  <a:pt x="376" y="250"/>
                  <a:pt x="376" y="250"/>
                  <a:pt x="376" y="250"/>
                </a:cubicBezTo>
                <a:cubicBezTo>
                  <a:pt x="374" y="249"/>
                  <a:pt x="374" y="249"/>
                  <a:pt x="374" y="249"/>
                </a:cubicBezTo>
                <a:cubicBezTo>
                  <a:pt x="374" y="250"/>
                  <a:pt x="374" y="250"/>
                  <a:pt x="374" y="250"/>
                </a:cubicBezTo>
                <a:cubicBezTo>
                  <a:pt x="374" y="251"/>
                  <a:pt x="374" y="251"/>
                  <a:pt x="374" y="251"/>
                </a:cubicBezTo>
                <a:cubicBezTo>
                  <a:pt x="373" y="251"/>
                  <a:pt x="373" y="251"/>
                  <a:pt x="373" y="251"/>
                </a:cubicBezTo>
                <a:cubicBezTo>
                  <a:pt x="371" y="253"/>
                  <a:pt x="371" y="253"/>
                  <a:pt x="371" y="253"/>
                </a:cubicBezTo>
                <a:cubicBezTo>
                  <a:pt x="370" y="255"/>
                  <a:pt x="370" y="255"/>
                  <a:pt x="370" y="255"/>
                </a:cubicBezTo>
                <a:cubicBezTo>
                  <a:pt x="370" y="255"/>
                  <a:pt x="370" y="255"/>
                  <a:pt x="370" y="255"/>
                </a:cubicBezTo>
                <a:cubicBezTo>
                  <a:pt x="370" y="256"/>
                  <a:pt x="370" y="256"/>
                  <a:pt x="370" y="256"/>
                </a:cubicBezTo>
                <a:cubicBezTo>
                  <a:pt x="369" y="257"/>
                  <a:pt x="369" y="257"/>
                  <a:pt x="369" y="257"/>
                </a:cubicBezTo>
                <a:cubicBezTo>
                  <a:pt x="368" y="259"/>
                  <a:pt x="368" y="259"/>
                  <a:pt x="368" y="259"/>
                </a:cubicBezTo>
                <a:cubicBezTo>
                  <a:pt x="367" y="262"/>
                  <a:pt x="367" y="262"/>
                  <a:pt x="367" y="262"/>
                </a:cubicBezTo>
                <a:cubicBezTo>
                  <a:pt x="367" y="262"/>
                  <a:pt x="367" y="262"/>
                  <a:pt x="367" y="262"/>
                </a:cubicBezTo>
                <a:cubicBezTo>
                  <a:pt x="367" y="263"/>
                  <a:pt x="367" y="263"/>
                  <a:pt x="367" y="263"/>
                </a:cubicBezTo>
                <a:cubicBezTo>
                  <a:pt x="367" y="265"/>
                  <a:pt x="367" y="265"/>
                  <a:pt x="367" y="265"/>
                </a:cubicBezTo>
                <a:cubicBezTo>
                  <a:pt x="368" y="267"/>
                  <a:pt x="368" y="267"/>
                  <a:pt x="368" y="267"/>
                </a:cubicBezTo>
                <a:cubicBezTo>
                  <a:pt x="368" y="268"/>
                  <a:pt x="368" y="268"/>
                  <a:pt x="368" y="268"/>
                </a:cubicBezTo>
                <a:cubicBezTo>
                  <a:pt x="368" y="269"/>
                  <a:pt x="368" y="269"/>
                  <a:pt x="368" y="269"/>
                </a:cubicBezTo>
                <a:cubicBezTo>
                  <a:pt x="368" y="269"/>
                  <a:pt x="368" y="269"/>
                  <a:pt x="368" y="269"/>
                </a:cubicBezTo>
                <a:cubicBezTo>
                  <a:pt x="368" y="269"/>
                  <a:pt x="368" y="269"/>
                  <a:pt x="368" y="269"/>
                </a:cubicBezTo>
                <a:cubicBezTo>
                  <a:pt x="369" y="271"/>
                  <a:pt x="369" y="271"/>
                  <a:pt x="369" y="271"/>
                </a:cubicBezTo>
                <a:cubicBezTo>
                  <a:pt x="369" y="271"/>
                  <a:pt x="369" y="271"/>
                  <a:pt x="369" y="271"/>
                </a:cubicBezTo>
                <a:cubicBezTo>
                  <a:pt x="370" y="272"/>
                  <a:pt x="370" y="272"/>
                  <a:pt x="370" y="272"/>
                </a:cubicBezTo>
                <a:cubicBezTo>
                  <a:pt x="371" y="272"/>
                  <a:pt x="371" y="272"/>
                  <a:pt x="371" y="272"/>
                </a:cubicBezTo>
                <a:cubicBezTo>
                  <a:pt x="372" y="273"/>
                  <a:pt x="372" y="273"/>
                  <a:pt x="372" y="273"/>
                </a:cubicBezTo>
                <a:cubicBezTo>
                  <a:pt x="372" y="275"/>
                  <a:pt x="372" y="275"/>
                  <a:pt x="372" y="275"/>
                </a:cubicBezTo>
                <a:cubicBezTo>
                  <a:pt x="372" y="276"/>
                  <a:pt x="372" y="276"/>
                  <a:pt x="372" y="276"/>
                </a:cubicBezTo>
                <a:close/>
                <a:moveTo>
                  <a:pt x="309" y="283"/>
                </a:moveTo>
                <a:cubicBezTo>
                  <a:pt x="310" y="283"/>
                  <a:pt x="310" y="283"/>
                  <a:pt x="310" y="283"/>
                </a:cubicBezTo>
                <a:cubicBezTo>
                  <a:pt x="310" y="283"/>
                  <a:pt x="310" y="283"/>
                  <a:pt x="310" y="283"/>
                </a:cubicBezTo>
                <a:cubicBezTo>
                  <a:pt x="312" y="284"/>
                  <a:pt x="312" y="284"/>
                  <a:pt x="312" y="284"/>
                </a:cubicBezTo>
                <a:cubicBezTo>
                  <a:pt x="312" y="283"/>
                  <a:pt x="312" y="283"/>
                  <a:pt x="312" y="283"/>
                </a:cubicBezTo>
                <a:cubicBezTo>
                  <a:pt x="311" y="283"/>
                  <a:pt x="311" y="283"/>
                  <a:pt x="311" y="283"/>
                </a:cubicBezTo>
                <a:cubicBezTo>
                  <a:pt x="309" y="283"/>
                  <a:pt x="309" y="283"/>
                  <a:pt x="309" y="283"/>
                </a:cubicBezTo>
                <a:close/>
                <a:moveTo>
                  <a:pt x="309" y="289"/>
                </a:moveTo>
                <a:cubicBezTo>
                  <a:pt x="308" y="289"/>
                  <a:pt x="308" y="289"/>
                  <a:pt x="308" y="289"/>
                </a:cubicBezTo>
                <a:cubicBezTo>
                  <a:pt x="307" y="289"/>
                  <a:pt x="307" y="289"/>
                  <a:pt x="307" y="289"/>
                </a:cubicBezTo>
                <a:cubicBezTo>
                  <a:pt x="306" y="290"/>
                  <a:pt x="306" y="290"/>
                  <a:pt x="306" y="290"/>
                </a:cubicBezTo>
                <a:cubicBezTo>
                  <a:pt x="305" y="290"/>
                  <a:pt x="305" y="290"/>
                  <a:pt x="305" y="290"/>
                </a:cubicBezTo>
                <a:cubicBezTo>
                  <a:pt x="304" y="290"/>
                  <a:pt x="304" y="290"/>
                  <a:pt x="304" y="290"/>
                </a:cubicBezTo>
                <a:cubicBezTo>
                  <a:pt x="303" y="291"/>
                  <a:pt x="303" y="291"/>
                  <a:pt x="303" y="291"/>
                </a:cubicBezTo>
                <a:cubicBezTo>
                  <a:pt x="303" y="292"/>
                  <a:pt x="303" y="292"/>
                  <a:pt x="303" y="292"/>
                </a:cubicBezTo>
                <a:cubicBezTo>
                  <a:pt x="301" y="293"/>
                  <a:pt x="301" y="293"/>
                  <a:pt x="301" y="293"/>
                </a:cubicBezTo>
                <a:cubicBezTo>
                  <a:pt x="299" y="295"/>
                  <a:pt x="299" y="295"/>
                  <a:pt x="299" y="295"/>
                </a:cubicBezTo>
                <a:cubicBezTo>
                  <a:pt x="300" y="296"/>
                  <a:pt x="300" y="296"/>
                  <a:pt x="300" y="296"/>
                </a:cubicBezTo>
                <a:cubicBezTo>
                  <a:pt x="300" y="298"/>
                  <a:pt x="300" y="298"/>
                  <a:pt x="300" y="298"/>
                </a:cubicBezTo>
                <a:cubicBezTo>
                  <a:pt x="300" y="299"/>
                  <a:pt x="300" y="299"/>
                  <a:pt x="300" y="299"/>
                </a:cubicBezTo>
                <a:cubicBezTo>
                  <a:pt x="300" y="300"/>
                  <a:pt x="300" y="300"/>
                  <a:pt x="300" y="300"/>
                </a:cubicBezTo>
                <a:cubicBezTo>
                  <a:pt x="301" y="301"/>
                  <a:pt x="301" y="301"/>
                  <a:pt x="301" y="301"/>
                </a:cubicBezTo>
                <a:cubicBezTo>
                  <a:pt x="303" y="301"/>
                  <a:pt x="303" y="301"/>
                  <a:pt x="303" y="301"/>
                </a:cubicBezTo>
                <a:cubicBezTo>
                  <a:pt x="304" y="302"/>
                  <a:pt x="304" y="302"/>
                  <a:pt x="304" y="302"/>
                </a:cubicBezTo>
                <a:cubicBezTo>
                  <a:pt x="305" y="302"/>
                  <a:pt x="305" y="302"/>
                  <a:pt x="305" y="302"/>
                </a:cubicBezTo>
                <a:cubicBezTo>
                  <a:pt x="306" y="302"/>
                  <a:pt x="306" y="302"/>
                  <a:pt x="306" y="302"/>
                </a:cubicBezTo>
                <a:cubicBezTo>
                  <a:pt x="306" y="302"/>
                  <a:pt x="306" y="302"/>
                  <a:pt x="306" y="302"/>
                </a:cubicBezTo>
                <a:cubicBezTo>
                  <a:pt x="307" y="301"/>
                  <a:pt x="307" y="301"/>
                  <a:pt x="307" y="301"/>
                </a:cubicBezTo>
                <a:cubicBezTo>
                  <a:pt x="308" y="301"/>
                  <a:pt x="308" y="301"/>
                  <a:pt x="308" y="301"/>
                </a:cubicBezTo>
                <a:cubicBezTo>
                  <a:pt x="309" y="301"/>
                  <a:pt x="309" y="301"/>
                  <a:pt x="309" y="301"/>
                </a:cubicBezTo>
                <a:cubicBezTo>
                  <a:pt x="310" y="300"/>
                  <a:pt x="310" y="300"/>
                  <a:pt x="310" y="300"/>
                </a:cubicBezTo>
                <a:cubicBezTo>
                  <a:pt x="310" y="299"/>
                  <a:pt x="310" y="299"/>
                  <a:pt x="310" y="299"/>
                </a:cubicBezTo>
                <a:cubicBezTo>
                  <a:pt x="311" y="299"/>
                  <a:pt x="311" y="299"/>
                  <a:pt x="311" y="299"/>
                </a:cubicBezTo>
                <a:cubicBezTo>
                  <a:pt x="312" y="298"/>
                  <a:pt x="312" y="298"/>
                  <a:pt x="312" y="298"/>
                </a:cubicBezTo>
                <a:cubicBezTo>
                  <a:pt x="312" y="297"/>
                  <a:pt x="312" y="297"/>
                  <a:pt x="312" y="297"/>
                </a:cubicBezTo>
                <a:cubicBezTo>
                  <a:pt x="312" y="295"/>
                  <a:pt x="312" y="295"/>
                  <a:pt x="312" y="295"/>
                </a:cubicBezTo>
                <a:cubicBezTo>
                  <a:pt x="313" y="295"/>
                  <a:pt x="313" y="295"/>
                  <a:pt x="313" y="295"/>
                </a:cubicBezTo>
                <a:cubicBezTo>
                  <a:pt x="313" y="294"/>
                  <a:pt x="313" y="294"/>
                  <a:pt x="313" y="294"/>
                </a:cubicBezTo>
                <a:cubicBezTo>
                  <a:pt x="314" y="292"/>
                  <a:pt x="314" y="292"/>
                  <a:pt x="314" y="292"/>
                </a:cubicBezTo>
                <a:cubicBezTo>
                  <a:pt x="313" y="290"/>
                  <a:pt x="313" y="290"/>
                  <a:pt x="313" y="290"/>
                </a:cubicBezTo>
                <a:cubicBezTo>
                  <a:pt x="312" y="290"/>
                  <a:pt x="312" y="290"/>
                  <a:pt x="312" y="290"/>
                </a:cubicBezTo>
                <a:cubicBezTo>
                  <a:pt x="311" y="289"/>
                  <a:pt x="311" y="289"/>
                  <a:pt x="311" y="289"/>
                </a:cubicBezTo>
                <a:cubicBezTo>
                  <a:pt x="310" y="290"/>
                  <a:pt x="310" y="290"/>
                  <a:pt x="310" y="290"/>
                </a:cubicBezTo>
                <a:cubicBezTo>
                  <a:pt x="310" y="290"/>
                  <a:pt x="309" y="289"/>
                  <a:pt x="309" y="289"/>
                </a:cubicBez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4" name="Freeform 12">
            <a:extLst>
              <a:ext uri="{FF2B5EF4-FFF2-40B4-BE49-F238E27FC236}">
                <a16:creationId xmlns:a16="http://schemas.microsoft.com/office/drawing/2014/main" id="{F4CA8390-4870-1B9C-5632-A9A799D47CDA}"/>
              </a:ext>
            </a:extLst>
          </p:cNvPr>
          <p:cNvSpPr>
            <a:spLocks noEditPoints="1"/>
          </p:cNvSpPr>
          <p:nvPr userDrawn="1"/>
        </p:nvSpPr>
        <p:spPr bwMode="auto">
          <a:xfrm>
            <a:off x="13565888" y="2323381"/>
            <a:ext cx="873069" cy="1082678"/>
          </a:xfrm>
          <a:custGeom>
            <a:avLst/>
            <a:gdLst>
              <a:gd name="T0" fmla="*/ 84 w 88"/>
              <a:gd name="T1" fmla="*/ 10 h 109"/>
              <a:gd name="T2" fmla="*/ 36 w 88"/>
              <a:gd name="T3" fmla="*/ 1 h 109"/>
              <a:gd name="T4" fmla="*/ 29 w 88"/>
              <a:gd name="T5" fmla="*/ 11 h 109"/>
              <a:gd name="T6" fmla="*/ 38 w 88"/>
              <a:gd name="T7" fmla="*/ 20 h 109"/>
              <a:gd name="T8" fmla="*/ 39 w 88"/>
              <a:gd name="T9" fmla="*/ 21 h 109"/>
              <a:gd name="T10" fmla="*/ 35 w 88"/>
              <a:gd name="T11" fmla="*/ 23 h 109"/>
              <a:gd name="T12" fmla="*/ 46 w 88"/>
              <a:gd name="T13" fmla="*/ 27 h 109"/>
              <a:gd name="T14" fmla="*/ 55 w 88"/>
              <a:gd name="T15" fmla="*/ 28 h 109"/>
              <a:gd name="T16" fmla="*/ 63 w 88"/>
              <a:gd name="T17" fmla="*/ 20 h 109"/>
              <a:gd name="T18" fmla="*/ 62 w 88"/>
              <a:gd name="T19" fmla="*/ 11 h 109"/>
              <a:gd name="T20" fmla="*/ 53 w 88"/>
              <a:gd name="T21" fmla="*/ 8 h 109"/>
              <a:gd name="T22" fmla="*/ 49 w 88"/>
              <a:gd name="T23" fmla="*/ 11 h 109"/>
              <a:gd name="T24" fmla="*/ 45 w 88"/>
              <a:gd name="T25" fmla="*/ 6 h 109"/>
              <a:gd name="T26" fmla="*/ 46 w 88"/>
              <a:gd name="T27" fmla="*/ 16 h 109"/>
              <a:gd name="T28" fmla="*/ 39 w 88"/>
              <a:gd name="T29" fmla="*/ 12 h 109"/>
              <a:gd name="T30" fmla="*/ 34 w 88"/>
              <a:gd name="T31" fmla="*/ 5 h 109"/>
              <a:gd name="T32" fmla="*/ 33 w 88"/>
              <a:gd name="T33" fmla="*/ 13 h 109"/>
              <a:gd name="T34" fmla="*/ 29 w 88"/>
              <a:gd name="T35" fmla="*/ 15 h 109"/>
              <a:gd name="T36" fmla="*/ 71 w 88"/>
              <a:gd name="T37" fmla="*/ 35 h 109"/>
              <a:gd name="T38" fmla="*/ 73 w 88"/>
              <a:gd name="T39" fmla="*/ 34 h 109"/>
              <a:gd name="T40" fmla="*/ 68 w 88"/>
              <a:gd name="T41" fmla="*/ 38 h 109"/>
              <a:gd name="T42" fmla="*/ 54 w 88"/>
              <a:gd name="T43" fmla="*/ 48 h 109"/>
              <a:gd name="T44" fmla="*/ 61 w 88"/>
              <a:gd name="T45" fmla="*/ 54 h 109"/>
              <a:gd name="T46" fmla="*/ 53 w 88"/>
              <a:gd name="T47" fmla="*/ 61 h 109"/>
              <a:gd name="T48" fmla="*/ 45 w 88"/>
              <a:gd name="T49" fmla="*/ 61 h 109"/>
              <a:gd name="T50" fmla="*/ 45 w 88"/>
              <a:gd name="T51" fmla="*/ 51 h 109"/>
              <a:gd name="T52" fmla="*/ 41 w 88"/>
              <a:gd name="T53" fmla="*/ 43 h 109"/>
              <a:gd name="T54" fmla="*/ 48 w 88"/>
              <a:gd name="T55" fmla="*/ 46 h 109"/>
              <a:gd name="T56" fmla="*/ 45 w 88"/>
              <a:gd name="T57" fmla="*/ 40 h 109"/>
              <a:gd name="T58" fmla="*/ 3 w 88"/>
              <a:gd name="T59" fmla="*/ 45 h 109"/>
              <a:gd name="T60" fmla="*/ 3 w 88"/>
              <a:gd name="T61" fmla="*/ 43 h 109"/>
              <a:gd name="T62" fmla="*/ 29 w 88"/>
              <a:gd name="T63" fmla="*/ 76 h 109"/>
              <a:gd name="T64" fmla="*/ 26 w 88"/>
              <a:gd name="T65" fmla="*/ 70 h 109"/>
              <a:gd name="T66" fmla="*/ 19 w 88"/>
              <a:gd name="T67" fmla="*/ 66 h 109"/>
              <a:gd name="T68" fmla="*/ 16 w 88"/>
              <a:gd name="T69" fmla="*/ 61 h 109"/>
              <a:gd name="T70" fmla="*/ 22 w 88"/>
              <a:gd name="T71" fmla="*/ 60 h 109"/>
              <a:gd name="T72" fmla="*/ 26 w 88"/>
              <a:gd name="T73" fmla="*/ 55 h 109"/>
              <a:gd name="T74" fmla="*/ 23 w 88"/>
              <a:gd name="T75" fmla="*/ 54 h 109"/>
              <a:gd name="T76" fmla="*/ 14 w 88"/>
              <a:gd name="T77" fmla="*/ 54 h 109"/>
              <a:gd name="T78" fmla="*/ 19 w 88"/>
              <a:gd name="T79" fmla="*/ 49 h 109"/>
              <a:gd name="T80" fmla="*/ 26 w 88"/>
              <a:gd name="T81" fmla="*/ 44 h 109"/>
              <a:gd name="T82" fmla="*/ 21 w 88"/>
              <a:gd name="T83" fmla="*/ 45 h 109"/>
              <a:gd name="T84" fmla="*/ 19 w 88"/>
              <a:gd name="T85" fmla="*/ 41 h 109"/>
              <a:gd name="T86" fmla="*/ 18 w 88"/>
              <a:gd name="T87" fmla="*/ 46 h 109"/>
              <a:gd name="T88" fmla="*/ 9 w 88"/>
              <a:gd name="T89" fmla="*/ 45 h 109"/>
              <a:gd name="T90" fmla="*/ 5 w 88"/>
              <a:gd name="T91" fmla="*/ 40 h 109"/>
              <a:gd name="T92" fmla="*/ 6 w 88"/>
              <a:gd name="T93" fmla="*/ 37 h 109"/>
              <a:gd name="T94" fmla="*/ 5 w 88"/>
              <a:gd name="T95" fmla="*/ 30 h 109"/>
              <a:gd name="T96" fmla="*/ 0 w 88"/>
              <a:gd name="T97" fmla="*/ 26 h 109"/>
              <a:gd name="T98" fmla="*/ 6 w 88"/>
              <a:gd name="T99" fmla="*/ 23 h 109"/>
              <a:gd name="T100" fmla="*/ 12 w 88"/>
              <a:gd name="T101" fmla="*/ 22 h 109"/>
              <a:gd name="T102" fmla="*/ 11 w 88"/>
              <a:gd name="T103" fmla="*/ 25 h 109"/>
              <a:gd name="T104" fmla="*/ 14 w 88"/>
              <a:gd name="T105" fmla="*/ 31 h 109"/>
              <a:gd name="T106" fmla="*/ 18 w 88"/>
              <a:gd name="T107" fmla="*/ 27 h 109"/>
              <a:gd name="T108" fmla="*/ 23 w 88"/>
              <a:gd name="T109" fmla="*/ 36 h 109"/>
              <a:gd name="T110" fmla="*/ 20 w 88"/>
              <a:gd name="T111" fmla="*/ 19 h 109"/>
              <a:gd name="T112" fmla="*/ 28 w 88"/>
              <a:gd name="T113" fmla="*/ 21 h 109"/>
              <a:gd name="T114" fmla="*/ 31 w 88"/>
              <a:gd name="T115" fmla="*/ 24 h 109"/>
              <a:gd name="T116" fmla="*/ 44 w 88"/>
              <a:gd name="T117" fmla="*/ 37 h 109"/>
              <a:gd name="T118" fmla="*/ 38 w 88"/>
              <a:gd name="T119" fmla="*/ 42 h 109"/>
              <a:gd name="T120" fmla="*/ 35 w 88"/>
              <a:gd name="T121" fmla="*/ 54 h 109"/>
              <a:gd name="T122" fmla="*/ 32 w 88"/>
              <a:gd name="T123" fmla="*/ 65 h 109"/>
              <a:gd name="T124" fmla="*/ 44 w 88"/>
              <a:gd name="T12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 h="109">
                <a:moveTo>
                  <a:pt x="82" y="10"/>
                </a:moveTo>
                <a:cubicBezTo>
                  <a:pt x="82" y="9"/>
                  <a:pt x="83" y="9"/>
                  <a:pt x="83" y="9"/>
                </a:cubicBezTo>
                <a:cubicBezTo>
                  <a:pt x="84" y="8"/>
                  <a:pt x="84" y="8"/>
                  <a:pt x="84" y="8"/>
                </a:cubicBezTo>
                <a:cubicBezTo>
                  <a:pt x="85" y="8"/>
                  <a:pt x="85" y="8"/>
                  <a:pt x="85" y="8"/>
                </a:cubicBezTo>
                <a:cubicBezTo>
                  <a:pt x="86" y="6"/>
                  <a:pt x="86" y="6"/>
                  <a:pt x="86" y="6"/>
                </a:cubicBezTo>
                <a:cubicBezTo>
                  <a:pt x="87" y="6"/>
                  <a:pt x="87" y="6"/>
                  <a:pt x="87" y="6"/>
                </a:cubicBezTo>
                <a:cubicBezTo>
                  <a:pt x="88" y="6"/>
                  <a:pt x="88" y="6"/>
                  <a:pt x="88" y="6"/>
                </a:cubicBezTo>
                <a:cubicBezTo>
                  <a:pt x="88" y="6"/>
                  <a:pt x="88" y="6"/>
                  <a:pt x="88" y="6"/>
                </a:cubicBezTo>
                <a:cubicBezTo>
                  <a:pt x="88" y="7"/>
                  <a:pt x="88" y="7"/>
                  <a:pt x="88" y="7"/>
                </a:cubicBezTo>
                <a:cubicBezTo>
                  <a:pt x="87" y="8"/>
                  <a:pt x="87" y="8"/>
                  <a:pt x="87" y="8"/>
                </a:cubicBezTo>
                <a:cubicBezTo>
                  <a:pt x="86" y="8"/>
                  <a:pt x="86" y="8"/>
                  <a:pt x="86" y="8"/>
                </a:cubicBezTo>
                <a:cubicBezTo>
                  <a:pt x="84" y="10"/>
                  <a:pt x="84" y="10"/>
                  <a:pt x="84" y="10"/>
                </a:cubicBezTo>
                <a:cubicBezTo>
                  <a:pt x="83" y="10"/>
                  <a:pt x="83" y="10"/>
                  <a:pt x="83" y="10"/>
                </a:cubicBezTo>
                <a:cubicBezTo>
                  <a:pt x="82" y="10"/>
                  <a:pt x="82" y="10"/>
                  <a:pt x="82" y="10"/>
                </a:cubicBezTo>
                <a:cubicBezTo>
                  <a:pt x="82" y="10"/>
                  <a:pt x="82" y="10"/>
                  <a:pt x="82" y="10"/>
                </a:cubicBezTo>
                <a:close/>
                <a:moveTo>
                  <a:pt x="66" y="11"/>
                </a:moveTo>
                <a:cubicBezTo>
                  <a:pt x="67" y="12"/>
                  <a:pt x="67" y="12"/>
                  <a:pt x="67" y="12"/>
                </a:cubicBezTo>
                <a:cubicBezTo>
                  <a:pt x="67" y="12"/>
                  <a:pt x="67" y="12"/>
                  <a:pt x="67" y="12"/>
                </a:cubicBezTo>
                <a:cubicBezTo>
                  <a:pt x="68" y="11"/>
                  <a:pt x="68" y="11"/>
                  <a:pt x="68" y="11"/>
                </a:cubicBezTo>
                <a:cubicBezTo>
                  <a:pt x="67" y="10"/>
                  <a:pt x="67" y="10"/>
                  <a:pt x="67" y="10"/>
                </a:cubicBezTo>
                <a:cubicBezTo>
                  <a:pt x="67" y="10"/>
                  <a:pt x="67" y="10"/>
                  <a:pt x="67" y="10"/>
                </a:cubicBezTo>
                <a:cubicBezTo>
                  <a:pt x="66" y="10"/>
                  <a:pt x="66" y="10"/>
                  <a:pt x="66" y="10"/>
                </a:cubicBezTo>
                <a:cubicBezTo>
                  <a:pt x="66" y="11"/>
                  <a:pt x="66" y="11"/>
                  <a:pt x="66" y="11"/>
                </a:cubicBezTo>
                <a:close/>
                <a:moveTo>
                  <a:pt x="36" y="1"/>
                </a:moveTo>
                <a:cubicBezTo>
                  <a:pt x="38" y="3"/>
                  <a:pt x="38" y="3"/>
                  <a:pt x="38" y="3"/>
                </a:cubicBezTo>
                <a:cubicBezTo>
                  <a:pt x="39" y="3"/>
                  <a:pt x="39" y="3"/>
                  <a:pt x="39" y="3"/>
                </a:cubicBezTo>
                <a:cubicBezTo>
                  <a:pt x="39" y="2"/>
                  <a:pt x="39" y="2"/>
                  <a:pt x="39" y="2"/>
                </a:cubicBezTo>
                <a:cubicBezTo>
                  <a:pt x="40" y="2"/>
                  <a:pt x="40" y="2"/>
                  <a:pt x="40" y="2"/>
                </a:cubicBezTo>
                <a:cubicBezTo>
                  <a:pt x="39" y="1"/>
                  <a:pt x="39" y="1"/>
                  <a:pt x="39" y="1"/>
                </a:cubicBezTo>
                <a:cubicBezTo>
                  <a:pt x="38" y="1"/>
                  <a:pt x="38" y="1"/>
                  <a:pt x="38" y="1"/>
                </a:cubicBezTo>
                <a:cubicBezTo>
                  <a:pt x="37" y="1"/>
                  <a:pt x="37" y="1"/>
                  <a:pt x="37" y="1"/>
                </a:cubicBezTo>
                <a:cubicBezTo>
                  <a:pt x="36" y="0"/>
                  <a:pt x="36" y="0"/>
                  <a:pt x="36" y="0"/>
                </a:cubicBezTo>
                <a:cubicBezTo>
                  <a:pt x="35" y="1"/>
                  <a:pt x="35" y="1"/>
                  <a:pt x="35" y="1"/>
                </a:cubicBezTo>
                <a:cubicBezTo>
                  <a:pt x="36" y="1"/>
                  <a:pt x="36" y="1"/>
                  <a:pt x="36" y="1"/>
                </a:cubicBezTo>
                <a:close/>
                <a:moveTo>
                  <a:pt x="30" y="12"/>
                </a:moveTo>
                <a:cubicBezTo>
                  <a:pt x="29" y="11"/>
                  <a:pt x="29" y="11"/>
                  <a:pt x="29" y="11"/>
                </a:cubicBezTo>
                <a:cubicBezTo>
                  <a:pt x="29" y="11"/>
                  <a:pt x="29" y="11"/>
                  <a:pt x="29" y="11"/>
                </a:cubicBezTo>
                <a:cubicBezTo>
                  <a:pt x="29" y="10"/>
                  <a:pt x="29" y="10"/>
                  <a:pt x="29" y="10"/>
                </a:cubicBezTo>
                <a:cubicBezTo>
                  <a:pt x="30" y="9"/>
                  <a:pt x="30" y="9"/>
                  <a:pt x="30" y="9"/>
                </a:cubicBezTo>
                <a:cubicBezTo>
                  <a:pt x="30" y="9"/>
                  <a:pt x="30" y="9"/>
                  <a:pt x="30" y="9"/>
                </a:cubicBezTo>
                <a:cubicBezTo>
                  <a:pt x="31" y="10"/>
                  <a:pt x="31" y="10"/>
                  <a:pt x="31" y="10"/>
                </a:cubicBezTo>
                <a:cubicBezTo>
                  <a:pt x="31" y="11"/>
                  <a:pt x="31" y="11"/>
                  <a:pt x="31" y="11"/>
                </a:cubicBezTo>
                <a:cubicBezTo>
                  <a:pt x="30" y="12"/>
                  <a:pt x="30" y="12"/>
                  <a:pt x="30" y="12"/>
                </a:cubicBezTo>
                <a:cubicBezTo>
                  <a:pt x="30" y="12"/>
                  <a:pt x="30" y="12"/>
                  <a:pt x="30" y="12"/>
                </a:cubicBezTo>
                <a:close/>
                <a:moveTo>
                  <a:pt x="36" y="21"/>
                </a:moveTo>
                <a:cubicBezTo>
                  <a:pt x="36" y="21"/>
                  <a:pt x="36" y="21"/>
                  <a:pt x="36" y="21"/>
                </a:cubicBezTo>
                <a:cubicBezTo>
                  <a:pt x="38" y="20"/>
                  <a:pt x="38" y="20"/>
                  <a:pt x="38" y="20"/>
                </a:cubicBezTo>
                <a:cubicBezTo>
                  <a:pt x="38" y="20"/>
                  <a:pt x="38" y="20"/>
                  <a:pt x="38" y="20"/>
                </a:cubicBezTo>
                <a:cubicBezTo>
                  <a:pt x="41" y="20"/>
                  <a:pt x="41" y="20"/>
                  <a:pt x="41" y="20"/>
                </a:cubicBezTo>
                <a:cubicBezTo>
                  <a:pt x="42" y="20"/>
                  <a:pt x="42" y="20"/>
                  <a:pt x="42" y="20"/>
                </a:cubicBezTo>
                <a:cubicBezTo>
                  <a:pt x="43" y="19"/>
                  <a:pt x="43" y="19"/>
                  <a:pt x="43" y="19"/>
                </a:cubicBezTo>
                <a:cubicBezTo>
                  <a:pt x="44" y="19"/>
                  <a:pt x="44" y="19"/>
                  <a:pt x="44" y="19"/>
                </a:cubicBezTo>
                <a:cubicBezTo>
                  <a:pt x="44" y="20"/>
                  <a:pt x="44" y="20"/>
                  <a:pt x="44" y="20"/>
                </a:cubicBezTo>
                <a:cubicBezTo>
                  <a:pt x="44" y="20"/>
                  <a:pt x="44" y="20"/>
                  <a:pt x="44" y="20"/>
                </a:cubicBezTo>
                <a:cubicBezTo>
                  <a:pt x="44" y="21"/>
                  <a:pt x="44" y="21"/>
                  <a:pt x="44" y="21"/>
                </a:cubicBezTo>
                <a:cubicBezTo>
                  <a:pt x="44" y="21"/>
                  <a:pt x="44" y="21"/>
                  <a:pt x="44" y="21"/>
                </a:cubicBezTo>
                <a:cubicBezTo>
                  <a:pt x="43" y="22"/>
                  <a:pt x="43" y="22"/>
                  <a:pt x="43" y="22"/>
                </a:cubicBezTo>
                <a:cubicBezTo>
                  <a:pt x="42" y="21"/>
                  <a:pt x="42" y="21"/>
                  <a:pt x="42" y="21"/>
                </a:cubicBezTo>
                <a:cubicBezTo>
                  <a:pt x="40" y="21"/>
                  <a:pt x="40" y="21"/>
                  <a:pt x="40" y="21"/>
                </a:cubicBezTo>
                <a:cubicBezTo>
                  <a:pt x="39" y="21"/>
                  <a:pt x="39" y="21"/>
                  <a:pt x="39" y="21"/>
                </a:cubicBezTo>
                <a:cubicBezTo>
                  <a:pt x="39" y="22"/>
                  <a:pt x="39" y="22"/>
                  <a:pt x="39" y="22"/>
                </a:cubicBezTo>
                <a:cubicBezTo>
                  <a:pt x="39" y="22"/>
                  <a:pt x="39" y="22"/>
                  <a:pt x="39" y="22"/>
                </a:cubicBezTo>
                <a:cubicBezTo>
                  <a:pt x="41" y="22"/>
                  <a:pt x="41" y="22"/>
                  <a:pt x="41" y="22"/>
                </a:cubicBezTo>
                <a:cubicBezTo>
                  <a:pt x="42" y="23"/>
                  <a:pt x="42" y="23"/>
                  <a:pt x="42" y="23"/>
                </a:cubicBezTo>
                <a:cubicBezTo>
                  <a:pt x="42" y="23"/>
                  <a:pt x="42" y="23"/>
                  <a:pt x="42" y="23"/>
                </a:cubicBezTo>
                <a:cubicBezTo>
                  <a:pt x="41" y="24"/>
                  <a:pt x="41" y="24"/>
                  <a:pt x="41" y="24"/>
                </a:cubicBezTo>
                <a:cubicBezTo>
                  <a:pt x="40" y="23"/>
                  <a:pt x="40" y="23"/>
                  <a:pt x="40" y="23"/>
                </a:cubicBezTo>
                <a:cubicBezTo>
                  <a:pt x="40" y="23"/>
                  <a:pt x="40" y="23"/>
                  <a:pt x="40" y="23"/>
                </a:cubicBezTo>
                <a:cubicBezTo>
                  <a:pt x="39" y="24"/>
                  <a:pt x="39" y="24"/>
                  <a:pt x="39" y="24"/>
                </a:cubicBezTo>
                <a:cubicBezTo>
                  <a:pt x="38" y="23"/>
                  <a:pt x="38" y="23"/>
                  <a:pt x="38" y="23"/>
                </a:cubicBezTo>
                <a:cubicBezTo>
                  <a:pt x="36" y="22"/>
                  <a:pt x="36" y="22"/>
                  <a:pt x="36" y="22"/>
                </a:cubicBezTo>
                <a:cubicBezTo>
                  <a:pt x="35" y="23"/>
                  <a:pt x="35" y="23"/>
                  <a:pt x="35" y="23"/>
                </a:cubicBezTo>
                <a:cubicBezTo>
                  <a:pt x="35" y="23"/>
                  <a:pt x="35" y="23"/>
                  <a:pt x="35" y="23"/>
                </a:cubicBezTo>
                <a:cubicBezTo>
                  <a:pt x="36" y="24"/>
                  <a:pt x="36" y="24"/>
                  <a:pt x="36" y="24"/>
                </a:cubicBezTo>
                <a:cubicBezTo>
                  <a:pt x="38" y="26"/>
                  <a:pt x="38" y="26"/>
                  <a:pt x="38" y="26"/>
                </a:cubicBezTo>
                <a:cubicBezTo>
                  <a:pt x="39" y="26"/>
                  <a:pt x="39" y="26"/>
                  <a:pt x="39" y="26"/>
                </a:cubicBezTo>
                <a:cubicBezTo>
                  <a:pt x="40" y="26"/>
                  <a:pt x="40" y="26"/>
                  <a:pt x="40" y="26"/>
                </a:cubicBezTo>
                <a:cubicBezTo>
                  <a:pt x="40" y="26"/>
                  <a:pt x="40" y="26"/>
                  <a:pt x="40" y="26"/>
                </a:cubicBezTo>
                <a:cubicBezTo>
                  <a:pt x="41" y="27"/>
                  <a:pt x="41" y="27"/>
                  <a:pt x="41" y="27"/>
                </a:cubicBezTo>
                <a:cubicBezTo>
                  <a:pt x="41" y="28"/>
                  <a:pt x="41" y="28"/>
                  <a:pt x="41" y="28"/>
                </a:cubicBezTo>
                <a:cubicBezTo>
                  <a:pt x="42" y="28"/>
                  <a:pt x="42" y="28"/>
                  <a:pt x="42" y="28"/>
                </a:cubicBezTo>
                <a:cubicBezTo>
                  <a:pt x="43" y="28"/>
                  <a:pt x="43" y="28"/>
                  <a:pt x="43" y="28"/>
                </a:cubicBezTo>
                <a:cubicBezTo>
                  <a:pt x="45" y="28"/>
                  <a:pt x="45" y="28"/>
                  <a:pt x="45" y="28"/>
                </a:cubicBezTo>
                <a:cubicBezTo>
                  <a:pt x="46" y="27"/>
                  <a:pt x="46" y="27"/>
                  <a:pt x="46" y="27"/>
                </a:cubicBezTo>
                <a:cubicBezTo>
                  <a:pt x="48" y="27"/>
                  <a:pt x="48" y="27"/>
                  <a:pt x="48" y="27"/>
                </a:cubicBezTo>
                <a:cubicBezTo>
                  <a:pt x="49" y="27"/>
                  <a:pt x="49" y="27"/>
                  <a:pt x="49" y="27"/>
                </a:cubicBezTo>
                <a:cubicBezTo>
                  <a:pt x="49" y="27"/>
                  <a:pt x="49" y="27"/>
                  <a:pt x="49" y="27"/>
                </a:cubicBezTo>
                <a:cubicBezTo>
                  <a:pt x="49" y="28"/>
                  <a:pt x="49" y="28"/>
                  <a:pt x="49" y="28"/>
                </a:cubicBezTo>
                <a:cubicBezTo>
                  <a:pt x="49" y="30"/>
                  <a:pt x="49" y="30"/>
                  <a:pt x="49" y="30"/>
                </a:cubicBezTo>
                <a:cubicBezTo>
                  <a:pt x="51" y="31"/>
                  <a:pt x="51" y="31"/>
                  <a:pt x="51" y="31"/>
                </a:cubicBezTo>
                <a:cubicBezTo>
                  <a:pt x="52" y="31"/>
                  <a:pt x="52" y="31"/>
                  <a:pt x="52" y="31"/>
                </a:cubicBezTo>
                <a:cubicBezTo>
                  <a:pt x="54" y="30"/>
                  <a:pt x="54" y="30"/>
                  <a:pt x="54" y="30"/>
                </a:cubicBezTo>
                <a:cubicBezTo>
                  <a:pt x="54" y="30"/>
                  <a:pt x="54" y="30"/>
                  <a:pt x="54" y="30"/>
                </a:cubicBezTo>
                <a:cubicBezTo>
                  <a:pt x="54" y="29"/>
                  <a:pt x="54" y="29"/>
                  <a:pt x="54" y="29"/>
                </a:cubicBezTo>
                <a:cubicBezTo>
                  <a:pt x="54" y="28"/>
                  <a:pt x="54" y="28"/>
                  <a:pt x="54" y="28"/>
                </a:cubicBezTo>
                <a:cubicBezTo>
                  <a:pt x="55" y="28"/>
                  <a:pt x="55" y="28"/>
                  <a:pt x="55" y="28"/>
                </a:cubicBezTo>
                <a:cubicBezTo>
                  <a:pt x="56" y="26"/>
                  <a:pt x="56" y="26"/>
                  <a:pt x="56" y="26"/>
                </a:cubicBezTo>
                <a:cubicBezTo>
                  <a:pt x="57" y="26"/>
                  <a:pt x="57" y="26"/>
                  <a:pt x="57" y="26"/>
                </a:cubicBezTo>
                <a:cubicBezTo>
                  <a:pt x="57" y="27"/>
                  <a:pt x="57" y="27"/>
                  <a:pt x="57" y="27"/>
                </a:cubicBezTo>
                <a:cubicBezTo>
                  <a:pt x="58" y="28"/>
                  <a:pt x="58" y="28"/>
                  <a:pt x="58" y="28"/>
                </a:cubicBezTo>
                <a:cubicBezTo>
                  <a:pt x="59" y="28"/>
                  <a:pt x="59" y="28"/>
                  <a:pt x="59" y="28"/>
                </a:cubicBezTo>
                <a:cubicBezTo>
                  <a:pt x="61" y="27"/>
                  <a:pt x="61" y="27"/>
                  <a:pt x="61" y="27"/>
                </a:cubicBezTo>
                <a:cubicBezTo>
                  <a:pt x="61" y="26"/>
                  <a:pt x="61" y="26"/>
                  <a:pt x="61" y="26"/>
                </a:cubicBezTo>
                <a:cubicBezTo>
                  <a:pt x="61" y="24"/>
                  <a:pt x="61" y="24"/>
                  <a:pt x="61" y="24"/>
                </a:cubicBezTo>
                <a:cubicBezTo>
                  <a:pt x="61" y="23"/>
                  <a:pt x="61" y="23"/>
                  <a:pt x="61" y="23"/>
                </a:cubicBezTo>
                <a:cubicBezTo>
                  <a:pt x="61" y="23"/>
                  <a:pt x="61" y="23"/>
                  <a:pt x="61" y="23"/>
                </a:cubicBezTo>
                <a:cubicBezTo>
                  <a:pt x="62" y="22"/>
                  <a:pt x="62" y="22"/>
                  <a:pt x="62" y="22"/>
                </a:cubicBezTo>
                <a:cubicBezTo>
                  <a:pt x="63" y="20"/>
                  <a:pt x="63" y="20"/>
                  <a:pt x="63" y="20"/>
                </a:cubicBezTo>
                <a:cubicBezTo>
                  <a:pt x="64" y="19"/>
                  <a:pt x="64" y="19"/>
                  <a:pt x="64" y="19"/>
                </a:cubicBezTo>
                <a:cubicBezTo>
                  <a:pt x="65" y="17"/>
                  <a:pt x="65" y="17"/>
                  <a:pt x="65" y="17"/>
                </a:cubicBezTo>
                <a:cubicBezTo>
                  <a:pt x="66" y="16"/>
                  <a:pt x="66" y="16"/>
                  <a:pt x="66" y="16"/>
                </a:cubicBezTo>
                <a:cubicBezTo>
                  <a:pt x="66" y="15"/>
                  <a:pt x="66" y="15"/>
                  <a:pt x="66" y="15"/>
                </a:cubicBezTo>
                <a:cubicBezTo>
                  <a:pt x="65" y="14"/>
                  <a:pt x="65" y="14"/>
                  <a:pt x="65" y="14"/>
                </a:cubicBezTo>
                <a:cubicBezTo>
                  <a:pt x="65" y="13"/>
                  <a:pt x="65" y="13"/>
                  <a:pt x="65" y="13"/>
                </a:cubicBezTo>
                <a:cubicBezTo>
                  <a:pt x="65" y="13"/>
                  <a:pt x="65" y="13"/>
                  <a:pt x="65" y="13"/>
                </a:cubicBezTo>
                <a:cubicBezTo>
                  <a:pt x="65" y="12"/>
                  <a:pt x="65" y="12"/>
                  <a:pt x="65" y="12"/>
                </a:cubicBezTo>
                <a:cubicBezTo>
                  <a:pt x="65" y="12"/>
                  <a:pt x="65" y="12"/>
                  <a:pt x="65" y="12"/>
                </a:cubicBezTo>
                <a:cubicBezTo>
                  <a:pt x="63" y="12"/>
                  <a:pt x="63" y="12"/>
                  <a:pt x="63" y="12"/>
                </a:cubicBezTo>
                <a:cubicBezTo>
                  <a:pt x="62" y="11"/>
                  <a:pt x="62" y="11"/>
                  <a:pt x="62" y="11"/>
                </a:cubicBezTo>
                <a:cubicBezTo>
                  <a:pt x="62" y="11"/>
                  <a:pt x="62" y="11"/>
                  <a:pt x="62" y="11"/>
                </a:cubicBezTo>
                <a:cubicBezTo>
                  <a:pt x="59" y="11"/>
                  <a:pt x="59" y="11"/>
                  <a:pt x="59" y="11"/>
                </a:cubicBezTo>
                <a:cubicBezTo>
                  <a:pt x="58" y="11"/>
                  <a:pt x="58" y="11"/>
                  <a:pt x="58" y="11"/>
                </a:cubicBezTo>
                <a:cubicBezTo>
                  <a:pt x="57" y="10"/>
                  <a:pt x="57" y="10"/>
                  <a:pt x="57" y="10"/>
                </a:cubicBezTo>
                <a:cubicBezTo>
                  <a:pt x="56" y="10"/>
                  <a:pt x="56" y="10"/>
                  <a:pt x="56" y="10"/>
                </a:cubicBezTo>
                <a:cubicBezTo>
                  <a:pt x="55" y="10"/>
                  <a:pt x="55" y="10"/>
                  <a:pt x="55" y="10"/>
                </a:cubicBezTo>
                <a:cubicBezTo>
                  <a:pt x="55" y="9"/>
                  <a:pt x="55" y="9"/>
                  <a:pt x="55" y="9"/>
                </a:cubicBezTo>
                <a:cubicBezTo>
                  <a:pt x="55" y="9"/>
                  <a:pt x="55" y="9"/>
                  <a:pt x="55" y="9"/>
                </a:cubicBezTo>
                <a:cubicBezTo>
                  <a:pt x="54" y="9"/>
                  <a:pt x="54" y="9"/>
                  <a:pt x="54" y="9"/>
                </a:cubicBezTo>
                <a:cubicBezTo>
                  <a:pt x="54" y="9"/>
                  <a:pt x="54" y="9"/>
                  <a:pt x="54" y="9"/>
                </a:cubicBezTo>
                <a:cubicBezTo>
                  <a:pt x="54" y="8"/>
                  <a:pt x="54" y="8"/>
                  <a:pt x="54" y="8"/>
                </a:cubicBezTo>
                <a:cubicBezTo>
                  <a:pt x="54" y="7"/>
                  <a:pt x="54" y="7"/>
                  <a:pt x="54" y="7"/>
                </a:cubicBezTo>
                <a:cubicBezTo>
                  <a:pt x="53" y="8"/>
                  <a:pt x="53" y="8"/>
                  <a:pt x="53" y="8"/>
                </a:cubicBezTo>
                <a:cubicBezTo>
                  <a:pt x="53" y="9"/>
                  <a:pt x="53" y="9"/>
                  <a:pt x="53" y="9"/>
                </a:cubicBezTo>
                <a:cubicBezTo>
                  <a:pt x="52" y="9"/>
                  <a:pt x="52" y="9"/>
                  <a:pt x="52" y="9"/>
                </a:cubicBezTo>
                <a:cubicBezTo>
                  <a:pt x="52" y="8"/>
                  <a:pt x="52" y="8"/>
                  <a:pt x="52" y="8"/>
                </a:cubicBezTo>
                <a:cubicBezTo>
                  <a:pt x="52" y="8"/>
                  <a:pt x="52" y="8"/>
                  <a:pt x="52" y="8"/>
                </a:cubicBezTo>
                <a:cubicBezTo>
                  <a:pt x="51" y="8"/>
                  <a:pt x="51" y="8"/>
                  <a:pt x="51" y="8"/>
                </a:cubicBezTo>
                <a:cubicBezTo>
                  <a:pt x="51" y="9"/>
                  <a:pt x="51" y="9"/>
                  <a:pt x="51" y="9"/>
                </a:cubicBezTo>
                <a:cubicBezTo>
                  <a:pt x="51" y="9"/>
                  <a:pt x="51" y="9"/>
                  <a:pt x="51" y="9"/>
                </a:cubicBezTo>
                <a:cubicBezTo>
                  <a:pt x="50" y="10"/>
                  <a:pt x="50" y="10"/>
                  <a:pt x="50" y="10"/>
                </a:cubicBezTo>
                <a:cubicBezTo>
                  <a:pt x="50" y="11"/>
                  <a:pt x="50" y="11"/>
                  <a:pt x="50" y="11"/>
                </a:cubicBezTo>
                <a:cubicBezTo>
                  <a:pt x="50" y="12"/>
                  <a:pt x="50" y="12"/>
                  <a:pt x="50" y="12"/>
                </a:cubicBezTo>
                <a:cubicBezTo>
                  <a:pt x="49" y="12"/>
                  <a:pt x="49" y="12"/>
                  <a:pt x="49" y="12"/>
                </a:cubicBezTo>
                <a:cubicBezTo>
                  <a:pt x="49" y="11"/>
                  <a:pt x="49" y="11"/>
                  <a:pt x="49" y="11"/>
                </a:cubicBezTo>
                <a:cubicBezTo>
                  <a:pt x="49" y="11"/>
                  <a:pt x="49" y="11"/>
                  <a:pt x="49" y="11"/>
                </a:cubicBezTo>
                <a:cubicBezTo>
                  <a:pt x="49" y="11"/>
                  <a:pt x="49" y="11"/>
                  <a:pt x="49" y="11"/>
                </a:cubicBezTo>
                <a:cubicBezTo>
                  <a:pt x="48" y="12"/>
                  <a:pt x="48" y="12"/>
                  <a:pt x="48" y="12"/>
                </a:cubicBezTo>
                <a:cubicBezTo>
                  <a:pt x="48" y="12"/>
                  <a:pt x="48" y="12"/>
                  <a:pt x="48" y="12"/>
                </a:cubicBezTo>
                <a:cubicBezTo>
                  <a:pt x="48" y="11"/>
                  <a:pt x="48" y="11"/>
                  <a:pt x="48" y="11"/>
                </a:cubicBezTo>
                <a:cubicBezTo>
                  <a:pt x="48" y="9"/>
                  <a:pt x="48" y="9"/>
                  <a:pt x="48" y="9"/>
                </a:cubicBezTo>
                <a:cubicBezTo>
                  <a:pt x="48" y="7"/>
                  <a:pt x="48" y="7"/>
                  <a:pt x="48" y="7"/>
                </a:cubicBezTo>
                <a:cubicBezTo>
                  <a:pt x="48" y="6"/>
                  <a:pt x="48" y="6"/>
                  <a:pt x="48" y="6"/>
                </a:cubicBezTo>
                <a:cubicBezTo>
                  <a:pt x="47" y="6"/>
                  <a:pt x="47" y="6"/>
                  <a:pt x="47" y="6"/>
                </a:cubicBezTo>
                <a:cubicBezTo>
                  <a:pt x="46" y="5"/>
                  <a:pt x="46" y="5"/>
                  <a:pt x="46" y="5"/>
                </a:cubicBezTo>
                <a:cubicBezTo>
                  <a:pt x="46" y="5"/>
                  <a:pt x="46" y="5"/>
                  <a:pt x="46" y="5"/>
                </a:cubicBezTo>
                <a:cubicBezTo>
                  <a:pt x="45" y="6"/>
                  <a:pt x="45" y="6"/>
                  <a:pt x="45" y="6"/>
                </a:cubicBezTo>
                <a:cubicBezTo>
                  <a:pt x="46" y="7"/>
                  <a:pt x="46" y="7"/>
                  <a:pt x="46" y="7"/>
                </a:cubicBezTo>
                <a:cubicBezTo>
                  <a:pt x="46" y="7"/>
                  <a:pt x="46" y="7"/>
                  <a:pt x="46" y="7"/>
                </a:cubicBezTo>
                <a:cubicBezTo>
                  <a:pt x="46" y="7"/>
                  <a:pt x="46" y="7"/>
                  <a:pt x="46" y="7"/>
                </a:cubicBezTo>
                <a:cubicBezTo>
                  <a:pt x="45" y="6"/>
                  <a:pt x="45" y="6"/>
                  <a:pt x="45" y="6"/>
                </a:cubicBezTo>
                <a:cubicBezTo>
                  <a:pt x="45" y="7"/>
                  <a:pt x="45" y="7"/>
                  <a:pt x="45" y="7"/>
                </a:cubicBezTo>
                <a:cubicBezTo>
                  <a:pt x="45" y="8"/>
                  <a:pt x="45" y="8"/>
                  <a:pt x="45" y="8"/>
                </a:cubicBezTo>
                <a:cubicBezTo>
                  <a:pt x="46" y="9"/>
                  <a:pt x="46" y="9"/>
                  <a:pt x="46" y="9"/>
                </a:cubicBezTo>
                <a:cubicBezTo>
                  <a:pt x="46" y="10"/>
                  <a:pt x="46" y="10"/>
                  <a:pt x="46" y="10"/>
                </a:cubicBezTo>
                <a:cubicBezTo>
                  <a:pt x="45" y="11"/>
                  <a:pt x="45" y="11"/>
                  <a:pt x="45" y="11"/>
                </a:cubicBezTo>
                <a:cubicBezTo>
                  <a:pt x="45" y="13"/>
                  <a:pt x="45" y="13"/>
                  <a:pt x="45" y="13"/>
                </a:cubicBezTo>
                <a:cubicBezTo>
                  <a:pt x="46" y="14"/>
                  <a:pt x="46" y="14"/>
                  <a:pt x="46" y="14"/>
                </a:cubicBezTo>
                <a:cubicBezTo>
                  <a:pt x="46" y="16"/>
                  <a:pt x="46" y="16"/>
                  <a:pt x="46" y="16"/>
                </a:cubicBezTo>
                <a:cubicBezTo>
                  <a:pt x="45" y="16"/>
                  <a:pt x="45" y="16"/>
                  <a:pt x="45" y="16"/>
                </a:cubicBezTo>
                <a:cubicBezTo>
                  <a:pt x="45" y="14"/>
                  <a:pt x="45" y="14"/>
                  <a:pt x="45" y="14"/>
                </a:cubicBezTo>
                <a:cubicBezTo>
                  <a:pt x="44" y="13"/>
                  <a:pt x="44" y="13"/>
                  <a:pt x="44" y="13"/>
                </a:cubicBezTo>
                <a:cubicBezTo>
                  <a:pt x="43" y="13"/>
                  <a:pt x="43" y="13"/>
                  <a:pt x="43" y="13"/>
                </a:cubicBezTo>
                <a:cubicBezTo>
                  <a:pt x="42" y="12"/>
                  <a:pt x="42" y="12"/>
                  <a:pt x="42" y="12"/>
                </a:cubicBezTo>
                <a:cubicBezTo>
                  <a:pt x="43" y="11"/>
                  <a:pt x="43" y="11"/>
                  <a:pt x="43" y="11"/>
                </a:cubicBezTo>
                <a:cubicBezTo>
                  <a:pt x="43" y="10"/>
                  <a:pt x="43" y="10"/>
                  <a:pt x="43" y="10"/>
                </a:cubicBezTo>
                <a:cubicBezTo>
                  <a:pt x="42" y="10"/>
                  <a:pt x="42" y="10"/>
                  <a:pt x="42" y="10"/>
                </a:cubicBezTo>
                <a:cubicBezTo>
                  <a:pt x="41" y="11"/>
                  <a:pt x="41" y="11"/>
                  <a:pt x="41" y="11"/>
                </a:cubicBezTo>
                <a:cubicBezTo>
                  <a:pt x="41" y="11"/>
                  <a:pt x="41" y="11"/>
                  <a:pt x="41" y="11"/>
                </a:cubicBezTo>
                <a:cubicBezTo>
                  <a:pt x="40" y="11"/>
                  <a:pt x="40" y="11"/>
                  <a:pt x="40" y="11"/>
                </a:cubicBezTo>
                <a:cubicBezTo>
                  <a:pt x="39" y="12"/>
                  <a:pt x="39" y="12"/>
                  <a:pt x="39" y="12"/>
                </a:cubicBezTo>
                <a:cubicBezTo>
                  <a:pt x="38" y="11"/>
                  <a:pt x="38" y="11"/>
                  <a:pt x="38" y="11"/>
                </a:cubicBezTo>
                <a:cubicBezTo>
                  <a:pt x="38" y="11"/>
                  <a:pt x="38" y="11"/>
                  <a:pt x="38" y="11"/>
                </a:cubicBezTo>
                <a:cubicBezTo>
                  <a:pt x="38" y="10"/>
                  <a:pt x="38" y="10"/>
                  <a:pt x="38" y="10"/>
                </a:cubicBezTo>
                <a:cubicBezTo>
                  <a:pt x="38" y="10"/>
                  <a:pt x="38" y="10"/>
                  <a:pt x="38" y="10"/>
                </a:cubicBezTo>
                <a:cubicBezTo>
                  <a:pt x="37" y="9"/>
                  <a:pt x="37" y="9"/>
                  <a:pt x="37" y="9"/>
                </a:cubicBezTo>
                <a:cubicBezTo>
                  <a:pt x="37" y="8"/>
                  <a:pt x="37" y="8"/>
                  <a:pt x="37" y="8"/>
                </a:cubicBezTo>
                <a:cubicBezTo>
                  <a:pt x="36" y="8"/>
                  <a:pt x="36" y="8"/>
                  <a:pt x="36" y="8"/>
                </a:cubicBezTo>
                <a:cubicBezTo>
                  <a:pt x="35" y="8"/>
                  <a:pt x="35" y="8"/>
                  <a:pt x="35" y="8"/>
                </a:cubicBezTo>
                <a:cubicBezTo>
                  <a:pt x="34" y="7"/>
                  <a:pt x="34" y="7"/>
                  <a:pt x="34" y="7"/>
                </a:cubicBezTo>
                <a:cubicBezTo>
                  <a:pt x="35" y="6"/>
                  <a:pt x="35" y="6"/>
                  <a:pt x="35" y="6"/>
                </a:cubicBezTo>
                <a:cubicBezTo>
                  <a:pt x="34" y="5"/>
                  <a:pt x="34" y="5"/>
                  <a:pt x="34" y="5"/>
                </a:cubicBezTo>
                <a:cubicBezTo>
                  <a:pt x="34" y="5"/>
                  <a:pt x="34" y="5"/>
                  <a:pt x="34" y="5"/>
                </a:cubicBezTo>
                <a:cubicBezTo>
                  <a:pt x="33" y="6"/>
                  <a:pt x="33" y="6"/>
                  <a:pt x="33" y="6"/>
                </a:cubicBezTo>
                <a:cubicBezTo>
                  <a:pt x="33" y="8"/>
                  <a:pt x="33" y="8"/>
                  <a:pt x="33" y="8"/>
                </a:cubicBezTo>
                <a:cubicBezTo>
                  <a:pt x="33" y="9"/>
                  <a:pt x="33" y="9"/>
                  <a:pt x="33" y="9"/>
                </a:cubicBezTo>
                <a:cubicBezTo>
                  <a:pt x="34" y="10"/>
                  <a:pt x="34" y="10"/>
                  <a:pt x="34" y="10"/>
                </a:cubicBezTo>
                <a:cubicBezTo>
                  <a:pt x="34" y="12"/>
                  <a:pt x="34" y="12"/>
                  <a:pt x="34" y="12"/>
                </a:cubicBezTo>
                <a:cubicBezTo>
                  <a:pt x="34" y="12"/>
                  <a:pt x="34" y="12"/>
                  <a:pt x="34" y="12"/>
                </a:cubicBezTo>
                <a:cubicBezTo>
                  <a:pt x="33" y="11"/>
                  <a:pt x="33" y="11"/>
                  <a:pt x="33" y="11"/>
                </a:cubicBezTo>
                <a:cubicBezTo>
                  <a:pt x="33" y="10"/>
                  <a:pt x="33" y="10"/>
                  <a:pt x="33" y="10"/>
                </a:cubicBezTo>
                <a:cubicBezTo>
                  <a:pt x="32" y="10"/>
                  <a:pt x="32" y="10"/>
                  <a:pt x="32" y="10"/>
                </a:cubicBezTo>
                <a:cubicBezTo>
                  <a:pt x="32" y="11"/>
                  <a:pt x="32" y="11"/>
                  <a:pt x="32" y="11"/>
                </a:cubicBezTo>
                <a:cubicBezTo>
                  <a:pt x="32" y="12"/>
                  <a:pt x="32" y="12"/>
                  <a:pt x="32" y="12"/>
                </a:cubicBezTo>
                <a:cubicBezTo>
                  <a:pt x="33" y="13"/>
                  <a:pt x="33" y="13"/>
                  <a:pt x="33" y="13"/>
                </a:cubicBezTo>
                <a:cubicBezTo>
                  <a:pt x="33" y="14"/>
                  <a:pt x="33" y="14"/>
                  <a:pt x="33" y="14"/>
                </a:cubicBezTo>
                <a:cubicBezTo>
                  <a:pt x="33" y="15"/>
                  <a:pt x="33" y="15"/>
                  <a:pt x="33" y="15"/>
                </a:cubicBezTo>
                <a:cubicBezTo>
                  <a:pt x="32" y="15"/>
                  <a:pt x="32" y="15"/>
                  <a:pt x="32" y="15"/>
                </a:cubicBezTo>
                <a:cubicBezTo>
                  <a:pt x="32" y="13"/>
                  <a:pt x="32" y="13"/>
                  <a:pt x="32" y="13"/>
                </a:cubicBezTo>
                <a:cubicBezTo>
                  <a:pt x="31" y="13"/>
                  <a:pt x="31" y="13"/>
                  <a:pt x="31" y="13"/>
                </a:cubicBezTo>
                <a:cubicBezTo>
                  <a:pt x="29" y="13"/>
                  <a:pt x="29" y="13"/>
                  <a:pt x="29" y="13"/>
                </a:cubicBezTo>
                <a:cubicBezTo>
                  <a:pt x="28" y="12"/>
                  <a:pt x="28" y="12"/>
                  <a:pt x="28" y="12"/>
                </a:cubicBezTo>
                <a:cubicBezTo>
                  <a:pt x="28" y="13"/>
                  <a:pt x="28" y="13"/>
                  <a:pt x="28" y="13"/>
                </a:cubicBezTo>
                <a:cubicBezTo>
                  <a:pt x="28" y="14"/>
                  <a:pt x="28" y="14"/>
                  <a:pt x="28" y="14"/>
                </a:cubicBezTo>
                <a:cubicBezTo>
                  <a:pt x="29" y="14"/>
                  <a:pt x="29" y="14"/>
                  <a:pt x="29" y="14"/>
                </a:cubicBezTo>
                <a:cubicBezTo>
                  <a:pt x="30" y="15"/>
                  <a:pt x="30" y="15"/>
                  <a:pt x="30" y="15"/>
                </a:cubicBezTo>
                <a:cubicBezTo>
                  <a:pt x="29" y="15"/>
                  <a:pt x="29" y="15"/>
                  <a:pt x="29" y="15"/>
                </a:cubicBezTo>
                <a:cubicBezTo>
                  <a:pt x="29" y="16"/>
                  <a:pt x="29" y="16"/>
                  <a:pt x="29" y="16"/>
                </a:cubicBezTo>
                <a:cubicBezTo>
                  <a:pt x="31" y="16"/>
                  <a:pt x="31" y="16"/>
                  <a:pt x="31" y="16"/>
                </a:cubicBezTo>
                <a:cubicBezTo>
                  <a:pt x="31" y="16"/>
                  <a:pt x="31" y="16"/>
                  <a:pt x="31" y="16"/>
                </a:cubicBezTo>
                <a:cubicBezTo>
                  <a:pt x="29" y="17"/>
                  <a:pt x="29" y="17"/>
                  <a:pt x="29" y="17"/>
                </a:cubicBezTo>
                <a:cubicBezTo>
                  <a:pt x="29" y="18"/>
                  <a:pt x="29" y="18"/>
                  <a:pt x="29" y="18"/>
                </a:cubicBezTo>
                <a:cubicBezTo>
                  <a:pt x="30" y="20"/>
                  <a:pt x="30" y="20"/>
                  <a:pt x="30" y="20"/>
                </a:cubicBezTo>
                <a:cubicBezTo>
                  <a:pt x="31" y="21"/>
                  <a:pt x="31" y="21"/>
                  <a:pt x="31" y="21"/>
                </a:cubicBezTo>
                <a:cubicBezTo>
                  <a:pt x="32" y="21"/>
                  <a:pt x="32" y="21"/>
                  <a:pt x="32" y="21"/>
                </a:cubicBezTo>
                <a:cubicBezTo>
                  <a:pt x="34" y="21"/>
                  <a:pt x="34" y="21"/>
                  <a:pt x="34" y="21"/>
                </a:cubicBezTo>
                <a:cubicBezTo>
                  <a:pt x="35" y="21"/>
                  <a:pt x="35" y="21"/>
                  <a:pt x="35" y="21"/>
                </a:cubicBezTo>
                <a:cubicBezTo>
                  <a:pt x="36" y="21"/>
                  <a:pt x="36" y="21"/>
                  <a:pt x="36" y="21"/>
                </a:cubicBezTo>
                <a:close/>
                <a:moveTo>
                  <a:pt x="71" y="35"/>
                </a:moveTo>
                <a:cubicBezTo>
                  <a:pt x="72" y="34"/>
                  <a:pt x="72" y="34"/>
                  <a:pt x="72" y="34"/>
                </a:cubicBezTo>
                <a:cubicBezTo>
                  <a:pt x="73" y="33"/>
                  <a:pt x="73" y="33"/>
                  <a:pt x="73" y="33"/>
                </a:cubicBezTo>
                <a:cubicBezTo>
                  <a:pt x="74" y="33"/>
                  <a:pt x="74" y="33"/>
                  <a:pt x="74" y="33"/>
                </a:cubicBezTo>
                <a:cubicBezTo>
                  <a:pt x="75" y="32"/>
                  <a:pt x="75" y="32"/>
                  <a:pt x="75" y="32"/>
                </a:cubicBezTo>
                <a:cubicBezTo>
                  <a:pt x="75" y="33"/>
                  <a:pt x="75" y="33"/>
                  <a:pt x="75" y="33"/>
                </a:cubicBezTo>
                <a:cubicBezTo>
                  <a:pt x="77" y="33"/>
                  <a:pt x="77" y="33"/>
                  <a:pt x="77" y="33"/>
                </a:cubicBezTo>
                <a:cubicBezTo>
                  <a:pt x="78" y="33"/>
                  <a:pt x="78" y="33"/>
                  <a:pt x="78" y="33"/>
                </a:cubicBezTo>
                <a:cubicBezTo>
                  <a:pt x="77" y="34"/>
                  <a:pt x="77" y="34"/>
                  <a:pt x="77" y="34"/>
                </a:cubicBezTo>
                <a:cubicBezTo>
                  <a:pt x="76" y="35"/>
                  <a:pt x="76" y="35"/>
                  <a:pt x="76" y="35"/>
                </a:cubicBezTo>
                <a:cubicBezTo>
                  <a:pt x="75" y="34"/>
                  <a:pt x="75" y="34"/>
                  <a:pt x="75" y="34"/>
                </a:cubicBezTo>
                <a:cubicBezTo>
                  <a:pt x="74" y="34"/>
                  <a:pt x="74" y="34"/>
                  <a:pt x="74" y="34"/>
                </a:cubicBezTo>
                <a:cubicBezTo>
                  <a:pt x="73" y="34"/>
                  <a:pt x="73" y="34"/>
                  <a:pt x="73" y="34"/>
                </a:cubicBezTo>
                <a:cubicBezTo>
                  <a:pt x="73" y="34"/>
                  <a:pt x="73" y="34"/>
                  <a:pt x="73" y="34"/>
                </a:cubicBezTo>
                <a:cubicBezTo>
                  <a:pt x="72" y="36"/>
                  <a:pt x="72" y="36"/>
                  <a:pt x="72" y="36"/>
                </a:cubicBezTo>
                <a:cubicBezTo>
                  <a:pt x="71" y="35"/>
                  <a:pt x="71" y="35"/>
                  <a:pt x="71" y="35"/>
                </a:cubicBezTo>
                <a:close/>
                <a:moveTo>
                  <a:pt x="66" y="40"/>
                </a:moveTo>
                <a:cubicBezTo>
                  <a:pt x="66" y="39"/>
                  <a:pt x="66" y="39"/>
                  <a:pt x="66" y="39"/>
                </a:cubicBezTo>
                <a:cubicBezTo>
                  <a:pt x="66" y="38"/>
                  <a:pt x="66" y="38"/>
                  <a:pt x="66" y="38"/>
                </a:cubicBezTo>
                <a:cubicBezTo>
                  <a:pt x="66" y="36"/>
                  <a:pt x="66" y="36"/>
                  <a:pt x="66" y="36"/>
                </a:cubicBezTo>
                <a:cubicBezTo>
                  <a:pt x="66" y="36"/>
                  <a:pt x="66" y="36"/>
                  <a:pt x="66" y="36"/>
                </a:cubicBezTo>
                <a:cubicBezTo>
                  <a:pt x="66" y="36"/>
                  <a:pt x="66" y="36"/>
                  <a:pt x="66" y="36"/>
                </a:cubicBezTo>
                <a:cubicBezTo>
                  <a:pt x="67" y="36"/>
                  <a:pt x="67" y="36"/>
                  <a:pt x="67" y="36"/>
                </a:cubicBezTo>
                <a:cubicBezTo>
                  <a:pt x="67" y="37"/>
                  <a:pt x="67" y="37"/>
                  <a:pt x="67" y="37"/>
                </a:cubicBezTo>
                <a:cubicBezTo>
                  <a:pt x="68" y="38"/>
                  <a:pt x="68" y="38"/>
                  <a:pt x="68" y="38"/>
                </a:cubicBezTo>
                <a:cubicBezTo>
                  <a:pt x="68" y="39"/>
                  <a:pt x="68" y="39"/>
                  <a:pt x="68" y="39"/>
                </a:cubicBezTo>
                <a:cubicBezTo>
                  <a:pt x="67" y="40"/>
                  <a:pt x="67" y="40"/>
                  <a:pt x="67" y="40"/>
                </a:cubicBezTo>
                <a:cubicBezTo>
                  <a:pt x="66" y="40"/>
                  <a:pt x="66" y="40"/>
                  <a:pt x="66" y="40"/>
                </a:cubicBezTo>
                <a:close/>
                <a:moveTo>
                  <a:pt x="44" y="50"/>
                </a:moveTo>
                <a:cubicBezTo>
                  <a:pt x="45" y="49"/>
                  <a:pt x="45" y="49"/>
                  <a:pt x="45" y="49"/>
                </a:cubicBezTo>
                <a:cubicBezTo>
                  <a:pt x="46" y="48"/>
                  <a:pt x="46" y="48"/>
                  <a:pt x="46" y="48"/>
                </a:cubicBezTo>
                <a:cubicBezTo>
                  <a:pt x="48" y="47"/>
                  <a:pt x="48" y="47"/>
                  <a:pt x="48" y="47"/>
                </a:cubicBezTo>
                <a:cubicBezTo>
                  <a:pt x="50" y="47"/>
                  <a:pt x="50" y="47"/>
                  <a:pt x="50" y="47"/>
                </a:cubicBezTo>
                <a:cubicBezTo>
                  <a:pt x="51" y="46"/>
                  <a:pt x="51" y="46"/>
                  <a:pt x="51" y="46"/>
                </a:cubicBezTo>
                <a:cubicBezTo>
                  <a:pt x="53" y="45"/>
                  <a:pt x="53" y="45"/>
                  <a:pt x="53" y="45"/>
                </a:cubicBezTo>
                <a:cubicBezTo>
                  <a:pt x="53" y="46"/>
                  <a:pt x="53" y="46"/>
                  <a:pt x="53" y="46"/>
                </a:cubicBezTo>
                <a:cubicBezTo>
                  <a:pt x="54" y="48"/>
                  <a:pt x="54" y="48"/>
                  <a:pt x="54" y="48"/>
                </a:cubicBezTo>
                <a:cubicBezTo>
                  <a:pt x="54" y="48"/>
                  <a:pt x="54" y="48"/>
                  <a:pt x="54" y="48"/>
                </a:cubicBezTo>
                <a:cubicBezTo>
                  <a:pt x="53" y="48"/>
                  <a:pt x="53" y="48"/>
                  <a:pt x="53" y="48"/>
                </a:cubicBezTo>
                <a:cubicBezTo>
                  <a:pt x="53" y="49"/>
                  <a:pt x="53" y="49"/>
                  <a:pt x="53" y="49"/>
                </a:cubicBezTo>
                <a:cubicBezTo>
                  <a:pt x="53" y="51"/>
                  <a:pt x="53" y="51"/>
                  <a:pt x="53" y="51"/>
                </a:cubicBezTo>
                <a:cubicBezTo>
                  <a:pt x="55" y="52"/>
                  <a:pt x="55" y="52"/>
                  <a:pt x="55" y="52"/>
                </a:cubicBezTo>
                <a:cubicBezTo>
                  <a:pt x="56" y="53"/>
                  <a:pt x="56" y="53"/>
                  <a:pt x="56" y="53"/>
                </a:cubicBezTo>
                <a:cubicBezTo>
                  <a:pt x="57" y="52"/>
                  <a:pt x="57" y="52"/>
                  <a:pt x="57" y="52"/>
                </a:cubicBezTo>
                <a:cubicBezTo>
                  <a:pt x="58" y="51"/>
                  <a:pt x="58" y="51"/>
                  <a:pt x="58" y="51"/>
                </a:cubicBezTo>
                <a:cubicBezTo>
                  <a:pt x="59" y="52"/>
                  <a:pt x="59" y="52"/>
                  <a:pt x="59" y="52"/>
                </a:cubicBezTo>
                <a:cubicBezTo>
                  <a:pt x="60" y="53"/>
                  <a:pt x="60" y="53"/>
                  <a:pt x="60" y="53"/>
                </a:cubicBezTo>
                <a:cubicBezTo>
                  <a:pt x="61" y="53"/>
                  <a:pt x="61" y="53"/>
                  <a:pt x="61" y="53"/>
                </a:cubicBezTo>
                <a:cubicBezTo>
                  <a:pt x="61" y="54"/>
                  <a:pt x="61" y="54"/>
                  <a:pt x="61" y="54"/>
                </a:cubicBezTo>
                <a:cubicBezTo>
                  <a:pt x="59" y="54"/>
                  <a:pt x="59" y="54"/>
                  <a:pt x="59" y="54"/>
                </a:cubicBezTo>
                <a:cubicBezTo>
                  <a:pt x="58" y="56"/>
                  <a:pt x="58" y="56"/>
                  <a:pt x="58" y="56"/>
                </a:cubicBezTo>
                <a:cubicBezTo>
                  <a:pt x="58" y="57"/>
                  <a:pt x="58" y="57"/>
                  <a:pt x="58" y="57"/>
                </a:cubicBezTo>
                <a:cubicBezTo>
                  <a:pt x="57" y="60"/>
                  <a:pt x="57" y="60"/>
                  <a:pt x="57" y="60"/>
                </a:cubicBezTo>
                <a:cubicBezTo>
                  <a:pt x="56" y="60"/>
                  <a:pt x="56" y="60"/>
                  <a:pt x="56" y="60"/>
                </a:cubicBezTo>
                <a:cubicBezTo>
                  <a:pt x="55" y="61"/>
                  <a:pt x="55" y="61"/>
                  <a:pt x="55" y="61"/>
                </a:cubicBezTo>
                <a:cubicBezTo>
                  <a:pt x="54" y="62"/>
                  <a:pt x="54" y="62"/>
                  <a:pt x="54" y="62"/>
                </a:cubicBezTo>
                <a:cubicBezTo>
                  <a:pt x="54" y="63"/>
                  <a:pt x="54" y="63"/>
                  <a:pt x="54" y="63"/>
                </a:cubicBezTo>
                <a:cubicBezTo>
                  <a:pt x="53" y="63"/>
                  <a:pt x="53" y="63"/>
                  <a:pt x="53" y="63"/>
                </a:cubicBezTo>
                <a:cubicBezTo>
                  <a:pt x="53" y="63"/>
                  <a:pt x="53" y="63"/>
                  <a:pt x="53" y="63"/>
                </a:cubicBezTo>
                <a:cubicBezTo>
                  <a:pt x="52" y="62"/>
                  <a:pt x="52" y="62"/>
                  <a:pt x="52" y="62"/>
                </a:cubicBezTo>
                <a:cubicBezTo>
                  <a:pt x="53" y="61"/>
                  <a:pt x="53" y="61"/>
                  <a:pt x="53" y="61"/>
                </a:cubicBezTo>
                <a:cubicBezTo>
                  <a:pt x="53" y="60"/>
                  <a:pt x="53" y="60"/>
                  <a:pt x="53" y="60"/>
                </a:cubicBezTo>
                <a:cubicBezTo>
                  <a:pt x="53" y="58"/>
                  <a:pt x="53" y="58"/>
                  <a:pt x="53" y="58"/>
                </a:cubicBezTo>
                <a:cubicBezTo>
                  <a:pt x="53" y="57"/>
                  <a:pt x="53" y="57"/>
                  <a:pt x="53" y="57"/>
                </a:cubicBezTo>
                <a:cubicBezTo>
                  <a:pt x="53" y="57"/>
                  <a:pt x="53" y="57"/>
                  <a:pt x="53" y="57"/>
                </a:cubicBezTo>
                <a:cubicBezTo>
                  <a:pt x="52" y="57"/>
                  <a:pt x="52" y="57"/>
                  <a:pt x="52" y="57"/>
                </a:cubicBezTo>
                <a:cubicBezTo>
                  <a:pt x="51" y="58"/>
                  <a:pt x="51" y="58"/>
                  <a:pt x="51" y="58"/>
                </a:cubicBezTo>
                <a:cubicBezTo>
                  <a:pt x="51" y="59"/>
                  <a:pt x="51" y="59"/>
                  <a:pt x="51" y="59"/>
                </a:cubicBezTo>
                <a:cubicBezTo>
                  <a:pt x="50" y="60"/>
                  <a:pt x="50" y="60"/>
                  <a:pt x="50" y="60"/>
                </a:cubicBezTo>
                <a:cubicBezTo>
                  <a:pt x="49" y="60"/>
                  <a:pt x="49" y="60"/>
                  <a:pt x="49" y="60"/>
                </a:cubicBezTo>
                <a:cubicBezTo>
                  <a:pt x="48" y="61"/>
                  <a:pt x="48" y="61"/>
                  <a:pt x="48" y="61"/>
                </a:cubicBezTo>
                <a:cubicBezTo>
                  <a:pt x="46" y="61"/>
                  <a:pt x="46" y="61"/>
                  <a:pt x="46" y="61"/>
                </a:cubicBezTo>
                <a:cubicBezTo>
                  <a:pt x="45" y="61"/>
                  <a:pt x="45" y="61"/>
                  <a:pt x="45" y="61"/>
                </a:cubicBezTo>
                <a:cubicBezTo>
                  <a:pt x="45" y="61"/>
                  <a:pt x="45" y="61"/>
                  <a:pt x="45" y="61"/>
                </a:cubicBezTo>
                <a:cubicBezTo>
                  <a:pt x="45" y="60"/>
                  <a:pt x="45" y="60"/>
                  <a:pt x="45" y="60"/>
                </a:cubicBezTo>
                <a:cubicBezTo>
                  <a:pt x="45" y="60"/>
                  <a:pt x="45" y="60"/>
                  <a:pt x="45" y="60"/>
                </a:cubicBezTo>
                <a:cubicBezTo>
                  <a:pt x="45" y="59"/>
                  <a:pt x="45" y="59"/>
                  <a:pt x="45" y="59"/>
                </a:cubicBezTo>
                <a:cubicBezTo>
                  <a:pt x="46" y="58"/>
                  <a:pt x="46" y="58"/>
                  <a:pt x="46" y="58"/>
                </a:cubicBezTo>
                <a:cubicBezTo>
                  <a:pt x="46" y="56"/>
                  <a:pt x="46" y="56"/>
                  <a:pt x="46" y="56"/>
                </a:cubicBezTo>
                <a:cubicBezTo>
                  <a:pt x="47" y="54"/>
                  <a:pt x="47" y="54"/>
                  <a:pt x="47" y="54"/>
                </a:cubicBezTo>
                <a:cubicBezTo>
                  <a:pt x="47" y="53"/>
                  <a:pt x="47" y="53"/>
                  <a:pt x="47" y="53"/>
                </a:cubicBezTo>
                <a:cubicBezTo>
                  <a:pt x="47" y="52"/>
                  <a:pt x="47" y="52"/>
                  <a:pt x="47" y="52"/>
                </a:cubicBezTo>
                <a:cubicBezTo>
                  <a:pt x="47" y="52"/>
                  <a:pt x="47" y="52"/>
                  <a:pt x="47" y="52"/>
                </a:cubicBezTo>
                <a:cubicBezTo>
                  <a:pt x="46" y="52"/>
                  <a:pt x="46" y="52"/>
                  <a:pt x="46" y="52"/>
                </a:cubicBezTo>
                <a:cubicBezTo>
                  <a:pt x="45" y="51"/>
                  <a:pt x="45" y="51"/>
                  <a:pt x="45" y="51"/>
                </a:cubicBezTo>
                <a:cubicBezTo>
                  <a:pt x="44" y="50"/>
                  <a:pt x="44" y="50"/>
                  <a:pt x="44" y="50"/>
                </a:cubicBezTo>
                <a:close/>
                <a:moveTo>
                  <a:pt x="38" y="32"/>
                </a:moveTo>
                <a:cubicBezTo>
                  <a:pt x="39" y="33"/>
                  <a:pt x="39" y="33"/>
                  <a:pt x="39" y="33"/>
                </a:cubicBezTo>
                <a:cubicBezTo>
                  <a:pt x="39" y="34"/>
                  <a:pt x="39" y="34"/>
                  <a:pt x="39" y="34"/>
                </a:cubicBezTo>
                <a:cubicBezTo>
                  <a:pt x="40" y="34"/>
                  <a:pt x="40" y="34"/>
                  <a:pt x="40" y="34"/>
                </a:cubicBezTo>
                <a:cubicBezTo>
                  <a:pt x="42" y="34"/>
                  <a:pt x="42" y="34"/>
                  <a:pt x="42" y="34"/>
                </a:cubicBezTo>
                <a:cubicBezTo>
                  <a:pt x="42" y="33"/>
                  <a:pt x="42" y="33"/>
                  <a:pt x="42" y="33"/>
                </a:cubicBezTo>
                <a:cubicBezTo>
                  <a:pt x="41" y="32"/>
                  <a:pt x="41" y="32"/>
                  <a:pt x="41" y="32"/>
                </a:cubicBezTo>
                <a:cubicBezTo>
                  <a:pt x="39" y="31"/>
                  <a:pt x="39" y="31"/>
                  <a:pt x="39" y="31"/>
                </a:cubicBezTo>
                <a:cubicBezTo>
                  <a:pt x="38" y="31"/>
                  <a:pt x="38" y="31"/>
                  <a:pt x="38" y="31"/>
                </a:cubicBezTo>
                <a:cubicBezTo>
                  <a:pt x="38" y="32"/>
                  <a:pt x="38" y="32"/>
                  <a:pt x="38" y="32"/>
                </a:cubicBezTo>
                <a:close/>
                <a:moveTo>
                  <a:pt x="41" y="43"/>
                </a:moveTo>
                <a:cubicBezTo>
                  <a:pt x="42" y="43"/>
                  <a:pt x="42" y="43"/>
                  <a:pt x="42" y="43"/>
                </a:cubicBezTo>
                <a:cubicBezTo>
                  <a:pt x="43" y="44"/>
                  <a:pt x="43" y="44"/>
                  <a:pt x="43" y="44"/>
                </a:cubicBezTo>
                <a:cubicBezTo>
                  <a:pt x="43" y="45"/>
                  <a:pt x="43" y="45"/>
                  <a:pt x="43" y="45"/>
                </a:cubicBezTo>
                <a:cubicBezTo>
                  <a:pt x="44" y="45"/>
                  <a:pt x="44" y="45"/>
                  <a:pt x="44" y="45"/>
                </a:cubicBezTo>
                <a:cubicBezTo>
                  <a:pt x="44" y="46"/>
                  <a:pt x="44" y="46"/>
                  <a:pt x="44" y="46"/>
                </a:cubicBezTo>
                <a:cubicBezTo>
                  <a:pt x="44" y="46"/>
                  <a:pt x="44" y="46"/>
                  <a:pt x="44" y="46"/>
                </a:cubicBezTo>
                <a:cubicBezTo>
                  <a:pt x="44" y="47"/>
                  <a:pt x="44" y="47"/>
                  <a:pt x="44" y="47"/>
                </a:cubicBezTo>
                <a:cubicBezTo>
                  <a:pt x="45" y="47"/>
                  <a:pt x="45" y="47"/>
                  <a:pt x="45" y="47"/>
                </a:cubicBezTo>
                <a:cubicBezTo>
                  <a:pt x="45" y="47"/>
                  <a:pt x="45" y="47"/>
                  <a:pt x="45" y="47"/>
                </a:cubicBezTo>
                <a:cubicBezTo>
                  <a:pt x="46" y="47"/>
                  <a:pt x="46" y="47"/>
                  <a:pt x="46" y="47"/>
                </a:cubicBezTo>
                <a:cubicBezTo>
                  <a:pt x="47" y="46"/>
                  <a:pt x="47" y="46"/>
                  <a:pt x="47" y="46"/>
                </a:cubicBezTo>
                <a:cubicBezTo>
                  <a:pt x="48" y="46"/>
                  <a:pt x="48" y="46"/>
                  <a:pt x="48" y="46"/>
                </a:cubicBezTo>
                <a:cubicBezTo>
                  <a:pt x="49" y="45"/>
                  <a:pt x="49" y="45"/>
                  <a:pt x="49" y="45"/>
                </a:cubicBezTo>
                <a:cubicBezTo>
                  <a:pt x="49" y="45"/>
                  <a:pt x="49" y="45"/>
                  <a:pt x="49" y="45"/>
                </a:cubicBezTo>
                <a:cubicBezTo>
                  <a:pt x="49" y="43"/>
                  <a:pt x="49" y="43"/>
                  <a:pt x="49" y="43"/>
                </a:cubicBezTo>
                <a:cubicBezTo>
                  <a:pt x="50" y="42"/>
                  <a:pt x="50" y="42"/>
                  <a:pt x="50" y="42"/>
                </a:cubicBezTo>
                <a:cubicBezTo>
                  <a:pt x="50" y="41"/>
                  <a:pt x="50" y="41"/>
                  <a:pt x="50" y="41"/>
                </a:cubicBezTo>
                <a:cubicBezTo>
                  <a:pt x="50" y="40"/>
                  <a:pt x="50" y="40"/>
                  <a:pt x="50" y="40"/>
                </a:cubicBezTo>
                <a:cubicBezTo>
                  <a:pt x="49" y="40"/>
                  <a:pt x="49" y="40"/>
                  <a:pt x="49" y="40"/>
                </a:cubicBezTo>
                <a:cubicBezTo>
                  <a:pt x="48" y="40"/>
                  <a:pt x="48" y="40"/>
                  <a:pt x="48" y="40"/>
                </a:cubicBezTo>
                <a:cubicBezTo>
                  <a:pt x="48" y="39"/>
                  <a:pt x="48" y="39"/>
                  <a:pt x="48" y="39"/>
                </a:cubicBezTo>
                <a:cubicBezTo>
                  <a:pt x="47" y="40"/>
                  <a:pt x="47" y="40"/>
                  <a:pt x="47" y="40"/>
                </a:cubicBezTo>
                <a:cubicBezTo>
                  <a:pt x="45" y="41"/>
                  <a:pt x="45" y="41"/>
                  <a:pt x="45" y="41"/>
                </a:cubicBezTo>
                <a:cubicBezTo>
                  <a:pt x="45" y="40"/>
                  <a:pt x="45" y="40"/>
                  <a:pt x="45" y="40"/>
                </a:cubicBezTo>
                <a:cubicBezTo>
                  <a:pt x="45" y="40"/>
                  <a:pt x="45" y="40"/>
                  <a:pt x="45" y="40"/>
                </a:cubicBezTo>
                <a:cubicBezTo>
                  <a:pt x="44" y="41"/>
                  <a:pt x="44" y="41"/>
                  <a:pt x="44" y="41"/>
                </a:cubicBezTo>
                <a:cubicBezTo>
                  <a:pt x="44" y="41"/>
                  <a:pt x="44" y="41"/>
                  <a:pt x="44" y="41"/>
                </a:cubicBezTo>
                <a:cubicBezTo>
                  <a:pt x="43" y="42"/>
                  <a:pt x="43" y="42"/>
                  <a:pt x="43" y="42"/>
                </a:cubicBezTo>
                <a:cubicBezTo>
                  <a:pt x="42" y="41"/>
                  <a:pt x="42" y="41"/>
                  <a:pt x="42" y="41"/>
                </a:cubicBezTo>
                <a:cubicBezTo>
                  <a:pt x="41" y="42"/>
                  <a:pt x="41" y="42"/>
                  <a:pt x="41" y="42"/>
                </a:cubicBezTo>
                <a:cubicBezTo>
                  <a:pt x="41" y="43"/>
                  <a:pt x="41" y="43"/>
                  <a:pt x="41" y="43"/>
                </a:cubicBezTo>
                <a:close/>
                <a:moveTo>
                  <a:pt x="6" y="49"/>
                </a:moveTo>
                <a:cubicBezTo>
                  <a:pt x="5" y="47"/>
                  <a:pt x="5" y="47"/>
                  <a:pt x="5" y="47"/>
                </a:cubicBezTo>
                <a:cubicBezTo>
                  <a:pt x="5" y="47"/>
                  <a:pt x="5" y="47"/>
                  <a:pt x="5" y="47"/>
                </a:cubicBezTo>
                <a:cubicBezTo>
                  <a:pt x="4" y="46"/>
                  <a:pt x="4" y="46"/>
                  <a:pt x="4" y="46"/>
                </a:cubicBezTo>
                <a:cubicBezTo>
                  <a:pt x="3" y="45"/>
                  <a:pt x="3" y="45"/>
                  <a:pt x="3" y="45"/>
                </a:cubicBezTo>
                <a:cubicBezTo>
                  <a:pt x="2" y="45"/>
                  <a:pt x="2" y="45"/>
                  <a:pt x="2" y="45"/>
                </a:cubicBezTo>
                <a:cubicBezTo>
                  <a:pt x="2" y="44"/>
                  <a:pt x="2" y="44"/>
                  <a:pt x="2" y="44"/>
                </a:cubicBezTo>
                <a:cubicBezTo>
                  <a:pt x="2" y="42"/>
                  <a:pt x="2" y="42"/>
                  <a:pt x="2" y="42"/>
                </a:cubicBezTo>
                <a:cubicBezTo>
                  <a:pt x="1" y="40"/>
                  <a:pt x="1" y="40"/>
                  <a:pt x="1" y="40"/>
                </a:cubicBezTo>
                <a:cubicBezTo>
                  <a:pt x="0" y="40"/>
                  <a:pt x="0" y="40"/>
                  <a:pt x="0" y="40"/>
                </a:cubicBezTo>
                <a:cubicBezTo>
                  <a:pt x="0" y="38"/>
                  <a:pt x="0" y="38"/>
                  <a:pt x="0" y="38"/>
                </a:cubicBezTo>
                <a:cubicBezTo>
                  <a:pt x="1" y="37"/>
                  <a:pt x="1" y="37"/>
                  <a:pt x="1" y="37"/>
                </a:cubicBezTo>
                <a:cubicBezTo>
                  <a:pt x="1" y="38"/>
                  <a:pt x="1" y="38"/>
                  <a:pt x="1" y="38"/>
                </a:cubicBezTo>
                <a:cubicBezTo>
                  <a:pt x="2" y="39"/>
                  <a:pt x="2" y="39"/>
                  <a:pt x="2" y="39"/>
                </a:cubicBezTo>
                <a:cubicBezTo>
                  <a:pt x="3" y="40"/>
                  <a:pt x="3" y="40"/>
                  <a:pt x="3" y="40"/>
                </a:cubicBezTo>
                <a:cubicBezTo>
                  <a:pt x="2" y="41"/>
                  <a:pt x="2" y="41"/>
                  <a:pt x="2" y="41"/>
                </a:cubicBezTo>
                <a:cubicBezTo>
                  <a:pt x="3" y="43"/>
                  <a:pt x="3" y="43"/>
                  <a:pt x="3" y="43"/>
                </a:cubicBezTo>
                <a:cubicBezTo>
                  <a:pt x="4" y="44"/>
                  <a:pt x="4" y="44"/>
                  <a:pt x="4" y="44"/>
                </a:cubicBezTo>
                <a:cubicBezTo>
                  <a:pt x="4" y="44"/>
                  <a:pt x="4" y="44"/>
                  <a:pt x="4" y="44"/>
                </a:cubicBezTo>
                <a:cubicBezTo>
                  <a:pt x="5" y="44"/>
                  <a:pt x="5" y="44"/>
                  <a:pt x="5" y="44"/>
                </a:cubicBezTo>
                <a:cubicBezTo>
                  <a:pt x="5" y="44"/>
                  <a:pt x="5" y="44"/>
                  <a:pt x="5" y="44"/>
                </a:cubicBezTo>
                <a:cubicBezTo>
                  <a:pt x="6" y="45"/>
                  <a:pt x="6" y="45"/>
                  <a:pt x="6" y="45"/>
                </a:cubicBezTo>
                <a:cubicBezTo>
                  <a:pt x="7" y="47"/>
                  <a:pt x="7" y="47"/>
                  <a:pt x="7" y="47"/>
                </a:cubicBezTo>
                <a:cubicBezTo>
                  <a:pt x="7" y="48"/>
                  <a:pt x="7" y="48"/>
                  <a:pt x="7" y="48"/>
                </a:cubicBezTo>
                <a:cubicBezTo>
                  <a:pt x="7" y="49"/>
                  <a:pt x="7" y="49"/>
                  <a:pt x="7" y="49"/>
                </a:cubicBezTo>
                <a:cubicBezTo>
                  <a:pt x="6" y="49"/>
                  <a:pt x="6" y="49"/>
                  <a:pt x="6" y="49"/>
                </a:cubicBezTo>
                <a:cubicBezTo>
                  <a:pt x="6" y="49"/>
                  <a:pt x="6" y="49"/>
                  <a:pt x="6" y="49"/>
                </a:cubicBezTo>
                <a:close/>
                <a:moveTo>
                  <a:pt x="29" y="77"/>
                </a:moveTo>
                <a:cubicBezTo>
                  <a:pt x="29" y="76"/>
                  <a:pt x="29" y="76"/>
                  <a:pt x="29" y="76"/>
                </a:cubicBezTo>
                <a:cubicBezTo>
                  <a:pt x="28" y="76"/>
                  <a:pt x="28" y="76"/>
                  <a:pt x="28" y="76"/>
                </a:cubicBezTo>
                <a:cubicBezTo>
                  <a:pt x="28" y="77"/>
                  <a:pt x="28" y="77"/>
                  <a:pt x="28" y="77"/>
                </a:cubicBezTo>
                <a:cubicBezTo>
                  <a:pt x="27" y="77"/>
                  <a:pt x="27" y="77"/>
                  <a:pt x="27" y="77"/>
                </a:cubicBezTo>
                <a:cubicBezTo>
                  <a:pt x="27" y="76"/>
                  <a:pt x="27" y="76"/>
                  <a:pt x="27" y="76"/>
                </a:cubicBezTo>
                <a:cubicBezTo>
                  <a:pt x="27" y="75"/>
                  <a:pt x="27" y="75"/>
                  <a:pt x="27" y="75"/>
                </a:cubicBezTo>
                <a:cubicBezTo>
                  <a:pt x="27" y="74"/>
                  <a:pt x="27" y="74"/>
                  <a:pt x="27" y="74"/>
                </a:cubicBezTo>
                <a:cubicBezTo>
                  <a:pt x="26" y="74"/>
                  <a:pt x="26" y="74"/>
                  <a:pt x="26" y="74"/>
                </a:cubicBezTo>
                <a:cubicBezTo>
                  <a:pt x="24" y="72"/>
                  <a:pt x="24" y="72"/>
                  <a:pt x="24" y="72"/>
                </a:cubicBezTo>
                <a:cubicBezTo>
                  <a:pt x="24" y="71"/>
                  <a:pt x="24" y="71"/>
                  <a:pt x="24" y="71"/>
                </a:cubicBezTo>
                <a:cubicBezTo>
                  <a:pt x="25" y="70"/>
                  <a:pt x="25" y="70"/>
                  <a:pt x="25" y="70"/>
                </a:cubicBezTo>
                <a:cubicBezTo>
                  <a:pt x="26" y="70"/>
                  <a:pt x="26" y="70"/>
                  <a:pt x="26" y="70"/>
                </a:cubicBezTo>
                <a:cubicBezTo>
                  <a:pt x="26" y="70"/>
                  <a:pt x="26" y="70"/>
                  <a:pt x="26" y="70"/>
                </a:cubicBezTo>
                <a:cubicBezTo>
                  <a:pt x="26" y="69"/>
                  <a:pt x="26" y="69"/>
                  <a:pt x="26" y="69"/>
                </a:cubicBezTo>
                <a:cubicBezTo>
                  <a:pt x="26" y="69"/>
                  <a:pt x="26" y="69"/>
                  <a:pt x="26" y="69"/>
                </a:cubicBezTo>
                <a:cubicBezTo>
                  <a:pt x="25" y="69"/>
                  <a:pt x="25" y="69"/>
                  <a:pt x="25" y="69"/>
                </a:cubicBezTo>
                <a:cubicBezTo>
                  <a:pt x="25" y="68"/>
                  <a:pt x="25" y="68"/>
                  <a:pt x="25" y="68"/>
                </a:cubicBezTo>
                <a:cubicBezTo>
                  <a:pt x="24" y="68"/>
                  <a:pt x="24" y="68"/>
                  <a:pt x="24" y="68"/>
                </a:cubicBezTo>
                <a:cubicBezTo>
                  <a:pt x="24" y="69"/>
                  <a:pt x="24" y="69"/>
                  <a:pt x="24" y="69"/>
                </a:cubicBezTo>
                <a:cubicBezTo>
                  <a:pt x="23" y="70"/>
                  <a:pt x="23" y="70"/>
                  <a:pt x="23" y="70"/>
                </a:cubicBezTo>
                <a:cubicBezTo>
                  <a:pt x="21" y="69"/>
                  <a:pt x="21" y="69"/>
                  <a:pt x="21" y="69"/>
                </a:cubicBezTo>
                <a:cubicBezTo>
                  <a:pt x="21" y="68"/>
                  <a:pt x="21" y="68"/>
                  <a:pt x="21" y="68"/>
                </a:cubicBezTo>
                <a:cubicBezTo>
                  <a:pt x="21" y="67"/>
                  <a:pt x="21" y="67"/>
                  <a:pt x="21" y="67"/>
                </a:cubicBezTo>
                <a:cubicBezTo>
                  <a:pt x="20" y="67"/>
                  <a:pt x="20" y="67"/>
                  <a:pt x="20" y="67"/>
                </a:cubicBezTo>
                <a:cubicBezTo>
                  <a:pt x="19" y="66"/>
                  <a:pt x="19" y="66"/>
                  <a:pt x="19" y="66"/>
                </a:cubicBezTo>
                <a:cubicBezTo>
                  <a:pt x="19" y="66"/>
                  <a:pt x="19" y="66"/>
                  <a:pt x="19" y="66"/>
                </a:cubicBezTo>
                <a:cubicBezTo>
                  <a:pt x="18" y="66"/>
                  <a:pt x="18" y="66"/>
                  <a:pt x="18" y="66"/>
                </a:cubicBezTo>
                <a:cubicBezTo>
                  <a:pt x="18" y="65"/>
                  <a:pt x="18" y="65"/>
                  <a:pt x="18" y="65"/>
                </a:cubicBezTo>
                <a:cubicBezTo>
                  <a:pt x="18" y="64"/>
                  <a:pt x="18" y="64"/>
                  <a:pt x="18" y="64"/>
                </a:cubicBezTo>
                <a:cubicBezTo>
                  <a:pt x="17" y="64"/>
                  <a:pt x="17" y="64"/>
                  <a:pt x="17" y="64"/>
                </a:cubicBezTo>
                <a:cubicBezTo>
                  <a:pt x="17" y="64"/>
                  <a:pt x="17" y="64"/>
                  <a:pt x="17" y="64"/>
                </a:cubicBezTo>
                <a:cubicBezTo>
                  <a:pt x="17" y="63"/>
                  <a:pt x="17" y="63"/>
                  <a:pt x="17" y="63"/>
                </a:cubicBezTo>
                <a:cubicBezTo>
                  <a:pt x="16" y="63"/>
                  <a:pt x="16" y="63"/>
                  <a:pt x="16" y="63"/>
                </a:cubicBezTo>
                <a:cubicBezTo>
                  <a:pt x="16" y="62"/>
                  <a:pt x="16" y="62"/>
                  <a:pt x="16" y="62"/>
                </a:cubicBezTo>
                <a:cubicBezTo>
                  <a:pt x="16" y="62"/>
                  <a:pt x="16" y="62"/>
                  <a:pt x="16" y="62"/>
                </a:cubicBezTo>
                <a:cubicBezTo>
                  <a:pt x="16" y="62"/>
                  <a:pt x="16" y="62"/>
                  <a:pt x="16" y="62"/>
                </a:cubicBezTo>
                <a:cubicBezTo>
                  <a:pt x="16" y="61"/>
                  <a:pt x="16" y="61"/>
                  <a:pt x="16" y="61"/>
                </a:cubicBezTo>
                <a:cubicBezTo>
                  <a:pt x="16" y="60"/>
                  <a:pt x="16" y="60"/>
                  <a:pt x="16" y="60"/>
                </a:cubicBezTo>
                <a:cubicBezTo>
                  <a:pt x="15" y="60"/>
                  <a:pt x="15" y="60"/>
                  <a:pt x="15" y="60"/>
                </a:cubicBezTo>
                <a:cubicBezTo>
                  <a:pt x="15" y="59"/>
                  <a:pt x="15" y="59"/>
                  <a:pt x="15" y="59"/>
                </a:cubicBezTo>
                <a:cubicBezTo>
                  <a:pt x="17" y="58"/>
                  <a:pt x="17" y="58"/>
                  <a:pt x="17" y="58"/>
                </a:cubicBezTo>
                <a:cubicBezTo>
                  <a:pt x="17" y="58"/>
                  <a:pt x="17" y="58"/>
                  <a:pt x="17" y="58"/>
                </a:cubicBezTo>
                <a:cubicBezTo>
                  <a:pt x="18" y="59"/>
                  <a:pt x="18" y="59"/>
                  <a:pt x="18" y="59"/>
                </a:cubicBezTo>
                <a:cubicBezTo>
                  <a:pt x="19" y="60"/>
                  <a:pt x="19" y="60"/>
                  <a:pt x="19" y="60"/>
                </a:cubicBezTo>
                <a:cubicBezTo>
                  <a:pt x="19" y="60"/>
                  <a:pt x="19" y="60"/>
                  <a:pt x="19" y="60"/>
                </a:cubicBezTo>
                <a:cubicBezTo>
                  <a:pt x="19" y="59"/>
                  <a:pt x="19" y="59"/>
                  <a:pt x="19" y="59"/>
                </a:cubicBezTo>
                <a:cubicBezTo>
                  <a:pt x="20" y="59"/>
                  <a:pt x="20" y="59"/>
                  <a:pt x="20" y="59"/>
                </a:cubicBezTo>
                <a:cubicBezTo>
                  <a:pt x="21" y="60"/>
                  <a:pt x="21" y="60"/>
                  <a:pt x="21" y="60"/>
                </a:cubicBezTo>
                <a:cubicBezTo>
                  <a:pt x="22" y="60"/>
                  <a:pt x="22" y="60"/>
                  <a:pt x="22" y="60"/>
                </a:cubicBezTo>
                <a:cubicBezTo>
                  <a:pt x="24" y="59"/>
                  <a:pt x="24" y="59"/>
                  <a:pt x="24" y="59"/>
                </a:cubicBezTo>
                <a:cubicBezTo>
                  <a:pt x="24" y="59"/>
                  <a:pt x="24" y="59"/>
                  <a:pt x="24" y="59"/>
                </a:cubicBezTo>
                <a:cubicBezTo>
                  <a:pt x="23" y="58"/>
                  <a:pt x="23" y="58"/>
                  <a:pt x="23" y="58"/>
                </a:cubicBezTo>
                <a:cubicBezTo>
                  <a:pt x="22" y="58"/>
                  <a:pt x="22" y="58"/>
                  <a:pt x="22" y="58"/>
                </a:cubicBezTo>
                <a:cubicBezTo>
                  <a:pt x="20" y="58"/>
                  <a:pt x="20" y="58"/>
                  <a:pt x="20" y="58"/>
                </a:cubicBezTo>
                <a:cubicBezTo>
                  <a:pt x="19" y="57"/>
                  <a:pt x="19" y="57"/>
                  <a:pt x="19" y="57"/>
                </a:cubicBezTo>
                <a:cubicBezTo>
                  <a:pt x="19" y="57"/>
                  <a:pt x="19" y="57"/>
                  <a:pt x="19" y="57"/>
                </a:cubicBezTo>
                <a:cubicBezTo>
                  <a:pt x="20" y="57"/>
                  <a:pt x="20" y="57"/>
                  <a:pt x="20" y="57"/>
                </a:cubicBezTo>
                <a:cubicBezTo>
                  <a:pt x="21" y="57"/>
                  <a:pt x="21" y="57"/>
                  <a:pt x="21" y="57"/>
                </a:cubicBezTo>
                <a:cubicBezTo>
                  <a:pt x="23" y="56"/>
                  <a:pt x="23" y="56"/>
                  <a:pt x="23" y="56"/>
                </a:cubicBezTo>
                <a:cubicBezTo>
                  <a:pt x="24" y="55"/>
                  <a:pt x="24" y="55"/>
                  <a:pt x="24" y="55"/>
                </a:cubicBezTo>
                <a:cubicBezTo>
                  <a:pt x="26" y="55"/>
                  <a:pt x="26" y="55"/>
                  <a:pt x="26" y="55"/>
                </a:cubicBezTo>
                <a:cubicBezTo>
                  <a:pt x="27" y="55"/>
                  <a:pt x="27" y="55"/>
                  <a:pt x="27" y="55"/>
                </a:cubicBezTo>
                <a:cubicBezTo>
                  <a:pt x="27" y="55"/>
                  <a:pt x="27" y="55"/>
                  <a:pt x="27" y="55"/>
                </a:cubicBezTo>
                <a:cubicBezTo>
                  <a:pt x="27" y="55"/>
                  <a:pt x="27" y="55"/>
                  <a:pt x="27" y="55"/>
                </a:cubicBezTo>
                <a:cubicBezTo>
                  <a:pt x="27" y="54"/>
                  <a:pt x="27" y="54"/>
                  <a:pt x="27" y="54"/>
                </a:cubicBezTo>
                <a:cubicBezTo>
                  <a:pt x="28" y="54"/>
                  <a:pt x="28" y="54"/>
                  <a:pt x="28" y="54"/>
                </a:cubicBezTo>
                <a:cubicBezTo>
                  <a:pt x="28" y="53"/>
                  <a:pt x="28" y="53"/>
                  <a:pt x="28" y="53"/>
                </a:cubicBezTo>
                <a:cubicBezTo>
                  <a:pt x="28" y="53"/>
                  <a:pt x="28" y="53"/>
                  <a:pt x="28" y="53"/>
                </a:cubicBezTo>
                <a:cubicBezTo>
                  <a:pt x="27" y="53"/>
                  <a:pt x="27" y="53"/>
                  <a:pt x="27" y="53"/>
                </a:cubicBezTo>
                <a:cubicBezTo>
                  <a:pt x="26" y="54"/>
                  <a:pt x="26" y="54"/>
                  <a:pt x="26" y="54"/>
                </a:cubicBezTo>
                <a:cubicBezTo>
                  <a:pt x="24" y="54"/>
                  <a:pt x="24" y="54"/>
                  <a:pt x="24" y="54"/>
                </a:cubicBezTo>
                <a:cubicBezTo>
                  <a:pt x="23" y="54"/>
                  <a:pt x="23" y="54"/>
                  <a:pt x="23" y="54"/>
                </a:cubicBezTo>
                <a:cubicBezTo>
                  <a:pt x="23" y="54"/>
                  <a:pt x="23" y="54"/>
                  <a:pt x="23" y="54"/>
                </a:cubicBezTo>
                <a:cubicBezTo>
                  <a:pt x="22" y="54"/>
                  <a:pt x="22" y="54"/>
                  <a:pt x="22" y="54"/>
                </a:cubicBezTo>
                <a:cubicBezTo>
                  <a:pt x="21" y="54"/>
                  <a:pt x="21" y="54"/>
                  <a:pt x="21" y="54"/>
                </a:cubicBezTo>
                <a:cubicBezTo>
                  <a:pt x="21" y="54"/>
                  <a:pt x="21" y="54"/>
                  <a:pt x="21" y="54"/>
                </a:cubicBezTo>
                <a:cubicBezTo>
                  <a:pt x="20" y="55"/>
                  <a:pt x="20" y="55"/>
                  <a:pt x="20" y="55"/>
                </a:cubicBezTo>
                <a:cubicBezTo>
                  <a:pt x="19" y="55"/>
                  <a:pt x="19" y="55"/>
                  <a:pt x="19" y="55"/>
                </a:cubicBezTo>
                <a:cubicBezTo>
                  <a:pt x="18" y="55"/>
                  <a:pt x="18" y="55"/>
                  <a:pt x="18" y="55"/>
                </a:cubicBezTo>
                <a:cubicBezTo>
                  <a:pt x="18" y="56"/>
                  <a:pt x="18" y="56"/>
                  <a:pt x="18" y="56"/>
                </a:cubicBezTo>
                <a:cubicBezTo>
                  <a:pt x="16" y="56"/>
                  <a:pt x="16" y="56"/>
                  <a:pt x="16" y="56"/>
                </a:cubicBezTo>
                <a:cubicBezTo>
                  <a:pt x="15" y="56"/>
                  <a:pt x="15" y="56"/>
                  <a:pt x="15" y="56"/>
                </a:cubicBezTo>
                <a:cubicBezTo>
                  <a:pt x="15" y="56"/>
                  <a:pt x="15" y="56"/>
                  <a:pt x="15" y="56"/>
                </a:cubicBezTo>
                <a:cubicBezTo>
                  <a:pt x="14" y="56"/>
                  <a:pt x="14" y="56"/>
                  <a:pt x="14" y="56"/>
                </a:cubicBezTo>
                <a:cubicBezTo>
                  <a:pt x="14" y="54"/>
                  <a:pt x="14" y="54"/>
                  <a:pt x="14" y="54"/>
                </a:cubicBezTo>
                <a:cubicBezTo>
                  <a:pt x="14" y="53"/>
                  <a:pt x="14" y="53"/>
                  <a:pt x="14" y="53"/>
                </a:cubicBezTo>
                <a:cubicBezTo>
                  <a:pt x="14" y="52"/>
                  <a:pt x="14" y="52"/>
                  <a:pt x="14" y="52"/>
                </a:cubicBezTo>
                <a:cubicBezTo>
                  <a:pt x="14" y="52"/>
                  <a:pt x="14" y="52"/>
                  <a:pt x="14" y="52"/>
                </a:cubicBezTo>
                <a:cubicBezTo>
                  <a:pt x="15" y="51"/>
                  <a:pt x="15" y="51"/>
                  <a:pt x="15" y="51"/>
                </a:cubicBezTo>
                <a:cubicBezTo>
                  <a:pt x="16" y="51"/>
                  <a:pt x="16" y="51"/>
                  <a:pt x="16" y="51"/>
                </a:cubicBezTo>
                <a:cubicBezTo>
                  <a:pt x="16" y="51"/>
                  <a:pt x="16" y="51"/>
                  <a:pt x="16" y="51"/>
                </a:cubicBezTo>
                <a:cubicBezTo>
                  <a:pt x="16" y="52"/>
                  <a:pt x="16" y="52"/>
                  <a:pt x="16" y="52"/>
                </a:cubicBezTo>
                <a:cubicBezTo>
                  <a:pt x="17" y="52"/>
                  <a:pt x="17" y="52"/>
                  <a:pt x="17" y="52"/>
                </a:cubicBezTo>
                <a:cubicBezTo>
                  <a:pt x="17" y="51"/>
                  <a:pt x="17" y="51"/>
                  <a:pt x="17" y="51"/>
                </a:cubicBezTo>
                <a:cubicBezTo>
                  <a:pt x="18" y="50"/>
                  <a:pt x="18" y="50"/>
                  <a:pt x="18" y="50"/>
                </a:cubicBezTo>
                <a:cubicBezTo>
                  <a:pt x="18" y="50"/>
                  <a:pt x="18" y="50"/>
                  <a:pt x="18" y="50"/>
                </a:cubicBezTo>
                <a:cubicBezTo>
                  <a:pt x="19" y="49"/>
                  <a:pt x="19" y="49"/>
                  <a:pt x="19" y="49"/>
                </a:cubicBezTo>
                <a:cubicBezTo>
                  <a:pt x="20" y="48"/>
                  <a:pt x="20" y="48"/>
                  <a:pt x="20" y="48"/>
                </a:cubicBezTo>
                <a:cubicBezTo>
                  <a:pt x="21" y="48"/>
                  <a:pt x="21" y="48"/>
                  <a:pt x="21" y="48"/>
                </a:cubicBezTo>
                <a:cubicBezTo>
                  <a:pt x="21" y="47"/>
                  <a:pt x="21" y="47"/>
                  <a:pt x="21" y="47"/>
                </a:cubicBezTo>
                <a:cubicBezTo>
                  <a:pt x="22" y="46"/>
                  <a:pt x="22" y="46"/>
                  <a:pt x="22" y="46"/>
                </a:cubicBezTo>
                <a:cubicBezTo>
                  <a:pt x="23" y="46"/>
                  <a:pt x="23" y="46"/>
                  <a:pt x="23" y="46"/>
                </a:cubicBezTo>
                <a:cubicBezTo>
                  <a:pt x="25" y="46"/>
                  <a:pt x="25" y="46"/>
                  <a:pt x="25" y="46"/>
                </a:cubicBezTo>
                <a:cubicBezTo>
                  <a:pt x="26" y="45"/>
                  <a:pt x="26" y="45"/>
                  <a:pt x="26" y="45"/>
                </a:cubicBezTo>
                <a:cubicBezTo>
                  <a:pt x="27" y="44"/>
                  <a:pt x="27" y="44"/>
                  <a:pt x="27" y="44"/>
                </a:cubicBezTo>
                <a:cubicBezTo>
                  <a:pt x="28" y="44"/>
                  <a:pt x="28" y="44"/>
                  <a:pt x="28" y="44"/>
                </a:cubicBezTo>
                <a:cubicBezTo>
                  <a:pt x="28" y="43"/>
                  <a:pt x="28" y="43"/>
                  <a:pt x="28" y="43"/>
                </a:cubicBezTo>
                <a:cubicBezTo>
                  <a:pt x="27" y="43"/>
                  <a:pt x="27" y="43"/>
                  <a:pt x="27" y="43"/>
                </a:cubicBezTo>
                <a:cubicBezTo>
                  <a:pt x="26" y="44"/>
                  <a:pt x="26" y="44"/>
                  <a:pt x="26" y="44"/>
                </a:cubicBezTo>
                <a:cubicBezTo>
                  <a:pt x="25" y="44"/>
                  <a:pt x="25" y="44"/>
                  <a:pt x="25" y="44"/>
                </a:cubicBezTo>
                <a:cubicBezTo>
                  <a:pt x="25" y="44"/>
                  <a:pt x="25" y="44"/>
                  <a:pt x="25" y="44"/>
                </a:cubicBezTo>
                <a:cubicBezTo>
                  <a:pt x="25" y="43"/>
                  <a:pt x="25" y="43"/>
                  <a:pt x="25" y="43"/>
                </a:cubicBezTo>
                <a:cubicBezTo>
                  <a:pt x="25" y="42"/>
                  <a:pt x="25" y="42"/>
                  <a:pt x="25" y="42"/>
                </a:cubicBezTo>
                <a:cubicBezTo>
                  <a:pt x="25" y="40"/>
                  <a:pt x="25" y="40"/>
                  <a:pt x="25" y="40"/>
                </a:cubicBezTo>
                <a:cubicBezTo>
                  <a:pt x="25" y="39"/>
                  <a:pt x="25" y="39"/>
                  <a:pt x="25" y="39"/>
                </a:cubicBezTo>
                <a:cubicBezTo>
                  <a:pt x="24" y="39"/>
                  <a:pt x="24" y="39"/>
                  <a:pt x="24" y="39"/>
                </a:cubicBezTo>
                <a:cubicBezTo>
                  <a:pt x="24" y="40"/>
                  <a:pt x="24" y="40"/>
                  <a:pt x="24" y="40"/>
                </a:cubicBezTo>
                <a:cubicBezTo>
                  <a:pt x="24" y="41"/>
                  <a:pt x="24" y="41"/>
                  <a:pt x="24" y="41"/>
                </a:cubicBezTo>
                <a:cubicBezTo>
                  <a:pt x="23" y="43"/>
                  <a:pt x="23" y="43"/>
                  <a:pt x="23" y="43"/>
                </a:cubicBezTo>
                <a:cubicBezTo>
                  <a:pt x="22" y="44"/>
                  <a:pt x="22" y="44"/>
                  <a:pt x="22" y="44"/>
                </a:cubicBezTo>
                <a:cubicBezTo>
                  <a:pt x="21" y="45"/>
                  <a:pt x="21" y="45"/>
                  <a:pt x="21" y="45"/>
                </a:cubicBezTo>
                <a:cubicBezTo>
                  <a:pt x="20" y="44"/>
                  <a:pt x="20" y="44"/>
                  <a:pt x="20" y="44"/>
                </a:cubicBezTo>
                <a:cubicBezTo>
                  <a:pt x="20" y="43"/>
                  <a:pt x="20" y="43"/>
                  <a:pt x="20" y="43"/>
                </a:cubicBezTo>
                <a:cubicBezTo>
                  <a:pt x="20" y="42"/>
                  <a:pt x="20" y="42"/>
                  <a:pt x="20" y="42"/>
                </a:cubicBezTo>
                <a:cubicBezTo>
                  <a:pt x="21" y="41"/>
                  <a:pt x="21" y="41"/>
                  <a:pt x="21" y="41"/>
                </a:cubicBezTo>
                <a:cubicBezTo>
                  <a:pt x="21" y="40"/>
                  <a:pt x="21" y="40"/>
                  <a:pt x="21" y="40"/>
                </a:cubicBezTo>
                <a:cubicBezTo>
                  <a:pt x="20" y="40"/>
                  <a:pt x="20" y="40"/>
                  <a:pt x="20" y="40"/>
                </a:cubicBezTo>
                <a:cubicBezTo>
                  <a:pt x="20" y="38"/>
                  <a:pt x="20" y="38"/>
                  <a:pt x="20" y="38"/>
                </a:cubicBezTo>
                <a:cubicBezTo>
                  <a:pt x="20" y="38"/>
                  <a:pt x="20" y="38"/>
                  <a:pt x="20" y="38"/>
                </a:cubicBezTo>
                <a:cubicBezTo>
                  <a:pt x="19" y="38"/>
                  <a:pt x="19" y="38"/>
                  <a:pt x="19" y="38"/>
                </a:cubicBezTo>
                <a:cubicBezTo>
                  <a:pt x="19" y="38"/>
                  <a:pt x="19" y="38"/>
                  <a:pt x="19" y="38"/>
                </a:cubicBezTo>
                <a:cubicBezTo>
                  <a:pt x="19" y="40"/>
                  <a:pt x="19" y="40"/>
                  <a:pt x="19" y="40"/>
                </a:cubicBezTo>
                <a:cubicBezTo>
                  <a:pt x="19" y="41"/>
                  <a:pt x="19" y="41"/>
                  <a:pt x="19" y="41"/>
                </a:cubicBezTo>
                <a:cubicBezTo>
                  <a:pt x="18" y="42"/>
                  <a:pt x="18" y="42"/>
                  <a:pt x="18" y="42"/>
                </a:cubicBezTo>
                <a:cubicBezTo>
                  <a:pt x="18" y="41"/>
                  <a:pt x="18" y="41"/>
                  <a:pt x="18" y="41"/>
                </a:cubicBezTo>
                <a:cubicBezTo>
                  <a:pt x="18" y="41"/>
                  <a:pt x="18" y="41"/>
                  <a:pt x="18" y="41"/>
                </a:cubicBezTo>
                <a:cubicBezTo>
                  <a:pt x="18" y="40"/>
                  <a:pt x="18" y="40"/>
                  <a:pt x="18" y="40"/>
                </a:cubicBezTo>
                <a:cubicBezTo>
                  <a:pt x="17" y="40"/>
                  <a:pt x="17" y="40"/>
                  <a:pt x="17" y="40"/>
                </a:cubicBezTo>
                <a:cubicBezTo>
                  <a:pt x="16" y="40"/>
                  <a:pt x="16" y="40"/>
                  <a:pt x="16" y="40"/>
                </a:cubicBezTo>
                <a:cubicBezTo>
                  <a:pt x="16" y="41"/>
                  <a:pt x="16" y="41"/>
                  <a:pt x="16" y="41"/>
                </a:cubicBezTo>
                <a:cubicBezTo>
                  <a:pt x="17" y="42"/>
                  <a:pt x="17" y="42"/>
                  <a:pt x="17" y="42"/>
                </a:cubicBezTo>
                <a:cubicBezTo>
                  <a:pt x="17" y="43"/>
                  <a:pt x="17" y="43"/>
                  <a:pt x="17" y="43"/>
                </a:cubicBezTo>
                <a:cubicBezTo>
                  <a:pt x="17" y="44"/>
                  <a:pt x="17" y="44"/>
                  <a:pt x="17" y="44"/>
                </a:cubicBezTo>
                <a:cubicBezTo>
                  <a:pt x="18" y="45"/>
                  <a:pt x="18" y="45"/>
                  <a:pt x="18" y="45"/>
                </a:cubicBezTo>
                <a:cubicBezTo>
                  <a:pt x="18" y="46"/>
                  <a:pt x="18" y="46"/>
                  <a:pt x="18" y="46"/>
                </a:cubicBezTo>
                <a:cubicBezTo>
                  <a:pt x="17" y="46"/>
                  <a:pt x="17" y="46"/>
                  <a:pt x="17" y="46"/>
                </a:cubicBezTo>
                <a:cubicBezTo>
                  <a:pt x="16" y="46"/>
                  <a:pt x="16" y="46"/>
                  <a:pt x="16" y="46"/>
                </a:cubicBezTo>
                <a:cubicBezTo>
                  <a:pt x="16" y="48"/>
                  <a:pt x="16" y="48"/>
                  <a:pt x="16" y="48"/>
                </a:cubicBezTo>
                <a:cubicBezTo>
                  <a:pt x="16" y="48"/>
                  <a:pt x="16" y="48"/>
                  <a:pt x="16" y="48"/>
                </a:cubicBezTo>
                <a:cubicBezTo>
                  <a:pt x="15" y="49"/>
                  <a:pt x="15" y="49"/>
                  <a:pt x="15" y="49"/>
                </a:cubicBezTo>
                <a:cubicBezTo>
                  <a:pt x="13" y="49"/>
                  <a:pt x="13" y="49"/>
                  <a:pt x="13" y="49"/>
                </a:cubicBezTo>
                <a:cubicBezTo>
                  <a:pt x="11" y="49"/>
                  <a:pt x="11" y="49"/>
                  <a:pt x="11" y="49"/>
                </a:cubicBezTo>
                <a:cubicBezTo>
                  <a:pt x="11" y="49"/>
                  <a:pt x="11" y="49"/>
                  <a:pt x="11" y="49"/>
                </a:cubicBezTo>
                <a:cubicBezTo>
                  <a:pt x="12" y="48"/>
                  <a:pt x="12" y="48"/>
                  <a:pt x="12" y="48"/>
                </a:cubicBezTo>
                <a:cubicBezTo>
                  <a:pt x="11" y="47"/>
                  <a:pt x="11" y="47"/>
                  <a:pt x="11" y="47"/>
                </a:cubicBezTo>
                <a:cubicBezTo>
                  <a:pt x="10" y="46"/>
                  <a:pt x="10" y="46"/>
                  <a:pt x="10" y="46"/>
                </a:cubicBezTo>
                <a:cubicBezTo>
                  <a:pt x="9" y="45"/>
                  <a:pt x="9" y="45"/>
                  <a:pt x="9" y="45"/>
                </a:cubicBezTo>
                <a:cubicBezTo>
                  <a:pt x="9" y="45"/>
                  <a:pt x="9" y="45"/>
                  <a:pt x="9" y="45"/>
                </a:cubicBezTo>
                <a:cubicBezTo>
                  <a:pt x="8" y="44"/>
                  <a:pt x="8" y="44"/>
                  <a:pt x="8" y="44"/>
                </a:cubicBezTo>
                <a:cubicBezTo>
                  <a:pt x="8" y="43"/>
                  <a:pt x="8" y="43"/>
                  <a:pt x="8" y="43"/>
                </a:cubicBezTo>
                <a:cubicBezTo>
                  <a:pt x="9" y="43"/>
                  <a:pt x="9" y="43"/>
                  <a:pt x="9" y="43"/>
                </a:cubicBezTo>
                <a:cubicBezTo>
                  <a:pt x="10" y="43"/>
                  <a:pt x="10" y="43"/>
                  <a:pt x="10" y="43"/>
                </a:cubicBezTo>
                <a:cubicBezTo>
                  <a:pt x="10" y="42"/>
                  <a:pt x="10" y="42"/>
                  <a:pt x="10" y="42"/>
                </a:cubicBezTo>
                <a:cubicBezTo>
                  <a:pt x="9" y="42"/>
                  <a:pt x="9" y="42"/>
                  <a:pt x="9" y="42"/>
                </a:cubicBezTo>
                <a:cubicBezTo>
                  <a:pt x="8" y="42"/>
                  <a:pt x="8" y="42"/>
                  <a:pt x="8" y="42"/>
                </a:cubicBezTo>
                <a:cubicBezTo>
                  <a:pt x="7" y="42"/>
                  <a:pt x="7" y="42"/>
                  <a:pt x="7" y="42"/>
                </a:cubicBezTo>
                <a:cubicBezTo>
                  <a:pt x="7" y="41"/>
                  <a:pt x="7" y="41"/>
                  <a:pt x="7" y="41"/>
                </a:cubicBezTo>
                <a:cubicBezTo>
                  <a:pt x="6" y="41"/>
                  <a:pt x="6" y="41"/>
                  <a:pt x="6" y="41"/>
                </a:cubicBezTo>
                <a:cubicBezTo>
                  <a:pt x="5" y="40"/>
                  <a:pt x="5" y="40"/>
                  <a:pt x="5" y="40"/>
                </a:cubicBezTo>
                <a:cubicBezTo>
                  <a:pt x="4" y="39"/>
                  <a:pt x="4" y="39"/>
                  <a:pt x="4" y="39"/>
                </a:cubicBezTo>
                <a:cubicBezTo>
                  <a:pt x="5" y="39"/>
                  <a:pt x="5" y="39"/>
                  <a:pt x="5" y="39"/>
                </a:cubicBezTo>
                <a:cubicBezTo>
                  <a:pt x="5" y="38"/>
                  <a:pt x="5" y="38"/>
                  <a:pt x="5" y="38"/>
                </a:cubicBezTo>
                <a:cubicBezTo>
                  <a:pt x="4" y="38"/>
                  <a:pt x="4" y="38"/>
                  <a:pt x="4" y="38"/>
                </a:cubicBezTo>
                <a:cubicBezTo>
                  <a:pt x="3" y="37"/>
                  <a:pt x="3" y="37"/>
                  <a:pt x="3" y="37"/>
                </a:cubicBezTo>
                <a:cubicBezTo>
                  <a:pt x="3" y="36"/>
                  <a:pt x="3" y="36"/>
                  <a:pt x="3" y="36"/>
                </a:cubicBezTo>
                <a:cubicBezTo>
                  <a:pt x="3" y="35"/>
                  <a:pt x="3" y="35"/>
                  <a:pt x="3" y="35"/>
                </a:cubicBezTo>
                <a:cubicBezTo>
                  <a:pt x="3" y="35"/>
                  <a:pt x="3" y="35"/>
                  <a:pt x="3" y="35"/>
                </a:cubicBezTo>
                <a:cubicBezTo>
                  <a:pt x="5" y="36"/>
                  <a:pt x="5" y="36"/>
                  <a:pt x="5" y="36"/>
                </a:cubicBezTo>
                <a:cubicBezTo>
                  <a:pt x="5" y="37"/>
                  <a:pt x="5" y="37"/>
                  <a:pt x="5" y="37"/>
                </a:cubicBezTo>
                <a:cubicBezTo>
                  <a:pt x="5" y="37"/>
                  <a:pt x="5" y="37"/>
                  <a:pt x="5" y="37"/>
                </a:cubicBezTo>
                <a:cubicBezTo>
                  <a:pt x="6" y="37"/>
                  <a:pt x="6" y="37"/>
                  <a:pt x="6" y="37"/>
                </a:cubicBezTo>
                <a:cubicBezTo>
                  <a:pt x="7" y="37"/>
                  <a:pt x="7" y="37"/>
                  <a:pt x="7" y="37"/>
                </a:cubicBezTo>
                <a:cubicBezTo>
                  <a:pt x="7" y="36"/>
                  <a:pt x="7" y="36"/>
                  <a:pt x="7" y="36"/>
                </a:cubicBezTo>
                <a:cubicBezTo>
                  <a:pt x="6" y="35"/>
                  <a:pt x="6" y="35"/>
                  <a:pt x="6" y="35"/>
                </a:cubicBezTo>
                <a:cubicBezTo>
                  <a:pt x="6" y="36"/>
                  <a:pt x="6" y="36"/>
                  <a:pt x="6" y="36"/>
                </a:cubicBezTo>
                <a:cubicBezTo>
                  <a:pt x="5" y="35"/>
                  <a:pt x="5" y="35"/>
                  <a:pt x="5" y="35"/>
                </a:cubicBezTo>
                <a:cubicBezTo>
                  <a:pt x="5" y="35"/>
                  <a:pt x="5" y="35"/>
                  <a:pt x="5" y="35"/>
                </a:cubicBezTo>
                <a:cubicBezTo>
                  <a:pt x="4" y="34"/>
                  <a:pt x="4" y="34"/>
                  <a:pt x="4" y="34"/>
                </a:cubicBezTo>
                <a:cubicBezTo>
                  <a:pt x="4" y="33"/>
                  <a:pt x="4" y="33"/>
                  <a:pt x="4" y="33"/>
                </a:cubicBezTo>
                <a:cubicBezTo>
                  <a:pt x="4" y="33"/>
                  <a:pt x="4" y="33"/>
                  <a:pt x="4" y="33"/>
                </a:cubicBezTo>
                <a:cubicBezTo>
                  <a:pt x="5" y="31"/>
                  <a:pt x="5" y="31"/>
                  <a:pt x="5" y="31"/>
                </a:cubicBezTo>
                <a:cubicBezTo>
                  <a:pt x="5" y="30"/>
                  <a:pt x="5" y="30"/>
                  <a:pt x="5" y="30"/>
                </a:cubicBezTo>
                <a:cubicBezTo>
                  <a:pt x="5" y="30"/>
                  <a:pt x="5" y="30"/>
                  <a:pt x="5" y="30"/>
                </a:cubicBezTo>
                <a:cubicBezTo>
                  <a:pt x="4" y="30"/>
                  <a:pt x="4" y="30"/>
                  <a:pt x="4" y="30"/>
                </a:cubicBezTo>
                <a:cubicBezTo>
                  <a:pt x="3" y="30"/>
                  <a:pt x="3" y="30"/>
                  <a:pt x="3" y="30"/>
                </a:cubicBezTo>
                <a:cubicBezTo>
                  <a:pt x="3" y="30"/>
                  <a:pt x="3" y="30"/>
                  <a:pt x="3" y="30"/>
                </a:cubicBezTo>
                <a:cubicBezTo>
                  <a:pt x="3" y="31"/>
                  <a:pt x="3" y="31"/>
                  <a:pt x="3" y="31"/>
                </a:cubicBezTo>
                <a:cubicBezTo>
                  <a:pt x="3" y="32"/>
                  <a:pt x="3" y="32"/>
                  <a:pt x="3" y="32"/>
                </a:cubicBezTo>
                <a:cubicBezTo>
                  <a:pt x="2" y="33"/>
                  <a:pt x="2" y="33"/>
                  <a:pt x="2" y="33"/>
                </a:cubicBezTo>
                <a:cubicBezTo>
                  <a:pt x="1" y="33"/>
                  <a:pt x="1" y="33"/>
                  <a:pt x="1" y="33"/>
                </a:cubicBezTo>
                <a:cubicBezTo>
                  <a:pt x="1" y="32"/>
                  <a:pt x="1" y="32"/>
                  <a:pt x="1" y="32"/>
                </a:cubicBezTo>
                <a:cubicBezTo>
                  <a:pt x="0" y="30"/>
                  <a:pt x="0" y="30"/>
                  <a:pt x="0" y="30"/>
                </a:cubicBezTo>
                <a:cubicBezTo>
                  <a:pt x="0" y="29"/>
                  <a:pt x="0" y="29"/>
                  <a:pt x="0" y="29"/>
                </a:cubicBezTo>
                <a:cubicBezTo>
                  <a:pt x="0" y="27"/>
                  <a:pt x="0" y="27"/>
                  <a:pt x="0" y="27"/>
                </a:cubicBezTo>
                <a:cubicBezTo>
                  <a:pt x="0" y="26"/>
                  <a:pt x="0" y="26"/>
                  <a:pt x="0" y="26"/>
                </a:cubicBezTo>
                <a:cubicBezTo>
                  <a:pt x="0" y="26"/>
                  <a:pt x="0" y="26"/>
                  <a:pt x="0" y="26"/>
                </a:cubicBezTo>
                <a:cubicBezTo>
                  <a:pt x="1" y="25"/>
                  <a:pt x="1" y="25"/>
                  <a:pt x="1" y="25"/>
                </a:cubicBezTo>
                <a:cubicBezTo>
                  <a:pt x="2" y="25"/>
                  <a:pt x="2" y="25"/>
                  <a:pt x="2" y="25"/>
                </a:cubicBezTo>
                <a:cubicBezTo>
                  <a:pt x="2" y="24"/>
                  <a:pt x="2" y="24"/>
                  <a:pt x="2" y="24"/>
                </a:cubicBezTo>
                <a:cubicBezTo>
                  <a:pt x="1" y="23"/>
                  <a:pt x="1" y="23"/>
                  <a:pt x="1" y="23"/>
                </a:cubicBezTo>
                <a:cubicBezTo>
                  <a:pt x="1" y="22"/>
                  <a:pt x="1" y="22"/>
                  <a:pt x="1" y="22"/>
                </a:cubicBezTo>
                <a:cubicBezTo>
                  <a:pt x="2" y="21"/>
                  <a:pt x="2" y="21"/>
                  <a:pt x="2" y="21"/>
                </a:cubicBezTo>
                <a:cubicBezTo>
                  <a:pt x="3" y="21"/>
                  <a:pt x="3" y="21"/>
                  <a:pt x="3" y="21"/>
                </a:cubicBezTo>
                <a:cubicBezTo>
                  <a:pt x="4" y="23"/>
                  <a:pt x="4" y="23"/>
                  <a:pt x="4" y="23"/>
                </a:cubicBezTo>
                <a:cubicBezTo>
                  <a:pt x="4" y="24"/>
                  <a:pt x="4" y="24"/>
                  <a:pt x="4" y="24"/>
                </a:cubicBezTo>
                <a:cubicBezTo>
                  <a:pt x="5" y="24"/>
                  <a:pt x="5" y="24"/>
                  <a:pt x="5" y="24"/>
                </a:cubicBezTo>
                <a:cubicBezTo>
                  <a:pt x="6" y="23"/>
                  <a:pt x="6" y="23"/>
                  <a:pt x="6" y="23"/>
                </a:cubicBezTo>
                <a:cubicBezTo>
                  <a:pt x="4" y="22"/>
                  <a:pt x="4" y="22"/>
                  <a:pt x="4" y="22"/>
                </a:cubicBezTo>
                <a:cubicBezTo>
                  <a:pt x="4" y="21"/>
                  <a:pt x="4" y="21"/>
                  <a:pt x="4" y="21"/>
                </a:cubicBezTo>
                <a:cubicBezTo>
                  <a:pt x="5" y="20"/>
                  <a:pt x="5" y="20"/>
                  <a:pt x="5" y="20"/>
                </a:cubicBezTo>
                <a:cubicBezTo>
                  <a:pt x="6" y="21"/>
                  <a:pt x="6" y="21"/>
                  <a:pt x="6" y="21"/>
                </a:cubicBezTo>
                <a:cubicBezTo>
                  <a:pt x="6" y="21"/>
                  <a:pt x="6" y="21"/>
                  <a:pt x="6" y="21"/>
                </a:cubicBezTo>
                <a:cubicBezTo>
                  <a:pt x="6" y="22"/>
                  <a:pt x="6" y="22"/>
                  <a:pt x="6" y="22"/>
                </a:cubicBezTo>
                <a:cubicBezTo>
                  <a:pt x="7" y="21"/>
                  <a:pt x="7" y="21"/>
                  <a:pt x="7" y="21"/>
                </a:cubicBezTo>
                <a:cubicBezTo>
                  <a:pt x="10" y="19"/>
                  <a:pt x="10" y="19"/>
                  <a:pt x="10" y="19"/>
                </a:cubicBezTo>
                <a:cubicBezTo>
                  <a:pt x="11" y="19"/>
                  <a:pt x="11" y="19"/>
                  <a:pt x="11" y="19"/>
                </a:cubicBezTo>
                <a:cubicBezTo>
                  <a:pt x="12" y="20"/>
                  <a:pt x="12" y="20"/>
                  <a:pt x="12" y="20"/>
                </a:cubicBezTo>
                <a:cubicBezTo>
                  <a:pt x="12" y="21"/>
                  <a:pt x="12" y="21"/>
                  <a:pt x="12" y="21"/>
                </a:cubicBezTo>
                <a:cubicBezTo>
                  <a:pt x="12" y="22"/>
                  <a:pt x="12" y="22"/>
                  <a:pt x="12" y="22"/>
                </a:cubicBezTo>
                <a:cubicBezTo>
                  <a:pt x="11" y="23"/>
                  <a:pt x="11" y="23"/>
                  <a:pt x="11" y="23"/>
                </a:cubicBezTo>
                <a:cubicBezTo>
                  <a:pt x="11" y="23"/>
                  <a:pt x="11" y="23"/>
                  <a:pt x="11" y="23"/>
                </a:cubicBezTo>
                <a:cubicBezTo>
                  <a:pt x="10" y="22"/>
                  <a:pt x="10" y="22"/>
                  <a:pt x="10" y="22"/>
                </a:cubicBezTo>
                <a:cubicBezTo>
                  <a:pt x="10" y="23"/>
                  <a:pt x="10" y="23"/>
                  <a:pt x="10" y="23"/>
                </a:cubicBezTo>
                <a:cubicBezTo>
                  <a:pt x="8" y="24"/>
                  <a:pt x="8" y="24"/>
                  <a:pt x="8" y="24"/>
                </a:cubicBezTo>
                <a:cubicBezTo>
                  <a:pt x="8" y="24"/>
                  <a:pt x="8" y="24"/>
                  <a:pt x="8" y="24"/>
                </a:cubicBezTo>
                <a:cubicBezTo>
                  <a:pt x="8" y="24"/>
                  <a:pt x="8" y="24"/>
                  <a:pt x="8" y="24"/>
                </a:cubicBezTo>
                <a:cubicBezTo>
                  <a:pt x="7" y="25"/>
                  <a:pt x="7" y="25"/>
                  <a:pt x="7" y="25"/>
                </a:cubicBezTo>
                <a:cubicBezTo>
                  <a:pt x="8" y="26"/>
                  <a:pt x="8" y="26"/>
                  <a:pt x="8" y="26"/>
                </a:cubicBezTo>
                <a:cubicBezTo>
                  <a:pt x="9" y="25"/>
                  <a:pt x="9" y="25"/>
                  <a:pt x="9" y="25"/>
                </a:cubicBezTo>
                <a:cubicBezTo>
                  <a:pt x="11" y="24"/>
                  <a:pt x="11" y="24"/>
                  <a:pt x="11" y="24"/>
                </a:cubicBezTo>
                <a:cubicBezTo>
                  <a:pt x="11" y="25"/>
                  <a:pt x="11" y="25"/>
                  <a:pt x="11" y="25"/>
                </a:cubicBezTo>
                <a:cubicBezTo>
                  <a:pt x="11" y="25"/>
                  <a:pt x="11" y="25"/>
                  <a:pt x="11" y="25"/>
                </a:cubicBezTo>
                <a:cubicBezTo>
                  <a:pt x="10" y="26"/>
                  <a:pt x="10" y="26"/>
                  <a:pt x="10" y="26"/>
                </a:cubicBezTo>
                <a:cubicBezTo>
                  <a:pt x="10" y="27"/>
                  <a:pt x="10" y="27"/>
                  <a:pt x="10" y="27"/>
                </a:cubicBezTo>
                <a:cubicBezTo>
                  <a:pt x="11" y="27"/>
                  <a:pt x="11" y="27"/>
                  <a:pt x="11" y="27"/>
                </a:cubicBezTo>
                <a:cubicBezTo>
                  <a:pt x="11" y="26"/>
                  <a:pt x="11" y="26"/>
                  <a:pt x="11" y="26"/>
                </a:cubicBezTo>
                <a:cubicBezTo>
                  <a:pt x="11" y="26"/>
                  <a:pt x="11" y="26"/>
                  <a:pt x="11" y="26"/>
                </a:cubicBezTo>
                <a:cubicBezTo>
                  <a:pt x="12" y="27"/>
                  <a:pt x="12" y="27"/>
                  <a:pt x="12" y="27"/>
                </a:cubicBezTo>
                <a:cubicBezTo>
                  <a:pt x="12" y="28"/>
                  <a:pt x="12" y="28"/>
                  <a:pt x="12" y="28"/>
                </a:cubicBezTo>
                <a:cubicBezTo>
                  <a:pt x="12" y="28"/>
                  <a:pt x="12" y="28"/>
                  <a:pt x="12" y="28"/>
                </a:cubicBezTo>
                <a:cubicBezTo>
                  <a:pt x="13" y="30"/>
                  <a:pt x="13" y="30"/>
                  <a:pt x="13" y="30"/>
                </a:cubicBezTo>
                <a:cubicBezTo>
                  <a:pt x="13" y="31"/>
                  <a:pt x="13" y="31"/>
                  <a:pt x="13" y="31"/>
                </a:cubicBezTo>
                <a:cubicBezTo>
                  <a:pt x="14" y="31"/>
                  <a:pt x="14" y="31"/>
                  <a:pt x="14" y="31"/>
                </a:cubicBezTo>
                <a:cubicBezTo>
                  <a:pt x="13" y="29"/>
                  <a:pt x="13" y="29"/>
                  <a:pt x="13" y="29"/>
                </a:cubicBezTo>
                <a:cubicBezTo>
                  <a:pt x="13" y="28"/>
                  <a:pt x="13" y="28"/>
                  <a:pt x="13" y="28"/>
                </a:cubicBezTo>
                <a:cubicBezTo>
                  <a:pt x="12" y="26"/>
                  <a:pt x="12" y="26"/>
                  <a:pt x="12" y="26"/>
                </a:cubicBezTo>
                <a:cubicBezTo>
                  <a:pt x="13" y="25"/>
                  <a:pt x="13" y="25"/>
                  <a:pt x="13" y="25"/>
                </a:cubicBezTo>
                <a:cubicBezTo>
                  <a:pt x="14" y="23"/>
                  <a:pt x="14" y="23"/>
                  <a:pt x="14" y="23"/>
                </a:cubicBezTo>
                <a:cubicBezTo>
                  <a:pt x="14" y="22"/>
                  <a:pt x="14" y="22"/>
                  <a:pt x="14" y="22"/>
                </a:cubicBezTo>
                <a:cubicBezTo>
                  <a:pt x="15" y="21"/>
                  <a:pt x="15" y="21"/>
                  <a:pt x="15" y="21"/>
                </a:cubicBezTo>
                <a:cubicBezTo>
                  <a:pt x="15" y="21"/>
                  <a:pt x="15" y="21"/>
                  <a:pt x="15" y="21"/>
                </a:cubicBezTo>
                <a:cubicBezTo>
                  <a:pt x="17" y="23"/>
                  <a:pt x="17" y="23"/>
                  <a:pt x="17" y="23"/>
                </a:cubicBezTo>
                <a:cubicBezTo>
                  <a:pt x="18" y="24"/>
                  <a:pt x="18" y="24"/>
                  <a:pt x="18" y="24"/>
                </a:cubicBezTo>
                <a:cubicBezTo>
                  <a:pt x="18" y="24"/>
                  <a:pt x="18" y="24"/>
                  <a:pt x="18" y="24"/>
                </a:cubicBezTo>
                <a:cubicBezTo>
                  <a:pt x="18" y="27"/>
                  <a:pt x="18" y="27"/>
                  <a:pt x="18" y="27"/>
                </a:cubicBezTo>
                <a:cubicBezTo>
                  <a:pt x="19" y="29"/>
                  <a:pt x="19" y="29"/>
                  <a:pt x="19" y="29"/>
                </a:cubicBezTo>
                <a:cubicBezTo>
                  <a:pt x="19" y="30"/>
                  <a:pt x="19" y="30"/>
                  <a:pt x="19" y="30"/>
                </a:cubicBezTo>
                <a:cubicBezTo>
                  <a:pt x="19" y="31"/>
                  <a:pt x="19" y="31"/>
                  <a:pt x="19" y="31"/>
                </a:cubicBezTo>
                <a:cubicBezTo>
                  <a:pt x="18" y="32"/>
                  <a:pt x="18" y="32"/>
                  <a:pt x="18" y="32"/>
                </a:cubicBezTo>
                <a:cubicBezTo>
                  <a:pt x="18" y="32"/>
                  <a:pt x="18" y="32"/>
                  <a:pt x="18" y="32"/>
                </a:cubicBezTo>
                <a:cubicBezTo>
                  <a:pt x="18" y="33"/>
                  <a:pt x="18" y="33"/>
                  <a:pt x="18" y="33"/>
                </a:cubicBezTo>
                <a:cubicBezTo>
                  <a:pt x="19" y="32"/>
                  <a:pt x="19" y="32"/>
                  <a:pt x="19" y="32"/>
                </a:cubicBezTo>
                <a:cubicBezTo>
                  <a:pt x="20" y="32"/>
                  <a:pt x="20" y="32"/>
                  <a:pt x="20" y="32"/>
                </a:cubicBezTo>
                <a:cubicBezTo>
                  <a:pt x="21" y="33"/>
                  <a:pt x="21" y="33"/>
                  <a:pt x="21" y="33"/>
                </a:cubicBezTo>
                <a:cubicBezTo>
                  <a:pt x="22" y="35"/>
                  <a:pt x="22" y="35"/>
                  <a:pt x="22" y="35"/>
                </a:cubicBezTo>
                <a:cubicBezTo>
                  <a:pt x="22" y="36"/>
                  <a:pt x="22" y="36"/>
                  <a:pt x="22" y="36"/>
                </a:cubicBezTo>
                <a:cubicBezTo>
                  <a:pt x="23" y="36"/>
                  <a:pt x="23" y="36"/>
                  <a:pt x="23" y="36"/>
                </a:cubicBezTo>
                <a:cubicBezTo>
                  <a:pt x="23" y="35"/>
                  <a:pt x="23" y="35"/>
                  <a:pt x="23" y="35"/>
                </a:cubicBezTo>
                <a:cubicBezTo>
                  <a:pt x="22" y="33"/>
                  <a:pt x="22" y="33"/>
                  <a:pt x="22" y="33"/>
                </a:cubicBezTo>
                <a:cubicBezTo>
                  <a:pt x="22" y="32"/>
                  <a:pt x="22" y="32"/>
                  <a:pt x="22" y="32"/>
                </a:cubicBezTo>
                <a:cubicBezTo>
                  <a:pt x="21" y="30"/>
                  <a:pt x="21" y="30"/>
                  <a:pt x="21" y="30"/>
                </a:cubicBezTo>
                <a:cubicBezTo>
                  <a:pt x="20" y="29"/>
                  <a:pt x="20" y="29"/>
                  <a:pt x="20" y="29"/>
                </a:cubicBezTo>
                <a:cubicBezTo>
                  <a:pt x="20" y="27"/>
                  <a:pt x="20" y="27"/>
                  <a:pt x="20" y="27"/>
                </a:cubicBezTo>
                <a:cubicBezTo>
                  <a:pt x="20" y="24"/>
                  <a:pt x="20" y="24"/>
                  <a:pt x="20" y="24"/>
                </a:cubicBezTo>
                <a:cubicBezTo>
                  <a:pt x="20" y="23"/>
                  <a:pt x="20" y="23"/>
                  <a:pt x="20" y="23"/>
                </a:cubicBezTo>
                <a:cubicBezTo>
                  <a:pt x="19" y="22"/>
                  <a:pt x="19" y="22"/>
                  <a:pt x="19" y="22"/>
                </a:cubicBezTo>
                <a:cubicBezTo>
                  <a:pt x="20" y="21"/>
                  <a:pt x="20" y="21"/>
                  <a:pt x="20" y="21"/>
                </a:cubicBezTo>
                <a:cubicBezTo>
                  <a:pt x="20" y="20"/>
                  <a:pt x="20" y="20"/>
                  <a:pt x="20" y="20"/>
                </a:cubicBezTo>
                <a:cubicBezTo>
                  <a:pt x="20" y="19"/>
                  <a:pt x="20" y="19"/>
                  <a:pt x="20" y="19"/>
                </a:cubicBezTo>
                <a:cubicBezTo>
                  <a:pt x="20" y="17"/>
                  <a:pt x="20" y="17"/>
                  <a:pt x="20" y="17"/>
                </a:cubicBezTo>
                <a:cubicBezTo>
                  <a:pt x="21" y="16"/>
                  <a:pt x="21" y="16"/>
                  <a:pt x="21" y="16"/>
                </a:cubicBezTo>
                <a:cubicBezTo>
                  <a:pt x="21" y="15"/>
                  <a:pt x="21" y="15"/>
                  <a:pt x="21" y="15"/>
                </a:cubicBezTo>
                <a:cubicBezTo>
                  <a:pt x="22" y="16"/>
                  <a:pt x="22" y="16"/>
                  <a:pt x="22" y="16"/>
                </a:cubicBezTo>
                <a:cubicBezTo>
                  <a:pt x="23" y="17"/>
                  <a:pt x="23" y="17"/>
                  <a:pt x="23" y="17"/>
                </a:cubicBezTo>
                <a:cubicBezTo>
                  <a:pt x="23" y="19"/>
                  <a:pt x="23" y="19"/>
                  <a:pt x="23" y="19"/>
                </a:cubicBezTo>
                <a:cubicBezTo>
                  <a:pt x="24" y="19"/>
                  <a:pt x="24" y="19"/>
                  <a:pt x="24" y="19"/>
                </a:cubicBezTo>
                <a:cubicBezTo>
                  <a:pt x="24" y="18"/>
                  <a:pt x="24" y="18"/>
                  <a:pt x="24" y="18"/>
                </a:cubicBezTo>
                <a:cubicBezTo>
                  <a:pt x="25" y="18"/>
                  <a:pt x="25" y="18"/>
                  <a:pt x="25" y="18"/>
                </a:cubicBezTo>
                <a:cubicBezTo>
                  <a:pt x="26" y="18"/>
                  <a:pt x="26" y="18"/>
                  <a:pt x="26" y="18"/>
                </a:cubicBezTo>
                <a:cubicBezTo>
                  <a:pt x="28" y="20"/>
                  <a:pt x="28" y="20"/>
                  <a:pt x="28" y="20"/>
                </a:cubicBezTo>
                <a:cubicBezTo>
                  <a:pt x="28" y="21"/>
                  <a:pt x="28" y="21"/>
                  <a:pt x="28" y="21"/>
                </a:cubicBezTo>
                <a:cubicBezTo>
                  <a:pt x="28" y="23"/>
                  <a:pt x="28" y="23"/>
                  <a:pt x="28" y="23"/>
                </a:cubicBezTo>
                <a:cubicBezTo>
                  <a:pt x="28" y="23"/>
                  <a:pt x="28" y="23"/>
                  <a:pt x="28" y="23"/>
                </a:cubicBezTo>
                <a:cubicBezTo>
                  <a:pt x="28" y="26"/>
                  <a:pt x="28" y="26"/>
                  <a:pt x="28" y="26"/>
                </a:cubicBezTo>
                <a:cubicBezTo>
                  <a:pt x="28" y="28"/>
                  <a:pt x="28" y="28"/>
                  <a:pt x="28" y="28"/>
                </a:cubicBezTo>
                <a:cubicBezTo>
                  <a:pt x="27" y="28"/>
                  <a:pt x="27" y="28"/>
                  <a:pt x="27" y="28"/>
                </a:cubicBezTo>
                <a:cubicBezTo>
                  <a:pt x="28" y="29"/>
                  <a:pt x="28" y="29"/>
                  <a:pt x="28" y="29"/>
                </a:cubicBezTo>
                <a:cubicBezTo>
                  <a:pt x="29" y="28"/>
                  <a:pt x="29" y="28"/>
                  <a:pt x="29" y="28"/>
                </a:cubicBezTo>
                <a:cubicBezTo>
                  <a:pt x="29" y="26"/>
                  <a:pt x="29" y="26"/>
                  <a:pt x="29" y="26"/>
                </a:cubicBezTo>
                <a:cubicBezTo>
                  <a:pt x="28" y="24"/>
                  <a:pt x="28" y="24"/>
                  <a:pt x="28" y="24"/>
                </a:cubicBezTo>
                <a:cubicBezTo>
                  <a:pt x="29" y="23"/>
                  <a:pt x="29" y="23"/>
                  <a:pt x="29" y="23"/>
                </a:cubicBezTo>
                <a:cubicBezTo>
                  <a:pt x="30" y="22"/>
                  <a:pt x="30" y="22"/>
                  <a:pt x="30" y="22"/>
                </a:cubicBezTo>
                <a:cubicBezTo>
                  <a:pt x="31" y="24"/>
                  <a:pt x="31" y="24"/>
                  <a:pt x="31" y="24"/>
                </a:cubicBezTo>
                <a:cubicBezTo>
                  <a:pt x="32" y="26"/>
                  <a:pt x="32" y="26"/>
                  <a:pt x="32" y="26"/>
                </a:cubicBezTo>
                <a:cubicBezTo>
                  <a:pt x="33" y="29"/>
                  <a:pt x="33" y="29"/>
                  <a:pt x="33" y="29"/>
                </a:cubicBezTo>
                <a:cubicBezTo>
                  <a:pt x="33" y="30"/>
                  <a:pt x="33" y="30"/>
                  <a:pt x="33" y="30"/>
                </a:cubicBezTo>
                <a:cubicBezTo>
                  <a:pt x="34" y="30"/>
                  <a:pt x="34" y="30"/>
                  <a:pt x="34" y="30"/>
                </a:cubicBezTo>
                <a:cubicBezTo>
                  <a:pt x="35" y="31"/>
                  <a:pt x="35" y="31"/>
                  <a:pt x="35" y="31"/>
                </a:cubicBezTo>
                <a:cubicBezTo>
                  <a:pt x="36" y="31"/>
                  <a:pt x="36" y="31"/>
                  <a:pt x="36" y="31"/>
                </a:cubicBezTo>
                <a:cubicBezTo>
                  <a:pt x="37" y="33"/>
                  <a:pt x="37" y="33"/>
                  <a:pt x="37" y="33"/>
                </a:cubicBezTo>
                <a:cubicBezTo>
                  <a:pt x="38" y="33"/>
                  <a:pt x="38" y="33"/>
                  <a:pt x="38" y="33"/>
                </a:cubicBezTo>
                <a:cubicBezTo>
                  <a:pt x="39" y="35"/>
                  <a:pt x="39" y="35"/>
                  <a:pt x="39" y="35"/>
                </a:cubicBezTo>
                <a:cubicBezTo>
                  <a:pt x="41" y="36"/>
                  <a:pt x="41" y="36"/>
                  <a:pt x="41" y="36"/>
                </a:cubicBezTo>
                <a:cubicBezTo>
                  <a:pt x="43" y="36"/>
                  <a:pt x="43" y="36"/>
                  <a:pt x="43" y="36"/>
                </a:cubicBezTo>
                <a:cubicBezTo>
                  <a:pt x="44" y="37"/>
                  <a:pt x="44" y="37"/>
                  <a:pt x="44" y="37"/>
                </a:cubicBezTo>
                <a:cubicBezTo>
                  <a:pt x="44" y="38"/>
                  <a:pt x="44" y="38"/>
                  <a:pt x="44" y="38"/>
                </a:cubicBezTo>
                <a:cubicBezTo>
                  <a:pt x="44" y="39"/>
                  <a:pt x="44" y="39"/>
                  <a:pt x="44" y="39"/>
                </a:cubicBezTo>
                <a:cubicBezTo>
                  <a:pt x="44" y="40"/>
                  <a:pt x="44" y="40"/>
                  <a:pt x="44" y="40"/>
                </a:cubicBezTo>
                <a:cubicBezTo>
                  <a:pt x="43" y="40"/>
                  <a:pt x="43" y="40"/>
                  <a:pt x="43" y="40"/>
                </a:cubicBezTo>
                <a:cubicBezTo>
                  <a:pt x="43" y="39"/>
                  <a:pt x="43" y="39"/>
                  <a:pt x="43" y="39"/>
                </a:cubicBezTo>
                <a:cubicBezTo>
                  <a:pt x="41" y="39"/>
                  <a:pt x="41" y="39"/>
                  <a:pt x="41" y="39"/>
                </a:cubicBezTo>
                <a:cubicBezTo>
                  <a:pt x="41" y="39"/>
                  <a:pt x="41" y="39"/>
                  <a:pt x="41" y="39"/>
                </a:cubicBezTo>
                <a:cubicBezTo>
                  <a:pt x="39" y="40"/>
                  <a:pt x="39" y="40"/>
                  <a:pt x="39" y="40"/>
                </a:cubicBezTo>
                <a:cubicBezTo>
                  <a:pt x="38" y="40"/>
                  <a:pt x="38" y="40"/>
                  <a:pt x="38" y="40"/>
                </a:cubicBezTo>
                <a:cubicBezTo>
                  <a:pt x="37" y="41"/>
                  <a:pt x="37" y="41"/>
                  <a:pt x="37" y="41"/>
                </a:cubicBezTo>
                <a:cubicBezTo>
                  <a:pt x="38" y="42"/>
                  <a:pt x="38" y="42"/>
                  <a:pt x="38" y="42"/>
                </a:cubicBezTo>
                <a:cubicBezTo>
                  <a:pt x="38" y="42"/>
                  <a:pt x="38" y="42"/>
                  <a:pt x="38" y="42"/>
                </a:cubicBezTo>
                <a:cubicBezTo>
                  <a:pt x="36" y="43"/>
                  <a:pt x="36" y="43"/>
                  <a:pt x="36" y="43"/>
                </a:cubicBezTo>
                <a:cubicBezTo>
                  <a:pt x="36" y="44"/>
                  <a:pt x="36" y="44"/>
                  <a:pt x="36" y="44"/>
                </a:cubicBezTo>
                <a:cubicBezTo>
                  <a:pt x="36" y="46"/>
                  <a:pt x="36" y="46"/>
                  <a:pt x="36" y="46"/>
                </a:cubicBezTo>
                <a:cubicBezTo>
                  <a:pt x="37" y="48"/>
                  <a:pt x="37" y="48"/>
                  <a:pt x="37" y="48"/>
                </a:cubicBezTo>
                <a:cubicBezTo>
                  <a:pt x="36" y="49"/>
                  <a:pt x="36" y="49"/>
                  <a:pt x="36" y="49"/>
                </a:cubicBezTo>
                <a:cubicBezTo>
                  <a:pt x="36" y="50"/>
                  <a:pt x="36" y="50"/>
                  <a:pt x="36" y="50"/>
                </a:cubicBezTo>
                <a:cubicBezTo>
                  <a:pt x="37" y="51"/>
                  <a:pt x="37" y="51"/>
                  <a:pt x="37" y="51"/>
                </a:cubicBezTo>
                <a:cubicBezTo>
                  <a:pt x="36" y="52"/>
                  <a:pt x="36" y="52"/>
                  <a:pt x="36" y="52"/>
                </a:cubicBezTo>
                <a:cubicBezTo>
                  <a:pt x="35" y="51"/>
                  <a:pt x="35" y="51"/>
                  <a:pt x="35" y="51"/>
                </a:cubicBezTo>
                <a:cubicBezTo>
                  <a:pt x="34" y="52"/>
                  <a:pt x="34" y="52"/>
                  <a:pt x="34" y="52"/>
                </a:cubicBezTo>
                <a:cubicBezTo>
                  <a:pt x="34" y="53"/>
                  <a:pt x="34" y="53"/>
                  <a:pt x="34" y="53"/>
                </a:cubicBezTo>
                <a:cubicBezTo>
                  <a:pt x="35" y="54"/>
                  <a:pt x="35" y="54"/>
                  <a:pt x="35" y="54"/>
                </a:cubicBezTo>
                <a:cubicBezTo>
                  <a:pt x="35" y="56"/>
                  <a:pt x="35" y="56"/>
                  <a:pt x="35" y="56"/>
                </a:cubicBezTo>
                <a:cubicBezTo>
                  <a:pt x="35" y="57"/>
                  <a:pt x="35" y="57"/>
                  <a:pt x="35" y="57"/>
                </a:cubicBezTo>
                <a:cubicBezTo>
                  <a:pt x="35" y="59"/>
                  <a:pt x="35" y="59"/>
                  <a:pt x="35" y="59"/>
                </a:cubicBezTo>
                <a:cubicBezTo>
                  <a:pt x="35" y="60"/>
                  <a:pt x="35" y="60"/>
                  <a:pt x="35" y="60"/>
                </a:cubicBezTo>
                <a:cubicBezTo>
                  <a:pt x="34" y="60"/>
                  <a:pt x="34" y="60"/>
                  <a:pt x="34" y="60"/>
                </a:cubicBezTo>
                <a:cubicBezTo>
                  <a:pt x="33" y="60"/>
                  <a:pt x="33" y="60"/>
                  <a:pt x="33" y="60"/>
                </a:cubicBezTo>
                <a:cubicBezTo>
                  <a:pt x="32" y="61"/>
                  <a:pt x="32" y="61"/>
                  <a:pt x="32" y="61"/>
                </a:cubicBezTo>
                <a:cubicBezTo>
                  <a:pt x="33" y="61"/>
                  <a:pt x="33" y="61"/>
                  <a:pt x="33" y="61"/>
                </a:cubicBezTo>
                <a:cubicBezTo>
                  <a:pt x="33" y="62"/>
                  <a:pt x="33" y="62"/>
                  <a:pt x="33" y="62"/>
                </a:cubicBezTo>
                <a:cubicBezTo>
                  <a:pt x="32" y="63"/>
                  <a:pt x="32" y="63"/>
                  <a:pt x="32" y="63"/>
                </a:cubicBezTo>
                <a:cubicBezTo>
                  <a:pt x="32" y="64"/>
                  <a:pt x="32" y="64"/>
                  <a:pt x="32" y="64"/>
                </a:cubicBezTo>
                <a:cubicBezTo>
                  <a:pt x="32" y="65"/>
                  <a:pt x="32" y="65"/>
                  <a:pt x="32" y="65"/>
                </a:cubicBezTo>
                <a:cubicBezTo>
                  <a:pt x="32" y="68"/>
                  <a:pt x="32" y="68"/>
                  <a:pt x="32" y="68"/>
                </a:cubicBezTo>
                <a:cubicBezTo>
                  <a:pt x="31" y="70"/>
                  <a:pt x="31" y="70"/>
                  <a:pt x="31" y="70"/>
                </a:cubicBezTo>
                <a:cubicBezTo>
                  <a:pt x="31" y="70"/>
                  <a:pt x="31" y="70"/>
                  <a:pt x="31" y="70"/>
                </a:cubicBezTo>
                <a:cubicBezTo>
                  <a:pt x="31" y="72"/>
                  <a:pt x="31" y="72"/>
                  <a:pt x="31" y="72"/>
                </a:cubicBezTo>
                <a:cubicBezTo>
                  <a:pt x="32" y="73"/>
                  <a:pt x="32" y="73"/>
                  <a:pt x="32" y="73"/>
                </a:cubicBezTo>
                <a:cubicBezTo>
                  <a:pt x="31" y="74"/>
                  <a:pt x="31" y="74"/>
                  <a:pt x="31" y="74"/>
                </a:cubicBezTo>
                <a:cubicBezTo>
                  <a:pt x="31" y="74"/>
                  <a:pt x="31" y="74"/>
                  <a:pt x="31" y="74"/>
                </a:cubicBezTo>
                <a:cubicBezTo>
                  <a:pt x="31" y="76"/>
                  <a:pt x="31" y="76"/>
                  <a:pt x="31" y="76"/>
                </a:cubicBezTo>
                <a:cubicBezTo>
                  <a:pt x="30" y="77"/>
                  <a:pt x="30" y="77"/>
                  <a:pt x="30" y="77"/>
                </a:cubicBezTo>
                <a:cubicBezTo>
                  <a:pt x="29" y="77"/>
                  <a:pt x="29" y="77"/>
                  <a:pt x="29" y="77"/>
                </a:cubicBezTo>
                <a:close/>
                <a:moveTo>
                  <a:pt x="43" y="109"/>
                </a:moveTo>
                <a:cubicBezTo>
                  <a:pt x="44" y="108"/>
                  <a:pt x="44" y="108"/>
                  <a:pt x="44" y="108"/>
                </a:cubicBezTo>
                <a:cubicBezTo>
                  <a:pt x="44" y="107"/>
                  <a:pt x="44" y="107"/>
                  <a:pt x="44" y="107"/>
                </a:cubicBezTo>
                <a:cubicBezTo>
                  <a:pt x="43" y="106"/>
                  <a:pt x="43" y="106"/>
                  <a:pt x="43" y="106"/>
                </a:cubicBezTo>
                <a:cubicBezTo>
                  <a:pt x="42" y="106"/>
                  <a:pt x="42" y="106"/>
                  <a:pt x="42" y="106"/>
                </a:cubicBezTo>
                <a:cubicBezTo>
                  <a:pt x="42" y="106"/>
                  <a:pt x="42" y="106"/>
                  <a:pt x="42" y="106"/>
                </a:cubicBezTo>
                <a:cubicBezTo>
                  <a:pt x="42" y="107"/>
                  <a:pt x="42" y="107"/>
                  <a:pt x="42" y="107"/>
                </a:cubicBezTo>
                <a:cubicBezTo>
                  <a:pt x="43" y="108"/>
                  <a:pt x="43" y="108"/>
                  <a:pt x="43" y="108"/>
                </a:cubicBezTo>
                <a:cubicBezTo>
                  <a:pt x="43" y="109"/>
                  <a:pt x="43" y="109"/>
                  <a:pt x="43" y="109"/>
                </a:cubicBez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5" name="Freeform 13">
            <a:extLst>
              <a:ext uri="{FF2B5EF4-FFF2-40B4-BE49-F238E27FC236}">
                <a16:creationId xmlns:a16="http://schemas.microsoft.com/office/drawing/2014/main" id="{0D2C7C60-2ABD-92F1-C615-52E82675E27C}"/>
              </a:ext>
            </a:extLst>
          </p:cNvPr>
          <p:cNvSpPr>
            <a:spLocks noEditPoints="1"/>
          </p:cNvSpPr>
          <p:nvPr userDrawn="1"/>
        </p:nvSpPr>
        <p:spPr bwMode="auto">
          <a:xfrm>
            <a:off x="20810767" y="5860331"/>
            <a:ext cx="981014" cy="1898650"/>
          </a:xfrm>
          <a:custGeom>
            <a:avLst/>
            <a:gdLst>
              <a:gd name="T0" fmla="*/ 128 w 309"/>
              <a:gd name="T1" fmla="*/ 288 h 598"/>
              <a:gd name="T2" fmla="*/ 12 w 309"/>
              <a:gd name="T3" fmla="*/ 591 h 598"/>
              <a:gd name="T4" fmla="*/ 68 w 309"/>
              <a:gd name="T5" fmla="*/ 544 h 598"/>
              <a:gd name="T6" fmla="*/ 68 w 309"/>
              <a:gd name="T7" fmla="*/ 544 h 598"/>
              <a:gd name="T8" fmla="*/ 90 w 309"/>
              <a:gd name="T9" fmla="*/ 497 h 598"/>
              <a:gd name="T10" fmla="*/ 93 w 309"/>
              <a:gd name="T11" fmla="*/ 497 h 598"/>
              <a:gd name="T12" fmla="*/ 215 w 309"/>
              <a:gd name="T13" fmla="*/ 125 h 598"/>
              <a:gd name="T14" fmla="*/ 206 w 309"/>
              <a:gd name="T15" fmla="*/ 84 h 598"/>
              <a:gd name="T16" fmla="*/ 222 w 309"/>
              <a:gd name="T17" fmla="*/ 72 h 598"/>
              <a:gd name="T18" fmla="*/ 222 w 309"/>
              <a:gd name="T19" fmla="*/ 44 h 598"/>
              <a:gd name="T20" fmla="*/ 219 w 309"/>
              <a:gd name="T21" fmla="*/ 0 h 598"/>
              <a:gd name="T22" fmla="*/ 272 w 309"/>
              <a:gd name="T23" fmla="*/ 41 h 598"/>
              <a:gd name="T24" fmla="*/ 294 w 309"/>
              <a:gd name="T25" fmla="*/ 47 h 598"/>
              <a:gd name="T26" fmla="*/ 306 w 309"/>
              <a:gd name="T27" fmla="*/ 63 h 598"/>
              <a:gd name="T28" fmla="*/ 275 w 309"/>
              <a:gd name="T29" fmla="*/ 88 h 598"/>
              <a:gd name="T30" fmla="*/ 240 w 309"/>
              <a:gd name="T31" fmla="*/ 88 h 598"/>
              <a:gd name="T32" fmla="*/ 225 w 309"/>
              <a:gd name="T33" fmla="*/ 100 h 598"/>
              <a:gd name="T34" fmla="*/ 219 w 309"/>
              <a:gd name="T35" fmla="*/ 128 h 598"/>
              <a:gd name="T36" fmla="*/ 215 w 309"/>
              <a:gd name="T37" fmla="*/ 225 h 598"/>
              <a:gd name="T38" fmla="*/ 68 w 309"/>
              <a:gd name="T39" fmla="*/ 369 h 598"/>
              <a:gd name="T40" fmla="*/ 62 w 309"/>
              <a:gd name="T41" fmla="*/ 379 h 598"/>
              <a:gd name="T42" fmla="*/ 59 w 309"/>
              <a:gd name="T43" fmla="*/ 385 h 598"/>
              <a:gd name="T44" fmla="*/ 87 w 309"/>
              <a:gd name="T45" fmla="*/ 394 h 598"/>
              <a:gd name="T46" fmla="*/ 84 w 309"/>
              <a:gd name="T47" fmla="*/ 385 h 598"/>
              <a:gd name="T48" fmla="*/ 156 w 309"/>
              <a:gd name="T49" fmla="*/ 332 h 598"/>
              <a:gd name="T50" fmla="*/ 144 w 309"/>
              <a:gd name="T51" fmla="*/ 372 h 598"/>
              <a:gd name="T52" fmla="*/ 172 w 309"/>
              <a:gd name="T53" fmla="*/ 344 h 598"/>
              <a:gd name="T54" fmla="*/ 137 w 309"/>
              <a:gd name="T55" fmla="*/ 347 h 598"/>
              <a:gd name="T56" fmla="*/ 137 w 309"/>
              <a:gd name="T57" fmla="*/ 372 h 598"/>
              <a:gd name="T58" fmla="*/ 115 w 309"/>
              <a:gd name="T59" fmla="*/ 435 h 598"/>
              <a:gd name="T60" fmla="*/ 112 w 309"/>
              <a:gd name="T61" fmla="*/ 413 h 598"/>
              <a:gd name="T62" fmla="*/ 122 w 309"/>
              <a:gd name="T63" fmla="*/ 372 h 598"/>
              <a:gd name="T64" fmla="*/ 106 w 309"/>
              <a:gd name="T65" fmla="*/ 357 h 598"/>
              <a:gd name="T66" fmla="*/ 122 w 309"/>
              <a:gd name="T67" fmla="*/ 335 h 598"/>
              <a:gd name="T68" fmla="*/ 156 w 309"/>
              <a:gd name="T69" fmla="*/ 325 h 598"/>
              <a:gd name="T70" fmla="*/ 175 w 309"/>
              <a:gd name="T71" fmla="*/ 344 h 598"/>
              <a:gd name="T72" fmla="*/ 203 w 309"/>
              <a:gd name="T73" fmla="*/ 332 h 598"/>
              <a:gd name="T74" fmla="*/ 206 w 309"/>
              <a:gd name="T75" fmla="*/ 319 h 598"/>
              <a:gd name="T76" fmla="*/ 219 w 309"/>
              <a:gd name="T77" fmla="*/ 319 h 598"/>
              <a:gd name="T78" fmla="*/ 247 w 309"/>
              <a:gd name="T79" fmla="*/ 316 h 598"/>
              <a:gd name="T80" fmla="*/ 259 w 309"/>
              <a:gd name="T81" fmla="*/ 300 h 598"/>
              <a:gd name="T82" fmla="*/ 272 w 309"/>
              <a:gd name="T83" fmla="*/ 278 h 598"/>
              <a:gd name="T84" fmla="*/ 275 w 309"/>
              <a:gd name="T85" fmla="*/ 213 h 598"/>
              <a:gd name="T86" fmla="*/ 272 w 309"/>
              <a:gd name="T87" fmla="*/ 181 h 598"/>
              <a:gd name="T88" fmla="*/ 244 w 309"/>
              <a:gd name="T89" fmla="*/ 125 h 598"/>
              <a:gd name="T90" fmla="*/ 244 w 309"/>
              <a:gd name="T91" fmla="*/ 135 h 598"/>
              <a:gd name="T92" fmla="*/ 225 w 309"/>
              <a:gd name="T93" fmla="*/ 131 h 598"/>
              <a:gd name="T94" fmla="*/ 219 w 309"/>
              <a:gd name="T95" fmla="*/ 169 h 598"/>
              <a:gd name="T96" fmla="*/ 222 w 309"/>
              <a:gd name="T97" fmla="*/ 235 h 598"/>
              <a:gd name="T98" fmla="*/ 194 w 309"/>
              <a:gd name="T99" fmla="*/ 247 h 598"/>
              <a:gd name="T100" fmla="*/ 181 w 309"/>
              <a:gd name="T101" fmla="*/ 278 h 598"/>
              <a:gd name="T102" fmla="*/ 172 w 309"/>
              <a:gd name="T103" fmla="*/ 300 h 598"/>
              <a:gd name="T104" fmla="*/ 134 w 309"/>
              <a:gd name="T105" fmla="*/ 303 h 598"/>
              <a:gd name="T106" fmla="*/ 93 w 309"/>
              <a:gd name="T107" fmla="*/ 338 h 598"/>
              <a:gd name="T108" fmla="*/ 75 w 309"/>
              <a:gd name="T109" fmla="*/ 366 h 598"/>
              <a:gd name="T110" fmla="*/ 78 w 309"/>
              <a:gd name="T111" fmla="*/ 382 h 598"/>
              <a:gd name="T112" fmla="*/ 84 w 309"/>
              <a:gd name="T113" fmla="*/ 372 h 598"/>
              <a:gd name="T114" fmla="*/ 93 w 309"/>
              <a:gd name="T115" fmla="*/ 410 h 598"/>
              <a:gd name="T116" fmla="*/ 106 w 309"/>
              <a:gd name="T117" fmla="*/ 407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9" h="598">
                <a:moveTo>
                  <a:pt x="125" y="288"/>
                </a:moveTo>
                <a:lnTo>
                  <a:pt x="125" y="288"/>
                </a:lnTo>
                <a:lnTo>
                  <a:pt x="125" y="291"/>
                </a:lnTo>
                <a:lnTo>
                  <a:pt x="125" y="288"/>
                </a:lnTo>
                <a:lnTo>
                  <a:pt x="125" y="288"/>
                </a:lnTo>
                <a:lnTo>
                  <a:pt x="125" y="288"/>
                </a:lnTo>
                <a:close/>
                <a:moveTo>
                  <a:pt x="128" y="288"/>
                </a:moveTo>
                <a:lnTo>
                  <a:pt x="128" y="285"/>
                </a:lnTo>
                <a:lnTo>
                  <a:pt x="128" y="282"/>
                </a:lnTo>
                <a:lnTo>
                  <a:pt x="131" y="282"/>
                </a:lnTo>
                <a:lnTo>
                  <a:pt x="131" y="285"/>
                </a:lnTo>
                <a:lnTo>
                  <a:pt x="128" y="288"/>
                </a:lnTo>
                <a:lnTo>
                  <a:pt x="128" y="288"/>
                </a:lnTo>
                <a:lnTo>
                  <a:pt x="128" y="288"/>
                </a:lnTo>
                <a:close/>
                <a:moveTo>
                  <a:pt x="6" y="598"/>
                </a:moveTo>
                <a:lnTo>
                  <a:pt x="3" y="594"/>
                </a:lnTo>
                <a:lnTo>
                  <a:pt x="0" y="594"/>
                </a:lnTo>
                <a:lnTo>
                  <a:pt x="0" y="598"/>
                </a:lnTo>
                <a:lnTo>
                  <a:pt x="3" y="598"/>
                </a:lnTo>
                <a:lnTo>
                  <a:pt x="6" y="598"/>
                </a:lnTo>
                <a:lnTo>
                  <a:pt x="6" y="598"/>
                </a:lnTo>
                <a:close/>
                <a:moveTo>
                  <a:pt x="6" y="591"/>
                </a:moveTo>
                <a:lnTo>
                  <a:pt x="9" y="591"/>
                </a:lnTo>
                <a:lnTo>
                  <a:pt x="12" y="591"/>
                </a:lnTo>
                <a:lnTo>
                  <a:pt x="9" y="594"/>
                </a:lnTo>
                <a:lnTo>
                  <a:pt x="9" y="594"/>
                </a:lnTo>
                <a:lnTo>
                  <a:pt x="6" y="591"/>
                </a:lnTo>
                <a:lnTo>
                  <a:pt x="6" y="591"/>
                </a:lnTo>
                <a:close/>
                <a:moveTo>
                  <a:pt x="25" y="579"/>
                </a:moveTo>
                <a:lnTo>
                  <a:pt x="25" y="582"/>
                </a:lnTo>
                <a:lnTo>
                  <a:pt x="28" y="585"/>
                </a:lnTo>
                <a:lnTo>
                  <a:pt x="28" y="585"/>
                </a:lnTo>
                <a:lnTo>
                  <a:pt x="31" y="582"/>
                </a:lnTo>
                <a:lnTo>
                  <a:pt x="25" y="579"/>
                </a:lnTo>
                <a:lnTo>
                  <a:pt x="25" y="579"/>
                </a:lnTo>
                <a:close/>
                <a:moveTo>
                  <a:pt x="68" y="544"/>
                </a:moveTo>
                <a:lnTo>
                  <a:pt x="65" y="538"/>
                </a:lnTo>
                <a:lnTo>
                  <a:pt x="72" y="538"/>
                </a:lnTo>
                <a:lnTo>
                  <a:pt x="72" y="535"/>
                </a:lnTo>
                <a:lnTo>
                  <a:pt x="68" y="535"/>
                </a:lnTo>
                <a:lnTo>
                  <a:pt x="75" y="532"/>
                </a:lnTo>
                <a:lnTo>
                  <a:pt x="75" y="529"/>
                </a:lnTo>
                <a:lnTo>
                  <a:pt x="78" y="532"/>
                </a:lnTo>
                <a:lnTo>
                  <a:pt x="75" y="535"/>
                </a:lnTo>
                <a:lnTo>
                  <a:pt x="75" y="538"/>
                </a:lnTo>
                <a:lnTo>
                  <a:pt x="72" y="541"/>
                </a:lnTo>
                <a:lnTo>
                  <a:pt x="72" y="544"/>
                </a:lnTo>
                <a:lnTo>
                  <a:pt x="68" y="544"/>
                </a:lnTo>
                <a:lnTo>
                  <a:pt x="68" y="544"/>
                </a:lnTo>
                <a:close/>
                <a:moveTo>
                  <a:pt x="87" y="504"/>
                </a:moveTo>
                <a:lnTo>
                  <a:pt x="87" y="507"/>
                </a:lnTo>
                <a:lnTo>
                  <a:pt x="90" y="510"/>
                </a:lnTo>
                <a:lnTo>
                  <a:pt x="87" y="510"/>
                </a:lnTo>
                <a:lnTo>
                  <a:pt x="84" y="510"/>
                </a:lnTo>
                <a:lnTo>
                  <a:pt x="84" y="507"/>
                </a:lnTo>
                <a:lnTo>
                  <a:pt x="87" y="504"/>
                </a:lnTo>
                <a:lnTo>
                  <a:pt x="87" y="504"/>
                </a:lnTo>
                <a:close/>
                <a:moveTo>
                  <a:pt x="93" y="497"/>
                </a:moveTo>
                <a:lnTo>
                  <a:pt x="93" y="497"/>
                </a:lnTo>
                <a:lnTo>
                  <a:pt x="90" y="497"/>
                </a:lnTo>
                <a:lnTo>
                  <a:pt x="87" y="494"/>
                </a:lnTo>
                <a:lnTo>
                  <a:pt x="90" y="494"/>
                </a:lnTo>
                <a:lnTo>
                  <a:pt x="93" y="491"/>
                </a:lnTo>
                <a:lnTo>
                  <a:pt x="93" y="491"/>
                </a:lnTo>
                <a:lnTo>
                  <a:pt x="93" y="491"/>
                </a:lnTo>
                <a:lnTo>
                  <a:pt x="97" y="488"/>
                </a:lnTo>
                <a:lnTo>
                  <a:pt x="97" y="488"/>
                </a:lnTo>
                <a:lnTo>
                  <a:pt x="100" y="488"/>
                </a:lnTo>
                <a:lnTo>
                  <a:pt x="100" y="491"/>
                </a:lnTo>
                <a:lnTo>
                  <a:pt x="97" y="494"/>
                </a:lnTo>
                <a:lnTo>
                  <a:pt x="93" y="497"/>
                </a:lnTo>
                <a:lnTo>
                  <a:pt x="93" y="497"/>
                </a:lnTo>
                <a:lnTo>
                  <a:pt x="93" y="497"/>
                </a:lnTo>
                <a:close/>
                <a:moveTo>
                  <a:pt x="197" y="106"/>
                </a:moveTo>
                <a:lnTo>
                  <a:pt x="194" y="106"/>
                </a:lnTo>
                <a:lnTo>
                  <a:pt x="194" y="103"/>
                </a:lnTo>
                <a:lnTo>
                  <a:pt x="197" y="100"/>
                </a:lnTo>
                <a:lnTo>
                  <a:pt x="200" y="100"/>
                </a:lnTo>
                <a:lnTo>
                  <a:pt x="197" y="103"/>
                </a:lnTo>
                <a:lnTo>
                  <a:pt x="197" y="106"/>
                </a:lnTo>
                <a:lnTo>
                  <a:pt x="197" y="106"/>
                </a:lnTo>
                <a:lnTo>
                  <a:pt x="197" y="106"/>
                </a:lnTo>
                <a:close/>
                <a:moveTo>
                  <a:pt x="219" y="128"/>
                </a:moveTo>
                <a:lnTo>
                  <a:pt x="215" y="125"/>
                </a:lnTo>
                <a:lnTo>
                  <a:pt x="215" y="122"/>
                </a:lnTo>
                <a:lnTo>
                  <a:pt x="215" y="122"/>
                </a:lnTo>
                <a:lnTo>
                  <a:pt x="215" y="113"/>
                </a:lnTo>
                <a:lnTo>
                  <a:pt x="212" y="106"/>
                </a:lnTo>
                <a:lnTo>
                  <a:pt x="209" y="103"/>
                </a:lnTo>
                <a:lnTo>
                  <a:pt x="206" y="103"/>
                </a:lnTo>
                <a:lnTo>
                  <a:pt x="203" y="103"/>
                </a:lnTo>
                <a:lnTo>
                  <a:pt x="203" y="100"/>
                </a:lnTo>
                <a:lnTo>
                  <a:pt x="203" y="94"/>
                </a:lnTo>
                <a:lnTo>
                  <a:pt x="203" y="91"/>
                </a:lnTo>
                <a:lnTo>
                  <a:pt x="203" y="88"/>
                </a:lnTo>
                <a:lnTo>
                  <a:pt x="206" y="84"/>
                </a:lnTo>
                <a:lnTo>
                  <a:pt x="206" y="84"/>
                </a:lnTo>
                <a:lnTo>
                  <a:pt x="209" y="84"/>
                </a:lnTo>
                <a:lnTo>
                  <a:pt x="212" y="78"/>
                </a:lnTo>
                <a:lnTo>
                  <a:pt x="212" y="78"/>
                </a:lnTo>
                <a:lnTo>
                  <a:pt x="212" y="75"/>
                </a:lnTo>
                <a:lnTo>
                  <a:pt x="209" y="72"/>
                </a:lnTo>
                <a:lnTo>
                  <a:pt x="206" y="72"/>
                </a:lnTo>
                <a:lnTo>
                  <a:pt x="206" y="72"/>
                </a:lnTo>
                <a:lnTo>
                  <a:pt x="206" y="69"/>
                </a:lnTo>
                <a:lnTo>
                  <a:pt x="209" y="69"/>
                </a:lnTo>
                <a:lnTo>
                  <a:pt x="215" y="72"/>
                </a:lnTo>
                <a:lnTo>
                  <a:pt x="222" y="72"/>
                </a:lnTo>
                <a:lnTo>
                  <a:pt x="225" y="69"/>
                </a:lnTo>
                <a:lnTo>
                  <a:pt x="225" y="66"/>
                </a:lnTo>
                <a:lnTo>
                  <a:pt x="225" y="66"/>
                </a:lnTo>
                <a:lnTo>
                  <a:pt x="225" y="63"/>
                </a:lnTo>
                <a:lnTo>
                  <a:pt x="225" y="63"/>
                </a:lnTo>
                <a:lnTo>
                  <a:pt x="222" y="59"/>
                </a:lnTo>
                <a:lnTo>
                  <a:pt x="222" y="56"/>
                </a:lnTo>
                <a:lnTo>
                  <a:pt x="219" y="53"/>
                </a:lnTo>
                <a:lnTo>
                  <a:pt x="222" y="50"/>
                </a:lnTo>
                <a:lnTo>
                  <a:pt x="225" y="50"/>
                </a:lnTo>
                <a:lnTo>
                  <a:pt x="225" y="47"/>
                </a:lnTo>
                <a:lnTo>
                  <a:pt x="222" y="44"/>
                </a:lnTo>
                <a:lnTo>
                  <a:pt x="222" y="38"/>
                </a:lnTo>
                <a:lnTo>
                  <a:pt x="222" y="34"/>
                </a:lnTo>
                <a:lnTo>
                  <a:pt x="222" y="28"/>
                </a:lnTo>
                <a:lnTo>
                  <a:pt x="219" y="25"/>
                </a:lnTo>
                <a:lnTo>
                  <a:pt x="212" y="13"/>
                </a:lnTo>
                <a:lnTo>
                  <a:pt x="212" y="9"/>
                </a:lnTo>
                <a:lnTo>
                  <a:pt x="209" y="6"/>
                </a:lnTo>
                <a:lnTo>
                  <a:pt x="212" y="3"/>
                </a:lnTo>
                <a:lnTo>
                  <a:pt x="212" y="3"/>
                </a:lnTo>
                <a:lnTo>
                  <a:pt x="215" y="3"/>
                </a:lnTo>
                <a:lnTo>
                  <a:pt x="215" y="0"/>
                </a:lnTo>
                <a:lnTo>
                  <a:pt x="219" y="0"/>
                </a:lnTo>
                <a:lnTo>
                  <a:pt x="219" y="3"/>
                </a:lnTo>
                <a:lnTo>
                  <a:pt x="228" y="9"/>
                </a:lnTo>
                <a:lnTo>
                  <a:pt x="231" y="9"/>
                </a:lnTo>
                <a:lnTo>
                  <a:pt x="234" y="16"/>
                </a:lnTo>
                <a:lnTo>
                  <a:pt x="244" y="25"/>
                </a:lnTo>
                <a:lnTo>
                  <a:pt x="250" y="28"/>
                </a:lnTo>
                <a:lnTo>
                  <a:pt x="250" y="31"/>
                </a:lnTo>
                <a:lnTo>
                  <a:pt x="253" y="31"/>
                </a:lnTo>
                <a:lnTo>
                  <a:pt x="256" y="34"/>
                </a:lnTo>
                <a:lnTo>
                  <a:pt x="262" y="38"/>
                </a:lnTo>
                <a:lnTo>
                  <a:pt x="269" y="38"/>
                </a:lnTo>
                <a:lnTo>
                  <a:pt x="272" y="41"/>
                </a:lnTo>
                <a:lnTo>
                  <a:pt x="275" y="41"/>
                </a:lnTo>
                <a:lnTo>
                  <a:pt x="275" y="41"/>
                </a:lnTo>
                <a:lnTo>
                  <a:pt x="281" y="41"/>
                </a:lnTo>
                <a:lnTo>
                  <a:pt x="287" y="38"/>
                </a:lnTo>
                <a:lnTo>
                  <a:pt x="290" y="34"/>
                </a:lnTo>
                <a:lnTo>
                  <a:pt x="290" y="28"/>
                </a:lnTo>
                <a:lnTo>
                  <a:pt x="294" y="28"/>
                </a:lnTo>
                <a:lnTo>
                  <a:pt x="294" y="31"/>
                </a:lnTo>
                <a:lnTo>
                  <a:pt x="294" y="34"/>
                </a:lnTo>
                <a:lnTo>
                  <a:pt x="290" y="41"/>
                </a:lnTo>
                <a:lnTo>
                  <a:pt x="290" y="44"/>
                </a:lnTo>
                <a:lnTo>
                  <a:pt x="294" y="47"/>
                </a:lnTo>
                <a:lnTo>
                  <a:pt x="297" y="50"/>
                </a:lnTo>
                <a:lnTo>
                  <a:pt x="300" y="53"/>
                </a:lnTo>
                <a:lnTo>
                  <a:pt x="300" y="56"/>
                </a:lnTo>
                <a:lnTo>
                  <a:pt x="300" y="59"/>
                </a:lnTo>
                <a:lnTo>
                  <a:pt x="303" y="59"/>
                </a:lnTo>
                <a:lnTo>
                  <a:pt x="306" y="56"/>
                </a:lnTo>
                <a:lnTo>
                  <a:pt x="309" y="53"/>
                </a:lnTo>
                <a:lnTo>
                  <a:pt x="309" y="53"/>
                </a:lnTo>
                <a:lnTo>
                  <a:pt x="309" y="56"/>
                </a:lnTo>
                <a:lnTo>
                  <a:pt x="306" y="56"/>
                </a:lnTo>
                <a:lnTo>
                  <a:pt x="306" y="59"/>
                </a:lnTo>
                <a:lnTo>
                  <a:pt x="306" y="63"/>
                </a:lnTo>
                <a:lnTo>
                  <a:pt x="300" y="63"/>
                </a:lnTo>
                <a:lnTo>
                  <a:pt x="300" y="66"/>
                </a:lnTo>
                <a:lnTo>
                  <a:pt x="300" y="69"/>
                </a:lnTo>
                <a:lnTo>
                  <a:pt x="297" y="69"/>
                </a:lnTo>
                <a:lnTo>
                  <a:pt x="294" y="69"/>
                </a:lnTo>
                <a:lnTo>
                  <a:pt x="294" y="69"/>
                </a:lnTo>
                <a:lnTo>
                  <a:pt x="294" y="72"/>
                </a:lnTo>
                <a:lnTo>
                  <a:pt x="287" y="72"/>
                </a:lnTo>
                <a:lnTo>
                  <a:pt x="284" y="72"/>
                </a:lnTo>
                <a:lnTo>
                  <a:pt x="281" y="72"/>
                </a:lnTo>
                <a:lnTo>
                  <a:pt x="275" y="78"/>
                </a:lnTo>
                <a:lnTo>
                  <a:pt x="275" y="88"/>
                </a:lnTo>
                <a:lnTo>
                  <a:pt x="272" y="94"/>
                </a:lnTo>
                <a:lnTo>
                  <a:pt x="275" y="97"/>
                </a:lnTo>
                <a:lnTo>
                  <a:pt x="272" y="100"/>
                </a:lnTo>
                <a:lnTo>
                  <a:pt x="272" y="103"/>
                </a:lnTo>
                <a:lnTo>
                  <a:pt x="269" y="103"/>
                </a:lnTo>
                <a:lnTo>
                  <a:pt x="269" y="100"/>
                </a:lnTo>
                <a:lnTo>
                  <a:pt x="262" y="97"/>
                </a:lnTo>
                <a:lnTo>
                  <a:pt x="256" y="94"/>
                </a:lnTo>
                <a:lnTo>
                  <a:pt x="250" y="91"/>
                </a:lnTo>
                <a:lnTo>
                  <a:pt x="247" y="88"/>
                </a:lnTo>
                <a:lnTo>
                  <a:pt x="244" y="88"/>
                </a:lnTo>
                <a:lnTo>
                  <a:pt x="240" y="88"/>
                </a:lnTo>
                <a:lnTo>
                  <a:pt x="240" y="84"/>
                </a:lnTo>
                <a:lnTo>
                  <a:pt x="234" y="84"/>
                </a:lnTo>
                <a:lnTo>
                  <a:pt x="231" y="88"/>
                </a:lnTo>
                <a:lnTo>
                  <a:pt x="225" y="94"/>
                </a:lnTo>
                <a:lnTo>
                  <a:pt x="225" y="94"/>
                </a:lnTo>
                <a:lnTo>
                  <a:pt x="219" y="91"/>
                </a:lnTo>
                <a:lnTo>
                  <a:pt x="215" y="91"/>
                </a:lnTo>
                <a:lnTo>
                  <a:pt x="215" y="94"/>
                </a:lnTo>
                <a:lnTo>
                  <a:pt x="215" y="97"/>
                </a:lnTo>
                <a:lnTo>
                  <a:pt x="215" y="100"/>
                </a:lnTo>
                <a:lnTo>
                  <a:pt x="219" y="103"/>
                </a:lnTo>
                <a:lnTo>
                  <a:pt x="225" y="100"/>
                </a:lnTo>
                <a:lnTo>
                  <a:pt x="228" y="106"/>
                </a:lnTo>
                <a:lnTo>
                  <a:pt x="234" y="106"/>
                </a:lnTo>
                <a:lnTo>
                  <a:pt x="237" y="106"/>
                </a:lnTo>
                <a:lnTo>
                  <a:pt x="240" y="110"/>
                </a:lnTo>
                <a:lnTo>
                  <a:pt x="237" y="113"/>
                </a:lnTo>
                <a:lnTo>
                  <a:pt x="234" y="116"/>
                </a:lnTo>
                <a:lnTo>
                  <a:pt x="231" y="116"/>
                </a:lnTo>
                <a:lnTo>
                  <a:pt x="228" y="113"/>
                </a:lnTo>
                <a:lnTo>
                  <a:pt x="225" y="116"/>
                </a:lnTo>
                <a:lnTo>
                  <a:pt x="225" y="119"/>
                </a:lnTo>
                <a:lnTo>
                  <a:pt x="225" y="122"/>
                </a:lnTo>
                <a:lnTo>
                  <a:pt x="219" y="128"/>
                </a:lnTo>
                <a:lnTo>
                  <a:pt x="219" y="128"/>
                </a:lnTo>
                <a:close/>
                <a:moveTo>
                  <a:pt x="212" y="235"/>
                </a:moveTo>
                <a:lnTo>
                  <a:pt x="212" y="232"/>
                </a:lnTo>
                <a:lnTo>
                  <a:pt x="215" y="228"/>
                </a:lnTo>
                <a:lnTo>
                  <a:pt x="212" y="228"/>
                </a:lnTo>
                <a:lnTo>
                  <a:pt x="212" y="232"/>
                </a:lnTo>
                <a:lnTo>
                  <a:pt x="212" y="228"/>
                </a:lnTo>
                <a:lnTo>
                  <a:pt x="212" y="222"/>
                </a:lnTo>
                <a:lnTo>
                  <a:pt x="215" y="219"/>
                </a:lnTo>
                <a:lnTo>
                  <a:pt x="215" y="222"/>
                </a:lnTo>
                <a:lnTo>
                  <a:pt x="215" y="225"/>
                </a:lnTo>
                <a:lnTo>
                  <a:pt x="215" y="225"/>
                </a:lnTo>
                <a:lnTo>
                  <a:pt x="219" y="228"/>
                </a:lnTo>
                <a:lnTo>
                  <a:pt x="215" y="232"/>
                </a:lnTo>
                <a:lnTo>
                  <a:pt x="215" y="235"/>
                </a:lnTo>
                <a:lnTo>
                  <a:pt x="212" y="235"/>
                </a:lnTo>
                <a:lnTo>
                  <a:pt x="212" y="235"/>
                </a:lnTo>
                <a:close/>
                <a:moveTo>
                  <a:pt x="68" y="369"/>
                </a:moveTo>
                <a:lnTo>
                  <a:pt x="72" y="369"/>
                </a:lnTo>
                <a:lnTo>
                  <a:pt x="72" y="369"/>
                </a:lnTo>
                <a:lnTo>
                  <a:pt x="68" y="369"/>
                </a:lnTo>
                <a:lnTo>
                  <a:pt x="68" y="369"/>
                </a:lnTo>
                <a:lnTo>
                  <a:pt x="68" y="369"/>
                </a:lnTo>
                <a:lnTo>
                  <a:pt x="68" y="369"/>
                </a:lnTo>
                <a:close/>
                <a:moveTo>
                  <a:pt x="68" y="372"/>
                </a:moveTo>
                <a:lnTo>
                  <a:pt x="68" y="372"/>
                </a:lnTo>
                <a:lnTo>
                  <a:pt x="68" y="372"/>
                </a:lnTo>
                <a:lnTo>
                  <a:pt x="68" y="372"/>
                </a:lnTo>
                <a:lnTo>
                  <a:pt x="68" y="372"/>
                </a:lnTo>
                <a:close/>
                <a:moveTo>
                  <a:pt x="65" y="372"/>
                </a:moveTo>
                <a:lnTo>
                  <a:pt x="65" y="375"/>
                </a:lnTo>
                <a:lnTo>
                  <a:pt x="68" y="372"/>
                </a:lnTo>
                <a:lnTo>
                  <a:pt x="65" y="372"/>
                </a:lnTo>
                <a:lnTo>
                  <a:pt x="65" y="372"/>
                </a:lnTo>
                <a:close/>
                <a:moveTo>
                  <a:pt x="62" y="375"/>
                </a:moveTo>
                <a:lnTo>
                  <a:pt x="62" y="379"/>
                </a:lnTo>
                <a:lnTo>
                  <a:pt x="65" y="375"/>
                </a:lnTo>
                <a:lnTo>
                  <a:pt x="62" y="375"/>
                </a:lnTo>
                <a:lnTo>
                  <a:pt x="62" y="375"/>
                </a:lnTo>
                <a:close/>
                <a:moveTo>
                  <a:pt x="59" y="385"/>
                </a:moveTo>
                <a:lnTo>
                  <a:pt x="59" y="382"/>
                </a:lnTo>
                <a:lnTo>
                  <a:pt x="59" y="379"/>
                </a:lnTo>
                <a:lnTo>
                  <a:pt x="59" y="379"/>
                </a:lnTo>
                <a:lnTo>
                  <a:pt x="62" y="379"/>
                </a:lnTo>
                <a:lnTo>
                  <a:pt x="62" y="382"/>
                </a:lnTo>
                <a:lnTo>
                  <a:pt x="65" y="385"/>
                </a:lnTo>
                <a:lnTo>
                  <a:pt x="62" y="385"/>
                </a:lnTo>
                <a:lnTo>
                  <a:pt x="59" y="385"/>
                </a:lnTo>
                <a:lnTo>
                  <a:pt x="59" y="385"/>
                </a:lnTo>
                <a:close/>
                <a:moveTo>
                  <a:pt x="90" y="388"/>
                </a:moveTo>
                <a:lnTo>
                  <a:pt x="90" y="385"/>
                </a:lnTo>
                <a:lnTo>
                  <a:pt x="90" y="385"/>
                </a:lnTo>
                <a:lnTo>
                  <a:pt x="93" y="385"/>
                </a:lnTo>
                <a:lnTo>
                  <a:pt x="90" y="388"/>
                </a:lnTo>
                <a:lnTo>
                  <a:pt x="90" y="388"/>
                </a:lnTo>
                <a:lnTo>
                  <a:pt x="90" y="388"/>
                </a:lnTo>
                <a:close/>
                <a:moveTo>
                  <a:pt x="87" y="394"/>
                </a:moveTo>
                <a:lnTo>
                  <a:pt x="87" y="391"/>
                </a:lnTo>
                <a:lnTo>
                  <a:pt x="90" y="394"/>
                </a:lnTo>
                <a:lnTo>
                  <a:pt x="87" y="394"/>
                </a:lnTo>
                <a:lnTo>
                  <a:pt x="87" y="394"/>
                </a:lnTo>
                <a:lnTo>
                  <a:pt x="87" y="394"/>
                </a:lnTo>
                <a:close/>
                <a:moveTo>
                  <a:pt x="84" y="385"/>
                </a:moveTo>
                <a:lnTo>
                  <a:pt x="84" y="385"/>
                </a:lnTo>
                <a:lnTo>
                  <a:pt x="84" y="388"/>
                </a:lnTo>
                <a:lnTo>
                  <a:pt x="84" y="391"/>
                </a:lnTo>
                <a:lnTo>
                  <a:pt x="87" y="391"/>
                </a:lnTo>
                <a:lnTo>
                  <a:pt x="87" y="388"/>
                </a:lnTo>
                <a:lnTo>
                  <a:pt x="87" y="385"/>
                </a:lnTo>
                <a:lnTo>
                  <a:pt x="84" y="385"/>
                </a:lnTo>
                <a:lnTo>
                  <a:pt x="84" y="385"/>
                </a:lnTo>
                <a:lnTo>
                  <a:pt x="84" y="385"/>
                </a:lnTo>
                <a:close/>
                <a:moveTo>
                  <a:pt x="169" y="335"/>
                </a:moveTo>
                <a:lnTo>
                  <a:pt x="169" y="332"/>
                </a:lnTo>
                <a:lnTo>
                  <a:pt x="169" y="329"/>
                </a:lnTo>
                <a:lnTo>
                  <a:pt x="169" y="329"/>
                </a:lnTo>
                <a:lnTo>
                  <a:pt x="172" y="325"/>
                </a:lnTo>
                <a:lnTo>
                  <a:pt x="172" y="329"/>
                </a:lnTo>
                <a:lnTo>
                  <a:pt x="172" y="332"/>
                </a:lnTo>
                <a:lnTo>
                  <a:pt x="172" y="335"/>
                </a:lnTo>
                <a:lnTo>
                  <a:pt x="172" y="335"/>
                </a:lnTo>
                <a:lnTo>
                  <a:pt x="169" y="335"/>
                </a:lnTo>
                <a:lnTo>
                  <a:pt x="169" y="335"/>
                </a:lnTo>
                <a:close/>
                <a:moveTo>
                  <a:pt x="156" y="332"/>
                </a:moveTo>
                <a:lnTo>
                  <a:pt x="159" y="329"/>
                </a:lnTo>
                <a:lnTo>
                  <a:pt x="162" y="332"/>
                </a:lnTo>
                <a:lnTo>
                  <a:pt x="162" y="332"/>
                </a:lnTo>
                <a:lnTo>
                  <a:pt x="159" y="335"/>
                </a:lnTo>
                <a:lnTo>
                  <a:pt x="156" y="332"/>
                </a:lnTo>
                <a:lnTo>
                  <a:pt x="156" y="332"/>
                </a:lnTo>
                <a:close/>
                <a:moveTo>
                  <a:pt x="137" y="375"/>
                </a:moveTo>
                <a:lnTo>
                  <a:pt x="140" y="375"/>
                </a:lnTo>
                <a:lnTo>
                  <a:pt x="140" y="372"/>
                </a:lnTo>
                <a:lnTo>
                  <a:pt x="144" y="375"/>
                </a:lnTo>
                <a:lnTo>
                  <a:pt x="144" y="372"/>
                </a:lnTo>
                <a:lnTo>
                  <a:pt x="144" y="372"/>
                </a:lnTo>
                <a:lnTo>
                  <a:pt x="140" y="366"/>
                </a:lnTo>
                <a:lnTo>
                  <a:pt x="144" y="363"/>
                </a:lnTo>
                <a:lnTo>
                  <a:pt x="144" y="360"/>
                </a:lnTo>
                <a:lnTo>
                  <a:pt x="150" y="357"/>
                </a:lnTo>
                <a:lnTo>
                  <a:pt x="150" y="354"/>
                </a:lnTo>
                <a:lnTo>
                  <a:pt x="156" y="354"/>
                </a:lnTo>
                <a:lnTo>
                  <a:pt x="159" y="357"/>
                </a:lnTo>
                <a:lnTo>
                  <a:pt x="162" y="360"/>
                </a:lnTo>
                <a:lnTo>
                  <a:pt x="165" y="360"/>
                </a:lnTo>
                <a:lnTo>
                  <a:pt x="165" y="354"/>
                </a:lnTo>
                <a:lnTo>
                  <a:pt x="172" y="347"/>
                </a:lnTo>
                <a:lnTo>
                  <a:pt x="172" y="344"/>
                </a:lnTo>
                <a:lnTo>
                  <a:pt x="169" y="344"/>
                </a:lnTo>
                <a:lnTo>
                  <a:pt x="169" y="341"/>
                </a:lnTo>
                <a:lnTo>
                  <a:pt x="165" y="338"/>
                </a:lnTo>
                <a:lnTo>
                  <a:pt x="162" y="338"/>
                </a:lnTo>
                <a:lnTo>
                  <a:pt x="159" y="335"/>
                </a:lnTo>
                <a:lnTo>
                  <a:pt x="153" y="335"/>
                </a:lnTo>
                <a:lnTo>
                  <a:pt x="150" y="338"/>
                </a:lnTo>
                <a:lnTo>
                  <a:pt x="150" y="341"/>
                </a:lnTo>
                <a:lnTo>
                  <a:pt x="147" y="344"/>
                </a:lnTo>
                <a:lnTo>
                  <a:pt x="144" y="347"/>
                </a:lnTo>
                <a:lnTo>
                  <a:pt x="140" y="347"/>
                </a:lnTo>
                <a:lnTo>
                  <a:pt x="137" y="347"/>
                </a:lnTo>
                <a:lnTo>
                  <a:pt x="137" y="341"/>
                </a:lnTo>
                <a:lnTo>
                  <a:pt x="134" y="341"/>
                </a:lnTo>
                <a:lnTo>
                  <a:pt x="128" y="347"/>
                </a:lnTo>
                <a:lnTo>
                  <a:pt x="128" y="350"/>
                </a:lnTo>
                <a:lnTo>
                  <a:pt x="125" y="354"/>
                </a:lnTo>
                <a:lnTo>
                  <a:pt x="125" y="357"/>
                </a:lnTo>
                <a:lnTo>
                  <a:pt x="131" y="360"/>
                </a:lnTo>
                <a:lnTo>
                  <a:pt x="131" y="363"/>
                </a:lnTo>
                <a:lnTo>
                  <a:pt x="131" y="363"/>
                </a:lnTo>
                <a:lnTo>
                  <a:pt x="131" y="366"/>
                </a:lnTo>
                <a:lnTo>
                  <a:pt x="134" y="372"/>
                </a:lnTo>
                <a:lnTo>
                  <a:pt x="137" y="372"/>
                </a:lnTo>
                <a:lnTo>
                  <a:pt x="137" y="375"/>
                </a:lnTo>
                <a:lnTo>
                  <a:pt x="137" y="375"/>
                </a:lnTo>
                <a:close/>
                <a:moveTo>
                  <a:pt x="112" y="441"/>
                </a:moveTo>
                <a:lnTo>
                  <a:pt x="109" y="438"/>
                </a:lnTo>
                <a:lnTo>
                  <a:pt x="106" y="438"/>
                </a:lnTo>
                <a:lnTo>
                  <a:pt x="106" y="441"/>
                </a:lnTo>
                <a:lnTo>
                  <a:pt x="109" y="444"/>
                </a:lnTo>
                <a:lnTo>
                  <a:pt x="112" y="444"/>
                </a:lnTo>
                <a:lnTo>
                  <a:pt x="112" y="444"/>
                </a:lnTo>
                <a:lnTo>
                  <a:pt x="112" y="441"/>
                </a:lnTo>
                <a:lnTo>
                  <a:pt x="112" y="441"/>
                </a:lnTo>
                <a:close/>
                <a:moveTo>
                  <a:pt x="115" y="435"/>
                </a:moveTo>
                <a:lnTo>
                  <a:pt x="115" y="429"/>
                </a:lnTo>
                <a:lnTo>
                  <a:pt x="115" y="429"/>
                </a:lnTo>
                <a:lnTo>
                  <a:pt x="115" y="429"/>
                </a:lnTo>
                <a:lnTo>
                  <a:pt x="119" y="432"/>
                </a:lnTo>
                <a:lnTo>
                  <a:pt x="115" y="435"/>
                </a:lnTo>
                <a:lnTo>
                  <a:pt x="115" y="435"/>
                </a:lnTo>
                <a:lnTo>
                  <a:pt x="115" y="435"/>
                </a:lnTo>
                <a:close/>
                <a:moveTo>
                  <a:pt x="109" y="425"/>
                </a:moveTo>
                <a:lnTo>
                  <a:pt x="112" y="422"/>
                </a:lnTo>
                <a:lnTo>
                  <a:pt x="115" y="419"/>
                </a:lnTo>
                <a:lnTo>
                  <a:pt x="112" y="413"/>
                </a:lnTo>
                <a:lnTo>
                  <a:pt x="112" y="413"/>
                </a:lnTo>
                <a:lnTo>
                  <a:pt x="115" y="410"/>
                </a:lnTo>
                <a:lnTo>
                  <a:pt x="115" y="413"/>
                </a:lnTo>
                <a:lnTo>
                  <a:pt x="119" y="413"/>
                </a:lnTo>
                <a:lnTo>
                  <a:pt x="119" y="410"/>
                </a:lnTo>
                <a:lnTo>
                  <a:pt x="119" y="404"/>
                </a:lnTo>
                <a:lnTo>
                  <a:pt x="119" y="400"/>
                </a:lnTo>
                <a:lnTo>
                  <a:pt x="119" y="388"/>
                </a:lnTo>
                <a:lnTo>
                  <a:pt x="119" y="382"/>
                </a:lnTo>
                <a:lnTo>
                  <a:pt x="122" y="379"/>
                </a:lnTo>
                <a:lnTo>
                  <a:pt x="125" y="375"/>
                </a:lnTo>
                <a:lnTo>
                  <a:pt x="122" y="372"/>
                </a:lnTo>
                <a:lnTo>
                  <a:pt x="122" y="372"/>
                </a:lnTo>
                <a:lnTo>
                  <a:pt x="122" y="369"/>
                </a:lnTo>
                <a:lnTo>
                  <a:pt x="119" y="369"/>
                </a:lnTo>
                <a:lnTo>
                  <a:pt x="119" y="366"/>
                </a:lnTo>
                <a:lnTo>
                  <a:pt x="112" y="366"/>
                </a:lnTo>
                <a:lnTo>
                  <a:pt x="112" y="363"/>
                </a:lnTo>
                <a:lnTo>
                  <a:pt x="115" y="363"/>
                </a:lnTo>
                <a:lnTo>
                  <a:pt x="115" y="360"/>
                </a:lnTo>
                <a:lnTo>
                  <a:pt x="115" y="354"/>
                </a:lnTo>
                <a:lnTo>
                  <a:pt x="112" y="354"/>
                </a:lnTo>
                <a:lnTo>
                  <a:pt x="109" y="354"/>
                </a:lnTo>
                <a:lnTo>
                  <a:pt x="109" y="354"/>
                </a:lnTo>
                <a:lnTo>
                  <a:pt x="106" y="357"/>
                </a:lnTo>
                <a:lnTo>
                  <a:pt x="103" y="357"/>
                </a:lnTo>
                <a:lnTo>
                  <a:pt x="100" y="350"/>
                </a:lnTo>
                <a:lnTo>
                  <a:pt x="100" y="350"/>
                </a:lnTo>
                <a:lnTo>
                  <a:pt x="106" y="347"/>
                </a:lnTo>
                <a:lnTo>
                  <a:pt x="112" y="344"/>
                </a:lnTo>
                <a:lnTo>
                  <a:pt x="119" y="347"/>
                </a:lnTo>
                <a:lnTo>
                  <a:pt x="122" y="347"/>
                </a:lnTo>
                <a:lnTo>
                  <a:pt x="122" y="347"/>
                </a:lnTo>
                <a:lnTo>
                  <a:pt x="122" y="344"/>
                </a:lnTo>
                <a:lnTo>
                  <a:pt x="122" y="341"/>
                </a:lnTo>
                <a:lnTo>
                  <a:pt x="122" y="338"/>
                </a:lnTo>
                <a:lnTo>
                  <a:pt x="122" y="335"/>
                </a:lnTo>
                <a:lnTo>
                  <a:pt x="125" y="335"/>
                </a:lnTo>
                <a:lnTo>
                  <a:pt x="125" y="338"/>
                </a:lnTo>
                <a:lnTo>
                  <a:pt x="128" y="338"/>
                </a:lnTo>
                <a:lnTo>
                  <a:pt x="131" y="335"/>
                </a:lnTo>
                <a:lnTo>
                  <a:pt x="137" y="335"/>
                </a:lnTo>
                <a:lnTo>
                  <a:pt x="144" y="332"/>
                </a:lnTo>
                <a:lnTo>
                  <a:pt x="150" y="332"/>
                </a:lnTo>
                <a:lnTo>
                  <a:pt x="150" y="332"/>
                </a:lnTo>
                <a:lnTo>
                  <a:pt x="153" y="332"/>
                </a:lnTo>
                <a:lnTo>
                  <a:pt x="153" y="332"/>
                </a:lnTo>
                <a:lnTo>
                  <a:pt x="156" y="329"/>
                </a:lnTo>
                <a:lnTo>
                  <a:pt x="156" y="325"/>
                </a:lnTo>
                <a:lnTo>
                  <a:pt x="162" y="322"/>
                </a:lnTo>
                <a:lnTo>
                  <a:pt x="165" y="322"/>
                </a:lnTo>
                <a:lnTo>
                  <a:pt x="172" y="322"/>
                </a:lnTo>
                <a:lnTo>
                  <a:pt x="175" y="322"/>
                </a:lnTo>
                <a:lnTo>
                  <a:pt x="178" y="322"/>
                </a:lnTo>
                <a:lnTo>
                  <a:pt x="178" y="325"/>
                </a:lnTo>
                <a:lnTo>
                  <a:pt x="175" y="329"/>
                </a:lnTo>
                <a:lnTo>
                  <a:pt x="175" y="335"/>
                </a:lnTo>
                <a:lnTo>
                  <a:pt x="175" y="335"/>
                </a:lnTo>
                <a:lnTo>
                  <a:pt x="175" y="338"/>
                </a:lnTo>
                <a:lnTo>
                  <a:pt x="175" y="341"/>
                </a:lnTo>
                <a:lnTo>
                  <a:pt x="175" y="344"/>
                </a:lnTo>
                <a:lnTo>
                  <a:pt x="178" y="347"/>
                </a:lnTo>
                <a:lnTo>
                  <a:pt x="181" y="347"/>
                </a:lnTo>
                <a:lnTo>
                  <a:pt x="187" y="354"/>
                </a:lnTo>
                <a:lnTo>
                  <a:pt x="190" y="354"/>
                </a:lnTo>
                <a:lnTo>
                  <a:pt x="194" y="354"/>
                </a:lnTo>
                <a:lnTo>
                  <a:pt x="197" y="347"/>
                </a:lnTo>
                <a:lnTo>
                  <a:pt x="197" y="344"/>
                </a:lnTo>
                <a:lnTo>
                  <a:pt x="200" y="344"/>
                </a:lnTo>
                <a:lnTo>
                  <a:pt x="200" y="341"/>
                </a:lnTo>
                <a:lnTo>
                  <a:pt x="200" y="338"/>
                </a:lnTo>
                <a:lnTo>
                  <a:pt x="200" y="335"/>
                </a:lnTo>
                <a:lnTo>
                  <a:pt x="203" y="332"/>
                </a:lnTo>
                <a:lnTo>
                  <a:pt x="206" y="332"/>
                </a:lnTo>
                <a:lnTo>
                  <a:pt x="209" y="332"/>
                </a:lnTo>
                <a:lnTo>
                  <a:pt x="206" y="329"/>
                </a:lnTo>
                <a:lnTo>
                  <a:pt x="206" y="325"/>
                </a:lnTo>
                <a:lnTo>
                  <a:pt x="200" y="322"/>
                </a:lnTo>
                <a:lnTo>
                  <a:pt x="200" y="319"/>
                </a:lnTo>
                <a:lnTo>
                  <a:pt x="200" y="316"/>
                </a:lnTo>
                <a:lnTo>
                  <a:pt x="203" y="313"/>
                </a:lnTo>
                <a:lnTo>
                  <a:pt x="203" y="313"/>
                </a:lnTo>
                <a:lnTo>
                  <a:pt x="203" y="313"/>
                </a:lnTo>
                <a:lnTo>
                  <a:pt x="203" y="319"/>
                </a:lnTo>
                <a:lnTo>
                  <a:pt x="206" y="319"/>
                </a:lnTo>
                <a:lnTo>
                  <a:pt x="206" y="319"/>
                </a:lnTo>
                <a:lnTo>
                  <a:pt x="206" y="316"/>
                </a:lnTo>
                <a:lnTo>
                  <a:pt x="209" y="319"/>
                </a:lnTo>
                <a:lnTo>
                  <a:pt x="212" y="319"/>
                </a:lnTo>
                <a:lnTo>
                  <a:pt x="215" y="319"/>
                </a:lnTo>
                <a:lnTo>
                  <a:pt x="215" y="319"/>
                </a:lnTo>
                <a:lnTo>
                  <a:pt x="215" y="322"/>
                </a:lnTo>
                <a:lnTo>
                  <a:pt x="212" y="322"/>
                </a:lnTo>
                <a:lnTo>
                  <a:pt x="212" y="322"/>
                </a:lnTo>
                <a:lnTo>
                  <a:pt x="212" y="322"/>
                </a:lnTo>
                <a:lnTo>
                  <a:pt x="215" y="322"/>
                </a:lnTo>
                <a:lnTo>
                  <a:pt x="219" y="319"/>
                </a:lnTo>
                <a:lnTo>
                  <a:pt x="231" y="322"/>
                </a:lnTo>
                <a:lnTo>
                  <a:pt x="234" y="319"/>
                </a:lnTo>
                <a:lnTo>
                  <a:pt x="234" y="319"/>
                </a:lnTo>
                <a:lnTo>
                  <a:pt x="231" y="316"/>
                </a:lnTo>
                <a:lnTo>
                  <a:pt x="234" y="310"/>
                </a:lnTo>
                <a:lnTo>
                  <a:pt x="237" y="310"/>
                </a:lnTo>
                <a:lnTo>
                  <a:pt x="240" y="310"/>
                </a:lnTo>
                <a:lnTo>
                  <a:pt x="240" y="313"/>
                </a:lnTo>
                <a:lnTo>
                  <a:pt x="240" y="316"/>
                </a:lnTo>
                <a:lnTo>
                  <a:pt x="244" y="319"/>
                </a:lnTo>
                <a:lnTo>
                  <a:pt x="247" y="319"/>
                </a:lnTo>
                <a:lnTo>
                  <a:pt x="247" y="316"/>
                </a:lnTo>
                <a:lnTo>
                  <a:pt x="247" y="307"/>
                </a:lnTo>
                <a:lnTo>
                  <a:pt x="247" y="303"/>
                </a:lnTo>
                <a:lnTo>
                  <a:pt x="253" y="300"/>
                </a:lnTo>
                <a:lnTo>
                  <a:pt x="253" y="300"/>
                </a:lnTo>
                <a:lnTo>
                  <a:pt x="256" y="297"/>
                </a:lnTo>
                <a:lnTo>
                  <a:pt x="253" y="297"/>
                </a:lnTo>
                <a:lnTo>
                  <a:pt x="253" y="291"/>
                </a:lnTo>
                <a:lnTo>
                  <a:pt x="256" y="291"/>
                </a:lnTo>
                <a:lnTo>
                  <a:pt x="259" y="291"/>
                </a:lnTo>
                <a:lnTo>
                  <a:pt x="262" y="294"/>
                </a:lnTo>
                <a:lnTo>
                  <a:pt x="259" y="294"/>
                </a:lnTo>
                <a:lnTo>
                  <a:pt x="259" y="300"/>
                </a:lnTo>
                <a:lnTo>
                  <a:pt x="259" y="313"/>
                </a:lnTo>
                <a:lnTo>
                  <a:pt x="262" y="313"/>
                </a:lnTo>
                <a:lnTo>
                  <a:pt x="265" y="310"/>
                </a:lnTo>
                <a:lnTo>
                  <a:pt x="265" y="307"/>
                </a:lnTo>
                <a:lnTo>
                  <a:pt x="269" y="307"/>
                </a:lnTo>
                <a:lnTo>
                  <a:pt x="272" y="303"/>
                </a:lnTo>
                <a:lnTo>
                  <a:pt x="275" y="297"/>
                </a:lnTo>
                <a:lnTo>
                  <a:pt x="275" y="294"/>
                </a:lnTo>
                <a:lnTo>
                  <a:pt x="278" y="291"/>
                </a:lnTo>
                <a:lnTo>
                  <a:pt x="278" y="288"/>
                </a:lnTo>
                <a:lnTo>
                  <a:pt x="275" y="285"/>
                </a:lnTo>
                <a:lnTo>
                  <a:pt x="272" y="278"/>
                </a:lnTo>
                <a:lnTo>
                  <a:pt x="269" y="275"/>
                </a:lnTo>
                <a:lnTo>
                  <a:pt x="269" y="266"/>
                </a:lnTo>
                <a:lnTo>
                  <a:pt x="269" y="253"/>
                </a:lnTo>
                <a:lnTo>
                  <a:pt x="269" y="247"/>
                </a:lnTo>
                <a:lnTo>
                  <a:pt x="265" y="235"/>
                </a:lnTo>
                <a:lnTo>
                  <a:pt x="262" y="228"/>
                </a:lnTo>
                <a:lnTo>
                  <a:pt x="259" y="222"/>
                </a:lnTo>
                <a:lnTo>
                  <a:pt x="262" y="216"/>
                </a:lnTo>
                <a:lnTo>
                  <a:pt x="269" y="213"/>
                </a:lnTo>
                <a:lnTo>
                  <a:pt x="272" y="213"/>
                </a:lnTo>
                <a:lnTo>
                  <a:pt x="272" y="216"/>
                </a:lnTo>
                <a:lnTo>
                  <a:pt x="275" y="213"/>
                </a:lnTo>
                <a:lnTo>
                  <a:pt x="272" y="210"/>
                </a:lnTo>
                <a:lnTo>
                  <a:pt x="272" y="207"/>
                </a:lnTo>
                <a:lnTo>
                  <a:pt x="272" y="207"/>
                </a:lnTo>
                <a:lnTo>
                  <a:pt x="269" y="200"/>
                </a:lnTo>
                <a:lnTo>
                  <a:pt x="269" y="200"/>
                </a:lnTo>
                <a:lnTo>
                  <a:pt x="269" y="197"/>
                </a:lnTo>
                <a:lnTo>
                  <a:pt x="272" y="194"/>
                </a:lnTo>
                <a:lnTo>
                  <a:pt x="272" y="194"/>
                </a:lnTo>
                <a:lnTo>
                  <a:pt x="272" y="191"/>
                </a:lnTo>
                <a:lnTo>
                  <a:pt x="272" y="188"/>
                </a:lnTo>
                <a:lnTo>
                  <a:pt x="269" y="181"/>
                </a:lnTo>
                <a:lnTo>
                  <a:pt x="272" y="181"/>
                </a:lnTo>
                <a:lnTo>
                  <a:pt x="269" y="178"/>
                </a:lnTo>
                <a:lnTo>
                  <a:pt x="269" y="169"/>
                </a:lnTo>
                <a:lnTo>
                  <a:pt x="265" y="163"/>
                </a:lnTo>
                <a:lnTo>
                  <a:pt x="262" y="163"/>
                </a:lnTo>
                <a:lnTo>
                  <a:pt x="259" y="163"/>
                </a:lnTo>
                <a:lnTo>
                  <a:pt x="259" y="153"/>
                </a:lnTo>
                <a:lnTo>
                  <a:pt x="256" y="150"/>
                </a:lnTo>
                <a:lnTo>
                  <a:pt x="250" y="141"/>
                </a:lnTo>
                <a:lnTo>
                  <a:pt x="247" y="138"/>
                </a:lnTo>
                <a:lnTo>
                  <a:pt x="244" y="131"/>
                </a:lnTo>
                <a:lnTo>
                  <a:pt x="244" y="125"/>
                </a:lnTo>
                <a:lnTo>
                  <a:pt x="244" y="125"/>
                </a:lnTo>
                <a:lnTo>
                  <a:pt x="244" y="125"/>
                </a:lnTo>
                <a:lnTo>
                  <a:pt x="240" y="125"/>
                </a:lnTo>
                <a:lnTo>
                  <a:pt x="240" y="125"/>
                </a:lnTo>
                <a:lnTo>
                  <a:pt x="237" y="122"/>
                </a:lnTo>
                <a:lnTo>
                  <a:pt x="234" y="122"/>
                </a:lnTo>
                <a:lnTo>
                  <a:pt x="234" y="125"/>
                </a:lnTo>
                <a:lnTo>
                  <a:pt x="234" y="128"/>
                </a:lnTo>
                <a:lnTo>
                  <a:pt x="234" y="131"/>
                </a:lnTo>
                <a:lnTo>
                  <a:pt x="234" y="135"/>
                </a:lnTo>
                <a:lnTo>
                  <a:pt x="237" y="131"/>
                </a:lnTo>
                <a:lnTo>
                  <a:pt x="240" y="128"/>
                </a:lnTo>
                <a:lnTo>
                  <a:pt x="244" y="135"/>
                </a:lnTo>
                <a:lnTo>
                  <a:pt x="240" y="138"/>
                </a:lnTo>
                <a:lnTo>
                  <a:pt x="237" y="138"/>
                </a:lnTo>
                <a:lnTo>
                  <a:pt x="237" y="138"/>
                </a:lnTo>
                <a:lnTo>
                  <a:pt x="234" y="138"/>
                </a:lnTo>
                <a:lnTo>
                  <a:pt x="237" y="141"/>
                </a:lnTo>
                <a:lnTo>
                  <a:pt x="234" y="144"/>
                </a:lnTo>
                <a:lnTo>
                  <a:pt x="231" y="141"/>
                </a:lnTo>
                <a:lnTo>
                  <a:pt x="231" y="138"/>
                </a:lnTo>
                <a:lnTo>
                  <a:pt x="231" y="135"/>
                </a:lnTo>
                <a:lnTo>
                  <a:pt x="231" y="131"/>
                </a:lnTo>
                <a:lnTo>
                  <a:pt x="228" y="135"/>
                </a:lnTo>
                <a:lnTo>
                  <a:pt x="225" y="131"/>
                </a:lnTo>
                <a:lnTo>
                  <a:pt x="225" y="135"/>
                </a:lnTo>
                <a:lnTo>
                  <a:pt x="225" y="141"/>
                </a:lnTo>
                <a:lnTo>
                  <a:pt x="225" y="144"/>
                </a:lnTo>
                <a:lnTo>
                  <a:pt x="225" y="147"/>
                </a:lnTo>
                <a:lnTo>
                  <a:pt x="222" y="150"/>
                </a:lnTo>
                <a:lnTo>
                  <a:pt x="222" y="153"/>
                </a:lnTo>
                <a:lnTo>
                  <a:pt x="225" y="156"/>
                </a:lnTo>
                <a:lnTo>
                  <a:pt x="228" y="160"/>
                </a:lnTo>
                <a:lnTo>
                  <a:pt x="225" y="166"/>
                </a:lnTo>
                <a:lnTo>
                  <a:pt x="225" y="166"/>
                </a:lnTo>
                <a:lnTo>
                  <a:pt x="222" y="166"/>
                </a:lnTo>
                <a:lnTo>
                  <a:pt x="219" y="169"/>
                </a:lnTo>
                <a:lnTo>
                  <a:pt x="222" y="172"/>
                </a:lnTo>
                <a:lnTo>
                  <a:pt x="225" y="172"/>
                </a:lnTo>
                <a:lnTo>
                  <a:pt x="228" y="169"/>
                </a:lnTo>
                <a:lnTo>
                  <a:pt x="231" y="178"/>
                </a:lnTo>
                <a:lnTo>
                  <a:pt x="234" y="188"/>
                </a:lnTo>
                <a:lnTo>
                  <a:pt x="231" y="191"/>
                </a:lnTo>
                <a:lnTo>
                  <a:pt x="234" y="200"/>
                </a:lnTo>
                <a:lnTo>
                  <a:pt x="228" y="216"/>
                </a:lnTo>
                <a:lnTo>
                  <a:pt x="231" y="219"/>
                </a:lnTo>
                <a:lnTo>
                  <a:pt x="228" y="225"/>
                </a:lnTo>
                <a:lnTo>
                  <a:pt x="225" y="228"/>
                </a:lnTo>
                <a:lnTo>
                  <a:pt x="222" y="235"/>
                </a:lnTo>
                <a:lnTo>
                  <a:pt x="222" y="241"/>
                </a:lnTo>
                <a:lnTo>
                  <a:pt x="219" y="244"/>
                </a:lnTo>
                <a:lnTo>
                  <a:pt x="219" y="247"/>
                </a:lnTo>
                <a:lnTo>
                  <a:pt x="215" y="253"/>
                </a:lnTo>
                <a:lnTo>
                  <a:pt x="206" y="260"/>
                </a:lnTo>
                <a:lnTo>
                  <a:pt x="203" y="260"/>
                </a:lnTo>
                <a:lnTo>
                  <a:pt x="200" y="263"/>
                </a:lnTo>
                <a:lnTo>
                  <a:pt x="194" y="260"/>
                </a:lnTo>
                <a:lnTo>
                  <a:pt x="190" y="257"/>
                </a:lnTo>
                <a:lnTo>
                  <a:pt x="190" y="253"/>
                </a:lnTo>
                <a:lnTo>
                  <a:pt x="194" y="250"/>
                </a:lnTo>
                <a:lnTo>
                  <a:pt x="194" y="247"/>
                </a:lnTo>
                <a:lnTo>
                  <a:pt x="194" y="247"/>
                </a:lnTo>
                <a:lnTo>
                  <a:pt x="197" y="244"/>
                </a:lnTo>
                <a:lnTo>
                  <a:pt x="197" y="244"/>
                </a:lnTo>
                <a:lnTo>
                  <a:pt x="190" y="244"/>
                </a:lnTo>
                <a:lnTo>
                  <a:pt x="187" y="247"/>
                </a:lnTo>
                <a:lnTo>
                  <a:pt x="184" y="247"/>
                </a:lnTo>
                <a:lnTo>
                  <a:pt x="184" y="253"/>
                </a:lnTo>
                <a:lnTo>
                  <a:pt x="187" y="257"/>
                </a:lnTo>
                <a:lnTo>
                  <a:pt x="187" y="266"/>
                </a:lnTo>
                <a:lnTo>
                  <a:pt x="187" y="272"/>
                </a:lnTo>
                <a:lnTo>
                  <a:pt x="181" y="275"/>
                </a:lnTo>
                <a:lnTo>
                  <a:pt x="181" y="278"/>
                </a:lnTo>
                <a:lnTo>
                  <a:pt x="181" y="278"/>
                </a:lnTo>
                <a:lnTo>
                  <a:pt x="178" y="288"/>
                </a:lnTo>
                <a:lnTo>
                  <a:pt x="181" y="288"/>
                </a:lnTo>
                <a:lnTo>
                  <a:pt x="181" y="291"/>
                </a:lnTo>
                <a:lnTo>
                  <a:pt x="181" y="294"/>
                </a:lnTo>
                <a:lnTo>
                  <a:pt x="181" y="294"/>
                </a:lnTo>
                <a:lnTo>
                  <a:pt x="181" y="297"/>
                </a:lnTo>
                <a:lnTo>
                  <a:pt x="178" y="297"/>
                </a:lnTo>
                <a:lnTo>
                  <a:pt x="178" y="297"/>
                </a:lnTo>
                <a:lnTo>
                  <a:pt x="178" y="300"/>
                </a:lnTo>
                <a:lnTo>
                  <a:pt x="175" y="297"/>
                </a:lnTo>
                <a:lnTo>
                  <a:pt x="172" y="300"/>
                </a:lnTo>
                <a:lnTo>
                  <a:pt x="169" y="300"/>
                </a:lnTo>
                <a:lnTo>
                  <a:pt x="169" y="294"/>
                </a:lnTo>
                <a:lnTo>
                  <a:pt x="169" y="294"/>
                </a:lnTo>
                <a:lnTo>
                  <a:pt x="165" y="297"/>
                </a:lnTo>
                <a:lnTo>
                  <a:pt x="162" y="297"/>
                </a:lnTo>
                <a:lnTo>
                  <a:pt x="162" y="297"/>
                </a:lnTo>
                <a:lnTo>
                  <a:pt x="153" y="297"/>
                </a:lnTo>
                <a:lnTo>
                  <a:pt x="150" y="300"/>
                </a:lnTo>
                <a:lnTo>
                  <a:pt x="144" y="303"/>
                </a:lnTo>
                <a:lnTo>
                  <a:pt x="140" y="303"/>
                </a:lnTo>
                <a:lnTo>
                  <a:pt x="134" y="303"/>
                </a:lnTo>
                <a:lnTo>
                  <a:pt x="134" y="303"/>
                </a:lnTo>
                <a:lnTo>
                  <a:pt x="128" y="303"/>
                </a:lnTo>
                <a:lnTo>
                  <a:pt x="122" y="310"/>
                </a:lnTo>
                <a:lnTo>
                  <a:pt x="119" y="313"/>
                </a:lnTo>
                <a:lnTo>
                  <a:pt x="119" y="316"/>
                </a:lnTo>
                <a:lnTo>
                  <a:pt x="115" y="319"/>
                </a:lnTo>
                <a:lnTo>
                  <a:pt x="112" y="322"/>
                </a:lnTo>
                <a:lnTo>
                  <a:pt x="109" y="325"/>
                </a:lnTo>
                <a:lnTo>
                  <a:pt x="106" y="329"/>
                </a:lnTo>
                <a:lnTo>
                  <a:pt x="103" y="332"/>
                </a:lnTo>
                <a:lnTo>
                  <a:pt x="103" y="335"/>
                </a:lnTo>
                <a:lnTo>
                  <a:pt x="97" y="335"/>
                </a:lnTo>
                <a:lnTo>
                  <a:pt x="93" y="338"/>
                </a:lnTo>
                <a:lnTo>
                  <a:pt x="97" y="344"/>
                </a:lnTo>
                <a:lnTo>
                  <a:pt x="97" y="344"/>
                </a:lnTo>
                <a:lnTo>
                  <a:pt x="97" y="347"/>
                </a:lnTo>
                <a:lnTo>
                  <a:pt x="97" y="350"/>
                </a:lnTo>
                <a:lnTo>
                  <a:pt x="93" y="350"/>
                </a:lnTo>
                <a:lnTo>
                  <a:pt x="90" y="354"/>
                </a:lnTo>
                <a:lnTo>
                  <a:pt x="87" y="357"/>
                </a:lnTo>
                <a:lnTo>
                  <a:pt x="87" y="357"/>
                </a:lnTo>
                <a:lnTo>
                  <a:pt x="81" y="363"/>
                </a:lnTo>
                <a:lnTo>
                  <a:pt x="81" y="363"/>
                </a:lnTo>
                <a:lnTo>
                  <a:pt x="78" y="366"/>
                </a:lnTo>
                <a:lnTo>
                  <a:pt x="75" y="366"/>
                </a:lnTo>
                <a:lnTo>
                  <a:pt x="75" y="366"/>
                </a:lnTo>
                <a:lnTo>
                  <a:pt x="78" y="366"/>
                </a:lnTo>
                <a:lnTo>
                  <a:pt x="78" y="369"/>
                </a:lnTo>
                <a:lnTo>
                  <a:pt x="81" y="375"/>
                </a:lnTo>
                <a:lnTo>
                  <a:pt x="81" y="375"/>
                </a:lnTo>
                <a:lnTo>
                  <a:pt x="78" y="372"/>
                </a:lnTo>
                <a:lnTo>
                  <a:pt x="78" y="369"/>
                </a:lnTo>
                <a:lnTo>
                  <a:pt x="75" y="372"/>
                </a:lnTo>
                <a:lnTo>
                  <a:pt x="78" y="379"/>
                </a:lnTo>
                <a:lnTo>
                  <a:pt x="81" y="379"/>
                </a:lnTo>
                <a:lnTo>
                  <a:pt x="81" y="382"/>
                </a:lnTo>
                <a:lnTo>
                  <a:pt x="78" y="382"/>
                </a:lnTo>
                <a:lnTo>
                  <a:pt x="81" y="382"/>
                </a:lnTo>
                <a:lnTo>
                  <a:pt x="81" y="379"/>
                </a:lnTo>
                <a:lnTo>
                  <a:pt x="84" y="379"/>
                </a:lnTo>
                <a:lnTo>
                  <a:pt x="87" y="379"/>
                </a:lnTo>
                <a:lnTo>
                  <a:pt x="84" y="382"/>
                </a:lnTo>
                <a:lnTo>
                  <a:pt x="87" y="382"/>
                </a:lnTo>
                <a:lnTo>
                  <a:pt x="90" y="382"/>
                </a:lnTo>
                <a:lnTo>
                  <a:pt x="90" y="379"/>
                </a:lnTo>
                <a:lnTo>
                  <a:pt x="87" y="375"/>
                </a:lnTo>
                <a:lnTo>
                  <a:pt x="84" y="375"/>
                </a:lnTo>
                <a:lnTo>
                  <a:pt x="84" y="375"/>
                </a:lnTo>
                <a:lnTo>
                  <a:pt x="84" y="372"/>
                </a:lnTo>
                <a:lnTo>
                  <a:pt x="84" y="369"/>
                </a:lnTo>
                <a:lnTo>
                  <a:pt x="87" y="369"/>
                </a:lnTo>
                <a:lnTo>
                  <a:pt x="90" y="369"/>
                </a:lnTo>
                <a:lnTo>
                  <a:pt x="93" y="375"/>
                </a:lnTo>
                <a:lnTo>
                  <a:pt x="93" y="379"/>
                </a:lnTo>
                <a:lnTo>
                  <a:pt x="93" y="382"/>
                </a:lnTo>
                <a:lnTo>
                  <a:pt x="93" y="388"/>
                </a:lnTo>
                <a:lnTo>
                  <a:pt x="93" y="394"/>
                </a:lnTo>
                <a:lnTo>
                  <a:pt x="87" y="394"/>
                </a:lnTo>
                <a:lnTo>
                  <a:pt x="90" y="397"/>
                </a:lnTo>
                <a:lnTo>
                  <a:pt x="93" y="400"/>
                </a:lnTo>
                <a:lnTo>
                  <a:pt x="93" y="410"/>
                </a:lnTo>
                <a:lnTo>
                  <a:pt x="97" y="413"/>
                </a:lnTo>
                <a:lnTo>
                  <a:pt x="97" y="416"/>
                </a:lnTo>
                <a:lnTo>
                  <a:pt x="97" y="419"/>
                </a:lnTo>
                <a:lnTo>
                  <a:pt x="97" y="422"/>
                </a:lnTo>
                <a:lnTo>
                  <a:pt x="100" y="419"/>
                </a:lnTo>
                <a:lnTo>
                  <a:pt x="103" y="422"/>
                </a:lnTo>
                <a:lnTo>
                  <a:pt x="106" y="419"/>
                </a:lnTo>
                <a:lnTo>
                  <a:pt x="106" y="419"/>
                </a:lnTo>
                <a:lnTo>
                  <a:pt x="103" y="413"/>
                </a:lnTo>
                <a:lnTo>
                  <a:pt x="103" y="407"/>
                </a:lnTo>
                <a:lnTo>
                  <a:pt x="103" y="407"/>
                </a:lnTo>
                <a:lnTo>
                  <a:pt x="106" y="407"/>
                </a:lnTo>
                <a:lnTo>
                  <a:pt x="106" y="410"/>
                </a:lnTo>
                <a:lnTo>
                  <a:pt x="106" y="410"/>
                </a:lnTo>
                <a:lnTo>
                  <a:pt x="109" y="413"/>
                </a:lnTo>
                <a:lnTo>
                  <a:pt x="109" y="419"/>
                </a:lnTo>
                <a:lnTo>
                  <a:pt x="109" y="422"/>
                </a:lnTo>
                <a:lnTo>
                  <a:pt x="109" y="425"/>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6" name="Freeform 14">
            <a:extLst>
              <a:ext uri="{FF2B5EF4-FFF2-40B4-BE49-F238E27FC236}">
                <a16:creationId xmlns:a16="http://schemas.microsoft.com/office/drawing/2014/main" id="{1A8A1D07-9C66-0A52-D040-150281481D98}"/>
              </a:ext>
            </a:extLst>
          </p:cNvPr>
          <p:cNvSpPr>
            <a:spLocks noEditPoints="1"/>
          </p:cNvSpPr>
          <p:nvPr userDrawn="1"/>
        </p:nvSpPr>
        <p:spPr bwMode="auto">
          <a:xfrm>
            <a:off x="20731398" y="6574706"/>
            <a:ext cx="285731" cy="457200"/>
          </a:xfrm>
          <a:custGeom>
            <a:avLst/>
            <a:gdLst>
              <a:gd name="T0" fmla="*/ 56 w 90"/>
              <a:gd name="T1" fmla="*/ 104 h 144"/>
              <a:gd name="T2" fmla="*/ 56 w 90"/>
              <a:gd name="T3" fmla="*/ 107 h 144"/>
              <a:gd name="T4" fmla="*/ 56 w 90"/>
              <a:gd name="T5" fmla="*/ 104 h 144"/>
              <a:gd name="T6" fmla="*/ 25 w 90"/>
              <a:gd name="T7" fmla="*/ 116 h 144"/>
              <a:gd name="T8" fmla="*/ 28 w 90"/>
              <a:gd name="T9" fmla="*/ 113 h 144"/>
              <a:gd name="T10" fmla="*/ 31 w 90"/>
              <a:gd name="T11" fmla="*/ 113 h 144"/>
              <a:gd name="T12" fmla="*/ 28 w 90"/>
              <a:gd name="T13" fmla="*/ 116 h 144"/>
              <a:gd name="T14" fmla="*/ 28 w 90"/>
              <a:gd name="T15" fmla="*/ 119 h 144"/>
              <a:gd name="T16" fmla="*/ 68 w 90"/>
              <a:gd name="T17" fmla="*/ 100 h 144"/>
              <a:gd name="T18" fmla="*/ 72 w 90"/>
              <a:gd name="T19" fmla="*/ 104 h 144"/>
              <a:gd name="T20" fmla="*/ 75 w 90"/>
              <a:gd name="T21" fmla="*/ 100 h 144"/>
              <a:gd name="T22" fmla="*/ 72 w 90"/>
              <a:gd name="T23" fmla="*/ 97 h 144"/>
              <a:gd name="T24" fmla="*/ 84 w 90"/>
              <a:gd name="T25" fmla="*/ 122 h 144"/>
              <a:gd name="T26" fmla="*/ 87 w 90"/>
              <a:gd name="T27" fmla="*/ 119 h 144"/>
              <a:gd name="T28" fmla="*/ 87 w 90"/>
              <a:gd name="T29" fmla="*/ 119 h 144"/>
              <a:gd name="T30" fmla="*/ 84 w 90"/>
              <a:gd name="T31" fmla="*/ 122 h 144"/>
              <a:gd name="T32" fmla="*/ 87 w 90"/>
              <a:gd name="T33" fmla="*/ 113 h 144"/>
              <a:gd name="T34" fmla="*/ 87 w 90"/>
              <a:gd name="T35" fmla="*/ 113 h 144"/>
              <a:gd name="T36" fmla="*/ 87 w 90"/>
              <a:gd name="T37" fmla="*/ 107 h 144"/>
              <a:gd name="T38" fmla="*/ 90 w 90"/>
              <a:gd name="T39" fmla="*/ 107 h 144"/>
              <a:gd name="T40" fmla="*/ 87 w 90"/>
              <a:gd name="T41" fmla="*/ 113 h 144"/>
              <a:gd name="T42" fmla="*/ 34 w 90"/>
              <a:gd name="T43" fmla="*/ 144 h 144"/>
              <a:gd name="T44" fmla="*/ 34 w 90"/>
              <a:gd name="T45" fmla="*/ 138 h 144"/>
              <a:gd name="T46" fmla="*/ 47 w 90"/>
              <a:gd name="T47" fmla="*/ 135 h 144"/>
              <a:gd name="T48" fmla="*/ 43 w 90"/>
              <a:gd name="T49" fmla="*/ 144 h 144"/>
              <a:gd name="T50" fmla="*/ 34 w 90"/>
              <a:gd name="T51" fmla="*/ 144 h 144"/>
              <a:gd name="T52" fmla="*/ 0 w 90"/>
              <a:gd name="T53" fmla="*/ 25 h 144"/>
              <a:gd name="T54" fmla="*/ 6 w 90"/>
              <a:gd name="T55" fmla="*/ 25 h 144"/>
              <a:gd name="T56" fmla="*/ 9 w 90"/>
              <a:gd name="T57" fmla="*/ 25 h 144"/>
              <a:gd name="T58" fmla="*/ 22 w 90"/>
              <a:gd name="T59" fmla="*/ 41 h 144"/>
              <a:gd name="T60" fmla="*/ 22 w 90"/>
              <a:gd name="T61" fmla="*/ 41 h 144"/>
              <a:gd name="T62" fmla="*/ 28 w 90"/>
              <a:gd name="T63" fmla="*/ 50 h 144"/>
              <a:gd name="T64" fmla="*/ 18 w 90"/>
              <a:gd name="T65" fmla="*/ 44 h 144"/>
              <a:gd name="T66" fmla="*/ 15 w 90"/>
              <a:gd name="T67" fmla="*/ 47 h 144"/>
              <a:gd name="T68" fmla="*/ 18 w 90"/>
              <a:gd name="T69" fmla="*/ 57 h 144"/>
              <a:gd name="T70" fmla="*/ 25 w 90"/>
              <a:gd name="T71" fmla="*/ 63 h 144"/>
              <a:gd name="T72" fmla="*/ 25 w 90"/>
              <a:gd name="T73" fmla="*/ 72 h 144"/>
              <a:gd name="T74" fmla="*/ 31 w 90"/>
              <a:gd name="T75" fmla="*/ 75 h 144"/>
              <a:gd name="T76" fmla="*/ 25 w 90"/>
              <a:gd name="T77" fmla="*/ 82 h 144"/>
              <a:gd name="T78" fmla="*/ 28 w 90"/>
              <a:gd name="T79" fmla="*/ 88 h 144"/>
              <a:gd name="T80" fmla="*/ 25 w 90"/>
              <a:gd name="T81" fmla="*/ 94 h 144"/>
              <a:gd name="T82" fmla="*/ 25 w 90"/>
              <a:gd name="T83" fmla="*/ 97 h 144"/>
              <a:gd name="T84" fmla="*/ 31 w 90"/>
              <a:gd name="T85" fmla="*/ 107 h 144"/>
              <a:gd name="T86" fmla="*/ 34 w 90"/>
              <a:gd name="T87" fmla="*/ 113 h 144"/>
              <a:gd name="T88" fmla="*/ 37 w 90"/>
              <a:gd name="T89" fmla="*/ 113 h 144"/>
              <a:gd name="T90" fmla="*/ 40 w 90"/>
              <a:gd name="T91" fmla="*/ 110 h 144"/>
              <a:gd name="T92" fmla="*/ 50 w 90"/>
              <a:gd name="T93" fmla="*/ 100 h 144"/>
              <a:gd name="T94" fmla="*/ 56 w 90"/>
              <a:gd name="T95" fmla="*/ 100 h 144"/>
              <a:gd name="T96" fmla="*/ 59 w 90"/>
              <a:gd name="T97" fmla="*/ 97 h 144"/>
              <a:gd name="T98" fmla="*/ 65 w 90"/>
              <a:gd name="T99" fmla="*/ 100 h 144"/>
              <a:gd name="T100" fmla="*/ 68 w 90"/>
              <a:gd name="T101" fmla="*/ 100 h 144"/>
              <a:gd name="T102" fmla="*/ 72 w 90"/>
              <a:gd name="T103" fmla="*/ 94 h 144"/>
              <a:gd name="T104" fmla="*/ 81 w 90"/>
              <a:gd name="T105" fmla="*/ 88 h 144"/>
              <a:gd name="T106" fmla="*/ 84 w 90"/>
              <a:gd name="T107" fmla="*/ 85 h 144"/>
              <a:gd name="T108" fmla="*/ 81 w 90"/>
              <a:gd name="T109" fmla="*/ 69 h 144"/>
              <a:gd name="T110" fmla="*/ 78 w 90"/>
              <a:gd name="T111" fmla="*/ 66 h 144"/>
              <a:gd name="T112" fmla="*/ 75 w 90"/>
              <a:gd name="T113" fmla="*/ 50 h 144"/>
              <a:gd name="T114" fmla="*/ 62 w 90"/>
              <a:gd name="T115" fmla="*/ 25 h 144"/>
              <a:gd name="T116" fmla="*/ 43 w 90"/>
              <a:gd name="T117" fmla="*/ 0 h 144"/>
              <a:gd name="T118" fmla="*/ 22 w 90"/>
              <a:gd name="T119" fmla="*/ 7 h 144"/>
              <a:gd name="T120" fmla="*/ 9 w 90"/>
              <a:gd name="T121" fmla="*/ 16 h 144"/>
              <a:gd name="T122" fmla="*/ 0 w 90"/>
              <a:gd name="T123" fmla="*/ 2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 h="144">
                <a:moveTo>
                  <a:pt x="56" y="104"/>
                </a:moveTo>
                <a:lnTo>
                  <a:pt x="56" y="104"/>
                </a:lnTo>
                <a:lnTo>
                  <a:pt x="59" y="104"/>
                </a:lnTo>
                <a:lnTo>
                  <a:pt x="56" y="107"/>
                </a:lnTo>
                <a:lnTo>
                  <a:pt x="56" y="104"/>
                </a:lnTo>
                <a:lnTo>
                  <a:pt x="56" y="104"/>
                </a:lnTo>
                <a:close/>
                <a:moveTo>
                  <a:pt x="28" y="119"/>
                </a:moveTo>
                <a:lnTo>
                  <a:pt x="25" y="116"/>
                </a:lnTo>
                <a:lnTo>
                  <a:pt x="28" y="113"/>
                </a:lnTo>
                <a:lnTo>
                  <a:pt x="28" y="113"/>
                </a:lnTo>
                <a:lnTo>
                  <a:pt x="28" y="110"/>
                </a:lnTo>
                <a:lnTo>
                  <a:pt x="31" y="113"/>
                </a:lnTo>
                <a:lnTo>
                  <a:pt x="31" y="116"/>
                </a:lnTo>
                <a:lnTo>
                  <a:pt x="28" y="116"/>
                </a:lnTo>
                <a:lnTo>
                  <a:pt x="28" y="119"/>
                </a:lnTo>
                <a:lnTo>
                  <a:pt x="28" y="119"/>
                </a:lnTo>
                <a:close/>
                <a:moveTo>
                  <a:pt x="72" y="97"/>
                </a:moveTo>
                <a:lnTo>
                  <a:pt x="68" y="100"/>
                </a:lnTo>
                <a:lnTo>
                  <a:pt x="68" y="100"/>
                </a:lnTo>
                <a:lnTo>
                  <a:pt x="72" y="104"/>
                </a:lnTo>
                <a:lnTo>
                  <a:pt x="72" y="104"/>
                </a:lnTo>
                <a:lnTo>
                  <a:pt x="75" y="100"/>
                </a:lnTo>
                <a:lnTo>
                  <a:pt x="75" y="97"/>
                </a:lnTo>
                <a:lnTo>
                  <a:pt x="72" y="97"/>
                </a:lnTo>
                <a:lnTo>
                  <a:pt x="72" y="97"/>
                </a:lnTo>
                <a:close/>
                <a:moveTo>
                  <a:pt x="84" y="122"/>
                </a:moveTo>
                <a:lnTo>
                  <a:pt x="84" y="119"/>
                </a:lnTo>
                <a:lnTo>
                  <a:pt x="87" y="119"/>
                </a:lnTo>
                <a:lnTo>
                  <a:pt x="90" y="119"/>
                </a:lnTo>
                <a:lnTo>
                  <a:pt x="87" y="119"/>
                </a:lnTo>
                <a:lnTo>
                  <a:pt x="87" y="122"/>
                </a:lnTo>
                <a:lnTo>
                  <a:pt x="84" y="122"/>
                </a:lnTo>
                <a:lnTo>
                  <a:pt x="84" y="122"/>
                </a:lnTo>
                <a:close/>
                <a:moveTo>
                  <a:pt x="87" y="113"/>
                </a:moveTo>
                <a:lnTo>
                  <a:pt x="87" y="116"/>
                </a:lnTo>
                <a:lnTo>
                  <a:pt x="87" y="113"/>
                </a:lnTo>
                <a:lnTo>
                  <a:pt x="87" y="110"/>
                </a:lnTo>
                <a:lnTo>
                  <a:pt x="87" y="107"/>
                </a:lnTo>
                <a:lnTo>
                  <a:pt x="90" y="107"/>
                </a:lnTo>
                <a:lnTo>
                  <a:pt x="90" y="107"/>
                </a:lnTo>
                <a:lnTo>
                  <a:pt x="90" y="110"/>
                </a:lnTo>
                <a:lnTo>
                  <a:pt x="87" y="113"/>
                </a:lnTo>
                <a:lnTo>
                  <a:pt x="87" y="113"/>
                </a:lnTo>
                <a:close/>
                <a:moveTo>
                  <a:pt x="34" y="144"/>
                </a:moveTo>
                <a:lnTo>
                  <a:pt x="31" y="141"/>
                </a:lnTo>
                <a:lnTo>
                  <a:pt x="34" y="138"/>
                </a:lnTo>
                <a:lnTo>
                  <a:pt x="43" y="135"/>
                </a:lnTo>
                <a:lnTo>
                  <a:pt x="47" y="135"/>
                </a:lnTo>
                <a:lnTo>
                  <a:pt x="47" y="138"/>
                </a:lnTo>
                <a:lnTo>
                  <a:pt x="43" y="144"/>
                </a:lnTo>
                <a:lnTo>
                  <a:pt x="37" y="144"/>
                </a:lnTo>
                <a:lnTo>
                  <a:pt x="34" y="144"/>
                </a:lnTo>
                <a:lnTo>
                  <a:pt x="34" y="144"/>
                </a:lnTo>
                <a:close/>
                <a:moveTo>
                  <a:pt x="0" y="25"/>
                </a:moveTo>
                <a:lnTo>
                  <a:pt x="3" y="25"/>
                </a:lnTo>
                <a:lnTo>
                  <a:pt x="6" y="25"/>
                </a:lnTo>
                <a:lnTo>
                  <a:pt x="12" y="25"/>
                </a:lnTo>
                <a:lnTo>
                  <a:pt x="9" y="25"/>
                </a:lnTo>
                <a:lnTo>
                  <a:pt x="15" y="32"/>
                </a:lnTo>
                <a:lnTo>
                  <a:pt x="22" y="41"/>
                </a:lnTo>
                <a:lnTo>
                  <a:pt x="25" y="41"/>
                </a:lnTo>
                <a:lnTo>
                  <a:pt x="22" y="41"/>
                </a:lnTo>
                <a:lnTo>
                  <a:pt x="25" y="47"/>
                </a:lnTo>
                <a:lnTo>
                  <a:pt x="28" y="50"/>
                </a:lnTo>
                <a:lnTo>
                  <a:pt x="22" y="47"/>
                </a:lnTo>
                <a:lnTo>
                  <a:pt x="18" y="44"/>
                </a:lnTo>
                <a:lnTo>
                  <a:pt x="18" y="50"/>
                </a:lnTo>
                <a:lnTo>
                  <a:pt x="15" y="47"/>
                </a:lnTo>
                <a:lnTo>
                  <a:pt x="12" y="53"/>
                </a:lnTo>
                <a:lnTo>
                  <a:pt x="18" y="57"/>
                </a:lnTo>
                <a:lnTo>
                  <a:pt x="22" y="57"/>
                </a:lnTo>
                <a:lnTo>
                  <a:pt x="25" y="63"/>
                </a:lnTo>
                <a:lnTo>
                  <a:pt x="25" y="69"/>
                </a:lnTo>
                <a:lnTo>
                  <a:pt x="25" y="72"/>
                </a:lnTo>
                <a:lnTo>
                  <a:pt x="28" y="69"/>
                </a:lnTo>
                <a:lnTo>
                  <a:pt x="31" y="75"/>
                </a:lnTo>
                <a:lnTo>
                  <a:pt x="25" y="82"/>
                </a:lnTo>
                <a:lnTo>
                  <a:pt x="25" y="82"/>
                </a:lnTo>
                <a:lnTo>
                  <a:pt x="28" y="85"/>
                </a:lnTo>
                <a:lnTo>
                  <a:pt x="28" y="88"/>
                </a:lnTo>
                <a:lnTo>
                  <a:pt x="25" y="91"/>
                </a:lnTo>
                <a:lnTo>
                  <a:pt x="25" y="94"/>
                </a:lnTo>
                <a:lnTo>
                  <a:pt x="28" y="97"/>
                </a:lnTo>
                <a:lnTo>
                  <a:pt x="25" y="97"/>
                </a:lnTo>
                <a:lnTo>
                  <a:pt x="28" y="107"/>
                </a:lnTo>
                <a:lnTo>
                  <a:pt x="31" y="107"/>
                </a:lnTo>
                <a:lnTo>
                  <a:pt x="34" y="113"/>
                </a:lnTo>
                <a:lnTo>
                  <a:pt x="34" y="113"/>
                </a:lnTo>
                <a:lnTo>
                  <a:pt x="34" y="116"/>
                </a:lnTo>
                <a:lnTo>
                  <a:pt x="37" y="113"/>
                </a:lnTo>
                <a:lnTo>
                  <a:pt x="37" y="110"/>
                </a:lnTo>
                <a:lnTo>
                  <a:pt x="40" y="110"/>
                </a:lnTo>
                <a:lnTo>
                  <a:pt x="40" y="107"/>
                </a:lnTo>
                <a:lnTo>
                  <a:pt x="50" y="100"/>
                </a:lnTo>
                <a:lnTo>
                  <a:pt x="53" y="100"/>
                </a:lnTo>
                <a:lnTo>
                  <a:pt x="56" y="100"/>
                </a:lnTo>
                <a:lnTo>
                  <a:pt x="56" y="97"/>
                </a:lnTo>
                <a:lnTo>
                  <a:pt x="59" y="97"/>
                </a:lnTo>
                <a:lnTo>
                  <a:pt x="62" y="100"/>
                </a:lnTo>
                <a:lnTo>
                  <a:pt x="65" y="100"/>
                </a:lnTo>
                <a:lnTo>
                  <a:pt x="65" y="104"/>
                </a:lnTo>
                <a:lnTo>
                  <a:pt x="68" y="100"/>
                </a:lnTo>
                <a:lnTo>
                  <a:pt x="65" y="97"/>
                </a:lnTo>
                <a:lnTo>
                  <a:pt x="72" y="94"/>
                </a:lnTo>
                <a:lnTo>
                  <a:pt x="75" y="94"/>
                </a:lnTo>
                <a:lnTo>
                  <a:pt x="81" y="88"/>
                </a:lnTo>
                <a:lnTo>
                  <a:pt x="81" y="85"/>
                </a:lnTo>
                <a:lnTo>
                  <a:pt x="84" y="85"/>
                </a:lnTo>
                <a:lnTo>
                  <a:pt x="81" y="69"/>
                </a:lnTo>
                <a:lnTo>
                  <a:pt x="81" y="69"/>
                </a:lnTo>
                <a:lnTo>
                  <a:pt x="78" y="69"/>
                </a:lnTo>
                <a:lnTo>
                  <a:pt x="78" y="66"/>
                </a:lnTo>
                <a:lnTo>
                  <a:pt x="78" y="53"/>
                </a:lnTo>
                <a:lnTo>
                  <a:pt x="75" y="50"/>
                </a:lnTo>
                <a:lnTo>
                  <a:pt x="72" y="41"/>
                </a:lnTo>
                <a:lnTo>
                  <a:pt x="62" y="25"/>
                </a:lnTo>
                <a:lnTo>
                  <a:pt x="50" y="16"/>
                </a:lnTo>
                <a:lnTo>
                  <a:pt x="43" y="0"/>
                </a:lnTo>
                <a:lnTo>
                  <a:pt x="37" y="7"/>
                </a:lnTo>
                <a:lnTo>
                  <a:pt x="22" y="7"/>
                </a:lnTo>
                <a:lnTo>
                  <a:pt x="15" y="13"/>
                </a:lnTo>
                <a:lnTo>
                  <a:pt x="9" y="16"/>
                </a:lnTo>
                <a:lnTo>
                  <a:pt x="3" y="22"/>
                </a:lnTo>
                <a:lnTo>
                  <a:pt x="0" y="25"/>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7" name="Freeform 15">
            <a:extLst>
              <a:ext uri="{FF2B5EF4-FFF2-40B4-BE49-F238E27FC236}">
                <a16:creationId xmlns:a16="http://schemas.microsoft.com/office/drawing/2014/main" id="{C51C7726-1763-F382-FEC0-1058CB1DDA60}"/>
              </a:ext>
            </a:extLst>
          </p:cNvPr>
          <p:cNvSpPr>
            <a:spLocks/>
          </p:cNvSpPr>
          <p:nvPr userDrawn="1"/>
        </p:nvSpPr>
        <p:spPr bwMode="auto">
          <a:xfrm>
            <a:off x="20610757" y="6168306"/>
            <a:ext cx="298431" cy="508000"/>
          </a:xfrm>
          <a:custGeom>
            <a:avLst/>
            <a:gdLst>
              <a:gd name="T0" fmla="*/ 0 w 94"/>
              <a:gd name="T1" fmla="*/ 88 h 160"/>
              <a:gd name="T2" fmla="*/ 6 w 94"/>
              <a:gd name="T3" fmla="*/ 78 h 160"/>
              <a:gd name="T4" fmla="*/ 13 w 94"/>
              <a:gd name="T5" fmla="*/ 72 h 160"/>
              <a:gd name="T6" fmla="*/ 19 w 94"/>
              <a:gd name="T7" fmla="*/ 63 h 160"/>
              <a:gd name="T8" fmla="*/ 22 w 94"/>
              <a:gd name="T9" fmla="*/ 50 h 160"/>
              <a:gd name="T10" fmla="*/ 22 w 94"/>
              <a:gd name="T11" fmla="*/ 41 h 160"/>
              <a:gd name="T12" fmla="*/ 31 w 94"/>
              <a:gd name="T13" fmla="*/ 44 h 160"/>
              <a:gd name="T14" fmla="*/ 38 w 94"/>
              <a:gd name="T15" fmla="*/ 47 h 160"/>
              <a:gd name="T16" fmla="*/ 44 w 94"/>
              <a:gd name="T17" fmla="*/ 47 h 160"/>
              <a:gd name="T18" fmla="*/ 56 w 94"/>
              <a:gd name="T19" fmla="*/ 47 h 160"/>
              <a:gd name="T20" fmla="*/ 60 w 94"/>
              <a:gd name="T21" fmla="*/ 41 h 160"/>
              <a:gd name="T22" fmla="*/ 50 w 94"/>
              <a:gd name="T23" fmla="*/ 31 h 160"/>
              <a:gd name="T24" fmla="*/ 60 w 94"/>
              <a:gd name="T25" fmla="*/ 28 h 160"/>
              <a:gd name="T26" fmla="*/ 66 w 94"/>
              <a:gd name="T27" fmla="*/ 19 h 160"/>
              <a:gd name="T28" fmla="*/ 75 w 94"/>
              <a:gd name="T29" fmla="*/ 16 h 160"/>
              <a:gd name="T30" fmla="*/ 75 w 94"/>
              <a:gd name="T31" fmla="*/ 6 h 160"/>
              <a:gd name="T32" fmla="*/ 75 w 94"/>
              <a:gd name="T33" fmla="*/ 0 h 160"/>
              <a:gd name="T34" fmla="*/ 81 w 94"/>
              <a:gd name="T35" fmla="*/ 0 h 160"/>
              <a:gd name="T36" fmla="*/ 81 w 94"/>
              <a:gd name="T37" fmla="*/ 6 h 160"/>
              <a:gd name="T38" fmla="*/ 94 w 94"/>
              <a:gd name="T39" fmla="*/ 16 h 160"/>
              <a:gd name="T40" fmla="*/ 85 w 94"/>
              <a:gd name="T41" fmla="*/ 22 h 160"/>
              <a:gd name="T42" fmla="*/ 81 w 94"/>
              <a:gd name="T43" fmla="*/ 25 h 160"/>
              <a:gd name="T44" fmla="*/ 81 w 94"/>
              <a:gd name="T45" fmla="*/ 41 h 160"/>
              <a:gd name="T46" fmla="*/ 85 w 94"/>
              <a:gd name="T47" fmla="*/ 56 h 160"/>
              <a:gd name="T48" fmla="*/ 88 w 94"/>
              <a:gd name="T49" fmla="*/ 63 h 160"/>
              <a:gd name="T50" fmla="*/ 81 w 94"/>
              <a:gd name="T51" fmla="*/ 69 h 160"/>
              <a:gd name="T52" fmla="*/ 72 w 94"/>
              <a:gd name="T53" fmla="*/ 81 h 160"/>
              <a:gd name="T54" fmla="*/ 69 w 94"/>
              <a:gd name="T55" fmla="*/ 84 h 160"/>
              <a:gd name="T56" fmla="*/ 63 w 94"/>
              <a:gd name="T57" fmla="*/ 88 h 160"/>
              <a:gd name="T58" fmla="*/ 56 w 94"/>
              <a:gd name="T59" fmla="*/ 97 h 160"/>
              <a:gd name="T60" fmla="*/ 56 w 94"/>
              <a:gd name="T61" fmla="*/ 106 h 160"/>
              <a:gd name="T62" fmla="*/ 56 w 94"/>
              <a:gd name="T63" fmla="*/ 113 h 160"/>
              <a:gd name="T64" fmla="*/ 66 w 94"/>
              <a:gd name="T65" fmla="*/ 116 h 160"/>
              <a:gd name="T66" fmla="*/ 81 w 94"/>
              <a:gd name="T67" fmla="*/ 128 h 160"/>
              <a:gd name="T68" fmla="*/ 60 w 94"/>
              <a:gd name="T69" fmla="*/ 135 h 160"/>
              <a:gd name="T70" fmla="*/ 47 w 94"/>
              <a:gd name="T71" fmla="*/ 144 h 160"/>
              <a:gd name="T72" fmla="*/ 38 w 94"/>
              <a:gd name="T73" fmla="*/ 153 h 160"/>
              <a:gd name="T74" fmla="*/ 31 w 94"/>
              <a:gd name="T75" fmla="*/ 150 h 160"/>
              <a:gd name="T76" fmla="*/ 31 w 94"/>
              <a:gd name="T77" fmla="*/ 156 h 160"/>
              <a:gd name="T78" fmla="*/ 25 w 94"/>
              <a:gd name="T79" fmla="*/ 160 h 160"/>
              <a:gd name="T80" fmla="*/ 25 w 94"/>
              <a:gd name="T81" fmla="*/ 150 h 160"/>
              <a:gd name="T82" fmla="*/ 19 w 94"/>
              <a:gd name="T83" fmla="*/ 150 h 160"/>
              <a:gd name="T84" fmla="*/ 16 w 94"/>
              <a:gd name="T85" fmla="*/ 147 h 160"/>
              <a:gd name="T86" fmla="*/ 19 w 94"/>
              <a:gd name="T87" fmla="*/ 135 h 160"/>
              <a:gd name="T88" fmla="*/ 28 w 94"/>
              <a:gd name="T89" fmla="*/ 128 h 160"/>
              <a:gd name="T90" fmla="*/ 19 w 94"/>
              <a:gd name="T91" fmla="*/ 131 h 160"/>
              <a:gd name="T92" fmla="*/ 16 w 94"/>
              <a:gd name="T93" fmla="*/ 119 h 160"/>
              <a:gd name="T94" fmla="*/ 19 w 94"/>
              <a:gd name="T95" fmla="*/ 110 h 160"/>
              <a:gd name="T96" fmla="*/ 22 w 94"/>
              <a:gd name="T97" fmla="*/ 103 h 160"/>
              <a:gd name="T98" fmla="*/ 19 w 94"/>
              <a:gd name="T99" fmla="*/ 106 h 160"/>
              <a:gd name="T100" fmla="*/ 10 w 94"/>
              <a:gd name="T101" fmla="*/ 103 h 160"/>
              <a:gd name="T102" fmla="*/ 6 w 94"/>
              <a:gd name="T103" fmla="*/ 106 h 160"/>
              <a:gd name="T104" fmla="*/ 0 w 94"/>
              <a:gd name="T105" fmla="*/ 100 h 160"/>
              <a:gd name="T106" fmla="*/ 0 w 94"/>
              <a:gd name="T107" fmla="*/ 10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4" h="160">
                <a:moveTo>
                  <a:pt x="0" y="100"/>
                </a:moveTo>
                <a:lnTo>
                  <a:pt x="0" y="88"/>
                </a:lnTo>
                <a:lnTo>
                  <a:pt x="3" y="84"/>
                </a:lnTo>
                <a:lnTo>
                  <a:pt x="6" y="78"/>
                </a:lnTo>
                <a:lnTo>
                  <a:pt x="6" y="75"/>
                </a:lnTo>
                <a:lnTo>
                  <a:pt x="13" y="72"/>
                </a:lnTo>
                <a:lnTo>
                  <a:pt x="16" y="66"/>
                </a:lnTo>
                <a:lnTo>
                  <a:pt x="19" y="63"/>
                </a:lnTo>
                <a:lnTo>
                  <a:pt x="22" y="53"/>
                </a:lnTo>
                <a:lnTo>
                  <a:pt x="22" y="50"/>
                </a:lnTo>
                <a:lnTo>
                  <a:pt x="22" y="50"/>
                </a:lnTo>
                <a:lnTo>
                  <a:pt x="22" y="41"/>
                </a:lnTo>
                <a:lnTo>
                  <a:pt x="28" y="38"/>
                </a:lnTo>
                <a:lnTo>
                  <a:pt x="31" y="44"/>
                </a:lnTo>
                <a:lnTo>
                  <a:pt x="35" y="44"/>
                </a:lnTo>
                <a:lnTo>
                  <a:pt x="38" y="47"/>
                </a:lnTo>
                <a:lnTo>
                  <a:pt x="41" y="47"/>
                </a:lnTo>
                <a:lnTo>
                  <a:pt x="44" y="47"/>
                </a:lnTo>
                <a:lnTo>
                  <a:pt x="53" y="47"/>
                </a:lnTo>
                <a:lnTo>
                  <a:pt x="56" y="47"/>
                </a:lnTo>
                <a:lnTo>
                  <a:pt x="60" y="44"/>
                </a:lnTo>
                <a:lnTo>
                  <a:pt x="60" y="41"/>
                </a:lnTo>
                <a:lnTo>
                  <a:pt x="56" y="34"/>
                </a:lnTo>
                <a:lnTo>
                  <a:pt x="50" y="31"/>
                </a:lnTo>
                <a:lnTo>
                  <a:pt x="53" y="31"/>
                </a:lnTo>
                <a:lnTo>
                  <a:pt x="60" y="28"/>
                </a:lnTo>
                <a:lnTo>
                  <a:pt x="66" y="22"/>
                </a:lnTo>
                <a:lnTo>
                  <a:pt x="66" y="19"/>
                </a:lnTo>
                <a:lnTo>
                  <a:pt x="69" y="16"/>
                </a:lnTo>
                <a:lnTo>
                  <a:pt x="75" y="16"/>
                </a:lnTo>
                <a:lnTo>
                  <a:pt x="75" y="9"/>
                </a:lnTo>
                <a:lnTo>
                  <a:pt x="75" y="6"/>
                </a:lnTo>
                <a:lnTo>
                  <a:pt x="75" y="3"/>
                </a:lnTo>
                <a:lnTo>
                  <a:pt x="75" y="0"/>
                </a:lnTo>
                <a:lnTo>
                  <a:pt x="78" y="0"/>
                </a:lnTo>
                <a:lnTo>
                  <a:pt x="81" y="0"/>
                </a:lnTo>
                <a:lnTo>
                  <a:pt x="81" y="6"/>
                </a:lnTo>
                <a:lnTo>
                  <a:pt x="81" y="6"/>
                </a:lnTo>
                <a:lnTo>
                  <a:pt x="88" y="9"/>
                </a:lnTo>
                <a:lnTo>
                  <a:pt x="94" y="16"/>
                </a:lnTo>
                <a:lnTo>
                  <a:pt x="91" y="16"/>
                </a:lnTo>
                <a:lnTo>
                  <a:pt x="85" y="22"/>
                </a:lnTo>
                <a:lnTo>
                  <a:pt x="85" y="22"/>
                </a:lnTo>
                <a:lnTo>
                  <a:pt x="81" y="25"/>
                </a:lnTo>
                <a:lnTo>
                  <a:pt x="81" y="38"/>
                </a:lnTo>
                <a:lnTo>
                  <a:pt x="81" y="41"/>
                </a:lnTo>
                <a:lnTo>
                  <a:pt x="85" y="44"/>
                </a:lnTo>
                <a:lnTo>
                  <a:pt x="85" y="56"/>
                </a:lnTo>
                <a:lnTo>
                  <a:pt x="88" y="56"/>
                </a:lnTo>
                <a:lnTo>
                  <a:pt x="88" y="63"/>
                </a:lnTo>
                <a:lnTo>
                  <a:pt x="81" y="66"/>
                </a:lnTo>
                <a:lnTo>
                  <a:pt x="81" y="69"/>
                </a:lnTo>
                <a:lnTo>
                  <a:pt x="72" y="78"/>
                </a:lnTo>
                <a:lnTo>
                  <a:pt x="72" y="81"/>
                </a:lnTo>
                <a:lnTo>
                  <a:pt x="72" y="84"/>
                </a:lnTo>
                <a:lnTo>
                  <a:pt x="69" y="84"/>
                </a:lnTo>
                <a:lnTo>
                  <a:pt x="66" y="84"/>
                </a:lnTo>
                <a:lnTo>
                  <a:pt x="63" y="88"/>
                </a:lnTo>
                <a:lnTo>
                  <a:pt x="60" y="94"/>
                </a:lnTo>
                <a:lnTo>
                  <a:pt x="56" y="97"/>
                </a:lnTo>
                <a:lnTo>
                  <a:pt x="56" y="100"/>
                </a:lnTo>
                <a:lnTo>
                  <a:pt x="56" y="106"/>
                </a:lnTo>
                <a:lnTo>
                  <a:pt x="53" y="106"/>
                </a:lnTo>
                <a:lnTo>
                  <a:pt x="56" y="113"/>
                </a:lnTo>
                <a:lnTo>
                  <a:pt x="63" y="113"/>
                </a:lnTo>
                <a:lnTo>
                  <a:pt x="66" y="116"/>
                </a:lnTo>
                <a:lnTo>
                  <a:pt x="78" y="125"/>
                </a:lnTo>
                <a:lnTo>
                  <a:pt x="81" y="128"/>
                </a:lnTo>
                <a:lnTo>
                  <a:pt x="75" y="135"/>
                </a:lnTo>
                <a:lnTo>
                  <a:pt x="60" y="135"/>
                </a:lnTo>
                <a:lnTo>
                  <a:pt x="53" y="141"/>
                </a:lnTo>
                <a:lnTo>
                  <a:pt x="47" y="144"/>
                </a:lnTo>
                <a:lnTo>
                  <a:pt x="41" y="150"/>
                </a:lnTo>
                <a:lnTo>
                  <a:pt x="38" y="153"/>
                </a:lnTo>
                <a:lnTo>
                  <a:pt x="35" y="150"/>
                </a:lnTo>
                <a:lnTo>
                  <a:pt x="31" y="150"/>
                </a:lnTo>
                <a:lnTo>
                  <a:pt x="35" y="153"/>
                </a:lnTo>
                <a:lnTo>
                  <a:pt x="31" y="156"/>
                </a:lnTo>
                <a:lnTo>
                  <a:pt x="28" y="156"/>
                </a:lnTo>
                <a:lnTo>
                  <a:pt x="25" y="160"/>
                </a:lnTo>
                <a:lnTo>
                  <a:pt x="22" y="156"/>
                </a:lnTo>
                <a:lnTo>
                  <a:pt x="25" y="150"/>
                </a:lnTo>
                <a:lnTo>
                  <a:pt x="22" y="150"/>
                </a:lnTo>
                <a:lnTo>
                  <a:pt x="19" y="150"/>
                </a:lnTo>
                <a:lnTo>
                  <a:pt x="16" y="150"/>
                </a:lnTo>
                <a:lnTo>
                  <a:pt x="16" y="147"/>
                </a:lnTo>
                <a:lnTo>
                  <a:pt x="19" y="138"/>
                </a:lnTo>
                <a:lnTo>
                  <a:pt x="19" y="135"/>
                </a:lnTo>
                <a:lnTo>
                  <a:pt x="25" y="135"/>
                </a:lnTo>
                <a:lnTo>
                  <a:pt x="28" y="128"/>
                </a:lnTo>
                <a:lnTo>
                  <a:pt x="25" y="131"/>
                </a:lnTo>
                <a:lnTo>
                  <a:pt x="19" y="131"/>
                </a:lnTo>
                <a:lnTo>
                  <a:pt x="16" y="128"/>
                </a:lnTo>
                <a:lnTo>
                  <a:pt x="16" y="119"/>
                </a:lnTo>
                <a:lnTo>
                  <a:pt x="22" y="113"/>
                </a:lnTo>
                <a:lnTo>
                  <a:pt x="19" y="110"/>
                </a:lnTo>
                <a:lnTo>
                  <a:pt x="22" y="106"/>
                </a:lnTo>
                <a:lnTo>
                  <a:pt x="22" y="103"/>
                </a:lnTo>
                <a:lnTo>
                  <a:pt x="19" y="103"/>
                </a:lnTo>
                <a:lnTo>
                  <a:pt x="19" y="106"/>
                </a:lnTo>
                <a:lnTo>
                  <a:pt x="13" y="106"/>
                </a:lnTo>
                <a:lnTo>
                  <a:pt x="10" y="103"/>
                </a:lnTo>
                <a:lnTo>
                  <a:pt x="6" y="103"/>
                </a:lnTo>
                <a:lnTo>
                  <a:pt x="6" y="106"/>
                </a:lnTo>
                <a:lnTo>
                  <a:pt x="3" y="106"/>
                </a:lnTo>
                <a:lnTo>
                  <a:pt x="0" y="100"/>
                </a:lnTo>
                <a:lnTo>
                  <a:pt x="0" y="100"/>
                </a:lnTo>
                <a:lnTo>
                  <a:pt x="0" y="10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8" name="Freeform 16">
            <a:extLst>
              <a:ext uri="{FF2B5EF4-FFF2-40B4-BE49-F238E27FC236}">
                <a16:creationId xmlns:a16="http://schemas.microsoft.com/office/drawing/2014/main" id="{55F446EE-7401-7594-6011-35899B8B1C0B}"/>
              </a:ext>
            </a:extLst>
          </p:cNvPr>
          <p:cNvSpPr>
            <a:spLocks/>
          </p:cNvSpPr>
          <p:nvPr userDrawn="1"/>
        </p:nvSpPr>
        <p:spPr bwMode="auto">
          <a:xfrm>
            <a:off x="18210616" y="5501559"/>
            <a:ext cx="1923925" cy="904878"/>
          </a:xfrm>
          <a:custGeom>
            <a:avLst/>
            <a:gdLst>
              <a:gd name="T0" fmla="*/ 19 w 606"/>
              <a:gd name="T1" fmla="*/ 88 h 285"/>
              <a:gd name="T2" fmla="*/ 37 w 606"/>
              <a:gd name="T3" fmla="*/ 69 h 285"/>
              <a:gd name="T4" fmla="*/ 44 w 606"/>
              <a:gd name="T5" fmla="*/ 57 h 285"/>
              <a:gd name="T6" fmla="*/ 69 w 606"/>
              <a:gd name="T7" fmla="*/ 50 h 285"/>
              <a:gd name="T8" fmla="*/ 81 w 606"/>
              <a:gd name="T9" fmla="*/ 54 h 285"/>
              <a:gd name="T10" fmla="*/ 103 w 606"/>
              <a:gd name="T11" fmla="*/ 54 h 285"/>
              <a:gd name="T12" fmla="*/ 128 w 606"/>
              <a:gd name="T13" fmla="*/ 72 h 285"/>
              <a:gd name="T14" fmla="*/ 147 w 606"/>
              <a:gd name="T15" fmla="*/ 69 h 285"/>
              <a:gd name="T16" fmla="*/ 172 w 606"/>
              <a:gd name="T17" fmla="*/ 69 h 285"/>
              <a:gd name="T18" fmla="*/ 178 w 606"/>
              <a:gd name="T19" fmla="*/ 44 h 285"/>
              <a:gd name="T20" fmla="*/ 162 w 606"/>
              <a:gd name="T21" fmla="*/ 22 h 285"/>
              <a:gd name="T22" fmla="*/ 175 w 606"/>
              <a:gd name="T23" fmla="*/ 10 h 285"/>
              <a:gd name="T24" fmla="*/ 190 w 606"/>
              <a:gd name="T25" fmla="*/ 4 h 285"/>
              <a:gd name="T26" fmla="*/ 215 w 606"/>
              <a:gd name="T27" fmla="*/ 10 h 285"/>
              <a:gd name="T28" fmla="*/ 237 w 606"/>
              <a:gd name="T29" fmla="*/ 16 h 285"/>
              <a:gd name="T30" fmla="*/ 247 w 606"/>
              <a:gd name="T31" fmla="*/ 35 h 285"/>
              <a:gd name="T32" fmla="*/ 262 w 606"/>
              <a:gd name="T33" fmla="*/ 47 h 285"/>
              <a:gd name="T34" fmla="*/ 284 w 606"/>
              <a:gd name="T35" fmla="*/ 47 h 285"/>
              <a:gd name="T36" fmla="*/ 309 w 606"/>
              <a:gd name="T37" fmla="*/ 38 h 285"/>
              <a:gd name="T38" fmla="*/ 341 w 606"/>
              <a:gd name="T39" fmla="*/ 47 h 285"/>
              <a:gd name="T40" fmla="*/ 366 w 606"/>
              <a:gd name="T41" fmla="*/ 57 h 285"/>
              <a:gd name="T42" fmla="*/ 394 w 606"/>
              <a:gd name="T43" fmla="*/ 66 h 285"/>
              <a:gd name="T44" fmla="*/ 422 w 606"/>
              <a:gd name="T45" fmla="*/ 66 h 285"/>
              <a:gd name="T46" fmla="*/ 453 w 606"/>
              <a:gd name="T47" fmla="*/ 50 h 285"/>
              <a:gd name="T48" fmla="*/ 469 w 606"/>
              <a:gd name="T49" fmla="*/ 35 h 285"/>
              <a:gd name="T50" fmla="*/ 487 w 606"/>
              <a:gd name="T51" fmla="*/ 25 h 285"/>
              <a:gd name="T52" fmla="*/ 506 w 606"/>
              <a:gd name="T53" fmla="*/ 35 h 285"/>
              <a:gd name="T54" fmla="*/ 522 w 606"/>
              <a:gd name="T55" fmla="*/ 63 h 285"/>
              <a:gd name="T56" fmla="*/ 531 w 606"/>
              <a:gd name="T57" fmla="*/ 97 h 285"/>
              <a:gd name="T58" fmla="*/ 562 w 606"/>
              <a:gd name="T59" fmla="*/ 88 h 285"/>
              <a:gd name="T60" fmla="*/ 591 w 606"/>
              <a:gd name="T61" fmla="*/ 94 h 285"/>
              <a:gd name="T62" fmla="*/ 603 w 606"/>
              <a:gd name="T63" fmla="*/ 119 h 285"/>
              <a:gd name="T64" fmla="*/ 591 w 606"/>
              <a:gd name="T65" fmla="*/ 126 h 285"/>
              <a:gd name="T66" fmla="*/ 566 w 606"/>
              <a:gd name="T67" fmla="*/ 132 h 285"/>
              <a:gd name="T68" fmla="*/ 556 w 606"/>
              <a:gd name="T69" fmla="*/ 141 h 285"/>
              <a:gd name="T70" fmla="*/ 537 w 606"/>
              <a:gd name="T71" fmla="*/ 166 h 285"/>
              <a:gd name="T72" fmla="*/ 516 w 606"/>
              <a:gd name="T73" fmla="*/ 179 h 285"/>
              <a:gd name="T74" fmla="*/ 494 w 606"/>
              <a:gd name="T75" fmla="*/ 182 h 285"/>
              <a:gd name="T76" fmla="*/ 469 w 606"/>
              <a:gd name="T77" fmla="*/ 194 h 285"/>
              <a:gd name="T78" fmla="*/ 484 w 606"/>
              <a:gd name="T79" fmla="*/ 219 h 285"/>
              <a:gd name="T80" fmla="*/ 456 w 606"/>
              <a:gd name="T81" fmla="*/ 248 h 285"/>
              <a:gd name="T82" fmla="*/ 422 w 606"/>
              <a:gd name="T83" fmla="*/ 260 h 285"/>
              <a:gd name="T84" fmla="*/ 372 w 606"/>
              <a:gd name="T85" fmla="*/ 285 h 285"/>
              <a:gd name="T86" fmla="*/ 347 w 606"/>
              <a:gd name="T87" fmla="*/ 282 h 285"/>
              <a:gd name="T88" fmla="*/ 297 w 606"/>
              <a:gd name="T89" fmla="*/ 260 h 285"/>
              <a:gd name="T90" fmla="*/ 256 w 606"/>
              <a:gd name="T91" fmla="*/ 266 h 285"/>
              <a:gd name="T92" fmla="*/ 200 w 606"/>
              <a:gd name="T93" fmla="*/ 266 h 285"/>
              <a:gd name="T94" fmla="*/ 181 w 606"/>
              <a:gd name="T95" fmla="*/ 238 h 285"/>
              <a:gd name="T96" fmla="*/ 172 w 606"/>
              <a:gd name="T97" fmla="*/ 226 h 285"/>
              <a:gd name="T98" fmla="*/ 147 w 606"/>
              <a:gd name="T99" fmla="*/ 216 h 285"/>
              <a:gd name="T100" fmla="*/ 119 w 606"/>
              <a:gd name="T101" fmla="*/ 207 h 285"/>
              <a:gd name="T102" fmla="*/ 78 w 606"/>
              <a:gd name="T103" fmla="*/ 194 h 285"/>
              <a:gd name="T104" fmla="*/ 78 w 606"/>
              <a:gd name="T105" fmla="*/ 179 h 285"/>
              <a:gd name="T106" fmla="*/ 72 w 606"/>
              <a:gd name="T107" fmla="*/ 160 h 285"/>
              <a:gd name="T108" fmla="*/ 62 w 606"/>
              <a:gd name="T109" fmla="*/ 141 h 285"/>
              <a:gd name="T110" fmla="*/ 47 w 606"/>
              <a:gd name="T111" fmla="*/ 135 h 285"/>
              <a:gd name="T112" fmla="*/ 31 w 606"/>
              <a:gd name="T113" fmla="*/ 132 h 285"/>
              <a:gd name="T114" fmla="*/ 22 w 606"/>
              <a:gd name="T115" fmla="*/ 129 h 285"/>
              <a:gd name="T116" fmla="*/ 6 w 606"/>
              <a:gd name="T117" fmla="*/ 116 h 285"/>
              <a:gd name="T118" fmla="*/ 0 w 606"/>
              <a:gd name="T119" fmla="*/ 11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6" h="285">
                <a:moveTo>
                  <a:pt x="0" y="101"/>
                </a:moveTo>
                <a:lnTo>
                  <a:pt x="3" y="94"/>
                </a:lnTo>
                <a:lnTo>
                  <a:pt x="6" y="94"/>
                </a:lnTo>
                <a:lnTo>
                  <a:pt x="15" y="94"/>
                </a:lnTo>
                <a:lnTo>
                  <a:pt x="15" y="91"/>
                </a:lnTo>
                <a:lnTo>
                  <a:pt x="19" y="88"/>
                </a:lnTo>
                <a:lnTo>
                  <a:pt x="25" y="85"/>
                </a:lnTo>
                <a:lnTo>
                  <a:pt x="25" y="82"/>
                </a:lnTo>
                <a:lnTo>
                  <a:pt x="28" y="79"/>
                </a:lnTo>
                <a:lnTo>
                  <a:pt x="34" y="75"/>
                </a:lnTo>
                <a:lnTo>
                  <a:pt x="34" y="72"/>
                </a:lnTo>
                <a:lnTo>
                  <a:pt x="37" y="69"/>
                </a:lnTo>
                <a:lnTo>
                  <a:pt x="40" y="69"/>
                </a:lnTo>
                <a:lnTo>
                  <a:pt x="44" y="63"/>
                </a:lnTo>
                <a:lnTo>
                  <a:pt x="44" y="63"/>
                </a:lnTo>
                <a:lnTo>
                  <a:pt x="40" y="60"/>
                </a:lnTo>
                <a:lnTo>
                  <a:pt x="40" y="60"/>
                </a:lnTo>
                <a:lnTo>
                  <a:pt x="44" y="57"/>
                </a:lnTo>
                <a:lnTo>
                  <a:pt x="50" y="60"/>
                </a:lnTo>
                <a:lnTo>
                  <a:pt x="53" y="57"/>
                </a:lnTo>
                <a:lnTo>
                  <a:pt x="53" y="54"/>
                </a:lnTo>
                <a:lnTo>
                  <a:pt x="56" y="50"/>
                </a:lnTo>
                <a:lnTo>
                  <a:pt x="65" y="50"/>
                </a:lnTo>
                <a:lnTo>
                  <a:pt x="69" y="50"/>
                </a:lnTo>
                <a:lnTo>
                  <a:pt x="72" y="50"/>
                </a:lnTo>
                <a:lnTo>
                  <a:pt x="75" y="50"/>
                </a:lnTo>
                <a:lnTo>
                  <a:pt x="78" y="47"/>
                </a:lnTo>
                <a:lnTo>
                  <a:pt x="81" y="47"/>
                </a:lnTo>
                <a:lnTo>
                  <a:pt x="81" y="50"/>
                </a:lnTo>
                <a:lnTo>
                  <a:pt x="81" y="54"/>
                </a:lnTo>
                <a:lnTo>
                  <a:pt x="84" y="57"/>
                </a:lnTo>
                <a:lnTo>
                  <a:pt x="87" y="57"/>
                </a:lnTo>
                <a:lnTo>
                  <a:pt x="90" y="54"/>
                </a:lnTo>
                <a:lnTo>
                  <a:pt x="94" y="54"/>
                </a:lnTo>
                <a:lnTo>
                  <a:pt x="97" y="54"/>
                </a:lnTo>
                <a:lnTo>
                  <a:pt x="103" y="54"/>
                </a:lnTo>
                <a:lnTo>
                  <a:pt x="106" y="57"/>
                </a:lnTo>
                <a:lnTo>
                  <a:pt x="106" y="60"/>
                </a:lnTo>
                <a:lnTo>
                  <a:pt x="106" y="60"/>
                </a:lnTo>
                <a:lnTo>
                  <a:pt x="115" y="66"/>
                </a:lnTo>
                <a:lnTo>
                  <a:pt x="119" y="69"/>
                </a:lnTo>
                <a:lnTo>
                  <a:pt x="128" y="72"/>
                </a:lnTo>
                <a:lnTo>
                  <a:pt x="131" y="72"/>
                </a:lnTo>
                <a:lnTo>
                  <a:pt x="134" y="69"/>
                </a:lnTo>
                <a:lnTo>
                  <a:pt x="137" y="66"/>
                </a:lnTo>
                <a:lnTo>
                  <a:pt x="140" y="66"/>
                </a:lnTo>
                <a:lnTo>
                  <a:pt x="144" y="66"/>
                </a:lnTo>
                <a:lnTo>
                  <a:pt x="147" y="69"/>
                </a:lnTo>
                <a:lnTo>
                  <a:pt x="150" y="69"/>
                </a:lnTo>
                <a:lnTo>
                  <a:pt x="159" y="69"/>
                </a:lnTo>
                <a:lnTo>
                  <a:pt x="162" y="69"/>
                </a:lnTo>
                <a:lnTo>
                  <a:pt x="165" y="69"/>
                </a:lnTo>
                <a:lnTo>
                  <a:pt x="169" y="69"/>
                </a:lnTo>
                <a:lnTo>
                  <a:pt x="172" y="69"/>
                </a:lnTo>
                <a:lnTo>
                  <a:pt x="178" y="69"/>
                </a:lnTo>
                <a:lnTo>
                  <a:pt x="181" y="63"/>
                </a:lnTo>
                <a:lnTo>
                  <a:pt x="178" y="60"/>
                </a:lnTo>
                <a:lnTo>
                  <a:pt x="175" y="57"/>
                </a:lnTo>
                <a:lnTo>
                  <a:pt x="175" y="50"/>
                </a:lnTo>
                <a:lnTo>
                  <a:pt x="178" y="44"/>
                </a:lnTo>
                <a:lnTo>
                  <a:pt x="175" y="44"/>
                </a:lnTo>
                <a:lnTo>
                  <a:pt x="172" y="41"/>
                </a:lnTo>
                <a:lnTo>
                  <a:pt x="169" y="38"/>
                </a:lnTo>
                <a:lnTo>
                  <a:pt x="165" y="38"/>
                </a:lnTo>
                <a:lnTo>
                  <a:pt x="162" y="32"/>
                </a:lnTo>
                <a:lnTo>
                  <a:pt x="162" y="22"/>
                </a:lnTo>
                <a:lnTo>
                  <a:pt x="165" y="19"/>
                </a:lnTo>
                <a:lnTo>
                  <a:pt x="165" y="16"/>
                </a:lnTo>
                <a:lnTo>
                  <a:pt x="169" y="13"/>
                </a:lnTo>
                <a:lnTo>
                  <a:pt x="172" y="10"/>
                </a:lnTo>
                <a:lnTo>
                  <a:pt x="175" y="13"/>
                </a:lnTo>
                <a:lnTo>
                  <a:pt x="175" y="10"/>
                </a:lnTo>
                <a:lnTo>
                  <a:pt x="175" y="7"/>
                </a:lnTo>
                <a:lnTo>
                  <a:pt x="175" y="4"/>
                </a:lnTo>
                <a:lnTo>
                  <a:pt x="178" y="0"/>
                </a:lnTo>
                <a:lnTo>
                  <a:pt x="181" y="0"/>
                </a:lnTo>
                <a:lnTo>
                  <a:pt x="184" y="4"/>
                </a:lnTo>
                <a:lnTo>
                  <a:pt x="190" y="4"/>
                </a:lnTo>
                <a:lnTo>
                  <a:pt x="194" y="7"/>
                </a:lnTo>
                <a:lnTo>
                  <a:pt x="194" y="7"/>
                </a:lnTo>
                <a:lnTo>
                  <a:pt x="200" y="10"/>
                </a:lnTo>
                <a:lnTo>
                  <a:pt x="203" y="10"/>
                </a:lnTo>
                <a:lnTo>
                  <a:pt x="212" y="10"/>
                </a:lnTo>
                <a:lnTo>
                  <a:pt x="215" y="10"/>
                </a:lnTo>
                <a:lnTo>
                  <a:pt x="215" y="13"/>
                </a:lnTo>
                <a:lnTo>
                  <a:pt x="222" y="13"/>
                </a:lnTo>
                <a:lnTo>
                  <a:pt x="225" y="16"/>
                </a:lnTo>
                <a:lnTo>
                  <a:pt x="228" y="16"/>
                </a:lnTo>
                <a:lnTo>
                  <a:pt x="234" y="16"/>
                </a:lnTo>
                <a:lnTo>
                  <a:pt x="237" y="16"/>
                </a:lnTo>
                <a:lnTo>
                  <a:pt x="240" y="19"/>
                </a:lnTo>
                <a:lnTo>
                  <a:pt x="240" y="22"/>
                </a:lnTo>
                <a:lnTo>
                  <a:pt x="244" y="25"/>
                </a:lnTo>
                <a:lnTo>
                  <a:pt x="244" y="29"/>
                </a:lnTo>
                <a:lnTo>
                  <a:pt x="244" y="29"/>
                </a:lnTo>
                <a:lnTo>
                  <a:pt x="247" y="35"/>
                </a:lnTo>
                <a:lnTo>
                  <a:pt x="247" y="38"/>
                </a:lnTo>
                <a:lnTo>
                  <a:pt x="247" y="38"/>
                </a:lnTo>
                <a:lnTo>
                  <a:pt x="250" y="38"/>
                </a:lnTo>
                <a:lnTo>
                  <a:pt x="253" y="44"/>
                </a:lnTo>
                <a:lnTo>
                  <a:pt x="256" y="44"/>
                </a:lnTo>
                <a:lnTo>
                  <a:pt x="262" y="47"/>
                </a:lnTo>
                <a:lnTo>
                  <a:pt x="269" y="50"/>
                </a:lnTo>
                <a:lnTo>
                  <a:pt x="272" y="50"/>
                </a:lnTo>
                <a:lnTo>
                  <a:pt x="272" y="47"/>
                </a:lnTo>
                <a:lnTo>
                  <a:pt x="278" y="50"/>
                </a:lnTo>
                <a:lnTo>
                  <a:pt x="281" y="47"/>
                </a:lnTo>
                <a:lnTo>
                  <a:pt x="284" y="47"/>
                </a:lnTo>
                <a:lnTo>
                  <a:pt x="284" y="47"/>
                </a:lnTo>
                <a:lnTo>
                  <a:pt x="287" y="47"/>
                </a:lnTo>
                <a:lnTo>
                  <a:pt x="290" y="44"/>
                </a:lnTo>
                <a:lnTo>
                  <a:pt x="297" y="41"/>
                </a:lnTo>
                <a:lnTo>
                  <a:pt x="306" y="41"/>
                </a:lnTo>
                <a:lnTo>
                  <a:pt x="309" y="38"/>
                </a:lnTo>
                <a:lnTo>
                  <a:pt x="315" y="38"/>
                </a:lnTo>
                <a:lnTo>
                  <a:pt x="319" y="38"/>
                </a:lnTo>
                <a:lnTo>
                  <a:pt x="325" y="41"/>
                </a:lnTo>
                <a:lnTo>
                  <a:pt x="328" y="41"/>
                </a:lnTo>
                <a:lnTo>
                  <a:pt x="337" y="41"/>
                </a:lnTo>
                <a:lnTo>
                  <a:pt x="341" y="47"/>
                </a:lnTo>
                <a:lnTo>
                  <a:pt x="347" y="47"/>
                </a:lnTo>
                <a:lnTo>
                  <a:pt x="353" y="47"/>
                </a:lnTo>
                <a:lnTo>
                  <a:pt x="356" y="47"/>
                </a:lnTo>
                <a:lnTo>
                  <a:pt x="359" y="50"/>
                </a:lnTo>
                <a:lnTo>
                  <a:pt x="362" y="57"/>
                </a:lnTo>
                <a:lnTo>
                  <a:pt x="366" y="57"/>
                </a:lnTo>
                <a:lnTo>
                  <a:pt x="369" y="60"/>
                </a:lnTo>
                <a:lnTo>
                  <a:pt x="372" y="60"/>
                </a:lnTo>
                <a:lnTo>
                  <a:pt x="375" y="63"/>
                </a:lnTo>
                <a:lnTo>
                  <a:pt x="378" y="63"/>
                </a:lnTo>
                <a:lnTo>
                  <a:pt x="384" y="63"/>
                </a:lnTo>
                <a:lnTo>
                  <a:pt x="394" y="66"/>
                </a:lnTo>
                <a:lnTo>
                  <a:pt x="406" y="66"/>
                </a:lnTo>
                <a:lnTo>
                  <a:pt x="409" y="63"/>
                </a:lnTo>
                <a:lnTo>
                  <a:pt x="412" y="63"/>
                </a:lnTo>
                <a:lnTo>
                  <a:pt x="416" y="63"/>
                </a:lnTo>
                <a:lnTo>
                  <a:pt x="422" y="66"/>
                </a:lnTo>
                <a:lnTo>
                  <a:pt x="422" y="66"/>
                </a:lnTo>
                <a:lnTo>
                  <a:pt x="425" y="60"/>
                </a:lnTo>
                <a:lnTo>
                  <a:pt x="434" y="57"/>
                </a:lnTo>
                <a:lnTo>
                  <a:pt x="437" y="57"/>
                </a:lnTo>
                <a:lnTo>
                  <a:pt x="441" y="54"/>
                </a:lnTo>
                <a:lnTo>
                  <a:pt x="444" y="50"/>
                </a:lnTo>
                <a:lnTo>
                  <a:pt x="453" y="50"/>
                </a:lnTo>
                <a:lnTo>
                  <a:pt x="456" y="47"/>
                </a:lnTo>
                <a:lnTo>
                  <a:pt x="459" y="44"/>
                </a:lnTo>
                <a:lnTo>
                  <a:pt x="459" y="44"/>
                </a:lnTo>
                <a:lnTo>
                  <a:pt x="459" y="38"/>
                </a:lnTo>
                <a:lnTo>
                  <a:pt x="466" y="38"/>
                </a:lnTo>
                <a:lnTo>
                  <a:pt x="469" y="35"/>
                </a:lnTo>
                <a:lnTo>
                  <a:pt x="469" y="29"/>
                </a:lnTo>
                <a:lnTo>
                  <a:pt x="472" y="25"/>
                </a:lnTo>
                <a:lnTo>
                  <a:pt x="475" y="25"/>
                </a:lnTo>
                <a:lnTo>
                  <a:pt x="478" y="29"/>
                </a:lnTo>
                <a:lnTo>
                  <a:pt x="481" y="25"/>
                </a:lnTo>
                <a:lnTo>
                  <a:pt x="487" y="25"/>
                </a:lnTo>
                <a:lnTo>
                  <a:pt x="491" y="29"/>
                </a:lnTo>
                <a:lnTo>
                  <a:pt x="494" y="35"/>
                </a:lnTo>
                <a:lnTo>
                  <a:pt x="497" y="35"/>
                </a:lnTo>
                <a:lnTo>
                  <a:pt x="500" y="32"/>
                </a:lnTo>
                <a:lnTo>
                  <a:pt x="503" y="35"/>
                </a:lnTo>
                <a:lnTo>
                  <a:pt x="506" y="35"/>
                </a:lnTo>
                <a:lnTo>
                  <a:pt x="509" y="32"/>
                </a:lnTo>
                <a:lnTo>
                  <a:pt x="509" y="29"/>
                </a:lnTo>
                <a:lnTo>
                  <a:pt x="516" y="29"/>
                </a:lnTo>
                <a:lnTo>
                  <a:pt x="525" y="32"/>
                </a:lnTo>
                <a:lnTo>
                  <a:pt x="525" y="32"/>
                </a:lnTo>
                <a:lnTo>
                  <a:pt x="522" y="63"/>
                </a:lnTo>
                <a:lnTo>
                  <a:pt x="522" y="69"/>
                </a:lnTo>
                <a:lnTo>
                  <a:pt x="522" y="75"/>
                </a:lnTo>
                <a:lnTo>
                  <a:pt x="522" y="79"/>
                </a:lnTo>
                <a:lnTo>
                  <a:pt x="519" y="88"/>
                </a:lnTo>
                <a:lnTo>
                  <a:pt x="522" y="94"/>
                </a:lnTo>
                <a:lnTo>
                  <a:pt x="531" y="97"/>
                </a:lnTo>
                <a:lnTo>
                  <a:pt x="537" y="94"/>
                </a:lnTo>
                <a:lnTo>
                  <a:pt x="544" y="94"/>
                </a:lnTo>
                <a:lnTo>
                  <a:pt x="553" y="94"/>
                </a:lnTo>
                <a:lnTo>
                  <a:pt x="556" y="101"/>
                </a:lnTo>
                <a:lnTo>
                  <a:pt x="562" y="91"/>
                </a:lnTo>
                <a:lnTo>
                  <a:pt x="562" y="88"/>
                </a:lnTo>
                <a:lnTo>
                  <a:pt x="562" y="85"/>
                </a:lnTo>
                <a:lnTo>
                  <a:pt x="569" y="82"/>
                </a:lnTo>
                <a:lnTo>
                  <a:pt x="569" y="82"/>
                </a:lnTo>
                <a:lnTo>
                  <a:pt x="578" y="82"/>
                </a:lnTo>
                <a:lnTo>
                  <a:pt x="584" y="88"/>
                </a:lnTo>
                <a:lnTo>
                  <a:pt x="591" y="94"/>
                </a:lnTo>
                <a:lnTo>
                  <a:pt x="597" y="104"/>
                </a:lnTo>
                <a:lnTo>
                  <a:pt x="603" y="107"/>
                </a:lnTo>
                <a:lnTo>
                  <a:pt x="603" y="110"/>
                </a:lnTo>
                <a:lnTo>
                  <a:pt x="606" y="113"/>
                </a:lnTo>
                <a:lnTo>
                  <a:pt x="606" y="116"/>
                </a:lnTo>
                <a:lnTo>
                  <a:pt x="603" y="119"/>
                </a:lnTo>
                <a:lnTo>
                  <a:pt x="603" y="122"/>
                </a:lnTo>
                <a:lnTo>
                  <a:pt x="603" y="126"/>
                </a:lnTo>
                <a:lnTo>
                  <a:pt x="600" y="126"/>
                </a:lnTo>
                <a:lnTo>
                  <a:pt x="597" y="122"/>
                </a:lnTo>
                <a:lnTo>
                  <a:pt x="594" y="122"/>
                </a:lnTo>
                <a:lnTo>
                  <a:pt x="591" y="126"/>
                </a:lnTo>
                <a:lnTo>
                  <a:pt x="584" y="122"/>
                </a:lnTo>
                <a:lnTo>
                  <a:pt x="581" y="122"/>
                </a:lnTo>
                <a:lnTo>
                  <a:pt x="578" y="129"/>
                </a:lnTo>
                <a:lnTo>
                  <a:pt x="572" y="132"/>
                </a:lnTo>
                <a:lnTo>
                  <a:pt x="569" y="135"/>
                </a:lnTo>
                <a:lnTo>
                  <a:pt x="566" y="132"/>
                </a:lnTo>
                <a:lnTo>
                  <a:pt x="566" y="132"/>
                </a:lnTo>
                <a:lnTo>
                  <a:pt x="566" y="135"/>
                </a:lnTo>
                <a:lnTo>
                  <a:pt x="562" y="138"/>
                </a:lnTo>
                <a:lnTo>
                  <a:pt x="559" y="138"/>
                </a:lnTo>
                <a:lnTo>
                  <a:pt x="559" y="138"/>
                </a:lnTo>
                <a:lnTo>
                  <a:pt x="556" y="141"/>
                </a:lnTo>
                <a:lnTo>
                  <a:pt x="553" y="144"/>
                </a:lnTo>
                <a:lnTo>
                  <a:pt x="553" y="151"/>
                </a:lnTo>
                <a:lnTo>
                  <a:pt x="553" y="154"/>
                </a:lnTo>
                <a:lnTo>
                  <a:pt x="550" y="157"/>
                </a:lnTo>
                <a:lnTo>
                  <a:pt x="547" y="160"/>
                </a:lnTo>
                <a:lnTo>
                  <a:pt x="537" y="166"/>
                </a:lnTo>
                <a:lnTo>
                  <a:pt x="534" y="166"/>
                </a:lnTo>
                <a:lnTo>
                  <a:pt x="528" y="163"/>
                </a:lnTo>
                <a:lnTo>
                  <a:pt x="525" y="166"/>
                </a:lnTo>
                <a:lnTo>
                  <a:pt x="522" y="172"/>
                </a:lnTo>
                <a:lnTo>
                  <a:pt x="519" y="176"/>
                </a:lnTo>
                <a:lnTo>
                  <a:pt x="516" y="179"/>
                </a:lnTo>
                <a:lnTo>
                  <a:pt x="512" y="182"/>
                </a:lnTo>
                <a:lnTo>
                  <a:pt x="509" y="185"/>
                </a:lnTo>
                <a:lnTo>
                  <a:pt x="509" y="185"/>
                </a:lnTo>
                <a:lnTo>
                  <a:pt x="503" y="185"/>
                </a:lnTo>
                <a:lnTo>
                  <a:pt x="500" y="182"/>
                </a:lnTo>
                <a:lnTo>
                  <a:pt x="494" y="182"/>
                </a:lnTo>
                <a:lnTo>
                  <a:pt x="487" y="176"/>
                </a:lnTo>
                <a:lnTo>
                  <a:pt x="484" y="176"/>
                </a:lnTo>
                <a:lnTo>
                  <a:pt x="475" y="179"/>
                </a:lnTo>
                <a:lnTo>
                  <a:pt x="472" y="182"/>
                </a:lnTo>
                <a:lnTo>
                  <a:pt x="469" y="185"/>
                </a:lnTo>
                <a:lnTo>
                  <a:pt x="469" y="194"/>
                </a:lnTo>
                <a:lnTo>
                  <a:pt x="469" y="197"/>
                </a:lnTo>
                <a:lnTo>
                  <a:pt x="469" y="201"/>
                </a:lnTo>
                <a:lnTo>
                  <a:pt x="478" y="207"/>
                </a:lnTo>
                <a:lnTo>
                  <a:pt x="484" y="213"/>
                </a:lnTo>
                <a:lnTo>
                  <a:pt x="484" y="213"/>
                </a:lnTo>
                <a:lnTo>
                  <a:pt x="484" y="219"/>
                </a:lnTo>
                <a:lnTo>
                  <a:pt x="481" y="223"/>
                </a:lnTo>
                <a:lnTo>
                  <a:pt x="472" y="232"/>
                </a:lnTo>
                <a:lnTo>
                  <a:pt x="469" y="241"/>
                </a:lnTo>
                <a:lnTo>
                  <a:pt x="466" y="248"/>
                </a:lnTo>
                <a:lnTo>
                  <a:pt x="462" y="248"/>
                </a:lnTo>
                <a:lnTo>
                  <a:pt x="456" y="248"/>
                </a:lnTo>
                <a:lnTo>
                  <a:pt x="450" y="248"/>
                </a:lnTo>
                <a:lnTo>
                  <a:pt x="444" y="254"/>
                </a:lnTo>
                <a:lnTo>
                  <a:pt x="441" y="257"/>
                </a:lnTo>
                <a:lnTo>
                  <a:pt x="434" y="257"/>
                </a:lnTo>
                <a:lnTo>
                  <a:pt x="425" y="257"/>
                </a:lnTo>
                <a:lnTo>
                  <a:pt x="422" y="260"/>
                </a:lnTo>
                <a:lnTo>
                  <a:pt x="416" y="260"/>
                </a:lnTo>
                <a:lnTo>
                  <a:pt x="400" y="266"/>
                </a:lnTo>
                <a:lnTo>
                  <a:pt x="391" y="269"/>
                </a:lnTo>
                <a:lnTo>
                  <a:pt x="384" y="276"/>
                </a:lnTo>
                <a:lnTo>
                  <a:pt x="375" y="282"/>
                </a:lnTo>
                <a:lnTo>
                  <a:pt x="372" y="285"/>
                </a:lnTo>
                <a:lnTo>
                  <a:pt x="369" y="285"/>
                </a:lnTo>
                <a:lnTo>
                  <a:pt x="362" y="285"/>
                </a:lnTo>
                <a:lnTo>
                  <a:pt x="362" y="282"/>
                </a:lnTo>
                <a:lnTo>
                  <a:pt x="359" y="279"/>
                </a:lnTo>
                <a:lnTo>
                  <a:pt x="353" y="282"/>
                </a:lnTo>
                <a:lnTo>
                  <a:pt x="347" y="282"/>
                </a:lnTo>
                <a:lnTo>
                  <a:pt x="337" y="279"/>
                </a:lnTo>
                <a:lnTo>
                  <a:pt x="334" y="279"/>
                </a:lnTo>
                <a:lnTo>
                  <a:pt x="322" y="273"/>
                </a:lnTo>
                <a:lnTo>
                  <a:pt x="309" y="269"/>
                </a:lnTo>
                <a:lnTo>
                  <a:pt x="303" y="263"/>
                </a:lnTo>
                <a:lnTo>
                  <a:pt x="297" y="260"/>
                </a:lnTo>
                <a:lnTo>
                  <a:pt x="281" y="260"/>
                </a:lnTo>
                <a:lnTo>
                  <a:pt x="272" y="260"/>
                </a:lnTo>
                <a:lnTo>
                  <a:pt x="269" y="260"/>
                </a:lnTo>
                <a:lnTo>
                  <a:pt x="265" y="260"/>
                </a:lnTo>
                <a:lnTo>
                  <a:pt x="262" y="263"/>
                </a:lnTo>
                <a:lnTo>
                  <a:pt x="256" y="266"/>
                </a:lnTo>
                <a:lnTo>
                  <a:pt x="247" y="266"/>
                </a:lnTo>
                <a:lnTo>
                  <a:pt x="231" y="266"/>
                </a:lnTo>
                <a:lnTo>
                  <a:pt x="219" y="266"/>
                </a:lnTo>
                <a:lnTo>
                  <a:pt x="212" y="266"/>
                </a:lnTo>
                <a:lnTo>
                  <a:pt x="203" y="266"/>
                </a:lnTo>
                <a:lnTo>
                  <a:pt x="200" y="266"/>
                </a:lnTo>
                <a:lnTo>
                  <a:pt x="197" y="266"/>
                </a:lnTo>
                <a:lnTo>
                  <a:pt x="190" y="257"/>
                </a:lnTo>
                <a:lnTo>
                  <a:pt x="190" y="254"/>
                </a:lnTo>
                <a:lnTo>
                  <a:pt x="184" y="248"/>
                </a:lnTo>
                <a:lnTo>
                  <a:pt x="181" y="241"/>
                </a:lnTo>
                <a:lnTo>
                  <a:pt x="181" y="238"/>
                </a:lnTo>
                <a:lnTo>
                  <a:pt x="181" y="235"/>
                </a:lnTo>
                <a:lnTo>
                  <a:pt x="178" y="232"/>
                </a:lnTo>
                <a:lnTo>
                  <a:pt x="175" y="229"/>
                </a:lnTo>
                <a:lnTo>
                  <a:pt x="172" y="229"/>
                </a:lnTo>
                <a:lnTo>
                  <a:pt x="172" y="229"/>
                </a:lnTo>
                <a:lnTo>
                  <a:pt x="172" y="226"/>
                </a:lnTo>
                <a:lnTo>
                  <a:pt x="169" y="223"/>
                </a:lnTo>
                <a:lnTo>
                  <a:pt x="169" y="226"/>
                </a:lnTo>
                <a:lnTo>
                  <a:pt x="162" y="223"/>
                </a:lnTo>
                <a:lnTo>
                  <a:pt x="156" y="223"/>
                </a:lnTo>
                <a:lnTo>
                  <a:pt x="150" y="216"/>
                </a:lnTo>
                <a:lnTo>
                  <a:pt x="147" y="216"/>
                </a:lnTo>
                <a:lnTo>
                  <a:pt x="147" y="216"/>
                </a:lnTo>
                <a:lnTo>
                  <a:pt x="144" y="216"/>
                </a:lnTo>
                <a:lnTo>
                  <a:pt x="140" y="213"/>
                </a:lnTo>
                <a:lnTo>
                  <a:pt x="134" y="210"/>
                </a:lnTo>
                <a:lnTo>
                  <a:pt x="122" y="207"/>
                </a:lnTo>
                <a:lnTo>
                  <a:pt x="119" y="207"/>
                </a:lnTo>
                <a:lnTo>
                  <a:pt x="119" y="207"/>
                </a:lnTo>
                <a:lnTo>
                  <a:pt x="112" y="207"/>
                </a:lnTo>
                <a:lnTo>
                  <a:pt x="103" y="207"/>
                </a:lnTo>
                <a:lnTo>
                  <a:pt x="84" y="204"/>
                </a:lnTo>
                <a:lnTo>
                  <a:pt x="81" y="201"/>
                </a:lnTo>
                <a:lnTo>
                  <a:pt x="78" y="194"/>
                </a:lnTo>
                <a:lnTo>
                  <a:pt x="75" y="191"/>
                </a:lnTo>
                <a:lnTo>
                  <a:pt x="75" y="188"/>
                </a:lnTo>
                <a:lnTo>
                  <a:pt x="78" y="188"/>
                </a:lnTo>
                <a:lnTo>
                  <a:pt x="81" y="185"/>
                </a:lnTo>
                <a:lnTo>
                  <a:pt x="81" y="182"/>
                </a:lnTo>
                <a:lnTo>
                  <a:pt x="78" y="179"/>
                </a:lnTo>
                <a:lnTo>
                  <a:pt x="78" y="172"/>
                </a:lnTo>
                <a:lnTo>
                  <a:pt x="78" y="172"/>
                </a:lnTo>
                <a:lnTo>
                  <a:pt x="78" y="166"/>
                </a:lnTo>
                <a:lnTo>
                  <a:pt x="78" y="163"/>
                </a:lnTo>
                <a:lnTo>
                  <a:pt x="75" y="160"/>
                </a:lnTo>
                <a:lnTo>
                  <a:pt x="72" y="160"/>
                </a:lnTo>
                <a:lnTo>
                  <a:pt x="69" y="157"/>
                </a:lnTo>
                <a:lnTo>
                  <a:pt x="69" y="154"/>
                </a:lnTo>
                <a:lnTo>
                  <a:pt x="65" y="151"/>
                </a:lnTo>
                <a:lnTo>
                  <a:pt x="62" y="147"/>
                </a:lnTo>
                <a:lnTo>
                  <a:pt x="62" y="144"/>
                </a:lnTo>
                <a:lnTo>
                  <a:pt x="62" y="141"/>
                </a:lnTo>
                <a:lnTo>
                  <a:pt x="59" y="138"/>
                </a:lnTo>
                <a:lnTo>
                  <a:pt x="56" y="138"/>
                </a:lnTo>
                <a:lnTo>
                  <a:pt x="53" y="135"/>
                </a:lnTo>
                <a:lnTo>
                  <a:pt x="50" y="135"/>
                </a:lnTo>
                <a:lnTo>
                  <a:pt x="47" y="135"/>
                </a:lnTo>
                <a:lnTo>
                  <a:pt x="47" y="135"/>
                </a:lnTo>
                <a:lnTo>
                  <a:pt x="44" y="135"/>
                </a:lnTo>
                <a:lnTo>
                  <a:pt x="40" y="135"/>
                </a:lnTo>
                <a:lnTo>
                  <a:pt x="37" y="132"/>
                </a:lnTo>
                <a:lnTo>
                  <a:pt x="37" y="132"/>
                </a:lnTo>
                <a:lnTo>
                  <a:pt x="34" y="132"/>
                </a:lnTo>
                <a:lnTo>
                  <a:pt x="31" y="132"/>
                </a:lnTo>
                <a:lnTo>
                  <a:pt x="28" y="135"/>
                </a:lnTo>
                <a:lnTo>
                  <a:pt x="28" y="135"/>
                </a:lnTo>
                <a:lnTo>
                  <a:pt x="25" y="135"/>
                </a:lnTo>
                <a:lnTo>
                  <a:pt x="22" y="135"/>
                </a:lnTo>
                <a:lnTo>
                  <a:pt x="22" y="132"/>
                </a:lnTo>
                <a:lnTo>
                  <a:pt x="22" y="129"/>
                </a:lnTo>
                <a:lnTo>
                  <a:pt x="19" y="126"/>
                </a:lnTo>
                <a:lnTo>
                  <a:pt x="15" y="122"/>
                </a:lnTo>
                <a:lnTo>
                  <a:pt x="12" y="119"/>
                </a:lnTo>
                <a:lnTo>
                  <a:pt x="9" y="119"/>
                </a:lnTo>
                <a:lnTo>
                  <a:pt x="6" y="116"/>
                </a:lnTo>
                <a:lnTo>
                  <a:pt x="6" y="116"/>
                </a:lnTo>
                <a:lnTo>
                  <a:pt x="6" y="113"/>
                </a:lnTo>
                <a:lnTo>
                  <a:pt x="6" y="110"/>
                </a:lnTo>
                <a:lnTo>
                  <a:pt x="3" y="110"/>
                </a:lnTo>
                <a:lnTo>
                  <a:pt x="3" y="113"/>
                </a:lnTo>
                <a:lnTo>
                  <a:pt x="3" y="113"/>
                </a:lnTo>
                <a:lnTo>
                  <a:pt x="0" y="110"/>
                </a:lnTo>
                <a:lnTo>
                  <a:pt x="0" y="110"/>
                </a:lnTo>
                <a:lnTo>
                  <a:pt x="0" y="104"/>
                </a:lnTo>
                <a:lnTo>
                  <a:pt x="0" y="101"/>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9" name="Freeform 17">
            <a:extLst>
              <a:ext uri="{FF2B5EF4-FFF2-40B4-BE49-F238E27FC236}">
                <a16:creationId xmlns:a16="http://schemas.microsoft.com/office/drawing/2014/main" id="{901CD47E-EA6B-CF8B-C0BA-89229097B9FE}"/>
              </a:ext>
            </a:extLst>
          </p:cNvPr>
          <p:cNvSpPr>
            <a:spLocks/>
          </p:cNvSpPr>
          <p:nvPr userDrawn="1"/>
        </p:nvSpPr>
        <p:spPr bwMode="auto">
          <a:xfrm>
            <a:off x="15819996" y="5333283"/>
            <a:ext cx="2358872" cy="1250950"/>
          </a:xfrm>
          <a:custGeom>
            <a:avLst/>
            <a:gdLst>
              <a:gd name="T0" fmla="*/ 18 w 743"/>
              <a:gd name="T1" fmla="*/ 229 h 394"/>
              <a:gd name="T2" fmla="*/ 0 w 743"/>
              <a:gd name="T3" fmla="*/ 185 h 394"/>
              <a:gd name="T4" fmla="*/ 34 w 743"/>
              <a:gd name="T5" fmla="*/ 175 h 394"/>
              <a:gd name="T6" fmla="*/ 53 w 743"/>
              <a:gd name="T7" fmla="*/ 141 h 394"/>
              <a:gd name="T8" fmla="*/ 71 w 743"/>
              <a:gd name="T9" fmla="*/ 135 h 394"/>
              <a:gd name="T10" fmla="*/ 84 w 743"/>
              <a:gd name="T11" fmla="*/ 132 h 394"/>
              <a:gd name="T12" fmla="*/ 118 w 743"/>
              <a:gd name="T13" fmla="*/ 141 h 394"/>
              <a:gd name="T14" fmla="*/ 140 w 743"/>
              <a:gd name="T15" fmla="*/ 150 h 394"/>
              <a:gd name="T16" fmla="*/ 168 w 743"/>
              <a:gd name="T17" fmla="*/ 141 h 394"/>
              <a:gd name="T18" fmla="*/ 196 w 743"/>
              <a:gd name="T19" fmla="*/ 141 h 394"/>
              <a:gd name="T20" fmla="*/ 215 w 743"/>
              <a:gd name="T21" fmla="*/ 150 h 394"/>
              <a:gd name="T22" fmla="*/ 250 w 743"/>
              <a:gd name="T23" fmla="*/ 150 h 394"/>
              <a:gd name="T24" fmla="*/ 237 w 743"/>
              <a:gd name="T25" fmla="*/ 119 h 394"/>
              <a:gd name="T26" fmla="*/ 237 w 743"/>
              <a:gd name="T27" fmla="*/ 100 h 394"/>
              <a:gd name="T28" fmla="*/ 250 w 743"/>
              <a:gd name="T29" fmla="*/ 75 h 394"/>
              <a:gd name="T30" fmla="*/ 237 w 743"/>
              <a:gd name="T31" fmla="*/ 66 h 394"/>
              <a:gd name="T32" fmla="*/ 250 w 743"/>
              <a:gd name="T33" fmla="*/ 57 h 394"/>
              <a:gd name="T34" fmla="*/ 271 w 743"/>
              <a:gd name="T35" fmla="*/ 50 h 394"/>
              <a:gd name="T36" fmla="*/ 306 w 743"/>
              <a:gd name="T37" fmla="*/ 41 h 394"/>
              <a:gd name="T38" fmla="*/ 328 w 743"/>
              <a:gd name="T39" fmla="*/ 28 h 394"/>
              <a:gd name="T40" fmla="*/ 359 w 743"/>
              <a:gd name="T41" fmla="*/ 13 h 394"/>
              <a:gd name="T42" fmla="*/ 384 w 743"/>
              <a:gd name="T43" fmla="*/ 3 h 394"/>
              <a:gd name="T44" fmla="*/ 412 w 743"/>
              <a:gd name="T45" fmla="*/ 19 h 394"/>
              <a:gd name="T46" fmla="*/ 418 w 743"/>
              <a:gd name="T47" fmla="*/ 35 h 394"/>
              <a:gd name="T48" fmla="*/ 437 w 743"/>
              <a:gd name="T49" fmla="*/ 32 h 394"/>
              <a:gd name="T50" fmla="*/ 456 w 743"/>
              <a:gd name="T51" fmla="*/ 38 h 394"/>
              <a:gd name="T52" fmla="*/ 468 w 743"/>
              <a:gd name="T53" fmla="*/ 47 h 394"/>
              <a:gd name="T54" fmla="*/ 497 w 743"/>
              <a:gd name="T55" fmla="*/ 35 h 394"/>
              <a:gd name="T56" fmla="*/ 515 w 743"/>
              <a:gd name="T57" fmla="*/ 28 h 394"/>
              <a:gd name="T58" fmla="*/ 606 w 743"/>
              <a:gd name="T59" fmla="*/ 110 h 394"/>
              <a:gd name="T60" fmla="*/ 631 w 743"/>
              <a:gd name="T61" fmla="*/ 116 h 394"/>
              <a:gd name="T62" fmla="*/ 662 w 743"/>
              <a:gd name="T63" fmla="*/ 110 h 394"/>
              <a:gd name="T64" fmla="*/ 693 w 743"/>
              <a:gd name="T65" fmla="*/ 132 h 394"/>
              <a:gd name="T66" fmla="*/ 706 w 743"/>
              <a:gd name="T67" fmla="*/ 147 h 394"/>
              <a:gd name="T68" fmla="*/ 731 w 743"/>
              <a:gd name="T69" fmla="*/ 147 h 394"/>
              <a:gd name="T70" fmla="*/ 734 w 743"/>
              <a:gd name="T71" fmla="*/ 169 h 394"/>
              <a:gd name="T72" fmla="*/ 725 w 743"/>
              <a:gd name="T73" fmla="*/ 213 h 394"/>
              <a:gd name="T74" fmla="*/ 687 w 743"/>
              <a:gd name="T75" fmla="*/ 216 h 394"/>
              <a:gd name="T76" fmla="*/ 675 w 743"/>
              <a:gd name="T77" fmla="*/ 260 h 394"/>
              <a:gd name="T78" fmla="*/ 659 w 743"/>
              <a:gd name="T79" fmla="*/ 269 h 394"/>
              <a:gd name="T80" fmla="*/ 643 w 743"/>
              <a:gd name="T81" fmla="*/ 282 h 394"/>
              <a:gd name="T82" fmla="*/ 653 w 743"/>
              <a:gd name="T83" fmla="*/ 313 h 394"/>
              <a:gd name="T84" fmla="*/ 653 w 743"/>
              <a:gd name="T85" fmla="*/ 344 h 394"/>
              <a:gd name="T86" fmla="*/ 584 w 743"/>
              <a:gd name="T87" fmla="*/ 332 h 394"/>
              <a:gd name="T88" fmla="*/ 534 w 743"/>
              <a:gd name="T89" fmla="*/ 332 h 394"/>
              <a:gd name="T90" fmla="*/ 493 w 743"/>
              <a:gd name="T91" fmla="*/ 344 h 394"/>
              <a:gd name="T92" fmla="*/ 468 w 743"/>
              <a:gd name="T93" fmla="*/ 360 h 394"/>
              <a:gd name="T94" fmla="*/ 421 w 743"/>
              <a:gd name="T95" fmla="*/ 385 h 394"/>
              <a:gd name="T96" fmla="*/ 331 w 743"/>
              <a:gd name="T97" fmla="*/ 322 h 394"/>
              <a:gd name="T98" fmla="*/ 181 w 743"/>
              <a:gd name="T99" fmla="*/ 379 h 394"/>
              <a:gd name="T100" fmla="*/ 134 w 743"/>
              <a:gd name="T101" fmla="*/ 360 h 394"/>
              <a:gd name="T102" fmla="*/ 115 w 743"/>
              <a:gd name="T103" fmla="*/ 351 h 394"/>
              <a:gd name="T104" fmla="*/ 100 w 743"/>
              <a:gd name="T105" fmla="*/ 332 h 394"/>
              <a:gd name="T106" fmla="*/ 84 w 743"/>
              <a:gd name="T107" fmla="*/ 313 h 394"/>
              <a:gd name="T108" fmla="*/ 106 w 743"/>
              <a:gd name="T109" fmla="*/ 313 h 394"/>
              <a:gd name="T110" fmla="*/ 100 w 743"/>
              <a:gd name="T111" fmla="*/ 297 h 394"/>
              <a:gd name="T112" fmla="*/ 125 w 743"/>
              <a:gd name="T113" fmla="*/ 291 h 394"/>
              <a:gd name="T114" fmla="*/ 131 w 743"/>
              <a:gd name="T115" fmla="*/ 279 h 394"/>
              <a:gd name="T116" fmla="*/ 128 w 743"/>
              <a:gd name="T117" fmla="*/ 257 h 394"/>
              <a:gd name="T118" fmla="*/ 109 w 743"/>
              <a:gd name="T119" fmla="*/ 254 h 394"/>
              <a:gd name="T120" fmla="*/ 96 w 743"/>
              <a:gd name="T121" fmla="*/ 250 h 394"/>
              <a:gd name="T122" fmla="*/ 78 w 743"/>
              <a:gd name="T123" fmla="*/ 254 h 394"/>
              <a:gd name="T124" fmla="*/ 62 w 743"/>
              <a:gd name="T125" fmla="*/ 263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3" h="394">
                <a:moveTo>
                  <a:pt x="56" y="263"/>
                </a:moveTo>
                <a:lnTo>
                  <a:pt x="50" y="260"/>
                </a:lnTo>
                <a:lnTo>
                  <a:pt x="46" y="263"/>
                </a:lnTo>
                <a:lnTo>
                  <a:pt x="40" y="257"/>
                </a:lnTo>
                <a:lnTo>
                  <a:pt x="40" y="254"/>
                </a:lnTo>
                <a:lnTo>
                  <a:pt x="46" y="254"/>
                </a:lnTo>
                <a:lnTo>
                  <a:pt x="40" y="241"/>
                </a:lnTo>
                <a:lnTo>
                  <a:pt x="31" y="232"/>
                </a:lnTo>
                <a:lnTo>
                  <a:pt x="18" y="229"/>
                </a:lnTo>
                <a:lnTo>
                  <a:pt x="15" y="232"/>
                </a:lnTo>
                <a:lnTo>
                  <a:pt x="9" y="225"/>
                </a:lnTo>
                <a:lnTo>
                  <a:pt x="9" y="225"/>
                </a:lnTo>
                <a:lnTo>
                  <a:pt x="6" y="219"/>
                </a:lnTo>
                <a:lnTo>
                  <a:pt x="0" y="216"/>
                </a:lnTo>
                <a:lnTo>
                  <a:pt x="3" y="210"/>
                </a:lnTo>
                <a:lnTo>
                  <a:pt x="3" y="197"/>
                </a:lnTo>
                <a:lnTo>
                  <a:pt x="0" y="194"/>
                </a:lnTo>
                <a:lnTo>
                  <a:pt x="0" y="185"/>
                </a:lnTo>
                <a:lnTo>
                  <a:pt x="3" y="182"/>
                </a:lnTo>
                <a:lnTo>
                  <a:pt x="9" y="175"/>
                </a:lnTo>
                <a:lnTo>
                  <a:pt x="9" y="169"/>
                </a:lnTo>
                <a:lnTo>
                  <a:pt x="12" y="166"/>
                </a:lnTo>
                <a:lnTo>
                  <a:pt x="21" y="175"/>
                </a:lnTo>
                <a:lnTo>
                  <a:pt x="25" y="179"/>
                </a:lnTo>
                <a:lnTo>
                  <a:pt x="28" y="185"/>
                </a:lnTo>
                <a:lnTo>
                  <a:pt x="34" y="182"/>
                </a:lnTo>
                <a:lnTo>
                  <a:pt x="34" y="175"/>
                </a:lnTo>
                <a:lnTo>
                  <a:pt x="37" y="175"/>
                </a:lnTo>
                <a:lnTo>
                  <a:pt x="34" y="160"/>
                </a:lnTo>
                <a:lnTo>
                  <a:pt x="37" y="160"/>
                </a:lnTo>
                <a:lnTo>
                  <a:pt x="43" y="160"/>
                </a:lnTo>
                <a:lnTo>
                  <a:pt x="43" y="154"/>
                </a:lnTo>
                <a:lnTo>
                  <a:pt x="43" y="150"/>
                </a:lnTo>
                <a:lnTo>
                  <a:pt x="43" y="147"/>
                </a:lnTo>
                <a:lnTo>
                  <a:pt x="50" y="141"/>
                </a:lnTo>
                <a:lnTo>
                  <a:pt x="53" y="141"/>
                </a:lnTo>
                <a:lnTo>
                  <a:pt x="53" y="138"/>
                </a:lnTo>
                <a:lnTo>
                  <a:pt x="56" y="135"/>
                </a:lnTo>
                <a:lnTo>
                  <a:pt x="62" y="135"/>
                </a:lnTo>
                <a:lnTo>
                  <a:pt x="62" y="132"/>
                </a:lnTo>
                <a:lnTo>
                  <a:pt x="59" y="128"/>
                </a:lnTo>
                <a:lnTo>
                  <a:pt x="62" y="125"/>
                </a:lnTo>
                <a:lnTo>
                  <a:pt x="68" y="128"/>
                </a:lnTo>
                <a:lnTo>
                  <a:pt x="71" y="132"/>
                </a:lnTo>
                <a:lnTo>
                  <a:pt x="71" y="135"/>
                </a:lnTo>
                <a:lnTo>
                  <a:pt x="68" y="138"/>
                </a:lnTo>
                <a:lnTo>
                  <a:pt x="71" y="138"/>
                </a:lnTo>
                <a:lnTo>
                  <a:pt x="75" y="138"/>
                </a:lnTo>
                <a:lnTo>
                  <a:pt x="75" y="135"/>
                </a:lnTo>
                <a:lnTo>
                  <a:pt x="78" y="132"/>
                </a:lnTo>
                <a:lnTo>
                  <a:pt x="78" y="135"/>
                </a:lnTo>
                <a:lnTo>
                  <a:pt x="81" y="132"/>
                </a:lnTo>
                <a:lnTo>
                  <a:pt x="81" y="132"/>
                </a:lnTo>
                <a:lnTo>
                  <a:pt x="84" y="132"/>
                </a:lnTo>
                <a:lnTo>
                  <a:pt x="90" y="128"/>
                </a:lnTo>
                <a:lnTo>
                  <a:pt x="93" y="128"/>
                </a:lnTo>
                <a:lnTo>
                  <a:pt x="93" y="132"/>
                </a:lnTo>
                <a:lnTo>
                  <a:pt x="100" y="135"/>
                </a:lnTo>
                <a:lnTo>
                  <a:pt x="106" y="135"/>
                </a:lnTo>
                <a:lnTo>
                  <a:pt x="109" y="135"/>
                </a:lnTo>
                <a:lnTo>
                  <a:pt x="112" y="138"/>
                </a:lnTo>
                <a:lnTo>
                  <a:pt x="112" y="138"/>
                </a:lnTo>
                <a:lnTo>
                  <a:pt x="118" y="141"/>
                </a:lnTo>
                <a:lnTo>
                  <a:pt x="121" y="141"/>
                </a:lnTo>
                <a:lnTo>
                  <a:pt x="125" y="144"/>
                </a:lnTo>
                <a:lnTo>
                  <a:pt x="131" y="150"/>
                </a:lnTo>
                <a:lnTo>
                  <a:pt x="134" y="150"/>
                </a:lnTo>
                <a:lnTo>
                  <a:pt x="134" y="154"/>
                </a:lnTo>
                <a:lnTo>
                  <a:pt x="134" y="157"/>
                </a:lnTo>
                <a:lnTo>
                  <a:pt x="137" y="157"/>
                </a:lnTo>
                <a:lnTo>
                  <a:pt x="140" y="154"/>
                </a:lnTo>
                <a:lnTo>
                  <a:pt x="140" y="150"/>
                </a:lnTo>
                <a:lnTo>
                  <a:pt x="143" y="147"/>
                </a:lnTo>
                <a:lnTo>
                  <a:pt x="146" y="150"/>
                </a:lnTo>
                <a:lnTo>
                  <a:pt x="153" y="150"/>
                </a:lnTo>
                <a:lnTo>
                  <a:pt x="156" y="157"/>
                </a:lnTo>
                <a:lnTo>
                  <a:pt x="159" y="157"/>
                </a:lnTo>
                <a:lnTo>
                  <a:pt x="165" y="154"/>
                </a:lnTo>
                <a:lnTo>
                  <a:pt x="165" y="147"/>
                </a:lnTo>
                <a:lnTo>
                  <a:pt x="168" y="144"/>
                </a:lnTo>
                <a:lnTo>
                  <a:pt x="168" y="141"/>
                </a:lnTo>
                <a:lnTo>
                  <a:pt x="171" y="141"/>
                </a:lnTo>
                <a:lnTo>
                  <a:pt x="175" y="144"/>
                </a:lnTo>
                <a:lnTo>
                  <a:pt x="175" y="141"/>
                </a:lnTo>
                <a:lnTo>
                  <a:pt x="181" y="141"/>
                </a:lnTo>
                <a:lnTo>
                  <a:pt x="187" y="144"/>
                </a:lnTo>
                <a:lnTo>
                  <a:pt x="187" y="147"/>
                </a:lnTo>
                <a:lnTo>
                  <a:pt x="193" y="147"/>
                </a:lnTo>
                <a:lnTo>
                  <a:pt x="193" y="141"/>
                </a:lnTo>
                <a:lnTo>
                  <a:pt x="196" y="141"/>
                </a:lnTo>
                <a:lnTo>
                  <a:pt x="200" y="141"/>
                </a:lnTo>
                <a:lnTo>
                  <a:pt x="203" y="138"/>
                </a:lnTo>
                <a:lnTo>
                  <a:pt x="206" y="141"/>
                </a:lnTo>
                <a:lnTo>
                  <a:pt x="209" y="141"/>
                </a:lnTo>
                <a:lnTo>
                  <a:pt x="209" y="144"/>
                </a:lnTo>
                <a:lnTo>
                  <a:pt x="206" y="147"/>
                </a:lnTo>
                <a:lnTo>
                  <a:pt x="209" y="150"/>
                </a:lnTo>
                <a:lnTo>
                  <a:pt x="212" y="154"/>
                </a:lnTo>
                <a:lnTo>
                  <a:pt x="215" y="150"/>
                </a:lnTo>
                <a:lnTo>
                  <a:pt x="215" y="154"/>
                </a:lnTo>
                <a:lnTo>
                  <a:pt x="221" y="154"/>
                </a:lnTo>
                <a:lnTo>
                  <a:pt x="231" y="157"/>
                </a:lnTo>
                <a:lnTo>
                  <a:pt x="234" y="157"/>
                </a:lnTo>
                <a:lnTo>
                  <a:pt x="237" y="150"/>
                </a:lnTo>
                <a:lnTo>
                  <a:pt x="237" y="147"/>
                </a:lnTo>
                <a:lnTo>
                  <a:pt x="237" y="144"/>
                </a:lnTo>
                <a:lnTo>
                  <a:pt x="243" y="150"/>
                </a:lnTo>
                <a:lnTo>
                  <a:pt x="250" y="150"/>
                </a:lnTo>
                <a:lnTo>
                  <a:pt x="256" y="147"/>
                </a:lnTo>
                <a:lnTo>
                  <a:pt x="259" y="144"/>
                </a:lnTo>
                <a:lnTo>
                  <a:pt x="256" y="128"/>
                </a:lnTo>
                <a:lnTo>
                  <a:pt x="256" y="128"/>
                </a:lnTo>
                <a:lnTo>
                  <a:pt x="250" y="128"/>
                </a:lnTo>
                <a:lnTo>
                  <a:pt x="246" y="125"/>
                </a:lnTo>
                <a:lnTo>
                  <a:pt x="246" y="122"/>
                </a:lnTo>
                <a:lnTo>
                  <a:pt x="240" y="122"/>
                </a:lnTo>
                <a:lnTo>
                  <a:pt x="237" y="119"/>
                </a:lnTo>
                <a:lnTo>
                  <a:pt x="234" y="119"/>
                </a:lnTo>
                <a:lnTo>
                  <a:pt x="234" y="116"/>
                </a:lnTo>
                <a:lnTo>
                  <a:pt x="231" y="113"/>
                </a:lnTo>
                <a:lnTo>
                  <a:pt x="231" y="113"/>
                </a:lnTo>
                <a:lnTo>
                  <a:pt x="237" y="113"/>
                </a:lnTo>
                <a:lnTo>
                  <a:pt x="237" y="107"/>
                </a:lnTo>
                <a:lnTo>
                  <a:pt x="240" y="103"/>
                </a:lnTo>
                <a:lnTo>
                  <a:pt x="237" y="100"/>
                </a:lnTo>
                <a:lnTo>
                  <a:pt x="237" y="100"/>
                </a:lnTo>
                <a:lnTo>
                  <a:pt x="234" y="94"/>
                </a:lnTo>
                <a:lnTo>
                  <a:pt x="240" y="88"/>
                </a:lnTo>
                <a:lnTo>
                  <a:pt x="243" y="85"/>
                </a:lnTo>
                <a:lnTo>
                  <a:pt x="253" y="85"/>
                </a:lnTo>
                <a:lnTo>
                  <a:pt x="256" y="85"/>
                </a:lnTo>
                <a:lnTo>
                  <a:pt x="259" y="82"/>
                </a:lnTo>
                <a:lnTo>
                  <a:pt x="259" y="78"/>
                </a:lnTo>
                <a:lnTo>
                  <a:pt x="253" y="78"/>
                </a:lnTo>
                <a:lnTo>
                  <a:pt x="250" y="75"/>
                </a:lnTo>
                <a:lnTo>
                  <a:pt x="250" y="75"/>
                </a:lnTo>
                <a:lnTo>
                  <a:pt x="246" y="75"/>
                </a:lnTo>
                <a:lnTo>
                  <a:pt x="240" y="75"/>
                </a:lnTo>
                <a:lnTo>
                  <a:pt x="237" y="75"/>
                </a:lnTo>
                <a:lnTo>
                  <a:pt x="237" y="72"/>
                </a:lnTo>
                <a:lnTo>
                  <a:pt x="237" y="72"/>
                </a:lnTo>
                <a:lnTo>
                  <a:pt x="243" y="69"/>
                </a:lnTo>
                <a:lnTo>
                  <a:pt x="240" y="66"/>
                </a:lnTo>
                <a:lnTo>
                  <a:pt x="237" y="66"/>
                </a:lnTo>
                <a:lnTo>
                  <a:pt x="234" y="66"/>
                </a:lnTo>
                <a:lnTo>
                  <a:pt x="234" y="63"/>
                </a:lnTo>
                <a:lnTo>
                  <a:pt x="234" y="60"/>
                </a:lnTo>
                <a:lnTo>
                  <a:pt x="234" y="57"/>
                </a:lnTo>
                <a:lnTo>
                  <a:pt x="237" y="57"/>
                </a:lnTo>
                <a:lnTo>
                  <a:pt x="240" y="57"/>
                </a:lnTo>
                <a:lnTo>
                  <a:pt x="243" y="57"/>
                </a:lnTo>
                <a:lnTo>
                  <a:pt x="243" y="57"/>
                </a:lnTo>
                <a:lnTo>
                  <a:pt x="250" y="57"/>
                </a:lnTo>
                <a:lnTo>
                  <a:pt x="253" y="60"/>
                </a:lnTo>
                <a:lnTo>
                  <a:pt x="253" y="57"/>
                </a:lnTo>
                <a:lnTo>
                  <a:pt x="253" y="57"/>
                </a:lnTo>
                <a:lnTo>
                  <a:pt x="259" y="53"/>
                </a:lnTo>
                <a:lnTo>
                  <a:pt x="262" y="53"/>
                </a:lnTo>
                <a:lnTo>
                  <a:pt x="262" y="57"/>
                </a:lnTo>
                <a:lnTo>
                  <a:pt x="265" y="53"/>
                </a:lnTo>
                <a:lnTo>
                  <a:pt x="265" y="50"/>
                </a:lnTo>
                <a:lnTo>
                  <a:pt x="271" y="50"/>
                </a:lnTo>
                <a:lnTo>
                  <a:pt x="278" y="50"/>
                </a:lnTo>
                <a:lnTo>
                  <a:pt x="281" y="47"/>
                </a:lnTo>
                <a:lnTo>
                  <a:pt x="287" y="47"/>
                </a:lnTo>
                <a:lnTo>
                  <a:pt x="287" y="44"/>
                </a:lnTo>
                <a:lnTo>
                  <a:pt x="293" y="41"/>
                </a:lnTo>
                <a:lnTo>
                  <a:pt x="300" y="41"/>
                </a:lnTo>
                <a:lnTo>
                  <a:pt x="303" y="38"/>
                </a:lnTo>
                <a:lnTo>
                  <a:pt x="303" y="38"/>
                </a:lnTo>
                <a:lnTo>
                  <a:pt x="306" y="41"/>
                </a:lnTo>
                <a:lnTo>
                  <a:pt x="309" y="38"/>
                </a:lnTo>
                <a:lnTo>
                  <a:pt x="309" y="35"/>
                </a:lnTo>
                <a:lnTo>
                  <a:pt x="309" y="32"/>
                </a:lnTo>
                <a:lnTo>
                  <a:pt x="315" y="32"/>
                </a:lnTo>
                <a:lnTo>
                  <a:pt x="315" y="28"/>
                </a:lnTo>
                <a:lnTo>
                  <a:pt x="318" y="28"/>
                </a:lnTo>
                <a:lnTo>
                  <a:pt x="321" y="28"/>
                </a:lnTo>
                <a:lnTo>
                  <a:pt x="321" y="32"/>
                </a:lnTo>
                <a:lnTo>
                  <a:pt x="328" y="28"/>
                </a:lnTo>
                <a:lnTo>
                  <a:pt x="331" y="25"/>
                </a:lnTo>
                <a:lnTo>
                  <a:pt x="340" y="22"/>
                </a:lnTo>
                <a:lnTo>
                  <a:pt x="340" y="22"/>
                </a:lnTo>
                <a:lnTo>
                  <a:pt x="343" y="19"/>
                </a:lnTo>
                <a:lnTo>
                  <a:pt x="346" y="19"/>
                </a:lnTo>
                <a:lnTo>
                  <a:pt x="350" y="16"/>
                </a:lnTo>
                <a:lnTo>
                  <a:pt x="353" y="16"/>
                </a:lnTo>
                <a:lnTo>
                  <a:pt x="359" y="16"/>
                </a:lnTo>
                <a:lnTo>
                  <a:pt x="359" y="13"/>
                </a:lnTo>
                <a:lnTo>
                  <a:pt x="356" y="10"/>
                </a:lnTo>
                <a:lnTo>
                  <a:pt x="359" y="6"/>
                </a:lnTo>
                <a:lnTo>
                  <a:pt x="362" y="6"/>
                </a:lnTo>
                <a:lnTo>
                  <a:pt x="365" y="3"/>
                </a:lnTo>
                <a:lnTo>
                  <a:pt x="368" y="0"/>
                </a:lnTo>
                <a:lnTo>
                  <a:pt x="371" y="3"/>
                </a:lnTo>
                <a:lnTo>
                  <a:pt x="375" y="0"/>
                </a:lnTo>
                <a:lnTo>
                  <a:pt x="378" y="3"/>
                </a:lnTo>
                <a:lnTo>
                  <a:pt x="384" y="3"/>
                </a:lnTo>
                <a:lnTo>
                  <a:pt x="387" y="6"/>
                </a:lnTo>
                <a:lnTo>
                  <a:pt x="393" y="6"/>
                </a:lnTo>
                <a:lnTo>
                  <a:pt x="396" y="3"/>
                </a:lnTo>
                <a:lnTo>
                  <a:pt x="403" y="3"/>
                </a:lnTo>
                <a:lnTo>
                  <a:pt x="403" y="10"/>
                </a:lnTo>
                <a:lnTo>
                  <a:pt x="406" y="10"/>
                </a:lnTo>
                <a:lnTo>
                  <a:pt x="406" y="13"/>
                </a:lnTo>
                <a:lnTo>
                  <a:pt x="409" y="19"/>
                </a:lnTo>
                <a:lnTo>
                  <a:pt x="412" y="19"/>
                </a:lnTo>
                <a:lnTo>
                  <a:pt x="412" y="22"/>
                </a:lnTo>
                <a:lnTo>
                  <a:pt x="412" y="25"/>
                </a:lnTo>
                <a:lnTo>
                  <a:pt x="412" y="28"/>
                </a:lnTo>
                <a:lnTo>
                  <a:pt x="412" y="28"/>
                </a:lnTo>
                <a:lnTo>
                  <a:pt x="409" y="32"/>
                </a:lnTo>
                <a:lnTo>
                  <a:pt x="409" y="35"/>
                </a:lnTo>
                <a:lnTo>
                  <a:pt x="412" y="35"/>
                </a:lnTo>
                <a:lnTo>
                  <a:pt x="415" y="35"/>
                </a:lnTo>
                <a:lnTo>
                  <a:pt x="418" y="35"/>
                </a:lnTo>
                <a:lnTo>
                  <a:pt x="421" y="35"/>
                </a:lnTo>
                <a:lnTo>
                  <a:pt x="421" y="32"/>
                </a:lnTo>
                <a:lnTo>
                  <a:pt x="425" y="32"/>
                </a:lnTo>
                <a:lnTo>
                  <a:pt x="428" y="35"/>
                </a:lnTo>
                <a:lnTo>
                  <a:pt x="428" y="35"/>
                </a:lnTo>
                <a:lnTo>
                  <a:pt x="428" y="32"/>
                </a:lnTo>
                <a:lnTo>
                  <a:pt x="428" y="28"/>
                </a:lnTo>
                <a:lnTo>
                  <a:pt x="428" y="25"/>
                </a:lnTo>
                <a:lnTo>
                  <a:pt x="437" y="32"/>
                </a:lnTo>
                <a:lnTo>
                  <a:pt x="437" y="38"/>
                </a:lnTo>
                <a:lnTo>
                  <a:pt x="440" y="44"/>
                </a:lnTo>
                <a:lnTo>
                  <a:pt x="440" y="41"/>
                </a:lnTo>
                <a:lnTo>
                  <a:pt x="443" y="41"/>
                </a:lnTo>
                <a:lnTo>
                  <a:pt x="443" y="38"/>
                </a:lnTo>
                <a:lnTo>
                  <a:pt x="440" y="35"/>
                </a:lnTo>
                <a:lnTo>
                  <a:pt x="446" y="35"/>
                </a:lnTo>
                <a:lnTo>
                  <a:pt x="453" y="38"/>
                </a:lnTo>
                <a:lnTo>
                  <a:pt x="456" y="38"/>
                </a:lnTo>
                <a:lnTo>
                  <a:pt x="459" y="38"/>
                </a:lnTo>
                <a:lnTo>
                  <a:pt x="459" y="38"/>
                </a:lnTo>
                <a:lnTo>
                  <a:pt x="459" y="41"/>
                </a:lnTo>
                <a:lnTo>
                  <a:pt x="456" y="44"/>
                </a:lnTo>
                <a:lnTo>
                  <a:pt x="456" y="47"/>
                </a:lnTo>
                <a:lnTo>
                  <a:pt x="459" y="53"/>
                </a:lnTo>
                <a:lnTo>
                  <a:pt x="462" y="53"/>
                </a:lnTo>
                <a:lnTo>
                  <a:pt x="465" y="50"/>
                </a:lnTo>
                <a:lnTo>
                  <a:pt x="468" y="47"/>
                </a:lnTo>
                <a:lnTo>
                  <a:pt x="478" y="50"/>
                </a:lnTo>
                <a:lnTo>
                  <a:pt x="478" y="50"/>
                </a:lnTo>
                <a:lnTo>
                  <a:pt x="481" y="50"/>
                </a:lnTo>
                <a:lnTo>
                  <a:pt x="481" y="44"/>
                </a:lnTo>
                <a:lnTo>
                  <a:pt x="484" y="44"/>
                </a:lnTo>
                <a:lnTo>
                  <a:pt x="490" y="44"/>
                </a:lnTo>
                <a:lnTo>
                  <a:pt x="493" y="41"/>
                </a:lnTo>
                <a:lnTo>
                  <a:pt x="493" y="38"/>
                </a:lnTo>
                <a:lnTo>
                  <a:pt x="497" y="35"/>
                </a:lnTo>
                <a:lnTo>
                  <a:pt x="497" y="32"/>
                </a:lnTo>
                <a:lnTo>
                  <a:pt x="503" y="28"/>
                </a:lnTo>
                <a:lnTo>
                  <a:pt x="506" y="25"/>
                </a:lnTo>
                <a:lnTo>
                  <a:pt x="509" y="22"/>
                </a:lnTo>
                <a:lnTo>
                  <a:pt x="512" y="22"/>
                </a:lnTo>
                <a:lnTo>
                  <a:pt x="518" y="19"/>
                </a:lnTo>
                <a:lnTo>
                  <a:pt x="518" y="22"/>
                </a:lnTo>
                <a:lnTo>
                  <a:pt x="518" y="25"/>
                </a:lnTo>
                <a:lnTo>
                  <a:pt x="515" y="28"/>
                </a:lnTo>
                <a:lnTo>
                  <a:pt x="512" y="28"/>
                </a:lnTo>
                <a:lnTo>
                  <a:pt x="515" y="32"/>
                </a:lnTo>
                <a:lnTo>
                  <a:pt x="550" y="60"/>
                </a:lnTo>
                <a:lnTo>
                  <a:pt x="600" y="119"/>
                </a:lnTo>
                <a:lnTo>
                  <a:pt x="603" y="119"/>
                </a:lnTo>
                <a:lnTo>
                  <a:pt x="606" y="116"/>
                </a:lnTo>
                <a:lnTo>
                  <a:pt x="606" y="113"/>
                </a:lnTo>
                <a:lnTo>
                  <a:pt x="606" y="113"/>
                </a:lnTo>
                <a:lnTo>
                  <a:pt x="606" y="110"/>
                </a:lnTo>
                <a:lnTo>
                  <a:pt x="609" y="107"/>
                </a:lnTo>
                <a:lnTo>
                  <a:pt x="615" y="110"/>
                </a:lnTo>
                <a:lnTo>
                  <a:pt x="615" y="113"/>
                </a:lnTo>
                <a:lnTo>
                  <a:pt x="615" y="116"/>
                </a:lnTo>
                <a:lnTo>
                  <a:pt x="618" y="116"/>
                </a:lnTo>
                <a:lnTo>
                  <a:pt x="622" y="119"/>
                </a:lnTo>
                <a:lnTo>
                  <a:pt x="625" y="119"/>
                </a:lnTo>
                <a:lnTo>
                  <a:pt x="628" y="119"/>
                </a:lnTo>
                <a:lnTo>
                  <a:pt x="631" y="116"/>
                </a:lnTo>
                <a:lnTo>
                  <a:pt x="637" y="119"/>
                </a:lnTo>
                <a:lnTo>
                  <a:pt x="640" y="119"/>
                </a:lnTo>
                <a:lnTo>
                  <a:pt x="643" y="119"/>
                </a:lnTo>
                <a:lnTo>
                  <a:pt x="647" y="116"/>
                </a:lnTo>
                <a:lnTo>
                  <a:pt x="650" y="116"/>
                </a:lnTo>
                <a:lnTo>
                  <a:pt x="647" y="113"/>
                </a:lnTo>
                <a:lnTo>
                  <a:pt x="647" y="113"/>
                </a:lnTo>
                <a:lnTo>
                  <a:pt x="656" y="110"/>
                </a:lnTo>
                <a:lnTo>
                  <a:pt x="662" y="110"/>
                </a:lnTo>
                <a:lnTo>
                  <a:pt x="668" y="113"/>
                </a:lnTo>
                <a:lnTo>
                  <a:pt x="675" y="116"/>
                </a:lnTo>
                <a:lnTo>
                  <a:pt x="678" y="122"/>
                </a:lnTo>
                <a:lnTo>
                  <a:pt x="678" y="125"/>
                </a:lnTo>
                <a:lnTo>
                  <a:pt x="681" y="125"/>
                </a:lnTo>
                <a:lnTo>
                  <a:pt x="684" y="128"/>
                </a:lnTo>
                <a:lnTo>
                  <a:pt x="690" y="132"/>
                </a:lnTo>
                <a:lnTo>
                  <a:pt x="690" y="132"/>
                </a:lnTo>
                <a:lnTo>
                  <a:pt x="693" y="132"/>
                </a:lnTo>
                <a:lnTo>
                  <a:pt x="693" y="135"/>
                </a:lnTo>
                <a:lnTo>
                  <a:pt x="693" y="138"/>
                </a:lnTo>
                <a:lnTo>
                  <a:pt x="693" y="141"/>
                </a:lnTo>
                <a:lnTo>
                  <a:pt x="693" y="141"/>
                </a:lnTo>
                <a:lnTo>
                  <a:pt x="697" y="144"/>
                </a:lnTo>
                <a:lnTo>
                  <a:pt x="697" y="144"/>
                </a:lnTo>
                <a:lnTo>
                  <a:pt x="700" y="144"/>
                </a:lnTo>
                <a:lnTo>
                  <a:pt x="703" y="147"/>
                </a:lnTo>
                <a:lnTo>
                  <a:pt x="706" y="147"/>
                </a:lnTo>
                <a:lnTo>
                  <a:pt x="706" y="147"/>
                </a:lnTo>
                <a:lnTo>
                  <a:pt x="709" y="144"/>
                </a:lnTo>
                <a:lnTo>
                  <a:pt x="718" y="144"/>
                </a:lnTo>
                <a:lnTo>
                  <a:pt x="725" y="144"/>
                </a:lnTo>
                <a:lnTo>
                  <a:pt x="725" y="138"/>
                </a:lnTo>
                <a:lnTo>
                  <a:pt x="728" y="138"/>
                </a:lnTo>
                <a:lnTo>
                  <a:pt x="731" y="138"/>
                </a:lnTo>
                <a:lnTo>
                  <a:pt x="731" y="144"/>
                </a:lnTo>
                <a:lnTo>
                  <a:pt x="731" y="147"/>
                </a:lnTo>
                <a:lnTo>
                  <a:pt x="734" y="147"/>
                </a:lnTo>
                <a:lnTo>
                  <a:pt x="737" y="150"/>
                </a:lnTo>
                <a:lnTo>
                  <a:pt x="743" y="154"/>
                </a:lnTo>
                <a:lnTo>
                  <a:pt x="743" y="154"/>
                </a:lnTo>
                <a:lnTo>
                  <a:pt x="740" y="160"/>
                </a:lnTo>
                <a:lnTo>
                  <a:pt x="737" y="160"/>
                </a:lnTo>
                <a:lnTo>
                  <a:pt x="734" y="166"/>
                </a:lnTo>
                <a:lnTo>
                  <a:pt x="734" y="169"/>
                </a:lnTo>
                <a:lnTo>
                  <a:pt x="734" y="169"/>
                </a:lnTo>
                <a:lnTo>
                  <a:pt x="731" y="175"/>
                </a:lnTo>
                <a:lnTo>
                  <a:pt x="725" y="179"/>
                </a:lnTo>
                <a:lnTo>
                  <a:pt x="722" y="179"/>
                </a:lnTo>
                <a:lnTo>
                  <a:pt x="722" y="185"/>
                </a:lnTo>
                <a:lnTo>
                  <a:pt x="722" y="191"/>
                </a:lnTo>
                <a:lnTo>
                  <a:pt x="725" y="200"/>
                </a:lnTo>
                <a:lnTo>
                  <a:pt x="731" y="207"/>
                </a:lnTo>
                <a:lnTo>
                  <a:pt x="728" y="207"/>
                </a:lnTo>
                <a:lnTo>
                  <a:pt x="725" y="213"/>
                </a:lnTo>
                <a:lnTo>
                  <a:pt x="718" y="216"/>
                </a:lnTo>
                <a:lnTo>
                  <a:pt x="715" y="219"/>
                </a:lnTo>
                <a:lnTo>
                  <a:pt x="712" y="219"/>
                </a:lnTo>
                <a:lnTo>
                  <a:pt x="712" y="219"/>
                </a:lnTo>
                <a:lnTo>
                  <a:pt x="709" y="216"/>
                </a:lnTo>
                <a:lnTo>
                  <a:pt x="706" y="216"/>
                </a:lnTo>
                <a:lnTo>
                  <a:pt x="700" y="219"/>
                </a:lnTo>
                <a:lnTo>
                  <a:pt x="693" y="219"/>
                </a:lnTo>
                <a:lnTo>
                  <a:pt x="687" y="216"/>
                </a:lnTo>
                <a:lnTo>
                  <a:pt x="681" y="216"/>
                </a:lnTo>
                <a:lnTo>
                  <a:pt x="681" y="216"/>
                </a:lnTo>
                <a:lnTo>
                  <a:pt x="678" y="225"/>
                </a:lnTo>
                <a:lnTo>
                  <a:pt x="678" y="229"/>
                </a:lnTo>
                <a:lnTo>
                  <a:pt x="675" y="235"/>
                </a:lnTo>
                <a:lnTo>
                  <a:pt x="675" y="244"/>
                </a:lnTo>
                <a:lnTo>
                  <a:pt x="675" y="254"/>
                </a:lnTo>
                <a:lnTo>
                  <a:pt x="675" y="257"/>
                </a:lnTo>
                <a:lnTo>
                  <a:pt x="675" y="260"/>
                </a:lnTo>
                <a:lnTo>
                  <a:pt x="681" y="260"/>
                </a:lnTo>
                <a:lnTo>
                  <a:pt x="678" y="266"/>
                </a:lnTo>
                <a:lnTo>
                  <a:pt x="678" y="269"/>
                </a:lnTo>
                <a:lnTo>
                  <a:pt x="675" y="269"/>
                </a:lnTo>
                <a:lnTo>
                  <a:pt x="675" y="269"/>
                </a:lnTo>
                <a:lnTo>
                  <a:pt x="672" y="269"/>
                </a:lnTo>
                <a:lnTo>
                  <a:pt x="668" y="266"/>
                </a:lnTo>
                <a:lnTo>
                  <a:pt x="665" y="269"/>
                </a:lnTo>
                <a:lnTo>
                  <a:pt x="659" y="269"/>
                </a:lnTo>
                <a:lnTo>
                  <a:pt x="653" y="272"/>
                </a:lnTo>
                <a:lnTo>
                  <a:pt x="647" y="272"/>
                </a:lnTo>
                <a:lnTo>
                  <a:pt x="643" y="272"/>
                </a:lnTo>
                <a:lnTo>
                  <a:pt x="640" y="272"/>
                </a:lnTo>
                <a:lnTo>
                  <a:pt x="637" y="276"/>
                </a:lnTo>
                <a:lnTo>
                  <a:pt x="634" y="279"/>
                </a:lnTo>
                <a:lnTo>
                  <a:pt x="634" y="279"/>
                </a:lnTo>
                <a:lnTo>
                  <a:pt x="637" y="282"/>
                </a:lnTo>
                <a:lnTo>
                  <a:pt x="643" y="282"/>
                </a:lnTo>
                <a:lnTo>
                  <a:pt x="647" y="282"/>
                </a:lnTo>
                <a:lnTo>
                  <a:pt x="647" y="285"/>
                </a:lnTo>
                <a:lnTo>
                  <a:pt x="643" y="288"/>
                </a:lnTo>
                <a:lnTo>
                  <a:pt x="647" y="294"/>
                </a:lnTo>
                <a:lnTo>
                  <a:pt x="647" y="297"/>
                </a:lnTo>
                <a:lnTo>
                  <a:pt x="650" y="297"/>
                </a:lnTo>
                <a:lnTo>
                  <a:pt x="650" y="304"/>
                </a:lnTo>
                <a:lnTo>
                  <a:pt x="653" y="310"/>
                </a:lnTo>
                <a:lnTo>
                  <a:pt x="653" y="313"/>
                </a:lnTo>
                <a:lnTo>
                  <a:pt x="659" y="316"/>
                </a:lnTo>
                <a:lnTo>
                  <a:pt x="659" y="322"/>
                </a:lnTo>
                <a:lnTo>
                  <a:pt x="656" y="326"/>
                </a:lnTo>
                <a:lnTo>
                  <a:pt x="656" y="329"/>
                </a:lnTo>
                <a:lnTo>
                  <a:pt x="659" y="332"/>
                </a:lnTo>
                <a:lnTo>
                  <a:pt x="656" y="335"/>
                </a:lnTo>
                <a:lnTo>
                  <a:pt x="656" y="335"/>
                </a:lnTo>
                <a:lnTo>
                  <a:pt x="653" y="338"/>
                </a:lnTo>
                <a:lnTo>
                  <a:pt x="653" y="344"/>
                </a:lnTo>
                <a:lnTo>
                  <a:pt x="650" y="344"/>
                </a:lnTo>
                <a:lnTo>
                  <a:pt x="640" y="344"/>
                </a:lnTo>
                <a:lnTo>
                  <a:pt x="631" y="335"/>
                </a:lnTo>
                <a:lnTo>
                  <a:pt x="628" y="335"/>
                </a:lnTo>
                <a:lnTo>
                  <a:pt x="622" y="332"/>
                </a:lnTo>
                <a:lnTo>
                  <a:pt x="609" y="332"/>
                </a:lnTo>
                <a:lnTo>
                  <a:pt x="603" y="332"/>
                </a:lnTo>
                <a:lnTo>
                  <a:pt x="593" y="329"/>
                </a:lnTo>
                <a:lnTo>
                  <a:pt x="584" y="332"/>
                </a:lnTo>
                <a:lnTo>
                  <a:pt x="578" y="332"/>
                </a:lnTo>
                <a:lnTo>
                  <a:pt x="575" y="332"/>
                </a:lnTo>
                <a:lnTo>
                  <a:pt x="572" y="335"/>
                </a:lnTo>
                <a:lnTo>
                  <a:pt x="565" y="335"/>
                </a:lnTo>
                <a:lnTo>
                  <a:pt x="556" y="335"/>
                </a:lnTo>
                <a:lnTo>
                  <a:pt x="547" y="332"/>
                </a:lnTo>
                <a:lnTo>
                  <a:pt x="543" y="332"/>
                </a:lnTo>
                <a:lnTo>
                  <a:pt x="537" y="332"/>
                </a:lnTo>
                <a:lnTo>
                  <a:pt x="534" y="332"/>
                </a:lnTo>
                <a:lnTo>
                  <a:pt x="531" y="332"/>
                </a:lnTo>
                <a:lnTo>
                  <a:pt x="528" y="332"/>
                </a:lnTo>
                <a:lnTo>
                  <a:pt x="525" y="332"/>
                </a:lnTo>
                <a:lnTo>
                  <a:pt x="525" y="335"/>
                </a:lnTo>
                <a:lnTo>
                  <a:pt x="528" y="341"/>
                </a:lnTo>
                <a:lnTo>
                  <a:pt x="528" y="344"/>
                </a:lnTo>
                <a:lnTo>
                  <a:pt x="522" y="347"/>
                </a:lnTo>
                <a:lnTo>
                  <a:pt x="509" y="347"/>
                </a:lnTo>
                <a:lnTo>
                  <a:pt x="493" y="344"/>
                </a:lnTo>
                <a:lnTo>
                  <a:pt x="490" y="344"/>
                </a:lnTo>
                <a:lnTo>
                  <a:pt x="484" y="344"/>
                </a:lnTo>
                <a:lnTo>
                  <a:pt x="481" y="347"/>
                </a:lnTo>
                <a:lnTo>
                  <a:pt x="481" y="351"/>
                </a:lnTo>
                <a:lnTo>
                  <a:pt x="478" y="351"/>
                </a:lnTo>
                <a:lnTo>
                  <a:pt x="478" y="354"/>
                </a:lnTo>
                <a:lnTo>
                  <a:pt x="475" y="354"/>
                </a:lnTo>
                <a:lnTo>
                  <a:pt x="471" y="360"/>
                </a:lnTo>
                <a:lnTo>
                  <a:pt x="468" y="360"/>
                </a:lnTo>
                <a:lnTo>
                  <a:pt x="459" y="369"/>
                </a:lnTo>
                <a:lnTo>
                  <a:pt x="459" y="376"/>
                </a:lnTo>
                <a:lnTo>
                  <a:pt x="456" y="379"/>
                </a:lnTo>
                <a:lnTo>
                  <a:pt x="453" y="385"/>
                </a:lnTo>
                <a:lnTo>
                  <a:pt x="443" y="391"/>
                </a:lnTo>
                <a:lnTo>
                  <a:pt x="440" y="391"/>
                </a:lnTo>
                <a:lnTo>
                  <a:pt x="434" y="385"/>
                </a:lnTo>
                <a:lnTo>
                  <a:pt x="425" y="385"/>
                </a:lnTo>
                <a:lnTo>
                  <a:pt x="421" y="385"/>
                </a:lnTo>
                <a:lnTo>
                  <a:pt x="412" y="391"/>
                </a:lnTo>
                <a:lnTo>
                  <a:pt x="406" y="391"/>
                </a:lnTo>
                <a:lnTo>
                  <a:pt x="400" y="369"/>
                </a:lnTo>
                <a:lnTo>
                  <a:pt x="384" y="366"/>
                </a:lnTo>
                <a:lnTo>
                  <a:pt x="384" y="338"/>
                </a:lnTo>
                <a:lnTo>
                  <a:pt x="378" y="341"/>
                </a:lnTo>
                <a:lnTo>
                  <a:pt x="371" y="329"/>
                </a:lnTo>
                <a:lnTo>
                  <a:pt x="362" y="322"/>
                </a:lnTo>
                <a:lnTo>
                  <a:pt x="331" y="322"/>
                </a:lnTo>
                <a:lnTo>
                  <a:pt x="303" y="326"/>
                </a:lnTo>
                <a:lnTo>
                  <a:pt x="284" y="313"/>
                </a:lnTo>
                <a:lnTo>
                  <a:pt x="271" y="310"/>
                </a:lnTo>
                <a:lnTo>
                  <a:pt x="240" y="288"/>
                </a:lnTo>
                <a:lnTo>
                  <a:pt x="190" y="297"/>
                </a:lnTo>
                <a:lnTo>
                  <a:pt x="206" y="391"/>
                </a:lnTo>
                <a:lnTo>
                  <a:pt x="203" y="391"/>
                </a:lnTo>
                <a:lnTo>
                  <a:pt x="196" y="394"/>
                </a:lnTo>
                <a:lnTo>
                  <a:pt x="181" y="379"/>
                </a:lnTo>
                <a:lnTo>
                  <a:pt x="168" y="369"/>
                </a:lnTo>
                <a:lnTo>
                  <a:pt x="156" y="369"/>
                </a:lnTo>
                <a:lnTo>
                  <a:pt x="146" y="373"/>
                </a:lnTo>
                <a:lnTo>
                  <a:pt x="134" y="382"/>
                </a:lnTo>
                <a:lnTo>
                  <a:pt x="134" y="379"/>
                </a:lnTo>
                <a:lnTo>
                  <a:pt x="131" y="373"/>
                </a:lnTo>
                <a:lnTo>
                  <a:pt x="134" y="366"/>
                </a:lnTo>
                <a:lnTo>
                  <a:pt x="134" y="363"/>
                </a:lnTo>
                <a:lnTo>
                  <a:pt x="134" y="360"/>
                </a:lnTo>
                <a:lnTo>
                  <a:pt x="137" y="360"/>
                </a:lnTo>
                <a:lnTo>
                  <a:pt x="134" y="357"/>
                </a:lnTo>
                <a:lnTo>
                  <a:pt x="131" y="357"/>
                </a:lnTo>
                <a:lnTo>
                  <a:pt x="128" y="357"/>
                </a:lnTo>
                <a:lnTo>
                  <a:pt x="125" y="357"/>
                </a:lnTo>
                <a:lnTo>
                  <a:pt x="121" y="357"/>
                </a:lnTo>
                <a:lnTo>
                  <a:pt x="118" y="357"/>
                </a:lnTo>
                <a:lnTo>
                  <a:pt x="118" y="354"/>
                </a:lnTo>
                <a:lnTo>
                  <a:pt x="115" y="351"/>
                </a:lnTo>
                <a:lnTo>
                  <a:pt x="115" y="347"/>
                </a:lnTo>
                <a:lnTo>
                  <a:pt x="112" y="347"/>
                </a:lnTo>
                <a:lnTo>
                  <a:pt x="112" y="347"/>
                </a:lnTo>
                <a:lnTo>
                  <a:pt x="106" y="351"/>
                </a:lnTo>
                <a:lnTo>
                  <a:pt x="106" y="351"/>
                </a:lnTo>
                <a:lnTo>
                  <a:pt x="106" y="344"/>
                </a:lnTo>
                <a:lnTo>
                  <a:pt x="106" y="341"/>
                </a:lnTo>
                <a:lnTo>
                  <a:pt x="100" y="335"/>
                </a:lnTo>
                <a:lnTo>
                  <a:pt x="100" y="332"/>
                </a:lnTo>
                <a:lnTo>
                  <a:pt x="96" y="332"/>
                </a:lnTo>
                <a:lnTo>
                  <a:pt x="96" y="326"/>
                </a:lnTo>
                <a:lnTo>
                  <a:pt x="93" y="326"/>
                </a:lnTo>
                <a:lnTo>
                  <a:pt x="93" y="322"/>
                </a:lnTo>
                <a:lnTo>
                  <a:pt x="90" y="322"/>
                </a:lnTo>
                <a:lnTo>
                  <a:pt x="87" y="322"/>
                </a:lnTo>
                <a:lnTo>
                  <a:pt x="84" y="319"/>
                </a:lnTo>
                <a:lnTo>
                  <a:pt x="84" y="316"/>
                </a:lnTo>
                <a:lnTo>
                  <a:pt x="84" y="313"/>
                </a:lnTo>
                <a:lnTo>
                  <a:pt x="87" y="316"/>
                </a:lnTo>
                <a:lnTo>
                  <a:pt x="93" y="313"/>
                </a:lnTo>
                <a:lnTo>
                  <a:pt x="93" y="316"/>
                </a:lnTo>
                <a:lnTo>
                  <a:pt x="96" y="316"/>
                </a:lnTo>
                <a:lnTo>
                  <a:pt x="100" y="316"/>
                </a:lnTo>
                <a:lnTo>
                  <a:pt x="100" y="313"/>
                </a:lnTo>
                <a:lnTo>
                  <a:pt x="103" y="313"/>
                </a:lnTo>
                <a:lnTo>
                  <a:pt x="106" y="316"/>
                </a:lnTo>
                <a:lnTo>
                  <a:pt x="106" y="313"/>
                </a:lnTo>
                <a:lnTo>
                  <a:pt x="106" y="313"/>
                </a:lnTo>
                <a:lnTo>
                  <a:pt x="103" y="313"/>
                </a:lnTo>
                <a:lnTo>
                  <a:pt x="100" y="310"/>
                </a:lnTo>
                <a:lnTo>
                  <a:pt x="100" y="310"/>
                </a:lnTo>
                <a:lnTo>
                  <a:pt x="96" y="304"/>
                </a:lnTo>
                <a:lnTo>
                  <a:pt x="96" y="301"/>
                </a:lnTo>
                <a:lnTo>
                  <a:pt x="100" y="301"/>
                </a:lnTo>
                <a:lnTo>
                  <a:pt x="100" y="297"/>
                </a:lnTo>
                <a:lnTo>
                  <a:pt x="100" y="297"/>
                </a:lnTo>
                <a:lnTo>
                  <a:pt x="100" y="294"/>
                </a:lnTo>
                <a:lnTo>
                  <a:pt x="106" y="291"/>
                </a:lnTo>
                <a:lnTo>
                  <a:pt x="109" y="291"/>
                </a:lnTo>
                <a:lnTo>
                  <a:pt x="112" y="291"/>
                </a:lnTo>
                <a:lnTo>
                  <a:pt x="115" y="291"/>
                </a:lnTo>
                <a:lnTo>
                  <a:pt x="118" y="291"/>
                </a:lnTo>
                <a:lnTo>
                  <a:pt x="121" y="291"/>
                </a:lnTo>
                <a:lnTo>
                  <a:pt x="121" y="291"/>
                </a:lnTo>
                <a:lnTo>
                  <a:pt x="125" y="291"/>
                </a:lnTo>
                <a:lnTo>
                  <a:pt x="128" y="294"/>
                </a:lnTo>
                <a:lnTo>
                  <a:pt x="131" y="294"/>
                </a:lnTo>
                <a:lnTo>
                  <a:pt x="134" y="294"/>
                </a:lnTo>
                <a:lnTo>
                  <a:pt x="134" y="291"/>
                </a:lnTo>
                <a:lnTo>
                  <a:pt x="134" y="291"/>
                </a:lnTo>
                <a:lnTo>
                  <a:pt x="128" y="288"/>
                </a:lnTo>
                <a:lnTo>
                  <a:pt x="128" y="285"/>
                </a:lnTo>
                <a:lnTo>
                  <a:pt x="128" y="279"/>
                </a:lnTo>
                <a:lnTo>
                  <a:pt x="131" y="279"/>
                </a:lnTo>
                <a:lnTo>
                  <a:pt x="131" y="276"/>
                </a:lnTo>
                <a:lnTo>
                  <a:pt x="131" y="276"/>
                </a:lnTo>
                <a:lnTo>
                  <a:pt x="128" y="272"/>
                </a:lnTo>
                <a:lnTo>
                  <a:pt x="128" y="272"/>
                </a:lnTo>
                <a:lnTo>
                  <a:pt x="131" y="269"/>
                </a:lnTo>
                <a:lnTo>
                  <a:pt x="131" y="266"/>
                </a:lnTo>
                <a:lnTo>
                  <a:pt x="128" y="263"/>
                </a:lnTo>
                <a:lnTo>
                  <a:pt x="128" y="260"/>
                </a:lnTo>
                <a:lnTo>
                  <a:pt x="128" y="257"/>
                </a:lnTo>
                <a:lnTo>
                  <a:pt x="128" y="257"/>
                </a:lnTo>
                <a:lnTo>
                  <a:pt x="125" y="257"/>
                </a:lnTo>
                <a:lnTo>
                  <a:pt x="125" y="254"/>
                </a:lnTo>
                <a:lnTo>
                  <a:pt x="125" y="250"/>
                </a:lnTo>
                <a:lnTo>
                  <a:pt x="115" y="250"/>
                </a:lnTo>
                <a:lnTo>
                  <a:pt x="115" y="250"/>
                </a:lnTo>
                <a:lnTo>
                  <a:pt x="112" y="250"/>
                </a:lnTo>
                <a:lnTo>
                  <a:pt x="112" y="254"/>
                </a:lnTo>
                <a:lnTo>
                  <a:pt x="109" y="254"/>
                </a:lnTo>
                <a:lnTo>
                  <a:pt x="109" y="257"/>
                </a:lnTo>
                <a:lnTo>
                  <a:pt x="106" y="257"/>
                </a:lnTo>
                <a:lnTo>
                  <a:pt x="103" y="257"/>
                </a:lnTo>
                <a:lnTo>
                  <a:pt x="103" y="254"/>
                </a:lnTo>
                <a:lnTo>
                  <a:pt x="103" y="254"/>
                </a:lnTo>
                <a:lnTo>
                  <a:pt x="100" y="257"/>
                </a:lnTo>
                <a:lnTo>
                  <a:pt x="100" y="254"/>
                </a:lnTo>
                <a:lnTo>
                  <a:pt x="100" y="250"/>
                </a:lnTo>
                <a:lnTo>
                  <a:pt x="96" y="250"/>
                </a:lnTo>
                <a:lnTo>
                  <a:pt x="96" y="250"/>
                </a:lnTo>
                <a:lnTo>
                  <a:pt x="93" y="250"/>
                </a:lnTo>
                <a:lnTo>
                  <a:pt x="90" y="250"/>
                </a:lnTo>
                <a:lnTo>
                  <a:pt x="87" y="250"/>
                </a:lnTo>
                <a:lnTo>
                  <a:pt x="84" y="250"/>
                </a:lnTo>
                <a:lnTo>
                  <a:pt x="84" y="254"/>
                </a:lnTo>
                <a:lnTo>
                  <a:pt x="81" y="257"/>
                </a:lnTo>
                <a:lnTo>
                  <a:pt x="81" y="254"/>
                </a:lnTo>
                <a:lnTo>
                  <a:pt x="78" y="254"/>
                </a:lnTo>
                <a:lnTo>
                  <a:pt x="78" y="257"/>
                </a:lnTo>
                <a:lnTo>
                  <a:pt x="75" y="257"/>
                </a:lnTo>
                <a:lnTo>
                  <a:pt x="71" y="260"/>
                </a:lnTo>
                <a:lnTo>
                  <a:pt x="68" y="263"/>
                </a:lnTo>
                <a:lnTo>
                  <a:pt x="68" y="263"/>
                </a:lnTo>
                <a:lnTo>
                  <a:pt x="68" y="263"/>
                </a:lnTo>
                <a:lnTo>
                  <a:pt x="65" y="266"/>
                </a:lnTo>
                <a:lnTo>
                  <a:pt x="65" y="263"/>
                </a:lnTo>
                <a:lnTo>
                  <a:pt x="62" y="263"/>
                </a:lnTo>
                <a:lnTo>
                  <a:pt x="62" y="266"/>
                </a:lnTo>
                <a:lnTo>
                  <a:pt x="59" y="266"/>
                </a:lnTo>
                <a:lnTo>
                  <a:pt x="56" y="263"/>
                </a:lnTo>
                <a:lnTo>
                  <a:pt x="56" y="263"/>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0" name="Freeform 18">
            <a:extLst>
              <a:ext uri="{FF2B5EF4-FFF2-40B4-BE49-F238E27FC236}">
                <a16:creationId xmlns:a16="http://schemas.microsoft.com/office/drawing/2014/main" id="{2E61E2E6-E10E-EED5-54B1-A571CC7AE1E1}"/>
              </a:ext>
            </a:extLst>
          </p:cNvPr>
          <p:cNvSpPr>
            <a:spLocks/>
          </p:cNvSpPr>
          <p:nvPr userDrawn="1"/>
        </p:nvSpPr>
        <p:spPr bwMode="auto">
          <a:xfrm>
            <a:off x="16423202" y="6247681"/>
            <a:ext cx="1003237" cy="625478"/>
          </a:xfrm>
          <a:custGeom>
            <a:avLst/>
            <a:gdLst>
              <a:gd name="T0" fmla="*/ 250 w 316"/>
              <a:gd name="T1" fmla="*/ 185 h 197"/>
              <a:gd name="T2" fmla="*/ 256 w 316"/>
              <a:gd name="T3" fmla="*/ 172 h 197"/>
              <a:gd name="T4" fmla="*/ 253 w 316"/>
              <a:gd name="T5" fmla="*/ 166 h 197"/>
              <a:gd name="T6" fmla="*/ 253 w 316"/>
              <a:gd name="T7" fmla="*/ 156 h 197"/>
              <a:gd name="T8" fmla="*/ 247 w 316"/>
              <a:gd name="T9" fmla="*/ 150 h 197"/>
              <a:gd name="T10" fmla="*/ 238 w 316"/>
              <a:gd name="T11" fmla="*/ 147 h 197"/>
              <a:gd name="T12" fmla="*/ 241 w 316"/>
              <a:gd name="T13" fmla="*/ 138 h 197"/>
              <a:gd name="T14" fmla="*/ 253 w 316"/>
              <a:gd name="T15" fmla="*/ 138 h 197"/>
              <a:gd name="T16" fmla="*/ 263 w 316"/>
              <a:gd name="T17" fmla="*/ 128 h 197"/>
              <a:gd name="T18" fmla="*/ 260 w 316"/>
              <a:gd name="T19" fmla="*/ 125 h 197"/>
              <a:gd name="T20" fmla="*/ 275 w 316"/>
              <a:gd name="T21" fmla="*/ 119 h 197"/>
              <a:gd name="T22" fmla="*/ 269 w 316"/>
              <a:gd name="T23" fmla="*/ 113 h 197"/>
              <a:gd name="T24" fmla="*/ 272 w 316"/>
              <a:gd name="T25" fmla="*/ 106 h 197"/>
              <a:gd name="T26" fmla="*/ 281 w 316"/>
              <a:gd name="T27" fmla="*/ 103 h 197"/>
              <a:gd name="T28" fmla="*/ 294 w 316"/>
              <a:gd name="T29" fmla="*/ 100 h 197"/>
              <a:gd name="T30" fmla="*/ 303 w 316"/>
              <a:gd name="T31" fmla="*/ 103 h 197"/>
              <a:gd name="T32" fmla="*/ 316 w 316"/>
              <a:gd name="T33" fmla="*/ 97 h 197"/>
              <a:gd name="T34" fmla="*/ 307 w 316"/>
              <a:gd name="T35" fmla="*/ 85 h 197"/>
              <a:gd name="T36" fmla="*/ 303 w 316"/>
              <a:gd name="T37" fmla="*/ 91 h 197"/>
              <a:gd name="T38" fmla="*/ 297 w 316"/>
              <a:gd name="T39" fmla="*/ 94 h 197"/>
              <a:gd name="T40" fmla="*/ 285 w 316"/>
              <a:gd name="T41" fmla="*/ 88 h 197"/>
              <a:gd name="T42" fmla="*/ 281 w 316"/>
              <a:gd name="T43" fmla="*/ 78 h 197"/>
              <a:gd name="T44" fmla="*/ 288 w 316"/>
              <a:gd name="T45" fmla="*/ 66 h 197"/>
              <a:gd name="T46" fmla="*/ 281 w 316"/>
              <a:gd name="T47" fmla="*/ 72 h 197"/>
              <a:gd name="T48" fmla="*/ 269 w 316"/>
              <a:gd name="T49" fmla="*/ 81 h 197"/>
              <a:gd name="T50" fmla="*/ 266 w 316"/>
              <a:gd name="T51" fmla="*/ 91 h 197"/>
              <a:gd name="T52" fmla="*/ 253 w 316"/>
              <a:gd name="T53" fmla="*/ 103 h 197"/>
              <a:gd name="T54" fmla="*/ 244 w 316"/>
              <a:gd name="T55" fmla="*/ 97 h 197"/>
              <a:gd name="T56" fmla="*/ 231 w 316"/>
              <a:gd name="T57" fmla="*/ 97 h 197"/>
              <a:gd name="T58" fmla="*/ 216 w 316"/>
              <a:gd name="T59" fmla="*/ 103 h 197"/>
              <a:gd name="T60" fmla="*/ 194 w 316"/>
              <a:gd name="T61" fmla="*/ 78 h 197"/>
              <a:gd name="T62" fmla="*/ 188 w 316"/>
              <a:gd name="T63" fmla="*/ 53 h 197"/>
              <a:gd name="T64" fmla="*/ 172 w 316"/>
              <a:gd name="T65" fmla="*/ 34 h 197"/>
              <a:gd name="T66" fmla="*/ 113 w 316"/>
              <a:gd name="T67" fmla="*/ 38 h 197"/>
              <a:gd name="T68" fmla="*/ 81 w 316"/>
              <a:gd name="T69" fmla="*/ 22 h 197"/>
              <a:gd name="T70" fmla="*/ 0 w 316"/>
              <a:gd name="T71" fmla="*/ 9 h 197"/>
              <a:gd name="T72" fmla="*/ 25 w 316"/>
              <a:gd name="T73" fmla="*/ 103 h 197"/>
              <a:gd name="T74" fmla="*/ 35 w 316"/>
              <a:gd name="T75" fmla="*/ 100 h 197"/>
              <a:gd name="T76" fmla="*/ 31 w 316"/>
              <a:gd name="T77" fmla="*/ 88 h 197"/>
              <a:gd name="T78" fmla="*/ 41 w 316"/>
              <a:gd name="T79" fmla="*/ 78 h 197"/>
              <a:gd name="T80" fmla="*/ 47 w 316"/>
              <a:gd name="T81" fmla="*/ 72 h 197"/>
              <a:gd name="T82" fmla="*/ 56 w 316"/>
              <a:gd name="T83" fmla="*/ 72 h 197"/>
              <a:gd name="T84" fmla="*/ 60 w 316"/>
              <a:gd name="T85" fmla="*/ 69 h 197"/>
              <a:gd name="T86" fmla="*/ 85 w 316"/>
              <a:gd name="T87" fmla="*/ 81 h 197"/>
              <a:gd name="T88" fmla="*/ 100 w 316"/>
              <a:gd name="T89" fmla="*/ 94 h 197"/>
              <a:gd name="T90" fmla="*/ 116 w 316"/>
              <a:gd name="T91" fmla="*/ 100 h 197"/>
              <a:gd name="T92" fmla="*/ 128 w 316"/>
              <a:gd name="T93" fmla="*/ 106 h 197"/>
              <a:gd name="T94" fmla="*/ 135 w 316"/>
              <a:gd name="T95" fmla="*/ 119 h 197"/>
              <a:gd name="T96" fmla="*/ 141 w 316"/>
              <a:gd name="T97" fmla="*/ 135 h 197"/>
              <a:gd name="T98" fmla="*/ 163 w 316"/>
              <a:gd name="T99" fmla="*/ 144 h 197"/>
              <a:gd name="T100" fmla="*/ 191 w 316"/>
              <a:gd name="T101" fmla="*/ 160 h 197"/>
              <a:gd name="T102" fmla="*/ 213 w 316"/>
              <a:gd name="T103" fmla="*/ 172 h 197"/>
              <a:gd name="T104" fmla="*/ 219 w 316"/>
              <a:gd name="T105" fmla="*/ 175 h 197"/>
              <a:gd name="T106" fmla="*/ 225 w 316"/>
              <a:gd name="T107" fmla="*/ 185 h 197"/>
              <a:gd name="T108" fmla="*/ 231 w 316"/>
              <a:gd name="T109" fmla="*/ 191 h 197"/>
              <a:gd name="T110" fmla="*/ 238 w 316"/>
              <a:gd name="T111" fmla="*/ 197 h 197"/>
              <a:gd name="T112" fmla="*/ 244 w 316"/>
              <a:gd name="T113" fmla="*/ 194 h 197"/>
              <a:gd name="T114" fmla="*/ 250 w 316"/>
              <a:gd name="T115"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6" h="197">
                <a:moveTo>
                  <a:pt x="250" y="197"/>
                </a:moveTo>
                <a:lnTo>
                  <a:pt x="250" y="185"/>
                </a:lnTo>
                <a:lnTo>
                  <a:pt x="256" y="175"/>
                </a:lnTo>
                <a:lnTo>
                  <a:pt x="256" y="172"/>
                </a:lnTo>
                <a:lnTo>
                  <a:pt x="256" y="166"/>
                </a:lnTo>
                <a:lnTo>
                  <a:pt x="253" y="166"/>
                </a:lnTo>
                <a:lnTo>
                  <a:pt x="250" y="160"/>
                </a:lnTo>
                <a:lnTo>
                  <a:pt x="253" y="156"/>
                </a:lnTo>
                <a:lnTo>
                  <a:pt x="250" y="150"/>
                </a:lnTo>
                <a:lnTo>
                  <a:pt x="247" y="150"/>
                </a:lnTo>
                <a:lnTo>
                  <a:pt x="244" y="153"/>
                </a:lnTo>
                <a:lnTo>
                  <a:pt x="238" y="147"/>
                </a:lnTo>
                <a:lnTo>
                  <a:pt x="238" y="141"/>
                </a:lnTo>
                <a:lnTo>
                  <a:pt x="241" y="138"/>
                </a:lnTo>
                <a:lnTo>
                  <a:pt x="250" y="138"/>
                </a:lnTo>
                <a:lnTo>
                  <a:pt x="253" y="138"/>
                </a:lnTo>
                <a:lnTo>
                  <a:pt x="253" y="131"/>
                </a:lnTo>
                <a:lnTo>
                  <a:pt x="263" y="128"/>
                </a:lnTo>
                <a:lnTo>
                  <a:pt x="260" y="125"/>
                </a:lnTo>
                <a:lnTo>
                  <a:pt x="260" y="125"/>
                </a:lnTo>
                <a:lnTo>
                  <a:pt x="266" y="122"/>
                </a:lnTo>
                <a:lnTo>
                  <a:pt x="275" y="119"/>
                </a:lnTo>
                <a:lnTo>
                  <a:pt x="275" y="116"/>
                </a:lnTo>
                <a:lnTo>
                  <a:pt x="269" y="113"/>
                </a:lnTo>
                <a:lnTo>
                  <a:pt x="269" y="110"/>
                </a:lnTo>
                <a:lnTo>
                  <a:pt x="272" y="106"/>
                </a:lnTo>
                <a:lnTo>
                  <a:pt x="278" y="103"/>
                </a:lnTo>
                <a:lnTo>
                  <a:pt x="281" y="103"/>
                </a:lnTo>
                <a:lnTo>
                  <a:pt x="288" y="97"/>
                </a:lnTo>
                <a:lnTo>
                  <a:pt x="294" y="100"/>
                </a:lnTo>
                <a:lnTo>
                  <a:pt x="294" y="103"/>
                </a:lnTo>
                <a:lnTo>
                  <a:pt x="303" y="103"/>
                </a:lnTo>
                <a:lnTo>
                  <a:pt x="310" y="103"/>
                </a:lnTo>
                <a:lnTo>
                  <a:pt x="316" y="97"/>
                </a:lnTo>
                <a:lnTo>
                  <a:pt x="316" y="94"/>
                </a:lnTo>
                <a:lnTo>
                  <a:pt x="307" y="85"/>
                </a:lnTo>
                <a:lnTo>
                  <a:pt x="303" y="85"/>
                </a:lnTo>
                <a:lnTo>
                  <a:pt x="303" y="91"/>
                </a:lnTo>
                <a:lnTo>
                  <a:pt x="300" y="94"/>
                </a:lnTo>
                <a:lnTo>
                  <a:pt x="297" y="94"/>
                </a:lnTo>
                <a:lnTo>
                  <a:pt x="291" y="91"/>
                </a:lnTo>
                <a:lnTo>
                  <a:pt x="285" y="88"/>
                </a:lnTo>
                <a:lnTo>
                  <a:pt x="278" y="85"/>
                </a:lnTo>
                <a:lnTo>
                  <a:pt x="281" y="78"/>
                </a:lnTo>
                <a:lnTo>
                  <a:pt x="288" y="69"/>
                </a:lnTo>
                <a:lnTo>
                  <a:pt x="288" y="66"/>
                </a:lnTo>
                <a:lnTo>
                  <a:pt x="285" y="66"/>
                </a:lnTo>
                <a:lnTo>
                  <a:pt x="281" y="72"/>
                </a:lnTo>
                <a:lnTo>
                  <a:pt x="278" y="72"/>
                </a:lnTo>
                <a:lnTo>
                  <a:pt x="269" y="81"/>
                </a:lnTo>
                <a:lnTo>
                  <a:pt x="269" y="88"/>
                </a:lnTo>
                <a:lnTo>
                  <a:pt x="266" y="91"/>
                </a:lnTo>
                <a:lnTo>
                  <a:pt x="263" y="97"/>
                </a:lnTo>
                <a:lnTo>
                  <a:pt x="253" y="103"/>
                </a:lnTo>
                <a:lnTo>
                  <a:pt x="250" y="103"/>
                </a:lnTo>
                <a:lnTo>
                  <a:pt x="244" y="97"/>
                </a:lnTo>
                <a:lnTo>
                  <a:pt x="235" y="97"/>
                </a:lnTo>
                <a:lnTo>
                  <a:pt x="231" y="97"/>
                </a:lnTo>
                <a:lnTo>
                  <a:pt x="222" y="103"/>
                </a:lnTo>
                <a:lnTo>
                  <a:pt x="216" y="103"/>
                </a:lnTo>
                <a:lnTo>
                  <a:pt x="210" y="81"/>
                </a:lnTo>
                <a:lnTo>
                  <a:pt x="194" y="78"/>
                </a:lnTo>
                <a:lnTo>
                  <a:pt x="194" y="50"/>
                </a:lnTo>
                <a:lnTo>
                  <a:pt x="188" y="53"/>
                </a:lnTo>
                <a:lnTo>
                  <a:pt x="181" y="41"/>
                </a:lnTo>
                <a:lnTo>
                  <a:pt x="172" y="34"/>
                </a:lnTo>
                <a:lnTo>
                  <a:pt x="141" y="34"/>
                </a:lnTo>
                <a:lnTo>
                  <a:pt x="113" y="38"/>
                </a:lnTo>
                <a:lnTo>
                  <a:pt x="94" y="25"/>
                </a:lnTo>
                <a:lnTo>
                  <a:pt x="81" y="22"/>
                </a:lnTo>
                <a:lnTo>
                  <a:pt x="50" y="0"/>
                </a:lnTo>
                <a:lnTo>
                  <a:pt x="0" y="9"/>
                </a:lnTo>
                <a:lnTo>
                  <a:pt x="16" y="103"/>
                </a:lnTo>
                <a:lnTo>
                  <a:pt x="25" y="103"/>
                </a:lnTo>
                <a:lnTo>
                  <a:pt x="31" y="103"/>
                </a:lnTo>
                <a:lnTo>
                  <a:pt x="35" y="100"/>
                </a:lnTo>
                <a:lnTo>
                  <a:pt x="31" y="97"/>
                </a:lnTo>
                <a:lnTo>
                  <a:pt x="31" y="88"/>
                </a:lnTo>
                <a:lnTo>
                  <a:pt x="35" y="81"/>
                </a:lnTo>
                <a:lnTo>
                  <a:pt x="41" y="78"/>
                </a:lnTo>
                <a:lnTo>
                  <a:pt x="44" y="75"/>
                </a:lnTo>
                <a:lnTo>
                  <a:pt x="47" y="72"/>
                </a:lnTo>
                <a:lnTo>
                  <a:pt x="53" y="75"/>
                </a:lnTo>
                <a:lnTo>
                  <a:pt x="56" y="72"/>
                </a:lnTo>
                <a:lnTo>
                  <a:pt x="50" y="69"/>
                </a:lnTo>
                <a:lnTo>
                  <a:pt x="60" y="69"/>
                </a:lnTo>
                <a:lnTo>
                  <a:pt x="75" y="75"/>
                </a:lnTo>
                <a:lnTo>
                  <a:pt x="85" y="81"/>
                </a:lnTo>
                <a:lnTo>
                  <a:pt x="88" y="88"/>
                </a:lnTo>
                <a:lnTo>
                  <a:pt x="100" y="94"/>
                </a:lnTo>
                <a:lnTo>
                  <a:pt x="113" y="100"/>
                </a:lnTo>
                <a:lnTo>
                  <a:pt x="116" y="100"/>
                </a:lnTo>
                <a:lnTo>
                  <a:pt x="119" y="100"/>
                </a:lnTo>
                <a:lnTo>
                  <a:pt x="128" y="106"/>
                </a:lnTo>
                <a:lnTo>
                  <a:pt x="131" y="119"/>
                </a:lnTo>
                <a:lnTo>
                  <a:pt x="135" y="119"/>
                </a:lnTo>
                <a:lnTo>
                  <a:pt x="138" y="125"/>
                </a:lnTo>
                <a:lnTo>
                  <a:pt x="141" y="135"/>
                </a:lnTo>
                <a:lnTo>
                  <a:pt x="147" y="138"/>
                </a:lnTo>
                <a:lnTo>
                  <a:pt x="163" y="144"/>
                </a:lnTo>
                <a:lnTo>
                  <a:pt x="175" y="153"/>
                </a:lnTo>
                <a:lnTo>
                  <a:pt x="191" y="160"/>
                </a:lnTo>
                <a:lnTo>
                  <a:pt x="203" y="169"/>
                </a:lnTo>
                <a:lnTo>
                  <a:pt x="213" y="172"/>
                </a:lnTo>
                <a:lnTo>
                  <a:pt x="216" y="175"/>
                </a:lnTo>
                <a:lnTo>
                  <a:pt x="219" y="175"/>
                </a:lnTo>
                <a:lnTo>
                  <a:pt x="225" y="178"/>
                </a:lnTo>
                <a:lnTo>
                  <a:pt x="225" y="185"/>
                </a:lnTo>
                <a:lnTo>
                  <a:pt x="225" y="194"/>
                </a:lnTo>
                <a:lnTo>
                  <a:pt x="231" y="191"/>
                </a:lnTo>
                <a:lnTo>
                  <a:pt x="238" y="194"/>
                </a:lnTo>
                <a:lnTo>
                  <a:pt x="238" y="197"/>
                </a:lnTo>
                <a:lnTo>
                  <a:pt x="241" y="197"/>
                </a:lnTo>
                <a:lnTo>
                  <a:pt x="244" y="194"/>
                </a:lnTo>
                <a:lnTo>
                  <a:pt x="247" y="194"/>
                </a:lnTo>
                <a:lnTo>
                  <a:pt x="250" y="19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1" name="Freeform 19">
            <a:extLst>
              <a:ext uri="{FF2B5EF4-FFF2-40B4-BE49-F238E27FC236}">
                <a16:creationId xmlns:a16="http://schemas.microsoft.com/office/drawing/2014/main" id="{897898AD-1896-9810-75E2-5320AE246138}"/>
              </a:ext>
            </a:extLst>
          </p:cNvPr>
          <p:cNvSpPr>
            <a:spLocks/>
          </p:cNvSpPr>
          <p:nvPr userDrawn="1"/>
        </p:nvSpPr>
        <p:spPr bwMode="auto">
          <a:xfrm>
            <a:off x="16245413" y="6466759"/>
            <a:ext cx="892118" cy="565150"/>
          </a:xfrm>
          <a:custGeom>
            <a:avLst/>
            <a:gdLst>
              <a:gd name="T0" fmla="*/ 281 w 281"/>
              <a:gd name="T1" fmla="*/ 109 h 178"/>
              <a:gd name="T2" fmla="*/ 269 w 281"/>
              <a:gd name="T3" fmla="*/ 103 h 178"/>
              <a:gd name="T4" fmla="*/ 231 w 281"/>
              <a:gd name="T5" fmla="*/ 84 h 178"/>
              <a:gd name="T6" fmla="*/ 197 w 281"/>
              <a:gd name="T7" fmla="*/ 66 h 178"/>
              <a:gd name="T8" fmla="*/ 187 w 281"/>
              <a:gd name="T9" fmla="*/ 50 h 178"/>
              <a:gd name="T10" fmla="*/ 172 w 281"/>
              <a:gd name="T11" fmla="*/ 31 h 178"/>
              <a:gd name="T12" fmla="*/ 144 w 281"/>
              <a:gd name="T13" fmla="*/ 19 h 178"/>
              <a:gd name="T14" fmla="*/ 116 w 281"/>
              <a:gd name="T15" fmla="*/ 0 h 178"/>
              <a:gd name="T16" fmla="*/ 109 w 281"/>
              <a:gd name="T17" fmla="*/ 6 h 178"/>
              <a:gd name="T18" fmla="*/ 97 w 281"/>
              <a:gd name="T19" fmla="*/ 9 h 178"/>
              <a:gd name="T20" fmla="*/ 87 w 281"/>
              <a:gd name="T21" fmla="*/ 28 h 178"/>
              <a:gd name="T22" fmla="*/ 81 w 281"/>
              <a:gd name="T23" fmla="*/ 34 h 178"/>
              <a:gd name="T24" fmla="*/ 47 w 281"/>
              <a:gd name="T25" fmla="*/ 22 h 178"/>
              <a:gd name="T26" fmla="*/ 12 w 281"/>
              <a:gd name="T27" fmla="*/ 16 h 178"/>
              <a:gd name="T28" fmla="*/ 3 w 281"/>
              <a:gd name="T29" fmla="*/ 31 h 178"/>
              <a:gd name="T30" fmla="*/ 9 w 281"/>
              <a:gd name="T31" fmla="*/ 41 h 178"/>
              <a:gd name="T32" fmla="*/ 9 w 281"/>
              <a:gd name="T33" fmla="*/ 56 h 178"/>
              <a:gd name="T34" fmla="*/ 12 w 281"/>
              <a:gd name="T35" fmla="*/ 72 h 178"/>
              <a:gd name="T36" fmla="*/ 19 w 281"/>
              <a:gd name="T37" fmla="*/ 72 h 178"/>
              <a:gd name="T38" fmla="*/ 28 w 281"/>
              <a:gd name="T39" fmla="*/ 72 h 178"/>
              <a:gd name="T40" fmla="*/ 28 w 281"/>
              <a:gd name="T41" fmla="*/ 81 h 178"/>
              <a:gd name="T42" fmla="*/ 34 w 281"/>
              <a:gd name="T43" fmla="*/ 84 h 178"/>
              <a:gd name="T44" fmla="*/ 25 w 281"/>
              <a:gd name="T45" fmla="*/ 81 h 178"/>
              <a:gd name="T46" fmla="*/ 25 w 281"/>
              <a:gd name="T47" fmla="*/ 94 h 178"/>
              <a:gd name="T48" fmla="*/ 28 w 281"/>
              <a:gd name="T49" fmla="*/ 87 h 178"/>
              <a:gd name="T50" fmla="*/ 37 w 281"/>
              <a:gd name="T51" fmla="*/ 94 h 178"/>
              <a:gd name="T52" fmla="*/ 41 w 281"/>
              <a:gd name="T53" fmla="*/ 109 h 178"/>
              <a:gd name="T54" fmla="*/ 47 w 281"/>
              <a:gd name="T55" fmla="*/ 134 h 178"/>
              <a:gd name="T56" fmla="*/ 59 w 281"/>
              <a:gd name="T57" fmla="*/ 125 h 178"/>
              <a:gd name="T58" fmla="*/ 75 w 281"/>
              <a:gd name="T59" fmla="*/ 116 h 178"/>
              <a:gd name="T60" fmla="*/ 91 w 281"/>
              <a:gd name="T61" fmla="*/ 112 h 178"/>
              <a:gd name="T62" fmla="*/ 103 w 281"/>
              <a:gd name="T63" fmla="*/ 112 h 178"/>
              <a:gd name="T64" fmla="*/ 128 w 281"/>
              <a:gd name="T65" fmla="*/ 125 h 178"/>
              <a:gd name="T66" fmla="*/ 144 w 281"/>
              <a:gd name="T67" fmla="*/ 128 h 178"/>
              <a:gd name="T68" fmla="*/ 150 w 281"/>
              <a:gd name="T69" fmla="*/ 134 h 178"/>
              <a:gd name="T70" fmla="*/ 169 w 281"/>
              <a:gd name="T71" fmla="*/ 147 h 178"/>
              <a:gd name="T72" fmla="*/ 184 w 281"/>
              <a:gd name="T73" fmla="*/ 156 h 178"/>
              <a:gd name="T74" fmla="*/ 187 w 281"/>
              <a:gd name="T75" fmla="*/ 166 h 178"/>
              <a:gd name="T76" fmla="*/ 194 w 281"/>
              <a:gd name="T77" fmla="*/ 169 h 178"/>
              <a:gd name="T78" fmla="*/ 203 w 281"/>
              <a:gd name="T79" fmla="*/ 169 h 178"/>
              <a:gd name="T80" fmla="*/ 212 w 281"/>
              <a:gd name="T81" fmla="*/ 175 h 178"/>
              <a:gd name="T82" fmla="*/ 222 w 281"/>
              <a:gd name="T83" fmla="*/ 175 h 178"/>
              <a:gd name="T84" fmla="*/ 228 w 281"/>
              <a:gd name="T85" fmla="*/ 166 h 178"/>
              <a:gd name="T86" fmla="*/ 241 w 281"/>
              <a:gd name="T87" fmla="*/ 159 h 178"/>
              <a:gd name="T88" fmla="*/ 247 w 281"/>
              <a:gd name="T89" fmla="*/ 153 h 178"/>
              <a:gd name="T90" fmla="*/ 253 w 281"/>
              <a:gd name="T91" fmla="*/ 138 h 178"/>
              <a:gd name="T92" fmla="*/ 250 w 281"/>
              <a:gd name="T93" fmla="*/ 131 h 178"/>
              <a:gd name="T94" fmla="*/ 259 w 281"/>
              <a:gd name="T95" fmla="*/ 128 h 178"/>
              <a:gd name="T96" fmla="*/ 272 w 281"/>
              <a:gd name="T97" fmla="*/ 122 h 178"/>
              <a:gd name="T98" fmla="*/ 281 w 281"/>
              <a:gd name="T99" fmla="*/ 12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178">
                <a:moveTo>
                  <a:pt x="281" y="125"/>
                </a:moveTo>
                <a:lnTo>
                  <a:pt x="281" y="116"/>
                </a:lnTo>
                <a:lnTo>
                  <a:pt x="281" y="109"/>
                </a:lnTo>
                <a:lnTo>
                  <a:pt x="275" y="106"/>
                </a:lnTo>
                <a:lnTo>
                  <a:pt x="272" y="106"/>
                </a:lnTo>
                <a:lnTo>
                  <a:pt x="269" y="103"/>
                </a:lnTo>
                <a:lnTo>
                  <a:pt x="259" y="100"/>
                </a:lnTo>
                <a:lnTo>
                  <a:pt x="247" y="91"/>
                </a:lnTo>
                <a:lnTo>
                  <a:pt x="231" y="84"/>
                </a:lnTo>
                <a:lnTo>
                  <a:pt x="219" y="75"/>
                </a:lnTo>
                <a:lnTo>
                  <a:pt x="203" y="69"/>
                </a:lnTo>
                <a:lnTo>
                  <a:pt x="197" y="66"/>
                </a:lnTo>
                <a:lnTo>
                  <a:pt x="194" y="56"/>
                </a:lnTo>
                <a:lnTo>
                  <a:pt x="191" y="50"/>
                </a:lnTo>
                <a:lnTo>
                  <a:pt x="187" y="50"/>
                </a:lnTo>
                <a:lnTo>
                  <a:pt x="184" y="37"/>
                </a:lnTo>
                <a:lnTo>
                  <a:pt x="175" y="31"/>
                </a:lnTo>
                <a:lnTo>
                  <a:pt x="172" y="31"/>
                </a:lnTo>
                <a:lnTo>
                  <a:pt x="169" y="31"/>
                </a:lnTo>
                <a:lnTo>
                  <a:pt x="156" y="25"/>
                </a:lnTo>
                <a:lnTo>
                  <a:pt x="144" y="19"/>
                </a:lnTo>
                <a:lnTo>
                  <a:pt x="141" y="12"/>
                </a:lnTo>
                <a:lnTo>
                  <a:pt x="131" y="6"/>
                </a:lnTo>
                <a:lnTo>
                  <a:pt x="116" y="0"/>
                </a:lnTo>
                <a:lnTo>
                  <a:pt x="106" y="0"/>
                </a:lnTo>
                <a:lnTo>
                  <a:pt x="112" y="3"/>
                </a:lnTo>
                <a:lnTo>
                  <a:pt x="109" y="6"/>
                </a:lnTo>
                <a:lnTo>
                  <a:pt x="103" y="3"/>
                </a:lnTo>
                <a:lnTo>
                  <a:pt x="100" y="6"/>
                </a:lnTo>
                <a:lnTo>
                  <a:pt x="97" y="9"/>
                </a:lnTo>
                <a:lnTo>
                  <a:pt x="91" y="12"/>
                </a:lnTo>
                <a:lnTo>
                  <a:pt x="87" y="19"/>
                </a:lnTo>
                <a:lnTo>
                  <a:pt x="87" y="28"/>
                </a:lnTo>
                <a:lnTo>
                  <a:pt x="91" y="31"/>
                </a:lnTo>
                <a:lnTo>
                  <a:pt x="87" y="34"/>
                </a:lnTo>
                <a:lnTo>
                  <a:pt x="81" y="34"/>
                </a:lnTo>
                <a:lnTo>
                  <a:pt x="69" y="34"/>
                </a:lnTo>
                <a:lnTo>
                  <a:pt x="62" y="37"/>
                </a:lnTo>
                <a:lnTo>
                  <a:pt x="47" y="22"/>
                </a:lnTo>
                <a:lnTo>
                  <a:pt x="34" y="12"/>
                </a:lnTo>
                <a:lnTo>
                  <a:pt x="22" y="12"/>
                </a:lnTo>
                <a:lnTo>
                  <a:pt x="12" y="16"/>
                </a:lnTo>
                <a:lnTo>
                  <a:pt x="0" y="25"/>
                </a:lnTo>
                <a:lnTo>
                  <a:pt x="0" y="28"/>
                </a:lnTo>
                <a:lnTo>
                  <a:pt x="3" y="31"/>
                </a:lnTo>
                <a:lnTo>
                  <a:pt x="3" y="34"/>
                </a:lnTo>
                <a:lnTo>
                  <a:pt x="6" y="37"/>
                </a:lnTo>
                <a:lnTo>
                  <a:pt x="9" y="41"/>
                </a:lnTo>
                <a:lnTo>
                  <a:pt x="12" y="47"/>
                </a:lnTo>
                <a:lnTo>
                  <a:pt x="12" y="53"/>
                </a:lnTo>
                <a:lnTo>
                  <a:pt x="9" y="56"/>
                </a:lnTo>
                <a:lnTo>
                  <a:pt x="9" y="66"/>
                </a:lnTo>
                <a:lnTo>
                  <a:pt x="12" y="69"/>
                </a:lnTo>
                <a:lnTo>
                  <a:pt x="12" y="72"/>
                </a:lnTo>
                <a:lnTo>
                  <a:pt x="22" y="78"/>
                </a:lnTo>
                <a:lnTo>
                  <a:pt x="19" y="75"/>
                </a:lnTo>
                <a:lnTo>
                  <a:pt x="19" y="72"/>
                </a:lnTo>
                <a:lnTo>
                  <a:pt x="19" y="72"/>
                </a:lnTo>
                <a:lnTo>
                  <a:pt x="25" y="72"/>
                </a:lnTo>
                <a:lnTo>
                  <a:pt x="28" y="72"/>
                </a:lnTo>
                <a:lnTo>
                  <a:pt x="28" y="72"/>
                </a:lnTo>
                <a:lnTo>
                  <a:pt x="28" y="75"/>
                </a:lnTo>
                <a:lnTo>
                  <a:pt x="28" y="81"/>
                </a:lnTo>
                <a:lnTo>
                  <a:pt x="31" y="78"/>
                </a:lnTo>
                <a:lnTo>
                  <a:pt x="34" y="84"/>
                </a:lnTo>
                <a:lnTo>
                  <a:pt x="34" y="84"/>
                </a:lnTo>
                <a:lnTo>
                  <a:pt x="31" y="84"/>
                </a:lnTo>
                <a:lnTo>
                  <a:pt x="28" y="84"/>
                </a:lnTo>
                <a:lnTo>
                  <a:pt x="25" y="81"/>
                </a:lnTo>
                <a:lnTo>
                  <a:pt x="22" y="84"/>
                </a:lnTo>
                <a:lnTo>
                  <a:pt x="22" y="87"/>
                </a:lnTo>
                <a:lnTo>
                  <a:pt x="25" y="94"/>
                </a:lnTo>
                <a:lnTo>
                  <a:pt x="25" y="87"/>
                </a:lnTo>
                <a:lnTo>
                  <a:pt x="25" y="87"/>
                </a:lnTo>
                <a:lnTo>
                  <a:pt x="28" y="87"/>
                </a:lnTo>
                <a:lnTo>
                  <a:pt x="31" y="87"/>
                </a:lnTo>
                <a:lnTo>
                  <a:pt x="34" y="94"/>
                </a:lnTo>
                <a:lnTo>
                  <a:pt x="37" y="94"/>
                </a:lnTo>
                <a:lnTo>
                  <a:pt x="41" y="100"/>
                </a:lnTo>
                <a:lnTo>
                  <a:pt x="41" y="106"/>
                </a:lnTo>
                <a:lnTo>
                  <a:pt x="41" y="109"/>
                </a:lnTo>
                <a:lnTo>
                  <a:pt x="41" y="119"/>
                </a:lnTo>
                <a:lnTo>
                  <a:pt x="41" y="125"/>
                </a:lnTo>
                <a:lnTo>
                  <a:pt x="47" y="134"/>
                </a:lnTo>
                <a:lnTo>
                  <a:pt x="50" y="131"/>
                </a:lnTo>
                <a:lnTo>
                  <a:pt x="59" y="131"/>
                </a:lnTo>
                <a:lnTo>
                  <a:pt x="59" y="125"/>
                </a:lnTo>
                <a:lnTo>
                  <a:pt x="62" y="122"/>
                </a:lnTo>
                <a:lnTo>
                  <a:pt x="66" y="122"/>
                </a:lnTo>
                <a:lnTo>
                  <a:pt x="75" y="116"/>
                </a:lnTo>
                <a:lnTo>
                  <a:pt x="84" y="116"/>
                </a:lnTo>
                <a:lnTo>
                  <a:pt x="91" y="116"/>
                </a:lnTo>
                <a:lnTo>
                  <a:pt x="91" y="112"/>
                </a:lnTo>
                <a:lnTo>
                  <a:pt x="97" y="109"/>
                </a:lnTo>
                <a:lnTo>
                  <a:pt x="100" y="112"/>
                </a:lnTo>
                <a:lnTo>
                  <a:pt x="103" y="112"/>
                </a:lnTo>
                <a:lnTo>
                  <a:pt x="112" y="119"/>
                </a:lnTo>
                <a:lnTo>
                  <a:pt x="116" y="119"/>
                </a:lnTo>
                <a:lnTo>
                  <a:pt x="128" y="125"/>
                </a:lnTo>
                <a:lnTo>
                  <a:pt x="131" y="125"/>
                </a:lnTo>
                <a:lnTo>
                  <a:pt x="134" y="125"/>
                </a:lnTo>
                <a:lnTo>
                  <a:pt x="144" y="128"/>
                </a:lnTo>
                <a:lnTo>
                  <a:pt x="147" y="128"/>
                </a:lnTo>
                <a:lnTo>
                  <a:pt x="147" y="134"/>
                </a:lnTo>
                <a:lnTo>
                  <a:pt x="150" y="134"/>
                </a:lnTo>
                <a:lnTo>
                  <a:pt x="153" y="134"/>
                </a:lnTo>
                <a:lnTo>
                  <a:pt x="162" y="138"/>
                </a:lnTo>
                <a:lnTo>
                  <a:pt x="169" y="147"/>
                </a:lnTo>
                <a:lnTo>
                  <a:pt x="178" y="147"/>
                </a:lnTo>
                <a:lnTo>
                  <a:pt x="181" y="150"/>
                </a:lnTo>
                <a:lnTo>
                  <a:pt x="184" y="156"/>
                </a:lnTo>
                <a:lnTo>
                  <a:pt x="184" y="159"/>
                </a:lnTo>
                <a:lnTo>
                  <a:pt x="187" y="163"/>
                </a:lnTo>
                <a:lnTo>
                  <a:pt x="187" y="166"/>
                </a:lnTo>
                <a:lnTo>
                  <a:pt x="187" y="169"/>
                </a:lnTo>
                <a:lnTo>
                  <a:pt x="191" y="169"/>
                </a:lnTo>
                <a:lnTo>
                  <a:pt x="194" y="169"/>
                </a:lnTo>
                <a:lnTo>
                  <a:pt x="197" y="172"/>
                </a:lnTo>
                <a:lnTo>
                  <a:pt x="200" y="172"/>
                </a:lnTo>
                <a:lnTo>
                  <a:pt x="203" y="169"/>
                </a:lnTo>
                <a:lnTo>
                  <a:pt x="206" y="169"/>
                </a:lnTo>
                <a:lnTo>
                  <a:pt x="209" y="172"/>
                </a:lnTo>
                <a:lnTo>
                  <a:pt x="212" y="175"/>
                </a:lnTo>
                <a:lnTo>
                  <a:pt x="212" y="178"/>
                </a:lnTo>
                <a:lnTo>
                  <a:pt x="216" y="175"/>
                </a:lnTo>
                <a:lnTo>
                  <a:pt x="222" y="175"/>
                </a:lnTo>
                <a:lnTo>
                  <a:pt x="225" y="172"/>
                </a:lnTo>
                <a:lnTo>
                  <a:pt x="225" y="169"/>
                </a:lnTo>
                <a:lnTo>
                  <a:pt x="228" y="166"/>
                </a:lnTo>
                <a:lnTo>
                  <a:pt x="225" y="163"/>
                </a:lnTo>
                <a:lnTo>
                  <a:pt x="231" y="159"/>
                </a:lnTo>
                <a:lnTo>
                  <a:pt x="241" y="159"/>
                </a:lnTo>
                <a:lnTo>
                  <a:pt x="241" y="156"/>
                </a:lnTo>
                <a:lnTo>
                  <a:pt x="244" y="153"/>
                </a:lnTo>
                <a:lnTo>
                  <a:pt x="247" y="153"/>
                </a:lnTo>
                <a:lnTo>
                  <a:pt x="247" y="147"/>
                </a:lnTo>
                <a:lnTo>
                  <a:pt x="247" y="144"/>
                </a:lnTo>
                <a:lnTo>
                  <a:pt x="253" y="138"/>
                </a:lnTo>
                <a:lnTo>
                  <a:pt x="253" y="134"/>
                </a:lnTo>
                <a:lnTo>
                  <a:pt x="250" y="134"/>
                </a:lnTo>
                <a:lnTo>
                  <a:pt x="250" y="131"/>
                </a:lnTo>
                <a:lnTo>
                  <a:pt x="253" y="131"/>
                </a:lnTo>
                <a:lnTo>
                  <a:pt x="256" y="128"/>
                </a:lnTo>
                <a:lnTo>
                  <a:pt x="259" y="128"/>
                </a:lnTo>
                <a:lnTo>
                  <a:pt x="262" y="128"/>
                </a:lnTo>
                <a:lnTo>
                  <a:pt x="269" y="122"/>
                </a:lnTo>
                <a:lnTo>
                  <a:pt x="272" y="122"/>
                </a:lnTo>
                <a:lnTo>
                  <a:pt x="275" y="125"/>
                </a:lnTo>
                <a:lnTo>
                  <a:pt x="281" y="122"/>
                </a:lnTo>
                <a:lnTo>
                  <a:pt x="281" y="125"/>
                </a:lnTo>
                <a:lnTo>
                  <a:pt x="281" y="125"/>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2" name="Freeform 20">
            <a:extLst>
              <a:ext uri="{FF2B5EF4-FFF2-40B4-BE49-F238E27FC236}">
                <a16:creationId xmlns:a16="http://schemas.microsoft.com/office/drawing/2014/main" id="{5B555ADE-C660-659F-5182-A6C37775A0EB}"/>
              </a:ext>
            </a:extLst>
          </p:cNvPr>
          <p:cNvSpPr>
            <a:spLocks noEditPoints="1"/>
          </p:cNvSpPr>
          <p:nvPr userDrawn="1"/>
        </p:nvSpPr>
        <p:spPr bwMode="auto">
          <a:xfrm>
            <a:off x="24195100" y="10489485"/>
            <a:ext cx="187314" cy="158750"/>
          </a:xfrm>
          <a:custGeom>
            <a:avLst/>
            <a:gdLst>
              <a:gd name="T0" fmla="*/ 28 w 59"/>
              <a:gd name="T1" fmla="*/ 19 h 50"/>
              <a:gd name="T2" fmla="*/ 31 w 59"/>
              <a:gd name="T3" fmla="*/ 12 h 50"/>
              <a:gd name="T4" fmla="*/ 34 w 59"/>
              <a:gd name="T5" fmla="*/ 12 h 50"/>
              <a:gd name="T6" fmla="*/ 40 w 59"/>
              <a:gd name="T7" fmla="*/ 9 h 50"/>
              <a:gd name="T8" fmla="*/ 43 w 59"/>
              <a:gd name="T9" fmla="*/ 9 h 50"/>
              <a:gd name="T10" fmla="*/ 50 w 59"/>
              <a:gd name="T11" fmla="*/ 6 h 50"/>
              <a:gd name="T12" fmla="*/ 53 w 59"/>
              <a:gd name="T13" fmla="*/ 6 h 50"/>
              <a:gd name="T14" fmla="*/ 59 w 59"/>
              <a:gd name="T15" fmla="*/ 0 h 50"/>
              <a:gd name="T16" fmla="*/ 59 w 59"/>
              <a:gd name="T17" fmla="*/ 3 h 50"/>
              <a:gd name="T18" fmla="*/ 56 w 59"/>
              <a:gd name="T19" fmla="*/ 6 h 50"/>
              <a:gd name="T20" fmla="*/ 56 w 59"/>
              <a:gd name="T21" fmla="*/ 9 h 50"/>
              <a:gd name="T22" fmla="*/ 50 w 59"/>
              <a:gd name="T23" fmla="*/ 15 h 50"/>
              <a:gd name="T24" fmla="*/ 53 w 59"/>
              <a:gd name="T25" fmla="*/ 15 h 50"/>
              <a:gd name="T26" fmla="*/ 56 w 59"/>
              <a:gd name="T27" fmla="*/ 12 h 50"/>
              <a:gd name="T28" fmla="*/ 59 w 59"/>
              <a:gd name="T29" fmla="*/ 15 h 50"/>
              <a:gd name="T30" fmla="*/ 56 w 59"/>
              <a:gd name="T31" fmla="*/ 19 h 50"/>
              <a:gd name="T32" fmla="*/ 46 w 59"/>
              <a:gd name="T33" fmla="*/ 19 h 50"/>
              <a:gd name="T34" fmla="*/ 43 w 59"/>
              <a:gd name="T35" fmla="*/ 15 h 50"/>
              <a:gd name="T36" fmla="*/ 40 w 59"/>
              <a:gd name="T37" fmla="*/ 15 h 50"/>
              <a:gd name="T38" fmla="*/ 40 w 59"/>
              <a:gd name="T39" fmla="*/ 19 h 50"/>
              <a:gd name="T40" fmla="*/ 34 w 59"/>
              <a:gd name="T41" fmla="*/ 19 h 50"/>
              <a:gd name="T42" fmla="*/ 31 w 59"/>
              <a:gd name="T43" fmla="*/ 22 h 50"/>
              <a:gd name="T44" fmla="*/ 28 w 59"/>
              <a:gd name="T45" fmla="*/ 19 h 50"/>
              <a:gd name="T46" fmla="*/ 28 w 59"/>
              <a:gd name="T47" fmla="*/ 19 h 50"/>
              <a:gd name="T48" fmla="*/ 6 w 59"/>
              <a:gd name="T49" fmla="*/ 34 h 50"/>
              <a:gd name="T50" fmla="*/ 12 w 59"/>
              <a:gd name="T51" fmla="*/ 31 h 50"/>
              <a:gd name="T52" fmla="*/ 21 w 59"/>
              <a:gd name="T53" fmla="*/ 28 h 50"/>
              <a:gd name="T54" fmla="*/ 28 w 59"/>
              <a:gd name="T55" fmla="*/ 34 h 50"/>
              <a:gd name="T56" fmla="*/ 31 w 59"/>
              <a:gd name="T57" fmla="*/ 47 h 50"/>
              <a:gd name="T58" fmla="*/ 25 w 59"/>
              <a:gd name="T59" fmla="*/ 50 h 50"/>
              <a:gd name="T60" fmla="*/ 18 w 59"/>
              <a:gd name="T61" fmla="*/ 47 h 50"/>
              <a:gd name="T62" fmla="*/ 15 w 59"/>
              <a:gd name="T63" fmla="*/ 50 h 50"/>
              <a:gd name="T64" fmla="*/ 6 w 59"/>
              <a:gd name="T65" fmla="*/ 50 h 50"/>
              <a:gd name="T66" fmla="*/ 0 w 59"/>
              <a:gd name="T67" fmla="*/ 47 h 50"/>
              <a:gd name="T68" fmla="*/ 0 w 59"/>
              <a:gd name="T69" fmla="*/ 40 h 50"/>
              <a:gd name="T70" fmla="*/ 6 w 59"/>
              <a:gd name="T71" fmla="*/ 40 h 50"/>
              <a:gd name="T72" fmla="*/ 6 w 59"/>
              <a:gd name="T73" fmla="*/ 3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 h="50">
                <a:moveTo>
                  <a:pt x="28" y="19"/>
                </a:moveTo>
                <a:lnTo>
                  <a:pt x="31" y="12"/>
                </a:lnTo>
                <a:lnTo>
                  <a:pt x="34" y="12"/>
                </a:lnTo>
                <a:lnTo>
                  <a:pt x="40" y="9"/>
                </a:lnTo>
                <a:lnTo>
                  <a:pt x="43" y="9"/>
                </a:lnTo>
                <a:lnTo>
                  <a:pt x="50" y="6"/>
                </a:lnTo>
                <a:lnTo>
                  <a:pt x="53" y="6"/>
                </a:lnTo>
                <a:lnTo>
                  <a:pt x="59" y="0"/>
                </a:lnTo>
                <a:lnTo>
                  <a:pt x="59" y="3"/>
                </a:lnTo>
                <a:lnTo>
                  <a:pt x="56" y="6"/>
                </a:lnTo>
                <a:lnTo>
                  <a:pt x="56" y="9"/>
                </a:lnTo>
                <a:lnTo>
                  <a:pt x="50" y="15"/>
                </a:lnTo>
                <a:lnTo>
                  <a:pt x="53" y="15"/>
                </a:lnTo>
                <a:lnTo>
                  <a:pt x="56" y="12"/>
                </a:lnTo>
                <a:lnTo>
                  <a:pt x="59" y="15"/>
                </a:lnTo>
                <a:lnTo>
                  <a:pt x="56" y="19"/>
                </a:lnTo>
                <a:lnTo>
                  <a:pt x="46" y="19"/>
                </a:lnTo>
                <a:lnTo>
                  <a:pt x="43" y="15"/>
                </a:lnTo>
                <a:lnTo>
                  <a:pt x="40" y="15"/>
                </a:lnTo>
                <a:lnTo>
                  <a:pt x="40" y="19"/>
                </a:lnTo>
                <a:lnTo>
                  <a:pt x="34" y="19"/>
                </a:lnTo>
                <a:lnTo>
                  <a:pt x="31" y="22"/>
                </a:lnTo>
                <a:lnTo>
                  <a:pt x="28" y="19"/>
                </a:lnTo>
                <a:lnTo>
                  <a:pt x="28" y="19"/>
                </a:lnTo>
                <a:close/>
                <a:moveTo>
                  <a:pt x="6" y="34"/>
                </a:moveTo>
                <a:lnTo>
                  <a:pt x="12" y="31"/>
                </a:lnTo>
                <a:lnTo>
                  <a:pt x="21" y="28"/>
                </a:lnTo>
                <a:lnTo>
                  <a:pt x="28" y="34"/>
                </a:lnTo>
                <a:lnTo>
                  <a:pt x="31" y="47"/>
                </a:lnTo>
                <a:lnTo>
                  <a:pt x="25" y="50"/>
                </a:lnTo>
                <a:lnTo>
                  <a:pt x="18" y="47"/>
                </a:lnTo>
                <a:lnTo>
                  <a:pt x="15" y="50"/>
                </a:lnTo>
                <a:lnTo>
                  <a:pt x="6" y="50"/>
                </a:lnTo>
                <a:lnTo>
                  <a:pt x="0" y="47"/>
                </a:lnTo>
                <a:lnTo>
                  <a:pt x="0" y="40"/>
                </a:lnTo>
                <a:lnTo>
                  <a:pt x="6" y="40"/>
                </a:lnTo>
                <a:lnTo>
                  <a:pt x="6" y="3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3" name="Freeform 21">
            <a:extLst>
              <a:ext uri="{FF2B5EF4-FFF2-40B4-BE49-F238E27FC236}">
                <a16:creationId xmlns:a16="http://schemas.microsoft.com/office/drawing/2014/main" id="{A050925C-1F77-34D5-5383-F9B71DE8EE28}"/>
              </a:ext>
            </a:extLst>
          </p:cNvPr>
          <p:cNvSpPr>
            <a:spLocks noEditPoints="1"/>
          </p:cNvSpPr>
          <p:nvPr userDrawn="1"/>
        </p:nvSpPr>
        <p:spPr bwMode="auto">
          <a:xfrm>
            <a:off x="23547438" y="10368835"/>
            <a:ext cx="139693" cy="377826"/>
          </a:xfrm>
          <a:custGeom>
            <a:avLst/>
            <a:gdLst>
              <a:gd name="T0" fmla="*/ 14 w 14"/>
              <a:gd name="T1" fmla="*/ 37 h 38"/>
              <a:gd name="T2" fmla="*/ 14 w 14"/>
              <a:gd name="T3" fmla="*/ 37 h 38"/>
              <a:gd name="T4" fmla="*/ 13 w 14"/>
              <a:gd name="T5" fmla="*/ 30 h 38"/>
              <a:gd name="T6" fmla="*/ 14 w 14"/>
              <a:gd name="T7" fmla="*/ 33 h 38"/>
              <a:gd name="T8" fmla="*/ 13 w 14"/>
              <a:gd name="T9" fmla="*/ 30 h 38"/>
              <a:gd name="T10" fmla="*/ 9 w 14"/>
              <a:gd name="T11" fmla="*/ 22 h 38"/>
              <a:gd name="T12" fmla="*/ 11 w 14"/>
              <a:gd name="T13" fmla="*/ 22 h 38"/>
              <a:gd name="T14" fmla="*/ 10 w 14"/>
              <a:gd name="T15" fmla="*/ 24 h 38"/>
              <a:gd name="T16" fmla="*/ 9 w 14"/>
              <a:gd name="T17" fmla="*/ 22 h 38"/>
              <a:gd name="T18" fmla="*/ 11 w 14"/>
              <a:gd name="T19" fmla="*/ 4 h 38"/>
              <a:gd name="T20" fmla="*/ 11 w 14"/>
              <a:gd name="T21" fmla="*/ 4 h 38"/>
              <a:gd name="T22" fmla="*/ 7 w 14"/>
              <a:gd name="T23" fmla="*/ 6 h 38"/>
              <a:gd name="T24" fmla="*/ 9 w 14"/>
              <a:gd name="T25" fmla="*/ 5 h 38"/>
              <a:gd name="T26" fmla="*/ 8 w 14"/>
              <a:gd name="T27" fmla="*/ 5 h 38"/>
              <a:gd name="T28" fmla="*/ 10 w 14"/>
              <a:gd name="T29" fmla="*/ 7 h 38"/>
              <a:gd name="T30" fmla="*/ 11 w 14"/>
              <a:gd name="T31" fmla="*/ 9 h 38"/>
              <a:gd name="T32" fmla="*/ 10 w 14"/>
              <a:gd name="T33" fmla="*/ 10 h 38"/>
              <a:gd name="T34" fmla="*/ 10 w 14"/>
              <a:gd name="T35" fmla="*/ 7 h 38"/>
              <a:gd name="T36" fmla="*/ 10 w 14"/>
              <a:gd name="T37" fmla="*/ 15 h 38"/>
              <a:gd name="T38" fmla="*/ 11 w 14"/>
              <a:gd name="T39" fmla="*/ 17 h 38"/>
              <a:gd name="T40" fmla="*/ 9 w 14"/>
              <a:gd name="T41" fmla="*/ 16 h 38"/>
              <a:gd name="T42" fmla="*/ 10 w 14"/>
              <a:gd name="T43" fmla="*/ 12 h 38"/>
              <a:gd name="T44" fmla="*/ 11 w 14"/>
              <a:gd name="T45" fmla="*/ 13 h 38"/>
              <a:gd name="T46" fmla="*/ 10 w 14"/>
              <a:gd name="T47" fmla="*/ 14 h 38"/>
              <a:gd name="T48" fmla="*/ 9 w 14"/>
              <a:gd name="T49" fmla="*/ 14 h 38"/>
              <a:gd name="T50" fmla="*/ 8 w 14"/>
              <a:gd name="T51" fmla="*/ 13 h 38"/>
              <a:gd name="T52" fmla="*/ 5 w 14"/>
              <a:gd name="T53" fmla="*/ 10 h 38"/>
              <a:gd name="T54" fmla="*/ 6 w 14"/>
              <a:gd name="T55" fmla="*/ 12 h 38"/>
              <a:gd name="T56" fmla="*/ 7 w 14"/>
              <a:gd name="T57" fmla="*/ 14 h 38"/>
              <a:gd name="T58" fmla="*/ 5 w 14"/>
              <a:gd name="T59" fmla="*/ 15 h 38"/>
              <a:gd name="T60" fmla="*/ 5 w 14"/>
              <a:gd name="T61" fmla="*/ 13 h 38"/>
              <a:gd name="T62" fmla="*/ 4 w 14"/>
              <a:gd name="T63" fmla="*/ 11 h 38"/>
              <a:gd name="T64" fmla="*/ 3 w 14"/>
              <a:gd name="T65" fmla="*/ 10 h 38"/>
              <a:gd name="T66" fmla="*/ 1 w 14"/>
              <a:gd name="T67" fmla="*/ 0 h 38"/>
              <a:gd name="T68" fmla="*/ 0 w 14"/>
              <a:gd name="T69" fmla="*/ 5 h 38"/>
              <a:gd name="T70" fmla="*/ 1 w 14"/>
              <a:gd name="T71" fmla="*/ 8 h 38"/>
              <a:gd name="T72" fmla="*/ 3 w 14"/>
              <a:gd name="T73" fmla="*/ 7 h 38"/>
              <a:gd name="T74" fmla="*/ 4 w 14"/>
              <a:gd name="T75" fmla="*/ 7 h 38"/>
              <a:gd name="T76" fmla="*/ 4 w 14"/>
              <a:gd name="T77" fmla="*/ 4 h 38"/>
              <a:gd name="T78" fmla="*/ 3 w 14"/>
              <a:gd name="T79" fmla="*/ 2 h 38"/>
              <a:gd name="T80" fmla="*/ 3 w 14"/>
              <a:gd name="T81" fmla="*/ 4 h 38"/>
              <a:gd name="T82" fmla="*/ 2 w 14"/>
              <a:gd name="T83" fmla="*/ 4 h 38"/>
              <a:gd name="T84" fmla="*/ 1 w 14"/>
              <a:gd name="T8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 h="38">
                <a:moveTo>
                  <a:pt x="14" y="36"/>
                </a:moveTo>
                <a:cubicBezTo>
                  <a:pt x="14" y="37"/>
                  <a:pt x="14" y="37"/>
                  <a:pt x="14" y="37"/>
                </a:cubicBezTo>
                <a:cubicBezTo>
                  <a:pt x="14" y="38"/>
                  <a:pt x="14" y="38"/>
                  <a:pt x="14" y="38"/>
                </a:cubicBezTo>
                <a:cubicBezTo>
                  <a:pt x="14" y="37"/>
                  <a:pt x="14" y="37"/>
                  <a:pt x="14" y="37"/>
                </a:cubicBezTo>
                <a:cubicBezTo>
                  <a:pt x="14" y="36"/>
                  <a:pt x="14" y="36"/>
                  <a:pt x="14" y="36"/>
                </a:cubicBezTo>
                <a:close/>
                <a:moveTo>
                  <a:pt x="13" y="30"/>
                </a:moveTo>
                <a:cubicBezTo>
                  <a:pt x="14" y="31"/>
                  <a:pt x="14" y="31"/>
                  <a:pt x="14" y="31"/>
                </a:cubicBezTo>
                <a:cubicBezTo>
                  <a:pt x="14" y="33"/>
                  <a:pt x="14" y="33"/>
                  <a:pt x="14" y="33"/>
                </a:cubicBezTo>
                <a:cubicBezTo>
                  <a:pt x="13" y="32"/>
                  <a:pt x="13" y="32"/>
                  <a:pt x="13" y="32"/>
                </a:cubicBezTo>
                <a:cubicBezTo>
                  <a:pt x="13" y="30"/>
                  <a:pt x="13" y="30"/>
                  <a:pt x="13" y="30"/>
                </a:cubicBezTo>
                <a:cubicBezTo>
                  <a:pt x="13" y="30"/>
                  <a:pt x="13" y="30"/>
                  <a:pt x="13" y="30"/>
                </a:cubicBezTo>
                <a:close/>
                <a:moveTo>
                  <a:pt x="9" y="22"/>
                </a:moveTo>
                <a:cubicBezTo>
                  <a:pt x="10" y="21"/>
                  <a:pt x="10" y="21"/>
                  <a:pt x="10" y="21"/>
                </a:cubicBezTo>
                <a:cubicBezTo>
                  <a:pt x="11" y="22"/>
                  <a:pt x="11" y="22"/>
                  <a:pt x="11" y="22"/>
                </a:cubicBezTo>
                <a:cubicBezTo>
                  <a:pt x="11" y="24"/>
                  <a:pt x="11" y="24"/>
                  <a:pt x="11" y="24"/>
                </a:cubicBezTo>
                <a:cubicBezTo>
                  <a:pt x="10" y="24"/>
                  <a:pt x="10" y="24"/>
                  <a:pt x="10" y="24"/>
                </a:cubicBezTo>
                <a:cubicBezTo>
                  <a:pt x="9" y="23"/>
                  <a:pt x="9" y="23"/>
                  <a:pt x="9" y="23"/>
                </a:cubicBezTo>
                <a:cubicBezTo>
                  <a:pt x="9" y="22"/>
                  <a:pt x="9" y="22"/>
                  <a:pt x="9" y="22"/>
                </a:cubicBezTo>
                <a:close/>
                <a:moveTo>
                  <a:pt x="10" y="2"/>
                </a:moveTo>
                <a:cubicBezTo>
                  <a:pt x="11" y="4"/>
                  <a:pt x="11" y="4"/>
                  <a:pt x="11" y="4"/>
                </a:cubicBezTo>
                <a:cubicBezTo>
                  <a:pt x="10" y="5"/>
                  <a:pt x="10" y="5"/>
                  <a:pt x="10" y="5"/>
                </a:cubicBezTo>
                <a:cubicBezTo>
                  <a:pt x="11" y="4"/>
                  <a:pt x="11" y="4"/>
                  <a:pt x="11" y="4"/>
                </a:cubicBezTo>
                <a:cubicBezTo>
                  <a:pt x="10" y="2"/>
                  <a:pt x="10" y="2"/>
                  <a:pt x="10" y="2"/>
                </a:cubicBezTo>
                <a:close/>
                <a:moveTo>
                  <a:pt x="7" y="6"/>
                </a:moveTo>
                <a:cubicBezTo>
                  <a:pt x="8" y="6"/>
                  <a:pt x="8" y="6"/>
                  <a:pt x="8" y="6"/>
                </a:cubicBezTo>
                <a:cubicBezTo>
                  <a:pt x="9" y="5"/>
                  <a:pt x="9" y="5"/>
                  <a:pt x="9" y="5"/>
                </a:cubicBezTo>
                <a:cubicBezTo>
                  <a:pt x="9" y="5"/>
                  <a:pt x="9" y="5"/>
                  <a:pt x="9" y="5"/>
                </a:cubicBezTo>
                <a:cubicBezTo>
                  <a:pt x="8" y="5"/>
                  <a:pt x="8" y="5"/>
                  <a:pt x="8" y="5"/>
                </a:cubicBezTo>
                <a:cubicBezTo>
                  <a:pt x="8" y="5"/>
                  <a:pt x="7" y="6"/>
                  <a:pt x="7" y="6"/>
                </a:cubicBezTo>
                <a:close/>
                <a:moveTo>
                  <a:pt x="10" y="7"/>
                </a:moveTo>
                <a:cubicBezTo>
                  <a:pt x="11" y="8"/>
                  <a:pt x="11" y="8"/>
                  <a:pt x="11" y="8"/>
                </a:cubicBezTo>
                <a:cubicBezTo>
                  <a:pt x="11" y="9"/>
                  <a:pt x="11" y="9"/>
                  <a:pt x="11" y="9"/>
                </a:cubicBezTo>
                <a:cubicBezTo>
                  <a:pt x="11" y="10"/>
                  <a:pt x="11" y="10"/>
                  <a:pt x="11" y="10"/>
                </a:cubicBezTo>
                <a:cubicBezTo>
                  <a:pt x="10" y="10"/>
                  <a:pt x="10" y="10"/>
                  <a:pt x="10" y="10"/>
                </a:cubicBezTo>
                <a:cubicBezTo>
                  <a:pt x="10" y="9"/>
                  <a:pt x="10" y="9"/>
                  <a:pt x="10" y="9"/>
                </a:cubicBezTo>
                <a:cubicBezTo>
                  <a:pt x="10" y="9"/>
                  <a:pt x="10" y="7"/>
                  <a:pt x="10" y="7"/>
                </a:cubicBezTo>
                <a:close/>
                <a:moveTo>
                  <a:pt x="9" y="16"/>
                </a:moveTo>
                <a:cubicBezTo>
                  <a:pt x="10" y="15"/>
                  <a:pt x="10" y="15"/>
                  <a:pt x="10" y="15"/>
                </a:cubicBezTo>
                <a:cubicBezTo>
                  <a:pt x="11" y="16"/>
                  <a:pt x="11" y="16"/>
                  <a:pt x="11" y="16"/>
                </a:cubicBezTo>
                <a:cubicBezTo>
                  <a:pt x="11" y="17"/>
                  <a:pt x="11" y="17"/>
                  <a:pt x="11" y="17"/>
                </a:cubicBezTo>
                <a:cubicBezTo>
                  <a:pt x="9" y="17"/>
                  <a:pt x="9" y="17"/>
                  <a:pt x="9" y="17"/>
                </a:cubicBezTo>
                <a:cubicBezTo>
                  <a:pt x="9" y="16"/>
                  <a:pt x="9" y="16"/>
                  <a:pt x="9" y="16"/>
                </a:cubicBezTo>
                <a:close/>
                <a:moveTo>
                  <a:pt x="8" y="13"/>
                </a:moveTo>
                <a:cubicBezTo>
                  <a:pt x="10" y="12"/>
                  <a:pt x="10" y="12"/>
                  <a:pt x="10" y="12"/>
                </a:cubicBezTo>
                <a:cubicBezTo>
                  <a:pt x="10" y="13"/>
                  <a:pt x="10" y="13"/>
                  <a:pt x="10" y="13"/>
                </a:cubicBezTo>
                <a:cubicBezTo>
                  <a:pt x="11" y="13"/>
                  <a:pt x="11" y="13"/>
                  <a:pt x="11" y="13"/>
                </a:cubicBezTo>
                <a:cubicBezTo>
                  <a:pt x="10" y="14"/>
                  <a:pt x="10" y="14"/>
                  <a:pt x="10" y="14"/>
                </a:cubicBezTo>
                <a:cubicBezTo>
                  <a:pt x="10" y="14"/>
                  <a:pt x="10" y="14"/>
                  <a:pt x="10" y="14"/>
                </a:cubicBezTo>
                <a:cubicBezTo>
                  <a:pt x="9" y="14"/>
                  <a:pt x="9" y="14"/>
                  <a:pt x="9" y="14"/>
                </a:cubicBezTo>
                <a:cubicBezTo>
                  <a:pt x="9" y="14"/>
                  <a:pt x="9" y="14"/>
                  <a:pt x="9" y="14"/>
                </a:cubicBezTo>
                <a:cubicBezTo>
                  <a:pt x="8" y="14"/>
                  <a:pt x="8" y="14"/>
                  <a:pt x="8" y="14"/>
                </a:cubicBezTo>
                <a:cubicBezTo>
                  <a:pt x="8" y="13"/>
                  <a:pt x="8" y="13"/>
                  <a:pt x="8" y="13"/>
                </a:cubicBezTo>
                <a:close/>
                <a:moveTo>
                  <a:pt x="4" y="10"/>
                </a:moveTo>
                <a:cubicBezTo>
                  <a:pt x="5" y="10"/>
                  <a:pt x="5" y="10"/>
                  <a:pt x="5" y="10"/>
                </a:cubicBezTo>
                <a:cubicBezTo>
                  <a:pt x="6" y="11"/>
                  <a:pt x="6" y="11"/>
                  <a:pt x="6" y="11"/>
                </a:cubicBezTo>
                <a:cubicBezTo>
                  <a:pt x="6" y="12"/>
                  <a:pt x="6" y="12"/>
                  <a:pt x="6" y="12"/>
                </a:cubicBezTo>
                <a:cubicBezTo>
                  <a:pt x="7" y="13"/>
                  <a:pt x="7" y="13"/>
                  <a:pt x="7" y="13"/>
                </a:cubicBezTo>
                <a:cubicBezTo>
                  <a:pt x="7" y="14"/>
                  <a:pt x="7" y="14"/>
                  <a:pt x="7" y="14"/>
                </a:cubicBezTo>
                <a:cubicBezTo>
                  <a:pt x="6" y="15"/>
                  <a:pt x="6" y="15"/>
                  <a:pt x="6" y="15"/>
                </a:cubicBezTo>
                <a:cubicBezTo>
                  <a:pt x="5" y="15"/>
                  <a:pt x="5" y="15"/>
                  <a:pt x="5" y="15"/>
                </a:cubicBezTo>
                <a:cubicBezTo>
                  <a:pt x="4" y="14"/>
                  <a:pt x="4" y="14"/>
                  <a:pt x="4" y="14"/>
                </a:cubicBezTo>
                <a:cubicBezTo>
                  <a:pt x="5" y="13"/>
                  <a:pt x="5" y="13"/>
                  <a:pt x="5" y="13"/>
                </a:cubicBezTo>
                <a:cubicBezTo>
                  <a:pt x="5" y="12"/>
                  <a:pt x="5" y="12"/>
                  <a:pt x="5" y="12"/>
                </a:cubicBezTo>
                <a:cubicBezTo>
                  <a:pt x="4" y="11"/>
                  <a:pt x="4" y="11"/>
                  <a:pt x="4" y="11"/>
                </a:cubicBezTo>
                <a:cubicBezTo>
                  <a:pt x="4" y="11"/>
                  <a:pt x="4" y="11"/>
                  <a:pt x="4" y="11"/>
                </a:cubicBezTo>
                <a:cubicBezTo>
                  <a:pt x="3" y="10"/>
                  <a:pt x="3" y="10"/>
                  <a:pt x="3" y="10"/>
                </a:cubicBezTo>
                <a:cubicBezTo>
                  <a:pt x="4" y="10"/>
                  <a:pt x="4" y="10"/>
                  <a:pt x="4" y="10"/>
                </a:cubicBezTo>
                <a:close/>
                <a:moveTo>
                  <a:pt x="1" y="0"/>
                </a:moveTo>
                <a:cubicBezTo>
                  <a:pt x="0" y="3"/>
                  <a:pt x="0" y="3"/>
                  <a:pt x="0" y="3"/>
                </a:cubicBezTo>
                <a:cubicBezTo>
                  <a:pt x="0" y="5"/>
                  <a:pt x="0" y="5"/>
                  <a:pt x="0" y="5"/>
                </a:cubicBezTo>
                <a:cubicBezTo>
                  <a:pt x="0" y="6"/>
                  <a:pt x="0" y="6"/>
                  <a:pt x="0" y="6"/>
                </a:cubicBezTo>
                <a:cubicBezTo>
                  <a:pt x="1" y="8"/>
                  <a:pt x="1" y="8"/>
                  <a:pt x="1" y="8"/>
                </a:cubicBezTo>
                <a:cubicBezTo>
                  <a:pt x="2" y="8"/>
                  <a:pt x="2" y="8"/>
                  <a:pt x="2" y="8"/>
                </a:cubicBezTo>
                <a:cubicBezTo>
                  <a:pt x="3" y="7"/>
                  <a:pt x="3" y="7"/>
                  <a:pt x="3" y="7"/>
                </a:cubicBezTo>
                <a:cubicBezTo>
                  <a:pt x="3" y="7"/>
                  <a:pt x="3" y="7"/>
                  <a:pt x="3" y="7"/>
                </a:cubicBezTo>
                <a:cubicBezTo>
                  <a:pt x="4" y="7"/>
                  <a:pt x="4" y="7"/>
                  <a:pt x="4" y="7"/>
                </a:cubicBezTo>
                <a:cubicBezTo>
                  <a:pt x="4" y="5"/>
                  <a:pt x="4" y="5"/>
                  <a:pt x="4" y="5"/>
                </a:cubicBezTo>
                <a:cubicBezTo>
                  <a:pt x="4" y="4"/>
                  <a:pt x="4" y="4"/>
                  <a:pt x="4" y="4"/>
                </a:cubicBezTo>
                <a:cubicBezTo>
                  <a:pt x="4" y="3"/>
                  <a:pt x="4" y="3"/>
                  <a:pt x="4" y="3"/>
                </a:cubicBezTo>
                <a:cubicBezTo>
                  <a:pt x="3" y="2"/>
                  <a:pt x="3" y="2"/>
                  <a:pt x="3" y="2"/>
                </a:cubicBezTo>
                <a:cubicBezTo>
                  <a:pt x="3" y="3"/>
                  <a:pt x="3" y="3"/>
                  <a:pt x="3" y="3"/>
                </a:cubicBezTo>
                <a:cubicBezTo>
                  <a:pt x="3" y="4"/>
                  <a:pt x="3" y="4"/>
                  <a:pt x="3" y="4"/>
                </a:cubicBezTo>
                <a:cubicBezTo>
                  <a:pt x="2" y="4"/>
                  <a:pt x="2" y="4"/>
                  <a:pt x="2" y="4"/>
                </a:cubicBezTo>
                <a:cubicBezTo>
                  <a:pt x="2" y="4"/>
                  <a:pt x="2" y="4"/>
                  <a:pt x="2" y="4"/>
                </a:cubicBezTo>
                <a:cubicBezTo>
                  <a:pt x="1" y="1"/>
                  <a:pt x="1" y="1"/>
                  <a:pt x="1" y="1"/>
                </a:cubicBezTo>
                <a:cubicBezTo>
                  <a:pt x="1" y="1"/>
                  <a:pt x="1" y="0"/>
                  <a:pt x="1" y="0"/>
                </a:cubicBez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4" name="Freeform 22">
            <a:extLst>
              <a:ext uri="{FF2B5EF4-FFF2-40B4-BE49-F238E27FC236}">
                <a16:creationId xmlns:a16="http://schemas.microsoft.com/office/drawing/2014/main" id="{9A3DB824-8FD4-9DC9-8887-63FC23D99567}"/>
              </a:ext>
            </a:extLst>
          </p:cNvPr>
          <p:cNvSpPr>
            <a:spLocks noEditPoints="1"/>
          </p:cNvSpPr>
          <p:nvPr userDrawn="1"/>
        </p:nvSpPr>
        <p:spPr bwMode="auto">
          <a:xfrm>
            <a:off x="22944229" y="9794159"/>
            <a:ext cx="603211" cy="368302"/>
          </a:xfrm>
          <a:custGeom>
            <a:avLst/>
            <a:gdLst>
              <a:gd name="T0" fmla="*/ 60 w 61"/>
              <a:gd name="T1" fmla="*/ 30 h 37"/>
              <a:gd name="T2" fmla="*/ 58 w 61"/>
              <a:gd name="T3" fmla="*/ 32 h 37"/>
              <a:gd name="T4" fmla="*/ 24 w 61"/>
              <a:gd name="T5" fmla="*/ 36 h 37"/>
              <a:gd name="T6" fmla="*/ 25 w 61"/>
              <a:gd name="T7" fmla="*/ 37 h 37"/>
              <a:gd name="T8" fmla="*/ 23 w 61"/>
              <a:gd name="T9" fmla="*/ 36 h 37"/>
              <a:gd name="T10" fmla="*/ 33 w 61"/>
              <a:gd name="T11" fmla="*/ 27 h 37"/>
              <a:gd name="T12" fmla="*/ 37 w 61"/>
              <a:gd name="T13" fmla="*/ 30 h 37"/>
              <a:gd name="T14" fmla="*/ 36 w 61"/>
              <a:gd name="T15" fmla="*/ 32 h 37"/>
              <a:gd name="T16" fmla="*/ 32 w 61"/>
              <a:gd name="T17" fmla="*/ 28 h 37"/>
              <a:gd name="T18" fmla="*/ 23 w 61"/>
              <a:gd name="T19" fmla="*/ 21 h 37"/>
              <a:gd name="T20" fmla="*/ 28 w 61"/>
              <a:gd name="T21" fmla="*/ 23 h 37"/>
              <a:gd name="T22" fmla="*/ 28 w 61"/>
              <a:gd name="T23" fmla="*/ 25 h 37"/>
              <a:gd name="T24" fmla="*/ 24 w 61"/>
              <a:gd name="T25" fmla="*/ 24 h 37"/>
              <a:gd name="T26" fmla="*/ 22 w 61"/>
              <a:gd name="T27" fmla="*/ 20 h 37"/>
              <a:gd name="T28" fmla="*/ 25 w 61"/>
              <a:gd name="T29" fmla="*/ 18 h 37"/>
              <a:gd name="T30" fmla="*/ 26 w 61"/>
              <a:gd name="T31" fmla="*/ 19 h 37"/>
              <a:gd name="T32" fmla="*/ 28 w 61"/>
              <a:gd name="T33" fmla="*/ 15 h 37"/>
              <a:gd name="T34" fmla="*/ 29 w 61"/>
              <a:gd name="T35" fmla="*/ 19 h 37"/>
              <a:gd name="T36" fmla="*/ 33 w 61"/>
              <a:gd name="T37" fmla="*/ 23 h 37"/>
              <a:gd name="T38" fmla="*/ 33 w 61"/>
              <a:gd name="T39" fmla="*/ 20 h 37"/>
              <a:gd name="T40" fmla="*/ 30 w 61"/>
              <a:gd name="T41" fmla="*/ 17 h 37"/>
              <a:gd name="T42" fmla="*/ 27 w 61"/>
              <a:gd name="T43" fmla="*/ 14 h 37"/>
              <a:gd name="T44" fmla="*/ 18 w 61"/>
              <a:gd name="T45" fmla="*/ 10 h 37"/>
              <a:gd name="T46" fmla="*/ 22 w 61"/>
              <a:gd name="T47" fmla="*/ 14 h 37"/>
              <a:gd name="T48" fmla="*/ 21 w 61"/>
              <a:gd name="T49" fmla="*/ 15 h 37"/>
              <a:gd name="T50" fmla="*/ 19 w 61"/>
              <a:gd name="T51" fmla="*/ 13 h 37"/>
              <a:gd name="T52" fmla="*/ 11 w 61"/>
              <a:gd name="T53" fmla="*/ 16 h 37"/>
              <a:gd name="T54" fmla="*/ 11 w 61"/>
              <a:gd name="T55" fmla="*/ 17 h 37"/>
              <a:gd name="T56" fmla="*/ 7 w 61"/>
              <a:gd name="T57" fmla="*/ 15 h 37"/>
              <a:gd name="T58" fmla="*/ 8 w 61"/>
              <a:gd name="T59" fmla="*/ 16 h 37"/>
              <a:gd name="T60" fmla="*/ 8 w 61"/>
              <a:gd name="T61" fmla="*/ 14 h 37"/>
              <a:gd name="T62" fmla="*/ 10 w 61"/>
              <a:gd name="T63" fmla="*/ 15 h 37"/>
              <a:gd name="T64" fmla="*/ 10 w 61"/>
              <a:gd name="T65" fmla="*/ 13 h 37"/>
              <a:gd name="T66" fmla="*/ 8 w 61"/>
              <a:gd name="T67" fmla="*/ 11 h 37"/>
              <a:gd name="T68" fmla="*/ 5 w 61"/>
              <a:gd name="T69" fmla="*/ 11 h 37"/>
              <a:gd name="T70" fmla="*/ 7 w 61"/>
              <a:gd name="T71" fmla="*/ 12 h 37"/>
              <a:gd name="T72" fmla="*/ 5 w 61"/>
              <a:gd name="T73" fmla="*/ 11 h 37"/>
              <a:gd name="T74" fmla="*/ 4 w 61"/>
              <a:gd name="T75" fmla="*/ 11 h 37"/>
              <a:gd name="T76" fmla="*/ 3 w 61"/>
              <a:gd name="T77" fmla="*/ 10 h 37"/>
              <a:gd name="T78" fmla="*/ 1 w 61"/>
              <a:gd name="T79" fmla="*/ 2 h 37"/>
              <a:gd name="T80" fmla="*/ 3 w 61"/>
              <a:gd name="T81" fmla="*/ 2 h 37"/>
              <a:gd name="T82" fmla="*/ 5 w 61"/>
              <a:gd name="T83" fmla="*/ 6 h 37"/>
              <a:gd name="T84" fmla="*/ 9 w 61"/>
              <a:gd name="T85" fmla="*/ 8 h 37"/>
              <a:gd name="T86" fmla="*/ 7 w 61"/>
              <a:gd name="T87" fmla="*/ 5 h 37"/>
              <a:gd name="T88" fmla="*/ 4 w 61"/>
              <a:gd name="T89" fmla="*/ 4 h 37"/>
              <a:gd name="T90" fmla="*/ 0 w 61"/>
              <a:gd name="T91" fmla="*/ 4 h 37"/>
              <a:gd name="T92" fmla="*/ 0 w 61"/>
              <a:gd name="T93" fmla="*/ 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 h="37">
                <a:moveTo>
                  <a:pt x="58" y="31"/>
                </a:moveTo>
                <a:cubicBezTo>
                  <a:pt x="59" y="30"/>
                  <a:pt x="59" y="30"/>
                  <a:pt x="59" y="30"/>
                </a:cubicBezTo>
                <a:cubicBezTo>
                  <a:pt x="60" y="30"/>
                  <a:pt x="60" y="30"/>
                  <a:pt x="60" y="30"/>
                </a:cubicBezTo>
                <a:cubicBezTo>
                  <a:pt x="61" y="31"/>
                  <a:pt x="61" y="31"/>
                  <a:pt x="61" y="31"/>
                </a:cubicBezTo>
                <a:cubicBezTo>
                  <a:pt x="60" y="32"/>
                  <a:pt x="60" y="32"/>
                  <a:pt x="60" y="32"/>
                </a:cubicBezTo>
                <a:cubicBezTo>
                  <a:pt x="58" y="32"/>
                  <a:pt x="58" y="32"/>
                  <a:pt x="58" y="32"/>
                </a:cubicBezTo>
                <a:cubicBezTo>
                  <a:pt x="58" y="31"/>
                  <a:pt x="58" y="31"/>
                  <a:pt x="58" y="31"/>
                </a:cubicBezTo>
                <a:close/>
                <a:moveTo>
                  <a:pt x="23" y="36"/>
                </a:moveTo>
                <a:cubicBezTo>
                  <a:pt x="24" y="36"/>
                  <a:pt x="24" y="36"/>
                  <a:pt x="24" y="36"/>
                </a:cubicBezTo>
                <a:cubicBezTo>
                  <a:pt x="25" y="36"/>
                  <a:pt x="25" y="36"/>
                  <a:pt x="25" y="36"/>
                </a:cubicBezTo>
                <a:cubicBezTo>
                  <a:pt x="26" y="37"/>
                  <a:pt x="26" y="37"/>
                  <a:pt x="26" y="37"/>
                </a:cubicBezTo>
                <a:cubicBezTo>
                  <a:pt x="25" y="37"/>
                  <a:pt x="25" y="37"/>
                  <a:pt x="25" y="37"/>
                </a:cubicBezTo>
                <a:cubicBezTo>
                  <a:pt x="24" y="37"/>
                  <a:pt x="24" y="37"/>
                  <a:pt x="24" y="37"/>
                </a:cubicBezTo>
                <a:cubicBezTo>
                  <a:pt x="23" y="37"/>
                  <a:pt x="23" y="37"/>
                  <a:pt x="23" y="37"/>
                </a:cubicBezTo>
                <a:cubicBezTo>
                  <a:pt x="23" y="36"/>
                  <a:pt x="23" y="36"/>
                  <a:pt x="23" y="36"/>
                </a:cubicBezTo>
                <a:cubicBezTo>
                  <a:pt x="23" y="36"/>
                  <a:pt x="23" y="36"/>
                  <a:pt x="23" y="36"/>
                </a:cubicBezTo>
                <a:close/>
                <a:moveTo>
                  <a:pt x="31" y="27"/>
                </a:moveTo>
                <a:cubicBezTo>
                  <a:pt x="33" y="27"/>
                  <a:pt x="33" y="27"/>
                  <a:pt x="33" y="27"/>
                </a:cubicBezTo>
                <a:cubicBezTo>
                  <a:pt x="34" y="29"/>
                  <a:pt x="34" y="29"/>
                  <a:pt x="34" y="29"/>
                </a:cubicBezTo>
                <a:cubicBezTo>
                  <a:pt x="36" y="29"/>
                  <a:pt x="36" y="29"/>
                  <a:pt x="36" y="29"/>
                </a:cubicBezTo>
                <a:cubicBezTo>
                  <a:pt x="37" y="30"/>
                  <a:pt x="37" y="30"/>
                  <a:pt x="37" y="30"/>
                </a:cubicBezTo>
                <a:cubicBezTo>
                  <a:pt x="37" y="31"/>
                  <a:pt x="37" y="31"/>
                  <a:pt x="37" y="31"/>
                </a:cubicBezTo>
                <a:cubicBezTo>
                  <a:pt x="37" y="32"/>
                  <a:pt x="37" y="32"/>
                  <a:pt x="37" y="32"/>
                </a:cubicBezTo>
                <a:cubicBezTo>
                  <a:pt x="36" y="32"/>
                  <a:pt x="36" y="32"/>
                  <a:pt x="36" y="32"/>
                </a:cubicBezTo>
                <a:cubicBezTo>
                  <a:pt x="34" y="31"/>
                  <a:pt x="34" y="31"/>
                  <a:pt x="34" y="31"/>
                </a:cubicBezTo>
                <a:cubicBezTo>
                  <a:pt x="32" y="29"/>
                  <a:pt x="32" y="29"/>
                  <a:pt x="32" y="29"/>
                </a:cubicBezTo>
                <a:cubicBezTo>
                  <a:pt x="32" y="28"/>
                  <a:pt x="32" y="28"/>
                  <a:pt x="32" y="28"/>
                </a:cubicBezTo>
                <a:cubicBezTo>
                  <a:pt x="31" y="27"/>
                  <a:pt x="31" y="27"/>
                  <a:pt x="31" y="27"/>
                </a:cubicBezTo>
                <a:close/>
                <a:moveTo>
                  <a:pt x="22" y="20"/>
                </a:moveTo>
                <a:cubicBezTo>
                  <a:pt x="23" y="21"/>
                  <a:pt x="23" y="21"/>
                  <a:pt x="23" y="21"/>
                </a:cubicBezTo>
                <a:cubicBezTo>
                  <a:pt x="25" y="21"/>
                  <a:pt x="25" y="21"/>
                  <a:pt x="25" y="21"/>
                </a:cubicBezTo>
                <a:cubicBezTo>
                  <a:pt x="27" y="22"/>
                  <a:pt x="27" y="22"/>
                  <a:pt x="27" y="22"/>
                </a:cubicBezTo>
                <a:cubicBezTo>
                  <a:pt x="28" y="23"/>
                  <a:pt x="28" y="23"/>
                  <a:pt x="28" y="23"/>
                </a:cubicBezTo>
                <a:cubicBezTo>
                  <a:pt x="28" y="23"/>
                  <a:pt x="28" y="23"/>
                  <a:pt x="28" y="23"/>
                </a:cubicBezTo>
                <a:cubicBezTo>
                  <a:pt x="29" y="24"/>
                  <a:pt x="29" y="24"/>
                  <a:pt x="29" y="24"/>
                </a:cubicBezTo>
                <a:cubicBezTo>
                  <a:pt x="28" y="25"/>
                  <a:pt x="28" y="25"/>
                  <a:pt x="28" y="25"/>
                </a:cubicBezTo>
                <a:cubicBezTo>
                  <a:pt x="27" y="25"/>
                  <a:pt x="27" y="25"/>
                  <a:pt x="27" y="25"/>
                </a:cubicBezTo>
                <a:cubicBezTo>
                  <a:pt x="26" y="24"/>
                  <a:pt x="26" y="24"/>
                  <a:pt x="26" y="24"/>
                </a:cubicBezTo>
                <a:cubicBezTo>
                  <a:pt x="24" y="24"/>
                  <a:pt x="24" y="24"/>
                  <a:pt x="24" y="24"/>
                </a:cubicBezTo>
                <a:cubicBezTo>
                  <a:pt x="23" y="24"/>
                  <a:pt x="23" y="24"/>
                  <a:pt x="23" y="24"/>
                </a:cubicBezTo>
                <a:cubicBezTo>
                  <a:pt x="21" y="22"/>
                  <a:pt x="21" y="22"/>
                  <a:pt x="21" y="22"/>
                </a:cubicBezTo>
                <a:cubicBezTo>
                  <a:pt x="22" y="20"/>
                  <a:pt x="22" y="20"/>
                  <a:pt x="22" y="20"/>
                </a:cubicBezTo>
                <a:cubicBezTo>
                  <a:pt x="22" y="20"/>
                  <a:pt x="22" y="20"/>
                  <a:pt x="22" y="20"/>
                </a:cubicBezTo>
                <a:close/>
                <a:moveTo>
                  <a:pt x="26" y="19"/>
                </a:moveTo>
                <a:cubicBezTo>
                  <a:pt x="25" y="18"/>
                  <a:pt x="25" y="18"/>
                  <a:pt x="25" y="18"/>
                </a:cubicBezTo>
                <a:cubicBezTo>
                  <a:pt x="25" y="19"/>
                  <a:pt x="25" y="19"/>
                  <a:pt x="25" y="19"/>
                </a:cubicBezTo>
                <a:cubicBezTo>
                  <a:pt x="27" y="20"/>
                  <a:pt x="27" y="20"/>
                  <a:pt x="27" y="20"/>
                </a:cubicBezTo>
                <a:cubicBezTo>
                  <a:pt x="26" y="19"/>
                  <a:pt x="26" y="19"/>
                  <a:pt x="26" y="19"/>
                </a:cubicBezTo>
                <a:close/>
                <a:moveTo>
                  <a:pt x="27" y="14"/>
                </a:moveTo>
                <a:cubicBezTo>
                  <a:pt x="27" y="15"/>
                  <a:pt x="27" y="15"/>
                  <a:pt x="27" y="15"/>
                </a:cubicBezTo>
                <a:cubicBezTo>
                  <a:pt x="28" y="15"/>
                  <a:pt x="28" y="15"/>
                  <a:pt x="28" y="15"/>
                </a:cubicBezTo>
                <a:cubicBezTo>
                  <a:pt x="28" y="16"/>
                  <a:pt x="28" y="16"/>
                  <a:pt x="28" y="16"/>
                </a:cubicBezTo>
                <a:cubicBezTo>
                  <a:pt x="29" y="17"/>
                  <a:pt x="29" y="17"/>
                  <a:pt x="29" y="17"/>
                </a:cubicBezTo>
                <a:cubicBezTo>
                  <a:pt x="29" y="19"/>
                  <a:pt x="29" y="19"/>
                  <a:pt x="29" y="19"/>
                </a:cubicBezTo>
                <a:cubicBezTo>
                  <a:pt x="31" y="21"/>
                  <a:pt x="31" y="21"/>
                  <a:pt x="31" y="21"/>
                </a:cubicBezTo>
                <a:cubicBezTo>
                  <a:pt x="32" y="22"/>
                  <a:pt x="32" y="22"/>
                  <a:pt x="32" y="22"/>
                </a:cubicBezTo>
                <a:cubicBezTo>
                  <a:pt x="33" y="23"/>
                  <a:pt x="33" y="23"/>
                  <a:pt x="33" y="23"/>
                </a:cubicBezTo>
                <a:cubicBezTo>
                  <a:pt x="34" y="23"/>
                  <a:pt x="34" y="23"/>
                  <a:pt x="34" y="23"/>
                </a:cubicBezTo>
                <a:cubicBezTo>
                  <a:pt x="34" y="22"/>
                  <a:pt x="34" y="22"/>
                  <a:pt x="34" y="22"/>
                </a:cubicBezTo>
                <a:cubicBezTo>
                  <a:pt x="33" y="20"/>
                  <a:pt x="33" y="20"/>
                  <a:pt x="33" y="20"/>
                </a:cubicBezTo>
                <a:cubicBezTo>
                  <a:pt x="32" y="20"/>
                  <a:pt x="32" y="20"/>
                  <a:pt x="32" y="20"/>
                </a:cubicBezTo>
                <a:cubicBezTo>
                  <a:pt x="31" y="19"/>
                  <a:pt x="31" y="19"/>
                  <a:pt x="31" y="19"/>
                </a:cubicBezTo>
                <a:cubicBezTo>
                  <a:pt x="30" y="17"/>
                  <a:pt x="30" y="17"/>
                  <a:pt x="30" y="17"/>
                </a:cubicBezTo>
                <a:cubicBezTo>
                  <a:pt x="30" y="16"/>
                  <a:pt x="30" y="16"/>
                  <a:pt x="30" y="16"/>
                </a:cubicBezTo>
                <a:cubicBezTo>
                  <a:pt x="29" y="14"/>
                  <a:pt x="29" y="14"/>
                  <a:pt x="29" y="14"/>
                </a:cubicBezTo>
                <a:cubicBezTo>
                  <a:pt x="27" y="14"/>
                  <a:pt x="27" y="14"/>
                  <a:pt x="27" y="14"/>
                </a:cubicBezTo>
                <a:close/>
                <a:moveTo>
                  <a:pt x="14" y="9"/>
                </a:moveTo>
                <a:cubicBezTo>
                  <a:pt x="17" y="9"/>
                  <a:pt x="17" y="9"/>
                  <a:pt x="17" y="9"/>
                </a:cubicBezTo>
                <a:cubicBezTo>
                  <a:pt x="18" y="10"/>
                  <a:pt x="18" y="10"/>
                  <a:pt x="18" y="10"/>
                </a:cubicBezTo>
                <a:cubicBezTo>
                  <a:pt x="20" y="11"/>
                  <a:pt x="20" y="11"/>
                  <a:pt x="20" y="11"/>
                </a:cubicBezTo>
                <a:cubicBezTo>
                  <a:pt x="23" y="14"/>
                  <a:pt x="23" y="14"/>
                  <a:pt x="23" y="14"/>
                </a:cubicBezTo>
                <a:cubicBezTo>
                  <a:pt x="22" y="14"/>
                  <a:pt x="22" y="14"/>
                  <a:pt x="22" y="14"/>
                </a:cubicBezTo>
                <a:cubicBezTo>
                  <a:pt x="22" y="15"/>
                  <a:pt x="22" y="15"/>
                  <a:pt x="22" y="15"/>
                </a:cubicBezTo>
                <a:cubicBezTo>
                  <a:pt x="22" y="15"/>
                  <a:pt x="22" y="15"/>
                  <a:pt x="22" y="15"/>
                </a:cubicBezTo>
                <a:cubicBezTo>
                  <a:pt x="21" y="15"/>
                  <a:pt x="21" y="15"/>
                  <a:pt x="21" y="15"/>
                </a:cubicBezTo>
                <a:cubicBezTo>
                  <a:pt x="21" y="14"/>
                  <a:pt x="21" y="14"/>
                  <a:pt x="21" y="14"/>
                </a:cubicBezTo>
                <a:cubicBezTo>
                  <a:pt x="20" y="14"/>
                  <a:pt x="20" y="14"/>
                  <a:pt x="20" y="14"/>
                </a:cubicBezTo>
                <a:cubicBezTo>
                  <a:pt x="19" y="13"/>
                  <a:pt x="19" y="13"/>
                  <a:pt x="19" y="13"/>
                </a:cubicBezTo>
                <a:cubicBezTo>
                  <a:pt x="16" y="10"/>
                  <a:pt x="16" y="10"/>
                  <a:pt x="16" y="10"/>
                </a:cubicBezTo>
                <a:cubicBezTo>
                  <a:pt x="16" y="10"/>
                  <a:pt x="14" y="9"/>
                  <a:pt x="14" y="9"/>
                </a:cubicBezTo>
                <a:close/>
                <a:moveTo>
                  <a:pt x="11" y="16"/>
                </a:moveTo>
                <a:cubicBezTo>
                  <a:pt x="12" y="16"/>
                  <a:pt x="12" y="16"/>
                  <a:pt x="12" y="16"/>
                </a:cubicBezTo>
                <a:cubicBezTo>
                  <a:pt x="12" y="17"/>
                  <a:pt x="12" y="17"/>
                  <a:pt x="12" y="17"/>
                </a:cubicBezTo>
                <a:cubicBezTo>
                  <a:pt x="11" y="17"/>
                  <a:pt x="11" y="17"/>
                  <a:pt x="11" y="17"/>
                </a:cubicBezTo>
                <a:cubicBezTo>
                  <a:pt x="11" y="16"/>
                  <a:pt x="11" y="16"/>
                  <a:pt x="11" y="16"/>
                </a:cubicBezTo>
                <a:cubicBezTo>
                  <a:pt x="11" y="16"/>
                  <a:pt x="11" y="16"/>
                  <a:pt x="11" y="16"/>
                </a:cubicBezTo>
                <a:close/>
                <a:moveTo>
                  <a:pt x="7" y="15"/>
                </a:moveTo>
                <a:cubicBezTo>
                  <a:pt x="7" y="15"/>
                  <a:pt x="7" y="15"/>
                  <a:pt x="7" y="15"/>
                </a:cubicBezTo>
                <a:cubicBezTo>
                  <a:pt x="8" y="15"/>
                  <a:pt x="8" y="15"/>
                  <a:pt x="8" y="15"/>
                </a:cubicBezTo>
                <a:cubicBezTo>
                  <a:pt x="8" y="16"/>
                  <a:pt x="8" y="16"/>
                  <a:pt x="8" y="16"/>
                </a:cubicBezTo>
                <a:cubicBezTo>
                  <a:pt x="7" y="15"/>
                  <a:pt x="7" y="15"/>
                  <a:pt x="7" y="15"/>
                </a:cubicBezTo>
                <a:close/>
                <a:moveTo>
                  <a:pt x="7" y="14"/>
                </a:moveTo>
                <a:cubicBezTo>
                  <a:pt x="8" y="14"/>
                  <a:pt x="8" y="14"/>
                  <a:pt x="8" y="14"/>
                </a:cubicBezTo>
                <a:cubicBezTo>
                  <a:pt x="9" y="14"/>
                  <a:pt x="9" y="14"/>
                  <a:pt x="9" y="14"/>
                </a:cubicBezTo>
                <a:cubicBezTo>
                  <a:pt x="9" y="15"/>
                  <a:pt x="9" y="15"/>
                  <a:pt x="9" y="15"/>
                </a:cubicBezTo>
                <a:cubicBezTo>
                  <a:pt x="10" y="15"/>
                  <a:pt x="10" y="15"/>
                  <a:pt x="10" y="15"/>
                </a:cubicBezTo>
                <a:cubicBezTo>
                  <a:pt x="10" y="15"/>
                  <a:pt x="10" y="15"/>
                  <a:pt x="10" y="15"/>
                </a:cubicBezTo>
                <a:cubicBezTo>
                  <a:pt x="11" y="14"/>
                  <a:pt x="11" y="14"/>
                  <a:pt x="11" y="14"/>
                </a:cubicBezTo>
                <a:cubicBezTo>
                  <a:pt x="10" y="13"/>
                  <a:pt x="10" y="13"/>
                  <a:pt x="10" y="13"/>
                </a:cubicBezTo>
                <a:cubicBezTo>
                  <a:pt x="9" y="13"/>
                  <a:pt x="9" y="13"/>
                  <a:pt x="9" y="13"/>
                </a:cubicBezTo>
                <a:cubicBezTo>
                  <a:pt x="9" y="12"/>
                  <a:pt x="9" y="12"/>
                  <a:pt x="9" y="12"/>
                </a:cubicBezTo>
                <a:cubicBezTo>
                  <a:pt x="8" y="11"/>
                  <a:pt x="8" y="11"/>
                  <a:pt x="8" y="11"/>
                </a:cubicBezTo>
                <a:cubicBezTo>
                  <a:pt x="7" y="12"/>
                  <a:pt x="7" y="12"/>
                  <a:pt x="7" y="12"/>
                </a:cubicBezTo>
                <a:cubicBezTo>
                  <a:pt x="7" y="14"/>
                  <a:pt x="7" y="14"/>
                  <a:pt x="7" y="14"/>
                </a:cubicBezTo>
                <a:close/>
                <a:moveTo>
                  <a:pt x="5" y="11"/>
                </a:moveTo>
                <a:cubicBezTo>
                  <a:pt x="6" y="11"/>
                  <a:pt x="6" y="11"/>
                  <a:pt x="6" y="11"/>
                </a:cubicBezTo>
                <a:cubicBezTo>
                  <a:pt x="7" y="11"/>
                  <a:pt x="7" y="11"/>
                  <a:pt x="7" y="11"/>
                </a:cubicBezTo>
                <a:cubicBezTo>
                  <a:pt x="7" y="12"/>
                  <a:pt x="7" y="12"/>
                  <a:pt x="7" y="12"/>
                </a:cubicBezTo>
                <a:cubicBezTo>
                  <a:pt x="6" y="12"/>
                  <a:pt x="6" y="12"/>
                  <a:pt x="6" y="12"/>
                </a:cubicBezTo>
                <a:cubicBezTo>
                  <a:pt x="5" y="12"/>
                  <a:pt x="5" y="12"/>
                  <a:pt x="5" y="12"/>
                </a:cubicBezTo>
                <a:cubicBezTo>
                  <a:pt x="5" y="12"/>
                  <a:pt x="5" y="11"/>
                  <a:pt x="5" y="11"/>
                </a:cubicBezTo>
                <a:close/>
                <a:moveTo>
                  <a:pt x="3" y="9"/>
                </a:moveTo>
                <a:cubicBezTo>
                  <a:pt x="4" y="10"/>
                  <a:pt x="4" y="10"/>
                  <a:pt x="4" y="10"/>
                </a:cubicBezTo>
                <a:cubicBezTo>
                  <a:pt x="4" y="11"/>
                  <a:pt x="4" y="11"/>
                  <a:pt x="4" y="11"/>
                </a:cubicBezTo>
                <a:cubicBezTo>
                  <a:pt x="3" y="11"/>
                  <a:pt x="3" y="11"/>
                  <a:pt x="3" y="11"/>
                </a:cubicBezTo>
                <a:cubicBezTo>
                  <a:pt x="3" y="11"/>
                  <a:pt x="3" y="11"/>
                  <a:pt x="3" y="11"/>
                </a:cubicBezTo>
                <a:cubicBezTo>
                  <a:pt x="3" y="10"/>
                  <a:pt x="3" y="10"/>
                  <a:pt x="3" y="10"/>
                </a:cubicBezTo>
                <a:cubicBezTo>
                  <a:pt x="3" y="9"/>
                  <a:pt x="3" y="9"/>
                  <a:pt x="3" y="9"/>
                </a:cubicBezTo>
                <a:close/>
                <a:moveTo>
                  <a:pt x="3" y="0"/>
                </a:moveTo>
                <a:cubicBezTo>
                  <a:pt x="1" y="2"/>
                  <a:pt x="1" y="2"/>
                  <a:pt x="1" y="2"/>
                </a:cubicBezTo>
                <a:cubicBezTo>
                  <a:pt x="3" y="1"/>
                  <a:pt x="3" y="1"/>
                  <a:pt x="3" y="1"/>
                </a:cubicBezTo>
                <a:cubicBezTo>
                  <a:pt x="3" y="0"/>
                  <a:pt x="3" y="0"/>
                  <a:pt x="3" y="0"/>
                </a:cubicBezTo>
                <a:close/>
                <a:moveTo>
                  <a:pt x="3" y="2"/>
                </a:moveTo>
                <a:cubicBezTo>
                  <a:pt x="2" y="3"/>
                  <a:pt x="2" y="3"/>
                  <a:pt x="2" y="3"/>
                </a:cubicBezTo>
                <a:cubicBezTo>
                  <a:pt x="3" y="5"/>
                  <a:pt x="3" y="5"/>
                  <a:pt x="3" y="5"/>
                </a:cubicBezTo>
                <a:cubicBezTo>
                  <a:pt x="5" y="6"/>
                  <a:pt x="5" y="6"/>
                  <a:pt x="5" y="6"/>
                </a:cubicBezTo>
                <a:cubicBezTo>
                  <a:pt x="6" y="7"/>
                  <a:pt x="6" y="7"/>
                  <a:pt x="6" y="7"/>
                </a:cubicBezTo>
                <a:cubicBezTo>
                  <a:pt x="8" y="8"/>
                  <a:pt x="8" y="8"/>
                  <a:pt x="8" y="8"/>
                </a:cubicBezTo>
                <a:cubicBezTo>
                  <a:pt x="9" y="8"/>
                  <a:pt x="9" y="8"/>
                  <a:pt x="9" y="8"/>
                </a:cubicBezTo>
                <a:cubicBezTo>
                  <a:pt x="9" y="7"/>
                  <a:pt x="9" y="7"/>
                  <a:pt x="9" y="7"/>
                </a:cubicBezTo>
                <a:cubicBezTo>
                  <a:pt x="8" y="6"/>
                  <a:pt x="8" y="6"/>
                  <a:pt x="8" y="6"/>
                </a:cubicBezTo>
                <a:cubicBezTo>
                  <a:pt x="7" y="5"/>
                  <a:pt x="7" y="5"/>
                  <a:pt x="7" y="5"/>
                </a:cubicBezTo>
                <a:cubicBezTo>
                  <a:pt x="7" y="4"/>
                  <a:pt x="7" y="4"/>
                  <a:pt x="7" y="4"/>
                </a:cubicBezTo>
                <a:cubicBezTo>
                  <a:pt x="6" y="4"/>
                  <a:pt x="6" y="4"/>
                  <a:pt x="6" y="4"/>
                </a:cubicBezTo>
                <a:cubicBezTo>
                  <a:pt x="4" y="4"/>
                  <a:pt x="4" y="4"/>
                  <a:pt x="4" y="4"/>
                </a:cubicBezTo>
                <a:cubicBezTo>
                  <a:pt x="3" y="2"/>
                  <a:pt x="3" y="2"/>
                  <a:pt x="3" y="2"/>
                </a:cubicBezTo>
                <a:cubicBezTo>
                  <a:pt x="3" y="2"/>
                  <a:pt x="3" y="2"/>
                  <a:pt x="3" y="2"/>
                </a:cubicBezTo>
                <a:close/>
                <a:moveTo>
                  <a:pt x="0" y="4"/>
                </a:moveTo>
                <a:cubicBezTo>
                  <a:pt x="0" y="4"/>
                  <a:pt x="0" y="4"/>
                  <a:pt x="0" y="4"/>
                </a:cubicBezTo>
                <a:cubicBezTo>
                  <a:pt x="0" y="5"/>
                  <a:pt x="0" y="5"/>
                  <a:pt x="0" y="5"/>
                </a:cubicBezTo>
                <a:lnTo>
                  <a:pt x="0" y="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5" name="Freeform 23">
            <a:extLst>
              <a:ext uri="{FF2B5EF4-FFF2-40B4-BE49-F238E27FC236}">
                <a16:creationId xmlns:a16="http://schemas.microsoft.com/office/drawing/2014/main" id="{1E796FBD-548D-43BF-1AC7-9B8F89690705}"/>
              </a:ext>
            </a:extLst>
          </p:cNvPr>
          <p:cNvSpPr>
            <a:spLocks noEditPoints="1"/>
          </p:cNvSpPr>
          <p:nvPr userDrawn="1"/>
        </p:nvSpPr>
        <p:spPr bwMode="auto">
          <a:xfrm>
            <a:off x="21991790" y="9467135"/>
            <a:ext cx="942915" cy="695326"/>
          </a:xfrm>
          <a:custGeom>
            <a:avLst/>
            <a:gdLst>
              <a:gd name="T0" fmla="*/ 76 w 95"/>
              <a:gd name="T1" fmla="*/ 68 h 70"/>
              <a:gd name="T2" fmla="*/ 76 w 95"/>
              <a:gd name="T3" fmla="*/ 68 h 70"/>
              <a:gd name="T4" fmla="*/ 40 w 95"/>
              <a:gd name="T5" fmla="*/ 7 h 70"/>
              <a:gd name="T6" fmla="*/ 90 w 95"/>
              <a:gd name="T7" fmla="*/ 31 h 70"/>
              <a:gd name="T8" fmla="*/ 91 w 95"/>
              <a:gd name="T9" fmla="*/ 37 h 70"/>
              <a:gd name="T10" fmla="*/ 88 w 95"/>
              <a:gd name="T11" fmla="*/ 28 h 70"/>
              <a:gd name="T12" fmla="*/ 84 w 95"/>
              <a:gd name="T13" fmla="*/ 22 h 70"/>
              <a:gd name="T14" fmla="*/ 66 w 95"/>
              <a:gd name="T15" fmla="*/ 11 h 70"/>
              <a:gd name="T16" fmla="*/ 77 w 95"/>
              <a:gd name="T17" fmla="*/ 20 h 70"/>
              <a:gd name="T18" fmla="*/ 74 w 95"/>
              <a:gd name="T19" fmla="*/ 17 h 70"/>
              <a:gd name="T20" fmla="*/ 56 w 95"/>
              <a:gd name="T21" fmla="*/ 0 h 70"/>
              <a:gd name="T22" fmla="*/ 61 w 95"/>
              <a:gd name="T23" fmla="*/ 11 h 70"/>
              <a:gd name="T24" fmla="*/ 58 w 95"/>
              <a:gd name="T25" fmla="*/ 24 h 70"/>
              <a:gd name="T26" fmla="*/ 52 w 95"/>
              <a:gd name="T27" fmla="*/ 33 h 70"/>
              <a:gd name="T28" fmla="*/ 63 w 95"/>
              <a:gd name="T29" fmla="*/ 34 h 70"/>
              <a:gd name="T30" fmla="*/ 71 w 95"/>
              <a:gd name="T31" fmla="*/ 29 h 70"/>
              <a:gd name="T32" fmla="*/ 72 w 95"/>
              <a:gd name="T33" fmla="*/ 20 h 70"/>
              <a:gd name="T34" fmla="*/ 68 w 95"/>
              <a:gd name="T35" fmla="*/ 25 h 70"/>
              <a:gd name="T36" fmla="*/ 60 w 95"/>
              <a:gd name="T37" fmla="*/ 28 h 70"/>
              <a:gd name="T38" fmla="*/ 56 w 95"/>
              <a:gd name="T39" fmla="*/ 28 h 70"/>
              <a:gd name="T40" fmla="*/ 43 w 95"/>
              <a:gd name="T41" fmla="*/ 29 h 70"/>
              <a:gd name="T42" fmla="*/ 39 w 95"/>
              <a:gd name="T43" fmla="*/ 28 h 70"/>
              <a:gd name="T44" fmla="*/ 33 w 95"/>
              <a:gd name="T45" fmla="*/ 23 h 70"/>
              <a:gd name="T46" fmla="*/ 73 w 95"/>
              <a:gd name="T47" fmla="*/ 51 h 70"/>
              <a:gd name="T48" fmla="*/ 65 w 95"/>
              <a:gd name="T49" fmla="*/ 49 h 70"/>
              <a:gd name="T50" fmla="*/ 63 w 95"/>
              <a:gd name="T51" fmla="*/ 58 h 70"/>
              <a:gd name="T52" fmla="*/ 62 w 95"/>
              <a:gd name="T53" fmla="*/ 58 h 70"/>
              <a:gd name="T54" fmla="*/ 62 w 95"/>
              <a:gd name="T55" fmla="*/ 56 h 70"/>
              <a:gd name="T56" fmla="*/ 60 w 95"/>
              <a:gd name="T57" fmla="*/ 54 h 70"/>
              <a:gd name="T58" fmla="*/ 59 w 95"/>
              <a:gd name="T59" fmla="*/ 53 h 70"/>
              <a:gd name="T60" fmla="*/ 23 w 95"/>
              <a:gd name="T61" fmla="*/ 43 h 70"/>
              <a:gd name="T62" fmla="*/ 23 w 95"/>
              <a:gd name="T63" fmla="*/ 43 h 70"/>
              <a:gd name="T64" fmla="*/ 19 w 95"/>
              <a:gd name="T65" fmla="*/ 44 h 70"/>
              <a:gd name="T66" fmla="*/ 16 w 95"/>
              <a:gd name="T67" fmla="*/ 49 h 70"/>
              <a:gd name="T68" fmla="*/ 14 w 95"/>
              <a:gd name="T69" fmla="*/ 49 h 70"/>
              <a:gd name="T70" fmla="*/ 16 w 95"/>
              <a:gd name="T71" fmla="*/ 46 h 70"/>
              <a:gd name="T72" fmla="*/ 1 w 95"/>
              <a:gd name="T73" fmla="*/ 10 h 70"/>
              <a:gd name="T74" fmla="*/ 4 w 95"/>
              <a:gd name="T75" fmla="*/ 52 h 70"/>
              <a:gd name="T76" fmla="*/ 14 w 95"/>
              <a:gd name="T77" fmla="*/ 52 h 70"/>
              <a:gd name="T78" fmla="*/ 8 w 95"/>
              <a:gd name="T79" fmla="*/ 47 h 70"/>
              <a:gd name="T80" fmla="*/ 4 w 95"/>
              <a:gd name="T81" fmla="*/ 42 h 70"/>
              <a:gd name="T82" fmla="*/ 10 w 95"/>
              <a:gd name="T83" fmla="*/ 48 h 70"/>
              <a:gd name="T84" fmla="*/ 15 w 95"/>
              <a:gd name="T85" fmla="*/ 45 h 70"/>
              <a:gd name="T86" fmla="*/ 17 w 95"/>
              <a:gd name="T87" fmla="*/ 44 h 70"/>
              <a:gd name="T88" fmla="*/ 19 w 95"/>
              <a:gd name="T89" fmla="*/ 43 h 70"/>
              <a:gd name="T90" fmla="*/ 21 w 95"/>
              <a:gd name="T91" fmla="*/ 42 h 70"/>
              <a:gd name="T92" fmla="*/ 26 w 95"/>
              <a:gd name="T93" fmla="*/ 42 h 70"/>
              <a:gd name="T94" fmla="*/ 34 w 95"/>
              <a:gd name="T95" fmla="*/ 49 h 70"/>
              <a:gd name="T96" fmla="*/ 42 w 95"/>
              <a:gd name="T97" fmla="*/ 59 h 70"/>
              <a:gd name="T98" fmla="*/ 52 w 95"/>
              <a:gd name="T99" fmla="*/ 60 h 70"/>
              <a:gd name="T100" fmla="*/ 58 w 95"/>
              <a:gd name="T101" fmla="*/ 63 h 70"/>
              <a:gd name="T102" fmla="*/ 61 w 95"/>
              <a:gd name="T103" fmla="*/ 60 h 70"/>
              <a:gd name="T104" fmla="*/ 56 w 95"/>
              <a:gd name="T105" fmla="*/ 56 h 70"/>
              <a:gd name="T106" fmla="*/ 51 w 95"/>
              <a:gd name="T107" fmla="*/ 52 h 70"/>
              <a:gd name="T108" fmla="*/ 45 w 95"/>
              <a:gd name="T109" fmla="*/ 45 h 70"/>
              <a:gd name="T110" fmla="*/ 38 w 95"/>
              <a:gd name="T111" fmla="*/ 38 h 70"/>
              <a:gd name="T112" fmla="*/ 40 w 95"/>
              <a:gd name="T113" fmla="*/ 32 h 70"/>
              <a:gd name="T114" fmla="*/ 31 w 95"/>
              <a:gd name="T115" fmla="*/ 25 h 70"/>
              <a:gd name="T116" fmla="*/ 24 w 95"/>
              <a:gd name="T117" fmla="*/ 19 h 70"/>
              <a:gd name="T118" fmla="*/ 12 w 95"/>
              <a:gd name="T119" fmla="*/ 14 h 70"/>
              <a:gd name="T120" fmla="*/ 2 w 95"/>
              <a:gd name="T121" fmla="*/ 1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 h="70">
                <a:moveTo>
                  <a:pt x="81" y="68"/>
                </a:moveTo>
                <a:cubicBezTo>
                  <a:pt x="82" y="67"/>
                  <a:pt x="82" y="67"/>
                  <a:pt x="82" y="67"/>
                </a:cubicBezTo>
                <a:cubicBezTo>
                  <a:pt x="83" y="67"/>
                  <a:pt x="83" y="67"/>
                  <a:pt x="83" y="67"/>
                </a:cubicBezTo>
                <a:cubicBezTo>
                  <a:pt x="83" y="68"/>
                  <a:pt x="83" y="68"/>
                  <a:pt x="83" y="68"/>
                </a:cubicBezTo>
                <a:cubicBezTo>
                  <a:pt x="82" y="68"/>
                  <a:pt x="82" y="68"/>
                  <a:pt x="82" y="68"/>
                </a:cubicBezTo>
                <a:cubicBezTo>
                  <a:pt x="81" y="68"/>
                  <a:pt x="81" y="68"/>
                  <a:pt x="81" y="68"/>
                </a:cubicBezTo>
                <a:cubicBezTo>
                  <a:pt x="81" y="68"/>
                  <a:pt x="81" y="68"/>
                  <a:pt x="81" y="68"/>
                </a:cubicBezTo>
                <a:close/>
                <a:moveTo>
                  <a:pt x="76" y="68"/>
                </a:moveTo>
                <a:cubicBezTo>
                  <a:pt x="78" y="69"/>
                  <a:pt x="78" y="69"/>
                  <a:pt x="78" y="69"/>
                </a:cubicBezTo>
                <a:cubicBezTo>
                  <a:pt x="78" y="69"/>
                  <a:pt x="78" y="69"/>
                  <a:pt x="78" y="69"/>
                </a:cubicBezTo>
                <a:cubicBezTo>
                  <a:pt x="79" y="70"/>
                  <a:pt x="79" y="70"/>
                  <a:pt x="79" y="70"/>
                </a:cubicBezTo>
                <a:cubicBezTo>
                  <a:pt x="80" y="69"/>
                  <a:pt x="80" y="69"/>
                  <a:pt x="80" y="69"/>
                </a:cubicBezTo>
                <a:cubicBezTo>
                  <a:pt x="79" y="69"/>
                  <a:pt x="79" y="69"/>
                  <a:pt x="79" y="69"/>
                </a:cubicBezTo>
                <a:cubicBezTo>
                  <a:pt x="78" y="69"/>
                  <a:pt x="78" y="69"/>
                  <a:pt x="78" y="69"/>
                </a:cubicBezTo>
                <a:cubicBezTo>
                  <a:pt x="77" y="68"/>
                  <a:pt x="77" y="68"/>
                  <a:pt x="77" y="68"/>
                </a:cubicBezTo>
                <a:cubicBezTo>
                  <a:pt x="76" y="68"/>
                  <a:pt x="76" y="68"/>
                  <a:pt x="76" y="68"/>
                </a:cubicBezTo>
                <a:close/>
                <a:moveTo>
                  <a:pt x="37" y="6"/>
                </a:moveTo>
                <a:cubicBezTo>
                  <a:pt x="37" y="5"/>
                  <a:pt x="37" y="5"/>
                  <a:pt x="37" y="5"/>
                </a:cubicBezTo>
                <a:cubicBezTo>
                  <a:pt x="38" y="5"/>
                  <a:pt x="38" y="5"/>
                  <a:pt x="38" y="5"/>
                </a:cubicBezTo>
                <a:cubicBezTo>
                  <a:pt x="39" y="5"/>
                  <a:pt x="39" y="5"/>
                  <a:pt x="39" y="5"/>
                </a:cubicBezTo>
                <a:cubicBezTo>
                  <a:pt x="40" y="6"/>
                  <a:pt x="40" y="6"/>
                  <a:pt x="40" y="6"/>
                </a:cubicBezTo>
                <a:cubicBezTo>
                  <a:pt x="41" y="5"/>
                  <a:pt x="41" y="5"/>
                  <a:pt x="41" y="5"/>
                </a:cubicBezTo>
                <a:cubicBezTo>
                  <a:pt x="41" y="6"/>
                  <a:pt x="41" y="6"/>
                  <a:pt x="41" y="6"/>
                </a:cubicBezTo>
                <a:cubicBezTo>
                  <a:pt x="40" y="7"/>
                  <a:pt x="40" y="7"/>
                  <a:pt x="40" y="7"/>
                </a:cubicBezTo>
                <a:cubicBezTo>
                  <a:pt x="39" y="7"/>
                  <a:pt x="39" y="7"/>
                  <a:pt x="39" y="7"/>
                </a:cubicBezTo>
                <a:cubicBezTo>
                  <a:pt x="38" y="7"/>
                  <a:pt x="38" y="7"/>
                  <a:pt x="38" y="7"/>
                </a:cubicBezTo>
                <a:cubicBezTo>
                  <a:pt x="37" y="7"/>
                  <a:pt x="37" y="7"/>
                  <a:pt x="37" y="7"/>
                </a:cubicBezTo>
                <a:cubicBezTo>
                  <a:pt x="37" y="7"/>
                  <a:pt x="37" y="6"/>
                  <a:pt x="37" y="6"/>
                </a:cubicBezTo>
                <a:close/>
                <a:moveTo>
                  <a:pt x="88" y="28"/>
                </a:moveTo>
                <a:cubicBezTo>
                  <a:pt x="89" y="28"/>
                  <a:pt x="89" y="28"/>
                  <a:pt x="89" y="28"/>
                </a:cubicBezTo>
                <a:cubicBezTo>
                  <a:pt x="90" y="29"/>
                  <a:pt x="90" y="29"/>
                  <a:pt x="90" y="29"/>
                </a:cubicBezTo>
                <a:cubicBezTo>
                  <a:pt x="90" y="31"/>
                  <a:pt x="90" y="31"/>
                  <a:pt x="90" y="31"/>
                </a:cubicBezTo>
                <a:cubicBezTo>
                  <a:pt x="92" y="31"/>
                  <a:pt x="92" y="31"/>
                  <a:pt x="92" y="31"/>
                </a:cubicBezTo>
                <a:cubicBezTo>
                  <a:pt x="94" y="33"/>
                  <a:pt x="94" y="33"/>
                  <a:pt x="94" y="33"/>
                </a:cubicBezTo>
                <a:cubicBezTo>
                  <a:pt x="95" y="34"/>
                  <a:pt x="95" y="34"/>
                  <a:pt x="95" y="34"/>
                </a:cubicBezTo>
                <a:cubicBezTo>
                  <a:pt x="95" y="36"/>
                  <a:pt x="95" y="36"/>
                  <a:pt x="95" y="36"/>
                </a:cubicBezTo>
                <a:cubicBezTo>
                  <a:pt x="94" y="36"/>
                  <a:pt x="94" y="36"/>
                  <a:pt x="94" y="36"/>
                </a:cubicBezTo>
                <a:cubicBezTo>
                  <a:pt x="94" y="37"/>
                  <a:pt x="94" y="37"/>
                  <a:pt x="94" y="37"/>
                </a:cubicBezTo>
                <a:cubicBezTo>
                  <a:pt x="92" y="37"/>
                  <a:pt x="92" y="37"/>
                  <a:pt x="92" y="37"/>
                </a:cubicBezTo>
                <a:cubicBezTo>
                  <a:pt x="91" y="37"/>
                  <a:pt x="91" y="37"/>
                  <a:pt x="91" y="37"/>
                </a:cubicBezTo>
                <a:cubicBezTo>
                  <a:pt x="90" y="37"/>
                  <a:pt x="90" y="37"/>
                  <a:pt x="90" y="37"/>
                </a:cubicBezTo>
                <a:cubicBezTo>
                  <a:pt x="90" y="36"/>
                  <a:pt x="90" y="36"/>
                  <a:pt x="90" y="36"/>
                </a:cubicBezTo>
                <a:cubicBezTo>
                  <a:pt x="90" y="35"/>
                  <a:pt x="90" y="35"/>
                  <a:pt x="90" y="35"/>
                </a:cubicBezTo>
                <a:cubicBezTo>
                  <a:pt x="89" y="33"/>
                  <a:pt x="89" y="33"/>
                  <a:pt x="89" y="33"/>
                </a:cubicBezTo>
                <a:cubicBezTo>
                  <a:pt x="88" y="32"/>
                  <a:pt x="88" y="32"/>
                  <a:pt x="88" y="32"/>
                </a:cubicBezTo>
                <a:cubicBezTo>
                  <a:pt x="88" y="30"/>
                  <a:pt x="88" y="30"/>
                  <a:pt x="88" y="30"/>
                </a:cubicBezTo>
                <a:cubicBezTo>
                  <a:pt x="87" y="29"/>
                  <a:pt x="87" y="29"/>
                  <a:pt x="87" y="29"/>
                </a:cubicBezTo>
                <a:cubicBezTo>
                  <a:pt x="88" y="28"/>
                  <a:pt x="88" y="28"/>
                  <a:pt x="88" y="28"/>
                </a:cubicBezTo>
                <a:close/>
                <a:moveTo>
                  <a:pt x="86" y="25"/>
                </a:moveTo>
                <a:cubicBezTo>
                  <a:pt x="86" y="26"/>
                  <a:pt x="86" y="26"/>
                  <a:pt x="86" y="26"/>
                </a:cubicBezTo>
                <a:cubicBezTo>
                  <a:pt x="87" y="27"/>
                  <a:pt x="87" y="27"/>
                  <a:pt x="87" y="27"/>
                </a:cubicBezTo>
                <a:cubicBezTo>
                  <a:pt x="87" y="28"/>
                  <a:pt x="87" y="28"/>
                  <a:pt x="87" y="28"/>
                </a:cubicBezTo>
                <a:cubicBezTo>
                  <a:pt x="87" y="27"/>
                  <a:pt x="87" y="27"/>
                  <a:pt x="87" y="27"/>
                </a:cubicBezTo>
                <a:cubicBezTo>
                  <a:pt x="87" y="25"/>
                  <a:pt x="87" y="25"/>
                  <a:pt x="87" y="25"/>
                </a:cubicBezTo>
                <a:cubicBezTo>
                  <a:pt x="86" y="25"/>
                  <a:pt x="86" y="25"/>
                  <a:pt x="86" y="25"/>
                </a:cubicBezTo>
                <a:close/>
                <a:moveTo>
                  <a:pt x="84" y="22"/>
                </a:moveTo>
                <a:cubicBezTo>
                  <a:pt x="85" y="22"/>
                  <a:pt x="85" y="22"/>
                  <a:pt x="85" y="22"/>
                </a:cubicBezTo>
                <a:cubicBezTo>
                  <a:pt x="85" y="21"/>
                  <a:pt x="85" y="21"/>
                  <a:pt x="85" y="21"/>
                </a:cubicBezTo>
                <a:cubicBezTo>
                  <a:pt x="86" y="22"/>
                  <a:pt x="86" y="22"/>
                  <a:pt x="86" y="22"/>
                </a:cubicBezTo>
                <a:cubicBezTo>
                  <a:pt x="85" y="23"/>
                  <a:pt x="85" y="23"/>
                  <a:pt x="85" y="23"/>
                </a:cubicBezTo>
                <a:cubicBezTo>
                  <a:pt x="84" y="23"/>
                  <a:pt x="84" y="23"/>
                  <a:pt x="84" y="23"/>
                </a:cubicBezTo>
                <a:cubicBezTo>
                  <a:pt x="84" y="22"/>
                  <a:pt x="84" y="22"/>
                  <a:pt x="84" y="22"/>
                </a:cubicBezTo>
                <a:close/>
                <a:moveTo>
                  <a:pt x="63" y="10"/>
                </a:moveTo>
                <a:cubicBezTo>
                  <a:pt x="66" y="11"/>
                  <a:pt x="66" y="11"/>
                  <a:pt x="66" y="11"/>
                </a:cubicBezTo>
                <a:cubicBezTo>
                  <a:pt x="68" y="12"/>
                  <a:pt x="68" y="12"/>
                  <a:pt x="68" y="12"/>
                </a:cubicBezTo>
                <a:cubicBezTo>
                  <a:pt x="70" y="14"/>
                  <a:pt x="70" y="14"/>
                  <a:pt x="70" y="14"/>
                </a:cubicBezTo>
                <a:cubicBezTo>
                  <a:pt x="72" y="14"/>
                  <a:pt x="72" y="14"/>
                  <a:pt x="72" y="14"/>
                </a:cubicBezTo>
                <a:cubicBezTo>
                  <a:pt x="73" y="15"/>
                  <a:pt x="73" y="15"/>
                  <a:pt x="73" y="15"/>
                </a:cubicBezTo>
                <a:cubicBezTo>
                  <a:pt x="74" y="16"/>
                  <a:pt x="74" y="16"/>
                  <a:pt x="74" y="16"/>
                </a:cubicBezTo>
                <a:cubicBezTo>
                  <a:pt x="75" y="18"/>
                  <a:pt x="75" y="18"/>
                  <a:pt x="75" y="18"/>
                </a:cubicBezTo>
                <a:cubicBezTo>
                  <a:pt x="76" y="18"/>
                  <a:pt x="76" y="18"/>
                  <a:pt x="76" y="18"/>
                </a:cubicBezTo>
                <a:cubicBezTo>
                  <a:pt x="77" y="20"/>
                  <a:pt x="77" y="20"/>
                  <a:pt x="77" y="20"/>
                </a:cubicBezTo>
                <a:cubicBezTo>
                  <a:pt x="78" y="21"/>
                  <a:pt x="78" y="21"/>
                  <a:pt x="78" y="21"/>
                </a:cubicBezTo>
                <a:cubicBezTo>
                  <a:pt x="78" y="22"/>
                  <a:pt x="78" y="22"/>
                  <a:pt x="78" y="22"/>
                </a:cubicBezTo>
                <a:cubicBezTo>
                  <a:pt x="77" y="23"/>
                  <a:pt x="77" y="23"/>
                  <a:pt x="77" y="23"/>
                </a:cubicBezTo>
                <a:cubicBezTo>
                  <a:pt x="77" y="24"/>
                  <a:pt x="77" y="24"/>
                  <a:pt x="77" y="24"/>
                </a:cubicBezTo>
                <a:cubicBezTo>
                  <a:pt x="75" y="23"/>
                  <a:pt x="75" y="23"/>
                  <a:pt x="75" y="23"/>
                </a:cubicBezTo>
                <a:cubicBezTo>
                  <a:pt x="75" y="22"/>
                  <a:pt x="75" y="22"/>
                  <a:pt x="75" y="22"/>
                </a:cubicBezTo>
                <a:cubicBezTo>
                  <a:pt x="75" y="21"/>
                  <a:pt x="75" y="21"/>
                  <a:pt x="75" y="21"/>
                </a:cubicBezTo>
                <a:cubicBezTo>
                  <a:pt x="74" y="17"/>
                  <a:pt x="74" y="17"/>
                  <a:pt x="74" y="17"/>
                </a:cubicBezTo>
                <a:cubicBezTo>
                  <a:pt x="72" y="15"/>
                  <a:pt x="72" y="15"/>
                  <a:pt x="72" y="15"/>
                </a:cubicBezTo>
                <a:cubicBezTo>
                  <a:pt x="71" y="15"/>
                  <a:pt x="71" y="15"/>
                  <a:pt x="71" y="15"/>
                </a:cubicBezTo>
                <a:cubicBezTo>
                  <a:pt x="68" y="14"/>
                  <a:pt x="68" y="14"/>
                  <a:pt x="68" y="14"/>
                </a:cubicBezTo>
                <a:cubicBezTo>
                  <a:pt x="64" y="11"/>
                  <a:pt x="64" y="11"/>
                  <a:pt x="64" y="11"/>
                </a:cubicBezTo>
                <a:cubicBezTo>
                  <a:pt x="63" y="10"/>
                  <a:pt x="63" y="10"/>
                  <a:pt x="63" y="10"/>
                </a:cubicBezTo>
                <a:cubicBezTo>
                  <a:pt x="63" y="10"/>
                  <a:pt x="63" y="10"/>
                  <a:pt x="63" y="10"/>
                </a:cubicBezTo>
                <a:close/>
                <a:moveTo>
                  <a:pt x="55" y="0"/>
                </a:moveTo>
                <a:cubicBezTo>
                  <a:pt x="56" y="0"/>
                  <a:pt x="56" y="0"/>
                  <a:pt x="56" y="0"/>
                </a:cubicBezTo>
                <a:cubicBezTo>
                  <a:pt x="56" y="1"/>
                  <a:pt x="56" y="1"/>
                  <a:pt x="56" y="1"/>
                </a:cubicBezTo>
                <a:cubicBezTo>
                  <a:pt x="56" y="2"/>
                  <a:pt x="56" y="2"/>
                  <a:pt x="56" y="2"/>
                </a:cubicBezTo>
                <a:cubicBezTo>
                  <a:pt x="55" y="1"/>
                  <a:pt x="55" y="1"/>
                  <a:pt x="55" y="1"/>
                </a:cubicBezTo>
                <a:cubicBezTo>
                  <a:pt x="55" y="0"/>
                  <a:pt x="55" y="0"/>
                  <a:pt x="55" y="0"/>
                </a:cubicBezTo>
                <a:close/>
                <a:moveTo>
                  <a:pt x="58" y="9"/>
                </a:moveTo>
                <a:cubicBezTo>
                  <a:pt x="60" y="9"/>
                  <a:pt x="60" y="9"/>
                  <a:pt x="60" y="9"/>
                </a:cubicBezTo>
                <a:cubicBezTo>
                  <a:pt x="61" y="9"/>
                  <a:pt x="61" y="9"/>
                  <a:pt x="61" y="9"/>
                </a:cubicBezTo>
                <a:cubicBezTo>
                  <a:pt x="61" y="11"/>
                  <a:pt x="61" y="11"/>
                  <a:pt x="61" y="11"/>
                </a:cubicBezTo>
                <a:cubicBezTo>
                  <a:pt x="59" y="11"/>
                  <a:pt x="59" y="11"/>
                  <a:pt x="59" y="11"/>
                </a:cubicBezTo>
                <a:cubicBezTo>
                  <a:pt x="58" y="10"/>
                  <a:pt x="58" y="10"/>
                  <a:pt x="58" y="10"/>
                </a:cubicBezTo>
                <a:cubicBezTo>
                  <a:pt x="58" y="9"/>
                  <a:pt x="58" y="9"/>
                  <a:pt x="58" y="9"/>
                </a:cubicBezTo>
                <a:close/>
                <a:moveTo>
                  <a:pt x="58" y="25"/>
                </a:moveTo>
                <a:cubicBezTo>
                  <a:pt x="59" y="26"/>
                  <a:pt x="59" y="26"/>
                  <a:pt x="59" y="26"/>
                </a:cubicBezTo>
                <a:cubicBezTo>
                  <a:pt x="60" y="25"/>
                  <a:pt x="60" y="25"/>
                  <a:pt x="60" y="25"/>
                </a:cubicBezTo>
                <a:cubicBezTo>
                  <a:pt x="59" y="24"/>
                  <a:pt x="59" y="24"/>
                  <a:pt x="59" y="24"/>
                </a:cubicBezTo>
                <a:cubicBezTo>
                  <a:pt x="58" y="24"/>
                  <a:pt x="58" y="24"/>
                  <a:pt x="58" y="24"/>
                </a:cubicBezTo>
                <a:cubicBezTo>
                  <a:pt x="58" y="25"/>
                  <a:pt x="58" y="25"/>
                  <a:pt x="58" y="25"/>
                </a:cubicBezTo>
                <a:close/>
                <a:moveTo>
                  <a:pt x="47" y="28"/>
                </a:moveTo>
                <a:cubicBezTo>
                  <a:pt x="47" y="29"/>
                  <a:pt x="47" y="29"/>
                  <a:pt x="47" y="29"/>
                </a:cubicBezTo>
                <a:cubicBezTo>
                  <a:pt x="48" y="31"/>
                  <a:pt x="48" y="31"/>
                  <a:pt x="48" y="31"/>
                </a:cubicBezTo>
                <a:cubicBezTo>
                  <a:pt x="49" y="31"/>
                  <a:pt x="49" y="31"/>
                  <a:pt x="49" y="31"/>
                </a:cubicBezTo>
                <a:cubicBezTo>
                  <a:pt x="51" y="32"/>
                  <a:pt x="51" y="32"/>
                  <a:pt x="51" y="32"/>
                </a:cubicBezTo>
                <a:cubicBezTo>
                  <a:pt x="51" y="33"/>
                  <a:pt x="51" y="33"/>
                  <a:pt x="51" y="33"/>
                </a:cubicBezTo>
                <a:cubicBezTo>
                  <a:pt x="52" y="33"/>
                  <a:pt x="52" y="33"/>
                  <a:pt x="52" y="33"/>
                </a:cubicBezTo>
                <a:cubicBezTo>
                  <a:pt x="54" y="33"/>
                  <a:pt x="54" y="33"/>
                  <a:pt x="54" y="33"/>
                </a:cubicBezTo>
                <a:cubicBezTo>
                  <a:pt x="55" y="34"/>
                  <a:pt x="55" y="34"/>
                  <a:pt x="55" y="34"/>
                </a:cubicBezTo>
                <a:cubicBezTo>
                  <a:pt x="56" y="34"/>
                  <a:pt x="56" y="34"/>
                  <a:pt x="56" y="34"/>
                </a:cubicBezTo>
                <a:cubicBezTo>
                  <a:pt x="57" y="34"/>
                  <a:pt x="57" y="34"/>
                  <a:pt x="57" y="34"/>
                </a:cubicBezTo>
                <a:cubicBezTo>
                  <a:pt x="60" y="33"/>
                  <a:pt x="60" y="33"/>
                  <a:pt x="60" y="33"/>
                </a:cubicBezTo>
                <a:cubicBezTo>
                  <a:pt x="61" y="34"/>
                  <a:pt x="61" y="34"/>
                  <a:pt x="61" y="34"/>
                </a:cubicBezTo>
                <a:cubicBezTo>
                  <a:pt x="62" y="33"/>
                  <a:pt x="62" y="33"/>
                  <a:pt x="62" y="33"/>
                </a:cubicBezTo>
                <a:cubicBezTo>
                  <a:pt x="63" y="34"/>
                  <a:pt x="63" y="34"/>
                  <a:pt x="63" y="34"/>
                </a:cubicBezTo>
                <a:cubicBezTo>
                  <a:pt x="64" y="33"/>
                  <a:pt x="64" y="33"/>
                  <a:pt x="64" y="33"/>
                </a:cubicBezTo>
                <a:cubicBezTo>
                  <a:pt x="64" y="32"/>
                  <a:pt x="64" y="32"/>
                  <a:pt x="64" y="32"/>
                </a:cubicBezTo>
                <a:cubicBezTo>
                  <a:pt x="66" y="32"/>
                  <a:pt x="66" y="32"/>
                  <a:pt x="66" y="32"/>
                </a:cubicBezTo>
                <a:cubicBezTo>
                  <a:pt x="68" y="30"/>
                  <a:pt x="68" y="30"/>
                  <a:pt x="68" y="30"/>
                </a:cubicBezTo>
                <a:cubicBezTo>
                  <a:pt x="68" y="29"/>
                  <a:pt x="68" y="29"/>
                  <a:pt x="68" y="29"/>
                </a:cubicBezTo>
                <a:cubicBezTo>
                  <a:pt x="69" y="28"/>
                  <a:pt x="69" y="28"/>
                  <a:pt x="69" y="28"/>
                </a:cubicBezTo>
                <a:cubicBezTo>
                  <a:pt x="69" y="29"/>
                  <a:pt x="69" y="29"/>
                  <a:pt x="69" y="29"/>
                </a:cubicBezTo>
                <a:cubicBezTo>
                  <a:pt x="71" y="29"/>
                  <a:pt x="71" y="29"/>
                  <a:pt x="71" y="29"/>
                </a:cubicBezTo>
                <a:cubicBezTo>
                  <a:pt x="72" y="27"/>
                  <a:pt x="72" y="27"/>
                  <a:pt x="72" y="27"/>
                </a:cubicBezTo>
                <a:cubicBezTo>
                  <a:pt x="70" y="26"/>
                  <a:pt x="70" y="26"/>
                  <a:pt x="70" y="26"/>
                </a:cubicBezTo>
                <a:cubicBezTo>
                  <a:pt x="70" y="25"/>
                  <a:pt x="70" y="25"/>
                  <a:pt x="70" y="25"/>
                </a:cubicBezTo>
                <a:cubicBezTo>
                  <a:pt x="71" y="25"/>
                  <a:pt x="71" y="25"/>
                  <a:pt x="71" y="25"/>
                </a:cubicBezTo>
                <a:cubicBezTo>
                  <a:pt x="72" y="25"/>
                  <a:pt x="72" y="25"/>
                  <a:pt x="72" y="25"/>
                </a:cubicBezTo>
                <a:cubicBezTo>
                  <a:pt x="73" y="24"/>
                  <a:pt x="73" y="24"/>
                  <a:pt x="73" y="24"/>
                </a:cubicBezTo>
                <a:cubicBezTo>
                  <a:pt x="73" y="21"/>
                  <a:pt x="73" y="21"/>
                  <a:pt x="73" y="21"/>
                </a:cubicBezTo>
                <a:cubicBezTo>
                  <a:pt x="72" y="20"/>
                  <a:pt x="72" y="20"/>
                  <a:pt x="72" y="20"/>
                </a:cubicBezTo>
                <a:cubicBezTo>
                  <a:pt x="71" y="20"/>
                  <a:pt x="71" y="20"/>
                  <a:pt x="71" y="20"/>
                </a:cubicBezTo>
                <a:cubicBezTo>
                  <a:pt x="71" y="21"/>
                  <a:pt x="71" y="21"/>
                  <a:pt x="71" y="21"/>
                </a:cubicBezTo>
                <a:cubicBezTo>
                  <a:pt x="70" y="20"/>
                  <a:pt x="70" y="20"/>
                  <a:pt x="70" y="20"/>
                </a:cubicBezTo>
                <a:cubicBezTo>
                  <a:pt x="68" y="20"/>
                  <a:pt x="68" y="20"/>
                  <a:pt x="68" y="20"/>
                </a:cubicBezTo>
                <a:cubicBezTo>
                  <a:pt x="68" y="21"/>
                  <a:pt x="68" y="21"/>
                  <a:pt x="68" y="21"/>
                </a:cubicBezTo>
                <a:cubicBezTo>
                  <a:pt x="68" y="24"/>
                  <a:pt x="68" y="24"/>
                  <a:pt x="68" y="24"/>
                </a:cubicBezTo>
                <a:cubicBezTo>
                  <a:pt x="69" y="24"/>
                  <a:pt x="69" y="24"/>
                  <a:pt x="69" y="24"/>
                </a:cubicBezTo>
                <a:cubicBezTo>
                  <a:pt x="68" y="25"/>
                  <a:pt x="68" y="25"/>
                  <a:pt x="68" y="25"/>
                </a:cubicBezTo>
                <a:cubicBezTo>
                  <a:pt x="67" y="25"/>
                  <a:pt x="67" y="25"/>
                  <a:pt x="67" y="25"/>
                </a:cubicBezTo>
                <a:cubicBezTo>
                  <a:pt x="65" y="27"/>
                  <a:pt x="65" y="27"/>
                  <a:pt x="65" y="27"/>
                </a:cubicBezTo>
                <a:cubicBezTo>
                  <a:pt x="64" y="28"/>
                  <a:pt x="64" y="28"/>
                  <a:pt x="64" y="28"/>
                </a:cubicBezTo>
                <a:cubicBezTo>
                  <a:pt x="63" y="29"/>
                  <a:pt x="63" y="29"/>
                  <a:pt x="63" y="29"/>
                </a:cubicBezTo>
                <a:cubicBezTo>
                  <a:pt x="63" y="28"/>
                  <a:pt x="63" y="28"/>
                  <a:pt x="63" y="28"/>
                </a:cubicBezTo>
                <a:cubicBezTo>
                  <a:pt x="62" y="29"/>
                  <a:pt x="62" y="29"/>
                  <a:pt x="62" y="29"/>
                </a:cubicBezTo>
                <a:cubicBezTo>
                  <a:pt x="61" y="28"/>
                  <a:pt x="61" y="28"/>
                  <a:pt x="61" y="28"/>
                </a:cubicBezTo>
                <a:cubicBezTo>
                  <a:pt x="60" y="28"/>
                  <a:pt x="60" y="28"/>
                  <a:pt x="60" y="28"/>
                </a:cubicBezTo>
                <a:cubicBezTo>
                  <a:pt x="59" y="29"/>
                  <a:pt x="59" y="29"/>
                  <a:pt x="59" y="29"/>
                </a:cubicBezTo>
                <a:cubicBezTo>
                  <a:pt x="58" y="29"/>
                  <a:pt x="58" y="29"/>
                  <a:pt x="58" y="29"/>
                </a:cubicBezTo>
                <a:cubicBezTo>
                  <a:pt x="58" y="28"/>
                  <a:pt x="58" y="28"/>
                  <a:pt x="58" y="28"/>
                </a:cubicBezTo>
                <a:cubicBezTo>
                  <a:pt x="58" y="27"/>
                  <a:pt x="58" y="27"/>
                  <a:pt x="58" y="27"/>
                </a:cubicBezTo>
                <a:cubicBezTo>
                  <a:pt x="57" y="26"/>
                  <a:pt x="57" y="26"/>
                  <a:pt x="57" y="26"/>
                </a:cubicBezTo>
                <a:cubicBezTo>
                  <a:pt x="57" y="27"/>
                  <a:pt x="57" y="27"/>
                  <a:pt x="57" y="27"/>
                </a:cubicBezTo>
                <a:cubicBezTo>
                  <a:pt x="57" y="28"/>
                  <a:pt x="57" y="28"/>
                  <a:pt x="57" y="28"/>
                </a:cubicBezTo>
                <a:cubicBezTo>
                  <a:pt x="56" y="28"/>
                  <a:pt x="56" y="28"/>
                  <a:pt x="56" y="28"/>
                </a:cubicBezTo>
                <a:cubicBezTo>
                  <a:pt x="55" y="28"/>
                  <a:pt x="55" y="28"/>
                  <a:pt x="55" y="28"/>
                </a:cubicBezTo>
                <a:cubicBezTo>
                  <a:pt x="53" y="29"/>
                  <a:pt x="53" y="29"/>
                  <a:pt x="53" y="29"/>
                </a:cubicBezTo>
                <a:cubicBezTo>
                  <a:pt x="52" y="29"/>
                  <a:pt x="52" y="29"/>
                  <a:pt x="52" y="29"/>
                </a:cubicBezTo>
                <a:cubicBezTo>
                  <a:pt x="51" y="28"/>
                  <a:pt x="51" y="28"/>
                  <a:pt x="51" y="28"/>
                </a:cubicBezTo>
                <a:cubicBezTo>
                  <a:pt x="50" y="28"/>
                  <a:pt x="50" y="28"/>
                  <a:pt x="50" y="28"/>
                </a:cubicBezTo>
                <a:cubicBezTo>
                  <a:pt x="49" y="28"/>
                  <a:pt x="49" y="28"/>
                  <a:pt x="49" y="28"/>
                </a:cubicBezTo>
                <a:cubicBezTo>
                  <a:pt x="47" y="28"/>
                  <a:pt x="47" y="28"/>
                  <a:pt x="47" y="28"/>
                </a:cubicBezTo>
                <a:close/>
                <a:moveTo>
                  <a:pt x="43" y="29"/>
                </a:moveTo>
                <a:cubicBezTo>
                  <a:pt x="44" y="28"/>
                  <a:pt x="44" y="28"/>
                  <a:pt x="44" y="28"/>
                </a:cubicBezTo>
                <a:cubicBezTo>
                  <a:pt x="45" y="29"/>
                  <a:pt x="45" y="29"/>
                  <a:pt x="45" y="29"/>
                </a:cubicBezTo>
                <a:cubicBezTo>
                  <a:pt x="45" y="30"/>
                  <a:pt x="45" y="30"/>
                  <a:pt x="45" y="30"/>
                </a:cubicBezTo>
                <a:cubicBezTo>
                  <a:pt x="45" y="31"/>
                  <a:pt x="45" y="31"/>
                  <a:pt x="45" y="31"/>
                </a:cubicBezTo>
                <a:cubicBezTo>
                  <a:pt x="44" y="30"/>
                  <a:pt x="44" y="30"/>
                  <a:pt x="44" y="30"/>
                </a:cubicBezTo>
                <a:cubicBezTo>
                  <a:pt x="43" y="29"/>
                  <a:pt x="43" y="29"/>
                  <a:pt x="43" y="29"/>
                </a:cubicBezTo>
                <a:close/>
                <a:moveTo>
                  <a:pt x="39" y="27"/>
                </a:moveTo>
                <a:cubicBezTo>
                  <a:pt x="39" y="28"/>
                  <a:pt x="39" y="28"/>
                  <a:pt x="39" y="28"/>
                </a:cubicBezTo>
                <a:cubicBezTo>
                  <a:pt x="39" y="28"/>
                  <a:pt x="39" y="28"/>
                  <a:pt x="39" y="28"/>
                </a:cubicBezTo>
                <a:cubicBezTo>
                  <a:pt x="40" y="28"/>
                  <a:pt x="40" y="28"/>
                  <a:pt x="40" y="28"/>
                </a:cubicBezTo>
                <a:cubicBezTo>
                  <a:pt x="40" y="27"/>
                  <a:pt x="40" y="27"/>
                  <a:pt x="40" y="27"/>
                </a:cubicBezTo>
                <a:cubicBezTo>
                  <a:pt x="39" y="27"/>
                  <a:pt x="39" y="27"/>
                  <a:pt x="39" y="27"/>
                </a:cubicBezTo>
                <a:close/>
                <a:moveTo>
                  <a:pt x="33" y="22"/>
                </a:moveTo>
                <a:cubicBezTo>
                  <a:pt x="32" y="23"/>
                  <a:pt x="32" y="23"/>
                  <a:pt x="32" y="23"/>
                </a:cubicBezTo>
                <a:cubicBezTo>
                  <a:pt x="32" y="24"/>
                  <a:pt x="32" y="24"/>
                  <a:pt x="32" y="24"/>
                </a:cubicBezTo>
                <a:cubicBezTo>
                  <a:pt x="33" y="23"/>
                  <a:pt x="33" y="23"/>
                  <a:pt x="33" y="23"/>
                </a:cubicBezTo>
                <a:cubicBezTo>
                  <a:pt x="33" y="22"/>
                  <a:pt x="33" y="22"/>
                  <a:pt x="33" y="22"/>
                </a:cubicBezTo>
                <a:close/>
                <a:moveTo>
                  <a:pt x="73" y="51"/>
                </a:moveTo>
                <a:cubicBezTo>
                  <a:pt x="73" y="52"/>
                  <a:pt x="73" y="52"/>
                  <a:pt x="73" y="52"/>
                </a:cubicBezTo>
                <a:cubicBezTo>
                  <a:pt x="73" y="53"/>
                  <a:pt x="73" y="53"/>
                  <a:pt x="73" y="53"/>
                </a:cubicBezTo>
                <a:cubicBezTo>
                  <a:pt x="74" y="53"/>
                  <a:pt x="74" y="53"/>
                  <a:pt x="74" y="53"/>
                </a:cubicBezTo>
                <a:cubicBezTo>
                  <a:pt x="75" y="54"/>
                  <a:pt x="75" y="54"/>
                  <a:pt x="75" y="54"/>
                </a:cubicBezTo>
                <a:cubicBezTo>
                  <a:pt x="75" y="53"/>
                  <a:pt x="75" y="53"/>
                  <a:pt x="75" y="53"/>
                </a:cubicBezTo>
                <a:cubicBezTo>
                  <a:pt x="73" y="51"/>
                  <a:pt x="73" y="51"/>
                  <a:pt x="73" y="51"/>
                </a:cubicBezTo>
                <a:close/>
                <a:moveTo>
                  <a:pt x="64" y="47"/>
                </a:moveTo>
                <a:cubicBezTo>
                  <a:pt x="63" y="48"/>
                  <a:pt x="63" y="48"/>
                  <a:pt x="63" y="48"/>
                </a:cubicBezTo>
                <a:cubicBezTo>
                  <a:pt x="64" y="49"/>
                  <a:pt x="64" y="49"/>
                  <a:pt x="64" y="49"/>
                </a:cubicBezTo>
                <a:cubicBezTo>
                  <a:pt x="64" y="49"/>
                  <a:pt x="64" y="49"/>
                  <a:pt x="64" y="49"/>
                </a:cubicBezTo>
                <a:cubicBezTo>
                  <a:pt x="64" y="50"/>
                  <a:pt x="64" y="50"/>
                  <a:pt x="64" y="50"/>
                </a:cubicBezTo>
                <a:cubicBezTo>
                  <a:pt x="64" y="50"/>
                  <a:pt x="64" y="50"/>
                  <a:pt x="64" y="50"/>
                </a:cubicBezTo>
                <a:cubicBezTo>
                  <a:pt x="64" y="50"/>
                  <a:pt x="64" y="50"/>
                  <a:pt x="64" y="50"/>
                </a:cubicBezTo>
                <a:cubicBezTo>
                  <a:pt x="65" y="49"/>
                  <a:pt x="65" y="49"/>
                  <a:pt x="65" y="49"/>
                </a:cubicBezTo>
                <a:cubicBezTo>
                  <a:pt x="64" y="47"/>
                  <a:pt x="64" y="47"/>
                  <a:pt x="64" y="47"/>
                </a:cubicBezTo>
                <a:cubicBezTo>
                  <a:pt x="64" y="47"/>
                  <a:pt x="64" y="47"/>
                  <a:pt x="64" y="47"/>
                </a:cubicBezTo>
                <a:close/>
                <a:moveTo>
                  <a:pt x="61" y="57"/>
                </a:moveTo>
                <a:cubicBezTo>
                  <a:pt x="62" y="57"/>
                  <a:pt x="62" y="57"/>
                  <a:pt x="62" y="57"/>
                </a:cubicBezTo>
                <a:cubicBezTo>
                  <a:pt x="62" y="57"/>
                  <a:pt x="62" y="57"/>
                  <a:pt x="62" y="57"/>
                </a:cubicBezTo>
                <a:cubicBezTo>
                  <a:pt x="63" y="58"/>
                  <a:pt x="63" y="58"/>
                  <a:pt x="63" y="58"/>
                </a:cubicBezTo>
                <a:cubicBezTo>
                  <a:pt x="63" y="58"/>
                  <a:pt x="63" y="58"/>
                  <a:pt x="63" y="58"/>
                </a:cubicBezTo>
                <a:cubicBezTo>
                  <a:pt x="63" y="58"/>
                  <a:pt x="63" y="58"/>
                  <a:pt x="63" y="58"/>
                </a:cubicBezTo>
                <a:cubicBezTo>
                  <a:pt x="64" y="58"/>
                  <a:pt x="64" y="58"/>
                  <a:pt x="64" y="58"/>
                </a:cubicBezTo>
                <a:cubicBezTo>
                  <a:pt x="65" y="58"/>
                  <a:pt x="65" y="58"/>
                  <a:pt x="65" y="58"/>
                </a:cubicBezTo>
                <a:cubicBezTo>
                  <a:pt x="65" y="58"/>
                  <a:pt x="65" y="58"/>
                  <a:pt x="65" y="58"/>
                </a:cubicBezTo>
                <a:cubicBezTo>
                  <a:pt x="64" y="59"/>
                  <a:pt x="64" y="59"/>
                  <a:pt x="64" y="59"/>
                </a:cubicBezTo>
                <a:cubicBezTo>
                  <a:pt x="64" y="59"/>
                  <a:pt x="64" y="59"/>
                  <a:pt x="64" y="59"/>
                </a:cubicBezTo>
                <a:cubicBezTo>
                  <a:pt x="63" y="59"/>
                  <a:pt x="63" y="59"/>
                  <a:pt x="63" y="59"/>
                </a:cubicBezTo>
                <a:cubicBezTo>
                  <a:pt x="62" y="59"/>
                  <a:pt x="62" y="59"/>
                  <a:pt x="62" y="59"/>
                </a:cubicBezTo>
                <a:cubicBezTo>
                  <a:pt x="62" y="58"/>
                  <a:pt x="62" y="58"/>
                  <a:pt x="62" y="58"/>
                </a:cubicBezTo>
                <a:cubicBezTo>
                  <a:pt x="62" y="58"/>
                  <a:pt x="62" y="58"/>
                  <a:pt x="62" y="58"/>
                </a:cubicBezTo>
                <a:cubicBezTo>
                  <a:pt x="62" y="57"/>
                  <a:pt x="62" y="57"/>
                  <a:pt x="62" y="57"/>
                </a:cubicBezTo>
                <a:cubicBezTo>
                  <a:pt x="61" y="57"/>
                  <a:pt x="61" y="57"/>
                  <a:pt x="61" y="57"/>
                </a:cubicBezTo>
                <a:cubicBezTo>
                  <a:pt x="61" y="57"/>
                  <a:pt x="61" y="57"/>
                  <a:pt x="61" y="57"/>
                </a:cubicBezTo>
                <a:close/>
                <a:moveTo>
                  <a:pt x="60" y="55"/>
                </a:moveTo>
                <a:cubicBezTo>
                  <a:pt x="60" y="56"/>
                  <a:pt x="60" y="56"/>
                  <a:pt x="60" y="56"/>
                </a:cubicBezTo>
                <a:cubicBezTo>
                  <a:pt x="61" y="56"/>
                  <a:pt x="61" y="56"/>
                  <a:pt x="61" y="56"/>
                </a:cubicBezTo>
                <a:cubicBezTo>
                  <a:pt x="62" y="56"/>
                  <a:pt x="62" y="56"/>
                  <a:pt x="62" y="56"/>
                </a:cubicBezTo>
                <a:cubicBezTo>
                  <a:pt x="62" y="56"/>
                  <a:pt x="62" y="56"/>
                  <a:pt x="62" y="56"/>
                </a:cubicBezTo>
                <a:cubicBezTo>
                  <a:pt x="62" y="56"/>
                  <a:pt x="62" y="56"/>
                  <a:pt x="62" y="56"/>
                </a:cubicBezTo>
                <a:cubicBezTo>
                  <a:pt x="62" y="55"/>
                  <a:pt x="62" y="55"/>
                  <a:pt x="62" y="55"/>
                </a:cubicBezTo>
                <a:cubicBezTo>
                  <a:pt x="62" y="55"/>
                  <a:pt x="62" y="55"/>
                  <a:pt x="62" y="55"/>
                </a:cubicBezTo>
                <a:cubicBezTo>
                  <a:pt x="62" y="55"/>
                  <a:pt x="62" y="55"/>
                  <a:pt x="62" y="55"/>
                </a:cubicBezTo>
                <a:cubicBezTo>
                  <a:pt x="61" y="55"/>
                  <a:pt x="61" y="55"/>
                  <a:pt x="61" y="55"/>
                </a:cubicBezTo>
                <a:cubicBezTo>
                  <a:pt x="61" y="55"/>
                  <a:pt x="61" y="55"/>
                  <a:pt x="61" y="55"/>
                </a:cubicBezTo>
                <a:cubicBezTo>
                  <a:pt x="60" y="54"/>
                  <a:pt x="60" y="54"/>
                  <a:pt x="60" y="54"/>
                </a:cubicBezTo>
                <a:cubicBezTo>
                  <a:pt x="60" y="55"/>
                  <a:pt x="60" y="55"/>
                  <a:pt x="60" y="55"/>
                </a:cubicBezTo>
                <a:close/>
                <a:moveTo>
                  <a:pt x="57" y="54"/>
                </a:moveTo>
                <a:cubicBezTo>
                  <a:pt x="58" y="55"/>
                  <a:pt x="58" y="55"/>
                  <a:pt x="58" y="55"/>
                </a:cubicBezTo>
                <a:cubicBezTo>
                  <a:pt x="58" y="55"/>
                  <a:pt x="58" y="55"/>
                  <a:pt x="58" y="55"/>
                </a:cubicBezTo>
                <a:cubicBezTo>
                  <a:pt x="59" y="55"/>
                  <a:pt x="59" y="55"/>
                  <a:pt x="59" y="55"/>
                </a:cubicBezTo>
                <a:cubicBezTo>
                  <a:pt x="59" y="55"/>
                  <a:pt x="59" y="55"/>
                  <a:pt x="59" y="55"/>
                </a:cubicBezTo>
                <a:cubicBezTo>
                  <a:pt x="59" y="55"/>
                  <a:pt x="59" y="55"/>
                  <a:pt x="59" y="55"/>
                </a:cubicBezTo>
                <a:cubicBezTo>
                  <a:pt x="59" y="53"/>
                  <a:pt x="59" y="53"/>
                  <a:pt x="59" y="53"/>
                </a:cubicBezTo>
                <a:cubicBezTo>
                  <a:pt x="58" y="53"/>
                  <a:pt x="58" y="53"/>
                  <a:pt x="58" y="53"/>
                </a:cubicBezTo>
                <a:cubicBezTo>
                  <a:pt x="57" y="54"/>
                  <a:pt x="57" y="54"/>
                  <a:pt x="57" y="54"/>
                </a:cubicBezTo>
                <a:close/>
                <a:moveTo>
                  <a:pt x="26" y="43"/>
                </a:moveTo>
                <a:cubicBezTo>
                  <a:pt x="25" y="43"/>
                  <a:pt x="25" y="43"/>
                  <a:pt x="25" y="43"/>
                </a:cubicBezTo>
                <a:cubicBezTo>
                  <a:pt x="26" y="44"/>
                  <a:pt x="26" y="44"/>
                  <a:pt x="26" y="44"/>
                </a:cubicBezTo>
                <a:cubicBezTo>
                  <a:pt x="26" y="44"/>
                  <a:pt x="26" y="43"/>
                  <a:pt x="26" y="43"/>
                </a:cubicBezTo>
                <a:close/>
                <a:moveTo>
                  <a:pt x="23" y="43"/>
                </a:moveTo>
                <a:cubicBezTo>
                  <a:pt x="23" y="43"/>
                  <a:pt x="23" y="43"/>
                  <a:pt x="23" y="43"/>
                </a:cubicBezTo>
                <a:cubicBezTo>
                  <a:pt x="24" y="43"/>
                  <a:pt x="24" y="43"/>
                  <a:pt x="24" y="43"/>
                </a:cubicBezTo>
                <a:cubicBezTo>
                  <a:pt x="23" y="43"/>
                  <a:pt x="23" y="43"/>
                  <a:pt x="23" y="43"/>
                </a:cubicBezTo>
                <a:close/>
                <a:moveTo>
                  <a:pt x="21" y="43"/>
                </a:moveTo>
                <a:cubicBezTo>
                  <a:pt x="21" y="44"/>
                  <a:pt x="21" y="44"/>
                  <a:pt x="21" y="44"/>
                </a:cubicBezTo>
                <a:cubicBezTo>
                  <a:pt x="22" y="44"/>
                  <a:pt x="22" y="44"/>
                  <a:pt x="22" y="44"/>
                </a:cubicBezTo>
                <a:cubicBezTo>
                  <a:pt x="22" y="43"/>
                  <a:pt x="22" y="43"/>
                  <a:pt x="22" y="43"/>
                </a:cubicBezTo>
                <a:cubicBezTo>
                  <a:pt x="21" y="43"/>
                  <a:pt x="21" y="43"/>
                  <a:pt x="21" y="43"/>
                </a:cubicBezTo>
                <a:close/>
                <a:moveTo>
                  <a:pt x="23" y="43"/>
                </a:moveTo>
                <a:cubicBezTo>
                  <a:pt x="22" y="43"/>
                  <a:pt x="22" y="43"/>
                  <a:pt x="22" y="43"/>
                </a:cubicBezTo>
                <a:cubicBezTo>
                  <a:pt x="22" y="42"/>
                  <a:pt x="22" y="42"/>
                  <a:pt x="22" y="42"/>
                </a:cubicBezTo>
                <a:cubicBezTo>
                  <a:pt x="23" y="42"/>
                  <a:pt x="23" y="42"/>
                  <a:pt x="23" y="42"/>
                </a:cubicBezTo>
                <a:cubicBezTo>
                  <a:pt x="23" y="43"/>
                  <a:pt x="23" y="43"/>
                  <a:pt x="23" y="43"/>
                </a:cubicBezTo>
                <a:cubicBezTo>
                  <a:pt x="23" y="43"/>
                  <a:pt x="23" y="43"/>
                  <a:pt x="23" y="43"/>
                </a:cubicBezTo>
                <a:close/>
                <a:moveTo>
                  <a:pt x="18" y="43"/>
                </a:moveTo>
                <a:cubicBezTo>
                  <a:pt x="19" y="44"/>
                  <a:pt x="19" y="44"/>
                  <a:pt x="19" y="44"/>
                </a:cubicBezTo>
                <a:cubicBezTo>
                  <a:pt x="19" y="44"/>
                  <a:pt x="19" y="44"/>
                  <a:pt x="19" y="44"/>
                </a:cubicBezTo>
                <a:cubicBezTo>
                  <a:pt x="19" y="44"/>
                  <a:pt x="19" y="44"/>
                  <a:pt x="19" y="44"/>
                </a:cubicBezTo>
                <a:cubicBezTo>
                  <a:pt x="18" y="43"/>
                  <a:pt x="18" y="43"/>
                  <a:pt x="18" y="43"/>
                </a:cubicBezTo>
                <a:close/>
                <a:moveTo>
                  <a:pt x="16" y="48"/>
                </a:moveTo>
                <a:cubicBezTo>
                  <a:pt x="17" y="48"/>
                  <a:pt x="17" y="48"/>
                  <a:pt x="17" y="48"/>
                </a:cubicBezTo>
                <a:cubicBezTo>
                  <a:pt x="18" y="48"/>
                  <a:pt x="18" y="48"/>
                  <a:pt x="18" y="48"/>
                </a:cubicBezTo>
                <a:cubicBezTo>
                  <a:pt x="18" y="48"/>
                  <a:pt x="18" y="48"/>
                  <a:pt x="18" y="48"/>
                </a:cubicBezTo>
                <a:cubicBezTo>
                  <a:pt x="18" y="48"/>
                  <a:pt x="16" y="48"/>
                  <a:pt x="16" y="48"/>
                </a:cubicBezTo>
                <a:close/>
                <a:moveTo>
                  <a:pt x="16" y="49"/>
                </a:moveTo>
                <a:cubicBezTo>
                  <a:pt x="17" y="49"/>
                  <a:pt x="17" y="49"/>
                  <a:pt x="17" y="49"/>
                </a:cubicBezTo>
                <a:cubicBezTo>
                  <a:pt x="17" y="49"/>
                  <a:pt x="17" y="49"/>
                  <a:pt x="17" y="49"/>
                </a:cubicBezTo>
                <a:cubicBezTo>
                  <a:pt x="16" y="49"/>
                  <a:pt x="16" y="49"/>
                  <a:pt x="16" y="49"/>
                </a:cubicBezTo>
                <a:close/>
                <a:moveTo>
                  <a:pt x="15" y="48"/>
                </a:moveTo>
                <a:cubicBezTo>
                  <a:pt x="15" y="49"/>
                  <a:pt x="15" y="49"/>
                  <a:pt x="15" y="49"/>
                </a:cubicBezTo>
                <a:cubicBezTo>
                  <a:pt x="16" y="48"/>
                  <a:pt x="16" y="48"/>
                  <a:pt x="16" y="48"/>
                </a:cubicBezTo>
                <a:cubicBezTo>
                  <a:pt x="15" y="48"/>
                  <a:pt x="15" y="48"/>
                  <a:pt x="15" y="48"/>
                </a:cubicBezTo>
                <a:close/>
                <a:moveTo>
                  <a:pt x="14" y="49"/>
                </a:moveTo>
                <a:cubicBezTo>
                  <a:pt x="14" y="49"/>
                  <a:pt x="16" y="50"/>
                  <a:pt x="16" y="50"/>
                </a:cubicBezTo>
                <a:cubicBezTo>
                  <a:pt x="17" y="51"/>
                  <a:pt x="17" y="51"/>
                  <a:pt x="17" y="51"/>
                </a:cubicBezTo>
                <a:cubicBezTo>
                  <a:pt x="14" y="49"/>
                  <a:pt x="14" y="49"/>
                  <a:pt x="14" y="49"/>
                </a:cubicBezTo>
                <a:close/>
                <a:moveTo>
                  <a:pt x="16" y="46"/>
                </a:moveTo>
                <a:cubicBezTo>
                  <a:pt x="17" y="46"/>
                  <a:pt x="17" y="46"/>
                  <a:pt x="17" y="46"/>
                </a:cubicBezTo>
                <a:cubicBezTo>
                  <a:pt x="17" y="46"/>
                  <a:pt x="17" y="46"/>
                  <a:pt x="17" y="46"/>
                </a:cubicBezTo>
                <a:cubicBezTo>
                  <a:pt x="16" y="46"/>
                  <a:pt x="16" y="46"/>
                  <a:pt x="16" y="46"/>
                </a:cubicBezTo>
                <a:cubicBezTo>
                  <a:pt x="16" y="46"/>
                  <a:pt x="16" y="46"/>
                  <a:pt x="16" y="46"/>
                </a:cubicBezTo>
                <a:close/>
                <a:moveTo>
                  <a:pt x="18" y="46"/>
                </a:moveTo>
                <a:cubicBezTo>
                  <a:pt x="17" y="45"/>
                  <a:pt x="17" y="45"/>
                  <a:pt x="17" y="45"/>
                </a:cubicBezTo>
                <a:cubicBezTo>
                  <a:pt x="17" y="44"/>
                  <a:pt x="17" y="44"/>
                  <a:pt x="17" y="44"/>
                </a:cubicBezTo>
                <a:cubicBezTo>
                  <a:pt x="18" y="44"/>
                  <a:pt x="18" y="44"/>
                  <a:pt x="18" y="44"/>
                </a:cubicBezTo>
                <a:cubicBezTo>
                  <a:pt x="18" y="45"/>
                  <a:pt x="18" y="45"/>
                  <a:pt x="18" y="45"/>
                </a:cubicBezTo>
                <a:cubicBezTo>
                  <a:pt x="18" y="46"/>
                  <a:pt x="18" y="46"/>
                  <a:pt x="18" y="46"/>
                </a:cubicBezTo>
                <a:cubicBezTo>
                  <a:pt x="18" y="46"/>
                  <a:pt x="18" y="46"/>
                  <a:pt x="18" y="46"/>
                </a:cubicBezTo>
                <a:close/>
                <a:moveTo>
                  <a:pt x="1" y="10"/>
                </a:moveTo>
                <a:cubicBezTo>
                  <a:pt x="0" y="34"/>
                  <a:pt x="0" y="34"/>
                  <a:pt x="0" y="34"/>
                </a:cubicBezTo>
                <a:cubicBezTo>
                  <a:pt x="0" y="36"/>
                  <a:pt x="0" y="36"/>
                  <a:pt x="0" y="36"/>
                </a:cubicBezTo>
                <a:cubicBezTo>
                  <a:pt x="0" y="37"/>
                  <a:pt x="0" y="37"/>
                  <a:pt x="0" y="37"/>
                </a:cubicBezTo>
                <a:cubicBezTo>
                  <a:pt x="0" y="37"/>
                  <a:pt x="0" y="37"/>
                  <a:pt x="0" y="37"/>
                </a:cubicBezTo>
                <a:cubicBezTo>
                  <a:pt x="0" y="52"/>
                  <a:pt x="0" y="52"/>
                  <a:pt x="0" y="52"/>
                </a:cubicBezTo>
                <a:cubicBezTo>
                  <a:pt x="2" y="52"/>
                  <a:pt x="2" y="52"/>
                  <a:pt x="2" y="52"/>
                </a:cubicBezTo>
                <a:cubicBezTo>
                  <a:pt x="3" y="53"/>
                  <a:pt x="3" y="53"/>
                  <a:pt x="3" y="53"/>
                </a:cubicBezTo>
                <a:cubicBezTo>
                  <a:pt x="4" y="52"/>
                  <a:pt x="4" y="52"/>
                  <a:pt x="4" y="52"/>
                </a:cubicBezTo>
                <a:cubicBezTo>
                  <a:pt x="7" y="53"/>
                  <a:pt x="7" y="53"/>
                  <a:pt x="7" y="53"/>
                </a:cubicBezTo>
                <a:cubicBezTo>
                  <a:pt x="8" y="52"/>
                  <a:pt x="8" y="52"/>
                  <a:pt x="8" y="52"/>
                </a:cubicBezTo>
                <a:cubicBezTo>
                  <a:pt x="8" y="53"/>
                  <a:pt x="8" y="53"/>
                  <a:pt x="8" y="53"/>
                </a:cubicBezTo>
                <a:cubicBezTo>
                  <a:pt x="9" y="54"/>
                  <a:pt x="9" y="54"/>
                  <a:pt x="9" y="54"/>
                </a:cubicBezTo>
                <a:cubicBezTo>
                  <a:pt x="10" y="54"/>
                  <a:pt x="10" y="54"/>
                  <a:pt x="10" y="54"/>
                </a:cubicBezTo>
                <a:cubicBezTo>
                  <a:pt x="11" y="53"/>
                  <a:pt x="11" y="53"/>
                  <a:pt x="11" y="53"/>
                </a:cubicBezTo>
                <a:cubicBezTo>
                  <a:pt x="13" y="53"/>
                  <a:pt x="13" y="53"/>
                  <a:pt x="13" y="53"/>
                </a:cubicBezTo>
                <a:cubicBezTo>
                  <a:pt x="14" y="52"/>
                  <a:pt x="14" y="52"/>
                  <a:pt x="14" y="52"/>
                </a:cubicBezTo>
                <a:cubicBezTo>
                  <a:pt x="14" y="53"/>
                  <a:pt x="14" y="53"/>
                  <a:pt x="14" y="53"/>
                </a:cubicBezTo>
                <a:cubicBezTo>
                  <a:pt x="15" y="52"/>
                  <a:pt x="15" y="52"/>
                  <a:pt x="15" y="52"/>
                </a:cubicBezTo>
                <a:cubicBezTo>
                  <a:pt x="15" y="50"/>
                  <a:pt x="15" y="50"/>
                  <a:pt x="15" y="50"/>
                </a:cubicBezTo>
                <a:cubicBezTo>
                  <a:pt x="13" y="49"/>
                  <a:pt x="13" y="49"/>
                  <a:pt x="13" y="49"/>
                </a:cubicBezTo>
                <a:cubicBezTo>
                  <a:pt x="11" y="48"/>
                  <a:pt x="11" y="48"/>
                  <a:pt x="11" y="48"/>
                </a:cubicBezTo>
                <a:cubicBezTo>
                  <a:pt x="10" y="48"/>
                  <a:pt x="10" y="48"/>
                  <a:pt x="10" y="48"/>
                </a:cubicBezTo>
                <a:cubicBezTo>
                  <a:pt x="9" y="47"/>
                  <a:pt x="9" y="47"/>
                  <a:pt x="9" y="47"/>
                </a:cubicBezTo>
                <a:cubicBezTo>
                  <a:pt x="8" y="47"/>
                  <a:pt x="8" y="47"/>
                  <a:pt x="8" y="47"/>
                </a:cubicBezTo>
                <a:cubicBezTo>
                  <a:pt x="8" y="47"/>
                  <a:pt x="8" y="47"/>
                  <a:pt x="8" y="47"/>
                </a:cubicBezTo>
                <a:cubicBezTo>
                  <a:pt x="7" y="47"/>
                  <a:pt x="7" y="47"/>
                  <a:pt x="7" y="47"/>
                </a:cubicBezTo>
                <a:cubicBezTo>
                  <a:pt x="7" y="45"/>
                  <a:pt x="7" y="45"/>
                  <a:pt x="7" y="45"/>
                </a:cubicBezTo>
                <a:cubicBezTo>
                  <a:pt x="6" y="44"/>
                  <a:pt x="6" y="44"/>
                  <a:pt x="6" y="44"/>
                </a:cubicBezTo>
                <a:cubicBezTo>
                  <a:pt x="5" y="43"/>
                  <a:pt x="5" y="43"/>
                  <a:pt x="5" y="43"/>
                </a:cubicBezTo>
                <a:cubicBezTo>
                  <a:pt x="4" y="42"/>
                  <a:pt x="4" y="42"/>
                  <a:pt x="4" y="42"/>
                </a:cubicBezTo>
                <a:cubicBezTo>
                  <a:pt x="4" y="42"/>
                  <a:pt x="4" y="42"/>
                  <a:pt x="4" y="42"/>
                </a:cubicBezTo>
                <a:cubicBezTo>
                  <a:pt x="4" y="42"/>
                  <a:pt x="4" y="42"/>
                  <a:pt x="4" y="42"/>
                </a:cubicBezTo>
                <a:cubicBezTo>
                  <a:pt x="5" y="43"/>
                  <a:pt x="5" y="43"/>
                  <a:pt x="5" y="43"/>
                </a:cubicBezTo>
                <a:cubicBezTo>
                  <a:pt x="5" y="43"/>
                  <a:pt x="5" y="43"/>
                  <a:pt x="5" y="43"/>
                </a:cubicBezTo>
                <a:cubicBezTo>
                  <a:pt x="7" y="44"/>
                  <a:pt x="7" y="44"/>
                  <a:pt x="7" y="44"/>
                </a:cubicBezTo>
                <a:cubicBezTo>
                  <a:pt x="7" y="45"/>
                  <a:pt x="7" y="45"/>
                  <a:pt x="7" y="45"/>
                </a:cubicBezTo>
                <a:cubicBezTo>
                  <a:pt x="7" y="46"/>
                  <a:pt x="7" y="46"/>
                  <a:pt x="7" y="46"/>
                </a:cubicBezTo>
                <a:cubicBezTo>
                  <a:pt x="8" y="46"/>
                  <a:pt x="8" y="46"/>
                  <a:pt x="8" y="46"/>
                </a:cubicBezTo>
                <a:cubicBezTo>
                  <a:pt x="9" y="47"/>
                  <a:pt x="9" y="47"/>
                  <a:pt x="9" y="47"/>
                </a:cubicBezTo>
                <a:cubicBezTo>
                  <a:pt x="10" y="48"/>
                  <a:pt x="10" y="48"/>
                  <a:pt x="10" y="48"/>
                </a:cubicBezTo>
                <a:cubicBezTo>
                  <a:pt x="11" y="48"/>
                  <a:pt x="11" y="48"/>
                  <a:pt x="11" y="48"/>
                </a:cubicBezTo>
                <a:cubicBezTo>
                  <a:pt x="12" y="48"/>
                  <a:pt x="12" y="48"/>
                  <a:pt x="12" y="48"/>
                </a:cubicBezTo>
                <a:cubicBezTo>
                  <a:pt x="14" y="47"/>
                  <a:pt x="14" y="47"/>
                  <a:pt x="14" y="47"/>
                </a:cubicBezTo>
                <a:cubicBezTo>
                  <a:pt x="15" y="47"/>
                  <a:pt x="15" y="47"/>
                  <a:pt x="15" y="47"/>
                </a:cubicBezTo>
                <a:cubicBezTo>
                  <a:pt x="16" y="47"/>
                  <a:pt x="16" y="47"/>
                  <a:pt x="16" y="47"/>
                </a:cubicBezTo>
                <a:cubicBezTo>
                  <a:pt x="16" y="46"/>
                  <a:pt x="16" y="46"/>
                  <a:pt x="16" y="46"/>
                </a:cubicBezTo>
                <a:cubicBezTo>
                  <a:pt x="15" y="46"/>
                  <a:pt x="15" y="46"/>
                  <a:pt x="15" y="46"/>
                </a:cubicBezTo>
                <a:cubicBezTo>
                  <a:pt x="15" y="45"/>
                  <a:pt x="15" y="45"/>
                  <a:pt x="15" y="45"/>
                </a:cubicBezTo>
                <a:cubicBezTo>
                  <a:pt x="14" y="45"/>
                  <a:pt x="14" y="45"/>
                  <a:pt x="14" y="45"/>
                </a:cubicBezTo>
                <a:cubicBezTo>
                  <a:pt x="13" y="44"/>
                  <a:pt x="13" y="44"/>
                  <a:pt x="13" y="44"/>
                </a:cubicBezTo>
                <a:cubicBezTo>
                  <a:pt x="14" y="45"/>
                  <a:pt x="14" y="45"/>
                  <a:pt x="14" y="45"/>
                </a:cubicBezTo>
                <a:cubicBezTo>
                  <a:pt x="15" y="44"/>
                  <a:pt x="15" y="44"/>
                  <a:pt x="15" y="44"/>
                </a:cubicBezTo>
                <a:cubicBezTo>
                  <a:pt x="16" y="46"/>
                  <a:pt x="16" y="46"/>
                  <a:pt x="16" y="46"/>
                </a:cubicBezTo>
                <a:cubicBezTo>
                  <a:pt x="17" y="46"/>
                  <a:pt x="17" y="46"/>
                  <a:pt x="17" y="46"/>
                </a:cubicBezTo>
                <a:cubicBezTo>
                  <a:pt x="17" y="45"/>
                  <a:pt x="17" y="45"/>
                  <a:pt x="17" y="45"/>
                </a:cubicBezTo>
                <a:cubicBezTo>
                  <a:pt x="17" y="44"/>
                  <a:pt x="17" y="44"/>
                  <a:pt x="17" y="44"/>
                </a:cubicBezTo>
                <a:cubicBezTo>
                  <a:pt x="17" y="44"/>
                  <a:pt x="17" y="44"/>
                  <a:pt x="17" y="44"/>
                </a:cubicBezTo>
                <a:cubicBezTo>
                  <a:pt x="18" y="43"/>
                  <a:pt x="18" y="43"/>
                  <a:pt x="18" y="43"/>
                </a:cubicBezTo>
                <a:cubicBezTo>
                  <a:pt x="17" y="42"/>
                  <a:pt x="17" y="42"/>
                  <a:pt x="17" y="42"/>
                </a:cubicBezTo>
                <a:cubicBezTo>
                  <a:pt x="17" y="41"/>
                  <a:pt x="17" y="41"/>
                  <a:pt x="17" y="41"/>
                </a:cubicBezTo>
                <a:cubicBezTo>
                  <a:pt x="17" y="41"/>
                  <a:pt x="17" y="41"/>
                  <a:pt x="17" y="41"/>
                </a:cubicBezTo>
                <a:cubicBezTo>
                  <a:pt x="18" y="41"/>
                  <a:pt x="18" y="41"/>
                  <a:pt x="18" y="41"/>
                </a:cubicBezTo>
                <a:cubicBezTo>
                  <a:pt x="18" y="42"/>
                  <a:pt x="18" y="42"/>
                  <a:pt x="18" y="42"/>
                </a:cubicBezTo>
                <a:cubicBezTo>
                  <a:pt x="19" y="43"/>
                  <a:pt x="19" y="43"/>
                  <a:pt x="19" y="43"/>
                </a:cubicBezTo>
                <a:cubicBezTo>
                  <a:pt x="20" y="43"/>
                  <a:pt x="20" y="43"/>
                  <a:pt x="20" y="43"/>
                </a:cubicBezTo>
                <a:cubicBezTo>
                  <a:pt x="20" y="43"/>
                  <a:pt x="20" y="43"/>
                  <a:pt x="20" y="43"/>
                </a:cubicBezTo>
                <a:cubicBezTo>
                  <a:pt x="20" y="42"/>
                  <a:pt x="20" y="42"/>
                  <a:pt x="20" y="42"/>
                </a:cubicBezTo>
                <a:cubicBezTo>
                  <a:pt x="20" y="42"/>
                  <a:pt x="20" y="42"/>
                  <a:pt x="20" y="42"/>
                </a:cubicBezTo>
                <a:cubicBezTo>
                  <a:pt x="21" y="43"/>
                  <a:pt x="21" y="43"/>
                  <a:pt x="21" y="43"/>
                </a:cubicBezTo>
                <a:cubicBezTo>
                  <a:pt x="21" y="43"/>
                  <a:pt x="21" y="43"/>
                  <a:pt x="21" y="43"/>
                </a:cubicBezTo>
                <a:cubicBezTo>
                  <a:pt x="21" y="42"/>
                  <a:pt x="21" y="42"/>
                  <a:pt x="21" y="42"/>
                </a:cubicBezTo>
                <a:cubicBezTo>
                  <a:pt x="21" y="42"/>
                  <a:pt x="21" y="42"/>
                  <a:pt x="21" y="42"/>
                </a:cubicBezTo>
                <a:cubicBezTo>
                  <a:pt x="21" y="40"/>
                  <a:pt x="21" y="40"/>
                  <a:pt x="21" y="40"/>
                </a:cubicBezTo>
                <a:cubicBezTo>
                  <a:pt x="22" y="41"/>
                  <a:pt x="22" y="41"/>
                  <a:pt x="22" y="41"/>
                </a:cubicBezTo>
                <a:cubicBezTo>
                  <a:pt x="23" y="42"/>
                  <a:pt x="23" y="42"/>
                  <a:pt x="23" y="42"/>
                </a:cubicBezTo>
                <a:cubicBezTo>
                  <a:pt x="24" y="42"/>
                  <a:pt x="24" y="42"/>
                  <a:pt x="24" y="42"/>
                </a:cubicBezTo>
                <a:cubicBezTo>
                  <a:pt x="24" y="43"/>
                  <a:pt x="24" y="43"/>
                  <a:pt x="24" y="43"/>
                </a:cubicBezTo>
                <a:cubicBezTo>
                  <a:pt x="25" y="43"/>
                  <a:pt x="25" y="43"/>
                  <a:pt x="25" y="43"/>
                </a:cubicBezTo>
                <a:cubicBezTo>
                  <a:pt x="26" y="43"/>
                  <a:pt x="26" y="43"/>
                  <a:pt x="26" y="43"/>
                </a:cubicBezTo>
                <a:cubicBezTo>
                  <a:pt x="26" y="42"/>
                  <a:pt x="26" y="42"/>
                  <a:pt x="26" y="42"/>
                </a:cubicBezTo>
                <a:cubicBezTo>
                  <a:pt x="26" y="43"/>
                  <a:pt x="26" y="43"/>
                  <a:pt x="26" y="43"/>
                </a:cubicBezTo>
                <a:cubicBezTo>
                  <a:pt x="26" y="44"/>
                  <a:pt x="26" y="44"/>
                  <a:pt x="26" y="44"/>
                </a:cubicBezTo>
                <a:cubicBezTo>
                  <a:pt x="27" y="44"/>
                  <a:pt x="27" y="44"/>
                  <a:pt x="27" y="44"/>
                </a:cubicBezTo>
                <a:cubicBezTo>
                  <a:pt x="28" y="45"/>
                  <a:pt x="28" y="45"/>
                  <a:pt x="28" y="45"/>
                </a:cubicBezTo>
                <a:cubicBezTo>
                  <a:pt x="31" y="46"/>
                  <a:pt x="31" y="46"/>
                  <a:pt x="31" y="46"/>
                </a:cubicBezTo>
                <a:cubicBezTo>
                  <a:pt x="32" y="46"/>
                  <a:pt x="32" y="46"/>
                  <a:pt x="32" y="46"/>
                </a:cubicBezTo>
                <a:cubicBezTo>
                  <a:pt x="33" y="47"/>
                  <a:pt x="33" y="47"/>
                  <a:pt x="33" y="47"/>
                </a:cubicBezTo>
                <a:cubicBezTo>
                  <a:pt x="34" y="49"/>
                  <a:pt x="34" y="49"/>
                  <a:pt x="34" y="49"/>
                </a:cubicBezTo>
                <a:cubicBezTo>
                  <a:pt x="35" y="51"/>
                  <a:pt x="35" y="51"/>
                  <a:pt x="35" y="51"/>
                </a:cubicBezTo>
                <a:cubicBezTo>
                  <a:pt x="35" y="52"/>
                  <a:pt x="35" y="52"/>
                  <a:pt x="35" y="52"/>
                </a:cubicBezTo>
                <a:cubicBezTo>
                  <a:pt x="37" y="52"/>
                  <a:pt x="37" y="52"/>
                  <a:pt x="37" y="52"/>
                </a:cubicBezTo>
                <a:cubicBezTo>
                  <a:pt x="37" y="53"/>
                  <a:pt x="37" y="53"/>
                  <a:pt x="37" y="53"/>
                </a:cubicBezTo>
                <a:cubicBezTo>
                  <a:pt x="38" y="54"/>
                  <a:pt x="38" y="54"/>
                  <a:pt x="38" y="54"/>
                </a:cubicBezTo>
                <a:cubicBezTo>
                  <a:pt x="40" y="57"/>
                  <a:pt x="40" y="57"/>
                  <a:pt x="40" y="57"/>
                </a:cubicBezTo>
                <a:cubicBezTo>
                  <a:pt x="41" y="58"/>
                  <a:pt x="41" y="58"/>
                  <a:pt x="41" y="58"/>
                </a:cubicBezTo>
                <a:cubicBezTo>
                  <a:pt x="42" y="59"/>
                  <a:pt x="42" y="59"/>
                  <a:pt x="42" y="59"/>
                </a:cubicBezTo>
                <a:cubicBezTo>
                  <a:pt x="43" y="59"/>
                  <a:pt x="43" y="59"/>
                  <a:pt x="43" y="59"/>
                </a:cubicBezTo>
                <a:cubicBezTo>
                  <a:pt x="44" y="59"/>
                  <a:pt x="44" y="59"/>
                  <a:pt x="44" y="59"/>
                </a:cubicBezTo>
                <a:cubicBezTo>
                  <a:pt x="45" y="59"/>
                  <a:pt x="45" y="59"/>
                  <a:pt x="45" y="59"/>
                </a:cubicBezTo>
                <a:cubicBezTo>
                  <a:pt x="46" y="60"/>
                  <a:pt x="46" y="60"/>
                  <a:pt x="46" y="60"/>
                </a:cubicBezTo>
                <a:cubicBezTo>
                  <a:pt x="48" y="59"/>
                  <a:pt x="48" y="59"/>
                  <a:pt x="48" y="59"/>
                </a:cubicBezTo>
                <a:cubicBezTo>
                  <a:pt x="49" y="60"/>
                  <a:pt x="49" y="60"/>
                  <a:pt x="49" y="60"/>
                </a:cubicBezTo>
                <a:cubicBezTo>
                  <a:pt x="50" y="60"/>
                  <a:pt x="50" y="60"/>
                  <a:pt x="50" y="60"/>
                </a:cubicBezTo>
                <a:cubicBezTo>
                  <a:pt x="52" y="60"/>
                  <a:pt x="52" y="60"/>
                  <a:pt x="52" y="60"/>
                </a:cubicBezTo>
                <a:cubicBezTo>
                  <a:pt x="53" y="61"/>
                  <a:pt x="53" y="61"/>
                  <a:pt x="53" y="61"/>
                </a:cubicBezTo>
                <a:cubicBezTo>
                  <a:pt x="54" y="60"/>
                  <a:pt x="54" y="60"/>
                  <a:pt x="54" y="60"/>
                </a:cubicBezTo>
                <a:cubicBezTo>
                  <a:pt x="55" y="61"/>
                  <a:pt x="55" y="61"/>
                  <a:pt x="55" y="61"/>
                </a:cubicBezTo>
                <a:cubicBezTo>
                  <a:pt x="56" y="61"/>
                  <a:pt x="56" y="61"/>
                  <a:pt x="56" y="61"/>
                </a:cubicBezTo>
                <a:cubicBezTo>
                  <a:pt x="56" y="61"/>
                  <a:pt x="56" y="61"/>
                  <a:pt x="56" y="61"/>
                </a:cubicBezTo>
                <a:cubicBezTo>
                  <a:pt x="56" y="62"/>
                  <a:pt x="56" y="62"/>
                  <a:pt x="56" y="62"/>
                </a:cubicBezTo>
                <a:cubicBezTo>
                  <a:pt x="57" y="62"/>
                  <a:pt x="57" y="62"/>
                  <a:pt x="57" y="62"/>
                </a:cubicBezTo>
                <a:cubicBezTo>
                  <a:pt x="58" y="63"/>
                  <a:pt x="58" y="63"/>
                  <a:pt x="58" y="63"/>
                </a:cubicBezTo>
                <a:cubicBezTo>
                  <a:pt x="60" y="63"/>
                  <a:pt x="60" y="63"/>
                  <a:pt x="60" y="63"/>
                </a:cubicBezTo>
                <a:cubicBezTo>
                  <a:pt x="60" y="62"/>
                  <a:pt x="60" y="62"/>
                  <a:pt x="60" y="62"/>
                </a:cubicBezTo>
                <a:cubicBezTo>
                  <a:pt x="59" y="61"/>
                  <a:pt x="59" y="61"/>
                  <a:pt x="59" y="61"/>
                </a:cubicBezTo>
                <a:cubicBezTo>
                  <a:pt x="58" y="61"/>
                  <a:pt x="58" y="61"/>
                  <a:pt x="58" y="61"/>
                </a:cubicBezTo>
                <a:cubicBezTo>
                  <a:pt x="58" y="60"/>
                  <a:pt x="58" y="60"/>
                  <a:pt x="58" y="60"/>
                </a:cubicBezTo>
                <a:cubicBezTo>
                  <a:pt x="59" y="60"/>
                  <a:pt x="59" y="60"/>
                  <a:pt x="59" y="60"/>
                </a:cubicBezTo>
                <a:cubicBezTo>
                  <a:pt x="60" y="61"/>
                  <a:pt x="60" y="61"/>
                  <a:pt x="60" y="61"/>
                </a:cubicBezTo>
                <a:cubicBezTo>
                  <a:pt x="61" y="60"/>
                  <a:pt x="61" y="60"/>
                  <a:pt x="61" y="60"/>
                </a:cubicBezTo>
                <a:cubicBezTo>
                  <a:pt x="59" y="59"/>
                  <a:pt x="59" y="59"/>
                  <a:pt x="59" y="59"/>
                </a:cubicBezTo>
                <a:cubicBezTo>
                  <a:pt x="56" y="59"/>
                  <a:pt x="56" y="59"/>
                  <a:pt x="56" y="59"/>
                </a:cubicBezTo>
                <a:cubicBezTo>
                  <a:pt x="55" y="58"/>
                  <a:pt x="55" y="58"/>
                  <a:pt x="55" y="58"/>
                </a:cubicBezTo>
                <a:cubicBezTo>
                  <a:pt x="54" y="57"/>
                  <a:pt x="54" y="57"/>
                  <a:pt x="54" y="57"/>
                </a:cubicBezTo>
                <a:cubicBezTo>
                  <a:pt x="56" y="57"/>
                  <a:pt x="56" y="57"/>
                  <a:pt x="56" y="57"/>
                </a:cubicBezTo>
                <a:cubicBezTo>
                  <a:pt x="56" y="57"/>
                  <a:pt x="56" y="57"/>
                  <a:pt x="56" y="57"/>
                </a:cubicBezTo>
                <a:cubicBezTo>
                  <a:pt x="57" y="56"/>
                  <a:pt x="57" y="56"/>
                  <a:pt x="57" y="56"/>
                </a:cubicBezTo>
                <a:cubicBezTo>
                  <a:pt x="56" y="56"/>
                  <a:pt x="56" y="56"/>
                  <a:pt x="56" y="56"/>
                </a:cubicBezTo>
                <a:cubicBezTo>
                  <a:pt x="54" y="56"/>
                  <a:pt x="54" y="56"/>
                  <a:pt x="54" y="56"/>
                </a:cubicBezTo>
                <a:cubicBezTo>
                  <a:pt x="52" y="56"/>
                  <a:pt x="52" y="56"/>
                  <a:pt x="52" y="56"/>
                </a:cubicBezTo>
                <a:cubicBezTo>
                  <a:pt x="51" y="55"/>
                  <a:pt x="51" y="55"/>
                  <a:pt x="51" y="55"/>
                </a:cubicBezTo>
                <a:cubicBezTo>
                  <a:pt x="51" y="54"/>
                  <a:pt x="51" y="54"/>
                  <a:pt x="51" y="54"/>
                </a:cubicBezTo>
                <a:cubicBezTo>
                  <a:pt x="52" y="53"/>
                  <a:pt x="52" y="53"/>
                  <a:pt x="52" y="53"/>
                </a:cubicBezTo>
                <a:cubicBezTo>
                  <a:pt x="52" y="52"/>
                  <a:pt x="52" y="52"/>
                  <a:pt x="52" y="52"/>
                </a:cubicBezTo>
                <a:cubicBezTo>
                  <a:pt x="52" y="52"/>
                  <a:pt x="52" y="52"/>
                  <a:pt x="52" y="52"/>
                </a:cubicBezTo>
                <a:cubicBezTo>
                  <a:pt x="51" y="52"/>
                  <a:pt x="51" y="52"/>
                  <a:pt x="51" y="52"/>
                </a:cubicBezTo>
                <a:cubicBezTo>
                  <a:pt x="50" y="52"/>
                  <a:pt x="50" y="52"/>
                  <a:pt x="50" y="52"/>
                </a:cubicBezTo>
                <a:cubicBezTo>
                  <a:pt x="49" y="52"/>
                  <a:pt x="49" y="52"/>
                  <a:pt x="49" y="52"/>
                </a:cubicBezTo>
                <a:cubicBezTo>
                  <a:pt x="49" y="52"/>
                  <a:pt x="49" y="52"/>
                  <a:pt x="49" y="52"/>
                </a:cubicBezTo>
                <a:cubicBezTo>
                  <a:pt x="47" y="51"/>
                  <a:pt x="47" y="51"/>
                  <a:pt x="47" y="51"/>
                </a:cubicBezTo>
                <a:cubicBezTo>
                  <a:pt x="47" y="49"/>
                  <a:pt x="47" y="49"/>
                  <a:pt x="47" y="49"/>
                </a:cubicBezTo>
                <a:cubicBezTo>
                  <a:pt x="46" y="48"/>
                  <a:pt x="46" y="48"/>
                  <a:pt x="46" y="48"/>
                </a:cubicBezTo>
                <a:cubicBezTo>
                  <a:pt x="45" y="46"/>
                  <a:pt x="45" y="46"/>
                  <a:pt x="45" y="46"/>
                </a:cubicBezTo>
                <a:cubicBezTo>
                  <a:pt x="45" y="45"/>
                  <a:pt x="45" y="45"/>
                  <a:pt x="45" y="45"/>
                </a:cubicBezTo>
                <a:cubicBezTo>
                  <a:pt x="44" y="44"/>
                  <a:pt x="44" y="44"/>
                  <a:pt x="44" y="44"/>
                </a:cubicBezTo>
                <a:cubicBezTo>
                  <a:pt x="43" y="44"/>
                  <a:pt x="43" y="44"/>
                  <a:pt x="43" y="44"/>
                </a:cubicBezTo>
                <a:cubicBezTo>
                  <a:pt x="42" y="44"/>
                  <a:pt x="42" y="44"/>
                  <a:pt x="42" y="44"/>
                </a:cubicBezTo>
                <a:cubicBezTo>
                  <a:pt x="41" y="43"/>
                  <a:pt x="41" y="43"/>
                  <a:pt x="41" y="43"/>
                </a:cubicBezTo>
                <a:cubicBezTo>
                  <a:pt x="40" y="41"/>
                  <a:pt x="40" y="41"/>
                  <a:pt x="40" y="41"/>
                </a:cubicBezTo>
                <a:cubicBezTo>
                  <a:pt x="40" y="40"/>
                  <a:pt x="40" y="40"/>
                  <a:pt x="40" y="40"/>
                </a:cubicBezTo>
                <a:cubicBezTo>
                  <a:pt x="39" y="39"/>
                  <a:pt x="39" y="39"/>
                  <a:pt x="39" y="39"/>
                </a:cubicBezTo>
                <a:cubicBezTo>
                  <a:pt x="38" y="38"/>
                  <a:pt x="38" y="38"/>
                  <a:pt x="38" y="38"/>
                </a:cubicBezTo>
                <a:cubicBezTo>
                  <a:pt x="38" y="37"/>
                  <a:pt x="38" y="37"/>
                  <a:pt x="38" y="37"/>
                </a:cubicBezTo>
                <a:cubicBezTo>
                  <a:pt x="41" y="37"/>
                  <a:pt x="41" y="37"/>
                  <a:pt x="41" y="37"/>
                </a:cubicBezTo>
                <a:cubicBezTo>
                  <a:pt x="43" y="36"/>
                  <a:pt x="43" y="36"/>
                  <a:pt x="43" y="36"/>
                </a:cubicBezTo>
                <a:cubicBezTo>
                  <a:pt x="44" y="35"/>
                  <a:pt x="44" y="35"/>
                  <a:pt x="44" y="35"/>
                </a:cubicBezTo>
                <a:cubicBezTo>
                  <a:pt x="43" y="34"/>
                  <a:pt x="43" y="34"/>
                  <a:pt x="43" y="34"/>
                </a:cubicBezTo>
                <a:cubicBezTo>
                  <a:pt x="42" y="32"/>
                  <a:pt x="42" y="32"/>
                  <a:pt x="42" y="32"/>
                </a:cubicBezTo>
                <a:cubicBezTo>
                  <a:pt x="40" y="32"/>
                  <a:pt x="40" y="32"/>
                  <a:pt x="40" y="32"/>
                </a:cubicBezTo>
                <a:cubicBezTo>
                  <a:pt x="40" y="32"/>
                  <a:pt x="40" y="32"/>
                  <a:pt x="40" y="32"/>
                </a:cubicBezTo>
                <a:cubicBezTo>
                  <a:pt x="38" y="31"/>
                  <a:pt x="38" y="31"/>
                  <a:pt x="38" y="31"/>
                </a:cubicBezTo>
                <a:cubicBezTo>
                  <a:pt x="36" y="30"/>
                  <a:pt x="36" y="30"/>
                  <a:pt x="36" y="30"/>
                </a:cubicBezTo>
                <a:cubicBezTo>
                  <a:pt x="35" y="29"/>
                  <a:pt x="35" y="29"/>
                  <a:pt x="35" y="29"/>
                </a:cubicBezTo>
                <a:cubicBezTo>
                  <a:pt x="34" y="29"/>
                  <a:pt x="34" y="29"/>
                  <a:pt x="34" y="29"/>
                </a:cubicBezTo>
                <a:cubicBezTo>
                  <a:pt x="31" y="28"/>
                  <a:pt x="31" y="28"/>
                  <a:pt x="31" y="28"/>
                </a:cubicBezTo>
                <a:cubicBezTo>
                  <a:pt x="30" y="27"/>
                  <a:pt x="30" y="27"/>
                  <a:pt x="30" y="27"/>
                </a:cubicBezTo>
                <a:cubicBezTo>
                  <a:pt x="31" y="26"/>
                  <a:pt x="31" y="26"/>
                  <a:pt x="31" y="26"/>
                </a:cubicBezTo>
                <a:cubicBezTo>
                  <a:pt x="31" y="25"/>
                  <a:pt x="31" y="25"/>
                  <a:pt x="31" y="25"/>
                </a:cubicBezTo>
                <a:cubicBezTo>
                  <a:pt x="31" y="24"/>
                  <a:pt x="31" y="24"/>
                  <a:pt x="31" y="24"/>
                </a:cubicBezTo>
                <a:cubicBezTo>
                  <a:pt x="28" y="21"/>
                  <a:pt x="28" y="21"/>
                  <a:pt x="28" y="21"/>
                </a:cubicBezTo>
                <a:cubicBezTo>
                  <a:pt x="28" y="22"/>
                  <a:pt x="28" y="22"/>
                  <a:pt x="28" y="22"/>
                </a:cubicBezTo>
                <a:cubicBezTo>
                  <a:pt x="27" y="22"/>
                  <a:pt x="27" y="22"/>
                  <a:pt x="27" y="22"/>
                </a:cubicBezTo>
                <a:cubicBezTo>
                  <a:pt x="27" y="21"/>
                  <a:pt x="27" y="21"/>
                  <a:pt x="27" y="21"/>
                </a:cubicBezTo>
                <a:cubicBezTo>
                  <a:pt x="25" y="20"/>
                  <a:pt x="25" y="20"/>
                  <a:pt x="25" y="20"/>
                </a:cubicBezTo>
                <a:cubicBezTo>
                  <a:pt x="25" y="19"/>
                  <a:pt x="25" y="19"/>
                  <a:pt x="25" y="19"/>
                </a:cubicBezTo>
                <a:cubicBezTo>
                  <a:pt x="24" y="19"/>
                  <a:pt x="24" y="19"/>
                  <a:pt x="24" y="19"/>
                </a:cubicBezTo>
                <a:cubicBezTo>
                  <a:pt x="23" y="18"/>
                  <a:pt x="23" y="18"/>
                  <a:pt x="23" y="18"/>
                </a:cubicBezTo>
                <a:cubicBezTo>
                  <a:pt x="22" y="18"/>
                  <a:pt x="22" y="18"/>
                  <a:pt x="22" y="18"/>
                </a:cubicBezTo>
                <a:cubicBezTo>
                  <a:pt x="21" y="18"/>
                  <a:pt x="21" y="18"/>
                  <a:pt x="21" y="18"/>
                </a:cubicBezTo>
                <a:cubicBezTo>
                  <a:pt x="20" y="17"/>
                  <a:pt x="20" y="17"/>
                  <a:pt x="20" y="17"/>
                </a:cubicBezTo>
                <a:cubicBezTo>
                  <a:pt x="19" y="16"/>
                  <a:pt x="19" y="16"/>
                  <a:pt x="19" y="16"/>
                </a:cubicBezTo>
                <a:cubicBezTo>
                  <a:pt x="17" y="16"/>
                  <a:pt x="17" y="16"/>
                  <a:pt x="17" y="16"/>
                </a:cubicBezTo>
                <a:cubicBezTo>
                  <a:pt x="15" y="15"/>
                  <a:pt x="15" y="15"/>
                  <a:pt x="15" y="15"/>
                </a:cubicBezTo>
                <a:cubicBezTo>
                  <a:pt x="12" y="14"/>
                  <a:pt x="12" y="14"/>
                  <a:pt x="12" y="14"/>
                </a:cubicBezTo>
                <a:cubicBezTo>
                  <a:pt x="10" y="14"/>
                  <a:pt x="10" y="14"/>
                  <a:pt x="10" y="14"/>
                </a:cubicBezTo>
                <a:cubicBezTo>
                  <a:pt x="10" y="13"/>
                  <a:pt x="10" y="13"/>
                  <a:pt x="10" y="13"/>
                </a:cubicBezTo>
                <a:cubicBezTo>
                  <a:pt x="9" y="13"/>
                  <a:pt x="9" y="13"/>
                  <a:pt x="9" y="13"/>
                </a:cubicBezTo>
                <a:cubicBezTo>
                  <a:pt x="8" y="13"/>
                  <a:pt x="8" y="13"/>
                  <a:pt x="8" y="13"/>
                </a:cubicBezTo>
                <a:cubicBezTo>
                  <a:pt x="6" y="12"/>
                  <a:pt x="6" y="12"/>
                  <a:pt x="6" y="12"/>
                </a:cubicBezTo>
                <a:cubicBezTo>
                  <a:pt x="5" y="12"/>
                  <a:pt x="5" y="12"/>
                  <a:pt x="5" y="12"/>
                </a:cubicBezTo>
                <a:cubicBezTo>
                  <a:pt x="4" y="11"/>
                  <a:pt x="4" y="11"/>
                  <a:pt x="4" y="11"/>
                </a:cubicBezTo>
                <a:cubicBezTo>
                  <a:pt x="2" y="10"/>
                  <a:pt x="2" y="10"/>
                  <a:pt x="2" y="10"/>
                </a:cubicBezTo>
                <a:lnTo>
                  <a:pt x="1" y="1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6" name="Freeform 24">
            <a:extLst>
              <a:ext uri="{FF2B5EF4-FFF2-40B4-BE49-F238E27FC236}">
                <a16:creationId xmlns:a16="http://schemas.microsoft.com/office/drawing/2014/main" id="{8EC4C9CB-57F1-766C-15C0-FBD3D101837B}"/>
              </a:ext>
            </a:extLst>
          </p:cNvPr>
          <p:cNvSpPr>
            <a:spLocks noEditPoints="1"/>
          </p:cNvSpPr>
          <p:nvPr userDrawn="1"/>
        </p:nvSpPr>
        <p:spPr bwMode="auto">
          <a:xfrm>
            <a:off x="20471063" y="8095531"/>
            <a:ext cx="625437" cy="933450"/>
          </a:xfrm>
          <a:custGeom>
            <a:avLst/>
            <a:gdLst>
              <a:gd name="T0" fmla="*/ 24 w 63"/>
              <a:gd name="T1" fmla="*/ 1 h 94"/>
              <a:gd name="T2" fmla="*/ 32 w 63"/>
              <a:gd name="T3" fmla="*/ 37 h 94"/>
              <a:gd name="T4" fmla="*/ 40 w 63"/>
              <a:gd name="T5" fmla="*/ 38 h 94"/>
              <a:gd name="T6" fmla="*/ 44 w 63"/>
              <a:gd name="T7" fmla="*/ 44 h 94"/>
              <a:gd name="T8" fmla="*/ 43 w 63"/>
              <a:gd name="T9" fmla="*/ 46 h 94"/>
              <a:gd name="T10" fmla="*/ 34 w 63"/>
              <a:gd name="T11" fmla="*/ 39 h 94"/>
              <a:gd name="T12" fmla="*/ 26 w 63"/>
              <a:gd name="T13" fmla="*/ 41 h 94"/>
              <a:gd name="T14" fmla="*/ 22 w 63"/>
              <a:gd name="T15" fmla="*/ 35 h 94"/>
              <a:gd name="T16" fmla="*/ 18 w 63"/>
              <a:gd name="T17" fmla="*/ 32 h 94"/>
              <a:gd name="T18" fmla="*/ 17 w 63"/>
              <a:gd name="T19" fmla="*/ 23 h 94"/>
              <a:gd name="T20" fmla="*/ 24 w 63"/>
              <a:gd name="T21" fmla="*/ 7 h 94"/>
              <a:gd name="T22" fmla="*/ 29 w 63"/>
              <a:gd name="T23" fmla="*/ 12 h 94"/>
              <a:gd name="T24" fmla="*/ 29 w 63"/>
              <a:gd name="T25" fmla="*/ 23 h 94"/>
              <a:gd name="T26" fmla="*/ 30 w 63"/>
              <a:gd name="T27" fmla="*/ 35 h 94"/>
              <a:gd name="T28" fmla="*/ 31 w 63"/>
              <a:gd name="T29" fmla="*/ 30 h 94"/>
              <a:gd name="T30" fmla="*/ 21 w 63"/>
              <a:gd name="T31" fmla="*/ 42 h 94"/>
              <a:gd name="T32" fmla="*/ 28 w 63"/>
              <a:gd name="T33" fmla="*/ 48 h 94"/>
              <a:gd name="T34" fmla="*/ 44 w 63"/>
              <a:gd name="T35" fmla="*/ 37 h 94"/>
              <a:gd name="T36" fmla="*/ 31 w 63"/>
              <a:gd name="T37" fmla="*/ 42 h 94"/>
              <a:gd name="T38" fmla="*/ 33 w 63"/>
              <a:gd name="T39" fmla="*/ 49 h 94"/>
              <a:gd name="T40" fmla="*/ 38 w 63"/>
              <a:gd name="T41" fmla="*/ 43 h 94"/>
              <a:gd name="T42" fmla="*/ 41 w 63"/>
              <a:gd name="T43" fmla="*/ 47 h 94"/>
              <a:gd name="T44" fmla="*/ 41 w 63"/>
              <a:gd name="T45" fmla="*/ 48 h 94"/>
              <a:gd name="T46" fmla="*/ 32 w 63"/>
              <a:gd name="T47" fmla="*/ 62 h 94"/>
              <a:gd name="T48" fmla="*/ 34 w 63"/>
              <a:gd name="T49" fmla="*/ 53 h 94"/>
              <a:gd name="T50" fmla="*/ 38 w 63"/>
              <a:gd name="T51" fmla="*/ 57 h 94"/>
              <a:gd name="T52" fmla="*/ 37 w 63"/>
              <a:gd name="T53" fmla="*/ 61 h 94"/>
              <a:gd name="T54" fmla="*/ 45 w 63"/>
              <a:gd name="T55" fmla="*/ 61 h 94"/>
              <a:gd name="T56" fmla="*/ 41 w 63"/>
              <a:gd name="T57" fmla="*/ 68 h 94"/>
              <a:gd name="T58" fmla="*/ 38 w 63"/>
              <a:gd name="T59" fmla="*/ 61 h 94"/>
              <a:gd name="T60" fmla="*/ 41 w 63"/>
              <a:gd name="T61" fmla="*/ 70 h 94"/>
              <a:gd name="T62" fmla="*/ 48 w 63"/>
              <a:gd name="T63" fmla="*/ 64 h 94"/>
              <a:gd name="T64" fmla="*/ 53 w 63"/>
              <a:gd name="T65" fmla="*/ 65 h 94"/>
              <a:gd name="T66" fmla="*/ 48 w 63"/>
              <a:gd name="T67" fmla="*/ 55 h 94"/>
              <a:gd name="T68" fmla="*/ 56 w 63"/>
              <a:gd name="T69" fmla="*/ 57 h 94"/>
              <a:gd name="T70" fmla="*/ 51 w 63"/>
              <a:gd name="T71" fmla="*/ 47 h 94"/>
              <a:gd name="T72" fmla="*/ 51 w 63"/>
              <a:gd name="T73" fmla="*/ 54 h 94"/>
              <a:gd name="T74" fmla="*/ 47 w 63"/>
              <a:gd name="T75" fmla="*/ 57 h 94"/>
              <a:gd name="T76" fmla="*/ 53 w 63"/>
              <a:gd name="T77" fmla="*/ 63 h 94"/>
              <a:gd name="T78" fmla="*/ 56 w 63"/>
              <a:gd name="T79" fmla="*/ 59 h 94"/>
              <a:gd name="T80" fmla="*/ 56 w 63"/>
              <a:gd name="T81" fmla="*/ 62 h 94"/>
              <a:gd name="T82" fmla="*/ 58 w 63"/>
              <a:gd name="T83" fmla="*/ 67 h 94"/>
              <a:gd name="T84" fmla="*/ 34 w 63"/>
              <a:gd name="T85" fmla="*/ 81 h 94"/>
              <a:gd name="T86" fmla="*/ 43 w 63"/>
              <a:gd name="T87" fmla="*/ 73 h 94"/>
              <a:gd name="T88" fmla="*/ 51 w 63"/>
              <a:gd name="T89" fmla="*/ 74 h 94"/>
              <a:gd name="T90" fmla="*/ 54 w 63"/>
              <a:gd name="T91" fmla="*/ 66 h 94"/>
              <a:gd name="T92" fmla="*/ 59 w 63"/>
              <a:gd name="T93" fmla="*/ 74 h 94"/>
              <a:gd name="T94" fmla="*/ 62 w 63"/>
              <a:gd name="T95" fmla="*/ 85 h 94"/>
              <a:gd name="T96" fmla="*/ 60 w 63"/>
              <a:gd name="T97" fmla="*/ 86 h 94"/>
              <a:gd name="T98" fmla="*/ 56 w 63"/>
              <a:gd name="T99" fmla="*/ 94 h 94"/>
              <a:gd name="T100" fmla="*/ 49 w 63"/>
              <a:gd name="T101" fmla="*/ 91 h 94"/>
              <a:gd name="T102" fmla="*/ 47 w 63"/>
              <a:gd name="T103" fmla="*/ 83 h 94"/>
              <a:gd name="T104" fmla="*/ 41 w 63"/>
              <a:gd name="T105" fmla="*/ 82 h 94"/>
              <a:gd name="T106" fmla="*/ 37 w 63"/>
              <a:gd name="T107" fmla="*/ 80 h 94"/>
              <a:gd name="T108" fmla="*/ 35 w 63"/>
              <a:gd name="T109" fmla="*/ 87 h 94"/>
              <a:gd name="T110" fmla="*/ 20 w 63"/>
              <a:gd name="T111" fmla="*/ 51 h 94"/>
              <a:gd name="T112" fmla="*/ 17 w 63"/>
              <a:gd name="T113" fmla="*/ 52 h 94"/>
              <a:gd name="T114" fmla="*/ 4 w 63"/>
              <a:gd name="T115" fmla="*/ 74 h 94"/>
              <a:gd name="T116" fmla="*/ 14 w 63"/>
              <a:gd name="T117" fmla="*/ 65 h 94"/>
              <a:gd name="T118" fmla="*/ 15 w 63"/>
              <a:gd name="T119" fmla="*/ 60 h 94"/>
              <a:gd name="T120" fmla="*/ 6 w 63"/>
              <a:gd name="T121" fmla="*/ 70 h 94"/>
              <a:gd name="T122" fmla="*/ 3 w 63"/>
              <a:gd name="T123" fmla="*/ 7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 h="94">
                <a:moveTo>
                  <a:pt x="23" y="4"/>
                </a:moveTo>
                <a:cubicBezTo>
                  <a:pt x="24" y="4"/>
                  <a:pt x="24" y="4"/>
                  <a:pt x="24" y="4"/>
                </a:cubicBezTo>
                <a:cubicBezTo>
                  <a:pt x="23" y="5"/>
                  <a:pt x="23" y="5"/>
                  <a:pt x="23" y="5"/>
                </a:cubicBezTo>
                <a:cubicBezTo>
                  <a:pt x="23" y="4"/>
                  <a:pt x="23" y="4"/>
                  <a:pt x="23" y="4"/>
                </a:cubicBezTo>
                <a:close/>
                <a:moveTo>
                  <a:pt x="22" y="2"/>
                </a:moveTo>
                <a:cubicBezTo>
                  <a:pt x="23" y="2"/>
                  <a:pt x="23" y="2"/>
                  <a:pt x="23" y="2"/>
                </a:cubicBezTo>
                <a:cubicBezTo>
                  <a:pt x="22" y="3"/>
                  <a:pt x="22" y="3"/>
                  <a:pt x="22" y="3"/>
                </a:cubicBezTo>
                <a:cubicBezTo>
                  <a:pt x="22" y="2"/>
                  <a:pt x="22" y="2"/>
                  <a:pt x="22" y="2"/>
                </a:cubicBezTo>
                <a:close/>
                <a:moveTo>
                  <a:pt x="24" y="0"/>
                </a:moveTo>
                <a:cubicBezTo>
                  <a:pt x="24" y="1"/>
                  <a:pt x="24" y="1"/>
                  <a:pt x="24" y="1"/>
                </a:cubicBezTo>
                <a:cubicBezTo>
                  <a:pt x="24" y="1"/>
                  <a:pt x="24" y="1"/>
                  <a:pt x="24" y="1"/>
                </a:cubicBezTo>
                <a:cubicBezTo>
                  <a:pt x="24" y="0"/>
                  <a:pt x="24" y="0"/>
                  <a:pt x="24" y="0"/>
                </a:cubicBezTo>
                <a:close/>
                <a:moveTo>
                  <a:pt x="27" y="3"/>
                </a:moveTo>
                <a:cubicBezTo>
                  <a:pt x="26" y="4"/>
                  <a:pt x="26" y="4"/>
                  <a:pt x="26" y="4"/>
                </a:cubicBezTo>
                <a:cubicBezTo>
                  <a:pt x="27" y="5"/>
                  <a:pt x="27" y="5"/>
                  <a:pt x="27" y="5"/>
                </a:cubicBezTo>
                <a:cubicBezTo>
                  <a:pt x="28" y="4"/>
                  <a:pt x="28" y="4"/>
                  <a:pt x="28" y="4"/>
                </a:cubicBezTo>
                <a:cubicBezTo>
                  <a:pt x="28" y="4"/>
                  <a:pt x="27" y="3"/>
                  <a:pt x="27" y="3"/>
                </a:cubicBezTo>
                <a:close/>
                <a:moveTo>
                  <a:pt x="28" y="35"/>
                </a:moveTo>
                <a:cubicBezTo>
                  <a:pt x="29" y="36"/>
                  <a:pt x="29" y="36"/>
                  <a:pt x="29" y="36"/>
                </a:cubicBezTo>
                <a:cubicBezTo>
                  <a:pt x="29" y="37"/>
                  <a:pt x="29" y="37"/>
                  <a:pt x="29" y="37"/>
                </a:cubicBezTo>
                <a:cubicBezTo>
                  <a:pt x="31" y="37"/>
                  <a:pt x="31" y="37"/>
                  <a:pt x="31" y="37"/>
                </a:cubicBezTo>
                <a:cubicBezTo>
                  <a:pt x="32" y="37"/>
                  <a:pt x="32" y="37"/>
                  <a:pt x="32" y="37"/>
                </a:cubicBezTo>
                <a:cubicBezTo>
                  <a:pt x="32" y="36"/>
                  <a:pt x="32" y="36"/>
                  <a:pt x="32" y="36"/>
                </a:cubicBezTo>
                <a:cubicBezTo>
                  <a:pt x="34" y="35"/>
                  <a:pt x="34" y="35"/>
                  <a:pt x="34" y="35"/>
                </a:cubicBezTo>
                <a:cubicBezTo>
                  <a:pt x="35" y="35"/>
                  <a:pt x="35" y="35"/>
                  <a:pt x="35" y="35"/>
                </a:cubicBezTo>
                <a:cubicBezTo>
                  <a:pt x="37" y="36"/>
                  <a:pt x="37" y="36"/>
                  <a:pt x="37" y="36"/>
                </a:cubicBezTo>
                <a:cubicBezTo>
                  <a:pt x="38" y="37"/>
                  <a:pt x="38" y="37"/>
                  <a:pt x="38" y="37"/>
                </a:cubicBezTo>
                <a:cubicBezTo>
                  <a:pt x="37" y="39"/>
                  <a:pt x="37" y="39"/>
                  <a:pt x="37" y="39"/>
                </a:cubicBezTo>
                <a:cubicBezTo>
                  <a:pt x="38" y="39"/>
                  <a:pt x="38" y="39"/>
                  <a:pt x="38" y="39"/>
                </a:cubicBezTo>
                <a:cubicBezTo>
                  <a:pt x="39" y="39"/>
                  <a:pt x="39" y="39"/>
                  <a:pt x="39" y="39"/>
                </a:cubicBezTo>
                <a:cubicBezTo>
                  <a:pt x="39" y="38"/>
                  <a:pt x="39" y="38"/>
                  <a:pt x="39" y="38"/>
                </a:cubicBezTo>
                <a:cubicBezTo>
                  <a:pt x="39" y="37"/>
                  <a:pt x="39" y="37"/>
                  <a:pt x="39" y="37"/>
                </a:cubicBezTo>
                <a:cubicBezTo>
                  <a:pt x="40" y="38"/>
                  <a:pt x="40" y="38"/>
                  <a:pt x="40" y="38"/>
                </a:cubicBezTo>
                <a:cubicBezTo>
                  <a:pt x="41" y="38"/>
                  <a:pt x="41" y="38"/>
                  <a:pt x="41" y="38"/>
                </a:cubicBezTo>
                <a:cubicBezTo>
                  <a:pt x="43" y="39"/>
                  <a:pt x="43" y="39"/>
                  <a:pt x="43" y="39"/>
                </a:cubicBezTo>
                <a:cubicBezTo>
                  <a:pt x="43" y="40"/>
                  <a:pt x="43" y="40"/>
                  <a:pt x="43" y="40"/>
                </a:cubicBezTo>
                <a:cubicBezTo>
                  <a:pt x="42" y="40"/>
                  <a:pt x="42" y="40"/>
                  <a:pt x="42" y="40"/>
                </a:cubicBezTo>
                <a:cubicBezTo>
                  <a:pt x="41" y="39"/>
                  <a:pt x="41" y="39"/>
                  <a:pt x="41" y="39"/>
                </a:cubicBezTo>
                <a:cubicBezTo>
                  <a:pt x="41" y="40"/>
                  <a:pt x="41" y="40"/>
                  <a:pt x="41" y="40"/>
                </a:cubicBezTo>
                <a:cubicBezTo>
                  <a:pt x="41" y="41"/>
                  <a:pt x="41" y="41"/>
                  <a:pt x="41" y="41"/>
                </a:cubicBezTo>
                <a:cubicBezTo>
                  <a:pt x="42" y="43"/>
                  <a:pt x="42" y="43"/>
                  <a:pt x="42" y="43"/>
                </a:cubicBezTo>
                <a:cubicBezTo>
                  <a:pt x="42" y="44"/>
                  <a:pt x="42" y="44"/>
                  <a:pt x="42" y="44"/>
                </a:cubicBezTo>
                <a:cubicBezTo>
                  <a:pt x="43" y="44"/>
                  <a:pt x="43" y="44"/>
                  <a:pt x="43" y="44"/>
                </a:cubicBezTo>
                <a:cubicBezTo>
                  <a:pt x="44" y="44"/>
                  <a:pt x="44" y="44"/>
                  <a:pt x="44" y="44"/>
                </a:cubicBezTo>
                <a:cubicBezTo>
                  <a:pt x="45" y="44"/>
                  <a:pt x="45" y="44"/>
                  <a:pt x="45" y="44"/>
                </a:cubicBezTo>
                <a:cubicBezTo>
                  <a:pt x="46" y="45"/>
                  <a:pt x="46" y="45"/>
                  <a:pt x="46" y="45"/>
                </a:cubicBezTo>
                <a:cubicBezTo>
                  <a:pt x="45" y="46"/>
                  <a:pt x="45" y="46"/>
                  <a:pt x="45" y="46"/>
                </a:cubicBezTo>
                <a:cubicBezTo>
                  <a:pt x="45" y="46"/>
                  <a:pt x="45" y="46"/>
                  <a:pt x="45" y="46"/>
                </a:cubicBezTo>
                <a:cubicBezTo>
                  <a:pt x="45" y="48"/>
                  <a:pt x="45" y="48"/>
                  <a:pt x="45" y="48"/>
                </a:cubicBezTo>
                <a:cubicBezTo>
                  <a:pt x="44" y="48"/>
                  <a:pt x="44" y="48"/>
                  <a:pt x="44" y="48"/>
                </a:cubicBezTo>
                <a:cubicBezTo>
                  <a:pt x="43" y="47"/>
                  <a:pt x="43" y="47"/>
                  <a:pt x="43" y="47"/>
                </a:cubicBezTo>
                <a:cubicBezTo>
                  <a:pt x="44" y="46"/>
                  <a:pt x="44" y="46"/>
                  <a:pt x="44" y="46"/>
                </a:cubicBezTo>
                <a:cubicBezTo>
                  <a:pt x="44" y="45"/>
                  <a:pt x="44" y="45"/>
                  <a:pt x="44" y="45"/>
                </a:cubicBezTo>
                <a:cubicBezTo>
                  <a:pt x="43" y="45"/>
                  <a:pt x="43" y="45"/>
                  <a:pt x="43" y="45"/>
                </a:cubicBezTo>
                <a:cubicBezTo>
                  <a:pt x="43" y="46"/>
                  <a:pt x="43" y="46"/>
                  <a:pt x="43" y="46"/>
                </a:cubicBezTo>
                <a:cubicBezTo>
                  <a:pt x="42" y="46"/>
                  <a:pt x="42" y="46"/>
                  <a:pt x="42" y="46"/>
                </a:cubicBezTo>
                <a:cubicBezTo>
                  <a:pt x="40" y="44"/>
                  <a:pt x="40" y="44"/>
                  <a:pt x="40" y="44"/>
                </a:cubicBezTo>
                <a:cubicBezTo>
                  <a:pt x="39" y="44"/>
                  <a:pt x="39" y="44"/>
                  <a:pt x="39" y="44"/>
                </a:cubicBezTo>
                <a:cubicBezTo>
                  <a:pt x="39" y="43"/>
                  <a:pt x="39" y="43"/>
                  <a:pt x="39" y="43"/>
                </a:cubicBezTo>
                <a:cubicBezTo>
                  <a:pt x="39" y="41"/>
                  <a:pt x="39" y="41"/>
                  <a:pt x="39" y="41"/>
                </a:cubicBezTo>
                <a:cubicBezTo>
                  <a:pt x="37" y="41"/>
                  <a:pt x="37" y="41"/>
                  <a:pt x="37" y="41"/>
                </a:cubicBezTo>
                <a:cubicBezTo>
                  <a:pt x="36" y="39"/>
                  <a:pt x="36" y="39"/>
                  <a:pt x="36" y="39"/>
                </a:cubicBezTo>
                <a:cubicBezTo>
                  <a:pt x="35" y="39"/>
                  <a:pt x="35" y="39"/>
                  <a:pt x="35" y="39"/>
                </a:cubicBezTo>
                <a:cubicBezTo>
                  <a:pt x="35" y="38"/>
                  <a:pt x="35" y="38"/>
                  <a:pt x="35" y="38"/>
                </a:cubicBezTo>
                <a:cubicBezTo>
                  <a:pt x="34" y="38"/>
                  <a:pt x="34" y="38"/>
                  <a:pt x="34" y="38"/>
                </a:cubicBezTo>
                <a:cubicBezTo>
                  <a:pt x="34" y="39"/>
                  <a:pt x="34" y="39"/>
                  <a:pt x="34" y="39"/>
                </a:cubicBezTo>
                <a:cubicBezTo>
                  <a:pt x="35" y="41"/>
                  <a:pt x="35" y="41"/>
                  <a:pt x="35" y="41"/>
                </a:cubicBezTo>
                <a:cubicBezTo>
                  <a:pt x="35" y="43"/>
                  <a:pt x="35" y="43"/>
                  <a:pt x="35" y="43"/>
                </a:cubicBezTo>
                <a:cubicBezTo>
                  <a:pt x="35" y="43"/>
                  <a:pt x="35" y="43"/>
                  <a:pt x="35" y="43"/>
                </a:cubicBezTo>
                <a:cubicBezTo>
                  <a:pt x="34" y="41"/>
                  <a:pt x="34" y="41"/>
                  <a:pt x="34" y="41"/>
                </a:cubicBezTo>
                <a:cubicBezTo>
                  <a:pt x="32" y="40"/>
                  <a:pt x="32" y="40"/>
                  <a:pt x="32" y="40"/>
                </a:cubicBezTo>
                <a:cubicBezTo>
                  <a:pt x="32" y="39"/>
                  <a:pt x="32" y="39"/>
                  <a:pt x="32" y="39"/>
                </a:cubicBezTo>
                <a:cubicBezTo>
                  <a:pt x="29" y="38"/>
                  <a:pt x="29" y="38"/>
                  <a:pt x="29" y="38"/>
                </a:cubicBezTo>
                <a:cubicBezTo>
                  <a:pt x="28" y="38"/>
                  <a:pt x="28" y="38"/>
                  <a:pt x="28" y="38"/>
                </a:cubicBezTo>
                <a:cubicBezTo>
                  <a:pt x="27" y="39"/>
                  <a:pt x="27" y="39"/>
                  <a:pt x="27" y="39"/>
                </a:cubicBezTo>
                <a:cubicBezTo>
                  <a:pt x="28" y="40"/>
                  <a:pt x="28" y="40"/>
                  <a:pt x="28" y="40"/>
                </a:cubicBezTo>
                <a:cubicBezTo>
                  <a:pt x="26" y="41"/>
                  <a:pt x="26" y="41"/>
                  <a:pt x="26" y="41"/>
                </a:cubicBezTo>
                <a:cubicBezTo>
                  <a:pt x="25" y="39"/>
                  <a:pt x="25" y="39"/>
                  <a:pt x="25" y="39"/>
                </a:cubicBezTo>
                <a:cubicBezTo>
                  <a:pt x="24" y="40"/>
                  <a:pt x="24" y="40"/>
                  <a:pt x="24" y="40"/>
                </a:cubicBezTo>
                <a:cubicBezTo>
                  <a:pt x="23" y="40"/>
                  <a:pt x="23" y="40"/>
                  <a:pt x="23" y="40"/>
                </a:cubicBezTo>
                <a:cubicBezTo>
                  <a:pt x="24" y="39"/>
                  <a:pt x="24" y="39"/>
                  <a:pt x="24" y="39"/>
                </a:cubicBezTo>
                <a:cubicBezTo>
                  <a:pt x="23" y="38"/>
                  <a:pt x="23" y="38"/>
                  <a:pt x="23" y="38"/>
                </a:cubicBezTo>
                <a:cubicBezTo>
                  <a:pt x="22" y="38"/>
                  <a:pt x="22" y="38"/>
                  <a:pt x="22" y="38"/>
                </a:cubicBezTo>
                <a:cubicBezTo>
                  <a:pt x="22" y="40"/>
                  <a:pt x="22" y="40"/>
                  <a:pt x="22" y="40"/>
                </a:cubicBezTo>
                <a:cubicBezTo>
                  <a:pt x="21" y="38"/>
                  <a:pt x="21" y="38"/>
                  <a:pt x="21" y="38"/>
                </a:cubicBezTo>
                <a:cubicBezTo>
                  <a:pt x="21" y="37"/>
                  <a:pt x="21" y="37"/>
                  <a:pt x="21" y="37"/>
                </a:cubicBezTo>
                <a:cubicBezTo>
                  <a:pt x="21" y="36"/>
                  <a:pt x="21" y="36"/>
                  <a:pt x="21" y="36"/>
                </a:cubicBezTo>
                <a:cubicBezTo>
                  <a:pt x="22" y="35"/>
                  <a:pt x="22" y="35"/>
                  <a:pt x="22" y="35"/>
                </a:cubicBezTo>
                <a:cubicBezTo>
                  <a:pt x="23" y="33"/>
                  <a:pt x="23" y="33"/>
                  <a:pt x="23" y="33"/>
                </a:cubicBezTo>
                <a:cubicBezTo>
                  <a:pt x="22" y="33"/>
                  <a:pt x="22" y="33"/>
                  <a:pt x="22" y="33"/>
                </a:cubicBezTo>
                <a:cubicBezTo>
                  <a:pt x="21" y="32"/>
                  <a:pt x="21" y="32"/>
                  <a:pt x="21" y="32"/>
                </a:cubicBezTo>
                <a:cubicBezTo>
                  <a:pt x="21" y="33"/>
                  <a:pt x="21" y="33"/>
                  <a:pt x="21" y="33"/>
                </a:cubicBezTo>
                <a:cubicBezTo>
                  <a:pt x="21" y="34"/>
                  <a:pt x="21" y="34"/>
                  <a:pt x="21" y="34"/>
                </a:cubicBezTo>
                <a:cubicBezTo>
                  <a:pt x="21" y="35"/>
                  <a:pt x="21" y="35"/>
                  <a:pt x="21" y="35"/>
                </a:cubicBezTo>
                <a:cubicBezTo>
                  <a:pt x="20" y="35"/>
                  <a:pt x="20" y="35"/>
                  <a:pt x="20" y="35"/>
                </a:cubicBezTo>
                <a:cubicBezTo>
                  <a:pt x="19" y="33"/>
                  <a:pt x="19" y="33"/>
                  <a:pt x="19" y="33"/>
                </a:cubicBezTo>
                <a:cubicBezTo>
                  <a:pt x="19" y="32"/>
                  <a:pt x="19" y="32"/>
                  <a:pt x="19" y="32"/>
                </a:cubicBezTo>
                <a:cubicBezTo>
                  <a:pt x="18" y="32"/>
                  <a:pt x="18" y="32"/>
                  <a:pt x="18" y="32"/>
                </a:cubicBezTo>
                <a:cubicBezTo>
                  <a:pt x="18" y="32"/>
                  <a:pt x="18" y="32"/>
                  <a:pt x="18" y="32"/>
                </a:cubicBezTo>
                <a:cubicBezTo>
                  <a:pt x="17" y="32"/>
                  <a:pt x="17" y="32"/>
                  <a:pt x="17" y="32"/>
                </a:cubicBezTo>
                <a:cubicBezTo>
                  <a:pt x="17" y="29"/>
                  <a:pt x="17" y="29"/>
                  <a:pt x="17" y="29"/>
                </a:cubicBezTo>
                <a:cubicBezTo>
                  <a:pt x="16" y="28"/>
                  <a:pt x="16" y="28"/>
                  <a:pt x="16" y="28"/>
                </a:cubicBezTo>
                <a:cubicBezTo>
                  <a:pt x="16" y="26"/>
                  <a:pt x="16" y="26"/>
                  <a:pt x="16" y="26"/>
                </a:cubicBezTo>
                <a:cubicBezTo>
                  <a:pt x="16" y="25"/>
                  <a:pt x="16" y="25"/>
                  <a:pt x="16" y="25"/>
                </a:cubicBezTo>
                <a:cubicBezTo>
                  <a:pt x="16" y="25"/>
                  <a:pt x="16" y="25"/>
                  <a:pt x="16" y="25"/>
                </a:cubicBezTo>
                <a:cubicBezTo>
                  <a:pt x="15" y="25"/>
                  <a:pt x="15" y="25"/>
                  <a:pt x="15" y="25"/>
                </a:cubicBezTo>
                <a:cubicBezTo>
                  <a:pt x="15" y="23"/>
                  <a:pt x="15" y="23"/>
                  <a:pt x="15" y="23"/>
                </a:cubicBezTo>
                <a:cubicBezTo>
                  <a:pt x="15" y="22"/>
                  <a:pt x="15" y="22"/>
                  <a:pt x="15" y="22"/>
                </a:cubicBezTo>
                <a:cubicBezTo>
                  <a:pt x="16" y="23"/>
                  <a:pt x="16" y="23"/>
                  <a:pt x="16" y="23"/>
                </a:cubicBezTo>
                <a:cubicBezTo>
                  <a:pt x="17" y="23"/>
                  <a:pt x="17" y="23"/>
                  <a:pt x="17" y="23"/>
                </a:cubicBezTo>
                <a:cubicBezTo>
                  <a:pt x="18" y="22"/>
                  <a:pt x="18" y="22"/>
                  <a:pt x="18" y="22"/>
                </a:cubicBezTo>
                <a:cubicBezTo>
                  <a:pt x="18" y="22"/>
                  <a:pt x="18" y="22"/>
                  <a:pt x="18" y="22"/>
                </a:cubicBezTo>
                <a:cubicBezTo>
                  <a:pt x="17" y="19"/>
                  <a:pt x="17" y="19"/>
                  <a:pt x="17" y="19"/>
                </a:cubicBezTo>
                <a:cubicBezTo>
                  <a:pt x="18" y="18"/>
                  <a:pt x="18" y="18"/>
                  <a:pt x="18" y="18"/>
                </a:cubicBezTo>
                <a:cubicBezTo>
                  <a:pt x="18" y="15"/>
                  <a:pt x="18" y="15"/>
                  <a:pt x="18" y="15"/>
                </a:cubicBezTo>
                <a:cubicBezTo>
                  <a:pt x="18" y="12"/>
                  <a:pt x="18" y="12"/>
                  <a:pt x="18" y="12"/>
                </a:cubicBezTo>
                <a:cubicBezTo>
                  <a:pt x="18" y="11"/>
                  <a:pt x="18" y="11"/>
                  <a:pt x="18" y="11"/>
                </a:cubicBezTo>
                <a:cubicBezTo>
                  <a:pt x="19" y="8"/>
                  <a:pt x="19" y="8"/>
                  <a:pt x="19" y="8"/>
                </a:cubicBezTo>
                <a:cubicBezTo>
                  <a:pt x="19" y="7"/>
                  <a:pt x="19" y="7"/>
                  <a:pt x="19" y="7"/>
                </a:cubicBezTo>
                <a:cubicBezTo>
                  <a:pt x="21" y="6"/>
                  <a:pt x="21" y="6"/>
                  <a:pt x="21" y="6"/>
                </a:cubicBezTo>
                <a:cubicBezTo>
                  <a:pt x="24" y="7"/>
                  <a:pt x="24" y="7"/>
                  <a:pt x="24" y="7"/>
                </a:cubicBezTo>
                <a:cubicBezTo>
                  <a:pt x="25" y="8"/>
                  <a:pt x="25" y="8"/>
                  <a:pt x="25" y="8"/>
                </a:cubicBezTo>
                <a:cubicBezTo>
                  <a:pt x="25" y="8"/>
                  <a:pt x="25" y="8"/>
                  <a:pt x="25" y="8"/>
                </a:cubicBezTo>
                <a:cubicBezTo>
                  <a:pt x="26" y="8"/>
                  <a:pt x="26" y="8"/>
                  <a:pt x="26" y="8"/>
                </a:cubicBezTo>
                <a:cubicBezTo>
                  <a:pt x="28" y="8"/>
                  <a:pt x="28" y="8"/>
                  <a:pt x="28" y="8"/>
                </a:cubicBezTo>
                <a:cubicBezTo>
                  <a:pt x="28" y="7"/>
                  <a:pt x="28" y="7"/>
                  <a:pt x="28" y="7"/>
                </a:cubicBezTo>
                <a:cubicBezTo>
                  <a:pt x="29" y="6"/>
                  <a:pt x="29" y="6"/>
                  <a:pt x="29" y="6"/>
                </a:cubicBezTo>
                <a:cubicBezTo>
                  <a:pt x="29" y="6"/>
                  <a:pt x="29" y="6"/>
                  <a:pt x="29" y="6"/>
                </a:cubicBezTo>
                <a:cubicBezTo>
                  <a:pt x="30" y="7"/>
                  <a:pt x="30" y="7"/>
                  <a:pt x="30" y="7"/>
                </a:cubicBezTo>
                <a:cubicBezTo>
                  <a:pt x="30" y="8"/>
                  <a:pt x="30" y="8"/>
                  <a:pt x="30" y="8"/>
                </a:cubicBezTo>
                <a:cubicBezTo>
                  <a:pt x="29" y="9"/>
                  <a:pt x="29" y="9"/>
                  <a:pt x="29" y="9"/>
                </a:cubicBezTo>
                <a:cubicBezTo>
                  <a:pt x="29" y="12"/>
                  <a:pt x="29" y="12"/>
                  <a:pt x="29" y="12"/>
                </a:cubicBezTo>
                <a:cubicBezTo>
                  <a:pt x="30" y="13"/>
                  <a:pt x="30" y="13"/>
                  <a:pt x="30" y="13"/>
                </a:cubicBezTo>
                <a:cubicBezTo>
                  <a:pt x="31" y="14"/>
                  <a:pt x="31" y="14"/>
                  <a:pt x="31" y="14"/>
                </a:cubicBezTo>
                <a:cubicBezTo>
                  <a:pt x="31" y="15"/>
                  <a:pt x="31" y="15"/>
                  <a:pt x="31" y="15"/>
                </a:cubicBezTo>
                <a:cubicBezTo>
                  <a:pt x="32" y="16"/>
                  <a:pt x="32" y="16"/>
                  <a:pt x="32" y="16"/>
                </a:cubicBezTo>
                <a:cubicBezTo>
                  <a:pt x="31" y="19"/>
                  <a:pt x="31" y="19"/>
                  <a:pt x="31" y="19"/>
                </a:cubicBezTo>
                <a:cubicBezTo>
                  <a:pt x="30" y="21"/>
                  <a:pt x="30" y="21"/>
                  <a:pt x="30" y="21"/>
                </a:cubicBezTo>
                <a:cubicBezTo>
                  <a:pt x="31" y="22"/>
                  <a:pt x="31" y="22"/>
                  <a:pt x="31" y="22"/>
                </a:cubicBezTo>
                <a:cubicBezTo>
                  <a:pt x="30" y="24"/>
                  <a:pt x="30" y="24"/>
                  <a:pt x="30" y="24"/>
                </a:cubicBezTo>
                <a:cubicBezTo>
                  <a:pt x="30" y="23"/>
                  <a:pt x="30" y="23"/>
                  <a:pt x="30" y="23"/>
                </a:cubicBezTo>
                <a:cubicBezTo>
                  <a:pt x="30" y="22"/>
                  <a:pt x="30" y="22"/>
                  <a:pt x="30" y="22"/>
                </a:cubicBezTo>
                <a:cubicBezTo>
                  <a:pt x="29" y="23"/>
                  <a:pt x="29" y="23"/>
                  <a:pt x="29" y="23"/>
                </a:cubicBezTo>
                <a:cubicBezTo>
                  <a:pt x="27" y="25"/>
                  <a:pt x="27" y="25"/>
                  <a:pt x="27" y="25"/>
                </a:cubicBezTo>
                <a:cubicBezTo>
                  <a:pt x="27" y="26"/>
                  <a:pt x="27" y="26"/>
                  <a:pt x="27" y="26"/>
                </a:cubicBezTo>
                <a:cubicBezTo>
                  <a:pt x="27" y="27"/>
                  <a:pt x="27" y="27"/>
                  <a:pt x="27" y="27"/>
                </a:cubicBezTo>
                <a:cubicBezTo>
                  <a:pt x="26" y="28"/>
                  <a:pt x="26" y="28"/>
                  <a:pt x="26" y="28"/>
                </a:cubicBezTo>
                <a:cubicBezTo>
                  <a:pt x="26" y="30"/>
                  <a:pt x="26" y="30"/>
                  <a:pt x="26" y="30"/>
                </a:cubicBezTo>
                <a:cubicBezTo>
                  <a:pt x="27" y="30"/>
                  <a:pt x="27" y="30"/>
                  <a:pt x="27" y="30"/>
                </a:cubicBezTo>
                <a:cubicBezTo>
                  <a:pt x="27" y="32"/>
                  <a:pt x="27" y="32"/>
                  <a:pt x="27" y="32"/>
                </a:cubicBezTo>
                <a:cubicBezTo>
                  <a:pt x="28" y="33"/>
                  <a:pt x="28" y="33"/>
                  <a:pt x="28" y="33"/>
                </a:cubicBezTo>
                <a:cubicBezTo>
                  <a:pt x="28" y="34"/>
                  <a:pt x="28" y="34"/>
                  <a:pt x="28" y="34"/>
                </a:cubicBezTo>
                <a:cubicBezTo>
                  <a:pt x="28" y="35"/>
                  <a:pt x="28" y="35"/>
                  <a:pt x="28" y="35"/>
                </a:cubicBezTo>
                <a:close/>
                <a:moveTo>
                  <a:pt x="30" y="35"/>
                </a:moveTo>
                <a:cubicBezTo>
                  <a:pt x="30" y="36"/>
                  <a:pt x="30" y="36"/>
                  <a:pt x="30" y="36"/>
                </a:cubicBezTo>
                <a:cubicBezTo>
                  <a:pt x="31" y="37"/>
                  <a:pt x="31" y="37"/>
                  <a:pt x="31" y="37"/>
                </a:cubicBezTo>
                <a:cubicBezTo>
                  <a:pt x="31" y="36"/>
                  <a:pt x="31" y="36"/>
                  <a:pt x="31" y="36"/>
                </a:cubicBezTo>
                <a:cubicBezTo>
                  <a:pt x="30" y="35"/>
                  <a:pt x="30" y="35"/>
                  <a:pt x="30" y="35"/>
                </a:cubicBezTo>
                <a:close/>
                <a:moveTo>
                  <a:pt x="29" y="31"/>
                </a:moveTo>
                <a:cubicBezTo>
                  <a:pt x="30" y="32"/>
                  <a:pt x="30" y="32"/>
                  <a:pt x="30" y="32"/>
                </a:cubicBezTo>
                <a:cubicBezTo>
                  <a:pt x="29" y="33"/>
                  <a:pt x="29" y="33"/>
                  <a:pt x="29" y="33"/>
                </a:cubicBezTo>
                <a:cubicBezTo>
                  <a:pt x="30" y="34"/>
                  <a:pt x="30" y="34"/>
                  <a:pt x="30" y="34"/>
                </a:cubicBezTo>
                <a:cubicBezTo>
                  <a:pt x="31" y="33"/>
                  <a:pt x="31" y="33"/>
                  <a:pt x="31" y="33"/>
                </a:cubicBezTo>
                <a:cubicBezTo>
                  <a:pt x="31" y="31"/>
                  <a:pt x="31" y="31"/>
                  <a:pt x="31" y="31"/>
                </a:cubicBezTo>
                <a:cubicBezTo>
                  <a:pt x="31" y="30"/>
                  <a:pt x="31" y="30"/>
                  <a:pt x="31" y="30"/>
                </a:cubicBezTo>
                <a:cubicBezTo>
                  <a:pt x="30" y="30"/>
                  <a:pt x="30" y="30"/>
                  <a:pt x="30" y="30"/>
                </a:cubicBezTo>
                <a:cubicBezTo>
                  <a:pt x="29" y="31"/>
                  <a:pt x="29" y="31"/>
                  <a:pt x="29" y="31"/>
                </a:cubicBezTo>
                <a:close/>
                <a:moveTo>
                  <a:pt x="18" y="39"/>
                </a:moveTo>
                <a:cubicBezTo>
                  <a:pt x="18" y="39"/>
                  <a:pt x="18" y="39"/>
                  <a:pt x="18" y="39"/>
                </a:cubicBezTo>
                <a:cubicBezTo>
                  <a:pt x="20" y="40"/>
                  <a:pt x="20" y="40"/>
                  <a:pt x="20" y="40"/>
                </a:cubicBezTo>
                <a:cubicBezTo>
                  <a:pt x="20" y="40"/>
                  <a:pt x="20" y="40"/>
                  <a:pt x="20" y="40"/>
                </a:cubicBezTo>
                <a:cubicBezTo>
                  <a:pt x="19" y="39"/>
                  <a:pt x="19" y="39"/>
                  <a:pt x="19" y="39"/>
                </a:cubicBezTo>
                <a:cubicBezTo>
                  <a:pt x="18" y="39"/>
                  <a:pt x="18" y="39"/>
                  <a:pt x="18" y="39"/>
                </a:cubicBezTo>
                <a:close/>
                <a:moveTo>
                  <a:pt x="20" y="41"/>
                </a:moveTo>
                <a:cubicBezTo>
                  <a:pt x="20" y="42"/>
                  <a:pt x="20" y="42"/>
                  <a:pt x="20" y="42"/>
                </a:cubicBezTo>
                <a:cubicBezTo>
                  <a:pt x="21" y="42"/>
                  <a:pt x="21" y="42"/>
                  <a:pt x="21" y="42"/>
                </a:cubicBezTo>
                <a:cubicBezTo>
                  <a:pt x="21" y="43"/>
                  <a:pt x="21" y="43"/>
                  <a:pt x="21" y="43"/>
                </a:cubicBezTo>
                <a:cubicBezTo>
                  <a:pt x="22" y="44"/>
                  <a:pt x="22" y="44"/>
                  <a:pt x="22" y="44"/>
                </a:cubicBezTo>
                <a:cubicBezTo>
                  <a:pt x="23" y="45"/>
                  <a:pt x="23" y="45"/>
                  <a:pt x="23" y="45"/>
                </a:cubicBezTo>
                <a:cubicBezTo>
                  <a:pt x="23" y="47"/>
                  <a:pt x="23" y="47"/>
                  <a:pt x="23" y="47"/>
                </a:cubicBezTo>
                <a:cubicBezTo>
                  <a:pt x="24" y="47"/>
                  <a:pt x="24" y="47"/>
                  <a:pt x="24" y="47"/>
                </a:cubicBezTo>
                <a:cubicBezTo>
                  <a:pt x="24" y="48"/>
                  <a:pt x="24" y="48"/>
                  <a:pt x="24" y="48"/>
                </a:cubicBezTo>
                <a:cubicBezTo>
                  <a:pt x="25" y="50"/>
                  <a:pt x="25" y="50"/>
                  <a:pt x="25" y="50"/>
                </a:cubicBezTo>
                <a:cubicBezTo>
                  <a:pt x="26" y="50"/>
                  <a:pt x="26" y="50"/>
                  <a:pt x="26" y="50"/>
                </a:cubicBezTo>
                <a:cubicBezTo>
                  <a:pt x="28" y="49"/>
                  <a:pt x="28" y="49"/>
                  <a:pt x="28" y="49"/>
                </a:cubicBezTo>
                <a:cubicBezTo>
                  <a:pt x="28" y="48"/>
                  <a:pt x="28" y="48"/>
                  <a:pt x="28" y="48"/>
                </a:cubicBezTo>
                <a:cubicBezTo>
                  <a:pt x="28" y="48"/>
                  <a:pt x="28" y="48"/>
                  <a:pt x="28" y="48"/>
                </a:cubicBezTo>
                <a:cubicBezTo>
                  <a:pt x="28" y="47"/>
                  <a:pt x="28" y="47"/>
                  <a:pt x="28" y="47"/>
                </a:cubicBezTo>
                <a:cubicBezTo>
                  <a:pt x="28" y="46"/>
                  <a:pt x="28" y="46"/>
                  <a:pt x="28" y="46"/>
                </a:cubicBezTo>
                <a:cubicBezTo>
                  <a:pt x="28" y="45"/>
                  <a:pt x="28" y="45"/>
                  <a:pt x="28" y="45"/>
                </a:cubicBezTo>
                <a:cubicBezTo>
                  <a:pt x="28" y="44"/>
                  <a:pt x="28" y="44"/>
                  <a:pt x="28" y="44"/>
                </a:cubicBezTo>
                <a:cubicBezTo>
                  <a:pt x="27" y="43"/>
                  <a:pt x="27" y="43"/>
                  <a:pt x="27" y="43"/>
                </a:cubicBezTo>
                <a:cubicBezTo>
                  <a:pt x="24" y="41"/>
                  <a:pt x="24" y="41"/>
                  <a:pt x="24" y="41"/>
                </a:cubicBezTo>
                <a:cubicBezTo>
                  <a:pt x="23" y="41"/>
                  <a:pt x="23" y="41"/>
                  <a:pt x="23" y="41"/>
                </a:cubicBezTo>
                <a:cubicBezTo>
                  <a:pt x="21" y="41"/>
                  <a:pt x="21" y="41"/>
                  <a:pt x="21" y="41"/>
                </a:cubicBezTo>
                <a:cubicBezTo>
                  <a:pt x="20" y="41"/>
                  <a:pt x="20" y="41"/>
                  <a:pt x="20" y="41"/>
                </a:cubicBezTo>
                <a:close/>
                <a:moveTo>
                  <a:pt x="45" y="37"/>
                </a:moveTo>
                <a:cubicBezTo>
                  <a:pt x="44" y="37"/>
                  <a:pt x="44" y="37"/>
                  <a:pt x="44" y="37"/>
                </a:cubicBezTo>
                <a:cubicBezTo>
                  <a:pt x="45" y="39"/>
                  <a:pt x="45" y="39"/>
                  <a:pt x="45" y="39"/>
                </a:cubicBezTo>
                <a:cubicBezTo>
                  <a:pt x="44" y="40"/>
                  <a:pt x="44" y="40"/>
                  <a:pt x="44" y="40"/>
                </a:cubicBezTo>
                <a:cubicBezTo>
                  <a:pt x="44" y="40"/>
                  <a:pt x="44" y="40"/>
                  <a:pt x="44" y="40"/>
                </a:cubicBezTo>
                <a:cubicBezTo>
                  <a:pt x="44" y="41"/>
                  <a:pt x="44" y="41"/>
                  <a:pt x="44" y="41"/>
                </a:cubicBezTo>
                <a:cubicBezTo>
                  <a:pt x="46" y="40"/>
                  <a:pt x="46" y="40"/>
                  <a:pt x="46" y="40"/>
                </a:cubicBezTo>
                <a:cubicBezTo>
                  <a:pt x="46" y="39"/>
                  <a:pt x="46" y="39"/>
                  <a:pt x="46" y="39"/>
                </a:cubicBezTo>
                <a:cubicBezTo>
                  <a:pt x="46" y="38"/>
                  <a:pt x="46" y="38"/>
                  <a:pt x="46" y="38"/>
                </a:cubicBezTo>
                <a:cubicBezTo>
                  <a:pt x="45" y="37"/>
                  <a:pt x="45" y="37"/>
                  <a:pt x="45" y="37"/>
                </a:cubicBezTo>
                <a:close/>
                <a:moveTo>
                  <a:pt x="30" y="42"/>
                </a:moveTo>
                <a:cubicBezTo>
                  <a:pt x="31" y="43"/>
                  <a:pt x="31" y="43"/>
                  <a:pt x="31" y="43"/>
                </a:cubicBezTo>
                <a:cubicBezTo>
                  <a:pt x="31" y="42"/>
                  <a:pt x="31" y="42"/>
                  <a:pt x="31" y="42"/>
                </a:cubicBezTo>
                <a:cubicBezTo>
                  <a:pt x="32" y="42"/>
                  <a:pt x="32" y="42"/>
                  <a:pt x="32" y="42"/>
                </a:cubicBezTo>
                <a:cubicBezTo>
                  <a:pt x="31" y="41"/>
                  <a:pt x="31" y="41"/>
                  <a:pt x="31" y="41"/>
                </a:cubicBezTo>
                <a:cubicBezTo>
                  <a:pt x="30" y="40"/>
                  <a:pt x="30" y="40"/>
                  <a:pt x="30" y="40"/>
                </a:cubicBezTo>
                <a:cubicBezTo>
                  <a:pt x="30" y="41"/>
                  <a:pt x="30" y="41"/>
                  <a:pt x="30" y="41"/>
                </a:cubicBezTo>
                <a:cubicBezTo>
                  <a:pt x="30" y="42"/>
                  <a:pt x="30" y="42"/>
                  <a:pt x="30" y="42"/>
                </a:cubicBezTo>
                <a:close/>
                <a:moveTo>
                  <a:pt x="32" y="47"/>
                </a:moveTo>
                <a:cubicBezTo>
                  <a:pt x="32" y="48"/>
                  <a:pt x="32" y="48"/>
                  <a:pt x="32" y="48"/>
                </a:cubicBezTo>
                <a:cubicBezTo>
                  <a:pt x="31" y="49"/>
                  <a:pt x="31" y="49"/>
                  <a:pt x="31" y="49"/>
                </a:cubicBezTo>
                <a:cubicBezTo>
                  <a:pt x="32" y="51"/>
                  <a:pt x="32" y="51"/>
                  <a:pt x="32" y="51"/>
                </a:cubicBezTo>
                <a:cubicBezTo>
                  <a:pt x="32" y="50"/>
                  <a:pt x="32" y="50"/>
                  <a:pt x="32" y="50"/>
                </a:cubicBezTo>
                <a:cubicBezTo>
                  <a:pt x="33" y="49"/>
                  <a:pt x="33" y="49"/>
                  <a:pt x="33" y="49"/>
                </a:cubicBezTo>
                <a:cubicBezTo>
                  <a:pt x="32" y="48"/>
                  <a:pt x="32" y="48"/>
                  <a:pt x="32" y="48"/>
                </a:cubicBezTo>
                <a:cubicBezTo>
                  <a:pt x="33" y="46"/>
                  <a:pt x="33" y="46"/>
                  <a:pt x="33" y="46"/>
                </a:cubicBezTo>
                <a:cubicBezTo>
                  <a:pt x="32" y="47"/>
                  <a:pt x="32" y="47"/>
                  <a:pt x="32" y="47"/>
                </a:cubicBezTo>
                <a:close/>
                <a:moveTo>
                  <a:pt x="35" y="48"/>
                </a:moveTo>
                <a:cubicBezTo>
                  <a:pt x="35" y="48"/>
                  <a:pt x="35" y="48"/>
                  <a:pt x="35" y="48"/>
                </a:cubicBezTo>
                <a:cubicBezTo>
                  <a:pt x="35" y="49"/>
                  <a:pt x="35" y="49"/>
                  <a:pt x="35" y="49"/>
                </a:cubicBezTo>
                <a:cubicBezTo>
                  <a:pt x="36" y="49"/>
                  <a:pt x="36" y="49"/>
                  <a:pt x="36" y="49"/>
                </a:cubicBezTo>
                <a:cubicBezTo>
                  <a:pt x="36" y="48"/>
                  <a:pt x="36" y="48"/>
                  <a:pt x="36" y="48"/>
                </a:cubicBezTo>
                <a:cubicBezTo>
                  <a:pt x="35" y="48"/>
                  <a:pt x="35" y="48"/>
                  <a:pt x="35" y="48"/>
                </a:cubicBezTo>
                <a:close/>
                <a:moveTo>
                  <a:pt x="39" y="45"/>
                </a:moveTo>
                <a:cubicBezTo>
                  <a:pt x="38" y="43"/>
                  <a:pt x="38" y="43"/>
                  <a:pt x="38" y="43"/>
                </a:cubicBezTo>
                <a:cubicBezTo>
                  <a:pt x="37" y="44"/>
                  <a:pt x="37" y="44"/>
                  <a:pt x="37" y="44"/>
                </a:cubicBezTo>
                <a:cubicBezTo>
                  <a:pt x="37" y="44"/>
                  <a:pt x="37" y="44"/>
                  <a:pt x="37" y="44"/>
                </a:cubicBezTo>
                <a:cubicBezTo>
                  <a:pt x="39" y="46"/>
                  <a:pt x="39" y="46"/>
                  <a:pt x="39" y="46"/>
                </a:cubicBezTo>
                <a:cubicBezTo>
                  <a:pt x="39" y="45"/>
                  <a:pt x="39" y="45"/>
                  <a:pt x="39" y="45"/>
                </a:cubicBezTo>
                <a:cubicBezTo>
                  <a:pt x="39" y="45"/>
                  <a:pt x="39" y="45"/>
                  <a:pt x="39" y="45"/>
                </a:cubicBezTo>
                <a:close/>
                <a:moveTo>
                  <a:pt x="41" y="47"/>
                </a:moveTo>
                <a:cubicBezTo>
                  <a:pt x="42" y="48"/>
                  <a:pt x="42" y="48"/>
                  <a:pt x="42" y="48"/>
                </a:cubicBezTo>
                <a:cubicBezTo>
                  <a:pt x="43" y="49"/>
                  <a:pt x="43" y="49"/>
                  <a:pt x="43" y="49"/>
                </a:cubicBezTo>
                <a:cubicBezTo>
                  <a:pt x="43" y="49"/>
                  <a:pt x="43" y="49"/>
                  <a:pt x="43" y="49"/>
                </a:cubicBezTo>
                <a:cubicBezTo>
                  <a:pt x="42" y="47"/>
                  <a:pt x="42" y="47"/>
                  <a:pt x="42" y="47"/>
                </a:cubicBezTo>
                <a:cubicBezTo>
                  <a:pt x="41" y="47"/>
                  <a:pt x="41" y="47"/>
                  <a:pt x="41" y="47"/>
                </a:cubicBezTo>
                <a:close/>
                <a:moveTo>
                  <a:pt x="39" y="52"/>
                </a:moveTo>
                <a:cubicBezTo>
                  <a:pt x="40" y="50"/>
                  <a:pt x="40" y="50"/>
                  <a:pt x="40" y="50"/>
                </a:cubicBezTo>
                <a:cubicBezTo>
                  <a:pt x="41" y="50"/>
                  <a:pt x="41" y="50"/>
                  <a:pt x="41" y="50"/>
                </a:cubicBezTo>
                <a:cubicBezTo>
                  <a:pt x="43" y="52"/>
                  <a:pt x="43" y="52"/>
                  <a:pt x="43" y="52"/>
                </a:cubicBezTo>
                <a:cubicBezTo>
                  <a:pt x="44" y="52"/>
                  <a:pt x="44" y="52"/>
                  <a:pt x="44" y="52"/>
                </a:cubicBezTo>
                <a:cubicBezTo>
                  <a:pt x="45" y="52"/>
                  <a:pt x="45" y="52"/>
                  <a:pt x="45" y="52"/>
                </a:cubicBezTo>
                <a:cubicBezTo>
                  <a:pt x="45" y="51"/>
                  <a:pt x="45" y="51"/>
                  <a:pt x="45" y="51"/>
                </a:cubicBezTo>
                <a:cubicBezTo>
                  <a:pt x="44" y="50"/>
                  <a:pt x="44" y="50"/>
                  <a:pt x="44" y="50"/>
                </a:cubicBezTo>
                <a:cubicBezTo>
                  <a:pt x="42" y="49"/>
                  <a:pt x="42" y="49"/>
                  <a:pt x="42" y="49"/>
                </a:cubicBezTo>
                <a:cubicBezTo>
                  <a:pt x="42" y="49"/>
                  <a:pt x="42" y="49"/>
                  <a:pt x="42" y="49"/>
                </a:cubicBezTo>
                <a:cubicBezTo>
                  <a:pt x="41" y="48"/>
                  <a:pt x="41" y="48"/>
                  <a:pt x="41" y="48"/>
                </a:cubicBezTo>
                <a:cubicBezTo>
                  <a:pt x="40" y="48"/>
                  <a:pt x="40" y="48"/>
                  <a:pt x="40" y="48"/>
                </a:cubicBezTo>
                <a:cubicBezTo>
                  <a:pt x="40" y="48"/>
                  <a:pt x="40" y="48"/>
                  <a:pt x="40" y="48"/>
                </a:cubicBezTo>
                <a:cubicBezTo>
                  <a:pt x="39" y="47"/>
                  <a:pt x="39" y="47"/>
                  <a:pt x="39" y="47"/>
                </a:cubicBezTo>
                <a:cubicBezTo>
                  <a:pt x="39" y="49"/>
                  <a:pt x="39" y="49"/>
                  <a:pt x="39" y="49"/>
                </a:cubicBezTo>
                <a:cubicBezTo>
                  <a:pt x="40" y="50"/>
                  <a:pt x="40" y="50"/>
                  <a:pt x="40" y="50"/>
                </a:cubicBezTo>
                <a:cubicBezTo>
                  <a:pt x="39" y="50"/>
                  <a:pt x="39" y="50"/>
                  <a:pt x="39" y="50"/>
                </a:cubicBezTo>
                <a:cubicBezTo>
                  <a:pt x="39" y="51"/>
                  <a:pt x="39" y="51"/>
                  <a:pt x="39" y="51"/>
                </a:cubicBezTo>
                <a:cubicBezTo>
                  <a:pt x="39" y="52"/>
                  <a:pt x="39" y="52"/>
                  <a:pt x="39" y="52"/>
                </a:cubicBezTo>
                <a:close/>
                <a:moveTo>
                  <a:pt x="33" y="61"/>
                </a:moveTo>
                <a:cubicBezTo>
                  <a:pt x="33" y="61"/>
                  <a:pt x="33" y="61"/>
                  <a:pt x="33" y="61"/>
                </a:cubicBezTo>
                <a:cubicBezTo>
                  <a:pt x="32" y="62"/>
                  <a:pt x="32" y="62"/>
                  <a:pt x="32" y="62"/>
                </a:cubicBezTo>
                <a:cubicBezTo>
                  <a:pt x="32" y="59"/>
                  <a:pt x="32" y="59"/>
                  <a:pt x="32" y="59"/>
                </a:cubicBezTo>
                <a:cubicBezTo>
                  <a:pt x="32" y="58"/>
                  <a:pt x="32" y="58"/>
                  <a:pt x="32" y="58"/>
                </a:cubicBezTo>
                <a:cubicBezTo>
                  <a:pt x="32" y="56"/>
                  <a:pt x="32" y="56"/>
                  <a:pt x="32" y="56"/>
                </a:cubicBezTo>
                <a:cubicBezTo>
                  <a:pt x="32" y="55"/>
                  <a:pt x="32" y="55"/>
                  <a:pt x="32" y="55"/>
                </a:cubicBezTo>
                <a:cubicBezTo>
                  <a:pt x="32" y="53"/>
                  <a:pt x="32" y="53"/>
                  <a:pt x="32" y="53"/>
                </a:cubicBezTo>
                <a:cubicBezTo>
                  <a:pt x="32" y="53"/>
                  <a:pt x="32" y="53"/>
                  <a:pt x="32" y="53"/>
                </a:cubicBezTo>
                <a:cubicBezTo>
                  <a:pt x="30" y="53"/>
                  <a:pt x="30" y="53"/>
                  <a:pt x="30" y="53"/>
                </a:cubicBezTo>
                <a:cubicBezTo>
                  <a:pt x="31" y="52"/>
                  <a:pt x="31" y="52"/>
                  <a:pt x="31" y="52"/>
                </a:cubicBezTo>
                <a:cubicBezTo>
                  <a:pt x="32" y="52"/>
                  <a:pt x="32" y="52"/>
                  <a:pt x="32" y="52"/>
                </a:cubicBezTo>
                <a:cubicBezTo>
                  <a:pt x="33" y="53"/>
                  <a:pt x="33" y="53"/>
                  <a:pt x="33" y="53"/>
                </a:cubicBezTo>
                <a:cubicBezTo>
                  <a:pt x="34" y="53"/>
                  <a:pt x="34" y="53"/>
                  <a:pt x="34" y="53"/>
                </a:cubicBezTo>
                <a:cubicBezTo>
                  <a:pt x="34" y="54"/>
                  <a:pt x="34" y="54"/>
                  <a:pt x="34" y="54"/>
                </a:cubicBezTo>
                <a:cubicBezTo>
                  <a:pt x="35" y="54"/>
                  <a:pt x="35" y="54"/>
                  <a:pt x="35" y="54"/>
                </a:cubicBezTo>
                <a:cubicBezTo>
                  <a:pt x="36" y="54"/>
                  <a:pt x="36" y="54"/>
                  <a:pt x="36" y="54"/>
                </a:cubicBezTo>
                <a:cubicBezTo>
                  <a:pt x="37" y="54"/>
                  <a:pt x="37" y="54"/>
                  <a:pt x="37" y="54"/>
                </a:cubicBezTo>
                <a:cubicBezTo>
                  <a:pt x="38" y="55"/>
                  <a:pt x="38" y="55"/>
                  <a:pt x="38" y="55"/>
                </a:cubicBezTo>
                <a:cubicBezTo>
                  <a:pt x="38" y="54"/>
                  <a:pt x="38" y="54"/>
                  <a:pt x="38" y="54"/>
                </a:cubicBezTo>
                <a:cubicBezTo>
                  <a:pt x="39" y="54"/>
                  <a:pt x="39" y="54"/>
                  <a:pt x="39" y="54"/>
                </a:cubicBezTo>
                <a:cubicBezTo>
                  <a:pt x="40" y="55"/>
                  <a:pt x="40" y="55"/>
                  <a:pt x="40" y="55"/>
                </a:cubicBezTo>
                <a:cubicBezTo>
                  <a:pt x="39" y="56"/>
                  <a:pt x="39" y="56"/>
                  <a:pt x="39" y="56"/>
                </a:cubicBezTo>
                <a:cubicBezTo>
                  <a:pt x="39" y="56"/>
                  <a:pt x="39" y="56"/>
                  <a:pt x="39" y="56"/>
                </a:cubicBezTo>
                <a:cubicBezTo>
                  <a:pt x="38" y="57"/>
                  <a:pt x="38" y="57"/>
                  <a:pt x="38" y="57"/>
                </a:cubicBezTo>
                <a:cubicBezTo>
                  <a:pt x="37" y="59"/>
                  <a:pt x="37" y="59"/>
                  <a:pt x="37" y="59"/>
                </a:cubicBezTo>
                <a:cubicBezTo>
                  <a:pt x="36" y="60"/>
                  <a:pt x="36" y="60"/>
                  <a:pt x="36" y="60"/>
                </a:cubicBezTo>
                <a:cubicBezTo>
                  <a:pt x="36" y="60"/>
                  <a:pt x="36" y="60"/>
                  <a:pt x="36" y="60"/>
                </a:cubicBezTo>
                <a:cubicBezTo>
                  <a:pt x="35" y="60"/>
                  <a:pt x="35" y="60"/>
                  <a:pt x="35" y="60"/>
                </a:cubicBezTo>
                <a:cubicBezTo>
                  <a:pt x="35" y="60"/>
                  <a:pt x="35" y="60"/>
                  <a:pt x="35" y="60"/>
                </a:cubicBezTo>
                <a:cubicBezTo>
                  <a:pt x="33" y="61"/>
                  <a:pt x="33" y="61"/>
                  <a:pt x="33" y="61"/>
                </a:cubicBezTo>
                <a:close/>
                <a:moveTo>
                  <a:pt x="36" y="60"/>
                </a:moveTo>
                <a:cubicBezTo>
                  <a:pt x="35" y="60"/>
                  <a:pt x="35" y="60"/>
                  <a:pt x="35" y="60"/>
                </a:cubicBezTo>
                <a:cubicBezTo>
                  <a:pt x="35" y="62"/>
                  <a:pt x="35" y="62"/>
                  <a:pt x="35" y="62"/>
                </a:cubicBezTo>
                <a:cubicBezTo>
                  <a:pt x="36" y="62"/>
                  <a:pt x="36" y="62"/>
                  <a:pt x="36" y="62"/>
                </a:cubicBezTo>
                <a:cubicBezTo>
                  <a:pt x="37" y="61"/>
                  <a:pt x="37" y="61"/>
                  <a:pt x="37" y="61"/>
                </a:cubicBezTo>
                <a:cubicBezTo>
                  <a:pt x="37" y="60"/>
                  <a:pt x="37" y="60"/>
                  <a:pt x="37" y="60"/>
                </a:cubicBezTo>
                <a:cubicBezTo>
                  <a:pt x="36" y="60"/>
                  <a:pt x="36" y="60"/>
                  <a:pt x="36" y="60"/>
                </a:cubicBezTo>
                <a:close/>
                <a:moveTo>
                  <a:pt x="47" y="60"/>
                </a:moveTo>
                <a:cubicBezTo>
                  <a:pt x="47" y="61"/>
                  <a:pt x="47" y="61"/>
                  <a:pt x="47" y="61"/>
                </a:cubicBezTo>
                <a:cubicBezTo>
                  <a:pt x="46" y="60"/>
                  <a:pt x="46" y="60"/>
                  <a:pt x="46" y="60"/>
                </a:cubicBezTo>
                <a:cubicBezTo>
                  <a:pt x="47" y="60"/>
                  <a:pt x="47" y="60"/>
                  <a:pt x="47" y="60"/>
                </a:cubicBezTo>
                <a:close/>
                <a:moveTo>
                  <a:pt x="41" y="68"/>
                </a:moveTo>
                <a:cubicBezTo>
                  <a:pt x="42" y="67"/>
                  <a:pt x="42" y="67"/>
                  <a:pt x="42" y="67"/>
                </a:cubicBezTo>
                <a:cubicBezTo>
                  <a:pt x="43" y="64"/>
                  <a:pt x="43" y="64"/>
                  <a:pt x="43" y="64"/>
                </a:cubicBezTo>
                <a:cubicBezTo>
                  <a:pt x="45" y="62"/>
                  <a:pt x="45" y="62"/>
                  <a:pt x="45" y="62"/>
                </a:cubicBezTo>
                <a:cubicBezTo>
                  <a:pt x="45" y="61"/>
                  <a:pt x="45" y="61"/>
                  <a:pt x="45" y="61"/>
                </a:cubicBezTo>
                <a:cubicBezTo>
                  <a:pt x="45" y="60"/>
                  <a:pt x="45" y="60"/>
                  <a:pt x="45" y="60"/>
                </a:cubicBezTo>
                <a:cubicBezTo>
                  <a:pt x="45" y="59"/>
                  <a:pt x="45" y="59"/>
                  <a:pt x="45" y="59"/>
                </a:cubicBezTo>
                <a:cubicBezTo>
                  <a:pt x="45" y="57"/>
                  <a:pt x="45" y="57"/>
                  <a:pt x="45" y="57"/>
                </a:cubicBezTo>
                <a:cubicBezTo>
                  <a:pt x="44" y="57"/>
                  <a:pt x="44" y="57"/>
                  <a:pt x="44" y="57"/>
                </a:cubicBezTo>
                <a:cubicBezTo>
                  <a:pt x="44" y="59"/>
                  <a:pt x="44" y="59"/>
                  <a:pt x="44" y="59"/>
                </a:cubicBezTo>
                <a:cubicBezTo>
                  <a:pt x="43" y="61"/>
                  <a:pt x="43" y="61"/>
                  <a:pt x="43" y="61"/>
                </a:cubicBezTo>
                <a:cubicBezTo>
                  <a:pt x="43" y="63"/>
                  <a:pt x="43" y="63"/>
                  <a:pt x="43" y="63"/>
                </a:cubicBezTo>
                <a:cubicBezTo>
                  <a:pt x="42" y="64"/>
                  <a:pt x="42" y="64"/>
                  <a:pt x="42" y="64"/>
                </a:cubicBezTo>
                <a:cubicBezTo>
                  <a:pt x="41" y="66"/>
                  <a:pt x="41" y="66"/>
                  <a:pt x="41" y="66"/>
                </a:cubicBezTo>
                <a:cubicBezTo>
                  <a:pt x="41" y="67"/>
                  <a:pt x="41" y="67"/>
                  <a:pt x="41" y="67"/>
                </a:cubicBezTo>
                <a:cubicBezTo>
                  <a:pt x="41" y="68"/>
                  <a:pt x="41" y="68"/>
                  <a:pt x="41" y="68"/>
                </a:cubicBezTo>
                <a:close/>
                <a:moveTo>
                  <a:pt x="40" y="67"/>
                </a:moveTo>
                <a:cubicBezTo>
                  <a:pt x="40" y="65"/>
                  <a:pt x="40" y="65"/>
                  <a:pt x="40" y="65"/>
                </a:cubicBezTo>
                <a:cubicBezTo>
                  <a:pt x="41" y="61"/>
                  <a:pt x="41" y="61"/>
                  <a:pt x="41" y="61"/>
                </a:cubicBezTo>
                <a:cubicBezTo>
                  <a:pt x="42" y="60"/>
                  <a:pt x="42" y="60"/>
                  <a:pt x="42" y="60"/>
                </a:cubicBezTo>
                <a:cubicBezTo>
                  <a:pt x="42" y="59"/>
                  <a:pt x="42" y="59"/>
                  <a:pt x="42" y="59"/>
                </a:cubicBezTo>
                <a:cubicBezTo>
                  <a:pt x="41" y="58"/>
                  <a:pt x="41" y="58"/>
                  <a:pt x="41" y="58"/>
                </a:cubicBezTo>
                <a:cubicBezTo>
                  <a:pt x="40" y="59"/>
                  <a:pt x="40" y="59"/>
                  <a:pt x="40" y="59"/>
                </a:cubicBezTo>
                <a:cubicBezTo>
                  <a:pt x="40" y="58"/>
                  <a:pt x="40" y="58"/>
                  <a:pt x="40" y="58"/>
                </a:cubicBezTo>
                <a:cubicBezTo>
                  <a:pt x="39" y="59"/>
                  <a:pt x="39" y="59"/>
                  <a:pt x="39" y="59"/>
                </a:cubicBezTo>
                <a:cubicBezTo>
                  <a:pt x="39" y="60"/>
                  <a:pt x="39" y="60"/>
                  <a:pt x="39" y="60"/>
                </a:cubicBezTo>
                <a:cubicBezTo>
                  <a:pt x="38" y="61"/>
                  <a:pt x="38" y="61"/>
                  <a:pt x="38" y="61"/>
                </a:cubicBezTo>
                <a:cubicBezTo>
                  <a:pt x="38" y="63"/>
                  <a:pt x="38" y="63"/>
                  <a:pt x="38" y="63"/>
                </a:cubicBezTo>
                <a:cubicBezTo>
                  <a:pt x="37" y="65"/>
                  <a:pt x="37" y="65"/>
                  <a:pt x="37" y="65"/>
                </a:cubicBezTo>
                <a:cubicBezTo>
                  <a:pt x="35" y="65"/>
                  <a:pt x="35" y="65"/>
                  <a:pt x="35" y="65"/>
                </a:cubicBezTo>
                <a:cubicBezTo>
                  <a:pt x="35" y="66"/>
                  <a:pt x="35" y="66"/>
                  <a:pt x="35" y="66"/>
                </a:cubicBezTo>
                <a:cubicBezTo>
                  <a:pt x="35" y="68"/>
                  <a:pt x="35" y="68"/>
                  <a:pt x="35" y="68"/>
                </a:cubicBezTo>
                <a:cubicBezTo>
                  <a:pt x="36" y="68"/>
                  <a:pt x="36" y="68"/>
                  <a:pt x="36" y="68"/>
                </a:cubicBezTo>
                <a:cubicBezTo>
                  <a:pt x="37" y="69"/>
                  <a:pt x="37" y="69"/>
                  <a:pt x="37" y="69"/>
                </a:cubicBezTo>
                <a:cubicBezTo>
                  <a:pt x="39" y="69"/>
                  <a:pt x="39" y="69"/>
                  <a:pt x="39" y="69"/>
                </a:cubicBezTo>
                <a:cubicBezTo>
                  <a:pt x="39" y="70"/>
                  <a:pt x="39" y="70"/>
                  <a:pt x="39" y="70"/>
                </a:cubicBezTo>
                <a:cubicBezTo>
                  <a:pt x="40" y="71"/>
                  <a:pt x="40" y="71"/>
                  <a:pt x="40" y="71"/>
                </a:cubicBezTo>
                <a:cubicBezTo>
                  <a:pt x="41" y="70"/>
                  <a:pt x="41" y="70"/>
                  <a:pt x="41" y="70"/>
                </a:cubicBezTo>
                <a:cubicBezTo>
                  <a:pt x="41" y="69"/>
                  <a:pt x="41" y="69"/>
                  <a:pt x="41" y="69"/>
                </a:cubicBezTo>
                <a:cubicBezTo>
                  <a:pt x="40" y="67"/>
                  <a:pt x="40" y="67"/>
                  <a:pt x="40" y="67"/>
                </a:cubicBezTo>
                <a:close/>
                <a:moveTo>
                  <a:pt x="43" y="69"/>
                </a:moveTo>
                <a:cubicBezTo>
                  <a:pt x="44" y="70"/>
                  <a:pt x="44" y="70"/>
                  <a:pt x="44" y="70"/>
                </a:cubicBezTo>
                <a:cubicBezTo>
                  <a:pt x="44" y="71"/>
                  <a:pt x="44" y="71"/>
                  <a:pt x="44" y="71"/>
                </a:cubicBezTo>
                <a:cubicBezTo>
                  <a:pt x="43" y="71"/>
                  <a:pt x="43" y="71"/>
                  <a:pt x="43" y="71"/>
                </a:cubicBezTo>
                <a:cubicBezTo>
                  <a:pt x="42" y="70"/>
                  <a:pt x="42" y="70"/>
                  <a:pt x="42" y="70"/>
                </a:cubicBezTo>
                <a:cubicBezTo>
                  <a:pt x="42" y="70"/>
                  <a:pt x="42" y="70"/>
                  <a:pt x="42" y="70"/>
                </a:cubicBezTo>
                <a:cubicBezTo>
                  <a:pt x="43" y="69"/>
                  <a:pt x="43" y="69"/>
                  <a:pt x="43" y="69"/>
                </a:cubicBezTo>
                <a:close/>
                <a:moveTo>
                  <a:pt x="47" y="64"/>
                </a:moveTo>
                <a:cubicBezTo>
                  <a:pt x="48" y="64"/>
                  <a:pt x="48" y="64"/>
                  <a:pt x="48" y="64"/>
                </a:cubicBezTo>
                <a:cubicBezTo>
                  <a:pt x="49" y="64"/>
                  <a:pt x="49" y="64"/>
                  <a:pt x="49" y="64"/>
                </a:cubicBezTo>
                <a:cubicBezTo>
                  <a:pt x="49" y="66"/>
                  <a:pt x="49" y="66"/>
                  <a:pt x="49" y="66"/>
                </a:cubicBezTo>
                <a:cubicBezTo>
                  <a:pt x="48" y="66"/>
                  <a:pt x="48" y="66"/>
                  <a:pt x="48" y="66"/>
                </a:cubicBezTo>
                <a:cubicBezTo>
                  <a:pt x="46" y="67"/>
                  <a:pt x="46" y="67"/>
                  <a:pt x="46" y="67"/>
                </a:cubicBezTo>
                <a:cubicBezTo>
                  <a:pt x="45" y="67"/>
                  <a:pt x="45" y="67"/>
                  <a:pt x="45" y="67"/>
                </a:cubicBezTo>
                <a:cubicBezTo>
                  <a:pt x="45" y="67"/>
                  <a:pt x="45" y="67"/>
                  <a:pt x="45" y="67"/>
                </a:cubicBezTo>
                <a:cubicBezTo>
                  <a:pt x="44" y="66"/>
                  <a:pt x="44" y="66"/>
                  <a:pt x="44" y="66"/>
                </a:cubicBezTo>
                <a:cubicBezTo>
                  <a:pt x="45" y="65"/>
                  <a:pt x="45" y="65"/>
                  <a:pt x="45" y="65"/>
                </a:cubicBezTo>
                <a:cubicBezTo>
                  <a:pt x="47" y="64"/>
                  <a:pt x="47" y="64"/>
                  <a:pt x="47" y="64"/>
                </a:cubicBezTo>
                <a:close/>
                <a:moveTo>
                  <a:pt x="53" y="64"/>
                </a:moveTo>
                <a:cubicBezTo>
                  <a:pt x="53" y="65"/>
                  <a:pt x="53" y="65"/>
                  <a:pt x="53" y="65"/>
                </a:cubicBezTo>
                <a:cubicBezTo>
                  <a:pt x="53" y="66"/>
                  <a:pt x="53" y="66"/>
                  <a:pt x="53" y="66"/>
                </a:cubicBezTo>
                <a:cubicBezTo>
                  <a:pt x="53" y="65"/>
                  <a:pt x="53" y="65"/>
                  <a:pt x="53" y="65"/>
                </a:cubicBezTo>
                <a:cubicBezTo>
                  <a:pt x="53" y="64"/>
                  <a:pt x="53" y="64"/>
                  <a:pt x="53" y="64"/>
                </a:cubicBezTo>
                <a:close/>
                <a:moveTo>
                  <a:pt x="49" y="69"/>
                </a:moveTo>
                <a:cubicBezTo>
                  <a:pt x="50" y="70"/>
                  <a:pt x="50" y="70"/>
                  <a:pt x="50" y="70"/>
                </a:cubicBezTo>
                <a:cubicBezTo>
                  <a:pt x="50" y="71"/>
                  <a:pt x="50" y="71"/>
                  <a:pt x="50" y="71"/>
                </a:cubicBezTo>
                <a:cubicBezTo>
                  <a:pt x="49" y="70"/>
                  <a:pt x="49" y="70"/>
                  <a:pt x="49" y="70"/>
                </a:cubicBezTo>
                <a:cubicBezTo>
                  <a:pt x="49" y="69"/>
                  <a:pt x="49" y="69"/>
                  <a:pt x="49" y="69"/>
                </a:cubicBezTo>
                <a:cubicBezTo>
                  <a:pt x="49" y="69"/>
                  <a:pt x="49" y="69"/>
                  <a:pt x="49" y="69"/>
                </a:cubicBezTo>
                <a:close/>
                <a:moveTo>
                  <a:pt x="48" y="54"/>
                </a:moveTo>
                <a:cubicBezTo>
                  <a:pt x="48" y="55"/>
                  <a:pt x="48" y="55"/>
                  <a:pt x="48" y="55"/>
                </a:cubicBezTo>
                <a:cubicBezTo>
                  <a:pt x="47" y="55"/>
                  <a:pt x="47" y="55"/>
                  <a:pt x="47" y="55"/>
                </a:cubicBezTo>
                <a:cubicBezTo>
                  <a:pt x="46" y="55"/>
                  <a:pt x="46" y="55"/>
                  <a:pt x="46" y="55"/>
                </a:cubicBezTo>
                <a:cubicBezTo>
                  <a:pt x="47" y="54"/>
                  <a:pt x="47" y="54"/>
                  <a:pt x="47" y="54"/>
                </a:cubicBezTo>
                <a:cubicBezTo>
                  <a:pt x="48" y="54"/>
                  <a:pt x="48" y="54"/>
                  <a:pt x="48" y="54"/>
                </a:cubicBezTo>
                <a:close/>
                <a:moveTo>
                  <a:pt x="51" y="56"/>
                </a:moveTo>
                <a:cubicBezTo>
                  <a:pt x="52" y="56"/>
                  <a:pt x="52" y="56"/>
                  <a:pt x="52" y="56"/>
                </a:cubicBezTo>
                <a:cubicBezTo>
                  <a:pt x="52" y="57"/>
                  <a:pt x="52" y="57"/>
                  <a:pt x="52" y="57"/>
                </a:cubicBezTo>
                <a:cubicBezTo>
                  <a:pt x="54" y="57"/>
                  <a:pt x="54" y="57"/>
                  <a:pt x="54" y="57"/>
                </a:cubicBezTo>
                <a:cubicBezTo>
                  <a:pt x="55" y="57"/>
                  <a:pt x="55" y="57"/>
                  <a:pt x="55" y="57"/>
                </a:cubicBezTo>
                <a:cubicBezTo>
                  <a:pt x="55" y="57"/>
                  <a:pt x="55" y="57"/>
                  <a:pt x="55" y="57"/>
                </a:cubicBezTo>
                <a:cubicBezTo>
                  <a:pt x="56" y="57"/>
                  <a:pt x="56" y="57"/>
                  <a:pt x="56" y="57"/>
                </a:cubicBezTo>
                <a:cubicBezTo>
                  <a:pt x="55" y="57"/>
                  <a:pt x="55" y="57"/>
                  <a:pt x="55" y="57"/>
                </a:cubicBezTo>
                <a:cubicBezTo>
                  <a:pt x="55" y="55"/>
                  <a:pt x="55" y="55"/>
                  <a:pt x="55" y="55"/>
                </a:cubicBezTo>
                <a:cubicBezTo>
                  <a:pt x="54" y="55"/>
                  <a:pt x="54" y="55"/>
                  <a:pt x="54" y="55"/>
                </a:cubicBezTo>
                <a:cubicBezTo>
                  <a:pt x="54" y="53"/>
                  <a:pt x="54" y="53"/>
                  <a:pt x="54" y="53"/>
                </a:cubicBezTo>
                <a:cubicBezTo>
                  <a:pt x="54" y="51"/>
                  <a:pt x="54" y="51"/>
                  <a:pt x="54" y="51"/>
                </a:cubicBezTo>
                <a:cubicBezTo>
                  <a:pt x="54" y="50"/>
                  <a:pt x="54" y="50"/>
                  <a:pt x="54" y="50"/>
                </a:cubicBezTo>
                <a:cubicBezTo>
                  <a:pt x="53" y="50"/>
                  <a:pt x="53" y="50"/>
                  <a:pt x="53" y="50"/>
                </a:cubicBezTo>
                <a:cubicBezTo>
                  <a:pt x="52" y="48"/>
                  <a:pt x="52" y="48"/>
                  <a:pt x="52" y="48"/>
                </a:cubicBezTo>
                <a:cubicBezTo>
                  <a:pt x="52" y="47"/>
                  <a:pt x="52" y="47"/>
                  <a:pt x="52" y="47"/>
                </a:cubicBezTo>
                <a:cubicBezTo>
                  <a:pt x="51" y="47"/>
                  <a:pt x="51" y="47"/>
                  <a:pt x="51" y="47"/>
                </a:cubicBezTo>
                <a:cubicBezTo>
                  <a:pt x="51" y="47"/>
                  <a:pt x="51" y="47"/>
                  <a:pt x="51" y="47"/>
                </a:cubicBezTo>
                <a:cubicBezTo>
                  <a:pt x="50" y="47"/>
                  <a:pt x="50" y="47"/>
                  <a:pt x="50" y="47"/>
                </a:cubicBezTo>
                <a:cubicBezTo>
                  <a:pt x="49" y="47"/>
                  <a:pt x="49" y="47"/>
                  <a:pt x="49" y="47"/>
                </a:cubicBezTo>
                <a:cubicBezTo>
                  <a:pt x="49" y="48"/>
                  <a:pt x="49" y="48"/>
                  <a:pt x="49" y="48"/>
                </a:cubicBezTo>
                <a:cubicBezTo>
                  <a:pt x="48" y="48"/>
                  <a:pt x="48" y="48"/>
                  <a:pt x="48" y="48"/>
                </a:cubicBezTo>
                <a:cubicBezTo>
                  <a:pt x="47" y="48"/>
                  <a:pt x="47" y="48"/>
                  <a:pt x="47" y="48"/>
                </a:cubicBezTo>
                <a:cubicBezTo>
                  <a:pt x="46" y="47"/>
                  <a:pt x="46" y="47"/>
                  <a:pt x="46" y="47"/>
                </a:cubicBezTo>
                <a:cubicBezTo>
                  <a:pt x="46" y="48"/>
                  <a:pt x="46" y="48"/>
                  <a:pt x="46" y="48"/>
                </a:cubicBezTo>
                <a:cubicBezTo>
                  <a:pt x="47" y="50"/>
                  <a:pt x="47" y="50"/>
                  <a:pt x="47" y="50"/>
                </a:cubicBezTo>
                <a:cubicBezTo>
                  <a:pt x="49" y="51"/>
                  <a:pt x="49" y="51"/>
                  <a:pt x="49" y="51"/>
                </a:cubicBezTo>
                <a:cubicBezTo>
                  <a:pt x="50" y="53"/>
                  <a:pt x="50" y="53"/>
                  <a:pt x="50" y="53"/>
                </a:cubicBezTo>
                <a:cubicBezTo>
                  <a:pt x="51" y="54"/>
                  <a:pt x="51" y="54"/>
                  <a:pt x="51" y="54"/>
                </a:cubicBezTo>
                <a:cubicBezTo>
                  <a:pt x="51" y="54"/>
                  <a:pt x="51" y="54"/>
                  <a:pt x="51" y="54"/>
                </a:cubicBezTo>
                <a:cubicBezTo>
                  <a:pt x="50" y="55"/>
                  <a:pt x="50" y="55"/>
                  <a:pt x="50" y="55"/>
                </a:cubicBezTo>
                <a:cubicBezTo>
                  <a:pt x="50" y="55"/>
                  <a:pt x="50" y="55"/>
                  <a:pt x="50" y="55"/>
                </a:cubicBezTo>
                <a:cubicBezTo>
                  <a:pt x="50" y="55"/>
                  <a:pt x="50" y="55"/>
                  <a:pt x="50" y="55"/>
                </a:cubicBezTo>
                <a:cubicBezTo>
                  <a:pt x="51" y="55"/>
                  <a:pt x="51" y="55"/>
                  <a:pt x="51" y="55"/>
                </a:cubicBezTo>
                <a:cubicBezTo>
                  <a:pt x="51" y="56"/>
                  <a:pt x="51" y="56"/>
                  <a:pt x="51" y="56"/>
                </a:cubicBezTo>
                <a:close/>
                <a:moveTo>
                  <a:pt x="50" y="56"/>
                </a:moveTo>
                <a:cubicBezTo>
                  <a:pt x="49" y="56"/>
                  <a:pt x="49" y="56"/>
                  <a:pt x="49" y="56"/>
                </a:cubicBezTo>
                <a:cubicBezTo>
                  <a:pt x="48" y="56"/>
                  <a:pt x="48" y="56"/>
                  <a:pt x="48" y="56"/>
                </a:cubicBezTo>
                <a:cubicBezTo>
                  <a:pt x="47" y="56"/>
                  <a:pt x="47" y="56"/>
                  <a:pt x="47" y="56"/>
                </a:cubicBezTo>
                <a:cubicBezTo>
                  <a:pt x="47" y="57"/>
                  <a:pt x="47" y="57"/>
                  <a:pt x="47" y="57"/>
                </a:cubicBezTo>
                <a:cubicBezTo>
                  <a:pt x="47" y="58"/>
                  <a:pt x="47" y="58"/>
                  <a:pt x="47" y="58"/>
                </a:cubicBezTo>
                <a:cubicBezTo>
                  <a:pt x="48" y="59"/>
                  <a:pt x="48" y="59"/>
                  <a:pt x="48" y="59"/>
                </a:cubicBezTo>
                <a:cubicBezTo>
                  <a:pt x="49" y="58"/>
                  <a:pt x="49" y="58"/>
                  <a:pt x="49" y="58"/>
                </a:cubicBezTo>
                <a:cubicBezTo>
                  <a:pt x="49" y="59"/>
                  <a:pt x="49" y="59"/>
                  <a:pt x="49" y="59"/>
                </a:cubicBezTo>
                <a:cubicBezTo>
                  <a:pt x="49" y="61"/>
                  <a:pt x="49" y="61"/>
                  <a:pt x="49" y="61"/>
                </a:cubicBezTo>
                <a:cubicBezTo>
                  <a:pt x="50" y="62"/>
                  <a:pt x="50" y="62"/>
                  <a:pt x="50" y="62"/>
                </a:cubicBezTo>
                <a:cubicBezTo>
                  <a:pt x="50" y="64"/>
                  <a:pt x="50" y="64"/>
                  <a:pt x="50" y="64"/>
                </a:cubicBezTo>
                <a:cubicBezTo>
                  <a:pt x="51" y="64"/>
                  <a:pt x="51" y="64"/>
                  <a:pt x="51" y="64"/>
                </a:cubicBezTo>
                <a:cubicBezTo>
                  <a:pt x="51" y="63"/>
                  <a:pt x="51" y="63"/>
                  <a:pt x="51" y="63"/>
                </a:cubicBezTo>
                <a:cubicBezTo>
                  <a:pt x="52" y="64"/>
                  <a:pt x="52" y="64"/>
                  <a:pt x="52" y="64"/>
                </a:cubicBezTo>
                <a:cubicBezTo>
                  <a:pt x="53" y="63"/>
                  <a:pt x="53" y="63"/>
                  <a:pt x="53" y="63"/>
                </a:cubicBezTo>
                <a:cubicBezTo>
                  <a:pt x="53" y="62"/>
                  <a:pt x="53" y="62"/>
                  <a:pt x="53" y="62"/>
                </a:cubicBezTo>
                <a:cubicBezTo>
                  <a:pt x="52" y="60"/>
                  <a:pt x="52" y="60"/>
                  <a:pt x="52" y="60"/>
                </a:cubicBezTo>
                <a:cubicBezTo>
                  <a:pt x="51" y="60"/>
                  <a:pt x="51" y="60"/>
                  <a:pt x="51" y="60"/>
                </a:cubicBezTo>
                <a:cubicBezTo>
                  <a:pt x="51" y="58"/>
                  <a:pt x="51" y="58"/>
                  <a:pt x="51" y="58"/>
                </a:cubicBezTo>
                <a:cubicBezTo>
                  <a:pt x="50" y="56"/>
                  <a:pt x="50" y="56"/>
                  <a:pt x="50" y="56"/>
                </a:cubicBezTo>
                <a:cubicBezTo>
                  <a:pt x="50" y="56"/>
                  <a:pt x="50" y="56"/>
                  <a:pt x="50" y="56"/>
                </a:cubicBezTo>
                <a:close/>
                <a:moveTo>
                  <a:pt x="56" y="59"/>
                </a:moveTo>
                <a:cubicBezTo>
                  <a:pt x="57" y="59"/>
                  <a:pt x="57" y="59"/>
                  <a:pt x="57" y="59"/>
                </a:cubicBezTo>
                <a:cubicBezTo>
                  <a:pt x="56" y="58"/>
                  <a:pt x="56" y="58"/>
                  <a:pt x="56" y="58"/>
                </a:cubicBezTo>
                <a:cubicBezTo>
                  <a:pt x="56" y="58"/>
                  <a:pt x="56" y="58"/>
                  <a:pt x="56" y="58"/>
                </a:cubicBezTo>
                <a:cubicBezTo>
                  <a:pt x="56" y="59"/>
                  <a:pt x="56" y="59"/>
                  <a:pt x="56" y="59"/>
                </a:cubicBezTo>
                <a:close/>
                <a:moveTo>
                  <a:pt x="56" y="60"/>
                </a:moveTo>
                <a:cubicBezTo>
                  <a:pt x="56" y="60"/>
                  <a:pt x="56" y="60"/>
                  <a:pt x="56" y="60"/>
                </a:cubicBezTo>
                <a:cubicBezTo>
                  <a:pt x="56" y="60"/>
                  <a:pt x="56" y="60"/>
                  <a:pt x="56" y="60"/>
                </a:cubicBezTo>
                <a:cubicBezTo>
                  <a:pt x="56" y="61"/>
                  <a:pt x="56" y="61"/>
                  <a:pt x="56" y="61"/>
                </a:cubicBezTo>
                <a:cubicBezTo>
                  <a:pt x="56" y="60"/>
                  <a:pt x="56" y="60"/>
                  <a:pt x="56" y="60"/>
                </a:cubicBezTo>
                <a:close/>
                <a:moveTo>
                  <a:pt x="56" y="66"/>
                </a:moveTo>
                <a:cubicBezTo>
                  <a:pt x="56" y="65"/>
                  <a:pt x="56" y="65"/>
                  <a:pt x="56" y="65"/>
                </a:cubicBezTo>
                <a:cubicBezTo>
                  <a:pt x="56" y="64"/>
                  <a:pt x="56" y="64"/>
                  <a:pt x="56" y="64"/>
                </a:cubicBezTo>
                <a:cubicBezTo>
                  <a:pt x="56" y="63"/>
                  <a:pt x="56" y="63"/>
                  <a:pt x="56" y="63"/>
                </a:cubicBezTo>
                <a:cubicBezTo>
                  <a:pt x="56" y="62"/>
                  <a:pt x="56" y="62"/>
                  <a:pt x="56" y="62"/>
                </a:cubicBezTo>
                <a:cubicBezTo>
                  <a:pt x="56" y="62"/>
                  <a:pt x="56" y="62"/>
                  <a:pt x="56" y="62"/>
                </a:cubicBezTo>
                <a:cubicBezTo>
                  <a:pt x="55" y="62"/>
                  <a:pt x="55" y="62"/>
                  <a:pt x="55" y="62"/>
                </a:cubicBezTo>
                <a:cubicBezTo>
                  <a:pt x="55" y="63"/>
                  <a:pt x="55" y="63"/>
                  <a:pt x="55" y="63"/>
                </a:cubicBezTo>
                <a:cubicBezTo>
                  <a:pt x="56" y="65"/>
                  <a:pt x="56" y="65"/>
                  <a:pt x="56" y="65"/>
                </a:cubicBezTo>
                <a:cubicBezTo>
                  <a:pt x="55" y="65"/>
                  <a:pt x="55" y="65"/>
                  <a:pt x="55" y="65"/>
                </a:cubicBezTo>
                <a:cubicBezTo>
                  <a:pt x="56" y="66"/>
                  <a:pt x="56" y="66"/>
                  <a:pt x="56" y="66"/>
                </a:cubicBezTo>
                <a:cubicBezTo>
                  <a:pt x="56" y="66"/>
                  <a:pt x="56" y="66"/>
                  <a:pt x="56" y="66"/>
                </a:cubicBezTo>
                <a:close/>
                <a:moveTo>
                  <a:pt x="58" y="67"/>
                </a:moveTo>
                <a:cubicBezTo>
                  <a:pt x="57" y="67"/>
                  <a:pt x="57" y="67"/>
                  <a:pt x="57" y="67"/>
                </a:cubicBezTo>
                <a:cubicBezTo>
                  <a:pt x="58" y="68"/>
                  <a:pt x="58" y="68"/>
                  <a:pt x="58" y="68"/>
                </a:cubicBezTo>
                <a:cubicBezTo>
                  <a:pt x="58" y="67"/>
                  <a:pt x="58" y="67"/>
                  <a:pt x="58" y="67"/>
                </a:cubicBezTo>
                <a:cubicBezTo>
                  <a:pt x="58" y="67"/>
                  <a:pt x="58" y="67"/>
                  <a:pt x="58" y="67"/>
                </a:cubicBezTo>
                <a:close/>
                <a:moveTo>
                  <a:pt x="58" y="64"/>
                </a:moveTo>
                <a:cubicBezTo>
                  <a:pt x="58" y="65"/>
                  <a:pt x="58" y="65"/>
                  <a:pt x="58" y="65"/>
                </a:cubicBezTo>
                <a:cubicBezTo>
                  <a:pt x="58" y="66"/>
                  <a:pt x="58" y="66"/>
                  <a:pt x="58" y="66"/>
                </a:cubicBezTo>
                <a:cubicBezTo>
                  <a:pt x="59" y="66"/>
                  <a:pt x="59" y="66"/>
                  <a:pt x="59" y="66"/>
                </a:cubicBezTo>
                <a:cubicBezTo>
                  <a:pt x="59" y="66"/>
                  <a:pt x="59" y="66"/>
                  <a:pt x="59" y="66"/>
                </a:cubicBezTo>
                <a:cubicBezTo>
                  <a:pt x="59" y="65"/>
                  <a:pt x="59" y="65"/>
                  <a:pt x="59" y="65"/>
                </a:cubicBezTo>
                <a:cubicBezTo>
                  <a:pt x="58" y="64"/>
                  <a:pt x="58" y="64"/>
                  <a:pt x="58" y="64"/>
                </a:cubicBezTo>
                <a:close/>
                <a:moveTo>
                  <a:pt x="34" y="86"/>
                </a:moveTo>
                <a:cubicBezTo>
                  <a:pt x="33" y="84"/>
                  <a:pt x="33" y="84"/>
                  <a:pt x="33" y="84"/>
                </a:cubicBezTo>
                <a:cubicBezTo>
                  <a:pt x="33" y="83"/>
                  <a:pt x="33" y="83"/>
                  <a:pt x="33" y="83"/>
                </a:cubicBezTo>
                <a:cubicBezTo>
                  <a:pt x="34" y="81"/>
                  <a:pt x="34" y="81"/>
                  <a:pt x="34" y="81"/>
                </a:cubicBezTo>
                <a:cubicBezTo>
                  <a:pt x="33" y="80"/>
                  <a:pt x="33" y="80"/>
                  <a:pt x="33" y="80"/>
                </a:cubicBezTo>
                <a:cubicBezTo>
                  <a:pt x="35" y="79"/>
                  <a:pt x="35" y="79"/>
                  <a:pt x="35" y="79"/>
                </a:cubicBezTo>
                <a:cubicBezTo>
                  <a:pt x="36" y="78"/>
                  <a:pt x="36" y="78"/>
                  <a:pt x="36" y="78"/>
                </a:cubicBezTo>
                <a:cubicBezTo>
                  <a:pt x="37" y="77"/>
                  <a:pt x="37" y="77"/>
                  <a:pt x="37" y="77"/>
                </a:cubicBezTo>
                <a:cubicBezTo>
                  <a:pt x="38" y="78"/>
                  <a:pt x="38" y="78"/>
                  <a:pt x="38" y="78"/>
                </a:cubicBezTo>
                <a:cubicBezTo>
                  <a:pt x="40" y="77"/>
                  <a:pt x="40" y="77"/>
                  <a:pt x="40" y="77"/>
                </a:cubicBezTo>
                <a:cubicBezTo>
                  <a:pt x="39" y="76"/>
                  <a:pt x="39" y="76"/>
                  <a:pt x="39" y="76"/>
                </a:cubicBezTo>
                <a:cubicBezTo>
                  <a:pt x="40" y="75"/>
                  <a:pt x="40" y="75"/>
                  <a:pt x="40" y="75"/>
                </a:cubicBezTo>
                <a:cubicBezTo>
                  <a:pt x="41" y="74"/>
                  <a:pt x="41" y="74"/>
                  <a:pt x="41" y="74"/>
                </a:cubicBezTo>
                <a:cubicBezTo>
                  <a:pt x="42" y="73"/>
                  <a:pt x="42" y="73"/>
                  <a:pt x="42" y="73"/>
                </a:cubicBezTo>
                <a:cubicBezTo>
                  <a:pt x="43" y="73"/>
                  <a:pt x="43" y="73"/>
                  <a:pt x="43" y="73"/>
                </a:cubicBezTo>
                <a:cubicBezTo>
                  <a:pt x="45" y="75"/>
                  <a:pt x="45" y="75"/>
                  <a:pt x="45" y="75"/>
                </a:cubicBezTo>
                <a:cubicBezTo>
                  <a:pt x="45" y="77"/>
                  <a:pt x="45" y="77"/>
                  <a:pt x="45" y="77"/>
                </a:cubicBezTo>
                <a:cubicBezTo>
                  <a:pt x="43" y="79"/>
                  <a:pt x="43" y="79"/>
                  <a:pt x="43" y="79"/>
                </a:cubicBezTo>
                <a:cubicBezTo>
                  <a:pt x="44" y="78"/>
                  <a:pt x="44" y="78"/>
                  <a:pt x="44" y="78"/>
                </a:cubicBezTo>
                <a:cubicBezTo>
                  <a:pt x="46" y="77"/>
                  <a:pt x="46" y="77"/>
                  <a:pt x="46" y="77"/>
                </a:cubicBezTo>
                <a:cubicBezTo>
                  <a:pt x="47" y="77"/>
                  <a:pt x="47" y="77"/>
                  <a:pt x="47" y="77"/>
                </a:cubicBezTo>
                <a:cubicBezTo>
                  <a:pt x="48" y="74"/>
                  <a:pt x="48" y="74"/>
                  <a:pt x="48" y="74"/>
                </a:cubicBezTo>
                <a:cubicBezTo>
                  <a:pt x="49" y="74"/>
                  <a:pt x="49" y="74"/>
                  <a:pt x="49" y="74"/>
                </a:cubicBezTo>
                <a:cubicBezTo>
                  <a:pt x="50" y="75"/>
                  <a:pt x="50" y="75"/>
                  <a:pt x="50" y="75"/>
                </a:cubicBezTo>
                <a:cubicBezTo>
                  <a:pt x="50" y="75"/>
                  <a:pt x="50" y="75"/>
                  <a:pt x="50" y="75"/>
                </a:cubicBezTo>
                <a:cubicBezTo>
                  <a:pt x="51" y="74"/>
                  <a:pt x="51" y="74"/>
                  <a:pt x="51" y="74"/>
                </a:cubicBezTo>
                <a:cubicBezTo>
                  <a:pt x="50" y="74"/>
                  <a:pt x="50" y="74"/>
                  <a:pt x="50" y="74"/>
                </a:cubicBezTo>
                <a:cubicBezTo>
                  <a:pt x="51" y="71"/>
                  <a:pt x="51" y="71"/>
                  <a:pt x="51" y="71"/>
                </a:cubicBezTo>
                <a:cubicBezTo>
                  <a:pt x="52" y="72"/>
                  <a:pt x="52" y="72"/>
                  <a:pt x="52" y="72"/>
                </a:cubicBezTo>
                <a:cubicBezTo>
                  <a:pt x="53" y="72"/>
                  <a:pt x="53" y="72"/>
                  <a:pt x="53" y="72"/>
                </a:cubicBezTo>
                <a:cubicBezTo>
                  <a:pt x="53" y="72"/>
                  <a:pt x="53" y="72"/>
                  <a:pt x="53" y="72"/>
                </a:cubicBezTo>
                <a:cubicBezTo>
                  <a:pt x="53" y="70"/>
                  <a:pt x="53" y="70"/>
                  <a:pt x="53" y="70"/>
                </a:cubicBezTo>
                <a:cubicBezTo>
                  <a:pt x="54" y="70"/>
                  <a:pt x="54" y="70"/>
                  <a:pt x="54" y="70"/>
                </a:cubicBezTo>
                <a:cubicBezTo>
                  <a:pt x="55" y="71"/>
                  <a:pt x="55" y="71"/>
                  <a:pt x="55" y="71"/>
                </a:cubicBezTo>
                <a:cubicBezTo>
                  <a:pt x="55" y="70"/>
                  <a:pt x="55" y="70"/>
                  <a:pt x="55" y="70"/>
                </a:cubicBezTo>
                <a:cubicBezTo>
                  <a:pt x="54" y="68"/>
                  <a:pt x="54" y="68"/>
                  <a:pt x="54" y="68"/>
                </a:cubicBezTo>
                <a:cubicBezTo>
                  <a:pt x="54" y="66"/>
                  <a:pt x="54" y="66"/>
                  <a:pt x="54" y="66"/>
                </a:cubicBezTo>
                <a:cubicBezTo>
                  <a:pt x="55" y="66"/>
                  <a:pt x="55" y="66"/>
                  <a:pt x="55" y="66"/>
                </a:cubicBezTo>
                <a:cubicBezTo>
                  <a:pt x="56" y="66"/>
                  <a:pt x="56" y="66"/>
                  <a:pt x="56" y="66"/>
                </a:cubicBezTo>
                <a:cubicBezTo>
                  <a:pt x="56" y="67"/>
                  <a:pt x="56" y="67"/>
                  <a:pt x="56" y="67"/>
                </a:cubicBezTo>
                <a:cubicBezTo>
                  <a:pt x="58" y="69"/>
                  <a:pt x="58" y="69"/>
                  <a:pt x="58" y="69"/>
                </a:cubicBezTo>
                <a:cubicBezTo>
                  <a:pt x="59" y="70"/>
                  <a:pt x="59" y="70"/>
                  <a:pt x="59" y="70"/>
                </a:cubicBezTo>
                <a:cubicBezTo>
                  <a:pt x="60" y="69"/>
                  <a:pt x="60" y="69"/>
                  <a:pt x="60" y="69"/>
                </a:cubicBezTo>
                <a:cubicBezTo>
                  <a:pt x="60" y="70"/>
                  <a:pt x="60" y="70"/>
                  <a:pt x="60" y="70"/>
                </a:cubicBezTo>
                <a:cubicBezTo>
                  <a:pt x="60" y="72"/>
                  <a:pt x="60" y="72"/>
                  <a:pt x="60" y="72"/>
                </a:cubicBezTo>
                <a:cubicBezTo>
                  <a:pt x="60" y="73"/>
                  <a:pt x="60" y="73"/>
                  <a:pt x="60" y="73"/>
                </a:cubicBezTo>
                <a:cubicBezTo>
                  <a:pt x="60" y="73"/>
                  <a:pt x="60" y="73"/>
                  <a:pt x="60" y="73"/>
                </a:cubicBezTo>
                <a:cubicBezTo>
                  <a:pt x="59" y="74"/>
                  <a:pt x="59" y="74"/>
                  <a:pt x="59" y="74"/>
                </a:cubicBezTo>
                <a:cubicBezTo>
                  <a:pt x="60" y="75"/>
                  <a:pt x="60" y="75"/>
                  <a:pt x="60" y="75"/>
                </a:cubicBezTo>
                <a:cubicBezTo>
                  <a:pt x="61" y="75"/>
                  <a:pt x="61" y="75"/>
                  <a:pt x="61" y="75"/>
                </a:cubicBezTo>
                <a:cubicBezTo>
                  <a:pt x="60" y="75"/>
                  <a:pt x="60" y="75"/>
                  <a:pt x="60" y="75"/>
                </a:cubicBezTo>
                <a:cubicBezTo>
                  <a:pt x="61" y="77"/>
                  <a:pt x="61" y="77"/>
                  <a:pt x="61" y="77"/>
                </a:cubicBezTo>
                <a:cubicBezTo>
                  <a:pt x="61" y="76"/>
                  <a:pt x="61" y="76"/>
                  <a:pt x="61" y="76"/>
                </a:cubicBezTo>
                <a:cubicBezTo>
                  <a:pt x="61" y="78"/>
                  <a:pt x="61" y="78"/>
                  <a:pt x="61" y="78"/>
                </a:cubicBezTo>
                <a:cubicBezTo>
                  <a:pt x="61" y="79"/>
                  <a:pt x="61" y="79"/>
                  <a:pt x="61" y="79"/>
                </a:cubicBezTo>
                <a:cubicBezTo>
                  <a:pt x="62" y="80"/>
                  <a:pt x="62" y="80"/>
                  <a:pt x="62" y="80"/>
                </a:cubicBezTo>
                <a:cubicBezTo>
                  <a:pt x="63" y="81"/>
                  <a:pt x="63" y="81"/>
                  <a:pt x="63" y="81"/>
                </a:cubicBezTo>
                <a:cubicBezTo>
                  <a:pt x="63" y="83"/>
                  <a:pt x="63" y="83"/>
                  <a:pt x="63" y="83"/>
                </a:cubicBezTo>
                <a:cubicBezTo>
                  <a:pt x="62" y="85"/>
                  <a:pt x="62" y="85"/>
                  <a:pt x="62" y="85"/>
                </a:cubicBezTo>
                <a:cubicBezTo>
                  <a:pt x="62" y="85"/>
                  <a:pt x="62" y="85"/>
                  <a:pt x="62" y="85"/>
                </a:cubicBezTo>
                <a:cubicBezTo>
                  <a:pt x="62" y="86"/>
                  <a:pt x="62" y="86"/>
                  <a:pt x="62" y="86"/>
                </a:cubicBezTo>
                <a:cubicBezTo>
                  <a:pt x="61" y="85"/>
                  <a:pt x="61" y="85"/>
                  <a:pt x="61" y="85"/>
                </a:cubicBezTo>
                <a:cubicBezTo>
                  <a:pt x="61" y="85"/>
                  <a:pt x="61" y="85"/>
                  <a:pt x="61" y="85"/>
                </a:cubicBezTo>
                <a:cubicBezTo>
                  <a:pt x="60" y="86"/>
                  <a:pt x="60" y="86"/>
                  <a:pt x="60" y="86"/>
                </a:cubicBezTo>
                <a:cubicBezTo>
                  <a:pt x="61" y="88"/>
                  <a:pt x="61" y="88"/>
                  <a:pt x="61" y="88"/>
                </a:cubicBezTo>
                <a:cubicBezTo>
                  <a:pt x="61" y="89"/>
                  <a:pt x="61" y="89"/>
                  <a:pt x="61" y="89"/>
                </a:cubicBezTo>
                <a:cubicBezTo>
                  <a:pt x="61" y="90"/>
                  <a:pt x="61" y="90"/>
                  <a:pt x="61" y="90"/>
                </a:cubicBezTo>
                <a:cubicBezTo>
                  <a:pt x="60" y="89"/>
                  <a:pt x="60" y="89"/>
                  <a:pt x="60" y="89"/>
                </a:cubicBezTo>
                <a:cubicBezTo>
                  <a:pt x="60" y="87"/>
                  <a:pt x="60" y="87"/>
                  <a:pt x="60" y="87"/>
                </a:cubicBezTo>
                <a:cubicBezTo>
                  <a:pt x="60" y="86"/>
                  <a:pt x="60" y="86"/>
                  <a:pt x="60" y="86"/>
                </a:cubicBezTo>
                <a:cubicBezTo>
                  <a:pt x="59" y="85"/>
                  <a:pt x="59" y="85"/>
                  <a:pt x="59" y="85"/>
                </a:cubicBezTo>
                <a:cubicBezTo>
                  <a:pt x="59" y="84"/>
                  <a:pt x="59" y="84"/>
                  <a:pt x="59" y="84"/>
                </a:cubicBezTo>
                <a:cubicBezTo>
                  <a:pt x="58" y="83"/>
                  <a:pt x="58" y="83"/>
                  <a:pt x="58" y="83"/>
                </a:cubicBezTo>
                <a:cubicBezTo>
                  <a:pt x="57" y="83"/>
                  <a:pt x="57" y="83"/>
                  <a:pt x="57" y="83"/>
                </a:cubicBezTo>
                <a:cubicBezTo>
                  <a:pt x="55" y="86"/>
                  <a:pt x="55" y="86"/>
                  <a:pt x="55" y="86"/>
                </a:cubicBezTo>
                <a:cubicBezTo>
                  <a:pt x="55" y="87"/>
                  <a:pt x="55" y="87"/>
                  <a:pt x="55" y="87"/>
                </a:cubicBezTo>
                <a:cubicBezTo>
                  <a:pt x="56" y="88"/>
                  <a:pt x="56" y="88"/>
                  <a:pt x="56" y="88"/>
                </a:cubicBezTo>
                <a:cubicBezTo>
                  <a:pt x="57" y="89"/>
                  <a:pt x="57" y="89"/>
                  <a:pt x="57" y="89"/>
                </a:cubicBezTo>
                <a:cubicBezTo>
                  <a:pt x="58" y="90"/>
                  <a:pt x="58" y="90"/>
                  <a:pt x="58" y="90"/>
                </a:cubicBezTo>
                <a:cubicBezTo>
                  <a:pt x="58" y="91"/>
                  <a:pt x="58" y="91"/>
                  <a:pt x="58" y="91"/>
                </a:cubicBezTo>
                <a:cubicBezTo>
                  <a:pt x="56" y="94"/>
                  <a:pt x="56" y="94"/>
                  <a:pt x="56" y="94"/>
                </a:cubicBezTo>
                <a:cubicBezTo>
                  <a:pt x="55" y="94"/>
                  <a:pt x="55" y="94"/>
                  <a:pt x="55" y="94"/>
                </a:cubicBezTo>
                <a:cubicBezTo>
                  <a:pt x="55" y="94"/>
                  <a:pt x="55" y="94"/>
                  <a:pt x="55" y="94"/>
                </a:cubicBezTo>
                <a:cubicBezTo>
                  <a:pt x="54" y="93"/>
                  <a:pt x="54" y="93"/>
                  <a:pt x="54" y="93"/>
                </a:cubicBezTo>
                <a:cubicBezTo>
                  <a:pt x="55" y="92"/>
                  <a:pt x="55" y="92"/>
                  <a:pt x="55" y="92"/>
                </a:cubicBezTo>
                <a:cubicBezTo>
                  <a:pt x="54" y="91"/>
                  <a:pt x="54" y="91"/>
                  <a:pt x="54" y="91"/>
                </a:cubicBezTo>
                <a:cubicBezTo>
                  <a:pt x="54" y="92"/>
                  <a:pt x="54" y="92"/>
                  <a:pt x="54" y="92"/>
                </a:cubicBezTo>
                <a:cubicBezTo>
                  <a:pt x="53" y="92"/>
                  <a:pt x="53" y="92"/>
                  <a:pt x="53" y="92"/>
                </a:cubicBezTo>
                <a:cubicBezTo>
                  <a:pt x="52" y="93"/>
                  <a:pt x="52" y="93"/>
                  <a:pt x="52" y="93"/>
                </a:cubicBezTo>
                <a:cubicBezTo>
                  <a:pt x="51" y="92"/>
                  <a:pt x="51" y="92"/>
                  <a:pt x="51" y="92"/>
                </a:cubicBezTo>
                <a:cubicBezTo>
                  <a:pt x="50" y="91"/>
                  <a:pt x="50" y="91"/>
                  <a:pt x="50" y="91"/>
                </a:cubicBezTo>
                <a:cubicBezTo>
                  <a:pt x="49" y="91"/>
                  <a:pt x="49" y="91"/>
                  <a:pt x="49" y="91"/>
                </a:cubicBezTo>
                <a:cubicBezTo>
                  <a:pt x="47" y="90"/>
                  <a:pt x="47" y="90"/>
                  <a:pt x="47" y="90"/>
                </a:cubicBezTo>
                <a:cubicBezTo>
                  <a:pt x="47" y="89"/>
                  <a:pt x="47" y="89"/>
                  <a:pt x="47" y="89"/>
                </a:cubicBezTo>
                <a:cubicBezTo>
                  <a:pt x="46" y="88"/>
                  <a:pt x="46" y="88"/>
                  <a:pt x="46" y="88"/>
                </a:cubicBezTo>
                <a:cubicBezTo>
                  <a:pt x="47" y="87"/>
                  <a:pt x="47" y="87"/>
                  <a:pt x="47" y="87"/>
                </a:cubicBezTo>
                <a:cubicBezTo>
                  <a:pt x="46" y="86"/>
                  <a:pt x="46" y="86"/>
                  <a:pt x="46" y="86"/>
                </a:cubicBezTo>
                <a:cubicBezTo>
                  <a:pt x="46" y="85"/>
                  <a:pt x="46" y="85"/>
                  <a:pt x="46" y="85"/>
                </a:cubicBezTo>
                <a:cubicBezTo>
                  <a:pt x="46" y="85"/>
                  <a:pt x="46" y="85"/>
                  <a:pt x="46" y="85"/>
                </a:cubicBezTo>
                <a:cubicBezTo>
                  <a:pt x="46" y="84"/>
                  <a:pt x="46" y="84"/>
                  <a:pt x="46" y="84"/>
                </a:cubicBezTo>
                <a:cubicBezTo>
                  <a:pt x="47" y="84"/>
                  <a:pt x="47" y="84"/>
                  <a:pt x="47" y="84"/>
                </a:cubicBezTo>
                <a:cubicBezTo>
                  <a:pt x="48" y="84"/>
                  <a:pt x="48" y="84"/>
                  <a:pt x="48" y="84"/>
                </a:cubicBezTo>
                <a:cubicBezTo>
                  <a:pt x="47" y="83"/>
                  <a:pt x="47" y="83"/>
                  <a:pt x="47" y="83"/>
                </a:cubicBezTo>
                <a:cubicBezTo>
                  <a:pt x="47" y="82"/>
                  <a:pt x="47" y="82"/>
                  <a:pt x="47" y="82"/>
                </a:cubicBezTo>
                <a:cubicBezTo>
                  <a:pt x="45" y="81"/>
                  <a:pt x="45" y="81"/>
                  <a:pt x="45" y="81"/>
                </a:cubicBezTo>
                <a:cubicBezTo>
                  <a:pt x="44" y="81"/>
                  <a:pt x="44" y="81"/>
                  <a:pt x="44" y="81"/>
                </a:cubicBezTo>
                <a:cubicBezTo>
                  <a:pt x="43" y="80"/>
                  <a:pt x="43" y="80"/>
                  <a:pt x="43" y="80"/>
                </a:cubicBezTo>
                <a:cubicBezTo>
                  <a:pt x="43" y="80"/>
                  <a:pt x="43" y="80"/>
                  <a:pt x="43" y="80"/>
                </a:cubicBezTo>
                <a:cubicBezTo>
                  <a:pt x="42" y="80"/>
                  <a:pt x="42" y="80"/>
                  <a:pt x="42" y="80"/>
                </a:cubicBezTo>
                <a:cubicBezTo>
                  <a:pt x="42" y="81"/>
                  <a:pt x="42" y="81"/>
                  <a:pt x="42" y="81"/>
                </a:cubicBezTo>
                <a:cubicBezTo>
                  <a:pt x="42" y="82"/>
                  <a:pt x="42" y="82"/>
                  <a:pt x="42" y="82"/>
                </a:cubicBezTo>
                <a:cubicBezTo>
                  <a:pt x="43" y="83"/>
                  <a:pt x="43" y="83"/>
                  <a:pt x="43" y="83"/>
                </a:cubicBezTo>
                <a:cubicBezTo>
                  <a:pt x="42" y="82"/>
                  <a:pt x="42" y="82"/>
                  <a:pt x="42" y="82"/>
                </a:cubicBezTo>
                <a:cubicBezTo>
                  <a:pt x="41" y="82"/>
                  <a:pt x="41" y="82"/>
                  <a:pt x="41" y="82"/>
                </a:cubicBezTo>
                <a:cubicBezTo>
                  <a:pt x="41" y="82"/>
                  <a:pt x="41" y="82"/>
                  <a:pt x="41" y="82"/>
                </a:cubicBezTo>
                <a:cubicBezTo>
                  <a:pt x="41" y="81"/>
                  <a:pt x="41" y="81"/>
                  <a:pt x="41" y="81"/>
                </a:cubicBezTo>
                <a:cubicBezTo>
                  <a:pt x="40" y="81"/>
                  <a:pt x="40" y="81"/>
                  <a:pt x="40" y="81"/>
                </a:cubicBezTo>
                <a:cubicBezTo>
                  <a:pt x="40" y="81"/>
                  <a:pt x="40" y="81"/>
                  <a:pt x="40" y="81"/>
                </a:cubicBezTo>
                <a:cubicBezTo>
                  <a:pt x="40" y="82"/>
                  <a:pt x="40" y="82"/>
                  <a:pt x="40" y="82"/>
                </a:cubicBezTo>
                <a:cubicBezTo>
                  <a:pt x="39" y="82"/>
                  <a:pt x="39" y="82"/>
                  <a:pt x="39" y="82"/>
                </a:cubicBezTo>
                <a:cubicBezTo>
                  <a:pt x="38" y="82"/>
                  <a:pt x="38" y="82"/>
                  <a:pt x="38" y="82"/>
                </a:cubicBezTo>
                <a:cubicBezTo>
                  <a:pt x="38" y="82"/>
                  <a:pt x="38" y="82"/>
                  <a:pt x="38" y="82"/>
                </a:cubicBezTo>
                <a:cubicBezTo>
                  <a:pt x="38" y="81"/>
                  <a:pt x="38" y="81"/>
                  <a:pt x="38" y="81"/>
                </a:cubicBezTo>
                <a:cubicBezTo>
                  <a:pt x="37" y="80"/>
                  <a:pt x="37" y="80"/>
                  <a:pt x="37" y="80"/>
                </a:cubicBezTo>
                <a:cubicBezTo>
                  <a:pt x="37" y="80"/>
                  <a:pt x="37" y="80"/>
                  <a:pt x="37" y="80"/>
                </a:cubicBezTo>
                <a:cubicBezTo>
                  <a:pt x="36" y="82"/>
                  <a:pt x="36" y="82"/>
                  <a:pt x="36" y="82"/>
                </a:cubicBezTo>
                <a:cubicBezTo>
                  <a:pt x="35" y="82"/>
                  <a:pt x="35" y="82"/>
                  <a:pt x="35" y="82"/>
                </a:cubicBezTo>
                <a:cubicBezTo>
                  <a:pt x="34" y="85"/>
                  <a:pt x="34" y="85"/>
                  <a:pt x="34" y="85"/>
                </a:cubicBezTo>
                <a:cubicBezTo>
                  <a:pt x="34" y="86"/>
                  <a:pt x="34" y="86"/>
                  <a:pt x="34" y="86"/>
                </a:cubicBezTo>
                <a:close/>
                <a:moveTo>
                  <a:pt x="32" y="87"/>
                </a:moveTo>
                <a:cubicBezTo>
                  <a:pt x="32" y="88"/>
                  <a:pt x="32" y="88"/>
                  <a:pt x="32" y="88"/>
                </a:cubicBezTo>
                <a:cubicBezTo>
                  <a:pt x="33" y="89"/>
                  <a:pt x="33" y="89"/>
                  <a:pt x="33" y="89"/>
                </a:cubicBezTo>
                <a:cubicBezTo>
                  <a:pt x="34" y="89"/>
                  <a:pt x="34" y="89"/>
                  <a:pt x="34" y="89"/>
                </a:cubicBezTo>
                <a:cubicBezTo>
                  <a:pt x="35" y="88"/>
                  <a:pt x="35" y="88"/>
                  <a:pt x="35" y="88"/>
                </a:cubicBezTo>
                <a:cubicBezTo>
                  <a:pt x="35" y="87"/>
                  <a:pt x="35" y="87"/>
                  <a:pt x="35" y="87"/>
                </a:cubicBezTo>
                <a:cubicBezTo>
                  <a:pt x="35" y="87"/>
                  <a:pt x="35" y="87"/>
                  <a:pt x="35" y="87"/>
                </a:cubicBezTo>
                <a:cubicBezTo>
                  <a:pt x="34" y="87"/>
                  <a:pt x="34" y="87"/>
                  <a:pt x="34" y="87"/>
                </a:cubicBezTo>
                <a:cubicBezTo>
                  <a:pt x="33" y="87"/>
                  <a:pt x="33" y="87"/>
                  <a:pt x="33" y="87"/>
                </a:cubicBezTo>
                <a:cubicBezTo>
                  <a:pt x="32" y="87"/>
                  <a:pt x="32" y="87"/>
                  <a:pt x="32" y="87"/>
                </a:cubicBezTo>
                <a:close/>
                <a:moveTo>
                  <a:pt x="18" y="51"/>
                </a:moveTo>
                <a:cubicBezTo>
                  <a:pt x="17" y="50"/>
                  <a:pt x="17" y="50"/>
                  <a:pt x="17" y="50"/>
                </a:cubicBezTo>
                <a:cubicBezTo>
                  <a:pt x="17" y="50"/>
                  <a:pt x="17" y="50"/>
                  <a:pt x="17" y="50"/>
                </a:cubicBezTo>
                <a:cubicBezTo>
                  <a:pt x="17" y="49"/>
                  <a:pt x="17" y="49"/>
                  <a:pt x="17" y="49"/>
                </a:cubicBezTo>
                <a:cubicBezTo>
                  <a:pt x="18" y="49"/>
                  <a:pt x="18" y="49"/>
                  <a:pt x="18" y="49"/>
                </a:cubicBezTo>
                <a:cubicBezTo>
                  <a:pt x="19" y="50"/>
                  <a:pt x="19" y="50"/>
                  <a:pt x="19" y="50"/>
                </a:cubicBezTo>
                <a:cubicBezTo>
                  <a:pt x="20" y="50"/>
                  <a:pt x="20" y="50"/>
                  <a:pt x="20" y="50"/>
                </a:cubicBezTo>
                <a:cubicBezTo>
                  <a:pt x="20" y="51"/>
                  <a:pt x="20" y="51"/>
                  <a:pt x="20" y="51"/>
                </a:cubicBezTo>
                <a:cubicBezTo>
                  <a:pt x="20" y="52"/>
                  <a:pt x="20" y="52"/>
                  <a:pt x="20" y="52"/>
                </a:cubicBezTo>
                <a:cubicBezTo>
                  <a:pt x="19" y="51"/>
                  <a:pt x="19" y="51"/>
                  <a:pt x="19" y="51"/>
                </a:cubicBezTo>
                <a:cubicBezTo>
                  <a:pt x="18" y="51"/>
                  <a:pt x="18" y="51"/>
                  <a:pt x="18" y="51"/>
                </a:cubicBezTo>
                <a:close/>
                <a:moveTo>
                  <a:pt x="17" y="52"/>
                </a:moveTo>
                <a:cubicBezTo>
                  <a:pt x="18" y="52"/>
                  <a:pt x="18" y="52"/>
                  <a:pt x="18" y="52"/>
                </a:cubicBezTo>
                <a:cubicBezTo>
                  <a:pt x="19" y="53"/>
                  <a:pt x="19" y="53"/>
                  <a:pt x="19" y="53"/>
                </a:cubicBezTo>
                <a:cubicBezTo>
                  <a:pt x="18" y="53"/>
                  <a:pt x="18" y="53"/>
                  <a:pt x="18" y="53"/>
                </a:cubicBezTo>
                <a:cubicBezTo>
                  <a:pt x="18" y="54"/>
                  <a:pt x="18" y="54"/>
                  <a:pt x="18" y="54"/>
                </a:cubicBezTo>
                <a:cubicBezTo>
                  <a:pt x="17" y="54"/>
                  <a:pt x="17" y="54"/>
                  <a:pt x="17" y="54"/>
                </a:cubicBezTo>
                <a:cubicBezTo>
                  <a:pt x="17" y="52"/>
                  <a:pt x="17" y="52"/>
                  <a:pt x="17" y="52"/>
                </a:cubicBezTo>
                <a:cubicBezTo>
                  <a:pt x="17" y="52"/>
                  <a:pt x="17" y="52"/>
                  <a:pt x="17" y="52"/>
                </a:cubicBezTo>
                <a:close/>
                <a:moveTo>
                  <a:pt x="18" y="61"/>
                </a:moveTo>
                <a:cubicBezTo>
                  <a:pt x="18" y="61"/>
                  <a:pt x="18" y="61"/>
                  <a:pt x="18" y="61"/>
                </a:cubicBezTo>
                <a:cubicBezTo>
                  <a:pt x="18" y="60"/>
                  <a:pt x="18" y="60"/>
                  <a:pt x="18" y="60"/>
                </a:cubicBezTo>
                <a:cubicBezTo>
                  <a:pt x="19" y="61"/>
                  <a:pt x="19" y="61"/>
                  <a:pt x="19" y="61"/>
                </a:cubicBezTo>
                <a:cubicBezTo>
                  <a:pt x="19" y="61"/>
                  <a:pt x="19" y="61"/>
                  <a:pt x="19" y="61"/>
                </a:cubicBezTo>
                <a:cubicBezTo>
                  <a:pt x="19" y="62"/>
                  <a:pt x="19" y="62"/>
                  <a:pt x="19" y="62"/>
                </a:cubicBezTo>
                <a:cubicBezTo>
                  <a:pt x="18" y="62"/>
                  <a:pt x="18" y="62"/>
                  <a:pt x="18" y="62"/>
                </a:cubicBezTo>
                <a:cubicBezTo>
                  <a:pt x="17" y="62"/>
                  <a:pt x="17" y="62"/>
                  <a:pt x="17" y="62"/>
                </a:cubicBezTo>
                <a:cubicBezTo>
                  <a:pt x="18" y="61"/>
                  <a:pt x="18" y="61"/>
                  <a:pt x="18" y="61"/>
                </a:cubicBezTo>
                <a:close/>
                <a:moveTo>
                  <a:pt x="2" y="75"/>
                </a:moveTo>
                <a:cubicBezTo>
                  <a:pt x="4" y="74"/>
                  <a:pt x="4" y="74"/>
                  <a:pt x="4" y="74"/>
                </a:cubicBezTo>
                <a:cubicBezTo>
                  <a:pt x="4" y="74"/>
                  <a:pt x="4" y="74"/>
                  <a:pt x="4" y="74"/>
                </a:cubicBezTo>
                <a:cubicBezTo>
                  <a:pt x="5" y="73"/>
                  <a:pt x="5" y="73"/>
                  <a:pt x="5" y="73"/>
                </a:cubicBezTo>
                <a:cubicBezTo>
                  <a:pt x="7" y="73"/>
                  <a:pt x="7" y="73"/>
                  <a:pt x="7" y="73"/>
                </a:cubicBezTo>
                <a:cubicBezTo>
                  <a:pt x="8" y="71"/>
                  <a:pt x="8" y="71"/>
                  <a:pt x="8" y="71"/>
                </a:cubicBezTo>
                <a:cubicBezTo>
                  <a:pt x="9" y="70"/>
                  <a:pt x="9" y="70"/>
                  <a:pt x="9" y="70"/>
                </a:cubicBezTo>
                <a:cubicBezTo>
                  <a:pt x="10" y="69"/>
                  <a:pt x="10" y="69"/>
                  <a:pt x="10" y="69"/>
                </a:cubicBezTo>
                <a:cubicBezTo>
                  <a:pt x="11" y="69"/>
                  <a:pt x="11" y="69"/>
                  <a:pt x="11" y="69"/>
                </a:cubicBezTo>
                <a:cubicBezTo>
                  <a:pt x="11" y="68"/>
                  <a:pt x="11" y="68"/>
                  <a:pt x="11" y="68"/>
                </a:cubicBezTo>
                <a:cubicBezTo>
                  <a:pt x="11" y="66"/>
                  <a:pt x="11" y="66"/>
                  <a:pt x="11" y="66"/>
                </a:cubicBezTo>
                <a:cubicBezTo>
                  <a:pt x="12" y="65"/>
                  <a:pt x="12" y="65"/>
                  <a:pt x="12" y="65"/>
                </a:cubicBezTo>
                <a:cubicBezTo>
                  <a:pt x="14" y="65"/>
                  <a:pt x="14" y="65"/>
                  <a:pt x="14" y="65"/>
                </a:cubicBezTo>
                <a:cubicBezTo>
                  <a:pt x="14" y="63"/>
                  <a:pt x="14" y="63"/>
                  <a:pt x="14" y="63"/>
                </a:cubicBezTo>
                <a:cubicBezTo>
                  <a:pt x="15" y="62"/>
                  <a:pt x="15" y="62"/>
                  <a:pt x="15" y="62"/>
                </a:cubicBezTo>
                <a:cubicBezTo>
                  <a:pt x="16" y="62"/>
                  <a:pt x="16" y="62"/>
                  <a:pt x="16" y="62"/>
                </a:cubicBezTo>
                <a:cubicBezTo>
                  <a:pt x="17" y="61"/>
                  <a:pt x="17" y="61"/>
                  <a:pt x="17" y="61"/>
                </a:cubicBezTo>
                <a:cubicBezTo>
                  <a:pt x="16" y="60"/>
                  <a:pt x="16" y="60"/>
                  <a:pt x="16" y="60"/>
                </a:cubicBezTo>
                <a:cubicBezTo>
                  <a:pt x="15" y="59"/>
                  <a:pt x="15" y="59"/>
                  <a:pt x="15" y="59"/>
                </a:cubicBezTo>
                <a:cubicBezTo>
                  <a:pt x="15" y="57"/>
                  <a:pt x="15" y="57"/>
                  <a:pt x="15" y="57"/>
                </a:cubicBezTo>
                <a:cubicBezTo>
                  <a:pt x="15" y="56"/>
                  <a:pt x="15" y="56"/>
                  <a:pt x="15" y="56"/>
                </a:cubicBezTo>
                <a:cubicBezTo>
                  <a:pt x="15" y="56"/>
                  <a:pt x="15" y="56"/>
                  <a:pt x="15" y="56"/>
                </a:cubicBezTo>
                <a:cubicBezTo>
                  <a:pt x="14" y="58"/>
                  <a:pt x="14" y="58"/>
                  <a:pt x="14" y="58"/>
                </a:cubicBezTo>
                <a:cubicBezTo>
                  <a:pt x="15" y="60"/>
                  <a:pt x="15" y="60"/>
                  <a:pt x="15" y="60"/>
                </a:cubicBezTo>
                <a:cubicBezTo>
                  <a:pt x="14" y="59"/>
                  <a:pt x="14" y="59"/>
                  <a:pt x="14" y="59"/>
                </a:cubicBezTo>
                <a:cubicBezTo>
                  <a:pt x="14" y="60"/>
                  <a:pt x="14" y="60"/>
                  <a:pt x="14" y="60"/>
                </a:cubicBezTo>
                <a:cubicBezTo>
                  <a:pt x="14" y="61"/>
                  <a:pt x="14" y="61"/>
                  <a:pt x="14" y="61"/>
                </a:cubicBezTo>
                <a:cubicBezTo>
                  <a:pt x="13" y="62"/>
                  <a:pt x="13" y="62"/>
                  <a:pt x="13" y="62"/>
                </a:cubicBezTo>
                <a:cubicBezTo>
                  <a:pt x="13" y="62"/>
                  <a:pt x="13" y="62"/>
                  <a:pt x="13" y="62"/>
                </a:cubicBezTo>
                <a:cubicBezTo>
                  <a:pt x="11" y="64"/>
                  <a:pt x="11" y="64"/>
                  <a:pt x="11" y="64"/>
                </a:cubicBezTo>
                <a:cubicBezTo>
                  <a:pt x="11" y="64"/>
                  <a:pt x="11" y="64"/>
                  <a:pt x="11" y="64"/>
                </a:cubicBezTo>
                <a:cubicBezTo>
                  <a:pt x="10" y="65"/>
                  <a:pt x="10" y="65"/>
                  <a:pt x="10" y="65"/>
                </a:cubicBezTo>
                <a:cubicBezTo>
                  <a:pt x="9" y="68"/>
                  <a:pt x="9" y="68"/>
                  <a:pt x="9" y="68"/>
                </a:cubicBezTo>
                <a:cubicBezTo>
                  <a:pt x="7" y="70"/>
                  <a:pt x="7" y="70"/>
                  <a:pt x="7" y="70"/>
                </a:cubicBezTo>
                <a:cubicBezTo>
                  <a:pt x="6" y="70"/>
                  <a:pt x="6" y="70"/>
                  <a:pt x="6" y="70"/>
                </a:cubicBezTo>
                <a:cubicBezTo>
                  <a:pt x="5" y="72"/>
                  <a:pt x="5" y="72"/>
                  <a:pt x="5" y="72"/>
                </a:cubicBezTo>
                <a:cubicBezTo>
                  <a:pt x="4" y="72"/>
                  <a:pt x="4" y="72"/>
                  <a:pt x="4" y="72"/>
                </a:cubicBezTo>
                <a:cubicBezTo>
                  <a:pt x="3" y="74"/>
                  <a:pt x="3" y="74"/>
                  <a:pt x="3" y="74"/>
                </a:cubicBezTo>
                <a:cubicBezTo>
                  <a:pt x="2" y="75"/>
                  <a:pt x="2" y="75"/>
                  <a:pt x="2" y="75"/>
                </a:cubicBezTo>
                <a:cubicBezTo>
                  <a:pt x="2" y="75"/>
                  <a:pt x="2" y="75"/>
                  <a:pt x="2" y="75"/>
                </a:cubicBezTo>
                <a:close/>
                <a:moveTo>
                  <a:pt x="3" y="76"/>
                </a:moveTo>
                <a:cubicBezTo>
                  <a:pt x="2" y="76"/>
                  <a:pt x="2" y="76"/>
                  <a:pt x="2" y="76"/>
                </a:cubicBezTo>
                <a:cubicBezTo>
                  <a:pt x="3" y="76"/>
                  <a:pt x="3" y="76"/>
                  <a:pt x="3" y="76"/>
                </a:cubicBezTo>
                <a:cubicBezTo>
                  <a:pt x="3" y="76"/>
                  <a:pt x="3" y="76"/>
                  <a:pt x="3" y="76"/>
                </a:cubicBezTo>
                <a:close/>
                <a:moveTo>
                  <a:pt x="3" y="76"/>
                </a:moveTo>
                <a:cubicBezTo>
                  <a:pt x="3" y="76"/>
                  <a:pt x="3" y="76"/>
                  <a:pt x="3" y="76"/>
                </a:cubicBezTo>
                <a:cubicBezTo>
                  <a:pt x="3" y="77"/>
                  <a:pt x="3" y="77"/>
                  <a:pt x="3" y="77"/>
                </a:cubicBezTo>
                <a:cubicBezTo>
                  <a:pt x="3" y="76"/>
                  <a:pt x="3" y="76"/>
                  <a:pt x="3" y="76"/>
                </a:cubicBezTo>
                <a:close/>
                <a:moveTo>
                  <a:pt x="1" y="77"/>
                </a:moveTo>
                <a:cubicBezTo>
                  <a:pt x="0" y="78"/>
                  <a:pt x="0" y="78"/>
                  <a:pt x="0" y="78"/>
                </a:cubicBezTo>
                <a:cubicBezTo>
                  <a:pt x="0" y="79"/>
                  <a:pt x="0" y="79"/>
                  <a:pt x="0" y="79"/>
                </a:cubicBezTo>
                <a:cubicBezTo>
                  <a:pt x="1" y="80"/>
                  <a:pt x="1" y="80"/>
                  <a:pt x="1" y="80"/>
                </a:cubicBezTo>
                <a:cubicBezTo>
                  <a:pt x="2" y="80"/>
                  <a:pt x="2" y="80"/>
                  <a:pt x="2" y="80"/>
                </a:cubicBezTo>
                <a:cubicBezTo>
                  <a:pt x="2" y="78"/>
                  <a:pt x="2" y="78"/>
                  <a:pt x="2" y="78"/>
                </a:cubicBezTo>
                <a:cubicBezTo>
                  <a:pt x="2" y="78"/>
                  <a:pt x="2" y="78"/>
                  <a:pt x="2" y="78"/>
                </a:cubicBezTo>
                <a:lnTo>
                  <a:pt x="1" y="7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7" name="Freeform 25">
            <a:extLst>
              <a:ext uri="{FF2B5EF4-FFF2-40B4-BE49-F238E27FC236}">
                <a16:creationId xmlns:a16="http://schemas.microsoft.com/office/drawing/2014/main" id="{8981A820-1401-4BFF-CBAF-D3AD2D0B5D85}"/>
              </a:ext>
            </a:extLst>
          </p:cNvPr>
          <p:cNvSpPr>
            <a:spLocks noEditPoints="1"/>
          </p:cNvSpPr>
          <p:nvPr userDrawn="1"/>
        </p:nvSpPr>
        <p:spPr bwMode="auto">
          <a:xfrm>
            <a:off x="19131303" y="8968656"/>
            <a:ext cx="2870013" cy="1143000"/>
          </a:xfrm>
          <a:custGeom>
            <a:avLst/>
            <a:gdLst>
              <a:gd name="T0" fmla="*/ 276 w 289"/>
              <a:gd name="T1" fmla="*/ 90 h 115"/>
              <a:gd name="T2" fmla="*/ 261 w 289"/>
              <a:gd name="T3" fmla="*/ 74 h 115"/>
              <a:gd name="T4" fmla="*/ 240 w 289"/>
              <a:gd name="T5" fmla="*/ 70 h 115"/>
              <a:gd name="T6" fmla="*/ 238 w 289"/>
              <a:gd name="T7" fmla="*/ 58 h 115"/>
              <a:gd name="T8" fmla="*/ 247 w 289"/>
              <a:gd name="T9" fmla="*/ 51 h 115"/>
              <a:gd name="T10" fmla="*/ 265 w 289"/>
              <a:gd name="T11" fmla="*/ 56 h 115"/>
              <a:gd name="T12" fmla="*/ 224 w 289"/>
              <a:gd name="T13" fmla="*/ 44 h 115"/>
              <a:gd name="T14" fmla="*/ 190 w 289"/>
              <a:gd name="T15" fmla="*/ 21 h 115"/>
              <a:gd name="T16" fmla="*/ 207 w 289"/>
              <a:gd name="T17" fmla="*/ 47 h 115"/>
              <a:gd name="T18" fmla="*/ 212 w 289"/>
              <a:gd name="T19" fmla="*/ 33 h 115"/>
              <a:gd name="T20" fmla="*/ 204 w 289"/>
              <a:gd name="T21" fmla="*/ 49 h 115"/>
              <a:gd name="T22" fmla="*/ 210 w 289"/>
              <a:gd name="T23" fmla="*/ 67 h 115"/>
              <a:gd name="T24" fmla="*/ 221 w 289"/>
              <a:gd name="T25" fmla="*/ 67 h 115"/>
              <a:gd name="T26" fmla="*/ 194 w 289"/>
              <a:gd name="T27" fmla="*/ 67 h 115"/>
              <a:gd name="T28" fmla="*/ 192 w 289"/>
              <a:gd name="T29" fmla="*/ 56 h 115"/>
              <a:gd name="T30" fmla="*/ 175 w 289"/>
              <a:gd name="T31" fmla="*/ 77 h 115"/>
              <a:gd name="T32" fmla="*/ 175 w 289"/>
              <a:gd name="T33" fmla="*/ 56 h 115"/>
              <a:gd name="T34" fmla="*/ 168 w 289"/>
              <a:gd name="T35" fmla="*/ 47 h 115"/>
              <a:gd name="T36" fmla="*/ 185 w 289"/>
              <a:gd name="T37" fmla="*/ 35 h 115"/>
              <a:gd name="T38" fmla="*/ 155 w 289"/>
              <a:gd name="T39" fmla="*/ 48 h 115"/>
              <a:gd name="T40" fmla="*/ 153 w 289"/>
              <a:gd name="T41" fmla="*/ 80 h 115"/>
              <a:gd name="T42" fmla="*/ 165 w 289"/>
              <a:gd name="T43" fmla="*/ 71 h 115"/>
              <a:gd name="T44" fmla="*/ 171 w 289"/>
              <a:gd name="T45" fmla="*/ 65 h 115"/>
              <a:gd name="T46" fmla="*/ 171 w 289"/>
              <a:gd name="T47" fmla="*/ 48 h 115"/>
              <a:gd name="T48" fmla="*/ 151 w 289"/>
              <a:gd name="T49" fmla="*/ 12 h 115"/>
              <a:gd name="T50" fmla="*/ 132 w 289"/>
              <a:gd name="T51" fmla="*/ 68 h 115"/>
              <a:gd name="T52" fmla="*/ 90 w 289"/>
              <a:gd name="T53" fmla="*/ 52 h 115"/>
              <a:gd name="T54" fmla="*/ 130 w 289"/>
              <a:gd name="T55" fmla="*/ 16 h 115"/>
              <a:gd name="T56" fmla="*/ 146 w 289"/>
              <a:gd name="T57" fmla="*/ 35 h 115"/>
              <a:gd name="T58" fmla="*/ 132 w 289"/>
              <a:gd name="T59" fmla="*/ 56 h 115"/>
              <a:gd name="T60" fmla="*/ 117 w 289"/>
              <a:gd name="T61" fmla="*/ 66 h 115"/>
              <a:gd name="T62" fmla="*/ 95 w 289"/>
              <a:gd name="T63" fmla="*/ 61 h 115"/>
              <a:gd name="T64" fmla="*/ 250 w 289"/>
              <a:gd name="T65" fmla="*/ 49 h 115"/>
              <a:gd name="T66" fmla="*/ 256 w 289"/>
              <a:gd name="T67" fmla="*/ 47 h 115"/>
              <a:gd name="T68" fmla="*/ 247 w 289"/>
              <a:gd name="T69" fmla="*/ 87 h 115"/>
              <a:gd name="T70" fmla="*/ 245 w 289"/>
              <a:gd name="T71" fmla="*/ 80 h 115"/>
              <a:gd name="T72" fmla="*/ 224 w 289"/>
              <a:gd name="T73" fmla="*/ 92 h 115"/>
              <a:gd name="T74" fmla="*/ 219 w 289"/>
              <a:gd name="T75" fmla="*/ 84 h 115"/>
              <a:gd name="T76" fmla="*/ 201 w 289"/>
              <a:gd name="T77" fmla="*/ 93 h 115"/>
              <a:gd name="T78" fmla="*/ 183 w 289"/>
              <a:gd name="T79" fmla="*/ 104 h 115"/>
              <a:gd name="T80" fmla="*/ 166 w 289"/>
              <a:gd name="T81" fmla="*/ 111 h 115"/>
              <a:gd name="T82" fmla="*/ 127 w 289"/>
              <a:gd name="T83" fmla="*/ 88 h 115"/>
              <a:gd name="T84" fmla="*/ 186 w 289"/>
              <a:gd name="T85" fmla="*/ 97 h 115"/>
              <a:gd name="T86" fmla="*/ 153 w 289"/>
              <a:gd name="T87" fmla="*/ 98 h 115"/>
              <a:gd name="T88" fmla="*/ 157 w 289"/>
              <a:gd name="T89" fmla="*/ 101 h 115"/>
              <a:gd name="T90" fmla="*/ 148 w 289"/>
              <a:gd name="T91" fmla="*/ 101 h 115"/>
              <a:gd name="T92" fmla="*/ 133 w 289"/>
              <a:gd name="T93" fmla="*/ 101 h 115"/>
              <a:gd name="T94" fmla="*/ 274 w 289"/>
              <a:gd name="T95" fmla="*/ 96 h 115"/>
              <a:gd name="T96" fmla="*/ 115 w 289"/>
              <a:gd name="T97" fmla="*/ 89 h 115"/>
              <a:gd name="T98" fmla="*/ 96 w 289"/>
              <a:gd name="T99" fmla="*/ 88 h 115"/>
              <a:gd name="T100" fmla="*/ 115 w 289"/>
              <a:gd name="T101" fmla="*/ 98 h 115"/>
              <a:gd name="T102" fmla="*/ 70 w 289"/>
              <a:gd name="T103" fmla="*/ 89 h 115"/>
              <a:gd name="T104" fmla="*/ 67 w 289"/>
              <a:gd name="T105" fmla="*/ 23 h 115"/>
              <a:gd name="T106" fmla="*/ 79 w 289"/>
              <a:gd name="T107" fmla="*/ 65 h 115"/>
              <a:gd name="T108" fmla="*/ 69 w 289"/>
              <a:gd name="T109" fmla="*/ 55 h 115"/>
              <a:gd name="T110" fmla="*/ 44 w 289"/>
              <a:gd name="T111" fmla="*/ 34 h 115"/>
              <a:gd name="T112" fmla="*/ 21 w 289"/>
              <a:gd name="T113" fmla="*/ 51 h 115"/>
              <a:gd name="T114" fmla="*/ 12 w 289"/>
              <a:gd name="T115" fmla="*/ 34 h 115"/>
              <a:gd name="T116" fmla="*/ 23 w 289"/>
              <a:gd name="T117" fmla="*/ 32 h 115"/>
              <a:gd name="T118" fmla="*/ 59 w 289"/>
              <a:gd name="T119" fmla="*/ 81 h 115"/>
              <a:gd name="T120" fmla="*/ 60 w 289"/>
              <a:gd name="T121" fmla="*/ 55 h 115"/>
              <a:gd name="T122" fmla="*/ 42 w 289"/>
              <a:gd name="T123" fmla="*/ 33 h 115"/>
              <a:gd name="T124" fmla="*/ 6 w 289"/>
              <a:gd name="T125" fmla="*/ 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9" h="115">
                <a:moveTo>
                  <a:pt x="289" y="60"/>
                </a:moveTo>
                <a:cubicBezTo>
                  <a:pt x="288" y="84"/>
                  <a:pt x="288" y="84"/>
                  <a:pt x="288" y="84"/>
                </a:cubicBezTo>
                <a:cubicBezTo>
                  <a:pt x="288" y="86"/>
                  <a:pt x="288" y="86"/>
                  <a:pt x="288" y="86"/>
                </a:cubicBezTo>
                <a:cubicBezTo>
                  <a:pt x="288" y="87"/>
                  <a:pt x="288" y="87"/>
                  <a:pt x="288" y="87"/>
                </a:cubicBezTo>
                <a:cubicBezTo>
                  <a:pt x="288" y="87"/>
                  <a:pt x="288" y="87"/>
                  <a:pt x="288" y="87"/>
                </a:cubicBezTo>
                <a:cubicBezTo>
                  <a:pt x="288" y="102"/>
                  <a:pt x="288" y="102"/>
                  <a:pt x="288" y="102"/>
                </a:cubicBezTo>
                <a:cubicBezTo>
                  <a:pt x="287" y="102"/>
                  <a:pt x="287" y="102"/>
                  <a:pt x="287" y="102"/>
                </a:cubicBezTo>
                <a:cubicBezTo>
                  <a:pt x="286" y="102"/>
                  <a:pt x="286" y="102"/>
                  <a:pt x="286" y="102"/>
                </a:cubicBezTo>
                <a:cubicBezTo>
                  <a:pt x="284" y="100"/>
                  <a:pt x="284" y="100"/>
                  <a:pt x="284" y="100"/>
                </a:cubicBezTo>
                <a:cubicBezTo>
                  <a:pt x="284" y="99"/>
                  <a:pt x="284" y="99"/>
                  <a:pt x="284" y="99"/>
                </a:cubicBezTo>
                <a:cubicBezTo>
                  <a:pt x="284" y="99"/>
                  <a:pt x="284" y="99"/>
                  <a:pt x="284" y="99"/>
                </a:cubicBezTo>
                <a:cubicBezTo>
                  <a:pt x="282" y="97"/>
                  <a:pt x="282" y="97"/>
                  <a:pt x="282" y="97"/>
                </a:cubicBezTo>
                <a:cubicBezTo>
                  <a:pt x="282" y="97"/>
                  <a:pt x="282" y="97"/>
                  <a:pt x="282" y="97"/>
                </a:cubicBezTo>
                <a:cubicBezTo>
                  <a:pt x="282" y="96"/>
                  <a:pt x="282" y="96"/>
                  <a:pt x="282" y="96"/>
                </a:cubicBezTo>
                <a:cubicBezTo>
                  <a:pt x="282" y="95"/>
                  <a:pt x="282" y="95"/>
                  <a:pt x="282" y="95"/>
                </a:cubicBezTo>
                <a:cubicBezTo>
                  <a:pt x="282" y="94"/>
                  <a:pt x="282" y="94"/>
                  <a:pt x="282" y="94"/>
                </a:cubicBezTo>
                <a:cubicBezTo>
                  <a:pt x="282" y="95"/>
                  <a:pt x="282" y="95"/>
                  <a:pt x="282" y="95"/>
                </a:cubicBezTo>
                <a:cubicBezTo>
                  <a:pt x="281" y="96"/>
                  <a:pt x="281" y="96"/>
                  <a:pt x="281" y="96"/>
                </a:cubicBezTo>
                <a:cubicBezTo>
                  <a:pt x="279" y="96"/>
                  <a:pt x="279" y="96"/>
                  <a:pt x="279" y="96"/>
                </a:cubicBezTo>
                <a:cubicBezTo>
                  <a:pt x="278" y="96"/>
                  <a:pt x="278" y="96"/>
                  <a:pt x="278" y="96"/>
                </a:cubicBezTo>
                <a:cubicBezTo>
                  <a:pt x="277" y="96"/>
                  <a:pt x="277" y="96"/>
                  <a:pt x="277" y="96"/>
                </a:cubicBezTo>
                <a:cubicBezTo>
                  <a:pt x="277" y="96"/>
                  <a:pt x="277" y="96"/>
                  <a:pt x="277" y="96"/>
                </a:cubicBezTo>
                <a:cubicBezTo>
                  <a:pt x="275" y="96"/>
                  <a:pt x="275" y="96"/>
                  <a:pt x="275" y="96"/>
                </a:cubicBezTo>
                <a:cubicBezTo>
                  <a:pt x="274" y="95"/>
                  <a:pt x="274" y="95"/>
                  <a:pt x="274" y="95"/>
                </a:cubicBezTo>
                <a:cubicBezTo>
                  <a:pt x="275" y="95"/>
                  <a:pt x="275" y="95"/>
                  <a:pt x="275" y="95"/>
                </a:cubicBezTo>
                <a:cubicBezTo>
                  <a:pt x="275" y="94"/>
                  <a:pt x="275" y="94"/>
                  <a:pt x="275" y="94"/>
                </a:cubicBezTo>
                <a:cubicBezTo>
                  <a:pt x="275" y="93"/>
                  <a:pt x="275" y="93"/>
                  <a:pt x="275" y="93"/>
                </a:cubicBezTo>
                <a:cubicBezTo>
                  <a:pt x="276" y="93"/>
                  <a:pt x="276" y="93"/>
                  <a:pt x="276" y="93"/>
                </a:cubicBezTo>
                <a:cubicBezTo>
                  <a:pt x="276" y="91"/>
                  <a:pt x="276" y="91"/>
                  <a:pt x="276" y="91"/>
                </a:cubicBezTo>
                <a:cubicBezTo>
                  <a:pt x="275" y="91"/>
                  <a:pt x="275" y="91"/>
                  <a:pt x="275" y="91"/>
                </a:cubicBezTo>
                <a:cubicBezTo>
                  <a:pt x="274" y="90"/>
                  <a:pt x="274" y="90"/>
                  <a:pt x="274" y="90"/>
                </a:cubicBezTo>
                <a:cubicBezTo>
                  <a:pt x="275" y="90"/>
                  <a:pt x="275" y="90"/>
                  <a:pt x="275" y="90"/>
                </a:cubicBezTo>
                <a:cubicBezTo>
                  <a:pt x="276" y="90"/>
                  <a:pt x="276" y="90"/>
                  <a:pt x="276" y="90"/>
                </a:cubicBezTo>
                <a:cubicBezTo>
                  <a:pt x="277" y="90"/>
                  <a:pt x="277" y="90"/>
                  <a:pt x="277" y="90"/>
                </a:cubicBezTo>
                <a:cubicBezTo>
                  <a:pt x="278" y="90"/>
                  <a:pt x="278" y="90"/>
                  <a:pt x="278" y="90"/>
                </a:cubicBezTo>
                <a:cubicBezTo>
                  <a:pt x="277" y="89"/>
                  <a:pt x="277" y="89"/>
                  <a:pt x="277" y="89"/>
                </a:cubicBezTo>
                <a:cubicBezTo>
                  <a:pt x="275" y="90"/>
                  <a:pt x="275" y="90"/>
                  <a:pt x="275" y="90"/>
                </a:cubicBezTo>
                <a:cubicBezTo>
                  <a:pt x="274" y="89"/>
                  <a:pt x="274" y="89"/>
                  <a:pt x="274" y="89"/>
                </a:cubicBezTo>
                <a:cubicBezTo>
                  <a:pt x="273" y="88"/>
                  <a:pt x="273" y="88"/>
                  <a:pt x="273" y="88"/>
                </a:cubicBezTo>
                <a:cubicBezTo>
                  <a:pt x="273" y="87"/>
                  <a:pt x="273" y="87"/>
                  <a:pt x="273" y="87"/>
                </a:cubicBezTo>
                <a:cubicBezTo>
                  <a:pt x="274" y="87"/>
                  <a:pt x="274" y="87"/>
                  <a:pt x="274" y="87"/>
                </a:cubicBezTo>
                <a:cubicBezTo>
                  <a:pt x="275" y="87"/>
                  <a:pt x="275" y="87"/>
                  <a:pt x="275" y="87"/>
                </a:cubicBezTo>
                <a:cubicBezTo>
                  <a:pt x="275" y="87"/>
                  <a:pt x="275" y="87"/>
                  <a:pt x="275" y="87"/>
                </a:cubicBezTo>
                <a:cubicBezTo>
                  <a:pt x="273" y="86"/>
                  <a:pt x="273" y="86"/>
                  <a:pt x="273" y="86"/>
                </a:cubicBezTo>
                <a:cubicBezTo>
                  <a:pt x="272" y="85"/>
                  <a:pt x="272" y="85"/>
                  <a:pt x="272" y="85"/>
                </a:cubicBezTo>
                <a:cubicBezTo>
                  <a:pt x="271" y="84"/>
                  <a:pt x="271" y="84"/>
                  <a:pt x="271" y="84"/>
                </a:cubicBezTo>
                <a:cubicBezTo>
                  <a:pt x="272" y="83"/>
                  <a:pt x="272" y="83"/>
                  <a:pt x="272" y="83"/>
                </a:cubicBezTo>
                <a:cubicBezTo>
                  <a:pt x="270" y="81"/>
                  <a:pt x="270" y="81"/>
                  <a:pt x="270" y="81"/>
                </a:cubicBezTo>
                <a:cubicBezTo>
                  <a:pt x="270" y="81"/>
                  <a:pt x="270" y="81"/>
                  <a:pt x="270" y="81"/>
                </a:cubicBezTo>
                <a:cubicBezTo>
                  <a:pt x="272" y="80"/>
                  <a:pt x="272" y="80"/>
                  <a:pt x="272" y="80"/>
                </a:cubicBezTo>
                <a:cubicBezTo>
                  <a:pt x="270" y="80"/>
                  <a:pt x="270" y="80"/>
                  <a:pt x="270" y="80"/>
                </a:cubicBezTo>
                <a:cubicBezTo>
                  <a:pt x="270" y="79"/>
                  <a:pt x="270" y="79"/>
                  <a:pt x="270" y="79"/>
                </a:cubicBezTo>
                <a:cubicBezTo>
                  <a:pt x="270" y="79"/>
                  <a:pt x="270" y="79"/>
                  <a:pt x="270" y="79"/>
                </a:cubicBezTo>
                <a:cubicBezTo>
                  <a:pt x="270" y="78"/>
                  <a:pt x="270" y="78"/>
                  <a:pt x="270" y="78"/>
                </a:cubicBezTo>
                <a:cubicBezTo>
                  <a:pt x="270" y="78"/>
                  <a:pt x="270" y="78"/>
                  <a:pt x="270" y="78"/>
                </a:cubicBezTo>
                <a:cubicBezTo>
                  <a:pt x="269" y="78"/>
                  <a:pt x="269" y="78"/>
                  <a:pt x="269" y="78"/>
                </a:cubicBezTo>
                <a:cubicBezTo>
                  <a:pt x="269" y="77"/>
                  <a:pt x="269" y="77"/>
                  <a:pt x="269" y="77"/>
                </a:cubicBezTo>
                <a:cubicBezTo>
                  <a:pt x="268" y="78"/>
                  <a:pt x="268" y="78"/>
                  <a:pt x="268" y="78"/>
                </a:cubicBezTo>
                <a:cubicBezTo>
                  <a:pt x="267" y="77"/>
                  <a:pt x="267" y="77"/>
                  <a:pt x="267" y="77"/>
                </a:cubicBezTo>
                <a:cubicBezTo>
                  <a:pt x="268" y="76"/>
                  <a:pt x="268" y="76"/>
                  <a:pt x="268" y="76"/>
                </a:cubicBezTo>
                <a:cubicBezTo>
                  <a:pt x="268" y="77"/>
                  <a:pt x="268" y="77"/>
                  <a:pt x="268" y="77"/>
                </a:cubicBezTo>
                <a:cubicBezTo>
                  <a:pt x="266" y="77"/>
                  <a:pt x="266" y="77"/>
                  <a:pt x="266" y="77"/>
                </a:cubicBezTo>
                <a:cubicBezTo>
                  <a:pt x="265" y="76"/>
                  <a:pt x="265" y="76"/>
                  <a:pt x="265" y="76"/>
                </a:cubicBezTo>
                <a:cubicBezTo>
                  <a:pt x="264" y="75"/>
                  <a:pt x="264" y="75"/>
                  <a:pt x="264" y="75"/>
                </a:cubicBezTo>
                <a:cubicBezTo>
                  <a:pt x="263" y="74"/>
                  <a:pt x="263" y="74"/>
                  <a:pt x="263" y="74"/>
                </a:cubicBezTo>
                <a:cubicBezTo>
                  <a:pt x="261" y="74"/>
                  <a:pt x="261" y="74"/>
                  <a:pt x="261" y="74"/>
                </a:cubicBezTo>
                <a:cubicBezTo>
                  <a:pt x="258" y="73"/>
                  <a:pt x="258" y="73"/>
                  <a:pt x="258" y="73"/>
                </a:cubicBezTo>
                <a:cubicBezTo>
                  <a:pt x="254" y="72"/>
                  <a:pt x="254" y="72"/>
                  <a:pt x="254" y="72"/>
                </a:cubicBezTo>
                <a:cubicBezTo>
                  <a:pt x="252" y="72"/>
                  <a:pt x="252" y="72"/>
                  <a:pt x="252" y="72"/>
                </a:cubicBezTo>
                <a:cubicBezTo>
                  <a:pt x="251" y="71"/>
                  <a:pt x="251" y="71"/>
                  <a:pt x="251" y="71"/>
                </a:cubicBezTo>
                <a:cubicBezTo>
                  <a:pt x="250" y="71"/>
                  <a:pt x="250" y="71"/>
                  <a:pt x="250" y="71"/>
                </a:cubicBezTo>
                <a:cubicBezTo>
                  <a:pt x="250" y="70"/>
                  <a:pt x="250" y="70"/>
                  <a:pt x="250" y="70"/>
                </a:cubicBezTo>
                <a:cubicBezTo>
                  <a:pt x="249" y="70"/>
                  <a:pt x="249" y="70"/>
                  <a:pt x="249" y="70"/>
                </a:cubicBezTo>
                <a:cubicBezTo>
                  <a:pt x="249" y="69"/>
                  <a:pt x="249" y="69"/>
                  <a:pt x="249" y="69"/>
                </a:cubicBezTo>
                <a:cubicBezTo>
                  <a:pt x="250" y="69"/>
                  <a:pt x="250" y="69"/>
                  <a:pt x="250" y="69"/>
                </a:cubicBezTo>
                <a:cubicBezTo>
                  <a:pt x="250" y="69"/>
                  <a:pt x="250" y="69"/>
                  <a:pt x="250" y="69"/>
                </a:cubicBezTo>
                <a:cubicBezTo>
                  <a:pt x="250" y="69"/>
                  <a:pt x="250" y="69"/>
                  <a:pt x="250" y="69"/>
                </a:cubicBezTo>
                <a:cubicBezTo>
                  <a:pt x="249" y="69"/>
                  <a:pt x="249" y="69"/>
                  <a:pt x="249" y="69"/>
                </a:cubicBezTo>
                <a:cubicBezTo>
                  <a:pt x="248" y="69"/>
                  <a:pt x="248" y="69"/>
                  <a:pt x="248" y="69"/>
                </a:cubicBezTo>
                <a:cubicBezTo>
                  <a:pt x="247" y="69"/>
                  <a:pt x="247" y="69"/>
                  <a:pt x="247" y="69"/>
                </a:cubicBezTo>
                <a:cubicBezTo>
                  <a:pt x="247" y="68"/>
                  <a:pt x="247" y="68"/>
                  <a:pt x="247" y="68"/>
                </a:cubicBezTo>
                <a:cubicBezTo>
                  <a:pt x="247" y="68"/>
                  <a:pt x="247" y="68"/>
                  <a:pt x="247" y="68"/>
                </a:cubicBezTo>
                <a:cubicBezTo>
                  <a:pt x="246" y="69"/>
                  <a:pt x="246" y="69"/>
                  <a:pt x="246" y="69"/>
                </a:cubicBezTo>
                <a:cubicBezTo>
                  <a:pt x="246" y="67"/>
                  <a:pt x="246" y="67"/>
                  <a:pt x="246" y="67"/>
                </a:cubicBezTo>
                <a:cubicBezTo>
                  <a:pt x="245" y="67"/>
                  <a:pt x="245" y="67"/>
                  <a:pt x="245" y="67"/>
                </a:cubicBezTo>
                <a:cubicBezTo>
                  <a:pt x="245" y="67"/>
                  <a:pt x="245" y="67"/>
                  <a:pt x="245" y="67"/>
                </a:cubicBezTo>
                <a:cubicBezTo>
                  <a:pt x="244" y="68"/>
                  <a:pt x="244" y="68"/>
                  <a:pt x="244" y="68"/>
                </a:cubicBezTo>
                <a:cubicBezTo>
                  <a:pt x="244" y="67"/>
                  <a:pt x="244" y="67"/>
                  <a:pt x="244" y="67"/>
                </a:cubicBezTo>
                <a:cubicBezTo>
                  <a:pt x="243" y="65"/>
                  <a:pt x="243" y="65"/>
                  <a:pt x="243" y="65"/>
                </a:cubicBezTo>
                <a:cubicBezTo>
                  <a:pt x="243" y="64"/>
                  <a:pt x="243" y="64"/>
                  <a:pt x="243" y="64"/>
                </a:cubicBezTo>
                <a:cubicBezTo>
                  <a:pt x="244" y="63"/>
                  <a:pt x="244" y="63"/>
                  <a:pt x="244" y="63"/>
                </a:cubicBezTo>
                <a:cubicBezTo>
                  <a:pt x="244" y="62"/>
                  <a:pt x="244" y="62"/>
                  <a:pt x="244" y="62"/>
                </a:cubicBezTo>
                <a:cubicBezTo>
                  <a:pt x="243" y="63"/>
                  <a:pt x="243" y="63"/>
                  <a:pt x="243" y="63"/>
                </a:cubicBezTo>
                <a:cubicBezTo>
                  <a:pt x="242" y="64"/>
                  <a:pt x="242" y="64"/>
                  <a:pt x="242" y="64"/>
                </a:cubicBezTo>
                <a:cubicBezTo>
                  <a:pt x="242" y="65"/>
                  <a:pt x="242" y="65"/>
                  <a:pt x="242" y="65"/>
                </a:cubicBezTo>
                <a:cubicBezTo>
                  <a:pt x="242" y="65"/>
                  <a:pt x="242" y="65"/>
                  <a:pt x="242" y="65"/>
                </a:cubicBezTo>
                <a:cubicBezTo>
                  <a:pt x="241" y="67"/>
                  <a:pt x="241" y="67"/>
                  <a:pt x="241" y="67"/>
                </a:cubicBezTo>
                <a:cubicBezTo>
                  <a:pt x="241" y="68"/>
                  <a:pt x="241" y="68"/>
                  <a:pt x="241" y="68"/>
                </a:cubicBezTo>
                <a:cubicBezTo>
                  <a:pt x="240" y="70"/>
                  <a:pt x="240" y="70"/>
                  <a:pt x="240" y="70"/>
                </a:cubicBezTo>
                <a:cubicBezTo>
                  <a:pt x="238" y="70"/>
                  <a:pt x="238" y="70"/>
                  <a:pt x="238" y="70"/>
                </a:cubicBezTo>
                <a:cubicBezTo>
                  <a:pt x="237" y="70"/>
                  <a:pt x="237" y="70"/>
                  <a:pt x="237" y="70"/>
                </a:cubicBezTo>
                <a:cubicBezTo>
                  <a:pt x="236" y="68"/>
                  <a:pt x="236" y="68"/>
                  <a:pt x="236" y="68"/>
                </a:cubicBezTo>
                <a:cubicBezTo>
                  <a:pt x="236" y="67"/>
                  <a:pt x="236" y="67"/>
                  <a:pt x="236" y="67"/>
                </a:cubicBezTo>
                <a:cubicBezTo>
                  <a:pt x="237" y="67"/>
                  <a:pt x="237" y="67"/>
                  <a:pt x="237" y="67"/>
                </a:cubicBezTo>
                <a:cubicBezTo>
                  <a:pt x="237" y="66"/>
                  <a:pt x="237" y="66"/>
                  <a:pt x="237" y="66"/>
                </a:cubicBezTo>
                <a:cubicBezTo>
                  <a:pt x="237" y="65"/>
                  <a:pt x="237" y="65"/>
                  <a:pt x="237" y="65"/>
                </a:cubicBezTo>
                <a:cubicBezTo>
                  <a:pt x="236" y="65"/>
                  <a:pt x="236" y="65"/>
                  <a:pt x="236" y="65"/>
                </a:cubicBezTo>
                <a:cubicBezTo>
                  <a:pt x="236" y="65"/>
                  <a:pt x="236" y="65"/>
                  <a:pt x="236" y="65"/>
                </a:cubicBezTo>
                <a:cubicBezTo>
                  <a:pt x="235" y="63"/>
                  <a:pt x="235" y="63"/>
                  <a:pt x="235" y="63"/>
                </a:cubicBezTo>
                <a:cubicBezTo>
                  <a:pt x="234" y="63"/>
                  <a:pt x="234" y="63"/>
                  <a:pt x="234" y="63"/>
                </a:cubicBezTo>
                <a:cubicBezTo>
                  <a:pt x="232" y="62"/>
                  <a:pt x="232" y="62"/>
                  <a:pt x="232" y="62"/>
                </a:cubicBezTo>
                <a:cubicBezTo>
                  <a:pt x="232" y="62"/>
                  <a:pt x="232" y="62"/>
                  <a:pt x="232" y="62"/>
                </a:cubicBezTo>
                <a:cubicBezTo>
                  <a:pt x="233" y="61"/>
                  <a:pt x="233" y="61"/>
                  <a:pt x="233" y="61"/>
                </a:cubicBezTo>
                <a:cubicBezTo>
                  <a:pt x="234" y="61"/>
                  <a:pt x="234" y="61"/>
                  <a:pt x="234" y="61"/>
                </a:cubicBezTo>
                <a:cubicBezTo>
                  <a:pt x="235" y="61"/>
                  <a:pt x="235" y="61"/>
                  <a:pt x="235" y="61"/>
                </a:cubicBezTo>
                <a:cubicBezTo>
                  <a:pt x="236" y="61"/>
                  <a:pt x="236" y="61"/>
                  <a:pt x="236" y="61"/>
                </a:cubicBezTo>
                <a:cubicBezTo>
                  <a:pt x="237" y="62"/>
                  <a:pt x="237" y="62"/>
                  <a:pt x="237" y="62"/>
                </a:cubicBezTo>
                <a:cubicBezTo>
                  <a:pt x="238" y="61"/>
                  <a:pt x="238" y="61"/>
                  <a:pt x="238" y="61"/>
                </a:cubicBezTo>
                <a:cubicBezTo>
                  <a:pt x="239" y="60"/>
                  <a:pt x="239" y="60"/>
                  <a:pt x="239" y="60"/>
                </a:cubicBezTo>
                <a:cubicBezTo>
                  <a:pt x="240" y="59"/>
                  <a:pt x="240" y="59"/>
                  <a:pt x="240" y="59"/>
                </a:cubicBezTo>
                <a:cubicBezTo>
                  <a:pt x="242" y="60"/>
                  <a:pt x="242" y="60"/>
                  <a:pt x="242" y="60"/>
                </a:cubicBezTo>
                <a:cubicBezTo>
                  <a:pt x="242" y="61"/>
                  <a:pt x="242" y="61"/>
                  <a:pt x="242" y="61"/>
                </a:cubicBezTo>
                <a:cubicBezTo>
                  <a:pt x="243" y="60"/>
                  <a:pt x="243" y="60"/>
                  <a:pt x="243" y="60"/>
                </a:cubicBezTo>
                <a:cubicBezTo>
                  <a:pt x="243" y="59"/>
                  <a:pt x="243" y="59"/>
                  <a:pt x="243" y="59"/>
                </a:cubicBezTo>
                <a:cubicBezTo>
                  <a:pt x="244" y="59"/>
                  <a:pt x="244" y="59"/>
                  <a:pt x="244" y="59"/>
                </a:cubicBezTo>
                <a:cubicBezTo>
                  <a:pt x="244" y="58"/>
                  <a:pt x="244" y="58"/>
                  <a:pt x="244" y="58"/>
                </a:cubicBezTo>
                <a:cubicBezTo>
                  <a:pt x="244" y="57"/>
                  <a:pt x="244" y="57"/>
                  <a:pt x="244" y="57"/>
                </a:cubicBezTo>
                <a:cubicBezTo>
                  <a:pt x="241" y="57"/>
                  <a:pt x="241" y="57"/>
                  <a:pt x="241" y="57"/>
                </a:cubicBezTo>
                <a:cubicBezTo>
                  <a:pt x="241" y="57"/>
                  <a:pt x="241" y="57"/>
                  <a:pt x="241" y="57"/>
                </a:cubicBezTo>
                <a:cubicBezTo>
                  <a:pt x="240" y="58"/>
                  <a:pt x="240" y="58"/>
                  <a:pt x="240" y="58"/>
                </a:cubicBezTo>
                <a:cubicBezTo>
                  <a:pt x="240" y="57"/>
                  <a:pt x="240" y="57"/>
                  <a:pt x="240" y="57"/>
                </a:cubicBezTo>
                <a:cubicBezTo>
                  <a:pt x="238" y="58"/>
                  <a:pt x="238" y="58"/>
                  <a:pt x="238" y="58"/>
                </a:cubicBezTo>
                <a:cubicBezTo>
                  <a:pt x="237" y="58"/>
                  <a:pt x="237" y="58"/>
                  <a:pt x="237" y="58"/>
                </a:cubicBezTo>
                <a:cubicBezTo>
                  <a:pt x="236" y="58"/>
                  <a:pt x="236" y="58"/>
                  <a:pt x="236" y="58"/>
                </a:cubicBezTo>
                <a:cubicBezTo>
                  <a:pt x="236" y="58"/>
                  <a:pt x="236" y="58"/>
                  <a:pt x="236" y="58"/>
                </a:cubicBezTo>
                <a:cubicBezTo>
                  <a:pt x="234" y="58"/>
                  <a:pt x="234" y="58"/>
                  <a:pt x="234" y="58"/>
                </a:cubicBezTo>
                <a:cubicBezTo>
                  <a:pt x="233" y="58"/>
                  <a:pt x="233" y="58"/>
                  <a:pt x="233" y="58"/>
                </a:cubicBezTo>
                <a:cubicBezTo>
                  <a:pt x="232" y="57"/>
                  <a:pt x="232" y="57"/>
                  <a:pt x="232" y="57"/>
                </a:cubicBezTo>
                <a:cubicBezTo>
                  <a:pt x="232" y="55"/>
                  <a:pt x="232" y="55"/>
                  <a:pt x="232" y="55"/>
                </a:cubicBezTo>
                <a:cubicBezTo>
                  <a:pt x="232" y="55"/>
                  <a:pt x="232" y="55"/>
                  <a:pt x="232" y="55"/>
                </a:cubicBezTo>
                <a:cubicBezTo>
                  <a:pt x="231" y="54"/>
                  <a:pt x="231" y="54"/>
                  <a:pt x="231" y="54"/>
                </a:cubicBezTo>
                <a:cubicBezTo>
                  <a:pt x="229" y="53"/>
                  <a:pt x="229" y="53"/>
                  <a:pt x="229" y="53"/>
                </a:cubicBezTo>
                <a:cubicBezTo>
                  <a:pt x="229" y="52"/>
                  <a:pt x="229" y="52"/>
                  <a:pt x="229" y="52"/>
                </a:cubicBezTo>
                <a:cubicBezTo>
                  <a:pt x="228" y="52"/>
                  <a:pt x="228" y="52"/>
                  <a:pt x="228" y="52"/>
                </a:cubicBezTo>
                <a:cubicBezTo>
                  <a:pt x="227" y="53"/>
                  <a:pt x="227" y="53"/>
                  <a:pt x="227" y="53"/>
                </a:cubicBezTo>
                <a:cubicBezTo>
                  <a:pt x="226" y="53"/>
                  <a:pt x="226" y="53"/>
                  <a:pt x="226" y="53"/>
                </a:cubicBezTo>
                <a:cubicBezTo>
                  <a:pt x="226" y="52"/>
                  <a:pt x="226" y="52"/>
                  <a:pt x="226" y="52"/>
                </a:cubicBezTo>
                <a:cubicBezTo>
                  <a:pt x="228" y="51"/>
                  <a:pt x="228" y="51"/>
                  <a:pt x="228" y="51"/>
                </a:cubicBezTo>
                <a:cubicBezTo>
                  <a:pt x="228" y="50"/>
                  <a:pt x="228" y="50"/>
                  <a:pt x="228" y="50"/>
                </a:cubicBezTo>
                <a:cubicBezTo>
                  <a:pt x="227" y="49"/>
                  <a:pt x="227" y="49"/>
                  <a:pt x="227" y="49"/>
                </a:cubicBezTo>
                <a:cubicBezTo>
                  <a:pt x="228" y="48"/>
                  <a:pt x="228" y="48"/>
                  <a:pt x="228" y="48"/>
                </a:cubicBezTo>
                <a:cubicBezTo>
                  <a:pt x="230" y="48"/>
                  <a:pt x="230" y="48"/>
                  <a:pt x="230" y="48"/>
                </a:cubicBezTo>
                <a:cubicBezTo>
                  <a:pt x="231" y="48"/>
                  <a:pt x="231" y="48"/>
                  <a:pt x="231" y="48"/>
                </a:cubicBezTo>
                <a:cubicBezTo>
                  <a:pt x="232" y="47"/>
                  <a:pt x="232" y="47"/>
                  <a:pt x="232" y="47"/>
                </a:cubicBezTo>
                <a:cubicBezTo>
                  <a:pt x="234" y="46"/>
                  <a:pt x="234" y="46"/>
                  <a:pt x="234" y="46"/>
                </a:cubicBezTo>
                <a:cubicBezTo>
                  <a:pt x="234" y="46"/>
                  <a:pt x="234" y="46"/>
                  <a:pt x="234" y="46"/>
                </a:cubicBezTo>
                <a:cubicBezTo>
                  <a:pt x="236" y="45"/>
                  <a:pt x="236" y="45"/>
                  <a:pt x="236" y="45"/>
                </a:cubicBezTo>
                <a:cubicBezTo>
                  <a:pt x="239" y="46"/>
                  <a:pt x="239" y="46"/>
                  <a:pt x="239" y="46"/>
                </a:cubicBezTo>
                <a:cubicBezTo>
                  <a:pt x="241" y="48"/>
                  <a:pt x="241" y="48"/>
                  <a:pt x="241" y="48"/>
                </a:cubicBezTo>
                <a:cubicBezTo>
                  <a:pt x="243" y="48"/>
                  <a:pt x="243" y="48"/>
                  <a:pt x="243" y="48"/>
                </a:cubicBezTo>
                <a:cubicBezTo>
                  <a:pt x="245" y="48"/>
                  <a:pt x="245" y="48"/>
                  <a:pt x="245" y="48"/>
                </a:cubicBezTo>
                <a:cubicBezTo>
                  <a:pt x="246" y="48"/>
                  <a:pt x="246" y="48"/>
                  <a:pt x="246" y="48"/>
                </a:cubicBezTo>
                <a:cubicBezTo>
                  <a:pt x="245" y="49"/>
                  <a:pt x="245" y="49"/>
                  <a:pt x="245" y="49"/>
                </a:cubicBezTo>
                <a:cubicBezTo>
                  <a:pt x="245" y="51"/>
                  <a:pt x="245" y="51"/>
                  <a:pt x="245" y="51"/>
                </a:cubicBezTo>
                <a:cubicBezTo>
                  <a:pt x="247" y="51"/>
                  <a:pt x="247" y="51"/>
                  <a:pt x="247" y="51"/>
                </a:cubicBezTo>
                <a:cubicBezTo>
                  <a:pt x="247" y="53"/>
                  <a:pt x="247" y="53"/>
                  <a:pt x="247" y="53"/>
                </a:cubicBezTo>
                <a:cubicBezTo>
                  <a:pt x="246" y="54"/>
                  <a:pt x="246" y="54"/>
                  <a:pt x="246" y="54"/>
                </a:cubicBezTo>
                <a:cubicBezTo>
                  <a:pt x="245" y="55"/>
                  <a:pt x="245" y="55"/>
                  <a:pt x="245" y="55"/>
                </a:cubicBezTo>
                <a:cubicBezTo>
                  <a:pt x="246" y="57"/>
                  <a:pt x="246" y="57"/>
                  <a:pt x="246" y="57"/>
                </a:cubicBezTo>
                <a:cubicBezTo>
                  <a:pt x="246" y="59"/>
                  <a:pt x="246" y="59"/>
                  <a:pt x="246" y="59"/>
                </a:cubicBezTo>
                <a:cubicBezTo>
                  <a:pt x="247" y="61"/>
                  <a:pt x="247" y="61"/>
                  <a:pt x="247" y="61"/>
                </a:cubicBezTo>
                <a:cubicBezTo>
                  <a:pt x="248" y="62"/>
                  <a:pt x="248" y="62"/>
                  <a:pt x="248" y="62"/>
                </a:cubicBezTo>
                <a:cubicBezTo>
                  <a:pt x="248" y="62"/>
                  <a:pt x="248" y="62"/>
                  <a:pt x="248" y="62"/>
                </a:cubicBezTo>
                <a:cubicBezTo>
                  <a:pt x="248" y="60"/>
                  <a:pt x="248" y="60"/>
                  <a:pt x="248" y="60"/>
                </a:cubicBezTo>
                <a:cubicBezTo>
                  <a:pt x="249" y="60"/>
                  <a:pt x="249" y="60"/>
                  <a:pt x="249" y="60"/>
                </a:cubicBezTo>
                <a:cubicBezTo>
                  <a:pt x="249" y="60"/>
                  <a:pt x="249" y="60"/>
                  <a:pt x="249" y="60"/>
                </a:cubicBezTo>
                <a:cubicBezTo>
                  <a:pt x="249" y="61"/>
                  <a:pt x="249" y="61"/>
                  <a:pt x="249" y="61"/>
                </a:cubicBezTo>
                <a:cubicBezTo>
                  <a:pt x="250" y="63"/>
                  <a:pt x="250" y="63"/>
                  <a:pt x="250" y="63"/>
                </a:cubicBezTo>
                <a:cubicBezTo>
                  <a:pt x="250" y="62"/>
                  <a:pt x="250" y="62"/>
                  <a:pt x="250" y="62"/>
                </a:cubicBezTo>
                <a:cubicBezTo>
                  <a:pt x="250" y="63"/>
                  <a:pt x="250" y="63"/>
                  <a:pt x="250" y="63"/>
                </a:cubicBezTo>
                <a:cubicBezTo>
                  <a:pt x="252" y="65"/>
                  <a:pt x="252" y="65"/>
                  <a:pt x="252" y="65"/>
                </a:cubicBezTo>
                <a:cubicBezTo>
                  <a:pt x="253" y="65"/>
                  <a:pt x="253" y="65"/>
                  <a:pt x="253" y="65"/>
                </a:cubicBezTo>
                <a:cubicBezTo>
                  <a:pt x="254" y="65"/>
                  <a:pt x="254" y="65"/>
                  <a:pt x="254" y="65"/>
                </a:cubicBezTo>
                <a:cubicBezTo>
                  <a:pt x="255" y="65"/>
                  <a:pt x="255" y="65"/>
                  <a:pt x="255" y="65"/>
                </a:cubicBezTo>
                <a:cubicBezTo>
                  <a:pt x="255" y="64"/>
                  <a:pt x="255" y="64"/>
                  <a:pt x="255" y="64"/>
                </a:cubicBezTo>
                <a:cubicBezTo>
                  <a:pt x="256" y="63"/>
                  <a:pt x="256" y="63"/>
                  <a:pt x="256" y="63"/>
                </a:cubicBezTo>
                <a:cubicBezTo>
                  <a:pt x="257" y="63"/>
                  <a:pt x="257" y="63"/>
                  <a:pt x="257" y="63"/>
                </a:cubicBezTo>
                <a:cubicBezTo>
                  <a:pt x="257" y="61"/>
                  <a:pt x="257" y="61"/>
                  <a:pt x="257" y="61"/>
                </a:cubicBezTo>
                <a:cubicBezTo>
                  <a:pt x="257" y="60"/>
                  <a:pt x="257" y="60"/>
                  <a:pt x="257" y="60"/>
                </a:cubicBezTo>
                <a:cubicBezTo>
                  <a:pt x="259" y="60"/>
                  <a:pt x="259" y="60"/>
                  <a:pt x="259" y="60"/>
                </a:cubicBezTo>
                <a:cubicBezTo>
                  <a:pt x="260" y="59"/>
                  <a:pt x="260" y="59"/>
                  <a:pt x="260" y="59"/>
                </a:cubicBezTo>
                <a:cubicBezTo>
                  <a:pt x="260" y="58"/>
                  <a:pt x="260" y="58"/>
                  <a:pt x="260" y="58"/>
                </a:cubicBezTo>
                <a:cubicBezTo>
                  <a:pt x="260" y="57"/>
                  <a:pt x="260" y="57"/>
                  <a:pt x="260" y="57"/>
                </a:cubicBezTo>
                <a:cubicBezTo>
                  <a:pt x="261" y="58"/>
                  <a:pt x="261" y="58"/>
                  <a:pt x="261" y="58"/>
                </a:cubicBezTo>
                <a:cubicBezTo>
                  <a:pt x="262" y="58"/>
                  <a:pt x="262" y="58"/>
                  <a:pt x="262" y="58"/>
                </a:cubicBezTo>
                <a:cubicBezTo>
                  <a:pt x="263" y="57"/>
                  <a:pt x="263" y="57"/>
                  <a:pt x="263" y="57"/>
                </a:cubicBezTo>
                <a:cubicBezTo>
                  <a:pt x="265" y="57"/>
                  <a:pt x="265" y="57"/>
                  <a:pt x="265" y="57"/>
                </a:cubicBezTo>
                <a:cubicBezTo>
                  <a:pt x="265" y="56"/>
                  <a:pt x="265" y="56"/>
                  <a:pt x="265" y="56"/>
                </a:cubicBezTo>
                <a:cubicBezTo>
                  <a:pt x="264" y="55"/>
                  <a:pt x="264" y="55"/>
                  <a:pt x="264" y="55"/>
                </a:cubicBezTo>
                <a:cubicBezTo>
                  <a:pt x="265" y="54"/>
                  <a:pt x="265" y="54"/>
                  <a:pt x="265" y="54"/>
                </a:cubicBezTo>
                <a:cubicBezTo>
                  <a:pt x="268" y="52"/>
                  <a:pt x="268" y="52"/>
                  <a:pt x="268" y="52"/>
                </a:cubicBezTo>
                <a:cubicBezTo>
                  <a:pt x="269" y="53"/>
                  <a:pt x="269" y="53"/>
                  <a:pt x="269" y="53"/>
                </a:cubicBezTo>
                <a:cubicBezTo>
                  <a:pt x="270" y="53"/>
                  <a:pt x="270" y="53"/>
                  <a:pt x="270" y="53"/>
                </a:cubicBezTo>
                <a:cubicBezTo>
                  <a:pt x="272" y="54"/>
                  <a:pt x="272" y="54"/>
                  <a:pt x="272" y="54"/>
                </a:cubicBezTo>
                <a:cubicBezTo>
                  <a:pt x="274" y="55"/>
                  <a:pt x="274" y="55"/>
                  <a:pt x="274" y="55"/>
                </a:cubicBezTo>
                <a:cubicBezTo>
                  <a:pt x="275" y="56"/>
                  <a:pt x="275" y="56"/>
                  <a:pt x="275" y="56"/>
                </a:cubicBezTo>
                <a:cubicBezTo>
                  <a:pt x="277" y="56"/>
                  <a:pt x="277" y="56"/>
                  <a:pt x="277" y="56"/>
                </a:cubicBezTo>
                <a:cubicBezTo>
                  <a:pt x="278" y="56"/>
                  <a:pt x="278" y="56"/>
                  <a:pt x="278" y="56"/>
                </a:cubicBezTo>
                <a:cubicBezTo>
                  <a:pt x="282" y="58"/>
                  <a:pt x="282" y="58"/>
                  <a:pt x="282" y="58"/>
                </a:cubicBezTo>
                <a:cubicBezTo>
                  <a:pt x="283" y="58"/>
                  <a:pt x="283" y="58"/>
                  <a:pt x="283" y="58"/>
                </a:cubicBezTo>
                <a:cubicBezTo>
                  <a:pt x="284" y="58"/>
                  <a:pt x="284" y="58"/>
                  <a:pt x="284" y="58"/>
                </a:cubicBezTo>
                <a:cubicBezTo>
                  <a:pt x="285" y="58"/>
                  <a:pt x="285" y="58"/>
                  <a:pt x="285" y="58"/>
                </a:cubicBezTo>
                <a:cubicBezTo>
                  <a:pt x="286" y="58"/>
                  <a:pt x="286" y="58"/>
                  <a:pt x="286" y="58"/>
                </a:cubicBezTo>
                <a:cubicBezTo>
                  <a:pt x="287" y="59"/>
                  <a:pt x="287" y="59"/>
                  <a:pt x="287" y="59"/>
                </a:cubicBezTo>
                <a:cubicBezTo>
                  <a:pt x="287" y="60"/>
                  <a:pt x="287" y="60"/>
                  <a:pt x="287" y="60"/>
                </a:cubicBezTo>
                <a:cubicBezTo>
                  <a:pt x="287" y="60"/>
                  <a:pt x="287" y="60"/>
                  <a:pt x="287" y="60"/>
                </a:cubicBezTo>
                <a:cubicBezTo>
                  <a:pt x="288" y="61"/>
                  <a:pt x="288" y="61"/>
                  <a:pt x="288" y="61"/>
                </a:cubicBezTo>
                <a:cubicBezTo>
                  <a:pt x="289" y="60"/>
                  <a:pt x="289" y="60"/>
                  <a:pt x="289" y="60"/>
                </a:cubicBezTo>
                <a:cubicBezTo>
                  <a:pt x="289" y="60"/>
                  <a:pt x="289" y="60"/>
                  <a:pt x="289" y="60"/>
                </a:cubicBezTo>
                <a:close/>
                <a:moveTo>
                  <a:pt x="214" y="43"/>
                </a:moveTo>
                <a:cubicBezTo>
                  <a:pt x="217" y="44"/>
                  <a:pt x="217" y="44"/>
                  <a:pt x="217" y="44"/>
                </a:cubicBezTo>
                <a:cubicBezTo>
                  <a:pt x="217" y="45"/>
                  <a:pt x="217" y="45"/>
                  <a:pt x="217" y="45"/>
                </a:cubicBezTo>
                <a:cubicBezTo>
                  <a:pt x="215" y="44"/>
                  <a:pt x="215" y="44"/>
                  <a:pt x="215" y="44"/>
                </a:cubicBezTo>
                <a:cubicBezTo>
                  <a:pt x="214" y="43"/>
                  <a:pt x="214" y="43"/>
                  <a:pt x="214" y="43"/>
                </a:cubicBezTo>
                <a:close/>
                <a:moveTo>
                  <a:pt x="227" y="45"/>
                </a:moveTo>
                <a:cubicBezTo>
                  <a:pt x="228" y="46"/>
                  <a:pt x="228" y="46"/>
                  <a:pt x="228" y="46"/>
                </a:cubicBezTo>
                <a:cubicBezTo>
                  <a:pt x="229" y="45"/>
                  <a:pt x="229" y="45"/>
                  <a:pt x="229" y="45"/>
                </a:cubicBezTo>
                <a:cubicBezTo>
                  <a:pt x="228" y="44"/>
                  <a:pt x="228" y="44"/>
                  <a:pt x="228" y="44"/>
                </a:cubicBezTo>
                <a:cubicBezTo>
                  <a:pt x="227" y="43"/>
                  <a:pt x="227" y="43"/>
                  <a:pt x="227" y="43"/>
                </a:cubicBezTo>
                <a:cubicBezTo>
                  <a:pt x="225" y="43"/>
                  <a:pt x="225" y="43"/>
                  <a:pt x="225" y="43"/>
                </a:cubicBezTo>
                <a:cubicBezTo>
                  <a:pt x="224" y="44"/>
                  <a:pt x="224" y="44"/>
                  <a:pt x="224" y="44"/>
                </a:cubicBezTo>
                <a:cubicBezTo>
                  <a:pt x="223" y="44"/>
                  <a:pt x="223" y="44"/>
                  <a:pt x="223" y="44"/>
                </a:cubicBezTo>
                <a:cubicBezTo>
                  <a:pt x="222" y="44"/>
                  <a:pt x="222" y="44"/>
                  <a:pt x="222" y="44"/>
                </a:cubicBezTo>
                <a:cubicBezTo>
                  <a:pt x="223" y="45"/>
                  <a:pt x="223" y="45"/>
                  <a:pt x="223" y="45"/>
                </a:cubicBezTo>
                <a:cubicBezTo>
                  <a:pt x="222" y="45"/>
                  <a:pt x="222" y="45"/>
                  <a:pt x="222" y="45"/>
                </a:cubicBezTo>
                <a:cubicBezTo>
                  <a:pt x="224" y="45"/>
                  <a:pt x="224" y="45"/>
                  <a:pt x="224" y="45"/>
                </a:cubicBezTo>
                <a:cubicBezTo>
                  <a:pt x="225" y="46"/>
                  <a:pt x="225" y="46"/>
                  <a:pt x="225" y="46"/>
                </a:cubicBezTo>
                <a:cubicBezTo>
                  <a:pt x="226" y="46"/>
                  <a:pt x="226" y="46"/>
                  <a:pt x="226" y="46"/>
                </a:cubicBezTo>
                <a:cubicBezTo>
                  <a:pt x="226" y="45"/>
                  <a:pt x="226" y="45"/>
                  <a:pt x="226" y="45"/>
                </a:cubicBezTo>
                <a:cubicBezTo>
                  <a:pt x="225" y="45"/>
                  <a:pt x="225" y="45"/>
                  <a:pt x="225" y="45"/>
                </a:cubicBezTo>
                <a:cubicBezTo>
                  <a:pt x="225" y="45"/>
                  <a:pt x="225" y="45"/>
                  <a:pt x="225" y="45"/>
                </a:cubicBezTo>
                <a:cubicBezTo>
                  <a:pt x="225" y="44"/>
                  <a:pt x="225" y="44"/>
                  <a:pt x="225" y="44"/>
                </a:cubicBezTo>
                <a:cubicBezTo>
                  <a:pt x="227" y="45"/>
                  <a:pt x="227" y="45"/>
                  <a:pt x="227" y="45"/>
                </a:cubicBezTo>
                <a:close/>
                <a:moveTo>
                  <a:pt x="225" y="49"/>
                </a:moveTo>
                <a:cubicBezTo>
                  <a:pt x="224" y="49"/>
                  <a:pt x="224" y="49"/>
                  <a:pt x="224" y="49"/>
                </a:cubicBezTo>
                <a:cubicBezTo>
                  <a:pt x="222" y="49"/>
                  <a:pt x="222" y="49"/>
                  <a:pt x="222" y="49"/>
                </a:cubicBezTo>
                <a:cubicBezTo>
                  <a:pt x="223" y="49"/>
                  <a:pt x="223" y="49"/>
                  <a:pt x="223" y="49"/>
                </a:cubicBezTo>
                <a:cubicBezTo>
                  <a:pt x="225" y="49"/>
                  <a:pt x="225" y="49"/>
                  <a:pt x="225" y="49"/>
                </a:cubicBezTo>
                <a:close/>
                <a:moveTo>
                  <a:pt x="226" y="48"/>
                </a:moveTo>
                <a:cubicBezTo>
                  <a:pt x="225" y="49"/>
                  <a:pt x="225" y="49"/>
                  <a:pt x="225" y="49"/>
                </a:cubicBezTo>
                <a:cubicBezTo>
                  <a:pt x="225" y="48"/>
                  <a:pt x="225" y="48"/>
                  <a:pt x="225" y="48"/>
                </a:cubicBezTo>
                <a:cubicBezTo>
                  <a:pt x="226" y="48"/>
                  <a:pt x="226" y="48"/>
                  <a:pt x="226" y="48"/>
                </a:cubicBezTo>
                <a:close/>
                <a:moveTo>
                  <a:pt x="226" y="49"/>
                </a:moveTo>
                <a:cubicBezTo>
                  <a:pt x="224" y="50"/>
                  <a:pt x="224" y="50"/>
                  <a:pt x="224" y="50"/>
                </a:cubicBezTo>
                <a:cubicBezTo>
                  <a:pt x="224" y="52"/>
                  <a:pt x="224" y="52"/>
                  <a:pt x="224" y="52"/>
                </a:cubicBezTo>
                <a:cubicBezTo>
                  <a:pt x="226" y="52"/>
                  <a:pt x="226" y="52"/>
                  <a:pt x="226" y="52"/>
                </a:cubicBezTo>
                <a:cubicBezTo>
                  <a:pt x="226" y="52"/>
                  <a:pt x="226" y="52"/>
                  <a:pt x="226" y="52"/>
                </a:cubicBezTo>
                <a:cubicBezTo>
                  <a:pt x="226" y="49"/>
                  <a:pt x="226" y="49"/>
                  <a:pt x="226" y="49"/>
                </a:cubicBezTo>
                <a:cubicBezTo>
                  <a:pt x="226" y="49"/>
                  <a:pt x="226" y="49"/>
                  <a:pt x="226" y="49"/>
                </a:cubicBezTo>
                <a:close/>
                <a:moveTo>
                  <a:pt x="190" y="18"/>
                </a:moveTo>
                <a:cubicBezTo>
                  <a:pt x="192" y="20"/>
                  <a:pt x="192" y="20"/>
                  <a:pt x="192" y="20"/>
                </a:cubicBezTo>
                <a:cubicBezTo>
                  <a:pt x="192" y="21"/>
                  <a:pt x="192" y="21"/>
                  <a:pt x="192" y="21"/>
                </a:cubicBezTo>
                <a:cubicBezTo>
                  <a:pt x="192" y="22"/>
                  <a:pt x="192" y="22"/>
                  <a:pt x="192" y="22"/>
                </a:cubicBezTo>
                <a:cubicBezTo>
                  <a:pt x="190" y="21"/>
                  <a:pt x="190" y="21"/>
                  <a:pt x="190" y="21"/>
                </a:cubicBezTo>
                <a:cubicBezTo>
                  <a:pt x="190" y="19"/>
                  <a:pt x="190" y="19"/>
                  <a:pt x="190" y="19"/>
                </a:cubicBezTo>
                <a:cubicBezTo>
                  <a:pt x="190" y="18"/>
                  <a:pt x="190" y="18"/>
                  <a:pt x="190" y="18"/>
                </a:cubicBezTo>
                <a:close/>
                <a:moveTo>
                  <a:pt x="198" y="14"/>
                </a:moveTo>
                <a:cubicBezTo>
                  <a:pt x="199" y="15"/>
                  <a:pt x="199" y="15"/>
                  <a:pt x="199" y="15"/>
                </a:cubicBezTo>
                <a:cubicBezTo>
                  <a:pt x="199" y="17"/>
                  <a:pt x="199" y="17"/>
                  <a:pt x="199" y="17"/>
                </a:cubicBezTo>
                <a:cubicBezTo>
                  <a:pt x="199" y="16"/>
                  <a:pt x="199" y="16"/>
                  <a:pt x="199" y="16"/>
                </a:cubicBezTo>
                <a:cubicBezTo>
                  <a:pt x="200" y="15"/>
                  <a:pt x="200" y="15"/>
                  <a:pt x="200" y="15"/>
                </a:cubicBezTo>
                <a:cubicBezTo>
                  <a:pt x="200" y="14"/>
                  <a:pt x="200" y="14"/>
                  <a:pt x="200" y="14"/>
                </a:cubicBezTo>
                <a:cubicBezTo>
                  <a:pt x="199" y="13"/>
                  <a:pt x="199" y="13"/>
                  <a:pt x="199" y="13"/>
                </a:cubicBezTo>
                <a:cubicBezTo>
                  <a:pt x="198" y="14"/>
                  <a:pt x="198" y="14"/>
                  <a:pt x="198" y="14"/>
                </a:cubicBezTo>
                <a:close/>
                <a:moveTo>
                  <a:pt x="198" y="17"/>
                </a:moveTo>
                <a:cubicBezTo>
                  <a:pt x="199" y="17"/>
                  <a:pt x="199" y="17"/>
                  <a:pt x="199" y="17"/>
                </a:cubicBezTo>
                <a:cubicBezTo>
                  <a:pt x="199" y="18"/>
                  <a:pt x="199" y="18"/>
                  <a:pt x="199" y="18"/>
                </a:cubicBezTo>
                <a:cubicBezTo>
                  <a:pt x="199" y="18"/>
                  <a:pt x="199" y="18"/>
                  <a:pt x="199" y="18"/>
                </a:cubicBezTo>
                <a:cubicBezTo>
                  <a:pt x="199" y="18"/>
                  <a:pt x="198" y="17"/>
                  <a:pt x="198" y="17"/>
                </a:cubicBezTo>
                <a:close/>
                <a:moveTo>
                  <a:pt x="208" y="29"/>
                </a:moveTo>
                <a:cubicBezTo>
                  <a:pt x="209" y="31"/>
                  <a:pt x="209" y="31"/>
                  <a:pt x="209" y="31"/>
                </a:cubicBezTo>
                <a:cubicBezTo>
                  <a:pt x="209" y="30"/>
                  <a:pt x="209" y="30"/>
                  <a:pt x="209" y="30"/>
                </a:cubicBezTo>
                <a:cubicBezTo>
                  <a:pt x="210" y="30"/>
                  <a:pt x="210" y="30"/>
                  <a:pt x="210" y="30"/>
                </a:cubicBezTo>
                <a:cubicBezTo>
                  <a:pt x="211" y="29"/>
                  <a:pt x="211" y="29"/>
                  <a:pt x="211" y="29"/>
                </a:cubicBezTo>
                <a:cubicBezTo>
                  <a:pt x="211" y="28"/>
                  <a:pt x="211" y="28"/>
                  <a:pt x="211" y="28"/>
                </a:cubicBezTo>
                <a:cubicBezTo>
                  <a:pt x="210" y="28"/>
                  <a:pt x="210" y="28"/>
                  <a:pt x="210" y="28"/>
                </a:cubicBezTo>
                <a:cubicBezTo>
                  <a:pt x="209" y="28"/>
                  <a:pt x="209" y="28"/>
                  <a:pt x="209" y="28"/>
                </a:cubicBezTo>
                <a:cubicBezTo>
                  <a:pt x="208" y="29"/>
                  <a:pt x="208" y="29"/>
                  <a:pt x="208" y="29"/>
                </a:cubicBezTo>
                <a:close/>
                <a:moveTo>
                  <a:pt x="207" y="45"/>
                </a:moveTo>
                <a:cubicBezTo>
                  <a:pt x="208" y="47"/>
                  <a:pt x="208" y="47"/>
                  <a:pt x="208" y="47"/>
                </a:cubicBezTo>
                <a:cubicBezTo>
                  <a:pt x="209" y="49"/>
                  <a:pt x="209" y="49"/>
                  <a:pt x="209" y="49"/>
                </a:cubicBezTo>
                <a:cubicBezTo>
                  <a:pt x="210" y="49"/>
                  <a:pt x="210" y="49"/>
                  <a:pt x="210" y="49"/>
                </a:cubicBezTo>
                <a:cubicBezTo>
                  <a:pt x="209" y="49"/>
                  <a:pt x="209" y="49"/>
                  <a:pt x="209" y="49"/>
                </a:cubicBezTo>
                <a:cubicBezTo>
                  <a:pt x="209" y="50"/>
                  <a:pt x="209" y="50"/>
                  <a:pt x="209" y="50"/>
                </a:cubicBezTo>
                <a:cubicBezTo>
                  <a:pt x="209" y="49"/>
                  <a:pt x="209" y="49"/>
                  <a:pt x="209" y="49"/>
                </a:cubicBezTo>
                <a:cubicBezTo>
                  <a:pt x="208" y="49"/>
                  <a:pt x="208" y="49"/>
                  <a:pt x="208" y="49"/>
                </a:cubicBezTo>
                <a:cubicBezTo>
                  <a:pt x="207" y="47"/>
                  <a:pt x="207" y="47"/>
                  <a:pt x="207" y="47"/>
                </a:cubicBezTo>
                <a:cubicBezTo>
                  <a:pt x="205" y="46"/>
                  <a:pt x="205" y="46"/>
                  <a:pt x="205" y="46"/>
                </a:cubicBezTo>
                <a:cubicBezTo>
                  <a:pt x="204" y="44"/>
                  <a:pt x="204" y="44"/>
                  <a:pt x="204" y="44"/>
                </a:cubicBezTo>
                <a:cubicBezTo>
                  <a:pt x="205" y="43"/>
                  <a:pt x="205" y="43"/>
                  <a:pt x="205" y="43"/>
                </a:cubicBezTo>
                <a:cubicBezTo>
                  <a:pt x="205" y="42"/>
                  <a:pt x="205" y="42"/>
                  <a:pt x="205" y="42"/>
                </a:cubicBezTo>
                <a:cubicBezTo>
                  <a:pt x="205" y="42"/>
                  <a:pt x="205" y="42"/>
                  <a:pt x="205" y="42"/>
                </a:cubicBezTo>
                <a:cubicBezTo>
                  <a:pt x="204" y="41"/>
                  <a:pt x="204" y="41"/>
                  <a:pt x="204" y="41"/>
                </a:cubicBezTo>
                <a:cubicBezTo>
                  <a:pt x="204" y="39"/>
                  <a:pt x="204" y="39"/>
                  <a:pt x="204" y="39"/>
                </a:cubicBezTo>
                <a:cubicBezTo>
                  <a:pt x="204" y="39"/>
                  <a:pt x="204" y="39"/>
                  <a:pt x="204" y="39"/>
                </a:cubicBezTo>
                <a:cubicBezTo>
                  <a:pt x="204" y="37"/>
                  <a:pt x="204" y="37"/>
                  <a:pt x="204" y="37"/>
                </a:cubicBezTo>
                <a:cubicBezTo>
                  <a:pt x="203" y="36"/>
                  <a:pt x="203" y="36"/>
                  <a:pt x="203" y="36"/>
                </a:cubicBezTo>
                <a:cubicBezTo>
                  <a:pt x="203" y="35"/>
                  <a:pt x="203" y="35"/>
                  <a:pt x="203" y="35"/>
                </a:cubicBezTo>
                <a:cubicBezTo>
                  <a:pt x="204" y="34"/>
                  <a:pt x="204" y="34"/>
                  <a:pt x="204" y="34"/>
                </a:cubicBezTo>
                <a:cubicBezTo>
                  <a:pt x="204" y="33"/>
                  <a:pt x="204" y="33"/>
                  <a:pt x="204" y="33"/>
                </a:cubicBezTo>
                <a:cubicBezTo>
                  <a:pt x="205" y="31"/>
                  <a:pt x="205" y="31"/>
                  <a:pt x="205" y="31"/>
                </a:cubicBezTo>
                <a:cubicBezTo>
                  <a:pt x="206" y="29"/>
                  <a:pt x="206" y="29"/>
                  <a:pt x="206" y="29"/>
                </a:cubicBezTo>
                <a:cubicBezTo>
                  <a:pt x="207" y="29"/>
                  <a:pt x="207" y="29"/>
                  <a:pt x="207" y="29"/>
                </a:cubicBezTo>
                <a:cubicBezTo>
                  <a:pt x="207" y="30"/>
                  <a:pt x="207" y="30"/>
                  <a:pt x="207" y="30"/>
                </a:cubicBezTo>
                <a:cubicBezTo>
                  <a:pt x="206" y="31"/>
                  <a:pt x="206" y="31"/>
                  <a:pt x="206" y="31"/>
                </a:cubicBezTo>
                <a:cubicBezTo>
                  <a:pt x="206" y="32"/>
                  <a:pt x="206" y="32"/>
                  <a:pt x="206" y="32"/>
                </a:cubicBezTo>
                <a:cubicBezTo>
                  <a:pt x="207" y="32"/>
                  <a:pt x="207" y="32"/>
                  <a:pt x="207" y="32"/>
                </a:cubicBezTo>
                <a:cubicBezTo>
                  <a:pt x="207" y="34"/>
                  <a:pt x="207" y="34"/>
                  <a:pt x="207" y="34"/>
                </a:cubicBezTo>
                <a:cubicBezTo>
                  <a:pt x="207" y="36"/>
                  <a:pt x="207" y="36"/>
                  <a:pt x="207" y="36"/>
                </a:cubicBezTo>
                <a:cubicBezTo>
                  <a:pt x="206" y="36"/>
                  <a:pt x="206" y="36"/>
                  <a:pt x="206" y="36"/>
                </a:cubicBezTo>
                <a:cubicBezTo>
                  <a:pt x="205" y="36"/>
                  <a:pt x="205" y="36"/>
                  <a:pt x="205" y="36"/>
                </a:cubicBezTo>
                <a:cubicBezTo>
                  <a:pt x="205" y="38"/>
                  <a:pt x="205" y="38"/>
                  <a:pt x="205" y="38"/>
                </a:cubicBezTo>
                <a:cubicBezTo>
                  <a:pt x="206" y="37"/>
                  <a:pt x="206" y="37"/>
                  <a:pt x="206" y="37"/>
                </a:cubicBezTo>
                <a:cubicBezTo>
                  <a:pt x="207" y="36"/>
                  <a:pt x="207" y="36"/>
                  <a:pt x="207" y="36"/>
                </a:cubicBezTo>
                <a:cubicBezTo>
                  <a:pt x="208" y="36"/>
                  <a:pt x="208" y="36"/>
                  <a:pt x="208" y="36"/>
                </a:cubicBezTo>
                <a:cubicBezTo>
                  <a:pt x="208" y="35"/>
                  <a:pt x="208" y="35"/>
                  <a:pt x="208" y="35"/>
                </a:cubicBezTo>
                <a:cubicBezTo>
                  <a:pt x="208" y="35"/>
                  <a:pt x="208" y="35"/>
                  <a:pt x="208" y="35"/>
                </a:cubicBezTo>
                <a:cubicBezTo>
                  <a:pt x="208" y="34"/>
                  <a:pt x="208" y="34"/>
                  <a:pt x="208" y="34"/>
                </a:cubicBezTo>
                <a:cubicBezTo>
                  <a:pt x="210" y="33"/>
                  <a:pt x="210" y="33"/>
                  <a:pt x="210" y="33"/>
                </a:cubicBezTo>
                <a:cubicBezTo>
                  <a:pt x="212" y="33"/>
                  <a:pt x="212" y="33"/>
                  <a:pt x="212" y="33"/>
                </a:cubicBezTo>
                <a:cubicBezTo>
                  <a:pt x="212" y="33"/>
                  <a:pt x="212" y="33"/>
                  <a:pt x="212" y="33"/>
                </a:cubicBezTo>
                <a:cubicBezTo>
                  <a:pt x="212" y="34"/>
                  <a:pt x="212" y="34"/>
                  <a:pt x="212" y="34"/>
                </a:cubicBezTo>
                <a:cubicBezTo>
                  <a:pt x="211" y="37"/>
                  <a:pt x="211" y="37"/>
                  <a:pt x="211" y="37"/>
                </a:cubicBezTo>
                <a:cubicBezTo>
                  <a:pt x="209" y="37"/>
                  <a:pt x="209" y="37"/>
                  <a:pt x="209" y="37"/>
                </a:cubicBezTo>
                <a:cubicBezTo>
                  <a:pt x="208" y="38"/>
                  <a:pt x="208" y="38"/>
                  <a:pt x="208" y="38"/>
                </a:cubicBezTo>
                <a:cubicBezTo>
                  <a:pt x="209" y="39"/>
                  <a:pt x="209" y="39"/>
                  <a:pt x="209" y="39"/>
                </a:cubicBezTo>
                <a:cubicBezTo>
                  <a:pt x="210" y="39"/>
                  <a:pt x="210" y="39"/>
                  <a:pt x="210" y="39"/>
                </a:cubicBezTo>
                <a:cubicBezTo>
                  <a:pt x="211" y="40"/>
                  <a:pt x="211" y="40"/>
                  <a:pt x="211" y="40"/>
                </a:cubicBezTo>
                <a:cubicBezTo>
                  <a:pt x="211" y="41"/>
                  <a:pt x="211" y="41"/>
                  <a:pt x="211" y="41"/>
                </a:cubicBezTo>
                <a:cubicBezTo>
                  <a:pt x="212" y="42"/>
                  <a:pt x="212" y="42"/>
                  <a:pt x="212" y="42"/>
                </a:cubicBezTo>
                <a:cubicBezTo>
                  <a:pt x="211" y="42"/>
                  <a:pt x="211" y="42"/>
                  <a:pt x="211" y="42"/>
                </a:cubicBezTo>
                <a:cubicBezTo>
                  <a:pt x="210" y="41"/>
                  <a:pt x="210" y="41"/>
                  <a:pt x="210" y="41"/>
                </a:cubicBezTo>
                <a:cubicBezTo>
                  <a:pt x="208" y="41"/>
                  <a:pt x="208" y="41"/>
                  <a:pt x="208" y="41"/>
                </a:cubicBezTo>
                <a:cubicBezTo>
                  <a:pt x="207" y="41"/>
                  <a:pt x="207" y="41"/>
                  <a:pt x="207" y="41"/>
                </a:cubicBezTo>
                <a:cubicBezTo>
                  <a:pt x="206" y="41"/>
                  <a:pt x="206" y="41"/>
                  <a:pt x="206" y="41"/>
                </a:cubicBezTo>
                <a:cubicBezTo>
                  <a:pt x="206" y="43"/>
                  <a:pt x="206" y="43"/>
                  <a:pt x="206" y="43"/>
                </a:cubicBezTo>
                <a:cubicBezTo>
                  <a:pt x="207" y="45"/>
                  <a:pt x="207" y="45"/>
                  <a:pt x="207" y="45"/>
                </a:cubicBezTo>
                <a:close/>
                <a:moveTo>
                  <a:pt x="202" y="48"/>
                </a:moveTo>
                <a:cubicBezTo>
                  <a:pt x="202" y="49"/>
                  <a:pt x="202" y="49"/>
                  <a:pt x="202" y="49"/>
                </a:cubicBezTo>
                <a:cubicBezTo>
                  <a:pt x="201" y="49"/>
                  <a:pt x="201" y="49"/>
                  <a:pt x="201" y="49"/>
                </a:cubicBezTo>
                <a:cubicBezTo>
                  <a:pt x="202" y="48"/>
                  <a:pt x="202" y="48"/>
                  <a:pt x="202" y="48"/>
                </a:cubicBezTo>
                <a:cubicBezTo>
                  <a:pt x="202" y="48"/>
                  <a:pt x="202" y="48"/>
                  <a:pt x="202" y="48"/>
                </a:cubicBezTo>
                <a:close/>
                <a:moveTo>
                  <a:pt x="202" y="46"/>
                </a:moveTo>
                <a:cubicBezTo>
                  <a:pt x="201" y="46"/>
                  <a:pt x="201" y="46"/>
                  <a:pt x="201" y="46"/>
                </a:cubicBezTo>
                <a:cubicBezTo>
                  <a:pt x="201" y="47"/>
                  <a:pt x="201" y="47"/>
                  <a:pt x="201" y="47"/>
                </a:cubicBezTo>
                <a:cubicBezTo>
                  <a:pt x="202" y="47"/>
                  <a:pt x="202" y="47"/>
                  <a:pt x="202" y="47"/>
                </a:cubicBezTo>
                <a:cubicBezTo>
                  <a:pt x="202" y="46"/>
                  <a:pt x="202" y="46"/>
                  <a:pt x="202" y="46"/>
                </a:cubicBezTo>
                <a:cubicBezTo>
                  <a:pt x="202" y="46"/>
                  <a:pt x="202" y="46"/>
                  <a:pt x="202" y="46"/>
                </a:cubicBezTo>
                <a:close/>
                <a:moveTo>
                  <a:pt x="203" y="46"/>
                </a:moveTo>
                <a:cubicBezTo>
                  <a:pt x="203" y="47"/>
                  <a:pt x="203" y="47"/>
                  <a:pt x="203" y="47"/>
                </a:cubicBezTo>
                <a:cubicBezTo>
                  <a:pt x="203" y="48"/>
                  <a:pt x="203" y="48"/>
                  <a:pt x="203" y="48"/>
                </a:cubicBezTo>
                <a:cubicBezTo>
                  <a:pt x="203" y="49"/>
                  <a:pt x="203" y="49"/>
                  <a:pt x="203" y="49"/>
                </a:cubicBezTo>
                <a:cubicBezTo>
                  <a:pt x="204" y="49"/>
                  <a:pt x="204" y="49"/>
                  <a:pt x="204" y="49"/>
                </a:cubicBezTo>
                <a:cubicBezTo>
                  <a:pt x="205" y="49"/>
                  <a:pt x="205" y="49"/>
                  <a:pt x="205" y="49"/>
                </a:cubicBezTo>
                <a:cubicBezTo>
                  <a:pt x="206" y="49"/>
                  <a:pt x="206" y="49"/>
                  <a:pt x="206" y="49"/>
                </a:cubicBezTo>
                <a:cubicBezTo>
                  <a:pt x="205" y="48"/>
                  <a:pt x="205" y="48"/>
                  <a:pt x="205" y="48"/>
                </a:cubicBezTo>
                <a:cubicBezTo>
                  <a:pt x="204" y="48"/>
                  <a:pt x="204" y="48"/>
                  <a:pt x="204" y="48"/>
                </a:cubicBezTo>
                <a:cubicBezTo>
                  <a:pt x="205" y="47"/>
                  <a:pt x="205" y="47"/>
                  <a:pt x="205" y="47"/>
                </a:cubicBezTo>
                <a:cubicBezTo>
                  <a:pt x="204" y="46"/>
                  <a:pt x="204" y="46"/>
                  <a:pt x="204" y="46"/>
                </a:cubicBezTo>
                <a:cubicBezTo>
                  <a:pt x="203" y="46"/>
                  <a:pt x="203" y="46"/>
                  <a:pt x="203" y="46"/>
                </a:cubicBezTo>
                <a:close/>
                <a:moveTo>
                  <a:pt x="203" y="54"/>
                </a:moveTo>
                <a:cubicBezTo>
                  <a:pt x="205" y="52"/>
                  <a:pt x="205" y="52"/>
                  <a:pt x="205" y="52"/>
                </a:cubicBezTo>
                <a:cubicBezTo>
                  <a:pt x="206" y="52"/>
                  <a:pt x="206" y="52"/>
                  <a:pt x="206" y="52"/>
                </a:cubicBezTo>
                <a:cubicBezTo>
                  <a:pt x="208" y="54"/>
                  <a:pt x="208" y="54"/>
                  <a:pt x="208" y="54"/>
                </a:cubicBezTo>
                <a:cubicBezTo>
                  <a:pt x="207" y="55"/>
                  <a:pt x="207" y="55"/>
                  <a:pt x="207" y="55"/>
                </a:cubicBezTo>
                <a:cubicBezTo>
                  <a:pt x="206" y="55"/>
                  <a:pt x="206" y="55"/>
                  <a:pt x="206" y="55"/>
                </a:cubicBezTo>
                <a:cubicBezTo>
                  <a:pt x="205" y="55"/>
                  <a:pt x="205" y="55"/>
                  <a:pt x="205" y="55"/>
                </a:cubicBezTo>
                <a:cubicBezTo>
                  <a:pt x="205" y="55"/>
                  <a:pt x="205" y="55"/>
                  <a:pt x="205" y="55"/>
                </a:cubicBezTo>
                <a:cubicBezTo>
                  <a:pt x="203" y="54"/>
                  <a:pt x="203" y="54"/>
                  <a:pt x="203" y="54"/>
                </a:cubicBezTo>
                <a:cubicBezTo>
                  <a:pt x="203" y="54"/>
                  <a:pt x="203" y="54"/>
                  <a:pt x="203" y="54"/>
                </a:cubicBezTo>
                <a:close/>
                <a:moveTo>
                  <a:pt x="221" y="54"/>
                </a:moveTo>
                <a:cubicBezTo>
                  <a:pt x="219" y="55"/>
                  <a:pt x="219" y="55"/>
                  <a:pt x="219" y="55"/>
                </a:cubicBezTo>
                <a:cubicBezTo>
                  <a:pt x="218" y="55"/>
                  <a:pt x="218" y="55"/>
                  <a:pt x="218" y="55"/>
                </a:cubicBezTo>
                <a:cubicBezTo>
                  <a:pt x="218" y="56"/>
                  <a:pt x="218" y="56"/>
                  <a:pt x="218" y="56"/>
                </a:cubicBezTo>
                <a:cubicBezTo>
                  <a:pt x="220" y="57"/>
                  <a:pt x="220" y="57"/>
                  <a:pt x="220" y="57"/>
                </a:cubicBezTo>
                <a:cubicBezTo>
                  <a:pt x="222" y="56"/>
                  <a:pt x="222" y="56"/>
                  <a:pt x="222" y="56"/>
                </a:cubicBezTo>
                <a:cubicBezTo>
                  <a:pt x="222" y="56"/>
                  <a:pt x="222" y="56"/>
                  <a:pt x="222" y="56"/>
                </a:cubicBezTo>
                <a:cubicBezTo>
                  <a:pt x="221" y="55"/>
                  <a:pt x="221" y="55"/>
                  <a:pt x="221" y="55"/>
                </a:cubicBezTo>
                <a:cubicBezTo>
                  <a:pt x="221" y="54"/>
                  <a:pt x="221" y="54"/>
                  <a:pt x="221" y="54"/>
                </a:cubicBezTo>
                <a:close/>
                <a:moveTo>
                  <a:pt x="210" y="67"/>
                </a:moveTo>
                <a:cubicBezTo>
                  <a:pt x="211" y="66"/>
                  <a:pt x="211" y="66"/>
                  <a:pt x="211" y="66"/>
                </a:cubicBezTo>
                <a:cubicBezTo>
                  <a:pt x="211" y="67"/>
                  <a:pt x="211" y="67"/>
                  <a:pt x="211" y="67"/>
                </a:cubicBezTo>
                <a:cubicBezTo>
                  <a:pt x="210" y="67"/>
                  <a:pt x="210" y="67"/>
                  <a:pt x="210" y="67"/>
                </a:cubicBezTo>
                <a:cubicBezTo>
                  <a:pt x="210" y="67"/>
                  <a:pt x="210" y="67"/>
                  <a:pt x="210" y="67"/>
                </a:cubicBezTo>
                <a:close/>
                <a:moveTo>
                  <a:pt x="209" y="67"/>
                </a:moveTo>
                <a:cubicBezTo>
                  <a:pt x="210" y="67"/>
                  <a:pt x="210" y="67"/>
                  <a:pt x="210" y="67"/>
                </a:cubicBezTo>
                <a:cubicBezTo>
                  <a:pt x="210" y="67"/>
                  <a:pt x="210" y="67"/>
                  <a:pt x="210" y="67"/>
                </a:cubicBezTo>
                <a:cubicBezTo>
                  <a:pt x="209" y="67"/>
                  <a:pt x="209" y="67"/>
                  <a:pt x="209" y="67"/>
                </a:cubicBezTo>
                <a:cubicBezTo>
                  <a:pt x="209" y="67"/>
                  <a:pt x="209" y="67"/>
                  <a:pt x="209" y="67"/>
                </a:cubicBezTo>
                <a:close/>
                <a:moveTo>
                  <a:pt x="206" y="67"/>
                </a:moveTo>
                <a:cubicBezTo>
                  <a:pt x="207" y="67"/>
                  <a:pt x="207" y="67"/>
                  <a:pt x="207" y="67"/>
                </a:cubicBezTo>
                <a:cubicBezTo>
                  <a:pt x="208" y="66"/>
                  <a:pt x="208" y="66"/>
                  <a:pt x="208" y="66"/>
                </a:cubicBezTo>
                <a:cubicBezTo>
                  <a:pt x="208" y="67"/>
                  <a:pt x="208" y="67"/>
                  <a:pt x="208" y="67"/>
                </a:cubicBezTo>
                <a:cubicBezTo>
                  <a:pt x="208" y="68"/>
                  <a:pt x="208" y="68"/>
                  <a:pt x="208" y="68"/>
                </a:cubicBezTo>
                <a:cubicBezTo>
                  <a:pt x="207" y="67"/>
                  <a:pt x="207" y="67"/>
                  <a:pt x="207" y="67"/>
                </a:cubicBezTo>
                <a:cubicBezTo>
                  <a:pt x="207" y="68"/>
                  <a:pt x="207" y="68"/>
                  <a:pt x="207" y="68"/>
                </a:cubicBezTo>
                <a:cubicBezTo>
                  <a:pt x="206" y="67"/>
                  <a:pt x="206" y="67"/>
                  <a:pt x="206" y="67"/>
                </a:cubicBezTo>
                <a:close/>
                <a:moveTo>
                  <a:pt x="205" y="63"/>
                </a:moveTo>
                <a:cubicBezTo>
                  <a:pt x="205" y="64"/>
                  <a:pt x="205" y="64"/>
                  <a:pt x="205" y="64"/>
                </a:cubicBezTo>
                <a:cubicBezTo>
                  <a:pt x="205" y="64"/>
                  <a:pt x="205" y="64"/>
                  <a:pt x="205" y="64"/>
                </a:cubicBezTo>
                <a:cubicBezTo>
                  <a:pt x="205" y="63"/>
                  <a:pt x="205" y="63"/>
                  <a:pt x="205" y="63"/>
                </a:cubicBezTo>
                <a:close/>
                <a:moveTo>
                  <a:pt x="207" y="62"/>
                </a:moveTo>
                <a:cubicBezTo>
                  <a:pt x="205" y="62"/>
                  <a:pt x="205" y="62"/>
                  <a:pt x="205" y="62"/>
                </a:cubicBezTo>
                <a:cubicBezTo>
                  <a:pt x="206" y="63"/>
                  <a:pt x="206" y="63"/>
                  <a:pt x="206" y="63"/>
                </a:cubicBezTo>
                <a:cubicBezTo>
                  <a:pt x="206" y="63"/>
                  <a:pt x="206" y="63"/>
                  <a:pt x="206" y="63"/>
                </a:cubicBezTo>
                <a:cubicBezTo>
                  <a:pt x="207" y="62"/>
                  <a:pt x="207" y="62"/>
                  <a:pt x="207" y="62"/>
                </a:cubicBezTo>
                <a:close/>
                <a:moveTo>
                  <a:pt x="207" y="66"/>
                </a:moveTo>
                <a:cubicBezTo>
                  <a:pt x="208" y="64"/>
                  <a:pt x="208" y="64"/>
                  <a:pt x="208" y="64"/>
                </a:cubicBezTo>
                <a:cubicBezTo>
                  <a:pt x="209" y="65"/>
                  <a:pt x="209" y="65"/>
                  <a:pt x="209" y="65"/>
                </a:cubicBezTo>
                <a:cubicBezTo>
                  <a:pt x="210" y="66"/>
                  <a:pt x="210" y="66"/>
                  <a:pt x="210" y="66"/>
                </a:cubicBezTo>
                <a:cubicBezTo>
                  <a:pt x="211" y="66"/>
                  <a:pt x="211" y="66"/>
                  <a:pt x="211" y="66"/>
                </a:cubicBezTo>
                <a:cubicBezTo>
                  <a:pt x="212" y="64"/>
                  <a:pt x="212" y="64"/>
                  <a:pt x="212" y="64"/>
                </a:cubicBezTo>
                <a:cubicBezTo>
                  <a:pt x="213" y="64"/>
                  <a:pt x="213" y="64"/>
                  <a:pt x="213" y="64"/>
                </a:cubicBezTo>
                <a:cubicBezTo>
                  <a:pt x="213" y="66"/>
                  <a:pt x="213" y="66"/>
                  <a:pt x="213" y="66"/>
                </a:cubicBezTo>
                <a:cubicBezTo>
                  <a:pt x="216" y="66"/>
                  <a:pt x="216" y="66"/>
                  <a:pt x="216" y="66"/>
                </a:cubicBezTo>
                <a:cubicBezTo>
                  <a:pt x="217" y="65"/>
                  <a:pt x="217" y="65"/>
                  <a:pt x="217" y="65"/>
                </a:cubicBezTo>
                <a:cubicBezTo>
                  <a:pt x="218" y="65"/>
                  <a:pt x="218" y="65"/>
                  <a:pt x="218" y="65"/>
                </a:cubicBezTo>
                <a:cubicBezTo>
                  <a:pt x="220" y="67"/>
                  <a:pt x="220" y="67"/>
                  <a:pt x="220" y="67"/>
                </a:cubicBezTo>
                <a:cubicBezTo>
                  <a:pt x="221" y="67"/>
                  <a:pt x="221" y="67"/>
                  <a:pt x="221" y="67"/>
                </a:cubicBezTo>
                <a:cubicBezTo>
                  <a:pt x="223" y="68"/>
                  <a:pt x="223" y="68"/>
                  <a:pt x="223" y="68"/>
                </a:cubicBezTo>
                <a:cubicBezTo>
                  <a:pt x="224" y="68"/>
                  <a:pt x="224" y="68"/>
                  <a:pt x="224" y="68"/>
                </a:cubicBezTo>
                <a:cubicBezTo>
                  <a:pt x="225" y="67"/>
                  <a:pt x="225" y="67"/>
                  <a:pt x="225" y="67"/>
                </a:cubicBezTo>
                <a:cubicBezTo>
                  <a:pt x="224" y="65"/>
                  <a:pt x="224" y="65"/>
                  <a:pt x="224" y="65"/>
                </a:cubicBezTo>
                <a:cubicBezTo>
                  <a:pt x="221" y="63"/>
                  <a:pt x="221" y="63"/>
                  <a:pt x="221" y="63"/>
                </a:cubicBezTo>
                <a:cubicBezTo>
                  <a:pt x="218" y="63"/>
                  <a:pt x="218" y="63"/>
                  <a:pt x="218" y="63"/>
                </a:cubicBezTo>
                <a:cubicBezTo>
                  <a:pt x="217" y="61"/>
                  <a:pt x="217" y="61"/>
                  <a:pt x="217" y="61"/>
                </a:cubicBezTo>
                <a:cubicBezTo>
                  <a:pt x="216" y="61"/>
                  <a:pt x="216" y="61"/>
                  <a:pt x="216" y="61"/>
                </a:cubicBezTo>
                <a:cubicBezTo>
                  <a:pt x="215" y="62"/>
                  <a:pt x="215" y="62"/>
                  <a:pt x="215" y="62"/>
                </a:cubicBezTo>
                <a:cubicBezTo>
                  <a:pt x="213" y="62"/>
                  <a:pt x="213" y="62"/>
                  <a:pt x="213" y="62"/>
                </a:cubicBezTo>
                <a:cubicBezTo>
                  <a:pt x="212" y="62"/>
                  <a:pt x="212" y="62"/>
                  <a:pt x="212" y="62"/>
                </a:cubicBezTo>
                <a:cubicBezTo>
                  <a:pt x="211" y="62"/>
                  <a:pt x="211" y="62"/>
                  <a:pt x="211" y="62"/>
                </a:cubicBezTo>
                <a:cubicBezTo>
                  <a:pt x="208" y="62"/>
                  <a:pt x="208" y="62"/>
                  <a:pt x="208" y="62"/>
                </a:cubicBezTo>
                <a:cubicBezTo>
                  <a:pt x="207" y="63"/>
                  <a:pt x="207" y="63"/>
                  <a:pt x="207" y="63"/>
                </a:cubicBezTo>
                <a:cubicBezTo>
                  <a:pt x="207" y="63"/>
                  <a:pt x="207" y="63"/>
                  <a:pt x="207" y="63"/>
                </a:cubicBezTo>
                <a:cubicBezTo>
                  <a:pt x="206" y="64"/>
                  <a:pt x="206" y="64"/>
                  <a:pt x="206" y="64"/>
                </a:cubicBezTo>
                <a:cubicBezTo>
                  <a:pt x="206" y="65"/>
                  <a:pt x="206" y="65"/>
                  <a:pt x="206" y="65"/>
                </a:cubicBezTo>
                <a:cubicBezTo>
                  <a:pt x="206" y="66"/>
                  <a:pt x="206" y="66"/>
                  <a:pt x="206" y="66"/>
                </a:cubicBezTo>
                <a:cubicBezTo>
                  <a:pt x="207" y="66"/>
                  <a:pt x="207" y="66"/>
                  <a:pt x="207" y="66"/>
                </a:cubicBezTo>
                <a:close/>
                <a:moveTo>
                  <a:pt x="195" y="64"/>
                </a:moveTo>
                <a:cubicBezTo>
                  <a:pt x="196" y="64"/>
                  <a:pt x="196" y="64"/>
                  <a:pt x="196" y="64"/>
                </a:cubicBezTo>
                <a:cubicBezTo>
                  <a:pt x="197" y="63"/>
                  <a:pt x="197" y="63"/>
                  <a:pt x="197" y="63"/>
                </a:cubicBezTo>
                <a:cubicBezTo>
                  <a:pt x="199" y="63"/>
                  <a:pt x="199" y="63"/>
                  <a:pt x="199" y="63"/>
                </a:cubicBezTo>
                <a:cubicBezTo>
                  <a:pt x="201" y="64"/>
                  <a:pt x="201" y="64"/>
                  <a:pt x="201" y="64"/>
                </a:cubicBezTo>
                <a:cubicBezTo>
                  <a:pt x="201" y="65"/>
                  <a:pt x="201" y="65"/>
                  <a:pt x="201" y="65"/>
                </a:cubicBezTo>
                <a:cubicBezTo>
                  <a:pt x="202" y="66"/>
                  <a:pt x="202" y="66"/>
                  <a:pt x="202" y="66"/>
                </a:cubicBezTo>
                <a:cubicBezTo>
                  <a:pt x="202" y="67"/>
                  <a:pt x="202" y="67"/>
                  <a:pt x="202" y="67"/>
                </a:cubicBezTo>
                <a:cubicBezTo>
                  <a:pt x="201" y="67"/>
                  <a:pt x="201" y="67"/>
                  <a:pt x="201" y="67"/>
                </a:cubicBezTo>
                <a:cubicBezTo>
                  <a:pt x="200" y="68"/>
                  <a:pt x="200" y="68"/>
                  <a:pt x="200" y="68"/>
                </a:cubicBezTo>
                <a:cubicBezTo>
                  <a:pt x="198" y="68"/>
                  <a:pt x="198" y="68"/>
                  <a:pt x="198" y="68"/>
                </a:cubicBezTo>
                <a:cubicBezTo>
                  <a:pt x="197" y="68"/>
                  <a:pt x="197" y="68"/>
                  <a:pt x="197" y="68"/>
                </a:cubicBezTo>
                <a:cubicBezTo>
                  <a:pt x="196" y="68"/>
                  <a:pt x="196" y="68"/>
                  <a:pt x="196" y="68"/>
                </a:cubicBezTo>
                <a:cubicBezTo>
                  <a:pt x="194" y="67"/>
                  <a:pt x="194" y="67"/>
                  <a:pt x="194" y="67"/>
                </a:cubicBezTo>
                <a:cubicBezTo>
                  <a:pt x="193" y="66"/>
                  <a:pt x="193" y="66"/>
                  <a:pt x="193" y="66"/>
                </a:cubicBezTo>
                <a:cubicBezTo>
                  <a:pt x="193" y="64"/>
                  <a:pt x="193" y="64"/>
                  <a:pt x="193" y="64"/>
                </a:cubicBezTo>
                <a:cubicBezTo>
                  <a:pt x="195" y="64"/>
                  <a:pt x="195" y="64"/>
                  <a:pt x="195" y="64"/>
                </a:cubicBezTo>
                <a:close/>
                <a:moveTo>
                  <a:pt x="160" y="90"/>
                </a:moveTo>
                <a:cubicBezTo>
                  <a:pt x="159" y="89"/>
                  <a:pt x="159" y="89"/>
                  <a:pt x="159" y="89"/>
                </a:cubicBezTo>
                <a:cubicBezTo>
                  <a:pt x="158" y="90"/>
                  <a:pt x="158" y="90"/>
                  <a:pt x="158" y="90"/>
                </a:cubicBezTo>
                <a:cubicBezTo>
                  <a:pt x="159" y="90"/>
                  <a:pt x="159" y="90"/>
                  <a:pt x="159" y="90"/>
                </a:cubicBezTo>
                <a:cubicBezTo>
                  <a:pt x="160" y="90"/>
                  <a:pt x="160" y="90"/>
                  <a:pt x="160" y="90"/>
                </a:cubicBezTo>
                <a:close/>
                <a:moveTo>
                  <a:pt x="158" y="81"/>
                </a:moveTo>
                <a:cubicBezTo>
                  <a:pt x="159" y="83"/>
                  <a:pt x="159" y="83"/>
                  <a:pt x="159" y="83"/>
                </a:cubicBezTo>
                <a:cubicBezTo>
                  <a:pt x="159" y="84"/>
                  <a:pt x="159" y="84"/>
                  <a:pt x="159" y="84"/>
                </a:cubicBezTo>
                <a:cubicBezTo>
                  <a:pt x="159" y="85"/>
                  <a:pt x="159" y="85"/>
                  <a:pt x="159" y="85"/>
                </a:cubicBezTo>
                <a:cubicBezTo>
                  <a:pt x="158" y="84"/>
                  <a:pt x="158" y="84"/>
                  <a:pt x="158" y="84"/>
                </a:cubicBezTo>
                <a:cubicBezTo>
                  <a:pt x="158" y="83"/>
                  <a:pt x="158" y="83"/>
                  <a:pt x="158" y="83"/>
                </a:cubicBezTo>
                <a:cubicBezTo>
                  <a:pt x="158" y="82"/>
                  <a:pt x="158" y="82"/>
                  <a:pt x="158" y="82"/>
                </a:cubicBezTo>
                <a:cubicBezTo>
                  <a:pt x="158" y="81"/>
                  <a:pt x="158" y="81"/>
                  <a:pt x="158" y="81"/>
                </a:cubicBezTo>
                <a:cubicBezTo>
                  <a:pt x="158" y="81"/>
                  <a:pt x="158" y="81"/>
                  <a:pt x="158" y="81"/>
                </a:cubicBezTo>
                <a:close/>
                <a:moveTo>
                  <a:pt x="193" y="57"/>
                </a:moveTo>
                <a:cubicBezTo>
                  <a:pt x="193" y="58"/>
                  <a:pt x="193" y="58"/>
                  <a:pt x="193" y="58"/>
                </a:cubicBezTo>
                <a:cubicBezTo>
                  <a:pt x="194" y="59"/>
                  <a:pt x="194" y="59"/>
                  <a:pt x="194" y="59"/>
                </a:cubicBezTo>
                <a:cubicBezTo>
                  <a:pt x="194" y="60"/>
                  <a:pt x="194" y="60"/>
                  <a:pt x="194" y="60"/>
                </a:cubicBezTo>
                <a:cubicBezTo>
                  <a:pt x="194" y="59"/>
                  <a:pt x="194" y="59"/>
                  <a:pt x="194" y="59"/>
                </a:cubicBezTo>
                <a:cubicBezTo>
                  <a:pt x="193" y="58"/>
                  <a:pt x="193" y="58"/>
                  <a:pt x="193" y="58"/>
                </a:cubicBezTo>
                <a:cubicBezTo>
                  <a:pt x="193" y="57"/>
                  <a:pt x="193" y="57"/>
                  <a:pt x="193" y="57"/>
                </a:cubicBezTo>
                <a:cubicBezTo>
                  <a:pt x="193" y="57"/>
                  <a:pt x="193" y="57"/>
                  <a:pt x="193" y="57"/>
                </a:cubicBezTo>
                <a:close/>
                <a:moveTo>
                  <a:pt x="190" y="55"/>
                </a:moveTo>
                <a:cubicBezTo>
                  <a:pt x="191" y="55"/>
                  <a:pt x="191" y="55"/>
                  <a:pt x="191" y="55"/>
                </a:cubicBezTo>
                <a:cubicBezTo>
                  <a:pt x="192" y="55"/>
                  <a:pt x="192" y="55"/>
                  <a:pt x="192" y="55"/>
                </a:cubicBezTo>
                <a:cubicBezTo>
                  <a:pt x="192" y="55"/>
                  <a:pt x="192" y="55"/>
                  <a:pt x="192" y="55"/>
                </a:cubicBezTo>
                <a:cubicBezTo>
                  <a:pt x="195" y="55"/>
                  <a:pt x="195" y="55"/>
                  <a:pt x="195" y="55"/>
                </a:cubicBezTo>
                <a:cubicBezTo>
                  <a:pt x="196" y="55"/>
                  <a:pt x="196" y="55"/>
                  <a:pt x="196" y="55"/>
                </a:cubicBezTo>
                <a:cubicBezTo>
                  <a:pt x="195" y="56"/>
                  <a:pt x="195" y="56"/>
                  <a:pt x="195" y="56"/>
                </a:cubicBezTo>
                <a:cubicBezTo>
                  <a:pt x="192" y="56"/>
                  <a:pt x="192" y="56"/>
                  <a:pt x="192" y="56"/>
                </a:cubicBezTo>
                <a:cubicBezTo>
                  <a:pt x="190" y="56"/>
                  <a:pt x="190" y="56"/>
                  <a:pt x="190" y="56"/>
                </a:cubicBezTo>
                <a:cubicBezTo>
                  <a:pt x="190" y="55"/>
                  <a:pt x="190" y="55"/>
                  <a:pt x="190" y="55"/>
                </a:cubicBezTo>
                <a:cubicBezTo>
                  <a:pt x="190" y="55"/>
                  <a:pt x="190" y="55"/>
                  <a:pt x="190" y="55"/>
                </a:cubicBezTo>
                <a:close/>
                <a:moveTo>
                  <a:pt x="184" y="55"/>
                </a:moveTo>
                <a:cubicBezTo>
                  <a:pt x="184" y="54"/>
                  <a:pt x="184" y="54"/>
                  <a:pt x="184" y="54"/>
                </a:cubicBezTo>
                <a:cubicBezTo>
                  <a:pt x="185" y="55"/>
                  <a:pt x="185" y="55"/>
                  <a:pt x="185" y="55"/>
                </a:cubicBezTo>
                <a:cubicBezTo>
                  <a:pt x="186" y="54"/>
                  <a:pt x="186" y="54"/>
                  <a:pt x="186" y="54"/>
                </a:cubicBezTo>
                <a:cubicBezTo>
                  <a:pt x="187" y="55"/>
                  <a:pt x="187" y="55"/>
                  <a:pt x="187" y="55"/>
                </a:cubicBezTo>
                <a:cubicBezTo>
                  <a:pt x="188" y="55"/>
                  <a:pt x="188" y="55"/>
                  <a:pt x="188" y="55"/>
                </a:cubicBezTo>
                <a:cubicBezTo>
                  <a:pt x="189" y="54"/>
                  <a:pt x="189" y="54"/>
                  <a:pt x="189" y="54"/>
                </a:cubicBezTo>
                <a:cubicBezTo>
                  <a:pt x="190" y="55"/>
                  <a:pt x="190" y="55"/>
                  <a:pt x="190" y="55"/>
                </a:cubicBezTo>
                <a:cubicBezTo>
                  <a:pt x="190" y="56"/>
                  <a:pt x="190" y="56"/>
                  <a:pt x="190" y="56"/>
                </a:cubicBezTo>
                <a:cubicBezTo>
                  <a:pt x="189" y="56"/>
                  <a:pt x="189" y="56"/>
                  <a:pt x="189" y="56"/>
                </a:cubicBezTo>
                <a:cubicBezTo>
                  <a:pt x="187" y="56"/>
                  <a:pt x="187" y="56"/>
                  <a:pt x="187" y="56"/>
                </a:cubicBezTo>
                <a:cubicBezTo>
                  <a:pt x="187" y="56"/>
                  <a:pt x="187" y="56"/>
                  <a:pt x="187" y="56"/>
                </a:cubicBezTo>
                <a:cubicBezTo>
                  <a:pt x="185" y="57"/>
                  <a:pt x="185" y="57"/>
                  <a:pt x="185" y="57"/>
                </a:cubicBezTo>
                <a:cubicBezTo>
                  <a:pt x="184" y="56"/>
                  <a:pt x="184" y="56"/>
                  <a:pt x="184" y="56"/>
                </a:cubicBezTo>
                <a:cubicBezTo>
                  <a:pt x="184" y="56"/>
                  <a:pt x="184" y="56"/>
                  <a:pt x="184" y="56"/>
                </a:cubicBezTo>
                <a:cubicBezTo>
                  <a:pt x="184" y="55"/>
                  <a:pt x="184" y="55"/>
                  <a:pt x="184" y="55"/>
                </a:cubicBezTo>
                <a:close/>
                <a:moveTo>
                  <a:pt x="173" y="78"/>
                </a:moveTo>
                <a:cubicBezTo>
                  <a:pt x="174" y="77"/>
                  <a:pt x="174" y="77"/>
                  <a:pt x="174" y="77"/>
                </a:cubicBezTo>
                <a:cubicBezTo>
                  <a:pt x="174" y="75"/>
                  <a:pt x="174" y="75"/>
                  <a:pt x="174" y="75"/>
                </a:cubicBezTo>
                <a:cubicBezTo>
                  <a:pt x="174" y="73"/>
                  <a:pt x="174" y="73"/>
                  <a:pt x="174" y="73"/>
                </a:cubicBezTo>
                <a:cubicBezTo>
                  <a:pt x="175" y="72"/>
                  <a:pt x="175" y="72"/>
                  <a:pt x="175" y="72"/>
                </a:cubicBezTo>
                <a:cubicBezTo>
                  <a:pt x="176" y="72"/>
                  <a:pt x="176" y="72"/>
                  <a:pt x="176" y="72"/>
                </a:cubicBezTo>
                <a:cubicBezTo>
                  <a:pt x="176" y="73"/>
                  <a:pt x="176" y="73"/>
                  <a:pt x="176" y="73"/>
                </a:cubicBezTo>
                <a:cubicBezTo>
                  <a:pt x="176" y="74"/>
                  <a:pt x="176" y="74"/>
                  <a:pt x="176" y="74"/>
                </a:cubicBezTo>
                <a:cubicBezTo>
                  <a:pt x="176" y="75"/>
                  <a:pt x="176" y="75"/>
                  <a:pt x="176" y="75"/>
                </a:cubicBezTo>
                <a:cubicBezTo>
                  <a:pt x="176" y="74"/>
                  <a:pt x="176" y="74"/>
                  <a:pt x="176" y="74"/>
                </a:cubicBezTo>
                <a:cubicBezTo>
                  <a:pt x="176" y="75"/>
                  <a:pt x="176" y="75"/>
                  <a:pt x="176" y="75"/>
                </a:cubicBezTo>
                <a:cubicBezTo>
                  <a:pt x="175" y="75"/>
                  <a:pt x="175" y="75"/>
                  <a:pt x="175" y="75"/>
                </a:cubicBezTo>
                <a:cubicBezTo>
                  <a:pt x="174" y="76"/>
                  <a:pt x="174" y="76"/>
                  <a:pt x="174" y="76"/>
                </a:cubicBezTo>
                <a:cubicBezTo>
                  <a:pt x="175" y="77"/>
                  <a:pt x="175" y="77"/>
                  <a:pt x="175" y="77"/>
                </a:cubicBezTo>
                <a:cubicBezTo>
                  <a:pt x="176" y="77"/>
                  <a:pt x="176" y="77"/>
                  <a:pt x="176" y="77"/>
                </a:cubicBezTo>
                <a:cubicBezTo>
                  <a:pt x="176" y="77"/>
                  <a:pt x="176" y="77"/>
                  <a:pt x="176" y="77"/>
                </a:cubicBezTo>
                <a:cubicBezTo>
                  <a:pt x="176" y="78"/>
                  <a:pt x="176" y="78"/>
                  <a:pt x="176" y="78"/>
                </a:cubicBezTo>
                <a:cubicBezTo>
                  <a:pt x="175" y="78"/>
                  <a:pt x="175" y="78"/>
                  <a:pt x="175" y="78"/>
                </a:cubicBezTo>
                <a:cubicBezTo>
                  <a:pt x="174" y="79"/>
                  <a:pt x="174" y="79"/>
                  <a:pt x="174" y="79"/>
                </a:cubicBezTo>
                <a:cubicBezTo>
                  <a:pt x="173" y="80"/>
                  <a:pt x="173" y="80"/>
                  <a:pt x="173" y="80"/>
                </a:cubicBezTo>
                <a:cubicBezTo>
                  <a:pt x="172" y="79"/>
                  <a:pt x="172" y="79"/>
                  <a:pt x="172" y="79"/>
                </a:cubicBezTo>
                <a:cubicBezTo>
                  <a:pt x="173" y="78"/>
                  <a:pt x="173" y="78"/>
                  <a:pt x="173" y="78"/>
                </a:cubicBezTo>
                <a:close/>
                <a:moveTo>
                  <a:pt x="170" y="77"/>
                </a:moveTo>
                <a:cubicBezTo>
                  <a:pt x="170" y="77"/>
                  <a:pt x="170" y="78"/>
                  <a:pt x="170" y="78"/>
                </a:cubicBezTo>
                <a:cubicBezTo>
                  <a:pt x="170" y="78"/>
                  <a:pt x="170" y="78"/>
                  <a:pt x="170" y="78"/>
                </a:cubicBezTo>
                <a:cubicBezTo>
                  <a:pt x="171" y="78"/>
                  <a:pt x="171" y="78"/>
                  <a:pt x="171" y="78"/>
                </a:cubicBezTo>
                <a:cubicBezTo>
                  <a:pt x="172" y="77"/>
                  <a:pt x="172" y="77"/>
                  <a:pt x="172" y="77"/>
                </a:cubicBezTo>
                <a:cubicBezTo>
                  <a:pt x="172" y="77"/>
                  <a:pt x="172" y="77"/>
                  <a:pt x="172" y="77"/>
                </a:cubicBezTo>
                <a:cubicBezTo>
                  <a:pt x="172" y="76"/>
                  <a:pt x="172" y="76"/>
                  <a:pt x="172" y="76"/>
                </a:cubicBezTo>
                <a:cubicBezTo>
                  <a:pt x="173" y="75"/>
                  <a:pt x="173" y="75"/>
                  <a:pt x="173" y="75"/>
                </a:cubicBezTo>
                <a:cubicBezTo>
                  <a:pt x="173" y="75"/>
                  <a:pt x="173" y="75"/>
                  <a:pt x="173" y="75"/>
                </a:cubicBezTo>
                <a:cubicBezTo>
                  <a:pt x="172" y="74"/>
                  <a:pt x="172" y="74"/>
                  <a:pt x="172" y="74"/>
                </a:cubicBezTo>
                <a:cubicBezTo>
                  <a:pt x="171" y="74"/>
                  <a:pt x="171" y="74"/>
                  <a:pt x="171" y="74"/>
                </a:cubicBezTo>
                <a:cubicBezTo>
                  <a:pt x="170" y="75"/>
                  <a:pt x="170" y="75"/>
                  <a:pt x="170" y="75"/>
                </a:cubicBezTo>
                <a:cubicBezTo>
                  <a:pt x="171" y="76"/>
                  <a:pt x="171" y="76"/>
                  <a:pt x="171" y="76"/>
                </a:cubicBezTo>
                <a:cubicBezTo>
                  <a:pt x="170" y="77"/>
                  <a:pt x="170" y="77"/>
                  <a:pt x="170" y="77"/>
                </a:cubicBezTo>
                <a:close/>
                <a:moveTo>
                  <a:pt x="167" y="76"/>
                </a:moveTo>
                <a:cubicBezTo>
                  <a:pt x="167" y="77"/>
                  <a:pt x="167" y="77"/>
                  <a:pt x="167" y="77"/>
                </a:cubicBezTo>
                <a:cubicBezTo>
                  <a:pt x="167" y="77"/>
                  <a:pt x="167" y="77"/>
                  <a:pt x="167" y="77"/>
                </a:cubicBezTo>
                <a:cubicBezTo>
                  <a:pt x="167" y="79"/>
                  <a:pt x="167" y="79"/>
                  <a:pt x="167" y="79"/>
                </a:cubicBezTo>
                <a:cubicBezTo>
                  <a:pt x="168" y="79"/>
                  <a:pt x="168" y="79"/>
                  <a:pt x="168" y="79"/>
                </a:cubicBezTo>
                <a:cubicBezTo>
                  <a:pt x="168" y="78"/>
                  <a:pt x="168" y="78"/>
                  <a:pt x="168" y="78"/>
                </a:cubicBezTo>
                <a:cubicBezTo>
                  <a:pt x="168" y="77"/>
                  <a:pt x="168" y="77"/>
                  <a:pt x="168" y="77"/>
                </a:cubicBezTo>
                <a:cubicBezTo>
                  <a:pt x="167" y="76"/>
                  <a:pt x="167" y="76"/>
                  <a:pt x="167" y="76"/>
                </a:cubicBezTo>
                <a:cubicBezTo>
                  <a:pt x="167" y="76"/>
                  <a:pt x="167" y="76"/>
                  <a:pt x="167" y="76"/>
                </a:cubicBezTo>
                <a:close/>
                <a:moveTo>
                  <a:pt x="176" y="56"/>
                </a:moveTo>
                <a:cubicBezTo>
                  <a:pt x="175" y="56"/>
                  <a:pt x="175" y="56"/>
                  <a:pt x="175" y="56"/>
                </a:cubicBezTo>
                <a:cubicBezTo>
                  <a:pt x="176" y="56"/>
                  <a:pt x="176" y="56"/>
                  <a:pt x="176" y="56"/>
                </a:cubicBezTo>
                <a:cubicBezTo>
                  <a:pt x="176" y="56"/>
                  <a:pt x="176" y="56"/>
                  <a:pt x="176" y="56"/>
                </a:cubicBezTo>
                <a:close/>
                <a:moveTo>
                  <a:pt x="177" y="55"/>
                </a:moveTo>
                <a:cubicBezTo>
                  <a:pt x="177" y="55"/>
                  <a:pt x="177" y="55"/>
                  <a:pt x="177" y="55"/>
                </a:cubicBezTo>
                <a:cubicBezTo>
                  <a:pt x="178" y="55"/>
                  <a:pt x="178" y="55"/>
                  <a:pt x="178" y="55"/>
                </a:cubicBezTo>
                <a:cubicBezTo>
                  <a:pt x="177" y="55"/>
                  <a:pt x="177" y="55"/>
                  <a:pt x="177" y="55"/>
                </a:cubicBezTo>
                <a:close/>
                <a:moveTo>
                  <a:pt x="179" y="54"/>
                </a:moveTo>
                <a:cubicBezTo>
                  <a:pt x="178" y="54"/>
                  <a:pt x="178" y="54"/>
                  <a:pt x="178" y="54"/>
                </a:cubicBezTo>
                <a:cubicBezTo>
                  <a:pt x="179" y="54"/>
                  <a:pt x="179" y="54"/>
                  <a:pt x="179" y="54"/>
                </a:cubicBezTo>
                <a:cubicBezTo>
                  <a:pt x="179" y="54"/>
                  <a:pt x="179" y="54"/>
                  <a:pt x="179" y="54"/>
                </a:cubicBezTo>
                <a:close/>
                <a:moveTo>
                  <a:pt x="174" y="52"/>
                </a:moveTo>
                <a:cubicBezTo>
                  <a:pt x="175" y="51"/>
                  <a:pt x="175" y="51"/>
                  <a:pt x="175" y="51"/>
                </a:cubicBezTo>
                <a:cubicBezTo>
                  <a:pt x="177" y="51"/>
                  <a:pt x="177" y="51"/>
                  <a:pt x="177" y="51"/>
                </a:cubicBezTo>
                <a:cubicBezTo>
                  <a:pt x="177" y="52"/>
                  <a:pt x="177" y="52"/>
                  <a:pt x="177" y="52"/>
                </a:cubicBezTo>
                <a:cubicBezTo>
                  <a:pt x="177" y="53"/>
                  <a:pt x="177" y="53"/>
                  <a:pt x="177" y="53"/>
                </a:cubicBezTo>
                <a:cubicBezTo>
                  <a:pt x="178" y="52"/>
                  <a:pt x="178" y="52"/>
                  <a:pt x="178" y="52"/>
                </a:cubicBezTo>
                <a:cubicBezTo>
                  <a:pt x="178" y="52"/>
                  <a:pt x="178" y="52"/>
                  <a:pt x="178" y="52"/>
                </a:cubicBezTo>
                <a:cubicBezTo>
                  <a:pt x="179" y="52"/>
                  <a:pt x="179" y="52"/>
                  <a:pt x="179" y="52"/>
                </a:cubicBezTo>
                <a:cubicBezTo>
                  <a:pt x="179" y="53"/>
                  <a:pt x="179" y="53"/>
                  <a:pt x="179" y="53"/>
                </a:cubicBezTo>
                <a:cubicBezTo>
                  <a:pt x="178" y="54"/>
                  <a:pt x="178" y="54"/>
                  <a:pt x="178" y="54"/>
                </a:cubicBezTo>
                <a:cubicBezTo>
                  <a:pt x="177" y="53"/>
                  <a:pt x="177" y="53"/>
                  <a:pt x="177" y="53"/>
                </a:cubicBezTo>
                <a:cubicBezTo>
                  <a:pt x="177" y="54"/>
                  <a:pt x="177" y="54"/>
                  <a:pt x="177" y="54"/>
                </a:cubicBezTo>
                <a:cubicBezTo>
                  <a:pt x="176" y="53"/>
                  <a:pt x="176" y="53"/>
                  <a:pt x="176" y="53"/>
                </a:cubicBezTo>
                <a:cubicBezTo>
                  <a:pt x="175" y="54"/>
                  <a:pt x="175" y="54"/>
                  <a:pt x="175" y="54"/>
                </a:cubicBezTo>
                <a:cubicBezTo>
                  <a:pt x="174" y="53"/>
                  <a:pt x="174" y="53"/>
                  <a:pt x="174" y="53"/>
                </a:cubicBezTo>
                <a:cubicBezTo>
                  <a:pt x="174" y="52"/>
                  <a:pt x="174" y="52"/>
                  <a:pt x="174" y="52"/>
                </a:cubicBezTo>
                <a:close/>
                <a:moveTo>
                  <a:pt x="167" y="46"/>
                </a:moveTo>
                <a:cubicBezTo>
                  <a:pt x="168" y="46"/>
                  <a:pt x="168" y="46"/>
                  <a:pt x="168" y="46"/>
                </a:cubicBezTo>
                <a:cubicBezTo>
                  <a:pt x="168" y="46"/>
                  <a:pt x="168" y="46"/>
                  <a:pt x="168" y="46"/>
                </a:cubicBezTo>
                <a:cubicBezTo>
                  <a:pt x="168" y="46"/>
                  <a:pt x="167" y="46"/>
                  <a:pt x="167" y="46"/>
                </a:cubicBezTo>
                <a:close/>
                <a:moveTo>
                  <a:pt x="166" y="46"/>
                </a:moveTo>
                <a:cubicBezTo>
                  <a:pt x="167" y="46"/>
                  <a:pt x="167" y="46"/>
                  <a:pt x="167" y="46"/>
                </a:cubicBezTo>
                <a:cubicBezTo>
                  <a:pt x="168" y="47"/>
                  <a:pt x="168" y="47"/>
                  <a:pt x="168" y="47"/>
                </a:cubicBezTo>
                <a:cubicBezTo>
                  <a:pt x="167" y="47"/>
                  <a:pt x="167" y="47"/>
                  <a:pt x="167" y="47"/>
                </a:cubicBezTo>
                <a:cubicBezTo>
                  <a:pt x="166" y="46"/>
                  <a:pt x="166" y="46"/>
                  <a:pt x="166" y="46"/>
                </a:cubicBezTo>
                <a:close/>
                <a:moveTo>
                  <a:pt x="158" y="41"/>
                </a:moveTo>
                <a:cubicBezTo>
                  <a:pt x="160" y="40"/>
                  <a:pt x="160" y="40"/>
                  <a:pt x="160" y="40"/>
                </a:cubicBezTo>
                <a:cubicBezTo>
                  <a:pt x="162" y="41"/>
                  <a:pt x="162" y="41"/>
                  <a:pt x="162" y="41"/>
                </a:cubicBezTo>
                <a:cubicBezTo>
                  <a:pt x="164" y="41"/>
                  <a:pt x="164" y="41"/>
                  <a:pt x="164" y="41"/>
                </a:cubicBezTo>
                <a:cubicBezTo>
                  <a:pt x="166" y="40"/>
                  <a:pt x="166" y="40"/>
                  <a:pt x="166" y="40"/>
                </a:cubicBezTo>
                <a:cubicBezTo>
                  <a:pt x="167" y="40"/>
                  <a:pt x="167" y="40"/>
                  <a:pt x="167" y="40"/>
                </a:cubicBezTo>
                <a:cubicBezTo>
                  <a:pt x="168" y="41"/>
                  <a:pt x="168" y="41"/>
                  <a:pt x="168" y="41"/>
                </a:cubicBezTo>
                <a:cubicBezTo>
                  <a:pt x="169" y="41"/>
                  <a:pt x="169" y="41"/>
                  <a:pt x="169" y="41"/>
                </a:cubicBezTo>
                <a:cubicBezTo>
                  <a:pt x="170" y="41"/>
                  <a:pt x="170" y="41"/>
                  <a:pt x="170" y="41"/>
                </a:cubicBezTo>
                <a:cubicBezTo>
                  <a:pt x="173" y="41"/>
                  <a:pt x="173" y="41"/>
                  <a:pt x="173" y="41"/>
                </a:cubicBezTo>
                <a:cubicBezTo>
                  <a:pt x="174" y="41"/>
                  <a:pt x="174" y="41"/>
                  <a:pt x="174" y="41"/>
                </a:cubicBezTo>
                <a:cubicBezTo>
                  <a:pt x="174" y="40"/>
                  <a:pt x="174" y="40"/>
                  <a:pt x="174" y="40"/>
                </a:cubicBezTo>
                <a:cubicBezTo>
                  <a:pt x="176" y="40"/>
                  <a:pt x="176" y="40"/>
                  <a:pt x="176" y="40"/>
                </a:cubicBezTo>
                <a:cubicBezTo>
                  <a:pt x="177" y="41"/>
                  <a:pt x="177" y="41"/>
                  <a:pt x="177" y="41"/>
                </a:cubicBezTo>
                <a:cubicBezTo>
                  <a:pt x="177" y="42"/>
                  <a:pt x="177" y="42"/>
                  <a:pt x="177" y="42"/>
                </a:cubicBezTo>
                <a:cubicBezTo>
                  <a:pt x="178" y="42"/>
                  <a:pt x="178" y="42"/>
                  <a:pt x="178" y="42"/>
                </a:cubicBezTo>
                <a:cubicBezTo>
                  <a:pt x="183" y="41"/>
                  <a:pt x="183" y="41"/>
                  <a:pt x="183" y="41"/>
                </a:cubicBezTo>
                <a:cubicBezTo>
                  <a:pt x="185" y="40"/>
                  <a:pt x="185" y="40"/>
                  <a:pt x="185" y="40"/>
                </a:cubicBezTo>
                <a:cubicBezTo>
                  <a:pt x="186" y="38"/>
                  <a:pt x="186" y="38"/>
                  <a:pt x="186" y="38"/>
                </a:cubicBezTo>
                <a:cubicBezTo>
                  <a:pt x="187" y="38"/>
                  <a:pt x="187" y="38"/>
                  <a:pt x="187" y="38"/>
                </a:cubicBezTo>
                <a:cubicBezTo>
                  <a:pt x="187" y="38"/>
                  <a:pt x="187" y="38"/>
                  <a:pt x="187" y="38"/>
                </a:cubicBezTo>
                <a:cubicBezTo>
                  <a:pt x="188" y="37"/>
                  <a:pt x="188" y="37"/>
                  <a:pt x="188" y="37"/>
                </a:cubicBezTo>
                <a:cubicBezTo>
                  <a:pt x="188" y="36"/>
                  <a:pt x="188" y="36"/>
                  <a:pt x="188" y="36"/>
                </a:cubicBezTo>
                <a:cubicBezTo>
                  <a:pt x="189" y="35"/>
                  <a:pt x="189" y="35"/>
                  <a:pt x="189" y="35"/>
                </a:cubicBezTo>
                <a:cubicBezTo>
                  <a:pt x="190" y="35"/>
                  <a:pt x="190" y="35"/>
                  <a:pt x="190" y="35"/>
                </a:cubicBezTo>
                <a:cubicBezTo>
                  <a:pt x="189" y="34"/>
                  <a:pt x="189" y="34"/>
                  <a:pt x="189" y="34"/>
                </a:cubicBezTo>
                <a:cubicBezTo>
                  <a:pt x="189" y="33"/>
                  <a:pt x="189" y="33"/>
                  <a:pt x="189" y="33"/>
                </a:cubicBezTo>
                <a:cubicBezTo>
                  <a:pt x="187" y="33"/>
                  <a:pt x="187" y="33"/>
                  <a:pt x="187" y="33"/>
                </a:cubicBezTo>
                <a:cubicBezTo>
                  <a:pt x="186" y="33"/>
                  <a:pt x="186" y="33"/>
                  <a:pt x="186" y="33"/>
                </a:cubicBezTo>
                <a:cubicBezTo>
                  <a:pt x="186" y="34"/>
                  <a:pt x="186" y="34"/>
                  <a:pt x="186" y="34"/>
                </a:cubicBezTo>
                <a:cubicBezTo>
                  <a:pt x="185" y="35"/>
                  <a:pt x="185" y="35"/>
                  <a:pt x="185" y="35"/>
                </a:cubicBezTo>
                <a:cubicBezTo>
                  <a:pt x="185" y="36"/>
                  <a:pt x="185" y="36"/>
                  <a:pt x="185" y="36"/>
                </a:cubicBezTo>
                <a:cubicBezTo>
                  <a:pt x="183" y="37"/>
                  <a:pt x="183" y="37"/>
                  <a:pt x="183" y="37"/>
                </a:cubicBezTo>
                <a:cubicBezTo>
                  <a:pt x="182" y="37"/>
                  <a:pt x="182" y="37"/>
                  <a:pt x="182" y="37"/>
                </a:cubicBezTo>
                <a:cubicBezTo>
                  <a:pt x="182" y="38"/>
                  <a:pt x="182" y="38"/>
                  <a:pt x="182" y="38"/>
                </a:cubicBezTo>
                <a:cubicBezTo>
                  <a:pt x="180" y="38"/>
                  <a:pt x="180" y="38"/>
                  <a:pt x="180" y="38"/>
                </a:cubicBezTo>
                <a:cubicBezTo>
                  <a:pt x="177" y="38"/>
                  <a:pt x="177" y="38"/>
                  <a:pt x="177" y="38"/>
                </a:cubicBezTo>
                <a:cubicBezTo>
                  <a:pt x="175" y="37"/>
                  <a:pt x="175" y="37"/>
                  <a:pt x="175" y="37"/>
                </a:cubicBezTo>
                <a:cubicBezTo>
                  <a:pt x="174" y="38"/>
                  <a:pt x="174" y="38"/>
                  <a:pt x="174" y="38"/>
                </a:cubicBezTo>
                <a:cubicBezTo>
                  <a:pt x="174" y="38"/>
                  <a:pt x="174" y="38"/>
                  <a:pt x="174" y="38"/>
                </a:cubicBezTo>
                <a:cubicBezTo>
                  <a:pt x="172" y="37"/>
                  <a:pt x="172" y="37"/>
                  <a:pt x="172" y="37"/>
                </a:cubicBezTo>
                <a:cubicBezTo>
                  <a:pt x="171" y="37"/>
                  <a:pt x="171" y="37"/>
                  <a:pt x="171" y="37"/>
                </a:cubicBezTo>
                <a:cubicBezTo>
                  <a:pt x="170" y="37"/>
                  <a:pt x="170" y="37"/>
                  <a:pt x="170" y="37"/>
                </a:cubicBezTo>
                <a:cubicBezTo>
                  <a:pt x="169" y="37"/>
                  <a:pt x="169" y="37"/>
                  <a:pt x="169" y="37"/>
                </a:cubicBezTo>
                <a:cubicBezTo>
                  <a:pt x="168" y="36"/>
                  <a:pt x="168" y="36"/>
                  <a:pt x="168" y="36"/>
                </a:cubicBezTo>
                <a:cubicBezTo>
                  <a:pt x="167" y="37"/>
                  <a:pt x="167" y="37"/>
                  <a:pt x="167" y="37"/>
                </a:cubicBezTo>
                <a:cubicBezTo>
                  <a:pt x="166" y="36"/>
                  <a:pt x="166" y="36"/>
                  <a:pt x="166" y="36"/>
                </a:cubicBezTo>
                <a:cubicBezTo>
                  <a:pt x="165" y="35"/>
                  <a:pt x="165" y="35"/>
                  <a:pt x="165" y="35"/>
                </a:cubicBezTo>
                <a:cubicBezTo>
                  <a:pt x="163" y="35"/>
                  <a:pt x="163" y="35"/>
                  <a:pt x="163" y="35"/>
                </a:cubicBezTo>
                <a:cubicBezTo>
                  <a:pt x="162" y="35"/>
                  <a:pt x="162" y="35"/>
                  <a:pt x="162" y="35"/>
                </a:cubicBezTo>
                <a:cubicBezTo>
                  <a:pt x="162" y="36"/>
                  <a:pt x="162" y="36"/>
                  <a:pt x="162" y="36"/>
                </a:cubicBezTo>
                <a:cubicBezTo>
                  <a:pt x="161" y="37"/>
                  <a:pt x="161" y="37"/>
                  <a:pt x="161" y="37"/>
                </a:cubicBezTo>
                <a:cubicBezTo>
                  <a:pt x="160" y="38"/>
                  <a:pt x="160" y="38"/>
                  <a:pt x="160" y="38"/>
                </a:cubicBezTo>
                <a:cubicBezTo>
                  <a:pt x="159" y="39"/>
                  <a:pt x="159" y="39"/>
                  <a:pt x="159" y="39"/>
                </a:cubicBezTo>
                <a:cubicBezTo>
                  <a:pt x="158" y="38"/>
                  <a:pt x="158" y="38"/>
                  <a:pt x="158" y="38"/>
                </a:cubicBezTo>
                <a:cubicBezTo>
                  <a:pt x="156" y="39"/>
                  <a:pt x="156" y="39"/>
                  <a:pt x="156" y="39"/>
                </a:cubicBezTo>
                <a:cubicBezTo>
                  <a:pt x="156" y="39"/>
                  <a:pt x="156" y="39"/>
                  <a:pt x="156" y="39"/>
                </a:cubicBezTo>
                <a:cubicBezTo>
                  <a:pt x="156" y="40"/>
                  <a:pt x="156" y="40"/>
                  <a:pt x="156" y="40"/>
                </a:cubicBezTo>
                <a:cubicBezTo>
                  <a:pt x="154" y="41"/>
                  <a:pt x="154" y="41"/>
                  <a:pt x="154" y="41"/>
                </a:cubicBezTo>
                <a:cubicBezTo>
                  <a:pt x="154" y="43"/>
                  <a:pt x="154" y="43"/>
                  <a:pt x="154" y="43"/>
                </a:cubicBezTo>
                <a:cubicBezTo>
                  <a:pt x="154" y="44"/>
                  <a:pt x="154" y="44"/>
                  <a:pt x="154" y="44"/>
                </a:cubicBezTo>
                <a:cubicBezTo>
                  <a:pt x="154" y="46"/>
                  <a:pt x="154" y="46"/>
                  <a:pt x="154" y="46"/>
                </a:cubicBezTo>
                <a:cubicBezTo>
                  <a:pt x="154" y="47"/>
                  <a:pt x="154" y="47"/>
                  <a:pt x="154" y="47"/>
                </a:cubicBezTo>
                <a:cubicBezTo>
                  <a:pt x="155" y="48"/>
                  <a:pt x="155" y="48"/>
                  <a:pt x="155" y="48"/>
                </a:cubicBezTo>
                <a:cubicBezTo>
                  <a:pt x="155" y="50"/>
                  <a:pt x="155" y="50"/>
                  <a:pt x="155" y="50"/>
                </a:cubicBezTo>
                <a:cubicBezTo>
                  <a:pt x="154" y="49"/>
                  <a:pt x="154" y="49"/>
                  <a:pt x="154" y="49"/>
                </a:cubicBezTo>
                <a:cubicBezTo>
                  <a:pt x="154" y="48"/>
                  <a:pt x="154" y="48"/>
                  <a:pt x="154" y="48"/>
                </a:cubicBezTo>
                <a:cubicBezTo>
                  <a:pt x="153" y="48"/>
                  <a:pt x="153" y="48"/>
                  <a:pt x="153" y="48"/>
                </a:cubicBezTo>
                <a:cubicBezTo>
                  <a:pt x="152" y="49"/>
                  <a:pt x="152" y="49"/>
                  <a:pt x="152" y="49"/>
                </a:cubicBezTo>
                <a:cubicBezTo>
                  <a:pt x="151" y="50"/>
                  <a:pt x="151" y="50"/>
                  <a:pt x="151" y="50"/>
                </a:cubicBezTo>
                <a:cubicBezTo>
                  <a:pt x="151" y="51"/>
                  <a:pt x="151" y="51"/>
                  <a:pt x="151" y="51"/>
                </a:cubicBezTo>
                <a:cubicBezTo>
                  <a:pt x="151" y="52"/>
                  <a:pt x="151" y="52"/>
                  <a:pt x="151" y="52"/>
                </a:cubicBezTo>
                <a:cubicBezTo>
                  <a:pt x="151" y="53"/>
                  <a:pt x="151" y="53"/>
                  <a:pt x="151" y="53"/>
                </a:cubicBezTo>
                <a:cubicBezTo>
                  <a:pt x="151" y="56"/>
                  <a:pt x="151" y="56"/>
                  <a:pt x="151" y="56"/>
                </a:cubicBezTo>
                <a:cubicBezTo>
                  <a:pt x="151" y="57"/>
                  <a:pt x="151" y="57"/>
                  <a:pt x="151" y="57"/>
                </a:cubicBezTo>
                <a:cubicBezTo>
                  <a:pt x="151" y="58"/>
                  <a:pt x="151" y="58"/>
                  <a:pt x="151" y="58"/>
                </a:cubicBezTo>
                <a:cubicBezTo>
                  <a:pt x="150" y="58"/>
                  <a:pt x="150" y="58"/>
                  <a:pt x="150" y="58"/>
                </a:cubicBezTo>
                <a:cubicBezTo>
                  <a:pt x="150" y="60"/>
                  <a:pt x="150" y="60"/>
                  <a:pt x="150" y="60"/>
                </a:cubicBezTo>
                <a:cubicBezTo>
                  <a:pt x="148" y="61"/>
                  <a:pt x="148" y="61"/>
                  <a:pt x="148" y="61"/>
                </a:cubicBezTo>
                <a:cubicBezTo>
                  <a:pt x="148" y="62"/>
                  <a:pt x="148" y="62"/>
                  <a:pt x="148" y="62"/>
                </a:cubicBezTo>
                <a:cubicBezTo>
                  <a:pt x="148" y="63"/>
                  <a:pt x="148" y="63"/>
                  <a:pt x="148" y="63"/>
                </a:cubicBezTo>
                <a:cubicBezTo>
                  <a:pt x="148" y="64"/>
                  <a:pt x="148" y="64"/>
                  <a:pt x="148" y="64"/>
                </a:cubicBezTo>
                <a:cubicBezTo>
                  <a:pt x="148" y="66"/>
                  <a:pt x="148" y="66"/>
                  <a:pt x="148" y="66"/>
                </a:cubicBezTo>
                <a:cubicBezTo>
                  <a:pt x="149" y="67"/>
                  <a:pt x="149" y="67"/>
                  <a:pt x="149" y="67"/>
                </a:cubicBezTo>
                <a:cubicBezTo>
                  <a:pt x="150" y="66"/>
                  <a:pt x="150" y="66"/>
                  <a:pt x="150" y="66"/>
                </a:cubicBezTo>
                <a:cubicBezTo>
                  <a:pt x="150" y="66"/>
                  <a:pt x="150" y="66"/>
                  <a:pt x="150" y="66"/>
                </a:cubicBezTo>
                <a:cubicBezTo>
                  <a:pt x="151" y="66"/>
                  <a:pt x="151" y="66"/>
                  <a:pt x="151" y="66"/>
                </a:cubicBezTo>
                <a:cubicBezTo>
                  <a:pt x="152" y="66"/>
                  <a:pt x="152" y="66"/>
                  <a:pt x="152" y="66"/>
                </a:cubicBezTo>
                <a:cubicBezTo>
                  <a:pt x="152" y="68"/>
                  <a:pt x="152" y="68"/>
                  <a:pt x="152" y="68"/>
                </a:cubicBezTo>
                <a:cubicBezTo>
                  <a:pt x="153" y="71"/>
                  <a:pt x="153" y="71"/>
                  <a:pt x="153" y="71"/>
                </a:cubicBezTo>
                <a:cubicBezTo>
                  <a:pt x="153" y="71"/>
                  <a:pt x="153" y="71"/>
                  <a:pt x="153" y="71"/>
                </a:cubicBezTo>
                <a:cubicBezTo>
                  <a:pt x="152" y="73"/>
                  <a:pt x="152" y="73"/>
                  <a:pt x="152" y="73"/>
                </a:cubicBezTo>
                <a:cubicBezTo>
                  <a:pt x="152" y="74"/>
                  <a:pt x="152" y="74"/>
                  <a:pt x="152" y="74"/>
                </a:cubicBezTo>
                <a:cubicBezTo>
                  <a:pt x="151" y="77"/>
                  <a:pt x="151" y="77"/>
                  <a:pt x="151" y="77"/>
                </a:cubicBezTo>
                <a:cubicBezTo>
                  <a:pt x="152" y="79"/>
                  <a:pt x="152" y="79"/>
                  <a:pt x="152" y="79"/>
                </a:cubicBezTo>
                <a:cubicBezTo>
                  <a:pt x="152" y="79"/>
                  <a:pt x="152" y="79"/>
                  <a:pt x="152" y="79"/>
                </a:cubicBezTo>
                <a:cubicBezTo>
                  <a:pt x="153" y="80"/>
                  <a:pt x="153" y="80"/>
                  <a:pt x="153" y="80"/>
                </a:cubicBezTo>
                <a:cubicBezTo>
                  <a:pt x="154" y="80"/>
                  <a:pt x="154" y="80"/>
                  <a:pt x="154" y="80"/>
                </a:cubicBezTo>
                <a:cubicBezTo>
                  <a:pt x="155" y="79"/>
                  <a:pt x="155" y="79"/>
                  <a:pt x="155" y="79"/>
                </a:cubicBezTo>
                <a:cubicBezTo>
                  <a:pt x="156" y="79"/>
                  <a:pt x="156" y="79"/>
                  <a:pt x="156" y="79"/>
                </a:cubicBezTo>
                <a:cubicBezTo>
                  <a:pt x="157" y="79"/>
                  <a:pt x="157" y="79"/>
                  <a:pt x="157" y="79"/>
                </a:cubicBezTo>
                <a:cubicBezTo>
                  <a:pt x="158" y="80"/>
                  <a:pt x="158" y="80"/>
                  <a:pt x="158" y="80"/>
                </a:cubicBezTo>
                <a:cubicBezTo>
                  <a:pt x="158" y="79"/>
                  <a:pt x="158" y="79"/>
                  <a:pt x="158" y="79"/>
                </a:cubicBezTo>
                <a:cubicBezTo>
                  <a:pt x="158" y="78"/>
                  <a:pt x="158" y="78"/>
                  <a:pt x="158" y="78"/>
                </a:cubicBezTo>
                <a:cubicBezTo>
                  <a:pt x="157" y="77"/>
                  <a:pt x="157" y="77"/>
                  <a:pt x="157" y="77"/>
                </a:cubicBezTo>
                <a:cubicBezTo>
                  <a:pt x="157" y="75"/>
                  <a:pt x="157" y="75"/>
                  <a:pt x="157" y="75"/>
                </a:cubicBezTo>
                <a:cubicBezTo>
                  <a:pt x="158" y="74"/>
                  <a:pt x="158" y="74"/>
                  <a:pt x="158" y="74"/>
                </a:cubicBezTo>
                <a:cubicBezTo>
                  <a:pt x="158" y="72"/>
                  <a:pt x="158" y="72"/>
                  <a:pt x="158" y="72"/>
                </a:cubicBezTo>
                <a:cubicBezTo>
                  <a:pt x="158" y="70"/>
                  <a:pt x="158" y="70"/>
                  <a:pt x="158" y="70"/>
                </a:cubicBezTo>
                <a:cubicBezTo>
                  <a:pt x="157" y="70"/>
                  <a:pt x="157" y="70"/>
                  <a:pt x="157" y="70"/>
                </a:cubicBezTo>
                <a:cubicBezTo>
                  <a:pt x="159" y="68"/>
                  <a:pt x="159" y="68"/>
                  <a:pt x="159" y="68"/>
                </a:cubicBezTo>
                <a:cubicBezTo>
                  <a:pt x="159" y="66"/>
                  <a:pt x="159" y="66"/>
                  <a:pt x="159" y="66"/>
                </a:cubicBezTo>
                <a:cubicBezTo>
                  <a:pt x="159" y="64"/>
                  <a:pt x="159" y="64"/>
                  <a:pt x="159" y="64"/>
                </a:cubicBezTo>
                <a:cubicBezTo>
                  <a:pt x="158" y="63"/>
                  <a:pt x="158" y="63"/>
                  <a:pt x="158" y="63"/>
                </a:cubicBezTo>
                <a:cubicBezTo>
                  <a:pt x="158" y="63"/>
                  <a:pt x="158" y="63"/>
                  <a:pt x="158" y="63"/>
                </a:cubicBezTo>
                <a:cubicBezTo>
                  <a:pt x="159" y="62"/>
                  <a:pt x="159" y="62"/>
                  <a:pt x="159" y="62"/>
                </a:cubicBezTo>
                <a:cubicBezTo>
                  <a:pt x="160" y="61"/>
                  <a:pt x="160" y="61"/>
                  <a:pt x="160" y="61"/>
                </a:cubicBezTo>
                <a:cubicBezTo>
                  <a:pt x="161" y="61"/>
                  <a:pt x="161" y="61"/>
                  <a:pt x="161" y="61"/>
                </a:cubicBezTo>
                <a:cubicBezTo>
                  <a:pt x="162" y="61"/>
                  <a:pt x="162" y="61"/>
                  <a:pt x="162" y="61"/>
                </a:cubicBezTo>
                <a:cubicBezTo>
                  <a:pt x="162" y="62"/>
                  <a:pt x="162" y="62"/>
                  <a:pt x="162" y="62"/>
                </a:cubicBezTo>
                <a:cubicBezTo>
                  <a:pt x="163" y="63"/>
                  <a:pt x="163" y="63"/>
                  <a:pt x="163" y="63"/>
                </a:cubicBezTo>
                <a:cubicBezTo>
                  <a:pt x="163" y="64"/>
                  <a:pt x="163" y="64"/>
                  <a:pt x="163" y="64"/>
                </a:cubicBezTo>
                <a:cubicBezTo>
                  <a:pt x="162" y="65"/>
                  <a:pt x="162" y="65"/>
                  <a:pt x="162" y="65"/>
                </a:cubicBezTo>
                <a:cubicBezTo>
                  <a:pt x="161" y="67"/>
                  <a:pt x="161" y="67"/>
                  <a:pt x="161" y="67"/>
                </a:cubicBezTo>
                <a:cubicBezTo>
                  <a:pt x="162" y="68"/>
                  <a:pt x="162" y="68"/>
                  <a:pt x="162" y="68"/>
                </a:cubicBezTo>
                <a:cubicBezTo>
                  <a:pt x="163" y="68"/>
                  <a:pt x="163" y="68"/>
                  <a:pt x="163" y="68"/>
                </a:cubicBezTo>
                <a:cubicBezTo>
                  <a:pt x="164" y="69"/>
                  <a:pt x="164" y="69"/>
                  <a:pt x="164" y="69"/>
                </a:cubicBezTo>
                <a:cubicBezTo>
                  <a:pt x="165" y="70"/>
                  <a:pt x="165" y="70"/>
                  <a:pt x="165" y="70"/>
                </a:cubicBezTo>
                <a:cubicBezTo>
                  <a:pt x="165" y="71"/>
                  <a:pt x="165" y="71"/>
                  <a:pt x="165" y="71"/>
                </a:cubicBezTo>
                <a:cubicBezTo>
                  <a:pt x="165" y="71"/>
                  <a:pt x="165" y="71"/>
                  <a:pt x="165" y="71"/>
                </a:cubicBezTo>
                <a:cubicBezTo>
                  <a:pt x="165" y="73"/>
                  <a:pt x="165" y="73"/>
                  <a:pt x="165" y="73"/>
                </a:cubicBezTo>
                <a:cubicBezTo>
                  <a:pt x="165" y="74"/>
                  <a:pt x="165" y="74"/>
                  <a:pt x="165" y="74"/>
                </a:cubicBezTo>
                <a:cubicBezTo>
                  <a:pt x="166" y="75"/>
                  <a:pt x="166" y="75"/>
                  <a:pt x="166" y="75"/>
                </a:cubicBezTo>
                <a:cubicBezTo>
                  <a:pt x="167" y="75"/>
                  <a:pt x="167" y="75"/>
                  <a:pt x="167" y="75"/>
                </a:cubicBezTo>
                <a:cubicBezTo>
                  <a:pt x="168" y="75"/>
                  <a:pt x="168" y="75"/>
                  <a:pt x="168" y="75"/>
                </a:cubicBezTo>
                <a:cubicBezTo>
                  <a:pt x="169" y="75"/>
                  <a:pt x="169" y="75"/>
                  <a:pt x="169" y="75"/>
                </a:cubicBezTo>
                <a:cubicBezTo>
                  <a:pt x="169" y="74"/>
                  <a:pt x="169" y="74"/>
                  <a:pt x="169" y="74"/>
                </a:cubicBezTo>
                <a:cubicBezTo>
                  <a:pt x="169" y="74"/>
                  <a:pt x="169" y="74"/>
                  <a:pt x="169" y="74"/>
                </a:cubicBezTo>
                <a:cubicBezTo>
                  <a:pt x="170" y="73"/>
                  <a:pt x="170" y="73"/>
                  <a:pt x="170" y="73"/>
                </a:cubicBezTo>
                <a:cubicBezTo>
                  <a:pt x="171" y="72"/>
                  <a:pt x="171" y="72"/>
                  <a:pt x="171" y="72"/>
                </a:cubicBezTo>
                <a:cubicBezTo>
                  <a:pt x="172" y="71"/>
                  <a:pt x="172" y="71"/>
                  <a:pt x="172" y="71"/>
                </a:cubicBezTo>
                <a:cubicBezTo>
                  <a:pt x="174" y="72"/>
                  <a:pt x="174" y="72"/>
                  <a:pt x="174" y="72"/>
                </a:cubicBezTo>
                <a:cubicBezTo>
                  <a:pt x="175" y="71"/>
                  <a:pt x="175" y="71"/>
                  <a:pt x="175" y="71"/>
                </a:cubicBezTo>
                <a:cubicBezTo>
                  <a:pt x="175" y="71"/>
                  <a:pt x="175" y="71"/>
                  <a:pt x="175" y="71"/>
                </a:cubicBezTo>
                <a:cubicBezTo>
                  <a:pt x="176" y="71"/>
                  <a:pt x="176" y="71"/>
                  <a:pt x="176" y="71"/>
                </a:cubicBezTo>
                <a:cubicBezTo>
                  <a:pt x="177" y="70"/>
                  <a:pt x="177" y="70"/>
                  <a:pt x="177" y="70"/>
                </a:cubicBezTo>
                <a:cubicBezTo>
                  <a:pt x="177" y="70"/>
                  <a:pt x="177" y="70"/>
                  <a:pt x="177" y="70"/>
                </a:cubicBezTo>
                <a:cubicBezTo>
                  <a:pt x="175" y="70"/>
                  <a:pt x="175" y="70"/>
                  <a:pt x="175" y="70"/>
                </a:cubicBezTo>
                <a:cubicBezTo>
                  <a:pt x="174" y="70"/>
                  <a:pt x="174" y="70"/>
                  <a:pt x="174" y="70"/>
                </a:cubicBezTo>
                <a:cubicBezTo>
                  <a:pt x="174" y="70"/>
                  <a:pt x="174" y="70"/>
                  <a:pt x="174" y="70"/>
                </a:cubicBezTo>
                <a:cubicBezTo>
                  <a:pt x="173" y="70"/>
                  <a:pt x="173" y="70"/>
                  <a:pt x="173" y="70"/>
                </a:cubicBezTo>
                <a:cubicBezTo>
                  <a:pt x="173" y="69"/>
                  <a:pt x="173" y="69"/>
                  <a:pt x="173" y="69"/>
                </a:cubicBezTo>
                <a:cubicBezTo>
                  <a:pt x="172" y="69"/>
                  <a:pt x="172" y="69"/>
                  <a:pt x="172" y="69"/>
                </a:cubicBezTo>
                <a:cubicBezTo>
                  <a:pt x="172" y="68"/>
                  <a:pt x="172" y="68"/>
                  <a:pt x="172" y="68"/>
                </a:cubicBezTo>
                <a:cubicBezTo>
                  <a:pt x="172" y="68"/>
                  <a:pt x="172" y="68"/>
                  <a:pt x="172" y="68"/>
                </a:cubicBezTo>
                <a:cubicBezTo>
                  <a:pt x="171" y="68"/>
                  <a:pt x="171" y="68"/>
                  <a:pt x="171" y="68"/>
                </a:cubicBezTo>
                <a:cubicBezTo>
                  <a:pt x="171" y="68"/>
                  <a:pt x="171" y="68"/>
                  <a:pt x="171" y="68"/>
                </a:cubicBezTo>
                <a:cubicBezTo>
                  <a:pt x="170" y="67"/>
                  <a:pt x="170" y="67"/>
                  <a:pt x="170" y="67"/>
                </a:cubicBezTo>
                <a:cubicBezTo>
                  <a:pt x="169" y="67"/>
                  <a:pt x="169" y="67"/>
                  <a:pt x="169" y="67"/>
                </a:cubicBezTo>
                <a:cubicBezTo>
                  <a:pt x="170" y="66"/>
                  <a:pt x="170" y="66"/>
                  <a:pt x="170" y="66"/>
                </a:cubicBezTo>
                <a:cubicBezTo>
                  <a:pt x="170" y="65"/>
                  <a:pt x="170" y="65"/>
                  <a:pt x="170" y="65"/>
                </a:cubicBezTo>
                <a:cubicBezTo>
                  <a:pt x="171" y="65"/>
                  <a:pt x="171" y="65"/>
                  <a:pt x="171" y="65"/>
                </a:cubicBezTo>
                <a:cubicBezTo>
                  <a:pt x="171" y="65"/>
                  <a:pt x="171" y="65"/>
                  <a:pt x="171" y="65"/>
                </a:cubicBezTo>
                <a:cubicBezTo>
                  <a:pt x="171" y="65"/>
                  <a:pt x="171" y="65"/>
                  <a:pt x="171" y="65"/>
                </a:cubicBezTo>
                <a:cubicBezTo>
                  <a:pt x="171" y="64"/>
                  <a:pt x="171" y="64"/>
                  <a:pt x="171" y="64"/>
                </a:cubicBezTo>
                <a:cubicBezTo>
                  <a:pt x="171" y="63"/>
                  <a:pt x="171" y="63"/>
                  <a:pt x="171" y="63"/>
                </a:cubicBezTo>
                <a:cubicBezTo>
                  <a:pt x="170" y="63"/>
                  <a:pt x="170" y="63"/>
                  <a:pt x="170" y="63"/>
                </a:cubicBezTo>
                <a:cubicBezTo>
                  <a:pt x="170" y="62"/>
                  <a:pt x="170" y="62"/>
                  <a:pt x="170" y="62"/>
                </a:cubicBezTo>
                <a:cubicBezTo>
                  <a:pt x="170" y="62"/>
                  <a:pt x="170" y="62"/>
                  <a:pt x="170" y="62"/>
                </a:cubicBezTo>
                <a:cubicBezTo>
                  <a:pt x="169" y="61"/>
                  <a:pt x="169" y="61"/>
                  <a:pt x="169" y="61"/>
                </a:cubicBezTo>
                <a:cubicBezTo>
                  <a:pt x="168" y="61"/>
                  <a:pt x="168" y="61"/>
                  <a:pt x="168" y="61"/>
                </a:cubicBezTo>
                <a:cubicBezTo>
                  <a:pt x="168" y="60"/>
                  <a:pt x="168" y="60"/>
                  <a:pt x="168" y="60"/>
                </a:cubicBezTo>
                <a:cubicBezTo>
                  <a:pt x="166" y="58"/>
                  <a:pt x="166" y="58"/>
                  <a:pt x="166" y="58"/>
                </a:cubicBezTo>
                <a:cubicBezTo>
                  <a:pt x="165" y="57"/>
                  <a:pt x="165" y="57"/>
                  <a:pt x="165" y="57"/>
                </a:cubicBezTo>
                <a:cubicBezTo>
                  <a:pt x="165" y="56"/>
                  <a:pt x="165" y="56"/>
                  <a:pt x="165" y="56"/>
                </a:cubicBezTo>
                <a:cubicBezTo>
                  <a:pt x="165" y="56"/>
                  <a:pt x="165" y="56"/>
                  <a:pt x="165" y="56"/>
                </a:cubicBezTo>
                <a:cubicBezTo>
                  <a:pt x="165" y="56"/>
                  <a:pt x="165" y="56"/>
                  <a:pt x="165" y="56"/>
                </a:cubicBezTo>
                <a:cubicBezTo>
                  <a:pt x="166" y="56"/>
                  <a:pt x="166" y="56"/>
                  <a:pt x="166" y="56"/>
                </a:cubicBezTo>
                <a:cubicBezTo>
                  <a:pt x="167" y="56"/>
                  <a:pt x="167" y="56"/>
                  <a:pt x="167" y="56"/>
                </a:cubicBezTo>
                <a:cubicBezTo>
                  <a:pt x="168" y="56"/>
                  <a:pt x="168" y="56"/>
                  <a:pt x="168" y="56"/>
                </a:cubicBezTo>
                <a:cubicBezTo>
                  <a:pt x="168" y="55"/>
                  <a:pt x="168" y="55"/>
                  <a:pt x="168" y="55"/>
                </a:cubicBezTo>
                <a:cubicBezTo>
                  <a:pt x="170" y="54"/>
                  <a:pt x="170" y="54"/>
                  <a:pt x="170" y="54"/>
                </a:cubicBezTo>
                <a:cubicBezTo>
                  <a:pt x="172" y="52"/>
                  <a:pt x="172" y="52"/>
                  <a:pt x="172" y="52"/>
                </a:cubicBezTo>
                <a:cubicBezTo>
                  <a:pt x="173" y="51"/>
                  <a:pt x="173" y="51"/>
                  <a:pt x="173" y="51"/>
                </a:cubicBezTo>
                <a:cubicBezTo>
                  <a:pt x="174" y="50"/>
                  <a:pt x="174" y="50"/>
                  <a:pt x="174" y="50"/>
                </a:cubicBezTo>
                <a:cubicBezTo>
                  <a:pt x="174" y="50"/>
                  <a:pt x="174" y="50"/>
                  <a:pt x="174" y="50"/>
                </a:cubicBezTo>
                <a:cubicBezTo>
                  <a:pt x="176" y="49"/>
                  <a:pt x="176" y="49"/>
                  <a:pt x="176" y="49"/>
                </a:cubicBezTo>
                <a:cubicBezTo>
                  <a:pt x="177" y="50"/>
                  <a:pt x="177" y="50"/>
                  <a:pt x="177" y="50"/>
                </a:cubicBezTo>
                <a:cubicBezTo>
                  <a:pt x="178" y="50"/>
                  <a:pt x="178" y="50"/>
                  <a:pt x="178" y="50"/>
                </a:cubicBezTo>
                <a:cubicBezTo>
                  <a:pt x="179" y="48"/>
                  <a:pt x="179" y="48"/>
                  <a:pt x="179" y="48"/>
                </a:cubicBezTo>
                <a:cubicBezTo>
                  <a:pt x="179" y="47"/>
                  <a:pt x="179" y="47"/>
                  <a:pt x="179" y="47"/>
                </a:cubicBezTo>
                <a:cubicBezTo>
                  <a:pt x="177" y="47"/>
                  <a:pt x="177" y="47"/>
                  <a:pt x="177" y="47"/>
                </a:cubicBezTo>
                <a:cubicBezTo>
                  <a:pt x="175" y="47"/>
                  <a:pt x="175" y="47"/>
                  <a:pt x="175" y="47"/>
                </a:cubicBezTo>
                <a:cubicBezTo>
                  <a:pt x="173" y="48"/>
                  <a:pt x="173" y="48"/>
                  <a:pt x="173" y="48"/>
                </a:cubicBezTo>
                <a:cubicBezTo>
                  <a:pt x="172" y="48"/>
                  <a:pt x="172" y="48"/>
                  <a:pt x="172" y="48"/>
                </a:cubicBezTo>
                <a:cubicBezTo>
                  <a:pt x="171" y="48"/>
                  <a:pt x="171" y="48"/>
                  <a:pt x="171" y="48"/>
                </a:cubicBezTo>
                <a:cubicBezTo>
                  <a:pt x="170" y="49"/>
                  <a:pt x="170" y="49"/>
                  <a:pt x="170" y="49"/>
                </a:cubicBezTo>
                <a:cubicBezTo>
                  <a:pt x="168" y="49"/>
                  <a:pt x="168" y="49"/>
                  <a:pt x="168" y="49"/>
                </a:cubicBezTo>
                <a:cubicBezTo>
                  <a:pt x="167" y="50"/>
                  <a:pt x="167" y="50"/>
                  <a:pt x="167" y="50"/>
                </a:cubicBezTo>
                <a:cubicBezTo>
                  <a:pt x="166" y="49"/>
                  <a:pt x="166" y="49"/>
                  <a:pt x="166" y="49"/>
                </a:cubicBezTo>
                <a:cubicBezTo>
                  <a:pt x="165" y="49"/>
                  <a:pt x="165" y="49"/>
                  <a:pt x="165" y="49"/>
                </a:cubicBezTo>
                <a:cubicBezTo>
                  <a:pt x="164" y="50"/>
                  <a:pt x="164" y="50"/>
                  <a:pt x="164" y="50"/>
                </a:cubicBezTo>
                <a:cubicBezTo>
                  <a:pt x="163" y="52"/>
                  <a:pt x="163" y="52"/>
                  <a:pt x="163" y="52"/>
                </a:cubicBezTo>
                <a:cubicBezTo>
                  <a:pt x="162" y="53"/>
                  <a:pt x="162" y="53"/>
                  <a:pt x="162" y="53"/>
                </a:cubicBezTo>
                <a:cubicBezTo>
                  <a:pt x="161" y="53"/>
                  <a:pt x="161" y="53"/>
                  <a:pt x="161" y="53"/>
                </a:cubicBezTo>
                <a:cubicBezTo>
                  <a:pt x="160" y="52"/>
                  <a:pt x="160" y="52"/>
                  <a:pt x="160" y="52"/>
                </a:cubicBezTo>
                <a:cubicBezTo>
                  <a:pt x="159" y="50"/>
                  <a:pt x="159" y="50"/>
                  <a:pt x="159" y="50"/>
                </a:cubicBezTo>
                <a:cubicBezTo>
                  <a:pt x="157" y="49"/>
                  <a:pt x="157" y="49"/>
                  <a:pt x="157" y="49"/>
                </a:cubicBezTo>
                <a:cubicBezTo>
                  <a:pt x="156" y="47"/>
                  <a:pt x="156" y="47"/>
                  <a:pt x="156" y="47"/>
                </a:cubicBezTo>
                <a:cubicBezTo>
                  <a:pt x="156" y="44"/>
                  <a:pt x="156" y="44"/>
                  <a:pt x="156" y="44"/>
                </a:cubicBezTo>
                <a:cubicBezTo>
                  <a:pt x="157" y="42"/>
                  <a:pt x="157" y="42"/>
                  <a:pt x="157" y="42"/>
                </a:cubicBezTo>
                <a:cubicBezTo>
                  <a:pt x="158" y="41"/>
                  <a:pt x="158" y="41"/>
                  <a:pt x="158" y="41"/>
                </a:cubicBezTo>
                <a:close/>
                <a:moveTo>
                  <a:pt x="160" y="0"/>
                </a:moveTo>
                <a:cubicBezTo>
                  <a:pt x="159" y="1"/>
                  <a:pt x="159" y="1"/>
                  <a:pt x="159" y="1"/>
                </a:cubicBezTo>
                <a:cubicBezTo>
                  <a:pt x="160" y="1"/>
                  <a:pt x="160" y="1"/>
                  <a:pt x="160" y="1"/>
                </a:cubicBezTo>
                <a:cubicBezTo>
                  <a:pt x="160" y="1"/>
                  <a:pt x="160" y="1"/>
                  <a:pt x="160" y="1"/>
                </a:cubicBezTo>
                <a:cubicBezTo>
                  <a:pt x="160" y="0"/>
                  <a:pt x="160" y="0"/>
                  <a:pt x="160" y="0"/>
                </a:cubicBezTo>
                <a:close/>
                <a:moveTo>
                  <a:pt x="161" y="4"/>
                </a:moveTo>
                <a:cubicBezTo>
                  <a:pt x="162" y="4"/>
                  <a:pt x="162" y="4"/>
                  <a:pt x="162" y="4"/>
                </a:cubicBezTo>
                <a:cubicBezTo>
                  <a:pt x="163" y="4"/>
                  <a:pt x="163" y="4"/>
                  <a:pt x="163" y="4"/>
                </a:cubicBezTo>
                <a:cubicBezTo>
                  <a:pt x="163" y="4"/>
                  <a:pt x="163" y="4"/>
                  <a:pt x="163" y="4"/>
                </a:cubicBezTo>
                <a:cubicBezTo>
                  <a:pt x="164" y="4"/>
                  <a:pt x="164" y="4"/>
                  <a:pt x="164" y="4"/>
                </a:cubicBezTo>
                <a:cubicBezTo>
                  <a:pt x="164" y="3"/>
                  <a:pt x="164" y="3"/>
                  <a:pt x="164" y="3"/>
                </a:cubicBezTo>
                <a:cubicBezTo>
                  <a:pt x="163" y="3"/>
                  <a:pt x="163" y="3"/>
                  <a:pt x="163" y="3"/>
                </a:cubicBezTo>
                <a:cubicBezTo>
                  <a:pt x="161" y="3"/>
                  <a:pt x="161" y="3"/>
                  <a:pt x="161" y="3"/>
                </a:cubicBezTo>
                <a:cubicBezTo>
                  <a:pt x="161" y="4"/>
                  <a:pt x="161" y="4"/>
                  <a:pt x="161" y="4"/>
                </a:cubicBezTo>
                <a:cubicBezTo>
                  <a:pt x="161" y="4"/>
                  <a:pt x="161" y="4"/>
                  <a:pt x="161" y="4"/>
                </a:cubicBezTo>
                <a:close/>
                <a:moveTo>
                  <a:pt x="152" y="11"/>
                </a:moveTo>
                <a:cubicBezTo>
                  <a:pt x="151" y="12"/>
                  <a:pt x="151" y="12"/>
                  <a:pt x="151" y="12"/>
                </a:cubicBezTo>
                <a:cubicBezTo>
                  <a:pt x="152" y="13"/>
                  <a:pt x="152" y="13"/>
                  <a:pt x="152" y="13"/>
                </a:cubicBezTo>
                <a:cubicBezTo>
                  <a:pt x="152" y="12"/>
                  <a:pt x="152" y="12"/>
                  <a:pt x="152" y="12"/>
                </a:cubicBezTo>
                <a:cubicBezTo>
                  <a:pt x="152" y="11"/>
                  <a:pt x="152" y="11"/>
                  <a:pt x="152" y="11"/>
                </a:cubicBezTo>
                <a:close/>
                <a:moveTo>
                  <a:pt x="154" y="9"/>
                </a:moveTo>
                <a:cubicBezTo>
                  <a:pt x="156" y="8"/>
                  <a:pt x="156" y="8"/>
                  <a:pt x="156" y="8"/>
                </a:cubicBezTo>
                <a:cubicBezTo>
                  <a:pt x="157" y="8"/>
                  <a:pt x="157" y="8"/>
                  <a:pt x="157" y="8"/>
                </a:cubicBezTo>
                <a:cubicBezTo>
                  <a:pt x="157" y="9"/>
                  <a:pt x="157" y="9"/>
                  <a:pt x="157" y="9"/>
                </a:cubicBezTo>
                <a:cubicBezTo>
                  <a:pt x="156" y="10"/>
                  <a:pt x="156" y="10"/>
                  <a:pt x="156" y="10"/>
                </a:cubicBezTo>
                <a:cubicBezTo>
                  <a:pt x="154" y="10"/>
                  <a:pt x="154" y="10"/>
                  <a:pt x="154" y="10"/>
                </a:cubicBezTo>
                <a:cubicBezTo>
                  <a:pt x="154" y="9"/>
                  <a:pt x="154" y="9"/>
                  <a:pt x="154" y="9"/>
                </a:cubicBezTo>
                <a:close/>
                <a:moveTo>
                  <a:pt x="141" y="16"/>
                </a:moveTo>
                <a:cubicBezTo>
                  <a:pt x="141" y="17"/>
                  <a:pt x="141" y="17"/>
                  <a:pt x="141" y="17"/>
                </a:cubicBezTo>
                <a:cubicBezTo>
                  <a:pt x="141" y="17"/>
                  <a:pt x="141" y="17"/>
                  <a:pt x="141" y="17"/>
                </a:cubicBezTo>
                <a:cubicBezTo>
                  <a:pt x="141" y="16"/>
                  <a:pt x="141" y="16"/>
                  <a:pt x="141" y="16"/>
                </a:cubicBezTo>
                <a:close/>
                <a:moveTo>
                  <a:pt x="141" y="16"/>
                </a:moveTo>
                <a:cubicBezTo>
                  <a:pt x="141" y="16"/>
                  <a:pt x="141" y="16"/>
                  <a:pt x="141" y="16"/>
                </a:cubicBezTo>
                <a:cubicBezTo>
                  <a:pt x="141" y="16"/>
                  <a:pt x="141" y="16"/>
                  <a:pt x="141" y="16"/>
                </a:cubicBezTo>
                <a:cubicBezTo>
                  <a:pt x="142" y="17"/>
                  <a:pt x="142" y="17"/>
                  <a:pt x="142" y="17"/>
                </a:cubicBezTo>
                <a:cubicBezTo>
                  <a:pt x="142" y="16"/>
                  <a:pt x="142" y="16"/>
                  <a:pt x="142" y="16"/>
                </a:cubicBezTo>
                <a:cubicBezTo>
                  <a:pt x="141" y="16"/>
                  <a:pt x="141" y="16"/>
                  <a:pt x="141" y="16"/>
                </a:cubicBezTo>
                <a:close/>
                <a:moveTo>
                  <a:pt x="142" y="19"/>
                </a:moveTo>
                <a:cubicBezTo>
                  <a:pt x="140" y="19"/>
                  <a:pt x="140" y="19"/>
                  <a:pt x="140" y="19"/>
                </a:cubicBezTo>
                <a:cubicBezTo>
                  <a:pt x="141" y="20"/>
                  <a:pt x="141" y="20"/>
                  <a:pt x="141" y="20"/>
                </a:cubicBezTo>
                <a:cubicBezTo>
                  <a:pt x="142" y="19"/>
                  <a:pt x="142" y="19"/>
                  <a:pt x="142" y="19"/>
                </a:cubicBezTo>
                <a:close/>
                <a:moveTo>
                  <a:pt x="140" y="20"/>
                </a:moveTo>
                <a:cubicBezTo>
                  <a:pt x="141" y="21"/>
                  <a:pt x="141" y="21"/>
                  <a:pt x="141" y="21"/>
                </a:cubicBezTo>
                <a:cubicBezTo>
                  <a:pt x="141" y="22"/>
                  <a:pt x="141" y="22"/>
                  <a:pt x="141" y="22"/>
                </a:cubicBezTo>
                <a:cubicBezTo>
                  <a:pt x="141" y="22"/>
                  <a:pt x="141" y="22"/>
                  <a:pt x="141" y="22"/>
                </a:cubicBezTo>
                <a:cubicBezTo>
                  <a:pt x="140" y="20"/>
                  <a:pt x="140" y="20"/>
                  <a:pt x="140" y="20"/>
                </a:cubicBezTo>
                <a:close/>
                <a:moveTo>
                  <a:pt x="133" y="66"/>
                </a:moveTo>
                <a:cubicBezTo>
                  <a:pt x="133" y="66"/>
                  <a:pt x="133" y="66"/>
                  <a:pt x="133" y="66"/>
                </a:cubicBezTo>
                <a:cubicBezTo>
                  <a:pt x="133" y="68"/>
                  <a:pt x="133" y="68"/>
                  <a:pt x="133" y="68"/>
                </a:cubicBezTo>
                <a:cubicBezTo>
                  <a:pt x="132" y="68"/>
                  <a:pt x="132" y="68"/>
                  <a:pt x="132" y="68"/>
                </a:cubicBezTo>
                <a:cubicBezTo>
                  <a:pt x="132" y="66"/>
                  <a:pt x="132" y="66"/>
                  <a:pt x="132" y="66"/>
                </a:cubicBezTo>
                <a:cubicBezTo>
                  <a:pt x="133" y="66"/>
                  <a:pt x="133" y="66"/>
                  <a:pt x="133" y="66"/>
                </a:cubicBezTo>
                <a:close/>
                <a:moveTo>
                  <a:pt x="132" y="66"/>
                </a:moveTo>
                <a:cubicBezTo>
                  <a:pt x="132" y="68"/>
                  <a:pt x="132" y="68"/>
                  <a:pt x="132" y="68"/>
                </a:cubicBezTo>
                <a:cubicBezTo>
                  <a:pt x="132" y="69"/>
                  <a:pt x="132" y="69"/>
                  <a:pt x="132" y="69"/>
                </a:cubicBezTo>
                <a:cubicBezTo>
                  <a:pt x="131" y="70"/>
                  <a:pt x="131" y="70"/>
                  <a:pt x="131" y="70"/>
                </a:cubicBezTo>
                <a:cubicBezTo>
                  <a:pt x="130" y="69"/>
                  <a:pt x="130" y="69"/>
                  <a:pt x="130" y="69"/>
                </a:cubicBezTo>
                <a:cubicBezTo>
                  <a:pt x="130" y="67"/>
                  <a:pt x="130" y="67"/>
                  <a:pt x="130" y="67"/>
                </a:cubicBezTo>
                <a:cubicBezTo>
                  <a:pt x="131" y="66"/>
                  <a:pt x="131" y="66"/>
                  <a:pt x="131" y="66"/>
                </a:cubicBezTo>
                <a:cubicBezTo>
                  <a:pt x="132" y="65"/>
                  <a:pt x="132" y="65"/>
                  <a:pt x="132" y="65"/>
                </a:cubicBezTo>
                <a:cubicBezTo>
                  <a:pt x="132" y="66"/>
                  <a:pt x="132" y="66"/>
                  <a:pt x="132" y="66"/>
                </a:cubicBezTo>
                <a:close/>
                <a:moveTo>
                  <a:pt x="89" y="46"/>
                </a:moveTo>
                <a:cubicBezTo>
                  <a:pt x="90" y="46"/>
                  <a:pt x="90" y="46"/>
                  <a:pt x="90" y="46"/>
                </a:cubicBezTo>
                <a:cubicBezTo>
                  <a:pt x="90" y="47"/>
                  <a:pt x="90" y="47"/>
                  <a:pt x="90" y="47"/>
                </a:cubicBezTo>
                <a:cubicBezTo>
                  <a:pt x="90" y="47"/>
                  <a:pt x="90" y="47"/>
                  <a:pt x="90" y="47"/>
                </a:cubicBezTo>
                <a:cubicBezTo>
                  <a:pt x="89" y="47"/>
                  <a:pt x="89" y="47"/>
                  <a:pt x="89" y="47"/>
                </a:cubicBezTo>
                <a:cubicBezTo>
                  <a:pt x="88" y="46"/>
                  <a:pt x="88" y="46"/>
                  <a:pt x="88" y="46"/>
                </a:cubicBezTo>
                <a:cubicBezTo>
                  <a:pt x="89" y="46"/>
                  <a:pt x="89" y="46"/>
                  <a:pt x="89" y="46"/>
                </a:cubicBezTo>
                <a:close/>
                <a:moveTo>
                  <a:pt x="89" y="49"/>
                </a:moveTo>
                <a:cubicBezTo>
                  <a:pt x="91" y="49"/>
                  <a:pt x="91" y="49"/>
                  <a:pt x="91" y="49"/>
                </a:cubicBezTo>
                <a:cubicBezTo>
                  <a:pt x="91" y="50"/>
                  <a:pt x="91" y="50"/>
                  <a:pt x="91" y="50"/>
                </a:cubicBezTo>
                <a:cubicBezTo>
                  <a:pt x="92" y="50"/>
                  <a:pt x="92" y="50"/>
                  <a:pt x="92" y="50"/>
                </a:cubicBezTo>
                <a:cubicBezTo>
                  <a:pt x="92" y="50"/>
                  <a:pt x="92" y="50"/>
                  <a:pt x="92" y="50"/>
                </a:cubicBezTo>
                <a:cubicBezTo>
                  <a:pt x="90" y="50"/>
                  <a:pt x="90" y="50"/>
                  <a:pt x="90" y="50"/>
                </a:cubicBezTo>
                <a:cubicBezTo>
                  <a:pt x="90" y="50"/>
                  <a:pt x="90" y="50"/>
                  <a:pt x="90" y="50"/>
                </a:cubicBezTo>
                <a:cubicBezTo>
                  <a:pt x="89" y="49"/>
                  <a:pt x="89" y="49"/>
                  <a:pt x="89" y="49"/>
                </a:cubicBezTo>
                <a:cubicBezTo>
                  <a:pt x="89" y="49"/>
                  <a:pt x="89" y="49"/>
                  <a:pt x="89" y="49"/>
                </a:cubicBezTo>
                <a:close/>
                <a:moveTo>
                  <a:pt x="90" y="51"/>
                </a:moveTo>
                <a:cubicBezTo>
                  <a:pt x="92" y="51"/>
                  <a:pt x="92" y="51"/>
                  <a:pt x="92" y="51"/>
                </a:cubicBezTo>
                <a:cubicBezTo>
                  <a:pt x="93" y="51"/>
                  <a:pt x="93" y="51"/>
                  <a:pt x="93" y="51"/>
                </a:cubicBezTo>
                <a:cubicBezTo>
                  <a:pt x="92" y="53"/>
                  <a:pt x="92" y="53"/>
                  <a:pt x="92" y="53"/>
                </a:cubicBezTo>
                <a:cubicBezTo>
                  <a:pt x="91" y="53"/>
                  <a:pt x="91" y="53"/>
                  <a:pt x="91" y="53"/>
                </a:cubicBezTo>
                <a:cubicBezTo>
                  <a:pt x="90" y="52"/>
                  <a:pt x="90" y="52"/>
                  <a:pt x="90" y="52"/>
                </a:cubicBezTo>
                <a:cubicBezTo>
                  <a:pt x="91" y="51"/>
                  <a:pt x="91" y="51"/>
                  <a:pt x="91" y="51"/>
                </a:cubicBezTo>
                <a:cubicBezTo>
                  <a:pt x="91" y="51"/>
                  <a:pt x="90" y="51"/>
                  <a:pt x="90" y="51"/>
                </a:cubicBezTo>
                <a:close/>
                <a:moveTo>
                  <a:pt x="87" y="36"/>
                </a:moveTo>
                <a:cubicBezTo>
                  <a:pt x="88" y="34"/>
                  <a:pt x="88" y="34"/>
                  <a:pt x="88" y="34"/>
                </a:cubicBezTo>
                <a:cubicBezTo>
                  <a:pt x="90" y="32"/>
                  <a:pt x="90" y="32"/>
                  <a:pt x="90" y="32"/>
                </a:cubicBezTo>
                <a:cubicBezTo>
                  <a:pt x="91" y="31"/>
                  <a:pt x="91" y="31"/>
                  <a:pt x="91" y="31"/>
                </a:cubicBezTo>
                <a:cubicBezTo>
                  <a:pt x="92" y="31"/>
                  <a:pt x="92" y="31"/>
                  <a:pt x="92" y="31"/>
                </a:cubicBezTo>
                <a:cubicBezTo>
                  <a:pt x="93" y="33"/>
                  <a:pt x="93" y="33"/>
                  <a:pt x="93" y="33"/>
                </a:cubicBezTo>
                <a:cubicBezTo>
                  <a:pt x="95" y="34"/>
                  <a:pt x="95" y="34"/>
                  <a:pt x="95" y="34"/>
                </a:cubicBezTo>
                <a:cubicBezTo>
                  <a:pt x="95" y="35"/>
                  <a:pt x="95" y="35"/>
                  <a:pt x="95" y="35"/>
                </a:cubicBezTo>
                <a:cubicBezTo>
                  <a:pt x="96" y="36"/>
                  <a:pt x="96" y="36"/>
                  <a:pt x="96" y="36"/>
                </a:cubicBezTo>
                <a:cubicBezTo>
                  <a:pt x="97" y="37"/>
                  <a:pt x="97" y="37"/>
                  <a:pt x="97" y="37"/>
                </a:cubicBezTo>
                <a:cubicBezTo>
                  <a:pt x="98" y="37"/>
                  <a:pt x="98" y="37"/>
                  <a:pt x="98" y="37"/>
                </a:cubicBezTo>
                <a:cubicBezTo>
                  <a:pt x="100" y="37"/>
                  <a:pt x="100" y="37"/>
                  <a:pt x="100" y="37"/>
                </a:cubicBezTo>
                <a:cubicBezTo>
                  <a:pt x="100" y="36"/>
                  <a:pt x="100" y="36"/>
                  <a:pt x="100" y="36"/>
                </a:cubicBezTo>
                <a:cubicBezTo>
                  <a:pt x="101" y="36"/>
                  <a:pt x="101" y="36"/>
                  <a:pt x="101" y="36"/>
                </a:cubicBezTo>
                <a:cubicBezTo>
                  <a:pt x="102" y="36"/>
                  <a:pt x="102" y="36"/>
                  <a:pt x="102" y="36"/>
                </a:cubicBezTo>
                <a:cubicBezTo>
                  <a:pt x="106" y="36"/>
                  <a:pt x="106" y="36"/>
                  <a:pt x="106" y="36"/>
                </a:cubicBezTo>
                <a:cubicBezTo>
                  <a:pt x="109" y="35"/>
                  <a:pt x="109" y="35"/>
                  <a:pt x="109" y="35"/>
                </a:cubicBezTo>
                <a:cubicBezTo>
                  <a:pt x="110" y="34"/>
                  <a:pt x="110" y="34"/>
                  <a:pt x="110" y="34"/>
                </a:cubicBezTo>
                <a:cubicBezTo>
                  <a:pt x="113" y="34"/>
                  <a:pt x="113" y="34"/>
                  <a:pt x="113" y="34"/>
                </a:cubicBezTo>
                <a:cubicBezTo>
                  <a:pt x="115" y="34"/>
                  <a:pt x="115" y="34"/>
                  <a:pt x="115" y="34"/>
                </a:cubicBezTo>
                <a:cubicBezTo>
                  <a:pt x="115" y="35"/>
                  <a:pt x="115" y="35"/>
                  <a:pt x="115" y="35"/>
                </a:cubicBezTo>
                <a:cubicBezTo>
                  <a:pt x="117" y="35"/>
                  <a:pt x="117" y="35"/>
                  <a:pt x="117" y="35"/>
                </a:cubicBezTo>
                <a:cubicBezTo>
                  <a:pt x="119" y="34"/>
                  <a:pt x="119" y="34"/>
                  <a:pt x="119" y="34"/>
                </a:cubicBezTo>
                <a:cubicBezTo>
                  <a:pt x="122" y="33"/>
                  <a:pt x="122" y="33"/>
                  <a:pt x="122" y="33"/>
                </a:cubicBezTo>
                <a:cubicBezTo>
                  <a:pt x="122" y="32"/>
                  <a:pt x="122" y="32"/>
                  <a:pt x="122" y="32"/>
                </a:cubicBezTo>
                <a:cubicBezTo>
                  <a:pt x="125" y="29"/>
                  <a:pt x="125" y="29"/>
                  <a:pt x="125" y="29"/>
                </a:cubicBezTo>
                <a:cubicBezTo>
                  <a:pt x="126" y="26"/>
                  <a:pt x="126" y="26"/>
                  <a:pt x="126" y="26"/>
                </a:cubicBezTo>
                <a:cubicBezTo>
                  <a:pt x="128" y="23"/>
                  <a:pt x="128" y="23"/>
                  <a:pt x="128" y="23"/>
                </a:cubicBezTo>
                <a:cubicBezTo>
                  <a:pt x="129" y="18"/>
                  <a:pt x="129" y="18"/>
                  <a:pt x="129" y="18"/>
                </a:cubicBezTo>
                <a:cubicBezTo>
                  <a:pt x="129" y="17"/>
                  <a:pt x="129" y="17"/>
                  <a:pt x="129" y="17"/>
                </a:cubicBezTo>
                <a:cubicBezTo>
                  <a:pt x="130" y="16"/>
                  <a:pt x="130" y="16"/>
                  <a:pt x="130" y="16"/>
                </a:cubicBezTo>
                <a:cubicBezTo>
                  <a:pt x="130" y="15"/>
                  <a:pt x="130" y="15"/>
                  <a:pt x="130" y="15"/>
                </a:cubicBezTo>
                <a:cubicBezTo>
                  <a:pt x="131" y="14"/>
                  <a:pt x="131" y="14"/>
                  <a:pt x="131" y="14"/>
                </a:cubicBezTo>
                <a:cubicBezTo>
                  <a:pt x="132" y="14"/>
                  <a:pt x="132" y="14"/>
                  <a:pt x="132" y="14"/>
                </a:cubicBezTo>
                <a:cubicBezTo>
                  <a:pt x="134" y="14"/>
                  <a:pt x="134" y="14"/>
                  <a:pt x="134" y="14"/>
                </a:cubicBezTo>
                <a:cubicBezTo>
                  <a:pt x="137" y="14"/>
                  <a:pt x="137" y="14"/>
                  <a:pt x="137" y="14"/>
                </a:cubicBezTo>
                <a:cubicBezTo>
                  <a:pt x="137" y="15"/>
                  <a:pt x="137" y="15"/>
                  <a:pt x="137" y="15"/>
                </a:cubicBezTo>
                <a:cubicBezTo>
                  <a:pt x="139" y="15"/>
                  <a:pt x="139" y="15"/>
                  <a:pt x="139" y="15"/>
                </a:cubicBezTo>
                <a:cubicBezTo>
                  <a:pt x="140" y="15"/>
                  <a:pt x="140" y="15"/>
                  <a:pt x="140" y="15"/>
                </a:cubicBezTo>
                <a:cubicBezTo>
                  <a:pt x="140" y="15"/>
                  <a:pt x="140" y="15"/>
                  <a:pt x="140" y="15"/>
                </a:cubicBezTo>
                <a:cubicBezTo>
                  <a:pt x="140" y="15"/>
                  <a:pt x="140" y="15"/>
                  <a:pt x="140" y="15"/>
                </a:cubicBezTo>
                <a:cubicBezTo>
                  <a:pt x="140" y="16"/>
                  <a:pt x="140" y="16"/>
                  <a:pt x="140" y="16"/>
                </a:cubicBezTo>
                <a:cubicBezTo>
                  <a:pt x="139" y="17"/>
                  <a:pt x="139" y="17"/>
                  <a:pt x="139" y="17"/>
                </a:cubicBezTo>
                <a:cubicBezTo>
                  <a:pt x="141" y="17"/>
                  <a:pt x="141" y="17"/>
                  <a:pt x="141" y="17"/>
                </a:cubicBezTo>
                <a:cubicBezTo>
                  <a:pt x="142" y="19"/>
                  <a:pt x="142" y="19"/>
                  <a:pt x="142" y="19"/>
                </a:cubicBezTo>
                <a:cubicBezTo>
                  <a:pt x="141" y="19"/>
                  <a:pt x="141" y="19"/>
                  <a:pt x="141" y="19"/>
                </a:cubicBezTo>
                <a:cubicBezTo>
                  <a:pt x="139" y="19"/>
                  <a:pt x="139" y="19"/>
                  <a:pt x="139" y="19"/>
                </a:cubicBezTo>
                <a:cubicBezTo>
                  <a:pt x="139" y="19"/>
                  <a:pt x="139" y="19"/>
                  <a:pt x="139" y="19"/>
                </a:cubicBezTo>
                <a:cubicBezTo>
                  <a:pt x="140" y="20"/>
                  <a:pt x="140" y="20"/>
                  <a:pt x="140" y="20"/>
                </a:cubicBezTo>
                <a:cubicBezTo>
                  <a:pt x="140" y="21"/>
                  <a:pt x="140" y="21"/>
                  <a:pt x="140" y="21"/>
                </a:cubicBezTo>
                <a:cubicBezTo>
                  <a:pt x="140" y="21"/>
                  <a:pt x="140" y="21"/>
                  <a:pt x="140" y="21"/>
                </a:cubicBezTo>
                <a:cubicBezTo>
                  <a:pt x="140" y="21"/>
                  <a:pt x="140" y="21"/>
                  <a:pt x="140" y="21"/>
                </a:cubicBezTo>
                <a:cubicBezTo>
                  <a:pt x="139" y="22"/>
                  <a:pt x="139" y="22"/>
                  <a:pt x="139" y="22"/>
                </a:cubicBezTo>
                <a:cubicBezTo>
                  <a:pt x="140" y="23"/>
                  <a:pt x="140" y="23"/>
                  <a:pt x="140" y="23"/>
                </a:cubicBezTo>
                <a:cubicBezTo>
                  <a:pt x="141" y="25"/>
                  <a:pt x="141" y="25"/>
                  <a:pt x="141" y="25"/>
                </a:cubicBezTo>
                <a:cubicBezTo>
                  <a:pt x="143" y="27"/>
                  <a:pt x="143" y="27"/>
                  <a:pt x="143" y="27"/>
                </a:cubicBezTo>
                <a:cubicBezTo>
                  <a:pt x="144" y="28"/>
                  <a:pt x="144" y="28"/>
                  <a:pt x="144" y="28"/>
                </a:cubicBezTo>
                <a:cubicBezTo>
                  <a:pt x="143" y="29"/>
                  <a:pt x="143" y="29"/>
                  <a:pt x="143" y="29"/>
                </a:cubicBezTo>
                <a:cubicBezTo>
                  <a:pt x="141" y="29"/>
                  <a:pt x="141" y="29"/>
                  <a:pt x="141" y="29"/>
                </a:cubicBezTo>
                <a:cubicBezTo>
                  <a:pt x="141" y="30"/>
                  <a:pt x="141" y="30"/>
                  <a:pt x="141" y="30"/>
                </a:cubicBezTo>
                <a:cubicBezTo>
                  <a:pt x="142" y="30"/>
                  <a:pt x="142" y="30"/>
                  <a:pt x="142" y="30"/>
                </a:cubicBezTo>
                <a:cubicBezTo>
                  <a:pt x="142" y="32"/>
                  <a:pt x="142" y="32"/>
                  <a:pt x="142" y="32"/>
                </a:cubicBezTo>
                <a:cubicBezTo>
                  <a:pt x="143" y="32"/>
                  <a:pt x="143" y="32"/>
                  <a:pt x="143" y="32"/>
                </a:cubicBezTo>
                <a:cubicBezTo>
                  <a:pt x="146" y="35"/>
                  <a:pt x="146" y="35"/>
                  <a:pt x="146" y="35"/>
                </a:cubicBezTo>
                <a:cubicBezTo>
                  <a:pt x="147" y="35"/>
                  <a:pt x="147" y="35"/>
                  <a:pt x="147" y="35"/>
                </a:cubicBezTo>
                <a:cubicBezTo>
                  <a:pt x="148" y="36"/>
                  <a:pt x="148" y="36"/>
                  <a:pt x="148" y="36"/>
                </a:cubicBezTo>
                <a:cubicBezTo>
                  <a:pt x="148" y="36"/>
                  <a:pt x="148" y="36"/>
                  <a:pt x="148" y="36"/>
                </a:cubicBezTo>
                <a:cubicBezTo>
                  <a:pt x="149" y="37"/>
                  <a:pt x="149" y="37"/>
                  <a:pt x="149" y="37"/>
                </a:cubicBezTo>
                <a:cubicBezTo>
                  <a:pt x="149" y="38"/>
                  <a:pt x="149" y="38"/>
                  <a:pt x="149" y="38"/>
                </a:cubicBezTo>
                <a:cubicBezTo>
                  <a:pt x="148" y="38"/>
                  <a:pt x="148" y="38"/>
                  <a:pt x="148" y="38"/>
                </a:cubicBezTo>
                <a:cubicBezTo>
                  <a:pt x="147" y="38"/>
                  <a:pt x="147" y="38"/>
                  <a:pt x="147" y="38"/>
                </a:cubicBezTo>
                <a:cubicBezTo>
                  <a:pt x="146" y="39"/>
                  <a:pt x="146" y="39"/>
                  <a:pt x="146" y="39"/>
                </a:cubicBezTo>
                <a:cubicBezTo>
                  <a:pt x="145" y="38"/>
                  <a:pt x="145" y="38"/>
                  <a:pt x="145" y="38"/>
                </a:cubicBezTo>
                <a:cubicBezTo>
                  <a:pt x="143" y="36"/>
                  <a:pt x="143" y="36"/>
                  <a:pt x="143" y="36"/>
                </a:cubicBezTo>
                <a:cubicBezTo>
                  <a:pt x="143" y="38"/>
                  <a:pt x="143" y="38"/>
                  <a:pt x="143" y="38"/>
                </a:cubicBezTo>
                <a:cubicBezTo>
                  <a:pt x="143" y="39"/>
                  <a:pt x="143" y="39"/>
                  <a:pt x="143" y="39"/>
                </a:cubicBezTo>
                <a:cubicBezTo>
                  <a:pt x="142" y="38"/>
                  <a:pt x="142" y="38"/>
                  <a:pt x="142" y="38"/>
                </a:cubicBezTo>
                <a:cubicBezTo>
                  <a:pt x="141" y="39"/>
                  <a:pt x="141" y="39"/>
                  <a:pt x="141" y="39"/>
                </a:cubicBezTo>
                <a:cubicBezTo>
                  <a:pt x="141" y="40"/>
                  <a:pt x="141" y="40"/>
                  <a:pt x="141" y="40"/>
                </a:cubicBezTo>
                <a:cubicBezTo>
                  <a:pt x="140" y="41"/>
                  <a:pt x="140" y="41"/>
                  <a:pt x="140" y="41"/>
                </a:cubicBezTo>
                <a:cubicBezTo>
                  <a:pt x="140" y="43"/>
                  <a:pt x="140" y="43"/>
                  <a:pt x="140" y="43"/>
                </a:cubicBezTo>
                <a:cubicBezTo>
                  <a:pt x="139" y="44"/>
                  <a:pt x="139" y="44"/>
                  <a:pt x="139" y="44"/>
                </a:cubicBezTo>
                <a:cubicBezTo>
                  <a:pt x="139" y="46"/>
                  <a:pt x="139" y="46"/>
                  <a:pt x="139" y="46"/>
                </a:cubicBezTo>
                <a:cubicBezTo>
                  <a:pt x="137" y="48"/>
                  <a:pt x="137" y="48"/>
                  <a:pt x="137" y="48"/>
                </a:cubicBezTo>
                <a:cubicBezTo>
                  <a:pt x="138" y="49"/>
                  <a:pt x="138" y="49"/>
                  <a:pt x="138" y="49"/>
                </a:cubicBezTo>
                <a:cubicBezTo>
                  <a:pt x="137" y="50"/>
                  <a:pt x="137" y="50"/>
                  <a:pt x="137" y="50"/>
                </a:cubicBezTo>
                <a:cubicBezTo>
                  <a:pt x="136" y="51"/>
                  <a:pt x="136" y="51"/>
                  <a:pt x="136" y="51"/>
                </a:cubicBezTo>
                <a:cubicBezTo>
                  <a:pt x="136" y="50"/>
                  <a:pt x="136" y="50"/>
                  <a:pt x="136" y="50"/>
                </a:cubicBezTo>
                <a:cubicBezTo>
                  <a:pt x="135" y="50"/>
                  <a:pt x="135" y="50"/>
                  <a:pt x="135" y="50"/>
                </a:cubicBezTo>
                <a:cubicBezTo>
                  <a:pt x="135" y="51"/>
                  <a:pt x="135" y="51"/>
                  <a:pt x="135" y="51"/>
                </a:cubicBezTo>
                <a:cubicBezTo>
                  <a:pt x="135" y="52"/>
                  <a:pt x="135" y="52"/>
                  <a:pt x="135" y="52"/>
                </a:cubicBezTo>
                <a:cubicBezTo>
                  <a:pt x="134" y="53"/>
                  <a:pt x="134" y="53"/>
                  <a:pt x="134" y="53"/>
                </a:cubicBezTo>
                <a:cubicBezTo>
                  <a:pt x="134" y="54"/>
                  <a:pt x="134" y="54"/>
                  <a:pt x="134" y="54"/>
                </a:cubicBezTo>
                <a:cubicBezTo>
                  <a:pt x="133" y="55"/>
                  <a:pt x="133" y="55"/>
                  <a:pt x="133" y="55"/>
                </a:cubicBezTo>
                <a:cubicBezTo>
                  <a:pt x="132" y="55"/>
                  <a:pt x="132" y="55"/>
                  <a:pt x="132" y="55"/>
                </a:cubicBezTo>
                <a:cubicBezTo>
                  <a:pt x="132" y="55"/>
                  <a:pt x="132" y="55"/>
                  <a:pt x="132" y="55"/>
                </a:cubicBezTo>
                <a:cubicBezTo>
                  <a:pt x="132" y="56"/>
                  <a:pt x="132" y="56"/>
                  <a:pt x="132" y="56"/>
                </a:cubicBezTo>
                <a:cubicBezTo>
                  <a:pt x="133" y="56"/>
                  <a:pt x="133" y="56"/>
                  <a:pt x="133" y="56"/>
                </a:cubicBezTo>
                <a:cubicBezTo>
                  <a:pt x="133" y="56"/>
                  <a:pt x="133" y="56"/>
                  <a:pt x="133" y="56"/>
                </a:cubicBezTo>
                <a:cubicBezTo>
                  <a:pt x="133" y="57"/>
                  <a:pt x="133" y="57"/>
                  <a:pt x="133" y="57"/>
                </a:cubicBezTo>
                <a:cubicBezTo>
                  <a:pt x="132" y="58"/>
                  <a:pt x="132" y="58"/>
                  <a:pt x="132" y="58"/>
                </a:cubicBezTo>
                <a:cubicBezTo>
                  <a:pt x="133" y="58"/>
                  <a:pt x="133" y="58"/>
                  <a:pt x="133" y="58"/>
                </a:cubicBezTo>
                <a:cubicBezTo>
                  <a:pt x="134" y="58"/>
                  <a:pt x="134" y="58"/>
                  <a:pt x="134" y="58"/>
                </a:cubicBezTo>
                <a:cubicBezTo>
                  <a:pt x="134" y="59"/>
                  <a:pt x="134" y="59"/>
                  <a:pt x="134" y="59"/>
                </a:cubicBezTo>
                <a:cubicBezTo>
                  <a:pt x="133" y="60"/>
                  <a:pt x="133" y="60"/>
                  <a:pt x="133" y="60"/>
                </a:cubicBezTo>
                <a:cubicBezTo>
                  <a:pt x="132" y="60"/>
                  <a:pt x="132" y="60"/>
                  <a:pt x="132" y="60"/>
                </a:cubicBezTo>
                <a:cubicBezTo>
                  <a:pt x="132" y="59"/>
                  <a:pt x="132" y="59"/>
                  <a:pt x="132" y="59"/>
                </a:cubicBezTo>
                <a:cubicBezTo>
                  <a:pt x="132" y="60"/>
                  <a:pt x="132" y="60"/>
                  <a:pt x="132" y="60"/>
                </a:cubicBezTo>
                <a:cubicBezTo>
                  <a:pt x="133" y="60"/>
                  <a:pt x="133" y="60"/>
                  <a:pt x="133" y="60"/>
                </a:cubicBezTo>
                <a:cubicBezTo>
                  <a:pt x="133" y="61"/>
                  <a:pt x="133" y="61"/>
                  <a:pt x="133" y="61"/>
                </a:cubicBezTo>
                <a:cubicBezTo>
                  <a:pt x="132" y="63"/>
                  <a:pt x="132" y="63"/>
                  <a:pt x="132" y="63"/>
                </a:cubicBezTo>
                <a:cubicBezTo>
                  <a:pt x="131" y="63"/>
                  <a:pt x="131" y="63"/>
                  <a:pt x="131" y="63"/>
                </a:cubicBezTo>
                <a:cubicBezTo>
                  <a:pt x="131" y="62"/>
                  <a:pt x="131" y="62"/>
                  <a:pt x="131" y="62"/>
                </a:cubicBezTo>
                <a:cubicBezTo>
                  <a:pt x="131" y="64"/>
                  <a:pt x="131" y="64"/>
                  <a:pt x="131" y="64"/>
                </a:cubicBezTo>
                <a:cubicBezTo>
                  <a:pt x="131" y="65"/>
                  <a:pt x="131" y="65"/>
                  <a:pt x="131" y="65"/>
                </a:cubicBezTo>
                <a:cubicBezTo>
                  <a:pt x="130" y="67"/>
                  <a:pt x="130" y="67"/>
                  <a:pt x="130" y="67"/>
                </a:cubicBezTo>
                <a:cubicBezTo>
                  <a:pt x="127" y="69"/>
                  <a:pt x="127" y="69"/>
                  <a:pt x="127" y="69"/>
                </a:cubicBezTo>
                <a:cubicBezTo>
                  <a:pt x="126" y="69"/>
                  <a:pt x="126" y="69"/>
                  <a:pt x="126" y="69"/>
                </a:cubicBezTo>
                <a:cubicBezTo>
                  <a:pt x="123" y="70"/>
                  <a:pt x="123" y="70"/>
                  <a:pt x="123" y="70"/>
                </a:cubicBezTo>
                <a:cubicBezTo>
                  <a:pt x="122" y="70"/>
                  <a:pt x="122" y="70"/>
                  <a:pt x="122" y="70"/>
                </a:cubicBezTo>
                <a:cubicBezTo>
                  <a:pt x="121" y="69"/>
                  <a:pt x="121" y="69"/>
                  <a:pt x="121" y="69"/>
                </a:cubicBezTo>
                <a:cubicBezTo>
                  <a:pt x="122" y="68"/>
                  <a:pt x="122" y="68"/>
                  <a:pt x="122" y="68"/>
                </a:cubicBezTo>
                <a:cubicBezTo>
                  <a:pt x="121" y="67"/>
                  <a:pt x="121" y="67"/>
                  <a:pt x="121" y="67"/>
                </a:cubicBezTo>
                <a:cubicBezTo>
                  <a:pt x="121" y="66"/>
                  <a:pt x="121" y="66"/>
                  <a:pt x="121" y="66"/>
                </a:cubicBezTo>
                <a:cubicBezTo>
                  <a:pt x="120" y="66"/>
                  <a:pt x="120" y="66"/>
                  <a:pt x="120" y="66"/>
                </a:cubicBezTo>
                <a:cubicBezTo>
                  <a:pt x="120" y="66"/>
                  <a:pt x="120" y="66"/>
                  <a:pt x="120" y="66"/>
                </a:cubicBezTo>
                <a:cubicBezTo>
                  <a:pt x="119" y="66"/>
                  <a:pt x="119" y="66"/>
                  <a:pt x="119" y="66"/>
                </a:cubicBezTo>
                <a:cubicBezTo>
                  <a:pt x="118" y="66"/>
                  <a:pt x="118" y="66"/>
                  <a:pt x="118" y="66"/>
                </a:cubicBezTo>
                <a:cubicBezTo>
                  <a:pt x="117" y="65"/>
                  <a:pt x="117" y="65"/>
                  <a:pt x="117" y="65"/>
                </a:cubicBezTo>
                <a:cubicBezTo>
                  <a:pt x="117" y="66"/>
                  <a:pt x="117" y="66"/>
                  <a:pt x="117" y="66"/>
                </a:cubicBezTo>
                <a:cubicBezTo>
                  <a:pt x="117" y="66"/>
                  <a:pt x="117" y="66"/>
                  <a:pt x="117" y="66"/>
                </a:cubicBezTo>
                <a:cubicBezTo>
                  <a:pt x="116" y="66"/>
                  <a:pt x="116" y="66"/>
                  <a:pt x="116" y="66"/>
                </a:cubicBezTo>
                <a:cubicBezTo>
                  <a:pt x="116" y="65"/>
                  <a:pt x="116" y="65"/>
                  <a:pt x="116" y="65"/>
                </a:cubicBezTo>
                <a:cubicBezTo>
                  <a:pt x="116" y="64"/>
                  <a:pt x="116" y="64"/>
                  <a:pt x="116" y="64"/>
                </a:cubicBezTo>
                <a:cubicBezTo>
                  <a:pt x="115" y="64"/>
                  <a:pt x="115" y="64"/>
                  <a:pt x="115" y="64"/>
                </a:cubicBezTo>
                <a:cubicBezTo>
                  <a:pt x="114" y="64"/>
                  <a:pt x="114" y="64"/>
                  <a:pt x="114" y="64"/>
                </a:cubicBezTo>
                <a:cubicBezTo>
                  <a:pt x="113" y="64"/>
                  <a:pt x="113" y="64"/>
                  <a:pt x="113" y="64"/>
                </a:cubicBezTo>
                <a:cubicBezTo>
                  <a:pt x="113" y="64"/>
                  <a:pt x="113" y="64"/>
                  <a:pt x="113" y="64"/>
                </a:cubicBezTo>
                <a:cubicBezTo>
                  <a:pt x="112" y="65"/>
                  <a:pt x="112" y="65"/>
                  <a:pt x="112" y="65"/>
                </a:cubicBezTo>
                <a:cubicBezTo>
                  <a:pt x="110" y="65"/>
                  <a:pt x="110" y="65"/>
                  <a:pt x="110" y="65"/>
                </a:cubicBezTo>
                <a:cubicBezTo>
                  <a:pt x="110" y="66"/>
                  <a:pt x="110" y="66"/>
                  <a:pt x="110" y="66"/>
                </a:cubicBezTo>
                <a:cubicBezTo>
                  <a:pt x="109" y="66"/>
                  <a:pt x="109" y="66"/>
                  <a:pt x="109" y="66"/>
                </a:cubicBezTo>
                <a:cubicBezTo>
                  <a:pt x="108" y="65"/>
                  <a:pt x="108" y="65"/>
                  <a:pt x="108" y="65"/>
                </a:cubicBezTo>
                <a:cubicBezTo>
                  <a:pt x="107" y="65"/>
                  <a:pt x="107" y="65"/>
                  <a:pt x="107" y="65"/>
                </a:cubicBezTo>
                <a:cubicBezTo>
                  <a:pt x="106" y="67"/>
                  <a:pt x="106" y="67"/>
                  <a:pt x="106" y="67"/>
                </a:cubicBezTo>
                <a:cubicBezTo>
                  <a:pt x="105" y="67"/>
                  <a:pt x="105" y="67"/>
                  <a:pt x="105" y="67"/>
                </a:cubicBezTo>
                <a:cubicBezTo>
                  <a:pt x="105" y="66"/>
                  <a:pt x="105" y="66"/>
                  <a:pt x="105" y="66"/>
                </a:cubicBezTo>
                <a:cubicBezTo>
                  <a:pt x="105" y="64"/>
                  <a:pt x="105" y="64"/>
                  <a:pt x="105" y="64"/>
                </a:cubicBezTo>
                <a:cubicBezTo>
                  <a:pt x="105" y="62"/>
                  <a:pt x="105" y="62"/>
                  <a:pt x="105" y="62"/>
                </a:cubicBezTo>
                <a:cubicBezTo>
                  <a:pt x="105" y="61"/>
                  <a:pt x="105" y="61"/>
                  <a:pt x="105" y="61"/>
                </a:cubicBezTo>
                <a:cubicBezTo>
                  <a:pt x="104" y="61"/>
                  <a:pt x="104" y="61"/>
                  <a:pt x="104" y="61"/>
                </a:cubicBezTo>
                <a:cubicBezTo>
                  <a:pt x="105" y="61"/>
                  <a:pt x="105" y="61"/>
                  <a:pt x="105" y="61"/>
                </a:cubicBezTo>
                <a:cubicBezTo>
                  <a:pt x="104" y="62"/>
                  <a:pt x="104" y="62"/>
                  <a:pt x="104" y="62"/>
                </a:cubicBezTo>
                <a:cubicBezTo>
                  <a:pt x="103" y="63"/>
                  <a:pt x="103" y="63"/>
                  <a:pt x="103" y="63"/>
                </a:cubicBezTo>
                <a:cubicBezTo>
                  <a:pt x="102" y="62"/>
                  <a:pt x="102" y="62"/>
                  <a:pt x="102" y="62"/>
                </a:cubicBezTo>
                <a:cubicBezTo>
                  <a:pt x="101" y="63"/>
                  <a:pt x="101" y="63"/>
                  <a:pt x="101" y="63"/>
                </a:cubicBezTo>
                <a:cubicBezTo>
                  <a:pt x="100" y="63"/>
                  <a:pt x="100" y="63"/>
                  <a:pt x="100" y="63"/>
                </a:cubicBezTo>
                <a:cubicBezTo>
                  <a:pt x="99" y="63"/>
                  <a:pt x="99" y="63"/>
                  <a:pt x="99" y="63"/>
                </a:cubicBezTo>
                <a:cubicBezTo>
                  <a:pt x="97" y="63"/>
                  <a:pt x="97" y="63"/>
                  <a:pt x="97" y="63"/>
                </a:cubicBezTo>
                <a:cubicBezTo>
                  <a:pt x="97" y="62"/>
                  <a:pt x="97" y="62"/>
                  <a:pt x="97" y="62"/>
                </a:cubicBezTo>
                <a:cubicBezTo>
                  <a:pt x="96" y="63"/>
                  <a:pt x="96" y="63"/>
                  <a:pt x="96" y="63"/>
                </a:cubicBezTo>
                <a:cubicBezTo>
                  <a:pt x="95" y="63"/>
                  <a:pt x="95" y="63"/>
                  <a:pt x="95" y="63"/>
                </a:cubicBezTo>
                <a:cubicBezTo>
                  <a:pt x="95" y="61"/>
                  <a:pt x="95" y="61"/>
                  <a:pt x="95" y="61"/>
                </a:cubicBezTo>
                <a:cubicBezTo>
                  <a:pt x="95" y="60"/>
                  <a:pt x="95" y="60"/>
                  <a:pt x="95" y="60"/>
                </a:cubicBezTo>
                <a:cubicBezTo>
                  <a:pt x="94" y="57"/>
                  <a:pt x="94" y="57"/>
                  <a:pt x="94" y="57"/>
                </a:cubicBezTo>
                <a:cubicBezTo>
                  <a:pt x="93" y="56"/>
                  <a:pt x="93" y="56"/>
                  <a:pt x="93" y="56"/>
                </a:cubicBezTo>
                <a:cubicBezTo>
                  <a:pt x="93" y="55"/>
                  <a:pt x="93" y="55"/>
                  <a:pt x="93" y="55"/>
                </a:cubicBezTo>
                <a:cubicBezTo>
                  <a:pt x="94" y="55"/>
                  <a:pt x="94" y="55"/>
                  <a:pt x="94" y="55"/>
                </a:cubicBezTo>
                <a:cubicBezTo>
                  <a:pt x="94" y="53"/>
                  <a:pt x="94" y="53"/>
                  <a:pt x="94" y="53"/>
                </a:cubicBezTo>
                <a:cubicBezTo>
                  <a:pt x="94" y="52"/>
                  <a:pt x="94" y="52"/>
                  <a:pt x="94" y="52"/>
                </a:cubicBezTo>
                <a:cubicBezTo>
                  <a:pt x="94" y="51"/>
                  <a:pt x="94" y="51"/>
                  <a:pt x="94" y="51"/>
                </a:cubicBezTo>
                <a:cubicBezTo>
                  <a:pt x="92" y="49"/>
                  <a:pt x="92" y="49"/>
                  <a:pt x="92" y="49"/>
                </a:cubicBezTo>
                <a:cubicBezTo>
                  <a:pt x="90" y="48"/>
                  <a:pt x="90" y="48"/>
                  <a:pt x="90" y="48"/>
                </a:cubicBezTo>
                <a:cubicBezTo>
                  <a:pt x="89" y="48"/>
                  <a:pt x="89" y="48"/>
                  <a:pt x="89" y="48"/>
                </a:cubicBezTo>
                <a:cubicBezTo>
                  <a:pt x="89" y="48"/>
                  <a:pt x="89" y="48"/>
                  <a:pt x="89" y="48"/>
                </a:cubicBezTo>
                <a:cubicBezTo>
                  <a:pt x="90" y="47"/>
                  <a:pt x="90" y="47"/>
                  <a:pt x="90" y="47"/>
                </a:cubicBezTo>
                <a:cubicBezTo>
                  <a:pt x="91" y="47"/>
                  <a:pt x="91" y="47"/>
                  <a:pt x="91" y="47"/>
                </a:cubicBezTo>
                <a:cubicBezTo>
                  <a:pt x="93" y="46"/>
                  <a:pt x="93" y="46"/>
                  <a:pt x="93" y="46"/>
                </a:cubicBezTo>
                <a:cubicBezTo>
                  <a:pt x="95" y="45"/>
                  <a:pt x="95" y="45"/>
                  <a:pt x="95" y="45"/>
                </a:cubicBezTo>
                <a:cubicBezTo>
                  <a:pt x="96" y="45"/>
                  <a:pt x="96" y="45"/>
                  <a:pt x="96" y="45"/>
                </a:cubicBezTo>
                <a:cubicBezTo>
                  <a:pt x="95" y="45"/>
                  <a:pt x="95" y="45"/>
                  <a:pt x="95" y="45"/>
                </a:cubicBezTo>
                <a:cubicBezTo>
                  <a:pt x="93" y="46"/>
                  <a:pt x="93" y="46"/>
                  <a:pt x="93" y="46"/>
                </a:cubicBezTo>
                <a:cubicBezTo>
                  <a:pt x="91" y="46"/>
                  <a:pt x="91" y="46"/>
                  <a:pt x="91" y="46"/>
                </a:cubicBezTo>
                <a:cubicBezTo>
                  <a:pt x="90" y="46"/>
                  <a:pt x="90" y="46"/>
                  <a:pt x="90" y="46"/>
                </a:cubicBezTo>
                <a:cubicBezTo>
                  <a:pt x="89" y="46"/>
                  <a:pt x="89" y="46"/>
                  <a:pt x="89" y="46"/>
                </a:cubicBezTo>
                <a:cubicBezTo>
                  <a:pt x="88" y="44"/>
                  <a:pt x="88" y="44"/>
                  <a:pt x="88" y="44"/>
                </a:cubicBezTo>
                <a:cubicBezTo>
                  <a:pt x="89" y="44"/>
                  <a:pt x="89" y="44"/>
                  <a:pt x="89" y="44"/>
                </a:cubicBezTo>
                <a:cubicBezTo>
                  <a:pt x="89" y="44"/>
                  <a:pt x="89" y="44"/>
                  <a:pt x="89" y="44"/>
                </a:cubicBezTo>
                <a:cubicBezTo>
                  <a:pt x="89" y="43"/>
                  <a:pt x="89" y="43"/>
                  <a:pt x="89" y="43"/>
                </a:cubicBezTo>
                <a:cubicBezTo>
                  <a:pt x="87" y="41"/>
                  <a:pt x="87" y="41"/>
                  <a:pt x="87" y="41"/>
                </a:cubicBezTo>
                <a:cubicBezTo>
                  <a:pt x="87" y="39"/>
                  <a:pt x="87" y="39"/>
                  <a:pt x="87" y="39"/>
                </a:cubicBezTo>
                <a:cubicBezTo>
                  <a:pt x="88" y="38"/>
                  <a:pt x="88" y="38"/>
                  <a:pt x="88" y="38"/>
                </a:cubicBezTo>
                <a:cubicBezTo>
                  <a:pt x="88" y="37"/>
                  <a:pt x="88" y="37"/>
                  <a:pt x="88" y="37"/>
                </a:cubicBezTo>
                <a:cubicBezTo>
                  <a:pt x="87" y="36"/>
                  <a:pt x="87" y="36"/>
                  <a:pt x="87" y="36"/>
                </a:cubicBezTo>
                <a:cubicBezTo>
                  <a:pt x="87" y="36"/>
                  <a:pt x="87" y="36"/>
                  <a:pt x="87" y="36"/>
                </a:cubicBezTo>
                <a:close/>
                <a:moveTo>
                  <a:pt x="250" y="49"/>
                </a:moveTo>
                <a:cubicBezTo>
                  <a:pt x="249" y="49"/>
                  <a:pt x="249" y="49"/>
                  <a:pt x="249" y="49"/>
                </a:cubicBezTo>
                <a:cubicBezTo>
                  <a:pt x="250" y="50"/>
                  <a:pt x="250" y="50"/>
                  <a:pt x="250" y="50"/>
                </a:cubicBezTo>
                <a:cubicBezTo>
                  <a:pt x="251" y="50"/>
                  <a:pt x="251" y="50"/>
                  <a:pt x="251" y="50"/>
                </a:cubicBezTo>
                <a:cubicBezTo>
                  <a:pt x="250" y="49"/>
                  <a:pt x="250" y="49"/>
                  <a:pt x="250" y="49"/>
                </a:cubicBezTo>
                <a:close/>
                <a:moveTo>
                  <a:pt x="253" y="53"/>
                </a:moveTo>
                <a:cubicBezTo>
                  <a:pt x="251" y="53"/>
                  <a:pt x="251" y="53"/>
                  <a:pt x="251" y="53"/>
                </a:cubicBezTo>
                <a:cubicBezTo>
                  <a:pt x="252" y="53"/>
                  <a:pt x="252" y="53"/>
                  <a:pt x="252" y="53"/>
                </a:cubicBezTo>
                <a:cubicBezTo>
                  <a:pt x="253" y="53"/>
                  <a:pt x="253" y="53"/>
                  <a:pt x="253" y="53"/>
                </a:cubicBezTo>
                <a:close/>
                <a:moveTo>
                  <a:pt x="254" y="54"/>
                </a:moveTo>
                <a:cubicBezTo>
                  <a:pt x="254" y="53"/>
                  <a:pt x="254" y="54"/>
                  <a:pt x="254" y="54"/>
                </a:cubicBezTo>
                <a:cubicBezTo>
                  <a:pt x="256" y="55"/>
                  <a:pt x="256" y="55"/>
                  <a:pt x="256" y="55"/>
                </a:cubicBezTo>
                <a:cubicBezTo>
                  <a:pt x="259" y="55"/>
                  <a:pt x="259" y="55"/>
                  <a:pt x="259" y="55"/>
                </a:cubicBezTo>
                <a:cubicBezTo>
                  <a:pt x="262" y="55"/>
                  <a:pt x="262" y="55"/>
                  <a:pt x="262" y="55"/>
                </a:cubicBezTo>
                <a:cubicBezTo>
                  <a:pt x="262" y="54"/>
                  <a:pt x="262" y="54"/>
                  <a:pt x="262" y="54"/>
                </a:cubicBezTo>
                <a:cubicBezTo>
                  <a:pt x="260" y="54"/>
                  <a:pt x="260" y="54"/>
                  <a:pt x="260" y="54"/>
                </a:cubicBezTo>
                <a:cubicBezTo>
                  <a:pt x="259" y="54"/>
                  <a:pt x="259" y="54"/>
                  <a:pt x="259" y="54"/>
                </a:cubicBezTo>
                <a:cubicBezTo>
                  <a:pt x="257" y="54"/>
                  <a:pt x="257" y="54"/>
                  <a:pt x="257" y="54"/>
                </a:cubicBezTo>
                <a:cubicBezTo>
                  <a:pt x="256" y="54"/>
                  <a:pt x="256" y="54"/>
                  <a:pt x="256" y="54"/>
                </a:cubicBezTo>
                <a:cubicBezTo>
                  <a:pt x="254" y="54"/>
                  <a:pt x="254" y="54"/>
                  <a:pt x="254" y="54"/>
                </a:cubicBezTo>
                <a:close/>
                <a:moveTo>
                  <a:pt x="254" y="48"/>
                </a:moveTo>
                <a:cubicBezTo>
                  <a:pt x="255" y="49"/>
                  <a:pt x="255" y="49"/>
                  <a:pt x="255" y="49"/>
                </a:cubicBezTo>
                <a:cubicBezTo>
                  <a:pt x="255" y="48"/>
                  <a:pt x="255" y="48"/>
                  <a:pt x="255" y="48"/>
                </a:cubicBezTo>
                <a:cubicBezTo>
                  <a:pt x="255" y="48"/>
                  <a:pt x="255" y="48"/>
                  <a:pt x="255" y="48"/>
                </a:cubicBezTo>
                <a:cubicBezTo>
                  <a:pt x="256" y="49"/>
                  <a:pt x="256" y="49"/>
                  <a:pt x="256" y="49"/>
                </a:cubicBezTo>
                <a:cubicBezTo>
                  <a:pt x="256" y="50"/>
                  <a:pt x="256" y="50"/>
                  <a:pt x="256" y="50"/>
                </a:cubicBezTo>
                <a:cubicBezTo>
                  <a:pt x="257" y="50"/>
                  <a:pt x="257" y="50"/>
                  <a:pt x="257" y="50"/>
                </a:cubicBezTo>
                <a:cubicBezTo>
                  <a:pt x="258" y="50"/>
                  <a:pt x="258" y="50"/>
                  <a:pt x="258" y="50"/>
                </a:cubicBezTo>
                <a:cubicBezTo>
                  <a:pt x="258" y="51"/>
                  <a:pt x="258" y="51"/>
                  <a:pt x="258" y="51"/>
                </a:cubicBezTo>
                <a:cubicBezTo>
                  <a:pt x="260" y="50"/>
                  <a:pt x="260" y="50"/>
                  <a:pt x="260" y="50"/>
                </a:cubicBezTo>
                <a:cubicBezTo>
                  <a:pt x="259" y="50"/>
                  <a:pt x="259" y="50"/>
                  <a:pt x="259" y="50"/>
                </a:cubicBezTo>
                <a:cubicBezTo>
                  <a:pt x="258" y="49"/>
                  <a:pt x="258" y="49"/>
                  <a:pt x="258" y="49"/>
                </a:cubicBezTo>
                <a:cubicBezTo>
                  <a:pt x="257" y="48"/>
                  <a:pt x="257" y="48"/>
                  <a:pt x="257" y="48"/>
                </a:cubicBezTo>
                <a:cubicBezTo>
                  <a:pt x="256" y="47"/>
                  <a:pt x="256" y="47"/>
                  <a:pt x="256" y="47"/>
                </a:cubicBezTo>
                <a:cubicBezTo>
                  <a:pt x="255" y="47"/>
                  <a:pt x="255" y="47"/>
                  <a:pt x="255" y="47"/>
                </a:cubicBezTo>
                <a:cubicBezTo>
                  <a:pt x="254" y="47"/>
                  <a:pt x="254" y="47"/>
                  <a:pt x="254" y="47"/>
                </a:cubicBezTo>
                <a:cubicBezTo>
                  <a:pt x="254" y="48"/>
                  <a:pt x="254" y="48"/>
                  <a:pt x="254" y="48"/>
                </a:cubicBezTo>
                <a:close/>
                <a:moveTo>
                  <a:pt x="236" y="79"/>
                </a:moveTo>
                <a:cubicBezTo>
                  <a:pt x="236" y="80"/>
                  <a:pt x="236" y="80"/>
                  <a:pt x="236" y="80"/>
                </a:cubicBezTo>
                <a:cubicBezTo>
                  <a:pt x="236" y="81"/>
                  <a:pt x="236" y="81"/>
                  <a:pt x="236" y="81"/>
                </a:cubicBezTo>
                <a:cubicBezTo>
                  <a:pt x="236" y="82"/>
                  <a:pt x="236" y="82"/>
                  <a:pt x="236" y="82"/>
                </a:cubicBezTo>
                <a:cubicBezTo>
                  <a:pt x="236" y="80"/>
                  <a:pt x="236" y="80"/>
                  <a:pt x="236" y="80"/>
                </a:cubicBezTo>
                <a:cubicBezTo>
                  <a:pt x="236" y="79"/>
                  <a:pt x="236" y="79"/>
                  <a:pt x="236" y="79"/>
                </a:cubicBezTo>
                <a:close/>
                <a:moveTo>
                  <a:pt x="239" y="78"/>
                </a:moveTo>
                <a:cubicBezTo>
                  <a:pt x="238" y="78"/>
                  <a:pt x="238" y="78"/>
                  <a:pt x="238" y="78"/>
                </a:cubicBezTo>
                <a:cubicBezTo>
                  <a:pt x="237" y="81"/>
                  <a:pt x="237" y="81"/>
                  <a:pt x="237" y="81"/>
                </a:cubicBezTo>
                <a:cubicBezTo>
                  <a:pt x="237" y="82"/>
                  <a:pt x="237" y="82"/>
                  <a:pt x="237" y="82"/>
                </a:cubicBezTo>
                <a:cubicBezTo>
                  <a:pt x="238" y="81"/>
                  <a:pt x="238" y="81"/>
                  <a:pt x="238" y="81"/>
                </a:cubicBezTo>
                <a:cubicBezTo>
                  <a:pt x="238" y="79"/>
                  <a:pt x="238" y="79"/>
                  <a:pt x="238" y="79"/>
                </a:cubicBezTo>
                <a:cubicBezTo>
                  <a:pt x="239" y="78"/>
                  <a:pt x="239" y="78"/>
                  <a:pt x="239" y="78"/>
                </a:cubicBezTo>
                <a:close/>
                <a:moveTo>
                  <a:pt x="249" y="86"/>
                </a:moveTo>
                <a:cubicBezTo>
                  <a:pt x="248" y="87"/>
                  <a:pt x="248" y="87"/>
                  <a:pt x="248" y="87"/>
                </a:cubicBezTo>
                <a:cubicBezTo>
                  <a:pt x="249" y="87"/>
                  <a:pt x="249" y="87"/>
                  <a:pt x="249" y="87"/>
                </a:cubicBezTo>
                <a:cubicBezTo>
                  <a:pt x="249" y="87"/>
                  <a:pt x="249" y="87"/>
                  <a:pt x="249" y="87"/>
                </a:cubicBezTo>
                <a:cubicBezTo>
                  <a:pt x="249" y="86"/>
                  <a:pt x="249" y="86"/>
                  <a:pt x="249" y="86"/>
                </a:cubicBezTo>
                <a:close/>
                <a:moveTo>
                  <a:pt x="245" y="84"/>
                </a:moveTo>
                <a:cubicBezTo>
                  <a:pt x="245" y="84"/>
                  <a:pt x="245" y="84"/>
                  <a:pt x="245" y="84"/>
                </a:cubicBezTo>
                <a:cubicBezTo>
                  <a:pt x="245" y="84"/>
                  <a:pt x="245" y="84"/>
                  <a:pt x="245" y="84"/>
                </a:cubicBezTo>
                <a:cubicBezTo>
                  <a:pt x="245" y="85"/>
                  <a:pt x="245" y="85"/>
                  <a:pt x="245" y="85"/>
                </a:cubicBezTo>
                <a:cubicBezTo>
                  <a:pt x="245" y="86"/>
                  <a:pt x="245" y="86"/>
                  <a:pt x="245" y="86"/>
                </a:cubicBezTo>
                <a:cubicBezTo>
                  <a:pt x="246" y="86"/>
                  <a:pt x="246" y="86"/>
                  <a:pt x="246" y="86"/>
                </a:cubicBezTo>
                <a:cubicBezTo>
                  <a:pt x="245" y="86"/>
                  <a:pt x="245" y="86"/>
                  <a:pt x="245" y="86"/>
                </a:cubicBezTo>
                <a:cubicBezTo>
                  <a:pt x="245" y="86"/>
                  <a:pt x="245" y="86"/>
                  <a:pt x="245" y="86"/>
                </a:cubicBezTo>
                <a:cubicBezTo>
                  <a:pt x="245" y="87"/>
                  <a:pt x="245" y="87"/>
                  <a:pt x="245" y="87"/>
                </a:cubicBezTo>
                <a:cubicBezTo>
                  <a:pt x="245" y="88"/>
                  <a:pt x="245" y="88"/>
                  <a:pt x="245" y="88"/>
                </a:cubicBezTo>
                <a:cubicBezTo>
                  <a:pt x="246" y="88"/>
                  <a:pt x="246" y="88"/>
                  <a:pt x="246" y="88"/>
                </a:cubicBezTo>
                <a:cubicBezTo>
                  <a:pt x="247" y="87"/>
                  <a:pt x="247" y="87"/>
                  <a:pt x="247" y="87"/>
                </a:cubicBezTo>
                <a:cubicBezTo>
                  <a:pt x="247" y="86"/>
                  <a:pt x="247" y="86"/>
                  <a:pt x="247" y="86"/>
                </a:cubicBezTo>
                <a:cubicBezTo>
                  <a:pt x="247" y="86"/>
                  <a:pt x="247" y="86"/>
                  <a:pt x="247" y="86"/>
                </a:cubicBezTo>
                <a:cubicBezTo>
                  <a:pt x="246" y="85"/>
                  <a:pt x="246" y="85"/>
                  <a:pt x="246" y="85"/>
                </a:cubicBezTo>
                <a:cubicBezTo>
                  <a:pt x="245" y="84"/>
                  <a:pt x="245" y="84"/>
                  <a:pt x="245" y="84"/>
                </a:cubicBezTo>
                <a:close/>
                <a:moveTo>
                  <a:pt x="247" y="84"/>
                </a:moveTo>
                <a:cubicBezTo>
                  <a:pt x="247" y="84"/>
                  <a:pt x="247" y="85"/>
                  <a:pt x="247" y="85"/>
                </a:cubicBezTo>
                <a:cubicBezTo>
                  <a:pt x="247" y="85"/>
                  <a:pt x="247" y="85"/>
                  <a:pt x="247" y="85"/>
                </a:cubicBezTo>
                <a:cubicBezTo>
                  <a:pt x="248" y="86"/>
                  <a:pt x="248" y="86"/>
                  <a:pt x="248" y="86"/>
                </a:cubicBezTo>
                <a:cubicBezTo>
                  <a:pt x="248" y="85"/>
                  <a:pt x="248" y="85"/>
                  <a:pt x="248" y="85"/>
                </a:cubicBezTo>
                <a:cubicBezTo>
                  <a:pt x="248" y="85"/>
                  <a:pt x="248" y="85"/>
                  <a:pt x="248" y="85"/>
                </a:cubicBezTo>
                <a:cubicBezTo>
                  <a:pt x="247" y="84"/>
                  <a:pt x="247" y="84"/>
                  <a:pt x="247" y="84"/>
                </a:cubicBezTo>
                <a:close/>
                <a:moveTo>
                  <a:pt x="246" y="82"/>
                </a:moveTo>
                <a:cubicBezTo>
                  <a:pt x="245" y="82"/>
                  <a:pt x="245" y="82"/>
                  <a:pt x="245" y="82"/>
                </a:cubicBezTo>
                <a:cubicBezTo>
                  <a:pt x="245" y="83"/>
                  <a:pt x="245" y="83"/>
                  <a:pt x="245" y="83"/>
                </a:cubicBezTo>
                <a:cubicBezTo>
                  <a:pt x="246" y="84"/>
                  <a:pt x="246" y="84"/>
                  <a:pt x="246" y="84"/>
                </a:cubicBezTo>
                <a:cubicBezTo>
                  <a:pt x="247" y="84"/>
                  <a:pt x="247" y="84"/>
                  <a:pt x="247" y="84"/>
                </a:cubicBezTo>
                <a:cubicBezTo>
                  <a:pt x="247" y="84"/>
                  <a:pt x="247" y="84"/>
                  <a:pt x="247" y="84"/>
                </a:cubicBezTo>
                <a:cubicBezTo>
                  <a:pt x="246" y="83"/>
                  <a:pt x="246" y="83"/>
                  <a:pt x="246" y="83"/>
                </a:cubicBezTo>
                <a:cubicBezTo>
                  <a:pt x="246" y="82"/>
                  <a:pt x="246" y="82"/>
                  <a:pt x="246" y="82"/>
                </a:cubicBezTo>
                <a:close/>
                <a:moveTo>
                  <a:pt x="248" y="82"/>
                </a:moveTo>
                <a:cubicBezTo>
                  <a:pt x="247" y="82"/>
                  <a:pt x="247" y="82"/>
                  <a:pt x="247" y="82"/>
                </a:cubicBezTo>
                <a:cubicBezTo>
                  <a:pt x="246" y="83"/>
                  <a:pt x="246" y="83"/>
                  <a:pt x="246" y="83"/>
                </a:cubicBezTo>
                <a:cubicBezTo>
                  <a:pt x="246" y="83"/>
                  <a:pt x="246" y="83"/>
                  <a:pt x="246" y="83"/>
                </a:cubicBezTo>
                <a:cubicBezTo>
                  <a:pt x="248" y="84"/>
                  <a:pt x="248" y="84"/>
                  <a:pt x="248" y="84"/>
                </a:cubicBezTo>
                <a:cubicBezTo>
                  <a:pt x="248" y="84"/>
                  <a:pt x="248" y="84"/>
                  <a:pt x="248" y="84"/>
                </a:cubicBezTo>
                <a:cubicBezTo>
                  <a:pt x="249" y="83"/>
                  <a:pt x="249" y="83"/>
                  <a:pt x="249" y="83"/>
                </a:cubicBezTo>
                <a:cubicBezTo>
                  <a:pt x="249" y="83"/>
                  <a:pt x="249" y="83"/>
                  <a:pt x="249" y="83"/>
                </a:cubicBezTo>
                <a:cubicBezTo>
                  <a:pt x="249" y="82"/>
                  <a:pt x="249" y="82"/>
                  <a:pt x="249" y="82"/>
                </a:cubicBezTo>
                <a:cubicBezTo>
                  <a:pt x="249" y="82"/>
                  <a:pt x="249" y="82"/>
                  <a:pt x="249" y="82"/>
                </a:cubicBezTo>
                <a:cubicBezTo>
                  <a:pt x="248" y="82"/>
                  <a:pt x="248" y="82"/>
                  <a:pt x="248" y="82"/>
                </a:cubicBezTo>
                <a:cubicBezTo>
                  <a:pt x="248" y="82"/>
                  <a:pt x="248" y="82"/>
                  <a:pt x="248" y="82"/>
                </a:cubicBezTo>
                <a:close/>
                <a:moveTo>
                  <a:pt x="246" y="80"/>
                </a:moveTo>
                <a:cubicBezTo>
                  <a:pt x="245" y="80"/>
                  <a:pt x="245" y="80"/>
                  <a:pt x="245" y="80"/>
                </a:cubicBezTo>
                <a:cubicBezTo>
                  <a:pt x="245" y="81"/>
                  <a:pt x="245" y="81"/>
                  <a:pt x="245" y="81"/>
                </a:cubicBezTo>
                <a:cubicBezTo>
                  <a:pt x="246" y="81"/>
                  <a:pt x="246" y="81"/>
                  <a:pt x="246" y="81"/>
                </a:cubicBezTo>
                <a:cubicBezTo>
                  <a:pt x="246" y="80"/>
                  <a:pt x="246" y="80"/>
                  <a:pt x="246" y="80"/>
                </a:cubicBezTo>
                <a:close/>
                <a:moveTo>
                  <a:pt x="248" y="78"/>
                </a:moveTo>
                <a:cubicBezTo>
                  <a:pt x="248" y="79"/>
                  <a:pt x="248" y="79"/>
                  <a:pt x="248" y="79"/>
                </a:cubicBezTo>
                <a:cubicBezTo>
                  <a:pt x="249" y="79"/>
                  <a:pt x="249" y="79"/>
                  <a:pt x="249" y="79"/>
                </a:cubicBezTo>
                <a:cubicBezTo>
                  <a:pt x="248" y="78"/>
                  <a:pt x="248" y="78"/>
                  <a:pt x="248" y="78"/>
                </a:cubicBezTo>
                <a:cubicBezTo>
                  <a:pt x="248" y="78"/>
                  <a:pt x="248" y="78"/>
                  <a:pt x="248" y="78"/>
                </a:cubicBezTo>
                <a:close/>
                <a:moveTo>
                  <a:pt x="247" y="79"/>
                </a:moveTo>
                <a:cubicBezTo>
                  <a:pt x="247" y="79"/>
                  <a:pt x="247" y="79"/>
                  <a:pt x="247" y="79"/>
                </a:cubicBezTo>
                <a:cubicBezTo>
                  <a:pt x="246" y="80"/>
                  <a:pt x="246" y="80"/>
                  <a:pt x="246" y="80"/>
                </a:cubicBezTo>
                <a:cubicBezTo>
                  <a:pt x="246" y="80"/>
                  <a:pt x="246" y="80"/>
                  <a:pt x="246" y="80"/>
                </a:cubicBezTo>
                <a:cubicBezTo>
                  <a:pt x="246" y="80"/>
                  <a:pt x="246" y="80"/>
                  <a:pt x="246" y="80"/>
                </a:cubicBezTo>
                <a:cubicBezTo>
                  <a:pt x="246" y="80"/>
                  <a:pt x="246" y="80"/>
                  <a:pt x="246" y="80"/>
                </a:cubicBezTo>
                <a:cubicBezTo>
                  <a:pt x="247" y="80"/>
                  <a:pt x="247" y="80"/>
                  <a:pt x="247" y="80"/>
                </a:cubicBezTo>
                <a:cubicBezTo>
                  <a:pt x="246" y="81"/>
                  <a:pt x="246" y="81"/>
                  <a:pt x="246" y="81"/>
                </a:cubicBezTo>
                <a:cubicBezTo>
                  <a:pt x="246" y="82"/>
                  <a:pt x="246" y="82"/>
                  <a:pt x="246" y="82"/>
                </a:cubicBezTo>
                <a:cubicBezTo>
                  <a:pt x="247" y="82"/>
                  <a:pt x="247" y="82"/>
                  <a:pt x="247" y="82"/>
                </a:cubicBezTo>
                <a:cubicBezTo>
                  <a:pt x="248" y="81"/>
                  <a:pt x="248" y="81"/>
                  <a:pt x="248" y="81"/>
                </a:cubicBezTo>
                <a:cubicBezTo>
                  <a:pt x="248" y="81"/>
                  <a:pt x="248" y="81"/>
                  <a:pt x="248" y="81"/>
                </a:cubicBezTo>
                <a:cubicBezTo>
                  <a:pt x="249" y="80"/>
                  <a:pt x="249" y="80"/>
                  <a:pt x="249" y="80"/>
                </a:cubicBezTo>
                <a:cubicBezTo>
                  <a:pt x="249" y="79"/>
                  <a:pt x="249" y="79"/>
                  <a:pt x="249" y="79"/>
                </a:cubicBezTo>
                <a:cubicBezTo>
                  <a:pt x="248" y="79"/>
                  <a:pt x="248" y="79"/>
                  <a:pt x="248" y="79"/>
                </a:cubicBezTo>
                <a:cubicBezTo>
                  <a:pt x="247" y="79"/>
                  <a:pt x="247" y="79"/>
                  <a:pt x="247" y="79"/>
                </a:cubicBezTo>
                <a:close/>
                <a:moveTo>
                  <a:pt x="231" y="89"/>
                </a:moveTo>
                <a:cubicBezTo>
                  <a:pt x="232" y="88"/>
                  <a:pt x="232" y="88"/>
                  <a:pt x="232" y="88"/>
                </a:cubicBezTo>
                <a:cubicBezTo>
                  <a:pt x="231" y="88"/>
                  <a:pt x="231" y="88"/>
                  <a:pt x="231" y="88"/>
                </a:cubicBezTo>
                <a:cubicBezTo>
                  <a:pt x="231" y="89"/>
                  <a:pt x="231" y="89"/>
                  <a:pt x="231" y="89"/>
                </a:cubicBezTo>
                <a:close/>
                <a:moveTo>
                  <a:pt x="230" y="89"/>
                </a:moveTo>
                <a:cubicBezTo>
                  <a:pt x="231" y="90"/>
                  <a:pt x="231" y="90"/>
                  <a:pt x="231" y="90"/>
                </a:cubicBezTo>
                <a:cubicBezTo>
                  <a:pt x="231" y="89"/>
                  <a:pt x="231" y="89"/>
                  <a:pt x="231" y="89"/>
                </a:cubicBezTo>
                <a:cubicBezTo>
                  <a:pt x="230" y="89"/>
                  <a:pt x="230" y="89"/>
                  <a:pt x="230" y="89"/>
                </a:cubicBezTo>
                <a:close/>
                <a:moveTo>
                  <a:pt x="224" y="92"/>
                </a:moveTo>
                <a:cubicBezTo>
                  <a:pt x="224" y="92"/>
                  <a:pt x="224" y="92"/>
                  <a:pt x="224" y="92"/>
                </a:cubicBezTo>
                <a:cubicBezTo>
                  <a:pt x="224" y="92"/>
                  <a:pt x="224" y="92"/>
                  <a:pt x="224" y="92"/>
                </a:cubicBezTo>
                <a:cubicBezTo>
                  <a:pt x="224" y="92"/>
                  <a:pt x="224" y="92"/>
                  <a:pt x="224" y="92"/>
                </a:cubicBezTo>
                <a:close/>
                <a:moveTo>
                  <a:pt x="226" y="91"/>
                </a:moveTo>
                <a:cubicBezTo>
                  <a:pt x="224" y="91"/>
                  <a:pt x="224" y="91"/>
                  <a:pt x="224" y="91"/>
                </a:cubicBezTo>
                <a:cubicBezTo>
                  <a:pt x="225" y="92"/>
                  <a:pt x="225" y="92"/>
                  <a:pt x="225" y="92"/>
                </a:cubicBezTo>
                <a:cubicBezTo>
                  <a:pt x="226" y="91"/>
                  <a:pt x="226" y="91"/>
                  <a:pt x="226" y="91"/>
                </a:cubicBezTo>
                <a:cubicBezTo>
                  <a:pt x="226" y="91"/>
                  <a:pt x="226" y="91"/>
                  <a:pt x="226" y="91"/>
                </a:cubicBezTo>
                <a:close/>
                <a:moveTo>
                  <a:pt x="226" y="96"/>
                </a:moveTo>
                <a:cubicBezTo>
                  <a:pt x="225" y="96"/>
                  <a:pt x="225" y="96"/>
                  <a:pt x="225" y="96"/>
                </a:cubicBezTo>
                <a:cubicBezTo>
                  <a:pt x="224" y="96"/>
                  <a:pt x="224" y="96"/>
                  <a:pt x="224" y="96"/>
                </a:cubicBezTo>
                <a:cubicBezTo>
                  <a:pt x="224" y="97"/>
                  <a:pt x="224" y="97"/>
                  <a:pt x="224" y="97"/>
                </a:cubicBezTo>
                <a:cubicBezTo>
                  <a:pt x="225" y="97"/>
                  <a:pt x="225" y="97"/>
                  <a:pt x="225" y="97"/>
                </a:cubicBezTo>
                <a:cubicBezTo>
                  <a:pt x="226" y="96"/>
                  <a:pt x="226" y="96"/>
                  <a:pt x="226" y="96"/>
                </a:cubicBezTo>
                <a:cubicBezTo>
                  <a:pt x="226" y="96"/>
                  <a:pt x="226" y="96"/>
                  <a:pt x="226" y="96"/>
                </a:cubicBezTo>
                <a:close/>
                <a:moveTo>
                  <a:pt x="228" y="90"/>
                </a:moveTo>
                <a:cubicBezTo>
                  <a:pt x="226" y="92"/>
                  <a:pt x="226" y="92"/>
                  <a:pt x="226" y="92"/>
                </a:cubicBezTo>
                <a:cubicBezTo>
                  <a:pt x="226" y="93"/>
                  <a:pt x="226" y="93"/>
                  <a:pt x="226" y="93"/>
                </a:cubicBezTo>
                <a:cubicBezTo>
                  <a:pt x="226" y="93"/>
                  <a:pt x="226" y="93"/>
                  <a:pt x="226" y="93"/>
                </a:cubicBezTo>
                <a:cubicBezTo>
                  <a:pt x="226" y="94"/>
                  <a:pt x="226" y="94"/>
                  <a:pt x="226" y="94"/>
                </a:cubicBezTo>
                <a:cubicBezTo>
                  <a:pt x="226" y="95"/>
                  <a:pt x="226" y="95"/>
                  <a:pt x="226" y="95"/>
                </a:cubicBezTo>
                <a:cubicBezTo>
                  <a:pt x="227" y="95"/>
                  <a:pt x="227" y="95"/>
                  <a:pt x="227" y="95"/>
                </a:cubicBezTo>
                <a:cubicBezTo>
                  <a:pt x="227" y="95"/>
                  <a:pt x="227" y="95"/>
                  <a:pt x="227" y="95"/>
                </a:cubicBezTo>
                <a:cubicBezTo>
                  <a:pt x="229" y="93"/>
                  <a:pt x="229" y="93"/>
                  <a:pt x="229" y="93"/>
                </a:cubicBezTo>
                <a:cubicBezTo>
                  <a:pt x="229" y="92"/>
                  <a:pt x="229" y="92"/>
                  <a:pt x="229" y="92"/>
                </a:cubicBezTo>
                <a:cubicBezTo>
                  <a:pt x="229" y="91"/>
                  <a:pt x="229" y="91"/>
                  <a:pt x="229" y="91"/>
                </a:cubicBezTo>
                <a:cubicBezTo>
                  <a:pt x="229" y="90"/>
                  <a:pt x="229" y="90"/>
                  <a:pt x="229" y="90"/>
                </a:cubicBezTo>
                <a:cubicBezTo>
                  <a:pt x="229" y="90"/>
                  <a:pt x="229" y="90"/>
                  <a:pt x="229" y="90"/>
                </a:cubicBezTo>
                <a:cubicBezTo>
                  <a:pt x="229" y="90"/>
                  <a:pt x="229" y="90"/>
                  <a:pt x="229" y="90"/>
                </a:cubicBezTo>
                <a:cubicBezTo>
                  <a:pt x="228" y="90"/>
                  <a:pt x="228" y="90"/>
                  <a:pt x="228" y="90"/>
                </a:cubicBezTo>
                <a:cubicBezTo>
                  <a:pt x="228" y="90"/>
                  <a:pt x="228" y="90"/>
                  <a:pt x="228" y="90"/>
                </a:cubicBezTo>
                <a:close/>
                <a:moveTo>
                  <a:pt x="219" y="84"/>
                </a:moveTo>
                <a:cubicBezTo>
                  <a:pt x="219" y="84"/>
                  <a:pt x="219" y="84"/>
                  <a:pt x="219" y="84"/>
                </a:cubicBezTo>
                <a:cubicBezTo>
                  <a:pt x="219" y="83"/>
                  <a:pt x="219" y="83"/>
                  <a:pt x="219" y="83"/>
                </a:cubicBezTo>
                <a:cubicBezTo>
                  <a:pt x="219" y="84"/>
                  <a:pt x="219" y="84"/>
                  <a:pt x="219" y="84"/>
                </a:cubicBezTo>
                <a:close/>
                <a:moveTo>
                  <a:pt x="216" y="86"/>
                </a:moveTo>
                <a:cubicBezTo>
                  <a:pt x="215" y="87"/>
                  <a:pt x="215" y="87"/>
                  <a:pt x="215" y="87"/>
                </a:cubicBezTo>
                <a:cubicBezTo>
                  <a:pt x="216" y="87"/>
                  <a:pt x="216" y="87"/>
                  <a:pt x="216" y="87"/>
                </a:cubicBezTo>
                <a:cubicBezTo>
                  <a:pt x="216" y="86"/>
                  <a:pt x="216" y="86"/>
                  <a:pt x="216" y="86"/>
                </a:cubicBezTo>
                <a:close/>
                <a:moveTo>
                  <a:pt x="218" y="96"/>
                </a:moveTo>
                <a:cubicBezTo>
                  <a:pt x="217" y="96"/>
                  <a:pt x="217" y="96"/>
                  <a:pt x="217" y="96"/>
                </a:cubicBezTo>
                <a:cubicBezTo>
                  <a:pt x="217" y="96"/>
                  <a:pt x="217" y="96"/>
                  <a:pt x="217" y="96"/>
                </a:cubicBezTo>
                <a:cubicBezTo>
                  <a:pt x="218" y="96"/>
                  <a:pt x="218" y="96"/>
                  <a:pt x="218" y="96"/>
                </a:cubicBezTo>
                <a:close/>
                <a:moveTo>
                  <a:pt x="216" y="94"/>
                </a:moveTo>
                <a:cubicBezTo>
                  <a:pt x="217" y="93"/>
                  <a:pt x="217" y="93"/>
                  <a:pt x="217" y="93"/>
                </a:cubicBezTo>
                <a:cubicBezTo>
                  <a:pt x="217" y="94"/>
                  <a:pt x="217" y="94"/>
                  <a:pt x="217" y="94"/>
                </a:cubicBezTo>
                <a:cubicBezTo>
                  <a:pt x="218" y="95"/>
                  <a:pt x="218" y="95"/>
                  <a:pt x="218" y="95"/>
                </a:cubicBezTo>
                <a:cubicBezTo>
                  <a:pt x="217" y="95"/>
                  <a:pt x="217" y="95"/>
                  <a:pt x="217" y="95"/>
                </a:cubicBezTo>
                <a:cubicBezTo>
                  <a:pt x="216" y="95"/>
                  <a:pt x="216" y="95"/>
                  <a:pt x="216" y="95"/>
                </a:cubicBezTo>
                <a:cubicBezTo>
                  <a:pt x="216" y="94"/>
                  <a:pt x="216" y="94"/>
                  <a:pt x="216" y="94"/>
                </a:cubicBezTo>
                <a:close/>
                <a:moveTo>
                  <a:pt x="209" y="90"/>
                </a:moveTo>
                <a:cubicBezTo>
                  <a:pt x="210" y="89"/>
                  <a:pt x="210" y="89"/>
                  <a:pt x="210" y="89"/>
                </a:cubicBezTo>
                <a:cubicBezTo>
                  <a:pt x="210" y="90"/>
                  <a:pt x="210" y="90"/>
                  <a:pt x="210" y="90"/>
                </a:cubicBezTo>
                <a:cubicBezTo>
                  <a:pt x="210" y="90"/>
                  <a:pt x="210" y="90"/>
                  <a:pt x="210" y="90"/>
                </a:cubicBezTo>
                <a:cubicBezTo>
                  <a:pt x="209" y="90"/>
                  <a:pt x="209" y="90"/>
                  <a:pt x="209" y="90"/>
                </a:cubicBezTo>
                <a:cubicBezTo>
                  <a:pt x="209" y="90"/>
                  <a:pt x="209" y="90"/>
                  <a:pt x="209" y="90"/>
                </a:cubicBezTo>
                <a:close/>
                <a:moveTo>
                  <a:pt x="211" y="97"/>
                </a:moveTo>
                <a:cubicBezTo>
                  <a:pt x="212" y="97"/>
                  <a:pt x="212" y="97"/>
                  <a:pt x="212" y="97"/>
                </a:cubicBezTo>
                <a:cubicBezTo>
                  <a:pt x="212" y="97"/>
                  <a:pt x="212" y="97"/>
                  <a:pt x="212" y="97"/>
                </a:cubicBezTo>
                <a:cubicBezTo>
                  <a:pt x="211" y="97"/>
                  <a:pt x="211" y="97"/>
                  <a:pt x="211" y="97"/>
                </a:cubicBezTo>
                <a:cubicBezTo>
                  <a:pt x="211" y="97"/>
                  <a:pt x="211" y="97"/>
                  <a:pt x="211" y="97"/>
                </a:cubicBezTo>
                <a:close/>
                <a:moveTo>
                  <a:pt x="201" y="93"/>
                </a:moveTo>
                <a:cubicBezTo>
                  <a:pt x="202" y="92"/>
                  <a:pt x="202" y="92"/>
                  <a:pt x="202" y="92"/>
                </a:cubicBezTo>
                <a:cubicBezTo>
                  <a:pt x="201" y="91"/>
                  <a:pt x="201" y="91"/>
                  <a:pt x="201" y="91"/>
                </a:cubicBezTo>
                <a:cubicBezTo>
                  <a:pt x="201" y="92"/>
                  <a:pt x="201" y="92"/>
                  <a:pt x="201" y="92"/>
                </a:cubicBezTo>
                <a:cubicBezTo>
                  <a:pt x="201" y="93"/>
                  <a:pt x="201" y="93"/>
                  <a:pt x="201" y="93"/>
                </a:cubicBezTo>
                <a:close/>
                <a:moveTo>
                  <a:pt x="204" y="96"/>
                </a:moveTo>
                <a:cubicBezTo>
                  <a:pt x="206" y="96"/>
                  <a:pt x="206" y="96"/>
                  <a:pt x="206" y="96"/>
                </a:cubicBezTo>
                <a:cubicBezTo>
                  <a:pt x="207" y="96"/>
                  <a:pt x="207" y="96"/>
                  <a:pt x="207" y="96"/>
                </a:cubicBezTo>
                <a:cubicBezTo>
                  <a:pt x="207" y="97"/>
                  <a:pt x="207" y="97"/>
                  <a:pt x="207" y="97"/>
                </a:cubicBezTo>
                <a:cubicBezTo>
                  <a:pt x="206" y="97"/>
                  <a:pt x="206" y="97"/>
                  <a:pt x="206" y="97"/>
                </a:cubicBezTo>
                <a:cubicBezTo>
                  <a:pt x="204" y="97"/>
                  <a:pt x="204" y="97"/>
                  <a:pt x="204" y="97"/>
                </a:cubicBezTo>
                <a:cubicBezTo>
                  <a:pt x="204" y="96"/>
                  <a:pt x="204" y="96"/>
                  <a:pt x="204" y="96"/>
                </a:cubicBezTo>
                <a:close/>
                <a:moveTo>
                  <a:pt x="202" y="97"/>
                </a:moveTo>
                <a:cubicBezTo>
                  <a:pt x="203" y="96"/>
                  <a:pt x="203" y="96"/>
                  <a:pt x="203" y="96"/>
                </a:cubicBezTo>
                <a:cubicBezTo>
                  <a:pt x="203" y="97"/>
                  <a:pt x="203" y="97"/>
                  <a:pt x="203" y="97"/>
                </a:cubicBezTo>
                <a:cubicBezTo>
                  <a:pt x="202" y="97"/>
                  <a:pt x="202" y="97"/>
                  <a:pt x="202" y="97"/>
                </a:cubicBezTo>
                <a:close/>
                <a:moveTo>
                  <a:pt x="200" y="96"/>
                </a:moveTo>
                <a:cubicBezTo>
                  <a:pt x="200" y="96"/>
                  <a:pt x="200" y="96"/>
                  <a:pt x="200" y="96"/>
                </a:cubicBezTo>
                <a:cubicBezTo>
                  <a:pt x="201" y="96"/>
                  <a:pt x="201" y="96"/>
                  <a:pt x="201" y="96"/>
                </a:cubicBezTo>
                <a:cubicBezTo>
                  <a:pt x="200" y="97"/>
                  <a:pt x="200" y="97"/>
                  <a:pt x="200" y="97"/>
                </a:cubicBezTo>
                <a:cubicBezTo>
                  <a:pt x="200" y="96"/>
                  <a:pt x="200" y="96"/>
                  <a:pt x="200" y="96"/>
                </a:cubicBezTo>
                <a:close/>
                <a:moveTo>
                  <a:pt x="176" y="109"/>
                </a:moveTo>
                <a:cubicBezTo>
                  <a:pt x="176" y="111"/>
                  <a:pt x="176" y="111"/>
                  <a:pt x="176" y="111"/>
                </a:cubicBezTo>
                <a:cubicBezTo>
                  <a:pt x="176" y="111"/>
                  <a:pt x="176" y="111"/>
                  <a:pt x="176" y="111"/>
                </a:cubicBezTo>
                <a:cubicBezTo>
                  <a:pt x="178" y="111"/>
                  <a:pt x="178" y="111"/>
                  <a:pt x="178" y="111"/>
                </a:cubicBezTo>
                <a:cubicBezTo>
                  <a:pt x="180" y="110"/>
                  <a:pt x="180" y="110"/>
                  <a:pt x="180" y="110"/>
                </a:cubicBezTo>
                <a:cubicBezTo>
                  <a:pt x="181" y="110"/>
                  <a:pt x="181" y="110"/>
                  <a:pt x="181" y="110"/>
                </a:cubicBezTo>
                <a:cubicBezTo>
                  <a:pt x="182" y="110"/>
                  <a:pt x="182" y="110"/>
                  <a:pt x="182" y="110"/>
                </a:cubicBezTo>
                <a:cubicBezTo>
                  <a:pt x="184" y="109"/>
                  <a:pt x="184" y="109"/>
                  <a:pt x="184" y="109"/>
                </a:cubicBezTo>
                <a:cubicBezTo>
                  <a:pt x="184" y="108"/>
                  <a:pt x="184" y="108"/>
                  <a:pt x="184" y="108"/>
                </a:cubicBezTo>
                <a:cubicBezTo>
                  <a:pt x="187" y="106"/>
                  <a:pt x="187" y="106"/>
                  <a:pt x="187" y="106"/>
                </a:cubicBezTo>
                <a:cubicBezTo>
                  <a:pt x="187" y="105"/>
                  <a:pt x="187" y="105"/>
                  <a:pt x="187" y="105"/>
                </a:cubicBezTo>
                <a:cubicBezTo>
                  <a:pt x="188" y="105"/>
                  <a:pt x="188" y="105"/>
                  <a:pt x="188" y="105"/>
                </a:cubicBezTo>
                <a:cubicBezTo>
                  <a:pt x="186" y="104"/>
                  <a:pt x="186" y="104"/>
                  <a:pt x="186" y="104"/>
                </a:cubicBezTo>
                <a:cubicBezTo>
                  <a:pt x="185" y="102"/>
                  <a:pt x="185" y="102"/>
                  <a:pt x="185" y="102"/>
                </a:cubicBezTo>
                <a:cubicBezTo>
                  <a:pt x="185" y="102"/>
                  <a:pt x="185" y="102"/>
                  <a:pt x="185" y="102"/>
                </a:cubicBezTo>
                <a:cubicBezTo>
                  <a:pt x="183" y="103"/>
                  <a:pt x="183" y="103"/>
                  <a:pt x="183" y="103"/>
                </a:cubicBezTo>
                <a:cubicBezTo>
                  <a:pt x="183" y="104"/>
                  <a:pt x="183" y="104"/>
                  <a:pt x="183" y="104"/>
                </a:cubicBezTo>
                <a:cubicBezTo>
                  <a:pt x="182" y="104"/>
                  <a:pt x="182" y="104"/>
                  <a:pt x="182" y="104"/>
                </a:cubicBezTo>
                <a:cubicBezTo>
                  <a:pt x="181" y="105"/>
                  <a:pt x="181" y="105"/>
                  <a:pt x="181" y="105"/>
                </a:cubicBezTo>
                <a:cubicBezTo>
                  <a:pt x="180" y="104"/>
                  <a:pt x="180" y="104"/>
                  <a:pt x="180" y="104"/>
                </a:cubicBezTo>
                <a:cubicBezTo>
                  <a:pt x="180" y="104"/>
                  <a:pt x="180" y="104"/>
                  <a:pt x="180" y="104"/>
                </a:cubicBezTo>
                <a:cubicBezTo>
                  <a:pt x="178" y="105"/>
                  <a:pt x="178" y="105"/>
                  <a:pt x="178" y="105"/>
                </a:cubicBezTo>
                <a:cubicBezTo>
                  <a:pt x="178" y="106"/>
                  <a:pt x="178" y="106"/>
                  <a:pt x="178" y="106"/>
                </a:cubicBezTo>
                <a:cubicBezTo>
                  <a:pt x="177" y="108"/>
                  <a:pt x="177" y="108"/>
                  <a:pt x="177" y="108"/>
                </a:cubicBezTo>
                <a:cubicBezTo>
                  <a:pt x="177" y="109"/>
                  <a:pt x="177" y="109"/>
                  <a:pt x="177" y="109"/>
                </a:cubicBezTo>
                <a:cubicBezTo>
                  <a:pt x="177" y="109"/>
                  <a:pt x="177" y="109"/>
                  <a:pt x="177" y="109"/>
                </a:cubicBezTo>
                <a:cubicBezTo>
                  <a:pt x="177" y="110"/>
                  <a:pt x="177" y="110"/>
                  <a:pt x="177" y="110"/>
                </a:cubicBezTo>
                <a:cubicBezTo>
                  <a:pt x="177" y="110"/>
                  <a:pt x="177" y="110"/>
                  <a:pt x="177" y="110"/>
                </a:cubicBezTo>
                <a:cubicBezTo>
                  <a:pt x="176" y="109"/>
                  <a:pt x="176" y="109"/>
                  <a:pt x="176" y="109"/>
                </a:cubicBezTo>
                <a:close/>
                <a:moveTo>
                  <a:pt x="175" y="111"/>
                </a:moveTo>
                <a:cubicBezTo>
                  <a:pt x="175" y="110"/>
                  <a:pt x="175" y="110"/>
                  <a:pt x="175" y="110"/>
                </a:cubicBezTo>
                <a:cubicBezTo>
                  <a:pt x="175" y="110"/>
                  <a:pt x="175" y="110"/>
                  <a:pt x="175" y="110"/>
                </a:cubicBezTo>
                <a:cubicBezTo>
                  <a:pt x="174" y="111"/>
                  <a:pt x="174" y="111"/>
                  <a:pt x="174" y="111"/>
                </a:cubicBezTo>
                <a:cubicBezTo>
                  <a:pt x="175" y="111"/>
                  <a:pt x="175" y="111"/>
                  <a:pt x="175" y="111"/>
                </a:cubicBezTo>
                <a:close/>
                <a:moveTo>
                  <a:pt x="175" y="112"/>
                </a:moveTo>
                <a:cubicBezTo>
                  <a:pt x="174" y="112"/>
                  <a:pt x="174" y="112"/>
                  <a:pt x="174" y="112"/>
                </a:cubicBezTo>
                <a:cubicBezTo>
                  <a:pt x="174" y="113"/>
                  <a:pt x="174" y="113"/>
                  <a:pt x="174" y="113"/>
                </a:cubicBezTo>
                <a:cubicBezTo>
                  <a:pt x="172" y="113"/>
                  <a:pt x="172" y="113"/>
                  <a:pt x="172" y="113"/>
                </a:cubicBezTo>
                <a:cubicBezTo>
                  <a:pt x="171" y="114"/>
                  <a:pt x="171" y="114"/>
                  <a:pt x="171" y="114"/>
                </a:cubicBezTo>
                <a:cubicBezTo>
                  <a:pt x="172" y="115"/>
                  <a:pt x="172" y="115"/>
                  <a:pt x="172" y="115"/>
                </a:cubicBezTo>
                <a:cubicBezTo>
                  <a:pt x="175" y="113"/>
                  <a:pt x="175" y="113"/>
                  <a:pt x="175" y="113"/>
                </a:cubicBezTo>
                <a:cubicBezTo>
                  <a:pt x="175" y="112"/>
                  <a:pt x="175" y="112"/>
                  <a:pt x="175" y="112"/>
                </a:cubicBezTo>
                <a:cubicBezTo>
                  <a:pt x="175" y="112"/>
                  <a:pt x="175" y="112"/>
                  <a:pt x="175" y="112"/>
                </a:cubicBezTo>
                <a:close/>
                <a:moveTo>
                  <a:pt x="166" y="111"/>
                </a:moveTo>
                <a:cubicBezTo>
                  <a:pt x="166" y="112"/>
                  <a:pt x="166" y="112"/>
                  <a:pt x="166" y="112"/>
                </a:cubicBezTo>
                <a:cubicBezTo>
                  <a:pt x="167" y="113"/>
                  <a:pt x="167" y="113"/>
                  <a:pt x="167" y="113"/>
                </a:cubicBezTo>
                <a:cubicBezTo>
                  <a:pt x="166" y="113"/>
                  <a:pt x="166" y="113"/>
                  <a:pt x="166" y="113"/>
                </a:cubicBezTo>
                <a:cubicBezTo>
                  <a:pt x="165" y="113"/>
                  <a:pt x="165" y="113"/>
                  <a:pt x="165" y="113"/>
                </a:cubicBezTo>
                <a:cubicBezTo>
                  <a:pt x="165" y="112"/>
                  <a:pt x="165" y="112"/>
                  <a:pt x="165" y="112"/>
                </a:cubicBezTo>
                <a:cubicBezTo>
                  <a:pt x="166" y="111"/>
                  <a:pt x="166" y="111"/>
                  <a:pt x="166" y="111"/>
                </a:cubicBezTo>
                <a:close/>
                <a:moveTo>
                  <a:pt x="148" y="105"/>
                </a:moveTo>
                <a:cubicBezTo>
                  <a:pt x="150" y="103"/>
                  <a:pt x="150" y="103"/>
                  <a:pt x="150" y="103"/>
                </a:cubicBezTo>
                <a:cubicBezTo>
                  <a:pt x="152" y="105"/>
                  <a:pt x="152" y="105"/>
                  <a:pt x="152" y="105"/>
                </a:cubicBezTo>
                <a:cubicBezTo>
                  <a:pt x="153" y="105"/>
                  <a:pt x="153" y="105"/>
                  <a:pt x="153" y="105"/>
                </a:cubicBezTo>
                <a:cubicBezTo>
                  <a:pt x="154" y="104"/>
                  <a:pt x="154" y="104"/>
                  <a:pt x="154" y="104"/>
                </a:cubicBezTo>
                <a:cubicBezTo>
                  <a:pt x="156" y="105"/>
                  <a:pt x="156" y="105"/>
                  <a:pt x="156" y="105"/>
                </a:cubicBezTo>
                <a:cubicBezTo>
                  <a:pt x="156" y="106"/>
                  <a:pt x="156" y="106"/>
                  <a:pt x="156" y="106"/>
                </a:cubicBezTo>
                <a:cubicBezTo>
                  <a:pt x="157" y="106"/>
                  <a:pt x="157" y="106"/>
                  <a:pt x="157" y="106"/>
                </a:cubicBezTo>
                <a:cubicBezTo>
                  <a:pt x="158" y="108"/>
                  <a:pt x="158" y="108"/>
                  <a:pt x="158" y="108"/>
                </a:cubicBezTo>
                <a:cubicBezTo>
                  <a:pt x="159" y="108"/>
                  <a:pt x="159" y="108"/>
                  <a:pt x="159" y="108"/>
                </a:cubicBezTo>
                <a:cubicBezTo>
                  <a:pt x="159" y="109"/>
                  <a:pt x="159" y="109"/>
                  <a:pt x="159" y="109"/>
                </a:cubicBezTo>
                <a:cubicBezTo>
                  <a:pt x="158" y="110"/>
                  <a:pt x="158" y="110"/>
                  <a:pt x="158" y="110"/>
                </a:cubicBezTo>
                <a:cubicBezTo>
                  <a:pt x="156" y="110"/>
                  <a:pt x="156" y="110"/>
                  <a:pt x="156" y="110"/>
                </a:cubicBezTo>
                <a:cubicBezTo>
                  <a:pt x="155" y="110"/>
                  <a:pt x="155" y="110"/>
                  <a:pt x="155" y="110"/>
                </a:cubicBezTo>
                <a:cubicBezTo>
                  <a:pt x="154" y="108"/>
                  <a:pt x="154" y="108"/>
                  <a:pt x="154" y="108"/>
                </a:cubicBezTo>
                <a:cubicBezTo>
                  <a:pt x="153" y="108"/>
                  <a:pt x="153" y="108"/>
                  <a:pt x="153" y="108"/>
                </a:cubicBezTo>
                <a:cubicBezTo>
                  <a:pt x="152" y="107"/>
                  <a:pt x="152" y="107"/>
                  <a:pt x="152" y="107"/>
                </a:cubicBezTo>
                <a:cubicBezTo>
                  <a:pt x="150" y="107"/>
                  <a:pt x="150" y="107"/>
                  <a:pt x="150" y="107"/>
                </a:cubicBezTo>
                <a:cubicBezTo>
                  <a:pt x="148" y="107"/>
                  <a:pt x="148" y="107"/>
                  <a:pt x="148" y="107"/>
                </a:cubicBezTo>
                <a:cubicBezTo>
                  <a:pt x="147" y="106"/>
                  <a:pt x="147" y="106"/>
                  <a:pt x="147" y="106"/>
                </a:cubicBezTo>
                <a:cubicBezTo>
                  <a:pt x="148" y="105"/>
                  <a:pt x="148" y="105"/>
                  <a:pt x="148" y="105"/>
                </a:cubicBezTo>
                <a:close/>
                <a:moveTo>
                  <a:pt x="128" y="90"/>
                </a:moveTo>
                <a:cubicBezTo>
                  <a:pt x="129" y="90"/>
                  <a:pt x="129" y="90"/>
                  <a:pt x="129" y="90"/>
                </a:cubicBezTo>
                <a:cubicBezTo>
                  <a:pt x="129" y="90"/>
                  <a:pt x="129" y="90"/>
                  <a:pt x="129" y="90"/>
                </a:cubicBezTo>
                <a:cubicBezTo>
                  <a:pt x="129" y="91"/>
                  <a:pt x="129" y="91"/>
                  <a:pt x="129" y="91"/>
                </a:cubicBezTo>
                <a:cubicBezTo>
                  <a:pt x="128" y="91"/>
                  <a:pt x="128" y="91"/>
                  <a:pt x="128" y="91"/>
                </a:cubicBezTo>
                <a:cubicBezTo>
                  <a:pt x="128" y="90"/>
                  <a:pt x="128" y="90"/>
                  <a:pt x="128" y="90"/>
                </a:cubicBezTo>
                <a:close/>
                <a:moveTo>
                  <a:pt x="124" y="88"/>
                </a:moveTo>
                <a:cubicBezTo>
                  <a:pt x="125" y="89"/>
                  <a:pt x="125" y="89"/>
                  <a:pt x="125" y="89"/>
                </a:cubicBezTo>
                <a:cubicBezTo>
                  <a:pt x="126" y="88"/>
                  <a:pt x="126" y="88"/>
                  <a:pt x="126" y="88"/>
                </a:cubicBezTo>
                <a:cubicBezTo>
                  <a:pt x="127" y="89"/>
                  <a:pt x="127" y="89"/>
                  <a:pt x="127" y="89"/>
                </a:cubicBezTo>
                <a:cubicBezTo>
                  <a:pt x="127" y="89"/>
                  <a:pt x="127" y="89"/>
                  <a:pt x="127" y="89"/>
                </a:cubicBezTo>
                <a:cubicBezTo>
                  <a:pt x="127" y="88"/>
                  <a:pt x="127" y="88"/>
                  <a:pt x="127" y="88"/>
                </a:cubicBezTo>
                <a:cubicBezTo>
                  <a:pt x="126" y="88"/>
                  <a:pt x="126" y="88"/>
                  <a:pt x="126" y="88"/>
                </a:cubicBezTo>
                <a:cubicBezTo>
                  <a:pt x="125" y="88"/>
                  <a:pt x="125" y="88"/>
                  <a:pt x="125" y="88"/>
                </a:cubicBezTo>
                <a:cubicBezTo>
                  <a:pt x="124" y="88"/>
                  <a:pt x="124" y="88"/>
                  <a:pt x="124" y="88"/>
                </a:cubicBezTo>
                <a:cubicBezTo>
                  <a:pt x="124" y="88"/>
                  <a:pt x="124" y="88"/>
                  <a:pt x="124" y="88"/>
                </a:cubicBezTo>
                <a:close/>
                <a:moveTo>
                  <a:pt x="192" y="95"/>
                </a:moveTo>
                <a:cubicBezTo>
                  <a:pt x="193" y="94"/>
                  <a:pt x="193" y="94"/>
                  <a:pt x="193" y="94"/>
                </a:cubicBezTo>
                <a:cubicBezTo>
                  <a:pt x="195" y="94"/>
                  <a:pt x="195" y="94"/>
                  <a:pt x="195" y="94"/>
                </a:cubicBezTo>
                <a:cubicBezTo>
                  <a:pt x="196" y="95"/>
                  <a:pt x="196" y="95"/>
                  <a:pt x="196" y="95"/>
                </a:cubicBezTo>
                <a:cubicBezTo>
                  <a:pt x="196" y="94"/>
                  <a:pt x="196" y="94"/>
                  <a:pt x="196" y="94"/>
                </a:cubicBezTo>
                <a:cubicBezTo>
                  <a:pt x="197" y="94"/>
                  <a:pt x="197" y="94"/>
                  <a:pt x="197" y="94"/>
                </a:cubicBezTo>
                <a:cubicBezTo>
                  <a:pt x="198" y="93"/>
                  <a:pt x="198" y="93"/>
                  <a:pt x="198" y="93"/>
                </a:cubicBezTo>
                <a:cubicBezTo>
                  <a:pt x="198" y="93"/>
                  <a:pt x="198" y="93"/>
                  <a:pt x="198" y="93"/>
                </a:cubicBezTo>
                <a:cubicBezTo>
                  <a:pt x="197" y="92"/>
                  <a:pt x="197" y="92"/>
                  <a:pt x="197" y="92"/>
                </a:cubicBezTo>
                <a:cubicBezTo>
                  <a:pt x="196" y="93"/>
                  <a:pt x="196" y="93"/>
                  <a:pt x="196" y="93"/>
                </a:cubicBezTo>
                <a:cubicBezTo>
                  <a:pt x="194" y="93"/>
                  <a:pt x="194" y="93"/>
                  <a:pt x="194" y="93"/>
                </a:cubicBezTo>
                <a:cubicBezTo>
                  <a:pt x="193" y="92"/>
                  <a:pt x="193" y="92"/>
                  <a:pt x="193" y="92"/>
                </a:cubicBezTo>
                <a:cubicBezTo>
                  <a:pt x="192" y="93"/>
                  <a:pt x="192" y="93"/>
                  <a:pt x="192" y="93"/>
                </a:cubicBezTo>
                <a:cubicBezTo>
                  <a:pt x="192" y="94"/>
                  <a:pt x="192" y="94"/>
                  <a:pt x="192" y="94"/>
                </a:cubicBezTo>
                <a:cubicBezTo>
                  <a:pt x="192" y="95"/>
                  <a:pt x="192" y="95"/>
                  <a:pt x="192" y="95"/>
                </a:cubicBezTo>
                <a:close/>
                <a:moveTo>
                  <a:pt x="190" y="97"/>
                </a:moveTo>
                <a:cubicBezTo>
                  <a:pt x="190" y="97"/>
                  <a:pt x="190" y="97"/>
                  <a:pt x="190" y="97"/>
                </a:cubicBezTo>
                <a:cubicBezTo>
                  <a:pt x="190" y="97"/>
                  <a:pt x="190" y="97"/>
                  <a:pt x="190" y="97"/>
                </a:cubicBezTo>
                <a:cubicBezTo>
                  <a:pt x="190" y="97"/>
                  <a:pt x="190" y="97"/>
                  <a:pt x="190" y="97"/>
                </a:cubicBezTo>
                <a:cubicBezTo>
                  <a:pt x="190" y="97"/>
                  <a:pt x="190" y="97"/>
                  <a:pt x="190" y="97"/>
                </a:cubicBezTo>
                <a:close/>
                <a:moveTo>
                  <a:pt x="184" y="96"/>
                </a:moveTo>
                <a:cubicBezTo>
                  <a:pt x="183" y="97"/>
                  <a:pt x="183" y="97"/>
                  <a:pt x="183" y="97"/>
                </a:cubicBezTo>
                <a:cubicBezTo>
                  <a:pt x="183" y="97"/>
                  <a:pt x="183" y="97"/>
                  <a:pt x="183" y="97"/>
                </a:cubicBezTo>
                <a:cubicBezTo>
                  <a:pt x="183" y="98"/>
                  <a:pt x="183" y="98"/>
                  <a:pt x="183" y="98"/>
                </a:cubicBezTo>
                <a:cubicBezTo>
                  <a:pt x="183" y="98"/>
                  <a:pt x="183" y="98"/>
                  <a:pt x="183" y="98"/>
                </a:cubicBezTo>
                <a:cubicBezTo>
                  <a:pt x="184" y="99"/>
                  <a:pt x="184" y="99"/>
                  <a:pt x="184" y="99"/>
                </a:cubicBezTo>
                <a:cubicBezTo>
                  <a:pt x="186" y="98"/>
                  <a:pt x="186" y="98"/>
                  <a:pt x="186" y="98"/>
                </a:cubicBezTo>
                <a:cubicBezTo>
                  <a:pt x="187" y="97"/>
                  <a:pt x="187" y="97"/>
                  <a:pt x="187" y="97"/>
                </a:cubicBezTo>
                <a:cubicBezTo>
                  <a:pt x="186" y="97"/>
                  <a:pt x="186" y="97"/>
                  <a:pt x="186" y="97"/>
                </a:cubicBezTo>
                <a:cubicBezTo>
                  <a:pt x="185" y="97"/>
                  <a:pt x="185" y="97"/>
                  <a:pt x="185" y="97"/>
                </a:cubicBezTo>
                <a:cubicBezTo>
                  <a:pt x="184" y="96"/>
                  <a:pt x="184" y="96"/>
                  <a:pt x="184" y="96"/>
                </a:cubicBezTo>
                <a:close/>
                <a:moveTo>
                  <a:pt x="180" y="99"/>
                </a:moveTo>
                <a:cubicBezTo>
                  <a:pt x="180" y="99"/>
                  <a:pt x="180" y="99"/>
                  <a:pt x="180" y="99"/>
                </a:cubicBezTo>
                <a:cubicBezTo>
                  <a:pt x="181" y="99"/>
                  <a:pt x="181" y="99"/>
                  <a:pt x="181" y="99"/>
                </a:cubicBezTo>
                <a:cubicBezTo>
                  <a:pt x="182" y="98"/>
                  <a:pt x="182" y="98"/>
                  <a:pt x="182" y="98"/>
                </a:cubicBezTo>
                <a:cubicBezTo>
                  <a:pt x="182" y="98"/>
                  <a:pt x="182" y="98"/>
                  <a:pt x="182" y="98"/>
                </a:cubicBezTo>
                <a:cubicBezTo>
                  <a:pt x="181" y="98"/>
                  <a:pt x="181" y="98"/>
                  <a:pt x="181" y="98"/>
                </a:cubicBezTo>
                <a:cubicBezTo>
                  <a:pt x="180" y="98"/>
                  <a:pt x="180" y="98"/>
                  <a:pt x="180" y="98"/>
                </a:cubicBezTo>
                <a:cubicBezTo>
                  <a:pt x="180" y="99"/>
                  <a:pt x="180" y="99"/>
                  <a:pt x="180" y="99"/>
                </a:cubicBezTo>
                <a:close/>
                <a:moveTo>
                  <a:pt x="176" y="99"/>
                </a:moveTo>
                <a:cubicBezTo>
                  <a:pt x="177" y="98"/>
                  <a:pt x="177" y="98"/>
                  <a:pt x="177" y="98"/>
                </a:cubicBezTo>
                <a:cubicBezTo>
                  <a:pt x="177" y="98"/>
                  <a:pt x="177" y="98"/>
                  <a:pt x="177" y="98"/>
                </a:cubicBezTo>
                <a:cubicBezTo>
                  <a:pt x="177" y="97"/>
                  <a:pt x="177" y="97"/>
                  <a:pt x="177" y="97"/>
                </a:cubicBezTo>
                <a:cubicBezTo>
                  <a:pt x="178" y="98"/>
                  <a:pt x="178" y="98"/>
                  <a:pt x="178" y="98"/>
                </a:cubicBezTo>
                <a:cubicBezTo>
                  <a:pt x="179" y="97"/>
                  <a:pt x="179" y="97"/>
                  <a:pt x="179" y="97"/>
                </a:cubicBezTo>
                <a:cubicBezTo>
                  <a:pt x="179" y="97"/>
                  <a:pt x="179" y="97"/>
                  <a:pt x="179" y="97"/>
                </a:cubicBezTo>
                <a:cubicBezTo>
                  <a:pt x="178" y="99"/>
                  <a:pt x="178" y="99"/>
                  <a:pt x="178" y="99"/>
                </a:cubicBezTo>
                <a:cubicBezTo>
                  <a:pt x="178" y="99"/>
                  <a:pt x="178" y="99"/>
                  <a:pt x="178" y="99"/>
                </a:cubicBezTo>
                <a:cubicBezTo>
                  <a:pt x="176" y="100"/>
                  <a:pt x="176" y="100"/>
                  <a:pt x="176" y="100"/>
                </a:cubicBezTo>
                <a:cubicBezTo>
                  <a:pt x="176" y="99"/>
                  <a:pt x="176" y="99"/>
                  <a:pt x="176" y="99"/>
                </a:cubicBezTo>
                <a:close/>
                <a:moveTo>
                  <a:pt x="175" y="99"/>
                </a:moveTo>
                <a:cubicBezTo>
                  <a:pt x="173" y="99"/>
                  <a:pt x="173" y="99"/>
                  <a:pt x="173" y="99"/>
                </a:cubicBezTo>
                <a:cubicBezTo>
                  <a:pt x="173" y="100"/>
                  <a:pt x="173" y="100"/>
                  <a:pt x="173" y="100"/>
                </a:cubicBezTo>
                <a:cubicBezTo>
                  <a:pt x="174" y="99"/>
                  <a:pt x="174" y="99"/>
                  <a:pt x="174" y="99"/>
                </a:cubicBezTo>
                <a:cubicBezTo>
                  <a:pt x="175" y="99"/>
                  <a:pt x="175" y="99"/>
                  <a:pt x="175" y="99"/>
                </a:cubicBezTo>
                <a:close/>
                <a:moveTo>
                  <a:pt x="175" y="97"/>
                </a:moveTo>
                <a:cubicBezTo>
                  <a:pt x="175" y="98"/>
                  <a:pt x="175" y="98"/>
                  <a:pt x="175" y="98"/>
                </a:cubicBezTo>
                <a:cubicBezTo>
                  <a:pt x="175" y="98"/>
                  <a:pt x="175" y="98"/>
                  <a:pt x="175" y="98"/>
                </a:cubicBezTo>
                <a:cubicBezTo>
                  <a:pt x="176" y="97"/>
                  <a:pt x="176" y="97"/>
                  <a:pt x="176" y="97"/>
                </a:cubicBezTo>
                <a:cubicBezTo>
                  <a:pt x="175" y="97"/>
                  <a:pt x="175" y="97"/>
                  <a:pt x="175" y="97"/>
                </a:cubicBezTo>
                <a:close/>
                <a:moveTo>
                  <a:pt x="153" y="99"/>
                </a:moveTo>
                <a:cubicBezTo>
                  <a:pt x="153" y="99"/>
                  <a:pt x="153" y="98"/>
                  <a:pt x="153" y="98"/>
                </a:cubicBezTo>
                <a:cubicBezTo>
                  <a:pt x="155" y="97"/>
                  <a:pt x="155" y="97"/>
                  <a:pt x="155" y="97"/>
                </a:cubicBezTo>
                <a:cubicBezTo>
                  <a:pt x="158" y="97"/>
                  <a:pt x="158" y="97"/>
                  <a:pt x="158" y="97"/>
                </a:cubicBezTo>
                <a:cubicBezTo>
                  <a:pt x="160" y="97"/>
                  <a:pt x="160" y="97"/>
                  <a:pt x="160" y="97"/>
                </a:cubicBezTo>
                <a:cubicBezTo>
                  <a:pt x="161" y="97"/>
                  <a:pt x="161" y="97"/>
                  <a:pt x="161" y="97"/>
                </a:cubicBezTo>
                <a:cubicBezTo>
                  <a:pt x="162" y="98"/>
                  <a:pt x="162" y="98"/>
                  <a:pt x="162" y="98"/>
                </a:cubicBezTo>
                <a:cubicBezTo>
                  <a:pt x="164" y="99"/>
                  <a:pt x="164" y="99"/>
                  <a:pt x="164" y="99"/>
                </a:cubicBezTo>
                <a:cubicBezTo>
                  <a:pt x="165" y="98"/>
                  <a:pt x="165" y="98"/>
                  <a:pt x="165" y="98"/>
                </a:cubicBezTo>
                <a:cubicBezTo>
                  <a:pt x="167" y="98"/>
                  <a:pt x="167" y="98"/>
                  <a:pt x="167" y="98"/>
                </a:cubicBezTo>
                <a:cubicBezTo>
                  <a:pt x="168" y="99"/>
                  <a:pt x="168" y="99"/>
                  <a:pt x="168" y="99"/>
                </a:cubicBezTo>
                <a:cubicBezTo>
                  <a:pt x="169" y="99"/>
                  <a:pt x="169" y="99"/>
                  <a:pt x="169" y="99"/>
                </a:cubicBezTo>
                <a:cubicBezTo>
                  <a:pt x="170" y="98"/>
                  <a:pt x="170" y="98"/>
                  <a:pt x="170" y="98"/>
                </a:cubicBezTo>
                <a:cubicBezTo>
                  <a:pt x="171" y="98"/>
                  <a:pt x="171" y="98"/>
                  <a:pt x="171" y="98"/>
                </a:cubicBezTo>
                <a:cubicBezTo>
                  <a:pt x="172" y="96"/>
                  <a:pt x="172" y="96"/>
                  <a:pt x="172" y="96"/>
                </a:cubicBezTo>
                <a:cubicBezTo>
                  <a:pt x="172" y="96"/>
                  <a:pt x="172" y="96"/>
                  <a:pt x="172" y="96"/>
                </a:cubicBezTo>
                <a:cubicBezTo>
                  <a:pt x="173" y="95"/>
                  <a:pt x="173" y="95"/>
                  <a:pt x="173" y="95"/>
                </a:cubicBezTo>
                <a:cubicBezTo>
                  <a:pt x="174" y="96"/>
                  <a:pt x="174" y="96"/>
                  <a:pt x="174" y="96"/>
                </a:cubicBezTo>
                <a:cubicBezTo>
                  <a:pt x="174" y="97"/>
                  <a:pt x="174" y="97"/>
                  <a:pt x="174" y="97"/>
                </a:cubicBezTo>
                <a:cubicBezTo>
                  <a:pt x="173" y="98"/>
                  <a:pt x="173" y="98"/>
                  <a:pt x="173" y="98"/>
                </a:cubicBezTo>
                <a:cubicBezTo>
                  <a:pt x="173" y="99"/>
                  <a:pt x="173" y="99"/>
                  <a:pt x="173" y="99"/>
                </a:cubicBezTo>
                <a:cubicBezTo>
                  <a:pt x="172" y="100"/>
                  <a:pt x="172" y="100"/>
                  <a:pt x="172" y="100"/>
                </a:cubicBezTo>
                <a:cubicBezTo>
                  <a:pt x="170" y="100"/>
                  <a:pt x="170" y="100"/>
                  <a:pt x="170" y="100"/>
                </a:cubicBezTo>
                <a:cubicBezTo>
                  <a:pt x="170" y="100"/>
                  <a:pt x="170" y="100"/>
                  <a:pt x="170" y="100"/>
                </a:cubicBezTo>
                <a:cubicBezTo>
                  <a:pt x="169" y="100"/>
                  <a:pt x="169" y="100"/>
                  <a:pt x="169" y="100"/>
                </a:cubicBezTo>
                <a:cubicBezTo>
                  <a:pt x="167" y="100"/>
                  <a:pt x="167" y="100"/>
                  <a:pt x="167" y="100"/>
                </a:cubicBezTo>
                <a:cubicBezTo>
                  <a:pt x="165" y="101"/>
                  <a:pt x="165" y="101"/>
                  <a:pt x="165" y="101"/>
                </a:cubicBezTo>
                <a:cubicBezTo>
                  <a:pt x="163" y="101"/>
                  <a:pt x="163" y="101"/>
                  <a:pt x="163" y="101"/>
                </a:cubicBezTo>
                <a:cubicBezTo>
                  <a:pt x="162" y="101"/>
                  <a:pt x="162" y="101"/>
                  <a:pt x="162" y="101"/>
                </a:cubicBezTo>
                <a:cubicBezTo>
                  <a:pt x="162" y="101"/>
                  <a:pt x="162" y="101"/>
                  <a:pt x="162" y="101"/>
                </a:cubicBezTo>
                <a:cubicBezTo>
                  <a:pt x="161" y="101"/>
                  <a:pt x="161" y="101"/>
                  <a:pt x="161" y="101"/>
                </a:cubicBezTo>
                <a:cubicBezTo>
                  <a:pt x="160" y="101"/>
                  <a:pt x="160" y="101"/>
                  <a:pt x="160" y="101"/>
                </a:cubicBezTo>
                <a:cubicBezTo>
                  <a:pt x="159" y="102"/>
                  <a:pt x="159" y="102"/>
                  <a:pt x="159" y="102"/>
                </a:cubicBezTo>
                <a:cubicBezTo>
                  <a:pt x="158" y="101"/>
                  <a:pt x="158" y="101"/>
                  <a:pt x="158" y="101"/>
                </a:cubicBezTo>
                <a:cubicBezTo>
                  <a:pt x="157" y="101"/>
                  <a:pt x="157" y="101"/>
                  <a:pt x="157" y="101"/>
                </a:cubicBezTo>
                <a:cubicBezTo>
                  <a:pt x="156" y="101"/>
                  <a:pt x="156" y="101"/>
                  <a:pt x="156" y="101"/>
                </a:cubicBezTo>
                <a:cubicBezTo>
                  <a:pt x="155" y="101"/>
                  <a:pt x="155" y="101"/>
                  <a:pt x="155" y="101"/>
                </a:cubicBezTo>
                <a:cubicBezTo>
                  <a:pt x="154" y="101"/>
                  <a:pt x="154" y="101"/>
                  <a:pt x="154" y="101"/>
                </a:cubicBezTo>
                <a:cubicBezTo>
                  <a:pt x="153" y="101"/>
                  <a:pt x="153" y="101"/>
                  <a:pt x="153" y="101"/>
                </a:cubicBezTo>
                <a:cubicBezTo>
                  <a:pt x="153" y="99"/>
                  <a:pt x="153" y="99"/>
                  <a:pt x="153" y="99"/>
                </a:cubicBezTo>
                <a:close/>
                <a:moveTo>
                  <a:pt x="152" y="99"/>
                </a:moveTo>
                <a:cubicBezTo>
                  <a:pt x="152" y="101"/>
                  <a:pt x="152" y="101"/>
                  <a:pt x="152" y="101"/>
                </a:cubicBezTo>
                <a:cubicBezTo>
                  <a:pt x="153" y="100"/>
                  <a:pt x="153" y="100"/>
                  <a:pt x="153" y="100"/>
                </a:cubicBezTo>
                <a:cubicBezTo>
                  <a:pt x="153" y="100"/>
                  <a:pt x="153" y="100"/>
                  <a:pt x="153" y="100"/>
                </a:cubicBezTo>
                <a:cubicBezTo>
                  <a:pt x="152" y="99"/>
                  <a:pt x="152" y="99"/>
                  <a:pt x="152" y="99"/>
                </a:cubicBezTo>
                <a:close/>
                <a:moveTo>
                  <a:pt x="152" y="99"/>
                </a:moveTo>
                <a:cubicBezTo>
                  <a:pt x="151" y="98"/>
                  <a:pt x="151" y="98"/>
                  <a:pt x="151" y="98"/>
                </a:cubicBezTo>
                <a:cubicBezTo>
                  <a:pt x="150" y="100"/>
                  <a:pt x="150" y="100"/>
                  <a:pt x="150" y="100"/>
                </a:cubicBezTo>
                <a:cubicBezTo>
                  <a:pt x="151" y="101"/>
                  <a:pt x="151" y="101"/>
                  <a:pt x="151" y="101"/>
                </a:cubicBezTo>
                <a:cubicBezTo>
                  <a:pt x="151" y="99"/>
                  <a:pt x="151" y="99"/>
                  <a:pt x="151" y="99"/>
                </a:cubicBezTo>
                <a:cubicBezTo>
                  <a:pt x="152" y="99"/>
                  <a:pt x="152" y="99"/>
                  <a:pt x="152" y="99"/>
                </a:cubicBezTo>
                <a:close/>
                <a:moveTo>
                  <a:pt x="134" y="100"/>
                </a:moveTo>
                <a:cubicBezTo>
                  <a:pt x="134" y="100"/>
                  <a:pt x="134" y="100"/>
                  <a:pt x="134" y="100"/>
                </a:cubicBezTo>
                <a:cubicBezTo>
                  <a:pt x="134" y="101"/>
                  <a:pt x="134" y="101"/>
                  <a:pt x="134" y="101"/>
                </a:cubicBezTo>
                <a:cubicBezTo>
                  <a:pt x="134" y="101"/>
                  <a:pt x="134" y="101"/>
                  <a:pt x="134" y="101"/>
                </a:cubicBezTo>
                <a:cubicBezTo>
                  <a:pt x="134" y="102"/>
                  <a:pt x="134" y="102"/>
                  <a:pt x="134" y="102"/>
                </a:cubicBezTo>
                <a:cubicBezTo>
                  <a:pt x="135" y="103"/>
                  <a:pt x="135" y="103"/>
                  <a:pt x="135" y="103"/>
                </a:cubicBezTo>
                <a:cubicBezTo>
                  <a:pt x="137" y="102"/>
                  <a:pt x="137" y="102"/>
                  <a:pt x="137" y="102"/>
                </a:cubicBezTo>
                <a:cubicBezTo>
                  <a:pt x="138" y="103"/>
                  <a:pt x="138" y="103"/>
                  <a:pt x="138" y="103"/>
                </a:cubicBezTo>
                <a:cubicBezTo>
                  <a:pt x="139" y="102"/>
                  <a:pt x="139" y="102"/>
                  <a:pt x="139" y="102"/>
                </a:cubicBezTo>
                <a:cubicBezTo>
                  <a:pt x="140" y="101"/>
                  <a:pt x="140" y="101"/>
                  <a:pt x="140" y="101"/>
                </a:cubicBezTo>
                <a:cubicBezTo>
                  <a:pt x="141" y="102"/>
                  <a:pt x="141" y="102"/>
                  <a:pt x="141" y="102"/>
                </a:cubicBezTo>
                <a:cubicBezTo>
                  <a:pt x="142" y="101"/>
                  <a:pt x="142" y="101"/>
                  <a:pt x="142" y="101"/>
                </a:cubicBezTo>
                <a:cubicBezTo>
                  <a:pt x="143" y="101"/>
                  <a:pt x="143" y="101"/>
                  <a:pt x="143" y="101"/>
                </a:cubicBezTo>
                <a:cubicBezTo>
                  <a:pt x="145" y="100"/>
                  <a:pt x="145" y="100"/>
                  <a:pt x="145" y="100"/>
                </a:cubicBezTo>
                <a:cubicBezTo>
                  <a:pt x="145" y="101"/>
                  <a:pt x="145" y="101"/>
                  <a:pt x="145" y="101"/>
                </a:cubicBezTo>
                <a:cubicBezTo>
                  <a:pt x="146" y="101"/>
                  <a:pt x="146" y="101"/>
                  <a:pt x="146" y="101"/>
                </a:cubicBezTo>
                <a:cubicBezTo>
                  <a:pt x="148" y="101"/>
                  <a:pt x="148" y="101"/>
                  <a:pt x="148" y="101"/>
                </a:cubicBezTo>
                <a:cubicBezTo>
                  <a:pt x="147" y="100"/>
                  <a:pt x="147" y="100"/>
                  <a:pt x="147" y="100"/>
                </a:cubicBezTo>
                <a:cubicBezTo>
                  <a:pt x="149" y="100"/>
                  <a:pt x="149" y="100"/>
                  <a:pt x="149" y="100"/>
                </a:cubicBezTo>
                <a:cubicBezTo>
                  <a:pt x="149" y="99"/>
                  <a:pt x="149" y="99"/>
                  <a:pt x="149" y="99"/>
                </a:cubicBezTo>
                <a:cubicBezTo>
                  <a:pt x="149" y="100"/>
                  <a:pt x="149" y="100"/>
                  <a:pt x="149" y="100"/>
                </a:cubicBezTo>
                <a:cubicBezTo>
                  <a:pt x="148" y="99"/>
                  <a:pt x="148" y="99"/>
                  <a:pt x="148" y="99"/>
                </a:cubicBezTo>
                <a:cubicBezTo>
                  <a:pt x="148" y="98"/>
                  <a:pt x="148" y="98"/>
                  <a:pt x="148" y="98"/>
                </a:cubicBezTo>
                <a:cubicBezTo>
                  <a:pt x="147" y="97"/>
                  <a:pt x="147" y="97"/>
                  <a:pt x="147" y="97"/>
                </a:cubicBezTo>
                <a:cubicBezTo>
                  <a:pt x="147" y="98"/>
                  <a:pt x="147" y="98"/>
                  <a:pt x="147" y="98"/>
                </a:cubicBezTo>
                <a:cubicBezTo>
                  <a:pt x="147" y="98"/>
                  <a:pt x="147" y="98"/>
                  <a:pt x="147" y="98"/>
                </a:cubicBezTo>
                <a:cubicBezTo>
                  <a:pt x="147" y="97"/>
                  <a:pt x="147" y="97"/>
                  <a:pt x="147" y="97"/>
                </a:cubicBezTo>
                <a:cubicBezTo>
                  <a:pt x="145" y="97"/>
                  <a:pt x="145" y="97"/>
                  <a:pt x="145" y="97"/>
                </a:cubicBezTo>
                <a:cubicBezTo>
                  <a:pt x="144" y="97"/>
                  <a:pt x="144" y="97"/>
                  <a:pt x="144" y="97"/>
                </a:cubicBezTo>
                <a:cubicBezTo>
                  <a:pt x="143" y="96"/>
                  <a:pt x="143" y="96"/>
                  <a:pt x="143" y="96"/>
                </a:cubicBezTo>
                <a:cubicBezTo>
                  <a:pt x="142" y="96"/>
                  <a:pt x="142" y="96"/>
                  <a:pt x="142" y="96"/>
                </a:cubicBezTo>
                <a:cubicBezTo>
                  <a:pt x="140" y="97"/>
                  <a:pt x="140" y="97"/>
                  <a:pt x="140" y="97"/>
                </a:cubicBezTo>
                <a:cubicBezTo>
                  <a:pt x="140" y="98"/>
                  <a:pt x="140" y="98"/>
                  <a:pt x="140" y="98"/>
                </a:cubicBezTo>
                <a:cubicBezTo>
                  <a:pt x="143" y="98"/>
                  <a:pt x="143" y="98"/>
                  <a:pt x="143" y="98"/>
                </a:cubicBezTo>
                <a:cubicBezTo>
                  <a:pt x="144" y="99"/>
                  <a:pt x="144" y="99"/>
                  <a:pt x="144" y="99"/>
                </a:cubicBezTo>
                <a:cubicBezTo>
                  <a:pt x="142" y="100"/>
                  <a:pt x="142" y="100"/>
                  <a:pt x="142" y="100"/>
                </a:cubicBezTo>
                <a:cubicBezTo>
                  <a:pt x="141" y="100"/>
                  <a:pt x="141" y="100"/>
                  <a:pt x="141" y="100"/>
                </a:cubicBezTo>
                <a:cubicBezTo>
                  <a:pt x="140" y="99"/>
                  <a:pt x="140" y="99"/>
                  <a:pt x="140" y="99"/>
                </a:cubicBezTo>
                <a:cubicBezTo>
                  <a:pt x="139" y="98"/>
                  <a:pt x="139" y="98"/>
                  <a:pt x="139" y="98"/>
                </a:cubicBezTo>
                <a:cubicBezTo>
                  <a:pt x="138" y="98"/>
                  <a:pt x="138" y="98"/>
                  <a:pt x="138" y="98"/>
                </a:cubicBezTo>
                <a:cubicBezTo>
                  <a:pt x="137" y="98"/>
                  <a:pt x="137" y="98"/>
                  <a:pt x="137" y="98"/>
                </a:cubicBezTo>
                <a:cubicBezTo>
                  <a:pt x="136" y="98"/>
                  <a:pt x="136" y="98"/>
                  <a:pt x="136" y="98"/>
                </a:cubicBezTo>
                <a:cubicBezTo>
                  <a:pt x="135" y="99"/>
                  <a:pt x="135" y="99"/>
                  <a:pt x="135" y="99"/>
                </a:cubicBezTo>
                <a:cubicBezTo>
                  <a:pt x="135" y="99"/>
                  <a:pt x="134" y="100"/>
                  <a:pt x="134" y="100"/>
                </a:cubicBezTo>
                <a:close/>
                <a:moveTo>
                  <a:pt x="130" y="98"/>
                </a:moveTo>
                <a:cubicBezTo>
                  <a:pt x="131" y="97"/>
                  <a:pt x="131" y="97"/>
                  <a:pt x="131" y="97"/>
                </a:cubicBezTo>
                <a:cubicBezTo>
                  <a:pt x="133" y="98"/>
                  <a:pt x="133" y="98"/>
                  <a:pt x="133" y="98"/>
                </a:cubicBezTo>
                <a:cubicBezTo>
                  <a:pt x="133" y="99"/>
                  <a:pt x="133" y="99"/>
                  <a:pt x="133" y="99"/>
                </a:cubicBezTo>
                <a:cubicBezTo>
                  <a:pt x="132" y="100"/>
                  <a:pt x="132" y="100"/>
                  <a:pt x="132" y="100"/>
                </a:cubicBezTo>
                <a:cubicBezTo>
                  <a:pt x="133" y="101"/>
                  <a:pt x="133" y="101"/>
                  <a:pt x="133" y="101"/>
                </a:cubicBezTo>
                <a:cubicBezTo>
                  <a:pt x="132" y="101"/>
                  <a:pt x="132" y="101"/>
                  <a:pt x="132" y="101"/>
                </a:cubicBezTo>
                <a:cubicBezTo>
                  <a:pt x="131" y="101"/>
                  <a:pt x="131" y="101"/>
                  <a:pt x="131" y="101"/>
                </a:cubicBezTo>
                <a:cubicBezTo>
                  <a:pt x="129" y="101"/>
                  <a:pt x="129" y="101"/>
                  <a:pt x="129" y="101"/>
                </a:cubicBezTo>
                <a:cubicBezTo>
                  <a:pt x="128" y="100"/>
                  <a:pt x="128" y="100"/>
                  <a:pt x="128" y="100"/>
                </a:cubicBezTo>
                <a:cubicBezTo>
                  <a:pt x="129" y="100"/>
                  <a:pt x="129" y="100"/>
                  <a:pt x="129" y="100"/>
                </a:cubicBezTo>
                <a:cubicBezTo>
                  <a:pt x="130" y="100"/>
                  <a:pt x="130" y="100"/>
                  <a:pt x="130" y="100"/>
                </a:cubicBezTo>
                <a:cubicBezTo>
                  <a:pt x="130" y="98"/>
                  <a:pt x="130" y="98"/>
                  <a:pt x="130" y="98"/>
                </a:cubicBezTo>
                <a:close/>
                <a:moveTo>
                  <a:pt x="126" y="100"/>
                </a:moveTo>
                <a:cubicBezTo>
                  <a:pt x="127" y="99"/>
                  <a:pt x="127" y="99"/>
                  <a:pt x="127" y="99"/>
                </a:cubicBezTo>
                <a:cubicBezTo>
                  <a:pt x="127" y="100"/>
                  <a:pt x="127" y="100"/>
                  <a:pt x="127" y="100"/>
                </a:cubicBezTo>
                <a:cubicBezTo>
                  <a:pt x="126" y="100"/>
                  <a:pt x="126" y="100"/>
                  <a:pt x="126" y="100"/>
                </a:cubicBezTo>
                <a:cubicBezTo>
                  <a:pt x="126" y="100"/>
                  <a:pt x="126" y="100"/>
                  <a:pt x="126" y="100"/>
                </a:cubicBezTo>
                <a:close/>
                <a:moveTo>
                  <a:pt x="120" y="96"/>
                </a:moveTo>
                <a:cubicBezTo>
                  <a:pt x="120" y="97"/>
                  <a:pt x="120" y="97"/>
                  <a:pt x="120" y="97"/>
                </a:cubicBezTo>
                <a:cubicBezTo>
                  <a:pt x="121" y="98"/>
                  <a:pt x="121" y="98"/>
                  <a:pt x="121" y="98"/>
                </a:cubicBezTo>
                <a:cubicBezTo>
                  <a:pt x="122" y="98"/>
                  <a:pt x="122" y="98"/>
                  <a:pt x="122" y="98"/>
                </a:cubicBezTo>
                <a:cubicBezTo>
                  <a:pt x="124" y="99"/>
                  <a:pt x="124" y="99"/>
                  <a:pt x="124" y="99"/>
                </a:cubicBezTo>
                <a:cubicBezTo>
                  <a:pt x="124" y="100"/>
                  <a:pt x="124" y="100"/>
                  <a:pt x="124" y="100"/>
                </a:cubicBezTo>
                <a:cubicBezTo>
                  <a:pt x="125" y="99"/>
                  <a:pt x="125" y="99"/>
                  <a:pt x="125" y="99"/>
                </a:cubicBezTo>
                <a:cubicBezTo>
                  <a:pt x="126" y="99"/>
                  <a:pt x="126" y="99"/>
                  <a:pt x="126" y="99"/>
                </a:cubicBezTo>
                <a:cubicBezTo>
                  <a:pt x="126" y="98"/>
                  <a:pt x="126" y="98"/>
                  <a:pt x="126" y="98"/>
                </a:cubicBezTo>
                <a:cubicBezTo>
                  <a:pt x="127" y="98"/>
                  <a:pt x="127" y="98"/>
                  <a:pt x="127" y="98"/>
                </a:cubicBezTo>
                <a:cubicBezTo>
                  <a:pt x="128" y="98"/>
                  <a:pt x="128" y="98"/>
                  <a:pt x="128" y="98"/>
                </a:cubicBezTo>
                <a:cubicBezTo>
                  <a:pt x="126" y="96"/>
                  <a:pt x="126" y="96"/>
                  <a:pt x="126" y="96"/>
                </a:cubicBezTo>
                <a:cubicBezTo>
                  <a:pt x="125" y="96"/>
                  <a:pt x="125" y="96"/>
                  <a:pt x="125" y="96"/>
                </a:cubicBezTo>
                <a:cubicBezTo>
                  <a:pt x="123" y="96"/>
                  <a:pt x="123" y="96"/>
                  <a:pt x="123" y="96"/>
                </a:cubicBezTo>
                <a:cubicBezTo>
                  <a:pt x="121" y="96"/>
                  <a:pt x="121" y="96"/>
                  <a:pt x="121" y="96"/>
                </a:cubicBezTo>
                <a:cubicBezTo>
                  <a:pt x="120" y="96"/>
                  <a:pt x="120" y="96"/>
                  <a:pt x="120" y="96"/>
                </a:cubicBezTo>
                <a:close/>
                <a:moveTo>
                  <a:pt x="273" y="97"/>
                </a:moveTo>
                <a:cubicBezTo>
                  <a:pt x="273" y="97"/>
                  <a:pt x="273" y="97"/>
                  <a:pt x="273" y="97"/>
                </a:cubicBezTo>
                <a:cubicBezTo>
                  <a:pt x="274" y="98"/>
                  <a:pt x="274" y="98"/>
                  <a:pt x="274" y="98"/>
                </a:cubicBezTo>
                <a:cubicBezTo>
                  <a:pt x="275" y="97"/>
                  <a:pt x="275" y="97"/>
                  <a:pt x="275" y="97"/>
                </a:cubicBezTo>
                <a:cubicBezTo>
                  <a:pt x="274" y="96"/>
                  <a:pt x="274" y="96"/>
                  <a:pt x="274" y="96"/>
                </a:cubicBezTo>
                <a:cubicBezTo>
                  <a:pt x="274" y="96"/>
                  <a:pt x="274" y="96"/>
                  <a:pt x="274" y="96"/>
                </a:cubicBezTo>
                <a:cubicBezTo>
                  <a:pt x="273" y="96"/>
                  <a:pt x="273" y="96"/>
                  <a:pt x="273" y="96"/>
                </a:cubicBezTo>
                <a:cubicBezTo>
                  <a:pt x="273" y="97"/>
                  <a:pt x="273" y="97"/>
                  <a:pt x="273" y="97"/>
                </a:cubicBezTo>
                <a:close/>
                <a:moveTo>
                  <a:pt x="266" y="97"/>
                </a:moveTo>
                <a:cubicBezTo>
                  <a:pt x="266" y="97"/>
                  <a:pt x="268" y="97"/>
                  <a:pt x="268" y="97"/>
                </a:cubicBezTo>
                <a:cubicBezTo>
                  <a:pt x="269" y="97"/>
                  <a:pt x="269" y="97"/>
                  <a:pt x="269" y="97"/>
                </a:cubicBezTo>
                <a:cubicBezTo>
                  <a:pt x="271" y="97"/>
                  <a:pt x="271" y="97"/>
                  <a:pt x="271" y="97"/>
                </a:cubicBezTo>
                <a:cubicBezTo>
                  <a:pt x="272" y="97"/>
                  <a:pt x="272" y="97"/>
                  <a:pt x="272" y="97"/>
                </a:cubicBezTo>
                <a:cubicBezTo>
                  <a:pt x="273" y="96"/>
                  <a:pt x="273" y="96"/>
                  <a:pt x="273" y="96"/>
                </a:cubicBezTo>
                <a:cubicBezTo>
                  <a:pt x="274" y="95"/>
                  <a:pt x="274" y="95"/>
                  <a:pt x="274" y="95"/>
                </a:cubicBezTo>
                <a:cubicBezTo>
                  <a:pt x="274" y="95"/>
                  <a:pt x="274" y="95"/>
                  <a:pt x="274" y="95"/>
                </a:cubicBezTo>
                <a:cubicBezTo>
                  <a:pt x="274" y="94"/>
                  <a:pt x="274" y="94"/>
                  <a:pt x="274" y="94"/>
                </a:cubicBezTo>
                <a:cubicBezTo>
                  <a:pt x="275" y="94"/>
                  <a:pt x="275" y="94"/>
                  <a:pt x="275" y="94"/>
                </a:cubicBezTo>
                <a:cubicBezTo>
                  <a:pt x="275" y="93"/>
                  <a:pt x="275" y="93"/>
                  <a:pt x="275" y="93"/>
                </a:cubicBezTo>
                <a:cubicBezTo>
                  <a:pt x="275" y="92"/>
                  <a:pt x="275" y="92"/>
                  <a:pt x="275" y="92"/>
                </a:cubicBezTo>
                <a:cubicBezTo>
                  <a:pt x="274" y="91"/>
                  <a:pt x="274" y="91"/>
                  <a:pt x="274" y="91"/>
                </a:cubicBezTo>
                <a:cubicBezTo>
                  <a:pt x="274" y="91"/>
                  <a:pt x="274" y="91"/>
                  <a:pt x="274" y="91"/>
                </a:cubicBezTo>
                <a:cubicBezTo>
                  <a:pt x="272" y="91"/>
                  <a:pt x="272" y="91"/>
                  <a:pt x="272" y="91"/>
                </a:cubicBezTo>
                <a:cubicBezTo>
                  <a:pt x="270" y="92"/>
                  <a:pt x="270" y="92"/>
                  <a:pt x="270" y="92"/>
                </a:cubicBezTo>
                <a:cubicBezTo>
                  <a:pt x="270" y="93"/>
                  <a:pt x="270" y="93"/>
                  <a:pt x="270" y="93"/>
                </a:cubicBezTo>
                <a:cubicBezTo>
                  <a:pt x="269" y="95"/>
                  <a:pt x="269" y="95"/>
                  <a:pt x="269" y="95"/>
                </a:cubicBezTo>
                <a:cubicBezTo>
                  <a:pt x="266" y="97"/>
                  <a:pt x="266" y="97"/>
                  <a:pt x="266" y="97"/>
                </a:cubicBezTo>
                <a:close/>
                <a:moveTo>
                  <a:pt x="110" y="88"/>
                </a:moveTo>
                <a:cubicBezTo>
                  <a:pt x="110" y="89"/>
                  <a:pt x="110" y="89"/>
                  <a:pt x="110" y="89"/>
                </a:cubicBezTo>
                <a:cubicBezTo>
                  <a:pt x="111" y="90"/>
                  <a:pt x="111" y="90"/>
                  <a:pt x="111" y="90"/>
                </a:cubicBezTo>
                <a:cubicBezTo>
                  <a:pt x="112" y="90"/>
                  <a:pt x="112" y="90"/>
                  <a:pt x="112" y="90"/>
                </a:cubicBezTo>
                <a:cubicBezTo>
                  <a:pt x="113" y="90"/>
                  <a:pt x="113" y="90"/>
                  <a:pt x="113" y="90"/>
                </a:cubicBezTo>
                <a:cubicBezTo>
                  <a:pt x="115" y="90"/>
                  <a:pt x="115" y="90"/>
                  <a:pt x="115" y="90"/>
                </a:cubicBezTo>
                <a:cubicBezTo>
                  <a:pt x="116" y="90"/>
                  <a:pt x="116" y="90"/>
                  <a:pt x="116" y="90"/>
                </a:cubicBezTo>
                <a:cubicBezTo>
                  <a:pt x="117" y="89"/>
                  <a:pt x="117" y="89"/>
                  <a:pt x="117" y="89"/>
                </a:cubicBezTo>
                <a:cubicBezTo>
                  <a:pt x="118" y="89"/>
                  <a:pt x="118" y="89"/>
                  <a:pt x="118" y="89"/>
                </a:cubicBezTo>
                <a:cubicBezTo>
                  <a:pt x="117" y="88"/>
                  <a:pt x="117" y="88"/>
                  <a:pt x="117" y="88"/>
                </a:cubicBezTo>
                <a:cubicBezTo>
                  <a:pt x="115" y="89"/>
                  <a:pt x="115" y="89"/>
                  <a:pt x="115" y="89"/>
                </a:cubicBezTo>
                <a:cubicBezTo>
                  <a:pt x="114" y="88"/>
                  <a:pt x="114" y="88"/>
                  <a:pt x="114" y="88"/>
                </a:cubicBezTo>
                <a:cubicBezTo>
                  <a:pt x="111" y="88"/>
                  <a:pt x="111" y="88"/>
                  <a:pt x="111" y="88"/>
                </a:cubicBezTo>
                <a:cubicBezTo>
                  <a:pt x="110" y="88"/>
                  <a:pt x="110" y="88"/>
                  <a:pt x="110" y="88"/>
                </a:cubicBezTo>
                <a:close/>
                <a:moveTo>
                  <a:pt x="63" y="86"/>
                </a:moveTo>
                <a:cubicBezTo>
                  <a:pt x="63" y="86"/>
                  <a:pt x="63" y="86"/>
                  <a:pt x="63" y="86"/>
                </a:cubicBezTo>
                <a:cubicBezTo>
                  <a:pt x="64" y="86"/>
                  <a:pt x="64" y="86"/>
                  <a:pt x="64" y="86"/>
                </a:cubicBezTo>
                <a:cubicBezTo>
                  <a:pt x="64" y="86"/>
                  <a:pt x="64" y="86"/>
                  <a:pt x="64" y="86"/>
                </a:cubicBezTo>
                <a:cubicBezTo>
                  <a:pt x="63" y="86"/>
                  <a:pt x="63" y="86"/>
                  <a:pt x="63" y="86"/>
                </a:cubicBezTo>
                <a:close/>
                <a:moveTo>
                  <a:pt x="64" y="87"/>
                </a:moveTo>
                <a:cubicBezTo>
                  <a:pt x="65" y="87"/>
                  <a:pt x="65" y="87"/>
                  <a:pt x="65" y="87"/>
                </a:cubicBezTo>
                <a:cubicBezTo>
                  <a:pt x="65" y="87"/>
                  <a:pt x="65" y="87"/>
                  <a:pt x="65" y="87"/>
                </a:cubicBezTo>
                <a:cubicBezTo>
                  <a:pt x="66" y="85"/>
                  <a:pt x="66" y="85"/>
                  <a:pt x="66" y="85"/>
                </a:cubicBezTo>
                <a:cubicBezTo>
                  <a:pt x="67" y="85"/>
                  <a:pt x="67" y="85"/>
                  <a:pt x="67" y="85"/>
                </a:cubicBezTo>
                <a:cubicBezTo>
                  <a:pt x="68" y="84"/>
                  <a:pt x="68" y="84"/>
                  <a:pt x="68" y="84"/>
                </a:cubicBezTo>
                <a:cubicBezTo>
                  <a:pt x="67" y="83"/>
                  <a:pt x="67" y="83"/>
                  <a:pt x="67" y="83"/>
                </a:cubicBezTo>
                <a:cubicBezTo>
                  <a:pt x="69" y="81"/>
                  <a:pt x="69" y="81"/>
                  <a:pt x="69" y="81"/>
                </a:cubicBezTo>
                <a:cubicBezTo>
                  <a:pt x="69" y="82"/>
                  <a:pt x="69" y="82"/>
                  <a:pt x="69" y="82"/>
                </a:cubicBezTo>
                <a:cubicBezTo>
                  <a:pt x="71" y="82"/>
                  <a:pt x="71" y="82"/>
                  <a:pt x="71" y="82"/>
                </a:cubicBezTo>
                <a:cubicBezTo>
                  <a:pt x="73" y="82"/>
                  <a:pt x="73" y="82"/>
                  <a:pt x="73" y="82"/>
                </a:cubicBezTo>
                <a:cubicBezTo>
                  <a:pt x="74" y="83"/>
                  <a:pt x="74" y="83"/>
                  <a:pt x="74" y="83"/>
                </a:cubicBezTo>
                <a:cubicBezTo>
                  <a:pt x="74" y="82"/>
                  <a:pt x="74" y="82"/>
                  <a:pt x="74" y="82"/>
                </a:cubicBezTo>
                <a:cubicBezTo>
                  <a:pt x="75" y="82"/>
                  <a:pt x="75" y="82"/>
                  <a:pt x="75" y="82"/>
                </a:cubicBezTo>
                <a:cubicBezTo>
                  <a:pt x="77" y="82"/>
                  <a:pt x="77" y="82"/>
                  <a:pt x="77" y="82"/>
                </a:cubicBezTo>
                <a:cubicBezTo>
                  <a:pt x="78" y="83"/>
                  <a:pt x="78" y="83"/>
                  <a:pt x="78" y="83"/>
                </a:cubicBezTo>
                <a:cubicBezTo>
                  <a:pt x="80" y="83"/>
                  <a:pt x="80" y="83"/>
                  <a:pt x="80" y="83"/>
                </a:cubicBezTo>
                <a:cubicBezTo>
                  <a:pt x="83" y="84"/>
                  <a:pt x="83" y="84"/>
                  <a:pt x="83" y="84"/>
                </a:cubicBezTo>
                <a:cubicBezTo>
                  <a:pt x="84" y="85"/>
                  <a:pt x="84" y="85"/>
                  <a:pt x="84" y="85"/>
                </a:cubicBezTo>
                <a:cubicBezTo>
                  <a:pt x="83" y="86"/>
                  <a:pt x="83" y="86"/>
                  <a:pt x="83" y="86"/>
                </a:cubicBezTo>
                <a:cubicBezTo>
                  <a:pt x="84" y="87"/>
                  <a:pt x="84" y="87"/>
                  <a:pt x="84" y="87"/>
                </a:cubicBezTo>
                <a:cubicBezTo>
                  <a:pt x="86" y="88"/>
                  <a:pt x="86" y="88"/>
                  <a:pt x="86" y="88"/>
                </a:cubicBezTo>
                <a:cubicBezTo>
                  <a:pt x="90" y="88"/>
                  <a:pt x="90" y="88"/>
                  <a:pt x="90" y="88"/>
                </a:cubicBezTo>
                <a:cubicBezTo>
                  <a:pt x="93" y="88"/>
                  <a:pt x="93" y="88"/>
                  <a:pt x="93" y="88"/>
                </a:cubicBezTo>
                <a:cubicBezTo>
                  <a:pt x="96" y="88"/>
                  <a:pt x="96" y="88"/>
                  <a:pt x="96" y="88"/>
                </a:cubicBezTo>
                <a:cubicBezTo>
                  <a:pt x="97" y="87"/>
                  <a:pt x="97" y="87"/>
                  <a:pt x="97" y="87"/>
                </a:cubicBezTo>
                <a:cubicBezTo>
                  <a:pt x="97" y="84"/>
                  <a:pt x="97" y="84"/>
                  <a:pt x="97" y="84"/>
                </a:cubicBezTo>
                <a:cubicBezTo>
                  <a:pt x="98" y="84"/>
                  <a:pt x="98" y="84"/>
                  <a:pt x="98" y="84"/>
                </a:cubicBezTo>
                <a:cubicBezTo>
                  <a:pt x="100" y="86"/>
                  <a:pt x="100" y="86"/>
                  <a:pt x="100" y="86"/>
                </a:cubicBezTo>
                <a:cubicBezTo>
                  <a:pt x="101" y="86"/>
                  <a:pt x="101" y="86"/>
                  <a:pt x="101" y="86"/>
                </a:cubicBezTo>
                <a:cubicBezTo>
                  <a:pt x="102" y="86"/>
                  <a:pt x="102" y="86"/>
                  <a:pt x="102" y="86"/>
                </a:cubicBezTo>
                <a:cubicBezTo>
                  <a:pt x="103" y="86"/>
                  <a:pt x="103" y="86"/>
                  <a:pt x="103" y="86"/>
                </a:cubicBezTo>
                <a:cubicBezTo>
                  <a:pt x="104" y="87"/>
                  <a:pt x="104" y="87"/>
                  <a:pt x="104" y="87"/>
                </a:cubicBezTo>
                <a:cubicBezTo>
                  <a:pt x="105" y="87"/>
                  <a:pt x="105" y="87"/>
                  <a:pt x="105" y="87"/>
                </a:cubicBezTo>
                <a:cubicBezTo>
                  <a:pt x="106" y="88"/>
                  <a:pt x="106" y="88"/>
                  <a:pt x="106" y="88"/>
                </a:cubicBezTo>
                <a:cubicBezTo>
                  <a:pt x="107" y="88"/>
                  <a:pt x="107" y="88"/>
                  <a:pt x="107" y="88"/>
                </a:cubicBezTo>
                <a:cubicBezTo>
                  <a:pt x="109" y="88"/>
                  <a:pt x="109" y="88"/>
                  <a:pt x="109" y="88"/>
                </a:cubicBezTo>
                <a:cubicBezTo>
                  <a:pt x="109" y="89"/>
                  <a:pt x="109" y="89"/>
                  <a:pt x="109" y="89"/>
                </a:cubicBezTo>
                <a:cubicBezTo>
                  <a:pt x="110" y="91"/>
                  <a:pt x="110" y="91"/>
                  <a:pt x="110" y="91"/>
                </a:cubicBezTo>
                <a:cubicBezTo>
                  <a:pt x="110" y="92"/>
                  <a:pt x="110" y="92"/>
                  <a:pt x="110" y="92"/>
                </a:cubicBezTo>
                <a:cubicBezTo>
                  <a:pt x="111" y="93"/>
                  <a:pt x="111" y="93"/>
                  <a:pt x="111" y="93"/>
                </a:cubicBezTo>
                <a:cubicBezTo>
                  <a:pt x="112" y="94"/>
                  <a:pt x="112" y="94"/>
                  <a:pt x="112" y="94"/>
                </a:cubicBezTo>
                <a:cubicBezTo>
                  <a:pt x="114" y="93"/>
                  <a:pt x="114" y="93"/>
                  <a:pt x="114" y="93"/>
                </a:cubicBezTo>
                <a:cubicBezTo>
                  <a:pt x="115" y="94"/>
                  <a:pt x="115" y="94"/>
                  <a:pt x="115" y="94"/>
                </a:cubicBezTo>
                <a:cubicBezTo>
                  <a:pt x="116" y="94"/>
                  <a:pt x="116" y="94"/>
                  <a:pt x="116" y="94"/>
                </a:cubicBezTo>
                <a:cubicBezTo>
                  <a:pt x="116" y="93"/>
                  <a:pt x="116" y="93"/>
                  <a:pt x="116" y="93"/>
                </a:cubicBezTo>
                <a:cubicBezTo>
                  <a:pt x="118" y="93"/>
                  <a:pt x="118" y="93"/>
                  <a:pt x="118" y="93"/>
                </a:cubicBezTo>
                <a:cubicBezTo>
                  <a:pt x="118" y="94"/>
                  <a:pt x="118" y="94"/>
                  <a:pt x="118" y="94"/>
                </a:cubicBezTo>
                <a:cubicBezTo>
                  <a:pt x="119" y="94"/>
                  <a:pt x="119" y="94"/>
                  <a:pt x="119" y="94"/>
                </a:cubicBezTo>
                <a:cubicBezTo>
                  <a:pt x="120" y="94"/>
                  <a:pt x="120" y="94"/>
                  <a:pt x="120" y="94"/>
                </a:cubicBezTo>
                <a:cubicBezTo>
                  <a:pt x="119" y="97"/>
                  <a:pt x="119" y="97"/>
                  <a:pt x="119" y="97"/>
                </a:cubicBezTo>
                <a:cubicBezTo>
                  <a:pt x="119" y="98"/>
                  <a:pt x="119" y="98"/>
                  <a:pt x="119" y="98"/>
                </a:cubicBezTo>
                <a:cubicBezTo>
                  <a:pt x="119" y="98"/>
                  <a:pt x="119" y="98"/>
                  <a:pt x="119" y="98"/>
                </a:cubicBezTo>
                <a:cubicBezTo>
                  <a:pt x="120" y="100"/>
                  <a:pt x="120" y="100"/>
                  <a:pt x="120" y="100"/>
                </a:cubicBezTo>
                <a:cubicBezTo>
                  <a:pt x="119" y="101"/>
                  <a:pt x="119" y="101"/>
                  <a:pt x="119" y="101"/>
                </a:cubicBezTo>
                <a:cubicBezTo>
                  <a:pt x="118" y="100"/>
                  <a:pt x="118" y="100"/>
                  <a:pt x="118" y="100"/>
                </a:cubicBezTo>
                <a:cubicBezTo>
                  <a:pt x="117" y="100"/>
                  <a:pt x="117" y="100"/>
                  <a:pt x="117" y="100"/>
                </a:cubicBezTo>
                <a:cubicBezTo>
                  <a:pt x="115" y="98"/>
                  <a:pt x="115" y="98"/>
                  <a:pt x="115" y="98"/>
                </a:cubicBezTo>
                <a:cubicBezTo>
                  <a:pt x="114" y="98"/>
                  <a:pt x="114" y="98"/>
                  <a:pt x="114" y="98"/>
                </a:cubicBezTo>
                <a:cubicBezTo>
                  <a:pt x="112" y="97"/>
                  <a:pt x="112" y="97"/>
                  <a:pt x="112" y="97"/>
                </a:cubicBezTo>
                <a:cubicBezTo>
                  <a:pt x="112" y="97"/>
                  <a:pt x="112" y="97"/>
                  <a:pt x="112" y="97"/>
                </a:cubicBezTo>
                <a:cubicBezTo>
                  <a:pt x="110" y="98"/>
                  <a:pt x="110" y="98"/>
                  <a:pt x="110" y="98"/>
                </a:cubicBezTo>
                <a:cubicBezTo>
                  <a:pt x="108" y="98"/>
                  <a:pt x="108" y="98"/>
                  <a:pt x="108" y="98"/>
                </a:cubicBezTo>
                <a:cubicBezTo>
                  <a:pt x="106" y="97"/>
                  <a:pt x="106" y="97"/>
                  <a:pt x="106" y="97"/>
                </a:cubicBezTo>
                <a:cubicBezTo>
                  <a:pt x="104" y="97"/>
                  <a:pt x="104" y="97"/>
                  <a:pt x="104" y="97"/>
                </a:cubicBezTo>
                <a:cubicBezTo>
                  <a:pt x="103" y="98"/>
                  <a:pt x="103" y="98"/>
                  <a:pt x="103" y="98"/>
                </a:cubicBezTo>
                <a:cubicBezTo>
                  <a:pt x="101" y="97"/>
                  <a:pt x="101" y="97"/>
                  <a:pt x="101" y="97"/>
                </a:cubicBezTo>
                <a:cubicBezTo>
                  <a:pt x="99" y="97"/>
                  <a:pt x="99" y="97"/>
                  <a:pt x="99" y="97"/>
                </a:cubicBezTo>
                <a:cubicBezTo>
                  <a:pt x="98" y="97"/>
                  <a:pt x="98" y="97"/>
                  <a:pt x="98" y="97"/>
                </a:cubicBezTo>
                <a:cubicBezTo>
                  <a:pt x="95" y="96"/>
                  <a:pt x="95" y="96"/>
                  <a:pt x="95" y="96"/>
                </a:cubicBezTo>
                <a:cubicBezTo>
                  <a:pt x="92" y="94"/>
                  <a:pt x="92" y="94"/>
                  <a:pt x="92" y="94"/>
                </a:cubicBezTo>
                <a:cubicBezTo>
                  <a:pt x="90" y="94"/>
                  <a:pt x="90" y="94"/>
                  <a:pt x="90" y="94"/>
                </a:cubicBezTo>
                <a:cubicBezTo>
                  <a:pt x="88" y="93"/>
                  <a:pt x="88" y="93"/>
                  <a:pt x="88" y="93"/>
                </a:cubicBezTo>
                <a:cubicBezTo>
                  <a:pt x="87" y="93"/>
                  <a:pt x="87" y="93"/>
                  <a:pt x="87" y="93"/>
                </a:cubicBezTo>
                <a:cubicBezTo>
                  <a:pt x="86" y="94"/>
                  <a:pt x="86" y="94"/>
                  <a:pt x="86" y="94"/>
                </a:cubicBezTo>
                <a:cubicBezTo>
                  <a:pt x="85" y="94"/>
                  <a:pt x="85" y="94"/>
                  <a:pt x="85" y="94"/>
                </a:cubicBezTo>
                <a:cubicBezTo>
                  <a:pt x="84" y="93"/>
                  <a:pt x="84" y="93"/>
                  <a:pt x="84" y="93"/>
                </a:cubicBezTo>
                <a:cubicBezTo>
                  <a:pt x="83" y="93"/>
                  <a:pt x="83" y="93"/>
                  <a:pt x="83" y="93"/>
                </a:cubicBezTo>
                <a:cubicBezTo>
                  <a:pt x="82" y="94"/>
                  <a:pt x="82" y="94"/>
                  <a:pt x="82" y="94"/>
                </a:cubicBezTo>
                <a:cubicBezTo>
                  <a:pt x="80" y="93"/>
                  <a:pt x="80" y="93"/>
                  <a:pt x="80" y="93"/>
                </a:cubicBezTo>
                <a:cubicBezTo>
                  <a:pt x="78" y="92"/>
                  <a:pt x="78" y="92"/>
                  <a:pt x="78" y="92"/>
                </a:cubicBezTo>
                <a:cubicBezTo>
                  <a:pt x="76" y="92"/>
                  <a:pt x="76" y="92"/>
                  <a:pt x="76" y="92"/>
                </a:cubicBezTo>
                <a:cubicBezTo>
                  <a:pt x="75" y="91"/>
                  <a:pt x="75" y="91"/>
                  <a:pt x="75" y="91"/>
                </a:cubicBezTo>
                <a:cubicBezTo>
                  <a:pt x="74" y="92"/>
                  <a:pt x="74" y="92"/>
                  <a:pt x="74" y="92"/>
                </a:cubicBezTo>
                <a:cubicBezTo>
                  <a:pt x="72" y="92"/>
                  <a:pt x="72" y="92"/>
                  <a:pt x="72" y="92"/>
                </a:cubicBezTo>
                <a:cubicBezTo>
                  <a:pt x="71" y="91"/>
                  <a:pt x="71" y="91"/>
                  <a:pt x="71" y="91"/>
                </a:cubicBezTo>
                <a:cubicBezTo>
                  <a:pt x="70" y="91"/>
                  <a:pt x="70" y="91"/>
                  <a:pt x="70" y="91"/>
                </a:cubicBezTo>
                <a:cubicBezTo>
                  <a:pt x="71" y="89"/>
                  <a:pt x="71" y="89"/>
                  <a:pt x="71" y="89"/>
                </a:cubicBezTo>
                <a:cubicBezTo>
                  <a:pt x="71" y="89"/>
                  <a:pt x="71" y="89"/>
                  <a:pt x="71" y="89"/>
                </a:cubicBezTo>
                <a:cubicBezTo>
                  <a:pt x="71" y="89"/>
                  <a:pt x="71" y="89"/>
                  <a:pt x="71" y="89"/>
                </a:cubicBezTo>
                <a:cubicBezTo>
                  <a:pt x="70" y="89"/>
                  <a:pt x="70" y="89"/>
                  <a:pt x="70" y="89"/>
                </a:cubicBezTo>
                <a:cubicBezTo>
                  <a:pt x="69" y="88"/>
                  <a:pt x="69" y="88"/>
                  <a:pt x="69" y="88"/>
                </a:cubicBezTo>
                <a:cubicBezTo>
                  <a:pt x="68" y="87"/>
                  <a:pt x="68" y="87"/>
                  <a:pt x="68" y="87"/>
                </a:cubicBezTo>
                <a:cubicBezTo>
                  <a:pt x="67" y="88"/>
                  <a:pt x="67" y="88"/>
                  <a:pt x="67" y="88"/>
                </a:cubicBezTo>
                <a:cubicBezTo>
                  <a:pt x="64" y="88"/>
                  <a:pt x="64" y="88"/>
                  <a:pt x="64" y="88"/>
                </a:cubicBezTo>
                <a:cubicBezTo>
                  <a:pt x="64" y="87"/>
                  <a:pt x="64" y="87"/>
                  <a:pt x="64" y="87"/>
                </a:cubicBezTo>
                <a:cubicBezTo>
                  <a:pt x="64" y="87"/>
                  <a:pt x="64" y="87"/>
                  <a:pt x="64" y="87"/>
                </a:cubicBezTo>
                <a:cubicBezTo>
                  <a:pt x="64" y="87"/>
                  <a:pt x="64" y="87"/>
                  <a:pt x="64" y="87"/>
                </a:cubicBezTo>
                <a:close/>
                <a:moveTo>
                  <a:pt x="80" y="16"/>
                </a:moveTo>
                <a:cubicBezTo>
                  <a:pt x="82" y="17"/>
                  <a:pt x="82" y="17"/>
                  <a:pt x="82" y="17"/>
                </a:cubicBezTo>
                <a:cubicBezTo>
                  <a:pt x="82" y="17"/>
                  <a:pt x="82" y="17"/>
                  <a:pt x="82" y="17"/>
                </a:cubicBezTo>
                <a:cubicBezTo>
                  <a:pt x="82" y="18"/>
                  <a:pt x="82" y="18"/>
                  <a:pt x="82" y="18"/>
                </a:cubicBezTo>
                <a:cubicBezTo>
                  <a:pt x="83" y="18"/>
                  <a:pt x="83" y="18"/>
                  <a:pt x="83" y="18"/>
                </a:cubicBezTo>
                <a:cubicBezTo>
                  <a:pt x="83" y="16"/>
                  <a:pt x="83" y="16"/>
                  <a:pt x="83" y="16"/>
                </a:cubicBezTo>
                <a:cubicBezTo>
                  <a:pt x="82" y="14"/>
                  <a:pt x="82" y="14"/>
                  <a:pt x="82" y="14"/>
                </a:cubicBezTo>
                <a:cubicBezTo>
                  <a:pt x="81" y="15"/>
                  <a:pt x="81" y="15"/>
                  <a:pt x="81" y="15"/>
                </a:cubicBezTo>
                <a:cubicBezTo>
                  <a:pt x="80" y="16"/>
                  <a:pt x="80" y="16"/>
                  <a:pt x="80" y="16"/>
                </a:cubicBezTo>
                <a:close/>
                <a:moveTo>
                  <a:pt x="70" y="24"/>
                </a:moveTo>
                <a:cubicBezTo>
                  <a:pt x="70" y="25"/>
                  <a:pt x="70" y="25"/>
                  <a:pt x="70" y="25"/>
                </a:cubicBezTo>
                <a:cubicBezTo>
                  <a:pt x="71" y="24"/>
                  <a:pt x="71" y="24"/>
                  <a:pt x="71" y="24"/>
                </a:cubicBezTo>
                <a:cubicBezTo>
                  <a:pt x="70" y="24"/>
                  <a:pt x="70" y="24"/>
                  <a:pt x="70" y="24"/>
                </a:cubicBezTo>
                <a:close/>
                <a:moveTo>
                  <a:pt x="70" y="21"/>
                </a:moveTo>
                <a:cubicBezTo>
                  <a:pt x="71" y="20"/>
                  <a:pt x="71" y="20"/>
                  <a:pt x="71" y="20"/>
                </a:cubicBezTo>
                <a:cubicBezTo>
                  <a:pt x="70" y="20"/>
                  <a:pt x="70" y="20"/>
                  <a:pt x="70" y="20"/>
                </a:cubicBezTo>
                <a:cubicBezTo>
                  <a:pt x="70" y="21"/>
                  <a:pt x="70" y="21"/>
                  <a:pt x="70" y="21"/>
                </a:cubicBezTo>
                <a:close/>
                <a:moveTo>
                  <a:pt x="70" y="22"/>
                </a:moveTo>
                <a:cubicBezTo>
                  <a:pt x="70" y="22"/>
                  <a:pt x="70" y="22"/>
                  <a:pt x="70" y="22"/>
                </a:cubicBezTo>
                <a:cubicBezTo>
                  <a:pt x="70" y="22"/>
                  <a:pt x="70" y="22"/>
                  <a:pt x="70" y="22"/>
                </a:cubicBezTo>
                <a:cubicBezTo>
                  <a:pt x="70" y="22"/>
                  <a:pt x="70" y="22"/>
                  <a:pt x="70" y="22"/>
                </a:cubicBezTo>
                <a:close/>
                <a:moveTo>
                  <a:pt x="66" y="23"/>
                </a:moveTo>
                <a:cubicBezTo>
                  <a:pt x="66" y="24"/>
                  <a:pt x="66" y="24"/>
                  <a:pt x="66" y="24"/>
                </a:cubicBezTo>
                <a:cubicBezTo>
                  <a:pt x="67" y="24"/>
                  <a:pt x="67" y="24"/>
                  <a:pt x="67" y="24"/>
                </a:cubicBezTo>
                <a:cubicBezTo>
                  <a:pt x="68" y="23"/>
                  <a:pt x="68" y="23"/>
                  <a:pt x="68" y="23"/>
                </a:cubicBezTo>
                <a:cubicBezTo>
                  <a:pt x="67" y="23"/>
                  <a:pt x="67" y="23"/>
                  <a:pt x="67" y="23"/>
                </a:cubicBezTo>
                <a:cubicBezTo>
                  <a:pt x="66" y="23"/>
                  <a:pt x="66" y="23"/>
                  <a:pt x="66" y="23"/>
                </a:cubicBezTo>
                <a:close/>
                <a:moveTo>
                  <a:pt x="55" y="37"/>
                </a:moveTo>
                <a:cubicBezTo>
                  <a:pt x="57" y="37"/>
                  <a:pt x="57" y="37"/>
                  <a:pt x="57" y="37"/>
                </a:cubicBezTo>
                <a:cubicBezTo>
                  <a:pt x="57" y="36"/>
                  <a:pt x="57" y="36"/>
                  <a:pt x="57" y="36"/>
                </a:cubicBezTo>
                <a:cubicBezTo>
                  <a:pt x="57" y="35"/>
                  <a:pt x="57" y="35"/>
                  <a:pt x="57" y="35"/>
                </a:cubicBezTo>
                <a:cubicBezTo>
                  <a:pt x="55" y="37"/>
                  <a:pt x="55" y="37"/>
                  <a:pt x="55" y="37"/>
                </a:cubicBezTo>
                <a:close/>
                <a:moveTo>
                  <a:pt x="58" y="35"/>
                </a:moveTo>
                <a:cubicBezTo>
                  <a:pt x="58" y="37"/>
                  <a:pt x="58" y="37"/>
                  <a:pt x="58" y="37"/>
                </a:cubicBezTo>
                <a:cubicBezTo>
                  <a:pt x="59" y="37"/>
                  <a:pt x="59" y="37"/>
                  <a:pt x="59" y="37"/>
                </a:cubicBezTo>
                <a:cubicBezTo>
                  <a:pt x="60" y="39"/>
                  <a:pt x="60" y="39"/>
                  <a:pt x="60" y="39"/>
                </a:cubicBezTo>
                <a:cubicBezTo>
                  <a:pt x="60" y="38"/>
                  <a:pt x="60" y="38"/>
                  <a:pt x="60" y="38"/>
                </a:cubicBezTo>
                <a:cubicBezTo>
                  <a:pt x="61" y="36"/>
                  <a:pt x="61" y="36"/>
                  <a:pt x="61" y="36"/>
                </a:cubicBezTo>
                <a:cubicBezTo>
                  <a:pt x="60" y="36"/>
                  <a:pt x="60" y="36"/>
                  <a:pt x="60" y="36"/>
                </a:cubicBezTo>
                <a:cubicBezTo>
                  <a:pt x="61" y="35"/>
                  <a:pt x="61" y="35"/>
                  <a:pt x="61" y="35"/>
                </a:cubicBezTo>
                <a:cubicBezTo>
                  <a:pt x="60" y="35"/>
                  <a:pt x="60" y="35"/>
                  <a:pt x="60" y="35"/>
                </a:cubicBezTo>
                <a:cubicBezTo>
                  <a:pt x="59" y="35"/>
                  <a:pt x="59" y="35"/>
                  <a:pt x="59" y="35"/>
                </a:cubicBezTo>
                <a:cubicBezTo>
                  <a:pt x="58" y="35"/>
                  <a:pt x="58" y="35"/>
                  <a:pt x="58" y="35"/>
                </a:cubicBezTo>
                <a:close/>
                <a:moveTo>
                  <a:pt x="86" y="54"/>
                </a:moveTo>
                <a:cubicBezTo>
                  <a:pt x="86" y="55"/>
                  <a:pt x="86" y="55"/>
                  <a:pt x="86" y="55"/>
                </a:cubicBezTo>
                <a:cubicBezTo>
                  <a:pt x="87" y="55"/>
                  <a:pt x="87" y="55"/>
                  <a:pt x="87" y="55"/>
                </a:cubicBezTo>
                <a:cubicBezTo>
                  <a:pt x="88" y="55"/>
                  <a:pt x="88" y="55"/>
                  <a:pt x="88" y="55"/>
                </a:cubicBezTo>
                <a:cubicBezTo>
                  <a:pt x="87" y="54"/>
                  <a:pt x="87" y="54"/>
                  <a:pt x="87" y="54"/>
                </a:cubicBezTo>
                <a:cubicBezTo>
                  <a:pt x="86" y="54"/>
                  <a:pt x="86" y="54"/>
                  <a:pt x="86" y="54"/>
                </a:cubicBezTo>
                <a:close/>
                <a:moveTo>
                  <a:pt x="78" y="60"/>
                </a:moveTo>
                <a:cubicBezTo>
                  <a:pt x="78" y="61"/>
                  <a:pt x="78" y="61"/>
                  <a:pt x="78" y="61"/>
                </a:cubicBezTo>
                <a:cubicBezTo>
                  <a:pt x="78" y="62"/>
                  <a:pt x="78" y="62"/>
                  <a:pt x="78" y="62"/>
                </a:cubicBezTo>
                <a:cubicBezTo>
                  <a:pt x="77" y="62"/>
                  <a:pt x="77" y="62"/>
                  <a:pt x="77" y="62"/>
                </a:cubicBezTo>
                <a:cubicBezTo>
                  <a:pt x="77" y="63"/>
                  <a:pt x="77" y="63"/>
                  <a:pt x="77" y="63"/>
                </a:cubicBezTo>
                <a:cubicBezTo>
                  <a:pt x="78" y="63"/>
                  <a:pt x="78" y="63"/>
                  <a:pt x="78" y="63"/>
                </a:cubicBezTo>
                <a:cubicBezTo>
                  <a:pt x="78" y="62"/>
                  <a:pt x="78" y="62"/>
                  <a:pt x="78" y="62"/>
                </a:cubicBezTo>
                <a:cubicBezTo>
                  <a:pt x="78" y="62"/>
                  <a:pt x="78" y="62"/>
                  <a:pt x="78" y="62"/>
                </a:cubicBezTo>
                <a:cubicBezTo>
                  <a:pt x="78" y="64"/>
                  <a:pt x="78" y="64"/>
                  <a:pt x="78" y="64"/>
                </a:cubicBezTo>
                <a:cubicBezTo>
                  <a:pt x="79" y="65"/>
                  <a:pt x="79" y="65"/>
                  <a:pt x="79" y="65"/>
                </a:cubicBezTo>
                <a:cubicBezTo>
                  <a:pt x="80" y="63"/>
                  <a:pt x="80" y="63"/>
                  <a:pt x="80" y="63"/>
                </a:cubicBezTo>
                <a:cubicBezTo>
                  <a:pt x="81" y="64"/>
                  <a:pt x="81" y="64"/>
                  <a:pt x="81" y="64"/>
                </a:cubicBezTo>
                <a:cubicBezTo>
                  <a:pt x="82" y="64"/>
                  <a:pt x="82" y="64"/>
                  <a:pt x="82" y="64"/>
                </a:cubicBezTo>
                <a:cubicBezTo>
                  <a:pt x="82" y="63"/>
                  <a:pt x="82" y="63"/>
                  <a:pt x="82" y="63"/>
                </a:cubicBezTo>
                <a:cubicBezTo>
                  <a:pt x="83" y="63"/>
                  <a:pt x="83" y="63"/>
                  <a:pt x="83" y="63"/>
                </a:cubicBezTo>
                <a:cubicBezTo>
                  <a:pt x="83" y="62"/>
                  <a:pt x="83" y="62"/>
                  <a:pt x="83" y="62"/>
                </a:cubicBezTo>
                <a:cubicBezTo>
                  <a:pt x="81" y="60"/>
                  <a:pt x="81" y="60"/>
                  <a:pt x="81" y="60"/>
                </a:cubicBezTo>
                <a:cubicBezTo>
                  <a:pt x="79" y="60"/>
                  <a:pt x="79" y="60"/>
                  <a:pt x="79" y="60"/>
                </a:cubicBezTo>
                <a:cubicBezTo>
                  <a:pt x="78" y="60"/>
                  <a:pt x="78" y="60"/>
                  <a:pt x="78" y="60"/>
                </a:cubicBezTo>
                <a:close/>
                <a:moveTo>
                  <a:pt x="74" y="62"/>
                </a:moveTo>
                <a:cubicBezTo>
                  <a:pt x="74" y="63"/>
                  <a:pt x="74" y="63"/>
                  <a:pt x="74" y="63"/>
                </a:cubicBezTo>
                <a:cubicBezTo>
                  <a:pt x="75" y="63"/>
                  <a:pt x="75" y="63"/>
                  <a:pt x="75" y="63"/>
                </a:cubicBezTo>
                <a:cubicBezTo>
                  <a:pt x="74" y="62"/>
                  <a:pt x="74" y="62"/>
                  <a:pt x="74" y="62"/>
                </a:cubicBezTo>
                <a:close/>
                <a:moveTo>
                  <a:pt x="65" y="54"/>
                </a:moveTo>
                <a:cubicBezTo>
                  <a:pt x="65" y="55"/>
                  <a:pt x="65" y="55"/>
                  <a:pt x="65" y="55"/>
                </a:cubicBezTo>
                <a:cubicBezTo>
                  <a:pt x="64" y="56"/>
                  <a:pt x="64" y="56"/>
                  <a:pt x="64" y="56"/>
                </a:cubicBezTo>
                <a:cubicBezTo>
                  <a:pt x="65" y="57"/>
                  <a:pt x="65" y="57"/>
                  <a:pt x="65" y="57"/>
                </a:cubicBezTo>
                <a:cubicBezTo>
                  <a:pt x="67" y="58"/>
                  <a:pt x="67" y="58"/>
                  <a:pt x="67" y="58"/>
                </a:cubicBezTo>
                <a:cubicBezTo>
                  <a:pt x="67" y="58"/>
                  <a:pt x="67" y="58"/>
                  <a:pt x="67" y="58"/>
                </a:cubicBezTo>
                <a:cubicBezTo>
                  <a:pt x="67" y="59"/>
                  <a:pt x="67" y="59"/>
                  <a:pt x="67" y="59"/>
                </a:cubicBezTo>
                <a:cubicBezTo>
                  <a:pt x="68" y="60"/>
                  <a:pt x="68" y="60"/>
                  <a:pt x="68" y="60"/>
                </a:cubicBezTo>
                <a:cubicBezTo>
                  <a:pt x="69" y="61"/>
                  <a:pt x="69" y="61"/>
                  <a:pt x="69" y="61"/>
                </a:cubicBezTo>
                <a:cubicBezTo>
                  <a:pt x="70" y="62"/>
                  <a:pt x="70" y="62"/>
                  <a:pt x="70" y="62"/>
                </a:cubicBezTo>
                <a:cubicBezTo>
                  <a:pt x="71" y="62"/>
                  <a:pt x="71" y="62"/>
                  <a:pt x="71" y="62"/>
                </a:cubicBezTo>
                <a:cubicBezTo>
                  <a:pt x="72" y="63"/>
                  <a:pt x="72" y="63"/>
                  <a:pt x="72" y="63"/>
                </a:cubicBezTo>
                <a:cubicBezTo>
                  <a:pt x="72" y="64"/>
                  <a:pt x="72" y="64"/>
                  <a:pt x="72" y="64"/>
                </a:cubicBezTo>
                <a:cubicBezTo>
                  <a:pt x="73" y="63"/>
                  <a:pt x="73" y="63"/>
                  <a:pt x="73" y="63"/>
                </a:cubicBezTo>
                <a:cubicBezTo>
                  <a:pt x="72" y="62"/>
                  <a:pt x="72" y="62"/>
                  <a:pt x="72" y="62"/>
                </a:cubicBezTo>
                <a:cubicBezTo>
                  <a:pt x="73" y="60"/>
                  <a:pt x="73" y="60"/>
                  <a:pt x="73" y="60"/>
                </a:cubicBezTo>
                <a:cubicBezTo>
                  <a:pt x="71" y="60"/>
                  <a:pt x="71" y="60"/>
                  <a:pt x="71" y="60"/>
                </a:cubicBezTo>
                <a:cubicBezTo>
                  <a:pt x="70" y="58"/>
                  <a:pt x="70" y="58"/>
                  <a:pt x="70" y="58"/>
                </a:cubicBezTo>
                <a:cubicBezTo>
                  <a:pt x="69" y="55"/>
                  <a:pt x="69" y="55"/>
                  <a:pt x="69" y="55"/>
                </a:cubicBezTo>
                <a:cubicBezTo>
                  <a:pt x="69" y="55"/>
                  <a:pt x="69" y="55"/>
                  <a:pt x="69" y="55"/>
                </a:cubicBezTo>
                <a:cubicBezTo>
                  <a:pt x="68" y="54"/>
                  <a:pt x="68" y="54"/>
                  <a:pt x="68" y="54"/>
                </a:cubicBezTo>
                <a:cubicBezTo>
                  <a:pt x="68" y="54"/>
                  <a:pt x="68" y="54"/>
                  <a:pt x="68" y="54"/>
                </a:cubicBezTo>
                <a:cubicBezTo>
                  <a:pt x="67" y="54"/>
                  <a:pt x="67" y="54"/>
                  <a:pt x="67" y="54"/>
                </a:cubicBezTo>
                <a:cubicBezTo>
                  <a:pt x="67" y="55"/>
                  <a:pt x="67" y="55"/>
                  <a:pt x="67" y="55"/>
                </a:cubicBezTo>
                <a:cubicBezTo>
                  <a:pt x="67" y="55"/>
                  <a:pt x="67" y="55"/>
                  <a:pt x="67" y="55"/>
                </a:cubicBezTo>
                <a:cubicBezTo>
                  <a:pt x="66" y="55"/>
                  <a:pt x="66" y="55"/>
                  <a:pt x="66" y="55"/>
                </a:cubicBezTo>
                <a:cubicBezTo>
                  <a:pt x="65" y="54"/>
                  <a:pt x="65" y="54"/>
                  <a:pt x="65" y="54"/>
                </a:cubicBezTo>
                <a:cubicBezTo>
                  <a:pt x="65" y="54"/>
                  <a:pt x="65" y="54"/>
                  <a:pt x="65" y="54"/>
                </a:cubicBezTo>
                <a:close/>
                <a:moveTo>
                  <a:pt x="59" y="47"/>
                </a:moveTo>
                <a:cubicBezTo>
                  <a:pt x="58" y="48"/>
                  <a:pt x="58" y="48"/>
                  <a:pt x="58" y="48"/>
                </a:cubicBezTo>
                <a:cubicBezTo>
                  <a:pt x="59" y="48"/>
                  <a:pt x="59" y="48"/>
                  <a:pt x="59" y="48"/>
                </a:cubicBezTo>
                <a:cubicBezTo>
                  <a:pt x="60" y="48"/>
                  <a:pt x="60" y="48"/>
                  <a:pt x="60" y="48"/>
                </a:cubicBezTo>
                <a:cubicBezTo>
                  <a:pt x="60" y="47"/>
                  <a:pt x="60" y="47"/>
                  <a:pt x="60" y="47"/>
                </a:cubicBezTo>
                <a:cubicBezTo>
                  <a:pt x="59" y="47"/>
                  <a:pt x="59" y="47"/>
                  <a:pt x="59" y="47"/>
                </a:cubicBezTo>
                <a:close/>
                <a:moveTo>
                  <a:pt x="60" y="44"/>
                </a:moveTo>
                <a:cubicBezTo>
                  <a:pt x="59" y="45"/>
                  <a:pt x="59" y="45"/>
                  <a:pt x="59" y="45"/>
                </a:cubicBezTo>
                <a:cubicBezTo>
                  <a:pt x="60" y="46"/>
                  <a:pt x="60" y="46"/>
                  <a:pt x="60" y="46"/>
                </a:cubicBezTo>
                <a:cubicBezTo>
                  <a:pt x="61" y="46"/>
                  <a:pt x="61" y="46"/>
                  <a:pt x="61" y="46"/>
                </a:cubicBezTo>
                <a:cubicBezTo>
                  <a:pt x="62" y="46"/>
                  <a:pt x="62" y="46"/>
                  <a:pt x="62" y="46"/>
                </a:cubicBezTo>
                <a:cubicBezTo>
                  <a:pt x="63" y="46"/>
                  <a:pt x="63" y="46"/>
                  <a:pt x="63" y="46"/>
                </a:cubicBezTo>
                <a:cubicBezTo>
                  <a:pt x="61" y="44"/>
                  <a:pt x="61" y="44"/>
                  <a:pt x="61" y="44"/>
                </a:cubicBezTo>
                <a:cubicBezTo>
                  <a:pt x="60" y="44"/>
                  <a:pt x="60" y="44"/>
                  <a:pt x="60" y="44"/>
                </a:cubicBezTo>
                <a:close/>
                <a:moveTo>
                  <a:pt x="47" y="36"/>
                </a:moveTo>
                <a:cubicBezTo>
                  <a:pt x="46" y="37"/>
                  <a:pt x="46" y="37"/>
                  <a:pt x="46" y="37"/>
                </a:cubicBezTo>
                <a:cubicBezTo>
                  <a:pt x="47" y="38"/>
                  <a:pt x="47" y="38"/>
                  <a:pt x="47" y="38"/>
                </a:cubicBezTo>
                <a:cubicBezTo>
                  <a:pt x="49" y="39"/>
                  <a:pt x="49" y="39"/>
                  <a:pt x="49" y="39"/>
                </a:cubicBezTo>
                <a:cubicBezTo>
                  <a:pt x="50" y="39"/>
                  <a:pt x="50" y="39"/>
                  <a:pt x="50" y="39"/>
                </a:cubicBezTo>
                <a:cubicBezTo>
                  <a:pt x="51" y="39"/>
                  <a:pt x="51" y="39"/>
                  <a:pt x="51" y="39"/>
                </a:cubicBezTo>
                <a:cubicBezTo>
                  <a:pt x="50" y="37"/>
                  <a:pt x="50" y="37"/>
                  <a:pt x="50" y="37"/>
                </a:cubicBezTo>
                <a:cubicBezTo>
                  <a:pt x="49" y="36"/>
                  <a:pt x="49" y="36"/>
                  <a:pt x="49" y="36"/>
                </a:cubicBezTo>
                <a:cubicBezTo>
                  <a:pt x="47" y="36"/>
                  <a:pt x="47" y="36"/>
                  <a:pt x="47" y="36"/>
                </a:cubicBezTo>
                <a:close/>
                <a:moveTo>
                  <a:pt x="44" y="34"/>
                </a:moveTo>
                <a:cubicBezTo>
                  <a:pt x="44" y="34"/>
                  <a:pt x="44" y="34"/>
                  <a:pt x="44" y="34"/>
                </a:cubicBezTo>
                <a:cubicBezTo>
                  <a:pt x="46" y="34"/>
                  <a:pt x="46" y="34"/>
                  <a:pt x="46" y="34"/>
                </a:cubicBezTo>
                <a:cubicBezTo>
                  <a:pt x="47" y="35"/>
                  <a:pt x="47" y="35"/>
                  <a:pt x="47" y="35"/>
                </a:cubicBezTo>
                <a:cubicBezTo>
                  <a:pt x="46" y="36"/>
                  <a:pt x="46" y="36"/>
                  <a:pt x="46" y="36"/>
                </a:cubicBezTo>
                <a:cubicBezTo>
                  <a:pt x="45" y="36"/>
                  <a:pt x="45" y="36"/>
                  <a:pt x="45" y="36"/>
                </a:cubicBezTo>
                <a:cubicBezTo>
                  <a:pt x="44" y="34"/>
                  <a:pt x="44" y="34"/>
                  <a:pt x="44" y="34"/>
                </a:cubicBezTo>
                <a:close/>
                <a:moveTo>
                  <a:pt x="39" y="31"/>
                </a:moveTo>
                <a:cubicBezTo>
                  <a:pt x="40" y="32"/>
                  <a:pt x="40" y="32"/>
                  <a:pt x="40" y="32"/>
                </a:cubicBezTo>
                <a:cubicBezTo>
                  <a:pt x="41" y="32"/>
                  <a:pt x="41" y="32"/>
                  <a:pt x="41" y="32"/>
                </a:cubicBezTo>
                <a:cubicBezTo>
                  <a:pt x="42" y="31"/>
                  <a:pt x="42" y="31"/>
                  <a:pt x="42" y="31"/>
                </a:cubicBezTo>
                <a:cubicBezTo>
                  <a:pt x="41" y="30"/>
                  <a:pt x="41" y="30"/>
                  <a:pt x="41" y="30"/>
                </a:cubicBezTo>
                <a:cubicBezTo>
                  <a:pt x="41" y="30"/>
                  <a:pt x="41" y="30"/>
                  <a:pt x="41" y="30"/>
                </a:cubicBezTo>
                <a:cubicBezTo>
                  <a:pt x="39" y="31"/>
                  <a:pt x="39" y="31"/>
                  <a:pt x="39" y="31"/>
                </a:cubicBezTo>
                <a:close/>
                <a:moveTo>
                  <a:pt x="44" y="78"/>
                </a:moveTo>
                <a:cubicBezTo>
                  <a:pt x="45" y="79"/>
                  <a:pt x="45" y="79"/>
                  <a:pt x="45" y="79"/>
                </a:cubicBezTo>
                <a:cubicBezTo>
                  <a:pt x="45" y="78"/>
                  <a:pt x="45" y="78"/>
                  <a:pt x="45" y="78"/>
                </a:cubicBezTo>
                <a:cubicBezTo>
                  <a:pt x="45" y="77"/>
                  <a:pt x="45" y="77"/>
                  <a:pt x="45" y="77"/>
                </a:cubicBezTo>
                <a:cubicBezTo>
                  <a:pt x="44" y="78"/>
                  <a:pt x="44" y="78"/>
                  <a:pt x="44" y="78"/>
                </a:cubicBezTo>
                <a:close/>
                <a:moveTo>
                  <a:pt x="32" y="62"/>
                </a:moveTo>
                <a:cubicBezTo>
                  <a:pt x="31" y="63"/>
                  <a:pt x="31" y="63"/>
                  <a:pt x="31" y="63"/>
                </a:cubicBezTo>
                <a:cubicBezTo>
                  <a:pt x="34" y="65"/>
                  <a:pt x="34" y="65"/>
                  <a:pt x="34" y="65"/>
                </a:cubicBezTo>
                <a:cubicBezTo>
                  <a:pt x="33" y="64"/>
                  <a:pt x="33" y="64"/>
                  <a:pt x="33" y="64"/>
                </a:cubicBezTo>
                <a:cubicBezTo>
                  <a:pt x="34" y="63"/>
                  <a:pt x="34" y="63"/>
                  <a:pt x="34" y="63"/>
                </a:cubicBezTo>
                <a:cubicBezTo>
                  <a:pt x="32" y="62"/>
                  <a:pt x="32" y="62"/>
                  <a:pt x="32" y="62"/>
                </a:cubicBezTo>
                <a:close/>
                <a:moveTo>
                  <a:pt x="30" y="61"/>
                </a:moveTo>
                <a:cubicBezTo>
                  <a:pt x="31" y="61"/>
                  <a:pt x="31" y="61"/>
                  <a:pt x="31" y="61"/>
                </a:cubicBezTo>
                <a:cubicBezTo>
                  <a:pt x="31" y="62"/>
                  <a:pt x="31" y="62"/>
                  <a:pt x="31" y="62"/>
                </a:cubicBezTo>
                <a:cubicBezTo>
                  <a:pt x="30" y="61"/>
                  <a:pt x="30" y="61"/>
                  <a:pt x="30" y="61"/>
                </a:cubicBezTo>
                <a:close/>
                <a:moveTo>
                  <a:pt x="28" y="57"/>
                </a:moveTo>
                <a:cubicBezTo>
                  <a:pt x="27" y="57"/>
                  <a:pt x="27" y="57"/>
                  <a:pt x="27" y="57"/>
                </a:cubicBezTo>
                <a:cubicBezTo>
                  <a:pt x="28" y="58"/>
                  <a:pt x="28" y="58"/>
                  <a:pt x="28" y="58"/>
                </a:cubicBezTo>
                <a:cubicBezTo>
                  <a:pt x="30" y="59"/>
                  <a:pt x="30" y="59"/>
                  <a:pt x="30" y="59"/>
                </a:cubicBezTo>
                <a:cubicBezTo>
                  <a:pt x="28" y="57"/>
                  <a:pt x="28" y="57"/>
                  <a:pt x="28" y="57"/>
                </a:cubicBezTo>
                <a:close/>
                <a:moveTo>
                  <a:pt x="21" y="51"/>
                </a:moveTo>
                <a:cubicBezTo>
                  <a:pt x="21" y="52"/>
                  <a:pt x="21" y="52"/>
                  <a:pt x="21" y="52"/>
                </a:cubicBezTo>
                <a:cubicBezTo>
                  <a:pt x="23" y="52"/>
                  <a:pt x="23" y="52"/>
                  <a:pt x="23" y="52"/>
                </a:cubicBezTo>
                <a:cubicBezTo>
                  <a:pt x="24" y="55"/>
                  <a:pt x="24" y="55"/>
                  <a:pt x="24" y="55"/>
                </a:cubicBezTo>
                <a:cubicBezTo>
                  <a:pt x="26" y="55"/>
                  <a:pt x="26" y="55"/>
                  <a:pt x="26" y="55"/>
                </a:cubicBezTo>
                <a:cubicBezTo>
                  <a:pt x="26" y="53"/>
                  <a:pt x="26" y="53"/>
                  <a:pt x="26" y="53"/>
                </a:cubicBezTo>
                <a:cubicBezTo>
                  <a:pt x="24" y="50"/>
                  <a:pt x="24" y="50"/>
                  <a:pt x="24" y="50"/>
                </a:cubicBezTo>
                <a:cubicBezTo>
                  <a:pt x="23" y="50"/>
                  <a:pt x="23" y="50"/>
                  <a:pt x="23" y="50"/>
                </a:cubicBezTo>
                <a:cubicBezTo>
                  <a:pt x="21" y="51"/>
                  <a:pt x="21" y="51"/>
                  <a:pt x="21" y="51"/>
                </a:cubicBezTo>
                <a:close/>
                <a:moveTo>
                  <a:pt x="20" y="46"/>
                </a:moveTo>
                <a:cubicBezTo>
                  <a:pt x="20" y="48"/>
                  <a:pt x="20" y="48"/>
                  <a:pt x="20" y="48"/>
                </a:cubicBezTo>
                <a:cubicBezTo>
                  <a:pt x="20" y="48"/>
                  <a:pt x="20" y="48"/>
                  <a:pt x="20" y="48"/>
                </a:cubicBezTo>
                <a:cubicBezTo>
                  <a:pt x="21" y="48"/>
                  <a:pt x="21" y="48"/>
                  <a:pt x="21" y="48"/>
                </a:cubicBezTo>
                <a:cubicBezTo>
                  <a:pt x="21" y="47"/>
                  <a:pt x="21" y="47"/>
                  <a:pt x="21" y="47"/>
                </a:cubicBezTo>
                <a:cubicBezTo>
                  <a:pt x="20" y="46"/>
                  <a:pt x="20" y="46"/>
                  <a:pt x="20" y="46"/>
                </a:cubicBezTo>
                <a:close/>
                <a:moveTo>
                  <a:pt x="21" y="43"/>
                </a:moveTo>
                <a:cubicBezTo>
                  <a:pt x="23" y="43"/>
                  <a:pt x="23" y="43"/>
                  <a:pt x="23" y="43"/>
                </a:cubicBezTo>
                <a:cubicBezTo>
                  <a:pt x="23" y="43"/>
                  <a:pt x="23" y="43"/>
                  <a:pt x="23" y="43"/>
                </a:cubicBezTo>
                <a:cubicBezTo>
                  <a:pt x="23" y="42"/>
                  <a:pt x="23" y="42"/>
                  <a:pt x="23" y="42"/>
                </a:cubicBezTo>
                <a:cubicBezTo>
                  <a:pt x="22" y="42"/>
                  <a:pt x="22" y="42"/>
                  <a:pt x="22" y="42"/>
                </a:cubicBezTo>
                <a:cubicBezTo>
                  <a:pt x="21" y="43"/>
                  <a:pt x="21" y="43"/>
                  <a:pt x="21" y="43"/>
                </a:cubicBezTo>
                <a:close/>
                <a:moveTo>
                  <a:pt x="12" y="34"/>
                </a:moveTo>
                <a:cubicBezTo>
                  <a:pt x="13" y="34"/>
                  <a:pt x="13" y="34"/>
                  <a:pt x="13" y="34"/>
                </a:cubicBezTo>
                <a:cubicBezTo>
                  <a:pt x="14" y="34"/>
                  <a:pt x="14" y="34"/>
                  <a:pt x="14" y="34"/>
                </a:cubicBezTo>
                <a:cubicBezTo>
                  <a:pt x="15" y="34"/>
                  <a:pt x="15" y="34"/>
                  <a:pt x="15" y="34"/>
                </a:cubicBezTo>
                <a:cubicBezTo>
                  <a:pt x="16" y="36"/>
                  <a:pt x="16" y="36"/>
                  <a:pt x="16" y="36"/>
                </a:cubicBezTo>
                <a:cubicBezTo>
                  <a:pt x="17" y="37"/>
                  <a:pt x="17" y="37"/>
                  <a:pt x="17" y="37"/>
                </a:cubicBezTo>
                <a:cubicBezTo>
                  <a:pt x="17" y="38"/>
                  <a:pt x="17" y="38"/>
                  <a:pt x="17" y="38"/>
                </a:cubicBezTo>
                <a:cubicBezTo>
                  <a:pt x="17" y="39"/>
                  <a:pt x="17" y="39"/>
                  <a:pt x="17" y="39"/>
                </a:cubicBezTo>
                <a:cubicBezTo>
                  <a:pt x="16" y="40"/>
                  <a:pt x="16" y="40"/>
                  <a:pt x="16" y="40"/>
                </a:cubicBezTo>
                <a:cubicBezTo>
                  <a:pt x="15" y="37"/>
                  <a:pt x="15" y="37"/>
                  <a:pt x="15" y="37"/>
                </a:cubicBezTo>
                <a:cubicBezTo>
                  <a:pt x="14" y="37"/>
                  <a:pt x="14" y="37"/>
                  <a:pt x="14" y="37"/>
                </a:cubicBezTo>
                <a:cubicBezTo>
                  <a:pt x="14" y="36"/>
                  <a:pt x="14" y="36"/>
                  <a:pt x="14" y="36"/>
                </a:cubicBezTo>
                <a:cubicBezTo>
                  <a:pt x="12" y="34"/>
                  <a:pt x="12" y="34"/>
                  <a:pt x="12" y="34"/>
                </a:cubicBezTo>
                <a:close/>
                <a:moveTo>
                  <a:pt x="12" y="30"/>
                </a:moveTo>
                <a:cubicBezTo>
                  <a:pt x="14" y="30"/>
                  <a:pt x="14" y="30"/>
                  <a:pt x="14" y="30"/>
                </a:cubicBezTo>
                <a:cubicBezTo>
                  <a:pt x="13" y="29"/>
                  <a:pt x="13" y="29"/>
                  <a:pt x="13" y="29"/>
                </a:cubicBezTo>
                <a:cubicBezTo>
                  <a:pt x="12" y="30"/>
                  <a:pt x="12" y="30"/>
                  <a:pt x="12" y="30"/>
                </a:cubicBezTo>
                <a:close/>
                <a:moveTo>
                  <a:pt x="4" y="24"/>
                </a:moveTo>
                <a:cubicBezTo>
                  <a:pt x="3" y="25"/>
                  <a:pt x="3" y="25"/>
                  <a:pt x="3" y="25"/>
                </a:cubicBezTo>
                <a:cubicBezTo>
                  <a:pt x="3" y="25"/>
                  <a:pt x="3" y="25"/>
                  <a:pt x="3" y="25"/>
                </a:cubicBezTo>
                <a:cubicBezTo>
                  <a:pt x="4" y="26"/>
                  <a:pt x="4" y="26"/>
                  <a:pt x="4" y="26"/>
                </a:cubicBezTo>
                <a:cubicBezTo>
                  <a:pt x="5" y="26"/>
                  <a:pt x="5" y="26"/>
                  <a:pt x="5" y="26"/>
                </a:cubicBezTo>
                <a:cubicBezTo>
                  <a:pt x="5" y="25"/>
                  <a:pt x="5" y="25"/>
                  <a:pt x="5" y="25"/>
                </a:cubicBezTo>
                <a:cubicBezTo>
                  <a:pt x="4" y="24"/>
                  <a:pt x="4" y="24"/>
                  <a:pt x="4" y="24"/>
                </a:cubicBezTo>
                <a:close/>
                <a:moveTo>
                  <a:pt x="0" y="6"/>
                </a:moveTo>
                <a:cubicBezTo>
                  <a:pt x="0" y="7"/>
                  <a:pt x="0" y="7"/>
                  <a:pt x="0" y="7"/>
                </a:cubicBezTo>
                <a:cubicBezTo>
                  <a:pt x="0" y="9"/>
                  <a:pt x="0" y="9"/>
                  <a:pt x="0" y="9"/>
                </a:cubicBezTo>
                <a:cubicBezTo>
                  <a:pt x="2" y="12"/>
                  <a:pt x="2" y="12"/>
                  <a:pt x="2" y="12"/>
                </a:cubicBezTo>
                <a:cubicBezTo>
                  <a:pt x="3" y="13"/>
                  <a:pt x="3" y="13"/>
                  <a:pt x="3" y="13"/>
                </a:cubicBezTo>
                <a:cubicBezTo>
                  <a:pt x="5" y="16"/>
                  <a:pt x="5" y="16"/>
                  <a:pt x="5" y="16"/>
                </a:cubicBezTo>
                <a:cubicBezTo>
                  <a:pt x="6" y="16"/>
                  <a:pt x="6" y="16"/>
                  <a:pt x="6" y="16"/>
                </a:cubicBezTo>
                <a:cubicBezTo>
                  <a:pt x="8" y="18"/>
                  <a:pt x="8" y="18"/>
                  <a:pt x="8" y="18"/>
                </a:cubicBezTo>
                <a:cubicBezTo>
                  <a:pt x="9" y="18"/>
                  <a:pt x="9" y="18"/>
                  <a:pt x="9" y="18"/>
                </a:cubicBezTo>
                <a:cubicBezTo>
                  <a:pt x="10" y="18"/>
                  <a:pt x="10" y="18"/>
                  <a:pt x="10" y="18"/>
                </a:cubicBezTo>
                <a:cubicBezTo>
                  <a:pt x="12" y="20"/>
                  <a:pt x="12" y="20"/>
                  <a:pt x="12" y="20"/>
                </a:cubicBezTo>
                <a:cubicBezTo>
                  <a:pt x="14" y="23"/>
                  <a:pt x="14" y="23"/>
                  <a:pt x="14" y="23"/>
                </a:cubicBezTo>
                <a:cubicBezTo>
                  <a:pt x="16" y="25"/>
                  <a:pt x="16" y="25"/>
                  <a:pt x="16" y="25"/>
                </a:cubicBezTo>
                <a:cubicBezTo>
                  <a:pt x="17" y="25"/>
                  <a:pt x="17" y="25"/>
                  <a:pt x="17" y="25"/>
                </a:cubicBezTo>
                <a:cubicBezTo>
                  <a:pt x="17" y="27"/>
                  <a:pt x="17" y="27"/>
                  <a:pt x="17" y="27"/>
                </a:cubicBezTo>
                <a:cubicBezTo>
                  <a:pt x="17" y="27"/>
                  <a:pt x="17" y="27"/>
                  <a:pt x="17" y="27"/>
                </a:cubicBezTo>
                <a:cubicBezTo>
                  <a:pt x="18" y="29"/>
                  <a:pt x="18" y="29"/>
                  <a:pt x="18" y="29"/>
                </a:cubicBezTo>
                <a:cubicBezTo>
                  <a:pt x="18" y="30"/>
                  <a:pt x="18" y="30"/>
                  <a:pt x="18" y="30"/>
                </a:cubicBezTo>
                <a:cubicBezTo>
                  <a:pt x="20" y="30"/>
                  <a:pt x="20" y="30"/>
                  <a:pt x="20" y="30"/>
                </a:cubicBezTo>
                <a:cubicBezTo>
                  <a:pt x="21" y="32"/>
                  <a:pt x="21" y="32"/>
                  <a:pt x="21" y="32"/>
                </a:cubicBezTo>
                <a:cubicBezTo>
                  <a:pt x="22" y="32"/>
                  <a:pt x="22" y="32"/>
                  <a:pt x="22" y="32"/>
                </a:cubicBezTo>
                <a:cubicBezTo>
                  <a:pt x="23" y="32"/>
                  <a:pt x="23" y="32"/>
                  <a:pt x="23" y="32"/>
                </a:cubicBezTo>
                <a:cubicBezTo>
                  <a:pt x="23" y="33"/>
                  <a:pt x="23" y="33"/>
                  <a:pt x="23" y="33"/>
                </a:cubicBezTo>
                <a:cubicBezTo>
                  <a:pt x="23" y="34"/>
                  <a:pt x="23" y="34"/>
                  <a:pt x="23" y="34"/>
                </a:cubicBezTo>
                <a:cubicBezTo>
                  <a:pt x="23" y="35"/>
                  <a:pt x="23" y="35"/>
                  <a:pt x="23" y="35"/>
                </a:cubicBezTo>
                <a:cubicBezTo>
                  <a:pt x="24" y="36"/>
                  <a:pt x="24" y="36"/>
                  <a:pt x="24" y="36"/>
                </a:cubicBezTo>
                <a:cubicBezTo>
                  <a:pt x="24" y="37"/>
                  <a:pt x="24" y="37"/>
                  <a:pt x="24" y="37"/>
                </a:cubicBezTo>
                <a:cubicBezTo>
                  <a:pt x="25" y="40"/>
                  <a:pt x="25" y="40"/>
                  <a:pt x="25" y="40"/>
                </a:cubicBezTo>
                <a:cubicBezTo>
                  <a:pt x="26" y="42"/>
                  <a:pt x="26" y="42"/>
                  <a:pt x="26" y="42"/>
                </a:cubicBezTo>
                <a:cubicBezTo>
                  <a:pt x="27" y="42"/>
                  <a:pt x="27" y="42"/>
                  <a:pt x="27" y="42"/>
                </a:cubicBezTo>
                <a:cubicBezTo>
                  <a:pt x="29" y="44"/>
                  <a:pt x="29" y="44"/>
                  <a:pt x="29" y="44"/>
                </a:cubicBezTo>
                <a:cubicBezTo>
                  <a:pt x="29" y="45"/>
                  <a:pt x="29" y="45"/>
                  <a:pt x="29" y="45"/>
                </a:cubicBezTo>
                <a:cubicBezTo>
                  <a:pt x="31" y="47"/>
                  <a:pt x="31" y="47"/>
                  <a:pt x="31" y="47"/>
                </a:cubicBezTo>
                <a:cubicBezTo>
                  <a:pt x="32" y="48"/>
                  <a:pt x="32" y="48"/>
                  <a:pt x="32" y="48"/>
                </a:cubicBezTo>
                <a:cubicBezTo>
                  <a:pt x="33" y="52"/>
                  <a:pt x="33" y="52"/>
                  <a:pt x="33" y="52"/>
                </a:cubicBezTo>
                <a:cubicBezTo>
                  <a:pt x="35" y="56"/>
                  <a:pt x="35" y="56"/>
                  <a:pt x="35" y="56"/>
                </a:cubicBezTo>
                <a:cubicBezTo>
                  <a:pt x="35" y="58"/>
                  <a:pt x="35" y="58"/>
                  <a:pt x="35" y="58"/>
                </a:cubicBezTo>
                <a:cubicBezTo>
                  <a:pt x="35" y="59"/>
                  <a:pt x="35" y="59"/>
                  <a:pt x="35" y="59"/>
                </a:cubicBezTo>
                <a:cubicBezTo>
                  <a:pt x="38" y="61"/>
                  <a:pt x="38" y="61"/>
                  <a:pt x="38" y="61"/>
                </a:cubicBezTo>
                <a:cubicBezTo>
                  <a:pt x="40" y="64"/>
                  <a:pt x="40" y="64"/>
                  <a:pt x="40" y="64"/>
                </a:cubicBezTo>
                <a:cubicBezTo>
                  <a:pt x="41" y="65"/>
                  <a:pt x="41" y="65"/>
                  <a:pt x="41" y="65"/>
                </a:cubicBezTo>
                <a:cubicBezTo>
                  <a:pt x="42" y="66"/>
                  <a:pt x="42" y="66"/>
                  <a:pt x="42" y="66"/>
                </a:cubicBezTo>
                <a:cubicBezTo>
                  <a:pt x="43" y="66"/>
                  <a:pt x="43" y="66"/>
                  <a:pt x="43" y="66"/>
                </a:cubicBezTo>
                <a:cubicBezTo>
                  <a:pt x="45" y="67"/>
                  <a:pt x="45" y="67"/>
                  <a:pt x="45" y="67"/>
                </a:cubicBezTo>
                <a:cubicBezTo>
                  <a:pt x="45" y="69"/>
                  <a:pt x="45" y="69"/>
                  <a:pt x="45" y="69"/>
                </a:cubicBezTo>
                <a:cubicBezTo>
                  <a:pt x="46" y="70"/>
                  <a:pt x="46" y="70"/>
                  <a:pt x="46" y="70"/>
                </a:cubicBezTo>
                <a:cubicBezTo>
                  <a:pt x="48" y="72"/>
                  <a:pt x="48" y="72"/>
                  <a:pt x="48" y="72"/>
                </a:cubicBezTo>
                <a:cubicBezTo>
                  <a:pt x="51" y="74"/>
                  <a:pt x="51" y="74"/>
                  <a:pt x="51" y="74"/>
                </a:cubicBezTo>
                <a:cubicBezTo>
                  <a:pt x="51" y="75"/>
                  <a:pt x="51" y="75"/>
                  <a:pt x="51" y="75"/>
                </a:cubicBezTo>
                <a:cubicBezTo>
                  <a:pt x="53" y="75"/>
                  <a:pt x="53" y="75"/>
                  <a:pt x="53" y="75"/>
                </a:cubicBezTo>
                <a:cubicBezTo>
                  <a:pt x="57" y="79"/>
                  <a:pt x="57" y="79"/>
                  <a:pt x="57" y="79"/>
                </a:cubicBezTo>
                <a:cubicBezTo>
                  <a:pt x="57" y="80"/>
                  <a:pt x="57" y="80"/>
                  <a:pt x="57" y="80"/>
                </a:cubicBezTo>
                <a:cubicBezTo>
                  <a:pt x="58" y="80"/>
                  <a:pt x="58" y="80"/>
                  <a:pt x="58" y="80"/>
                </a:cubicBezTo>
                <a:cubicBezTo>
                  <a:pt x="59" y="82"/>
                  <a:pt x="59" y="82"/>
                  <a:pt x="59" y="82"/>
                </a:cubicBezTo>
                <a:cubicBezTo>
                  <a:pt x="59" y="81"/>
                  <a:pt x="59" y="81"/>
                  <a:pt x="59" y="81"/>
                </a:cubicBezTo>
                <a:cubicBezTo>
                  <a:pt x="59" y="80"/>
                  <a:pt x="59" y="80"/>
                  <a:pt x="59" y="80"/>
                </a:cubicBezTo>
                <a:cubicBezTo>
                  <a:pt x="59" y="79"/>
                  <a:pt x="59" y="79"/>
                  <a:pt x="59" y="79"/>
                </a:cubicBezTo>
                <a:cubicBezTo>
                  <a:pt x="59" y="79"/>
                  <a:pt x="59" y="79"/>
                  <a:pt x="59" y="79"/>
                </a:cubicBezTo>
                <a:cubicBezTo>
                  <a:pt x="60" y="79"/>
                  <a:pt x="60" y="79"/>
                  <a:pt x="60" y="79"/>
                </a:cubicBezTo>
                <a:cubicBezTo>
                  <a:pt x="62" y="81"/>
                  <a:pt x="62" y="81"/>
                  <a:pt x="62" y="81"/>
                </a:cubicBezTo>
                <a:cubicBezTo>
                  <a:pt x="63" y="81"/>
                  <a:pt x="63" y="81"/>
                  <a:pt x="63" y="81"/>
                </a:cubicBezTo>
                <a:cubicBezTo>
                  <a:pt x="63" y="79"/>
                  <a:pt x="63" y="79"/>
                  <a:pt x="63" y="79"/>
                </a:cubicBezTo>
                <a:cubicBezTo>
                  <a:pt x="63" y="78"/>
                  <a:pt x="63" y="78"/>
                  <a:pt x="63" y="78"/>
                </a:cubicBezTo>
                <a:cubicBezTo>
                  <a:pt x="64" y="79"/>
                  <a:pt x="64" y="79"/>
                  <a:pt x="64" y="79"/>
                </a:cubicBezTo>
                <a:cubicBezTo>
                  <a:pt x="66" y="80"/>
                  <a:pt x="66" y="80"/>
                  <a:pt x="66" y="80"/>
                </a:cubicBezTo>
                <a:cubicBezTo>
                  <a:pt x="66" y="81"/>
                  <a:pt x="66" y="81"/>
                  <a:pt x="66" y="81"/>
                </a:cubicBezTo>
                <a:cubicBezTo>
                  <a:pt x="67" y="80"/>
                  <a:pt x="67" y="80"/>
                  <a:pt x="67" y="80"/>
                </a:cubicBezTo>
                <a:cubicBezTo>
                  <a:pt x="67" y="77"/>
                  <a:pt x="67" y="77"/>
                  <a:pt x="67" y="77"/>
                </a:cubicBezTo>
                <a:cubicBezTo>
                  <a:pt x="68" y="74"/>
                  <a:pt x="68" y="74"/>
                  <a:pt x="68" y="74"/>
                </a:cubicBezTo>
                <a:cubicBezTo>
                  <a:pt x="67" y="71"/>
                  <a:pt x="67" y="71"/>
                  <a:pt x="67" y="71"/>
                </a:cubicBezTo>
                <a:cubicBezTo>
                  <a:pt x="68" y="69"/>
                  <a:pt x="68" y="69"/>
                  <a:pt x="68" y="69"/>
                </a:cubicBezTo>
                <a:cubicBezTo>
                  <a:pt x="67" y="68"/>
                  <a:pt x="67" y="68"/>
                  <a:pt x="67" y="68"/>
                </a:cubicBezTo>
                <a:cubicBezTo>
                  <a:pt x="68" y="66"/>
                  <a:pt x="68" y="66"/>
                  <a:pt x="68" y="66"/>
                </a:cubicBezTo>
                <a:cubicBezTo>
                  <a:pt x="69" y="65"/>
                  <a:pt x="69" y="65"/>
                  <a:pt x="69" y="65"/>
                </a:cubicBezTo>
                <a:cubicBezTo>
                  <a:pt x="69" y="64"/>
                  <a:pt x="69" y="64"/>
                  <a:pt x="69" y="64"/>
                </a:cubicBezTo>
                <a:cubicBezTo>
                  <a:pt x="69" y="63"/>
                  <a:pt x="69" y="63"/>
                  <a:pt x="69" y="63"/>
                </a:cubicBezTo>
                <a:cubicBezTo>
                  <a:pt x="68" y="63"/>
                  <a:pt x="68" y="63"/>
                  <a:pt x="68" y="63"/>
                </a:cubicBezTo>
                <a:cubicBezTo>
                  <a:pt x="67" y="62"/>
                  <a:pt x="67" y="62"/>
                  <a:pt x="67" y="62"/>
                </a:cubicBezTo>
                <a:cubicBezTo>
                  <a:pt x="66" y="60"/>
                  <a:pt x="66" y="60"/>
                  <a:pt x="66" y="60"/>
                </a:cubicBezTo>
                <a:cubicBezTo>
                  <a:pt x="66" y="60"/>
                  <a:pt x="66" y="60"/>
                  <a:pt x="66" y="60"/>
                </a:cubicBezTo>
                <a:cubicBezTo>
                  <a:pt x="65" y="59"/>
                  <a:pt x="65" y="59"/>
                  <a:pt x="65" y="59"/>
                </a:cubicBezTo>
                <a:cubicBezTo>
                  <a:pt x="64" y="59"/>
                  <a:pt x="64" y="59"/>
                  <a:pt x="64" y="59"/>
                </a:cubicBezTo>
                <a:cubicBezTo>
                  <a:pt x="62" y="59"/>
                  <a:pt x="62" y="59"/>
                  <a:pt x="62" y="59"/>
                </a:cubicBezTo>
                <a:cubicBezTo>
                  <a:pt x="61" y="59"/>
                  <a:pt x="61" y="59"/>
                  <a:pt x="61" y="59"/>
                </a:cubicBezTo>
                <a:cubicBezTo>
                  <a:pt x="61" y="57"/>
                  <a:pt x="61" y="57"/>
                  <a:pt x="61" y="57"/>
                </a:cubicBezTo>
                <a:cubicBezTo>
                  <a:pt x="60" y="56"/>
                  <a:pt x="60" y="56"/>
                  <a:pt x="60" y="56"/>
                </a:cubicBezTo>
                <a:cubicBezTo>
                  <a:pt x="59" y="56"/>
                  <a:pt x="59" y="56"/>
                  <a:pt x="59" y="56"/>
                </a:cubicBezTo>
                <a:cubicBezTo>
                  <a:pt x="60" y="55"/>
                  <a:pt x="60" y="55"/>
                  <a:pt x="60" y="55"/>
                </a:cubicBezTo>
                <a:cubicBezTo>
                  <a:pt x="59" y="53"/>
                  <a:pt x="59" y="53"/>
                  <a:pt x="59" y="53"/>
                </a:cubicBezTo>
                <a:cubicBezTo>
                  <a:pt x="59" y="50"/>
                  <a:pt x="59" y="50"/>
                  <a:pt x="59" y="50"/>
                </a:cubicBezTo>
                <a:cubicBezTo>
                  <a:pt x="58" y="51"/>
                  <a:pt x="58" y="51"/>
                  <a:pt x="58" y="51"/>
                </a:cubicBezTo>
                <a:cubicBezTo>
                  <a:pt x="57" y="50"/>
                  <a:pt x="57" y="50"/>
                  <a:pt x="57" y="50"/>
                </a:cubicBezTo>
                <a:cubicBezTo>
                  <a:pt x="54" y="50"/>
                  <a:pt x="54" y="50"/>
                  <a:pt x="54" y="50"/>
                </a:cubicBezTo>
                <a:cubicBezTo>
                  <a:pt x="52" y="49"/>
                  <a:pt x="52" y="49"/>
                  <a:pt x="52" y="49"/>
                </a:cubicBezTo>
                <a:cubicBezTo>
                  <a:pt x="52" y="48"/>
                  <a:pt x="52" y="48"/>
                  <a:pt x="52" y="48"/>
                </a:cubicBezTo>
                <a:cubicBezTo>
                  <a:pt x="54" y="47"/>
                  <a:pt x="54" y="47"/>
                  <a:pt x="54" y="47"/>
                </a:cubicBezTo>
                <a:cubicBezTo>
                  <a:pt x="55" y="46"/>
                  <a:pt x="55" y="46"/>
                  <a:pt x="55" y="46"/>
                </a:cubicBezTo>
                <a:cubicBezTo>
                  <a:pt x="54" y="46"/>
                  <a:pt x="54" y="46"/>
                  <a:pt x="54" y="46"/>
                </a:cubicBezTo>
                <a:cubicBezTo>
                  <a:pt x="53" y="46"/>
                  <a:pt x="53" y="46"/>
                  <a:pt x="53" y="46"/>
                </a:cubicBezTo>
                <a:cubicBezTo>
                  <a:pt x="52" y="46"/>
                  <a:pt x="52" y="46"/>
                  <a:pt x="52" y="46"/>
                </a:cubicBezTo>
                <a:cubicBezTo>
                  <a:pt x="51" y="46"/>
                  <a:pt x="51" y="46"/>
                  <a:pt x="51" y="46"/>
                </a:cubicBezTo>
                <a:cubicBezTo>
                  <a:pt x="52" y="45"/>
                  <a:pt x="52" y="45"/>
                  <a:pt x="52" y="45"/>
                </a:cubicBezTo>
                <a:cubicBezTo>
                  <a:pt x="53" y="44"/>
                  <a:pt x="53" y="44"/>
                  <a:pt x="53" y="44"/>
                </a:cubicBezTo>
                <a:cubicBezTo>
                  <a:pt x="55" y="44"/>
                  <a:pt x="55" y="44"/>
                  <a:pt x="55" y="44"/>
                </a:cubicBezTo>
                <a:cubicBezTo>
                  <a:pt x="55" y="43"/>
                  <a:pt x="55" y="43"/>
                  <a:pt x="55" y="43"/>
                </a:cubicBezTo>
                <a:cubicBezTo>
                  <a:pt x="53" y="41"/>
                  <a:pt x="53" y="41"/>
                  <a:pt x="53" y="41"/>
                </a:cubicBezTo>
                <a:cubicBezTo>
                  <a:pt x="52" y="41"/>
                  <a:pt x="52" y="41"/>
                  <a:pt x="52" y="41"/>
                </a:cubicBezTo>
                <a:cubicBezTo>
                  <a:pt x="50" y="41"/>
                  <a:pt x="50" y="41"/>
                  <a:pt x="50" y="41"/>
                </a:cubicBezTo>
                <a:cubicBezTo>
                  <a:pt x="49" y="42"/>
                  <a:pt x="49" y="42"/>
                  <a:pt x="49" y="42"/>
                </a:cubicBezTo>
                <a:cubicBezTo>
                  <a:pt x="47" y="42"/>
                  <a:pt x="47" y="42"/>
                  <a:pt x="47" y="42"/>
                </a:cubicBezTo>
                <a:cubicBezTo>
                  <a:pt x="48" y="42"/>
                  <a:pt x="48" y="42"/>
                  <a:pt x="48" y="42"/>
                </a:cubicBezTo>
                <a:cubicBezTo>
                  <a:pt x="49" y="42"/>
                  <a:pt x="49" y="42"/>
                  <a:pt x="49" y="42"/>
                </a:cubicBezTo>
                <a:cubicBezTo>
                  <a:pt x="49" y="41"/>
                  <a:pt x="49" y="41"/>
                  <a:pt x="49" y="41"/>
                </a:cubicBezTo>
                <a:cubicBezTo>
                  <a:pt x="50" y="41"/>
                  <a:pt x="50" y="41"/>
                  <a:pt x="50" y="41"/>
                </a:cubicBezTo>
                <a:cubicBezTo>
                  <a:pt x="50" y="40"/>
                  <a:pt x="50" y="40"/>
                  <a:pt x="50" y="40"/>
                </a:cubicBezTo>
                <a:cubicBezTo>
                  <a:pt x="48" y="39"/>
                  <a:pt x="48" y="39"/>
                  <a:pt x="48" y="39"/>
                </a:cubicBezTo>
                <a:cubicBezTo>
                  <a:pt x="46" y="39"/>
                  <a:pt x="46" y="39"/>
                  <a:pt x="46" y="39"/>
                </a:cubicBezTo>
                <a:cubicBezTo>
                  <a:pt x="44" y="38"/>
                  <a:pt x="44" y="38"/>
                  <a:pt x="44" y="38"/>
                </a:cubicBezTo>
                <a:cubicBezTo>
                  <a:pt x="44" y="37"/>
                  <a:pt x="44" y="37"/>
                  <a:pt x="44" y="37"/>
                </a:cubicBezTo>
                <a:cubicBezTo>
                  <a:pt x="44" y="35"/>
                  <a:pt x="44" y="35"/>
                  <a:pt x="44" y="35"/>
                </a:cubicBezTo>
                <a:cubicBezTo>
                  <a:pt x="42" y="33"/>
                  <a:pt x="42" y="33"/>
                  <a:pt x="42" y="33"/>
                </a:cubicBezTo>
                <a:cubicBezTo>
                  <a:pt x="41" y="33"/>
                  <a:pt x="41" y="33"/>
                  <a:pt x="41" y="33"/>
                </a:cubicBezTo>
                <a:cubicBezTo>
                  <a:pt x="40" y="33"/>
                  <a:pt x="40" y="33"/>
                  <a:pt x="40" y="33"/>
                </a:cubicBezTo>
                <a:cubicBezTo>
                  <a:pt x="39" y="32"/>
                  <a:pt x="39" y="32"/>
                  <a:pt x="39" y="32"/>
                </a:cubicBezTo>
                <a:cubicBezTo>
                  <a:pt x="39" y="30"/>
                  <a:pt x="39" y="30"/>
                  <a:pt x="39" y="30"/>
                </a:cubicBezTo>
                <a:cubicBezTo>
                  <a:pt x="37" y="28"/>
                  <a:pt x="37" y="28"/>
                  <a:pt x="37" y="28"/>
                </a:cubicBezTo>
                <a:cubicBezTo>
                  <a:pt x="35" y="27"/>
                  <a:pt x="35" y="27"/>
                  <a:pt x="35" y="27"/>
                </a:cubicBezTo>
                <a:cubicBezTo>
                  <a:pt x="33" y="27"/>
                  <a:pt x="33" y="27"/>
                  <a:pt x="33" y="27"/>
                </a:cubicBezTo>
                <a:cubicBezTo>
                  <a:pt x="33" y="27"/>
                  <a:pt x="33" y="27"/>
                  <a:pt x="33" y="27"/>
                </a:cubicBezTo>
                <a:cubicBezTo>
                  <a:pt x="32" y="27"/>
                  <a:pt x="32" y="27"/>
                  <a:pt x="32" y="27"/>
                </a:cubicBezTo>
                <a:cubicBezTo>
                  <a:pt x="32" y="25"/>
                  <a:pt x="32" y="25"/>
                  <a:pt x="32" y="25"/>
                </a:cubicBezTo>
                <a:cubicBezTo>
                  <a:pt x="31" y="26"/>
                  <a:pt x="31" y="26"/>
                  <a:pt x="31" y="26"/>
                </a:cubicBezTo>
                <a:cubicBezTo>
                  <a:pt x="30" y="25"/>
                  <a:pt x="30" y="25"/>
                  <a:pt x="30" y="25"/>
                </a:cubicBezTo>
                <a:cubicBezTo>
                  <a:pt x="30" y="23"/>
                  <a:pt x="30" y="23"/>
                  <a:pt x="30" y="23"/>
                </a:cubicBezTo>
                <a:cubicBezTo>
                  <a:pt x="29" y="22"/>
                  <a:pt x="29" y="22"/>
                  <a:pt x="29" y="22"/>
                </a:cubicBezTo>
                <a:cubicBezTo>
                  <a:pt x="28" y="21"/>
                  <a:pt x="28" y="21"/>
                  <a:pt x="28" y="21"/>
                </a:cubicBezTo>
                <a:cubicBezTo>
                  <a:pt x="27" y="21"/>
                  <a:pt x="27" y="21"/>
                  <a:pt x="27" y="21"/>
                </a:cubicBezTo>
                <a:cubicBezTo>
                  <a:pt x="23" y="18"/>
                  <a:pt x="23" y="18"/>
                  <a:pt x="23" y="18"/>
                </a:cubicBezTo>
                <a:cubicBezTo>
                  <a:pt x="22" y="18"/>
                  <a:pt x="22" y="18"/>
                  <a:pt x="22" y="18"/>
                </a:cubicBezTo>
                <a:cubicBezTo>
                  <a:pt x="21" y="16"/>
                  <a:pt x="21" y="16"/>
                  <a:pt x="21" y="16"/>
                </a:cubicBezTo>
                <a:cubicBezTo>
                  <a:pt x="19" y="16"/>
                  <a:pt x="19" y="16"/>
                  <a:pt x="19" y="16"/>
                </a:cubicBezTo>
                <a:cubicBezTo>
                  <a:pt x="19" y="15"/>
                  <a:pt x="19" y="15"/>
                  <a:pt x="19" y="15"/>
                </a:cubicBezTo>
                <a:cubicBezTo>
                  <a:pt x="18" y="13"/>
                  <a:pt x="18" y="13"/>
                  <a:pt x="18" y="13"/>
                </a:cubicBezTo>
                <a:cubicBezTo>
                  <a:pt x="17" y="12"/>
                  <a:pt x="17" y="12"/>
                  <a:pt x="17" y="12"/>
                </a:cubicBezTo>
                <a:cubicBezTo>
                  <a:pt x="16" y="11"/>
                  <a:pt x="16" y="11"/>
                  <a:pt x="16" y="11"/>
                </a:cubicBezTo>
                <a:cubicBezTo>
                  <a:pt x="16" y="11"/>
                  <a:pt x="16" y="11"/>
                  <a:pt x="16" y="11"/>
                </a:cubicBezTo>
                <a:cubicBezTo>
                  <a:pt x="15" y="9"/>
                  <a:pt x="15" y="9"/>
                  <a:pt x="15" y="9"/>
                </a:cubicBezTo>
                <a:cubicBezTo>
                  <a:pt x="14" y="9"/>
                  <a:pt x="14" y="9"/>
                  <a:pt x="14" y="9"/>
                </a:cubicBezTo>
                <a:cubicBezTo>
                  <a:pt x="12" y="9"/>
                  <a:pt x="12" y="9"/>
                  <a:pt x="12" y="9"/>
                </a:cubicBezTo>
                <a:cubicBezTo>
                  <a:pt x="11" y="9"/>
                  <a:pt x="11" y="9"/>
                  <a:pt x="11" y="9"/>
                </a:cubicBezTo>
                <a:cubicBezTo>
                  <a:pt x="11" y="8"/>
                  <a:pt x="11" y="8"/>
                  <a:pt x="11" y="8"/>
                </a:cubicBezTo>
                <a:cubicBezTo>
                  <a:pt x="9" y="8"/>
                  <a:pt x="9" y="8"/>
                  <a:pt x="9" y="8"/>
                </a:cubicBezTo>
                <a:cubicBezTo>
                  <a:pt x="7" y="9"/>
                  <a:pt x="7" y="9"/>
                  <a:pt x="7" y="9"/>
                </a:cubicBezTo>
                <a:cubicBezTo>
                  <a:pt x="6" y="8"/>
                  <a:pt x="6" y="8"/>
                  <a:pt x="6" y="8"/>
                </a:cubicBezTo>
                <a:cubicBezTo>
                  <a:pt x="4" y="6"/>
                  <a:pt x="4" y="6"/>
                  <a:pt x="4" y="6"/>
                </a:cubicBezTo>
                <a:cubicBezTo>
                  <a:pt x="1" y="6"/>
                  <a:pt x="1" y="6"/>
                  <a:pt x="1" y="6"/>
                </a:cubicBezTo>
                <a:lnTo>
                  <a:pt x="0" y="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8" name="Freeform 26">
            <a:extLst>
              <a:ext uri="{FF2B5EF4-FFF2-40B4-BE49-F238E27FC236}">
                <a16:creationId xmlns:a16="http://schemas.microsoft.com/office/drawing/2014/main" id="{81E89C95-1C67-9E6E-807A-2A86F8BA12AF}"/>
              </a:ext>
            </a:extLst>
          </p:cNvPr>
          <p:cNvSpPr>
            <a:spLocks noEditPoints="1"/>
          </p:cNvSpPr>
          <p:nvPr userDrawn="1"/>
        </p:nvSpPr>
        <p:spPr bwMode="auto">
          <a:xfrm>
            <a:off x="20918711" y="9952909"/>
            <a:ext cx="200013" cy="60326"/>
          </a:xfrm>
          <a:custGeom>
            <a:avLst/>
            <a:gdLst>
              <a:gd name="T0" fmla="*/ 0 w 63"/>
              <a:gd name="T1" fmla="*/ 16 h 19"/>
              <a:gd name="T2" fmla="*/ 3 w 63"/>
              <a:gd name="T3" fmla="*/ 19 h 19"/>
              <a:gd name="T4" fmla="*/ 6 w 63"/>
              <a:gd name="T5" fmla="*/ 16 h 19"/>
              <a:gd name="T6" fmla="*/ 9 w 63"/>
              <a:gd name="T7" fmla="*/ 16 h 19"/>
              <a:gd name="T8" fmla="*/ 9 w 63"/>
              <a:gd name="T9" fmla="*/ 12 h 19"/>
              <a:gd name="T10" fmla="*/ 9 w 63"/>
              <a:gd name="T11" fmla="*/ 12 h 19"/>
              <a:gd name="T12" fmla="*/ 3 w 63"/>
              <a:gd name="T13" fmla="*/ 12 h 19"/>
              <a:gd name="T14" fmla="*/ 0 w 63"/>
              <a:gd name="T15" fmla="*/ 16 h 19"/>
              <a:gd name="T16" fmla="*/ 0 w 63"/>
              <a:gd name="T17" fmla="*/ 16 h 19"/>
              <a:gd name="T18" fmla="*/ 16 w 63"/>
              <a:gd name="T19" fmla="*/ 9 h 19"/>
              <a:gd name="T20" fmla="*/ 19 w 63"/>
              <a:gd name="T21" fmla="*/ 16 h 19"/>
              <a:gd name="T22" fmla="*/ 25 w 63"/>
              <a:gd name="T23" fmla="*/ 19 h 19"/>
              <a:gd name="T24" fmla="*/ 25 w 63"/>
              <a:gd name="T25" fmla="*/ 19 h 19"/>
              <a:gd name="T26" fmla="*/ 28 w 63"/>
              <a:gd name="T27" fmla="*/ 16 h 19"/>
              <a:gd name="T28" fmla="*/ 31 w 63"/>
              <a:gd name="T29" fmla="*/ 12 h 19"/>
              <a:gd name="T30" fmla="*/ 34 w 63"/>
              <a:gd name="T31" fmla="*/ 12 h 19"/>
              <a:gd name="T32" fmla="*/ 44 w 63"/>
              <a:gd name="T33" fmla="*/ 12 h 19"/>
              <a:gd name="T34" fmla="*/ 50 w 63"/>
              <a:gd name="T35" fmla="*/ 9 h 19"/>
              <a:gd name="T36" fmla="*/ 56 w 63"/>
              <a:gd name="T37" fmla="*/ 6 h 19"/>
              <a:gd name="T38" fmla="*/ 56 w 63"/>
              <a:gd name="T39" fmla="*/ 6 h 19"/>
              <a:gd name="T40" fmla="*/ 59 w 63"/>
              <a:gd name="T41" fmla="*/ 6 h 19"/>
              <a:gd name="T42" fmla="*/ 63 w 63"/>
              <a:gd name="T43" fmla="*/ 3 h 19"/>
              <a:gd name="T44" fmla="*/ 63 w 63"/>
              <a:gd name="T45" fmla="*/ 0 h 19"/>
              <a:gd name="T46" fmla="*/ 59 w 63"/>
              <a:gd name="T47" fmla="*/ 0 h 19"/>
              <a:gd name="T48" fmla="*/ 53 w 63"/>
              <a:gd name="T49" fmla="*/ 0 h 19"/>
              <a:gd name="T50" fmla="*/ 50 w 63"/>
              <a:gd name="T51" fmla="*/ 0 h 19"/>
              <a:gd name="T52" fmla="*/ 44 w 63"/>
              <a:gd name="T53" fmla="*/ 0 h 19"/>
              <a:gd name="T54" fmla="*/ 41 w 63"/>
              <a:gd name="T55" fmla="*/ 0 h 19"/>
              <a:gd name="T56" fmla="*/ 34 w 63"/>
              <a:gd name="T57" fmla="*/ 3 h 19"/>
              <a:gd name="T58" fmla="*/ 28 w 63"/>
              <a:gd name="T59" fmla="*/ 3 h 19"/>
              <a:gd name="T60" fmla="*/ 22 w 63"/>
              <a:gd name="T61" fmla="*/ 6 h 19"/>
              <a:gd name="T62" fmla="*/ 16 w 63"/>
              <a:gd name="T6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 h="19">
                <a:moveTo>
                  <a:pt x="0" y="16"/>
                </a:moveTo>
                <a:lnTo>
                  <a:pt x="3" y="19"/>
                </a:lnTo>
                <a:lnTo>
                  <a:pt x="6" y="16"/>
                </a:lnTo>
                <a:lnTo>
                  <a:pt x="9" y="16"/>
                </a:lnTo>
                <a:lnTo>
                  <a:pt x="9" y="12"/>
                </a:lnTo>
                <a:lnTo>
                  <a:pt x="9" y="12"/>
                </a:lnTo>
                <a:lnTo>
                  <a:pt x="3" y="12"/>
                </a:lnTo>
                <a:lnTo>
                  <a:pt x="0" y="16"/>
                </a:lnTo>
                <a:lnTo>
                  <a:pt x="0" y="16"/>
                </a:lnTo>
                <a:close/>
                <a:moveTo>
                  <a:pt x="16" y="9"/>
                </a:moveTo>
                <a:lnTo>
                  <a:pt x="19" y="16"/>
                </a:lnTo>
                <a:lnTo>
                  <a:pt x="25" y="19"/>
                </a:lnTo>
                <a:lnTo>
                  <a:pt x="25" y="19"/>
                </a:lnTo>
                <a:lnTo>
                  <a:pt x="28" y="16"/>
                </a:lnTo>
                <a:lnTo>
                  <a:pt x="31" y="12"/>
                </a:lnTo>
                <a:lnTo>
                  <a:pt x="34" y="12"/>
                </a:lnTo>
                <a:lnTo>
                  <a:pt x="44" y="12"/>
                </a:lnTo>
                <a:lnTo>
                  <a:pt x="50" y="9"/>
                </a:lnTo>
                <a:lnTo>
                  <a:pt x="56" y="6"/>
                </a:lnTo>
                <a:lnTo>
                  <a:pt x="56" y="6"/>
                </a:lnTo>
                <a:lnTo>
                  <a:pt x="59" y="6"/>
                </a:lnTo>
                <a:lnTo>
                  <a:pt x="63" y="3"/>
                </a:lnTo>
                <a:lnTo>
                  <a:pt x="63" y="0"/>
                </a:lnTo>
                <a:lnTo>
                  <a:pt x="59" y="0"/>
                </a:lnTo>
                <a:lnTo>
                  <a:pt x="53" y="0"/>
                </a:lnTo>
                <a:lnTo>
                  <a:pt x="50" y="0"/>
                </a:lnTo>
                <a:lnTo>
                  <a:pt x="44" y="0"/>
                </a:lnTo>
                <a:lnTo>
                  <a:pt x="41" y="0"/>
                </a:lnTo>
                <a:lnTo>
                  <a:pt x="34" y="3"/>
                </a:lnTo>
                <a:lnTo>
                  <a:pt x="28" y="3"/>
                </a:lnTo>
                <a:lnTo>
                  <a:pt x="22" y="6"/>
                </a:lnTo>
                <a:lnTo>
                  <a:pt x="16" y="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9" name="Freeform 27">
            <a:extLst>
              <a:ext uri="{FF2B5EF4-FFF2-40B4-BE49-F238E27FC236}">
                <a16:creationId xmlns:a16="http://schemas.microsoft.com/office/drawing/2014/main" id="{578AF1DD-6F84-6DC2-B445-5EB34D916CF6}"/>
              </a:ext>
            </a:extLst>
          </p:cNvPr>
          <p:cNvSpPr>
            <a:spLocks noEditPoints="1"/>
          </p:cNvSpPr>
          <p:nvPr userDrawn="1"/>
        </p:nvSpPr>
        <p:spPr bwMode="auto">
          <a:xfrm>
            <a:off x="19429734" y="8921033"/>
            <a:ext cx="1200072" cy="415926"/>
          </a:xfrm>
          <a:custGeom>
            <a:avLst/>
            <a:gdLst>
              <a:gd name="T0" fmla="*/ 228 w 378"/>
              <a:gd name="T1" fmla="*/ 97 h 131"/>
              <a:gd name="T2" fmla="*/ 3 w 378"/>
              <a:gd name="T3" fmla="*/ 40 h 131"/>
              <a:gd name="T4" fmla="*/ 0 w 378"/>
              <a:gd name="T5" fmla="*/ 34 h 131"/>
              <a:gd name="T6" fmla="*/ 207 w 378"/>
              <a:gd name="T7" fmla="*/ 128 h 131"/>
              <a:gd name="T8" fmla="*/ 222 w 378"/>
              <a:gd name="T9" fmla="*/ 128 h 131"/>
              <a:gd name="T10" fmla="*/ 260 w 378"/>
              <a:gd name="T11" fmla="*/ 122 h 131"/>
              <a:gd name="T12" fmla="*/ 288 w 378"/>
              <a:gd name="T13" fmla="*/ 118 h 131"/>
              <a:gd name="T14" fmla="*/ 310 w 378"/>
              <a:gd name="T15" fmla="*/ 71 h 131"/>
              <a:gd name="T16" fmla="*/ 319 w 378"/>
              <a:gd name="T17" fmla="*/ 59 h 131"/>
              <a:gd name="T18" fmla="*/ 344 w 378"/>
              <a:gd name="T19" fmla="*/ 62 h 131"/>
              <a:gd name="T20" fmla="*/ 363 w 378"/>
              <a:gd name="T21" fmla="*/ 62 h 131"/>
              <a:gd name="T22" fmla="*/ 369 w 378"/>
              <a:gd name="T23" fmla="*/ 50 h 131"/>
              <a:gd name="T24" fmla="*/ 369 w 378"/>
              <a:gd name="T25" fmla="*/ 40 h 131"/>
              <a:gd name="T26" fmla="*/ 353 w 378"/>
              <a:gd name="T27" fmla="*/ 34 h 131"/>
              <a:gd name="T28" fmla="*/ 347 w 378"/>
              <a:gd name="T29" fmla="*/ 31 h 131"/>
              <a:gd name="T30" fmla="*/ 347 w 378"/>
              <a:gd name="T31" fmla="*/ 18 h 131"/>
              <a:gd name="T32" fmla="*/ 335 w 378"/>
              <a:gd name="T33" fmla="*/ 6 h 131"/>
              <a:gd name="T34" fmla="*/ 328 w 378"/>
              <a:gd name="T35" fmla="*/ 12 h 131"/>
              <a:gd name="T36" fmla="*/ 316 w 378"/>
              <a:gd name="T37" fmla="*/ 28 h 131"/>
              <a:gd name="T38" fmla="*/ 297 w 378"/>
              <a:gd name="T39" fmla="*/ 43 h 131"/>
              <a:gd name="T40" fmla="*/ 303 w 378"/>
              <a:gd name="T41" fmla="*/ 46 h 131"/>
              <a:gd name="T42" fmla="*/ 300 w 378"/>
              <a:gd name="T43" fmla="*/ 62 h 131"/>
              <a:gd name="T44" fmla="*/ 297 w 378"/>
              <a:gd name="T45" fmla="*/ 53 h 131"/>
              <a:gd name="T46" fmla="*/ 288 w 378"/>
              <a:gd name="T47" fmla="*/ 62 h 131"/>
              <a:gd name="T48" fmla="*/ 275 w 378"/>
              <a:gd name="T49" fmla="*/ 62 h 131"/>
              <a:gd name="T50" fmla="*/ 257 w 378"/>
              <a:gd name="T51" fmla="*/ 84 h 131"/>
              <a:gd name="T52" fmla="*/ 238 w 378"/>
              <a:gd name="T53" fmla="*/ 103 h 131"/>
              <a:gd name="T54" fmla="*/ 225 w 378"/>
              <a:gd name="T55" fmla="*/ 109 h 131"/>
              <a:gd name="T56" fmla="*/ 207 w 378"/>
              <a:gd name="T57" fmla="*/ 118 h 131"/>
              <a:gd name="T58" fmla="*/ 194 w 378"/>
              <a:gd name="T59" fmla="*/ 112 h 131"/>
              <a:gd name="T60" fmla="*/ 332 w 378"/>
              <a:gd name="T61" fmla="*/ 0 h 131"/>
              <a:gd name="T62" fmla="*/ 338 w 378"/>
              <a:gd name="T63" fmla="*/ 3 h 131"/>
              <a:gd name="T64" fmla="*/ 225 w 378"/>
              <a:gd name="T65" fmla="*/ 103 h 131"/>
              <a:gd name="T66" fmla="*/ 228 w 378"/>
              <a:gd name="T67" fmla="*/ 103 h 131"/>
              <a:gd name="T68" fmla="*/ 235 w 378"/>
              <a:gd name="T69" fmla="*/ 93 h 131"/>
              <a:gd name="T70" fmla="*/ 232 w 378"/>
              <a:gd name="T71" fmla="*/ 97 h 131"/>
              <a:gd name="T72" fmla="*/ 3 w 378"/>
              <a:gd name="T73" fmla="*/ 12 h 131"/>
              <a:gd name="T74" fmla="*/ 19 w 378"/>
              <a:gd name="T75" fmla="*/ 18 h 131"/>
              <a:gd name="T76" fmla="*/ 25 w 378"/>
              <a:gd name="T77" fmla="*/ 31 h 131"/>
              <a:gd name="T78" fmla="*/ 38 w 378"/>
              <a:gd name="T79" fmla="*/ 25 h 131"/>
              <a:gd name="T80" fmla="*/ 44 w 378"/>
              <a:gd name="T81" fmla="*/ 21 h 131"/>
              <a:gd name="T82" fmla="*/ 66 w 378"/>
              <a:gd name="T83" fmla="*/ 59 h 131"/>
              <a:gd name="T84" fmla="*/ 69 w 378"/>
              <a:gd name="T85" fmla="*/ 84 h 131"/>
              <a:gd name="T86" fmla="*/ 78 w 378"/>
              <a:gd name="T87" fmla="*/ 97 h 131"/>
              <a:gd name="T88" fmla="*/ 82 w 378"/>
              <a:gd name="T89" fmla="*/ 109 h 131"/>
              <a:gd name="T90" fmla="*/ 85 w 378"/>
              <a:gd name="T91" fmla="*/ 118 h 131"/>
              <a:gd name="T92" fmla="*/ 82 w 378"/>
              <a:gd name="T93" fmla="*/ 118 h 131"/>
              <a:gd name="T94" fmla="*/ 72 w 378"/>
              <a:gd name="T95" fmla="*/ 122 h 131"/>
              <a:gd name="T96" fmla="*/ 53 w 378"/>
              <a:gd name="T97" fmla="*/ 109 h 131"/>
              <a:gd name="T98" fmla="*/ 38 w 378"/>
              <a:gd name="T99" fmla="*/ 97 h 131"/>
              <a:gd name="T100" fmla="*/ 28 w 378"/>
              <a:gd name="T101" fmla="*/ 81 h 131"/>
              <a:gd name="T102" fmla="*/ 13 w 378"/>
              <a:gd name="T103" fmla="*/ 65 h 131"/>
              <a:gd name="T104" fmla="*/ 10 w 378"/>
              <a:gd name="T105" fmla="*/ 4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8" h="131">
                <a:moveTo>
                  <a:pt x="228" y="97"/>
                </a:moveTo>
                <a:lnTo>
                  <a:pt x="228" y="100"/>
                </a:lnTo>
                <a:lnTo>
                  <a:pt x="228" y="100"/>
                </a:lnTo>
                <a:lnTo>
                  <a:pt x="228" y="97"/>
                </a:lnTo>
                <a:lnTo>
                  <a:pt x="228" y="97"/>
                </a:lnTo>
                <a:lnTo>
                  <a:pt x="228" y="97"/>
                </a:lnTo>
                <a:lnTo>
                  <a:pt x="228" y="97"/>
                </a:lnTo>
                <a:close/>
                <a:moveTo>
                  <a:pt x="0" y="34"/>
                </a:moveTo>
                <a:lnTo>
                  <a:pt x="3" y="40"/>
                </a:lnTo>
                <a:lnTo>
                  <a:pt x="3" y="40"/>
                </a:lnTo>
                <a:lnTo>
                  <a:pt x="7" y="40"/>
                </a:lnTo>
                <a:lnTo>
                  <a:pt x="7" y="37"/>
                </a:lnTo>
                <a:lnTo>
                  <a:pt x="3" y="34"/>
                </a:lnTo>
                <a:lnTo>
                  <a:pt x="0" y="34"/>
                </a:lnTo>
                <a:lnTo>
                  <a:pt x="0" y="34"/>
                </a:lnTo>
                <a:close/>
                <a:moveTo>
                  <a:pt x="194" y="112"/>
                </a:moveTo>
                <a:lnTo>
                  <a:pt x="197" y="118"/>
                </a:lnTo>
                <a:lnTo>
                  <a:pt x="203" y="122"/>
                </a:lnTo>
                <a:lnTo>
                  <a:pt x="203" y="125"/>
                </a:lnTo>
                <a:lnTo>
                  <a:pt x="207" y="128"/>
                </a:lnTo>
                <a:lnTo>
                  <a:pt x="210" y="131"/>
                </a:lnTo>
                <a:lnTo>
                  <a:pt x="213" y="131"/>
                </a:lnTo>
                <a:lnTo>
                  <a:pt x="219" y="131"/>
                </a:lnTo>
                <a:lnTo>
                  <a:pt x="219" y="128"/>
                </a:lnTo>
                <a:lnTo>
                  <a:pt x="222" y="128"/>
                </a:lnTo>
                <a:lnTo>
                  <a:pt x="225" y="128"/>
                </a:lnTo>
                <a:lnTo>
                  <a:pt x="238" y="128"/>
                </a:lnTo>
                <a:lnTo>
                  <a:pt x="247" y="125"/>
                </a:lnTo>
                <a:lnTo>
                  <a:pt x="250" y="122"/>
                </a:lnTo>
                <a:lnTo>
                  <a:pt x="260" y="122"/>
                </a:lnTo>
                <a:lnTo>
                  <a:pt x="266" y="122"/>
                </a:lnTo>
                <a:lnTo>
                  <a:pt x="266" y="125"/>
                </a:lnTo>
                <a:lnTo>
                  <a:pt x="272" y="125"/>
                </a:lnTo>
                <a:lnTo>
                  <a:pt x="278" y="122"/>
                </a:lnTo>
                <a:lnTo>
                  <a:pt x="288" y="118"/>
                </a:lnTo>
                <a:lnTo>
                  <a:pt x="288" y="115"/>
                </a:lnTo>
                <a:lnTo>
                  <a:pt x="297" y="106"/>
                </a:lnTo>
                <a:lnTo>
                  <a:pt x="300" y="97"/>
                </a:lnTo>
                <a:lnTo>
                  <a:pt x="307" y="87"/>
                </a:lnTo>
                <a:lnTo>
                  <a:pt x="310" y="71"/>
                </a:lnTo>
                <a:lnTo>
                  <a:pt x="310" y="68"/>
                </a:lnTo>
                <a:lnTo>
                  <a:pt x="313" y="65"/>
                </a:lnTo>
                <a:lnTo>
                  <a:pt x="313" y="62"/>
                </a:lnTo>
                <a:lnTo>
                  <a:pt x="316" y="59"/>
                </a:lnTo>
                <a:lnTo>
                  <a:pt x="319" y="59"/>
                </a:lnTo>
                <a:lnTo>
                  <a:pt x="325" y="59"/>
                </a:lnTo>
                <a:lnTo>
                  <a:pt x="335" y="59"/>
                </a:lnTo>
                <a:lnTo>
                  <a:pt x="335" y="62"/>
                </a:lnTo>
                <a:lnTo>
                  <a:pt x="341" y="62"/>
                </a:lnTo>
                <a:lnTo>
                  <a:pt x="344" y="62"/>
                </a:lnTo>
                <a:lnTo>
                  <a:pt x="347" y="59"/>
                </a:lnTo>
                <a:lnTo>
                  <a:pt x="350" y="62"/>
                </a:lnTo>
                <a:lnTo>
                  <a:pt x="353" y="65"/>
                </a:lnTo>
                <a:lnTo>
                  <a:pt x="357" y="62"/>
                </a:lnTo>
                <a:lnTo>
                  <a:pt x="363" y="62"/>
                </a:lnTo>
                <a:lnTo>
                  <a:pt x="363" y="59"/>
                </a:lnTo>
                <a:lnTo>
                  <a:pt x="357" y="56"/>
                </a:lnTo>
                <a:lnTo>
                  <a:pt x="357" y="50"/>
                </a:lnTo>
                <a:lnTo>
                  <a:pt x="360" y="46"/>
                </a:lnTo>
                <a:lnTo>
                  <a:pt x="369" y="50"/>
                </a:lnTo>
                <a:lnTo>
                  <a:pt x="375" y="46"/>
                </a:lnTo>
                <a:lnTo>
                  <a:pt x="378" y="43"/>
                </a:lnTo>
                <a:lnTo>
                  <a:pt x="378" y="40"/>
                </a:lnTo>
                <a:lnTo>
                  <a:pt x="375" y="40"/>
                </a:lnTo>
                <a:lnTo>
                  <a:pt x="369" y="40"/>
                </a:lnTo>
                <a:lnTo>
                  <a:pt x="366" y="37"/>
                </a:lnTo>
                <a:lnTo>
                  <a:pt x="363" y="37"/>
                </a:lnTo>
                <a:lnTo>
                  <a:pt x="360" y="31"/>
                </a:lnTo>
                <a:lnTo>
                  <a:pt x="357" y="31"/>
                </a:lnTo>
                <a:lnTo>
                  <a:pt x="353" y="34"/>
                </a:lnTo>
                <a:lnTo>
                  <a:pt x="350" y="34"/>
                </a:lnTo>
                <a:lnTo>
                  <a:pt x="357" y="31"/>
                </a:lnTo>
                <a:lnTo>
                  <a:pt x="353" y="28"/>
                </a:lnTo>
                <a:lnTo>
                  <a:pt x="350" y="28"/>
                </a:lnTo>
                <a:lnTo>
                  <a:pt x="347" y="31"/>
                </a:lnTo>
                <a:lnTo>
                  <a:pt x="347" y="31"/>
                </a:lnTo>
                <a:lnTo>
                  <a:pt x="344" y="28"/>
                </a:lnTo>
                <a:lnTo>
                  <a:pt x="344" y="25"/>
                </a:lnTo>
                <a:lnTo>
                  <a:pt x="350" y="21"/>
                </a:lnTo>
                <a:lnTo>
                  <a:pt x="347" y="18"/>
                </a:lnTo>
                <a:lnTo>
                  <a:pt x="344" y="15"/>
                </a:lnTo>
                <a:lnTo>
                  <a:pt x="341" y="18"/>
                </a:lnTo>
                <a:lnTo>
                  <a:pt x="338" y="15"/>
                </a:lnTo>
                <a:lnTo>
                  <a:pt x="338" y="9"/>
                </a:lnTo>
                <a:lnTo>
                  <a:pt x="335" y="6"/>
                </a:lnTo>
                <a:lnTo>
                  <a:pt x="332" y="6"/>
                </a:lnTo>
                <a:lnTo>
                  <a:pt x="335" y="12"/>
                </a:lnTo>
                <a:lnTo>
                  <a:pt x="328" y="15"/>
                </a:lnTo>
                <a:lnTo>
                  <a:pt x="328" y="15"/>
                </a:lnTo>
                <a:lnTo>
                  <a:pt x="328" y="12"/>
                </a:lnTo>
                <a:lnTo>
                  <a:pt x="328" y="9"/>
                </a:lnTo>
                <a:lnTo>
                  <a:pt x="325" y="9"/>
                </a:lnTo>
                <a:lnTo>
                  <a:pt x="322" y="15"/>
                </a:lnTo>
                <a:lnTo>
                  <a:pt x="319" y="18"/>
                </a:lnTo>
                <a:lnTo>
                  <a:pt x="316" y="28"/>
                </a:lnTo>
                <a:lnTo>
                  <a:pt x="316" y="31"/>
                </a:lnTo>
                <a:lnTo>
                  <a:pt x="310" y="40"/>
                </a:lnTo>
                <a:lnTo>
                  <a:pt x="307" y="40"/>
                </a:lnTo>
                <a:lnTo>
                  <a:pt x="300" y="40"/>
                </a:lnTo>
                <a:lnTo>
                  <a:pt x="297" y="43"/>
                </a:lnTo>
                <a:lnTo>
                  <a:pt x="300" y="43"/>
                </a:lnTo>
                <a:lnTo>
                  <a:pt x="297" y="46"/>
                </a:lnTo>
                <a:lnTo>
                  <a:pt x="300" y="46"/>
                </a:lnTo>
                <a:lnTo>
                  <a:pt x="303" y="46"/>
                </a:lnTo>
                <a:lnTo>
                  <a:pt x="303" y="46"/>
                </a:lnTo>
                <a:lnTo>
                  <a:pt x="300" y="50"/>
                </a:lnTo>
                <a:lnTo>
                  <a:pt x="300" y="50"/>
                </a:lnTo>
                <a:lnTo>
                  <a:pt x="300" y="53"/>
                </a:lnTo>
                <a:lnTo>
                  <a:pt x="303" y="59"/>
                </a:lnTo>
                <a:lnTo>
                  <a:pt x="300" y="62"/>
                </a:lnTo>
                <a:lnTo>
                  <a:pt x="297" y="59"/>
                </a:lnTo>
                <a:lnTo>
                  <a:pt x="297" y="56"/>
                </a:lnTo>
                <a:lnTo>
                  <a:pt x="297" y="53"/>
                </a:lnTo>
                <a:lnTo>
                  <a:pt x="297" y="53"/>
                </a:lnTo>
                <a:lnTo>
                  <a:pt x="297" y="53"/>
                </a:lnTo>
                <a:lnTo>
                  <a:pt x="294" y="53"/>
                </a:lnTo>
                <a:lnTo>
                  <a:pt x="291" y="56"/>
                </a:lnTo>
                <a:lnTo>
                  <a:pt x="294" y="62"/>
                </a:lnTo>
                <a:lnTo>
                  <a:pt x="291" y="65"/>
                </a:lnTo>
                <a:lnTo>
                  <a:pt x="288" y="62"/>
                </a:lnTo>
                <a:lnTo>
                  <a:pt x="285" y="56"/>
                </a:lnTo>
                <a:lnTo>
                  <a:pt x="282" y="56"/>
                </a:lnTo>
                <a:lnTo>
                  <a:pt x="278" y="53"/>
                </a:lnTo>
                <a:lnTo>
                  <a:pt x="275" y="59"/>
                </a:lnTo>
                <a:lnTo>
                  <a:pt x="275" y="62"/>
                </a:lnTo>
                <a:lnTo>
                  <a:pt x="272" y="65"/>
                </a:lnTo>
                <a:lnTo>
                  <a:pt x="269" y="71"/>
                </a:lnTo>
                <a:lnTo>
                  <a:pt x="263" y="75"/>
                </a:lnTo>
                <a:lnTo>
                  <a:pt x="263" y="81"/>
                </a:lnTo>
                <a:lnTo>
                  <a:pt x="257" y="84"/>
                </a:lnTo>
                <a:lnTo>
                  <a:pt x="253" y="90"/>
                </a:lnTo>
                <a:lnTo>
                  <a:pt x="238" y="93"/>
                </a:lnTo>
                <a:lnTo>
                  <a:pt x="235" y="93"/>
                </a:lnTo>
                <a:lnTo>
                  <a:pt x="235" y="100"/>
                </a:lnTo>
                <a:lnTo>
                  <a:pt x="238" y="103"/>
                </a:lnTo>
                <a:lnTo>
                  <a:pt x="235" y="100"/>
                </a:lnTo>
                <a:lnTo>
                  <a:pt x="232" y="103"/>
                </a:lnTo>
                <a:lnTo>
                  <a:pt x="228" y="103"/>
                </a:lnTo>
                <a:lnTo>
                  <a:pt x="225" y="106"/>
                </a:lnTo>
                <a:lnTo>
                  <a:pt x="225" y="109"/>
                </a:lnTo>
                <a:lnTo>
                  <a:pt x="225" y="115"/>
                </a:lnTo>
                <a:lnTo>
                  <a:pt x="222" y="118"/>
                </a:lnTo>
                <a:lnTo>
                  <a:pt x="222" y="122"/>
                </a:lnTo>
                <a:lnTo>
                  <a:pt x="213" y="122"/>
                </a:lnTo>
                <a:lnTo>
                  <a:pt x="207" y="118"/>
                </a:lnTo>
                <a:lnTo>
                  <a:pt x="200" y="118"/>
                </a:lnTo>
                <a:lnTo>
                  <a:pt x="197" y="115"/>
                </a:lnTo>
                <a:lnTo>
                  <a:pt x="194" y="112"/>
                </a:lnTo>
                <a:lnTo>
                  <a:pt x="194" y="112"/>
                </a:lnTo>
                <a:lnTo>
                  <a:pt x="194" y="112"/>
                </a:lnTo>
                <a:close/>
                <a:moveTo>
                  <a:pt x="332" y="0"/>
                </a:moveTo>
                <a:lnTo>
                  <a:pt x="328" y="3"/>
                </a:lnTo>
                <a:lnTo>
                  <a:pt x="328" y="3"/>
                </a:lnTo>
                <a:lnTo>
                  <a:pt x="332" y="0"/>
                </a:lnTo>
                <a:lnTo>
                  <a:pt x="332" y="0"/>
                </a:lnTo>
                <a:lnTo>
                  <a:pt x="332" y="0"/>
                </a:lnTo>
                <a:close/>
                <a:moveTo>
                  <a:pt x="338" y="0"/>
                </a:moveTo>
                <a:lnTo>
                  <a:pt x="335" y="3"/>
                </a:lnTo>
                <a:lnTo>
                  <a:pt x="335" y="3"/>
                </a:lnTo>
                <a:lnTo>
                  <a:pt x="338" y="3"/>
                </a:lnTo>
                <a:lnTo>
                  <a:pt x="338" y="0"/>
                </a:lnTo>
                <a:lnTo>
                  <a:pt x="338" y="0"/>
                </a:lnTo>
                <a:lnTo>
                  <a:pt x="338" y="0"/>
                </a:lnTo>
                <a:close/>
                <a:moveTo>
                  <a:pt x="228" y="103"/>
                </a:moveTo>
                <a:lnTo>
                  <a:pt x="225" y="103"/>
                </a:lnTo>
                <a:lnTo>
                  <a:pt x="228" y="100"/>
                </a:lnTo>
                <a:lnTo>
                  <a:pt x="228" y="103"/>
                </a:lnTo>
                <a:lnTo>
                  <a:pt x="228" y="103"/>
                </a:lnTo>
                <a:close/>
                <a:moveTo>
                  <a:pt x="232" y="100"/>
                </a:moveTo>
                <a:lnTo>
                  <a:pt x="228" y="103"/>
                </a:lnTo>
                <a:lnTo>
                  <a:pt x="228" y="100"/>
                </a:lnTo>
                <a:lnTo>
                  <a:pt x="228" y="100"/>
                </a:lnTo>
                <a:lnTo>
                  <a:pt x="232" y="100"/>
                </a:lnTo>
                <a:lnTo>
                  <a:pt x="232" y="100"/>
                </a:lnTo>
                <a:close/>
                <a:moveTo>
                  <a:pt x="235" y="93"/>
                </a:moveTo>
                <a:lnTo>
                  <a:pt x="235" y="100"/>
                </a:lnTo>
                <a:lnTo>
                  <a:pt x="232" y="100"/>
                </a:lnTo>
                <a:lnTo>
                  <a:pt x="228" y="97"/>
                </a:lnTo>
                <a:lnTo>
                  <a:pt x="228" y="97"/>
                </a:lnTo>
                <a:lnTo>
                  <a:pt x="232" y="97"/>
                </a:lnTo>
                <a:lnTo>
                  <a:pt x="232" y="97"/>
                </a:lnTo>
                <a:lnTo>
                  <a:pt x="235" y="93"/>
                </a:lnTo>
                <a:lnTo>
                  <a:pt x="235" y="93"/>
                </a:lnTo>
                <a:close/>
                <a:moveTo>
                  <a:pt x="3" y="18"/>
                </a:moveTo>
                <a:lnTo>
                  <a:pt x="3" y="12"/>
                </a:lnTo>
                <a:lnTo>
                  <a:pt x="7" y="9"/>
                </a:lnTo>
                <a:lnTo>
                  <a:pt x="10" y="12"/>
                </a:lnTo>
                <a:lnTo>
                  <a:pt x="16" y="15"/>
                </a:lnTo>
                <a:lnTo>
                  <a:pt x="16" y="18"/>
                </a:lnTo>
                <a:lnTo>
                  <a:pt x="19" y="18"/>
                </a:lnTo>
                <a:lnTo>
                  <a:pt x="22" y="18"/>
                </a:lnTo>
                <a:lnTo>
                  <a:pt x="22" y="25"/>
                </a:lnTo>
                <a:lnTo>
                  <a:pt x="19" y="28"/>
                </a:lnTo>
                <a:lnTo>
                  <a:pt x="19" y="31"/>
                </a:lnTo>
                <a:lnTo>
                  <a:pt x="25" y="31"/>
                </a:lnTo>
                <a:lnTo>
                  <a:pt x="28" y="28"/>
                </a:lnTo>
                <a:lnTo>
                  <a:pt x="32" y="28"/>
                </a:lnTo>
                <a:lnTo>
                  <a:pt x="35" y="31"/>
                </a:lnTo>
                <a:lnTo>
                  <a:pt x="38" y="28"/>
                </a:lnTo>
                <a:lnTo>
                  <a:pt x="38" y="25"/>
                </a:lnTo>
                <a:lnTo>
                  <a:pt x="38" y="25"/>
                </a:lnTo>
                <a:lnTo>
                  <a:pt x="38" y="25"/>
                </a:lnTo>
                <a:lnTo>
                  <a:pt x="41" y="25"/>
                </a:lnTo>
                <a:lnTo>
                  <a:pt x="44" y="21"/>
                </a:lnTo>
                <a:lnTo>
                  <a:pt x="44" y="21"/>
                </a:lnTo>
                <a:lnTo>
                  <a:pt x="47" y="28"/>
                </a:lnTo>
                <a:lnTo>
                  <a:pt x="63" y="40"/>
                </a:lnTo>
                <a:lnTo>
                  <a:pt x="66" y="50"/>
                </a:lnTo>
                <a:lnTo>
                  <a:pt x="69" y="56"/>
                </a:lnTo>
                <a:lnTo>
                  <a:pt x="66" y="59"/>
                </a:lnTo>
                <a:lnTo>
                  <a:pt x="69" y="68"/>
                </a:lnTo>
                <a:lnTo>
                  <a:pt x="66" y="68"/>
                </a:lnTo>
                <a:lnTo>
                  <a:pt x="66" y="71"/>
                </a:lnTo>
                <a:lnTo>
                  <a:pt x="69" y="75"/>
                </a:lnTo>
                <a:lnTo>
                  <a:pt x="69" y="84"/>
                </a:lnTo>
                <a:lnTo>
                  <a:pt x="72" y="90"/>
                </a:lnTo>
                <a:lnTo>
                  <a:pt x="75" y="93"/>
                </a:lnTo>
                <a:lnTo>
                  <a:pt x="78" y="93"/>
                </a:lnTo>
                <a:lnTo>
                  <a:pt x="78" y="97"/>
                </a:lnTo>
                <a:lnTo>
                  <a:pt x="78" y="97"/>
                </a:lnTo>
                <a:lnTo>
                  <a:pt x="78" y="103"/>
                </a:lnTo>
                <a:lnTo>
                  <a:pt x="82" y="106"/>
                </a:lnTo>
                <a:lnTo>
                  <a:pt x="82" y="106"/>
                </a:lnTo>
                <a:lnTo>
                  <a:pt x="82" y="106"/>
                </a:lnTo>
                <a:lnTo>
                  <a:pt x="82" y="109"/>
                </a:lnTo>
                <a:lnTo>
                  <a:pt x="88" y="115"/>
                </a:lnTo>
                <a:lnTo>
                  <a:pt x="88" y="122"/>
                </a:lnTo>
                <a:lnTo>
                  <a:pt x="85" y="122"/>
                </a:lnTo>
                <a:lnTo>
                  <a:pt x="85" y="118"/>
                </a:lnTo>
                <a:lnTo>
                  <a:pt x="85" y="118"/>
                </a:lnTo>
                <a:lnTo>
                  <a:pt x="82" y="115"/>
                </a:lnTo>
                <a:lnTo>
                  <a:pt x="82" y="115"/>
                </a:lnTo>
                <a:lnTo>
                  <a:pt x="82" y="118"/>
                </a:lnTo>
                <a:lnTo>
                  <a:pt x="82" y="118"/>
                </a:lnTo>
                <a:lnTo>
                  <a:pt x="82" y="118"/>
                </a:lnTo>
                <a:lnTo>
                  <a:pt x="82" y="122"/>
                </a:lnTo>
                <a:lnTo>
                  <a:pt x="78" y="122"/>
                </a:lnTo>
                <a:lnTo>
                  <a:pt x="78" y="122"/>
                </a:lnTo>
                <a:lnTo>
                  <a:pt x="75" y="122"/>
                </a:lnTo>
                <a:lnTo>
                  <a:pt x="72" y="122"/>
                </a:lnTo>
                <a:lnTo>
                  <a:pt x="69" y="118"/>
                </a:lnTo>
                <a:lnTo>
                  <a:pt x="63" y="115"/>
                </a:lnTo>
                <a:lnTo>
                  <a:pt x="57" y="112"/>
                </a:lnTo>
                <a:lnTo>
                  <a:pt x="53" y="109"/>
                </a:lnTo>
                <a:lnTo>
                  <a:pt x="53" y="109"/>
                </a:lnTo>
                <a:lnTo>
                  <a:pt x="50" y="109"/>
                </a:lnTo>
                <a:lnTo>
                  <a:pt x="47" y="109"/>
                </a:lnTo>
                <a:lnTo>
                  <a:pt x="41" y="103"/>
                </a:lnTo>
                <a:lnTo>
                  <a:pt x="41" y="100"/>
                </a:lnTo>
                <a:lnTo>
                  <a:pt x="38" y="97"/>
                </a:lnTo>
                <a:lnTo>
                  <a:pt x="28" y="93"/>
                </a:lnTo>
                <a:lnTo>
                  <a:pt x="28" y="90"/>
                </a:lnTo>
                <a:lnTo>
                  <a:pt x="28" y="87"/>
                </a:lnTo>
                <a:lnTo>
                  <a:pt x="32" y="84"/>
                </a:lnTo>
                <a:lnTo>
                  <a:pt x="28" y="81"/>
                </a:lnTo>
                <a:lnTo>
                  <a:pt x="25" y="78"/>
                </a:lnTo>
                <a:lnTo>
                  <a:pt x="22" y="75"/>
                </a:lnTo>
                <a:lnTo>
                  <a:pt x="16" y="71"/>
                </a:lnTo>
                <a:lnTo>
                  <a:pt x="13" y="68"/>
                </a:lnTo>
                <a:lnTo>
                  <a:pt x="13" y="65"/>
                </a:lnTo>
                <a:lnTo>
                  <a:pt x="13" y="62"/>
                </a:lnTo>
                <a:lnTo>
                  <a:pt x="10" y="59"/>
                </a:lnTo>
                <a:lnTo>
                  <a:pt x="13" y="56"/>
                </a:lnTo>
                <a:lnTo>
                  <a:pt x="13" y="50"/>
                </a:lnTo>
                <a:lnTo>
                  <a:pt x="10" y="46"/>
                </a:lnTo>
                <a:lnTo>
                  <a:pt x="10" y="40"/>
                </a:lnTo>
                <a:lnTo>
                  <a:pt x="7" y="25"/>
                </a:lnTo>
                <a:lnTo>
                  <a:pt x="3" y="18"/>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0" name="Freeform 28">
            <a:extLst>
              <a:ext uri="{FF2B5EF4-FFF2-40B4-BE49-F238E27FC236}">
                <a16:creationId xmlns:a16="http://schemas.microsoft.com/office/drawing/2014/main" id="{A9BA29C8-B3F5-FF8E-C2B3-D6A79D1980CF}"/>
              </a:ext>
            </a:extLst>
          </p:cNvPr>
          <p:cNvSpPr>
            <a:spLocks noEditPoints="1"/>
          </p:cNvSpPr>
          <p:nvPr userDrawn="1"/>
        </p:nvSpPr>
        <p:spPr bwMode="auto">
          <a:xfrm>
            <a:off x="20312324" y="9067083"/>
            <a:ext cx="79371" cy="60326"/>
          </a:xfrm>
          <a:custGeom>
            <a:avLst/>
            <a:gdLst>
              <a:gd name="T0" fmla="*/ 0 w 25"/>
              <a:gd name="T1" fmla="*/ 7 h 19"/>
              <a:gd name="T2" fmla="*/ 4 w 25"/>
              <a:gd name="T3" fmla="*/ 10 h 19"/>
              <a:gd name="T4" fmla="*/ 7 w 25"/>
              <a:gd name="T5" fmla="*/ 10 h 19"/>
              <a:gd name="T6" fmla="*/ 10 w 25"/>
              <a:gd name="T7" fmla="*/ 16 h 19"/>
              <a:gd name="T8" fmla="*/ 13 w 25"/>
              <a:gd name="T9" fmla="*/ 19 h 19"/>
              <a:gd name="T10" fmla="*/ 16 w 25"/>
              <a:gd name="T11" fmla="*/ 16 h 19"/>
              <a:gd name="T12" fmla="*/ 13 w 25"/>
              <a:gd name="T13" fmla="*/ 10 h 19"/>
              <a:gd name="T14" fmla="*/ 16 w 25"/>
              <a:gd name="T15" fmla="*/ 7 h 19"/>
              <a:gd name="T16" fmla="*/ 19 w 25"/>
              <a:gd name="T17" fmla="*/ 7 h 19"/>
              <a:gd name="T18" fmla="*/ 19 w 25"/>
              <a:gd name="T19" fmla="*/ 4 h 19"/>
              <a:gd name="T20" fmla="*/ 16 w 25"/>
              <a:gd name="T21" fmla="*/ 0 h 19"/>
              <a:gd name="T22" fmla="*/ 13 w 25"/>
              <a:gd name="T23" fmla="*/ 0 h 19"/>
              <a:gd name="T24" fmla="*/ 10 w 25"/>
              <a:gd name="T25" fmla="*/ 4 h 19"/>
              <a:gd name="T26" fmla="*/ 0 w 25"/>
              <a:gd name="T27" fmla="*/ 7 h 19"/>
              <a:gd name="T28" fmla="*/ 0 w 25"/>
              <a:gd name="T29" fmla="*/ 7 h 19"/>
              <a:gd name="T30" fmla="*/ 0 w 25"/>
              <a:gd name="T31" fmla="*/ 7 h 19"/>
              <a:gd name="T32" fmla="*/ 19 w 25"/>
              <a:gd name="T33" fmla="*/ 7 h 19"/>
              <a:gd name="T34" fmla="*/ 19 w 25"/>
              <a:gd name="T35" fmla="*/ 10 h 19"/>
              <a:gd name="T36" fmla="*/ 19 w 25"/>
              <a:gd name="T37" fmla="*/ 13 h 19"/>
              <a:gd name="T38" fmla="*/ 22 w 25"/>
              <a:gd name="T39" fmla="*/ 16 h 19"/>
              <a:gd name="T40" fmla="*/ 25 w 25"/>
              <a:gd name="T41" fmla="*/ 13 h 19"/>
              <a:gd name="T42" fmla="*/ 22 w 25"/>
              <a:gd name="T43" fmla="*/ 7 h 19"/>
              <a:gd name="T44" fmla="*/ 22 w 25"/>
              <a:gd name="T45" fmla="*/ 4 h 19"/>
              <a:gd name="T46" fmla="*/ 19 w 25"/>
              <a:gd name="T47" fmla="*/ 7 h 19"/>
              <a:gd name="T48" fmla="*/ 19 w 25"/>
              <a:gd name="T49"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19">
                <a:moveTo>
                  <a:pt x="0" y="7"/>
                </a:moveTo>
                <a:lnTo>
                  <a:pt x="4" y="10"/>
                </a:lnTo>
                <a:lnTo>
                  <a:pt x="7" y="10"/>
                </a:lnTo>
                <a:lnTo>
                  <a:pt x="10" y="16"/>
                </a:lnTo>
                <a:lnTo>
                  <a:pt x="13" y="19"/>
                </a:lnTo>
                <a:lnTo>
                  <a:pt x="16" y="16"/>
                </a:lnTo>
                <a:lnTo>
                  <a:pt x="13" y="10"/>
                </a:lnTo>
                <a:lnTo>
                  <a:pt x="16" y="7"/>
                </a:lnTo>
                <a:lnTo>
                  <a:pt x="19" y="7"/>
                </a:lnTo>
                <a:lnTo>
                  <a:pt x="19" y="4"/>
                </a:lnTo>
                <a:lnTo>
                  <a:pt x="16" y="0"/>
                </a:lnTo>
                <a:lnTo>
                  <a:pt x="13" y="0"/>
                </a:lnTo>
                <a:lnTo>
                  <a:pt x="10" y="4"/>
                </a:lnTo>
                <a:lnTo>
                  <a:pt x="0" y="7"/>
                </a:lnTo>
                <a:lnTo>
                  <a:pt x="0" y="7"/>
                </a:lnTo>
                <a:lnTo>
                  <a:pt x="0" y="7"/>
                </a:lnTo>
                <a:close/>
                <a:moveTo>
                  <a:pt x="19" y="7"/>
                </a:moveTo>
                <a:lnTo>
                  <a:pt x="19" y="10"/>
                </a:lnTo>
                <a:lnTo>
                  <a:pt x="19" y="13"/>
                </a:lnTo>
                <a:lnTo>
                  <a:pt x="22" y="16"/>
                </a:lnTo>
                <a:lnTo>
                  <a:pt x="25" y="13"/>
                </a:lnTo>
                <a:lnTo>
                  <a:pt x="22" y="7"/>
                </a:lnTo>
                <a:lnTo>
                  <a:pt x="22" y="4"/>
                </a:lnTo>
                <a:lnTo>
                  <a:pt x="19" y="7"/>
                </a:lnTo>
                <a:lnTo>
                  <a:pt x="19" y="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1" name="Freeform 29">
            <a:extLst>
              <a:ext uri="{FF2B5EF4-FFF2-40B4-BE49-F238E27FC236}">
                <a16:creationId xmlns:a16="http://schemas.microsoft.com/office/drawing/2014/main" id="{2FF733F3-75A2-2CF4-86FD-B99CCF367FE6}"/>
              </a:ext>
            </a:extLst>
          </p:cNvPr>
          <p:cNvSpPr>
            <a:spLocks noEditPoints="1"/>
          </p:cNvSpPr>
          <p:nvPr userDrawn="1"/>
        </p:nvSpPr>
        <p:spPr bwMode="auto">
          <a:xfrm>
            <a:off x="19490053" y="7838357"/>
            <a:ext cx="504793" cy="1003302"/>
          </a:xfrm>
          <a:custGeom>
            <a:avLst/>
            <a:gdLst>
              <a:gd name="T0" fmla="*/ 6 w 159"/>
              <a:gd name="T1" fmla="*/ 15 h 316"/>
              <a:gd name="T2" fmla="*/ 16 w 159"/>
              <a:gd name="T3" fmla="*/ 18 h 316"/>
              <a:gd name="T4" fmla="*/ 28 w 159"/>
              <a:gd name="T5" fmla="*/ 15 h 316"/>
              <a:gd name="T6" fmla="*/ 44 w 159"/>
              <a:gd name="T7" fmla="*/ 12 h 316"/>
              <a:gd name="T8" fmla="*/ 59 w 159"/>
              <a:gd name="T9" fmla="*/ 0 h 316"/>
              <a:gd name="T10" fmla="*/ 81 w 159"/>
              <a:gd name="T11" fmla="*/ 9 h 316"/>
              <a:gd name="T12" fmla="*/ 88 w 159"/>
              <a:gd name="T13" fmla="*/ 15 h 316"/>
              <a:gd name="T14" fmla="*/ 97 w 159"/>
              <a:gd name="T15" fmla="*/ 34 h 316"/>
              <a:gd name="T16" fmla="*/ 113 w 159"/>
              <a:gd name="T17" fmla="*/ 37 h 316"/>
              <a:gd name="T18" fmla="*/ 113 w 159"/>
              <a:gd name="T19" fmla="*/ 43 h 316"/>
              <a:gd name="T20" fmla="*/ 100 w 159"/>
              <a:gd name="T21" fmla="*/ 46 h 316"/>
              <a:gd name="T22" fmla="*/ 94 w 159"/>
              <a:gd name="T23" fmla="*/ 53 h 316"/>
              <a:gd name="T24" fmla="*/ 88 w 159"/>
              <a:gd name="T25" fmla="*/ 56 h 316"/>
              <a:gd name="T26" fmla="*/ 88 w 159"/>
              <a:gd name="T27" fmla="*/ 65 h 316"/>
              <a:gd name="T28" fmla="*/ 78 w 159"/>
              <a:gd name="T29" fmla="*/ 75 h 316"/>
              <a:gd name="T30" fmla="*/ 75 w 159"/>
              <a:gd name="T31" fmla="*/ 81 h 316"/>
              <a:gd name="T32" fmla="*/ 72 w 159"/>
              <a:gd name="T33" fmla="*/ 97 h 316"/>
              <a:gd name="T34" fmla="*/ 81 w 159"/>
              <a:gd name="T35" fmla="*/ 106 h 316"/>
              <a:gd name="T36" fmla="*/ 91 w 159"/>
              <a:gd name="T37" fmla="*/ 118 h 316"/>
              <a:gd name="T38" fmla="*/ 106 w 159"/>
              <a:gd name="T39" fmla="*/ 137 h 316"/>
              <a:gd name="T40" fmla="*/ 141 w 159"/>
              <a:gd name="T41" fmla="*/ 165 h 316"/>
              <a:gd name="T42" fmla="*/ 147 w 159"/>
              <a:gd name="T43" fmla="*/ 178 h 316"/>
              <a:gd name="T44" fmla="*/ 150 w 159"/>
              <a:gd name="T45" fmla="*/ 194 h 316"/>
              <a:gd name="T46" fmla="*/ 156 w 159"/>
              <a:gd name="T47" fmla="*/ 209 h 316"/>
              <a:gd name="T48" fmla="*/ 159 w 159"/>
              <a:gd name="T49" fmla="*/ 222 h 316"/>
              <a:gd name="T50" fmla="*/ 159 w 159"/>
              <a:gd name="T51" fmla="*/ 225 h 316"/>
              <a:gd name="T52" fmla="*/ 156 w 159"/>
              <a:gd name="T53" fmla="*/ 234 h 316"/>
              <a:gd name="T54" fmla="*/ 156 w 159"/>
              <a:gd name="T55" fmla="*/ 250 h 316"/>
              <a:gd name="T56" fmla="*/ 144 w 159"/>
              <a:gd name="T57" fmla="*/ 262 h 316"/>
              <a:gd name="T58" fmla="*/ 131 w 159"/>
              <a:gd name="T59" fmla="*/ 272 h 316"/>
              <a:gd name="T60" fmla="*/ 109 w 159"/>
              <a:gd name="T61" fmla="*/ 278 h 316"/>
              <a:gd name="T62" fmla="*/ 106 w 159"/>
              <a:gd name="T63" fmla="*/ 275 h 316"/>
              <a:gd name="T64" fmla="*/ 109 w 159"/>
              <a:gd name="T65" fmla="*/ 281 h 316"/>
              <a:gd name="T66" fmla="*/ 106 w 159"/>
              <a:gd name="T67" fmla="*/ 287 h 316"/>
              <a:gd name="T68" fmla="*/ 97 w 159"/>
              <a:gd name="T69" fmla="*/ 290 h 316"/>
              <a:gd name="T70" fmla="*/ 97 w 159"/>
              <a:gd name="T71" fmla="*/ 297 h 316"/>
              <a:gd name="T72" fmla="*/ 88 w 159"/>
              <a:gd name="T73" fmla="*/ 303 h 316"/>
              <a:gd name="T74" fmla="*/ 75 w 159"/>
              <a:gd name="T75" fmla="*/ 316 h 316"/>
              <a:gd name="T76" fmla="*/ 75 w 159"/>
              <a:gd name="T77" fmla="*/ 309 h 316"/>
              <a:gd name="T78" fmla="*/ 75 w 159"/>
              <a:gd name="T79" fmla="*/ 297 h 316"/>
              <a:gd name="T80" fmla="*/ 81 w 159"/>
              <a:gd name="T81" fmla="*/ 281 h 316"/>
              <a:gd name="T82" fmla="*/ 66 w 159"/>
              <a:gd name="T83" fmla="*/ 281 h 316"/>
              <a:gd name="T84" fmla="*/ 72 w 159"/>
              <a:gd name="T85" fmla="*/ 272 h 316"/>
              <a:gd name="T86" fmla="*/ 94 w 159"/>
              <a:gd name="T87" fmla="*/ 265 h 316"/>
              <a:gd name="T88" fmla="*/ 97 w 159"/>
              <a:gd name="T89" fmla="*/ 259 h 316"/>
              <a:gd name="T90" fmla="*/ 106 w 159"/>
              <a:gd name="T91" fmla="*/ 244 h 316"/>
              <a:gd name="T92" fmla="*/ 122 w 159"/>
              <a:gd name="T93" fmla="*/ 228 h 316"/>
              <a:gd name="T94" fmla="*/ 119 w 159"/>
              <a:gd name="T95" fmla="*/ 200 h 316"/>
              <a:gd name="T96" fmla="*/ 119 w 159"/>
              <a:gd name="T97" fmla="*/ 184 h 316"/>
              <a:gd name="T98" fmla="*/ 119 w 159"/>
              <a:gd name="T99" fmla="*/ 168 h 316"/>
              <a:gd name="T100" fmla="*/ 116 w 159"/>
              <a:gd name="T101" fmla="*/ 156 h 316"/>
              <a:gd name="T102" fmla="*/ 106 w 159"/>
              <a:gd name="T103" fmla="*/ 147 h 316"/>
              <a:gd name="T104" fmla="*/ 94 w 159"/>
              <a:gd name="T105" fmla="*/ 137 h 316"/>
              <a:gd name="T106" fmla="*/ 81 w 159"/>
              <a:gd name="T107" fmla="*/ 122 h 316"/>
              <a:gd name="T108" fmla="*/ 56 w 159"/>
              <a:gd name="T109" fmla="*/ 103 h 316"/>
              <a:gd name="T110" fmla="*/ 47 w 159"/>
              <a:gd name="T111" fmla="*/ 90 h 316"/>
              <a:gd name="T112" fmla="*/ 53 w 159"/>
              <a:gd name="T113" fmla="*/ 81 h 316"/>
              <a:gd name="T114" fmla="*/ 56 w 159"/>
              <a:gd name="T115" fmla="*/ 65 h 316"/>
              <a:gd name="T116" fmla="*/ 41 w 159"/>
              <a:gd name="T117" fmla="*/ 53 h 316"/>
              <a:gd name="T118" fmla="*/ 13 w 159"/>
              <a:gd name="T119" fmla="*/ 40 h 316"/>
              <a:gd name="T120" fmla="*/ 0 w 159"/>
              <a:gd name="T121" fmla="*/ 25 h 316"/>
              <a:gd name="T122" fmla="*/ 53 w 159"/>
              <a:gd name="T123" fmla="*/ 281 h 316"/>
              <a:gd name="T124" fmla="*/ 56 w 159"/>
              <a:gd name="T125" fmla="*/ 275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9" h="316">
                <a:moveTo>
                  <a:pt x="0" y="21"/>
                </a:moveTo>
                <a:lnTo>
                  <a:pt x="0" y="18"/>
                </a:lnTo>
                <a:lnTo>
                  <a:pt x="3" y="18"/>
                </a:lnTo>
                <a:lnTo>
                  <a:pt x="3" y="18"/>
                </a:lnTo>
                <a:lnTo>
                  <a:pt x="6" y="15"/>
                </a:lnTo>
                <a:lnTo>
                  <a:pt x="9" y="15"/>
                </a:lnTo>
                <a:lnTo>
                  <a:pt x="13" y="15"/>
                </a:lnTo>
                <a:lnTo>
                  <a:pt x="13" y="18"/>
                </a:lnTo>
                <a:lnTo>
                  <a:pt x="13" y="18"/>
                </a:lnTo>
                <a:lnTo>
                  <a:pt x="16" y="18"/>
                </a:lnTo>
                <a:lnTo>
                  <a:pt x="16" y="15"/>
                </a:lnTo>
                <a:lnTo>
                  <a:pt x="19" y="12"/>
                </a:lnTo>
                <a:lnTo>
                  <a:pt x="25" y="15"/>
                </a:lnTo>
                <a:lnTo>
                  <a:pt x="25" y="15"/>
                </a:lnTo>
                <a:lnTo>
                  <a:pt x="28" y="15"/>
                </a:lnTo>
                <a:lnTo>
                  <a:pt x="28" y="15"/>
                </a:lnTo>
                <a:lnTo>
                  <a:pt x="34" y="15"/>
                </a:lnTo>
                <a:lnTo>
                  <a:pt x="34" y="12"/>
                </a:lnTo>
                <a:lnTo>
                  <a:pt x="38" y="9"/>
                </a:lnTo>
                <a:lnTo>
                  <a:pt x="44" y="12"/>
                </a:lnTo>
                <a:lnTo>
                  <a:pt x="50" y="9"/>
                </a:lnTo>
                <a:lnTo>
                  <a:pt x="50" y="3"/>
                </a:lnTo>
                <a:lnTo>
                  <a:pt x="53" y="3"/>
                </a:lnTo>
                <a:lnTo>
                  <a:pt x="59" y="3"/>
                </a:lnTo>
                <a:lnTo>
                  <a:pt x="59" y="0"/>
                </a:lnTo>
                <a:lnTo>
                  <a:pt x="66" y="3"/>
                </a:lnTo>
                <a:lnTo>
                  <a:pt x="66" y="6"/>
                </a:lnTo>
                <a:lnTo>
                  <a:pt x="69" y="6"/>
                </a:lnTo>
                <a:lnTo>
                  <a:pt x="72" y="9"/>
                </a:lnTo>
                <a:lnTo>
                  <a:pt x="81" y="9"/>
                </a:lnTo>
                <a:lnTo>
                  <a:pt x="81" y="9"/>
                </a:lnTo>
                <a:lnTo>
                  <a:pt x="88" y="9"/>
                </a:lnTo>
                <a:lnTo>
                  <a:pt x="91" y="12"/>
                </a:lnTo>
                <a:lnTo>
                  <a:pt x="91" y="15"/>
                </a:lnTo>
                <a:lnTo>
                  <a:pt x="88" y="15"/>
                </a:lnTo>
                <a:lnTo>
                  <a:pt x="84" y="21"/>
                </a:lnTo>
                <a:lnTo>
                  <a:pt x="88" y="25"/>
                </a:lnTo>
                <a:lnTo>
                  <a:pt x="88" y="28"/>
                </a:lnTo>
                <a:lnTo>
                  <a:pt x="97" y="31"/>
                </a:lnTo>
                <a:lnTo>
                  <a:pt x="97" y="34"/>
                </a:lnTo>
                <a:lnTo>
                  <a:pt x="100" y="34"/>
                </a:lnTo>
                <a:lnTo>
                  <a:pt x="103" y="37"/>
                </a:lnTo>
                <a:lnTo>
                  <a:pt x="109" y="34"/>
                </a:lnTo>
                <a:lnTo>
                  <a:pt x="109" y="37"/>
                </a:lnTo>
                <a:lnTo>
                  <a:pt x="113" y="37"/>
                </a:lnTo>
                <a:lnTo>
                  <a:pt x="116" y="37"/>
                </a:lnTo>
                <a:lnTo>
                  <a:pt x="116" y="37"/>
                </a:lnTo>
                <a:lnTo>
                  <a:pt x="116" y="40"/>
                </a:lnTo>
                <a:lnTo>
                  <a:pt x="116" y="40"/>
                </a:lnTo>
                <a:lnTo>
                  <a:pt x="113" y="43"/>
                </a:lnTo>
                <a:lnTo>
                  <a:pt x="113" y="43"/>
                </a:lnTo>
                <a:lnTo>
                  <a:pt x="109" y="43"/>
                </a:lnTo>
                <a:lnTo>
                  <a:pt x="106" y="43"/>
                </a:lnTo>
                <a:lnTo>
                  <a:pt x="100" y="46"/>
                </a:lnTo>
                <a:lnTo>
                  <a:pt x="100" y="46"/>
                </a:lnTo>
                <a:lnTo>
                  <a:pt x="100" y="50"/>
                </a:lnTo>
                <a:lnTo>
                  <a:pt x="100" y="50"/>
                </a:lnTo>
                <a:lnTo>
                  <a:pt x="97" y="53"/>
                </a:lnTo>
                <a:lnTo>
                  <a:pt x="97" y="50"/>
                </a:lnTo>
                <a:lnTo>
                  <a:pt x="94" y="53"/>
                </a:lnTo>
                <a:lnTo>
                  <a:pt x="91" y="53"/>
                </a:lnTo>
                <a:lnTo>
                  <a:pt x="91" y="53"/>
                </a:lnTo>
                <a:lnTo>
                  <a:pt x="91" y="53"/>
                </a:lnTo>
                <a:lnTo>
                  <a:pt x="88" y="53"/>
                </a:lnTo>
                <a:lnTo>
                  <a:pt x="88" y="56"/>
                </a:lnTo>
                <a:lnTo>
                  <a:pt x="88" y="56"/>
                </a:lnTo>
                <a:lnTo>
                  <a:pt x="88" y="59"/>
                </a:lnTo>
                <a:lnTo>
                  <a:pt x="88" y="62"/>
                </a:lnTo>
                <a:lnTo>
                  <a:pt x="88" y="65"/>
                </a:lnTo>
                <a:lnTo>
                  <a:pt x="88" y="65"/>
                </a:lnTo>
                <a:lnTo>
                  <a:pt x="88" y="68"/>
                </a:lnTo>
                <a:lnTo>
                  <a:pt x="88" y="68"/>
                </a:lnTo>
                <a:lnTo>
                  <a:pt x="84" y="68"/>
                </a:lnTo>
                <a:lnTo>
                  <a:pt x="81" y="75"/>
                </a:lnTo>
                <a:lnTo>
                  <a:pt x="78" y="75"/>
                </a:lnTo>
                <a:lnTo>
                  <a:pt x="78" y="72"/>
                </a:lnTo>
                <a:lnTo>
                  <a:pt x="78" y="75"/>
                </a:lnTo>
                <a:lnTo>
                  <a:pt x="75" y="75"/>
                </a:lnTo>
                <a:lnTo>
                  <a:pt x="75" y="78"/>
                </a:lnTo>
                <a:lnTo>
                  <a:pt x="75" y="81"/>
                </a:lnTo>
                <a:lnTo>
                  <a:pt x="75" y="84"/>
                </a:lnTo>
                <a:lnTo>
                  <a:pt x="75" y="84"/>
                </a:lnTo>
                <a:lnTo>
                  <a:pt x="78" y="87"/>
                </a:lnTo>
                <a:lnTo>
                  <a:pt x="75" y="93"/>
                </a:lnTo>
                <a:lnTo>
                  <a:pt x="72" y="97"/>
                </a:lnTo>
                <a:lnTo>
                  <a:pt x="78" y="100"/>
                </a:lnTo>
                <a:lnTo>
                  <a:pt x="75" y="103"/>
                </a:lnTo>
                <a:lnTo>
                  <a:pt x="72" y="103"/>
                </a:lnTo>
                <a:lnTo>
                  <a:pt x="75" y="103"/>
                </a:lnTo>
                <a:lnTo>
                  <a:pt x="81" y="106"/>
                </a:lnTo>
                <a:lnTo>
                  <a:pt x="88" y="112"/>
                </a:lnTo>
                <a:lnTo>
                  <a:pt x="91" y="112"/>
                </a:lnTo>
                <a:lnTo>
                  <a:pt x="91" y="115"/>
                </a:lnTo>
                <a:lnTo>
                  <a:pt x="91" y="118"/>
                </a:lnTo>
                <a:lnTo>
                  <a:pt x="91" y="118"/>
                </a:lnTo>
                <a:lnTo>
                  <a:pt x="94" y="125"/>
                </a:lnTo>
                <a:lnTo>
                  <a:pt x="94" y="128"/>
                </a:lnTo>
                <a:lnTo>
                  <a:pt x="100" y="134"/>
                </a:lnTo>
                <a:lnTo>
                  <a:pt x="106" y="134"/>
                </a:lnTo>
                <a:lnTo>
                  <a:pt x="106" y="137"/>
                </a:lnTo>
                <a:lnTo>
                  <a:pt x="116" y="143"/>
                </a:lnTo>
                <a:lnTo>
                  <a:pt x="125" y="150"/>
                </a:lnTo>
                <a:lnTo>
                  <a:pt x="128" y="153"/>
                </a:lnTo>
                <a:lnTo>
                  <a:pt x="138" y="159"/>
                </a:lnTo>
                <a:lnTo>
                  <a:pt x="141" y="165"/>
                </a:lnTo>
                <a:lnTo>
                  <a:pt x="141" y="168"/>
                </a:lnTo>
                <a:lnTo>
                  <a:pt x="141" y="168"/>
                </a:lnTo>
                <a:lnTo>
                  <a:pt x="141" y="172"/>
                </a:lnTo>
                <a:lnTo>
                  <a:pt x="147" y="175"/>
                </a:lnTo>
                <a:lnTo>
                  <a:pt x="147" y="178"/>
                </a:lnTo>
                <a:lnTo>
                  <a:pt x="147" y="178"/>
                </a:lnTo>
                <a:lnTo>
                  <a:pt x="147" y="181"/>
                </a:lnTo>
                <a:lnTo>
                  <a:pt x="150" y="184"/>
                </a:lnTo>
                <a:lnTo>
                  <a:pt x="150" y="190"/>
                </a:lnTo>
                <a:lnTo>
                  <a:pt x="150" y="194"/>
                </a:lnTo>
                <a:lnTo>
                  <a:pt x="153" y="200"/>
                </a:lnTo>
                <a:lnTo>
                  <a:pt x="153" y="200"/>
                </a:lnTo>
                <a:lnTo>
                  <a:pt x="153" y="203"/>
                </a:lnTo>
                <a:lnTo>
                  <a:pt x="153" y="206"/>
                </a:lnTo>
                <a:lnTo>
                  <a:pt x="156" y="209"/>
                </a:lnTo>
                <a:lnTo>
                  <a:pt x="153" y="212"/>
                </a:lnTo>
                <a:lnTo>
                  <a:pt x="156" y="215"/>
                </a:lnTo>
                <a:lnTo>
                  <a:pt x="156" y="219"/>
                </a:lnTo>
                <a:lnTo>
                  <a:pt x="156" y="219"/>
                </a:lnTo>
                <a:lnTo>
                  <a:pt x="159" y="222"/>
                </a:lnTo>
                <a:lnTo>
                  <a:pt x="159" y="225"/>
                </a:lnTo>
                <a:lnTo>
                  <a:pt x="159" y="228"/>
                </a:lnTo>
                <a:lnTo>
                  <a:pt x="159" y="228"/>
                </a:lnTo>
                <a:lnTo>
                  <a:pt x="159" y="228"/>
                </a:lnTo>
                <a:lnTo>
                  <a:pt x="159" y="225"/>
                </a:lnTo>
                <a:lnTo>
                  <a:pt x="156" y="228"/>
                </a:lnTo>
                <a:lnTo>
                  <a:pt x="156" y="231"/>
                </a:lnTo>
                <a:lnTo>
                  <a:pt x="159" y="231"/>
                </a:lnTo>
                <a:lnTo>
                  <a:pt x="159" y="234"/>
                </a:lnTo>
                <a:lnTo>
                  <a:pt x="156" y="234"/>
                </a:lnTo>
                <a:lnTo>
                  <a:pt x="156" y="237"/>
                </a:lnTo>
                <a:lnTo>
                  <a:pt x="153" y="240"/>
                </a:lnTo>
                <a:lnTo>
                  <a:pt x="156" y="244"/>
                </a:lnTo>
                <a:lnTo>
                  <a:pt x="153" y="247"/>
                </a:lnTo>
                <a:lnTo>
                  <a:pt x="156" y="250"/>
                </a:lnTo>
                <a:lnTo>
                  <a:pt x="153" y="250"/>
                </a:lnTo>
                <a:lnTo>
                  <a:pt x="150" y="253"/>
                </a:lnTo>
                <a:lnTo>
                  <a:pt x="150" y="256"/>
                </a:lnTo>
                <a:lnTo>
                  <a:pt x="147" y="259"/>
                </a:lnTo>
                <a:lnTo>
                  <a:pt x="144" y="262"/>
                </a:lnTo>
                <a:lnTo>
                  <a:pt x="141" y="262"/>
                </a:lnTo>
                <a:lnTo>
                  <a:pt x="138" y="265"/>
                </a:lnTo>
                <a:lnTo>
                  <a:pt x="138" y="269"/>
                </a:lnTo>
                <a:lnTo>
                  <a:pt x="131" y="269"/>
                </a:lnTo>
                <a:lnTo>
                  <a:pt x="131" y="272"/>
                </a:lnTo>
                <a:lnTo>
                  <a:pt x="122" y="278"/>
                </a:lnTo>
                <a:lnTo>
                  <a:pt x="116" y="278"/>
                </a:lnTo>
                <a:lnTo>
                  <a:pt x="116" y="278"/>
                </a:lnTo>
                <a:lnTo>
                  <a:pt x="109" y="278"/>
                </a:lnTo>
                <a:lnTo>
                  <a:pt x="109" y="278"/>
                </a:lnTo>
                <a:lnTo>
                  <a:pt x="109" y="275"/>
                </a:lnTo>
                <a:lnTo>
                  <a:pt x="109" y="272"/>
                </a:lnTo>
                <a:lnTo>
                  <a:pt x="109" y="275"/>
                </a:lnTo>
                <a:lnTo>
                  <a:pt x="109" y="275"/>
                </a:lnTo>
                <a:lnTo>
                  <a:pt x="106" y="275"/>
                </a:lnTo>
                <a:lnTo>
                  <a:pt x="109" y="278"/>
                </a:lnTo>
                <a:lnTo>
                  <a:pt x="109" y="278"/>
                </a:lnTo>
                <a:lnTo>
                  <a:pt x="106" y="278"/>
                </a:lnTo>
                <a:lnTo>
                  <a:pt x="103" y="278"/>
                </a:lnTo>
                <a:lnTo>
                  <a:pt x="109" y="281"/>
                </a:lnTo>
                <a:lnTo>
                  <a:pt x="106" y="281"/>
                </a:lnTo>
                <a:lnTo>
                  <a:pt x="109" y="284"/>
                </a:lnTo>
                <a:lnTo>
                  <a:pt x="106" y="287"/>
                </a:lnTo>
                <a:lnTo>
                  <a:pt x="103" y="284"/>
                </a:lnTo>
                <a:lnTo>
                  <a:pt x="106" y="287"/>
                </a:lnTo>
                <a:lnTo>
                  <a:pt x="106" y="290"/>
                </a:lnTo>
                <a:lnTo>
                  <a:pt x="103" y="290"/>
                </a:lnTo>
                <a:lnTo>
                  <a:pt x="103" y="290"/>
                </a:lnTo>
                <a:lnTo>
                  <a:pt x="100" y="287"/>
                </a:lnTo>
                <a:lnTo>
                  <a:pt x="97" y="290"/>
                </a:lnTo>
                <a:lnTo>
                  <a:pt x="100" y="294"/>
                </a:lnTo>
                <a:lnTo>
                  <a:pt x="100" y="294"/>
                </a:lnTo>
                <a:lnTo>
                  <a:pt x="100" y="294"/>
                </a:lnTo>
                <a:lnTo>
                  <a:pt x="97" y="297"/>
                </a:lnTo>
                <a:lnTo>
                  <a:pt x="97" y="297"/>
                </a:lnTo>
                <a:lnTo>
                  <a:pt x="97" y="297"/>
                </a:lnTo>
                <a:lnTo>
                  <a:pt x="91" y="300"/>
                </a:lnTo>
                <a:lnTo>
                  <a:pt x="91" y="300"/>
                </a:lnTo>
                <a:lnTo>
                  <a:pt x="88" y="300"/>
                </a:lnTo>
                <a:lnTo>
                  <a:pt x="88" y="303"/>
                </a:lnTo>
                <a:lnTo>
                  <a:pt x="88" y="306"/>
                </a:lnTo>
                <a:lnTo>
                  <a:pt x="84" y="309"/>
                </a:lnTo>
                <a:lnTo>
                  <a:pt x="81" y="309"/>
                </a:lnTo>
                <a:lnTo>
                  <a:pt x="81" y="309"/>
                </a:lnTo>
                <a:lnTo>
                  <a:pt x="75" y="316"/>
                </a:lnTo>
                <a:lnTo>
                  <a:pt x="69" y="312"/>
                </a:lnTo>
                <a:lnTo>
                  <a:pt x="72" y="312"/>
                </a:lnTo>
                <a:lnTo>
                  <a:pt x="75" y="309"/>
                </a:lnTo>
                <a:lnTo>
                  <a:pt x="78" y="309"/>
                </a:lnTo>
                <a:lnTo>
                  <a:pt x="75" y="309"/>
                </a:lnTo>
                <a:lnTo>
                  <a:pt x="72" y="306"/>
                </a:lnTo>
                <a:lnTo>
                  <a:pt x="75" y="300"/>
                </a:lnTo>
                <a:lnTo>
                  <a:pt x="75" y="300"/>
                </a:lnTo>
                <a:lnTo>
                  <a:pt x="72" y="300"/>
                </a:lnTo>
                <a:lnTo>
                  <a:pt x="75" y="297"/>
                </a:lnTo>
                <a:lnTo>
                  <a:pt x="72" y="290"/>
                </a:lnTo>
                <a:lnTo>
                  <a:pt x="75" y="287"/>
                </a:lnTo>
                <a:lnTo>
                  <a:pt x="81" y="281"/>
                </a:lnTo>
                <a:lnTo>
                  <a:pt x="84" y="281"/>
                </a:lnTo>
                <a:lnTo>
                  <a:pt x="81" y="281"/>
                </a:lnTo>
                <a:lnTo>
                  <a:pt x="75" y="281"/>
                </a:lnTo>
                <a:lnTo>
                  <a:pt x="75" y="281"/>
                </a:lnTo>
                <a:lnTo>
                  <a:pt x="72" y="281"/>
                </a:lnTo>
                <a:lnTo>
                  <a:pt x="69" y="281"/>
                </a:lnTo>
                <a:lnTo>
                  <a:pt x="66" y="281"/>
                </a:lnTo>
                <a:lnTo>
                  <a:pt x="66" y="281"/>
                </a:lnTo>
                <a:lnTo>
                  <a:pt x="66" y="278"/>
                </a:lnTo>
                <a:lnTo>
                  <a:pt x="66" y="275"/>
                </a:lnTo>
                <a:lnTo>
                  <a:pt x="69" y="272"/>
                </a:lnTo>
                <a:lnTo>
                  <a:pt x="72" y="272"/>
                </a:lnTo>
                <a:lnTo>
                  <a:pt x="75" y="265"/>
                </a:lnTo>
                <a:lnTo>
                  <a:pt x="78" y="265"/>
                </a:lnTo>
                <a:lnTo>
                  <a:pt x="81" y="265"/>
                </a:lnTo>
                <a:lnTo>
                  <a:pt x="91" y="265"/>
                </a:lnTo>
                <a:lnTo>
                  <a:pt x="94" y="265"/>
                </a:lnTo>
                <a:lnTo>
                  <a:pt x="97" y="269"/>
                </a:lnTo>
                <a:lnTo>
                  <a:pt x="103" y="269"/>
                </a:lnTo>
                <a:lnTo>
                  <a:pt x="100" y="265"/>
                </a:lnTo>
                <a:lnTo>
                  <a:pt x="100" y="262"/>
                </a:lnTo>
                <a:lnTo>
                  <a:pt x="97" y="259"/>
                </a:lnTo>
                <a:lnTo>
                  <a:pt x="94" y="256"/>
                </a:lnTo>
                <a:lnTo>
                  <a:pt x="91" y="250"/>
                </a:lnTo>
                <a:lnTo>
                  <a:pt x="97" y="247"/>
                </a:lnTo>
                <a:lnTo>
                  <a:pt x="103" y="247"/>
                </a:lnTo>
                <a:lnTo>
                  <a:pt x="106" y="244"/>
                </a:lnTo>
                <a:lnTo>
                  <a:pt x="109" y="240"/>
                </a:lnTo>
                <a:lnTo>
                  <a:pt x="116" y="237"/>
                </a:lnTo>
                <a:lnTo>
                  <a:pt x="116" y="234"/>
                </a:lnTo>
                <a:lnTo>
                  <a:pt x="119" y="234"/>
                </a:lnTo>
                <a:lnTo>
                  <a:pt x="122" y="228"/>
                </a:lnTo>
                <a:lnTo>
                  <a:pt x="122" y="225"/>
                </a:lnTo>
                <a:lnTo>
                  <a:pt x="125" y="219"/>
                </a:lnTo>
                <a:lnTo>
                  <a:pt x="122" y="215"/>
                </a:lnTo>
                <a:lnTo>
                  <a:pt x="122" y="209"/>
                </a:lnTo>
                <a:lnTo>
                  <a:pt x="119" y="200"/>
                </a:lnTo>
                <a:lnTo>
                  <a:pt x="116" y="200"/>
                </a:lnTo>
                <a:lnTo>
                  <a:pt x="113" y="194"/>
                </a:lnTo>
                <a:lnTo>
                  <a:pt x="116" y="194"/>
                </a:lnTo>
                <a:lnTo>
                  <a:pt x="119" y="190"/>
                </a:lnTo>
                <a:lnTo>
                  <a:pt x="119" y="184"/>
                </a:lnTo>
                <a:lnTo>
                  <a:pt x="116" y="181"/>
                </a:lnTo>
                <a:lnTo>
                  <a:pt x="116" y="178"/>
                </a:lnTo>
                <a:lnTo>
                  <a:pt x="122" y="172"/>
                </a:lnTo>
                <a:lnTo>
                  <a:pt x="122" y="168"/>
                </a:lnTo>
                <a:lnTo>
                  <a:pt x="119" y="168"/>
                </a:lnTo>
                <a:lnTo>
                  <a:pt x="116" y="165"/>
                </a:lnTo>
                <a:lnTo>
                  <a:pt x="116" y="159"/>
                </a:lnTo>
                <a:lnTo>
                  <a:pt x="119" y="156"/>
                </a:lnTo>
                <a:lnTo>
                  <a:pt x="119" y="156"/>
                </a:lnTo>
                <a:lnTo>
                  <a:pt x="116" y="156"/>
                </a:lnTo>
                <a:lnTo>
                  <a:pt x="113" y="156"/>
                </a:lnTo>
                <a:lnTo>
                  <a:pt x="109" y="153"/>
                </a:lnTo>
                <a:lnTo>
                  <a:pt x="106" y="153"/>
                </a:lnTo>
                <a:lnTo>
                  <a:pt x="103" y="150"/>
                </a:lnTo>
                <a:lnTo>
                  <a:pt x="106" y="147"/>
                </a:lnTo>
                <a:lnTo>
                  <a:pt x="103" y="147"/>
                </a:lnTo>
                <a:lnTo>
                  <a:pt x="100" y="147"/>
                </a:lnTo>
                <a:lnTo>
                  <a:pt x="97" y="143"/>
                </a:lnTo>
                <a:lnTo>
                  <a:pt x="97" y="140"/>
                </a:lnTo>
                <a:lnTo>
                  <a:pt x="94" y="137"/>
                </a:lnTo>
                <a:lnTo>
                  <a:pt x="91" y="137"/>
                </a:lnTo>
                <a:lnTo>
                  <a:pt x="88" y="134"/>
                </a:lnTo>
                <a:lnTo>
                  <a:pt x="88" y="131"/>
                </a:lnTo>
                <a:lnTo>
                  <a:pt x="81" y="125"/>
                </a:lnTo>
                <a:lnTo>
                  <a:pt x="81" y="122"/>
                </a:lnTo>
                <a:lnTo>
                  <a:pt x="75" y="115"/>
                </a:lnTo>
                <a:lnTo>
                  <a:pt x="72" y="112"/>
                </a:lnTo>
                <a:lnTo>
                  <a:pt x="66" y="106"/>
                </a:lnTo>
                <a:lnTo>
                  <a:pt x="63" y="106"/>
                </a:lnTo>
                <a:lnTo>
                  <a:pt x="56" y="103"/>
                </a:lnTo>
                <a:lnTo>
                  <a:pt x="50" y="103"/>
                </a:lnTo>
                <a:lnTo>
                  <a:pt x="47" y="97"/>
                </a:lnTo>
                <a:lnTo>
                  <a:pt x="44" y="97"/>
                </a:lnTo>
                <a:lnTo>
                  <a:pt x="44" y="93"/>
                </a:lnTo>
                <a:lnTo>
                  <a:pt x="47" y="90"/>
                </a:lnTo>
                <a:lnTo>
                  <a:pt x="41" y="87"/>
                </a:lnTo>
                <a:lnTo>
                  <a:pt x="41" y="84"/>
                </a:lnTo>
                <a:lnTo>
                  <a:pt x="44" y="84"/>
                </a:lnTo>
                <a:lnTo>
                  <a:pt x="50" y="81"/>
                </a:lnTo>
                <a:lnTo>
                  <a:pt x="53" y="81"/>
                </a:lnTo>
                <a:lnTo>
                  <a:pt x="56" y="78"/>
                </a:lnTo>
                <a:lnTo>
                  <a:pt x="59" y="72"/>
                </a:lnTo>
                <a:lnTo>
                  <a:pt x="59" y="68"/>
                </a:lnTo>
                <a:lnTo>
                  <a:pt x="59" y="65"/>
                </a:lnTo>
                <a:lnTo>
                  <a:pt x="56" y="65"/>
                </a:lnTo>
                <a:lnTo>
                  <a:pt x="56" y="62"/>
                </a:lnTo>
                <a:lnTo>
                  <a:pt x="53" y="59"/>
                </a:lnTo>
                <a:lnTo>
                  <a:pt x="50" y="56"/>
                </a:lnTo>
                <a:lnTo>
                  <a:pt x="47" y="53"/>
                </a:lnTo>
                <a:lnTo>
                  <a:pt x="41" y="53"/>
                </a:lnTo>
                <a:lnTo>
                  <a:pt x="38" y="56"/>
                </a:lnTo>
                <a:lnTo>
                  <a:pt x="31" y="56"/>
                </a:lnTo>
                <a:lnTo>
                  <a:pt x="25" y="56"/>
                </a:lnTo>
                <a:lnTo>
                  <a:pt x="19" y="46"/>
                </a:lnTo>
                <a:lnTo>
                  <a:pt x="13" y="40"/>
                </a:lnTo>
                <a:lnTo>
                  <a:pt x="16" y="37"/>
                </a:lnTo>
                <a:lnTo>
                  <a:pt x="13" y="34"/>
                </a:lnTo>
                <a:lnTo>
                  <a:pt x="9" y="31"/>
                </a:lnTo>
                <a:lnTo>
                  <a:pt x="6" y="25"/>
                </a:lnTo>
                <a:lnTo>
                  <a:pt x="0" y="25"/>
                </a:lnTo>
                <a:lnTo>
                  <a:pt x="0" y="21"/>
                </a:lnTo>
                <a:lnTo>
                  <a:pt x="0" y="21"/>
                </a:lnTo>
                <a:close/>
                <a:moveTo>
                  <a:pt x="53" y="278"/>
                </a:moveTo>
                <a:lnTo>
                  <a:pt x="56" y="281"/>
                </a:lnTo>
                <a:lnTo>
                  <a:pt x="53" y="281"/>
                </a:lnTo>
                <a:lnTo>
                  <a:pt x="56" y="284"/>
                </a:lnTo>
                <a:lnTo>
                  <a:pt x="59" y="284"/>
                </a:lnTo>
                <a:lnTo>
                  <a:pt x="59" y="278"/>
                </a:lnTo>
                <a:lnTo>
                  <a:pt x="59" y="278"/>
                </a:lnTo>
                <a:lnTo>
                  <a:pt x="56" y="275"/>
                </a:lnTo>
                <a:lnTo>
                  <a:pt x="53" y="278"/>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2" name="Freeform 30">
            <a:extLst>
              <a:ext uri="{FF2B5EF4-FFF2-40B4-BE49-F238E27FC236}">
                <a16:creationId xmlns:a16="http://schemas.microsoft.com/office/drawing/2014/main" id="{5B5DC421-4FEA-4078-66DB-AA31031477B4}"/>
              </a:ext>
            </a:extLst>
          </p:cNvPr>
          <p:cNvSpPr>
            <a:spLocks/>
          </p:cNvSpPr>
          <p:nvPr userDrawn="1"/>
        </p:nvSpPr>
        <p:spPr bwMode="auto">
          <a:xfrm>
            <a:off x="19550377" y="8432080"/>
            <a:ext cx="336528" cy="279400"/>
          </a:xfrm>
          <a:custGeom>
            <a:avLst/>
            <a:gdLst>
              <a:gd name="T0" fmla="*/ 50 w 106"/>
              <a:gd name="T1" fmla="*/ 85 h 88"/>
              <a:gd name="T2" fmla="*/ 56 w 106"/>
              <a:gd name="T3" fmla="*/ 78 h 88"/>
              <a:gd name="T4" fmla="*/ 62 w 106"/>
              <a:gd name="T5" fmla="*/ 78 h 88"/>
              <a:gd name="T6" fmla="*/ 75 w 106"/>
              <a:gd name="T7" fmla="*/ 78 h 88"/>
              <a:gd name="T8" fmla="*/ 84 w 106"/>
              <a:gd name="T9" fmla="*/ 82 h 88"/>
              <a:gd name="T10" fmla="*/ 81 w 106"/>
              <a:gd name="T11" fmla="*/ 75 h 88"/>
              <a:gd name="T12" fmla="*/ 75 w 106"/>
              <a:gd name="T13" fmla="*/ 69 h 88"/>
              <a:gd name="T14" fmla="*/ 78 w 106"/>
              <a:gd name="T15" fmla="*/ 60 h 88"/>
              <a:gd name="T16" fmla="*/ 87 w 106"/>
              <a:gd name="T17" fmla="*/ 57 h 88"/>
              <a:gd name="T18" fmla="*/ 97 w 106"/>
              <a:gd name="T19" fmla="*/ 50 h 88"/>
              <a:gd name="T20" fmla="*/ 100 w 106"/>
              <a:gd name="T21" fmla="*/ 47 h 88"/>
              <a:gd name="T22" fmla="*/ 103 w 106"/>
              <a:gd name="T23" fmla="*/ 38 h 88"/>
              <a:gd name="T24" fmla="*/ 103 w 106"/>
              <a:gd name="T25" fmla="*/ 28 h 88"/>
              <a:gd name="T26" fmla="*/ 100 w 106"/>
              <a:gd name="T27" fmla="*/ 13 h 88"/>
              <a:gd name="T28" fmla="*/ 94 w 106"/>
              <a:gd name="T29" fmla="*/ 7 h 88"/>
              <a:gd name="T30" fmla="*/ 87 w 106"/>
              <a:gd name="T31" fmla="*/ 3 h 88"/>
              <a:gd name="T32" fmla="*/ 84 w 106"/>
              <a:gd name="T33" fmla="*/ 0 h 88"/>
              <a:gd name="T34" fmla="*/ 72 w 106"/>
              <a:gd name="T35" fmla="*/ 3 h 88"/>
              <a:gd name="T36" fmla="*/ 78 w 106"/>
              <a:gd name="T37" fmla="*/ 13 h 88"/>
              <a:gd name="T38" fmla="*/ 78 w 106"/>
              <a:gd name="T39" fmla="*/ 19 h 88"/>
              <a:gd name="T40" fmla="*/ 69 w 106"/>
              <a:gd name="T41" fmla="*/ 10 h 88"/>
              <a:gd name="T42" fmla="*/ 59 w 106"/>
              <a:gd name="T43" fmla="*/ 7 h 88"/>
              <a:gd name="T44" fmla="*/ 53 w 106"/>
              <a:gd name="T45" fmla="*/ 7 h 88"/>
              <a:gd name="T46" fmla="*/ 44 w 106"/>
              <a:gd name="T47" fmla="*/ 3 h 88"/>
              <a:gd name="T48" fmla="*/ 37 w 106"/>
              <a:gd name="T49" fmla="*/ 3 h 88"/>
              <a:gd name="T50" fmla="*/ 28 w 106"/>
              <a:gd name="T51" fmla="*/ 3 h 88"/>
              <a:gd name="T52" fmla="*/ 15 w 106"/>
              <a:gd name="T53" fmla="*/ 7 h 88"/>
              <a:gd name="T54" fmla="*/ 6 w 106"/>
              <a:gd name="T55" fmla="*/ 13 h 88"/>
              <a:gd name="T56" fmla="*/ 3 w 106"/>
              <a:gd name="T57" fmla="*/ 22 h 88"/>
              <a:gd name="T58" fmla="*/ 3 w 106"/>
              <a:gd name="T59" fmla="*/ 38 h 88"/>
              <a:gd name="T60" fmla="*/ 9 w 106"/>
              <a:gd name="T61" fmla="*/ 44 h 88"/>
              <a:gd name="T62" fmla="*/ 6 w 106"/>
              <a:gd name="T63" fmla="*/ 53 h 88"/>
              <a:gd name="T64" fmla="*/ 9 w 106"/>
              <a:gd name="T65" fmla="*/ 57 h 88"/>
              <a:gd name="T66" fmla="*/ 12 w 106"/>
              <a:gd name="T67" fmla="*/ 63 h 88"/>
              <a:gd name="T68" fmla="*/ 15 w 106"/>
              <a:gd name="T69" fmla="*/ 69 h 88"/>
              <a:gd name="T70" fmla="*/ 19 w 106"/>
              <a:gd name="T71" fmla="*/ 72 h 88"/>
              <a:gd name="T72" fmla="*/ 19 w 106"/>
              <a:gd name="T73" fmla="*/ 78 h 88"/>
              <a:gd name="T74" fmla="*/ 22 w 106"/>
              <a:gd name="T75" fmla="*/ 82 h 88"/>
              <a:gd name="T76" fmla="*/ 25 w 106"/>
              <a:gd name="T77" fmla="*/ 78 h 88"/>
              <a:gd name="T78" fmla="*/ 31 w 106"/>
              <a:gd name="T79" fmla="*/ 75 h 88"/>
              <a:gd name="T80" fmla="*/ 31 w 106"/>
              <a:gd name="T81" fmla="*/ 78 h 88"/>
              <a:gd name="T82" fmla="*/ 28 w 106"/>
              <a:gd name="T83" fmla="*/ 85 h 88"/>
              <a:gd name="T84" fmla="*/ 31 w 106"/>
              <a:gd name="T85" fmla="*/ 88 h 88"/>
              <a:gd name="T86" fmla="*/ 34 w 106"/>
              <a:gd name="T87" fmla="*/ 85 h 88"/>
              <a:gd name="T88" fmla="*/ 37 w 106"/>
              <a:gd name="T89" fmla="*/ 85 h 88"/>
              <a:gd name="T90" fmla="*/ 44 w 106"/>
              <a:gd name="T91" fmla="*/ 8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88">
                <a:moveTo>
                  <a:pt x="47" y="88"/>
                </a:moveTo>
                <a:lnTo>
                  <a:pt x="50" y="85"/>
                </a:lnTo>
                <a:lnTo>
                  <a:pt x="53" y="85"/>
                </a:lnTo>
                <a:lnTo>
                  <a:pt x="56" y="78"/>
                </a:lnTo>
                <a:lnTo>
                  <a:pt x="59" y="78"/>
                </a:lnTo>
                <a:lnTo>
                  <a:pt x="62" y="78"/>
                </a:lnTo>
                <a:lnTo>
                  <a:pt x="72" y="78"/>
                </a:lnTo>
                <a:lnTo>
                  <a:pt x="75" y="78"/>
                </a:lnTo>
                <a:lnTo>
                  <a:pt x="78" y="82"/>
                </a:lnTo>
                <a:lnTo>
                  <a:pt x="84" y="82"/>
                </a:lnTo>
                <a:lnTo>
                  <a:pt x="81" y="78"/>
                </a:lnTo>
                <a:lnTo>
                  <a:pt x="81" y="75"/>
                </a:lnTo>
                <a:lnTo>
                  <a:pt x="78" y="72"/>
                </a:lnTo>
                <a:lnTo>
                  <a:pt x="75" y="69"/>
                </a:lnTo>
                <a:lnTo>
                  <a:pt x="72" y="63"/>
                </a:lnTo>
                <a:lnTo>
                  <a:pt x="78" y="60"/>
                </a:lnTo>
                <a:lnTo>
                  <a:pt x="84" y="60"/>
                </a:lnTo>
                <a:lnTo>
                  <a:pt x="87" y="57"/>
                </a:lnTo>
                <a:lnTo>
                  <a:pt x="90" y="53"/>
                </a:lnTo>
                <a:lnTo>
                  <a:pt x="97" y="50"/>
                </a:lnTo>
                <a:lnTo>
                  <a:pt x="97" y="47"/>
                </a:lnTo>
                <a:lnTo>
                  <a:pt x="100" y="47"/>
                </a:lnTo>
                <a:lnTo>
                  <a:pt x="103" y="41"/>
                </a:lnTo>
                <a:lnTo>
                  <a:pt x="103" y="38"/>
                </a:lnTo>
                <a:lnTo>
                  <a:pt x="106" y="32"/>
                </a:lnTo>
                <a:lnTo>
                  <a:pt x="103" y="28"/>
                </a:lnTo>
                <a:lnTo>
                  <a:pt x="103" y="22"/>
                </a:lnTo>
                <a:lnTo>
                  <a:pt x="100" y="13"/>
                </a:lnTo>
                <a:lnTo>
                  <a:pt x="97" y="13"/>
                </a:lnTo>
                <a:lnTo>
                  <a:pt x="94" y="7"/>
                </a:lnTo>
                <a:lnTo>
                  <a:pt x="90" y="7"/>
                </a:lnTo>
                <a:lnTo>
                  <a:pt x="87" y="3"/>
                </a:lnTo>
                <a:lnTo>
                  <a:pt x="84" y="3"/>
                </a:lnTo>
                <a:lnTo>
                  <a:pt x="84" y="0"/>
                </a:lnTo>
                <a:lnTo>
                  <a:pt x="78" y="0"/>
                </a:lnTo>
                <a:lnTo>
                  <a:pt x="72" y="3"/>
                </a:lnTo>
                <a:lnTo>
                  <a:pt x="78" y="10"/>
                </a:lnTo>
                <a:lnTo>
                  <a:pt x="78" y="13"/>
                </a:lnTo>
                <a:lnTo>
                  <a:pt x="78" y="16"/>
                </a:lnTo>
                <a:lnTo>
                  <a:pt x="78" y="19"/>
                </a:lnTo>
                <a:lnTo>
                  <a:pt x="72" y="16"/>
                </a:lnTo>
                <a:lnTo>
                  <a:pt x="69" y="10"/>
                </a:lnTo>
                <a:lnTo>
                  <a:pt x="62" y="10"/>
                </a:lnTo>
                <a:lnTo>
                  <a:pt x="59" y="7"/>
                </a:lnTo>
                <a:lnTo>
                  <a:pt x="56" y="3"/>
                </a:lnTo>
                <a:lnTo>
                  <a:pt x="53" y="7"/>
                </a:lnTo>
                <a:lnTo>
                  <a:pt x="50" y="3"/>
                </a:lnTo>
                <a:lnTo>
                  <a:pt x="44" y="3"/>
                </a:lnTo>
                <a:lnTo>
                  <a:pt x="40" y="3"/>
                </a:lnTo>
                <a:lnTo>
                  <a:pt x="37" y="3"/>
                </a:lnTo>
                <a:lnTo>
                  <a:pt x="31" y="3"/>
                </a:lnTo>
                <a:lnTo>
                  <a:pt x="28" y="3"/>
                </a:lnTo>
                <a:lnTo>
                  <a:pt x="25" y="3"/>
                </a:lnTo>
                <a:lnTo>
                  <a:pt x="15" y="7"/>
                </a:lnTo>
                <a:lnTo>
                  <a:pt x="9" y="7"/>
                </a:lnTo>
                <a:lnTo>
                  <a:pt x="6" y="13"/>
                </a:lnTo>
                <a:lnTo>
                  <a:pt x="6" y="16"/>
                </a:lnTo>
                <a:lnTo>
                  <a:pt x="3" y="22"/>
                </a:lnTo>
                <a:lnTo>
                  <a:pt x="0" y="28"/>
                </a:lnTo>
                <a:lnTo>
                  <a:pt x="3" y="38"/>
                </a:lnTo>
                <a:lnTo>
                  <a:pt x="6" y="38"/>
                </a:lnTo>
                <a:lnTo>
                  <a:pt x="9" y="44"/>
                </a:lnTo>
                <a:lnTo>
                  <a:pt x="9" y="50"/>
                </a:lnTo>
                <a:lnTo>
                  <a:pt x="6" y="53"/>
                </a:lnTo>
                <a:lnTo>
                  <a:pt x="6" y="53"/>
                </a:lnTo>
                <a:lnTo>
                  <a:pt x="9" y="57"/>
                </a:lnTo>
                <a:lnTo>
                  <a:pt x="9" y="60"/>
                </a:lnTo>
                <a:lnTo>
                  <a:pt x="12" y="63"/>
                </a:lnTo>
                <a:lnTo>
                  <a:pt x="12" y="66"/>
                </a:lnTo>
                <a:lnTo>
                  <a:pt x="15" y="69"/>
                </a:lnTo>
                <a:lnTo>
                  <a:pt x="19" y="69"/>
                </a:lnTo>
                <a:lnTo>
                  <a:pt x="19" y="72"/>
                </a:lnTo>
                <a:lnTo>
                  <a:pt x="19" y="75"/>
                </a:lnTo>
                <a:lnTo>
                  <a:pt x="19" y="78"/>
                </a:lnTo>
                <a:lnTo>
                  <a:pt x="22" y="82"/>
                </a:lnTo>
                <a:lnTo>
                  <a:pt x="22" y="82"/>
                </a:lnTo>
                <a:lnTo>
                  <a:pt x="25" y="82"/>
                </a:lnTo>
                <a:lnTo>
                  <a:pt x="25" y="78"/>
                </a:lnTo>
                <a:lnTo>
                  <a:pt x="28" y="75"/>
                </a:lnTo>
                <a:lnTo>
                  <a:pt x="31" y="75"/>
                </a:lnTo>
                <a:lnTo>
                  <a:pt x="31" y="75"/>
                </a:lnTo>
                <a:lnTo>
                  <a:pt x="31" y="78"/>
                </a:lnTo>
                <a:lnTo>
                  <a:pt x="31" y="82"/>
                </a:lnTo>
                <a:lnTo>
                  <a:pt x="28" y="85"/>
                </a:lnTo>
                <a:lnTo>
                  <a:pt x="31" y="88"/>
                </a:lnTo>
                <a:lnTo>
                  <a:pt x="31" y="88"/>
                </a:lnTo>
                <a:lnTo>
                  <a:pt x="31" y="88"/>
                </a:lnTo>
                <a:lnTo>
                  <a:pt x="34" y="85"/>
                </a:lnTo>
                <a:lnTo>
                  <a:pt x="34" y="85"/>
                </a:lnTo>
                <a:lnTo>
                  <a:pt x="37" y="85"/>
                </a:lnTo>
                <a:lnTo>
                  <a:pt x="40" y="88"/>
                </a:lnTo>
                <a:lnTo>
                  <a:pt x="44" y="85"/>
                </a:lnTo>
                <a:lnTo>
                  <a:pt x="47" y="88"/>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3" name="Freeform 31">
            <a:extLst>
              <a:ext uri="{FF2B5EF4-FFF2-40B4-BE49-F238E27FC236}">
                <a16:creationId xmlns:a16="http://schemas.microsoft.com/office/drawing/2014/main" id="{B0DA7401-571D-4CFB-428F-412B0AD5D588}"/>
              </a:ext>
            </a:extLst>
          </p:cNvPr>
          <p:cNvSpPr>
            <a:spLocks/>
          </p:cNvSpPr>
          <p:nvPr userDrawn="1"/>
        </p:nvSpPr>
        <p:spPr bwMode="auto">
          <a:xfrm>
            <a:off x="19359887" y="7905032"/>
            <a:ext cx="517492" cy="587376"/>
          </a:xfrm>
          <a:custGeom>
            <a:avLst/>
            <a:gdLst>
              <a:gd name="T0" fmla="*/ 25 w 163"/>
              <a:gd name="T1" fmla="*/ 25 h 185"/>
              <a:gd name="T2" fmla="*/ 32 w 163"/>
              <a:gd name="T3" fmla="*/ 19 h 185"/>
              <a:gd name="T4" fmla="*/ 29 w 163"/>
              <a:gd name="T5" fmla="*/ 4 h 185"/>
              <a:gd name="T6" fmla="*/ 41 w 163"/>
              <a:gd name="T7" fmla="*/ 0 h 185"/>
              <a:gd name="T8" fmla="*/ 50 w 163"/>
              <a:gd name="T9" fmla="*/ 10 h 185"/>
              <a:gd name="T10" fmla="*/ 54 w 163"/>
              <a:gd name="T11" fmla="*/ 19 h 185"/>
              <a:gd name="T12" fmla="*/ 72 w 163"/>
              <a:gd name="T13" fmla="*/ 35 h 185"/>
              <a:gd name="T14" fmla="*/ 88 w 163"/>
              <a:gd name="T15" fmla="*/ 32 h 185"/>
              <a:gd name="T16" fmla="*/ 97 w 163"/>
              <a:gd name="T17" fmla="*/ 41 h 185"/>
              <a:gd name="T18" fmla="*/ 100 w 163"/>
              <a:gd name="T19" fmla="*/ 47 h 185"/>
              <a:gd name="T20" fmla="*/ 94 w 163"/>
              <a:gd name="T21" fmla="*/ 60 h 185"/>
              <a:gd name="T22" fmla="*/ 82 w 163"/>
              <a:gd name="T23" fmla="*/ 63 h 185"/>
              <a:gd name="T24" fmla="*/ 85 w 163"/>
              <a:gd name="T25" fmla="*/ 72 h 185"/>
              <a:gd name="T26" fmla="*/ 91 w 163"/>
              <a:gd name="T27" fmla="*/ 82 h 185"/>
              <a:gd name="T28" fmla="*/ 107 w 163"/>
              <a:gd name="T29" fmla="*/ 85 h 185"/>
              <a:gd name="T30" fmla="*/ 122 w 163"/>
              <a:gd name="T31" fmla="*/ 101 h 185"/>
              <a:gd name="T32" fmla="*/ 129 w 163"/>
              <a:gd name="T33" fmla="*/ 113 h 185"/>
              <a:gd name="T34" fmla="*/ 138 w 163"/>
              <a:gd name="T35" fmla="*/ 119 h 185"/>
              <a:gd name="T36" fmla="*/ 144 w 163"/>
              <a:gd name="T37" fmla="*/ 126 h 185"/>
              <a:gd name="T38" fmla="*/ 147 w 163"/>
              <a:gd name="T39" fmla="*/ 132 h 185"/>
              <a:gd name="T40" fmla="*/ 157 w 163"/>
              <a:gd name="T41" fmla="*/ 135 h 185"/>
              <a:gd name="T42" fmla="*/ 157 w 163"/>
              <a:gd name="T43" fmla="*/ 138 h 185"/>
              <a:gd name="T44" fmla="*/ 163 w 163"/>
              <a:gd name="T45" fmla="*/ 147 h 185"/>
              <a:gd name="T46" fmla="*/ 157 w 163"/>
              <a:gd name="T47" fmla="*/ 160 h 185"/>
              <a:gd name="T48" fmla="*/ 157 w 163"/>
              <a:gd name="T49" fmla="*/ 173 h 185"/>
              <a:gd name="T50" fmla="*/ 144 w 163"/>
              <a:gd name="T51" fmla="*/ 169 h 185"/>
              <a:gd name="T52" fmla="*/ 132 w 163"/>
              <a:gd name="T53" fmla="*/ 169 h 185"/>
              <a:gd name="T54" fmla="*/ 138 w 163"/>
              <a:gd name="T55" fmla="*/ 182 h 185"/>
              <a:gd name="T56" fmla="*/ 129 w 163"/>
              <a:gd name="T57" fmla="*/ 176 h 185"/>
              <a:gd name="T58" fmla="*/ 116 w 163"/>
              <a:gd name="T59" fmla="*/ 169 h 185"/>
              <a:gd name="T60" fmla="*/ 122 w 163"/>
              <a:gd name="T61" fmla="*/ 160 h 185"/>
              <a:gd name="T62" fmla="*/ 122 w 163"/>
              <a:gd name="T63" fmla="*/ 151 h 185"/>
              <a:gd name="T64" fmla="*/ 116 w 163"/>
              <a:gd name="T65" fmla="*/ 141 h 185"/>
              <a:gd name="T66" fmla="*/ 110 w 163"/>
              <a:gd name="T67" fmla="*/ 135 h 185"/>
              <a:gd name="T68" fmla="*/ 104 w 163"/>
              <a:gd name="T69" fmla="*/ 126 h 185"/>
              <a:gd name="T70" fmla="*/ 104 w 163"/>
              <a:gd name="T71" fmla="*/ 113 h 185"/>
              <a:gd name="T72" fmla="*/ 97 w 163"/>
              <a:gd name="T73" fmla="*/ 104 h 185"/>
              <a:gd name="T74" fmla="*/ 79 w 163"/>
              <a:gd name="T75" fmla="*/ 88 h 185"/>
              <a:gd name="T76" fmla="*/ 60 w 163"/>
              <a:gd name="T77" fmla="*/ 101 h 185"/>
              <a:gd name="T78" fmla="*/ 44 w 163"/>
              <a:gd name="T79" fmla="*/ 91 h 185"/>
              <a:gd name="T80" fmla="*/ 32 w 163"/>
              <a:gd name="T81" fmla="*/ 101 h 185"/>
              <a:gd name="T82" fmla="*/ 29 w 163"/>
              <a:gd name="T83" fmla="*/ 85 h 185"/>
              <a:gd name="T84" fmla="*/ 29 w 163"/>
              <a:gd name="T85" fmla="*/ 76 h 185"/>
              <a:gd name="T86" fmla="*/ 29 w 163"/>
              <a:gd name="T87" fmla="*/ 63 h 185"/>
              <a:gd name="T88" fmla="*/ 13 w 163"/>
              <a:gd name="T89" fmla="*/ 63 h 185"/>
              <a:gd name="T90" fmla="*/ 13 w 163"/>
              <a:gd name="T91" fmla="*/ 51 h 185"/>
              <a:gd name="T92" fmla="*/ 0 w 163"/>
              <a:gd name="T93" fmla="*/ 41 h 185"/>
              <a:gd name="T94" fmla="*/ 10 w 163"/>
              <a:gd name="T95" fmla="*/ 35 h 185"/>
              <a:gd name="T96" fmla="*/ 10 w 163"/>
              <a:gd name="T97" fmla="*/ 2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3" h="185">
                <a:moveTo>
                  <a:pt x="19" y="19"/>
                </a:moveTo>
                <a:lnTo>
                  <a:pt x="22" y="22"/>
                </a:lnTo>
                <a:lnTo>
                  <a:pt x="25" y="25"/>
                </a:lnTo>
                <a:lnTo>
                  <a:pt x="29" y="25"/>
                </a:lnTo>
                <a:lnTo>
                  <a:pt x="32" y="25"/>
                </a:lnTo>
                <a:lnTo>
                  <a:pt x="32" y="19"/>
                </a:lnTo>
                <a:lnTo>
                  <a:pt x="32" y="16"/>
                </a:lnTo>
                <a:lnTo>
                  <a:pt x="29" y="10"/>
                </a:lnTo>
                <a:lnTo>
                  <a:pt x="29" y="4"/>
                </a:lnTo>
                <a:lnTo>
                  <a:pt x="32" y="4"/>
                </a:lnTo>
                <a:lnTo>
                  <a:pt x="32" y="0"/>
                </a:lnTo>
                <a:lnTo>
                  <a:pt x="41" y="0"/>
                </a:lnTo>
                <a:lnTo>
                  <a:pt x="41" y="4"/>
                </a:lnTo>
                <a:lnTo>
                  <a:pt x="47" y="4"/>
                </a:lnTo>
                <a:lnTo>
                  <a:pt x="50" y="10"/>
                </a:lnTo>
                <a:lnTo>
                  <a:pt x="54" y="13"/>
                </a:lnTo>
                <a:lnTo>
                  <a:pt x="57" y="16"/>
                </a:lnTo>
                <a:lnTo>
                  <a:pt x="54" y="19"/>
                </a:lnTo>
                <a:lnTo>
                  <a:pt x="60" y="25"/>
                </a:lnTo>
                <a:lnTo>
                  <a:pt x="66" y="35"/>
                </a:lnTo>
                <a:lnTo>
                  <a:pt x="72" y="35"/>
                </a:lnTo>
                <a:lnTo>
                  <a:pt x="79" y="35"/>
                </a:lnTo>
                <a:lnTo>
                  <a:pt x="82" y="32"/>
                </a:lnTo>
                <a:lnTo>
                  <a:pt x="88" y="32"/>
                </a:lnTo>
                <a:lnTo>
                  <a:pt x="91" y="35"/>
                </a:lnTo>
                <a:lnTo>
                  <a:pt x="94" y="38"/>
                </a:lnTo>
                <a:lnTo>
                  <a:pt x="97" y="41"/>
                </a:lnTo>
                <a:lnTo>
                  <a:pt x="97" y="44"/>
                </a:lnTo>
                <a:lnTo>
                  <a:pt x="100" y="44"/>
                </a:lnTo>
                <a:lnTo>
                  <a:pt x="100" y="47"/>
                </a:lnTo>
                <a:lnTo>
                  <a:pt x="100" y="51"/>
                </a:lnTo>
                <a:lnTo>
                  <a:pt x="97" y="57"/>
                </a:lnTo>
                <a:lnTo>
                  <a:pt x="94" y="60"/>
                </a:lnTo>
                <a:lnTo>
                  <a:pt x="91" y="60"/>
                </a:lnTo>
                <a:lnTo>
                  <a:pt x="85" y="63"/>
                </a:lnTo>
                <a:lnTo>
                  <a:pt x="82" y="63"/>
                </a:lnTo>
                <a:lnTo>
                  <a:pt x="82" y="66"/>
                </a:lnTo>
                <a:lnTo>
                  <a:pt x="88" y="69"/>
                </a:lnTo>
                <a:lnTo>
                  <a:pt x="85" y="72"/>
                </a:lnTo>
                <a:lnTo>
                  <a:pt x="85" y="76"/>
                </a:lnTo>
                <a:lnTo>
                  <a:pt x="88" y="76"/>
                </a:lnTo>
                <a:lnTo>
                  <a:pt x="91" y="82"/>
                </a:lnTo>
                <a:lnTo>
                  <a:pt x="97" y="82"/>
                </a:lnTo>
                <a:lnTo>
                  <a:pt x="104" y="85"/>
                </a:lnTo>
                <a:lnTo>
                  <a:pt x="107" y="85"/>
                </a:lnTo>
                <a:lnTo>
                  <a:pt x="113" y="91"/>
                </a:lnTo>
                <a:lnTo>
                  <a:pt x="116" y="94"/>
                </a:lnTo>
                <a:lnTo>
                  <a:pt x="122" y="101"/>
                </a:lnTo>
                <a:lnTo>
                  <a:pt x="122" y="104"/>
                </a:lnTo>
                <a:lnTo>
                  <a:pt x="129" y="110"/>
                </a:lnTo>
                <a:lnTo>
                  <a:pt x="129" y="113"/>
                </a:lnTo>
                <a:lnTo>
                  <a:pt x="132" y="116"/>
                </a:lnTo>
                <a:lnTo>
                  <a:pt x="135" y="116"/>
                </a:lnTo>
                <a:lnTo>
                  <a:pt x="138" y="119"/>
                </a:lnTo>
                <a:lnTo>
                  <a:pt x="138" y="122"/>
                </a:lnTo>
                <a:lnTo>
                  <a:pt x="141" y="126"/>
                </a:lnTo>
                <a:lnTo>
                  <a:pt x="144" y="126"/>
                </a:lnTo>
                <a:lnTo>
                  <a:pt x="147" y="126"/>
                </a:lnTo>
                <a:lnTo>
                  <a:pt x="144" y="129"/>
                </a:lnTo>
                <a:lnTo>
                  <a:pt x="147" y="132"/>
                </a:lnTo>
                <a:lnTo>
                  <a:pt x="150" y="132"/>
                </a:lnTo>
                <a:lnTo>
                  <a:pt x="154" y="135"/>
                </a:lnTo>
                <a:lnTo>
                  <a:pt x="157" y="135"/>
                </a:lnTo>
                <a:lnTo>
                  <a:pt x="160" y="135"/>
                </a:lnTo>
                <a:lnTo>
                  <a:pt x="160" y="135"/>
                </a:lnTo>
                <a:lnTo>
                  <a:pt x="157" y="138"/>
                </a:lnTo>
                <a:lnTo>
                  <a:pt x="157" y="144"/>
                </a:lnTo>
                <a:lnTo>
                  <a:pt x="160" y="147"/>
                </a:lnTo>
                <a:lnTo>
                  <a:pt x="163" y="147"/>
                </a:lnTo>
                <a:lnTo>
                  <a:pt x="163" y="151"/>
                </a:lnTo>
                <a:lnTo>
                  <a:pt x="157" y="157"/>
                </a:lnTo>
                <a:lnTo>
                  <a:pt x="157" y="160"/>
                </a:lnTo>
                <a:lnTo>
                  <a:pt x="160" y="163"/>
                </a:lnTo>
                <a:lnTo>
                  <a:pt x="160" y="169"/>
                </a:lnTo>
                <a:lnTo>
                  <a:pt x="157" y="173"/>
                </a:lnTo>
                <a:lnTo>
                  <a:pt x="150" y="173"/>
                </a:lnTo>
                <a:lnTo>
                  <a:pt x="147" y="169"/>
                </a:lnTo>
                <a:lnTo>
                  <a:pt x="144" y="169"/>
                </a:lnTo>
                <a:lnTo>
                  <a:pt x="144" y="166"/>
                </a:lnTo>
                <a:lnTo>
                  <a:pt x="138" y="166"/>
                </a:lnTo>
                <a:lnTo>
                  <a:pt x="132" y="169"/>
                </a:lnTo>
                <a:lnTo>
                  <a:pt x="138" y="176"/>
                </a:lnTo>
                <a:lnTo>
                  <a:pt x="138" y="179"/>
                </a:lnTo>
                <a:lnTo>
                  <a:pt x="138" y="182"/>
                </a:lnTo>
                <a:lnTo>
                  <a:pt x="138" y="185"/>
                </a:lnTo>
                <a:lnTo>
                  <a:pt x="132" y="182"/>
                </a:lnTo>
                <a:lnTo>
                  <a:pt x="129" y="176"/>
                </a:lnTo>
                <a:lnTo>
                  <a:pt x="122" y="176"/>
                </a:lnTo>
                <a:lnTo>
                  <a:pt x="119" y="173"/>
                </a:lnTo>
                <a:lnTo>
                  <a:pt x="116" y="169"/>
                </a:lnTo>
                <a:lnTo>
                  <a:pt x="119" y="169"/>
                </a:lnTo>
                <a:lnTo>
                  <a:pt x="122" y="166"/>
                </a:lnTo>
                <a:lnTo>
                  <a:pt x="122" y="160"/>
                </a:lnTo>
                <a:lnTo>
                  <a:pt x="119" y="157"/>
                </a:lnTo>
                <a:lnTo>
                  <a:pt x="122" y="154"/>
                </a:lnTo>
                <a:lnTo>
                  <a:pt x="122" y="151"/>
                </a:lnTo>
                <a:lnTo>
                  <a:pt x="122" y="144"/>
                </a:lnTo>
                <a:lnTo>
                  <a:pt x="122" y="144"/>
                </a:lnTo>
                <a:lnTo>
                  <a:pt x="116" y="141"/>
                </a:lnTo>
                <a:lnTo>
                  <a:pt x="116" y="138"/>
                </a:lnTo>
                <a:lnTo>
                  <a:pt x="113" y="135"/>
                </a:lnTo>
                <a:lnTo>
                  <a:pt x="110" y="135"/>
                </a:lnTo>
                <a:lnTo>
                  <a:pt x="107" y="132"/>
                </a:lnTo>
                <a:lnTo>
                  <a:pt x="104" y="129"/>
                </a:lnTo>
                <a:lnTo>
                  <a:pt x="104" y="126"/>
                </a:lnTo>
                <a:lnTo>
                  <a:pt x="104" y="119"/>
                </a:lnTo>
                <a:lnTo>
                  <a:pt x="104" y="116"/>
                </a:lnTo>
                <a:lnTo>
                  <a:pt x="104" y="113"/>
                </a:lnTo>
                <a:lnTo>
                  <a:pt x="104" y="110"/>
                </a:lnTo>
                <a:lnTo>
                  <a:pt x="104" y="107"/>
                </a:lnTo>
                <a:lnTo>
                  <a:pt x="97" y="104"/>
                </a:lnTo>
                <a:lnTo>
                  <a:pt x="88" y="97"/>
                </a:lnTo>
                <a:lnTo>
                  <a:pt x="85" y="91"/>
                </a:lnTo>
                <a:lnTo>
                  <a:pt x="79" y="88"/>
                </a:lnTo>
                <a:lnTo>
                  <a:pt x="69" y="88"/>
                </a:lnTo>
                <a:lnTo>
                  <a:pt x="66" y="97"/>
                </a:lnTo>
                <a:lnTo>
                  <a:pt x="60" y="101"/>
                </a:lnTo>
                <a:lnTo>
                  <a:pt x="54" y="94"/>
                </a:lnTo>
                <a:lnTo>
                  <a:pt x="50" y="94"/>
                </a:lnTo>
                <a:lnTo>
                  <a:pt x="44" y="91"/>
                </a:lnTo>
                <a:lnTo>
                  <a:pt x="38" y="94"/>
                </a:lnTo>
                <a:lnTo>
                  <a:pt x="38" y="97"/>
                </a:lnTo>
                <a:lnTo>
                  <a:pt x="32" y="101"/>
                </a:lnTo>
                <a:lnTo>
                  <a:pt x="29" y="104"/>
                </a:lnTo>
                <a:lnTo>
                  <a:pt x="29" y="91"/>
                </a:lnTo>
                <a:lnTo>
                  <a:pt x="29" y="85"/>
                </a:lnTo>
                <a:lnTo>
                  <a:pt x="25" y="82"/>
                </a:lnTo>
                <a:lnTo>
                  <a:pt x="29" y="79"/>
                </a:lnTo>
                <a:lnTo>
                  <a:pt x="29" y="76"/>
                </a:lnTo>
                <a:lnTo>
                  <a:pt x="25" y="69"/>
                </a:lnTo>
                <a:lnTo>
                  <a:pt x="29" y="66"/>
                </a:lnTo>
                <a:lnTo>
                  <a:pt x="29" y="63"/>
                </a:lnTo>
                <a:lnTo>
                  <a:pt x="19" y="63"/>
                </a:lnTo>
                <a:lnTo>
                  <a:pt x="16" y="66"/>
                </a:lnTo>
                <a:lnTo>
                  <a:pt x="13" y="63"/>
                </a:lnTo>
                <a:lnTo>
                  <a:pt x="10" y="60"/>
                </a:lnTo>
                <a:lnTo>
                  <a:pt x="13" y="57"/>
                </a:lnTo>
                <a:lnTo>
                  <a:pt x="13" y="51"/>
                </a:lnTo>
                <a:lnTo>
                  <a:pt x="10" y="47"/>
                </a:lnTo>
                <a:lnTo>
                  <a:pt x="4" y="47"/>
                </a:lnTo>
                <a:lnTo>
                  <a:pt x="0" y="41"/>
                </a:lnTo>
                <a:lnTo>
                  <a:pt x="4" y="38"/>
                </a:lnTo>
                <a:lnTo>
                  <a:pt x="7" y="38"/>
                </a:lnTo>
                <a:lnTo>
                  <a:pt x="10" y="35"/>
                </a:lnTo>
                <a:lnTo>
                  <a:pt x="10" y="32"/>
                </a:lnTo>
                <a:lnTo>
                  <a:pt x="10" y="29"/>
                </a:lnTo>
                <a:lnTo>
                  <a:pt x="10" y="25"/>
                </a:lnTo>
                <a:lnTo>
                  <a:pt x="16" y="22"/>
                </a:lnTo>
                <a:lnTo>
                  <a:pt x="19" y="1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4" name="Freeform 32">
            <a:extLst>
              <a:ext uri="{FF2B5EF4-FFF2-40B4-BE49-F238E27FC236}">
                <a16:creationId xmlns:a16="http://schemas.microsoft.com/office/drawing/2014/main" id="{1A74BC14-32A2-B748-1B3C-54B1484DF7FB}"/>
              </a:ext>
            </a:extLst>
          </p:cNvPr>
          <p:cNvSpPr>
            <a:spLocks noEditPoints="1"/>
          </p:cNvSpPr>
          <p:nvPr userDrawn="1"/>
        </p:nvSpPr>
        <p:spPr bwMode="auto">
          <a:xfrm>
            <a:off x="19210670" y="8035209"/>
            <a:ext cx="536541" cy="984250"/>
          </a:xfrm>
          <a:custGeom>
            <a:avLst/>
            <a:gdLst>
              <a:gd name="T0" fmla="*/ 19 w 54"/>
              <a:gd name="T1" fmla="*/ 5 h 99"/>
              <a:gd name="T2" fmla="*/ 24 w 54"/>
              <a:gd name="T3" fmla="*/ 7 h 99"/>
              <a:gd name="T4" fmla="*/ 23 w 54"/>
              <a:gd name="T5" fmla="*/ 13 h 99"/>
              <a:gd name="T6" fmla="*/ 27 w 54"/>
              <a:gd name="T7" fmla="*/ 18 h 99"/>
              <a:gd name="T8" fmla="*/ 34 w 54"/>
              <a:gd name="T9" fmla="*/ 19 h 99"/>
              <a:gd name="T10" fmla="*/ 43 w 54"/>
              <a:gd name="T11" fmla="*/ 18 h 99"/>
              <a:gd name="T12" fmla="*/ 48 w 54"/>
              <a:gd name="T13" fmla="*/ 24 h 99"/>
              <a:gd name="T14" fmla="*/ 50 w 54"/>
              <a:gd name="T15" fmla="*/ 30 h 99"/>
              <a:gd name="T16" fmla="*/ 54 w 54"/>
              <a:gd name="T17" fmla="*/ 33 h 99"/>
              <a:gd name="T18" fmla="*/ 54 w 54"/>
              <a:gd name="T19" fmla="*/ 40 h 99"/>
              <a:gd name="T20" fmla="*/ 47 w 54"/>
              <a:gd name="T21" fmla="*/ 41 h 99"/>
              <a:gd name="T22" fmla="*/ 39 w 54"/>
              <a:gd name="T23" fmla="*/ 42 h 99"/>
              <a:gd name="T24" fmla="*/ 34 w 54"/>
              <a:gd name="T25" fmla="*/ 49 h 99"/>
              <a:gd name="T26" fmla="*/ 36 w 54"/>
              <a:gd name="T27" fmla="*/ 57 h 99"/>
              <a:gd name="T28" fmla="*/ 34 w 54"/>
              <a:gd name="T29" fmla="*/ 56 h 99"/>
              <a:gd name="T30" fmla="*/ 30 w 54"/>
              <a:gd name="T31" fmla="*/ 53 h 99"/>
              <a:gd name="T32" fmla="*/ 28 w 54"/>
              <a:gd name="T33" fmla="*/ 54 h 99"/>
              <a:gd name="T34" fmla="*/ 25 w 54"/>
              <a:gd name="T35" fmla="*/ 53 h 99"/>
              <a:gd name="T36" fmla="*/ 24 w 54"/>
              <a:gd name="T37" fmla="*/ 48 h 99"/>
              <a:gd name="T38" fmla="*/ 21 w 54"/>
              <a:gd name="T39" fmla="*/ 49 h 99"/>
              <a:gd name="T40" fmla="*/ 19 w 54"/>
              <a:gd name="T41" fmla="*/ 49 h 99"/>
              <a:gd name="T42" fmla="*/ 19 w 54"/>
              <a:gd name="T43" fmla="*/ 54 h 99"/>
              <a:gd name="T44" fmla="*/ 18 w 54"/>
              <a:gd name="T45" fmla="*/ 59 h 99"/>
              <a:gd name="T46" fmla="*/ 15 w 54"/>
              <a:gd name="T47" fmla="*/ 70 h 99"/>
              <a:gd name="T48" fmla="*/ 16 w 54"/>
              <a:gd name="T49" fmla="*/ 73 h 99"/>
              <a:gd name="T50" fmla="*/ 17 w 54"/>
              <a:gd name="T51" fmla="*/ 77 h 99"/>
              <a:gd name="T52" fmla="*/ 20 w 54"/>
              <a:gd name="T53" fmla="*/ 77 h 99"/>
              <a:gd name="T54" fmla="*/ 22 w 54"/>
              <a:gd name="T55" fmla="*/ 82 h 99"/>
              <a:gd name="T56" fmla="*/ 24 w 54"/>
              <a:gd name="T57" fmla="*/ 82 h 99"/>
              <a:gd name="T58" fmla="*/ 24 w 54"/>
              <a:gd name="T59" fmla="*/ 87 h 99"/>
              <a:gd name="T60" fmla="*/ 25 w 54"/>
              <a:gd name="T61" fmla="*/ 88 h 99"/>
              <a:gd name="T62" fmla="*/ 29 w 54"/>
              <a:gd name="T63" fmla="*/ 92 h 99"/>
              <a:gd name="T64" fmla="*/ 33 w 54"/>
              <a:gd name="T65" fmla="*/ 95 h 99"/>
              <a:gd name="T66" fmla="*/ 33 w 54"/>
              <a:gd name="T67" fmla="*/ 99 h 99"/>
              <a:gd name="T68" fmla="*/ 28 w 54"/>
              <a:gd name="T69" fmla="*/ 98 h 99"/>
              <a:gd name="T70" fmla="*/ 27 w 54"/>
              <a:gd name="T71" fmla="*/ 94 h 99"/>
              <a:gd name="T72" fmla="*/ 22 w 54"/>
              <a:gd name="T73" fmla="*/ 94 h 99"/>
              <a:gd name="T74" fmla="*/ 19 w 54"/>
              <a:gd name="T75" fmla="*/ 90 h 99"/>
              <a:gd name="T76" fmla="*/ 15 w 54"/>
              <a:gd name="T77" fmla="*/ 86 h 99"/>
              <a:gd name="T78" fmla="*/ 13 w 54"/>
              <a:gd name="T79" fmla="*/ 82 h 99"/>
              <a:gd name="T80" fmla="*/ 10 w 54"/>
              <a:gd name="T81" fmla="*/ 80 h 99"/>
              <a:gd name="T82" fmla="*/ 11 w 54"/>
              <a:gd name="T83" fmla="*/ 75 h 99"/>
              <a:gd name="T84" fmla="*/ 13 w 54"/>
              <a:gd name="T85" fmla="*/ 71 h 99"/>
              <a:gd name="T86" fmla="*/ 13 w 54"/>
              <a:gd name="T87" fmla="*/ 65 h 99"/>
              <a:gd name="T88" fmla="*/ 16 w 54"/>
              <a:gd name="T89" fmla="*/ 57 h 99"/>
              <a:gd name="T90" fmla="*/ 15 w 54"/>
              <a:gd name="T91" fmla="*/ 50 h 99"/>
              <a:gd name="T92" fmla="*/ 10 w 54"/>
              <a:gd name="T93" fmla="*/ 42 h 99"/>
              <a:gd name="T94" fmla="*/ 9 w 54"/>
              <a:gd name="T95" fmla="*/ 34 h 99"/>
              <a:gd name="T96" fmla="*/ 9 w 54"/>
              <a:gd name="T97" fmla="*/ 28 h 99"/>
              <a:gd name="T98" fmla="*/ 4 w 54"/>
              <a:gd name="T99" fmla="*/ 20 h 99"/>
              <a:gd name="T100" fmla="*/ 0 w 54"/>
              <a:gd name="T101" fmla="*/ 15 h 99"/>
              <a:gd name="T102" fmla="*/ 4 w 54"/>
              <a:gd name="T103" fmla="*/ 10 h 99"/>
              <a:gd name="T104" fmla="*/ 10 w 54"/>
              <a:gd name="T105" fmla="*/ 6 h 99"/>
              <a:gd name="T106" fmla="*/ 13 w 54"/>
              <a:gd name="T107" fmla="*/ 3 h 99"/>
              <a:gd name="T108" fmla="*/ 15 w 54"/>
              <a:gd name="T109" fmla="*/ 0 h 99"/>
              <a:gd name="T110" fmla="*/ 19 w 54"/>
              <a:gd name="T111" fmla="*/ 93 h 99"/>
              <a:gd name="T112" fmla="*/ 15 w 54"/>
              <a:gd name="T113" fmla="*/ 87 h 99"/>
              <a:gd name="T114" fmla="*/ 10 w 54"/>
              <a:gd name="T115" fmla="*/ 86 h 99"/>
              <a:gd name="T116" fmla="*/ 33 w 54"/>
              <a:gd name="T117" fmla="*/ 58 h 99"/>
              <a:gd name="T118" fmla="*/ 20 w 54"/>
              <a:gd name="T119" fmla="*/ 73 h 99"/>
              <a:gd name="T120" fmla="*/ 20 w 54"/>
              <a:gd name="T121" fmla="*/ 7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 h="99">
                <a:moveTo>
                  <a:pt x="15" y="0"/>
                </a:moveTo>
                <a:cubicBezTo>
                  <a:pt x="16" y="2"/>
                  <a:pt x="16" y="2"/>
                  <a:pt x="16" y="2"/>
                </a:cubicBezTo>
                <a:cubicBezTo>
                  <a:pt x="18" y="2"/>
                  <a:pt x="18" y="2"/>
                  <a:pt x="18" y="2"/>
                </a:cubicBezTo>
                <a:cubicBezTo>
                  <a:pt x="19" y="3"/>
                  <a:pt x="19" y="3"/>
                  <a:pt x="19" y="3"/>
                </a:cubicBezTo>
                <a:cubicBezTo>
                  <a:pt x="19" y="5"/>
                  <a:pt x="19" y="5"/>
                  <a:pt x="19" y="5"/>
                </a:cubicBezTo>
                <a:cubicBezTo>
                  <a:pt x="18" y="6"/>
                  <a:pt x="18" y="6"/>
                  <a:pt x="18" y="6"/>
                </a:cubicBezTo>
                <a:cubicBezTo>
                  <a:pt x="19" y="7"/>
                  <a:pt x="19" y="7"/>
                  <a:pt x="19" y="7"/>
                </a:cubicBezTo>
                <a:cubicBezTo>
                  <a:pt x="20" y="8"/>
                  <a:pt x="20" y="8"/>
                  <a:pt x="20" y="8"/>
                </a:cubicBezTo>
                <a:cubicBezTo>
                  <a:pt x="21" y="7"/>
                  <a:pt x="21" y="7"/>
                  <a:pt x="21" y="7"/>
                </a:cubicBezTo>
                <a:cubicBezTo>
                  <a:pt x="24" y="7"/>
                  <a:pt x="24" y="7"/>
                  <a:pt x="24" y="7"/>
                </a:cubicBezTo>
                <a:cubicBezTo>
                  <a:pt x="24" y="8"/>
                  <a:pt x="24" y="8"/>
                  <a:pt x="24" y="8"/>
                </a:cubicBezTo>
                <a:cubicBezTo>
                  <a:pt x="23" y="9"/>
                  <a:pt x="23" y="9"/>
                  <a:pt x="23" y="9"/>
                </a:cubicBezTo>
                <a:cubicBezTo>
                  <a:pt x="24" y="11"/>
                  <a:pt x="24" y="11"/>
                  <a:pt x="24" y="11"/>
                </a:cubicBezTo>
                <a:cubicBezTo>
                  <a:pt x="24" y="12"/>
                  <a:pt x="24" y="12"/>
                  <a:pt x="24" y="12"/>
                </a:cubicBezTo>
                <a:cubicBezTo>
                  <a:pt x="23" y="13"/>
                  <a:pt x="23" y="13"/>
                  <a:pt x="23" y="13"/>
                </a:cubicBezTo>
                <a:cubicBezTo>
                  <a:pt x="24" y="14"/>
                  <a:pt x="24" y="14"/>
                  <a:pt x="24" y="14"/>
                </a:cubicBezTo>
                <a:cubicBezTo>
                  <a:pt x="24" y="16"/>
                  <a:pt x="24" y="16"/>
                  <a:pt x="24" y="16"/>
                </a:cubicBezTo>
                <a:cubicBezTo>
                  <a:pt x="24" y="20"/>
                  <a:pt x="24" y="20"/>
                  <a:pt x="24" y="20"/>
                </a:cubicBezTo>
                <a:cubicBezTo>
                  <a:pt x="25" y="19"/>
                  <a:pt x="25" y="19"/>
                  <a:pt x="25" y="19"/>
                </a:cubicBezTo>
                <a:cubicBezTo>
                  <a:pt x="27" y="18"/>
                  <a:pt x="27" y="18"/>
                  <a:pt x="27" y="18"/>
                </a:cubicBezTo>
                <a:cubicBezTo>
                  <a:pt x="27" y="17"/>
                  <a:pt x="27" y="17"/>
                  <a:pt x="27" y="17"/>
                </a:cubicBezTo>
                <a:cubicBezTo>
                  <a:pt x="29" y="16"/>
                  <a:pt x="29" y="16"/>
                  <a:pt x="29" y="16"/>
                </a:cubicBezTo>
                <a:cubicBezTo>
                  <a:pt x="31" y="17"/>
                  <a:pt x="31" y="17"/>
                  <a:pt x="31" y="17"/>
                </a:cubicBezTo>
                <a:cubicBezTo>
                  <a:pt x="32" y="17"/>
                  <a:pt x="32" y="17"/>
                  <a:pt x="32" y="17"/>
                </a:cubicBezTo>
                <a:cubicBezTo>
                  <a:pt x="34" y="19"/>
                  <a:pt x="34" y="19"/>
                  <a:pt x="34" y="19"/>
                </a:cubicBezTo>
                <a:cubicBezTo>
                  <a:pt x="36" y="18"/>
                  <a:pt x="36" y="18"/>
                  <a:pt x="36" y="18"/>
                </a:cubicBezTo>
                <a:cubicBezTo>
                  <a:pt x="37" y="15"/>
                  <a:pt x="37" y="15"/>
                  <a:pt x="37" y="15"/>
                </a:cubicBezTo>
                <a:cubicBezTo>
                  <a:pt x="40" y="15"/>
                  <a:pt x="40" y="15"/>
                  <a:pt x="40" y="15"/>
                </a:cubicBezTo>
                <a:cubicBezTo>
                  <a:pt x="42" y="16"/>
                  <a:pt x="42" y="16"/>
                  <a:pt x="42" y="16"/>
                </a:cubicBezTo>
                <a:cubicBezTo>
                  <a:pt x="43" y="18"/>
                  <a:pt x="43" y="18"/>
                  <a:pt x="43" y="18"/>
                </a:cubicBezTo>
                <a:cubicBezTo>
                  <a:pt x="46" y="20"/>
                  <a:pt x="46" y="20"/>
                  <a:pt x="46" y="20"/>
                </a:cubicBezTo>
                <a:cubicBezTo>
                  <a:pt x="48" y="21"/>
                  <a:pt x="48" y="21"/>
                  <a:pt x="48" y="21"/>
                </a:cubicBezTo>
                <a:cubicBezTo>
                  <a:pt x="48" y="22"/>
                  <a:pt x="48" y="22"/>
                  <a:pt x="48" y="22"/>
                </a:cubicBezTo>
                <a:cubicBezTo>
                  <a:pt x="48" y="23"/>
                  <a:pt x="48" y="23"/>
                  <a:pt x="48" y="23"/>
                </a:cubicBezTo>
                <a:cubicBezTo>
                  <a:pt x="48" y="24"/>
                  <a:pt x="48" y="24"/>
                  <a:pt x="48" y="24"/>
                </a:cubicBezTo>
                <a:cubicBezTo>
                  <a:pt x="48" y="25"/>
                  <a:pt x="48" y="25"/>
                  <a:pt x="48" y="25"/>
                </a:cubicBezTo>
                <a:cubicBezTo>
                  <a:pt x="48" y="27"/>
                  <a:pt x="48" y="27"/>
                  <a:pt x="48" y="27"/>
                </a:cubicBezTo>
                <a:cubicBezTo>
                  <a:pt x="48" y="28"/>
                  <a:pt x="48" y="28"/>
                  <a:pt x="48" y="28"/>
                </a:cubicBezTo>
                <a:cubicBezTo>
                  <a:pt x="49" y="29"/>
                  <a:pt x="49" y="29"/>
                  <a:pt x="49" y="29"/>
                </a:cubicBezTo>
                <a:cubicBezTo>
                  <a:pt x="50" y="30"/>
                  <a:pt x="50" y="30"/>
                  <a:pt x="50" y="30"/>
                </a:cubicBezTo>
                <a:cubicBezTo>
                  <a:pt x="51" y="30"/>
                  <a:pt x="51" y="30"/>
                  <a:pt x="51" y="30"/>
                </a:cubicBezTo>
                <a:cubicBezTo>
                  <a:pt x="52" y="31"/>
                  <a:pt x="52" y="31"/>
                  <a:pt x="52" y="31"/>
                </a:cubicBezTo>
                <a:cubicBezTo>
                  <a:pt x="52" y="32"/>
                  <a:pt x="52" y="32"/>
                  <a:pt x="52" y="32"/>
                </a:cubicBezTo>
                <a:cubicBezTo>
                  <a:pt x="54" y="33"/>
                  <a:pt x="54" y="33"/>
                  <a:pt x="54" y="33"/>
                </a:cubicBezTo>
                <a:cubicBezTo>
                  <a:pt x="54" y="33"/>
                  <a:pt x="54" y="33"/>
                  <a:pt x="54" y="33"/>
                </a:cubicBezTo>
                <a:cubicBezTo>
                  <a:pt x="54" y="35"/>
                  <a:pt x="54" y="35"/>
                  <a:pt x="54" y="35"/>
                </a:cubicBezTo>
                <a:cubicBezTo>
                  <a:pt x="54" y="36"/>
                  <a:pt x="54" y="36"/>
                  <a:pt x="54" y="36"/>
                </a:cubicBezTo>
                <a:cubicBezTo>
                  <a:pt x="53" y="37"/>
                  <a:pt x="53" y="37"/>
                  <a:pt x="53" y="37"/>
                </a:cubicBezTo>
                <a:cubicBezTo>
                  <a:pt x="54" y="38"/>
                  <a:pt x="54" y="38"/>
                  <a:pt x="54" y="38"/>
                </a:cubicBezTo>
                <a:cubicBezTo>
                  <a:pt x="54" y="40"/>
                  <a:pt x="54" y="40"/>
                  <a:pt x="54" y="40"/>
                </a:cubicBezTo>
                <a:cubicBezTo>
                  <a:pt x="53" y="41"/>
                  <a:pt x="53" y="41"/>
                  <a:pt x="53" y="41"/>
                </a:cubicBezTo>
                <a:cubicBezTo>
                  <a:pt x="51" y="42"/>
                  <a:pt x="51" y="42"/>
                  <a:pt x="51" y="42"/>
                </a:cubicBezTo>
                <a:cubicBezTo>
                  <a:pt x="50" y="41"/>
                  <a:pt x="50" y="41"/>
                  <a:pt x="50" y="41"/>
                </a:cubicBezTo>
                <a:cubicBezTo>
                  <a:pt x="48" y="41"/>
                  <a:pt x="48" y="41"/>
                  <a:pt x="48" y="41"/>
                </a:cubicBezTo>
                <a:cubicBezTo>
                  <a:pt x="47" y="41"/>
                  <a:pt x="47" y="41"/>
                  <a:pt x="47" y="41"/>
                </a:cubicBezTo>
                <a:cubicBezTo>
                  <a:pt x="46" y="41"/>
                  <a:pt x="46" y="41"/>
                  <a:pt x="46" y="41"/>
                </a:cubicBezTo>
                <a:cubicBezTo>
                  <a:pt x="44" y="41"/>
                  <a:pt x="44" y="41"/>
                  <a:pt x="44" y="41"/>
                </a:cubicBezTo>
                <a:cubicBezTo>
                  <a:pt x="43" y="41"/>
                  <a:pt x="43" y="41"/>
                  <a:pt x="43" y="41"/>
                </a:cubicBezTo>
                <a:cubicBezTo>
                  <a:pt x="42" y="41"/>
                  <a:pt x="42" y="41"/>
                  <a:pt x="42" y="41"/>
                </a:cubicBezTo>
                <a:cubicBezTo>
                  <a:pt x="39" y="42"/>
                  <a:pt x="39" y="42"/>
                  <a:pt x="39" y="42"/>
                </a:cubicBezTo>
                <a:cubicBezTo>
                  <a:pt x="37" y="42"/>
                  <a:pt x="37" y="42"/>
                  <a:pt x="37" y="42"/>
                </a:cubicBezTo>
                <a:cubicBezTo>
                  <a:pt x="36" y="44"/>
                  <a:pt x="36" y="44"/>
                  <a:pt x="36" y="44"/>
                </a:cubicBezTo>
                <a:cubicBezTo>
                  <a:pt x="36" y="45"/>
                  <a:pt x="36" y="45"/>
                  <a:pt x="36" y="45"/>
                </a:cubicBezTo>
                <a:cubicBezTo>
                  <a:pt x="35" y="47"/>
                  <a:pt x="35" y="47"/>
                  <a:pt x="35" y="47"/>
                </a:cubicBezTo>
                <a:cubicBezTo>
                  <a:pt x="34" y="49"/>
                  <a:pt x="34" y="49"/>
                  <a:pt x="34" y="49"/>
                </a:cubicBezTo>
                <a:cubicBezTo>
                  <a:pt x="35" y="52"/>
                  <a:pt x="35" y="52"/>
                  <a:pt x="35" y="52"/>
                </a:cubicBezTo>
                <a:cubicBezTo>
                  <a:pt x="36" y="52"/>
                  <a:pt x="36" y="52"/>
                  <a:pt x="36" y="52"/>
                </a:cubicBezTo>
                <a:cubicBezTo>
                  <a:pt x="37" y="54"/>
                  <a:pt x="37" y="54"/>
                  <a:pt x="37" y="54"/>
                </a:cubicBezTo>
                <a:cubicBezTo>
                  <a:pt x="37" y="56"/>
                  <a:pt x="37" y="56"/>
                  <a:pt x="37" y="56"/>
                </a:cubicBezTo>
                <a:cubicBezTo>
                  <a:pt x="36" y="57"/>
                  <a:pt x="36" y="57"/>
                  <a:pt x="36" y="57"/>
                </a:cubicBezTo>
                <a:cubicBezTo>
                  <a:pt x="36" y="57"/>
                  <a:pt x="36" y="57"/>
                  <a:pt x="36" y="57"/>
                </a:cubicBezTo>
                <a:cubicBezTo>
                  <a:pt x="36" y="58"/>
                  <a:pt x="36" y="58"/>
                  <a:pt x="36" y="58"/>
                </a:cubicBezTo>
                <a:cubicBezTo>
                  <a:pt x="36" y="58"/>
                  <a:pt x="36" y="58"/>
                  <a:pt x="36" y="58"/>
                </a:cubicBezTo>
                <a:cubicBezTo>
                  <a:pt x="35" y="57"/>
                  <a:pt x="35" y="57"/>
                  <a:pt x="35" y="57"/>
                </a:cubicBezTo>
                <a:cubicBezTo>
                  <a:pt x="34" y="56"/>
                  <a:pt x="34" y="56"/>
                  <a:pt x="34" y="56"/>
                </a:cubicBezTo>
                <a:cubicBezTo>
                  <a:pt x="34" y="56"/>
                  <a:pt x="34" y="56"/>
                  <a:pt x="34" y="56"/>
                </a:cubicBezTo>
                <a:cubicBezTo>
                  <a:pt x="34" y="56"/>
                  <a:pt x="34" y="56"/>
                  <a:pt x="34" y="56"/>
                </a:cubicBezTo>
                <a:cubicBezTo>
                  <a:pt x="33" y="55"/>
                  <a:pt x="33" y="55"/>
                  <a:pt x="33" y="55"/>
                </a:cubicBezTo>
                <a:cubicBezTo>
                  <a:pt x="31" y="54"/>
                  <a:pt x="31" y="54"/>
                  <a:pt x="31" y="54"/>
                </a:cubicBezTo>
                <a:cubicBezTo>
                  <a:pt x="30" y="53"/>
                  <a:pt x="30" y="53"/>
                  <a:pt x="30" y="53"/>
                </a:cubicBezTo>
                <a:cubicBezTo>
                  <a:pt x="30" y="54"/>
                  <a:pt x="30" y="54"/>
                  <a:pt x="30" y="54"/>
                </a:cubicBezTo>
                <a:cubicBezTo>
                  <a:pt x="30" y="54"/>
                  <a:pt x="30" y="54"/>
                  <a:pt x="30" y="54"/>
                </a:cubicBezTo>
                <a:cubicBezTo>
                  <a:pt x="30" y="55"/>
                  <a:pt x="30" y="55"/>
                  <a:pt x="30" y="55"/>
                </a:cubicBezTo>
                <a:cubicBezTo>
                  <a:pt x="29" y="54"/>
                  <a:pt x="29" y="54"/>
                  <a:pt x="29" y="54"/>
                </a:cubicBezTo>
                <a:cubicBezTo>
                  <a:pt x="28" y="54"/>
                  <a:pt x="28" y="54"/>
                  <a:pt x="28" y="54"/>
                </a:cubicBezTo>
                <a:cubicBezTo>
                  <a:pt x="26" y="54"/>
                  <a:pt x="26" y="54"/>
                  <a:pt x="26" y="54"/>
                </a:cubicBezTo>
                <a:cubicBezTo>
                  <a:pt x="26" y="54"/>
                  <a:pt x="26" y="54"/>
                  <a:pt x="26" y="54"/>
                </a:cubicBezTo>
                <a:cubicBezTo>
                  <a:pt x="25" y="54"/>
                  <a:pt x="25" y="54"/>
                  <a:pt x="25" y="54"/>
                </a:cubicBezTo>
                <a:cubicBezTo>
                  <a:pt x="25" y="53"/>
                  <a:pt x="25" y="53"/>
                  <a:pt x="25" y="53"/>
                </a:cubicBezTo>
                <a:cubicBezTo>
                  <a:pt x="25" y="53"/>
                  <a:pt x="25" y="53"/>
                  <a:pt x="25" y="53"/>
                </a:cubicBezTo>
                <a:cubicBezTo>
                  <a:pt x="25" y="52"/>
                  <a:pt x="25" y="52"/>
                  <a:pt x="25" y="52"/>
                </a:cubicBezTo>
                <a:cubicBezTo>
                  <a:pt x="25" y="50"/>
                  <a:pt x="25" y="50"/>
                  <a:pt x="25" y="50"/>
                </a:cubicBezTo>
                <a:cubicBezTo>
                  <a:pt x="25" y="49"/>
                  <a:pt x="25" y="49"/>
                  <a:pt x="25" y="49"/>
                </a:cubicBezTo>
                <a:cubicBezTo>
                  <a:pt x="25" y="49"/>
                  <a:pt x="25" y="49"/>
                  <a:pt x="25" y="49"/>
                </a:cubicBezTo>
                <a:cubicBezTo>
                  <a:pt x="24" y="48"/>
                  <a:pt x="24" y="48"/>
                  <a:pt x="24" y="48"/>
                </a:cubicBezTo>
                <a:cubicBezTo>
                  <a:pt x="24" y="48"/>
                  <a:pt x="24" y="48"/>
                  <a:pt x="24" y="48"/>
                </a:cubicBezTo>
                <a:cubicBezTo>
                  <a:pt x="23" y="48"/>
                  <a:pt x="23" y="48"/>
                  <a:pt x="23" y="48"/>
                </a:cubicBezTo>
                <a:cubicBezTo>
                  <a:pt x="23" y="48"/>
                  <a:pt x="23" y="48"/>
                  <a:pt x="23" y="48"/>
                </a:cubicBezTo>
                <a:cubicBezTo>
                  <a:pt x="22" y="49"/>
                  <a:pt x="22" y="49"/>
                  <a:pt x="22" y="49"/>
                </a:cubicBezTo>
                <a:cubicBezTo>
                  <a:pt x="21" y="49"/>
                  <a:pt x="21" y="49"/>
                  <a:pt x="21" y="49"/>
                </a:cubicBezTo>
                <a:cubicBezTo>
                  <a:pt x="21" y="48"/>
                  <a:pt x="21" y="48"/>
                  <a:pt x="21" y="48"/>
                </a:cubicBezTo>
                <a:cubicBezTo>
                  <a:pt x="20" y="49"/>
                  <a:pt x="20" y="49"/>
                  <a:pt x="20" y="49"/>
                </a:cubicBezTo>
                <a:cubicBezTo>
                  <a:pt x="19" y="49"/>
                  <a:pt x="19" y="49"/>
                  <a:pt x="19" y="49"/>
                </a:cubicBezTo>
                <a:cubicBezTo>
                  <a:pt x="19" y="49"/>
                  <a:pt x="19" y="49"/>
                  <a:pt x="19" y="49"/>
                </a:cubicBezTo>
                <a:cubicBezTo>
                  <a:pt x="19" y="49"/>
                  <a:pt x="19" y="49"/>
                  <a:pt x="19" y="49"/>
                </a:cubicBezTo>
                <a:cubicBezTo>
                  <a:pt x="19" y="50"/>
                  <a:pt x="19" y="50"/>
                  <a:pt x="19" y="50"/>
                </a:cubicBezTo>
                <a:cubicBezTo>
                  <a:pt x="20" y="50"/>
                  <a:pt x="20" y="50"/>
                  <a:pt x="20" y="50"/>
                </a:cubicBezTo>
                <a:cubicBezTo>
                  <a:pt x="20" y="51"/>
                  <a:pt x="20" y="51"/>
                  <a:pt x="20" y="51"/>
                </a:cubicBezTo>
                <a:cubicBezTo>
                  <a:pt x="19" y="52"/>
                  <a:pt x="19" y="52"/>
                  <a:pt x="19" y="52"/>
                </a:cubicBezTo>
                <a:cubicBezTo>
                  <a:pt x="19" y="54"/>
                  <a:pt x="19" y="54"/>
                  <a:pt x="19" y="54"/>
                </a:cubicBezTo>
                <a:cubicBezTo>
                  <a:pt x="19" y="55"/>
                  <a:pt x="19" y="55"/>
                  <a:pt x="19" y="55"/>
                </a:cubicBezTo>
                <a:cubicBezTo>
                  <a:pt x="20" y="55"/>
                  <a:pt x="20" y="55"/>
                  <a:pt x="20" y="55"/>
                </a:cubicBezTo>
                <a:cubicBezTo>
                  <a:pt x="19" y="57"/>
                  <a:pt x="19" y="57"/>
                  <a:pt x="19" y="57"/>
                </a:cubicBezTo>
                <a:cubicBezTo>
                  <a:pt x="19" y="58"/>
                  <a:pt x="19" y="58"/>
                  <a:pt x="19" y="58"/>
                </a:cubicBezTo>
                <a:cubicBezTo>
                  <a:pt x="18" y="59"/>
                  <a:pt x="18" y="59"/>
                  <a:pt x="18" y="59"/>
                </a:cubicBezTo>
                <a:cubicBezTo>
                  <a:pt x="17" y="60"/>
                  <a:pt x="17" y="60"/>
                  <a:pt x="17" y="60"/>
                </a:cubicBezTo>
                <a:cubicBezTo>
                  <a:pt x="17" y="65"/>
                  <a:pt x="17" y="65"/>
                  <a:pt x="17" y="65"/>
                </a:cubicBezTo>
                <a:cubicBezTo>
                  <a:pt x="16" y="67"/>
                  <a:pt x="16" y="67"/>
                  <a:pt x="16" y="67"/>
                </a:cubicBezTo>
                <a:cubicBezTo>
                  <a:pt x="16" y="68"/>
                  <a:pt x="16" y="68"/>
                  <a:pt x="16" y="68"/>
                </a:cubicBezTo>
                <a:cubicBezTo>
                  <a:pt x="15" y="70"/>
                  <a:pt x="15" y="70"/>
                  <a:pt x="15" y="70"/>
                </a:cubicBezTo>
                <a:cubicBezTo>
                  <a:pt x="16" y="70"/>
                  <a:pt x="16" y="70"/>
                  <a:pt x="16" y="70"/>
                </a:cubicBezTo>
                <a:cubicBezTo>
                  <a:pt x="16" y="70"/>
                  <a:pt x="16" y="70"/>
                  <a:pt x="16" y="70"/>
                </a:cubicBezTo>
                <a:cubicBezTo>
                  <a:pt x="15" y="71"/>
                  <a:pt x="15" y="71"/>
                  <a:pt x="15" y="71"/>
                </a:cubicBezTo>
                <a:cubicBezTo>
                  <a:pt x="15" y="71"/>
                  <a:pt x="15" y="71"/>
                  <a:pt x="15" y="71"/>
                </a:cubicBezTo>
                <a:cubicBezTo>
                  <a:pt x="16" y="73"/>
                  <a:pt x="16" y="73"/>
                  <a:pt x="16" y="73"/>
                </a:cubicBezTo>
                <a:cubicBezTo>
                  <a:pt x="16" y="74"/>
                  <a:pt x="16" y="74"/>
                  <a:pt x="16" y="74"/>
                </a:cubicBezTo>
                <a:cubicBezTo>
                  <a:pt x="17" y="75"/>
                  <a:pt x="17" y="75"/>
                  <a:pt x="17" y="75"/>
                </a:cubicBezTo>
                <a:cubicBezTo>
                  <a:pt x="16" y="77"/>
                  <a:pt x="16" y="77"/>
                  <a:pt x="16" y="77"/>
                </a:cubicBezTo>
                <a:cubicBezTo>
                  <a:pt x="17" y="77"/>
                  <a:pt x="17" y="77"/>
                  <a:pt x="17" y="77"/>
                </a:cubicBezTo>
                <a:cubicBezTo>
                  <a:pt x="17" y="77"/>
                  <a:pt x="17" y="77"/>
                  <a:pt x="17" y="77"/>
                </a:cubicBezTo>
                <a:cubicBezTo>
                  <a:pt x="17" y="76"/>
                  <a:pt x="17" y="76"/>
                  <a:pt x="17" y="76"/>
                </a:cubicBezTo>
                <a:cubicBezTo>
                  <a:pt x="18" y="76"/>
                  <a:pt x="18" y="76"/>
                  <a:pt x="18" y="76"/>
                </a:cubicBezTo>
                <a:cubicBezTo>
                  <a:pt x="18" y="76"/>
                  <a:pt x="18" y="76"/>
                  <a:pt x="18" y="76"/>
                </a:cubicBezTo>
                <a:cubicBezTo>
                  <a:pt x="19" y="76"/>
                  <a:pt x="19" y="76"/>
                  <a:pt x="19" y="76"/>
                </a:cubicBezTo>
                <a:cubicBezTo>
                  <a:pt x="20" y="77"/>
                  <a:pt x="20" y="77"/>
                  <a:pt x="20" y="77"/>
                </a:cubicBezTo>
                <a:cubicBezTo>
                  <a:pt x="20" y="78"/>
                  <a:pt x="20" y="78"/>
                  <a:pt x="20" y="78"/>
                </a:cubicBezTo>
                <a:cubicBezTo>
                  <a:pt x="21" y="79"/>
                  <a:pt x="21" y="79"/>
                  <a:pt x="21" y="79"/>
                </a:cubicBezTo>
                <a:cubicBezTo>
                  <a:pt x="20" y="80"/>
                  <a:pt x="20" y="80"/>
                  <a:pt x="20" y="80"/>
                </a:cubicBezTo>
                <a:cubicBezTo>
                  <a:pt x="21" y="80"/>
                  <a:pt x="21" y="80"/>
                  <a:pt x="21" y="80"/>
                </a:cubicBezTo>
                <a:cubicBezTo>
                  <a:pt x="22" y="82"/>
                  <a:pt x="22" y="82"/>
                  <a:pt x="22" y="82"/>
                </a:cubicBezTo>
                <a:cubicBezTo>
                  <a:pt x="22" y="82"/>
                  <a:pt x="22" y="82"/>
                  <a:pt x="22" y="82"/>
                </a:cubicBezTo>
                <a:cubicBezTo>
                  <a:pt x="22" y="81"/>
                  <a:pt x="22" y="81"/>
                  <a:pt x="22" y="81"/>
                </a:cubicBezTo>
                <a:cubicBezTo>
                  <a:pt x="23" y="80"/>
                  <a:pt x="23" y="80"/>
                  <a:pt x="23" y="80"/>
                </a:cubicBezTo>
                <a:cubicBezTo>
                  <a:pt x="23" y="81"/>
                  <a:pt x="23" y="81"/>
                  <a:pt x="23" y="81"/>
                </a:cubicBezTo>
                <a:cubicBezTo>
                  <a:pt x="24" y="82"/>
                  <a:pt x="24" y="82"/>
                  <a:pt x="24" y="82"/>
                </a:cubicBezTo>
                <a:cubicBezTo>
                  <a:pt x="24" y="83"/>
                  <a:pt x="24" y="83"/>
                  <a:pt x="24" y="83"/>
                </a:cubicBezTo>
                <a:cubicBezTo>
                  <a:pt x="24" y="84"/>
                  <a:pt x="24" y="84"/>
                  <a:pt x="24" y="84"/>
                </a:cubicBezTo>
                <a:cubicBezTo>
                  <a:pt x="25" y="86"/>
                  <a:pt x="25" y="86"/>
                  <a:pt x="25" y="86"/>
                </a:cubicBezTo>
                <a:cubicBezTo>
                  <a:pt x="24" y="87"/>
                  <a:pt x="24" y="87"/>
                  <a:pt x="24" y="87"/>
                </a:cubicBezTo>
                <a:cubicBezTo>
                  <a:pt x="24" y="87"/>
                  <a:pt x="24" y="87"/>
                  <a:pt x="24" y="87"/>
                </a:cubicBezTo>
                <a:cubicBezTo>
                  <a:pt x="24" y="87"/>
                  <a:pt x="24" y="87"/>
                  <a:pt x="24" y="87"/>
                </a:cubicBezTo>
                <a:cubicBezTo>
                  <a:pt x="23" y="87"/>
                  <a:pt x="23" y="87"/>
                  <a:pt x="23" y="87"/>
                </a:cubicBezTo>
                <a:cubicBezTo>
                  <a:pt x="23" y="88"/>
                  <a:pt x="23" y="88"/>
                  <a:pt x="23" y="88"/>
                </a:cubicBezTo>
                <a:cubicBezTo>
                  <a:pt x="25" y="89"/>
                  <a:pt x="25" y="89"/>
                  <a:pt x="25" y="89"/>
                </a:cubicBezTo>
                <a:cubicBezTo>
                  <a:pt x="25" y="88"/>
                  <a:pt x="25" y="88"/>
                  <a:pt x="25" y="88"/>
                </a:cubicBezTo>
                <a:cubicBezTo>
                  <a:pt x="25" y="88"/>
                  <a:pt x="25" y="88"/>
                  <a:pt x="25" y="88"/>
                </a:cubicBezTo>
                <a:cubicBezTo>
                  <a:pt x="25" y="89"/>
                  <a:pt x="25" y="89"/>
                  <a:pt x="25" y="89"/>
                </a:cubicBezTo>
                <a:cubicBezTo>
                  <a:pt x="26" y="90"/>
                  <a:pt x="26" y="90"/>
                  <a:pt x="26" y="90"/>
                </a:cubicBezTo>
                <a:cubicBezTo>
                  <a:pt x="28" y="92"/>
                  <a:pt x="28" y="92"/>
                  <a:pt x="28" y="92"/>
                </a:cubicBezTo>
                <a:cubicBezTo>
                  <a:pt x="29" y="92"/>
                  <a:pt x="29" y="92"/>
                  <a:pt x="29" y="92"/>
                </a:cubicBezTo>
                <a:cubicBezTo>
                  <a:pt x="29" y="92"/>
                  <a:pt x="29" y="92"/>
                  <a:pt x="29" y="92"/>
                </a:cubicBezTo>
                <a:cubicBezTo>
                  <a:pt x="30" y="92"/>
                  <a:pt x="30" y="92"/>
                  <a:pt x="30" y="92"/>
                </a:cubicBezTo>
                <a:cubicBezTo>
                  <a:pt x="32" y="93"/>
                  <a:pt x="32" y="93"/>
                  <a:pt x="32" y="93"/>
                </a:cubicBezTo>
                <a:cubicBezTo>
                  <a:pt x="32" y="95"/>
                  <a:pt x="32" y="95"/>
                  <a:pt x="32" y="95"/>
                </a:cubicBezTo>
                <a:cubicBezTo>
                  <a:pt x="33" y="95"/>
                  <a:pt x="33" y="95"/>
                  <a:pt x="33" y="95"/>
                </a:cubicBezTo>
                <a:cubicBezTo>
                  <a:pt x="34" y="96"/>
                  <a:pt x="34" y="96"/>
                  <a:pt x="34" y="96"/>
                </a:cubicBezTo>
                <a:cubicBezTo>
                  <a:pt x="34" y="97"/>
                  <a:pt x="34" y="97"/>
                  <a:pt x="34" y="97"/>
                </a:cubicBezTo>
                <a:cubicBezTo>
                  <a:pt x="34" y="97"/>
                  <a:pt x="34" y="97"/>
                  <a:pt x="34" y="97"/>
                </a:cubicBezTo>
                <a:cubicBezTo>
                  <a:pt x="34" y="98"/>
                  <a:pt x="34" y="98"/>
                  <a:pt x="34" y="98"/>
                </a:cubicBezTo>
                <a:cubicBezTo>
                  <a:pt x="33" y="99"/>
                  <a:pt x="33" y="99"/>
                  <a:pt x="33" y="99"/>
                </a:cubicBezTo>
                <a:cubicBezTo>
                  <a:pt x="32" y="98"/>
                  <a:pt x="32" y="98"/>
                  <a:pt x="32" y="98"/>
                </a:cubicBezTo>
                <a:cubicBezTo>
                  <a:pt x="31" y="98"/>
                  <a:pt x="31" y="98"/>
                  <a:pt x="31" y="98"/>
                </a:cubicBezTo>
                <a:cubicBezTo>
                  <a:pt x="30" y="99"/>
                  <a:pt x="30" y="99"/>
                  <a:pt x="30" y="99"/>
                </a:cubicBezTo>
                <a:cubicBezTo>
                  <a:pt x="28" y="99"/>
                  <a:pt x="28" y="99"/>
                  <a:pt x="28" y="99"/>
                </a:cubicBezTo>
                <a:cubicBezTo>
                  <a:pt x="28" y="98"/>
                  <a:pt x="28" y="98"/>
                  <a:pt x="28" y="98"/>
                </a:cubicBezTo>
                <a:cubicBezTo>
                  <a:pt x="29" y="97"/>
                  <a:pt x="29" y="97"/>
                  <a:pt x="29" y="97"/>
                </a:cubicBezTo>
                <a:cubicBezTo>
                  <a:pt x="29" y="95"/>
                  <a:pt x="29" y="95"/>
                  <a:pt x="29" y="95"/>
                </a:cubicBezTo>
                <a:cubicBezTo>
                  <a:pt x="28" y="95"/>
                  <a:pt x="28" y="95"/>
                  <a:pt x="28" y="95"/>
                </a:cubicBezTo>
                <a:cubicBezTo>
                  <a:pt x="27" y="95"/>
                  <a:pt x="27" y="95"/>
                  <a:pt x="27" y="95"/>
                </a:cubicBezTo>
                <a:cubicBezTo>
                  <a:pt x="27" y="94"/>
                  <a:pt x="27" y="94"/>
                  <a:pt x="27" y="94"/>
                </a:cubicBezTo>
                <a:cubicBezTo>
                  <a:pt x="25" y="93"/>
                  <a:pt x="25" y="93"/>
                  <a:pt x="25" y="93"/>
                </a:cubicBezTo>
                <a:cubicBezTo>
                  <a:pt x="24" y="92"/>
                  <a:pt x="24" y="92"/>
                  <a:pt x="24" y="92"/>
                </a:cubicBezTo>
                <a:cubicBezTo>
                  <a:pt x="23" y="93"/>
                  <a:pt x="23" y="93"/>
                  <a:pt x="23" y="93"/>
                </a:cubicBezTo>
                <a:cubicBezTo>
                  <a:pt x="23" y="95"/>
                  <a:pt x="23" y="95"/>
                  <a:pt x="23" y="95"/>
                </a:cubicBezTo>
                <a:cubicBezTo>
                  <a:pt x="22" y="94"/>
                  <a:pt x="22" y="94"/>
                  <a:pt x="22" y="94"/>
                </a:cubicBezTo>
                <a:cubicBezTo>
                  <a:pt x="19" y="92"/>
                  <a:pt x="19" y="92"/>
                  <a:pt x="19" y="92"/>
                </a:cubicBezTo>
                <a:cubicBezTo>
                  <a:pt x="19" y="92"/>
                  <a:pt x="19" y="92"/>
                  <a:pt x="19" y="92"/>
                </a:cubicBezTo>
                <a:cubicBezTo>
                  <a:pt x="20" y="91"/>
                  <a:pt x="20" y="91"/>
                  <a:pt x="20" y="91"/>
                </a:cubicBezTo>
                <a:cubicBezTo>
                  <a:pt x="20" y="90"/>
                  <a:pt x="20" y="90"/>
                  <a:pt x="20" y="90"/>
                </a:cubicBezTo>
                <a:cubicBezTo>
                  <a:pt x="19" y="90"/>
                  <a:pt x="19" y="90"/>
                  <a:pt x="19" y="90"/>
                </a:cubicBezTo>
                <a:cubicBezTo>
                  <a:pt x="19" y="89"/>
                  <a:pt x="19" y="89"/>
                  <a:pt x="19" y="89"/>
                </a:cubicBezTo>
                <a:cubicBezTo>
                  <a:pt x="18" y="89"/>
                  <a:pt x="18" y="89"/>
                  <a:pt x="18" y="89"/>
                </a:cubicBezTo>
                <a:cubicBezTo>
                  <a:pt x="18" y="88"/>
                  <a:pt x="18" y="88"/>
                  <a:pt x="18" y="88"/>
                </a:cubicBezTo>
                <a:cubicBezTo>
                  <a:pt x="16" y="86"/>
                  <a:pt x="16" y="86"/>
                  <a:pt x="16" y="86"/>
                </a:cubicBezTo>
                <a:cubicBezTo>
                  <a:pt x="15" y="86"/>
                  <a:pt x="15" y="86"/>
                  <a:pt x="15" y="86"/>
                </a:cubicBezTo>
                <a:cubicBezTo>
                  <a:pt x="14" y="84"/>
                  <a:pt x="14" y="84"/>
                  <a:pt x="14" y="84"/>
                </a:cubicBezTo>
                <a:cubicBezTo>
                  <a:pt x="13" y="84"/>
                  <a:pt x="13" y="84"/>
                  <a:pt x="13" y="84"/>
                </a:cubicBezTo>
                <a:cubicBezTo>
                  <a:pt x="13" y="83"/>
                  <a:pt x="13" y="83"/>
                  <a:pt x="13" y="83"/>
                </a:cubicBezTo>
                <a:cubicBezTo>
                  <a:pt x="13" y="82"/>
                  <a:pt x="13" y="82"/>
                  <a:pt x="13" y="82"/>
                </a:cubicBezTo>
                <a:cubicBezTo>
                  <a:pt x="13" y="82"/>
                  <a:pt x="13" y="82"/>
                  <a:pt x="13" y="82"/>
                </a:cubicBezTo>
                <a:cubicBezTo>
                  <a:pt x="11" y="82"/>
                  <a:pt x="11" y="82"/>
                  <a:pt x="11" y="82"/>
                </a:cubicBezTo>
                <a:cubicBezTo>
                  <a:pt x="12" y="83"/>
                  <a:pt x="12" y="83"/>
                  <a:pt x="12" y="83"/>
                </a:cubicBezTo>
                <a:cubicBezTo>
                  <a:pt x="11" y="83"/>
                  <a:pt x="11" y="83"/>
                  <a:pt x="11" y="83"/>
                </a:cubicBezTo>
                <a:cubicBezTo>
                  <a:pt x="10" y="82"/>
                  <a:pt x="10" y="82"/>
                  <a:pt x="10" y="82"/>
                </a:cubicBezTo>
                <a:cubicBezTo>
                  <a:pt x="10" y="80"/>
                  <a:pt x="10" y="80"/>
                  <a:pt x="10" y="80"/>
                </a:cubicBezTo>
                <a:cubicBezTo>
                  <a:pt x="10" y="80"/>
                  <a:pt x="10" y="80"/>
                  <a:pt x="10" y="80"/>
                </a:cubicBezTo>
                <a:cubicBezTo>
                  <a:pt x="10" y="78"/>
                  <a:pt x="10" y="78"/>
                  <a:pt x="10" y="78"/>
                </a:cubicBezTo>
                <a:cubicBezTo>
                  <a:pt x="11" y="78"/>
                  <a:pt x="11" y="78"/>
                  <a:pt x="11" y="78"/>
                </a:cubicBezTo>
                <a:cubicBezTo>
                  <a:pt x="11" y="75"/>
                  <a:pt x="11" y="75"/>
                  <a:pt x="11" y="75"/>
                </a:cubicBezTo>
                <a:cubicBezTo>
                  <a:pt x="11" y="75"/>
                  <a:pt x="11" y="75"/>
                  <a:pt x="11" y="75"/>
                </a:cubicBezTo>
                <a:cubicBezTo>
                  <a:pt x="12" y="74"/>
                  <a:pt x="12" y="74"/>
                  <a:pt x="12" y="74"/>
                </a:cubicBezTo>
                <a:cubicBezTo>
                  <a:pt x="11" y="74"/>
                  <a:pt x="11" y="74"/>
                  <a:pt x="11" y="74"/>
                </a:cubicBezTo>
                <a:cubicBezTo>
                  <a:pt x="12" y="73"/>
                  <a:pt x="12" y="73"/>
                  <a:pt x="12" y="73"/>
                </a:cubicBezTo>
                <a:cubicBezTo>
                  <a:pt x="12" y="72"/>
                  <a:pt x="12" y="72"/>
                  <a:pt x="12" y="72"/>
                </a:cubicBezTo>
                <a:cubicBezTo>
                  <a:pt x="13" y="71"/>
                  <a:pt x="13" y="71"/>
                  <a:pt x="13" y="71"/>
                </a:cubicBezTo>
                <a:cubicBezTo>
                  <a:pt x="12" y="71"/>
                  <a:pt x="12" y="71"/>
                  <a:pt x="12" y="71"/>
                </a:cubicBezTo>
                <a:cubicBezTo>
                  <a:pt x="12" y="69"/>
                  <a:pt x="12" y="69"/>
                  <a:pt x="12" y="69"/>
                </a:cubicBezTo>
                <a:cubicBezTo>
                  <a:pt x="12" y="68"/>
                  <a:pt x="12" y="68"/>
                  <a:pt x="12" y="68"/>
                </a:cubicBezTo>
                <a:cubicBezTo>
                  <a:pt x="13" y="67"/>
                  <a:pt x="13" y="67"/>
                  <a:pt x="13" y="67"/>
                </a:cubicBezTo>
                <a:cubicBezTo>
                  <a:pt x="13" y="65"/>
                  <a:pt x="13" y="65"/>
                  <a:pt x="13" y="65"/>
                </a:cubicBezTo>
                <a:cubicBezTo>
                  <a:pt x="15" y="64"/>
                  <a:pt x="15" y="64"/>
                  <a:pt x="15" y="64"/>
                </a:cubicBezTo>
                <a:cubicBezTo>
                  <a:pt x="16" y="61"/>
                  <a:pt x="16" y="61"/>
                  <a:pt x="16" y="61"/>
                </a:cubicBezTo>
                <a:cubicBezTo>
                  <a:pt x="17" y="60"/>
                  <a:pt x="17" y="60"/>
                  <a:pt x="17" y="60"/>
                </a:cubicBezTo>
                <a:cubicBezTo>
                  <a:pt x="17" y="58"/>
                  <a:pt x="17" y="58"/>
                  <a:pt x="17" y="58"/>
                </a:cubicBezTo>
                <a:cubicBezTo>
                  <a:pt x="16" y="57"/>
                  <a:pt x="16" y="57"/>
                  <a:pt x="16" y="57"/>
                </a:cubicBezTo>
                <a:cubicBezTo>
                  <a:pt x="16" y="55"/>
                  <a:pt x="16" y="55"/>
                  <a:pt x="16" y="55"/>
                </a:cubicBezTo>
                <a:cubicBezTo>
                  <a:pt x="16" y="54"/>
                  <a:pt x="16" y="54"/>
                  <a:pt x="16" y="54"/>
                </a:cubicBezTo>
                <a:cubicBezTo>
                  <a:pt x="15" y="52"/>
                  <a:pt x="15" y="52"/>
                  <a:pt x="15" y="52"/>
                </a:cubicBezTo>
                <a:cubicBezTo>
                  <a:pt x="15" y="51"/>
                  <a:pt x="15" y="51"/>
                  <a:pt x="15" y="51"/>
                </a:cubicBezTo>
                <a:cubicBezTo>
                  <a:pt x="15" y="50"/>
                  <a:pt x="15" y="50"/>
                  <a:pt x="15" y="50"/>
                </a:cubicBezTo>
                <a:cubicBezTo>
                  <a:pt x="14" y="48"/>
                  <a:pt x="14" y="48"/>
                  <a:pt x="14" y="48"/>
                </a:cubicBezTo>
                <a:cubicBezTo>
                  <a:pt x="15" y="47"/>
                  <a:pt x="15" y="47"/>
                  <a:pt x="15" y="47"/>
                </a:cubicBezTo>
                <a:cubicBezTo>
                  <a:pt x="14" y="45"/>
                  <a:pt x="14" y="45"/>
                  <a:pt x="14" y="45"/>
                </a:cubicBezTo>
                <a:cubicBezTo>
                  <a:pt x="12" y="43"/>
                  <a:pt x="12" y="43"/>
                  <a:pt x="12" y="43"/>
                </a:cubicBezTo>
                <a:cubicBezTo>
                  <a:pt x="10" y="42"/>
                  <a:pt x="10" y="42"/>
                  <a:pt x="10" y="42"/>
                </a:cubicBezTo>
                <a:cubicBezTo>
                  <a:pt x="9" y="40"/>
                  <a:pt x="9" y="40"/>
                  <a:pt x="9" y="40"/>
                </a:cubicBezTo>
                <a:cubicBezTo>
                  <a:pt x="9" y="38"/>
                  <a:pt x="9" y="38"/>
                  <a:pt x="9" y="38"/>
                </a:cubicBezTo>
                <a:cubicBezTo>
                  <a:pt x="8" y="36"/>
                  <a:pt x="8" y="36"/>
                  <a:pt x="8" y="36"/>
                </a:cubicBezTo>
                <a:cubicBezTo>
                  <a:pt x="9" y="35"/>
                  <a:pt x="9" y="35"/>
                  <a:pt x="9" y="35"/>
                </a:cubicBezTo>
                <a:cubicBezTo>
                  <a:pt x="9" y="34"/>
                  <a:pt x="9" y="34"/>
                  <a:pt x="9" y="34"/>
                </a:cubicBezTo>
                <a:cubicBezTo>
                  <a:pt x="9" y="31"/>
                  <a:pt x="9" y="31"/>
                  <a:pt x="9" y="31"/>
                </a:cubicBezTo>
                <a:cubicBezTo>
                  <a:pt x="9" y="30"/>
                  <a:pt x="9" y="30"/>
                  <a:pt x="9" y="30"/>
                </a:cubicBezTo>
                <a:cubicBezTo>
                  <a:pt x="10" y="30"/>
                  <a:pt x="10" y="30"/>
                  <a:pt x="10" y="30"/>
                </a:cubicBezTo>
                <a:cubicBezTo>
                  <a:pt x="10" y="28"/>
                  <a:pt x="10" y="28"/>
                  <a:pt x="10" y="28"/>
                </a:cubicBezTo>
                <a:cubicBezTo>
                  <a:pt x="9" y="28"/>
                  <a:pt x="9" y="28"/>
                  <a:pt x="9" y="28"/>
                </a:cubicBezTo>
                <a:cubicBezTo>
                  <a:pt x="9" y="26"/>
                  <a:pt x="9" y="26"/>
                  <a:pt x="9" y="26"/>
                </a:cubicBezTo>
                <a:cubicBezTo>
                  <a:pt x="8" y="25"/>
                  <a:pt x="8" y="25"/>
                  <a:pt x="8" y="25"/>
                </a:cubicBezTo>
                <a:cubicBezTo>
                  <a:pt x="7" y="24"/>
                  <a:pt x="7" y="24"/>
                  <a:pt x="7" y="24"/>
                </a:cubicBezTo>
                <a:cubicBezTo>
                  <a:pt x="5" y="21"/>
                  <a:pt x="5" y="21"/>
                  <a:pt x="5" y="21"/>
                </a:cubicBezTo>
                <a:cubicBezTo>
                  <a:pt x="4" y="20"/>
                  <a:pt x="4" y="20"/>
                  <a:pt x="4" y="20"/>
                </a:cubicBezTo>
                <a:cubicBezTo>
                  <a:pt x="3" y="19"/>
                  <a:pt x="3" y="19"/>
                  <a:pt x="3" y="19"/>
                </a:cubicBezTo>
                <a:cubicBezTo>
                  <a:pt x="3" y="18"/>
                  <a:pt x="3" y="18"/>
                  <a:pt x="3" y="18"/>
                </a:cubicBezTo>
                <a:cubicBezTo>
                  <a:pt x="1" y="16"/>
                  <a:pt x="1" y="16"/>
                  <a:pt x="1" y="16"/>
                </a:cubicBezTo>
                <a:cubicBezTo>
                  <a:pt x="1" y="16"/>
                  <a:pt x="1" y="16"/>
                  <a:pt x="1" y="16"/>
                </a:cubicBezTo>
                <a:cubicBezTo>
                  <a:pt x="0" y="15"/>
                  <a:pt x="0" y="15"/>
                  <a:pt x="0" y="15"/>
                </a:cubicBezTo>
                <a:cubicBezTo>
                  <a:pt x="2" y="15"/>
                  <a:pt x="2" y="15"/>
                  <a:pt x="2" y="15"/>
                </a:cubicBezTo>
                <a:cubicBezTo>
                  <a:pt x="3" y="14"/>
                  <a:pt x="3" y="14"/>
                  <a:pt x="3" y="14"/>
                </a:cubicBezTo>
                <a:cubicBezTo>
                  <a:pt x="3" y="13"/>
                  <a:pt x="3" y="13"/>
                  <a:pt x="3" y="13"/>
                </a:cubicBezTo>
                <a:cubicBezTo>
                  <a:pt x="3" y="11"/>
                  <a:pt x="3" y="11"/>
                  <a:pt x="3" y="11"/>
                </a:cubicBezTo>
                <a:cubicBezTo>
                  <a:pt x="4" y="10"/>
                  <a:pt x="4" y="10"/>
                  <a:pt x="4" y="10"/>
                </a:cubicBezTo>
                <a:cubicBezTo>
                  <a:pt x="3" y="8"/>
                  <a:pt x="3" y="8"/>
                  <a:pt x="3" y="8"/>
                </a:cubicBezTo>
                <a:cubicBezTo>
                  <a:pt x="4" y="6"/>
                  <a:pt x="4" y="6"/>
                  <a:pt x="4" y="6"/>
                </a:cubicBezTo>
                <a:cubicBezTo>
                  <a:pt x="7" y="7"/>
                  <a:pt x="7" y="7"/>
                  <a:pt x="7" y="7"/>
                </a:cubicBezTo>
                <a:cubicBezTo>
                  <a:pt x="8" y="6"/>
                  <a:pt x="8" y="6"/>
                  <a:pt x="8" y="6"/>
                </a:cubicBezTo>
                <a:cubicBezTo>
                  <a:pt x="10" y="6"/>
                  <a:pt x="10" y="6"/>
                  <a:pt x="10" y="6"/>
                </a:cubicBezTo>
                <a:cubicBezTo>
                  <a:pt x="10" y="6"/>
                  <a:pt x="10" y="6"/>
                  <a:pt x="10" y="6"/>
                </a:cubicBezTo>
                <a:cubicBezTo>
                  <a:pt x="10" y="4"/>
                  <a:pt x="10" y="4"/>
                  <a:pt x="10" y="4"/>
                </a:cubicBezTo>
                <a:cubicBezTo>
                  <a:pt x="11" y="3"/>
                  <a:pt x="11" y="3"/>
                  <a:pt x="11" y="3"/>
                </a:cubicBezTo>
                <a:cubicBezTo>
                  <a:pt x="12" y="3"/>
                  <a:pt x="12" y="3"/>
                  <a:pt x="12" y="3"/>
                </a:cubicBezTo>
                <a:cubicBezTo>
                  <a:pt x="13" y="3"/>
                  <a:pt x="13" y="3"/>
                  <a:pt x="13" y="3"/>
                </a:cubicBezTo>
                <a:cubicBezTo>
                  <a:pt x="12" y="2"/>
                  <a:pt x="12" y="2"/>
                  <a:pt x="12" y="2"/>
                </a:cubicBezTo>
                <a:cubicBezTo>
                  <a:pt x="12" y="1"/>
                  <a:pt x="12" y="1"/>
                  <a:pt x="12" y="1"/>
                </a:cubicBezTo>
                <a:cubicBezTo>
                  <a:pt x="14" y="1"/>
                  <a:pt x="14" y="1"/>
                  <a:pt x="14" y="1"/>
                </a:cubicBezTo>
                <a:cubicBezTo>
                  <a:pt x="15" y="1"/>
                  <a:pt x="15" y="1"/>
                  <a:pt x="15" y="1"/>
                </a:cubicBezTo>
                <a:cubicBezTo>
                  <a:pt x="15" y="0"/>
                  <a:pt x="15" y="0"/>
                  <a:pt x="15" y="0"/>
                </a:cubicBezTo>
                <a:close/>
                <a:moveTo>
                  <a:pt x="19" y="93"/>
                </a:moveTo>
                <a:cubicBezTo>
                  <a:pt x="19" y="94"/>
                  <a:pt x="19" y="94"/>
                  <a:pt x="19" y="94"/>
                </a:cubicBezTo>
                <a:cubicBezTo>
                  <a:pt x="20" y="94"/>
                  <a:pt x="20" y="94"/>
                  <a:pt x="20" y="94"/>
                </a:cubicBezTo>
                <a:cubicBezTo>
                  <a:pt x="20" y="93"/>
                  <a:pt x="20" y="93"/>
                  <a:pt x="20" y="93"/>
                </a:cubicBezTo>
                <a:cubicBezTo>
                  <a:pt x="19" y="93"/>
                  <a:pt x="19" y="93"/>
                  <a:pt x="19" y="93"/>
                </a:cubicBezTo>
                <a:cubicBezTo>
                  <a:pt x="19" y="93"/>
                  <a:pt x="19" y="93"/>
                  <a:pt x="19" y="93"/>
                </a:cubicBezTo>
                <a:close/>
                <a:moveTo>
                  <a:pt x="15" y="87"/>
                </a:moveTo>
                <a:cubicBezTo>
                  <a:pt x="15" y="88"/>
                  <a:pt x="15" y="88"/>
                  <a:pt x="15" y="88"/>
                </a:cubicBezTo>
                <a:cubicBezTo>
                  <a:pt x="15" y="87"/>
                  <a:pt x="15" y="87"/>
                  <a:pt x="15" y="87"/>
                </a:cubicBezTo>
                <a:cubicBezTo>
                  <a:pt x="15" y="87"/>
                  <a:pt x="15" y="87"/>
                  <a:pt x="15" y="87"/>
                </a:cubicBezTo>
                <a:cubicBezTo>
                  <a:pt x="15" y="87"/>
                  <a:pt x="15" y="87"/>
                  <a:pt x="15" y="87"/>
                </a:cubicBezTo>
                <a:close/>
                <a:moveTo>
                  <a:pt x="11" y="84"/>
                </a:moveTo>
                <a:cubicBezTo>
                  <a:pt x="10" y="85"/>
                  <a:pt x="10" y="85"/>
                  <a:pt x="10" y="85"/>
                </a:cubicBezTo>
                <a:cubicBezTo>
                  <a:pt x="11" y="85"/>
                  <a:pt x="11" y="85"/>
                  <a:pt x="11" y="85"/>
                </a:cubicBezTo>
                <a:cubicBezTo>
                  <a:pt x="10" y="86"/>
                  <a:pt x="10" y="86"/>
                  <a:pt x="10" y="86"/>
                </a:cubicBezTo>
                <a:cubicBezTo>
                  <a:pt x="11" y="85"/>
                  <a:pt x="11" y="85"/>
                  <a:pt x="11" y="85"/>
                </a:cubicBezTo>
                <a:cubicBezTo>
                  <a:pt x="11" y="84"/>
                  <a:pt x="11" y="84"/>
                  <a:pt x="11" y="84"/>
                </a:cubicBezTo>
                <a:cubicBezTo>
                  <a:pt x="11" y="84"/>
                  <a:pt x="11" y="84"/>
                  <a:pt x="11" y="84"/>
                </a:cubicBezTo>
                <a:close/>
                <a:moveTo>
                  <a:pt x="33" y="57"/>
                </a:moveTo>
                <a:cubicBezTo>
                  <a:pt x="33" y="58"/>
                  <a:pt x="33" y="58"/>
                  <a:pt x="33" y="58"/>
                </a:cubicBezTo>
                <a:cubicBezTo>
                  <a:pt x="34" y="59"/>
                  <a:pt x="34" y="59"/>
                  <a:pt x="34" y="59"/>
                </a:cubicBezTo>
                <a:cubicBezTo>
                  <a:pt x="35" y="58"/>
                  <a:pt x="35" y="58"/>
                  <a:pt x="35" y="58"/>
                </a:cubicBezTo>
                <a:cubicBezTo>
                  <a:pt x="33" y="57"/>
                  <a:pt x="33" y="57"/>
                  <a:pt x="33" y="57"/>
                </a:cubicBezTo>
                <a:close/>
                <a:moveTo>
                  <a:pt x="21" y="72"/>
                </a:moveTo>
                <a:cubicBezTo>
                  <a:pt x="20" y="73"/>
                  <a:pt x="20" y="73"/>
                  <a:pt x="20" y="73"/>
                </a:cubicBezTo>
                <a:cubicBezTo>
                  <a:pt x="21" y="73"/>
                  <a:pt x="21" y="73"/>
                  <a:pt x="21" y="73"/>
                </a:cubicBezTo>
                <a:cubicBezTo>
                  <a:pt x="21" y="72"/>
                  <a:pt x="21" y="72"/>
                  <a:pt x="21" y="72"/>
                </a:cubicBezTo>
                <a:close/>
                <a:moveTo>
                  <a:pt x="21" y="74"/>
                </a:moveTo>
                <a:cubicBezTo>
                  <a:pt x="20" y="74"/>
                  <a:pt x="20" y="74"/>
                  <a:pt x="20" y="74"/>
                </a:cubicBezTo>
                <a:cubicBezTo>
                  <a:pt x="20" y="75"/>
                  <a:pt x="20" y="75"/>
                  <a:pt x="20" y="75"/>
                </a:cubicBezTo>
                <a:cubicBezTo>
                  <a:pt x="21" y="76"/>
                  <a:pt x="21" y="76"/>
                  <a:pt x="21" y="76"/>
                </a:cubicBezTo>
                <a:cubicBezTo>
                  <a:pt x="22" y="74"/>
                  <a:pt x="22" y="74"/>
                  <a:pt x="22" y="74"/>
                </a:cubicBezTo>
                <a:lnTo>
                  <a:pt x="21" y="7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5" name="Freeform 33">
            <a:extLst>
              <a:ext uri="{FF2B5EF4-FFF2-40B4-BE49-F238E27FC236}">
                <a16:creationId xmlns:a16="http://schemas.microsoft.com/office/drawing/2014/main" id="{95E54B2B-62DF-FF2A-C6C5-E98F2F592D05}"/>
              </a:ext>
            </a:extLst>
          </p:cNvPr>
          <p:cNvSpPr>
            <a:spLocks noEditPoints="1"/>
          </p:cNvSpPr>
          <p:nvPr userDrawn="1"/>
        </p:nvSpPr>
        <p:spPr bwMode="auto">
          <a:xfrm>
            <a:off x="18874144" y="7498633"/>
            <a:ext cx="555590" cy="1250950"/>
          </a:xfrm>
          <a:custGeom>
            <a:avLst/>
            <a:gdLst>
              <a:gd name="T0" fmla="*/ 97 w 175"/>
              <a:gd name="T1" fmla="*/ 6 h 394"/>
              <a:gd name="T2" fmla="*/ 113 w 175"/>
              <a:gd name="T3" fmla="*/ 31 h 394"/>
              <a:gd name="T4" fmla="*/ 106 w 175"/>
              <a:gd name="T5" fmla="*/ 60 h 394"/>
              <a:gd name="T6" fmla="*/ 97 w 175"/>
              <a:gd name="T7" fmla="*/ 69 h 394"/>
              <a:gd name="T8" fmla="*/ 100 w 175"/>
              <a:gd name="T9" fmla="*/ 85 h 394"/>
              <a:gd name="T10" fmla="*/ 119 w 175"/>
              <a:gd name="T11" fmla="*/ 94 h 394"/>
              <a:gd name="T12" fmla="*/ 128 w 175"/>
              <a:gd name="T13" fmla="*/ 110 h 394"/>
              <a:gd name="T14" fmla="*/ 144 w 175"/>
              <a:gd name="T15" fmla="*/ 113 h 394"/>
              <a:gd name="T16" fmla="*/ 135 w 175"/>
              <a:gd name="T17" fmla="*/ 135 h 394"/>
              <a:gd name="T18" fmla="*/ 150 w 175"/>
              <a:gd name="T19" fmla="*/ 141 h 394"/>
              <a:gd name="T20" fmla="*/ 175 w 175"/>
              <a:gd name="T21" fmla="*/ 144 h 394"/>
              <a:gd name="T22" fmla="*/ 163 w 175"/>
              <a:gd name="T23" fmla="*/ 163 h 394"/>
              <a:gd name="T24" fmla="*/ 144 w 175"/>
              <a:gd name="T25" fmla="*/ 175 h 394"/>
              <a:gd name="T26" fmla="*/ 138 w 175"/>
              <a:gd name="T27" fmla="*/ 188 h 394"/>
              <a:gd name="T28" fmla="*/ 116 w 175"/>
              <a:gd name="T29" fmla="*/ 204 h 394"/>
              <a:gd name="T30" fmla="*/ 110 w 175"/>
              <a:gd name="T31" fmla="*/ 219 h 394"/>
              <a:gd name="T32" fmla="*/ 132 w 175"/>
              <a:gd name="T33" fmla="*/ 247 h 394"/>
              <a:gd name="T34" fmla="*/ 135 w 175"/>
              <a:gd name="T35" fmla="*/ 266 h 394"/>
              <a:gd name="T36" fmla="*/ 138 w 175"/>
              <a:gd name="T37" fmla="*/ 301 h 394"/>
              <a:gd name="T38" fmla="*/ 153 w 175"/>
              <a:gd name="T39" fmla="*/ 329 h 394"/>
              <a:gd name="T40" fmla="*/ 160 w 175"/>
              <a:gd name="T41" fmla="*/ 357 h 394"/>
              <a:gd name="T42" fmla="*/ 144 w 175"/>
              <a:gd name="T43" fmla="*/ 385 h 394"/>
              <a:gd name="T44" fmla="*/ 138 w 175"/>
              <a:gd name="T45" fmla="*/ 379 h 394"/>
              <a:gd name="T46" fmla="*/ 144 w 175"/>
              <a:gd name="T47" fmla="*/ 369 h 394"/>
              <a:gd name="T48" fmla="*/ 144 w 175"/>
              <a:gd name="T49" fmla="*/ 351 h 394"/>
              <a:gd name="T50" fmla="*/ 138 w 175"/>
              <a:gd name="T51" fmla="*/ 322 h 394"/>
              <a:gd name="T52" fmla="*/ 132 w 175"/>
              <a:gd name="T53" fmla="*/ 316 h 394"/>
              <a:gd name="T54" fmla="*/ 122 w 175"/>
              <a:gd name="T55" fmla="*/ 291 h 394"/>
              <a:gd name="T56" fmla="*/ 116 w 175"/>
              <a:gd name="T57" fmla="*/ 266 h 394"/>
              <a:gd name="T58" fmla="*/ 113 w 175"/>
              <a:gd name="T59" fmla="*/ 257 h 394"/>
              <a:gd name="T60" fmla="*/ 100 w 175"/>
              <a:gd name="T61" fmla="*/ 241 h 394"/>
              <a:gd name="T62" fmla="*/ 100 w 175"/>
              <a:gd name="T63" fmla="*/ 244 h 394"/>
              <a:gd name="T64" fmla="*/ 88 w 175"/>
              <a:gd name="T65" fmla="*/ 254 h 394"/>
              <a:gd name="T66" fmla="*/ 85 w 175"/>
              <a:gd name="T67" fmla="*/ 260 h 394"/>
              <a:gd name="T68" fmla="*/ 66 w 175"/>
              <a:gd name="T69" fmla="*/ 269 h 394"/>
              <a:gd name="T70" fmla="*/ 56 w 175"/>
              <a:gd name="T71" fmla="*/ 272 h 394"/>
              <a:gd name="T72" fmla="*/ 53 w 175"/>
              <a:gd name="T73" fmla="*/ 266 h 394"/>
              <a:gd name="T74" fmla="*/ 56 w 175"/>
              <a:gd name="T75" fmla="*/ 241 h 394"/>
              <a:gd name="T76" fmla="*/ 47 w 175"/>
              <a:gd name="T77" fmla="*/ 219 h 394"/>
              <a:gd name="T78" fmla="*/ 35 w 175"/>
              <a:gd name="T79" fmla="*/ 197 h 394"/>
              <a:gd name="T80" fmla="*/ 22 w 175"/>
              <a:gd name="T81" fmla="*/ 197 h 394"/>
              <a:gd name="T82" fmla="*/ 31 w 175"/>
              <a:gd name="T83" fmla="*/ 197 h 394"/>
              <a:gd name="T84" fmla="*/ 31 w 175"/>
              <a:gd name="T85" fmla="*/ 185 h 394"/>
              <a:gd name="T86" fmla="*/ 16 w 175"/>
              <a:gd name="T87" fmla="*/ 182 h 394"/>
              <a:gd name="T88" fmla="*/ 13 w 175"/>
              <a:gd name="T89" fmla="*/ 179 h 394"/>
              <a:gd name="T90" fmla="*/ 0 w 175"/>
              <a:gd name="T91" fmla="*/ 157 h 394"/>
              <a:gd name="T92" fmla="*/ 13 w 175"/>
              <a:gd name="T93" fmla="*/ 138 h 394"/>
              <a:gd name="T94" fmla="*/ 19 w 175"/>
              <a:gd name="T95" fmla="*/ 119 h 394"/>
              <a:gd name="T96" fmla="*/ 28 w 175"/>
              <a:gd name="T97" fmla="*/ 97 h 394"/>
              <a:gd name="T98" fmla="*/ 41 w 175"/>
              <a:gd name="T99" fmla="*/ 57 h 394"/>
              <a:gd name="T100" fmla="*/ 56 w 175"/>
              <a:gd name="T101" fmla="*/ 25 h 394"/>
              <a:gd name="T102" fmla="*/ 75 w 175"/>
              <a:gd name="T103" fmla="*/ 16 h 394"/>
              <a:gd name="T104" fmla="*/ 25 w 175"/>
              <a:gd name="T105" fmla="*/ 2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5" h="394">
                <a:moveTo>
                  <a:pt x="78" y="3"/>
                </a:moveTo>
                <a:lnTo>
                  <a:pt x="81" y="0"/>
                </a:lnTo>
                <a:lnTo>
                  <a:pt x="88" y="3"/>
                </a:lnTo>
                <a:lnTo>
                  <a:pt x="91" y="0"/>
                </a:lnTo>
                <a:lnTo>
                  <a:pt x="94" y="0"/>
                </a:lnTo>
                <a:lnTo>
                  <a:pt x="97" y="6"/>
                </a:lnTo>
                <a:lnTo>
                  <a:pt x="100" y="10"/>
                </a:lnTo>
                <a:lnTo>
                  <a:pt x="103" y="16"/>
                </a:lnTo>
                <a:lnTo>
                  <a:pt x="106" y="16"/>
                </a:lnTo>
                <a:lnTo>
                  <a:pt x="110" y="19"/>
                </a:lnTo>
                <a:lnTo>
                  <a:pt x="110" y="25"/>
                </a:lnTo>
                <a:lnTo>
                  <a:pt x="113" y="31"/>
                </a:lnTo>
                <a:lnTo>
                  <a:pt x="113" y="38"/>
                </a:lnTo>
                <a:lnTo>
                  <a:pt x="113" y="47"/>
                </a:lnTo>
                <a:lnTo>
                  <a:pt x="113" y="50"/>
                </a:lnTo>
                <a:lnTo>
                  <a:pt x="110" y="53"/>
                </a:lnTo>
                <a:lnTo>
                  <a:pt x="106" y="53"/>
                </a:lnTo>
                <a:lnTo>
                  <a:pt x="106" y="60"/>
                </a:lnTo>
                <a:lnTo>
                  <a:pt x="103" y="60"/>
                </a:lnTo>
                <a:lnTo>
                  <a:pt x="103" y="63"/>
                </a:lnTo>
                <a:lnTo>
                  <a:pt x="106" y="66"/>
                </a:lnTo>
                <a:lnTo>
                  <a:pt x="103" y="69"/>
                </a:lnTo>
                <a:lnTo>
                  <a:pt x="100" y="66"/>
                </a:lnTo>
                <a:lnTo>
                  <a:pt x="97" y="69"/>
                </a:lnTo>
                <a:lnTo>
                  <a:pt x="97" y="72"/>
                </a:lnTo>
                <a:lnTo>
                  <a:pt x="97" y="75"/>
                </a:lnTo>
                <a:lnTo>
                  <a:pt x="97" y="78"/>
                </a:lnTo>
                <a:lnTo>
                  <a:pt x="97" y="82"/>
                </a:lnTo>
                <a:lnTo>
                  <a:pt x="100" y="82"/>
                </a:lnTo>
                <a:lnTo>
                  <a:pt x="100" y="85"/>
                </a:lnTo>
                <a:lnTo>
                  <a:pt x="103" y="88"/>
                </a:lnTo>
                <a:lnTo>
                  <a:pt x="103" y="94"/>
                </a:lnTo>
                <a:lnTo>
                  <a:pt x="106" y="97"/>
                </a:lnTo>
                <a:lnTo>
                  <a:pt x="110" y="94"/>
                </a:lnTo>
                <a:lnTo>
                  <a:pt x="119" y="91"/>
                </a:lnTo>
                <a:lnTo>
                  <a:pt x="119" y="94"/>
                </a:lnTo>
                <a:lnTo>
                  <a:pt x="119" y="97"/>
                </a:lnTo>
                <a:lnTo>
                  <a:pt x="122" y="100"/>
                </a:lnTo>
                <a:lnTo>
                  <a:pt x="125" y="97"/>
                </a:lnTo>
                <a:lnTo>
                  <a:pt x="128" y="100"/>
                </a:lnTo>
                <a:lnTo>
                  <a:pt x="125" y="107"/>
                </a:lnTo>
                <a:lnTo>
                  <a:pt x="128" y="110"/>
                </a:lnTo>
                <a:lnTo>
                  <a:pt x="135" y="110"/>
                </a:lnTo>
                <a:lnTo>
                  <a:pt x="132" y="110"/>
                </a:lnTo>
                <a:lnTo>
                  <a:pt x="135" y="113"/>
                </a:lnTo>
                <a:lnTo>
                  <a:pt x="135" y="113"/>
                </a:lnTo>
                <a:lnTo>
                  <a:pt x="141" y="113"/>
                </a:lnTo>
                <a:lnTo>
                  <a:pt x="144" y="113"/>
                </a:lnTo>
                <a:lnTo>
                  <a:pt x="144" y="116"/>
                </a:lnTo>
                <a:lnTo>
                  <a:pt x="141" y="119"/>
                </a:lnTo>
                <a:lnTo>
                  <a:pt x="141" y="122"/>
                </a:lnTo>
                <a:lnTo>
                  <a:pt x="138" y="128"/>
                </a:lnTo>
                <a:lnTo>
                  <a:pt x="135" y="135"/>
                </a:lnTo>
                <a:lnTo>
                  <a:pt x="135" y="135"/>
                </a:lnTo>
                <a:lnTo>
                  <a:pt x="138" y="135"/>
                </a:lnTo>
                <a:lnTo>
                  <a:pt x="144" y="135"/>
                </a:lnTo>
                <a:lnTo>
                  <a:pt x="144" y="138"/>
                </a:lnTo>
                <a:lnTo>
                  <a:pt x="147" y="135"/>
                </a:lnTo>
                <a:lnTo>
                  <a:pt x="150" y="138"/>
                </a:lnTo>
                <a:lnTo>
                  <a:pt x="150" y="141"/>
                </a:lnTo>
                <a:lnTo>
                  <a:pt x="150" y="147"/>
                </a:lnTo>
                <a:lnTo>
                  <a:pt x="157" y="147"/>
                </a:lnTo>
                <a:lnTo>
                  <a:pt x="160" y="147"/>
                </a:lnTo>
                <a:lnTo>
                  <a:pt x="163" y="147"/>
                </a:lnTo>
                <a:lnTo>
                  <a:pt x="172" y="141"/>
                </a:lnTo>
                <a:lnTo>
                  <a:pt x="175" y="144"/>
                </a:lnTo>
                <a:lnTo>
                  <a:pt x="175" y="147"/>
                </a:lnTo>
                <a:lnTo>
                  <a:pt x="169" y="150"/>
                </a:lnTo>
                <a:lnTo>
                  <a:pt x="163" y="153"/>
                </a:lnTo>
                <a:lnTo>
                  <a:pt x="163" y="157"/>
                </a:lnTo>
                <a:lnTo>
                  <a:pt x="163" y="160"/>
                </a:lnTo>
                <a:lnTo>
                  <a:pt x="163" y="163"/>
                </a:lnTo>
                <a:lnTo>
                  <a:pt x="160" y="166"/>
                </a:lnTo>
                <a:lnTo>
                  <a:pt x="157" y="166"/>
                </a:lnTo>
                <a:lnTo>
                  <a:pt x="153" y="172"/>
                </a:lnTo>
                <a:lnTo>
                  <a:pt x="150" y="172"/>
                </a:lnTo>
                <a:lnTo>
                  <a:pt x="144" y="172"/>
                </a:lnTo>
                <a:lnTo>
                  <a:pt x="144" y="175"/>
                </a:lnTo>
                <a:lnTo>
                  <a:pt x="147" y="179"/>
                </a:lnTo>
                <a:lnTo>
                  <a:pt x="144" y="179"/>
                </a:lnTo>
                <a:lnTo>
                  <a:pt x="141" y="179"/>
                </a:lnTo>
                <a:lnTo>
                  <a:pt x="138" y="182"/>
                </a:lnTo>
                <a:lnTo>
                  <a:pt x="138" y="188"/>
                </a:lnTo>
                <a:lnTo>
                  <a:pt x="138" y="188"/>
                </a:lnTo>
                <a:lnTo>
                  <a:pt x="132" y="188"/>
                </a:lnTo>
                <a:lnTo>
                  <a:pt x="128" y="191"/>
                </a:lnTo>
                <a:lnTo>
                  <a:pt x="119" y="188"/>
                </a:lnTo>
                <a:lnTo>
                  <a:pt x="116" y="194"/>
                </a:lnTo>
                <a:lnTo>
                  <a:pt x="119" y="200"/>
                </a:lnTo>
                <a:lnTo>
                  <a:pt x="116" y="204"/>
                </a:lnTo>
                <a:lnTo>
                  <a:pt x="116" y="210"/>
                </a:lnTo>
                <a:lnTo>
                  <a:pt x="116" y="213"/>
                </a:lnTo>
                <a:lnTo>
                  <a:pt x="113" y="216"/>
                </a:lnTo>
                <a:lnTo>
                  <a:pt x="106" y="216"/>
                </a:lnTo>
                <a:lnTo>
                  <a:pt x="110" y="219"/>
                </a:lnTo>
                <a:lnTo>
                  <a:pt x="110" y="219"/>
                </a:lnTo>
                <a:lnTo>
                  <a:pt x="116" y="225"/>
                </a:lnTo>
                <a:lnTo>
                  <a:pt x="116" y="229"/>
                </a:lnTo>
                <a:lnTo>
                  <a:pt x="119" y="232"/>
                </a:lnTo>
                <a:lnTo>
                  <a:pt x="122" y="235"/>
                </a:lnTo>
                <a:lnTo>
                  <a:pt x="128" y="244"/>
                </a:lnTo>
                <a:lnTo>
                  <a:pt x="132" y="247"/>
                </a:lnTo>
                <a:lnTo>
                  <a:pt x="135" y="250"/>
                </a:lnTo>
                <a:lnTo>
                  <a:pt x="135" y="257"/>
                </a:lnTo>
                <a:lnTo>
                  <a:pt x="138" y="257"/>
                </a:lnTo>
                <a:lnTo>
                  <a:pt x="138" y="263"/>
                </a:lnTo>
                <a:lnTo>
                  <a:pt x="135" y="263"/>
                </a:lnTo>
                <a:lnTo>
                  <a:pt x="135" y="266"/>
                </a:lnTo>
                <a:lnTo>
                  <a:pt x="135" y="275"/>
                </a:lnTo>
                <a:lnTo>
                  <a:pt x="135" y="279"/>
                </a:lnTo>
                <a:lnTo>
                  <a:pt x="132" y="282"/>
                </a:lnTo>
                <a:lnTo>
                  <a:pt x="135" y="288"/>
                </a:lnTo>
                <a:lnTo>
                  <a:pt x="135" y="294"/>
                </a:lnTo>
                <a:lnTo>
                  <a:pt x="138" y="301"/>
                </a:lnTo>
                <a:lnTo>
                  <a:pt x="144" y="304"/>
                </a:lnTo>
                <a:lnTo>
                  <a:pt x="150" y="310"/>
                </a:lnTo>
                <a:lnTo>
                  <a:pt x="153" y="316"/>
                </a:lnTo>
                <a:lnTo>
                  <a:pt x="150" y="319"/>
                </a:lnTo>
                <a:lnTo>
                  <a:pt x="153" y="326"/>
                </a:lnTo>
                <a:lnTo>
                  <a:pt x="153" y="329"/>
                </a:lnTo>
                <a:lnTo>
                  <a:pt x="153" y="332"/>
                </a:lnTo>
                <a:lnTo>
                  <a:pt x="157" y="338"/>
                </a:lnTo>
                <a:lnTo>
                  <a:pt x="157" y="341"/>
                </a:lnTo>
                <a:lnTo>
                  <a:pt x="157" y="347"/>
                </a:lnTo>
                <a:lnTo>
                  <a:pt x="160" y="351"/>
                </a:lnTo>
                <a:lnTo>
                  <a:pt x="160" y="357"/>
                </a:lnTo>
                <a:lnTo>
                  <a:pt x="157" y="360"/>
                </a:lnTo>
                <a:lnTo>
                  <a:pt x="153" y="369"/>
                </a:lnTo>
                <a:lnTo>
                  <a:pt x="147" y="372"/>
                </a:lnTo>
                <a:lnTo>
                  <a:pt x="147" y="379"/>
                </a:lnTo>
                <a:lnTo>
                  <a:pt x="144" y="382"/>
                </a:lnTo>
                <a:lnTo>
                  <a:pt x="144" y="385"/>
                </a:lnTo>
                <a:lnTo>
                  <a:pt x="144" y="385"/>
                </a:lnTo>
                <a:lnTo>
                  <a:pt x="144" y="388"/>
                </a:lnTo>
                <a:lnTo>
                  <a:pt x="141" y="394"/>
                </a:lnTo>
                <a:lnTo>
                  <a:pt x="141" y="388"/>
                </a:lnTo>
                <a:lnTo>
                  <a:pt x="141" y="382"/>
                </a:lnTo>
                <a:lnTo>
                  <a:pt x="138" y="379"/>
                </a:lnTo>
                <a:lnTo>
                  <a:pt x="138" y="379"/>
                </a:lnTo>
                <a:lnTo>
                  <a:pt x="141" y="379"/>
                </a:lnTo>
                <a:lnTo>
                  <a:pt x="141" y="379"/>
                </a:lnTo>
                <a:lnTo>
                  <a:pt x="144" y="372"/>
                </a:lnTo>
                <a:lnTo>
                  <a:pt x="144" y="369"/>
                </a:lnTo>
                <a:lnTo>
                  <a:pt x="144" y="369"/>
                </a:lnTo>
                <a:lnTo>
                  <a:pt x="144" y="363"/>
                </a:lnTo>
                <a:lnTo>
                  <a:pt x="144" y="363"/>
                </a:lnTo>
                <a:lnTo>
                  <a:pt x="144" y="360"/>
                </a:lnTo>
                <a:lnTo>
                  <a:pt x="144" y="357"/>
                </a:lnTo>
                <a:lnTo>
                  <a:pt x="147" y="354"/>
                </a:lnTo>
                <a:lnTo>
                  <a:pt x="144" y="351"/>
                </a:lnTo>
                <a:lnTo>
                  <a:pt x="141" y="347"/>
                </a:lnTo>
                <a:lnTo>
                  <a:pt x="141" y="341"/>
                </a:lnTo>
                <a:lnTo>
                  <a:pt x="144" y="341"/>
                </a:lnTo>
                <a:lnTo>
                  <a:pt x="141" y="338"/>
                </a:lnTo>
                <a:lnTo>
                  <a:pt x="141" y="335"/>
                </a:lnTo>
                <a:lnTo>
                  <a:pt x="138" y="322"/>
                </a:lnTo>
                <a:lnTo>
                  <a:pt x="135" y="322"/>
                </a:lnTo>
                <a:lnTo>
                  <a:pt x="135" y="316"/>
                </a:lnTo>
                <a:lnTo>
                  <a:pt x="132" y="313"/>
                </a:lnTo>
                <a:lnTo>
                  <a:pt x="132" y="319"/>
                </a:lnTo>
                <a:lnTo>
                  <a:pt x="132" y="319"/>
                </a:lnTo>
                <a:lnTo>
                  <a:pt x="132" y="316"/>
                </a:lnTo>
                <a:lnTo>
                  <a:pt x="128" y="313"/>
                </a:lnTo>
                <a:lnTo>
                  <a:pt x="128" y="304"/>
                </a:lnTo>
                <a:lnTo>
                  <a:pt x="125" y="301"/>
                </a:lnTo>
                <a:lnTo>
                  <a:pt x="125" y="297"/>
                </a:lnTo>
                <a:lnTo>
                  <a:pt x="128" y="294"/>
                </a:lnTo>
                <a:lnTo>
                  <a:pt x="122" y="291"/>
                </a:lnTo>
                <a:lnTo>
                  <a:pt x="122" y="285"/>
                </a:lnTo>
                <a:lnTo>
                  <a:pt x="122" y="285"/>
                </a:lnTo>
                <a:lnTo>
                  <a:pt x="119" y="269"/>
                </a:lnTo>
                <a:lnTo>
                  <a:pt x="116" y="269"/>
                </a:lnTo>
                <a:lnTo>
                  <a:pt x="116" y="266"/>
                </a:lnTo>
                <a:lnTo>
                  <a:pt x="116" y="266"/>
                </a:lnTo>
                <a:lnTo>
                  <a:pt x="116" y="263"/>
                </a:lnTo>
                <a:lnTo>
                  <a:pt x="116" y="257"/>
                </a:lnTo>
                <a:lnTo>
                  <a:pt x="116" y="257"/>
                </a:lnTo>
                <a:lnTo>
                  <a:pt x="116" y="254"/>
                </a:lnTo>
                <a:lnTo>
                  <a:pt x="116" y="257"/>
                </a:lnTo>
                <a:lnTo>
                  <a:pt x="113" y="257"/>
                </a:lnTo>
                <a:lnTo>
                  <a:pt x="110" y="257"/>
                </a:lnTo>
                <a:lnTo>
                  <a:pt x="106" y="254"/>
                </a:lnTo>
                <a:lnTo>
                  <a:pt x="106" y="250"/>
                </a:lnTo>
                <a:lnTo>
                  <a:pt x="103" y="241"/>
                </a:lnTo>
                <a:lnTo>
                  <a:pt x="100" y="241"/>
                </a:lnTo>
                <a:lnTo>
                  <a:pt x="100" y="241"/>
                </a:lnTo>
                <a:lnTo>
                  <a:pt x="100" y="238"/>
                </a:lnTo>
                <a:lnTo>
                  <a:pt x="97" y="235"/>
                </a:lnTo>
                <a:lnTo>
                  <a:pt x="97" y="238"/>
                </a:lnTo>
                <a:lnTo>
                  <a:pt x="97" y="241"/>
                </a:lnTo>
                <a:lnTo>
                  <a:pt x="97" y="241"/>
                </a:lnTo>
                <a:lnTo>
                  <a:pt x="100" y="244"/>
                </a:lnTo>
                <a:lnTo>
                  <a:pt x="100" y="247"/>
                </a:lnTo>
                <a:lnTo>
                  <a:pt x="97" y="250"/>
                </a:lnTo>
                <a:lnTo>
                  <a:pt x="97" y="254"/>
                </a:lnTo>
                <a:lnTo>
                  <a:pt x="94" y="257"/>
                </a:lnTo>
                <a:lnTo>
                  <a:pt x="91" y="257"/>
                </a:lnTo>
                <a:lnTo>
                  <a:pt x="88" y="254"/>
                </a:lnTo>
                <a:lnTo>
                  <a:pt x="85" y="254"/>
                </a:lnTo>
                <a:lnTo>
                  <a:pt x="88" y="257"/>
                </a:lnTo>
                <a:lnTo>
                  <a:pt x="88" y="257"/>
                </a:lnTo>
                <a:lnTo>
                  <a:pt x="91" y="257"/>
                </a:lnTo>
                <a:lnTo>
                  <a:pt x="85" y="260"/>
                </a:lnTo>
                <a:lnTo>
                  <a:pt x="85" y="260"/>
                </a:lnTo>
                <a:lnTo>
                  <a:pt x="81" y="260"/>
                </a:lnTo>
                <a:lnTo>
                  <a:pt x="81" y="263"/>
                </a:lnTo>
                <a:lnTo>
                  <a:pt x="72" y="269"/>
                </a:lnTo>
                <a:lnTo>
                  <a:pt x="69" y="269"/>
                </a:lnTo>
                <a:lnTo>
                  <a:pt x="69" y="269"/>
                </a:lnTo>
                <a:lnTo>
                  <a:pt x="66" y="269"/>
                </a:lnTo>
                <a:lnTo>
                  <a:pt x="66" y="266"/>
                </a:lnTo>
                <a:lnTo>
                  <a:pt x="66" y="269"/>
                </a:lnTo>
                <a:lnTo>
                  <a:pt x="63" y="269"/>
                </a:lnTo>
                <a:lnTo>
                  <a:pt x="60" y="266"/>
                </a:lnTo>
                <a:lnTo>
                  <a:pt x="56" y="269"/>
                </a:lnTo>
                <a:lnTo>
                  <a:pt x="56" y="272"/>
                </a:lnTo>
                <a:lnTo>
                  <a:pt x="53" y="272"/>
                </a:lnTo>
                <a:lnTo>
                  <a:pt x="53" y="266"/>
                </a:lnTo>
                <a:lnTo>
                  <a:pt x="60" y="263"/>
                </a:lnTo>
                <a:lnTo>
                  <a:pt x="60" y="257"/>
                </a:lnTo>
                <a:lnTo>
                  <a:pt x="56" y="263"/>
                </a:lnTo>
                <a:lnTo>
                  <a:pt x="53" y="266"/>
                </a:lnTo>
                <a:lnTo>
                  <a:pt x="50" y="269"/>
                </a:lnTo>
                <a:lnTo>
                  <a:pt x="47" y="269"/>
                </a:lnTo>
                <a:lnTo>
                  <a:pt x="50" y="266"/>
                </a:lnTo>
                <a:lnTo>
                  <a:pt x="47" y="263"/>
                </a:lnTo>
                <a:lnTo>
                  <a:pt x="50" y="244"/>
                </a:lnTo>
                <a:lnTo>
                  <a:pt x="56" y="241"/>
                </a:lnTo>
                <a:lnTo>
                  <a:pt x="53" y="238"/>
                </a:lnTo>
                <a:lnTo>
                  <a:pt x="50" y="232"/>
                </a:lnTo>
                <a:lnTo>
                  <a:pt x="50" y="222"/>
                </a:lnTo>
                <a:lnTo>
                  <a:pt x="47" y="222"/>
                </a:lnTo>
                <a:lnTo>
                  <a:pt x="47" y="219"/>
                </a:lnTo>
                <a:lnTo>
                  <a:pt x="47" y="219"/>
                </a:lnTo>
                <a:lnTo>
                  <a:pt x="44" y="216"/>
                </a:lnTo>
                <a:lnTo>
                  <a:pt x="44" y="210"/>
                </a:lnTo>
                <a:lnTo>
                  <a:pt x="41" y="207"/>
                </a:lnTo>
                <a:lnTo>
                  <a:pt x="41" y="204"/>
                </a:lnTo>
                <a:lnTo>
                  <a:pt x="41" y="200"/>
                </a:lnTo>
                <a:lnTo>
                  <a:pt x="35" y="197"/>
                </a:lnTo>
                <a:lnTo>
                  <a:pt x="38" y="200"/>
                </a:lnTo>
                <a:lnTo>
                  <a:pt x="38" y="210"/>
                </a:lnTo>
                <a:lnTo>
                  <a:pt x="31" y="207"/>
                </a:lnTo>
                <a:lnTo>
                  <a:pt x="28" y="204"/>
                </a:lnTo>
                <a:lnTo>
                  <a:pt x="25" y="200"/>
                </a:lnTo>
                <a:lnTo>
                  <a:pt x="22" y="197"/>
                </a:lnTo>
                <a:lnTo>
                  <a:pt x="22" y="194"/>
                </a:lnTo>
                <a:lnTo>
                  <a:pt x="25" y="194"/>
                </a:lnTo>
                <a:lnTo>
                  <a:pt x="28" y="197"/>
                </a:lnTo>
                <a:lnTo>
                  <a:pt x="31" y="200"/>
                </a:lnTo>
                <a:lnTo>
                  <a:pt x="31" y="197"/>
                </a:lnTo>
                <a:lnTo>
                  <a:pt x="31" y="197"/>
                </a:lnTo>
                <a:lnTo>
                  <a:pt x="28" y="194"/>
                </a:lnTo>
                <a:lnTo>
                  <a:pt x="31" y="194"/>
                </a:lnTo>
                <a:lnTo>
                  <a:pt x="31" y="194"/>
                </a:lnTo>
                <a:lnTo>
                  <a:pt x="35" y="194"/>
                </a:lnTo>
                <a:lnTo>
                  <a:pt x="35" y="191"/>
                </a:lnTo>
                <a:lnTo>
                  <a:pt x="31" y="185"/>
                </a:lnTo>
                <a:lnTo>
                  <a:pt x="25" y="185"/>
                </a:lnTo>
                <a:lnTo>
                  <a:pt x="22" y="182"/>
                </a:lnTo>
                <a:lnTo>
                  <a:pt x="19" y="182"/>
                </a:lnTo>
                <a:lnTo>
                  <a:pt x="19" y="179"/>
                </a:lnTo>
                <a:lnTo>
                  <a:pt x="19" y="182"/>
                </a:lnTo>
                <a:lnTo>
                  <a:pt x="16" y="182"/>
                </a:lnTo>
                <a:lnTo>
                  <a:pt x="16" y="179"/>
                </a:lnTo>
                <a:lnTo>
                  <a:pt x="19" y="175"/>
                </a:lnTo>
                <a:lnTo>
                  <a:pt x="13" y="175"/>
                </a:lnTo>
                <a:lnTo>
                  <a:pt x="10" y="175"/>
                </a:lnTo>
                <a:lnTo>
                  <a:pt x="10" y="175"/>
                </a:lnTo>
                <a:lnTo>
                  <a:pt x="13" y="179"/>
                </a:lnTo>
                <a:lnTo>
                  <a:pt x="3" y="172"/>
                </a:lnTo>
                <a:lnTo>
                  <a:pt x="3" y="166"/>
                </a:lnTo>
                <a:lnTo>
                  <a:pt x="0" y="163"/>
                </a:lnTo>
                <a:lnTo>
                  <a:pt x="0" y="163"/>
                </a:lnTo>
                <a:lnTo>
                  <a:pt x="0" y="160"/>
                </a:lnTo>
                <a:lnTo>
                  <a:pt x="0" y="157"/>
                </a:lnTo>
                <a:lnTo>
                  <a:pt x="3" y="153"/>
                </a:lnTo>
                <a:lnTo>
                  <a:pt x="6" y="153"/>
                </a:lnTo>
                <a:lnTo>
                  <a:pt x="10" y="150"/>
                </a:lnTo>
                <a:lnTo>
                  <a:pt x="10" y="141"/>
                </a:lnTo>
                <a:lnTo>
                  <a:pt x="10" y="138"/>
                </a:lnTo>
                <a:lnTo>
                  <a:pt x="13" y="138"/>
                </a:lnTo>
                <a:lnTo>
                  <a:pt x="13" y="138"/>
                </a:lnTo>
                <a:lnTo>
                  <a:pt x="16" y="132"/>
                </a:lnTo>
                <a:lnTo>
                  <a:pt x="16" y="128"/>
                </a:lnTo>
                <a:lnTo>
                  <a:pt x="16" y="122"/>
                </a:lnTo>
                <a:lnTo>
                  <a:pt x="16" y="119"/>
                </a:lnTo>
                <a:lnTo>
                  <a:pt x="19" y="119"/>
                </a:lnTo>
                <a:lnTo>
                  <a:pt x="19" y="110"/>
                </a:lnTo>
                <a:lnTo>
                  <a:pt x="19" y="107"/>
                </a:lnTo>
                <a:lnTo>
                  <a:pt x="16" y="97"/>
                </a:lnTo>
                <a:lnTo>
                  <a:pt x="22" y="97"/>
                </a:lnTo>
                <a:lnTo>
                  <a:pt x="25" y="97"/>
                </a:lnTo>
                <a:lnTo>
                  <a:pt x="28" y="97"/>
                </a:lnTo>
                <a:lnTo>
                  <a:pt x="31" y="91"/>
                </a:lnTo>
                <a:lnTo>
                  <a:pt x="35" y="82"/>
                </a:lnTo>
                <a:lnTo>
                  <a:pt x="38" y="72"/>
                </a:lnTo>
                <a:lnTo>
                  <a:pt x="35" y="69"/>
                </a:lnTo>
                <a:lnTo>
                  <a:pt x="35" y="66"/>
                </a:lnTo>
                <a:lnTo>
                  <a:pt x="41" y="57"/>
                </a:lnTo>
                <a:lnTo>
                  <a:pt x="41" y="50"/>
                </a:lnTo>
                <a:lnTo>
                  <a:pt x="41" y="47"/>
                </a:lnTo>
                <a:lnTo>
                  <a:pt x="41" y="44"/>
                </a:lnTo>
                <a:lnTo>
                  <a:pt x="47" y="31"/>
                </a:lnTo>
                <a:lnTo>
                  <a:pt x="53" y="31"/>
                </a:lnTo>
                <a:lnTo>
                  <a:pt x="56" y="25"/>
                </a:lnTo>
                <a:lnTo>
                  <a:pt x="60" y="19"/>
                </a:lnTo>
                <a:lnTo>
                  <a:pt x="66" y="19"/>
                </a:lnTo>
                <a:lnTo>
                  <a:pt x="69" y="16"/>
                </a:lnTo>
                <a:lnTo>
                  <a:pt x="75" y="16"/>
                </a:lnTo>
                <a:lnTo>
                  <a:pt x="78" y="19"/>
                </a:lnTo>
                <a:lnTo>
                  <a:pt x="75" y="16"/>
                </a:lnTo>
                <a:lnTo>
                  <a:pt x="75" y="10"/>
                </a:lnTo>
                <a:lnTo>
                  <a:pt x="81" y="6"/>
                </a:lnTo>
                <a:lnTo>
                  <a:pt x="78" y="3"/>
                </a:lnTo>
                <a:lnTo>
                  <a:pt x="78" y="3"/>
                </a:lnTo>
                <a:lnTo>
                  <a:pt x="78" y="3"/>
                </a:lnTo>
                <a:close/>
                <a:moveTo>
                  <a:pt x="25" y="210"/>
                </a:moveTo>
                <a:lnTo>
                  <a:pt x="28" y="213"/>
                </a:lnTo>
                <a:lnTo>
                  <a:pt x="31" y="216"/>
                </a:lnTo>
                <a:lnTo>
                  <a:pt x="31" y="213"/>
                </a:lnTo>
                <a:lnTo>
                  <a:pt x="28" y="210"/>
                </a:lnTo>
                <a:lnTo>
                  <a:pt x="25" y="21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6" name="Freeform 34">
            <a:extLst>
              <a:ext uri="{FF2B5EF4-FFF2-40B4-BE49-F238E27FC236}">
                <a16:creationId xmlns:a16="http://schemas.microsoft.com/office/drawing/2014/main" id="{05631AEE-C463-EC61-914A-B345926258E6}"/>
              </a:ext>
            </a:extLst>
          </p:cNvPr>
          <p:cNvSpPr>
            <a:spLocks noEditPoints="1"/>
          </p:cNvSpPr>
          <p:nvPr userDrawn="1"/>
        </p:nvSpPr>
        <p:spPr bwMode="auto">
          <a:xfrm>
            <a:off x="18150290" y="8759107"/>
            <a:ext cx="139693" cy="250826"/>
          </a:xfrm>
          <a:custGeom>
            <a:avLst/>
            <a:gdLst>
              <a:gd name="T0" fmla="*/ 0 w 44"/>
              <a:gd name="T1" fmla="*/ 35 h 79"/>
              <a:gd name="T2" fmla="*/ 3 w 44"/>
              <a:gd name="T3" fmla="*/ 29 h 79"/>
              <a:gd name="T4" fmla="*/ 0 w 44"/>
              <a:gd name="T5" fmla="*/ 32 h 79"/>
              <a:gd name="T6" fmla="*/ 0 w 44"/>
              <a:gd name="T7" fmla="*/ 38 h 79"/>
              <a:gd name="T8" fmla="*/ 6 w 44"/>
              <a:gd name="T9" fmla="*/ 7 h 79"/>
              <a:gd name="T10" fmla="*/ 3 w 44"/>
              <a:gd name="T11" fmla="*/ 0 h 79"/>
              <a:gd name="T12" fmla="*/ 9 w 44"/>
              <a:gd name="T13" fmla="*/ 0 h 79"/>
              <a:gd name="T14" fmla="*/ 6 w 44"/>
              <a:gd name="T15" fmla="*/ 4 h 79"/>
              <a:gd name="T16" fmla="*/ 6 w 44"/>
              <a:gd name="T17" fmla="*/ 7 h 79"/>
              <a:gd name="T18" fmla="*/ 16 w 44"/>
              <a:gd name="T19" fmla="*/ 0 h 79"/>
              <a:gd name="T20" fmla="*/ 19 w 44"/>
              <a:gd name="T21" fmla="*/ 7 h 79"/>
              <a:gd name="T22" fmla="*/ 19 w 44"/>
              <a:gd name="T23" fmla="*/ 7 h 79"/>
              <a:gd name="T24" fmla="*/ 16 w 44"/>
              <a:gd name="T25" fmla="*/ 7 h 79"/>
              <a:gd name="T26" fmla="*/ 9 w 44"/>
              <a:gd name="T27" fmla="*/ 4 h 79"/>
              <a:gd name="T28" fmla="*/ 13 w 44"/>
              <a:gd name="T29" fmla="*/ 4 h 79"/>
              <a:gd name="T30" fmla="*/ 13 w 44"/>
              <a:gd name="T31" fmla="*/ 0 h 79"/>
              <a:gd name="T32" fmla="*/ 9 w 44"/>
              <a:gd name="T33" fmla="*/ 7 h 79"/>
              <a:gd name="T34" fmla="*/ 9 w 44"/>
              <a:gd name="T35" fmla="*/ 10 h 79"/>
              <a:gd name="T36" fmla="*/ 9 w 44"/>
              <a:gd name="T37" fmla="*/ 13 h 79"/>
              <a:gd name="T38" fmla="*/ 6 w 44"/>
              <a:gd name="T39" fmla="*/ 19 h 79"/>
              <a:gd name="T40" fmla="*/ 3 w 44"/>
              <a:gd name="T41" fmla="*/ 16 h 79"/>
              <a:gd name="T42" fmla="*/ 0 w 44"/>
              <a:gd name="T43" fmla="*/ 16 h 79"/>
              <a:gd name="T44" fmla="*/ 3 w 44"/>
              <a:gd name="T45" fmla="*/ 19 h 79"/>
              <a:gd name="T46" fmla="*/ 3 w 44"/>
              <a:gd name="T47" fmla="*/ 22 h 79"/>
              <a:gd name="T48" fmla="*/ 3 w 44"/>
              <a:gd name="T49" fmla="*/ 32 h 79"/>
              <a:gd name="T50" fmla="*/ 3 w 44"/>
              <a:gd name="T51" fmla="*/ 41 h 79"/>
              <a:gd name="T52" fmla="*/ 3 w 44"/>
              <a:gd name="T53" fmla="*/ 51 h 79"/>
              <a:gd name="T54" fmla="*/ 6 w 44"/>
              <a:gd name="T55" fmla="*/ 63 h 79"/>
              <a:gd name="T56" fmla="*/ 13 w 44"/>
              <a:gd name="T57" fmla="*/ 79 h 79"/>
              <a:gd name="T58" fmla="*/ 19 w 44"/>
              <a:gd name="T59" fmla="*/ 79 h 79"/>
              <a:gd name="T60" fmla="*/ 31 w 44"/>
              <a:gd name="T61" fmla="*/ 76 h 79"/>
              <a:gd name="T62" fmla="*/ 41 w 44"/>
              <a:gd name="T63" fmla="*/ 63 h 79"/>
              <a:gd name="T64" fmla="*/ 44 w 44"/>
              <a:gd name="T65" fmla="*/ 57 h 79"/>
              <a:gd name="T66" fmla="*/ 44 w 44"/>
              <a:gd name="T67" fmla="*/ 51 h 79"/>
              <a:gd name="T68" fmla="*/ 44 w 44"/>
              <a:gd name="T69" fmla="*/ 44 h 79"/>
              <a:gd name="T70" fmla="*/ 38 w 44"/>
              <a:gd name="T71" fmla="*/ 35 h 79"/>
              <a:gd name="T72" fmla="*/ 31 w 44"/>
              <a:gd name="T73" fmla="*/ 29 h 79"/>
              <a:gd name="T74" fmla="*/ 28 w 44"/>
              <a:gd name="T75" fmla="*/ 29 h 79"/>
              <a:gd name="T76" fmla="*/ 31 w 44"/>
              <a:gd name="T77" fmla="*/ 22 h 79"/>
              <a:gd name="T78" fmla="*/ 25 w 44"/>
              <a:gd name="T79" fmla="*/ 19 h 79"/>
              <a:gd name="T80" fmla="*/ 22 w 44"/>
              <a:gd name="T81" fmla="*/ 16 h 79"/>
              <a:gd name="T82" fmla="*/ 22 w 44"/>
              <a:gd name="T83" fmla="*/ 10 h 79"/>
              <a:gd name="T84" fmla="*/ 16 w 44"/>
              <a:gd name="T85" fmla="*/ 10 h 79"/>
              <a:gd name="T86" fmla="*/ 13 w 44"/>
              <a:gd name="T87" fmla="*/ 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 h="79">
                <a:moveTo>
                  <a:pt x="0" y="38"/>
                </a:moveTo>
                <a:lnTo>
                  <a:pt x="0" y="35"/>
                </a:lnTo>
                <a:lnTo>
                  <a:pt x="0" y="32"/>
                </a:lnTo>
                <a:lnTo>
                  <a:pt x="3" y="29"/>
                </a:lnTo>
                <a:lnTo>
                  <a:pt x="3" y="32"/>
                </a:lnTo>
                <a:lnTo>
                  <a:pt x="0" y="32"/>
                </a:lnTo>
                <a:lnTo>
                  <a:pt x="3" y="35"/>
                </a:lnTo>
                <a:lnTo>
                  <a:pt x="0" y="38"/>
                </a:lnTo>
                <a:lnTo>
                  <a:pt x="0" y="38"/>
                </a:lnTo>
                <a:close/>
                <a:moveTo>
                  <a:pt x="6" y="7"/>
                </a:moveTo>
                <a:lnTo>
                  <a:pt x="3" y="4"/>
                </a:lnTo>
                <a:lnTo>
                  <a:pt x="3" y="0"/>
                </a:lnTo>
                <a:lnTo>
                  <a:pt x="9" y="0"/>
                </a:lnTo>
                <a:lnTo>
                  <a:pt x="9" y="0"/>
                </a:lnTo>
                <a:lnTo>
                  <a:pt x="9" y="4"/>
                </a:lnTo>
                <a:lnTo>
                  <a:pt x="6" y="4"/>
                </a:lnTo>
                <a:lnTo>
                  <a:pt x="6" y="7"/>
                </a:lnTo>
                <a:lnTo>
                  <a:pt x="6" y="7"/>
                </a:lnTo>
                <a:close/>
                <a:moveTo>
                  <a:pt x="13" y="0"/>
                </a:moveTo>
                <a:lnTo>
                  <a:pt x="16" y="0"/>
                </a:lnTo>
                <a:lnTo>
                  <a:pt x="16" y="4"/>
                </a:lnTo>
                <a:lnTo>
                  <a:pt x="19" y="7"/>
                </a:lnTo>
                <a:lnTo>
                  <a:pt x="22" y="10"/>
                </a:lnTo>
                <a:lnTo>
                  <a:pt x="19" y="7"/>
                </a:lnTo>
                <a:lnTo>
                  <a:pt x="16" y="7"/>
                </a:lnTo>
                <a:lnTo>
                  <a:pt x="16" y="7"/>
                </a:lnTo>
                <a:lnTo>
                  <a:pt x="9" y="4"/>
                </a:lnTo>
                <a:lnTo>
                  <a:pt x="9" y="4"/>
                </a:lnTo>
                <a:lnTo>
                  <a:pt x="13" y="4"/>
                </a:lnTo>
                <a:lnTo>
                  <a:pt x="13" y="4"/>
                </a:lnTo>
                <a:lnTo>
                  <a:pt x="13" y="0"/>
                </a:lnTo>
                <a:lnTo>
                  <a:pt x="13" y="0"/>
                </a:lnTo>
                <a:close/>
                <a:moveTo>
                  <a:pt x="9" y="7"/>
                </a:moveTo>
                <a:lnTo>
                  <a:pt x="9" y="7"/>
                </a:lnTo>
                <a:lnTo>
                  <a:pt x="9" y="10"/>
                </a:lnTo>
                <a:lnTo>
                  <a:pt x="9" y="10"/>
                </a:lnTo>
                <a:lnTo>
                  <a:pt x="9" y="10"/>
                </a:lnTo>
                <a:lnTo>
                  <a:pt x="9" y="13"/>
                </a:lnTo>
                <a:lnTo>
                  <a:pt x="9" y="13"/>
                </a:lnTo>
                <a:lnTo>
                  <a:pt x="6" y="19"/>
                </a:lnTo>
                <a:lnTo>
                  <a:pt x="6" y="16"/>
                </a:lnTo>
                <a:lnTo>
                  <a:pt x="3" y="16"/>
                </a:lnTo>
                <a:lnTo>
                  <a:pt x="0" y="16"/>
                </a:lnTo>
                <a:lnTo>
                  <a:pt x="0" y="16"/>
                </a:lnTo>
                <a:lnTo>
                  <a:pt x="3" y="16"/>
                </a:lnTo>
                <a:lnTo>
                  <a:pt x="3" y="19"/>
                </a:lnTo>
                <a:lnTo>
                  <a:pt x="3" y="19"/>
                </a:lnTo>
                <a:lnTo>
                  <a:pt x="3" y="22"/>
                </a:lnTo>
                <a:lnTo>
                  <a:pt x="3" y="29"/>
                </a:lnTo>
                <a:lnTo>
                  <a:pt x="3" y="32"/>
                </a:lnTo>
                <a:lnTo>
                  <a:pt x="3" y="41"/>
                </a:lnTo>
                <a:lnTo>
                  <a:pt x="3" y="41"/>
                </a:lnTo>
                <a:lnTo>
                  <a:pt x="0" y="44"/>
                </a:lnTo>
                <a:lnTo>
                  <a:pt x="3" y="51"/>
                </a:lnTo>
                <a:lnTo>
                  <a:pt x="3" y="54"/>
                </a:lnTo>
                <a:lnTo>
                  <a:pt x="6" y="63"/>
                </a:lnTo>
                <a:lnTo>
                  <a:pt x="9" y="72"/>
                </a:lnTo>
                <a:lnTo>
                  <a:pt x="13" y="79"/>
                </a:lnTo>
                <a:lnTo>
                  <a:pt x="16" y="79"/>
                </a:lnTo>
                <a:lnTo>
                  <a:pt x="19" y="79"/>
                </a:lnTo>
                <a:lnTo>
                  <a:pt x="25" y="79"/>
                </a:lnTo>
                <a:lnTo>
                  <a:pt x="31" y="76"/>
                </a:lnTo>
                <a:lnTo>
                  <a:pt x="38" y="69"/>
                </a:lnTo>
                <a:lnTo>
                  <a:pt x="41" y="63"/>
                </a:lnTo>
                <a:lnTo>
                  <a:pt x="44" y="60"/>
                </a:lnTo>
                <a:lnTo>
                  <a:pt x="44" y="57"/>
                </a:lnTo>
                <a:lnTo>
                  <a:pt x="44" y="57"/>
                </a:lnTo>
                <a:lnTo>
                  <a:pt x="44" y="51"/>
                </a:lnTo>
                <a:lnTo>
                  <a:pt x="41" y="47"/>
                </a:lnTo>
                <a:lnTo>
                  <a:pt x="44" y="44"/>
                </a:lnTo>
                <a:lnTo>
                  <a:pt x="41" y="44"/>
                </a:lnTo>
                <a:lnTo>
                  <a:pt x="38" y="35"/>
                </a:lnTo>
                <a:lnTo>
                  <a:pt x="34" y="29"/>
                </a:lnTo>
                <a:lnTo>
                  <a:pt x="31" y="29"/>
                </a:lnTo>
                <a:lnTo>
                  <a:pt x="31" y="29"/>
                </a:lnTo>
                <a:lnTo>
                  <a:pt x="28" y="29"/>
                </a:lnTo>
                <a:lnTo>
                  <a:pt x="31" y="26"/>
                </a:lnTo>
                <a:lnTo>
                  <a:pt x="31" y="22"/>
                </a:lnTo>
                <a:lnTo>
                  <a:pt x="28" y="22"/>
                </a:lnTo>
                <a:lnTo>
                  <a:pt x="25" y="19"/>
                </a:lnTo>
                <a:lnTo>
                  <a:pt x="25" y="19"/>
                </a:lnTo>
                <a:lnTo>
                  <a:pt x="22" y="16"/>
                </a:lnTo>
                <a:lnTo>
                  <a:pt x="22" y="13"/>
                </a:lnTo>
                <a:lnTo>
                  <a:pt x="22" y="10"/>
                </a:lnTo>
                <a:lnTo>
                  <a:pt x="16" y="10"/>
                </a:lnTo>
                <a:lnTo>
                  <a:pt x="16" y="10"/>
                </a:lnTo>
                <a:lnTo>
                  <a:pt x="13" y="10"/>
                </a:lnTo>
                <a:lnTo>
                  <a:pt x="13" y="7"/>
                </a:lnTo>
                <a:lnTo>
                  <a:pt x="9" y="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7" name="Freeform 35">
            <a:extLst>
              <a:ext uri="{FF2B5EF4-FFF2-40B4-BE49-F238E27FC236}">
                <a16:creationId xmlns:a16="http://schemas.microsoft.com/office/drawing/2014/main" id="{0EBC6A7B-56C6-A77E-D094-FBBC13C53B83}"/>
              </a:ext>
            </a:extLst>
          </p:cNvPr>
          <p:cNvSpPr>
            <a:spLocks noEditPoints="1"/>
          </p:cNvSpPr>
          <p:nvPr userDrawn="1"/>
        </p:nvSpPr>
        <p:spPr bwMode="auto">
          <a:xfrm>
            <a:off x="17375639" y="7162083"/>
            <a:ext cx="1755662" cy="1708150"/>
          </a:xfrm>
          <a:custGeom>
            <a:avLst/>
            <a:gdLst>
              <a:gd name="T0" fmla="*/ 188 w 553"/>
              <a:gd name="T1" fmla="*/ 47 h 538"/>
              <a:gd name="T2" fmla="*/ 219 w 553"/>
              <a:gd name="T3" fmla="*/ 62 h 538"/>
              <a:gd name="T4" fmla="*/ 225 w 553"/>
              <a:gd name="T5" fmla="*/ 103 h 538"/>
              <a:gd name="T6" fmla="*/ 288 w 553"/>
              <a:gd name="T7" fmla="*/ 128 h 538"/>
              <a:gd name="T8" fmla="*/ 360 w 553"/>
              <a:gd name="T9" fmla="*/ 147 h 538"/>
              <a:gd name="T10" fmla="*/ 388 w 553"/>
              <a:gd name="T11" fmla="*/ 119 h 538"/>
              <a:gd name="T12" fmla="*/ 419 w 553"/>
              <a:gd name="T13" fmla="*/ 144 h 538"/>
              <a:gd name="T14" fmla="*/ 444 w 553"/>
              <a:gd name="T15" fmla="*/ 122 h 538"/>
              <a:gd name="T16" fmla="*/ 472 w 553"/>
              <a:gd name="T17" fmla="*/ 100 h 538"/>
              <a:gd name="T18" fmla="*/ 513 w 553"/>
              <a:gd name="T19" fmla="*/ 87 h 538"/>
              <a:gd name="T20" fmla="*/ 535 w 553"/>
              <a:gd name="T21" fmla="*/ 87 h 538"/>
              <a:gd name="T22" fmla="*/ 550 w 553"/>
              <a:gd name="T23" fmla="*/ 109 h 538"/>
              <a:gd name="T24" fmla="*/ 525 w 553"/>
              <a:gd name="T25" fmla="*/ 137 h 538"/>
              <a:gd name="T26" fmla="*/ 503 w 553"/>
              <a:gd name="T27" fmla="*/ 197 h 538"/>
              <a:gd name="T28" fmla="*/ 488 w 553"/>
              <a:gd name="T29" fmla="*/ 234 h 538"/>
              <a:gd name="T30" fmla="*/ 478 w 553"/>
              <a:gd name="T31" fmla="*/ 244 h 538"/>
              <a:gd name="T32" fmla="*/ 463 w 553"/>
              <a:gd name="T33" fmla="*/ 209 h 538"/>
              <a:gd name="T34" fmla="*/ 450 w 553"/>
              <a:gd name="T35" fmla="*/ 216 h 538"/>
              <a:gd name="T36" fmla="*/ 457 w 553"/>
              <a:gd name="T37" fmla="*/ 200 h 538"/>
              <a:gd name="T38" fmla="*/ 453 w 553"/>
              <a:gd name="T39" fmla="*/ 175 h 538"/>
              <a:gd name="T40" fmla="*/ 413 w 553"/>
              <a:gd name="T41" fmla="*/ 163 h 538"/>
              <a:gd name="T42" fmla="*/ 400 w 553"/>
              <a:gd name="T43" fmla="*/ 153 h 538"/>
              <a:gd name="T44" fmla="*/ 388 w 553"/>
              <a:gd name="T45" fmla="*/ 150 h 538"/>
              <a:gd name="T46" fmla="*/ 394 w 553"/>
              <a:gd name="T47" fmla="*/ 175 h 538"/>
              <a:gd name="T48" fmla="*/ 400 w 553"/>
              <a:gd name="T49" fmla="*/ 219 h 538"/>
              <a:gd name="T50" fmla="*/ 407 w 553"/>
              <a:gd name="T51" fmla="*/ 256 h 538"/>
              <a:gd name="T52" fmla="*/ 391 w 553"/>
              <a:gd name="T53" fmla="*/ 250 h 538"/>
              <a:gd name="T54" fmla="*/ 388 w 553"/>
              <a:gd name="T55" fmla="*/ 250 h 538"/>
              <a:gd name="T56" fmla="*/ 366 w 553"/>
              <a:gd name="T57" fmla="*/ 278 h 538"/>
              <a:gd name="T58" fmla="*/ 341 w 553"/>
              <a:gd name="T59" fmla="*/ 294 h 538"/>
              <a:gd name="T60" fmla="*/ 303 w 553"/>
              <a:gd name="T61" fmla="*/ 341 h 538"/>
              <a:gd name="T62" fmla="*/ 269 w 553"/>
              <a:gd name="T63" fmla="*/ 375 h 538"/>
              <a:gd name="T64" fmla="*/ 247 w 553"/>
              <a:gd name="T65" fmla="*/ 413 h 538"/>
              <a:gd name="T66" fmla="*/ 244 w 553"/>
              <a:gd name="T67" fmla="*/ 494 h 538"/>
              <a:gd name="T68" fmla="*/ 238 w 553"/>
              <a:gd name="T69" fmla="*/ 519 h 538"/>
              <a:gd name="T70" fmla="*/ 213 w 553"/>
              <a:gd name="T71" fmla="*/ 535 h 538"/>
              <a:gd name="T72" fmla="*/ 169 w 553"/>
              <a:gd name="T73" fmla="*/ 485 h 538"/>
              <a:gd name="T74" fmla="*/ 144 w 553"/>
              <a:gd name="T75" fmla="*/ 438 h 538"/>
              <a:gd name="T76" fmla="*/ 122 w 553"/>
              <a:gd name="T77" fmla="*/ 391 h 538"/>
              <a:gd name="T78" fmla="*/ 103 w 553"/>
              <a:gd name="T79" fmla="*/ 331 h 538"/>
              <a:gd name="T80" fmla="*/ 91 w 553"/>
              <a:gd name="T81" fmla="*/ 288 h 538"/>
              <a:gd name="T82" fmla="*/ 88 w 553"/>
              <a:gd name="T83" fmla="*/ 256 h 538"/>
              <a:gd name="T84" fmla="*/ 88 w 553"/>
              <a:gd name="T85" fmla="*/ 241 h 538"/>
              <a:gd name="T86" fmla="*/ 72 w 553"/>
              <a:gd name="T87" fmla="*/ 272 h 538"/>
              <a:gd name="T88" fmla="*/ 13 w 553"/>
              <a:gd name="T89" fmla="*/ 244 h 538"/>
              <a:gd name="T90" fmla="*/ 28 w 553"/>
              <a:gd name="T91" fmla="*/ 244 h 538"/>
              <a:gd name="T92" fmla="*/ 32 w 553"/>
              <a:gd name="T93" fmla="*/ 234 h 538"/>
              <a:gd name="T94" fmla="*/ 0 w 553"/>
              <a:gd name="T95" fmla="*/ 216 h 538"/>
              <a:gd name="T96" fmla="*/ 44 w 553"/>
              <a:gd name="T97" fmla="*/ 197 h 538"/>
              <a:gd name="T98" fmla="*/ 41 w 553"/>
              <a:gd name="T99" fmla="*/ 169 h 538"/>
              <a:gd name="T100" fmla="*/ 13 w 553"/>
              <a:gd name="T101" fmla="*/ 144 h 538"/>
              <a:gd name="T102" fmla="*/ 47 w 553"/>
              <a:gd name="T103" fmla="*/ 122 h 538"/>
              <a:gd name="T104" fmla="*/ 91 w 553"/>
              <a:gd name="T105" fmla="*/ 69 h 538"/>
              <a:gd name="T106" fmla="*/ 110 w 553"/>
              <a:gd name="T107" fmla="*/ 25 h 538"/>
              <a:gd name="T108" fmla="*/ 163 w 553"/>
              <a:gd name="T109" fmla="*/ 6 h 538"/>
              <a:gd name="T110" fmla="*/ 400 w 553"/>
              <a:gd name="T111" fmla="*/ 253 h 538"/>
              <a:gd name="T112" fmla="*/ 394 w 553"/>
              <a:gd name="T113" fmla="*/ 259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3" h="538">
                <a:moveTo>
                  <a:pt x="178" y="15"/>
                </a:moveTo>
                <a:lnTo>
                  <a:pt x="178" y="19"/>
                </a:lnTo>
                <a:lnTo>
                  <a:pt x="178" y="22"/>
                </a:lnTo>
                <a:lnTo>
                  <a:pt x="185" y="25"/>
                </a:lnTo>
                <a:lnTo>
                  <a:pt x="185" y="31"/>
                </a:lnTo>
                <a:lnTo>
                  <a:pt x="185" y="34"/>
                </a:lnTo>
                <a:lnTo>
                  <a:pt x="185" y="37"/>
                </a:lnTo>
                <a:lnTo>
                  <a:pt x="188" y="41"/>
                </a:lnTo>
                <a:lnTo>
                  <a:pt x="188" y="44"/>
                </a:lnTo>
                <a:lnTo>
                  <a:pt x="188" y="47"/>
                </a:lnTo>
                <a:lnTo>
                  <a:pt x="191" y="47"/>
                </a:lnTo>
                <a:lnTo>
                  <a:pt x="191" y="50"/>
                </a:lnTo>
                <a:lnTo>
                  <a:pt x="197" y="53"/>
                </a:lnTo>
                <a:lnTo>
                  <a:pt x="197" y="50"/>
                </a:lnTo>
                <a:lnTo>
                  <a:pt x="203" y="50"/>
                </a:lnTo>
                <a:lnTo>
                  <a:pt x="203" y="50"/>
                </a:lnTo>
                <a:lnTo>
                  <a:pt x="210" y="53"/>
                </a:lnTo>
                <a:lnTo>
                  <a:pt x="213" y="56"/>
                </a:lnTo>
                <a:lnTo>
                  <a:pt x="216" y="56"/>
                </a:lnTo>
                <a:lnTo>
                  <a:pt x="219" y="62"/>
                </a:lnTo>
                <a:lnTo>
                  <a:pt x="222" y="62"/>
                </a:lnTo>
                <a:lnTo>
                  <a:pt x="222" y="66"/>
                </a:lnTo>
                <a:lnTo>
                  <a:pt x="222" y="66"/>
                </a:lnTo>
                <a:lnTo>
                  <a:pt x="225" y="72"/>
                </a:lnTo>
                <a:lnTo>
                  <a:pt x="222" y="81"/>
                </a:lnTo>
                <a:lnTo>
                  <a:pt x="222" y="87"/>
                </a:lnTo>
                <a:lnTo>
                  <a:pt x="216" y="97"/>
                </a:lnTo>
                <a:lnTo>
                  <a:pt x="219" y="100"/>
                </a:lnTo>
                <a:lnTo>
                  <a:pt x="222" y="100"/>
                </a:lnTo>
                <a:lnTo>
                  <a:pt x="225" y="103"/>
                </a:lnTo>
                <a:lnTo>
                  <a:pt x="228" y="103"/>
                </a:lnTo>
                <a:lnTo>
                  <a:pt x="232" y="106"/>
                </a:lnTo>
                <a:lnTo>
                  <a:pt x="238" y="109"/>
                </a:lnTo>
                <a:lnTo>
                  <a:pt x="247" y="112"/>
                </a:lnTo>
                <a:lnTo>
                  <a:pt x="253" y="122"/>
                </a:lnTo>
                <a:lnTo>
                  <a:pt x="263" y="122"/>
                </a:lnTo>
                <a:lnTo>
                  <a:pt x="266" y="125"/>
                </a:lnTo>
                <a:lnTo>
                  <a:pt x="272" y="125"/>
                </a:lnTo>
                <a:lnTo>
                  <a:pt x="278" y="131"/>
                </a:lnTo>
                <a:lnTo>
                  <a:pt x="288" y="128"/>
                </a:lnTo>
                <a:lnTo>
                  <a:pt x="291" y="131"/>
                </a:lnTo>
                <a:lnTo>
                  <a:pt x="300" y="128"/>
                </a:lnTo>
                <a:lnTo>
                  <a:pt x="310" y="131"/>
                </a:lnTo>
                <a:lnTo>
                  <a:pt x="313" y="137"/>
                </a:lnTo>
                <a:lnTo>
                  <a:pt x="316" y="141"/>
                </a:lnTo>
                <a:lnTo>
                  <a:pt x="328" y="144"/>
                </a:lnTo>
                <a:lnTo>
                  <a:pt x="332" y="141"/>
                </a:lnTo>
                <a:lnTo>
                  <a:pt x="338" y="141"/>
                </a:lnTo>
                <a:lnTo>
                  <a:pt x="353" y="147"/>
                </a:lnTo>
                <a:lnTo>
                  <a:pt x="360" y="147"/>
                </a:lnTo>
                <a:lnTo>
                  <a:pt x="366" y="150"/>
                </a:lnTo>
                <a:lnTo>
                  <a:pt x="378" y="147"/>
                </a:lnTo>
                <a:lnTo>
                  <a:pt x="378" y="137"/>
                </a:lnTo>
                <a:lnTo>
                  <a:pt x="375" y="131"/>
                </a:lnTo>
                <a:lnTo>
                  <a:pt x="378" y="122"/>
                </a:lnTo>
                <a:lnTo>
                  <a:pt x="375" y="116"/>
                </a:lnTo>
                <a:lnTo>
                  <a:pt x="375" y="116"/>
                </a:lnTo>
                <a:lnTo>
                  <a:pt x="382" y="112"/>
                </a:lnTo>
                <a:lnTo>
                  <a:pt x="385" y="112"/>
                </a:lnTo>
                <a:lnTo>
                  <a:pt x="388" y="119"/>
                </a:lnTo>
                <a:lnTo>
                  <a:pt x="388" y="122"/>
                </a:lnTo>
                <a:lnTo>
                  <a:pt x="391" y="125"/>
                </a:lnTo>
                <a:lnTo>
                  <a:pt x="391" y="125"/>
                </a:lnTo>
                <a:lnTo>
                  <a:pt x="391" y="128"/>
                </a:lnTo>
                <a:lnTo>
                  <a:pt x="391" y="134"/>
                </a:lnTo>
                <a:lnTo>
                  <a:pt x="394" y="137"/>
                </a:lnTo>
                <a:lnTo>
                  <a:pt x="400" y="141"/>
                </a:lnTo>
                <a:lnTo>
                  <a:pt x="403" y="137"/>
                </a:lnTo>
                <a:lnTo>
                  <a:pt x="413" y="144"/>
                </a:lnTo>
                <a:lnTo>
                  <a:pt x="419" y="144"/>
                </a:lnTo>
                <a:lnTo>
                  <a:pt x="422" y="141"/>
                </a:lnTo>
                <a:lnTo>
                  <a:pt x="425" y="137"/>
                </a:lnTo>
                <a:lnTo>
                  <a:pt x="428" y="141"/>
                </a:lnTo>
                <a:lnTo>
                  <a:pt x="438" y="137"/>
                </a:lnTo>
                <a:lnTo>
                  <a:pt x="441" y="137"/>
                </a:lnTo>
                <a:lnTo>
                  <a:pt x="450" y="137"/>
                </a:lnTo>
                <a:lnTo>
                  <a:pt x="450" y="134"/>
                </a:lnTo>
                <a:lnTo>
                  <a:pt x="450" y="128"/>
                </a:lnTo>
                <a:lnTo>
                  <a:pt x="444" y="125"/>
                </a:lnTo>
                <a:lnTo>
                  <a:pt x="444" y="122"/>
                </a:lnTo>
                <a:lnTo>
                  <a:pt x="444" y="116"/>
                </a:lnTo>
                <a:lnTo>
                  <a:pt x="447" y="116"/>
                </a:lnTo>
                <a:lnTo>
                  <a:pt x="453" y="116"/>
                </a:lnTo>
                <a:lnTo>
                  <a:pt x="457" y="116"/>
                </a:lnTo>
                <a:lnTo>
                  <a:pt x="460" y="109"/>
                </a:lnTo>
                <a:lnTo>
                  <a:pt x="463" y="106"/>
                </a:lnTo>
                <a:lnTo>
                  <a:pt x="466" y="109"/>
                </a:lnTo>
                <a:lnTo>
                  <a:pt x="466" y="106"/>
                </a:lnTo>
                <a:lnTo>
                  <a:pt x="469" y="103"/>
                </a:lnTo>
                <a:lnTo>
                  <a:pt x="472" y="100"/>
                </a:lnTo>
                <a:lnTo>
                  <a:pt x="475" y="97"/>
                </a:lnTo>
                <a:lnTo>
                  <a:pt x="478" y="97"/>
                </a:lnTo>
                <a:lnTo>
                  <a:pt x="485" y="94"/>
                </a:lnTo>
                <a:lnTo>
                  <a:pt x="491" y="87"/>
                </a:lnTo>
                <a:lnTo>
                  <a:pt x="491" y="84"/>
                </a:lnTo>
                <a:lnTo>
                  <a:pt x="494" y="84"/>
                </a:lnTo>
                <a:lnTo>
                  <a:pt x="497" y="81"/>
                </a:lnTo>
                <a:lnTo>
                  <a:pt x="500" y="84"/>
                </a:lnTo>
                <a:lnTo>
                  <a:pt x="507" y="84"/>
                </a:lnTo>
                <a:lnTo>
                  <a:pt x="513" y="87"/>
                </a:lnTo>
                <a:lnTo>
                  <a:pt x="516" y="84"/>
                </a:lnTo>
                <a:lnTo>
                  <a:pt x="516" y="81"/>
                </a:lnTo>
                <a:lnTo>
                  <a:pt x="522" y="75"/>
                </a:lnTo>
                <a:lnTo>
                  <a:pt x="525" y="78"/>
                </a:lnTo>
                <a:lnTo>
                  <a:pt x="528" y="81"/>
                </a:lnTo>
                <a:lnTo>
                  <a:pt x="532" y="78"/>
                </a:lnTo>
                <a:lnTo>
                  <a:pt x="532" y="81"/>
                </a:lnTo>
                <a:lnTo>
                  <a:pt x="528" y="87"/>
                </a:lnTo>
                <a:lnTo>
                  <a:pt x="532" y="91"/>
                </a:lnTo>
                <a:lnTo>
                  <a:pt x="535" y="87"/>
                </a:lnTo>
                <a:lnTo>
                  <a:pt x="535" y="87"/>
                </a:lnTo>
                <a:lnTo>
                  <a:pt x="538" y="91"/>
                </a:lnTo>
                <a:lnTo>
                  <a:pt x="541" y="94"/>
                </a:lnTo>
                <a:lnTo>
                  <a:pt x="541" y="97"/>
                </a:lnTo>
                <a:lnTo>
                  <a:pt x="538" y="100"/>
                </a:lnTo>
                <a:lnTo>
                  <a:pt x="538" y="103"/>
                </a:lnTo>
                <a:lnTo>
                  <a:pt x="541" y="106"/>
                </a:lnTo>
                <a:lnTo>
                  <a:pt x="544" y="103"/>
                </a:lnTo>
                <a:lnTo>
                  <a:pt x="547" y="106"/>
                </a:lnTo>
                <a:lnTo>
                  <a:pt x="550" y="109"/>
                </a:lnTo>
                <a:lnTo>
                  <a:pt x="553" y="112"/>
                </a:lnTo>
                <a:lnTo>
                  <a:pt x="547" y="116"/>
                </a:lnTo>
                <a:lnTo>
                  <a:pt x="547" y="122"/>
                </a:lnTo>
                <a:lnTo>
                  <a:pt x="550" y="125"/>
                </a:lnTo>
                <a:lnTo>
                  <a:pt x="547" y="122"/>
                </a:lnTo>
                <a:lnTo>
                  <a:pt x="541" y="122"/>
                </a:lnTo>
                <a:lnTo>
                  <a:pt x="538" y="125"/>
                </a:lnTo>
                <a:lnTo>
                  <a:pt x="532" y="125"/>
                </a:lnTo>
                <a:lnTo>
                  <a:pt x="528" y="131"/>
                </a:lnTo>
                <a:lnTo>
                  <a:pt x="525" y="137"/>
                </a:lnTo>
                <a:lnTo>
                  <a:pt x="519" y="137"/>
                </a:lnTo>
                <a:lnTo>
                  <a:pt x="513" y="150"/>
                </a:lnTo>
                <a:lnTo>
                  <a:pt x="513" y="153"/>
                </a:lnTo>
                <a:lnTo>
                  <a:pt x="513" y="156"/>
                </a:lnTo>
                <a:lnTo>
                  <a:pt x="513" y="163"/>
                </a:lnTo>
                <a:lnTo>
                  <a:pt x="507" y="172"/>
                </a:lnTo>
                <a:lnTo>
                  <a:pt x="507" y="175"/>
                </a:lnTo>
                <a:lnTo>
                  <a:pt x="510" y="178"/>
                </a:lnTo>
                <a:lnTo>
                  <a:pt x="507" y="188"/>
                </a:lnTo>
                <a:lnTo>
                  <a:pt x="503" y="197"/>
                </a:lnTo>
                <a:lnTo>
                  <a:pt x="500" y="203"/>
                </a:lnTo>
                <a:lnTo>
                  <a:pt x="497" y="203"/>
                </a:lnTo>
                <a:lnTo>
                  <a:pt x="494" y="203"/>
                </a:lnTo>
                <a:lnTo>
                  <a:pt x="488" y="203"/>
                </a:lnTo>
                <a:lnTo>
                  <a:pt x="491" y="213"/>
                </a:lnTo>
                <a:lnTo>
                  <a:pt x="491" y="216"/>
                </a:lnTo>
                <a:lnTo>
                  <a:pt x="491" y="225"/>
                </a:lnTo>
                <a:lnTo>
                  <a:pt x="488" y="225"/>
                </a:lnTo>
                <a:lnTo>
                  <a:pt x="488" y="228"/>
                </a:lnTo>
                <a:lnTo>
                  <a:pt x="488" y="234"/>
                </a:lnTo>
                <a:lnTo>
                  <a:pt x="488" y="238"/>
                </a:lnTo>
                <a:lnTo>
                  <a:pt x="485" y="244"/>
                </a:lnTo>
                <a:lnTo>
                  <a:pt x="485" y="244"/>
                </a:lnTo>
                <a:lnTo>
                  <a:pt x="482" y="244"/>
                </a:lnTo>
                <a:lnTo>
                  <a:pt x="482" y="247"/>
                </a:lnTo>
                <a:lnTo>
                  <a:pt x="482" y="250"/>
                </a:lnTo>
                <a:lnTo>
                  <a:pt x="478" y="250"/>
                </a:lnTo>
                <a:lnTo>
                  <a:pt x="478" y="247"/>
                </a:lnTo>
                <a:lnTo>
                  <a:pt x="478" y="247"/>
                </a:lnTo>
                <a:lnTo>
                  <a:pt x="478" y="244"/>
                </a:lnTo>
                <a:lnTo>
                  <a:pt x="475" y="241"/>
                </a:lnTo>
                <a:lnTo>
                  <a:pt x="475" y="238"/>
                </a:lnTo>
                <a:lnTo>
                  <a:pt x="472" y="228"/>
                </a:lnTo>
                <a:lnTo>
                  <a:pt x="472" y="225"/>
                </a:lnTo>
                <a:lnTo>
                  <a:pt x="472" y="222"/>
                </a:lnTo>
                <a:lnTo>
                  <a:pt x="472" y="216"/>
                </a:lnTo>
                <a:lnTo>
                  <a:pt x="469" y="213"/>
                </a:lnTo>
                <a:lnTo>
                  <a:pt x="469" y="213"/>
                </a:lnTo>
                <a:lnTo>
                  <a:pt x="466" y="213"/>
                </a:lnTo>
                <a:lnTo>
                  <a:pt x="463" y="209"/>
                </a:lnTo>
                <a:lnTo>
                  <a:pt x="460" y="213"/>
                </a:lnTo>
                <a:lnTo>
                  <a:pt x="463" y="213"/>
                </a:lnTo>
                <a:lnTo>
                  <a:pt x="460" y="216"/>
                </a:lnTo>
                <a:lnTo>
                  <a:pt x="460" y="216"/>
                </a:lnTo>
                <a:lnTo>
                  <a:pt x="460" y="219"/>
                </a:lnTo>
                <a:lnTo>
                  <a:pt x="460" y="222"/>
                </a:lnTo>
                <a:lnTo>
                  <a:pt x="460" y="225"/>
                </a:lnTo>
                <a:lnTo>
                  <a:pt x="457" y="225"/>
                </a:lnTo>
                <a:lnTo>
                  <a:pt x="453" y="219"/>
                </a:lnTo>
                <a:lnTo>
                  <a:pt x="450" y="216"/>
                </a:lnTo>
                <a:lnTo>
                  <a:pt x="450" y="216"/>
                </a:lnTo>
                <a:lnTo>
                  <a:pt x="447" y="213"/>
                </a:lnTo>
                <a:lnTo>
                  <a:pt x="447" y="209"/>
                </a:lnTo>
                <a:lnTo>
                  <a:pt x="447" y="206"/>
                </a:lnTo>
                <a:lnTo>
                  <a:pt x="447" y="203"/>
                </a:lnTo>
                <a:lnTo>
                  <a:pt x="450" y="203"/>
                </a:lnTo>
                <a:lnTo>
                  <a:pt x="453" y="200"/>
                </a:lnTo>
                <a:lnTo>
                  <a:pt x="453" y="200"/>
                </a:lnTo>
                <a:lnTo>
                  <a:pt x="457" y="200"/>
                </a:lnTo>
                <a:lnTo>
                  <a:pt x="457" y="200"/>
                </a:lnTo>
                <a:lnTo>
                  <a:pt x="457" y="197"/>
                </a:lnTo>
                <a:lnTo>
                  <a:pt x="460" y="194"/>
                </a:lnTo>
                <a:lnTo>
                  <a:pt x="463" y="188"/>
                </a:lnTo>
                <a:lnTo>
                  <a:pt x="463" y="184"/>
                </a:lnTo>
                <a:lnTo>
                  <a:pt x="466" y="178"/>
                </a:lnTo>
                <a:lnTo>
                  <a:pt x="463" y="178"/>
                </a:lnTo>
                <a:lnTo>
                  <a:pt x="460" y="175"/>
                </a:lnTo>
                <a:lnTo>
                  <a:pt x="457" y="175"/>
                </a:lnTo>
                <a:lnTo>
                  <a:pt x="457" y="175"/>
                </a:lnTo>
                <a:lnTo>
                  <a:pt x="453" y="175"/>
                </a:lnTo>
                <a:lnTo>
                  <a:pt x="447" y="175"/>
                </a:lnTo>
                <a:lnTo>
                  <a:pt x="441" y="175"/>
                </a:lnTo>
                <a:lnTo>
                  <a:pt x="432" y="175"/>
                </a:lnTo>
                <a:lnTo>
                  <a:pt x="428" y="175"/>
                </a:lnTo>
                <a:lnTo>
                  <a:pt x="422" y="172"/>
                </a:lnTo>
                <a:lnTo>
                  <a:pt x="419" y="175"/>
                </a:lnTo>
                <a:lnTo>
                  <a:pt x="416" y="172"/>
                </a:lnTo>
                <a:lnTo>
                  <a:pt x="416" y="169"/>
                </a:lnTo>
                <a:lnTo>
                  <a:pt x="416" y="166"/>
                </a:lnTo>
                <a:lnTo>
                  <a:pt x="413" y="163"/>
                </a:lnTo>
                <a:lnTo>
                  <a:pt x="413" y="159"/>
                </a:lnTo>
                <a:lnTo>
                  <a:pt x="410" y="153"/>
                </a:lnTo>
                <a:lnTo>
                  <a:pt x="410" y="153"/>
                </a:lnTo>
                <a:lnTo>
                  <a:pt x="410" y="156"/>
                </a:lnTo>
                <a:lnTo>
                  <a:pt x="403" y="153"/>
                </a:lnTo>
                <a:lnTo>
                  <a:pt x="403" y="153"/>
                </a:lnTo>
                <a:lnTo>
                  <a:pt x="400" y="150"/>
                </a:lnTo>
                <a:lnTo>
                  <a:pt x="397" y="150"/>
                </a:lnTo>
                <a:lnTo>
                  <a:pt x="397" y="153"/>
                </a:lnTo>
                <a:lnTo>
                  <a:pt x="400" y="153"/>
                </a:lnTo>
                <a:lnTo>
                  <a:pt x="397" y="153"/>
                </a:lnTo>
                <a:lnTo>
                  <a:pt x="394" y="153"/>
                </a:lnTo>
                <a:lnTo>
                  <a:pt x="391" y="150"/>
                </a:lnTo>
                <a:lnTo>
                  <a:pt x="391" y="147"/>
                </a:lnTo>
                <a:lnTo>
                  <a:pt x="388" y="144"/>
                </a:lnTo>
                <a:lnTo>
                  <a:pt x="388" y="144"/>
                </a:lnTo>
                <a:lnTo>
                  <a:pt x="385" y="147"/>
                </a:lnTo>
                <a:lnTo>
                  <a:pt x="385" y="147"/>
                </a:lnTo>
                <a:lnTo>
                  <a:pt x="385" y="147"/>
                </a:lnTo>
                <a:lnTo>
                  <a:pt x="388" y="150"/>
                </a:lnTo>
                <a:lnTo>
                  <a:pt x="385" y="156"/>
                </a:lnTo>
                <a:lnTo>
                  <a:pt x="382" y="159"/>
                </a:lnTo>
                <a:lnTo>
                  <a:pt x="382" y="166"/>
                </a:lnTo>
                <a:lnTo>
                  <a:pt x="388" y="169"/>
                </a:lnTo>
                <a:lnTo>
                  <a:pt x="394" y="166"/>
                </a:lnTo>
                <a:lnTo>
                  <a:pt x="397" y="166"/>
                </a:lnTo>
                <a:lnTo>
                  <a:pt x="397" y="169"/>
                </a:lnTo>
                <a:lnTo>
                  <a:pt x="397" y="175"/>
                </a:lnTo>
                <a:lnTo>
                  <a:pt x="394" y="175"/>
                </a:lnTo>
                <a:lnTo>
                  <a:pt x="394" y="175"/>
                </a:lnTo>
                <a:lnTo>
                  <a:pt x="391" y="178"/>
                </a:lnTo>
                <a:lnTo>
                  <a:pt x="388" y="181"/>
                </a:lnTo>
                <a:lnTo>
                  <a:pt x="385" y="184"/>
                </a:lnTo>
                <a:lnTo>
                  <a:pt x="385" y="191"/>
                </a:lnTo>
                <a:lnTo>
                  <a:pt x="388" y="197"/>
                </a:lnTo>
                <a:lnTo>
                  <a:pt x="394" y="197"/>
                </a:lnTo>
                <a:lnTo>
                  <a:pt x="400" y="203"/>
                </a:lnTo>
                <a:lnTo>
                  <a:pt x="400" y="209"/>
                </a:lnTo>
                <a:lnTo>
                  <a:pt x="400" y="216"/>
                </a:lnTo>
                <a:lnTo>
                  <a:pt x="400" y="219"/>
                </a:lnTo>
                <a:lnTo>
                  <a:pt x="400" y="225"/>
                </a:lnTo>
                <a:lnTo>
                  <a:pt x="407" y="234"/>
                </a:lnTo>
                <a:lnTo>
                  <a:pt x="407" y="238"/>
                </a:lnTo>
                <a:lnTo>
                  <a:pt x="410" y="241"/>
                </a:lnTo>
                <a:lnTo>
                  <a:pt x="410" y="247"/>
                </a:lnTo>
                <a:lnTo>
                  <a:pt x="407" y="247"/>
                </a:lnTo>
                <a:lnTo>
                  <a:pt x="410" y="253"/>
                </a:lnTo>
                <a:lnTo>
                  <a:pt x="410" y="256"/>
                </a:lnTo>
                <a:lnTo>
                  <a:pt x="407" y="253"/>
                </a:lnTo>
                <a:lnTo>
                  <a:pt x="407" y="256"/>
                </a:lnTo>
                <a:lnTo>
                  <a:pt x="403" y="253"/>
                </a:lnTo>
                <a:lnTo>
                  <a:pt x="400" y="250"/>
                </a:lnTo>
                <a:lnTo>
                  <a:pt x="400" y="247"/>
                </a:lnTo>
                <a:lnTo>
                  <a:pt x="400" y="250"/>
                </a:lnTo>
                <a:lnTo>
                  <a:pt x="400" y="250"/>
                </a:lnTo>
                <a:lnTo>
                  <a:pt x="400" y="250"/>
                </a:lnTo>
                <a:lnTo>
                  <a:pt x="397" y="250"/>
                </a:lnTo>
                <a:lnTo>
                  <a:pt x="394" y="250"/>
                </a:lnTo>
                <a:lnTo>
                  <a:pt x="394" y="253"/>
                </a:lnTo>
                <a:lnTo>
                  <a:pt x="391" y="250"/>
                </a:lnTo>
                <a:lnTo>
                  <a:pt x="391" y="247"/>
                </a:lnTo>
                <a:lnTo>
                  <a:pt x="391" y="244"/>
                </a:lnTo>
                <a:lnTo>
                  <a:pt x="388" y="241"/>
                </a:lnTo>
                <a:lnTo>
                  <a:pt x="385" y="241"/>
                </a:lnTo>
                <a:lnTo>
                  <a:pt x="385" y="241"/>
                </a:lnTo>
                <a:lnTo>
                  <a:pt x="388" y="241"/>
                </a:lnTo>
                <a:lnTo>
                  <a:pt x="391" y="244"/>
                </a:lnTo>
                <a:lnTo>
                  <a:pt x="388" y="244"/>
                </a:lnTo>
                <a:lnTo>
                  <a:pt x="388" y="247"/>
                </a:lnTo>
                <a:lnTo>
                  <a:pt x="388" y="250"/>
                </a:lnTo>
                <a:lnTo>
                  <a:pt x="385" y="253"/>
                </a:lnTo>
                <a:lnTo>
                  <a:pt x="372" y="259"/>
                </a:lnTo>
                <a:lnTo>
                  <a:pt x="369" y="259"/>
                </a:lnTo>
                <a:lnTo>
                  <a:pt x="369" y="263"/>
                </a:lnTo>
                <a:lnTo>
                  <a:pt x="366" y="266"/>
                </a:lnTo>
                <a:lnTo>
                  <a:pt x="369" y="269"/>
                </a:lnTo>
                <a:lnTo>
                  <a:pt x="369" y="272"/>
                </a:lnTo>
                <a:lnTo>
                  <a:pt x="369" y="275"/>
                </a:lnTo>
                <a:lnTo>
                  <a:pt x="369" y="275"/>
                </a:lnTo>
                <a:lnTo>
                  <a:pt x="366" y="278"/>
                </a:lnTo>
                <a:lnTo>
                  <a:pt x="366" y="281"/>
                </a:lnTo>
                <a:lnTo>
                  <a:pt x="363" y="285"/>
                </a:lnTo>
                <a:lnTo>
                  <a:pt x="363" y="285"/>
                </a:lnTo>
                <a:lnTo>
                  <a:pt x="357" y="291"/>
                </a:lnTo>
                <a:lnTo>
                  <a:pt x="357" y="294"/>
                </a:lnTo>
                <a:lnTo>
                  <a:pt x="347" y="297"/>
                </a:lnTo>
                <a:lnTo>
                  <a:pt x="344" y="297"/>
                </a:lnTo>
                <a:lnTo>
                  <a:pt x="344" y="294"/>
                </a:lnTo>
                <a:lnTo>
                  <a:pt x="344" y="294"/>
                </a:lnTo>
                <a:lnTo>
                  <a:pt x="341" y="294"/>
                </a:lnTo>
                <a:lnTo>
                  <a:pt x="338" y="297"/>
                </a:lnTo>
                <a:lnTo>
                  <a:pt x="338" y="297"/>
                </a:lnTo>
                <a:lnTo>
                  <a:pt x="335" y="303"/>
                </a:lnTo>
                <a:lnTo>
                  <a:pt x="338" y="300"/>
                </a:lnTo>
                <a:lnTo>
                  <a:pt x="341" y="300"/>
                </a:lnTo>
                <a:lnTo>
                  <a:pt x="341" y="300"/>
                </a:lnTo>
                <a:lnTo>
                  <a:pt x="328" y="313"/>
                </a:lnTo>
                <a:lnTo>
                  <a:pt x="325" y="322"/>
                </a:lnTo>
                <a:lnTo>
                  <a:pt x="307" y="335"/>
                </a:lnTo>
                <a:lnTo>
                  <a:pt x="303" y="341"/>
                </a:lnTo>
                <a:lnTo>
                  <a:pt x="300" y="344"/>
                </a:lnTo>
                <a:lnTo>
                  <a:pt x="294" y="347"/>
                </a:lnTo>
                <a:lnTo>
                  <a:pt x="288" y="353"/>
                </a:lnTo>
                <a:lnTo>
                  <a:pt x="288" y="356"/>
                </a:lnTo>
                <a:lnTo>
                  <a:pt x="288" y="360"/>
                </a:lnTo>
                <a:lnTo>
                  <a:pt x="285" y="366"/>
                </a:lnTo>
                <a:lnTo>
                  <a:pt x="282" y="369"/>
                </a:lnTo>
                <a:lnTo>
                  <a:pt x="272" y="366"/>
                </a:lnTo>
                <a:lnTo>
                  <a:pt x="269" y="369"/>
                </a:lnTo>
                <a:lnTo>
                  <a:pt x="269" y="375"/>
                </a:lnTo>
                <a:lnTo>
                  <a:pt x="263" y="381"/>
                </a:lnTo>
                <a:lnTo>
                  <a:pt x="260" y="381"/>
                </a:lnTo>
                <a:lnTo>
                  <a:pt x="257" y="378"/>
                </a:lnTo>
                <a:lnTo>
                  <a:pt x="257" y="378"/>
                </a:lnTo>
                <a:lnTo>
                  <a:pt x="250" y="385"/>
                </a:lnTo>
                <a:lnTo>
                  <a:pt x="247" y="388"/>
                </a:lnTo>
                <a:lnTo>
                  <a:pt x="247" y="394"/>
                </a:lnTo>
                <a:lnTo>
                  <a:pt x="250" y="403"/>
                </a:lnTo>
                <a:lnTo>
                  <a:pt x="247" y="410"/>
                </a:lnTo>
                <a:lnTo>
                  <a:pt x="247" y="413"/>
                </a:lnTo>
                <a:lnTo>
                  <a:pt x="247" y="428"/>
                </a:lnTo>
                <a:lnTo>
                  <a:pt x="253" y="432"/>
                </a:lnTo>
                <a:lnTo>
                  <a:pt x="253" y="441"/>
                </a:lnTo>
                <a:lnTo>
                  <a:pt x="250" y="453"/>
                </a:lnTo>
                <a:lnTo>
                  <a:pt x="244" y="463"/>
                </a:lnTo>
                <a:lnTo>
                  <a:pt x="244" y="469"/>
                </a:lnTo>
                <a:lnTo>
                  <a:pt x="247" y="472"/>
                </a:lnTo>
                <a:lnTo>
                  <a:pt x="247" y="488"/>
                </a:lnTo>
                <a:lnTo>
                  <a:pt x="247" y="494"/>
                </a:lnTo>
                <a:lnTo>
                  <a:pt x="244" y="494"/>
                </a:lnTo>
                <a:lnTo>
                  <a:pt x="241" y="494"/>
                </a:lnTo>
                <a:lnTo>
                  <a:pt x="238" y="494"/>
                </a:lnTo>
                <a:lnTo>
                  <a:pt x="235" y="497"/>
                </a:lnTo>
                <a:lnTo>
                  <a:pt x="235" y="500"/>
                </a:lnTo>
                <a:lnTo>
                  <a:pt x="232" y="507"/>
                </a:lnTo>
                <a:lnTo>
                  <a:pt x="228" y="510"/>
                </a:lnTo>
                <a:lnTo>
                  <a:pt x="228" y="513"/>
                </a:lnTo>
                <a:lnTo>
                  <a:pt x="235" y="516"/>
                </a:lnTo>
                <a:lnTo>
                  <a:pt x="238" y="516"/>
                </a:lnTo>
                <a:lnTo>
                  <a:pt x="238" y="519"/>
                </a:lnTo>
                <a:lnTo>
                  <a:pt x="235" y="516"/>
                </a:lnTo>
                <a:lnTo>
                  <a:pt x="232" y="516"/>
                </a:lnTo>
                <a:lnTo>
                  <a:pt x="225" y="519"/>
                </a:lnTo>
                <a:lnTo>
                  <a:pt x="222" y="516"/>
                </a:lnTo>
                <a:lnTo>
                  <a:pt x="216" y="519"/>
                </a:lnTo>
                <a:lnTo>
                  <a:pt x="213" y="525"/>
                </a:lnTo>
                <a:lnTo>
                  <a:pt x="213" y="525"/>
                </a:lnTo>
                <a:lnTo>
                  <a:pt x="213" y="529"/>
                </a:lnTo>
                <a:lnTo>
                  <a:pt x="213" y="529"/>
                </a:lnTo>
                <a:lnTo>
                  <a:pt x="213" y="535"/>
                </a:lnTo>
                <a:lnTo>
                  <a:pt x="203" y="538"/>
                </a:lnTo>
                <a:lnTo>
                  <a:pt x="197" y="538"/>
                </a:lnTo>
                <a:lnTo>
                  <a:pt x="191" y="535"/>
                </a:lnTo>
                <a:lnTo>
                  <a:pt x="185" y="525"/>
                </a:lnTo>
                <a:lnTo>
                  <a:pt x="178" y="513"/>
                </a:lnTo>
                <a:lnTo>
                  <a:pt x="178" y="503"/>
                </a:lnTo>
                <a:lnTo>
                  <a:pt x="175" y="497"/>
                </a:lnTo>
                <a:lnTo>
                  <a:pt x="172" y="488"/>
                </a:lnTo>
                <a:lnTo>
                  <a:pt x="172" y="485"/>
                </a:lnTo>
                <a:lnTo>
                  <a:pt x="169" y="485"/>
                </a:lnTo>
                <a:lnTo>
                  <a:pt x="169" y="478"/>
                </a:lnTo>
                <a:lnTo>
                  <a:pt x="166" y="472"/>
                </a:lnTo>
                <a:lnTo>
                  <a:pt x="160" y="466"/>
                </a:lnTo>
                <a:lnTo>
                  <a:pt x="157" y="460"/>
                </a:lnTo>
                <a:lnTo>
                  <a:pt x="157" y="460"/>
                </a:lnTo>
                <a:lnTo>
                  <a:pt x="150" y="453"/>
                </a:lnTo>
                <a:lnTo>
                  <a:pt x="147" y="450"/>
                </a:lnTo>
                <a:lnTo>
                  <a:pt x="147" y="447"/>
                </a:lnTo>
                <a:lnTo>
                  <a:pt x="147" y="441"/>
                </a:lnTo>
                <a:lnTo>
                  <a:pt x="144" y="438"/>
                </a:lnTo>
                <a:lnTo>
                  <a:pt x="141" y="428"/>
                </a:lnTo>
                <a:lnTo>
                  <a:pt x="138" y="422"/>
                </a:lnTo>
                <a:lnTo>
                  <a:pt x="138" y="416"/>
                </a:lnTo>
                <a:lnTo>
                  <a:pt x="135" y="413"/>
                </a:lnTo>
                <a:lnTo>
                  <a:pt x="135" y="407"/>
                </a:lnTo>
                <a:lnTo>
                  <a:pt x="135" y="407"/>
                </a:lnTo>
                <a:lnTo>
                  <a:pt x="128" y="400"/>
                </a:lnTo>
                <a:lnTo>
                  <a:pt x="128" y="397"/>
                </a:lnTo>
                <a:lnTo>
                  <a:pt x="128" y="397"/>
                </a:lnTo>
                <a:lnTo>
                  <a:pt x="122" y="391"/>
                </a:lnTo>
                <a:lnTo>
                  <a:pt x="122" y="388"/>
                </a:lnTo>
                <a:lnTo>
                  <a:pt x="119" y="385"/>
                </a:lnTo>
                <a:lnTo>
                  <a:pt x="119" y="381"/>
                </a:lnTo>
                <a:lnTo>
                  <a:pt x="116" y="378"/>
                </a:lnTo>
                <a:lnTo>
                  <a:pt x="113" y="369"/>
                </a:lnTo>
                <a:lnTo>
                  <a:pt x="113" y="360"/>
                </a:lnTo>
                <a:lnTo>
                  <a:pt x="103" y="341"/>
                </a:lnTo>
                <a:lnTo>
                  <a:pt x="103" y="338"/>
                </a:lnTo>
                <a:lnTo>
                  <a:pt x="100" y="331"/>
                </a:lnTo>
                <a:lnTo>
                  <a:pt x="103" y="331"/>
                </a:lnTo>
                <a:lnTo>
                  <a:pt x="97" y="322"/>
                </a:lnTo>
                <a:lnTo>
                  <a:pt x="97" y="319"/>
                </a:lnTo>
                <a:lnTo>
                  <a:pt x="100" y="319"/>
                </a:lnTo>
                <a:lnTo>
                  <a:pt x="100" y="316"/>
                </a:lnTo>
                <a:lnTo>
                  <a:pt x="97" y="313"/>
                </a:lnTo>
                <a:lnTo>
                  <a:pt x="94" y="300"/>
                </a:lnTo>
                <a:lnTo>
                  <a:pt x="91" y="294"/>
                </a:lnTo>
                <a:lnTo>
                  <a:pt x="94" y="294"/>
                </a:lnTo>
                <a:lnTo>
                  <a:pt x="91" y="291"/>
                </a:lnTo>
                <a:lnTo>
                  <a:pt x="91" y="288"/>
                </a:lnTo>
                <a:lnTo>
                  <a:pt x="94" y="285"/>
                </a:lnTo>
                <a:lnTo>
                  <a:pt x="94" y="278"/>
                </a:lnTo>
                <a:lnTo>
                  <a:pt x="91" y="272"/>
                </a:lnTo>
                <a:lnTo>
                  <a:pt x="91" y="272"/>
                </a:lnTo>
                <a:lnTo>
                  <a:pt x="88" y="263"/>
                </a:lnTo>
                <a:lnTo>
                  <a:pt x="91" y="259"/>
                </a:lnTo>
                <a:lnTo>
                  <a:pt x="94" y="256"/>
                </a:lnTo>
                <a:lnTo>
                  <a:pt x="97" y="256"/>
                </a:lnTo>
                <a:lnTo>
                  <a:pt x="94" y="256"/>
                </a:lnTo>
                <a:lnTo>
                  <a:pt x="88" y="256"/>
                </a:lnTo>
                <a:lnTo>
                  <a:pt x="88" y="256"/>
                </a:lnTo>
                <a:lnTo>
                  <a:pt x="88" y="253"/>
                </a:lnTo>
                <a:lnTo>
                  <a:pt x="85" y="250"/>
                </a:lnTo>
                <a:lnTo>
                  <a:pt x="85" y="247"/>
                </a:lnTo>
                <a:lnTo>
                  <a:pt x="88" y="244"/>
                </a:lnTo>
                <a:lnTo>
                  <a:pt x="88" y="244"/>
                </a:lnTo>
                <a:lnTo>
                  <a:pt x="94" y="241"/>
                </a:lnTo>
                <a:lnTo>
                  <a:pt x="94" y="241"/>
                </a:lnTo>
                <a:lnTo>
                  <a:pt x="91" y="241"/>
                </a:lnTo>
                <a:lnTo>
                  <a:pt x="88" y="241"/>
                </a:lnTo>
                <a:lnTo>
                  <a:pt x="85" y="241"/>
                </a:lnTo>
                <a:lnTo>
                  <a:pt x="82" y="238"/>
                </a:lnTo>
                <a:lnTo>
                  <a:pt x="82" y="241"/>
                </a:lnTo>
                <a:lnTo>
                  <a:pt x="82" y="244"/>
                </a:lnTo>
                <a:lnTo>
                  <a:pt x="78" y="253"/>
                </a:lnTo>
                <a:lnTo>
                  <a:pt x="82" y="256"/>
                </a:lnTo>
                <a:lnTo>
                  <a:pt x="82" y="263"/>
                </a:lnTo>
                <a:lnTo>
                  <a:pt x="78" y="266"/>
                </a:lnTo>
                <a:lnTo>
                  <a:pt x="78" y="269"/>
                </a:lnTo>
                <a:lnTo>
                  <a:pt x="72" y="272"/>
                </a:lnTo>
                <a:lnTo>
                  <a:pt x="60" y="278"/>
                </a:lnTo>
                <a:lnTo>
                  <a:pt x="57" y="278"/>
                </a:lnTo>
                <a:lnTo>
                  <a:pt x="50" y="278"/>
                </a:lnTo>
                <a:lnTo>
                  <a:pt x="35" y="266"/>
                </a:lnTo>
                <a:lnTo>
                  <a:pt x="28" y="256"/>
                </a:lnTo>
                <a:lnTo>
                  <a:pt x="28" y="256"/>
                </a:lnTo>
                <a:lnTo>
                  <a:pt x="25" y="256"/>
                </a:lnTo>
                <a:lnTo>
                  <a:pt x="22" y="253"/>
                </a:lnTo>
                <a:lnTo>
                  <a:pt x="16" y="247"/>
                </a:lnTo>
                <a:lnTo>
                  <a:pt x="13" y="244"/>
                </a:lnTo>
                <a:lnTo>
                  <a:pt x="16" y="241"/>
                </a:lnTo>
                <a:lnTo>
                  <a:pt x="16" y="241"/>
                </a:lnTo>
                <a:lnTo>
                  <a:pt x="19" y="241"/>
                </a:lnTo>
                <a:lnTo>
                  <a:pt x="19" y="241"/>
                </a:lnTo>
                <a:lnTo>
                  <a:pt x="19" y="247"/>
                </a:lnTo>
                <a:lnTo>
                  <a:pt x="22" y="247"/>
                </a:lnTo>
                <a:lnTo>
                  <a:pt x="25" y="244"/>
                </a:lnTo>
                <a:lnTo>
                  <a:pt x="25" y="244"/>
                </a:lnTo>
                <a:lnTo>
                  <a:pt x="28" y="247"/>
                </a:lnTo>
                <a:lnTo>
                  <a:pt x="28" y="244"/>
                </a:lnTo>
                <a:lnTo>
                  <a:pt x="38" y="238"/>
                </a:lnTo>
                <a:lnTo>
                  <a:pt x="41" y="238"/>
                </a:lnTo>
                <a:lnTo>
                  <a:pt x="44" y="231"/>
                </a:lnTo>
                <a:lnTo>
                  <a:pt x="44" y="231"/>
                </a:lnTo>
                <a:lnTo>
                  <a:pt x="47" y="228"/>
                </a:lnTo>
                <a:lnTo>
                  <a:pt x="41" y="228"/>
                </a:lnTo>
                <a:lnTo>
                  <a:pt x="41" y="228"/>
                </a:lnTo>
                <a:lnTo>
                  <a:pt x="41" y="228"/>
                </a:lnTo>
                <a:lnTo>
                  <a:pt x="41" y="231"/>
                </a:lnTo>
                <a:lnTo>
                  <a:pt x="32" y="234"/>
                </a:lnTo>
                <a:lnTo>
                  <a:pt x="28" y="234"/>
                </a:lnTo>
                <a:lnTo>
                  <a:pt x="25" y="234"/>
                </a:lnTo>
                <a:lnTo>
                  <a:pt x="13" y="231"/>
                </a:lnTo>
                <a:lnTo>
                  <a:pt x="7" y="225"/>
                </a:lnTo>
                <a:lnTo>
                  <a:pt x="3" y="222"/>
                </a:lnTo>
                <a:lnTo>
                  <a:pt x="3" y="219"/>
                </a:lnTo>
                <a:lnTo>
                  <a:pt x="7" y="213"/>
                </a:lnTo>
                <a:lnTo>
                  <a:pt x="13" y="213"/>
                </a:lnTo>
                <a:lnTo>
                  <a:pt x="7" y="213"/>
                </a:lnTo>
                <a:lnTo>
                  <a:pt x="0" y="216"/>
                </a:lnTo>
                <a:lnTo>
                  <a:pt x="0" y="209"/>
                </a:lnTo>
                <a:lnTo>
                  <a:pt x="3" y="209"/>
                </a:lnTo>
                <a:lnTo>
                  <a:pt x="7" y="206"/>
                </a:lnTo>
                <a:lnTo>
                  <a:pt x="10" y="203"/>
                </a:lnTo>
                <a:lnTo>
                  <a:pt x="13" y="203"/>
                </a:lnTo>
                <a:lnTo>
                  <a:pt x="16" y="200"/>
                </a:lnTo>
                <a:lnTo>
                  <a:pt x="28" y="203"/>
                </a:lnTo>
                <a:lnTo>
                  <a:pt x="38" y="200"/>
                </a:lnTo>
                <a:lnTo>
                  <a:pt x="38" y="197"/>
                </a:lnTo>
                <a:lnTo>
                  <a:pt x="44" y="197"/>
                </a:lnTo>
                <a:lnTo>
                  <a:pt x="41" y="200"/>
                </a:lnTo>
                <a:lnTo>
                  <a:pt x="44" y="200"/>
                </a:lnTo>
                <a:lnTo>
                  <a:pt x="47" y="200"/>
                </a:lnTo>
                <a:lnTo>
                  <a:pt x="50" y="197"/>
                </a:lnTo>
                <a:lnTo>
                  <a:pt x="50" y="197"/>
                </a:lnTo>
                <a:lnTo>
                  <a:pt x="50" y="194"/>
                </a:lnTo>
                <a:lnTo>
                  <a:pt x="47" y="181"/>
                </a:lnTo>
                <a:lnTo>
                  <a:pt x="41" y="175"/>
                </a:lnTo>
                <a:lnTo>
                  <a:pt x="44" y="172"/>
                </a:lnTo>
                <a:lnTo>
                  <a:pt x="41" y="169"/>
                </a:lnTo>
                <a:lnTo>
                  <a:pt x="38" y="172"/>
                </a:lnTo>
                <a:lnTo>
                  <a:pt x="32" y="166"/>
                </a:lnTo>
                <a:lnTo>
                  <a:pt x="28" y="159"/>
                </a:lnTo>
                <a:lnTo>
                  <a:pt x="28" y="153"/>
                </a:lnTo>
                <a:lnTo>
                  <a:pt x="25" y="147"/>
                </a:lnTo>
                <a:lnTo>
                  <a:pt x="22" y="147"/>
                </a:lnTo>
                <a:lnTo>
                  <a:pt x="22" y="150"/>
                </a:lnTo>
                <a:lnTo>
                  <a:pt x="16" y="147"/>
                </a:lnTo>
                <a:lnTo>
                  <a:pt x="13" y="147"/>
                </a:lnTo>
                <a:lnTo>
                  <a:pt x="13" y="144"/>
                </a:lnTo>
                <a:lnTo>
                  <a:pt x="16" y="134"/>
                </a:lnTo>
                <a:lnTo>
                  <a:pt x="19" y="134"/>
                </a:lnTo>
                <a:lnTo>
                  <a:pt x="25" y="125"/>
                </a:lnTo>
                <a:lnTo>
                  <a:pt x="25" y="122"/>
                </a:lnTo>
                <a:lnTo>
                  <a:pt x="28" y="122"/>
                </a:lnTo>
                <a:lnTo>
                  <a:pt x="32" y="119"/>
                </a:lnTo>
                <a:lnTo>
                  <a:pt x="35" y="122"/>
                </a:lnTo>
                <a:lnTo>
                  <a:pt x="38" y="125"/>
                </a:lnTo>
                <a:lnTo>
                  <a:pt x="38" y="125"/>
                </a:lnTo>
                <a:lnTo>
                  <a:pt x="47" y="122"/>
                </a:lnTo>
                <a:lnTo>
                  <a:pt x="57" y="122"/>
                </a:lnTo>
                <a:lnTo>
                  <a:pt x="63" y="116"/>
                </a:lnTo>
                <a:lnTo>
                  <a:pt x="66" y="103"/>
                </a:lnTo>
                <a:lnTo>
                  <a:pt x="75" y="97"/>
                </a:lnTo>
                <a:lnTo>
                  <a:pt x="78" y="91"/>
                </a:lnTo>
                <a:lnTo>
                  <a:pt x="78" y="84"/>
                </a:lnTo>
                <a:lnTo>
                  <a:pt x="85" y="78"/>
                </a:lnTo>
                <a:lnTo>
                  <a:pt x="91" y="75"/>
                </a:lnTo>
                <a:lnTo>
                  <a:pt x="91" y="72"/>
                </a:lnTo>
                <a:lnTo>
                  <a:pt x="91" y="69"/>
                </a:lnTo>
                <a:lnTo>
                  <a:pt x="91" y="66"/>
                </a:lnTo>
                <a:lnTo>
                  <a:pt x="94" y="59"/>
                </a:lnTo>
                <a:lnTo>
                  <a:pt x="97" y="56"/>
                </a:lnTo>
                <a:lnTo>
                  <a:pt x="97" y="53"/>
                </a:lnTo>
                <a:lnTo>
                  <a:pt x="100" y="44"/>
                </a:lnTo>
                <a:lnTo>
                  <a:pt x="97" y="34"/>
                </a:lnTo>
                <a:lnTo>
                  <a:pt x="97" y="34"/>
                </a:lnTo>
                <a:lnTo>
                  <a:pt x="103" y="28"/>
                </a:lnTo>
                <a:lnTo>
                  <a:pt x="107" y="28"/>
                </a:lnTo>
                <a:lnTo>
                  <a:pt x="110" y="25"/>
                </a:lnTo>
                <a:lnTo>
                  <a:pt x="113" y="25"/>
                </a:lnTo>
                <a:lnTo>
                  <a:pt x="119" y="19"/>
                </a:lnTo>
                <a:lnTo>
                  <a:pt x="122" y="9"/>
                </a:lnTo>
                <a:lnTo>
                  <a:pt x="128" y="3"/>
                </a:lnTo>
                <a:lnTo>
                  <a:pt x="135" y="3"/>
                </a:lnTo>
                <a:lnTo>
                  <a:pt x="138" y="0"/>
                </a:lnTo>
                <a:lnTo>
                  <a:pt x="141" y="0"/>
                </a:lnTo>
                <a:lnTo>
                  <a:pt x="150" y="6"/>
                </a:lnTo>
                <a:lnTo>
                  <a:pt x="157" y="3"/>
                </a:lnTo>
                <a:lnTo>
                  <a:pt x="163" y="6"/>
                </a:lnTo>
                <a:lnTo>
                  <a:pt x="166" y="12"/>
                </a:lnTo>
                <a:lnTo>
                  <a:pt x="169" y="9"/>
                </a:lnTo>
                <a:lnTo>
                  <a:pt x="178" y="15"/>
                </a:lnTo>
                <a:lnTo>
                  <a:pt x="178" y="15"/>
                </a:lnTo>
                <a:lnTo>
                  <a:pt x="178" y="15"/>
                </a:lnTo>
                <a:close/>
                <a:moveTo>
                  <a:pt x="400" y="253"/>
                </a:moveTo>
                <a:lnTo>
                  <a:pt x="400" y="256"/>
                </a:lnTo>
                <a:lnTo>
                  <a:pt x="400" y="256"/>
                </a:lnTo>
                <a:lnTo>
                  <a:pt x="400" y="253"/>
                </a:lnTo>
                <a:lnTo>
                  <a:pt x="400" y="253"/>
                </a:lnTo>
                <a:close/>
                <a:moveTo>
                  <a:pt x="397" y="253"/>
                </a:moveTo>
                <a:lnTo>
                  <a:pt x="397" y="253"/>
                </a:lnTo>
                <a:lnTo>
                  <a:pt x="397" y="256"/>
                </a:lnTo>
                <a:lnTo>
                  <a:pt x="397" y="256"/>
                </a:lnTo>
                <a:lnTo>
                  <a:pt x="397" y="253"/>
                </a:lnTo>
                <a:lnTo>
                  <a:pt x="397" y="253"/>
                </a:lnTo>
                <a:lnTo>
                  <a:pt x="397" y="253"/>
                </a:lnTo>
                <a:close/>
                <a:moveTo>
                  <a:pt x="394" y="253"/>
                </a:moveTo>
                <a:lnTo>
                  <a:pt x="394" y="256"/>
                </a:lnTo>
                <a:lnTo>
                  <a:pt x="394" y="259"/>
                </a:lnTo>
                <a:lnTo>
                  <a:pt x="394" y="256"/>
                </a:lnTo>
                <a:lnTo>
                  <a:pt x="394" y="253"/>
                </a:lnTo>
                <a:lnTo>
                  <a:pt x="394" y="253"/>
                </a:lnTo>
                <a:close/>
                <a:moveTo>
                  <a:pt x="388" y="253"/>
                </a:moveTo>
                <a:lnTo>
                  <a:pt x="388" y="256"/>
                </a:lnTo>
                <a:lnTo>
                  <a:pt x="388" y="256"/>
                </a:lnTo>
                <a:lnTo>
                  <a:pt x="391" y="250"/>
                </a:lnTo>
                <a:lnTo>
                  <a:pt x="391" y="250"/>
                </a:lnTo>
                <a:lnTo>
                  <a:pt x="388" y="253"/>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8" name="Freeform 36">
            <a:extLst>
              <a:ext uri="{FF2B5EF4-FFF2-40B4-BE49-F238E27FC236}">
                <a16:creationId xmlns:a16="http://schemas.microsoft.com/office/drawing/2014/main" id="{81877DC8-D975-B54F-5496-4F957CEBC3AC}"/>
              </a:ext>
            </a:extLst>
          </p:cNvPr>
          <p:cNvSpPr>
            <a:spLocks noEditPoints="1"/>
          </p:cNvSpPr>
          <p:nvPr userDrawn="1"/>
        </p:nvSpPr>
        <p:spPr bwMode="auto">
          <a:xfrm>
            <a:off x="18588411" y="7619283"/>
            <a:ext cx="317481" cy="415926"/>
          </a:xfrm>
          <a:custGeom>
            <a:avLst/>
            <a:gdLst>
              <a:gd name="T0" fmla="*/ 31 w 32"/>
              <a:gd name="T1" fmla="*/ 37 h 42"/>
              <a:gd name="T2" fmla="*/ 29 w 32"/>
              <a:gd name="T3" fmla="*/ 39 h 42"/>
              <a:gd name="T4" fmla="*/ 29 w 32"/>
              <a:gd name="T5" fmla="*/ 42 h 42"/>
              <a:gd name="T6" fmla="*/ 27 w 32"/>
              <a:gd name="T7" fmla="*/ 38 h 42"/>
              <a:gd name="T8" fmla="*/ 27 w 32"/>
              <a:gd name="T9" fmla="*/ 35 h 42"/>
              <a:gd name="T10" fmla="*/ 26 w 32"/>
              <a:gd name="T11" fmla="*/ 36 h 42"/>
              <a:gd name="T12" fmla="*/ 26 w 32"/>
              <a:gd name="T13" fmla="*/ 33 h 42"/>
              <a:gd name="T14" fmla="*/ 23 w 32"/>
              <a:gd name="T15" fmla="*/ 27 h 42"/>
              <a:gd name="T16" fmla="*/ 22 w 32"/>
              <a:gd name="T17" fmla="*/ 27 h 42"/>
              <a:gd name="T18" fmla="*/ 19 w 32"/>
              <a:gd name="T19" fmla="*/ 26 h 42"/>
              <a:gd name="T20" fmla="*/ 16 w 32"/>
              <a:gd name="T21" fmla="*/ 24 h 42"/>
              <a:gd name="T22" fmla="*/ 17 w 32"/>
              <a:gd name="T23" fmla="*/ 28 h 42"/>
              <a:gd name="T24" fmla="*/ 18 w 32"/>
              <a:gd name="T25" fmla="*/ 30 h 42"/>
              <a:gd name="T26" fmla="*/ 15 w 32"/>
              <a:gd name="T27" fmla="*/ 34 h 42"/>
              <a:gd name="T28" fmla="*/ 15 w 32"/>
              <a:gd name="T29" fmla="*/ 32 h 42"/>
              <a:gd name="T30" fmla="*/ 14 w 32"/>
              <a:gd name="T31" fmla="*/ 33 h 42"/>
              <a:gd name="T32" fmla="*/ 14 w 32"/>
              <a:gd name="T33" fmla="*/ 29 h 42"/>
              <a:gd name="T34" fmla="*/ 13 w 32"/>
              <a:gd name="T35" fmla="*/ 30 h 42"/>
              <a:gd name="T36" fmla="*/ 13 w 32"/>
              <a:gd name="T37" fmla="*/ 33 h 42"/>
              <a:gd name="T38" fmla="*/ 13 w 32"/>
              <a:gd name="T39" fmla="*/ 34 h 42"/>
              <a:gd name="T40" fmla="*/ 11 w 32"/>
              <a:gd name="T41" fmla="*/ 35 h 42"/>
              <a:gd name="T42" fmla="*/ 9 w 32"/>
              <a:gd name="T43" fmla="*/ 33 h 42"/>
              <a:gd name="T44" fmla="*/ 8 w 32"/>
              <a:gd name="T45" fmla="*/ 30 h 42"/>
              <a:gd name="T46" fmla="*/ 6 w 32"/>
              <a:gd name="T47" fmla="*/ 24 h 42"/>
              <a:gd name="T48" fmla="*/ 6 w 32"/>
              <a:gd name="T49" fmla="*/ 19 h 42"/>
              <a:gd name="T50" fmla="*/ 1 w 32"/>
              <a:gd name="T51" fmla="*/ 15 h 42"/>
              <a:gd name="T52" fmla="*/ 3 w 32"/>
              <a:gd name="T53" fmla="*/ 11 h 42"/>
              <a:gd name="T54" fmla="*/ 5 w 32"/>
              <a:gd name="T55" fmla="*/ 10 h 42"/>
              <a:gd name="T56" fmla="*/ 4 w 32"/>
              <a:gd name="T57" fmla="*/ 7 h 42"/>
              <a:gd name="T58" fmla="*/ 0 w 32"/>
              <a:gd name="T59" fmla="*/ 5 h 42"/>
              <a:gd name="T60" fmla="*/ 1 w 32"/>
              <a:gd name="T61" fmla="*/ 1 h 42"/>
              <a:gd name="T62" fmla="*/ 2 w 32"/>
              <a:gd name="T63" fmla="*/ 0 h 42"/>
              <a:gd name="T64" fmla="*/ 3 w 32"/>
              <a:gd name="T65" fmla="*/ 2 h 42"/>
              <a:gd name="T66" fmla="*/ 6 w 32"/>
              <a:gd name="T67" fmla="*/ 3 h 42"/>
              <a:gd name="T68" fmla="*/ 6 w 32"/>
              <a:gd name="T69" fmla="*/ 2 h 42"/>
              <a:gd name="T70" fmla="*/ 9 w 32"/>
              <a:gd name="T71" fmla="*/ 4 h 42"/>
              <a:gd name="T72" fmla="*/ 10 w 32"/>
              <a:gd name="T73" fmla="*/ 5 h 42"/>
              <a:gd name="T74" fmla="*/ 11 w 32"/>
              <a:gd name="T75" fmla="*/ 8 h 42"/>
              <a:gd name="T76" fmla="*/ 13 w 32"/>
              <a:gd name="T77" fmla="*/ 9 h 42"/>
              <a:gd name="T78" fmla="*/ 19 w 32"/>
              <a:gd name="T79" fmla="*/ 10 h 42"/>
              <a:gd name="T80" fmla="*/ 24 w 32"/>
              <a:gd name="T81" fmla="*/ 10 h 42"/>
              <a:gd name="T82" fmla="*/ 26 w 32"/>
              <a:gd name="T83" fmla="*/ 11 h 42"/>
              <a:gd name="T84" fmla="*/ 26 w 32"/>
              <a:gd name="T85" fmla="*/ 14 h 42"/>
              <a:gd name="T86" fmla="*/ 24 w 32"/>
              <a:gd name="T87" fmla="*/ 18 h 42"/>
              <a:gd name="T88" fmla="*/ 23 w 32"/>
              <a:gd name="T89" fmla="*/ 18 h 42"/>
              <a:gd name="T90" fmla="*/ 21 w 32"/>
              <a:gd name="T91" fmla="*/ 20 h 42"/>
              <a:gd name="T92" fmla="*/ 22 w 32"/>
              <a:gd name="T93" fmla="*/ 23 h 42"/>
              <a:gd name="T94" fmla="*/ 24 w 32"/>
              <a:gd name="T95" fmla="*/ 26 h 42"/>
              <a:gd name="T96" fmla="*/ 25 w 32"/>
              <a:gd name="T97" fmla="*/ 24 h 42"/>
              <a:gd name="T98" fmla="*/ 26 w 32"/>
              <a:gd name="T99" fmla="*/ 22 h 42"/>
              <a:gd name="T100" fmla="*/ 27 w 32"/>
              <a:gd name="T101" fmla="*/ 22 h 42"/>
              <a:gd name="T102" fmla="*/ 29 w 32"/>
              <a:gd name="T103" fmla="*/ 23 h 42"/>
              <a:gd name="T104" fmla="*/ 29 w 32"/>
              <a:gd name="T105" fmla="*/ 27 h 42"/>
              <a:gd name="T106" fmla="*/ 31 w 32"/>
              <a:gd name="T107" fmla="*/ 32 h 42"/>
              <a:gd name="T108" fmla="*/ 31 w 32"/>
              <a:gd name="T109" fmla="*/ 34 h 42"/>
              <a:gd name="T110" fmla="*/ 23 w 32"/>
              <a:gd name="T111" fmla="*/ 29 h 42"/>
              <a:gd name="T112" fmla="*/ 23 w 32"/>
              <a:gd name="T113" fmla="*/ 30 h 42"/>
              <a:gd name="T114" fmla="*/ 21 w 32"/>
              <a:gd name="T115" fmla="*/ 30 h 42"/>
              <a:gd name="T116" fmla="*/ 22 w 32"/>
              <a:gd name="T117" fmla="*/ 30 h 42"/>
              <a:gd name="T118" fmla="*/ 20 w 32"/>
              <a:gd name="T119" fmla="*/ 29 h 42"/>
              <a:gd name="T120" fmla="*/ 18 w 32"/>
              <a:gd name="T121" fmla="*/ 29 h 42"/>
              <a:gd name="T122" fmla="*/ 19 w 32"/>
              <a:gd name="T123" fmla="*/ 2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 h="42">
                <a:moveTo>
                  <a:pt x="32" y="34"/>
                </a:moveTo>
                <a:cubicBezTo>
                  <a:pt x="32" y="36"/>
                  <a:pt x="32" y="36"/>
                  <a:pt x="32" y="36"/>
                </a:cubicBezTo>
                <a:cubicBezTo>
                  <a:pt x="31" y="37"/>
                  <a:pt x="31" y="37"/>
                  <a:pt x="31" y="37"/>
                </a:cubicBezTo>
                <a:cubicBezTo>
                  <a:pt x="30" y="37"/>
                  <a:pt x="30" y="37"/>
                  <a:pt x="30" y="37"/>
                </a:cubicBezTo>
                <a:cubicBezTo>
                  <a:pt x="29" y="38"/>
                  <a:pt x="29" y="38"/>
                  <a:pt x="29" y="38"/>
                </a:cubicBezTo>
                <a:cubicBezTo>
                  <a:pt x="29" y="39"/>
                  <a:pt x="29" y="39"/>
                  <a:pt x="29" y="39"/>
                </a:cubicBezTo>
                <a:cubicBezTo>
                  <a:pt x="29" y="40"/>
                  <a:pt x="29" y="40"/>
                  <a:pt x="29" y="40"/>
                </a:cubicBezTo>
                <a:cubicBezTo>
                  <a:pt x="29" y="40"/>
                  <a:pt x="29" y="40"/>
                  <a:pt x="29" y="40"/>
                </a:cubicBezTo>
                <a:cubicBezTo>
                  <a:pt x="29" y="42"/>
                  <a:pt x="29" y="42"/>
                  <a:pt x="29" y="42"/>
                </a:cubicBezTo>
                <a:cubicBezTo>
                  <a:pt x="29" y="42"/>
                  <a:pt x="29" y="42"/>
                  <a:pt x="29" y="42"/>
                </a:cubicBezTo>
                <a:cubicBezTo>
                  <a:pt x="28" y="39"/>
                  <a:pt x="28" y="39"/>
                  <a:pt x="28" y="39"/>
                </a:cubicBezTo>
                <a:cubicBezTo>
                  <a:pt x="27" y="38"/>
                  <a:pt x="27" y="38"/>
                  <a:pt x="27" y="38"/>
                </a:cubicBezTo>
                <a:cubicBezTo>
                  <a:pt x="27" y="37"/>
                  <a:pt x="27" y="37"/>
                  <a:pt x="27" y="37"/>
                </a:cubicBezTo>
                <a:cubicBezTo>
                  <a:pt x="27" y="36"/>
                  <a:pt x="27" y="36"/>
                  <a:pt x="27" y="36"/>
                </a:cubicBezTo>
                <a:cubicBezTo>
                  <a:pt x="27" y="35"/>
                  <a:pt x="27" y="35"/>
                  <a:pt x="27" y="35"/>
                </a:cubicBezTo>
                <a:cubicBezTo>
                  <a:pt x="27" y="36"/>
                  <a:pt x="27" y="36"/>
                  <a:pt x="27" y="36"/>
                </a:cubicBezTo>
                <a:cubicBezTo>
                  <a:pt x="26" y="37"/>
                  <a:pt x="26" y="37"/>
                  <a:pt x="26" y="37"/>
                </a:cubicBezTo>
                <a:cubicBezTo>
                  <a:pt x="26" y="36"/>
                  <a:pt x="26" y="36"/>
                  <a:pt x="26" y="36"/>
                </a:cubicBezTo>
                <a:cubicBezTo>
                  <a:pt x="26" y="34"/>
                  <a:pt x="26" y="34"/>
                  <a:pt x="26" y="34"/>
                </a:cubicBezTo>
                <a:cubicBezTo>
                  <a:pt x="26" y="34"/>
                  <a:pt x="26" y="34"/>
                  <a:pt x="26" y="34"/>
                </a:cubicBezTo>
                <a:cubicBezTo>
                  <a:pt x="26" y="33"/>
                  <a:pt x="26" y="33"/>
                  <a:pt x="26" y="33"/>
                </a:cubicBezTo>
                <a:cubicBezTo>
                  <a:pt x="26" y="32"/>
                  <a:pt x="26" y="32"/>
                  <a:pt x="26" y="32"/>
                </a:cubicBezTo>
                <a:cubicBezTo>
                  <a:pt x="25" y="31"/>
                  <a:pt x="25" y="31"/>
                  <a:pt x="25" y="31"/>
                </a:cubicBezTo>
                <a:cubicBezTo>
                  <a:pt x="23" y="27"/>
                  <a:pt x="23" y="27"/>
                  <a:pt x="23" y="27"/>
                </a:cubicBezTo>
                <a:cubicBezTo>
                  <a:pt x="23" y="27"/>
                  <a:pt x="23" y="27"/>
                  <a:pt x="23" y="27"/>
                </a:cubicBezTo>
                <a:cubicBezTo>
                  <a:pt x="23" y="27"/>
                  <a:pt x="23" y="27"/>
                  <a:pt x="23" y="27"/>
                </a:cubicBezTo>
                <a:cubicBezTo>
                  <a:pt x="22" y="27"/>
                  <a:pt x="22" y="27"/>
                  <a:pt x="22" y="27"/>
                </a:cubicBezTo>
                <a:cubicBezTo>
                  <a:pt x="21" y="28"/>
                  <a:pt x="21" y="28"/>
                  <a:pt x="21" y="28"/>
                </a:cubicBezTo>
                <a:cubicBezTo>
                  <a:pt x="19" y="27"/>
                  <a:pt x="19" y="27"/>
                  <a:pt x="19" y="27"/>
                </a:cubicBezTo>
                <a:cubicBezTo>
                  <a:pt x="19" y="26"/>
                  <a:pt x="19" y="26"/>
                  <a:pt x="19" y="26"/>
                </a:cubicBezTo>
                <a:cubicBezTo>
                  <a:pt x="18" y="26"/>
                  <a:pt x="18" y="26"/>
                  <a:pt x="18" y="26"/>
                </a:cubicBezTo>
                <a:cubicBezTo>
                  <a:pt x="17" y="25"/>
                  <a:pt x="17" y="25"/>
                  <a:pt x="17" y="25"/>
                </a:cubicBezTo>
                <a:cubicBezTo>
                  <a:pt x="16" y="24"/>
                  <a:pt x="16" y="24"/>
                  <a:pt x="16" y="24"/>
                </a:cubicBezTo>
                <a:cubicBezTo>
                  <a:pt x="17" y="26"/>
                  <a:pt x="17" y="26"/>
                  <a:pt x="17" y="26"/>
                </a:cubicBezTo>
                <a:cubicBezTo>
                  <a:pt x="17" y="27"/>
                  <a:pt x="17" y="27"/>
                  <a:pt x="17" y="27"/>
                </a:cubicBezTo>
                <a:cubicBezTo>
                  <a:pt x="17" y="28"/>
                  <a:pt x="17" y="28"/>
                  <a:pt x="17" y="28"/>
                </a:cubicBezTo>
                <a:cubicBezTo>
                  <a:pt x="16" y="28"/>
                  <a:pt x="16" y="28"/>
                  <a:pt x="16" y="28"/>
                </a:cubicBezTo>
                <a:cubicBezTo>
                  <a:pt x="17" y="28"/>
                  <a:pt x="17" y="28"/>
                  <a:pt x="17" y="28"/>
                </a:cubicBezTo>
                <a:cubicBezTo>
                  <a:pt x="18" y="30"/>
                  <a:pt x="18" y="30"/>
                  <a:pt x="18" y="30"/>
                </a:cubicBezTo>
                <a:cubicBezTo>
                  <a:pt x="17" y="32"/>
                  <a:pt x="17" y="32"/>
                  <a:pt x="17" y="32"/>
                </a:cubicBezTo>
                <a:cubicBezTo>
                  <a:pt x="16" y="32"/>
                  <a:pt x="16" y="32"/>
                  <a:pt x="16" y="32"/>
                </a:cubicBezTo>
                <a:cubicBezTo>
                  <a:pt x="15" y="34"/>
                  <a:pt x="15" y="34"/>
                  <a:pt x="15" y="34"/>
                </a:cubicBezTo>
                <a:cubicBezTo>
                  <a:pt x="14" y="33"/>
                  <a:pt x="14" y="33"/>
                  <a:pt x="14" y="33"/>
                </a:cubicBezTo>
                <a:cubicBezTo>
                  <a:pt x="15" y="32"/>
                  <a:pt x="15" y="32"/>
                  <a:pt x="15" y="32"/>
                </a:cubicBezTo>
                <a:cubicBezTo>
                  <a:pt x="15" y="32"/>
                  <a:pt x="15" y="32"/>
                  <a:pt x="15" y="32"/>
                </a:cubicBezTo>
                <a:cubicBezTo>
                  <a:pt x="16" y="31"/>
                  <a:pt x="16" y="31"/>
                  <a:pt x="16" y="31"/>
                </a:cubicBezTo>
                <a:cubicBezTo>
                  <a:pt x="15" y="32"/>
                  <a:pt x="15" y="32"/>
                  <a:pt x="15" y="32"/>
                </a:cubicBezTo>
                <a:cubicBezTo>
                  <a:pt x="14" y="33"/>
                  <a:pt x="14" y="33"/>
                  <a:pt x="14" y="33"/>
                </a:cubicBezTo>
                <a:cubicBezTo>
                  <a:pt x="13" y="32"/>
                  <a:pt x="13" y="32"/>
                  <a:pt x="13" y="32"/>
                </a:cubicBezTo>
                <a:cubicBezTo>
                  <a:pt x="14" y="30"/>
                  <a:pt x="14" y="30"/>
                  <a:pt x="14" y="30"/>
                </a:cubicBezTo>
                <a:cubicBezTo>
                  <a:pt x="14" y="29"/>
                  <a:pt x="14" y="29"/>
                  <a:pt x="14" y="29"/>
                </a:cubicBezTo>
                <a:cubicBezTo>
                  <a:pt x="13" y="29"/>
                  <a:pt x="13" y="29"/>
                  <a:pt x="13" y="29"/>
                </a:cubicBezTo>
                <a:cubicBezTo>
                  <a:pt x="14" y="29"/>
                  <a:pt x="14" y="29"/>
                  <a:pt x="14" y="29"/>
                </a:cubicBezTo>
                <a:cubicBezTo>
                  <a:pt x="13" y="30"/>
                  <a:pt x="13" y="30"/>
                  <a:pt x="13" y="30"/>
                </a:cubicBezTo>
                <a:cubicBezTo>
                  <a:pt x="13" y="31"/>
                  <a:pt x="13" y="31"/>
                  <a:pt x="13" y="31"/>
                </a:cubicBezTo>
                <a:cubicBezTo>
                  <a:pt x="13" y="32"/>
                  <a:pt x="13" y="32"/>
                  <a:pt x="13" y="32"/>
                </a:cubicBezTo>
                <a:cubicBezTo>
                  <a:pt x="13" y="33"/>
                  <a:pt x="13" y="33"/>
                  <a:pt x="13" y="33"/>
                </a:cubicBezTo>
                <a:cubicBezTo>
                  <a:pt x="13" y="34"/>
                  <a:pt x="13" y="34"/>
                  <a:pt x="13" y="34"/>
                </a:cubicBezTo>
                <a:cubicBezTo>
                  <a:pt x="13" y="34"/>
                  <a:pt x="13" y="34"/>
                  <a:pt x="13" y="34"/>
                </a:cubicBezTo>
                <a:cubicBezTo>
                  <a:pt x="13" y="34"/>
                  <a:pt x="13" y="34"/>
                  <a:pt x="13" y="34"/>
                </a:cubicBezTo>
                <a:cubicBezTo>
                  <a:pt x="12" y="34"/>
                  <a:pt x="12" y="34"/>
                  <a:pt x="12" y="34"/>
                </a:cubicBezTo>
                <a:cubicBezTo>
                  <a:pt x="11" y="34"/>
                  <a:pt x="11" y="34"/>
                  <a:pt x="11" y="34"/>
                </a:cubicBezTo>
                <a:cubicBezTo>
                  <a:pt x="11" y="35"/>
                  <a:pt x="11" y="35"/>
                  <a:pt x="11" y="35"/>
                </a:cubicBezTo>
                <a:cubicBezTo>
                  <a:pt x="10" y="35"/>
                  <a:pt x="10" y="35"/>
                  <a:pt x="10" y="35"/>
                </a:cubicBezTo>
                <a:cubicBezTo>
                  <a:pt x="10" y="34"/>
                  <a:pt x="10" y="34"/>
                  <a:pt x="10" y="34"/>
                </a:cubicBezTo>
                <a:cubicBezTo>
                  <a:pt x="9" y="33"/>
                  <a:pt x="9" y="33"/>
                  <a:pt x="9" y="33"/>
                </a:cubicBezTo>
                <a:cubicBezTo>
                  <a:pt x="9" y="33"/>
                  <a:pt x="9" y="33"/>
                  <a:pt x="9" y="33"/>
                </a:cubicBezTo>
                <a:cubicBezTo>
                  <a:pt x="9" y="31"/>
                  <a:pt x="9" y="31"/>
                  <a:pt x="9" y="31"/>
                </a:cubicBezTo>
                <a:cubicBezTo>
                  <a:pt x="8" y="30"/>
                  <a:pt x="8" y="30"/>
                  <a:pt x="8" y="30"/>
                </a:cubicBezTo>
                <a:cubicBezTo>
                  <a:pt x="8" y="29"/>
                  <a:pt x="8" y="29"/>
                  <a:pt x="8" y="29"/>
                </a:cubicBezTo>
                <a:cubicBezTo>
                  <a:pt x="6" y="26"/>
                  <a:pt x="6" y="26"/>
                  <a:pt x="6" y="26"/>
                </a:cubicBezTo>
                <a:cubicBezTo>
                  <a:pt x="6" y="24"/>
                  <a:pt x="6" y="24"/>
                  <a:pt x="6" y="24"/>
                </a:cubicBezTo>
                <a:cubicBezTo>
                  <a:pt x="6" y="23"/>
                  <a:pt x="6" y="23"/>
                  <a:pt x="6" y="23"/>
                </a:cubicBezTo>
                <a:cubicBezTo>
                  <a:pt x="6" y="21"/>
                  <a:pt x="6" y="21"/>
                  <a:pt x="6" y="21"/>
                </a:cubicBezTo>
                <a:cubicBezTo>
                  <a:pt x="6" y="19"/>
                  <a:pt x="6" y="19"/>
                  <a:pt x="6" y="19"/>
                </a:cubicBezTo>
                <a:cubicBezTo>
                  <a:pt x="4" y="17"/>
                  <a:pt x="4" y="17"/>
                  <a:pt x="4" y="17"/>
                </a:cubicBezTo>
                <a:cubicBezTo>
                  <a:pt x="2" y="17"/>
                  <a:pt x="2" y="17"/>
                  <a:pt x="2" y="17"/>
                </a:cubicBezTo>
                <a:cubicBezTo>
                  <a:pt x="1" y="15"/>
                  <a:pt x="1" y="15"/>
                  <a:pt x="1" y="15"/>
                </a:cubicBezTo>
                <a:cubicBezTo>
                  <a:pt x="1" y="13"/>
                  <a:pt x="1" y="13"/>
                  <a:pt x="1" y="13"/>
                </a:cubicBezTo>
                <a:cubicBezTo>
                  <a:pt x="2" y="12"/>
                  <a:pt x="2" y="12"/>
                  <a:pt x="2" y="12"/>
                </a:cubicBezTo>
                <a:cubicBezTo>
                  <a:pt x="3" y="11"/>
                  <a:pt x="3" y="11"/>
                  <a:pt x="3" y="11"/>
                </a:cubicBezTo>
                <a:cubicBezTo>
                  <a:pt x="4" y="10"/>
                  <a:pt x="4" y="10"/>
                  <a:pt x="4" y="10"/>
                </a:cubicBezTo>
                <a:cubicBezTo>
                  <a:pt x="4" y="10"/>
                  <a:pt x="4" y="10"/>
                  <a:pt x="4" y="10"/>
                </a:cubicBezTo>
                <a:cubicBezTo>
                  <a:pt x="5" y="10"/>
                  <a:pt x="5" y="10"/>
                  <a:pt x="5" y="10"/>
                </a:cubicBezTo>
                <a:cubicBezTo>
                  <a:pt x="5" y="8"/>
                  <a:pt x="5" y="8"/>
                  <a:pt x="5" y="8"/>
                </a:cubicBezTo>
                <a:cubicBezTo>
                  <a:pt x="5" y="7"/>
                  <a:pt x="5" y="7"/>
                  <a:pt x="5" y="7"/>
                </a:cubicBezTo>
                <a:cubicBezTo>
                  <a:pt x="4" y="7"/>
                  <a:pt x="4" y="7"/>
                  <a:pt x="4" y="7"/>
                </a:cubicBezTo>
                <a:cubicBezTo>
                  <a:pt x="2" y="8"/>
                  <a:pt x="2" y="8"/>
                  <a:pt x="2" y="8"/>
                </a:cubicBezTo>
                <a:cubicBezTo>
                  <a:pt x="0" y="7"/>
                  <a:pt x="0" y="7"/>
                  <a:pt x="0" y="7"/>
                </a:cubicBezTo>
                <a:cubicBezTo>
                  <a:pt x="0" y="5"/>
                  <a:pt x="0" y="5"/>
                  <a:pt x="0" y="5"/>
                </a:cubicBezTo>
                <a:cubicBezTo>
                  <a:pt x="1" y="4"/>
                  <a:pt x="1" y="4"/>
                  <a:pt x="1" y="4"/>
                </a:cubicBezTo>
                <a:cubicBezTo>
                  <a:pt x="2" y="2"/>
                  <a:pt x="2" y="2"/>
                  <a:pt x="2" y="2"/>
                </a:cubicBezTo>
                <a:cubicBezTo>
                  <a:pt x="1" y="1"/>
                  <a:pt x="1" y="1"/>
                  <a:pt x="1" y="1"/>
                </a:cubicBezTo>
                <a:cubicBezTo>
                  <a:pt x="1" y="1"/>
                  <a:pt x="1" y="1"/>
                  <a:pt x="1" y="1"/>
                </a:cubicBezTo>
                <a:cubicBezTo>
                  <a:pt x="1" y="1"/>
                  <a:pt x="1" y="1"/>
                  <a:pt x="1" y="1"/>
                </a:cubicBezTo>
                <a:cubicBezTo>
                  <a:pt x="2" y="0"/>
                  <a:pt x="2" y="0"/>
                  <a:pt x="2" y="0"/>
                </a:cubicBezTo>
                <a:cubicBezTo>
                  <a:pt x="2" y="0"/>
                  <a:pt x="2" y="0"/>
                  <a:pt x="2" y="0"/>
                </a:cubicBezTo>
                <a:cubicBezTo>
                  <a:pt x="3" y="1"/>
                  <a:pt x="3" y="1"/>
                  <a:pt x="3" y="1"/>
                </a:cubicBezTo>
                <a:cubicBezTo>
                  <a:pt x="3" y="2"/>
                  <a:pt x="3" y="2"/>
                  <a:pt x="3" y="2"/>
                </a:cubicBezTo>
                <a:cubicBezTo>
                  <a:pt x="4" y="3"/>
                  <a:pt x="4" y="3"/>
                  <a:pt x="4" y="3"/>
                </a:cubicBezTo>
                <a:cubicBezTo>
                  <a:pt x="5" y="3"/>
                  <a:pt x="5" y="3"/>
                  <a:pt x="5" y="3"/>
                </a:cubicBezTo>
                <a:cubicBezTo>
                  <a:pt x="6" y="3"/>
                  <a:pt x="6" y="3"/>
                  <a:pt x="6" y="3"/>
                </a:cubicBezTo>
                <a:cubicBezTo>
                  <a:pt x="5" y="3"/>
                  <a:pt x="5" y="3"/>
                  <a:pt x="5" y="3"/>
                </a:cubicBezTo>
                <a:cubicBezTo>
                  <a:pt x="5" y="2"/>
                  <a:pt x="5" y="2"/>
                  <a:pt x="5" y="2"/>
                </a:cubicBezTo>
                <a:cubicBezTo>
                  <a:pt x="6" y="2"/>
                  <a:pt x="6" y="2"/>
                  <a:pt x="6" y="2"/>
                </a:cubicBezTo>
                <a:cubicBezTo>
                  <a:pt x="7" y="3"/>
                  <a:pt x="7" y="3"/>
                  <a:pt x="7" y="3"/>
                </a:cubicBezTo>
                <a:cubicBezTo>
                  <a:pt x="7" y="3"/>
                  <a:pt x="7" y="3"/>
                  <a:pt x="7" y="3"/>
                </a:cubicBezTo>
                <a:cubicBezTo>
                  <a:pt x="9" y="4"/>
                  <a:pt x="9" y="4"/>
                  <a:pt x="9" y="4"/>
                </a:cubicBezTo>
                <a:cubicBezTo>
                  <a:pt x="9" y="3"/>
                  <a:pt x="9" y="3"/>
                  <a:pt x="9" y="3"/>
                </a:cubicBezTo>
                <a:cubicBezTo>
                  <a:pt x="9" y="3"/>
                  <a:pt x="9" y="3"/>
                  <a:pt x="9" y="3"/>
                </a:cubicBezTo>
                <a:cubicBezTo>
                  <a:pt x="10" y="5"/>
                  <a:pt x="10" y="5"/>
                  <a:pt x="10" y="5"/>
                </a:cubicBezTo>
                <a:cubicBezTo>
                  <a:pt x="10" y="6"/>
                  <a:pt x="10" y="6"/>
                  <a:pt x="10" y="6"/>
                </a:cubicBezTo>
                <a:cubicBezTo>
                  <a:pt x="11" y="7"/>
                  <a:pt x="11" y="7"/>
                  <a:pt x="11" y="7"/>
                </a:cubicBezTo>
                <a:cubicBezTo>
                  <a:pt x="11" y="8"/>
                  <a:pt x="11" y="8"/>
                  <a:pt x="11" y="8"/>
                </a:cubicBezTo>
                <a:cubicBezTo>
                  <a:pt x="11" y="9"/>
                  <a:pt x="11" y="9"/>
                  <a:pt x="11" y="9"/>
                </a:cubicBezTo>
                <a:cubicBezTo>
                  <a:pt x="12" y="10"/>
                  <a:pt x="12" y="10"/>
                  <a:pt x="12" y="10"/>
                </a:cubicBezTo>
                <a:cubicBezTo>
                  <a:pt x="13" y="9"/>
                  <a:pt x="13" y="9"/>
                  <a:pt x="13" y="9"/>
                </a:cubicBezTo>
                <a:cubicBezTo>
                  <a:pt x="15" y="10"/>
                  <a:pt x="15" y="10"/>
                  <a:pt x="15" y="10"/>
                </a:cubicBezTo>
                <a:cubicBezTo>
                  <a:pt x="16" y="10"/>
                  <a:pt x="16" y="10"/>
                  <a:pt x="16" y="10"/>
                </a:cubicBezTo>
                <a:cubicBezTo>
                  <a:pt x="19" y="10"/>
                  <a:pt x="19" y="10"/>
                  <a:pt x="19" y="10"/>
                </a:cubicBezTo>
                <a:cubicBezTo>
                  <a:pt x="21" y="10"/>
                  <a:pt x="21" y="10"/>
                  <a:pt x="21" y="10"/>
                </a:cubicBezTo>
                <a:cubicBezTo>
                  <a:pt x="23" y="10"/>
                  <a:pt x="23" y="10"/>
                  <a:pt x="23" y="10"/>
                </a:cubicBezTo>
                <a:cubicBezTo>
                  <a:pt x="24" y="10"/>
                  <a:pt x="24" y="10"/>
                  <a:pt x="24" y="10"/>
                </a:cubicBezTo>
                <a:cubicBezTo>
                  <a:pt x="24" y="10"/>
                  <a:pt x="24" y="10"/>
                  <a:pt x="24" y="10"/>
                </a:cubicBezTo>
                <a:cubicBezTo>
                  <a:pt x="25" y="10"/>
                  <a:pt x="25" y="10"/>
                  <a:pt x="25" y="10"/>
                </a:cubicBezTo>
                <a:cubicBezTo>
                  <a:pt x="26" y="11"/>
                  <a:pt x="26" y="11"/>
                  <a:pt x="26" y="11"/>
                </a:cubicBezTo>
                <a:cubicBezTo>
                  <a:pt x="27" y="11"/>
                  <a:pt x="27" y="11"/>
                  <a:pt x="27" y="11"/>
                </a:cubicBezTo>
                <a:cubicBezTo>
                  <a:pt x="26" y="13"/>
                  <a:pt x="26" y="13"/>
                  <a:pt x="26" y="13"/>
                </a:cubicBezTo>
                <a:cubicBezTo>
                  <a:pt x="26" y="14"/>
                  <a:pt x="26" y="14"/>
                  <a:pt x="26" y="14"/>
                </a:cubicBezTo>
                <a:cubicBezTo>
                  <a:pt x="25" y="16"/>
                  <a:pt x="25" y="16"/>
                  <a:pt x="25" y="16"/>
                </a:cubicBezTo>
                <a:cubicBezTo>
                  <a:pt x="24" y="17"/>
                  <a:pt x="24" y="17"/>
                  <a:pt x="24" y="17"/>
                </a:cubicBezTo>
                <a:cubicBezTo>
                  <a:pt x="24" y="18"/>
                  <a:pt x="24" y="18"/>
                  <a:pt x="24" y="18"/>
                </a:cubicBezTo>
                <a:cubicBezTo>
                  <a:pt x="24" y="18"/>
                  <a:pt x="24" y="18"/>
                  <a:pt x="24" y="18"/>
                </a:cubicBezTo>
                <a:cubicBezTo>
                  <a:pt x="23" y="18"/>
                  <a:pt x="23" y="18"/>
                  <a:pt x="23" y="18"/>
                </a:cubicBezTo>
                <a:cubicBezTo>
                  <a:pt x="23" y="18"/>
                  <a:pt x="23" y="18"/>
                  <a:pt x="23" y="18"/>
                </a:cubicBezTo>
                <a:cubicBezTo>
                  <a:pt x="22" y="19"/>
                  <a:pt x="22" y="19"/>
                  <a:pt x="22" y="19"/>
                </a:cubicBezTo>
                <a:cubicBezTo>
                  <a:pt x="21" y="19"/>
                  <a:pt x="21" y="19"/>
                  <a:pt x="21" y="19"/>
                </a:cubicBezTo>
                <a:cubicBezTo>
                  <a:pt x="21" y="20"/>
                  <a:pt x="21" y="20"/>
                  <a:pt x="21" y="20"/>
                </a:cubicBezTo>
                <a:cubicBezTo>
                  <a:pt x="21" y="21"/>
                  <a:pt x="21" y="21"/>
                  <a:pt x="21" y="21"/>
                </a:cubicBezTo>
                <a:cubicBezTo>
                  <a:pt x="21" y="22"/>
                  <a:pt x="21" y="22"/>
                  <a:pt x="21" y="22"/>
                </a:cubicBezTo>
                <a:cubicBezTo>
                  <a:pt x="22" y="23"/>
                  <a:pt x="22" y="23"/>
                  <a:pt x="22" y="23"/>
                </a:cubicBezTo>
                <a:cubicBezTo>
                  <a:pt x="22" y="23"/>
                  <a:pt x="22" y="23"/>
                  <a:pt x="22" y="23"/>
                </a:cubicBezTo>
                <a:cubicBezTo>
                  <a:pt x="23" y="24"/>
                  <a:pt x="23" y="24"/>
                  <a:pt x="23" y="24"/>
                </a:cubicBezTo>
                <a:cubicBezTo>
                  <a:pt x="24" y="26"/>
                  <a:pt x="24" y="26"/>
                  <a:pt x="24" y="26"/>
                </a:cubicBezTo>
                <a:cubicBezTo>
                  <a:pt x="25" y="26"/>
                  <a:pt x="25" y="26"/>
                  <a:pt x="25" y="26"/>
                </a:cubicBezTo>
                <a:cubicBezTo>
                  <a:pt x="25" y="25"/>
                  <a:pt x="25" y="25"/>
                  <a:pt x="25" y="25"/>
                </a:cubicBezTo>
                <a:cubicBezTo>
                  <a:pt x="25" y="24"/>
                  <a:pt x="25" y="24"/>
                  <a:pt x="25" y="24"/>
                </a:cubicBezTo>
                <a:cubicBezTo>
                  <a:pt x="25" y="23"/>
                  <a:pt x="25" y="23"/>
                  <a:pt x="25" y="23"/>
                </a:cubicBezTo>
                <a:cubicBezTo>
                  <a:pt x="25" y="23"/>
                  <a:pt x="25" y="23"/>
                  <a:pt x="25" y="23"/>
                </a:cubicBezTo>
                <a:cubicBezTo>
                  <a:pt x="26" y="22"/>
                  <a:pt x="26" y="22"/>
                  <a:pt x="26" y="22"/>
                </a:cubicBezTo>
                <a:cubicBezTo>
                  <a:pt x="25" y="22"/>
                  <a:pt x="25" y="22"/>
                  <a:pt x="25" y="22"/>
                </a:cubicBezTo>
                <a:cubicBezTo>
                  <a:pt x="26" y="21"/>
                  <a:pt x="26" y="21"/>
                  <a:pt x="26" y="21"/>
                </a:cubicBezTo>
                <a:cubicBezTo>
                  <a:pt x="27" y="22"/>
                  <a:pt x="27" y="22"/>
                  <a:pt x="27" y="22"/>
                </a:cubicBezTo>
                <a:cubicBezTo>
                  <a:pt x="28" y="22"/>
                  <a:pt x="28" y="22"/>
                  <a:pt x="28" y="22"/>
                </a:cubicBezTo>
                <a:cubicBezTo>
                  <a:pt x="28" y="22"/>
                  <a:pt x="28" y="22"/>
                  <a:pt x="28" y="22"/>
                </a:cubicBezTo>
                <a:cubicBezTo>
                  <a:pt x="29" y="23"/>
                  <a:pt x="29" y="23"/>
                  <a:pt x="29" y="23"/>
                </a:cubicBezTo>
                <a:cubicBezTo>
                  <a:pt x="29" y="25"/>
                  <a:pt x="29" y="25"/>
                  <a:pt x="29" y="25"/>
                </a:cubicBezTo>
                <a:cubicBezTo>
                  <a:pt x="29" y="26"/>
                  <a:pt x="29" y="26"/>
                  <a:pt x="29" y="26"/>
                </a:cubicBezTo>
                <a:cubicBezTo>
                  <a:pt x="29" y="27"/>
                  <a:pt x="29" y="27"/>
                  <a:pt x="29" y="27"/>
                </a:cubicBezTo>
                <a:cubicBezTo>
                  <a:pt x="30" y="30"/>
                  <a:pt x="30" y="30"/>
                  <a:pt x="30" y="30"/>
                </a:cubicBezTo>
                <a:cubicBezTo>
                  <a:pt x="30" y="31"/>
                  <a:pt x="30" y="31"/>
                  <a:pt x="30" y="31"/>
                </a:cubicBezTo>
                <a:cubicBezTo>
                  <a:pt x="31" y="32"/>
                  <a:pt x="31" y="32"/>
                  <a:pt x="31" y="32"/>
                </a:cubicBezTo>
                <a:cubicBezTo>
                  <a:pt x="31" y="33"/>
                  <a:pt x="31" y="33"/>
                  <a:pt x="31" y="33"/>
                </a:cubicBezTo>
                <a:cubicBezTo>
                  <a:pt x="31" y="33"/>
                  <a:pt x="31" y="33"/>
                  <a:pt x="31" y="33"/>
                </a:cubicBezTo>
                <a:cubicBezTo>
                  <a:pt x="31" y="34"/>
                  <a:pt x="31" y="34"/>
                  <a:pt x="31" y="34"/>
                </a:cubicBezTo>
                <a:cubicBezTo>
                  <a:pt x="32" y="34"/>
                  <a:pt x="32" y="34"/>
                  <a:pt x="32" y="34"/>
                </a:cubicBezTo>
                <a:close/>
                <a:moveTo>
                  <a:pt x="23" y="29"/>
                </a:moveTo>
                <a:cubicBezTo>
                  <a:pt x="23" y="29"/>
                  <a:pt x="23" y="29"/>
                  <a:pt x="23" y="29"/>
                </a:cubicBezTo>
                <a:cubicBezTo>
                  <a:pt x="22" y="29"/>
                  <a:pt x="22" y="29"/>
                  <a:pt x="22" y="29"/>
                </a:cubicBezTo>
                <a:cubicBezTo>
                  <a:pt x="22" y="30"/>
                  <a:pt x="22" y="30"/>
                  <a:pt x="22" y="30"/>
                </a:cubicBezTo>
                <a:cubicBezTo>
                  <a:pt x="23" y="30"/>
                  <a:pt x="23" y="30"/>
                  <a:pt x="23" y="30"/>
                </a:cubicBezTo>
                <a:cubicBezTo>
                  <a:pt x="23" y="29"/>
                  <a:pt x="23" y="29"/>
                  <a:pt x="23" y="29"/>
                </a:cubicBezTo>
                <a:close/>
                <a:moveTo>
                  <a:pt x="20" y="29"/>
                </a:moveTo>
                <a:cubicBezTo>
                  <a:pt x="21" y="30"/>
                  <a:pt x="21" y="30"/>
                  <a:pt x="21" y="30"/>
                </a:cubicBezTo>
                <a:cubicBezTo>
                  <a:pt x="20" y="31"/>
                  <a:pt x="20" y="31"/>
                  <a:pt x="20" y="31"/>
                </a:cubicBezTo>
                <a:cubicBezTo>
                  <a:pt x="21" y="32"/>
                  <a:pt x="21" y="32"/>
                  <a:pt x="21" y="32"/>
                </a:cubicBezTo>
                <a:cubicBezTo>
                  <a:pt x="22" y="30"/>
                  <a:pt x="22" y="30"/>
                  <a:pt x="22" y="30"/>
                </a:cubicBezTo>
                <a:cubicBezTo>
                  <a:pt x="21" y="29"/>
                  <a:pt x="21" y="29"/>
                  <a:pt x="21" y="29"/>
                </a:cubicBezTo>
                <a:cubicBezTo>
                  <a:pt x="20" y="28"/>
                  <a:pt x="20" y="28"/>
                  <a:pt x="20" y="28"/>
                </a:cubicBezTo>
                <a:cubicBezTo>
                  <a:pt x="20" y="28"/>
                  <a:pt x="20" y="29"/>
                  <a:pt x="20" y="29"/>
                </a:cubicBezTo>
                <a:close/>
                <a:moveTo>
                  <a:pt x="19" y="28"/>
                </a:moveTo>
                <a:cubicBezTo>
                  <a:pt x="17" y="28"/>
                  <a:pt x="17" y="28"/>
                  <a:pt x="17" y="28"/>
                </a:cubicBezTo>
                <a:cubicBezTo>
                  <a:pt x="18" y="29"/>
                  <a:pt x="18" y="29"/>
                  <a:pt x="18" y="29"/>
                </a:cubicBezTo>
                <a:cubicBezTo>
                  <a:pt x="18" y="31"/>
                  <a:pt x="18" y="31"/>
                  <a:pt x="18" y="31"/>
                </a:cubicBezTo>
                <a:cubicBezTo>
                  <a:pt x="20" y="31"/>
                  <a:pt x="20" y="31"/>
                  <a:pt x="20" y="31"/>
                </a:cubicBezTo>
                <a:cubicBezTo>
                  <a:pt x="19" y="29"/>
                  <a:pt x="19" y="29"/>
                  <a:pt x="19" y="29"/>
                </a:cubicBezTo>
                <a:lnTo>
                  <a:pt x="19" y="28"/>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9" name="Freeform 37">
            <a:extLst>
              <a:ext uri="{FF2B5EF4-FFF2-40B4-BE49-F238E27FC236}">
                <a16:creationId xmlns:a16="http://schemas.microsoft.com/office/drawing/2014/main" id="{11CF9471-B7F1-C599-0021-134AD647234B}"/>
              </a:ext>
            </a:extLst>
          </p:cNvPr>
          <p:cNvSpPr>
            <a:spLocks/>
          </p:cNvSpPr>
          <p:nvPr userDrawn="1"/>
        </p:nvSpPr>
        <p:spPr bwMode="auto">
          <a:xfrm>
            <a:off x="18616987" y="7508157"/>
            <a:ext cx="187314" cy="111126"/>
          </a:xfrm>
          <a:custGeom>
            <a:avLst/>
            <a:gdLst>
              <a:gd name="T0" fmla="*/ 0 w 59"/>
              <a:gd name="T1" fmla="*/ 16 h 35"/>
              <a:gd name="T2" fmla="*/ 3 w 59"/>
              <a:gd name="T3" fmla="*/ 13 h 35"/>
              <a:gd name="T4" fmla="*/ 9 w 59"/>
              <a:gd name="T5" fmla="*/ 7 h 35"/>
              <a:gd name="T6" fmla="*/ 19 w 59"/>
              <a:gd name="T7" fmla="*/ 0 h 35"/>
              <a:gd name="T8" fmla="*/ 25 w 59"/>
              <a:gd name="T9" fmla="*/ 0 h 35"/>
              <a:gd name="T10" fmla="*/ 28 w 59"/>
              <a:gd name="T11" fmla="*/ 3 h 35"/>
              <a:gd name="T12" fmla="*/ 37 w 59"/>
              <a:gd name="T13" fmla="*/ 3 h 35"/>
              <a:gd name="T14" fmla="*/ 41 w 59"/>
              <a:gd name="T15" fmla="*/ 3 h 35"/>
              <a:gd name="T16" fmla="*/ 44 w 59"/>
              <a:gd name="T17" fmla="*/ 3 h 35"/>
              <a:gd name="T18" fmla="*/ 50 w 59"/>
              <a:gd name="T19" fmla="*/ 3 h 35"/>
              <a:gd name="T20" fmla="*/ 53 w 59"/>
              <a:gd name="T21" fmla="*/ 7 h 35"/>
              <a:gd name="T22" fmla="*/ 53 w 59"/>
              <a:gd name="T23" fmla="*/ 7 h 35"/>
              <a:gd name="T24" fmla="*/ 53 w 59"/>
              <a:gd name="T25" fmla="*/ 13 h 35"/>
              <a:gd name="T26" fmla="*/ 53 w 59"/>
              <a:gd name="T27" fmla="*/ 16 h 35"/>
              <a:gd name="T28" fmla="*/ 59 w 59"/>
              <a:gd name="T29" fmla="*/ 19 h 35"/>
              <a:gd name="T30" fmla="*/ 59 w 59"/>
              <a:gd name="T31" fmla="*/ 25 h 35"/>
              <a:gd name="T32" fmla="*/ 59 w 59"/>
              <a:gd name="T33" fmla="*/ 28 h 35"/>
              <a:gd name="T34" fmla="*/ 50 w 59"/>
              <a:gd name="T35" fmla="*/ 28 h 35"/>
              <a:gd name="T36" fmla="*/ 47 w 59"/>
              <a:gd name="T37" fmla="*/ 28 h 35"/>
              <a:gd name="T38" fmla="*/ 37 w 59"/>
              <a:gd name="T39" fmla="*/ 32 h 35"/>
              <a:gd name="T40" fmla="*/ 34 w 59"/>
              <a:gd name="T41" fmla="*/ 28 h 35"/>
              <a:gd name="T42" fmla="*/ 31 w 59"/>
              <a:gd name="T43" fmla="*/ 32 h 35"/>
              <a:gd name="T44" fmla="*/ 28 w 59"/>
              <a:gd name="T45" fmla="*/ 35 h 35"/>
              <a:gd name="T46" fmla="*/ 22 w 59"/>
              <a:gd name="T47" fmla="*/ 35 h 35"/>
              <a:gd name="T48" fmla="*/ 12 w 59"/>
              <a:gd name="T49" fmla="*/ 28 h 35"/>
              <a:gd name="T50" fmla="*/ 9 w 59"/>
              <a:gd name="T51" fmla="*/ 32 h 35"/>
              <a:gd name="T52" fmla="*/ 3 w 59"/>
              <a:gd name="T53" fmla="*/ 28 h 35"/>
              <a:gd name="T54" fmla="*/ 0 w 59"/>
              <a:gd name="T55" fmla="*/ 25 h 35"/>
              <a:gd name="T56" fmla="*/ 0 w 59"/>
              <a:gd name="T57" fmla="*/ 19 h 35"/>
              <a:gd name="T58" fmla="*/ 0 w 59"/>
              <a:gd name="T59" fmla="*/ 1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9" h="35">
                <a:moveTo>
                  <a:pt x="0" y="16"/>
                </a:moveTo>
                <a:lnTo>
                  <a:pt x="3" y="13"/>
                </a:lnTo>
                <a:lnTo>
                  <a:pt x="9" y="7"/>
                </a:lnTo>
                <a:lnTo>
                  <a:pt x="19" y="0"/>
                </a:lnTo>
                <a:lnTo>
                  <a:pt x="25" y="0"/>
                </a:lnTo>
                <a:lnTo>
                  <a:pt x="28" y="3"/>
                </a:lnTo>
                <a:lnTo>
                  <a:pt x="37" y="3"/>
                </a:lnTo>
                <a:lnTo>
                  <a:pt x="41" y="3"/>
                </a:lnTo>
                <a:lnTo>
                  <a:pt x="44" y="3"/>
                </a:lnTo>
                <a:lnTo>
                  <a:pt x="50" y="3"/>
                </a:lnTo>
                <a:lnTo>
                  <a:pt x="53" y="7"/>
                </a:lnTo>
                <a:lnTo>
                  <a:pt x="53" y="7"/>
                </a:lnTo>
                <a:lnTo>
                  <a:pt x="53" y="13"/>
                </a:lnTo>
                <a:lnTo>
                  <a:pt x="53" y="16"/>
                </a:lnTo>
                <a:lnTo>
                  <a:pt x="59" y="19"/>
                </a:lnTo>
                <a:lnTo>
                  <a:pt x="59" y="25"/>
                </a:lnTo>
                <a:lnTo>
                  <a:pt x="59" y="28"/>
                </a:lnTo>
                <a:lnTo>
                  <a:pt x="50" y="28"/>
                </a:lnTo>
                <a:lnTo>
                  <a:pt x="47" y="28"/>
                </a:lnTo>
                <a:lnTo>
                  <a:pt x="37" y="32"/>
                </a:lnTo>
                <a:lnTo>
                  <a:pt x="34" y="28"/>
                </a:lnTo>
                <a:lnTo>
                  <a:pt x="31" y="32"/>
                </a:lnTo>
                <a:lnTo>
                  <a:pt x="28" y="35"/>
                </a:lnTo>
                <a:lnTo>
                  <a:pt x="22" y="35"/>
                </a:lnTo>
                <a:lnTo>
                  <a:pt x="12" y="28"/>
                </a:lnTo>
                <a:lnTo>
                  <a:pt x="9" y="32"/>
                </a:lnTo>
                <a:lnTo>
                  <a:pt x="3" y="28"/>
                </a:lnTo>
                <a:lnTo>
                  <a:pt x="0" y="25"/>
                </a:lnTo>
                <a:lnTo>
                  <a:pt x="0" y="19"/>
                </a:lnTo>
                <a:lnTo>
                  <a:pt x="0" y="1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0" name="Freeform 38">
            <a:extLst>
              <a:ext uri="{FF2B5EF4-FFF2-40B4-BE49-F238E27FC236}">
                <a16:creationId xmlns:a16="http://schemas.microsoft.com/office/drawing/2014/main" id="{F14DD383-CD13-C224-A9E6-3BFF9D6B5D46}"/>
              </a:ext>
            </a:extLst>
          </p:cNvPr>
          <p:cNvSpPr>
            <a:spLocks/>
          </p:cNvSpPr>
          <p:nvPr userDrawn="1"/>
        </p:nvSpPr>
        <p:spPr bwMode="auto">
          <a:xfrm>
            <a:off x="18061397" y="7358932"/>
            <a:ext cx="514317" cy="279400"/>
          </a:xfrm>
          <a:custGeom>
            <a:avLst/>
            <a:gdLst>
              <a:gd name="T0" fmla="*/ 9 w 162"/>
              <a:gd name="T1" fmla="*/ 0 h 88"/>
              <a:gd name="T2" fmla="*/ 16 w 162"/>
              <a:gd name="T3" fmla="*/ 7 h 88"/>
              <a:gd name="T4" fmla="*/ 22 w 162"/>
              <a:gd name="T5" fmla="*/ 7 h 88"/>
              <a:gd name="T6" fmla="*/ 28 w 162"/>
              <a:gd name="T7" fmla="*/ 4 h 88"/>
              <a:gd name="T8" fmla="*/ 37 w 162"/>
              <a:gd name="T9" fmla="*/ 10 h 88"/>
              <a:gd name="T10" fmla="*/ 47 w 162"/>
              <a:gd name="T11" fmla="*/ 10 h 88"/>
              <a:gd name="T12" fmla="*/ 56 w 162"/>
              <a:gd name="T13" fmla="*/ 16 h 88"/>
              <a:gd name="T14" fmla="*/ 62 w 162"/>
              <a:gd name="T15" fmla="*/ 22 h 88"/>
              <a:gd name="T16" fmla="*/ 66 w 162"/>
              <a:gd name="T17" fmla="*/ 29 h 88"/>
              <a:gd name="T18" fmla="*/ 69 w 162"/>
              <a:gd name="T19" fmla="*/ 22 h 88"/>
              <a:gd name="T20" fmla="*/ 72 w 162"/>
              <a:gd name="T21" fmla="*/ 22 h 88"/>
              <a:gd name="T22" fmla="*/ 81 w 162"/>
              <a:gd name="T23" fmla="*/ 25 h 88"/>
              <a:gd name="T24" fmla="*/ 87 w 162"/>
              <a:gd name="T25" fmla="*/ 35 h 88"/>
              <a:gd name="T26" fmla="*/ 97 w 162"/>
              <a:gd name="T27" fmla="*/ 35 h 88"/>
              <a:gd name="T28" fmla="*/ 100 w 162"/>
              <a:gd name="T29" fmla="*/ 47 h 88"/>
              <a:gd name="T30" fmla="*/ 109 w 162"/>
              <a:gd name="T31" fmla="*/ 47 h 88"/>
              <a:gd name="T32" fmla="*/ 116 w 162"/>
              <a:gd name="T33" fmla="*/ 44 h 88"/>
              <a:gd name="T34" fmla="*/ 125 w 162"/>
              <a:gd name="T35" fmla="*/ 41 h 88"/>
              <a:gd name="T36" fmla="*/ 131 w 162"/>
              <a:gd name="T37" fmla="*/ 50 h 88"/>
              <a:gd name="T38" fmla="*/ 141 w 162"/>
              <a:gd name="T39" fmla="*/ 57 h 88"/>
              <a:gd name="T40" fmla="*/ 150 w 162"/>
              <a:gd name="T41" fmla="*/ 57 h 88"/>
              <a:gd name="T42" fmla="*/ 156 w 162"/>
              <a:gd name="T43" fmla="*/ 54 h 88"/>
              <a:gd name="T44" fmla="*/ 162 w 162"/>
              <a:gd name="T45" fmla="*/ 60 h 88"/>
              <a:gd name="T46" fmla="*/ 162 w 162"/>
              <a:gd name="T47" fmla="*/ 75 h 88"/>
              <a:gd name="T48" fmla="*/ 150 w 162"/>
              <a:gd name="T49" fmla="*/ 88 h 88"/>
              <a:gd name="T50" fmla="*/ 137 w 162"/>
              <a:gd name="T51" fmla="*/ 85 h 88"/>
              <a:gd name="T52" fmla="*/ 116 w 162"/>
              <a:gd name="T53" fmla="*/ 79 h 88"/>
              <a:gd name="T54" fmla="*/ 100 w 162"/>
              <a:gd name="T55" fmla="*/ 79 h 88"/>
              <a:gd name="T56" fmla="*/ 94 w 162"/>
              <a:gd name="T57" fmla="*/ 69 h 88"/>
              <a:gd name="T58" fmla="*/ 75 w 162"/>
              <a:gd name="T59" fmla="*/ 69 h 88"/>
              <a:gd name="T60" fmla="*/ 62 w 162"/>
              <a:gd name="T61" fmla="*/ 69 h 88"/>
              <a:gd name="T62" fmla="*/ 50 w 162"/>
              <a:gd name="T63" fmla="*/ 63 h 88"/>
              <a:gd name="T64" fmla="*/ 37 w 162"/>
              <a:gd name="T65" fmla="*/ 60 h 88"/>
              <a:gd name="T66" fmla="*/ 22 w 162"/>
              <a:gd name="T67" fmla="*/ 47 h 88"/>
              <a:gd name="T68" fmla="*/ 12 w 162"/>
              <a:gd name="T69" fmla="*/ 41 h 88"/>
              <a:gd name="T70" fmla="*/ 6 w 162"/>
              <a:gd name="T71" fmla="*/ 38 h 88"/>
              <a:gd name="T72" fmla="*/ 0 w 162"/>
              <a:gd name="T73" fmla="*/ 35 h 88"/>
              <a:gd name="T74" fmla="*/ 6 w 162"/>
              <a:gd name="T75" fmla="*/ 19 h 88"/>
              <a:gd name="T76" fmla="*/ 6 w 162"/>
              <a:gd name="T77" fmla="*/ 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88">
                <a:moveTo>
                  <a:pt x="6" y="4"/>
                </a:moveTo>
                <a:lnTo>
                  <a:pt x="9" y="0"/>
                </a:lnTo>
                <a:lnTo>
                  <a:pt x="16" y="4"/>
                </a:lnTo>
                <a:lnTo>
                  <a:pt x="16" y="7"/>
                </a:lnTo>
                <a:lnTo>
                  <a:pt x="19" y="7"/>
                </a:lnTo>
                <a:lnTo>
                  <a:pt x="22" y="7"/>
                </a:lnTo>
                <a:lnTo>
                  <a:pt x="25" y="4"/>
                </a:lnTo>
                <a:lnTo>
                  <a:pt x="28" y="4"/>
                </a:lnTo>
                <a:lnTo>
                  <a:pt x="37" y="7"/>
                </a:lnTo>
                <a:lnTo>
                  <a:pt x="37" y="10"/>
                </a:lnTo>
                <a:lnTo>
                  <a:pt x="44" y="10"/>
                </a:lnTo>
                <a:lnTo>
                  <a:pt x="47" y="10"/>
                </a:lnTo>
                <a:lnTo>
                  <a:pt x="53" y="16"/>
                </a:lnTo>
                <a:lnTo>
                  <a:pt x="56" y="16"/>
                </a:lnTo>
                <a:lnTo>
                  <a:pt x="59" y="19"/>
                </a:lnTo>
                <a:lnTo>
                  <a:pt x="62" y="22"/>
                </a:lnTo>
                <a:lnTo>
                  <a:pt x="66" y="25"/>
                </a:lnTo>
                <a:lnTo>
                  <a:pt x="66" y="29"/>
                </a:lnTo>
                <a:lnTo>
                  <a:pt x="69" y="29"/>
                </a:lnTo>
                <a:lnTo>
                  <a:pt x="69" y="22"/>
                </a:lnTo>
                <a:lnTo>
                  <a:pt x="72" y="22"/>
                </a:lnTo>
                <a:lnTo>
                  <a:pt x="72" y="22"/>
                </a:lnTo>
                <a:lnTo>
                  <a:pt x="78" y="22"/>
                </a:lnTo>
                <a:lnTo>
                  <a:pt x="81" y="25"/>
                </a:lnTo>
                <a:lnTo>
                  <a:pt x="81" y="32"/>
                </a:lnTo>
                <a:lnTo>
                  <a:pt x="87" y="35"/>
                </a:lnTo>
                <a:lnTo>
                  <a:pt x="94" y="35"/>
                </a:lnTo>
                <a:lnTo>
                  <a:pt x="97" y="35"/>
                </a:lnTo>
                <a:lnTo>
                  <a:pt x="97" y="41"/>
                </a:lnTo>
                <a:lnTo>
                  <a:pt x="100" y="47"/>
                </a:lnTo>
                <a:lnTo>
                  <a:pt x="103" y="47"/>
                </a:lnTo>
                <a:lnTo>
                  <a:pt x="109" y="47"/>
                </a:lnTo>
                <a:lnTo>
                  <a:pt x="109" y="47"/>
                </a:lnTo>
                <a:lnTo>
                  <a:pt x="116" y="44"/>
                </a:lnTo>
                <a:lnTo>
                  <a:pt x="119" y="41"/>
                </a:lnTo>
                <a:lnTo>
                  <a:pt x="125" y="41"/>
                </a:lnTo>
                <a:lnTo>
                  <a:pt x="131" y="44"/>
                </a:lnTo>
                <a:lnTo>
                  <a:pt x="131" y="50"/>
                </a:lnTo>
                <a:lnTo>
                  <a:pt x="137" y="50"/>
                </a:lnTo>
                <a:lnTo>
                  <a:pt x="141" y="57"/>
                </a:lnTo>
                <a:lnTo>
                  <a:pt x="144" y="57"/>
                </a:lnTo>
                <a:lnTo>
                  <a:pt x="150" y="57"/>
                </a:lnTo>
                <a:lnTo>
                  <a:pt x="150" y="57"/>
                </a:lnTo>
                <a:lnTo>
                  <a:pt x="156" y="54"/>
                </a:lnTo>
                <a:lnTo>
                  <a:pt x="159" y="54"/>
                </a:lnTo>
                <a:lnTo>
                  <a:pt x="162" y="60"/>
                </a:lnTo>
                <a:lnTo>
                  <a:pt x="159" y="69"/>
                </a:lnTo>
                <a:lnTo>
                  <a:pt x="162" y="75"/>
                </a:lnTo>
                <a:lnTo>
                  <a:pt x="162" y="85"/>
                </a:lnTo>
                <a:lnTo>
                  <a:pt x="150" y="88"/>
                </a:lnTo>
                <a:lnTo>
                  <a:pt x="144" y="85"/>
                </a:lnTo>
                <a:lnTo>
                  <a:pt x="137" y="85"/>
                </a:lnTo>
                <a:lnTo>
                  <a:pt x="122" y="79"/>
                </a:lnTo>
                <a:lnTo>
                  <a:pt x="116" y="79"/>
                </a:lnTo>
                <a:lnTo>
                  <a:pt x="112" y="82"/>
                </a:lnTo>
                <a:lnTo>
                  <a:pt x="100" y="79"/>
                </a:lnTo>
                <a:lnTo>
                  <a:pt x="97" y="75"/>
                </a:lnTo>
                <a:lnTo>
                  <a:pt x="94" y="69"/>
                </a:lnTo>
                <a:lnTo>
                  <a:pt x="84" y="66"/>
                </a:lnTo>
                <a:lnTo>
                  <a:pt x="75" y="69"/>
                </a:lnTo>
                <a:lnTo>
                  <a:pt x="72" y="66"/>
                </a:lnTo>
                <a:lnTo>
                  <a:pt x="62" y="69"/>
                </a:lnTo>
                <a:lnTo>
                  <a:pt x="56" y="63"/>
                </a:lnTo>
                <a:lnTo>
                  <a:pt x="50" y="63"/>
                </a:lnTo>
                <a:lnTo>
                  <a:pt x="47" y="60"/>
                </a:lnTo>
                <a:lnTo>
                  <a:pt x="37" y="60"/>
                </a:lnTo>
                <a:lnTo>
                  <a:pt x="31" y="50"/>
                </a:lnTo>
                <a:lnTo>
                  <a:pt x="22" y="47"/>
                </a:lnTo>
                <a:lnTo>
                  <a:pt x="16" y="44"/>
                </a:lnTo>
                <a:lnTo>
                  <a:pt x="12" y="41"/>
                </a:lnTo>
                <a:lnTo>
                  <a:pt x="9" y="41"/>
                </a:lnTo>
                <a:lnTo>
                  <a:pt x="6" y="38"/>
                </a:lnTo>
                <a:lnTo>
                  <a:pt x="3" y="38"/>
                </a:lnTo>
                <a:lnTo>
                  <a:pt x="0" y="35"/>
                </a:lnTo>
                <a:lnTo>
                  <a:pt x="6" y="25"/>
                </a:lnTo>
                <a:lnTo>
                  <a:pt x="6" y="19"/>
                </a:lnTo>
                <a:lnTo>
                  <a:pt x="9" y="10"/>
                </a:lnTo>
                <a:lnTo>
                  <a:pt x="6" y="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1" name="Freeform 39">
            <a:extLst>
              <a:ext uri="{FF2B5EF4-FFF2-40B4-BE49-F238E27FC236}">
                <a16:creationId xmlns:a16="http://schemas.microsoft.com/office/drawing/2014/main" id="{E1CD081F-6D7B-1DAE-9FD8-3557668C3584}"/>
              </a:ext>
            </a:extLst>
          </p:cNvPr>
          <p:cNvSpPr>
            <a:spLocks/>
          </p:cNvSpPr>
          <p:nvPr userDrawn="1"/>
        </p:nvSpPr>
        <p:spPr bwMode="auto">
          <a:xfrm>
            <a:off x="16880371" y="6904907"/>
            <a:ext cx="863544" cy="952502"/>
          </a:xfrm>
          <a:custGeom>
            <a:avLst/>
            <a:gdLst>
              <a:gd name="T0" fmla="*/ 163 w 272"/>
              <a:gd name="T1" fmla="*/ 287 h 300"/>
              <a:gd name="T2" fmla="*/ 184 w 272"/>
              <a:gd name="T3" fmla="*/ 284 h 300"/>
              <a:gd name="T4" fmla="*/ 197 w 272"/>
              <a:gd name="T5" fmla="*/ 281 h 300"/>
              <a:gd name="T6" fmla="*/ 206 w 272"/>
              <a:gd name="T7" fmla="*/ 278 h 300"/>
              <a:gd name="T8" fmla="*/ 200 w 272"/>
              <a:gd name="T9" fmla="*/ 253 h 300"/>
              <a:gd name="T10" fmla="*/ 184 w 272"/>
              <a:gd name="T11" fmla="*/ 240 h 300"/>
              <a:gd name="T12" fmla="*/ 178 w 272"/>
              <a:gd name="T13" fmla="*/ 231 h 300"/>
              <a:gd name="T14" fmla="*/ 172 w 272"/>
              <a:gd name="T15" fmla="*/ 215 h 300"/>
              <a:gd name="T16" fmla="*/ 184 w 272"/>
              <a:gd name="T17" fmla="*/ 203 h 300"/>
              <a:gd name="T18" fmla="*/ 194 w 272"/>
              <a:gd name="T19" fmla="*/ 206 h 300"/>
              <a:gd name="T20" fmla="*/ 222 w 272"/>
              <a:gd name="T21" fmla="*/ 184 h 300"/>
              <a:gd name="T22" fmla="*/ 241 w 272"/>
              <a:gd name="T23" fmla="*/ 159 h 300"/>
              <a:gd name="T24" fmla="*/ 247 w 272"/>
              <a:gd name="T25" fmla="*/ 147 h 300"/>
              <a:gd name="T26" fmla="*/ 256 w 272"/>
              <a:gd name="T27" fmla="*/ 125 h 300"/>
              <a:gd name="T28" fmla="*/ 263 w 272"/>
              <a:gd name="T29" fmla="*/ 109 h 300"/>
              <a:gd name="T30" fmla="*/ 272 w 272"/>
              <a:gd name="T31" fmla="*/ 96 h 300"/>
              <a:gd name="T32" fmla="*/ 253 w 272"/>
              <a:gd name="T33" fmla="*/ 90 h 300"/>
              <a:gd name="T34" fmla="*/ 231 w 272"/>
              <a:gd name="T35" fmla="*/ 75 h 300"/>
              <a:gd name="T36" fmla="*/ 228 w 272"/>
              <a:gd name="T37" fmla="*/ 46 h 300"/>
              <a:gd name="T38" fmla="*/ 228 w 272"/>
              <a:gd name="T39" fmla="*/ 34 h 300"/>
              <a:gd name="T40" fmla="*/ 213 w 272"/>
              <a:gd name="T41" fmla="*/ 18 h 300"/>
              <a:gd name="T42" fmla="*/ 203 w 272"/>
              <a:gd name="T43" fmla="*/ 9 h 300"/>
              <a:gd name="T44" fmla="*/ 200 w 272"/>
              <a:gd name="T45" fmla="*/ 0 h 300"/>
              <a:gd name="T46" fmla="*/ 181 w 272"/>
              <a:gd name="T47" fmla="*/ 12 h 300"/>
              <a:gd name="T48" fmla="*/ 175 w 272"/>
              <a:gd name="T49" fmla="*/ 46 h 300"/>
              <a:gd name="T50" fmla="*/ 169 w 272"/>
              <a:gd name="T51" fmla="*/ 65 h 300"/>
              <a:gd name="T52" fmla="*/ 163 w 272"/>
              <a:gd name="T53" fmla="*/ 71 h 300"/>
              <a:gd name="T54" fmla="*/ 156 w 272"/>
              <a:gd name="T55" fmla="*/ 84 h 300"/>
              <a:gd name="T56" fmla="*/ 153 w 272"/>
              <a:gd name="T57" fmla="*/ 103 h 300"/>
              <a:gd name="T58" fmla="*/ 144 w 272"/>
              <a:gd name="T59" fmla="*/ 112 h 300"/>
              <a:gd name="T60" fmla="*/ 134 w 272"/>
              <a:gd name="T61" fmla="*/ 115 h 300"/>
              <a:gd name="T62" fmla="*/ 125 w 272"/>
              <a:gd name="T63" fmla="*/ 125 h 300"/>
              <a:gd name="T64" fmla="*/ 109 w 272"/>
              <a:gd name="T65" fmla="*/ 131 h 300"/>
              <a:gd name="T66" fmla="*/ 100 w 272"/>
              <a:gd name="T67" fmla="*/ 140 h 300"/>
              <a:gd name="T68" fmla="*/ 103 w 272"/>
              <a:gd name="T69" fmla="*/ 159 h 300"/>
              <a:gd name="T70" fmla="*/ 81 w 272"/>
              <a:gd name="T71" fmla="*/ 168 h 300"/>
              <a:gd name="T72" fmla="*/ 56 w 272"/>
              <a:gd name="T73" fmla="*/ 172 h 300"/>
              <a:gd name="T74" fmla="*/ 0 w 272"/>
              <a:gd name="T75" fmla="*/ 165 h 300"/>
              <a:gd name="T76" fmla="*/ 22 w 272"/>
              <a:gd name="T77" fmla="*/ 193 h 300"/>
              <a:gd name="T78" fmla="*/ 34 w 272"/>
              <a:gd name="T79" fmla="*/ 200 h 300"/>
              <a:gd name="T80" fmla="*/ 41 w 272"/>
              <a:gd name="T81" fmla="*/ 215 h 300"/>
              <a:gd name="T82" fmla="*/ 53 w 272"/>
              <a:gd name="T83" fmla="*/ 231 h 300"/>
              <a:gd name="T84" fmla="*/ 34 w 272"/>
              <a:gd name="T85" fmla="*/ 234 h 300"/>
              <a:gd name="T86" fmla="*/ 22 w 272"/>
              <a:gd name="T87" fmla="*/ 250 h 300"/>
              <a:gd name="T88" fmla="*/ 25 w 272"/>
              <a:gd name="T89" fmla="*/ 265 h 300"/>
              <a:gd name="T90" fmla="*/ 37 w 272"/>
              <a:gd name="T91" fmla="*/ 265 h 300"/>
              <a:gd name="T92" fmla="*/ 47 w 272"/>
              <a:gd name="T93" fmla="*/ 262 h 300"/>
              <a:gd name="T94" fmla="*/ 56 w 272"/>
              <a:gd name="T95" fmla="*/ 262 h 300"/>
              <a:gd name="T96" fmla="*/ 66 w 272"/>
              <a:gd name="T97" fmla="*/ 262 h 300"/>
              <a:gd name="T98" fmla="*/ 72 w 272"/>
              <a:gd name="T99" fmla="*/ 262 h 300"/>
              <a:gd name="T100" fmla="*/ 87 w 272"/>
              <a:gd name="T101" fmla="*/ 259 h 300"/>
              <a:gd name="T102" fmla="*/ 97 w 272"/>
              <a:gd name="T103" fmla="*/ 259 h 300"/>
              <a:gd name="T104" fmla="*/ 116 w 272"/>
              <a:gd name="T105" fmla="*/ 259 h 300"/>
              <a:gd name="T106" fmla="*/ 122 w 272"/>
              <a:gd name="T107" fmla="*/ 269 h 300"/>
              <a:gd name="T108" fmla="*/ 128 w 272"/>
              <a:gd name="T109" fmla="*/ 269 h 300"/>
              <a:gd name="T110" fmla="*/ 134 w 272"/>
              <a:gd name="T111" fmla="*/ 284 h 300"/>
              <a:gd name="T112" fmla="*/ 137 w 272"/>
              <a:gd name="T113" fmla="*/ 290 h 300"/>
              <a:gd name="T114" fmla="*/ 153 w 272"/>
              <a:gd name="T115" fmla="*/ 29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2" h="300">
                <a:moveTo>
                  <a:pt x="156" y="297"/>
                </a:moveTo>
                <a:lnTo>
                  <a:pt x="156" y="290"/>
                </a:lnTo>
                <a:lnTo>
                  <a:pt x="159" y="290"/>
                </a:lnTo>
                <a:lnTo>
                  <a:pt x="163" y="287"/>
                </a:lnTo>
                <a:lnTo>
                  <a:pt x="166" y="284"/>
                </a:lnTo>
                <a:lnTo>
                  <a:pt x="169" y="284"/>
                </a:lnTo>
                <a:lnTo>
                  <a:pt x="172" y="281"/>
                </a:lnTo>
                <a:lnTo>
                  <a:pt x="184" y="284"/>
                </a:lnTo>
                <a:lnTo>
                  <a:pt x="194" y="281"/>
                </a:lnTo>
                <a:lnTo>
                  <a:pt x="194" y="278"/>
                </a:lnTo>
                <a:lnTo>
                  <a:pt x="200" y="278"/>
                </a:lnTo>
                <a:lnTo>
                  <a:pt x="197" y="281"/>
                </a:lnTo>
                <a:lnTo>
                  <a:pt x="200" y="281"/>
                </a:lnTo>
                <a:lnTo>
                  <a:pt x="203" y="281"/>
                </a:lnTo>
                <a:lnTo>
                  <a:pt x="206" y="278"/>
                </a:lnTo>
                <a:lnTo>
                  <a:pt x="206" y="278"/>
                </a:lnTo>
                <a:lnTo>
                  <a:pt x="206" y="275"/>
                </a:lnTo>
                <a:lnTo>
                  <a:pt x="203" y="262"/>
                </a:lnTo>
                <a:lnTo>
                  <a:pt x="197" y="256"/>
                </a:lnTo>
                <a:lnTo>
                  <a:pt x="200" y="253"/>
                </a:lnTo>
                <a:lnTo>
                  <a:pt x="197" y="250"/>
                </a:lnTo>
                <a:lnTo>
                  <a:pt x="194" y="253"/>
                </a:lnTo>
                <a:lnTo>
                  <a:pt x="188" y="247"/>
                </a:lnTo>
                <a:lnTo>
                  <a:pt x="184" y="240"/>
                </a:lnTo>
                <a:lnTo>
                  <a:pt x="184" y="234"/>
                </a:lnTo>
                <a:lnTo>
                  <a:pt x="181" y="228"/>
                </a:lnTo>
                <a:lnTo>
                  <a:pt x="178" y="228"/>
                </a:lnTo>
                <a:lnTo>
                  <a:pt x="178" y="231"/>
                </a:lnTo>
                <a:lnTo>
                  <a:pt x="172" y="228"/>
                </a:lnTo>
                <a:lnTo>
                  <a:pt x="169" y="228"/>
                </a:lnTo>
                <a:lnTo>
                  <a:pt x="169" y="225"/>
                </a:lnTo>
                <a:lnTo>
                  <a:pt x="172" y="215"/>
                </a:lnTo>
                <a:lnTo>
                  <a:pt x="175" y="215"/>
                </a:lnTo>
                <a:lnTo>
                  <a:pt x="181" y="206"/>
                </a:lnTo>
                <a:lnTo>
                  <a:pt x="181" y="203"/>
                </a:lnTo>
                <a:lnTo>
                  <a:pt x="184" y="203"/>
                </a:lnTo>
                <a:lnTo>
                  <a:pt x="188" y="200"/>
                </a:lnTo>
                <a:lnTo>
                  <a:pt x="191" y="203"/>
                </a:lnTo>
                <a:lnTo>
                  <a:pt x="194" y="206"/>
                </a:lnTo>
                <a:lnTo>
                  <a:pt x="194" y="206"/>
                </a:lnTo>
                <a:lnTo>
                  <a:pt x="203" y="203"/>
                </a:lnTo>
                <a:lnTo>
                  <a:pt x="213" y="203"/>
                </a:lnTo>
                <a:lnTo>
                  <a:pt x="219" y="197"/>
                </a:lnTo>
                <a:lnTo>
                  <a:pt x="222" y="184"/>
                </a:lnTo>
                <a:lnTo>
                  <a:pt x="231" y="178"/>
                </a:lnTo>
                <a:lnTo>
                  <a:pt x="234" y="172"/>
                </a:lnTo>
                <a:lnTo>
                  <a:pt x="234" y="165"/>
                </a:lnTo>
                <a:lnTo>
                  <a:pt x="241" y="159"/>
                </a:lnTo>
                <a:lnTo>
                  <a:pt x="247" y="156"/>
                </a:lnTo>
                <a:lnTo>
                  <a:pt x="247" y="153"/>
                </a:lnTo>
                <a:lnTo>
                  <a:pt x="247" y="150"/>
                </a:lnTo>
                <a:lnTo>
                  <a:pt x="247" y="147"/>
                </a:lnTo>
                <a:lnTo>
                  <a:pt x="250" y="140"/>
                </a:lnTo>
                <a:lnTo>
                  <a:pt x="253" y="137"/>
                </a:lnTo>
                <a:lnTo>
                  <a:pt x="253" y="134"/>
                </a:lnTo>
                <a:lnTo>
                  <a:pt x="256" y="125"/>
                </a:lnTo>
                <a:lnTo>
                  <a:pt x="253" y="115"/>
                </a:lnTo>
                <a:lnTo>
                  <a:pt x="253" y="115"/>
                </a:lnTo>
                <a:lnTo>
                  <a:pt x="259" y="109"/>
                </a:lnTo>
                <a:lnTo>
                  <a:pt x="263" y="109"/>
                </a:lnTo>
                <a:lnTo>
                  <a:pt x="266" y="106"/>
                </a:lnTo>
                <a:lnTo>
                  <a:pt x="269" y="106"/>
                </a:lnTo>
                <a:lnTo>
                  <a:pt x="272" y="103"/>
                </a:lnTo>
                <a:lnTo>
                  <a:pt x="272" y="96"/>
                </a:lnTo>
                <a:lnTo>
                  <a:pt x="266" y="96"/>
                </a:lnTo>
                <a:lnTo>
                  <a:pt x="263" y="96"/>
                </a:lnTo>
                <a:lnTo>
                  <a:pt x="256" y="96"/>
                </a:lnTo>
                <a:lnTo>
                  <a:pt x="253" y="90"/>
                </a:lnTo>
                <a:lnTo>
                  <a:pt x="247" y="87"/>
                </a:lnTo>
                <a:lnTo>
                  <a:pt x="241" y="87"/>
                </a:lnTo>
                <a:lnTo>
                  <a:pt x="231" y="81"/>
                </a:lnTo>
                <a:lnTo>
                  <a:pt x="231" y="75"/>
                </a:lnTo>
                <a:lnTo>
                  <a:pt x="228" y="62"/>
                </a:lnTo>
                <a:lnTo>
                  <a:pt x="225" y="56"/>
                </a:lnTo>
                <a:lnTo>
                  <a:pt x="225" y="50"/>
                </a:lnTo>
                <a:lnTo>
                  <a:pt x="228" y="46"/>
                </a:lnTo>
                <a:lnTo>
                  <a:pt x="228" y="43"/>
                </a:lnTo>
                <a:lnTo>
                  <a:pt x="234" y="40"/>
                </a:lnTo>
                <a:lnTo>
                  <a:pt x="234" y="37"/>
                </a:lnTo>
                <a:lnTo>
                  <a:pt x="228" y="34"/>
                </a:lnTo>
                <a:lnTo>
                  <a:pt x="228" y="31"/>
                </a:lnTo>
                <a:lnTo>
                  <a:pt x="222" y="28"/>
                </a:lnTo>
                <a:lnTo>
                  <a:pt x="216" y="21"/>
                </a:lnTo>
                <a:lnTo>
                  <a:pt x="213" y="18"/>
                </a:lnTo>
                <a:lnTo>
                  <a:pt x="209" y="18"/>
                </a:lnTo>
                <a:lnTo>
                  <a:pt x="206" y="21"/>
                </a:lnTo>
                <a:lnTo>
                  <a:pt x="203" y="18"/>
                </a:lnTo>
                <a:lnTo>
                  <a:pt x="203" y="9"/>
                </a:lnTo>
                <a:lnTo>
                  <a:pt x="213" y="3"/>
                </a:lnTo>
                <a:lnTo>
                  <a:pt x="209" y="0"/>
                </a:lnTo>
                <a:lnTo>
                  <a:pt x="206" y="0"/>
                </a:lnTo>
                <a:lnTo>
                  <a:pt x="200" y="0"/>
                </a:lnTo>
                <a:lnTo>
                  <a:pt x="194" y="3"/>
                </a:lnTo>
                <a:lnTo>
                  <a:pt x="188" y="6"/>
                </a:lnTo>
                <a:lnTo>
                  <a:pt x="184" y="6"/>
                </a:lnTo>
                <a:lnTo>
                  <a:pt x="181" y="12"/>
                </a:lnTo>
                <a:lnTo>
                  <a:pt x="178" y="15"/>
                </a:lnTo>
                <a:lnTo>
                  <a:pt x="184" y="28"/>
                </a:lnTo>
                <a:lnTo>
                  <a:pt x="184" y="34"/>
                </a:lnTo>
                <a:lnTo>
                  <a:pt x="175" y="46"/>
                </a:lnTo>
                <a:lnTo>
                  <a:pt x="181" y="53"/>
                </a:lnTo>
                <a:lnTo>
                  <a:pt x="181" y="59"/>
                </a:lnTo>
                <a:lnTo>
                  <a:pt x="175" y="65"/>
                </a:lnTo>
                <a:lnTo>
                  <a:pt x="169" y="65"/>
                </a:lnTo>
                <a:lnTo>
                  <a:pt x="163" y="62"/>
                </a:lnTo>
                <a:lnTo>
                  <a:pt x="156" y="65"/>
                </a:lnTo>
                <a:lnTo>
                  <a:pt x="159" y="71"/>
                </a:lnTo>
                <a:lnTo>
                  <a:pt x="163" y="71"/>
                </a:lnTo>
                <a:lnTo>
                  <a:pt x="166" y="78"/>
                </a:lnTo>
                <a:lnTo>
                  <a:pt x="166" y="81"/>
                </a:lnTo>
                <a:lnTo>
                  <a:pt x="159" y="84"/>
                </a:lnTo>
                <a:lnTo>
                  <a:pt x="156" y="84"/>
                </a:lnTo>
                <a:lnTo>
                  <a:pt x="153" y="87"/>
                </a:lnTo>
                <a:lnTo>
                  <a:pt x="153" y="93"/>
                </a:lnTo>
                <a:lnTo>
                  <a:pt x="153" y="100"/>
                </a:lnTo>
                <a:lnTo>
                  <a:pt x="153" y="103"/>
                </a:lnTo>
                <a:lnTo>
                  <a:pt x="150" y="103"/>
                </a:lnTo>
                <a:lnTo>
                  <a:pt x="153" y="112"/>
                </a:lnTo>
                <a:lnTo>
                  <a:pt x="147" y="118"/>
                </a:lnTo>
                <a:lnTo>
                  <a:pt x="144" y="112"/>
                </a:lnTo>
                <a:lnTo>
                  <a:pt x="141" y="112"/>
                </a:lnTo>
                <a:lnTo>
                  <a:pt x="141" y="115"/>
                </a:lnTo>
                <a:lnTo>
                  <a:pt x="137" y="115"/>
                </a:lnTo>
                <a:lnTo>
                  <a:pt x="134" y="115"/>
                </a:lnTo>
                <a:lnTo>
                  <a:pt x="131" y="115"/>
                </a:lnTo>
                <a:lnTo>
                  <a:pt x="128" y="118"/>
                </a:lnTo>
                <a:lnTo>
                  <a:pt x="122" y="122"/>
                </a:lnTo>
                <a:lnTo>
                  <a:pt x="125" y="125"/>
                </a:lnTo>
                <a:lnTo>
                  <a:pt x="122" y="128"/>
                </a:lnTo>
                <a:lnTo>
                  <a:pt x="116" y="131"/>
                </a:lnTo>
                <a:lnTo>
                  <a:pt x="112" y="128"/>
                </a:lnTo>
                <a:lnTo>
                  <a:pt x="109" y="131"/>
                </a:lnTo>
                <a:lnTo>
                  <a:pt x="106" y="131"/>
                </a:lnTo>
                <a:lnTo>
                  <a:pt x="106" y="134"/>
                </a:lnTo>
                <a:lnTo>
                  <a:pt x="103" y="137"/>
                </a:lnTo>
                <a:lnTo>
                  <a:pt x="100" y="140"/>
                </a:lnTo>
                <a:lnTo>
                  <a:pt x="100" y="147"/>
                </a:lnTo>
                <a:lnTo>
                  <a:pt x="100" y="153"/>
                </a:lnTo>
                <a:lnTo>
                  <a:pt x="100" y="156"/>
                </a:lnTo>
                <a:lnTo>
                  <a:pt x="103" y="159"/>
                </a:lnTo>
                <a:lnTo>
                  <a:pt x="100" y="162"/>
                </a:lnTo>
                <a:lnTo>
                  <a:pt x="94" y="165"/>
                </a:lnTo>
                <a:lnTo>
                  <a:pt x="87" y="165"/>
                </a:lnTo>
                <a:lnTo>
                  <a:pt x="81" y="168"/>
                </a:lnTo>
                <a:lnTo>
                  <a:pt x="69" y="168"/>
                </a:lnTo>
                <a:lnTo>
                  <a:pt x="62" y="168"/>
                </a:lnTo>
                <a:lnTo>
                  <a:pt x="62" y="172"/>
                </a:lnTo>
                <a:lnTo>
                  <a:pt x="56" y="172"/>
                </a:lnTo>
                <a:lnTo>
                  <a:pt x="47" y="175"/>
                </a:lnTo>
                <a:lnTo>
                  <a:pt x="25" y="175"/>
                </a:lnTo>
                <a:lnTo>
                  <a:pt x="0" y="165"/>
                </a:lnTo>
                <a:lnTo>
                  <a:pt x="0" y="165"/>
                </a:lnTo>
                <a:lnTo>
                  <a:pt x="9" y="181"/>
                </a:lnTo>
                <a:lnTo>
                  <a:pt x="12" y="184"/>
                </a:lnTo>
                <a:lnTo>
                  <a:pt x="16" y="190"/>
                </a:lnTo>
                <a:lnTo>
                  <a:pt x="22" y="193"/>
                </a:lnTo>
                <a:lnTo>
                  <a:pt x="22" y="193"/>
                </a:lnTo>
                <a:lnTo>
                  <a:pt x="28" y="193"/>
                </a:lnTo>
                <a:lnTo>
                  <a:pt x="34" y="197"/>
                </a:lnTo>
                <a:lnTo>
                  <a:pt x="34" y="200"/>
                </a:lnTo>
                <a:lnTo>
                  <a:pt x="37" y="200"/>
                </a:lnTo>
                <a:lnTo>
                  <a:pt x="37" y="206"/>
                </a:lnTo>
                <a:lnTo>
                  <a:pt x="41" y="209"/>
                </a:lnTo>
                <a:lnTo>
                  <a:pt x="41" y="215"/>
                </a:lnTo>
                <a:lnTo>
                  <a:pt x="41" y="218"/>
                </a:lnTo>
                <a:lnTo>
                  <a:pt x="47" y="218"/>
                </a:lnTo>
                <a:lnTo>
                  <a:pt x="53" y="222"/>
                </a:lnTo>
                <a:lnTo>
                  <a:pt x="53" y="231"/>
                </a:lnTo>
                <a:lnTo>
                  <a:pt x="50" y="234"/>
                </a:lnTo>
                <a:lnTo>
                  <a:pt x="44" y="231"/>
                </a:lnTo>
                <a:lnTo>
                  <a:pt x="34" y="234"/>
                </a:lnTo>
                <a:lnTo>
                  <a:pt x="34" y="234"/>
                </a:lnTo>
                <a:lnTo>
                  <a:pt x="28" y="237"/>
                </a:lnTo>
                <a:lnTo>
                  <a:pt x="25" y="240"/>
                </a:lnTo>
                <a:lnTo>
                  <a:pt x="25" y="247"/>
                </a:lnTo>
                <a:lnTo>
                  <a:pt x="22" y="250"/>
                </a:lnTo>
                <a:lnTo>
                  <a:pt x="25" y="253"/>
                </a:lnTo>
                <a:lnTo>
                  <a:pt x="25" y="262"/>
                </a:lnTo>
                <a:lnTo>
                  <a:pt x="25" y="265"/>
                </a:lnTo>
                <a:lnTo>
                  <a:pt x="25" y="265"/>
                </a:lnTo>
                <a:lnTo>
                  <a:pt x="25" y="269"/>
                </a:lnTo>
                <a:lnTo>
                  <a:pt x="28" y="269"/>
                </a:lnTo>
                <a:lnTo>
                  <a:pt x="34" y="265"/>
                </a:lnTo>
                <a:lnTo>
                  <a:pt x="37" y="265"/>
                </a:lnTo>
                <a:lnTo>
                  <a:pt x="37" y="265"/>
                </a:lnTo>
                <a:lnTo>
                  <a:pt x="41" y="265"/>
                </a:lnTo>
                <a:lnTo>
                  <a:pt x="44" y="262"/>
                </a:lnTo>
                <a:lnTo>
                  <a:pt x="47" y="262"/>
                </a:lnTo>
                <a:lnTo>
                  <a:pt x="50" y="262"/>
                </a:lnTo>
                <a:lnTo>
                  <a:pt x="53" y="262"/>
                </a:lnTo>
                <a:lnTo>
                  <a:pt x="53" y="262"/>
                </a:lnTo>
                <a:lnTo>
                  <a:pt x="56" y="262"/>
                </a:lnTo>
                <a:lnTo>
                  <a:pt x="56" y="262"/>
                </a:lnTo>
                <a:lnTo>
                  <a:pt x="59" y="259"/>
                </a:lnTo>
                <a:lnTo>
                  <a:pt x="62" y="262"/>
                </a:lnTo>
                <a:lnTo>
                  <a:pt x="66" y="262"/>
                </a:lnTo>
                <a:lnTo>
                  <a:pt x="66" y="259"/>
                </a:lnTo>
                <a:lnTo>
                  <a:pt x="69" y="259"/>
                </a:lnTo>
                <a:lnTo>
                  <a:pt x="69" y="262"/>
                </a:lnTo>
                <a:lnTo>
                  <a:pt x="72" y="262"/>
                </a:lnTo>
                <a:lnTo>
                  <a:pt x="75" y="265"/>
                </a:lnTo>
                <a:lnTo>
                  <a:pt x="78" y="265"/>
                </a:lnTo>
                <a:lnTo>
                  <a:pt x="81" y="259"/>
                </a:lnTo>
                <a:lnTo>
                  <a:pt x="87" y="259"/>
                </a:lnTo>
                <a:lnTo>
                  <a:pt x="91" y="262"/>
                </a:lnTo>
                <a:lnTo>
                  <a:pt x="94" y="259"/>
                </a:lnTo>
                <a:lnTo>
                  <a:pt x="97" y="259"/>
                </a:lnTo>
                <a:lnTo>
                  <a:pt x="97" y="259"/>
                </a:lnTo>
                <a:lnTo>
                  <a:pt x="100" y="259"/>
                </a:lnTo>
                <a:lnTo>
                  <a:pt x="103" y="259"/>
                </a:lnTo>
                <a:lnTo>
                  <a:pt x="109" y="259"/>
                </a:lnTo>
                <a:lnTo>
                  <a:pt x="116" y="259"/>
                </a:lnTo>
                <a:lnTo>
                  <a:pt x="119" y="262"/>
                </a:lnTo>
                <a:lnTo>
                  <a:pt x="122" y="265"/>
                </a:lnTo>
                <a:lnTo>
                  <a:pt x="122" y="269"/>
                </a:lnTo>
                <a:lnTo>
                  <a:pt x="122" y="269"/>
                </a:lnTo>
                <a:lnTo>
                  <a:pt x="119" y="269"/>
                </a:lnTo>
                <a:lnTo>
                  <a:pt x="119" y="272"/>
                </a:lnTo>
                <a:lnTo>
                  <a:pt x="122" y="272"/>
                </a:lnTo>
                <a:lnTo>
                  <a:pt x="128" y="269"/>
                </a:lnTo>
                <a:lnTo>
                  <a:pt x="128" y="272"/>
                </a:lnTo>
                <a:lnTo>
                  <a:pt x="134" y="278"/>
                </a:lnTo>
                <a:lnTo>
                  <a:pt x="134" y="284"/>
                </a:lnTo>
                <a:lnTo>
                  <a:pt x="134" y="284"/>
                </a:lnTo>
                <a:lnTo>
                  <a:pt x="134" y="287"/>
                </a:lnTo>
                <a:lnTo>
                  <a:pt x="134" y="290"/>
                </a:lnTo>
                <a:lnTo>
                  <a:pt x="134" y="290"/>
                </a:lnTo>
                <a:lnTo>
                  <a:pt x="137" y="290"/>
                </a:lnTo>
                <a:lnTo>
                  <a:pt x="137" y="294"/>
                </a:lnTo>
                <a:lnTo>
                  <a:pt x="141" y="294"/>
                </a:lnTo>
                <a:lnTo>
                  <a:pt x="147" y="294"/>
                </a:lnTo>
                <a:lnTo>
                  <a:pt x="153" y="297"/>
                </a:lnTo>
                <a:lnTo>
                  <a:pt x="153" y="300"/>
                </a:lnTo>
                <a:lnTo>
                  <a:pt x="156" y="29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2" name="Freeform 40">
            <a:extLst>
              <a:ext uri="{FF2B5EF4-FFF2-40B4-BE49-F238E27FC236}">
                <a16:creationId xmlns:a16="http://schemas.microsoft.com/office/drawing/2014/main" id="{EF75F18B-48DB-3DA4-661D-37CB0987743A}"/>
              </a:ext>
            </a:extLst>
          </p:cNvPr>
          <p:cNvSpPr>
            <a:spLocks/>
          </p:cNvSpPr>
          <p:nvPr userDrawn="1"/>
        </p:nvSpPr>
        <p:spPr bwMode="auto">
          <a:xfrm>
            <a:off x="17524857" y="6854109"/>
            <a:ext cx="457170" cy="377826"/>
          </a:xfrm>
          <a:custGeom>
            <a:avLst/>
            <a:gdLst>
              <a:gd name="T0" fmla="*/ 72 w 144"/>
              <a:gd name="T1" fmla="*/ 116 h 119"/>
              <a:gd name="T2" fmla="*/ 81 w 144"/>
              <a:gd name="T3" fmla="*/ 100 h 119"/>
              <a:gd name="T4" fmla="*/ 91 w 144"/>
              <a:gd name="T5" fmla="*/ 97 h 119"/>
              <a:gd name="T6" fmla="*/ 103 w 144"/>
              <a:gd name="T7" fmla="*/ 103 h 119"/>
              <a:gd name="T8" fmla="*/ 116 w 144"/>
              <a:gd name="T9" fmla="*/ 103 h 119"/>
              <a:gd name="T10" fmla="*/ 122 w 144"/>
              <a:gd name="T11" fmla="*/ 106 h 119"/>
              <a:gd name="T12" fmla="*/ 138 w 144"/>
              <a:gd name="T13" fmla="*/ 106 h 119"/>
              <a:gd name="T14" fmla="*/ 141 w 144"/>
              <a:gd name="T15" fmla="*/ 109 h 119"/>
              <a:gd name="T16" fmla="*/ 141 w 144"/>
              <a:gd name="T17" fmla="*/ 100 h 119"/>
              <a:gd name="T18" fmla="*/ 135 w 144"/>
              <a:gd name="T19" fmla="*/ 91 h 119"/>
              <a:gd name="T20" fmla="*/ 131 w 144"/>
              <a:gd name="T21" fmla="*/ 72 h 119"/>
              <a:gd name="T22" fmla="*/ 122 w 144"/>
              <a:gd name="T23" fmla="*/ 62 h 119"/>
              <a:gd name="T24" fmla="*/ 113 w 144"/>
              <a:gd name="T25" fmla="*/ 47 h 119"/>
              <a:gd name="T26" fmla="*/ 100 w 144"/>
              <a:gd name="T27" fmla="*/ 41 h 119"/>
              <a:gd name="T28" fmla="*/ 94 w 144"/>
              <a:gd name="T29" fmla="*/ 34 h 119"/>
              <a:gd name="T30" fmla="*/ 78 w 144"/>
              <a:gd name="T31" fmla="*/ 34 h 119"/>
              <a:gd name="T32" fmla="*/ 72 w 144"/>
              <a:gd name="T33" fmla="*/ 31 h 119"/>
              <a:gd name="T34" fmla="*/ 69 w 144"/>
              <a:gd name="T35" fmla="*/ 22 h 119"/>
              <a:gd name="T36" fmla="*/ 56 w 144"/>
              <a:gd name="T37" fmla="*/ 3 h 119"/>
              <a:gd name="T38" fmla="*/ 50 w 144"/>
              <a:gd name="T39" fmla="*/ 0 h 119"/>
              <a:gd name="T40" fmla="*/ 47 w 144"/>
              <a:gd name="T41" fmla="*/ 3 h 119"/>
              <a:gd name="T42" fmla="*/ 41 w 144"/>
              <a:gd name="T43" fmla="*/ 3 h 119"/>
              <a:gd name="T44" fmla="*/ 35 w 144"/>
              <a:gd name="T45" fmla="*/ 0 h 119"/>
              <a:gd name="T46" fmla="*/ 35 w 144"/>
              <a:gd name="T47" fmla="*/ 3 h 119"/>
              <a:gd name="T48" fmla="*/ 22 w 144"/>
              <a:gd name="T49" fmla="*/ 12 h 119"/>
              <a:gd name="T50" fmla="*/ 10 w 144"/>
              <a:gd name="T51" fmla="*/ 19 h 119"/>
              <a:gd name="T52" fmla="*/ 0 w 144"/>
              <a:gd name="T53" fmla="*/ 34 h 119"/>
              <a:gd name="T54" fmla="*/ 6 w 144"/>
              <a:gd name="T55" fmla="*/ 34 h 119"/>
              <a:gd name="T56" fmla="*/ 13 w 144"/>
              <a:gd name="T57" fmla="*/ 37 h 119"/>
              <a:gd name="T58" fmla="*/ 25 w 144"/>
              <a:gd name="T59" fmla="*/ 47 h 119"/>
              <a:gd name="T60" fmla="*/ 31 w 144"/>
              <a:gd name="T61" fmla="*/ 53 h 119"/>
              <a:gd name="T62" fmla="*/ 25 w 144"/>
              <a:gd name="T63" fmla="*/ 59 h 119"/>
              <a:gd name="T64" fmla="*/ 22 w 144"/>
              <a:gd name="T65" fmla="*/ 66 h 119"/>
              <a:gd name="T66" fmla="*/ 25 w 144"/>
              <a:gd name="T67" fmla="*/ 78 h 119"/>
              <a:gd name="T68" fmla="*/ 28 w 144"/>
              <a:gd name="T69" fmla="*/ 97 h 119"/>
              <a:gd name="T70" fmla="*/ 44 w 144"/>
              <a:gd name="T71" fmla="*/ 103 h 119"/>
              <a:gd name="T72" fmla="*/ 53 w 144"/>
              <a:gd name="T73" fmla="*/ 112 h 119"/>
              <a:gd name="T74" fmla="*/ 63 w 144"/>
              <a:gd name="T75" fmla="*/ 112 h 119"/>
              <a:gd name="T76" fmla="*/ 69 w 144"/>
              <a:gd name="T7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4" h="119">
                <a:moveTo>
                  <a:pt x="69" y="119"/>
                </a:moveTo>
                <a:lnTo>
                  <a:pt x="72" y="116"/>
                </a:lnTo>
                <a:lnTo>
                  <a:pt x="75" y="106"/>
                </a:lnTo>
                <a:lnTo>
                  <a:pt x="81" y="100"/>
                </a:lnTo>
                <a:lnTo>
                  <a:pt x="88" y="100"/>
                </a:lnTo>
                <a:lnTo>
                  <a:pt x="91" y="97"/>
                </a:lnTo>
                <a:lnTo>
                  <a:pt x="94" y="97"/>
                </a:lnTo>
                <a:lnTo>
                  <a:pt x="103" y="103"/>
                </a:lnTo>
                <a:lnTo>
                  <a:pt x="110" y="100"/>
                </a:lnTo>
                <a:lnTo>
                  <a:pt x="116" y="103"/>
                </a:lnTo>
                <a:lnTo>
                  <a:pt x="119" y="109"/>
                </a:lnTo>
                <a:lnTo>
                  <a:pt x="122" y="106"/>
                </a:lnTo>
                <a:lnTo>
                  <a:pt x="131" y="112"/>
                </a:lnTo>
                <a:lnTo>
                  <a:pt x="138" y="106"/>
                </a:lnTo>
                <a:lnTo>
                  <a:pt x="141" y="106"/>
                </a:lnTo>
                <a:lnTo>
                  <a:pt x="141" y="109"/>
                </a:lnTo>
                <a:lnTo>
                  <a:pt x="144" y="106"/>
                </a:lnTo>
                <a:lnTo>
                  <a:pt x="141" y="100"/>
                </a:lnTo>
                <a:lnTo>
                  <a:pt x="138" y="91"/>
                </a:lnTo>
                <a:lnTo>
                  <a:pt x="135" y="91"/>
                </a:lnTo>
                <a:lnTo>
                  <a:pt x="131" y="81"/>
                </a:lnTo>
                <a:lnTo>
                  <a:pt x="131" y="72"/>
                </a:lnTo>
                <a:lnTo>
                  <a:pt x="128" y="66"/>
                </a:lnTo>
                <a:lnTo>
                  <a:pt x="122" y="62"/>
                </a:lnTo>
                <a:lnTo>
                  <a:pt x="116" y="56"/>
                </a:lnTo>
                <a:lnTo>
                  <a:pt x="113" y="47"/>
                </a:lnTo>
                <a:lnTo>
                  <a:pt x="106" y="44"/>
                </a:lnTo>
                <a:lnTo>
                  <a:pt x="100" y="41"/>
                </a:lnTo>
                <a:lnTo>
                  <a:pt x="97" y="37"/>
                </a:lnTo>
                <a:lnTo>
                  <a:pt x="94" y="34"/>
                </a:lnTo>
                <a:lnTo>
                  <a:pt x="88" y="37"/>
                </a:lnTo>
                <a:lnTo>
                  <a:pt x="78" y="34"/>
                </a:lnTo>
                <a:lnTo>
                  <a:pt x="75" y="31"/>
                </a:lnTo>
                <a:lnTo>
                  <a:pt x="72" y="31"/>
                </a:lnTo>
                <a:lnTo>
                  <a:pt x="72" y="25"/>
                </a:lnTo>
                <a:lnTo>
                  <a:pt x="69" y="22"/>
                </a:lnTo>
                <a:lnTo>
                  <a:pt x="60" y="9"/>
                </a:lnTo>
                <a:lnTo>
                  <a:pt x="56" y="3"/>
                </a:lnTo>
                <a:lnTo>
                  <a:pt x="53" y="0"/>
                </a:lnTo>
                <a:lnTo>
                  <a:pt x="50" y="0"/>
                </a:lnTo>
                <a:lnTo>
                  <a:pt x="50" y="0"/>
                </a:lnTo>
                <a:lnTo>
                  <a:pt x="47" y="3"/>
                </a:lnTo>
                <a:lnTo>
                  <a:pt x="44" y="3"/>
                </a:lnTo>
                <a:lnTo>
                  <a:pt x="41" y="3"/>
                </a:lnTo>
                <a:lnTo>
                  <a:pt x="38" y="0"/>
                </a:lnTo>
                <a:lnTo>
                  <a:pt x="35" y="0"/>
                </a:lnTo>
                <a:lnTo>
                  <a:pt x="35" y="3"/>
                </a:lnTo>
                <a:lnTo>
                  <a:pt x="35" y="3"/>
                </a:lnTo>
                <a:lnTo>
                  <a:pt x="31" y="9"/>
                </a:lnTo>
                <a:lnTo>
                  <a:pt x="22" y="12"/>
                </a:lnTo>
                <a:lnTo>
                  <a:pt x="6" y="16"/>
                </a:lnTo>
                <a:lnTo>
                  <a:pt x="10" y="19"/>
                </a:lnTo>
                <a:lnTo>
                  <a:pt x="0" y="25"/>
                </a:lnTo>
                <a:lnTo>
                  <a:pt x="0" y="34"/>
                </a:lnTo>
                <a:lnTo>
                  <a:pt x="3" y="37"/>
                </a:lnTo>
                <a:lnTo>
                  <a:pt x="6" y="34"/>
                </a:lnTo>
                <a:lnTo>
                  <a:pt x="10" y="34"/>
                </a:lnTo>
                <a:lnTo>
                  <a:pt x="13" y="37"/>
                </a:lnTo>
                <a:lnTo>
                  <a:pt x="19" y="44"/>
                </a:lnTo>
                <a:lnTo>
                  <a:pt x="25" y="47"/>
                </a:lnTo>
                <a:lnTo>
                  <a:pt x="25" y="50"/>
                </a:lnTo>
                <a:lnTo>
                  <a:pt x="31" y="53"/>
                </a:lnTo>
                <a:lnTo>
                  <a:pt x="31" y="56"/>
                </a:lnTo>
                <a:lnTo>
                  <a:pt x="25" y="59"/>
                </a:lnTo>
                <a:lnTo>
                  <a:pt x="25" y="62"/>
                </a:lnTo>
                <a:lnTo>
                  <a:pt x="22" y="66"/>
                </a:lnTo>
                <a:lnTo>
                  <a:pt x="22" y="72"/>
                </a:lnTo>
                <a:lnTo>
                  <a:pt x="25" y="78"/>
                </a:lnTo>
                <a:lnTo>
                  <a:pt x="28" y="91"/>
                </a:lnTo>
                <a:lnTo>
                  <a:pt x="28" y="97"/>
                </a:lnTo>
                <a:lnTo>
                  <a:pt x="38" y="103"/>
                </a:lnTo>
                <a:lnTo>
                  <a:pt x="44" y="103"/>
                </a:lnTo>
                <a:lnTo>
                  <a:pt x="50" y="106"/>
                </a:lnTo>
                <a:lnTo>
                  <a:pt x="53" y="112"/>
                </a:lnTo>
                <a:lnTo>
                  <a:pt x="60" y="112"/>
                </a:lnTo>
                <a:lnTo>
                  <a:pt x="63" y="112"/>
                </a:lnTo>
                <a:lnTo>
                  <a:pt x="69" y="112"/>
                </a:lnTo>
                <a:lnTo>
                  <a:pt x="69" y="11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3" name="Freeform 41">
            <a:extLst>
              <a:ext uri="{FF2B5EF4-FFF2-40B4-BE49-F238E27FC236}">
                <a16:creationId xmlns:a16="http://schemas.microsoft.com/office/drawing/2014/main" id="{CEB80832-BD29-51A3-376B-BB36B7A8A1EC}"/>
              </a:ext>
            </a:extLst>
          </p:cNvPr>
          <p:cNvSpPr>
            <a:spLocks/>
          </p:cNvSpPr>
          <p:nvPr userDrawn="1"/>
        </p:nvSpPr>
        <p:spPr bwMode="auto">
          <a:xfrm>
            <a:off x="16810531" y="6765209"/>
            <a:ext cx="834972" cy="695326"/>
          </a:xfrm>
          <a:custGeom>
            <a:avLst/>
            <a:gdLst>
              <a:gd name="T0" fmla="*/ 241 w 263"/>
              <a:gd name="T1" fmla="*/ 22 h 219"/>
              <a:gd name="T2" fmla="*/ 253 w 263"/>
              <a:gd name="T3" fmla="*/ 22 h 219"/>
              <a:gd name="T4" fmla="*/ 256 w 263"/>
              <a:gd name="T5" fmla="*/ 31 h 219"/>
              <a:gd name="T6" fmla="*/ 247 w 263"/>
              <a:gd name="T7" fmla="*/ 40 h 219"/>
              <a:gd name="T8" fmla="*/ 216 w 263"/>
              <a:gd name="T9" fmla="*/ 47 h 219"/>
              <a:gd name="T10" fmla="*/ 203 w 263"/>
              <a:gd name="T11" fmla="*/ 56 h 219"/>
              <a:gd name="T12" fmla="*/ 206 w 263"/>
              <a:gd name="T13" fmla="*/ 78 h 219"/>
              <a:gd name="T14" fmla="*/ 203 w 263"/>
              <a:gd name="T15" fmla="*/ 103 h 219"/>
              <a:gd name="T16" fmla="*/ 185 w 263"/>
              <a:gd name="T17" fmla="*/ 106 h 219"/>
              <a:gd name="T18" fmla="*/ 185 w 263"/>
              <a:gd name="T19" fmla="*/ 115 h 219"/>
              <a:gd name="T20" fmla="*/ 181 w 263"/>
              <a:gd name="T21" fmla="*/ 128 h 219"/>
              <a:gd name="T22" fmla="*/ 175 w 263"/>
              <a:gd name="T23" fmla="*/ 137 h 219"/>
              <a:gd name="T24" fmla="*/ 172 w 263"/>
              <a:gd name="T25" fmla="*/ 147 h 219"/>
              <a:gd name="T26" fmla="*/ 166 w 263"/>
              <a:gd name="T27" fmla="*/ 156 h 219"/>
              <a:gd name="T28" fmla="*/ 159 w 263"/>
              <a:gd name="T29" fmla="*/ 159 h 219"/>
              <a:gd name="T30" fmla="*/ 150 w 263"/>
              <a:gd name="T31" fmla="*/ 162 h 219"/>
              <a:gd name="T32" fmla="*/ 144 w 263"/>
              <a:gd name="T33" fmla="*/ 172 h 219"/>
              <a:gd name="T34" fmla="*/ 131 w 263"/>
              <a:gd name="T35" fmla="*/ 175 h 219"/>
              <a:gd name="T36" fmla="*/ 125 w 263"/>
              <a:gd name="T37" fmla="*/ 181 h 219"/>
              <a:gd name="T38" fmla="*/ 122 w 263"/>
              <a:gd name="T39" fmla="*/ 197 h 219"/>
              <a:gd name="T40" fmla="*/ 122 w 263"/>
              <a:gd name="T41" fmla="*/ 206 h 219"/>
              <a:gd name="T42" fmla="*/ 103 w 263"/>
              <a:gd name="T43" fmla="*/ 212 h 219"/>
              <a:gd name="T44" fmla="*/ 84 w 263"/>
              <a:gd name="T45" fmla="*/ 216 h 219"/>
              <a:gd name="T46" fmla="*/ 47 w 263"/>
              <a:gd name="T47" fmla="*/ 219 h 219"/>
              <a:gd name="T48" fmla="*/ 38 w 263"/>
              <a:gd name="T49" fmla="*/ 187 h 219"/>
              <a:gd name="T50" fmla="*/ 31 w 263"/>
              <a:gd name="T51" fmla="*/ 169 h 219"/>
              <a:gd name="T52" fmla="*/ 13 w 263"/>
              <a:gd name="T53" fmla="*/ 156 h 219"/>
              <a:gd name="T54" fmla="*/ 6 w 263"/>
              <a:gd name="T55" fmla="*/ 134 h 219"/>
              <a:gd name="T56" fmla="*/ 13 w 263"/>
              <a:gd name="T57" fmla="*/ 122 h 219"/>
              <a:gd name="T58" fmla="*/ 3 w 263"/>
              <a:gd name="T59" fmla="*/ 109 h 219"/>
              <a:gd name="T60" fmla="*/ 3 w 263"/>
              <a:gd name="T61" fmla="*/ 100 h 219"/>
              <a:gd name="T62" fmla="*/ 9 w 263"/>
              <a:gd name="T63" fmla="*/ 94 h 219"/>
              <a:gd name="T64" fmla="*/ 9 w 263"/>
              <a:gd name="T65" fmla="*/ 87 h 219"/>
              <a:gd name="T66" fmla="*/ 9 w 263"/>
              <a:gd name="T67" fmla="*/ 75 h 219"/>
              <a:gd name="T68" fmla="*/ 16 w 263"/>
              <a:gd name="T69" fmla="*/ 75 h 219"/>
              <a:gd name="T70" fmla="*/ 25 w 263"/>
              <a:gd name="T71" fmla="*/ 75 h 219"/>
              <a:gd name="T72" fmla="*/ 34 w 263"/>
              <a:gd name="T73" fmla="*/ 81 h 219"/>
              <a:gd name="T74" fmla="*/ 44 w 263"/>
              <a:gd name="T75" fmla="*/ 81 h 219"/>
              <a:gd name="T76" fmla="*/ 50 w 263"/>
              <a:gd name="T77" fmla="*/ 72 h 219"/>
              <a:gd name="T78" fmla="*/ 63 w 263"/>
              <a:gd name="T79" fmla="*/ 65 h 219"/>
              <a:gd name="T80" fmla="*/ 69 w 263"/>
              <a:gd name="T81" fmla="*/ 59 h 219"/>
              <a:gd name="T82" fmla="*/ 75 w 263"/>
              <a:gd name="T83" fmla="*/ 44 h 219"/>
              <a:gd name="T84" fmla="*/ 72 w 263"/>
              <a:gd name="T85" fmla="*/ 37 h 219"/>
              <a:gd name="T86" fmla="*/ 81 w 263"/>
              <a:gd name="T87" fmla="*/ 34 h 219"/>
              <a:gd name="T88" fmla="*/ 94 w 263"/>
              <a:gd name="T89" fmla="*/ 28 h 219"/>
              <a:gd name="T90" fmla="*/ 103 w 263"/>
              <a:gd name="T91" fmla="*/ 31 h 219"/>
              <a:gd name="T92" fmla="*/ 116 w 263"/>
              <a:gd name="T93" fmla="*/ 34 h 219"/>
              <a:gd name="T94" fmla="*/ 125 w 263"/>
              <a:gd name="T95" fmla="*/ 31 h 219"/>
              <a:gd name="T96" fmla="*/ 141 w 263"/>
              <a:gd name="T97" fmla="*/ 37 h 219"/>
              <a:gd name="T98" fmla="*/ 150 w 263"/>
              <a:gd name="T99" fmla="*/ 31 h 219"/>
              <a:gd name="T100" fmla="*/ 156 w 263"/>
              <a:gd name="T101" fmla="*/ 34 h 219"/>
              <a:gd name="T102" fmla="*/ 159 w 263"/>
              <a:gd name="T103" fmla="*/ 28 h 219"/>
              <a:gd name="T104" fmla="*/ 166 w 263"/>
              <a:gd name="T105" fmla="*/ 22 h 219"/>
              <a:gd name="T106" fmla="*/ 172 w 263"/>
              <a:gd name="T107" fmla="*/ 25 h 219"/>
              <a:gd name="T108" fmla="*/ 175 w 263"/>
              <a:gd name="T109" fmla="*/ 12 h 219"/>
              <a:gd name="T110" fmla="*/ 181 w 263"/>
              <a:gd name="T111" fmla="*/ 0 h 219"/>
              <a:gd name="T112" fmla="*/ 194 w 263"/>
              <a:gd name="T113" fmla="*/ 6 h 219"/>
              <a:gd name="T114" fmla="*/ 194 w 263"/>
              <a:gd name="T115" fmla="*/ 15 h 219"/>
              <a:gd name="T116" fmla="*/ 197 w 263"/>
              <a:gd name="T117" fmla="*/ 25 h 219"/>
              <a:gd name="T118" fmla="*/ 200 w 263"/>
              <a:gd name="T119" fmla="*/ 40 h 219"/>
              <a:gd name="T120" fmla="*/ 210 w 263"/>
              <a:gd name="T121" fmla="*/ 44 h 219"/>
              <a:gd name="T122" fmla="*/ 222 w 263"/>
              <a:gd name="T123" fmla="*/ 37 h 219"/>
              <a:gd name="T124" fmla="*/ 228 w 263"/>
              <a:gd name="T125" fmla="*/ 28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3" h="219">
                <a:moveTo>
                  <a:pt x="228" y="28"/>
                </a:moveTo>
                <a:lnTo>
                  <a:pt x="238" y="22"/>
                </a:lnTo>
                <a:lnTo>
                  <a:pt x="241" y="22"/>
                </a:lnTo>
                <a:lnTo>
                  <a:pt x="244" y="25"/>
                </a:lnTo>
                <a:lnTo>
                  <a:pt x="250" y="25"/>
                </a:lnTo>
                <a:lnTo>
                  <a:pt x="253" y="22"/>
                </a:lnTo>
                <a:lnTo>
                  <a:pt x="260" y="22"/>
                </a:lnTo>
                <a:lnTo>
                  <a:pt x="263" y="25"/>
                </a:lnTo>
                <a:lnTo>
                  <a:pt x="256" y="31"/>
                </a:lnTo>
                <a:lnTo>
                  <a:pt x="260" y="31"/>
                </a:lnTo>
                <a:lnTo>
                  <a:pt x="256" y="37"/>
                </a:lnTo>
                <a:lnTo>
                  <a:pt x="247" y="40"/>
                </a:lnTo>
                <a:lnTo>
                  <a:pt x="228" y="44"/>
                </a:lnTo>
                <a:lnTo>
                  <a:pt x="222" y="44"/>
                </a:lnTo>
                <a:lnTo>
                  <a:pt x="216" y="47"/>
                </a:lnTo>
                <a:lnTo>
                  <a:pt x="210" y="50"/>
                </a:lnTo>
                <a:lnTo>
                  <a:pt x="206" y="50"/>
                </a:lnTo>
                <a:lnTo>
                  <a:pt x="203" y="56"/>
                </a:lnTo>
                <a:lnTo>
                  <a:pt x="200" y="59"/>
                </a:lnTo>
                <a:lnTo>
                  <a:pt x="206" y="72"/>
                </a:lnTo>
                <a:lnTo>
                  <a:pt x="206" y="78"/>
                </a:lnTo>
                <a:lnTo>
                  <a:pt x="197" y="90"/>
                </a:lnTo>
                <a:lnTo>
                  <a:pt x="203" y="97"/>
                </a:lnTo>
                <a:lnTo>
                  <a:pt x="203" y="103"/>
                </a:lnTo>
                <a:lnTo>
                  <a:pt x="197" y="109"/>
                </a:lnTo>
                <a:lnTo>
                  <a:pt x="191" y="109"/>
                </a:lnTo>
                <a:lnTo>
                  <a:pt x="185" y="106"/>
                </a:lnTo>
                <a:lnTo>
                  <a:pt x="178" y="109"/>
                </a:lnTo>
                <a:lnTo>
                  <a:pt x="181" y="115"/>
                </a:lnTo>
                <a:lnTo>
                  <a:pt x="185" y="115"/>
                </a:lnTo>
                <a:lnTo>
                  <a:pt x="188" y="122"/>
                </a:lnTo>
                <a:lnTo>
                  <a:pt x="188" y="125"/>
                </a:lnTo>
                <a:lnTo>
                  <a:pt x="181" y="128"/>
                </a:lnTo>
                <a:lnTo>
                  <a:pt x="178" y="128"/>
                </a:lnTo>
                <a:lnTo>
                  <a:pt x="175" y="131"/>
                </a:lnTo>
                <a:lnTo>
                  <a:pt x="175" y="137"/>
                </a:lnTo>
                <a:lnTo>
                  <a:pt x="175" y="144"/>
                </a:lnTo>
                <a:lnTo>
                  <a:pt x="175" y="147"/>
                </a:lnTo>
                <a:lnTo>
                  <a:pt x="172" y="147"/>
                </a:lnTo>
                <a:lnTo>
                  <a:pt x="175" y="156"/>
                </a:lnTo>
                <a:lnTo>
                  <a:pt x="169" y="162"/>
                </a:lnTo>
                <a:lnTo>
                  <a:pt x="166" y="156"/>
                </a:lnTo>
                <a:lnTo>
                  <a:pt x="163" y="156"/>
                </a:lnTo>
                <a:lnTo>
                  <a:pt x="163" y="159"/>
                </a:lnTo>
                <a:lnTo>
                  <a:pt x="159" y="159"/>
                </a:lnTo>
                <a:lnTo>
                  <a:pt x="156" y="159"/>
                </a:lnTo>
                <a:lnTo>
                  <a:pt x="153" y="159"/>
                </a:lnTo>
                <a:lnTo>
                  <a:pt x="150" y="162"/>
                </a:lnTo>
                <a:lnTo>
                  <a:pt x="144" y="166"/>
                </a:lnTo>
                <a:lnTo>
                  <a:pt x="147" y="169"/>
                </a:lnTo>
                <a:lnTo>
                  <a:pt x="144" y="172"/>
                </a:lnTo>
                <a:lnTo>
                  <a:pt x="138" y="175"/>
                </a:lnTo>
                <a:lnTo>
                  <a:pt x="134" y="172"/>
                </a:lnTo>
                <a:lnTo>
                  <a:pt x="131" y="175"/>
                </a:lnTo>
                <a:lnTo>
                  <a:pt x="128" y="175"/>
                </a:lnTo>
                <a:lnTo>
                  <a:pt x="128" y="178"/>
                </a:lnTo>
                <a:lnTo>
                  <a:pt x="125" y="181"/>
                </a:lnTo>
                <a:lnTo>
                  <a:pt x="122" y="184"/>
                </a:lnTo>
                <a:lnTo>
                  <a:pt x="122" y="191"/>
                </a:lnTo>
                <a:lnTo>
                  <a:pt x="122" y="197"/>
                </a:lnTo>
                <a:lnTo>
                  <a:pt x="122" y="200"/>
                </a:lnTo>
                <a:lnTo>
                  <a:pt x="125" y="203"/>
                </a:lnTo>
                <a:lnTo>
                  <a:pt x="122" y="206"/>
                </a:lnTo>
                <a:lnTo>
                  <a:pt x="116" y="209"/>
                </a:lnTo>
                <a:lnTo>
                  <a:pt x="109" y="209"/>
                </a:lnTo>
                <a:lnTo>
                  <a:pt x="103" y="212"/>
                </a:lnTo>
                <a:lnTo>
                  <a:pt x="91" y="212"/>
                </a:lnTo>
                <a:lnTo>
                  <a:pt x="84" y="212"/>
                </a:lnTo>
                <a:lnTo>
                  <a:pt x="84" y="216"/>
                </a:lnTo>
                <a:lnTo>
                  <a:pt x="78" y="216"/>
                </a:lnTo>
                <a:lnTo>
                  <a:pt x="69" y="219"/>
                </a:lnTo>
                <a:lnTo>
                  <a:pt x="47" y="219"/>
                </a:lnTo>
                <a:lnTo>
                  <a:pt x="22" y="209"/>
                </a:lnTo>
                <a:lnTo>
                  <a:pt x="34" y="191"/>
                </a:lnTo>
                <a:lnTo>
                  <a:pt x="38" y="187"/>
                </a:lnTo>
                <a:lnTo>
                  <a:pt x="34" y="181"/>
                </a:lnTo>
                <a:lnTo>
                  <a:pt x="34" y="175"/>
                </a:lnTo>
                <a:lnTo>
                  <a:pt x="31" y="169"/>
                </a:lnTo>
                <a:lnTo>
                  <a:pt x="16" y="169"/>
                </a:lnTo>
                <a:lnTo>
                  <a:pt x="16" y="159"/>
                </a:lnTo>
                <a:lnTo>
                  <a:pt x="13" y="156"/>
                </a:lnTo>
                <a:lnTo>
                  <a:pt x="13" y="153"/>
                </a:lnTo>
                <a:lnTo>
                  <a:pt x="13" y="144"/>
                </a:lnTo>
                <a:lnTo>
                  <a:pt x="6" y="134"/>
                </a:lnTo>
                <a:lnTo>
                  <a:pt x="6" y="131"/>
                </a:lnTo>
                <a:lnTo>
                  <a:pt x="13" y="122"/>
                </a:lnTo>
                <a:lnTo>
                  <a:pt x="13" y="122"/>
                </a:lnTo>
                <a:lnTo>
                  <a:pt x="3" y="122"/>
                </a:lnTo>
                <a:lnTo>
                  <a:pt x="3" y="115"/>
                </a:lnTo>
                <a:lnTo>
                  <a:pt x="3" y="109"/>
                </a:lnTo>
                <a:lnTo>
                  <a:pt x="3" y="109"/>
                </a:lnTo>
                <a:lnTo>
                  <a:pt x="6" y="103"/>
                </a:lnTo>
                <a:lnTo>
                  <a:pt x="3" y="100"/>
                </a:lnTo>
                <a:lnTo>
                  <a:pt x="0" y="100"/>
                </a:lnTo>
                <a:lnTo>
                  <a:pt x="6" y="97"/>
                </a:lnTo>
                <a:lnTo>
                  <a:pt x="9" y="94"/>
                </a:lnTo>
                <a:lnTo>
                  <a:pt x="9" y="90"/>
                </a:lnTo>
                <a:lnTo>
                  <a:pt x="13" y="90"/>
                </a:lnTo>
                <a:lnTo>
                  <a:pt x="9" y="87"/>
                </a:lnTo>
                <a:lnTo>
                  <a:pt x="9" y="84"/>
                </a:lnTo>
                <a:lnTo>
                  <a:pt x="9" y="81"/>
                </a:lnTo>
                <a:lnTo>
                  <a:pt x="9" y="75"/>
                </a:lnTo>
                <a:lnTo>
                  <a:pt x="9" y="75"/>
                </a:lnTo>
                <a:lnTo>
                  <a:pt x="13" y="75"/>
                </a:lnTo>
                <a:lnTo>
                  <a:pt x="16" y="75"/>
                </a:lnTo>
                <a:lnTo>
                  <a:pt x="19" y="78"/>
                </a:lnTo>
                <a:lnTo>
                  <a:pt x="22" y="78"/>
                </a:lnTo>
                <a:lnTo>
                  <a:pt x="25" y="75"/>
                </a:lnTo>
                <a:lnTo>
                  <a:pt x="28" y="75"/>
                </a:lnTo>
                <a:lnTo>
                  <a:pt x="31" y="78"/>
                </a:lnTo>
                <a:lnTo>
                  <a:pt x="34" y="81"/>
                </a:lnTo>
                <a:lnTo>
                  <a:pt x="34" y="84"/>
                </a:lnTo>
                <a:lnTo>
                  <a:pt x="38" y="81"/>
                </a:lnTo>
                <a:lnTo>
                  <a:pt x="44" y="81"/>
                </a:lnTo>
                <a:lnTo>
                  <a:pt x="47" y="78"/>
                </a:lnTo>
                <a:lnTo>
                  <a:pt x="47" y="75"/>
                </a:lnTo>
                <a:lnTo>
                  <a:pt x="50" y="72"/>
                </a:lnTo>
                <a:lnTo>
                  <a:pt x="47" y="69"/>
                </a:lnTo>
                <a:lnTo>
                  <a:pt x="53" y="65"/>
                </a:lnTo>
                <a:lnTo>
                  <a:pt x="63" y="65"/>
                </a:lnTo>
                <a:lnTo>
                  <a:pt x="63" y="62"/>
                </a:lnTo>
                <a:lnTo>
                  <a:pt x="66" y="59"/>
                </a:lnTo>
                <a:lnTo>
                  <a:pt x="69" y="59"/>
                </a:lnTo>
                <a:lnTo>
                  <a:pt x="69" y="53"/>
                </a:lnTo>
                <a:lnTo>
                  <a:pt x="69" y="50"/>
                </a:lnTo>
                <a:lnTo>
                  <a:pt x="75" y="44"/>
                </a:lnTo>
                <a:lnTo>
                  <a:pt x="75" y="40"/>
                </a:lnTo>
                <a:lnTo>
                  <a:pt x="72" y="40"/>
                </a:lnTo>
                <a:lnTo>
                  <a:pt x="72" y="37"/>
                </a:lnTo>
                <a:lnTo>
                  <a:pt x="75" y="37"/>
                </a:lnTo>
                <a:lnTo>
                  <a:pt x="78" y="34"/>
                </a:lnTo>
                <a:lnTo>
                  <a:pt x="81" y="34"/>
                </a:lnTo>
                <a:lnTo>
                  <a:pt x="84" y="34"/>
                </a:lnTo>
                <a:lnTo>
                  <a:pt x="91" y="28"/>
                </a:lnTo>
                <a:lnTo>
                  <a:pt x="94" y="28"/>
                </a:lnTo>
                <a:lnTo>
                  <a:pt x="97" y="31"/>
                </a:lnTo>
                <a:lnTo>
                  <a:pt x="103" y="28"/>
                </a:lnTo>
                <a:lnTo>
                  <a:pt x="103" y="31"/>
                </a:lnTo>
                <a:lnTo>
                  <a:pt x="109" y="28"/>
                </a:lnTo>
                <a:lnTo>
                  <a:pt x="116" y="31"/>
                </a:lnTo>
                <a:lnTo>
                  <a:pt x="116" y="34"/>
                </a:lnTo>
                <a:lnTo>
                  <a:pt x="119" y="34"/>
                </a:lnTo>
                <a:lnTo>
                  <a:pt x="122" y="31"/>
                </a:lnTo>
                <a:lnTo>
                  <a:pt x="125" y="31"/>
                </a:lnTo>
                <a:lnTo>
                  <a:pt x="131" y="37"/>
                </a:lnTo>
                <a:lnTo>
                  <a:pt x="134" y="37"/>
                </a:lnTo>
                <a:lnTo>
                  <a:pt x="141" y="37"/>
                </a:lnTo>
                <a:lnTo>
                  <a:pt x="144" y="34"/>
                </a:lnTo>
                <a:lnTo>
                  <a:pt x="147" y="31"/>
                </a:lnTo>
                <a:lnTo>
                  <a:pt x="150" y="31"/>
                </a:lnTo>
                <a:lnTo>
                  <a:pt x="150" y="28"/>
                </a:lnTo>
                <a:lnTo>
                  <a:pt x="153" y="31"/>
                </a:lnTo>
                <a:lnTo>
                  <a:pt x="156" y="34"/>
                </a:lnTo>
                <a:lnTo>
                  <a:pt x="163" y="34"/>
                </a:lnTo>
                <a:lnTo>
                  <a:pt x="163" y="31"/>
                </a:lnTo>
                <a:lnTo>
                  <a:pt x="159" y="28"/>
                </a:lnTo>
                <a:lnTo>
                  <a:pt x="159" y="25"/>
                </a:lnTo>
                <a:lnTo>
                  <a:pt x="166" y="25"/>
                </a:lnTo>
                <a:lnTo>
                  <a:pt x="166" y="22"/>
                </a:lnTo>
                <a:lnTo>
                  <a:pt x="169" y="22"/>
                </a:lnTo>
                <a:lnTo>
                  <a:pt x="169" y="25"/>
                </a:lnTo>
                <a:lnTo>
                  <a:pt x="172" y="25"/>
                </a:lnTo>
                <a:lnTo>
                  <a:pt x="175" y="22"/>
                </a:lnTo>
                <a:lnTo>
                  <a:pt x="175" y="15"/>
                </a:lnTo>
                <a:lnTo>
                  <a:pt x="175" y="12"/>
                </a:lnTo>
                <a:lnTo>
                  <a:pt x="178" y="9"/>
                </a:lnTo>
                <a:lnTo>
                  <a:pt x="178" y="3"/>
                </a:lnTo>
                <a:lnTo>
                  <a:pt x="181" y="0"/>
                </a:lnTo>
                <a:lnTo>
                  <a:pt x="185" y="0"/>
                </a:lnTo>
                <a:lnTo>
                  <a:pt x="188" y="3"/>
                </a:lnTo>
                <a:lnTo>
                  <a:pt x="194" y="6"/>
                </a:lnTo>
                <a:lnTo>
                  <a:pt x="194" y="9"/>
                </a:lnTo>
                <a:lnTo>
                  <a:pt x="191" y="12"/>
                </a:lnTo>
                <a:lnTo>
                  <a:pt x="194" y="15"/>
                </a:lnTo>
                <a:lnTo>
                  <a:pt x="197" y="15"/>
                </a:lnTo>
                <a:lnTo>
                  <a:pt x="197" y="18"/>
                </a:lnTo>
                <a:lnTo>
                  <a:pt x="197" y="25"/>
                </a:lnTo>
                <a:lnTo>
                  <a:pt x="197" y="28"/>
                </a:lnTo>
                <a:lnTo>
                  <a:pt x="197" y="37"/>
                </a:lnTo>
                <a:lnTo>
                  <a:pt x="200" y="40"/>
                </a:lnTo>
                <a:lnTo>
                  <a:pt x="200" y="44"/>
                </a:lnTo>
                <a:lnTo>
                  <a:pt x="203" y="44"/>
                </a:lnTo>
                <a:lnTo>
                  <a:pt x="210" y="44"/>
                </a:lnTo>
                <a:lnTo>
                  <a:pt x="213" y="40"/>
                </a:lnTo>
                <a:lnTo>
                  <a:pt x="213" y="40"/>
                </a:lnTo>
                <a:lnTo>
                  <a:pt x="222" y="37"/>
                </a:lnTo>
                <a:lnTo>
                  <a:pt x="225" y="34"/>
                </a:lnTo>
                <a:lnTo>
                  <a:pt x="225" y="31"/>
                </a:lnTo>
                <a:lnTo>
                  <a:pt x="228" y="28"/>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4" name="Freeform 42">
            <a:extLst>
              <a:ext uri="{FF2B5EF4-FFF2-40B4-BE49-F238E27FC236}">
                <a16:creationId xmlns:a16="http://schemas.microsoft.com/office/drawing/2014/main" id="{3ACBBCA8-3F6C-4F52-B72A-1D059B9D4D77}"/>
              </a:ext>
            </a:extLst>
          </p:cNvPr>
          <p:cNvSpPr>
            <a:spLocks noEditPoints="1"/>
          </p:cNvSpPr>
          <p:nvPr userDrawn="1"/>
        </p:nvSpPr>
        <p:spPr bwMode="auto">
          <a:xfrm>
            <a:off x="13584939" y="5285656"/>
            <a:ext cx="387325" cy="307976"/>
          </a:xfrm>
          <a:custGeom>
            <a:avLst/>
            <a:gdLst>
              <a:gd name="T0" fmla="*/ 30 w 39"/>
              <a:gd name="T1" fmla="*/ 30 h 31"/>
              <a:gd name="T2" fmla="*/ 31 w 39"/>
              <a:gd name="T3" fmla="*/ 28 h 31"/>
              <a:gd name="T4" fmla="*/ 28 w 39"/>
              <a:gd name="T5" fmla="*/ 28 h 31"/>
              <a:gd name="T6" fmla="*/ 28 w 39"/>
              <a:gd name="T7" fmla="*/ 29 h 31"/>
              <a:gd name="T8" fmla="*/ 37 w 39"/>
              <a:gd name="T9" fmla="*/ 24 h 31"/>
              <a:gd name="T10" fmla="*/ 37 w 39"/>
              <a:gd name="T11" fmla="*/ 22 h 31"/>
              <a:gd name="T12" fmla="*/ 25 w 39"/>
              <a:gd name="T13" fmla="*/ 19 h 31"/>
              <a:gd name="T14" fmla="*/ 21 w 39"/>
              <a:gd name="T15" fmla="*/ 24 h 31"/>
              <a:gd name="T16" fmla="*/ 18 w 39"/>
              <a:gd name="T17" fmla="*/ 22 h 31"/>
              <a:gd name="T18" fmla="*/ 18 w 39"/>
              <a:gd name="T19" fmla="*/ 19 h 31"/>
              <a:gd name="T20" fmla="*/ 19 w 39"/>
              <a:gd name="T21" fmla="*/ 19 h 31"/>
              <a:gd name="T22" fmla="*/ 22 w 39"/>
              <a:gd name="T23" fmla="*/ 19 h 31"/>
              <a:gd name="T24" fmla="*/ 22 w 39"/>
              <a:gd name="T25" fmla="*/ 16 h 31"/>
              <a:gd name="T26" fmla="*/ 24 w 39"/>
              <a:gd name="T27" fmla="*/ 20 h 31"/>
              <a:gd name="T28" fmla="*/ 24 w 39"/>
              <a:gd name="T29" fmla="*/ 22 h 31"/>
              <a:gd name="T30" fmla="*/ 22 w 39"/>
              <a:gd name="T31" fmla="*/ 25 h 31"/>
              <a:gd name="T32" fmla="*/ 24 w 39"/>
              <a:gd name="T33" fmla="*/ 25 h 31"/>
              <a:gd name="T34" fmla="*/ 18 w 39"/>
              <a:gd name="T35" fmla="*/ 25 h 31"/>
              <a:gd name="T36" fmla="*/ 21 w 39"/>
              <a:gd name="T37" fmla="*/ 26 h 31"/>
              <a:gd name="T38" fmla="*/ 22 w 39"/>
              <a:gd name="T39" fmla="*/ 27 h 31"/>
              <a:gd name="T40" fmla="*/ 20 w 39"/>
              <a:gd name="T41" fmla="*/ 28 h 31"/>
              <a:gd name="T42" fmla="*/ 17 w 39"/>
              <a:gd name="T43" fmla="*/ 27 h 31"/>
              <a:gd name="T44" fmla="*/ 13 w 39"/>
              <a:gd name="T45" fmla="*/ 19 h 31"/>
              <a:gd name="T46" fmla="*/ 14 w 39"/>
              <a:gd name="T47" fmla="*/ 19 h 31"/>
              <a:gd name="T48" fmla="*/ 14 w 39"/>
              <a:gd name="T49" fmla="*/ 26 h 31"/>
              <a:gd name="T50" fmla="*/ 15 w 39"/>
              <a:gd name="T51" fmla="*/ 26 h 31"/>
              <a:gd name="T52" fmla="*/ 15 w 39"/>
              <a:gd name="T53" fmla="*/ 24 h 31"/>
              <a:gd name="T54" fmla="*/ 14 w 39"/>
              <a:gd name="T55" fmla="*/ 21 h 31"/>
              <a:gd name="T56" fmla="*/ 13 w 39"/>
              <a:gd name="T57" fmla="*/ 25 h 31"/>
              <a:gd name="T58" fmla="*/ 9 w 39"/>
              <a:gd name="T59" fmla="*/ 22 h 31"/>
              <a:gd name="T60" fmla="*/ 17 w 39"/>
              <a:gd name="T61" fmla="*/ 4 h 31"/>
              <a:gd name="T62" fmla="*/ 3 w 39"/>
              <a:gd name="T63" fmla="*/ 9 h 31"/>
              <a:gd name="T64" fmla="*/ 4 w 39"/>
              <a:gd name="T65" fmla="*/ 10 h 31"/>
              <a:gd name="T66" fmla="*/ 3 w 39"/>
              <a:gd name="T67" fmla="*/ 9 h 31"/>
              <a:gd name="T68" fmla="*/ 8 w 39"/>
              <a:gd name="T69" fmla="*/ 8 h 31"/>
              <a:gd name="T70" fmla="*/ 12 w 39"/>
              <a:gd name="T71" fmla="*/ 8 h 31"/>
              <a:gd name="T72" fmla="*/ 13 w 39"/>
              <a:gd name="T73" fmla="*/ 2 h 31"/>
              <a:gd name="T74" fmla="*/ 10 w 39"/>
              <a:gd name="T75" fmla="*/ 3 h 31"/>
              <a:gd name="T76" fmla="*/ 6 w 39"/>
              <a:gd name="T77" fmla="*/ 6 h 31"/>
              <a:gd name="T78" fmla="*/ 2 w 39"/>
              <a:gd name="T79" fmla="*/ 7 h 31"/>
              <a:gd name="T80" fmla="*/ 2 w 39"/>
              <a:gd name="T81" fmla="*/ 10 h 31"/>
              <a:gd name="T82" fmla="*/ 9 w 39"/>
              <a:gd name="T83" fmla="*/ 25 h 31"/>
              <a:gd name="T84" fmla="*/ 8 w 39"/>
              <a:gd name="T85" fmla="*/ 23 h 31"/>
              <a:gd name="T86" fmla="*/ 10 w 39"/>
              <a:gd name="T87" fmla="*/ 20 h 31"/>
              <a:gd name="T88" fmla="*/ 12 w 39"/>
              <a:gd name="T89" fmla="*/ 18 h 31"/>
              <a:gd name="T90" fmla="*/ 14 w 39"/>
              <a:gd name="T91" fmla="*/ 14 h 31"/>
              <a:gd name="T92" fmla="*/ 16 w 39"/>
              <a:gd name="T93" fmla="*/ 14 h 31"/>
              <a:gd name="T94" fmla="*/ 13 w 39"/>
              <a:gd name="T95" fmla="*/ 13 h 31"/>
              <a:gd name="T96" fmla="*/ 11 w 39"/>
              <a:gd name="T97" fmla="*/ 10 h 31"/>
              <a:gd name="T98" fmla="*/ 7 w 39"/>
              <a:gd name="T99" fmla="*/ 8 h 31"/>
              <a:gd name="T100" fmla="*/ 7 w 39"/>
              <a:gd name="T101" fmla="*/ 11 h 31"/>
              <a:gd name="T102" fmla="*/ 6 w 39"/>
              <a:gd name="T103" fmla="*/ 12 h 31"/>
              <a:gd name="T104" fmla="*/ 5 w 39"/>
              <a:gd name="T105" fmla="*/ 10 h 31"/>
              <a:gd name="T106" fmla="*/ 3 w 39"/>
              <a:gd name="T107" fmla="*/ 12 h 31"/>
              <a:gd name="T108" fmla="*/ 2 w 39"/>
              <a:gd name="T109" fmla="*/ 13 h 31"/>
              <a:gd name="T110" fmla="*/ 0 w 39"/>
              <a:gd name="T111" fmla="*/ 16 h 31"/>
              <a:gd name="T112" fmla="*/ 0 w 39"/>
              <a:gd name="T113" fmla="*/ 19 h 31"/>
              <a:gd name="T114" fmla="*/ 3 w 39"/>
              <a:gd name="T115" fmla="*/ 22 h 31"/>
              <a:gd name="T116" fmla="*/ 4 w 39"/>
              <a:gd name="T117"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 h="31">
                <a:moveTo>
                  <a:pt x="28" y="30"/>
                </a:moveTo>
                <a:cubicBezTo>
                  <a:pt x="28" y="31"/>
                  <a:pt x="28" y="31"/>
                  <a:pt x="28" y="31"/>
                </a:cubicBezTo>
                <a:cubicBezTo>
                  <a:pt x="30" y="31"/>
                  <a:pt x="30" y="31"/>
                  <a:pt x="30" y="31"/>
                </a:cubicBezTo>
                <a:cubicBezTo>
                  <a:pt x="30" y="30"/>
                  <a:pt x="30" y="30"/>
                  <a:pt x="30" y="30"/>
                </a:cubicBezTo>
                <a:cubicBezTo>
                  <a:pt x="31" y="30"/>
                  <a:pt x="31" y="30"/>
                  <a:pt x="31" y="30"/>
                </a:cubicBezTo>
                <a:cubicBezTo>
                  <a:pt x="31" y="30"/>
                  <a:pt x="31" y="30"/>
                  <a:pt x="31" y="30"/>
                </a:cubicBezTo>
                <a:cubicBezTo>
                  <a:pt x="31" y="29"/>
                  <a:pt x="31" y="29"/>
                  <a:pt x="31" y="29"/>
                </a:cubicBezTo>
                <a:cubicBezTo>
                  <a:pt x="31" y="28"/>
                  <a:pt x="31" y="28"/>
                  <a:pt x="31" y="28"/>
                </a:cubicBezTo>
                <a:cubicBezTo>
                  <a:pt x="30" y="28"/>
                  <a:pt x="30" y="28"/>
                  <a:pt x="30" y="28"/>
                </a:cubicBezTo>
                <a:cubicBezTo>
                  <a:pt x="30" y="28"/>
                  <a:pt x="30" y="28"/>
                  <a:pt x="30" y="28"/>
                </a:cubicBezTo>
                <a:cubicBezTo>
                  <a:pt x="29" y="28"/>
                  <a:pt x="29" y="28"/>
                  <a:pt x="29" y="28"/>
                </a:cubicBezTo>
                <a:cubicBezTo>
                  <a:pt x="28" y="28"/>
                  <a:pt x="28" y="28"/>
                  <a:pt x="28" y="28"/>
                </a:cubicBezTo>
                <a:cubicBezTo>
                  <a:pt x="28" y="29"/>
                  <a:pt x="28" y="29"/>
                  <a:pt x="28" y="29"/>
                </a:cubicBezTo>
                <a:cubicBezTo>
                  <a:pt x="29" y="29"/>
                  <a:pt x="29" y="29"/>
                  <a:pt x="29" y="29"/>
                </a:cubicBezTo>
                <a:cubicBezTo>
                  <a:pt x="29" y="29"/>
                  <a:pt x="29" y="29"/>
                  <a:pt x="29" y="29"/>
                </a:cubicBezTo>
                <a:cubicBezTo>
                  <a:pt x="28" y="29"/>
                  <a:pt x="28" y="29"/>
                  <a:pt x="28" y="29"/>
                </a:cubicBezTo>
                <a:cubicBezTo>
                  <a:pt x="28" y="30"/>
                  <a:pt x="28" y="30"/>
                  <a:pt x="28" y="30"/>
                </a:cubicBezTo>
                <a:close/>
                <a:moveTo>
                  <a:pt x="37" y="22"/>
                </a:moveTo>
                <a:cubicBezTo>
                  <a:pt x="37" y="23"/>
                  <a:pt x="37" y="23"/>
                  <a:pt x="37" y="23"/>
                </a:cubicBezTo>
                <a:cubicBezTo>
                  <a:pt x="37" y="24"/>
                  <a:pt x="37" y="24"/>
                  <a:pt x="37" y="24"/>
                </a:cubicBezTo>
                <a:cubicBezTo>
                  <a:pt x="39" y="25"/>
                  <a:pt x="39" y="25"/>
                  <a:pt x="39" y="25"/>
                </a:cubicBezTo>
                <a:cubicBezTo>
                  <a:pt x="39" y="24"/>
                  <a:pt x="39" y="24"/>
                  <a:pt x="39" y="24"/>
                </a:cubicBezTo>
                <a:cubicBezTo>
                  <a:pt x="38" y="22"/>
                  <a:pt x="38" y="22"/>
                  <a:pt x="38" y="22"/>
                </a:cubicBezTo>
                <a:cubicBezTo>
                  <a:pt x="37" y="22"/>
                  <a:pt x="37" y="22"/>
                  <a:pt x="37" y="22"/>
                </a:cubicBezTo>
                <a:close/>
                <a:moveTo>
                  <a:pt x="25" y="19"/>
                </a:moveTo>
                <a:cubicBezTo>
                  <a:pt x="24" y="20"/>
                  <a:pt x="24" y="20"/>
                  <a:pt x="24" y="20"/>
                </a:cubicBezTo>
                <a:cubicBezTo>
                  <a:pt x="25" y="20"/>
                  <a:pt x="25" y="20"/>
                  <a:pt x="25" y="20"/>
                </a:cubicBezTo>
                <a:cubicBezTo>
                  <a:pt x="25" y="19"/>
                  <a:pt x="25" y="19"/>
                  <a:pt x="25" y="19"/>
                </a:cubicBezTo>
                <a:close/>
                <a:moveTo>
                  <a:pt x="22" y="25"/>
                </a:moveTo>
                <a:cubicBezTo>
                  <a:pt x="21" y="25"/>
                  <a:pt x="21" y="25"/>
                  <a:pt x="21" y="25"/>
                </a:cubicBezTo>
                <a:cubicBezTo>
                  <a:pt x="20" y="24"/>
                  <a:pt x="20" y="24"/>
                  <a:pt x="20" y="24"/>
                </a:cubicBezTo>
                <a:cubicBezTo>
                  <a:pt x="21" y="24"/>
                  <a:pt x="21" y="24"/>
                  <a:pt x="21" y="24"/>
                </a:cubicBezTo>
                <a:cubicBezTo>
                  <a:pt x="21" y="23"/>
                  <a:pt x="21" y="23"/>
                  <a:pt x="21" y="23"/>
                </a:cubicBezTo>
                <a:cubicBezTo>
                  <a:pt x="19" y="23"/>
                  <a:pt x="19" y="23"/>
                  <a:pt x="19" y="23"/>
                </a:cubicBezTo>
                <a:cubicBezTo>
                  <a:pt x="18" y="23"/>
                  <a:pt x="18" y="23"/>
                  <a:pt x="18" y="23"/>
                </a:cubicBezTo>
                <a:cubicBezTo>
                  <a:pt x="18" y="22"/>
                  <a:pt x="18" y="22"/>
                  <a:pt x="18" y="22"/>
                </a:cubicBezTo>
                <a:cubicBezTo>
                  <a:pt x="18" y="21"/>
                  <a:pt x="18" y="21"/>
                  <a:pt x="18" y="21"/>
                </a:cubicBezTo>
                <a:cubicBezTo>
                  <a:pt x="17" y="20"/>
                  <a:pt x="17" y="20"/>
                  <a:pt x="17" y="20"/>
                </a:cubicBezTo>
                <a:cubicBezTo>
                  <a:pt x="17" y="19"/>
                  <a:pt x="17" y="19"/>
                  <a:pt x="17" y="19"/>
                </a:cubicBezTo>
                <a:cubicBezTo>
                  <a:pt x="18" y="19"/>
                  <a:pt x="18" y="19"/>
                  <a:pt x="18" y="19"/>
                </a:cubicBezTo>
                <a:cubicBezTo>
                  <a:pt x="18" y="18"/>
                  <a:pt x="18" y="18"/>
                  <a:pt x="18" y="18"/>
                </a:cubicBezTo>
                <a:cubicBezTo>
                  <a:pt x="19" y="17"/>
                  <a:pt x="19" y="17"/>
                  <a:pt x="19" y="17"/>
                </a:cubicBezTo>
                <a:cubicBezTo>
                  <a:pt x="19" y="18"/>
                  <a:pt x="19" y="18"/>
                  <a:pt x="19" y="18"/>
                </a:cubicBezTo>
                <a:cubicBezTo>
                  <a:pt x="19" y="19"/>
                  <a:pt x="19" y="19"/>
                  <a:pt x="19" y="19"/>
                </a:cubicBezTo>
                <a:cubicBezTo>
                  <a:pt x="21" y="19"/>
                  <a:pt x="21" y="19"/>
                  <a:pt x="21" y="19"/>
                </a:cubicBezTo>
                <a:cubicBezTo>
                  <a:pt x="21" y="19"/>
                  <a:pt x="21" y="19"/>
                  <a:pt x="21" y="19"/>
                </a:cubicBezTo>
                <a:cubicBezTo>
                  <a:pt x="22" y="19"/>
                  <a:pt x="22" y="19"/>
                  <a:pt x="22" y="19"/>
                </a:cubicBezTo>
                <a:cubicBezTo>
                  <a:pt x="22" y="19"/>
                  <a:pt x="22" y="19"/>
                  <a:pt x="22" y="19"/>
                </a:cubicBezTo>
                <a:cubicBezTo>
                  <a:pt x="21" y="18"/>
                  <a:pt x="21" y="18"/>
                  <a:pt x="21" y="18"/>
                </a:cubicBezTo>
                <a:cubicBezTo>
                  <a:pt x="20" y="17"/>
                  <a:pt x="20" y="17"/>
                  <a:pt x="20" y="17"/>
                </a:cubicBezTo>
                <a:cubicBezTo>
                  <a:pt x="21" y="16"/>
                  <a:pt x="21" y="16"/>
                  <a:pt x="21" y="16"/>
                </a:cubicBezTo>
                <a:cubicBezTo>
                  <a:pt x="22" y="16"/>
                  <a:pt x="22" y="16"/>
                  <a:pt x="22" y="16"/>
                </a:cubicBezTo>
                <a:cubicBezTo>
                  <a:pt x="24" y="16"/>
                  <a:pt x="24" y="16"/>
                  <a:pt x="24" y="16"/>
                </a:cubicBezTo>
                <a:cubicBezTo>
                  <a:pt x="24" y="17"/>
                  <a:pt x="24" y="17"/>
                  <a:pt x="24" y="17"/>
                </a:cubicBezTo>
                <a:cubicBezTo>
                  <a:pt x="24" y="18"/>
                  <a:pt x="24" y="18"/>
                  <a:pt x="24" y="18"/>
                </a:cubicBezTo>
                <a:cubicBezTo>
                  <a:pt x="24" y="20"/>
                  <a:pt x="24" y="20"/>
                  <a:pt x="24" y="20"/>
                </a:cubicBezTo>
                <a:cubicBezTo>
                  <a:pt x="23" y="20"/>
                  <a:pt x="23" y="20"/>
                  <a:pt x="23" y="20"/>
                </a:cubicBezTo>
                <a:cubicBezTo>
                  <a:pt x="23" y="21"/>
                  <a:pt x="23" y="21"/>
                  <a:pt x="23" y="21"/>
                </a:cubicBezTo>
                <a:cubicBezTo>
                  <a:pt x="24" y="22"/>
                  <a:pt x="24" y="22"/>
                  <a:pt x="24" y="22"/>
                </a:cubicBezTo>
                <a:cubicBezTo>
                  <a:pt x="24" y="22"/>
                  <a:pt x="24" y="22"/>
                  <a:pt x="24" y="22"/>
                </a:cubicBezTo>
                <a:cubicBezTo>
                  <a:pt x="23" y="23"/>
                  <a:pt x="23" y="23"/>
                  <a:pt x="23" y="23"/>
                </a:cubicBezTo>
                <a:cubicBezTo>
                  <a:pt x="22" y="23"/>
                  <a:pt x="22" y="23"/>
                  <a:pt x="22" y="23"/>
                </a:cubicBezTo>
                <a:cubicBezTo>
                  <a:pt x="22" y="24"/>
                  <a:pt x="22" y="24"/>
                  <a:pt x="22" y="24"/>
                </a:cubicBezTo>
                <a:cubicBezTo>
                  <a:pt x="22" y="25"/>
                  <a:pt x="22" y="25"/>
                  <a:pt x="22" y="25"/>
                </a:cubicBezTo>
                <a:close/>
                <a:moveTo>
                  <a:pt x="22" y="25"/>
                </a:moveTo>
                <a:cubicBezTo>
                  <a:pt x="23" y="26"/>
                  <a:pt x="23" y="26"/>
                  <a:pt x="23" y="26"/>
                </a:cubicBezTo>
                <a:cubicBezTo>
                  <a:pt x="23" y="25"/>
                  <a:pt x="23" y="25"/>
                  <a:pt x="23" y="25"/>
                </a:cubicBezTo>
                <a:cubicBezTo>
                  <a:pt x="24" y="25"/>
                  <a:pt x="24" y="25"/>
                  <a:pt x="24" y="25"/>
                </a:cubicBezTo>
                <a:cubicBezTo>
                  <a:pt x="24" y="24"/>
                  <a:pt x="24" y="24"/>
                  <a:pt x="24" y="24"/>
                </a:cubicBezTo>
                <a:cubicBezTo>
                  <a:pt x="23" y="25"/>
                  <a:pt x="23" y="25"/>
                  <a:pt x="23" y="25"/>
                </a:cubicBezTo>
                <a:cubicBezTo>
                  <a:pt x="22" y="25"/>
                  <a:pt x="22" y="25"/>
                  <a:pt x="22" y="25"/>
                </a:cubicBezTo>
                <a:close/>
                <a:moveTo>
                  <a:pt x="18" y="25"/>
                </a:moveTo>
                <a:cubicBezTo>
                  <a:pt x="19" y="27"/>
                  <a:pt x="19" y="27"/>
                  <a:pt x="19" y="27"/>
                </a:cubicBezTo>
                <a:cubicBezTo>
                  <a:pt x="20" y="27"/>
                  <a:pt x="20" y="27"/>
                  <a:pt x="20" y="27"/>
                </a:cubicBezTo>
                <a:cubicBezTo>
                  <a:pt x="20" y="27"/>
                  <a:pt x="20" y="27"/>
                  <a:pt x="20" y="27"/>
                </a:cubicBezTo>
                <a:cubicBezTo>
                  <a:pt x="21" y="26"/>
                  <a:pt x="21" y="26"/>
                  <a:pt x="21" y="26"/>
                </a:cubicBezTo>
                <a:cubicBezTo>
                  <a:pt x="22" y="26"/>
                  <a:pt x="22" y="26"/>
                  <a:pt x="22" y="26"/>
                </a:cubicBezTo>
                <a:cubicBezTo>
                  <a:pt x="22" y="25"/>
                  <a:pt x="22" y="25"/>
                  <a:pt x="22" y="25"/>
                </a:cubicBezTo>
                <a:cubicBezTo>
                  <a:pt x="22" y="26"/>
                  <a:pt x="22" y="26"/>
                  <a:pt x="22" y="26"/>
                </a:cubicBezTo>
                <a:cubicBezTo>
                  <a:pt x="22" y="27"/>
                  <a:pt x="22" y="27"/>
                  <a:pt x="22" y="27"/>
                </a:cubicBezTo>
                <a:cubicBezTo>
                  <a:pt x="22" y="28"/>
                  <a:pt x="22" y="28"/>
                  <a:pt x="22" y="28"/>
                </a:cubicBezTo>
                <a:cubicBezTo>
                  <a:pt x="21" y="28"/>
                  <a:pt x="21" y="28"/>
                  <a:pt x="21" y="28"/>
                </a:cubicBezTo>
                <a:cubicBezTo>
                  <a:pt x="21" y="27"/>
                  <a:pt x="21" y="27"/>
                  <a:pt x="21" y="27"/>
                </a:cubicBezTo>
                <a:cubicBezTo>
                  <a:pt x="20" y="28"/>
                  <a:pt x="20" y="28"/>
                  <a:pt x="20" y="28"/>
                </a:cubicBezTo>
                <a:cubicBezTo>
                  <a:pt x="19" y="28"/>
                  <a:pt x="19" y="28"/>
                  <a:pt x="19" y="28"/>
                </a:cubicBezTo>
                <a:cubicBezTo>
                  <a:pt x="17" y="28"/>
                  <a:pt x="17" y="28"/>
                  <a:pt x="17" y="28"/>
                </a:cubicBezTo>
                <a:cubicBezTo>
                  <a:pt x="16" y="27"/>
                  <a:pt x="16" y="27"/>
                  <a:pt x="16" y="27"/>
                </a:cubicBezTo>
                <a:cubicBezTo>
                  <a:pt x="17" y="27"/>
                  <a:pt x="17" y="27"/>
                  <a:pt x="17" y="27"/>
                </a:cubicBezTo>
                <a:cubicBezTo>
                  <a:pt x="17" y="26"/>
                  <a:pt x="17" y="26"/>
                  <a:pt x="17" y="26"/>
                </a:cubicBezTo>
                <a:cubicBezTo>
                  <a:pt x="17" y="25"/>
                  <a:pt x="17" y="25"/>
                  <a:pt x="17" y="25"/>
                </a:cubicBezTo>
                <a:cubicBezTo>
                  <a:pt x="18" y="25"/>
                  <a:pt x="18" y="25"/>
                  <a:pt x="18" y="25"/>
                </a:cubicBezTo>
                <a:close/>
                <a:moveTo>
                  <a:pt x="13" y="19"/>
                </a:moveTo>
                <a:cubicBezTo>
                  <a:pt x="14" y="18"/>
                  <a:pt x="14" y="18"/>
                  <a:pt x="14" y="18"/>
                </a:cubicBezTo>
                <a:cubicBezTo>
                  <a:pt x="14" y="16"/>
                  <a:pt x="14" y="16"/>
                  <a:pt x="14" y="16"/>
                </a:cubicBezTo>
                <a:cubicBezTo>
                  <a:pt x="14" y="18"/>
                  <a:pt x="14" y="18"/>
                  <a:pt x="14" y="18"/>
                </a:cubicBezTo>
                <a:cubicBezTo>
                  <a:pt x="14" y="19"/>
                  <a:pt x="14" y="19"/>
                  <a:pt x="14" y="19"/>
                </a:cubicBezTo>
                <a:cubicBezTo>
                  <a:pt x="13" y="19"/>
                  <a:pt x="13" y="19"/>
                  <a:pt x="13" y="19"/>
                </a:cubicBezTo>
                <a:close/>
                <a:moveTo>
                  <a:pt x="13" y="26"/>
                </a:moveTo>
                <a:cubicBezTo>
                  <a:pt x="14" y="27"/>
                  <a:pt x="14" y="27"/>
                  <a:pt x="14" y="27"/>
                </a:cubicBezTo>
                <a:cubicBezTo>
                  <a:pt x="14" y="26"/>
                  <a:pt x="14" y="26"/>
                  <a:pt x="14" y="26"/>
                </a:cubicBezTo>
                <a:cubicBezTo>
                  <a:pt x="13" y="26"/>
                  <a:pt x="13" y="26"/>
                  <a:pt x="13" y="26"/>
                </a:cubicBezTo>
                <a:close/>
                <a:moveTo>
                  <a:pt x="15" y="24"/>
                </a:moveTo>
                <a:cubicBezTo>
                  <a:pt x="15" y="25"/>
                  <a:pt x="15" y="25"/>
                  <a:pt x="15" y="25"/>
                </a:cubicBezTo>
                <a:cubicBezTo>
                  <a:pt x="15" y="26"/>
                  <a:pt x="15" y="26"/>
                  <a:pt x="15" y="26"/>
                </a:cubicBezTo>
                <a:cubicBezTo>
                  <a:pt x="15" y="27"/>
                  <a:pt x="15" y="27"/>
                  <a:pt x="15" y="27"/>
                </a:cubicBezTo>
                <a:cubicBezTo>
                  <a:pt x="16" y="26"/>
                  <a:pt x="16" y="26"/>
                  <a:pt x="16" y="26"/>
                </a:cubicBezTo>
                <a:cubicBezTo>
                  <a:pt x="16" y="25"/>
                  <a:pt x="16" y="25"/>
                  <a:pt x="16" y="25"/>
                </a:cubicBezTo>
                <a:cubicBezTo>
                  <a:pt x="16" y="25"/>
                  <a:pt x="15" y="24"/>
                  <a:pt x="15" y="24"/>
                </a:cubicBezTo>
                <a:close/>
                <a:moveTo>
                  <a:pt x="10" y="20"/>
                </a:moveTo>
                <a:cubicBezTo>
                  <a:pt x="12" y="20"/>
                  <a:pt x="12" y="20"/>
                  <a:pt x="12" y="20"/>
                </a:cubicBezTo>
                <a:cubicBezTo>
                  <a:pt x="13" y="21"/>
                  <a:pt x="13" y="21"/>
                  <a:pt x="13" y="21"/>
                </a:cubicBezTo>
                <a:cubicBezTo>
                  <a:pt x="14" y="21"/>
                  <a:pt x="14" y="21"/>
                  <a:pt x="14" y="21"/>
                </a:cubicBezTo>
                <a:cubicBezTo>
                  <a:pt x="15" y="22"/>
                  <a:pt x="15" y="22"/>
                  <a:pt x="15" y="22"/>
                </a:cubicBezTo>
                <a:cubicBezTo>
                  <a:pt x="15" y="23"/>
                  <a:pt x="15" y="23"/>
                  <a:pt x="15" y="23"/>
                </a:cubicBezTo>
                <a:cubicBezTo>
                  <a:pt x="14" y="25"/>
                  <a:pt x="14" y="25"/>
                  <a:pt x="14" y="25"/>
                </a:cubicBezTo>
                <a:cubicBezTo>
                  <a:pt x="13" y="25"/>
                  <a:pt x="13" y="25"/>
                  <a:pt x="13" y="25"/>
                </a:cubicBezTo>
                <a:cubicBezTo>
                  <a:pt x="12" y="25"/>
                  <a:pt x="12" y="25"/>
                  <a:pt x="12" y="25"/>
                </a:cubicBezTo>
                <a:cubicBezTo>
                  <a:pt x="11" y="25"/>
                  <a:pt x="11" y="25"/>
                  <a:pt x="11" y="25"/>
                </a:cubicBezTo>
                <a:cubicBezTo>
                  <a:pt x="10" y="23"/>
                  <a:pt x="10" y="23"/>
                  <a:pt x="10" y="23"/>
                </a:cubicBezTo>
                <a:cubicBezTo>
                  <a:pt x="9" y="22"/>
                  <a:pt x="9" y="22"/>
                  <a:pt x="9" y="22"/>
                </a:cubicBezTo>
                <a:cubicBezTo>
                  <a:pt x="10" y="20"/>
                  <a:pt x="10" y="20"/>
                  <a:pt x="10" y="20"/>
                </a:cubicBezTo>
                <a:close/>
                <a:moveTo>
                  <a:pt x="15" y="5"/>
                </a:moveTo>
                <a:cubicBezTo>
                  <a:pt x="15" y="4"/>
                  <a:pt x="15" y="4"/>
                  <a:pt x="15" y="4"/>
                </a:cubicBezTo>
                <a:cubicBezTo>
                  <a:pt x="17" y="4"/>
                  <a:pt x="17" y="4"/>
                  <a:pt x="17" y="4"/>
                </a:cubicBezTo>
                <a:cubicBezTo>
                  <a:pt x="16" y="5"/>
                  <a:pt x="16" y="5"/>
                  <a:pt x="16" y="5"/>
                </a:cubicBezTo>
                <a:cubicBezTo>
                  <a:pt x="15" y="5"/>
                  <a:pt x="15" y="5"/>
                  <a:pt x="15" y="5"/>
                </a:cubicBezTo>
                <a:close/>
                <a:moveTo>
                  <a:pt x="4" y="11"/>
                </a:moveTo>
                <a:cubicBezTo>
                  <a:pt x="3" y="9"/>
                  <a:pt x="3" y="9"/>
                  <a:pt x="3" y="9"/>
                </a:cubicBezTo>
                <a:cubicBezTo>
                  <a:pt x="4" y="8"/>
                  <a:pt x="4" y="8"/>
                  <a:pt x="4" y="8"/>
                </a:cubicBezTo>
                <a:cubicBezTo>
                  <a:pt x="5" y="8"/>
                  <a:pt x="5" y="8"/>
                  <a:pt x="5" y="8"/>
                </a:cubicBezTo>
                <a:cubicBezTo>
                  <a:pt x="5" y="9"/>
                  <a:pt x="5" y="9"/>
                  <a:pt x="5" y="9"/>
                </a:cubicBezTo>
                <a:cubicBezTo>
                  <a:pt x="4" y="10"/>
                  <a:pt x="4" y="10"/>
                  <a:pt x="4" y="10"/>
                </a:cubicBezTo>
                <a:cubicBezTo>
                  <a:pt x="4" y="11"/>
                  <a:pt x="4" y="11"/>
                  <a:pt x="4" y="11"/>
                </a:cubicBezTo>
                <a:close/>
                <a:moveTo>
                  <a:pt x="3" y="11"/>
                </a:moveTo>
                <a:cubicBezTo>
                  <a:pt x="3" y="10"/>
                  <a:pt x="3" y="10"/>
                  <a:pt x="3" y="10"/>
                </a:cubicBezTo>
                <a:cubicBezTo>
                  <a:pt x="3" y="9"/>
                  <a:pt x="3" y="9"/>
                  <a:pt x="3" y="9"/>
                </a:cubicBezTo>
                <a:cubicBezTo>
                  <a:pt x="5" y="7"/>
                  <a:pt x="5" y="7"/>
                  <a:pt x="5" y="7"/>
                </a:cubicBezTo>
                <a:cubicBezTo>
                  <a:pt x="5" y="8"/>
                  <a:pt x="5" y="8"/>
                  <a:pt x="5" y="8"/>
                </a:cubicBezTo>
                <a:cubicBezTo>
                  <a:pt x="7" y="7"/>
                  <a:pt x="7" y="7"/>
                  <a:pt x="7" y="7"/>
                </a:cubicBezTo>
                <a:cubicBezTo>
                  <a:pt x="8" y="8"/>
                  <a:pt x="8" y="8"/>
                  <a:pt x="8" y="8"/>
                </a:cubicBezTo>
                <a:cubicBezTo>
                  <a:pt x="9" y="7"/>
                  <a:pt x="9" y="7"/>
                  <a:pt x="9" y="7"/>
                </a:cubicBezTo>
                <a:cubicBezTo>
                  <a:pt x="10" y="7"/>
                  <a:pt x="10" y="7"/>
                  <a:pt x="10" y="7"/>
                </a:cubicBezTo>
                <a:cubicBezTo>
                  <a:pt x="11" y="8"/>
                  <a:pt x="11" y="8"/>
                  <a:pt x="11" y="8"/>
                </a:cubicBezTo>
                <a:cubicBezTo>
                  <a:pt x="12" y="8"/>
                  <a:pt x="12" y="8"/>
                  <a:pt x="12" y="8"/>
                </a:cubicBezTo>
                <a:cubicBezTo>
                  <a:pt x="13" y="5"/>
                  <a:pt x="13" y="5"/>
                  <a:pt x="13" y="5"/>
                </a:cubicBezTo>
                <a:cubicBezTo>
                  <a:pt x="13" y="4"/>
                  <a:pt x="13" y="4"/>
                  <a:pt x="13" y="4"/>
                </a:cubicBezTo>
                <a:cubicBezTo>
                  <a:pt x="13" y="4"/>
                  <a:pt x="13" y="4"/>
                  <a:pt x="13" y="4"/>
                </a:cubicBezTo>
                <a:cubicBezTo>
                  <a:pt x="13" y="2"/>
                  <a:pt x="13" y="2"/>
                  <a:pt x="13" y="2"/>
                </a:cubicBezTo>
                <a:cubicBezTo>
                  <a:pt x="14" y="1"/>
                  <a:pt x="14" y="1"/>
                  <a:pt x="14" y="1"/>
                </a:cubicBezTo>
                <a:cubicBezTo>
                  <a:pt x="13" y="0"/>
                  <a:pt x="13" y="0"/>
                  <a:pt x="13" y="0"/>
                </a:cubicBezTo>
                <a:cubicBezTo>
                  <a:pt x="12" y="2"/>
                  <a:pt x="12" y="2"/>
                  <a:pt x="12" y="2"/>
                </a:cubicBezTo>
                <a:cubicBezTo>
                  <a:pt x="10" y="3"/>
                  <a:pt x="10" y="3"/>
                  <a:pt x="10" y="3"/>
                </a:cubicBezTo>
                <a:cubicBezTo>
                  <a:pt x="9" y="3"/>
                  <a:pt x="9" y="3"/>
                  <a:pt x="9" y="3"/>
                </a:cubicBezTo>
                <a:cubicBezTo>
                  <a:pt x="8" y="4"/>
                  <a:pt x="8" y="4"/>
                  <a:pt x="8" y="4"/>
                </a:cubicBezTo>
                <a:cubicBezTo>
                  <a:pt x="8" y="5"/>
                  <a:pt x="8" y="5"/>
                  <a:pt x="8" y="5"/>
                </a:cubicBezTo>
                <a:cubicBezTo>
                  <a:pt x="6" y="6"/>
                  <a:pt x="6" y="6"/>
                  <a:pt x="6" y="6"/>
                </a:cubicBezTo>
                <a:cubicBezTo>
                  <a:pt x="5" y="6"/>
                  <a:pt x="5" y="6"/>
                  <a:pt x="5" y="6"/>
                </a:cubicBezTo>
                <a:cubicBezTo>
                  <a:pt x="3" y="7"/>
                  <a:pt x="3" y="7"/>
                  <a:pt x="3" y="7"/>
                </a:cubicBezTo>
                <a:cubicBezTo>
                  <a:pt x="3" y="7"/>
                  <a:pt x="3" y="7"/>
                  <a:pt x="3" y="7"/>
                </a:cubicBezTo>
                <a:cubicBezTo>
                  <a:pt x="2" y="7"/>
                  <a:pt x="2" y="7"/>
                  <a:pt x="2" y="7"/>
                </a:cubicBezTo>
                <a:cubicBezTo>
                  <a:pt x="2" y="9"/>
                  <a:pt x="2" y="9"/>
                  <a:pt x="2" y="9"/>
                </a:cubicBezTo>
                <a:cubicBezTo>
                  <a:pt x="1" y="10"/>
                  <a:pt x="1" y="10"/>
                  <a:pt x="1" y="10"/>
                </a:cubicBezTo>
                <a:cubicBezTo>
                  <a:pt x="1" y="10"/>
                  <a:pt x="1" y="10"/>
                  <a:pt x="1" y="10"/>
                </a:cubicBezTo>
                <a:cubicBezTo>
                  <a:pt x="2" y="10"/>
                  <a:pt x="2" y="10"/>
                  <a:pt x="2" y="10"/>
                </a:cubicBezTo>
                <a:cubicBezTo>
                  <a:pt x="3" y="11"/>
                  <a:pt x="3" y="11"/>
                  <a:pt x="3" y="11"/>
                </a:cubicBezTo>
                <a:close/>
                <a:moveTo>
                  <a:pt x="9" y="26"/>
                </a:moveTo>
                <a:cubicBezTo>
                  <a:pt x="8" y="26"/>
                  <a:pt x="8" y="26"/>
                  <a:pt x="8" y="26"/>
                </a:cubicBezTo>
                <a:cubicBezTo>
                  <a:pt x="9" y="25"/>
                  <a:pt x="9" y="25"/>
                  <a:pt x="9" y="25"/>
                </a:cubicBezTo>
                <a:cubicBezTo>
                  <a:pt x="8" y="24"/>
                  <a:pt x="8" y="24"/>
                  <a:pt x="8" y="24"/>
                </a:cubicBezTo>
                <a:cubicBezTo>
                  <a:pt x="7" y="24"/>
                  <a:pt x="7" y="24"/>
                  <a:pt x="7" y="24"/>
                </a:cubicBezTo>
                <a:cubicBezTo>
                  <a:pt x="8" y="24"/>
                  <a:pt x="8" y="24"/>
                  <a:pt x="8" y="24"/>
                </a:cubicBezTo>
                <a:cubicBezTo>
                  <a:pt x="8" y="23"/>
                  <a:pt x="8" y="23"/>
                  <a:pt x="8" y="23"/>
                </a:cubicBezTo>
                <a:cubicBezTo>
                  <a:pt x="8" y="22"/>
                  <a:pt x="8" y="22"/>
                  <a:pt x="8" y="22"/>
                </a:cubicBezTo>
                <a:cubicBezTo>
                  <a:pt x="8" y="22"/>
                  <a:pt x="8" y="22"/>
                  <a:pt x="8" y="22"/>
                </a:cubicBezTo>
                <a:cubicBezTo>
                  <a:pt x="8" y="21"/>
                  <a:pt x="8" y="21"/>
                  <a:pt x="8" y="21"/>
                </a:cubicBezTo>
                <a:cubicBezTo>
                  <a:pt x="10" y="20"/>
                  <a:pt x="10" y="20"/>
                  <a:pt x="10" y="20"/>
                </a:cubicBezTo>
                <a:cubicBezTo>
                  <a:pt x="10" y="19"/>
                  <a:pt x="10" y="19"/>
                  <a:pt x="10" y="19"/>
                </a:cubicBezTo>
                <a:cubicBezTo>
                  <a:pt x="11" y="18"/>
                  <a:pt x="11" y="18"/>
                  <a:pt x="11" y="18"/>
                </a:cubicBezTo>
                <a:cubicBezTo>
                  <a:pt x="11" y="18"/>
                  <a:pt x="11" y="18"/>
                  <a:pt x="11" y="18"/>
                </a:cubicBezTo>
                <a:cubicBezTo>
                  <a:pt x="12" y="18"/>
                  <a:pt x="12" y="18"/>
                  <a:pt x="12" y="18"/>
                </a:cubicBezTo>
                <a:cubicBezTo>
                  <a:pt x="12" y="16"/>
                  <a:pt x="12" y="16"/>
                  <a:pt x="12" y="16"/>
                </a:cubicBezTo>
                <a:cubicBezTo>
                  <a:pt x="12" y="15"/>
                  <a:pt x="12" y="15"/>
                  <a:pt x="12" y="15"/>
                </a:cubicBezTo>
                <a:cubicBezTo>
                  <a:pt x="13" y="14"/>
                  <a:pt x="13" y="14"/>
                  <a:pt x="13" y="14"/>
                </a:cubicBezTo>
                <a:cubicBezTo>
                  <a:pt x="14" y="14"/>
                  <a:pt x="14" y="14"/>
                  <a:pt x="14" y="14"/>
                </a:cubicBezTo>
                <a:cubicBezTo>
                  <a:pt x="14" y="15"/>
                  <a:pt x="14" y="15"/>
                  <a:pt x="14" y="15"/>
                </a:cubicBezTo>
                <a:cubicBezTo>
                  <a:pt x="15" y="15"/>
                  <a:pt x="15" y="15"/>
                  <a:pt x="15" y="15"/>
                </a:cubicBezTo>
                <a:cubicBezTo>
                  <a:pt x="15" y="15"/>
                  <a:pt x="15" y="15"/>
                  <a:pt x="15" y="15"/>
                </a:cubicBezTo>
                <a:cubicBezTo>
                  <a:pt x="16" y="14"/>
                  <a:pt x="16" y="14"/>
                  <a:pt x="16" y="14"/>
                </a:cubicBezTo>
                <a:cubicBezTo>
                  <a:pt x="16" y="13"/>
                  <a:pt x="16" y="13"/>
                  <a:pt x="16" y="13"/>
                </a:cubicBezTo>
                <a:cubicBezTo>
                  <a:pt x="15" y="12"/>
                  <a:pt x="15" y="12"/>
                  <a:pt x="15" y="12"/>
                </a:cubicBezTo>
                <a:cubicBezTo>
                  <a:pt x="14" y="13"/>
                  <a:pt x="14" y="13"/>
                  <a:pt x="14" y="13"/>
                </a:cubicBezTo>
                <a:cubicBezTo>
                  <a:pt x="13" y="13"/>
                  <a:pt x="13" y="13"/>
                  <a:pt x="13" y="13"/>
                </a:cubicBezTo>
                <a:cubicBezTo>
                  <a:pt x="12" y="12"/>
                  <a:pt x="12" y="12"/>
                  <a:pt x="12" y="12"/>
                </a:cubicBezTo>
                <a:cubicBezTo>
                  <a:pt x="12" y="11"/>
                  <a:pt x="12" y="11"/>
                  <a:pt x="12" y="11"/>
                </a:cubicBezTo>
                <a:cubicBezTo>
                  <a:pt x="11" y="11"/>
                  <a:pt x="11" y="11"/>
                  <a:pt x="11" y="11"/>
                </a:cubicBezTo>
                <a:cubicBezTo>
                  <a:pt x="11" y="10"/>
                  <a:pt x="11" y="10"/>
                  <a:pt x="11" y="10"/>
                </a:cubicBezTo>
                <a:cubicBezTo>
                  <a:pt x="11" y="9"/>
                  <a:pt x="11" y="9"/>
                  <a:pt x="11" y="9"/>
                </a:cubicBezTo>
                <a:cubicBezTo>
                  <a:pt x="10" y="8"/>
                  <a:pt x="10" y="8"/>
                  <a:pt x="10" y="8"/>
                </a:cubicBezTo>
                <a:cubicBezTo>
                  <a:pt x="8" y="8"/>
                  <a:pt x="8" y="8"/>
                  <a:pt x="8" y="8"/>
                </a:cubicBezTo>
                <a:cubicBezTo>
                  <a:pt x="7" y="8"/>
                  <a:pt x="7" y="8"/>
                  <a:pt x="7" y="8"/>
                </a:cubicBezTo>
                <a:cubicBezTo>
                  <a:pt x="6" y="8"/>
                  <a:pt x="6" y="8"/>
                  <a:pt x="6" y="8"/>
                </a:cubicBezTo>
                <a:cubicBezTo>
                  <a:pt x="6" y="9"/>
                  <a:pt x="6" y="9"/>
                  <a:pt x="6" y="9"/>
                </a:cubicBezTo>
                <a:cubicBezTo>
                  <a:pt x="7" y="10"/>
                  <a:pt x="7" y="10"/>
                  <a:pt x="7" y="10"/>
                </a:cubicBezTo>
                <a:cubicBezTo>
                  <a:pt x="7" y="11"/>
                  <a:pt x="7" y="11"/>
                  <a:pt x="7" y="11"/>
                </a:cubicBezTo>
                <a:cubicBezTo>
                  <a:pt x="8" y="12"/>
                  <a:pt x="8" y="12"/>
                  <a:pt x="8" y="12"/>
                </a:cubicBezTo>
                <a:cubicBezTo>
                  <a:pt x="8" y="12"/>
                  <a:pt x="8" y="12"/>
                  <a:pt x="8" y="12"/>
                </a:cubicBezTo>
                <a:cubicBezTo>
                  <a:pt x="7" y="12"/>
                  <a:pt x="7" y="12"/>
                  <a:pt x="7" y="12"/>
                </a:cubicBezTo>
                <a:cubicBezTo>
                  <a:pt x="6" y="12"/>
                  <a:pt x="6" y="12"/>
                  <a:pt x="6" y="12"/>
                </a:cubicBezTo>
                <a:cubicBezTo>
                  <a:pt x="5" y="12"/>
                  <a:pt x="5" y="12"/>
                  <a:pt x="5" y="12"/>
                </a:cubicBezTo>
                <a:cubicBezTo>
                  <a:pt x="6" y="11"/>
                  <a:pt x="6" y="11"/>
                  <a:pt x="6" y="11"/>
                </a:cubicBezTo>
                <a:cubicBezTo>
                  <a:pt x="5" y="10"/>
                  <a:pt x="5" y="10"/>
                  <a:pt x="5" y="10"/>
                </a:cubicBezTo>
                <a:cubicBezTo>
                  <a:pt x="5" y="10"/>
                  <a:pt x="5" y="10"/>
                  <a:pt x="5" y="10"/>
                </a:cubicBezTo>
                <a:cubicBezTo>
                  <a:pt x="4" y="11"/>
                  <a:pt x="4" y="11"/>
                  <a:pt x="4" y="11"/>
                </a:cubicBezTo>
                <a:cubicBezTo>
                  <a:pt x="5" y="12"/>
                  <a:pt x="5" y="12"/>
                  <a:pt x="5" y="12"/>
                </a:cubicBezTo>
                <a:cubicBezTo>
                  <a:pt x="4" y="13"/>
                  <a:pt x="4" y="13"/>
                  <a:pt x="4" y="13"/>
                </a:cubicBezTo>
                <a:cubicBezTo>
                  <a:pt x="3" y="12"/>
                  <a:pt x="3" y="12"/>
                  <a:pt x="3" y="12"/>
                </a:cubicBezTo>
                <a:cubicBezTo>
                  <a:pt x="2" y="12"/>
                  <a:pt x="2" y="12"/>
                  <a:pt x="2" y="12"/>
                </a:cubicBezTo>
                <a:cubicBezTo>
                  <a:pt x="1" y="11"/>
                  <a:pt x="1" y="11"/>
                  <a:pt x="1" y="11"/>
                </a:cubicBezTo>
                <a:cubicBezTo>
                  <a:pt x="0" y="12"/>
                  <a:pt x="0" y="12"/>
                  <a:pt x="0" y="12"/>
                </a:cubicBezTo>
                <a:cubicBezTo>
                  <a:pt x="2" y="13"/>
                  <a:pt x="2" y="13"/>
                  <a:pt x="2" y="13"/>
                </a:cubicBezTo>
                <a:cubicBezTo>
                  <a:pt x="2" y="15"/>
                  <a:pt x="2" y="15"/>
                  <a:pt x="2" y="15"/>
                </a:cubicBezTo>
                <a:cubicBezTo>
                  <a:pt x="1" y="14"/>
                  <a:pt x="1" y="14"/>
                  <a:pt x="1" y="14"/>
                </a:cubicBezTo>
                <a:cubicBezTo>
                  <a:pt x="0" y="14"/>
                  <a:pt x="0" y="14"/>
                  <a:pt x="0" y="14"/>
                </a:cubicBezTo>
                <a:cubicBezTo>
                  <a:pt x="0" y="16"/>
                  <a:pt x="0" y="16"/>
                  <a:pt x="0" y="16"/>
                </a:cubicBezTo>
                <a:cubicBezTo>
                  <a:pt x="1" y="16"/>
                  <a:pt x="1" y="16"/>
                  <a:pt x="1" y="16"/>
                </a:cubicBezTo>
                <a:cubicBezTo>
                  <a:pt x="1" y="18"/>
                  <a:pt x="1" y="18"/>
                  <a:pt x="1" y="18"/>
                </a:cubicBezTo>
                <a:cubicBezTo>
                  <a:pt x="2" y="18"/>
                  <a:pt x="2" y="18"/>
                  <a:pt x="2" y="18"/>
                </a:cubicBezTo>
                <a:cubicBezTo>
                  <a:pt x="0" y="19"/>
                  <a:pt x="0" y="19"/>
                  <a:pt x="0" y="19"/>
                </a:cubicBezTo>
                <a:cubicBezTo>
                  <a:pt x="0" y="21"/>
                  <a:pt x="0" y="21"/>
                  <a:pt x="0" y="21"/>
                </a:cubicBezTo>
                <a:cubicBezTo>
                  <a:pt x="0" y="21"/>
                  <a:pt x="0" y="21"/>
                  <a:pt x="0" y="21"/>
                </a:cubicBezTo>
                <a:cubicBezTo>
                  <a:pt x="1" y="21"/>
                  <a:pt x="1" y="21"/>
                  <a:pt x="1" y="21"/>
                </a:cubicBezTo>
                <a:cubicBezTo>
                  <a:pt x="3" y="22"/>
                  <a:pt x="3" y="22"/>
                  <a:pt x="3" y="22"/>
                </a:cubicBezTo>
                <a:cubicBezTo>
                  <a:pt x="3" y="24"/>
                  <a:pt x="3" y="24"/>
                  <a:pt x="3" y="24"/>
                </a:cubicBezTo>
                <a:cubicBezTo>
                  <a:pt x="3" y="24"/>
                  <a:pt x="3" y="24"/>
                  <a:pt x="3" y="24"/>
                </a:cubicBezTo>
                <a:cubicBezTo>
                  <a:pt x="3" y="25"/>
                  <a:pt x="3" y="25"/>
                  <a:pt x="3" y="25"/>
                </a:cubicBezTo>
                <a:cubicBezTo>
                  <a:pt x="4" y="25"/>
                  <a:pt x="4" y="25"/>
                  <a:pt x="4" y="25"/>
                </a:cubicBezTo>
                <a:cubicBezTo>
                  <a:pt x="7" y="26"/>
                  <a:pt x="7" y="26"/>
                  <a:pt x="7" y="26"/>
                </a:cubicBezTo>
                <a:cubicBezTo>
                  <a:pt x="7" y="26"/>
                  <a:pt x="7" y="26"/>
                  <a:pt x="7" y="26"/>
                </a:cubicBezTo>
                <a:lnTo>
                  <a:pt x="9" y="2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5" name="Freeform 43">
            <a:extLst>
              <a:ext uri="{FF2B5EF4-FFF2-40B4-BE49-F238E27FC236}">
                <a16:creationId xmlns:a16="http://schemas.microsoft.com/office/drawing/2014/main" id="{0E7476C6-83FD-51F6-1CFF-62791C16F857}"/>
              </a:ext>
            </a:extLst>
          </p:cNvPr>
          <p:cNvSpPr>
            <a:spLocks noEditPoints="1"/>
          </p:cNvSpPr>
          <p:nvPr userDrawn="1"/>
        </p:nvSpPr>
        <p:spPr bwMode="auto">
          <a:xfrm>
            <a:off x="13388102" y="3815633"/>
            <a:ext cx="1260396" cy="1457326"/>
          </a:xfrm>
          <a:custGeom>
            <a:avLst/>
            <a:gdLst>
              <a:gd name="T0" fmla="*/ 122 w 127"/>
              <a:gd name="T1" fmla="*/ 18 h 147"/>
              <a:gd name="T2" fmla="*/ 126 w 127"/>
              <a:gd name="T3" fmla="*/ 10 h 147"/>
              <a:gd name="T4" fmla="*/ 117 w 127"/>
              <a:gd name="T5" fmla="*/ 6 h 147"/>
              <a:gd name="T6" fmla="*/ 111 w 127"/>
              <a:gd name="T7" fmla="*/ 7 h 147"/>
              <a:gd name="T8" fmla="*/ 108 w 127"/>
              <a:gd name="T9" fmla="*/ 0 h 147"/>
              <a:gd name="T10" fmla="*/ 104 w 127"/>
              <a:gd name="T11" fmla="*/ 9 h 147"/>
              <a:gd name="T12" fmla="*/ 95 w 127"/>
              <a:gd name="T13" fmla="*/ 13 h 147"/>
              <a:gd name="T14" fmla="*/ 91 w 127"/>
              <a:gd name="T15" fmla="*/ 5 h 147"/>
              <a:gd name="T16" fmla="*/ 88 w 127"/>
              <a:gd name="T17" fmla="*/ 15 h 147"/>
              <a:gd name="T18" fmla="*/ 81 w 127"/>
              <a:gd name="T19" fmla="*/ 17 h 147"/>
              <a:gd name="T20" fmla="*/ 72 w 127"/>
              <a:gd name="T21" fmla="*/ 25 h 147"/>
              <a:gd name="T22" fmla="*/ 69 w 127"/>
              <a:gd name="T23" fmla="*/ 27 h 147"/>
              <a:gd name="T24" fmla="*/ 62 w 127"/>
              <a:gd name="T25" fmla="*/ 27 h 147"/>
              <a:gd name="T26" fmla="*/ 56 w 127"/>
              <a:gd name="T27" fmla="*/ 36 h 147"/>
              <a:gd name="T28" fmla="*/ 55 w 127"/>
              <a:gd name="T29" fmla="*/ 40 h 147"/>
              <a:gd name="T30" fmla="*/ 49 w 127"/>
              <a:gd name="T31" fmla="*/ 45 h 147"/>
              <a:gd name="T32" fmla="*/ 50 w 127"/>
              <a:gd name="T33" fmla="*/ 50 h 147"/>
              <a:gd name="T34" fmla="*/ 44 w 127"/>
              <a:gd name="T35" fmla="*/ 57 h 147"/>
              <a:gd name="T36" fmla="*/ 43 w 127"/>
              <a:gd name="T37" fmla="*/ 62 h 147"/>
              <a:gd name="T38" fmla="*/ 40 w 127"/>
              <a:gd name="T39" fmla="*/ 71 h 147"/>
              <a:gd name="T40" fmla="*/ 33 w 127"/>
              <a:gd name="T41" fmla="*/ 79 h 147"/>
              <a:gd name="T42" fmla="*/ 25 w 127"/>
              <a:gd name="T43" fmla="*/ 89 h 147"/>
              <a:gd name="T44" fmla="*/ 34 w 127"/>
              <a:gd name="T45" fmla="*/ 88 h 147"/>
              <a:gd name="T46" fmla="*/ 23 w 127"/>
              <a:gd name="T47" fmla="*/ 92 h 147"/>
              <a:gd name="T48" fmla="*/ 20 w 127"/>
              <a:gd name="T49" fmla="*/ 98 h 147"/>
              <a:gd name="T50" fmla="*/ 14 w 127"/>
              <a:gd name="T51" fmla="*/ 99 h 147"/>
              <a:gd name="T52" fmla="*/ 12 w 127"/>
              <a:gd name="T53" fmla="*/ 104 h 147"/>
              <a:gd name="T54" fmla="*/ 2 w 127"/>
              <a:gd name="T55" fmla="*/ 106 h 147"/>
              <a:gd name="T56" fmla="*/ 3 w 127"/>
              <a:gd name="T57" fmla="*/ 112 h 147"/>
              <a:gd name="T58" fmla="*/ 9 w 127"/>
              <a:gd name="T59" fmla="*/ 114 h 147"/>
              <a:gd name="T60" fmla="*/ 12 w 127"/>
              <a:gd name="T61" fmla="*/ 117 h 147"/>
              <a:gd name="T62" fmla="*/ 3 w 127"/>
              <a:gd name="T63" fmla="*/ 120 h 147"/>
              <a:gd name="T64" fmla="*/ 11 w 127"/>
              <a:gd name="T65" fmla="*/ 122 h 147"/>
              <a:gd name="T66" fmla="*/ 5 w 127"/>
              <a:gd name="T67" fmla="*/ 131 h 147"/>
              <a:gd name="T68" fmla="*/ 9 w 127"/>
              <a:gd name="T69" fmla="*/ 138 h 147"/>
              <a:gd name="T70" fmla="*/ 15 w 127"/>
              <a:gd name="T71" fmla="*/ 147 h 147"/>
              <a:gd name="T72" fmla="*/ 26 w 127"/>
              <a:gd name="T73" fmla="*/ 136 h 147"/>
              <a:gd name="T74" fmla="*/ 31 w 127"/>
              <a:gd name="T75" fmla="*/ 132 h 147"/>
              <a:gd name="T76" fmla="*/ 39 w 127"/>
              <a:gd name="T77" fmla="*/ 137 h 147"/>
              <a:gd name="T78" fmla="*/ 40 w 127"/>
              <a:gd name="T79" fmla="*/ 103 h 147"/>
              <a:gd name="T80" fmla="*/ 48 w 127"/>
              <a:gd name="T81" fmla="*/ 62 h 147"/>
              <a:gd name="T82" fmla="*/ 64 w 127"/>
              <a:gd name="T83" fmla="*/ 38 h 147"/>
              <a:gd name="T84" fmla="*/ 75 w 127"/>
              <a:gd name="T85" fmla="*/ 28 h 147"/>
              <a:gd name="T86" fmla="*/ 97 w 127"/>
              <a:gd name="T87" fmla="*/ 31 h 147"/>
              <a:gd name="T88" fmla="*/ 112 w 127"/>
              <a:gd name="T89" fmla="*/ 15 h 147"/>
              <a:gd name="T90" fmla="*/ 4 w 127"/>
              <a:gd name="T91" fmla="*/ 127 h 147"/>
              <a:gd name="T92" fmla="*/ 2 w 127"/>
              <a:gd name="T93" fmla="*/ 124 h 147"/>
              <a:gd name="T94" fmla="*/ 5 w 127"/>
              <a:gd name="T95" fmla="*/ 104 h 147"/>
              <a:gd name="T96" fmla="*/ 22 w 127"/>
              <a:gd name="T97" fmla="*/ 90 h 147"/>
              <a:gd name="T98" fmla="*/ 37 w 127"/>
              <a:gd name="T99" fmla="*/ 68 h 147"/>
              <a:gd name="T100" fmla="*/ 38 w 127"/>
              <a:gd name="T101" fmla="*/ 46 h 147"/>
              <a:gd name="T102" fmla="*/ 47 w 127"/>
              <a:gd name="T103" fmla="*/ 35 h 147"/>
              <a:gd name="T104" fmla="*/ 51 w 127"/>
              <a:gd name="T105" fmla="*/ 30 h 147"/>
              <a:gd name="T106" fmla="*/ 50 w 127"/>
              <a:gd name="T107" fmla="*/ 34 h 147"/>
              <a:gd name="T108" fmla="*/ 62 w 127"/>
              <a:gd name="T109" fmla="*/ 25 h 147"/>
              <a:gd name="T110" fmla="*/ 62 w 127"/>
              <a:gd name="T111" fmla="*/ 25 h 147"/>
              <a:gd name="T112" fmla="*/ 69 w 127"/>
              <a:gd name="T113" fmla="*/ 19 h 147"/>
              <a:gd name="T114" fmla="*/ 72 w 127"/>
              <a:gd name="T115" fmla="*/ 15 h 147"/>
              <a:gd name="T116" fmla="*/ 88 w 127"/>
              <a:gd name="T117" fmla="*/ 9 h 147"/>
              <a:gd name="T118" fmla="*/ 88 w 127"/>
              <a:gd name="T119" fmla="*/ 6 h 147"/>
              <a:gd name="T120" fmla="*/ 100 w 127"/>
              <a:gd name="T121" fmla="*/ 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7" h="147">
                <a:moveTo>
                  <a:pt x="118" y="26"/>
                </a:moveTo>
                <a:cubicBezTo>
                  <a:pt x="119" y="26"/>
                  <a:pt x="119" y="26"/>
                  <a:pt x="119" y="26"/>
                </a:cubicBezTo>
                <a:cubicBezTo>
                  <a:pt x="119" y="24"/>
                  <a:pt x="119" y="24"/>
                  <a:pt x="119" y="24"/>
                </a:cubicBezTo>
                <a:cubicBezTo>
                  <a:pt x="121" y="22"/>
                  <a:pt x="121" y="22"/>
                  <a:pt x="121" y="22"/>
                </a:cubicBezTo>
                <a:cubicBezTo>
                  <a:pt x="122" y="22"/>
                  <a:pt x="122" y="22"/>
                  <a:pt x="122" y="22"/>
                </a:cubicBezTo>
                <a:cubicBezTo>
                  <a:pt x="123" y="21"/>
                  <a:pt x="123" y="21"/>
                  <a:pt x="123" y="21"/>
                </a:cubicBezTo>
                <a:cubicBezTo>
                  <a:pt x="123" y="19"/>
                  <a:pt x="123" y="19"/>
                  <a:pt x="123" y="19"/>
                </a:cubicBezTo>
                <a:cubicBezTo>
                  <a:pt x="124" y="19"/>
                  <a:pt x="124" y="19"/>
                  <a:pt x="124" y="19"/>
                </a:cubicBezTo>
                <a:cubicBezTo>
                  <a:pt x="125" y="19"/>
                  <a:pt x="125" y="19"/>
                  <a:pt x="125" y="19"/>
                </a:cubicBezTo>
                <a:cubicBezTo>
                  <a:pt x="126" y="18"/>
                  <a:pt x="126" y="18"/>
                  <a:pt x="126" y="18"/>
                </a:cubicBezTo>
                <a:cubicBezTo>
                  <a:pt x="126" y="17"/>
                  <a:pt x="126" y="17"/>
                  <a:pt x="126" y="17"/>
                </a:cubicBezTo>
                <a:cubicBezTo>
                  <a:pt x="126" y="17"/>
                  <a:pt x="126" y="17"/>
                  <a:pt x="126" y="17"/>
                </a:cubicBezTo>
                <a:cubicBezTo>
                  <a:pt x="125" y="16"/>
                  <a:pt x="125" y="16"/>
                  <a:pt x="125" y="16"/>
                </a:cubicBezTo>
                <a:cubicBezTo>
                  <a:pt x="124" y="16"/>
                  <a:pt x="124" y="16"/>
                  <a:pt x="124" y="16"/>
                </a:cubicBezTo>
                <a:cubicBezTo>
                  <a:pt x="124" y="17"/>
                  <a:pt x="124" y="17"/>
                  <a:pt x="124" y="17"/>
                </a:cubicBezTo>
                <a:cubicBezTo>
                  <a:pt x="124" y="17"/>
                  <a:pt x="124" y="17"/>
                  <a:pt x="124" y="17"/>
                </a:cubicBezTo>
                <a:cubicBezTo>
                  <a:pt x="123" y="17"/>
                  <a:pt x="123" y="17"/>
                  <a:pt x="123" y="17"/>
                </a:cubicBezTo>
                <a:cubicBezTo>
                  <a:pt x="123" y="16"/>
                  <a:pt x="123" y="16"/>
                  <a:pt x="123" y="16"/>
                </a:cubicBezTo>
                <a:cubicBezTo>
                  <a:pt x="122" y="16"/>
                  <a:pt x="122" y="16"/>
                  <a:pt x="122" y="16"/>
                </a:cubicBezTo>
                <a:cubicBezTo>
                  <a:pt x="123" y="17"/>
                  <a:pt x="123" y="17"/>
                  <a:pt x="123" y="17"/>
                </a:cubicBezTo>
                <a:cubicBezTo>
                  <a:pt x="122" y="18"/>
                  <a:pt x="122" y="18"/>
                  <a:pt x="122" y="18"/>
                </a:cubicBezTo>
                <a:cubicBezTo>
                  <a:pt x="122" y="18"/>
                  <a:pt x="122" y="18"/>
                  <a:pt x="122" y="18"/>
                </a:cubicBezTo>
                <a:cubicBezTo>
                  <a:pt x="121" y="17"/>
                  <a:pt x="121" y="17"/>
                  <a:pt x="121" y="17"/>
                </a:cubicBezTo>
                <a:cubicBezTo>
                  <a:pt x="120" y="18"/>
                  <a:pt x="120" y="18"/>
                  <a:pt x="120" y="18"/>
                </a:cubicBezTo>
                <a:cubicBezTo>
                  <a:pt x="120" y="18"/>
                  <a:pt x="120" y="18"/>
                  <a:pt x="120" y="18"/>
                </a:cubicBezTo>
                <a:cubicBezTo>
                  <a:pt x="120" y="17"/>
                  <a:pt x="120" y="17"/>
                  <a:pt x="120" y="17"/>
                </a:cubicBezTo>
                <a:cubicBezTo>
                  <a:pt x="120" y="16"/>
                  <a:pt x="120" y="16"/>
                  <a:pt x="120" y="16"/>
                </a:cubicBezTo>
                <a:cubicBezTo>
                  <a:pt x="119" y="16"/>
                  <a:pt x="119" y="16"/>
                  <a:pt x="119" y="16"/>
                </a:cubicBezTo>
                <a:cubicBezTo>
                  <a:pt x="119" y="15"/>
                  <a:pt x="119" y="15"/>
                  <a:pt x="119" y="15"/>
                </a:cubicBezTo>
                <a:cubicBezTo>
                  <a:pt x="118" y="14"/>
                  <a:pt x="118" y="14"/>
                  <a:pt x="118" y="14"/>
                </a:cubicBezTo>
                <a:cubicBezTo>
                  <a:pt x="117" y="14"/>
                  <a:pt x="117" y="14"/>
                  <a:pt x="117" y="14"/>
                </a:cubicBezTo>
                <a:cubicBezTo>
                  <a:pt x="116" y="14"/>
                  <a:pt x="116" y="14"/>
                  <a:pt x="116" y="14"/>
                </a:cubicBezTo>
                <a:cubicBezTo>
                  <a:pt x="115" y="14"/>
                  <a:pt x="115" y="14"/>
                  <a:pt x="115" y="14"/>
                </a:cubicBezTo>
                <a:cubicBezTo>
                  <a:pt x="114" y="13"/>
                  <a:pt x="114" y="13"/>
                  <a:pt x="114" y="13"/>
                </a:cubicBezTo>
                <a:cubicBezTo>
                  <a:pt x="114" y="13"/>
                  <a:pt x="114" y="13"/>
                  <a:pt x="114" y="13"/>
                </a:cubicBezTo>
                <a:cubicBezTo>
                  <a:pt x="116" y="13"/>
                  <a:pt x="116" y="13"/>
                  <a:pt x="116" y="13"/>
                </a:cubicBezTo>
                <a:cubicBezTo>
                  <a:pt x="118" y="13"/>
                  <a:pt x="118" y="13"/>
                  <a:pt x="118" y="13"/>
                </a:cubicBezTo>
                <a:cubicBezTo>
                  <a:pt x="119" y="13"/>
                  <a:pt x="119" y="13"/>
                  <a:pt x="119" y="13"/>
                </a:cubicBezTo>
                <a:cubicBezTo>
                  <a:pt x="121" y="14"/>
                  <a:pt x="121" y="14"/>
                  <a:pt x="121" y="14"/>
                </a:cubicBezTo>
                <a:cubicBezTo>
                  <a:pt x="123" y="13"/>
                  <a:pt x="123" y="13"/>
                  <a:pt x="123" y="13"/>
                </a:cubicBezTo>
                <a:cubicBezTo>
                  <a:pt x="124" y="11"/>
                  <a:pt x="124" y="11"/>
                  <a:pt x="124" y="11"/>
                </a:cubicBezTo>
                <a:cubicBezTo>
                  <a:pt x="126" y="10"/>
                  <a:pt x="126" y="10"/>
                  <a:pt x="126" y="10"/>
                </a:cubicBezTo>
                <a:cubicBezTo>
                  <a:pt x="127" y="9"/>
                  <a:pt x="127" y="9"/>
                  <a:pt x="127" y="9"/>
                </a:cubicBezTo>
                <a:cubicBezTo>
                  <a:pt x="127" y="9"/>
                  <a:pt x="127" y="9"/>
                  <a:pt x="127" y="9"/>
                </a:cubicBezTo>
                <a:cubicBezTo>
                  <a:pt x="127" y="9"/>
                  <a:pt x="127" y="9"/>
                  <a:pt x="127" y="9"/>
                </a:cubicBezTo>
                <a:cubicBezTo>
                  <a:pt x="126" y="8"/>
                  <a:pt x="126" y="8"/>
                  <a:pt x="126" y="8"/>
                </a:cubicBezTo>
                <a:cubicBezTo>
                  <a:pt x="126" y="8"/>
                  <a:pt x="126" y="8"/>
                  <a:pt x="126" y="8"/>
                </a:cubicBezTo>
                <a:cubicBezTo>
                  <a:pt x="125" y="8"/>
                  <a:pt x="125" y="8"/>
                  <a:pt x="125" y="8"/>
                </a:cubicBezTo>
                <a:cubicBezTo>
                  <a:pt x="123" y="7"/>
                  <a:pt x="123" y="7"/>
                  <a:pt x="123" y="7"/>
                </a:cubicBezTo>
                <a:cubicBezTo>
                  <a:pt x="122" y="7"/>
                  <a:pt x="122" y="7"/>
                  <a:pt x="122" y="7"/>
                </a:cubicBezTo>
                <a:cubicBezTo>
                  <a:pt x="121" y="8"/>
                  <a:pt x="121" y="8"/>
                  <a:pt x="121" y="8"/>
                </a:cubicBezTo>
                <a:cubicBezTo>
                  <a:pt x="121" y="8"/>
                  <a:pt x="121" y="8"/>
                  <a:pt x="121" y="8"/>
                </a:cubicBezTo>
                <a:cubicBezTo>
                  <a:pt x="120" y="7"/>
                  <a:pt x="120" y="7"/>
                  <a:pt x="120" y="7"/>
                </a:cubicBezTo>
                <a:cubicBezTo>
                  <a:pt x="121" y="7"/>
                  <a:pt x="121" y="7"/>
                  <a:pt x="121" y="7"/>
                </a:cubicBezTo>
                <a:cubicBezTo>
                  <a:pt x="121" y="6"/>
                  <a:pt x="121" y="6"/>
                  <a:pt x="121" y="6"/>
                </a:cubicBezTo>
                <a:cubicBezTo>
                  <a:pt x="120" y="5"/>
                  <a:pt x="120" y="5"/>
                  <a:pt x="120" y="5"/>
                </a:cubicBezTo>
                <a:cubicBezTo>
                  <a:pt x="120" y="5"/>
                  <a:pt x="120" y="5"/>
                  <a:pt x="120" y="5"/>
                </a:cubicBezTo>
                <a:cubicBezTo>
                  <a:pt x="119" y="5"/>
                  <a:pt x="119" y="5"/>
                  <a:pt x="119" y="5"/>
                </a:cubicBezTo>
                <a:cubicBezTo>
                  <a:pt x="118" y="7"/>
                  <a:pt x="118" y="7"/>
                  <a:pt x="118" y="7"/>
                </a:cubicBezTo>
                <a:cubicBezTo>
                  <a:pt x="118" y="7"/>
                  <a:pt x="118" y="7"/>
                  <a:pt x="118" y="7"/>
                </a:cubicBezTo>
                <a:cubicBezTo>
                  <a:pt x="118" y="6"/>
                  <a:pt x="118" y="6"/>
                  <a:pt x="118" y="6"/>
                </a:cubicBezTo>
                <a:cubicBezTo>
                  <a:pt x="117" y="6"/>
                  <a:pt x="117" y="6"/>
                  <a:pt x="117" y="6"/>
                </a:cubicBezTo>
                <a:cubicBezTo>
                  <a:pt x="117" y="6"/>
                  <a:pt x="117" y="6"/>
                  <a:pt x="117" y="6"/>
                </a:cubicBezTo>
                <a:cubicBezTo>
                  <a:pt x="116" y="6"/>
                  <a:pt x="116" y="6"/>
                  <a:pt x="116" y="6"/>
                </a:cubicBezTo>
                <a:cubicBezTo>
                  <a:pt x="116" y="6"/>
                  <a:pt x="116" y="6"/>
                  <a:pt x="116" y="6"/>
                </a:cubicBezTo>
                <a:cubicBezTo>
                  <a:pt x="117" y="5"/>
                  <a:pt x="117" y="5"/>
                  <a:pt x="117" y="5"/>
                </a:cubicBezTo>
                <a:cubicBezTo>
                  <a:pt x="117" y="4"/>
                  <a:pt x="117" y="4"/>
                  <a:pt x="117" y="4"/>
                </a:cubicBezTo>
                <a:cubicBezTo>
                  <a:pt x="116" y="4"/>
                  <a:pt x="116" y="4"/>
                  <a:pt x="116" y="4"/>
                </a:cubicBezTo>
                <a:cubicBezTo>
                  <a:pt x="115" y="4"/>
                  <a:pt x="115" y="4"/>
                  <a:pt x="115" y="4"/>
                </a:cubicBezTo>
                <a:cubicBezTo>
                  <a:pt x="114" y="4"/>
                  <a:pt x="114" y="4"/>
                  <a:pt x="114" y="4"/>
                </a:cubicBezTo>
                <a:cubicBezTo>
                  <a:pt x="114" y="6"/>
                  <a:pt x="114" y="6"/>
                  <a:pt x="114" y="6"/>
                </a:cubicBezTo>
                <a:cubicBezTo>
                  <a:pt x="113" y="6"/>
                  <a:pt x="113" y="6"/>
                  <a:pt x="113" y="6"/>
                </a:cubicBezTo>
                <a:cubicBezTo>
                  <a:pt x="113" y="7"/>
                  <a:pt x="113" y="7"/>
                  <a:pt x="113" y="7"/>
                </a:cubicBezTo>
                <a:cubicBezTo>
                  <a:pt x="114" y="9"/>
                  <a:pt x="114" y="9"/>
                  <a:pt x="114" y="9"/>
                </a:cubicBezTo>
                <a:cubicBezTo>
                  <a:pt x="113" y="9"/>
                  <a:pt x="113" y="9"/>
                  <a:pt x="113" y="9"/>
                </a:cubicBezTo>
                <a:cubicBezTo>
                  <a:pt x="113" y="10"/>
                  <a:pt x="113" y="10"/>
                  <a:pt x="113" y="10"/>
                </a:cubicBezTo>
                <a:cubicBezTo>
                  <a:pt x="112" y="9"/>
                  <a:pt x="112" y="9"/>
                  <a:pt x="112" y="9"/>
                </a:cubicBezTo>
                <a:cubicBezTo>
                  <a:pt x="112" y="9"/>
                  <a:pt x="112" y="9"/>
                  <a:pt x="112" y="9"/>
                </a:cubicBezTo>
                <a:cubicBezTo>
                  <a:pt x="111" y="9"/>
                  <a:pt x="111" y="9"/>
                  <a:pt x="111" y="9"/>
                </a:cubicBezTo>
                <a:cubicBezTo>
                  <a:pt x="110" y="9"/>
                  <a:pt x="110" y="9"/>
                  <a:pt x="110" y="9"/>
                </a:cubicBezTo>
                <a:cubicBezTo>
                  <a:pt x="109" y="10"/>
                  <a:pt x="109" y="10"/>
                  <a:pt x="109" y="10"/>
                </a:cubicBezTo>
                <a:cubicBezTo>
                  <a:pt x="110" y="8"/>
                  <a:pt x="110" y="8"/>
                  <a:pt x="110" y="8"/>
                </a:cubicBezTo>
                <a:cubicBezTo>
                  <a:pt x="111" y="8"/>
                  <a:pt x="111" y="8"/>
                  <a:pt x="111" y="8"/>
                </a:cubicBezTo>
                <a:cubicBezTo>
                  <a:pt x="111" y="7"/>
                  <a:pt x="111" y="7"/>
                  <a:pt x="111" y="7"/>
                </a:cubicBezTo>
                <a:cubicBezTo>
                  <a:pt x="111" y="6"/>
                  <a:pt x="111" y="6"/>
                  <a:pt x="111" y="6"/>
                </a:cubicBezTo>
                <a:cubicBezTo>
                  <a:pt x="111" y="6"/>
                  <a:pt x="111" y="6"/>
                  <a:pt x="111" y="6"/>
                </a:cubicBezTo>
                <a:cubicBezTo>
                  <a:pt x="110" y="7"/>
                  <a:pt x="110" y="7"/>
                  <a:pt x="110" y="7"/>
                </a:cubicBezTo>
                <a:cubicBezTo>
                  <a:pt x="109" y="7"/>
                  <a:pt x="109" y="7"/>
                  <a:pt x="109" y="7"/>
                </a:cubicBezTo>
                <a:cubicBezTo>
                  <a:pt x="109" y="6"/>
                  <a:pt x="109" y="6"/>
                  <a:pt x="109" y="6"/>
                </a:cubicBezTo>
                <a:cubicBezTo>
                  <a:pt x="110" y="6"/>
                  <a:pt x="110" y="6"/>
                  <a:pt x="110" y="6"/>
                </a:cubicBezTo>
                <a:cubicBezTo>
                  <a:pt x="110" y="5"/>
                  <a:pt x="110" y="5"/>
                  <a:pt x="110" y="5"/>
                </a:cubicBezTo>
                <a:cubicBezTo>
                  <a:pt x="109" y="5"/>
                  <a:pt x="109" y="5"/>
                  <a:pt x="109" y="5"/>
                </a:cubicBezTo>
                <a:cubicBezTo>
                  <a:pt x="109" y="4"/>
                  <a:pt x="109" y="4"/>
                  <a:pt x="109" y="4"/>
                </a:cubicBezTo>
                <a:cubicBezTo>
                  <a:pt x="110" y="4"/>
                  <a:pt x="110" y="4"/>
                  <a:pt x="110" y="4"/>
                </a:cubicBezTo>
                <a:cubicBezTo>
                  <a:pt x="110" y="4"/>
                  <a:pt x="110" y="4"/>
                  <a:pt x="110" y="4"/>
                </a:cubicBezTo>
                <a:cubicBezTo>
                  <a:pt x="111" y="4"/>
                  <a:pt x="111" y="4"/>
                  <a:pt x="111" y="4"/>
                </a:cubicBezTo>
                <a:cubicBezTo>
                  <a:pt x="112" y="2"/>
                  <a:pt x="112" y="2"/>
                  <a:pt x="112" y="2"/>
                </a:cubicBezTo>
                <a:cubicBezTo>
                  <a:pt x="112" y="2"/>
                  <a:pt x="112" y="2"/>
                  <a:pt x="112" y="2"/>
                </a:cubicBezTo>
                <a:cubicBezTo>
                  <a:pt x="111" y="2"/>
                  <a:pt x="111" y="2"/>
                  <a:pt x="111" y="2"/>
                </a:cubicBezTo>
                <a:cubicBezTo>
                  <a:pt x="110" y="2"/>
                  <a:pt x="110" y="2"/>
                  <a:pt x="110" y="2"/>
                </a:cubicBezTo>
                <a:cubicBezTo>
                  <a:pt x="110" y="1"/>
                  <a:pt x="110" y="1"/>
                  <a:pt x="110" y="1"/>
                </a:cubicBezTo>
                <a:cubicBezTo>
                  <a:pt x="110" y="0"/>
                  <a:pt x="110" y="0"/>
                  <a:pt x="110" y="0"/>
                </a:cubicBezTo>
                <a:cubicBezTo>
                  <a:pt x="109" y="1"/>
                  <a:pt x="109" y="1"/>
                  <a:pt x="109" y="1"/>
                </a:cubicBezTo>
                <a:cubicBezTo>
                  <a:pt x="108" y="0"/>
                  <a:pt x="108" y="0"/>
                  <a:pt x="108" y="0"/>
                </a:cubicBezTo>
                <a:cubicBezTo>
                  <a:pt x="108" y="0"/>
                  <a:pt x="108" y="0"/>
                  <a:pt x="108" y="0"/>
                </a:cubicBezTo>
                <a:cubicBezTo>
                  <a:pt x="107" y="1"/>
                  <a:pt x="107" y="1"/>
                  <a:pt x="107" y="1"/>
                </a:cubicBezTo>
                <a:cubicBezTo>
                  <a:pt x="107" y="1"/>
                  <a:pt x="107" y="1"/>
                  <a:pt x="107" y="1"/>
                </a:cubicBezTo>
                <a:cubicBezTo>
                  <a:pt x="108" y="2"/>
                  <a:pt x="108" y="2"/>
                  <a:pt x="108" y="2"/>
                </a:cubicBezTo>
                <a:cubicBezTo>
                  <a:pt x="107" y="3"/>
                  <a:pt x="107" y="3"/>
                  <a:pt x="107" y="3"/>
                </a:cubicBezTo>
                <a:cubicBezTo>
                  <a:pt x="107" y="3"/>
                  <a:pt x="107" y="3"/>
                  <a:pt x="107" y="3"/>
                </a:cubicBezTo>
                <a:cubicBezTo>
                  <a:pt x="106" y="2"/>
                  <a:pt x="106" y="2"/>
                  <a:pt x="106" y="2"/>
                </a:cubicBezTo>
                <a:cubicBezTo>
                  <a:pt x="105" y="2"/>
                  <a:pt x="105" y="2"/>
                  <a:pt x="105" y="2"/>
                </a:cubicBezTo>
                <a:cubicBezTo>
                  <a:pt x="105" y="3"/>
                  <a:pt x="105" y="3"/>
                  <a:pt x="105" y="3"/>
                </a:cubicBezTo>
                <a:cubicBezTo>
                  <a:pt x="105" y="4"/>
                  <a:pt x="105" y="4"/>
                  <a:pt x="105" y="4"/>
                </a:cubicBezTo>
                <a:cubicBezTo>
                  <a:pt x="106" y="4"/>
                  <a:pt x="106" y="4"/>
                  <a:pt x="106" y="4"/>
                </a:cubicBezTo>
                <a:cubicBezTo>
                  <a:pt x="106" y="4"/>
                  <a:pt x="106" y="4"/>
                  <a:pt x="106" y="4"/>
                </a:cubicBezTo>
                <a:cubicBezTo>
                  <a:pt x="106" y="5"/>
                  <a:pt x="106" y="5"/>
                  <a:pt x="106" y="5"/>
                </a:cubicBezTo>
                <a:cubicBezTo>
                  <a:pt x="106" y="5"/>
                  <a:pt x="106" y="5"/>
                  <a:pt x="106" y="5"/>
                </a:cubicBezTo>
                <a:cubicBezTo>
                  <a:pt x="106" y="6"/>
                  <a:pt x="106" y="6"/>
                  <a:pt x="106" y="6"/>
                </a:cubicBezTo>
                <a:cubicBezTo>
                  <a:pt x="105" y="6"/>
                  <a:pt x="105" y="6"/>
                  <a:pt x="105" y="6"/>
                </a:cubicBezTo>
                <a:cubicBezTo>
                  <a:pt x="105" y="7"/>
                  <a:pt x="105" y="7"/>
                  <a:pt x="105" y="7"/>
                </a:cubicBezTo>
                <a:cubicBezTo>
                  <a:pt x="105" y="8"/>
                  <a:pt x="105" y="8"/>
                  <a:pt x="105" y="8"/>
                </a:cubicBezTo>
                <a:cubicBezTo>
                  <a:pt x="104" y="8"/>
                  <a:pt x="104" y="8"/>
                  <a:pt x="104" y="8"/>
                </a:cubicBezTo>
                <a:cubicBezTo>
                  <a:pt x="105" y="9"/>
                  <a:pt x="105" y="9"/>
                  <a:pt x="105" y="9"/>
                </a:cubicBezTo>
                <a:cubicBezTo>
                  <a:pt x="104" y="10"/>
                  <a:pt x="104" y="10"/>
                  <a:pt x="104" y="10"/>
                </a:cubicBezTo>
                <a:cubicBezTo>
                  <a:pt x="104" y="9"/>
                  <a:pt x="104" y="9"/>
                  <a:pt x="104" y="9"/>
                </a:cubicBezTo>
                <a:cubicBezTo>
                  <a:pt x="103" y="10"/>
                  <a:pt x="103" y="10"/>
                  <a:pt x="103" y="10"/>
                </a:cubicBezTo>
                <a:cubicBezTo>
                  <a:pt x="103" y="10"/>
                  <a:pt x="103" y="10"/>
                  <a:pt x="103" y="10"/>
                </a:cubicBezTo>
                <a:cubicBezTo>
                  <a:pt x="102" y="11"/>
                  <a:pt x="102" y="11"/>
                  <a:pt x="102" y="11"/>
                </a:cubicBezTo>
                <a:cubicBezTo>
                  <a:pt x="102" y="9"/>
                  <a:pt x="102" y="9"/>
                  <a:pt x="102" y="9"/>
                </a:cubicBezTo>
                <a:cubicBezTo>
                  <a:pt x="103" y="7"/>
                  <a:pt x="103" y="7"/>
                  <a:pt x="103" y="7"/>
                </a:cubicBezTo>
                <a:cubicBezTo>
                  <a:pt x="102" y="7"/>
                  <a:pt x="102" y="7"/>
                  <a:pt x="102" y="7"/>
                </a:cubicBezTo>
                <a:cubicBezTo>
                  <a:pt x="102" y="6"/>
                  <a:pt x="102" y="6"/>
                  <a:pt x="102" y="6"/>
                </a:cubicBezTo>
                <a:cubicBezTo>
                  <a:pt x="103" y="6"/>
                  <a:pt x="103" y="6"/>
                  <a:pt x="103" y="6"/>
                </a:cubicBezTo>
                <a:cubicBezTo>
                  <a:pt x="103" y="4"/>
                  <a:pt x="103" y="4"/>
                  <a:pt x="103" y="4"/>
                </a:cubicBezTo>
                <a:cubicBezTo>
                  <a:pt x="102" y="3"/>
                  <a:pt x="102" y="3"/>
                  <a:pt x="102" y="3"/>
                </a:cubicBezTo>
                <a:cubicBezTo>
                  <a:pt x="102" y="3"/>
                  <a:pt x="102" y="3"/>
                  <a:pt x="102" y="3"/>
                </a:cubicBezTo>
                <a:cubicBezTo>
                  <a:pt x="100" y="6"/>
                  <a:pt x="100" y="6"/>
                  <a:pt x="100" y="6"/>
                </a:cubicBezTo>
                <a:cubicBezTo>
                  <a:pt x="100" y="7"/>
                  <a:pt x="100" y="7"/>
                  <a:pt x="100" y="7"/>
                </a:cubicBezTo>
                <a:cubicBezTo>
                  <a:pt x="99" y="9"/>
                  <a:pt x="99" y="9"/>
                  <a:pt x="99" y="9"/>
                </a:cubicBezTo>
                <a:cubicBezTo>
                  <a:pt x="98" y="11"/>
                  <a:pt x="98" y="11"/>
                  <a:pt x="98" y="11"/>
                </a:cubicBezTo>
                <a:cubicBezTo>
                  <a:pt x="98" y="12"/>
                  <a:pt x="98" y="12"/>
                  <a:pt x="98" y="12"/>
                </a:cubicBezTo>
                <a:cubicBezTo>
                  <a:pt x="98" y="13"/>
                  <a:pt x="98" y="13"/>
                  <a:pt x="98" y="13"/>
                </a:cubicBezTo>
                <a:cubicBezTo>
                  <a:pt x="97" y="15"/>
                  <a:pt x="97" y="15"/>
                  <a:pt x="97" y="15"/>
                </a:cubicBezTo>
                <a:cubicBezTo>
                  <a:pt x="96" y="15"/>
                  <a:pt x="96" y="15"/>
                  <a:pt x="96" y="15"/>
                </a:cubicBezTo>
                <a:cubicBezTo>
                  <a:pt x="96" y="14"/>
                  <a:pt x="96" y="14"/>
                  <a:pt x="96" y="14"/>
                </a:cubicBezTo>
                <a:cubicBezTo>
                  <a:pt x="95" y="13"/>
                  <a:pt x="95" y="13"/>
                  <a:pt x="95" y="13"/>
                </a:cubicBezTo>
                <a:cubicBezTo>
                  <a:pt x="97" y="11"/>
                  <a:pt x="97" y="11"/>
                  <a:pt x="97" y="11"/>
                </a:cubicBezTo>
                <a:cubicBezTo>
                  <a:pt x="96" y="10"/>
                  <a:pt x="96" y="10"/>
                  <a:pt x="96" y="10"/>
                </a:cubicBezTo>
                <a:cubicBezTo>
                  <a:pt x="97" y="10"/>
                  <a:pt x="97" y="10"/>
                  <a:pt x="97" y="10"/>
                </a:cubicBezTo>
                <a:cubicBezTo>
                  <a:pt x="96" y="8"/>
                  <a:pt x="96" y="8"/>
                  <a:pt x="96" y="8"/>
                </a:cubicBezTo>
                <a:cubicBezTo>
                  <a:pt x="98" y="6"/>
                  <a:pt x="98" y="6"/>
                  <a:pt x="98" y="6"/>
                </a:cubicBezTo>
                <a:cubicBezTo>
                  <a:pt x="98" y="5"/>
                  <a:pt x="98" y="5"/>
                  <a:pt x="98" y="5"/>
                </a:cubicBezTo>
                <a:cubicBezTo>
                  <a:pt x="99" y="5"/>
                  <a:pt x="99" y="5"/>
                  <a:pt x="99" y="5"/>
                </a:cubicBezTo>
                <a:cubicBezTo>
                  <a:pt x="99" y="4"/>
                  <a:pt x="99" y="4"/>
                  <a:pt x="99" y="4"/>
                </a:cubicBezTo>
                <a:cubicBezTo>
                  <a:pt x="98" y="4"/>
                  <a:pt x="98" y="4"/>
                  <a:pt x="98" y="4"/>
                </a:cubicBezTo>
                <a:cubicBezTo>
                  <a:pt x="97" y="3"/>
                  <a:pt x="97" y="3"/>
                  <a:pt x="97" y="3"/>
                </a:cubicBezTo>
                <a:cubicBezTo>
                  <a:pt x="96" y="3"/>
                  <a:pt x="96" y="3"/>
                  <a:pt x="96" y="3"/>
                </a:cubicBezTo>
                <a:cubicBezTo>
                  <a:pt x="96" y="4"/>
                  <a:pt x="96" y="4"/>
                  <a:pt x="96" y="4"/>
                </a:cubicBezTo>
                <a:cubicBezTo>
                  <a:pt x="96" y="5"/>
                  <a:pt x="96" y="5"/>
                  <a:pt x="96" y="5"/>
                </a:cubicBezTo>
                <a:cubicBezTo>
                  <a:pt x="95" y="4"/>
                  <a:pt x="95" y="4"/>
                  <a:pt x="95" y="4"/>
                </a:cubicBezTo>
                <a:cubicBezTo>
                  <a:pt x="95" y="3"/>
                  <a:pt x="95" y="3"/>
                  <a:pt x="95" y="3"/>
                </a:cubicBezTo>
                <a:cubicBezTo>
                  <a:pt x="94" y="3"/>
                  <a:pt x="94" y="3"/>
                  <a:pt x="94" y="3"/>
                </a:cubicBezTo>
                <a:cubicBezTo>
                  <a:pt x="93" y="4"/>
                  <a:pt x="93" y="4"/>
                  <a:pt x="93" y="4"/>
                </a:cubicBezTo>
                <a:cubicBezTo>
                  <a:pt x="93" y="5"/>
                  <a:pt x="93" y="5"/>
                  <a:pt x="93" y="5"/>
                </a:cubicBezTo>
                <a:cubicBezTo>
                  <a:pt x="93" y="6"/>
                  <a:pt x="93" y="6"/>
                  <a:pt x="93" y="6"/>
                </a:cubicBezTo>
                <a:cubicBezTo>
                  <a:pt x="92" y="5"/>
                  <a:pt x="92" y="5"/>
                  <a:pt x="92" y="5"/>
                </a:cubicBezTo>
                <a:cubicBezTo>
                  <a:pt x="91" y="5"/>
                  <a:pt x="91" y="5"/>
                  <a:pt x="91" y="5"/>
                </a:cubicBezTo>
                <a:cubicBezTo>
                  <a:pt x="91" y="5"/>
                  <a:pt x="91" y="5"/>
                  <a:pt x="91" y="5"/>
                </a:cubicBezTo>
                <a:cubicBezTo>
                  <a:pt x="91" y="6"/>
                  <a:pt x="91" y="6"/>
                  <a:pt x="91" y="6"/>
                </a:cubicBezTo>
                <a:cubicBezTo>
                  <a:pt x="93" y="7"/>
                  <a:pt x="93" y="7"/>
                  <a:pt x="93" y="7"/>
                </a:cubicBezTo>
                <a:cubicBezTo>
                  <a:pt x="93" y="8"/>
                  <a:pt x="93" y="8"/>
                  <a:pt x="93" y="8"/>
                </a:cubicBezTo>
                <a:cubicBezTo>
                  <a:pt x="93" y="8"/>
                  <a:pt x="93" y="8"/>
                  <a:pt x="93" y="8"/>
                </a:cubicBezTo>
                <a:cubicBezTo>
                  <a:pt x="92" y="8"/>
                  <a:pt x="92" y="8"/>
                  <a:pt x="92" y="8"/>
                </a:cubicBezTo>
                <a:cubicBezTo>
                  <a:pt x="91" y="8"/>
                  <a:pt x="91" y="8"/>
                  <a:pt x="91" y="8"/>
                </a:cubicBezTo>
                <a:cubicBezTo>
                  <a:pt x="91" y="9"/>
                  <a:pt x="91" y="9"/>
                  <a:pt x="91" y="9"/>
                </a:cubicBezTo>
                <a:cubicBezTo>
                  <a:pt x="91" y="9"/>
                  <a:pt x="91" y="9"/>
                  <a:pt x="91" y="9"/>
                </a:cubicBezTo>
                <a:cubicBezTo>
                  <a:pt x="91" y="10"/>
                  <a:pt x="91" y="10"/>
                  <a:pt x="91" y="10"/>
                </a:cubicBezTo>
                <a:cubicBezTo>
                  <a:pt x="90" y="9"/>
                  <a:pt x="90" y="9"/>
                  <a:pt x="90" y="9"/>
                </a:cubicBezTo>
                <a:cubicBezTo>
                  <a:pt x="89" y="9"/>
                  <a:pt x="89" y="9"/>
                  <a:pt x="89" y="9"/>
                </a:cubicBezTo>
                <a:cubicBezTo>
                  <a:pt x="89" y="10"/>
                  <a:pt x="89" y="10"/>
                  <a:pt x="89" y="10"/>
                </a:cubicBezTo>
                <a:cubicBezTo>
                  <a:pt x="88" y="11"/>
                  <a:pt x="88" y="11"/>
                  <a:pt x="88" y="11"/>
                </a:cubicBezTo>
                <a:cubicBezTo>
                  <a:pt x="88" y="11"/>
                  <a:pt x="88" y="11"/>
                  <a:pt x="88" y="11"/>
                </a:cubicBezTo>
                <a:cubicBezTo>
                  <a:pt x="88" y="12"/>
                  <a:pt x="88" y="12"/>
                  <a:pt x="88" y="12"/>
                </a:cubicBezTo>
                <a:cubicBezTo>
                  <a:pt x="87" y="12"/>
                  <a:pt x="87" y="12"/>
                  <a:pt x="87" y="12"/>
                </a:cubicBezTo>
                <a:cubicBezTo>
                  <a:pt x="87" y="13"/>
                  <a:pt x="87" y="13"/>
                  <a:pt x="87" y="13"/>
                </a:cubicBezTo>
                <a:cubicBezTo>
                  <a:pt x="88" y="14"/>
                  <a:pt x="88" y="14"/>
                  <a:pt x="88" y="14"/>
                </a:cubicBezTo>
                <a:cubicBezTo>
                  <a:pt x="87" y="15"/>
                  <a:pt x="87" y="15"/>
                  <a:pt x="87" y="15"/>
                </a:cubicBezTo>
                <a:cubicBezTo>
                  <a:pt x="88" y="15"/>
                  <a:pt x="88" y="15"/>
                  <a:pt x="88" y="15"/>
                </a:cubicBezTo>
                <a:cubicBezTo>
                  <a:pt x="89" y="16"/>
                  <a:pt x="89" y="16"/>
                  <a:pt x="89" y="16"/>
                </a:cubicBezTo>
                <a:cubicBezTo>
                  <a:pt x="88" y="16"/>
                  <a:pt x="88" y="16"/>
                  <a:pt x="88" y="16"/>
                </a:cubicBezTo>
                <a:cubicBezTo>
                  <a:pt x="86" y="16"/>
                  <a:pt x="86" y="16"/>
                  <a:pt x="86" y="16"/>
                </a:cubicBezTo>
                <a:cubicBezTo>
                  <a:pt x="86" y="15"/>
                  <a:pt x="86" y="15"/>
                  <a:pt x="86" y="15"/>
                </a:cubicBezTo>
                <a:cubicBezTo>
                  <a:pt x="85" y="14"/>
                  <a:pt x="85" y="14"/>
                  <a:pt x="85" y="14"/>
                </a:cubicBezTo>
                <a:cubicBezTo>
                  <a:pt x="86" y="14"/>
                  <a:pt x="86" y="14"/>
                  <a:pt x="86" y="14"/>
                </a:cubicBezTo>
                <a:cubicBezTo>
                  <a:pt x="85" y="13"/>
                  <a:pt x="85" y="13"/>
                  <a:pt x="85" y="13"/>
                </a:cubicBezTo>
                <a:cubicBezTo>
                  <a:pt x="84" y="13"/>
                  <a:pt x="84" y="13"/>
                  <a:pt x="84" y="13"/>
                </a:cubicBezTo>
                <a:cubicBezTo>
                  <a:pt x="83" y="13"/>
                  <a:pt x="83" y="13"/>
                  <a:pt x="83" y="13"/>
                </a:cubicBezTo>
                <a:cubicBezTo>
                  <a:pt x="81" y="12"/>
                  <a:pt x="81" y="12"/>
                  <a:pt x="81" y="12"/>
                </a:cubicBezTo>
                <a:cubicBezTo>
                  <a:pt x="80" y="12"/>
                  <a:pt x="80" y="12"/>
                  <a:pt x="80" y="12"/>
                </a:cubicBezTo>
                <a:cubicBezTo>
                  <a:pt x="80" y="12"/>
                  <a:pt x="80" y="12"/>
                  <a:pt x="80" y="12"/>
                </a:cubicBezTo>
                <a:cubicBezTo>
                  <a:pt x="79" y="12"/>
                  <a:pt x="79" y="12"/>
                  <a:pt x="79" y="12"/>
                </a:cubicBezTo>
                <a:cubicBezTo>
                  <a:pt x="78" y="12"/>
                  <a:pt x="78" y="12"/>
                  <a:pt x="78" y="12"/>
                </a:cubicBezTo>
                <a:cubicBezTo>
                  <a:pt x="77" y="13"/>
                  <a:pt x="77" y="13"/>
                  <a:pt x="77" y="13"/>
                </a:cubicBezTo>
                <a:cubicBezTo>
                  <a:pt x="77" y="13"/>
                  <a:pt x="77" y="13"/>
                  <a:pt x="77" y="13"/>
                </a:cubicBezTo>
                <a:cubicBezTo>
                  <a:pt x="78" y="15"/>
                  <a:pt x="78" y="15"/>
                  <a:pt x="78" y="15"/>
                </a:cubicBezTo>
                <a:cubicBezTo>
                  <a:pt x="79" y="15"/>
                  <a:pt x="79" y="15"/>
                  <a:pt x="79" y="15"/>
                </a:cubicBezTo>
                <a:cubicBezTo>
                  <a:pt x="80" y="15"/>
                  <a:pt x="80" y="15"/>
                  <a:pt x="80" y="15"/>
                </a:cubicBezTo>
                <a:cubicBezTo>
                  <a:pt x="81" y="16"/>
                  <a:pt x="81" y="16"/>
                  <a:pt x="81" y="16"/>
                </a:cubicBezTo>
                <a:cubicBezTo>
                  <a:pt x="81" y="17"/>
                  <a:pt x="81" y="17"/>
                  <a:pt x="81" y="17"/>
                </a:cubicBezTo>
                <a:cubicBezTo>
                  <a:pt x="81" y="18"/>
                  <a:pt x="81" y="18"/>
                  <a:pt x="81" y="18"/>
                </a:cubicBezTo>
                <a:cubicBezTo>
                  <a:pt x="82" y="19"/>
                  <a:pt x="82" y="19"/>
                  <a:pt x="82" y="19"/>
                </a:cubicBezTo>
                <a:cubicBezTo>
                  <a:pt x="81" y="20"/>
                  <a:pt x="81" y="20"/>
                  <a:pt x="81" y="20"/>
                </a:cubicBezTo>
                <a:cubicBezTo>
                  <a:pt x="81" y="19"/>
                  <a:pt x="81" y="19"/>
                  <a:pt x="81" y="19"/>
                </a:cubicBezTo>
                <a:cubicBezTo>
                  <a:pt x="80" y="18"/>
                  <a:pt x="80" y="18"/>
                  <a:pt x="80" y="18"/>
                </a:cubicBezTo>
                <a:cubicBezTo>
                  <a:pt x="79" y="17"/>
                  <a:pt x="79" y="17"/>
                  <a:pt x="79" y="17"/>
                </a:cubicBezTo>
                <a:cubicBezTo>
                  <a:pt x="78" y="17"/>
                  <a:pt x="78" y="17"/>
                  <a:pt x="78" y="17"/>
                </a:cubicBezTo>
                <a:cubicBezTo>
                  <a:pt x="78" y="18"/>
                  <a:pt x="78" y="18"/>
                  <a:pt x="78" y="18"/>
                </a:cubicBezTo>
                <a:cubicBezTo>
                  <a:pt x="77" y="19"/>
                  <a:pt x="77" y="19"/>
                  <a:pt x="77" y="19"/>
                </a:cubicBezTo>
                <a:cubicBezTo>
                  <a:pt x="77" y="17"/>
                  <a:pt x="77" y="17"/>
                  <a:pt x="77" y="17"/>
                </a:cubicBezTo>
                <a:cubicBezTo>
                  <a:pt x="76" y="18"/>
                  <a:pt x="76" y="18"/>
                  <a:pt x="76" y="18"/>
                </a:cubicBezTo>
                <a:cubicBezTo>
                  <a:pt x="76" y="18"/>
                  <a:pt x="76" y="18"/>
                  <a:pt x="76" y="18"/>
                </a:cubicBezTo>
                <a:cubicBezTo>
                  <a:pt x="75" y="19"/>
                  <a:pt x="75" y="19"/>
                  <a:pt x="75" y="19"/>
                </a:cubicBezTo>
                <a:cubicBezTo>
                  <a:pt x="75" y="20"/>
                  <a:pt x="75" y="20"/>
                  <a:pt x="75" y="20"/>
                </a:cubicBezTo>
                <a:cubicBezTo>
                  <a:pt x="76" y="21"/>
                  <a:pt x="76" y="21"/>
                  <a:pt x="76" y="21"/>
                </a:cubicBezTo>
                <a:cubicBezTo>
                  <a:pt x="77" y="22"/>
                  <a:pt x="77" y="22"/>
                  <a:pt x="77" y="22"/>
                </a:cubicBezTo>
                <a:cubicBezTo>
                  <a:pt x="76" y="22"/>
                  <a:pt x="76" y="22"/>
                  <a:pt x="76" y="22"/>
                </a:cubicBezTo>
                <a:cubicBezTo>
                  <a:pt x="75" y="21"/>
                  <a:pt x="75" y="21"/>
                  <a:pt x="75" y="21"/>
                </a:cubicBezTo>
                <a:cubicBezTo>
                  <a:pt x="74" y="23"/>
                  <a:pt x="74" y="23"/>
                  <a:pt x="74" y="23"/>
                </a:cubicBezTo>
                <a:cubicBezTo>
                  <a:pt x="74" y="24"/>
                  <a:pt x="74" y="24"/>
                  <a:pt x="74" y="24"/>
                </a:cubicBezTo>
                <a:cubicBezTo>
                  <a:pt x="72" y="25"/>
                  <a:pt x="72" y="25"/>
                  <a:pt x="72" y="25"/>
                </a:cubicBezTo>
                <a:cubicBezTo>
                  <a:pt x="72" y="24"/>
                  <a:pt x="72" y="24"/>
                  <a:pt x="72" y="24"/>
                </a:cubicBezTo>
                <a:cubicBezTo>
                  <a:pt x="73" y="23"/>
                  <a:pt x="73" y="23"/>
                  <a:pt x="73" y="23"/>
                </a:cubicBezTo>
                <a:cubicBezTo>
                  <a:pt x="73" y="23"/>
                  <a:pt x="73" y="23"/>
                  <a:pt x="73" y="23"/>
                </a:cubicBezTo>
                <a:cubicBezTo>
                  <a:pt x="74" y="21"/>
                  <a:pt x="74" y="21"/>
                  <a:pt x="74" y="21"/>
                </a:cubicBezTo>
                <a:cubicBezTo>
                  <a:pt x="73" y="17"/>
                  <a:pt x="73" y="17"/>
                  <a:pt x="73" y="17"/>
                </a:cubicBezTo>
                <a:cubicBezTo>
                  <a:pt x="72" y="18"/>
                  <a:pt x="72" y="18"/>
                  <a:pt x="72" y="18"/>
                </a:cubicBezTo>
                <a:cubicBezTo>
                  <a:pt x="71" y="20"/>
                  <a:pt x="71" y="20"/>
                  <a:pt x="71" y="20"/>
                </a:cubicBezTo>
                <a:cubicBezTo>
                  <a:pt x="71" y="22"/>
                  <a:pt x="71" y="22"/>
                  <a:pt x="71" y="22"/>
                </a:cubicBezTo>
                <a:cubicBezTo>
                  <a:pt x="71" y="22"/>
                  <a:pt x="71" y="22"/>
                  <a:pt x="71" y="22"/>
                </a:cubicBezTo>
                <a:cubicBezTo>
                  <a:pt x="70" y="24"/>
                  <a:pt x="70" y="24"/>
                  <a:pt x="70" y="24"/>
                </a:cubicBezTo>
                <a:cubicBezTo>
                  <a:pt x="70" y="22"/>
                  <a:pt x="70" y="22"/>
                  <a:pt x="70" y="22"/>
                </a:cubicBezTo>
                <a:cubicBezTo>
                  <a:pt x="71" y="21"/>
                  <a:pt x="71" y="21"/>
                  <a:pt x="71" y="21"/>
                </a:cubicBezTo>
                <a:cubicBezTo>
                  <a:pt x="70" y="19"/>
                  <a:pt x="70" y="19"/>
                  <a:pt x="70" y="19"/>
                </a:cubicBezTo>
                <a:cubicBezTo>
                  <a:pt x="70" y="19"/>
                  <a:pt x="70" y="19"/>
                  <a:pt x="70" y="19"/>
                </a:cubicBezTo>
                <a:cubicBezTo>
                  <a:pt x="68" y="20"/>
                  <a:pt x="68" y="20"/>
                  <a:pt x="68" y="20"/>
                </a:cubicBezTo>
                <a:cubicBezTo>
                  <a:pt x="67" y="22"/>
                  <a:pt x="67" y="22"/>
                  <a:pt x="67" y="22"/>
                </a:cubicBezTo>
                <a:cubicBezTo>
                  <a:pt x="68" y="23"/>
                  <a:pt x="68" y="23"/>
                  <a:pt x="68" y="23"/>
                </a:cubicBezTo>
                <a:cubicBezTo>
                  <a:pt x="68" y="24"/>
                  <a:pt x="68" y="24"/>
                  <a:pt x="68" y="24"/>
                </a:cubicBezTo>
                <a:cubicBezTo>
                  <a:pt x="70" y="25"/>
                  <a:pt x="70" y="25"/>
                  <a:pt x="70" y="25"/>
                </a:cubicBezTo>
                <a:cubicBezTo>
                  <a:pt x="70" y="26"/>
                  <a:pt x="70" y="26"/>
                  <a:pt x="70" y="26"/>
                </a:cubicBezTo>
                <a:cubicBezTo>
                  <a:pt x="69" y="27"/>
                  <a:pt x="69" y="27"/>
                  <a:pt x="69" y="27"/>
                </a:cubicBezTo>
                <a:cubicBezTo>
                  <a:pt x="69" y="26"/>
                  <a:pt x="69" y="26"/>
                  <a:pt x="69" y="26"/>
                </a:cubicBezTo>
                <a:cubicBezTo>
                  <a:pt x="68" y="25"/>
                  <a:pt x="68" y="25"/>
                  <a:pt x="68" y="25"/>
                </a:cubicBezTo>
                <a:cubicBezTo>
                  <a:pt x="67" y="23"/>
                  <a:pt x="67" y="23"/>
                  <a:pt x="67" y="23"/>
                </a:cubicBezTo>
                <a:cubicBezTo>
                  <a:pt x="66" y="23"/>
                  <a:pt x="66" y="23"/>
                  <a:pt x="66" y="23"/>
                </a:cubicBezTo>
                <a:cubicBezTo>
                  <a:pt x="65" y="23"/>
                  <a:pt x="65" y="23"/>
                  <a:pt x="65" y="23"/>
                </a:cubicBezTo>
                <a:cubicBezTo>
                  <a:pt x="65" y="24"/>
                  <a:pt x="65" y="24"/>
                  <a:pt x="65" y="24"/>
                </a:cubicBezTo>
                <a:cubicBezTo>
                  <a:pt x="66" y="25"/>
                  <a:pt x="66" y="25"/>
                  <a:pt x="66" y="25"/>
                </a:cubicBezTo>
                <a:cubicBezTo>
                  <a:pt x="67" y="25"/>
                  <a:pt x="67" y="25"/>
                  <a:pt x="67" y="25"/>
                </a:cubicBezTo>
                <a:cubicBezTo>
                  <a:pt x="67" y="26"/>
                  <a:pt x="67" y="26"/>
                  <a:pt x="67" y="26"/>
                </a:cubicBezTo>
                <a:cubicBezTo>
                  <a:pt x="66" y="26"/>
                  <a:pt x="66" y="26"/>
                  <a:pt x="66" y="26"/>
                </a:cubicBezTo>
                <a:cubicBezTo>
                  <a:pt x="65" y="26"/>
                  <a:pt x="65" y="26"/>
                  <a:pt x="65" y="26"/>
                </a:cubicBezTo>
                <a:cubicBezTo>
                  <a:pt x="66" y="27"/>
                  <a:pt x="66" y="27"/>
                  <a:pt x="66" y="27"/>
                </a:cubicBezTo>
                <a:cubicBezTo>
                  <a:pt x="65" y="26"/>
                  <a:pt x="65" y="26"/>
                  <a:pt x="65" y="26"/>
                </a:cubicBezTo>
                <a:cubicBezTo>
                  <a:pt x="65" y="25"/>
                  <a:pt x="65" y="25"/>
                  <a:pt x="65" y="25"/>
                </a:cubicBezTo>
                <a:cubicBezTo>
                  <a:pt x="64" y="24"/>
                  <a:pt x="64" y="24"/>
                  <a:pt x="64" y="24"/>
                </a:cubicBezTo>
                <a:cubicBezTo>
                  <a:pt x="64" y="24"/>
                  <a:pt x="64" y="24"/>
                  <a:pt x="64" y="24"/>
                </a:cubicBezTo>
                <a:cubicBezTo>
                  <a:pt x="63" y="24"/>
                  <a:pt x="63" y="24"/>
                  <a:pt x="63" y="24"/>
                </a:cubicBezTo>
                <a:cubicBezTo>
                  <a:pt x="63" y="26"/>
                  <a:pt x="63" y="26"/>
                  <a:pt x="63" y="26"/>
                </a:cubicBezTo>
                <a:cubicBezTo>
                  <a:pt x="63" y="26"/>
                  <a:pt x="63" y="26"/>
                  <a:pt x="63" y="26"/>
                </a:cubicBezTo>
                <a:cubicBezTo>
                  <a:pt x="63" y="28"/>
                  <a:pt x="63" y="28"/>
                  <a:pt x="63" y="28"/>
                </a:cubicBezTo>
                <a:cubicBezTo>
                  <a:pt x="62" y="27"/>
                  <a:pt x="62" y="27"/>
                  <a:pt x="62" y="27"/>
                </a:cubicBezTo>
                <a:cubicBezTo>
                  <a:pt x="61" y="27"/>
                  <a:pt x="61" y="27"/>
                  <a:pt x="61" y="27"/>
                </a:cubicBezTo>
                <a:cubicBezTo>
                  <a:pt x="60" y="29"/>
                  <a:pt x="60" y="29"/>
                  <a:pt x="60" y="29"/>
                </a:cubicBezTo>
                <a:cubicBezTo>
                  <a:pt x="60" y="29"/>
                  <a:pt x="60" y="29"/>
                  <a:pt x="60" y="29"/>
                </a:cubicBezTo>
                <a:cubicBezTo>
                  <a:pt x="61" y="29"/>
                  <a:pt x="61" y="29"/>
                  <a:pt x="61" y="29"/>
                </a:cubicBezTo>
                <a:cubicBezTo>
                  <a:pt x="62" y="30"/>
                  <a:pt x="62" y="30"/>
                  <a:pt x="62" y="30"/>
                </a:cubicBezTo>
                <a:cubicBezTo>
                  <a:pt x="61" y="30"/>
                  <a:pt x="61" y="30"/>
                  <a:pt x="61" y="30"/>
                </a:cubicBezTo>
                <a:cubicBezTo>
                  <a:pt x="60" y="30"/>
                  <a:pt x="60" y="30"/>
                  <a:pt x="60" y="30"/>
                </a:cubicBezTo>
                <a:cubicBezTo>
                  <a:pt x="61" y="31"/>
                  <a:pt x="61" y="31"/>
                  <a:pt x="61" y="31"/>
                </a:cubicBezTo>
                <a:cubicBezTo>
                  <a:pt x="61" y="32"/>
                  <a:pt x="61" y="32"/>
                  <a:pt x="61" y="32"/>
                </a:cubicBezTo>
                <a:cubicBezTo>
                  <a:pt x="60" y="32"/>
                  <a:pt x="60" y="32"/>
                  <a:pt x="60" y="32"/>
                </a:cubicBezTo>
                <a:cubicBezTo>
                  <a:pt x="60" y="32"/>
                  <a:pt x="60" y="32"/>
                  <a:pt x="60" y="32"/>
                </a:cubicBezTo>
                <a:cubicBezTo>
                  <a:pt x="60" y="32"/>
                  <a:pt x="60" y="32"/>
                  <a:pt x="60" y="32"/>
                </a:cubicBezTo>
                <a:cubicBezTo>
                  <a:pt x="59" y="33"/>
                  <a:pt x="59" y="33"/>
                  <a:pt x="59" y="33"/>
                </a:cubicBezTo>
                <a:cubicBezTo>
                  <a:pt x="59" y="32"/>
                  <a:pt x="59" y="32"/>
                  <a:pt x="59" y="32"/>
                </a:cubicBezTo>
                <a:cubicBezTo>
                  <a:pt x="58" y="32"/>
                  <a:pt x="58" y="32"/>
                  <a:pt x="58" y="32"/>
                </a:cubicBezTo>
                <a:cubicBezTo>
                  <a:pt x="57" y="33"/>
                  <a:pt x="57" y="33"/>
                  <a:pt x="57" y="33"/>
                </a:cubicBezTo>
                <a:cubicBezTo>
                  <a:pt x="57" y="34"/>
                  <a:pt x="57" y="34"/>
                  <a:pt x="57" y="34"/>
                </a:cubicBezTo>
                <a:cubicBezTo>
                  <a:pt x="57" y="34"/>
                  <a:pt x="57" y="34"/>
                  <a:pt x="57" y="34"/>
                </a:cubicBezTo>
                <a:cubicBezTo>
                  <a:pt x="56" y="34"/>
                  <a:pt x="56" y="34"/>
                  <a:pt x="56" y="34"/>
                </a:cubicBezTo>
                <a:cubicBezTo>
                  <a:pt x="55" y="36"/>
                  <a:pt x="55" y="36"/>
                  <a:pt x="55" y="36"/>
                </a:cubicBezTo>
                <a:cubicBezTo>
                  <a:pt x="56" y="36"/>
                  <a:pt x="56" y="36"/>
                  <a:pt x="56" y="36"/>
                </a:cubicBezTo>
                <a:cubicBezTo>
                  <a:pt x="59" y="35"/>
                  <a:pt x="59" y="35"/>
                  <a:pt x="59" y="35"/>
                </a:cubicBezTo>
                <a:cubicBezTo>
                  <a:pt x="59" y="35"/>
                  <a:pt x="59" y="35"/>
                  <a:pt x="59" y="35"/>
                </a:cubicBezTo>
                <a:cubicBezTo>
                  <a:pt x="61" y="35"/>
                  <a:pt x="61" y="35"/>
                  <a:pt x="61" y="35"/>
                </a:cubicBezTo>
                <a:cubicBezTo>
                  <a:pt x="61" y="35"/>
                  <a:pt x="61" y="35"/>
                  <a:pt x="61" y="35"/>
                </a:cubicBezTo>
                <a:cubicBezTo>
                  <a:pt x="61" y="36"/>
                  <a:pt x="61" y="36"/>
                  <a:pt x="61" y="36"/>
                </a:cubicBezTo>
                <a:cubicBezTo>
                  <a:pt x="61" y="37"/>
                  <a:pt x="61" y="37"/>
                  <a:pt x="61" y="37"/>
                </a:cubicBezTo>
                <a:cubicBezTo>
                  <a:pt x="60" y="38"/>
                  <a:pt x="60" y="38"/>
                  <a:pt x="60" y="38"/>
                </a:cubicBezTo>
                <a:cubicBezTo>
                  <a:pt x="60" y="39"/>
                  <a:pt x="60" y="39"/>
                  <a:pt x="60" y="39"/>
                </a:cubicBezTo>
                <a:cubicBezTo>
                  <a:pt x="60" y="38"/>
                  <a:pt x="60" y="38"/>
                  <a:pt x="60" y="38"/>
                </a:cubicBezTo>
                <a:cubicBezTo>
                  <a:pt x="59" y="37"/>
                  <a:pt x="59" y="37"/>
                  <a:pt x="59" y="37"/>
                </a:cubicBezTo>
                <a:cubicBezTo>
                  <a:pt x="58" y="37"/>
                  <a:pt x="58" y="37"/>
                  <a:pt x="58" y="37"/>
                </a:cubicBezTo>
                <a:cubicBezTo>
                  <a:pt x="58" y="37"/>
                  <a:pt x="58" y="37"/>
                  <a:pt x="58" y="37"/>
                </a:cubicBezTo>
                <a:cubicBezTo>
                  <a:pt x="57" y="37"/>
                  <a:pt x="57" y="37"/>
                  <a:pt x="57" y="37"/>
                </a:cubicBezTo>
                <a:cubicBezTo>
                  <a:pt x="57" y="37"/>
                  <a:pt x="57" y="37"/>
                  <a:pt x="57" y="37"/>
                </a:cubicBezTo>
                <a:cubicBezTo>
                  <a:pt x="57" y="38"/>
                  <a:pt x="57" y="38"/>
                  <a:pt x="57" y="38"/>
                </a:cubicBezTo>
                <a:cubicBezTo>
                  <a:pt x="56" y="37"/>
                  <a:pt x="56" y="37"/>
                  <a:pt x="56" y="37"/>
                </a:cubicBezTo>
                <a:cubicBezTo>
                  <a:pt x="55" y="38"/>
                  <a:pt x="55" y="38"/>
                  <a:pt x="55" y="38"/>
                </a:cubicBezTo>
                <a:cubicBezTo>
                  <a:pt x="56" y="38"/>
                  <a:pt x="56" y="38"/>
                  <a:pt x="56" y="38"/>
                </a:cubicBezTo>
                <a:cubicBezTo>
                  <a:pt x="56" y="39"/>
                  <a:pt x="56" y="39"/>
                  <a:pt x="56" y="39"/>
                </a:cubicBezTo>
                <a:cubicBezTo>
                  <a:pt x="56" y="39"/>
                  <a:pt x="56" y="39"/>
                  <a:pt x="56" y="39"/>
                </a:cubicBezTo>
                <a:cubicBezTo>
                  <a:pt x="55" y="40"/>
                  <a:pt x="55" y="40"/>
                  <a:pt x="55" y="40"/>
                </a:cubicBezTo>
                <a:cubicBezTo>
                  <a:pt x="56" y="41"/>
                  <a:pt x="56" y="41"/>
                  <a:pt x="56" y="41"/>
                </a:cubicBezTo>
                <a:cubicBezTo>
                  <a:pt x="55" y="41"/>
                  <a:pt x="55" y="41"/>
                  <a:pt x="55" y="41"/>
                </a:cubicBezTo>
                <a:cubicBezTo>
                  <a:pt x="55" y="41"/>
                  <a:pt x="55" y="41"/>
                  <a:pt x="55" y="41"/>
                </a:cubicBezTo>
                <a:cubicBezTo>
                  <a:pt x="55" y="40"/>
                  <a:pt x="55" y="40"/>
                  <a:pt x="55" y="40"/>
                </a:cubicBezTo>
                <a:cubicBezTo>
                  <a:pt x="54" y="38"/>
                  <a:pt x="54" y="38"/>
                  <a:pt x="54" y="38"/>
                </a:cubicBezTo>
                <a:cubicBezTo>
                  <a:pt x="53" y="39"/>
                  <a:pt x="53" y="39"/>
                  <a:pt x="53" y="39"/>
                </a:cubicBezTo>
                <a:cubicBezTo>
                  <a:pt x="52" y="40"/>
                  <a:pt x="52" y="40"/>
                  <a:pt x="52" y="40"/>
                </a:cubicBezTo>
                <a:cubicBezTo>
                  <a:pt x="52" y="39"/>
                  <a:pt x="52" y="39"/>
                  <a:pt x="52" y="39"/>
                </a:cubicBezTo>
                <a:cubicBezTo>
                  <a:pt x="52" y="38"/>
                  <a:pt x="52" y="38"/>
                  <a:pt x="52" y="38"/>
                </a:cubicBezTo>
                <a:cubicBezTo>
                  <a:pt x="51" y="38"/>
                  <a:pt x="51" y="38"/>
                  <a:pt x="51" y="38"/>
                </a:cubicBezTo>
                <a:cubicBezTo>
                  <a:pt x="50" y="39"/>
                  <a:pt x="50" y="39"/>
                  <a:pt x="50" y="39"/>
                </a:cubicBezTo>
                <a:cubicBezTo>
                  <a:pt x="51" y="40"/>
                  <a:pt x="51" y="40"/>
                  <a:pt x="51" y="40"/>
                </a:cubicBezTo>
                <a:cubicBezTo>
                  <a:pt x="53" y="40"/>
                  <a:pt x="53" y="40"/>
                  <a:pt x="53" y="40"/>
                </a:cubicBezTo>
                <a:cubicBezTo>
                  <a:pt x="54" y="41"/>
                  <a:pt x="54" y="41"/>
                  <a:pt x="54" y="41"/>
                </a:cubicBezTo>
                <a:cubicBezTo>
                  <a:pt x="53" y="42"/>
                  <a:pt x="53" y="42"/>
                  <a:pt x="53" y="42"/>
                </a:cubicBezTo>
                <a:cubicBezTo>
                  <a:pt x="51" y="42"/>
                  <a:pt x="51" y="42"/>
                  <a:pt x="51" y="42"/>
                </a:cubicBezTo>
                <a:cubicBezTo>
                  <a:pt x="50" y="42"/>
                  <a:pt x="50" y="42"/>
                  <a:pt x="50" y="42"/>
                </a:cubicBezTo>
                <a:cubicBezTo>
                  <a:pt x="49" y="42"/>
                  <a:pt x="49" y="42"/>
                  <a:pt x="49" y="42"/>
                </a:cubicBezTo>
                <a:cubicBezTo>
                  <a:pt x="49" y="43"/>
                  <a:pt x="49" y="43"/>
                  <a:pt x="49" y="43"/>
                </a:cubicBezTo>
                <a:cubicBezTo>
                  <a:pt x="50" y="44"/>
                  <a:pt x="50" y="44"/>
                  <a:pt x="50" y="44"/>
                </a:cubicBezTo>
                <a:cubicBezTo>
                  <a:pt x="49" y="45"/>
                  <a:pt x="49" y="45"/>
                  <a:pt x="49" y="45"/>
                </a:cubicBezTo>
                <a:cubicBezTo>
                  <a:pt x="50" y="44"/>
                  <a:pt x="50" y="44"/>
                  <a:pt x="50" y="44"/>
                </a:cubicBezTo>
                <a:cubicBezTo>
                  <a:pt x="51" y="43"/>
                  <a:pt x="51" y="43"/>
                  <a:pt x="51" y="43"/>
                </a:cubicBezTo>
                <a:cubicBezTo>
                  <a:pt x="52" y="43"/>
                  <a:pt x="52" y="43"/>
                  <a:pt x="52" y="43"/>
                </a:cubicBezTo>
                <a:cubicBezTo>
                  <a:pt x="53" y="44"/>
                  <a:pt x="53" y="44"/>
                  <a:pt x="53" y="44"/>
                </a:cubicBezTo>
                <a:cubicBezTo>
                  <a:pt x="51" y="44"/>
                  <a:pt x="51" y="44"/>
                  <a:pt x="51" y="44"/>
                </a:cubicBezTo>
                <a:cubicBezTo>
                  <a:pt x="51" y="45"/>
                  <a:pt x="51" y="45"/>
                  <a:pt x="51" y="45"/>
                </a:cubicBezTo>
                <a:cubicBezTo>
                  <a:pt x="51" y="46"/>
                  <a:pt x="51" y="46"/>
                  <a:pt x="51" y="46"/>
                </a:cubicBezTo>
                <a:cubicBezTo>
                  <a:pt x="53" y="47"/>
                  <a:pt x="53" y="47"/>
                  <a:pt x="53" y="47"/>
                </a:cubicBezTo>
                <a:cubicBezTo>
                  <a:pt x="53" y="48"/>
                  <a:pt x="53" y="48"/>
                  <a:pt x="53" y="48"/>
                </a:cubicBezTo>
                <a:cubicBezTo>
                  <a:pt x="52" y="47"/>
                  <a:pt x="52" y="47"/>
                  <a:pt x="52" y="47"/>
                </a:cubicBezTo>
                <a:cubicBezTo>
                  <a:pt x="51" y="47"/>
                  <a:pt x="51" y="47"/>
                  <a:pt x="51" y="47"/>
                </a:cubicBezTo>
                <a:cubicBezTo>
                  <a:pt x="50" y="46"/>
                  <a:pt x="50" y="46"/>
                  <a:pt x="50" y="46"/>
                </a:cubicBezTo>
                <a:cubicBezTo>
                  <a:pt x="49" y="46"/>
                  <a:pt x="49" y="46"/>
                  <a:pt x="49" y="46"/>
                </a:cubicBezTo>
                <a:cubicBezTo>
                  <a:pt x="49" y="47"/>
                  <a:pt x="49" y="47"/>
                  <a:pt x="49" y="47"/>
                </a:cubicBezTo>
                <a:cubicBezTo>
                  <a:pt x="50" y="48"/>
                  <a:pt x="50" y="48"/>
                  <a:pt x="50" y="48"/>
                </a:cubicBezTo>
                <a:cubicBezTo>
                  <a:pt x="48" y="48"/>
                  <a:pt x="48" y="48"/>
                  <a:pt x="48" y="48"/>
                </a:cubicBezTo>
                <a:cubicBezTo>
                  <a:pt x="47" y="49"/>
                  <a:pt x="47" y="49"/>
                  <a:pt x="47" y="49"/>
                </a:cubicBezTo>
                <a:cubicBezTo>
                  <a:pt x="47" y="49"/>
                  <a:pt x="47" y="49"/>
                  <a:pt x="47" y="49"/>
                </a:cubicBezTo>
                <a:cubicBezTo>
                  <a:pt x="48" y="50"/>
                  <a:pt x="48" y="50"/>
                  <a:pt x="48" y="50"/>
                </a:cubicBezTo>
                <a:cubicBezTo>
                  <a:pt x="49" y="49"/>
                  <a:pt x="49" y="49"/>
                  <a:pt x="49" y="49"/>
                </a:cubicBezTo>
                <a:cubicBezTo>
                  <a:pt x="50" y="50"/>
                  <a:pt x="50" y="50"/>
                  <a:pt x="50" y="50"/>
                </a:cubicBezTo>
                <a:cubicBezTo>
                  <a:pt x="51" y="50"/>
                  <a:pt x="51" y="50"/>
                  <a:pt x="51" y="50"/>
                </a:cubicBezTo>
                <a:cubicBezTo>
                  <a:pt x="52" y="51"/>
                  <a:pt x="52" y="51"/>
                  <a:pt x="52" y="51"/>
                </a:cubicBezTo>
                <a:cubicBezTo>
                  <a:pt x="52" y="51"/>
                  <a:pt x="52" y="51"/>
                  <a:pt x="52" y="51"/>
                </a:cubicBezTo>
                <a:cubicBezTo>
                  <a:pt x="52" y="52"/>
                  <a:pt x="52" y="52"/>
                  <a:pt x="52" y="52"/>
                </a:cubicBezTo>
                <a:cubicBezTo>
                  <a:pt x="51" y="51"/>
                  <a:pt x="51" y="51"/>
                  <a:pt x="51" y="51"/>
                </a:cubicBezTo>
                <a:cubicBezTo>
                  <a:pt x="49" y="51"/>
                  <a:pt x="49" y="51"/>
                  <a:pt x="49" y="51"/>
                </a:cubicBezTo>
                <a:cubicBezTo>
                  <a:pt x="49" y="51"/>
                  <a:pt x="49" y="51"/>
                  <a:pt x="49" y="51"/>
                </a:cubicBezTo>
                <a:cubicBezTo>
                  <a:pt x="47" y="51"/>
                  <a:pt x="47" y="51"/>
                  <a:pt x="47" y="51"/>
                </a:cubicBezTo>
                <a:cubicBezTo>
                  <a:pt x="47" y="52"/>
                  <a:pt x="47" y="52"/>
                  <a:pt x="47" y="52"/>
                </a:cubicBezTo>
                <a:cubicBezTo>
                  <a:pt x="46" y="53"/>
                  <a:pt x="46" y="53"/>
                  <a:pt x="46" y="53"/>
                </a:cubicBezTo>
                <a:cubicBezTo>
                  <a:pt x="46" y="52"/>
                  <a:pt x="46" y="52"/>
                  <a:pt x="46" y="52"/>
                </a:cubicBezTo>
                <a:cubicBezTo>
                  <a:pt x="44" y="53"/>
                  <a:pt x="44" y="53"/>
                  <a:pt x="44" y="53"/>
                </a:cubicBezTo>
                <a:cubicBezTo>
                  <a:pt x="43" y="53"/>
                  <a:pt x="43" y="53"/>
                  <a:pt x="43" y="53"/>
                </a:cubicBezTo>
                <a:cubicBezTo>
                  <a:pt x="43" y="54"/>
                  <a:pt x="43" y="54"/>
                  <a:pt x="43" y="54"/>
                </a:cubicBezTo>
                <a:cubicBezTo>
                  <a:pt x="44" y="54"/>
                  <a:pt x="44" y="54"/>
                  <a:pt x="44" y="54"/>
                </a:cubicBezTo>
                <a:cubicBezTo>
                  <a:pt x="45" y="55"/>
                  <a:pt x="45" y="55"/>
                  <a:pt x="45" y="55"/>
                </a:cubicBezTo>
                <a:cubicBezTo>
                  <a:pt x="44" y="55"/>
                  <a:pt x="44" y="55"/>
                  <a:pt x="44" y="55"/>
                </a:cubicBezTo>
                <a:cubicBezTo>
                  <a:pt x="43" y="55"/>
                  <a:pt x="43" y="55"/>
                  <a:pt x="43" y="55"/>
                </a:cubicBezTo>
                <a:cubicBezTo>
                  <a:pt x="43" y="56"/>
                  <a:pt x="43" y="56"/>
                  <a:pt x="43" y="56"/>
                </a:cubicBezTo>
                <a:cubicBezTo>
                  <a:pt x="44" y="56"/>
                  <a:pt x="44" y="56"/>
                  <a:pt x="44" y="56"/>
                </a:cubicBezTo>
                <a:cubicBezTo>
                  <a:pt x="44" y="57"/>
                  <a:pt x="44" y="57"/>
                  <a:pt x="44" y="57"/>
                </a:cubicBezTo>
                <a:cubicBezTo>
                  <a:pt x="42" y="57"/>
                  <a:pt x="42" y="57"/>
                  <a:pt x="42" y="57"/>
                </a:cubicBezTo>
                <a:cubicBezTo>
                  <a:pt x="42" y="56"/>
                  <a:pt x="42" y="56"/>
                  <a:pt x="42" y="56"/>
                </a:cubicBezTo>
                <a:cubicBezTo>
                  <a:pt x="42" y="57"/>
                  <a:pt x="42" y="57"/>
                  <a:pt x="42" y="57"/>
                </a:cubicBezTo>
                <a:cubicBezTo>
                  <a:pt x="43" y="57"/>
                  <a:pt x="43" y="57"/>
                  <a:pt x="43" y="57"/>
                </a:cubicBezTo>
                <a:cubicBezTo>
                  <a:pt x="42" y="58"/>
                  <a:pt x="42" y="58"/>
                  <a:pt x="42" y="58"/>
                </a:cubicBezTo>
                <a:cubicBezTo>
                  <a:pt x="42" y="58"/>
                  <a:pt x="42" y="58"/>
                  <a:pt x="42" y="58"/>
                </a:cubicBezTo>
                <a:cubicBezTo>
                  <a:pt x="43" y="58"/>
                  <a:pt x="43" y="58"/>
                  <a:pt x="43" y="58"/>
                </a:cubicBezTo>
                <a:cubicBezTo>
                  <a:pt x="42" y="59"/>
                  <a:pt x="42" y="59"/>
                  <a:pt x="42" y="59"/>
                </a:cubicBezTo>
                <a:cubicBezTo>
                  <a:pt x="42" y="59"/>
                  <a:pt x="42" y="59"/>
                  <a:pt x="42" y="59"/>
                </a:cubicBezTo>
                <a:cubicBezTo>
                  <a:pt x="41" y="59"/>
                  <a:pt x="41" y="59"/>
                  <a:pt x="41" y="59"/>
                </a:cubicBezTo>
                <a:cubicBezTo>
                  <a:pt x="41" y="59"/>
                  <a:pt x="41" y="59"/>
                  <a:pt x="41" y="59"/>
                </a:cubicBezTo>
                <a:cubicBezTo>
                  <a:pt x="41" y="60"/>
                  <a:pt x="41" y="60"/>
                  <a:pt x="41" y="60"/>
                </a:cubicBezTo>
                <a:cubicBezTo>
                  <a:pt x="41" y="60"/>
                  <a:pt x="41" y="60"/>
                  <a:pt x="41" y="60"/>
                </a:cubicBezTo>
                <a:cubicBezTo>
                  <a:pt x="43" y="61"/>
                  <a:pt x="43" y="61"/>
                  <a:pt x="43" y="61"/>
                </a:cubicBezTo>
                <a:cubicBezTo>
                  <a:pt x="43" y="62"/>
                  <a:pt x="43" y="62"/>
                  <a:pt x="43" y="62"/>
                </a:cubicBezTo>
                <a:cubicBezTo>
                  <a:pt x="44" y="62"/>
                  <a:pt x="44" y="62"/>
                  <a:pt x="44" y="62"/>
                </a:cubicBezTo>
                <a:cubicBezTo>
                  <a:pt x="45" y="61"/>
                  <a:pt x="45" y="61"/>
                  <a:pt x="45" y="61"/>
                </a:cubicBezTo>
                <a:cubicBezTo>
                  <a:pt x="44" y="62"/>
                  <a:pt x="44" y="62"/>
                  <a:pt x="44" y="62"/>
                </a:cubicBezTo>
                <a:cubicBezTo>
                  <a:pt x="44" y="63"/>
                  <a:pt x="44" y="63"/>
                  <a:pt x="44" y="63"/>
                </a:cubicBezTo>
                <a:cubicBezTo>
                  <a:pt x="43" y="63"/>
                  <a:pt x="43" y="63"/>
                  <a:pt x="43" y="63"/>
                </a:cubicBezTo>
                <a:cubicBezTo>
                  <a:pt x="43" y="62"/>
                  <a:pt x="43" y="62"/>
                  <a:pt x="43" y="62"/>
                </a:cubicBezTo>
                <a:cubicBezTo>
                  <a:pt x="41" y="62"/>
                  <a:pt x="41" y="62"/>
                  <a:pt x="41" y="62"/>
                </a:cubicBezTo>
                <a:cubicBezTo>
                  <a:pt x="40" y="63"/>
                  <a:pt x="40" y="63"/>
                  <a:pt x="40" y="63"/>
                </a:cubicBezTo>
                <a:cubicBezTo>
                  <a:pt x="40" y="64"/>
                  <a:pt x="40" y="64"/>
                  <a:pt x="40" y="64"/>
                </a:cubicBezTo>
                <a:cubicBezTo>
                  <a:pt x="41" y="64"/>
                  <a:pt x="41" y="64"/>
                  <a:pt x="41" y="64"/>
                </a:cubicBezTo>
                <a:cubicBezTo>
                  <a:pt x="41" y="64"/>
                  <a:pt x="41" y="64"/>
                  <a:pt x="41" y="64"/>
                </a:cubicBezTo>
                <a:cubicBezTo>
                  <a:pt x="42" y="65"/>
                  <a:pt x="42" y="65"/>
                  <a:pt x="42" y="65"/>
                </a:cubicBezTo>
                <a:cubicBezTo>
                  <a:pt x="42" y="66"/>
                  <a:pt x="42" y="66"/>
                  <a:pt x="42" y="66"/>
                </a:cubicBezTo>
                <a:cubicBezTo>
                  <a:pt x="41" y="65"/>
                  <a:pt x="41" y="65"/>
                  <a:pt x="41" y="65"/>
                </a:cubicBezTo>
                <a:cubicBezTo>
                  <a:pt x="41" y="65"/>
                  <a:pt x="41" y="65"/>
                  <a:pt x="41" y="65"/>
                </a:cubicBezTo>
                <a:cubicBezTo>
                  <a:pt x="40" y="66"/>
                  <a:pt x="40" y="66"/>
                  <a:pt x="40" y="66"/>
                </a:cubicBezTo>
                <a:cubicBezTo>
                  <a:pt x="40" y="67"/>
                  <a:pt x="40" y="67"/>
                  <a:pt x="40" y="67"/>
                </a:cubicBezTo>
                <a:cubicBezTo>
                  <a:pt x="40" y="67"/>
                  <a:pt x="40" y="67"/>
                  <a:pt x="40" y="67"/>
                </a:cubicBezTo>
                <a:cubicBezTo>
                  <a:pt x="40" y="68"/>
                  <a:pt x="40" y="68"/>
                  <a:pt x="40" y="68"/>
                </a:cubicBezTo>
                <a:cubicBezTo>
                  <a:pt x="41" y="68"/>
                  <a:pt x="41" y="68"/>
                  <a:pt x="41" y="68"/>
                </a:cubicBezTo>
                <a:cubicBezTo>
                  <a:pt x="40" y="68"/>
                  <a:pt x="40" y="68"/>
                  <a:pt x="40" y="68"/>
                </a:cubicBezTo>
                <a:cubicBezTo>
                  <a:pt x="39" y="68"/>
                  <a:pt x="39" y="68"/>
                  <a:pt x="39" y="68"/>
                </a:cubicBezTo>
                <a:cubicBezTo>
                  <a:pt x="39" y="68"/>
                  <a:pt x="39" y="68"/>
                  <a:pt x="39" y="68"/>
                </a:cubicBezTo>
                <a:cubicBezTo>
                  <a:pt x="39" y="69"/>
                  <a:pt x="39" y="69"/>
                  <a:pt x="39" y="69"/>
                </a:cubicBezTo>
                <a:cubicBezTo>
                  <a:pt x="40" y="69"/>
                  <a:pt x="40" y="69"/>
                  <a:pt x="40" y="69"/>
                </a:cubicBezTo>
                <a:cubicBezTo>
                  <a:pt x="40" y="70"/>
                  <a:pt x="40" y="70"/>
                  <a:pt x="40" y="70"/>
                </a:cubicBezTo>
                <a:cubicBezTo>
                  <a:pt x="40" y="71"/>
                  <a:pt x="40" y="71"/>
                  <a:pt x="40" y="71"/>
                </a:cubicBezTo>
                <a:cubicBezTo>
                  <a:pt x="39" y="70"/>
                  <a:pt x="39" y="70"/>
                  <a:pt x="39" y="70"/>
                </a:cubicBezTo>
                <a:cubicBezTo>
                  <a:pt x="38" y="70"/>
                  <a:pt x="38" y="70"/>
                  <a:pt x="38" y="70"/>
                </a:cubicBezTo>
                <a:cubicBezTo>
                  <a:pt x="38" y="71"/>
                  <a:pt x="38" y="71"/>
                  <a:pt x="38" y="71"/>
                </a:cubicBezTo>
                <a:cubicBezTo>
                  <a:pt x="39" y="71"/>
                  <a:pt x="39" y="71"/>
                  <a:pt x="39" y="71"/>
                </a:cubicBezTo>
                <a:cubicBezTo>
                  <a:pt x="39" y="72"/>
                  <a:pt x="39" y="72"/>
                  <a:pt x="39" y="72"/>
                </a:cubicBezTo>
                <a:cubicBezTo>
                  <a:pt x="39" y="73"/>
                  <a:pt x="39" y="73"/>
                  <a:pt x="39" y="73"/>
                </a:cubicBezTo>
                <a:cubicBezTo>
                  <a:pt x="40" y="73"/>
                  <a:pt x="40" y="73"/>
                  <a:pt x="40" y="73"/>
                </a:cubicBezTo>
                <a:cubicBezTo>
                  <a:pt x="40" y="72"/>
                  <a:pt x="40" y="72"/>
                  <a:pt x="40" y="72"/>
                </a:cubicBezTo>
                <a:cubicBezTo>
                  <a:pt x="41" y="72"/>
                  <a:pt x="41" y="72"/>
                  <a:pt x="41" y="72"/>
                </a:cubicBezTo>
                <a:cubicBezTo>
                  <a:pt x="40" y="74"/>
                  <a:pt x="40" y="74"/>
                  <a:pt x="40" y="74"/>
                </a:cubicBezTo>
                <a:cubicBezTo>
                  <a:pt x="39" y="74"/>
                  <a:pt x="39" y="74"/>
                  <a:pt x="39" y="74"/>
                </a:cubicBezTo>
                <a:cubicBezTo>
                  <a:pt x="38" y="75"/>
                  <a:pt x="38" y="75"/>
                  <a:pt x="38" y="75"/>
                </a:cubicBezTo>
                <a:cubicBezTo>
                  <a:pt x="38" y="75"/>
                  <a:pt x="38" y="75"/>
                  <a:pt x="38" y="75"/>
                </a:cubicBezTo>
                <a:cubicBezTo>
                  <a:pt x="37" y="75"/>
                  <a:pt x="37" y="75"/>
                  <a:pt x="37" y="75"/>
                </a:cubicBezTo>
                <a:cubicBezTo>
                  <a:pt x="37" y="76"/>
                  <a:pt x="37" y="76"/>
                  <a:pt x="37" y="76"/>
                </a:cubicBezTo>
                <a:cubicBezTo>
                  <a:pt x="36" y="76"/>
                  <a:pt x="36" y="76"/>
                  <a:pt x="36" y="76"/>
                </a:cubicBezTo>
                <a:cubicBezTo>
                  <a:pt x="35" y="77"/>
                  <a:pt x="35" y="77"/>
                  <a:pt x="35" y="77"/>
                </a:cubicBezTo>
                <a:cubicBezTo>
                  <a:pt x="36" y="77"/>
                  <a:pt x="36" y="77"/>
                  <a:pt x="36" y="77"/>
                </a:cubicBezTo>
                <a:cubicBezTo>
                  <a:pt x="36" y="78"/>
                  <a:pt x="36" y="78"/>
                  <a:pt x="36" y="78"/>
                </a:cubicBezTo>
                <a:cubicBezTo>
                  <a:pt x="34" y="78"/>
                  <a:pt x="34" y="78"/>
                  <a:pt x="34" y="78"/>
                </a:cubicBezTo>
                <a:cubicBezTo>
                  <a:pt x="33" y="79"/>
                  <a:pt x="33" y="79"/>
                  <a:pt x="33" y="79"/>
                </a:cubicBezTo>
                <a:cubicBezTo>
                  <a:pt x="33" y="80"/>
                  <a:pt x="33" y="80"/>
                  <a:pt x="33" y="80"/>
                </a:cubicBezTo>
                <a:cubicBezTo>
                  <a:pt x="35" y="80"/>
                  <a:pt x="35" y="80"/>
                  <a:pt x="35" y="80"/>
                </a:cubicBezTo>
                <a:cubicBezTo>
                  <a:pt x="34" y="80"/>
                  <a:pt x="34" y="80"/>
                  <a:pt x="34" y="80"/>
                </a:cubicBezTo>
                <a:cubicBezTo>
                  <a:pt x="33" y="81"/>
                  <a:pt x="33" y="81"/>
                  <a:pt x="33" y="81"/>
                </a:cubicBezTo>
                <a:cubicBezTo>
                  <a:pt x="32" y="82"/>
                  <a:pt x="32" y="82"/>
                  <a:pt x="32" y="82"/>
                </a:cubicBezTo>
                <a:cubicBezTo>
                  <a:pt x="32" y="81"/>
                  <a:pt x="32" y="81"/>
                  <a:pt x="32" y="81"/>
                </a:cubicBezTo>
                <a:cubicBezTo>
                  <a:pt x="31" y="80"/>
                  <a:pt x="31" y="80"/>
                  <a:pt x="31" y="80"/>
                </a:cubicBezTo>
                <a:cubicBezTo>
                  <a:pt x="31" y="81"/>
                  <a:pt x="31" y="81"/>
                  <a:pt x="31" y="81"/>
                </a:cubicBezTo>
                <a:cubicBezTo>
                  <a:pt x="30" y="81"/>
                  <a:pt x="30" y="81"/>
                  <a:pt x="30" y="81"/>
                </a:cubicBezTo>
                <a:cubicBezTo>
                  <a:pt x="30" y="81"/>
                  <a:pt x="30" y="81"/>
                  <a:pt x="30" y="81"/>
                </a:cubicBezTo>
                <a:cubicBezTo>
                  <a:pt x="30" y="82"/>
                  <a:pt x="30" y="82"/>
                  <a:pt x="30" y="82"/>
                </a:cubicBezTo>
                <a:cubicBezTo>
                  <a:pt x="30" y="83"/>
                  <a:pt x="30" y="83"/>
                  <a:pt x="30" y="83"/>
                </a:cubicBezTo>
                <a:cubicBezTo>
                  <a:pt x="30" y="83"/>
                  <a:pt x="30" y="83"/>
                  <a:pt x="30" y="83"/>
                </a:cubicBezTo>
                <a:cubicBezTo>
                  <a:pt x="29" y="83"/>
                  <a:pt x="29" y="83"/>
                  <a:pt x="29" y="83"/>
                </a:cubicBezTo>
                <a:cubicBezTo>
                  <a:pt x="28" y="84"/>
                  <a:pt x="28" y="84"/>
                  <a:pt x="28" y="84"/>
                </a:cubicBezTo>
                <a:cubicBezTo>
                  <a:pt x="28" y="85"/>
                  <a:pt x="28" y="85"/>
                  <a:pt x="28" y="85"/>
                </a:cubicBezTo>
                <a:cubicBezTo>
                  <a:pt x="27" y="86"/>
                  <a:pt x="27" y="86"/>
                  <a:pt x="27" y="86"/>
                </a:cubicBezTo>
                <a:cubicBezTo>
                  <a:pt x="27" y="86"/>
                  <a:pt x="27" y="86"/>
                  <a:pt x="27" y="86"/>
                </a:cubicBezTo>
                <a:cubicBezTo>
                  <a:pt x="27" y="87"/>
                  <a:pt x="27" y="87"/>
                  <a:pt x="27" y="87"/>
                </a:cubicBezTo>
                <a:cubicBezTo>
                  <a:pt x="26" y="88"/>
                  <a:pt x="26" y="88"/>
                  <a:pt x="26" y="88"/>
                </a:cubicBezTo>
                <a:cubicBezTo>
                  <a:pt x="25" y="89"/>
                  <a:pt x="25" y="89"/>
                  <a:pt x="25" y="89"/>
                </a:cubicBezTo>
                <a:cubicBezTo>
                  <a:pt x="25" y="90"/>
                  <a:pt x="25" y="90"/>
                  <a:pt x="25" y="90"/>
                </a:cubicBezTo>
                <a:cubicBezTo>
                  <a:pt x="27" y="89"/>
                  <a:pt x="27" y="89"/>
                  <a:pt x="27" y="89"/>
                </a:cubicBezTo>
                <a:cubicBezTo>
                  <a:pt x="27" y="89"/>
                  <a:pt x="27" y="89"/>
                  <a:pt x="27" y="89"/>
                </a:cubicBezTo>
                <a:cubicBezTo>
                  <a:pt x="27" y="89"/>
                  <a:pt x="27" y="89"/>
                  <a:pt x="27" y="89"/>
                </a:cubicBezTo>
                <a:cubicBezTo>
                  <a:pt x="26" y="90"/>
                  <a:pt x="26" y="90"/>
                  <a:pt x="26" y="90"/>
                </a:cubicBezTo>
                <a:cubicBezTo>
                  <a:pt x="26" y="91"/>
                  <a:pt x="26" y="91"/>
                  <a:pt x="26" y="91"/>
                </a:cubicBezTo>
                <a:cubicBezTo>
                  <a:pt x="27" y="92"/>
                  <a:pt x="27" y="92"/>
                  <a:pt x="27" y="92"/>
                </a:cubicBezTo>
                <a:cubicBezTo>
                  <a:pt x="28" y="91"/>
                  <a:pt x="28" y="91"/>
                  <a:pt x="28" y="91"/>
                </a:cubicBezTo>
                <a:cubicBezTo>
                  <a:pt x="30" y="91"/>
                  <a:pt x="30" y="91"/>
                  <a:pt x="30" y="91"/>
                </a:cubicBezTo>
                <a:cubicBezTo>
                  <a:pt x="32" y="89"/>
                  <a:pt x="32" y="89"/>
                  <a:pt x="32" y="89"/>
                </a:cubicBezTo>
                <a:cubicBezTo>
                  <a:pt x="32" y="88"/>
                  <a:pt x="32" y="88"/>
                  <a:pt x="32" y="88"/>
                </a:cubicBezTo>
                <a:cubicBezTo>
                  <a:pt x="31" y="89"/>
                  <a:pt x="31" y="89"/>
                  <a:pt x="31" y="89"/>
                </a:cubicBezTo>
                <a:cubicBezTo>
                  <a:pt x="32" y="88"/>
                  <a:pt x="32" y="88"/>
                  <a:pt x="32" y="88"/>
                </a:cubicBezTo>
                <a:cubicBezTo>
                  <a:pt x="32" y="86"/>
                  <a:pt x="32" y="86"/>
                  <a:pt x="32" y="86"/>
                </a:cubicBezTo>
                <a:cubicBezTo>
                  <a:pt x="32" y="86"/>
                  <a:pt x="32" y="86"/>
                  <a:pt x="32" y="86"/>
                </a:cubicBezTo>
                <a:cubicBezTo>
                  <a:pt x="33" y="86"/>
                  <a:pt x="33" y="86"/>
                  <a:pt x="33" y="86"/>
                </a:cubicBezTo>
                <a:cubicBezTo>
                  <a:pt x="34" y="86"/>
                  <a:pt x="34" y="86"/>
                  <a:pt x="34" y="86"/>
                </a:cubicBezTo>
                <a:cubicBezTo>
                  <a:pt x="35" y="86"/>
                  <a:pt x="35" y="86"/>
                  <a:pt x="35" y="86"/>
                </a:cubicBezTo>
                <a:cubicBezTo>
                  <a:pt x="33" y="87"/>
                  <a:pt x="33" y="87"/>
                  <a:pt x="33" y="87"/>
                </a:cubicBezTo>
                <a:cubicBezTo>
                  <a:pt x="33" y="88"/>
                  <a:pt x="33" y="88"/>
                  <a:pt x="33" y="88"/>
                </a:cubicBezTo>
                <a:cubicBezTo>
                  <a:pt x="34" y="88"/>
                  <a:pt x="34" y="88"/>
                  <a:pt x="34" y="88"/>
                </a:cubicBezTo>
                <a:cubicBezTo>
                  <a:pt x="34" y="89"/>
                  <a:pt x="34" y="89"/>
                  <a:pt x="34" y="89"/>
                </a:cubicBezTo>
                <a:cubicBezTo>
                  <a:pt x="33" y="89"/>
                  <a:pt x="33" y="89"/>
                  <a:pt x="33" y="89"/>
                </a:cubicBezTo>
                <a:cubicBezTo>
                  <a:pt x="31" y="91"/>
                  <a:pt x="31" y="91"/>
                  <a:pt x="31" y="91"/>
                </a:cubicBezTo>
                <a:cubicBezTo>
                  <a:pt x="32" y="91"/>
                  <a:pt x="32" y="91"/>
                  <a:pt x="32" y="91"/>
                </a:cubicBezTo>
                <a:cubicBezTo>
                  <a:pt x="32" y="92"/>
                  <a:pt x="32" y="92"/>
                  <a:pt x="32" y="92"/>
                </a:cubicBezTo>
                <a:cubicBezTo>
                  <a:pt x="32" y="93"/>
                  <a:pt x="32" y="93"/>
                  <a:pt x="32" y="93"/>
                </a:cubicBezTo>
                <a:cubicBezTo>
                  <a:pt x="31" y="93"/>
                  <a:pt x="31" y="93"/>
                  <a:pt x="31" y="93"/>
                </a:cubicBezTo>
                <a:cubicBezTo>
                  <a:pt x="30" y="92"/>
                  <a:pt x="30" y="92"/>
                  <a:pt x="30" y="92"/>
                </a:cubicBezTo>
                <a:cubicBezTo>
                  <a:pt x="28" y="92"/>
                  <a:pt x="28" y="92"/>
                  <a:pt x="28" y="92"/>
                </a:cubicBezTo>
                <a:cubicBezTo>
                  <a:pt x="28" y="93"/>
                  <a:pt x="28" y="93"/>
                  <a:pt x="28" y="93"/>
                </a:cubicBezTo>
                <a:cubicBezTo>
                  <a:pt x="28" y="94"/>
                  <a:pt x="28" y="94"/>
                  <a:pt x="28" y="94"/>
                </a:cubicBezTo>
                <a:cubicBezTo>
                  <a:pt x="27" y="95"/>
                  <a:pt x="27" y="95"/>
                  <a:pt x="27" y="95"/>
                </a:cubicBezTo>
                <a:cubicBezTo>
                  <a:pt x="26" y="95"/>
                  <a:pt x="26" y="95"/>
                  <a:pt x="26" y="95"/>
                </a:cubicBezTo>
                <a:cubicBezTo>
                  <a:pt x="26" y="94"/>
                  <a:pt x="26" y="94"/>
                  <a:pt x="26" y="94"/>
                </a:cubicBezTo>
                <a:cubicBezTo>
                  <a:pt x="27" y="94"/>
                  <a:pt x="27" y="94"/>
                  <a:pt x="27" y="94"/>
                </a:cubicBezTo>
                <a:cubicBezTo>
                  <a:pt x="26" y="93"/>
                  <a:pt x="26" y="93"/>
                  <a:pt x="26" y="93"/>
                </a:cubicBezTo>
                <a:cubicBezTo>
                  <a:pt x="26" y="92"/>
                  <a:pt x="26" y="92"/>
                  <a:pt x="26" y="92"/>
                </a:cubicBezTo>
                <a:cubicBezTo>
                  <a:pt x="25" y="91"/>
                  <a:pt x="25" y="91"/>
                  <a:pt x="25" y="91"/>
                </a:cubicBezTo>
                <a:cubicBezTo>
                  <a:pt x="24" y="91"/>
                  <a:pt x="24" y="91"/>
                  <a:pt x="24" y="91"/>
                </a:cubicBezTo>
                <a:cubicBezTo>
                  <a:pt x="24" y="91"/>
                  <a:pt x="24" y="91"/>
                  <a:pt x="24" y="91"/>
                </a:cubicBezTo>
                <a:cubicBezTo>
                  <a:pt x="23" y="92"/>
                  <a:pt x="23" y="92"/>
                  <a:pt x="23" y="92"/>
                </a:cubicBezTo>
                <a:cubicBezTo>
                  <a:pt x="23" y="92"/>
                  <a:pt x="23" y="92"/>
                  <a:pt x="23" y="92"/>
                </a:cubicBezTo>
                <a:cubicBezTo>
                  <a:pt x="24" y="92"/>
                  <a:pt x="24" y="92"/>
                  <a:pt x="24" y="92"/>
                </a:cubicBezTo>
                <a:cubicBezTo>
                  <a:pt x="23" y="94"/>
                  <a:pt x="23" y="94"/>
                  <a:pt x="23" y="94"/>
                </a:cubicBezTo>
                <a:cubicBezTo>
                  <a:pt x="22" y="93"/>
                  <a:pt x="22" y="93"/>
                  <a:pt x="22" y="93"/>
                </a:cubicBezTo>
                <a:cubicBezTo>
                  <a:pt x="21" y="93"/>
                  <a:pt x="21" y="93"/>
                  <a:pt x="21" y="93"/>
                </a:cubicBezTo>
                <a:cubicBezTo>
                  <a:pt x="20" y="94"/>
                  <a:pt x="20" y="94"/>
                  <a:pt x="20" y="94"/>
                </a:cubicBezTo>
                <a:cubicBezTo>
                  <a:pt x="20" y="95"/>
                  <a:pt x="20" y="95"/>
                  <a:pt x="20" y="95"/>
                </a:cubicBezTo>
                <a:cubicBezTo>
                  <a:pt x="21" y="94"/>
                  <a:pt x="21" y="94"/>
                  <a:pt x="21" y="94"/>
                </a:cubicBezTo>
                <a:cubicBezTo>
                  <a:pt x="21" y="95"/>
                  <a:pt x="21" y="95"/>
                  <a:pt x="21" y="95"/>
                </a:cubicBezTo>
                <a:cubicBezTo>
                  <a:pt x="20" y="95"/>
                  <a:pt x="20" y="95"/>
                  <a:pt x="20" y="95"/>
                </a:cubicBezTo>
                <a:cubicBezTo>
                  <a:pt x="19" y="96"/>
                  <a:pt x="19" y="96"/>
                  <a:pt x="19" y="96"/>
                </a:cubicBezTo>
                <a:cubicBezTo>
                  <a:pt x="19" y="96"/>
                  <a:pt x="19" y="96"/>
                  <a:pt x="19" y="96"/>
                </a:cubicBezTo>
                <a:cubicBezTo>
                  <a:pt x="18" y="96"/>
                  <a:pt x="18" y="96"/>
                  <a:pt x="18" y="96"/>
                </a:cubicBezTo>
                <a:cubicBezTo>
                  <a:pt x="18" y="96"/>
                  <a:pt x="18" y="96"/>
                  <a:pt x="18" y="96"/>
                </a:cubicBezTo>
                <a:cubicBezTo>
                  <a:pt x="19" y="97"/>
                  <a:pt x="19" y="97"/>
                  <a:pt x="19" y="97"/>
                </a:cubicBezTo>
                <a:cubicBezTo>
                  <a:pt x="21" y="97"/>
                  <a:pt x="21" y="97"/>
                  <a:pt x="21" y="97"/>
                </a:cubicBezTo>
                <a:cubicBezTo>
                  <a:pt x="21" y="98"/>
                  <a:pt x="21" y="98"/>
                  <a:pt x="21" y="98"/>
                </a:cubicBezTo>
                <a:cubicBezTo>
                  <a:pt x="21" y="98"/>
                  <a:pt x="21" y="98"/>
                  <a:pt x="21" y="98"/>
                </a:cubicBezTo>
                <a:cubicBezTo>
                  <a:pt x="21" y="99"/>
                  <a:pt x="21" y="99"/>
                  <a:pt x="21" y="99"/>
                </a:cubicBezTo>
                <a:cubicBezTo>
                  <a:pt x="20" y="98"/>
                  <a:pt x="20" y="98"/>
                  <a:pt x="20" y="98"/>
                </a:cubicBezTo>
                <a:cubicBezTo>
                  <a:pt x="20" y="98"/>
                  <a:pt x="20" y="98"/>
                  <a:pt x="20" y="98"/>
                </a:cubicBezTo>
                <a:cubicBezTo>
                  <a:pt x="18" y="98"/>
                  <a:pt x="18" y="98"/>
                  <a:pt x="18" y="98"/>
                </a:cubicBezTo>
                <a:cubicBezTo>
                  <a:pt x="17" y="97"/>
                  <a:pt x="17" y="97"/>
                  <a:pt x="17" y="97"/>
                </a:cubicBezTo>
                <a:cubicBezTo>
                  <a:pt x="17" y="96"/>
                  <a:pt x="17" y="96"/>
                  <a:pt x="17" y="96"/>
                </a:cubicBezTo>
                <a:cubicBezTo>
                  <a:pt x="17" y="96"/>
                  <a:pt x="17" y="96"/>
                  <a:pt x="17" y="96"/>
                </a:cubicBezTo>
                <a:cubicBezTo>
                  <a:pt x="16" y="97"/>
                  <a:pt x="16" y="97"/>
                  <a:pt x="16" y="97"/>
                </a:cubicBezTo>
                <a:cubicBezTo>
                  <a:pt x="18" y="98"/>
                  <a:pt x="18" y="98"/>
                  <a:pt x="18" y="98"/>
                </a:cubicBezTo>
                <a:cubicBezTo>
                  <a:pt x="19" y="99"/>
                  <a:pt x="19" y="99"/>
                  <a:pt x="19" y="99"/>
                </a:cubicBezTo>
                <a:cubicBezTo>
                  <a:pt x="20" y="99"/>
                  <a:pt x="20" y="99"/>
                  <a:pt x="20" y="99"/>
                </a:cubicBezTo>
                <a:cubicBezTo>
                  <a:pt x="20" y="100"/>
                  <a:pt x="20" y="100"/>
                  <a:pt x="20" y="100"/>
                </a:cubicBezTo>
                <a:cubicBezTo>
                  <a:pt x="19" y="100"/>
                  <a:pt x="19" y="100"/>
                  <a:pt x="19" y="100"/>
                </a:cubicBezTo>
                <a:cubicBezTo>
                  <a:pt x="17" y="99"/>
                  <a:pt x="17" y="99"/>
                  <a:pt x="17" y="99"/>
                </a:cubicBezTo>
                <a:cubicBezTo>
                  <a:pt x="16" y="97"/>
                  <a:pt x="16" y="97"/>
                  <a:pt x="16" y="97"/>
                </a:cubicBezTo>
                <a:cubicBezTo>
                  <a:pt x="15" y="98"/>
                  <a:pt x="15" y="98"/>
                  <a:pt x="15" y="98"/>
                </a:cubicBezTo>
                <a:cubicBezTo>
                  <a:pt x="14" y="97"/>
                  <a:pt x="14" y="97"/>
                  <a:pt x="14" y="97"/>
                </a:cubicBezTo>
                <a:cubicBezTo>
                  <a:pt x="13" y="97"/>
                  <a:pt x="13" y="97"/>
                  <a:pt x="13" y="97"/>
                </a:cubicBezTo>
                <a:cubicBezTo>
                  <a:pt x="12" y="97"/>
                  <a:pt x="12" y="97"/>
                  <a:pt x="12" y="97"/>
                </a:cubicBezTo>
                <a:cubicBezTo>
                  <a:pt x="12" y="97"/>
                  <a:pt x="12" y="97"/>
                  <a:pt x="12" y="97"/>
                </a:cubicBezTo>
                <a:cubicBezTo>
                  <a:pt x="12" y="98"/>
                  <a:pt x="12" y="98"/>
                  <a:pt x="12" y="98"/>
                </a:cubicBezTo>
                <a:cubicBezTo>
                  <a:pt x="11" y="99"/>
                  <a:pt x="11" y="99"/>
                  <a:pt x="11" y="99"/>
                </a:cubicBezTo>
                <a:cubicBezTo>
                  <a:pt x="12" y="100"/>
                  <a:pt x="12" y="100"/>
                  <a:pt x="12" y="100"/>
                </a:cubicBezTo>
                <a:cubicBezTo>
                  <a:pt x="14" y="99"/>
                  <a:pt x="14" y="99"/>
                  <a:pt x="14" y="99"/>
                </a:cubicBezTo>
                <a:cubicBezTo>
                  <a:pt x="15" y="100"/>
                  <a:pt x="15" y="100"/>
                  <a:pt x="15" y="100"/>
                </a:cubicBezTo>
                <a:cubicBezTo>
                  <a:pt x="14" y="100"/>
                  <a:pt x="14" y="100"/>
                  <a:pt x="14" y="100"/>
                </a:cubicBezTo>
                <a:cubicBezTo>
                  <a:pt x="14" y="100"/>
                  <a:pt x="14" y="100"/>
                  <a:pt x="14" y="100"/>
                </a:cubicBezTo>
                <a:cubicBezTo>
                  <a:pt x="16" y="100"/>
                  <a:pt x="16" y="100"/>
                  <a:pt x="16" y="100"/>
                </a:cubicBezTo>
                <a:cubicBezTo>
                  <a:pt x="16" y="100"/>
                  <a:pt x="16" y="100"/>
                  <a:pt x="16" y="100"/>
                </a:cubicBezTo>
                <a:cubicBezTo>
                  <a:pt x="16" y="100"/>
                  <a:pt x="16" y="100"/>
                  <a:pt x="16" y="100"/>
                </a:cubicBezTo>
                <a:cubicBezTo>
                  <a:pt x="14" y="101"/>
                  <a:pt x="14" y="101"/>
                  <a:pt x="14" y="101"/>
                </a:cubicBezTo>
                <a:cubicBezTo>
                  <a:pt x="14" y="102"/>
                  <a:pt x="14" y="102"/>
                  <a:pt x="14" y="102"/>
                </a:cubicBezTo>
                <a:cubicBezTo>
                  <a:pt x="12" y="102"/>
                  <a:pt x="12" y="102"/>
                  <a:pt x="12" y="102"/>
                </a:cubicBezTo>
                <a:cubicBezTo>
                  <a:pt x="11" y="100"/>
                  <a:pt x="11" y="100"/>
                  <a:pt x="11" y="100"/>
                </a:cubicBezTo>
                <a:cubicBezTo>
                  <a:pt x="11" y="100"/>
                  <a:pt x="11" y="100"/>
                  <a:pt x="11" y="100"/>
                </a:cubicBezTo>
                <a:cubicBezTo>
                  <a:pt x="10" y="101"/>
                  <a:pt x="10" y="101"/>
                  <a:pt x="10" y="101"/>
                </a:cubicBezTo>
                <a:cubicBezTo>
                  <a:pt x="9" y="100"/>
                  <a:pt x="9" y="100"/>
                  <a:pt x="9" y="100"/>
                </a:cubicBezTo>
                <a:cubicBezTo>
                  <a:pt x="8" y="101"/>
                  <a:pt x="8" y="101"/>
                  <a:pt x="8" y="101"/>
                </a:cubicBezTo>
                <a:cubicBezTo>
                  <a:pt x="8" y="100"/>
                  <a:pt x="8" y="100"/>
                  <a:pt x="8" y="100"/>
                </a:cubicBezTo>
                <a:cubicBezTo>
                  <a:pt x="7" y="101"/>
                  <a:pt x="7" y="101"/>
                  <a:pt x="7" y="101"/>
                </a:cubicBezTo>
                <a:cubicBezTo>
                  <a:pt x="7" y="101"/>
                  <a:pt x="7" y="101"/>
                  <a:pt x="7" y="101"/>
                </a:cubicBezTo>
                <a:cubicBezTo>
                  <a:pt x="9" y="102"/>
                  <a:pt x="9" y="102"/>
                  <a:pt x="9" y="102"/>
                </a:cubicBezTo>
                <a:cubicBezTo>
                  <a:pt x="10" y="102"/>
                  <a:pt x="10" y="102"/>
                  <a:pt x="10" y="102"/>
                </a:cubicBezTo>
                <a:cubicBezTo>
                  <a:pt x="12" y="103"/>
                  <a:pt x="12" y="103"/>
                  <a:pt x="12" y="103"/>
                </a:cubicBezTo>
                <a:cubicBezTo>
                  <a:pt x="12" y="104"/>
                  <a:pt x="12" y="104"/>
                  <a:pt x="12" y="104"/>
                </a:cubicBezTo>
                <a:cubicBezTo>
                  <a:pt x="12" y="105"/>
                  <a:pt x="12" y="105"/>
                  <a:pt x="12" y="105"/>
                </a:cubicBezTo>
                <a:cubicBezTo>
                  <a:pt x="11" y="106"/>
                  <a:pt x="11" y="106"/>
                  <a:pt x="11" y="106"/>
                </a:cubicBezTo>
                <a:cubicBezTo>
                  <a:pt x="11" y="105"/>
                  <a:pt x="11" y="105"/>
                  <a:pt x="11" y="105"/>
                </a:cubicBezTo>
                <a:cubicBezTo>
                  <a:pt x="11" y="103"/>
                  <a:pt x="11" y="103"/>
                  <a:pt x="11" y="103"/>
                </a:cubicBezTo>
                <a:cubicBezTo>
                  <a:pt x="10" y="103"/>
                  <a:pt x="10" y="103"/>
                  <a:pt x="10" y="103"/>
                </a:cubicBezTo>
                <a:cubicBezTo>
                  <a:pt x="9" y="103"/>
                  <a:pt x="9" y="103"/>
                  <a:pt x="9" y="103"/>
                </a:cubicBezTo>
                <a:cubicBezTo>
                  <a:pt x="9" y="104"/>
                  <a:pt x="9" y="104"/>
                  <a:pt x="9" y="104"/>
                </a:cubicBezTo>
                <a:cubicBezTo>
                  <a:pt x="9" y="105"/>
                  <a:pt x="9" y="105"/>
                  <a:pt x="9" y="105"/>
                </a:cubicBezTo>
                <a:cubicBezTo>
                  <a:pt x="7" y="104"/>
                  <a:pt x="7" y="104"/>
                  <a:pt x="7" y="104"/>
                </a:cubicBezTo>
                <a:cubicBezTo>
                  <a:pt x="6" y="105"/>
                  <a:pt x="6" y="105"/>
                  <a:pt x="6" y="105"/>
                </a:cubicBezTo>
                <a:cubicBezTo>
                  <a:pt x="7" y="106"/>
                  <a:pt x="7" y="106"/>
                  <a:pt x="7" y="106"/>
                </a:cubicBezTo>
                <a:cubicBezTo>
                  <a:pt x="6" y="106"/>
                  <a:pt x="6" y="106"/>
                  <a:pt x="6" y="106"/>
                </a:cubicBezTo>
                <a:cubicBezTo>
                  <a:pt x="6" y="106"/>
                  <a:pt x="6" y="106"/>
                  <a:pt x="6" y="106"/>
                </a:cubicBezTo>
                <a:cubicBezTo>
                  <a:pt x="5" y="105"/>
                  <a:pt x="5" y="105"/>
                  <a:pt x="5" y="105"/>
                </a:cubicBezTo>
                <a:cubicBezTo>
                  <a:pt x="4" y="105"/>
                  <a:pt x="4" y="105"/>
                  <a:pt x="4" y="105"/>
                </a:cubicBezTo>
                <a:cubicBezTo>
                  <a:pt x="4" y="106"/>
                  <a:pt x="4" y="106"/>
                  <a:pt x="4" y="106"/>
                </a:cubicBezTo>
                <a:cubicBezTo>
                  <a:pt x="4" y="107"/>
                  <a:pt x="4" y="107"/>
                  <a:pt x="4" y="107"/>
                </a:cubicBezTo>
                <a:cubicBezTo>
                  <a:pt x="3" y="106"/>
                  <a:pt x="3" y="106"/>
                  <a:pt x="3" y="106"/>
                </a:cubicBezTo>
                <a:cubicBezTo>
                  <a:pt x="2" y="105"/>
                  <a:pt x="2" y="105"/>
                  <a:pt x="2" y="105"/>
                </a:cubicBezTo>
                <a:cubicBezTo>
                  <a:pt x="2" y="105"/>
                  <a:pt x="2" y="105"/>
                  <a:pt x="2" y="105"/>
                </a:cubicBezTo>
                <a:cubicBezTo>
                  <a:pt x="2" y="106"/>
                  <a:pt x="2" y="106"/>
                  <a:pt x="2" y="106"/>
                </a:cubicBezTo>
                <a:cubicBezTo>
                  <a:pt x="3" y="107"/>
                  <a:pt x="3" y="107"/>
                  <a:pt x="3" y="107"/>
                </a:cubicBezTo>
                <a:cubicBezTo>
                  <a:pt x="2" y="107"/>
                  <a:pt x="2" y="107"/>
                  <a:pt x="2" y="107"/>
                </a:cubicBezTo>
                <a:cubicBezTo>
                  <a:pt x="3" y="108"/>
                  <a:pt x="3" y="108"/>
                  <a:pt x="3" y="108"/>
                </a:cubicBezTo>
                <a:cubicBezTo>
                  <a:pt x="4" y="107"/>
                  <a:pt x="4" y="107"/>
                  <a:pt x="4" y="107"/>
                </a:cubicBezTo>
                <a:cubicBezTo>
                  <a:pt x="6" y="108"/>
                  <a:pt x="6" y="108"/>
                  <a:pt x="6" y="108"/>
                </a:cubicBezTo>
                <a:cubicBezTo>
                  <a:pt x="7" y="109"/>
                  <a:pt x="7" y="109"/>
                  <a:pt x="7" y="109"/>
                </a:cubicBezTo>
                <a:cubicBezTo>
                  <a:pt x="9" y="109"/>
                  <a:pt x="9" y="109"/>
                  <a:pt x="9" y="109"/>
                </a:cubicBezTo>
                <a:cubicBezTo>
                  <a:pt x="10" y="108"/>
                  <a:pt x="10" y="108"/>
                  <a:pt x="10" y="108"/>
                </a:cubicBezTo>
                <a:cubicBezTo>
                  <a:pt x="11" y="108"/>
                  <a:pt x="11" y="108"/>
                  <a:pt x="11" y="108"/>
                </a:cubicBezTo>
                <a:cubicBezTo>
                  <a:pt x="9" y="109"/>
                  <a:pt x="9" y="109"/>
                  <a:pt x="9" y="109"/>
                </a:cubicBezTo>
                <a:cubicBezTo>
                  <a:pt x="8" y="109"/>
                  <a:pt x="8" y="109"/>
                  <a:pt x="8" y="109"/>
                </a:cubicBezTo>
                <a:cubicBezTo>
                  <a:pt x="7" y="109"/>
                  <a:pt x="7" y="109"/>
                  <a:pt x="7" y="109"/>
                </a:cubicBezTo>
                <a:cubicBezTo>
                  <a:pt x="5" y="108"/>
                  <a:pt x="5" y="108"/>
                  <a:pt x="5" y="108"/>
                </a:cubicBezTo>
                <a:cubicBezTo>
                  <a:pt x="4" y="109"/>
                  <a:pt x="4" y="109"/>
                  <a:pt x="4" y="109"/>
                </a:cubicBezTo>
                <a:cubicBezTo>
                  <a:pt x="3" y="108"/>
                  <a:pt x="3" y="108"/>
                  <a:pt x="3" y="108"/>
                </a:cubicBezTo>
                <a:cubicBezTo>
                  <a:pt x="2" y="109"/>
                  <a:pt x="2" y="109"/>
                  <a:pt x="2" y="109"/>
                </a:cubicBezTo>
                <a:cubicBezTo>
                  <a:pt x="1" y="109"/>
                  <a:pt x="1" y="109"/>
                  <a:pt x="1" y="109"/>
                </a:cubicBezTo>
                <a:cubicBezTo>
                  <a:pt x="1" y="110"/>
                  <a:pt x="1" y="110"/>
                  <a:pt x="1" y="110"/>
                </a:cubicBezTo>
                <a:cubicBezTo>
                  <a:pt x="3" y="111"/>
                  <a:pt x="3" y="111"/>
                  <a:pt x="3" y="111"/>
                </a:cubicBezTo>
                <a:cubicBezTo>
                  <a:pt x="2" y="112"/>
                  <a:pt x="2" y="112"/>
                  <a:pt x="2" y="112"/>
                </a:cubicBezTo>
                <a:cubicBezTo>
                  <a:pt x="3" y="112"/>
                  <a:pt x="3" y="112"/>
                  <a:pt x="3" y="112"/>
                </a:cubicBezTo>
                <a:cubicBezTo>
                  <a:pt x="4" y="112"/>
                  <a:pt x="4" y="112"/>
                  <a:pt x="4" y="112"/>
                </a:cubicBezTo>
                <a:cubicBezTo>
                  <a:pt x="6" y="112"/>
                  <a:pt x="6" y="112"/>
                  <a:pt x="6" y="112"/>
                </a:cubicBezTo>
                <a:cubicBezTo>
                  <a:pt x="4" y="112"/>
                  <a:pt x="4" y="112"/>
                  <a:pt x="4" y="112"/>
                </a:cubicBezTo>
                <a:cubicBezTo>
                  <a:pt x="3" y="112"/>
                  <a:pt x="3" y="112"/>
                  <a:pt x="3" y="112"/>
                </a:cubicBezTo>
                <a:cubicBezTo>
                  <a:pt x="2" y="113"/>
                  <a:pt x="2" y="113"/>
                  <a:pt x="2" y="113"/>
                </a:cubicBezTo>
                <a:cubicBezTo>
                  <a:pt x="2" y="112"/>
                  <a:pt x="2" y="112"/>
                  <a:pt x="2" y="112"/>
                </a:cubicBezTo>
                <a:cubicBezTo>
                  <a:pt x="2" y="113"/>
                  <a:pt x="2" y="113"/>
                  <a:pt x="2" y="113"/>
                </a:cubicBezTo>
                <a:cubicBezTo>
                  <a:pt x="3" y="113"/>
                  <a:pt x="3" y="113"/>
                  <a:pt x="3" y="113"/>
                </a:cubicBezTo>
                <a:cubicBezTo>
                  <a:pt x="3" y="113"/>
                  <a:pt x="3" y="113"/>
                  <a:pt x="3" y="113"/>
                </a:cubicBezTo>
                <a:cubicBezTo>
                  <a:pt x="2" y="114"/>
                  <a:pt x="2" y="114"/>
                  <a:pt x="2" y="114"/>
                </a:cubicBezTo>
                <a:cubicBezTo>
                  <a:pt x="2" y="114"/>
                  <a:pt x="2" y="114"/>
                  <a:pt x="2" y="114"/>
                </a:cubicBezTo>
                <a:cubicBezTo>
                  <a:pt x="2" y="115"/>
                  <a:pt x="2" y="115"/>
                  <a:pt x="2" y="115"/>
                </a:cubicBezTo>
                <a:cubicBezTo>
                  <a:pt x="2" y="115"/>
                  <a:pt x="2" y="115"/>
                  <a:pt x="2" y="115"/>
                </a:cubicBezTo>
                <a:cubicBezTo>
                  <a:pt x="3" y="116"/>
                  <a:pt x="3" y="116"/>
                  <a:pt x="3" y="116"/>
                </a:cubicBezTo>
                <a:cubicBezTo>
                  <a:pt x="4" y="116"/>
                  <a:pt x="4" y="116"/>
                  <a:pt x="4" y="116"/>
                </a:cubicBezTo>
                <a:cubicBezTo>
                  <a:pt x="5" y="115"/>
                  <a:pt x="5" y="115"/>
                  <a:pt x="5" y="115"/>
                </a:cubicBezTo>
                <a:cubicBezTo>
                  <a:pt x="7" y="115"/>
                  <a:pt x="7" y="115"/>
                  <a:pt x="7" y="115"/>
                </a:cubicBezTo>
                <a:cubicBezTo>
                  <a:pt x="8" y="115"/>
                  <a:pt x="8" y="115"/>
                  <a:pt x="8" y="115"/>
                </a:cubicBezTo>
                <a:cubicBezTo>
                  <a:pt x="9" y="115"/>
                  <a:pt x="9" y="115"/>
                  <a:pt x="9" y="115"/>
                </a:cubicBezTo>
                <a:cubicBezTo>
                  <a:pt x="9" y="115"/>
                  <a:pt x="9" y="115"/>
                  <a:pt x="9" y="115"/>
                </a:cubicBezTo>
                <a:cubicBezTo>
                  <a:pt x="9" y="114"/>
                  <a:pt x="9" y="114"/>
                  <a:pt x="9" y="114"/>
                </a:cubicBezTo>
                <a:cubicBezTo>
                  <a:pt x="10" y="114"/>
                  <a:pt x="10" y="114"/>
                  <a:pt x="10" y="114"/>
                </a:cubicBezTo>
                <a:cubicBezTo>
                  <a:pt x="11" y="115"/>
                  <a:pt x="11" y="115"/>
                  <a:pt x="11" y="115"/>
                </a:cubicBezTo>
                <a:cubicBezTo>
                  <a:pt x="12" y="115"/>
                  <a:pt x="12" y="115"/>
                  <a:pt x="12" y="115"/>
                </a:cubicBezTo>
                <a:cubicBezTo>
                  <a:pt x="13" y="114"/>
                  <a:pt x="13" y="114"/>
                  <a:pt x="13" y="114"/>
                </a:cubicBezTo>
                <a:cubicBezTo>
                  <a:pt x="13" y="114"/>
                  <a:pt x="13" y="114"/>
                  <a:pt x="13" y="114"/>
                </a:cubicBezTo>
                <a:cubicBezTo>
                  <a:pt x="13" y="114"/>
                  <a:pt x="13" y="114"/>
                  <a:pt x="13" y="114"/>
                </a:cubicBezTo>
                <a:cubicBezTo>
                  <a:pt x="13" y="115"/>
                  <a:pt x="13" y="115"/>
                  <a:pt x="13" y="115"/>
                </a:cubicBezTo>
                <a:cubicBezTo>
                  <a:pt x="14" y="115"/>
                  <a:pt x="14" y="115"/>
                  <a:pt x="14" y="115"/>
                </a:cubicBezTo>
                <a:cubicBezTo>
                  <a:pt x="14" y="114"/>
                  <a:pt x="14" y="114"/>
                  <a:pt x="14" y="114"/>
                </a:cubicBezTo>
                <a:cubicBezTo>
                  <a:pt x="14" y="114"/>
                  <a:pt x="14" y="114"/>
                  <a:pt x="14" y="114"/>
                </a:cubicBezTo>
                <a:cubicBezTo>
                  <a:pt x="15" y="112"/>
                  <a:pt x="15" y="112"/>
                  <a:pt x="15" y="112"/>
                </a:cubicBezTo>
                <a:cubicBezTo>
                  <a:pt x="15" y="113"/>
                  <a:pt x="15" y="113"/>
                  <a:pt x="15" y="113"/>
                </a:cubicBezTo>
                <a:cubicBezTo>
                  <a:pt x="16" y="115"/>
                  <a:pt x="16" y="115"/>
                  <a:pt x="16" y="115"/>
                </a:cubicBezTo>
                <a:cubicBezTo>
                  <a:pt x="15" y="116"/>
                  <a:pt x="15" y="116"/>
                  <a:pt x="15" y="116"/>
                </a:cubicBezTo>
                <a:cubicBezTo>
                  <a:pt x="13" y="116"/>
                  <a:pt x="13" y="116"/>
                  <a:pt x="13" y="116"/>
                </a:cubicBezTo>
                <a:cubicBezTo>
                  <a:pt x="13" y="117"/>
                  <a:pt x="13" y="117"/>
                  <a:pt x="13" y="117"/>
                </a:cubicBezTo>
                <a:cubicBezTo>
                  <a:pt x="13" y="117"/>
                  <a:pt x="13" y="117"/>
                  <a:pt x="13" y="117"/>
                </a:cubicBezTo>
                <a:cubicBezTo>
                  <a:pt x="12" y="118"/>
                  <a:pt x="12" y="118"/>
                  <a:pt x="12" y="118"/>
                </a:cubicBezTo>
                <a:cubicBezTo>
                  <a:pt x="11" y="118"/>
                  <a:pt x="11" y="118"/>
                  <a:pt x="11" y="118"/>
                </a:cubicBezTo>
                <a:cubicBezTo>
                  <a:pt x="11" y="117"/>
                  <a:pt x="11" y="117"/>
                  <a:pt x="11" y="117"/>
                </a:cubicBezTo>
                <a:cubicBezTo>
                  <a:pt x="12" y="117"/>
                  <a:pt x="12" y="117"/>
                  <a:pt x="12" y="117"/>
                </a:cubicBezTo>
                <a:cubicBezTo>
                  <a:pt x="12" y="116"/>
                  <a:pt x="12" y="116"/>
                  <a:pt x="12" y="116"/>
                </a:cubicBezTo>
                <a:cubicBezTo>
                  <a:pt x="10" y="116"/>
                  <a:pt x="10" y="116"/>
                  <a:pt x="10" y="116"/>
                </a:cubicBezTo>
                <a:cubicBezTo>
                  <a:pt x="9" y="117"/>
                  <a:pt x="9" y="117"/>
                  <a:pt x="9" y="117"/>
                </a:cubicBezTo>
                <a:cubicBezTo>
                  <a:pt x="9" y="117"/>
                  <a:pt x="9" y="117"/>
                  <a:pt x="9" y="117"/>
                </a:cubicBezTo>
                <a:cubicBezTo>
                  <a:pt x="8" y="116"/>
                  <a:pt x="8" y="116"/>
                  <a:pt x="8" y="116"/>
                </a:cubicBezTo>
                <a:cubicBezTo>
                  <a:pt x="7" y="116"/>
                  <a:pt x="7" y="116"/>
                  <a:pt x="7" y="116"/>
                </a:cubicBezTo>
                <a:cubicBezTo>
                  <a:pt x="6" y="116"/>
                  <a:pt x="6" y="116"/>
                  <a:pt x="6" y="116"/>
                </a:cubicBezTo>
                <a:cubicBezTo>
                  <a:pt x="5" y="116"/>
                  <a:pt x="5" y="116"/>
                  <a:pt x="5" y="116"/>
                </a:cubicBezTo>
                <a:cubicBezTo>
                  <a:pt x="3" y="117"/>
                  <a:pt x="3" y="117"/>
                  <a:pt x="3" y="117"/>
                </a:cubicBezTo>
                <a:cubicBezTo>
                  <a:pt x="3" y="117"/>
                  <a:pt x="3" y="117"/>
                  <a:pt x="3" y="117"/>
                </a:cubicBezTo>
                <a:cubicBezTo>
                  <a:pt x="2" y="116"/>
                  <a:pt x="2" y="116"/>
                  <a:pt x="2" y="116"/>
                </a:cubicBezTo>
                <a:cubicBezTo>
                  <a:pt x="1" y="116"/>
                  <a:pt x="1" y="116"/>
                  <a:pt x="1" y="116"/>
                </a:cubicBezTo>
                <a:cubicBezTo>
                  <a:pt x="2" y="118"/>
                  <a:pt x="2" y="118"/>
                  <a:pt x="2" y="118"/>
                </a:cubicBezTo>
                <a:cubicBezTo>
                  <a:pt x="1" y="118"/>
                  <a:pt x="1" y="118"/>
                  <a:pt x="1" y="118"/>
                </a:cubicBezTo>
                <a:cubicBezTo>
                  <a:pt x="2" y="119"/>
                  <a:pt x="2" y="119"/>
                  <a:pt x="2" y="119"/>
                </a:cubicBezTo>
                <a:cubicBezTo>
                  <a:pt x="3" y="118"/>
                  <a:pt x="3" y="118"/>
                  <a:pt x="3" y="118"/>
                </a:cubicBezTo>
                <a:cubicBezTo>
                  <a:pt x="3" y="118"/>
                  <a:pt x="3" y="118"/>
                  <a:pt x="3" y="118"/>
                </a:cubicBezTo>
                <a:cubicBezTo>
                  <a:pt x="4" y="118"/>
                  <a:pt x="4" y="118"/>
                  <a:pt x="4" y="118"/>
                </a:cubicBezTo>
                <a:cubicBezTo>
                  <a:pt x="3" y="119"/>
                  <a:pt x="3" y="119"/>
                  <a:pt x="3" y="119"/>
                </a:cubicBezTo>
                <a:cubicBezTo>
                  <a:pt x="3" y="120"/>
                  <a:pt x="3" y="120"/>
                  <a:pt x="3" y="120"/>
                </a:cubicBezTo>
                <a:cubicBezTo>
                  <a:pt x="3" y="120"/>
                  <a:pt x="3" y="120"/>
                  <a:pt x="3" y="120"/>
                </a:cubicBezTo>
                <a:cubicBezTo>
                  <a:pt x="2" y="120"/>
                  <a:pt x="2" y="120"/>
                  <a:pt x="2" y="120"/>
                </a:cubicBezTo>
                <a:cubicBezTo>
                  <a:pt x="2" y="121"/>
                  <a:pt x="2" y="121"/>
                  <a:pt x="2" y="121"/>
                </a:cubicBezTo>
                <a:cubicBezTo>
                  <a:pt x="3" y="122"/>
                  <a:pt x="3" y="122"/>
                  <a:pt x="3" y="122"/>
                </a:cubicBezTo>
                <a:cubicBezTo>
                  <a:pt x="5" y="120"/>
                  <a:pt x="5" y="120"/>
                  <a:pt x="5" y="120"/>
                </a:cubicBezTo>
                <a:cubicBezTo>
                  <a:pt x="6" y="120"/>
                  <a:pt x="6" y="120"/>
                  <a:pt x="6" y="120"/>
                </a:cubicBezTo>
                <a:cubicBezTo>
                  <a:pt x="6" y="121"/>
                  <a:pt x="6" y="121"/>
                  <a:pt x="6" y="121"/>
                </a:cubicBezTo>
                <a:cubicBezTo>
                  <a:pt x="6" y="122"/>
                  <a:pt x="6" y="122"/>
                  <a:pt x="6" y="122"/>
                </a:cubicBezTo>
                <a:cubicBezTo>
                  <a:pt x="4" y="123"/>
                  <a:pt x="4" y="123"/>
                  <a:pt x="4" y="123"/>
                </a:cubicBezTo>
                <a:cubicBezTo>
                  <a:pt x="5" y="123"/>
                  <a:pt x="5" y="123"/>
                  <a:pt x="5" y="123"/>
                </a:cubicBezTo>
                <a:cubicBezTo>
                  <a:pt x="5" y="123"/>
                  <a:pt x="5" y="123"/>
                  <a:pt x="5" y="123"/>
                </a:cubicBezTo>
                <a:cubicBezTo>
                  <a:pt x="5" y="124"/>
                  <a:pt x="5" y="124"/>
                  <a:pt x="5" y="124"/>
                </a:cubicBezTo>
                <a:cubicBezTo>
                  <a:pt x="6" y="125"/>
                  <a:pt x="6" y="125"/>
                  <a:pt x="6" y="125"/>
                </a:cubicBezTo>
                <a:cubicBezTo>
                  <a:pt x="5" y="126"/>
                  <a:pt x="5" y="126"/>
                  <a:pt x="5" y="126"/>
                </a:cubicBezTo>
                <a:cubicBezTo>
                  <a:pt x="6" y="126"/>
                  <a:pt x="6" y="126"/>
                  <a:pt x="6" y="126"/>
                </a:cubicBezTo>
                <a:cubicBezTo>
                  <a:pt x="7" y="125"/>
                  <a:pt x="7" y="125"/>
                  <a:pt x="7" y="125"/>
                </a:cubicBezTo>
                <a:cubicBezTo>
                  <a:pt x="7" y="124"/>
                  <a:pt x="7" y="124"/>
                  <a:pt x="7" y="124"/>
                </a:cubicBezTo>
                <a:cubicBezTo>
                  <a:pt x="8" y="123"/>
                  <a:pt x="8" y="123"/>
                  <a:pt x="8" y="123"/>
                </a:cubicBezTo>
                <a:cubicBezTo>
                  <a:pt x="10" y="122"/>
                  <a:pt x="10" y="122"/>
                  <a:pt x="10" y="122"/>
                </a:cubicBezTo>
                <a:cubicBezTo>
                  <a:pt x="11" y="122"/>
                  <a:pt x="11" y="122"/>
                  <a:pt x="11" y="122"/>
                </a:cubicBezTo>
                <a:cubicBezTo>
                  <a:pt x="12" y="122"/>
                  <a:pt x="12" y="122"/>
                  <a:pt x="12" y="122"/>
                </a:cubicBezTo>
                <a:cubicBezTo>
                  <a:pt x="11" y="122"/>
                  <a:pt x="11" y="122"/>
                  <a:pt x="11" y="122"/>
                </a:cubicBezTo>
                <a:cubicBezTo>
                  <a:pt x="10" y="123"/>
                  <a:pt x="10" y="123"/>
                  <a:pt x="10" y="123"/>
                </a:cubicBezTo>
                <a:cubicBezTo>
                  <a:pt x="10" y="125"/>
                  <a:pt x="10" y="125"/>
                  <a:pt x="10" y="125"/>
                </a:cubicBezTo>
                <a:cubicBezTo>
                  <a:pt x="10" y="125"/>
                  <a:pt x="10" y="125"/>
                  <a:pt x="10" y="125"/>
                </a:cubicBezTo>
                <a:cubicBezTo>
                  <a:pt x="10" y="125"/>
                  <a:pt x="10" y="125"/>
                  <a:pt x="10" y="125"/>
                </a:cubicBezTo>
                <a:cubicBezTo>
                  <a:pt x="9" y="123"/>
                  <a:pt x="9" y="123"/>
                  <a:pt x="9" y="123"/>
                </a:cubicBezTo>
                <a:cubicBezTo>
                  <a:pt x="9" y="123"/>
                  <a:pt x="9" y="123"/>
                  <a:pt x="9" y="123"/>
                </a:cubicBezTo>
                <a:cubicBezTo>
                  <a:pt x="8" y="125"/>
                  <a:pt x="8" y="125"/>
                  <a:pt x="8" y="125"/>
                </a:cubicBezTo>
                <a:cubicBezTo>
                  <a:pt x="7" y="125"/>
                  <a:pt x="7" y="125"/>
                  <a:pt x="7" y="125"/>
                </a:cubicBezTo>
                <a:cubicBezTo>
                  <a:pt x="8" y="125"/>
                  <a:pt x="8" y="125"/>
                  <a:pt x="8" y="125"/>
                </a:cubicBezTo>
                <a:cubicBezTo>
                  <a:pt x="7" y="127"/>
                  <a:pt x="7" y="127"/>
                  <a:pt x="7" y="127"/>
                </a:cubicBezTo>
                <a:cubicBezTo>
                  <a:pt x="7" y="127"/>
                  <a:pt x="7" y="127"/>
                  <a:pt x="7" y="127"/>
                </a:cubicBezTo>
                <a:cubicBezTo>
                  <a:pt x="6" y="128"/>
                  <a:pt x="6" y="128"/>
                  <a:pt x="6" y="128"/>
                </a:cubicBezTo>
                <a:cubicBezTo>
                  <a:pt x="7" y="128"/>
                  <a:pt x="7" y="128"/>
                  <a:pt x="7" y="128"/>
                </a:cubicBezTo>
                <a:cubicBezTo>
                  <a:pt x="9" y="128"/>
                  <a:pt x="9" y="128"/>
                  <a:pt x="9" y="128"/>
                </a:cubicBezTo>
                <a:cubicBezTo>
                  <a:pt x="9" y="129"/>
                  <a:pt x="9" y="129"/>
                  <a:pt x="9" y="129"/>
                </a:cubicBezTo>
                <a:cubicBezTo>
                  <a:pt x="8" y="129"/>
                  <a:pt x="8" y="129"/>
                  <a:pt x="8" y="129"/>
                </a:cubicBezTo>
                <a:cubicBezTo>
                  <a:pt x="7" y="129"/>
                  <a:pt x="7" y="129"/>
                  <a:pt x="7" y="129"/>
                </a:cubicBezTo>
                <a:cubicBezTo>
                  <a:pt x="7" y="130"/>
                  <a:pt x="7" y="130"/>
                  <a:pt x="7" y="130"/>
                </a:cubicBezTo>
                <a:cubicBezTo>
                  <a:pt x="6" y="129"/>
                  <a:pt x="6" y="129"/>
                  <a:pt x="6" y="129"/>
                </a:cubicBezTo>
                <a:cubicBezTo>
                  <a:pt x="5" y="130"/>
                  <a:pt x="5" y="130"/>
                  <a:pt x="5" y="130"/>
                </a:cubicBezTo>
                <a:cubicBezTo>
                  <a:pt x="5" y="131"/>
                  <a:pt x="5" y="131"/>
                  <a:pt x="5" y="131"/>
                </a:cubicBezTo>
                <a:cubicBezTo>
                  <a:pt x="5" y="130"/>
                  <a:pt x="5" y="130"/>
                  <a:pt x="5" y="130"/>
                </a:cubicBezTo>
                <a:cubicBezTo>
                  <a:pt x="4" y="130"/>
                  <a:pt x="4" y="130"/>
                  <a:pt x="4" y="130"/>
                </a:cubicBezTo>
                <a:cubicBezTo>
                  <a:pt x="3" y="132"/>
                  <a:pt x="3" y="132"/>
                  <a:pt x="3" y="132"/>
                </a:cubicBezTo>
                <a:cubicBezTo>
                  <a:pt x="3" y="133"/>
                  <a:pt x="3" y="133"/>
                  <a:pt x="3" y="133"/>
                </a:cubicBezTo>
                <a:cubicBezTo>
                  <a:pt x="5" y="134"/>
                  <a:pt x="5" y="134"/>
                  <a:pt x="5" y="134"/>
                </a:cubicBezTo>
                <a:cubicBezTo>
                  <a:pt x="5" y="133"/>
                  <a:pt x="5" y="133"/>
                  <a:pt x="5" y="133"/>
                </a:cubicBezTo>
                <a:cubicBezTo>
                  <a:pt x="6" y="134"/>
                  <a:pt x="6" y="134"/>
                  <a:pt x="6" y="134"/>
                </a:cubicBezTo>
                <a:cubicBezTo>
                  <a:pt x="7" y="133"/>
                  <a:pt x="7" y="133"/>
                  <a:pt x="7" y="133"/>
                </a:cubicBezTo>
                <a:cubicBezTo>
                  <a:pt x="6" y="133"/>
                  <a:pt x="6" y="133"/>
                  <a:pt x="6" y="133"/>
                </a:cubicBezTo>
                <a:cubicBezTo>
                  <a:pt x="7" y="132"/>
                  <a:pt x="7" y="132"/>
                  <a:pt x="7" y="132"/>
                </a:cubicBezTo>
                <a:cubicBezTo>
                  <a:pt x="8" y="133"/>
                  <a:pt x="8" y="133"/>
                  <a:pt x="8" y="133"/>
                </a:cubicBezTo>
                <a:cubicBezTo>
                  <a:pt x="8" y="133"/>
                  <a:pt x="8" y="133"/>
                  <a:pt x="8" y="133"/>
                </a:cubicBezTo>
                <a:cubicBezTo>
                  <a:pt x="8" y="134"/>
                  <a:pt x="8" y="134"/>
                  <a:pt x="8" y="134"/>
                </a:cubicBezTo>
                <a:cubicBezTo>
                  <a:pt x="8" y="135"/>
                  <a:pt x="8" y="135"/>
                  <a:pt x="8" y="135"/>
                </a:cubicBezTo>
                <a:cubicBezTo>
                  <a:pt x="7" y="135"/>
                  <a:pt x="7" y="135"/>
                  <a:pt x="7" y="135"/>
                </a:cubicBezTo>
                <a:cubicBezTo>
                  <a:pt x="8" y="137"/>
                  <a:pt x="8" y="137"/>
                  <a:pt x="8" y="137"/>
                </a:cubicBezTo>
                <a:cubicBezTo>
                  <a:pt x="9" y="137"/>
                  <a:pt x="9" y="137"/>
                  <a:pt x="9" y="137"/>
                </a:cubicBezTo>
                <a:cubicBezTo>
                  <a:pt x="10" y="136"/>
                  <a:pt x="10" y="136"/>
                  <a:pt x="10" y="136"/>
                </a:cubicBezTo>
                <a:cubicBezTo>
                  <a:pt x="11" y="137"/>
                  <a:pt x="11" y="137"/>
                  <a:pt x="11" y="137"/>
                </a:cubicBezTo>
                <a:cubicBezTo>
                  <a:pt x="9" y="137"/>
                  <a:pt x="9" y="137"/>
                  <a:pt x="9" y="137"/>
                </a:cubicBezTo>
                <a:cubicBezTo>
                  <a:pt x="9" y="138"/>
                  <a:pt x="9" y="138"/>
                  <a:pt x="9" y="138"/>
                </a:cubicBezTo>
                <a:cubicBezTo>
                  <a:pt x="9" y="139"/>
                  <a:pt x="9" y="139"/>
                  <a:pt x="9" y="139"/>
                </a:cubicBezTo>
                <a:cubicBezTo>
                  <a:pt x="9" y="139"/>
                  <a:pt x="9" y="139"/>
                  <a:pt x="9" y="139"/>
                </a:cubicBezTo>
                <a:cubicBezTo>
                  <a:pt x="7" y="137"/>
                  <a:pt x="7" y="137"/>
                  <a:pt x="7" y="137"/>
                </a:cubicBezTo>
                <a:cubicBezTo>
                  <a:pt x="6" y="138"/>
                  <a:pt x="6" y="138"/>
                  <a:pt x="6" y="138"/>
                </a:cubicBezTo>
                <a:cubicBezTo>
                  <a:pt x="6" y="137"/>
                  <a:pt x="6" y="137"/>
                  <a:pt x="6" y="137"/>
                </a:cubicBezTo>
                <a:cubicBezTo>
                  <a:pt x="5" y="137"/>
                  <a:pt x="5" y="137"/>
                  <a:pt x="5" y="137"/>
                </a:cubicBezTo>
                <a:cubicBezTo>
                  <a:pt x="5" y="138"/>
                  <a:pt x="5" y="138"/>
                  <a:pt x="5" y="138"/>
                </a:cubicBezTo>
                <a:cubicBezTo>
                  <a:pt x="4" y="139"/>
                  <a:pt x="4" y="139"/>
                  <a:pt x="4" y="139"/>
                </a:cubicBezTo>
                <a:cubicBezTo>
                  <a:pt x="6" y="141"/>
                  <a:pt x="6" y="141"/>
                  <a:pt x="6" y="141"/>
                </a:cubicBezTo>
                <a:cubicBezTo>
                  <a:pt x="7" y="142"/>
                  <a:pt x="7" y="142"/>
                  <a:pt x="7" y="142"/>
                </a:cubicBezTo>
                <a:cubicBezTo>
                  <a:pt x="9" y="143"/>
                  <a:pt x="9" y="143"/>
                  <a:pt x="9" y="143"/>
                </a:cubicBezTo>
                <a:cubicBezTo>
                  <a:pt x="11" y="144"/>
                  <a:pt x="11" y="144"/>
                  <a:pt x="11" y="144"/>
                </a:cubicBezTo>
                <a:cubicBezTo>
                  <a:pt x="11" y="145"/>
                  <a:pt x="11" y="145"/>
                  <a:pt x="11" y="145"/>
                </a:cubicBezTo>
                <a:cubicBezTo>
                  <a:pt x="11" y="145"/>
                  <a:pt x="11" y="145"/>
                  <a:pt x="11" y="145"/>
                </a:cubicBezTo>
                <a:cubicBezTo>
                  <a:pt x="12" y="146"/>
                  <a:pt x="12" y="146"/>
                  <a:pt x="12" y="146"/>
                </a:cubicBezTo>
                <a:cubicBezTo>
                  <a:pt x="12" y="146"/>
                  <a:pt x="12" y="146"/>
                  <a:pt x="12" y="146"/>
                </a:cubicBezTo>
                <a:cubicBezTo>
                  <a:pt x="12" y="144"/>
                  <a:pt x="12" y="144"/>
                  <a:pt x="12" y="144"/>
                </a:cubicBezTo>
                <a:cubicBezTo>
                  <a:pt x="13" y="144"/>
                  <a:pt x="13" y="144"/>
                  <a:pt x="13" y="144"/>
                </a:cubicBezTo>
                <a:cubicBezTo>
                  <a:pt x="14" y="145"/>
                  <a:pt x="14" y="145"/>
                  <a:pt x="14" y="145"/>
                </a:cubicBezTo>
                <a:cubicBezTo>
                  <a:pt x="13" y="145"/>
                  <a:pt x="13" y="145"/>
                  <a:pt x="13" y="145"/>
                </a:cubicBezTo>
                <a:cubicBezTo>
                  <a:pt x="15" y="147"/>
                  <a:pt x="15" y="147"/>
                  <a:pt x="15" y="147"/>
                </a:cubicBezTo>
                <a:cubicBezTo>
                  <a:pt x="15" y="146"/>
                  <a:pt x="15" y="146"/>
                  <a:pt x="15" y="146"/>
                </a:cubicBezTo>
                <a:cubicBezTo>
                  <a:pt x="16" y="146"/>
                  <a:pt x="16" y="146"/>
                  <a:pt x="16" y="146"/>
                </a:cubicBezTo>
                <a:cubicBezTo>
                  <a:pt x="17" y="146"/>
                  <a:pt x="17" y="146"/>
                  <a:pt x="17" y="146"/>
                </a:cubicBezTo>
                <a:cubicBezTo>
                  <a:pt x="18" y="145"/>
                  <a:pt x="18" y="145"/>
                  <a:pt x="18" y="145"/>
                </a:cubicBezTo>
                <a:cubicBezTo>
                  <a:pt x="19" y="145"/>
                  <a:pt x="19" y="145"/>
                  <a:pt x="19" y="145"/>
                </a:cubicBezTo>
                <a:cubicBezTo>
                  <a:pt x="19" y="144"/>
                  <a:pt x="19" y="144"/>
                  <a:pt x="19" y="144"/>
                </a:cubicBezTo>
                <a:cubicBezTo>
                  <a:pt x="19" y="144"/>
                  <a:pt x="19" y="144"/>
                  <a:pt x="19" y="144"/>
                </a:cubicBezTo>
                <a:cubicBezTo>
                  <a:pt x="20" y="145"/>
                  <a:pt x="20" y="145"/>
                  <a:pt x="20" y="145"/>
                </a:cubicBezTo>
                <a:cubicBezTo>
                  <a:pt x="21" y="145"/>
                  <a:pt x="21" y="145"/>
                  <a:pt x="21" y="145"/>
                </a:cubicBezTo>
                <a:cubicBezTo>
                  <a:pt x="23" y="143"/>
                  <a:pt x="23" y="143"/>
                  <a:pt x="23" y="143"/>
                </a:cubicBezTo>
                <a:cubicBezTo>
                  <a:pt x="23" y="142"/>
                  <a:pt x="23" y="142"/>
                  <a:pt x="23" y="142"/>
                </a:cubicBezTo>
                <a:cubicBezTo>
                  <a:pt x="22" y="141"/>
                  <a:pt x="22" y="141"/>
                  <a:pt x="22" y="141"/>
                </a:cubicBezTo>
                <a:cubicBezTo>
                  <a:pt x="23" y="142"/>
                  <a:pt x="23" y="142"/>
                  <a:pt x="23" y="142"/>
                </a:cubicBezTo>
                <a:cubicBezTo>
                  <a:pt x="25" y="141"/>
                  <a:pt x="25" y="141"/>
                  <a:pt x="25" y="141"/>
                </a:cubicBezTo>
                <a:cubicBezTo>
                  <a:pt x="24" y="140"/>
                  <a:pt x="24" y="140"/>
                  <a:pt x="24" y="140"/>
                </a:cubicBezTo>
                <a:cubicBezTo>
                  <a:pt x="25" y="140"/>
                  <a:pt x="25" y="140"/>
                  <a:pt x="25" y="140"/>
                </a:cubicBezTo>
                <a:cubicBezTo>
                  <a:pt x="25" y="139"/>
                  <a:pt x="25" y="139"/>
                  <a:pt x="25" y="139"/>
                </a:cubicBezTo>
                <a:cubicBezTo>
                  <a:pt x="26" y="138"/>
                  <a:pt x="26" y="138"/>
                  <a:pt x="26" y="138"/>
                </a:cubicBezTo>
                <a:cubicBezTo>
                  <a:pt x="27" y="138"/>
                  <a:pt x="27" y="138"/>
                  <a:pt x="27" y="138"/>
                </a:cubicBezTo>
                <a:cubicBezTo>
                  <a:pt x="27" y="137"/>
                  <a:pt x="27" y="137"/>
                  <a:pt x="27" y="137"/>
                </a:cubicBezTo>
                <a:cubicBezTo>
                  <a:pt x="26" y="136"/>
                  <a:pt x="26" y="136"/>
                  <a:pt x="26" y="136"/>
                </a:cubicBezTo>
                <a:cubicBezTo>
                  <a:pt x="27" y="135"/>
                  <a:pt x="27" y="135"/>
                  <a:pt x="27" y="135"/>
                </a:cubicBezTo>
                <a:cubicBezTo>
                  <a:pt x="26" y="134"/>
                  <a:pt x="26" y="134"/>
                  <a:pt x="26" y="134"/>
                </a:cubicBezTo>
                <a:cubicBezTo>
                  <a:pt x="25" y="133"/>
                  <a:pt x="25" y="133"/>
                  <a:pt x="25" y="133"/>
                </a:cubicBezTo>
                <a:cubicBezTo>
                  <a:pt x="25" y="132"/>
                  <a:pt x="25" y="132"/>
                  <a:pt x="25" y="132"/>
                </a:cubicBezTo>
                <a:cubicBezTo>
                  <a:pt x="25" y="133"/>
                  <a:pt x="25" y="133"/>
                  <a:pt x="25" y="133"/>
                </a:cubicBezTo>
                <a:cubicBezTo>
                  <a:pt x="26" y="134"/>
                  <a:pt x="26" y="134"/>
                  <a:pt x="26" y="134"/>
                </a:cubicBezTo>
                <a:cubicBezTo>
                  <a:pt x="27" y="136"/>
                  <a:pt x="27" y="136"/>
                  <a:pt x="27" y="136"/>
                </a:cubicBezTo>
                <a:cubicBezTo>
                  <a:pt x="27" y="136"/>
                  <a:pt x="27" y="136"/>
                  <a:pt x="27" y="136"/>
                </a:cubicBezTo>
                <a:cubicBezTo>
                  <a:pt x="28" y="136"/>
                  <a:pt x="28" y="136"/>
                  <a:pt x="28" y="136"/>
                </a:cubicBezTo>
                <a:cubicBezTo>
                  <a:pt x="28" y="137"/>
                  <a:pt x="28" y="137"/>
                  <a:pt x="28" y="137"/>
                </a:cubicBezTo>
                <a:cubicBezTo>
                  <a:pt x="28" y="138"/>
                  <a:pt x="28" y="138"/>
                  <a:pt x="28" y="138"/>
                </a:cubicBezTo>
                <a:cubicBezTo>
                  <a:pt x="30" y="137"/>
                  <a:pt x="30" y="137"/>
                  <a:pt x="30" y="137"/>
                </a:cubicBezTo>
                <a:cubicBezTo>
                  <a:pt x="29" y="136"/>
                  <a:pt x="29" y="136"/>
                  <a:pt x="29" y="136"/>
                </a:cubicBezTo>
                <a:cubicBezTo>
                  <a:pt x="29" y="136"/>
                  <a:pt x="29" y="136"/>
                  <a:pt x="29" y="136"/>
                </a:cubicBezTo>
                <a:cubicBezTo>
                  <a:pt x="29" y="135"/>
                  <a:pt x="29" y="135"/>
                  <a:pt x="29" y="135"/>
                </a:cubicBezTo>
                <a:cubicBezTo>
                  <a:pt x="30" y="136"/>
                  <a:pt x="30" y="136"/>
                  <a:pt x="30" y="136"/>
                </a:cubicBezTo>
                <a:cubicBezTo>
                  <a:pt x="30" y="137"/>
                  <a:pt x="30" y="137"/>
                  <a:pt x="30" y="137"/>
                </a:cubicBezTo>
                <a:cubicBezTo>
                  <a:pt x="32" y="135"/>
                  <a:pt x="32" y="135"/>
                  <a:pt x="32" y="135"/>
                </a:cubicBezTo>
                <a:cubicBezTo>
                  <a:pt x="32" y="134"/>
                  <a:pt x="32" y="134"/>
                  <a:pt x="32" y="134"/>
                </a:cubicBezTo>
                <a:cubicBezTo>
                  <a:pt x="32" y="132"/>
                  <a:pt x="32" y="132"/>
                  <a:pt x="32" y="132"/>
                </a:cubicBezTo>
                <a:cubicBezTo>
                  <a:pt x="31" y="132"/>
                  <a:pt x="31" y="132"/>
                  <a:pt x="31" y="132"/>
                </a:cubicBezTo>
                <a:cubicBezTo>
                  <a:pt x="31" y="131"/>
                  <a:pt x="31" y="131"/>
                  <a:pt x="31" y="131"/>
                </a:cubicBezTo>
                <a:cubicBezTo>
                  <a:pt x="31" y="131"/>
                  <a:pt x="31" y="131"/>
                  <a:pt x="31" y="131"/>
                </a:cubicBezTo>
                <a:cubicBezTo>
                  <a:pt x="31" y="131"/>
                  <a:pt x="31" y="131"/>
                  <a:pt x="31" y="131"/>
                </a:cubicBezTo>
                <a:cubicBezTo>
                  <a:pt x="32" y="130"/>
                  <a:pt x="32" y="130"/>
                  <a:pt x="32" y="130"/>
                </a:cubicBezTo>
                <a:cubicBezTo>
                  <a:pt x="32" y="130"/>
                  <a:pt x="32" y="130"/>
                  <a:pt x="32" y="130"/>
                </a:cubicBezTo>
                <a:cubicBezTo>
                  <a:pt x="32" y="129"/>
                  <a:pt x="32" y="129"/>
                  <a:pt x="32" y="129"/>
                </a:cubicBezTo>
                <a:cubicBezTo>
                  <a:pt x="32" y="128"/>
                  <a:pt x="32" y="128"/>
                  <a:pt x="32" y="128"/>
                </a:cubicBezTo>
                <a:cubicBezTo>
                  <a:pt x="33" y="127"/>
                  <a:pt x="33" y="127"/>
                  <a:pt x="33" y="127"/>
                </a:cubicBezTo>
                <a:cubicBezTo>
                  <a:pt x="34" y="128"/>
                  <a:pt x="34" y="128"/>
                  <a:pt x="34" y="128"/>
                </a:cubicBezTo>
                <a:cubicBezTo>
                  <a:pt x="33" y="129"/>
                  <a:pt x="33" y="129"/>
                  <a:pt x="33" y="129"/>
                </a:cubicBezTo>
                <a:cubicBezTo>
                  <a:pt x="33" y="131"/>
                  <a:pt x="33" y="131"/>
                  <a:pt x="33" y="131"/>
                </a:cubicBezTo>
                <a:cubicBezTo>
                  <a:pt x="33" y="132"/>
                  <a:pt x="33" y="132"/>
                  <a:pt x="33" y="132"/>
                </a:cubicBezTo>
                <a:cubicBezTo>
                  <a:pt x="34" y="133"/>
                  <a:pt x="34" y="133"/>
                  <a:pt x="34" y="133"/>
                </a:cubicBezTo>
                <a:cubicBezTo>
                  <a:pt x="34" y="134"/>
                  <a:pt x="34" y="134"/>
                  <a:pt x="34" y="134"/>
                </a:cubicBezTo>
                <a:cubicBezTo>
                  <a:pt x="35" y="135"/>
                  <a:pt x="35" y="135"/>
                  <a:pt x="35" y="135"/>
                </a:cubicBezTo>
                <a:cubicBezTo>
                  <a:pt x="37" y="135"/>
                  <a:pt x="37" y="135"/>
                  <a:pt x="37" y="135"/>
                </a:cubicBezTo>
                <a:cubicBezTo>
                  <a:pt x="37" y="135"/>
                  <a:pt x="37" y="135"/>
                  <a:pt x="37" y="135"/>
                </a:cubicBezTo>
                <a:cubicBezTo>
                  <a:pt x="37" y="136"/>
                  <a:pt x="37" y="136"/>
                  <a:pt x="37" y="136"/>
                </a:cubicBezTo>
                <a:cubicBezTo>
                  <a:pt x="38" y="137"/>
                  <a:pt x="38" y="137"/>
                  <a:pt x="38" y="137"/>
                </a:cubicBezTo>
                <a:cubicBezTo>
                  <a:pt x="38" y="138"/>
                  <a:pt x="38" y="138"/>
                  <a:pt x="38" y="138"/>
                </a:cubicBezTo>
                <a:cubicBezTo>
                  <a:pt x="39" y="137"/>
                  <a:pt x="39" y="137"/>
                  <a:pt x="39" y="137"/>
                </a:cubicBezTo>
                <a:cubicBezTo>
                  <a:pt x="39" y="133"/>
                  <a:pt x="39" y="133"/>
                  <a:pt x="39" y="133"/>
                </a:cubicBezTo>
                <a:cubicBezTo>
                  <a:pt x="38" y="131"/>
                  <a:pt x="38" y="131"/>
                  <a:pt x="38" y="131"/>
                </a:cubicBezTo>
                <a:cubicBezTo>
                  <a:pt x="38" y="130"/>
                  <a:pt x="38" y="130"/>
                  <a:pt x="38" y="130"/>
                </a:cubicBezTo>
                <a:cubicBezTo>
                  <a:pt x="39" y="129"/>
                  <a:pt x="39" y="129"/>
                  <a:pt x="39" y="129"/>
                </a:cubicBezTo>
                <a:cubicBezTo>
                  <a:pt x="39" y="128"/>
                  <a:pt x="39" y="128"/>
                  <a:pt x="39" y="128"/>
                </a:cubicBezTo>
                <a:cubicBezTo>
                  <a:pt x="39" y="127"/>
                  <a:pt x="39" y="127"/>
                  <a:pt x="39" y="127"/>
                </a:cubicBezTo>
                <a:cubicBezTo>
                  <a:pt x="41" y="127"/>
                  <a:pt x="41" y="127"/>
                  <a:pt x="41" y="127"/>
                </a:cubicBezTo>
                <a:cubicBezTo>
                  <a:pt x="41" y="126"/>
                  <a:pt x="41" y="126"/>
                  <a:pt x="41" y="126"/>
                </a:cubicBezTo>
                <a:cubicBezTo>
                  <a:pt x="41" y="125"/>
                  <a:pt x="41" y="125"/>
                  <a:pt x="41" y="125"/>
                </a:cubicBezTo>
                <a:cubicBezTo>
                  <a:pt x="42" y="123"/>
                  <a:pt x="42" y="123"/>
                  <a:pt x="42" y="123"/>
                </a:cubicBezTo>
                <a:cubicBezTo>
                  <a:pt x="41" y="122"/>
                  <a:pt x="41" y="122"/>
                  <a:pt x="41" y="122"/>
                </a:cubicBezTo>
                <a:cubicBezTo>
                  <a:pt x="41" y="119"/>
                  <a:pt x="41" y="119"/>
                  <a:pt x="41" y="119"/>
                </a:cubicBezTo>
                <a:cubicBezTo>
                  <a:pt x="40" y="117"/>
                  <a:pt x="40" y="117"/>
                  <a:pt x="40" y="117"/>
                </a:cubicBezTo>
                <a:cubicBezTo>
                  <a:pt x="40" y="116"/>
                  <a:pt x="40" y="116"/>
                  <a:pt x="40" y="116"/>
                </a:cubicBezTo>
                <a:cubicBezTo>
                  <a:pt x="43" y="115"/>
                  <a:pt x="43" y="115"/>
                  <a:pt x="43" y="115"/>
                </a:cubicBezTo>
                <a:cubicBezTo>
                  <a:pt x="43" y="113"/>
                  <a:pt x="43" y="113"/>
                  <a:pt x="43" y="113"/>
                </a:cubicBezTo>
                <a:cubicBezTo>
                  <a:pt x="43" y="111"/>
                  <a:pt x="43" y="111"/>
                  <a:pt x="43" y="111"/>
                </a:cubicBezTo>
                <a:cubicBezTo>
                  <a:pt x="41" y="109"/>
                  <a:pt x="41" y="109"/>
                  <a:pt x="41" y="109"/>
                </a:cubicBezTo>
                <a:cubicBezTo>
                  <a:pt x="39" y="108"/>
                  <a:pt x="39" y="108"/>
                  <a:pt x="39" y="108"/>
                </a:cubicBezTo>
                <a:cubicBezTo>
                  <a:pt x="39" y="106"/>
                  <a:pt x="39" y="106"/>
                  <a:pt x="39" y="106"/>
                </a:cubicBezTo>
                <a:cubicBezTo>
                  <a:pt x="40" y="103"/>
                  <a:pt x="40" y="103"/>
                  <a:pt x="40" y="103"/>
                </a:cubicBezTo>
                <a:cubicBezTo>
                  <a:pt x="39" y="101"/>
                  <a:pt x="39" y="101"/>
                  <a:pt x="39" y="101"/>
                </a:cubicBezTo>
                <a:cubicBezTo>
                  <a:pt x="39" y="99"/>
                  <a:pt x="39" y="99"/>
                  <a:pt x="39" y="99"/>
                </a:cubicBezTo>
                <a:cubicBezTo>
                  <a:pt x="39" y="97"/>
                  <a:pt x="39" y="97"/>
                  <a:pt x="39" y="97"/>
                </a:cubicBezTo>
                <a:cubicBezTo>
                  <a:pt x="39" y="94"/>
                  <a:pt x="39" y="94"/>
                  <a:pt x="39" y="94"/>
                </a:cubicBezTo>
                <a:cubicBezTo>
                  <a:pt x="38" y="91"/>
                  <a:pt x="38" y="91"/>
                  <a:pt x="38" y="91"/>
                </a:cubicBezTo>
                <a:cubicBezTo>
                  <a:pt x="39" y="88"/>
                  <a:pt x="39" y="88"/>
                  <a:pt x="39" y="88"/>
                </a:cubicBezTo>
                <a:cubicBezTo>
                  <a:pt x="40" y="85"/>
                  <a:pt x="40" y="85"/>
                  <a:pt x="40" y="85"/>
                </a:cubicBezTo>
                <a:cubicBezTo>
                  <a:pt x="41" y="84"/>
                  <a:pt x="41" y="84"/>
                  <a:pt x="41" y="84"/>
                </a:cubicBezTo>
                <a:cubicBezTo>
                  <a:pt x="43" y="85"/>
                  <a:pt x="43" y="85"/>
                  <a:pt x="43" y="85"/>
                </a:cubicBezTo>
                <a:cubicBezTo>
                  <a:pt x="45" y="85"/>
                  <a:pt x="45" y="85"/>
                  <a:pt x="45" y="85"/>
                </a:cubicBezTo>
                <a:cubicBezTo>
                  <a:pt x="46" y="83"/>
                  <a:pt x="46" y="83"/>
                  <a:pt x="46" y="83"/>
                </a:cubicBezTo>
                <a:cubicBezTo>
                  <a:pt x="46" y="81"/>
                  <a:pt x="46" y="81"/>
                  <a:pt x="46" y="81"/>
                </a:cubicBezTo>
                <a:cubicBezTo>
                  <a:pt x="46" y="80"/>
                  <a:pt x="46" y="80"/>
                  <a:pt x="46" y="80"/>
                </a:cubicBezTo>
                <a:cubicBezTo>
                  <a:pt x="46" y="79"/>
                  <a:pt x="46" y="79"/>
                  <a:pt x="46" y="79"/>
                </a:cubicBezTo>
                <a:cubicBezTo>
                  <a:pt x="48" y="73"/>
                  <a:pt x="48" y="73"/>
                  <a:pt x="48" y="73"/>
                </a:cubicBezTo>
                <a:cubicBezTo>
                  <a:pt x="48" y="70"/>
                  <a:pt x="48" y="70"/>
                  <a:pt x="48" y="70"/>
                </a:cubicBezTo>
                <a:cubicBezTo>
                  <a:pt x="48" y="68"/>
                  <a:pt x="48" y="68"/>
                  <a:pt x="48" y="68"/>
                </a:cubicBezTo>
                <a:cubicBezTo>
                  <a:pt x="49" y="66"/>
                  <a:pt x="49" y="66"/>
                  <a:pt x="49" y="66"/>
                </a:cubicBezTo>
                <a:cubicBezTo>
                  <a:pt x="49" y="64"/>
                  <a:pt x="49" y="64"/>
                  <a:pt x="49" y="64"/>
                </a:cubicBezTo>
                <a:cubicBezTo>
                  <a:pt x="48" y="63"/>
                  <a:pt x="48" y="63"/>
                  <a:pt x="48" y="63"/>
                </a:cubicBezTo>
                <a:cubicBezTo>
                  <a:pt x="48" y="62"/>
                  <a:pt x="48" y="62"/>
                  <a:pt x="48" y="62"/>
                </a:cubicBezTo>
                <a:cubicBezTo>
                  <a:pt x="50" y="61"/>
                  <a:pt x="50" y="61"/>
                  <a:pt x="50" y="61"/>
                </a:cubicBezTo>
                <a:cubicBezTo>
                  <a:pt x="52" y="60"/>
                  <a:pt x="52" y="60"/>
                  <a:pt x="52" y="60"/>
                </a:cubicBezTo>
                <a:cubicBezTo>
                  <a:pt x="53" y="59"/>
                  <a:pt x="53" y="59"/>
                  <a:pt x="53" y="59"/>
                </a:cubicBezTo>
                <a:cubicBezTo>
                  <a:pt x="53" y="58"/>
                  <a:pt x="53" y="58"/>
                  <a:pt x="53" y="58"/>
                </a:cubicBezTo>
                <a:cubicBezTo>
                  <a:pt x="55" y="55"/>
                  <a:pt x="55" y="55"/>
                  <a:pt x="55" y="55"/>
                </a:cubicBezTo>
                <a:cubicBezTo>
                  <a:pt x="57" y="53"/>
                  <a:pt x="57" y="53"/>
                  <a:pt x="57" y="53"/>
                </a:cubicBezTo>
                <a:cubicBezTo>
                  <a:pt x="57" y="51"/>
                  <a:pt x="57" y="51"/>
                  <a:pt x="57" y="51"/>
                </a:cubicBezTo>
                <a:cubicBezTo>
                  <a:pt x="57" y="49"/>
                  <a:pt x="57" y="49"/>
                  <a:pt x="57" y="49"/>
                </a:cubicBezTo>
                <a:cubicBezTo>
                  <a:pt x="56" y="49"/>
                  <a:pt x="56" y="49"/>
                  <a:pt x="56" y="49"/>
                </a:cubicBezTo>
                <a:cubicBezTo>
                  <a:pt x="56" y="46"/>
                  <a:pt x="56" y="46"/>
                  <a:pt x="56" y="46"/>
                </a:cubicBezTo>
                <a:cubicBezTo>
                  <a:pt x="57" y="45"/>
                  <a:pt x="57" y="45"/>
                  <a:pt x="57" y="45"/>
                </a:cubicBezTo>
                <a:cubicBezTo>
                  <a:pt x="58" y="44"/>
                  <a:pt x="58" y="44"/>
                  <a:pt x="58" y="44"/>
                </a:cubicBezTo>
                <a:cubicBezTo>
                  <a:pt x="58" y="43"/>
                  <a:pt x="58" y="43"/>
                  <a:pt x="58" y="43"/>
                </a:cubicBezTo>
                <a:cubicBezTo>
                  <a:pt x="59" y="42"/>
                  <a:pt x="59" y="42"/>
                  <a:pt x="59" y="42"/>
                </a:cubicBezTo>
                <a:cubicBezTo>
                  <a:pt x="60" y="40"/>
                  <a:pt x="60" y="40"/>
                  <a:pt x="60" y="40"/>
                </a:cubicBezTo>
                <a:cubicBezTo>
                  <a:pt x="61" y="39"/>
                  <a:pt x="61" y="39"/>
                  <a:pt x="61" y="39"/>
                </a:cubicBezTo>
                <a:cubicBezTo>
                  <a:pt x="63" y="40"/>
                  <a:pt x="63" y="40"/>
                  <a:pt x="63" y="40"/>
                </a:cubicBezTo>
                <a:cubicBezTo>
                  <a:pt x="63" y="41"/>
                  <a:pt x="63" y="41"/>
                  <a:pt x="63" y="41"/>
                </a:cubicBezTo>
                <a:cubicBezTo>
                  <a:pt x="64" y="40"/>
                  <a:pt x="64" y="40"/>
                  <a:pt x="64" y="40"/>
                </a:cubicBezTo>
                <a:cubicBezTo>
                  <a:pt x="65" y="40"/>
                  <a:pt x="65" y="40"/>
                  <a:pt x="65" y="40"/>
                </a:cubicBezTo>
                <a:cubicBezTo>
                  <a:pt x="64" y="38"/>
                  <a:pt x="64" y="38"/>
                  <a:pt x="64" y="38"/>
                </a:cubicBezTo>
                <a:cubicBezTo>
                  <a:pt x="65" y="38"/>
                  <a:pt x="65" y="38"/>
                  <a:pt x="65" y="38"/>
                </a:cubicBezTo>
                <a:cubicBezTo>
                  <a:pt x="65" y="37"/>
                  <a:pt x="65" y="37"/>
                  <a:pt x="65" y="37"/>
                </a:cubicBezTo>
                <a:cubicBezTo>
                  <a:pt x="65" y="36"/>
                  <a:pt x="65" y="36"/>
                  <a:pt x="65" y="36"/>
                </a:cubicBezTo>
                <a:cubicBezTo>
                  <a:pt x="64" y="35"/>
                  <a:pt x="64" y="35"/>
                  <a:pt x="64" y="35"/>
                </a:cubicBezTo>
                <a:cubicBezTo>
                  <a:pt x="65" y="34"/>
                  <a:pt x="65" y="34"/>
                  <a:pt x="65" y="34"/>
                </a:cubicBezTo>
                <a:cubicBezTo>
                  <a:pt x="67" y="34"/>
                  <a:pt x="67" y="34"/>
                  <a:pt x="67" y="34"/>
                </a:cubicBezTo>
                <a:cubicBezTo>
                  <a:pt x="68" y="33"/>
                  <a:pt x="68" y="33"/>
                  <a:pt x="68" y="33"/>
                </a:cubicBezTo>
                <a:cubicBezTo>
                  <a:pt x="70" y="34"/>
                  <a:pt x="70" y="34"/>
                  <a:pt x="70" y="34"/>
                </a:cubicBezTo>
                <a:cubicBezTo>
                  <a:pt x="71" y="35"/>
                  <a:pt x="71" y="35"/>
                  <a:pt x="71" y="35"/>
                </a:cubicBezTo>
                <a:cubicBezTo>
                  <a:pt x="73" y="35"/>
                  <a:pt x="73" y="35"/>
                  <a:pt x="73" y="35"/>
                </a:cubicBezTo>
                <a:cubicBezTo>
                  <a:pt x="74" y="36"/>
                  <a:pt x="74" y="36"/>
                  <a:pt x="74" y="36"/>
                </a:cubicBezTo>
                <a:cubicBezTo>
                  <a:pt x="74" y="35"/>
                  <a:pt x="74" y="35"/>
                  <a:pt x="74" y="35"/>
                </a:cubicBezTo>
                <a:cubicBezTo>
                  <a:pt x="75" y="36"/>
                  <a:pt x="75" y="36"/>
                  <a:pt x="75" y="36"/>
                </a:cubicBezTo>
                <a:cubicBezTo>
                  <a:pt x="75" y="34"/>
                  <a:pt x="75" y="34"/>
                  <a:pt x="75" y="34"/>
                </a:cubicBezTo>
                <a:cubicBezTo>
                  <a:pt x="74" y="33"/>
                  <a:pt x="74" y="33"/>
                  <a:pt x="74" y="33"/>
                </a:cubicBezTo>
                <a:cubicBezTo>
                  <a:pt x="74" y="31"/>
                  <a:pt x="74" y="31"/>
                  <a:pt x="74" y="31"/>
                </a:cubicBezTo>
                <a:cubicBezTo>
                  <a:pt x="75" y="31"/>
                  <a:pt x="75" y="31"/>
                  <a:pt x="75" y="31"/>
                </a:cubicBezTo>
                <a:cubicBezTo>
                  <a:pt x="75" y="30"/>
                  <a:pt x="75" y="30"/>
                  <a:pt x="75" y="30"/>
                </a:cubicBezTo>
                <a:cubicBezTo>
                  <a:pt x="74" y="29"/>
                  <a:pt x="74" y="29"/>
                  <a:pt x="74" y="29"/>
                </a:cubicBezTo>
                <a:cubicBezTo>
                  <a:pt x="74" y="28"/>
                  <a:pt x="74" y="28"/>
                  <a:pt x="74" y="28"/>
                </a:cubicBezTo>
                <a:cubicBezTo>
                  <a:pt x="75" y="28"/>
                  <a:pt x="75" y="28"/>
                  <a:pt x="75" y="28"/>
                </a:cubicBezTo>
                <a:cubicBezTo>
                  <a:pt x="77" y="28"/>
                  <a:pt x="77" y="28"/>
                  <a:pt x="77" y="28"/>
                </a:cubicBezTo>
                <a:cubicBezTo>
                  <a:pt x="77" y="28"/>
                  <a:pt x="77" y="28"/>
                  <a:pt x="77" y="28"/>
                </a:cubicBezTo>
                <a:cubicBezTo>
                  <a:pt x="77" y="28"/>
                  <a:pt x="77" y="28"/>
                  <a:pt x="77" y="28"/>
                </a:cubicBezTo>
                <a:cubicBezTo>
                  <a:pt x="77" y="27"/>
                  <a:pt x="77" y="27"/>
                  <a:pt x="77" y="27"/>
                </a:cubicBezTo>
                <a:cubicBezTo>
                  <a:pt x="78" y="28"/>
                  <a:pt x="78" y="28"/>
                  <a:pt x="78" y="28"/>
                </a:cubicBezTo>
                <a:cubicBezTo>
                  <a:pt x="78" y="27"/>
                  <a:pt x="78" y="27"/>
                  <a:pt x="78" y="27"/>
                </a:cubicBezTo>
                <a:cubicBezTo>
                  <a:pt x="78" y="26"/>
                  <a:pt x="78" y="26"/>
                  <a:pt x="78" y="26"/>
                </a:cubicBezTo>
                <a:cubicBezTo>
                  <a:pt x="78" y="25"/>
                  <a:pt x="78" y="25"/>
                  <a:pt x="78" y="25"/>
                </a:cubicBezTo>
                <a:cubicBezTo>
                  <a:pt x="79" y="24"/>
                  <a:pt x="79" y="24"/>
                  <a:pt x="79" y="24"/>
                </a:cubicBezTo>
                <a:cubicBezTo>
                  <a:pt x="80" y="25"/>
                  <a:pt x="80" y="25"/>
                  <a:pt x="80" y="25"/>
                </a:cubicBezTo>
                <a:cubicBezTo>
                  <a:pt x="81" y="26"/>
                  <a:pt x="81" y="26"/>
                  <a:pt x="81" y="26"/>
                </a:cubicBezTo>
                <a:cubicBezTo>
                  <a:pt x="84" y="28"/>
                  <a:pt x="84" y="28"/>
                  <a:pt x="84" y="28"/>
                </a:cubicBezTo>
                <a:cubicBezTo>
                  <a:pt x="84" y="30"/>
                  <a:pt x="84" y="30"/>
                  <a:pt x="84" y="30"/>
                </a:cubicBezTo>
                <a:cubicBezTo>
                  <a:pt x="85" y="31"/>
                  <a:pt x="85" y="31"/>
                  <a:pt x="85" y="31"/>
                </a:cubicBezTo>
                <a:cubicBezTo>
                  <a:pt x="87" y="32"/>
                  <a:pt x="87" y="32"/>
                  <a:pt x="87" y="32"/>
                </a:cubicBezTo>
                <a:cubicBezTo>
                  <a:pt x="90" y="32"/>
                  <a:pt x="90" y="32"/>
                  <a:pt x="90" y="32"/>
                </a:cubicBezTo>
                <a:cubicBezTo>
                  <a:pt x="92" y="30"/>
                  <a:pt x="92" y="30"/>
                  <a:pt x="92" y="30"/>
                </a:cubicBezTo>
                <a:cubicBezTo>
                  <a:pt x="93" y="29"/>
                  <a:pt x="93" y="29"/>
                  <a:pt x="93" y="29"/>
                </a:cubicBezTo>
                <a:cubicBezTo>
                  <a:pt x="94" y="29"/>
                  <a:pt x="94" y="29"/>
                  <a:pt x="94" y="29"/>
                </a:cubicBezTo>
                <a:cubicBezTo>
                  <a:pt x="96" y="31"/>
                  <a:pt x="96" y="31"/>
                  <a:pt x="96" y="31"/>
                </a:cubicBezTo>
                <a:cubicBezTo>
                  <a:pt x="97" y="31"/>
                  <a:pt x="97" y="31"/>
                  <a:pt x="97" y="31"/>
                </a:cubicBezTo>
                <a:cubicBezTo>
                  <a:pt x="98" y="30"/>
                  <a:pt x="98" y="30"/>
                  <a:pt x="98" y="30"/>
                </a:cubicBezTo>
                <a:cubicBezTo>
                  <a:pt x="99" y="29"/>
                  <a:pt x="99" y="29"/>
                  <a:pt x="99" y="29"/>
                </a:cubicBezTo>
                <a:cubicBezTo>
                  <a:pt x="100" y="28"/>
                  <a:pt x="100" y="28"/>
                  <a:pt x="100" y="28"/>
                </a:cubicBezTo>
                <a:cubicBezTo>
                  <a:pt x="101" y="28"/>
                  <a:pt x="101" y="28"/>
                  <a:pt x="101" y="28"/>
                </a:cubicBezTo>
                <a:cubicBezTo>
                  <a:pt x="102" y="28"/>
                  <a:pt x="102" y="28"/>
                  <a:pt x="102" y="28"/>
                </a:cubicBezTo>
                <a:cubicBezTo>
                  <a:pt x="102" y="27"/>
                  <a:pt x="102" y="27"/>
                  <a:pt x="102" y="27"/>
                </a:cubicBezTo>
                <a:cubicBezTo>
                  <a:pt x="102" y="26"/>
                  <a:pt x="102" y="26"/>
                  <a:pt x="102" y="26"/>
                </a:cubicBezTo>
                <a:cubicBezTo>
                  <a:pt x="101" y="24"/>
                  <a:pt x="101" y="24"/>
                  <a:pt x="101" y="24"/>
                </a:cubicBezTo>
                <a:cubicBezTo>
                  <a:pt x="102" y="21"/>
                  <a:pt x="102" y="21"/>
                  <a:pt x="102" y="21"/>
                </a:cubicBezTo>
                <a:cubicBezTo>
                  <a:pt x="102" y="20"/>
                  <a:pt x="102" y="20"/>
                  <a:pt x="102" y="20"/>
                </a:cubicBezTo>
                <a:cubicBezTo>
                  <a:pt x="102" y="19"/>
                  <a:pt x="102" y="19"/>
                  <a:pt x="102" y="19"/>
                </a:cubicBezTo>
                <a:cubicBezTo>
                  <a:pt x="102" y="18"/>
                  <a:pt x="102" y="18"/>
                  <a:pt x="102" y="18"/>
                </a:cubicBezTo>
                <a:cubicBezTo>
                  <a:pt x="103" y="17"/>
                  <a:pt x="103" y="17"/>
                  <a:pt x="103" y="17"/>
                </a:cubicBezTo>
                <a:cubicBezTo>
                  <a:pt x="103" y="16"/>
                  <a:pt x="103" y="16"/>
                  <a:pt x="103" y="16"/>
                </a:cubicBezTo>
                <a:cubicBezTo>
                  <a:pt x="104" y="16"/>
                  <a:pt x="104" y="16"/>
                  <a:pt x="104" y="16"/>
                </a:cubicBezTo>
                <a:cubicBezTo>
                  <a:pt x="106" y="16"/>
                  <a:pt x="106" y="16"/>
                  <a:pt x="106" y="16"/>
                </a:cubicBezTo>
                <a:cubicBezTo>
                  <a:pt x="107" y="16"/>
                  <a:pt x="107" y="16"/>
                  <a:pt x="107" y="16"/>
                </a:cubicBezTo>
                <a:cubicBezTo>
                  <a:pt x="107" y="15"/>
                  <a:pt x="107" y="15"/>
                  <a:pt x="107" y="15"/>
                </a:cubicBezTo>
                <a:cubicBezTo>
                  <a:pt x="108" y="14"/>
                  <a:pt x="108" y="14"/>
                  <a:pt x="108" y="14"/>
                </a:cubicBezTo>
                <a:cubicBezTo>
                  <a:pt x="111" y="14"/>
                  <a:pt x="111" y="14"/>
                  <a:pt x="111" y="14"/>
                </a:cubicBezTo>
                <a:cubicBezTo>
                  <a:pt x="112" y="15"/>
                  <a:pt x="112" y="15"/>
                  <a:pt x="112" y="15"/>
                </a:cubicBezTo>
                <a:cubicBezTo>
                  <a:pt x="113" y="17"/>
                  <a:pt x="113" y="17"/>
                  <a:pt x="113" y="17"/>
                </a:cubicBezTo>
                <a:cubicBezTo>
                  <a:pt x="114" y="18"/>
                  <a:pt x="114" y="18"/>
                  <a:pt x="114" y="18"/>
                </a:cubicBezTo>
                <a:cubicBezTo>
                  <a:pt x="116" y="18"/>
                  <a:pt x="116" y="18"/>
                  <a:pt x="116" y="18"/>
                </a:cubicBezTo>
                <a:cubicBezTo>
                  <a:pt x="118" y="18"/>
                  <a:pt x="118" y="18"/>
                  <a:pt x="118" y="18"/>
                </a:cubicBezTo>
                <a:cubicBezTo>
                  <a:pt x="118" y="19"/>
                  <a:pt x="118" y="19"/>
                  <a:pt x="118" y="19"/>
                </a:cubicBezTo>
                <a:cubicBezTo>
                  <a:pt x="119" y="21"/>
                  <a:pt x="119" y="21"/>
                  <a:pt x="119" y="21"/>
                </a:cubicBezTo>
                <a:cubicBezTo>
                  <a:pt x="119" y="22"/>
                  <a:pt x="119" y="22"/>
                  <a:pt x="119" y="22"/>
                </a:cubicBezTo>
                <a:cubicBezTo>
                  <a:pt x="118" y="24"/>
                  <a:pt x="118" y="24"/>
                  <a:pt x="118" y="24"/>
                </a:cubicBezTo>
                <a:cubicBezTo>
                  <a:pt x="118" y="26"/>
                  <a:pt x="118" y="26"/>
                  <a:pt x="118" y="26"/>
                </a:cubicBezTo>
                <a:close/>
                <a:moveTo>
                  <a:pt x="5" y="135"/>
                </a:moveTo>
                <a:cubicBezTo>
                  <a:pt x="6" y="136"/>
                  <a:pt x="6" y="136"/>
                  <a:pt x="6" y="136"/>
                </a:cubicBezTo>
                <a:cubicBezTo>
                  <a:pt x="5" y="136"/>
                  <a:pt x="5" y="136"/>
                  <a:pt x="5" y="136"/>
                </a:cubicBezTo>
                <a:cubicBezTo>
                  <a:pt x="5" y="135"/>
                  <a:pt x="5" y="135"/>
                  <a:pt x="5" y="135"/>
                </a:cubicBezTo>
                <a:close/>
                <a:moveTo>
                  <a:pt x="2" y="128"/>
                </a:moveTo>
                <a:cubicBezTo>
                  <a:pt x="2" y="128"/>
                  <a:pt x="3" y="128"/>
                  <a:pt x="3" y="128"/>
                </a:cubicBezTo>
                <a:cubicBezTo>
                  <a:pt x="4" y="129"/>
                  <a:pt x="4" y="129"/>
                  <a:pt x="4" y="129"/>
                </a:cubicBezTo>
                <a:cubicBezTo>
                  <a:pt x="3" y="130"/>
                  <a:pt x="3" y="130"/>
                  <a:pt x="3" y="130"/>
                </a:cubicBezTo>
                <a:cubicBezTo>
                  <a:pt x="2" y="128"/>
                  <a:pt x="2" y="128"/>
                  <a:pt x="2" y="128"/>
                </a:cubicBezTo>
                <a:close/>
                <a:moveTo>
                  <a:pt x="5" y="126"/>
                </a:moveTo>
                <a:cubicBezTo>
                  <a:pt x="5" y="127"/>
                  <a:pt x="5" y="127"/>
                  <a:pt x="5" y="127"/>
                </a:cubicBezTo>
                <a:cubicBezTo>
                  <a:pt x="4" y="127"/>
                  <a:pt x="4" y="127"/>
                  <a:pt x="4" y="127"/>
                </a:cubicBezTo>
                <a:cubicBezTo>
                  <a:pt x="5" y="126"/>
                  <a:pt x="5" y="126"/>
                  <a:pt x="5" y="126"/>
                </a:cubicBezTo>
                <a:close/>
                <a:moveTo>
                  <a:pt x="4" y="125"/>
                </a:moveTo>
                <a:cubicBezTo>
                  <a:pt x="3" y="126"/>
                  <a:pt x="3" y="126"/>
                  <a:pt x="3" y="126"/>
                </a:cubicBezTo>
                <a:cubicBezTo>
                  <a:pt x="2" y="126"/>
                  <a:pt x="2" y="126"/>
                  <a:pt x="2" y="126"/>
                </a:cubicBezTo>
                <a:cubicBezTo>
                  <a:pt x="4" y="125"/>
                  <a:pt x="4" y="125"/>
                  <a:pt x="4" y="125"/>
                </a:cubicBezTo>
                <a:close/>
                <a:moveTo>
                  <a:pt x="1" y="120"/>
                </a:moveTo>
                <a:cubicBezTo>
                  <a:pt x="0" y="120"/>
                  <a:pt x="0" y="120"/>
                  <a:pt x="0" y="120"/>
                </a:cubicBezTo>
                <a:cubicBezTo>
                  <a:pt x="1" y="119"/>
                  <a:pt x="1" y="119"/>
                  <a:pt x="1" y="119"/>
                </a:cubicBezTo>
                <a:cubicBezTo>
                  <a:pt x="1" y="119"/>
                  <a:pt x="1" y="120"/>
                  <a:pt x="1" y="120"/>
                </a:cubicBezTo>
                <a:close/>
                <a:moveTo>
                  <a:pt x="1" y="121"/>
                </a:moveTo>
                <a:cubicBezTo>
                  <a:pt x="2" y="121"/>
                  <a:pt x="2" y="121"/>
                  <a:pt x="2" y="121"/>
                </a:cubicBezTo>
                <a:cubicBezTo>
                  <a:pt x="1" y="122"/>
                  <a:pt x="1" y="122"/>
                  <a:pt x="1" y="122"/>
                </a:cubicBezTo>
                <a:cubicBezTo>
                  <a:pt x="1" y="121"/>
                  <a:pt x="1" y="121"/>
                  <a:pt x="1" y="121"/>
                </a:cubicBezTo>
                <a:close/>
                <a:moveTo>
                  <a:pt x="3" y="123"/>
                </a:moveTo>
                <a:cubicBezTo>
                  <a:pt x="3" y="123"/>
                  <a:pt x="4" y="124"/>
                  <a:pt x="4" y="124"/>
                </a:cubicBezTo>
                <a:cubicBezTo>
                  <a:pt x="4" y="125"/>
                  <a:pt x="4" y="125"/>
                  <a:pt x="4" y="125"/>
                </a:cubicBezTo>
                <a:cubicBezTo>
                  <a:pt x="3" y="123"/>
                  <a:pt x="3" y="123"/>
                  <a:pt x="3" y="123"/>
                </a:cubicBezTo>
                <a:close/>
                <a:moveTo>
                  <a:pt x="2" y="124"/>
                </a:moveTo>
                <a:cubicBezTo>
                  <a:pt x="1" y="123"/>
                  <a:pt x="1" y="123"/>
                  <a:pt x="1" y="123"/>
                </a:cubicBezTo>
                <a:cubicBezTo>
                  <a:pt x="2" y="123"/>
                  <a:pt x="2" y="123"/>
                  <a:pt x="2" y="123"/>
                </a:cubicBezTo>
                <a:cubicBezTo>
                  <a:pt x="2" y="124"/>
                  <a:pt x="2" y="124"/>
                  <a:pt x="2" y="124"/>
                </a:cubicBezTo>
                <a:close/>
                <a:moveTo>
                  <a:pt x="1" y="117"/>
                </a:moveTo>
                <a:cubicBezTo>
                  <a:pt x="0" y="118"/>
                  <a:pt x="0" y="118"/>
                  <a:pt x="0" y="118"/>
                </a:cubicBezTo>
                <a:cubicBezTo>
                  <a:pt x="0" y="118"/>
                  <a:pt x="0" y="118"/>
                  <a:pt x="0" y="118"/>
                </a:cubicBezTo>
                <a:cubicBezTo>
                  <a:pt x="1" y="117"/>
                  <a:pt x="1" y="117"/>
                  <a:pt x="1" y="117"/>
                </a:cubicBezTo>
                <a:cubicBezTo>
                  <a:pt x="1" y="117"/>
                  <a:pt x="1" y="117"/>
                  <a:pt x="1" y="117"/>
                </a:cubicBezTo>
                <a:close/>
                <a:moveTo>
                  <a:pt x="0" y="108"/>
                </a:moveTo>
                <a:cubicBezTo>
                  <a:pt x="2" y="109"/>
                  <a:pt x="2" y="109"/>
                  <a:pt x="2" y="109"/>
                </a:cubicBezTo>
                <a:cubicBezTo>
                  <a:pt x="1" y="109"/>
                  <a:pt x="1" y="109"/>
                  <a:pt x="1" y="109"/>
                </a:cubicBezTo>
                <a:cubicBezTo>
                  <a:pt x="0" y="108"/>
                  <a:pt x="0" y="108"/>
                  <a:pt x="0" y="108"/>
                </a:cubicBezTo>
                <a:close/>
                <a:moveTo>
                  <a:pt x="1" y="106"/>
                </a:moveTo>
                <a:cubicBezTo>
                  <a:pt x="2" y="107"/>
                  <a:pt x="2" y="107"/>
                  <a:pt x="2" y="107"/>
                </a:cubicBezTo>
                <a:cubicBezTo>
                  <a:pt x="1" y="107"/>
                  <a:pt x="1" y="107"/>
                  <a:pt x="1" y="107"/>
                </a:cubicBezTo>
                <a:cubicBezTo>
                  <a:pt x="1" y="106"/>
                  <a:pt x="1" y="106"/>
                  <a:pt x="1" y="106"/>
                </a:cubicBezTo>
                <a:close/>
                <a:moveTo>
                  <a:pt x="4" y="103"/>
                </a:moveTo>
                <a:cubicBezTo>
                  <a:pt x="5" y="104"/>
                  <a:pt x="5" y="104"/>
                  <a:pt x="5" y="104"/>
                </a:cubicBezTo>
                <a:cubicBezTo>
                  <a:pt x="3" y="104"/>
                  <a:pt x="3" y="104"/>
                  <a:pt x="3" y="104"/>
                </a:cubicBezTo>
                <a:cubicBezTo>
                  <a:pt x="4" y="103"/>
                  <a:pt x="4" y="103"/>
                  <a:pt x="4" y="103"/>
                </a:cubicBezTo>
                <a:close/>
                <a:moveTo>
                  <a:pt x="5" y="103"/>
                </a:moveTo>
                <a:cubicBezTo>
                  <a:pt x="6" y="103"/>
                  <a:pt x="6" y="103"/>
                  <a:pt x="6" y="103"/>
                </a:cubicBezTo>
                <a:cubicBezTo>
                  <a:pt x="7" y="104"/>
                  <a:pt x="7" y="104"/>
                  <a:pt x="7" y="104"/>
                </a:cubicBezTo>
                <a:cubicBezTo>
                  <a:pt x="5" y="104"/>
                  <a:pt x="5" y="104"/>
                  <a:pt x="5" y="104"/>
                </a:cubicBezTo>
                <a:cubicBezTo>
                  <a:pt x="5" y="103"/>
                  <a:pt x="5" y="103"/>
                  <a:pt x="5" y="103"/>
                </a:cubicBezTo>
                <a:close/>
                <a:moveTo>
                  <a:pt x="16" y="95"/>
                </a:moveTo>
                <a:cubicBezTo>
                  <a:pt x="16" y="95"/>
                  <a:pt x="18" y="94"/>
                  <a:pt x="18" y="94"/>
                </a:cubicBezTo>
                <a:cubicBezTo>
                  <a:pt x="18" y="95"/>
                  <a:pt x="18" y="95"/>
                  <a:pt x="18" y="95"/>
                </a:cubicBezTo>
                <a:cubicBezTo>
                  <a:pt x="17" y="95"/>
                  <a:pt x="17" y="95"/>
                  <a:pt x="17" y="95"/>
                </a:cubicBezTo>
                <a:cubicBezTo>
                  <a:pt x="16" y="95"/>
                  <a:pt x="16" y="95"/>
                  <a:pt x="16" y="95"/>
                </a:cubicBezTo>
                <a:close/>
                <a:moveTo>
                  <a:pt x="17" y="93"/>
                </a:moveTo>
                <a:cubicBezTo>
                  <a:pt x="17" y="93"/>
                  <a:pt x="16" y="93"/>
                  <a:pt x="16" y="93"/>
                </a:cubicBezTo>
                <a:cubicBezTo>
                  <a:pt x="15" y="92"/>
                  <a:pt x="15" y="92"/>
                  <a:pt x="15" y="92"/>
                </a:cubicBezTo>
                <a:cubicBezTo>
                  <a:pt x="16" y="92"/>
                  <a:pt x="16" y="92"/>
                  <a:pt x="16" y="92"/>
                </a:cubicBezTo>
                <a:cubicBezTo>
                  <a:pt x="17" y="93"/>
                  <a:pt x="17" y="93"/>
                  <a:pt x="17" y="93"/>
                </a:cubicBezTo>
                <a:close/>
                <a:moveTo>
                  <a:pt x="18" y="90"/>
                </a:moveTo>
                <a:cubicBezTo>
                  <a:pt x="20" y="88"/>
                  <a:pt x="20" y="88"/>
                  <a:pt x="20" y="88"/>
                </a:cubicBezTo>
                <a:cubicBezTo>
                  <a:pt x="21" y="89"/>
                  <a:pt x="21" y="89"/>
                  <a:pt x="21" y="89"/>
                </a:cubicBezTo>
                <a:cubicBezTo>
                  <a:pt x="20" y="90"/>
                  <a:pt x="20" y="90"/>
                  <a:pt x="20" y="90"/>
                </a:cubicBezTo>
                <a:cubicBezTo>
                  <a:pt x="18" y="90"/>
                  <a:pt x="18" y="90"/>
                  <a:pt x="18" y="90"/>
                </a:cubicBezTo>
                <a:close/>
                <a:moveTo>
                  <a:pt x="18" y="92"/>
                </a:moveTo>
                <a:cubicBezTo>
                  <a:pt x="19" y="91"/>
                  <a:pt x="19" y="91"/>
                  <a:pt x="19" y="91"/>
                </a:cubicBezTo>
                <a:cubicBezTo>
                  <a:pt x="20" y="91"/>
                  <a:pt x="20" y="91"/>
                  <a:pt x="20" y="91"/>
                </a:cubicBezTo>
                <a:cubicBezTo>
                  <a:pt x="21" y="90"/>
                  <a:pt x="21" y="90"/>
                  <a:pt x="21" y="90"/>
                </a:cubicBezTo>
                <a:cubicBezTo>
                  <a:pt x="22" y="90"/>
                  <a:pt x="22" y="90"/>
                  <a:pt x="22" y="90"/>
                </a:cubicBezTo>
                <a:cubicBezTo>
                  <a:pt x="22" y="91"/>
                  <a:pt x="22" y="91"/>
                  <a:pt x="22" y="91"/>
                </a:cubicBezTo>
                <a:cubicBezTo>
                  <a:pt x="21" y="92"/>
                  <a:pt x="21" y="92"/>
                  <a:pt x="21" y="92"/>
                </a:cubicBezTo>
                <a:cubicBezTo>
                  <a:pt x="20" y="92"/>
                  <a:pt x="20" y="92"/>
                  <a:pt x="20" y="92"/>
                </a:cubicBezTo>
                <a:cubicBezTo>
                  <a:pt x="19" y="92"/>
                  <a:pt x="19" y="92"/>
                  <a:pt x="19" y="92"/>
                </a:cubicBezTo>
                <a:cubicBezTo>
                  <a:pt x="18" y="92"/>
                  <a:pt x="18" y="92"/>
                  <a:pt x="18" y="92"/>
                </a:cubicBezTo>
                <a:close/>
                <a:moveTo>
                  <a:pt x="35" y="75"/>
                </a:moveTo>
                <a:cubicBezTo>
                  <a:pt x="35" y="74"/>
                  <a:pt x="35" y="74"/>
                  <a:pt x="35" y="74"/>
                </a:cubicBezTo>
                <a:cubicBezTo>
                  <a:pt x="37" y="73"/>
                  <a:pt x="37" y="73"/>
                  <a:pt x="37" y="73"/>
                </a:cubicBezTo>
                <a:cubicBezTo>
                  <a:pt x="35" y="75"/>
                  <a:pt x="35" y="75"/>
                  <a:pt x="35" y="75"/>
                </a:cubicBezTo>
                <a:cubicBezTo>
                  <a:pt x="35" y="75"/>
                  <a:pt x="35" y="75"/>
                  <a:pt x="35" y="75"/>
                </a:cubicBezTo>
                <a:close/>
                <a:moveTo>
                  <a:pt x="33" y="78"/>
                </a:moveTo>
                <a:cubicBezTo>
                  <a:pt x="33" y="77"/>
                  <a:pt x="33" y="77"/>
                  <a:pt x="33" y="77"/>
                </a:cubicBezTo>
                <a:cubicBezTo>
                  <a:pt x="32" y="77"/>
                  <a:pt x="32" y="77"/>
                  <a:pt x="32" y="77"/>
                </a:cubicBezTo>
                <a:cubicBezTo>
                  <a:pt x="33" y="76"/>
                  <a:pt x="33" y="76"/>
                  <a:pt x="33" y="76"/>
                </a:cubicBezTo>
                <a:cubicBezTo>
                  <a:pt x="34" y="76"/>
                  <a:pt x="34" y="76"/>
                  <a:pt x="34" y="76"/>
                </a:cubicBezTo>
                <a:cubicBezTo>
                  <a:pt x="35" y="75"/>
                  <a:pt x="35" y="75"/>
                  <a:pt x="35" y="75"/>
                </a:cubicBezTo>
                <a:cubicBezTo>
                  <a:pt x="34" y="77"/>
                  <a:pt x="34" y="77"/>
                  <a:pt x="34" y="77"/>
                </a:cubicBezTo>
                <a:cubicBezTo>
                  <a:pt x="33" y="78"/>
                  <a:pt x="33" y="78"/>
                  <a:pt x="33" y="78"/>
                </a:cubicBezTo>
                <a:close/>
                <a:moveTo>
                  <a:pt x="36" y="67"/>
                </a:moveTo>
                <a:cubicBezTo>
                  <a:pt x="37" y="67"/>
                  <a:pt x="37" y="67"/>
                  <a:pt x="37" y="67"/>
                </a:cubicBezTo>
                <a:cubicBezTo>
                  <a:pt x="37" y="68"/>
                  <a:pt x="37" y="68"/>
                  <a:pt x="37" y="68"/>
                </a:cubicBezTo>
                <a:cubicBezTo>
                  <a:pt x="36" y="69"/>
                  <a:pt x="36" y="69"/>
                  <a:pt x="36" y="69"/>
                </a:cubicBezTo>
                <a:cubicBezTo>
                  <a:pt x="36" y="68"/>
                  <a:pt x="36" y="68"/>
                  <a:pt x="36" y="68"/>
                </a:cubicBezTo>
                <a:cubicBezTo>
                  <a:pt x="36" y="67"/>
                  <a:pt x="36" y="67"/>
                  <a:pt x="36" y="67"/>
                </a:cubicBezTo>
                <a:close/>
                <a:moveTo>
                  <a:pt x="39" y="65"/>
                </a:moveTo>
                <a:cubicBezTo>
                  <a:pt x="39" y="64"/>
                  <a:pt x="39" y="64"/>
                  <a:pt x="39" y="64"/>
                </a:cubicBezTo>
                <a:cubicBezTo>
                  <a:pt x="40" y="64"/>
                  <a:pt x="40" y="64"/>
                  <a:pt x="40" y="64"/>
                </a:cubicBezTo>
                <a:cubicBezTo>
                  <a:pt x="39" y="65"/>
                  <a:pt x="39" y="65"/>
                  <a:pt x="39" y="65"/>
                </a:cubicBezTo>
                <a:cubicBezTo>
                  <a:pt x="39" y="65"/>
                  <a:pt x="39" y="65"/>
                  <a:pt x="39" y="65"/>
                </a:cubicBezTo>
                <a:close/>
                <a:moveTo>
                  <a:pt x="38" y="62"/>
                </a:moveTo>
                <a:cubicBezTo>
                  <a:pt x="39" y="61"/>
                  <a:pt x="39" y="61"/>
                  <a:pt x="39" y="61"/>
                </a:cubicBezTo>
                <a:cubicBezTo>
                  <a:pt x="39" y="62"/>
                  <a:pt x="39" y="62"/>
                  <a:pt x="39" y="62"/>
                </a:cubicBezTo>
                <a:cubicBezTo>
                  <a:pt x="38" y="64"/>
                  <a:pt x="38" y="64"/>
                  <a:pt x="38" y="64"/>
                </a:cubicBezTo>
                <a:cubicBezTo>
                  <a:pt x="38" y="62"/>
                  <a:pt x="38" y="62"/>
                  <a:pt x="38" y="62"/>
                </a:cubicBezTo>
                <a:close/>
                <a:moveTo>
                  <a:pt x="46" y="51"/>
                </a:moveTo>
                <a:cubicBezTo>
                  <a:pt x="46" y="51"/>
                  <a:pt x="46" y="51"/>
                  <a:pt x="46" y="51"/>
                </a:cubicBezTo>
                <a:cubicBezTo>
                  <a:pt x="47" y="51"/>
                  <a:pt x="47" y="51"/>
                  <a:pt x="47" y="51"/>
                </a:cubicBezTo>
                <a:cubicBezTo>
                  <a:pt x="46" y="52"/>
                  <a:pt x="46" y="52"/>
                  <a:pt x="46" y="52"/>
                </a:cubicBezTo>
                <a:cubicBezTo>
                  <a:pt x="46" y="51"/>
                  <a:pt x="46" y="51"/>
                  <a:pt x="46" y="51"/>
                </a:cubicBezTo>
                <a:close/>
                <a:moveTo>
                  <a:pt x="38" y="45"/>
                </a:moveTo>
                <a:cubicBezTo>
                  <a:pt x="39" y="45"/>
                  <a:pt x="39" y="45"/>
                  <a:pt x="39" y="45"/>
                </a:cubicBezTo>
                <a:cubicBezTo>
                  <a:pt x="38" y="46"/>
                  <a:pt x="38" y="46"/>
                  <a:pt x="38" y="46"/>
                </a:cubicBezTo>
                <a:cubicBezTo>
                  <a:pt x="38" y="46"/>
                  <a:pt x="38" y="46"/>
                  <a:pt x="38" y="46"/>
                </a:cubicBezTo>
                <a:cubicBezTo>
                  <a:pt x="38" y="45"/>
                  <a:pt x="38" y="45"/>
                  <a:pt x="38" y="45"/>
                </a:cubicBezTo>
                <a:close/>
                <a:moveTo>
                  <a:pt x="40" y="42"/>
                </a:moveTo>
                <a:cubicBezTo>
                  <a:pt x="39" y="43"/>
                  <a:pt x="39" y="43"/>
                  <a:pt x="39" y="43"/>
                </a:cubicBezTo>
                <a:cubicBezTo>
                  <a:pt x="39" y="42"/>
                  <a:pt x="39" y="42"/>
                  <a:pt x="39" y="42"/>
                </a:cubicBezTo>
                <a:cubicBezTo>
                  <a:pt x="40" y="40"/>
                  <a:pt x="40" y="40"/>
                  <a:pt x="40" y="40"/>
                </a:cubicBezTo>
                <a:cubicBezTo>
                  <a:pt x="40" y="42"/>
                  <a:pt x="40" y="42"/>
                  <a:pt x="40" y="42"/>
                </a:cubicBezTo>
                <a:close/>
                <a:moveTo>
                  <a:pt x="41" y="41"/>
                </a:moveTo>
                <a:cubicBezTo>
                  <a:pt x="41" y="40"/>
                  <a:pt x="41" y="40"/>
                  <a:pt x="41" y="40"/>
                </a:cubicBezTo>
                <a:cubicBezTo>
                  <a:pt x="41" y="39"/>
                  <a:pt x="41" y="39"/>
                  <a:pt x="41" y="39"/>
                </a:cubicBezTo>
                <a:cubicBezTo>
                  <a:pt x="42" y="40"/>
                  <a:pt x="42" y="40"/>
                  <a:pt x="42" y="40"/>
                </a:cubicBezTo>
                <a:cubicBezTo>
                  <a:pt x="41" y="41"/>
                  <a:pt x="41" y="41"/>
                  <a:pt x="41" y="41"/>
                </a:cubicBezTo>
                <a:close/>
                <a:moveTo>
                  <a:pt x="45" y="38"/>
                </a:moveTo>
                <a:cubicBezTo>
                  <a:pt x="45" y="39"/>
                  <a:pt x="45" y="39"/>
                  <a:pt x="45" y="39"/>
                </a:cubicBezTo>
                <a:cubicBezTo>
                  <a:pt x="42" y="41"/>
                  <a:pt x="42" y="41"/>
                  <a:pt x="42" y="41"/>
                </a:cubicBezTo>
                <a:cubicBezTo>
                  <a:pt x="43" y="38"/>
                  <a:pt x="43" y="38"/>
                  <a:pt x="43" y="38"/>
                </a:cubicBezTo>
                <a:cubicBezTo>
                  <a:pt x="45" y="38"/>
                  <a:pt x="45" y="38"/>
                  <a:pt x="45" y="38"/>
                </a:cubicBezTo>
                <a:close/>
                <a:moveTo>
                  <a:pt x="47" y="35"/>
                </a:moveTo>
                <a:cubicBezTo>
                  <a:pt x="48" y="34"/>
                  <a:pt x="48" y="34"/>
                  <a:pt x="48" y="34"/>
                </a:cubicBezTo>
                <a:cubicBezTo>
                  <a:pt x="49" y="35"/>
                  <a:pt x="49" y="35"/>
                  <a:pt x="49" y="35"/>
                </a:cubicBezTo>
                <a:cubicBezTo>
                  <a:pt x="47" y="35"/>
                  <a:pt x="47" y="35"/>
                  <a:pt x="47" y="35"/>
                </a:cubicBezTo>
                <a:close/>
                <a:moveTo>
                  <a:pt x="48" y="36"/>
                </a:moveTo>
                <a:cubicBezTo>
                  <a:pt x="48" y="38"/>
                  <a:pt x="48" y="38"/>
                  <a:pt x="48" y="38"/>
                </a:cubicBezTo>
                <a:cubicBezTo>
                  <a:pt x="47" y="37"/>
                  <a:pt x="47" y="37"/>
                  <a:pt x="47" y="37"/>
                </a:cubicBezTo>
                <a:cubicBezTo>
                  <a:pt x="45" y="38"/>
                  <a:pt x="45" y="38"/>
                  <a:pt x="45" y="38"/>
                </a:cubicBezTo>
                <a:cubicBezTo>
                  <a:pt x="46" y="37"/>
                  <a:pt x="46" y="37"/>
                  <a:pt x="46" y="37"/>
                </a:cubicBezTo>
                <a:cubicBezTo>
                  <a:pt x="48" y="36"/>
                  <a:pt x="48" y="36"/>
                  <a:pt x="48" y="36"/>
                </a:cubicBezTo>
                <a:close/>
                <a:moveTo>
                  <a:pt x="49" y="29"/>
                </a:moveTo>
                <a:cubicBezTo>
                  <a:pt x="50" y="31"/>
                  <a:pt x="50" y="31"/>
                  <a:pt x="50" y="31"/>
                </a:cubicBezTo>
                <a:cubicBezTo>
                  <a:pt x="50" y="33"/>
                  <a:pt x="50" y="33"/>
                  <a:pt x="50" y="33"/>
                </a:cubicBezTo>
                <a:cubicBezTo>
                  <a:pt x="48" y="34"/>
                  <a:pt x="48" y="34"/>
                  <a:pt x="48" y="34"/>
                </a:cubicBezTo>
                <a:cubicBezTo>
                  <a:pt x="47" y="33"/>
                  <a:pt x="47" y="33"/>
                  <a:pt x="47" y="33"/>
                </a:cubicBezTo>
                <a:cubicBezTo>
                  <a:pt x="49" y="32"/>
                  <a:pt x="49" y="32"/>
                  <a:pt x="49" y="32"/>
                </a:cubicBezTo>
                <a:cubicBezTo>
                  <a:pt x="48" y="32"/>
                  <a:pt x="48" y="32"/>
                  <a:pt x="48" y="32"/>
                </a:cubicBezTo>
                <a:cubicBezTo>
                  <a:pt x="46" y="33"/>
                  <a:pt x="46" y="33"/>
                  <a:pt x="46" y="33"/>
                </a:cubicBezTo>
                <a:cubicBezTo>
                  <a:pt x="46" y="32"/>
                  <a:pt x="46" y="32"/>
                  <a:pt x="46" y="32"/>
                </a:cubicBezTo>
                <a:cubicBezTo>
                  <a:pt x="46" y="31"/>
                  <a:pt x="46" y="31"/>
                  <a:pt x="46" y="31"/>
                </a:cubicBezTo>
                <a:cubicBezTo>
                  <a:pt x="48" y="31"/>
                  <a:pt x="48" y="31"/>
                  <a:pt x="48" y="31"/>
                </a:cubicBezTo>
                <a:cubicBezTo>
                  <a:pt x="49" y="30"/>
                  <a:pt x="49" y="30"/>
                  <a:pt x="49" y="30"/>
                </a:cubicBezTo>
                <a:cubicBezTo>
                  <a:pt x="48" y="30"/>
                  <a:pt x="48" y="30"/>
                  <a:pt x="48" y="30"/>
                </a:cubicBezTo>
                <a:cubicBezTo>
                  <a:pt x="49" y="29"/>
                  <a:pt x="49" y="29"/>
                  <a:pt x="49" y="29"/>
                </a:cubicBezTo>
                <a:close/>
                <a:moveTo>
                  <a:pt x="51" y="30"/>
                </a:moveTo>
                <a:cubicBezTo>
                  <a:pt x="50" y="30"/>
                  <a:pt x="50" y="30"/>
                  <a:pt x="50" y="30"/>
                </a:cubicBezTo>
                <a:cubicBezTo>
                  <a:pt x="50" y="28"/>
                  <a:pt x="50" y="28"/>
                  <a:pt x="50" y="28"/>
                </a:cubicBezTo>
                <a:cubicBezTo>
                  <a:pt x="52" y="27"/>
                  <a:pt x="52" y="27"/>
                  <a:pt x="52" y="27"/>
                </a:cubicBezTo>
                <a:cubicBezTo>
                  <a:pt x="52" y="25"/>
                  <a:pt x="52" y="25"/>
                  <a:pt x="52" y="25"/>
                </a:cubicBezTo>
                <a:cubicBezTo>
                  <a:pt x="53" y="25"/>
                  <a:pt x="53" y="25"/>
                  <a:pt x="53" y="25"/>
                </a:cubicBezTo>
                <a:cubicBezTo>
                  <a:pt x="54" y="26"/>
                  <a:pt x="54" y="26"/>
                  <a:pt x="54" y="26"/>
                </a:cubicBezTo>
                <a:cubicBezTo>
                  <a:pt x="52" y="27"/>
                  <a:pt x="52" y="27"/>
                  <a:pt x="52" y="27"/>
                </a:cubicBezTo>
                <a:cubicBezTo>
                  <a:pt x="52" y="28"/>
                  <a:pt x="52" y="28"/>
                  <a:pt x="52" y="28"/>
                </a:cubicBezTo>
                <a:cubicBezTo>
                  <a:pt x="51" y="30"/>
                  <a:pt x="51" y="30"/>
                  <a:pt x="51" y="30"/>
                </a:cubicBezTo>
                <a:close/>
                <a:moveTo>
                  <a:pt x="55" y="31"/>
                </a:moveTo>
                <a:cubicBezTo>
                  <a:pt x="56" y="32"/>
                  <a:pt x="56" y="32"/>
                  <a:pt x="56" y="32"/>
                </a:cubicBezTo>
                <a:cubicBezTo>
                  <a:pt x="54" y="35"/>
                  <a:pt x="54" y="35"/>
                  <a:pt x="54" y="35"/>
                </a:cubicBezTo>
                <a:cubicBezTo>
                  <a:pt x="53" y="36"/>
                  <a:pt x="53" y="36"/>
                  <a:pt x="53" y="36"/>
                </a:cubicBezTo>
                <a:cubicBezTo>
                  <a:pt x="52" y="37"/>
                  <a:pt x="52" y="37"/>
                  <a:pt x="52" y="37"/>
                </a:cubicBezTo>
                <a:cubicBezTo>
                  <a:pt x="51" y="36"/>
                  <a:pt x="51" y="36"/>
                  <a:pt x="51" y="36"/>
                </a:cubicBezTo>
                <a:cubicBezTo>
                  <a:pt x="51" y="35"/>
                  <a:pt x="51" y="35"/>
                  <a:pt x="51" y="35"/>
                </a:cubicBezTo>
                <a:cubicBezTo>
                  <a:pt x="50" y="37"/>
                  <a:pt x="50" y="37"/>
                  <a:pt x="50" y="37"/>
                </a:cubicBezTo>
                <a:cubicBezTo>
                  <a:pt x="49" y="37"/>
                  <a:pt x="49" y="37"/>
                  <a:pt x="49" y="37"/>
                </a:cubicBezTo>
                <a:cubicBezTo>
                  <a:pt x="50" y="35"/>
                  <a:pt x="50" y="35"/>
                  <a:pt x="50" y="35"/>
                </a:cubicBezTo>
                <a:cubicBezTo>
                  <a:pt x="50" y="35"/>
                  <a:pt x="50" y="35"/>
                  <a:pt x="50" y="35"/>
                </a:cubicBezTo>
                <a:cubicBezTo>
                  <a:pt x="50" y="34"/>
                  <a:pt x="50" y="34"/>
                  <a:pt x="50" y="34"/>
                </a:cubicBezTo>
                <a:cubicBezTo>
                  <a:pt x="51" y="33"/>
                  <a:pt x="51" y="33"/>
                  <a:pt x="51" y="33"/>
                </a:cubicBezTo>
                <a:cubicBezTo>
                  <a:pt x="51" y="32"/>
                  <a:pt x="51" y="32"/>
                  <a:pt x="51" y="32"/>
                </a:cubicBezTo>
                <a:cubicBezTo>
                  <a:pt x="52" y="29"/>
                  <a:pt x="52" y="29"/>
                  <a:pt x="52" y="29"/>
                </a:cubicBezTo>
                <a:cubicBezTo>
                  <a:pt x="52" y="33"/>
                  <a:pt x="52" y="33"/>
                  <a:pt x="52" y="33"/>
                </a:cubicBezTo>
                <a:cubicBezTo>
                  <a:pt x="52" y="34"/>
                  <a:pt x="52" y="34"/>
                  <a:pt x="52" y="34"/>
                </a:cubicBezTo>
                <a:cubicBezTo>
                  <a:pt x="53" y="32"/>
                  <a:pt x="53" y="32"/>
                  <a:pt x="53" y="32"/>
                </a:cubicBezTo>
                <a:cubicBezTo>
                  <a:pt x="55" y="32"/>
                  <a:pt x="55" y="32"/>
                  <a:pt x="55" y="32"/>
                </a:cubicBezTo>
                <a:cubicBezTo>
                  <a:pt x="54" y="31"/>
                  <a:pt x="54" y="31"/>
                  <a:pt x="54" y="31"/>
                </a:cubicBezTo>
                <a:cubicBezTo>
                  <a:pt x="54" y="30"/>
                  <a:pt x="54" y="30"/>
                  <a:pt x="54" y="30"/>
                </a:cubicBezTo>
                <a:cubicBezTo>
                  <a:pt x="55" y="31"/>
                  <a:pt x="55" y="31"/>
                  <a:pt x="55" y="31"/>
                </a:cubicBezTo>
                <a:close/>
                <a:moveTo>
                  <a:pt x="55" y="29"/>
                </a:moveTo>
                <a:cubicBezTo>
                  <a:pt x="54" y="29"/>
                  <a:pt x="54" y="29"/>
                  <a:pt x="54" y="29"/>
                </a:cubicBezTo>
                <a:cubicBezTo>
                  <a:pt x="55" y="29"/>
                  <a:pt x="55" y="29"/>
                  <a:pt x="55" y="29"/>
                </a:cubicBezTo>
                <a:cubicBezTo>
                  <a:pt x="56" y="29"/>
                  <a:pt x="56" y="29"/>
                  <a:pt x="56" y="29"/>
                </a:cubicBezTo>
                <a:cubicBezTo>
                  <a:pt x="56" y="30"/>
                  <a:pt x="56" y="30"/>
                  <a:pt x="56" y="30"/>
                </a:cubicBezTo>
                <a:cubicBezTo>
                  <a:pt x="55" y="29"/>
                  <a:pt x="55" y="29"/>
                  <a:pt x="55" y="29"/>
                </a:cubicBezTo>
                <a:close/>
                <a:moveTo>
                  <a:pt x="58" y="31"/>
                </a:moveTo>
                <a:cubicBezTo>
                  <a:pt x="58" y="30"/>
                  <a:pt x="58" y="30"/>
                  <a:pt x="58" y="30"/>
                </a:cubicBezTo>
                <a:cubicBezTo>
                  <a:pt x="59" y="31"/>
                  <a:pt x="59" y="31"/>
                  <a:pt x="59" y="31"/>
                </a:cubicBezTo>
                <a:cubicBezTo>
                  <a:pt x="58" y="31"/>
                  <a:pt x="58" y="31"/>
                  <a:pt x="58" y="31"/>
                </a:cubicBezTo>
                <a:close/>
                <a:moveTo>
                  <a:pt x="62" y="25"/>
                </a:moveTo>
                <a:cubicBezTo>
                  <a:pt x="62" y="25"/>
                  <a:pt x="62" y="25"/>
                  <a:pt x="62" y="25"/>
                </a:cubicBezTo>
                <a:cubicBezTo>
                  <a:pt x="62" y="26"/>
                  <a:pt x="62" y="26"/>
                  <a:pt x="62" y="26"/>
                </a:cubicBezTo>
                <a:cubicBezTo>
                  <a:pt x="61" y="27"/>
                  <a:pt x="61" y="27"/>
                  <a:pt x="61" y="27"/>
                </a:cubicBezTo>
                <a:cubicBezTo>
                  <a:pt x="61" y="27"/>
                  <a:pt x="61" y="27"/>
                  <a:pt x="61" y="27"/>
                </a:cubicBezTo>
                <a:cubicBezTo>
                  <a:pt x="59" y="27"/>
                  <a:pt x="59" y="27"/>
                  <a:pt x="59" y="27"/>
                </a:cubicBezTo>
                <a:cubicBezTo>
                  <a:pt x="59" y="29"/>
                  <a:pt x="59" y="29"/>
                  <a:pt x="59" y="29"/>
                </a:cubicBezTo>
                <a:cubicBezTo>
                  <a:pt x="58" y="29"/>
                  <a:pt x="58" y="29"/>
                  <a:pt x="58" y="29"/>
                </a:cubicBezTo>
                <a:cubicBezTo>
                  <a:pt x="58" y="28"/>
                  <a:pt x="58" y="28"/>
                  <a:pt x="58" y="28"/>
                </a:cubicBezTo>
                <a:cubicBezTo>
                  <a:pt x="57" y="27"/>
                  <a:pt x="57" y="27"/>
                  <a:pt x="57" y="27"/>
                </a:cubicBezTo>
                <a:cubicBezTo>
                  <a:pt x="58" y="26"/>
                  <a:pt x="58" y="26"/>
                  <a:pt x="58" y="26"/>
                </a:cubicBezTo>
                <a:cubicBezTo>
                  <a:pt x="57" y="26"/>
                  <a:pt x="57" y="26"/>
                  <a:pt x="57" y="26"/>
                </a:cubicBezTo>
                <a:cubicBezTo>
                  <a:pt x="57" y="25"/>
                  <a:pt x="57" y="25"/>
                  <a:pt x="57" y="25"/>
                </a:cubicBezTo>
                <a:cubicBezTo>
                  <a:pt x="59" y="24"/>
                  <a:pt x="59" y="24"/>
                  <a:pt x="59" y="24"/>
                </a:cubicBezTo>
                <a:cubicBezTo>
                  <a:pt x="58" y="24"/>
                  <a:pt x="58" y="24"/>
                  <a:pt x="58" y="24"/>
                </a:cubicBezTo>
                <a:cubicBezTo>
                  <a:pt x="58" y="22"/>
                  <a:pt x="58" y="22"/>
                  <a:pt x="58" y="22"/>
                </a:cubicBezTo>
                <a:cubicBezTo>
                  <a:pt x="59" y="23"/>
                  <a:pt x="59" y="23"/>
                  <a:pt x="59" y="23"/>
                </a:cubicBezTo>
                <a:cubicBezTo>
                  <a:pt x="59" y="22"/>
                  <a:pt x="59" y="22"/>
                  <a:pt x="59" y="22"/>
                </a:cubicBezTo>
                <a:cubicBezTo>
                  <a:pt x="61" y="22"/>
                  <a:pt x="61" y="22"/>
                  <a:pt x="61" y="22"/>
                </a:cubicBezTo>
                <a:cubicBezTo>
                  <a:pt x="61" y="23"/>
                  <a:pt x="61" y="23"/>
                  <a:pt x="61" y="23"/>
                </a:cubicBezTo>
                <a:cubicBezTo>
                  <a:pt x="62" y="23"/>
                  <a:pt x="62" y="23"/>
                  <a:pt x="62" y="23"/>
                </a:cubicBezTo>
                <a:cubicBezTo>
                  <a:pt x="62" y="25"/>
                  <a:pt x="62" y="25"/>
                  <a:pt x="62" y="25"/>
                </a:cubicBezTo>
                <a:close/>
                <a:moveTo>
                  <a:pt x="62" y="21"/>
                </a:moveTo>
                <a:cubicBezTo>
                  <a:pt x="64" y="21"/>
                  <a:pt x="64" y="21"/>
                  <a:pt x="64" y="21"/>
                </a:cubicBezTo>
                <a:cubicBezTo>
                  <a:pt x="64" y="20"/>
                  <a:pt x="64" y="20"/>
                  <a:pt x="64" y="20"/>
                </a:cubicBezTo>
                <a:cubicBezTo>
                  <a:pt x="66" y="20"/>
                  <a:pt x="66" y="20"/>
                  <a:pt x="66" y="20"/>
                </a:cubicBezTo>
                <a:cubicBezTo>
                  <a:pt x="66" y="19"/>
                  <a:pt x="66" y="19"/>
                  <a:pt x="66" y="19"/>
                </a:cubicBezTo>
                <a:cubicBezTo>
                  <a:pt x="67" y="20"/>
                  <a:pt x="67" y="20"/>
                  <a:pt x="67" y="20"/>
                </a:cubicBezTo>
                <a:cubicBezTo>
                  <a:pt x="66" y="21"/>
                  <a:pt x="66" y="21"/>
                  <a:pt x="66" y="21"/>
                </a:cubicBezTo>
                <a:cubicBezTo>
                  <a:pt x="66" y="22"/>
                  <a:pt x="66" y="22"/>
                  <a:pt x="66" y="22"/>
                </a:cubicBezTo>
                <a:cubicBezTo>
                  <a:pt x="65" y="22"/>
                  <a:pt x="65" y="22"/>
                  <a:pt x="65" y="22"/>
                </a:cubicBezTo>
                <a:cubicBezTo>
                  <a:pt x="64" y="23"/>
                  <a:pt x="64" y="23"/>
                  <a:pt x="64" y="23"/>
                </a:cubicBezTo>
                <a:cubicBezTo>
                  <a:pt x="62" y="21"/>
                  <a:pt x="62" y="21"/>
                  <a:pt x="62" y="21"/>
                </a:cubicBezTo>
                <a:close/>
                <a:moveTo>
                  <a:pt x="67" y="14"/>
                </a:moveTo>
                <a:cubicBezTo>
                  <a:pt x="67" y="13"/>
                  <a:pt x="67" y="13"/>
                  <a:pt x="67" y="13"/>
                </a:cubicBezTo>
                <a:cubicBezTo>
                  <a:pt x="68" y="13"/>
                  <a:pt x="68" y="13"/>
                  <a:pt x="68" y="13"/>
                </a:cubicBezTo>
                <a:cubicBezTo>
                  <a:pt x="67" y="14"/>
                  <a:pt x="67" y="14"/>
                  <a:pt x="67" y="14"/>
                </a:cubicBezTo>
                <a:close/>
                <a:moveTo>
                  <a:pt x="65" y="16"/>
                </a:moveTo>
                <a:cubicBezTo>
                  <a:pt x="65" y="15"/>
                  <a:pt x="65" y="15"/>
                  <a:pt x="65" y="15"/>
                </a:cubicBezTo>
                <a:cubicBezTo>
                  <a:pt x="67" y="14"/>
                  <a:pt x="67" y="14"/>
                  <a:pt x="67" y="14"/>
                </a:cubicBezTo>
                <a:cubicBezTo>
                  <a:pt x="67" y="15"/>
                  <a:pt x="67" y="15"/>
                  <a:pt x="67" y="15"/>
                </a:cubicBezTo>
                <a:cubicBezTo>
                  <a:pt x="67" y="15"/>
                  <a:pt x="65" y="16"/>
                  <a:pt x="65" y="16"/>
                </a:cubicBezTo>
                <a:close/>
                <a:moveTo>
                  <a:pt x="69" y="19"/>
                </a:moveTo>
                <a:cubicBezTo>
                  <a:pt x="70" y="17"/>
                  <a:pt x="70" y="17"/>
                  <a:pt x="70" y="17"/>
                </a:cubicBezTo>
                <a:cubicBezTo>
                  <a:pt x="70" y="18"/>
                  <a:pt x="70" y="18"/>
                  <a:pt x="70" y="18"/>
                </a:cubicBezTo>
                <a:cubicBezTo>
                  <a:pt x="69" y="19"/>
                  <a:pt x="69" y="19"/>
                  <a:pt x="69" y="19"/>
                </a:cubicBezTo>
                <a:close/>
                <a:moveTo>
                  <a:pt x="69" y="18"/>
                </a:moveTo>
                <a:cubicBezTo>
                  <a:pt x="68" y="19"/>
                  <a:pt x="68" y="19"/>
                  <a:pt x="68" y="19"/>
                </a:cubicBezTo>
                <a:cubicBezTo>
                  <a:pt x="67" y="19"/>
                  <a:pt x="67" y="19"/>
                  <a:pt x="67" y="19"/>
                </a:cubicBezTo>
                <a:cubicBezTo>
                  <a:pt x="66" y="17"/>
                  <a:pt x="66" y="17"/>
                  <a:pt x="66" y="17"/>
                </a:cubicBezTo>
                <a:cubicBezTo>
                  <a:pt x="68" y="16"/>
                  <a:pt x="68" y="16"/>
                  <a:pt x="68" y="16"/>
                </a:cubicBezTo>
                <a:cubicBezTo>
                  <a:pt x="68" y="16"/>
                  <a:pt x="68" y="16"/>
                  <a:pt x="68" y="16"/>
                </a:cubicBezTo>
                <a:cubicBezTo>
                  <a:pt x="69" y="16"/>
                  <a:pt x="69" y="16"/>
                  <a:pt x="69" y="16"/>
                </a:cubicBezTo>
                <a:cubicBezTo>
                  <a:pt x="70" y="16"/>
                  <a:pt x="70" y="16"/>
                  <a:pt x="70" y="16"/>
                </a:cubicBezTo>
                <a:cubicBezTo>
                  <a:pt x="69" y="17"/>
                  <a:pt x="69" y="17"/>
                  <a:pt x="69" y="17"/>
                </a:cubicBezTo>
                <a:cubicBezTo>
                  <a:pt x="69" y="18"/>
                  <a:pt x="69" y="18"/>
                  <a:pt x="69" y="18"/>
                </a:cubicBezTo>
                <a:close/>
                <a:moveTo>
                  <a:pt x="72" y="15"/>
                </a:moveTo>
                <a:cubicBezTo>
                  <a:pt x="71" y="16"/>
                  <a:pt x="71" y="16"/>
                  <a:pt x="71" y="16"/>
                </a:cubicBezTo>
                <a:cubicBezTo>
                  <a:pt x="70" y="15"/>
                  <a:pt x="70" y="15"/>
                  <a:pt x="70" y="15"/>
                </a:cubicBezTo>
                <a:cubicBezTo>
                  <a:pt x="70" y="14"/>
                  <a:pt x="70" y="14"/>
                  <a:pt x="70" y="14"/>
                </a:cubicBezTo>
                <a:cubicBezTo>
                  <a:pt x="69" y="12"/>
                  <a:pt x="69" y="12"/>
                  <a:pt x="69" y="12"/>
                </a:cubicBezTo>
                <a:cubicBezTo>
                  <a:pt x="70" y="12"/>
                  <a:pt x="70" y="12"/>
                  <a:pt x="70" y="12"/>
                </a:cubicBezTo>
                <a:cubicBezTo>
                  <a:pt x="70" y="14"/>
                  <a:pt x="70" y="14"/>
                  <a:pt x="70" y="14"/>
                </a:cubicBezTo>
                <a:cubicBezTo>
                  <a:pt x="72" y="15"/>
                  <a:pt x="72" y="15"/>
                  <a:pt x="72" y="15"/>
                </a:cubicBezTo>
                <a:cubicBezTo>
                  <a:pt x="72" y="15"/>
                  <a:pt x="72" y="15"/>
                  <a:pt x="72" y="15"/>
                </a:cubicBezTo>
                <a:close/>
                <a:moveTo>
                  <a:pt x="75" y="17"/>
                </a:moveTo>
                <a:cubicBezTo>
                  <a:pt x="75" y="16"/>
                  <a:pt x="75" y="16"/>
                  <a:pt x="75" y="16"/>
                </a:cubicBezTo>
                <a:cubicBezTo>
                  <a:pt x="74" y="16"/>
                  <a:pt x="74" y="16"/>
                  <a:pt x="74" y="16"/>
                </a:cubicBezTo>
                <a:cubicBezTo>
                  <a:pt x="74" y="14"/>
                  <a:pt x="74" y="14"/>
                  <a:pt x="74" y="14"/>
                </a:cubicBezTo>
                <a:cubicBezTo>
                  <a:pt x="74" y="13"/>
                  <a:pt x="74" y="13"/>
                  <a:pt x="74" y="13"/>
                </a:cubicBezTo>
                <a:cubicBezTo>
                  <a:pt x="76" y="14"/>
                  <a:pt x="76" y="14"/>
                  <a:pt x="76" y="14"/>
                </a:cubicBezTo>
                <a:cubicBezTo>
                  <a:pt x="75" y="15"/>
                  <a:pt x="75" y="15"/>
                  <a:pt x="75" y="15"/>
                </a:cubicBezTo>
                <a:cubicBezTo>
                  <a:pt x="76" y="16"/>
                  <a:pt x="76" y="16"/>
                  <a:pt x="76" y="16"/>
                </a:cubicBezTo>
                <a:cubicBezTo>
                  <a:pt x="75" y="17"/>
                  <a:pt x="75" y="17"/>
                  <a:pt x="75" y="17"/>
                </a:cubicBezTo>
                <a:close/>
                <a:moveTo>
                  <a:pt x="85" y="12"/>
                </a:moveTo>
                <a:cubicBezTo>
                  <a:pt x="84" y="12"/>
                  <a:pt x="84" y="12"/>
                  <a:pt x="84" y="12"/>
                </a:cubicBezTo>
                <a:cubicBezTo>
                  <a:pt x="82" y="11"/>
                  <a:pt x="82" y="11"/>
                  <a:pt x="82" y="11"/>
                </a:cubicBezTo>
                <a:cubicBezTo>
                  <a:pt x="83" y="11"/>
                  <a:pt x="83" y="11"/>
                  <a:pt x="83" y="11"/>
                </a:cubicBezTo>
                <a:cubicBezTo>
                  <a:pt x="85" y="11"/>
                  <a:pt x="85" y="11"/>
                  <a:pt x="85" y="11"/>
                </a:cubicBezTo>
                <a:cubicBezTo>
                  <a:pt x="85" y="11"/>
                  <a:pt x="85" y="11"/>
                  <a:pt x="85" y="11"/>
                </a:cubicBezTo>
                <a:cubicBezTo>
                  <a:pt x="85" y="12"/>
                  <a:pt x="85" y="12"/>
                  <a:pt x="85" y="12"/>
                </a:cubicBezTo>
                <a:close/>
                <a:moveTo>
                  <a:pt x="86" y="11"/>
                </a:moveTo>
                <a:cubicBezTo>
                  <a:pt x="85" y="10"/>
                  <a:pt x="85" y="10"/>
                  <a:pt x="85" y="10"/>
                </a:cubicBezTo>
                <a:cubicBezTo>
                  <a:pt x="87" y="8"/>
                  <a:pt x="87" y="8"/>
                  <a:pt x="87" y="8"/>
                </a:cubicBezTo>
                <a:cubicBezTo>
                  <a:pt x="88" y="9"/>
                  <a:pt x="88" y="9"/>
                  <a:pt x="88" y="9"/>
                </a:cubicBezTo>
                <a:cubicBezTo>
                  <a:pt x="87" y="10"/>
                  <a:pt x="87" y="10"/>
                  <a:pt x="87" y="10"/>
                </a:cubicBezTo>
                <a:cubicBezTo>
                  <a:pt x="86" y="11"/>
                  <a:pt x="86" y="11"/>
                  <a:pt x="86" y="11"/>
                </a:cubicBezTo>
                <a:close/>
                <a:moveTo>
                  <a:pt x="84" y="9"/>
                </a:moveTo>
                <a:cubicBezTo>
                  <a:pt x="83" y="9"/>
                  <a:pt x="83" y="9"/>
                  <a:pt x="83" y="9"/>
                </a:cubicBezTo>
                <a:cubicBezTo>
                  <a:pt x="81" y="9"/>
                  <a:pt x="81" y="9"/>
                  <a:pt x="81" y="9"/>
                </a:cubicBezTo>
                <a:cubicBezTo>
                  <a:pt x="80" y="7"/>
                  <a:pt x="80" y="7"/>
                  <a:pt x="80" y="7"/>
                </a:cubicBezTo>
                <a:cubicBezTo>
                  <a:pt x="82" y="8"/>
                  <a:pt x="82" y="8"/>
                  <a:pt x="82" y="8"/>
                </a:cubicBezTo>
                <a:cubicBezTo>
                  <a:pt x="83" y="7"/>
                  <a:pt x="83" y="7"/>
                  <a:pt x="83" y="7"/>
                </a:cubicBezTo>
                <a:cubicBezTo>
                  <a:pt x="83" y="8"/>
                  <a:pt x="83" y="8"/>
                  <a:pt x="83" y="8"/>
                </a:cubicBezTo>
                <a:cubicBezTo>
                  <a:pt x="84" y="6"/>
                  <a:pt x="84" y="6"/>
                  <a:pt x="84" y="6"/>
                </a:cubicBezTo>
                <a:cubicBezTo>
                  <a:pt x="85" y="7"/>
                  <a:pt x="85" y="7"/>
                  <a:pt x="85" y="7"/>
                </a:cubicBezTo>
                <a:cubicBezTo>
                  <a:pt x="87" y="5"/>
                  <a:pt x="87" y="5"/>
                  <a:pt x="87" y="5"/>
                </a:cubicBezTo>
                <a:cubicBezTo>
                  <a:pt x="87" y="6"/>
                  <a:pt x="87" y="6"/>
                  <a:pt x="87" y="6"/>
                </a:cubicBezTo>
                <a:cubicBezTo>
                  <a:pt x="84" y="9"/>
                  <a:pt x="84" y="9"/>
                  <a:pt x="84" y="9"/>
                </a:cubicBezTo>
                <a:close/>
                <a:moveTo>
                  <a:pt x="88" y="6"/>
                </a:moveTo>
                <a:cubicBezTo>
                  <a:pt x="88" y="6"/>
                  <a:pt x="89" y="6"/>
                  <a:pt x="89" y="6"/>
                </a:cubicBezTo>
                <a:cubicBezTo>
                  <a:pt x="91" y="7"/>
                  <a:pt x="91" y="7"/>
                  <a:pt x="91" y="7"/>
                </a:cubicBezTo>
                <a:cubicBezTo>
                  <a:pt x="90" y="8"/>
                  <a:pt x="90" y="8"/>
                  <a:pt x="90" y="8"/>
                </a:cubicBezTo>
                <a:cubicBezTo>
                  <a:pt x="89" y="9"/>
                  <a:pt x="89" y="9"/>
                  <a:pt x="89" y="9"/>
                </a:cubicBezTo>
                <a:cubicBezTo>
                  <a:pt x="89" y="7"/>
                  <a:pt x="89" y="7"/>
                  <a:pt x="89" y="7"/>
                </a:cubicBezTo>
                <a:cubicBezTo>
                  <a:pt x="88" y="6"/>
                  <a:pt x="88" y="6"/>
                  <a:pt x="88" y="6"/>
                </a:cubicBezTo>
                <a:close/>
                <a:moveTo>
                  <a:pt x="91" y="3"/>
                </a:moveTo>
                <a:cubicBezTo>
                  <a:pt x="91" y="4"/>
                  <a:pt x="91" y="4"/>
                  <a:pt x="91" y="4"/>
                </a:cubicBezTo>
                <a:cubicBezTo>
                  <a:pt x="90" y="4"/>
                  <a:pt x="90" y="4"/>
                  <a:pt x="90" y="4"/>
                </a:cubicBezTo>
                <a:cubicBezTo>
                  <a:pt x="89" y="3"/>
                  <a:pt x="89" y="3"/>
                  <a:pt x="89" y="3"/>
                </a:cubicBezTo>
                <a:cubicBezTo>
                  <a:pt x="90" y="3"/>
                  <a:pt x="90" y="3"/>
                  <a:pt x="90" y="3"/>
                </a:cubicBezTo>
                <a:cubicBezTo>
                  <a:pt x="91" y="3"/>
                  <a:pt x="91" y="3"/>
                  <a:pt x="91" y="3"/>
                </a:cubicBezTo>
                <a:close/>
                <a:moveTo>
                  <a:pt x="94" y="2"/>
                </a:moveTo>
                <a:cubicBezTo>
                  <a:pt x="93" y="1"/>
                  <a:pt x="93" y="1"/>
                  <a:pt x="93" y="1"/>
                </a:cubicBezTo>
                <a:cubicBezTo>
                  <a:pt x="93" y="1"/>
                  <a:pt x="93" y="1"/>
                  <a:pt x="93" y="1"/>
                </a:cubicBezTo>
                <a:cubicBezTo>
                  <a:pt x="94" y="1"/>
                  <a:pt x="94" y="1"/>
                  <a:pt x="94" y="1"/>
                </a:cubicBezTo>
                <a:cubicBezTo>
                  <a:pt x="94" y="2"/>
                  <a:pt x="94" y="2"/>
                  <a:pt x="94" y="2"/>
                </a:cubicBezTo>
                <a:close/>
                <a:moveTo>
                  <a:pt x="96" y="2"/>
                </a:moveTo>
                <a:cubicBezTo>
                  <a:pt x="96" y="2"/>
                  <a:pt x="96" y="2"/>
                  <a:pt x="96" y="2"/>
                </a:cubicBezTo>
                <a:cubicBezTo>
                  <a:pt x="96" y="1"/>
                  <a:pt x="96" y="1"/>
                  <a:pt x="96" y="1"/>
                </a:cubicBezTo>
                <a:cubicBezTo>
                  <a:pt x="97" y="1"/>
                  <a:pt x="97" y="1"/>
                  <a:pt x="97" y="1"/>
                </a:cubicBezTo>
                <a:cubicBezTo>
                  <a:pt x="97" y="1"/>
                  <a:pt x="97" y="1"/>
                  <a:pt x="97" y="1"/>
                </a:cubicBezTo>
                <a:cubicBezTo>
                  <a:pt x="98" y="0"/>
                  <a:pt x="98" y="0"/>
                  <a:pt x="98" y="0"/>
                </a:cubicBezTo>
                <a:cubicBezTo>
                  <a:pt x="98" y="0"/>
                  <a:pt x="98" y="0"/>
                  <a:pt x="98" y="0"/>
                </a:cubicBezTo>
                <a:cubicBezTo>
                  <a:pt x="99" y="1"/>
                  <a:pt x="99" y="1"/>
                  <a:pt x="99" y="1"/>
                </a:cubicBezTo>
                <a:cubicBezTo>
                  <a:pt x="99" y="2"/>
                  <a:pt x="99" y="2"/>
                  <a:pt x="99" y="2"/>
                </a:cubicBezTo>
                <a:cubicBezTo>
                  <a:pt x="100" y="2"/>
                  <a:pt x="100" y="2"/>
                  <a:pt x="100" y="2"/>
                </a:cubicBezTo>
                <a:cubicBezTo>
                  <a:pt x="99" y="3"/>
                  <a:pt x="99" y="3"/>
                  <a:pt x="99" y="3"/>
                </a:cubicBezTo>
                <a:cubicBezTo>
                  <a:pt x="98" y="3"/>
                  <a:pt x="98" y="3"/>
                  <a:pt x="98" y="3"/>
                </a:cubicBezTo>
                <a:cubicBezTo>
                  <a:pt x="97" y="2"/>
                  <a:pt x="97" y="2"/>
                  <a:pt x="97" y="2"/>
                </a:cubicBezTo>
                <a:lnTo>
                  <a:pt x="96" y="2"/>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6" name="Freeform 44">
            <a:extLst>
              <a:ext uri="{FF2B5EF4-FFF2-40B4-BE49-F238E27FC236}">
                <a16:creationId xmlns:a16="http://schemas.microsoft.com/office/drawing/2014/main" id="{89FD7F2F-CD13-1839-AFAF-B688873840D2}"/>
              </a:ext>
            </a:extLst>
          </p:cNvPr>
          <p:cNvSpPr>
            <a:spLocks noEditPoints="1"/>
          </p:cNvSpPr>
          <p:nvPr userDrawn="1"/>
        </p:nvSpPr>
        <p:spPr bwMode="auto">
          <a:xfrm>
            <a:off x="13743678" y="4091856"/>
            <a:ext cx="615910" cy="1400176"/>
          </a:xfrm>
          <a:custGeom>
            <a:avLst/>
            <a:gdLst>
              <a:gd name="T0" fmla="*/ 7 w 194"/>
              <a:gd name="T1" fmla="*/ 319 h 441"/>
              <a:gd name="T2" fmla="*/ 19 w 194"/>
              <a:gd name="T3" fmla="*/ 297 h 441"/>
              <a:gd name="T4" fmla="*/ 22 w 194"/>
              <a:gd name="T5" fmla="*/ 260 h 441"/>
              <a:gd name="T6" fmla="*/ 10 w 194"/>
              <a:gd name="T7" fmla="*/ 216 h 441"/>
              <a:gd name="T8" fmla="*/ 28 w 194"/>
              <a:gd name="T9" fmla="*/ 179 h 441"/>
              <a:gd name="T10" fmla="*/ 38 w 194"/>
              <a:gd name="T11" fmla="*/ 125 h 441"/>
              <a:gd name="T12" fmla="*/ 53 w 194"/>
              <a:gd name="T13" fmla="*/ 97 h 441"/>
              <a:gd name="T14" fmla="*/ 63 w 194"/>
              <a:gd name="T15" fmla="*/ 57 h 441"/>
              <a:gd name="T16" fmla="*/ 85 w 194"/>
              <a:gd name="T17" fmla="*/ 38 h 441"/>
              <a:gd name="T18" fmla="*/ 91 w 194"/>
              <a:gd name="T19" fmla="*/ 25 h 441"/>
              <a:gd name="T20" fmla="*/ 116 w 194"/>
              <a:gd name="T21" fmla="*/ 22 h 441"/>
              <a:gd name="T22" fmla="*/ 122 w 194"/>
              <a:gd name="T23" fmla="*/ 10 h 441"/>
              <a:gd name="T24" fmla="*/ 132 w 194"/>
              <a:gd name="T25" fmla="*/ 3 h 441"/>
              <a:gd name="T26" fmla="*/ 166 w 194"/>
              <a:gd name="T27" fmla="*/ 25 h 441"/>
              <a:gd name="T28" fmla="*/ 178 w 194"/>
              <a:gd name="T29" fmla="*/ 41 h 441"/>
              <a:gd name="T30" fmla="*/ 182 w 194"/>
              <a:gd name="T31" fmla="*/ 66 h 441"/>
              <a:gd name="T32" fmla="*/ 188 w 194"/>
              <a:gd name="T33" fmla="*/ 100 h 441"/>
              <a:gd name="T34" fmla="*/ 188 w 194"/>
              <a:gd name="T35" fmla="*/ 116 h 441"/>
              <a:gd name="T36" fmla="*/ 169 w 194"/>
              <a:gd name="T37" fmla="*/ 116 h 441"/>
              <a:gd name="T38" fmla="*/ 157 w 194"/>
              <a:gd name="T39" fmla="*/ 119 h 441"/>
              <a:gd name="T40" fmla="*/ 157 w 194"/>
              <a:gd name="T41" fmla="*/ 135 h 441"/>
              <a:gd name="T42" fmla="*/ 157 w 194"/>
              <a:gd name="T43" fmla="*/ 138 h 441"/>
              <a:gd name="T44" fmla="*/ 157 w 194"/>
              <a:gd name="T45" fmla="*/ 157 h 441"/>
              <a:gd name="T46" fmla="*/ 150 w 194"/>
              <a:gd name="T47" fmla="*/ 175 h 441"/>
              <a:gd name="T48" fmla="*/ 135 w 194"/>
              <a:gd name="T49" fmla="*/ 194 h 441"/>
              <a:gd name="T50" fmla="*/ 122 w 194"/>
              <a:gd name="T51" fmla="*/ 207 h 441"/>
              <a:gd name="T52" fmla="*/ 110 w 194"/>
              <a:gd name="T53" fmla="*/ 210 h 441"/>
              <a:gd name="T54" fmla="*/ 100 w 194"/>
              <a:gd name="T55" fmla="*/ 229 h 441"/>
              <a:gd name="T56" fmla="*/ 97 w 194"/>
              <a:gd name="T57" fmla="*/ 250 h 441"/>
              <a:gd name="T58" fmla="*/ 97 w 194"/>
              <a:gd name="T59" fmla="*/ 266 h 441"/>
              <a:gd name="T60" fmla="*/ 100 w 194"/>
              <a:gd name="T61" fmla="*/ 285 h 441"/>
              <a:gd name="T62" fmla="*/ 119 w 194"/>
              <a:gd name="T63" fmla="*/ 297 h 441"/>
              <a:gd name="T64" fmla="*/ 119 w 194"/>
              <a:gd name="T65" fmla="*/ 326 h 441"/>
              <a:gd name="T66" fmla="*/ 100 w 194"/>
              <a:gd name="T67" fmla="*/ 319 h 441"/>
              <a:gd name="T68" fmla="*/ 85 w 194"/>
              <a:gd name="T69" fmla="*/ 322 h 441"/>
              <a:gd name="T70" fmla="*/ 97 w 194"/>
              <a:gd name="T71" fmla="*/ 326 h 441"/>
              <a:gd name="T72" fmla="*/ 119 w 194"/>
              <a:gd name="T73" fmla="*/ 332 h 441"/>
              <a:gd name="T74" fmla="*/ 110 w 194"/>
              <a:gd name="T75" fmla="*/ 335 h 441"/>
              <a:gd name="T76" fmla="*/ 97 w 194"/>
              <a:gd name="T77" fmla="*/ 347 h 441"/>
              <a:gd name="T78" fmla="*/ 91 w 194"/>
              <a:gd name="T79" fmla="*/ 357 h 441"/>
              <a:gd name="T80" fmla="*/ 94 w 194"/>
              <a:gd name="T81" fmla="*/ 372 h 441"/>
              <a:gd name="T82" fmla="*/ 94 w 194"/>
              <a:gd name="T83" fmla="*/ 397 h 441"/>
              <a:gd name="T84" fmla="*/ 78 w 194"/>
              <a:gd name="T85" fmla="*/ 419 h 441"/>
              <a:gd name="T86" fmla="*/ 57 w 194"/>
              <a:gd name="T87" fmla="*/ 435 h 441"/>
              <a:gd name="T88" fmla="*/ 35 w 194"/>
              <a:gd name="T89" fmla="*/ 438 h 441"/>
              <a:gd name="T90" fmla="*/ 35 w 194"/>
              <a:gd name="T91" fmla="*/ 413 h 441"/>
              <a:gd name="T92" fmla="*/ 16 w 194"/>
              <a:gd name="T93" fmla="*/ 388 h 441"/>
              <a:gd name="T94" fmla="*/ 10 w 194"/>
              <a:gd name="T95" fmla="*/ 369 h 441"/>
              <a:gd name="T96" fmla="*/ 7 w 194"/>
              <a:gd name="T97" fmla="*/ 360 h 441"/>
              <a:gd name="T98" fmla="*/ 0 w 194"/>
              <a:gd name="T99" fmla="*/ 347 h 441"/>
              <a:gd name="T100" fmla="*/ 122 w 194"/>
              <a:gd name="T101" fmla="*/ 332 h 441"/>
              <a:gd name="T102" fmla="*/ 7 w 194"/>
              <a:gd name="T103" fmla="*/ 366 h 441"/>
              <a:gd name="T104" fmla="*/ 138 w 194"/>
              <a:gd name="T105" fmla="*/ 357 h 441"/>
              <a:gd name="T106" fmla="*/ 141 w 194"/>
              <a:gd name="T107" fmla="*/ 372 h 441"/>
              <a:gd name="T108" fmla="*/ 128 w 194"/>
              <a:gd name="T109" fmla="*/ 401 h 441"/>
              <a:gd name="T110" fmla="*/ 135 w 194"/>
              <a:gd name="T111" fmla="*/ 385 h 441"/>
              <a:gd name="T112" fmla="*/ 128 w 194"/>
              <a:gd name="T113" fmla="*/ 376 h 441"/>
              <a:gd name="T114" fmla="*/ 125 w 194"/>
              <a:gd name="T115" fmla="*/ 394 h 441"/>
              <a:gd name="T116" fmla="*/ 94 w 194"/>
              <a:gd name="T117" fmla="*/ 419 h 441"/>
              <a:gd name="T118" fmla="*/ 100 w 194"/>
              <a:gd name="T119" fmla="*/ 39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4" h="441">
                <a:moveTo>
                  <a:pt x="3" y="338"/>
                </a:moveTo>
                <a:lnTo>
                  <a:pt x="7" y="341"/>
                </a:lnTo>
                <a:lnTo>
                  <a:pt x="7" y="344"/>
                </a:lnTo>
                <a:lnTo>
                  <a:pt x="10" y="341"/>
                </a:lnTo>
                <a:lnTo>
                  <a:pt x="10" y="329"/>
                </a:lnTo>
                <a:lnTo>
                  <a:pt x="7" y="322"/>
                </a:lnTo>
                <a:lnTo>
                  <a:pt x="7" y="319"/>
                </a:lnTo>
                <a:lnTo>
                  <a:pt x="10" y="316"/>
                </a:lnTo>
                <a:lnTo>
                  <a:pt x="10" y="313"/>
                </a:lnTo>
                <a:lnTo>
                  <a:pt x="10" y="310"/>
                </a:lnTo>
                <a:lnTo>
                  <a:pt x="16" y="310"/>
                </a:lnTo>
                <a:lnTo>
                  <a:pt x="16" y="307"/>
                </a:lnTo>
                <a:lnTo>
                  <a:pt x="16" y="304"/>
                </a:lnTo>
                <a:lnTo>
                  <a:pt x="19" y="297"/>
                </a:lnTo>
                <a:lnTo>
                  <a:pt x="16" y="294"/>
                </a:lnTo>
                <a:lnTo>
                  <a:pt x="16" y="285"/>
                </a:lnTo>
                <a:lnTo>
                  <a:pt x="13" y="279"/>
                </a:lnTo>
                <a:lnTo>
                  <a:pt x="13" y="275"/>
                </a:lnTo>
                <a:lnTo>
                  <a:pt x="22" y="272"/>
                </a:lnTo>
                <a:lnTo>
                  <a:pt x="22" y="266"/>
                </a:lnTo>
                <a:lnTo>
                  <a:pt x="22" y="260"/>
                </a:lnTo>
                <a:lnTo>
                  <a:pt x="16" y="254"/>
                </a:lnTo>
                <a:lnTo>
                  <a:pt x="10" y="250"/>
                </a:lnTo>
                <a:lnTo>
                  <a:pt x="10" y="244"/>
                </a:lnTo>
                <a:lnTo>
                  <a:pt x="13" y="235"/>
                </a:lnTo>
                <a:lnTo>
                  <a:pt x="10" y="229"/>
                </a:lnTo>
                <a:lnTo>
                  <a:pt x="10" y="222"/>
                </a:lnTo>
                <a:lnTo>
                  <a:pt x="10" y="216"/>
                </a:lnTo>
                <a:lnTo>
                  <a:pt x="10" y="207"/>
                </a:lnTo>
                <a:lnTo>
                  <a:pt x="7" y="197"/>
                </a:lnTo>
                <a:lnTo>
                  <a:pt x="10" y="188"/>
                </a:lnTo>
                <a:lnTo>
                  <a:pt x="13" y="179"/>
                </a:lnTo>
                <a:lnTo>
                  <a:pt x="16" y="175"/>
                </a:lnTo>
                <a:lnTo>
                  <a:pt x="22" y="179"/>
                </a:lnTo>
                <a:lnTo>
                  <a:pt x="28" y="179"/>
                </a:lnTo>
                <a:lnTo>
                  <a:pt x="32" y="172"/>
                </a:lnTo>
                <a:lnTo>
                  <a:pt x="32" y="166"/>
                </a:lnTo>
                <a:lnTo>
                  <a:pt x="32" y="163"/>
                </a:lnTo>
                <a:lnTo>
                  <a:pt x="32" y="160"/>
                </a:lnTo>
                <a:lnTo>
                  <a:pt x="38" y="141"/>
                </a:lnTo>
                <a:lnTo>
                  <a:pt x="38" y="132"/>
                </a:lnTo>
                <a:lnTo>
                  <a:pt x="38" y="125"/>
                </a:lnTo>
                <a:lnTo>
                  <a:pt x="41" y="119"/>
                </a:lnTo>
                <a:lnTo>
                  <a:pt x="41" y="113"/>
                </a:lnTo>
                <a:lnTo>
                  <a:pt x="38" y="110"/>
                </a:lnTo>
                <a:lnTo>
                  <a:pt x="38" y="107"/>
                </a:lnTo>
                <a:lnTo>
                  <a:pt x="44" y="103"/>
                </a:lnTo>
                <a:lnTo>
                  <a:pt x="50" y="100"/>
                </a:lnTo>
                <a:lnTo>
                  <a:pt x="53" y="97"/>
                </a:lnTo>
                <a:lnTo>
                  <a:pt x="53" y="94"/>
                </a:lnTo>
                <a:lnTo>
                  <a:pt x="60" y="85"/>
                </a:lnTo>
                <a:lnTo>
                  <a:pt x="66" y="78"/>
                </a:lnTo>
                <a:lnTo>
                  <a:pt x="66" y="72"/>
                </a:lnTo>
                <a:lnTo>
                  <a:pt x="66" y="66"/>
                </a:lnTo>
                <a:lnTo>
                  <a:pt x="63" y="66"/>
                </a:lnTo>
                <a:lnTo>
                  <a:pt x="63" y="57"/>
                </a:lnTo>
                <a:lnTo>
                  <a:pt x="66" y="53"/>
                </a:lnTo>
                <a:lnTo>
                  <a:pt x="69" y="50"/>
                </a:lnTo>
                <a:lnTo>
                  <a:pt x="69" y="47"/>
                </a:lnTo>
                <a:lnTo>
                  <a:pt x="72" y="44"/>
                </a:lnTo>
                <a:lnTo>
                  <a:pt x="75" y="38"/>
                </a:lnTo>
                <a:lnTo>
                  <a:pt x="78" y="35"/>
                </a:lnTo>
                <a:lnTo>
                  <a:pt x="85" y="38"/>
                </a:lnTo>
                <a:lnTo>
                  <a:pt x="85" y="41"/>
                </a:lnTo>
                <a:lnTo>
                  <a:pt x="88" y="38"/>
                </a:lnTo>
                <a:lnTo>
                  <a:pt x="91" y="38"/>
                </a:lnTo>
                <a:lnTo>
                  <a:pt x="88" y="31"/>
                </a:lnTo>
                <a:lnTo>
                  <a:pt x="91" y="31"/>
                </a:lnTo>
                <a:lnTo>
                  <a:pt x="91" y="28"/>
                </a:lnTo>
                <a:lnTo>
                  <a:pt x="91" y="25"/>
                </a:lnTo>
                <a:lnTo>
                  <a:pt x="88" y="22"/>
                </a:lnTo>
                <a:lnTo>
                  <a:pt x="91" y="19"/>
                </a:lnTo>
                <a:lnTo>
                  <a:pt x="97" y="19"/>
                </a:lnTo>
                <a:lnTo>
                  <a:pt x="100" y="16"/>
                </a:lnTo>
                <a:lnTo>
                  <a:pt x="107" y="19"/>
                </a:lnTo>
                <a:lnTo>
                  <a:pt x="110" y="22"/>
                </a:lnTo>
                <a:lnTo>
                  <a:pt x="116" y="22"/>
                </a:lnTo>
                <a:lnTo>
                  <a:pt x="119" y="25"/>
                </a:lnTo>
                <a:lnTo>
                  <a:pt x="119" y="22"/>
                </a:lnTo>
                <a:lnTo>
                  <a:pt x="122" y="25"/>
                </a:lnTo>
                <a:lnTo>
                  <a:pt x="122" y="19"/>
                </a:lnTo>
                <a:lnTo>
                  <a:pt x="119" y="16"/>
                </a:lnTo>
                <a:lnTo>
                  <a:pt x="119" y="10"/>
                </a:lnTo>
                <a:lnTo>
                  <a:pt x="122" y="10"/>
                </a:lnTo>
                <a:lnTo>
                  <a:pt x="122" y="6"/>
                </a:lnTo>
                <a:lnTo>
                  <a:pt x="119" y="3"/>
                </a:lnTo>
                <a:lnTo>
                  <a:pt x="119" y="0"/>
                </a:lnTo>
                <a:lnTo>
                  <a:pt x="122" y="0"/>
                </a:lnTo>
                <a:lnTo>
                  <a:pt x="128" y="0"/>
                </a:lnTo>
                <a:lnTo>
                  <a:pt x="128" y="0"/>
                </a:lnTo>
                <a:lnTo>
                  <a:pt x="132" y="3"/>
                </a:lnTo>
                <a:lnTo>
                  <a:pt x="138" y="6"/>
                </a:lnTo>
                <a:lnTo>
                  <a:pt x="144" y="13"/>
                </a:lnTo>
                <a:lnTo>
                  <a:pt x="150" y="16"/>
                </a:lnTo>
                <a:lnTo>
                  <a:pt x="157" y="19"/>
                </a:lnTo>
                <a:lnTo>
                  <a:pt x="160" y="19"/>
                </a:lnTo>
                <a:lnTo>
                  <a:pt x="163" y="19"/>
                </a:lnTo>
                <a:lnTo>
                  <a:pt x="166" y="25"/>
                </a:lnTo>
                <a:lnTo>
                  <a:pt x="169" y="28"/>
                </a:lnTo>
                <a:lnTo>
                  <a:pt x="169" y="28"/>
                </a:lnTo>
                <a:lnTo>
                  <a:pt x="172" y="28"/>
                </a:lnTo>
                <a:lnTo>
                  <a:pt x="175" y="35"/>
                </a:lnTo>
                <a:lnTo>
                  <a:pt x="178" y="35"/>
                </a:lnTo>
                <a:lnTo>
                  <a:pt x="178" y="38"/>
                </a:lnTo>
                <a:lnTo>
                  <a:pt x="178" y="41"/>
                </a:lnTo>
                <a:lnTo>
                  <a:pt x="178" y="44"/>
                </a:lnTo>
                <a:lnTo>
                  <a:pt x="175" y="50"/>
                </a:lnTo>
                <a:lnTo>
                  <a:pt x="178" y="53"/>
                </a:lnTo>
                <a:lnTo>
                  <a:pt x="182" y="53"/>
                </a:lnTo>
                <a:lnTo>
                  <a:pt x="185" y="60"/>
                </a:lnTo>
                <a:lnTo>
                  <a:pt x="182" y="63"/>
                </a:lnTo>
                <a:lnTo>
                  <a:pt x="182" y="66"/>
                </a:lnTo>
                <a:lnTo>
                  <a:pt x="185" y="69"/>
                </a:lnTo>
                <a:lnTo>
                  <a:pt x="185" y="78"/>
                </a:lnTo>
                <a:lnTo>
                  <a:pt x="185" y="82"/>
                </a:lnTo>
                <a:lnTo>
                  <a:pt x="185" y="85"/>
                </a:lnTo>
                <a:lnTo>
                  <a:pt x="185" y="91"/>
                </a:lnTo>
                <a:lnTo>
                  <a:pt x="185" y="94"/>
                </a:lnTo>
                <a:lnTo>
                  <a:pt x="188" y="100"/>
                </a:lnTo>
                <a:lnTo>
                  <a:pt x="191" y="100"/>
                </a:lnTo>
                <a:lnTo>
                  <a:pt x="194" y="107"/>
                </a:lnTo>
                <a:lnTo>
                  <a:pt x="194" y="110"/>
                </a:lnTo>
                <a:lnTo>
                  <a:pt x="194" y="116"/>
                </a:lnTo>
                <a:lnTo>
                  <a:pt x="194" y="116"/>
                </a:lnTo>
                <a:lnTo>
                  <a:pt x="194" y="116"/>
                </a:lnTo>
                <a:lnTo>
                  <a:pt x="188" y="116"/>
                </a:lnTo>
                <a:lnTo>
                  <a:pt x="188" y="113"/>
                </a:lnTo>
                <a:lnTo>
                  <a:pt x="182" y="116"/>
                </a:lnTo>
                <a:lnTo>
                  <a:pt x="178" y="116"/>
                </a:lnTo>
                <a:lnTo>
                  <a:pt x="178" y="119"/>
                </a:lnTo>
                <a:lnTo>
                  <a:pt x="175" y="116"/>
                </a:lnTo>
                <a:lnTo>
                  <a:pt x="172" y="113"/>
                </a:lnTo>
                <a:lnTo>
                  <a:pt x="169" y="116"/>
                </a:lnTo>
                <a:lnTo>
                  <a:pt x="166" y="113"/>
                </a:lnTo>
                <a:lnTo>
                  <a:pt x="166" y="116"/>
                </a:lnTo>
                <a:lnTo>
                  <a:pt x="166" y="119"/>
                </a:lnTo>
                <a:lnTo>
                  <a:pt x="163" y="122"/>
                </a:lnTo>
                <a:lnTo>
                  <a:pt x="160" y="122"/>
                </a:lnTo>
                <a:lnTo>
                  <a:pt x="160" y="119"/>
                </a:lnTo>
                <a:lnTo>
                  <a:pt x="157" y="119"/>
                </a:lnTo>
                <a:lnTo>
                  <a:pt x="160" y="122"/>
                </a:lnTo>
                <a:lnTo>
                  <a:pt x="160" y="125"/>
                </a:lnTo>
                <a:lnTo>
                  <a:pt x="157" y="128"/>
                </a:lnTo>
                <a:lnTo>
                  <a:pt x="153" y="128"/>
                </a:lnTo>
                <a:lnTo>
                  <a:pt x="150" y="128"/>
                </a:lnTo>
                <a:lnTo>
                  <a:pt x="157" y="132"/>
                </a:lnTo>
                <a:lnTo>
                  <a:pt x="157" y="135"/>
                </a:lnTo>
                <a:lnTo>
                  <a:pt x="153" y="135"/>
                </a:lnTo>
                <a:lnTo>
                  <a:pt x="153" y="132"/>
                </a:lnTo>
                <a:lnTo>
                  <a:pt x="150" y="132"/>
                </a:lnTo>
                <a:lnTo>
                  <a:pt x="150" y="132"/>
                </a:lnTo>
                <a:lnTo>
                  <a:pt x="150" y="135"/>
                </a:lnTo>
                <a:lnTo>
                  <a:pt x="153" y="135"/>
                </a:lnTo>
                <a:lnTo>
                  <a:pt x="157" y="138"/>
                </a:lnTo>
                <a:lnTo>
                  <a:pt x="153" y="141"/>
                </a:lnTo>
                <a:lnTo>
                  <a:pt x="150" y="147"/>
                </a:lnTo>
                <a:lnTo>
                  <a:pt x="153" y="150"/>
                </a:lnTo>
                <a:lnTo>
                  <a:pt x="147" y="150"/>
                </a:lnTo>
                <a:lnTo>
                  <a:pt x="150" y="153"/>
                </a:lnTo>
                <a:lnTo>
                  <a:pt x="153" y="153"/>
                </a:lnTo>
                <a:lnTo>
                  <a:pt x="157" y="157"/>
                </a:lnTo>
                <a:lnTo>
                  <a:pt x="153" y="157"/>
                </a:lnTo>
                <a:lnTo>
                  <a:pt x="157" y="160"/>
                </a:lnTo>
                <a:lnTo>
                  <a:pt x="160" y="160"/>
                </a:lnTo>
                <a:lnTo>
                  <a:pt x="153" y="166"/>
                </a:lnTo>
                <a:lnTo>
                  <a:pt x="153" y="166"/>
                </a:lnTo>
                <a:lnTo>
                  <a:pt x="150" y="169"/>
                </a:lnTo>
                <a:lnTo>
                  <a:pt x="150" y="175"/>
                </a:lnTo>
                <a:lnTo>
                  <a:pt x="147" y="182"/>
                </a:lnTo>
                <a:lnTo>
                  <a:pt x="144" y="182"/>
                </a:lnTo>
                <a:lnTo>
                  <a:pt x="141" y="188"/>
                </a:lnTo>
                <a:lnTo>
                  <a:pt x="138" y="185"/>
                </a:lnTo>
                <a:lnTo>
                  <a:pt x="138" y="188"/>
                </a:lnTo>
                <a:lnTo>
                  <a:pt x="138" y="191"/>
                </a:lnTo>
                <a:lnTo>
                  <a:pt x="135" y="194"/>
                </a:lnTo>
                <a:lnTo>
                  <a:pt x="132" y="197"/>
                </a:lnTo>
                <a:lnTo>
                  <a:pt x="128" y="197"/>
                </a:lnTo>
                <a:lnTo>
                  <a:pt x="128" y="194"/>
                </a:lnTo>
                <a:lnTo>
                  <a:pt x="125" y="194"/>
                </a:lnTo>
                <a:lnTo>
                  <a:pt x="125" y="197"/>
                </a:lnTo>
                <a:lnTo>
                  <a:pt x="125" y="204"/>
                </a:lnTo>
                <a:lnTo>
                  <a:pt x="122" y="207"/>
                </a:lnTo>
                <a:lnTo>
                  <a:pt x="119" y="204"/>
                </a:lnTo>
                <a:lnTo>
                  <a:pt x="119" y="204"/>
                </a:lnTo>
                <a:lnTo>
                  <a:pt x="116" y="207"/>
                </a:lnTo>
                <a:lnTo>
                  <a:pt x="116" y="207"/>
                </a:lnTo>
                <a:lnTo>
                  <a:pt x="113" y="207"/>
                </a:lnTo>
                <a:lnTo>
                  <a:pt x="110" y="207"/>
                </a:lnTo>
                <a:lnTo>
                  <a:pt x="110" y="210"/>
                </a:lnTo>
                <a:lnTo>
                  <a:pt x="113" y="213"/>
                </a:lnTo>
                <a:lnTo>
                  <a:pt x="113" y="213"/>
                </a:lnTo>
                <a:lnTo>
                  <a:pt x="107" y="219"/>
                </a:lnTo>
                <a:lnTo>
                  <a:pt x="103" y="219"/>
                </a:lnTo>
                <a:lnTo>
                  <a:pt x="103" y="219"/>
                </a:lnTo>
                <a:lnTo>
                  <a:pt x="103" y="222"/>
                </a:lnTo>
                <a:lnTo>
                  <a:pt x="100" y="229"/>
                </a:lnTo>
                <a:lnTo>
                  <a:pt x="94" y="229"/>
                </a:lnTo>
                <a:lnTo>
                  <a:pt x="91" y="229"/>
                </a:lnTo>
                <a:lnTo>
                  <a:pt x="97" y="235"/>
                </a:lnTo>
                <a:lnTo>
                  <a:pt x="97" y="238"/>
                </a:lnTo>
                <a:lnTo>
                  <a:pt x="97" y="241"/>
                </a:lnTo>
                <a:lnTo>
                  <a:pt x="97" y="244"/>
                </a:lnTo>
                <a:lnTo>
                  <a:pt x="97" y="250"/>
                </a:lnTo>
                <a:lnTo>
                  <a:pt x="97" y="254"/>
                </a:lnTo>
                <a:lnTo>
                  <a:pt x="97" y="257"/>
                </a:lnTo>
                <a:lnTo>
                  <a:pt x="97" y="254"/>
                </a:lnTo>
                <a:lnTo>
                  <a:pt x="94" y="257"/>
                </a:lnTo>
                <a:lnTo>
                  <a:pt x="97" y="263"/>
                </a:lnTo>
                <a:lnTo>
                  <a:pt x="94" y="266"/>
                </a:lnTo>
                <a:lnTo>
                  <a:pt x="97" y="266"/>
                </a:lnTo>
                <a:lnTo>
                  <a:pt x="97" y="269"/>
                </a:lnTo>
                <a:lnTo>
                  <a:pt x="94" y="269"/>
                </a:lnTo>
                <a:lnTo>
                  <a:pt x="97" y="275"/>
                </a:lnTo>
                <a:lnTo>
                  <a:pt x="94" y="279"/>
                </a:lnTo>
                <a:lnTo>
                  <a:pt x="97" y="282"/>
                </a:lnTo>
                <a:lnTo>
                  <a:pt x="97" y="282"/>
                </a:lnTo>
                <a:lnTo>
                  <a:pt x="100" y="285"/>
                </a:lnTo>
                <a:lnTo>
                  <a:pt x="100" y="288"/>
                </a:lnTo>
                <a:lnTo>
                  <a:pt x="103" y="285"/>
                </a:lnTo>
                <a:lnTo>
                  <a:pt x="103" y="291"/>
                </a:lnTo>
                <a:lnTo>
                  <a:pt x="107" y="285"/>
                </a:lnTo>
                <a:lnTo>
                  <a:pt x="110" y="288"/>
                </a:lnTo>
                <a:lnTo>
                  <a:pt x="113" y="291"/>
                </a:lnTo>
                <a:lnTo>
                  <a:pt x="119" y="297"/>
                </a:lnTo>
                <a:lnTo>
                  <a:pt x="116" y="301"/>
                </a:lnTo>
                <a:lnTo>
                  <a:pt x="122" y="304"/>
                </a:lnTo>
                <a:lnTo>
                  <a:pt x="122" y="307"/>
                </a:lnTo>
                <a:lnTo>
                  <a:pt x="128" y="310"/>
                </a:lnTo>
                <a:lnTo>
                  <a:pt x="125" y="316"/>
                </a:lnTo>
                <a:lnTo>
                  <a:pt x="119" y="319"/>
                </a:lnTo>
                <a:lnTo>
                  <a:pt x="119" y="326"/>
                </a:lnTo>
                <a:lnTo>
                  <a:pt x="113" y="326"/>
                </a:lnTo>
                <a:lnTo>
                  <a:pt x="110" y="322"/>
                </a:lnTo>
                <a:lnTo>
                  <a:pt x="110" y="322"/>
                </a:lnTo>
                <a:lnTo>
                  <a:pt x="107" y="319"/>
                </a:lnTo>
                <a:lnTo>
                  <a:pt x="103" y="319"/>
                </a:lnTo>
                <a:lnTo>
                  <a:pt x="103" y="319"/>
                </a:lnTo>
                <a:lnTo>
                  <a:pt x="100" y="319"/>
                </a:lnTo>
                <a:lnTo>
                  <a:pt x="100" y="319"/>
                </a:lnTo>
                <a:lnTo>
                  <a:pt x="97" y="319"/>
                </a:lnTo>
                <a:lnTo>
                  <a:pt x="94" y="319"/>
                </a:lnTo>
                <a:lnTo>
                  <a:pt x="91" y="322"/>
                </a:lnTo>
                <a:lnTo>
                  <a:pt x="91" y="319"/>
                </a:lnTo>
                <a:lnTo>
                  <a:pt x="88" y="322"/>
                </a:lnTo>
                <a:lnTo>
                  <a:pt x="85" y="322"/>
                </a:lnTo>
                <a:lnTo>
                  <a:pt x="82" y="322"/>
                </a:lnTo>
                <a:lnTo>
                  <a:pt x="82" y="326"/>
                </a:lnTo>
                <a:lnTo>
                  <a:pt x="88" y="326"/>
                </a:lnTo>
                <a:lnTo>
                  <a:pt x="88" y="326"/>
                </a:lnTo>
                <a:lnTo>
                  <a:pt x="88" y="326"/>
                </a:lnTo>
                <a:lnTo>
                  <a:pt x="94" y="326"/>
                </a:lnTo>
                <a:lnTo>
                  <a:pt x="97" y="326"/>
                </a:lnTo>
                <a:lnTo>
                  <a:pt x="100" y="326"/>
                </a:lnTo>
                <a:lnTo>
                  <a:pt x="103" y="329"/>
                </a:lnTo>
                <a:lnTo>
                  <a:pt x="107" y="329"/>
                </a:lnTo>
                <a:lnTo>
                  <a:pt x="110" y="329"/>
                </a:lnTo>
                <a:lnTo>
                  <a:pt x="113" y="326"/>
                </a:lnTo>
                <a:lnTo>
                  <a:pt x="116" y="329"/>
                </a:lnTo>
                <a:lnTo>
                  <a:pt x="119" y="332"/>
                </a:lnTo>
                <a:lnTo>
                  <a:pt x="119" y="335"/>
                </a:lnTo>
                <a:lnTo>
                  <a:pt x="116" y="335"/>
                </a:lnTo>
                <a:lnTo>
                  <a:pt x="116" y="335"/>
                </a:lnTo>
                <a:lnTo>
                  <a:pt x="110" y="341"/>
                </a:lnTo>
                <a:lnTo>
                  <a:pt x="110" y="341"/>
                </a:lnTo>
                <a:lnTo>
                  <a:pt x="110" y="338"/>
                </a:lnTo>
                <a:lnTo>
                  <a:pt x="110" y="335"/>
                </a:lnTo>
                <a:lnTo>
                  <a:pt x="107" y="338"/>
                </a:lnTo>
                <a:lnTo>
                  <a:pt x="107" y="341"/>
                </a:lnTo>
                <a:lnTo>
                  <a:pt x="103" y="341"/>
                </a:lnTo>
                <a:lnTo>
                  <a:pt x="103" y="344"/>
                </a:lnTo>
                <a:lnTo>
                  <a:pt x="100" y="347"/>
                </a:lnTo>
                <a:lnTo>
                  <a:pt x="97" y="344"/>
                </a:lnTo>
                <a:lnTo>
                  <a:pt x="97" y="347"/>
                </a:lnTo>
                <a:lnTo>
                  <a:pt x="97" y="351"/>
                </a:lnTo>
                <a:lnTo>
                  <a:pt x="94" y="351"/>
                </a:lnTo>
                <a:lnTo>
                  <a:pt x="94" y="351"/>
                </a:lnTo>
                <a:lnTo>
                  <a:pt x="91" y="351"/>
                </a:lnTo>
                <a:lnTo>
                  <a:pt x="94" y="354"/>
                </a:lnTo>
                <a:lnTo>
                  <a:pt x="97" y="357"/>
                </a:lnTo>
                <a:lnTo>
                  <a:pt x="91" y="357"/>
                </a:lnTo>
                <a:lnTo>
                  <a:pt x="97" y="360"/>
                </a:lnTo>
                <a:lnTo>
                  <a:pt x="97" y="360"/>
                </a:lnTo>
                <a:lnTo>
                  <a:pt x="94" y="366"/>
                </a:lnTo>
                <a:lnTo>
                  <a:pt x="100" y="369"/>
                </a:lnTo>
                <a:lnTo>
                  <a:pt x="94" y="369"/>
                </a:lnTo>
                <a:lnTo>
                  <a:pt x="91" y="369"/>
                </a:lnTo>
                <a:lnTo>
                  <a:pt x="94" y="372"/>
                </a:lnTo>
                <a:lnTo>
                  <a:pt x="91" y="376"/>
                </a:lnTo>
                <a:lnTo>
                  <a:pt x="94" y="379"/>
                </a:lnTo>
                <a:lnTo>
                  <a:pt x="91" y="382"/>
                </a:lnTo>
                <a:lnTo>
                  <a:pt x="94" y="385"/>
                </a:lnTo>
                <a:lnTo>
                  <a:pt x="91" y="388"/>
                </a:lnTo>
                <a:lnTo>
                  <a:pt x="91" y="394"/>
                </a:lnTo>
                <a:lnTo>
                  <a:pt x="94" y="397"/>
                </a:lnTo>
                <a:lnTo>
                  <a:pt x="94" y="401"/>
                </a:lnTo>
                <a:lnTo>
                  <a:pt x="91" y="410"/>
                </a:lnTo>
                <a:lnTo>
                  <a:pt x="88" y="413"/>
                </a:lnTo>
                <a:lnTo>
                  <a:pt x="88" y="419"/>
                </a:lnTo>
                <a:lnTo>
                  <a:pt x="85" y="426"/>
                </a:lnTo>
                <a:lnTo>
                  <a:pt x="82" y="423"/>
                </a:lnTo>
                <a:lnTo>
                  <a:pt x="78" y="419"/>
                </a:lnTo>
                <a:lnTo>
                  <a:pt x="72" y="423"/>
                </a:lnTo>
                <a:lnTo>
                  <a:pt x="66" y="423"/>
                </a:lnTo>
                <a:lnTo>
                  <a:pt x="66" y="419"/>
                </a:lnTo>
                <a:lnTo>
                  <a:pt x="63" y="426"/>
                </a:lnTo>
                <a:lnTo>
                  <a:pt x="57" y="426"/>
                </a:lnTo>
                <a:lnTo>
                  <a:pt x="57" y="432"/>
                </a:lnTo>
                <a:lnTo>
                  <a:pt x="57" y="435"/>
                </a:lnTo>
                <a:lnTo>
                  <a:pt x="57" y="438"/>
                </a:lnTo>
                <a:lnTo>
                  <a:pt x="53" y="441"/>
                </a:lnTo>
                <a:lnTo>
                  <a:pt x="50" y="438"/>
                </a:lnTo>
                <a:lnTo>
                  <a:pt x="38" y="441"/>
                </a:lnTo>
                <a:lnTo>
                  <a:pt x="35" y="441"/>
                </a:lnTo>
                <a:lnTo>
                  <a:pt x="32" y="441"/>
                </a:lnTo>
                <a:lnTo>
                  <a:pt x="35" y="438"/>
                </a:lnTo>
                <a:lnTo>
                  <a:pt x="35" y="429"/>
                </a:lnTo>
                <a:lnTo>
                  <a:pt x="28" y="426"/>
                </a:lnTo>
                <a:lnTo>
                  <a:pt x="28" y="423"/>
                </a:lnTo>
                <a:lnTo>
                  <a:pt x="25" y="423"/>
                </a:lnTo>
                <a:lnTo>
                  <a:pt x="25" y="419"/>
                </a:lnTo>
                <a:lnTo>
                  <a:pt x="32" y="419"/>
                </a:lnTo>
                <a:lnTo>
                  <a:pt x="35" y="413"/>
                </a:lnTo>
                <a:lnTo>
                  <a:pt x="35" y="407"/>
                </a:lnTo>
                <a:lnTo>
                  <a:pt x="28" y="410"/>
                </a:lnTo>
                <a:lnTo>
                  <a:pt x="25" y="407"/>
                </a:lnTo>
                <a:lnTo>
                  <a:pt x="25" y="404"/>
                </a:lnTo>
                <a:lnTo>
                  <a:pt x="19" y="401"/>
                </a:lnTo>
                <a:lnTo>
                  <a:pt x="19" y="397"/>
                </a:lnTo>
                <a:lnTo>
                  <a:pt x="16" y="388"/>
                </a:lnTo>
                <a:lnTo>
                  <a:pt x="16" y="388"/>
                </a:lnTo>
                <a:lnTo>
                  <a:pt x="13" y="382"/>
                </a:lnTo>
                <a:lnTo>
                  <a:pt x="10" y="382"/>
                </a:lnTo>
                <a:lnTo>
                  <a:pt x="7" y="379"/>
                </a:lnTo>
                <a:lnTo>
                  <a:pt x="10" y="376"/>
                </a:lnTo>
                <a:lnTo>
                  <a:pt x="10" y="372"/>
                </a:lnTo>
                <a:lnTo>
                  <a:pt x="10" y="369"/>
                </a:lnTo>
                <a:lnTo>
                  <a:pt x="10" y="366"/>
                </a:lnTo>
                <a:lnTo>
                  <a:pt x="13" y="363"/>
                </a:lnTo>
                <a:lnTo>
                  <a:pt x="13" y="360"/>
                </a:lnTo>
                <a:lnTo>
                  <a:pt x="10" y="360"/>
                </a:lnTo>
                <a:lnTo>
                  <a:pt x="10" y="357"/>
                </a:lnTo>
                <a:lnTo>
                  <a:pt x="7" y="357"/>
                </a:lnTo>
                <a:lnTo>
                  <a:pt x="7" y="360"/>
                </a:lnTo>
                <a:lnTo>
                  <a:pt x="10" y="363"/>
                </a:lnTo>
                <a:lnTo>
                  <a:pt x="7" y="363"/>
                </a:lnTo>
                <a:lnTo>
                  <a:pt x="7" y="360"/>
                </a:lnTo>
                <a:lnTo>
                  <a:pt x="7" y="360"/>
                </a:lnTo>
                <a:lnTo>
                  <a:pt x="3" y="357"/>
                </a:lnTo>
                <a:lnTo>
                  <a:pt x="3" y="351"/>
                </a:lnTo>
                <a:lnTo>
                  <a:pt x="0" y="347"/>
                </a:lnTo>
                <a:lnTo>
                  <a:pt x="0" y="341"/>
                </a:lnTo>
                <a:lnTo>
                  <a:pt x="3" y="338"/>
                </a:lnTo>
                <a:lnTo>
                  <a:pt x="3" y="338"/>
                </a:lnTo>
                <a:lnTo>
                  <a:pt x="3" y="338"/>
                </a:lnTo>
                <a:close/>
                <a:moveTo>
                  <a:pt x="119" y="326"/>
                </a:moveTo>
                <a:lnTo>
                  <a:pt x="122" y="332"/>
                </a:lnTo>
                <a:lnTo>
                  <a:pt x="122" y="332"/>
                </a:lnTo>
                <a:lnTo>
                  <a:pt x="122" y="329"/>
                </a:lnTo>
                <a:lnTo>
                  <a:pt x="125" y="326"/>
                </a:lnTo>
                <a:lnTo>
                  <a:pt x="125" y="319"/>
                </a:lnTo>
                <a:lnTo>
                  <a:pt x="122" y="319"/>
                </a:lnTo>
                <a:lnTo>
                  <a:pt x="119" y="326"/>
                </a:lnTo>
                <a:lnTo>
                  <a:pt x="119" y="326"/>
                </a:lnTo>
                <a:close/>
                <a:moveTo>
                  <a:pt x="7" y="366"/>
                </a:moveTo>
                <a:lnTo>
                  <a:pt x="3" y="369"/>
                </a:lnTo>
                <a:lnTo>
                  <a:pt x="7" y="369"/>
                </a:lnTo>
                <a:lnTo>
                  <a:pt x="7" y="366"/>
                </a:lnTo>
                <a:lnTo>
                  <a:pt x="7" y="366"/>
                </a:lnTo>
                <a:lnTo>
                  <a:pt x="7" y="366"/>
                </a:lnTo>
                <a:close/>
                <a:moveTo>
                  <a:pt x="135" y="354"/>
                </a:moveTo>
                <a:lnTo>
                  <a:pt x="138" y="357"/>
                </a:lnTo>
                <a:lnTo>
                  <a:pt x="138" y="354"/>
                </a:lnTo>
                <a:lnTo>
                  <a:pt x="138" y="354"/>
                </a:lnTo>
                <a:lnTo>
                  <a:pt x="135" y="354"/>
                </a:lnTo>
                <a:lnTo>
                  <a:pt x="135" y="354"/>
                </a:lnTo>
                <a:close/>
                <a:moveTo>
                  <a:pt x="138" y="372"/>
                </a:moveTo>
                <a:lnTo>
                  <a:pt x="138" y="372"/>
                </a:lnTo>
                <a:lnTo>
                  <a:pt x="141" y="372"/>
                </a:lnTo>
                <a:lnTo>
                  <a:pt x="144" y="369"/>
                </a:lnTo>
                <a:lnTo>
                  <a:pt x="144" y="369"/>
                </a:lnTo>
                <a:lnTo>
                  <a:pt x="138" y="369"/>
                </a:lnTo>
                <a:lnTo>
                  <a:pt x="138" y="372"/>
                </a:lnTo>
                <a:lnTo>
                  <a:pt x="138" y="372"/>
                </a:lnTo>
                <a:close/>
                <a:moveTo>
                  <a:pt x="122" y="401"/>
                </a:moveTo>
                <a:lnTo>
                  <a:pt x="128" y="401"/>
                </a:lnTo>
                <a:lnTo>
                  <a:pt x="128" y="397"/>
                </a:lnTo>
                <a:lnTo>
                  <a:pt x="128" y="397"/>
                </a:lnTo>
                <a:lnTo>
                  <a:pt x="128" y="394"/>
                </a:lnTo>
                <a:lnTo>
                  <a:pt x="132" y="391"/>
                </a:lnTo>
                <a:lnTo>
                  <a:pt x="135" y="388"/>
                </a:lnTo>
                <a:lnTo>
                  <a:pt x="135" y="385"/>
                </a:lnTo>
                <a:lnTo>
                  <a:pt x="135" y="385"/>
                </a:lnTo>
                <a:lnTo>
                  <a:pt x="132" y="382"/>
                </a:lnTo>
                <a:lnTo>
                  <a:pt x="135" y="379"/>
                </a:lnTo>
                <a:lnTo>
                  <a:pt x="135" y="376"/>
                </a:lnTo>
                <a:lnTo>
                  <a:pt x="138" y="376"/>
                </a:lnTo>
                <a:lnTo>
                  <a:pt x="135" y="372"/>
                </a:lnTo>
                <a:lnTo>
                  <a:pt x="132" y="376"/>
                </a:lnTo>
                <a:lnTo>
                  <a:pt x="128" y="376"/>
                </a:lnTo>
                <a:lnTo>
                  <a:pt x="125" y="379"/>
                </a:lnTo>
                <a:lnTo>
                  <a:pt x="122" y="382"/>
                </a:lnTo>
                <a:lnTo>
                  <a:pt x="122" y="385"/>
                </a:lnTo>
                <a:lnTo>
                  <a:pt x="122" y="388"/>
                </a:lnTo>
                <a:lnTo>
                  <a:pt x="119" y="388"/>
                </a:lnTo>
                <a:lnTo>
                  <a:pt x="125" y="394"/>
                </a:lnTo>
                <a:lnTo>
                  <a:pt x="125" y="394"/>
                </a:lnTo>
                <a:lnTo>
                  <a:pt x="125" y="397"/>
                </a:lnTo>
                <a:lnTo>
                  <a:pt x="122" y="401"/>
                </a:lnTo>
                <a:lnTo>
                  <a:pt x="122" y="401"/>
                </a:lnTo>
                <a:lnTo>
                  <a:pt x="122" y="401"/>
                </a:lnTo>
                <a:close/>
                <a:moveTo>
                  <a:pt x="94" y="413"/>
                </a:moveTo>
                <a:lnTo>
                  <a:pt x="94" y="416"/>
                </a:lnTo>
                <a:lnTo>
                  <a:pt x="94" y="419"/>
                </a:lnTo>
                <a:lnTo>
                  <a:pt x="97" y="423"/>
                </a:lnTo>
                <a:lnTo>
                  <a:pt x="97" y="419"/>
                </a:lnTo>
                <a:lnTo>
                  <a:pt x="100" y="413"/>
                </a:lnTo>
                <a:lnTo>
                  <a:pt x="100" y="404"/>
                </a:lnTo>
                <a:lnTo>
                  <a:pt x="103" y="397"/>
                </a:lnTo>
                <a:lnTo>
                  <a:pt x="103" y="394"/>
                </a:lnTo>
                <a:lnTo>
                  <a:pt x="100" y="391"/>
                </a:lnTo>
                <a:lnTo>
                  <a:pt x="97" y="394"/>
                </a:lnTo>
                <a:lnTo>
                  <a:pt x="100" y="397"/>
                </a:lnTo>
                <a:lnTo>
                  <a:pt x="97" y="401"/>
                </a:lnTo>
                <a:lnTo>
                  <a:pt x="94" y="404"/>
                </a:lnTo>
                <a:lnTo>
                  <a:pt x="94" y="413"/>
                </a:lnTo>
                <a:close/>
              </a:path>
            </a:pathLst>
          </a:custGeom>
          <a:solidFill>
            <a:schemeClr val="bg2"/>
          </a:solidFill>
          <a:ln>
            <a:solidFill>
              <a:schemeClr val="bg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7" name="Freeform 45">
            <a:extLst>
              <a:ext uri="{FF2B5EF4-FFF2-40B4-BE49-F238E27FC236}">
                <a16:creationId xmlns:a16="http://schemas.microsoft.com/office/drawing/2014/main" id="{3AD9F6E7-A387-2424-A86E-B39DF1D1198A}"/>
              </a:ext>
            </a:extLst>
          </p:cNvPr>
          <p:cNvSpPr>
            <a:spLocks noEditPoints="1"/>
          </p:cNvSpPr>
          <p:nvPr userDrawn="1"/>
        </p:nvSpPr>
        <p:spPr bwMode="auto">
          <a:xfrm>
            <a:off x="14150050" y="3952159"/>
            <a:ext cx="625437" cy="1123950"/>
          </a:xfrm>
          <a:custGeom>
            <a:avLst/>
            <a:gdLst>
              <a:gd name="T0" fmla="*/ 57 w 63"/>
              <a:gd name="T1" fmla="*/ 93 h 113"/>
              <a:gd name="T2" fmla="*/ 58 w 63"/>
              <a:gd name="T3" fmla="*/ 76 h 113"/>
              <a:gd name="T4" fmla="*/ 54 w 63"/>
              <a:gd name="T5" fmla="*/ 64 h 113"/>
              <a:gd name="T6" fmla="*/ 52 w 63"/>
              <a:gd name="T7" fmla="*/ 56 h 113"/>
              <a:gd name="T8" fmla="*/ 50 w 63"/>
              <a:gd name="T9" fmla="*/ 43 h 113"/>
              <a:gd name="T10" fmla="*/ 48 w 63"/>
              <a:gd name="T11" fmla="*/ 28 h 113"/>
              <a:gd name="T12" fmla="*/ 41 w 63"/>
              <a:gd name="T13" fmla="*/ 22 h 113"/>
              <a:gd name="T14" fmla="*/ 40 w 63"/>
              <a:gd name="T15" fmla="*/ 13 h 113"/>
              <a:gd name="T16" fmla="*/ 41 w 63"/>
              <a:gd name="T17" fmla="*/ 4 h 113"/>
              <a:gd name="T18" fmla="*/ 31 w 63"/>
              <a:gd name="T19" fmla="*/ 0 h 113"/>
              <a:gd name="T20" fmla="*/ 26 w 63"/>
              <a:gd name="T21" fmla="*/ 3 h 113"/>
              <a:gd name="T22" fmla="*/ 25 w 63"/>
              <a:gd name="T23" fmla="*/ 12 h 113"/>
              <a:gd name="T24" fmla="*/ 21 w 63"/>
              <a:gd name="T25" fmla="*/ 16 h 113"/>
              <a:gd name="T26" fmla="*/ 13 w 63"/>
              <a:gd name="T27" fmla="*/ 18 h 113"/>
              <a:gd name="T28" fmla="*/ 3 w 63"/>
              <a:gd name="T29" fmla="*/ 11 h 113"/>
              <a:gd name="T30" fmla="*/ 0 w 63"/>
              <a:gd name="T31" fmla="*/ 13 h 113"/>
              <a:gd name="T32" fmla="*/ 9 w 63"/>
              <a:gd name="T33" fmla="*/ 20 h 113"/>
              <a:gd name="T34" fmla="*/ 14 w 63"/>
              <a:gd name="T35" fmla="*/ 23 h 113"/>
              <a:gd name="T36" fmla="*/ 15 w 63"/>
              <a:gd name="T37" fmla="*/ 30 h 113"/>
              <a:gd name="T38" fmla="*/ 18 w 63"/>
              <a:gd name="T39" fmla="*/ 36 h 113"/>
              <a:gd name="T40" fmla="*/ 19 w 63"/>
              <a:gd name="T41" fmla="*/ 46 h 113"/>
              <a:gd name="T42" fmla="*/ 23 w 63"/>
              <a:gd name="T43" fmla="*/ 51 h 113"/>
              <a:gd name="T44" fmla="*/ 28 w 63"/>
              <a:gd name="T45" fmla="*/ 57 h 113"/>
              <a:gd name="T46" fmla="*/ 29 w 63"/>
              <a:gd name="T47" fmla="*/ 61 h 113"/>
              <a:gd name="T48" fmla="*/ 23 w 63"/>
              <a:gd name="T49" fmla="*/ 64 h 113"/>
              <a:gd name="T50" fmla="*/ 19 w 63"/>
              <a:gd name="T51" fmla="*/ 68 h 113"/>
              <a:gd name="T52" fmla="*/ 18 w 63"/>
              <a:gd name="T53" fmla="*/ 74 h 113"/>
              <a:gd name="T54" fmla="*/ 14 w 63"/>
              <a:gd name="T55" fmla="*/ 75 h 113"/>
              <a:gd name="T56" fmla="*/ 13 w 63"/>
              <a:gd name="T57" fmla="*/ 79 h 113"/>
              <a:gd name="T58" fmla="*/ 10 w 63"/>
              <a:gd name="T59" fmla="*/ 80 h 113"/>
              <a:gd name="T60" fmla="*/ 9 w 63"/>
              <a:gd name="T61" fmla="*/ 85 h 113"/>
              <a:gd name="T62" fmla="*/ 10 w 63"/>
              <a:gd name="T63" fmla="*/ 89 h 113"/>
              <a:gd name="T64" fmla="*/ 13 w 63"/>
              <a:gd name="T65" fmla="*/ 96 h 113"/>
              <a:gd name="T66" fmla="*/ 12 w 63"/>
              <a:gd name="T67" fmla="*/ 104 h 113"/>
              <a:gd name="T68" fmla="*/ 16 w 63"/>
              <a:gd name="T69" fmla="*/ 106 h 113"/>
              <a:gd name="T70" fmla="*/ 20 w 63"/>
              <a:gd name="T71" fmla="*/ 107 h 113"/>
              <a:gd name="T72" fmla="*/ 22 w 63"/>
              <a:gd name="T73" fmla="*/ 113 h 113"/>
              <a:gd name="T74" fmla="*/ 26 w 63"/>
              <a:gd name="T75" fmla="*/ 111 h 113"/>
              <a:gd name="T76" fmla="*/ 35 w 63"/>
              <a:gd name="T77" fmla="*/ 107 h 113"/>
              <a:gd name="T78" fmla="*/ 38 w 63"/>
              <a:gd name="T79" fmla="*/ 106 h 113"/>
              <a:gd name="T80" fmla="*/ 40 w 63"/>
              <a:gd name="T81" fmla="*/ 106 h 113"/>
              <a:gd name="T82" fmla="*/ 44 w 63"/>
              <a:gd name="T83" fmla="*/ 105 h 113"/>
              <a:gd name="T84" fmla="*/ 48 w 63"/>
              <a:gd name="T85" fmla="*/ 104 h 113"/>
              <a:gd name="T86" fmla="*/ 25 w 63"/>
              <a:gd name="T87" fmla="*/ 59 h 113"/>
              <a:gd name="T88" fmla="*/ 26 w 63"/>
              <a:gd name="T89" fmla="*/ 59 h 113"/>
              <a:gd name="T90" fmla="*/ 8 w 63"/>
              <a:gd name="T91" fmla="*/ 77 h 113"/>
              <a:gd name="T92" fmla="*/ 8 w 63"/>
              <a:gd name="T93" fmla="*/ 77 h 113"/>
              <a:gd name="T94" fmla="*/ 21 w 63"/>
              <a:gd name="T95" fmla="*/ 110 h 113"/>
              <a:gd name="T96" fmla="*/ 19 w 63"/>
              <a:gd name="T97" fmla="*/ 107 h 113"/>
              <a:gd name="T98" fmla="*/ 16 w 63"/>
              <a:gd name="T99" fmla="*/ 107 h 113"/>
              <a:gd name="T100" fmla="*/ 12 w 63"/>
              <a:gd name="T101" fmla="*/ 107 h 113"/>
              <a:gd name="T102" fmla="*/ 4 w 63"/>
              <a:gd name="T103" fmla="*/ 106 h 113"/>
              <a:gd name="T104" fmla="*/ 6 w 63"/>
              <a:gd name="T105" fmla="*/ 110 h 113"/>
              <a:gd name="T106" fmla="*/ 4 w 63"/>
              <a:gd name="T107" fmla="*/ 10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3" h="113">
                <a:moveTo>
                  <a:pt x="50" y="104"/>
                </a:moveTo>
                <a:cubicBezTo>
                  <a:pt x="50" y="103"/>
                  <a:pt x="50" y="103"/>
                  <a:pt x="50" y="103"/>
                </a:cubicBezTo>
                <a:cubicBezTo>
                  <a:pt x="53" y="100"/>
                  <a:pt x="53" y="100"/>
                  <a:pt x="53" y="100"/>
                </a:cubicBezTo>
                <a:cubicBezTo>
                  <a:pt x="54" y="99"/>
                  <a:pt x="54" y="99"/>
                  <a:pt x="54" y="99"/>
                </a:cubicBezTo>
                <a:cubicBezTo>
                  <a:pt x="56" y="96"/>
                  <a:pt x="56" y="96"/>
                  <a:pt x="56" y="96"/>
                </a:cubicBezTo>
                <a:cubicBezTo>
                  <a:pt x="57" y="93"/>
                  <a:pt x="57" y="93"/>
                  <a:pt x="57" y="93"/>
                </a:cubicBezTo>
                <a:cubicBezTo>
                  <a:pt x="59" y="90"/>
                  <a:pt x="59" y="90"/>
                  <a:pt x="59" y="90"/>
                </a:cubicBezTo>
                <a:cubicBezTo>
                  <a:pt x="61" y="86"/>
                  <a:pt x="61" y="86"/>
                  <a:pt x="61" y="86"/>
                </a:cubicBezTo>
                <a:cubicBezTo>
                  <a:pt x="63" y="82"/>
                  <a:pt x="63" y="82"/>
                  <a:pt x="63" y="82"/>
                </a:cubicBezTo>
                <a:cubicBezTo>
                  <a:pt x="63" y="80"/>
                  <a:pt x="63" y="80"/>
                  <a:pt x="63" y="80"/>
                </a:cubicBezTo>
                <a:cubicBezTo>
                  <a:pt x="60" y="77"/>
                  <a:pt x="60" y="77"/>
                  <a:pt x="60" y="77"/>
                </a:cubicBezTo>
                <a:cubicBezTo>
                  <a:pt x="58" y="76"/>
                  <a:pt x="58" y="76"/>
                  <a:pt x="58" y="76"/>
                </a:cubicBezTo>
                <a:cubicBezTo>
                  <a:pt x="55" y="72"/>
                  <a:pt x="55" y="72"/>
                  <a:pt x="55" y="72"/>
                </a:cubicBezTo>
                <a:cubicBezTo>
                  <a:pt x="56" y="70"/>
                  <a:pt x="56" y="70"/>
                  <a:pt x="56" y="70"/>
                </a:cubicBezTo>
                <a:cubicBezTo>
                  <a:pt x="57" y="68"/>
                  <a:pt x="57" y="68"/>
                  <a:pt x="57" y="68"/>
                </a:cubicBezTo>
                <a:cubicBezTo>
                  <a:pt x="57" y="67"/>
                  <a:pt x="57" y="67"/>
                  <a:pt x="57" y="67"/>
                </a:cubicBezTo>
                <a:cubicBezTo>
                  <a:pt x="55" y="65"/>
                  <a:pt x="55" y="65"/>
                  <a:pt x="55" y="65"/>
                </a:cubicBezTo>
                <a:cubicBezTo>
                  <a:pt x="54" y="64"/>
                  <a:pt x="54" y="64"/>
                  <a:pt x="54" y="64"/>
                </a:cubicBezTo>
                <a:cubicBezTo>
                  <a:pt x="54" y="62"/>
                  <a:pt x="54" y="62"/>
                  <a:pt x="54" y="62"/>
                </a:cubicBezTo>
                <a:cubicBezTo>
                  <a:pt x="55" y="61"/>
                  <a:pt x="55" y="61"/>
                  <a:pt x="55" y="61"/>
                </a:cubicBezTo>
                <a:cubicBezTo>
                  <a:pt x="54" y="60"/>
                  <a:pt x="54" y="60"/>
                  <a:pt x="54" y="60"/>
                </a:cubicBezTo>
                <a:cubicBezTo>
                  <a:pt x="53" y="59"/>
                  <a:pt x="53" y="59"/>
                  <a:pt x="53" y="59"/>
                </a:cubicBezTo>
                <a:cubicBezTo>
                  <a:pt x="52" y="58"/>
                  <a:pt x="52" y="58"/>
                  <a:pt x="52" y="58"/>
                </a:cubicBezTo>
                <a:cubicBezTo>
                  <a:pt x="52" y="56"/>
                  <a:pt x="52" y="56"/>
                  <a:pt x="52" y="56"/>
                </a:cubicBezTo>
                <a:cubicBezTo>
                  <a:pt x="53" y="55"/>
                  <a:pt x="53" y="55"/>
                  <a:pt x="53" y="55"/>
                </a:cubicBezTo>
                <a:cubicBezTo>
                  <a:pt x="52" y="55"/>
                  <a:pt x="52" y="55"/>
                  <a:pt x="52" y="55"/>
                </a:cubicBezTo>
                <a:cubicBezTo>
                  <a:pt x="52" y="54"/>
                  <a:pt x="52" y="54"/>
                  <a:pt x="52" y="54"/>
                </a:cubicBezTo>
                <a:cubicBezTo>
                  <a:pt x="52" y="50"/>
                  <a:pt x="52" y="50"/>
                  <a:pt x="52" y="50"/>
                </a:cubicBezTo>
                <a:cubicBezTo>
                  <a:pt x="53" y="49"/>
                  <a:pt x="53" y="49"/>
                  <a:pt x="53" y="49"/>
                </a:cubicBezTo>
                <a:cubicBezTo>
                  <a:pt x="50" y="43"/>
                  <a:pt x="50" y="43"/>
                  <a:pt x="50" y="43"/>
                </a:cubicBezTo>
                <a:cubicBezTo>
                  <a:pt x="48" y="38"/>
                  <a:pt x="48" y="38"/>
                  <a:pt x="48" y="38"/>
                </a:cubicBezTo>
                <a:cubicBezTo>
                  <a:pt x="47" y="36"/>
                  <a:pt x="47" y="36"/>
                  <a:pt x="47" y="36"/>
                </a:cubicBezTo>
                <a:cubicBezTo>
                  <a:pt x="46" y="35"/>
                  <a:pt x="46" y="35"/>
                  <a:pt x="46" y="35"/>
                </a:cubicBezTo>
                <a:cubicBezTo>
                  <a:pt x="47" y="32"/>
                  <a:pt x="47" y="32"/>
                  <a:pt x="47" y="32"/>
                </a:cubicBezTo>
                <a:cubicBezTo>
                  <a:pt x="48" y="30"/>
                  <a:pt x="48" y="30"/>
                  <a:pt x="48" y="30"/>
                </a:cubicBezTo>
                <a:cubicBezTo>
                  <a:pt x="48" y="28"/>
                  <a:pt x="48" y="28"/>
                  <a:pt x="48" y="28"/>
                </a:cubicBezTo>
                <a:cubicBezTo>
                  <a:pt x="48" y="27"/>
                  <a:pt x="48" y="27"/>
                  <a:pt x="48" y="27"/>
                </a:cubicBezTo>
                <a:cubicBezTo>
                  <a:pt x="45" y="25"/>
                  <a:pt x="45" y="25"/>
                  <a:pt x="45" y="25"/>
                </a:cubicBezTo>
                <a:cubicBezTo>
                  <a:pt x="44" y="24"/>
                  <a:pt x="44" y="24"/>
                  <a:pt x="44" y="24"/>
                </a:cubicBezTo>
                <a:cubicBezTo>
                  <a:pt x="43" y="23"/>
                  <a:pt x="43" y="23"/>
                  <a:pt x="43" y="23"/>
                </a:cubicBezTo>
                <a:cubicBezTo>
                  <a:pt x="42" y="22"/>
                  <a:pt x="42" y="22"/>
                  <a:pt x="42" y="22"/>
                </a:cubicBezTo>
                <a:cubicBezTo>
                  <a:pt x="41" y="22"/>
                  <a:pt x="41" y="22"/>
                  <a:pt x="41" y="22"/>
                </a:cubicBezTo>
                <a:cubicBezTo>
                  <a:pt x="40" y="19"/>
                  <a:pt x="40" y="19"/>
                  <a:pt x="40" y="19"/>
                </a:cubicBezTo>
                <a:cubicBezTo>
                  <a:pt x="39" y="18"/>
                  <a:pt x="39" y="18"/>
                  <a:pt x="39" y="18"/>
                </a:cubicBezTo>
                <a:cubicBezTo>
                  <a:pt x="39" y="16"/>
                  <a:pt x="39" y="16"/>
                  <a:pt x="39" y="16"/>
                </a:cubicBezTo>
                <a:cubicBezTo>
                  <a:pt x="40" y="14"/>
                  <a:pt x="40" y="14"/>
                  <a:pt x="40" y="14"/>
                </a:cubicBezTo>
                <a:cubicBezTo>
                  <a:pt x="39" y="14"/>
                  <a:pt x="39" y="14"/>
                  <a:pt x="39" y="14"/>
                </a:cubicBezTo>
                <a:cubicBezTo>
                  <a:pt x="40" y="13"/>
                  <a:pt x="40" y="13"/>
                  <a:pt x="40" y="13"/>
                </a:cubicBezTo>
                <a:cubicBezTo>
                  <a:pt x="41" y="12"/>
                  <a:pt x="41" y="12"/>
                  <a:pt x="41" y="12"/>
                </a:cubicBezTo>
                <a:cubicBezTo>
                  <a:pt x="41" y="10"/>
                  <a:pt x="41" y="10"/>
                  <a:pt x="41" y="10"/>
                </a:cubicBezTo>
                <a:cubicBezTo>
                  <a:pt x="42" y="8"/>
                  <a:pt x="42" y="8"/>
                  <a:pt x="42" y="8"/>
                </a:cubicBezTo>
                <a:cubicBezTo>
                  <a:pt x="42" y="7"/>
                  <a:pt x="42" y="7"/>
                  <a:pt x="42" y="7"/>
                </a:cubicBezTo>
                <a:cubicBezTo>
                  <a:pt x="41" y="5"/>
                  <a:pt x="41" y="5"/>
                  <a:pt x="41" y="5"/>
                </a:cubicBezTo>
                <a:cubicBezTo>
                  <a:pt x="41" y="4"/>
                  <a:pt x="41" y="4"/>
                  <a:pt x="41" y="4"/>
                </a:cubicBezTo>
                <a:cubicBezTo>
                  <a:pt x="39" y="4"/>
                  <a:pt x="39" y="4"/>
                  <a:pt x="39" y="4"/>
                </a:cubicBezTo>
                <a:cubicBezTo>
                  <a:pt x="37" y="4"/>
                  <a:pt x="37" y="4"/>
                  <a:pt x="37" y="4"/>
                </a:cubicBezTo>
                <a:cubicBezTo>
                  <a:pt x="36" y="3"/>
                  <a:pt x="36" y="3"/>
                  <a:pt x="36" y="3"/>
                </a:cubicBezTo>
                <a:cubicBezTo>
                  <a:pt x="35" y="1"/>
                  <a:pt x="35" y="1"/>
                  <a:pt x="35" y="1"/>
                </a:cubicBezTo>
                <a:cubicBezTo>
                  <a:pt x="34" y="0"/>
                  <a:pt x="34" y="0"/>
                  <a:pt x="34" y="0"/>
                </a:cubicBezTo>
                <a:cubicBezTo>
                  <a:pt x="31" y="0"/>
                  <a:pt x="31" y="0"/>
                  <a:pt x="31" y="0"/>
                </a:cubicBezTo>
                <a:cubicBezTo>
                  <a:pt x="30" y="1"/>
                  <a:pt x="30" y="1"/>
                  <a:pt x="30" y="1"/>
                </a:cubicBezTo>
                <a:cubicBezTo>
                  <a:pt x="30" y="2"/>
                  <a:pt x="30" y="2"/>
                  <a:pt x="30" y="2"/>
                </a:cubicBezTo>
                <a:cubicBezTo>
                  <a:pt x="29" y="2"/>
                  <a:pt x="29" y="2"/>
                  <a:pt x="29" y="2"/>
                </a:cubicBezTo>
                <a:cubicBezTo>
                  <a:pt x="27" y="2"/>
                  <a:pt x="27" y="2"/>
                  <a:pt x="27" y="2"/>
                </a:cubicBezTo>
                <a:cubicBezTo>
                  <a:pt x="26" y="2"/>
                  <a:pt x="26" y="2"/>
                  <a:pt x="26" y="2"/>
                </a:cubicBezTo>
                <a:cubicBezTo>
                  <a:pt x="26" y="3"/>
                  <a:pt x="26" y="3"/>
                  <a:pt x="26" y="3"/>
                </a:cubicBezTo>
                <a:cubicBezTo>
                  <a:pt x="25" y="4"/>
                  <a:pt x="25" y="4"/>
                  <a:pt x="25" y="4"/>
                </a:cubicBezTo>
                <a:cubicBezTo>
                  <a:pt x="25" y="5"/>
                  <a:pt x="25" y="5"/>
                  <a:pt x="25" y="5"/>
                </a:cubicBezTo>
                <a:cubicBezTo>
                  <a:pt x="25" y="6"/>
                  <a:pt x="25" y="6"/>
                  <a:pt x="25" y="6"/>
                </a:cubicBezTo>
                <a:cubicBezTo>
                  <a:pt x="25" y="7"/>
                  <a:pt x="25" y="7"/>
                  <a:pt x="25" y="7"/>
                </a:cubicBezTo>
                <a:cubicBezTo>
                  <a:pt x="24" y="10"/>
                  <a:pt x="24" y="10"/>
                  <a:pt x="24" y="10"/>
                </a:cubicBezTo>
                <a:cubicBezTo>
                  <a:pt x="25" y="12"/>
                  <a:pt x="25" y="12"/>
                  <a:pt x="25" y="12"/>
                </a:cubicBezTo>
                <a:cubicBezTo>
                  <a:pt x="25" y="13"/>
                  <a:pt x="25" y="13"/>
                  <a:pt x="25" y="13"/>
                </a:cubicBezTo>
                <a:cubicBezTo>
                  <a:pt x="25" y="14"/>
                  <a:pt x="25" y="14"/>
                  <a:pt x="25" y="14"/>
                </a:cubicBezTo>
                <a:cubicBezTo>
                  <a:pt x="24" y="14"/>
                  <a:pt x="24" y="14"/>
                  <a:pt x="24" y="14"/>
                </a:cubicBezTo>
                <a:cubicBezTo>
                  <a:pt x="23" y="14"/>
                  <a:pt x="23" y="14"/>
                  <a:pt x="23" y="14"/>
                </a:cubicBezTo>
                <a:cubicBezTo>
                  <a:pt x="22" y="15"/>
                  <a:pt x="22" y="15"/>
                  <a:pt x="22" y="15"/>
                </a:cubicBezTo>
                <a:cubicBezTo>
                  <a:pt x="21" y="16"/>
                  <a:pt x="21" y="16"/>
                  <a:pt x="21" y="16"/>
                </a:cubicBezTo>
                <a:cubicBezTo>
                  <a:pt x="20" y="17"/>
                  <a:pt x="20" y="17"/>
                  <a:pt x="20" y="17"/>
                </a:cubicBezTo>
                <a:cubicBezTo>
                  <a:pt x="19" y="17"/>
                  <a:pt x="19" y="17"/>
                  <a:pt x="19" y="17"/>
                </a:cubicBezTo>
                <a:cubicBezTo>
                  <a:pt x="17" y="15"/>
                  <a:pt x="17" y="15"/>
                  <a:pt x="17" y="15"/>
                </a:cubicBezTo>
                <a:cubicBezTo>
                  <a:pt x="16" y="15"/>
                  <a:pt x="16" y="15"/>
                  <a:pt x="16" y="15"/>
                </a:cubicBezTo>
                <a:cubicBezTo>
                  <a:pt x="15" y="16"/>
                  <a:pt x="15" y="16"/>
                  <a:pt x="15" y="16"/>
                </a:cubicBezTo>
                <a:cubicBezTo>
                  <a:pt x="13" y="18"/>
                  <a:pt x="13" y="18"/>
                  <a:pt x="13" y="18"/>
                </a:cubicBezTo>
                <a:cubicBezTo>
                  <a:pt x="10" y="18"/>
                  <a:pt x="10" y="18"/>
                  <a:pt x="10" y="18"/>
                </a:cubicBezTo>
                <a:cubicBezTo>
                  <a:pt x="8" y="17"/>
                  <a:pt x="8" y="17"/>
                  <a:pt x="8" y="17"/>
                </a:cubicBezTo>
                <a:cubicBezTo>
                  <a:pt x="7" y="16"/>
                  <a:pt x="7" y="16"/>
                  <a:pt x="7" y="16"/>
                </a:cubicBezTo>
                <a:cubicBezTo>
                  <a:pt x="7" y="14"/>
                  <a:pt x="7" y="14"/>
                  <a:pt x="7" y="14"/>
                </a:cubicBezTo>
                <a:cubicBezTo>
                  <a:pt x="4" y="12"/>
                  <a:pt x="4" y="12"/>
                  <a:pt x="4" y="12"/>
                </a:cubicBezTo>
                <a:cubicBezTo>
                  <a:pt x="3" y="11"/>
                  <a:pt x="3" y="11"/>
                  <a:pt x="3" y="11"/>
                </a:cubicBezTo>
                <a:cubicBezTo>
                  <a:pt x="2" y="10"/>
                  <a:pt x="2" y="10"/>
                  <a:pt x="2" y="10"/>
                </a:cubicBezTo>
                <a:cubicBezTo>
                  <a:pt x="1" y="11"/>
                  <a:pt x="1" y="11"/>
                  <a:pt x="1" y="11"/>
                </a:cubicBezTo>
                <a:cubicBezTo>
                  <a:pt x="1" y="12"/>
                  <a:pt x="1" y="12"/>
                  <a:pt x="1" y="12"/>
                </a:cubicBezTo>
                <a:cubicBezTo>
                  <a:pt x="1" y="13"/>
                  <a:pt x="1" y="13"/>
                  <a:pt x="1" y="13"/>
                </a:cubicBezTo>
                <a:cubicBezTo>
                  <a:pt x="1" y="14"/>
                  <a:pt x="1" y="14"/>
                  <a:pt x="1" y="14"/>
                </a:cubicBezTo>
                <a:cubicBezTo>
                  <a:pt x="0" y="13"/>
                  <a:pt x="0" y="13"/>
                  <a:pt x="0" y="13"/>
                </a:cubicBezTo>
                <a:cubicBezTo>
                  <a:pt x="0" y="14"/>
                  <a:pt x="0" y="14"/>
                  <a:pt x="0" y="14"/>
                </a:cubicBezTo>
                <a:cubicBezTo>
                  <a:pt x="1" y="15"/>
                  <a:pt x="1" y="15"/>
                  <a:pt x="1" y="15"/>
                </a:cubicBezTo>
                <a:cubicBezTo>
                  <a:pt x="3" y="16"/>
                  <a:pt x="3" y="16"/>
                  <a:pt x="3" y="16"/>
                </a:cubicBezTo>
                <a:cubicBezTo>
                  <a:pt x="5" y="18"/>
                  <a:pt x="5" y="18"/>
                  <a:pt x="5" y="18"/>
                </a:cubicBezTo>
                <a:cubicBezTo>
                  <a:pt x="7" y="19"/>
                  <a:pt x="7" y="19"/>
                  <a:pt x="7" y="19"/>
                </a:cubicBezTo>
                <a:cubicBezTo>
                  <a:pt x="9" y="20"/>
                  <a:pt x="9" y="20"/>
                  <a:pt x="9" y="20"/>
                </a:cubicBezTo>
                <a:cubicBezTo>
                  <a:pt x="10" y="20"/>
                  <a:pt x="10" y="20"/>
                  <a:pt x="10" y="20"/>
                </a:cubicBezTo>
                <a:cubicBezTo>
                  <a:pt x="11" y="20"/>
                  <a:pt x="11" y="20"/>
                  <a:pt x="11" y="20"/>
                </a:cubicBezTo>
                <a:cubicBezTo>
                  <a:pt x="12" y="22"/>
                  <a:pt x="12" y="22"/>
                  <a:pt x="12" y="22"/>
                </a:cubicBezTo>
                <a:cubicBezTo>
                  <a:pt x="13" y="23"/>
                  <a:pt x="13" y="23"/>
                  <a:pt x="13" y="23"/>
                </a:cubicBezTo>
                <a:cubicBezTo>
                  <a:pt x="13" y="23"/>
                  <a:pt x="13" y="23"/>
                  <a:pt x="13" y="23"/>
                </a:cubicBezTo>
                <a:cubicBezTo>
                  <a:pt x="14" y="23"/>
                  <a:pt x="14" y="23"/>
                  <a:pt x="14" y="23"/>
                </a:cubicBezTo>
                <a:cubicBezTo>
                  <a:pt x="15" y="25"/>
                  <a:pt x="15" y="25"/>
                  <a:pt x="15" y="25"/>
                </a:cubicBezTo>
                <a:cubicBezTo>
                  <a:pt x="16" y="25"/>
                  <a:pt x="16" y="25"/>
                  <a:pt x="16" y="25"/>
                </a:cubicBezTo>
                <a:cubicBezTo>
                  <a:pt x="16" y="26"/>
                  <a:pt x="16" y="26"/>
                  <a:pt x="16" y="26"/>
                </a:cubicBezTo>
                <a:cubicBezTo>
                  <a:pt x="16" y="27"/>
                  <a:pt x="16" y="27"/>
                  <a:pt x="16" y="27"/>
                </a:cubicBezTo>
                <a:cubicBezTo>
                  <a:pt x="16" y="28"/>
                  <a:pt x="16" y="28"/>
                  <a:pt x="16" y="28"/>
                </a:cubicBezTo>
                <a:cubicBezTo>
                  <a:pt x="15" y="30"/>
                  <a:pt x="15" y="30"/>
                  <a:pt x="15" y="30"/>
                </a:cubicBezTo>
                <a:cubicBezTo>
                  <a:pt x="16" y="31"/>
                  <a:pt x="16" y="31"/>
                  <a:pt x="16" y="31"/>
                </a:cubicBezTo>
                <a:cubicBezTo>
                  <a:pt x="17" y="31"/>
                  <a:pt x="17" y="31"/>
                  <a:pt x="17" y="31"/>
                </a:cubicBezTo>
                <a:cubicBezTo>
                  <a:pt x="18" y="33"/>
                  <a:pt x="18" y="33"/>
                  <a:pt x="18" y="33"/>
                </a:cubicBezTo>
                <a:cubicBezTo>
                  <a:pt x="17" y="34"/>
                  <a:pt x="17" y="34"/>
                  <a:pt x="17" y="34"/>
                </a:cubicBezTo>
                <a:cubicBezTo>
                  <a:pt x="17" y="35"/>
                  <a:pt x="17" y="35"/>
                  <a:pt x="17" y="35"/>
                </a:cubicBezTo>
                <a:cubicBezTo>
                  <a:pt x="18" y="36"/>
                  <a:pt x="18" y="36"/>
                  <a:pt x="18" y="36"/>
                </a:cubicBezTo>
                <a:cubicBezTo>
                  <a:pt x="18" y="39"/>
                  <a:pt x="18" y="39"/>
                  <a:pt x="18" y="39"/>
                </a:cubicBezTo>
                <a:cubicBezTo>
                  <a:pt x="18" y="40"/>
                  <a:pt x="18" y="40"/>
                  <a:pt x="18" y="40"/>
                </a:cubicBezTo>
                <a:cubicBezTo>
                  <a:pt x="18" y="41"/>
                  <a:pt x="18" y="41"/>
                  <a:pt x="18" y="41"/>
                </a:cubicBezTo>
                <a:cubicBezTo>
                  <a:pt x="18" y="43"/>
                  <a:pt x="18" y="43"/>
                  <a:pt x="18" y="43"/>
                </a:cubicBezTo>
                <a:cubicBezTo>
                  <a:pt x="18" y="44"/>
                  <a:pt x="18" y="44"/>
                  <a:pt x="18" y="44"/>
                </a:cubicBezTo>
                <a:cubicBezTo>
                  <a:pt x="19" y="46"/>
                  <a:pt x="19" y="46"/>
                  <a:pt x="19" y="46"/>
                </a:cubicBezTo>
                <a:cubicBezTo>
                  <a:pt x="20" y="46"/>
                  <a:pt x="20" y="46"/>
                  <a:pt x="20" y="46"/>
                </a:cubicBezTo>
                <a:cubicBezTo>
                  <a:pt x="21" y="48"/>
                  <a:pt x="21" y="48"/>
                  <a:pt x="21" y="48"/>
                </a:cubicBezTo>
                <a:cubicBezTo>
                  <a:pt x="21" y="49"/>
                  <a:pt x="21" y="49"/>
                  <a:pt x="21" y="49"/>
                </a:cubicBezTo>
                <a:cubicBezTo>
                  <a:pt x="21" y="51"/>
                  <a:pt x="21" y="51"/>
                  <a:pt x="21" y="51"/>
                </a:cubicBezTo>
                <a:cubicBezTo>
                  <a:pt x="22" y="51"/>
                  <a:pt x="22" y="51"/>
                  <a:pt x="22" y="51"/>
                </a:cubicBezTo>
                <a:cubicBezTo>
                  <a:pt x="23" y="51"/>
                  <a:pt x="23" y="51"/>
                  <a:pt x="23" y="51"/>
                </a:cubicBezTo>
                <a:cubicBezTo>
                  <a:pt x="24" y="52"/>
                  <a:pt x="24" y="52"/>
                  <a:pt x="24" y="52"/>
                </a:cubicBezTo>
                <a:cubicBezTo>
                  <a:pt x="27" y="52"/>
                  <a:pt x="27" y="52"/>
                  <a:pt x="27" y="52"/>
                </a:cubicBezTo>
                <a:cubicBezTo>
                  <a:pt x="28" y="54"/>
                  <a:pt x="28" y="54"/>
                  <a:pt x="28" y="54"/>
                </a:cubicBezTo>
                <a:cubicBezTo>
                  <a:pt x="27" y="54"/>
                  <a:pt x="27" y="54"/>
                  <a:pt x="27" y="54"/>
                </a:cubicBezTo>
                <a:cubicBezTo>
                  <a:pt x="28" y="55"/>
                  <a:pt x="28" y="55"/>
                  <a:pt x="28" y="55"/>
                </a:cubicBezTo>
                <a:cubicBezTo>
                  <a:pt x="28" y="57"/>
                  <a:pt x="28" y="57"/>
                  <a:pt x="28" y="57"/>
                </a:cubicBezTo>
                <a:cubicBezTo>
                  <a:pt x="28" y="57"/>
                  <a:pt x="28" y="57"/>
                  <a:pt x="28" y="57"/>
                </a:cubicBezTo>
                <a:cubicBezTo>
                  <a:pt x="29" y="59"/>
                  <a:pt x="29" y="59"/>
                  <a:pt x="29" y="59"/>
                </a:cubicBezTo>
                <a:cubicBezTo>
                  <a:pt x="28" y="59"/>
                  <a:pt x="28" y="59"/>
                  <a:pt x="28" y="59"/>
                </a:cubicBezTo>
                <a:cubicBezTo>
                  <a:pt x="28" y="59"/>
                  <a:pt x="28" y="59"/>
                  <a:pt x="28" y="59"/>
                </a:cubicBezTo>
                <a:cubicBezTo>
                  <a:pt x="29" y="60"/>
                  <a:pt x="29" y="60"/>
                  <a:pt x="29" y="60"/>
                </a:cubicBezTo>
                <a:cubicBezTo>
                  <a:pt x="29" y="61"/>
                  <a:pt x="29" y="61"/>
                  <a:pt x="29" y="61"/>
                </a:cubicBezTo>
                <a:cubicBezTo>
                  <a:pt x="27" y="60"/>
                  <a:pt x="27" y="60"/>
                  <a:pt x="27" y="60"/>
                </a:cubicBezTo>
                <a:cubicBezTo>
                  <a:pt x="26" y="60"/>
                  <a:pt x="26" y="60"/>
                  <a:pt x="26" y="60"/>
                </a:cubicBezTo>
                <a:cubicBezTo>
                  <a:pt x="24" y="61"/>
                  <a:pt x="24" y="61"/>
                  <a:pt x="24" y="61"/>
                </a:cubicBezTo>
                <a:cubicBezTo>
                  <a:pt x="24" y="62"/>
                  <a:pt x="24" y="62"/>
                  <a:pt x="24" y="62"/>
                </a:cubicBezTo>
                <a:cubicBezTo>
                  <a:pt x="23" y="63"/>
                  <a:pt x="23" y="63"/>
                  <a:pt x="23" y="63"/>
                </a:cubicBezTo>
                <a:cubicBezTo>
                  <a:pt x="23" y="64"/>
                  <a:pt x="23" y="64"/>
                  <a:pt x="23" y="64"/>
                </a:cubicBezTo>
                <a:cubicBezTo>
                  <a:pt x="22" y="65"/>
                  <a:pt x="22" y="65"/>
                  <a:pt x="22" y="65"/>
                </a:cubicBezTo>
                <a:cubicBezTo>
                  <a:pt x="21" y="67"/>
                  <a:pt x="21" y="67"/>
                  <a:pt x="21" y="67"/>
                </a:cubicBezTo>
                <a:cubicBezTo>
                  <a:pt x="20" y="69"/>
                  <a:pt x="20" y="69"/>
                  <a:pt x="20" y="69"/>
                </a:cubicBezTo>
                <a:cubicBezTo>
                  <a:pt x="20" y="69"/>
                  <a:pt x="20" y="69"/>
                  <a:pt x="20" y="69"/>
                </a:cubicBezTo>
                <a:cubicBezTo>
                  <a:pt x="19" y="68"/>
                  <a:pt x="19" y="68"/>
                  <a:pt x="19" y="68"/>
                </a:cubicBezTo>
                <a:cubicBezTo>
                  <a:pt x="19" y="68"/>
                  <a:pt x="19" y="68"/>
                  <a:pt x="19" y="68"/>
                </a:cubicBezTo>
                <a:cubicBezTo>
                  <a:pt x="19" y="70"/>
                  <a:pt x="19" y="70"/>
                  <a:pt x="19" y="70"/>
                </a:cubicBezTo>
                <a:cubicBezTo>
                  <a:pt x="19" y="71"/>
                  <a:pt x="19" y="71"/>
                  <a:pt x="19" y="71"/>
                </a:cubicBezTo>
                <a:cubicBezTo>
                  <a:pt x="18" y="71"/>
                  <a:pt x="18" y="71"/>
                  <a:pt x="18" y="71"/>
                </a:cubicBezTo>
                <a:cubicBezTo>
                  <a:pt x="17" y="72"/>
                  <a:pt x="17" y="72"/>
                  <a:pt x="17" y="72"/>
                </a:cubicBezTo>
                <a:cubicBezTo>
                  <a:pt x="17" y="73"/>
                  <a:pt x="17" y="73"/>
                  <a:pt x="17" y="73"/>
                </a:cubicBezTo>
                <a:cubicBezTo>
                  <a:pt x="18" y="74"/>
                  <a:pt x="18" y="74"/>
                  <a:pt x="18" y="74"/>
                </a:cubicBezTo>
                <a:cubicBezTo>
                  <a:pt x="17" y="74"/>
                  <a:pt x="17" y="74"/>
                  <a:pt x="17" y="74"/>
                </a:cubicBezTo>
                <a:cubicBezTo>
                  <a:pt x="16" y="73"/>
                  <a:pt x="16" y="73"/>
                  <a:pt x="16" y="73"/>
                </a:cubicBezTo>
                <a:cubicBezTo>
                  <a:pt x="15" y="73"/>
                  <a:pt x="15" y="73"/>
                  <a:pt x="15" y="73"/>
                </a:cubicBezTo>
                <a:cubicBezTo>
                  <a:pt x="15" y="75"/>
                  <a:pt x="15" y="75"/>
                  <a:pt x="15" y="75"/>
                </a:cubicBezTo>
                <a:cubicBezTo>
                  <a:pt x="15" y="75"/>
                  <a:pt x="15" y="75"/>
                  <a:pt x="15" y="75"/>
                </a:cubicBezTo>
                <a:cubicBezTo>
                  <a:pt x="14" y="75"/>
                  <a:pt x="14" y="75"/>
                  <a:pt x="14" y="75"/>
                </a:cubicBezTo>
                <a:cubicBezTo>
                  <a:pt x="14" y="75"/>
                  <a:pt x="14" y="75"/>
                  <a:pt x="14" y="75"/>
                </a:cubicBezTo>
                <a:cubicBezTo>
                  <a:pt x="15" y="76"/>
                  <a:pt x="15" y="76"/>
                  <a:pt x="15" y="76"/>
                </a:cubicBezTo>
                <a:cubicBezTo>
                  <a:pt x="15" y="77"/>
                  <a:pt x="15" y="77"/>
                  <a:pt x="15" y="77"/>
                </a:cubicBezTo>
                <a:cubicBezTo>
                  <a:pt x="14" y="78"/>
                  <a:pt x="14" y="78"/>
                  <a:pt x="14" y="78"/>
                </a:cubicBezTo>
                <a:cubicBezTo>
                  <a:pt x="14" y="78"/>
                  <a:pt x="14" y="78"/>
                  <a:pt x="14" y="78"/>
                </a:cubicBezTo>
                <a:cubicBezTo>
                  <a:pt x="13" y="79"/>
                  <a:pt x="13" y="79"/>
                  <a:pt x="13" y="79"/>
                </a:cubicBezTo>
                <a:cubicBezTo>
                  <a:pt x="12" y="79"/>
                  <a:pt x="12" y="79"/>
                  <a:pt x="12" y="79"/>
                </a:cubicBezTo>
                <a:cubicBezTo>
                  <a:pt x="12" y="78"/>
                  <a:pt x="12" y="78"/>
                  <a:pt x="12" y="78"/>
                </a:cubicBezTo>
                <a:cubicBezTo>
                  <a:pt x="11" y="78"/>
                  <a:pt x="11" y="78"/>
                  <a:pt x="11" y="78"/>
                </a:cubicBezTo>
                <a:cubicBezTo>
                  <a:pt x="10" y="78"/>
                  <a:pt x="10" y="78"/>
                  <a:pt x="10" y="78"/>
                </a:cubicBezTo>
                <a:cubicBezTo>
                  <a:pt x="10" y="79"/>
                  <a:pt x="10" y="79"/>
                  <a:pt x="10" y="79"/>
                </a:cubicBezTo>
                <a:cubicBezTo>
                  <a:pt x="10" y="80"/>
                  <a:pt x="10" y="80"/>
                  <a:pt x="10" y="80"/>
                </a:cubicBezTo>
                <a:cubicBezTo>
                  <a:pt x="10" y="81"/>
                  <a:pt x="10" y="81"/>
                  <a:pt x="10" y="81"/>
                </a:cubicBezTo>
                <a:cubicBezTo>
                  <a:pt x="10" y="82"/>
                  <a:pt x="10" y="82"/>
                  <a:pt x="10" y="82"/>
                </a:cubicBezTo>
                <a:cubicBezTo>
                  <a:pt x="9" y="82"/>
                  <a:pt x="9" y="82"/>
                  <a:pt x="9" y="82"/>
                </a:cubicBezTo>
                <a:cubicBezTo>
                  <a:pt x="9" y="83"/>
                  <a:pt x="9" y="83"/>
                  <a:pt x="9" y="83"/>
                </a:cubicBezTo>
                <a:cubicBezTo>
                  <a:pt x="9" y="85"/>
                  <a:pt x="9" y="85"/>
                  <a:pt x="9" y="85"/>
                </a:cubicBezTo>
                <a:cubicBezTo>
                  <a:pt x="9" y="85"/>
                  <a:pt x="9" y="85"/>
                  <a:pt x="9" y="85"/>
                </a:cubicBezTo>
                <a:cubicBezTo>
                  <a:pt x="9" y="86"/>
                  <a:pt x="9" y="86"/>
                  <a:pt x="9" y="86"/>
                </a:cubicBezTo>
                <a:cubicBezTo>
                  <a:pt x="9" y="87"/>
                  <a:pt x="9" y="87"/>
                  <a:pt x="9" y="87"/>
                </a:cubicBezTo>
                <a:cubicBezTo>
                  <a:pt x="10" y="87"/>
                  <a:pt x="10" y="87"/>
                  <a:pt x="10" y="87"/>
                </a:cubicBezTo>
                <a:cubicBezTo>
                  <a:pt x="11" y="87"/>
                  <a:pt x="11" y="87"/>
                  <a:pt x="11" y="87"/>
                </a:cubicBezTo>
                <a:cubicBezTo>
                  <a:pt x="10" y="89"/>
                  <a:pt x="10" y="89"/>
                  <a:pt x="10" y="89"/>
                </a:cubicBezTo>
                <a:cubicBezTo>
                  <a:pt x="10" y="89"/>
                  <a:pt x="10" y="89"/>
                  <a:pt x="10" y="89"/>
                </a:cubicBezTo>
                <a:cubicBezTo>
                  <a:pt x="11" y="91"/>
                  <a:pt x="11" y="91"/>
                  <a:pt x="11" y="91"/>
                </a:cubicBezTo>
                <a:cubicBezTo>
                  <a:pt x="10" y="91"/>
                  <a:pt x="10" y="91"/>
                  <a:pt x="10" y="91"/>
                </a:cubicBezTo>
                <a:cubicBezTo>
                  <a:pt x="12" y="93"/>
                  <a:pt x="12" y="93"/>
                  <a:pt x="12" y="93"/>
                </a:cubicBezTo>
                <a:cubicBezTo>
                  <a:pt x="12" y="94"/>
                  <a:pt x="12" y="94"/>
                  <a:pt x="12" y="94"/>
                </a:cubicBezTo>
                <a:cubicBezTo>
                  <a:pt x="12" y="94"/>
                  <a:pt x="12" y="94"/>
                  <a:pt x="12" y="94"/>
                </a:cubicBezTo>
                <a:cubicBezTo>
                  <a:pt x="13" y="96"/>
                  <a:pt x="13" y="96"/>
                  <a:pt x="13" y="96"/>
                </a:cubicBezTo>
                <a:cubicBezTo>
                  <a:pt x="12" y="96"/>
                  <a:pt x="12" y="96"/>
                  <a:pt x="12" y="96"/>
                </a:cubicBezTo>
                <a:cubicBezTo>
                  <a:pt x="12" y="98"/>
                  <a:pt x="12" y="98"/>
                  <a:pt x="12" y="98"/>
                </a:cubicBezTo>
                <a:cubicBezTo>
                  <a:pt x="12" y="99"/>
                  <a:pt x="12" y="99"/>
                  <a:pt x="12" y="99"/>
                </a:cubicBezTo>
                <a:cubicBezTo>
                  <a:pt x="11" y="102"/>
                  <a:pt x="11" y="102"/>
                  <a:pt x="11" y="102"/>
                </a:cubicBezTo>
                <a:cubicBezTo>
                  <a:pt x="12" y="102"/>
                  <a:pt x="12" y="102"/>
                  <a:pt x="12" y="102"/>
                </a:cubicBezTo>
                <a:cubicBezTo>
                  <a:pt x="12" y="104"/>
                  <a:pt x="12" y="104"/>
                  <a:pt x="12" y="104"/>
                </a:cubicBezTo>
                <a:cubicBezTo>
                  <a:pt x="12" y="105"/>
                  <a:pt x="12" y="105"/>
                  <a:pt x="12" y="105"/>
                </a:cubicBezTo>
                <a:cubicBezTo>
                  <a:pt x="12" y="105"/>
                  <a:pt x="12" y="105"/>
                  <a:pt x="12" y="105"/>
                </a:cubicBezTo>
                <a:cubicBezTo>
                  <a:pt x="14" y="105"/>
                  <a:pt x="14" y="105"/>
                  <a:pt x="14" y="105"/>
                </a:cubicBezTo>
                <a:cubicBezTo>
                  <a:pt x="14" y="105"/>
                  <a:pt x="14" y="105"/>
                  <a:pt x="14" y="105"/>
                </a:cubicBezTo>
                <a:cubicBezTo>
                  <a:pt x="15" y="104"/>
                  <a:pt x="15" y="104"/>
                  <a:pt x="15" y="104"/>
                </a:cubicBezTo>
                <a:cubicBezTo>
                  <a:pt x="16" y="106"/>
                  <a:pt x="16" y="106"/>
                  <a:pt x="16" y="106"/>
                </a:cubicBezTo>
                <a:cubicBezTo>
                  <a:pt x="17" y="106"/>
                  <a:pt x="17" y="106"/>
                  <a:pt x="17" y="106"/>
                </a:cubicBezTo>
                <a:cubicBezTo>
                  <a:pt x="18" y="107"/>
                  <a:pt x="18" y="107"/>
                  <a:pt x="18" y="107"/>
                </a:cubicBezTo>
                <a:cubicBezTo>
                  <a:pt x="19" y="106"/>
                  <a:pt x="19" y="106"/>
                  <a:pt x="19" y="106"/>
                </a:cubicBezTo>
                <a:cubicBezTo>
                  <a:pt x="20" y="107"/>
                  <a:pt x="20" y="107"/>
                  <a:pt x="20" y="107"/>
                </a:cubicBezTo>
                <a:cubicBezTo>
                  <a:pt x="20" y="107"/>
                  <a:pt x="20" y="107"/>
                  <a:pt x="20" y="107"/>
                </a:cubicBezTo>
                <a:cubicBezTo>
                  <a:pt x="20" y="107"/>
                  <a:pt x="20" y="107"/>
                  <a:pt x="20" y="107"/>
                </a:cubicBezTo>
                <a:cubicBezTo>
                  <a:pt x="22" y="106"/>
                  <a:pt x="22" y="106"/>
                  <a:pt x="22" y="106"/>
                </a:cubicBezTo>
                <a:cubicBezTo>
                  <a:pt x="22" y="107"/>
                  <a:pt x="22" y="107"/>
                  <a:pt x="22" y="107"/>
                </a:cubicBezTo>
                <a:cubicBezTo>
                  <a:pt x="21" y="108"/>
                  <a:pt x="21" y="108"/>
                  <a:pt x="21" y="108"/>
                </a:cubicBezTo>
                <a:cubicBezTo>
                  <a:pt x="23" y="111"/>
                  <a:pt x="23" y="111"/>
                  <a:pt x="23" y="111"/>
                </a:cubicBezTo>
                <a:cubicBezTo>
                  <a:pt x="23" y="111"/>
                  <a:pt x="23" y="111"/>
                  <a:pt x="23" y="111"/>
                </a:cubicBezTo>
                <a:cubicBezTo>
                  <a:pt x="22" y="113"/>
                  <a:pt x="22" y="113"/>
                  <a:pt x="22" y="113"/>
                </a:cubicBezTo>
                <a:cubicBezTo>
                  <a:pt x="23" y="113"/>
                  <a:pt x="23" y="113"/>
                  <a:pt x="23" y="113"/>
                </a:cubicBezTo>
                <a:cubicBezTo>
                  <a:pt x="24" y="111"/>
                  <a:pt x="24" y="111"/>
                  <a:pt x="24" y="111"/>
                </a:cubicBezTo>
                <a:cubicBezTo>
                  <a:pt x="24" y="111"/>
                  <a:pt x="24" y="111"/>
                  <a:pt x="24" y="111"/>
                </a:cubicBezTo>
                <a:cubicBezTo>
                  <a:pt x="24" y="111"/>
                  <a:pt x="24" y="111"/>
                  <a:pt x="24" y="111"/>
                </a:cubicBezTo>
                <a:cubicBezTo>
                  <a:pt x="26" y="111"/>
                  <a:pt x="26" y="111"/>
                  <a:pt x="26" y="111"/>
                </a:cubicBezTo>
                <a:cubicBezTo>
                  <a:pt x="26" y="111"/>
                  <a:pt x="26" y="111"/>
                  <a:pt x="26" y="111"/>
                </a:cubicBezTo>
                <a:cubicBezTo>
                  <a:pt x="28" y="109"/>
                  <a:pt x="28" y="109"/>
                  <a:pt x="28" y="109"/>
                </a:cubicBezTo>
                <a:cubicBezTo>
                  <a:pt x="30" y="109"/>
                  <a:pt x="30" y="109"/>
                  <a:pt x="30" y="109"/>
                </a:cubicBezTo>
                <a:cubicBezTo>
                  <a:pt x="32" y="108"/>
                  <a:pt x="32" y="108"/>
                  <a:pt x="32" y="108"/>
                </a:cubicBezTo>
                <a:cubicBezTo>
                  <a:pt x="32" y="107"/>
                  <a:pt x="32" y="107"/>
                  <a:pt x="32" y="107"/>
                </a:cubicBezTo>
                <a:cubicBezTo>
                  <a:pt x="34" y="108"/>
                  <a:pt x="34" y="108"/>
                  <a:pt x="34" y="108"/>
                </a:cubicBezTo>
                <a:cubicBezTo>
                  <a:pt x="35" y="107"/>
                  <a:pt x="35" y="107"/>
                  <a:pt x="35" y="107"/>
                </a:cubicBezTo>
                <a:cubicBezTo>
                  <a:pt x="36" y="106"/>
                  <a:pt x="36" y="106"/>
                  <a:pt x="36" y="106"/>
                </a:cubicBezTo>
                <a:cubicBezTo>
                  <a:pt x="36" y="106"/>
                  <a:pt x="36" y="106"/>
                  <a:pt x="36" y="106"/>
                </a:cubicBezTo>
                <a:cubicBezTo>
                  <a:pt x="36" y="107"/>
                  <a:pt x="36" y="107"/>
                  <a:pt x="36" y="107"/>
                </a:cubicBezTo>
                <a:cubicBezTo>
                  <a:pt x="36" y="108"/>
                  <a:pt x="36" y="108"/>
                  <a:pt x="36" y="108"/>
                </a:cubicBezTo>
                <a:cubicBezTo>
                  <a:pt x="37" y="106"/>
                  <a:pt x="37" y="106"/>
                  <a:pt x="37" y="106"/>
                </a:cubicBezTo>
                <a:cubicBezTo>
                  <a:pt x="38" y="106"/>
                  <a:pt x="38" y="106"/>
                  <a:pt x="38" y="106"/>
                </a:cubicBezTo>
                <a:cubicBezTo>
                  <a:pt x="37" y="105"/>
                  <a:pt x="37" y="105"/>
                  <a:pt x="37" y="105"/>
                </a:cubicBezTo>
                <a:cubicBezTo>
                  <a:pt x="38" y="105"/>
                  <a:pt x="38" y="105"/>
                  <a:pt x="38" y="105"/>
                </a:cubicBezTo>
                <a:cubicBezTo>
                  <a:pt x="38" y="106"/>
                  <a:pt x="38" y="106"/>
                  <a:pt x="38" y="106"/>
                </a:cubicBezTo>
                <a:cubicBezTo>
                  <a:pt x="39" y="106"/>
                  <a:pt x="39" y="106"/>
                  <a:pt x="39" y="106"/>
                </a:cubicBezTo>
                <a:cubicBezTo>
                  <a:pt x="39" y="105"/>
                  <a:pt x="39" y="105"/>
                  <a:pt x="39" y="105"/>
                </a:cubicBezTo>
                <a:cubicBezTo>
                  <a:pt x="40" y="106"/>
                  <a:pt x="40" y="106"/>
                  <a:pt x="40" y="106"/>
                </a:cubicBezTo>
                <a:cubicBezTo>
                  <a:pt x="41" y="106"/>
                  <a:pt x="41" y="106"/>
                  <a:pt x="41" y="106"/>
                </a:cubicBezTo>
                <a:cubicBezTo>
                  <a:pt x="41" y="105"/>
                  <a:pt x="41" y="105"/>
                  <a:pt x="41" y="105"/>
                </a:cubicBezTo>
                <a:cubicBezTo>
                  <a:pt x="41" y="105"/>
                  <a:pt x="41" y="105"/>
                  <a:pt x="41" y="105"/>
                </a:cubicBezTo>
                <a:cubicBezTo>
                  <a:pt x="42" y="106"/>
                  <a:pt x="42" y="106"/>
                  <a:pt x="42" y="106"/>
                </a:cubicBezTo>
                <a:cubicBezTo>
                  <a:pt x="42" y="105"/>
                  <a:pt x="42" y="105"/>
                  <a:pt x="42" y="105"/>
                </a:cubicBezTo>
                <a:cubicBezTo>
                  <a:pt x="44" y="105"/>
                  <a:pt x="44" y="105"/>
                  <a:pt x="44" y="105"/>
                </a:cubicBezTo>
                <a:cubicBezTo>
                  <a:pt x="45" y="106"/>
                  <a:pt x="45" y="106"/>
                  <a:pt x="45" y="106"/>
                </a:cubicBezTo>
                <a:cubicBezTo>
                  <a:pt x="47" y="106"/>
                  <a:pt x="47" y="106"/>
                  <a:pt x="47" y="106"/>
                </a:cubicBezTo>
                <a:cubicBezTo>
                  <a:pt x="47" y="105"/>
                  <a:pt x="47" y="105"/>
                  <a:pt x="47" y="105"/>
                </a:cubicBezTo>
                <a:cubicBezTo>
                  <a:pt x="47" y="104"/>
                  <a:pt x="47" y="104"/>
                  <a:pt x="47" y="104"/>
                </a:cubicBezTo>
                <a:cubicBezTo>
                  <a:pt x="47" y="104"/>
                  <a:pt x="47" y="104"/>
                  <a:pt x="47" y="104"/>
                </a:cubicBezTo>
                <a:cubicBezTo>
                  <a:pt x="48" y="104"/>
                  <a:pt x="48" y="104"/>
                  <a:pt x="48" y="104"/>
                </a:cubicBezTo>
                <a:cubicBezTo>
                  <a:pt x="48" y="105"/>
                  <a:pt x="48" y="105"/>
                  <a:pt x="48" y="105"/>
                </a:cubicBezTo>
                <a:cubicBezTo>
                  <a:pt x="49" y="105"/>
                  <a:pt x="49" y="105"/>
                  <a:pt x="49" y="105"/>
                </a:cubicBezTo>
                <a:cubicBezTo>
                  <a:pt x="49" y="105"/>
                  <a:pt x="50" y="105"/>
                  <a:pt x="50" y="104"/>
                </a:cubicBezTo>
                <a:close/>
                <a:moveTo>
                  <a:pt x="26" y="59"/>
                </a:moveTo>
                <a:cubicBezTo>
                  <a:pt x="26" y="59"/>
                  <a:pt x="26" y="59"/>
                  <a:pt x="26" y="59"/>
                </a:cubicBezTo>
                <a:cubicBezTo>
                  <a:pt x="25" y="59"/>
                  <a:pt x="25" y="59"/>
                  <a:pt x="25" y="59"/>
                </a:cubicBezTo>
                <a:cubicBezTo>
                  <a:pt x="24" y="58"/>
                  <a:pt x="24" y="58"/>
                  <a:pt x="24" y="58"/>
                </a:cubicBezTo>
                <a:cubicBezTo>
                  <a:pt x="25" y="57"/>
                  <a:pt x="25" y="57"/>
                  <a:pt x="25" y="57"/>
                </a:cubicBezTo>
                <a:cubicBezTo>
                  <a:pt x="27" y="57"/>
                  <a:pt x="27" y="57"/>
                  <a:pt x="27" y="57"/>
                </a:cubicBezTo>
                <a:cubicBezTo>
                  <a:pt x="27" y="58"/>
                  <a:pt x="27" y="58"/>
                  <a:pt x="27" y="58"/>
                </a:cubicBezTo>
                <a:cubicBezTo>
                  <a:pt x="26" y="58"/>
                  <a:pt x="26" y="58"/>
                  <a:pt x="26" y="58"/>
                </a:cubicBezTo>
                <a:cubicBezTo>
                  <a:pt x="26" y="59"/>
                  <a:pt x="26" y="59"/>
                  <a:pt x="26" y="59"/>
                </a:cubicBezTo>
                <a:close/>
                <a:moveTo>
                  <a:pt x="9" y="77"/>
                </a:moveTo>
                <a:cubicBezTo>
                  <a:pt x="9" y="76"/>
                  <a:pt x="9" y="76"/>
                  <a:pt x="9" y="76"/>
                </a:cubicBezTo>
                <a:cubicBezTo>
                  <a:pt x="10" y="76"/>
                  <a:pt x="10" y="76"/>
                  <a:pt x="10" y="76"/>
                </a:cubicBezTo>
                <a:cubicBezTo>
                  <a:pt x="9" y="77"/>
                  <a:pt x="9" y="77"/>
                  <a:pt x="9" y="77"/>
                </a:cubicBezTo>
                <a:cubicBezTo>
                  <a:pt x="9" y="77"/>
                  <a:pt x="9" y="77"/>
                  <a:pt x="9" y="77"/>
                </a:cubicBezTo>
                <a:close/>
                <a:moveTo>
                  <a:pt x="8" y="77"/>
                </a:moveTo>
                <a:cubicBezTo>
                  <a:pt x="9" y="78"/>
                  <a:pt x="9" y="78"/>
                  <a:pt x="9" y="78"/>
                </a:cubicBezTo>
                <a:cubicBezTo>
                  <a:pt x="10" y="78"/>
                  <a:pt x="10" y="78"/>
                  <a:pt x="10" y="78"/>
                </a:cubicBezTo>
                <a:cubicBezTo>
                  <a:pt x="10" y="79"/>
                  <a:pt x="10" y="79"/>
                  <a:pt x="10" y="79"/>
                </a:cubicBezTo>
                <a:cubicBezTo>
                  <a:pt x="9" y="79"/>
                  <a:pt x="9" y="79"/>
                  <a:pt x="9" y="79"/>
                </a:cubicBezTo>
                <a:cubicBezTo>
                  <a:pt x="8" y="78"/>
                  <a:pt x="8" y="78"/>
                  <a:pt x="8" y="78"/>
                </a:cubicBezTo>
                <a:cubicBezTo>
                  <a:pt x="8" y="77"/>
                  <a:pt x="8" y="77"/>
                  <a:pt x="8" y="77"/>
                </a:cubicBezTo>
                <a:close/>
                <a:moveTo>
                  <a:pt x="21" y="110"/>
                </a:moveTo>
                <a:cubicBezTo>
                  <a:pt x="21" y="111"/>
                  <a:pt x="21" y="111"/>
                  <a:pt x="21" y="111"/>
                </a:cubicBezTo>
                <a:cubicBezTo>
                  <a:pt x="21" y="112"/>
                  <a:pt x="21" y="112"/>
                  <a:pt x="21" y="112"/>
                </a:cubicBezTo>
                <a:cubicBezTo>
                  <a:pt x="20" y="111"/>
                  <a:pt x="20" y="111"/>
                  <a:pt x="20" y="111"/>
                </a:cubicBezTo>
                <a:cubicBezTo>
                  <a:pt x="21" y="111"/>
                  <a:pt x="21" y="111"/>
                  <a:pt x="21" y="111"/>
                </a:cubicBezTo>
                <a:cubicBezTo>
                  <a:pt x="21" y="110"/>
                  <a:pt x="21" y="110"/>
                  <a:pt x="21" y="110"/>
                </a:cubicBezTo>
                <a:close/>
                <a:moveTo>
                  <a:pt x="20" y="109"/>
                </a:moveTo>
                <a:cubicBezTo>
                  <a:pt x="20" y="109"/>
                  <a:pt x="20" y="110"/>
                  <a:pt x="20" y="110"/>
                </a:cubicBezTo>
                <a:cubicBezTo>
                  <a:pt x="19" y="110"/>
                  <a:pt x="19" y="110"/>
                  <a:pt x="19" y="110"/>
                </a:cubicBezTo>
                <a:cubicBezTo>
                  <a:pt x="20" y="109"/>
                  <a:pt x="20" y="109"/>
                  <a:pt x="20" y="109"/>
                </a:cubicBezTo>
                <a:close/>
                <a:moveTo>
                  <a:pt x="17" y="108"/>
                </a:moveTo>
                <a:cubicBezTo>
                  <a:pt x="19" y="107"/>
                  <a:pt x="19" y="107"/>
                  <a:pt x="19" y="107"/>
                </a:cubicBezTo>
                <a:cubicBezTo>
                  <a:pt x="19" y="108"/>
                  <a:pt x="19" y="108"/>
                  <a:pt x="19" y="108"/>
                </a:cubicBezTo>
                <a:cubicBezTo>
                  <a:pt x="18" y="109"/>
                  <a:pt x="18" y="109"/>
                  <a:pt x="18" y="109"/>
                </a:cubicBezTo>
                <a:cubicBezTo>
                  <a:pt x="17" y="108"/>
                  <a:pt x="17" y="108"/>
                  <a:pt x="17" y="108"/>
                </a:cubicBezTo>
                <a:cubicBezTo>
                  <a:pt x="17" y="108"/>
                  <a:pt x="17" y="108"/>
                  <a:pt x="17" y="108"/>
                </a:cubicBezTo>
                <a:close/>
                <a:moveTo>
                  <a:pt x="14" y="106"/>
                </a:moveTo>
                <a:cubicBezTo>
                  <a:pt x="16" y="107"/>
                  <a:pt x="16" y="107"/>
                  <a:pt x="16" y="107"/>
                </a:cubicBezTo>
                <a:cubicBezTo>
                  <a:pt x="15" y="107"/>
                  <a:pt x="15" y="107"/>
                  <a:pt x="15" y="107"/>
                </a:cubicBezTo>
                <a:cubicBezTo>
                  <a:pt x="14" y="107"/>
                  <a:pt x="14" y="107"/>
                  <a:pt x="14" y="107"/>
                </a:cubicBezTo>
                <a:cubicBezTo>
                  <a:pt x="14" y="106"/>
                  <a:pt x="14" y="106"/>
                  <a:pt x="14" y="106"/>
                </a:cubicBezTo>
                <a:close/>
                <a:moveTo>
                  <a:pt x="12" y="106"/>
                </a:moveTo>
                <a:cubicBezTo>
                  <a:pt x="13" y="106"/>
                  <a:pt x="13" y="106"/>
                  <a:pt x="13" y="106"/>
                </a:cubicBezTo>
                <a:cubicBezTo>
                  <a:pt x="12" y="107"/>
                  <a:pt x="12" y="107"/>
                  <a:pt x="12" y="107"/>
                </a:cubicBezTo>
                <a:cubicBezTo>
                  <a:pt x="12" y="107"/>
                  <a:pt x="12" y="106"/>
                  <a:pt x="12" y="106"/>
                </a:cubicBezTo>
                <a:close/>
                <a:moveTo>
                  <a:pt x="3" y="108"/>
                </a:moveTo>
                <a:cubicBezTo>
                  <a:pt x="5" y="108"/>
                  <a:pt x="5" y="108"/>
                  <a:pt x="5" y="108"/>
                </a:cubicBezTo>
                <a:cubicBezTo>
                  <a:pt x="5" y="108"/>
                  <a:pt x="5" y="108"/>
                  <a:pt x="5" y="108"/>
                </a:cubicBezTo>
                <a:cubicBezTo>
                  <a:pt x="4" y="107"/>
                  <a:pt x="4" y="107"/>
                  <a:pt x="4" y="107"/>
                </a:cubicBezTo>
                <a:cubicBezTo>
                  <a:pt x="4" y="106"/>
                  <a:pt x="4" y="106"/>
                  <a:pt x="4" y="106"/>
                </a:cubicBezTo>
                <a:cubicBezTo>
                  <a:pt x="5" y="106"/>
                  <a:pt x="5" y="106"/>
                  <a:pt x="5" y="106"/>
                </a:cubicBezTo>
                <a:cubicBezTo>
                  <a:pt x="7" y="107"/>
                  <a:pt x="7" y="107"/>
                  <a:pt x="7" y="107"/>
                </a:cubicBezTo>
                <a:cubicBezTo>
                  <a:pt x="7" y="108"/>
                  <a:pt x="7" y="108"/>
                  <a:pt x="7" y="108"/>
                </a:cubicBezTo>
                <a:cubicBezTo>
                  <a:pt x="6" y="108"/>
                  <a:pt x="6" y="108"/>
                  <a:pt x="6" y="108"/>
                </a:cubicBezTo>
                <a:cubicBezTo>
                  <a:pt x="6" y="109"/>
                  <a:pt x="6" y="109"/>
                  <a:pt x="6" y="109"/>
                </a:cubicBezTo>
                <a:cubicBezTo>
                  <a:pt x="6" y="110"/>
                  <a:pt x="6" y="110"/>
                  <a:pt x="6" y="110"/>
                </a:cubicBezTo>
                <a:cubicBezTo>
                  <a:pt x="7" y="110"/>
                  <a:pt x="7" y="110"/>
                  <a:pt x="7" y="110"/>
                </a:cubicBezTo>
                <a:cubicBezTo>
                  <a:pt x="7" y="111"/>
                  <a:pt x="7" y="111"/>
                  <a:pt x="7" y="111"/>
                </a:cubicBezTo>
                <a:cubicBezTo>
                  <a:pt x="7" y="111"/>
                  <a:pt x="7" y="111"/>
                  <a:pt x="7" y="111"/>
                </a:cubicBezTo>
                <a:cubicBezTo>
                  <a:pt x="5" y="110"/>
                  <a:pt x="5" y="110"/>
                  <a:pt x="5" y="110"/>
                </a:cubicBezTo>
                <a:cubicBezTo>
                  <a:pt x="4" y="110"/>
                  <a:pt x="4" y="110"/>
                  <a:pt x="4" y="110"/>
                </a:cubicBezTo>
                <a:cubicBezTo>
                  <a:pt x="4" y="109"/>
                  <a:pt x="4" y="109"/>
                  <a:pt x="4" y="109"/>
                </a:cubicBezTo>
                <a:cubicBezTo>
                  <a:pt x="3" y="109"/>
                  <a:pt x="3" y="109"/>
                  <a:pt x="3" y="109"/>
                </a:cubicBezTo>
                <a:lnTo>
                  <a:pt x="3" y="108"/>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8" name="Freeform 46">
            <a:extLst>
              <a:ext uri="{FF2B5EF4-FFF2-40B4-BE49-F238E27FC236}">
                <a16:creationId xmlns:a16="http://schemas.microsoft.com/office/drawing/2014/main" id="{BBD057DD-1111-FBC9-8E85-930CB025E0DE}"/>
              </a:ext>
            </a:extLst>
          </p:cNvPr>
          <p:cNvSpPr>
            <a:spLocks noEditPoints="1"/>
          </p:cNvSpPr>
          <p:nvPr userDrawn="1"/>
        </p:nvSpPr>
        <p:spPr bwMode="auto">
          <a:xfrm>
            <a:off x="14321491" y="5076108"/>
            <a:ext cx="336528" cy="228600"/>
          </a:xfrm>
          <a:custGeom>
            <a:avLst/>
            <a:gdLst>
              <a:gd name="T0" fmla="*/ 103 w 106"/>
              <a:gd name="T1" fmla="*/ 66 h 72"/>
              <a:gd name="T2" fmla="*/ 106 w 106"/>
              <a:gd name="T3" fmla="*/ 59 h 72"/>
              <a:gd name="T4" fmla="*/ 96 w 106"/>
              <a:gd name="T5" fmla="*/ 41 h 72"/>
              <a:gd name="T6" fmla="*/ 100 w 106"/>
              <a:gd name="T7" fmla="*/ 25 h 72"/>
              <a:gd name="T8" fmla="*/ 103 w 106"/>
              <a:gd name="T9" fmla="*/ 12 h 72"/>
              <a:gd name="T10" fmla="*/ 106 w 106"/>
              <a:gd name="T11" fmla="*/ 12 h 72"/>
              <a:gd name="T12" fmla="*/ 103 w 106"/>
              <a:gd name="T13" fmla="*/ 9 h 72"/>
              <a:gd name="T14" fmla="*/ 81 w 106"/>
              <a:gd name="T15" fmla="*/ 6 h 72"/>
              <a:gd name="T16" fmla="*/ 68 w 106"/>
              <a:gd name="T17" fmla="*/ 3 h 72"/>
              <a:gd name="T18" fmla="*/ 62 w 106"/>
              <a:gd name="T19" fmla="*/ 0 h 72"/>
              <a:gd name="T20" fmla="*/ 59 w 106"/>
              <a:gd name="T21" fmla="*/ 3 h 72"/>
              <a:gd name="T22" fmla="*/ 59 w 106"/>
              <a:gd name="T23" fmla="*/ 6 h 72"/>
              <a:gd name="T24" fmla="*/ 56 w 106"/>
              <a:gd name="T25" fmla="*/ 9 h 72"/>
              <a:gd name="T26" fmla="*/ 46 w 106"/>
              <a:gd name="T27" fmla="*/ 6 h 72"/>
              <a:gd name="T28" fmla="*/ 43 w 106"/>
              <a:gd name="T29" fmla="*/ 9 h 72"/>
              <a:gd name="T30" fmla="*/ 37 w 106"/>
              <a:gd name="T31" fmla="*/ 16 h 72"/>
              <a:gd name="T32" fmla="*/ 28 w 106"/>
              <a:gd name="T33" fmla="*/ 16 h 72"/>
              <a:gd name="T34" fmla="*/ 28 w 106"/>
              <a:gd name="T35" fmla="*/ 31 h 72"/>
              <a:gd name="T36" fmla="*/ 31 w 106"/>
              <a:gd name="T37" fmla="*/ 31 h 72"/>
              <a:gd name="T38" fmla="*/ 34 w 106"/>
              <a:gd name="T39" fmla="*/ 34 h 72"/>
              <a:gd name="T40" fmla="*/ 31 w 106"/>
              <a:gd name="T41" fmla="*/ 41 h 72"/>
              <a:gd name="T42" fmla="*/ 40 w 106"/>
              <a:gd name="T43" fmla="*/ 50 h 72"/>
              <a:gd name="T44" fmla="*/ 40 w 106"/>
              <a:gd name="T45" fmla="*/ 47 h 72"/>
              <a:gd name="T46" fmla="*/ 46 w 106"/>
              <a:gd name="T47" fmla="*/ 47 h 72"/>
              <a:gd name="T48" fmla="*/ 43 w 106"/>
              <a:gd name="T49" fmla="*/ 59 h 72"/>
              <a:gd name="T50" fmla="*/ 53 w 106"/>
              <a:gd name="T51" fmla="*/ 53 h 72"/>
              <a:gd name="T52" fmla="*/ 62 w 106"/>
              <a:gd name="T53" fmla="*/ 56 h 72"/>
              <a:gd name="T54" fmla="*/ 65 w 106"/>
              <a:gd name="T55" fmla="*/ 53 h 72"/>
              <a:gd name="T56" fmla="*/ 68 w 106"/>
              <a:gd name="T57" fmla="*/ 59 h 72"/>
              <a:gd name="T58" fmla="*/ 78 w 106"/>
              <a:gd name="T59" fmla="*/ 62 h 72"/>
              <a:gd name="T60" fmla="*/ 84 w 106"/>
              <a:gd name="T61" fmla="*/ 69 h 72"/>
              <a:gd name="T62" fmla="*/ 93 w 106"/>
              <a:gd name="T63" fmla="*/ 69 h 72"/>
              <a:gd name="T64" fmla="*/ 100 w 106"/>
              <a:gd name="T65" fmla="*/ 72 h 72"/>
              <a:gd name="T66" fmla="*/ 25 w 106"/>
              <a:gd name="T67" fmla="*/ 25 h 72"/>
              <a:gd name="T68" fmla="*/ 21 w 106"/>
              <a:gd name="T69" fmla="*/ 28 h 72"/>
              <a:gd name="T70" fmla="*/ 21 w 106"/>
              <a:gd name="T71" fmla="*/ 25 h 72"/>
              <a:gd name="T72" fmla="*/ 12 w 106"/>
              <a:gd name="T73" fmla="*/ 31 h 72"/>
              <a:gd name="T74" fmla="*/ 3 w 106"/>
              <a:gd name="T75" fmla="*/ 31 h 72"/>
              <a:gd name="T76" fmla="*/ 9 w 106"/>
              <a:gd name="T77" fmla="*/ 28 h 72"/>
              <a:gd name="T78" fmla="*/ 12 w 106"/>
              <a:gd name="T79" fmla="*/ 25 h 72"/>
              <a:gd name="T80" fmla="*/ 15 w 106"/>
              <a:gd name="T81" fmla="*/ 25 h 72"/>
              <a:gd name="T82" fmla="*/ 21 w 106"/>
              <a:gd name="T83" fmla="*/ 31 h 72"/>
              <a:gd name="T84" fmla="*/ 15 w 106"/>
              <a:gd name="T85" fmla="*/ 31 h 72"/>
              <a:gd name="T86" fmla="*/ 12 w 106"/>
              <a:gd name="T87" fmla="*/ 34 h 72"/>
              <a:gd name="T88" fmla="*/ 21 w 106"/>
              <a:gd name="T89" fmla="*/ 34 h 72"/>
              <a:gd name="T90" fmla="*/ 28 w 106"/>
              <a:gd name="T91" fmla="*/ 41 h 72"/>
              <a:gd name="T92" fmla="*/ 21 w 106"/>
              <a:gd name="T93" fmla="*/ 37 h 72"/>
              <a:gd name="T94" fmla="*/ 3 w 106"/>
              <a:gd name="T95" fmla="*/ 59 h 72"/>
              <a:gd name="T96" fmla="*/ 9 w 106"/>
              <a:gd name="T97" fmla="*/ 56 h 72"/>
              <a:gd name="T98" fmla="*/ 9 w 106"/>
              <a:gd name="T99" fmla="*/ 50 h 72"/>
              <a:gd name="T100" fmla="*/ 18 w 106"/>
              <a:gd name="T101" fmla="*/ 47 h 72"/>
              <a:gd name="T102" fmla="*/ 21 w 106"/>
              <a:gd name="T103" fmla="*/ 44 h 72"/>
              <a:gd name="T104" fmla="*/ 21 w 106"/>
              <a:gd name="T105" fmla="*/ 41 h 72"/>
              <a:gd name="T106" fmla="*/ 18 w 106"/>
              <a:gd name="T107" fmla="*/ 37 h 72"/>
              <a:gd name="T108" fmla="*/ 9 w 106"/>
              <a:gd name="T109" fmla="*/ 37 h 72"/>
              <a:gd name="T110" fmla="*/ 6 w 106"/>
              <a:gd name="T111" fmla="*/ 41 h 72"/>
              <a:gd name="T112" fmla="*/ 6 w 106"/>
              <a:gd name="T113" fmla="*/ 41 h 72"/>
              <a:gd name="T114" fmla="*/ 3 w 106"/>
              <a:gd name="T115" fmla="*/ 41 h 72"/>
              <a:gd name="T116" fmla="*/ 3 w 106"/>
              <a:gd name="T117" fmla="*/ 44 h 72"/>
              <a:gd name="T118" fmla="*/ 0 w 106"/>
              <a:gd name="T119" fmla="*/ 47 h 72"/>
              <a:gd name="T120" fmla="*/ 3 w 106"/>
              <a:gd name="T121" fmla="*/ 50 h 72"/>
              <a:gd name="T122" fmla="*/ 6 w 106"/>
              <a:gd name="T123" fmla="*/ 56 h 72"/>
              <a:gd name="T124" fmla="*/ 3 w 106"/>
              <a:gd name="T125" fmla="*/ 5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 h="72">
                <a:moveTo>
                  <a:pt x="100" y="72"/>
                </a:moveTo>
                <a:lnTo>
                  <a:pt x="103" y="66"/>
                </a:lnTo>
                <a:lnTo>
                  <a:pt x="103" y="62"/>
                </a:lnTo>
                <a:lnTo>
                  <a:pt x="106" y="59"/>
                </a:lnTo>
                <a:lnTo>
                  <a:pt x="106" y="56"/>
                </a:lnTo>
                <a:lnTo>
                  <a:pt x="96" y="41"/>
                </a:lnTo>
                <a:lnTo>
                  <a:pt x="96" y="25"/>
                </a:lnTo>
                <a:lnTo>
                  <a:pt x="100" y="25"/>
                </a:lnTo>
                <a:lnTo>
                  <a:pt x="100" y="19"/>
                </a:lnTo>
                <a:lnTo>
                  <a:pt x="103" y="12"/>
                </a:lnTo>
                <a:lnTo>
                  <a:pt x="106" y="12"/>
                </a:lnTo>
                <a:lnTo>
                  <a:pt x="106" y="12"/>
                </a:lnTo>
                <a:lnTo>
                  <a:pt x="103" y="9"/>
                </a:lnTo>
                <a:lnTo>
                  <a:pt x="103" y="9"/>
                </a:lnTo>
                <a:lnTo>
                  <a:pt x="87" y="9"/>
                </a:lnTo>
                <a:lnTo>
                  <a:pt x="81" y="6"/>
                </a:lnTo>
                <a:lnTo>
                  <a:pt x="71" y="6"/>
                </a:lnTo>
                <a:lnTo>
                  <a:pt x="68" y="3"/>
                </a:lnTo>
                <a:lnTo>
                  <a:pt x="65" y="6"/>
                </a:lnTo>
                <a:lnTo>
                  <a:pt x="62" y="0"/>
                </a:lnTo>
                <a:lnTo>
                  <a:pt x="62" y="3"/>
                </a:lnTo>
                <a:lnTo>
                  <a:pt x="59" y="3"/>
                </a:lnTo>
                <a:lnTo>
                  <a:pt x="59" y="6"/>
                </a:lnTo>
                <a:lnTo>
                  <a:pt x="59" y="6"/>
                </a:lnTo>
                <a:lnTo>
                  <a:pt x="56" y="9"/>
                </a:lnTo>
                <a:lnTo>
                  <a:pt x="56" y="9"/>
                </a:lnTo>
                <a:lnTo>
                  <a:pt x="46" y="9"/>
                </a:lnTo>
                <a:lnTo>
                  <a:pt x="46" y="6"/>
                </a:lnTo>
                <a:lnTo>
                  <a:pt x="46" y="9"/>
                </a:lnTo>
                <a:lnTo>
                  <a:pt x="43" y="9"/>
                </a:lnTo>
                <a:lnTo>
                  <a:pt x="37" y="9"/>
                </a:lnTo>
                <a:lnTo>
                  <a:pt x="37" y="16"/>
                </a:lnTo>
                <a:lnTo>
                  <a:pt x="34" y="12"/>
                </a:lnTo>
                <a:lnTo>
                  <a:pt x="28" y="16"/>
                </a:lnTo>
                <a:lnTo>
                  <a:pt x="28" y="19"/>
                </a:lnTo>
                <a:lnTo>
                  <a:pt x="28" y="31"/>
                </a:lnTo>
                <a:lnTo>
                  <a:pt x="31" y="34"/>
                </a:lnTo>
                <a:lnTo>
                  <a:pt x="31" y="31"/>
                </a:lnTo>
                <a:lnTo>
                  <a:pt x="34" y="31"/>
                </a:lnTo>
                <a:lnTo>
                  <a:pt x="34" y="34"/>
                </a:lnTo>
                <a:lnTo>
                  <a:pt x="31" y="34"/>
                </a:lnTo>
                <a:lnTo>
                  <a:pt x="31" y="41"/>
                </a:lnTo>
                <a:lnTo>
                  <a:pt x="34" y="44"/>
                </a:lnTo>
                <a:lnTo>
                  <a:pt x="40" y="50"/>
                </a:lnTo>
                <a:lnTo>
                  <a:pt x="40" y="50"/>
                </a:lnTo>
                <a:lnTo>
                  <a:pt x="40" y="47"/>
                </a:lnTo>
                <a:lnTo>
                  <a:pt x="43" y="44"/>
                </a:lnTo>
                <a:lnTo>
                  <a:pt x="46" y="47"/>
                </a:lnTo>
                <a:lnTo>
                  <a:pt x="43" y="56"/>
                </a:lnTo>
                <a:lnTo>
                  <a:pt x="43" y="59"/>
                </a:lnTo>
                <a:lnTo>
                  <a:pt x="46" y="59"/>
                </a:lnTo>
                <a:lnTo>
                  <a:pt x="53" y="53"/>
                </a:lnTo>
                <a:lnTo>
                  <a:pt x="56" y="53"/>
                </a:lnTo>
                <a:lnTo>
                  <a:pt x="62" y="56"/>
                </a:lnTo>
                <a:lnTo>
                  <a:pt x="65" y="56"/>
                </a:lnTo>
                <a:lnTo>
                  <a:pt x="65" y="53"/>
                </a:lnTo>
                <a:lnTo>
                  <a:pt x="68" y="56"/>
                </a:lnTo>
                <a:lnTo>
                  <a:pt x="68" y="59"/>
                </a:lnTo>
                <a:lnTo>
                  <a:pt x="71" y="59"/>
                </a:lnTo>
                <a:lnTo>
                  <a:pt x="78" y="62"/>
                </a:lnTo>
                <a:lnTo>
                  <a:pt x="81" y="66"/>
                </a:lnTo>
                <a:lnTo>
                  <a:pt x="84" y="69"/>
                </a:lnTo>
                <a:lnTo>
                  <a:pt x="87" y="72"/>
                </a:lnTo>
                <a:lnTo>
                  <a:pt x="93" y="69"/>
                </a:lnTo>
                <a:lnTo>
                  <a:pt x="100" y="72"/>
                </a:lnTo>
                <a:lnTo>
                  <a:pt x="100" y="72"/>
                </a:lnTo>
                <a:close/>
                <a:moveTo>
                  <a:pt x="21" y="25"/>
                </a:moveTo>
                <a:lnTo>
                  <a:pt x="25" y="25"/>
                </a:lnTo>
                <a:lnTo>
                  <a:pt x="25" y="28"/>
                </a:lnTo>
                <a:lnTo>
                  <a:pt x="21" y="28"/>
                </a:lnTo>
                <a:lnTo>
                  <a:pt x="21" y="25"/>
                </a:lnTo>
                <a:lnTo>
                  <a:pt x="21" y="25"/>
                </a:lnTo>
                <a:close/>
                <a:moveTo>
                  <a:pt x="12" y="34"/>
                </a:moveTo>
                <a:lnTo>
                  <a:pt x="12" y="31"/>
                </a:lnTo>
                <a:lnTo>
                  <a:pt x="9" y="31"/>
                </a:lnTo>
                <a:lnTo>
                  <a:pt x="3" y="31"/>
                </a:lnTo>
                <a:lnTo>
                  <a:pt x="3" y="31"/>
                </a:lnTo>
                <a:lnTo>
                  <a:pt x="9" y="28"/>
                </a:lnTo>
                <a:lnTo>
                  <a:pt x="12" y="25"/>
                </a:lnTo>
                <a:lnTo>
                  <a:pt x="12" y="25"/>
                </a:lnTo>
                <a:lnTo>
                  <a:pt x="12" y="25"/>
                </a:lnTo>
                <a:lnTo>
                  <a:pt x="15" y="25"/>
                </a:lnTo>
                <a:lnTo>
                  <a:pt x="18" y="28"/>
                </a:lnTo>
                <a:lnTo>
                  <a:pt x="21" y="31"/>
                </a:lnTo>
                <a:lnTo>
                  <a:pt x="18" y="31"/>
                </a:lnTo>
                <a:lnTo>
                  <a:pt x="15" y="31"/>
                </a:lnTo>
                <a:lnTo>
                  <a:pt x="12" y="34"/>
                </a:lnTo>
                <a:lnTo>
                  <a:pt x="12" y="34"/>
                </a:lnTo>
                <a:close/>
                <a:moveTo>
                  <a:pt x="21" y="37"/>
                </a:moveTo>
                <a:lnTo>
                  <a:pt x="21" y="34"/>
                </a:lnTo>
                <a:lnTo>
                  <a:pt x="25" y="34"/>
                </a:lnTo>
                <a:lnTo>
                  <a:pt x="28" y="41"/>
                </a:lnTo>
                <a:lnTo>
                  <a:pt x="25" y="41"/>
                </a:lnTo>
                <a:lnTo>
                  <a:pt x="21" y="37"/>
                </a:lnTo>
                <a:lnTo>
                  <a:pt x="21" y="37"/>
                </a:lnTo>
                <a:close/>
                <a:moveTo>
                  <a:pt x="3" y="59"/>
                </a:moveTo>
                <a:lnTo>
                  <a:pt x="6" y="59"/>
                </a:lnTo>
                <a:lnTo>
                  <a:pt x="9" y="56"/>
                </a:lnTo>
                <a:lnTo>
                  <a:pt x="9" y="56"/>
                </a:lnTo>
                <a:lnTo>
                  <a:pt x="9" y="50"/>
                </a:lnTo>
                <a:lnTo>
                  <a:pt x="15" y="50"/>
                </a:lnTo>
                <a:lnTo>
                  <a:pt x="18" y="47"/>
                </a:lnTo>
                <a:lnTo>
                  <a:pt x="21" y="44"/>
                </a:lnTo>
                <a:lnTo>
                  <a:pt x="21" y="44"/>
                </a:lnTo>
                <a:lnTo>
                  <a:pt x="25" y="44"/>
                </a:lnTo>
                <a:lnTo>
                  <a:pt x="21" y="41"/>
                </a:lnTo>
                <a:lnTo>
                  <a:pt x="21" y="41"/>
                </a:lnTo>
                <a:lnTo>
                  <a:pt x="18" y="37"/>
                </a:lnTo>
                <a:lnTo>
                  <a:pt x="12" y="37"/>
                </a:lnTo>
                <a:lnTo>
                  <a:pt x="9" y="37"/>
                </a:lnTo>
                <a:lnTo>
                  <a:pt x="9" y="41"/>
                </a:lnTo>
                <a:lnTo>
                  <a:pt x="6" y="41"/>
                </a:lnTo>
                <a:lnTo>
                  <a:pt x="6" y="41"/>
                </a:lnTo>
                <a:lnTo>
                  <a:pt x="6" y="41"/>
                </a:lnTo>
                <a:lnTo>
                  <a:pt x="3" y="41"/>
                </a:lnTo>
                <a:lnTo>
                  <a:pt x="3" y="41"/>
                </a:lnTo>
                <a:lnTo>
                  <a:pt x="0" y="41"/>
                </a:lnTo>
                <a:lnTo>
                  <a:pt x="3" y="44"/>
                </a:lnTo>
                <a:lnTo>
                  <a:pt x="3" y="44"/>
                </a:lnTo>
                <a:lnTo>
                  <a:pt x="0" y="47"/>
                </a:lnTo>
                <a:lnTo>
                  <a:pt x="0" y="47"/>
                </a:lnTo>
                <a:lnTo>
                  <a:pt x="3" y="50"/>
                </a:lnTo>
                <a:lnTo>
                  <a:pt x="6" y="53"/>
                </a:lnTo>
                <a:lnTo>
                  <a:pt x="6" y="56"/>
                </a:lnTo>
                <a:lnTo>
                  <a:pt x="6" y="56"/>
                </a:lnTo>
                <a:lnTo>
                  <a:pt x="3" y="5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9" name="Freeform 47">
            <a:extLst>
              <a:ext uri="{FF2B5EF4-FFF2-40B4-BE49-F238E27FC236}">
                <a16:creationId xmlns:a16="http://schemas.microsoft.com/office/drawing/2014/main" id="{E31A3B04-C675-7E5F-6949-1BCE5871EB0F}"/>
              </a:ext>
            </a:extLst>
          </p:cNvPr>
          <p:cNvSpPr>
            <a:spLocks/>
          </p:cNvSpPr>
          <p:nvPr userDrawn="1"/>
        </p:nvSpPr>
        <p:spPr bwMode="auto">
          <a:xfrm>
            <a:off x="14289741" y="5244381"/>
            <a:ext cx="396852" cy="219078"/>
          </a:xfrm>
          <a:custGeom>
            <a:avLst/>
            <a:gdLst>
              <a:gd name="T0" fmla="*/ 125 w 125"/>
              <a:gd name="T1" fmla="*/ 47 h 69"/>
              <a:gd name="T2" fmla="*/ 119 w 125"/>
              <a:gd name="T3" fmla="*/ 38 h 69"/>
              <a:gd name="T4" fmla="*/ 116 w 125"/>
              <a:gd name="T5" fmla="*/ 31 h 69"/>
              <a:gd name="T6" fmla="*/ 116 w 125"/>
              <a:gd name="T7" fmla="*/ 25 h 69"/>
              <a:gd name="T8" fmla="*/ 113 w 125"/>
              <a:gd name="T9" fmla="*/ 22 h 69"/>
              <a:gd name="T10" fmla="*/ 103 w 125"/>
              <a:gd name="T11" fmla="*/ 16 h 69"/>
              <a:gd name="T12" fmla="*/ 94 w 125"/>
              <a:gd name="T13" fmla="*/ 16 h 69"/>
              <a:gd name="T14" fmla="*/ 88 w 125"/>
              <a:gd name="T15" fmla="*/ 9 h 69"/>
              <a:gd name="T16" fmla="*/ 78 w 125"/>
              <a:gd name="T17" fmla="*/ 6 h 69"/>
              <a:gd name="T18" fmla="*/ 75 w 125"/>
              <a:gd name="T19" fmla="*/ 0 h 69"/>
              <a:gd name="T20" fmla="*/ 72 w 125"/>
              <a:gd name="T21" fmla="*/ 3 h 69"/>
              <a:gd name="T22" fmla="*/ 63 w 125"/>
              <a:gd name="T23" fmla="*/ 0 h 69"/>
              <a:gd name="T24" fmla="*/ 53 w 125"/>
              <a:gd name="T25" fmla="*/ 6 h 69"/>
              <a:gd name="T26" fmla="*/ 56 w 125"/>
              <a:gd name="T27" fmla="*/ 19 h 69"/>
              <a:gd name="T28" fmla="*/ 47 w 125"/>
              <a:gd name="T29" fmla="*/ 31 h 69"/>
              <a:gd name="T30" fmla="*/ 38 w 125"/>
              <a:gd name="T31" fmla="*/ 28 h 69"/>
              <a:gd name="T32" fmla="*/ 28 w 125"/>
              <a:gd name="T33" fmla="*/ 16 h 69"/>
              <a:gd name="T34" fmla="*/ 25 w 125"/>
              <a:gd name="T35" fmla="*/ 9 h 69"/>
              <a:gd name="T36" fmla="*/ 19 w 125"/>
              <a:gd name="T37" fmla="*/ 16 h 69"/>
              <a:gd name="T38" fmla="*/ 13 w 125"/>
              <a:gd name="T39" fmla="*/ 16 h 69"/>
              <a:gd name="T40" fmla="*/ 10 w 125"/>
              <a:gd name="T41" fmla="*/ 25 h 69"/>
              <a:gd name="T42" fmla="*/ 6 w 125"/>
              <a:gd name="T43" fmla="*/ 31 h 69"/>
              <a:gd name="T44" fmla="*/ 3 w 125"/>
              <a:gd name="T45" fmla="*/ 41 h 69"/>
              <a:gd name="T46" fmla="*/ 0 w 125"/>
              <a:gd name="T47" fmla="*/ 47 h 69"/>
              <a:gd name="T48" fmla="*/ 3 w 125"/>
              <a:gd name="T49" fmla="*/ 60 h 69"/>
              <a:gd name="T50" fmla="*/ 6 w 125"/>
              <a:gd name="T51" fmla="*/ 60 h 69"/>
              <a:gd name="T52" fmla="*/ 16 w 125"/>
              <a:gd name="T53" fmla="*/ 50 h 69"/>
              <a:gd name="T54" fmla="*/ 31 w 125"/>
              <a:gd name="T55" fmla="*/ 47 h 69"/>
              <a:gd name="T56" fmla="*/ 38 w 125"/>
              <a:gd name="T57" fmla="*/ 50 h 69"/>
              <a:gd name="T58" fmla="*/ 44 w 125"/>
              <a:gd name="T59" fmla="*/ 47 h 69"/>
              <a:gd name="T60" fmla="*/ 50 w 125"/>
              <a:gd name="T61" fmla="*/ 50 h 69"/>
              <a:gd name="T62" fmla="*/ 60 w 125"/>
              <a:gd name="T63" fmla="*/ 53 h 69"/>
              <a:gd name="T64" fmla="*/ 66 w 125"/>
              <a:gd name="T65" fmla="*/ 50 h 69"/>
              <a:gd name="T66" fmla="*/ 81 w 125"/>
              <a:gd name="T67" fmla="*/ 53 h 69"/>
              <a:gd name="T68" fmla="*/ 91 w 125"/>
              <a:gd name="T69" fmla="*/ 60 h 69"/>
              <a:gd name="T70" fmla="*/ 100 w 125"/>
              <a:gd name="T71" fmla="*/ 66 h 69"/>
              <a:gd name="T72" fmla="*/ 100 w 125"/>
              <a:gd name="T73" fmla="*/ 69 h 69"/>
              <a:gd name="T74" fmla="*/ 116 w 125"/>
              <a:gd name="T75" fmla="*/ 63 h 69"/>
              <a:gd name="T76" fmla="*/ 119 w 125"/>
              <a:gd name="T77" fmla="*/ 56 h 69"/>
              <a:gd name="T78" fmla="*/ 125 w 125"/>
              <a:gd name="T79" fmla="*/ 5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5" h="69">
                <a:moveTo>
                  <a:pt x="125" y="53"/>
                </a:moveTo>
                <a:lnTo>
                  <a:pt x="125" y="47"/>
                </a:lnTo>
                <a:lnTo>
                  <a:pt x="122" y="44"/>
                </a:lnTo>
                <a:lnTo>
                  <a:pt x="119" y="38"/>
                </a:lnTo>
                <a:lnTo>
                  <a:pt x="119" y="34"/>
                </a:lnTo>
                <a:lnTo>
                  <a:pt x="116" y="31"/>
                </a:lnTo>
                <a:lnTo>
                  <a:pt x="116" y="28"/>
                </a:lnTo>
                <a:lnTo>
                  <a:pt x="116" y="25"/>
                </a:lnTo>
                <a:lnTo>
                  <a:pt x="113" y="25"/>
                </a:lnTo>
                <a:lnTo>
                  <a:pt x="113" y="22"/>
                </a:lnTo>
                <a:lnTo>
                  <a:pt x="113" y="19"/>
                </a:lnTo>
                <a:lnTo>
                  <a:pt x="103" y="16"/>
                </a:lnTo>
                <a:lnTo>
                  <a:pt x="97" y="19"/>
                </a:lnTo>
                <a:lnTo>
                  <a:pt x="94" y="16"/>
                </a:lnTo>
                <a:lnTo>
                  <a:pt x="91" y="13"/>
                </a:lnTo>
                <a:lnTo>
                  <a:pt x="88" y="9"/>
                </a:lnTo>
                <a:lnTo>
                  <a:pt x="81" y="6"/>
                </a:lnTo>
                <a:lnTo>
                  <a:pt x="78" y="6"/>
                </a:lnTo>
                <a:lnTo>
                  <a:pt x="78" y="3"/>
                </a:lnTo>
                <a:lnTo>
                  <a:pt x="75" y="0"/>
                </a:lnTo>
                <a:lnTo>
                  <a:pt x="75" y="3"/>
                </a:lnTo>
                <a:lnTo>
                  <a:pt x="72" y="3"/>
                </a:lnTo>
                <a:lnTo>
                  <a:pt x="66" y="0"/>
                </a:lnTo>
                <a:lnTo>
                  <a:pt x="63" y="0"/>
                </a:lnTo>
                <a:lnTo>
                  <a:pt x="56" y="6"/>
                </a:lnTo>
                <a:lnTo>
                  <a:pt x="53" y="6"/>
                </a:lnTo>
                <a:lnTo>
                  <a:pt x="53" y="9"/>
                </a:lnTo>
                <a:lnTo>
                  <a:pt x="56" y="19"/>
                </a:lnTo>
                <a:lnTo>
                  <a:pt x="53" y="25"/>
                </a:lnTo>
                <a:lnTo>
                  <a:pt x="47" y="31"/>
                </a:lnTo>
                <a:lnTo>
                  <a:pt x="44" y="31"/>
                </a:lnTo>
                <a:lnTo>
                  <a:pt x="38" y="28"/>
                </a:lnTo>
                <a:lnTo>
                  <a:pt x="38" y="25"/>
                </a:lnTo>
                <a:lnTo>
                  <a:pt x="28" y="16"/>
                </a:lnTo>
                <a:lnTo>
                  <a:pt x="28" y="9"/>
                </a:lnTo>
                <a:lnTo>
                  <a:pt x="25" y="9"/>
                </a:lnTo>
                <a:lnTo>
                  <a:pt x="22" y="13"/>
                </a:lnTo>
                <a:lnTo>
                  <a:pt x="19" y="16"/>
                </a:lnTo>
                <a:lnTo>
                  <a:pt x="16" y="16"/>
                </a:lnTo>
                <a:lnTo>
                  <a:pt x="13" y="16"/>
                </a:lnTo>
                <a:lnTo>
                  <a:pt x="10" y="22"/>
                </a:lnTo>
                <a:lnTo>
                  <a:pt x="10" y="25"/>
                </a:lnTo>
                <a:lnTo>
                  <a:pt x="6" y="25"/>
                </a:lnTo>
                <a:lnTo>
                  <a:pt x="6" y="31"/>
                </a:lnTo>
                <a:lnTo>
                  <a:pt x="3" y="38"/>
                </a:lnTo>
                <a:lnTo>
                  <a:pt x="3" y="41"/>
                </a:lnTo>
                <a:lnTo>
                  <a:pt x="3" y="44"/>
                </a:lnTo>
                <a:lnTo>
                  <a:pt x="0" y="47"/>
                </a:lnTo>
                <a:lnTo>
                  <a:pt x="0" y="56"/>
                </a:lnTo>
                <a:lnTo>
                  <a:pt x="3" y="60"/>
                </a:lnTo>
                <a:lnTo>
                  <a:pt x="3" y="60"/>
                </a:lnTo>
                <a:lnTo>
                  <a:pt x="6" y="60"/>
                </a:lnTo>
                <a:lnTo>
                  <a:pt x="10" y="53"/>
                </a:lnTo>
                <a:lnTo>
                  <a:pt x="16" y="50"/>
                </a:lnTo>
                <a:lnTo>
                  <a:pt x="22" y="47"/>
                </a:lnTo>
                <a:lnTo>
                  <a:pt x="31" y="47"/>
                </a:lnTo>
                <a:lnTo>
                  <a:pt x="35" y="47"/>
                </a:lnTo>
                <a:lnTo>
                  <a:pt x="38" y="50"/>
                </a:lnTo>
                <a:lnTo>
                  <a:pt x="41" y="47"/>
                </a:lnTo>
                <a:lnTo>
                  <a:pt x="44" y="47"/>
                </a:lnTo>
                <a:lnTo>
                  <a:pt x="47" y="50"/>
                </a:lnTo>
                <a:lnTo>
                  <a:pt x="50" y="50"/>
                </a:lnTo>
                <a:lnTo>
                  <a:pt x="53" y="53"/>
                </a:lnTo>
                <a:lnTo>
                  <a:pt x="60" y="53"/>
                </a:lnTo>
                <a:lnTo>
                  <a:pt x="60" y="53"/>
                </a:lnTo>
                <a:lnTo>
                  <a:pt x="66" y="50"/>
                </a:lnTo>
                <a:lnTo>
                  <a:pt x="75" y="53"/>
                </a:lnTo>
                <a:lnTo>
                  <a:pt x="81" y="53"/>
                </a:lnTo>
                <a:lnTo>
                  <a:pt x="85" y="60"/>
                </a:lnTo>
                <a:lnTo>
                  <a:pt x="91" y="60"/>
                </a:lnTo>
                <a:lnTo>
                  <a:pt x="94" y="66"/>
                </a:lnTo>
                <a:lnTo>
                  <a:pt x="100" y="66"/>
                </a:lnTo>
                <a:lnTo>
                  <a:pt x="100" y="69"/>
                </a:lnTo>
                <a:lnTo>
                  <a:pt x="100" y="69"/>
                </a:lnTo>
                <a:lnTo>
                  <a:pt x="106" y="66"/>
                </a:lnTo>
                <a:lnTo>
                  <a:pt x="116" y="63"/>
                </a:lnTo>
                <a:lnTo>
                  <a:pt x="116" y="60"/>
                </a:lnTo>
                <a:lnTo>
                  <a:pt x="119" y="56"/>
                </a:lnTo>
                <a:lnTo>
                  <a:pt x="122" y="53"/>
                </a:lnTo>
                <a:lnTo>
                  <a:pt x="125" y="53"/>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0" name="Freeform 48">
            <a:extLst>
              <a:ext uri="{FF2B5EF4-FFF2-40B4-BE49-F238E27FC236}">
                <a16:creationId xmlns:a16="http://schemas.microsoft.com/office/drawing/2014/main" id="{73478B3B-959B-2208-AE1D-39D80EC1055F}"/>
              </a:ext>
            </a:extLst>
          </p:cNvPr>
          <p:cNvSpPr>
            <a:spLocks/>
          </p:cNvSpPr>
          <p:nvPr userDrawn="1"/>
        </p:nvSpPr>
        <p:spPr bwMode="auto">
          <a:xfrm>
            <a:off x="14299267" y="5393608"/>
            <a:ext cx="307956" cy="228600"/>
          </a:xfrm>
          <a:custGeom>
            <a:avLst/>
            <a:gdLst>
              <a:gd name="T0" fmla="*/ 32 w 97"/>
              <a:gd name="T1" fmla="*/ 50 h 72"/>
              <a:gd name="T2" fmla="*/ 32 w 97"/>
              <a:gd name="T3" fmla="*/ 44 h 72"/>
              <a:gd name="T4" fmla="*/ 35 w 97"/>
              <a:gd name="T5" fmla="*/ 41 h 72"/>
              <a:gd name="T6" fmla="*/ 32 w 97"/>
              <a:gd name="T7" fmla="*/ 41 h 72"/>
              <a:gd name="T8" fmla="*/ 28 w 97"/>
              <a:gd name="T9" fmla="*/ 38 h 72"/>
              <a:gd name="T10" fmla="*/ 28 w 97"/>
              <a:gd name="T11" fmla="*/ 34 h 72"/>
              <a:gd name="T12" fmla="*/ 25 w 97"/>
              <a:gd name="T13" fmla="*/ 34 h 72"/>
              <a:gd name="T14" fmla="*/ 19 w 97"/>
              <a:gd name="T15" fmla="*/ 34 h 72"/>
              <a:gd name="T16" fmla="*/ 13 w 97"/>
              <a:gd name="T17" fmla="*/ 31 h 72"/>
              <a:gd name="T18" fmla="*/ 10 w 97"/>
              <a:gd name="T19" fmla="*/ 25 h 72"/>
              <a:gd name="T20" fmla="*/ 3 w 97"/>
              <a:gd name="T21" fmla="*/ 28 h 72"/>
              <a:gd name="T22" fmla="*/ 0 w 97"/>
              <a:gd name="T23" fmla="*/ 25 h 72"/>
              <a:gd name="T24" fmla="*/ 3 w 97"/>
              <a:gd name="T25" fmla="*/ 22 h 72"/>
              <a:gd name="T26" fmla="*/ 0 w 97"/>
              <a:gd name="T27" fmla="*/ 19 h 72"/>
              <a:gd name="T28" fmla="*/ 0 w 97"/>
              <a:gd name="T29" fmla="*/ 13 h 72"/>
              <a:gd name="T30" fmla="*/ 3 w 97"/>
              <a:gd name="T31" fmla="*/ 13 h 72"/>
              <a:gd name="T32" fmla="*/ 7 w 97"/>
              <a:gd name="T33" fmla="*/ 6 h 72"/>
              <a:gd name="T34" fmla="*/ 13 w 97"/>
              <a:gd name="T35" fmla="*/ 3 h 72"/>
              <a:gd name="T36" fmla="*/ 19 w 97"/>
              <a:gd name="T37" fmla="*/ 0 h 72"/>
              <a:gd name="T38" fmla="*/ 28 w 97"/>
              <a:gd name="T39" fmla="*/ 0 h 72"/>
              <a:gd name="T40" fmla="*/ 32 w 97"/>
              <a:gd name="T41" fmla="*/ 0 h 72"/>
              <a:gd name="T42" fmla="*/ 35 w 97"/>
              <a:gd name="T43" fmla="*/ 3 h 72"/>
              <a:gd name="T44" fmla="*/ 38 w 97"/>
              <a:gd name="T45" fmla="*/ 0 h 72"/>
              <a:gd name="T46" fmla="*/ 41 w 97"/>
              <a:gd name="T47" fmla="*/ 0 h 72"/>
              <a:gd name="T48" fmla="*/ 44 w 97"/>
              <a:gd name="T49" fmla="*/ 3 h 72"/>
              <a:gd name="T50" fmla="*/ 47 w 97"/>
              <a:gd name="T51" fmla="*/ 3 h 72"/>
              <a:gd name="T52" fmla="*/ 50 w 97"/>
              <a:gd name="T53" fmla="*/ 6 h 72"/>
              <a:gd name="T54" fmla="*/ 57 w 97"/>
              <a:gd name="T55" fmla="*/ 6 h 72"/>
              <a:gd name="T56" fmla="*/ 57 w 97"/>
              <a:gd name="T57" fmla="*/ 6 h 72"/>
              <a:gd name="T58" fmla="*/ 63 w 97"/>
              <a:gd name="T59" fmla="*/ 3 h 72"/>
              <a:gd name="T60" fmla="*/ 72 w 97"/>
              <a:gd name="T61" fmla="*/ 6 h 72"/>
              <a:gd name="T62" fmla="*/ 78 w 97"/>
              <a:gd name="T63" fmla="*/ 6 h 72"/>
              <a:gd name="T64" fmla="*/ 82 w 97"/>
              <a:gd name="T65" fmla="*/ 13 h 72"/>
              <a:gd name="T66" fmla="*/ 88 w 97"/>
              <a:gd name="T67" fmla="*/ 13 h 72"/>
              <a:gd name="T68" fmla="*/ 91 w 97"/>
              <a:gd name="T69" fmla="*/ 19 h 72"/>
              <a:gd name="T70" fmla="*/ 97 w 97"/>
              <a:gd name="T71" fmla="*/ 19 h 72"/>
              <a:gd name="T72" fmla="*/ 97 w 97"/>
              <a:gd name="T73" fmla="*/ 22 h 72"/>
              <a:gd name="T74" fmla="*/ 94 w 97"/>
              <a:gd name="T75" fmla="*/ 28 h 72"/>
              <a:gd name="T76" fmla="*/ 97 w 97"/>
              <a:gd name="T77" fmla="*/ 28 h 72"/>
              <a:gd name="T78" fmla="*/ 97 w 97"/>
              <a:gd name="T79" fmla="*/ 31 h 72"/>
              <a:gd name="T80" fmla="*/ 91 w 97"/>
              <a:gd name="T81" fmla="*/ 34 h 72"/>
              <a:gd name="T82" fmla="*/ 88 w 97"/>
              <a:gd name="T83" fmla="*/ 41 h 72"/>
              <a:gd name="T84" fmla="*/ 85 w 97"/>
              <a:gd name="T85" fmla="*/ 44 h 72"/>
              <a:gd name="T86" fmla="*/ 82 w 97"/>
              <a:gd name="T87" fmla="*/ 50 h 72"/>
              <a:gd name="T88" fmla="*/ 88 w 97"/>
              <a:gd name="T89" fmla="*/ 50 h 72"/>
              <a:gd name="T90" fmla="*/ 88 w 97"/>
              <a:gd name="T91" fmla="*/ 56 h 72"/>
              <a:gd name="T92" fmla="*/ 85 w 97"/>
              <a:gd name="T93" fmla="*/ 56 h 72"/>
              <a:gd name="T94" fmla="*/ 82 w 97"/>
              <a:gd name="T95" fmla="*/ 53 h 72"/>
              <a:gd name="T96" fmla="*/ 78 w 97"/>
              <a:gd name="T97" fmla="*/ 53 h 72"/>
              <a:gd name="T98" fmla="*/ 75 w 97"/>
              <a:gd name="T99" fmla="*/ 59 h 72"/>
              <a:gd name="T100" fmla="*/ 72 w 97"/>
              <a:gd name="T101" fmla="*/ 59 h 72"/>
              <a:gd name="T102" fmla="*/ 72 w 97"/>
              <a:gd name="T103" fmla="*/ 66 h 72"/>
              <a:gd name="T104" fmla="*/ 69 w 97"/>
              <a:gd name="T105" fmla="*/ 66 h 72"/>
              <a:gd name="T106" fmla="*/ 66 w 97"/>
              <a:gd name="T107" fmla="*/ 69 h 72"/>
              <a:gd name="T108" fmla="*/ 60 w 97"/>
              <a:gd name="T109" fmla="*/ 66 h 72"/>
              <a:gd name="T110" fmla="*/ 53 w 97"/>
              <a:gd name="T111" fmla="*/ 69 h 72"/>
              <a:gd name="T112" fmla="*/ 47 w 97"/>
              <a:gd name="T113" fmla="*/ 72 h 72"/>
              <a:gd name="T114" fmla="*/ 44 w 97"/>
              <a:gd name="T115" fmla="*/ 66 h 72"/>
              <a:gd name="T116" fmla="*/ 47 w 97"/>
              <a:gd name="T117" fmla="*/ 63 h 72"/>
              <a:gd name="T118" fmla="*/ 44 w 97"/>
              <a:gd name="T119" fmla="*/ 56 h 72"/>
              <a:gd name="T120" fmla="*/ 41 w 97"/>
              <a:gd name="T121" fmla="*/ 53 h 72"/>
              <a:gd name="T122" fmla="*/ 38 w 97"/>
              <a:gd name="T123" fmla="*/ 50 h 72"/>
              <a:gd name="T124" fmla="*/ 32 w 97"/>
              <a:gd name="T125" fmla="*/ 5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7" h="72">
                <a:moveTo>
                  <a:pt x="32" y="50"/>
                </a:moveTo>
                <a:lnTo>
                  <a:pt x="32" y="44"/>
                </a:lnTo>
                <a:lnTo>
                  <a:pt x="35" y="41"/>
                </a:lnTo>
                <a:lnTo>
                  <a:pt x="32" y="41"/>
                </a:lnTo>
                <a:lnTo>
                  <a:pt x="28" y="38"/>
                </a:lnTo>
                <a:lnTo>
                  <a:pt x="28" y="34"/>
                </a:lnTo>
                <a:lnTo>
                  <a:pt x="25" y="34"/>
                </a:lnTo>
                <a:lnTo>
                  <a:pt x="19" y="34"/>
                </a:lnTo>
                <a:lnTo>
                  <a:pt x="13" y="31"/>
                </a:lnTo>
                <a:lnTo>
                  <a:pt x="10" y="25"/>
                </a:lnTo>
                <a:lnTo>
                  <a:pt x="3" y="28"/>
                </a:lnTo>
                <a:lnTo>
                  <a:pt x="0" y="25"/>
                </a:lnTo>
                <a:lnTo>
                  <a:pt x="3" y="22"/>
                </a:lnTo>
                <a:lnTo>
                  <a:pt x="0" y="19"/>
                </a:lnTo>
                <a:lnTo>
                  <a:pt x="0" y="13"/>
                </a:lnTo>
                <a:lnTo>
                  <a:pt x="3" y="13"/>
                </a:lnTo>
                <a:lnTo>
                  <a:pt x="7" y="6"/>
                </a:lnTo>
                <a:lnTo>
                  <a:pt x="13" y="3"/>
                </a:lnTo>
                <a:lnTo>
                  <a:pt x="19" y="0"/>
                </a:lnTo>
                <a:lnTo>
                  <a:pt x="28" y="0"/>
                </a:lnTo>
                <a:lnTo>
                  <a:pt x="32" y="0"/>
                </a:lnTo>
                <a:lnTo>
                  <a:pt x="35" y="3"/>
                </a:lnTo>
                <a:lnTo>
                  <a:pt x="38" y="0"/>
                </a:lnTo>
                <a:lnTo>
                  <a:pt x="41" y="0"/>
                </a:lnTo>
                <a:lnTo>
                  <a:pt x="44" y="3"/>
                </a:lnTo>
                <a:lnTo>
                  <a:pt x="47" y="3"/>
                </a:lnTo>
                <a:lnTo>
                  <a:pt x="50" y="6"/>
                </a:lnTo>
                <a:lnTo>
                  <a:pt x="57" y="6"/>
                </a:lnTo>
                <a:lnTo>
                  <a:pt x="57" y="6"/>
                </a:lnTo>
                <a:lnTo>
                  <a:pt x="63" y="3"/>
                </a:lnTo>
                <a:lnTo>
                  <a:pt x="72" y="6"/>
                </a:lnTo>
                <a:lnTo>
                  <a:pt x="78" y="6"/>
                </a:lnTo>
                <a:lnTo>
                  <a:pt x="82" y="13"/>
                </a:lnTo>
                <a:lnTo>
                  <a:pt x="88" y="13"/>
                </a:lnTo>
                <a:lnTo>
                  <a:pt x="91" y="19"/>
                </a:lnTo>
                <a:lnTo>
                  <a:pt x="97" y="19"/>
                </a:lnTo>
                <a:lnTo>
                  <a:pt x="97" y="22"/>
                </a:lnTo>
                <a:lnTo>
                  <a:pt x="94" y="28"/>
                </a:lnTo>
                <a:lnTo>
                  <a:pt x="97" y="28"/>
                </a:lnTo>
                <a:lnTo>
                  <a:pt x="97" y="31"/>
                </a:lnTo>
                <a:lnTo>
                  <a:pt x="91" y="34"/>
                </a:lnTo>
                <a:lnTo>
                  <a:pt x="88" y="41"/>
                </a:lnTo>
                <a:lnTo>
                  <a:pt x="85" y="44"/>
                </a:lnTo>
                <a:lnTo>
                  <a:pt x="82" y="50"/>
                </a:lnTo>
                <a:lnTo>
                  <a:pt x="88" y="50"/>
                </a:lnTo>
                <a:lnTo>
                  <a:pt x="88" y="56"/>
                </a:lnTo>
                <a:lnTo>
                  <a:pt x="85" y="56"/>
                </a:lnTo>
                <a:lnTo>
                  <a:pt x="82" y="53"/>
                </a:lnTo>
                <a:lnTo>
                  <a:pt x="78" y="53"/>
                </a:lnTo>
                <a:lnTo>
                  <a:pt x="75" y="59"/>
                </a:lnTo>
                <a:lnTo>
                  <a:pt x="72" y="59"/>
                </a:lnTo>
                <a:lnTo>
                  <a:pt x="72" y="66"/>
                </a:lnTo>
                <a:lnTo>
                  <a:pt x="69" y="66"/>
                </a:lnTo>
                <a:lnTo>
                  <a:pt x="66" y="69"/>
                </a:lnTo>
                <a:lnTo>
                  <a:pt x="60" y="66"/>
                </a:lnTo>
                <a:lnTo>
                  <a:pt x="53" y="69"/>
                </a:lnTo>
                <a:lnTo>
                  <a:pt x="47" y="72"/>
                </a:lnTo>
                <a:lnTo>
                  <a:pt x="44" y="66"/>
                </a:lnTo>
                <a:lnTo>
                  <a:pt x="47" y="63"/>
                </a:lnTo>
                <a:lnTo>
                  <a:pt x="44" y="56"/>
                </a:lnTo>
                <a:lnTo>
                  <a:pt x="41" y="53"/>
                </a:lnTo>
                <a:lnTo>
                  <a:pt x="38" y="50"/>
                </a:lnTo>
                <a:lnTo>
                  <a:pt x="32" y="5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1" name="Freeform 49">
            <a:extLst>
              <a:ext uri="{FF2B5EF4-FFF2-40B4-BE49-F238E27FC236}">
                <a16:creationId xmlns:a16="http://schemas.microsoft.com/office/drawing/2014/main" id="{99298F62-8D5E-06AC-CB19-7CE5DF2B2E3F}"/>
              </a:ext>
            </a:extLst>
          </p:cNvPr>
          <p:cNvSpPr>
            <a:spLocks/>
          </p:cNvSpPr>
          <p:nvPr userDrawn="1"/>
        </p:nvSpPr>
        <p:spPr bwMode="auto">
          <a:xfrm>
            <a:off x="14448482" y="5412657"/>
            <a:ext cx="527016" cy="396878"/>
          </a:xfrm>
          <a:custGeom>
            <a:avLst/>
            <a:gdLst>
              <a:gd name="T0" fmla="*/ 6 w 166"/>
              <a:gd name="T1" fmla="*/ 63 h 125"/>
              <a:gd name="T2" fmla="*/ 19 w 166"/>
              <a:gd name="T3" fmla="*/ 63 h 125"/>
              <a:gd name="T4" fmla="*/ 25 w 166"/>
              <a:gd name="T5" fmla="*/ 60 h 125"/>
              <a:gd name="T6" fmla="*/ 28 w 166"/>
              <a:gd name="T7" fmla="*/ 53 h 125"/>
              <a:gd name="T8" fmla="*/ 35 w 166"/>
              <a:gd name="T9" fmla="*/ 47 h 125"/>
              <a:gd name="T10" fmla="*/ 41 w 166"/>
              <a:gd name="T11" fmla="*/ 50 h 125"/>
              <a:gd name="T12" fmla="*/ 35 w 166"/>
              <a:gd name="T13" fmla="*/ 44 h 125"/>
              <a:gd name="T14" fmla="*/ 41 w 166"/>
              <a:gd name="T15" fmla="*/ 35 h 125"/>
              <a:gd name="T16" fmla="*/ 50 w 166"/>
              <a:gd name="T17" fmla="*/ 25 h 125"/>
              <a:gd name="T18" fmla="*/ 47 w 166"/>
              <a:gd name="T19" fmla="*/ 22 h 125"/>
              <a:gd name="T20" fmla="*/ 56 w 166"/>
              <a:gd name="T21" fmla="*/ 13 h 125"/>
              <a:gd name="T22" fmla="*/ 66 w 166"/>
              <a:gd name="T23" fmla="*/ 7 h 125"/>
              <a:gd name="T24" fmla="*/ 72 w 166"/>
              <a:gd name="T25" fmla="*/ 0 h 125"/>
              <a:gd name="T26" fmla="*/ 78 w 166"/>
              <a:gd name="T27" fmla="*/ 0 h 125"/>
              <a:gd name="T28" fmla="*/ 88 w 166"/>
              <a:gd name="T29" fmla="*/ 7 h 125"/>
              <a:gd name="T30" fmla="*/ 97 w 166"/>
              <a:gd name="T31" fmla="*/ 3 h 125"/>
              <a:gd name="T32" fmla="*/ 106 w 166"/>
              <a:gd name="T33" fmla="*/ 7 h 125"/>
              <a:gd name="T34" fmla="*/ 113 w 166"/>
              <a:gd name="T35" fmla="*/ 7 h 125"/>
              <a:gd name="T36" fmla="*/ 125 w 166"/>
              <a:gd name="T37" fmla="*/ 10 h 125"/>
              <a:gd name="T38" fmla="*/ 125 w 166"/>
              <a:gd name="T39" fmla="*/ 19 h 125"/>
              <a:gd name="T40" fmla="*/ 128 w 166"/>
              <a:gd name="T41" fmla="*/ 28 h 125"/>
              <a:gd name="T42" fmla="*/ 135 w 166"/>
              <a:gd name="T43" fmla="*/ 41 h 125"/>
              <a:gd name="T44" fmla="*/ 144 w 166"/>
              <a:gd name="T45" fmla="*/ 50 h 125"/>
              <a:gd name="T46" fmla="*/ 153 w 166"/>
              <a:gd name="T47" fmla="*/ 60 h 125"/>
              <a:gd name="T48" fmla="*/ 160 w 166"/>
              <a:gd name="T49" fmla="*/ 69 h 125"/>
              <a:gd name="T50" fmla="*/ 163 w 166"/>
              <a:gd name="T51" fmla="*/ 72 h 125"/>
              <a:gd name="T52" fmla="*/ 150 w 166"/>
              <a:gd name="T53" fmla="*/ 82 h 125"/>
              <a:gd name="T54" fmla="*/ 144 w 166"/>
              <a:gd name="T55" fmla="*/ 82 h 125"/>
              <a:gd name="T56" fmla="*/ 147 w 166"/>
              <a:gd name="T57" fmla="*/ 91 h 125"/>
              <a:gd name="T58" fmla="*/ 150 w 166"/>
              <a:gd name="T59" fmla="*/ 103 h 125"/>
              <a:gd name="T60" fmla="*/ 150 w 166"/>
              <a:gd name="T61" fmla="*/ 107 h 125"/>
              <a:gd name="T62" fmla="*/ 138 w 166"/>
              <a:gd name="T63" fmla="*/ 110 h 125"/>
              <a:gd name="T64" fmla="*/ 135 w 166"/>
              <a:gd name="T65" fmla="*/ 125 h 125"/>
              <a:gd name="T66" fmla="*/ 125 w 166"/>
              <a:gd name="T67" fmla="*/ 122 h 125"/>
              <a:gd name="T68" fmla="*/ 116 w 166"/>
              <a:gd name="T69" fmla="*/ 122 h 125"/>
              <a:gd name="T70" fmla="*/ 110 w 166"/>
              <a:gd name="T71" fmla="*/ 125 h 125"/>
              <a:gd name="T72" fmla="*/ 103 w 166"/>
              <a:gd name="T73" fmla="*/ 122 h 125"/>
              <a:gd name="T74" fmla="*/ 94 w 166"/>
              <a:gd name="T75" fmla="*/ 125 h 125"/>
              <a:gd name="T76" fmla="*/ 85 w 166"/>
              <a:gd name="T77" fmla="*/ 122 h 125"/>
              <a:gd name="T78" fmla="*/ 81 w 166"/>
              <a:gd name="T79" fmla="*/ 122 h 125"/>
              <a:gd name="T80" fmla="*/ 69 w 166"/>
              <a:gd name="T81" fmla="*/ 122 h 125"/>
              <a:gd name="T82" fmla="*/ 66 w 166"/>
              <a:gd name="T83" fmla="*/ 119 h 125"/>
              <a:gd name="T84" fmla="*/ 47 w 166"/>
              <a:gd name="T85" fmla="*/ 113 h 125"/>
              <a:gd name="T86" fmla="*/ 41 w 166"/>
              <a:gd name="T87" fmla="*/ 119 h 125"/>
              <a:gd name="T88" fmla="*/ 22 w 166"/>
              <a:gd name="T89" fmla="*/ 119 h 125"/>
              <a:gd name="T90" fmla="*/ 13 w 166"/>
              <a:gd name="T91" fmla="*/ 119 h 125"/>
              <a:gd name="T92" fmla="*/ 10 w 166"/>
              <a:gd name="T93" fmla="*/ 116 h 125"/>
              <a:gd name="T94" fmla="*/ 3 w 166"/>
              <a:gd name="T95" fmla="*/ 103 h 125"/>
              <a:gd name="T96" fmla="*/ 10 w 166"/>
              <a:gd name="T97" fmla="*/ 97 h 125"/>
              <a:gd name="T98" fmla="*/ 10 w 166"/>
              <a:gd name="T99" fmla="*/ 85 h 125"/>
              <a:gd name="T100" fmla="*/ 3 w 166"/>
              <a:gd name="T101" fmla="*/ 75 h 125"/>
              <a:gd name="T102" fmla="*/ 0 w 166"/>
              <a:gd name="T103" fmla="*/ 6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6" h="125">
                <a:moveTo>
                  <a:pt x="0" y="66"/>
                </a:moveTo>
                <a:lnTo>
                  <a:pt x="6" y="63"/>
                </a:lnTo>
                <a:lnTo>
                  <a:pt x="13" y="60"/>
                </a:lnTo>
                <a:lnTo>
                  <a:pt x="19" y="63"/>
                </a:lnTo>
                <a:lnTo>
                  <a:pt x="22" y="60"/>
                </a:lnTo>
                <a:lnTo>
                  <a:pt x="25" y="60"/>
                </a:lnTo>
                <a:lnTo>
                  <a:pt x="25" y="53"/>
                </a:lnTo>
                <a:lnTo>
                  <a:pt x="28" y="53"/>
                </a:lnTo>
                <a:lnTo>
                  <a:pt x="31" y="47"/>
                </a:lnTo>
                <a:lnTo>
                  <a:pt x="35" y="47"/>
                </a:lnTo>
                <a:lnTo>
                  <a:pt x="38" y="50"/>
                </a:lnTo>
                <a:lnTo>
                  <a:pt x="41" y="50"/>
                </a:lnTo>
                <a:lnTo>
                  <a:pt x="41" y="44"/>
                </a:lnTo>
                <a:lnTo>
                  <a:pt x="35" y="44"/>
                </a:lnTo>
                <a:lnTo>
                  <a:pt x="38" y="38"/>
                </a:lnTo>
                <a:lnTo>
                  <a:pt x="41" y="35"/>
                </a:lnTo>
                <a:lnTo>
                  <a:pt x="44" y="28"/>
                </a:lnTo>
                <a:lnTo>
                  <a:pt x="50" y="25"/>
                </a:lnTo>
                <a:lnTo>
                  <a:pt x="50" y="22"/>
                </a:lnTo>
                <a:lnTo>
                  <a:pt x="47" y="22"/>
                </a:lnTo>
                <a:lnTo>
                  <a:pt x="50" y="16"/>
                </a:lnTo>
                <a:lnTo>
                  <a:pt x="56" y="13"/>
                </a:lnTo>
                <a:lnTo>
                  <a:pt x="66" y="10"/>
                </a:lnTo>
                <a:lnTo>
                  <a:pt x="66" y="7"/>
                </a:lnTo>
                <a:lnTo>
                  <a:pt x="69" y="3"/>
                </a:lnTo>
                <a:lnTo>
                  <a:pt x="72" y="0"/>
                </a:lnTo>
                <a:lnTo>
                  <a:pt x="75" y="0"/>
                </a:lnTo>
                <a:lnTo>
                  <a:pt x="78" y="0"/>
                </a:lnTo>
                <a:lnTo>
                  <a:pt x="85" y="0"/>
                </a:lnTo>
                <a:lnTo>
                  <a:pt x="88" y="7"/>
                </a:lnTo>
                <a:lnTo>
                  <a:pt x="94" y="3"/>
                </a:lnTo>
                <a:lnTo>
                  <a:pt x="97" y="3"/>
                </a:lnTo>
                <a:lnTo>
                  <a:pt x="100" y="10"/>
                </a:lnTo>
                <a:lnTo>
                  <a:pt x="106" y="7"/>
                </a:lnTo>
                <a:lnTo>
                  <a:pt x="113" y="3"/>
                </a:lnTo>
                <a:lnTo>
                  <a:pt x="113" y="7"/>
                </a:lnTo>
                <a:lnTo>
                  <a:pt x="116" y="7"/>
                </a:lnTo>
                <a:lnTo>
                  <a:pt x="125" y="10"/>
                </a:lnTo>
                <a:lnTo>
                  <a:pt x="125" y="16"/>
                </a:lnTo>
                <a:lnTo>
                  <a:pt x="125" y="19"/>
                </a:lnTo>
                <a:lnTo>
                  <a:pt x="128" y="25"/>
                </a:lnTo>
                <a:lnTo>
                  <a:pt x="128" y="28"/>
                </a:lnTo>
                <a:lnTo>
                  <a:pt x="131" y="35"/>
                </a:lnTo>
                <a:lnTo>
                  <a:pt x="135" y="41"/>
                </a:lnTo>
                <a:lnTo>
                  <a:pt x="141" y="47"/>
                </a:lnTo>
                <a:lnTo>
                  <a:pt x="144" y="50"/>
                </a:lnTo>
                <a:lnTo>
                  <a:pt x="147" y="57"/>
                </a:lnTo>
                <a:lnTo>
                  <a:pt x="153" y="60"/>
                </a:lnTo>
                <a:lnTo>
                  <a:pt x="160" y="66"/>
                </a:lnTo>
                <a:lnTo>
                  <a:pt x="160" y="69"/>
                </a:lnTo>
                <a:lnTo>
                  <a:pt x="166" y="72"/>
                </a:lnTo>
                <a:lnTo>
                  <a:pt x="163" y="72"/>
                </a:lnTo>
                <a:lnTo>
                  <a:pt x="160" y="82"/>
                </a:lnTo>
                <a:lnTo>
                  <a:pt x="150" y="82"/>
                </a:lnTo>
                <a:lnTo>
                  <a:pt x="144" y="78"/>
                </a:lnTo>
                <a:lnTo>
                  <a:pt x="144" y="82"/>
                </a:lnTo>
                <a:lnTo>
                  <a:pt x="144" y="85"/>
                </a:lnTo>
                <a:lnTo>
                  <a:pt x="147" y="91"/>
                </a:lnTo>
                <a:lnTo>
                  <a:pt x="147" y="97"/>
                </a:lnTo>
                <a:lnTo>
                  <a:pt x="150" y="103"/>
                </a:lnTo>
                <a:lnTo>
                  <a:pt x="150" y="107"/>
                </a:lnTo>
                <a:lnTo>
                  <a:pt x="150" y="107"/>
                </a:lnTo>
                <a:lnTo>
                  <a:pt x="141" y="110"/>
                </a:lnTo>
                <a:lnTo>
                  <a:pt x="138" y="110"/>
                </a:lnTo>
                <a:lnTo>
                  <a:pt x="135" y="116"/>
                </a:lnTo>
                <a:lnTo>
                  <a:pt x="135" y="125"/>
                </a:lnTo>
                <a:lnTo>
                  <a:pt x="128" y="125"/>
                </a:lnTo>
                <a:lnTo>
                  <a:pt x="125" y="122"/>
                </a:lnTo>
                <a:lnTo>
                  <a:pt x="119" y="122"/>
                </a:lnTo>
                <a:lnTo>
                  <a:pt x="116" y="122"/>
                </a:lnTo>
                <a:lnTo>
                  <a:pt x="113" y="122"/>
                </a:lnTo>
                <a:lnTo>
                  <a:pt x="110" y="125"/>
                </a:lnTo>
                <a:lnTo>
                  <a:pt x="106" y="125"/>
                </a:lnTo>
                <a:lnTo>
                  <a:pt x="103" y="122"/>
                </a:lnTo>
                <a:lnTo>
                  <a:pt x="100" y="119"/>
                </a:lnTo>
                <a:lnTo>
                  <a:pt x="94" y="125"/>
                </a:lnTo>
                <a:lnTo>
                  <a:pt x="91" y="122"/>
                </a:lnTo>
                <a:lnTo>
                  <a:pt x="85" y="122"/>
                </a:lnTo>
                <a:lnTo>
                  <a:pt x="81" y="122"/>
                </a:lnTo>
                <a:lnTo>
                  <a:pt x="81" y="122"/>
                </a:lnTo>
                <a:lnTo>
                  <a:pt x="78" y="122"/>
                </a:lnTo>
                <a:lnTo>
                  <a:pt x="69" y="122"/>
                </a:lnTo>
                <a:lnTo>
                  <a:pt x="69" y="122"/>
                </a:lnTo>
                <a:lnTo>
                  <a:pt x="66" y="119"/>
                </a:lnTo>
                <a:lnTo>
                  <a:pt x="53" y="116"/>
                </a:lnTo>
                <a:lnTo>
                  <a:pt x="47" y="113"/>
                </a:lnTo>
                <a:lnTo>
                  <a:pt x="47" y="113"/>
                </a:lnTo>
                <a:lnTo>
                  <a:pt x="41" y="119"/>
                </a:lnTo>
                <a:lnTo>
                  <a:pt x="35" y="119"/>
                </a:lnTo>
                <a:lnTo>
                  <a:pt x="22" y="119"/>
                </a:lnTo>
                <a:lnTo>
                  <a:pt x="19" y="122"/>
                </a:lnTo>
                <a:lnTo>
                  <a:pt x="13" y="119"/>
                </a:lnTo>
                <a:lnTo>
                  <a:pt x="10" y="119"/>
                </a:lnTo>
                <a:lnTo>
                  <a:pt x="10" y="116"/>
                </a:lnTo>
                <a:lnTo>
                  <a:pt x="6" y="110"/>
                </a:lnTo>
                <a:lnTo>
                  <a:pt x="3" y="103"/>
                </a:lnTo>
                <a:lnTo>
                  <a:pt x="6" y="100"/>
                </a:lnTo>
                <a:lnTo>
                  <a:pt x="10" y="97"/>
                </a:lnTo>
                <a:lnTo>
                  <a:pt x="10" y="85"/>
                </a:lnTo>
                <a:lnTo>
                  <a:pt x="10" y="85"/>
                </a:lnTo>
                <a:lnTo>
                  <a:pt x="6" y="78"/>
                </a:lnTo>
                <a:lnTo>
                  <a:pt x="3" y="75"/>
                </a:lnTo>
                <a:lnTo>
                  <a:pt x="3" y="66"/>
                </a:lnTo>
                <a:lnTo>
                  <a:pt x="0" y="6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2" name="Freeform 50">
            <a:extLst>
              <a:ext uri="{FF2B5EF4-FFF2-40B4-BE49-F238E27FC236}">
                <a16:creationId xmlns:a16="http://schemas.microsoft.com/office/drawing/2014/main" id="{E040B357-EC93-20CD-95CC-92375C1BEA56}"/>
              </a:ext>
            </a:extLst>
          </p:cNvPr>
          <p:cNvSpPr>
            <a:spLocks/>
          </p:cNvSpPr>
          <p:nvPr userDrawn="1"/>
        </p:nvSpPr>
        <p:spPr bwMode="auto">
          <a:xfrm>
            <a:off x="14410383" y="5730156"/>
            <a:ext cx="1031811" cy="638176"/>
          </a:xfrm>
          <a:custGeom>
            <a:avLst/>
            <a:gdLst>
              <a:gd name="T0" fmla="*/ 47 w 325"/>
              <a:gd name="T1" fmla="*/ 19 h 201"/>
              <a:gd name="T2" fmla="*/ 78 w 325"/>
              <a:gd name="T3" fmla="*/ 19 h 201"/>
              <a:gd name="T4" fmla="*/ 93 w 325"/>
              <a:gd name="T5" fmla="*/ 22 h 201"/>
              <a:gd name="T6" fmla="*/ 115 w 325"/>
              <a:gd name="T7" fmla="*/ 22 h 201"/>
              <a:gd name="T8" fmla="*/ 131 w 325"/>
              <a:gd name="T9" fmla="*/ 22 h 201"/>
              <a:gd name="T10" fmla="*/ 150 w 325"/>
              <a:gd name="T11" fmla="*/ 10 h 201"/>
              <a:gd name="T12" fmla="*/ 172 w 325"/>
              <a:gd name="T13" fmla="*/ 3 h 201"/>
              <a:gd name="T14" fmla="*/ 203 w 325"/>
              <a:gd name="T15" fmla="*/ 0 h 201"/>
              <a:gd name="T16" fmla="*/ 225 w 325"/>
              <a:gd name="T17" fmla="*/ 22 h 201"/>
              <a:gd name="T18" fmla="*/ 234 w 325"/>
              <a:gd name="T19" fmla="*/ 44 h 201"/>
              <a:gd name="T20" fmla="*/ 262 w 325"/>
              <a:gd name="T21" fmla="*/ 50 h 201"/>
              <a:gd name="T22" fmla="*/ 284 w 325"/>
              <a:gd name="T23" fmla="*/ 63 h 201"/>
              <a:gd name="T24" fmla="*/ 306 w 325"/>
              <a:gd name="T25" fmla="*/ 63 h 201"/>
              <a:gd name="T26" fmla="*/ 325 w 325"/>
              <a:gd name="T27" fmla="*/ 69 h 201"/>
              <a:gd name="T28" fmla="*/ 322 w 325"/>
              <a:gd name="T29" fmla="*/ 94 h 201"/>
              <a:gd name="T30" fmla="*/ 306 w 325"/>
              <a:gd name="T31" fmla="*/ 113 h 201"/>
              <a:gd name="T32" fmla="*/ 297 w 325"/>
              <a:gd name="T33" fmla="*/ 132 h 201"/>
              <a:gd name="T34" fmla="*/ 278 w 325"/>
              <a:gd name="T35" fmla="*/ 138 h 201"/>
              <a:gd name="T36" fmla="*/ 262 w 325"/>
              <a:gd name="T37" fmla="*/ 144 h 201"/>
              <a:gd name="T38" fmla="*/ 247 w 325"/>
              <a:gd name="T39" fmla="*/ 144 h 201"/>
              <a:gd name="T40" fmla="*/ 243 w 325"/>
              <a:gd name="T41" fmla="*/ 157 h 201"/>
              <a:gd name="T42" fmla="*/ 243 w 325"/>
              <a:gd name="T43" fmla="*/ 151 h 201"/>
              <a:gd name="T44" fmla="*/ 231 w 325"/>
              <a:gd name="T45" fmla="*/ 160 h 201"/>
              <a:gd name="T46" fmla="*/ 215 w 325"/>
              <a:gd name="T47" fmla="*/ 160 h 201"/>
              <a:gd name="T48" fmla="*/ 231 w 325"/>
              <a:gd name="T49" fmla="*/ 166 h 201"/>
              <a:gd name="T50" fmla="*/ 234 w 325"/>
              <a:gd name="T51" fmla="*/ 172 h 201"/>
              <a:gd name="T52" fmla="*/ 243 w 325"/>
              <a:gd name="T53" fmla="*/ 179 h 201"/>
              <a:gd name="T54" fmla="*/ 234 w 325"/>
              <a:gd name="T55" fmla="*/ 160 h 201"/>
              <a:gd name="T56" fmla="*/ 253 w 325"/>
              <a:gd name="T57" fmla="*/ 182 h 201"/>
              <a:gd name="T58" fmla="*/ 268 w 325"/>
              <a:gd name="T59" fmla="*/ 176 h 201"/>
              <a:gd name="T60" fmla="*/ 268 w 325"/>
              <a:gd name="T61" fmla="*/ 185 h 201"/>
              <a:gd name="T62" fmla="*/ 240 w 325"/>
              <a:gd name="T63" fmla="*/ 191 h 201"/>
              <a:gd name="T64" fmla="*/ 215 w 325"/>
              <a:gd name="T65" fmla="*/ 197 h 201"/>
              <a:gd name="T66" fmla="*/ 206 w 325"/>
              <a:gd name="T67" fmla="*/ 182 h 201"/>
              <a:gd name="T68" fmla="*/ 215 w 325"/>
              <a:gd name="T69" fmla="*/ 169 h 201"/>
              <a:gd name="T70" fmla="*/ 212 w 325"/>
              <a:gd name="T71" fmla="*/ 163 h 201"/>
              <a:gd name="T72" fmla="*/ 190 w 325"/>
              <a:gd name="T73" fmla="*/ 160 h 201"/>
              <a:gd name="T74" fmla="*/ 181 w 325"/>
              <a:gd name="T75" fmla="*/ 154 h 201"/>
              <a:gd name="T76" fmla="*/ 187 w 325"/>
              <a:gd name="T77" fmla="*/ 151 h 201"/>
              <a:gd name="T78" fmla="*/ 184 w 325"/>
              <a:gd name="T79" fmla="*/ 144 h 201"/>
              <a:gd name="T80" fmla="*/ 175 w 325"/>
              <a:gd name="T81" fmla="*/ 147 h 201"/>
              <a:gd name="T82" fmla="*/ 162 w 325"/>
              <a:gd name="T83" fmla="*/ 157 h 201"/>
              <a:gd name="T84" fmla="*/ 147 w 325"/>
              <a:gd name="T85" fmla="*/ 176 h 201"/>
              <a:gd name="T86" fmla="*/ 147 w 325"/>
              <a:gd name="T87" fmla="*/ 182 h 201"/>
              <a:gd name="T88" fmla="*/ 128 w 325"/>
              <a:gd name="T89" fmla="*/ 182 h 201"/>
              <a:gd name="T90" fmla="*/ 125 w 325"/>
              <a:gd name="T91" fmla="*/ 172 h 201"/>
              <a:gd name="T92" fmla="*/ 134 w 325"/>
              <a:gd name="T93" fmla="*/ 154 h 201"/>
              <a:gd name="T94" fmla="*/ 147 w 325"/>
              <a:gd name="T95" fmla="*/ 147 h 201"/>
              <a:gd name="T96" fmla="*/ 134 w 325"/>
              <a:gd name="T97" fmla="*/ 132 h 201"/>
              <a:gd name="T98" fmla="*/ 118 w 325"/>
              <a:gd name="T99" fmla="*/ 110 h 201"/>
              <a:gd name="T100" fmla="*/ 100 w 325"/>
              <a:gd name="T101" fmla="*/ 104 h 201"/>
              <a:gd name="T102" fmla="*/ 84 w 325"/>
              <a:gd name="T103" fmla="*/ 100 h 201"/>
              <a:gd name="T104" fmla="*/ 81 w 325"/>
              <a:gd name="T105" fmla="*/ 113 h 201"/>
              <a:gd name="T106" fmla="*/ 53 w 325"/>
              <a:gd name="T107" fmla="*/ 125 h 201"/>
              <a:gd name="T108" fmla="*/ 28 w 325"/>
              <a:gd name="T109" fmla="*/ 119 h 201"/>
              <a:gd name="T110" fmla="*/ 9 w 325"/>
              <a:gd name="T111" fmla="*/ 113 h 201"/>
              <a:gd name="T112" fmla="*/ 6 w 325"/>
              <a:gd name="T113" fmla="*/ 91 h 201"/>
              <a:gd name="T114" fmla="*/ 25 w 325"/>
              <a:gd name="T115" fmla="*/ 60 h 201"/>
              <a:gd name="T116" fmla="*/ 28 w 325"/>
              <a:gd name="T117" fmla="*/ 44 h 201"/>
              <a:gd name="T118" fmla="*/ 22 w 325"/>
              <a:gd name="T119" fmla="*/ 2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5" h="201">
                <a:moveTo>
                  <a:pt x="22" y="19"/>
                </a:moveTo>
                <a:lnTo>
                  <a:pt x="25" y="19"/>
                </a:lnTo>
                <a:lnTo>
                  <a:pt x="31" y="22"/>
                </a:lnTo>
                <a:lnTo>
                  <a:pt x="34" y="19"/>
                </a:lnTo>
                <a:lnTo>
                  <a:pt x="47" y="19"/>
                </a:lnTo>
                <a:lnTo>
                  <a:pt x="53" y="19"/>
                </a:lnTo>
                <a:lnTo>
                  <a:pt x="59" y="13"/>
                </a:lnTo>
                <a:lnTo>
                  <a:pt x="59" y="13"/>
                </a:lnTo>
                <a:lnTo>
                  <a:pt x="65" y="16"/>
                </a:lnTo>
                <a:lnTo>
                  <a:pt x="78" y="19"/>
                </a:lnTo>
                <a:lnTo>
                  <a:pt x="81" y="22"/>
                </a:lnTo>
                <a:lnTo>
                  <a:pt x="81" y="22"/>
                </a:lnTo>
                <a:lnTo>
                  <a:pt x="90" y="22"/>
                </a:lnTo>
                <a:lnTo>
                  <a:pt x="93" y="22"/>
                </a:lnTo>
                <a:lnTo>
                  <a:pt x="93" y="22"/>
                </a:lnTo>
                <a:lnTo>
                  <a:pt x="97" y="22"/>
                </a:lnTo>
                <a:lnTo>
                  <a:pt x="103" y="22"/>
                </a:lnTo>
                <a:lnTo>
                  <a:pt x="106" y="25"/>
                </a:lnTo>
                <a:lnTo>
                  <a:pt x="112" y="19"/>
                </a:lnTo>
                <a:lnTo>
                  <a:pt x="115" y="22"/>
                </a:lnTo>
                <a:lnTo>
                  <a:pt x="118" y="25"/>
                </a:lnTo>
                <a:lnTo>
                  <a:pt x="122" y="25"/>
                </a:lnTo>
                <a:lnTo>
                  <a:pt x="125" y="22"/>
                </a:lnTo>
                <a:lnTo>
                  <a:pt x="128" y="22"/>
                </a:lnTo>
                <a:lnTo>
                  <a:pt x="131" y="22"/>
                </a:lnTo>
                <a:lnTo>
                  <a:pt x="137" y="22"/>
                </a:lnTo>
                <a:lnTo>
                  <a:pt x="140" y="25"/>
                </a:lnTo>
                <a:lnTo>
                  <a:pt x="147" y="25"/>
                </a:lnTo>
                <a:lnTo>
                  <a:pt x="147" y="16"/>
                </a:lnTo>
                <a:lnTo>
                  <a:pt x="150" y="10"/>
                </a:lnTo>
                <a:lnTo>
                  <a:pt x="153" y="10"/>
                </a:lnTo>
                <a:lnTo>
                  <a:pt x="162" y="7"/>
                </a:lnTo>
                <a:lnTo>
                  <a:pt x="165" y="7"/>
                </a:lnTo>
                <a:lnTo>
                  <a:pt x="172" y="7"/>
                </a:lnTo>
                <a:lnTo>
                  <a:pt x="172" y="3"/>
                </a:lnTo>
                <a:lnTo>
                  <a:pt x="175" y="0"/>
                </a:lnTo>
                <a:lnTo>
                  <a:pt x="184" y="3"/>
                </a:lnTo>
                <a:lnTo>
                  <a:pt x="193" y="3"/>
                </a:lnTo>
                <a:lnTo>
                  <a:pt x="197" y="0"/>
                </a:lnTo>
                <a:lnTo>
                  <a:pt x="203" y="0"/>
                </a:lnTo>
                <a:lnTo>
                  <a:pt x="206" y="10"/>
                </a:lnTo>
                <a:lnTo>
                  <a:pt x="209" y="13"/>
                </a:lnTo>
                <a:lnTo>
                  <a:pt x="206" y="19"/>
                </a:lnTo>
                <a:lnTo>
                  <a:pt x="212" y="25"/>
                </a:lnTo>
                <a:lnTo>
                  <a:pt x="225" y="22"/>
                </a:lnTo>
                <a:lnTo>
                  <a:pt x="228" y="25"/>
                </a:lnTo>
                <a:lnTo>
                  <a:pt x="228" y="32"/>
                </a:lnTo>
                <a:lnTo>
                  <a:pt x="231" y="32"/>
                </a:lnTo>
                <a:lnTo>
                  <a:pt x="231" y="38"/>
                </a:lnTo>
                <a:lnTo>
                  <a:pt x="234" y="44"/>
                </a:lnTo>
                <a:lnTo>
                  <a:pt x="243" y="50"/>
                </a:lnTo>
                <a:lnTo>
                  <a:pt x="247" y="47"/>
                </a:lnTo>
                <a:lnTo>
                  <a:pt x="253" y="50"/>
                </a:lnTo>
                <a:lnTo>
                  <a:pt x="256" y="50"/>
                </a:lnTo>
                <a:lnTo>
                  <a:pt x="262" y="50"/>
                </a:lnTo>
                <a:lnTo>
                  <a:pt x="268" y="44"/>
                </a:lnTo>
                <a:lnTo>
                  <a:pt x="272" y="44"/>
                </a:lnTo>
                <a:lnTo>
                  <a:pt x="275" y="54"/>
                </a:lnTo>
                <a:lnTo>
                  <a:pt x="281" y="60"/>
                </a:lnTo>
                <a:lnTo>
                  <a:pt x="284" y="63"/>
                </a:lnTo>
                <a:lnTo>
                  <a:pt x="284" y="60"/>
                </a:lnTo>
                <a:lnTo>
                  <a:pt x="293" y="60"/>
                </a:lnTo>
                <a:lnTo>
                  <a:pt x="297" y="60"/>
                </a:lnTo>
                <a:lnTo>
                  <a:pt x="303" y="63"/>
                </a:lnTo>
                <a:lnTo>
                  <a:pt x="306" y="63"/>
                </a:lnTo>
                <a:lnTo>
                  <a:pt x="312" y="66"/>
                </a:lnTo>
                <a:lnTo>
                  <a:pt x="315" y="66"/>
                </a:lnTo>
                <a:lnTo>
                  <a:pt x="319" y="63"/>
                </a:lnTo>
                <a:lnTo>
                  <a:pt x="322" y="69"/>
                </a:lnTo>
                <a:lnTo>
                  <a:pt x="325" y="69"/>
                </a:lnTo>
                <a:lnTo>
                  <a:pt x="325" y="75"/>
                </a:lnTo>
                <a:lnTo>
                  <a:pt x="322" y="79"/>
                </a:lnTo>
                <a:lnTo>
                  <a:pt x="315" y="82"/>
                </a:lnTo>
                <a:lnTo>
                  <a:pt x="315" y="88"/>
                </a:lnTo>
                <a:lnTo>
                  <a:pt x="322" y="94"/>
                </a:lnTo>
                <a:lnTo>
                  <a:pt x="322" y="97"/>
                </a:lnTo>
                <a:lnTo>
                  <a:pt x="319" y="107"/>
                </a:lnTo>
                <a:lnTo>
                  <a:pt x="322" y="110"/>
                </a:lnTo>
                <a:lnTo>
                  <a:pt x="315" y="113"/>
                </a:lnTo>
                <a:lnTo>
                  <a:pt x="306" y="113"/>
                </a:lnTo>
                <a:lnTo>
                  <a:pt x="303" y="122"/>
                </a:lnTo>
                <a:lnTo>
                  <a:pt x="300" y="122"/>
                </a:lnTo>
                <a:lnTo>
                  <a:pt x="300" y="132"/>
                </a:lnTo>
                <a:lnTo>
                  <a:pt x="297" y="132"/>
                </a:lnTo>
                <a:lnTo>
                  <a:pt x="297" y="132"/>
                </a:lnTo>
                <a:lnTo>
                  <a:pt x="293" y="132"/>
                </a:lnTo>
                <a:lnTo>
                  <a:pt x="287" y="132"/>
                </a:lnTo>
                <a:lnTo>
                  <a:pt x="284" y="132"/>
                </a:lnTo>
                <a:lnTo>
                  <a:pt x="281" y="135"/>
                </a:lnTo>
                <a:lnTo>
                  <a:pt x="278" y="138"/>
                </a:lnTo>
                <a:lnTo>
                  <a:pt x="275" y="138"/>
                </a:lnTo>
                <a:lnTo>
                  <a:pt x="272" y="141"/>
                </a:lnTo>
                <a:lnTo>
                  <a:pt x="268" y="144"/>
                </a:lnTo>
                <a:lnTo>
                  <a:pt x="268" y="144"/>
                </a:lnTo>
                <a:lnTo>
                  <a:pt x="262" y="144"/>
                </a:lnTo>
                <a:lnTo>
                  <a:pt x="259" y="147"/>
                </a:lnTo>
                <a:lnTo>
                  <a:pt x="256" y="147"/>
                </a:lnTo>
                <a:lnTo>
                  <a:pt x="250" y="147"/>
                </a:lnTo>
                <a:lnTo>
                  <a:pt x="250" y="147"/>
                </a:lnTo>
                <a:lnTo>
                  <a:pt x="247" y="144"/>
                </a:lnTo>
                <a:lnTo>
                  <a:pt x="243" y="144"/>
                </a:lnTo>
                <a:lnTo>
                  <a:pt x="247" y="147"/>
                </a:lnTo>
                <a:lnTo>
                  <a:pt x="247" y="151"/>
                </a:lnTo>
                <a:lnTo>
                  <a:pt x="247" y="151"/>
                </a:lnTo>
                <a:lnTo>
                  <a:pt x="243" y="157"/>
                </a:lnTo>
                <a:lnTo>
                  <a:pt x="240" y="160"/>
                </a:lnTo>
                <a:lnTo>
                  <a:pt x="240" y="157"/>
                </a:lnTo>
                <a:lnTo>
                  <a:pt x="240" y="157"/>
                </a:lnTo>
                <a:lnTo>
                  <a:pt x="243" y="151"/>
                </a:lnTo>
                <a:lnTo>
                  <a:pt x="243" y="151"/>
                </a:lnTo>
                <a:lnTo>
                  <a:pt x="240" y="151"/>
                </a:lnTo>
                <a:lnTo>
                  <a:pt x="240" y="151"/>
                </a:lnTo>
                <a:lnTo>
                  <a:pt x="234" y="157"/>
                </a:lnTo>
                <a:lnTo>
                  <a:pt x="231" y="157"/>
                </a:lnTo>
                <a:lnTo>
                  <a:pt x="231" y="160"/>
                </a:lnTo>
                <a:lnTo>
                  <a:pt x="228" y="160"/>
                </a:lnTo>
                <a:lnTo>
                  <a:pt x="225" y="160"/>
                </a:lnTo>
                <a:lnTo>
                  <a:pt x="222" y="160"/>
                </a:lnTo>
                <a:lnTo>
                  <a:pt x="218" y="160"/>
                </a:lnTo>
                <a:lnTo>
                  <a:pt x="215" y="160"/>
                </a:lnTo>
                <a:lnTo>
                  <a:pt x="218" y="163"/>
                </a:lnTo>
                <a:lnTo>
                  <a:pt x="225" y="163"/>
                </a:lnTo>
                <a:lnTo>
                  <a:pt x="228" y="166"/>
                </a:lnTo>
                <a:lnTo>
                  <a:pt x="231" y="166"/>
                </a:lnTo>
                <a:lnTo>
                  <a:pt x="231" y="166"/>
                </a:lnTo>
                <a:lnTo>
                  <a:pt x="234" y="169"/>
                </a:lnTo>
                <a:lnTo>
                  <a:pt x="231" y="169"/>
                </a:lnTo>
                <a:lnTo>
                  <a:pt x="231" y="172"/>
                </a:lnTo>
                <a:lnTo>
                  <a:pt x="234" y="172"/>
                </a:lnTo>
                <a:lnTo>
                  <a:pt x="234" y="172"/>
                </a:lnTo>
                <a:lnTo>
                  <a:pt x="234" y="176"/>
                </a:lnTo>
                <a:lnTo>
                  <a:pt x="237" y="172"/>
                </a:lnTo>
                <a:lnTo>
                  <a:pt x="240" y="172"/>
                </a:lnTo>
                <a:lnTo>
                  <a:pt x="240" y="179"/>
                </a:lnTo>
                <a:lnTo>
                  <a:pt x="243" y="179"/>
                </a:lnTo>
                <a:lnTo>
                  <a:pt x="247" y="182"/>
                </a:lnTo>
                <a:lnTo>
                  <a:pt x="250" y="182"/>
                </a:lnTo>
                <a:lnTo>
                  <a:pt x="243" y="176"/>
                </a:lnTo>
                <a:lnTo>
                  <a:pt x="234" y="166"/>
                </a:lnTo>
                <a:lnTo>
                  <a:pt x="234" y="160"/>
                </a:lnTo>
                <a:lnTo>
                  <a:pt x="234" y="160"/>
                </a:lnTo>
                <a:lnTo>
                  <a:pt x="237" y="163"/>
                </a:lnTo>
                <a:lnTo>
                  <a:pt x="240" y="169"/>
                </a:lnTo>
                <a:lnTo>
                  <a:pt x="250" y="179"/>
                </a:lnTo>
                <a:lnTo>
                  <a:pt x="253" y="182"/>
                </a:lnTo>
                <a:lnTo>
                  <a:pt x="256" y="176"/>
                </a:lnTo>
                <a:lnTo>
                  <a:pt x="256" y="176"/>
                </a:lnTo>
                <a:lnTo>
                  <a:pt x="259" y="179"/>
                </a:lnTo>
                <a:lnTo>
                  <a:pt x="262" y="176"/>
                </a:lnTo>
                <a:lnTo>
                  <a:pt x="268" y="176"/>
                </a:lnTo>
                <a:lnTo>
                  <a:pt x="275" y="176"/>
                </a:lnTo>
                <a:lnTo>
                  <a:pt x="272" y="179"/>
                </a:lnTo>
                <a:lnTo>
                  <a:pt x="272" y="179"/>
                </a:lnTo>
                <a:lnTo>
                  <a:pt x="272" y="182"/>
                </a:lnTo>
                <a:lnTo>
                  <a:pt x="268" y="185"/>
                </a:lnTo>
                <a:lnTo>
                  <a:pt x="262" y="185"/>
                </a:lnTo>
                <a:lnTo>
                  <a:pt x="256" y="185"/>
                </a:lnTo>
                <a:lnTo>
                  <a:pt x="250" y="188"/>
                </a:lnTo>
                <a:lnTo>
                  <a:pt x="247" y="191"/>
                </a:lnTo>
                <a:lnTo>
                  <a:pt x="240" y="191"/>
                </a:lnTo>
                <a:lnTo>
                  <a:pt x="231" y="197"/>
                </a:lnTo>
                <a:lnTo>
                  <a:pt x="225" y="201"/>
                </a:lnTo>
                <a:lnTo>
                  <a:pt x="218" y="201"/>
                </a:lnTo>
                <a:lnTo>
                  <a:pt x="215" y="197"/>
                </a:lnTo>
                <a:lnTo>
                  <a:pt x="215" y="197"/>
                </a:lnTo>
                <a:lnTo>
                  <a:pt x="218" y="191"/>
                </a:lnTo>
                <a:lnTo>
                  <a:pt x="218" y="188"/>
                </a:lnTo>
                <a:lnTo>
                  <a:pt x="212" y="182"/>
                </a:lnTo>
                <a:lnTo>
                  <a:pt x="209" y="182"/>
                </a:lnTo>
                <a:lnTo>
                  <a:pt x="206" y="182"/>
                </a:lnTo>
                <a:lnTo>
                  <a:pt x="203" y="182"/>
                </a:lnTo>
                <a:lnTo>
                  <a:pt x="200" y="182"/>
                </a:lnTo>
                <a:lnTo>
                  <a:pt x="203" y="176"/>
                </a:lnTo>
                <a:lnTo>
                  <a:pt x="209" y="172"/>
                </a:lnTo>
                <a:lnTo>
                  <a:pt x="215" y="169"/>
                </a:lnTo>
                <a:lnTo>
                  <a:pt x="218" y="169"/>
                </a:lnTo>
                <a:lnTo>
                  <a:pt x="215" y="166"/>
                </a:lnTo>
                <a:lnTo>
                  <a:pt x="215" y="160"/>
                </a:lnTo>
                <a:lnTo>
                  <a:pt x="212" y="160"/>
                </a:lnTo>
                <a:lnTo>
                  <a:pt x="212" y="163"/>
                </a:lnTo>
                <a:lnTo>
                  <a:pt x="209" y="163"/>
                </a:lnTo>
                <a:lnTo>
                  <a:pt x="203" y="160"/>
                </a:lnTo>
                <a:lnTo>
                  <a:pt x="200" y="160"/>
                </a:lnTo>
                <a:lnTo>
                  <a:pt x="193" y="163"/>
                </a:lnTo>
                <a:lnTo>
                  <a:pt x="190" y="160"/>
                </a:lnTo>
                <a:lnTo>
                  <a:pt x="187" y="160"/>
                </a:lnTo>
                <a:lnTo>
                  <a:pt x="184" y="157"/>
                </a:lnTo>
                <a:lnTo>
                  <a:pt x="187" y="157"/>
                </a:lnTo>
                <a:lnTo>
                  <a:pt x="187" y="154"/>
                </a:lnTo>
                <a:lnTo>
                  <a:pt x="181" y="154"/>
                </a:lnTo>
                <a:lnTo>
                  <a:pt x="175" y="154"/>
                </a:lnTo>
                <a:lnTo>
                  <a:pt x="175" y="151"/>
                </a:lnTo>
                <a:lnTo>
                  <a:pt x="178" y="151"/>
                </a:lnTo>
                <a:lnTo>
                  <a:pt x="184" y="151"/>
                </a:lnTo>
                <a:lnTo>
                  <a:pt x="187" y="151"/>
                </a:lnTo>
                <a:lnTo>
                  <a:pt x="190" y="151"/>
                </a:lnTo>
                <a:lnTo>
                  <a:pt x="193" y="147"/>
                </a:lnTo>
                <a:lnTo>
                  <a:pt x="190" y="147"/>
                </a:lnTo>
                <a:lnTo>
                  <a:pt x="187" y="147"/>
                </a:lnTo>
                <a:lnTo>
                  <a:pt x="184" y="144"/>
                </a:lnTo>
                <a:lnTo>
                  <a:pt x="181" y="144"/>
                </a:lnTo>
                <a:lnTo>
                  <a:pt x="181" y="147"/>
                </a:lnTo>
                <a:lnTo>
                  <a:pt x="178" y="147"/>
                </a:lnTo>
                <a:lnTo>
                  <a:pt x="175" y="147"/>
                </a:lnTo>
                <a:lnTo>
                  <a:pt x="175" y="147"/>
                </a:lnTo>
                <a:lnTo>
                  <a:pt x="175" y="144"/>
                </a:lnTo>
                <a:lnTo>
                  <a:pt x="168" y="151"/>
                </a:lnTo>
                <a:lnTo>
                  <a:pt x="165" y="151"/>
                </a:lnTo>
                <a:lnTo>
                  <a:pt x="162" y="154"/>
                </a:lnTo>
                <a:lnTo>
                  <a:pt x="162" y="157"/>
                </a:lnTo>
                <a:lnTo>
                  <a:pt x="159" y="163"/>
                </a:lnTo>
                <a:lnTo>
                  <a:pt x="156" y="163"/>
                </a:lnTo>
                <a:lnTo>
                  <a:pt x="156" y="166"/>
                </a:lnTo>
                <a:lnTo>
                  <a:pt x="150" y="176"/>
                </a:lnTo>
                <a:lnTo>
                  <a:pt x="147" y="176"/>
                </a:lnTo>
                <a:lnTo>
                  <a:pt x="147" y="172"/>
                </a:lnTo>
                <a:lnTo>
                  <a:pt x="147" y="176"/>
                </a:lnTo>
                <a:lnTo>
                  <a:pt x="143" y="176"/>
                </a:lnTo>
                <a:lnTo>
                  <a:pt x="147" y="179"/>
                </a:lnTo>
                <a:lnTo>
                  <a:pt x="147" y="182"/>
                </a:lnTo>
                <a:lnTo>
                  <a:pt x="147" y="182"/>
                </a:lnTo>
                <a:lnTo>
                  <a:pt x="143" y="179"/>
                </a:lnTo>
                <a:lnTo>
                  <a:pt x="137" y="182"/>
                </a:lnTo>
                <a:lnTo>
                  <a:pt x="134" y="182"/>
                </a:lnTo>
                <a:lnTo>
                  <a:pt x="128" y="182"/>
                </a:lnTo>
                <a:lnTo>
                  <a:pt x="122" y="182"/>
                </a:lnTo>
                <a:lnTo>
                  <a:pt x="118" y="176"/>
                </a:lnTo>
                <a:lnTo>
                  <a:pt x="122" y="172"/>
                </a:lnTo>
                <a:lnTo>
                  <a:pt x="125" y="176"/>
                </a:lnTo>
                <a:lnTo>
                  <a:pt x="125" y="172"/>
                </a:lnTo>
                <a:lnTo>
                  <a:pt x="128" y="166"/>
                </a:lnTo>
                <a:lnTo>
                  <a:pt x="131" y="166"/>
                </a:lnTo>
                <a:lnTo>
                  <a:pt x="131" y="160"/>
                </a:lnTo>
                <a:lnTo>
                  <a:pt x="131" y="154"/>
                </a:lnTo>
                <a:lnTo>
                  <a:pt x="134" y="154"/>
                </a:lnTo>
                <a:lnTo>
                  <a:pt x="140" y="151"/>
                </a:lnTo>
                <a:lnTo>
                  <a:pt x="143" y="154"/>
                </a:lnTo>
                <a:lnTo>
                  <a:pt x="147" y="154"/>
                </a:lnTo>
                <a:lnTo>
                  <a:pt x="150" y="151"/>
                </a:lnTo>
                <a:lnTo>
                  <a:pt x="147" y="147"/>
                </a:lnTo>
                <a:lnTo>
                  <a:pt x="147" y="144"/>
                </a:lnTo>
                <a:lnTo>
                  <a:pt x="147" y="141"/>
                </a:lnTo>
                <a:lnTo>
                  <a:pt x="140" y="138"/>
                </a:lnTo>
                <a:lnTo>
                  <a:pt x="137" y="135"/>
                </a:lnTo>
                <a:lnTo>
                  <a:pt x="134" y="132"/>
                </a:lnTo>
                <a:lnTo>
                  <a:pt x="131" y="129"/>
                </a:lnTo>
                <a:lnTo>
                  <a:pt x="131" y="125"/>
                </a:lnTo>
                <a:lnTo>
                  <a:pt x="131" y="116"/>
                </a:lnTo>
                <a:lnTo>
                  <a:pt x="125" y="116"/>
                </a:lnTo>
                <a:lnTo>
                  <a:pt x="118" y="110"/>
                </a:lnTo>
                <a:lnTo>
                  <a:pt x="118" y="110"/>
                </a:lnTo>
                <a:lnTo>
                  <a:pt x="115" y="110"/>
                </a:lnTo>
                <a:lnTo>
                  <a:pt x="109" y="110"/>
                </a:lnTo>
                <a:lnTo>
                  <a:pt x="103" y="104"/>
                </a:lnTo>
                <a:lnTo>
                  <a:pt x="100" y="104"/>
                </a:lnTo>
                <a:lnTo>
                  <a:pt x="97" y="100"/>
                </a:lnTo>
                <a:lnTo>
                  <a:pt x="93" y="100"/>
                </a:lnTo>
                <a:lnTo>
                  <a:pt x="90" y="100"/>
                </a:lnTo>
                <a:lnTo>
                  <a:pt x="87" y="104"/>
                </a:lnTo>
                <a:lnTo>
                  <a:pt x="84" y="100"/>
                </a:lnTo>
                <a:lnTo>
                  <a:pt x="84" y="104"/>
                </a:lnTo>
                <a:lnTo>
                  <a:pt x="81" y="100"/>
                </a:lnTo>
                <a:lnTo>
                  <a:pt x="81" y="107"/>
                </a:lnTo>
                <a:lnTo>
                  <a:pt x="81" y="110"/>
                </a:lnTo>
                <a:lnTo>
                  <a:pt x="81" y="113"/>
                </a:lnTo>
                <a:lnTo>
                  <a:pt x="78" y="116"/>
                </a:lnTo>
                <a:lnTo>
                  <a:pt x="72" y="116"/>
                </a:lnTo>
                <a:lnTo>
                  <a:pt x="59" y="119"/>
                </a:lnTo>
                <a:lnTo>
                  <a:pt x="56" y="122"/>
                </a:lnTo>
                <a:lnTo>
                  <a:pt x="53" y="125"/>
                </a:lnTo>
                <a:lnTo>
                  <a:pt x="47" y="125"/>
                </a:lnTo>
                <a:lnTo>
                  <a:pt x="40" y="125"/>
                </a:lnTo>
                <a:lnTo>
                  <a:pt x="40" y="122"/>
                </a:lnTo>
                <a:lnTo>
                  <a:pt x="34" y="119"/>
                </a:lnTo>
                <a:lnTo>
                  <a:pt x="28" y="119"/>
                </a:lnTo>
                <a:lnTo>
                  <a:pt x="22" y="113"/>
                </a:lnTo>
                <a:lnTo>
                  <a:pt x="18" y="113"/>
                </a:lnTo>
                <a:lnTo>
                  <a:pt x="15" y="116"/>
                </a:lnTo>
                <a:lnTo>
                  <a:pt x="12" y="116"/>
                </a:lnTo>
                <a:lnTo>
                  <a:pt x="9" y="113"/>
                </a:lnTo>
                <a:lnTo>
                  <a:pt x="6" y="110"/>
                </a:lnTo>
                <a:lnTo>
                  <a:pt x="0" y="107"/>
                </a:lnTo>
                <a:lnTo>
                  <a:pt x="3" y="104"/>
                </a:lnTo>
                <a:lnTo>
                  <a:pt x="3" y="97"/>
                </a:lnTo>
                <a:lnTo>
                  <a:pt x="6" y="91"/>
                </a:lnTo>
                <a:lnTo>
                  <a:pt x="9" y="91"/>
                </a:lnTo>
                <a:lnTo>
                  <a:pt x="12" y="85"/>
                </a:lnTo>
                <a:lnTo>
                  <a:pt x="9" y="79"/>
                </a:lnTo>
                <a:lnTo>
                  <a:pt x="22" y="66"/>
                </a:lnTo>
                <a:lnTo>
                  <a:pt x="25" y="60"/>
                </a:lnTo>
                <a:lnTo>
                  <a:pt x="28" y="57"/>
                </a:lnTo>
                <a:lnTo>
                  <a:pt x="31" y="57"/>
                </a:lnTo>
                <a:lnTo>
                  <a:pt x="31" y="50"/>
                </a:lnTo>
                <a:lnTo>
                  <a:pt x="31" y="47"/>
                </a:lnTo>
                <a:lnTo>
                  <a:pt x="28" y="44"/>
                </a:lnTo>
                <a:lnTo>
                  <a:pt x="31" y="41"/>
                </a:lnTo>
                <a:lnTo>
                  <a:pt x="25" y="41"/>
                </a:lnTo>
                <a:lnTo>
                  <a:pt x="25" y="35"/>
                </a:lnTo>
                <a:lnTo>
                  <a:pt x="22" y="32"/>
                </a:lnTo>
                <a:lnTo>
                  <a:pt x="22" y="22"/>
                </a:lnTo>
                <a:lnTo>
                  <a:pt x="22" y="1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3" name="Freeform 51">
            <a:extLst>
              <a:ext uri="{FF2B5EF4-FFF2-40B4-BE49-F238E27FC236}">
                <a16:creationId xmlns:a16="http://schemas.microsoft.com/office/drawing/2014/main" id="{54ABFC5D-212F-F1EB-9626-435D73F29D21}"/>
              </a:ext>
            </a:extLst>
          </p:cNvPr>
          <p:cNvSpPr>
            <a:spLocks/>
          </p:cNvSpPr>
          <p:nvPr userDrawn="1"/>
        </p:nvSpPr>
        <p:spPr bwMode="auto">
          <a:xfrm>
            <a:off x="14667542" y="6047657"/>
            <a:ext cx="219064" cy="241302"/>
          </a:xfrm>
          <a:custGeom>
            <a:avLst/>
            <a:gdLst>
              <a:gd name="T0" fmla="*/ 0 w 69"/>
              <a:gd name="T1" fmla="*/ 13 h 76"/>
              <a:gd name="T2" fmla="*/ 0 w 69"/>
              <a:gd name="T3" fmla="*/ 10 h 76"/>
              <a:gd name="T4" fmla="*/ 0 w 69"/>
              <a:gd name="T5" fmla="*/ 7 h 76"/>
              <a:gd name="T6" fmla="*/ 0 w 69"/>
              <a:gd name="T7" fmla="*/ 0 h 76"/>
              <a:gd name="T8" fmla="*/ 3 w 69"/>
              <a:gd name="T9" fmla="*/ 4 h 76"/>
              <a:gd name="T10" fmla="*/ 3 w 69"/>
              <a:gd name="T11" fmla="*/ 0 h 76"/>
              <a:gd name="T12" fmla="*/ 6 w 69"/>
              <a:gd name="T13" fmla="*/ 4 h 76"/>
              <a:gd name="T14" fmla="*/ 9 w 69"/>
              <a:gd name="T15" fmla="*/ 0 h 76"/>
              <a:gd name="T16" fmla="*/ 12 w 69"/>
              <a:gd name="T17" fmla="*/ 0 h 76"/>
              <a:gd name="T18" fmla="*/ 16 w 69"/>
              <a:gd name="T19" fmla="*/ 0 h 76"/>
              <a:gd name="T20" fmla="*/ 19 w 69"/>
              <a:gd name="T21" fmla="*/ 4 h 76"/>
              <a:gd name="T22" fmla="*/ 22 w 69"/>
              <a:gd name="T23" fmla="*/ 4 h 76"/>
              <a:gd name="T24" fmla="*/ 28 w 69"/>
              <a:gd name="T25" fmla="*/ 10 h 76"/>
              <a:gd name="T26" fmla="*/ 34 w 69"/>
              <a:gd name="T27" fmla="*/ 10 h 76"/>
              <a:gd name="T28" fmla="*/ 37 w 69"/>
              <a:gd name="T29" fmla="*/ 10 h 76"/>
              <a:gd name="T30" fmla="*/ 37 w 69"/>
              <a:gd name="T31" fmla="*/ 10 h 76"/>
              <a:gd name="T32" fmla="*/ 44 w 69"/>
              <a:gd name="T33" fmla="*/ 16 h 76"/>
              <a:gd name="T34" fmla="*/ 50 w 69"/>
              <a:gd name="T35" fmla="*/ 16 h 76"/>
              <a:gd name="T36" fmla="*/ 50 w 69"/>
              <a:gd name="T37" fmla="*/ 25 h 76"/>
              <a:gd name="T38" fmla="*/ 50 w 69"/>
              <a:gd name="T39" fmla="*/ 29 h 76"/>
              <a:gd name="T40" fmla="*/ 53 w 69"/>
              <a:gd name="T41" fmla="*/ 32 h 76"/>
              <a:gd name="T42" fmla="*/ 56 w 69"/>
              <a:gd name="T43" fmla="*/ 35 h 76"/>
              <a:gd name="T44" fmla="*/ 59 w 69"/>
              <a:gd name="T45" fmla="*/ 38 h 76"/>
              <a:gd name="T46" fmla="*/ 66 w 69"/>
              <a:gd name="T47" fmla="*/ 41 h 76"/>
              <a:gd name="T48" fmla="*/ 66 w 69"/>
              <a:gd name="T49" fmla="*/ 44 h 76"/>
              <a:gd name="T50" fmla="*/ 66 w 69"/>
              <a:gd name="T51" fmla="*/ 47 h 76"/>
              <a:gd name="T52" fmla="*/ 69 w 69"/>
              <a:gd name="T53" fmla="*/ 51 h 76"/>
              <a:gd name="T54" fmla="*/ 66 w 69"/>
              <a:gd name="T55" fmla="*/ 54 h 76"/>
              <a:gd name="T56" fmla="*/ 62 w 69"/>
              <a:gd name="T57" fmla="*/ 54 h 76"/>
              <a:gd name="T58" fmla="*/ 59 w 69"/>
              <a:gd name="T59" fmla="*/ 51 h 76"/>
              <a:gd name="T60" fmla="*/ 53 w 69"/>
              <a:gd name="T61" fmla="*/ 54 h 76"/>
              <a:gd name="T62" fmla="*/ 50 w 69"/>
              <a:gd name="T63" fmla="*/ 54 h 76"/>
              <a:gd name="T64" fmla="*/ 50 w 69"/>
              <a:gd name="T65" fmla="*/ 60 h 76"/>
              <a:gd name="T66" fmla="*/ 50 w 69"/>
              <a:gd name="T67" fmla="*/ 66 h 76"/>
              <a:gd name="T68" fmla="*/ 47 w 69"/>
              <a:gd name="T69" fmla="*/ 66 h 76"/>
              <a:gd name="T70" fmla="*/ 44 w 69"/>
              <a:gd name="T71" fmla="*/ 72 h 76"/>
              <a:gd name="T72" fmla="*/ 44 w 69"/>
              <a:gd name="T73" fmla="*/ 76 h 76"/>
              <a:gd name="T74" fmla="*/ 41 w 69"/>
              <a:gd name="T75" fmla="*/ 72 h 76"/>
              <a:gd name="T76" fmla="*/ 37 w 69"/>
              <a:gd name="T77" fmla="*/ 76 h 76"/>
              <a:gd name="T78" fmla="*/ 37 w 69"/>
              <a:gd name="T79" fmla="*/ 76 h 76"/>
              <a:gd name="T80" fmla="*/ 34 w 69"/>
              <a:gd name="T81" fmla="*/ 69 h 76"/>
              <a:gd name="T82" fmla="*/ 34 w 69"/>
              <a:gd name="T83" fmla="*/ 51 h 76"/>
              <a:gd name="T84" fmla="*/ 31 w 69"/>
              <a:gd name="T85" fmla="*/ 47 h 76"/>
              <a:gd name="T86" fmla="*/ 31 w 69"/>
              <a:gd name="T87" fmla="*/ 41 h 76"/>
              <a:gd name="T88" fmla="*/ 19 w 69"/>
              <a:gd name="T89" fmla="*/ 32 h 76"/>
              <a:gd name="T90" fmla="*/ 19 w 69"/>
              <a:gd name="T91" fmla="*/ 29 h 76"/>
              <a:gd name="T92" fmla="*/ 9 w 69"/>
              <a:gd name="T93" fmla="*/ 22 h 76"/>
              <a:gd name="T94" fmla="*/ 9 w 69"/>
              <a:gd name="T95" fmla="*/ 13 h 76"/>
              <a:gd name="T96" fmla="*/ 0 w 69"/>
              <a:gd name="T97" fmla="*/ 1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 h="76">
                <a:moveTo>
                  <a:pt x="0" y="13"/>
                </a:moveTo>
                <a:lnTo>
                  <a:pt x="0" y="10"/>
                </a:lnTo>
                <a:lnTo>
                  <a:pt x="0" y="7"/>
                </a:lnTo>
                <a:lnTo>
                  <a:pt x="0" y="0"/>
                </a:lnTo>
                <a:lnTo>
                  <a:pt x="3" y="4"/>
                </a:lnTo>
                <a:lnTo>
                  <a:pt x="3" y="0"/>
                </a:lnTo>
                <a:lnTo>
                  <a:pt x="6" y="4"/>
                </a:lnTo>
                <a:lnTo>
                  <a:pt x="9" y="0"/>
                </a:lnTo>
                <a:lnTo>
                  <a:pt x="12" y="0"/>
                </a:lnTo>
                <a:lnTo>
                  <a:pt x="16" y="0"/>
                </a:lnTo>
                <a:lnTo>
                  <a:pt x="19" y="4"/>
                </a:lnTo>
                <a:lnTo>
                  <a:pt x="22" y="4"/>
                </a:lnTo>
                <a:lnTo>
                  <a:pt x="28" y="10"/>
                </a:lnTo>
                <a:lnTo>
                  <a:pt x="34" y="10"/>
                </a:lnTo>
                <a:lnTo>
                  <a:pt x="37" y="10"/>
                </a:lnTo>
                <a:lnTo>
                  <a:pt x="37" y="10"/>
                </a:lnTo>
                <a:lnTo>
                  <a:pt x="44" y="16"/>
                </a:lnTo>
                <a:lnTo>
                  <a:pt x="50" y="16"/>
                </a:lnTo>
                <a:lnTo>
                  <a:pt x="50" y="25"/>
                </a:lnTo>
                <a:lnTo>
                  <a:pt x="50" y="29"/>
                </a:lnTo>
                <a:lnTo>
                  <a:pt x="53" y="32"/>
                </a:lnTo>
                <a:lnTo>
                  <a:pt x="56" y="35"/>
                </a:lnTo>
                <a:lnTo>
                  <a:pt x="59" y="38"/>
                </a:lnTo>
                <a:lnTo>
                  <a:pt x="66" y="41"/>
                </a:lnTo>
                <a:lnTo>
                  <a:pt x="66" y="44"/>
                </a:lnTo>
                <a:lnTo>
                  <a:pt x="66" y="47"/>
                </a:lnTo>
                <a:lnTo>
                  <a:pt x="69" y="51"/>
                </a:lnTo>
                <a:lnTo>
                  <a:pt x="66" y="54"/>
                </a:lnTo>
                <a:lnTo>
                  <a:pt x="62" y="54"/>
                </a:lnTo>
                <a:lnTo>
                  <a:pt x="59" y="51"/>
                </a:lnTo>
                <a:lnTo>
                  <a:pt x="53" y="54"/>
                </a:lnTo>
                <a:lnTo>
                  <a:pt x="50" y="54"/>
                </a:lnTo>
                <a:lnTo>
                  <a:pt x="50" y="60"/>
                </a:lnTo>
                <a:lnTo>
                  <a:pt x="50" y="66"/>
                </a:lnTo>
                <a:lnTo>
                  <a:pt x="47" y="66"/>
                </a:lnTo>
                <a:lnTo>
                  <a:pt x="44" y="72"/>
                </a:lnTo>
                <a:lnTo>
                  <a:pt x="44" y="76"/>
                </a:lnTo>
                <a:lnTo>
                  <a:pt x="41" y="72"/>
                </a:lnTo>
                <a:lnTo>
                  <a:pt x="37" y="76"/>
                </a:lnTo>
                <a:lnTo>
                  <a:pt x="37" y="76"/>
                </a:lnTo>
                <a:lnTo>
                  <a:pt x="34" y="69"/>
                </a:lnTo>
                <a:lnTo>
                  <a:pt x="34" y="51"/>
                </a:lnTo>
                <a:lnTo>
                  <a:pt x="31" y="47"/>
                </a:lnTo>
                <a:lnTo>
                  <a:pt x="31" y="41"/>
                </a:lnTo>
                <a:lnTo>
                  <a:pt x="19" y="32"/>
                </a:lnTo>
                <a:lnTo>
                  <a:pt x="19" y="29"/>
                </a:lnTo>
                <a:lnTo>
                  <a:pt x="9" y="22"/>
                </a:lnTo>
                <a:lnTo>
                  <a:pt x="9" y="13"/>
                </a:lnTo>
                <a:lnTo>
                  <a:pt x="0" y="13"/>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4" name="Freeform 52">
            <a:extLst>
              <a:ext uri="{FF2B5EF4-FFF2-40B4-BE49-F238E27FC236}">
                <a16:creationId xmlns:a16="http://schemas.microsoft.com/office/drawing/2014/main" id="{2663AFAC-2AEC-512C-15F1-54599A3221FE}"/>
              </a:ext>
            </a:extLst>
          </p:cNvPr>
          <p:cNvSpPr>
            <a:spLocks/>
          </p:cNvSpPr>
          <p:nvPr userDrawn="1"/>
        </p:nvSpPr>
        <p:spPr bwMode="auto">
          <a:xfrm>
            <a:off x="14321491" y="6088933"/>
            <a:ext cx="555590" cy="346078"/>
          </a:xfrm>
          <a:custGeom>
            <a:avLst/>
            <a:gdLst>
              <a:gd name="T0" fmla="*/ 43 w 175"/>
              <a:gd name="T1" fmla="*/ 3 h 109"/>
              <a:gd name="T2" fmla="*/ 50 w 175"/>
              <a:gd name="T3" fmla="*/ 0 h 109"/>
              <a:gd name="T4" fmla="*/ 62 w 175"/>
              <a:gd name="T5" fmla="*/ 6 h 109"/>
              <a:gd name="T6" fmla="*/ 68 w 175"/>
              <a:gd name="T7" fmla="*/ 12 h 109"/>
              <a:gd name="T8" fmla="*/ 81 w 175"/>
              <a:gd name="T9" fmla="*/ 12 h 109"/>
              <a:gd name="T10" fmla="*/ 87 w 175"/>
              <a:gd name="T11" fmla="*/ 6 h 109"/>
              <a:gd name="T12" fmla="*/ 106 w 175"/>
              <a:gd name="T13" fmla="*/ 3 h 109"/>
              <a:gd name="T14" fmla="*/ 118 w 175"/>
              <a:gd name="T15" fmla="*/ 9 h 109"/>
              <a:gd name="T16" fmla="*/ 128 w 175"/>
              <a:gd name="T17" fmla="*/ 19 h 109"/>
              <a:gd name="T18" fmla="*/ 140 w 175"/>
              <a:gd name="T19" fmla="*/ 34 h 109"/>
              <a:gd name="T20" fmla="*/ 143 w 175"/>
              <a:gd name="T21" fmla="*/ 56 h 109"/>
              <a:gd name="T22" fmla="*/ 150 w 175"/>
              <a:gd name="T23" fmla="*/ 69 h 109"/>
              <a:gd name="T24" fmla="*/ 162 w 175"/>
              <a:gd name="T25" fmla="*/ 69 h 109"/>
              <a:gd name="T26" fmla="*/ 171 w 175"/>
              <a:gd name="T27" fmla="*/ 66 h 109"/>
              <a:gd name="T28" fmla="*/ 171 w 175"/>
              <a:gd name="T29" fmla="*/ 72 h 109"/>
              <a:gd name="T30" fmla="*/ 175 w 175"/>
              <a:gd name="T31" fmla="*/ 75 h 109"/>
              <a:gd name="T32" fmla="*/ 168 w 175"/>
              <a:gd name="T33" fmla="*/ 81 h 109"/>
              <a:gd name="T34" fmla="*/ 159 w 175"/>
              <a:gd name="T35" fmla="*/ 88 h 109"/>
              <a:gd name="T36" fmla="*/ 159 w 175"/>
              <a:gd name="T37" fmla="*/ 94 h 109"/>
              <a:gd name="T38" fmla="*/ 156 w 175"/>
              <a:gd name="T39" fmla="*/ 100 h 109"/>
              <a:gd name="T40" fmla="*/ 153 w 175"/>
              <a:gd name="T41" fmla="*/ 106 h 109"/>
              <a:gd name="T42" fmla="*/ 146 w 175"/>
              <a:gd name="T43" fmla="*/ 103 h 109"/>
              <a:gd name="T44" fmla="*/ 140 w 175"/>
              <a:gd name="T45" fmla="*/ 100 h 109"/>
              <a:gd name="T46" fmla="*/ 128 w 175"/>
              <a:gd name="T47" fmla="*/ 97 h 109"/>
              <a:gd name="T48" fmla="*/ 112 w 175"/>
              <a:gd name="T49" fmla="*/ 103 h 109"/>
              <a:gd name="T50" fmla="*/ 106 w 175"/>
              <a:gd name="T51" fmla="*/ 109 h 109"/>
              <a:gd name="T52" fmla="*/ 96 w 175"/>
              <a:gd name="T53" fmla="*/ 109 h 109"/>
              <a:gd name="T54" fmla="*/ 87 w 175"/>
              <a:gd name="T55" fmla="*/ 106 h 109"/>
              <a:gd name="T56" fmla="*/ 81 w 175"/>
              <a:gd name="T57" fmla="*/ 109 h 109"/>
              <a:gd name="T58" fmla="*/ 68 w 175"/>
              <a:gd name="T59" fmla="*/ 109 h 109"/>
              <a:gd name="T60" fmla="*/ 65 w 175"/>
              <a:gd name="T61" fmla="*/ 106 h 109"/>
              <a:gd name="T62" fmla="*/ 56 w 175"/>
              <a:gd name="T63" fmla="*/ 109 h 109"/>
              <a:gd name="T64" fmla="*/ 53 w 175"/>
              <a:gd name="T65" fmla="*/ 103 h 109"/>
              <a:gd name="T66" fmla="*/ 53 w 175"/>
              <a:gd name="T67" fmla="*/ 100 h 109"/>
              <a:gd name="T68" fmla="*/ 46 w 175"/>
              <a:gd name="T69" fmla="*/ 94 h 109"/>
              <a:gd name="T70" fmla="*/ 46 w 175"/>
              <a:gd name="T71" fmla="*/ 88 h 109"/>
              <a:gd name="T72" fmla="*/ 37 w 175"/>
              <a:gd name="T73" fmla="*/ 91 h 109"/>
              <a:gd name="T74" fmla="*/ 31 w 175"/>
              <a:gd name="T75" fmla="*/ 88 h 109"/>
              <a:gd name="T76" fmla="*/ 21 w 175"/>
              <a:gd name="T77" fmla="*/ 84 h 109"/>
              <a:gd name="T78" fmla="*/ 25 w 175"/>
              <a:gd name="T79" fmla="*/ 78 h 109"/>
              <a:gd name="T80" fmla="*/ 12 w 175"/>
              <a:gd name="T81" fmla="*/ 69 h 109"/>
              <a:gd name="T82" fmla="*/ 6 w 175"/>
              <a:gd name="T83" fmla="*/ 59 h 109"/>
              <a:gd name="T84" fmla="*/ 0 w 175"/>
              <a:gd name="T85" fmla="*/ 56 h 109"/>
              <a:gd name="T86" fmla="*/ 9 w 175"/>
              <a:gd name="T87" fmla="*/ 50 h 109"/>
              <a:gd name="T88" fmla="*/ 15 w 175"/>
              <a:gd name="T89" fmla="*/ 47 h 109"/>
              <a:gd name="T90" fmla="*/ 18 w 175"/>
              <a:gd name="T91" fmla="*/ 41 h 109"/>
              <a:gd name="T92" fmla="*/ 31 w 175"/>
              <a:gd name="T93" fmla="*/ 19 h 109"/>
              <a:gd name="T94" fmla="*/ 37 w 175"/>
              <a:gd name="T95" fmla="*/ 9 h 109"/>
              <a:gd name="T96" fmla="*/ 40 w 175"/>
              <a:gd name="T97" fmla="*/ 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5" h="109">
                <a:moveTo>
                  <a:pt x="40" y="3"/>
                </a:moveTo>
                <a:lnTo>
                  <a:pt x="43" y="3"/>
                </a:lnTo>
                <a:lnTo>
                  <a:pt x="46" y="0"/>
                </a:lnTo>
                <a:lnTo>
                  <a:pt x="50" y="0"/>
                </a:lnTo>
                <a:lnTo>
                  <a:pt x="56" y="6"/>
                </a:lnTo>
                <a:lnTo>
                  <a:pt x="62" y="6"/>
                </a:lnTo>
                <a:lnTo>
                  <a:pt x="68" y="9"/>
                </a:lnTo>
                <a:lnTo>
                  <a:pt x="68" y="12"/>
                </a:lnTo>
                <a:lnTo>
                  <a:pt x="75" y="12"/>
                </a:lnTo>
                <a:lnTo>
                  <a:pt x="81" y="12"/>
                </a:lnTo>
                <a:lnTo>
                  <a:pt x="84" y="9"/>
                </a:lnTo>
                <a:lnTo>
                  <a:pt x="87" y="6"/>
                </a:lnTo>
                <a:lnTo>
                  <a:pt x="100" y="3"/>
                </a:lnTo>
                <a:lnTo>
                  <a:pt x="106" y="3"/>
                </a:lnTo>
                <a:lnTo>
                  <a:pt x="118" y="0"/>
                </a:lnTo>
                <a:lnTo>
                  <a:pt x="118" y="9"/>
                </a:lnTo>
                <a:lnTo>
                  <a:pt x="128" y="16"/>
                </a:lnTo>
                <a:lnTo>
                  <a:pt x="128" y="19"/>
                </a:lnTo>
                <a:lnTo>
                  <a:pt x="140" y="28"/>
                </a:lnTo>
                <a:lnTo>
                  <a:pt x="140" y="34"/>
                </a:lnTo>
                <a:lnTo>
                  <a:pt x="143" y="38"/>
                </a:lnTo>
                <a:lnTo>
                  <a:pt x="143" y="56"/>
                </a:lnTo>
                <a:lnTo>
                  <a:pt x="146" y="63"/>
                </a:lnTo>
                <a:lnTo>
                  <a:pt x="150" y="69"/>
                </a:lnTo>
                <a:lnTo>
                  <a:pt x="156" y="69"/>
                </a:lnTo>
                <a:lnTo>
                  <a:pt x="162" y="69"/>
                </a:lnTo>
                <a:lnTo>
                  <a:pt x="165" y="69"/>
                </a:lnTo>
                <a:lnTo>
                  <a:pt x="171" y="66"/>
                </a:lnTo>
                <a:lnTo>
                  <a:pt x="175" y="69"/>
                </a:lnTo>
                <a:lnTo>
                  <a:pt x="171" y="72"/>
                </a:lnTo>
                <a:lnTo>
                  <a:pt x="175" y="72"/>
                </a:lnTo>
                <a:lnTo>
                  <a:pt x="175" y="75"/>
                </a:lnTo>
                <a:lnTo>
                  <a:pt x="171" y="81"/>
                </a:lnTo>
                <a:lnTo>
                  <a:pt x="168" y="81"/>
                </a:lnTo>
                <a:lnTo>
                  <a:pt x="159" y="81"/>
                </a:lnTo>
                <a:lnTo>
                  <a:pt x="159" y="88"/>
                </a:lnTo>
                <a:lnTo>
                  <a:pt x="156" y="91"/>
                </a:lnTo>
                <a:lnTo>
                  <a:pt x="159" y="94"/>
                </a:lnTo>
                <a:lnTo>
                  <a:pt x="159" y="97"/>
                </a:lnTo>
                <a:lnTo>
                  <a:pt x="156" y="100"/>
                </a:lnTo>
                <a:lnTo>
                  <a:pt x="159" y="106"/>
                </a:lnTo>
                <a:lnTo>
                  <a:pt x="153" y="106"/>
                </a:lnTo>
                <a:lnTo>
                  <a:pt x="153" y="103"/>
                </a:lnTo>
                <a:lnTo>
                  <a:pt x="146" y="103"/>
                </a:lnTo>
                <a:lnTo>
                  <a:pt x="143" y="103"/>
                </a:lnTo>
                <a:lnTo>
                  <a:pt x="140" y="100"/>
                </a:lnTo>
                <a:lnTo>
                  <a:pt x="134" y="97"/>
                </a:lnTo>
                <a:lnTo>
                  <a:pt x="128" y="97"/>
                </a:lnTo>
                <a:lnTo>
                  <a:pt x="125" y="100"/>
                </a:lnTo>
                <a:lnTo>
                  <a:pt x="112" y="103"/>
                </a:lnTo>
                <a:lnTo>
                  <a:pt x="109" y="106"/>
                </a:lnTo>
                <a:lnTo>
                  <a:pt x="106" y="109"/>
                </a:lnTo>
                <a:lnTo>
                  <a:pt x="103" y="109"/>
                </a:lnTo>
                <a:lnTo>
                  <a:pt x="96" y="109"/>
                </a:lnTo>
                <a:lnTo>
                  <a:pt x="93" y="109"/>
                </a:lnTo>
                <a:lnTo>
                  <a:pt x="87" y="106"/>
                </a:lnTo>
                <a:lnTo>
                  <a:pt x="84" y="109"/>
                </a:lnTo>
                <a:lnTo>
                  <a:pt x="81" y="109"/>
                </a:lnTo>
                <a:lnTo>
                  <a:pt x="75" y="109"/>
                </a:lnTo>
                <a:lnTo>
                  <a:pt x="68" y="109"/>
                </a:lnTo>
                <a:lnTo>
                  <a:pt x="65" y="109"/>
                </a:lnTo>
                <a:lnTo>
                  <a:pt x="65" y="106"/>
                </a:lnTo>
                <a:lnTo>
                  <a:pt x="59" y="106"/>
                </a:lnTo>
                <a:lnTo>
                  <a:pt x="56" y="109"/>
                </a:lnTo>
                <a:lnTo>
                  <a:pt x="53" y="106"/>
                </a:lnTo>
                <a:lnTo>
                  <a:pt x="53" y="103"/>
                </a:lnTo>
                <a:lnTo>
                  <a:pt x="53" y="100"/>
                </a:lnTo>
                <a:lnTo>
                  <a:pt x="53" y="100"/>
                </a:lnTo>
                <a:lnTo>
                  <a:pt x="46" y="97"/>
                </a:lnTo>
                <a:lnTo>
                  <a:pt x="46" y="94"/>
                </a:lnTo>
                <a:lnTo>
                  <a:pt x="43" y="91"/>
                </a:lnTo>
                <a:lnTo>
                  <a:pt x="46" y="88"/>
                </a:lnTo>
                <a:lnTo>
                  <a:pt x="40" y="84"/>
                </a:lnTo>
                <a:lnTo>
                  <a:pt x="37" y="91"/>
                </a:lnTo>
                <a:lnTo>
                  <a:pt x="34" y="88"/>
                </a:lnTo>
                <a:lnTo>
                  <a:pt x="31" y="88"/>
                </a:lnTo>
                <a:lnTo>
                  <a:pt x="28" y="84"/>
                </a:lnTo>
                <a:lnTo>
                  <a:pt x="21" y="84"/>
                </a:lnTo>
                <a:lnTo>
                  <a:pt x="21" y="81"/>
                </a:lnTo>
                <a:lnTo>
                  <a:pt x="25" y="78"/>
                </a:lnTo>
                <a:lnTo>
                  <a:pt x="18" y="72"/>
                </a:lnTo>
                <a:lnTo>
                  <a:pt x="12" y="69"/>
                </a:lnTo>
                <a:lnTo>
                  <a:pt x="12" y="66"/>
                </a:lnTo>
                <a:lnTo>
                  <a:pt x="6" y="59"/>
                </a:lnTo>
                <a:lnTo>
                  <a:pt x="6" y="56"/>
                </a:lnTo>
                <a:lnTo>
                  <a:pt x="0" y="56"/>
                </a:lnTo>
                <a:lnTo>
                  <a:pt x="6" y="50"/>
                </a:lnTo>
                <a:lnTo>
                  <a:pt x="9" y="50"/>
                </a:lnTo>
                <a:lnTo>
                  <a:pt x="9" y="47"/>
                </a:lnTo>
                <a:lnTo>
                  <a:pt x="15" y="47"/>
                </a:lnTo>
                <a:lnTo>
                  <a:pt x="18" y="44"/>
                </a:lnTo>
                <a:lnTo>
                  <a:pt x="18" y="41"/>
                </a:lnTo>
                <a:lnTo>
                  <a:pt x="25" y="31"/>
                </a:lnTo>
                <a:lnTo>
                  <a:pt x="31" y="19"/>
                </a:lnTo>
                <a:lnTo>
                  <a:pt x="34" y="9"/>
                </a:lnTo>
                <a:lnTo>
                  <a:pt x="37" y="9"/>
                </a:lnTo>
                <a:lnTo>
                  <a:pt x="40" y="6"/>
                </a:lnTo>
                <a:lnTo>
                  <a:pt x="40" y="3"/>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5" name="Freeform 53">
            <a:extLst>
              <a:ext uri="{FF2B5EF4-FFF2-40B4-BE49-F238E27FC236}">
                <a16:creationId xmlns:a16="http://schemas.microsoft.com/office/drawing/2014/main" id="{1D2E6A65-E949-A9BB-6C2C-70BA5DCB6AB9}"/>
              </a:ext>
            </a:extLst>
          </p:cNvPr>
          <p:cNvSpPr>
            <a:spLocks/>
          </p:cNvSpPr>
          <p:nvPr userDrawn="1"/>
        </p:nvSpPr>
        <p:spPr bwMode="auto">
          <a:xfrm>
            <a:off x="14092905" y="6069880"/>
            <a:ext cx="355577" cy="228600"/>
          </a:xfrm>
          <a:custGeom>
            <a:avLst/>
            <a:gdLst>
              <a:gd name="T0" fmla="*/ 72 w 112"/>
              <a:gd name="T1" fmla="*/ 62 h 72"/>
              <a:gd name="T2" fmla="*/ 78 w 112"/>
              <a:gd name="T3" fmla="*/ 56 h 72"/>
              <a:gd name="T4" fmla="*/ 81 w 112"/>
              <a:gd name="T5" fmla="*/ 56 h 72"/>
              <a:gd name="T6" fmla="*/ 81 w 112"/>
              <a:gd name="T7" fmla="*/ 53 h 72"/>
              <a:gd name="T8" fmla="*/ 87 w 112"/>
              <a:gd name="T9" fmla="*/ 53 h 72"/>
              <a:gd name="T10" fmla="*/ 90 w 112"/>
              <a:gd name="T11" fmla="*/ 50 h 72"/>
              <a:gd name="T12" fmla="*/ 90 w 112"/>
              <a:gd name="T13" fmla="*/ 47 h 72"/>
              <a:gd name="T14" fmla="*/ 97 w 112"/>
              <a:gd name="T15" fmla="*/ 37 h 72"/>
              <a:gd name="T16" fmla="*/ 103 w 112"/>
              <a:gd name="T17" fmla="*/ 25 h 72"/>
              <a:gd name="T18" fmla="*/ 106 w 112"/>
              <a:gd name="T19" fmla="*/ 15 h 72"/>
              <a:gd name="T20" fmla="*/ 109 w 112"/>
              <a:gd name="T21" fmla="*/ 15 h 72"/>
              <a:gd name="T22" fmla="*/ 112 w 112"/>
              <a:gd name="T23" fmla="*/ 12 h 72"/>
              <a:gd name="T24" fmla="*/ 109 w 112"/>
              <a:gd name="T25" fmla="*/ 6 h 72"/>
              <a:gd name="T26" fmla="*/ 106 w 112"/>
              <a:gd name="T27" fmla="*/ 3 h 72"/>
              <a:gd name="T28" fmla="*/ 100 w 112"/>
              <a:gd name="T29" fmla="*/ 0 h 72"/>
              <a:gd name="T30" fmla="*/ 97 w 112"/>
              <a:gd name="T31" fmla="*/ 3 h 72"/>
              <a:gd name="T32" fmla="*/ 90 w 112"/>
              <a:gd name="T33" fmla="*/ 0 h 72"/>
              <a:gd name="T34" fmla="*/ 84 w 112"/>
              <a:gd name="T35" fmla="*/ 0 h 72"/>
              <a:gd name="T36" fmla="*/ 78 w 112"/>
              <a:gd name="T37" fmla="*/ 0 h 72"/>
              <a:gd name="T38" fmla="*/ 72 w 112"/>
              <a:gd name="T39" fmla="*/ 0 h 72"/>
              <a:gd name="T40" fmla="*/ 68 w 112"/>
              <a:gd name="T41" fmla="*/ 6 h 72"/>
              <a:gd name="T42" fmla="*/ 65 w 112"/>
              <a:gd name="T43" fmla="*/ 9 h 72"/>
              <a:gd name="T44" fmla="*/ 65 w 112"/>
              <a:gd name="T45" fmla="*/ 12 h 72"/>
              <a:gd name="T46" fmla="*/ 59 w 112"/>
              <a:gd name="T47" fmla="*/ 6 h 72"/>
              <a:gd name="T48" fmla="*/ 53 w 112"/>
              <a:gd name="T49" fmla="*/ 12 h 72"/>
              <a:gd name="T50" fmla="*/ 47 w 112"/>
              <a:gd name="T51" fmla="*/ 12 h 72"/>
              <a:gd name="T52" fmla="*/ 47 w 112"/>
              <a:gd name="T53" fmla="*/ 15 h 72"/>
              <a:gd name="T54" fmla="*/ 37 w 112"/>
              <a:gd name="T55" fmla="*/ 18 h 72"/>
              <a:gd name="T56" fmla="*/ 28 w 112"/>
              <a:gd name="T57" fmla="*/ 18 h 72"/>
              <a:gd name="T58" fmla="*/ 22 w 112"/>
              <a:gd name="T59" fmla="*/ 18 h 72"/>
              <a:gd name="T60" fmla="*/ 9 w 112"/>
              <a:gd name="T61" fmla="*/ 12 h 72"/>
              <a:gd name="T62" fmla="*/ 9 w 112"/>
              <a:gd name="T63" fmla="*/ 12 h 72"/>
              <a:gd name="T64" fmla="*/ 9 w 112"/>
              <a:gd name="T65" fmla="*/ 18 h 72"/>
              <a:gd name="T66" fmla="*/ 9 w 112"/>
              <a:gd name="T67" fmla="*/ 22 h 72"/>
              <a:gd name="T68" fmla="*/ 0 w 112"/>
              <a:gd name="T69" fmla="*/ 22 h 72"/>
              <a:gd name="T70" fmla="*/ 0 w 112"/>
              <a:gd name="T71" fmla="*/ 25 h 72"/>
              <a:gd name="T72" fmla="*/ 3 w 112"/>
              <a:gd name="T73" fmla="*/ 28 h 72"/>
              <a:gd name="T74" fmla="*/ 3 w 112"/>
              <a:gd name="T75" fmla="*/ 31 h 72"/>
              <a:gd name="T76" fmla="*/ 3 w 112"/>
              <a:gd name="T77" fmla="*/ 34 h 72"/>
              <a:gd name="T78" fmla="*/ 3 w 112"/>
              <a:gd name="T79" fmla="*/ 40 h 72"/>
              <a:gd name="T80" fmla="*/ 0 w 112"/>
              <a:gd name="T81" fmla="*/ 44 h 72"/>
              <a:gd name="T82" fmla="*/ 0 w 112"/>
              <a:gd name="T83" fmla="*/ 44 h 72"/>
              <a:gd name="T84" fmla="*/ 6 w 112"/>
              <a:gd name="T85" fmla="*/ 50 h 72"/>
              <a:gd name="T86" fmla="*/ 6 w 112"/>
              <a:gd name="T87" fmla="*/ 56 h 72"/>
              <a:gd name="T88" fmla="*/ 9 w 112"/>
              <a:gd name="T89" fmla="*/ 56 h 72"/>
              <a:gd name="T90" fmla="*/ 15 w 112"/>
              <a:gd name="T91" fmla="*/ 62 h 72"/>
              <a:gd name="T92" fmla="*/ 22 w 112"/>
              <a:gd name="T93" fmla="*/ 65 h 72"/>
              <a:gd name="T94" fmla="*/ 25 w 112"/>
              <a:gd name="T95" fmla="*/ 69 h 72"/>
              <a:gd name="T96" fmla="*/ 34 w 112"/>
              <a:gd name="T97" fmla="*/ 69 h 72"/>
              <a:gd name="T98" fmla="*/ 40 w 112"/>
              <a:gd name="T99" fmla="*/ 72 h 72"/>
              <a:gd name="T100" fmla="*/ 43 w 112"/>
              <a:gd name="T101" fmla="*/ 69 h 72"/>
              <a:gd name="T102" fmla="*/ 47 w 112"/>
              <a:gd name="T103" fmla="*/ 69 h 72"/>
              <a:gd name="T104" fmla="*/ 50 w 112"/>
              <a:gd name="T105" fmla="*/ 65 h 72"/>
              <a:gd name="T106" fmla="*/ 53 w 112"/>
              <a:gd name="T107" fmla="*/ 65 h 72"/>
              <a:gd name="T108" fmla="*/ 56 w 112"/>
              <a:gd name="T109" fmla="*/ 65 h 72"/>
              <a:gd name="T110" fmla="*/ 59 w 112"/>
              <a:gd name="T111" fmla="*/ 62 h 72"/>
              <a:gd name="T112" fmla="*/ 62 w 112"/>
              <a:gd name="T113" fmla="*/ 59 h 72"/>
              <a:gd name="T114" fmla="*/ 65 w 112"/>
              <a:gd name="T115" fmla="*/ 59 h 72"/>
              <a:gd name="T116" fmla="*/ 72 w 112"/>
              <a:gd name="T117" fmla="*/ 59 h 72"/>
              <a:gd name="T118" fmla="*/ 72 w 112"/>
              <a:gd name="T119"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2" h="72">
                <a:moveTo>
                  <a:pt x="72" y="62"/>
                </a:moveTo>
                <a:lnTo>
                  <a:pt x="78" y="56"/>
                </a:lnTo>
                <a:lnTo>
                  <a:pt x="81" y="56"/>
                </a:lnTo>
                <a:lnTo>
                  <a:pt x="81" y="53"/>
                </a:lnTo>
                <a:lnTo>
                  <a:pt x="87" y="53"/>
                </a:lnTo>
                <a:lnTo>
                  <a:pt x="90" y="50"/>
                </a:lnTo>
                <a:lnTo>
                  <a:pt x="90" y="47"/>
                </a:lnTo>
                <a:lnTo>
                  <a:pt x="97" y="37"/>
                </a:lnTo>
                <a:lnTo>
                  <a:pt x="103" y="25"/>
                </a:lnTo>
                <a:lnTo>
                  <a:pt x="106" y="15"/>
                </a:lnTo>
                <a:lnTo>
                  <a:pt x="109" y="15"/>
                </a:lnTo>
                <a:lnTo>
                  <a:pt x="112" y="12"/>
                </a:lnTo>
                <a:lnTo>
                  <a:pt x="109" y="6"/>
                </a:lnTo>
                <a:lnTo>
                  <a:pt x="106" y="3"/>
                </a:lnTo>
                <a:lnTo>
                  <a:pt x="100" y="0"/>
                </a:lnTo>
                <a:lnTo>
                  <a:pt x="97" y="3"/>
                </a:lnTo>
                <a:lnTo>
                  <a:pt x="90" y="0"/>
                </a:lnTo>
                <a:lnTo>
                  <a:pt x="84" y="0"/>
                </a:lnTo>
                <a:lnTo>
                  <a:pt x="78" y="0"/>
                </a:lnTo>
                <a:lnTo>
                  <a:pt x="72" y="0"/>
                </a:lnTo>
                <a:lnTo>
                  <a:pt x="68" y="6"/>
                </a:lnTo>
                <a:lnTo>
                  <a:pt x="65" y="9"/>
                </a:lnTo>
                <a:lnTo>
                  <a:pt x="65" y="12"/>
                </a:lnTo>
                <a:lnTo>
                  <a:pt x="59" y="6"/>
                </a:lnTo>
                <a:lnTo>
                  <a:pt x="53" y="12"/>
                </a:lnTo>
                <a:lnTo>
                  <a:pt x="47" y="12"/>
                </a:lnTo>
                <a:lnTo>
                  <a:pt x="47" y="15"/>
                </a:lnTo>
                <a:lnTo>
                  <a:pt x="37" y="18"/>
                </a:lnTo>
                <a:lnTo>
                  <a:pt x="28" y="18"/>
                </a:lnTo>
                <a:lnTo>
                  <a:pt x="22" y="18"/>
                </a:lnTo>
                <a:lnTo>
                  <a:pt x="9" y="12"/>
                </a:lnTo>
                <a:lnTo>
                  <a:pt x="9" y="12"/>
                </a:lnTo>
                <a:lnTo>
                  <a:pt x="9" y="18"/>
                </a:lnTo>
                <a:lnTo>
                  <a:pt x="9" y="22"/>
                </a:lnTo>
                <a:lnTo>
                  <a:pt x="0" y="22"/>
                </a:lnTo>
                <a:lnTo>
                  <a:pt x="0" y="25"/>
                </a:lnTo>
                <a:lnTo>
                  <a:pt x="3" y="28"/>
                </a:lnTo>
                <a:lnTo>
                  <a:pt x="3" y="31"/>
                </a:lnTo>
                <a:lnTo>
                  <a:pt x="3" y="34"/>
                </a:lnTo>
                <a:lnTo>
                  <a:pt x="3" y="40"/>
                </a:lnTo>
                <a:lnTo>
                  <a:pt x="0" y="44"/>
                </a:lnTo>
                <a:lnTo>
                  <a:pt x="0" y="44"/>
                </a:lnTo>
                <a:lnTo>
                  <a:pt x="6" y="50"/>
                </a:lnTo>
                <a:lnTo>
                  <a:pt x="6" y="56"/>
                </a:lnTo>
                <a:lnTo>
                  <a:pt x="9" y="56"/>
                </a:lnTo>
                <a:lnTo>
                  <a:pt x="15" y="62"/>
                </a:lnTo>
                <a:lnTo>
                  <a:pt x="22" y="65"/>
                </a:lnTo>
                <a:lnTo>
                  <a:pt x="25" y="69"/>
                </a:lnTo>
                <a:lnTo>
                  <a:pt x="34" y="69"/>
                </a:lnTo>
                <a:lnTo>
                  <a:pt x="40" y="72"/>
                </a:lnTo>
                <a:lnTo>
                  <a:pt x="43" y="69"/>
                </a:lnTo>
                <a:lnTo>
                  <a:pt x="47" y="69"/>
                </a:lnTo>
                <a:lnTo>
                  <a:pt x="50" y="65"/>
                </a:lnTo>
                <a:lnTo>
                  <a:pt x="53" y="65"/>
                </a:lnTo>
                <a:lnTo>
                  <a:pt x="56" y="65"/>
                </a:lnTo>
                <a:lnTo>
                  <a:pt x="59" y="62"/>
                </a:lnTo>
                <a:lnTo>
                  <a:pt x="62" y="59"/>
                </a:lnTo>
                <a:lnTo>
                  <a:pt x="65" y="59"/>
                </a:lnTo>
                <a:lnTo>
                  <a:pt x="72" y="59"/>
                </a:lnTo>
                <a:lnTo>
                  <a:pt x="72" y="62"/>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6" name="Freeform 54">
            <a:extLst>
              <a:ext uri="{FF2B5EF4-FFF2-40B4-BE49-F238E27FC236}">
                <a16:creationId xmlns:a16="http://schemas.microsoft.com/office/drawing/2014/main" id="{B3F79F7F-C229-21C0-753A-FF664F1631B9}"/>
              </a:ext>
            </a:extLst>
          </p:cNvPr>
          <p:cNvSpPr>
            <a:spLocks/>
          </p:cNvSpPr>
          <p:nvPr userDrawn="1"/>
        </p:nvSpPr>
        <p:spPr bwMode="auto">
          <a:xfrm>
            <a:off x="14121479" y="6000032"/>
            <a:ext cx="307956" cy="127000"/>
          </a:xfrm>
          <a:custGeom>
            <a:avLst/>
            <a:gdLst>
              <a:gd name="T0" fmla="*/ 0 w 97"/>
              <a:gd name="T1" fmla="*/ 34 h 40"/>
              <a:gd name="T2" fmla="*/ 13 w 97"/>
              <a:gd name="T3" fmla="*/ 40 h 40"/>
              <a:gd name="T4" fmla="*/ 19 w 97"/>
              <a:gd name="T5" fmla="*/ 40 h 40"/>
              <a:gd name="T6" fmla="*/ 28 w 97"/>
              <a:gd name="T7" fmla="*/ 40 h 40"/>
              <a:gd name="T8" fmla="*/ 38 w 97"/>
              <a:gd name="T9" fmla="*/ 37 h 40"/>
              <a:gd name="T10" fmla="*/ 38 w 97"/>
              <a:gd name="T11" fmla="*/ 34 h 40"/>
              <a:gd name="T12" fmla="*/ 44 w 97"/>
              <a:gd name="T13" fmla="*/ 34 h 40"/>
              <a:gd name="T14" fmla="*/ 50 w 97"/>
              <a:gd name="T15" fmla="*/ 28 h 40"/>
              <a:gd name="T16" fmla="*/ 56 w 97"/>
              <a:gd name="T17" fmla="*/ 34 h 40"/>
              <a:gd name="T18" fmla="*/ 56 w 97"/>
              <a:gd name="T19" fmla="*/ 31 h 40"/>
              <a:gd name="T20" fmla="*/ 59 w 97"/>
              <a:gd name="T21" fmla="*/ 28 h 40"/>
              <a:gd name="T22" fmla="*/ 63 w 97"/>
              <a:gd name="T23" fmla="*/ 22 h 40"/>
              <a:gd name="T24" fmla="*/ 69 w 97"/>
              <a:gd name="T25" fmla="*/ 22 h 40"/>
              <a:gd name="T26" fmla="*/ 75 w 97"/>
              <a:gd name="T27" fmla="*/ 22 h 40"/>
              <a:gd name="T28" fmla="*/ 81 w 97"/>
              <a:gd name="T29" fmla="*/ 22 h 40"/>
              <a:gd name="T30" fmla="*/ 88 w 97"/>
              <a:gd name="T31" fmla="*/ 25 h 40"/>
              <a:gd name="T32" fmla="*/ 94 w 97"/>
              <a:gd name="T33" fmla="*/ 19 h 40"/>
              <a:gd name="T34" fmla="*/ 94 w 97"/>
              <a:gd name="T35" fmla="*/ 12 h 40"/>
              <a:gd name="T36" fmla="*/ 97 w 97"/>
              <a:gd name="T37" fmla="*/ 6 h 40"/>
              <a:gd name="T38" fmla="*/ 97 w 97"/>
              <a:gd name="T39" fmla="*/ 6 h 40"/>
              <a:gd name="T40" fmla="*/ 88 w 97"/>
              <a:gd name="T41" fmla="*/ 0 h 40"/>
              <a:gd name="T42" fmla="*/ 81 w 97"/>
              <a:gd name="T43" fmla="*/ 0 h 40"/>
              <a:gd name="T44" fmla="*/ 78 w 97"/>
              <a:gd name="T45" fmla="*/ 0 h 40"/>
              <a:gd name="T46" fmla="*/ 75 w 97"/>
              <a:gd name="T47" fmla="*/ 0 h 40"/>
              <a:gd name="T48" fmla="*/ 72 w 97"/>
              <a:gd name="T49" fmla="*/ 0 h 40"/>
              <a:gd name="T50" fmla="*/ 72 w 97"/>
              <a:gd name="T51" fmla="*/ 3 h 40"/>
              <a:gd name="T52" fmla="*/ 69 w 97"/>
              <a:gd name="T53" fmla="*/ 0 h 40"/>
              <a:gd name="T54" fmla="*/ 63 w 97"/>
              <a:gd name="T55" fmla="*/ 0 h 40"/>
              <a:gd name="T56" fmla="*/ 59 w 97"/>
              <a:gd name="T57" fmla="*/ 0 h 40"/>
              <a:gd name="T58" fmla="*/ 56 w 97"/>
              <a:gd name="T59" fmla="*/ 0 h 40"/>
              <a:gd name="T60" fmla="*/ 53 w 97"/>
              <a:gd name="T61" fmla="*/ 6 h 40"/>
              <a:gd name="T62" fmla="*/ 50 w 97"/>
              <a:gd name="T63" fmla="*/ 6 h 40"/>
              <a:gd name="T64" fmla="*/ 50 w 97"/>
              <a:gd name="T65" fmla="*/ 3 h 40"/>
              <a:gd name="T66" fmla="*/ 50 w 97"/>
              <a:gd name="T67" fmla="*/ 3 h 40"/>
              <a:gd name="T68" fmla="*/ 41 w 97"/>
              <a:gd name="T69" fmla="*/ 3 h 40"/>
              <a:gd name="T70" fmla="*/ 38 w 97"/>
              <a:gd name="T71" fmla="*/ 6 h 40"/>
              <a:gd name="T72" fmla="*/ 31 w 97"/>
              <a:gd name="T73" fmla="*/ 9 h 40"/>
              <a:gd name="T74" fmla="*/ 25 w 97"/>
              <a:gd name="T75" fmla="*/ 12 h 40"/>
              <a:gd name="T76" fmla="*/ 19 w 97"/>
              <a:gd name="T77" fmla="*/ 15 h 40"/>
              <a:gd name="T78" fmla="*/ 13 w 97"/>
              <a:gd name="T79" fmla="*/ 19 h 40"/>
              <a:gd name="T80" fmla="*/ 9 w 97"/>
              <a:gd name="T81" fmla="*/ 15 h 40"/>
              <a:gd name="T82" fmla="*/ 6 w 97"/>
              <a:gd name="T83" fmla="*/ 15 h 40"/>
              <a:gd name="T84" fmla="*/ 0 w 97"/>
              <a:gd name="T85" fmla="*/ 19 h 40"/>
              <a:gd name="T86" fmla="*/ 0 w 97"/>
              <a:gd name="T87" fmla="*/ 19 h 40"/>
              <a:gd name="T88" fmla="*/ 0 w 97"/>
              <a:gd name="T89" fmla="*/ 25 h 40"/>
              <a:gd name="T90" fmla="*/ 0 w 97"/>
              <a:gd name="T91" fmla="*/ 3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40">
                <a:moveTo>
                  <a:pt x="0" y="34"/>
                </a:moveTo>
                <a:lnTo>
                  <a:pt x="13" y="40"/>
                </a:lnTo>
                <a:lnTo>
                  <a:pt x="19" y="40"/>
                </a:lnTo>
                <a:lnTo>
                  <a:pt x="28" y="40"/>
                </a:lnTo>
                <a:lnTo>
                  <a:pt x="38" y="37"/>
                </a:lnTo>
                <a:lnTo>
                  <a:pt x="38" y="34"/>
                </a:lnTo>
                <a:lnTo>
                  <a:pt x="44" y="34"/>
                </a:lnTo>
                <a:lnTo>
                  <a:pt x="50" y="28"/>
                </a:lnTo>
                <a:lnTo>
                  <a:pt x="56" y="34"/>
                </a:lnTo>
                <a:lnTo>
                  <a:pt x="56" y="31"/>
                </a:lnTo>
                <a:lnTo>
                  <a:pt x="59" y="28"/>
                </a:lnTo>
                <a:lnTo>
                  <a:pt x="63" y="22"/>
                </a:lnTo>
                <a:lnTo>
                  <a:pt x="69" y="22"/>
                </a:lnTo>
                <a:lnTo>
                  <a:pt x="75" y="22"/>
                </a:lnTo>
                <a:lnTo>
                  <a:pt x="81" y="22"/>
                </a:lnTo>
                <a:lnTo>
                  <a:pt x="88" y="25"/>
                </a:lnTo>
                <a:lnTo>
                  <a:pt x="94" y="19"/>
                </a:lnTo>
                <a:lnTo>
                  <a:pt x="94" y="12"/>
                </a:lnTo>
                <a:lnTo>
                  <a:pt x="97" y="6"/>
                </a:lnTo>
                <a:lnTo>
                  <a:pt x="97" y="6"/>
                </a:lnTo>
                <a:lnTo>
                  <a:pt x="88" y="0"/>
                </a:lnTo>
                <a:lnTo>
                  <a:pt x="81" y="0"/>
                </a:lnTo>
                <a:lnTo>
                  <a:pt x="78" y="0"/>
                </a:lnTo>
                <a:lnTo>
                  <a:pt x="75" y="0"/>
                </a:lnTo>
                <a:lnTo>
                  <a:pt x="72" y="0"/>
                </a:lnTo>
                <a:lnTo>
                  <a:pt x="72" y="3"/>
                </a:lnTo>
                <a:lnTo>
                  <a:pt x="69" y="0"/>
                </a:lnTo>
                <a:lnTo>
                  <a:pt x="63" y="0"/>
                </a:lnTo>
                <a:lnTo>
                  <a:pt x="59" y="0"/>
                </a:lnTo>
                <a:lnTo>
                  <a:pt x="56" y="0"/>
                </a:lnTo>
                <a:lnTo>
                  <a:pt x="53" y="6"/>
                </a:lnTo>
                <a:lnTo>
                  <a:pt x="50" y="6"/>
                </a:lnTo>
                <a:lnTo>
                  <a:pt x="50" y="3"/>
                </a:lnTo>
                <a:lnTo>
                  <a:pt x="50" y="3"/>
                </a:lnTo>
                <a:lnTo>
                  <a:pt x="41" y="3"/>
                </a:lnTo>
                <a:lnTo>
                  <a:pt x="38" y="6"/>
                </a:lnTo>
                <a:lnTo>
                  <a:pt x="31" y="9"/>
                </a:lnTo>
                <a:lnTo>
                  <a:pt x="25" y="12"/>
                </a:lnTo>
                <a:lnTo>
                  <a:pt x="19" y="15"/>
                </a:lnTo>
                <a:lnTo>
                  <a:pt x="13" y="19"/>
                </a:lnTo>
                <a:lnTo>
                  <a:pt x="9" y="15"/>
                </a:lnTo>
                <a:lnTo>
                  <a:pt x="6" y="15"/>
                </a:lnTo>
                <a:lnTo>
                  <a:pt x="0" y="19"/>
                </a:lnTo>
                <a:lnTo>
                  <a:pt x="0" y="19"/>
                </a:lnTo>
                <a:lnTo>
                  <a:pt x="0" y="25"/>
                </a:lnTo>
                <a:lnTo>
                  <a:pt x="0" y="3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7" name="Freeform 55">
            <a:extLst>
              <a:ext uri="{FF2B5EF4-FFF2-40B4-BE49-F238E27FC236}">
                <a16:creationId xmlns:a16="http://schemas.microsoft.com/office/drawing/2014/main" id="{6283180F-B03D-B8B6-D208-8180118EE81A}"/>
              </a:ext>
            </a:extLst>
          </p:cNvPr>
          <p:cNvSpPr>
            <a:spLocks/>
          </p:cNvSpPr>
          <p:nvPr userDrawn="1"/>
        </p:nvSpPr>
        <p:spPr bwMode="auto">
          <a:xfrm>
            <a:off x="14458008" y="6396908"/>
            <a:ext cx="368278" cy="228600"/>
          </a:xfrm>
          <a:custGeom>
            <a:avLst/>
            <a:gdLst>
              <a:gd name="T0" fmla="*/ 10 w 116"/>
              <a:gd name="T1" fmla="*/ 3 h 72"/>
              <a:gd name="T2" fmla="*/ 10 w 116"/>
              <a:gd name="T3" fmla="*/ 6 h 72"/>
              <a:gd name="T4" fmla="*/ 13 w 116"/>
              <a:gd name="T5" fmla="*/ 12 h 72"/>
              <a:gd name="T6" fmla="*/ 22 w 116"/>
              <a:gd name="T7" fmla="*/ 9 h 72"/>
              <a:gd name="T8" fmla="*/ 25 w 116"/>
              <a:gd name="T9" fmla="*/ 12 h 72"/>
              <a:gd name="T10" fmla="*/ 38 w 116"/>
              <a:gd name="T11" fmla="*/ 12 h 72"/>
              <a:gd name="T12" fmla="*/ 44 w 116"/>
              <a:gd name="T13" fmla="*/ 9 h 72"/>
              <a:gd name="T14" fmla="*/ 53 w 116"/>
              <a:gd name="T15" fmla="*/ 12 h 72"/>
              <a:gd name="T16" fmla="*/ 63 w 116"/>
              <a:gd name="T17" fmla="*/ 12 h 72"/>
              <a:gd name="T18" fmla="*/ 69 w 116"/>
              <a:gd name="T19" fmla="*/ 6 h 72"/>
              <a:gd name="T20" fmla="*/ 85 w 116"/>
              <a:gd name="T21" fmla="*/ 0 h 72"/>
              <a:gd name="T22" fmla="*/ 97 w 116"/>
              <a:gd name="T23" fmla="*/ 3 h 72"/>
              <a:gd name="T24" fmla="*/ 103 w 116"/>
              <a:gd name="T25" fmla="*/ 6 h 72"/>
              <a:gd name="T26" fmla="*/ 110 w 116"/>
              <a:gd name="T27" fmla="*/ 9 h 72"/>
              <a:gd name="T28" fmla="*/ 116 w 116"/>
              <a:gd name="T29" fmla="*/ 9 h 72"/>
              <a:gd name="T30" fmla="*/ 113 w 116"/>
              <a:gd name="T31" fmla="*/ 19 h 72"/>
              <a:gd name="T32" fmla="*/ 103 w 116"/>
              <a:gd name="T33" fmla="*/ 25 h 72"/>
              <a:gd name="T34" fmla="*/ 103 w 116"/>
              <a:gd name="T35" fmla="*/ 38 h 72"/>
              <a:gd name="T36" fmla="*/ 97 w 116"/>
              <a:gd name="T37" fmla="*/ 44 h 72"/>
              <a:gd name="T38" fmla="*/ 103 w 116"/>
              <a:gd name="T39" fmla="*/ 50 h 72"/>
              <a:gd name="T40" fmla="*/ 107 w 116"/>
              <a:gd name="T41" fmla="*/ 53 h 72"/>
              <a:gd name="T42" fmla="*/ 100 w 116"/>
              <a:gd name="T43" fmla="*/ 56 h 72"/>
              <a:gd name="T44" fmla="*/ 88 w 116"/>
              <a:gd name="T45" fmla="*/ 50 h 72"/>
              <a:gd name="T46" fmla="*/ 85 w 116"/>
              <a:gd name="T47" fmla="*/ 53 h 72"/>
              <a:gd name="T48" fmla="*/ 82 w 116"/>
              <a:gd name="T49" fmla="*/ 56 h 72"/>
              <a:gd name="T50" fmla="*/ 72 w 116"/>
              <a:gd name="T51" fmla="*/ 63 h 72"/>
              <a:gd name="T52" fmla="*/ 75 w 116"/>
              <a:gd name="T53" fmla="*/ 69 h 72"/>
              <a:gd name="T54" fmla="*/ 63 w 116"/>
              <a:gd name="T55" fmla="*/ 72 h 72"/>
              <a:gd name="T56" fmla="*/ 57 w 116"/>
              <a:gd name="T57" fmla="*/ 72 h 72"/>
              <a:gd name="T58" fmla="*/ 50 w 116"/>
              <a:gd name="T59" fmla="*/ 72 h 72"/>
              <a:gd name="T60" fmla="*/ 47 w 116"/>
              <a:gd name="T61" fmla="*/ 69 h 72"/>
              <a:gd name="T62" fmla="*/ 35 w 116"/>
              <a:gd name="T63" fmla="*/ 69 h 72"/>
              <a:gd name="T64" fmla="*/ 28 w 116"/>
              <a:gd name="T65" fmla="*/ 72 h 72"/>
              <a:gd name="T66" fmla="*/ 19 w 116"/>
              <a:gd name="T67" fmla="*/ 72 h 72"/>
              <a:gd name="T68" fmla="*/ 19 w 116"/>
              <a:gd name="T69" fmla="*/ 69 h 72"/>
              <a:gd name="T70" fmla="*/ 13 w 116"/>
              <a:gd name="T71" fmla="*/ 53 h 72"/>
              <a:gd name="T72" fmla="*/ 3 w 116"/>
              <a:gd name="T73" fmla="*/ 47 h 72"/>
              <a:gd name="T74" fmla="*/ 3 w 116"/>
              <a:gd name="T75" fmla="*/ 41 h 72"/>
              <a:gd name="T76" fmla="*/ 10 w 116"/>
              <a:gd name="T77" fmla="*/ 31 h 72"/>
              <a:gd name="T78" fmla="*/ 10 w 116"/>
              <a:gd name="T79" fmla="*/ 22 h 72"/>
              <a:gd name="T80" fmla="*/ 0 w 116"/>
              <a:gd name="T81" fmla="*/ 9 h 72"/>
              <a:gd name="T82" fmla="*/ 3 w 116"/>
              <a:gd name="T83"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6" h="72">
                <a:moveTo>
                  <a:pt x="3" y="0"/>
                </a:moveTo>
                <a:lnTo>
                  <a:pt x="10" y="3"/>
                </a:lnTo>
                <a:lnTo>
                  <a:pt x="10" y="3"/>
                </a:lnTo>
                <a:lnTo>
                  <a:pt x="10" y="6"/>
                </a:lnTo>
                <a:lnTo>
                  <a:pt x="10" y="9"/>
                </a:lnTo>
                <a:lnTo>
                  <a:pt x="13" y="12"/>
                </a:lnTo>
                <a:lnTo>
                  <a:pt x="16" y="9"/>
                </a:lnTo>
                <a:lnTo>
                  <a:pt x="22" y="9"/>
                </a:lnTo>
                <a:lnTo>
                  <a:pt x="22" y="12"/>
                </a:lnTo>
                <a:lnTo>
                  <a:pt x="25" y="12"/>
                </a:lnTo>
                <a:lnTo>
                  <a:pt x="32" y="12"/>
                </a:lnTo>
                <a:lnTo>
                  <a:pt x="38" y="12"/>
                </a:lnTo>
                <a:lnTo>
                  <a:pt x="41" y="12"/>
                </a:lnTo>
                <a:lnTo>
                  <a:pt x="44" y="9"/>
                </a:lnTo>
                <a:lnTo>
                  <a:pt x="50" y="12"/>
                </a:lnTo>
                <a:lnTo>
                  <a:pt x="53" y="12"/>
                </a:lnTo>
                <a:lnTo>
                  <a:pt x="60" y="12"/>
                </a:lnTo>
                <a:lnTo>
                  <a:pt x="63" y="12"/>
                </a:lnTo>
                <a:lnTo>
                  <a:pt x="66" y="9"/>
                </a:lnTo>
                <a:lnTo>
                  <a:pt x="69" y="6"/>
                </a:lnTo>
                <a:lnTo>
                  <a:pt x="82" y="3"/>
                </a:lnTo>
                <a:lnTo>
                  <a:pt x="85" y="0"/>
                </a:lnTo>
                <a:lnTo>
                  <a:pt x="91" y="0"/>
                </a:lnTo>
                <a:lnTo>
                  <a:pt x="97" y="3"/>
                </a:lnTo>
                <a:lnTo>
                  <a:pt x="100" y="6"/>
                </a:lnTo>
                <a:lnTo>
                  <a:pt x="103" y="6"/>
                </a:lnTo>
                <a:lnTo>
                  <a:pt x="110" y="6"/>
                </a:lnTo>
                <a:lnTo>
                  <a:pt x="110" y="9"/>
                </a:lnTo>
                <a:lnTo>
                  <a:pt x="116" y="9"/>
                </a:lnTo>
                <a:lnTo>
                  <a:pt x="116" y="9"/>
                </a:lnTo>
                <a:lnTo>
                  <a:pt x="113" y="19"/>
                </a:lnTo>
                <a:lnTo>
                  <a:pt x="113" y="19"/>
                </a:lnTo>
                <a:lnTo>
                  <a:pt x="107" y="19"/>
                </a:lnTo>
                <a:lnTo>
                  <a:pt x="103" y="25"/>
                </a:lnTo>
                <a:lnTo>
                  <a:pt x="103" y="34"/>
                </a:lnTo>
                <a:lnTo>
                  <a:pt x="103" y="38"/>
                </a:lnTo>
                <a:lnTo>
                  <a:pt x="97" y="41"/>
                </a:lnTo>
                <a:lnTo>
                  <a:pt x="97" y="44"/>
                </a:lnTo>
                <a:lnTo>
                  <a:pt x="100" y="44"/>
                </a:lnTo>
                <a:lnTo>
                  <a:pt x="103" y="50"/>
                </a:lnTo>
                <a:lnTo>
                  <a:pt x="107" y="53"/>
                </a:lnTo>
                <a:lnTo>
                  <a:pt x="107" y="53"/>
                </a:lnTo>
                <a:lnTo>
                  <a:pt x="103" y="53"/>
                </a:lnTo>
                <a:lnTo>
                  <a:pt x="100" y="56"/>
                </a:lnTo>
                <a:lnTo>
                  <a:pt x="94" y="50"/>
                </a:lnTo>
                <a:lnTo>
                  <a:pt x="88" y="50"/>
                </a:lnTo>
                <a:lnTo>
                  <a:pt x="88" y="53"/>
                </a:lnTo>
                <a:lnTo>
                  <a:pt x="85" y="53"/>
                </a:lnTo>
                <a:lnTo>
                  <a:pt x="82" y="56"/>
                </a:lnTo>
                <a:lnTo>
                  <a:pt x="82" y="56"/>
                </a:lnTo>
                <a:lnTo>
                  <a:pt x="78" y="56"/>
                </a:lnTo>
                <a:lnTo>
                  <a:pt x="72" y="63"/>
                </a:lnTo>
                <a:lnTo>
                  <a:pt x="72" y="66"/>
                </a:lnTo>
                <a:lnTo>
                  <a:pt x="75" y="69"/>
                </a:lnTo>
                <a:lnTo>
                  <a:pt x="72" y="72"/>
                </a:lnTo>
                <a:lnTo>
                  <a:pt x="63" y="72"/>
                </a:lnTo>
                <a:lnTo>
                  <a:pt x="60" y="72"/>
                </a:lnTo>
                <a:lnTo>
                  <a:pt x="57" y="72"/>
                </a:lnTo>
                <a:lnTo>
                  <a:pt x="53" y="72"/>
                </a:lnTo>
                <a:lnTo>
                  <a:pt x="50" y="72"/>
                </a:lnTo>
                <a:lnTo>
                  <a:pt x="47" y="72"/>
                </a:lnTo>
                <a:lnTo>
                  <a:pt x="47" y="69"/>
                </a:lnTo>
                <a:lnTo>
                  <a:pt x="41" y="69"/>
                </a:lnTo>
                <a:lnTo>
                  <a:pt x="35" y="69"/>
                </a:lnTo>
                <a:lnTo>
                  <a:pt x="32" y="72"/>
                </a:lnTo>
                <a:lnTo>
                  <a:pt x="28" y="72"/>
                </a:lnTo>
                <a:lnTo>
                  <a:pt x="22" y="72"/>
                </a:lnTo>
                <a:lnTo>
                  <a:pt x="19" y="72"/>
                </a:lnTo>
                <a:lnTo>
                  <a:pt x="19" y="72"/>
                </a:lnTo>
                <a:lnTo>
                  <a:pt x="19" y="69"/>
                </a:lnTo>
                <a:lnTo>
                  <a:pt x="19" y="63"/>
                </a:lnTo>
                <a:lnTo>
                  <a:pt x="13" y="53"/>
                </a:lnTo>
                <a:lnTo>
                  <a:pt x="3" y="47"/>
                </a:lnTo>
                <a:lnTo>
                  <a:pt x="3" y="47"/>
                </a:lnTo>
                <a:lnTo>
                  <a:pt x="7" y="44"/>
                </a:lnTo>
                <a:lnTo>
                  <a:pt x="3" y="41"/>
                </a:lnTo>
                <a:lnTo>
                  <a:pt x="3" y="38"/>
                </a:lnTo>
                <a:lnTo>
                  <a:pt x="10" y="31"/>
                </a:lnTo>
                <a:lnTo>
                  <a:pt x="13" y="28"/>
                </a:lnTo>
                <a:lnTo>
                  <a:pt x="10" y="22"/>
                </a:lnTo>
                <a:lnTo>
                  <a:pt x="3" y="16"/>
                </a:lnTo>
                <a:lnTo>
                  <a:pt x="0" y="9"/>
                </a:lnTo>
                <a:lnTo>
                  <a:pt x="3" y="6"/>
                </a:lnTo>
                <a:lnTo>
                  <a:pt x="3"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8" name="Freeform 56">
            <a:extLst>
              <a:ext uri="{FF2B5EF4-FFF2-40B4-BE49-F238E27FC236}">
                <a16:creationId xmlns:a16="http://schemas.microsoft.com/office/drawing/2014/main" id="{0C21C5A5-0BFD-47A6-7CA9-70A9477BAF06}"/>
              </a:ext>
            </a:extLst>
          </p:cNvPr>
          <p:cNvSpPr>
            <a:spLocks/>
          </p:cNvSpPr>
          <p:nvPr userDrawn="1"/>
        </p:nvSpPr>
        <p:spPr bwMode="auto">
          <a:xfrm>
            <a:off x="14359590" y="6546130"/>
            <a:ext cx="158740" cy="130176"/>
          </a:xfrm>
          <a:custGeom>
            <a:avLst/>
            <a:gdLst>
              <a:gd name="T0" fmla="*/ 34 w 50"/>
              <a:gd name="T1" fmla="*/ 0 h 41"/>
              <a:gd name="T2" fmla="*/ 44 w 50"/>
              <a:gd name="T3" fmla="*/ 6 h 41"/>
              <a:gd name="T4" fmla="*/ 50 w 50"/>
              <a:gd name="T5" fmla="*/ 16 h 41"/>
              <a:gd name="T6" fmla="*/ 50 w 50"/>
              <a:gd name="T7" fmla="*/ 22 h 41"/>
              <a:gd name="T8" fmla="*/ 50 w 50"/>
              <a:gd name="T9" fmla="*/ 25 h 41"/>
              <a:gd name="T10" fmla="*/ 47 w 50"/>
              <a:gd name="T11" fmla="*/ 28 h 41"/>
              <a:gd name="T12" fmla="*/ 44 w 50"/>
              <a:gd name="T13" fmla="*/ 28 h 41"/>
              <a:gd name="T14" fmla="*/ 41 w 50"/>
              <a:gd name="T15" fmla="*/ 31 h 41"/>
              <a:gd name="T16" fmla="*/ 31 w 50"/>
              <a:gd name="T17" fmla="*/ 31 h 41"/>
              <a:gd name="T18" fmla="*/ 25 w 50"/>
              <a:gd name="T19" fmla="*/ 31 h 41"/>
              <a:gd name="T20" fmla="*/ 25 w 50"/>
              <a:gd name="T21" fmla="*/ 34 h 41"/>
              <a:gd name="T22" fmla="*/ 19 w 50"/>
              <a:gd name="T23" fmla="*/ 34 h 41"/>
              <a:gd name="T24" fmla="*/ 13 w 50"/>
              <a:gd name="T25" fmla="*/ 41 h 41"/>
              <a:gd name="T26" fmla="*/ 13 w 50"/>
              <a:gd name="T27" fmla="*/ 41 h 41"/>
              <a:gd name="T28" fmla="*/ 9 w 50"/>
              <a:gd name="T29" fmla="*/ 37 h 41"/>
              <a:gd name="T30" fmla="*/ 6 w 50"/>
              <a:gd name="T31" fmla="*/ 34 h 41"/>
              <a:gd name="T32" fmla="*/ 3 w 50"/>
              <a:gd name="T33" fmla="*/ 28 h 41"/>
              <a:gd name="T34" fmla="*/ 0 w 50"/>
              <a:gd name="T35" fmla="*/ 22 h 41"/>
              <a:gd name="T36" fmla="*/ 3 w 50"/>
              <a:gd name="T37" fmla="*/ 12 h 41"/>
              <a:gd name="T38" fmla="*/ 3 w 50"/>
              <a:gd name="T39" fmla="*/ 16 h 41"/>
              <a:gd name="T40" fmla="*/ 3 w 50"/>
              <a:gd name="T41" fmla="*/ 12 h 41"/>
              <a:gd name="T42" fmla="*/ 3 w 50"/>
              <a:gd name="T43" fmla="*/ 9 h 41"/>
              <a:gd name="T44" fmla="*/ 9 w 50"/>
              <a:gd name="T45" fmla="*/ 6 h 41"/>
              <a:gd name="T46" fmla="*/ 13 w 50"/>
              <a:gd name="T47" fmla="*/ 6 h 41"/>
              <a:gd name="T48" fmla="*/ 16 w 50"/>
              <a:gd name="T49" fmla="*/ 3 h 41"/>
              <a:gd name="T50" fmla="*/ 25 w 50"/>
              <a:gd name="T51" fmla="*/ 3 h 41"/>
              <a:gd name="T52" fmla="*/ 28 w 50"/>
              <a:gd name="T53" fmla="*/ 3 h 41"/>
              <a:gd name="T54" fmla="*/ 31 w 50"/>
              <a:gd name="T55" fmla="*/ 0 h 41"/>
              <a:gd name="T56" fmla="*/ 34 w 50"/>
              <a:gd name="T5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1">
                <a:moveTo>
                  <a:pt x="34" y="0"/>
                </a:moveTo>
                <a:lnTo>
                  <a:pt x="44" y="6"/>
                </a:lnTo>
                <a:lnTo>
                  <a:pt x="50" y="16"/>
                </a:lnTo>
                <a:lnTo>
                  <a:pt x="50" y="22"/>
                </a:lnTo>
                <a:lnTo>
                  <a:pt x="50" y="25"/>
                </a:lnTo>
                <a:lnTo>
                  <a:pt x="47" y="28"/>
                </a:lnTo>
                <a:lnTo>
                  <a:pt x="44" y="28"/>
                </a:lnTo>
                <a:lnTo>
                  <a:pt x="41" y="31"/>
                </a:lnTo>
                <a:lnTo>
                  <a:pt x="31" y="31"/>
                </a:lnTo>
                <a:lnTo>
                  <a:pt x="25" y="31"/>
                </a:lnTo>
                <a:lnTo>
                  <a:pt x="25" y="34"/>
                </a:lnTo>
                <a:lnTo>
                  <a:pt x="19" y="34"/>
                </a:lnTo>
                <a:lnTo>
                  <a:pt x="13" y="41"/>
                </a:lnTo>
                <a:lnTo>
                  <a:pt x="13" y="41"/>
                </a:lnTo>
                <a:lnTo>
                  <a:pt x="9" y="37"/>
                </a:lnTo>
                <a:lnTo>
                  <a:pt x="6" y="34"/>
                </a:lnTo>
                <a:lnTo>
                  <a:pt x="3" y="28"/>
                </a:lnTo>
                <a:lnTo>
                  <a:pt x="0" y="22"/>
                </a:lnTo>
                <a:lnTo>
                  <a:pt x="3" y="12"/>
                </a:lnTo>
                <a:lnTo>
                  <a:pt x="3" y="16"/>
                </a:lnTo>
                <a:lnTo>
                  <a:pt x="3" y="12"/>
                </a:lnTo>
                <a:lnTo>
                  <a:pt x="3" y="9"/>
                </a:lnTo>
                <a:lnTo>
                  <a:pt x="9" y="6"/>
                </a:lnTo>
                <a:lnTo>
                  <a:pt x="13" y="6"/>
                </a:lnTo>
                <a:lnTo>
                  <a:pt x="16" y="3"/>
                </a:lnTo>
                <a:lnTo>
                  <a:pt x="25" y="3"/>
                </a:lnTo>
                <a:lnTo>
                  <a:pt x="28" y="3"/>
                </a:lnTo>
                <a:lnTo>
                  <a:pt x="31" y="0"/>
                </a:lnTo>
                <a:lnTo>
                  <a:pt x="34"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9" name="Freeform 57">
            <a:extLst>
              <a:ext uri="{FF2B5EF4-FFF2-40B4-BE49-F238E27FC236}">
                <a16:creationId xmlns:a16="http://schemas.microsoft.com/office/drawing/2014/main" id="{D0EE23B8-A6EA-FA9A-56A4-34888B259B72}"/>
              </a:ext>
            </a:extLst>
          </p:cNvPr>
          <p:cNvSpPr>
            <a:spLocks/>
          </p:cNvSpPr>
          <p:nvPr userDrawn="1"/>
        </p:nvSpPr>
        <p:spPr bwMode="auto">
          <a:xfrm>
            <a:off x="14280220" y="6527080"/>
            <a:ext cx="120642" cy="228600"/>
          </a:xfrm>
          <a:custGeom>
            <a:avLst/>
            <a:gdLst>
              <a:gd name="T0" fmla="*/ 28 w 38"/>
              <a:gd name="T1" fmla="*/ 18 h 72"/>
              <a:gd name="T2" fmla="*/ 25 w 38"/>
              <a:gd name="T3" fmla="*/ 28 h 72"/>
              <a:gd name="T4" fmla="*/ 28 w 38"/>
              <a:gd name="T5" fmla="*/ 34 h 72"/>
              <a:gd name="T6" fmla="*/ 31 w 38"/>
              <a:gd name="T7" fmla="*/ 40 h 72"/>
              <a:gd name="T8" fmla="*/ 34 w 38"/>
              <a:gd name="T9" fmla="*/ 43 h 72"/>
              <a:gd name="T10" fmla="*/ 38 w 38"/>
              <a:gd name="T11" fmla="*/ 47 h 72"/>
              <a:gd name="T12" fmla="*/ 38 w 38"/>
              <a:gd name="T13" fmla="*/ 53 h 72"/>
              <a:gd name="T14" fmla="*/ 34 w 38"/>
              <a:gd name="T15" fmla="*/ 59 h 72"/>
              <a:gd name="T16" fmla="*/ 25 w 38"/>
              <a:gd name="T17" fmla="*/ 59 h 72"/>
              <a:gd name="T18" fmla="*/ 25 w 38"/>
              <a:gd name="T19" fmla="*/ 65 h 72"/>
              <a:gd name="T20" fmla="*/ 22 w 38"/>
              <a:gd name="T21" fmla="*/ 72 h 72"/>
              <a:gd name="T22" fmla="*/ 19 w 38"/>
              <a:gd name="T23" fmla="*/ 72 h 72"/>
              <a:gd name="T24" fmla="*/ 16 w 38"/>
              <a:gd name="T25" fmla="*/ 68 h 72"/>
              <a:gd name="T26" fmla="*/ 13 w 38"/>
              <a:gd name="T27" fmla="*/ 59 h 72"/>
              <a:gd name="T28" fmla="*/ 6 w 38"/>
              <a:gd name="T29" fmla="*/ 59 h 72"/>
              <a:gd name="T30" fmla="*/ 3 w 38"/>
              <a:gd name="T31" fmla="*/ 56 h 72"/>
              <a:gd name="T32" fmla="*/ 6 w 38"/>
              <a:gd name="T33" fmla="*/ 53 h 72"/>
              <a:gd name="T34" fmla="*/ 3 w 38"/>
              <a:gd name="T35" fmla="*/ 50 h 72"/>
              <a:gd name="T36" fmla="*/ 3 w 38"/>
              <a:gd name="T37" fmla="*/ 43 h 72"/>
              <a:gd name="T38" fmla="*/ 6 w 38"/>
              <a:gd name="T39" fmla="*/ 40 h 72"/>
              <a:gd name="T40" fmla="*/ 3 w 38"/>
              <a:gd name="T41" fmla="*/ 34 h 72"/>
              <a:gd name="T42" fmla="*/ 3 w 38"/>
              <a:gd name="T43" fmla="*/ 25 h 72"/>
              <a:gd name="T44" fmla="*/ 6 w 38"/>
              <a:gd name="T45" fmla="*/ 25 h 72"/>
              <a:gd name="T46" fmla="*/ 6 w 38"/>
              <a:gd name="T47" fmla="*/ 22 h 72"/>
              <a:gd name="T48" fmla="*/ 0 w 38"/>
              <a:gd name="T49" fmla="*/ 18 h 72"/>
              <a:gd name="T50" fmla="*/ 0 w 38"/>
              <a:gd name="T51" fmla="*/ 12 h 72"/>
              <a:gd name="T52" fmla="*/ 3 w 38"/>
              <a:gd name="T53" fmla="*/ 6 h 72"/>
              <a:gd name="T54" fmla="*/ 9 w 38"/>
              <a:gd name="T55" fmla="*/ 0 h 72"/>
              <a:gd name="T56" fmla="*/ 9 w 38"/>
              <a:gd name="T57" fmla="*/ 3 h 72"/>
              <a:gd name="T58" fmla="*/ 13 w 38"/>
              <a:gd name="T59" fmla="*/ 6 h 72"/>
              <a:gd name="T60" fmla="*/ 16 w 38"/>
              <a:gd name="T61" fmla="*/ 0 h 72"/>
              <a:gd name="T62" fmla="*/ 16 w 38"/>
              <a:gd name="T63" fmla="*/ 0 h 72"/>
              <a:gd name="T64" fmla="*/ 16 w 38"/>
              <a:gd name="T65" fmla="*/ 3 h 72"/>
              <a:gd name="T66" fmla="*/ 19 w 38"/>
              <a:gd name="T67" fmla="*/ 6 h 72"/>
              <a:gd name="T68" fmla="*/ 22 w 38"/>
              <a:gd name="T69" fmla="*/ 6 h 72"/>
              <a:gd name="T70" fmla="*/ 25 w 38"/>
              <a:gd name="T71" fmla="*/ 9 h 72"/>
              <a:gd name="T72" fmla="*/ 25 w 38"/>
              <a:gd name="T73" fmla="*/ 12 h 72"/>
              <a:gd name="T74" fmla="*/ 25 w 38"/>
              <a:gd name="T75" fmla="*/ 18 h 72"/>
              <a:gd name="T76" fmla="*/ 28 w 38"/>
              <a:gd name="T77" fmla="*/ 1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 h="72">
                <a:moveTo>
                  <a:pt x="28" y="18"/>
                </a:moveTo>
                <a:lnTo>
                  <a:pt x="25" y="28"/>
                </a:lnTo>
                <a:lnTo>
                  <a:pt x="28" y="34"/>
                </a:lnTo>
                <a:lnTo>
                  <a:pt x="31" y="40"/>
                </a:lnTo>
                <a:lnTo>
                  <a:pt x="34" y="43"/>
                </a:lnTo>
                <a:lnTo>
                  <a:pt x="38" y="47"/>
                </a:lnTo>
                <a:lnTo>
                  <a:pt x="38" y="53"/>
                </a:lnTo>
                <a:lnTo>
                  <a:pt x="34" y="59"/>
                </a:lnTo>
                <a:lnTo>
                  <a:pt x="25" y="59"/>
                </a:lnTo>
                <a:lnTo>
                  <a:pt x="25" y="65"/>
                </a:lnTo>
                <a:lnTo>
                  <a:pt x="22" y="72"/>
                </a:lnTo>
                <a:lnTo>
                  <a:pt x="19" y="72"/>
                </a:lnTo>
                <a:lnTo>
                  <a:pt x="16" y="68"/>
                </a:lnTo>
                <a:lnTo>
                  <a:pt x="13" y="59"/>
                </a:lnTo>
                <a:lnTo>
                  <a:pt x="6" y="59"/>
                </a:lnTo>
                <a:lnTo>
                  <a:pt x="3" y="56"/>
                </a:lnTo>
                <a:lnTo>
                  <a:pt x="6" y="53"/>
                </a:lnTo>
                <a:lnTo>
                  <a:pt x="3" y="50"/>
                </a:lnTo>
                <a:lnTo>
                  <a:pt x="3" y="43"/>
                </a:lnTo>
                <a:lnTo>
                  <a:pt x="6" y="40"/>
                </a:lnTo>
                <a:lnTo>
                  <a:pt x="3" y="34"/>
                </a:lnTo>
                <a:lnTo>
                  <a:pt x="3" y="25"/>
                </a:lnTo>
                <a:lnTo>
                  <a:pt x="6" y="25"/>
                </a:lnTo>
                <a:lnTo>
                  <a:pt x="6" y="22"/>
                </a:lnTo>
                <a:lnTo>
                  <a:pt x="0" y="18"/>
                </a:lnTo>
                <a:lnTo>
                  <a:pt x="0" y="12"/>
                </a:lnTo>
                <a:lnTo>
                  <a:pt x="3" y="6"/>
                </a:lnTo>
                <a:lnTo>
                  <a:pt x="9" y="0"/>
                </a:lnTo>
                <a:lnTo>
                  <a:pt x="9" y="3"/>
                </a:lnTo>
                <a:lnTo>
                  <a:pt x="13" y="6"/>
                </a:lnTo>
                <a:lnTo>
                  <a:pt x="16" y="0"/>
                </a:lnTo>
                <a:lnTo>
                  <a:pt x="16" y="0"/>
                </a:lnTo>
                <a:lnTo>
                  <a:pt x="16" y="3"/>
                </a:lnTo>
                <a:lnTo>
                  <a:pt x="19" y="6"/>
                </a:lnTo>
                <a:lnTo>
                  <a:pt x="22" y="6"/>
                </a:lnTo>
                <a:lnTo>
                  <a:pt x="25" y="9"/>
                </a:lnTo>
                <a:lnTo>
                  <a:pt x="25" y="12"/>
                </a:lnTo>
                <a:lnTo>
                  <a:pt x="25" y="18"/>
                </a:lnTo>
                <a:lnTo>
                  <a:pt x="28" y="18"/>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0" name="Freeform 58">
            <a:extLst>
              <a:ext uri="{FF2B5EF4-FFF2-40B4-BE49-F238E27FC236}">
                <a16:creationId xmlns:a16="http://schemas.microsoft.com/office/drawing/2014/main" id="{8051A9B8-277E-1527-9635-3324B81C21D7}"/>
              </a:ext>
            </a:extLst>
          </p:cNvPr>
          <p:cNvSpPr>
            <a:spLocks/>
          </p:cNvSpPr>
          <p:nvPr userDrawn="1"/>
        </p:nvSpPr>
        <p:spPr bwMode="auto">
          <a:xfrm>
            <a:off x="14242119" y="6257209"/>
            <a:ext cx="257159" cy="339726"/>
          </a:xfrm>
          <a:custGeom>
            <a:avLst/>
            <a:gdLst>
              <a:gd name="T0" fmla="*/ 3 w 81"/>
              <a:gd name="T1" fmla="*/ 6 h 107"/>
              <a:gd name="T2" fmla="*/ 9 w 81"/>
              <a:gd name="T3" fmla="*/ 6 h 107"/>
              <a:gd name="T4" fmla="*/ 15 w 81"/>
              <a:gd name="T5" fmla="*/ 0 h 107"/>
              <a:gd name="T6" fmla="*/ 25 w 81"/>
              <a:gd name="T7" fmla="*/ 0 h 107"/>
              <a:gd name="T8" fmla="*/ 31 w 81"/>
              <a:gd name="T9" fmla="*/ 6 h 107"/>
              <a:gd name="T10" fmla="*/ 37 w 81"/>
              <a:gd name="T11" fmla="*/ 16 h 107"/>
              <a:gd name="T12" fmla="*/ 50 w 81"/>
              <a:gd name="T13" fmla="*/ 25 h 107"/>
              <a:gd name="T14" fmla="*/ 46 w 81"/>
              <a:gd name="T15" fmla="*/ 31 h 107"/>
              <a:gd name="T16" fmla="*/ 56 w 81"/>
              <a:gd name="T17" fmla="*/ 35 h 107"/>
              <a:gd name="T18" fmla="*/ 62 w 81"/>
              <a:gd name="T19" fmla="*/ 38 h 107"/>
              <a:gd name="T20" fmla="*/ 71 w 81"/>
              <a:gd name="T21" fmla="*/ 35 h 107"/>
              <a:gd name="T22" fmla="*/ 71 w 81"/>
              <a:gd name="T23" fmla="*/ 41 h 107"/>
              <a:gd name="T24" fmla="*/ 68 w 81"/>
              <a:gd name="T25" fmla="*/ 53 h 107"/>
              <a:gd name="T26" fmla="*/ 78 w 81"/>
              <a:gd name="T27" fmla="*/ 66 h 107"/>
              <a:gd name="T28" fmla="*/ 78 w 81"/>
              <a:gd name="T29" fmla="*/ 75 h 107"/>
              <a:gd name="T30" fmla="*/ 71 w 81"/>
              <a:gd name="T31" fmla="*/ 85 h 107"/>
              <a:gd name="T32" fmla="*/ 71 w 81"/>
              <a:gd name="T33" fmla="*/ 91 h 107"/>
              <a:gd name="T34" fmla="*/ 65 w 81"/>
              <a:gd name="T35" fmla="*/ 94 h 107"/>
              <a:gd name="T36" fmla="*/ 53 w 81"/>
              <a:gd name="T37" fmla="*/ 94 h 107"/>
              <a:gd name="T38" fmla="*/ 46 w 81"/>
              <a:gd name="T39" fmla="*/ 97 h 107"/>
              <a:gd name="T40" fmla="*/ 40 w 81"/>
              <a:gd name="T41" fmla="*/ 103 h 107"/>
              <a:gd name="T42" fmla="*/ 37 w 81"/>
              <a:gd name="T43" fmla="*/ 103 h 107"/>
              <a:gd name="T44" fmla="*/ 37 w 81"/>
              <a:gd name="T45" fmla="*/ 94 h 107"/>
              <a:gd name="T46" fmla="*/ 31 w 81"/>
              <a:gd name="T47" fmla="*/ 91 h 107"/>
              <a:gd name="T48" fmla="*/ 28 w 81"/>
              <a:gd name="T49" fmla="*/ 85 h 107"/>
              <a:gd name="T50" fmla="*/ 31 w 81"/>
              <a:gd name="T51" fmla="*/ 82 h 107"/>
              <a:gd name="T52" fmla="*/ 25 w 81"/>
              <a:gd name="T53" fmla="*/ 75 h 107"/>
              <a:gd name="T54" fmla="*/ 18 w 81"/>
              <a:gd name="T55" fmla="*/ 72 h 107"/>
              <a:gd name="T56" fmla="*/ 15 w 81"/>
              <a:gd name="T57" fmla="*/ 69 h 107"/>
              <a:gd name="T58" fmla="*/ 12 w 81"/>
              <a:gd name="T59" fmla="*/ 63 h 107"/>
              <a:gd name="T60" fmla="*/ 9 w 81"/>
              <a:gd name="T61" fmla="*/ 53 h 107"/>
              <a:gd name="T62" fmla="*/ 15 w 81"/>
              <a:gd name="T63" fmla="*/ 53 h 107"/>
              <a:gd name="T64" fmla="*/ 12 w 81"/>
              <a:gd name="T65" fmla="*/ 50 h 107"/>
              <a:gd name="T66" fmla="*/ 6 w 81"/>
              <a:gd name="T67" fmla="*/ 44 h 107"/>
              <a:gd name="T68" fmla="*/ 9 w 81"/>
              <a:gd name="T69" fmla="*/ 35 h 107"/>
              <a:gd name="T70" fmla="*/ 6 w 81"/>
              <a:gd name="T71" fmla="*/ 31 h 107"/>
              <a:gd name="T72" fmla="*/ 3 w 81"/>
              <a:gd name="T73" fmla="*/ 31 h 107"/>
              <a:gd name="T74" fmla="*/ 9 w 81"/>
              <a:gd name="T75" fmla="*/ 25 h 107"/>
              <a:gd name="T76" fmla="*/ 9 w 81"/>
              <a:gd name="T77" fmla="*/ 25 h 107"/>
              <a:gd name="T78" fmla="*/ 3 w 81"/>
              <a:gd name="T79" fmla="*/ 22 h 107"/>
              <a:gd name="T80" fmla="*/ 0 w 81"/>
              <a:gd name="T81" fmla="*/ 1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07">
                <a:moveTo>
                  <a:pt x="0" y="10"/>
                </a:moveTo>
                <a:lnTo>
                  <a:pt x="3" y="6"/>
                </a:lnTo>
                <a:lnTo>
                  <a:pt x="6" y="6"/>
                </a:lnTo>
                <a:lnTo>
                  <a:pt x="9" y="6"/>
                </a:lnTo>
                <a:lnTo>
                  <a:pt x="12" y="3"/>
                </a:lnTo>
                <a:lnTo>
                  <a:pt x="15" y="0"/>
                </a:lnTo>
                <a:lnTo>
                  <a:pt x="18" y="0"/>
                </a:lnTo>
                <a:lnTo>
                  <a:pt x="25" y="0"/>
                </a:lnTo>
                <a:lnTo>
                  <a:pt x="31" y="3"/>
                </a:lnTo>
                <a:lnTo>
                  <a:pt x="31" y="6"/>
                </a:lnTo>
                <a:lnTo>
                  <a:pt x="37" y="13"/>
                </a:lnTo>
                <a:lnTo>
                  <a:pt x="37" y="16"/>
                </a:lnTo>
                <a:lnTo>
                  <a:pt x="43" y="19"/>
                </a:lnTo>
                <a:lnTo>
                  <a:pt x="50" y="25"/>
                </a:lnTo>
                <a:lnTo>
                  <a:pt x="46" y="28"/>
                </a:lnTo>
                <a:lnTo>
                  <a:pt x="46" y="31"/>
                </a:lnTo>
                <a:lnTo>
                  <a:pt x="53" y="31"/>
                </a:lnTo>
                <a:lnTo>
                  <a:pt x="56" y="35"/>
                </a:lnTo>
                <a:lnTo>
                  <a:pt x="59" y="35"/>
                </a:lnTo>
                <a:lnTo>
                  <a:pt x="62" y="38"/>
                </a:lnTo>
                <a:lnTo>
                  <a:pt x="65" y="31"/>
                </a:lnTo>
                <a:lnTo>
                  <a:pt x="71" y="35"/>
                </a:lnTo>
                <a:lnTo>
                  <a:pt x="68" y="38"/>
                </a:lnTo>
                <a:lnTo>
                  <a:pt x="71" y="41"/>
                </a:lnTo>
                <a:lnTo>
                  <a:pt x="71" y="50"/>
                </a:lnTo>
                <a:lnTo>
                  <a:pt x="68" y="53"/>
                </a:lnTo>
                <a:lnTo>
                  <a:pt x="71" y="60"/>
                </a:lnTo>
                <a:lnTo>
                  <a:pt x="78" y="66"/>
                </a:lnTo>
                <a:lnTo>
                  <a:pt x="81" y="72"/>
                </a:lnTo>
                <a:lnTo>
                  <a:pt x="78" y="75"/>
                </a:lnTo>
                <a:lnTo>
                  <a:pt x="71" y="82"/>
                </a:lnTo>
                <a:lnTo>
                  <a:pt x="71" y="85"/>
                </a:lnTo>
                <a:lnTo>
                  <a:pt x="75" y="88"/>
                </a:lnTo>
                <a:lnTo>
                  <a:pt x="71" y="91"/>
                </a:lnTo>
                <a:lnTo>
                  <a:pt x="68" y="91"/>
                </a:lnTo>
                <a:lnTo>
                  <a:pt x="65" y="94"/>
                </a:lnTo>
                <a:lnTo>
                  <a:pt x="62" y="94"/>
                </a:lnTo>
                <a:lnTo>
                  <a:pt x="53" y="94"/>
                </a:lnTo>
                <a:lnTo>
                  <a:pt x="50" y="97"/>
                </a:lnTo>
                <a:lnTo>
                  <a:pt x="46" y="97"/>
                </a:lnTo>
                <a:lnTo>
                  <a:pt x="40" y="100"/>
                </a:lnTo>
                <a:lnTo>
                  <a:pt x="40" y="103"/>
                </a:lnTo>
                <a:lnTo>
                  <a:pt x="40" y="107"/>
                </a:lnTo>
                <a:lnTo>
                  <a:pt x="37" y="103"/>
                </a:lnTo>
                <a:lnTo>
                  <a:pt x="37" y="97"/>
                </a:lnTo>
                <a:lnTo>
                  <a:pt x="37" y="94"/>
                </a:lnTo>
                <a:lnTo>
                  <a:pt x="34" y="91"/>
                </a:lnTo>
                <a:lnTo>
                  <a:pt x="31" y="91"/>
                </a:lnTo>
                <a:lnTo>
                  <a:pt x="28" y="88"/>
                </a:lnTo>
                <a:lnTo>
                  <a:pt x="28" y="85"/>
                </a:lnTo>
                <a:lnTo>
                  <a:pt x="28" y="85"/>
                </a:lnTo>
                <a:lnTo>
                  <a:pt x="31" y="82"/>
                </a:lnTo>
                <a:lnTo>
                  <a:pt x="31" y="75"/>
                </a:lnTo>
                <a:lnTo>
                  <a:pt x="25" y="75"/>
                </a:lnTo>
                <a:lnTo>
                  <a:pt x="21" y="72"/>
                </a:lnTo>
                <a:lnTo>
                  <a:pt x="18" y="72"/>
                </a:lnTo>
                <a:lnTo>
                  <a:pt x="15" y="72"/>
                </a:lnTo>
                <a:lnTo>
                  <a:pt x="15" y="69"/>
                </a:lnTo>
                <a:lnTo>
                  <a:pt x="12" y="63"/>
                </a:lnTo>
                <a:lnTo>
                  <a:pt x="12" y="63"/>
                </a:lnTo>
                <a:lnTo>
                  <a:pt x="9" y="56"/>
                </a:lnTo>
                <a:lnTo>
                  <a:pt x="9" y="53"/>
                </a:lnTo>
                <a:lnTo>
                  <a:pt x="12" y="50"/>
                </a:lnTo>
                <a:lnTo>
                  <a:pt x="15" y="53"/>
                </a:lnTo>
                <a:lnTo>
                  <a:pt x="15" y="50"/>
                </a:lnTo>
                <a:lnTo>
                  <a:pt x="12" y="50"/>
                </a:lnTo>
                <a:lnTo>
                  <a:pt x="12" y="47"/>
                </a:lnTo>
                <a:lnTo>
                  <a:pt x="6" y="44"/>
                </a:lnTo>
                <a:lnTo>
                  <a:pt x="6" y="41"/>
                </a:lnTo>
                <a:lnTo>
                  <a:pt x="9" y="35"/>
                </a:lnTo>
                <a:lnTo>
                  <a:pt x="9" y="31"/>
                </a:lnTo>
                <a:lnTo>
                  <a:pt x="6" y="31"/>
                </a:lnTo>
                <a:lnTo>
                  <a:pt x="6" y="31"/>
                </a:lnTo>
                <a:lnTo>
                  <a:pt x="3" y="31"/>
                </a:lnTo>
                <a:lnTo>
                  <a:pt x="3" y="28"/>
                </a:lnTo>
                <a:lnTo>
                  <a:pt x="9" y="25"/>
                </a:lnTo>
                <a:lnTo>
                  <a:pt x="9" y="25"/>
                </a:lnTo>
                <a:lnTo>
                  <a:pt x="9" y="25"/>
                </a:lnTo>
                <a:lnTo>
                  <a:pt x="6" y="22"/>
                </a:lnTo>
                <a:lnTo>
                  <a:pt x="3" y="22"/>
                </a:lnTo>
                <a:lnTo>
                  <a:pt x="3" y="16"/>
                </a:lnTo>
                <a:lnTo>
                  <a:pt x="0" y="10"/>
                </a:lnTo>
                <a:lnTo>
                  <a:pt x="0" y="1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1" name="Freeform 59">
            <a:extLst>
              <a:ext uri="{FF2B5EF4-FFF2-40B4-BE49-F238E27FC236}">
                <a16:creationId xmlns:a16="http://schemas.microsoft.com/office/drawing/2014/main" id="{A8F52D4C-83F9-5B28-34EE-4D7D1A25460C}"/>
              </a:ext>
            </a:extLst>
          </p:cNvPr>
          <p:cNvSpPr>
            <a:spLocks/>
          </p:cNvSpPr>
          <p:nvPr userDrawn="1"/>
        </p:nvSpPr>
        <p:spPr bwMode="auto">
          <a:xfrm>
            <a:off x="14229421" y="6447711"/>
            <a:ext cx="111119" cy="136526"/>
          </a:xfrm>
          <a:custGeom>
            <a:avLst/>
            <a:gdLst>
              <a:gd name="T0" fmla="*/ 16 w 35"/>
              <a:gd name="T1" fmla="*/ 43 h 43"/>
              <a:gd name="T2" fmla="*/ 16 w 35"/>
              <a:gd name="T3" fmla="*/ 37 h 43"/>
              <a:gd name="T4" fmla="*/ 19 w 35"/>
              <a:gd name="T5" fmla="*/ 31 h 43"/>
              <a:gd name="T6" fmla="*/ 25 w 35"/>
              <a:gd name="T7" fmla="*/ 25 h 43"/>
              <a:gd name="T8" fmla="*/ 25 w 35"/>
              <a:gd name="T9" fmla="*/ 28 h 43"/>
              <a:gd name="T10" fmla="*/ 29 w 35"/>
              <a:gd name="T11" fmla="*/ 31 h 43"/>
              <a:gd name="T12" fmla="*/ 32 w 35"/>
              <a:gd name="T13" fmla="*/ 25 h 43"/>
              <a:gd name="T14" fmla="*/ 32 w 35"/>
              <a:gd name="T15" fmla="*/ 25 h 43"/>
              <a:gd name="T16" fmla="*/ 35 w 35"/>
              <a:gd name="T17" fmla="*/ 22 h 43"/>
              <a:gd name="T18" fmla="*/ 35 w 35"/>
              <a:gd name="T19" fmla="*/ 15 h 43"/>
              <a:gd name="T20" fmla="*/ 29 w 35"/>
              <a:gd name="T21" fmla="*/ 15 h 43"/>
              <a:gd name="T22" fmla="*/ 25 w 35"/>
              <a:gd name="T23" fmla="*/ 12 h 43"/>
              <a:gd name="T24" fmla="*/ 22 w 35"/>
              <a:gd name="T25" fmla="*/ 12 h 43"/>
              <a:gd name="T26" fmla="*/ 19 w 35"/>
              <a:gd name="T27" fmla="*/ 12 h 43"/>
              <a:gd name="T28" fmla="*/ 19 w 35"/>
              <a:gd name="T29" fmla="*/ 9 h 43"/>
              <a:gd name="T30" fmla="*/ 16 w 35"/>
              <a:gd name="T31" fmla="*/ 3 h 43"/>
              <a:gd name="T32" fmla="*/ 16 w 35"/>
              <a:gd name="T33" fmla="*/ 3 h 43"/>
              <a:gd name="T34" fmla="*/ 13 w 35"/>
              <a:gd name="T35" fmla="*/ 3 h 43"/>
              <a:gd name="T36" fmla="*/ 10 w 35"/>
              <a:gd name="T37" fmla="*/ 0 h 43"/>
              <a:gd name="T38" fmla="*/ 7 w 35"/>
              <a:gd name="T39" fmla="*/ 3 h 43"/>
              <a:gd name="T40" fmla="*/ 7 w 35"/>
              <a:gd name="T41" fmla="*/ 6 h 43"/>
              <a:gd name="T42" fmla="*/ 10 w 35"/>
              <a:gd name="T43" fmla="*/ 6 h 43"/>
              <a:gd name="T44" fmla="*/ 10 w 35"/>
              <a:gd name="T45" fmla="*/ 9 h 43"/>
              <a:gd name="T46" fmla="*/ 7 w 35"/>
              <a:gd name="T47" fmla="*/ 12 h 43"/>
              <a:gd name="T48" fmla="*/ 7 w 35"/>
              <a:gd name="T49" fmla="*/ 12 h 43"/>
              <a:gd name="T50" fmla="*/ 4 w 35"/>
              <a:gd name="T51" fmla="*/ 15 h 43"/>
              <a:gd name="T52" fmla="*/ 4 w 35"/>
              <a:gd name="T53" fmla="*/ 22 h 43"/>
              <a:gd name="T54" fmla="*/ 0 w 35"/>
              <a:gd name="T55" fmla="*/ 25 h 43"/>
              <a:gd name="T56" fmla="*/ 0 w 35"/>
              <a:gd name="T57" fmla="*/ 25 h 43"/>
              <a:gd name="T58" fmla="*/ 0 w 35"/>
              <a:gd name="T59" fmla="*/ 28 h 43"/>
              <a:gd name="T60" fmla="*/ 4 w 35"/>
              <a:gd name="T61" fmla="*/ 31 h 43"/>
              <a:gd name="T62" fmla="*/ 13 w 35"/>
              <a:gd name="T63" fmla="*/ 40 h 43"/>
              <a:gd name="T64" fmla="*/ 13 w 35"/>
              <a:gd name="T65" fmla="*/ 40 h 43"/>
              <a:gd name="T66" fmla="*/ 16 w 35"/>
              <a:gd name="T6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3">
                <a:moveTo>
                  <a:pt x="16" y="43"/>
                </a:moveTo>
                <a:lnTo>
                  <a:pt x="16" y="37"/>
                </a:lnTo>
                <a:lnTo>
                  <a:pt x="19" y="31"/>
                </a:lnTo>
                <a:lnTo>
                  <a:pt x="25" y="25"/>
                </a:lnTo>
                <a:lnTo>
                  <a:pt x="25" y="28"/>
                </a:lnTo>
                <a:lnTo>
                  <a:pt x="29" y="31"/>
                </a:lnTo>
                <a:lnTo>
                  <a:pt x="32" y="25"/>
                </a:lnTo>
                <a:lnTo>
                  <a:pt x="32" y="25"/>
                </a:lnTo>
                <a:lnTo>
                  <a:pt x="35" y="22"/>
                </a:lnTo>
                <a:lnTo>
                  <a:pt x="35" y="15"/>
                </a:lnTo>
                <a:lnTo>
                  <a:pt x="29" y="15"/>
                </a:lnTo>
                <a:lnTo>
                  <a:pt x="25" y="12"/>
                </a:lnTo>
                <a:lnTo>
                  <a:pt x="22" y="12"/>
                </a:lnTo>
                <a:lnTo>
                  <a:pt x="19" y="12"/>
                </a:lnTo>
                <a:lnTo>
                  <a:pt x="19" y="9"/>
                </a:lnTo>
                <a:lnTo>
                  <a:pt x="16" y="3"/>
                </a:lnTo>
                <a:lnTo>
                  <a:pt x="16" y="3"/>
                </a:lnTo>
                <a:lnTo>
                  <a:pt x="13" y="3"/>
                </a:lnTo>
                <a:lnTo>
                  <a:pt x="10" y="0"/>
                </a:lnTo>
                <a:lnTo>
                  <a:pt x="7" y="3"/>
                </a:lnTo>
                <a:lnTo>
                  <a:pt x="7" y="6"/>
                </a:lnTo>
                <a:lnTo>
                  <a:pt x="10" y="6"/>
                </a:lnTo>
                <a:lnTo>
                  <a:pt x="10" y="9"/>
                </a:lnTo>
                <a:lnTo>
                  <a:pt x="7" y="12"/>
                </a:lnTo>
                <a:lnTo>
                  <a:pt x="7" y="12"/>
                </a:lnTo>
                <a:lnTo>
                  <a:pt x="4" y="15"/>
                </a:lnTo>
                <a:lnTo>
                  <a:pt x="4" y="22"/>
                </a:lnTo>
                <a:lnTo>
                  <a:pt x="0" y="25"/>
                </a:lnTo>
                <a:lnTo>
                  <a:pt x="0" y="25"/>
                </a:lnTo>
                <a:lnTo>
                  <a:pt x="0" y="28"/>
                </a:lnTo>
                <a:lnTo>
                  <a:pt x="4" y="31"/>
                </a:lnTo>
                <a:lnTo>
                  <a:pt x="13" y="40"/>
                </a:lnTo>
                <a:lnTo>
                  <a:pt x="13" y="40"/>
                </a:lnTo>
                <a:lnTo>
                  <a:pt x="16" y="43"/>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2" name="Freeform 60">
            <a:extLst>
              <a:ext uri="{FF2B5EF4-FFF2-40B4-BE49-F238E27FC236}">
                <a16:creationId xmlns:a16="http://schemas.microsoft.com/office/drawing/2014/main" id="{6DEBDA55-8335-A6F8-E0E1-8BB6B3830C20}"/>
              </a:ext>
            </a:extLst>
          </p:cNvPr>
          <p:cNvSpPr>
            <a:spLocks noEditPoints="1"/>
          </p:cNvSpPr>
          <p:nvPr userDrawn="1"/>
        </p:nvSpPr>
        <p:spPr bwMode="auto">
          <a:xfrm>
            <a:off x="13934166" y="6247680"/>
            <a:ext cx="336528" cy="257176"/>
          </a:xfrm>
          <a:custGeom>
            <a:avLst/>
            <a:gdLst>
              <a:gd name="T0" fmla="*/ 34 w 34"/>
              <a:gd name="T1" fmla="*/ 9 h 26"/>
              <a:gd name="T2" fmla="*/ 33 w 34"/>
              <a:gd name="T3" fmla="*/ 8 h 26"/>
              <a:gd name="T4" fmla="*/ 31 w 34"/>
              <a:gd name="T5" fmla="*/ 4 h 26"/>
              <a:gd name="T6" fmla="*/ 27 w 34"/>
              <a:gd name="T7" fmla="*/ 4 h 26"/>
              <a:gd name="T8" fmla="*/ 21 w 34"/>
              <a:gd name="T9" fmla="*/ 2 h 26"/>
              <a:gd name="T10" fmla="*/ 18 w 34"/>
              <a:gd name="T11" fmla="*/ 0 h 26"/>
              <a:gd name="T12" fmla="*/ 11 w 34"/>
              <a:gd name="T13" fmla="*/ 4 h 26"/>
              <a:gd name="T14" fmla="*/ 7 w 34"/>
              <a:gd name="T15" fmla="*/ 7 h 26"/>
              <a:gd name="T16" fmla="*/ 2 w 34"/>
              <a:gd name="T17" fmla="*/ 7 h 26"/>
              <a:gd name="T18" fmla="*/ 0 w 34"/>
              <a:gd name="T19" fmla="*/ 10 h 26"/>
              <a:gd name="T20" fmla="*/ 2 w 34"/>
              <a:gd name="T21" fmla="*/ 12 h 26"/>
              <a:gd name="T22" fmla="*/ 5 w 34"/>
              <a:gd name="T23" fmla="*/ 8 h 26"/>
              <a:gd name="T24" fmla="*/ 8 w 34"/>
              <a:gd name="T25" fmla="*/ 10 h 26"/>
              <a:gd name="T26" fmla="*/ 11 w 34"/>
              <a:gd name="T27" fmla="*/ 15 h 26"/>
              <a:gd name="T28" fmla="*/ 12 w 34"/>
              <a:gd name="T29" fmla="*/ 16 h 26"/>
              <a:gd name="T30" fmla="*/ 11 w 34"/>
              <a:gd name="T31" fmla="*/ 18 h 26"/>
              <a:gd name="T32" fmla="*/ 15 w 34"/>
              <a:gd name="T33" fmla="*/ 20 h 26"/>
              <a:gd name="T34" fmla="*/ 17 w 34"/>
              <a:gd name="T35" fmla="*/ 22 h 26"/>
              <a:gd name="T36" fmla="*/ 25 w 34"/>
              <a:gd name="T37" fmla="*/ 26 h 26"/>
              <a:gd name="T38" fmla="*/ 23 w 34"/>
              <a:gd name="T39" fmla="*/ 26 h 26"/>
              <a:gd name="T40" fmla="*/ 25 w 34"/>
              <a:gd name="T41" fmla="*/ 25 h 26"/>
              <a:gd name="T42" fmla="*/ 15 w 34"/>
              <a:gd name="T43" fmla="*/ 15 h 26"/>
              <a:gd name="T44" fmla="*/ 15 w 34"/>
              <a:gd name="T45" fmla="*/ 13 h 26"/>
              <a:gd name="T46" fmla="*/ 13 w 34"/>
              <a:gd name="T47" fmla="*/ 10 h 26"/>
              <a:gd name="T48" fmla="*/ 14 w 34"/>
              <a:gd name="T49" fmla="*/ 8 h 26"/>
              <a:gd name="T50" fmla="*/ 16 w 34"/>
              <a:gd name="T51" fmla="*/ 10 h 26"/>
              <a:gd name="T52" fmla="*/ 18 w 34"/>
              <a:gd name="T53" fmla="*/ 9 h 26"/>
              <a:gd name="T54" fmla="*/ 21 w 34"/>
              <a:gd name="T55" fmla="*/ 8 h 26"/>
              <a:gd name="T56" fmla="*/ 23 w 34"/>
              <a:gd name="T57" fmla="*/ 9 h 26"/>
              <a:gd name="T58" fmla="*/ 26 w 34"/>
              <a:gd name="T59" fmla="*/ 9 h 26"/>
              <a:gd name="T60" fmla="*/ 29 w 34"/>
              <a:gd name="T61" fmla="*/ 9 h 26"/>
              <a:gd name="T62" fmla="*/ 32 w 34"/>
              <a:gd name="T63" fmla="*/ 11 h 26"/>
              <a:gd name="T64" fmla="*/ 22 w 34"/>
              <a:gd name="T65" fmla="*/ 26 h 26"/>
              <a:gd name="T66" fmla="*/ 18 w 34"/>
              <a:gd name="T67" fmla="*/ 24 h 26"/>
              <a:gd name="T68" fmla="*/ 18 w 34"/>
              <a:gd name="T69" fmla="*/ 24 h 26"/>
              <a:gd name="T70" fmla="*/ 21 w 34"/>
              <a:gd name="T71" fmla="*/ 23 h 26"/>
              <a:gd name="T72" fmla="*/ 18 w 34"/>
              <a:gd name="T73" fmla="*/ 23 h 26"/>
              <a:gd name="T74" fmla="*/ 11 w 34"/>
              <a:gd name="T75" fmla="*/ 16 h 26"/>
              <a:gd name="T76" fmla="*/ 8 w 34"/>
              <a:gd name="T77" fmla="*/ 13 h 26"/>
              <a:gd name="T78" fmla="*/ 8 w 34"/>
              <a:gd name="T79" fmla="*/ 13 h 26"/>
              <a:gd name="T80" fmla="*/ 10 w 34"/>
              <a:gd name="T81" fmla="*/ 19 h 26"/>
              <a:gd name="T82" fmla="*/ 8 w 34"/>
              <a:gd name="T83" fmla="*/ 15 h 26"/>
              <a:gd name="T84" fmla="*/ 5 w 34"/>
              <a:gd name="T85" fmla="*/ 11 h 26"/>
              <a:gd name="T86" fmla="*/ 6 w 34"/>
              <a:gd name="T87" fmla="*/ 14 h 26"/>
              <a:gd name="T88" fmla="*/ 5 w 34"/>
              <a:gd name="T89" fmla="*/ 11 h 26"/>
              <a:gd name="T90" fmla="*/ 6 w 34"/>
              <a:gd name="T91" fmla="*/ 12 h 26"/>
              <a:gd name="T92" fmla="*/ 5 w 34"/>
              <a:gd name="T93" fmla="*/ 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 h="26">
                <a:moveTo>
                  <a:pt x="32" y="11"/>
                </a:moveTo>
                <a:cubicBezTo>
                  <a:pt x="32" y="10"/>
                  <a:pt x="32" y="10"/>
                  <a:pt x="32" y="10"/>
                </a:cubicBezTo>
                <a:cubicBezTo>
                  <a:pt x="34" y="9"/>
                  <a:pt x="34" y="9"/>
                  <a:pt x="34" y="9"/>
                </a:cubicBezTo>
                <a:cubicBezTo>
                  <a:pt x="34" y="9"/>
                  <a:pt x="34" y="9"/>
                  <a:pt x="34" y="9"/>
                </a:cubicBezTo>
                <a:cubicBezTo>
                  <a:pt x="34" y="9"/>
                  <a:pt x="34" y="9"/>
                  <a:pt x="34" y="9"/>
                </a:cubicBezTo>
                <a:cubicBezTo>
                  <a:pt x="33" y="8"/>
                  <a:pt x="33" y="8"/>
                  <a:pt x="33" y="8"/>
                </a:cubicBezTo>
                <a:cubicBezTo>
                  <a:pt x="32" y="8"/>
                  <a:pt x="32" y="8"/>
                  <a:pt x="32" y="8"/>
                </a:cubicBezTo>
                <a:cubicBezTo>
                  <a:pt x="32" y="6"/>
                  <a:pt x="32" y="6"/>
                  <a:pt x="32" y="6"/>
                </a:cubicBezTo>
                <a:cubicBezTo>
                  <a:pt x="31" y="4"/>
                  <a:pt x="31" y="4"/>
                  <a:pt x="31" y="4"/>
                </a:cubicBezTo>
                <a:cubicBezTo>
                  <a:pt x="30" y="4"/>
                  <a:pt x="30" y="4"/>
                  <a:pt x="30" y="4"/>
                </a:cubicBezTo>
                <a:cubicBezTo>
                  <a:pt x="29" y="5"/>
                  <a:pt x="29" y="5"/>
                  <a:pt x="29" y="5"/>
                </a:cubicBezTo>
                <a:cubicBezTo>
                  <a:pt x="27" y="4"/>
                  <a:pt x="27" y="4"/>
                  <a:pt x="27" y="4"/>
                </a:cubicBezTo>
                <a:cubicBezTo>
                  <a:pt x="24" y="4"/>
                  <a:pt x="24" y="4"/>
                  <a:pt x="24" y="4"/>
                </a:cubicBezTo>
                <a:cubicBezTo>
                  <a:pt x="23" y="3"/>
                  <a:pt x="23" y="3"/>
                  <a:pt x="23" y="3"/>
                </a:cubicBezTo>
                <a:cubicBezTo>
                  <a:pt x="21" y="2"/>
                  <a:pt x="21" y="2"/>
                  <a:pt x="21" y="2"/>
                </a:cubicBezTo>
                <a:cubicBezTo>
                  <a:pt x="19" y="0"/>
                  <a:pt x="19" y="0"/>
                  <a:pt x="19" y="0"/>
                </a:cubicBezTo>
                <a:cubicBezTo>
                  <a:pt x="18" y="0"/>
                  <a:pt x="18" y="0"/>
                  <a:pt x="18" y="0"/>
                </a:cubicBezTo>
                <a:cubicBezTo>
                  <a:pt x="18" y="0"/>
                  <a:pt x="18" y="0"/>
                  <a:pt x="18" y="0"/>
                </a:cubicBezTo>
                <a:cubicBezTo>
                  <a:pt x="15" y="0"/>
                  <a:pt x="15" y="0"/>
                  <a:pt x="15" y="0"/>
                </a:cubicBezTo>
                <a:cubicBezTo>
                  <a:pt x="11" y="2"/>
                  <a:pt x="11" y="2"/>
                  <a:pt x="11" y="2"/>
                </a:cubicBezTo>
                <a:cubicBezTo>
                  <a:pt x="11" y="4"/>
                  <a:pt x="11" y="4"/>
                  <a:pt x="11" y="4"/>
                </a:cubicBezTo>
                <a:cubicBezTo>
                  <a:pt x="9" y="5"/>
                  <a:pt x="9" y="5"/>
                  <a:pt x="9" y="5"/>
                </a:cubicBezTo>
                <a:cubicBezTo>
                  <a:pt x="9" y="7"/>
                  <a:pt x="9" y="7"/>
                  <a:pt x="9" y="7"/>
                </a:cubicBezTo>
                <a:cubicBezTo>
                  <a:pt x="7" y="7"/>
                  <a:pt x="7" y="7"/>
                  <a:pt x="7" y="7"/>
                </a:cubicBezTo>
                <a:cubicBezTo>
                  <a:pt x="5" y="6"/>
                  <a:pt x="5" y="6"/>
                  <a:pt x="5" y="6"/>
                </a:cubicBezTo>
                <a:cubicBezTo>
                  <a:pt x="4" y="6"/>
                  <a:pt x="4" y="6"/>
                  <a:pt x="4" y="6"/>
                </a:cubicBezTo>
                <a:cubicBezTo>
                  <a:pt x="2" y="7"/>
                  <a:pt x="2" y="7"/>
                  <a:pt x="2" y="7"/>
                </a:cubicBezTo>
                <a:cubicBezTo>
                  <a:pt x="0" y="8"/>
                  <a:pt x="0" y="8"/>
                  <a:pt x="0" y="8"/>
                </a:cubicBezTo>
                <a:cubicBezTo>
                  <a:pt x="0" y="8"/>
                  <a:pt x="0" y="8"/>
                  <a:pt x="0" y="8"/>
                </a:cubicBezTo>
                <a:cubicBezTo>
                  <a:pt x="0" y="10"/>
                  <a:pt x="0" y="10"/>
                  <a:pt x="0" y="10"/>
                </a:cubicBezTo>
                <a:cubicBezTo>
                  <a:pt x="2" y="12"/>
                  <a:pt x="2" y="12"/>
                  <a:pt x="2" y="12"/>
                </a:cubicBezTo>
                <a:cubicBezTo>
                  <a:pt x="2" y="12"/>
                  <a:pt x="2" y="12"/>
                  <a:pt x="2" y="12"/>
                </a:cubicBezTo>
                <a:cubicBezTo>
                  <a:pt x="2" y="12"/>
                  <a:pt x="2" y="12"/>
                  <a:pt x="2" y="12"/>
                </a:cubicBezTo>
                <a:cubicBezTo>
                  <a:pt x="4" y="10"/>
                  <a:pt x="4" y="10"/>
                  <a:pt x="4" y="10"/>
                </a:cubicBezTo>
                <a:cubicBezTo>
                  <a:pt x="4" y="9"/>
                  <a:pt x="4" y="9"/>
                  <a:pt x="4" y="9"/>
                </a:cubicBezTo>
                <a:cubicBezTo>
                  <a:pt x="5" y="8"/>
                  <a:pt x="5" y="8"/>
                  <a:pt x="5" y="8"/>
                </a:cubicBezTo>
                <a:cubicBezTo>
                  <a:pt x="6" y="8"/>
                  <a:pt x="6" y="8"/>
                  <a:pt x="6" y="8"/>
                </a:cubicBezTo>
                <a:cubicBezTo>
                  <a:pt x="7" y="9"/>
                  <a:pt x="7" y="9"/>
                  <a:pt x="7" y="9"/>
                </a:cubicBezTo>
                <a:cubicBezTo>
                  <a:pt x="8" y="10"/>
                  <a:pt x="8" y="10"/>
                  <a:pt x="8" y="10"/>
                </a:cubicBezTo>
                <a:cubicBezTo>
                  <a:pt x="8" y="12"/>
                  <a:pt x="8" y="12"/>
                  <a:pt x="8" y="12"/>
                </a:cubicBezTo>
                <a:cubicBezTo>
                  <a:pt x="9" y="13"/>
                  <a:pt x="9" y="13"/>
                  <a:pt x="9" y="13"/>
                </a:cubicBezTo>
                <a:cubicBezTo>
                  <a:pt x="11" y="15"/>
                  <a:pt x="11" y="15"/>
                  <a:pt x="11" y="15"/>
                </a:cubicBezTo>
                <a:cubicBezTo>
                  <a:pt x="12" y="15"/>
                  <a:pt x="12" y="15"/>
                  <a:pt x="12" y="15"/>
                </a:cubicBezTo>
                <a:cubicBezTo>
                  <a:pt x="13" y="16"/>
                  <a:pt x="13" y="16"/>
                  <a:pt x="13" y="16"/>
                </a:cubicBezTo>
                <a:cubicBezTo>
                  <a:pt x="12" y="16"/>
                  <a:pt x="12" y="16"/>
                  <a:pt x="12" y="16"/>
                </a:cubicBezTo>
                <a:cubicBezTo>
                  <a:pt x="11" y="16"/>
                  <a:pt x="11" y="16"/>
                  <a:pt x="11" y="16"/>
                </a:cubicBezTo>
                <a:cubicBezTo>
                  <a:pt x="10" y="17"/>
                  <a:pt x="10" y="17"/>
                  <a:pt x="10" y="17"/>
                </a:cubicBezTo>
                <a:cubicBezTo>
                  <a:pt x="11" y="18"/>
                  <a:pt x="11" y="18"/>
                  <a:pt x="11" y="18"/>
                </a:cubicBezTo>
                <a:cubicBezTo>
                  <a:pt x="12" y="18"/>
                  <a:pt x="12" y="18"/>
                  <a:pt x="12" y="18"/>
                </a:cubicBezTo>
                <a:cubicBezTo>
                  <a:pt x="14" y="20"/>
                  <a:pt x="14" y="20"/>
                  <a:pt x="14" y="20"/>
                </a:cubicBezTo>
                <a:cubicBezTo>
                  <a:pt x="15" y="20"/>
                  <a:pt x="15" y="20"/>
                  <a:pt x="15" y="20"/>
                </a:cubicBezTo>
                <a:cubicBezTo>
                  <a:pt x="15" y="21"/>
                  <a:pt x="15" y="21"/>
                  <a:pt x="15" y="21"/>
                </a:cubicBezTo>
                <a:cubicBezTo>
                  <a:pt x="16" y="22"/>
                  <a:pt x="16" y="22"/>
                  <a:pt x="16" y="22"/>
                </a:cubicBezTo>
                <a:cubicBezTo>
                  <a:pt x="17" y="22"/>
                  <a:pt x="17" y="22"/>
                  <a:pt x="17" y="22"/>
                </a:cubicBezTo>
                <a:cubicBezTo>
                  <a:pt x="20" y="22"/>
                  <a:pt x="20" y="22"/>
                  <a:pt x="20" y="22"/>
                </a:cubicBezTo>
                <a:cubicBezTo>
                  <a:pt x="22" y="23"/>
                  <a:pt x="22" y="23"/>
                  <a:pt x="22" y="23"/>
                </a:cubicBezTo>
                <a:cubicBezTo>
                  <a:pt x="25" y="26"/>
                  <a:pt x="25" y="26"/>
                  <a:pt x="25" y="26"/>
                </a:cubicBezTo>
                <a:cubicBezTo>
                  <a:pt x="24" y="26"/>
                  <a:pt x="24" y="26"/>
                  <a:pt x="24" y="26"/>
                </a:cubicBezTo>
                <a:cubicBezTo>
                  <a:pt x="22" y="25"/>
                  <a:pt x="22" y="25"/>
                  <a:pt x="22" y="25"/>
                </a:cubicBezTo>
                <a:cubicBezTo>
                  <a:pt x="23" y="26"/>
                  <a:pt x="23" y="26"/>
                  <a:pt x="23" y="26"/>
                </a:cubicBezTo>
                <a:cubicBezTo>
                  <a:pt x="25" y="26"/>
                  <a:pt x="25" y="26"/>
                  <a:pt x="25" y="26"/>
                </a:cubicBezTo>
                <a:cubicBezTo>
                  <a:pt x="25" y="26"/>
                  <a:pt x="25" y="26"/>
                  <a:pt x="25" y="26"/>
                </a:cubicBezTo>
                <a:cubicBezTo>
                  <a:pt x="25" y="25"/>
                  <a:pt x="25" y="25"/>
                  <a:pt x="25" y="25"/>
                </a:cubicBezTo>
                <a:cubicBezTo>
                  <a:pt x="21" y="20"/>
                  <a:pt x="21" y="20"/>
                  <a:pt x="21" y="20"/>
                </a:cubicBezTo>
                <a:cubicBezTo>
                  <a:pt x="16" y="16"/>
                  <a:pt x="16" y="16"/>
                  <a:pt x="16" y="16"/>
                </a:cubicBezTo>
                <a:cubicBezTo>
                  <a:pt x="15" y="15"/>
                  <a:pt x="15" y="15"/>
                  <a:pt x="15" y="15"/>
                </a:cubicBezTo>
                <a:cubicBezTo>
                  <a:pt x="16" y="15"/>
                  <a:pt x="16" y="15"/>
                  <a:pt x="16" y="15"/>
                </a:cubicBezTo>
                <a:cubicBezTo>
                  <a:pt x="15" y="14"/>
                  <a:pt x="15" y="14"/>
                  <a:pt x="15" y="14"/>
                </a:cubicBezTo>
                <a:cubicBezTo>
                  <a:pt x="15" y="13"/>
                  <a:pt x="15" y="13"/>
                  <a:pt x="15" y="13"/>
                </a:cubicBezTo>
                <a:cubicBezTo>
                  <a:pt x="13" y="11"/>
                  <a:pt x="13" y="11"/>
                  <a:pt x="13" y="11"/>
                </a:cubicBezTo>
                <a:cubicBezTo>
                  <a:pt x="13" y="11"/>
                  <a:pt x="13" y="11"/>
                  <a:pt x="13" y="11"/>
                </a:cubicBezTo>
                <a:cubicBezTo>
                  <a:pt x="13" y="10"/>
                  <a:pt x="13" y="10"/>
                  <a:pt x="13" y="10"/>
                </a:cubicBezTo>
                <a:cubicBezTo>
                  <a:pt x="13" y="10"/>
                  <a:pt x="13" y="10"/>
                  <a:pt x="13" y="10"/>
                </a:cubicBezTo>
                <a:cubicBezTo>
                  <a:pt x="13" y="8"/>
                  <a:pt x="13" y="8"/>
                  <a:pt x="13" y="8"/>
                </a:cubicBezTo>
                <a:cubicBezTo>
                  <a:pt x="14" y="8"/>
                  <a:pt x="14" y="8"/>
                  <a:pt x="14" y="8"/>
                </a:cubicBezTo>
                <a:cubicBezTo>
                  <a:pt x="15" y="9"/>
                  <a:pt x="15" y="9"/>
                  <a:pt x="15" y="9"/>
                </a:cubicBezTo>
                <a:cubicBezTo>
                  <a:pt x="16" y="10"/>
                  <a:pt x="16" y="10"/>
                  <a:pt x="16" y="10"/>
                </a:cubicBezTo>
                <a:cubicBezTo>
                  <a:pt x="16" y="10"/>
                  <a:pt x="16" y="10"/>
                  <a:pt x="16" y="10"/>
                </a:cubicBezTo>
                <a:cubicBezTo>
                  <a:pt x="16" y="9"/>
                  <a:pt x="16" y="9"/>
                  <a:pt x="16" y="9"/>
                </a:cubicBezTo>
                <a:cubicBezTo>
                  <a:pt x="18" y="8"/>
                  <a:pt x="18" y="8"/>
                  <a:pt x="18" y="8"/>
                </a:cubicBezTo>
                <a:cubicBezTo>
                  <a:pt x="18" y="9"/>
                  <a:pt x="18" y="9"/>
                  <a:pt x="18" y="9"/>
                </a:cubicBezTo>
                <a:cubicBezTo>
                  <a:pt x="19" y="8"/>
                  <a:pt x="19" y="8"/>
                  <a:pt x="19" y="8"/>
                </a:cubicBezTo>
                <a:cubicBezTo>
                  <a:pt x="20" y="8"/>
                  <a:pt x="20" y="8"/>
                  <a:pt x="20" y="8"/>
                </a:cubicBezTo>
                <a:cubicBezTo>
                  <a:pt x="21" y="8"/>
                  <a:pt x="21" y="8"/>
                  <a:pt x="21" y="8"/>
                </a:cubicBezTo>
                <a:cubicBezTo>
                  <a:pt x="22" y="8"/>
                  <a:pt x="22" y="8"/>
                  <a:pt x="22" y="8"/>
                </a:cubicBezTo>
                <a:cubicBezTo>
                  <a:pt x="22" y="9"/>
                  <a:pt x="22" y="9"/>
                  <a:pt x="22" y="9"/>
                </a:cubicBezTo>
                <a:cubicBezTo>
                  <a:pt x="23" y="9"/>
                  <a:pt x="23" y="9"/>
                  <a:pt x="23" y="9"/>
                </a:cubicBezTo>
                <a:cubicBezTo>
                  <a:pt x="24" y="9"/>
                  <a:pt x="24" y="9"/>
                  <a:pt x="24" y="9"/>
                </a:cubicBezTo>
                <a:cubicBezTo>
                  <a:pt x="25" y="9"/>
                  <a:pt x="25" y="9"/>
                  <a:pt x="25" y="9"/>
                </a:cubicBezTo>
                <a:cubicBezTo>
                  <a:pt x="26" y="9"/>
                  <a:pt x="26" y="9"/>
                  <a:pt x="26" y="9"/>
                </a:cubicBezTo>
                <a:cubicBezTo>
                  <a:pt x="27" y="9"/>
                  <a:pt x="27" y="9"/>
                  <a:pt x="27" y="9"/>
                </a:cubicBezTo>
                <a:cubicBezTo>
                  <a:pt x="28" y="9"/>
                  <a:pt x="28" y="9"/>
                  <a:pt x="28" y="9"/>
                </a:cubicBezTo>
                <a:cubicBezTo>
                  <a:pt x="29" y="9"/>
                  <a:pt x="29" y="9"/>
                  <a:pt x="29" y="9"/>
                </a:cubicBezTo>
                <a:cubicBezTo>
                  <a:pt x="31" y="10"/>
                  <a:pt x="31" y="10"/>
                  <a:pt x="31" y="10"/>
                </a:cubicBezTo>
                <a:cubicBezTo>
                  <a:pt x="32" y="10"/>
                  <a:pt x="32" y="10"/>
                  <a:pt x="32" y="10"/>
                </a:cubicBezTo>
                <a:cubicBezTo>
                  <a:pt x="32" y="11"/>
                  <a:pt x="32" y="11"/>
                  <a:pt x="32" y="11"/>
                </a:cubicBezTo>
                <a:close/>
                <a:moveTo>
                  <a:pt x="19" y="25"/>
                </a:moveTo>
                <a:cubicBezTo>
                  <a:pt x="19" y="25"/>
                  <a:pt x="22" y="25"/>
                  <a:pt x="22" y="25"/>
                </a:cubicBezTo>
                <a:cubicBezTo>
                  <a:pt x="22" y="26"/>
                  <a:pt x="22" y="26"/>
                  <a:pt x="22" y="26"/>
                </a:cubicBezTo>
                <a:cubicBezTo>
                  <a:pt x="20" y="26"/>
                  <a:pt x="20" y="26"/>
                  <a:pt x="20" y="26"/>
                </a:cubicBezTo>
                <a:cubicBezTo>
                  <a:pt x="19" y="25"/>
                  <a:pt x="19" y="25"/>
                  <a:pt x="19" y="25"/>
                </a:cubicBezTo>
                <a:close/>
                <a:moveTo>
                  <a:pt x="18" y="24"/>
                </a:moveTo>
                <a:cubicBezTo>
                  <a:pt x="21" y="24"/>
                  <a:pt x="21" y="24"/>
                  <a:pt x="21" y="24"/>
                </a:cubicBezTo>
                <a:cubicBezTo>
                  <a:pt x="20" y="25"/>
                  <a:pt x="20" y="25"/>
                  <a:pt x="20" y="25"/>
                </a:cubicBezTo>
                <a:cubicBezTo>
                  <a:pt x="18" y="24"/>
                  <a:pt x="18" y="24"/>
                  <a:pt x="18" y="24"/>
                </a:cubicBezTo>
                <a:close/>
                <a:moveTo>
                  <a:pt x="18" y="23"/>
                </a:moveTo>
                <a:cubicBezTo>
                  <a:pt x="20" y="23"/>
                  <a:pt x="20" y="23"/>
                  <a:pt x="20" y="23"/>
                </a:cubicBezTo>
                <a:cubicBezTo>
                  <a:pt x="21" y="23"/>
                  <a:pt x="21" y="23"/>
                  <a:pt x="21" y="23"/>
                </a:cubicBezTo>
                <a:cubicBezTo>
                  <a:pt x="20" y="24"/>
                  <a:pt x="20" y="24"/>
                  <a:pt x="20" y="24"/>
                </a:cubicBezTo>
                <a:cubicBezTo>
                  <a:pt x="19" y="23"/>
                  <a:pt x="19" y="23"/>
                  <a:pt x="19" y="23"/>
                </a:cubicBezTo>
                <a:cubicBezTo>
                  <a:pt x="18" y="23"/>
                  <a:pt x="18" y="23"/>
                  <a:pt x="18" y="23"/>
                </a:cubicBezTo>
                <a:close/>
                <a:moveTo>
                  <a:pt x="9" y="15"/>
                </a:moveTo>
                <a:cubicBezTo>
                  <a:pt x="10" y="15"/>
                  <a:pt x="10" y="15"/>
                  <a:pt x="10" y="15"/>
                </a:cubicBezTo>
                <a:cubicBezTo>
                  <a:pt x="11" y="16"/>
                  <a:pt x="11" y="16"/>
                  <a:pt x="11" y="16"/>
                </a:cubicBezTo>
                <a:cubicBezTo>
                  <a:pt x="10" y="16"/>
                  <a:pt x="10" y="16"/>
                  <a:pt x="10" y="16"/>
                </a:cubicBezTo>
                <a:cubicBezTo>
                  <a:pt x="9" y="15"/>
                  <a:pt x="9" y="15"/>
                  <a:pt x="9" y="15"/>
                </a:cubicBezTo>
                <a:close/>
                <a:moveTo>
                  <a:pt x="8" y="13"/>
                </a:moveTo>
                <a:cubicBezTo>
                  <a:pt x="9" y="14"/>
                  <a:pt x="9" y="14"/>
                  <a:pt x="9" y="14"/>
                </a:cubicBezTo>
                <a:cubicBezTo>
                  <a:pt x="8" y="14"/>
                  <a:pt x="8" y="14"/>
                  <a:pt x="8" y="14"/>
                </a:cubicBezTo>
                <a:cubicBezTo>
                  <a:pt x="8" y="13"/>
                  <a:pt x="8" y="13"/>
                  <a:pt x="8" y="13"/>
                </a:cubicBezTo>
                <a:close/>
                <a:moveTo>
                  <a:pt x="8" y="17"/>
                </a:moveTo>
                <a:cubicBezTo>
                  <a:pt x="10" y="18"/>
                  <a:pt x="10" y="18"/>
                  <a:pt x="10" y="18"/>
                </a:cubicBezTo>
                <a:cubicBezTo>
                  <a:pt x="10" y="19"/>
                  <a:pt x="10" y="19"/>
                  <a:pt x="10" y="19"/>
                </a:cubicBezTo>
                <a:cubicBezTo>
                  <a:pt x="8" y="17"/>
                  <a:pt x="8" y="17"/>
                  <a:pt x="8" y="17"/>
                </a:cubicBezTo>
                <a:close/>
                <a:moveTo>
                  <a:pt x="7" y="15"/>
                </a:moveTo>
                <a:cubicBezTo>
                  <a:pt x="8" y="15"/>
                  <a:pt x="8" y="15"/>
                  <a:pt x="8" y="15"/>
                </a:cubicBezTo>
                <a:cubicBezTo>
                  <a:pt x="8" y="16"/>
                  <a:pt x="8" y="16"/>
                  <a:pt x="8" y="16"/>
                </a:cubicBezTo>
                <a:cubicBezTo>
                  <a:pt x="7" y="15"/>
                  <a:pt x="7" y="15"/>
                  <a:pt x="7" y="15"/>
                </a:cubicBezTo>
                <a:close/>
                <a:moveTo>
                  <a:pt x="5" y="11"/>
                </a:moveTo>
                <a:cubicBezTo>
                  <a:pt x="6" y="12"/>
                  <a:pt x="6" y="12"/>
                  <a:pt x="6" y="12"/>
                </a:cubicBezTo>
                <a:cubicBezTo>
                  <a:pt x="7" y="14"/>
                  <a:pt x="7" y="14"/>
                  <a:pt x="7" y="14"/>
                </a:cubicBezTo>
                <a:cubicBezTo>
                  <a:pt x="6" y="14"/>
                  <a:pt x="6" y="14"/>
                  <a:pt x="6" y="14"/>
                </a:cubicBezTo>
                <a:cubicBezTo>
                  <a:pt x="5" y="13"/>
                  <a:pt x="5" y="13"/>
                  <a:pt x="5" y="13"/>
                </a:cubicBezTo>
                <a:cubicBezTo>
                  <a:pt x="5" y="13"/>
                  <a:pt x="5" y="13"/>
                  <a:pt x="5" y="13"/>
                </a:cubicBezTo>
                <a:cubicBezTo>
                  <a:pt x="5" y="11"/>
                  <a:pt x="5" y="11"/>
                  <a:pt x="5" y="11"/>
                </a:cubicBezTo>
                <a:close/>
                <a:moveTo>
                  <a:pt x="6" y="9"/>
                </a:moveTo>
                <a:cubicBezTo>
                  <a:pt x="7" y="11"/>
                  <a:pt x="7" y="11"/>
                  <a:pt x="7" y="11"/>
                </a:cubicBezTo>
                <a:cubicBezTo>
                  <a:pt x="6" y="12"/>
                  <a:pt x="6" y="12"/>
                  <a:pt x="6" y="12"/>
                </a:cubicBezTo>
                <a:cubicBezTo>
                  <a:pt x="6" y="11"/>
                  <a:pt x="6" y="11"/>
                  <a:pt x="6" y="11"/>
                </a:cubicBezTo>
                <a:cubicBezTo>
                  <a:pt x="5" y="11"/>
                  <a:pt x="5" y="11"/>
                  <a:pt x="5" y="11"/>
                </a:cubicBezTo>
                <a:cubicBezTo>
                  <a:pt x="5" y="9"/>
                  <a:pt x="5" y="9"/>
                  <a:pt x="5" y="9"/>
                </a:cubicBezTo>
                <a:cubicBezTo>
                  <a:pt x="5" y="9"/>
                  <a:pt x="5" y="9"/>
                  <a:pt x="6" y="9"/>
                </a:cubicBez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3" name="Freeform 61">
            <a:extLst>
              <a:ext uri="{FF2B5EF4-FFF2-40B4-BE49-F238E27FC236}">
                <a16:creationId xmlns:a16="http://schemas.microsoft.com/office/drawing/2014/main" id="{AE1C3309-A63A-A2F1-86C8-ACE4C0326D5C}"/>
              </a:ext>
            </a:extLst>
          </p:cNvPr>
          <p:cNvSpPr>
            <a:spLocks/>
          </p:cNvSpPr>
          <p:nvPr userDrawn="1"/>
        </p:nvSpPr>
        <p:spPr bwMode="auto">
          <a:xfrm>
            <a:off x="14061155" y="6327059"/>
            <a:ext cx="228585" cy="200026"/>
          </a:xfrm>
          <a:custGeom>
            <a:avLst/>
            <a:gdLst>
              <a:gd name="T0" fmla="*/ 38 w 72"/>
              <a:gd name="T1" fmla="*/ 53 h 63"/>
              <a:gd name="T2" fmla="*/ 10 w 72"/>
              <a:gd name="T3" fmla="*/ 25 h 63"/>
              <a:gd name="T4" fmla="*/ 10 w 72"/>
              <a:gd name="T5" fmla="*/ 22 h 63"/>
              <a:gd name="T6" fmla="*/ 7 w 72"/>
              <a:gd name="T7" fmla="*/ 16 h 63"/>
              <a:gd name="T8" fmla="*/ 0 w 72"/>
              <a:gd name="T9" fmla="*/ 9 h 63"/>
              <a:gd name="T10" fmla="*/ 0 w 72"/>
              <a:gd name="T11" fmla="*/ 6 h 63"/>
              <a:gd name="T12" fmla="*/ 3 w 72"/>
              <a:gd name="T13" fmla="*/ 0 h 63"/>
              <a:gd name="T14" fmla="*/ 10 w 72"/>
              <a:gd name="T15" fmla="*/ 6 h 63"/>
              <a:gd name="T16" fmla="*/ 10 w 72"/>
              <a:gd name="T17" fmla="*/ 3 h 63"/>
              <a:gd name="T18" fmla="*/ 16 w 72"/>
              <a:gd name="T19" fmla="*/ 3 h 63"/>
              <a:gd name="T20" fmla="*/ 22 w 72"/>
              <a:gd name="T21" fmla="*/ 0 h 63"/>
              <a:gd name="T22" fmla="*/ 28 w 72"/>
              <a:gd name="T23" fmla="*/ 0 h 63"/>
              <a:gd name="T24" fmla="*/ 32 w 72"/>
              <a:gd name="T25" fmla="*/ 3 h 63"/>
              <a:gd name="T26" fmla="*/ 38 w 72"/>
              <a:gd name="T27" fmla="*/ 3 h 63"/>
              <a:gd name="T28" fmla="*/ 44 w 72"/>
              <a:gd name="T29" fmla="*/ 3 h 63"/>
              <a:gd name="T30" fmla="*/ 50 w 72"/>
              <a:gd name="T31" fmla="*/ 3 h 63"/>
              <a:gd name="T32" fmla="*/ 60 w 72"/>
              <a:gd name="T33" fmla="*/ 6 h 63"/>
              <a:gd name="T34" fmla="*/ 63 w 72"/>
              <a:gd name="T35" fmla="*/ 9 h 63"/>
              <a:gd name="T36" fmla="*/ 66 w 72"/>
              <a:gd name="T37" fmla="*/ 13 h 63"/>
              <a:gd name="T38" fmla="*/ 63 w 72"/>
              <a:gd name="T39" fmla="*/ 22 h 63"/>
              <a:gd name="T40" fmla="*/ 69 w 72"/>
              <a:gd name="T41" fmla="*/ 28 h 63"/>
              <a:gd name="T42" fmla="*/ 72 w 72"/>
              <a:gd name="T43" fmla="*/ 31 h 63"/>
              <a:gd name="T44" fmla="*/ 66 w 72"/>
              <a:gd name="T45" fmla="*/ 31 h 63"/>
              <a:gd name="T46" fmla="*/ 69 w 72"/>
              <a:gd name="T47" fmla="*/ 41 h 63"/>
              <a:gd name="T48" fmla="*/ 66 w 72"/>
              <a:gd name="T49" fmla="*/ 41 h 63"/>
              <a:gd name="T50" fmla="*/ 60 w 72"/>
              <a:gd name="T51" fmla="*/ 41 h 63"/>
              <a:gd name="T52" fmla="*/ 63 w 72"/>
              <a:gd name="T53" fmla="*/ 44 h 63"/>
              <a:gd name="T54" fmla="*/ 60 w 72"/>
              <a:gd name="T55" fmla="*/ 50 h 63"/>
              <a:gd name="T56" fmla="*/ 57 w 72"/>
              <a:gd name="T57" fmla="*/ 53 h 63"/>
              <a:gd name="T58" fmla="*/ 53 w 72"/>
              <a:gd name="T59" fmla="*/ 63 h 63"/>
              <a:gd name="T60" fmla="*/ 47 w 72"/>
              <a:gd name="T61" fmla="*/ 60 h 63"/>
              <a:gd name="T62" fmla="*/ 38 w 72"/>
              <a:gd name="T63" fmla="*/ 60 h 63"/>
              <a:gd name="T64" fmla="*/ 38 w 72"/>
              <a:gd name="T65" fmla="*/ 5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63">
                <a:moveTo>
                  <a:pt x="38" y="56"/>
                </a:moveTo>
                <a:lnTo>
                  <a:pt x="38" y="53"/>
                </a:lnTo>
                <a:lnTo>
                  <a:pt x="25" y="38"/>
                </a:lnTo>
                <a:lnTo>
                  <a:pt x="10" y="25"/>
                </a:lnTo>
                <a:lnTo>
                  <a:pt x="7" y="22"/>
                </a:lnTo>
                <a:lnTo>
                  <a:pt x="10" y="22"/>
                </a:lnTo>
                <a:lnTo>
                  <a:pt x="7" y="19"/>
                </a:lnTo>
                <a:lnTo>
                  <a:pt x="7" y="16"/>
                </a:lnTo>
                <a:lnTo>
                  <a:pt x="0" y="9"/>
                </a:lnTo>
                <a:lnTo>
                  <a:pt x="0" y="9"/>
                </a:lnTo>
                <a:lnTo>
                  <a:pt x="0" y="6"/>
                </a:lnTo>
                <a:lnTo>
                  <a:pt x="0" y="6"/>
                </a:lnTo>
                <a:lnTo>
                  <a:pt x="0" y="0"/>
                </a:lnTo>
                <a:lnTo>
                  <a:pt x="3" y="0"/>
                </a:lnTo>
                <a:lnTo>
                  <a:pt x="7" y="3"/>
                </a:lnTo>
                <a:lnTo>
                  <a:pt x="10" y="6"/>
                </a:lnTo>
                <a:lnTo>
                  <a:pt x="10" y="6"/>
                </a:lnTo>
                <a:lnTo>
                  <a:pt x="10" y="3"/>
                </a:lnTo>
                <a:lnTo>
                  <a:pt x="16" y="0"/>
                </a:lnTo>
                <a:lnTo>
                  <a:pt x="16" y="3"/>
                </a:lnTo>
                <a:lnTo>
                  <a:pt x="19" y="0"/>
                </a:lnTo>
                <a:lnTo>
                  <a:pt x="22" y="0"/>
                </a:lnTo>
                <a:lnTo>
                  <a:pt x="25" y="0"/>
                </a:lnTo>
                <a:lnTo>
                  <a:pt x="28" y="0"/>
                </a:lnTo>
                <a:lnTo>
                  <a:pt x="28" y="3"/>
                </a:lnTo>
                <a:lnTo>
                  <a:pt x="32" y="3"/>
                </a:lnTo>
                <a:lnTo>
                  <a:pt x="35" y="3"/>
                </a:lnTo>
                <a:lnTo>
                  <a:pt x="38" y="3"/>
                </a:lnTo>
                <a:lnTo>
                  <a:pt x="41" y="3"/>
                </a:lnTo>
                <a:lnTo>
                  <a:pt x="44" y="3"/>
                </a:lnTo>
                <a:lnTo>
                  <a:pt x="47" y="3"/>
                </a:lnTo>
                <a:lnTo>
                  <a:pt x="50" y="3"/>
                </a:lnTo>
                <a:lnTo>
                  <a:pt x="57" y="6"/>
                </a:lnTo>
                <a:lnTo>
                  <a:pt x="60" y="6"/>
                </a:lnTo>
                <a:lnTo>
                  <a:pt x="63" y="9"/>
                </a:lnTo>
                <a:lnTo>
                  <a:pt x="63" y="9"/>
                </a:lnTo>
                <a:lnTo>
                  <a:pt x="66" y="9"/>
                </a:lnTo>
                <a:lnTo>
                  <a:pt x="66" y="13"/>
                </a:lnTo>
                <a:lnTo>
                  <a:pt x="63" y="19"/>
                </a:lnTo>
                <a:lnTo>
                  <a:pt x="63" y="22"/>
                </a:lnTo>
                <a:lnTo>
                  <a:pt x="69" y="25"/>
                </a:lnTo>
                <a:lnTo>
                  <a:pt x="69" y="28"/>
                </a:lnTo>
                <a:lnTo>
                  <a:pt x="72" y="28"/>
                </a:lnTo>
                <a:lnTo>
                  <a:pt x="72" y="31"/>
                </a:lnTo>
                <a:lnTo>
                  <a:pt x="69" y="28"/>
                </a:lnTo>
                <a:lnTo>
                  <a:pt x="66" y="31"/>
                </a:lnTo>
                <a:lnTo>
                  <a:pt x="66" y="34"/>
                </a:lnTo>
                <a:lnTo>
                  <a:pt x="69" y="41"/>
                </a:lnTo>
                <a:lnTo>
                  <a:pt x="69" y="41"/>
                </a:lnTo>
                <a:lnTo>
                  <a:pt x="66" y="41"/>
                </a:lnTo>
                <a:lnTo>
                  <a:pt x="63" y="38"/>
                </a:lnTo>
                <a:lnTo>
                  <a:pt x="60" y="41"/>
                </a:lnTo>
                <a:lnTo>
                  <a:pt x="60" y="44"/>
                </a:lnTo>
                <a:lnTo>
                  <a:pt x="63" y="44"/>
                </a:lnTo>
                <a:lnTo>
                  <a:pt x="63" y="47"/>
                </a:lnTo>
                <a:lnTo>
                  <a:pt x="60" y="50"/>
                </a:lnTo>
                <a:lnTo>
                  <a:pt x="60" y="50"/>
                </a:lnTo>
                <a:lnTo>
                  <a:pt x="57" y="53"/>
                </a:lnTo>
                <a:lnTo>
                  <a:pt x="57" y="60"/>
                </a:lnTo>
                <a:lnTo>
                  <a:pt x="53" y="63"/>
                </a:lnTo>
                <a:lnTo>
                  <a:pt x="53" y="63"/>
                </a:lnTo>
                <a:lnTo>
                  <a:pt x="47" y="60"/>
                </a:lnTo>
                <a:lnTo>
                  <a:pt x="47" y="60"/>
                </a:lnTo>
                <a:lnTo>
                  <a:pt x="38" y="60"/>
                </a:lnTo>
                <a:lnTo>
                  <a:pt x="38" y="56"/>
                </a:lnTo>
                <a:lnTo>
                  <a:pt x="38" y="5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4" name="Freeform 62">
            <a:extLst>
              <a:ext uri="{FF2B5EF4-FFF2-40B4-BE49-F238E27FC236}">
                <a16:creationId xmlns:a16="http://schemas.microsoft.com/office/drawing/2014/main" id="{97B7A77F-8433-BE01-679E-3BA4F6A72EB4}"/>
              </a:ext>
            </a:extLst>
          </p:cNvPr>
          <p:cNvSpPr>
            <a:spLocks/>
          </p:cNvSpPr>
          <p:nvPr userDrawn="1"/>
        </p:nvSpPr>
        <p:spPr bwMode="auto">
          <a:xfrm>
            <a:off x="13924643" y="6209581"/>
            <a:ext cx="187314" cy="117478"/>
          </a:xfrm>
          <a:custGeom>
            <a:avLst/>
            <a:gdLst>
              <a:gd name="T0" fmla="*/ 3 w 59"/>
              <a:gd name="T1" fmla="*/ 37 h 37"/>
              <a:gd name="T2" fmla="*/ 9 w 59"/>
              <a:gd name="T3" fmla="*/ 34 h 37"/>
              <a:gd name="T4" fmla="*/ 15 w 59"/>
              <a:gd name="T5" fmla="*/ 31 h 37"/>
              <a:gd name="T6" fmla="*/ 18 w 59"/>
              <a:gd name="T7" fmla="*/ 31 h 37"/>
              <a:gd name="T8" fmla="*/ 25 w 59"/>
              <a:gd name="T9" fmla="*/ 34 h 37"/>
              <a:gd name="T10" fmla="*/ 31 w 59"/>
              <a:gd name="T11" fmla="*/ 34 h 37"/>
              <a:gd name="T12" fmla="*/ 31 w 59"/>
              <a:gd name="T13" fmla="*/ 28 h 37"/>
              <a:gd name="T14" fmla="*/ 37 w 59"/>
              <a:gd name="T15" fmla="*/ 25 h 37"/>
              <a:gd name="T16" fmla="*/ 37 w 59"/>
              <a:gd name="T17" fmla="*/ 18 h 37"/>
              <a:gd name="T18" fmla="*/ 50 w 59"/>
              <a:gd name="T19" fmla="*/ 12 h 37"/>
              <a:gd name="T20" fmla="*/ 59 w 59"/>
              <a:gd name="T21" fmla="*/ 12 h 37"/>
              <a:gd name="T22" fmla="*/ 59 w 59"/>
              <a:gd name="T23" fmla="*/ 6 h 37"/>
              <a:gd name="T24" fmla="*/ 53 w 59"/>
              <a:gd name="T25" fmla="*/ 0 h 37"/>
              <a:gd name="T26" fmla="*/ 46 w 59"/>
              <a:gd name="T27" fmla="*/ 0 h 37"/>
              <a:gd name="T28" fmla="*/ 40 w 59"/>
              <a:gd name="T29" fmla="*/ 6 h 37"/>
              <a:gd name="T30" fmla="*/ 37 w 59"/>
              <a:gd name="T31" fmla="*/ 6 h 37"/>
              <a:gd name="T32" fmla="*/ 34 w 59"/>
              <a:gd name="T33" fmla="*/ 6 h 37"/>
              <a:gd name="T34" fmla="*/ 31 w 59"/>
              <a:gd name="T35" fmla="*/ 9 h 37"/>
              <a:gd name="T36" fmla="*/ 25 w 59"/>
              <a:gd name="T37" fmla="*/ 9 h 37"/>
              <a:gd name="T38" fmla="*/ 21 w 59"/>
              <a:gd name="T39" fmla="*/ 9 h 37"/>
              <a:gd name="T40" fmla="*/ 18 w 59"/>
              <a:gd name="T41" fmla="*/ 6 h 37"/>
              <a:gd name="T42" fmla="*/ 9 w 59"/>
              <a:gd name="T43" fmla="*/ 6 h 37"/>
              <a:gd name="T44" fmla="*/ 6 w 59"/>
              <a:gd name="T45" fmla="*/ 6 h 37"/>
              <a:gd name="T46" fmla="*/ 3 w 59"/>
              <a:gd name="T47" fmla="*/ 12 h 37"/>
              <a:gd name="T48" fmla="*/ 3 w 59"/>
              <a:gd name="T49" fmla="*/ 15 h 37"/>
              <a:gd name="T50" fmla="*/ 0 w 59"/>
              <a:gd name="T51" fmla="*/ 21 h 37"/>
              <a:gd name="T52" fmla="*/ 3 w 59"/>
              <a:gd name="T53" fmla="*/ 28 h 37"/>
              <a:gd name="T54" fmla="*/ 3 w 59"/>
              <a:gd name="T55" fmla="*/ 28 h 37"/>
              <a:gd name="T56" fmla="*/ 6 w 59"/>
              <a:gd name="T57" fmla="*/ 28 h 37"/>
              <a:gd name="T58" fmla="*/ 6 w 59"/>
              <a:gd name="T59" fmla="*/ 31 h 37"/>
              <a:gd name="T60" fmla="*/ 3 w 59"/>
              <a:gd name="T61" fmla="*/ 31 h 37"/>
              <a:gd name="T62" fmla="*/ 3 w 59"/>
              <a:gd name="T6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 h="37">
                <a:moveTo>
                  <a:pt x="3" y="37"/>
                </a:moveTo>
                <a:lnTo>
                  <a:pt x="9" y="34"/>
                </a:lnTo>
                <a:lnTo>
                  <a:pt x="15" y="31"/>
                </a:lnTo>
                <a:lnTo>
                  <a:pt x="18" y="31"/>
                </a:lnTo>
                <a:lnTo>
                  <a:pt x="25" y="34"/>
                </a:lnTo>
                <a:lnTo>
                  <a:pt x="31" y="34"/>
                </a:lnTo>
                <a:lnTo>
                  <a:pt x="31" y="28"/>
                </a:lnTo>
                <a:lnTo>
                  <a:pt x="37" y="25"/>
                </a:lnTo>
                <a:lnTo>
                  <a:pt x="37" y="18"/>
                </a:lnTo>
                <a:lnTo>
                  <a:pt x="50" y="12"/>
                </a:lnTo>
                <a:lnTo>
                  <a:pt x="59" y="12"/>
                </a:lnTo>
                <a:lnTo>
                  <a:pt x="59" y="6"/>
                </a:lnTo>
                <a:lnTo>
                  <a:pt x="53" y="0"/>
                </a:lnTo>
                <a:lnTo>
                  <a:pt x="46" y="0"/>
                </a:lnTo>
                <a:lnTo>
                  <a:pt x="40" y="6"/>
                </a:lnTo>
                <a:lnTo>
                  <a:pt x="37" y="6"/>
                </a:lnTo>
                <a:lnTo>
                  <a:pt x="34" y="6"/>
                </a:lnTo>
                <a:lnTo>
                  <a:pt x="31" y="9"/>
                </a:lnTo>
                <a:lnTo>
                  <a:pt x="25" y="9"/>
                </a:lnTo>
                <a:lnTo>
                  <a:pt x="21" y="9"/>
                </a:lnTo>
                <a:lnTo>
                  <a:pt x="18" y="6"/>
                </a:lnTo>
                <a:lnTo>
                  <a:pt x="9" y="6"/>
                </a:lnTo>
                <a:lnTo>
                  <a:pt x="6" y="6"/>
                </a:lnTo>
                <a:lnTo>
                  <a:pt x="3" y="12"/>
                </a:lnTo>
                <a:lnTo>
                  <a:pt x="3" y="15"/>
                </a:lnTo>
                <a:lnTo>
                  <a:pt x="0" y="21"/>
                </a:lnTo>
                <a:lnTo>
                  <a:pt x="3" y="28"/>
                </a:lnTo>
                <a:lnTo>
                  <a:pt x="3" y="28"/>
                </a:lnTo>
                <a:lnTo>
                  <a:pt x="6" y="28"/>
                </a:lnTo>
                <a:lnTo>
                  <a:pt x="6" y="31"/>
                </a:lnTo>
                <a:lnTo>
                  <a:pt x="3" y="31"/>
                </a:lnTo>
                <a:lnTo>
                  <a:pt x="3" y="3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5" name="Freeform 63">
            <a:extLst>
              <a:ext uri="{FF2B5EF4-FFF2-40B4-BE49-F238E27FC236}">
                <a16:creationId xmlns:a16="http://schemas.microsoft.com/office/drawing/2014/main" id="{02F5B7E7-4EAA-829B-C130-6DBC8032A7BF}"/>
              </a:ext>
            </a:extLst>
          </p:cNvPr>
          <p:cNvSpPr>
            <a:spLocks/>
          </p:cNvSpPr>
          <p:nvPr userDrawn="1"/>
        </p:nvSpPr>
        <p:spPr bwMode="auto">
          <a:xfrm>
            <a:off x="13696058" y="6028609"/>
            <a:ext cx="425422" cy="209550"/>
          </a:xfrm>
          <a:custGeom>
            <a:avLst/>
            <a:gdLst>
              <a:gd name="T0" fmla="*/ 81 w 134"/>
              <a:gd name="T1" fmla="*/ 63 h 66"/>
              <a:gd name="T2" fmla="*/ 93 w 134"/>
              <a:gd name="T3" fmla="*/ 66 h 66"/>
              <a:gd name="T4" fmla="*/ 103 w 134"/>
              <a:gd name="T5" fmla="*/ 66 h 66"/>
              <a:gd name="T6" fmla="*/ 109 w 134"/>
              <a:gd name="T7" fmla="*/ 63 h 66"/>
              <a:gd name="T8" fmla="*/ 118 w 134"/>
              <a:gd name="T9" fmla="*/ 57 h 66"/>
              <a:gd name="T10" fmla="*/ 128 w 134"/>
              <a:gd name="T11" fmla="*/ 53 h 66"/>
              <a:gd name="T12" fmla="*/ 128 w 134"/>
              <a:gd name="T13" fmla="*/ 44 h 66"/>
              <a:gd name="T14" fmla="*/ 125 w 134"/>
              <a:gd name="T15" fmla="*/ 38 h 66"/>
              <a:gd name="T16" fmla="*/ 134 w 134"/>
              <a:gd name="T17" fmla="*/ 35 h 66"/>
              <a:gd name="T18" fmla="*/ 134 w 134"/>
              <a:gd name="T19" fmla="*/ 25 h 66"/>
              <a:gd name="T20" fmla="*/ 134 w 134"/>
              <a:gd name="T21" fmla="*/ 10 h 66"/>
              <a:gd name="T22" fmla="*/ 122 w 134"/>
              <a:gd name="T23" fmla="*/ 6 h 66"/>
              <a:gd name="T24" fmla="*/ 112 w 134"/>
              <a:gd name="T25" fmla="*/ 6 h 66"/>
              <a:gd name="T26" fmla="*/ 100 w 134"/>
              <a:gd name="T27" fmla="*/ 3 h 66"/>
              <a:gd name="T28" fmla="*/ 93 w 134"/>
              <a:gd name="T29" fmla="*/ 3 h 66"/>
              <a:gd name="T30" fmla="*/ 90 w 134"/>
              <a:gd name="T31" fmla="*/ 10 h 66"/>
              <a:gd name="T32" fmla="*/ 84 w 134"/>
              <a:gd name="T33" fmla="*/ 13 h 66"/>
              <a:gd name="T34" fmla="*/ 72 w 134"/>
              <a:gd name="T35" fmla="*/ 6 h 66"/>
              <a:gd name="T36" fmla="*/ 72 w 134"/>
              <a:gd name="T37" fmla="*/ 13 h 66"/>
              <a:gd name="T38" fmla="*/ 65 w 134"/>
              <a:gd name="T39" fmla="*/ 16 h 66"/>
              <a:gd name="T40" fmla="*/ 56 w 134"/>
              <a:gd name="T41" fmla="*/ 25 h 66"/>
              <a:gd name="T42" fmla="*/ 62 w 134"/>
              <a:gd name="T43" fmla="*/ 31 h 66"/>
              <a:gd name="T44" fmla="*/ 59 w 134"/>
              <a:gd name="T45" fmla="*/ 35 h 66"/>
              <a:gd name="T46" fmla="*/ 50 w 134"/>
              <a:gd name="T47" fmla="*/ 35 h 66"/>
              <a:gd name="T48" fmla="*/ 43 w 134"/>
              <a:gd name="T49" fmla="*/ 35 h 66"/>
              <a:gd name="T50" fmla="*/ 34 w 134"/>
              <a:gd name="T51" fmla="*/ 38 h 66"/>
              <a:gd name="T52" fmla="*/ 28 w 134"/>
              <a:gd name="T53" fmla="*/ 38 h 66"/>
              <a:gd name="T54" fmla="*/ 18 w 134"/>
              <a:gd name="T55" fmla="*/ 35 h 66"/>
              <a:gd name="T56" fmla="*/ 15 w 134"/>
              <a:gd name="T57" fmla="*/ 41 h 66"/>
              <a:gd name="T58" fmla="*/ 9 w 134"/>
              <a:gd name="T59" fmla="*/ 41 h 66"/>
              <a:gd name="T60" fmla="*/ 3 w 134"/>
              <a:gd name="T61" fmla="*/ 38 h 66"/>
              <a:gd name="T62" fmla="*/ 0 w 134"/>
              <a:gd name="T63" fmla="*/ 38 h 66"/>
              <a:gd name="T64" fmla="*/ 0 w 134"/>
              <a:gd name="T65" fmla="*/ 44 h 66"/>
              <a:gd name="T66" fmla="*/ 3 w 134"/>
              <a:gd name="T67" fmla="*/ 50 h 66"/>
              <a:gd name="T68" fmla="*/ 9 w 134"/>
              <a:gd name="T69" fmla="*/ 47 h 66"/>
              <a:gd name="T70" fmla="*/ 15 w 134"/>
              <a:gd name="T71" fmla="*/ 50 h 66"/>
              <a:gd name="T72" fmla="*/ 22 w 134"/>
              <a:gd name="T73" fmla="*/ 53 h 66"/>
              <a:gd name="T74" fmla="*/ 28 w 134"/>
              <a:gd name="T75" fmla="*/ 53 h 66"/>
              <a:gd name="T76" fmla="*/ 40 w 134"/>
              <a:gd name="T77" fmla="*/ 50 h 66"/>
              <a:gd name="T78" fmla="*/ 47 w 134"/>
              <a:gd name="T79" fmla="*/ 53 h 66"/>
              <a:gd name="T80" fmla="*/ 68 w 134"/>
              <a:gd name="T81" fmla="*/ 63 h 66"/>
              <a:gd name="T82" fmla="*/ 78 w 134"/>
              <a:gd name="T83" fmla="*/ 6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4" h="66">
                <a:moveTo>
                  <a:pt x="78" y="63"/>
                </a:moveTo>
                <a:lnTo>
                  <a:pt x="81" y="63"/>
                </a:lnTo>
                <a:lnTo>
                  <a:pt x="90" y="63"/>
                </a:lnTo>
                <a:lnTo>
                  <a:pt x="93" y="66"/>
                </a:lnTo>
                <a:lnTo>
                  <a:pt x="97" y="66"/>
                </a:lnTo>
                <a:lnTo>
                  <a:pt x="103" y="66"/>
                </a:lnTo>
                <a:lnTo>
                  <a:pt x="106" y="63"/>
                </a:lnTo>
                <a:lnTo>
                  <a:pt x="109" y="63"/>
                </a:lnTo>
                <a:lnTo>
                  <a:pt x="112" y="63"/>
                </a:lnTo>
                <a:lnTo>
                  <a:pt x="118" y="57"/>
                </a:lnTo>
                <a:lnTo>
                  <a:pt x="125" y="57"/>
                </a:lnTo>
                <a:lnTo>
                  <a:pt x="128" y="53"/>
                </a:lnTo>
                <a:lnTo>
                  <a:pt x="128" y="47"/>
                </a:lnTo>
                <a:lnTo>
                  <a:pt x="128" y="44"/>
                </a:lnTo>
                <a:lnTo>
                  <a:pt x="128" y="41"/>
                </a:lnTo>
                <a:lnTo>
                  <a:pt x="125" y="38"/>
                </a:lnTo>
                <a:lnTo>
                  <a:pt x="125" y="35"/>
                </a:lnTo>
                <a:lnTo>
                  <a:pt x="134" y="35"/>
                </a:lnTo>
                <a:lnTo>
                  <a:pt x="134" y="31"/>
                </a:lnTo>
                <a:lnTo>
                  <a:pt x="134" y="25"/>
                </a:lnTo>
                <a:lnTo>
                  <a:pt x="134" y="16"/>
                </a:lnTo>
                <a:lnTo>
                  <a:pt x="134" y="10"/>
                </a:lnTo>
                <a:lnTo>
                  <a:pt x="125" y="6"/>
                </a:lnTo>
                <a:lnTo>
                  <a:pt x="122" y="6"/>
                </a:lnTo>
                <a:lnTo>
                  <a:pt x="118" y="6"/>
                </a:lnTo>
                <a:lnTo>
                  <a:pt x="112" y="6"/>
                </a:lnTo>
                <a:lnTo>
                  <a:pt x="106" y="3"/>
                </a:lnTo>
                <a:lnTo>
                  <a:pt x="100" y="3"/>
                </a:lnTo>
                <a:lnTo>
                  <a:pt x="97" y="0"/>
                </a:lnTo>
                <a:lnTo>
                  <a:pt x="93" y="3"/>
                </a:lnTo>
                <a:lnTo>
                  <a:pt x="93" y="6"/>
                </a:lnTo>
                <a:lnTo>
                  <a:pt x="90" y="10"/>
                </a:lnTo>
                <a:lnTo>
                  <a:pt x="87" y="10"/>
                </a:lnTo>
                <a:lnTo>
                  <a:pt x="84" y="13"/>
                </a:lnTo>
                <a:lnTo>
                  <a:pt x="75" y="6"/>
                </a:lnTo>
                <a:lnTo>
                  <a:pt x="72" y="6"/>
                </a:lnTo>
                <a:lnTo>
                  <a:pt x="72" y="10"/>
                </a:lnTo>
                <a:lnTo>
                  <a:pt x="72" y="13"/>
                </a:lnTo>
                <a:lnTo>
                  <a:pt x="68" y="13"/>
                </a:lnTo>
                <a:lnTo>
                  <a:pt x="65" y="16"/>
                </a:lnTo>
                <a:lnTo>
                  <a:pt x="62" y="19"/>
                </a:lnTo>
                <a:lnTo>
                  <a:pt x="56" y="25"/>
                </a:lnTo>
                <a:lnTo>
                  <a:pt x="56" y="28"/>
                </a:lnTo>
                <a:lnTo>
                  <a:pt x="62" y="31"/>
                </a:lnTo>
                <a:lnTo>
                  <a:pt x="62" y="35"/>
                </a:lnTo>
                <a:lnTo>
                  <a:pt x="59" y="35"/>
                </a:lnTo>
                <a:lnTo>
                  <a:pt x="56" y="35"/>
                </a:lnTo>
                <a:lnTo>
                  <a:pt x="50" y="35"/>
                </a:lnTo>
                <a:lnTo>
                  <a:pt x="47" y="35"/>
                </a:lnTo>
                <a:lnTo>
                  <a:pt x="43" y="35"/>
                </a:lnTo>
                <a:lnTo>
                  <a:pt x="37" y="38"/>
                </a:lnTo>
                <a:lnTo>
                  <a:pt x="34" y="38"/>
                </a:lnTo>
                <a:lnTo>
                  <a:pt x="31" y="38"/>
                </a:lnTo>
                <a:lnTo>
                  <a:pt x="28" y="38"/>
                </a:lnTo>
                <a:lnTo>
                  <a:pt x="25" y="38"/>
                </a:lnTo>
                <a:lnTo>
                  <a:pt x="18" y="35"/>
                </a:lnTo>
                <a:lnTo>
                  <a:pt x="12" y="38"/>
                </a:lnTo>
                <a:lnTo>
                  <a:pt x="15" y="41"/>
                </a:lnTo>
                <a:lnTo>
                  <a:pt x="12" y="41"/>
                </a:lnTo>
                <a:lnTo>
                  <a:pt x="9" y="41"/>
                </a:lnTo>
                <a:lnTo>
                  <a:pt x="6" y="38"/>
                </a:lnTo>
                <a:lnTo>
                  <a:pt x="3" y="38"/>
                </a:lnTo>
                <a:lnTo>
                  <a:pt x="0" y="38"/>
                </a:lnTo>
                <a:lnTo>
                  <a:pt x="0" y="38"/>
                </a:lnTo>
                <a:lnTo>
                  <a:pt x="0" y="41"/>
                </a:lnTo>
                <a:lnTo>
                  <a:pt x="0" y="44"/>
                </a:lnTo>
                <a:lnTo>
                  <a:pt x="3" y="44"/>
                </a:lnTo>
                <a:lnTo>
                  <a:pt x="3" y="50"/>
                </a:lnTo>
                <a:lnTo>
                  <a:pt x="6" y="50"/>
                </a:lnTo>
                <a:lnTo>
                  <a:pt x="9" y="47"/>
                </a:lnTo>
                <a:lnTo>
                  <a:pt x="12" y="53"/>
                </a:lnTo>
                <a:lnTo>
                  <a:pt x="15" y="50"/>
                </a:lnTo>
                <a:lnTo>
                  <a:pt x="18" y="50"/>
                </a:lnTo>
                <a:lnTo>
                  <a:pt x="22" y="53"/>
                </a:lnTo>
                <a:lnTo>
                  <a:pt x="22" y="53"/>
                </a:lnTo>
                <a:lnTo>
                  <a:pt x="28" y="53"/>
                </a:lnTo>
                <a:lnTo>
                  <a:pt x="37" y="50"/>
                </a:lnTo>
                <a:lnTo>
                  <a:pt x="40" y="50"/>
                </a:lnTo>
                <a:lnTo>
                  <a:pt x="50" y="50"/>
                </a:lnTo>
                <a:lnTo>
                  <a:pt x="47" y="53"/>
                </a:lnTo>
                <a:lnTo>
                  <a:pt x="56" y="60"/>
                </a:lnTo>
                <a:lnTo>
                  <a:pt x="68" y="63"/>
                </a:lnTo>
                <a:lnTo>
                  <a:pt x="75" y="60"/>
                </a:lnTo>
                <a:lnTo>
                  <a:pt x="78" y="63"/>
                </a:lnTo>
                <a:lnTo>
                  <a:pt x="78" y="63"/>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6" name="Freeform 64">
            <a:extLst>
              <a:ext uri="{FF2B5EF4-FFF2-40B4-BE49-F238E27FC236}">
                <a16:creationId xmlns:a16="http://schemas.microsoft.com/office/drawing/2014/main" id="{A853D176-7B95-95F0-0F45-E7520FB6DEDD}"/>
              </a:ext>
            </a:extLst>
          </p:cNvPr>
          <p:cNvSpPr>
            <a:spLocks/>
          </p:cNvSpPr>
          <p:nvPr userDrawn="1"/>
        </p:nvSpPr>
        <p:spPr bwMode="auto">
          <a:xfrm>
            <a:off x="13934164" y="5533306"/>
            <a:ext cx="574641" cy="485776"/>
          </a:xfrm>
          <a:custGeom>
            <a:avLst/>
            <a:gdLst>
              <a:gd name="T0" fmla="*/ 109 w 181"/>
              <a:gd name="T1" fmla="*/ 153 h 153"/>
              <a:gd name="T2" fmla="*/ 115 w 181"/>
              <a:gd name="T3" fmla="*/ 147 h 153"/>
              <a:gd name="T4" fmla="*/ 122 w 181"/>
              <a:gd name="T5" fmla="*/ 147 h 153"/>
              <a:gd name="T6" fmla="*/ 131 w 181"/>
              <a:gd name="T7" fmla="*/ 150 h 153"/>
              <a:gd name="T8" fmla="*/ 134 w 181"/>
              <a:gd name="T9" fmla="*/ 147 h 153"/>
              <a:gd name="T10" fmla="*/ 140 w 181"/>
              <a:gd name="T11" fmla="*/ 147 h 153"/>
              <a:gd name="T12" fmla="*/ 156 w 181"/>
              <a:gd name="T13" fmla="*/ 153 h 153"/>
              <a:gd name="T14" fmla="*/ 162 w 181"/>
              <a:gd name="T15" fmla="*/ 147 h 153"/>
              <a:gd name="T16" fmla="*/ 172 w 181"/>
              <a:gd name="T17" fmla="*/ 128 h 153"/>
              <a:gd name="T18" fmla="*/ 178 w 181"/>
              <a:gd name="T19" fmla="*/ 119 h 153"/>
              <a:gd name="T20" fmla="*/ 181 w 181"/>
              <a:gd name="T21" fmla="*/ 112 h 153"/>
              <a:gd name="T22" fmla="*/ 178 w 181"/>
              <a:gd name="T23" fmla="*/ 106 h 153"/>
              <a:gd name="T24" fmla="*/ 175 w 181"/>
              <a:gd name="T25" fmla="*/ 103 h 153"/>
              <a:gd name="T26" fmla="*/ 172 w 181"/>
              <a:gd name="T27" fmla="*/ 94 h 153"/>
              <a:gd name="T28" fmla="*/ 172 w 181"/>
              <a:gd name="T29" fmla="*/ 78 h 153"/>
              <a:gd name="T30" fmla="*/ 165 w 181"/>
              <a:gd name="T31" fmla="*/ 65 h 153"/>
              <a:gd name="T32" fmla="*/ 172 w 181"/>
              <a:gd name="T33" fmla="*/ 59 h 153"/>
              <a:gd name="T34" fmla="*/ 172 w 181"/>
              <a:gd name="T35" fmla="*/ 47 h 153"/>
              <a:gd name="T36" fmla="*/ 165 w 181"/>
              <a:gd name="T37" fmla="*/ 37 h 153"/>
              <a:gd name="T38" fmla="*/ 159 w 181"/>
              <a:gd name="T39" fmla="*/ 22 h 153"/>
              <a:gd name="T40" fmla="*/ 159 w 181"/>
              <a:gd name="T41" fmla="*/ 12 h 153"/>
              <a:gd name="T42" fmla="*/ 153 w 181"/>
              <a:gd name="T43" fmla="*/ 6 h 153"/>
              <a:gd name="T44" fmla="*/ 100 w 181"/>
              <a:gd name="T45" fmla="*/ 9 h 153"/>
              <a:gd name="T46" fmla="*/ 90 w 181"/>
              <a:gd name="T47" fmla="*/ 15 h 153"/>
              <a:gd name="T48" fmla="*/ 84 w 181"/>
              <a:gd name="T49" fmla="*/ 15 h 153"/>
              <a:gd name="T50" fmla="*/ 97 w 181"/>
              <a:gd name="T51" fmla="*/ 6 h 153"/>
              <a:gd name="T52" fmla="*/ 90 w 181"/>
              <a:gd name="T53" fmla="*/ 12 h 153"/>
              <a:gd name="T54" fmla="*/ 75 w 181"/>
              <a:gd name="T55" fmla="*/ 12 h 153"/>
              <a:gd name="T56" fmla="*/ 75 w 181"/>
              <a:gd name="T57" fmla="*/ 3 h 153"/>
              <a:gd name="T58" fmla="*/ 81 w 181"/>
              <a:gd name="T59" fmla="*/ 6 h 153"/>
              <a:gd name="T60" fmla="*/ 75 w 181"/>
              <a:gd name="T61" fmla="*/ 3 h 153"/>
              <a:gd name="T62" fmla="*/ 56 w 181"/>
              <a:gd name="T63" fmla="*/ 3 h 153"/>
              <a:gd name="T64" fmla="*/ 47 w 181"/>
              <a:gd name="T65" fmla="*/ 6 h 153"/>
              <a:gd name="T66" fmla="*/ 37 w 181"/>
              <a:gd name="T67" fmla="*/ 9 h 153"/>
              <a:gd name="T68" fmla="*/ 34 w 181"/>
              <a:gd name="T69" fmla="*/ 19 h 153"/>
              <a:gd name="T70" fmla="*/ 18 w 181"/>
              <a:gd name="T71" fmla="*/ 22 h 153"/>
              <a:gd name="T72" fmla="*/ 9 w 181"/>
              <a:gd name="T73" fmla="*/ 28 h 153"/>
              <a:gd name="T74" fmla="*/ 6 w 181"/>
              <a:gd name="T75" fmla="*/ 34 h 153"/>
              <a:gd name="T76" fmla="*/ 6 w 181"/>
              <a:gd name="T77" fmla="*/ 34 h 153"/>
              <a:gd name="T78" fmla="*/ 6 w 181"/>
              <a:gd name="T79" fmla="*/ 50 h 153"/>
              <a:gd name="T80" fmla="*/ 0 w 181"/>
              <a:gd name="T81" fmla="*/ 56 h 153"/>
              <a:gd name="T82" fmla="*/ 6 w 181"/>
              <a:gd name="T83" fmla="*/ 65 h 153"/>
              <a:gd name="T84" fmla="*/ 9 w 181"/>
              <a:gd name="T85" fmla="*/ 75 h 153"/>
              <a:gd name="T86" fmla="*/ 9 w 181"/>
              <a:gd name="T87" fmla="*/ 81 h 153"/>
              <a:gd name="T88" fmla="*/ 15 w 181"/>
              <a:gd name="T89" fmla="*/ 91 h 153"/>
              <a:gd name="T90" fmla="*/ 18 w 181"/>
              <a:gd name="T91" fmla="*/ 103 h 153"/>
              <a:gd name="T92" fmla="*/ 18 w 181"/>
              <a:gd name="T93" fmla="*/ 109 h 153"/>
              <a:gd name="T94" fmla="*/ 22 w 181"/>
              <a:gd name="T95" fmla="*/ 106 h 153"/>
              <a:gd name="T96" fmla="*/ 34 w 181"/>
              <a:gd name="T97" fmla="*/ 106 h 153"/>
              <a:gd name="T98" fmla="*/ 37 w 181"/>
              <a:gd name="T99" fmla="*/ 112 h 153"/>
              <a:gd name="T100" fmla="*/ 43 w 181"/>
              <a:gd name="T101" fmla="*/ 116 h 153"/>
              <a:gd name="T102" fmla="*/ 40 w 181"/>
              <a:gd name="T103" fmla="*/ 122 h 153"/>
              <a:gd name="T104" fmla="*/ 43 w 181"/>
              <a:gd name="T105" fmla="*/ 128 h 153"/>
              <a:gd name="T106" fmla="*/ 47 w 181"/>
              <a:gd name="T107" fmla="*/ 125 h 153"/>
              <a:gd name="T108" fmla="*/ 47 w 181"/>
              <a:gd name="T109" fmla="*/ 119 h 153"/>
              <a:gd name="T110" fmla="*/ 56 w 181"/>
              <a:gd name="T111" fmla="*/ 125 h 153"/>
              <a:gd name="T112" fmla="*/ 62 w 181"/>
              <a:gd name="T113" fmla="*/ 125 h 153"/>
              <a:gd name="T114" fmla="*/ 72 w 181"/>
              <a:gd name="T115" fmla="*/ 128 h 153"/>
              <a:gd name="T116" fmla="*/ 90 w 181"/>
              <a:gd name="T117" fmla="*/ 137 h 153"/>
              <a:gd name="T118" fmla="*/ 97 w 181"/>
              <a:gd name="T119" fmla="*/ 144 h 153"/>
              <a:gd name="T120" fmla="*/ 106 w 181"/>
              <a:gd name="T121" fmla="*/ 144 h 153"/>
              <a:gd name="T122" fmla="*/ 109 w 181"/>
              <a:gd name="T123" fmla="*/ 1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 h="153">
                <a:moveTo>
                  <a:pt x="109" y="150"/>
                </a:moveTo>
                <a:lnTo>
                  <a:pt x="109" y="153"/>
                </a:lnTo>
                <a:lnTo>
                  <a:pt x="112" y="153"/>
                </a:lnTo>
                <a:lnTo>
                  <a:pt x="115" y="147"/>
                </a:lnTo>
                <a:lnTo>
                  <a:pt x="118" y="147"/>
                </a:lnTo>
                <a:lnTo>
                  <a:pt x="122" y="147"/>
                </a:lnTo>
                <a:lnTo>
                  <a:pt x="128" y="147"/>
                </a:lnTo>
                <a:lnTo>
                  <a:pt x="131" y="150"/>
                </a:lnTo>
                <a:lnTo>
                  <a:pt x="131" y="147"/>
                </a:lnTo>
                <a:lnTo>
                  <a:pt x="134" y="147"/>
                </a:lnTo>
                <a:lnTo>
                  <a:pt x="137" y="147"/>
                </a:lnTo>
                <a:lnTo>
                  <a:pt x="140" y="147"/>
                </a:lnTo>
                <a:lnTo>
                  <a:pt x="147" y="147"/>
                </a:lnTo>
                <a:lnTo>
                  <a:pt x="156" y="153"/>
                </a:lnTo>
                <a:lnTo>
                  <a:pt x="159" y="153"/>
                </a:lnTo>
                <a:lnTo>
                  <a:pt x="162" y="147"/>
                </a:lnTo>
                <a:lnTo>
                  <a:pt x="159" y="141"/>
                </a:lnTo>
                <a:lnTo>
                  <a:pt x="172" y="128"/>
                </a:lnTo>
                <a:lnTo>
                  <a:pt x="175" y="122"/>
                </a:lnTo>
                <a:lnTo>
                  <a:pt x="178" y="119"/>
                </a:lnTo>
                <a:lnTo>
                  <a:pt x="181" y="119"/>
                </a:lnTo>
                <a:lnTo>
                  <a:pt x="181" y="112"/>
                </a:lnTo>
                <a:lnTo>
                  <a:pt x="181" y="109"/>
                </a:lnTo>
                <a:lnTo>
                  <a:pt x="178" y="106"/>
                </a:lnTo>
                <a:lnTo>
                  <a:pt x="181" y="103"/>
                </a:lnTo>
                <a:lnTo>
                  <a:pt x="175" y="103"/>
                </a:lnTo>
                <a:lnTo>
                  <a:pt x="175" y="97"/>
                </a:lnTo>
                <a:lnTo>
                  <a:pt x="172" y="94"/>
                </a:lnTo>
                <a:lnTo>
                  <a:pt x="172" y="84"/>
                </a:lnTo>
                <a:lnTo>
                  <a:pt x="172" y="78"/>
                </a:lnTo>
                <a:lnTo>
                  <a:pt x="168" y="72"/>
                </a:lnTo>
                <a:lnTo>
                  <a:pt x="165" y="65"/>
                </a:lnTo>
                <a:lnTo>
                  <a:pt x="168" y="62"/>
                </a:lnTo>
                <a:lnTo>
                  <a:pt x="172" y="59"/>
                </a:lnTo>
                <a:lnTo>
                  <a:pt x="172" y="47"/>
                </a:lnTo>
                <a:lnTo>
                  <a:pt x="172" y="47"/>
                </a:lnTo>
                <a:lnTo>
                  <a:pt x="168" y="40"/>
                </a:lnTo>
                <a:lnTo>
                  <a:pt x="165" y="37"/>
                </a:lnTo>
                <a:lnTo>
                  <a:pt x="165" y="28"/>
                </a:lnTo>
                <a:lnTo>
                  <a:pt x="159" y="22"/>
                </a:lnTo>
                <a:lnTo>
                  <a:pt x="162" y="19"/>
                </a:lnTo>
                <a:lnTo>
                  <a:pt x="159" y="12"/>
                </a:lnTo>
                <a:lnTo>
                  <a:pt x="156" y="9"/>
                </a:lnTo>
                <a:lnTo>
                  <a:pt x="153" y="6"/>
                </a:lnTo>
                <a:lnTo>
                  <a:pt x="125" y="9"/>
                </a:lnTo>
                <a:lnTo>
                  <a:pt x="100" y="9"/>
                </a:lnTo>
                <a:lnTo>
                  <a:pt x="100" y="9"/>
                </a:lnTo>
                <a:lnTo>
                  <a:pt x="90" y="15"/>
                </a:lnTo>
                <a:lnTo>
                  <a:pt x="87" y="15"/>
                </a:lnTo>
                <a:lnTo>
                  <a:pt x="84" y="15"/>
                </a:lnTo>
                <a:lnTo>
                  <a:pt x="90" y="12"/>
                </a:lnTo>
                <a:lnTo>
                  <a:pt x="97" y="6"/>
                </a:lnTo>
                <a:lnTo>
                  <a:pt x="93" y="6"/>
                </a:lnTo>
                <a:lnTo>
                  <a:pt x="90" y="12"/>
                </a:lnTo>
                <a:lnTo>
                  <a:pt x="81" y="15"/>
                </a:lnTo>
                <a:lnTo>
                  <a:pt x="75" y="12"/>
                </a:lnTo>
                <a:lnTo>
                  <a:pt x="72" y="6"/>
                </a:lnTo>
                <a:lnTo>
                  <a:pt x="75" y="3"/>
                </a:lnTo>
                <a:lnTo>
                  <a:pt x="78" y="6"/>
                </a:lnTo>
                <a:lnTo>
                  <a:pt x="81" y="6"/>
                </a:lnTo>
                <a:lnTo>
                  <a:pt x="81" y="6"/>
                </a:lnTo>
                <a:lnTo>
                  <a:pt x="75" y="3"/>
                </a:lnTo>
                <a:lnTo>
                  <a:pt x="65" y="0"/>
                </a:lnTo>
                <a:lnTo>
                  <a:pt x="56" y="3"/>
                </a:lnTo>
                <a:lnTo>
                  <a:pt x="53" y="3"/>
                </a:lnTo>
                <a:lnTo>
                  <a:pt x="47" y="6"/>
                </a:lnTo>
                <a:lnTo>
                  <a:pt x="43" y="9"/>
                </a:lnTo>
                <a:lnTo>
                  <a:pt x="37" y="9"/>
                </a:lnTo>
                <a:lnTo>
                  <a:pt x="34" y="15"/>
                </a:lnTo>
                <a:lnTo>
                  <a:pt x="34" y="19"/>
                </a:lnTo>
                <a:lnTo>
                  <a:pt x="28" y="19"/>
                </a:lnTo>
                <a:lnTo>
                  <a:pt x="18" y="22"/>
                </a:lnTo>
                <a:lnTo>
                  <a:pt x="12" y="22"/>
                </a:lnTo>
                <a:lnTo>
                  <a:pt x="9" y="28"/>
                </a:lnTo>
                <a:lnTo>
                  <a:pt x="6" y="31"/>
                </a:lnTo>
                <a:lnTo>
                  <a:pt x="6" y="34"/>
                </a:lnTo>
                <a:lnTo>
                  <a:pt x="6" y="34"/>
                </a:lnTo>
                <a:lnTo>
                  <a:pt x="6" y="34"/>
                </a:lnTo>
                <a:lnTo>
                  <a:pt x="6" y="44"/>
                </a:lnTo>
                <a:lnTo>
                  <a:pt x="6" y="50"/>
                </a:lnTo>
                <a:lnTo>
                  <a:pt x="0" y="53"/>
                </a:lnTo>
                <a:lnTo>
                  <a:pt x="0" y="56"/>
                </a:lnTo>
                <a:lnTo>
                  <a:pt x="6" y="62"/>
                </a:lnTo>
                <a:lnTo>
                  <a:pt x="6" y="65"/>
                </a:lnTo>
                <a:lnTo>
                  <a:pt x="9" y="72"/>
                </a:lnTo>
                <a:lnTo>
                  <a:pt x="9" y="75"/>
                </a:lnTo>
                <a:lnTo>
                  <a:pt x="9" y="78"/>
                </a:lnTo>
                <a:lnTo>
                  <a:pt x="9" y="81"/>
                </a:lnTo>
                <a:lnTo>
                  <a:pt x="12" y="87"/>
                </a:lnTo>
                <a:lnTo>
                  <a:pt x="15" y="91"/>
                </a:lnTo>
                <a:lnTo>
                  <a:pt x="18" y="94"/>
                </a:lnTo>
                <a:lnTo>
                  <a:pt x="18" y="103"/>
                </a:lnTo>
                <a:lnTo>
                  <a:pt x="15" y="106"/>
                </a:lnTo>
                <a:lnTo>
                  <a:pt x="18" y="109"/>
                </a:lnTo>
                <a:lnTo>
                  <a:pt x="18" y="106"/>
                </a:lnTo>
                <a:lnTo>
                  <a:pt x="22" y="106"/>
                </a:lnTo>
                <a:lnTo>
                  <a:pt x="25" y="106"/>
                </a:lnTo>
                <a:lnTo>
                  <a:pt x="34" y="106"/>
                </a:lnTo>
                <a:lnTo>
                  <a:pt x="34" y="109"/>
                </a:lnTo>
                <a:lnTo>
                  <a:pt x="37" y="112"/>
                </a:lnTo>
                <a:lnTo>
                  <a:pt x="40" y="112"/>
                </a:lnTo>
                <a:lnTo>
                  <a:pt x="43" y="116"/>
                </a:lnTo>
                <a:lnTo>
                  <a:pt x="40" y="119"/>
                </a:lnTo>
                <a:lnTo>
                  <a:pt x="40" y="122"/>
                </a:lnTo>
                <a:lnTo>
                  <a:pt x="43" y="122"/>
                </a:lnTo>
                <a:lnTo>
                  <a:pt x="43" y="128"/>
                </a:lnTo>
                <a:lnTo>
                  <a:pt x="47" y="128"/>
                </a:lnTo>
                <a:lnTo>
                  <a:pt x="47" y="125"/>
                </a:lnTo>
                <a:lnTo>
                  <a:pt x="50" y="125"/>
                </a:lnTo>
                <a:lnTo>
                  <a:pt x="47" y="119"/>
                </a:lnTo>
                <a:lnTo>
                  <a:pt x="47" y="119"/>
                </a:lnTo>
                <a:lnTo>
                  <a:pt x="56" y="125"/>
                </a:lnTo>
                <a:lnTo>
                  <a:pt x="62" y="122"/>
                </a:lnTo>
                <a:lnTo>
                  <a:pt x="62" y="125"/>
                </a:lnTo>
                <a:lnTo>
                  <a:pt x="65" y="131"/>
                </a:lnTo>
                <a:lnTo>
                  <a:pt x="72" y="128"/>
                </a:lnTo>
                <a:lnTo>
                  <a:pt x="78" y="131"/>
                </a:lnTo>
                <a:lnTo>
                  <a:pt x="90" y="137"/>
                </a:lnTo>
                <a:lnTo>
                  <a:pt x="93" y="144"/>
                </a:lnTo>
                <a:lnTo>
                  <a:pt x="97" y="144"/>
                </a:lnTo>
                <a:lnTo>
                  <a:pt x="100" y="144"/>
                </a:lnTo>
                <a:lnTo>
                  <a:pt x="106" y="144"/>
                </a:lnTo>
                <a:lnTo>
                  <a:pt x="109" y="147"/>
                </a:lnTo>
                <a:lnTo>
                  <a:pt x="109" y="15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7" name="Freeform 65">
            <a:extLst>
              <a:ext uri="{FF2B5EF4-FFF2-40B4-BE49-F238E27FC236}">
                <a16:creationId xmlns:a16="http://schemas.microsoft.com/office/drawing/2014/main" id="{D0EED0F1-2DF2-07D5-4365-4462ECF724FC}"/>
              </a:ext>
            </a:extLst>
          </p:cNvPr>
          <p:cNvSpPr>
            <a:spLocks/>
          </p:cNvSpPr>
          <p:nvPr userDrawn="1"/>
        </p:nvSpPr>
        <p:spPr bwMode="auto">
          <a:xfrm>
            <a:off x="13823046" y="5869859"/>
            <a:ext cx="457170" cy="200026"/>
          </a:xfrm>
          <a:custGeom>
            <a:avLst/>
            <a:gdLst>
              <a:gd name="T0" fmla="*/ 53 w 144"/>
              <a:gd name="T1" fmla="*/ 3 h 63"/>
              <a:gd name="T2" fmla="*/ 57 w 144"/>
              <a:gd name="T3" fmla="*/ 0 h 63"/>
              <a:gd name="T4" fmla="*/ 69 w 144"/>
              <a:gd name="T5" fmla="*/ 0 h 63"/>
              <a:gd name="T6" fmla="*/ 72 w 144"/>
              <a:gd name="T7" fmla="*/ 6 h 63"/>
              <a:gd name="T8" fmla="*/ 78 w 144"/>
              <a:gd name="T9" fmla="*/ 10 h 63"/>
              <a:gd name="T10" fmla="*/ 75 w 144"/>
              <a:gd name="T11" fmla="*/ 16 h 63"/>
              <a:gd name="T12" fmla="*/ 78 w 144"/>
              <a:gd name="T13" fmla="*/ 22 h 63"/>
              <a:gd name="T14" fmla="*/ 82 w 144"/>
              <a:gd name="T15" fmla="*/ 19 h 63"/>
              <a:gd name="T16" fmla="*/ 82 w 144"/>
              <a:gd name="T17" fmla="*/ 13 h 63"/>
              <a:gd name="T18" fmla="*/ 91 w 144"/>
              <a:gd name="T19" fmla="*/ 19 h 63"/>
              <a:gd name="T20" fmla="*/ 97 w 144"/>
              <a:gd name="T21" fmla="*/ 19 h 63"/>
              <a:gd name="T22" fmla="*/ 107 w 144"/>
              <a:gd name="T23" fmla="*/ 22 h 63"/>
              <a:gd name="T24" fmla="*/ 125 w 144"/>
              <a:gd name="T25" fmla="*/ 31 h 63"/>
              <a:gd name="T26" fmla="*/ 132 w 144"/>
              <a:gd name="T27" fmla="*/ 38 h 63"/>
              <a:gd name="T28" fmla="*/ 141 w 144"/>
              <a:gd name="T29" fmla="*/ 38 h 63"/>
              <a:gd name="T30" fmla="*/ 144 w 144"/>
              <a:gd name="T31" fmla="*/ 44 h 63"/>
              <a:gd name="T32" fmla="*/ 132 w 144"/>
              <a:gd name="T33" fmla="*/ 47 h 63"/>
              <a:gd name="T34" fmla="*/ 119 w 144"/>
              <a:gd name="T35" fmla="*/ 53 h 63"/>
              <a:gd name="T36" fmla="*/ 107 w 144"/>
              <a:gd name="T37" fmla="*/ 60 h 63"/>
              <a:gd name="T38" fmla="*/ 100 w 144"/>
              <a:gd name="T39" fmla="*/ 56 h 63"/>
              <a:gd name="T40" fmla="*/ 85 w 144"/>
              <a:gd name="T41" fmla="*/ 56 h 63"/>
              <a:gd name="T42" fmla="*/ 78 w 144"/>
              <a:gd name="T43" fmla="*/ 56 h 63"/>
              <a:gd name="T44" fmla="*/ 66 w 144"/>
              <a:gd name="T45" fmla="*/ 53 h 63"/>
              <a:gd name="T46" fmla="*/ 57 w 144"/>
              <a:gd name="T47" fmla="*/ 50 h 63"/>
              <a:gd name="T48" fmla="*/ 53 w 144"/>
              <a:gd name="T49" fmla="*/ 56 h 63"/>
              <a:gd name="T50" fmla="*/ 47 w 144"/>
              <a:gd name="T51" fmla="*/ 60 h 63"/>
              <a:gd name="T52" fmla="*/ 35 w 144"/>
              <a:gd name="T53" fmla="*/ 56 h 63"/>
              <a:gd name="T54" fmla="*/ 32 w 144"/>
              <a:gd name="T55" fmla="*/ 56 h 63"/>
              <a:gd name="T56" fmla="*/ 19 w 144"/>
              <a:gd name="T57" fmla="*/ 44 h 63"/>
              <a:gd name="T58" fmla="*/ 10 w 144"/>
              <a:gd name="T59" fmla="*/ 38 h 63"/>
              <a:gd name="T60" fmla="*/ 10 w 144"/>
              <a:gd name="T61" fmla="*/ 28 h 63"/>
              <a:gd name="T62" fmla="*/ 0 w 144"/>
              <a:gd name="T63" fmla="*/ 19 h 63"/>
              <a:gd name="T64" fmla="*/ 0 w 144"/>
              <a:gd name="T65" fmla="*/ 16 h 63"/>
              <a:gd name="T66" fmla="*/ 7 w 144"/>
              <a:gd name="T67" fmla="*/ 19 h 63"/>
              <a:gd name="T68" fmla="*/ 16 w 144"/>
              <a:gd name="T69" fmla="*/ 13 h 63"/>
              <a:gd name="T70" fmla="*/ 25 w 144"/>
              <a:gd name="T71" fmla="*/ 6 h 63"/>
              <a:gd name="T72" fmla="*/ 35 w 144"/>
              <a:gd name="T73" fmla="*/ 3 h 63"/>
              <a:gd name="T74" fmla="*/ 38 w 144"/>
              <a:gd name="T75" fmla="*/ 3 h 63"/>
              <a:gd name="T76" fmla="*/ 44 w 144"/>
              <a:gd name="T77" fmla="*/ 0 h 63"/>
              <a:gd name="T78" fmla="*/ 50 w 144"/>
              <a:gd name="T7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4" h="63">
                <a:moveTo>
                  <a:pt x="50" y="0"/>
                </a:moveTo>
                <a:lnTo>
                  <a:pt x="53" y="3"/>
                </a:lnTo>
                <a:lnTo>
                  <a:pt x="53" y="0"/>
                </a:lnTo>
                <a:lnTo>
                  <a:pt x="57" y="0"/>
                </a:lnTo>
                <a:lnTo>
                  <a:pt x="60" y="0"/>
                </a:lnTo>
                <a:lnTo>
                  <a:pt x="69" y="0"/>
                </a:lnTo>
                <a:lnTo>
                  <a:pt x="69" y="3"/>
                </a:lnTo>
                <a:lnTo>
                  <a:pt x="72" y="6"/>
                </a:lnTo>
                <a:lnTo>
                  <a:pt x="75" y="6"/>
                </a:lnTo>
                <a:lnTo>
                  <a:pt x="78" y="10"/>
                </a:lnTo>
                <a:lnTo>
                  <a:pt x="75" y="13"/>
                </a:lnTo>
                <a:lnTo>
                  <a:pt x="75" y="16"/>
                </a:lnTo>
                <a:lnTo>
                  <a:pt x="78" y="16"/>
                </a:lnTo>
                <a:lnTo>
                  <a:pt x="78" y="22"/>
                </a:lnTo>
                <a:lnTo>
                  <a:pt x="82" y="22"/>
                </a:lnTo>
                <a:lnTo>
                  <a:pt x="82" y="19"/>
                </a:lnTo>
                <a:lnTo>
                  <a:pt x="85" y="19"/>
                </a:lnTo>
                <a:lnTo>
                  <a:pt x="82" y="13"/>
                </a:lnTo>
                <a:lnTo>
                  <a:pt x="82" y="13"/>
                </a:lnTo>
                <a:lnTo>
                  <a:pt x="91" y="19"/>
                </a:lnTo>
                <a:lnTo>
                  <a:pt x="97" y="16"/>
                </a:lnTo>
                <a:lnTo>
                  <a:pt x="97" y="19"/>
                </a:lnTo>
                <a:lnTo>
                  <a:pt x="100" y="25"/>
                </a:lnTo>
                <a:lnTo>
                  <a:pt x="107" y="22"/>
                </a:lnTo>
                <a:lnTo>
                  <a:pt x="113" y="25"/>
                </a:lnTo>
                <a:lnTo>
                  <a:pt x="125" y="31"/>
                </a:lnTo>
                <a:lnTo>
                  <a:pt x="128" y="38"/>
                </a:lnTo>
                <a:lnTo>
                  <a:pt x="132" y="38"/>
                </a:lnTo>
                <a:lnTo>
                  <a:pt x="135" y="38"/>
                </a:lnTo>
                <a:lnTo>
                  <a:pt x="141" y="38"/>
                </a:lnTo>
                <a:lnTo>
                  <a:pt x="144" y="41"/>
                </a:lnTo>
                <a:lnTo>
                  <a:pt x="144" y="44"/>
                </a:lnTo>
                <a:lnTo>
                  <a:pt x="135" y="44"/>
                </a:lnTo>
                <a:lnTo>
                  <a:pt x="132" y="47"/>
                </a:lnTo>
                <a:lnTo>
                  <a:pt x="125" y="50"/>
                </a:lnTo>
                <a:lnTo>
                  <a:pt x="119" y="53"/>
                </a:lnTo>
                <a:lnTo>
                  <a:pt x="113" y="56"/>
                </a:lnTo>
                <a:lnTo>
                  <a:pt x="107" y="60"/>
                </a:lnTo>
                <a:lnTo>
                  <a:pt x="103" y="56"/>
                </a:lnTo>
                <a:lnTo>
                  <a:pt x="100" y="56"/>
                </a:lnTo>
                <a:lnTo>
                  <a:pt x="94" y="60"/>
                </a:lnTo>
                <a:lnTo>
                  <a:pt x="85" y="56"/>
                </a:lnTo>
                <a:lnTo>
                  <a:pt x="82" y="56"/>
                </a:lnTo>
                <a:lnTo>
                  <a:pt x="78" y="56"/>
                </a:lnTo>
                <a:lnTo>
                  <a:pt x="72" y="56"/>
                </a:lnTo>
                <a:lnTo>
                  <a:pt x="66" y="53"/>
                </a:lnTo>
                <a:lnTo>
                  <a:pt x="60" y="53"/>
                </a:lnTo>
                <a:lnTo>
                  <a:pt x="57" y="50"/>
                </a:lnTo>
                <a:lnTo>
                  <a:pt x="53" y="53"/>
                </a:lnTo>
                <a:lnTo>
                  <a:pt x="53" y="56"/>
                </a:lnTo>
                <a:lnTo>
                  <a:pt x="50" y="60"/>
                </a:lnTo>
                <a:lnTo>
                  <a:pt x="47" y="60"/>
                </a:lnTo>
                <a:lnTo>
                  <a:pt x="44" y="63"/>
                </a:lnTo>
                <a:lnTo>
                  <a:pt x="35" y="56"/>
                </a:lnTo>
                <a:lnTo>
                  <a:pt x="32" y="56"/>
                </a:lnTo>
                <a:lnTo>
                  <a:pt x="32" y="56"/>
                </a:lnTo>
                <a:lnTo>
                  <a:pt x="25" y="47"/>
                </a:lnTo>
                <a:lnTo>
                  <a:pt x="19" y="44"/>
                </a:lnTo>
                <a:lnTo>
                  <a:pt x="13" y="41"/>
                </a:lnTo>
                <a:lnTo>
                  <a:pt x="10" y="38"/>
                </a:lnTo>
                <a:lnTo>
                  <a:pt x="10" y="35"/>
                </a:lnTo>
                <a:lnTo>
                  <a:pt x="10" y="28"/>
                </a:lnTo>
                <a:lnTo>
                  <a:pt x="3" y="22"/>
                </a:lnTo>
                <a:lnTo>
                  <a:pt x="0" y="19"/>
                </a:lnTo>
                <a:lnTo>
                  <a:pt x="0" y="16"/>
                </a:lnTo>
                <a:lnTo>
                  <a:pt x="0" y="16"/>
                </a:lnTo>
                <a:lnTo>
                  <a:pt x="3" y="19"/>
                </a:lnTo>
                <a:lnTo>
                  <a:pt x="7" y="19"/>
                </a:lnTo>
                <a:lnTo>
                  <a:pt x="13" y="13"/>
                </a:lnTo>
                <a:lnTo>
                  <a:pt x="16" y="13"/>
                </a:lnTo>
                <a:lnTo>
                  <a:pt x="19" y="6"/>
                </a:lnTo>
                <a:lnTo>
                  <a:pt x="25" y="6"/>
                </a:lnTo>
                <a:lnTo>
                  <a:pt x="25" y="3"/>
                </a:lnTo>
                <a:lnTo>
                  <a:pt x="35" y="3"/>
                </a:lnTo>
                <a:lnTo>
                  <a:pt x="35" y="6"/>
                </a:lnTo>
                <a:lnTo>
                  <a:pt x="38" y="3"/>
                </a:lnTo>
                <a:lnTo>
                  <a:pt x="38" y="0"/>
                </a:lnTo>
                <a:lnTo>
                  <a:pt x="44" y="0"/>
                </a:lnTo>
                <a:lnTo>
                  <a:pt x="47" y="0"/>
                </a:lnTo>
                <a:lnTo>
                  <a:pt x="50" y="0"/>
                </a:lnTo>
                <a:lnTo>
                  <a:pt x="50" y="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8" name="Freeform 66">
            <a:extLst>
              <a:ext uri="{FF2B5EF4-FFF2-40B4-BE49-F238E27FC236}">
                <a16:creationId xmlns:a16="http://schemas.microsoft.com/office/drawing/2014/main" id="{3BAF052D-6FEE-BAA5-C27F-8C70DFCE5D77}"/>
              </a:ext>
            </a:extLst>
          </p:cNvPr>
          <p:cNvSpPr>
            <a:spLocks/>
          </p:cNvSpPr>
          <p:nvPr userDrawn="1"/>
        </p:nvSpPr>
        <p:spPr bwMode="auto">
          <a:xfrm>
            <a:off x="13467470" y="5533307"/>
            <a:ext cx="523844" cy="625478"/>
          </a:xfrm>
          <a:custGeom>
            <a:avLst/>
            <a:gdLst>
              <a:gd name="T0" fmla="*/ 59 w 165"/>
              <a:gd name="T1" fmla="*/ 3 h 197"/>
              <a:gd name="T2" fmla="*/ 69 w 165"/>
              <a:gd name="T3" fmla="*/ 12 h 197"/>
              <a:gd name="T4" fmla="*/ 72 w 165"/>
              <a:gd name="T5" fmla="*/ 22 h 197"/>
              <a:gd name="T6" fmla="*/ 81 w 165"/>
              <a:gd name="T7" fmla="*/ 19 h 197"/>
              <a:gd name="T8" fmla="*/ 90 w 165"/>
              <a:gd name="T9" fmla="*/ 19 h 197"/>
              <a:gd name="T10" fmla="*/ 84 w 165"/>
              <a:gd name="T11" fmla="*/ 25 h 197"/>
              <a:gd name="T12" fmla="*/ 94 w 165"/>
              <a:gd name="T13" fmla="*/ 28 h 197"/>
              <a:gd name="T14" fmla="*/ 109 w 165"/>
              <a:gd name="T15" fmla="*/ 22 h 197"/>
              <a:gd name="T16" fmla="*/ 115 w 165"/>
              <a:gd name="T17" fmla="*/ 15 h 197"/>
              <a:gd name="T18" fmla="*/ 115 w 165"/>
              <a:gd name="T19" fmla="*/ 19 h 197"/>
              <a:gd name="T20" fmla="*/ 122 w 165"/>
              <a:gd name="T21" fmla="*/ 19 h 197"/>
              <a:gd name="T22" fmla="*/ 134 w 165"/>
              <a:gd name="T23" fmla="*/ 25 h 197"/>
              <a:gd name="T24" fmla="*/ 144 w 165"/>
              <a:gd name="T25" fmla="*/ 34 h 197"/>
              <a:gd name="T26" fmla="*/ 153 w 165"/>
              <a:gd name="T27" fmla="*/ 44 h 197"/>
              <a:gd name="T28" fmla="*/ 153 w 165"/>
              <a:gd name="T29" fmla="*/ 62 h 197"/>
              <a:gd name="T30" fmla="*/ 156 w 165"/>
              <a:gd name="T31" fmla="*/ 78 h 197"/>
              <a:gd name="T32" fmla="*/ 165 w 165"/>
              <a:gd name="T33" fmla="*/ 94 h 197"/>
              <a:gd name="T34" fmla="*/ 156 w 165"/>
              <a:gd name="T35" fmla="*/ 106 h 197"/>
              <a:gd name="T36" fmla="*/ 147 w 165"/>
              <a:gd name="T37" fmla="*/ 109 h 197"/>
              <a:gd name="T38" fmla="*/ 128 w 165"/>
              <a:gd name="T39" fmla="*/ 119 h 197"/>
              <a:gd name="T40" fmla="*/ 112 w 165"/>
              <a:gd name="T41" fmla="*/ 122 h 197"/>
              <a:gd name="T42" fmla="*/ 122 w 165"/>
              <a:gd name="T43" fmla="*/ 134 h 197"/>
              <a:gd name="T44" fmla="*/ 131 w 165"/>
              <a:gd name="T45" fmla="*/ 150 h 197"/>
              <a:gd name="T46" fmla="*/ 144 w 165"/>
              <a:gd name="T47" fmla="*/ 169 h 197"/>
              <a:gd name="T48" fmla="*/ 128 w 165"/>
              <a:gd name="T49" fmla="*/ 181 h 197"/>
              <a:gd name="T50" fmla="*/ 131 w 165"/>
              <a:gd name="T51" fmla="*/ 191 h 197"/>
              <a:gd name="T52" fmla="*/ 115 w 165"/>
              <a:gd name="T53" fmla="*/ 191 h 197"/>
              <a:gd name="T54" fmla="*/ 100 w 165"/>
              <a:gd name="T55" fmla="*/ 194 h 197"/>
              <a:gd name="T56" fmla="*/ 87 w 165"/>
              <a:gd name="T57" fmla="*/ 197 h 197"/>
              <a:gd name="T58" fmla="*/ 75 w 165"/>
              <a:gd name="T59" fmla="*/ 194 h 197"/>
              <a:gd name="T60" fmla="*/ 62 w 165"/>
              <a:gd name="T61" fmla="*/ 191 h 197"/>
              <a:gd name="T62" fmla="*/ 56 w 165"/>
              <a:gd name="T63" fmla="*/ 187 h 197"/>
              <a:gd name="T64" fmla="*/ 44 w 165"/>
              <a:gd name="T65" fmla="*/ 191 h 197"/>
              <a:gd name="T66" fmla="*/ 37 w 165"/>
              <a:gd name="T67" fmla="*/ 187 h 197"/>
              <a:gd name="T68" fmla="*/ 37 w 165"/>
              <a:gd name="T69" fmla="*/ 172 h 197"/>
              <a:gd name="T70" fmla="*/ 40 w 165"/>
              <a:gd name="T71" fmla="*/ 156 h 197"/>
              <a:gd name="T72" fmla="*/ 25 w 165"/>
              <a:gd name="T73" fmla="*/ 153 h 197"/>
              <a:gd name="T74" fmla="*/ 15 w 165"/>
              <a:gd name="T75" fmla="*/ 150 h 197"/>
              <a:gd name="T76" fmla="*/ 9 w 165"/>
              <a:gd name="T77" fmla="*/ 137 h 197"/>
              <a:gd name="T78" fmla="*/ 6 w 165"/>
              <a:gd name="T79" fmla="*/ 122 h 197"/>
              <a:gd name="T80" fmla="*/ 3 w 165"/>
              <a:gd name="T81" fmla="*/ 109 h 197"/>
              <a:gd name="T82" fmla="*/ 3 w 165"/>
              <a:gd name="T83" fmla="*/ 91 h 197"/>
              <a:gd name="T84" fmla="*/ 19 w 165"/>
              <a:gd name="T85" fmla="*/ 84 h 197"/>
              <a:gd name="T86" fmla="*/ 22 w 165"/>
              <a:gd name="T87" fmla="*/ 72 h 197"/>
              <a:gd name="T88" fmla="*/ 15 w 165"/>
              <a:gd name="T89" fmla="*/ 65 h 197"/>
              <a:gd name="T90" fmla="*/ 25 w 165"/>
              <a:gd name="T91" fmla="*/ 59 h 197"/>
              <a:gd name="T92" fmla="*/ 28 w 165"/>
              <a:gd name="T93" fmla="*/ 50 h 197"/>
              <a:gd name="T94" fmla="*/ 22 w 165"/>
              <a:gd name="T95" fmla="*/ 44 h 197"/>
              <a:gd name="T96" fmla="*/ 37 w 165"/>
              <a:gd name="T97" fmla="*/ 37 h 197"/>
              <a:gd name="T98" fmla="*/ 40 w 165"/>
              <a:gd name="T99" fmla="*/ 40 h 197"/>
              <a:gd name="T100" fmla="*/ 44 w 165"/>
              <a:gd name="T101" fmla="*/ 44 h 197"/>
              <a:gd name="T102" fmla="*/ 47 w 165"/>
              <a:gd name="T103" fmla="*/ 37 h 197"/>
              <a:gd name="T104" fmla="*/ 59 w 165"/>
              <a:gd name="T105" fmla="*/ 31 h 197"/>
              <a:gd name="T106" fmla="*/ 59 w 165"/>
              <a:gd name="T107" fmla="*/ 31 h 197"/>
              <a:gd name="T108" fmla="*/ 56 w 165"/>
              <a:gd name="T109" fmla="*/ 25 h 197"/>
              <a:gd name="T110" fmla="*/ 47 w 165"/>
              <a:gd name="T111" fmla="*/ 15 h 197"/>
              <a:gd name="T112" fmla="*/ 50 w 165"/>
              <a:gd name="T113" fmla="*/ 6 h 197"/>
              <a:gd name="T114" fmla="*/ 47 w 165"/>
              <a:gd name="T11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5" h="197">
                <a:moveTo>
                  <a:pt x="47" y="0"/>
                </a:moveTo>
                <a:lnTo>
                  <a:pt x="50" y="0"/>
                </a:lnTo>
                <a:lnTo>
                  <a:pt x="59" y="3"/>
                </a:lnTo>
                <a:lnTo>
                  <a:pt x="59" y="3"/>
                </a:lnTo>
                <a:lnTo>
                  <a:pt x="65" y="3"/>
                </a:lnTo>
                <a:lnTo>
                  <a:pt x="69" y="6"/>
                </a:lnTo>
                <a:lnTo>
                  <a:pt x="72" y="6"/>
                </a:lnTo>
                <a:lnTo>
                  <a:pt x="69" y="12"/>
                </a:lnTo>
                <a:lnTo>
                  <a:pt x="69" y="15"/>
                </a:lnTo>
                <a:lnTo>
                  <a:pt x="69" y="15"/>
                </a:lnTo>
                <a:lnTo>
                  <a:pt x="72" y="19"/>
                </a:lnTo>
                <a:lnTo>
                  <a:pt x="72" y="22"/>
                </a:lnTo>
                <a:lnTo>
                  <a:pt x="75" y="19"/>
                </a:lnTo>
                <a:lnTo>
                  <a:pt x="78" y="15"/>
                </a:lnTo>
                <a:lnTo>
                  <a:pt x="78" y="15"/>
                </a:lnTo>
                <a:lnTo>
                  <a:pt x="81" y="19"/>
                </a:lnTo>
                <a:lnTo>
                  <a:pt x="84" y="22"/>
                </a:lnTo>
                <a:lnTo>
                  <a:pt x="87" y="19"/>
                </a:lnTo>
                <a:lnTo>
                  <a:pt x="90" y="15"/>
                </a:lnTo>
                <a:lnTo>
                  <a:pt x="90" y="19"/>
                </a:lnTo>
                <a:lnTo>
                  <a:pt x="90" y="22"/>
                </a:lnTo>
                <a:lnTo>
                  <a:pt x="87" y="25"/>
                </a:lnTo>
                <a:lnTo>
                  <a:pt x="87" y="25"/>
                </a:lnTo>
                <a:lnTo>
                  <a:pt x="84" y="25"/>
                </a:lnTo>
                <a:lnTo>
                  <a:pt x="87" y="28"/>
                </a:lnTo>
                <a:lnTo>
                  <a:pt x="90" y="28"/>
                </a:lnTo>
                <a:lnTo>
                  <a:pt x="94" y="28"/>
                </a:lnTo>
                <a:lnTo>
                  <a:pt x="94" y="28"/>
                </a:lnTo>
                <a:lnTo>
                  <a:pt x="100" y="28"/>
                </a:lnTo>
                <a:lnTo>
                  <a:pt x="100" y="25"/>
                </a:lnTo>
                <a:lnTo>
                  <a:pt x="103" y="22"/>
                </a:lnTo>
                <a:lnTo>
                  <a:pt x="109" y="22"/>
                </a:lnTo>
                <a:lnTo>
                  <a:pt x="109" y="19"/>
                </a:lnTo>
                <a:lnTo>
                  <a:pt x="112" y="19"/>
                </a:lnTo>
                <a:lnTo>
                  <a:pt x="112" y="15"/>
                </a:lnTo>
                <a:lnTo>
                  <a:pt x="115" y="15"/>
                </a:lnTo>
                <a:lnTo>
                  <a:pt x="122" y="15"/>
                </a:lnTo>
                <a:lnTo>
                  <a:pt x="115" y="15"/>
                </a:lnTo>
                <a:lnTo>
                  <a:pt x="115" y="19"/>
                </a:lnTo>
                <a:lnTo>
                  <a:pt x="115" y="19"/>
                </a:lnTo>
                <a:lnTo>
                  <a:pt x="112" y="19"/>
                </a:lnTo>
                <a:lnTo>
                  <a:pt x="112" y="22"/>
                </a:lnTo>
                <a:lnTo>
                  <a:pt x="119" y="19"/>
                </a:lnTo>
                <a:lnTo>
                  <a:pt x="122" y="19"/>
                </a:lnTo>
                <a:lnTo>
                  <a:pt x="125" y="19"/>
                </a:lnTo>
                <a:lnTo>
                  <a:pt x="125" y="19"/>
                </a:lnTo>
                <a:lnTo>
                  <a:pt x="128" y="19"/>
                </a:lnTo>
                <a:lnTo>
                  <a:pt x="134" y="25"/>
                </a:lnTo>
                <a:lnTo>
                  <a:pt x="137" y="25"/>
                </a:lnTo>
                <a:lnTo>
                  <a:pt x="140" y="28"/>
                </a:lnTo>
                <a:lnTo>
                  <a:pt x="137" y="31"/>
                </a:lnTo>
                <a:lnTo>
                  <a:pt x="144" y="34"/>
                </a:lnTo>
                <a:lnTo>
                  <a:pt x="147" y="34"/>
                </a:lnTo>
                <a:lnTo>
                  <a:pt x="147" y="34"/>
                </a:lnTo>
                <a:lnTo>
                  <a:pt x="153" y="34"/>
                </a:lnTo>
                <a:lnTo>
                  <a:pt x="153" y="44"/>
                </a:lnTo>
                <a:lnTo>
                  <a:pt x="153" y="50"/>
                </a:lnTo>
                <a:lnTo>
                  <a:pt x="147" y="53"/>
                </a:lnTo>
                <a:lnTo>
                  <a:pt x="147" y="56"/>
                </a:lnTo>
                <a:lnTo>
                  <a:pt x="153" y="62"/>
                </a:lnTo>
                <a:lnTo>
                  <a:pt x="153" y="65"/>
                </a:lnTo>
                <a:lnTo>
                  <a:pt x="156" y="72"/>
                </a:lnTo>
                <a:lnTo>
                  <a:pt x="156" y="75"/>
                </a:lnTo>
                <a:lnTo>
                  <a:pt x="156" y="78"/>
                </a:lnTo>
                <a:lnTo>
                  <a:pt x="156" y="81"/>
                </a:lnTo>
                <a:lnTo>
                  <a:pt x="159" y="87"/>
                </a:lnTo>
                <a:lnTo>
                  <a:pt x="162" y="91"/>
                </a:lnTo>
                <a:lnTo>
                  <a:pt x="165" y="94"/>
                </a:lnTo>
                <a:lnTo>
                  <a:pt x="165" y="103"/>
                </a:lnTo>
                <a:lnTo>
                  <a:pt x="162" y="106"/>
                </a:lnTo>
                <a:lnTo>
                  <a:pt x="159" y="106"/>
                </a:lnTo>
                <a:lnTo>
                  <a:pt x="156" y="106"/>
                </a:lnTo>
                <a:lnTo>
                  <a:pt x="150" y="106"/>
                </a:lnTo>
                <a:lnTo>
                  <a:pt x="150" y="109"/>
                </a:lnTo>
                <a:lnTo>
                  <a:pt x="147" y="112"/>
                </a:lnTo>
                <a:lnTo>
                  <a:pt x="147" y="109"/>
                </a:lnTo>
                <a:lnTo>
                  <a:pt x="137" y="109"/>
                </a:lnTo>
                <a:lnTo>
                  <a:pt x="137" y="112"/>
                </a:lnTo>
                <a:lnTo>
                  <a:pt x="131" y="112"/>
                </a:lnTo>
                <a:lnTo>
                  <a:pt x="128" y="119"/>
                </a:lnTo>
                <a:lnTo>
                  <a:pt x="125" y="119"/>
                </a:lnTo>
                <a:lnTo>
                  <a:pt x="119" y="125"/>
                </a:lnTo>
                <a:lnTo>
                  <a:pt x="115" y="125"/>
                </a:lnTo>
                <a:lnTo>
                  <a:pt x="112" y="122"/>
                </a:lnTo>
                <a:lnTo>
                  <a:pt x="112" y="122"/>
                </a:lnTo>
                <a:lnTo>
                  <a:pt x="112" y="125"/>
                </a:lnTo>
                <a:lnTo>
                  <a:pt x="115" y="128"/>
                </a:lnTo>
                <a:lnTo>
                  <a:pt x="122" y="134"/>
                </a:lnTo>
                <a:lnTo>
                  <a:pt x="122" y="141"/>
                </a:lnTo>
                <a:lnTo>
                  <a:pt x="122" y="144"/>
                </a:lnTo>
                <a:lnTo>
                  <a:pt x="125" y="147"/>
                </a:lnTo>
                <a:lnTo>
                  <a:pt x="131" y="150"/>
                </a:lnTo>
                <a:lnTo>
                  <a:pt x="137" y="153"/>
                </a:lnTo>
                <a:lnTo>
                  <a:pt x="144" y="162"/>
                </a:lnTo>
                <a:lnTo>
                  <a:pt x="144" y="166"/>
                </a:lnTo>
                <a:lnTo>
                  <a:pt x="144" y="169"/>
                </a:lnTo>
                <a:lnTo>
                  <a:pt x="140" y="169"/>
                </a:lnTo>
                <a:lnTo>
                  <a:pt x="137" y="172"/>
                </a:lnTo>
                <a:lnTo>
                  <a:pt x="134" y="175"/>
                </a:lnTo>
                <a:lnTo>
                  <a:pt x="128" y="181"/>
                </a:lnTo>
                <a:lnTo>
                  <a:pt x="128" y="184"/>
                </a:lnTo>
                <a:lnTo>
                  <a:pt x="134" y="187"/>
                </a:lnTo>
                <a:lnTo>
                  <a:pt x="134" y="191"/>
                </a:lnTo>
                <a:lnTo>
                  <a:pt x="131" y="191"/>
                </a:lnTo>
                <a:lnTo>
                  <a:pt x="128" y="191"/>
                </a:lnTo>
                <a:lnTo>
                  <a:pt x="122" y="191"/>
                </a:lnTo>
                <a:lnTo>
                  <a:pt x="119" y="191"/>
                </a:lnTo>
                <a:lnTo>
                  <a:pt x="115" y="191"/>
                </a:lnTo>
                <a:lnTo>
                  <a:pt x="109" y="194"/>
                </a:lnTo>
                <a:lnTo>
                  <a:pt x="106" y="194"/>
                </a:lnTo>
                <a:lnTo>
                  <a:pt x="103" y="194"/>
                </a:lnTo>
                <a:lnTo>
                  <a:pt x="100" y="194"/>
                </a:lnTo>
                <a:lnTo>
                  <a:pt x="97" y="194"/>
                </a:lnTo>
                <a:lnTo>
                  <a:pt x="90" y="191"/>
                </a:lnTo>
                <a:lnTo>
                  <a:pt x="84" y="194"/>
                </a:lnTo>
                <a:lnTo>
                  <a:pt x="87" y="197"/>
                </a:lnTo>
                <a:lnTo>
                  <a:pt x="84" y="197"/>
                </a:lnTo>
                <a:lnTo>
                  <a:pt x="81" y="197"/>
                </a:lnTo>
                <a:lnTo>
                  <a:pt x="78" y="194"/>
                </a:lnTo>
                <a:lnTo>
                  <a:pt x="75" y="194"/>
                </a:lnTo>
                <a:lnTo>
                  <a:pt x="72" y="194"/>
                </a:lnTo>
                <a:lnTo>
                  <a:pt x="72" y="194"/>
                </a:lnTo>
                <a:lnTo>
                  <a:pt x="69" y="194"/>
                </a:lnTo>
                <a:lnTo>
                  <a:pt x="62" y="191"/>
                </a:lnTo>
                <a:lnTo>
                  <a:pt x="59" y="191"/>
                </a:lnTo>
                <a:lnTo>
                  <a:pt x="59" y="191"/>
                </a:lnTo>
                <a:lnTo>
                  <a:pt x="56" y="191"/>
                </a:lnTo>
                <a:lnTo>
                  <a:pt x="56" y="187"/>
                </a:lnTo>
                <a:lnTo>
                  <a:pt x="50" y="187"/>
                </a:lnTo>
                <a:lnTo>
                  <a:pt x="50" y="191"/>
                </a:lnTo>
                <a:lnTo>
                  <a:pt x="50" y="194"/>
                </a:lnTo>
                <a:lnTo>
                  <a:pt x="44" y="191"/>
                </a:lnTo>
                <a:lnTo>
                  <a:pt x="40" y="194"/>
                </a:lnTo>
                <a:lnTo>
                  <a:pt x="37" y="194"/>
                </a:lnTo>
                <a:lnTo>
                  <a:pt x="37" y="194"/>
                </a:lnTo>
                <a:lnTo>
                  <a:pt x="37" y="187"/>
                </a:lnTo>
                <a:lnTo>
                  <a:pt x="34" y="187"/>
                </a:lnTo>
                <a:lnTo>
                  <a:pt x="34" y="181"/>
                </a:lnTo>
                <a:lnTo>
                  <a:pt x="34" y="175"/>
                </a:lnTo>
                <a:lnTo>
                  <a:pt x="37" y="172"/>
                </a:lnTo>
                <a:lnTo>
                  <a:pt x="37" y="169"/>
                </a:lnTo>
                <a:lnTo>
                  <a:pt x="40" y="162"/>
                </a:lnTo>
                <a:lnTo>
                  <a:pt x="44" y="159"/>
                </a:lnTo>
                <a:lnTo>
                  <a:pt x="40" y="156"/>
                </a:lnTo>
                <a:lnTo>
                  <a:pt x="37" y="156"/>
                </a:lnTo>
                <a:lnTo>
                  <a:pt x="31" y="153"/>
                </a:lnTo>
                <a:lnTo>
                  <a:pt x="28" y="153"/>
                </a:lnTo>
                <a:lnTo>
                  <a:pt x="25" y="153"/>
                </a:lnTo>
                <a:lnTo>
                  <a:pt x="22" y="153"/>
                </a:lnTo>
                <a:lnTo>
                  <a:pt x="19" y="156"/>
                </a:lnTo>
                <a:lnTo>
                  <a:pt x="15" y="153"/>
                </a:lnTo>
                <a:lnTo>
                  <a:pt x="15" y="150"/>
                </a:lnTo>
                <a:lnTo>
                  <a:pt x="12" y="147"/>
                </a:lnTo>
                <a:lnTo>
                  <a:pt x="12" y="147"/>
                </a:lnTo>
                <a:lnTo>
                  <a:pt x="12" y="141"/>
                </a:lnTo>
                <a:lnTo>
                  <a:pt x="9" y="137"/>
                </a:lnTo>
                <a:lnTo>
                  <a:pt x="9" y="134"/>
                </a:lnTo>
                <a:lnTo>
                  <a:pt x="6" y="128"/>
                </a:lnTo>
                <a:lnTo>
                  <a:pt x="3" y="128"/>
                </a:lnTo>
                <a:lnTo>
                  <a:pt x="6" y="122"/>
                </a:lnTo>
                <a:lnTo>
                  <a:pt x="3" y="119"/>
                </a:lnTo>
                <a:lnTo>
                  <a:pt x="3" y="116"/>
                </a:lnTo>
                <a:lnTo>
                  <a:pt x="0" y="112"/>
                </a:lnTo>
                <a:lnTo>
                  <a:pt x="3" y="109"/>
                </a:lnTo>
                <a:lnTo>
                  <a:pt x="0" y="109"/>
                </a:lnTo>
                <a:lnTo>
                  <a:pt x="3" y="103"/>
                </a:lnTo>
                <a:lnTo>
                  <a:pt x="3" y="97"/>
                </a:lnTo>
                <a:lnTo>
                  <a:pt x="3" y="91"/>
                </a:lnTo>
                <a:lnTo>
                  <a:pt x="6" y="87"/>
                </a:lnTo>
                <a:lnTo>
                  <a:pt x="9" y="84"/>
                </a:lnTo>
                <a:lnTo>
                  <a:pt x="12" y="84"/>
                </a:lnTo>
                <a:lnTo>
                  <a:pt x="19" y="84"/>
                </a:lnTo>
                <a:lnTo>
                  <a:pt x="22" y="81"/>
                </a:lnTo>
                <a:lnTo>
                  <a:pt x="19" y="78"/>
                </a:lnTo>
                <a:lnTo>
                  <a:pt x="22" y="78"/>
                </a:lnTo>
                <a:lnTo>
                  <a:pt x="22" y="72"/>
                </a:lnTo>
                <a:lnTo>
                  <a:pt x="22" y="72"/>
                </a:lnTo>
                <a:lnTo>
                  <a:pt x="22" y="69"/>
                </a:lnTo>
                <a:lnTo>
                  <a:pt x="15" y="69"/>
                </a:lnTo>
                <a:lnTo>
                  <a:pt x="15" y="65"/>
                </a:lnTo>
                <a:lnTo>
                  <a:pt x="19" y="62"/>
                </a:lnTo>
                <a:lnTo>
                  <a:pt x="22" y="65"/>
                </a:lnTo>
                <a:lnTo>
                  <a:pt x="25" y="62"/>
                </a:lnTo>
                <a:lnTo>
                  <a:pt x="25" y="59"/>
                </a:lnTo>
                <a:lnTo>
                  <a:pt x="25" y="56"/>
                </a:lnTo>
                <a:lnTo>
                  <a:pt x="25" y="53"/>
                </a:lnTo>
                <a:lnTo>
                  <a:pt x="28" y="50"/>
                </a:lnTo>
                <a:lnTo>
                  <a:pt x="28" y="50"/>
                </a:lnTo>
                <a:lnTo>
                  <a:pt x="28" y="50"/>
                </a:lnTo>
                <a:lnTo>
                  <a:pt x="28" y="47"/>
                </a:lnTo>
                <a:lnTo>
                  <a:pt x="22" y="47"/>
                </a:lnTo>
                <a:lnTo>
                  <a:pt x="22" y="44"/>
                </a:lnTo>
                <a:lnTo>
                  <a:pt x="22" y="37"/>
                </a:lnTo>
                <a:lnTo>
                  <a:pt x="31" y="37"/>
                </a:lnTo>
                <a:lnTo>
                  <a:pt x="31" y="34"/>
                </a:lnTo>
                <a:lnTo>
                  <a:pt x="37" y="37"/>
                </a:lnTo>
                <a:lnTo>
                  <a:pt x="37" y="44"/>
                </a:lnTo>
                <a:lnTo>
                  <a:pt x="40" y="47"/>
                </a:lnTo>
                <a:lnTo>
                  <a:pt x="44" y="44"/>
                </a:lnTo>
                <a:lnTo>
                  <a:pt x="40" y="40"/>
                </a:lnTo>
                <a:lnTo>
                  <a:pt x="40" y="37"/>
                </a:lnTo>
                <a:lnTo>
                  <a:pt x="44" y="37"/>
                </a:lnTo>
                <a:lnTo>
                  <a:pt x="44" y="40"/>
                </a:lnTo>
                <a:lnTo>
                  <a:pt x="44" y="44"/>
                </a:lnTo>
                <a:lnTo>
                  <a:pt x="50" y="50"/>
                </a:lnTo>
                <a:lnTo>
                  <a:pt x="47" y="47"/>
                </a:lnTo>
                <a:lnTo>
                  <a:pt x="47" y="40"/>
                </a:lnTo>
                <a:lnTo>
                  <a:pt x="47" y="37"/>
                </a:lnTo>
                <a:lnTo>
                  <a:pt x="50" y="34"/>
                </a:lnTo>
                <a:lnTo>
                  <a:pt x="53" y="31"/>
                </a:lnTo>
                <a:lnTo>
                  <a:pt x="56" y="34"/>
                </a:lnTo>
                <a:lnTo>
                  <a:pt x="59" y="31"/>
                </a:lnTo>
                <a:lnTo>
                  <a:pt x="65" y="40"/>
                </a:lnTo>
                <a:lnTo>
                  <a:pt x="75" y="40"/>
                </a:lnTo>
                <a:lnTo>
                  <a:pt x="65" y="37"/>
                </a:lnTo>
                <a:lnTo>
                  <a:pt x="59" y="31"/>
                </a:lnTo>
                <a:lnTo>
                  <a:pt x="56" y="31"/>
                </a:lnTo>
                <a:lnTo>
                  <a:pt x="53" y="28"/>
                </a:lnTo>
                <a:lnTo>
                  <a:pt x="53" y="25"/>
                </a:lnTo>
                <a:lnTo>
                  <a:pt x="56" y="25"/>
                </a:lnTo>
                <a:lnTo>
                  <a:pt x="53" y="22"/>
                </a:lnTo>
                <a:lnTo>
                  <a:pt x="53" y="19"/>
                </a:lnTo>
                <a:lnTo>
                  <a:pt x="47" y="19"/>
                </a:lnTo>
                <a:lnTo>
                  <a:pt x="47" y="15"/>
                </a:lnTo>
                <a:lnTo>
                  <a:pt x="50" y="15"/>
                </a:lnTo>
                <a:lnTo>
                  <a:pt x="56" y="12"/>
                </a:lnTo>
                <a:lnTo>
                  <a:pt x="50" y="9"/>
                </a:lnTo>
                <a:lnTo>
                  <a:pt x="50" y="6"/>
                </a:lnTo>
                <a:lnTo>
                  <a:pt x="50" y="6"/>
                </a:lnTo>
                <a:lnTo>
                  <a:pt x="47" y="6"/>
                </a:lnTo>
                <a:lnTo>
                  <a:pt x="47" y="3"/>
                </a:lnTo>
                <a:lnTo>
                  <a:pt x="47" y="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9" name="Freeform 67">
            <a:extLst>
              <a:ext uri="{FF2B5EF4-FFF2-40B4-BE49-F238E27FC236}">
                <a16:creationId xmlns:a16="http://schemas.microsoft.com/office/drawing/2014/main" id="{E4FBC5A0-5349-97B7-A00A-2FDB0A2347A5}"/>
              </a:ext>
            </a:extLst>
          </p:cNvPr>
          <p:cNvSpPr>
            <a:spLocks/>
          </p:cNvSpPr>
          <p:nvPr userDrawn="1"/>
        </p:nvSpPr>
        <p:spPr bwMode="auto">
          <a:xfrm>
            <a:off x="13696056" y="6168307"/>
            <a:ext cx="9525" cy="19050"/>
          </a:xfrm>
          <a:custGeom>
            <a:avLst/>
            <a:gdLst>
              <a:gd name="T0" fmla="*/ 0 w 3"/>
              <a:gd name="T1" fmla="*/ 0 h 6"/>
              <a:gd name="T2" fmla="*/ 3 w 3"/>
              <a:gd name="T3" fmla="*/ 0 h 6"/>
              <a:gd name="T4" fmla="*/ 3 w 3"/>
              <a:gd name="T5" fmla="*/ 6 h 6"/>
              <a:gd name="T6" fmla="*/ 0 w 3"/>
              <a:gd name="T7" fmla="*/ 6 h 6"/>
              <a:gd name="T8" fmla="*/ 0 w 3"/>
              <a:gd name="T9" fmla="*/ 3 h 6"/>
              <a:gd name="T10" fmla="*/ 0 w 3"/>
              <a:gd name="T11" fmla="*/ 0 h 6"/>
              <a:gd name="T12" fmla="*/ 0 w 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 h="6">
                <a:moveTo>
                  <a:pt x="0" y="0"/>
                </a:moveTo>
                <a:lnTo>
                  <a:pt x="3" y="0"/>
                </a:lnTo>
                <a:lnTo>
                  <a:pt x="3" y="6"/>
                </a:lnTo>
                <a:lnTo>
                  <a:pt x="0" y="6"/>
                </a:lnTo>
                <a:lnTo>
                  <a:pt x="0" y="3"/>
                </a:lnTo>
                <a:lnTo>
                  <a:pt x="0" y="0"/>
                </a:lnTo>
                <a:lnTo>
                  <a:pt x="0" y="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0" name="Freeform 68">
            <a:extLst>
              <a:ext uri="{FF2B5EF4-FFF2-40B4-BE49-F238E27FC236}">
                <a16:creationId xmlns:a16="http://schemas.microsoft.com/office/drawing/2014/main" id="{7DDF81D5-4C50-6EC4-D10E-3377107E7EF7}"/>
              </a:ext>
            </a:extLst>
          </p:cNvPr>
          <p:cNvSpPr>
            <a:spLocks/>
          </p:cNvSpPr>
          <p:nvPr userDrawn="1"/>
        </p:nvSpPr>
        <p:spPr bwMode="auto">
          <a:xfrm>
            <a:off x="13476998" y="6127033"/>
            <a:ext cx="288907" cy="161926"/>
          </a:xfrm>
          <a:custGeom>
            <a:avLst/>
            <a:gdLst>
              <a:gd name="T0" fmla="*/ 37 w 91"/>
              <a:gd name="T1" fmla="*/ 7 h 51"/>
              <a:gd name="T2" fmla="*/ 47 w 91"/>
              <a:gd name="T3" fmla="*/ 7 h 51"/>
              <a:gd name="T4" fmla="*/ 47 w 91"/>
              <a:gd name="T5" fmla="*/ 0 h 51"/>
              <a:gd name="T6" fmla="*/ 53 w 91"/>
              <a:gd name="T7" fmla="*/ 4 h 51"/>
              <a:gd name="T8" fmla="*/ 56 w 91"/>
              <a:gd name="T9" fmla="*/ 4 h 51"/>
              <a:gd name="T10" fmla="*/ 66 w 91"/>
              <a:gd name="T11" fmla="*/ 7 h 51"/>
              <a:gd name="T12" fmla="*/ 69 w 91"/>
              <a:gd name="T13" fmla="*/ 13 h 51"/>
              <a:gd name="T14" fmla="*/ 69 w 91"/>
              <a:gd name="T15" fmla="*/ 19 h 51"/>
              <a:gd name="T16" fmla="*/ 78 w 91"/>
              <a:gd name="T17" fmla="*/ 16 h 51"/>
              <a:gd name="T18" fmla="*/ 84 w 91"/>
              <a:gd name="T19" fmla="*/ 19 h 51"/>
              <a:gd name="T20" fmla="*/ 91 w 91"/>
              <a:gd name="T21" fmla="*/ 22 h 51"/>
              <a:gd name="T22" fmla="*/ 87 w 91"/>
              <a:gd name="T23" fmla="*/ 32 h 51"/>
              <a:gd name="T24" fmla="*/ 78 w 91"/>
              <a:gd name="T25" fmla="*/ 41 h 51"/>
              <a:gd name="T26" fmla="*/ 72 w 91"/>
              <a:gd name="T27" fmla="*/ 38 h 51"/>
              <a:gd name="T28" fmla="*/ 62 w 91"/>
              <a:gd name="T29" fmla="*/ 41 h 51"/>
              <a:gd name="T30" fmla="*/ 59 w 91"/>
              <a:gd name="T31" fmla="*/ 44 h 51"/>
              <a:gd name="T32" fmla="*/ 53 w 91"/>
              <a:gd name="T33" fmla="*/ 38 h 51"/>
              <a:gd name="T34" fmla="*/ 41 w 91"/>
              <a:gd name="T35" fmla="*/ 47 h 51"/>
              <a:gd name="T36" fmla="*/ 28 w 91"/>
              <a:gd name="T37" fmla="*/ 51 h 51"/>
              <a:gd name="T38" fmla="*/ 22 w 91"/>
              <a:gd name="T39" fmla="*/ 44 h 51"/>
              <a:gd name="T40" fmla="*/ 19 w 91"/>
              <a:gd name="T41" fmla="*/ 38 h 51"/>
              <a:gd name="T42" fmla="*/ 12 w 91"/>
              <a:gd name="T43" fmla="*/ 35 h 51"/>
              <a:gd name="T44" fmla="*/ 9 w 91"/>
              <a:gd name="T45" fmla="*/ 41 h 51"/>
              <a:gd name="T46" fmla="*/ 3 w 91"/>
              <a:gd name="T47" fmla="*/ 44 h 51"/>
              <a:gd name="T48" fmla="*/ 3 w 91"/>
              <a:gd name="T49" fmla="*/ 38 h 51"/>
              <a:gd name="T50" fmla="*/ 6 w 91"/>
              <a:gd name="T51" fmla="*/ 35 h 51"/>
              <a:gd name="T52" fmla="*/ 12 w 91"/>
              <a:gd name="T53" fmla="*/ 22 h 51"/>
              <a:gd name="T54" fmla="*/ 19 w 91"/>
              <a:gd name="T55" fmla="*/ 16 h 51"/>
              <a:gd name="T56" fmla="*/ 22 w 91"/>
              <a:gd name="T57" fmla="*/ 10 h 51"/>
              <a:gd name="T58" fmla="*/ 19 w 91"/>
              <a:gd name="T59" fmla="*/ 4 h 51"/>
              <a:gd name="T60" fmla="*/ 25 w 91"/>
              <a:gd name="T61" fmla="*/ 7 h 51"/>
              <a:gd name="T62" fmla="*/ 34 w 91"/>
              <a:gd name="T63" fmla="*/ 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51">
                <a:moveTo>
                  <a:pt x="34" y="7"/>
                </a:moveTo>
                <a:lnTo>
                  <a:pt x="37" y="7"/>
                </a:lnTo>
                <a:lnTo>
                  <a:pt x="41" y="4"/>
                </a:lnTo>
                <a:lnTo>
                  <a:pt x="47" y="7"/>
                </a:lnTo>
                <a:lnTo>
                  <a:pt x="47" y="4"/>
                </a:lnTo>
                <a:lnTo>
                  <a:pt x="47" y="0"/>
                </a:lnTo>
                <a:lnTo>
                  <a:pt x="53" y="0"/>
                </a:lnTo>
                <a:lnTo>
                  <a:pt x="53" y="4"/>
                </a:lnTo>
                <a:lnTo>
                  <a:pt x="56" y="4"/>
                </a:lnTo>
                <a:lnTo>
                  <a:pt x="56" y="4"/>
                </a:lnTo>
                <a:lnTo>
                  <a:pt x="59" y="4"/>
                </a:lnTo>
                <a:lnTo>
                  <a:pt x="66" y="7"/>
                </a:lnTo>
                <a:lnTo>
                  <a:pt x="69" y="10"/>
                </a:lnTo>
                <a:lnTo>
                  <a:pt x="69" y="13"/>
                </a:lnTo>
                <a:lnTo>
                  <a:pt x="69" y="16"/>
                </a:lnTo>
                <a:lnTo>
                  <a:pt x="69" y="19"/>
                </a:lnTo>
                <a:lnTo>
                  <a:pt x="75" y="19"/>
                </a:lnTo>
                <a:lnTo>
                  <a:pt x="78" y="16"/>
                </a:lnTo>
                <a:lnTo>
                  <a:pt x="81" y="22"/>
                </a:lnTo>
                <a:lnTo>
                  <a:pt x="84" y="19"/>
                </a:lnTo>
                <a:lnTo>
                  <a:pt x="87" y="19"/>
                </a:lnTo>
                <a:lnTo>
                  <a:pt x="91" y="22"/>
                </a:lnTo>
                <a:lnTo>
                  <a:pt x="84" y="26"/>
                </a:lnTo>
                <a:lnTo>
                  <a:pt x="87" y="32"/>
                </a:lnTo>
                <a:lnTo>
                  <a:pt x="81" y="35"/>
                </a:lnTo>
                <a:lnTo>
                  <a:pt x="78" y="41"/>
                </a:lnTo>
                <a:lnTo>
                  <a:pt x="75" y="38"/>
                </a:lnTo>
                <a:lnTo>
                  <a:pt x="72" y="38"/>
                </a:lnTo>
                <a:lnTo>
                  <a:pt x="62" y="35"/>
                </a:lnTo>
                <a:lnTo>
                  <a:pt x="62" y="41"/>
                </a:lnTo>
                <a:lnTo>
                  <a:pt x="59" y="47"/>
                </a:lnTo>
                <a:lnTo>
                  <a:pt x="59" y="44"/>
                </a:lnTo>
                <a:lnTo>
                  <a:pt x="53" y="41"/>
                </a:lnTo>
                <a:lnTo>
                  <a:pt x="53" y="38"/>
                </a:lnTo>
                <a:lnTo>
                  <a:pt x="47" y="35"/>
                </a:lnTo>
                <a:lnTo>
                  <a:pt x="41" y="47"/>
                </a:lnTo>
                <a:lnTo>
                  <a:pt x="34" y="44"/>
                </a:lnTo>
                <a:lnTo>
                  <a:pt x="28" y="51"/>
                </a:lnTo>
                <a:lnTo>
                  <a:pt x="25" y="47"/>
                </a:lnTo>
                <a:lnTo>
                  <a:pt x="22" y="44"/>
                </a:lnTo>
                <a:lnTo>
                  <a:pt x="22" y="44"/>
                </a:lnTo>
                <a:lnTo>
                  <a:pt x="19" y="38"/>
                </a:lnTo>
                <a:lnTo>
                  <a:pt x="19" y="35"/>
                </a:lnTo>
                <a:lnTo>
                  <a:pt x="12" y="35"/>
                </a:lnTo>
                <a:lnTo>
                  <a:pt x="9" y="38"/>
                </a:lnTo>
                <a:lnTo>
                  <a:pt x="9" y="41"/>
                </a:lnTo>
                <a:lnTo>
                  <a:pt x="6" y="44"/>
                </a:lnTo>
                <a:lnTo>
                  <a:pt x="3" y="44"/>
                </a:lnTo>
                <a:lnTo>
                  <a:pt x="0" y="41"/>
                </a:lnTo>
                <a:lnTo>
                  <a:pt x="3" y="38"/>
                </a:lnTo>
                <a:lnTo>
                  <a:pt x="6" y="38"/>
                </a:lnTo>
                <a:lnTo>
                  <a:pt x="6" y="35"/>
                </a:lnTo>
                <a:lnTo>
                  <a:pt x="6" y="29"/>
                </a:lnTo>
                <a:lnTo>
                  <a:pt x="12" y="22"/>
                </a:lnTo>
                <a:lnTo>
                  <a:pt x="16" y="19"/>
                </a:lnTo>
                <a:lnTo>
                  <a:pt x="19" y="16"/>
                </a:lnTo>
                <a:lnTo>
                  <a:pt x="22" y="13"/>
                </a:lnTo>
                <a:lnTo>
                  <a:pt x="22" y="10"/>
                </a:lnTo>
                <a:lnTo>
                  <a:pt x="19" y="7"/>
                </a:lnTo>
                <a:lnTo>
                  <a:pt x="19" y="4"/>
                </a:lnTo>
                <a:lnTo>
                  <a:pt x="25" y="4"/>
                </a:lnTo>
                <a:lnTo>
                  <a:pt x="25" y="7"/>
                </a:lnTo>
                <a:lnTo>
                  <a:pt x="28" y="7"/>
                </a:lnTo>
                <a:lnTo>
                  <a:pt x="34" y="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1" name="Freeform 69">
            <a:extLst>
              <a:ext uri="{FF2B5EF4-FFF2-40B4-BE49-F238E27FC236}">
                <a16:creationId xmlns:a16="http://schemas.microsoft.com/office/drawing/2014/main" id="{B36EF9A7-06E3-9340-8321-C72B67438A75}"/>
              </a:ext>
            </a:extLst>
          </p:cNvPr>
          <p:cNvSpPr>
            <a:spLocks noEditPoints="1"/>
          </p:cNvSpPr>
          <p:nvPr userDrawn="1"/>
        </p:nvSpPr>
        <p:spPr bwMode="auto">
          <a:xfrm>
            <a:off x="13327779" y="5673008"/>
            <a:ext cx="228585" cy="206376"/>
          </a:xfrm>
          <a:custGeom>
            <a:avLst/>
            <a:gdLst>
              <a:gd name="T0" fmla="*/ 47 w 72"/>
              <a:gd name="T1" fmla="*/ 59 h 65"/>
              <a:gd name="T2" fmla="*/ 47 w 72"/>
              <a:gd name="T3" fmla="*/ 47 h 65"/>
              <a:gd name="T4" fmla="*/ 53 w 72"/>
              <a:gd name="T5" fmla="*/ 40 h 65"/>
              <a:gd name="T6" fmla="*/ 63 w 72"/>
              <a:gd name="T7" fmla="*/ 40 h 65"/>
              <a:gd name="T8" fmla="*/ 63 w 72"/>
              <a:gd name="T9" fmla="*/ 34 h 65"/>
              <a:gd name="T10" fmla="*/ 66 w 72"/>
              <a:gd name="T11" fmla="*/ 28 h 65"/>
              <a:gd name="T12" fmla="*/ 66 w 72"/>
              <a:gd name="T13" fmla="*/ 25 h 65"/>
              <a:gd name="T14" fmla="*/ 59 w 72"/>
              <a:gd name="T15" fmla="*/ 21 h 65"/>
              <a:gd name="T16" fmla="*/ 66 w 72"/>
              <a:gd name="T17" fmla="*/ 21 h 65"/>
              <a:gd name="T18" fmla="*/ 69 w 72"/>
              <a:gd name="T19" fmla="*/ 15 h 65"/>
              <a:gd name="T20" fmla="*/ 69 w 72"/>
              <a:gd name="T21" fmla="*/ 9 h 65"/>
              <a:gd name="T22" fmla="*/ 72 w 72"/>
              <a:gd name="T23" fmla="*/ 6 h 65"/>
              <a:gd name="T24" fmla="*/ 66 w 72"/>
              <a:gd name="T25" fmla="*/ 3 h 65"/>
              <a:gd name="T26" fmla="*/ 53 w 72"/>
              <a:gd name="T27" fmla="*/ 0 h 65"/>
              <a:gd name="T28" fmla="*/ 47 w 72"/>
              <a:gd name="T29" fmla="*/ 3 h 65"/>
              <a:gd name="T30" fmla="*/ 41 w 72"/>
              <a:gd name="T31" fmla="*/ 3 h 65"/>
              <a:gd name="T32" fmla="*/ 28 w 72"/>
              <a:gd name="T33" fmla="*/ 12 h 65"/>
              <a:gd name="T34" fmla="*/ 22 w 72"/>
              <a:gd name="T35" fmla="*/ 12 h 65"/>
              <a:gd name="T36" fmla="*/ 19 w 72"/>
              <a:gd name="T37" fmla="*/ 21 h 65"/>
              <a:gd name="T38" fmla="*/ 19 w 72"/>
              <a:gd name="T39" fmla="*/ 31 h 65"/>
              <a:gd name="T40" fmla="*/ 16 w 72"/>
              <a:gd name="T41" fmla="*/ 34 h 65"/>
              <a:gd name="T42" fmla="*/ 12 w 72"/>
              <a:gd name="T43" fmla="*/ 40 h 65"/>
              <a:gd name="T44" fmla="*/ 22 w 72"/>
              <a:gd name="T45" fmla="*/ 47 h 65"/>
              <a:gd name="T46" fmla="*/ 16 w 72"/>
              <a:gd name="T47" fmla="*/ 47 h 65"/>
              <a:gd name="T48" fmla="*/ 16 w 72"/>
              <a:gd name="T49" fmla="*/ 50 h 65"/>
              <a:gd name="T50" fmla="*/ 19 w 72"/>
              <a:gd name="T51" fmla="*/ 53 h 65"/>
              <a:gd name="T52" fmla="*/ 9 w 72"/>
              <a:gd name="T53" fmla="*/ 50 h 65"/>
              <a:gd name="T54" fmla="*/ 3 w 72"/>
              <a:gd name="T55" fmla="*/ 50 h 65"/>
              <a:gd name="T56" fmla="*/ 9 w 72"/>
              <a:gd name="T57" fmla="*/ 53 h 65"/>
              <a:gd name="T58" fmla="*/ 12 w 72"/>
              <a:gd name="T59" fmla="*/ 53 h 65"/>
              <a:gd name="T60" fmla="*/ 12 w 72"/>
              <a:gd name="T61" fmla="*/ 56 h 65"/>
              <a:gd name="T62" fmla="*/ 6 w 72"/>
              <a:gd name="T63" fmla="*/ 53 h 65"/>
              <a:gd name="T64" fmla="*/ 0 w 72"/>
              <a:gd name="T65" fmla="*/ 53 h 65"/>
              <a:gd name="T66" fmla="*/ 6 w 72"/>
              <a:gd name="T67" fmla="*/ 59 h 65"/>
              <a:gd name="T68" fmla="*/ 9 w 72"/>
              <a:gd name="T69" fmla="*/ 59 h 65"/>
              <a:gd name="T70" fmla="*/ 16 w 72"/>
              <a:gd name="T71" fmla="*/ 56 h 65"/>
              <a:gd name="T72" fmla="*/ 19 w 72"/>
              <a:gd name="T73" fmla="*/ 56 h 65"/>
              <a:gd name="T74" fmla="*/ 28 w 72"/>
              <a:gd name="T75" fmla="*/ 53 h 65"/>
              <a:gd name="T76" fmla="*/ 34 w 72"/>
              <a:gd name="T77" fmla="*/ 56 h 65"/>
              <a:gd name="T78" fmla="*/ 41 w 72"/>
              <a:gd name="T79" fmla="*/ 56 h 65"/>
              <a:gd name="T80" fmla="*/ 41 w 72"/>
              <a:gd name="T81" fmla="*/ 62 h 65"/>
              <a:gd name="T82" fmla="*/ 44 w 72"/>
              <a:gd name="T83" fmla="*/ 65 h 65"/>
              <a:gd name="T84" fmla="*/ 12 w 72"/>
              <a:gd name="T85" fmla="*/ 47 h 65"/>
              <a:gd name="T86" fmla="*/ 9 w 72"/>
              <a:gd name="T87" fmla="*/ 50 h 65"/>
              <a:gd name="T88" fmla="*/ 6 w 72"/>
              <a:gd name="T89" fmla="*/ 47 h 65"/>
              <a:gd name="T90" fmla="*/ 9 w 72"/>
              <a:gd name="T91" fmla="*/ 43 h 65"/>
              <a:gd name="T92" fmla="*/ 16 w 72"/>
              <a:gd name="T93" fmla="*/ 43 h 65"/>
              <a:gd name="T94" fmla="*/ 12 w 72"/>
              <a:gd name="T95" fmla="*/ 47 h 65"/>
              <a:gd name="T96" fmla="*/ 9 w 72"/>
              <a:gd name="T97" fmla="*/ 4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 h="65">
                <a:moveTo>
                  <a:pt x="44" y="65"/>
                </a:moveTo>
                <a:lnTo>
                  <a:pt x="47" y="59"/>
                </a:lnTo>
                <a:lnTo>
                  <a:pt x="47" y="53"/>
                </a:lnTo>
                <a:lnTo>
                  <a:pt x="47" y="47"/>
                </a:lnTo>
                <a:lnTo>
                  <a:pt x="50" y="43"/>
                </a:lnTo>
                <a:lnTo>
                  <a:pt x="53" y="40"/>
                </a:lnTo>
                <a:lnTo>
                  <a:pt x="56" y="40"/>
                </a:lnTo>
                <a:lnTo>
                  <a:pt x="63" y="40"/>
                </a:lnTo>
                <a:lnTo>
                  <a:pt x="66" y="37"/>
                </a:lnTo>
                <a:lnTo>
                  <a:pt x="63" y="34"/>
                </a:lnTo>
                <a:lnTo>
                  <a:pt x="66" y="34"/>
                </a:lnTo>
                <a:lnTo>
                  <a:pt x="66" y="28"/>
                </a:lnTo>
                <a:lnTo>
                  <a:pt x="66" y="28"/>
                </a:lnTo>
                <a:lnTo>
                  <a:pt x="66" y="25"/>
                </a:lnTo>
                <a:lnTo>
                  <a:pt x="59" y="25"/>
                </a:lnTo>
                <a:lnTo>
                  <a:pt x="59" y="21"/>
                </a:lnTo>
                <a:lnTo>
                  <a:pt x="63" y="18"/>
                </a:lnTo>
                <a:lnTo>
                  <a:pt x="66" y="21"/>
                </a:lnTo>
                <a:lnTo>
                  <a:pt x="69" y="18"/>
                </a:lnTo>
                <a:lnTo>
                  <a:pt x="69" y="15"/>
                </a:lnTo>
                <a:lnTo>
                  <a:pt x="69" y="12"/>
                </a:lnTo>
                <a:lnTo>
                  <a:pt x="69" y="9"/>
                </a:lnTo>
                <a:lnTo>
                  <a:pt x="72" y="6"/>
                </a:lnTo>
                <a:lnTo>
                  <a:pt x="72" y="6"/>
                </a:lnTo>
                <a:lnTo>
                  <a:pt x="69" y="6"/>
                </a:lnTo>
                <a:lnTo>
                  <a:pt x="66" y="3"/>
                </a:lnTo>
                <a:lnTo>
                  <a:pt x="59" y="0"/>
                </a:lnTo>
                <a:lnTo>
                  <a:pt x="53" y="0"/>
                </a:lnTo>
                <a:lnTo>
                  <a:pt x="50" y="3"/>
                </a:lnTo>
                <a:lnTo>
                  <a:pt x="47" y="3"/>
                </a:lnTo>
                <a:lnTo>
                  <a:pt x="44" y="3"/>
                </a:lnTo>
                <a:lnTo>
                  <a:pt x="41" y="3"/>
                </a:lnTo>
                <a:lnTo>
                  <a:pt x="34" y="9"/>
                </a:lnTo>
                <a:lnTo>
                  <a:pt x="28" y="12"/>
                </a:lnTo>
                <a:lnTo>
                  <a:pt x="25" y="12"/>
                </a:lnTo>
                <a:lnTo>
                  <a:pt x="22" y="12"/>
                </a:lnTo>
                <a:lnTo>
                  <a:pt x="22" y="18"/>
                </a:lnTo>
                <a:lnTo>
                  <a:pt x="19" y="21"/>
                </a:lnTo>
                <a:lnTo>
                  <a:pt x="19" y="25"/>
                </a:lnTo>
                <a:lnTo>
                  <a:pt x="19" y="31"/>
                </a:lnTo>
                <a:lnTo>
                  <a:pt x="16" y="34"/>
                </a:lnTo>
                <a:lnTo>
                  <a:pt x="16" y="34"/>
                </a:lnTo>
                <a:lnTo>
                  <a:pt x="12" y="37"/>
                </a:lnTo>
                <a:lnTo>
                  <a:pt x="12" y="40"/>
                </a:lnTo>
                <a:lnTo>
                  <a:pt x="19" y="43"/>
                </a:lnTo>
                <a:lnTo>
                  <a:pt x="22" y="47"/>
                </a:lnTo>
                <a:lnTo>
                  <a:pt x="16" y="47"/>
                </a:lnTo>
                <a:lnTo>
                  <a:pt x="16" y="47"/>
                </a:lnTo>
                <a:lnTo>
                  <a:pt x="12" y="50"/>
                </a:lnTo>
                <a:lnTo>
                  <a:pt x="16" y="50"/>
                </a:lnTo>
                <a:lnTo>
                  <a:pt x="19" y="53"/>
                </a:lnTo>
                <a:lnTo>
                  <a:pt x="19" y="53"/>
                </a:lnTo>
                <a:lnTo>
                  <a:pt x="12" y="53"/>
                </a:lnTo>
                <a:lnTo>
                  <a:pt x="9" y="50"/>
                </a:lnTo>
                <a:lnTo>
                  <a:pt x="6" y="50"/>
                </a:lnTo>
                <a:lnTo>
                  <a:pt x="3" y="50"/>
                </a:lnTo>
                <a:lnTo>
                  <a:pt x="6" y="53"/>
                </a:lnTo>
                <a:lnTo>
                  <a:pt x="9" y="53"/>
                </a:lnTo>
                <a:lnTo>
                  <a:pt x="12" y="56"/>
                </a:lnTo>
                <a:lnTo>
                  <a:pt x="12" y="53"/>
                </a:lnTo>
                <a:lnTo>
                  <a:pt x="16" y="56"/>
                </a:lnTo>
                <a:lnTo>
                  <a:pt x="12" y="56"/>
                </a:lnTo>
                <a:lnTo>
                  <a:pt x="9" y="56"/>
                </a:lnTo>
                <a:lnTo>
                  <a:pt x="6" y="53"/>
                </a:lnTo>
                <a:lnTo>
                  <a:pt x="0" y="53"/>
                </a:lnTo>
                <a:lnTo>
                  <a:pt x="0" y="53"/>
                </a:lnTo>
                <a:lnTo>
                  <a:pt x="3" y="56"/>
                </a:lnTo>
                <a:lnTo>
                  <a:pt x="6" y="59"/>
                </a:lnTo>
                <a:lnTo>
                  <a:pt x="9" y="59"/>
                </a:lnTo>
                <a:lnTo>
                  <a:pt x="9" y="59"/>
                </a:lnTo>
                <a:lnTo>
                  <a:pt x="12" y="59"/>
                </a:lnTo>
                <a:lnTo>
                  <a:pt x="16" y="56"/>
                </a:lnTo>
                <a:lnTo>
                  <a:pt x="16" y="56"/>
                </a:lnTo>
                <a:lnTo>
                  <a:pt x="19" y="56"/>
                </a:lnTo>
                <a:lnTo>
                  <a:pt x="22" y="53"/>
                </a:lnTo>
                <a:lnTo>
                  <a:pt x="28" y="53"/>
                </a:lnTo>
                <a:lnTo>
                  <a:pt x="31" y="56"/>
                </a:lnTo>
                <a:lnTo>
                  <a:pt x="34" y="56"/>
                </a:lnTo>
                <a:lnTo>
                  <a:pt x="34" y="59"/>
                </a:lnTo>
                <a:lnTo>
                  <a:pt x="41" y="56"/>
                </a:lnTo>
                <a:lnTo>
                  <a:pt x="41" y="59"/>
                </a:lnTo>
                <a:lnTo>
                  <a:pt x="41" y="62"/>
                </a:lnTo>
                <a:lnTo>
                  <a:pt x="44" y="65"/>
                </a:lnTo>
                <a:lnTo>
                  <a:pt x="44" y="65"/>
                </a:lnTo>
                <a:close/>
                <a:moveTo>
                  <a:pt x="6" y="47"/>
                </a:moveTo>
                <a:lnTo>
                  <a:pt x="12" y="47"/>
                </a:lnTo>
                <a:lnTo>
                  <a:pt x="12" y="47"/>
                </a:lnTo>
                <a:lnTo>
                  <a:pt x="9" y="50"/>
                </a:lnTo>
                <a:lnTo>
                  <a:pt x="9" y="47"/>
                </a:lnTo>
                <a:lnTo>
                  <a:pt x="6" y="47"/>
                </a:lnTo>
                <a:lnTo>
                  <a:pt x="6" y="47"/>
                </a:lnTo>
                <a:close/>
                <a:moveTo>
                  <a:pt x="9" y="43"/>
                </a:moveTo>
                <a:lnTo>
                  <a:pt x="12" y="43"/>
                </a:lnTo>
                <a:lnTo>
                  <a:pt x="16" y="43"/>
                </a:lnTo>
                <a:lnTo>
                  <a:pt x="16" y="47"/>
                </a:lnTo>
                <a:lnTo>
                  <a:pt x="12" y="47"/>
                </a:lnTo>
                <a:lnTo>
                  <a:pt x="12" y="43"/>
                </a:lnTo>
                <a:lnTo>
                  <a:pt x="9" y="43"/>
                </a:lnTo>
                <a:lnTo>
                  <a:pt x="9" y="43"/>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2" name="Freeform 70">
            <a:extLst>
              <a:ext uri="{FF2B5EF4-FFF2-40B4-BE49-F238E27FC236}">
                <a16:creationId xmlns:a16="http://schemas.microsoft.com/office/drawing/2014/main" id="{DAC5685F-802A-EC37-2518-BD6487F9D724}"/>
              </a:ext>
            </a:extLst>
          </p:cNvPr>
          <p:cNvSpPr>
            <a:spLocks/>
          </p:cNvSpPr>
          <p:nvPr userDrawn="1"/>
        </p:nvSpPr>
        <p:spPr bwMode="auto">
          <a:xfrm>
            <a:off x="13308732" y="5841283"/>
            <a:ext cx="177788" cy="149226"/>
          </a:xfrm>
          <a:custGeom>
            <a:avLst/>
            <a:gdLst>
              <a:gd name="T0" fmla="*/ 53 w 56"/>
              <a:gd name="T1" fmla="*/ 31 h 47"/>
              <a:gd name="T2" fmla="*/ 56 w 56"/>
              <a:gd name="T3" fmla="*/ 25 h 47"/>
              <a:gd name="T4" fmla="*/ 53 w 56"/>
              <a:gd name="T5" fmla="*/ 22 h 47"/>
              <a:gd name="T6" fmla="*/ 53 w 56"/>
              <a:gd name="T7" fmla="*/ 19 h 47"/>
              <a:gd name="T8" fmla="*/ 50 w 56"/>
              <a:gd name="T9" fmla="*/ 15 h 47"/>
              <a:gd name="T10" fmla="*/ 53 w 56"/>
              <a:gd name="T11" fmla="*/ 12 h 47"/>
              <a:gd name="T12" fmla="*/ 47 w 56"/>
              <a:gd name="T13" fmla="*/ 9 h 47"/>
              <a:gd name="T14" fmla="*/ 47 w 56"/>
              <a:gd name="T15" fmla="*/ 6 h 47"/>
              <a:gd name="T16" fmla="*/ 47 w 56"/>
              <a:gd name="T17" fmla="*/ 3 h 47"/>
              <a:gd name="T18" fmla="*/ 40 w 56"/>
              <a:gd name="T19" fmla="*/ 6 h 47"/>
              <a:gd name="T20" fmla="*/ 40 w 56"/>
              <a:gd name="T21" fmla="*/ 3 h 47"/>
              <a:gd name="T22" fmla="*/ 37 w 56"/>
              <a:gd name="T23" fmla="*/ 3 h 47"/>
              <a:gd name="T24" fmla="*/ 34 w 56"/>
              <a:gd name="T25" fmla="*/ 0 h 47"/>
              <a:gd name="T26" fmla="*/ 28 w 56"/>
              <a:gd name="T27" fmla="*/ 0 h 47"/>
              <a:gd name="T28" fmla="*/ 25 w 56"/>
              <a:gd name="T29" fmla="*/ 3 h 47"/>
              <a:gd name="T30" fmla="*/ 22 w 56"/>
              <a:gd name="T31" fmla="*/ 3 h 47"/>
              <a:gd name="T32" fmla="*/ 22 w 56"/>
              <a:gd name="T33" fmla="*/ 3 h 47"/>
              <a:gd name="T34" fmla="*/ 18 w 56"/>
              <a:gd name="T35" fmla="*/ 6 h 47"/>
              <a:gd name="T36" fmla="*/ 15 w 56"/>
              <a:gd name="T37" fmla="*/ 6 h 47"/>
              <a:gd name="T38" fmla="*/ 15 w 56"/>
              <a:gd name="T39" fmla="*/ 6 h 47"/>
              <a:gd name="T40" fmla="*/ 12 w 56"/>
              <a:gd name="T41" fmla="*/ 6 h 47"/>
              <a:gd name="T42" fmla="*/ 9 w 56"/>
              <a:gd name="T43" fmla="*/ 3 h 47"/>
              <a:gd name="T44" fmla="*/ 6 w 56"/>
              <a:gd name="T45" fmla="*/ 0 h 47"/>
              <a:gd name="T46" fmla="*/ 3 w 56"/>
              <a:gd name="T47" fmla="*/ 3 h 47"/>
              <a:gd name="T48" fmla="*/ 0 w 56"/>
              <a:gd name="T49" fmla="*/ 9 h 47"/>
              <a:gd name="T50" fmla="*/ 3 w 56"/>
              <a:gd name="T51" fmla="*/ 9 h 47"/>
              <a:gd name="T52" fmla="*/ 3 w 56"/>
              <a:gd name="T53" fmla="*/ 19 h 47"/>
              <a:gd name="T54" fmla="*/ 9 w 56"/>
              <a:gd name="T55" fmla="*/ 19 h 47"/>
              <a:gd name="T56" fmla="*/ 9 w 56"/>
              <a:gd name="T57" fmla="*/ 22 h 47"/>
              <a:gd name="T58" fmla="*/ 15 w 56"/>
              <a:gd name="T59" fmla="*/ 28 h 47"/>
              <a:gd name="T60" fmla="*/ 15 w 56"/>
              <a:gd name="T61" fmla="*/ 28 h 47"/>
              <a:gd name="T62" fmla="*/ 18 w 56"/>
              <a:gd name="T63" fmla="*/ 28 h 47"/>
              <a:gd name="T64" fmla="*/ 22 w 56"/>
              <a:gd name="T65" fmla="*/ 31 h 47"/>
              <a:gd name="T66" fmla="*/ 22 w 56"/>
              <a:gd name="T67" fmla="*/ 34 h 47"/>
              <a:gd name="T68" fmla="*/ 25 w 56"/>
              <a:gd name="T69" fmla="*/ 37 h 47"/>
              <a:gd name="T70" fmla="*/ 28 w 56"/>
              <a:gd name="T71" fmla="*/ 37 h 47"/>
              <a:gd name="T72" fmla="*/ 31 w 56"/>
              <a:gd name="T73" fmla="*/ 37 h 47"/>
              <a:gd name="T74" fmla="*/ 31 w 56"/>
              <a:gd name="T75" fmla="*/ 37 h 47"/>
              <a:gd name="T76" fmla="*/ 34 w 56"/>
              <a:gd name="T77" fmla="*/ 37 h 47"/>
              <a:gd name="T78" fmla="*/ 40 w 56"/>
              <a:gd name="T79" fmla="*/ 44 h 47"/>
              <a:gd name="T80" fmla="*/ 43 w 56"/>
              <a:gd name="T81" fmla="*/ 44 h 47"/>
              <a:gd name="T82" fmla="*/ 47 w 56"/>
              <a:gd name="T83" fmla="*/ 47 h 47"/>
              <a:gd name="T84" fmla="*/ 50 w 56"/>
              <a:gd name="T85" fmla="*/ 47 h 47"/>
              <a:gd name="T86" fmla="*/ 53 w 56"/>
              <a:gd name="T87" fmla="*/ 47 h 47"/>
              <a:gd name="T88" fmla="*/ 53 w 56"/>
              <a:gd name="T89" fmla="*/ 44 h 47"/>
              <a:gd name="T90" fmla="*/ 50 w 56"/>
              <a:gd name="T91" fmla="*/ 44 h 47"/>
              <a:gd name="T92" fmla="*/ 50 w 56"/>
              <a:gd name="T93" fmla="*/ 40 h 47"/>
              <a:gd name="T94" fmla="*/ 50 w 56"/>
              <a:gd name="T95" fmla="*/ 37 h 47"/>
              <a:gd name="T96" fmla="*/ 50 w 56"/>
              <a:gd name="T97" fmla="*/ 34 h 47"/>
              <a:gd name="T98" fmla="*/ 53 w 56"/>
              <a:gd name="T99" fmla="*/ 31 h 47"/>
              <a:gd name="T100" fmla="*/ 53 w 56"/>
              <a:gd name="T101" fmla="*/ 3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 h="47">
                <a:moveTo>
                  <a:pt x="53" y="31"/>
                </a:moveTo>
                <a:lnTo>
                  <a:pt x="56" y="25"/>
                </a:lnTo>
                <a:lnTo>
                  <a:pt x="53" y="22"/>
                </a:lnTo>
                <a:lnTo>
                  <a:pt x="53" y="19"/>
                </a:lnTo>
                <a:lnTo>
                  <a:pt x="50" y="15"/>
                </a:lnTo>
                <a:lnTo>
                  <a:pt x="53" y="12"/>
                </a:lnTo>
                <a:lnTo>
                  <a:pt x="47" y="9"/>
                </a:lnTo>
                <a:lnTo>
                  <a:pt x="47" y="6"/>
                </a:lnTo>
                <a:lnTo>
                  <a:pt x="47" y="3"/>
                </a:lnTo>
                <a:lnTo>
                  <a:pt x="40" y="6"/>
                </a:lnTo>
                <a:lnTo>
                  <a:pt x="40" y="3"/>
                </a:lnTo>
                <a:lnTo>
                  <a:pt x="37" y="3"/>
                </a:lnTo>
                <a:lnTo>
                  <a:pt x="34" y="0"/>
                </a:lnTo>
                <a:lnTo>
                  <a:pt x="28" y="0"/>
                </a:lnTo>
                <a:lnTo>
                  <a:pt x="25" y="3"/>
                </a:lnTo>
                <a:lnTo>
                  <a:pt x="22" y="3"/>
                </a:lnTo>
                <a:lnTo>
                  <a:pt x="22" y="3"/>
                </a:lnTo>
                <a:lnTo>
                  <a:pt x="18" y="6"/>
                </a:lnTo>
                <a:lnTo>
                  <a:pt x="15" y="6"/>
                </a:lnTo>
                <a:lnTo>
                  <a:pt x="15" y="6"/>
                </a:lnTo>
                <a:lnTo>
                  <a:pt x="12" y="6"/>
                </a:lnTo>
                <a:lnTo>
                  <a:pt x="9" y="3"/>
                </a:lnTo>
                <a:lnTo>
                  <a:pt x="6" y="0"/>
                </a:lnTo>
                <a:lnTo>
                  <a:pt x="3" y="3"/>
                </a:lnTo>
                <a:lnTo>
                  <a:pt x="0" y="9"/>
                </a:lnTo>
                <a:lnTo>
                  <a:pt x="3" y="9"/>
                </a:lnTo>
                <a:lnTo>
                  <a:pt x="3" y="19"/>
                </a:lnTo>
                <a:lnTo>
                  <a:pt x="9" y="19"/>
                </a:lnTo>
                <a:lnTo>
                  <a:pt x="9" y="22"/>
                </a:lnTo>
                <a:lnTo>
                  <a:pt x="15" y="28"/>
                </a:lnTo>
                <a:lnTo>
                  <a:pt x="15" y="28"/>
                </a:lnTo>
                <a:lnTo>
                  <a:pt x="18" y="28"/>
                </a:lnTo>
                <a:lnTo>
                  <a:pt x="22" y="31"/>
                </a:lnTo>
                <a:lnTo>
                  <a:pt x="22" y="34"/>
                </a:lnTo>
                <a:lnTo>
                  <a:pt x="25" y="37"/>
                </a:lnTo>
                <a:lnTo>
                  <a:pt x="28" y="37"/>
                </a:lnTo>
                <a:lnTo>
                  <a:pt x="31" y="37"/>
                </a:lnTo>
                <a:lnTo>
                  <a:pt x="31" y="37"/>
                </a:lnTo>
                <a:lnTo>
                  <a:pt x="34" y="37"/>
                </a:lnTo>
                <a:lnTo>
                  <a:pt x="40" y="44"/>
                </a:lnTo>
                <a:lnTo>
                  <a:pt x="43" y="44"/>
                </a:lnTo>
                <a:lnTo>
                  <a:pt x="47" y="47"/>
                </a:lnTo>
                <a:lnTo>
                  <a:pt x="50" y="47"/>
                </a:lnTo>
                <a:lnTo>
                  <a:pt x="53" y="47"/>
                </a:lnTo>
                <a:lnTo>
                  <a:pt x="53" y="44"/>
                </a:lnTo>
                <a:lnTo>
                  <a:pt x="50" y="44"/>
                </a:lnTo>
                <a:lnTo>
                  <a:pt x="50" y="40"/>
                </a:lnTo>
                <a:lnTo>
                  <a:pt x="50" y="37"/>
                </a:lnTo>
                <a:lnTo>
                  <a:pt x="50" y="34"/>
                </a:lnTo>
                <a:lnTo>
                  <a:pt x="53" y="31"/>
                </a:lnTo>
                <a:lnTo>
                  <a:pt x="53" y="31"/>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3" name="Freeform 71">
            <a:extLst>
              <a:ext uri="{FF2B5EF4-FFF2-40B4-BE49-F238E27FC236}">
                <a16:creationId xmlns:a16="http://schemas.microsoft.com/office/drawing/2014/main" id="{A4177FDA-15C5-3B80-EC95-D1F92566B90F}"/>
              </a:ext>
            </a:extLst>
          </p:cNvPr>
          <p:cNvSpPr>
            <a:spLocks/>
          </p:cNvSpPr>
          <p:nvPr userDrawn="1"/>
        </p:nvSpPr>
        <p:spPr bwMode="auto">
          <a:xfrm>
            <a:off x="13467470" y="5939709"/>
            <a:ext cx="38100" cy="60326"/>
          </a:xfrm>
          <a:custGeom>
            <a:avLst/>
            <a:gdLst>
              <a:gd name="T0" fmla="*/ 3 w 12"/>
              <a:gd name="T1" fmla="*/ 16 h 19"/>
              <a:gd name="T2" fmla="*/ 3 w 12"/>
              <a:gd name="T3" fmla="*/ 13 h 19"/>
              <a:gd name="T4" fmla="*/ 0 w 12"/>
              <a:gd name="T5" fmla="*/ 13 h 19"/>
              <a:gd name="T6" fmla="*/ 0 w 12"/>
              <a:gd name="T7" fmla="*/ 9 h 19"/>
              <a:gd name="T8" fmla="*/ 0 w 12"/>
              <a:gd name="T9" fmla="*/ 6 h 19"/>
              <a:gd name="T10" fmla="*/ 0 w 12"/>
              <a:gd name="T11" fmla="*/ 3 h 19"/>
              <a:gd name="T12" fmla="*/ 3 w 12"/>
              <a:gd name="T13" fmla="*/ 0 h 19"/>
              <a:gd name="T14" fmla="*/ 6 w 12"/>
              <a:gd name="T15" fmla="*/ 0 h 19"/>
              <a:gd name="T16" fmla="*/ 9 w 12"/>
              <a:gd name="T17" fmla="*/ 6 h 19"/>
              <a:gd name="T18" fmla="*/ 9 w 12"/>
              <a:gd name="T19" fmla="*/ 9 h 19"/>
              <a:gd name="T20" fmla="*/ 12 w 12"/>
              <a:gd name="T21" fmla="*/ 13 h 19"/>
              <a:gd name="T22" fmla="*/ 12 w 12"/>
              <a:gd name="T23" fmla="*/ 19 h 19"/>
              <a:gd name="T24" fmla="*/ 9 w 12"/>
              <a:gd name="T25" fmla="*/ 19 h 19"/>
              <a:gd name="T26" fmla="*/ 3 w 12"/>
              <a:gd name="T27" fmla="*/ 19 h 19"/>
              <a:gd name="T28" fmla="*/ 3 w 12"/>
              <a:gd name="T29" fmla="*/ 16 h 19"/>
              <a:gd name="T30" fmla="*/ 3 w 12"/>
              <a:gd name="T31"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9">
                <a:moveTo>
                  <a:pt x="3" y="16"/>
                </a:moveTo>
                <a:lnTo>
                  <a:pt x="3" y="13"/>
                </a:lnTo>
                <a:lnTo>
                  <a:pt x="0" y="13"/>
                </a:lnTo>
                <a:lnTo>
                  <a:pt x="0" y="9"/>
                </a:lnTo>
                <a:lnTo>
                  <a:pt x="0" y="6"/>
                </a:lnTo>
                <a:lnTo>
                  <a:pt x="0" y="3"/>
                </a:lnTo>
                <a:lnTo>
                  <a:pt x="3" y="0"/>
                </a:lnTo>
                <a:lnTo>
                  <a:pt x="6" y="0"/>
                </a:lnTo>
                <a:lnTo>
                  <a:pt x="9" y="6"/>
                </a:lnTo>
                <a:lnTo>
                  <a:pt x="9" y="9"/>
                </a:lnTo>
                <a:lnTo>
                  <a:pt x="12" y="13"/>
                </a:lnTo>
                <a:lnTo>
                  <a:pt x="12" y="19"/>
                </a:lnTo>
                <a:lnTo>
                  <a:pt x="9" y="19"/>
                </a:lnTo>
                <a:lnTo>
                  <a:pt x="3" y="19"/>
                </a:lnTo>
                <a:lnTo>
                  <a:pt x="3" y="16"/>
                </a:lnTo>
                <a:lnTo>
                  <a:pt x="3" y="1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4" name="Freeform 72">
            <a:extLst>
              <a:ext uri="{FF2B5EF4-FFF2-40B4-BE49-F238E27FC236}">
                <a16:creationId xmlns:a16="http://schemas.microsoft.com/office/drawing/2014/main" id="{F79750A8-9725-333F-BE2E-01353D19D9DC}"/>
              </a:ext>
            </a:extLst>
          </p:cNvPr>
          <p:cNvSpPr>
            <a:spLocks noEditPoints="1"/>
          </p:cNvSpPr>
          <p:nvPr userDrawn="1"/>
        </p:nvSpPr>
        <p:spPr bwMode="auto">
          <a:xfrm>
            <a:off x="12772187" y="4837983"/>
            <a:ext cx="38100" cy="98426"/>
          </a:xfrm>
          <a:custGeom>
            <a:avLst/>
            <a:gdLst>
              <a:gd name="T0" fmla="*/ 2 w 4"/>
              <a:gd name="T1" fmla="*/ 8 h 10"/>
              <a:gd name="T2" fmla="*/ 3 w 4"/>
              <a:gd name="T3" fmla="*/ 10 h 10"/>
              <a:gd name="T4" fmla="*/ 3 w 4"/>
              <a:gd name="T5" fmla="*/ 9 h 10"/>
              <a:gd name="T6" fmla="*/ 3 w 4"/>
              <a:gd name="T7" fmla="*/ 8 h 10"/>
              <a:gd name="T8" fmla="*/ 2 w 4"/>
              <a:gd name="T9" fmla="*/ 8 h 10"/>
              <a:gd name="T10" fmla="*/ 3 w 4"/>
              <a:gd name="T11" fmla="*/ 5 h 10"/>
              <a:gd name="T12" fmla="*/ 2 w 4"/>
              <a:gd name="T13" fmla="*/ 5 h 10"/>
              <a:gd name="T14" fmla="*/ 3 w 4"/>
              <a:gd name="T15" fmla="*/ 6 h 10"/>
              <a:gd name="T16" fmla="*/ 3 w 4"/>
              <a:gd name="T17" fmla="*/ 5 h 10"/>
              <a:gd name="T18" fmla="*/ 3 w 4"/>
              <a:gd name="T19" fmla="*/ 5 h 10"/>
              <a:gd name="T20" fmla="*/ 0 w 4"/>
              <a:gd name="T21" fmla="*/ 1 h 10"/>
              <a:gd name="T22" fmla="*/ 0 w 4"/>
              <a:gd name="T23" fmla="*/ 2 h 10"/>
              <a:gd name="T24" fmla="*/ 1 w 4"/>
              <a:gd name="T25" fmla="*/ 3 h 10"/>
              <a:gd name="T26" fmla="*/ 0 w 4"/>
              <a:gd name="T27" fmla="*/ 1 h 10"/>
              <a:gd name="T28" fmla="*/ 3 w 4"/>
              <a:gd name="T29" fmla="*/ 0 h 10"/>
              <a:gd name="T30" fmla="*/ 4 w 4"/>
              <a:gd name="T31" fmla="*/ 1 h 10"/>
              <a:gd name="T32" fmla="*/ 4 w 4"/>
              <a:gd name="T33" fmla="*/ 0 h 10"/>
              <a:gd name="T34" fmla="*/ 3 w 4"/>
              <a:gd name="T35" fmla="*/ 0 h 10"/>
              <a:gd name="T36" fmla="*/ 1 w 4"/>
              <a:gd name="T37" fmla="*/ 0 h 10"/>
              <a:gd name="T38" fmla="*/ 2 w 4"/>
              <a:gd name="T39" fmla="*/ 0 h 10"/>
              <a:gd name="T40" fmla="*/ 3 w 4"/>
              <a:gd name="T41" fmla="*/ 1 h 10"/>
              <a:gd name="T42" fmla="*/ 3 w 4"/>
              <a:gd name="T43" fmla="*/ 2 h 10"/>
              <a:gd name="T44" fmla="*/ 2 w 4"/>
              <a:gd name="T45" fmla="*/ 1 h 10"/>
              <a:gd name="T46" fmla="*/ 1 w 4"/>
              <a:gd name="T47" fmla="*/ 0 h 10"/>
              <a:gd name="T48" fmla="*/ 1 w 4"/>
              <a:gd name="T49" fmla="*/ 0 h 10"/>
              <a:gd name="T50" fmla="*/ 3 w 4"/>
              <a:gd name="T51" fmla="*/ 3 h 10"/>
              <a:gd name="T52" fmla="*/ 4 w 4"/>
              <a:gd name="T53" fmla="*/ 4 h 10"/>
              <a:gd name="T54" fmla="*/ 3 w 4"/>
              <a:gd name="T55" fmla="*/ 4 h 10"/>
              <a:gd name="T56" fmla="*/ 1 w 4"/>
              <a:gd name="T57" fmla="*/ 2 h 10"/>
              <a:gd name="T58" fmla="*/ 1 w 4"/>
              <a:gd name="T59" fmla="*/ 1 h 10"/>
              <a:gd name="T60" fmla="*/ 1 w 4"/>
              <a:gd name="T6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 h="10">
                <a:moveTo>
                  <a:pt x="2" y="8"/>
                </a:moveTo>
                <a:cubicBezTo>
                  <a:pt x="3" y="10"/>
                  <a:pt x="3" y="10"/>
                  <a:pt x="3" y="10"/>
                </a:cubicBezTo>
                <a:cubicBezTo>
                  <a:pt x="3" y="9"/>
                  <a:pt x="3" y="9"/>
                  <a:pt x="3" y="9"/>
                </a:cubicBezTo>
                <a:cubicBezTo>
                  <a:pt x="3" y="8"/>
                  <a:pt x="3" y="8"/>
                  <a:pt x="3" y="8"/>
                </a:cubicBezTo>
                <a:cubicBezTo>
                  <a:pt x="2" y="8"/>
                  <a:pt x="2" y="8"/>
                  <a:pt x="2" y="8"/>
                </a:cubicBezTo>
                <a:close/>
                <a:moveTo>
                  <a:pt x="3" y="5"/>
                </a:moveTo>
                <a:cubicBezTo>
                  <a:pt x="2" y="5"/>
                  <a:pt x="2" y="5"/>
                  <a:pt x="2" y="5"/>
                </a:cubicBezTo>
                <a:cubicBezTo>
                  <a:pt x="3" y="6"/>
                  <a:pt x="3" y="6"/>
                  <a:pt x="3" y="6"/>
                </a:cubicBezTo>
                <a:cubicBezTo>
                  <a:pt x="3" y="5"/>
                  <a:pt x="3" y="5"/>
                  <a:pt x="3" y="5"/>
                </a:cubicBezTo>
                <a:cubicBezTo>
                  <a:pt x="3" y="5"/>
                  <a:pt x="3" y="5"/>
                  <a:pt x="3" y="5"/>
                </a:cubicBezTo>
                <a:close/>
                <a:moveTo>
                  <a:pt x="0" y="1"/>
                </a:moveTo>
                <a:cubicBezTo>
                  <a:pt x="0" y="2"/>
                  <a:pt x="0" y="2"/>
                  <a:pt x="0" y="2"/>
                </a:cubicBezTo>
                <a:cubicBezTo>
                  <a:pt x="1" y="3"/>
                  <a:pt x="1" y="3"/>
                  <a:pt x="1" y="3"/>
                </a:cubicBezTo>
                <a:cubicBezTo>
                  <a:pt x="0" y="1"/>
                  <a:pt x="0" y="1"/>
                  <a:pt x="0" y="1"/>
                </a:cubicBezTo>
                <a:close/>
                <a:moveTo>
                  <a:pt x="3" y="0"/>
                </a:moveTo>
                <a:cubicBezTo>
                  <a:pt x="4" y="1"/>
                  <a:pt x="4" y="1"/>
                  <a:pt x="4" y="1"/>
                </a:cubicBezTo>
                <a:cubicBezTo>
                  <a:pt x="4" y="0"/>
                  <a:pt x="4" y="0"/>
                  <a:pt x="4" y="0"/>
                </a:cubicBezTo>
                <a:cubicBezTo>
                  <a:pt x="3" y="0"/>
                  <a:pt x="3" y="0"/>
                  <a:pt x="3" y="0"/>
                </a:cubicBezTo>
                <a:close/>
                <a:moveTo>
                  <a:pt x="1" y="0"/>
                </a:moveTo>
                <a:cubicBezTo>
                  <a:pt x="1" y="0"/>
                  <a:pt x="2" y="0"/>
                  <a:pt x="2" y="0"/>
                </a:cubicBezTo>
                <a:cubicBezTo>
                  <a:pt x="3" y="1"/>
                  <a:pt x="3" y="1"/>
                  <a:pt x="3" y="1"/>
                </a:cubicBezTo>
                <a:cubicBezTo>
                  <a:pt x="3" y="2"/>
                  <a:pt x="3" y="2"/>
                  <a:pt x="3" y="2"/>
                </a:cubicBezTo>
                <a:cubicBezTo>
                  <a:pt x="2" y="1"/>
                  <a:pt x="2" y="1"/>
                  <a:pt x="2" y="1"/>
                </a:cubicBezTo>
                <a:cubicBezTo>
                  <a:pt x="1" y="0"/>
                  <a:pt x="1" y="0"/>
                  <a:pt x="1" y="0"/>
                </a:cubicBezTo>
                <a:close/>
                <a:moveTo>
                  <a:pt x="1" y="0"/>
                </a:moveTo>
                <a:cubicBezTo>
                  <a:pt x="3" y="3"/>
                  <a:pt x="3" y="3"/>
                  <a:pt x="3" y="3"/>
                </a:cubicBezTo>
                <a:cubicBezTo>
                  <a:pt x="4" y="4"/>
                  <a:pt x="4" y="4"/>
                  <a:pt x="4" y="4"/>
                </a:cubicBezTo>
                <a:cubicBezTo>
                  <a:pt x="3" y="4"/>
                  <a:pt x="3" y="4"/>
                  <a:pt x="3" y="4"/>
                </a:cubicBezTo>
                <a:cubicBezTo>
                  <a:pt x="1" y="2"/>
                  <a:pt x="1" y="2"/>
                  <a:pt x="1" y="2"/>
                </a:cubicBezTo>
                <a:cubicBezTo>
                  <a:pt x="1" y="1"/>
                  <a:pt x="1" y="1"/>
                  <a:pt x="1" y="1"/>
                </a:cubicBezTo>
                <a:lnTo>
                  <a:pt x="1"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5" name="Freeform 73">
            <a:extLst>
              <a:ext uri="{FF2B5EF4-FFF2-40B4-BE49-F238E27FC236}">
                <a16:creationId xmlns:a16="http://schemas.microsoft.com/office/drawing/2014/main" id="{2BA1BC17-A3E3-8031-DDB4-979C88C0B844}"/>
              </a:ext>
            </a:extLst>
          </p:cNvPr>
          <p:cNvSpPr>
            <a:spLocks/>
          </p:cNvSpPr>
          <p:nvPr userDrawn="1"/>
        </p:nvSpPr>
        <p:spPr bwMode="auto">
          <a:xfrm>
            <a:off x="12572181" y="5492033"/>
            <a:ext cx="250810" cy="339726"/>
          </a:xfrm>
          <a:custGeom>
            <a:avLst/>
            <a:gdLst>
              <a:gd name="T0" fmla="*/ 35 w 79"/>
              <a:gd name="T1" fmla="*/ 104 h 107"/>
              <a:gd name="T2" fmla="*/ 41 w 79"/>
              <a:gd name="T3" fmla="*/ 97 h 107"/>
              <a:gd name="T4" fmla="*/ 47 w 79"/>
              <a:gd name="T5" fmla="*/ 94 h 107"/>
              <a:gd name="T6" fmla="*/ 60 w 79"/>
              <a:gd name="T7" fmla="*/ 91 h 107"/>
              <a:gd name="T8" fmla="*/ 66 w 79"/>
              <a:gd name="T9" fmla="*/ 88 h 107"/>
              <a:gd name="T10" fmla="*/ 69 w 79"/>
              <a:gd name="T11" fmla="*/ 85 h 107"/>
              <a:gd name="T12" fmla="*/ 75 w 79"/>
              <a:gd name="T13" fmla="*/ 75 h 107"/>
              <a:gd name="T14" fmla="*/ 79 w 79"/>
              <a:gd name="T15" fmla="*/ 60 h 107"/>
              <a:gd name="T16" fmla="*/ 79 w 79"/>
              <a:gd name="T17" fmla="*/ 53 h 107"/>
              <a:gd name="T18" fmla="*/ 72 w 79"/>
              <a:gd name="T19" fmla="*/ 41 h 107"/>
              <a:gd name="T20" fmla="*/ 72 w 79"/>
              <a:gd name="T21" fmla="*/ 38 h 107"/>
              <a:gd name="T22" fmla="*/ 60 w 79"/>
              <a:gd name="T23" fmla="*/ 25 h 107"/>
              <a:gd name="T24" fmla="*/ 54 w 79"/>
              <a:gd name="T25" fmla="*/ 35 h 107"/>
              <a:gd name="T26" fmla="*/ 54 w 79"/>
              <a:gd name="T27" fmla="*/ 16 h 107"/>
              <a:gd name="T28" fmla="*/ 60 w 79"/>
              <a:gd name="T29" fmla="*/ 10 h 107"/>
              <a:gd name="T30" fmla="*/ 66 w 79"/>
              <a:gd name="T31" fmla="*/ 7 h 107"/>
              <a:gd name="T32" fmla="*/ 60 w 79"/>
              <a:gd name="T33" fmla="*/ 3 h 107"/>
              <a:gd name="T34" fmla="*/ 54 w 79"/>
              <a:gd name="T35" fmla="*/ 13 h 107"/>
              <a:gd name="T36" fmla="*/ 54 w 79"/>
              <a:gd name="T37" fmla="*/ 3 h 107"/>
              <a:gd name="T38" fmla="*/ 50 w 79"/>
              <a:gd name="T39" fmla="*/ 7 h 107"/>
              <a:gd name="T40" fmla="*/ 44 w 79"/>
              <a:gd name="T41" fmla="*/ 10 h 107"/>
              <a:gd name="T42" fmla="*/ 44 w 79"/>
              <a:gd name="T43" fmla="*/ 13 h 107"/>
              <a:gd name="T44" fmla="*/ 41 w 79"/>
              <a:gd name="T45" fmla="*/ 16 h 107"/>
              <a:gd name="T46" fmla="*/ 41 w 79"/>
              <a:gd name="T47" fmla="*/ 22 h 107"/>
              <a:gd name="T48" fmla="*/ 47 w 79"/>
              <a:gd name="T49" fmla="*/ 22 h 107"/>
              <a:gd name="T50" fmla="*/ 38 w 79"/>
              <a:gd name="T51" fmla="*/ 28 h 107"/>
              <a:gd name="T52" fmla="*/ 29 w 79"/>
              <a:gd name="T53" fmla="*/ 32 h 107"/>
              <a:gd name="T54" fmla="*/ 16 w 79"/>
              <a:gd name="T55" fmla="*/ 28 h 107"/>
              <a:gd name="T56" fmla="*/ 13 w 79"/>
              <a:gd name="T57" fmla="*/ 32 h 107"/>
              <a:gd name="T58" fmla="*/ 16 w 79"/>
              <a:gd name="T59" fmla="*/ 38 h 107"/>
              <a:gd name="T60" fmla="*/ 10 w 79"/>
              <a:gd name="T61" fmla="*/ 35 h 107"/>
              <a:gd name="T62" fmla="*/ 19 w 79"/>
              <a:gd name="T63" fmla="*/ 41 h 107"/>
              <a:gd name="T64" fmla="*/ 16 w 79"/>
              <a:gd name="T65" fmla="*/ 47 h 107"/>
              <a:gd name="T66" fmla="*/ 10 w 79"/>
              <a:gd name="T67" fmla="*/ 50 h 107"/>
              <a:gd name="T68" fmla="*/ 13 w 79"/>
              <a:gd name="T69" fmla="*/ 53 h 107"/>
              <a:gd name="T70" fmla="*/ 29 w 79"/>
              <a:gd name="T71" fmla="*/ 57 h 107"/>
              <a:gd name="T72" fmla="*/ 19 w 79"/>
              <a:gd name="T73" fmla="*/ 66 h 107"/>
              <a:gd name="T74" fmla="*/ 10 w 79"/>
              <a:gd name="T75" fmla="*/ 75 h 107"/>
              <a:gd name="T76" fmla="*/ 19 w 79"/>
              <a:gd name="T77" fmla="*/ 75 h 107"/>
              <a:gd name="T78" fmla="*/ 29 w 79"/>
              <a:gd name="T79" fmla="*/ 72 h 107"/>
              <a:gd name="T80" fmla="*/ 16 w 79"/>
              <a:gd name="T81" fmla="*/ 75 h 107"/>
              <a:gd name="T82" fmla="*/ 13 w 79"/>
              <a:gd name="T83" fmla="*/ 82 h 107"/>
              <a:gd name="T84" fmla="*/ 10 w 79"/>
              <a:gd name="T85" fmla="*/ 85 h 107"/>
              <a:gd name="T86" fmla="*/ 7 w 79"/>
              <a:gd name="T87" fmla="*/ 82 h 107"/>
              <a:gd name="T88" fmla="*/ 13 w 79"/>
              <a:gd name="T89" fmla="*/ 88 h 107"/>
              <a:gd name="T90" fmla="*/ 4 w 79"/>
              <a:gd name="T91" fmla="*/ 94 h 107"/>
              <a:gd name="T92" fmla="*/ 16 w 79"/>
              <a:gd name="T93" fmla="*/ 94 h 107"/>
              <a:gd name="T94" fmla="*/ 10 w 79"/>
              <a:gd name="T95" fmla="*/ 100 h 107"/>
              <a:gd name="T96" fmla="*/ 10 w 79"/>
              <a:gd name="T97" fmla="*/ 104 h 107"/>
              <a:gd name="T98" fmla="*/ 19 w 79"/>
              <a:gd name="T99" fmla="*/ 10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 h="107">
                <a:moveTo>
                  <a:pt x="19" y="107"/>
                </a:moveTo>
                <a:lnTo>
                  <a:pt x="29" y="104"/>
                </a:lnTo>
                <a:lnTo>
                  <a:pt x="35" y="104"/>
                </a:lnTo>
                <a:lnTo>
                  <a:pt x="38" y="100"/>
                </a:lnTo>
                <a:lnTo>
                  <a:pt x="38" y="94"/>
                </a:lnTo>
                <a:lnTo>
                  <a:pt x="41" y="97"/>
                </a:lnTo>
                <a:lnTo>
                  <a:pt x="38" y="97"/>
                </a:lnTo>
                <a:lnTo>
                  <a:pt x="44" y="97"/>
                </a:lnTo>
                <a:lnTo>
                  <a:pt x="47" y="94"/>
                </a:lnTo>
                <a:lnTo>
                  <a:pt x="50" y="94"/>
                </a:lnTo>
                <a:lnTo>
                  <a:pt x="50" y="91"/>
                </a:lnTo>
                <a:lnTo>
                  <a:pt x="60" y="91"/>
                </a:lnTo>
                <a:lnTo>
                  <a:pt x="63" y="88"/>
                </a:lnTo>
                <a:lnTo>
                  <a:pt x="63" y="91"/>
                </a:lnTo>
                <a:lnTo>
                  <a:pt x="66" y="88"/>
                </a:lnTo>
                <a:lnTo>
                  <a:pt x="69" y="88"/>
                </a:lnTo>
                <a:lnTo>
                  <a:pt x="75" y="88"/>
                </a:lnTo>
                <a:lnTo>
                  <a:pt x="69" y="85"/>
                </a:lnTo>
                <a:lnTo>
                  <a:pt x="72" y="82"/>
                </a:lnTo>
                <a:lnTo>
                  <a:pt x="75" y="78"/>
                </a:lnTo>
                <a:lnTo>
                  <a:pt x="75" y="75"/>
                </a:lnTo>
                <a:lnTo>
                  <a:pt x="79" y="72"/>
                </a:lnTo>
                <a:lnTo>
                  <a:pt x="79" y="69"/>
                </a:lnTo>
                <a:lnTo>
                  <a:pt x="79" y="60"/>
                </a:lnTo>
                <a:lnTo>
                  <a:pt x="75" y="57"/>
                </a:lnTo>
                <a:lnTo>
                  <a:pt x="79" y="57"/>
                </a:lnTo>
                <a:lnTo>
                  <a:pt x="79" y="53"/>
                </a:lnTo>
                <a:lnTo>
                  <a:pt x="75" y="47"/>
                </a:lnTo>
                <a:lnTo>
                  <a:pt x="75" y="44"/>
                </a:lnTo>
                <a:lnTo>
                  <a:pt x="72" y="41"/>
                </a:lnTo>
                <a:lnTo>
                  <a:pt x="75" y="41"/>
                </a:lnTo>
                <a:lnTo>
                  <a:pt x="79" y="41"/>
                </a:lnTo>
                <a:lnTo>
                  <a:pt x="72" y="38"/>
                </a:lnTo>
                <a:lnTo>
                  <a:pt x="69" y="38"/>
                </a:lnTo>
                <a:lnTo>
                  <a:pt x="66" y="28"/>
                </a:lnTo>
                <a:lnTo>
                  <a:pt x="60" y="25"/>
                </a:lnTo>
                <a:lnTo>
                  <a:pt x="60" y="28"/>
                </a:lnTo>
                <a:lnTo>
                  <a:pt x="57" y="35"/>
                </a:lnTo>
                <a:lnTo>
                  <a:pt x="54" y="35"/>
                </a:lnTo>
                <a:lnTo>
                  <a:pt x="47" y="25"/>
                </a:lnTo>
                <a:lnTo>
                  <a:pt x="50" y="19"/>
                </a:lnTo>
                <a:lnTo>
                  <a:pt x="54" y="16"/>
                </a:lnTo>
                <a:lnTo>
                  <a:pt x="57" y="13"/>
                </a:lnTo>
                <a:lnTo>
                  <a:pt x="60" y="13"/>
                </a:lnTo>
                <a:lnTo>
                  <a:pt x="60" y="10"/>
                </a:lnTo>
                <a:lnTo>
                  <a:pt x="60" y="10"/>
                </a:lnTo>
                <a:lnTo>
                  <a:pt x="63" y="7"/>
                </a:lnTo>
                <a:lnTo>
                  <a:pt x="66" y="7"/>
                </a:lnTo>
                <a:lnTo>
                  <a:pt x="63" y="3"/>
                </a:lnTo>
                <a:lnTo>
                  <a:pt x="60" y="0"/>
                </a:lnTo>
                <a:lnTo>
                  <a:pt x="60" y="3"/>
                </a:lnTo>
                <a:lnTo>
                  <a:pt x="57" y="3"/>
                </a:lnTo>
                <a:lnTo>
                  <a:pt x="57" y="7"/>
                </a:lnTo>
                <a:lnTo>
                  <a:pt x="54" y="13"/>
                </a:lnTo>
                <a:lnTo>
                  <a:pt x="54" y="10"/>
                </a:lnTo>
                <a:lnTo>
                  <a:pt x="57" y="7"/>
                </a:lnTo>
                <a:lnTo>
                  <a:pt x="54" y="3"/>
                </a:lnTo>
                <a:lnTo>
                  <a:pt x="50" y="3"/>
                </a:lnTo>
                <a:lnTo>
                  <a:pt x="54" y="7"/>
                </a:lnTo>
                <a:lnTo>
                  <a:pt x="50" y="7"/>
                </a:lnTo>
                <a:lnTo>
                  <a:pt x="47" y="7"/>
                </a:lnTo>
                <a:lnTo>
                  <a:pt x="44" y="7"/>
                </a:lnTo>
                <a:lnTo>
                  <a:pt x="44" y="10"/>
                </a:lnTo>
                <a:lnTo>
                  <a:pt x="41" y="10"/>
                </a:lnTo>
                <a:lnTo>
                  <a:pt x="41" y="13"/>
                </a:lnTo>
                <a:lnTo>
                  <a:pt x="44" y="13"/>
                </a:lnTo>
                <a:lnTo>
                  <a:pt x="41" y="16"/>
                </a:lnTo>
                <a:lnTo>
                  <a:pt x="38" y="16"/>
                </a:lnTo>
                <a:lnTo>
                  <a:pt x="41" y="16"/>
                </a:lnTo>
                <a:lnTo>
                  <a:pt x="35" y="19"/>
                </a:lnTo>
                <a:lnTo>
                  <a:pt x="38" y="22"/>
                </a:lnTo>
                <a:lnTo>
                  <a:pt x="41" y="22"/>
                </a:lnTo>
                <a:lnTo>
                  <a:pt x="41" y="22"/>
                </a:lnTo>
                <a:lnTo>
                  <a:pt x="44" y="22"/>
                </a:lnTo>
                <a:lnTo>
                  <a:pt x="47" y="22"/>
                </a:lnTo>
                <a:lnTo>
                  <a:pt x="41" y="25"/>
                </a:lnTo>
                <a:lnTo>
                  <a:pt x="35" y="28"/>
                </a:lnTo>
                <a:lnTo>
                  <a:pt x="38" y="28"/>
                </a:lnTo>
                <a:lnTo>
                  <a:pt x="32" y="32"/>
                </a:lnTo>
                <a:lnTo>
                  <a:pt x="29" y="28"/>
                </a:lnTo>
                <a:lnTo>
                  <a:pt x="29" y="32"/>
                </a:lnTo>
                <a:lnTo>
                  <a:pt x="25" y="28"/>
                </a:lnTo>
                <a:lnTo>
                  <a:pt x="16" y="28"/>
                </a:lnTo>
                <a:lnTo>
                  <a:pt x="16" y="28"/>
                </a:lnTo>
                <a:lnTo>
                  <a:pt x="13" y="28"/>
                </a:lnTo>
                <a:lnTo>
                  <a:pt x="10" y="32"/>
                </a:lnTo>
                <a:lnTo>
                  <a:pt x="13" y="32"/>
                </a:lnTo>
                <a:lnTo>
                  <a:pt x="13" y="35"/>
                </a:lnTo>
                <a:lnTo>
                  <a:pt x="16" y="35"/>
                </a:lnTo>
                <a:lnTo>
                  <a:pt x="16" y="38"/>
                </a:lnTo>
                <a:lnTo>
                  <a:pt x="13" y="38"/>
                </a:lnTo>
                <a:lnTo>
                  <a:pt x="13" y="35"/>
                </a:lnTo>
                <a:lnTo>
                  <a:pt x="10" y="35"/>
                </a:lnTo>
                <a:lnTo>
                  <a:pt x="16" y="41"/>
                </a:lnTo>
                <a:lnTo>
                  <a:pt x="19" y="38"/>
                </a:lnTo>
                <a:lnTo>
                  <a:pt x="19" y="41"/>
                </a:lnTo>
                <a:lnTo>
                  <a:pt x="16" y="44"/>
                </a:lnTo>
                <a:lnTo>
                  <a:pt x="13" y="44"/>
                </a:lnTo>
                <a:lnTo>
                  <a:pt x="16" y="47"/>
                </a:lnTo>
                <a:lnTo>
                  <a:pt x="10" y="47"/>
                </a:lnTo>
                <a:lnTo>
                  <a:pt x="10" y="50"/>
                </a:lnTo>
                <a:lnTo>
                  <a:pt x="10" y="50"/>
                </a:lnTo>
                <a:lnTo>
                  <a:pt x="13" y="53"/>
                </a:lnTo>
                <a:lnTo>
                  <a:pt x="16" y="53"/>
                </a:lnTo>
                <a:lnTo>
                  <a:pt x="13" y="53"/>
                </a:lnTo>
                <a:lnTo>
                  <a:pt x="19" y="53"/>
                </a:lnTo>
                <a:lnTo>
                  <a:pt x="19" y="57"/>
                </a:lnTo>
                <a:lnTo>
                  <a:pt x="29" y="57"/>
                </a:lnTo>
                <a:lnTo>
                  <a:pt x="25" y="63"/>
                </a:lnTo>
                <a:lnTo>
                  <a:pt x="22" y="60"/>
                </a:lnTo>
                <a:lnTo>
                  <a:pt x="19" y="66"/>
                </a:lnTo>
                <a:lnTo>
                  <a:pt x="22" y="66"/>
                </a:lnTo>
                <a:lnTo>
                  <a:pt x="19" y="72"/>
                </a:lnTo>
                <a:lnTo>
                  <a:pt x="10" y="75"/>
                </a:lnTo>
                <a:lnTo>
                  <a:pt x="13" y="75"/>
                </a:lnTo>
                <a:lnTo>
                  <a:pt x="19" y="72"/>
                </a:lnTo>
                <a:lnTo>
                  <a:pt x="19" y="75"/>
                </a:lnTo>
                <a:lnTo>
                  <a:pt x="25" y="75"/>
                </a:lnTo>
                <a:lnTo>
                  <a:pt x="29" y="72"/>
                </a:lnTo>
                <a:lnTo>
                  <a:pt x="29" y="72"/>
                </a:lnTo>
                <a:lnTo>
                  <a:pt x="32" y="72"/>
                </a:lnTo>
                <a:lnTo>
                  <a:pt x="22" y="75"/>
                </a:lnTo>
                <a:lnTo>
                  <a:pt x="16" y="75"/>
                </a:lnTo>
                <a:lnTo>
                  <a:pt x="16" y="78"/>
                </a:lnTo>
                <a:lnTo>
                  <a:pt x="10" y="78"/>
                </a:lnTo>
                <a:lnTo>
                  <a:pt x="13" y="82"/>
                </a:lnTo>
                <a:lnTo>
                  <a:pt x="13" y="85"/>
                </a:lnTo>
                <a:lnTo>
                  <a:pt x="13" y="85"/>
                </a:lnTo>
                <a:lnTo>
                  <a:pt x="10" y="85"/>
                </a:lnTo>
                <a:lnTo>
                  <a:pt x="7" y="82"/>
                </a:lnTo>
                <a:lnTo>
                  <a:pt x="7" y="85"/>
                </a:lnTo>
                <a:lnTo>
                  <a:pt x="7" y="82"/>
                </a:lnTo>
                <a:lnTo>
                  <a:pt x="0" y="85"/>
                </a:lnTo>
                <a:lnTo>
                  <a:pt x="0" y="88"/>
                </a:lnTo>
                <a:lnTo>
                  <a:pt x="13" y="88"/>
                </a:lnTo>
                <a:lnTo>
                  <a:pt x="10" y="91"/>
                </a:lnTo>
                <a:lnTo>
                  <a:pt x="4" y="91"/>
                </a:lnTo>
                <a:lnTo>
                  <a:pt x="4" y="94"/>
                </a:lnTo>
                <a:lnTo>
                  <a:pt x="7" y="94"/>
                </a:lnTo>
                <a:lnTo>
                  <a:pt x="7" y="97"/>
                </a:lnTo>
                <a:lnTo>
                  <a:pt x="16" y="94"/>
                </a:lnTo>
                <a:lnTo>
                  <a:pt x="10" y="100"/>
                </a:lnTo>
                <a:lnTo>
                  <a:pt x="7" y="100"/>
                </a:lnTo>
                <a:lnTo>
                  <a:pt x="10" y="100"/>
                </a:lnTo>
                <a:lnTo>
                  <a:pt x="16" y="97"/>
                </a:lnTo>
                <a:lnTo>
                  <a:pt x="16" y="100"/>
                </a:lnTo>
                <a:lnTo>
                  <a:pt x="10" y="104"/>
                </a:lnTo>
                <a:lnTo>
                  <a:pt x="13" y="104"/>
                </a:lnTo>
                <a:lnTo>
                  <a:pt x="13" y="104"/>
                </a:lnTo>
                <a:lnTo>
                  <a:pt x="19" y="104"/>
                </a:lnTo>
                <a:lnTo>
                  <a:pt x="19" y="10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6" name="Freeform 74">
            <a:extLst>
              <a:ext uri="{FF2B5EF4-FFF2-40B4-BE49-F238E27FC236}">
                <a16:creationId xmlns:a16="http://schemas.microsoft.com/office/drawing/2014/main" id="{DC1883C7-77E8-DEE7-E566-29F0A9830EBA}"/>
              </a:ext>
            </a:extLst>
          </p:cNvPr>
          <p:cNvSpPr>
            <a:spLocks noEditPoints="1"/>
          </p:cNvSpPr>
          <p:nvPr userDrawn="1"/>
        </p:nvSpPr>
        <p:spPr bwMode="auto">
          <a:xfrm>
            <a:off x="12721394" y="4987205"/>
            <a:ext cx="536541" cy="981078"/>
          </a:xfrm>
          <a:custGeom>
            <a:avLst/>
            <a:gdLst>
              <a:gd name="T0" fmla="*/ 2 w 54"/>
              <a:gd name="T1" fmla="*/ 56 h 99"/>
              <a:gd name="T2" fmla="*/ 12 w 54"/>
              <a:gd name="T3" fmla="*/ 57 h 99"/>
              <a:gd name="T4" fmla="*/ 11 w 54"/>
              <a:gd name="T5" fmla="*/ 62 h 99"/>
              <a:gd name="T6" fmla="*/ 39 w 54"/>
              <a:gd name="T7" fmla="*/ 0 h 99"/>
              <a:gd name="T8" fmla="*/ 38 w 54"/>
              <a:gd name="T9" fmla="*/ 1 h 99"/>
              <a:gd name="T10" fmla="*/ 36 w 54"/>
              <a:gd name="T11" fmla="*/ 4 h 99"/>
              <a:gd name="T12" fmla="*/ 50 w 54"/>
              <a:gd name="T13" fmla="*/ 86 h 99"/>
              <a:gd name="T14" fmla="*/ 36 w 54"/>
              <a:gd name="T15" fmla="*/ 93 h 99"/>
              <a:gd name="T16" fmla="*/ 6 w 54"/>
              <a:gd name="T17" fmla="*/ 41 h 99"/>
              <a:gd name="T18" fmla="*/ 9 w 54"/>
              <a:gd name="T19" fmla="*/ 37 h 99"/>
              <a:gd name="T20" fmla="*/ 26 w 54"/>
              <a:gd name="T21" fmla="*/ 19 h 99"/>
              <a:gd name="T22" fmla="*/ 25 w 54"/>
              <a:gd name="T23" fmla="*/ 22 h 99"/>
              <a:gd name="T24" fmla="*/ 11 w 54"/>
              <a:gd name="T25" fmla="*/ 26 h 99"/>
              <a:gd name="T26" fmla="*/ 7 w 54"/>
              <a:gd name="T27" fmla="*/ 29 h 99"/>
              <a:gd name="T28" fmla="*/ 4 w 54"/>
              <a:gd name="T29" fmla="*/ 33 h 99"/>
              <a:gd name="T30" fmla="*/ 5 w 54"/>
              <a:gd name="T31" fmla="*/ 35 h 99"/>
              <a:gd name="T32" fmla="*/ 9 w 54"/>
              <a:gd name="T33" fmla="*/ 34 h 99"/>
              <a:gd name="T34" fmla="*/ 11 w 54"/>
              <a:gd name="T35" fmla="*/ 34 h 99"/>
              <a:gd name="T36" fmla="*/ 12 w 54"/>
              <a:gd name="T37" fmla="*/ 42 h 99"/>
              <a:gd name="T38" fmla="*/ 12 w 54"/>
              <a:gd name="T39" fmla="*/ 47 h 99"/>
              <a:gd name="T40" fmla="*/ 16 w 54"/>
              <a:gd name="T41" fmla="*/ 52 h 99"/>
              <a:gd name="T42" fmla="*/ 17 w 54"/>
              <a:gd name="T43" fmla="*/ 63 h 99"/>
              <a:gd name="T44" fmla="*/ 16 w 54"/>
              <a:gd name="T45" fmla="*/ 98 h 99"/>
              <a:gd name="T46" fmla="*/ 24 w 54"/>
              <a:gd name="T47" fmla="*/ 97 h 99"/>
              <a:gd name="T48" fmla="*/ 31 w 54"/>
              <a:gd name="T49" fmla="*/ 93 h 99"/>
              <a:gd name="T50" fmla="*/ 40 w 54"/>
              <a:gd name="T51" fmla="*/ 92 h 99"/>
              <a:gd name="T52" fmla="*/ 51 w 54"/>
              <a:gd name="T53" fmla="*/ 89 h 99"/>
              <a:gd name="T54" fmla="*/ 48 w 54"/>
              <a:gd name="T55" fmla="*/ 86 h 99"/>
              <a:gd name="T56" fmla="*/ 50 w 54"/>
              <a:gd name="T57" fmla="*/ 82 h 99"/>
              <a:gd name="T58" fmla="*/ 53 w 54"/>
              <a:gd name="T59" fmla="*/ 80 h 99"/>
              <a:gd name="T60" fmla="*/ 44 w 54"/>
              <a:gd name="T61" fmla="*/ 73 h 99"/>
              <a:gd name="T62" fmla="*/ 40 w 54"/>
              <a:gd name="T63" fmla="*/ 66 h 99"/>
              <a:gd name="T64" fmla="*/ 42 w 54"/>
              <a:gd name="T65" fmla="*/ 62 h 99"/>
              <a:gd name="T66" fmla="*/ 33 w 54"/>
              <a:gd name="T67" fmla="*/ 50 h 99"/>
              <a:gd name="T68" fmla="*/ 23 w 54"/>
              <a:gd name="T69" fmla="*/ 45 h 99"/>
              <a:gd name="T70" fmla="*/ 25 w 54"/>
              <a:gd name="T71" fmla="*/ 43 h 99"/>
              <a:gd name="T72" fmla="*/ 31 w 54"/>
              <a:gd name="T73" fmla="*/ 34 h 99"/>
              <a:gd name="T74" fmla="*/ 24 w 54"/>
              <a:gd name="T75" fmla="*/ 32 h 99"/>
              <a:gd name="T76" fmla="*/ 21 w 54"/>
              <a:gd name="T77" fmla="*/ 29 h 99"/>
              <a:gd name="T78" fmla="*/ 22 w 54"/>
              <a:gd name="T79" fmla="*/ 24 h 99"/>
              <a:gd name="T80" fmla="*/ 16 w 54"/>
              <a:gd name="T81" fmla="*/ 24 h 99"/>
              <a:gd name="T82" fmla="*/ 14 w 54"/>
              <a:gd name="T83" fmla="*/ 30 h 99"/>
              <a:gd name="T84" fmla="*/ 13 w 54"/>
              <a:gd name="T85" fmla="*/ 33 h 99"/>
              <a:gd name="T86" fmla="*/ 13 w 54"/>
              <a:gd name="T87" fmla="*/ 35 h 99"/>
              <a:gd name="T88" fmla="*/ 12 w 54"/>
              <a:gd name="T89" fmla="*/ 39 h 99"/>
              <a:gd name="T90" fmla="*/ 13 w 54"/>
              <a:gd name="T91" fmla="*/ 42 h 99"/>
              <a:gd name="T92" fmla="*/ 13 w 54"/>
              <a:gd name="T93" fmla="*/ 48 h 99"/>
              <a:gd name="T94" fmla="*/ 14 w 54"/>
              <a:gd name="T95" fmla="*/ 48 h 99"/>
              <a:gd name="T96" fmla="*/ 17 w 54"/>
              <a:gd name="T97" fmla="*/ 45 h 99"/>
              <a:gd name="T98" fmla="*/ 16 w 54"/>
              <a:gd name="T99" fmla="*/ 56 h 99"/>
              <a:gd name="T100" fmla="*/ 22 w 54"/>
              <a:gd name="T101" fmla="*/ 57 h 99"/>
              <a:gd name="T102" fmla="*/ 28 w 54"/>
              <a:gd name="T103" fmla="*/ 62 h 99"/>
              <a:gd name="T104" fmla="*/ 27 w 54"/>
              <a:gd name="T105" fmla="*/ 69 h 99"/>
              <a:gd name="T106" fmla="*/ 17 w 54"/>
              <a:gd name="T107" fmla="*/ 74 h 99"/>
              <a:gd name="T108" fmla="*/ 19 w 54"/>
              <a:gd name="T109" fmla="*/ 80 h 99"/>
              <a:gd name="T110" fmla="*/ 16 w 54"/>
              <a:gd name="T111" fmla="*/ 85 h 99"/>
              <a:gd name="T112" fmla="*/ 24 w 54"/>
              <a:gd name="T113" fmla="*/ 86 h 99"/>
              <a:gd name="T114" fmla="*/ 27 w 54"/>
              <a:gd name="T115" fmla="*/ 89 h 99"/>
              <a:gd name="T116" fmla="*/ 16 w 54"/>
              <a:gd name="T117" fmla="*/ 94 h 99"/>
              <a:gd name="T118" fmla="*/ 15 w 54"/>
              <a:gd name="T119"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 h="99">
                <a:moveTo>
                  <a:pt x="10" y="64"/>
                </a:moveTo>
                <a:cubicBezTo>
                  <a:pt x="8" y="63"/>
                  <a:pt x="8" y="63"/>
                  <a:pt x="8" y="63"/>
                </a:cubicBezTo>
                <a:cubicBezTo>
                  <a:pt x="7" y="63"/>
                  <a:pt x="7" y="63"/>
                  <a:pt x="7" y="63"/>
                </a:cubicBezTo>
                <a:cubicBezTo>
                  <a:pt x="6" y="60"/>
                  <a:pt x="6" y="60"/>
                  <a:pt x="6" y="60"/>
                </a:cubicBezTo>
                <a:cubicBezTo>
                  <a:pt x="4" y="59"/>
                  <a:pt x="4" y="59"/>
                  <a:pt x="4" y="59"/>
                </a:cubicBezTo>
                <a:cubicBezTo>
                  <a:pt x="4" y="60"/>
                  <a:pt x="4" y="60"/>
                  <a:pt x="4" y="60"/>
                </a:cubicBezTo>
                <a:cubicBezTo>
                  <a:pt x="3" y="62"/>
                  <a:pt x="3" y="62"/>
                  <a:pt x="3" y="62"/>
                </a:cubicBezTo>
                <a:cubicBezTo>
                  <a:pt x="2" y="62"/>
                  <a:pt x="2" y="62"/>
                  <a:pt x="2" y="62"/>
                </a:cubicBezTo>
                <a:cubicBezTo>
                  <a:pt x="0" y="59"/>
                  <a:pt x="0" y="59"/>
                  <a:pt x="0" y="59"/>
                </a:cubicBezTo>
                <a:cubicBezTo>
                  <a:pt x="1" y="57"/>
                  <a:pt x="1" y="57"/>
                  <a:pt x="1" y="57"/>
                </a:cubicBezTo>
                <a:cubicBezTo>
                  <a:pt x="2" y="56"/>
                  <a:pt x="2" y="56"/>
                  <a:pt x="2" y="56"/>
                </a:cubicBezTo>
                <a:cubicBezTo>
                  <a:pt x="3" y="55"/>
                  <a:pt x="3" y="55"/>
                  <a:pt x="3" y="55"/>
                </a:cubicBezTo>
                <a:cubicBezTo>
                  <a:pt x="4" y="55"/>
                  <a:pt x="4" y="55"/>
                  <a:pt x="4" y="55"/>
                </a:cubicBezTo>
                <a:cubicBezTo>
                  <a:pt x="4" y="54"/>
                  <a:pt x="4" y="54"/>
                  <a:pt x="4" y="54"/>
                </a:cubicBezTo>
                <a:cubicBezTo>
                  <a:pt x="5" y="54"/>
                  <a:pt x="5" y="54"/>
                  <a:pt x="5" y="54"/>
                </a:cubicBezTo>
                <a:cubicBezTo>
                  <a:pt x="6" y="54"/>
                  <a:pt x="6" y="54"/>
                  <a:pt x="6" y="54"/>
                </a:cubicBezTo>
                <a:cubicBezTo>
                  <a:pt x="7" y="54"/>
                  <a:pt x="7" y="54"/>
                  <a:pt x="7" y="54"/>
                </a:cubicBezTo>
                <a:cubicBezTo>
                  <a:pt x="8" y="53"/>
                  <a:pt x="8" y="53"/>
                  <a:pt x="8" y="53"/>
                </a:cubicBezTo>
                <a:cubicBezTo>
                  <a:pt x="10" y="53"/>
                  <a:pt x="10" y="53"/>
                  <a:pt x="10" y="53"/>
                </a:cubicBezTo>
                <a:cubicBezTo>
                  <a:pt x="11" y="53"/>
                  <a:pt x="11" y="53"/>
                  <a:pt x="11" y="53"/>
                </a:cubicBezTo>
                <a:cubicBezTo>
                  <a:pt x="11" y="55"/>
                  <a:pt x="11" y="55"/>
                  <a:pt x="11" y="55"/>
                </a:cubicBezTo>
                <a:cubicBezTo>
                  <a:pt x="12" y="57"/>
                  <a:pt x="12" y="57"/>
                  <a:pt x="12" y="57"/>
                </a:cubicBezTo>
                <a:cubicBezTo>
                  <a:pt x="12" y="58"/>
                  <a:pt x="12" y="58"/>
                  <a:pt x="12" y="58"/>
                </a:cubicBezTo>
                <a:cubicBezTo>
                  <a:pt x="13" y="58"/>
                  <a:pt x="13" y="58"/>
                  <a:pt x="13" y="58"/>
                </a:cubicBezTo>
                <a:cubicBezTo>
                  <a:pt x="14" y="61"/>
                  <a:pt x="14" y="61"/>
                  <a:pt x="14" y="61"/>
                </a:cubicBezTo>
                <a:cubicBezTo>
                  <a:pt x="13" y="59"/>
                  <a:pt x="13" y="59"/>
                  <a:pt x="13" y="59"/>
                </a:cubicBezTo>
                <a:cubicBezTo>
                  <a:pt x="12" y="59"/>
                  <a:pt x="12" y="59"/>
                  <a:pt x="12" y="59"/>
                </a:cubicBezTo>
                <a:cubicBezTo>
                  <a:pt x="13" y="59"/>
                  <a:pt x="13" y="59"/>
                  <a:pt x="13" y="59"/>
                </a:cubicBezTo>
                <a:cubicBezTo>
                  <a:pt x="12" y="60"/>
                  <a:pt x="12" y="60"/>
                  <a:pt x="12" y="60"/>
                </a:cubicBezTo>
                <a:cubicBezTo>
                  <a:pt x="13" y="61"/>
                  <a:pt x="13" y="61"/>
                  <a:pt x="13" y="61"/>
                </a:cubicBezTo>
                <a:cubicBezTo>
                  <a:pt x="13" y="62"/>
                  <a:pt x="13" y="62"/>
                  <a:pt x="13" y="62"/>
                </a:cubicBezTo>
                <a:cubicBezTo>
                  <a:pt x="11" y="61"/>
                  <a:pt x="11" y="61"/>
                  <a:pt x="11" y="61"/>
                </a:cubicBezTo>
                <a:cubicBezTo>
                  <a:pt x="11" y="62"/>
                  <a:pt x="11" y="62"/>
                  <a:pt x="11" y="62"/>
                </a:cubicBezTo>
                <a:cubicBezTo>
                  <a:pt x="10" y="63"/>
                  <a:pt x="10" y="63"/>
                  <a:pt x="10" y="63"/>
                </a:cubicBezTo>
                <a:cubicBezTo>
                  <a:pt x="10" y="63"/>
                  <a:pt x="10" y="63"/>
                  <a:pt x="10" y="63"/>
                </a:cubicBezTo>
                <a:cubicBezTo>
                  <a:pt x="10" y="64"/>
                  <a:pt x="10" y="64"/>
                  <a:pt x="10" y="64"/>
                </a:cubicBezTo>
                <a:cubicBezTo>
                  <a:pt x="10" y="64"/>
                  <a:pt x="10" y="64"/>
                  <a:pt x="10" y="64"/>
                </a:cubicBezTo>
                <a:close/>
                <a:moveTo>
                  <a:pt x="36" y="9"/>
                </a:moveTo>
                <a:cubicBezTo>
                  <a:pt x="37" y="8"/>
                  <a:pt x="37" y="8"/>
                  <a:pt x="37" y="8"/>
                </a:cubicBezTo>
                <a:cubicBezTo>
                  <a:pt x="37" y="8"/>
                  <a:pt x="37" y="8"/>
                  <a:pt x="37" y="8"/>
                </a:cubicBezTo>
                <a:cubicBezTo>
                  <a:pt x="36" y="9"/>
                  <a:pt x="36" y="9"/>
                  <a:pt x="36" y="9"/>
                </a:cubicBezTo>
                <a:close/>
                <a:moveTo>
                  <a:pt x="38" y="1"/>
                </a:moveTo>
                <a:cubicBezTo>
                  <a:pt x="38" y="1"/>
                  <a:pt x="38" y="1"/>
                  <a:pt x="38" y="1"/>
                </a:cubicBezTo>
                <a:cubicBezTo>
                  <a:pt x="39" y="0"/>
                  <a:pt x="39" y="0"/>
                  <a:pt x="39" y="0"/>
                </a:cubicBezTo>
                <a:cubicBezTo>
                  <a:pt x="38" y="1"/>
                  <a:pt x="38" y="1"/>
                  <a:pt x="38" y="1"/>
                </a:cubicBezTo>
                <a:close/>
                <a:moveTo>
                  <a:pt x="36" y="4"/>
                </a:moveTo>
                <a:cubicBezTo>
                  <a:pt x="36" y="3"/>
                  <a:pt x="36" y="3"/>
                  <a:pt x="36" y="3"/>
                </a:cubicBezTo>
                <a:cubicBezTo>
                  <a:pt x="35" y="3"/>
                  <a:pt x="35" y="3"/>
                  <a:pt x="35" y="3"/>
                </a:cubicBezTo>
                <a:cubicBezTo>
                  <a:pt x="35" y="4"/>
                  <a:pt x="35" y="4"/>
                  <a:pt x="35" y="4"/>
                </a:cubicBezTo>
                <a:cubicBezTo>
                  <a:pt x="35" y="4"/>
                  <a:pt x="36" y="4"/>
                  <a:pt x="36" y="4"/>
                </a:cubicBezTo>
                <a:close/>
                <a:moveTo>
                  <a:pt x="37" y="3"/>
                </a:moveTo>
                <a:cubicBezTo>
                  <a:pt x="36" y="3"/>
                  <a:pt x="36" y="3"/>
                  <a:pt x="36" y="3"/>
                </a:cubicBezTo>
                <a:cubicBezTo>
                  <a:pt x="37" y="2"/>
                  <a:pt x="37" y="2"/>
                  <a:pt x="37" y="2"/>
                </a:cubicBezTo>
                <a:cubicBezTo>
                  <a:pt x="37" y="1"/>
                  <a:pt x="37" y="1"/>
                  <a:pt x="37" y="1"/>
                </a:cubicBezTo>
                <a:cubicBezTo>
                  <a:pt x="38" y="1"/>
                  <a:pt x="38" y="1"/>
                  <a:pt x="38" y="1"/>
                </a:cubicBezTo>
                <a:cubicBezTo>
                  <a:pt x="38" y="3"/>
                  <a:pt x="38" y="3"/>
                  <a:pt x="38" y="3"/>
                </a:cubicBezTo>
                <a:cubicBezTo>
                  <a:pt x="37" y="3"/>
                  <a:pt x="37" y="3"/>
                  <a:pt x="37" y="3"/>
                </a:cubicBezTo>
                <a:close/>
                <a:moveTo>
                  <a:pt x="37" y="7"/>
                </a:moveTo>
                <a:cubicBezTo>
                  <a:pt x="36" y="6"/>
                  <a:pt x="36" y="6"/>
                  <a:pt x="36" y="6"/>
                </a:cubicBezTo>
                <a:cubicBezTo>
                  <a:pt x="35" y="6"/>
                  <a:pt x="35" y="6"/>
                  <a:pt x="35" y="6"/>
                </a:cubicBezTo>
                <a:cubicBezTo>
                  <a:pt x="34" y="5"/>
                  <a:pt x="34" y="5"/>
                  <a:pt x="34" y="5"/>
                </a:cubicBezTo>
                <a:cubicBezTo>
                  <a:pt x="35" y="5"/>
                  <a:pt x="35" y="5"/>
                  <a:pt x="35" y="5"/>
                </a:cubicBezTo>
                <a:cubicBezTo>
                  <a:pt x="36" y="5"/>
                  <a:pt x="36" y="5"/>
                  <a:pt x="36" y="5"/>
                </a:cubicBezTo>
                <a:cubicBezTo>
                  <a:pt x="36" y="5"/>
                  <a:pt x="36" y="5"/>
                  <a:pt x="36" y="5"/>
                </a:cubicBezTo>
                <a:cubicBezTo>
                  <a:pt x="36" y="4"/>
                  <a:pt x="36" y="4"/>
                  <a:pt x="36" y="4"/>
                </a:cubicBezTo>
                <a:cubicBezTo>
                  <a:pt x="36" y="4"/>
                  <a:pt x="36" y="4"/>
                  <a:pt x="36" y="4"/>
                </a:cubicBezTo>
                <a:cubicBezTo>
                  <a:pt x="37" y="4"/>
                  <a:pt x="37" y="4"/>
                  <a:pt x="37" y="4"/>
                </a:cubicBezTo>
                <a:cubicBezTo>
                  <a:pt x="38" y="4"/>
                  <a:pt x="38" y="4"/>
                  <a:pt x="38" y="4"/>
                </a:cubicBezTo>
                <a:cubicBezTo>
                  <a:pt x="37" y="5"/>
                  <a:pt x="37" y="5"/>
                  <a:pt x="37" y="5"/>
                </a:cubicBezTo>
                <a:cubicBezTo>
                  <a:pt x="38" y="6"/>
                  <a:pt x="38" y="6"/>
                  <a:pt x="38" y="6"/>
                </a:cubicBezTo>
                <a:cubicBezTo>
                  <a:pt x="37" y="6"/>
                  <a:pt x="37" y="6"/>
                  <a:pt x="37" y="6"/>
                </a:cubicBezTo>
                <a:cubicBezTo>
                  <a:pt x="37" y="7"/>
                  <a:pt x="37" y="7"/>
                  <a:pt x="37" y="7"/>
                </a:cubicBezTo>
                <a:cubicBezTo>
                  <a:pt x="37" y="7"/>
                  <a:pt x="37" y="7"/>
                  <a:pt x="37" y="7"/>
                </a:cubicBezTo>
                <a:close/>
                <a:moveTo>
                  <a:pt x="49" y="86"/>
                </a:moveTo>
                <a:cubicBezTo>
                  <a:pt x="49" y="86"/>
                  <a:pt x="49" y="86"/>
                  <a:pt x="49" y="86"/>
                </a:cubicBezTo>
                <a:cubicBezTo>
                  <a:pt x="50" y="86"/>
                  <a:pt x="50" y="86"/>
                  <a:pt x="50" y="86"/>
                </a:cubicBezTo>
                <a:cubicBezTo>
                  <a:pt x="50" y="86"/>
                  <a:pt x="50" y="86"/>
                  <a:pt x="50" y="86"/>
                </a:cubicBezTo>
                <a:cubicBezTo>
                  <a:pt x="49" y="85"/>
                  <a:pt x="49" y="85"/>
                  <a:pt x="49" y="85"/>
                </a:cubicBezTo>
                <a:cubicBezTo>
                  <a:pt x="49" y="86"/>
                  <a:pt x="49" y="86"/>
                  <a:pt x="49" y="86"/>
                </a:cubicBezTo>
                <a:close/>
                <a:moveTo>
                  <a:pt x="36" y="93"/>
                </a:moveTo>
                <a:cubicBezTo>
                  <a:pt x="37" y="92"/>
                  <a:pt x="37" y="92"/>
                  <a:pt x="37" y="92"/>
                </a:cubicBezTo>
                <a:cubicBezTo>
                  <a:pt x="38" y="92"/>
                  <a:pt x="38" y="92"/>
                  <a:pt x="38" y="92"/>
                </a:cubicBezTo>
                <a:cubicBezTo>
                  <a:pt x="39" y="92"/>
                  <a:pt x="39" y="92"/>
                  <a:pt x="39" y="92"/>
                </a:cubicBezTo>
                <a:cubicBezTo>
                  <a:pt x="38" y="93"/>
                  <a:pt x="38" y="93"/>
                  <a:pt x="38" y="93"/>
                </a:cubicBezTo>
                <a:cubicBezTo>
                  <a:pt x="38" y="94"/>
                  <a:pt x="38" y="94"/>
                  <a:pt x="38" y="94"/>
                </a:cubicBezTo>
                <a:cubicBezTo>
                  <a:pt x="37" y="94"/>
                  <a:pt x="37" y="94"/>
                  <a:pt x="37" y="94"/>
                </a:cubicBezTo>
                <a:cubicBezTo>
                  <a:pt x="37" y="93"/>
                  <a:pt x="37" y="93"/>
                  <a:pt x="37" y="93"/>
                </a:cubicBezTo>
                <a:cubicBezTo>
                  <a:pt x="36" y="93"/>
                  <a:pt x="36" y="93"/>
                  <a:pt x="36" y="93"/>
                </a:cubicBezTo>
                <a:close/>
                <a:moveTo>
                  <a:pt x="16" y="47"/>
                </a:moveTo>
                <a:cubicBezTo>
                  <a:pt x="15" y="48"/>
                  <a:pt x="15" y="48"/>
                  <a:pt x="15" y="48"/>
                </a:cubicBezTo>
                <a:cubicBezTo>
                  <a:pt x="16" y="49"/>
                  <a:pt x="16" y="49"/>
                  <a:pt x="16" y="49"/>
                </a:cubicBezTo>
                <a:cubicBezTo>
                  <a:pt x="16" y="48"/>
                  <a:pt x="16" y="48"/>
                  <a:pt x="16" y="48"/>
                </a:cubicBezTo>
                <a:cubicBezTo>
                  <a:pt x="16" y="47"/>
                  <a:pt x="16" y="47"/>
                  <a:pt x="16" y="47"/>
                </a:cubicBezTo>
                <a:close/>
                <a:moveTo>
                  <a:pt x="10" y="46"/>
                </a:moveTo>
                <a:cubicBezTo>
                  <a:pt x="10" y="45"/>
                  <a:pt x="10" y="45"/>
                  <a:pt x="10" y="45"/>
                </a:cubicBezTo>
                <a:cubicBezTo>
                  <a:pt x="10" y="46"/>
                  <a:pt x="10" y="46"/>
                  <a:pt x="10" y="46"/>
                </a:cubicBezTo>
                <a:cubicBezTo>
                  <a:pt x="10" y="46"/>
                  <a:pt x="10" y="46"/>
                  <a:pt x="10" y="46"/>
                </a:cubicBezTo>
                <a:close/>
                <a:moveTo>
                  <a:pt x="6" y="42"/>
                </a:moveTo>
                <a:cubicBezTo>
                  <a:pt x="6" y="41"/>
                  <a:pt x="6" y="41"/>
                  <a:pt x="6" y="41"/>
                </a:cubicBezTo>
                <a:cubicBezTo>
                  <a:pt x="7" y="41"/>
                  <a:pt x="7" y="41"/>
                  <a:pt x="7" y="41"/>
                </a:cubicBezTo>
                <a:cubicBezTo>
                  <a:pt x="6" y="42"/>
                  <a:pt x="6" y="42"/>
                  <a:pt x="6" y="42"/>
                </a:cubicBezTo>
                <a:close/>
                <a:moveTo>
                  <a:pt x="8" y="41"/>
                </a:moveTo>
                <a:cubicBezTo>
                  <a:pt x="9" y="40"/>
                  <a:pt x="9" y="40"/>
                  <a:pt x="9" y="40"/>
                </a:cubicBezTo>
                <a:cubicBezTo>
                  <a:pt x="9" y="41"/>
                  <a:pt x="9" y="41"/>
                  <a:pt x="9" y="41"/>
                </a:cubicBezTo>
                <a:cubicBezTo>
                  <a:pt x="8" y="41"/>
                  <a:pt x="8" y="41"/>
                  <a:pt x="8" y="41"/>
                </a:cubicBezTo>
                <a:close/>
                <a:moveTo>
                  <a:pt x="10" y="39"/>
                </a:moveTo>
                <a:cubicBezTo>
                  <a:pt x="11" y="38"/>
                  <a:pt x="11" y="38"/>
                  <a:pt x="11" y="38"/>
                </a:cubicBezTo>
                <a:cubicBezTo>
                  <a:pt x="10" y="38"/>
                  <a:pt x="10" y="38"/>
                  <a:pt x="10" y="38"/>
                </a:cubicBezTo>
                <a:cubicBezTo>
                  <a:pt x="10" y="39"/>
                  <a:pt x="10" y="39"/>
                  <a:pt x="10" y="39"/>
                </a:cubicBezTo>
                <a:close/>
                <a:moveTo>
                  <a:pt x="9" y="37"/>
                </a:moveTo>
                <a:cubicBezTo>
                  <a:pt x="10" y="38"/>
                  <a:pt x="10" y="38"/>
                  <a:pt x="10" y="38"/>
                </a:cubicBezTo>
                <a:cubicBezTo>
                  <a:pt x="10" y="38"/>
                  <a:pt x="10" y="38"/>
                  <a:pt x="10" y="38"/>
                </a:cubicBezTo>
                <a:cubicBezTo>
                  <a:pt x="10" y="37"/>
                  <a:pt x="10" y="37"/>
                  <a:pt x="10" y="37"/>
                </a:cubicBezTo>
                <a:cubicBezTo>
                  <a:pt x="9" y="37"/>
                  <a:pt x="9" y="37"/>
                  <a:pt x="9" y="37"/>
                </a:cubicBezTo>
                <a:close/>
                <a:moveTo>
                  <a:pt x="25" y="18"/>
                </a:moveTo>
                <a:cubicBezTo>
                  <a:pt x="26" y="19"/>
                  <a:pt x="26" y="19"/>
                  <a:pt x="26" y="19"/>
                </a:cubicBezTo>
                <a:cubicBezTo>
                  <a:pt x="26" y="18"/>
                  <a:pt x="26" y="18"/>
                  <a:pt x="26" y="18"/>
                </a:cubicBezTo>
                <a:cubicBezTo>
                  <a:pt x="25" y="18"/>
                  <a:pt x="25" y="18"/>
                  <a:pt x="25" y="18"/>
                </a:cubicBezTo>
                <a:close/>
                <a:moveTo>
                  <a:pt x="24" y="19"/>
                </a:moveTo>
                <a:cubicBezTo>
                  <a:pt x="25" y="19"/>
                  <a:pt x="25" y="19"/>
                  <a:pt x="25" y="19"/>
                </a:cubicBezTo>
                <a:cubicBezTo>
                  <a:pt x="26" y="19"/>
                  <a:pt x="26" y="19"/>
                  <a:pt x="26" y="19"/>
                </a:cubicBezTo>
                <a:cubicBezTo>
                  <a:pt x="25" y="20"/>
                  <a:pt x="25" y="20"/>
                  <a:pt x="25" y="20"/>
                </a:cubicBezTo>
                <a:cubicBezTo>
                  <a:pt x="27" y="20"/>
                  <a:pt x="27" y="20"/>
                  <a:pt x="27" y="20"/>
                </a:cubicBezTo>
                <a:cubicBezTo>
                  <a:pt x="27" y="21"/>
                  <a:pt x="27" y="21"/>
                  <a:pt x="27" y="21"/>
                </a:cubicBezTo>
                <a:cubicBezTo>
                  <a:pt x="26" y="20"/>
                  <a:pt x="26" y="20"/>
                  <a:pt x="26" y="20"/>
                </a:cubicBezTo>
                <a:cubicBezTo>
                  <a:pt x="25" y="20"/>
                  <a:pt x="25" y="20"/>
                  <a:pt x="25" y="20"/>
                </a:cubicBezTo>
                <a:cubicBezTo>
                  <a:pt x="25" y="20"/>
                  <a:pt x="25" y="20"/>
                  <a:pt x="25" y="20"/>
                </a:cubicBezTo>
                <a:cubicBezTo>
                  <a:pt x="25" y="20"/>
                  <a:pt x="25" y="20"/>
                  <a:pt x="25" y="20"/>
                </a:cubicBezTo>
                <a:cubicBezTo>
                  <a:pt x="24" y="20"/>
                  <a:pt x="24" y="20"/>
                  <a:pt x="24" y="20"/>
                </a:cubicBezTo>
                <a:cubicBezTo>
                  <a:pt x="24" y="19"/>
                  <a:pt x="24" y="19"/>
                  <a:pt x="24" y="19"/>
                </a:cubicBezTo>
                <a:close/>
                <a:moveTo>
                  <a:pt x="24" y="21"/>
                </a:moveTo>
                <a:cubicBezTo>
                  <a:pt x="25" y="22"/>
                  <a:pt x="25" y="22"/>
                  <a:pt x="25" y="22"/>
                </a:cubicBezTo>
                <a:cubicBezTo>
                  <a:pt x="25" y="21"/>
                  <a:pt x="25" y="21"/>
                  <a:pt x="25" y="21"/>
                </a:cubicBezTo>
                <a:cubicBezTo>
                  <a:pt x="25" y="21"/>
                  <a:pt x="25" y="21"/>
                  <a:pt x="25" y="21"/>
                </a:cubicBezTo>
                <a:cubicBezTo>
                  <a:pt x="24" y="21"/>
                  <a:pt x="24" y="21"/>
                  <a:pt x="24" y="21"/>
                </a:cubicBezTo>
                <a:close/>
                <a:moveTo>
                  <a:pt x="6" y="28"/>
                </a:moveTo>
                <a:cubicBezTo>
                  <a:pt x="7" y="28"/>
                  <a:pt x="7" y="28"/>
                  <a:pt x="7" y="28"/>
                </a:cubicBezTo>
                <a:cubicBezTo>
                  <a:pt x="6" y="27"/>
                  <a:pt x="6" y="27"/>
                  <a:pt x="6" y="27"/>
                </a:cubicBezTo>
                <a:cubicBezTo>
                  <a:pt x="7" y="26"/>
                  <a:pt x="7" y="26"/>
                  <a:pt x="7" y="26"/>
                </a:cubicBezTo>
                <a:cubicBezTo>
                  <a:pt x="8" y="27"/>
                  <a:pt x="8" y="27"/>
                  <a:pt x="8" y="27"/>
                </a:cubicBezTo>
                <a:cubicBezTo>
                  <a:pt x="8" y="26"/>
                  <a:pt x="8" y="26"/>
                  <a:pt x="8" y="26"/>
                </a:cubicBezTo>
                <a:cubicBezTo>
                  <a:pt x="10" y="24"/>
                  <a:pt x="10" y="24"/>
                  <a:pt x="10" y="24"/>
                </a:cubicBezTo>
                <a:cubicBezTo>
                  <a:pt x="11" y="26"/>
                  <a:pt x="11" y="26"/>
                  <a:pt x="11" y="26"/>
                </a:cubicBezTo>
                <a:cubicBezTo>
                  <a:pt x="10" y="27"/>
                  <a:pt x="10" y="27"/>
                  <a:pt x="10" y="27"/>
                </a:cubicBezTo>
                <a:cubicBezTo>
                  <a:pt x="9" y="28"/>
                  <a:pt x="9" y="28"/>
                  <a:pt x="9" y="28"/>
                </a:cubicBezTo>
                <a:cubicBezTo>
                  <a:pt x="10" y="28"/>
                  <a:pt x="10" y="28"/>
                  <a:pt x="10" y="28"/>
                </a:cubicBezTo>
                <a:cubicBezTo>
                  <a:pt x="9" y="29"/>
                  <a:pt x="9" y="29"/>
                  <a:pt x="9" y="29"/>
                </a:cubicBezTo>
                <a:cubicBezTo>
                  <a:pt x="8" y="29"/>
                  <a:pt x="8" y="29"/>
                  <a:pt x="8" y="29"/>
                </a:cubicBezTo>
                <a:cubicBezTo>
                  <a:pt x="7" y="29"/>
                  <a:pt x="7" y="29"/>
                  <a:pt x="7" y="29"/>
                </a:cubicBezTo>
                <a:cubicBezTo>
                  <a:pt x="6" y="28"/>
                  <a:pt x="6" y="28"/>
                  <a:pt x="6" y="28"/>
                </a:cubicBezTo>
                <a:close/>
                <a:moveTo>
                  <a:pt x="6" y="30"/>
                </a:moveTo>
                <a:cubicBezTo>
                  <a:pt x="7" y="31"/>
                  <a:pt x="7" y="31"/>
                  <a:pt x="7" y="31"/>
                </a:cubicBezTo>
                <a:cubicBezTo>
                  <a:pt x="8" y="30"/>
                  <a:pt x="8" y="30"/>
                  <a:pt x="8" y="30"/>
                </a:cubicBezTo>
                <a:cubicBezTo>
                  <a:pt x="7" y="29"/>
                  <a:pt x="7" y="29"/>
                  <a:pt x="7" y="29"/>
                </a:cubicBezTo>
                <a:cubicBezTo>
                  <a:pt x="7" y="29"/>
                  <a:pt x="7" y="29"/>
                  <a:pt x="7" y="29"/>
                </a:cubicBezTo>
                <a:cubicBezTo>
                  <a:pt x="6" y="30"/>
                  <a:pt x="6" y="30"/>
                  <a:pt x="6" y="30"/>
                </a:cubicBezTo>
                <a:cubicBezTo>
                  <a:pt x="6" y="30"/>
                  <a:pt x="6" y="30"/>
                  <a:pt x="6" y="30"/>
                </a:cubicBezTo>
                <a:close/>
                <a:moveTo>
                  <a:pt x="6" y="32"/>
                </a:moveTo>
                <a:cubicBezTo>
                  <a:pt x="5" y="32"/>
                  <a:pt x="5" y="32"/>
                  <a:pt x="5" y="32"/>
                </a:cubicBezTo>
                <a:cubicBezTo>
                  <a:pt x="4" y="32"/>
                  <a:pt x="4" y="32"/>
                  <a:pt x="4" y="32"/>
                </a:cubicBezTo>
                <a:cubicBezTo>
                  <a:pt x="4" y="31"/>
                  <a:pt x="4" y="31"/>
                  <a:pt x="4" y="31"/>
                </a:cubicBezTo>
                <a:cubicBezTo>
                  <a:pt x="6" y="31"/>
                  <a:pt x="6" y="31"/>
                  <a:pt x="6" y="31"/>
                </a:cubicBezTo>
                <a:cubicBezTo>
                  <a:pt x="6" y="32"/>
                  <a:pt x="6" y="32"/>
                  <a:pt x="6" y="32"/>
                </a:cubicBezTo>
                <a:close/>
                <a:moveTo>
                  <a:pt x="5" y="34"/>
                </a:moveTo>
                <a:cubicBezTo>
                  <a:pt x="4" y="33"/>
                  <a:pt x="4" y="33"/>
                  <a:pt x="4" y="33"/>
                </a:cubicBezTo>
                <a:cubicBezTo>
                  <a:pt x="4" y="33"/>
                  <a:pt x="4" y="33"/>
                  <a:pt x="4" y="33"/>
                </a:cubicBezTo>
                <a:cubicBezTo>
                  <a:pt x="5" y="33"/>
                  <a:pt x="5" y="33"/>
                  <a:pt x="5" y="33"/>
                </a:cubicBezTo>
                <a:cubicBezTo>
                  <a:pt x="5" y="34"/>
                  <a:pt x="5" y="34"/>
                  <a:pt x="5" y="34"/>
                </a:cubicBezTo>
                <a:close/>
                <a:moveTo>
                  <a:pt x="4" y="37"/>
                </a:moveTo>
                <a:cubicBezTo>
                  <a:pt x="4" y="37"/>
                  <a:pt x="4" y="37"/>
                  <a:pt x="4" y="37"/>
                </a:cubicBezTo>
                <a:cubicBezTo>
                  <a:pt x="3" y="38"/>
                  <a:pt x="3" y="38"/>
                  <a:pt x="3" y="38"/>
                </a:cubicBezTo>
                <a:cubicBezTo>
                  <a:pt x="3" y="37"/>
                  <a:pt x="3" y="37"/>
                  <a:pt x="3" y="37"/>
                </a:cubicBezTo>
                <a:cubicBezTo>
                  <a:pt x="4" y="37"/>
                  <a:pt x="4" y="37"/>
                  <a:pt x="4" y="37"/>
                </a:cubicBezTo>
                <a:close/>
                <a:moveTo>
                  <a:pt x="5" y="36"/>
                </a:moveTo>
                <a:cubicBezTo>
                  <a:pt x="5" y="35"/>
                  <a:pt x="5" y="35"/>
                  <a:pt x="5" y="35"/>
                </a:cubicBezTo>
                <a:cubicBezTo>
                  <a:pt x="5" y="35"/>
                  <a:pt x="5" y="35"/>
                  <a:pt x="5" y="35"/>
                </a:cubicBezTo>
                <a:cubicBezTo>
                  <a:pt x="5" y="34"/>
                  <a:pt x="5" y="34"/>
                  <a:pt x="5" y="34"/>
                </a:cubicBezTo>
                <a:cubicBezTo>
                  <a:pt x="4" y="34"/>
                  <a:pt x="4" y="34"/>
                  <a:pt x="4" y="34"/>
                </a:cubicBezTo>
                <a:cubicBezTo>
                  <a:pt x="4" y="34"/>
                  <a:pt x="4" y="34"/>
                  <a:pt x="4" y="34"/>
                </a:cubicBezTo>
                <a:cubicBezTo>
                  <a:pt x="4" y="35"/>
                  <a:pt x="4" y="35"/>
                  <a:pt x="4" y="35"/>
                </a:cubicBezTo>
                <a:cubicBezTo>
                  <a:pt x="4" y="36"/>
                  <a:pt x="4" y="36"/>
                  <a:pt x="4" y="36"/>
                </a:cubicBezTo>
                <a:cubicBezTo>
                  <a:pt x="5" y="36"/>
                  <a:pt x="5" y="36"/>
                  <a:pt x="5" y="36"/>
                </a:cubicBezTo>
                <a:close/>
                <a:moveTo>
                  <a:pt x="11" y="37"/>
                </a:moveTo>
                <a:cubicBezTo>
                  <a:pt x="11" y="36"/>
                  <a:pt x="11" y="36"/>
                  <a:pt x="11" y="36"/>
                </a:cubicBezTo>
                <a:cubicBezTo>
                  <a:pt x="10" y="36"/>
                  <a:pt x="10" y="36"/>
                  <a:pt x="10" y="36"/>
                </a:cubicBezTo>
                <a:cubicBezTo>
                  <a:pt x="9" y="34"/>
                  <a:pt x="9" y="34"/>
                  <a:pt x="9" y="34"/>
                </a:cubicBezTo>
                <a:cubicBezTo>
                  <a:pt x="9" y="34"/>
                  <a:pt x="9" y="34"/>
                  <a:pt x="9" y="34"/>
                </a:cubicBezTo>
                <a:cubicBezTo>
                  <a:pt x="9" y="34"/>
                  <a:pt x="9" y="34"/>
                  <a:pt x="9" y="34"/>
                </a:cubicBezTo>
                <a:cubicBezTo>
                  <a:pt x="9" y="34"/>
                  <a:pt x="9" y="34"/>
                  <a:pt x="9" y="34"/>
                </a:cubicBezTo>
                <a:cubicBezTo>
                  <a:pt x="7" y="33"/>
                  <a:pt x="7" y="33"/>
                  <a:pt x="7" y="33"/>
                </a:cubicBezTo>
                <a:cubicBezTo>
                  <a:pt x="8" y="33"/>
                  <a:pt x="8" y="33"/>
                  <a:pt x="8" y="33"/>
                </a:cubicBezTo>
                <a:cubicBezTo>
                  <a:pt x="8" y="33"/>
                  <a:pt x="8" y="33"/>
                  <a:pt x="8" y="33"/>
                </a:cubicBezTo>
                <a:cubicBezTo>
                  <a:pt x="8" y="32"/>
                  <a:pt x="8" y="32"/>
                  <a:pt x="8" y="32"/>
                </a:cubicBezTo>
                <a:cubicBezTo>
                  <a:pt x="10" y="33"/>
                  <a:pt x="10" y="33"/>
                  <a:pt x="10" y="33"/>
                </a:cubicBezTo>
                <a:cubicBezTo>
                  <a:pt x="9" y="32"/>
                  <a:pt x="9" y="32"/>
                  <a:pt x="9" y="32"/>
                </a:cubicBezTo>
                <a:cubicBezTo>
                  <a:pt x="10" y="31"/>
                  <a:pt x="10" y="31"/>
                  <a:pt x="10" y="31"/>
                </a:cubicBezTo>
                <a:cubicBezTo>
                  <a:pt x="11" y="32"/>
                  <a:pt x="11" y="32"/>
                  <a:pt x="11" y="32"/>
                </a:cubicBezTo>
                <a:cubicBezTo>
                  <a:pt x="11" y="34"/>
                  <a:pt x="11" y="34"/>
                  <a:pt x="11" y="34"/>
                </a:cubicBezTo>
                <a:cubicBezTo>
                  <a:pt x="12" y="35"/>
                  <a:pt x="12" y="35"/>
                  <a:pt x="12" y="35"/>
                </a:cubicBezTo>
                <a:cubicBezTo>
                  <a:pt x="12" y="35"/>
                  <a:pt x="12" y="35"/>
                  <a:pt x="12" y="35"/>
                </a:cubicBezTo>
                <a:cubicBezTo>
                  <a:pt x="13" y="35"/>
                  <a:pt x="13" y="35"/>
                  <a:pt x="13" y="35"/>
                </a:cubicBezTo>
                <a:cubicBezTo>
                  <a:pt x="12" y="36"/>
                  <a:pt x="12" y="36"/>
                  <a:pt x="12" y="36"/>
                </a:cubicBezTo>
                <a:cubicBezTo>
                  <a:pt x="12" y="37"/>
                  <a:pt x="12" y="37"/>
                  <a:pt x="12" y="37"/>
                </a:cubicBezTo>
                <a:cubicBezTo>
                  <a:pt x="11" y="37"/>
                  <a:pt x="11" y="37"/>
                  <a:pt x="11" y="37"/>
                </a:cubicBezTo>
                <a:close/>
                <a:moveTo>
                  <a:pt x="9" y="44"/>
                </a:moveTo>
                <a:cubicBezTo>
                  <a:pt x="12" y="43"/>
                  <a:pt x="12" y="43"/>
                  <a:pt x="12" y="43"/>
                </a:cubicBezTo>
                <a:cubicBezTo>
                  <a:pt x="12" y="44"/>
                  <a:pt x="12" y="44"/>
                  <a:pt x="12" y="44"/>
                </a:cubicBezTo>
                <a:cubicBezTo>
                  <a:pt x="13" y="43"/>
                  <a:pt x="13" y="43"/>
                  <a:pt x="13" y="43"/>
                </a:cubicBezTo>
                <a:cubicBezTo>
                  <a:pt x="12" y="42"/>
                  <a:pt x="12" y="42"/>
                  <a:pt x="12" y="42"/>
                </a:cubicBezTo>
                <a:cubicBezTo>
                  <a:pt x="12" y="42"/>
                  <a:pt x="12" y="42"/>
                  <a:pt x="12" y="42"/>
                </a:cubicBezTo>
                <a:cubicBezTo>
                  <a:pt x="11" y="40"/>
                  <a:pt x="11" y="40"/>
                  <a:pt x="11" y="40"/>
                </a:cubicBezTo>
                <a:cubicBezTo>
                  <a:pt x="9" y="41"/>
                  <a:pt x="9" y="41"/>
                  <a:pt x="9" y="41"/>
                </a:cubicBezTo>
                <a:cubicBezTo>
                  <a:pt x="11" y="42"/>
                  <a:pt x="11" y="42"/>
                  <a:pt x="11" y="42"/>
                </a:cubicBezTo>
                <a:cubicBezTo>
                  <a:pt x="10" y="43"/>
                  <a:pt x="10" y="43"/>
                  <a:pt x="10" y="43"/>
                </a:cubicBezTo>
                <a:cubicBezTo>
                  <a:pt x="10" y="43"/>
                  <a:pt x="10" y="43"/>
                  <a:pt x="10" y="43"/>
                </a:cubicBezTo>
                <a:cubicBezTo>
                  <a:pt x="9" y="44"/>
                  <a:pt x="9" y="44"/>
                  <a:pt x="9" y="44"/>
                </a:cubicBezTo>
                <a:close/>
                <a:moveTo>
                  <a:pt x="11" y="48"/>
                </a:moveTo>
                <a:cubicBezTo>
                  <a:pt x="11" y="47"/>
                  <a:pt x="11" y="47"/>
                  <a:pt x="11" y="47"/>
                </a:cubicBezTo>
                <a:cubicBezTo>
                  <a:pt x="13" y="45"/>
                  <a:pt x="13" y="45"/>
                  <a:pt x="13" y="45"/>
                </a:cubicBezTo>
                <a:cubicBezTo>
                  <a:pt x="12" y="47"/>
                  <a:pt x="12" y="47"/>
                  <a:pt x="12" y="47"/>
                </a:cubicBezTo>
                <a:cubicBezTo>
                  <a:pt x="11" y="48"/>
                  <a:pt x="11" y="48"/>
                  <a:pt x="11" y="48"/>
                </a:cubicBezTo>
                <a:close/>
                <a:moveTo>
                  <a:pt x="9" y="50"/>
                </a:moveTo>
                <a:cubicBezTo>
                  <a:pt x="11" y="49"/>
                  <a:pt x="11" y="49"/>
                  <a:pt x="11" y="49"/>
                </a:cubicBezTo>
                <a:cubicBezTo>
                  <a:pt x="10" y="47"/>
                  <a:pt x="10" y="47"/>
                  <a:pt x="10" y="47"/>
                </a:cubicBezTo>
                <a:cubicBezTo>
                  <a:pt x="8" y="48"/>
                  <a:pt x="8" y="48"/>
                  <a:pt x="8" y="48"/>
                </a:cubicBezTo>
                <a:cubicBezTo>
                  <a:pt x="8" y="49"/>
                  <a:pt x="8" y="49"/>
                  <a:pt x="8" y="49"/>
                </a:cubicBezTo>
                <a:cubicBezTo>
                  <a:pt x="10" y="48"/>
                  <a:pt x="10" y="48"/>
                  <a:pt x="10" y="48"/>
                </a:cubicBezTo>
                <a:cubicBezTo>
                  <a:pt x="9" y="50"/>
                  <a:pt x="9" y="50"/>
                  <a:pt x="9" y="50"/>
                </a:cubicBezTo>
                <a:close/>
                <a:moveTo>
                  <a:pt x="14" y="49"/>
                </a:moveTo>
                <a:cubicBezTo>
                  <a:pt x="14" y="51"/>
                  <a:pt x="14" y="51"/>
                  <a:pt x="14" y="51"/>
                </a:cubicBezTo>
                <a:cubicBezTo>
                  <a:pt x="16" y="52"/>
                  <a:pt x="16" y="52"/>
                  <a:pt x="16" y="52"/>
                </a:cubicBezTo>
                <a:cubicBezTo>
                  <a:pt x="16" y="50"/>
                  <a:pt x="16" y="50"/>
                  <a:pt x="16" y="50"/>
                </a:cubicBezTo>
                <a:cubicBezTo>
                  <a:pt x="15" y="49"/>
                  <a:pt x="15" y="49"/>
                  <a:pt x="15" y="49"/>
                </a:cubicBezTo>
                <a:cubicBezTo>
                  <a:pt x="14" y="49"/>
                  <a:pt x="14" y="49"/>
                  <a:pt x="14" y="49"/>
                </a:cubicBezTo>
                <a:close/>
                <a:moveTo>
                  <a:pt x="18" y="70"/>
                </a:moveTo>
                <a:cubicBezTo>
                  <a:pt x="20" y="71"/>
                  <a:pt x="20" y="71"/>
                  <a:pt x="20" y="71"/>
                </a:cubicBezTo>
                <a:cubicBezTo>
                  <a:pt x="21" y="70"/>
                  <a:pt x="21" y="70"/>
                  <a:pt x="21" y="70"/>
                </a:cubicBezTo>
                <a:cubicBezTo>
                  <a:pt x="20" y="70"/>
                  <a:pt x="20" y="70"/>
                  <a:pt x="20" y="70"/>
                </a:cubicBezTo>
                <a:cubicBezTo>
                  <a:pt x="20" y="69"/>
                  <a:pt x="20" y="69"/>
                  <a:pt x="20" y="69"/>
                </a:cubicBezTo>
                <a:cubicBezTo>
                  <a:pt x="19" y="69"/>
                  <a:pt x="19" y="69"/>
                  <a:pt x="19" y="69"/>
                </a:cubicBezTo>
                <a:cubicBezTo>
                  <a:pt x="19" y="69"/>
                  <a:pt x="18" y="70"/>
                  <a:pt x="18" y="70"/>
                </a:cubicBezTo>
                <a:close/>
                <a:moveTo>
                  <a:pt x="17" y="63"/>
                </a:moveTo>
                <a:cubicBezTo>
                  <a:pt x="17" y="62"/>
                  <a:pt x="17" y="62"/>
                  <a:pt x="17" y="62"/>
                </a:cubicBezTo>
                <a:cubicBezTo>
                  <a:pt x="20" y="60"/>
                  <a:pt x="20" y="60"/>
                  <a:pt x="20" y="60"/>
                </a:cubicBezTo>
                <a:cubicBezTo>
                  <a:pt x="19" y="61"/>
                  <a:pt x="19" y="61"/>
                  <a:pt x="19" y="61"/>
                </a:cubicBezTo>
                <a:cubicBezTo>
                  <a:pt x="20" y="62"/>
                  <a:pt x="20" y="62"/>
                  <a:pt x="20" y="62"/>
                </a:cubicBezTo>
                <a:cubicBezTo>
                  <a:pt x="18" y="63"/>
                  <a:pt x="18" y="63"/>
                  <a:pt x="18" y="63"/>
                </a:cubicBezTo>
                <a:cubicBezTo>
                  <a:pt x="17" y="63"/>
                  <a:pt x="17" y="63"/>
                  <a:pt x="17" y="63"/>
                </a:cubicBezTo>
                <a:close/>
                <a:moveTo>
                  <a:pt x="15" y="99"/>
                </a:moveTo>
                <a:cubicBezTo>
                  <a:pt x="15" y="98"/>
                  <a:pt x="15" y="98"/>
                  <a:pt x="15" y="98"/>
                </a:cubicBezTo>
                <a:cubicBezTo>
                  <a:pt x="15" y="98"/>
                  <a:pt x="15" y="98"/>
                  <a:pt x="15" y="98"/>
                </a:cubicBezTo>
                <a:cubicBezTo>
                  <a:pt x="16" y="97"/>
                  <a:pt x="16" y="97"/>
                  <a:pt x="16" y="97"/>
                </a:cubicBezTo>
                <a:cubicBezTo>
                  <a:pt x="16" y="98"/>
                  <a:pt x="16" y="98"/>
                  <a:pt x="16" y="98"/>
                </a:cubicBezTo>
                <a:cubicBezTo>
                  <a:pt x="17" y="97"/>
                  <a:pt x="17" y="97"/>
                  <a:pt x="17" y="97"/>
                </a:cubicBezTo>
                <a:cubicBezTo>
                  <a:pt x="17" y="97"/>
                  <a:pt x="17" y="97"/>
                  <a:pt x="17" y="97"/>
                </a:cubicBezTo>
                <a:cubicBezTo>
                  <a:pt x="18" y="96"/>
                  <a:pt x="18" y="96"/>
                  <a:pt x="18" y="96"/>
                </a:cubicBezTo>
                <a:cubicBezTo>
                  <a:pt x="19" y="96"/>
                  <a:pt x="19" y="96"/>
                  <a:pt x="19" y="96"/>
                </a:cubicBezTo>
                <a:cubicBezTo>
                  <a:pt x="20" y="96"/>
                  <a:pt x="20" y="96"/>
                  <a:pt x="20" y="96"/>
                </a:cubicBezTo>
                <a:cubicBezTo>
                  <a:pt x="20" y="96"/>
                  <a:pt x="20" y="96"/>
                  <a:pt x="20" y="96"/>
                </a:cubicBezTo>
                <a:cubicBezTo>
                  <a:pt x="21" y="96"/>
                  <a:pt x="21" y="96"/>
                  <a:pt x="21" y="96"/>
                </a:cubicBezTo>
                <a:cubicBezTo>
                  <a:pt x="21" y="96"/>
                  <a:pt x="21" y="96"/>
                  <a:pt x="21" y="96"/>
                </a:cubicBezTo>
                <a:cubicBezTo>
                  <a:pt x="22" y="96"/>
                  <a:pt x="22" y="96"/>
                  <a:pt x="22" y="96"/>
                </a:cubicBezTo>
                <a:cubicBezTo>
                  <a:pt x="23" y="97"/>
                  <a:pt x="23" y="97"/>
                  <a:pt x="23" y="97"/>
                </a:cubicBezTo>
                <a:cubicBezTo>
                  <a:pt x="24" y="97"/>
                  <a:pt x="24" y="97"/>
                  <a:pt x="24" y="97"/>
                </a:cubicBezTo>
                <a:cubicBezTo>
                  <a:pt x="24" y="96"/>
                  <a:pt x="24" y="96"/>
                  <a:pt x="24" y="96"/>
                </a:cubicBezTo>
                <a:cubicBezTo>
                  <a:pt x="25" y="96"/>
                  <a:pt x="25" y="96"/>
                  <a:pt x="25" y="96"/>
                </a:cubicBezTo>
                <a:cubicBezTo>
                  <a:pt x="25" y="95"/>
                  <a:pt x="25" y="95"/>
                  <a:pt x="25" y="95"/>
                </a:cubicBezTo>
                <a:cubicBezTo>
                  <a:pt x="25" y="94"/>
                  <a:pt x="25" y="94"/>
                  <a:pt x="25" y="94"/>
                </a:cubicBezTo>
                <a:cubicBezTo>
                  <a:pt x="25" y="94"/>
                  <a:pt x="25" y="94"/>
                  <a:pt x="25" y="94"/>
                </a:cubicBezTo>
                <a:cubicBezTo>
                  <a:pt x="26" y="93"/>
                  <a:pt x="26" y="93"/>
                  <a:pt x="26" y="93"/>
                </a:cubicBezTo>
                <a:cubicBezTo>
                  <a:pt x="26" y="93"/>
                  <a:pt x="26" y="93"/>
                  <a:pt x="26" y="93"/>
                </a:cubicBezTo>
                <a:cubicBezTo>
                  <a:pt x="28" y="93"/>
                  <a:pt x="28" y="93"/>
                  <a:pt x="28" y="93"/>
                </a:cubicBezTo>
                <a:cubicBezTo>
                  <a:pt x="29" y="93"/>
                  <a:pt x="29" y="93"/>
                  <a:pt x="29" y="93"/>
                </a:cubicBezTo>
                <a:cubicBezTo>
                  <a:pt x="31" y="94"/>
                  <a:pt x="31" y="94"/>
                  <a:pt x="31" y="94"/>
                </a:cubicBezTo>
                <a:cubicBezTo>
                  <a:pt x="31" y="93"/>
                  <a:pt x="31" y="93"/>
                  <a:pt x="31" y="93"/>
                </a:cubicBezTo>
                <a:cubicBezTo>
                  <a:pt x="33" y="93"/>
                  <a:pt x="33" y="93"/>
                  <a:pt x="33" y="93"/>
                </a:cubicBezTo>
                <a:cubicBezTo>
                  <a:pt x="34" y="94"/>
                  <a:pt x="34" y="94"/>
                  <a:pt x="34" y="94"/>
                </a:cubicBezTo>
                <a:cubicBezTo>
                  <a:pt x="34" y="93"/>
                  <a:pt x="34" y="93"/>
                  <a:pt x="34" y="93"/>
                </a:cubicBezTo>
                <a:cubicBezTo>
                  <a:pt x="35" y="92"/>
                  <a:pt x="35" y="92"/>
                  <a:pt x="35" y="92"/>
                </a:cubicBezTo>
                <a:cubicBezTo>
                  <a:pt x="36" y="92"/>
                  <a:pt x="36" y="92"/>
                  <a:pt x="36" y="92"/>
                </a:cubicBezTo>
                <a:cubicBezTo>
                  <a:pt x="37" y="91"/>
                  <a:pt x="37" y="91"/>
                  <a:pt x="37" y="91"/>
                </a:cubicBezTo>
                <a:cubicBezTo>
                  <a:pt x="38" y="92"/>
                  <a:pt x="38" y="92"/>
                  <a:pt x="38" y="92"/>
                </a:cubicBezTo>
                <a:cubicBezTo>
                  <a:pt x="39" y="92"/>
                  <a:pt x="39" y="92"/>
                  <a:pt x="39" y="92"/>
                </a:cubicBezTo>
                <a:cubicBezTo>
                  <a:pt x="40" y="91"/>
                  <a:pt x="40" y="91"/>
                  <a:pt x="40" y="91"/>
                </a:cubicBezTo>
                <a:cubicBezTo>
                  <a:pt x="40" y="92"/>
                  <a:pt x="40" y="92"/>
                  <a:pt x="40" y="92"/>
                </a:cubicBezTo>
                <a:cubicBezTo>
                  <a:pt x="40" y="92"/>
                  <a:pt x="40" y="92"/>
                  <a:pt x="40" y="92"/>
                </a:cubicBezTo>
                <a:cubicBezTo>
                  <a:pt x="41" y="91"/>
                  <a:pt x="41" y="91"/>
                  <a:pt x="41" y="91"/>
                </a:cubicBezTo>
                <a:cubicBezTo>
                  <a:pt x="43" y="91"/>
                  <a:pt x="43" y="91"/>
                  <a:pt x="43" y="91"/>
                </a:cubicBezTo>
                <a:cubicBezTo>
                  <a:pt x="45" y="91"/>
                  <a:pt x="45" y="91"/>
                  <a:pt x="45" y="91"/>
                </a:cubicBezTo>
                <a:cubicBezTo>
                  <a:pt x="46" y="92"/>
                  <a:pt x="46" y="92"/>
                  <a:pt x="46" y="92"/>
                </a:cubicBezTo>
                <a:cubicBezTo>
                  <a:pt x="47" y="92"/>
                  <a:pt x="47" y="92"/>
                  <a:pt x="47" y="92"/>
                </a:cubicBezTo>
                <a:cubicBezTo>
                  <a:pt x="47" y="91"/>
                  <a:pt x="47" y="91"/>
                  <a:pt x="47" y="91"/>
                </a:cubicBezTo>
                <a:cubicBezTo>
                  <a:pt x="49" y="91"/>
                  <a:pt x="49" y="91"/>
                  <a:pt x="49" y="91"/>
                </a:cubicBezTo>
                <a:cubicBezTo>
                  <a:pt x="49" y="90"/>
                  <a:pt x="49" y="90"/>
                  <a:pt x="49" y="90"/>
                </a:cubicBezTo>
                <a:cubicBezTo>
                  <a:pt x="50" y="90"/>
                  <a:pt x="50" y="90"/>
                  <a:pt x="50" y="90"/>
                </a:cubicBezTo>
                <a:cubicBezTo>
                  <a:pt x="51" y="90"/>
                  <a:pt x="51" y="90"/>
                  <a:pt x="51" y="90"/>
                </a:cubicBezTo>
                <a:cubicBezTo>
                  <a:pt x="51" y="89"/>
                  <a:pt x="51" y="89"/>
                  <a:pt x="51" y="89"/>
                </a:cubicBezTo>
                <a:cubicBezTo>
                  <a:pt x="52" y="88"/>
                  <a:pt x="52" y="88"/>
                  <a:pt x="52" y="88"/>
                </a:cubicBezTo>
                <a:cubicBezTo>
                  <a:pt x="53" y="88"/>
                  <a:pt x="53" y="88"/>
                  <a:pt x="53" y="88"/>
                </a:cubicBezTo>
                <a:cubicBezTo>
                  <a:pt x="53" y="87"/>
                  <a:pt x="53" y="87"/>
                  <a:pt x="53" y="87"/>
                </a:cubicBezTo>
                <a:cubicBezTo>
                  <a:pt x="53" y="87"/>
                  <a:pt x="53" y="87"/>
                  <a:pt x="53" y="87"/>
                </a:cubicBezTo>
                <a:cubicBezTo>
                  <a:pt x="53" y="86"/>
                  <a:pt x="53" y="86"/>
                  <a:pt x="53" y="86"/>
                </a:cubicBezTo>
                <a:cubicBezTo>
                  <a:pt x="51" y="86"/>
                  <a:pt x="51" y="86"/>
                  <a:pt x="51" y="86"/>
                </a:cubicBezTo>
                <a:cubicBezTo>
                  <a:pt x="50" y="86"/>
                  <a:pt x="50" y="86"/>
                  <a:pt x="50" y="86"/>
                </a:cubicBezTo>
                <a:cubicBezTo>
                  <a:pt x="50" y="86"/>
                  <a:pt x="50" y="86"/>
                  <a:pt x="50" y="86"/>
                </a:cubicBezTo>
                <a:cubicBezTo>
                  <a:pt x="48" y="86"/>
                  <a:pt x="48" y="86"/>
                  <a:pt x="48" y="86"/>
                </a:cubicBezTo>
                <a:cubicBezTo>
                  <a:pt x="48" y="86"/>
                  <a:pt x="48" y="86"/>
                  <a:pt x="48" y="86"/>
                </a:cubicBezTo>
                <a:cubicBezTo>
                  <a:pt x="48" y="86"/>
                  <a:pt x="48" y="86"/>
                  <a:pt x="48" y="86"/>
                </a:cubicBezTo>
                <a:cubicBezTo>
                  <a:pt x="49" y="85"/>
                  <a:pt x="49" y="85"/>
                  <a:pt x="49" y="85"/>
                </a:cubicBezTo>
                <a:cubicBezTo>
                  <a:pt x="49" y="85"/>
                  <a:pt x="49" y="85"/>
                  <a:pt x="49" y="85"/>
                </a:cubicBezTo>
                <a:cubicBezTo>
                  <a:pt x="48" y="85"/>
                  <a:pt x="48" y="85"/>
                  <a:pt x="48" y="85"/>
                </a:cubicBezTo>
                <a:cubicBezTo>
                  <a:pt x="47" y="85"/>
                  <a:pt x="47" y="85"/>
                  <a:pt x="47" y="85"/>
                </a:cubicBezTo>
                <a:cubicBezTo>
                  <a:pt x="48" y="84"/>
                  <a:pt x="48" y="84"/>
                  <a:pt x="48" y="84"/>
                </a:cubicBezTo>
                <a:cubicBezTo>
                  <a:pt x="49" y="85"/>
                  <a:pt x="49" y="85"/>
                  <a:pt x="49" y="85"/>
                </a:cubicBezTo>
                <a:cubicBezTo>
                  <a:pt x="50" y="84"/>
                  <a:pt x="50" y="84"/>
                  <a:pt x="50" y="84"/>
                </a:cubicBezTo>
                <a:cubicBezTo>
                  <a:pt x="50" y="83"/>
                  <a:pt x="50" y="83"/>
                  <a:pt x="50" y="83"/>
                </a:cubicBezTo>
                <a:cubicBezTo>
                  <a:pt x="49" y="83"/>
                  <a:pt x="49" y="83"/>
                  <a:pt x="49" y="83"/>
                </a:cubicBezTo>
                <a:cubicBezTo>
                  <a:pt x="49" y="83"/>
                  <a:pt x="49" y="83"/>
                  <a:pt x="49" y="83"/>
                </a:cubicBezTo>
                <a:cubicBezTo>
                  <a:pt x="50" y="82"/>
                  <a:pt x="50" y="82"/>
                  <a:pt x="50" y="82"/>
                </a:cubicBezTo>
                <a:cubicBezTo>
                  <a:pt x="51" y="83"/>
                  <a:pt x="51" y="83"/>
                  <a:pt x="51" y="83"/>
                </a:cubicBezTo>
                <a:cubicBezTo>
                  <a:pt x="51" y="82"/>
                  <a:pt x="51" y="82"/>
                  <a:pt x="51" y="82"/>
                </a:cubicBezTo>
                <a:cubicBezTo>
                  <a:pt x="52" y="81"/>
                  <a:pt x="52" y="81"/>
                  <a:pt x="52" y="81"/>
                </a:cubicBezTo>
                <a:cubicBezTo>
                  <a:pt x="51" y="81"/>
                  <a:pt x="51" y="81"/>
                  <a:pt x="51" y="81"/>
                </a:cubicBezTo>
                <a:cubicBezTo>
                  <a:pt x="52" y="81"/>
                  <a:pt x="52" y="81"/>
                  <a:pt x="52" y="81"/>
                </a:cubicBezTo>
                <a:cubicBezTo>
                  <a:pt x="51" y="81"/>
                  <a:pt x="51" y="81"/>
                  <a:pt x="51" y="81"/>
                </a:cubicBezTo>
                <a:cubicBezTo>
                  <a:pt x="51" y="80"/>
                  <a:pt x="51" y="80"/>
                  <a:pt x="51" y="80"/>
                </a:cubicBezTo>
                <a:cubicBezTo>
                  <a:pt x="52" y="80"/>
                  <a:pt x="52" y="80"/>
                  <a:pt x="52" y="80"/>
                </a:cubicBezTo>
                <a:cubicBezTo>
                  <a:pt x="52" y="81"/>
                  <a:pt x="52" y="81"/>
                  <a:pt x="52" y="81"/>
                </a:cubicBezTo>
                <a:cubicBezTo>
                  <a:pt x="53" y="80"/>
                  <a:pt x="53" y="80"/>
                  <a:pt x="53" y="80"/>
                </a:cubicBezTo>
                <a:cubicBezTo>
                  <a:pt x="53" y="80"/>
                  <a:pt x="53" y="80"/>
                  <a:pt x="53" y="80"/>
                </a:cubicBezTo>
                <a:cubicBezTo>
                  <a:pt x="53" y="78"/>
                  <a:pt x="53" y="78"/>
                  <a:pt x="53" y="78"/>
                </a:cubicBezTo>
                <a:cubicBezTo>
                  <a:pt x="54" y="76"/>
                  <a:pt x="54" y="76"/>
                  <a:pt x="54" y="76"/>
                </a:cubicBezTo>
                <a:cubicBezTo>
                  <a:pt x="54" y="75"/>
                  <a:pt x="54" y="75"/>
                  <a:pt x="54" y="75"/>
                </a:cubicBezTo>
                <a:cubicBezTo>
                  <a:pt x="53" y="74"/>
                  <a:pt x="53" y="74"/>
                  <a:pt x="53" y="74"/>
                </a:cubicBezTo>
                <a:cubicBezTo>
                  <a:pt x="51" y="72"/>
                  <a:pt x="51" y="72"/>
                  <a:pt x="51" y="72"/>
                </a:cubicBezTo>
                <a:cubicBezTo>
                  <a:pt x="48" y="72"/>
                  <a:pt x="48" y="72"/>
                  <a:pt x="48" y="72"/>
                </a:cubicBezTo>
                <a:cubicBezTo>
                  <a:pt x="46" y="72"/>
                  <a:pt x="46" y="72"/>
                  <a:pt x="46" y="72"/>
                </a:cubicBezTo>
                <a:cubicBezTo>
                  <a:pt x="46" y="73"/>
                  <a:pt x="46" y="73"/>
                  <a:pt x="46" y="73"/>
                </a:cubicBezTo>
                <a:cubicBezTo>
                  <a:pt x="46" y="74"/>
                  <a:pt x="46" y="74"/>
                  <a:pt x="46" y="74"/>
                </a:cubicBezTo>
                <a:cubicBezTo>
                  <a:pt x="45" y="73"/>
                  <a:pt x="45" y="73"/>
                  <a:pt x="45" y="73"/>
                </a:cubicBezTo>
                <a:cubicBezTo>
                  <a:pt x="44" y="73"/>
                  <a:pt x="44" y="73"/>
                  <a:pt x="44" y="73"/>
                </a:cubicBezTo>
                <a:cubicBezTo>
                  <a:pt x="46" y="71"/>
                  <a:pt x="46" y="71"/>
                  <a:pt x="46" y="71"/>
                </a:cubicBezTo>
                <a:cubicBezTo>
                  <a:pt x="46" y="70"/>
                  <a:pt x="46" y="70"/>
                  <a:pt x="46" y="70"/>
                </a:cubicBezTo>
                <a:cubicBezTo>
                  <a:pt x="44" y="68"/>
                  <a:pt x="44" y="68"/>
                  <a:pt x="44" y="68"/>
                </a:cubicBezTo>
                <a:cubicBezTo>
                  <a:pt x="44" y="68"/>
                  <a:pt x="44" y="68"/>
                  <a:pt x="44" y="68"/>
                </a:cubicBezTo>
                <a:cubicBezTo>
                  <a:pt x="42" y="67"/>
                  <a:pt x="42" y="67"/>
                  <a:pt x="42" y="67"/>
                </a:cubicBezTo>
                <a:cubicBezTo>
                  <a:pt x="42" y="66"/>
                  <a:pt x="42" y="66"/>
                  <a:pt x="42" y="66"/>
                </a:cubicBezTo>
                <a:cubicBezTo>
                  <a:pt x="41" y="66"/>
                  <a:pt x="41" y="66"/>
                  <a:pt x="41" y="66"/>
                </a:cubicBezTo>
                <a:cubicBezTo>
                  <a:pt x="41" y="66"/>
                  <a:pt x="41" y="66"/>
                  <a:pt x="41" y="66"/>
                </a:cubicBezTo>
                <a:cubicBezTo>
                  <a:pt x="40" y="66"/>
                  <a:pt x="40" y="66"/>
                  <a:pt x="40" y="66"/>
                </a:cubicBezTo>
                <a:cubicBezTo>
                  <a:pt x="39" y="66"/>
                  <a:pt x="39" y="66"/>
                  <a:pt x="39" y="66"/>
                </a:cubicBezTo>
                <a:cubicBezTo>
                  <a:pt x="40" y="66"/>
                  <a:pt x="40" y="66"/>
                  <a:pt x="40" y="66"/>
                </a:cubicBezTo>
                <a:cubicBezTo>
                  <a:pt x="41" y="66"/>
                  <a:pt x="41" y="66"/>
                  <a:pt x="41" y="66"/>
                </a:cubicBezTo>
                <a:cubicBezTo>
                  <a:pt x="42" y="66"/>
                  <a:pt x="42" y="66"/>
                  <a:pt x="42" y="66"/>
                </a:cubicBezTo>
                <a:cubicBezTo>
                  <a:pt x="42" y="66"/>
                  <a:pt x="42" y="66"/>
                  <a:pt x="42" y="66"/>
                </a:cubicBezTo>
                <a:cubicBezTo>
                  <a:pt x="43" y="66"/>
                  <a:pt x="43" y="66"/>
                  <a:pt x="43" y="66"/>
                </a:cubicBezTo>
                <a:cubicBezTo>
                  <a:pt x="43" y="66"/>
                  <a:pt x="43" y="66"/>
                  <a:pt x="43" y="66"/>
                </a:cubicBezTo>
                <a:cubicBezTo>
                  <a:pt x="44" y="66"/>
                  <a:pt x="44" y="66"/>
                  <a:pt x="44" y="66"/>
                </a:cubicBezTo>
                <a:cubicBezTo>
                  <a:pt x="42" y="64"/>
                  <a:pt x="42" y="64"/>
                  <a:pt x="42" y="64"/>
                </a:cubicBezTo>
                <a:cubicBezTo>
                  <a:pt x="42" y="63"/>
                  <a:pt x="42" y="63"/>
                  <a:pt x="42" y="63"/>
                </a:cubicBezTo>
                <a:cubicBezTo>
                  <a:pt x="42" y="63"/>
                  <a:pt x="42" y="63"/>
                  <a:pt x="42" y="63"/>
                </a:cubicBezTo>
                <a:cubicBezTo>
                  <a:pt x="43" y="62"/>
                  <a:pt x="43" y="62"/>
                  <a:pt x="43" y="62"/>
                </a:cubicBezTo>
                <a:cubicBezTo>
                  <a:pt x="42" y="62"/>
                  <a:pt x="42" y="62"/>
                  <a:pt x="42" y="62"/>
                </a:cubicBezTo>
                <a:cubicBezTo>
                  <a:pt x="41" y="61"/>
                  <a:pt x="41" y="61"/>
                  <a:pt x="41" y="61"/>
                </a:cubicBezTo>
                <a:cubicBezTo>
                  <a:pt x="41" y="61"/>
                  <a:pt x="41" y="61"/>
                  <a:pt x="41" y="61"/>
                </a:cubicBezTo>
                <a:cubicBezTo>
                  <a:pt x="40" y="59"/>
                  <a:pt x="40" y="59"/>
                  <a:pt x="40" y="59"/>
                </a:cubicBezTo>
                <a:cubicBezTo>
                  <a:pt x="39" y="59"/>
                  <a:pt x="39" y="59"/>
                  <a:pt x="39" y="59"/>
                </a:cubicBezTo>
                <a:cubicBezTo>
                  <a:pt x="36" y="58"/>
                  <a:pt x="36" y="58"/>
                  <a:pt x="36" y="58"/>
                </a:cubicBezTo>
                <a:cubicBezTo>
                  <a:pt x="36" y="57"/>
                  <a:pt x="36" y="57"/>
                  <a:pt x="36" y="57"/>
                </a:cubicBezTo>
                <a:cubicBezTo>
                  <a:pt x="36" y="57"/>
                  <a:pt x="36" y="57"/>
                  <a:pt x="36" y="57"/>
                </a:cubicBezTo>
                <a:cubicBezTo>
                  <a:pt x="35" y="55"/>
                  <a:pt x="35" y="55"/>
                  <a:pt x="35" y="55"/>
                </a:cubicBezTo>
                <a:cubicBezTo>
                  <a:pt x="34" y="54"/>
                  <a:pt x="34" y="54"/>
                  <a:pt x="34" y="54"/>
                </a:cubicBezTo>
                <a:cubicBezTo>
                  <a:pt x="34" y="51"/>
                  <a:pt x="34" y="51"/>
                  <a:pt x="34" y="51"/>
                </a:cubicBezTo>
                <a:cubicBezTo>
                  <a:pt x="33" y="50"/>
                  <a:pt x="33" y="50"/>
                  <a:pt x="33" y="50"/>
                </a:cubicBezTo>
                <a:cubicBezTo>
                  <a:pt x="33" y="50"/>
                  <a:pt x="33" y="50"/>
                  <a:pt x="33" y="50"/>
                </a:cubicBezTo>
                <a:cubicBezTo>
                  <a:pt x="31" y="47"/>
                  <a:pt x="31" y="47"/>
                  <a:pt x="31" y="47"/>
                </a:cubicBezTo>
                <a:cubicBezTo>
                  <a:pt x="30" y="47"/>
                  <a:pt x="30" y="47"/>
                  <a:pt x="30" y="47"/>
                </a:cubicBezTo>
                <a:cubicBezTo>
                  <a:pt x="29" y="46"/>
                  <a:pt x="29" y="46"/>
                  <a:pt x="29" y="46"/>
                </a:cubicBezTo>
                <a:cubicBezTo>
                  <a:pt x="28" y="46"/>
                  <a:pt x="28" y="46"/>
                  <a:pt x="28" y="46"/>
                </a:cubicBezTo>
                <a:cubicBezTo>
                  <a:pt x="27" y="46"/>
                  <a:pt x="27" y="46"/>
                  <a:pt x="27" y="46"/>
                </a:cubicBezTo>
                <a:cubicBezTo>
                  <a:pt x="26" y="47"/>
                  <a:pt x="26" y="47"/>
                  <a:pt x="26" y="47"/>
                </a:cubicBezTo>
                <a:cubicBezTo>
                  <a:pt x="25" y="46"/>
                  <a:pt x="25" y="46"/>
                  <a:pt x="25" y="46"/>
                </a:cubicBezTo>
                <a:cubicBezTo>
                  <a:pt x="24" y="46"/>
                  <a:pt x="24" y="46"/>
                  <a:pt x="24" y="46"/>
                </a:cubicBezTo>
                <a:cubicBezTo>
                  <a:pt x="23" y="46"/>
                  <a:pt x="23" y="46"/>
                  <a:pt x="23" y="46"/>
                </a:cubicBezTo>
                <a:cubicBezTo>
                  <a:pt x="23" y="45"/>
                  <a:pt x="23" y="45"/>
                  <a:pt x="23" y="45"/>
                </a:cubicBezTo>
                <a:cubicBezTo>
                  <a:pt x="23" y="46"/>
                  <a:pt x="23" y="46"/>
                  <a:pt x="23" y="46"/>
                </a:cubicBezTo>
                <a:cubicBezTo>
                  <a:pt x="25" y="46"/>
                  <a:pt x="25" y="46"/>
                  <a:pt x="25" y="46"/>
                </a:cubicBezTo>
                <a:cubicBezTo>
                  <a:pt x="26" y="45"/>
                  <a:pt x="26" y="45"/>
                  <a:pt x="26" y="45"/>
                </a:cubicBezTo>
                <a:cubicBezTo>
                  <a:pt x="26" y="45"/>
                  <a:pt x="26" y="45"/>
                  <a:pt x="26" y="45"/>
                </a:cubicBezTo>
                <a:cubicBezTo>
                  <a:pt x="27" y="45"/>
                  <a:pt x="27" y="45"/>
                  <a:pt x="27" y="45"/>
                </a:cubicBezTo>
                <a:cubicBezTo>
                  <a:pt x="28" y="44"/>
                  <a:pt x="28" y="44"/>
                  <a:pt x="28" y="44"/>
                </a:cubicBezTo>
                <a:cubicBezTo>
                  <a:pt x="27" y="43"/>
                  <a:pt x="27" y="43"/>
                  <a:pt x="27" y="43"/>
                </a:cubicBezTo>
                <a:cubicBezTo>
                  <a:pt x="27" y="43"/>
                  <a:pt x="27" y="43"/>
                  <a:pt x="27" y="43"/>
                </a:cubicBezTo>
                <a:cubicBezTo>
                  <a:pt x="27" y="42"/>
                  <a:pt x="27" y="42"/>
                  <a:pt x="27" y="42"/>
                </a:cubicBezTo>
                <a:cubicBezTo>
                  <a:pt x="25" y="43"/>
                  <a:pt x="25" y="43"/>
                  <a:pt x="25" y="43"/>
                </a:cubicBezTo>
                <a:cubicBezTo>
                  <a:pt x="25" y="43"/>
                  <a:pt x="25" y="43"/>
                  <a:pt x="25" y="43"/>
                </a:cubicBezTo>
                <a:cubicBezTo>
                  <a:pt x="26" y="42"/>
                  <a:pt x="26" y="42"/>
                  <a:pt x="26" y="42"/>
                </a:cubicBezTo>
                <a:cubicBezTo>
                  <a:pt x="28" y="42"/>
                  <a:pt x="28" y="42"/>
                  <a:pt x="28" y="42"/>
                </a:cubicBezTo>
                <a:cubicBezTo>
                  <a:pt x="28" y="41"/>
                  <a:pt x="28" y="41"/>
                  <a:pt x="28" y="41"/>
                </a:cubicBezTo>
                <a:cubicBezTo>
                  <a:pt x="29" y="41"/>
                  <a:pt x="29" y="41"/>
                  <a:pt x="29" y="41"/>
                </a:cubicBezTo>
                <a:cubicBezTo>
                  <a:pt x="29" y="40"/>
                  <a:pt x="29" y="40"/>
                  <a:pt x="29" y="40"/>
                </a:cubicBezTo>
                <a:cubicBezTo>
                  <a:pt x="30" y="39"/>
                  <a:pt x="30" y="39"/>
                  <a:pt x="30" y="39"/>
                </a:cubicBezTo>
                <a:cubicBezTo>
                  <a:pt x="31" y="38"/>
                  <a:pt x="31" y="38"/>
                  <a:pt x="31" y="38"/>
                </a:cubicBezTo>
                <a:cubicBezTo>
                  <a:pt x="30" y="37"/>
                  <a:pt x="30" y="37"/>
                  <a:pt x="30" y="37"/>
                </a:cubicBezTo>
                <a:cubicBezTo>
                  <a:pt x="31" y="36"/>
                  <a:pt x="31" y="36"/>
                  <a:pt x="31" y="36"/>
                </a:cubicBezTo>
                <a:cubicBezTo>
                  <a:pt x="31" y="36"/>
                  <a:pt x="31" y="36"/>
                  <a:pt x="31" y="36"/>
                </a:cubicBezTo>
                <a:cubicBezTo>
                  <a:pt x="31" y="34"/>
                  <a:pt x="31" y="34"/>
                  <a:pt x="31" y="34"/>
                </a:cubicBezTo>
                <a:cubicBezTo>
                  <a:pt x="32" y="33"/>
                  <a:pt x="32" y="33"/>
                  <a:pt x="32" y="33"/>
                </a:cubicBezTo>
                <a:cubicBezTo>
                  <a:pt x="32" y="33"/>
                  <a:pt x="32" y="33"/>
                  <a:pt x="32" y="33"/>
                </a:cubicBezTo>
                <a:cubicBezTo>
                  <a:pt x="31" y="31"/>
                  <a:pt x="31" y="31"/>
                  <a:pt x="31" y="31"/>
                </a:cubicBezTo>
                <a:cubicBezTo>
                  <a:pt x="31" y="31"/>
                  <a:pt x="31" y="31"/>
                  <a:pt x="31" y="31"/>
                </a:cubicBezTo>
                <a:cubicBezTo>
                  <a:pt x="28" y="31"/>
                  <a:pt x="28" y="31"/>
                  <a:pt x="28" y="31"/>
                </a:cubicBezTo>
                <a:cubicBezTo>
                  <a:pt x="27" y="31"/>
                  <a:pt x="27" y="31"/>
                  <a:pt x="27" y="31"/>
                </a:cubicBezTo>
                <a:cubicBezTo>
                  <a:pt x="26" y="32"/>
                  <a:pt x="26" y="32"/>
                  <a:pt x="26" y="32"/>
                </a:cubicBezTo>
                <a:cubicBezTo>
                  <a:pt x="25" y="32"/>
                  <a:pt x="25" y="32"/>
                  <a:pt x="25" y="32"/>
                </a:cubicBezTo>
                <a:cubicBezTo>
                  <a:pt x="24" y="31"/>
                  <a:pt x="24" y="31"/>
                  <a:pt x="24" y="31"/>
                </a:cubicBezTo>
                <a:cubicBezTo>
                  <a:pt x="24" y="31"/>
                  <a:pt x="24" y="31"/>
                  <a:pt x="24" y="31"/>
                </a:cubicBezTo>
                <a:cubicBezTo>
                  <a:pt x="24" y="32"/>
                  <a:pt x="24" y="32"/>
                  <a:pt x="24" y="32"/>
                </a:cubicBezTo>
                <a:cubicBezTo>
                  <a:pt x="23" y="32"/>
                  <a:pt x="23" y="32"/>
                  <a:pt x="23" y="32"/>
                </a:cubicBezTo>
                <a:cubicBezTo>
                  <a:pt x="22" y="32"/>
                  <a:pt x="22" y="32"/>
                  <a:pt x="22" y="32"/>
                </a:cubicBezTo>
                <a:cubicBezTo>
                  <a:pt x="21" y="32"/>
                  <a:pt x="21" y="32"/>
                  <a:pt x="21" y="32"/>
                </a:cubicBezTo>
                <a:cubicBezTo>
                  <a:pt x="21" y="33"/>
                  <a:pt x="21" y="33"/>
                  <a:pt x="21" y="33"/>
                </a:cubicBezTo>
                <a:cubicBezTo>
                  <a:pt x="20" y="33"/>
                  <a:pt x="20" y="33"/>
                  <a:pt x="20" y="33"/>
                </a:cubicBezTo>
                <a:cubicBezTo>
                  <a:pt x="21" y="32"/>
                  <a:pt x="21" y="32"/>
                  <a:pt x="21" y="32"/>
                </a:cubicBezTo>
                <a:cubicBezTo>
                  <a:pt x="22" y="30"/>
                  <a:pt x="22" y="30"/>
                  <a:pt x="22" y="30"/>
                </a:cubicBezTo>
                <a:cubicBezTo>
                  <a:pt x="22" y="30"/>
                  <a:pt x="22" y="30"/>
                  <a:pt x="22" y="30"/>
                </a:cubicBezTo>
                <a:cubicBezTo>
                  <a:pt x="21" y="30"/>
                  <a:pt x="21" y="30"/>
                  <a:pt x="21" y="30"/>
                </a:cubicBezTo>
                <a:cubicBezTo>
                  <a:pt x="21" y="30"/>
                  <a:pt x="21" y="30"/>
                  <a:pt x="21" y="30"/>
                </a:cubicBezTo>
                <a:cubicBezTo>
                  <a:pt x="21" y="29"/>
                  <a:pt x="21" y="29"/>
                  <a:pt x="21" y="29"/>
                </a:cubicBezTo>
                <a:cubicBezTo>
                  <a:pt x="24" y="27"/>
                  <a:pt x="24" y="27"/>
                  <a:pt x="24" y="27"/>
                </a:cubicBezTo>
                <a:cubicBezTo>
                  <a:pt x="25" y="26"/>
                  <a:pt x="25" y="26"/>
                  <a:pt x="25" y="26"/>
                </a:cubicBezTo>
                <a:cubicBezTo>
                  <a:pt x="25" y="26"/>
                  <a:pt x="25" y="26"/>
                  <a:pt x="25" y="26"/>
                </a:cubicBezTo>
                <a:cubicBezTo>
                  <a:pt x="26" y="25"/>
                  <a:pt x="26" y="25"/>
                  <a:pt x="26" y="25"/>
                </a:cubicBezTo>
                <a:cubicBezTo>
                  <a:pt x="25" y="24"/>
                  <a:pt x="25" y="24"/>
                  <a:pt x="25" y="24"/>
                </a:cubicBezTo>
                <a:cubicBezTo>
                  <a:pt x="26" y="23"/>
                  <a:pt x="26" y="23"/>
                  <a:pt x="26" y="23"/>
                </a:cubicBezTo>
                <a:cubicBezTo>
                  <a:pt x="26" y="23"/>
                  <a:pt x="26" y="23"/>
                  <a:pt x="26" y="23"/>
                </a:cubicBezTo>
                <a:cubicBezTo>
                  <a:pt x="25" y="23"/>
                  <a:pt x="25" y="23"/>
                  <a:pt x="25" y="23"/>
                </a:cubicBezTo>
                <a:cubicBezTo>
                  <a:pt x="24" y="23"/>
                  <a:pt x="24" y="23"/>
                  <a:pt x="24" y="23"/>
                </a:cubicBezTo>
                <a:cubicBezTo>
                  <a:pt x="23" y="23"/>
                  <a:pt x="23" y="23"/>
                  <a:pt x="23" y="23"/>
                </a:cubicBezTo>
                <a:cubicBezTo>
                  <a:pt x="22" y="24"/>
                  <a:pt x="22" y="24"/>
                  <a:pt x="22" y="24"/>
                </a:cubicBezTo>
                <a:cubicBezTo>
                  <a:pt x="21" y="24"/>
                  <a:pt x="21" y="24"/>
                  <a:pt x="21" y="24"/>
                </a:cubicBezTo>
                <a:cubicBezTo>
                  <a:pt x="20" y="24"/>
                  <a:pt x="20" y="24"/>
                  <a:pt x="20" y="24"/>
                </a:cubicBezTo>
                <a:cubicBezTo>
                  <a:pt x="20" y="24"/>
                  <a:pt x="20" y="24"/>
                  <a:pt x="20" y="24"/>
                </a:cubicBezTo>
                <a:cubicBezTo>
                  <a:pt x="19" y="25"/>
                  <a:pt x="19" y="25"/>
                  <a:pt x="19" y="25"/>
                </a:cubicBezTo>
                <a:cubicBezTo>
                  <a:pt x="19" y="24"/>
                  <a:pt x="19" y="24"/>
                  <a:pt x="19" y="24"/>
                </a:cubicBezTo>
                <a:cubicBezTo>
                  <a:pt x="19" y="24"/>
                  <a:pt x="19" y="24"/>
                  <a:pt x="19" y="24"/>
                </a:cubicBezTo>
                <a:cubicBezTo>
                  <a:pt x="18" y="25"/>
                  <a:pt x="18" y="25"/>
                  <a:pt x="18" y="25"/>
                </a:cubicBezTo>
                <a:cubicBezTo>
                  <a:pt x="18" y="24"/>
                  <a:pt x="18" y="24"/>
                  <a:pt x="18" y="24"/>
                </a:cubicBezTo>
                <a:cubicBezTo>
                  <a:pt x="16" y="23"/>
                  <a:pt x="16" y="23"/>
                  <a:pt x="16" y="23"/>
                </a:cubicBezTo>
                <a:cubicBezTo>
                  <a:pt x="16" y="24"/>
                  <a:pt x="16" y="24"/>
                  <a:pt x="16" y="24"/>
                </a:cubicBezTo>
                <a:cubicBezTo>
                  <a:pt x="16" y="24"/>
                  <a:pt x="16" y="24"/>
                  <a:pt x="16" y="24"/>
                </a:cubicBezTo>
                <a:cubicBezTo>
                  <a:pt x="16" y="25"/>
                  <a:pt x="16" y="25"/>
                  <a:pt x="16" y="25"/>
                </a:cubicBezTo>
                <a:cubicBezTo>
                  <a:pt x="16" y="25"/>
                  <a:pt x="16" y="25"/>
                  <a:pt x="16" y="25"/>
                </a:cubicBezTo>
                <a:cubicBezTo>
                  <a:pt x="16" y="26"/>
                  <a:pt x="16" y="26"/>
                  <a:pt x="16" y="26"/>
                </a:cubicBezTo>
                <a:cubicBezTo>
                  <a:pt x="15" y="26"/>
                  <a:pt x="15" y="26"/>
                  <a:pt x="15" y="26"/>
                </a:cubicBezTo>
                <a:cubicBezTo>
                  <a:pt x="15" y="27"/>
                  <a:pt x="15" y="27"/>
                  <a:pt x="15" y="27"/>
                </a:cubicBezTo>
                <a:cubicBezTo>
                  <a:pt x="15" y="28"/>
                  <a:pt x="15" y="28"/>
                  <a:pt x="15" y="28"/>
                </a:cubicBezTo>
                <a:cubicBezTo>
                  <a:pt x="14" y="28"/>
                  <a:pt x="14" y="28"/>
                  <a:pt x="14" y="28"/>
                </a:cubicBezTo>
                <a:cubicBezTo>
                  <a:pt x="15" y="29"/>
                  <a:pt x="15" y="29"/>
                  <a:pt x="15" y="29"/>
                </a:cubicBezTo>
                <a:cubicBezTo>
                  <a:pt x="16" y="30"/>
                  <a:pt x="16" y="30"/>
                  <a:pt x="16" y="30"/>
                </a:cubicBezTo>
                <a:cubicBezTo>
                  <a:pt x="15" y="29"/>
                  <a:pt x="15" y="29"/>
                  <a:pt x="15" y="29"/>
                </a:cubicBezTo>
                <a:cubicBezTo>
                  <a:pt x="14" y="30"/>
                  <a:pt x="14" y="30"/>
                  <a:pt x="14" y="30"/>
                </a:cubicBezTo>
                <a:cubicBezTo>
                  <a:pt x="13" y="29"/>
                  <a:pt x="13" y="29"/>
                  <a:pt x="13" y="29"/>
                </a:cubicBezTo>
                <a:cubicBezTo>
                  <a:pt x="13" y="30"/>
                  <a:pt x="13" y="30"/>
                  <a:pt x="13" y="30"/>
                </a:cubicBezTo>
                <a:cubicBezTo>
                  <a:pt x="13" y="30"/>
                  <a:pt x="13" y="30"/>
                  <a:pt x="13" y="30"/>
                </a:cubicBezTo>
                <a:cubicBezTo>
                  <a:pt x="13" y="31"/>
                  <a:pt x="13" y="31"/>
                  <a:pt x="13" y="31"/>
                </a:cubicBezTo>
                <a:cubicBezTo>
                  <a:pt x="13" y="30"/>
                  <a:pt x="13" y="30"/>
                  <a:pt x="13" y="30"/>
                </a:cubicBezTo>
                <a:cubicBezTo>
                  <a:pt x="12" y="31"/>
                  <a:pt x="12" y="31"/>
                  <a:pt x="12" y="31"/>
                </a:cubicBezTo>
                <a:cubicBezTo>
                  <a:pt x="13" y="31"/>
                  <a:pt x="13" y="31"/>
                  <a:pt x="13" y="31"/>
                </a:cubicBezTo>
                <a:cubicBezTo>
                  <a:pt x="12" y="32"/>
                  <a:pt x="12" y="32"/>
                  <a:pt x="12" y="32"/>
                </a:cubicBezTo>
                <a:cubicBezTo>
                  <a:pt x="13" y="33"/>
                  <a:pt x="13" y="33"/>
                  <a:pt x="13" y="33"/>
                </a:cubicBezTo>
                <a:cubicBezTo>
                  <a:pt x="14" y="33"/>
                  <a:pt x="14" y="33"/>
                  <a:pt x="14" y="33"/>
                </a:cubicBezTo>
                <a:cubicBezTo>
                  <a:pt x="13" y="33"/>
                  <a:pt x="13" y="33"/>
                  <a:pt x="13" y="33"/>
                </a:cubicBezTo>
                <a:cubicBezTo>
                  <a:pt x="12" y="32"/>
                  <a:pt x="12" y="32"/>
                  <a:pt x="12" y="32"/>
                </a:cubicBezTo>
                <a:cubicBezTo>
                  <a:pt x="12" y="34"/>
                  <a:pt x="12" y="34"/>
                  <a:pt x="12" y="34"/>
                </a:cubicBezTo>
                <a:cubicBezTo>
                  <a:pt x="12" y="34"/>
                  <a:pt x="12" y="34"/>
                  <a:pt x="12" y="34"/>
                </a:cubicBezTo>
                <a:cubicBezTo>
                  <a:pt x="14" y="34"/>
                  <a:pt x="14" y="34"/>
                  <a:pt x="14" y="34"/>
                </a:cubicBezTo>
                <a:cubicBezTo>
                  <a:pt x="13" y="35"/>
                  <a:pt x="13" y="35"/>
                  <a:pt x="13" y="35"/>
                </a:cubicBezTo>
                <a:cubicBezTo>
                  <a:pt x="13" y="35"/>
                  <a:pt x="13" y="35"/>
                  <a:pt x="13" y="35"/>
                </a:cubicBezTo>
                <a:cubicBezTo>
                  <a:pt x="13" y="35"/>
                  <a:pt x="13" y="35"/>
                  <a:pt x="13" y="35"/>
                </a:cubicBezTo>
                <a:cubicBezTo>
                  <a:pt x="14" y="35"/>
                  <a:pt x="14" y="35"/>
                  <a:pt x="14" y="35"/>
                </a:cubicBezTo>
                <a:cubicBezTo>
                  <a:pt x="14" y="35"/>
                  <a:pt x="14" y="35"/>
                  <a:pt x="14" y="35"/>
                </a:cubicBezTo>
                <a:cubicBezTo>
                  <a:pt x="14" y="35"/>
                  <a:pt x="14" y="35"/>
                  <a:pt x="14" y="35"/>
                </a:cubicBezTo>
                <a:cubicBezTo>
                  <a:pt x="13" y="35"/>
                  <a:pt x="13" y="35"/>
                  <a:pt x="13" y="35"/>
                </a:cubicBezTo>
                <a:cubicBezTo>
                  <a:pt x="13" y="35"/>
                  <a:pt x="13" y="35"/>
                  <a:pt x="13" y="35"/>
                </a:cubicBezTo>
                <a:cubicBezTo>
                  <a:pt x="13" y="36"/>
                  <a:pt x="13" y="36"/>
                  <a:pt x="13" y="36"/>
                </a:cubicBezTo>
                <a:cubicBezTo>
                  <a:pt x="13" y="36"/>
                  <a:pt x="13" y="36"/>
                  <a:pt x="13" y="36"/>
                </a:cubicBezTo>
                <a:cubicBezTo>
                  <a:pt x="13" y="36"/>
                  <a:pt x="13" y="36"/>
                  <a:pt x="13" y="36"/>
                </a:cubicBezTo>
                <a:cubicBezTo>
                  <a:pt x="12" y="37"/>
                  <a:pt x="12" y="37"/>
                  <a:pt x="12" y="37"/>
                </a:cubicBezTo>
                <a:cubicBezTo>
                  <a:pt x="13" y="37"/>
                  <a:pt x="13" y="37"/>
                  <a:pt x="13" y="37"/>
                </a:cubicBezTo>
                <a:cubicBezTo>
                  <a:pt x="13" y="38"/>
                  <a:pt x="13" y="38"/>
                  <a:pt x="13" y="38"/>
                </a:cubicBezTo>
                <a:cubicBezTo>
                  <a:pt x="12" y="37"/>
                  <a:pt x="12" y="37"/>
                  <a:pt x="12" y="37"/>
                </a:cubicBezTo>
                <a:cubicBezTo>
                  <a:pt x="12" y="38"/>
                  <a:pt x="12" y="38"/>
                  <a:pt x="12" y="38"/>
                </a:cubicBezTo>
                <a:cubicBezTo>
                  <a:pt x="12" y="38"/>
                  <a:pt x="12" y="38"/>
                  <a:pt x="12" y="38"/>
                </a:cubicBezTo>
                <a:cubicBezTo>
                  <a:pt x="12" y="39"/>
                  <a:pt x="12" y="39"/>
                  <a:pt x="12" y="39"/>
                </a:cubicBezTo>
                <a:cubicBezTo>
                  <a:pt x="12" y="39"/>
                  <a:pt x="12" y="39"/>
                  <a:pt x="12" y="39"/>
                </a:cubicBezTo>
                <a:cubicBezTo>
                  <a:pt x="10" y="39"/>
                  <a:pt x="10" y="39"/>
                  <a:pt x="10" y="39"/>
                </a:cubicBezTo>
                <a:cubicBezTo>
                  <a:pt x="10" y="40"/>
                  <a:pt x="10" y="40"/>
                  <a:pt x="10" y="40"/>
                </a:cubicBezTo>
                <a:cubicBezTo>
                  <a:pt x="10" y="40"/>
                  <a:pt x="10" y="40"/>
                  <a:pt x="10" y="40"/>
                </a:cubicBezTo>
                <a:cubicBezTo>
                  <a:pt x="11" y="40"/>
                  <a:pt x="11" y="40"/>
                  <a:pt x="11" y="40"/>
                </a:cubicBezTo>
                <a:cubicBezTo>
                  <a:pt x="12" y="40"/>
                  <a:pt x="12" y="40"/>
                  <a:pt x="12" y="40"/>
                </a:cubicBezTo>
                <a:cubicBezTo>
                  <a:pt x="12" y="40"/>
                  <a:pt x="12" y="40"/>
                  <a:pt x="12" y="40"/>
                </a:cubicBezTo>
                <a:cubicBezTo>
                  <a:pt x="11" y="40"/>
                  <a:pt x="11" y="40"/>
                  <a:pt x="11" y="40"/>
                </a:cubicBezTo>
                <a:cubicBezTo>
                  <a:pt x="12" y="41"/>
                  <a:pt x="12" y="41"/>
                  <a:pt x="12" y="41"/>
                </a:cubicBezTo>
                <a:cubicBezTo>
                  <a:pt x="12" y="41"/>
                  <a:pt x="12" y="41"/>
                  <a:pt x="12" y="41"/>
                </a:cubicBezTo>
                <a:cubicBezTo>
                  <a:pt x="13" y="42"/>
                  <a:pt x="13" y="42"/>
                  <a:pt x="13" y="42"/>
                </a:cubicBezTo>
                <a:cubicBezTo>
                  <a:pt x="15" y="39"/>
                  <a:pt x="15" y="39"/>
                  <a:pt x="15" y="39"/>
                </a:cubicBezTo>
                <a:cubicBezTo>
                  <a:pt x="15" y="40"/>
                  <a:pt x="15" y="40"/>
                  <a:pt x="15" y="40"/>
                </a:cubicBezTo>
                <a:cubicBezTo>
                  <a:pt x="15" y="40"/>
                  <a:pt x="15" y="40"/>
                  <a:pt x="15" y="40"/>
                </a:cubicBezTo>
                <a:cubicBezTo>
                  <a:pt x="15" y="40"/>
                  <a:pt x="15" y="40"/>
                  <a:pt x="15" y="40"/>
                </a:cubicBezTo>
                <a:cubicBezTo>
                  <a:pt x="14" y="42"/>
                  <a:pt x="14" y="42"/>
                  <a:pt x="14" y="42"/>
                </a:cubicBezTo>
                <a:cubicBezTo>
                  <a:pt x="14" y="42"/>
                  <a:pt x="14" y="42"/>
                  <a:pt x="14" y="42"/>
                </a:cubicBezTo>
                <a:cubicBezTo>
                  <a:pt x="13" y="44"/>
                  <a:pt x="13" y="44"/>
                  <a:pt x="13" y="44"/>
                </a:cubicBezTo>
                <a:cubicBezTo>
                  <a:pt x="14" y="44"/>
                  <a:pt x="14" y="44"/>
                  <a:pt x="14" y="44"/>
                </a:cubicBezTo>
                <a:cubicBezTo>
                  <a:pt x="13" y="46"/>
                  <a:pt x="13" y="46"/>
                  <a:pt x="13" y="46"/>
                </a:cubicBezTo>
                <a:cubicBezTo>
                  <a:pt x="13" y="47"/>
                  <a:pt x="13" y="47"/>
                  <a:pt x="13" y="47"/>
                </a:cubicBezTo>
                <a:cubicBezTo>
                  <a:pt x="13" y="48"/>
                  <a:pt x="13" y="48"/>
                  <a:pt x="13" y="48"/>
                </a:cubicBezTo>
                <a:cubicBezTo>
                  <a:pt x="13" y="48"/>
                  <a:pt x="13" y="48"/>
                  <a:pt x="13" y="48"/>
                </a:cubicBezTo>
                <a:cubicBezTo>
                  <a:pt x="13" y="48"/>
                  <a:pt x="13" y="48"/>
                  <a:pt x="13" y="48"/>
                </a:cubicBezTo>
                <a:cubicBezTo>
                  <a:pt x="13" y="49"/>
                  <a:pt x="13" y="49"/>
                  <a:pt x="13" y="49"/>
                </a:cubicBezTo>
                <a:cubicBezTo>
                  <a:pt x="13" y="51"/>
                  <a:pt x="13" y="51"/>
                  <a:pt x="13" y="51"/>
                </a:cubicBezTo>
                <a:cubicBezTo>
                  <a:pt x="12" y="52"/>
                  <a:pt x="12" y="52"/>
                  <a:pt x="12" y="52"/>
                </a:cubicBezTo>
                <a:cubicBezTo>
                  <a:pt x="12" y="52"/>
                  <a:pt x="12" y="52"/>
                  <a:pt x="12" y="52"/>
                </a:cubicBezTo>
                <a:cubicBezTo>
                  <a:pt x="13" y="52"/>
                  <a:pt x="13" y="52"/>
                  <a:pt x="13" y="52"/>
                </a:cubicBezTo>
                <a:cubicBezTo>
                  <a:pt x="13" y="51"/>
                  <a:pt x="13" y="51"/>
                  <a:pt x="13" y="51"/>
                </a:cubicBezTo>
                <a:cubicBezTo>
                  <a:pt x="14" y="50"/>
                  <a:pt x="14" y="50"/>
                  <a:pt x="14" y="50"/>
                </a:cubicBezTo>
                <a:cubicBezTo>
                  <a:pt x="14" y="49"/>
                  <a:pt x="14" y="49"/>
                  <a:pt x="14" y="49"/>
                </a:cubicBezTo>
                <a:cubicBezTo>
                  <a:pt x="14" y="48"/>
                  <a:pt x="14" y="48"/>
                  <a:pt x="14" y="48"/>
                </a:cubicBezTo>
                <a:cubicBezTo>
                  <a:pt x="14" y="46"/>
                  <a:pt x="14" y="46"/>
                  <a:pt x="14" y="46"/>
                </a:cubicBezTo>
                <a:cubicBezTo>
                  <a:pt x="14" y="46"/>
                  <a:pt x="14" y="46"/>
                  <a:pt x="14" y="46"/>
                </a:cubicBezTo>
                <a:cubicBezTo>
                  <a:pt x="16" y="44"/>
                  <a:pt x="16" y="44"/>
                  <a:pt x="16" y="44"/>
                </a:cubicBezTo>
                <a:cubicBezTo>
                  <a:pt x="15" y="46"/>
                  <a:pt x="15" y="46"/>
                  <a:pt x="15" y="46"/>
                </a:cubicBezTo>
                <a:cubicBezTo>
                  <a:pt x="15" y="47"/>
                  <a:pt x="15" y="47"/>
                  <a:pt x="15" y="47"/>
                </a:cubicBezTo>
                <a:cubicBezTo>
                  <a:pt x="15" y="47"/>
                  <a:pt x="15" y="47"/>
                  <a:pt x="15" y="47"/>
                </a:cubicBezTo>
                <a:cubicBezTo>
                  <a:pt x="15" y="47"/>
                  <a:pt x="15" y="47"/>
                  <a:pt x="15" y="47"/>
                </a:cubicBezTo>
                <a:cubicBezTo>
                  <a:pt x="16" y="46"/>
                  <a:pt x="16" y="46"/>
                  <a:pt x="16" y="46"/>
                </a:cubicBezTo>
                <a:cubicBezTo>
                  <a:pt x="16" y="47"/>
                  <a:pt x="16" y="47"/>
                  <a:pt x="16" y="47"/>
                </a:cubicBezTo>
                <a:cubicBezTo>
                  <a:pt x="17" y="46"/>
                  <a:pt x="17" y="46"/>
                  <a:pt x="17" y="46"/>
                </a:cubicBezTo>
                <a:cubicBezTo>
                  <a:pt x="17" y="45"/>
                  <a:pt x="17" y="45"/>
                  <a:pt x="17" y="45"/>
                </a:cubicBezTo>
                <a:cubicBezTo>
                  <a:pt x="17" y="44"/>
                  <a:pt x="17" y="44"/>
                  <a:pt x="17" y="44"/>
                </a:cubicBezTo>
                <a:cubicBezTo>
                  <a:pt x="17" y="46"/>
                  <a:pt x="17" y="46"/>
                  <a:pt x="17" y="46"/>
                </a:cubicBezTo>
                <a:cubicBezTo>
                  <a:pt x="18" y="47"/>
                  <a:pt x="18" y="47"/>
                  <a:pt x="18" y="47"/>
                </a:cubicBezTo>
                <a:cubicBezTo>
                  <a:pt x="17" y="46"/>
                  <a:pt x="17" y="46"/>
                  <a:pt x="17" y="46"/>
                </a:cubicBezTo>
                <a:cubicBezTo>
                  <a:pt x="17" y="48"/>
                  <a:pt x="17" y="48"/>
                  <a:pt x="17" y="48"/>
                </a:cubicBezTo>
                <a:cubicBezTo>
                  <a:pt x="17" y="49"/>
                  <a:pt x="17" y="49"/>
                  <a:pt x="17" y="49"/>
                </a:cubicBezTo>
                <a:cubicBezTo>
                  <a:pt x="18" y="50"/>
                  <a:pt x="18" y="50"/>
                  <a:pt x="18" y="50"/>
                </a:cubicBezTo>
                <a:cubicBezTo>
                  <a:pt x="18" y="51"/>
                  <a:pt x="18" y="51"/>
                  <a:pt x="18" y="51"/>
                </a:cubicBezTo>
                <a:cubicBezTo>
                  <a:pt x="17" y="52"/>
                  <a:pt x="17" y="52"/>
                  <a:pt x="17" y="52"/>
                </a:cubicBezTo>
                <a:cubicBezTo>
                  <a:pt x="16" y="54"/>
                  <a:pt x="16" y="54"/>
                  <a:pt x="16" y="54"/>
                </a:cubicBezTo>
                <a:cubicBezTo>
                  <a:pt x="16" y="56"/>
                  <a:pt x="16" y="56"/>
                  <a:pt x="16" y="56"/>
                </a:cubicBezTo>
                <a:cubicBezTo>
                  <a:pt x="15" y="55"/>
                  <a:pt x="15" y="55"/>
                  <a:pt x="15" y="55"/>
                </a:cubicBezTo>
                <a:cubicBezTo>
                  <a:pt x="16" y="56"/>
                  <a:pt x="16" y="56"/>
                  <a:pt x="16" y="56"/>
                </a:cubicBezTo>
                <a:cubicBezTo>
                  <a:pt x="17" y="58"/>
                  <a:pt x="17" y="58"/>
                  <a:pt x="17" y="58"/>
                </a:cubicBezTo>
                <a:cubicBezTo>
                  <a:pt x="16" y="56"/>
                  <a:pt x="16" y="56"/>
                  <a:pt x="16" y="56"/>
                </a:cubicBezTo>
                <a:cubicBezTo>
                  <a:pt x="17" y="56"/>
                  <a:pt x="17" y="56"/>
                  <a:pt x="17" y="56"/>
                </a:cubicBezTo>
                <a:cubicBezTo>
                  <a:pt x="19" y="58"/>
                  <a:pt x="19" y="58"/>
                  <a:pt x="19" y="58"/>
                </a:cubicBezTo>
                <a:cubicBezTo>
                  <a:pt x="19" y="57"/>
                  <a:pt x="19" y="57"/>
                  <a:pt x="19" y="57"/>
                </a:cubicBezTo>
                <a:cubicBezTo>
                  <a:pt x="19" y="56"/>
                  <a:pt x="19" y="56"/>
                  <a:pt x="19" y="56"/>
                </a:cubicBezTo>
                <a:cubicBezTo>
                  <a:pt x="19" y="56"/>
                  <a:pt x="19" y="56"/>
                  <a:pt x="19" y="56"/>
                </a:cubicBezTo>
                <a:cubicBezTo>
                  <a:pt x="21" y="57"/>
                  <a:pt x="21" y="57"/>
                  <a:pt x="21" y="57"/>
                </a:cubicBezTo>
                <a:cubicBezTo>
                  <a:pt x="22" y="57"/>
                  <a:pt x="22" y="57"/>
                  <a:pt x="22" y="57"/>
                </a:cubicBezTo>
                <a:cubicBezTo>
                  <a:pt x="22" y="56"/>
                  <a:pt x="22" y="56"/>
                  <a:pt x="22" y="56"/>
                </a:cubicBezTo>
                <a:cubicBezTo>
                  <a:pt x="23" y="56"/>
                  <a:pt x="23" y="56"/>
                  <a:pt x="23" y="56"/>
                </a:cubicBezTo>
                <a:cubicBezTo>
                  <a:pt x="24" y="55"/>
                  <a:pt x="24" y="55"/>
                  <a:pt x="24" y="55"/>
                </a:cubicBezTo>
                <a:cubicBezTo>
                  <a:pt x="27" y="55"/>
                  <a:pt x="27" y="55"/>
                  <a:pt x="27" y="55"/>
                </a:cubicBezTo>
                <a:cubicBezTo>
                  <a:pt x="25" y="56"/>
                  <a:pt x="25" y="56"/>
                  <a:pt x="25" y="56"/>
                </a:cubicBezTo>
                <a:cubicBezTo>
                  <a:pt x="23" y="59"/>
                  <a:pt x="23" y="59"/>
                  <a:pt x="23" y="59"/>
                </a:cubicBezTo>
                <a:cubicBezTo>
                  <a:pt x="25" y="62"/>
                  <a:pt x="25" y="62"/>
                  <a:pt x="25" y="62"/>
                </a:cubicBezTo>
                <a:cubicBezTo>
                  <a:pt x="26" y="62"/>
                  <a:pt x="26" y="62"/>
                  <a:pt x="26" y="62"/>
                </a:cubicBezTo>
                <a:cubicBezTo>
                  <a:pt x="26" y="63"/>
                  <a:pt x="26" y="63"/>
                  <a:pt x="26" y="63"/>
                </a:cubicBezTo>
                <a:cubicBezTo>
                  <a:pt x="27" y="62"/>
                  <a:pt x="27" y="62"/>
                  <a:pt x="27" y="62"/>
                </a:cubicBezTo>
                <a:cubicBezTo>
                  <a:pt x="28" y="62"/>
                  <a:pt x="28" y="62"/>
                  <a:pt x="28" y="62"/>
                </a:cubicBezTo>
                <a:cubicBezTo>
                  <a:pt x="28" y="63"/>
                  <a:pt x="28" y="63"/>
                  <a:pt x="28" y="63"/>
                </a:cubicBezTo>
                <a:cubicBezTo>
                  <a:pt x="28" y="64"/>
                  <a:pt x="28" y="64"/>
                  <a:pt x="28" y="64"/>
                </a:cubicBezTo>
                <a:cubicBezTo>
                  <a:pt x="27" y="65"/>
                  <a:pt x="27" y="65"/>
                  <a:pt x="27" y="65"/>
                </a:cubicBezTo>
                <a:cubicBezTo>
                  <a:pt x="27" y="66"/>
                  <a:pt x="27" y="66"/>
                  <a:pt x="27" y="66"/>
                </a:cubicBezTo>
                <a:cubicBezTo>
                  <a:pt x="26" y="68"/>
                  <a:pt x="26" y="68"/>
                  <a:pt x="26" y="68"/>
                </a:cubicBezTo>
                <a:cubicBezTo>
                  <a:pt x="27" y="69"/>
                  <a:pt x="27" y="69"/>
                  <a:pt x="27" y="69"/>
                </a:cubicBezTo>
                <a:cubicBezTo>
                  <a:pt x="28" y="69"/>
                  <a:pt x="28" y="69"/>
                  <a:pt x="28" y="69"/>
                </a:cubicBezTo>
                <a:cubicBezTo>
                  <a:pt x="29" y="70"/>
                  <a:pt x="29" y="70"/>
                  <a:pt x="29" y="70"/>
                </a:cubicBezTo>
                <a:cubicBezTo>
                  <a:pt x="28" y="70"/>
                  <a:pt x="28" y="70"/>
                  <a:pt x="28" y="70"/>
                </a:cubicBezTo>
                <a:cubicBezTo>
                  <a:pt x="27" y="70"/>
                  <a:pt x="27" y="70"/>
                  <a:pt x="27" y="70"/>
                </a:cubicBezTo>
                <a:cubicBezTo>
                  <a:pt x="27" y="69"/>
                  <a:pt x="27" y="69"/>
                  <a:pt x="27" y="69"/>
                </a:cubicBezTo>
                <a:cubicBezTo>
                  <a:pt x="26" y="69"/>
                  <a:pt x="26" y="69"/>
                  <a:pt x="26" y="69"/>
                </a:cubicBezTo>
                <a:cubicBezTo>
                  <a:pt x="27" y="70"/>
                  <a:pt x="27" y="70"/>
                  <a:pt x="27" y="70"/>
                </a:cubicBezTo>
                <a:cubicBezTo>
                  <a:pt x="27" y="71"/>
                  <a:pt x="27" y="71"/>
                  <a:pt x="27" y="71"/>
                </a:cubicBezTo>
                <a:cubicBezTo>
                  <a:pt x="26" y="70"/>
                  <a:pt x="26" y="70"/>
                  <a:pt x="26" y="70"/>
                </a:cubicBezTo>
                <a:cubicBezTo>
                  <a:pt x="25" y="70"/>
                  <a:pt x="25" y="70"/>
                  <a:pt x="25" y="70"/>
                </a:cubicBezTo>
                <a:cubicBezTo>
                  <a:pt x="23" y="70"/>
                  <a:pt x="23" y="70"/>
                  <a:pt x="23" y="70"/>
                </a:cubicBezTo>
                <a:cubicBezTo>
                  <a:pt x="23" y="70"/>
                  <a:pt x="23" y="70"/>
                  <a:pt x="23" y="70"/>
                </a:cubicBezTo>
                <a:cubicBezTo>
                  <a:pt x="21" y="71"/>
                  <a:pt x="21" y="71"/>
                  <a:pt x="21" y="71"/>
                </a:cubicBezTo>
                <a:cubicBezTo>
                  <a:pt x="19" y="73"/>
                  <a:pt x="19" y="73"/>
                  <a:pt x="19" y="73"/>
                </a:cubicBezTo>
                <a:cubicBezTo>
                  <a:pt x="18" y="74"/>
                  <a:pt x="18" y="74"/>
                  <a:pt x="18" y="74"/>
                </a:cubicBezTo>
                <a:cubicBezTo>
                  <a:pt x="17" y="74"/>
                  <a:pt x="17" y="74"/>
                  <a:pt x="17" y="74"/>
                </a:cubicBezTo>
                <a:cubicBezTo>
                  <a:pt x="18" y="74"/>
                  <a:pt x="18" y="74"/>
                  <a:pt x="18" y="74"/>
                </a:cubicBezTo>
                <a:cubicBezTo>
                  <a:pt x="19" y="74"/>
                  <a:pt x="19" y="74"/>
                  <a:pt x="19" y="74"/>
                </a:cubicBezTo>
                <a:cubicBezTo>
                  <a:pt x="19" y="74"/>
                  <a:pt x="19" y="74"/>
                  <a:pt x="19" y="74"/>
                </a:cubicBezTo>
                <a:cubicBezTo>
                  <a:pt x="21" y="73"/>
                  <a:pt x="21" y="73"/>
                  <a:pt x="21" y="73"/>
                </a:cubicBezTo>
                <a:cubicBezTo>
                  <a:pt x="21" y="74"/>
                  <a:pt x="21" y="74"/>
                  <a:pt x="21" y="74"/>
                </a:cubicBezTo>
                <a:cubicBezTo>
                  <a:pt x="22" y="75"/>
                  <a:pt x="22" y="75"/>
                  <a:pt x="22" y="75"/>
                </a:cubicBezTo>
                <a:cubicBezTo>
                  <a:pt x="21" y="76"/>
                  <a:pt x="21" y="76"/>
                  <a:pt x="21" y="76"/>
                </a:cubicBezTo>
                <a:cubicBezTo>
                  <a:pt x="21" y="77"/>
                  <a:pt x="21" y="77"/>
                  <a:pt x="21" y="77"/>
                </a:cubicBezTo>
                <a:cubicBezTo>
                  <a:pt x="22" y="77"/>
                  <a:pt x="22" y="77"/>
                  <a:pt x="22" y="77"/>
                </a:cubicBezTo>
                <a:cubicBezTo>
                  <a:pt x="20" y="79"/>
                  <a:pt x="20" y="79"/>
                  <a:pt x="20" y="79"/>
                </a:cubicBezTo>
                <a:cubicBezTo>
                  <a:pt x="19" y="80"/>
                  <a:pt x="19" y="80"/>
                  <a:pt x="19" y="80"/>
                </a:cubicBezTo>
                <a:cubicBezTo>
                  <a:pt x="18" y="80"/>
                  <a:pt x="18" y="80"/>
                  <a:pt x="18" y="80"/>
                </a:cubicBezTo>
                <a:cubicBezTo>
                  <a:pt x="18" y="80"/>
                  <a:pt x="18" y="80"/>
                  <a:pt x="18" y="80"/>
                </a:cubicBezTo>
                <a:cubicBezTo>
                  <a:pt x="17" y="81"/>
                  <a:pt x="17" y="81"/>
                  <a:pt x="17" y="81"/>
                </a:cubicBezTo>
                <a:cubicBezTo>
                  <a:pt x="16" y="81"/>
                  <a:pt x="16" y="81"/>
                  <a:pt x="16" y="81"/>
                </a:cubicBezTo>
                <a:cubicBezTo>
                  <a:pt x="14" y="82"/>
                  <a:pt x="14" y="82"/>
                  <a:pt x="14" y="82"/>
                </a:cubicBezTo>
                <a:cubicBezTo>
                  <a:pt x="15" y="82"/>
                  <a:pt x="15" y="82"/>
                  <a:pt x="15" y="82"/>
                </a:cubicBezTo>
                <a:cubicBezTo>
                  <a:pt x="15" y="83"/>
                  <a:pt x="15" y="83"/>
                  <a:pt x="15" y="83"/>
                </a:cubicBezTo>
                <a:cubicBezTo>
                  <a:pt x="15" y="84"/>
                  <a:pt x="15" y="84"/>
                  <a:pt x="15" y="84"/>
                </a:cubicBezTo>
                <a:cubicBezTo>
                  <a:pt x="16" y="84"/>
                  <a:pt x="16" y="84"/>
                  <a:pt x="16" y="84"/>
                </a:cubicBezTo>
                <a:cubicBezTo>
                  <a:pt x="16" y="84"/>
                  <a:pt x="16" y="84"/>
                  <a:pt x="16" y="84"/>
                </a:cubicBezTo>
                <a:cubicBezTo>
                  <a:pt x="16" y="85"/>
                  <a:pt x="16" y="85"/>
                  <a:pt x="16" y="85"/>
                </a:cubicBezTo>
                <a:cubicBezTo>
                  <a:pt x="17" y="84"/>
                  <a:pt x="17" y="84"/>
                  <a:pt x="17" y="84"/>
                </a:cubicBezTo>
                <a:cubicBezTo>
                  <a:pt x="18" y="84"/>
                  <a:pt x="18" y="84"/>
                  <a:pt x="18" y="84"/>
                </a:cubicBezTo>
                <a:cubicBezTo>
                  <a:pt x="20" y="83"/>
                  <a:pt x="20" y="83"/>
                  <a:pt x="20" y="83"/>
                </a:cubicBezTo>
                <a:cubicBezTo>
                  <a:pt x="20" y="84"/>
                  <a:pt x="20" y="84"/>
                  <a:pt x="20" y="84"/>
                </a:cubicBezTo>
                <a:cubicBezTo>
                  <a:pt x="21" y="84"/>
                  <a:pt x="21" y="84"/>
                  <a:pt x="21" y="84"/>
                </a:cubicBezTo>
                <a:cubicBezTo>
                  <a:pt x="20" y="85"/>
                  <a:pt x="20" y="85"/>
                  <a:pt x="20" y="85"/>
                </a:cubicBezTo>
                <a:cubicBezTo>
                  <a:pt x="20" y="85"/>
                  <a:pt x="20" y="85"/>
                  <a:pt x="20" y="85"/>
                </a:cubicBezTo>
                <a:cubicBezTo>
                  <a:pt x="22" y="85"/>
                  <a:pt x="22" y="85"/>
                  <a:pt x="22" y="85"/>
                </a:cubicBezTo>
                <a:cubicBezTo>
                  <a:pt x="22" y="85"/>
                  <a:pt x="22" y="85"/>
                  <a:pt x="22" y="85"/>
                </a:cubicBezTo>
                <a:cubicBezTo>
                  <a:pt x="23" y="85"/>
                  <a:pt x="23" y="85"/>
                  <a:pt x="23" y="85"/>
                </a:cubicBezTo>
                <a:cubicBezTo>
                  <a:pt x="24" y="86"/>
                  <a:pt x="24" y="86"/>
                  <a:pt x="24" y="86"/>
                </a:cubicBezTo>
                <a:cubicBezTo>
                  <a:pt x="24" y="87"/>
                  <a:pt x="24" y="87"/>
                  <a:pt x="24" y="87"/>
                </a:cubicBezTo>
                <a:cubicBezTo>
                  <a:pt x="26" y="87"/>
                  <a:pt x="26" y="87"/>
                  <a:pt x="26" y="87"/>
                </a:cubicBezTo>
                <a:cubicBezTo>
                  <a:pt x="27" y="86"/>
                  <a:pt x="27" y="86"/>
                  <a:pt x="27" y="86"/>
                </a:cubicBezTo>
                <a:cubicBezTo>
                  <a:pt x="28" y="85"/>
                  <a:pt x="28" y="85"/>
                  <a:pt x="28" y="85"/>
                </a:cubicBezTo>
                <a:cubicBezTo>
                  <a:pt x="29" y="85"/>
                  <a:pt x="29" y="85"/>
                  <a:pt x="29" y="85"/>
                </a:cubicBezTo>
                <a:cubicBezTo>
                  <a:pt x="30" y="84"/>
                  <a:pt x="30" y="84"/>
                  <a:pt x="30" y="84"/>
                </a:cubicBezTo>
                <a:cubicBezTo>
                  <a:pt x="31" y="84"/>
                  <a:pt x="31" y="84"/>
                  <a:pt x="31" y="84"/>
                </a:cubicBezTo>
                <a:cubicBezTo>
                  <a:pt x="29" y="85"/>
                  <a:pt x="29" y="85"/>
                  <a:pt x="29" y="85"/>
                </a:cubicBezTo>
                <a:cubicBezTo>
                  <a:pt x="28" y="87"/>
                  <a:pt x="28" y="87"/>
                  <a:pt x="28" y="87"/>
                </a:cubicBezTo>
                <a:cubicBezTo>
                  <a:pt x="28" y="89"/>
                  <a:pt x="28" y="89"/>
                  <a:pt x="28" y="89"/>
                </a:cubicBezTo>
                <a:cubicBezTo>
                  <a:pt x="27" y="89"/>
                  <a:pt x="27" y="89"/>
                  <a:pt x="27" y="89"/>
                </a:cubicBezTo>
                <a:cubicBezTo>
                  <a:pt x="26" y="89"/>
                  <a:pt x="26" y="89"/>
                  <a:pt x="26" y="89"/>
                </a:cubicBezTo>
                <a:cubicBezTo>
                  <a:pt x="25" y="88"/>
                  <a:pt x="25" y="88"/>
                  <a:pt x="25" y="88"/>
                </a:cubicBezTo>
                <a:cubicBezTo>
                  <a:pt x="22" y="88"/>
                  <a:pt x="22" y="88"/>
                  <a:pt x="22" y="88"/>
                </a:cubicBezTo>
                <a:cubicBezTo>
                  <a:pt x="20" y="89"/>
                  <a:pt x="20" y="89"/>
                  <a:pt x="20" y="89"/>
                </a:cubicBezTo>
                <a:cubicBezTo>
                  <a:pt x="20" y="89"/>
                  <a:pt x="20" y="89"/>
                  <a:pt x="20" y="89"/>
                </a:cubicBezTo>
                <a:cubicBezTo>
                  <a:pt x="20" y="90"/>
                  <a:pt x="20" y="90"/>
                  <a:pt x="20" y="90"/>
                </a:cubicBezTo>
                <a:cubicBezTo>
                  <a:pt x="19" y="90"/>
                  <a:pt x="19" y="90"/>
                  <a:pt x="19" y="90"/>
                </a:cubicBezTo>
                <a:cubicBezTo>
                  <a:pt x="18" y="92"/>
                  <a:pt x="18" y="92"/>
                  <a:pt x="18" y="92"/>
                </a:cubicBezTo>
                <a:cubicBezTo>
                  <a:pt x="17" y="93"/>
                  <a:pt x="17" y="93"/>
                  <a:pt x="17" y="93"/>
                </a:cubicBezTo>
                <a:cubicBezTo>
                  <a:pt x="17" y="94"/>
                  <a:pt x="17" y="94"/>
                  <a:pt x="17" y="94"/>
                </a:cubicBezTo>
                <a:cubicBezTo>
                  <a:pt x="16" y="94"/>
                  <a:pt x="16" y="94"/>
                  <a:pt x="16" y="94"/>
                </a:cubicBezTo>
                <a:cubicBezTo>
                  <a:pt x="16" y="95"/>
                  <a:pt x="16" y="95"/>
                  <a:pt x="16" y="95"/>
                </a:cubicBezTo>
                <a:cubicBezTo>
                  <a:pt x="15" y="95"/>
                  <a:pt x="15" y="95"/>
                  <a:pt x="15" y="95"/>
                </a:cubicBezTo>
                <a:cubicBezTo>
                  <a:pt x="15" y="96"/>
                  <a:pt x="15" y="96"/>
                  <a:pt x="15" y="96"/>
                </a:cubicBezTo>
                <a:cubicBezTo>
                  <a:pt x="13" y="97"/>
                  <a:pt x="13" y="97"/>
                  <a:pt x="13" y="97"/>
                </a:cubicBezTo>
                <a:cubicBezTo>
                  <a:pt x="13" y="97"/>
                  <a:pt x="13" y="97"/>
                  <a:pt x="13" y="97"/>
                </a:cubicBezTo>
                <a:cubicBezTo>
                  <a:pt x="12" y="98"/>
                  <a:pt x="12" y="98"/>
                  <a:pt x="12" y="98"/>
                </a:cubicBezTo>
                <a:cubicBezTo>
                  <a:pt x="12" y="99"/>
                  <a:pt x="12" y="99"/>
                  <a:pt x="12" y="99"/>
                </a:cubicBezTo>
                <a:cubicBezTo>
                  <a:pt x="13" y="99"/>
                  <a:pt x="13" y="99"/>
                  <a:pt x="13" y="99"/>
                </a:cubicBezTo>
                <a:cubicBezTo>
                  <a:pt x="13" y="98"/>
                  <a:pt x="13" y="98"/>
                  <a:pt x="13" y="98"/>
                </a:cubicBezTo>
                <a:cubicBezTo>
                  <a:pt x="14" y="98"/>
                  <a:pt x="14" y="98"/>
                  <a:pt x="14" y="98"/>
                </a:cubicBezTo>
                <a:lnTo>
                  <a:pt x="15" y="9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7" name="Freeform 75">
            <a:extLst>
              <a:ext uri="{FF2B5EF4-FFF2-40B4-BE49-F238E27FC236}">
                <a16:creationId xmlns:a16="http://schemas.microsoft.com/office/drawing/2014/main" id="{3E1B5730-BCA9-FC8A-FC99-A7AEB9E18597}"/>
              </a:ext>
            </a:extLst>
          </p:cNvPr>
          <p:cNvSpPr>
            <a:spLocks noEditPoints="1"/>
          </p:cNvSpPr>
          <p:nvPr userDrawn="1"/>
        </p:nvSpPr>
        <p:spPr bwMode="auto">
          <a:xfrm>
            <a:off x="12889659" y="5869861"/>
            <a:ext cx="815923" cy="755650"/>
          </a:xfrm>
          <a:custGeom>
            <a:avLst/>
            <a:gdLst>
              <a:gd name="T0" fmla="*/ 204 w 257"/>
              <a:gd name="T1" fmla="*/ 116 h 238"/>
              <a:gd name="T2" fmla="*/ 188 w 257"/>
              <a:gd name="T3" fmla="*/ 125 h 238"/>
              <a:gd name="T4" fmla="*/ 191 w 257"/>
              <a:gd name="T5" fmla="*/ 110 h 238"/>
              <a:gd name="T6" fmla="*/ 207 w 257"/>
              <a:gd name="T7" fmla="*/ 91 h 238"/>
              <a:gd name="T8" fmla="*/ 213 w 257"/>
              <a:gd name="T9" fmla="*/ 88 h 238"/>
              <a:gd name="T10" fmla="*/ 216 w 257"/>
              <a:gd name="T11" fmla="*/ 69 h 238"/>
              <a:gd name="T12" fmla="*/ 222 w 257"/>
              <a:gd name="T13" fmla="*/ 50 h 238"/>
              <a:gd name="T14" fmla="*/ 204 w 257"/>
              <a:gd name="T15" fmla="*/ 47 h 238"/>
              <a:gd name="T16" fmla="*/ 191 w 257"/>
              <a:gd name="T17" fmla="*/ 41 h 238"/>
              <a:gd name="T18" fmla="*/ 175 w 257"/>
              <a:gd name="T19" fmla="*/ 35 h 238"/>
              <a:gd name="T20" fmla="*/ 160 w 257"/>
              <a:gd name="T21" fmla="*/ 28 h 238"/>
              <a:gd name="T22" fmla="*/ 147 w 257"/>
              <a:gd name="T23" fmla="*/ 19 h 238"/>
              <a:gd name="T24" fmla="*/ 135 w 257"/>
              <a:gd name="T25" fmla="*/ 0 h 238"/>
              <a:gd name="T26" fmla="*/ 119 w 257"/>
              <a:gd name="T27" fmla="*/ 6 h 238"/>
              <a:gd name="T28" fmla="*/ 110 w 257"/>
              <a:gd name="T29" fmla="*/ 28 h 238"/>
              <a:gd name="T30" fmla="*/ 88 w 257"/>
              <a:gd name="T31" fmla="*/ 38 h 238"/>
              <a:gd name="T32" fmla="*/ 75 w 257"/>
              <a:gd name="T33" fmla="*/ 44 h 238"/>
              <a:gd name="T34" fmla="*/ 66 w 257"/>
              <a:gd name="T35" fmla="*/ 35 h 238"/>
              <a:gd name="T36" fmla="*/ 54 w 257"/>
              <a:gd name="T37" fmla="*/ 38 h 238"/>
              <a:gd name="T38" fmla="*/ 60 w 257"/>
              <a:gd name="T39" fmla="*/ 56 h 238"/>
              <a:gd name="T40" fmla="*/ 50 w 257"/>
              <a:gd name="T41" fmla="*/ 60 h 238"/>
              <a:gd name="T42" fmla="*/ 32 w 257"/>
              <a:gd name="T43" fmla="*/ 56 h 238"/>
              <a:gd name="T44" fmla="*/ 16 w 257"/>
              <a:gd name="T45" fmla="*/ 60 h 238"/>
              <a:gd name="T46" fmla="*/ 4 w 257"/>
              <a:gd name="T47" fmla="*/ 69 h 238"/>
              <a:gd name="T48" fmla="*/ 7 w 257"/>
              <a:gd name="T49" fmla="*/ 69 h 238"/>
              <a:gd name="T50" fmla="*/ 10 w 257"/>
              <a:gd name="T51" fmla="*/ 75 h 238"/>
              <a:gd name="T52" fmla="*/ 10 w 257"/>
              <a:gd name="T53" fmla="*/ 85 h 238"/>
              <a:gd name="T54" fmla="*/ 25 w 257"/>
              <a:gd name="T55" fmla="*/ 85 h 238"/>
              <a:gd name="T56" fmla="*/ 38 w 257"/>
              <a:gd name="T57" fmla="*/ 88 h 238"/>
              <a:gd name="T58" fmla="*/ 44 w 257"/>
              <a:gd name="T59" fmla="*/ 97 h 238"/>
              <a:gd name="T60" fmla="*/ 54 w 257"/>
              <a:gd name="T61" fmla="*/ 97 h 238"/>
              <a:gd name="T62" fmla="*/ 47 w 257"/>
              <a:gd name="T63" fmla="*/ 107 h 238"/>
              <a:gd name="T64" fmla="*/ 66 w 257"/>
              <a:gd name="T65" fmla="*/ 119 h 238"/>
              <a:gd name="T66" fmla="*/ 66 w 257"/>
              <a:gd name="T67" fmla="*/ 135 h 238"/>
              <a:gd name="T68" fmla="*/ 72 w 257"/>
              <a:gd name="T69" fmla="*/ 141 h 238"/>
              <a:gd name="T70" fmla="*/ 69 w 257"/>
              <a:gd name="T71" fmla="*/ 160 h 238"/>
              <a:gd name="T72" fmla="*/ 60 w 257"/>
              <a:gd name="T73" fmla="*/ 191 h 238"/>
              <a:gd name="T74" fmla="*/ 69 w 257"/>
              <a:gd name="T75" fmla="*/ 197 h 238"/>
              <a:gd name="T76" fmla="*/ 94 w 257"/>
              <a:gd name="T77" fmla="*/ 207 h 238"/>
              <a:gd name="T78" fmla="*/ 116 w 257"/>
              <a:gd name="T79" fmla="*/ 207 h 238"/>
              <a:gd name="T80" fmla="*/ 141 w 257"/>
              <a:gd name="T81" fmla="*/ 213 h 238"/>
              <a:gd name="T82" fmla="*/ 154 w 257"/>
              <a:gd name="T83" fmla="*/ 185 h 238"/>
              <a:gd name="T84" fmla="*/ 169 w 257"/>
              <a:gd name="T85" fmla="*/ 191 h 238"/>
              <a:gd name="T86" fmla="*/ 201 w 257"/>
              <a:gd name="T87" fmla="*/ 197 h 238"/>
              <a:gd name="T88" fmla="*/ 219 w 257"/>
              <a:gd name="T89" fmla="*/ 178 h 238"/>
              <a:gd name="T90" fmla="*/ 207 w 257"/>
              <a:gd name="T91" fmla="*/ 153 h 238"/>
              <a:gd name="T92" fmla="*/ 207 w 257"/>
              <a:gd name="T93" fmla="*/ 135 h 238"/>
              <a:gd name="T94" fmla="*/ 251 w 257"/>
              <a:gd name="T95" fmla="*/ 238 h 238"/>
              <a:gd name="T96" fmla="*/ 244 w 257"/>
              <a:gd name="T97" fmla="*/ 229 h 238"/>
              <a:gd name="T98" fmla="*/ 241 w 257"/>
              <a:gd name="T99" fmla="*/ 222 h 238"/>
              <a:gd name="T100" fmla="*/ 241 w 257"/>
              <a:gd name="T101" fmla="*/ 216 h 238"/>
              <a:gd name="T102" fmla="*/ 251 w 257"/>
              <a:gd name="T103" fmla="*/ 207 h 238"/>
              <a:gd name="T104" fmla="*/ 254 w 257"/>
              <a:gd name="T105" fmla="*/ 197 h 238"/>
              <a:gd name="T106" fmla="*/ 257 w 257"/>
              <a:gd name="T107" fmla="*/ 22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7" h="238">
                <a:moveTo>
                  <a:pt x="210" y="128"/>
                </a:moveTo>
                <a:lnTo>
                  <a:pt x="207" y="125"/>
                </a:lnTo>
                <a:lnTo>
                  <a:pt x="207" y="125"/>
                </a:lnTo>
                <a:lnTo>
                  <a:pt x="204" y="119"/>
                </a:lnTo>
                <a:lnTo>
                  <a:pt x="204" y="116"/>
                </a:lnTo>
                <a:lnTo>
                  <a:pt x="197" y="116"/>
                </a:lnTo>
                <a:lnTo>
                  <a:pt x="194" y="119"/>
                </a:lnTo>
                <a:lnTo>
                  <a:pt x="194" y="122"/>
                </a:lnTo>
                <a:lnTo>
                  <a:pt x="191" y="125"/>
                </a:lnTo>
                <a:lnTo>
                  <a:pt x="188" y="125"/>
                </a:lnTo>
                <a:lnTo>
                  <a:pt x="185" y="122"/>
                </a:lnTo>
                <a:lnTo>
                  <a:pt x="188" y="119"/>
                </a:lnTo>
                <a:lnTo>
                  <a:pt x="191" y="119"/>
                </a:lnTo>
                <a:lnTo>
                  <a:pt x="191" y="116"/>
                </a:lnTo>
                <a:lnTo>
                  <a:pt x="191" y="110"/>
                </a:lnTo>
                <a:lnTo>
                  <a:pt x="197" y="103"/>
                </a:lnTo>
                <a:lnTo>
                  <a:pt x="201" y="100"/>
                </a:lnTo>
                <a:lnTo>
                  <a:pt x="204" y="97"/>
                </a:lnTo>
                <a:lnTo>
                  <a:pt x="207" y="94"/>
                </a:lnTo>
                <a:lnTo>
                  <a:pt x="207" y="91"/>
                </a:lnTo>
                <a:lnTo>
                  <a:pt x="204" y="88"/>
                </a:lnTo>
                <a:lnTo>
                  <a:pt x="204" y="85"/>
                </a:lnTo>
                <a:lnTo>
                  <a:pt x="210" y="85"/>
                </a:lnTo>
                <a:lnTo>
                  <a:pt x="210" y="88"/>
                </a:lnTo>
                <a:lnTo>
                  <a:pt x="213" y="88"/>
                </a:lnTo>
                <a:lnTo>
                  <a:pt x="219" y="88"/>
                </a:lnTo>
                <a:lnTo>
                  <a:pt x="219" y="81"/>
                </a:lnTo>
                <a:lnTo>
                  <a:pt x="216" y="81"/>
                </a:lnTo>
                <a:lnTo>
                  <a:pt x="216" y="75"/>
                </a:lnTo>
                <a:lnTo>
                  <a:pt x="216" y="69"/>
                </a:lnTo>
                <a:lnTo>
                  <a:pt x="219" y="66"/>
                </a:lnTo>
                <a:lnTo>
                  <a:pt x="219" y="63"/>
                </a:lnTo>
                <a:lnTo>
                  <a:pt x="222" y="56"/>
                </a:lnTo>
                <a:lnTo>
                  <a:pt x="226" y="53"/>
                </a:lnTo>
                <a:lnTo>
                  <a:pt x="222" y="50"/>
                </a:lnTo>
                <a:lnTo>
                  <a:pt x="219" y="50"/>
                </a:lnTo>
                <a:lnTo>
                  <a:pt x="213" y="47"/>
                </a:lnTo>
                <a:lnTo>
                  <a:pt x="210" y="47"/>
                </a:lnTo>
                <a:lnTo>
                  <a:pt x="207" y="47"/>
                </a:lnTo>
                <a:lnTo>
                  <a:pt x="204" y="47"/>
                </a:lnTo>
                <a:lnTo>
                  <a:pt x="201" y="50"/>
                </a:lnTo>
                <a:lnTo>
                  <a:pt x="197" y="47"/>
                </a:lnTo>
                <a:lnTo>
                  <a:pt x="197" y="44"/>
                </a:lnTo>
                <a:lnTo>
                  <a:pt x="194" y="41"/>
                </a:lnTo>
                <a:lnTo>
                  <a:pt x="191" y="41"/>
                </a:lnTo>
                <a:lnTo>
                  <a:pt x="185" y="41"/>
                </a:lnTo>
                <a:lnTo>
                  <a:pt x="185" y="38"/>
                </a:lnTo>
                <a:lnTo>
                  <a:pt x="182" y="38"/>
                </a:lnTo>
                <a:lnTo>
                  <a:pt x="179" y="38"/>
                </a:lnTo>
                <a:lnTo>
                  <a:pt x="175" y="35"/>
                </a:lnTo>
                <a:lnTo>
                  <a:pt x="172" y="35"/>
                </a:lnTo>
                <a:lnTo>
                  <a:pt x="166" y="28"/>
                </a:lnTo>
                <a:lnTo>
                  <a:pt x="163" y="28"/>
                </a:lnTo>
                <a:lnTo>
                  <a:pt x="163" y="28"/>
                </a:lnTo>
                <a:lnTo>
                  <a:pt x="160" y="28"/>
                </a:lnTo>
                <a:lnTo>
                  <a:pt x="157" y="28"/>
                </a:lnTo>
                <a:lnTo>
                  <a:pt x="154" y="25"/>
                </a:lnTo>
                <a:lnTo>
                  <a:pt x="154" y="22"/>
                </a:lnTo>
                <a:lnTo>
                  <a:pt x="150" y="19"/>
                </a:lnTo>
                <a:lnTo>
                  <a:pt x="147" y="19"/>
                </a:lnTo>
                <a:lnTo>
                  <a:pt x="147" y="19"/>
                </a:lnTo>
                <a:lnTo>
                  <a:pt x="141" y="13"/>
                </a:lnTo>
                <a:lnTo>
                  <a:pt x="141" y="10"/>
                </a:lnTo>
                <a:lnTo>
                  <a:pt x="135" y="10"/>
                </a:lnTo>
                <a:lnTo>
                  <a:pt x="135" y="0"/>
                </a:lnTo>
                <a:lnTo>
                  <a:pt x="132" y="0"/>
                </a:lnTo>
                <a:lnTo>
                  <a:pt x="132" y="0"/>
                </a:lnTo>
                <a:lnTo>
                  <a:pt x="125" y="3"/>
                </a:lnTo>
                <a:lnTo>
                  <a:pt x="122" y="3"/>
                </a:lnTo>
                <a:lnTo>
                  <a:pt x="119" y="6"/>
                </a:lnTo>
                <a:lnTo>
                  <a:pt x="116" y="10"/>
                </a:lnTo>
                <a:lnTo>
                  <a:pt x="116" y="13"/>
                </a:lnTo>
                <a:lnTo>
                  <a:pt x="116" y="22"/>
                </a:lnTo>
                <a:lnTo>
                  <a:pt x="110" y="25"/>
                </a:lnTo>
                <a:lnTo>
                  <a:pt x="110" y="28"/>
                </a:lnTo>
                <a:lnTo>
                  <a:pt x="104" y="31"/>
                </a:lnTo>
                <a:lnTo>
                  <a:pt x="100" y="31"/>
                </a:lnTo>
                <a:lnTo>
                  <a:pt x="97" y="28"/>
                </a:lnTo>
                <a:lnTo>
                  <a:pt x="91" y="35"/>
                </a:lnTo>
                <a:lnTo>
                  <a:pt x="88" y="38"/>
                </a:lnTo>
                <a:lnTo>
                  <a:pt x="88" y="38"/>
                </a:lnTo>
                <a:lnTo>
                  <a:pt x="94" y="41"/>
                </a:lnTo>
                <a:lnTo>
                  <a:pt x="88" y="44"/>
                </a:lnTo>
                <a:lnTo>
                  <a:pt x="82" y="44"/>
                </a:lnTo>
                <a:lnTo>
                  <a:pt x="75" y="44"/>
                </a:lnTo>
                <a:lnTo>
                  <a:pt x="72" y="41"/>
                </a:lnTo>
                <a:lnTo>
                  <a:pt x="69" y="44"/>
                </a:lnTo>
                <a:lnTo>
                  <a:pt x="66" y="41"/>
                </a:lnTo>
                <a:lnTo>
                  <a:pt x="66" y="38"/>
                </a:lnTo>
                <a:lnTo>
                  <a:pt x="66" y="35"/>
                </a:lnTo>
                <a:lnTo>
                  <a:pt x="63" y="35"/>
                </a:lnTo>
                <a:lnTo>
                  <a:pt x="60" y="35"/>
                </a:lnTo>
                <a:lnTo>
                  <a:pt x="57" y="35"/>
                </a:lnTo>
                <a:lnTo>
                  <a:pt x="54" y="35"/>
                </a:lnTo>
                <a:lnTo>
                  <a:pt x="54" y="38"/>
                </a:lnTo>
                <a:lnTo>
                  <a:pt x="54" y="41"/>
                </a:lnTo>
                <a:lnTo>
                  <a:pt x="60" y="47"/>
                </a:lnTo>
                <a:lnTo>
                  <a:pt x="60" y="50"/>
                </a:lnTo>
                <a:lnTo>
                  <a:pt x="60" y="53"/>
                </a:lnTo>
                <a:lnTo>
                  <a:pt x="60" y="56"/>
                </a:lnTo>
                <a:lnTo>
                  <a:pt x="60" y="56"/>
                </a:lnTo>
                <a:lnTo>
                  <a:pt x="63" y="60"/>
                </a:lnTo>
                <a:lnTo>
                  <a:pt x="54" y="60"/>
                </a:lnTo>
                <a:lnTo>
                  <a:pt x="50" y="63"/>
                </a:lnTo>
                <a:lnTo>
                  <a:pt x="50" y="60"/>
                </a:lnTo>
                <a:lnTo>
                  <a:pt x="44" y="63"/>
                </a:lnTo>
                <a:lnTo>
                  <a:pt x="44" y="60"/>
                </a:lnTo>
                <a:lnTo>
                  <a:pt x="41" y="63"/>
                </a:lnTo>
                <a:lnTo>
                  <a:pt x="35" y="56"/>
                </a:lnTo>
                <a:lnTo>
                  <a:pt x="32" y="56"/>
                </a:lnTo>
                <a:lnTo>
                  <a:pt x="25" y="56"/>
                </a:lnTo>
                <a:lnTo>
                  <a:pt x="22" y="60"/>
                </a:lnTo>
                <a:lnTo>
                  <a:pt x="22" y="60"/>
                </a:lnTo>
                <a:lnTo>
                  <a:pt x="19" y="60"/>
                </a:lnTo>
                <a:lnTo>
                  <a:pt x="16" y="60"/>
                </a:lnTo>
                <a:lnTo>
                  <a:pt x="13" y="60"/>
                </a:lnTo>
                <a:lnTo>
                  <a:pt x="10" y="63"/>
                </a:lnTo>
                <a:lnTo>
                  <a:pt x="4" y="63"/>
                </a:lnTo>
                <a:lnTo>
                  <a:pt x="0" y="66"/>
                </a:lnTo>
                <a:lnTo>
                  <a:pt x="4" y="69"/>
                </a:lnTo>
                <a:lnTo>
                  <a:pt x="7" y="66"/>
                </a:lnTo>
                <a:lnTo>
                  <a:pt x="10" y="69"/>
                </a:lnTo>
                <a:lnTo>
                  <a:pt x="10" y="69"/>
                </a:lnTo>
                <a:lnTo>
                  <a:pt x="7" y="69"/>
                </a:lnTo>
                <a:lnTo>
                  <a:pt x="7" y="69"/>
                </a:lnTo>
                <a:lnTo>
                  <a:pt x="7" y="72"/>
                </a:lnTo>
                <a:lnTo>
                  <a:pt x="7" y="69"/>
                </a:lnTo>
                <a:lnTo>
                  <a:pt x="10" y="72"/>
                </a:lnTo>
                <a:lnTo>
                  <a:pt x="10" y="72"/>
                </a:lnTo>
                <a:lnTo>
                  <a:pt x="10" y="75"/>
                </a:lnTo>
                <a:lnTo>
                  <a:pt x="4" y="75"/>
                </a:lnTo>
                <a:lnTo>
                  <a:pt x="4" y="75"/>
                </a:lnTo>
                <a:lnTo>
                  <a:pt x="10" y="75"/>
                </a:lnTo>
                <a:lnTo>
                  <a:pt x="10" y="81"/>
                </a:lnTo>
                <a:lnTo>
                  <a:pt x="10" y="85"/>
                </a:lnTo>
                <a:lnTo>
                  <a:pt x="13" y="81"/>
                </a:lnTo>
                <a:lnTo>
                  <a:pt x="16" y="81"/>
                </a:lnTo>
                <a:lnTo>
                  <a:pt x="19" y="81"/>
                </a:lnTo>
                <a:lnTo>
                  <a:pt x="25" y="85"/>
                </a:lnTo>
                <a:lnTo>
                  <a:pt x="25" y="85"/>
                </a:lnTo>
                <a:lnTo>
                  <a:pt x="29" y="85"/>
                </a:lnTo>
                <a:lnTo>
                  <a:pt x="32" y="88"/>
                </a:lnTo>
                <a:lnTo>
                  <a:pt x="35" y="85"/>
                </a:lnTo>
                <a:lnTo>
                  <a:pt x="38" y="85"/>
                </a:lnTo>
                <a:lnTo>
                  <a:pt x="38" y="88"/>
                </a:lnTo>
                <a:lnTo>
                  <a:pt x="38" y="91"/>
                </a:lnTo>
                <a:lnTo>
                  <a:pt x="41" y="88"/>
                </a:lnTo>
                <a:lnTo>
                  <a:pt x="44" y="91"/>
                </a:lnTo>
                <a:lnTo>
                  <a:pt x="41" y="94"/>
                </a:lnTo>
                <a:lnTo>
                  <a:pt x="44" y="97"/>
                </a:lnTo>
                <a:lnTo>
                  <a:pt x="47" y="97"/>
                </a:lnTo>
                <a:lnTo>
                  <a:pt x="50" y="94"/>
                </a:lnTo>
                <a:lnTo>
                  <a:pt x="54" y="94"/>
                </a:lnTo>
                <a:lnTo>
                  <a:pt x="57" y="97"/>
                </a:lnTo>
                <a:lnTo>
                  <a:pt x="54" y="97"/>
                </a:lnTo>
                <a:lnTo>
                  <a:pt x="50" y="97"/>
                </a:lnTo>
                <a:lnTo>
                  <a:pt x="47" y="100"/>
                </a:lnTo>
                <a:lnTo>
                  <a:pt x="50" y="100"/>
                </a:lnTo>
                <a:lnTo>
                  <a:pt x="50" y="103"/>
                </a:lnTo>
                <a:lnTo>
                  <a:pt x="47" y="107"/>
                </a:lnTo>
                <a:lnTo>
                  <a:pt x="50" y="110"/>
                </a:lnTo>
                <a:lnTo>
                  <a:pt x="54" y="110"/>
                </a:lnTo>
                <a:lnTo>
                  <a:pt x="57" y="116"/>
                </a:lnTo>
                <a:lnTo>
                  <a:pt x="63" y="116"/>
                </a:lnTo>
                <a:lnTo>
                  <a:pt x="66" y="119"/>
                </a:lnTo>
                <a:lnTo>
                  <a:pt x="66" y="122"/>
                </a:lnTo>
                <a:lnTo>
                  <a:pt x="69" y="125"/>
                </a:lnTo>
                <a:lnTo>
                  <a:pt x="66" y="132"/>
                </a:lnTo>
                <a:lnTo>
                  <a:pt x="66" y="132"/>
                </a:lnTo>
                <a:lnTo>
                  <a:pt x="66" y="135"/>
                </a:lnTo>
                <a:lnTo>
                  <a:pt x="69" y="135"/>
                </a:lnTo>
                <a:lnTo>
                  <a:pt x="75" y="138"/>
                </a:lnTo>
                <a:lnTo>
                  <a:pt x="79" y="150"/>
                </a:lnTo>
                <a:lnTo>
                  <a:pt x="75" y="144"/>
                </a:lnTo>
                <a:lnTo>
                  <a:pt x="72" y="141"/>
                </a:lnTo>
                <a:lnTo>
                  <a:pt x="69" y="138"/>
                </a:lnTo>
                <a:lnTo>
                  <a:pt x="66" y="141"/>
                </a:lnTo>
                <a:lnTo>
                  <a:pt x="66" y="150"/>
                </a:lnTo>
                <a:lnTo>
                  <a:pt x="66" y="157"/>
                </a:lnTo>
                <a:lnTo>
                  <a:pt x="69" y="160"/>
                </a:lnTo>
                <a:lnTo>
                  <a:pt x="66" y="160"/>
                </a:lnTo>
                <a:lnTo>
                  <a:pt x="63" y="175"/>
                </a:lnTo>
                <a:lnTo>
                  <a:pt x="60" y="185"/>
                </a:lnTo>
                <a:lnTo>
                  <a:pt x="57" y="188"/>
                </a:lnTo>
                <a:lnTo>
                  <a:pt x="60" y="191"/>
                </a:lnTo>
                <a:lnTo>
                  <a:pt x="60" y="191"/>
                </a:lnTo>
                <a:lnTo>
                  <a:pt x="63" y="191"/>
                </a:lnTo>
                <a:lnTo>
                  <a:pt x="63" y="197"/>
                </a:lnTo>
                <a:lnTo>
                  <a:pt x="63" y="200"/>
                </a:lnTo>
                <a:lnTo>
                  <a:pt x="69" y="197"/>
                </a:lnTo>
                <a:lnTo>
                  <a:pt x="75" y="200"/>
                </a:lnTo>
                <a:lnTo>
                  <a:pt x="79" y="207"/>
                </a:lnTo>
                <a:lnTo>
                  <a:pt x="85" y="204"/>
                </a:lnTo>
                <a:lnTo>
                  <a:pt x="88" y="210"/>
                </a:lnTo>
                <a:lnTo>
                  <a:pt x="94" y="207"/>
                </a:lnTo>
                <a:lnTo>
                  <a:pt x="97" y="210"/>
                </a:lnTo>
                <a:lnTo>
                  <a:pt x="100" y="207"/>
                </a:lnTo>
                <a:lnTo>
                  <a:pt x="110" y="207"/>
                </a:lnTo>
                <a:lnTo>
                  <a:pt x="113" y="207"/>
                </a:lnTo>
                <a:lnTo>
                  <a:pt x="116" y="207"/>
                </a:lnTo>
                <a:lnTo>
                  <a:pt x="122" y="210"/>
                </a:lnTo>
                <a:lnTo>
                  <a:pt x="132" y="210"/>
                </a:lnTo>
                <a:lnTo>
                  <a:pt x="138" y="213"/>
                </a:lnTo>
                <a:lnTo>
                  <a:pt x="141" y="213"/>
                </a:lnTo>
                <a:lnTo>
                  <a:pt x="141" y="213"/>
                </a:lnTo>
                <a:lnTo>
                  <a:pt x="141" y="207"/>
                </a:lnTo>
                <a:lnTo>
                  <a:pt x="141" y="200"/>
                </a:lnTo>
                <a:lnTo>
                  <a:pt x="141" y="197"/>
                </a:lnTo>
                <a:lnTo>
                  <a:pt x="147" y="191"/>
                </a:lnTo>
                <a:lnTo>
                  <a:pt x="154" y="185"/>
                </a:lnTo>
                <a:lnTo>
                  <a:pt x="154" y="185"/>
                </a:lnTo>
                <a:lnTo>
                  <a:pt x="157" y="188"/>
                </a:lnTo>
                <a:lnTo>
                  <a:pt x="163" y="188"/>
                </a:lnTo>
                <a:lnTo>
                  <a:pt x="166" y="191"/>
                </a:lnTo>
                <a:lnTo>
                  <a:pt x="169" y="191"/>
                </a:lnTo>
                <a:lnTo>
                  <a:pt x="172" y="188"/>
                </a:lnTo>
                <a:lnTo>
                  <a:pt x="175" y="188"/>
                </a:lnTo>
                <a:lnTo>
                  <a:pt x="188" y="194"/>
                </a:lnTo>
                <a:lnTo>
                  <a:pt x="191" y="197"/>
                </a:lnTo>
                <a:lnTo>
                  <a:pt x="201" y="197"/>
                </a:lnTo>
                <a:lnTo>
                  <a:pt x="204" y="194"/>
                </a:lnTo>
                <a:lnTo>
                  <a:pt x="204" y="194"/>
                </a:lnTo>
                <a:lnTo>
                  <a:pt x="207" y="188"/>
                </a:lnTo>
                <a:lnTo>
                  <a:pt x="219" y="178"/>
                </a:lnTo>
                <a:lnTo>
                  <a:pt x="219" y="178"/>
                </a:lnTo>
                <a:lnTo>
                  <a:pt x="216" y="175"/>
                </a:lnTo>
                <a:lnTo>
                  <a:pt x="219" y="169"/>
                </a:lnTo>
                <a:lnTo>
                  <a:pt x="213" y="169"/>
                </a:lnTo>
                <a:lnTo>
                  <a:pt x="207" y="166"/>
                </a:lnTo>
                <a:lnTo>
                  <a:pt x="207" y="153"/>
                </a:lnTo>
                <a:lnTo>
                  <a:pt x="204" y="150"/>
                </a:lnTo>
                <a:lnTo>
                  <a:pt x="204" y="147"/>
                </a:lnTo>
                <a:lnTo>
                  <a:pt x="210" y="147"/>
                </a:lnTo>
                <a:lnTo>
                  <a:pt x="210" y="141"/>
                </a:lnTo>
                <a:lnTo>
                  <a:pt x="207" y="135"/>
                </a:lnTo>
                <a:lnTo>
                  <a:pt x="207" y="132"/>
                </a:lnTo>
                <a:lnTo>
                  <a:pt x="207" y="128"/>
                </a:lnTo>
                <a:lnTo>
                  <a:pt x="210" y="128"/>
                </a:lnTo>
                <a:lnTo>
                  <a:pt x="210" y="128"/>
                </a:lnTo>
                <a:close/>
                <a:moveTo>
                  <a:pt x="251" y="238"/>
                </a:moveTo>
                <a:lnTo>
                  <a:pt x="244" y="235"/>
                </a:lnTo>
                <a:lnTo>
                  <a:pt x="241" y="232"/>
                </a:lnTo>
                <a:lnTo>
                  <a:pt x="244" y="232"/>
                </a:lnTo>
                <a:lnTo>
                  <a:pt x="244" y="232"/>
                </a:lnTo>
                <a:lnTo>
                  <a:pt x="244" y="229"/>
                </a:lnTo>
                <a:lnTo>
                  <a:pt x="244" y="229"/>
                </a:lnTo>
                <a:lnTo>
                  <a:pt x="244" y="225"/>
                </a:lnTo>
                <a:lnTo>
                  <a:pt x="241" y="225"/>
                </a:lnTo>
                <a:lnTo>
                  <a:pt x="238" y="222"/>
                </a:lnTo>
                <a:lnTo>
                  <a:pt x="241" y="222"/>
                </a:lnTo>
                <a:lnTo>
                  <a:pt x="241" y="222"/>
                </a:lnTo>
                <a:lnTo>
                  <a:pt x="238" y="219"/>
                </a:lnTo>
                <a:lnTo>
                  <a:pt x="238" y="216"/>
                </a:lnTo>
                <a:lnTo>
                  <a:pt x="238" y="216"/>
                </a:lnTo>
                <a:lnTo>
                  <a:pt x="241" y="216"/>
                </a:lnTo>
                <a:lnTo>
                  <a:pt x="238" y="213"/>
                </a:lnTo>
                <a:lnTo>
                  <a:pt x="241" y="207"/>
                </a:lnTo>
                <a:lnTo>
                  <a:pt x="247" y="207"/>
                </a:lnTo>
                <a:lnTo>
                  <a:pt x="247" y="204"/>
                </a:lnTo>
                <a:lnTo>
                  <a:pt x="251" y="207"/>
                </a:lnTo>
                <a:lnTo>
                  <a:pt x="254" y="207"/>
                </a:lnTo>
                <a:lnTo>
                  <a:pt x="254" y="204"/>
                </a:lnTo>
                <a:lnTo>
                  <a:pt x="254" y="200"/>
                </a:lnTo>
                <a:lnTo>
                  <a:pt x="254" y="197"/>
                </a:lnTo>
                <a:lnTo>
                  <a:pt x="254" y="197"/>
                </a:lnTo>
                <a:lnTo>
                  <a:pt x="257" y="204"/>
                </a:lnTo>
                <a:lnTo>
                  <a:pt x="257" y="207"/>
                </a:lnTo>
                <a:lnTo>
                  <a:pt x="257" y="216"/>
                </a:lnTo>
                <a:lnTo>
                  <a:pt x="254" y="225"/>
                </a:lnTo>
                <a:lnTo>
                  <a:pt x="257" y="229"/>
                </a:lnTo>
                <a:lnTo>
                  <a:pt x="254" y="235"/>
                </a:lnTo>
                <a:lnTo>
                  <a:pt x="251" y="238"/>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8" name="Freeform 76">
            <a:extLst>
              <a:ext uri="{FF2B5EF4-FFF2-40B4-BE49-F238E27FC236}">
                <a16:creationId xmlns:a16="http://schemas.microsoft.com/office/drawing/2014/main" id="{F08762F7-E9B7-93CF-639B-C3CE9FA8BB2D}"/>
              </a:ext>
            </a:extLst>
          </p:cNvPr>
          <p:cNvSpPr>
            <a:spLocks/>
          </p:cNvSpPr>
          <p:nvPr userDrawn="1"/>
        </p:nvSpPr>
        <p:spPr bwMode="auto">
          <a:xfrm>
            <a:off x="14013537" y="7031907"/>
            <a:ext cx="19049" cy="19050"/>
          </a:xfrm>
          <a:custGeom>
            <a:avLst/>
            <a:gdLst>
              <a:gd name="T0" fmla="*/ 0 w 6"/>
              <a:gd name="T1" fmla="*/ 0 h 6"/>
              <a:gd name="T2" fmla="*/ 0 w 6"/>
              <a:gd name="T3" fmla="*/ 3 h 6"/>
              <a:gd name="T4" fmla="*/ 3 w 6"/>
              <a:gd name="T5" fmla="*/ 6 h 6"/>
              <a:gd name="T6" fmla="*/ 6 w 6"/>
              <a:gd name="T7" fmla="*/ 3 h 6"/>
              <a:gd name="T8" fmla="*/ 6 w 6"/>
              <a:gd name="T9" fmla="*/ 0 h 6"/>
              <a:gd name="T10" fmla="*/ 0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0" y="0"/>
                </a:moveTo>
                <a:lnTo>
                  <a:pt x="0" y="3"/>
                </a:lnTo>
                <a:lnTo>
                  <a:pt x="3" y="6"/>
                </a:lnTo>
                <a:lnTo>
                  <a:pt x="6" y="3"/>
                </a:lnTo>
                <a:lnTo>
                  <a:pt x="6" y="0"/>
                </a:lnTo>
                <a:lnTo>
                  <a:pt x="0" y="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9" name="Freeform 77">
            <a:extLst>
              <a:ext uri="{FF2B5EF4-FFF2-40B4-BE49-F238E27FC236}">
                <a16:creationId xmlns:a16="http://schemas.microsoft.com/office/drawing/2014/main" id="{F33C48FF-74FE-7EC6-0B97-DCB2E5F08E2B}"/>
              </a:ext>
            </a:extLst>
          </p:cNvPr>
          <p:cNvSpPr>
            <a:spLocks noEditPoints="1"/>
          </p:cNvSpPr>
          <p:nvPr userDrawn="1"/>
        </p:nvSpPr>
        <p:spPr bwMode="auto">
          <a:xfrm>
            <a:off x="13537320" y="6187359"/>
            <a:ext cx="704804" cy="796926"/>
          </a:xfrm>
          <a:custGeom>
            <a:avLst/>
            <a:gdLst>
              <a:gd name="T0" fmla="*/ 3 w 222"/>
              <a:gd name="T1" fmla="*/ 66 h 251"/>
              <a:gd name="T2" fmla="*/ 6 w 222"/>
              <a:gd name="T3" fmla="*/ 41 h 251"/>
              <a:gd name="T4" fmla="*/ 15 w 222"/>
              <a:gd name="T5" fmla="*/ 25 h 251"/>
              <a:gd name="T6" fmla="*/ 40 w 222"/>
              <a:gd name="T7" fmla="*/ 25 h 251"/>
              <a:gd name="T8" fmla="*/ 56 w 222"/>
              <a:gd name="T9" fmla="*/ 19 h 251"/>
              <a:gd name="T10" fmla="*/ 72 w 222"/>
              <a:gd name="T11" fmla="*/ 3 h 251"/>
              <a:gd name="T12" fmla="*/ 97 w 222"/>
              <a:gd name="T13" fmla="*/ 3 h 251"/>
              <a:gd name="T14" fmla="*/ 125 w 222"/>
              <a:gd name="T15" fmla="*/ 19 h 251"/>
              <a:gd name="T16" fmla="*/ 115 w 222"/>
              <a:gd name="T17" fmla="*/ 35 h 251"/>
              <a:gd name="T18" fmla="*/ 100 w 222"/>
              <a:gd name="T19" fmla="*/ 44 h 251"/>
              <a:gd name="T20" fmla="*/ 103 w 222"/>
              <a:gd name="T21" fmla="*/ 63 h 251"/>
              <a:gd name="T22" fmla="*/ 122 w 222"/>
              <a:gd name="T23" fmla="*/ 82 h 251"/>
              <a:gd name="T24" fmla="*/ 137 w 222"/>
              <a:gd name="T25" fmla="*/ 107 h 251"/>
              <a:gd name="T26" fmla="*/ 156 w 222"/>
              <a:gd name="T27" fmla="*/ 122 h 251"/>
              <a:gd name="T28" fmla="*/ 178 w 222"/>
              <a:gd name="T29" fmla="*/ 125 h 251"/>
              <a:gd name="T30" fmla="*/ 178 w 222"/>
              <a:gd name="T31" fmla="*/ 138 h 251"/>
              <a:gd name="T32" fmla="*/ 218 w 222"/>
              <a:gd name="T33" fmla="*/ 157 h 251"/>
              <a:gd name="T34" fmla="*/ 222 w 222"/>
              <a:gd name="T35" fmla="*/ 172 h 251"/>
              <a:gd name="T36" fmla="*/ 212 w 222"/>
              <a:gd name="T37" fmla="*/ 166 h 251"/>
              <a:gd name="T38" fmla="*/ 197 w 222"/>
              <a:gd name="T39" fmla="*/ 160 h 251"/>
              <a:gd name="T40" fmla="*/ 190 w 222"/>
              <a:gd name="T41" fmla="*/ 169 h 251"/>
              <a:gd name="T42" fmla="*/ 190 w 222"/>
              <a:gd name="T43" fmla="*/ 179 h 251"/>
              <a:gd name="T44" fmla="*/ 197 w 222"/>
              <a:gd name="T45" fmla="*/ 197 h 251"/>
              <a:gd name="T46" fmla="*/ 184 w 222"/>
              <a:gd name="T47" fmla="*/ 219 h 251"/>
              <a:gd name="T48" fmla="*/ 172 w 222"/>
              <a:gd name="T49" fmla="*/ 213 h 251"/>
              <a:gd name="T50" fmla="*/ 178 w 222"/>
              <a:gd name="T51" fmla="*/ 200 h 251"/>
              <a:gd name="T52" fmla="*/ 178 w 222"/>
              <a:gd name="T53" fmla="*/ 185 h 251"/>
              <a:gd name="T54" fmla="*/ 168 w 222"/>
              <a:gd name="T55" fmla="*/ 169 h 251"/>
              <a:gd name="T56" fmla="*/ 156 w 222"/>
              <a:gd name="T57" fmla="*/ 163 h 251"/>
              <a:gd name="T58" fmla="*/ 147 w 222"/>
              <a:gd name="T59" fmla="*/ 150 h 251"/>
              <a:gd name="T60" fmla="*/ 131 w 222"/>
              <a:gd name="T61" fmla="*/ 141 h 251"/>
              <a:gd name="T62" fmla="*/ 118 w 222"/>
              <a:gd name="T63" fmla="*/ 138 h 251"/>
              <a:gd name="T64" fmla="*/ 93 w 222"/>
              <a:gd name="T65" fmla="*/ 116 h 251"/>
              <a:gd name="T66" fmla="*/ 75 w 222"/>
              <a:gd name="T67" fmla="*/ 100 h 251"/>
              <a:gd name="T68" fmla="*/ 65 w 222"/>
              <a:gd name="T69" fmla="*/ 82 h 251"/>
              <a:gd name="T70" fmla="*/ 50 w 222"/>
              <a:gd name="T71" fmla="*/ 69 h 251"/>
              <a:gd name="T72" fmla="*/ 15 w 222"/>
              <a:gd name="T73" fmla="*/ 78 h 251"/>
              <a:gd name="T74" fmla="*/ 34 w 222"/>
              <a:gd name="T75" fmla="*/ 141 h 251"/>
              <a:gd name="T76" fmla="*/ 28 w 222"/>
              <a:gd name="T77" fmla="*/ 144 h 251"/>
              <a:gd name="T78" fmla="*/ 78 w 222"/>
              <a:gd name="T79" fmla="*/ 113 h 251"/>
              <a:gd name="T80" fmla="*/ 72 w 222"/>
              <a:gd name="T81" fmla="*/ 104 h 251"/>
              <a:gd name="T82" fmla="*/ 62 w 222"/>
              <a:gd name="T83" fmla="*/ 104 h 251"/>
              <a:gd name="T84" fmla="*/ 47 w 222"/>
              <a:gd name="T85" fmla="*/ 194 h 251"/>
              <a:gd name="T86" fmla="*/ 56 w 222"/>
              <a:gd name="T87" fmla="*/ 191 h 251"/>
              <a:gd name="T88" fmla="*/ 53 w 222"/>
              <a:gd name="T89" fmla="*/ 160 h 251"/>
              <a:gd name="T90" fmla="*/ 53 w 222"/>
              <a:gd name="T91" fmla="*/ 144 h 251"/>
              <a:gd name="T92" fmla="*/ 34 w 222"/>
              <a:gd name="T93" fmla="*/ 150 h 251"/>
              <a:gd name="T94" fmla="*/ 31 w 222"/>
              <a:gd name="T95" fmla="*/ 160 h 251"/>
              <a:gd name="T96" fmla="*/ 37 w 222"/>
              <a:gd name="T97" fmla="*/ 172 h 251"/>
              <a:gd name="T98" fmla="*/ 37 w 222"/>
              <a:gd name="T99" fmla="*/ 194 h 251"/>
              <a:gd name="T100" fmla="*/ 165 w 222"/>
              <a:gd name="T101" fmla="*/ 244 h 251"/>
              <a:gd name="T102" fmla="*/ 168 w 222"/>
              <a:gd name="T103" fmla="*/ 216 h 251"/>
              <a:gd name="T104" fmla="*/ 150 w 222"/>
              <a:gd name="T105" fmla="*/ 219 h 251"/>
              <a:gd name="T106" fmla="*/ 122 w 222"/>
              <a:gd name="T107" fmla="*/ 216 h 251"/>
              <a:gd name="T108" fmla="*/ 115 w 222"/>
              <a:gd name="T109" fmla="*/ 229 h 251"/>
              <a:gd name="T110" fmla="*/ 143 w 222"/>
              <a:gd name="T111" fmla="*/ 241 h 251"/>
              <a:gd name="T112" fmla="*/ 162 w 222"/>
              <a:gd name="T113" fmla="*/ 251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2" h="251">
                <a:moveTo>
                  <a:pt x="15" y="78"/>
                </a:moveTo>
                <a:lnTo>
                  <a:pt x="12" y="75"/>
                </a:lnTo>
                <a:lnTo>
                  <a:pt x="15" y="69"/>
                </a:lnTo>
                <a:lnTo>
                  <a:pt x="9" y="69"/>
                </a:lnTo>
                <a:lnTo>
                  <a:pt x="3" y="66"/>
                </a:lnTo>
                <a:lnTo>
                  <a:pt x="3" y="53"/>
                </a:lnTo>
                <a:lnTo>
                  <a:pt x="0" y="50"/>
                </a:lnTo>
                <a:lnTo>
                  <a:pt x="0" y="47"/>
                </a:lnTo>
                <a:lnTo>
                  <a:pt x="6" y="47"/>
                </a:lnTo>
                <a:lnTo>
                  <a:pt x="6" y="41"/>
                </a:lnTo>
                <a:lnTo>
                  <a:pt x="3" y="35"/>
                </a:lnTo>
                <a:lnTo>
                  <a:pt x="3" y="32"/>
                </a:lnTo>
                <a:lnTo>
                  <a:pt x="3" y="28"/>
                </a:lnTo>
                <a:lnTo>
                  <a:pt x="9" y="32"/>
                </a:lnTo>
                <a:lnTo>
                  <a:pt x="15" y="25"/>
                </a:lnTo>
                <a:lnTo>
                  <a:pt x="22" y="28"/>
                </a:lnTo>
                <a:lnTo>
                  <a:pt x="28" y="16"/>
                </a:lnTo>
                <a:lnTo>
                  <a:pt x="34" y="19"/>
                </a:lnTo>
                <a:lnTo>
                  <a:pt x="34" y="22"/>
                </a:lnTo>
                <a:lnTo>
                  <a:pt x="40" y="25"/>
                </a:lnTo>
                <a:lnTo>
                  <a:pt x="40" y="28"/>
                </a:lnTo>
                <a:lnTo>
                  <a:pt x="43" y="22"/>
                </a:lnTo>
                <a:lnTo>
                  <a:pt x="43" y="16"/>
                </a:lnTo>
                <a:lnTo>
                  <a:pt x="53" y="19"/>
                </a:lnTo>
                <a:lnTo>
                  <a:pt x="56" y="19"/>
                </a:lnTo>
                <a:lnTo>
                  <a:pt x="59" y="22"/>
                </a:lnTo>
                <a:lnTo>
                  <a:pt x="62" y="16"/>
                </a:lnTo>
                <a:lnTo>
                  <a:pt x="68" y="13"/>
                </a:lnTo>
                <a:lnTo>
                  <a:pt x="65" y="7"/>
                </a:lnTo>
                <a:lnTo>
                  <a:pt x="72" y="3"/>
                </a:lnTo>
                <a:lnTo>
                  <a:pt x="78" y="3"/>
                </a:lnTo>
                <a:lnTo>
                  <a:pt x="87" y="0"/>
                </a:lnTo>
                <a:lnTo>
                  <a:pt x="90" y="0"/>
                </a:lnTo>
                <a:lnTo>
                  <a:pt x="100" y="0"/>
                </a:lnTo>
                <a:lnTo>
                  <a:pt x="97" y="3"/>
                </a:lnTo>
                <a:lnTo>
                  <a:pt x="106" y="10"/>
                </a:lnTo>
                <a:lnTo>
                  <a:pt x="118" y="13"/>
                </a:lnTo>
                <a:lnTo>
                  <a:pt x="125" y="10"/>
                </a:lnTo>
                <a:lnTo>
                  <a:pt x="128" y="13"/>
                </a:lnTo>
                <a:lnTo>
                  <a:pt x="125" y="19"/>
                </a:lnTo>
                <a:lnTo>
                  <a:pt x="125" y="22"/>
                </a:lnTo>
                <a:lnTo>
                  <a:pt x="122" y="28"/>
                </a:lnTo>
                <a:lnTo>
                  <a:pt x="125" y="35"/>
                </a:lnTo>
                <a:lnTo>
                  <a:pt x="118" y="32"/>
                </a:lnTo>
                <a:lnTo>
                  <a:pt x="115" y="35"/>
                </a:lnTo>
                <a:lnTo>
                  <a:pt x="115" y="38"/>
                </a:lnTo>
                <a:lnTo>
                  <a:pt x="109" y="38"/>
                </a:lnTo>
                <a:lnTo>
                  <a:pt x="106" y="41"/>
                </a:lnTo>
                <a:lnTo>
                  <a:pt x="103" y="41"/>
                </a:lnTo>
                <a:lnTo>
                  <a:pt x="100" y="44"/>
                </a:lnTo>
                <a:lnTo>
                  <a:pt x="103" y="47"/>
                </a:lnTo>
                <a:lnTo>
                  <a:pt x="106" y="50"/>
                </a:lnTo>
                <a:lnTo>
                  <a:pt x="103" y="57"/>
                </a:lnTo>
                <a:lnTo>
                  <a:pt x="100" y="57"/>
                </a:lnTo>
                <a:lnTo>
                  <a:pt x="103" y="63"/>
                </a:lnTo>
                <a:lnTo>
                  <a:pt x="103" y="69"/>
                </a:lnTo>
                <a:lnTo>
                  <a:pt x="106" y="72"/>
                </a:lnTo>
                <a:lnTo>
                  <a:pt x="112" y="75"/>
                </a:lnTo>
                <a:lnTo>
                  <a:pt x="118" y="78"/>
                </a:lnTo>
                <a:lnTo>
                  <a:pt x="122" y="82"/>
                </a:lnTo>
                <a:lnTo>
                  <a:pt x="134" y="94"/>
                </a:lnTo>
                <a:lnTo>
                  <a:pt x="134" y="97"/>
                </a:lnTo>
                <a:lnTo>
                  <a:pt x="134" y="97"/>
                </a:lnTo>
                <a:lnTo>
                  <a:pt x="134" y="104"/>
                </a:lnTo>
                <a:lnTo>
                  <a:pt x="137" y="107"/>
                </a:lnTo>
                <a:lnTo>
                  <a:pt x="140" y="110"/>
                </a:lnTo>
                <a:lnTo>
                  <a:pt x="143" y="116"/>
                </a:lnTo>
                <a:lnTo>
                  <a:pt x="150" y="119"/>
                </a:lnTo>
                <a:lnTo>
                  <a:pt x="153" y="122"/>
                </a:lnTo>
                <a:lnTo>
                  <a:pt x="156" y="122"/>
                </a:lnTo>
                <a:lnTo>
                  <a:pt x="159" y="125"/>
                </a:lnTo>
                <a:lnTo>
                  <a:pt x="165" y="125"/>
                </a:lnTo>
                <a:lnTo>
                  <a:pt x="168" y="125"/>
                </a:lnTo>
                <a:lnTo>
                  <a:pt x="175" y="125"/>
                </a:lnTo>
                <a:lnTo>
                  <a:pt x="178" y="125"/>
                </a:lnTo>
                <a:lnTo>
                  <a:pt x="178" y="129"/>
                </a:lnTo>
                <a:lnTo>
                  <a:pt x="172" y="132"/>
                </a:lnTo>
                <a:lnTo>
                  <a:pt x="172" y="135"/>
                </a:lnTo>
                <a:lnTo>
                  <a:pt x="175" y="138"/>
                </a:lnTo>
                <a:lnTo>
                  <a:pt x="178" y="138"/>
                </a:lnTo>
                <a:lnTo>
                  <a:pt x="184" y="138"/>
                </a:lnTo>
                <a:lnTo>
                  <a:pt x="200" y="147"/>
                </a:lnTo>
                <a:lnTo>
                  <a:pt x="206" y="150"/>
                </a:lnTo>
                <a:lnTo>
                  <a:pt x="212" y="157"/>
                </a:lnTo>
                <a:lnTo>
                  <a:pt x="218" y="157"/>
                </a:lnTo>
                <a:lnTo>
                  <a:pt x="222" y="160"/>
                </a:lnTo>
                <a:lnTo>
                  <a:pt x="222" y="163"/>
                </a:lnTo>
                <a:lnTo>
                  <a:pt x="222" y="166"/>
                </a:lnTo>
                <a:lnTo>
                  <a:pt x="218" y="169"/>
                </a:lnTo>
                <a:lnTo>
                  <a:pt x="222" y="172"/>
                </a:lnTo>
                <a:lnTo>
                  <a:pt x="218" y="172"/>
                </a:lnTo>
                <a:lnTo>
                  <a:pt x="218" y="175"/>
                </a:lnTo>
                <a:lnTo>
                  <a:pt x="215" y="172"/>
                </a:lnTo>
                <a:lnTo>
                  <a:pt x="212" y="169"/>
                </a:lnTo>
                <a:lnTo>
                  <a:pt x="212" y="166"/>
                </a:lnTo>
                <a:lnTo>
                  <a:pt x="212" y="163"/>
                </a:lnTo>
                <a:lnTo>
                  <a:pt x="209" y="163"/>
                </a:lnTo>
                <a:lnTo>
                  <a:pt x="203" y="163"/>
                </a:lnTo>
                <a:lnTo>
                  <a:pt x="203" y="160"/>
                </a:lnTo>
                <a:lnTo>
                  <a:pt x="197" y="160"/>
                </a:lnTo>
                <a:lnTo>
                  <a:pt x="197" y="160"/>
                </a:lnTo>
                <a:lnTo>
                  <a:pt x="193" y="160"/>
                </a:lnTo>
                <a:lnTo>
                  <a:pt x="193" y="166"/>
                </a:lnTo>
                <a:lnTo>
                  <a:pt x="190" y="166"/>
                </a:lnTo>
                <a:lnTo>
                  <a:pt x="190" y="169"/>
                </a:lnTo>
                <a:lnTo>
                  <a:pt x="190" y="172"/>
                </a:lnTo>
                <a:lnTo>
                  <a:pt x="187" y="175"/>
                </a:lnTo>
                <a:lnTo>
                  <a:pt x="187" y="179"/>
                </a:lnTo>
                <a:lnTo>
                  <a:pt x="187" y="179"/>
                </a:lnTo>
                <a:lnTo>
                  <a:pt x="190" y="179"/>
                </a:lnTo>
                <a:lnTo>
                  <a:pt x="197" y="185"/>
                </a:lnTo>
                <a:lnTo>
                  <a:pt x="197" y="188"/>
                </a:lnTo>
                <a:lnTo>
                  <a:pt x="197" y="191"/>
                </a:lnTo>
                <a:lnTo>
                  <a:pt x="200" y="194"/>
                </a:lnTo>
                <a:lnTo>
                  <a:pt x="197" y="197"/>
                </a:lnTo>
                <a:lnTo>
                  <a:pt x="193" y="197"/>
                </a:lnTo>
                <a:lnTo>
                  <a:pt x="190" y="200"/>
                </a:lnTo>
                <a:lnTo>
                  <a:pt x="190" y="210"/>
                </a:lnTo>
                <a:lnTo>
                  <a:pt x="184" y="213"/>
                </a:lnTo>
                <a:lnTo>
                  <a:pt x="184" y="219"/>
                </a:lnTo>
                <a:lnTo>
                  <a:pt x="181" y="222"/>
                </a:lnTo>
                <a:lnTo>
                  <a:pt x="175" y="222"/>
                </a:lnTo>
                <a:lnTo>
                  <a:pt x="172" y="219"/>
                </a:lnTo>
                <a:lnTo>
                  <a:pt x="172" y="216"/>
                </a:lnTo>
                <a:lnTo>
                  <a:pt x="172" y="213"/>
                </a:lnTo>
                <a:lnTo>
                  <a:pt x="175" y="213"/>
                </a:lnTo>
                <a:lnTo>
                  <a:pt x="178" y="210"/>
                </a:lnTo>
                <a:lnTo>
                  <a:pt x="178" y="207"/>
                </a:lnTo>
                <a:lnTo>
                  <a:pt x="178" y="204"/>
                </a:lnTo>
                <a:lnTo>
                  <a:pt x="178" y="200"/>
                </a:lnTo>
                <a:lnTo>
                  <a:pt x="178" y="200"/>
                </a:lnTo>
                <a:lnTo>
                  <a:pt x="181" y="200"/>
                </a:lnTo>
                <a:lnTo>
                  <a:pt x="181" y="194"/>
                </a:lnTo>
                <a:lnTo>
                  <a:pt x="178" y="191"/>
                </a:lnTo>
                <a:lnTo>
                  <a:pt x="178" y="185"/>
                </a:lnTo>
                <a:lnTo>
                  <a:pt x="175" y="182"/>
                </a:lnTo>
                <a:lnTo>
                  <a:pt x="175" y="175"/>
                </a:lnTo>
                <a:lnTo>
                  <a:pt x="172" y="169"/>
                </a:lnTo>
                <a:lnTo>
                  <a:pt x="168" y="169"/>
                </a:lnTo>
                <a:lnTo>
                  <a:pt x="168" y="169"/>
                </a:lnTo>
                <a:lnTo>
                  <a:pt x="162" y="169"/>
                </a:lnTo>
                <a:lnTo>
                  <a:pt x="162" y="166"/>
                </a:lnTo>
                <a:lnTo>
                  <a:pt x="156" y="166"/>
                </a:lnTo>
                <a:lnTo>
                  <a:pt x="156" y="163"/>
                </a:lnTo>
                <a:lnTo>
                  <a:pt x="156" y="163"/>
                </a:lnTo>
                <a:lnTo>
                  <a:pt x="156" y="157"/>
                </a:lnTo>
                <a:lnTo>
                  <a:pt x="153" y="154"/>
                </a:lnTo>
                <a:lnTo>
                  <a:pt x="150" y="154"/>
                </a:lnTo>
                <a:lnTo>
                  <a:pt x="147" y="154"/>
                </a:lnTo>
                <a:lnTo>
                  <a:pt x="147" y="150"/>
                </a:lnTo>
                <a:lnTo>
                  <a:pt x="143" y="150"/>
                </a:lnTo>
                <a:lnTo>
                  <a:pt x="140" y="150"/>
                </a:lnTo>
                <a:lnTo>
                  <a:pt x="140" y="150"/>
                </a:lnTo>
                <a:lnTo>
                  <a:pt x="134" y="141"/>
                </a:lnTo>
                <a:lnTo>
                  <a:pt x="131" y="141"/>
                </a:lnTo>
                <a:lnTo>
                  <a:pt x="128" y="141"/>
                </a:lnTo>
                <a:lnTo>
                  <a:pt x="125" y="144"/>
                </a:lnTo>
                <a:lnTo>
                  <a:pt x="122" y="144"/>
                </a:lnTo>
                <a:lnTo>
                  <a:pt x="122" y="138"/>
                </a:lnTo>
                <a:lnTo>
                  <a:pt x="118" y="138"/>
                </a:lnTo>
                <a:lnTo>
                  <a:pt x="112" y="138"/>
                </a:lnTo>
                <a:lnTo>
                  <a:pt x="106" y="132"/>
                </a:lnTo>
                <a:lnTo>
                  <a:pt x="97" y="119"/>
                </a:lnTo>
                <a:lnTo>
                  <a:pt x="97" y="119"/>
                </a:lnTo>
                <a:lnTo>
                  <a:pt x="93" y="116"/>
                </a:lnTo>
                <a:lnTo>
                  <a:pt x="90" y="113"/>
                </a:lnTo>
                <a:lnTo>
                  <a:pt x="84" y="113"/>
                </a:lnTo>
                <a:lnTo>
                  <a:pt x="84" y="107"/>
                </a:lnTo>
                <a:lnTo>
                  <a:pt x="78" y="104"/>
                </a:lnTo>
                <a:lnTo>
                  <a:pt x="75" y="100"/>
                </a:lnTo>
                <a:lnTo>
                  <a:pt x="72" y="97"/>
                </a:lnTo>
                <a:lnTo>
                  <a:pt x="72" y="91"/>
                </a:lnTo>
                <a:lnTo>
                  <a:pt x="68" y="91"/>
                </a:lnTo>
                <a:lnTo>
                  <a:pt x="68" y="85"/>
                </a:lnTo>
                <a:lnTo>
                  <a:pt x="65" y="82"/>
                </a:lnTo>
                <a:lnTo>
                  <a:pt x="62" y="78"/>
                </a:lnTo>
                <a:lnTo>
                  <a:pt x="62" y="75"/>
                </a:lnTo>
                <a:lnTo>
                  <a:pt x="62" y="72"/>
                </a:lnTo>
                <a:lnTo>
                  <a:pt x="56" y="69"/>
                </a:lnTo>
                <a:lnTo>
                  <a:pt x="50" y="69"/>
                </a:lnTo>
                <a:lnTo>
                  <a:pt x="37" y="66"/>
                </a:lnTo>
                <a:lnTo>
                  <a:pt x="28" y="69"/>
                </a:lnTo>
                <a:lnTo>
                  <a:pt x="28" y="72"/>
                </a:lnTo>
                <a:lnTo>
                  <a:pt x="25" y="78"/>
                </a:lnTo>
                <a:lnTo>
                  <a:pt x="15" y="78"/>
                </a:lnTo>
                <a:lnTo>
                  <a:pt x="15" y="78"/>
                </a:lnTo>
                <a:close/>
                <a:moveTo>
                  <a:pt x="28" y="144"/>
                </a:moveTo>
                <a:lnTo>
                  <a:pt x="31" y="144"/>
                </a:lnTo>
                <a:lnTo>
                  <a:pt x="31" y="144"/>
                </a:lnTo>
                <a:lnTo>
                  <a:pt x="34" y="141"/>
                </a:lnTo>
                <a:lnTo>
                  <a:pt x="31" y="141"/>
                </a:lnTo>
                <a:lnTo>
                  <a:pt x="31" y="141"/>
                </a:lnTo>
                <a:lnTo>
                  <a:pt x="28" y="144"/>
                </a:lnTo>
                <a:lnTo>
                  <a:pt x="28" y="144"/>
                </a:lnTo>
                <a:lnTo>
                  <a:pt x="28" y="144"/>
                </a:lnTo>
                <a:close/>
                <a:moveTo>
                  <a:pt x="78" y="113"/>
                </a:moveTo>
                <a:lnTo>
                  <a:pt x="81" y="116"/>
                </a:lnTo>
                <a:lnTo>
                  <a:pt x="81" y="113"/>
                </a:lnTo>
                <a:lnTo>
                  <a:pt x="78" y="113"/>
                </a:lnTo>
                <a:lnTo>
                  <a:pt x="78" y="113"/>
                </a:lnTo>
                <a:close/>
                <a:moveTo>
                  <a:pt x="62" y="104"/>
                </a:moveTo>
                <a:lnTo>
                  <a:pt x="62" y="104"/>
                </a:lnTo>
                <a:lnTo>
                  <a:pt x="65" y="107"/>
                </a:lnTo>
                <a:lnTo>
                  <a:pt x="68" y="104"/>
                </a:lnTo>
                <a:lnTo>
                  <a:pt x="72" y="104"/>
                </a:lnTo>
                <a:lnTo>
                  <a:pt x="72" y="100"/>
                </a:lnTo>
                <a:lnTo>
                  <a:pt x="68" y="100"/>
                </a:lnTo>
                <a:lnTo>
                  <a:pt x="68" y="100"/>
                </a:lnTo>
                <a:lnTo>
                  <a:pt x="62" y="104"/>
                </a:lnTo>
                <a:lnTo>
                  <a:pt x="62" y="104"/>
                </a:lnTo>
                <a:close/>
                <a:moveTo>
                  <a:pt x="40" y="197"/>
                </a:moveTo>
                <a:lnTo>
                  <a:pt x="40" y="197"/>
                </a:lnTo>
                <a:lnTo>
                  <a:pt x="43" y="197"/>
                </a:lnTo>
                <a:lnTo>
                  <a:pt x="47" y="197"/>
                </a:lnTo>
                <a:lnTo>
                  <a:pt x="47" y="194"/>
                </a:lnTo>
                <a:lnTo>
                  <a:pt x="47" y="191"/>
                </a:lnTo>
                <a:lnTo>
                  <a:pt x="50" y="191"/>
                </a:lnTo>
                <a:lnTo>
                  <a:pt x="53" y="194"/>
                </a:lnTo>
                <a:lnTo>
                  <a:pt x="56" y="194"/>
                </a:lnTo>
                <a:lnTo>
                  <a:pt x="56" y="191"/>
                </a:lnTo>
                <a:lnTo>
                  <a:pt x="56" y="182"/>
                </a:lnTo>
                <a:lnTo>
                  <a:pt x="59" y="182"/>
                </a:lnTo>
                <a:lnTo>
                  <a:pt x="56" y="172"/>
                </a:lnTo>
                <a:lnTo>
                  <a:pt x="59" y="166"/>
                </a:lnTo>
                <a:lnTo>
                  <a:pt x="53" y="160"/>
                </a:lnTo>
                <a:lnTo>
                  <a:pt x="59" y="160"/>
                </a:lnTo>
                <a:lnTo>
                  <a:pt x="59" y="157"/>
                </a:lnTo>
                <a:lnTo>
                  <a:pt x="56" y="150"/>
                </a:lnTo>
                <a:lnTo>
                  <a:pt x="56" y="147"/>
                </a:lnTo>
                <a:lnTo>
                  <a:pt x="53" y="144"/>
                </a:lnTo>
                <a:lnTo>
                  <a:pt x="50" y="144"/>
                </a:lnTo>
                <a:lnTo>
                  <a:pt x="47" y="141"/>
                </a:lnTo>
                <a:lnTo>
                  <a:pt x="43" y="141"/>
                </a:lnTo>
                <a:lnTo>
                  <a:pt x="37" y="150"/>
                </a:lnTo>
                <a:lnTo>
                  <a:pt x="34" y="150"/>
                </a:lnTo>
                <a:lnTo>
                  <a:pt x="28" y="147"/>
                </a:lnTo>
                <a:lnTo>
                  <a:pt x="28" y="154"/>
                </a:lnTo>
                <a:lnTo>
                  <a:pt x="28" y="154"/>
                </a:lnTo>
                <a:lnTo>
                  <a:pt x="31" y="157"/>
                </a:lnTo>
                <a:lnTo>
                  <a:pt x="31" y="160"/>
                </a:lnTo>
                <a:lnTo>
                  <a:pt x="34" y="163"/>
                </a:lnTo>
                <a:lnTo>
                  <a:pt x="34" y="169"/>
                </a:lnTo>
                <a:lnTo>
                  <a:pt x="31" y="172"/>
                </a:lnTo>
                <a:lnTo>
                  <a:pt x="34" y="172"/>
                </a:lnTo>
                <a:lnTo>
                  <a:pt x="37" y="172"/>
                </a:lnTo>
                <a:lnTo>
                  <a:pt x="37" y="175"/>
                </a:lnTo>
                <a:lnTo>
                  <a:pt x="34" y="179"/>
                </a:lnTo>
                <a:lnTo>
                  <a:pt x="34" y="185"/>
                </a:lnTo>
                <a:lnTo>
                  <a:pt x="34" y="188"/>
                </a:lnTo>
                <a:lnTo>
                  <a:pt x="37" y="194"/>
                </a:lnTo>
                <a:lnTo>
                  <a:pt x="40" y="197"/>
                </a:lnTo>
                <a:lnTo>
                  <a:pt x="40" y="197"/>
                </a:lnTo>
                <a:close/>
                <a:moveTo>
                  <a:pt x="162" y="251"/>
                </a:moveTo>
                <a:lnTo>
                  <a:pt x="162" y="244"/>
                </a:lnTo>
                <a:lnTo>
                  <a:pt x="165" y="244"/>
                </a:lnTo>
                <a:lnTo>
                  <a:pt x="165" y="238"/>
                </a:lnTo>
                <a:lnTo>
                  <a:pt x="162" y="235"/>
                </a:lnTo>
                <a:lnTo>
                  <a:pt x="165" y="226"/>
                </a:lnTo>
                <a:lnTo>
                  <a:pt x="168" y="222"/>
                </a:lnTo>
                <a:lnTo>
                  <a:pt x="168" y="216"/>
                </a:lnTo>
                <a:lnTo>
                  <a:pt x="165" y="213"/>
                </a:lnTo>
                <a:lnTo>
                  <a:pt x="162" y="216"/>
                </a:lnTo>
                <a:lnTo>
                  <a:pt x="159" y="216"/>
                </a:lnTo>
                <a:lnTo>
                  <a:pt x="156" y="213"/>
                </a:lnTo>
                <a:lnTo>
                  <a:pt x="150" y="219"/>
                </a:lnTo>
                <a:lnTo>
                  <a:pt x="140" y="219"/>
                </a:lnTo>
                <a:lnTo>
                  <a:pt x="134" y="219"/>
                </a:lnTo>
                <a:lnTo>
                  <a:pt x="128" y="219"/>
                </a:lnTo>
                <a:lnTo>
                  <a:pt x="125" y="216"/>
                </a:lnTo>
                <a:lnTo>
                  <a:pt x="122" y="216"/>
                </a:lnTo>
                <a:lnTo>
                  <a:pt x="118" y="219"/>
                </a:lnTo>
                <a:lnTo>
                  <a:pt x="118" y="216"/>
                </a:lnTo>
                <a:lnTo>
                  <a:pt x="112" y="219"/>
                </a:lnTo>
                <a:lnTo>
                  <a:pt x="112" y="226"/>
                </a:lnTo>
                <a:lnTo>
                  <a:pt x="115" y="229"/>
                </a:lnTo>
                <a:lnTo>
                  <a:pt x="122" y="229"/>
                </a:lnTo>
                <a:lnTo>
                  <a:pt x="128" y="235"/>
                </a:lnTo>
                <a:lnTo>
                  <a:pt x="131" y="235"/>
                </a:lnTo>
                <a:lnTo>
                  <a:pt x="137" y="238"/>
                </a:lnTo>
                <a:lnTo>
                  <a:pt x="143" y="241"/>
                </a:lnTo>
                <a:lnTo>
                  <a:pt x="147" y="241"/>
                </a:lnTo>
                <a:lnTo>
                  <a:pt x="150" y="244"/>
                </a:lnTo>
                <a:lnTo>
                  <a:pt x="150" y="247"/>
                </a:lnTo>
                <a:lnTo>
                  <a:pt x="159" y="251"/>
                </a:lnTo>
                <a:lnTo>
                  <a:pt x="162" y="251"/>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0" name="Freeform 78">
            <a:extLst>
              <a:ext uri="{FF2B5EF4-FFF2-40B4-BE49-F238E27FC236}">
                <a16:creationId xmlns:a16="http://schemas.microsoft.com/office/drawing/2014/main" id="{4AED8873-22A0-5B23-479A-4AF076176712}"/>
              </a:ext>
            </a:extLst>
          </p:cNvPr>
          <p:cNvSpPr>
            <a:spLocks noEditPoints="1"/>
          </p:cNvSpPr>
          <p:nvPr userDrawn="1"/>
        </p:nvSpPr>
        <p:spPr bwMode="auto">
          <a:xfrm>
            <a:off x="12632501" y="6435008"/>
            <a:ext cx="774652" cy="587376"/>
          </a:xfrm>
          <a:custGeom>
            <a:avLst/>
            <a:gdLst>
              <a:gd name="T0" fmla="*/ 45 w 78"/>
              <a:gd name="T1" fmla="*/ 4 h 59"/>
              <a:gd name="T2" fmla="*/ 46 w 78"/>
              <a:gd name="T3" fmla="*/ 7 h 59"/>
              <a:gd name="T4" fmla="*/ 51 w 78"/>
              <a:gd name="T5" fmla="*/ 9 h 59"/>
              <a:gd name="T6" fmla="*/ 56 w 78"/>
              <a:gd name="T7" fmla="*/ 9 h 59"/>
              <a:gd name="T8" fmla="*/ 61 w 78"/>
              <a:gd name="T9" fmla="*/ 9 h 59"/>
              <a:gd name="T10" fmla="*/ 65 w 78"/>
              <a:gd name="T11" fmla="*/ 10 h 59"/>
              <a:gd name="T12" fmla="*/ 71 w 78"/>
              <a:gd name="T13" fmla="*/ 11 h 59"/>
              <a:gd name="T14" fmla="*/ 70 w 78"/>
              <a:gd name="T15" fmla="*/ 15 h 59"/>
              <a:gd name="T16" fmla="*/ 67 w 78"/>
              <a:gd name="T17" fmla="*/ 19 h 59"/>
              <a:gd name="T18" fmla="*/ 62 w 78"/>
              <a:gd name="T19" fmla="*/ 21 h 59"/>
              <a:gd name="T20" fmla="*/ 60 w 78"/>
              <a:gd name="T21" fmla="*/ 23 h 59"/>
              <a:gd name="T22" fmla="*/ 58 w 78"/>
              <a:gd name="T23" fmla="*/ 25 h 59"/>
              <a:gd name="T24" fmla="*/ 56 w 78"/>
              <a:gd name="T25" fmla="*/ 28 h 59"/>
              <a:gd name="T26" fmla="*/ 52 w 78"/>
              <a:gd name="T27" fmla="*/ 33 h 59"/>
              <a:gd name="T28" fmla="*/ 54 w 78"/>
              <a:gd name="T29" fmla="*/ 37 h 59"/>
              <a:gd name="T30" fmla="*/ 52 w 78"/>
              <a:gd name="T31" fmla="*/ 41 h 59"/>
              <a:gd name="T32" fmla="*/ 50 w 78"/>
              <a:gd name="T33" fmla="*/ 47 h 59"/>
              <a:gd name="T34" fmla="*/ 48 w 78"/>
              <a:gd name="T35" fmla="*/ 49 h 59"/>
              <a:gd name="T36" fmla="*/ 42 w 78"/>
              <a:gd name="T37" fmla="*/ 54 h 59"/>
              <a:gd name="T38" fmla="*/ 39 w 78"/>
              <a:gd name="T39" fmla="*/ 53 h 59"/>
              <a:gd name="T40" fmla="*/ 36 w 78"/>
              <a:gd name="T41" fmla="*/ 53 h 59"/>
              <a:gd name="T42" fmla="*/ 31 w 78"/>
              <a:gd name="T43" fmla="*/ 53 h 59"/>
              <a:gd name="T44" fmla="*/ 26 w 78"/>
              <a:gd name="T45" fmla="*/ 56 h 59"/>
              <a:gd name="T46" fmla="*/ 23 w 78"/>
              <a:gd name="T47" fmla="*/ 58 h 59"/>
              <a:gd name="T48" fmla="*/ 17 w 78"/>
              <a:gd name="T49" fmla="*/ 57 h 59"/>
              <a:gd name="T50" fmla="*/ 13 w 78"/>
              <a:gd name="T51" fmla="*/ 51 h 59"/>
              <a:gd name="T52" fmla="*/ 10 w 78"/>
              <a:gd name="T53" fmla="*/ 49 h 59"/>
              <a:gd name="T54" fmla="*/ 13 w 78"/>
              <a:gd name="T55" fmla="*/ 43 h 59"/>
              <a:gd name="T56" fmla="*/ 10 w 78"/>
              <a:gd name="T57" fmla="*/ 40 h 59"/>
              <a:gd name="T58" fmla="*/ 11 w 78"/>
              <a:gd name="T59" fmla="*/ 35 h 59"/>
              <a:gd name="T60" fmla="*/ 12 w 78"/>
              <a:gd name="T61" fmla="*/ 32 h 59"/>
              <a:gd name="T62" fmla="*/ 14 w 78"/>
              <a:gd name="T63" fmla="*/ 27 h 59"/>
              <a:gd name="T64" fmla="*/ 16 w 78"/>
              <a:gd name="T65" fmla="*/ 19 h 59"/>
              <a:gd name="T66" fmla="*/ 16 w 78"/>
              <a:gd name="T67" fmla="*/ 16 h 59"/>
              <a:gd name="T68" fmla="*/ 12 w 78"/>
              <a:gd name="T69" fmla="*/ 15 h 59"/>
              <a:gd name="T70" fmla="*/ 6 w 78"/>
              <a:gd name="T71" fmla="*/ 15 h 59"/>
              <a:gd name="T72" fmla="*/ 2 w 78"/>
              <a:gd name="T73" fmla="*/ 13 h 59"/>
              <a:gd name="T74" fmla="*/ 2 w 78"/>
              <a:gd name="T75" fmla="*/ 12 h 59"/>
              <a:gd name="T76" fmla="*/ 3 w 78"/>
              <a:gd name="T77" fmla="*/ 9 h 59"/>
              <a:gd name="T78" fmla="*/ 2 w 78"/>
              <a:gd name="T79" fmla="*/ 8 h 59"/>
              <a:gd name="T80" fmla="*/ 0 w 78"/>
              <a:gd name="T81" fmla="*/ 7 h 59"/>
              <a:gd name="T82" fmla="*/ 3 w 78"/>
              <a:gd name="T83" fmla="*/ 4 h 59"/>
              <a:gd name="T84" fmla="*/ 7 w 78"/>
              <a:gd name="T85" fmla="*/ 3 h 59"/>
              <a:gd name="T86" fmla="*/ 8 w 78"/>
              <a:gd name="T87" fmla="*/ 1 h 59"/>
              <a:gd name="T88" fmla="*/ 11 w 78"/>
              <a:gd name="T89" fmla="*/ 1 h 59"/>
              <a:gd name="T90" fmla="*/ 15 w 78"/>
              <a:gd name="T91" fmla="*/ 1 h 59"/>
              <a:gd name="T92" fmla="*/ 20 w 78"/>
              <a:gd name="T93" fmla="*/ 1 h 59"/>
              <a:gd name="T94" fmla="*/ 26 w 78"/>
              <a:gd name="T95" fmla="*/ 3 h 59"/>
              <a:gd name="T96" fmla="*/ 34 w 78"/>
              <a:gd name="T97" fmla="*/ 2 h 59"/>
              <a:gd name="T98" fmla="*/ 37 w 78"/>
              <a:gd name="T99" fmla="*/ 3 h 59"/>
              <a:gd name="T100" fmla="*/ 42 w 78"/>
              <a:gd name="T101" fmla="*/ 4 h 59"/>
              <a:gd name="T102" fmla="*/ 74 w 78"/>
              <a:gd name="T103" fmla="*/ 31 h 59"/>
              <a:gd name="T104" fmla="*/ 78 w 78"/>
              <a:gd name="T105" fmla="*/ 31 h 59"/>
              <a:gd name="T106" fmla="*/ 74 w 78"/>
              <a:gd name="T107" fmla="*/ 31 h 59"/>
              <a:gd name="T108" fmla="*/ 73 w 78"/>
              <a:gd name="T109" fmla="*/ 32 h 59"/>
              <a:gd name="T110" fmla="*/ 69 w 78"/>
              <a:gd name="T111" fmla="*/ 33 h 59"/>
              <a:gd name="T112" fmla="*/ 71 w 78"/>
              <a:gd name="T113" fmla="*/ 35 h 59"/>
              <a:gd name="T114" fmla="*/ 64 w 78"/>
              <a:gd name="T115" fmla="*/ 37 h 59"/>
              <a:gd name="T116" fmla="*/ 62 w 78"/>
              <a:gd name="T117" fmla="*/ 3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 h="59">
                <a:moveTo>
                  <a:pt x="44" y="3"/>
                </a:moveTo>
                <a:cubicBezTo>
                  <a:pt x="45" y="4"/>
                  <a:pt x="45" y="4"/>
                  <a:pt x="45" y="4"/>
                </a:cubicBezTo>
                <a:cubicBezTo>
                  <a:pt x="45" y="4"/>
                  <a:pt x="45" y="4"/>
                  <a:pt x="45" y="4"/>
                </a:cubicBezTo>
                <a:cubicBezTo>
                  <a:pt x="46" y="4"/>
                  <a:pt x="46" y="4"/>
                  <a:pt x="46" y="4"/>
                </a:cubicBezTo>
                <a:cubicBezTo>
                  <a:pt x="46" y="6"/>
                  <a:pt x="46" y="6"/>
                  <a:pt x="46" y="6"/>
                </a:cubicBezTo>
                <a:cubicBezTo>
                  <a:pt x="46" y="7"/>
                  <a:pt x="46" y="7"/>
                  <a:pt x="46" y="7"/>
                </a:cubicBezTo>
                <a:cubicBezTo>
                  <a:pt x="48" y="6"/>
                  <a:pt x="48" y="6"/>
                  <a:pt x="48" y="6"/>
                </a:cubicBezTo>
                <a:cubicBezTo>
                  <a:pt x="50" y="7"/>
                  <a:pt x="50" y="7"/>
                  <a:pt x="50" y="7"/>
                </a:cubicBezTo>
                <a:cubicBezTo>
                  <a:pt x="51" y="9"/>
                  <a:pt x="51" y="9"/>
                  <a:pt x="51" y="9"/>
                </a:cubicBezTo>
                <a:cubicBezTo>
                  <a:pt x="53" y="8"/>
                  <a:pt x="53" y="8"/>
                  <a:pt x="53" y="8"/>
                </a:cubicBezTo>
                <a:cubicBezTo>
                  <a:pt x="54" y="10"/>
                  <a:pt x="54" y="10"/>
                  <a:pt x="54" y="10"/>
                </a:cubicBezTo>
                <a:cubicBezTo>
                  <a:pt x="56" y="9"/>
                  <a:pt x="56" y="9"/>
                  <a:pt x="56" y="9"/>
                </a:cubicBezTo>
                <a:cubicBezTo>
                  <a:pt x="57" y="10"/>
                  <a:pt x="57" y="10"/>
                  <a:pt x="57" y="10"/>
                </a:cubicBezTo>
                <a:cubicBezTo>
                  <a:pt x="58" y="9"/>
                  <a:pt x="58" y="9"/>
                  <a:pt x="58" y="9"/>
                </a:cubicBezTo>
                <a:cubicBezTo>
                  <a:pt x="61" y="9"/>
                  <a:pt x="61" y="9"/>
                  <a:pt x="61" y="9"/>
                </a:cubicBezTo>
                <a:cubicBezTo>
                  <a:pt x="62" y="9"/>
                  <a:pt x="62" y="9"/>
                  <a:pt x="62" y="9"/>
                </a:cubicBezTo>
                <a:cubicBezTo>
                  <a:pt x="63" y="9"/>
                  <a:pt x="63" y="9"/>
                  <a:pt x="63" y="9"/>
                </a:cubicBezTo>
                <a:cubicBezTo>
                  <a:pt x="65" y="10"/>
                  <a:pt x="65" y="10"/>
                  <a:pt x="65" y="10"/>
                </a:cubicBezTo>
                <a:cubicBezTo>
                  <a:pt x="68" y="10"/>
                  <a:pt x="68" y="10"/>
                  <a:pt x="68" y="10"/>
                </a:cubicBezTo>
                <a:cubicBezTo>
                  <a:pt x="70" y="11"/>
                  <a:pt x="70" y="11"/>
                  <a:pt x="70" y="11"/>
                </a:cubicBezTo>
                <a:cubicBezTo>
                  <a:pt x="71" y="11"/>
                  <a:pt x="71" y="11"/>
                  <a:pt x="71" y="11"/>
                </a:cubicBezTo>
                <a:cubicBezTo>
                  <a:pt x="71" y="12"/>
                  <a:pt x="71" y="12"/>
                  <a:pt x="71" y="12"/>
                </a:cubicBezTo>
                <a:cubicBezTo>
                  <a:pt x="70" y="13"/>
                  <a:pt x="70" y="13"/>
                  <a:pt x="70" y="13"/>
                </a:cubicBezTo>
                <a:cubicBezTo>
                  <a:pt x="70" y="15"/>
                  <a:pt x="70" y="15"/>
                  <a:pt x="70" y="15"/>
                </a:cubicBezTo>
                <a:cubicBezTo>
                  <a:pt x="70" y="16"/>
                  <a:pt x="70" y="16"/>
                  <a:pt x="70" y="16"/>
                </a:cubicBezTo>
                <a:cubicBezTo>
                  <a:pt x="70" y="17"/>
                  <a:pt x="70" y="17"/>
                  <a:pt x="70" y="17"/>
                </a:cubicBezTo>
                <a:cubicBezTo>
                  <a:pt x="67" y="19"/>
                  <a:pt x="67" y="19"/>
                  <a:pt x="67" y="19"/>
                </a:cubicBezTo>
                <a:cubicBezTo>
                  <a:pt x="67" y="19"/>
                  <a:pt x="66" y="20"/>
                  <a:pt x="66" y="20"/>
                </a:cubicBezTo>
                <a:cubicBezTo>
                  <a:pt x="66" y="20"/>
                  <a:pt x="64" y="21"/>
                  <a:pt x="64" y="21"/>
                </a:cubicBezTo>
                <a:cubicBezTo>
                  <a:pt x="62" y="21"/>
                  <a:pt x="62" y="21"/>
                  <a:pt x="62" y="21"/>
                </a:cubicBezTo>
                <a:cubicBezTo>
                  <a:pt x="60" y="22"/>
                  <a:pt x="60" y="22"/>
                  <a:pt x="60" y="22"/>
                </a:cubicBezTo>
                <a:cubicBezTo>
                  <a:pt x="59" y="23"/>
                  <a:pt x="59" y="23"/>
                  <a:pt x="59" y="23"/>
                </a:cubicBezTo>
                <a:cubicBezTo>
                  <a:pt x="60" y="23"/>
                  <a:pt x="60" y="23"/>
                  <a:pt x="60" y="23"/>
                </a:cubicBezTo>
                <a:cubicBezTo>
                  <a:pt x="59" y="25"/>
                  <a:pt x="59" y="25"/>
                  <a:pt x="59" y="25"/>
                </a:cubicBezTo>
                <a:cubicBezTo>
                  <a:pt x="58" y="25"/>
                  <a:pt x="58" y="25"/>
                  <a:pt x="58" y="25"/>
                </a:cubicBezTo>
                <a:cubicBezTo>
                  <a:pt x="58" y="25"/>
                  <a:pt x="58" y="25"/>
                  <a:pt x="58" y="25"/>
                </a:cubicBezTo>
                <a:cubicBezTo>
                  <a:pt x="58" y="25"/>
                  <a:pt x="58" y="25"/>
                  <a:pt x="58" y="25"/>
                </a:cubicBezTo>
                <a:cubicBezTo>
                  <a:pt x="58" y="25"/>
                  <a:pt x="58" y="25"/>
                  <a:pt x="58" y="25"/>
                </a:cubicBezTo>
                <a:cubicBezTo>
                  <a:pt x="56" y="28"/>
                  <a:pt x="56" y="28"/>
                  <a:pt x="56" y="28"/>
                </a:cubicBezTo>
                <a:cubicBezTo>
                  <a:pt x="55" y="28"/>
                  <a:pt x="55" y="28"/>
                  <a:pt x="55" y="28"/>
                </a:cubicBezTo>
                <a:cubicBezTo>
                  <a:pt x="52" y="32"/>
                  <a:pt x="52" y="32"/>
                  <a:pt x="52" y="32"/>
                </a:cubicBezTo>
                <a:cubicBezTo>
                  <a:pt x="52" y="33"/>
                  <a:pt x="52" y="33"/>
                  <a:pt x="52" y="33"/>
                </a:cubicBezTo>
                <a:cubicBezTo>
                  <a:pt x="53" y="35"/>
                  <a:pt x="53" y="35"/>
                  <a:pt x="53" y="35"/>
                </a:cubicBezTo>
                <a:cubicBezTo>
                  <a:pt x="53" y="36"/>
                  <a:pt x="53" y="36"/>
                  <a:pt x="53" y="36"/>
                </a:cubicBezTo>
                <a:cubicBezTo>
                  <a:pt x="54" y="37"/>
                  <a:pt x="54" y="37"/>
                  <a:pt x="54" y="37"/>
                </a:cubicBezTo>
                <a:cubicBezTo>
                  <a:pt x="55" y="39"/>
                  <a:pt x="55" y="39"/>
                  <a:pt x="55" y="39"/>
                </a:cubicBezTo>
                <a:cubicBezTo>
                  <a:pt x="54" y="40"/>
                  <a:pt x="54" y="40"/>
                  <a:pt x="54" y="40"/>
                </a:cubicBezTo>
                <a:cubicBezTo>
                  <a:pt x="52" y="41"/>
                  <a:pt x="52" y="41"/>
                  <a:pt x="52" y="41"/>
                </a:cubicBezTo>
                <a:cubicBezTo>
                  <a:pt x="52" y="42"/>
                  <a:pt x="52" y="42"/>
                  <a:pt x="52" y="42"/>
                </a:cubicBezTo>
                <a:cubicBezTo>
                  <a:pt x="50" y="45"/>
                  <a:pt x="50" y="45"/>
                  <a:pt x="50" y="45"/>
                </a:cubicBezTo>
                <a:cubicBezTo>
                  <a:pt x="50" y="47"/>
                  <a:pt x="50" y="47"/>
                  <a:pt x="50" y="47"/>
                </a:cubicBezTo>
                <a:cubicBezTo>
                  <a:pt x="50" y="48"/>
                  <a:pt x="50" y="48"/>
                  <a:pt x="50" y="48"/>
                </a:cubicBezTo>
                <a:cubicBezTo>
                  <a:pt x="50" y="48"/>
                  <a:pt x="50" y="48"/>
                  <a:pt x="50" y="48"/>
                </a:cubicBezTo>
                <a:cubicBezTo>
                  <a:pt x="48" y="49"/>
                  <a:pt x="48" y="49"/>
                  <a:pt x="48" y="49"/>
                </a:cubicBezTo>
                <a:cubicBezTo>
                  <a:pt x="44" y="50"/>
                  <a:pt x="44" y="50"/>
                  <a:pt x="44" y="50"/>
                </a:cubicBezTo>
                <a:cubicBezTo>
                  <a:pt x="44" y="52"/>
                  <a:pt x="44" y="52"/>
                  <a:pt x="44" y="52"/>
                </a:cubicBezTo>
                <a:cubicBezTo>
                  <a:pt x="42" y="54"/>
                  <a:pt x="42" y="54"/>
                  <a:pt x="42" y="54"/>
                </a:cubicBezTo>
                <a:cubicBezTo>
                  <a:pt x="41" y="53"/>
                  <a:pt x="41" y="53"/>
                  <a:pt x="41" y="53"/>
                </a:cubicBezTo>
                <a:cubicBezTo>
                  <a:pt x="40" y="52"/>
                  <a:pt x="40" y="52"/>
                  <a:pt x="40" y="52"/>
                </a:cubicBezTo>
                <a:cubicBezTo>
                  <a:pt x="39" y="53"/>
                  <a:pt x="39" y="53"/>
                  <a:pt x="39" y="53"/>
                </a:cubicBezTo>
                <a:cubicBezTo>
                  <a:pt x="38" y="54"/>
                  <a:pt x="38" y="54"/>
                  <a:pt x="38" y="54"/>
                </a:cubicBezTo>
                <a:cubicBezTo>
                  <a:pt x="37" y="53"/>
                  <a:pt x="37" y="53"/>
                  <a:pt x="37" y="53"/>
                </a:cubicBezTo>
                <a:cubicBezTo>
                  <a:pt x="36" y="53"/>
                  <a:pt x="36" y="53"/>
                  <a:pt x="36" y="53"/>
                </a:cubicBezTo>
                <a:cubicBezTo>
                  <a:pt x="36" y="54"/>
                  <a:pt x="36" y="54"/>
                  <a:pt x="36" y="54"/>
                </a:cubicBezTo>
                <a:cubicBezTo>
                  <a:pt x="34" y="54"/>
                  <a:pt x="34" y="54"/>
                  <a:pt x="34" y="54"/>
                </a:cubicBezTo>
                <a:cubicBezTo>
                  <a:pt x="31" y="53"/>
                  <a:pt x="31" y="53"/>
                  <a:pt x="31" y="53"/>
                </a:cubicBezTo>
                <a:cubicBezTo>
                  <a:pt x="30" y="54"/>
                  <a:pt x="30" y="54"/>
                  <a:pt x="30" y="54"/>
                </a:cubicBezTo>
                <a:cubicBezTo>
                  <a:pt x="28" y="54"/>
                  <a:pt x="28" y="54"/>
                  <a:pt x="28" y="54"/>
                </a:cubicBezTo>
                <a:cubicBezTo>
                  <a:pt x="26" y="56"/>
                  <a:pt x="26" y="56"/>
                  <a:pt x="26" y="56"/>
                </a:cubicBezTo>
                <a:cubicBezTo>
                  <a:pt x="24" y="56"/>
                  <a:pt x="24" y="56"/>
                  <a:pt x="24" y="56"/>
                </a:cubicBezTo>
                <a:cubicBezTo>
                  <a:pt x="23" y="57"/>
                  <a:pt x="23" y="57"/>
                  <a:pt x="23" y="57"/>
                </a:cubicBezTo>
                <a:cubicBezTo>
                  <a:pt x="23" y="58"/>
                  <a:pt x="23" y="58"/>
                  <a:pt x="23" y="58"/>
                </a:cubicBezTo>
                <a:cubicBezTo>
                  <a:pt x="21" y="59"/>
                  <a:pt x="21" y="59"/>
                  <a:pt x="21" y="59"/>
                </a:cubicBezTo>
                <a:cubicBezTo>
                  <a:pt x="19" y="59"/>
                  <a:pt x="19" y="59"/>
                  <a:pt x="19" y="59"/>
                </a:cubicBezTo>
                <a:cubicBezTo>
                  <a:pt x="17" y="57"/>
                  <a:pt x="17" y="57"/>
                  <a:pt x="17" y="57"/>
                </a:cubicBezTo>
                <a:cubicBezTo>
                  <a:pt x="16" y="54"/>
                  <a:pt x="16" y="54"/>
                  <a:pt x="16" y="54"/>
                </a:cubicBezTo>
                <a:cubicBezTo>
                  <a:pt x="16" y="53"/>
                  <a:pt x="16" y="53"/>
                  <a:pt x="16" y="53"/>
                </a:cubicBezTo>
                <a:cubicBezTo>
                  <a:pt x="13" y="51"/>
                  <a:pt x="13" y="51"/>
                  <a:pt x="13" y="51"/>
                </a:cubicBezTo>
                <a:cubicBezTo>
                  <a:pt x="12" y="51"/>
                  <a:pt x="12" y="51"/>
                  <a:pt x="12" y="51"/>
                </a:cubicBezTo>
                <a:cubicBezTo>
                  <a:pt x="11" y="50"/>
                  <a:pt x="11" y="50"/>
                  <a:pt x="11" y="50"/>
                </a:cubicBezTo>
                <a:cubicBezTo>
                  <a:pt x="10" y="49"/>
                  <a:pt x="10" y="49"/>
                  <a:pt x="10" y="49"/>
                </a:cubicBezTo>
                <a:cubicBezTo>
                  <a:pt x="10" y="47"/>
                  <a:pt x="10" y="47"/>
                  <a:pt x="10" y="47"/>
                </a:cubicBezTo>
                <a:cubicBezTo>
                  <a:pt x="11" y="45"/>
                  <a:pt x="11" y="45"/>
                  <a:pt x="11" y="45"/>
                </a:cubicBezTo>
                <a:cubicBezTo>
                  <a:pt x="13" y="43"/>
                  <a:pt x="13" y="43"/>
                  <a:pt x="13" y="43"/>
                </a:cubicBezTo>
                <a:cubicBezTo>
                  <a:pt x="13" y="42"/>
                  <a:pt x="13" y="42"/>
                  <a:pt x="13" y="42"/>
                </a:cubicBezTo>
                <a:cubicBezTo>
                  <a:pt x="11" y="42"/>
                  <a:pt x="11" y="42"/>
                  <a:pt x="11" y="42"/>
                </a:cubicBezTo>
                <a:cubicBezTo>
                  <a:pt x="10" y="40"/>
                  <a:pt x="10" y="40"/>
                  <a:pt x="10" y="40"/>
                </a:cubicBezTo>
                <a:cubicBezTo>
                  <a:pt x="12" y="38"/>
                  <a:pt x="12" y="38"/>
                  <a:pt x="12" y="38"/>
                </a:cubicBezTo>
                <a:cubicBezTo>
                  <a:pt x="12" y="36"/>
                  <a:pt x="12" y="36"/>
                  <a:pt x="12" y="36"/>
                </a:cubicBezTo>
                <a:cubicBezTo>
                  <a:pt x="11" y="35"/>
                  <a:pt x="11" y="35"/>
                  <a:pt x="11" y="35"/>
                </a:cubicBezTo>
                <a:cubicBezTo>
                  <a:pt x="9" y="32"/>
                  <a:pt x="9" y="32"/>
                  <a:pt x="9" y="32"/>
                </a:cubicBezTo>
                <a:cubicBezTo>
                  <a:pt x="11" y="31"/>
                  <a:pt x="11" y="31"/>
                  <a:pt x="11" y="31"/>
                </a:cubicBezTo>
                <a:cubicBezTo>
                  <a:pt x="12" y="32"/>
                  <a:pt x="12" y="32"/>
                  <a:pt x="12" y="32"/>
                </a:cubicBezTo>
                <a:cubicBezTo>
                  <a:pt x="14" y="29"/>
                  <a:pt x="14" y="29"/>
                  <a:pt x="14" y="29"/>
                </a:cubicBezTo>
                <a:cubicBezTo>
                  <a:pt x="12" y="28"/>
                  <a:pt x="12" y="28"/>
                  <a:pt x="12" y="28"/>
                </a:cubicBezTo>
                <a:cubicBezTo>
                  <a:pt x="14" y="27"/>
                  <a:pt x="14" y="27"/>
                  <a:pt x="14" y="27"/>
                </a:cubicBezTo>
                <a:cubicBezTo>
                  <a:pt x="14" y="23"/>
                  <a:pt x="14" y="23"/>
                  <a:pt x="14" y="23"/>
                </a:cubicBezTo>
                <a:cubicBezTo>
                  <a:pt x="14" y="21"/>
                  <a:pt x="14" y="21"/>
                  <a:pt x="14" y="21"/>
                </a:cubicBezTo>
                <a:cubicBezTo>
                  <a:pt x="16" y="19"/>
                  <a:pt x="16" y="19"/>
                  <a:pt x="16" y="19"/>
                </a:cubicBezTo>
                <a:cubicBezTo>
                  <a:pt x="17" y="19"/>
                  <a:pt x="17" y="19"/>
                  <a:pt x="17" y="19"/>
                </a:cubicBezTo>
                <a:cubicBezTo>
                  <a:pt x="17" y="18"/>
                  <a:pt x="17" y="18"/>
                  <a:pt x="17" y="18"/>
                </a:cubicBezTo>
                <a:cubicBezTo>
                  <a:pt x="16" y="16"/>
                  <a:pt x="16" y="16"/>
                  <a:pt x="16" y="16"/>
                </a:cubicBezTo>
                <a:cubicBezTo>
                  <a:pt x="16" y="14"/>
                  <a:pt x="16" y="14"/>
                  <a:pt x="16" y="14"/>
                </a:cubicBezTo>
                <a:cubicBezTo>
                  <a:pt x="13" y="14"/>
                  <a:pt x="13" y="14"/>
                  <a:pt x="13" y="14"/>
                </a:cubicBezTo>
                <a:cubicBezTo>
                  <a:pt x="12" y="15"/>
                  <a:pt x="12" y="15"/>
                  <a:pt x="12" y="15"/>
                </a:cubicBezTo>
                <a:cubicBezTo>
                  <a:pt x="8" y="14"/>
                  <a:pt x="8" y="14"/>
                  <a:pt x="8" y="14"/>
                </a:cubicBezTo>
                <a:cubicBezTo>
                  <a:pt x="6" y="16"/>
                  <a:pt x="6" y="16"/>
                  <a:pt x="6" y="16"/>
                </a:cubicBezTo>
                <a:cubicBezTo>
                  <a:pt x="6" y="15"/>
                  <a:pt x="6" y="15"/>
                  <a:pt x="6" y="15"/>
                </a:cubicBezTo>
                <a:cubicBezTo>
                  <a:pt x="6" y="13"/>
                  <a:pt x="6" y="13"/>
                  <a:pt x="6" y="13"/>
                </a:cubicBezTo>
                <a:cubicBezTo>
                  <a:pt x="5" y="13"/>
                  <a:pt x="5" y="13"/>
                  <a:pt x="5" y="13"/>
                </a:cubicBezTo>
                <a:cubicBezTo>
                  <a:pt x="2" y="13"/>
                  <a:pt x="2" y="13"/>
                  <a:pt x="2" y="13"/>
                </a:cubicBezTo>
                <a:cubicBezTo>
                  <a:pt x="2" y="13"/>
                  <a:pt x="2" y="13"/>
                  <a:pt x="2" y="13"/>
                </a:cubicBezTo>
                <a:cubicBezTo>
                  <a:pt x="3" y="12"/>
                  <a:pt x="3" y="12"/>
                  <a:pt x="3" y="12"/>
                </a:cubicBezTo>
                <a:cubicBezTo>
                  <a:pt x="2" y="12"/>
                  <a:pt x="2" y="12"/>
                  <a:pt x="2" y="12"/>
                </a:cubicBezTo>
                <a:cubicBezTo>
                  <a:pt x="3" y="11"/>
                  <a:pt x="3" y="11"/>
                  <a:pt x="3" y="11"/>
                </a:cubicBezTo>
                <a:cubicBezTo>
                  <a:pt x="3" y="10"/>
                  <a:pt x="3" y="10"/>
                  <a:pt x="3" y="10"/>
                </a:cubicBezTo>
                <a:cubicBezTo>
                  <a:pt x="3" y="9"/>
                  <a:pt x="3" y="9"/>
                  <a:pt x="3" y="9"/>
                </a:cubicBezTo>
                <a:cubicBezTo>
                  <a:pt x="2" y="10"/>
                  <a:pt x="2" y="10"/>
                  <a:pt x="2" y="10"/>
                </a:cubicBezTo>
                <a:cubicBezTo>
                  <a:pt x="1" y="10"/>
                  <a:pt x="1" y="10"/>
                  <a:pt x="1" y="10"/>
                </a:cubicBezTo>
                <a:cubicBezTo>
                  <a:pt x="2" y="8"/>
                  <a:pt x="2" y="8"/>
                  <a:pt x="2" y="8"/>
                </a:cubicBezTo>
                <a:cubicBezTo>
                  <a:pt x="1" y="8"/>
                  <a:pt x="1" y="8"/>
                  <a:pt x="1" y="8"/>
                </a:cubicBezTo>
                <a:cubicBezTo>
                  <a:pt x="1" y="7"/>
                  <a:pt x="1" y="7"/>
                  <a:pt x="1" y="7"/>
                </a:cubicBezTo>
                <a:cubicBezTo>
                  <a:pt x="0" y="7"/>
                  <a:pt x="0" y="7"/>
                  <a:pt x="0" y="7"/>
                </a:cubicBezTo>
                <a:cubicBezTo>
                  <a:pt x="0" y="6"/>
                  <a:pt x="0" y="6"/>
                  <a:pt x="0" y="6"/>
                </a:cubicBezTo>
                <a:cubicBezTo>
                  <a:pt x="1" y="5"/>
                  <a:pt x="1" y="5"/>
                  <a:pt x="1" y="5"/>
                </a:cubicBezTo>
                <a:cubicBezTo>
                  <a:pt x="3" y="4"/>
                  <a:pt x="3" y="4"/>
                  <a:pt x="3" y="4"/>
                </a:cubicBezTo>
                <a:cubicBezTo>
                  <a:pt x="4" y="4"/>
                  <a:pt x="4" y="4"/>
                  <a:pt x="4" y="4"/>
                </a:cubicBezTo>
                <a:cubicBezTo>
                  <a:pt x="6" y="4"/>
                  <a:pt x="6" y="4"/>
                  <a:pt x="6" y="4"/>
                </a:cubicBezTo>
                <a:cubicBezTo>
                  <a:pt x="7" y="3"/>
                  <a:pt x="7" y="3"/>
                  <a:pt x="7" y="3"/>
                </a:cubicBezTo>
                <a:cubicBezTo>
                  <a:pt x="6" y="3"/>
                  <a:pt x="6" y="3"/>
                  <a:pt x="6" y="3"/>
                </a:cubicBezTo>
                <a:cubicBezTo>
                  <a:pt x="6" y="2"/>
                  <a:pt x="6" y="2"/>
                  <a:pt x="6" y="2"/>
                </a:cubicBezTo>
                <a:cubicBezTo>
                  <a:pt x="8" y="1"/>
                  <a:pt x="8" y="1"/>
                  <a:pt x="8" y="1"/>
                </a:cubicBezTo>
                <a:cubicBezTo>
                  <a:pt x="8" y="1"/>
                  <a:pt x="8" y="1"/>
                  <a:pt x="8" y="1"/>
                </a:cubicBezTo>
                <a:cubicBezTo>
                  <a:pt x="9" y="0"/>
                  <a:pt x="9" y="0"/>
                  <a:pt x="9" y="0"/>
                </a:cubicBezTo>
                <a:cubicBezTo>
                  <a:pt x="11" y="1"/>
                  <a:pt x="11" y="1"/>
                  <a:pt x="11" y="1"/>
                </a:cubicBezTo>
                <a:cubicBezTo>
                  <a:pt x="12" y="2"/>
                  <a:pt x="12" y="2"/>
                  <a:pt x="12" y="2"/>
                </a:cubicBezTo>
                <a:cubicBezTo>
                  <a:pt x="13" y="1"/>
                  <a:pt x="13" y="1"/>
                  <a:pt x="13" y="1"/>
                </a:cubicBezTo>
                <a:cubicBezTo>
                  <a:pt x="15" y="1"/>
                  <a:pt x="15" y="1"/>
                  <a:pt x="15" y="1"/>
                </a:cubicBezTo>
                <a:cubicBezTo>
                  <a:pt x="16" y="2"/>
                  <a:pt x="16" y="2"/>
                  <a:pt x="16" y="2"/>
                </a:cubicBezTo>
                <a:cubicBezTo>
                  <a:pt x="18" y="1"/>
                  <a:pt x="18" y="1"/>
                  <a:pt x="18" y="1"/>
                </a:cubicBezTo>
                <a:cubicBezTo>
                  <a:pt x="20" y="1"/>
                  <a:pt x="20" y="1"/>
                  <a:pt x="20" y="1"/>
                </a:cubicBezTo>
                <a:cubicBezTo>
                  <a:pt x="20" y="1"/>
                  <a:pt x="20" y="1"/>
                  <a:pt x="20" y="1"/>
                </a:cubicBezTo>
                <a:cubicBezTo>
                  <a:pt x="22" y="2"/>
                  <a:pt x="22" y="2"/>
                  <a:pt x="22" y="2"/>
                </a:cubicBezTo>
                <a:cubicBezTo>
                  <a:pt x="26" y="3"/>
                  <a:pt x="26" y="3"/>
                  <a:pt x="26" y="3"/>
                </a:cubicBezTo>
                <a:cubicBezTo>
                  <a:pt x="28" y="3"/>
                  <a:pt x="28" y="3"/>
                  <a:pt x="28" y="3"/>
                </a:cubicBezTo>
                <a:cubicBezTo>
                  <a:pt x="31" y="2"/>
                  <a:pt x="31" y="2"/>
                  <a:pt x="31" y="2"/>
                </a:cubicBezTo>
                <a:cubicBezTo>
                  <a:pt x="34" y="2"/>
                  <a:pt x="34" y="2"/>
                  <a:pt x="34" y="2"/>
                </a:cubicBezTo>
                <a:cubicBezTo>
                  <a:pt x="34" y="3"/>
                  <a:pt x="34" y="3"/>
                  <a:pt x="34" y="3"/>
                </a:cubicBezTo>
                <a:cubicBezTo>
                  <a:pt x="36" y="4"/>
                  <a:pt x="36" y="4"/>
                  <a:pt x="36" y="4"/>
                </a:cubicBezTo>
                <a:cubicBezTo>
                  <a:pt x="37" y="3"/>
                  <a:pt x="37" y="3"/>
                  <a:pt x="37" y="3"/>
                </a:cubicBezTo>
                <a:cubicBezTo>
                  <a:pt x="39" y="3"/>
                  <a:pt x="39" y="3"/>
                  <a:pt x="39" y="3"/>
                </a:cubicBezTo>
                <a:cubicBezTo>
                  <a:pt x="42" y="5"/>
                  <a:pt x="42" y="5"/>
                  <a:pt x="42" y="5"/>
                </a:cubicBezTo>
                <a:cubicBezTo>
                  <a:pt x="42" y="4"/>
                  <a:pt x="42" y="4"/>
                  <a:pt x="42" y="4"/>
                </a:cubicBezTo>
                <a:cubicBezTo>
                  <a:pt x="43" y="4"/>
                  <a:pt x="43" y="4"/>
                  <a:pt x="43" y="4"/>
                </a:cubicBezTo>
                <a:cubicBezTo>
                  <a:pt x="44" y="3"/>
                  <a:pt x="44" y="3"/>
                  <a:pt x="44" y="3"/>
                </a:cubicBezTo>
                <a:close/>
                <a:moveTo>
                  <a:pt x="74" y="31"/>
                </a:moveTo>
                <a:cubicBezTo>
                  <a:pt x="76" y="31"/>
                  <a:pt x="76" y="31"/>
                  <a:pt x="76" y="31"/>
                </a:cubicBezTo>
                <a:cubicBezTo>
                  <a:pt x="77" y="31"/>
                  <a:pt x="77" y="31"/>
                  <a:pt x="77" y="31"/>
                </a:cubicBezTo>
                <a:cubicBezTo>
                  <a:pt x="78" y="31"/>
                  <a:pt x="78" y="31"/>
                  <a:pt x="78" y="31"/>
                </a:cubicBezTo>
                <a:cubicBezTo>
                  <a:pt x="76" y="30"/>
                  <a:pt x="76" y="30"/>
                  <a:pt x="76" y="30"/>
                </a:cubicBezTo>
                <a:cubicBezTo>
                  <a:pt x="74" y="30"/>
                  <a:pt x="74" y="30"/>
                  <a:pt x="74" y="30"/>
                </a:cubicBezTo>
                <a:cubicBezTo>
                  <a:pt x="74" y="31"/>
                  <a:pt x="74" y="31"/>
                  <a:pt x="74" y="31"/>
                </a:cubicBezTo>
                <a:close/>
                <a:moveTo>
                  <a:pt x="71" y="35"/>
                </a:moveTo>
                <a:cubicBezTo>
                  <a:pt x="71" y="33"/>
                  <a:pt x="71" y="33"/>
                  <a:pt x="71" y="33"/>
                </a:cubicBezTo>
                <a:cubicBezTo>
                  <a:pt x="73" y="32"/>
                  <a:pt x="73" y="32"/>
                  <a:pt x="73" y="32"/>
                </a:cubicBezTo>
                <a:cubicBezTo>
                  <a:pt x="71" y="32"/>
                  <a:pt x="71" y="32"/>
                  <a:pt x="71" y="32"/>
                </a:cubicBezTo>
                <a:cubicBezTo>
                  <a:pt x="70" y="32"/>
                  <a:pt x="70" y="32"/>
                  <a:pt x="70" y="32"/>
                </a:cubicBezTo>
                <a:cubicBezTo>
                  <a:pt x="69" y="33"/>
                  <a:pt x="69" y="33"/>
                  <a:pt x="69" y="33"/>
                </a:cubicBezTo>
                <a:cubicBezTo>
                  <a:pt x="68" y="34"/>
                  <a:pt x="68" y="34"/>
                  <a:pt x="68" y="34"/>
                </a:cubicBezTo>
                <a:cubicBezTo>
                  <a:pt x="70" y="34"/>
                  <a:pt x="70" y="34"/>
                  <a:pt x="70" y="34"/>
                </a:cubicBezTo>
                <a:cubicBezTo>
                  <a:pt x="71" y="35"/>
                  <a:pt x="71" y="35"/>
                  <a:pt x="71" y="35"/>
                </a:cubicBezTo>
                <a:close/>
                <a:moveTo>
                  <a:pt x="63" y="39"/>
                </a:moveTo>
                <a:cubicBezTo>
                  <a:pt x="64" y="38"/>
                  <a:pt x="64" y="38"/>
                  <a:pt x="64" y="38"/>
                </a:cubicBezTo>
                <a:cubicBezTo>
                  <a:pt x="64" y="37"/>
                  <a:pt x="64" y="37"/>
                  <a:pt x="64" y="37"/>
                </a:cubicBezTo>
                <a:cubicBezTo>
                  <a:pt x="64" y="37"/>
                  <a:pt x="64" y="37"/>
                  <a:pt x="64" y="37"/>
                </a:cubicBezTo>
                <a:cubicBezTo>
                  <a:pt x="62" y="37"/>
                  <a:pt x="62" y="37"/>
                  <a:pt x="62" y="37"/>
                </a:cubicBezTo>
                <a:cubicBezTo>
                  <a:pt x="62" y="38"/>
                  <a:pt x="62" y="38"/>
                  <a:pt x="62" y="38"/>
                </a:cubicBezTo>
                <a:lnTo>
                  <a:pt x="63" y="3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1" name="Freeform 79">
            <a:extLst>
              <a:ext uri="{FF2B5EF4-FFF2-40B4-BE49-F238E27FC236}">
                <a16:creationId xmlns:a16="http://schemas.microsoft.com/office/drawing/2014/main" id="{0C2E9019-2DB8-DB83-A415-165CE5E5A2E3}"/>
              </a:ext>
            </a:extLst>
          </p:cNvPr>
          <p:cNvSpPr>
            <a:spLocks/>
          </p:cNvSpPr>
          <p:nvPr userDrawn="1"/>
        </p:nvSpPr>
        <p:spPr bwMode="auto">
          <a:xfrm>
            <a:off x="12613454" y="6565181"/>
            <a:ext cx="187314" cy="387350"/>
          </a:xfrm>
          <a:custGeom>
            <a:avLst/>
            <a:gdLst>
              <a:gd name="T0" fmla="*/ 37 w 59"/>
              <a:gd name="T1" fmla="*/ 113 h 122"/>
              <a:gd name="T2" fmla="*/ 41 w 59"/>
              <a:gd name="T3" fmla="*/ 100 h 122"/>
              <a:gd name="T4" fmla="*/ 47 w 59"/>
              <a:gd name="T5" fmla="*/ 91 h 122"/>
              <a:gd name="T6" fmla="*/ 37 w 59"/>
              <a:gd name="T7" fmla="*/ 85 h 122"/>
              <a:gd name="T8" fmla="*/ 44 w 59"/>
              <a:gd name="T9" fmla="*/ 72 h 122"/>
              <a:gd name="T10" fmla="*/ 34 w 59"/>
              <a:gd name="T11" fmla="*/ 60 h 122"/>
              <a:gd name="T12" fmla="*/ 44 w 59"/>
              <a:gd name="T13" fmla="*/ 60 h 122"/>
              <a:gd name="T14" fmla="*/ 44 w 59"/>
              <a:gd name="T15" fmla="*/ 47 h 122"/>
              <a:gd name="T16" fmla="*/ 50 w 59"/>
              <a:gd name="T17" fmla="*/ 31 h 122"/>
              <a:gd name="T18" fmla="*/ 56 w 59"/>
              <a:gd name="T19" fmla="*/ 19 h 122"/>
              <a:gd name="T20" fmla="*/ 59 w 59"/>
              <a:gd name="T21" fmla="*/ 16 h 122"/>
              <a:gd name="T22" fmla="*/ 56 w 59"/>
              <a:gd name="T23" fmla="*/ 3 h 122"/>
              <a:gd name="T24" fmla="*/ 44 w 59"/>
              <a:gd name="T25" fmla="*/ 6 h 122"/>
              <a:gd name="T26" fmla="*/ 25 w 59"/>
              <a:gd name="T27" fmla="*/ 10 h 122"/>
              <a:gd name="T28" fmla="*/ 25 w 59"/>
              <a:gd name="T29" fmla="*/ 0 h 122"/>
              <a:gd name="T30" fmla="*/ 12 w 59"/>
              <a:gd name="T31" fmla="*/ 0 h 122"/>
              <a:gd name="T32" fmla="*/ 16 w 59"/>
              <a:gd name="T33" fmla="*/ 13 h 122"/>
              <a:gd name="T34" fmla="*/ 16 w 59"/>
              <a:gd name="T35" fmla="*/ 25 h 122"/>
              <a:gd name="T36" fmla="*/ 16 w 59"/>
              <a:gd name="T37" fmla="*/ 35 h 122"/>
              <a:gd name="T38" fmla="*/ 12 w 59"/>
              <a:gd name="T39" fmla="*/ 44 h 122"/>
              <a:gd name="T40" fmla="*/ 6 w 59"/>
              <a:gd name="T41" fmla="*/ 56 h 122"/>
              <a:gd name="T42" fmla="*/ 3 w 59"/>
              <a:gd name="T43" fmla="*/ 66 h 122"/>
              <a:gd name="T44" fmla="*/ 0 w 59"/>
              <a:gd name="T45" fmla="*/ 81 h 122"/>
              <a:gd name="T46" fmla="*/ 6 w 59"/>
              <a:gd name="T47" fmla="*/ 78 h 122"/>
              <a:gd name="T48" fmla="*/ 9 w 59"/>
              <a:gd name="T49" fmla="*/ 78 h 122"/>
              <a:gd name="T50" fmla="*/ 3 w 59"/>
              <a:gd name="T51" fmla="*/ 85 h 122"/>
              <a:gd name="T52" fmla="*/ 6 w 59"/>
              <a:gd name="T53" fmla="*/ 91 h 122"/>
              <a:gd name="T54" fmla="*/ 12 w 59"/>
              <a:gd name="T55" fmla="*/ 88 h 122"/>
              <a:gd name="T56" fmla="*/ 12 w 59"/>
              <a:gd name="T57" fmla="*/ 94 h 122"/>
              <a:gd name="T58" fmla="*/ 12 w 59"/>
              <a:gd name="T59" fmla="*/ 110 h 122"/>
              <a:gd name="T60" fmla="*/ 9 w 59"/>
              <a:gd name="T61" fmla="*/ 119 h 122"/>
              <a:gd name="T62" fmla="*/ 16 w 59"/>
              <a:gd name="T63" fmla="*/ 116 h 122"/>
              <a:gd name="T64" fmla="*/ 28 w 59"/>
              <a:gd name="T65" fmla="*/ 122 h 122"/>
              <a:gd name="T66" fmla="*/ 37 w 59"/>
              <a:gd name="T67" fmla="*/ 119 h 122"/>
              <a:gd name="T68" fmla="*/ 41 w 59"/>
              <a:gd name="T69" fmla="*/ 11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122">
                <a:moveTo>
                  <a:pt x="41" y="116"/>
                </a:moveTo>
                <a:lnTo>
                  <a:pt x="37" y="113"/>
                </a:lnTo>
                <a:lnTo>
                  <a:pt x="37" y="107"/>
                </a:lnTo>
                <a:lnTo>
                  <a:pt x="41" y="100"/>
                </a:lnTo>
                <a:lnTo>
                  <a:pt x="47" y="94"/>
                </a:lnTo>
                <a:lnTo>
                  <a:pt x="47" y="91"/>
                </a:lnTo>
                <a:lnTo>
                  <a:pt x="41" y="91"/>
                </a:lnTo>
                <a:lnTo>
                  <a:pt x="37" y="85"/>
                </a:lnTo>
                <a:lnTo>
                  <a:pt x="44" y="78"/>
                </a:lnTo>
                <a:lnTo>
                  <a:pt x="44" y="72"/>
                </a:lnTo>
                <a:lnTo>
                  <a:pt x="41" y="69"/>
                </a:lnTo>
                <a:lnTo>
                  <a:pt x="34" y="60"/>
                </a:lnTo>
                <a:lnTo>
                  <a:pt x="41" y="56"/>
                </a:lnTo>
                <a:lnTo>
                  <a:pt x="44" y="60"/>
                </a:lnTo>
                <a:lnTo>
                  <a:pt x="50" y="50"/>
                </a:lnTo>
                <a:lnTo>
                  <a:pt x="44" y="47"/>
                </a:lnTo>
                <a:lnTo>
                  <a:pt x="50" y="44"/>
                </a:lnTo>
                <a:lnTo>
                  <a:pt x="50" y="31"/>
                </a:lnTo>
                <a:lnTo>
                  <a:pt x="50" y="25"/>
                </a:lnTo>
                <a:lnTo>
                  <a:pt x="56" y="19"/>
                </a:lnTo>
                <a:lnTo>
                  <a:pt x="59" y="19"/>
                </a:lnTo>
                <a:lnTo>
                  <a:pt x="59" y="16"/>
                </a:lnTo>
                <a:lnTo>
                  <a:pt x="56" y="10"/>
                </a:lnTo>
                <a:lnTo>
                  <a:pt x="56" y="3"/>
                </a:lnTo>
                <a:lnTo>
                  <a:pt x="47" y="3"/>
                </a:lnTo>
                <a:lnTo>
                  <a:pt x="44" y="6"/>
                </a:lnTo>
                <a:lnTo>
                  <a:pt x="31" y="3"/>
                </a:lnTo>
                <a:lnTo>
                  <a:pt x="25" y="10"/>
                </a:lnTo>
                <a:lnTo>
                  <a:pt x="25" y="6"/>
                </a:lnTo>
                <a:lnTo>
                  <a:pt x="25" y="0"/>
                </a:lnTo>
                <a:lnTo>
                  <a:pt x="22" y="0"/>
                </a:lnTo>
                <a:lnTo>
                  <a:pt x="12" y="0"/>
                </a:lnTo>
                <a:lnTo>
                  <a:pt x="12" y="6"/>
                </a:lnTo>
                <a:lnTo>
                  <a:pt x="16" y="13"/>
                </a:lnTo>
                <a:lnTo>
                  <a:pt x="16" y="25"/>
                </a:lnTo>
                <a:lnTo>
                  <a:pt x="16" y="25"/>
                </a:lnTo>
                <a:lnTo>
                  <a:pt x="12" y="31"/>
                </a:lnTo>
                <a:lnTo>
                  <a:pt x="16" y="35"/>
                </a:lnTo>
                <a:lnTo>
                  <a:pt x="16" y="38"/>
                </a:lnTo>
                <a:lnTo>
                  <a:pt x="12" y="44"/>
                </a:lnTo>
                <a:lnTo>
                  <a:pt x="12" y="50"/>
                </a:lnTo>
                <a:lnTo>
                  <a:pt x="6" y="56"/>
                </a:lnTo>
                <a:lnTo>
                  <a:pt x="6" y="60"/>
                </a:lnTo>
                <a:lnTo>
                  <a:pt x="3" y="66"/>
                </a:lnTo>
                <a:lnTo>
                  <a:pt x="0" y="78"/>
                </a:lnTo>
                <a:lnTo>
                  <a:pt x="0" y="81"/>
                </a:lnTo>
                <a:lnTo>
                  <a:pt x="3" y="81"/>
                </a:lnTo>
                <a:lnTo>
                  <a:pt x="6" y="78"/>
                </a:lnTo>
                <a:lnTo>
                  <a:pt x="9" y="75"/>
                </a:lnTo>
                <a:lnTo>
                  <a:pt x="9" y="78"/>
                </a:lnTo>
                <a:lnTo>
                  <a:pt x="9" y="81"/>
                </a:lnTo>
                <a:lnTo>
                  <a:pt x="3" y="85"/>
                </a:lnTo>
                <a:lnTo>
                  <a:pt x="3" y="88"/>
                </a:lnTo>
                <a:lnTo>
                  <a:pt x="6" y="91"/>
                </a:lnTo>
                <a:lnTo>
                  <a:pt x="9" y="88"/>
                </a:lnTo>
                <a:lnTo>
                  <a:pt x="12" y="88"/>
                </a:lnTo>
                <a:lnTo>
                  <a:pt x="12" y="91"/>
                </a:lnTo>
                <a:lnTo>
                  <a:pt x="12" y="94"/>
                </a:lnTo>
                <a:lnTo>
                  <a:pt x="12" y="100"/>
                </a:lnTo>
                <a:lnTo>
                  <a:pt x="12" y="110"/>
                </a:lnTo>
                <a:lnTo>
                  <a:pt x="9" y="116"/>
                </a:lnTo>
                <a:lnTo>
                  <a:pt x="9" y="119"/>
                </a:lnTo>
                <a:lnTo>
                  <a:pt x="9" y="119"/>
                </a:lnTo>
                <a:lnTo>
                  <a:pt x="16" y="116"/>
                </a:lnTo>
                <a:lnTo>
                  <a:pt x="22" y="119"/>
                </a:lnTo>
                <a:lnTo>
                  <a:pt x="28" y="122"/>
                </a:lnTo>
                <a:lnTo>
                  <a:pt x="34" y="119"/>
                </a:lnTo>
                <a:lnTo>
                  <a:pt x="37" y="119"/>
                </a:lnTo>
                <a:lnTo>
                  <a:pt x="37" y="116"/>
                </a:lnTo>
                <a:lnTo>
                  <a:pt x="41" y="11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2" name="Freeform 80">
            <a:extLst>
              <a:ext uri="{FF2B5EF4-FFF2-40B4-BE49-F238E27FC236}">
                <a16:creationId xmlns:a16="http://schemas.microsoft.com/office/drawing/2014/main" id="{CA301A15-4F2F-F086-955C-468CB385F47F}"/>
              </a:ext>
            </a:extLst>
          </p:cNvPr>
          <p:cNvSpPr>
            <a:spLocks noEditPoints="1"/>
          </p:cNvSpPr>
          <p:nvPr userDrawn="1"/>
        </p:nvSpPr>
        <p:spPr bwMode="auto">
          <a:xfrm>
            <a:off x="14308789" y="6574707"/>
            <a:ext cx="536541" cy="527050"/>
          </a:xfrm>
          <a:custGeom>
            <a:avLst/>
            <a:gdLst>
              <a:gd name="T0" fmla="*/ 33 w 54"/>
              <a:gd name="T1" fmla="*/ 5 h 53"/>
              <a:gd name="T2" fmla="*/ 22 w 54"/>
              <a:gd name="T3" fmla="*/ 5 h 53"/>
              <a:gd name="T4" fmla="*/ 9 w 54"/>
              <a:gd name="T5" fmla="*/ 10 h 53"/>
              <a:gd name="T6" fmla="*/ 6 w 54"/>
              <a:gd name="T7" fmla="*/ 22 h 53"/>
              <a:gd name="T8" fmla="*/ 14 w 54"/>
              <a:gd name="T9" fmla="*/ 29 h 53"/>
              <a:gd name="T10" fmla="*/ 20 w 54"/>
              <a:gd name="T11" fmla="*/ 31 h 53"/>
              <a:gd name="T12" fmla="*/ 10 w 54"/>
              <a:gd name="T13" fmla="*/ 31 h 53"/>
              <a:gd name="T14" fmla="*/ 16 w 54"/>
              <a:gd name="T15" fmla="*/ 40 h 53"/>
              <a:gd name="T16" fmla="*/ 19 w 54"/>
              <a:gd name="T17" fmla="*/ 41 h 53"/>
              <a:gd name="T18" fmla="*/ 20 w 54"/>
              <a:gd name="T19" fmla="*/ 35 h 53"/>
              <a:gd name="T20" fmla="*/ 24 w 54"/>
              <a:gd name="T21" fmla="*/ 35 h 53"/>
              <a:gd name="T22" fmla="*/ 26 w 54"/>
              <a:gd name="T23" fmla="*/ 32 h 53"/>
              <a:gd name="T24" fmla="*/ 22 w 54"/>
              <a:gd name="T25" fmla="*/ 26 h 53"/>
              <a:gd name="T26" fmla="*/ 20 w 54"/>
              <a:gd name="T27" fmla="*/ 21 h 53"/>
              <a:gd name="T28" fmla="*/ 20 w 54"/>
              <a:gd name="T29" fmla="*/ 18 h 53"/>
              <a:gd name="T30" fmla="*/ 19 w 54"/>
              <a:gd name="T31" fmla="*/ 12 h 53"/>
              <a:gd name="T32" fmla="*/ 24 w 54"/>
              <a:gd name="T33" fmla="*/ 14 h 53"/>
              <a:gd name="T34" fmla="*/ 28 w 54"/>
              <a:gd name="T35" fmla="*/ 13 h 53"/>
              <a:gd name="T36" fmla="*/ 30 w 54"/>
              <a:gd name="T37" fmla="*/ 9 h 53"/>
              <a:gd name="T38" fmla="*/ 40 w 54"/>
              <a:gd name="T39" fmla="*/ 7 h 53"/>
              <a:gd name="T40" fmla="*/ 26 w 54"/>
              <a:gd name="T41" fmla="*/ 50 h 53"/>
              <a:gd name="T42" fmla="*/ 35 w 54"/>
              <a:gd name="T43" fmla="*/ 53 h 53"/>
              <a:gd name="T44" fmla="*/ 42 w 54"/>
              <a:gd name="T45" fmla="*/ 50 h 53"/>
              <a:gd name="T46" fmla="*/ 37 w 54"/>
              <a:gd name="T47" fmla="*/ 49 h 53"/>
              <a:gd name="T48" fmla="*/ 29 w 54"/>
              <a:gd name="T49" fmla="*/ 48 h 53"/>
              <a:gd name="T50" fmla="*/ 27 w 54"/>
              <a:gd name="T51" fmla="*/ 49 h 53"/>
              <a:gd name="T52" fmla="*/ 1 w 54"/>
              <a:gd name="T53" fmla="*/ 19 h 53"/>
              <a:gd name="T54" fmla="*/ 7 w 54"/>
              <a:gd name="T55" fmla="*/ 25 h 53"/>
              <a:gd name="T56" fmla="*/ 7 w 54"/>
              <a:gd name="T57" fmla="*/ 29 h 53"/>
              <a:gd name="T58" fmla="*/ 6 w 54"/>
              <a:gd name="T59" fmla="*/ 30 h 53"/>
              <a:gd name="T60" fmla="*/ 8 w 54"/>
              <a:gd name="T61" fmla="*/ 34 h 53"/>
              <a:gd name="T62" fmla="*/ 48 w 54"/>
              <a:gd name="T63" fmla="*/ 46 h 53"/>
              <a:gd name="T64" fmla="*/ 48 w 54"/>
              <a:gd name="T65" fmla="*/ 50 h 53"/>
              <a:gd name="T66" fmla="*/ 54 w 54"/>
              <a:gd name="T67" fmla="*/ 42 h 53"/>
              <a:gd name="T68" fmla="*/ 51 w 54"/>
              <a:gd name="T69" fmla="*/ 46 h 53"/>
              <a:gd name="T70" fmla="*/ 43 w 54"/>
              <a:gd name="T71" fmla="*/ 32 h 53"/>
              <a:gd name="T72" fmla="*/ 43 w 54"/>
              <a:gd name="T73" fmla="*/ 33 h 53"/>
              <a:gd name="T74" fmla="*/ 39 w 54"/>
              <a:gd name="T75" fmla="*/ 28 h 53"/>
              <a:gd name="T76" fmla="*/ 38 w 54"/>
              <a:gd name="T77" fmla="*/ 22 h 53"/>
              <a:gd name="T78" fmla="*/ 42 w 54"/>
              <a:gd name="T79" fmla="*/ 23 h 53"/>
              <a:gd name="T80" fmla="*/ 39 w 54"/>
              <a:gd name="T81" fmla="*/ 23 h 53"/>
              <a:gd name="T82" fmla="*/ 33 w 54"/>
              <a:gd name="T83" fmla="*/ 15 h 53"/>
              <a:gd name="T84" fmla="*/ 33 w 54"/>
              <a:gd name="T85" fmla="*/ 16 h 53"/>
              <a:gd name="T86" fmla="*/ 29 w 54"/>
              <a:gd name="T87" fmla="*/ 10 h 53"/>
              <a:gd name="T88" fmla="*/ 23 w 54"/>
              <a:gd name="T89" fmla="*/ 22 h 53"/>
              <a:gd name="T90" fmla="*/ 31 w 54"/>
              <a:gd name="T91" fmla="*/ 25 h 53"/>
              <a:gd name="T92" fmla="*/ 40 w 54"/>
              <a:gd name="T93" fmla="*/ 35 h 53"/>
              <a:gd name="T94" fmla="*/ 31 w 54"/>
              <a:gd name="T95" fmla="*/ 38 h 53"/>
              <a:gd name="T96" fmla="*/ 30 w 54"/>
              <a:gd name="T97" fmla="*/ 34 h 53"/>
              <a:gd name="T98" fmla="*/ 37 w 54"/>
              <a:gd name="T99" fmla="*/ 39 h 53"/>
              <a:gd name="T100" fmla="*/ 37 w 54"/>
              <a:gd name="T101" fmla="*/ 35 h 53"/>
              <a:gd name="T102" fmla="*/ 32 w 54"/>
              <a:gd name="T103" fmla="*/ 32 h 53"/>
              <a:gd name="T104" fmla="*/ 21 w 54"/>
              <a:gd name="T105" fmla="*/ 23 h 53"/>
              <a:gd name="T106" fmla="*/ 29 w 54"/>
              <a:gd name="T107" fmla="*/ 28 h 53"/>
              <a:gd name="T108" fmla="*/ 30 w 54"/>
              <a:gd name="T109" fmla="*/ 32 h 53"/>
              <a:gd name="T110" fmla="*/ 24 w 54"/>
              <a:gd name="T111" fmla="*/ 26 h 53"/>
              <a:gd name="T112" fmla="*/ 22 w 54"/>
              <a:gd name="T113" fmla="*/ 42 h 53"/>
              <a:gd name="T114" fmla="*/ 22 w 54"/>
              <a:gd name="T115" fmla="*/ 4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53">
                <a:moveTo>
                  <a:pt x="41" y="0"/>
                </a:moveTo>
                <a:cubicBezTo>
                  <a:pt x="40" y="0"/>
                  <a:pt x="40" y="0"/>
                  <a:pt x="40" y="0"/>
                </a:cubicBezTo>
                <a:cubicBezTo>
                  <a:pt x="38" y="2"/>
                  <a:pt x="38" y="2"/>
                  <a:pt x="38" y="2"/>
                </a:cubicBezTo>
                <a:cubicBezTo>
                  <a:pt x="38" y="3"/>
                  <a:pt x="38" y="3"/>
                  <a:pt x="38" y="3"/>
                </a:cubicBezTo>
                <a:cubicBezTo>
                  <a:pt x="39" y="4"/>
                  <a:pt x="39" y="4"/>
                  <a:pt x="39" y="4"/>
                </a:cubicBezTo>
                <a:cubicBezTo>
                  <a:pt x="38" y="5"/>
                  <a:pt x="38" y="5"/>
                  <a:pt x="38" y="5"/>
                </a:cubicBezTo>
                <a:cubicBezTo>
                  <a:pt x="35" y="5"/>
                  <a:pt x="35" y="5"/>
                  <a:pt x="35" y="5"/>
                </a:cubicBezTo>
                <a:cubicBezTo>
                  <a:pt x="34" y="5"/>
                  <a:pt x="34" y="5"/>
                  <a:pt x="34" y="5"/>
                </a:cubicBezTo>
                <a:cubicBezTo>
                  <a:pt x="33" y="5"/>
                  <a:pt x="33" y="5"/>
                  <a:pt x="33" y="5"/>
                </a:cubicBezTo>
                <a:cubicBezTo>
                  <a:pt x="32" y="5"/>
                  <a:pt x="32" y="5"/>
                  <a:pt x="32" y="5"/>
                </a:cubicBezTo>
                <a:cubicBezTo>
                  <a:pt x="31" y="5"/>
                  <a:pt x="31" y="5"/>
                  <a:pt x="31" y="5"/>
                </a:cubicBezTo>
                <a:cubicBezTo>
                  <a:pt x="30" y="5"/>
                  <a:pt x="30" y="5"/>
                  <a:pt x="30" y="5"/>
                </a:cubicBezTo>
                <a:cubicBezTo>
                  <a:pt x="30" y="4"/>
                  <a:pt x="30" y="4"/>
                  <a:pt x="30" y="4"/>
                </a:cubicBezTo>
                <a:cubicBezTo>
                  <a:pt x="28" y="4"/>
                  <a:pt x="28" y="4"/>
                  <a:pt x="28" y="4"/>
                </a:cubicBezTo>
                <a:cubicBezTo>
                  <a:pt x="26" y="4"/>
                  <a:pt x="26" y="4"/>
                  <a:pt x="26" y="4"/>
                </a:cubicBezTo>
                <a:cubicBezTo>
                  <a:pt x="25" y="5"/>
                  <a:pt x="25" y="5"/>
                  <a:pt x="25" y="5"/>
                </a:cubicBezTo>
                <a:cubicBezTo>
                  <a:pt x="24" y="5"/>
                  <a:pt x="24" y="5"/>
                  <a:pt x="24" y="5"/>
                </a:cubicBezTo>
                <a:cubicBezTo>
                  <a:pt x="22" y="5"/>
                  <a:pt x="22" y="5"/>
                  <a:pt x="22" y="5"/>
                </a:cubicBezTo>
                <a:cubicBezTo>
                  <a:pt x="21" y="5"/>
                  <a:pt x="21" y="5"/>
                  <a:pt x="21" y="5"/>
                </a:cubicBezTo>
                <a:cubicBezTo>
                  <a:pt x="20" y="6"/>
                  <a:pt x="20" y="6"/>
                  <a:pt x="20" y="6"/>
                </a:cubicBezTo>
                <a:cubicBezTo>
                  <a:pt x="19" y="6"/>
                  <a:pt x="19" y="6"/>
                  <a:pt x="19" y="6"/>
                </a:cubicBezTo>
                <a:cubicBezTo>
                  <a:pt x="18" y="7"/>
                  <a:pt x="18" y="7"/>
                  <a:pt x="18" y="7"/>
                </a:cubicBezTo>
                <a:cubicBezTo>
                  <a:pt x="15" y="7"/>
                  <a:pt x="15" y="7"/>
                  <a:pt x="15" y="7"/>
                </a:cubicBezTo>
                <a:cubicBezTo>
                  <a:pt x="13" y="7"/>
                  <a:pt x="13" y="7"/>
                  <a:pt x="13" y="7"/>
                </a:cubicBezTo>
                <a:cubicBezTo>
                  <a:pt x="13" y="8"/>
                  <a:pt x="13" y="8"/>
                  <a:pt x="13" y="8"/>
                </a:cubicBezTo>
                <a:cubicBezTo>
                  <a:pt x="11" y="8"/>
                  <a:pt x="11" y="8"/>
                  <a:pt x="11" y="8"/>
                </a:cubicBezTo>
                <a:cubicBezTo>
                  <a:pt x="9" y="10"/>
                  <a:pt x="9" y="10"/>
                  <a:pt x="9" y="10"/>
                </a:cubicBezTo>
                <a:cubicBezTo>
                  <a:pt x="9" y="12"/>
                  <a:pt x="9" y="12"/>
                  <a:pt x="9" y="12"/>
                </a:cubicBezTo>
                <a:cubicBezTo>
                  <a:pt x="8" y="14"/>
                  <a:pt x="8" y="14"/>
                  <a:pt x="8" y="14"/>
                </a:cubicBezTo>
                <a:cubicBezTo>
                  <a:pt x="5" y="14"/>
                  <a:pt x="5" y="14"/>
                  <a:pt x="5" y="14"/>
                </a:cubicBezTo>
                <a:cubicBezTo>
                  <a:pt x="5" y="16"/>
                  <a:pt x="5" y="16"/>
                  <a:pt x="5" y="16"/>
                </a:cubicBezTo>
                <a:cubicBezTo>
                  <a:pt x="4" y="18"/>
                  <a:pt x="4" y="18"/>
                  <a:pt x="4" y="18"/>
                </a:cubicBezTo>
                <a:cubicBezTo>
                  <a:pt x="3" y="18"/>
                  <a:pt x="3" y="18"/>
                  <a:pt x="3" y="18"/>
                </a:cubicBezTo>
                <a:cubicBezTo>
                  <a:pt x="4" y="18"/>
                  <a:pt x="4" y="18"/>
                  <a:pt x="4" y="18"/>
                </a:cubicBezTo>
                <a:cubicBezTo>
                  <a:pt x="4" y="20"/>
                  <a:pt x="4" y="20"/>
                  <a:pt x="4" y="20"/>
                </a:cubicBezTo>
                <a:cubicBezTo>
                  <a:pt x="6" y="22"/>
                  <a:pt x="6" y="22"/>
                  <a:pt x="6" y="22"/>
                </a:cubicBezTo>
                <a:cubicBezTo>
                  <a:pt x="7" y="24"/>
                  <a:pt x="7" y="24"/>
                  <a:pt x="7" y="24"/>
                </a:cubicBezTo>
                <a:cubicBezTo>
                  <a:pt x="8" y="24"/>
                  <a:pt x="8" y="24"/>
                  <a:pt x="8" y="24"/>
                </a:cubicBezTo>
                <a:cubicBezTo>
                  <a:pt x="8" y="24"/>
                  <a:pt x="8" y="24"/>
                  <a:pt x="8" y="24"/>
                </a:cubicBezTo>
                <a:cubicBezTo>
                  <a:pt x="9" y="27"/>
                  <a:pt x="9" y="27"/>
                  <a:pt x="9" y="27"/>
                </a:cubicBezTo>
                <a:cubicBezTo>
                  <a:pt x="10" y="28"/>
                  <a:pt x="10" y="28"/>
                  <a:pt x="10" y="28"/>
                </a:cubicBezTo>
                <a:cubicBezTo>
                  <a:pt x="11" y="29"/>
                  <a:pt x="11" y="29"/>
                  <a:pt x="11" y="29"/>
                </a:cubicBezTo>
                <a:cubicBezTo>
                  <a:pt x="12" y="27"/>
                  <a:pt x="12" y="27"/>
                  <a:pt x="12" y="27"/>
                </a:cubicBezTo>
                <a:cubicBezTo>
                  <a:pt x="13" y="29"/>
                  <a:pt x="13" y="29"/>
                  <a:pt x="13" y="29"/>
                </a:cubicBezTo>
                <a:cubicBezTo>
                  <a:pt x="14" y="29"/>
                  <a:pt x="14" y="29"/>
                  <a:pt x="14" y="29"/>
                </a:cubicBezTo>
                <a:cubicBezTo>
                  <a:pt x="15" y="28"/>
                  <a:pt x="15" y="28"/>
                  <a:pt x="15" y="28"/>
                </a:cubicBezTo>
                <a:cubicBezTo>
                  <a:pt x="16" y="28"/>
                  <a:pt x="16" y="28"/>
                  <a:pt x="16" y="28"/>
                </a:cubicBezTo>
                <a:cubicBezTo>
                  <a:pt x="17" y="29"/>
                  <a:pt x="17" y="29"/>
                  <a:pt x="17" y="29"/>
                </a:cubicBezTo>
                <a:cubicBezTo>
                  <a:pt x="18" y="29"/>
                  <a:pt x="18" y="29"/>
                  <a:pt x="18" y="29"/>
                </a:cubicBezTo>
                <a:cubicBezTo>
                  <a:pt x="19" y="29"/>
                  <a:pt x="19" y="29"/>
                  <a:pt x="19" y="29"/>
                </a:cubicBezTo>
                <a:cubicBezTo>
                  <a:pt x="19" y="29"/>
                  <a:pt x="19" y="29"/>
                  <a:pt x="19" y="29"/>
                </a:cubicBezTo>
                <a:cubicBezTo>
                  <a:pt x="20" y="30"/>
                  <a:pt x="20" y="30"/>
                  <a:pt x="20" y="30"/>
                </a:cubicBezTo>
                <a:cubicBezTo>
                  <a:pt x="21" y="30"/>
                  <a:pt x="21" y="30"/>
                  <a:pt x="21" y="30"/>
                </a:cubicBezTo>
                <a:cubicBezTo>
                  <a:pt x="20" y="31"/>
                  <a:pt x="20" y="31"/>
                  <a:pt x="20" y="31"/>
                </a:cubicBezTo>
                <a:cubicBezTo>
                  <a:pt x="20" y="32"/>
                  <a:pt x="20" y="32"/>
                  <a:pt x="20" y="32"/>
                </a:cubicBezTo>
                <a:cubicBezTo>
                  <a:pt x="19" y="31"/>
                  <a:pt x="19" y="31"/>
                  <a:pt x="19" y="31"/>
                </a:cubicBezTo>
                <a:cubicBezTo>
                  <a:pt x="18" y="31"/>
                  <a:pt x="18" y="31"/>
                  <a:pt x="18" y="31"/>
                </a:cubicBezTo>
                <a:cubicBezTo>
                  <a:pt x="15" y="29"/>
                  <a:pt x="15" y="29"/>
                  <a:pt x="15" y="29"/>
                </a:cubicBezTo>
                <a:cubicBezTo>
                  <a:pt x="14" y="29"/>
                  <a:pt x="14" y="29"/>
                  <a:pt x="14" y="29"/>
                </a:cubicBezTo>
                <a:cubicBezTo>
                  <a:pt x="13" y="30"/>
                  <a:pt x="13" y="30"/>
                  <a:pt x="13" y="30"/>
                </a:cubicBezTo>
                <a:cubicBezTo>
                  <a:pt x="12" y="29"/>
                  <a:pt x="12" y="29"/>
                  <a:pt x="12" y="29"/>
                </a:cubicBezTo>
                <a:cubicBezTo>
                  <a:pt x="11" y="31"/>
                  <a:pt x="11" y="31"/>
                  <a:pt x="11" y="31"/>
                </a:cubicBezTo>
                <a:cubicBezTo>
                  <a:pt x="10" y="31"/>
                  <a:pt x="10" y="31"/>
                  <a:pt x="10" y="31"/>
                </a:cubicBezTo>
                <a:cubicBezTo>
                  <a:pt x="10" y="32"/>
                  <a:pt x="10" y="32"/>
                  <a:pt x="10" y="32"/>
                </a:cubicBezTo>
                <a:cubicBezTo>
                  <a:pt x="11" y="33"/>
                  <a:pt x="11" y="33"/>
                  <a:pt x="11" y="33"/>
                </a:cubicBezTo>
                <a:cubicBezTo>
                  <a:pt x="13" y="34"/>
                  <a:pt x="13" y="34"/>
                  <a:pt x="13" y="34"/>
                </a:cubicBezTo>
                <a:cubicBezTo>
                  <a:pt x="14" y="35"/>
                  <a:pt x="14" y="35"/>
                  <a:pt x="14" y="35"/>
                </a:cubicBezTo>
                <a:cubicBezTo>
                  <a:pt x="14" y="36"/>
                  <a:pt x="14" y="36"/>
                  <a:pt x="14" y="36"/>
                </a:cubicBezTo>
                <a:cubicBezTo>
                  <a:pt x="14" y="37"/>
                  <a:pt x="14" y="37"/>
                  <a:pt x="14" y="37"/>
                </a:cubicBezTo>
                <a:cubicBezTo>
                  <a:pt x="14" y="38"/>
                  <a:pt x="14" y="38"/>
                  <a:pt x="14" y="38"/>
                </a:cubicBezTo>
                <a:cubicBezTo>
                  <a:pt x="15" y="39"/>
                  <a:pt x="15" y="39"/>
                  <a:pt x="15" y="39"/>
                </a:cubicBezTo>
                <a:cubicBezTo>
                  <a:pt x="16" y="40"/>
                  <a:pt x="16" y="40"/>
                  <a:pt x="16" y="40"/>
                </a:cubicBezTo>
                <a:cubicBezTo>
                  <a:pt x="16" y="39"/>
                  <a:pt x="16" y="39"/>
                  <a:pt x="16" y="39"/>
                </a:cubicBezTo>
                <a:cubicBezTo>
                  <a:pt x="16" y="39"/>
                  <a:pt x="16" y="39"/>
                  <a:pt x="16" y="39"/>
                </a:cubicBezTo>
                <a:cubicBezTo>
                  <a:pt x="16" y="38"/>
                  <a:pt x="16" y="38"/>
                  <a:pt x="16" y="38"/>
                </a:cubicBezTo>
                <a:cubicBezTo>
                  <a:pt x="17" y="39"/>
                  <a:pt x="17" y="39"/>
                  <a:pt x="17" y="39"/>
                </a:cubicBezTo>
                <a:cubicBezTo>
                  <a:pt x="18" y="40"/>
                  <a:pt x="18" y="40"/>
                  <a:pt x="18" y="40"/>
                </a:cubicBezTo>
                <a:cubicBezTo>
                  <a:pt x="19" y="41"/>
                  <a:pt x="19" y="41"/>
                  <a:pt x="19" y="41"/>
                </a:cubicBezTo>
                <a:cubicBezTo>
                  <a:pt x="18" y="42"/>
                  <a:pt x="18" y="42"/>
                  <a:pt x="18" y="42"/>
                </a:cubicBezTo>
                <a:cubicBezTo>
                  <a:pt x="19" y="43"/>
                  <a:pt x="19" y="43"/>
                  <a:pt x="19" y="43"/>
                </a:cubicBezTo>
                <a:cubicBezTo>
                  <a:pt x="19" y="41"/>
                  <a:pt x="19" y="41"/>
                  <a:pt x="19" y="41"/>
                </a:cubicBezTo>
                <a:cubicBezTo>
                  <a:pt x="20" y="39"/>
                  <a:pt x="20" y="39"/>
                  <a:pt x="20" y="39"/>
                </a:cubicBezTo>
                <a:cubicBezTo>
                  <a:pt x="21" y="39"/>
                  <a:pt x="21" y="39"/>
                  <a:pt x="21" y="39"/>
                </a:cubicBezTo>
                <a:cubicBezTo>
                  <a:pt x="21" y="41"/>
                  <a:pt x="21" y="41"/>
                  <a:pt x="21" y="41"/>
                </a:cubicBezTo>
                <a:cubicBezTo>
                  <a:pt x="23" y="42"/>
                  <a:pt x="23" y="42"/>
                  <a:pt x="23" y="42"/>
                </a:cubicBezTo>
                <a:cubicBezTo>
                  <a:pt x="22" y="41"/>
                  <a:pt x="22" y="41"/>
                  <a:pt x="22" y="41"/>
                </a:cubicBezTo>
                <a:cubicBezTo>
                  <a:pt x="22" y="40"/>
                  <a:pt x="22" y="40"/>
                  <a:pt x="22" y="40"/>
                </a:cubicBezTo>
                <a:cubicBezTo>
                  <a:pt x="22" y="38"/>
                  <a:pt x="22" y="38"/>
                  <a:pt x="22" y="38"/>
                </a:cubicBezTo>
                <a:cubicBezTo>
                  <a:pt x="21" y="36"/>
                  <a:pt x="21" y="36"/>
                  <a:pt x="21" y="36"/>
                </a:cubicBezTo>
                <a:cubicBezTo>
                  <a:pt x="20" y="35"/>
                  <a:pt x="20" y="35"/>
                  <a:pt x="20" y="35"/>
                </a:cubicBezTo>
                <a:cubicBezTo>
                  <a:pt x="20" y="35"/>
                  <a:pt x="20" y="35"/>
                  <a:pt x="20" y="35"/>
                </a:cubicBezTo>
                <a:cubicBezTo>
                  <a:pt x="21" y="35"/>
                  <a:pt x="21" y="35"/>
                  <a:pt x="21" y="35"/>
                </a:cubicBezTo>
                <a:cubicBezTo>
                  <a:pt x="22" y="35"/>
                  <a:pt x="22" y="35"/>
                  <a:pt x="22" y="35"/>
                </a:cubicBezTo>
                <a:cubicBezTo>
                  <a:pt x="22" y="36"/>
                  <a:pt x="22" y="36"/>
                  <a:pt x="22" y="36"/>
                </a:cubicBezTo>
                <a:cubicBezTo>
                  <a:pt x="22" y="36"/>
                  <a:pt x="22" y="36"/>
                  <a:pt x="22" y="36"/>
                </a:cubicBezTo>
                <a:cubicBezTo>
                  <a:pt x="23" y="36"/>
                  <a:pt x="23" y="36"/>
                  <a:pt x="23" y="36"/>
                </a:cubicBezTo>
                <a:cubicBezTo>
                  <a:pt x="25" y="36"/>
                  <a:pt x="25" y="36"/>
                  <a:pt x="25" y="36"/>
                </a:cubicBezTo>
                <a:cubicBezTo>
                  <a:pt x="25" y="36"/>
                  <a:pt x="25" y="36"/>
                  <a:pt x="25" y="36"/>
                </a:cubicBezTo>
                <a:cubicBezTo>
                  <a:pt x="24" y="35"/>
                  <a:pt x="24" y="35"/>
                  <a:pt x="24" y="35"/>
                </a:cubicBezTo>
                <a:cubicBezTo>
                  <a:pt x="24" y="35"/>
                  <a:pt x="24" y="35"/>
                  <a:pt x="24" y="35"/>
                </a:cubicBezTo>
                <a:cubicBezTo>
                  <a:pt x="23" y="35"/>
                  <a:pt x="23" y="35"/>
                  <a:pt x="23" y="35"/>
                </a:cubicBezTo>
                <a:cubicBezTo>
                  <a:pt x="22" y="34"/>
                  <a:pt x="22" y="34"/>
                  <a:pt x="22" y="34"/>
                </a:cubicBezTo>
                <a:cubicBezTo>
                  <a:pt x="22" y="33"/>
                  <a:pt x="22" y="33"/>
                  <a:pt x="22" y="33"/>
                </a:cubicBezTo>
                <a:cubicBezTo>
                  <a:pt x="21" y="32"/>
                  <a:pt x="21" y="32"/>
                  <a:pt x="21" y="32"/>
                </a:cubicBezTo>
                <a:cubicBezTo>
                  <a:pt x="22" y="32"/>
                  <a:pt x="22" y="32"/>
                  <a:pt x="22" y="32"/>
                </a:cubicBezTo>
                <a:cubicBezTo>
                  <a:pt x="23" y="32"/>
                  <a:pt x="23" y="32"/>
                  <a:pt x="23" y="32"/>
                </a:cubicBezTo>
                <a:cubicBezTo>
                  <a:pt x="24" y="31"/>
                  <a:pt x="24" y="31"/>
                  <a:pt x="24" y="31"/>
                </a:cubicBezTo>
                <a:cubicBezTo>
                  <a:pt x="26" y="32"/>
                  <a:pt x="26" y="32"/>
                  <a:pt x="26" y="32"/>
                </a:cubicBezTo>
                <a:cubicBezTo>
                  <a:pt x="26" y="33"/>
                  <a:pt x="26" y="33"/>
                  <a:pt x="26" y="33"/>
                </a:cubicBezTo>
                <a:cubicBezTo>
                  <a:pt x="27" y="33"/>
                  <a:pt x="27" y="33"/>
                  <a:pt x="27" y="33"/>
                </a:cubicBezTo>
                <a:cubicBezTo>
                  <a:pt x="28" y="32"/>
                  <a:pt x="28" y="32"/>
                  <a:pt x="28" y="32"/>
                </a:cubicBezTo>
                <a:cubicBezTo>
                  <a:pt x="27" y="31"/>
                  <a:pt x="27" y="31"/>
                  <a:pt x="27" y="31"/>
                </a:cubicBezTo>
                <a:cubicBezTo>
                  <a:pt x="27" y="29"/>
                  <a:pt x="27" y="29"/>
                  <a:pt x="27" y="29"/>
                </a:cubicBezTo>
                <a:cubicBezTo>
                  <a:pt x="26" y="29"/>
                  <a:pt x="26" y="29"/>
                  <a:pt x="26" y="29"/>
                </a:cubicBezTo>
                <a:cubicBezTo>
                  <a:pt x="23" y="27"/>
                  <a:pt x="23" y="27"/>
                  <a:pt x="23" y="27"/>
                </a:cubicBezTo>
                <a:cubicBezTo>
                  <a:pt x="23" y="27"/>
                  <a:pt x="23" y="27"/>
                  <a:pt x="23" y="27"/>
                </a:cubicBezTo>
                <a:cubicBezTo>
                  <a:pt x="22" y="26"/>
                  <a:pt x="22" y="26"/>
                  <a:pt x="22" y="26"/>
                </a:cubicBezTo>
                <a:cubicBezTo>
                  <a:pt x="21" y="26"/>
                  <a:pt x="21" y="26"/>
                  <a:pt x="21" y="26"/>
                </a:cubicBezTo>
                <a:cubicBezTo>
                  <a:pt x="21" y="25"/>
                  <a:pt x="21" y="25"/>
                  <a:pt x="21" y="25"/>
                </a:cubicBezTo>
                <a:cubicBezTo>
                  <a:pt x="20" y="25"/>
                  <a:pt x="20" y="25"/>
                  <a:pt x="20" y="25"/>
                </a:cubicBezTo>
                <a:cubicBezTo>
                  <a:pt x="18" y="24"/>
                  <a:pt x="18" y="24"/>
                  <a:pt x="18" y="24"/>
                </a:cubicBezTo>
                <a:cubicBezTo>
                  <a:pt x="20" y="24"/>
                  <a:pt x="20" y="24"/>
                  <a:pt x="20" y="24"/>
                </a:cubicBezTo>
                <a:cubicBezTo>
                  <a:pt x="20" y="23"/>
                  <a:pt x="20" y="23"/>
                  <a:pt x="20" y="23"/>
                </a:cubicBezTo>
                <a:cubicBezTo>
                  <a:pt x="20" y="22"/>
                  <a:pt x="20" y="22"/>
                  <a:pt x="20" y="22"/>
                </a:cubicBezTo>
                <a:cubicBezTo>
                  <a:pt x="19" y="22"/>
                  <a:pt x="19" y="22"/>
                  <a:pt x="19" y="22"/>
                </a:cubicBezTo>
                <a:cubicBezTo>
                  <a:pt x="20" y="21"/>
                  <a:pt x="20" y="21"/>
                  <a:pt x="20" y="21"/>
                </a:cubicBezTo>
                <a:cubicBezTo>
                  <a:pt x="20" y="20"/>
                  <a:pt x="20" y="20"/>
                  <a:pt x="20" y="20"/>
                </a:cubicBezTo>
                <a:cubicBezTo>
                  <a:pt x="21" y="21"/>
                  <a:pt x="21" y="21"/>
                  <a:pt x="21" y="21"/>
                </a:cubicBezTo>
                <a:cubicBezTo>
                  <a:pt x="22" y="21"/>
                  <a:pt x="22" y="21"/>
                  <a:pt x="22" y="21"/>
                </a:cubicBezTo>
                <a:cubicBezTo>
                  <a:pt x="21" y="22"/>
                  <a:pt x="21" y="22"/>
                  <a:pt x="21" y="22"/>
                </a:cubicBezTo>
                <a:cubicBezTo>
                  <a:pt x="21" y="23"/>
                  <a:pt x="21" y="23"/>
                  <a:pt x="21" y="23"/>
                </a:cubicBezTo>
                <a:cubicBezTo>
                  <a:pt x="22" y="23"/>
                  <a:pt x="22" y="23"/>
                  <a:pt x="22" y="23"/>
                </a:cubicBezTo>
                <a:cubicBezTo>
                  <a:pt x="22" y="21"/>
                  <a:pt x="22" y="21"/>
                  <a:pt x="22" y="21"/>
                </a:cubicBezTo>
                <a:cubicBezTo>
                  <a:pt x="22" y="20"/>
                  <a:pt x="22" y="20"/>
                  <a:pt x="22" y="20"/>
                </a:cubicBezTo>
                <a:cubicBezTo>
                  <a:pt x="20" y="18"/>
                  <a:pt x="20" y="18"/>
                  <a:pt x="20" y="18"/>
                </a:cubicBezTo>
                <a:cubicBezTo>
                  <a:pt x="19" y="17"/>
                  <a:pt x="19" y="17"/>
                  <a:pt x="19" y="17"/>
                </a:cubicBezTo>
                <a:cubicBezTo>
                  <a:pt x="19" y="16"/>
                  <a:pt x="19" y="16"/>
                  <a:pt x="19" y="16"/>
                </a:cubicBezTo>
                <a:cubicBezTo>
                  <a:pt x="17" y="15"/>
                  <a:pt x="17" y="15"/>
                  <a:pt x="17" y="15"/>
                </a:cubicBezTo>
                <a:cubicBezTo>
                  <a:pt x="18" y="14"/>
                  <a:pt x="18" y="14"/>
                  <a:pt x="18" y="14"/>
                </a:cubicBezTo>
                <a:cubicBezTo>
                  <a:pt x="17" y="12"/>
                  <a:pt x="17" y="12"/>
                  <a:pt x="17" y="12"/>
                </a:cubicBezTo>
                <a:cubicBezTo>
                  <a:pt x="18" y="11"/>
                  <a:pt x="18" y="11"/>
                  <a:pt x="18" y="11"/>
                </a:cubicBezTo>
                <a:cubicBezTo>
                  <a:pt x="20" y="10"/>
                  <a:pt x="20" y="10"/>
                  <a:pt x="20" y="10"/>
                </a:cubicBezTo>
                <a:cubicBezTo>
                  <a:pt x="20" y="12"/>
                  <a:pt x="20" y="12"/>
                  <a:pt x="20" y="12"/>
                </a:cubicBezTo>
                <a:cubicBezTo>
                  <a:pt x="19" y="12"/>
                  <a:pt x="19" y="12"/>
                  <a:pt x="19" y="12"/>
                </a:cubicBezTo>
                <a:cubicBezTo>
                  <a:pt x="19" y="12"/>
                  <a:pt x="19" y="12"/>
                  <a:pt x="19" y="12"/>
                </a:cubicBezTo>
                <a:cubicBezTo>
                  <a:pt x="21" y="13"/>
                  <a:pt x="21" y="13"/>
                  <a:pt x="21" y="13"/>
                </a:cubicBezTo>
                <a:cubicBezTo>
                  <a:pt x="22" y="15"/>
                  <a:pt x="22" y="15"/>
                  <a:pt x="22" y="15"/>
                </a:cubicBezTo>
                <a:cubicBezTo>
                  <a:pt x="23" y="16"/>
                  <a:pt x="23" y="16"/>
                  <a:pt x="23" y="16"/>
                </a:cubicBezTo>
                <a:cubicBezTo>
                  <a:pt x="24" y="16"/>
                  <a:pt x="24" y="16"/>
                  <a:pt x="24" y="16"/>
                </a:cubicBezTo>
                <a:cubicBezTo>
                  <a:pt x="23" y="15"/>
                  <a:pt x="23" y="15"/>
                  <a:pt x="23" y="15"/>
                </a:cubicBezTo>
                <a:cubicBezTo>
                  <a:pt x="23" y="14"/>
                  <a:pt x="23" y="14"/>
                  <a:pt x="23" y="14"/>
                </a:cubicBezTo>
                <a:cubicBezTo>
                  <a:pt x="23" y="13"/>
                  <a:pt x="23" y="13"/>
                  <a:pt x="23" y="13"/>
                </a:cubicBezTo>
                <a:cubicBezTo>
                  <a:pt x="24" y="14"/>
                  <a:pt x="24" y="14"/>
                  <a:pt x="24" y="14"/>
                </a:cubicBezTo>
                <a:cubicBezTo>
                  <a:pt x="25" y="15"/>
                  <a:pt x="25" y="15"/>
                  <a:pt x="25" y="15"/>
                </a:cubicBezTo>
                <a:cubicBezTo>
                  <a:pt x="26" y="15"/>
                  <a:pt x="26" y="15"/>
                  <a:pt x="26" y="15"/>
                </a:cubicBezTo>
                <a:cubicBezTo>
                  <a:pt x="26" y="14"/>
                  <a:pt x="26" y="14"/>
                  <a:pt x="26" y="14"/>
                </a:cubicBezTo>
                <a:cubicBezTo>
                  <a:pt x="26" y="14"/>
                  <a:pt x="26" y="14"/>
                  <a:pt x="26" y="14"/>
                </a:cubicBezTo>
                <a:cubicBezTo>
                  <a:pt x="25" y="13"/>
                  <a:pt x="25" y="13"/>
                  <a:pt x="25" y="13"/>
                </a:cubicBezTo>
                <a:cubicBezTo>
                  <a:pt x="25" y="13"/>
                  <a:pt x="25" y="13"/>
                  <a:pt x="25" y="13"/>
                </a:cubicBezTo>
                <a:cubicBezTo>
                  <a:pt x="27" y="13"/>
                  <a:pt x="27" y="13"/>
                  <a:pt x="27" y="13"/>
                </a:cubicBezTo>
                <a:cubicBezTo>
                  <a:pt x="28" y="14"/>
                  <a:pt x="28" y="14"/>
                  <a:pt x="28" y="14"/>
                </a:cubicBezTo>
                <a:cubicBezTo>
                  <a:pt x="28" y="13"/>
                  <a:pt x="28" y="13"/>
                  <a:pt x="28" y="13"/>
                </a:cubicBezTo>
                <a:cubicBezTo>
                  <a:pt x="27" y="12"/>
                  <a:pt x="27" y="12"/>
                  <a:pt x="27" y="12"/>
                </a:cubicBezTo>
                <a:cubicBezTo>
                  <a:pt x="26" y="12"/>
                  <a:pt x="26" y="12"/>
                  <a:pt x="26" y="12"/>
                </a:cubicBezTo>
                <a:cubicBezTo>
                  <a:pt x="24" y="10"/>
                  <a:pt x="24" y="10"/>
                  <a:pt x="24" y="10"/>
                </a:cubicBezTo>
                <a:cubicBezTo>
                  <a:pt x="25" y="10"/>
                  <a:pt x="25" y="10"/>
                  <a:pt x="25" y="10"/>
                </a:cubicBezTo>
                <a:cubicBezTo>
                  <a:pt x="26" y="10"/>
                  <a:pt x="26" y="10"/>
                  <a:pt x="26" y="10"/>
                </a:cubicBezTo>
                <a:cubicBezTo>
                  <a:pt x="27" y="9"/>
                  <a:pt x="27" y="9"/>
                  <a:pt x="27" y="9"/>
                </a:cubicBezTo>
                <a:cubicBezTo>
                  <a:pt x="28" y="8"/>
                  <a:pt x="28" y="8"/>
                  <a:pt x="28" y="8"/>
                </a:cubicBezTo>
                <a:cubicBezTo>
                  <a:pt x="29" y="7"/>
                  <a:pt x="29" y="7"/>
                  <a:pt x="29" y="7"/>
                </a:cubicBezTo>
                <a:cubicBezTo>
                  <a:pt x="30" y="9"/>
                  <a:pt x="30" y="9"/>
                  <a:pt x="30" y="9"/>
                </a:cubicBezTo>
                <a:cubicBezTo>
                  <a:pt x="31" y="9"/>
                  <a:pt x="31" y="9"/>
                  <a:pt x="31" y="9"/>
                </a:cubicBezTo>
                <a:cubicBezTo>
                  <a:pt x="32" y="7"/>
                  <a:pt x="32" y="7"/>
                  <a:pt x="32" y="7"/>
                </a:cubicBezTo>
                <a:cubicBezTo>
                  <a:pt x="32" y="7"/>
                  <a:pt x="32" y="7"/>
                  <a:pt x="32" y="7"/>
                </a:cubicBezTo>
                <a:cubicBezTo>
                  <a:pt x="33" y="7"/>
                  <a:pt x="33" y="7"/>
                  <a:pt x="33" y="7"/>
                </a:cubicBezTo>
                <a:cubicBezTo>
                  <a:pt x="34" y="8"/>
                  <a:pt x="34" y="8"/>
                  <a:pt x="34" y="8"/>
                </a:cubicBezTo>
                <a:cubicBezTo>
                  <a:pt x="36" y="8"/>
                  <a:pt x="36" y="8"/>
                  <a:pt x="36" y="8"/>
                </a:cubicBezTo>
                <a:cubicBezTo>
                  <a:pt x="38" y="8"/>
                  <a:pt x="38" y="8"/>
                  <a:pt x="38" y="8"/>
                </a:cubicBezTo>
                <a:cubicBezTo>
                  <a:pt x="40" y="8"/>
                  <a:pt x="40" y="8"/>
                  <a:pt x="40" y="8"/>
                </a:cubicBezTo>
                <a:cubicBezTo>
                  <a:pt x="40" y="7"/>
                  <a:pt x="40" y="7"/>
                  <a:pt x="40" y="7"/>
                </a:cubicBezTo>
                <a:cubicBezTo>
                  <a:pt x="40" y="5"/>
                  <a:pt x="40" y="5"/>
                  <a:pt x="40" y="5"/>
                </a:cubicBezTo>
                <a:cubicBezTo>
                  <a:pt x="42" y="4"/>
                  <a:pt x="42" y="4"/>
                  <a:pt x="42" y="4"/>
                </a:cubicBezTo>
                <a:cubicBezTo>
                  <a:pt x="42" y="3"/>
                  <a:pt x="42" y="3"/>
                  <a:pt x="42" y="3"/>
                </a:cubicBezTo>
                <a:cubicBezTo>
                  <a:pt x="40" y="2"/>
                  <a:pt x="40" y="2"/>
                  <a:pt x="40" y="2"/>
                </a:cubicBezTo>
                <a:cubicBezTo>
                  <a:pt x="41" y="0"/>
                  <a:pt x="41" y="0"/>
                  <a:pt x="41" y="0"/>
                </a:cubicBezTo>
                <a:close/>
                <a:moveTo>
                  <a:pt x="27" y="49"/>
                </a:moveTo>
                <a:cubicBezTo>
                  <a:pt x="26" y="48"/>
                  <a:pt x="26" y="48"/>
                  <a:pt x="26" y="48"/>
                </a:cubicBezTo>
                <a:cubicBezTo>
                  <a:pt x="26" y="49"/>
                  <a:pt x="26" y="49"/>
                  <a:pt x="26" y="49"/>
                </a:cubicBezTo>
                <a:cubicBezTo>
                  <a:pt x="26" y="50"/>
                  <a:pt x="26" y="50"/>
                  <a:pt x="26" y="50"/>
                </a:cubicBezTo>
                <a:cubicBezTo>
                  <a:pt x="26" y="51"/>
                  <a:pt x="26" y="51"/>
                  <a:pt x="26" y="51"/>
                </a:cubicBezTo>
                <a:cubicBezTo>
                  <a:pt x="27" y="51"/>
                  <a:pt x="27" y="51"/>
                  <a:pt x="27" y="51"/>
                </a:cubicBezTo>
                <a:cubicBezTo>
                  <a:pt x="29" y="51"/>
                  <a:pt x="29" y="51"/>
                  <a:pt x="29" y="51"/>
                </a:cubicBezTo>
                <a:cubicBezTo>
                  <a:pt x="30" y="51"/>
                  <a:pt x="30" y="51"/>
                  <a:pt x="30" y="51"/>
                </a:cubicBezTo>
                <a:cubicBezTo>
                  <a:pt x="31" y="51"/>
                  <a:pt x="31" y="51"/>
                  <a:pt x="31" y="51"/>
                </a:cubicBezTo>
                <a:cubicBezTo>
                  <a:pt x="32" y="51"/>
                  <a:pt x="32" y="51"/>
                  <a:pt x="32" y="51"/>
                </a:cubicBezTo>
                <a:cubicBezTo>
                  <a:pt x="33" y="52"/>
                  <a:pt x="33" y="52"/>
                  <a:pt x="33" y="52"/>
                </a:cubicBezTo>
                <a:cubicBezTo>
                  <a:pt x="33" y="53"/>
                  <a:pt x="33" y="53"/>
                  <a:pt x="33" y="53"/>
                </a:cubicBezTo>
                <a:cubicBezTo>
                  <a:pt x="35" y="53"/>
                  <a:pt x="35" y="53"/>
                  <a:pt x="35" y="53"/>
                </a:cubicBezTo>
                <a:cubicBezTo>
                  <a:pt x="36" y="52"/>
                  <a:pt x="36" y="52"/>
                  <a:pt x="36" y="52"/>
                </a:cubicBezTo>
                <a:cubicBezTo>
                  <a:pt x="38" y="52"/>
                  <a:pt x="38" y="52"/>
                  <a:pt x="38" y="52"/>
                </a:cubicBezTo>
                <a:cubicBezTo>
                  <a:pt x="40" y="52"/>
                  <a:pt x="40" y="52"/>
                  <a:pt x="40" y="52"/>
                </a:cubicBezTo>
                <a:cubicBezTo>
                  <a:pt x="42" y="52"/>
                  <a:pt x="42" y="52"/>
                  <a:pt x="42" y="52"/>
                </a:cubicBezTo>
                <a:cubicBezTo>
                  <a:pt x="43" y="52"/>
                  <a:pt x="43" y="52"/>
                  <a:pt x="43" y="52"/>
                </a:cubicBezTo>
                <a:cubicBezTo>
                  <a:pt x="43" y="51"/>
                  <a:pt x="43" y="51"/>
                  <a:pt x="43" y="51"/>
                </a:cubicBezTo>
                <a:cubicBezTo>
                  <a:pt x="43" y="50"/>
                  <a:pt x="43" y="50"/>
                  <a:pt x="43" y="50"/>
                </a:cubicBezTo>
                <a:cubicBezTo>
                  <a:pt x="43" y="49"/>
                  <a:pt x="43" y="49"/>
                  <a:pt x="43" y="49"/>
                </a:cubicBezTo>
                <a:cubicBezTo>
                  <a:pt x="42" y="50"/>
                  <a:pt x="42" y="50"/>
                  <a:pt x="42" y="50"/>
                </a:cubicBezTo>
                <a:cubicBezTo>
                  <a:pt x="42" y="51"/>
                  <a:pt x="42" y="51"/>
                  <a:pt x="42" y="51"/>
                </a:cubicBezTo>
                <a:cubicBezTo>
                  <a:pt x="42" y="51"/>
                  <a:pt x="42" y="51"/>
                  <a:pt x="42" y="51"/>
                </a:cubicBezTo>
                <a:cubicBezTo>
                  <a:pt x="41" y="51"/>
                  <a:pt x="41" y="51"/>
                  <a:pt x="41" y="51"/>
                </a:cubicBezTo>
                <a:cubicBezTo>
                  <a:pt x="40" y="51"/>
                  <a:pt x="40" y="51"/>
                  <a:pt x="40" y="51"/>
                </a:cubicBezTo>
                <a:cubicBezTo>
                  <a:pt x="40" y="51"/>
                  <a:pt x="40" y="51"/>
                  <a:pt x="40" y="51"/>
                </a:cubicBezTo>
                <a:cubicBezTo>
                  <a:pt x="40" y="50"/>
                  <a:pt x="40" y="50"/>
                  <a:pt x="40" y="50"/>
                </a:cubicBezTo>
                <a:cubicBezTo>
                  <a:pt x="39" y="49"/>
                  <a:pt x="39" y="49"/>
                  <a:pt x="39" y="49"/>
                </a:cubicBezTo>
                <a:cubicBezTo>
                  <a:pt x="39" y="49"/>
                  <a:pt x="39" y="49"/>
                  <a:pt x="39" y="49"/>
                </a:cubicBezTo>
                <a:cubicBezTo>
                  <a:pt x="37" y="49"/>
                  <a:pt x="37" y="49"/>
                  <a:pt x="37" y="49"/>
                </a:cubicBezTo>
                <a:cubicBezTo>
                  <a:pt x="36" y="49"/>
                  <a:pt x="36" y="49"/>
                  <a:pt x="36" y="49"/>
                </a:cubicBezTo>
                <a:cubicBezTo>
                  <a:pt x="34" y="49"/>
                  <a:pt x="34" y="49"/>
                  <a:pt x="34" y="49"/>
                </a:cubicBezTo>
                <a:cubicBezTo>
                  <a:pt x="33" y="50"/>
                  <a:pt x="33" y="50"/>
                  <a:pt x="33" y="50"/>
                </a:cubicBezTo>
                <a:cubicBezTo>
                  <a:pt x="31" y="50"/>
                  <a:pt x="31" y="50"/>
                  <a:pt x="31" y="50"/>
                </a:cubicBezTo>
                <a:cubicBezTo>
                  <a:pt x="31" y="49"/>
                  <a:pt x="31" y="49"/>
                  <a:pt x="31" y="49"/>
                </a:cubicBezTo>
                <a:cubicBezTo>
                  <a:pt x="30" y="49"/>
                  <a:pt x="30" y="49"/>
                  <a:pt x="30" y="49"/>
                </a:cubicBezTo>
                <a:cubicBezTo>
                  <a:pt x="29" y="49"/>
                  <a:pt x="29" y="49"/>
                  <a:pt x="29" y="49"/>
                </a:cubicBezTo>
                <a:cubicBezTo>
                  <a:pt x="30" y="49"/>
                  <a:pt x="30" y="49"/>
                  <a:pt x="30" y="49"/>
                </a:cubicBezTo>
                <a:cubicBezTo>
                  <a:pt x="29" y="48"/>
                  <a:pt x="29" y="48"/>
                  <a:pt x="29" y="48"/>
                </a:cubicBezTo>
                <a:cubicBezTo>
                  <a:pt x="28" y="48"/>
                  <a:pt x="28" y="48"/>
                  <a:pt x="28" y="48"/>
                </a:cubicBezTo>
                <a:cubicBezTo>
                  <a:pt x="29" y="48"/>
                  <a:pt x="29" y="48"/>
                  <a:pt x="29" y="48"/>
                </a:cubicBezTo>
                <a:cubicBezTo>
                  <a:pt x="29" y="48"/>
                  <a:pt x="29" y="48"/>
                  <a:pt x="29" y="48"/>
                </a:cubicBezTo>
                <a:cubicBezTo>
                  <a:pt x="29" y="49"/>
                  <a:pt x="29" y="49"/>
                  <a:pt x="29" y="49"/>
                </a:cubicBezTo>
                <a:cubicBezTo>
                  <a:pt x="28" y="49"/>
                  <a:pt x="28" y="49"/>
                  <a:pt x="28" y="49"/>
                </a:cubicBezTo>
                <a:cubicBezTo>
                  <a:pt x="27" y="48"/>
                  <a:pt x="27" y="48"/>
                  <a:pt x="27" y="48"/>
                </a:cubicBezTo>
                <a:cubicBezTo>
                  <a:pt x="27" y="48"/>
                  <a:pt x="27" y="48"/>
                  <a:pt x="27" y="48"/>
                </a:cubicBezTo>
                <a:cubicBezTo>
                  <a:pt x="27" y="48"/>
                  <a:pt x="27" y="48"/>
                  <a:pt x="27" y="48"/>
                </a:cubicBezTo>
                <a:cubicBezTo>
                  <a:pt x="27" y="49"/>
                  <a:pt x="27" y="49"/>
                  <a:pt x="27" y="49"/>
                </a:cubicBezTo>
                <a:cubicBezTo>
                  <a:pt x="27" y="49"/>
                  <a:pt x="27" y="49"/>
                  <a:pt x="27" y="49"/>
                </a:cubicBezTo>
                <a:close/>
                <a:moveTo>
                  <a:pt x="2" y="17"/>
                </a:moveTo>
                <a:cubicBezTo>
                  <a:pt x="2" y="19"/>
                  <a:pt x="2" y="19"/>
                  <a:pt x="2" y="19"/>
                </a:cubicBezTo>
                <a:cubicBezTo>
                  <a:pt x="2" y="19"/>
                  <a:pt x="2" y="19"/>
                  <a:pt x="2" y="19"/>
                </a:cubicBezTo>
                <a:cubicBezTo>
                  <a:pt x="3" y="20"/>
                  <a:pt x="3" y="20"/>
                  <a:pt x="3" y="20"/>
                </a:cubicBezTo>
                <a:cubicBezTo>
                  <a:pt x="3" y="20"/>
                  <a:pt x="3" y="20"/>
                  <a:pt x="3" y="20"/>
                </a:cubicBezTo>
                <a:cubicBezTo>
                  <a:pt x="3" y="20"/>
                  <a:pt x="3" y="20"/>
                  <a:pt x="3" y="20"/>
                </a:cubicBezTo>
                <a:cubicBezTo>
                  <a:pt x="2" y="20"/>
                  <a:pt x="2" y="20"/>
                  <a:pt x="2" y="20"/>
                </a:cubicBezTo>
                <a:cubicBezTo>
                  <a:pt x="1" y="19"/>
                  <a:pt x="1" y="19"/>
                  <a:pt x="1" y="19"/>
                </a:cubicBezTo>
                <a:cubicBezTo>
                  <a:pt x="1" y="18"/>
                  <a:pt x="1" y="18"/>
                  <a:pt x="1" y="18"/>
                </a:cubicBezTo>
                <a:cubicBezTo>
                  <a:pt x="0" y="18"/>
                  <a:pt x="0" y="18"/>
                  <a:pt x="0" y="18"/>
                </a:cubicBezTo>
                <a:cubicBezTo>
                  <a:pt x="0" y="18"/>
                  <a:pt x="0" y="18"/>
                  <a:pt x="0" y="18"/>
                </a:cubicBezTo>
                <a:cubicBezTo>
                  <a:pt x="1" y="17"/>
                  <a:pt x="1" y="17"/>
                  <a:pt x="1" y="17"/>
                </a:cubicBezTo>
                <a:cubicBezTo>
                  <a:pt x="2" y="17"/>
                  <a:pt x="2" y="17"/>
                  <a:pt x="2" y="17"/>
                </a:cubicBezTo>
                <a:close/>
                <a:moveTo>
                  <a:pt x="6" y="26"/>
                </a:moveTo>
                <a:cubicBezTo>
                  <a:pt x="6" y="26"/>
                  <a:pt x="6" y="26"/>
                  <a:pt x="6" y="26"/>
                </a:cubicBezTo>
                <a:cubicBezTo>
                  <a:pt x="7" y="25"/>
                  <a:pt x="7" y="25"/>
                  <a:pt x="7" y="25"/>
                </a:cubicBezTo>
                <a:cubicBezTo>
                  <a:pt x="7" y="25"/>
                  <a:pt x="7" y="25"/>
                  <a:pt x="7" y="25"/>
                </a:cubicBezTo>
                <a:cubicBezTo>
                  <a:pt x="8" y="26"/>
                  <a:pt x="8" y="26"/>
                  <a:pt x="8" y="26"/>
                </a:cubicBezTo>
                <a:cubicBezTo>
                  <a:pt x="7" y="26"/>
                  <a:pt x="7" y="26"/>
                  <a:pt x="7" y="26"/>
                </a:cubicBezTo>
                <a:cubicBezTo>
                  <a:pt x="7" y="27"/>
                  <a:pt x="7" y="27"/>
                  <a:pt x="7" y="27"/>
                </a:cubicBezTo>
                <a:cubicBezTo>
                  <a:pt x="6" y="26"/>
                  <a:pt x="6" y="26"/>
                  <a:pt x="6" y="26"/>
                </a:cubicBezTo>
                <a:close/>
                <a:moveTo>
                  <a:pt x="7" y="28"/>
                </a:moveTo>
                <a:cubicBezTo>
                  <a:pt x="7" y="27"/>
                  <a:pt x="7" y="27"/>
                  <a:pt x="7" y="27"/>
                </a:cubicBezTo>
                <a:cubicBezTo>
                  <a:pt x="7" y="27"/>
                  <a:pt x="7" y="27"/>
                  <a:pt x="7" y="27"/>
                </a:cubicBezTo>
                <a:cubicBezTo>
                  <a:pt x="8" y="28"/>
                  <a:pt x="8" y="28"/>
                  <a:pt x="8" y="28"/>
                </a:cubicBezTo>
                <a:cubicBezTo>
                  <a:pt x="7" y="29"/>
                  <a:pt x="7" y="29"/>
                  <a:pt x="7" y="29"/>
                </a:cubicBezTo>
                <a:cubicBezTo>
                  <a:pt x="8" y="29"/>
                  <a:pt x="8" y="29"/>
                  <a:pt x="8" y="29"/>
                </a:cubicBezTo>
                <a:cubicBezTo>
                  <a:pt x="8" y="30"/>
                  <a:pt x="8" y="30"/>
                  <a:pt x="8" y="30"/>
                </a:cubicBezTo>
                <a:cubicBezTo>
                  <a:pt x="8" y="30"/>
                  <a:pt x="8" y="30"/>
                  <a:pt x="8" y="30"/>
                </a:cubicBezTo>
                <a:cubicBezTo>
                  <a:pt x="8" y="31"/>
                  <a:pt x="8" y="31"/>
                  <a:pt x="8" y="31"/>
                </a:cubicBezTo>
                <a:cubicBezTo>
                  <a:pt x="7" y="31"/>
                  <a:pt x="7" y="31"/>
                  <a:pt x="7" y="31"/>
                </a:cubicBezTo>
                <a:cubicBezTo>
                  <a:pt x="6" y="30"/>
                  <a:pt x="6" y="30"/>
                  <a:pt x="6" y="30"/>
                </a:cubicBezTo>
                <a:cubicBezTo>
                  <a:pt x="6" y="30"/>
                  <a:pt x="6" y="30"/>
                  <a:pt x="6" y="30"/>
                </a:cubicBezTo>
                <a:cubicBezTo>
                  <a:pt x="6" y="29"/>
                  <a:pt x="6" y="29"/>
                  <a:pt x="6" y="29"/>
                </a:cubicBezTo>
                <a:cubicBezTo>
                  <a:pt x="6" y="30"/>
                  <a:pt x="6" y="30"/>
                  <a:pt x="6" y="30"/>
                </a:cubicBezTo>
                <a:cubicBezTo>
                  <a:pt x="6" y="30"/>
                  <a:pt x="6" y="30"/>
                  <a:pt x="6" y="30"/>
                </a:cubicBezTo>
                <a:cubicBezTo>
                  <a:pt x="5" y="30"/>
                  <a:pt x="5" y="30"/>
                  <a:pt x="5" y="30"/>
                </a:cubicBezTo>
                <a:cubicBezTo>
                  <a:pt x="5" y="29"/>
                  <a:pt x="5" y="29"/>
                  <a:pt x="5" y="29"/>
                </a:cubicBezTo>
                <a:cubicBezTo>
                  <a:pt x="6" y="28"/>
                  <a:pt x="6" y="28"/>
                  <a:pt x="6" y="28"/>
                </a:cubicBezTo>
                <a:cubicBezTo>
                  <a:pt x="7" y="28"/>
                  <a:pt x="7" y="28"/>
                  <a:pt x="7" y="28"/>
                </a:cubicBezTo>
                <a:close/>
                <a:moveTo>
                  <a:pt x="9" y="33"/>
                </a:moveTo>
                <a:cubicBezTo>
                  <a:pt x="9" y="33"/>
                  <a:pt x="9" y="33"/>
                  <a:pt x="9" y="33"/>
                </a:cubicBezTo>
                <a:cubicBezTo>
                  <a:pt x="9" y="33"/>
                  <a:pt x="9" y="33"/>
                  <a:pt x="9" y="33"/>
                </a:cubicBezTo>
                <a:cubicBezTo>
                  <a:pt x="8" y="34"/>
                  <a:pt x="8" y="34"/>
                  <a:pt x="8" y="34"/>
                </a:cubicBezTo>
                <a:cubicBezTo>
                  <a:pt x="8" y="34"/>
                  <a:pt x="8" y="34"/>
                  <a:pt x="8" y="34"/>
                </a:cubicBezTo>
                <a:cubicBezTo>
                  <a:pt x="7" y="33"/>
                  <a:pt x="7" y="33"/>
                  <a:pt x="7" y="33"/>
                </a:cubicBezTo>
                <a:cubicBezTo>
                  <a:pt x="7" y="32"/>
                  <a:pt x="7" y="32"/>
                  <a:pt x="7" y="32"/>
                </a:cubicBezTo>
                <a:cubicBezTo>
                  <a:pt x="7" y="32"/>
                  <a:pt x="7" y="32"/>
                  <a:pt x="7" y="32"/>
                </a:cubicBezTo>
                <a:cubicBezTo>
                  <a:pt x="8" y="32"/>
                  <a:pt x="8" y="32"/>
                  <a:pt x="8" y="32"/>
                </a:cubicBezTo>
                <a:cubicBezTo>
                  <a:pt x="9" y="33"/>
                  <a:pt x="9" y="33"/>
                  <a:pt x="9" y="33"/>
                </a:cubicBezTo>
                <a:close/>
                <a:moveTo>
                  <a:pt x="48" y="47"/>
                </a:moveTo>
                <a:cubicBezTo>
                  <a:pt x="48" y="46"/>
                  <a:pt x="48" y="46"/>
                  <a:pt x="48" y="46"/>
                </a:cubicBezTo>
                <a:cubicBezTo>
                  <a:pt x="48" y="46"/>
                  <a:pt x="48" y="46"/>
                  <a:pt x="48" y="46"/>
                </a:cubicBezTo>
                <a:cubicBezTo>
                  <a:pt x="48" y="46"/>
                  <a:pt x="48" y="46"/>
                  <a:pt x="48" y="46"/>
                </a:cubicBezTo>
                <a:cubicBezTo>
                  <a:pt x="48" y="47"/>
                  <a:pt x="48" y="47"/>
                  <a:pt x="48" y="47"/>
                </a:cubicBezTo>
                <a:close/>
                <a:moveTo>
                  <a:pt x="48" y="50"/>
                </a:moveTo>
                <a:cubicBezTo>
                  <a:pt x="47" y="49"/>
                  <a:pt x="47" y="49"/>
                  <a:pt x="47" y="49"/>
                </a:cubicBezTo>
                <a:cubicBezTo>
                  <a:pt x="47" y="48"/>
                  <a:pt x="47" y="48"/>
                  <a:pt x="47" y="48"/>
                </a:cubicBezTo>
                <a:cubicBezTo>
                  <a:pt x="48" y="47"/>
                  <a:pt x="48" y="47"/>
                  <a:pt x="48" y="47"/>
                </a:cubicBezTo>
                <a:cubicBezTo>
                  <a:pt x="48" y="48"/>
                  <a:pt x="48" y="48"/>
                  <a:pt x="48" y="48"/>
                </a:cubicBezTo>
                <a:cubicBezTo>
                  <a:pt x="48" y="48"/>
                  <a:pt x="48" y="48"/>
                  <a:pt x="48" y="48"/>
                </a:cubicBezTo>
                <a:cubicBezTo>
                  <a:pt x="48" y="50"/>
                  <a:pt x="48" y="50"/>
                  <a:pt x="48" y="50"/>
                </a:cubicBezTo>
                <a:cubicBezTo>
                  <a:pt x="48" y="50"/>
                  <a:pt x="48" y="50"/>
                  <a:pt x="48" y="50"/>
                </a:cubicBezTo>
                <a:close/>
                <a:moveTo>
                  <a:pt x="51" y="46"/>
                </a:moveTo>
                <a:cubicBezTo>
                  <a:pt x="50" y="46"/>
                  <a:pt x="50" y="46"/>
                  <a:pt x="50" y="46"/>
                </a:cubicBezTo>
                <a:cubicBezTo>
                  <a:pt x="51" y="45"/>
                  <a:pt x="51" y="45"/>
                  <a:pt x="51" y="45"/>
                </a:cubicBezTo>
                <a:cubicBezTo>
                  <a:pt x="51" y="45"/>
                  <a:pt x="51" y="45"/>
                  <a:pt x="51" y="45"/>
                </a:cubicBezTo>
                <a:cubicBezTo>
                  <a:pt x="51" y="44"/>
                  <a:pt x="51" y="44"/>
                  <a:pt x="51" y="44"/>
                </a:cubicBezTo>
                <a:cubicBezTo>
                  <a:pt x="52" y="43"/>
                  <a:pt x="52" y="43"/>
                  <a:pt x="52" y="43"/>
                </a:cubicBezTo>
                <a:cubicBezTo>
                  <a:pt x="53" y="42"/>
                  <a:pt x="53" y="42"/>
                  <a:pt x="53" y="42"/>
                </a:cubicBezTo>
                <a:cubicBezTo>
                  <a:pt x="54" y="42"/>
                  <a:pt x="54" y="42"/>
                  <a:pt x="54" y="42"/>
                </a:cubicBezTo>
                <a:cubicBezTo>
                  <a:pt x="54" y="43"/>
                  <a:pt x="54" y="43"/>
                  <a:pt x="54" y="43"/>
                </a:cubicBezTo>
                <a:cubicBezTo>
                  <a:pt x="54" y="43"/>
                  <a:pt x="54" y="43"/>
                  <a:pt x="54" y="43"/>
                </a:cubicBezTo>
                <a:cubicBezTo>
                  <a:pt x="54" y="44"/>
                  <a:pt x="54" y="44"/>
                  <a:pt x="54" y="44"/>
                </a:cubicBezTo>
                <a:cubicBezTo>
                  <a:pt x="53" y="44"/>
                  <a:pt x="53" y="44"/>
                  <a:pt x="53" y="44"/>
                </a:cubicBezTo>
                <a:cubicBezTo>
                  <a:pt x="53" y="45"/>
                  <a:pt x="53" y="45"/>
                  <a:pt x="53" y="45"/>
                </a:cubicBezTo>
                <a:cubicBezTo>
                  <a:pt x="53" y="45"/>
                  <a:pt x="53" y="45"/>
                  <a:pt x="53" y="45"/>
                </a:cubicBezTo>
                <a:cubicBezTo>
                  <a:pt x="52" y="45"/>
                  <a:pt x="52" y="45"/>
                  <a:pt x="52" y="45"/>
                </a:cubicBezTo>
                <a:cubicBezTo>
                  <a:pt x="51" y="46"/>
                  <a:pt x="51" y="46"/>
                  <a:pt x="51" y="46"/>
                </a:cubicBezTo>
                <a:cubicBezTo>
                  <a:pt x="51" y="46"/>
                  <a:pt x="51" y="46"/>
                  <a:pt x="51" y="46"/>
                </a:cubicBezTo>
                <a:close/>
                <a:moveTo>
                  <a:pt x="42" y="42"/>
                </a:moveTo>
                <a:cubicBezTo>
                  <a:pt x="42" y="42"/>
                  <a:pt x="42" y="42"/>
                  <a:pt x="42" y="42"/>
                </a:cubicBezTo>
                <a:cubicBezTo>
                  <a:pt x="42" y="41"/>
                  <a:pt x="42" y="41"/>
                  <a:pt x="42" y="41"/>
                </a:cubicBezTo>
                <a:cubicBezTo>
                  <a:pt x="43" y="41"/>
                  <a:pt x="43" y="41"/>
                  <a:pt x="43" y="41"/>
                </a:cubicBezTo>
                <a:cubicBezTo>
                  <a:pt x="44" y="41"/>
                  <a:pt x="44" y="41"/>
                  <a:pt x="44" y="41"/>
                </a:cubicBezTo>
                <a:cubicBezTo>
                  <a:pt x="43" y="42"/>
                  <a:pt x="43" y="42"/>
                  <a:pt x="43" y="42"/>
                </a:cubicBezTo>
                <a:cubicBezTo>
                  <a:pt x="43" y="42"/>
                  <a:pt x="42" y="42"/>
                  <a:pt x="42" y="42"/>
                </a:cubicBezTo>
                <a:close/>
                <a:moveTo>
                  <a:pt x="42" y="33"/>
                </a:moveTo>
                <a:cubicBezTo>
                  <a:pt x="43" y="32"/>
                  <a:pt x="43" y="32"/>
                  <a:pt x="43" y="32"/>
                </a:cubicBezTo>
                <a:cubicBezTo>
                  <a:pt x="44" y="32"/>
                  <a:pt x="44" y="32"/>
                  <a:pt x="44" y="32"/>
                </a:cubicBezTo>
                <a:cubicBezTo>
                  <a:pt x="45" y="33"/>
                  <a:pt x="45" y="33"/>
                  <a:pt x="45" y="33"/>
                </a:cubicBezTo>
                <a:cubicBezTo>
                  <a:pt x="45" y="33"/>
                  <a:pt x="45" y="33"/>
                  <a:pt x="45" y="33"/>
                </a:cubicBezTo>
                <a:cubicBezTo>
                  <a:pt x="45" y="33"/>
                  <a:pt x="45" y="33"/>
                  <a:pt x="45" y="33"/>
                </a:cubicBezTo>
                <a:cubicBezTo>
                  <a:pt x="46" y="33"/>
                  <a:pt x="46" y="33"/>
                  <a:pt x="46" y="33"/>
                </a:cubicBezTo>
                <a:cubicBezTo>
                  <a:pt x="45" y="34"/>
                  <a:pt x="45" y="34"/>
                  <a:pt x="45" y="34"/>
                </a:cubicBezTo>
                <a:cubicBezTo>
                  <a:pt x="45" y="34"/>
                  <a:pt x="45" y="34"/>
                  <a:pt x="45" y="34"/>
                </a:cubicBezTo>
                <a:cubicBezTo>
                  <a:pt x="44" y="34"/>
                  <a:pt x="44" y="34"/>
                  <a:pt x="44" y="34"/>
                </a:cubicBezTo>
                <a:cubicBezTo>
                  <a:pt x="43" y="33"/>
                  <a:pt x="43" y="33"/>
                  <a:pt x="43" y="33"/>
                </a:cubicBezTo>
                <a:cubicBezTo>
                  <a:pt x="43" y="33"/>
                  <a:pt x="43" y="33"/>
                  <a:pt x="43" y="33"/>
                </a:cubicBezTo>
                <a:cubicBezTo>
                  <a:pt x="42" y="34"/>
                  <a:pt x="42" y="34"/>
                  <a:pt x="42" y="34"/>
                </a:cubicBezTo>
                <a:cubicBezTo>
                  <a:pt x="42" y="33"/>
                  <a:pt x="42" y="33"/>
                  <a:pt x="42" y="33"/>
                </a:cubicBezTo>
                <a:close/>
                <a:moveTo>
                  <a:pt x="40" y="26"/>
                </a:moveTo>
                <a:cubicBezTo>
                  <a:pt x="40" y="28"/>
                  <a:pt x="40" y="28"/>
                  <a:pt x="40" y="28"/>
                </a:cubicBezTo>
                <a:cubicBezTo>
                  <a:pt x="40" y="29"/>
                  <a:pt x="40" y="29"/>
                  <a:pt x="40" y="29"/>
                </a:cubicBezTo>
                <a:cubicBezTo>
                  <a:pt x="39" y="29"/>
                  <a:pt x="39" y="29"/>
                  <a:pt x="39" y="29"/>
                </a:cubicBezTo>
                <a:cubicBezTo>
                  <a:pt x="39" y="29"/>
                  <a:pt x="39" y="29"/>
                  <a:pt x="39" y="29"/>
                </a:cubicBezTo>
                <a:cubicBezTo>
                  <a:pt x="39" y="28"/>
                  <a:pt x="39" y="28"/>
                  <a:pt x="39" y="28"/>
                </a:cubicBezTo>
                <a:cubicBezTo>
                  <a:pt x="39" y="28"/>
                  <a:pt x="39" y="28"/>
                  <a:pt x="39" y="28"/>
                </a:cubicBezTo>
                <a:cubicBezTo>
                  <a:pt x="39" y="27"/>
                  <a:pt x="39" y="27"/>
                  <a:pt x="39" y="27"/>
                </a:cubicBezTo>
                <a:cubicBezTo>
                  <a:pt x="38" y="27"/>
                  <a:pt x="38" y="27"/>
                  <a:pt x="38" y="27"/>
                </a:cubicBezTo>
                <a:cubicBezTo>
                  <a:pt x="38" y="26"/>
                  <a:pt x="38" y="26"/>
                  <a:pt x="38" y="26"/>
                </a:cubicBezTo>
                <a:cubicBezTo>
                  <a:pt x="39" y="26"/>
                  <a:pt x="39" y="26"/>
                  <a:pt x="39" y="26"/>
                </a:cubicBezTo>
                <a:cubicBezTo>
                  <a:pt x="40" y="26"/>
                  <a:pt x="40" y="26"/>
                  <a:pt x="40" y="26"/>
                </a:cubicBezTo>
                <a:cubicBezTo>
                  <a:pt x="40" y="26"/>
                  <a:pt x="40" y="26"/>
                  <a:pt x="40" y="26"/>
                </a:cubicBezTo>
                <a:close/>
                <a:moveTo>
                  <a:pt x="39" y="23"/>
                </a:moveTo>
                <a:cubicBezTo>
                  <a:pt x="38" y="22"/>
                  <a:pt x="38" y="22"/>
                  <a:pt x="38" y="22"/>
                </a:cubicBezTo>
                <a:cubicBezTo>
                  <a:pt x="38" y="21"/>
                  <a:pt x="38" y="21"/>
                  <a:pt x="38" y="21"/>
                </a:cubicBezTo>
                <a:cubicBezTo>
                  <a:pt x="40" y="21"/>
                  <a:pt x="40" y="21"/>
                  <a:pt x="40" y="21"/>
                </a:cubicBezTo>
                <a:cubicBezTo>
                  <a:pt x="40" y="20"/>
                  <a:pt x="40" y="20"/>
                  <a:pt x="40" y="20"/>
                </a:cubicBezTo>
                <a:cubicBezTo>
                  <a:pt x="42" y="20"/>
                  <a:pt x="42" y="20"/>
                  <a:pt x="42" y="20"/>
                </a:cubicBezTo>
                <a:cubicBezTo>
                  <a:pt x="42" y="20"/>
                  <a:pt x="42" y="20"/>
                  <a:pt x="42" y="20"/>
                </a:cubicBezTo>
                <a:cubicBezTo>
                  <a:pt x="42" y="21"/>
                  <a:pt x="42" y="21"/>
                  <a:pt x="42" y="21"/>
                </a:cubicBezTo>
                <a:cubicBezTo>
                  <a:pt x="42" y="21"/>
                  <a:pt x="42" y="21"/>
                  <a:pt x="42" y="21"/>
                </a:cubicBezTo>
                <a:cubicBezTo>
                  <a:pt x="42" y="22"/>
                  <a:pt x="42" y="22"/>
                  <a:pt x="42" y="22"/>
                </a:cubicBezTo>
                <a:cubicBezTo>
                  <a:pt x="42" y="23"/>
                  <a:pt x="42" y="23"/>
                  <a:pt x="42" y="23"/>
                </a:cubicBezTo>
                <a:cubicBezTo>
                  <a:pt x="41" y="23"/>
                  <a:pt x="41" y="23"/>
                  <a:pt x="41" y="23"/>
                </a:cubicBezTo>
                <a:cubicBezTo>
                  <a:pt x="40" y="23"/>
                  <a:pt x="40" y="23"/>
                  <a:pt x="40" y="23"/>
                </a:cubicBezTo>
                <a:cubicBezTo>
                  <a:pt x="40" y="22"/>
                  <a:pt x="40" y="22"/>
                  <a:pt x="40" y="22"/>
                </a:cubicBezTo>
                <a:cubicBezTo>
                  <a:pt x="41" y="22"/>
                  <a:pt x="41" y="22"/>
                  <a:pt x="41" y="22"/>
                </a:cubicBezTo>
                <a:cubicBezTo>
                  <a:pt x="41" y="21"/>
                  <a:pt x="41" y="21"/>
                  <a:pt x="41" y="21"/>
                </a:cubicBezTo>
                <a:cubicBezTo>
                  <a:pt x="40" y="21"/>
                  <a:pt x="40" y="21"/>
                  <a:pt x="40" y="21"/>
                </a:cubicBezTo>
                <a:cubicBezTo>
                  <a:pt x="40" y="22"/>
                  <a:pt x="40" y="22"/>
                  <a:pt x="40" y="22"/>
                </a:cubicBezTo>
                <a:cubicBezTo>
                  <a:pt x="39" y="23"/>
                  <a:pt x="39" y="23"/>
                  <a:pt x="39" y="23"/>
                </a:cubicBezTo>
                <a:cubicBezTo>
                  <a:pt x="39" y="23"/>
                  <a:pt x="39" y="23"/>
                  <a:pt x="39" y="23"/>
                </a:cubicBezTo>
                <a:cubicBezTo>
                  <a:pt x="39" y="23"/>
                  <a:pt x="39" y="23"/>
                  <a:pt x="39" y="23"/>
                </a:cubicBezTo>
                <a:close/>
                <a:moveTo>
                  <a:pt x="35" y="11"/>
                </a:moveTo>
                <a:cubicBezTo>
                  <a:pt x="36" y="11"/>
                  <a:pt x="36" y="11"/>
                  <a:pt x="36" y="11"/>
                </a:cubicBezTo>
                <a:cubicBezTo>
                  <a:pt x="36" y="11"/>
                  <a:pt x="36" y="11"/>
                  <a:pt x="36" y="11"/>
                </a:cubicBezTo>
                <a:cubicBezTo>
                  <a:pt x="37" y="11"/>
                  <a:pt x="37" y="11"/>
                  <a:pt x="37" y="11"/>
                </a:cubicBezTo>
                <a:cubicBezTo>
                  <a:pt x="37" y="12"/>
                  <a:pt x="37" y="12"/>
                  <a:pt x="37" y="12"/>
                </a:cubicBezTo>
                <a:cubicBezTo>
                  <a:pt x="37" y="12"/>
                  <a:pt x="37" y="12"/>
                  <a:pt x="37" y="12"/>
                </a:cubicBezTo>
                <a:cubicBezTo>
                  <a:pt x="35" y="11"/>
                  <a:pt x="35" y="11"/>
                  <a:pt x="35" y="11"/>
                </a:cubicBezTo>
                <a:close/>
                <a:moveTo>
                  <a:pt x="33" y="15"/>
                </a:moveTo>
                <a:cubicBezTo>
                  <a:pt x="34" y="15"/>
                  <a:pt x="34" y="15"/>
                  <a:pt x="34" y="15"/>
                </a:cubicBezTo>
                <a:cubicBezTo>
                  <a:pt x="34" y="15"/>
                  <a:pt x="34" y="15"/>
                  <a:pt x="34" y="15"/>
                </a:cubicBezTo>
                <a:cubicBezTo>
                  <a:pt x="35" y="14"/>
                  <a:pt x="35" y="14"/>
                  <a:pt x="35" y="14"/>
                </a:cubicBezTo>
                <a:cubicBezTo>
                  <a:pt x="35" y="15"/>
                  <a:pt x="35" y="15"/>
                  <a:pt x="35" y="15"/>
                </a:cubicBezTo>
                <a:cubicBezTo>
                  <a:pt x="35" y="16"/>
                  <a:pt x="35" y="16"/>
                  <a:pt x="35" y="16"/>
                </a:cubicBezTo>
                <a:cubicBezTo>
                  <a:pt x="34" y="17"/>
                  <a:pt x="34" y="17"/>
                  <a:pt x="34" y="17"/>
                </a:cubicBezTo>
                <a:cubicBezTo>
                  <a:pt x="34" y="16"/>
                  <a:pt x="34" y="16"/>
                  <a:pt x="34" y="16"/>
                </a:cubicBezTo>
                <a:cubicBezTo>
                  <a:pt x="33" y="17"/>
                  <a:pt x="33" y="17"/>
                  <a:pt x="33" y="17"/>
                </a:cubicBezTo>
                <a:cubicBezTo>
                  <a:pt x="33" y="16"/>
                  <a:pt x="33" y="16"/>
                  <a:pt x="33" y="16"/>
                </a:cubicBezTo>
                <a:cubicBezTo>
                  <a:pt x="32" y="15"/>
                  <a:pt x="32" y="15"/>
                  <a:pt x="32" y="15"/>
                </a:cubicBezTo>
                <a:cubicBezTo>
                  <a:pt x="33" y="15"/>
                  <a:pt x="33" y="15"/>
                  <a:pt x="33" y="15"/>
                </a:cubicBezTo>
                <a:close/>
                <a:moveTo>
                  <a:pt x="30" y="9"/>
                </a:moveTo>
                <a:cubicBezTo>
                  <a:pt x="30" y="9"/>
                  <a:pt x="30" y="9"/>
                  <a:pt x="30" y="9"/>
                </a:cubicBezTo>
                <a:cubicBezTo>
                  <a:pt x="31" y="9"/>
                  <a:pt x="31" y="9"/>
                  <a:pt x="31" y="9"/>
                </a:cubicBezTo>
                <a:cubicBezTo>
                  <a:pt x="31" y="10"/>
                  <a:pt x="31" y="10"/>
                  <a:pt x="31" y="10"/>
                </a:cubicBezTo>
                <a:cubicBezTo>
                  <a:pt x="30" y="11"/>
                  <a:pt x="30" y="11"/>
                  <a:pt x="30" y="11"/>
                </a:cubicBezTo>
                <a:cubicBezTo>
                  <a:pt x="30" y="10"/>
                  <a:pt x="30" y="10"/>
                  <a:pt x="30" y="10"/>
                </a:cubicBezTo>
                <a:cubicBezTo>
                  <a:pt x="29" y="10"/>
                  <a:pt x="29" y="10"/>
                  <a:pt x="29" y="10"/>
                </a:cubicBezTo>
                <a:cubicBezTo>
                  <a:pt x="30" y="9"/>
                  <a:pt x="30" y="9"/>
                  <a:pt x="30" y="9"/>
                </a:cubicBezTo>
                <a:close/>
                <a:moveTo>
                  <a:pt x="24" y="22"/>
                </a:moveTo>
                <a:cubicBezTo>
                  <a:pt x="24" y="22"/>
                  <a:pt x="24" y="22"/>
                  <a:pt x="24" y="22"/>
                </a:cubicBezTo>
                <a:cubicBezTo>
                  <a:pt x="25" y="22"/>
                  <a:pt x="25" y="22"/>
                  <a:pt x="25" y="22"/>
                </a:cubicBezTo>
                <a:cubicBezTo>
                  <a:pt x="25" y="23"/>
                  <a:pt x="25" y="23"/>
                  <a:pt x="25" y="23"/>
                </a:cubicBezTo>
                <a:cubicBezTo>
                  <a:pt x="25" y="23"/>
                  <a:pt x="25" y="23"/>
                  <a:pt x="25" y="23"/>
                </a:cubicBezTo>
                <a:cubicBezTo>
                  <a:pt x="24" y="22"/>
                  <a:pt x="24" y="22"/>
                  <a:pt x="24" y="22"/>
                </a:cubicBezTo>
                <a:close/>
                <a:moveTo>
                  <a:pt x="23" y="22"/>
                </a:moveTo>
                <a:cubicBezTo>
                  <a:pt x="23" y="22"/>
                  <a:pt x="23" y="22"/>
                  <a:pt x="23" y="22"/>
                </a:cubicBezTo>
                <a:cubicBezTo>
                  <a:pt x="24" y="22"/>
                  <a:pt x="24" y="22"/>
                  <a:pt x="24" y="22"/>
                </a:cubicBezTo>
                <a:cubicBezTo>
                  <a:pt x="23" y="22"/>
                  <a:pt x="23" y="22"/>
                  <a:pt x="23" y="22"/>
                </a:cubicBezTo>
                <a:cubicBezTo>
                  <a:pt x="23" y="22"/>
                  <a:pt x="23" y="22"/>
                  <a:pt x="23" y="22"/>
                </a:cubicBezTo>
                <a:close/>
                <a:moveTo>
                  <a:pt x="30" y="23"/>
                </a:moveTo>
                <a:cubicBezTo>
                  <a:pt x="30" y="23"/>
                  <a:pt x="30" y="23"/>
                  <a:pt x="30" y="23"/>
                </a:cubicBezTo>
                <a:cubicBezTo>
                  <a:pt x="31" y="24"/>
                  <a:pt x="31" y="24"/>
                  <a:pt x="31" y="24"/>
                </a:cubicBezTo>
                <a:cubicBezTo>
                  <a:pt x="32" y="24"/>
                  <a:pt x="32" y="24"/>
                  <a:pt x="32" y="24"/>
                </a:cubicBezTo>
                <a:cubicBezTo>
                  <a:pt x="32" y="25"/>
                  <a:pt x="32" y="25"/>
                  <a:pt x="32" y="25"/>
                </a:cubicBezTo>
                <a:cubicBezTo>
                  <a:pt x="31" y="25"/>
                  <a:pt x="31" y="25"/>
                  <a:pt x="31" y="25"/>
                </a:cubicBezTo>
                <a:cubicBezTo>
                  <a:pt x="31" y="24"/>
                  <a:pt x="31" y="24"/>
                  <a:pt x="31" y="24"/>
                </a:cubicBezTo>
                <a:cubicBezTo>
                  <a:pt x="31" y="24"/>
                  <a:pt x="31" y="24"/>
                  <a:pt x="31" y="24"/>
                </a:cubicBezTo>
                <a:cubicBezTo>
                  <a:pt x="30" y="23"/>
                  <a:pt x="30" y="23"/>
                  <a:pt x="30" y="23"/>
                </a:cubicBezTo>
                <a:close/>
                <a:moveTo>
                  <a:pt x="40" y="35"/>
                </a:moveTo>
                <a:cubicBezTo>
                  <a:pt x="40" y="35"/>
                  <a:pt x="40" y="35"/>
                  <a:pt x="40" y="35"/>
                </a:cubicBezTo>
                <a:cubicBezTo>
                  <a:pt x="40" y="34"/>
                  <a:pt x="40" y="34"/>
                  <a:pt x="40" y="34"/>
                </a:cubicBezTo>
                <a:cubicBezTo>
                  <a:pt x="41" y="34"/>
                  <a:pt x="41" y="34"/>
                  <a:pt x="41" y="34"/>
                </a:cubicBezTo>
                <a:cubicBezTo>
                  <a:pt x="41" y="34"/>
                  <a:pt x="41" y="34"/>
                  <a:pt x="41" y="34"/>
                </a:cubicBezTo>
                <a:cubicBezTo>
                  <a:pt x="40" y="35"/>
                  <a:pt x="40" y="35"/>
                  <a:pt x="40" y="35"/>
                </a:cubicBezTo>
                <a:close/>
                <a:moveTo>
                  <a:pt x="30" y="42"/>
                </a:moveTo>
                <a:cubicBezTo>
                  <a:pt x="30" y="41"/>
                  <a:pt x="30" y="41"/>
                  <a:pt x="30" y="41"/>
                </a:cubicBezTo>
                <a:cubicBezTo>
                  <a:pt x="31" y="41"/>
                  <a:pt x="31" y="41"/>
                  <a:pt x="31" y="41"/>
                </a:cubicBezTo>
                <a:cubicBezTo>
                  <a:pt x="31" y="41"/>
                  <a:pt x="31" y="41"/>
                  <a:pt x="31" y="41"/>
                </a:cubicBezTo>
                <a:cubicBezTo>
                  <a:pt x="30" y="42"/>
                  <a:pt x="30" y="42"/>
                  <a:pt x="30" y="42"/>
                </a:cubicBezTo>
                <a:cubicBezTo>
                  <a:pt x="30" y="42"/>
                  <a:pt x="30" y="42"/>
                  <a:pt x="30" y="42"/>
                </a:cubicBezTo>
                <a:close/>
                <a:moveTo>
                  <a:pt x="30" y="38"/>
                </a:moveTo>
                <a:cubicBezTo>
                  <a:pt x="31" y="37"/>
                  <a:pt x="31" y="37"/>
                  <a:pt x="31" y="37"/>
                </a:cubicBezTo>
                <a:cubicBezTo>
                  <a:pt x="31" y="38"/>
                  <a:pt x="31" y="38"/>
                  <a:pt x="31" y="38"/>
                </a:cubicBezTo>
                <a:cubicBezTo>
                  <a:pt x="30" y="38"/>
                  <a:pt x="30" y="38"/>
                  <a:pt x="30" y="38"/>
                </a:cubicBezTo>
                <a:close/>
                <a:moveTo>
                  <a:pt x="30" y="37"/>
                </a:moveTo>
                <a:cubicBezTo>
                  <a:pt x="30" y="36"/>
                  <a:pt x="30" y="36"/>
                  <a:pt x="30" y="36"/>
                </a:cubicBezTo>
                <a:cubicBezTo>
                  <a:pt x="31" y="36"/>
                  <a:pt x="31" y="36"/>
                  <a:pt x="31" y="36"/>
                </a:cubicBezTo>
                <a:cubicBezTo>
                  <a:pt x="31" y="36"/>
                  <a:pt x="31" y="36"/>
                  <a:pt x="31" y="36"/>
                </a:cubicBezTo>
                <a:cubicBezTo>
                  <a:pt x="31" y="36"/>
                  <a:pt x="30" y="37"/>
                  <a:pt x="30" y="37"/>
                </a:cubicBezTo>
                <a:close/>
                <a:moveTo>
                  <a:pt x="29" y="35"/>
                </a:moveTo>
                <a:cubicBezTo>
                  <a:pt x="29" y="35"/>
                  <a:pt x="29" y="35"/>
                  <a:pt x="29" y="35"/>
                </a:cubicBezTo>
                <a:cubicBezTo>
                  <a:pt x="30" y="34"/>
                  <a:pt x="30" y="34"/>
                  <a:pt x="30" y="34"/>
                </a:cubicBezTo>
                <a:cubicBezTo>
                  <a:pt x="30" y="35"/>
                  <a:pt x="30" y="35"/>
                  <a:pt x="30" y="35"/>
                </a:cubicBezTo>
                <a:cubicBezTo>
                  <a:pt x="29" y="35"/>
                  <a:pt x="29" y="35"/>
                  <a:pt x="29" y="35"/>
                </a:cubicBezTo>
                <a:close/>
                <a:moveTo>
                  <a:pt x="35" y="39"/>
                </a:moveTo>
                <a:cubicBezTo>
                  <a:pt x="35" y="38"/>
                  <a:pt x="35" y="38"/>
                  <a:pt x="35" y="38"/>
                </a:cubicBezTo>
                <a:cubicBezTo>
                  <a:pt x="35" y="37"/>
                  <a:pt x="35" y="37"/>
                  <a:pt x="35" y="37"/>
                </a:cubicBezTo>
                <a:cubicBezTo>
                  <a:pt x="35" y="37"/>
                  <a:pt x="35" y="37"/>
                  <a:pt x="35" y="37"/>
                </a:cubicBezTo>
                <a:cubicBezTo>
                  <a:pt x="36" y="38"/>
                  <a:pt x="36" y="38"/>
                  <a:pt x="36" y="38"/>
                </a:cubicBezTo>
                <a:cubicBezTo>
                  <a:pt x="35" y="39"/>
                  <a:pt x="35" y="39"/>
                  <a:pt x="35" y="39"/>
                </a:cubicBezTo>
                <a:close/>
                <a:moveTo>
                  <a:pt x="37" y="39"/>
                </a:moveTo>
                <a:cubicBezTo>
                  <a:pt x="36" y="38"/>
                  <a:pt x="36" y="38"/>
                  <a:pt x="36" y="38"/>
                </a:cubicBezTo>
                <a:cubicBezTo>
                  <a:pt x="37" y="37"/>
                  <a:pt x="37" y="37"/>
                  <a:pt x="37" y="37"/>
                </a:cubicBezTo>
                <a:cubicBezTo>
                  <a:pt x="38" y="37"/>
                  <a:pt x="38" y="37"/>
                  <a:pt x="38" y="37"/>
                </a:cubicBezTo>
                <a:cubicBezTo>
                  <a:pt x="38" y="38"/>
                  <a:pt x="38" y="38"/>
                  <a:pt x="38" y="38"/>
                </a:cubicBezTo>
                <a:cubicBezTo>
                  <a:pt x="37" y="39"/>
                  <a:pt x="37" y="39"/>
                  <a:pt x="37" y="39"/>
                </a:cubicBezTo>
                <a:cubicBezTo>
                  <a:pt x="37" y="39"/>
                  <a:pt x="37" y="39"/>
                  <a:pt x="37" y="39"/>
                </a:cubicBezTo>
                <a:close/>
                <a:moveTo>
                  <a:pt x="36" y="36"/>
                </a:moveTo>
                <a:cubicBezTo>
                  <a:pt x="36" y="35"/>
                  <a:pt x="36" y="35"/>
                  <a:pt x="36" y="35"/>
                </a:cubicBezTo>
                <a:cubicBezTo>
                  <a:pt x="37" y="35"/>
                  <a:pt x="37" y="35"/>
                  <a:pt x="37" y="35"/>
                </a:cubicBezTo>
                <a:cubicBezTo>
                  <a:pt x="36" y="36"/>
                  <a:pt x="36" y="36"/>
                  <a:pt x="36" y="36"/>
                </a:cubicBezTo>
                <a:close/>
                <a:moveTo>
                  <a:pt x="34" y="34"/>
                </a:moveTo>
                <a:cubicBezTo>
                  <a:pt x="35" y="34"/>
                  <a:pt x="35" y="34"/>
                  <a:pt x="35" y="34"/>
                </a:cubicBezTo>
                <a:cubicBezTo>
                  <a:pt x="36" y="35"/>
                  <a:pt x="36" y="35"/>
                  <a:pt x="36" y="35"/>
                </a:cubicBezTo>
                <a:cubicBezTo>
                  <a:pt x="36" y="35"/>
                  <a:pt x="36" y="35"/>
                  <a:pt x="36" y="35"/>
                </a:cubicBezTo>
                <a:cubicBezTo>
                  <a:pt x="35" y="35"/>
                  <a:pt x="35" y="35"/>
                  <a:pt x="35" y="35"/>
                </a:cubicBezTo>
                <a:cubicBezTo>
                  <a:pt x="34" y="34"/>
                  <a:pt x="34" y="34"/>
                  <a:pt x="34" y="34"/>
                </a:cubicBezTo>
                <a:close/>
                <a:moveTo>
                  <a:pt x="32" y="32"/>
                </a:moveTo>
                <a:cubicBezTo>
                  <a:pt x="32" y="32"/>
                  <a:pt x="32" y="32"/>
                  <a:pt x="32" y="32"/>
                </a:cubicBezTo>
                <a:cubicBezTo>
                  <a:pt x="33" y="32"/>
                  <a:pt x="33" y="32"/>
                  <a:pt x="33" y="32"/>
                </a:cubicBezTo>
                <a:cubicBezTo>
                  <a:pt x="34" y="33"/>
                  <a:pt x="34" y="33"/>
                  <a:pt x="34" y="33"/>
                </a:cubicBezTo>
                <a:cubicBezTo>
                  <a:pt x="34" y="34"/>
                  <a:pt x="34" y="34"/>
                  <a:pt x="34" y="34"/>
                </a:cubicBezTo>
                <a:cubicBezTo>
                  <a:pt x="33" y="34"/>
                  <a:pt x="33" y="34"/>
                  <a:pt x="33" y="34"/>
                </a:cubicBezTo>
                <a:cubicBezTo>
                  <a:pt x="32" y="33"/>
                  <a:pt x="32" y="33"/>
                  <a:pt x="32" y="33"/>
                </a:cubicBezTo>
                <a:cubicBezTo>
                  <a:pt x="31" y="32"/>
                  <a:pt x="31" y="32"/>
                  <a:pt x="31" y="32"/>
                </a:cubicBezTo>
                <a:cubicBezTo>
                  <a:pt x="32" y="32"/>
                  <a:pt x="32" y="32"/>
                  <a:pt x="32" y="32"/>
                </a:cubicBezTo>
                <a:close/>
                <a:moveTo>
                  <a:pt x="20" y="24"/>
                </a:moveTo>
                <a:cubicBezTo>
                  <a:pt x="21" y="23"/>
                  <a:pt x="21" y="23"/>
                  <a:pt x="21" y="23"/>
                </a:cubicBezTo>
                <a:cubicBezTo>
                  <a:pt x="22" y="23"/>
                  <a:pt x="22" y="23"/>
                  <a:pt x="22" y="23"/>
                </a:cubicBezTo>
                <a:cubicBezTo>
                  <a:pt x="23" y="24"/>
                  <a:pt x="23" y="24"/>
                  <a:pt x="23" y="24"/>
                </a:cubicBezTo>
                <a:cubicBezTo>
                  <a:pt x="25" y="25"/>
                  <a:pt x="25" y="25"/>
                  <a:pt x="25" y="25"/>
                </a:cubicBezTo>
                <a:cubicBezTo>
                  <a:pt x="26" y="25"/>
                  <a:pt x="26" y="25"/>
                  <a:pt x="26" y="25"/>
                </a:cubicBezTo>
                <a:cubicBezTo>
                  <a:pt x="26" y="25"/>
                  <a:pt x="26" y="25"/>
                  <a:pt x="26" y="25"/>
                </a:cubicBezTo>
                <a:cubicBezTo>
                  <a:pt x="27" y="25"/>
                  <a:pt x="27" y="25"/>
                  <a:pt x="27" y="25"/>
                </a:cubicBezTo>
                <a:cubicBezTo>
                  <a:pt x="27" y="25"/>
                  <a:pt x="27" y="25"/>
                  <a:pt x="27" y="25"/>
                </a:cubicBezTo>
                <a:cubicBezTo>
                  <a:pt x="28" y="27"/>
                  <a:pt x="28" y="27"/>
                  <a:pt x="28" y="27"/>
                </a:cubicBezTo>
                <a:cubicBezTo>
                  <a:pt x="29" y="28"/>
                  <a:pt x="29" y="28"/>
                  <a:pt x="29" y="28"/>
                </a:cubicBezTo>
                <a:cubicBezTo>
                  <a:pt x="29" y="28"/>
                  <a:pt x="29" y="28"/>
                  <a:pt x="29" y="28"/>
                </a:cubicBezTo>
                <a:cubicBezTo>
                  <a:pt x="29" y="29"/>
                  <a:pt x="29" y="29"/>
                  <a:pt x="29" y="29"/>
                </a:cubicBezTo>
                <a:cubicBezTo>
                  <a:pt x="29" y="30"/>
                  <a:pt x="29" y="30"/>
                  <a:pt x="29" y="30"/>
                </a:cubicBezTo>
                <a:cubicBezTo>
                  <a:pt x="30" y="31"/>
                  <a:pt x="30" y="31"/>
                  <a:pt x="30" y="31"/>
                </a:cubicBezTo>
                <a:cubicBezTo>
                  <a:pt x="30" y="30"/>
                  <a:pt x="30" y="30"/>
                  <a:pt x="30" y="30"/>
                </a:cubicBezTo>
                <a:cubicBezTo>
                  <a:pt x="31" y="30"/>
                  <a:pt x="31" y="30"/>
                  <a:pt x="31" y="30"/>
                </a:cubicBezTo>
                <a:cubicBezTo>
                  <a:pt x="31" y="32"/>
                  <a:pt x="31" y="32"/>
                  <a:pt x="31" y="32"/>
                </a:cubicBezTo>
                <a:cubicBezTo>
                  <a:pt x="30" y="31"/>
                  <a:pt x="30" y="31"/>
                  <a:pt x="30" y="31"/>
                </a:cubicBezTo>
                <a:cubicBezTo>
                  <a:pt x="30" y="32"/>
                  <a:pt x="30" y="32"/>
                  <a:pt x="30" y="32"/>
                </a:cubicBezTo>
                <a:cubicBezTo>
                  <a:pt x="29" y="31"/>
                  <a:pt x="29" y="31"/>
                  <a:pt x="29" y="31"/>
                </a:cubicBezTo>
                <a:cubicBezTo>
                  <a:pt x="28" y="30"/>
                  <a:pt x="28" y="30"/>
                  <a:pt x="28" y="30"/>
                </a:cubicBezTo>
                <a:cubicBezTo>
                  <a:pt x="28" y="30"/>
                  <a:pt x="28" y="30"/>
                  <a:pt x="28" y="30"/>
                </a:cubicBezTo>
                <a:cubicBezTo>
                  <a:pt x="28" y="29"/>
                  <a:pt x="28" y="29"/>
                  <a:pt x="28" y="29"/>
                </a:cubicBezTo>
                <a:cubicBezTo>
                  <a:pt x="27" y="28"/>
                  <a:pt x="27" y="28"/>
                  <a:pt x="27" y="28"/>
                </a:cubicBezTo>
                <a:cubicBezTo>
                  <a:pt x="27" y="28"/>
                  <a:pt x="27" y="28"/>
                  <a:pt x="27" y="28"/>
                </a:cubicBezTo>
                <a:cubicBezTo>
                  <a:pt x="26" y="28"/>
                  <a:pt x="26" y="28"/>
                  <a:pt x="26" y="28"/>
                </a:cubicBezTo>
                <a:cubicBezTo>
                  <a:pt x="25" y="27"/>
                  <a:pt x="25" y="27"/>
                  <a:pt x="25" y="27"/>
                </a:cubicBezTo>
                <a:cubicBezTo>
                  <a:pt x="24" y="26"/>
                  <a:pt x="24" y="26"/>
                  <a:pt x="24" y="26"/>
                </a:cubicBezTo>
                <a:cubicBezTo>
                  <a:pt x="24" y="26"/>
                  <a:pt x="24" y="26"/>
                  <a:pt x="24" y="26"/>
                </a:cubicBezTo>
                <a:cubicBezTo>
                  <a:pt x="23" y="25"/>
                  <a:pt x="23" y="25"/>
                  <a:pt x="23" y="25"/>
                </a:cubicBezTo>
                <a:cubicBezTo>
                  <a:pt x="22" y="25"/>
                  <a:pt x="22" y="25"/>
                  <a:pt x="22" y="25"/>
                </a:cubicBezTo>
                <a:cubicBezTo>
                  <a:pt x="22" y="25"/>
                  <a:pt x="22" y="25"/>
                  <a:pt x="22" y="25"/>
                </a:cubicBezTo>
                <a:cubicBezTo>
                  <a:pt x="22" y="24"/>
                  <a:pt x="22" y="24"/>
                  <a:pt x="22" y="24"/>
                </a:cubicBezTo>
                <a:cubicBezTo>
                  <a:pt x="21" y="24"/>
                  <a:pt x="21" y="24"/>
                  <a:pt x="21" y="24"/>
                </a:cubicBezTo>
                <a:cubicBezTo>
                  <a:pt x="20" y="24"/>
                  <a:pt x="20" y="24"/>
                  <a:pt x="20" y="24"/>
                </a:cubicBezTo>
                <a:close/>
                <a:moveTo>
                  <a:pt x="22" y="43"/>
                </a:moveTo>
                <a:cubicBezTo>
                  <a:pt x="22" y="42"/>
                  <a:pt x="22" y="42"/>
                  <a:pt x="22" y="42"/>
                </a:cubicBezTo>
                <a:cubicBezTo>
                  <a:pt x="22" y="43"/>
                  <a:pt x="22" y="43"/>
                  <a:pt x="22" y="43"/>
                </a:cubicBezTo>
                <a:cubicBezTo>
                  <a:pt x="23" y="44"/>
                  <a:pt x="23" y="44"/>
                  <a:pt x="23" y="44"/>
                </a:cubicBezTo>
                <a:cubicBezTo>
                  <a:pt x="22" y="45"/>
                  <a:pt x="22" y="45"/>
                  <a:pt x="22" y="45"/>
                </a:cubicBezTo>
                <a:cubicBezTo>
                  <a:pt x="22" y="45"/>
                  <a:pt x="22" y="45"/>
                  <a:pt x="22" y="45"/>
                </a:cubicBezTo>
                <a:cubicBezTo>
                  <a:pt x="22" y="44"/>
                  <a:pt x="22" y="44"/>
                  <a:pt x="22" y="44"/>
                </a:cubicBezTo>
                <a:cubicBezTo>
                  <a:pt x="21" y="43"/>
                  <a:pt x="21" y="43"/>
                  <a:pt x="21" y="43"/>
                </a:cubicBezTo>
                <a:cubicBezTo>
                  <a:pt x="22" y="43"/>
                  <a:pt x="22" y="43"/>
                  <a:pt x="22" y="43"/>
                </a:cubicBezTo>
                <a:close/>
                <a:moveTo>
                  <a:pt x="22" y="42"/>
                </a:moveTo>
                <a:cubicBezTo>
                  <a:pt x="22" y="42"/>
                  <a:pt x="22" y="42"/>
                  <a:pt x="22" y="42"/>
                </a:cubicBezTo>
                <a:cubicBezTo>
                  <a:pt x="22" y="42"/>
                  <a:pt x="22" y="42"/>
                  <a:pt x="22" y="42"/>
                </a:cubicBez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3" name="Freeform 81">
            <a:extLst>
              <a:ext uri="{FF2B5EF4-FFF2-40B4-BE49-F238E27FC236}">
                <a16:creationId xmlns:a16="http://schemas.microsoft.com/office/drawing/2014/main" id="{EEECA377-8AC4-DACF-343B-9CF53DE9D8FF}"/>
              </a:ext>
            </a:extLst>
          </p:cNvPr>
          <p:cNvSpPr>
            <a:spLocks noEditPoints="1"/>
          </p:cNvSpPr>
          <p:nvPr userDrawn="1"/>
        </p:nvSpPr>
        <p:spPr bwMode="auto">
          <a:xfrm>
            <a:off x="15797771" y="6546135"/>
            <a:ext cx="339704" cy="288926"/>
          </a:xfrm>
          <a:custGeom>
            <a:avLst/>
            <a:gdLst>
              <a:gd name="T0" fmla="*/ 0 w 107"/>
              <a:gd name="T1" fmla="*/ 16 h 91"/>
              <a:gd name="T2" fmla="*/ 19 w 107"/>
              <a:gd name="T3" fmla="*/ 19 h 91"/>
              <a:gd name="T4" fmla="*/ 35 w 107"/>
              <a:gd name="T5" fmla="*/ 22 h 91"/>
              <a:gd name="T6" fmla="*/ 32 w 107"/>
              <a:gd name="T7" fmla="*/ 12 h 91"/>
              <a:gd name="T8" fmla="*/ 28 w 107"/>
              <a:gd name="T9" fmla="*/ 3 h 91"/>
              <a:gd name="T10" fmla="*/ 44 w 107"/>
              <a:gd name="T11" fmla="*/ 9 h 91"/>
              <a:gd name="T12" fmla="*/ 57 w 107"/>
              <a:gd name="T13" fmla="*/ 16 h 91"/>
              <a:gd name="T14" fmla="*/ 63 w 107"/>
              <a:gd name="T15" fmla="*/ 9 h 91"/>
              <a:gd name="T16" fmla="*/ 75 w 107"/>
              <a:gd name="T17" fmla="*/ 3 h 91"/>
              <a:gd name="T18" fmla="*/ 82 w 107"/>
              <a:gd name="T19" fmla="*/ 16 h 91"/>
              <a:gd name="T20" fmla="*/ 91 w 107"/>
              <a:gd name="T21" fmla="*/ 25 h 91"/>
              <a:gd name="T22" fmla="*/ 94 w 107"/>
              <a:gd name="T23" fmla="*/ 31 h 91"/>
              <a:gd name="T24" fmla="*/ 103 w 107"/>
              <a:gd name="T25" fmla="*/ 34 h 91"/>
              <a:gd name="T26" fmla="*/ 103 w 107"/>
              <a:gd name="T27" fmla="*/ 37 h 91"/>
              <a:gd name="T28" fmla="*/ 97 w 107"/>
              <a:gd name="T29" fmla="*/ 41 h 91"/>
              <a:gd name="T30" fmla="*/ 91 w 107"/>
              <a:gd name="T31" fmla="*/ 50 h 91"/>
              <a:gd name="T32" fmla="*/ 91 w 107"/>
              <a:gd name="T33" fmla="*/ 56 h 91"/>
              <a:gd name="T34" fmla="*/ 91 w 107"/>
              <a:gd name="T35" fmla="*/ 62 h 91"/>
              <a:gd name="T36" fmla="*/ 88 w 107"/>
              <a:gd name="T37" fmla="*/ 66 h 91"/>
              <a:gd name="T38" fmla="*/ 88 w 107"/>
              <a:gd name="T39" fmla="*/ 75 h 91"/>
              <a:gd name="T40" fmla="*/ 88 w 107"/>
              <a:gd name="T41" fmla="*/ 69 h 91"/>
              <a:gd name="T42" fmla="*/ 85 w 107"/>
              <a:gd name="T43" fmla="*/ 69 h 91"/>
              <a:gd name="T44" fmla="*/ 85 w 107"/>
              <a:gd name="T45" fmla="*/ 75 h 91"/>
              <a:gd name="T46" fmla="*/ 85 w 107"/>
              <a:gd name="T47" fmla="*/ 81 h 91"/>
              <a:gd name="T48" fmla="*/ 82 w 107"/>
              <a:gd name="T49" fmla="*/ 91 h 91"/>
              <a:gd name="T50" fmla="*/ 78 w 107"/>
              <a:gd name="T51" fmla="*/ 87 h 91"/>
              <a:gd name="T52" fmla="*/ 69 w 107"/>
              <a:gd name="T53" fmla="*/ 78 h 91"/>
              <a:gd name="T54" fmla="*/ 69 w 107"/>
              <a:gd name="T55" fmla="*/ 72 h 91"/>
              <a:gd name="T56" fmla="*/ 72 w 107"/>
              <a:gd name="T57" fmla="*/ 66 h 91"/>
              <a:gd name="T58" fmla="*/ 66 w 107"/>
              <a:gd name="T59" fmla="*/ 62 h 91"/>
              <a:gd name="T60" fmla="*/ 66 w 107"/>
              <a:gd name="T61" fmla="*/ 59 h 91"/>
              <a:gd name="T62" fmla="*/ 60 w 107"/>
              <a:gd name="T63" fmla="*/ 62 h 91"/>
              <a:gd name="T64" fmla="*/ 53 w 107"/>
              <a:gd name="T65" fmla="*/ 66 h 91"/>
              <a:gd name="T66" fmla="*/ 47 w 107"/>
              <a:gd name="T67" fmla="*/ 72 h 91"/>
              <a:gd name="T68" fmla="*/ 44 w 107"/>
              <a:gd name="T69" fmla="*/ 75 h 91"/>
              <a:gd name="T70" fmla="*/ 41 w 107"/>
              <a:gd name="T71" fmla="*/ 78 h 91"/>
              <a:gd name="T72" fmla="*/ 38 w 107"/>
              <a:gd name="T73" fmla="*/ 75 h 91"/>
              <a:gd name="T74" fmla="*/ 41 w 107"/>
              <a:gd name="T75" fmla="*/ 72 h 91"/>
              <a:gd name="T76" fmla="*/ 41 w 107"/>
              <a:gd name="T77" fmla="*/ 66 h 91"/>
              <a:gd name="T78" fmla="*/ 32 w 107"/>
              <a:gd name="T79" fmla="*/ 59 h 91"/>
              <a:gd name="T80" fmla="*/ 19 w 107"/>
              <a:gd name="T81" fmla="*/ 50 h 91"/>
              <a:gd name="T82" fmla="*/ 22 w 107"/>
              <a:gd name="T83" fmla="*/ 44 h 91"/>
              <a:gd name="T84" fmla="*/ 16 w 107"/>
              <a:gd name="T85" fmla="*/ 31 h 91"/>
              <a:gd name="T86" fmla="*/ 13 w 107"/>
              <a:gd name="T87" fmla="*/ 22 h 91"/>
              <a:gd name="T88" fmla="*/ 0 w 107"/>
              <a:gd name="T89" fmla="*/ 19 h 91"/>
              <a:gd name="T90" fmla="*/ 35 w 107"/>
              <a:gd name="T91" fmla="*/ 78 h 91"/>
              <a:gd name="T92" fmla="*/ 19 w 107"/>
              <a:gd name="T93" fmla="*/ 62 h 91"/>
              <a:gd name="T94" fmla="*/ 13 w 107"/>
              <a:gd name="T95" fmla="*/ 56 h 91"/>
              <a:gd name="T96" fmla="*/ 7 w 107"/>
              <a:gd name="T97" fmla="*/ 53 h 91"/>
              <a:gd name="T98" fmla="*/ 0 w 107"/>
              <a:gd name="T99" fmla="*/ 56 h 91"/>
              <a:gd name="T100" fmla="*/ 0 w 107"/>
              <a:gd name="T101" fmla="*/ 56 h 91"/>
              <a:gd name="T102" fmla="*/ 7 w 107"/>
              <a:gd name="T103" fmla="*/ 59 h 91"/>
              <a:gd name="T104" fmla="*/ 7 w 107"/>
              <a:gd name="T105" fmla="*/ 66 h 91"/>
              <a:gd name="T106" fmla="*/ 16 w 107"/>
              <a:gd name="T107" fmla="*/ 75 h 91"/>
              <a:gd name="T108" fmla="*/ 28 w 107"/>
              <a:gd name="T109" fmla="*/ 78 h 91"/>
              <a:gd name="T110" fmla="*/ 35 w 107"/>
              <a:gd name="T111" fmla="*/ 7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 h="91">
                <a:moveTo>
                  <a:pt x="0" y="19"/>
                </a:moveTo>
                <a:lnTo>
                  <a:pt x="0" y="16"/>
                </a:lnTo>
                <a:lnTo>
                  <a:pt x="10" y="12"/>
                </a:lnTo>
                <a:lnTo>
                  <a:pt x="19" y="19"/>
                </a:lnTo>
                <a:lnTo>
                  <a:pt x="28" y="19"/>
                </a:lnTo>
                <a:lnTo>
                  <a:pt x="35" y="22"/>
                </a:lnTo>
                <a:lnTo>
                  <a:pt x="35" y="16"/>
                </a:lnTo>
                <a:lnTo>
                  <a:pt x="32" y="12"/>
                </a:lnTo>
                <a:lnTo>
                  <a:pt x="28" y="9"/>
                </a:lnTo>
                <a:lnTo>
                  <a:pt x="28" y="3"/>
                </a:lnTo>
                <a:lnTo>
                  <a:pt x="35" y="3"/>
                </a:lnTo>
                <a:lnTo>
                  <a:pt x="44" y="9"/>
                </a:lnTo>
                <a:lnTo>
                  <a:pt x="47" y="16"/>
                </a:lnTo>
                <a:lnTo>
                  <a:pt x="57" y="16"/>
                </a:lnTo>
                <a:lnTo>
                  <a:pt x="57" y="12"/>
                </a:lnTo>
                <a:lnTo>
                  <a:pt x="63" y="9"/>
                </a:lnTo>
                <a:lnTo>
                  <a:pt x="69" y="0"/>
                </a:lnTo>
                <a:lnTo>
                  <a:pt x="75" y="3"/>
                </a:lnTo>
                <a:lnTo>
                  <a:pt x="82" y="12"/>
                </a:lnTo>
                <a:lnTo>
                  <a:pt x="82" y="16"/>
                </a:lnTo>
                <a:lnTo>
                  <a:pt x="82" y="22"/>
                </a:lnTo>
                <a:lnTo>
                  <a:pt x="91" y="25"/>
                </a:lnTo>
                <a:lnTo>
                  <a:pt x="91" y="28"/>
                </a:lnTo>
                <a:lnTo>
                  <a:pt x="94" y="31"/>
                </a:lnTo>
                <a:lnTo>
                  <a:pt x="100" y="31"/>
                </a:lnTo>
                <a:lnTo>
                  <a:pt x="103" y="34"/>
                </a:lnTo>
                <a:lnTo>
                  <a:pt x="107" y="37"/>
                </a:lnTo>
                <a:lnTo>
                  <a:pt x="103" y="37"/>
                </a:lnTo>
                <a:lnTo>
                  <a:pt x="103" y="41"/>
                </a:lnTo>
                <a:lnTo>
                  <a:pt x="97" y="41"/>
                </a:lnTo>
                <a:lnTo>
                  <a:pt x="91" y="44"/>
                </a:lnTo>
                <a:lnTo>
                  <a:pt x="91" y="50"/>
                </a:lnTo>
                <a:lnTo>
                  <a:pt x="91" y="53"/>
                </a:lnTo>
                <a:lnTo>
                  <a:pt x="91" y="56"/>
                </a:lnTo>
                <a:lnTo>
                  <a:pt x="91" y="59"/>
                </a:lnTo>
                <a:lnTo>
                  <a:pt x="91" y="62"/>
                </a:lnTo>
                <a:lnTo>
                  <a:pt x="91" y="66"/>
                </a:lnTo>
                <a:lnTo>
                  <a:pt x="88" y="66"/>
                </a:lnTo>
                <a:lnTo>
                  <a:pt x="88" y="72"/>
                </a:lnTo>
                <a:lnTo>
                  <a:pt x="88" y="75"/>
                </a:lnTo>
                <a:lnTo>
                  <a:pt x="88" y="75"/>
                </a:lnTo>
                <a:lnTo>
                  <a:pt x="88" y="69"/>
                </a:lnTo>
                <a:lnTo>
                  <a:pt x="85" y="66"/>
                </a:lnTo>
                <a:lnTo>
                  <a:pt x="85" y="69"/>
                </a:lnTo>
                <a:lnTo>
                  <a:pt x="82" y="72"/>
                </a:lnTo>
                <a:lnTo>
                  <a:pt x="85" y="75"/>
                </a:lnTo>
                <a:lnTo>
                  <a:pt x="85" y="78"/>
                </a:lnTo>
                <a:lnTo>
                  <a:pt x="85" y="81"/>
                </a:lnTo>
                <a:lnTo>
                  <a:pt x="85" y="87"/>
                </a:lnTo>
                <a:lnTo>
                  <a:pt x="82" y="91"/>
                </a:lnTo>
                <a:lnTo>
                  <a:pt x="78" y="87"/>
                </a:lnTo>
                <a:lnTo>
                  <a:pt x="78" y="87"/>
                </a:lnTo>
                <a:lnTo>
                  <a:pt x="75" y="84"/>
                </a:lnTo>
                <a:lnTo>
                  <a:pt x="69" y="78"/>
                </a:lnTo>
                <a:lnTo>
                  <a:pt x="75" y="72"/>
                </a:lnTo>
                <a:lnTo>
                  <a:pt x="69" y="72"/>
                </a:lnTo>
                <a:lnTo>
                  <a:pt x="69" y="69"/>
                </a:lnTo>
                <a:lnTo>
                  <a:pt x="72" y="66"/>
                </a:lnTo>
                <a:lnTo>
                  <a:pt x="69" y="62"/>
                </a:lnTo>
                <a:lnTo>
                  <a:pt x="66" y="62"/>
                </a:lnTo>
                <a:lnTo>
                  <a:pt x="66" y="59"/>
                </a:lnTo>
                <a:lnTo>
                  <a:pt x="66" y="59"/>
                </a:lnTo>
                <a:lnTo>
                  <a:pt x="63" y="59"/>
                </a:lnTo>
                <a:lnTo>
                  <a:pt x="60" y="62"/>
                </a:lnTo>
                <a:lnTo>
                  <a:pt x="57" y="62"/>
                </a:lnTo>
                <a:lnTo>
                  <a:pt x="53" y="66"/>
                </a:lnTo>
                <a:lnTo>
                  <a:pt x="53" y="66"/>
                </a:lnTo>
                <a:lnTo>
                  <a:pt x="47" y="72"/>
                </a:lnTo>
                <a:lnTo>
                  <a:pt x="47" y="72"/>
                </a:lnTo>
                <a:lnTo>
                  <a:pt x="44" y="75"/>
                </a:lnTo>
                <a:lnTo>
                  <a:pt x="44" y="75"/>
                </a:lnTo>
                <a:lnTo>
                  <a:pt x="41" y="78"/>
                </a:lnTo>
                <a:lnTo>
                  <a:pt x="38" y="75"/>
                </a:lnTo>
                <a:lnTo>
                  <a:pt x="38" y="75"/>
                </a:lnTo>
                <a:lnTo>
                  <a:pt x="38" y="72"/>
                </a:lnTo>
                <a:lnTo>
                  <a:pt x="41" y="72"/>
                </a:lnTo>
                <a:lnTo>
                  <a:pt x="38" y="66"/>
                </a:lnTo>
                <a:lnTo>
                  <a:pt x="41" y="66"/>
                </a:lnTo>
                <a:lnTo>
                  <a:pt x="38" y="59"/>
                </a:lnTo>
                <a:lnTo>
                  <a:pt x="32" y="59"/>
                </a:lnTo>
                <a:lnTo>
                  <a:pt x="22" y="56"/>
                </a:lnTo>
                <a:lnTo>
                  <a:pt x="19" y="50"/>
                </a:lnTo>
                <a:lnTo>
                  <a:pt x="22" y="47"/>
                </a:lnTo>
                <a:lnTo>
                  <a:pt x="22" y="44"/>
                </a:lnTo>
                <a:lnTo>
                  <a:pt x="16" y="34"/>
                </a:lnTo>
                <a:lnTo>
                  <a:pt x="16" y="31"/>
                </a:lnTo>
                <a:lnTo>
                  <a:pt x="16" y="28"/>
                </a:lnTo>
                <a:lnTo>
                  <a:pt x="13" y="22"/>
                </a:lnTo>
                <a:lnTo>
                  <a:pt x="3" y="22"/>
                </a:lnTo>
                <a:lnTo>
                  <a:pt x="0" y="19"/>
                </a:lnTo>
                <a:lnTo>
                  <a:pt x="0" y="19"/>
                </a:lnTo>
                <a:close/>
                <a:moveTo>
                  <a:pt x="35" y="78"/>
                </a:moveTo>
                <a:lnTo>
                  <a:pt x="25" y="62"/>
                </a:lnTo>
                <a:lnTo>
                  <a:pt x="19" y="62"/>
                </a:lnTo>
                <a:lnTo>
                  <a:pt x="16" y="56"/>
                </a:lnTo>
                <a:lnTo>
                  <a:pt x="13" y="56"/>
                </a:lnTo>
                <a:lnTo>
                  <a:pt x="13" y="59"/>
                </a:lnTo>
                <a:lnTo>
                  <a:pt x="7" y="53"/>
                </a:lnTo>
                <a:lnTo>
                  <a:pt x="3" y="56"/>
                </a:lnTo>
                <a:lnTo>
                  <a:pt x="0" y="56"/>
                </a:lnTo>
                <a:lnTo>
                  <a:pt x="0" y="56"/>
                </a:lnTo>
                <a:lnTo>
                  <a:pt x="0" y="56"/>
                </a:lnTo>
                <a:lnTo>
                  <a:pt x="3" y="59"/>
                </a:lnTo>
                <a:lnTo>
                  <a:pt x="7" y="59"/>
                </a:lnTo>
                <a:lnTo>
                  <a:pt x="10" y="62"/>
                </a:lnTo>
                <a:lnTo>
                  <a:pt x="7" y="66"/>
                </a:lnTo>
                <a:lnTo>
                  <a:pt x="16" y="72"/>
                </a:lnTo>
                <a:lnTo>
                  <a:pt x="16" y="75"/>
                </a:lnTo>
                <a:lnTo>
                  <a:pt x="22" y="78"/>
                </a:lnTo>
                <a:lnTo>
                  <a:pt x="28" y="78"/>
                </a:lnTo>
                <a:lnTo>
                  <a:pt x="32" y="81"/>
                </a:lnTo>
                <a:lnTo>
                  <a:pt x="35" y="78"/>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4" name="Freeform 82">
            <a:extLst>
              <a:ext uri="{FF2B5EF4-FFF2-40B4-BE49-F238E27FC236}">
                <a16:creationId xmlns:a16="http://schemas.microsoft.com/office/drawing/2014/main" id="{DE9BCCB0-08C2-2007-D231-67770D30D14F}"/>
              </a:ext>
            </a:extLst>
          </p:cNvPr>
          <p:cNvSpPr>
            <a:spLocks/>
          </p:cNvSpPr>
          <p:nvPr userDrawn="1"/>
        </p:nvSpPr>
        <p:spPr bwMode="auto">
          <a:xfrm>
            <a:off x="15769196" y="6723931"/>
            <a:ext cx="1279443" cy="1035050"/>
          </a:xfrm>
          <a:custGeom>
            <a:avLst/>
            <a:gdLst>
              <a:gd name="T0" fmla="*/ 19 w 403"/>
              <a:gd name="T1" fmla="*/ 6 h 326"/>
              <a:gd name="T2" fmla="*/ 37 w 403"/>
              <a:gd name="T3" fmla="*/ 22 h 326"/>
              <a:gd name="T4" fmla="*/ 50 w 403"/>
              <a:gd name="T5" fmla="*/ 22 h 326"/>
              <a:gd name="T6" fmla="*/ 62 w 403"/>
              <a:gd name="T7" fmla="*/ 10 h 326"/>
              <a:gd name="T8" fmla="*/ 75 w 403"/>
              <a:gd name="T9" fmla="*/ 3 h 326"/>
              <a:gd name="T10" fmla="*/ 78 w 403"/>
              <a:gd name="T11" fmla="*/ 13 h 326"/>
              <a:gd name="T12" fmla="*/ 87 w 403"/>
              <a:gd name="T13" fmla="*/ 31 h 326"/>
              <a:gd name="T14" fmla="*/ 97 w 403"/>
              <a:gd name="T15" fmla="*/ 38 h 326"/>
              <a:gd name="T16" fmla="*/ 103 w 403"/>
              <a:gd name="T17" fmla="*/ 53 h 326"/>
              <a:gd name="T18" fmla="*/ 125 w 403"/>
              <a:gd name="T19" fmla="*/ 57 h 326"/>
              <a:gd name="T20" fmla="*/ 153 w 403"/>
              <a:gd name="T21" fmla="*/ 72 h 326"/>
              <a:gd name="T22" fmla="*/ 200 w 403"/>
              <a:gd name="T23" fmla="*/ 69 h 326"/>
              <a:gd name="T24" fmla="*/ 209 w 403"/>
              <a:gd name="T25" fmla="*/ 50 h 326"/>
              <a:gd name="T26" fmla="*/ 234 w 403"/>
              <a:gd name="T27" fmla="*/ 35 h 326"/>
              <a:gd name="T28" fmla="*/ 253 w 403"/>
              <a:gd name="T29" fmla="*/ 31 h 326"/>
              <a:gd name="T30" fmla="*/ 284 w 403"/>
              <a:gd name="T31" fmla="*/ 44 h 326"/>
              <a:gd name="T32" fmla="*/ 303 w 403"/>
              <a:gd name="T33" fmla="*/ 53 h 326"/>
              <a:gd name="T34" fmla="*/ 334 w 403"/>
              <a:gd name="T35" fmla="*/ 75 h 326"/>
              <a:gd name="T36" fmla="*/ 337 w 403"/>
              <a:gd name="T37" fmla="*/ 94 h 326"/>
              <a:gd name="T38" fmla="*/ 337 w 403"/>
              <a:gd name="T39" fmla="*/ 107 h 326"/>
              <a:gd name="T40" fmla="*/ 331 w 403"/>
              <a:gd name="T41" fmla="*/ 122 h 326"/>
              <a:gd name="T42" fmla="*/ 341 w 403"/>
              <a:gd name="T43" fmla="*/ 135 h 326"/>
              <a:gd name="T44" fmla="*/ 341 w 403"/>
              <a:gd name="T45" fmla="*/ 169 h 326"/>
              <a:gd name="T46" fmla="*/ 362 w 403"/>
              <a:gd name="T47" fmla="*/ 194 h 326"/>
              <a:gd name="T48" fmla="*/ 362 w 403"/>
              <a:gd name="T49" fmla="*/ 241 h 326"/>
              <a:gd name="T50" fmla="*/ 384 w 403"/>
              <a:gd name="T51" fmla="*/ 254 h 326"/>
              <a:gd name="T52" fmla="*/ 391 w 403"/>
              <a:gd name="T53" fmla="*/ 272 h 326"/>
              <a:gd name="T54" fmla="*/ 400 w 403"/>
              <a:gd name="T55" fmla="*/ 291 h 326"/>
              <a:gd name="T56" fmla="*/ 375 w 403"/>
              <a:gd name="T57" fmla="*/ 297 h 326"/>
              <a:gd name="T58" fmla="*/ 375 w 403"/>
              <a:gd name="T59" fmla="*/ 322 h 326"/>
              <a:gd name="T60" fmla="*/ 356 w 403"/>
              <a:gd name="T61" fmla="*/ 319 h 326"/>
              <a:gd name="T62" fmla="*/ 347 w 403"/>
              <a:gd name="T63" fmla="*/ 319 h 326"/>
              <a:gd name="T64" fmla="*/ 319 w 403"/>
              <a:gd name="T65" fmla="*/ 316 h 326"/>
              <a:gd name="T66" fmla="*/ 297 w 403"/>
              <a:gd name="T67" fmla="*/ 313 h 326"/>
              <a:gd name="T68" fmla="*/ 281 w 403"/>
              <a:gd name="T69" fmla="*/ 297 h 326"/>
              <a:gd name="T70" fmla="*/ 272 w 403"/>
              <a:gd name="T71" fmla="*/ 282 h 326"/>
              <a:gd name="T72" fmla="*/ 253 w 403"/>
              <a:gd name="T73" fmla="*/ 282 h 326"/>
              <a:gd name="T74" fmla="*/ 222 w 403"/>
              <a:gd name="T75" fmla="*/ 288 h 326"/>
              <a:gd name="T76" fmla="*/ 203 w 403"/>
              <a:gd name="T77" fmla="*/ 282 h 326"/>
              <a:gd name="T78" fmla="*/ 191 w 403"/>
              <a:gd name="T79" fmla="*/ 272 h 326"/>
              <a:gd name="T80" fmla="*/ 169 w 403"/>
              <a:gd name="T81" fmla="*/ 266 h 326"/>
              <a:gd name="T82" fmla="*/ 153 w 403"/>
              <a:gd name="T83" fmla="*/ 244 h 326"/>
              <a:gd name="T84" fmla="*/ 153 w 403"/>
              <a:gd name="T85" fmla="*/ 241 h 326"/>
              <a:gd name="T86" fmla="*/ 137 w 403"/>
              <a:gd name="T87" fmla="*/ 216 h 326"/>
              <a:gd name="T88" fmla="*/ 125 w 403"/>
              <a:gd name="T89" fmla="*/ 216 h 326"/>
              <a:gd name="T90" fmla="*/ 116 w 403"/>
              <a:gd name="T91" fmla="*/ 213 h 326"/>
              <a:gd name="T92" fmla="*/ 112 w 403"/>
              <a:gd name="T93" fmla="*/ 219 h 326"/>
              <a:gd name="T94" fmla="*/ 103 w 403"/>
              <a:gd name="T95" fmla="*/ 213 h 326"/>
              <a:gd name="T96" fmla="*/ 91 w 403"/>
              <a:gd name="T97" fmla="*/ 188 h 326"/>
              <a:gd name="T98" fmla="*/ 81 w 403"/>
              <a:gd name="T99" fmla="*/ 163 h 326"/>
              <a:gd name="T100" fmla="*/ 53 w 403"/>
              <a:gd name="T101" fmla="*/ 153 h 326"/>
              <a:gd name="T102" fmla="*/ 50 w 403"/>
              <a:gd name="T103" fmla="*/ 141 h 326"/>
              <a:gd name="T104" fmla="*/ 44 w 403"/>
              <a:gd name="T105" fmla="*/ 132 h 326"/>
              <a:gd name="T106" fmla="*/ 47 w 403"/>
              <a:gd name="T107" fmla="*/ 113 h 326"/>
              <a:gd name="T108" fmla="*/ 50 w 403"/>
              <a:gd name="T109" fmla="*/ 97 h 326"/>
              <a:gd name="T110" fmla="*/ 53 w 403"/>
              <a:gd name="T111" fmla="*/ 91 h 326"/>
              <a:gd name="T112" fmla="*/ 31 w 403"/>
              <a:gd name="T113" fmla="*/ 85 h 326"/>
              <a:gd name="T114" fmla="*/ 22 w 403"/>
              <a:gd name="T115" fmla="*/ 69 h 326"/>
              <a:gd name="T116" fmla="*/ 16 w 403"/>
              <a:gd name="T117" fmla="*/ 57 h 326"/>
              <a:gd name="T118" fmla="*/ 9 w 403"/>
              <a:gd name="T119" fmla="*/ 35 h 326"/>
              <a:gd name="T120" fmla="*/ 3 w 403"/>
              <a:gd name="T121" fmla="*/ 13 h 326"/>
              <a:gd name="T122" fmla="*/ 9 w 403"/>
              <a:gd name="T123"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3" h="326">
                <a:moveTo>
                  <a:pt x="9" y="0"/>
                </a:moveTo>
                <a:lnTo>
                  <a:pt x="9" y="0"/>
                </a:lnTo>
                <a:lnTo>
                  <a:pt x="12" y="3"/>
                </a:lnTo>
                <a:lnTo>
                  <a:pt x="16" y="3"/>
                </a:lnTo>
                <a:lnTo>
                  <a:pt x="19" y="6"/>
                </a:lnTo>
                <a:lnTo>
                  <a:pt x="16" y="10"/>
                </a:lnTo>
                <a:lnTo>
                  <a:pt x="25" y="16"/>
                </a:lnTo>
                <a:lnTo>
                  <a:pt x="25" y="19"/>
                </a:lnTo>
                <a:lnTo>
                  <a:pt x="31" y="22"/>
                </a:lnTo>
                <a:lnTo>
                  <a:pt x="37" y="22"/>
                </a:lnTo>
                <a:lnTo>
                  <a:pt x="41" y="25"/>
                </a:lnTo>
                <a:lnTo>
                  <a:pt x="44" y="22"/>
                </a:lnTo>
                <a:lnTo>
                  <a:pt x="44" y="22"/>
                </a:lnTo>
                <a:lnTo>
                  <a:pt x="47" y="19"/>
                </a:lnTo>
                <a:lnTo>
                  <a:pt x="50" y="22"/>
                </a:lnTo>
                <a:lnTo>
                  <a:pt x="53" y="19"/>
                </a:lnTo>
                <a:lnTo>
                  <a:pt x="53" y="19"/>
                </a:lnTo>
                <a:lnTo>
                  <a:pt x="56" y="16"/>
                </a:lnTo>
                <a:lnTo>
                  <a:pt x="56" y="16"/>
                </a:lnTo>
                <a:lnTo>
                  <a:pt x="62" y="10"/>
                </a:lnTo>
                <a:lnTo>
                  <a:pt x="62" y="10"/>
                </a:lnTo>
                <a:lnTo>
                  <a:pt x="66" y="6"/>
                </a:lnTo>
                <a:lnTo>
                  <a:pt x="69" y="6"/>
                </a:lnTo>
                <a:lnTo>
                  <a:pt x="72" y="3"/>
                </a:lnTo>
                <a:lnTo>
                  <a:pt x="75" y="3"/>
                </a:lnTo>
                <a:lnTo>
                  <a:pt x="75" y="3"/>
                </a:lnTo>
                <a:lnTo>
                  <a:pt x="75" y="6"/>
                </a:lnTo>
                <a:lnTo>
                  <a:pt x="78" y="6"/>
                </a:lnTo>
                <a:lnTo>
                  <a:pt x="81" y="10"/>
                </a:lnTo>
                <a:lnTo>
                  <a:pt x="78" y="13"/>
                </a:lnTo>
                <a:lnTo>
                  <a:pt x="78" y="16"/>
                </a:lnTo>
                <a:lnTo>
                  <a:pt x="84" y="16"/>
                </a:lnTo>
                <a:lnTo>
                  <a:pt x="78" y="22"/>
                </a:lnTo>
                <a:lnTo>
                  <a:pt x="84" y="28"/>
                </a:lnTo>
                <a:lnTo>
                  <a:pt x="87" y="31"/>
                </a:lnTo>
                <a:lnTo>
                  <a:pt x="87" y="31"/>
                </a:lnTo>
                <a:lnTo>
                  <a:pt x="91" y="35"/>
                </a:lnTo>
                <a:lnTo>
                  <a:pt x="94" y="31"/>
                </a:lnTo>
                <a:lnTo>
                  <a:pt x="94" y="35"/>
                </a:lnTo>
                <a:lnTo>
                  <a:pt x="97" y="38"/>
                </a:lnTo>
                <a:lnTo>
                  <a:pt x="97" y="41"/>
                </a:lnTo>
                <a:lnTo>
                  <a:pt x="97" y="47"/>
                </a:lnTo>
                <a:lnTo>
                  <a:pt x="97" y="47"/>
                </a:lnTo>
                <a:lnTo>
                  <a:pt x="100" y="50"/>
                </a:lnTo>
                <a:lnTo>
                  <a:pt x="103" y="53"/>
                </a:lnTo>
                <a:lnTo>
                  <a:pt x="109" y="53"/>
                </a:lnTo>
                <a:lnTo>
                  <a:pt x="112" y="53"/>
                </a:lnTo>
                <a:lnTo>
                  <a:pt x="116" y="53"/>
                </a:lnTo>
                <a:lnTo>
                  <a:pt x="122" y="57"/>
                </a:lnTo>
                <a:lnTo>
                  <a:pt x="125" y="57"/>
                </a:lnTo>
                <a:lnTo>
                  <a:pt x="125" y="60"/>
                </a:lnTo>
                <a:lnTo>
                  <a:pt x="128" y="63"/>
                </a:lnTo>
                <a:lnTo>
                  <a:pt x="137" y="69"/>
                </a:lnTo>
                <a:lnTo>
                  <a:pt x="144" y="69"/>
                </a:lnTo>
                <a:lnTo>
                  <a:pt x="153" y="72"/>
                </a:lnTo>
                <a:lnTo>
                  <a:pt x="159" y="72"/>
                </a:lnTo>
                <a:lnTo>
                  <a:pt x="172" y="69"/>
                </a:lnTo>
                <a:lnTo>
                  <a:pt x="184" y="66"/>
                </a:lnTo>
                <a:lnTo>
                  <a:pt x="194" y="66"/>
                </a:lnTo>
                <a:lnTo>
                  <a:pt x="200" y="69"/>
                </a:lnTo>
                <a:lnTo>
                  <a:pt x="200" y="63"/>
                </a:lnTo>
                <a:lnTo>
                  <a:pt x="197" y="60"/>
                </a:lnTo>
                <a:lnTo>
                  <a:pt x="197" y="53"/>
                </a:lnTo>
                <a:lnTo>
                  <a:pt x="200" y="50"/>
                </a:lnTo>
                <a:lnTo>
                  <a:pt x="209" y="50"/>
                </a:lnTo>
                <a:lnTo>
                  <a:pt x="209" y="44"/>
                </a:lnTo>
                <a:lnTo>
                  <a:pt x="212" y="41"/>
                </a:lnTo>
                <a:lnTo>
                  <a:pt x="216" y="41"/>
                </a:lnTo>
                <a:lnTo>
                  <a:pt x="225" y="35"/>
                </a:lnTo>
                <a:lnTo>
                  <a:pt x="234" y="35"/>
                </a:lnTo>
                <a:lnTo>
                  <a:pt x="241" y="35"/>
                </a:lnTo>
                <a:lnTo>
                  <a:pt x="241" y="31"/>
                </a:lnTo>
                <a:lnTo>
                  <a:pt x="247" y="28"/>
                </a:lnTo>
                <a:lnTo>
                  <a:pt x="250" y="31"/>
                </a:lnTo>
                <a:lnTo>
                  <a:pt x="253" y="31"/>
                </a:lnTo>
                <a:lnTo>
                  <a:pt x="262" y="38"/>
                </a:lnTo>
                <a:lnTo>
                  <a:pt x="266" y="38"/>
                </a:lnTo>
                <a:lnTo>
                  <a:pt x="278" y="44"/>
                </a:lnTo>
                <a:lnTo>
                  <a:pt x="281" y="44"/>
                </a:lnTo>
                <a:lnTo>
                  <a:pt x="284" y="44"/>
                </a:lnTo>
                <a:lnTo>
                  <a:pt x="294" y="47"/>
                </a:lnTo>
                <a:lnTo>
                  <a:pt x="297" y="47"/>
                </a:lnTo>
                <a:lnTo>
                  <a:pt x="297" y="53"/>
                </a:lnTo>
                <a:lnTo>
                  <a:pt x="300" y="53"/>
                </a:lnTo>
                <a:lnTo>
                  <a:pt x="303" y="53"/>
                </a:lnTo>
                <a:lnTo>
                  <a:pt x="312" y="57"/>
                </a:lnTo>
                <a:lnTo>
                  <a:pt x="319" y="66"/>
                </a:lnTo>
                <a:lnTo>
                  <a:pt x="328" y="66"/>
                </a:lnTo>
                <a:lnTo>
                  <a:pt x="331" y="69"/>
                </a:lnTo>
                <a:lnTo>
                  <a:pt x="334" y="75"/>
                </a:lnTo>
                <a:lnTo>
                  <a:pt x="334" y="78"/>
                </a:lnTo>
                <a:lnTo>
                  <a:pt x="337" y="82"/>
                </a:lnTo>
                <a:lnTo>
                  <a:pt x="337" y="85"/>
                </a:lnTo>
                <a:lnTo>
                  <a:pt x="337" y="88"/>
                </a:lnTo>
                <a:lnTo>
                  <a:pt x="337" y="94"/>
                </a:lnTo>
                <a:lnTo>
                  <a:pt x="337" y="97"/>
                </a:lnTo>
                <a:lnTo>
                  <a:pt x="337" y="100"/>
                </a:lnTo>
                <a:lnTo>
                  <a:pt x="341" y="103"/>
                </a:lnTo>
                <a:lnTo>
                  <a:pt x="337" y="103"/>
                </a:lnTo>
                <a:lnTo>
                  <a:pt x="337" y="107"/>
                </a:lnTo>
                <a:lnTo>
                  <a:pt x="334" y="110"/>
                </a:lnTo>
                <a:lnTo>
                  <a:pt x="328" y="113"/>
                </a:lnTo>
                <a:lnTo>
                  <a:pt x="331" y="113"/>
                </a:lnTo>
                <a:lnTo>
                  <a:pt x="334" y="116"/>
                </a:lnTo>
                <a:lnTo>
                  <a:pt x="331" y="122"/>
                </a:lnTo>
                <a:lnTo>
                  <a:pt x="331" y="122"/>
                </a:lnTo>
                <a:lnTo>
                  <a:pt x="331" y="128"/>
                </a:lnTo>
                <a:lnTo>
                  <a:pt x="331" y="135"/>
                </a:lnTo>
                <a:lnTo>
                  <a:pt x="341" y="135"/>
                </a:lnTo>
                <a:lnTo>
                  <a:pt x="341" y="135"/>
                </a:lnTo>
                <a:lnTo>
                  <a:pt x="334" y="144"/>
                </a:lnTo>
                <a:lnTo>
                  <a:pt x="334" y="147"/>
                </a:lnTo>
                <a:lnTo>
                  <a:pt x="341" y="157"/>
                </a:lnTo>
                <a:lnTo>
                  <a:pt x="341" y="166"/>
                </a:lnTo>
                <a:lnTo>
                  <a:pt x="341" y="169"/>
                </a:lnTo>
                <a:lnTo>
                  <a:pt x="344" y="172"/>
                </a:lnTo>
                <a:lnTo>
                  <a:pt x="344" y="182"/>
                </a:lnTo>
                <a:lnTo>
                  <a:pt x="359" y="182"/>
                </a:lnTo>
                <a:lnTo>
                  <a:pt x="362" y="188"/>
                </a:lnTo>
                <a:lnTo>
                  <a:pt x="362" y="194"/>
                </a:lnTo>
                <a:lnTo>
                  <a:pt x="366" y="200"/>
                </a:lnTo>
                <a:lnTo>
                  <a:pt x="362" y="204"/>
                </a:lnTo>
                <a:lnTo>
                  <a:pt x="350" y="222"/>
                </a:lnTo>
                <a:lnTo>
                  <a:pt x="359" y="238"/>
                </a:lnTo>
                <a:lnTo>
                  <a:pt x="362" y="241"/>
                </a:lnTo>
                <a:lnTo>
                  <a:pt x="366" y="247"/>
                </a:lnTo>
                <a:lnTo>
                  <a:pt x="372" y="250"/>
                </a:lnTo>
                <a:lnTo>
                  <a:pt x="372" y="250"/>
                </a:lnTo>
                <a:lnTo>
                  <a:pt x="378" y="250"/>
                </a:lnTo>
                <a:lnTo>
                  <a:pt x="384" y="254"/>
                </a:lnTo>
                <a:lnTo>
                  <a:pt x="384" y="257"/>
                </a:lnTo>
                <a:lnTo>
                  <a:pt x="387" y="257"/>
                </a:lnTo>
                <a:lnTo>
                  <a:pt x="387" y="263"/>
                </a:lnTo>
                <a:lnTo>
                  <a:pt x="391" y="266"/>
                </a:lnTo>
                <a:lnTo>
                  <a:pt x="391" y="272"/>
                </a:lnTo>
                <a:lnTo>
                  <a:pt x="391" y="275"/>
                </a:lnTo>
                <a:lnTo>
                  <a:pt x="397" y="275"/>
                </a:lnTo>
                <a:lnTo>
                  <a:pt x="403" y="279"/>
                </a:lnTo>
                <a:lnTo>
                  <a:pt x="403" y="288"/>
                </a:lnTo>
                <a:lnTo>
                  <a:pt x="400" y="291"/>
                </a:lnTo>
                <a:lnTo>
                  <a:pt x="394" y="288"/>
                </a:lnTo>
                <a:lnTo>
                  <a:pt x="384" y="291"/>
                </a:lnTo>
                <a:lnTo>
                  <a:pt x="384" y="291"/>
                </a:lnTo>
                <a:lnTo>
                  <a:pt x="378" y="294"/>
                </a:lnTo>
                <a:lnTo>
                  <a:pt x="375" y="297"/>
                </a:lnTo>
                <a:lnTo>
                  <a:pt x="375" y="304"/>
                </a:lnTo>
                <a:lnTo>
                  <a:pt x="372" y="307"/>
                </a:lnTo>
                <a:lnTo>
                  <a:pt x="375" y="310"/>
                </a:lnTo>
                <a:lnTo>
                  <a:pt x="375" y="319"/>
                </a:lnTo>
                <a:lnTo>
                  <a:pt x="375" y="322"/>
                </a:lnTo>
                <a:lnTo>
                  <a:pt x="372" y="322"/>
                </a:lnTo>
                <a:lnTo>
                  <a:pt x="372" y="322"/>
                </a:lnTo>
                <a:lnTo>
                  <a:pt x="369" y="326"/>
                </a:lnTo>
                <a:lnTo>
                  <a:pt x="362" y="322"/>
                </a:lnTo>
                <a:lnTo>
                  <a:pt x="356" y="319"/>
                </a:lnTo>
                <a:lnTo>
                  <a:pt x="356" y="316"/>
                </a:lnTo>
                <a:lnTo>
                  <a:pt x="353" y="316"/>
                </a:lnTo>
                <a:lnTo>
                  <a:pt x="353" y="319"/>
                </a:lnTo>
                <a:lnTo>
                  <a:pt x="350" y="322"/>
                </a:lnTo>
                <a:lnTo>
                  <a:pt x="347" y="319"/>
                </a:lnTo>
                <a:lnTo>
                  <a:pt x="347" y="319"/>
                </a:lnTo>
                <a:lnTo>
                  <a:pt x="344" y="319"/>
                </a:lnTo>
                <a:lnTo>
                  <a:pt x="334" y="316"/>
                </a:lnTo>
                <a:lnTo>
                  <a:pt x="328" y="316"/>
                </a:lnTo>
                <a:lnTo>
                  <a:pt x="319" y="316"/>
                </a:lnTo>
                <a:lnTo>
                  <a:pt x="312" y="310"/>
                </a:lnTo>
                <a:lnTo>
                  <a:pt x="309" y="310"/>
                </a:lnTo>
                <a:lnTo>
                  <a:pt x="306" y="316"/>
                </a:lnTo>
                <a:lnTo>
                  <a:pt x="303" y="313"/>
                </a:lnTo>
                <a:lnTo>
                  <a:pt x="297" y="313"/>
                </a:lnTo>
                <a:lnTo>
                  <a:pt x="287" y="313"/>
                </a:lnTo>
                <a:lnTo>
                  <a:pt x="287" y="310"/>
                </a:lnTo>
                <a:lnTo>
                  <a:pt x="284" y="310"/>
                </a:lnTo>
                <a:lnTo>
                  <a:pt x="284" y="304"/>
                </a:lnTo>
                <a:lnTo>
                  <a:pt x="281" y="297"/>
                </a:lnTo>
                <a:lnTo>
                  <a:pt x="278" y="288"/>
                </a:lnTo>
                <a:lnTo>
                  <a:pt x="275" y="285"/>
                </a:lnTo>
                <a:lnTo>
                  <a:pt x="275" y="282"/>
                </a:lnTo>
                <a:lnTo>
                  <a:pt x="272" y="282"/>
                </a:lnTo>
                <a:lnTo>
                  <a:pt x="272" y="282"/>
                </a:lnTo>
                <a:lnTo>
                  <a:pt x="266" y="279"/>
                </a:lnTo>
                <a:lnTo>
                  <a:pt x="262" y="282"/>
                </a:lnTo>
                <a:lnTo>
                  <a:pt x="256" y="285"/>
                </a:lnTo>
                <a:lnTo>
                  <a:pt x="253" y="285"/>
                </a:lnTo>
                <a:lnTo>
                  <a:pt x="253" y="282"/>
                </a:lnTo>
                <a:lnTo>
                  <a:pt x="253" y="285"/>
                </a:lnTo>
                <a:lnTo>
                  <a:pt x="244" y="291"/>
                </a:lnTo>
                <a:lnTo>
                  <a:pt x="237" y="297"/>
                </a:lnTo>
                <a:lnTo>
                  <a:pt x="228" y="291"/>
                </a:lnTo>
                <a:lnTo>
                  <a:pt x="222" y="288"/>
                </a:lnTo>
                <a:lnTo>
                  <a:pt x="219" y="291"/>
                </a:lnTo>
                <a:lnTo>
                  <a:pt x="216" y="291"/>
                </a:lnTo>
                <a:lnTo>
                  <a:pt x="209" y="285"/>
                </a:lnTo>
                <a:lnTo>
                  <a:pt x="206" y="285"/>
                </a:lnTo>
                <a:lnTo>
                  <a:pt x="203" y="282"/>
                </a:lnTo>
                <a:lnTo>
                  <a:pt x="200" y="282"/>
                </a:lnTo>
                <a:lnTo>
                  <a:pt x="194" y="275"/>
                </a:lnTo>
                <a:lnTo>
                  <a:pt x="194" y="272"/>
                </a:lnTo>
                <a:lnTo>
                  <a:pt x="194" y="272"/>
                </a:lnTo>
                <a:lnTo>
                  <a:pt x="191" y="272"/>
                </a:lnTo>
                <a:lnTo>
                  <a:pt x="191" y="269"/>
                </a:lnTo>
                <a:lnTo>
                  <a:pt x="184" y="269"/>
                </a:lnTo>
                <a:lnTo>
                  <a:pt x="181" y="266"/>
                </a:lnTo>
                <a:lnTo>
                  <a:pt x="175" y="266"/>
                </a:lnTo>
                <a:lnTo>
                  <a:pt x="169" y="266"/>
                </a:lnTo>
                <a:lnTo>
                  <a:pt x="166" y="263"/>
                </a:lnTo>
                <a:lnTo>
                  <a:pt x="159" y="250"/>
                </a:lnTo>
                <a:lnTo>
                  <a:pt x="159" y="247"/>
                </a:lnTo>
                <a:lnTo>
                  <a:pt x="156" y="247"/>
                </a:lnTo>
                <a:lnTo>
                  <a:pt x="153" y="244"/>
                </a:lnTo>
                <a:lnTo>
                  <a:pt x="153" y="244"/>
                </a:lnTo>
                <a:lnTo>
                  <a:pt x="156" y="244"/>
                </a:lnTo>
                <a:lnTo>
                  <a:pt x="156" y="244"/>
                </a:lnTo>
                <a:lnTo>
                  <a:pt x="156" y="241"/>
                </a:lnTo>
                <a:lnTo>
                  <a:pt x="153" y="241"/>
                </a:lnTo>
                <a:lnTo>
                  <a:pt x="150" y="241"/>
                </a:lnTo>
                <a:lnTo>
                  <a:pt x="150" y="235"/>
                </a:lnTo>
                <a:lnTo>
                  <a:pt x="144" y="225"/>
                </a:lnTo>
                <a:lnTo>
                  <a:pt x="141" y="222"/>
                </a:lnTo>
                <a:lnTo>
                  <a:pt x="137" y="216"/>
                </a:lnTo>
                <a:lnTo>
                  <a:pt x="134" y="216"/>
                </a:lnTo>
                <a:lnTo>
                  <a:pt x="128" y="219"/>
                </a:lnTo>
                <a:lnTo>
                  <a:pt x="128" y="219"/>
                </a:lnTo>
                <a:lnTo>
                  <a:pt x="125" y="216"/>
                </a:lnTo>
                <a:lnTo>
                  <a:pt x="125" y="216"/>
                </a:lnTo>
                <a:lnTo>
                  <a:pt x="119" y="216"/>
                </a:lnTo>
                <a:lnTo>
                  <a:pt x="119" y="213"/>
                </a:lnTo>
                <a:lnTo>
                  <a:pt x="122" y="210"/>
                </a:lnTo>
                <a:lnTo>
                  <a:pt x="119" y="213"/>
                </a:lnTo>
                <a:lnTo>
                  <a:pt x="116" y="213"/>
                </a:lnTo>
                <a:lnTo>
                  <a:pt x="116" y="213"/>
                </a:lnTo>
                <a:lnTo>
                  <a:pt x="119" y="213"/>
                </a:lnTo>
                <a:lnTo>
                  <a:pt x="119" y="219"/>
                </a:lnTo>
                <a:lnTo>
                  <a:pt x="116" y="219"/>
                </a:lnTo>
                <a:lnTo>
                  <a:pt x="112" y="219"/>
                </a:lnTo>
                <a:lnTo>
                  <a:pt x="109" y="216"/>
                </a:lnTo>
                <a:lnTo>
                  <a:pt x="109" y="216"/>
                </a:lnTo>
                <a:lnTo>
                  <a:pt x="109" y="216"/>
                </a:lnTo>
                <a:lnTo>
                  <a:pt x="106" y="216"/>
                </a:lnTo>
                <a:lnTo>
                  <a:pt x="103" y="213"/>
                </a:lnTo>
                <a:lnTo>
                  <a:pt x="100" y="210"/>
                </a:lnTo>
                <a:lnTo>
                  <a:pt x="97" y="197"/>
                </a:lnTo>
                <a:lnTo>
                  <a:pt x="91" y="197"/>
                </a:lnTo>
                <a:lnTo>
                  <a:pt x="91" y="194"/>
                </a:lnTo>
                <a:lnTo>
                  <a:pt x="91" y="188"/>
                </a:lnTo>
                <a:lnTo>
                  <a:pt x="94" y="185"/>
                </a:lnTo>
                <a:lnTo>
                  <a:pt x="91" y="175"/>
                </a:lnTo>
                <a:lnTo>
                  <a:pt x="87" y="172"/>
                </a:lnTo>
                <a:lnTo>
                  <a:pt x="84" y="166"/>
                </a:lnTo>
                <a:lnTo>
                  <a:pt x="81" y="163"/>
                </a:lnTo>
                <a:lnTo>
                  <a:pt x="78" y="166"/>
                </a:lnTo>
                <a:lnTo>
                  <a:pt x="62" y="157"/>
                </a:lnTo>
                <a:lnTo>
                  <a:pt x="59" y="157"/>
                </a:lnTo>
                <a:lnTo>
                  <a:pt x="59" y="157"/>
                </a:lnTo>
                <a:lnTo>
                  <a:pt x="53" y="153"/>
                </a:lnTo>
                <a:lnTo>
                  <a:pt x="56" y="150"/>
                </a:lnTo>
                <a:lnTo>
                  <a:pt x="53" y="150"/>
                </a:lnTo>
                <a:lnTo>
                  <a:pt x="56" y="147"/>
                </a:lnTo>
                <a:lnTo>
                  <a:pt x="53" y="144"/>
                </a:lnTo>
                <a:lnTo>
                  <a:pt x="50" y="141"/>
                </a:lnTo>
                <a:lnTo>
                  <a:pt x="47" y="138"/>
                </a:lnTo>
                <a:lnTo>
                  <a:pt x="44" y="135"/>
                </a:lnTo>
                <a:lnTo>
                  <a:pt x="41" y="135"/>
                </a:lnTo>
                <a:lnTo>
                  <a:pt x="41" y="135"/>
                </a:lnTo>
                <a:lnTo>
                  <a:pt x="44" y="132"/>
                </a:lnTo>
                <a:lnTo>
                  <a:pt x="41" y="128"/>
                </a:lnTo>
                <a:lnTo>
                  <a:pt x="44" y="125"/>
                </a:lnTo>
                <a:lnTo>
                  <a:pt x="44" y="119"/>
                </a:lnTo>
                <a:lnTo>
                  <a:pt x="47" y="116"/>
                </a:lnTo>
                <a:lnTo>
                  <a:pt x="47" y="113"/>
                </a:lnTo>
                <a:lnTo>
                  <a:pt x="50" y="113"/>
                </a:lnTo>
                <a:lnTo>
                  <a:pt x="50" y="110"/>
                </a:lnTo>
                <a:lnTo>
                  <a:pt x="50" y="103"/>
                </a:lnTo>
                <a:lnTo>
                  <a:pt x="50" y="103"/>
                </a:lnTo>
                <a:lnTo>
                  <a:pt x="50" y="97"/>
                </a:lnTo>
                <a:lnTo>
                  <a:pt x="50" y="97"/>
                </a:lnTo>
                <a:lnTo>
                  <a:pt x="56" y="94"/>
                </a:lnTo>
                <a:lnTo>
                  <a:pt x="56" y="94"/>
                </a:lnTo>
                <a:lnTo>
                  <a:pt x="56" y="94"/>
                </a:lnTo>
                <a:lnTo>
                  <a:pt x="53" y="91"/>
                </a:lnTo>
                <a:lnTo>
                  <a:pt x="47" y="94"/>
                </a:lnTo>
                <a:lnTo>
                  <a:pt x="44" y="91"/>
                </a:lnTo>
                <a:lnTo>
                  <a:pt x="37" y="88"/>
                </a:lnTo>
                <a:lnTo>
                  <a:pt x="34" y="88"/>
                </a:lnTo>
                <a:lnTo>
                  <a:pt x="31" y="85"/>
                </a:lnTo>
                <a:lnTo>
                  <a:pt x="31" y="82"/>
                </a:lnTo>
                <a:lnTo>
                  <a:pt x="28" y="78"/>
                </a:lnTo>
                <a:lnTo>
                  <a:pt x="25" y="78"/>
                </a:lnTo>
                <a:lnTo>
                  <a:pt x="22" y="72"/>
                </a:lnTo>
                <a:lnTo>
                  <a:pt x="22" y="69"/>
                </a:lnTo>
                <a:lnTo>
                  <a:pt x="22" y="66"/>
                </a:lnTo>
                <a:lnTo>
                  <a:pt x="19" y="66"/>
                </a:lnTo>
                <a:lnTo>
                  <a:pt x="19" y="66"/>
                </a:lnTo>
                <a:lnTo>
                  <a:pt x="19" y="63"/>
                </a:lnTo>
                <a:lnTo>
                  <a:pt x="16" y="57"/>
                </a:lnTo>
                <a:lnTo>
                  <a:pt x="12" y="50"/>
                </a:lnTo>
                <a:lnTo>
                  <a:pt x="6" y="47"/>
                </a:lnTo>
                <a:lnTo>
                  <a:pt x="6" y="44"/>
                </a:lnTo>
                <a:lnTo>
                  <a:pt x="6" y="38"/>
                </a:lnTo>
                <a:lnTo>
                  <a:pt x="9" y="35"/>
                </a:lnTo>
                <a:lnTo>
                  <a:pt x="9" y="31"/>
                </a:lnTo>
                <a:lnTo>
                  <a:pt x="3" y="31"/>
                </a:lnTo>
                <a:lnTo>
                  <a:pt x="3" y="25"/>
                </a:lnTo>
                <a:lnTo>
                  <a:pt x="3" y="22"/>
                </a:lnTo>
                <a:lnTo>
                  <a:pt x="3" y="13"/>
                </a:lnTo>
                <a:lnTo>
                  <a:pt x="0" y="10"/>
                </a:lnTo>
                <a:lnTo>
                  <a:pt x="0" y="10"/>
                </a:lnTo>
                <a:lnTo>
                  <a:pt x="6" y="6"/>
                </a:lnTo>
                <a:lnTo>
                  <a:pt x="6" y="3"/>
                </a:lnTo>
                <a:lnTo>
                  <a:pt x="9" y="0"/>
                </a:lnTo>
                <a:lnTo>
                  <a:pt x="9" y="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5" name="Freeform 83">
            <a:extLst>
              <a:ext uri="{FF2B5EF4-FFF2-40B4-BE49-F238E27FC236}">
                <a16:creationId xmlns:a16="http://schemas.microsoft.com/office/drawing/2014/main" id="{81077EF9-181D-0F61-8857-1AEC3AF4FC7D}"/>
              </a:ext>
            </a:extLst>
          </p:cNvPr>
          <p:cNvSpPr>
            <a:spLocks/>
          </p:cNvSpPr>
          <p:nvPr userDrawn="1"/>
        </p:nvSpPr>
        <p:spPr bwMode="auto">
          <a:xfrm>
            <a:off x="15708874" y="6606461"/>
            <a:ext cx="219064" cy="187326"/>
          </a:xfrm>
          <a:custGeom>
            <a:avLst/>
            <a:gdLst>
              <a:gd name="T0" fmla="*/ 0 w 69"/>
              <a:gd name="T1" fmla="*/ 3 h 59"/>
              <a:gd name="T2" fmla="*/ 6 w 69"/>
              <a:gd name="T3" fmla="*/ 0 h 59"/>
              <a:gd name="T4" fmla="*/ 16 w 69"/>
              <a:gd name="T5" fmla="*/ 0 h 59"/>
              <a:gd name="T6" fmla="*/ 16 w 69"/>
              <a:gd name="T7" fmla="*/ 0 h 59"/>
              <a:gd name="T8" fmla="*/ 28 w 69"/>
              <a:gd name="T9" fmla="*/ 0 h 59"/>
              <a:gd name="T10" fmla="*/ 31 w 69"/>
              <a:gd name="T11" fmla="*/ 3 h 59"/>
              <a:gd name="T12" fmla="*/ 41 w 69"/>
              <a:gd name="T13" fmla="*/ 3 h 59"/>
              <a:gd name="T14" fmla="*/ 44 w 69"/>
              <a:gd name="T15" fmla="*/ 9 h 59"/>
              <a:gd name="T16" fmla="*/ 44 w 69"/>
              <a:gd name="T17" fmla="*/ 12 h 59"/>
              <a:gd name="T18" fmla="*/ 44 w 69"/>
              <a:gd name="T19" fmla="*/ 15 h 59"/>
              <a:gd name="T20" fmla="*/ 50 w 69"/>
              <a:gd name="T21" fmla="*/ 25 h 59"/>
              <a:gd name="T22" fmla="*/ 50 w 69"/>
              <a:gd name="T23" fmla="*/ 28 h 59"/>
              <a:gd name="T24" fmla="*/ 47 w 69"/>
              <a:gd name="T25" fmla="*/ 31 h 59"/>
              <a:gd name="T26" fmla="*/ 50 w 69"/>
              <a:gd name="T27" fmla="*/ 37 h 59"/>
              <a:gd name="T28" fmla="*/ 60 w 69"/>
              <a:gd name="T29" fmla="*/ 40 h 59"/>
              <a:gd name="T30" fmla="*/ 66 w 69"/>
              <a:gd name="T31" fmla="*/ 40 h 59"/>
              <a:gd name="T32" fmla="*/ 69 w 69"/>
              <a:gd name="T33" fmla="*/ 47 h 59"/>
              <a:gd name="T34" fmla="*/ 66 w 69"/>
              <a:gd name="T35" fmla="*/ 47 h 59"/>
              <a:gd name="T36" fmla="*/ 69 w 69"/>
              <a:gd name="T37" fmla="*/ 53 h 59"/>
              <a:gd name="T38" fmla="*/ 66 w 69"/>
              <a:gd name="T39" fmla="*/ 53 h 59"/>
              <a:gd name="T40" fmla="*/ 66 w 69"/>
              <a:gd name="T41" fmla="*/ 56 h 59"/>
              <a:gd name="T42" fmla="*/ 63 w 69"/>
              <a:gd name="T43" fmla="*/ 59 h 59"/>
              <a:gd name="T44" fmla="*/ 53 w 69"/>
              <a:gd name="T45" fmla="*/ 43 h 59"/>
              <a:gd name="T46" fmla="*/ 47 w 69"/>
              <a:gd name="T47" fmla="*/ 43 h 59"/>
              <a:gd name="T48" fmla="*/ 44 w 69"/>
              <a:gd name="T49" fmla="*/ 37 h 59"/>
              <a:gd name="T50" fmla="*/ 41 w 69"/>
              <a:gd name="T51" fmla="*/ 37 h 59"/>
              <a:gd name="T52" fmla="*/ 41 w 69"/>
              <a:gd name="T53" fmla="*/ 40 h 59"/>
              <a:gd name="T54" fmla="*/ 35 w 69"/>
              <a:gd name="T55" fmla="*/ 34 h 59"/>
              <a:gd name="T56" fmla="*/ 31 w 69"/>
              <a:gd name="T57" fmla="*/ 37 h 59"/>
              <a:gd name="T58" fmla="*/ 28 w 69"/>
              <a:gd name="T59" fmla="*/ 37 h 59"/>
              <a:gd name="T60" fmla="*/ 25 w 69"/>
              <a:gd name="T61" fmla="*/ 34 h 59"/>
              <a:gd name="T62" fmla="*/ 22 w 69"/>
              <a:gd name="T63" fmla="*/ 31 h 59"/>
              <a:gd name="T64" fmla="*/ 19 w 69"/>
              <a:gd name="T65" fmla="*/ 31 h 59"/>
              <a:gd name="T66" fmla="*/ 13 w 69"/>
              <a:gd name="T67" fmla="*/ 31 h 59"/>
              <a:gd name="T68" fmla="*/ 6 w 69"/>
              <a:gd name="T69" fmla="*/ 28 h 59"/>
              <a:gd name="T70" fmla="*/ 6 w 69"/>
              <a:gd name="T71" fmla="*/ 18 h 59"/>
              <a:gd name="T72" fmla="*/ 10 w 69"/>
              <a:gd name="T73" fmla="*/ 12 h 59"/>
              <a:gd name="T74" fmla="*/ 6 w 69"/>
              <a:gd name="T75" fmla="*/ 9 h 59"/>
              <a:gd name="T76" fmla="*/ 3 w 69"/>
              <a:gd name="T77" fmla="*/ 9 h 59"/>
              <a:gd name="T78" fmla="*/ 3 w 69"/>
              <a:gd name="T79" fmla="*/ 6 h 59"/>
              <a:gd name="T80" fmla="*/ 0 w 69"/>
              <a:gd name="T81"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9" h="59">
                <a:moveTo>
                  <a:pt x="0" y="3"/>
                </a:moveTo>
                <a:lnTo>
                  <a:pt x="6" y="0"/>
                </a:lnTo>
                <a:lnTo>
                  <a:pt x="16" y="0"/>
                </a:lnTo>
                <a:lnTo>
                  <a:pt x="16" y="0"/>
                </a:lnTo>
                <a:lnTo>
                  <a:pt x="28" y="0"/>
                </a:lnTo>
                <a:lnTo>
                  <a:pt x="31" y="3"/>
                </a:lnTo>
                <a:lnTo>
                  <a:pt x="41" y="3"/>
                </a:lnTo>
                <a:lnTo>
                  <a:pt x="44" y="9"/>
                </a:lnTo>
                <a:lnTo>
                  <a:pt x="44" y="12"/>
                </a:lnTo>
                <a:lnTo>
                  <a:pt x="44" y="15"/>
                </a:lnTo>
                <a:lnTo>
                  <a:pt x="50" y="25"/>
                </a:lnTo>
                <a:lnTo>
                  <a:pt x="50" y="28"/>
                </a:lnTo>
                <a:lnTo>
                  <a:pt x="47" y="31"/>
                </a:lnTo>
                <a:lnTo>
                  <a:pt x="50" y="37"/>
                </a:lnTo>
                <a:lnTo>
                  <a:pt x="60" y="40"/>
                </a:lnTo>
                <a:lnTo>
                  <a:pt x="66" y="40"/>
                </a:lnTo>
                <a:lnTo>
                  <a:pt x="69" y="47"/>
                </a:lnTo>
                <a:lnTo>
                  <a:pt x="66" y="47"/>
                </a:lnTo>
                <a:lnTo>
                  <a:pt x="69" y="53"/>
                </a:lnTo>
                <a:lnTo>
                  <a:pt x="66" y="53"/>
                </a:lnTo>
                <a:lnTo>
                  <a:pt x="66" y="56"/>
                </a:lnTo>
                <a:lnTo>
                  <a:pt x="63" y="59"/>
                </a:lnTo>
                <a:lnTo>
                  <a:pt x="53" y="43"/>
                </a:lnTo>
                <a:lnTo>
                  <a:pt x="47" y="43"/>
                </a:lnTo>
                <a:lnTo>
                  <a:pt x="44" y="37"/>
                </a:lnTo>
                <a:lnTo>
                  <a:pt x="41" y="37"/>
                </a:lnTo>
                <a:lnTo>
                  <a:pt x="41" y="40"/>
                </a:lnTo>
                <a:lnTo>
                  <a:pt x="35" y="34"/>
                </a:lnTo>
                <a:lnTo>
                  <a:pt x="31" y="37"/>
                </a:lnTo>
                <a:lnTo>
                  <a:pt x="28" y="37"/>
                </a:lnTo>
                <a:lnTo>
                  <a:pt x="25" y="34"/>
                </a:lnTo>
                <a:lnTo>
                  <a:pt x="22" y="31"/>
                </a:lnTo>
                <a:lnTo>
                  <a:pt x="19" y="31"/>
                </a:lnTo>
                <a:lnTo>
                  <a:pt x="13" y="31"/>
                </a:lnTo>
                <a:lnTo>
                  <a:pt x="6" y="28"/>
                </a:lnTo>
                <a:lnTo>
                  <a:pt x="6" y="18"/>
                </a:lnTo>
                <a:lnTo>
                  <a:pt x="10" y="12"/>
                </a:lnTo>
                <a:lnTo>
                  <a:pt x="6" y="9"/>
                </a:lnTo>
                <a:lnTo>
                  <a:pt x="3" y="9"/>
                </a:lnTo>
                <a:lnTo>
                  <a:pt x="3" y="6"/>
                </a:lnTo>
                <a:lnTo>
                  <a:pt x="0" y="3"/>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6" name="Freeform 84">
            <a:extLst>
              <a:ext uri="{FF2B5EF4-FFF2-40B4-BE49-F238E27FC236}">
                <a16:creationId xmlns:a16="http://schemas.microsoft.com/office/drawing/2014/main" id="{C6E24D87-74E0-8C03-D90B-BF66EDB66FAB}"/>
              </a:ext>
            </a:extLst>
          </p:cNvPr>
          <p:cNvSpPr>
            <a:spLocks noEditPoints="1"/>
          </p:cNvSpPr>
          <p:nvPr userDrawn="1"/>
        </p:nvSpPr>
        <p:spPr bwMode="auto">
          <a:xfrm>
            <a:off x="14667545" y="6555659"/>
            <a:ext cx="1161974" cy="466726"/>
          </a:xfrm>
          <a:custGeom>
            <a:avLst/>
            <a:gdLst>
              <a:gd name="T0" fmla="*/ 19 w 366"/>
              <a:gd name="T1" fmla="*/ 16 h 147"/>
              <a:gd name="T2" fmla="*/ 28 w 366"/>
              <a:gd name="T3" fmla="*/ 0 h 147"/>
              <a:gd name="T4" fmla="*/ 53 w 366"/>
              <a:gd name="T5" fmla="*/ 16 h 147"/>
              <a:gd name="T6" fmla="*/ 50 w 366"/>
              <a:gd name="T7" fmla="*/ 28 h 147"/>
              <a:gd name="T8" fmla="*/ 22 w 366"/>
              <a:gd name="T9" fmla="*/ 41 h 147"/>
              <a:gd name="T10" fmla="*/ 16 w 366"/>
              <a:gd name="T11" fmla="*/ 38 h 147"/>
              <a:gd name="T12" fmla="*/ 6 w 366"/>
              <a:gd name="T13" fmla="*/ 31 h 147"/>
              <a:gd name="T14" fmla="*/ 278 w 366"/>
              <a:gd name="T15" fmla="*/ 25 h 147"/>
              <a:gd name="T16" fmla="*/ 256 w 366"/>
              <a:gd name="T17" fmla="*/ 22 h 147"/>
              <a:gd name="T18" fmla="*/ 222 w 366"/>
              <a:gd name="T19" fmla="*/ 25 h 147"/>
              <a:gd name="T20" fmla="*/ 197 w 366"/>
              <a:gd name="T21" fmla="*/ 19 h 147"/>
              <a:gd name="T22" fmla="*/ 181 w 366"/>
              <a:gd name="T23" fmla="*/ 9 h 147"/>
              <a:gd name="T24" fmla="*/ 159 w 366"/>
              <a:gd name="T25" fmla="*/ 3 h 147"/>
              <a:gd name="T26" fmla="*/ 125 w 366"/>
              <a:gd name="T27" fmla="*/ 6 h 147"/>
              <a:gd name="T28" fmla="*/ 106 w 366"/>
              <a:gd name="T29" fmla="*/ 22 h 147"/>
              <a:gd name="T30" fmla="*/ 81 w 366"/>
              <a:gd name="T31" fmla="*/ 22 h 147"/>
              <a:gd name="T32" fmla="*/ 66 w 366"/>
              <a:gd name="T33" fmla="*/ 34 h 147"/>
              <a:gd name="T34" fmla="*/ 56 w 366"/>
              <a:gd name="T35" fmla="*/ 41 h 147"/>
              <a:gd name="T36" fmla="*/ 47 w 366"/>
              <a:gd name="T37" fmla="*/ 44 h 147"/>
              <a:gd name="T38" fmla="*/ 28 w 366"/>
              <a:gd name="T39" fmla="*/ 44 h 147"/>
              <a:gd name="T40" fmla="*/ 12 w 366"/>
              <a:gd name="T41" fmla="*/ 63 h 147"/>
              <a:gd name="T42" fmla="*/ 28 w 366"/>
              <a:gd name="T43" fmla="*/ 66 h 147"/>
              <a:gd name="T44" fmla="*/ 25 w 366"/>
              <a:gd name="T45" fmla="*/ 81 h 147"/>
              <a:gd name="T46" fmla="*/ 28 w 366"/>
              <a:gd name="T47" fmla="*/ 88 h 147"/>
              <a:gd name="T48" fmla="*/ 16 w 366"/>
              <a:gd name="T49" fmla="*/ 91 h 147"/>
              <a:gd name="T50" fmla="*/ 25 w 366"/>
              <a:gd name="T51" fmla="*/ 100 h 147"/>
              <a:gd name="T52" fmla="*/ 34 w 366"/>
              <a:gd name="T53" fmla="*/ 116 h 147"/>
              <a:gd name="T54" fmla="*/ 37 w 366"/>
              <a:gd name="T55" fmla="*/ 125 h 147"/>
              <a:gd name="T56" fmla="*/ 37 w 366"/>
              <a:gd name="T57" fmla="*/ 131 h 147"/>
              <a:gd name="T58" fmla="*/ 50 w 366"/>
              <a:gd name="T59" fmla="*/ 135 h 147"/>
              <a:gd name="T60" fmla="*/ 62 w 366"/>
              <a:gd name="T61" fmla="*/ 131 h 147"/>
              <a:gd name="T62" fmla="*/ 72 w 366"/>
              <a:gd name="T63" fmla="*/ 138 h 147"/>
              <a:gd name="T64" fmla="*/ 87 w 366"/>
              <a:gd name="T65" fmla="*/ 141 h 147"/>
              <a:gd name="T66" fmla="*/ 100 w 366"/>
              <a:gd name="T67" fmla="*/ 131 h 147"/>
              <a:gd name="T68" fmla="*/ 134 w 366"/>
              <a:gd name="T69" fmla="*/ 141 h 147"/>
              <a:gd name="T70" fmla="*/ 169 w 366"/>
              <a:gd name="T71" fmla="*/ 141 h 147"/>
              <a:gd name="T72" fmla="*/ 197 w 366"/>
              <a:gd name="T73" fmla="*/ 131 h 147"/>
              <a:gd name="T74" fmla="*/ 200 w 366"/>
              <a:gd name="T75" fmla="*/ 138 h 147"/>
              <a:gd name="T76" fmla="*/ 216 w 366"/>
              <a:gd name="T77" fmla="*/ 144 h 147"/>
              <a:gd name="T78" fmla="*/ 228 w 366"/>
              <a:gd name="T79" fmla="*/ 131 h 147"/>
              <a:gd name="T80" fmla="*/ 256 w 366"/>
              <a:gd name="T81" fmla="*/ 125 h 147"/>
              <a:gd name="T82" fmla="*/ 288 w 366"/>
              <a:gd name="T83" fmla="*/ 119 h 147"/>
              <a:gd name="T84" fmla="*/ 322 w 366"/>
              <a:gd name="T85" fmla="*/ 119 h 147"/>
              <a:gd name="T86" fmla="*/ 353 w 366"/>
              <a:gd name="T87" fmla="*/ 113 h 147"/>
              <a:gd name="T88" fmla="*/ 363 w 366"/>
              <a:gd name="T89" fmla="*/ 110 h 147"/>
              <a:gd name="T90" fmla="*/ 356 w 366"/>
              <a:gd name="T91" fmla="*/ 84 h 147"/>
              <a:gd name="T92" fmla="*/ 347 w 366"/>
              <a:gd name="T93" fmla="*/ 63 h 147"/>
              <a:gd name="T94" fmla="*/ 347 w 366"/>
              <a:gd name="T95" fmla="*/ 47 h 147"/>
              <a:gd name="T96" fmla="*/ 331 w 366"/>
              <a:gd name="T97" fmla="*/ 25 h 147"/>
              <a:gd name="T98" fmla="*/ 309 w 366"/>
              <a:gd name="T99" fmla="*/ 13 h 147"/>
              <a:gd name="T100" fmla="*/ 294 w 366"/>
              <a:gd name="T101" fmla="*/ 9 h 147"/>
              <a:gd name="T102" fmla="*/ 47 w 366"/>
              <a:gd name="T103" fmla="*/ 138 h 147"/>
              <a:gd name="T104" fmla="*/ 9 w 366"/>
              <a:gd name="T105" fmla="*/ 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6" h="147">
                <a:moveTo>
                  <a:pt x="6" y="31"/>
                </a:moveTo>
                <a:lnTo>
                  <a:pt x="12" y="31"/>
                </a:lnTo>
                <a:lnTo>
                  <a:pt x="12" y="28"/>
                </a:lnTo>
                <a:lnTo>
                  <a:pt x="12" y="22"/>
                </a:lnTo>
                <a:lnTo>
                  <a:pt x="19" y="19"/>
                </a:lnTo>
                <a:lnTo>
                  <a:pt x="19" y="16"/>
                </a:lnTo>
                <a:lnTo>
                  <a:pt x="12" y="13"/>
                </a:lnTo>
                <a:lnTo>
                  <a:pt x="16" y="6"/>
                </a:lnTo>
                <a:lnTo>
                  <a:pt x="19" y="3"/>
                </a:lnTo>
                <a:lnTo>
                  <a:pt x="22" y="3"/>
                </a:lnTo>
                <a:lnTo>
                  <a:pt x="22" y="0"/>
                </a:lnTo>
                <a:lnTo>
                  <a:pt x="28" y="0"/>
                </a:lnTo>
                <a:lnTo>
                  <a:pt x="34" y="6"/>
                </a:lnTo>
                <a:lnTo>
                  <a:pt x="37" y="3"/>
                </a:lnTo>
                <a:lnTo>
                  <a:pt x="41" y="3"/>
                </a:lnTo>
                <a:lnTo>
                  <a:pt x="41" y="13"/>
                </a:lnTo>
                <a:lnTo>
                  <a:pt x="47" y="16"/>
                </a:lnTo>
                <a:lnTo>
                  <a:pt x="53" y="16"/>
                </a:lnTo>
                <a:lnTo>
                  <a:pt x="56" y="22"/>
                </a:lnTo>
                <a:lnTo>
                  <a:pt x="59" y="25"/>
                </a:lnTo>
                <a:lnTo>
                  <a:pt x="59" y="25"/>
                </a:lnTo>
                <a:lnTo>
                  <a:pt x="56" y="31"/>
                </a:lnTo>
                <a:lnTo>
                  <a:pt x="53" y="28"/>
                </a:lnTo>
                <a:lnTo>
                  <a:pt x="50" y="28"/>
                </a:lnTo>
                <a:lnTo>
                  <a:pt x="44" y="28"/>
                </a:lnTo>
                <a:lnTo>
                  <a:pt x="44" y="28"/>
                </a:lnTo>
                <a:lnTo>
                  <a:pt x="37" y="28"/>
                </a:lnTo>
                <a:lnTo>
                  <a:pt x="34" y="31"/>
                </a:lnTo>
                <a:lnTo>
                  <a:pt x="31" y="38"/>
                </a:lnTo>
                <a:lnTo>
                  <a:pt x="22" y="41"/>
                </a:lnTo>
                <a:lnTo>
                  <a:pt x="12" y="50"/>
                </a:lnTo>
                <a:lnTo>
                  <a:pt x="12" y="47"/>
                </a:lnTo>
                <a:lnTo>
                  <a:pt x="12" y="41"/>
                </a:lnTo>
                <a:lnTo>
                  <a:pt x="16" y="41"/>
                </a:lnTo>
                <a:lnTo>
                  <a:pt x="19" y="38"/>
                </a:lnTo>
                <a:lnTo>
                  <a:pt x="16" y="38"/>
                </a:lnTo>
                <a:lnTo>
                  <a:pt x="12" y="38"/>
                </a:lnTo>
                <a:lnTo>
                  <a:pt x="12" y="38"/>
                </a:lnTo>
                <a:lnTo>
                  <a:pt x="9" y="34"/>
                </a:lnTo>
                <a:lnTo>
                  <a:pt x="6" y="31"/>
                </a:lnTo>
                <a:lnTo>
                  <a:pt x="6" y="31"/>
                </a:lnTo>
                <a:lnTo>
                  <a:pt x="6" y="31"/>
                </a:lnTo>
                <a:close/>
                <a:moveTo>
                  <a:pt x="294" y="9"/>
                </a:moveTo>
                <a:lnTo>
                  <a:pt x="294" y="9"/>
                </a:lnTo>
                <a:lnTo>
                  <a:pt x="291" y="16"/>
                </a:lnTo>
                <a:lnTo>
                  <a:pt x="288" y="19"/>
                </a:lnTo>
                <a:lnTo>
                  <a:pt x="281" y="22"/>
                </a:lnTo>
                <a:lnTo>
                  <a:pt x="278" y="25"/>
                </a:lnTo>
                <a:lnTo>
                  <a:pt x="272" y="25"/>
                </a:lnTo>
                <a:lnTo>
                  <a:pt x="269" y="25"/>
                </a:lnTo>
                <a:lnTo>
                  <a:pt x="263" y="25"/>
                </a:lnTo>
                <a:lnTo>
                  <a:pt x="259" y="22"/>
                </a:lnTo>
                <a:lnTo>
                  <a:pt x="256" y="22"/>
                </a:lnTo>
                <a:lnTo>
                  <a:pt x="256" y="22"/>
                </a:lnTo>
                <a:lnTo>
                  <a:pt x="253" y="22"/>
                </a:lnTo>
                <a:lnTo>
                  <a:pt x="244" y="25"/>
                </a:lnTo>
                <a:lnTo>
                  <a:pt x="238" y="28"/>
                </a:lnTo>
                <a:lnTo>
                  <a:pt x="231" y="25"/>
                </a:lnTo>
                <a:lnTo>
                  <a:pt x="225" y="22"/>
                </a:lnTo>
                <a:lnTo>
                  <a:pt x="222" y="25"/>
                </a:lnTo>
                <a:lnTo>
                  <a:pt x="216" y="22"/>
                </a:lnTo>
                <a:lnTo>
                  <a:pt x="212" y="19"/>
                </a:lnTo>
                <a:lnTo>
                  <a:pt x="203" y="16"/>
                </a:lnTo>
                <a:lnTo>
                  <a:pt x="203" y="16"/>
                </a:lnTo>
                <a:lnTo>
                  <a:pt x="200" y="19"/>
                </a:lnTo>
                <a:lnTo>
                  <a:pt x="197" y="19"/>
                </a:lnTo>
                <a:lnTo>
                  <a:pt x="194" y="13"/>
                </a:lnTo>
                <a:lnTo>
                  <a:pt x="194" y="9"/>
                </a:lnTo>
                <a:lnTo>
                  <a:pt x="191" y="6"/>
                </a:lnTo>
                <a:lnTo>
                  <a:pt x="187" y="6"/>
                </a:lnTo>
                <a:lnTo>
                  <a:pt x="184" y="9"/>
                </a:lnTo>
                <a:lnTo>
                  <a:pt x="181" y="9"/>
                </a:lnTo>
                <a:lnTo>
                  <a:pt x="181" y="9"/>
                </a:lnTo>
                <a:lnTo>
                  <a:pt x="172" y="3"/>
                </a:lnTo>
                <a:lnTo>
                  <a:pt x="172" y="0"/>
                </a:lnTo>
                <a:lnTo>
                  <a:pt x="172" y="0"/>
                </a:lnTo>
                <a:lnTo>
                  <a:pt x="166" y="3"/>
                </a:lnTo>
                <a:lnTo>
                  <a:pt x="159" y="3"/>
                </a:lnTo>
                <a:lnTo>
                  <a:pt x="156" y="0"/>
                </a:lnTo>
                <a:lnTo>
                  <a:pt x="153" y="3"/>
                </a:lnTo>
                <a:lnTo>
                  <a:pt x="144" y="3"/>
                </a:lnTo>
                <a:lnTo>
                  <a:pt x="137" y="3"/>
                </a:lnTo>
                <a:lnTo>
                  <a:pt x="128" y="6"/>
                </a:lnTo>
                <a:lnTo>
                  <a:pt x="125" y="6"/>
                </a:lnTo>
                <a:lnTo>
                  <a:pt x="119" y="9"/>
                </a:lnTo>
                <a:lnTo>
                  <a:pt x="116" y="13"/>
                </a:lnTo>
                <a:lnTo>
                  <a:pt x="112" y="13"/>
                </a:lnTo>
                <a:lnTo>
                  <a:pt x="109" y="16"/>
                </a:lnTo>
                <a:lnTo>
                  <a:pt x="106" y="16"/>
                </a:lnTo>
                <a:lnTo>
                  <a:pt x="106" y="22"/>
                </a:lnTo>
                <a:lnTo>
                  <a:pt x="103" y="22"/>
                </a:lnTo>
                <a:lnTo>
                  <a:pt x="103" y="25"/>
                </a:lnTo>
                <a:lnTo>
                  <a:pt x="97" y="25"/>
                </a:lnTo>
                <a:lnTo>
                  <a:pt x="87" y="22"/>
                </a:lnTo>
                <a:lnTo>
                  <a:pt x="84" y="22"/>
                </a:lnTo>
                <a:lnTo>
                  <a:pt x="81" y="22"/>
                </a:lnTo>
                <a:lnTo>
                  <a:pt x="78" y="22"/>
                </a:lnTo>
                <a:lnTo>
                  <a:pt x="72" y="25"/>
                </a:lnTo>
                <a:lnTo>
                  <a:pt x="69" y="22"/>
                </a:lnTo>
                <a:lnTo>
                  <a:pt x="62" y="25"/>
                </a:lnTo>
                <a:lnTo>
                  <a:pt x="62" y="28"/>
                </a:lnTo>
                <a:lnTo>
                  <a:pt x="66" y="34"/>
                </a:lnTo>
                <a:lnTo>
                  <a:pt x="72" y="34"/>
                </a:lnTo>
                <a:lnTo>
                  <a:pt x="75" y="34"/>
                </a:lnTo>
                <a:lnTo>
                  <a:pt x="75" y="34"/>
                </a:lnTo>
                <a:lnTo>
                  <a:pt x="66" y="38"/>
                </a:lnTo>
                <a:lnTo>
                  <a:pt x="59" y="38"/>
                </a:lnTo>
                <a:lnTo>
                  <a:pt x="56" y="41"/>
                </a:lnTo>
                <a:lnTo>
                  <a:pt x="59" y="44"/>
                </a:lnTo>
                <a:lnTo>
                  <a:pt x="62" y="41"/>
                </a:lnTo>
                <a:lnTo>
                  <a:pt x="66" y="44"/>
                </a:lnTo>
                <a:lnTo>
                  <a:pt x="62" y="47"/>
                </a:lnTo>
                <a:lnTo>
                  <a:pt x="53" y="47"/>
                </a:lnTo>
                <a:lnTo>
                  <a:pt x="47" y="44"/>
                </a:lnTo>
                <a:lnTo>
                  <a:pt x="44" y="47"/>
                </a:lnTo>
                <a:lnTo>
                  <a:pt x="41" y="44"/>
                </a:lnTo>
                <a:lnTo>
                  <a:pt x="37" y="44"/>
                </a:lnTo>
                <a:lnTo>
                  <a:pt x="34" y="47"/>
                </a:lnTo>
                <a:lnTo>
                  <a:pt x="31" y="47"/>
                </a:lnTo>
                <a:lnTo>
                  <a:pt x="28" y="44"/>
                </a:lnTo>
                <a:lnTo>
                  <a:pt x="22" y="44"/>
                </a:lnTo>
                <a:lnTo>
                  <a:pt x="12" y="50"/>
                </a:lnTo>
                <a:lnTo>
                  <a:pt x="12" y="53"/>
                </a:lnTo>
                <a:lnTo>
                  <a:pt x="12" y="56"/>
                </a:lnTo>
                <a:lnTo>
                  <a:pt x="12" y="59"/>
                </a:lnTo>
                <a:lnTo>
                  <a:pt x="12" y="63"/>
                </a:lnTo>
                <a:lnTo>
                  <a:pt x="12" y="66"/>
                </a:lnTo>
                <a:lnTo>
                  <a:pt x="12" y="66"/>
                </a:lnTo>
                <a:lnTo>
                  <a:pt x="19" y="66"/>
                </a:lnTo>
                <a:lnTo>
                  <a:pt x="19" y="66"/>
                </a:lnTo>
                <a:lnTo>
                  <a:pt x="22" y="66"/>
                </a:lnTo>
                <a:lnTo>
                  <a:pt x="28" y="66"/>
                </a:lnTo>
                <a:lnTo>
                  <a:pt x="22" y="69"/>
                </a:lnTo>
                <a:lnTo>
                  <a:pt x="25" y="72"/>
                </a:lnTo>
                <a:lnTo>
                  <a:pt x="25" y="75"/>
                </a:lnTo>
                <a:lnTo>
                  <a:pt x="25" y="78"/>
                </a:lnTo>
                <a:lnTo>
                  <a:pt x="25" y="78"/>
                </a:lnTo>
                <a:lnTo>
                  <a:pt x="25" y="81"/>
                </a:lnTo>
                <a:lnTo>
                  <a:pt x="31" y="78"/>
                </a:lnTo>
                <a:lnTo>
                  <a:pt x="31" y="81"/>
                </a:lnTo>
                <a:lnTo>
                  <a:pt x="28" y="81"/>
                </a:lnTo>
                <a:lnTo>
                  <a:pt x="22" y="84"/>
                </a:lnTo>
                <a:lnTo>
                  <a:pt x="25" y="88"/>
                </a:lnTo>
                <a:lnTo>
                  <a:pt x="28" y="88"/>
                </a:lnTo>
                <a:lnTo>
                  <a:pt x="25" y="88"/>
                </a:lnTo>
                <a:lnTo>
                  <a:pt x="22" y="91"/>
                </a:lnTo>
                <a:lnTo>
                  <a:pt x="22" y="91"/>
                </a:lnTo>
                <a:lnTo>
                  <a:pt x="19" y="88"/>
                </a:lnTo>
                <a:lnTo>
                  <a:pt x="19" y="88"/>
                </a:lnTo>
                <a:lnTo>
                  <a:pt x="16" y="91"/>
                </a:lnTo>
                <a:lnTo>
                  <a:pt x="19" y="94"/>
                </a:lnTo>
                <a:lnTo>
                  <a:pt x="16" y="94"/>
                </a:lnTo>
                <a:lnTo>
                  <a:pt x="16" y="97"/>
                </a:lnTo>
                <a:lnTo>
                  <a:pt x="19" y="100"/>
                </a:lnTo>
                <a:lnTo>
                  <a:pt x="22" y="97"/>
                </a:lnTo>
                <a:lnTo>
                  <a:pt x="25" y="100"/>
                </a:lnTo>
                <a:lnTo>
                  <a:pt x="28" y="100"/>
                </a:lnTo>
                <a:lnTo>
                  <a:pt x="31" y="103"/>
                </a:lnTo>
                <a:lnTo>
                  <a:pt x="34" y="110"/>
                </a:lnTo>
                <a:lnTo>
                  <a:pt x="31" y="113"/>
                </a:lnTo>
                <a:lnTo>
                  <a:pt x="34" y="113"/>
                </a:lnTo>
                <a:lnTo>
                  <a:pt x="34" y="116"/>
                </a:lnTo>
                <a:lnTo>
                  <a:pt x="34" y="116"/>
                </a:lnTo>
                <a:lnTo>
                  <a:pt x="41" y="122"/>
                </a:lnTo>
                <a:lnTo>
                  <a:pt x="37" y="125"/>
                </a:lnTo>
                <a:lnTo>
                  <a:pt x="34" y="122"/>
                </a:lnTo>
                <a:lnTo>
                  <a:pt x="34" y="125"/>
                </a:lnTo>
                <a:lnTo>
                  <a:pt x="37" y="125"/>
                </a:lnTo>
                <a:lnTo>
                  <a:pt x="44" y="125"/>
                </a:lnTo>
                <a:lnTo>
                  <a:pt x="50" y="125"/>
                </a:lnTo>
                <a:lnTo>
                  <a:pt x="50" y="125"/>
                </a:lnTo>
                <a:lnTo>
                  <a:pt x="50" y="128"/>
                </a:lnTo>
                <a:lnTo>
                  <a:pt x="44" y="131"/>
                </a:lnTo>
                <a:lnTo>
                  <a:pt x="37" y="131"/>
                </a:lnTo>
                <a:lnTo>
                  <a:pt x="37" y="131"/>
                </a:lnTo>
                <a:lnTo>
                  <a:pt x="41" y="135"/>
                </a:lnTo>
                <a:lnTo>
                  <a:pt x="44" y="131"/>
                </a:lnTo>
                <a:lnTo>
                  <a:pt x="47" y="131"/>
                </a:lnTo>
                <a:lnTo>
                  <a:pt x="50" y="131"/>
                </a:lnTo>
                <a:lnTo>
                  <a:pt x="50" y="135"/>
                </a:lnTo>
                <a:lnTo>
                  <a:pt x="50" y="135"/>
                </a:lnTo>
                <a:lnTo>
                  <a:pt x="53" y="131"/>
                </a:lnTo>
                <a:lnTo>
                  <a:pt x="56" y="128"/>
                </a:lnTo>
                <a:lnTo>
                  <a:pt x="59" y="128"/>
                </a:lnTo>
                <a:lnTo>
                  <a:pt x="59" y="131"/>
                </a:lnTo>
                <a:lnTo>
                  <a:pt x="62" y="131"/>
                </a:lnTo>
                <a:lnTo>
                  <a:pt x="66" y="135"/>
                </a:lnTo>
                <a:lnTo>
                  <a:pt x="69" y="131"/>
                </a:lnTo>
                <a:lnTo>
                  <a:pt x="72" y="131"/>
                </a:lnTo>
                <a:lnTo>
                  <a:pt x="72" y="135"/>
                </a:lnTo>
                <a:lnTo>
                  <a:pt x="69" y="135"/>
                </a:lnTo>
                <a:lnTo>
                  <a:pt x="72" y="138"/>
                </a:lnTo>
                <a:lnTo>
                  <a:pt x="72" y="141"/>
                </a:lnTo>
                <a:lnTo>
                  <a:pt x="75" y="144"/>
                </a:lnTo>
                <a:lnTo>
                  <a:pt x="78" y="141"/>
                </a:lnTo>
                <a:lnTo>
                  <a:pt x="81" y="144"/>
                </a:lnTo>
                <a:lnTo>
                  <a:pt x="87" y="144"/>
                </a:lnTo>
                <a:lnTo>
                  <a:pt x="87" y="141"/>
                </a:lnTo>
                <a:lnTo>
                  <a:pt x="91" y="141"/>
                </a:lnTo>
                <a:lnTo>
                  <a:pt x="94" y="141"/>
                </a:lnTo>
                <a:lnTo>
                  <a:pt x="97" y="141"/>
                </a:lnTo>
                <a:lnTo>
                  <a:pt x="100" y="141"/>
                </a:lnTo>
                <a:lnTo>
                  <a:pt x="100" y="135"/>
                </a:lnTo>
                <a:lnTo>
                  <a:pt x="100" y="131"/>
                </a:lnTo>
                <a:lnTo>
                  <a:pt x="100" y="128"/>
                </a:lnTo>
                <a:lnTo>
                  <a:pt x="109" y="128"/>
                </a:lnTo>
                <a:lnTo>
                  <a:pt x="116" y="128"/>
                </a:lnTo>
                <a:lnTo>
                  <a:pt x="125" y="135"/>
                </a:lnTo>
                <a:lnTo>
                  <a:pt x="128" y="135"/>
                </a:lnTo>
                <a:lnTo>
                  <a:pt x="134" y="141"/>
                </a:lnTo>
                <a:lnTo>
                  <a:pt x="141" y="144"/>
                </a:lnTo>
                <a:lnTo>
                  <a:pt x="156" y="144"/>
                </a:lnTo>
                <a:lnTo>
                  <a:pt x="162" y="141"/>
                </a:lnTo>
                <a:lnTo>
                  <a:pt x="166" y="141"/>
                </a:lnTo>
                <a:lnTo>
                  <a:pt x="166" y="141"/>
                </a:lnTo>
                <a:lnTo>
                  <a:pt x="169" y="141"/>
                </a:lnTo>
                <a:lnTo>
                  <a:pt x="169" y="138"/>
                </a:lnTo>
                <a:lnTo>
                  <a:pt x="178" y="125"/>
                </a:lnTo>
                <a:lnTo>
                  <a:pt x="178" y="125"/>
                </a:lnTo>
                <a:lnTo>
                  <a:pt x="187" y="128"/>
                </a:lnTo>
                <a:lnTo>
                  <a:pt x="194" y="131"/>
                </a:lnTo>
                <a:lnTo>
                  <a:pt x="197" y="131"/>
                </a:lnTo>
                <a:lnTo>
                  <a:pt x="200" y="128"/>
                </a:lnTo>
                <a:lnTo>
                  <a:pt x="203" y="125"/>
                </a:lnTo>
                <a:lnTo>
                  <a:pt x="206" y="125"/>
                </a:lnTo>
                <a:lnTo>
                  <a:pt x="206" y="128"/>
                </a:lnTo>
                <a:lnTo>
                  <a:pt x="203" y="135"/>
                </a:lnTo>
                <a:lnTo>
                  <a:pt x="200" y="138"/>
                </a:lnTo>
                <a:lnTo>
                  <a:pt x="200" y="138"/>
                </a:lnTo>
                <a:lnTo>
                  <a:pt x="203" y="144"/>
                </a:lnTo>
                <a:lnTo>
                  <a:pt x="203" y="147"/>
                </a:lnTo>
                <a:lnTo>
                  <a:pt x="206" y="147"/>
                </a:lnTo>
                <a:lnTo>
                  <a:pt x="209" y="147"/>
                </a:lnTo>
                <a:lnTo>
                  <a:pt x="216" y="144"/>
                </a:lnTo>
                <a:lnTo>
                  <a:pt x="216" y="141"/>
                </a:lnTo>
                <a:lnTo>
                  <a:pt x="216" y="138"/>
                </a:lnTo>
                <a:lnTo>
                  <a:pt x="216" y="131"/>
                </a:lnTo>
                <a:lnTo>
                  <a:pt x="219" y="128"/>
                </a:lnTo>
                <a:lnTo>
                  <a:pt x="225" y="128"/>
                </a:lnTo>
                <a:lnTo>
                  <a:pt x="228" y="131"/>
                </a:lnTo>
                <a:lnTo>
                  <a:pt x="238" y="125"/>
                </a:lnTo>
                <a:lnTo>
                  <a:pt x="238" y="125"/>
                </a:lnTo>
                <a:lnTo>
                  <a:pt x="241" y="125"/>
                </a:lnTo>
                <a:lnTo>
                  <a:pt x="253" y="122"/>
                </a:lnTo>
                <a:lnTo>
                  <a:pt x="256" y="125"/>
                </a:lnTo>
                <a:lnTo>
                  <a:pt x="256" y="125"/>
                </a:lnTo>
                <a:lnTo>
                  <a:pt x="263" y="128"/>
                </a:lnTo>
                <a:lnTo>
                  <a:pt x="272" y="128"/>
                </a:lnTo>
                <a:lnTo>
                  <a:pt x="275" y="125"/>
                </a:lnTo>
                <a:lnTo>
                  <a:pt x="278" y="125"/>
                </a:lnTo>
                <a:lnTo>
                  <a:pt x="281" y="122"/>
                </a:lnTo>
                <a:lnTo>
                  <a:pt x="288" y="119"/>
                </a:lnTo>
                <a:lnTo>
                  <a:pt x="294" y="119"/>
                </a:lnTo>
                <a:lnTo>
                  <a:pt x="297" y="119"/>
                </a:lnTo>
                <a:lnTo>
                  <a:pt x="306" y="119"/>
                </a:lnTo>
                <a:lnTo>
                  <a:pt x="316" y="116"/>
                </a:lnTo>
                <a:lnTo>
                  <a:pt x="322" y="116"/>
                </a:lnTo>
                <a:lnTo>
                  <a:pt x="322" y="119"/>
                </a:lnTo>
                <a:lnTo>
                  <a:pt x="328" y="113"/>
                </a:lnTo>
                <a:lnTo>
                  <a:pt x="331" y="113"/>
                </a:lnTo>
                <a:lnTo>
                  <a:pt x="334" y="113"/>
                </a:lnTo>
                <a:lnTo>
                  <a:pt x="341" y="113"/>
                </a:lnTo>
                <a:lnTo>
                  <a:pt x="350" y="113"/>
                </a:lnTo>
                <a:lnTo>
                  <a:pt x="353" y="113"/>
                </a:lnTo>
                <a:lnTo>
                  <a:pt x="356" y="113"/>
                </a:lnTo>
                <a:lnTo>
                  <a:pt x="356" y="119"/>
                </a:lnTo>
                <a:lnTo>
                  <a:pt x="359" y="119"/>
                </a:lnTo>
                <a:lnTo>
                  <a:pt x="366" y="119"/>
                </a:lnTo>
                <a:lnTo>
                  <a:pt x="366" y="116"/>
                </a:lnTo>
                <a:lnTo>
                  <a:pt x="363" y="110"/>
                </a:lnTo>
                <a:lnTo>
                  <a:pt x="359" y="103"/>
                </a:lnTo>
                <a:lnTo>
                  <a:pt x="353" y="100"/>
                </a:lnTo>
                <a:lnTo>
                  <a:pt x="353" y="97"/>
                </a:lnTo>
                <a:lnTo>
                  <a:pt x="353" y="91"/>
                </a:lnTo>
                <a:lnTo>
                  <a:pt x="356" y="88"/>
                </a:lnTo>
                <a:lnTo>
                  <a:pt x="356" y="84"/>
                </a:lnTo>
                <a:lnTo>
                  <a:pt x="350" y="84"/>
                </a:lnTo>
                <a:lnTo>
                  <a:pt x="350" y="78"/>
                </a:lnTo>
                <a:lnTo>
                  <a:pt x="350" y="75"/>
                </a:lnTo>
                <a:lnTo>
                  <a:pt x="350" y="66"/>
                </a:lnTo>
                <a:lnTo>
                  <a:pt x="347" y="63"/>
                </a:lnTo>
                <a:lnTo>
                  <a:pt x="347" y="63"/>
                </a:lnTo>
                <a:lnTo>
                  <a:pt x="353" y="59"/>
                </a:lnTo>
                <a:lnTo>
                  <a:pt x="353" y="56"/>
                </a:lnTo>
                <a:lnTo>
                  <a:pt x="356" y="53"/>
                </a:lnTo>
                <a:lnTo>
                  <a:pt x="353" y="50"/>
                </a:lnTo>
                <a:lnTo>
                  <a:pt x="350" y="47"/>
                </a:lnTo>
                <a:lnTo>
                  <a:pt x="347" y="47"/>
                </a:lnTo>
                <a:lnTo>
                  <a:pt x="341" y="47"/>
                </a:lnTo>
                <a:lnTo>
                  <a:pt x="334" y="44"/>
                </a:lnTo>
                <a:lnTo>
                  <a:pt x="334" y="34"/>
                </a:lnTo>
                <a:lnTo>
                  <a:pt x="338" y="28"/>
                </a:lnTo>
                <a:lnTo>
                  <a:pt x="334" y="25"/>
                </a:lnTo>
                <a:lnTo>
                  <a:pt x="331" y="25"/>
                </a:lnTo>
                <a:lnTo>
                  <a:pt x="331" y="22"/>
                </a:lnTo>
                <a:lnTo>
                  <a:pt x="328" y="19"/>
                </a:lnTo>
                <a:lnTo>
                  <a:pt x="325" y="19"/>
                </a:lnTo>
                <a:lnTo>
                  <a:pt x="316" y="9"/>
                </a:lnTo>
                <a:lnTo>
                  <a:pt x="313" y="9"/>
                </a:lnTo>
                <a:lnTo>
                  <a:pt x="309" y="13"/>
                </a:lnTo>
                <a:lnTo>
                  <a:pt x="306" y="13"/>
                </a:lnTo>
                <a:lnTo>
                  <a:pt x="303" y="9"/>
                </a:lnTo>
                <a:lnTo>
                  <a:pt x="300" y="13"/>
                </a:lnTo>
                <a:lnTo>
                  <a:pt x="297" y="13"/>
                </a:lnTo>
                <a:lnTo>
                  <a:pt x="297" y="9"/>
                </a:lnTo>
                <a:lnTo>
                  <a:pt x="294" y="9"/>
                </a:lnTo>
                <a:lnTo>
                  <a:pt x="294" y="9"/>
                </a:lnTo>
                <a:close/>
                <a:moveTo>
                  <a:pt x="44" y="135"/>
                </a:moveTo>
                <a:lnTo>
                  <a:pt x="47" y="135"/>
                </a:lnTo>
                <a:lnTo>
                  <a:pt x="47" y="135"/>
                </a:lnTo>
                <a:lnTo>
                  <a:pt x="47" y="135"/>
                </a:lnTo>
                <a:lnTo>
                  <a:pt x="47" y="138"/>
                </a:lnTo>
                <a:lnTo>
                  <a:pt x="44" y="135"/>
                </a:lnTo>
                <a:lnTo>
                  <a:pt x="44" y="135"/>
                </a:lnTo>
                <a:close/>
                <a:moveTo>
                  <a:pt x="0" y="47"/>
                </a:moveTo>
                <a:lnTo>
                  <a:pt x="3" y="50"/>
                </a:lnTo>
                <a:lnTo>
                  <a:pt x="9" y="47"/>
                </a:lnTo>
                <a:lnTo>
                  <a:pt x="9" y="47"/>
                </a:lnTo>
                <a:lnTo>
                  <a:pt x="6" y="44"/>
                </a:lnTo>
                <a:lnTo>
                  <a:pt x="6" y="47"/>
                </a:lnTo>
                <a:lnTo>
                  <a:pt x="3" y="47"/>
                </a:lnTo>
                <a:lnTo>
                  <a:pt x="0" y="4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7" name="Freeform 85">
            <a:extLst>
              <a:ext uri="{FF2B5EF4-FFF2-40B4-BE49-F238E27FC236}">
                <a16:creationId xmlns:a16="http://schemas.microsoft.com/office/drawing/2014/main" id="{22EBD02A-0AE3-DF38-08C5-A9ADFFE9D284}"/>
              </a:ext>
            </a:extLst>
          </p:cNvPr>
          <p:cNvSpPr>
            <a:spLocks/>
          </p:cNvSpPr>
          <p:nvPr userDrawn="1"/>
        </p:nvSpPr>
        <p:spPr bwMode="auto">
          <a:xfrm>
            <a:off x="15512041" y="6914429"/>
            <a:ext cx="603211" cy="574678"/>
          </a:xfrm>
          <a:custGeom>
            <a:avLst/>
            <a:gdLst>
              <a:gd name="T0" fmla="*/ 187 w 190"/>
              <a:gd name="T1" fmla="*/ 156 h 181"/>
              <a:gd name="T2" fmla="*/ 181 w 190"/>
              <a:gd name="T3" fmla="*/ 150 h 181"/>
              <a:gd name="T4" fmla="*/ 172 w 190"/>
              <a:gd name="T5" fmla="*/ 137 h 181"/>
              <a:gd name="T6" fmla="*/ 172 w 190"/>
              <a:gd name="T7" fmla="*/ 128 h 181"/>
              <a:gd name="T8" fmla="*/ 172 w 190"/>
              <a:gd name="T9" fmla="*/ 115 h 181"/>
              <a:gd name="T10" fmla="*/ 165 w 190"/>
              <a:gd name="T11" fmla="*/ 106 h 181"/>
              <a:gd name="T12" fmla="*/ 159 w 190"/>
              <a:gd name="T13" fmla="*/ 106 h 181"/>
              <a:gd name="T14" fmla="*/ 140 w 190"/>
              <a:gd name="T15" fmla="*/ 97 h 181"/>
              <a:gd name="T16" fmla="*/ 134 w 190"/>
              <a:gd name="T17" fmla="*/ 93 h 181"/>
              <a:gd name="T18" fmla="*/ 134 w 190"/>
              <a:gd name="T19" fmla="*/ 90 h 181"/>
              <a:gd name="T20" fmla="*/ 134 w 190"/>
              <a:gd name="T21" fmla="*/ 84 h 181"/>
              <a:gd name="T22" fmla="*/ 128 w 190"/>
              <a:gd name="T23" fmla="*/ 78 h 181"/>
              <a:gd name="T24" fmla="*/ 122 w 190"/>
              <a:gd name="T25" fmla="*/ 75 h 181"/>
              <a:gd name="T26" fmla="*/ 125 w 190"/>
              <a:gd name="T27" fmla="*/ 72 h 181"/>
              <a:gd name="T28" fmla="*/ 125 w 190"/>
              <a:gd name="T29" fmla="*/ 65 h 181"/>
              <a:gd name="T30" fmla="*/ 128 w 190"/>
              <a:gd name="T31" fmla="*/ 56 h 181"/>
              <a:gd name="T32" fmla="*/ 131 w 190"/>
              <a:gd name="T33" fmla="*/ 53 h 181"/>
              <a:gd name="T34" fmla="*/ 131 w 190"/>
              <a:gd name="T35" fmla="*/ 43 h 181"/>
              <a:gd name="T36" fmla="*/ 131 w 190"/>
              <a:gd name="T37" fmla="*/ 37 h 181"/>
              <a:gd name="T38" fmla="*/ 137 w 190"/>
              <a:gd name="T39" fmla="*/ 34 h 181"/>
              <a:gd name="T40" fmla="*/ 137 w 190"/>
              <a:gd name="T41" fmla="*/ 34 h 181"/>
              <a:gd name="T42" fmla="*/ 128 w 190"/>
              <a:gd name="T43" fmla="*/ 34 h 181"/>
              <a:gd name="T44" fmla="*/ 118 w 190"/>
              <a:gd name="T45" fmla="*/ 28 h 181"/>
              <a:gd name="T46" fmla="*/ 112 w 190"/>
              <a:gd name="T47" fmla="*/ 25 h 181"/>
              <a:gd name="T48" fmla="*/ 109 w 190"/>
              <a:gd name="T49" fmla="*/ 18 h 181"/>
              <a:gd name="T50" fmla="*/ 103 w 190"/>
              <a:gd name="T51" fmla="*/ 12 h 181"/>
              <a:gd name="T52" fmla="*/ 103 w 190"/>
              <a:gd name="T53" fmla="*/ 6 h 181"/>
              <a:gd name="T54" fmla="*/ 93 w 190"/>
              <a:gd name="T55" fmla="*/ 6 h 181"/>
              <a:gd name="T56" fmla="*/ 90 w 190"/>
              <a:gd name="T57" fmla="*/ 0 h 181"/>
              <a:gd name="T58" fmla="*/ 84 w 190"/>
              <a:gd name="T59" fmla="*/ 0 h 181"/>
              <a:gd name="T60" fmla="*/ 68 w 190"/>
              <a:gd name="T61" fmla="*/ 0 h 181"/>
              <a:gd name="T62" fmla="*/ 62 w 190"/>
              <a:gd name="T63" fmla="*/ 0 h 181"/>
              <a:gd name="T64" fmla="*/ 56 w 190"/>
              <a:gd name="T65" fmla="*/ 6 h 181"/>
              <a:gd name="T66" fmla="*/ 53 w 190"/>
              <a:gd name="T67" fmla="*/ 9 h 181"/>
              <a:gd name="T68" fmla="*/ 40 w 190"/>
              <a:gd name="T69" fmla="*/ 15 h 181"/>
              <a:gd name="T70" fmla="*/ 37 w 190"/>
              <a:gd name="T71" fmla="*/ 28 h 181"/>
              <a:gd name="T72" fmla="*/ 40 w 190"/>
              <a:gd name="T73" fmla="*/ 40 h 181"/>
              <a:gd name="T74" fmla="*/ 37 w 190"/>
              <a:gd name="T75" fmla="*/ 50 h 181"/>
              <a:gd name="T76" fmla="*/ 34 w 190"/>
              <a:gd name="T77" fmla="*/ 62 h 181"/>
              <a:gd name="T78" fmla="*/ 0 w 190"/>
              <a:gd name="T79" fmla="*/ 90 h 181"/>
              <a:gd name="T80" fmla="*/ 0 w 190"/>
              <a:gd name="T81" fmla="*/ 90 h 181"/>
              <a:gd name="T82" fmla="*/ 25 w 190"/>
              <a:gd name="T83" fmla="*/ 115 h 181"/>
              <a:gd name="T84" fmla="*/ 156 w 190"/>
              <a:gd name="T85" fmla="*/ 181 h 181"/>
              <a:gd name="T86" fmla="*/ 162 w 190"/>
              <a:gd name="T87" fmla="*/ 162 h 181"/>
              <a:gd name="T88" fmla="*/ 178 w 190"/>
              <a:gd name="T89" fmla="*/ 162 h 181"/>
              <a:gd name="T90" fmla="*/ 184 w 190"/>
              <a:gd name="T91" fmla="*/ 162 h 181"/>
              <a:gd name="T92" fmla="*/ 190 w 190"/>
              <a:gd name="T93" fmla="*/ 15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0" h="181">
                <a:moveTo>
                  <a:pt x="190" y="156"/>
                </a:moveTo>
                <a:lnTo>
                  <a:pt x="187" y="156"/>
                </a:lnTo>
                <a:lnTo>
                  <a:pt x="184" y="153"/>
                </a:lnTo>
                <a:lnTo>
                  <a:pt x="181" y="150"/>
                </a:lnTo>
                <a:lnTo>
                  <a:pt x="178" y="137"/>
                </a:lnTo>
                <a:lnTo>
                  <a:pt x="172" y="137"/>
                </a:lnTo>
                <a:lnTo>
                  <a:pt x="172" y="134"/>
                </a:lnTo>
                <a:lnTo>
                  <a:pt x="172" y="128"/>
                </a:lnTo>
                <a:lnTo>
                  <a:pt x="175" y="125"/>
                </a:lnTo>
                <a:lnTo>
                  <a:pt x="172" y="115"/>
                </a:lnTo>
                <a:lnTo>
                  <a:pt x="168" y="112"/>
                </a:lnTo>
                <a:lnTo>
                  <a:pt x="165" y="106"/>
                </a:lnTo>
                <a:lnTo>
                  <a:pt x="162" y="103"/>
                </a:lnTo>
                <a:lnTo>
                  <a:pt x="159" y="106"/>
                </a:lnTo>
                <a:lnTo>
                  <a:pt x="143" y="97"/>
                </a:lnTo>
                <a:lnTo>
                  <a:pt x="140" y="97"/>
                </a:lnTo>
                <a:lnTo>
                  <a:pt x="140" y="97"/>
                </a:lnTo>
                <a:lnTo>
                  <a:pt x="134" y="93"/>
                </a:lnTo>
                <a:lnTo>
                  <a:pt x="137" y="90"/>
                </a:lnTo>
                <a:lnTo>
                  <a:pt x="134" y="90"/>
                </a:lnTo>
                <a:lnTo>
                  <a:pt x="137" y="87"/>
                </a:lnTo>
                <a:lnTo>
                  <a:pt x="134" y="84"/>
                </a:lnTo>
                <a:lnTo>
                  <a:pt x="131" y="81"/>
                </a:lnTo>
                <a:lnTo>
                  <a:pt x="128" y="78"/>
                </a:lnTo>
                <a:lnTo>
                  <a:pt x="125" y="75"/>
                </a:lnTo>
                <a:lnTo>
                  <a:pt x="122" y="75"/>
                </a:lnTo>
                <a:lnTo>
                  <a:pt x="122" y="75"/>
                </a:lnTo>
                <a:lnTo>
                  <a:pt x="125" y="72"/>
                </a:lnTo>
                <a:lnTo>
                  <a:pt x="122" y="68"/>
                </a:lnTo>
                <a:lnTo>
                  <a:pt x="125" y="65"/>
                </a:lnTo>
                <a:lnTo>
                  <a:pt x="125" y="59"/>
                </a:lnTo>
                <a:lnTo>
                  <a:pt x="128" y="56"/>
                </a:lnTo>
                <a:lnTo>
                  <a:pt x="128" y="53"/>
                </a:lnTo>
                <a:lnTo>
                  <a:pt x="131" y="53"/>
                </a:lnTo>
                <a:lnTo>
                  <a:pt x="131" y="50"/>
                </a:lnTo>
                <a:lnTo>
                  <a:pt x="131" y="43"/>
                </a:lnTo>
                <a:lnTo>
                  <a:pt x="131" y="43"/>
                </a:lnTo>
                <a:lnTo>
                  <a:pt x="131" y="37"/>
                </a:lnTo>
                <a:lnTo>
                  <a:pt x="131" y="37"/>
                </a:lnTo>
                <a:lnTo>
                  <a:pt x="137" y="34"/>
                </a:lnTo>
                <a:lnTo>
                  <a:pt x="137" y="34"/>
                </a:lnTo>
                <a:lnTo>
                  <a:pt x="137" y="34"/>
                </a:lnTo>
                <a:lnTo>
                  <a:pt x="134" y="31"/>
                </a:lnTo>
                <a:lnTo>
                  <a:pt x="128" y="34"/>
                </a:lnTo>
                <a:lnTo>
                  <a:pt x="125" y="31"/>
                </a:lnTo>
                <a:lnTo>
                  <a:pt x="118" y="28"/>
                </a:lnTo>
                <a:lnTo>
                  <a:pt x="115" y="28"/>
                </a:lnTo>
                <a:lnTo>
                  <a:pt x="112" y="25"/>
                </a:lnTo>
                <a:lnTo>
                  <a:pt x="112" y="22"/>
                </a:lnTo>
                <a:lnTo>
                  <a:pt x="109" y="18"/>
                </a:lnTo>
                <a:lnTo>
                  <a:pt x="106" y="18"/>
                </a:lnTo>
                <a:lnTo>
                  <a:pt x="103" y="12"/>
                </a:lnTo>
                <a:lnTo>
                  <a:pt x="103" y="9"/>
                </a:lnTo>
                <a:lnTo>
                  <a:pt x="103" y="6"/>
                </a:lnTo>
                <a:lnTo>
                  <a:pt x="100" y="6"/>
                </a:lnTo>
                <a:lnTo>
                  <a:pt x="93" y="6"/>
                </a:lnTo>
                <a:lnTo>
                  <a:pt x="90" y="6"/>
                </a:lnTo>
                <a:lnTo>
                  <a:pt x="90" y="0"/>
                </a:lnTo>
                <a:lnTo>
                  <a:pt x="87" y="0"/>
                </a:lnTo>
                <a:lnTo>
                  <a:pt x="84" y="0"/>
                </a:lnTo>
                <a:lnTo>
                  <a:pt x="75" y="0"/>
                </a:lnTo>
                <a:lnTo>
                  <a:pt x="68" y="0"/>
                </a:lnTo>
                <a:lnTo>
                  <a:pt x="65" y="0"/>
                </a:lnTo>
                <a:lnTo>
                  <a:pt x="62" y="0"/>
                </a:lnTo>
                <a:lnTo>
                  <a:pt x="56" y="6"/>
                </a:lnTo>
                <a:lnTo>
                  <a:pt x="56" y="6"/>
                </a:lnTo>
                <a:lnTo>
                  <a:pt x="56" y="9"/>
                </a:lnTo>
                <a:lnTo>
                  <a:pt x="53" y="9"/>
                </a:lnTo>
                <a:lnTo>
                  <a:pt x="50" y="12"/>
                </a:lnTo>
                <a:lnTo>
                  <a:pt x="40" y="15"/>
                </a:lnTo>
                <a:lnTo>
                  <a:pt x="37" y="22"/>
                </a:lnTo>
                <a:lnTo>
                  <a:pt x="37" y="28"/>
                </a:lnTo>
                <a:lnTo>
                  <a:pt x="40" y="34"/>
                </a:lnTo>
                <a:lnTo>
                  <a:pt x="40" y="40"/>
                </a:lnTo>
                <a:lnTo>
                  <a:pt x="37" y="47"/>
                </a:lnTo>
                <a:lnTo>
                  <a:pt x="37" y="50"/>
                </a:lnTo>
                <a:lnTo>
                  <a:pt x="37" y="56"/>
                </a:lnTo>
                <a:lnTo>
                  <a:pt x="34" y="62"/>
                </a:lnTo>
                <a:lnTo>
                  <a:pt x="34" y="65"/>
                </a:lnTo>
                <a:lnTo>
                  <a:pt x="0" y="90"/>
                </a:lnTo>
                <a:lnTo>
                  <a:pt x="0" y="90"/>
                </a:lnTo>
                <a:lnTo>
                  <a:pt x="0" y="90"/>
                </a:lnTo>
                <a:lnTo>
                  <a:pt x="9" y="115"/>
                </a:lnTo>
                <a:lnTo>
                  <a:pt x="25" y="115"/>
                </a:lnTo>
                <a:lnTo>
                  <a:pt x="118" y="181"/>
                </a:lnTo>
                <a:lnTo>
                  <a:pt x="156" y="181"/>
                </a:lnTo>
                <a:lnTo>
                  <a:pt x="159" y="172"/>
                </a:lnTo>
                <a:lnTo>
                  <a:pt x="162" y="162"/>
                </a:lnTo>
                <a:lnTo>
                  <a:pt x="172" y="159"/>
                </a:lnTo>
                <a:lnTo>
                  <a:pt x="178" y="162"/>
                </a:lnTo>
                <a:lnTo>
                  <a:pt x="184" y="159"/>
                </a:lnTo>
                <a:lnTo>
                  <a:pt x="184" y="162"/>
                </a:lnTo>
                <a:lnTo>
                  <a:pt x="187" y="156"/>
                </a:lnTo>
                <a:lnTo>
                  <a:pt x="190" y="15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8" name="Freeform 86">
            <a:extLst>
              <a:ext uri="{FF2B5EF4-FFF2-40B4-BE49-F238E27FC236}">
                <a16:creationId xmlns:a16="http://schemas.microsoft.com/office/drawing/2014/main" id="{239BC775-BCCD-2BB4-6489-846312735CCE}"/>
              </a:ext>
            </a:extLst>
          </p:cNvPr>
          <p:cNvSpPr>
            <a:spLocks/>
          </p:cNvSpPr>
          <p:nvPr userDrawn="1"/>
        </p:nvSpPr>
        <p:spPr bwMode="auto">
          <a:xfrm>
            <a:off x="16007307" y="7419259"/>
            <a:ext cx="98420" cy="111126"/>
          </a:xfrm>
          <a:custGeom>
            <a:avLst/>
            <a:gdLst>
              <a:gd name="T0" fmla="*/ 0 w 31"/>
              <a:gd name="T1" fmla="*/ 22 h 35"/>
              <a:gd name="T2" fmla="*/ 3 w 31"/>
              <a:gd name="T3" fmla="*/ 13 h 35"/>
              <a:gd name="T4" fmla="*/ 6 w 31"/>
              <a:gd name="T5" fmla="*/ 3 h 35"/>
              <a:gd name="T6" fmla="*/ 16 w 31"/>
              <a:gd name="T7" fmla="*/ 0 h 35"/>
              <a:gd name="T8" fmla="*/ 22 w 31"/>
              <a:gd name="T9" fmla="*/ 3 h 35"/>
              <a:gd name="T10" fmla="*/ 28 w 31"/>
              <a:gd name="T11" fmla="*/ 0 h 35"/>
              <a:gd name="T12" fmla="*/ 28 w 31"/>
              <a:gd name="T13" fmla="*/ 3 h 35"/>
              <a:gd name="T14" fmla="*/ 28 w 31"/>
              <a:gd name="T15" fmla="*/ 3 h 35"/>
              <a:gd name="T16" fmla="*/ 31 w 31"/>
              <a:gd name="T17" fmla="*/ 13 h 35"/>
              <a:gd name="T18" fmla="*/ 19 w 31"/>
              <a:gd name="T19" fmla="*/ 16 h 35"/>
              <a:gd name="T20" fmla="*/ 28 w 31"/>
              <a:gd name="T21" fmla="*/ 19 h 35"/>
              <a:gd name="T22" fmla="*/ 28 w 31"/>
              <a:gd name="T23" fmla="*/ 19 h 35"/>
              <a:gd name="T24" fmla="*/ 28 w 31"/>
              <a:gd name="T25" fmla="*/ 22 h 35"/>
              <a:gd name="T26" fmla="*/ 28 w 31"/>
              <a:gd name="T27" fmla="*/ 25 h 35"/>
              <a:gd name="T28" fmla="*/ 31 w 31"/>
              <a:gd name="T29" fmla="*/ 25 h 35"/>
              <a:gd name="T30" fmla="*/ 31 w 31"/>
              <a:gd name="T31" fmla="*/ 25 h 35"/>
              <a:gd name="T32" fmla="*/ 31 w 31"/>
              <a:gd name="T33" fmla="*/ 28 h 35"/>
              <a:gd name="T34" fmla="*/ 31 w 31"/>
              <a:gd name="T35" fmla="*/ 28 h 35"/>
              <a:gd name="T36" fmla="*/ 19 w 31"/>
              <a:gd name="T37" fmla="*/ 35 h 35"/>
              <a:gd name="T38" fmla="*/ 19 w 31"/>
              <a:gd name="T39" fmla="*/ 28 h 35"/>
              <a:gd name="T40" fmla="*/ 0 w 31"/>
              <a:gd name="T41" fmla="*/ 22 h 35"/>
              <a:gd name="T42" fmla="*/ 0 w 31"/>
              <a:gd name="T43"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5">
                <a:moveTo>
                  <a:pt x="0" y="22"/>
                </a:moveTo>
                <a:lnTo>
                  <a:pt x="3" y="13"/>
                </a:lnTo>
                <a:lnTo>
                  <a:pt x="6" y="3"/>
                </a:lnTo>
                <a:lnTo>
                  <a:pt x="16" y="0"/>
                </a:lnTo>
                <a:lnTo>
                  <a:pt x="22" y="3"/>
                </a:lnTo>
                <a:lnTo>
                  <a:pt x="28" y="0"/>
                </a:lnTo>
                <a:lnTo>
                  <a:pt x="28" y="3"/>
                </a:lnTo>
                <a:lnTo>
                  <a:pt x="28" y="3"/>
                </a:lnTo>
                <a:lnTo>
                  <a:pt x="31" y="13"/>
                </a:lnTo>
                <a:lnTo>
                  <a:pt x="19" y="16"/>
                </a:lnTo>
                <a:lnTo>
                  <a:pt x="28" y="19"/>
                </a:lnTo>
                <a:lnTo>
                  <a:pt x="28" y="19"/>
                </a:lnTo>
                <a:lnTo>
                  <a:pt x="28" y="22"/>
                </a:lnTo>
                <a:lnTo>
                  <a:pt x="28" y="25"/>
                </a:lnTo>
                <a:lnTo>
                  <a:pt x="31" y="25"/>
                </a:lnTo>
                <a:lnTo>
                  <a:pt x="31" y="25"/>
                </a:lnTo>
                <a:lnTo>
                  <a:pt x="31" y="28"/>
                </a:lnTo>
                <a:lnTo>
                  <a:pt x="31" y="28"/>
                </a:lnTo>
                <a:lnTo>
                  <a:pt x="19" y="35"/>
                </a:lnTo>
                <a:lnTo>
                  <a:pt x="19" y="28"/>
                </a:lnTo>
                <a:lnTo>
                  <a:pt x="0" y="22"/>
                </a:lnTo>
                <a:lnTo>
                  <a:pt x="0" y="22"/>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9" name="Freeform 87">
            <a:extLst>
              <a:ext uri="{FF2B5EF4-FFF2-40B4-BE49-F238E27FC236}">
                <a16:creationId xmlns:a16="http://schemas.microsoft.com/office/drawing/2014/main" id="{6951549B-0CB6-8403-7057-290677120776}"/>
              </a:ext>
            </a:extLst>
          </p:cNvPr>
          <p:cNvSpPr>
            <a:spLocks/>
          </p:cNvSpPr>
          <p:nvPr userDrawn="1"/>
        </p:nvSpPr>
        <p:spPr bwMode="auto">
          <a:xfrm>
            <a:off x="15092965" y="7041432"/>
            <a:ext cx="139693" cy="79376"/>
          </a:xfrm>
          <a:custGeom>
            <a:avLst/>
            <a:gdLst>
              <a:gd name="T0" fmla="*/ 10 w 44"/>
              <a:gd name="T1" fmla="*/ 25 h 25"/>
              <a:gd name="T2" fmla="*/ 3 w 44"/>
              <a:gd name="T3" fmla="*/ 22 h 25"/>
              <a:gd name="T4" fmla="*/ 0 w 44"/>
              <a:gd name="T5" fmla="*/ 19 h 25"/>
              <a:gd name="T6" fmla="*/ 0 w 44"/>
              <a:gd name="T7" fmla="*/ 13 h 25"/>
              <a:gd name="T8" fmla="*/ 3 w 44"/>
              <a:gd name="T9" fmla="*/ 13 h 25"/>
              <a:gd name="T10" fmla="*/ 7 w 44"/>
              <a:gd name="T11" fmla="*/ 10 h 25"/>
              <a:gd name="T12" fmla="*/ 10 w 44"/>
              <a:gd name="T13" fmla="*/ 13 h 25"/>
              <a:gd name="T14" fmla="*/ 13 w 44"/>
              <a:gd name="T15" fmla="*/ 13 h 25"/>
              <a:gd name="T16" fmla="*/ 13 w 44"/>
              <a:gd name="T17" fmla="*/ 10 h 25"/>
              <a:gd name="T18" fmla="*/ 13 w 44"/>
              <a:gd name="T19" fmla="*/ 7 h 25"/>
              <a:gd name="T20" fmla="*/ 19 w 44"/>
              <a:gd name="T21" fmla="*/ 7 h 25"/>
              <a:gd name="T22" fmla="*/ 22 w 44"/>
              <a:gd name="T23" fmla="*/ 10 h 25"/>
              <a:gd name="T24" fmla="*/ 25 w 44"/>
              <a:gd name="T25" fmla="*/ 7 h 25"/>
              <a:gd name="T26" fmla="*/ 35 w 44"/>
              <a:gd name="T27" fmla="*/ 3 h 25"/>
              <a:gd name="T28" fmla="*/ 41 w 44"/>
              <a:gd name="T29" fmla="*/ 0 h 25"/>
              <a:gd name="T30" fmla="*/ 44 w 44"/>
              <a:gd name="T31" fmla="*/ 0 h 25"/>
              <a:gd name="T32" fmla="*/ 44 w 44"/>
              <a:gd name="T33" fmla="*/ 0 h 25"/>
              <a:gd name="T34" fmla="*/ 44 w 44"/>
              <a:gd name="T35" fmla="*/ 3 h 25"/>
              <a:gd name="T36" fmla="*/ 38 w 44"/>
              <a:gd name="T37" fmla="*/ 7 h 25"/>
              <a:gd name="T38" fmla="*/ 35 w 44"/>
              <a:gd name="T39" fmla="*/ 10 h 25"/>
              <a:gd name="T40" fmla="*/ 35 w 44"/>
              <a:gd name="T41" fmla="*/ 16 h 25"/>
              <a:gd name="T42" fmla="*/ 35 w 44"/>
              <a:gd name="T43" fmla="*/ 19 h 25"/>
              <a:gd name="T44" fmla="*/ 32 w 44"/>
              <a:gd name="T45" fmla="*/ 19 h 25"/>
              <a:gd name="T46" fmla="*/ 28 w 44"/>
              <a:gd name="T47" fmla="*/ 19 h 25"/>
              <a:gd name="T48" fmla="*/ 22 w 44"/>
              <a:gd name="T49" fmla="*/ 22 h 25"/>
              <a:gd name="T50" fmla="*/ 19 w 44"/>
              <a:gd name="T51" fmla="*/ 25 h 25"/>
              <a:gd name="T52" fmla="*/ 16 w 44"/>
              <a:gd name="T53" fmla="*/ 25 h 25"/>
              <a:gd name="T54" fmla="*/ 13 w 44"/>
              <a:gd name="T55" fmla="*/ 25 h 25"/>
              <a:gd name="T56" fmla="*/ 10 w 44"/>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 h="25">
                <a:moveTo>
                  <a:pt x="10" y="25"/>
                </a:moveTo>
                <a:lnTo>
                  <a:pt x="3" y="22"/>
                </a:lnTo>
                <a:lnTo>
                  <a:pt x="0" y="19"/>
                </a:lnTo>
                <a:lnTo>
                  <a:pt x="0" y="13"/>
                </a:lnTo>
                <a:lnTo>
                  <a:pt x="3" y="13"/>
                </a:lnTo>
                <a:lnTo>
                  <a:pt x="7" y="10"/>
                </a:lnTo>
                <a:lnTo>
                  <a:pt x="10" y="13"/>
                </a:lnTo>
                <a:lnTo>
                  <a:pt x="13" y="13"/>
                </a:lnTo>
                <a:lnTo>
                  <a:pt x="13" y="10"/>
                </a:lnTo>
                <a:lnTo>
                  <a:pt x="13" y="7"/>
                </a:lnTo>
                <a:lnTo>
                  <a:pt x="19" y="7"/>
                </a:lnTo>
                <a:lnTo>
                  <a:pt x="22" y="10"/>
                </a:lnTo>
                <a:lnTo>
                  <a:pt x="25" y="7"/>
                </a:lnTo>
                <a:lnTo>
                  <a:pt x="35" y="3"/>
                </a:lnTo>
                <a:lnTo>
                  <a:pt x="41" y="0"/>
                </a:lnTo>
                <a:lnTo>
                  <a:pt x="44" y="0"/>
                </a:lnTo>
                <a:lnTo>
                  <a:pt x="44" y="0"/>
                </a:lnTo>
                <a:lnTo>
                  <a:pt x="44" y="3"/>
                </a:lnTo>
                <a:lnTo>
                  <a:pt x="38" y="7"/>
                </a:lnTo>
                <a:lnTo>
                  <a:pt x="35" y="10"/>
                </a:lnTo>
                <a:lnTo>
                  <a:pt x="35" y="16"/>
                </a:lnTo>
                <a:lnTo>
                  <a:pt x="35" y="19"/>
                </a:lnTo>
                <a:lnTo>
                  <a:pt x="32" y="19"/>
                </a:lnTo>
                <a:lnTo>
                  <a:pt x="28" y="19"/>
                </a:lnTo>
                <a:lnTo>
                  <a:pt x="22" y="22"/>
                </a:lnTo>
                <a:lnTo>
                  <a:pt x="19" y="25"/>
                </a:lnTo>
                <a:lnTo>
                  <a:pt x="16" y="25"/>
                </a:lnTo>
                <a:lnTo>
                  <a:pt x="13" y="25"/>
                </a:lnTo>
                <a:lnTo>
                  <a:pt x="10" y="25"/>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0" name="Freeform 88">
            <a:extLst>
              <a:ext uri="{FF2B5EF4-FFF2-40B4-BE49-F238E27FC236}">
                <a16:creationId xmlns:a16="http://schemas.microsoft.com/office/drawing/2014/main" id="{A9F214AB-770D-1909-1CD0-6A6BC67938CE}"/>
              </a:ext>
            </a:extLst>
          </p:cNvPr>
          <p:cNvSpPr>
            <a:spLocks/>
          </p:cNvSpPr>
          <p:nvPr userDrawn="1"/>
        </p:nvSpPr>
        <p:spPr bwMode="auto">
          <a:xfrm>
            <a:off x="15302503" y="6923959"/>
            <a:ext cx="387325" cy="346078"/>
          </a:xfrm>
          <a:custGeom>
            <a:avLst/>
            <a:gdLst>
              <a:gd name="T0" fmla="*/ 100 w 122"/>
              <a:gd name="T1" fmla="*/ 62 h 109"/>
              <a:gd name="T2" fmla="*/ 103 w 122"/>
              <a:gd name="T3" fmla="*/ 53 h 109"/>
              <a:gd name="T4" fmla="*/ 103 w 122"/>
              <a:gd name="T5" fmla="*/ 44 h 109"/>
              <a:gd name="T6" fmla="*/ 106 w 122"/>
              <a:gd name="T7" fmla="*/ 31 h 109"/>
              <a:gd name="T8" fmla="*/ 103 w 122"/>
              <a:gd name="T9" fmla="*/ 19 h 109"/>
              <a:gd name="T10" fmla="*/ 116 w 122"/>
              <a:gd name="T11" fmla="*/ 9 h 109"/>
              <a:gd name="T12" fmla="*/ 122 w 122"/>
              <a:gd name="T13" fmla="*/ 6 h 109"/>
              <a:gd name="T14" fmla="*/ 122 w 122"/>
              <a:gd name="T15" fmla="*/ 0 h 109"/>
              <a:gd name="T16" fmla="*/ 106 w 122"/>
              <a:gd name="T17" fmla="*/ 3 h 109"/>
              <a:gd name="T18" fmla="*/ 94 w 122"/>
              <a:gd name="T19" fmla="*/ 3 h 109"/>
              <a:gd name="T20" fmla="*/ 81 w 122"/>
              <a:gd name="T21" fmla="*/ 6 h 109"/>
              <a:gd name="T22" fmla="*/ 75 w 122"/>
              <a:gd name="T23" fmla="*/ 9 h 109"/>
              <a:gd name="T24" fmla="*/ 63 w 122"/>
              <a:gd name="T25" fmla="*/ 12 h 109"/>
              <a:gd name="T26" fmla="*/ 56 w 122"/>
              <a:gd name="T27" fmla="*/ 9 h 109"/>
              <a:gd name="T28" fmla="*/ 41 w 122"/>
              <a:gd name="T29" fmla="*/ 9 h 109"/>
              <a:gd name="T30" fmla="*/ 38 w 122"/>
              <a:gd name="T31" fmla="*/ 9 h 109"/>
              <a:gd name="T32" fmla="*/ 25 w 122"/>
              <a:gd name="T33" fmla="*/ 12 h 109"/>
              <a:gd name="T34" fmla="*/ 16 w 122"/>
              <a:gd name="T35" fmla="*/ 15 h 109"/>
              <a:gd name="T36" fmla="*/ 16 w 122"/>
              <a:gd name="T37" fmla="*/ 25 h 109"/>
              <a:gd name="T38" fmla="*/ 9 w 122"/>
              <a:gd name="T39" fmla="*/ 31 h 109"/>
              <a:gd name="T40" fmla="*/ 3 w 122"/>
              <a:gd name="T41" fmla="*/ 31 h 109"/>
              <a:gd name="T42" fmla="*/ 0 w 122"/>
              <a:gd name="T43" fmla="*/ 31 h 109"/>
              <a:gd name="T44" fmla="*/ 3 w 122"/>
              <a:gd name="T45" fmla="*/ 44 h 109"/>
              <a:gd name="T46" fmla="*/ 3 w 122"/>
              <a:gd name="T47" fmla="*/ 53 h 109"/>
              <a:gd name="T48" fmla="*/ 12 w 122"/>
              <a:gd name="T49" fmla="*/ 62 h 109"/>
              <a:gd name="T50" fmla="*/ 19 w 122"/>
              <a:gd name="T51" fmla="*/ 65 h 109"/>
              <a:gd name="T52" fmla="*/ 19 w 122"/>
              <a:gd name="T53" fmla="*/ 75 h 109"/>
              <a:gd name="T54" fmla="*/ 16 w 122"/>
              <a:gd name="T55" fmla="*/ 78 h 109"/>
              <a:gd name="T56" fmla="*/ 9 w 122"/>
              <a:gd name="T57" fmla="*/ 84 h 109"/>
              <a:gd name="T58" fmla="*/ 6 w 122"/>
              <a:gd name="T59" fmla="*/ 87 h 109"/>
              <a:gd name="T60" fmla="*/ 9 w 122"/>
              <a:gd name="T61" fmla="*/ 94 h 109"/>
              <a:gd name="T62" fmla="*/ 9 w 122"/>
              <a:gd name="T63" fmla="*/ 103 h 109"/>
              <a:gd name="T64" fmla="*/ 19 w 122"/>
              <a:gd name="T65" fmla="*/ 106 h 109"/>
              <a:gd name="T66" fmla="*/ 22 w 122"/>
              <a:gd name="T67" fmla="*/ 109 h 109"/>
              <a:gd name="T68" fmla="*/ 66 w 122"/>
              <a:gd name="T69" fmla="*/ 8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2" h="109">
                <a:moveTo>
                  <a:pt x="66" y="87"/>
                </a:moveTo>
                <a:lnTo>
                  <a:pt x="100" y="62"/>
                </a:lnTo>
                <a:lnTo>
                  <a:pt x="100" y="59"/>
                </a:lnTo>
                <a:lnTo>
                  <a:pt x="103" y="53"/>
                </a:lnTo>
                <a:lnTo>
                  <a:pt x="103" y="47"/>
                </a:lnTo>
                <a:lnTo>
                  <a:pt x="103" y="44"/>
                </a:lnTo>
                <a:lnTo>
                  <a:pt x="106" y="37"/>
                </a:lnTo>
                <a:lnTo>
                  <a:pt x="106" y="31"/>
                </a:lnTo>
                <a:lnTo>
                  <a:pt x="103" y="25"/>
                </a:lnTo>
                <a:lnTo>
                  <a:pt x="103" y="19"/>
                </a:lnTo>
                <a:lnTo>
                  <a:pt x="106" y="12"/>
                </a:lnTo>
                <a:lnTo>
                  <a:pt x="116" y="9"/>
                </a:lnTo>
                <a:lnTo>
                  <a:pt x="119" y="6"/>
                </a:lnTo>
                <a:lnTo>
                  <a:pt x="122" y="6"/>
                </a:lnTo>
                <a:lnTo>
                  <a:pt x="122" y="3"/>
                </a:lnTo>
                <a:lnTo>
                  <a:pt x="122" y="0"/>
                </a:lnTo>
                <a:lnTo>
                  <a:pt x="116" y="0"/>
                </a:lnTo>
                <a:lnTo>
                  <a:pt x="106" y="3"/>
                </a:lnTo>
                <a:lnTo>
                  <a:pt x="97" y="3"/>
                </a:lnTo>
                <a:lnTo>
                  <a:pt x="94" y="3"/>
                </a:lnTo>
                <a:lnTo>
                  <a:pt x="88" y="3"/>
                </a:lnTo>
                <a:lnTo>
                  <a:pt x="81" y="6"/>
                </a:lnTo>
                <a:lnTo>
                  <a:pt x="78" y="9"/>
                </a:lnTo>
                <a:lnTo>
                  <a:pt x="75" y="9"/>
                </a:lnTo>
                <a:lnTo>
                  <a:pt x="72" y="12"/>
                </a:lnTo>
                <a:lnTo>
                  <a:pt x="63" y="12"/>
                </a:lnTo>
                <a:lnTo>
                  <a:pt x="56" y="9"/>
                </a:lnTo>
                <a:lnTo>
                  <a:pt x="56" y="9"/>
                </a:lnTo>
                <a:lnTo>
                  <a:pt x="53" y="6"/>
                </a:lnTo>
                <a:lnTo>
                  <a:pt x="41" y="9"/>
                </a:lnTo>
                <a:lnTo>
                  <a:pt x="38" y="9"/>
                </a:lnTo>
                <a:lnTo>
                  <a:pt x="38" y="9"/>
                </a:lnTo>
                <a:lnTo>
                  <a:pt x="28" y="15"/>
                </a:lnTo>
                <a:lnTo>
                  <a:pt x="25" y="12"/>
                </a:lnTo>
                <a:lnTo>
                  <a:pt x="19" y="12"/>
                </a:lnTo>
                <a:lnTo>
                  <a:pt x="16" y="15"/>
                </a:lnTo>
                <a:lnTo>
                  <a:pt x="16" y="22"/>
                </a:lnTo>
                <a:lnTo>
                  <a:pt x="16" y="25"/>
                </a:lnTo>
                <a:lnTo>
                  <a:pt x="16" y="28"/>
                </a:lnTo>
                <a:lnTo>
                  <a:pt x="9" y="31"/>
                </a:lnTo>
                <a:lnTo>
                  <a:pt x="6" y="31"/>
                </a:lnTo>
                <a:lnTo>
                  <a:pt x="3" y="31"/>
                </a:lnTo>
                <a:lnTo>
                  <a:pt x="3" y="31"/>
                </a:lnTo>
                <a:lnTo>
                  <a:pt x="0" y="31"/>
                </a:lnTo>
                <a:lnTo>
                  <a:pt x="0" y="37"/>
                </a:lnTo>
                <a:lnTo>
                  <a:pt x="3" y="44"/>
                </a:lnTo>
                <a:lnTo>
                  <a:pt x="6" y="50"/>
                </a:lnTo>
                <a:lnTo>
                  <a:pt x="3" y="53"/>
                </a:lnTo>
                <a:lnTo>
                  <a:pt x="3" y="59"/>
                </a:lnTo>
                <a:lnTo>
                  <a:pt x="12" y="62"/>
                </a:lnTo>
                <a:lnTo>
                  <a:pt x="16" y="65"/>
                </a:lnTo>
                <a:lnTo>
                  <a:pt x="19" y="65"/>
                </a:lnTo>
                <a:lnTo>
                  <a:pt x="19" y="72"/>
                </a:lnTo>
                <a:lnTo>
                  <a:pt x="19" y="75"/>
                </a:lnTo>
                <a:lnTo>
                  <a:pt x="16" y="78"/>
                </a:lnTo>
                <a:lnTo>
                  <a:pt x="16" y="78"/>
                </a:lnTo>
                <a:lnTo>
                  <a:pt x="9" y="78"/>
                </a:lnTo>
                <a:lnTo>
                  <a:pt x="9" y="84"/>
                </a:lnTo>
                <a:lnTo>
                  <a:pt x="6" y="87"/>
                </a:lnTo>
                <a:lnTo>
                  <a:pt x="6" y="87"/>
                </a:lnTo>
                <a:lnTo>
                  <a:pt x="6" y="90"/>
                </a:lnTo>
                <a:lnTo>
                  <a:pt x="9" y="94"/>
                </a:lnTo>
                <a:lnTo>
                  <a:pt x="9" y="100"/>
                </a:lnTo>
                <a:lnTo>
                  <a:pt x="9" y="103"/>
                </a:lnTo>
                <a:lnTo>
                  <a:pt x="12" y="103"/>
                </a:lnTo>
                <a:lnTo>
                  <a:pt x="19" y="106"/>
                </a:lnTo>
                <a:lnTo>
                  <a:pt x="22" y="109"/>
                </a:lnTo>
                <a:lnTo>
                  <a:pt x="22" y="109"/>
                </a:lnTo>
                <a:lnTo>
                  <a:pt x="25" y="109"/>
                </a:lnTo>
                <a:lnTo>
                  <a:pt x="66" y="87"/>
                </a:lnTo>
                <a:lnTo>
                  <a:pt x="66" y="8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1" name="Freeform 89">
            <a:extLst>
              <a:ext uri="{FF2B5EF4-FFF2-40B4-BE49-F238E27FC236}">
                <a16:creationId xmlns:a16="http://schemas.microsoft.com/office/drawing/2014/main" id="{1F848FEE-3FEE-988B-C64F-C2442FDC3FCC}"/>
              </a:ext>
            </a:extLst>
          </p:cNvPr>
          <p:cNvSpPr>
            <a:spLocks/>
          </p:cNvSpPr>
          <p:nvPr userDrawn="1"/>
        </p:nvSpPr>
        <p:spPr bwMode="auto">
          <a:xfrm>
            <a:off x="15223130" y="7200182"/>
            <a:ext cx="98420" cy="279400"/>
          </a:xfrm>
          <a:custGeom>
            <a:avLst/>
            <a:gdLst>
              <a:gd name="T0" fmla="*/ 19 w 31"/>
              <a:gd name="T1" fmla="*/ 88 h 88"/>
              <a:gd name="T2" fmla="*/ 22 w 31"/>
              <a:gd name="T3" fmla="*/ 85 h 88"/>
              <a:gd name="T4" fmla="*/ 22 w 31"/>
              <a:gd name="T5" fmla="*/ 85 h 88"/>
              <a:gd name="T6" fmla="*/ 22 w 31"/>
              <a:gd name="T7" fmla="*/ 82 h 88"/>
              <a:gd name="T8" fmla="*/ 25 w 31"/>
              <a:gd name="T9" fmla="*/ 79 h 88"/>
              <a:gd name="T10" fmla="*/ 25 w 31"/>
              <a:gd name="T11" fmla="*/ 75 h 88"/>
              <a:gd name="T12" fmla="*/ 25 w 31"/>
              <a:gd name="T13" fmla="*/ 69 h 88"/>
              <a:gd name="T14" fmla="*/ 25 w 31"/>
              <a:gd name="T15" fmla="*/ 63 h 88"/>
              <a:gd name="T16" fmla="*/ 25 w 31"/>
              <a:gd name="T17" fmla="*/ 63 h 88"/>
              <a:gd name="T18" fmla="*/ 25 w 31"/>
              <a:gd name="T19" fmla="*/ 60 h 88"/>
              <a:gd name="T20" fmla="*/ 28 w 31"/>
              <a:gd name="T21" fmla="*/ 54 h 88"/>
              <a:gd name="T22" fmla="*/ 28 w 31"/>
              <a:gd name="T23" fmla="*/ 50 h 88"/>
              <a:gd name="T24" fmla="*/ 28 w 31"/>
              <a:gd name="T25" fmla="*/ 44 h 88"/>
              <a:gd name="T26" fmla="*/ 25 w 31"/>
              <a:gd name="T27" fmla="*/ 44 h 88"/>
              <a:gd name="T28" fmla="*/ 25 w 31"/>
              <a:gd name="T29" fmla="*/ 44 h 88"/>
              <a:gd name="T30" fmla="*/ 22 w 31"/>
              <a:gd name="T31" fmla="*/ 44 h 88"/>
              <a:gd name="T32" fmla="*/ 19 w 31"/>
              <a:gd name="T33" fmla="*/ 44 h 88"/>
              <a:gd name="T34" fmla="*/ 19 w 31"/>
              <a:gd name="T35" fmla="*/ 38 h 88"/>
              <a:gd name="T36" fmla="*/ 19 w 31"/>
              <a:gd name="T37" fmla="*/ 29 h 88"/>
              <a:gd name="T38" fmla="*/ 19 w 31"/>
              <a:gd name="T39" fmla="*/ 25 h 88"/>
              <a:gd name="T40" fmla="*/ 19 w 31"/>
              <a:gd name="T41" fmla="*/ 19 h 88"/>
              <a:gd name="T42" fmla="*/ 25 w 31"/>
              <a:gd name="T43" fmla="*/ 19 h 88"/>
              <a:gd name="T44" fmla="*/ 25 w 31"/>
              <a:gd name="T45" fmla="*/ 22 h 88"/>
              <a:gd name="T46" fmla="*/ 25 w 31"/>
              <a:gd name="T47" fmla="*/ 25 h 88"/>
              <a:gd name="T48" fmla="*/ 28 w 31"/>
              <a:gd name="T49" fmla="*/ 22 h 88"/>
              <a:gd name="T50" fmla="*/ 28 w 31"/>
              <a:gd name="T51" fmla="*/ 19 h 88"/>
              <a:gd name="T52" fmla="*/ 28 w 31"/>
              <a:gd name="T53" fmla="*/ 19 h 88"/>
              <a:gd name="T54" fmla="*/ 28 w 31"/>
              <a:gd name="T55" fmla="*/ 19 h 88"/>
              <a:gd name="T56" fmla="*/ 28 w 31"/>
              <a:gd name="T57" fmla="*/ 16 h 88"/>
              <a:gd name="T58" fmla="*/ 28 w 31"/>
              <a:gd name="T59" fmla="*/ 10 h 88"/>
              <a:gd name="T60" fmla="*/ 28 w 31"/>
              <a:gd name="T61" fmla="*/ 3 h 88"/>
              <a:gd name="T62" fmla="*/ 31 w 31"/>
              <a:gd name="T63" fmla="*/ 0 h 88"/>
              <a:gd name="T64" fmla="*/ 28 w 31"/>
              <a:gd name="T65" fmla="*/ 0 h 88"/>
              <a:gd name="T66" fmla="*/ 28 w 31"/>
              <a:gd name="T67" fmla="*/ 7 h 88"/>
              <a:gd name="T68" fmla="*/ 22 w 31"/>
              <a:gd name="T69" fmla="*/ 7 h 88"/>
              <a:gd name="T70" fmla="*/ 19 w 31"/>
              <a:gd name="T71" fmla="*/ 7 h 88"/>
              <a:gd name="T72" fmla="*/ 12 w 31"/>
              <a:gd name="T73" fmla="*/ 10 h 88"/>
              <a:gd name="T74" fmla="*/ 12 w 31"/>
              <a:gd name="T75" fmla="*/ 25 h 88"/>
              <a:gd name="T76" fmla="*/ 6 w 31"/>
              <a:gd name="T77" fmla="*/ 35 h 88"/>
              <a:gd name="T78" fmla="*/ 0 w 31"/>
              <a:gd name="T79" fmla="*/ 44 h 88"/>
              <a:gd name="T80" fmla="*/ 3 w 31"/>
              <a:gd name="T81" fmla="*/ 44 h 88"/>
              <a:gd name="T82" fmla="*/ 6 w 31"/>
              <a:gd name="T83" fmla="*/ 50 h 88"/>
              <a:gd name="T84" fmla="*/ 9 w 31"/>
              <a:gd name="T85" fmla="*/ 57 h 88"/>
              <a:gd name="T86" fmla="*/ 16 w 31"/>
              <a:gd name="T87" fmla="*/ 66 h 88"/>
              <a:gd name="T88" fmla="*/ 19 w 31"/>
              <a:gd name="T89" fmla="*/ 75 h 88"/>
              <a:gd name="T90" fmla="*/ 16 w 31"/>
              <a:gd name="T91" fmla="*/ 82 h 88"/>
              <a:gd name="T92" fmla="*/ 19 w 31"/>
              <a:gd name="T9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1" h="88">
                <a:moveTo>
                  <a:pt x="19" y="88"/>
                </a:moveTo>
                <a:lnTo>
                  <a:pt x="22" y="85"/>
                </a:lnTo>
                <a:lnTo>
                  <a:pt x="22" y="85"/>
                </a:lnTo>
                <a:lnTo>
                  <a:pt x="22" y="82"/>
                </a:lnTo>
                <a:lnTo>
                  <a:pt x="25" y="79"/>
                </a:lnTo>
                <a:lnTo>
                  <a:pt x="25" y="75"/>
                </a:lnTo>
                <a:lnTo>
                  <a:pt x="25" y="69"/>
                </a:lnTo>
                <a:lnTo>
                  <a:pt x="25" y="63"/>
                </a:lnTo>
                <a:lnTo>
                  <a:pt x="25" y="63"/>
                </a:lnTo>
                <a:lnTo>
                  <a:pt x="25" y="60"/>
                </a:lnTo>
                <a:lnTo>
                  <a:pt x="28" y="54"/>
                </a:lnTo>
                <a:lnTo>
                  <a:pt x="28" y="50"/>
                </a:lnTo>
                <a:lnTo>
                  <a:pt x="28" y="44"/>
                </a:lnTo>
                <a:lnTo>
                  <a:pt x="25" y="44"/>
                </a:lnTo>
                <a:lnTo>
                  <a:pt x="25" y="44"/>
                </a:lnTo>
                <a:lnTo>
                  <a:pt x="22" y="44"/>
                </a:lnTo>
                <a:lnTo>
                  <a:pt x="19" y="44"/>
                </a:lnTo>
                <a:lnTo>
                  <a:pt x="19" y="38"/>
                </a:lnTo>
                <a:lnTo>
                  <a:pt x="19" y="29"/>
                </a:lnTo>
                <a:lnTo>
                  <a:pt x="19" y="25"/>
                </a:lnTo>
                <a:lnTo>
                  <a:pt x="19" y="19"/>
                </a:lnTo>
                <a:lnTo>
                  <a:pt x="25" y="19"/>
                </a:lnTo>
                <a:lnTo>
                  <a:pt x="25" y="22"/>
                </a:lnTo>
                <a:lnTo>
                  <a:pt x="25" y="25"/>
                </a:lnTo>
                <a:lnTo>
                  <a:pt x="28" y="22"/>
                </a:lnTo>
                <a:lnTo>
                  <a:pt x="28" y="19"/>
                </a:lnTo>
                <a:lnTo>
                  <a:pt x="28" y="19"/>
                </a:lnTo>
                <a:lnTo>
                  <a:pt x="28" y="19"/>
                </a:lnTo>
                <a:lnTo>
                  <a:pt x="28" y="16"/>
                </a:lnTo>
                <a:lnTo>
                  <a:pt x="28" y="10"/>
                </a:lnTo>
                <a:lnTo>
                  <a:pt x="28" y="3"/>
                </a:lnTo>
                <a:lnTo>
                  <a:pt x="31" y="0"/>
                </a:lnTo>
                <a:lnTo>
                  <a:pt x="28" y="0"/>
                </a:lnTo>
                <a:lnTo>
                  <a:pt x="28" y="7"/>
                </a:lnTo>
                <a:lnTo>
                  <a:pt x="22" y="7"/>
                </a:lnTo>
                <a:lnTo>
                  <a:pt x="19" y="7"/>
                </a:lnTo>
                <a:lnTo>
                  <a:pt x="12" y="10"/>
                </a:lnTo>
                <a:lnTo>
                  <a:pt x="12" y="25"/>
                </a:lnTo>
                <a:lnTo>
                  <a:pt x="6" y="35"/>
                </a:lnTo>
                <a:lnTo>
                  <a:pt x="0" y="44"/>
                </a:lnTo>
                <a:lnTo>
                  <a:pt x="3" y="44"/>
                </a:lnTo>
                <a:lnTo>
                  <a:pt x="6" y="50"/>
                </a:lnTo>
                <a:lnTo>
                  <a:pt x="9" y="57"/>
                </a:lnTo>
                <a:lnTo>
                  <a:pt x="16" y="66"/>
                </a:lnTo>
                <a:lnTo>
                  <a:pt x="19" y="75"/>
                </a:lnTo>
                <a:lnTo>
                  <a:pt x="16" y="82"/>
                </a:lnTo>
                <a:lnTo>
                  <a:pt x="19" y="88"/>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2" name="Freeform 90">
            <a:extLst>
              <a:ext uri="{FF2B5EF4-FFF2-40B4-BE49-F238E27FC236}">
                <a16:creationId xmlns:a16="http://schemas.microsoft.com/office/drawing/2014/main" id="{CFFA66D9-E570-6028-038D-5E4D639F2DC9}"/>
              </a:ext>
            </a:extLst>
          </p:cNvPr>
          <p:cNvSpPr>
            <a:spLocks/>
          </p:cNvSpPr>
          <p:nvPr userDrawn="1"/>
        </p:nvSpPr>
        <p:spPr bwMode="auto">
          <a:xfrm>
            <a:off x="15312026" y="7200181"/>
            <a:ext cx="19049" cy="60326"/>
          </a:xfrm>
          <a:custGeom>
            <a:avLst/>
            <a:gdLst>
              <a:gd name="T0" fmla="*/ 0 w 6"/>
              <a:gd name="T1" fmla="*/ 19 h 19"/>
              <a:gd name="T2" fmla="*/ 0 w 6"/>
              <a:gd name="T3" fmla="*/ 19 h 19"/>
              <a:gd name="T4" fmla="*/ 0 w 6"/>
              <a:gd name="T5" fmla="*/ 16 h 19"/>
              <a:gd name="T6" fmla="*/ 0 w 6"/>
              <a:gd name="T7" fmla="*/ 10 h 19"/>
              <a:gd name="T8" fmla="*/ 0 w 6"/>
              <a:gd name="T9" fmla="*/ 3 h 19"/>
              <a:gd name="T10" fmla="*/ 3 w 6"/>
              <a:gd name="T11" fmla="*/ 0 h 19"/>
              <a:gd name="T12" fmla="*/ 3 w 6"/>
              <a:gd name="T13" fmla="*/ 0 h 19"/>
              <a:gd name="T14" fmla="*/ 3 w 6"/>
              <a:gd name="T15" fmla="*/ 3 h 19"/>
              <a:gd name="T16" fmla="*/ 6 w 6"/>
              <a:gd name="T17" fmla="*/ 7 h 19"/>
              <a:gd name="T18" fmla="*/ 6 w 6"/>
              <a:gd name="T19" fmla="*/ 13 h 19"/>
              <a:gd name="T20" fmla="*/ 6 w 6"/>
              <a:gd name="T21" fmla="*/ 16 h 19"/>
              <a:gd name="T22" fmla="*/ 6 w 6"/>
              <a:gd name="T23" fmla="*/ 16 h 19"/>
              <a:gd name="T24" fmla="*/ 3 w 6"/>
              <a:gd name="T25" fmla="*/ 19 h 19"/>
              <a:gd name="T26" fmla="*/ 3 w 6"/>
              <a:gd name="T27" fmla="*/ 19 h 19"/>
              <a:gd name="T28" fmla="*/ 0 w 6"/>
              <a:gd name="T2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19">
                <a:moveTo>
                  <a:pt x="0" y="19"/>
                </a:moveTo>
                <a:lnTo>
                  <a:pt x="0" y="19"/>
                </a:lnTo>
                <a:lnTo>
                  <a:pt x="0" y="16"/>
                </a:lnTo>
                <a:lnTo>
                  <a:pt x="0" y="10"/>
                </a:lnTo>
                <a:lnTo>
                  <a:pt x="0" y="3"/>
                </a:lnTo>
                <a:lnTo>
                  <a:pt x="3" y="0"/>
                </a:lnTo>
                <a:lnTo>
                  <a:pt x="3" y="0"/>
                </a:lnTo>
                <a:lnTo>
                  <a:pt x="3" y="3"/>
                </a:lnTo>
                <a:lnTo>
                  <a:pt x="6" y="7"/>
                </a:lnTo>
                <a:lnTo>
                  <a:pt x="6" y="13"/>
                </a:lnTo>
                <a:lnTo>
                  <a:pt x="6" y="16"/>
                </a:lnTo>
                <a:lnTo>
                  <a:pt x="6" y="16"/>
                </a:lnTo>
                <a:lnTo>
                  <a:pt x="3" y="19"/>
                </a:lnTo>
                <a:lnTo>
                  <a:pt x="3" y="19"/>
                </a:lnTo>
                <a:lnTo>
                  <a:pt x="0" y="1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3" name="Freeform 91">
            <a:extLst>
              <a:ext uri="{FF2B5EF4-FFF2-40B4-BE49-F238E27FC236}">
                <a16:creationId xmlns:a16="http://schemas.microsoft.com/office/drawing/2014/main" id="{BE593F9C-1812-016E-E4FF-B02A0B51C4B1}"/>
              </a:ext>
            </a:extLst>
          </p:cNvPr>
          <p:cNvSpPr>
            <a:spLocks/>
          </p:cNvSpPr>
          <p:nvPr userDrawn="1"/>
        </p:nvSpPr>
        <p:spPr bwMode="auto">
          <a:xfrm>
            <a:off x="15283451" y="7260506"/>
            <a:ext cx="28574" cy="79376"/>
          </a:xfrm>
          <a:custGeom>
            <a:avLst/>
            <a:gdLst>
              <a:gd name="T0" fmla="*/ 6 w 9"/>
              <a:gd name="T1" fmla="*/ 25 h 25"/>
              <a:gd name="T2" fmla="*/ 6 w 9"/>
              <a:gd name="T3" fmla="*/ 25 h 25"/>
              <a:gd name="T4" fmla="*/ 3 w 9"/>
              <a:gd name="T5" fmla="*/ 25 h 25"/>
              <a:gd name="T6" fmla="*/ 0 w 9"/>
              <a:gd name="T7" fmla="*/ 25 h 25"/>
              <a:gd name="T8" fmla="*/ 0 w 9"/>
              <a:gd name="T9" fmla="*/ 19 h 25"/>
              <a:gd name="T10" fmla="*/ 0 w 9"/>
              <a:gd name="T11" fmla="*/ 10 h 25"/>
              <a:gd name="T12" fmla="*/ 0 w 9"/>
              <a:gd name="T13" fmla="*/ 6 h 25"/>
              <a:gd name="T14" fmla="*/ 0 w 9"/>
              <a:gd name="T15" fmla="*/ 0 h 25"/>
              <a:gd name="T16" fmla="*/ 6 w 9"/>
              <a:gd name="T17" fmla="*/ 0 h 25"/>
              <a:gd name="T18" fmla="*/ 6 w 9"/>
              <a:gd name="T19" fmla="*/ 3 h 25"/>
              <a:gd name="T20" fmla="*/ 6 w 9"/>
              <a:gd name="T21" fmla="*/ 6 h 25"/>
              <a:gd name="T22" fmla="*/ 9 w 9"/>
              <a:gd name="T23" fmla="*/ 3 h 25"/>
              <a:gd name="T24" fmla="*/ 9 w 9"/>
              <a:gd name="T25" fmla="*/ 3 h 25"/>
              <a:gd name="T26" fmla="*/ 9 w 9"/>
              <a:gd name="T27" fmla="*/ 6 h 25"/>
              <a:gd name="T28" fmla="*/ 9 w 9"/>
              <a:gd name="T29" fmla="*/ 10 h 25"/>
              <a:gd name="T30" fmla="*/ 9 w 9"/>
              <a:gd name="T31" fmla="*/ 13 h 25"/>
              <a:gd name="T32" fmla="*/ 9 w 9"/>
              <a:gd name="T33" fmla="*/ 16 h 25"/>
              <a:gd name="T34" fmla="*/ 9 w 9"/>
              <a:gd name="T35" fmla="*/ 25 h 25"/>
              <a:gd name="T36" fmla="*/ 6 w 9"/>
              <a:gd name="T3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25">
                <a:moveTo>
                  <a:pt x="6" y="25"/>
                </a:moveTo>
                <a:lnTo>
                  <a:pt x="6" y="25"/>
                </a:lnTo>
                <a:lnTo>
                  <a:pt x="3" y="25"/>
                </a:lnTo>
                <a:lnTo>
                  <a:pt x="0" y="25"/>
                </a:lnTo>
                <a:lnTo>
                  <a:pt x="0" y="19"/>
                </a:lnTo>
                <a:lnTo>
                  <a:pt x="0" y="10"/>
                </a:lnTo>
                <a:lnTo>
                  <a:pt x="0" y="6"/>
                </a:lnTo>
                <a:lnTo>
                  <a:pt x="0" y="0"/>
                </a:lnTo>
                <a:lnTo>
                  <a:pt x="6" y="0"/>
                </a:lnTo>
                <a:lnTo>
                  <a:pt x="6" y="3"/>
                </a:lnTo>
                <a:lnTo>
                  <a:pt x="6" y="6"/>
                </a:lnTo>
                <a:lnTo>
                  <a:pt x="9" y="3"/>
                </a:lnTo>
                <a:lnTo>
                  <a:pt x="9" y="3"/>
                </a:lnTo>
                <a:lnTo>
                  <a:pt x="9" y="6"/>
                </a:lnTo>
                <a:lnTo>
                  <a:pt x="9" y="10"/>
                </a:lnTo>
                <a:lnTo>
                  <a:pt x="9" y="13"/>
                </a:lnTo>
                <a:lnTo>
                  <a:pt x="9" y="16"/>
                </a:lnTo>
                <a:lnTo>
                  <a:pt x="9" y="25"/>
                </a:lnTo>
                <a:lnTo>
                  <a:pt x="6" y="25"/>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4" name="Freeform 92">
            <a:extLst>
              <a:ext uri="{FF2B5EF4-FFF2-40B4-BE49-F238E27FC236}">
                <a16:creationId xmlns:a16="http://schemas.microsoft.com/office/drawing/2014/main" id="{D925FD80-E3F1-940A-AEF5-6D54017A2971}"/>
              </a:ext>
            </a:extLst>
          </p:cNvPr>
          <p:cNvSpPr>
            <a:spLocks/>
          </p:cNvSpPr>
          <p:nvPr userDrawn="1"/>
        </p:nvSpPr>
        <p:spPr bwMode="auto">
          <a:xfrm>
            <a:off x="15283451" y="7111283"/>
            <a:ext cx="79371" cy="111126"/>
          </a:xfrm>
          <a:custGeom>
            <a:avLst/>
            <a:gdLst>
              <a:gd name="T0" fmla="*/ 0 w 25"/>
              <a:gd name="T1" fmla="*/ 35 h 35"/>
              <a:gd name="T2" fmla="*/ 3 w 25"/>
              <a:gd name="T3" fmla="*/ 35 h 35"/>
              <a:gd name="T4" fmla="*/ 9 w 25"/>
              <a:gd name="T5" fmla="*/ 35 h 35"/>
              <a:gd name="T6" fmla="*/ 9 w 25"/>
              <a:gd name="T7" fmla="*/ 28 h 35"/>
              <a:gd name="T8" fmla="*/ 12 w 25"/>
              <a:gd name="T9" fmla="*/ 28 h 35"/>
              <a:gd name="T10" fmla="*/ 15 w 25"/>
              <a:gd name="T11" fmla="*/ 25 h 35"/>
              <a:gd name="T12" fmla="*/ 15 w 25"/>
              <a:gd name="T13" fmla="*/ 19 h 35"/>
              <a:gd name="T14" fmla="*/ 22 w 25"/>
              <a:gd name="T15" fmla="*/ 19 h 35"/>
              <a:gd name="T16" fmla="*/ 22 w 25"/>
              <a:gd name="T17" fmla="*/ 19 h 35"/>
              <a:gd name="T18" fmla="*/ 25 w 25"/>
              <a:gd name="T19" fmla="*/ 16 h 35"/>
              <a:gd name="T20" fmla="*/ 25 w 25"/>
              <a:gd name="T21" fmla="*/ 13 h 35"/>
              <a:gd name="T22" fmla="*/ 25 w 25"/>
              <a:gd name="T23" fmla="*/ 6 h 35"/>
              <a:gd name="T24" fmla="*/ 22 w 25"/>
              <a:gd name="T25" fmla="*/ 6 h 35"/>
              <a:gd name="T26" fmla="*/ 18 w 25"/>
              <a:gd name="T27" fmla="*/ 3 h 35"/>
              <a:gd name="T28" fmla="*/ 9 w 25"/>
              <a:gd name="T29" fmla="*/ 0 h 35"/>
              <a:gd name="T30" fmla="*/ 9 w 25"/>
              <a:gd name="T31" fmla="*/ 3 h 35"/>
              <a:gd name="T32" fmla="*/ 6 w 25"/>
              <a:gd name="T33" fmla="*/ 3 h 35"/>
              <a:gd name="T34" fmla="*/ 6 w 25"/>
              <a:gd name="T35" fmla="*/ 16 h 35"/>
              <a:gd name="T36" fmla="*/ 3 w 25"/>
              <a:gd name="T37" fmla="*/ 22 h 35"/>
              <a:gd name="T38" fmla="*/ 0 w 25"/>
              <a:gd name="T39" fmla="*/ 28 h 35"/>
              <a:gd name="T40" fmla="*/ 0 w 25"/>
              <a:gd name="T41" fmla="*/ 31 h 35"/>
              <a:gd name="T42" fmla="*/ 0 w 25"/>
              <a:gd name="T4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35">
                <a:moveTo>
                  <a:pt x="0" y="35"/>
                </a:moveTo>
                <a:lnTo>
                  <a:pt x="3" y="35"/>
                </a:lnTo>
                <a:lnTo>
                  <a:pt x="9" y="35"/>
                </a:lnTo>
                <a:lnTo>
                  <a:pt x="9" y="28"/>
                </a:lnTo>
                <a:lnTo>
                  <a:pt x="12" y="28"/>
                </a:lnTo>
                <a:lnTo>
                  <a:pt x="15" y="25"/>
                </a:lnTo>
                <a:lnTo>
                  <a:pt x="15" y="19"/>
                </a:lnTo>
                <a:lnTo>
                  <a:pt x="22" y="19"/>
                </a:lnTo>
                <a:lnTo>
                  <a:pt x="22" y="19"/>
                </a:lnTo>
                <a:lnTo>
                  <a:pt x="25" y="16"/>
                </a:lnTo>
                <a:lnTo>
                  <a:pt x="25" y="13"/>
                </a:lnTo>
                <a:lnTo>
                  <a:pt x="25" y="6"/>
                </a:lnTo>
                <a:lnTo>
                  <a:pt x="22" y="6"/>
                </a:lnTo>
                <a:lnTo>
                  <a:pt x="18" y="3"/>
                </a:lnTo>
                <a:lnTo>
                  <a:pt x="9" y="0"/>
                </a:lnTo>
                <a:lnTo>
                  <a:pt x="9" y="3"/>
                </a:lnTo>
                <a:lnTo>
                  <a:pt x="6" y="3"/>
                </a:lnTo>
                <a:lnTo>
                  <a:pt x="6" y="16"/>
                </a:lnTo>
                <a:lnTo>
                  <a:pt x="3" y="22"/>
                </a:lnTo>
                <a:lnTo>
                  <a:pt x="0" y="28"/>
                </a:lnTo>
                <a:lnTo>
                  <a:pt x="0" y="31"/>
                </a:lnTo>
                <a:lnTo>
                  <a:pt x="0" y="35"/>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5" name="Freeform 93">
            <a:extLst>
              <a:ext uri="{FF2B5EF4-FFF2-40B4-BE49-F238E27FC236}">
                <a16:creationId xmlns:a16="http://schemas.microsoft.com/office/drawing/2014/main" id="{14B79F9A-3E2F-786E-C342-5B5A8613AD4C}"/>
              </a:ext>
            </a:extLst>
          </p:cNvPr>
          <p:cNvSpPr>
            <a:spLocks/>
          </p:cNvSpPr>
          <p:nvPr userDrawn="1"/>
        </p:nvSpPr>
        <p:spPr bwMode="auto">
          <a:xfrm>
            <a:off x="15283451" y="7200182"/>
            <a:ext cx="257159" cy="307976"/>
          </a:xfrm>
          <a:custGeom>
            <a:avLst/>
            <a:gdLst>
              <a:gd name="T0" fmla="*/ 3 w 81"/>
              <a:gd name="T1" fmla="*/ 85 h 97"/>
              <a:gd name="T2" fmla="*/ 3 w 81"/>
              <a:gd name="T3" fmla="*/ 85 h 97"/>
              <a:gd name="T4" fmla="*/ 3 w 81"/>
              <a:gd name="T5" fmla="*/ 82 h 97"/>
              <a:gd name="T6" fmla="*/ 6 w 81"/>
              <a:gd name="T7" fmla="*/ 79 h 97"/>
              <a:gd name="T8" fmla="*/ 6 w 81"/>
              <a:gd name="T9" fmla="*/ 75 h 97"/>
              <a:gd name="T10" fmla="*/ 6 w 81"/>
              <a:gd name="T11" fmla="*/ 69 h 97"/>
              <a:gd name="T12" fmla="*/ 6 w 81"/>
              <a:gd name="T13" fmla="*/ 63 h 97"/>
              <a:gd name="T14" fmla="*/ 6 w 81"/>
              <a:gd name="T15" fmla="*/ 63 h 97"/>
              <a:gd name="T16" fmla="*/ 6 w 81"/>
              <a:gd name="T17" fmla="*/ 60 h 97"/>
              <a:gd name="T18" fmla="*/ 9 w 81"/>
              <a:gd name="T19" fmla="*/ 54 h 97"/>
              <a:gd name="T20" fmla="*/ 9 w 81"/>
              <a:gd name="T21" fmla="*/ 50 h 97"/>
              <a:gd name="T22" fmla="*/ 9 w 81"/>
              <a:gd name="T23" fmla="*/ 35 h 97"/>
              <a:gd name="T24" fmla="*/ 9 w 81"/>
              <a:gd name="T25" fmla="*/ 32 h 97"/>
              <a:gd name="T26" fmla="*/ 9 w 81"/>
              <a:gd name="T27" fmla="*/ 29 h 97"/>
              <a:gd name="T28" fmla="*/ 9 w 81"/>
              <a:gd name="T29" fmla="*/ 25 h 97"/>
              <a:gd name="T30" fmla="*/ 9 w 81"/>
              <a:gd name="T31" fmla="*/ 22 h 97"/>
              <a:gd name="T32" fmla="*/ 9 w 81"/>
              <a:gd name="T33" fmla="*/ 19 h 97"/>
              <a:gd name="T34" fmla="*/ 12 w 81"/>
              <a:gd name="T35" fmla="*/ 19 h 97"/>
              <a:gd name="T36" fmla="*/ 12 w 81"/>
              <a:gd name="T37" fmla="*/ 19 h 97"/>
              <a:gd name="T38" fmla="*/ 15 w 81"/>
              <a:gd name="T39" fmla="*/ 16 h 97"/>
              <a:gd name="T40" fmla="*/ 18 w 81"/>
              <a:gd name="T41" fmla="*/ 16 h 97"/>
              <a:gd name="T42" fmla="*/ 25 w 81"/>
              <a:gd name="T43" fmla="*/ 19 h 97"/>
              <a:gd name="T44" fmla="*/ 28 w 81"/>
              <a:gd name="T45" fmla="*/ 22 h 97"/>
              <a:gd name="T46" fmla="*/ 28 w 81"/>
              <a:gd name="T47" fmla="*/ 22 h 97"/>
              <a:gd name="T48" fmla="*/ 31 w 81"/>
              <a:gd name="T49" fmla="*/ 22 h 97"/>
              <a:gd name="T50" fmla="*/ 72 w 81"/>
              <a:gd name="T51" fmla="*/ 0 h 97"/>
              <a:gd name="T52" fmla="*/ 81 w 81"/>
              <a:gd name="T53" fmla="*/ 25 h 97"/>
              <a:gd name="T54" fmla="*/ 78 w 81"/>
              <a:gd name="T55" fmla="*/ 25 h 97"/>
              <a:gd name="T56" fmla="*/ 72 w 81"/>
              <a:gd name="T57" fmla="*/ 32 h 97"/>
              <a:gd name="T58" fmla="*/ 44 w 81"/>
              <a:gd name="T59" fmla="*/ 41 h 97"/>
              <a:gd name="T60" fmla="*/ 65 w 81"/>
              <a:gd name="T61" fmla="*/ 66 h 97"/>
              <a:gd name="T62" fmla="*/ 56 w 81"/>
              <a:gd name="T63" fmla="*/ 75 h 97"/>
              <a:gd name="T64" fmla="*/ 56 w 81"/>
              <a:gd name="T65" fmla="*/ 82 h 97"/>
              <a:gd name="T66" fmla="*/ 40 w 81"/>
              <a:gd name="T67" fmla="*/ 82 h 97"/>
              <a:gd name="T68" fmla="*/ 28 w 81"/>
              <a:gd name="T69" fmla="*/ 97 h 97"/>
              <a:gd name="T70" fmla="*/ 6 w 81"/>
              <a:gd name="T71" fmla="*/ 91 h 97"/>
              <a:gd name="T72" fmla="*/ 0 w 81"/>
              <a:gd name="T73" fmla="*/ 91 h 97"/>
              <a:gd name="T74" fmla="*/ 3 w 81"/>
              <a:gd name="T75" fmla="*/ 91 h 97"/>
              <a:gd name="T76" fmla="*/ 3 w 81"/>
              <a:gd name="T77" fmla="*/ 85 h 97"/>
              <a:gd name="T78" fmla="*/ 3 w 81"/>
              <a:gd name="T79" fmla="*/ 85 h 97"/>
              <a:gd name="T80" fmla="*/ 3 w 81"/>
              <a:gd name="T81" fmla="*/ 8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97">
                <a:moveTo>
                  <a:pt x="3" y="85"/>
                </a:moveTo>
                <a:lnTo>
                  <a:pt x="3" y="85"/>
                </a:lnTo>
                <a:lnTo>
                  <a:pt x="3" y="82"/>
                </a:lnTo>
                <a:lnTo>
                  <a:pt x="6" y="79"/>
                </a:lnTo>
                <a:lnTo>
                  <a:pt x="6" y="75"/>
                </a:lnTo>
                <a:lnTo>
                  <a:pt x="6" y="69"/>
                </a:lnTo>
                <a:lnTo>
                  <a:pt x="6" y="63"/>
                </a:lnTo>
                <a:lnTo>
                  <a:pt x="6" y="63"/>
                </a:lnTo>
                <a:lnTo>
                  <a:pt x="6" y="60"/>
                </a:lnTo>
                <a:lnTo>
                  <a:pt x="9" y="54"/>
                </a:lnTo>
                <a:lnTo>
                  <a:pt x="9" y="50"/>
                </a:lnTo>
                <a:lnTo>
                  <a:pt x="9" y="35"/>
                </a:lnTo>
                <a:lnTo>
                  <a:pt x="9" y="32"/>
                </a:lnTo>
                <a:lnTo>
                  <a:pt x="9" y="29"/>
                </a:lnTo>
                <a:lnTo>
                  <a:pt x="9" y="25"/>
                </a:lnTo>
                <a:lnTo>
                  <a:pt x="9" y="22"/>
                </a:lnTo>
                <a:lnTo>
                  <a:pt x="9" y="19"/>
                </a:lnTo>
                <a:lnTo>
                  <a:pt x="12" y="19"/>
                </a:lnTo>
                <a:lnTo>
                  <a:pt x="12" y="19"/>
                </a:lnTo>
                <a:lnTo>
                  <a:pt x="15" y="16"/>
                </a:lnTo>
                <a:lnTo>
                  <a:pt x="18" y="16"/>
                </a:lnTo>
                <a:lnTo>
                  <a:pt x="25" y="19"/>
                </a:lnTo>
                <a:lnTo>
                  <a:pt x="28" y="22"/>
                </a:lnTo>
                <a:lnTo>
                  <a:pt x="28" y="22"/>
                </a:lnTo>
                <a:lnTo>
                  <a:pt x="31" y="22"/>
                </a:lnTo>
                <a:lnTo>
                  <a:pt x="72" y="0"/>
                </a:lnTo>
                <a:lnTo>
                  <a:pt x="81" y="25"/>
                </a:lnTo>
                <a:lnTo>
                  <a:pt x="78" y="25"/>
                </a:lnTo>
                <a:lnTo>
                  <a:pt x="72" y="32"/>
                </a:lnTo>
                <a:lnTo>
                  <a:pt x="44" y="41"/>
                </a:lnTo>
                <a:lnTo>
                  <a:pt x="65" y="66"/>
                </a:lnTo>
                <a:lnTo>
                  <a:pt x="56" y="75"/>
                </a:lnTo>
                <a:lnTo>
                  <a:pt x="56" y="82"/>
                </a:lnTo>
                <a:lnTo>
                  <a:pt x="40" y="82"/>
                </a:lnTo>
                <a:lnTo>
                  <a:pt x="28" y="97"/>
                </a:lnTo>
                <a:lnTo>
                  <a:pt x="6" y="91"/>
                </a:lnTo>
                <a:lnTo>
                  <a:pt x="0" y="91"/>
                </a:lnTo>
                <a:lnTo>
                  <a:pt x="3" y="91"/>
                </a:lnTo>
                <a:lnTo>
                  <a:pt x="3" y="85"/>
                </a:lnTo>
                <a:lnTo>
                  <a:pt x="3" y="85"/>
                </a:lnTo>
                <a:lnTo>
                  <a:pt x="3" y="85"/>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6" name="Freeform 94">
            <a:extLst>
              <a:ext uri="{FF2B5EF4-FFF2-40B4-BE49-F238E27FC236}">
                <a16:creationId xmlns:a16="http://schemas.microsoft.com/office/drawing/2014/main" id="{C128A7BA-E35E-E6E8-D3E8-8DB53DFC319A}"/>
              </a:ext>
            </a:extLst>
          </p:cNvPr>
          <p:cNvSpPr>
            <a:spLocks/>
          </p:cNvSpPr>
          <p:nvPr userDrawn="1"/>
        </p:nvSpPr>
        <p:spPr bwMode="auto">
          <a:xfrm>
            <a:off x="15283454" y="7279558"/>
            <a:ext cx="1288966" cy="1092200"/>
          </a:xfrm>
          <a:custGeom>
            <a:avLst/>
            <a:gdLst>
              <a:gd name="T0" fmla="*/ 247 w 406"/>
              <a:gd name="T1" fmla="*/ 72 h 344"/>
              <a:gd name="T2" fmla="*/ 97 w 406"/>
              <a:gd name="T3" fmla="*/ 0 h 344"/>
              <a:gd name="T4" fmla="*/ 44 w 406"/>
              <a:gd name="T5" fmla="*/ 16 h 344"/>
              <a:gd name="T6" fmla="*/ 56 w 406"/>
              <a:gd name="T7" fmla="*/ 57 h 344"/>
              <a:gd name="T8" fmla="*/ 6 w 406"/>
              <a:gd name="T9" fmla="*/ 66 h 344"/>
              <a:gd name="T10" fmla="*/ 0 w 406"/>
              <a:gd name="T11" fmla="*/ 82 h 344"/>
              <a:gd name="T12" fmla="*/ 3 w 406"/>
              <a:gd name="T13" fmla="*/ 88 h 344"/>
              <a:gd name="T14" fmla="*/ 9 w 406"/>
              <a:gd name="T15" fmla="*/ 91 h 344"/>
              <a:gd name="T16" fmla="*/ 18 w 406"/>
              <a:gd name="T17" fmla="*/ 107 h 344"/>
              <a:gd name="T18" fmla="*/ 25 w 406"/>
              <a:gd name="T19" fmla="*/ 113 h 344"/>
              <a:gd name="T20" fmla="*/ 34 w 406"/>
              <a:gd name="T21" fmla="*/ 129 h 344"/>
              <a:gd name="T22" fmla="*/ 37 w 406"/>
              <a:gd name="T23" fmla="*/ 135 h 344"/>
              <a:gd name="T24" fmla="*/ 50 w 406"/>
              <a:gd name="T25" fmla="*/ 151 h 344"/>
              <a:gd name="T26" fmla="*/ 53 w 406"/>
              <a:gd name="T27" fmla="*/ 160 h 344"/>
              <a:gd name="T28" fmla="*/ 56 w 406"/>
              <a:gd name="T29" fmla="*/ 169 h 344"/>
              <a:gd name="T30" fmla="*/ 65 w 406"/>
              <a:gd name="T31" fmla="*/ 172 h 344"/>
              <a:gd name="T32" fmla="*/ 78 w 406"/>
              <a:gd name="T33" fmla="*/ 185 h 344"/>
              <a:gd name="T34" fmla="*/ 81 w 406"/>
              <a:gd name="T35" fmla="*/ 191 h 344"/>
              <a:gd name="T36" fmla="*/ 90 w 406"/>
              <a:gd name="T37" fmla="*/ 207 h 344"/>
              <a:gd name="T38" fmla="*/ 87 w 406"/>
              <a:gd name="T39" fmla="*/ 216 h 344"/>
              <a:gd name="T40" fmla="*/ 90 w 406"/>
              <a:gd name="T41" fmla="*/ 235 h 344"/>
              <a:gd name="T42" fmla="*/ 106 w 406"/>
              <a:gd name="T43" fmla="*/ 251 h 344"/>
              <a:gd name="T44" fmla="*/ 115 w 406"/>
              <a:gd name="T45" fmla="*/ 257 h 344"/>
              <a:gd name="T46" fmla="*/ 125 w 406"/>
              <a:gd name="T47" fmla="*/ 266 h 344"/>
              <a:gd name="T48" fmla="*/ 131 w 406"/>
              <a:gd name="T49" fmla="*/ 269 h 344"/>
              <a:gd name="T50" fmla="*/ 140 w 406"/>
              <a:gd name="T51" fmla="*/ 294 h 344"/>
              <a:gd name="T52" fmla="*/ 159 w 406"/>
              <a:gd name="T53" fmla="*/ 319 h 344"/>
              <a:gd name="T54" fmla="*/ 172 w 406"/>
              <a:gd name="T55" fmla="*/ 329 h 344"/>
              <a:gd name="T56" fmla="*/ 181 w 406"/>
              <a:gd name="T57" fmla="*/ 323 h 344"/>
              <a:gd name="T58" fmla="*/ 184 w 406"/>
              <a:gd name="T59" fmla="*/ 307 h 344"/>
              <a:gd name="T60" fmla="*/ 222 w 406"/>
              <a:gd name="T61" fmla="*/ 316 h 344"/>
              <a:gd name="T62" fmla="*/ 275 w 406"/>
              <a:gd name="T63" fmla="*/ 294 h 344"/>
              <a:gd name="T64" fmla="*/ 403 w 406"/>
              <a:gd name="T65" fmla="*/ 197 h 344"/>
              <a:gd name="T66" fmla="*/ 337 w 406"/>
              <a:gd name="T67" fmla="*/ 194 h 344"/>
              <a:gd name="T68" fmla="*/ 331 w 406"/>
              <a:gd name="T69" fmla="*/ 169 h 344"/>
              <a:gd name="T70" fmla="*/ 328 w 406"/>
              <a:gd name="T71" fmla="*/ 166 h 344"/>
              <a:gd name="T72" fmla="*/ 325 w 406"/>
              <a:gd name="T73" fmla="*/ 160 h 344"/>
              <a:gd name="T74" fmla="*/ 315 w 406"/>
              <a:gd name="T75" fmla="*/ 157 h 344"/>
              <a:gd name="T76" fmla="*/ 309 w 406"/>
              <a:gd name="T77" fmla="*/ 151 h 344"/>
              <a:gd name="T78" fmla="*/ 297 w 406"/>
              <a:gd name="T79" fmla="*/ 129 h 344"/>
              <a:gd name="T80" fmla="*/ 297 w 406"/>
              <a:gd name="T81" fmla="*/ 119 h 344"/>
              <a:gd name="T82" fmla="*/ 290 w 406"/>
              <a:gd name="T83" fmla="*/ 113 h 344"/>
              <a:gd name="T84" fmla="*/ 281 w 406"/>
              <a:gd name="T85" fmla="*/ 100 h 344"/>
              <a:gd name="T86" fmla="*/ 284 w 406"/>
              <a:gd name="T87" fmla="*/ 97 h 344"/>
              <a:gd name="T88" fmla="*/ 272 w 406"/>
              <a:gd name="T89" fmla="*/ 94 h 344"/>
              <a:gd name="T90" fmla="*/ 262 w 406"/>
              <a:gd name="T91" fmla="*/ 79 h 344"/>
              <a:gd name="T92" fmla="*/ 259 w 406"/>
              <a:gd name="T93" fmla="*/ 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6" h="344">
                <a:moveTo>
                  <a:pt x="259" y="72"/>
                </a:moveTo>
                <a:lnTo>
                  <a:pt x="247" y="79"/>
                </a:lnTo>
                <a:lnTo>
                  <a:pt x="247" y="72"/>
                </a:lnTo>
                <a:lnTo>
                  <a:pt x="228" y="66"/>
                </a:lnTo>
                <a:lnTo>
                  <a:pt x="190" y="66"/>
                </a:lnTo>
                <a:lnTo>
                  <a:pt x="97" y="0"/>
                </a:lnTo>
                <a:lnTo>
                  <a:pt x="78" y="0"/>
                </a:lnTo>
                <a:lnTo>
                  <a:pt x="72" y="7"/>
                </a:lnTo>
                <a:lnTo>
                  <a:pt x="44" y="16"/>
                </a:lnTo>
                <a:lnTo>
                  <a:pt x="65" y="41"/>
                </a:lnTo>
                <a:lnTo>
                  <a:pt x="56" y="50"/>
                </a:lnTo>
                <a:lnTo>
                  <a:pt x="56" y="57"/>
                </a:lnTo>
                <a:lnTo>
                  <a:pt x="40" y="57"/>
                </a:lnTo>
                <a:lnTo>
                  <a:pt x="28" y="72"/>
                </a:lnTo>
                <a:lnTo>
                  <a:pt x="6" y="66"/>
                </a:lnTo>
                <a:lnTo>
                  <a:pt x="0" y="66"/>
                </a:lnTo>
                <a:lnTo>
                  <a:pt x="0" y="72"/>
                </a:lnTo>
                <a:lnTo>
                  <a:pt x="0" y="82"/>
                </a:lnTo>
                <a:lnTo>
                  <a:pt x="0" y="88"/>
                </a:lnTo>
                <a:lnTo>
                  <a:pt x="0" y="91"/>
                </a:lnTo>
                <a:lnTo>
                  <a:pt x="3" y="88"/>
                </a:lnTo>
                <a:lnTo>
                  <a:pt x="3" y="91"/>
                </a:lnTo>
                <a:lnTo>
                  <a:pt x="6" y="88"/>
                </a:lnTo>
                <a:lnTo>
                  <a:pt x="9" y="91"/>
                </a:lnTo>
                <a:lnTo>
                  <a:pt x="9" y="91"/>
                </a:lnTo>
                <a:lnTo>
                  <a:pt x="18" y="100"/>
                </a:lnTo>
                <a:lnTo>
                  <a:pt x="18" y="107"/>
                </a:lnTo>
                <a:lnTo>
                  <a:pt x="22" y="107"/>
                </a:lnTo>
                <a:lnTo>
                  <a:pt x="22" y="110"/>
                </a:lnTo>
                <a:lnTo>
                  <a:pt x="25" y="113"/>
                </a:lnTo>
                <a:lnTo>
                  <a:pt x="28" y="113"/>
                </a:lnTo>
                <a:lnTo>
                  <a:pt x="34" y="126"/>
                </a:lnTo>
                <a:lnTo>
                  <a:pt x="34" y="129"/>
                </a:lnTo>
                <a:lnTo>
                  <a:pt x="34" y="132"/>
                </a:lnTo>
                <a:lnTo>
                  <a:pt x="37" y="132"/>
                </a:lnTo>
                <a:lnTo>
                  <a:pt x="37" y="135"/>
                </a:lnTo>
                <a:lnTo>
                  <a:pt x="40" y="138"/>
                </a:lnTo>
                <a:lnTo>
                  <a:pt x="47" y="141"/>
                </a:lnTo>
                <a:lnTo>
                  <a:pt x="50" y="151"/>
                </a:lnTo>
                <a:lnTo>
                  <a:pt x="53" y="151"/>
                </a:lnTo>
                <a:lnTo>
                  <a:pt x="53" y="157"/>
                </a:lnTo>
                <a:lnTo>
                  <a:pt x="53" y="160"/>
                </a:lnTo>
                <a:lnTo>
                  <a:pt x="53" y="163"/>
                </a:lnTo>
                <a:lnTo>
                  <a:pt x="56" y="166"/>
                </a:lnTo>
                <a:lnTo>
                  <a:pt x="56" y="169"/>
                </a:lnTo>
                <a:lnTo>
                  <a:pt x="59" y="172"/>
                </a:lnTo>
                <a:lnTo>
                  <a:pt x="62" y="169"/>
                </a:lnTo>
                <a:lnTo>
                  <a:pt x="65" y="172"/>
                </a:lnTo>
                <a:lnTo>
                  <a:pt x="72" y="176"/>
                </a:lnTo>
                <a:lnTo>
                  <a:pt x="78" y="179"/>
                </a:lnTo>
                <a:lnTo>
                  <a:pt x="78" y="185"/>
                </a:lnTo>
                <a:lnTo>
                  <a:pt x="81" y="185"/>
                </a:lnTo>
                <a:lnTo>
                  <a:pt x="81" y="188"/>
                </a:lnTo>
                <a:lnTo>
                  <a:pt x="81" y="191"/>
                </a:lnTo>
                <a:lnTo>
                  <a:pt x="84" y="197"/>
                </a:lnTo>
                <a:lnTo>
                  <a:pt x="87" y="201"/>
                </a:lnTo>
                <a:lnTo>
                  <a:pt x="90" y="207"/>
                </a:lnTo>
                <a:lnTo>
                  <a:pt x="90" y="210"/>
                </a:lnTo>
                <a:lnTo>
                  <a:pt x="87" y="216"/>
                </a:lnTo>
                <a:lnTo>
                  <a:pt x="87" y="216"/>
                </a:lnTo>
                <a:lnTo>
                  <a:pt x="87" y="219"/>
                </a:lnTo>
                <a:lnTo>
                  <a:pt x="90" y="229"/>
                </a:lnTo>
                <a:lnTo>
                  <a:pt x="90" y="235"/>
                </a:lnTo>
                <a:lnTo>
                  <a:pt x="94" y="238"/>
                </a:lnTo>
                <a:lnTo>
                  <a:pt x="97" y="241"/>
                </a:lnTo>
                <a:lnTo>
                  <a:pt x="106" y="251"/>
                </a:lnTo>
                <a:lnTo>
                  <a:pt x="109" y="254"/>
                </a:lnTo>
                <a:lnTo>
                  <a:pt x="112" y="254"/>
                </a:lnTo>
                <a:lnTo>
                  <a:pt x="115" y="257"/>
                </a:lnTo>
                <a:lnTo>
                  <a:pt x="119" y="257"/>
                </a:lnTo>
                <a:lnTo>
                  <a:pt x="122" y="263"/>
                </a:lnTo>
                <a:lnTo>
                  <a:pt x="125" y="266"/>
                </a:lnTo>
                <a:lnTo>
                  <a:pt x="128" y="266"/>
                </a:lnTo>
                <a:lnTo>
                  <a:pt x="128" y="269"/>
                </a:lnTo>
                <a:lnTo>
                  <a:pt x="131" y="269"/>
                </a:lnTo>
                <a:lnTo>
                  <a:pt x="134" y="288"/>
                </a:lnTo>
                <a:lnTo>
                  <a:pt x="140" y="288"/>
                </a:lnTo>
                <a:lnTo>
                  <a:pt x="140" y="294"/>
                </a:lnTo>
                <a:lnTo>
                  <a:pt x="153" y="310"/>
                </a:lnTo>
                <a:lnTo>
                  <a:pt x="156" y="310"/>
                </a:lnTo>
                <a:lnTo>
                  <a:pt x="159" y="319"/>
                </a:lnTo>
                <a:lnTo>
                  <a:pt x="165" y="319"/>
                </a:lnTo>
                <a:lnTo>
                  <a:pt x="169" y="329"/>
                </a:lnTo>
                <a:lnTo>
                  <a:pt x="172" y="329"/>
                </a:lnTo>
                <a:lnTo>
                  <a:pt x="175" y="332"/>
                </a:lnTo>
                <a:lnTo>
                  <a:pt x="175" y="329"/>
                </a:lnTo>
                <a:lnTo>
                  <a:pt x="181" y="323"/>
                </a:lnTo>
                <a:lnTo>
                  <a:pt x="178" y="316"/>
                </a:lnTo>
                <a:lnTo>
                  <a:pt x="181" y="307"/>
                </a:lnTo>
                <a:lnTo>
                  <a:pt x="184" y="307"/>
                </a:lnTo>
                <a:lnTo>
                  <a:pt x="190" y="310"/>
                </a:lnTo>
                <a:lnTo>
                  <a:pt x="203" y="310"/>
                </a:lnTo>
                <a:lnTo>
                  <a:pt x="222" y="316"/>
                </a:lnTo>
                <a:lnTo>
                  <a:pt x="237" y="326"/>
                </a:lnTo>
                <a:lnTo>
                  <a:pt x="237" y="344"/>
                </a:lnTo>
                <a:lnTo>
                  <a:pt x="275" y="294"/>
                </a:lnTo>
                <a:lnTo>
                  <a:pt x="403" y="257"/>
                </a:lnTo>
                <a:lnTo>
                  <a:pt x="406" y="213"/>
                </a:lnTo>
                <a:lnTo>
                  <a:pt x="403" y="197"/>
                </a:lnTo>
                <a:lnTo>
                  <a:pt x="403" y="197"/>
                </a:lnTo>
                <a:lnTo>
                  <a:pt x="397" y="204"/>
                </a:lnTo>
                <a:lnTo>
                  <a:pt x="337" y="194"/>
                </a:lnTo>
                <a:lnTo>
                  <a:pt x="334" y="179"/>
                </a:lnTo>
                <a:lnTo>
                  <a:pt x="331" y="176"/>
                </a:lnTo>
                <a:lnTo>
                  <a:pt x="331" y="169"/>
                </a:lnTo>
                <a:lnTo>
                  <a:pt x="331" y="169"/>
                </a:lnTo>
                <a:lnTo>
                  <a:pt x="328" y="169"/>
                </a:lnTo>
                <a:lnTo>
                  <a:pt x="328" y="166"/>
                </a:lnTo>
                <a:lnTo>
                  <a:pt x="328" y="163"/>
                </a:lnTo>
                <a:lnTo>
                  <a:pt x="328" y="160"/>
                </a:lnTo>
                <a:lnTo>
                  <a:pt x="325" y="160"/>
                </a:lnTo>
                <a:lnTo>
                  <a:pt x="325" y="160"/>
                </a:lnTo>
                <a:lnTo>
                  <a:pt x="322" y="160"/>
                </a:lnTo>
                <a:lnTo>
                  <a:pt x="315" y="157"/>
                </a:lnTo>
                <a:lnTo>
                  <a:pt x="315" y="154"/>
                </a:lnTo>
                <a:lnTo>
                  <a:pt x="312" y="157"/>
                </a:lnTo>
                <a:lnTo>
                  <a:pt x="309" y="151"/>
                </a:lnTo>
                <a:lnTo>
                  <a:pt x="309" y="147"/>
                </a:lnTo>
                <a:lnTo>
                  <a:pt x="300" y="135"/>
                </a:lnTo>
                <a:lnTo>
                  <a:pt x="297" y="129"/>
                </a:lnTo>
                <a:lnTo>
                  <a:pt x="300" y="129"/>
                </a:lnTo>
                <a:lnTo>
                  <a:pt x="300" y="129"/>
                </a:lnTo>
                <a:lnTo>
                  <a:pt x="297" y="119"/>
                </a:lnTo>
                <a:lnTo>
                  <a:pt x="297" y="116"/>
                </a:lnTo>
                <a:lnTo>
                  <a:pt x="294" y="113"/>
                </a:lnTo>
                <a:lnTo>
                  <a:pt x="290" y="113"/>
                </a:lnTo>
                <a:lnTo>
                  <a:pt x="284" y="104"/>
                </a:lnTo>
                <a:lnTo>
                  <a:pt x="281" y="104"/>
                </a:lnTo>
                <a:lnTo>
                  <a:pt x="281" y="100"/>
                </a:lnTo>
                <a:lnTo>
                  <a:pt x="281" y="97"/>
                </a:lnTo>
                <a:lnTo>
                  <a:pt x="281" y="97"/>
                </a:lnTo>
                <a:lnTo>
                  <a:pt x="284" y="97"/>
                </a:lnTo>
                <a:lnTo>
                  <a:pt x="281" y="97"/>
                </a:lnTo>
                <a:lnTo>
                  <a:pt x="278" y="94"/>
                </a:lnTo>
                <a:lnTo>
                  <a:pt x="272" y="94"/>
                </a:lnTo>
                <a:lnTo>
                  <a:pt x="269" y="85"/>
                </a:lnTo>
                <a:lnTo>
                  <a:pt x="265" y="79"/>
                </a:lnTo>
                <a:lnTo>
                  <a:pt x="262" y="79"/>
                </a:lnTo>
                <a:lnTo>
                  <a:pt x="262" y="75"/>
                </a:lnTo>
                <a:lnTo>
                  <a:pt x="262" y="75"/>
                </a:lnTo>
                <a:lnTo>
                  <a:pt x="259" y="72"/>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7" name="Freeform 95">
            <a:extLst>
              <a:ext uri="{FF2B5EF4-FFF2-40B4-BE49-F238E27FC236}">
                <a16:creationId xmlns:a16="http://schemas.microsoft.com/office/drawing/2014/main" id="{C66698BB-650A-3C9C-6301-3E84B12E28A2}"/>
              </a:ext>
            </a:extLst>
          </p:cNvPr>
          <p:cNvSpPr>
            <a:spLocks/>
          </p:cNvSpPr>
          <p:nvPr userDrawn="1"/>
        </p:nvSpPr>
        <p:spPr bwMode="auto">
          <a:xfrm>
            <a:off x="16273987" y="7689131"/>
            <a:ext cx="50797" cy="98426"/>
          </a:xfrm>
          <a:custGeom>
            <a:avLst/>
            <a:gdLst>
              <a:gd name="T0" fmla="*/ 13 w 16"/>
              <a:gd name="T1" fmla="*/ 31 h 31"/>
              <a:gd name="T2" fmla="*/ 10 w 16"/>
              <a:gd name="T3" fmla="*/ 31 h 31"/>
              <a:gd name="T4" fmla="*/ 3 w 16"/>
              <a:gd name="T5" fmla="*/ 28 h 31"/>
              <a:gd name="T6" fmla="*/ 3 w 16"/>
              <a:gd name="T7" fmla="*/ 25 h 31"/>
              <a:gd name="T8" fmla="*/ 3 w 16"/>
              <a:gd name="T9" fmla="*/ 25 h 31"/>
              <a:gd name="T10" fmla="*/ 3 w 16"/>
              <a:gd name="T11" fmla="*/ 22 h 31"/>
              <a:gd name="T12" fmla="*/ 3 w 16"/>
              <a:gd name="T13" fmla="*/ 18 h 31"/>
              <a:gd name="T14" fmla="*/ 0 w 16"/>
              <a:gd name="T15" fmla="*/ 18 h 31"/>
              <a:gd name="T16" fmla="*/ 3 w 16"/>
              <a:gd name="T17" fmla="*/ 12 h 31"/>
              <a:gd name="T18" fmla="*/ 3 w 16"/>
              <a:gd name="T19" fmla="*/ 12 h 31"/>
              <a:gd name="T20" fmla="*/ 3 w 16"/>
              <a:gd name="T21" fmla="*/ 12 h 31"/>
              <a:gd name="T22" fmla="*/ 3 w 16"/>
              <a:gd name="T23" fmla="*/ 6 h 31"/>
              <a:gd name="T24" fmla="*/ 3 w 16"/>
              <a:gd name="T25" fmla="*/ 6 h 31"/>
              <a:gd name="T26" fmla="*/ 3 w 16"/>
              <a:gd name="T27" fmla="*/ 3 h 31"/>
              <a:gd name="T28" fmla="*/ 7 w 16"/>
              <a:gd name="T29" fmla="*/ 3 h 31"/>
              <a:gd name="T30" fmla="*/ 7 w 16"/>
              <a:gd name="T31" fmla="*/ 0 h 31"/>
              <a:gd name="T32" fmla="*/ 7 w 16"/>
              <a:gd name="T33" fmla="*/ 0 h 31"/>
              <a:gd name="T34" fmla="*/ 7 w 16"/>
              <a:gd name="T35" fmla="*/ 0 h 31"/>
              <a:gd name="T36" fmla="*/ 10 w 16"/>
              <a:gd name="T37" fmla="*/ 0 h 31"/>
              <a:gd name="T38" fmla="*/ 13 w 16"/>
              <a:gd name="T39" fmla="*/ 0 h 31"/>
              <a:gd name="T40" fmla="*/ 13 w 16"/>
              <a:gd name="T41" fmla="*/ 3 h 31"/>
              <a:gd name="T42" fmla="*/ 13 w 16"/>
              <a:gd name="T43" fmla="*/ 3 h 31"/>
              <a:gd name="T44" fmla="*/ 16 w 16"/>
              <a:gd name="T45" fmla="*/ 3 h 31"/>
              <a:gd name="T46" fmla="*/ 13 w 16"/>
              <a:gd name="T47" fmla="*/ 12 h 31"/>
              <a:gd name="T48" fmla="*/ 13 w 16"/>
              <a:gd name="T49" fmla="*/ 12 h 31"/>
              <a:gd name="T50" fmla="*/ 13 w 16"/>
              <a:gd name="T51" fmla="*/ 18 h 31"/>
              <a:gd name="T52" fmla="*/ 16 w 16"/>
              <a:gd name="T53" fmla="*/ 18 h 31"/>
              <a:gd name="T54" fmla="*/ 16 w 16"/>
              <a:gd name="T55" fmla="*/ 22 h 31"/>
              <a:gd name="T56" fmla="*/ 16 w 16"/>
              <a:gd name="T57" fmla="*/ 31 h 31"/>
              <a:gd name="T58" fmla="*/ 13 w 16"/>
              <a:gd name="T59" fmla="*/ 31 h 31"/>
              <a:gd name="T60" fmla="*/ 13 w 16"/>
              <a:gd name="T6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 h="31">
                <a:moveTo>
                  <a:pt x="13" y="31"/>
                </a:moveTo>
                <a:lnTo>
                  <a:pt x="10" y="31"/>
                </a:lnTo>
                <a:lnTo>
                  <a:pt x="3" y="28"/>
                </a:lnTo>
                <a:lnTo>
                  <a:pt x="3" y="25"/>
                </a:lnTo>
                <a:lnTo>
                  <a:pt x="3" y="25"/>
                </a:lnTo>
                <a:lnTo>
                  <a:pt x="3" y="22"/>
                </a:lnTo>
                <a:lnTo>
                  <a:pt x="3" y="18"/>
                </a:lnTo>
                <a:lnTo>
                  <a:pt x="0" y="18"/>
                </a:lnTo>
                <a:lnTo>
                  <a:pt x="3" y="12"/>
                </a:lnTo>
                <a:lnTo>
                  <a:pt x="3" y="12"/>
                </a:lnTo>
                <a:lnTo>
                  <a:pt x="3" y="12"/>
                </a:lnTo>
                <a:lnTo>
                  <a:pt x="3" y="6"/>
                </a:lnTo>
                <a:lnTo>
                  <a:pt x="3" y="6"/>
                </a:lnTo>
                <a:lnTo>
                  <a:pt x="3" y="3"/>
                </a:lnTo>
                <a:lnTo>
                  <a:pt x="7" y="3"/>
                </a:lnTo>
                <a:lnTo>
                  <a:pt x="7" y="0"/>
                </a:lnTo>
                <a:lnTo>
                  <a:pt x="7" y="0"/>
                </a:lnTo>
                <a:lnTo>
                  <a:pt x="7" y="0"/>
                </a:lnTo>
                <a:lnTo>
                  <a:pt x="10" y="0"/>
                </a:lnTo>
                <a:lnTo>
                  <a:pt x="13" y="0"/>
                </a:lnTo>
                <a:lnTo>
                  <a:pt x="13" y="3"/>
                </a:lnTo>
                <a:lnTo>
                  <a:pt x="13" y="3"/>
                </a:lnTo>
                <a:lnTo>
                  <a:pt x="16" y="3"/>
                </a:lnTo>
                <a:lnTo>
                  <a:pt x="13" y="12"/>
                </a:lnTo>
                <a:lnTo>
                  <a:pt x="13" y="12"/>
                </a:lnTo>
                <a:lnTo>
                  <a:pt x="13" y="18"/>
                </a:lnTo>
                <a:lnTo>
                  <a:pt x="16" y="18"/>
                </a:lnTo>
                <a:lnTo>
                  <a:pt x="16" y="22"/>
                </a:lnTo>
                <a:lnTo>
                  <a:pt x="16" y="31"/>
                </a:lnTo>
                <a:lnTo>
                  <a:pt x="13" y="31"/>
                </a:lnTo>
                <a:lnTo>
                  <a:pt x="13" y="31"/>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8" name="Freeform 96">
            <a:extLst>
              <a:ext uri="{FF2B5EF4-FFF2-40B4-BE49-F238E27FC236}">
                <a16:creationId xmlns:a16="http://schemas.microsoft.com/office/drawing/2014/main" id="{4D8C8FF9-133B-C058-D6F4-BB6AFBB2CE32}"/>
              </a:ext>
            </a:extLst>
          </p:cNvPr>
          <p:cNvSpPr>
            <a:spLocks/>
          </p:cNvSpPr>
          <p:nvPr userDrawn="1"/>
        </p:nvSpPr>
        <p:spPr bwMode="auto">
          <a:xfrm>
            <a:off x="16334310" y="7689135"/>
            <a:ext cx="298431" cy="238126"/>
          </a:xfrm>
          <a:custGeom>
            <a:avLst/>
            <a:gdLst>
              <a:gd name="T0" fmla="*/ 0 w 94"/>
              <a:gd name="T1" fmla="*/ 40 h 75"/>
              <a:gd name="T2" fmla="*/ 0 w 94"/>
              <a:gd name="T3" fmla="*/ 47 h 75"/>
              <a:gd name="T4" fmla="*/ 3 w 94"/>
              <a:gd name="T5" fmla="*/ 50 h 75"/>
              <a:gd name="T6" fmla="*/ 6 w 94"/>
              <a:gd name="T7" fmla="*/ 65 h 75"/>
              <a:gd name="T8" fmla="*/ 66 w 94"/>
              <a:gd name="T9" fmla="*/ 75 h 75"/>
              <a:gd name="T10" fmla="*/ 72 w 94"/>
              <a:gd name="T11" fmla="*/ 68 h 75"/>
              <a:gd name="T12" fmla="*/ 88 w 94"/>
              <a:gd name="T13" fmla="*/ 18 h 75"/>
              <a:gd name="T14" fmla="*/ 94 w 94"/>
              <a:gd name="T15" fmla="*/ 18 h 75"/>
              <a:gd name="T16" fmla="*/ 91 w 94"/>
              <a:gd name="T17" fmla="*/ 12 h 75"/>
              <a:gd name="T18" fmla="*/ 91 w 94"/>
              <a:gd name="T19" fmla="*/ 9 h 75"/>
              <a:gd name="T20" fmla="*/ 91 w 94"/>
              <a:gd name="T21" fmla="*/ 9 h 75"/>
              <a:gd name="T22" fmla="*/ 88 w 94"/>
              <a:gd name="T23" fmla="*/ 9 h 75"/>
              <a:gd name="T24" fmla="*/ 88 w 94"/>
              <a:gd name="T25" fmla="*/ 9 h 75"/>
              <a:gd name="T26" fmla="*/ 88 w 94"/>
              <a:gd name="T27" fmla="*/ 9 h 75"/>
              <a:gd name="T28" fmla="*/ 88 w 94"/>
              <a:gd name="T29" fmla="*/ 3 h 75"/>
              <a:gd name="T30" fmla="*/ 84 w 94"/>
              <a:gd name="T31" fmla="*/ 0 h 75"/>
              <a:gd name="T32" fmla="*/ 84 w 94"/>
              <a:gd name="T33" fmla="*/ 3 h 75"/>
              <a:gd name="T34" fmla="*/ 81 w 94"/>
              <a:gd name="T35" fmla="*/ 6 h 75"/>
              <a:gd name="T36" fmla="*/ 69 w 94"/>
              <a:gd name="T37" fmla="*/ 12 h 75"/>
              <a:gd name="T38" fmla="*/ 69 w 94"/>
              <a:gd name="T39" fmla="*/ 18 h 75"/>
              <a:gd name="T40" fmla="*/ 59 w 94"/>
              <a:gd name="T41" fmla="*/ 28 h 75"/>
              <a:gd name="T42" fmla="*/ 56 w 94"/>
              <a:gd name="T43" fmla="*/ 31 h 75"/>
              <a:gd name="T44" fmla="*/ 59 w 94"/>
              <a:gd name="T45" fmla="*/ 31 h 75"/>
              <a:gd name="T46" fmla="*/ 59 w 94"/>
              <a:gd name="T47" fmla="*/ 34 h 75"/>
              <a:gd name="T48" fmla="*/ 56 w 94"/>
              <a:gd name="T49" fmla="*/ 40 h 75"/>
              <a:gd name="T50" fmla="*/ 53 w 94"/>
              <a:gd name="T51" fmla="*/ 37 h 75"/>
              <a:gd name="T52" fmla="*/ 50 w 94"/>
              <a:gd name="T53" fmla="*/ 37 h 75"/>
              <a:gd name="T54" fmla="*/ 50 w 94"/>
              <a:gd name="T55" fmla="*/ 37 h 75"/>
              <a:gd name="T56" fmla="*/ 50 w 94"/>
              <a:gd name="T57" fmla="*/ 40 h 75"/>
              <a:gd name="T58" fmla="*/ 47 w 94"/>
              <a:gd name="T59" fmla="*/ 40 h 75"/>
              <a:gd name="T60" fmla="*/ 47 w 94"/>
              <a:gd name="T61" fmla="*/ 43 h 75"/>
              <a:gd name="T62" fmla="*/ 41 w 94"/>
              <a:gd name="T63" fmla="*/ 43 h 75"/>
              <a:gd name="T64" fmla="*/ 38 w 94"/>
              <a:gd name="T65" fmla="*/ 43 h 75"/>
              <a:gd name="T66" fmla="*/ 34 w 94"/>
              <a:gd name="T67" fmla="*/ 43 h 75"/>
              <a:gd name="T68" fmla="*/ 31 w 94"/>
              <a:gd name="T69" fmla="*/ 43 h 75"/>
              <a:gd name="T70" fmla="*/ 31 w 94"/>
              <a:gd name="T71" fmla="*/ 40 h 75"/>
              <a:gd name="T72" fmla="*/ 28 w 94"/>
              <a:gd name="T73" fmla="*/ 43 h 75"/>
              <a:gd name="T74" fmla="*/ 22 w 94"/>
              <a:gd name="T75" fmla="*/ 40 h 75"/>
              <a:gd name="T76" fmla="*/ 13 w 94"/>
              <a:gd name="T77" fmla="*/ 47 h 75"/>
              <a:gd name="T78" fmla="*/ 9 w 94"/>
              <a:gd name="T79" fmla="*/ 47 h 75"/>
              <a:gd name="T80" fmla="*/ 6 w 94"/>
              <a:gd name="T81" fmla="*/ 47 h 75"/>
              <a:gd name="T82" fmla="*/ 3 w 94"/>
              <a:gd name="T83" fmla="*/ 47 h 75"/>
              <a:gd name="T84" fmla="*/ 3 w 94"/>
              <a:gd name="T85" fmla="*/ 37 h 75"/>
              <a:gd name="T86" fmla="*/ 0 w 94"/>
              <a:gd name="T87" fmla="*/ 40 h 75"/>
              <a:gd name="T88" fmla="*/ 0 w 94"/>
              <a:gd name="T89" fmla="*/ 4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75">
                <a:moveTo>
                  <a:pt x="0" y="40"/>
                </a:moveTo>
                <a:lnTo>
                  <a:pt x="0" y="47"/>
                </a:lnTo>
                <a:lnTo>
                  <a:pt x="3" y="50"/>
                </a:lnTo>
                <a:lnTo>
                  <a:pt x="6" y="65"/>
                </a:lnTo>
                <a:lnTo>
                  <a:pt x="66" y="75"/>
                </a:lnTo>
                <a:lnTo>
                  <a:pt x="72" y="68"/>
                </a:lnTo>
                <a:lnTo>
                  <a:pt x="88" y="18"/>
                </a:lnTo>
                <a:lnTo>
                  <a:pt x="94" y="18"/>
                </a:lnTo>
                <a:lnTo>
                  <a:pt x="91" y="12"/>
                </a:lnTo>
                <a:lnTo>
                  <a:pt x="91" y="9"/>
                </a:lnTo>
                <a:lnTo>
                  <a:pt x="91" y="9"/>
                </a:lnTo>
                <a:lnTo>
                  <a:pt x="88" y="9"/>
                </a:lnTo>
                <a:lnTo>
                  <a:pt x="88" y="9"/>
                </a:lnTo>
                <a:lnTo>
                  <a:pt x="88" y="9"/>
                </a:lnTo>
                <a:lnTo>
                  <a:pt x="88" y="3"/>
                </a:lnTo>
                <a:lnTo>
                  <a:pt x="84" y="0"/>
                </a:lnTo>
                <a:lnTo>
                  <a:pt x="84" y="3"/>
                </a:lnTo>
                <a:lnTo>
                  <a:pt x="81" y="6"/>
                </a:lnTo>
                <a:lnTo>
                  <a:pt x="69" y="12"/>
                </a:lnTo>
                <a:lnTo>
                  <a:pt x="69" y="18"/>
                </a:lnTo>
                <a:lnTo>
                  <a:pt x="59" y="28"/>
                </a:lnTo>
                <a:lnTo>
                  <a:pt x="56" y="31"/>
                </a:lnTo>
                <a:lnTo>
                  <a:pt x="59" y="31"/>
                </a:lnTo>
                <a:lnTo>
                  <a:pt x="59" y="34"/>
                </a:lnTo>
                <a:lnTo>
                  <a:pt x="56" y="40"/>
                </a:lnTo>
                <a:lnTo>
                  <a:pt x="53" y="37"/>
                </a:lnTo>
                <a:lnTo>
                  <a:pt x="50" y="37"/>
                </a:lnTo>
                <a:lnTo>
                  <a:pt x="50" y="37"/>
                </a:lnTo>
                <a:lnTo>
                  <a:pt x="50" y="40"/>
                </a:lnTo>
                <a:lnTo>
                  <a:pt x="47" y="40"/>
                </a:lnTo>
                <a:lnTo>
                  <a:pt x="47" y="43"/>
                </a:lnTo>
                <a:lnTo>
                  <a:pt x="41" y="43"/>
                </a:lnTo>
                <a:lnTo>
                  <a:pt x="38" y="43"/>
                </a:lnTo>
                <a:lnTo>
                  <a:pt x="34" y="43"/>
                </a:lnTo>
                <a:lnTo>
                  <a:pt x="31" y="43"/>
                </a:lnTo>
                <a:lnTo>
                  <a:pt x="31" y="40"/>
                </a:lnTo>
                <a:lnTo>
                  <a:pt x="28" y="43"/>
                </a:lnTo>
                <a:lnTo>
                  <a:pt x="22" y="40"/>
                </a:lnTo>
                <a:lnTo>
                  <a:pt x="13" y="47"/>
                </a:lnTo>
                <a:lnTo>
                  <a:pt x="9" y="47"/>
                </a:lnTo>
                <a:lnTo>
                  <a:pt x="6" y="47"/>
                </a:lnTo>
                <a:lnTo>
                  <a:pt x="3" y="47"/>
                </a:lnTo>
                <a:lnTo>
                  <a:pt x="3" y="37"/>
                </a:lnTo>
                <a:lnTo>
                  <a:pt x="0" y="40"/>
                </a:lnTo>
                <a:lnTo>
                  <a:pt x="0" y="4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9" name="Freeform 97">
            <a:extLst>
              <a:ext uri="{FF2B5EF4-FFF2-40B4-BE49-F238E27FC236}">
                <a16:creationId xmlns:a16="http://schemas.microsoft.com/office/drawing/2014/main" id="{DBBE649A-91DD-412E-E9F9-4EC6B0209ACE}"/>
              </a:ext>
            </a:extLst>
          </p:cNvPr>
          <p:cNvSpPr>
            <a:spLocks noEditPoints="1"/>
          </p:cNvSpPr>
          <p:nvPr userDrawn="1"/>
        </p:nvSpPr>
        <p:spPr bwMode="auto">
          <a:xfrm>
            <a:off x="11470524" y="6812832"/>
            <a:ext cx="190490" cy="79376"/>
          </a:xfrm>
          <a:custGeom>
            <a:avLst/>
            <a:gdLst>
              <a:gd name="T0" fmla="*/ 25 w 60"/>
              <a:gd name="T1" fmla="*/ 0 h 25"/>
              <a:gd name="T2" fmla="*/ 29 w 60"/>
              <a:gd name="T3" fmla="*/ 0 h 25"/>
              <a:gd name="T4" fmla="*/ 29 w 60"/>
              <a:gd name="T5" fmla="*/ 0 h 25"/>
              <a:gd name="T6" fmla="*/ 25 w 60"/>
              <a:gd name="T7" fmla="*/ 0 h 25"/>
              <a:gd name="T8" fmla="*/ 25 w 60"/>
              <a:gd name="T9" fmla="*/ 0 h 25"/>
              <a:gd name="T10" fmla="*/ 25 w 60"/>
              <a:gd name="T11" fmla="*/ 0 h 25"/>
              <a:gd name="T12" fmla="*/ 7 w 60"/>
              <a:gd name="T13" fmla="*/ 0 h 25"/>
              <a:gd name="T14" fmla="*/ 13 w 60"/>
              <a:gd name="T15" fmla="*/ 3 h 25"/>
              <a:gd name="T16" fmla="*/ 10 w 60"/>
              <a:gd name="T17" fmla="*/ 0 h 25"/>
              <a:gd name="T18" fmla="*/ 7 w 60"/>
              <a:gd name="T19" fmla="*/ 0 h 25"/>
              <a:gd name="T20" fmla="*/ 7 w 60"/>
              <a:gd name="T21" fmla="*/ 0 h 25"/>
              <a:gd name="T22" fmla="*/ 0 w 60"/>
              <a:gd name="T23" fmla="*/ 3 h 25"/>
              <a:gd name="T24" fmla="*/ 0 w 60"/>
              <a:gd name="T25" fmla="*/ 7 h 25"/>
              <a:gd name="T26" fmla="*/ 7 w 60"/>
              <a:gd name="T27" fmla="*/ 7 h 25"/>
              <a:gd name="T28" fmla="*/ 7 w 60"/>
              <a:gd name="T29" fmla="*/ 7 h 25"/>
              <a:gd name="T30" fmla="*/ 4 w 60"/>
              <a:gd name="T31" fmla="*/ 3 h 25"/>
              <a:gd name="T32" fmla="*/ 0 w 60"/>
              <a:gd name="T33" fmla="*/ 3 h 25"/>
              <a:gd name="T34" fmla="*/ 0 w 60"/>
              <a:gd name="T35" fmla="*/ 3 h 25"/>
              <a:gd name="T36" fmla="*/ 54 w 60"/>
              <a:gd name="T37" fmla="*/ 22 h 25"/>
              <a:gd name="T38" fmla="*/ 51 w 60"/>
              <a:gd name="T39" fmla="*/ 22 h 25"/>
              <a:gd name="T40" fmla="*/ 54 w 60"/>
              <a:gd name="T41" fmla="*/ 25 h 25"/>
              <a:gd name="T42" fmla="*/ 57 w 60"/>
              <a:gd name="T43" fmla="*/ 25 h 25"/>
              <a:gd name="T44" fmla="*/ 60 w 60"/>
              <a:gd name="T45" fmla="*/ 22 h 25"/>
              <a:gd name="T46" fmla="*/ 57 w 60"/>
              <a:gd name="T47" fmla="*/ 22 h 25"/>
              <a:gd name="T48" fmla="*/ 54 w 60"/>
              <a:gd name="T49" fmla="*/ 2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25">
                <a:moveTo>
                  <a:pt x="25" y="0"/>
                </a:moveTo>
                <a:lnTo>
                  <a:pt x="29" y="0"/>
                </a:lnTo>
                <a:lnTo>
                  <a:pt x="29" y="0"/>
                </a:lnTo>
                <a:lnTo>
                  <a:pt x="25" y="0"/>
                </a:lnTo>
                <a:lnTo>
                  <a:pt x="25" y="0"/>
                </a:lnTo>
                <a:lnTo>
                  <a:pt x="25" y="0"/>
                </a:lnTo>
                <a:close/>
                <a:moveTo>
                  <a:pt x="7" y="0"/>
                </a:moveTo>
                <a:lnTo>
                  <a:pt x="13" y="3"/>
                </a:lnTo>
                <a:lnTo>
                  <a:pt x="10" y="0"/>
                </a:lnTo>
                <a:lnTo>
                  <a:pt x="7" y="0"/>
                </a:lnTo>
                <a:lnTo>
                  <a:pt x="7" y="0"/>
                </a:lnTo>
                <a:close/>
                <a:moveTo>
                  <a:pt x="0" y="3"/>
                </a:moveTo>
                <a:lnTo>
                  <a:pt x="0" y="7"/>
                </a:lnTo>
                <a:lnTo>
                  <a:pt x="7" y="7"/>
                </a:lnTo>
                <a:lnTo>
                  <a:pt x="7" y="7"/>
                </a:lnTo>
                <a:lnTo>
                  <a:pt x="4" y="3"/>
                </a:lnTo>
                <a:lnTo>
                  <a:pt x="0" y="3"/>
                </a:lnTo>
                <a:lnTo>
                  <a:pt x="0" y="3"/>
                </a:lnTo>
                <a:close/>
                <a:moveTo>
                  <a:pt x="54" y="22"/>
                </a:moveTo>
                <a:lnTo>
                  <a:pt x="51" y="22"/>
                </a:lnTo>
                <a:lnTo>
                  <a:pt x="54" y="25"/>
                </a:lnTo>
                <a:lnTo>
                  <a:pt x="57" y="25"/>
                </a:lnTo>
                <a:lnTo>
                  <a:pt x="60" y="22"/>
                </a:lnTo>
                <a:lnTo>
                  <a:pt x="57" y="22"/>
                </a:lnTo>
                <a:lnTo>
                  <a:pt x="54" y="22"/>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0" name="Freeform 98">
            <a:extLst>
              <a:ext uri="{FF2B5EF4-FFF2-40B4-BE49-F238E27FC236}">
                <a16:creationId xmlns:a16="http://schemas.microsoft.com/office/drawing/2014/main" id="{E579E179-B3FD-62F8-AFF8-4CD284D2A47B}"/>
              </a:ext>
            </a:extLst>
          </p:cNvPr>
          <p:cNvSpPr>
            <a:spLocks/>
          </p:cNvSpPr>
          <p:nvPr userDrawn="1"/>
        </p:nvSpPr>
        <p:spPr bwMode="auto">
          <a:xfrm>
            <a:off x="12137232" y="7241459"/>
            <a:ext cx="28574" cy="19050"/>
          </a:xfrm>
          <a:custGeom>
            <a:avLst/>
            <a:gdLst>
              <a:gd name="T0" fmla="*/ 2 w 3"/>
              <a:gd name="T1" fmla="*/ 2 h 2"/>
              <a:gd name="T2" fmla="*/ 1 w 3"/>
              <a:gd name="T3" fmla="*/ 1 h 2"/>
              <a:gd name="T4" fmla="*/ 0 w 3"/>
              <a:gd name="T5" fmla="*/ 1 h 2"/>
              <a:gd name="T6" fmla="*/ 2 w 3"/>
              <a:gd name="T7" fmla="*/ 0 h 2"/>
              <a:gd name="T8" fmla="*/ 3 w 3"/>
              <a:gd name="T9" fmla="*/ 2 h 2"/>
              <a:gd name="T10" fmla="*/ 2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2" y="2"/>
                </a:moveTo>
                <a:cubicBezTo>
                  <a:pt x="1" y="1"/>
                  <a:pt x="1" y="1"/>
                  <a:pt x="1" y="1"/>
                </a:cubicBezTo>
                <a:cubicBezTo>
                  <a:pt x="0" y="1"/>
                  <a:pt x="0" y="1"/>
                  <a:pt x="0" y="1"/>
                </a:cubicBezTo>
                <a:cubicBezTo>
                  <a:pt x="2" y="0"/>
                  <a:pt x="2" y="0"/>
                  <a:pt x="2" y="0"/>
                </a:cubicBezTo>
                <a:cubicBezTo>
                  <a:pt x="3" y="2"/>
                  <a:pt x="3" y="2"/>
                  <a:pt x="3" y="2"/>
                </a:cubicBezTo>
                <a:cubicBezTo>
                  <a:pt x="3" y="2"/>
                  <a:pt x="2" y="2"/>
                  <a:pt x="2" y="2"/>
                </a:cubicBez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1" name="Freeform 99">
            <a:extLst>
              <a:ext uri="{FF2B5EF4-FFF2-40B4-BE49-F238E27FC236}">
                <a16:creationId xmlns:a16="http://schemas.microsoft.com/office/drawing/2014/main" id="{B098398C-7962-95BC-3C49-7BB86C43B29D}"/>
              </a:ext>
            </a:extLst>
          </p:cNvPr>
          <p:cNvSpPr>
            <a:spLocks noEditPoints="1"/>
          </p:cNvSpPr>
          <p:nvPr userDrawn="1"/>
        </p:nvSpPr>
        <p:spPr bwMode="auto">
          <a:xfrm>
            <a:off x="12076915" y="7508156"/>
            <a:ext cx="288907" cy="101600"/>
          </a:xfrm>
          <a:custGeom>
            <a:avLst/>
            <a:gdLst>
              <a:gd name="T0" fmla="*/ 5 w 29"/>
              <a:gd name="T1" fmla="*/ 7 h 10"/>
              <a:gd name="T2" fmla="*/ 5 w 29"/>
              <a:gd name="T3" fmla="*/ 7 h 10"/>
              <a:gd name="T4" fmla="*/ 5 w 29"/>
              <a:gd name="T5" fmla="*/ 6 h 10"/>
              <a:gd name="T6" fmla="*/ 5 w 29"/>
              <a:gd name="T7" fmla="*/ 6 h 10"/>
              <a:gd name="T8" fmla="*/ 5 w 29"/>
              <a:gd name="T9" fmla="*/ 7 h 10"/>
              <a:gd name="T10" fmla="*/ 5 w 29"/>
              <a:gd name="T11" fmla="*/ 7 h 10"/>
              <a:gd name="T12" fmla="*/ 1 w 29"/>
              <a:gd name="T13" fmla="*/ 10 h 10"/>
              <a:gd name="T14" fmla="*/ 0 w 29"/>
              <a:gd name="T15" fmla="*/ 9 h 10"/>
              <a:gd name="T16" fmla="*/ 1 w 29"/>
              <a:gd name="T17" fmla="*/ 9 h 10"/>
              <a:gd name="T18" fmla="*/ 1 w 29"/>
              <a:gd name="T19" fmla="*/ 9 h 10"/>
              <a:gd name="T20" fmla="*/ 1 w 29"/>
              <a:gd name="T21" fmla="*/ 9 h 10"/>
              <a:gd name="T22" fmla="*/ 1 w 29"/>
              <a:gd name="T23" fmla="*/ 10 h 10"/>
              <a:gd name="T24" fmla="*/ 1 w 29"/>
              <a:gd name="T25" fmla="*/ 10 h 10"/>
              <a:gd name="T26" fmla="*/ 2 w 29"/>
              <a:gd name="T27" fmla="*/ 4 h 10"/>
              <a:gd name="T28" fmla="*/ 2 w 29"/>
              <a:gd name="T29" fmla="*/ 3 h 10"/>
              <a:gd name="T30" fmla="*/ 1 w 29"/>
              <a:gd name="T31" fmla="*/ 2 h 10"/>
              <a:gd name="T32" fmla="*/ 2 w 29"/>
              <a:gd name="T33" fmla="*/ 1 h 10"/>
              <a:gd name="T34" fmla="*/ 3 w 29"/>
              <a:gd name="T35" fmla="*/ 2 h 10"/>
              <a:gd name="T36" fmla="*/ 3 w 29"/>
              <a:gd name="T37" fmla="*/ 4 h 10"/>
              <a:gd name="T38" fmla="*/ 2 w 29"/>
              <a:gd name="T39" fmla="*/ 4 h 10"/>
              <a:gd name="T40" fmla="*/ 12 w 29"/>
              <a:gd name="T41" fmla="*/ 6 h 10"/>
              <a:gd name="T42" fmla="*/ 10 w 29"/>
              <a:gd name="T43" fmla="*/ 6 h 10"/>
              <a:gd name="T44" fmla="*/ 8 w 29"/>
              <a:gd name="T45" fmla="*/ 7 h 10"/>
              <a:gd name="T46" fmla="*/ 7 w 29"/>
              <a:gd name="T47" fmla="*/ 7 h 10"/>
              <a:gd name="T48" fmla="*/ 7 w 29"/>
              <a:gd name="T49" fmla="*/ 6 h 10"/>
              <a:gd name="T50" fmla="*/ 8 w 29"/>
              <a:gd name="T51" fmla="*/ 5 h 10"/>
              <a:gd name="T52" fmla="*/ 9 w 29"/>
              <a:gd name="T53" fmla="*/ 5 h 10"/>
              <a:gd name="T54" fmla="*/ 10 w 29"/>
              <a:gd name="T55" fmla="*/ 5 h 10"/>
              <a:gd name="T56" fmla="*/ 11 w 29"/>
              <a:gd name="T57" fmla="*/ 4 h 10"/>
              <a:gd name="T58" fmla="*/ 12 w 29"/>
              <a:gd name="T59" fmla="*/ 4 h 10"/>
              <a:gd name="T60" fmla="*/ 12 w 29"/>
              <a:gd name="T61" fmla="*/ 6 h 10"/>
              <a:gd name="T62" fmla="*/ 14 w 29"/>
              <a:gd name="T63" fmla="*/ 6 h 10"/>
              <a:gd name="T64" fmla="*/ 14 w 29"/>
              <a:gd name="T65" fmla="*/ 8 h 10"/>
              <a:gd name="T66" fmla="*/ 15 w 29"/>
              <a:gd name="T67" fmla="*/ 9 h 10"/>
              <a:gd name="T68" fmla="*/ 16 w 29"/>
              <a:gd name="T69" fmla="*/ 8 h 10"/>
              <a:gd name="T70" fmla="*/ 17 w 29"/>
              <a:gd name="T71" fmla="*/ 8 h 10"/>
              <a:gd name="T72" fmla="*/ 16 w 29"/>
              <a:gd name="T73" fmla="*/ 7 h 10"/>
              <a:gd name="T74" fmla="*/ 15 w 29"/>
              <a:gd name="T75" fmla="*/ 6 h 10"/>
              <a:gd name="T76" fmla="*/ 14 w 29"/>
              <a:gd name="T77" fmla="*/ 6 h 10"/>
              <a:gd name="T78" fmla="*/ 26 w 29"/>
              <a:gd name="T79" fmla="*/ 2 h 10"/>
              <a:gd name="T80" fmla="*/ 27 w 29"/>
              <a:gd name="T81" fmla="*/ 0 h 10"/>
              <a:gd name="T82" fmla="*/ 28 w 29"/>
              <a:gd name="T83" fmla="*/ 0 h 10"/>
              <a:gd name="T84" fmla="*/ 29 w 29"/>
              <a:gd name="T85" fmla="*/ 1 h 10"/>
              <a:gd name="T86" fmla="*/ 27 w 29"/>
              <a:gd name="T87" fmla="*/ 1 h 10"/>
              <a:gd name="T88" fmla="*/ 26 w 29"/>
              <a:gd name="T89" fmla="*/ 2 h 10"/>
              <a:gd name="T90" fmla="*/ 22 w 29"/>
              <a:gd name="T91" fmla="*/ 7 h 10"/>
              <a:gd name="T92" fmla="*/ 24 w 29"/>
              <a:gd name="T93" fmla="*/ 5 h 10"/>
              <a:gd name="T94" fmla="*/ 24 w 29"/>
              <a:gd name="T95" fmla="*/ 4 h 10"/>
              <a:gd name="T96" fmla="*/ 26 w 29"/>
              <a:gd name="T97" fmla="*/ 3 h 10"/>
              <a:gd name="T98" fmla="*/ 26 w 29"/>
              <a:gd name="T99" fmla="*/ 5 h 10"/>
              <a:gd name="T100" fmla="*/ 24 w 29"/>
              <a:gd name="T101" fmla="*/ 7 h 10"/>
              <a:gd name="T102" fmla="*/ 23 w 29"/>
              <a:gd name="T103" fmla="*/ 7 h 10"/>
              <a:gd name="T104" fmla="*/ 22 w 29"/>
              <a:gd name="T105"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 h="10">
                <a:moveTo>
                  <a:pt x="5" y="7"/>
                </a:moveTo>
                <a:cubicBezTo>
                  <a:pt x="5" y="7"/>
                  <a:pt x="5" y="7"/>
                  <a:pt x="5" y="7"/>
                </a:cubicBezTo>
                <a:cubicBezTo>
                  <a:pt x="5" y="6"/>
                  <a:pt x="5" y="6"/>
                  <a:pt x="5" y="6"/>
                </a:cubicBezTo>
                <a:cubicBezTo>
                  <a:pt x="5" y="6"/>
                  <a:pt x="5" y="6"/>
                  <a:pt x="5" y="6"/>
                </a:cubicBezTo>
                <a:cubicBezTo>
                  <a:pt x="5" y="7"/>
                  <a:pt x="5" y="7"/>
                  <a:pt x="5" y="7"/>
                </a:cubicBezTo>
                <a:cubicBezTo>
                  <a:pt x="5" y="7"/>
                  <a:pt x="5" y="7"/>
                  <a:pt x="5" y="7"/>
                </a:cubicBezTo>
                <a:close/>
                <a:moveTo>
                  <a:pt x="1" y="10"/>
                </a:moveTo>
                <a:cubicBezTo>
                  <a:pt x="0" y="9"/>
                  <a:pt x="0" y="9"/>
                  <a:pt x="0" y="9"/>
                </a:cubicBezTo>
                <a:cubicBezTo>
                  <a:pt x="1" y="9"/>
                  <a:pt x="1" y="9"/>
                  <a:pt x="1" y="9"/>
                </a:cubicBezTo>
                <a:cubicBezTo>
                  <a:pt x="1" y="9"/>
                  <a:pt x="1" y="9"/>
                  <a:pt x="1" y="9"/>
                </a:cubicBezTo>
                <a:cubicBezTo>
                  <a:pt x="1" y="9"/>
                  <a:pt x="1" y="9"/>
                  <a:pt x="1" y="9"/>
                </a:cubicBezTo>
                <a:cubicBezTo>
                  <a:pt x="1" y="10"/>
                  <a:pt x="1" y="10"/>
                  <a:pt x="1" y="10"/>
                </a:cubicBezTo>
                <a:cubicBezTo>
                  <a:pt x="1" y="10"/>
                  <a:pt x="1" y="10"/>
                  <a:pt x="1" y="10"/>
                </a:cubicBezTo>
                <a:close/>
                <a:moveTo>
                  <a:pt x="2" y="4"/>
                </a:moveTo>
                <a:cubicBezTo>
                  <a:pt x="2" y="3"/>
                  <a:pt x="2" y="3"/>
                  <a:pt x="2" y="3"/>
                </a:cubicBezTo>
                <a:cubicBezTo>
                  <a:pt x="1" y="2"/>
                  <a:pt x="1" y="2"/>
                  <a:pt x="1" y="2"/>
                </a:cubicBezTo>
                <a:cubicBezTo>
                  <a:pt x="1" y="2"/>
                  <a:pt x="2" y="1"/>
                  <a:pt x="2" y="1"/>
                </a:cubicBezTo>
                <a:cubicBezTo>
                  <a:pt x="2" y="1"/>
                  <a:pt x="3" y="2"/>
                  <a:pt x="3" y="2"/>
                </a:cubicBezTo>
                <a:cubicBezTo>
                  <a:pt x="3" y="4"/>
                  <a:pt x="3" y="4"/>
                  <a:pt x="3" y="4"/>
                </a:cubicBezTo>
                <a:cubicBezTo>
                  <a:pt x="3" y="4"/>
                  <a:pt x="2" y="4"/>
                  <a:pt x="2" y="4"/>
                </a:cubicBezTo>
                <a:close/>
                <a:moveTo>
                  <a:pt x="12" y="6"/>
                </a:moveTo>
                <a:cubicBezTo>
                  <a:pt x="10" y="6"/>
                  <a:pt x="10" y="6"/>
                  <a:pt x="10" y="6"/>
                </a:cubicBezTo>
                <a:cubicBezTo>
                  <a:pt x="8" y="7"/>
                  <a:pt x="8" y="7"/>
                  <a:pt x="8" y="7"/>
                </a:cubicBezTo>
                <a:cubicBezTo>
                  <a:pt x="7" y="7"/>
                  <a:pt x="7" y="7"/>
                  <a:pt x="7" y="7"/>
                </a:cubicBezTo>
                <a:cubicBezTo>
                  <a:pt x="7" y="6"/>
                  <a:pt x="7" y="6"/>
                  <a:pt x="7" y="6"/>
                </a:cubicBezTo>
                <a:cubicBezTo>
                  <a:pt x="8" y="5"/>
                  <a:pt x="8" y="5"/>
                  <a:pt x="8" y="5"/>
                </a:cubicBezTo>
                <a:cubicBezTo>
                  <a:pt x="9" y="5"/>
                  <a:pt x="9" y="5"/>
                  <a:pt x="9" y="5"/>
                </a:cubicBezTo>
                <a:cubicBezTo>
                  <a:pt x="10" y="5"/>
                  <a:pt x="10" y="5"/>
                  <a:pt x="10" y="5"/>
                </a:cubicBezTo>
                <a:cubicBezTo>
                  <a:pt x="11" y="4"/>
                  <a:pt x="11" y="4"/>
                  <a:pt x="11" y="4"/>
                </a:cubicBezTo>
                <a:cubicBezTo>
                  <a:pt x="12" y="4"/>
                  <a:pt x="12" y="4"/>
                  <a:pt x="12" y="4"/>
                </a:cubicBezTo>
                <a:cubicBezTo>
                  <a:pt x="12" y="6"/>
                  <a:pt x="12" y="6"/>
                  <a:pt x="12" y="6"/>
                </a:cubicBezTo>
                <a:close/>
                <a:moveTo>
                  <a:pt x="14" y="6"/>
                </a:moveTo>
                <a:cubicBezTo>
                  <a:pt x="14" y="8"/>
                  <a:pt x="14" y="8"/>
                  <a:pt x="14" y="8"/>
                </a:cubicBezTo>
                <a:cubicBezTo>
                  <a:pt x="15" y="9"/>
                  <a:pt x="15" y="9"/>
                  <a:pt x="15" y="9"/>
                </a:cubicBezTo>
                <a:cubicBezTo>
                  <a:pt x="16" y="8"/>
                  <a:pt x="16" y="8"/>
                  <a:pt x="16" y="8"/>
                </a:cubicBezTo>
                <a:cubicBezTo>
                  <a:pt x="17" y="8"/>
                  <a:pt x="17" y="8"/>
                  <a:pt x="17" y="8"/>
                </a:cubicBezTo>
                <a:cubicBezTo>
                  <a:pt x="16" y="7"/>
                  <a:pt x="16" y="7"/>
                  <a:pt x="16" y="7"/>
                </a:cubicBezTo>
                <a:cubicBezTo>
                  <a:pt x="15" y="6"/>
                  <a:pt x="15" y="6"/>
                  <a:pt x="15" y="6"/>
                </a:cubicBezTo>
                <a:cubicBezTo>
                  <a:pt x="14" y="6"/>
                  <a:pt x="14" y="6"/>
                  <a:pt x="14" y="6"/>
                </a:cubicBezTo>
                <a:close/>
                <a:moveTo>
                  <a:pt x="26" y="2"/>
                </a:moveTo>
                <a:cubicBezTo>
                  <a:pt x="27" y="0"/>
                  <a:pt x="27" y="0"/>
                  <a:pt x="27" y="0"/>
                </a:cubicBezTo>
                <a:cubicBezTo>
                  <a:pt x="28" y="0"/>
                  <a:pt x="28" y="0"/>
                  <a:pt x="28" y="0"/>
                </a:cubicBezTo>
                <a:cubicBezTo>
                  <a:pt x="29" y="1"/>
                  <a:pt x="29" y="1"/>
                  <a:pt x="29" y="1"/>
                </a:cubicBezTo>
                <a:cubicBezTo>
                  <a:pt x="27" y="1"/>
                  <a:pt x="27" y="1"/>
                  <a:pt x="27" y="1"/>
                </a:cubicBezTo>
                <a:cubicBezTo>
                  <a:pt x="26" y="2"/>
                  <a:pt x="26" y="2"/>
                  <a:pt x="26" y="2"/>
                </a:cubicBezTo>
                <a:close/>
                <a:moveTo>
                  <a:pt x="22" y="7"/>
                </a:moveTo>
                <a:cubicBezTo>
                  <a:pt x="24" y="5"/>
                  <a:pt x="24" y="5"/>
                  <a:pt x="24" y="5"/>
                </a:cubicBezTo>
                <a:cubicBezTo>
                  <a:pt x="24" y="4"/>
                  <a:pt x="24" y="4"/>
                  <a:pt x="24" y="4"/>
                </a:cubicBezTo>
                <a:cubicBezTo>
                  <a:pt x="26" y="3"/>
                  <a:pt x="26" y="3"/>
                  <a:pt x="26" y="3"/>
                </a:cubicBezTo>
                <a:cubicBezTo>
                  <a:pt x="26" y="5"/>
                  <a:pt x="26" y="5"/>
                  <a:pt x="26" y="5"/>
                </a:cubicBezTo>
                <a:cubicBezTo>
                  <a:pt x="24" y="7"/>
                  <a:pt x="24" y="7"/>
                  <a:pt x="24" y="7"/>
                </a:cubicBezTo>
                <a:cubicBezTo>
                  <a:pt x="23" y="7"/>
                  <a:pt x="23" y="7"/>
                  <a:pt x="23" y="7"/>
                </a:cubicBezTo>
                <a:lnTo>
                  <a:pt x="22" y="7"/>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2" name="Freeform 100">
            <a:extLst>
              <a:ext uri="{FF2B5EF4-FFF2-40B4-BE49-F238E27FC236}">
                <a16:creationId xmlns:a16="http://schemas.microsoft.com/office/drawing/2014/main" id="{CC0C2875-68AC-4012-FA16-ECCD3C8D43C7}"/>
              </a:ext>
            </a:extLst>
          </p:cNvPr>
          <p:cNvSpPr>
            <a:spLocks noEditPoints="1"/>
          </p:cNvSpPr>
          <p:nvPr userDrawn="1"/>
        </p:nvSpPr>
        <p:spPr bwMode="auto">
          <a:xfrm>
            <a:off x="11610217" y="8282859"/>
            <a:ext cx="158740" cy="149226"/>
          </a:xfrm>
          <a:custGeom>
            <a:avLst/>
            <a:gdLst>
              <a:gd name="T0" fmla="*/ 2 w 16"/>
              <a:gd name="T1" fmla="*/ 1 h 15"/>
              <a:gd name="T2" fmla="*/ 3 w 16"/>
              <a:gd name="T3" fmla="*/ 0 h 15"/>
              <a:gd name="T4" fmla="*/ 3 w 16"/>
              <a:gd name="T5" fmla="*/ 0 h 15"/>
              <a:gd name="T6" fmla="*/ 2 w 16"/>
              <a:gd name="T7" fmla="*/ 0 h 15"/>
              <a:gd name="T8" fmla="*/ 1 w 16"/>
              <a:gd name="T9" fmla="*/ 0 h 15"/>
              <a:gd name="T10" fmla="*/ 0 w 16"/>
              <a:gd name="T11" fmla="*/ 0 h 15"/>
              <a:gd name="T12" fmla="*/ 1 w 16"/>
              <a:gd name="T13" fmla="*/ 1 h 15"/>
              <a:gd name="T14" fmla="*/ 2 w 16"/>
              <a:gd name="T15" fmla="*/ 1 h 15"/>
              <a:gd name="T16" fmla="*/ 3 w 16"/>
              <a:gd name="T17" fmla="*/ 2 h 15"/>
              <a:gd name="T18" fmla="*/ 3 w 16"/>
              <a:gd name="T19" fmla="*/ 1 h 15"/>
              <a:gd name="T20" fmla="*/ 3 w 16"/>
              <a:gd name="T21" fmla="*/ 1 h 15"/>
              <a:gd name="T22" fmla="*/ 4 w 16"/>
              <a:gd name="T23" fmla="*/ 1 h 15"/>
              <a:gd name="T24" fmla="*/ 4 w 16"/>
              <a:gd name="T25" fmla="*/ 2 h 15"/>
              <a:gd name="T26" fmla="*/ 3 w 16"/>
              <a:gd name="T27" fmla="*/ 2 h 15"/>
              <a:gd name="T28" fmla="*/ 8 w 16"/>
              <a:gd name="T29" fmla="*/ 4 h 15"/>
              <a:gd name="T30" fmla="*/ 8 w 16"/>
              <a:gd name="T31" fmla="*/ 4 h 15"/>
              <a:gd name="T32" fmla="*/ 7 w 16"/>
              <a:gd name="T33" fmla="*/ 4 h 15"/>
              <a:gd name="T34" fmla="*/ 7 w 16"/>
              <a:gd name="T35" fmla="*/ 3 h 15"/>
              <a:gd name="T36" fmla="*/ 7 w 16"/>
              <a:gd name="T37" fmla="*/ 3 h 15"/>
              <a:gd name="T38" fmla="*/ 8 w 16"/>
              <a:gd name="T39" fmla="*/ 3 h 15"/>
              <a:gd name="T40" fmla="*/ 8 w 16"/>
              <a:gd name="T41" fmla="*/ 3 h 15"/>
              <a:gd name="T42" fmla="*/ 8 w 16"/>
              <a:gd name="T43" fmla="*/ 4 h 15"/>
              <a:gd name="T44" fmla="*/ 8 w 16"/>
              <a:gd name="T45" fmla="*/ 4 h 15"/>
              <a:gd name="T46" fmla="*/ 10 w 16"/>
              <a:gd name="T47" fmla="*/ 4 h 15"/>
              <a:gd name="T48" fmla="*/ 9 w 16"/>
              <a:gd name="T49" fmla="*/ 4 h 15"/>
              <a:gd name="T50" fmla="*/ 9 w 16"/>
              <a:gd name="T51" fmla="*/ 3 h 15"/>
              <a:gd name="T52" fmla="*/ 9 w 16"/>
              <a:gd name="T53" fmla="*/ 3 h 15"/>
              <a:gd name="T54" fmla="*/ 10 w 16"/>
              <a:gd name="T55" fmla="*/ 4 h 15"/>
              <a:gd name="T56" fmla="*/ 15 w 16"/>
              <a:gd name="T57" fmla="*/ 3 h 15"/>
              <a:gd name="T58" fmla="*/ 15 w 16"/>
              <a:gd name="T59" fmla="*/ 2 h 15"/>
              <a:gd name="T60" fmla="*/ 16 w 16"/>
              <a:gd name="T61" fmla="*/ 1 h 15"/>
              <a:gd name="T62" fmla="*/ 16 w 16"/>
              <a:gd name="T63" fmla="*/ 3 h 15"/>
              <a:gd name="T64" fmla="*/ 15 w 16"/>
              <a:gd name="T65" fmla="*/ 3 h 15"/>
              <a:gd name="T66" fmla="*/ 15 w 16"/>
              <a:gd name="T67" fmla="*/ 7 h 15"/>
              <a:gd name="T68" fmla="*/ 14 w 16"/>
              <a:gd name="T69" fmla="*/ 6 h 15"/>
              <a:gd name="T70" fmla="*/ 15 w 16"/>
              <a:gd name="T71" fmla="*/ 6 h 15"/>
              <a:gd name="T72" fmla="*/ 16 w 16"/>
              <a:gd name="T73" fmla="*/ 6 h 15"/>
              <a:gd name="T74" fmla="*/ 16 w 16"/>
              <a:gd name="T75" fmla="*/ 7 h 15"/>
              <a:gd name="T76" fmla="*/ 16 w 16"/>
              <a:gd name="T77" fmla="*/ 7 h 15"/>
              <a:gd name="T78" fmla="*/ 15 w 16"/>
              <a:gd name="T79" fmla="*/ 7 h 15"/>
              <a:gd name="T80" fmla="*/ 14 w 16"/>
              <a:gd name="T81" fmla="*/ 13 h 15"/>
              <a:gd name="T82" fmla="*/ 13 w 16"/>
              <a:gd name="T83" fmla="*/ 12 h 15"/>
              <a:gd name="T84" fmla="*/ 14 w 16"/>
              <a:gd name="T85" fmla="*/ 12 h 15"/>
              <a:gd name="T86" fmla="*/ 14 w 16"/>
              <a:gd name="T87" fmla="*/ 13 h 15"/>
              <a:gd name="T88" fmla="*/ 14 w 16"/>
              <a:gd name="T89" fmla="*/ 13 h 15"/>
              <a:gd name="T90" fmla="*/ 10 w 16"/>
              <a:gd name="T91" fmla="*/ 14 h 15"/>
              <a:gd name="T92" fmla="*/ 10 w 16"/>
              <a:gd name="T93" fmla="*/ 13 h 15"/>
              <a:gd name="T94" fmla="*/ 10 w 16"/>
              <a:gd name="T95" fmla="*/ 12 h 15"/>
              <a:gd name="T96" fmla="*/ 11 w 16"/>
              <a:gd name="T97" fmla="*/ 12 h 15"/>
              <a:gd name="T98" fmla="*/ 12 w 16"/>
              <a:gd name="T99" fmla="*/ 14 h 15"/>
              <a:gd name="T100" fmla="*/ 12 w 16"/>
              <a:gd name="T101" fmla="*/ 15 h 15"/>
              <a:gd name="T102" fmla="*/ 10 w 16"/>
              <a:gd name="T103"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 h="15">
                <a:moveTo>
                  <a:pt x="2" y="1"/>
                </a:moveTo>
                <a:cubicBezTo>
                  <a:pt x="3" y="0"/>
                  <a:pt x="3" y="0"/>
                  <a:pt x="3" y="0"/>
                </a:cubicBezTo>
                <a:cubicBezTo>
                  <a:pt x="3" y="0"/>
                  <a:pt x="3" y="0"/>
                  <a:pt x="3" y="0"/>
                </a:cubicBezTo>
                <a:cubicBezTo>
                  <a:pt x="2" y="0"/>
                  <a:pt x="2" y="0"/>
                  <a:pt x="2" y="0"/>
                </a:cubicBezTo>
                <a:cubicBezTo>
                  <a:pt x="1" y="0"/>
                  <a:pt x="1" y="0"/>
                  <a:pt x="1" y="0"/>
                </a:cubicBezTo>
                <a:cubicBezTo>
                  <a:pt x="0" y="0"/>
                  <a:pt x="0" y="0"/>
                  <a:pt x="0" y="0"/>
                </a:cubicBezTo>
                <a:cubicBezTo>
                  <a:pt x="1" y="1"/>
                  <a:pt x="1" y="1"/>
                  <a:pt x="1" y="1"/>
                </a:cubicBezTo>
                <a:cubicBezTo>
                  <a:pt x="1" y="1"/>
                  <a:pt x="1" y="1"/>
                  <a:pt x="2" y="1"/>
                </a:cubicBezTo>
                <a:close/>
                <a:moveTo>
                  <a:pt x="3" y="2"/>
                </a:moveTo>
                <a:cubicBezTo>
                  <a:pt x="3" y="1"/>
                  <a:pt x="3" y="1"/>
                  <a:pt x="3" y="1"/>
                </a:cubicBezTo>
                <a:cubicBezTo>
                  <a:pt x="3" y="1"/>
                  <a:pt x="3" y="1"/>
                  <a:pt x="3" y="1"/>
                </a:cubicBezTo>
                <a:cubicBezTo>
                  <a:pt x="4" y="1"/>
                  <a:pt x="4" y="1"/>
                  <a:pt x="4" y="1"/>
                </a:cubicBezTo>
                <a:cubicBezTo>
                  <a:pt x="4" y="2"/>
                  <a:pt x="4" y="2"/>
                  <a:pt x="4" y="2"/>
                </a:cubicBezTo>
                <a:cubicBezTo>
                  <a:pt x="4" y="2"/>
                  <a:pt x="3" y="2"/>
                  <a:pt x="3" y="2"/>
                </a:cubicBezTo>
                <a:close/>
                <a:moveTo>
                  <a:pt x="8" y="4"/>
                </a:moveTo>
                <a:cubicBezTo>
                  <a:pt x="8" y="4"/>
                  <a:pt x="8" y="4"/>
                  <a:pt x="8" y="4"/>
                </a:cubicBezTo>
                <a:cubicBezTo>
                  <a:pt x="7" y="4"/>
                  <a:pt x="7" y="4"/>
                  <a:pt x="7" y="4"/>
                </a:cubicBezTo>
                <a:cubicBezTo>
                  <a:pt x="7" y="3"/>
                  <a:pt x="7" y="3"/>
                  <a:pt x="7" y="3"/>
                </a:cubicBezTo>
                <a:cubicBezTo>
                  <a:pt x="7" y="3"/>
                  <a:pt x="7" y="3"/>
                  <a:pt x="7" y="3"/>
                </a:cubicBezTo>
                <a:cubicBezTo>
                  <a:pt x="8" y="3"/>
                  <a:pt x="8" y="3"/>
                  <a:pt x="8" y="3"/>
                </a:cubicBezTo>
                <a:cubicBezTo>
                  <a:pt x="8" y="3"/>
                  <a:pt x="8" y="3"/>
                  <a:pt x="8" y="3"/>
                </a:cubicBezTo>
                <a:cubicBezTo>
                  <a:pt x="8" y="4"/>
                  <a:pt x="8" y="4"/>
                  <a:pt x="8" y="4"/>
                </a:cubicBezTo>
                <a:cubicBezTo>
                  <a:pt x="8" y="4"/>
                  <a:pt x="8" y="4"/>
                  <a:pt x="8" y="4"/>
                </a:cubicBezTo>
                <a:close/>
                <a:moveTo>
                  <a:pt x="10" y="4"/>
                </a:moveTo>
                <a:cubicBezTo>
                  <a:pt x="9" y="4"/>
                  <a:pt x="9" y="4"/>
                  <a:pt x="9" y="4"/>
                </a:cubicBezTo>
                <a:cubicBezTo>
                  <a:pt x="9" y="3"/>
                  <a:pt x="9" y="3"/>
                  <a:pt x="9" y="3"/>
                </a:cubicBezTo>
                <a:cubicBezTo>
                  <a:pt x="9" y="3"/>
                  <a:pt x="9" y="3"/>
                  <a:pt x="9" y="3"/>
                </a:cubicBezTo>
                <a:cubicBezTo>
                  <a:pt x="10" y="4"/>
                  <a:pt x="10" y="4"/>
                  <a:pt x="10" y="4"/>
                </a:cubicBezTo>
                <a:close/>
                <a:moveTo>
                  <a:pt x="15" y="3"/>
                </a:moveTo>
                <a:cubicBezTo>
                  <a:pt x="15" y="2"/>
                  <a:pt x="15" y="2"/>
                  <a:pt x="15" y="2"/>
                </a:cubicBezTo>
                <a:cubicBezTo>
                  <a:pt x="16" y="1"/>
                  <a:pt x="16" y="1"/>
                  <a:pt x="16" y="1"/>
                </a:cubicBezTo>
                <a:cubicBezTo>
                  <a:pt x="16" y="3"/>
                  <a:pt x="16" y="3"/>
                  <a:pt x="16" y="3"/>
                </a:cubicBezTo>
                <a:cubicBezTo>
                  <a:pt x="15" y="3"/>
                  <a:pt x="15" y="3"/>
                  <a:pt x="15" y="3"/>
                </a:cubicBezTo>
                <a:close/>
                <a:moveTo>
                  <a:pt x="15" y="7"/>
                </a:moveTo>
                <a:cubicBezTo>
                  <a:pt x="14" y="6"/>
                  <a:pt x="14" y="6"/>
                  <a:pt x="14" y="6"/>
                </a:cubicBezTo>
                <a:cubicBezTo>
                  <a:pt x="15" y="6"/>
                  <a:pt x="15" y="6"/>
                  <a:pt x="15" y="6"/>
                </a:cubicBezTo>
                <a:cubicBezTo>
                  <a:pt x="16" y="6"/>
                  <a:pt x="16" y="6"/>
                  <a:pt x="16" y="6"/>
                </a:cubicBezTo>
                <a:cubicBezTo>
                  <a:pt x="16" y="7"/>
                  <a:pt x="16" y="7"/>
                  <a:pt x="16" y="7"/>
                </a:cubicBezTo>
                <a:cubicBezTo>
                  <a:pt x="16" y="7"/>
                  <a:pt x="16" y="7"/>
                  <a:pt x="16" y="7"/>
                </a:cubicBezTo>
                <a:cubicBezTo>
                  <a:pt x="15" y="7"/>
                  <a:pt x="15" y="7"/>
                  <a:pt x="15" y="7"/>
                </a:cubicBezTo>
                <a:close/>
                <a:moveTo>
                  <a:pt x="14" y="13"/>
                </a:moveTo>
                <a:cubicBezTo>
                  <a:pt x="13" y="12"/>
                  <a:pt x="13" y="12"/>
                  <a:pt x="13" y="12"/>
                </a:cubicBezTo>
                <a:cubicBezTo>
                  <a:pt x="14" y="12"/>
                  <a:pt x="14" y="12"/>
                  <a:pt x="14" y="12"/>
                </a:cubicBezTo>
                <a:cubicBezTo>
                  <a:pt x="14" y="13"/>
                  <a:pt x="14" y="13"/>
                  <a:pt x="14" y="13"/>
                </a:cubicBezTo>
                <a:cubicBezTo>
                  <a:pt x="14" y="13"/>
                  <a:pt x="14" y="13"/>
                  <a:pt x="14" y="13"/>
                </a:cubicBezTo>
                <a:close/>
                <a:moveTo>
                  <a:pt x="10" y="14"/>
                </a:moveTo>
                <a:cubicBezTo>
                  <a:pt x="10" y="13"/>
                  <a:pt x="10" y="13"/>
                  <a:pt x="10" y="13"/>
                </a:cubicBezTo>
                <a:cubicBezTo>
                  <a:pt x="10" y="12"/>
                  <a:pt x="10" y="12"/>
                  <a:pt x="10" y="12"/>
                </a:cubicBezTo>
                <a:cubicBezTo>
                  <a:pt x="11" y="12"/>
                  <a:pt x="11" y="12"/>
                  <a:pt x="11" y="12"/>
                </a:cubicBezTo>
                <a:cubicBezTo>
                  <a:pt x="12" y="14"/>
                  <a:pt x="12" y="14"/>
                  <a:pt x="12" y="14"/>
                </a:cubicBezTo>
                <a:cubicBezTo>
                  <a:pt x="12" y="15"/>
                  <a:pt x="12" y="15"/>
                  <a:pt x="12" y="15"/>
                </a:cubicBezTo>
                <a:lnTo>
                  <a:pt x="10" y="1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3" name="Freeform 101">
            <a:extLst>
              <a:ext uri="{FF2B5EF4-FFF2-40B4-BE49-F238E27FC236}">
                <a16:creationId xmlns:a16="http://schemas.microsoft.com/office/drawing/2014/main" id="{79DD08C0-E6B2-D617-C333-B26FB0AC0D1B}"/>
              </a:ext>
            </a:extLst>
          </p:cNvPr>
          <p:cNvSpPr>
            <a:spLocks noEditPoints="1"/>
          </p:cNvSpPr>
          <p:nvPr userDrawn="1"/>
        </p:nvSpPr>
        <p:spPr bwMode="auto">
          <a:xfrm>
            <a:off x="16385104" y="7657383"/>
            <a:ext cx="466696" cy="666750"/>
          </a:xfrm>
          <a:custGeom>
            <a:avLst/>
            <a:gdLst>
              <a:gd name="T0" fmla="*/ 56 w 147"/>
              <a:gd name="T1" fmla="*/ 138 h 210"/>
              <a:gd name="T2" fmla="*/ 56 w 147"/>
              <a:gd name="T3" fmla="*/ 78 h 210"/>
              <a:gd name="T4" fmla="*/ 78 w 147"/>
              <a:gd name="T5" fmla="*/ 28 h 210"/>
              <a:gd name="T6" fmla="*/ 84 w 147"/>
              <a:gd name="T7" fmla="*/ 47 h 210"/>
              <a:gd name="T8" fmla="*/ 97 w 147"/>
              <a:gd name="T9" fmla="*/ 60 h 210"/>
              <a:gd name="T10" fmla="*/ 103 w 147"/>
              <a:gd name="T11" fmla="*/ 60 h 210"/>
              <a:gd name="T12" fmla="*/ 115 w 147"/>
              <a:gd name="T13" fmla="*/ 60 h 210"/>
              <a:gd name="T14" fmla="*/ 122 w 147"/>
              <a:gd name="T15" fmla="*/ 60 h 210"/>
              <a:gd name="T16" fmla="*/ 131 w 147"/>
              <a:gd name="T17" fmla="*/ 72 h 210"/>
              <a:gd name="T18" fmla="*/ 134 w 147"/>
              <a:gd name="T19" fmla="*/ 78 h 210"/>
              <a:gd name="T20" fmla="*/ 147 w 147"/>
              <a:gd name="T21" fmla="*/ 85 h 210"/>
              <a:gd name="T22" fmla="*/ 147 w 147"/>
              <a:gd name="T23" fmla="*/ 91 h 210"/>
              <a:gd name="T24" fmla="*/ 143 w 147"/>
              <a:gd name="T25" fmla="*/ 97 h 210"/>
              <a:gd name="T26" fmla="*/ 137 w 147"/>
              <a:gd name="T27" fmla="*/ 113 h 210"/>
              <a:gd name="T28" fmla="*/ 131 w 147"/>
              <a:gd name="T29" fmla="*/ 119 h 210"/>
              <a:gd name="T30" fmla="*/ 125 w 147"/>
              <a:gd name="T31" fmla="*/ 129 h 210"/>
              <a:gd name="T32" fmla="*/ 122 w 147"/>
              <a:gd name="T33" fmla="*/ 129 h 210"/>
              <a:gd name="T34" fmla="*/ 122 w 147"/>
              <a:gd name="T35" fmla="*/ 125 h 210"/>
              <a:gd name="T36" fmla="*/ 118 w 147"/>
              <a:gd name="T37" fmla="*/ 125 h 210"/>
              <a:gd name="T38" fmla="*/ 115 w 147"/>
              <a:gd name="T39" fmla="*/ 129 h 210"/>
              <a:gd name="T40" fmla="*/ 115 w 147"/>
              <a:gd name="T41" fmla="*/ 132 h 210"/>
              <a:gd name="T42" fmla="*/ 112 w 147"/>
              <a:gd name="T43" fmla="*/ 144 h 210"/>
              <a:gd name="T44" fmla="*/ 112 w 147"/>
              <a:gd name="T45" fmla="*/ 147 h 210"/>
              <a:gd name="T46" fmla="*/ 112 w 147"/>
              <a:gd name="T47" fmla="*/ 150 h 210"/>
              <a:gd name="T48" fmla="*/ 115 w 147"/>
              <a:gd name="T49" fmla="*/ 160 h 210"/>
              <a:gd name="T50" fmla="*/ 106 w 147"/>
              <a:gd name="T51" fmla="*/ 160 h 210"/>
              <a:gd name="T52" fmla="*/ 100 w 147"/>
              <a:gd name="T53" fmla="*/ 160 h 210"/>
              <a:gd name="T54" fmla="*/ 90 w 147"/>
              <a:gd name="T55" fmla="*/ 172 h 210"/>
              <a:gd name="T56" fmla="*/ 87 w 147"/>
              <a:gd name="T57" fmla="*/ 179 h 210"/>
              <a:gd name="T58" fmla="*/ 81 w 147"/>
              <a:gd name="T59" fmla="*/ 182 h 210"/>
              <a:gd name="T60" fmla="*/ 68 w 147"/>
              <a:gd name="T61" fmla="*/ 182 h 210"/>
              <a:gd name="T62" fmla="*/ 65 w 147"/>
              <a:gd name="T63" fmla="*/ 188 h 210"/>
              <a:gd name="T64" fmla="*/ 65 w 147"/>
              <a:gd name="T65" fmla="*/ 191 h 210"/>
              <a:gd name="T66" fmla="*/ 65 w 147"/>
              <a:gd name="T67" fmla="*/ 194 h 210"/>
              <a:gd name="T68" fmla="*/ 65 w 147"/>
              <a:gd name="T69" fmla="*/ 194 h 210"/>
              <a:gd name="T70" fmla="*/ 59 w 147"/>
              <a:gd name="T71" fmla="*/ 204 h 210"/>
              <a:gd name="T72" fmla="*/ 53 w 147"/>
              <a:gd name="T73" fmla="*/ 200 h 210"/>
              <a:gd name="T74" fmla="*/ 40 w 147"/>
              <a:gd name="T75" fmla="*/ 204 h 210"/>
              <a:gd name="T76" fmla="*/ 34 w 147"/>
              <a:gd name="T77" fmla="*/ 210 h 210"/>
              <a:gd name="T78" fmla="*/ 31 w 147"/>
              <a:gd name="T79" fmla="*/ 210 h 210"/>
              <a:gd name="T80" fmla="*/ 15 w 147"/>
              <a:gd name="T81" fmla="*/ 194 h 210"/>
              <a:gd name="T82" fmla="*/ 0 w 147"/>
              <a:gd name="T83" fmla="*/ 163 h 210"/>
              <a:gd name="T84" fmla="*/ 3 w 147"/>
              <a:gd name="T85" fmla="*/ 154 h 210"/>
              <a:gd name="T86" fmla="*/ 72 w 147"/>
              <a:gd name="T87" fmla="*/ 16 h 210"/>
              <a:gd name="T88" fmla="*/ 75 w 147"/>
              <a:gd name="T89" fmla="*/ 7 h 210"/>
              <a:gd name="T90" fmla="*/ 75 w 147"/>
              <a:gd name="T91" fmla="*/ 3 h 210"/>
              <a:gd name="T92" fmla="*/ 75 w 147"/>
              <a:gd name="T93" fmla="*/ 3 h 210"/>
              <a:gd name="T94" fmla="*/ 75 w 147"/>
              <a:gd name="T95" fmla="*/ 0 h 210"/>
              <a:gd name="T96" fmla="*/ 72 w 147"/>
              <a:gd name="T97" fmla="*/ 0 h 210"/>
              <a:gd name="T98" fmla="*/ 68 w 147"/>
              <a:gd name="T99" fmla="*/ 10 h 210"/>
              <a:gd name="T100" fmla="*/ 68 w 147"/>
              <a:gd name="T101" fmla="*/ 10 h 210"/>
              <a:gd name="T102" fmla="*/ 72 w 147"/>
              <a:gd name="T103" fmla="*/ 13 h 210"/>
              <a:gd name="T104" fmla="*/ 72 w 147"/>
              <a:gd name="T105" fmla="*/ 1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7" h="210">
                <a:moveTo>
                  <a:pt x="3" y="154"/>
                </a:moveTo>
                <a:lnTo>
                  <a:pt x="56" y="138"/>
                </a:lnTo>
                <a:lnTo>
                  <a:pt x="59" y="94"/>
                </a:lnTo>
                <a:lnTo>
                  <a:pt x="56" y="78"/>
                </a:lnTo>
                <a:lnTo>
                  <a:pt x="72" y="28"/>
                </a:lnTo>
                <a:lnTo>
                  <a:pt x="78" y="28"/>
                </a:lnTo>
                <a:lnTo>
                  <a:pt x="78" y="38"/>
                </a:lnTo>
                <a:lnTo>
                  <a:pt x="84" y="47"/>
                </a:lnTo>
                <a:lnTo>
                  <a:pt x="84" y="50"/>
                </a:lnTo>
                <a:lnTo>
                  <a:pt x="97" y="60"/>
                </a:lnTo>
                <a:lnTo>
                  <a:pt x="100" y="60"/>
                </a:lnTo>
                <a:lnTo>
                  <a:pt x="103" y="60"/>
                </a:lnTo>
                <a:lnTo>
                  <a:pt x="106" y="60"/>
                </a:lnTo>
                <a:lnTo>
                  <a:pt x="115" y="60"/>
                </a:lnTo>
                <a:lnTo>
                  <a:pt x="122" y="60"/>
                </a:lnTo>
                <a:lnTo>
                  <a:pt x="122" y="60"/>
                </a:lnTo>
                <a:lnTo>
                  <a:pt x="128" y="66"/>
                </a:lnTo>
                <a:lnTo>
                  <a:pt x="131" y="72"/>
                </a:lnTo>
                <a:lnTo>
                  <a:pt x="134" y="75"/>
                </a:lnTo>
                <a:lnTo>
                  <a:pt x="134" y="78"/>
                </a:lnTo>
                <a:lnTo>
                  <a:pt x="143" y="85"/>
                </a:lnTo>
                <a:lnTo>
                  <a:pt x="147" y="85"/>
                </a:lnTo>
                <a:lnTo>
                  <a:pt x="147" y="88"/>
                </a:lnTo>
                <a:lnTo>
                  <a:pt x="147" y="91"/>
                </a:lnTo>
                <a:lnTo>
                  <a:pt x="143" y="94"/>
                </a:lnTo>
                <a:lnTo>
                  <a:pt x="143" y="97"/>
                </a:lnTo>
                <a:lnTo>
                  <a:pt x="143" y="100"/>
                </a:lnTo>
                <a:lnTo>
                  <a:pt x="137" y="113"/>
                </a:lnTo>
                <a:lnTo>
                  <a:pt x="131" y="116"/>
                </a:lnTo>
                <a:lnTo>
                  <a:pt x="131" y="119"/>
                </a:lnTo>
                <a:lnTo>
                  <a:pt x="128" y="122"/>
                </a:lnTo>
                <a:lnTo>
                  <a:pt x="125" y="129"/>
                </a:lnTo>
                <a:lnTo>
                  <a:pt x="125" y="129"/>
                </a:lnTo>
                <a:lnTo>
                  <a:pt x="122" y="129"/>
                </a:lnTo>
                <a:lnTo>
                  <a:pt x="122" y="125"/>
                </a:lnTo>
                <a:lnTo>
                  <a:pt x="122" y="125"/>
                </a:lnTo>
                <a:lnTo>
                  <a:pt x="122" y="122"/>
                </a:lnTo>
                <a:lnTo>
                  <a:pt x="118" y="125"/>
                </a:lnTo>
                <a:lnTo>
                  <a:pt x="115" y="129"/>
                </a:lnTo>
                <a:lnTo>
                  <a:pt x="115" y="129"/>
                </a:lnTo>
                <a:lnTo>
                  <a:pt x="118" y="132"/>
                </a:lnTo>
                <a:lnTo>
                  <a:pt x="115" y="132"/>
                </a:lnTo>
                <a:lnTo>
                  <a:pt x="112" y="138"/>
                </a:lnTo>
                <a:lnTo>
                  <a:pt x="112" y="144"/>
                </a:lnTo>
                <a:lnTo>
                  <a:pt x="109" y="147"/>
                </a:lnTo>
                <a:lnTo>
                  <a:pt x="112" y="147"/>
                </a:lnTo>
                <a:lnTo>
                  <a:pt x="112" y="150"/>
                </a:lnTo>
                <a:lnTo>
                  <a:pt x="112" y="150"/>
                </a:lnTo>
                <a:lnTo>
                  <a:pt x="115" y="157"/>
                </a:lnTo>
                <a:lnTo>
                  <a:pt x="115" y="160"/>
                </a:lnTo>
                <a:lnTo>
                  <a:pt x="115" y="160"/>
                </a:lnTo>
                <a:lnTo>
                  <a:pt x="106" y="160"/>
                </a:lnTo>
                <a:lnTo>
                  <a:pt x="103" y="163"/>
                </a:lnTo>
                <a:lnTo>
                  <a:pt x="100" y="160"/>
                </a:lnTo>
                <a:lnTo>
                  <a:pt x="97" y="163"/>
                </a:lnTo>
                <a:lnTo>
                  <a:pt x="90" y="172"/>
                </a:lnTo>
                <a:lnTo>
                  <a:pt x="90" y="179"/>
                </a:lnTo>
                <a:lnTo>
                  <a:pt x="87" y="179"/>
                </a:lnTo>
                <a:lnTo>
                  <a:pt x="84" y="182"/>
                </a:lnTo>
                <a:lnTo>
                  <a:pt x="81" y="182"/>
                </a:lnTo>
                <a:lnTo>
                  <a:pt x="75" y="182"/>
                </a:lnTo>
                <a:lnTo>
                  <a:pt x="68" y="182"/>
                </a:lnTo>
                <a:lnTo>
                  <a:pt x="68" y="185"/>
                </a:lnTo>
                <a:lnTo>
                  <a:pt x="65" y="188"/>
                </a:lnTo>
                <a:lnTo>
                  <a:pt x="65" y="188"/>
                </a:lnTo>
                <a:lnTo>
                  <a:pt x="65" y="191"/>
                </a:lnTo>
                <a:lnTo>
                  <a:pt x="65" y="191"/>
                </a:lnTo>
                <a:lnTo>
                  <a:pt x="65" y="194"/>
                </a:lnTo>
                <a:lnTo>
                  <a:pt x="65" y="194"/>
                </a:lnTo>
                <a:lnTo>
                  <a:pt x="65" y="194"/>
                </a:lnTo>
                <a:lnTo>
                  <a:pt x="62" y="204"/>
                </a:lnTo>
                <a:lnTo>
                  <a:pt x="59" y="204"/>
                </a:lnTo>
                <a:lnTo>
                  <a:pt x="56" y="200"/>
                </a:lnTo>
                <a:lnTo>
                  <a:pt x="53" y="200"/>
                </a:lnTo>
                <a:lnTo>
                  <a:pt x="50" y="200"/>
                </a:lnTo>
                <a:lnTo>
                  <a:pt x="40" y="204"/>
                </a:lnTo>
                <a:lnTo>
                  <a:pt x="37" y="204"/>
                </a:lnTo>
                <a:lnTo>
                  <a:pt x="34" y="210"/>
                </a:lnTo>
                <a:lnTo>
                  <a:pt x="31" y="210"/>
                </a:lnTo>
                <a:lnTo>
                  <a:pt x="31" y="210"/>
                </a:lnTo>
                <a:lnTo>
                  <a:pt x="28" y="210"/>
                </a:lnTo>
                <a:lnTo>
                  <a:pt x="15" y="194"/>
                </a:lnTo>
                <a:lnTo>
                  <a:pt x="18" y="188"/>
                </a:lnTo>
                <a:lnTo>
                  <a:pt x="0" y="163"/>
                </a:lnTo>
                <a:lnTo>
                  <a:pt x="3" y="154"/>
                </a:lnTo>
                <a:lnTo>
                  <a:pt x="3" y="154"/>
                </a:lnTo>
                <a:close/>
                <a:moveTo>
                  <a:pt x="72" y="19"/>
                </a:moveTo>
                <a:lnTo>
                  <a:pt x="72" y="16"/>
                </a:lnTo>
                <a:lnTo>
                  <a:pt x="75" y="13"/>
                </a:lnTo>
                <a:lnTo>
                  <a:pt x="75" y="7"/>
                </a:lnTo>
                <a:lnTo>
                  <a:pt x="75" y="7"/>
                </a:lnTo>
                <a:lnTo>
                  <a:pt x="75" y="3"/>
                </a:lnTo>
                <a:lnTo>
                  <a:pt x="75" y="3"/>
                </a:lnTo>
                <a:lnTo>
                  <a:pt x="75" y="3"/>
                </a:lnTo>
                <a:lnTo>
                  <a:pt x="75" y="3"/>
                </a:lnTo>
                <a:lnTo>
                  <a:pt x="75" y="0"/>
                </a:lnTo>
                <a:lnTo>
                  <a:pt x="72" y="3"/>
                </a:lnTo>
                <a:lnTo>
                  <a:pt x="72" y="0"/>
                </a:lnTo>
                <a:lnTo>
                  <a:pt x="72" y="7"/>
                </a:lnTo>
                <a:lnTo>
                  <a:pt x="68" y="10"/>
                </a:lnTo>
                <a:lnTo>
                  <a:pt x="68" y="7"/>
                </a:lnTo>
                <a:lnTo>
                  <a:pt x="68" y="10"/>
                </a:lnTo>
                <a:lnTo>
                  <a:pt x="68" y="10"/>
                </a:lnTo>
                <a:lnTo>
                  <a:pt x="72" y="13"/>
                </a:lnTo>
                <a:lnTo>
                  <a:pt x="72" y="19"/>
                </a:lnTo>
                <a:lnTo>
                  <a:pt x="72" y="1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4" name="Freeform 102">
            <a:extLst>
              <a:ext uri="{FF2B5EF4-FFF2-40B4-BE49-F238E27FC236}">
                <a16:creationId xmlns:a16="http://schemas.microsoft.com/office/drawing/2014/main" id="{AE2672CD-7498-1E06-78DD-70D596BE1FC3}"/>
              </a:ext>
            </a:extLst>
          </p:cNvPr>
          <p:cNvSpPr>
            <a:spLocks noEditPoints="1"/>
          </p:cNvSpPr>
          <p:nvPr userDrawn="1"/>
        </p:nvSpPr>
        <p:spPr bwMode="auto">
          <a:xfrm>
            <a:off x="15807294" y="8146333"/>
            <a:ext cx="755601" cy="466726"/>
          </a:xfrm>
          <a:custGeom>
            <a:avLst/>
            <a:gdLst>
              <a:gd name="T0" fmla="*/ 7 w 238"/>
              <a:gd name="T1" fmla="*/ 56 h 147"/>
              <a:gd name="T2" fmla="*/ 10 w 238"/>
              <a:gd name="T3" fmla="*/ 56 h 147"/>
              <a:gd name="T4" fmla="*/ 13 w 238"/>
              <a:gd name="T5" fmla="*/ 43 h 147"/>
              <a:gd name="T6" fmla="*/ 19 w 238"/>
              <a:gd name="T7" fmla="*/ 34 h 147"/>
              <a:gd name="T8" fmla="*/ 38 w 238"/>
              <a:gd name="T9" fmla="*/ 37 h 147"/>
              <a:gd name="T10" fmla="*/ 72 w 238"/>
              <a:gd name="T11" fmla="*/ 53 h 147"/>
              <a:gd name="T12" fmla="*/ 110 w 238"/>
              <a:gd name="T13" fmla="*/ 21 h 147"/>
              <a:gd name="T14" fmla="*/ 182 w 238"/>
              <a:gd name="T15" fmla="*/ 9 h 147"/>
              <a:gd name="T16" fmla="*/ 197 w 238"/>
              <a:gd name="T17" fmla="*/ 40 h 147"/>
              <a:gd name="T18" fmla="*/ 204 w 238"/>
              <a:gd name="T19" fmla="*/ 56 h 147"/>
              <a:gd name="T20" fmla="*/ 191 w 238"/>
              <a:gd name="T21" fmla="*/ 65 h 147"/>
              <a:gd name="T22" fmla="*/ 191 w 238"/>
              <a:gd name="T23" fmla="*/ 71 h 147"/>
              <a:gd name="T24" fmla="*/ 191 w 238"/>
              <a:gd name="T25" fmla="*/ 75 h 147"/>
              <a:gd name="T26" fmla="*/ 179 w 238"/>
              <a:gd name="T27" fmla="*/ 81 h 147"/>
              <a:gd name="T28" fmla="*/ 160 w 238"/>
              <a:gd name="T29" fmla="*/ 87 h 147"/>
              <a:gd name="T30" fmla="*/ 135 w 238"/>
              <a:gd name="T31" fmla="*/ 97 h 147"/>
              <a:gd name="T32" fmla="*/ 132 w 238"/>
              <a:gd name="T33" fmla="*/ 97 h 147"/>
              <a:gd name="T34" fmla="*/ 119 w 238"/>
              <a:gd name="T35" fmla="*/ 109 h 147"/>
              <a:gd name="T36" fmla="*/ 116 w 238"/>
              <a:gd name="T37" fmla="*/ 109 h 147"/>
              <a:gd name="T38" fmla="*/ 113 w 238"/>
              <a:gd name="T39" fmla="*/ 109 h 147"/>
              <a:gd name="T40" fmla="*/ 107 w 238"/>
              <a:gd name="T41" fmla="*/ 109 h 147"/>
              <a:gd name="T42" fmla="*/ 100 w 238"/>
              <a:gd name="T43" fmla="*/ 115 h 147"/>
              <a:gd name="T44" fmla="*/ 88 w 238"/>
              <a:gd name="T45" fmla="*/ 118 h 147"/>
              <a:gd name="T46" fmla="*/ 75 w 238"/>
              <a:gd name="T47" fmla="*/ 122 h 147"/>
              <a:gd name="T48" fmla="*/ 69 w 238"/>
              <a:gd name="T49" fmla="*/ 122 h 147"/>
              <a:gd name="T50" fmla="*/ 66 w 238"/>
              <a:gd name="T51" fmla="*/ 118 h 147"/>
              <a:gd name="T52" fmla="*/ 57 w 238"/>
              <a:gd name="T53" fmla="*/ 122 h 147"/>
              <a:gd name="T54" fmla="*/ 54 w 238"/>
              <a:gd name="T55" fmla="*/ 128 h 147"/>
              <a:gd name="T56" fmla="*/ 47 w 238"/>
              <a:gd name="T57" fmla="*/ 134 h 147"/>
              <a:gd name="T58" fmla="*/ 41 w 238"/>
              <a:gd name="T59" fmla="*/ 134 h 147"/>
              <a:gd name="T60" fmla="*/ 32 w 238"/>
              <a:gd name="T61" fmla="*/ 137 h 147"/>
              <a:gd name="T62" fmla="*/ 25 w 238"/>
              <a:gd name="T63" fmla="*/ 137 h 147"/>
              <a:gd name="T64" fmla="*/ 22 w 238"/>
              <a:gd name="T65" fmla="*/ 134 h 147"/>
              <a:gd name="T66" fmla="*/ 16 w 238"/>
              <a:gd name="T67" fmla="*/ 125 h 147"/>
              <a:gd name="T68" fmla="*/ 16 w 238"/>
              <a:gd name="T69" fmla="*/ 118 h 147"/>
              <a:gd name="T70" fmla="*/ 10 w 238"/>
              <a:gd name="T71" fmla="*/ 109 h 147"/>
              <a:gd name="T72" fmla="*/ 4 w 238"/>
              <a:gd name="T73" fmla="*/ 84 h 147"/>
              <a:gd name="T74" fmla="*/ 0 w 238"/>
              <a:gd name="T75" fmla="*/ 81 h 147"/>
              <a:gd name="T76" fmla="*/ 4 w 238"/>
              <a:gd name="T77" fmla="*/ 78 h 147"/>
              <a:gd name="T78" fmla="*/ 4 w 238"/>
              <a:gd name="T79" fmla="*/ 78 h 147"/>
              <a:gd name="T80" fmla="*/ 4 w 238"/>
              <a:gd name="T81" fmla="*/ 59 h 147"/>
              <a:gd name="T82" fmla="*/ 4 w 238"/>
              <a:gd name="T83" fmla="*/ 56 h 147"/>
              <a:gd name="T84" fmla="*/ 194 w 238"/>
              <a:gd name="T85" fmla="*/ 147 h 147"/>
              <a:gd name="T86" fmla="*/ 194 w 238"/>
              <a:gd name="T87" fmla="*/ 147 h 147"/>
              <a:gd name="T88" fmla="*/ 191 w 238"/>
              <a:gd name="T89" fmla="*/ 147 h 147"/>
              <a:gd name="T90" fmla="*/ 216 w 238"/>
              <a:gd name="T91" fmla="*/ 140 h 147"/>
              <a:gd name="T92" fmla="*/ 219 w 238"/>
              <a:gd name="T93" fmla="*/ 134 h 147"/>
              <a:gd name="T94" fmla="*/ 222 w 238"/>
              <a:gd name="T95" fmla="*/ 137 h 147"/>
              <a:gd name="T96" fmla="*/ 229 w 238"/>
              <a:gd name="T97" fmla="*/ 137 h 147"/>
              <a:gd name="T98" fmla="*/ 235 w 238"/>
              <a:gd name="T99" fmla="*/ 137 h 147"/>
              <a:gd name="T100" fmla="*/ 238 w 238"/>
              <a:gd name="T101" fmla="*/ 140 h 147"/>
              <a:gd name="T102" fmla="*/ 235 w 238"/>
              <a:gd name="T103" fmla="*/ 140 h 147"/>
              <a:gd name="T104" fmla="*/ 225 w 238"/>
              <a:gd name="T105" fmla="*/ 143 h 147"/>
              <a:gd name="T106" fmla="*/ 216 w 238"/>
              <a:gd name="T107" fmla="*/ 14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8" h="147">
                <a:moveTo>
                  <a:pt x="4" y="56"/>
                </a:moveTo>
                <a:lnTo>
                  <a:pt x="7" y="56"/>
                </a:lnTo>
                <a:lnTo>
                  <a:pt x="10" y="59"/>
                </a:lnTo>
                <a:lnTo>
                  <a:pt x="10" y="56"/>
                </a:lnTo>
                <a:lnTo>
                  <a:pt x="16" y="50"/>
                </a:lnTo>
                <a:lnTo>
                  <a:pt x="13" y="43"/>
                </a:lnTo>
                <a:lnTo>
                  <a:pt x="16" y="34"/>
                </a:lnTo>
                <a:lnTo>
                  <a:pt x="19" y="34"/>
                </a:lnTo>
                <a:lnTo>
                  <a:pt x="25" y="37"/>
                </a:lnTo>
                <a:lnTo>
                  <a:pt x="38" y="37"/>
                </a:lnTo>
                <a:lnTo>
                  <a:pt x="57" y="43"/>
                </a:lnTo>
                <a:lnTo>
                  <a:pt x="72" y="53"/>
                </a:lnTo>
                <a:lnTo>
                  <a:pt x="72" y="71"/>
                </a:lnTo>
                <a:lnTo>
                  <a:pt x="110" y="21"/>
                </a:lnTo>
                <a:lnTo>
                  <a:pt x="185" y="0"/>
                </a:lnTo>
                <a:lnTo>
                  <a:pt x="182" y="9"/>
                </a:lnTo>
                <a:lnTo>
                  <a:pt x="200" y="34"/>
                </a:lnTo>
                <a:lnTo>
                  <a:pt x="197" y="40"/>
                </a:lnTo>
                <a:lnTo>
                  <a:pt x="210" y="56"/>
                </a:lnTo>
                <a:lnTo>
                  <a:pt x="204" y="56"/>
                </a:lnTo>
                <a:lnTo>
                  <a:pt x="197" y="59"/>
                </a:lnTo>
                <a:lnTo>
                  <a:pt x="191" y="65"/>
                </a:lnTo>
                <a:lnTo>
                  <a:pt x="191" y="71"/>
                </a:lnTo>
                <a:lnTo>
                  <a:pt x="191" y="71"/>
                </a:lnTo>
                <a:lnTo>
                  <a:pt x="191" y="75"/>
                </a:lnTo>
                <a:lnTo>
                  <a:pt x="191" y="75"/>
                </a:lnTo>
                <a:lnTo>
                  <a:pt x="182" y="78"/>
                </a:lnTo>
                <a:lnTo>
                  <a:pt x="179" y="81"/>
                </a:lnTo>
                <a:lnTo>
                  <a:pt x="172" y="84"/>
                </a:lnTo>
                <a:lnTo>
                  <a:pt x="160" y="87"/>
                </a:lnTo>
                <a:lnTo>
                  <a:pt x="157" y="90"/>
                </a:lnTo>
                <a:lnTo>
                  <a:pt x="135" y="97"/>
                </a:lnTo>
                <a:lnTo>
                  <a:pt x="135" y="97"/>
                </a:lnTo>
                <a:lnTo>
                  <a:pt x="132" y="97"/>
                </a:lnTo>
                <a:lnTo>
                  <a:pt x="125" y="103"/>
                </a:lnTo>
                <a:lnTo>
                  <a:pt x="119" y="109"/>
                </a:lnTo>
                <a:lnTo>
                  <a:pt x="119" y="109"/>
                </a:lnTo>
                <a:lnTo>
                  <a:pt x="116" y="109"/>
                </a:lnTo>
                <a:lnTo>
                  <a:pt x="116" y="109"/>
                </a:lnTo>
                <a:lnTo>
                  <a:pt x="113" y="109"/>
                </a:lnTo>
                <a:lnTo>
                  <a:pt x="110" y="109"/>
                </a:lnTo>
                <a:lnTo>
                  <a:pt x="107" y="109"/>
                </a:lnTo>
                <a:lnTo>
                  <a:pt x="100" y="112"/>
                </a:lnTo>
                <a:lnTo>
                  <a:pt x="100" y="115"/>
                </a:lnTo>
                <a:lnTo>
                  <a:pt x="97" y="118"/>
                </a:lnTo>
                <a:lnTo>
                  <a:pt x="88" y="118"/>
                </a:lnTo>
                <a:lnTo>
                  <a:pt x="79" y="122"/>
                </a:lnTo>
                <a:lnTo>
                  <a:pt x="75" y="122"/>
                </a:lnTo>
                <a:lnTo>
                  <a:pt x="75" y="118"/>
                </a:lnTo>
                <a:lnTo>
                  <a:pt x="69" y="122"/>
                </a:lnTo>
                <a:lnTo>
                  <a:pt x="69" y="118"/>
                </a:lnTo>
                <a:lnTo>
                  <a:pt x="66" y="118"/>
                </a:lnTo>
                <a:lnTo>
                  <a:pt x="63" y="118"/>
                </a:lnTo>
                <a:lnTo>
                  <a:pt x="57" y="122"/>
                </a:lnTo>
                <a:lnTo>
                  <a:pt x="57" y="128"/>
                </a:lnTo>
                <a:lnTo>
                  <a:pt x="54" y="128"/>
                </a:lnTo>
                <a:lnTo>
                  <a:pt x="50" y="134"/>
                </a:lnTo>
                <a:lnTo>
                  <a:pt x="47" y="134"/>
                </a:lnTo>
                <a:lnTo>
                  <a:pt x="44" y="134"/>
                </a:lnTo>
                <a:lnTo>
                  <a:pt x="41" y="134"/>
                </a:lnTo>
                <a:lnTo>
                  <a:pt x="35" y="137"/>
                </a:lnTo>
                <a:lnTo>
                  <a:pt x="32" y="137"/>
                </a:lnTo>
                <a:lnTo>
                  <a:pt x="29" y="134"/>
                </a:lnTo>
                <a:lnTo>
                  <a:pt x="25" y="137"/>
                </a:lnTo>
                <a:lnTo>
                  <a:pt x="22" y="137"/>
                </a:lnTo>
                <a:lnTo>
                  <a:pt x="22" y="134"/>
                </a:lnTo>
                <a:lnTo>
                  <a:pt x="19" y="128"/>
                </a:lnTo>
                <a:lnTo>
                  <a:pt x="16" y="125"/>
                </a:lnTo>
                <a:lnTo>
                  <a:pt x="13" y="118"/>
                </a:lnTo>
                <a:lnTo>
                  <a:pt x="16" y="118"/>
                </a:lnTo>
                <a:lnTo>
                  <a:pt x="16" y="112"/>
                </a:lnTo>
                <a:lnTo>
                  <a:pt x="10" y="109"/>
                </a:lnTo>
                <a:lnTo>
                  <a:pt x="7" y="90"/>
                </a:lnTo>
                <a:lnTo>
                  <a:pt x="4" y="84"/>
                </a:lnTo>
                <a:lnTo>
                  <a:pt x="4" y="81"/>
                </a:lnTo>
                <a:lnTo>
                  <a:pt x="0" y="81"/>
                </a:lnTo>
                <a:lnTo>
                  <a:pt x="0" y="78"/>
                </a:lnTo>
                <a:lnTo>
                  <a:pt x="4" y="78"/>
                </a:lnTo>
                <a:lnTo>
                  <a:pt x="4" y="78"/>
                </a:lnTo>
                <a:lnTo>
                  <a:pt x="4" y="78"/>
                </a:lnTo>
                <a:lnTo>
                  <a:pt x="7" y="71"/>
                </a:lnTo>
                <a:lnTo>
                  <a:pt x="4" y="59"/>
                </a:lnTo>
                <a:lnTo>
                  <a:pt x="4" y="56"/>
                </a:lnTo>
                <a:lnTo>
                  <a:pt x="4" y="56"/>
                </a:lnTo>
                <a:close/>
                <a:moveTo>
                  <a:pt x="191" y="147"/>
                </a:moveTo>
                <a:lnTo>
                  <a:pt x="194" y="147"/>
                </a:lnTo>
                <a:lnTo>
                  <a:pt x="200" y="147"/>
                </a:lnTo>
                <a:lnTo>
                  <a:pt x="194" y="147"/>
                </a:lnTo>
                <a:lnTo>
                  <a:pt x="191" y="147"/>
                </a:lnTo>
                <a:lnTo>
                  <a:pt x="191" y="147"/>
                </a:lnTo>
                <a:close/>
                <a:moveTo>
                  <a:pt x="216" y="140"/>
                </a:moveTo>
                <a:lnTo>
                  <a:pt x="216" y="140"/>
                </a:lnTo>
                <a:lnTo>
                  <a:pt x="216" y="137"/>
                </a:lnTo>
                <a:lnTo>
                  <a:pt x="219" y="134"/>
                </a:lnTo>
                <a:lnTo>
                  <a:pt x="222" y="134"/>
                </a:lnTo>
                <a:lnTo>
                  <a:pt x="222" y="137"/>
                </a:lnTo>
                <a:lnTo>
                  <a:pt x="225" y="137"/>
                </a:lnTo>
                <a:lnTo>
                  <a:pt x="229" y="137"/>
                </a:lnTo>
                <a:lnTo>
                  <a:pt x="232" y="137"/>
                </a:lnTo>
                <a:lnTo>
                  <a:pt x="235" y="137"/>
                </a:lnTo>
                <a:lnTo>
                  <a:pt x="238" y="137"/>
                </a:lnTo>
                <a:lnTo>
                  <a:pt x="238" y="140"/>
                </a:lnTo>
                <a:lnTo>
                  <a:pt x="238" y="140"/>
                </a:lnTo>
                <a:lnTo>
                  <a:pt x="235" y="140"/>
                </a:lnTo>
                <a:lnTo>
                  <a:pt x="229" y="143"/>
                </a:lnTo>
                <a:lnTo>
                  <a:pt x="225" y="143"/>
                </a:lnTo>
                <a:lnTo>
                  <a:pt x="219" y="143"/>
                </a:lnTo>
                <a:lnTo>
                  <a:pt x="216" y="143"/>
                </a:lnTo>
                <a:lnTo>
                  <a:pt x="216" y="14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5" name="Freeform 103">
            <a:extLst>
              <a:ext uri="{FF2B5EF4-FFF2-40B4-BE49-F238E27FC236}">
                <a16:creationId xmlns:a16="http://schemas.microsoft.com/office/drawing/2014/main" id="{DFBB5B58-F92C-7E82-6714-7E6C209E4B74}"/>
              </a:ext>
            </a:extLst>
          </p:cNvPr>
          <p:cNvSpPr>
            <a:spLocks/>
          </p:cNvSpPr>
          <p:nvPr userDrawn="1"/>
        </p:nvSpPr>
        <p:spPr bwMode="auto">
          <a:xfrm>
            <a:off x="14658019" y="7320835"/>
            <a:ext cx="784175" cy="654050"/>
          </a:xfrm>
          <a:custGeom>
            <a:avLst/>
            <a:gdLst>
              <a:gd name="T0" fmla="*/ 197 w 247"/>
              <a:gd name="T1" fmla="*/ 37 h 206"/>
              <a:gd name="T2" fmla="*/ 184 w 247"/>
              <a:gd name="T3" fmla="*/ 12 h 206"/>
              <a:gd name="T4" fmla="*/ 175 w 247"/>
              <a:gd name="T5" fmla="*/ 9 h 206"/>
              <a:gd name="T6" fmla="*/ 150 w 247"/>
              <a:gd name="T7" fmla="*/ 12 h 206"/>
              <a:gd name="T8" fmla="*/ 144 w 247"/>
              <a:gd name="T9" fmla="*/ 16 h 206"/>
              <a:gd name="T10" fmla="*/ 137 w 247"/>
              <a:gd name="T11" fmla="*/ 9 h 206"/>
              <a:gd name="T12" fmla="*/ 134 w 247"/>
              <a:gd name="T13" fmla="*/ 3 h 206"/>
              <a:gd name="T14" fmla="*/ 122 w 247"/>
              <a:gd name="T15" fmla="*/ 3 h 206"/>
              <a:gd name="T16" fmla="*/ 125 w 247"/>
              <a:gd name="T17" fmla="*/ 6 h 206"/>
              <a:gd name="T18" fmla="*/ 112 w 247"/>
              <a:gd name="T19" fmla="*/ 6 h 206"/>
              <a:gd name="T20" fmla="*/ 115 w 247"/>
              <a:gd name="T21" fmla="*/ 3 h 206"/>
              <a:gd name="T22" fmla="*/ 109 w 247"/>
              <a:gd name="T23" fmla="*/ 3 h 206"/>
              <a:gd name="T24" fmla="*/ 100 w 247"/>
              <a:gd name="T25" fmla="*/ 9 h 206"/>
              <a:gd name="T26" fmla="*/ 87 w 247"/>
              <a:gd name="T27" fmla="*/ 16 h 206"/>
              <a:gd name="T28" fmla="*/ 72 w 247"/>
              <a:gd name="T29" fmla="*/ 12 h 206"/>
              <a:gd name="T30" fmla="*/ 56 w 247"/>
              <a:gd name="T31" fmla="*/ 9 h 206"/>
              <a:gd name="T32" fmla="*/ 40 w 247"/>
              <a:gd name="T33" fmla="*/ 6 h 206"/>
              <a:gd name="T34" fmla="*/ 9 w 247"/>
              <a:gd name="T35" fmla="*/ 3 h 206"/>
              <a:gd name="T36" fmla="*/ 6 w 247"/>
              <a:gd name="T37" fmla="*/ 6 h 206"/>
              <a:gd name="T38" fmla="*/ 6 w 247"/>
              <a:gd name="T39" fmla="*/ 25 h 206"/>
              <a:gd name="T40" fmla="*/ 3 w 247"/>
              <a:gd name="T41" fmla="*/ 41 h 206"/>
              <a:gd name="T42" fmla="*/ 247 w 247"/>
              <a:gd name="T43" fmla="*/ 206 h 206"/>
              <a:gd name="T44" fmla="*/ 241 w 247"/>
              <a:gd name="T45" fmla="*/ 200 h 206"/>
              <a:gd name="T46" fmla="*/ 231 w 247"/>
              <a:gd name="T47" fmla="*/ 191 h 206"/>
              <a:gd name="T48" fmla="*/ 219 w 247"/>
              <a:gd name="T49" fmla="*/ 188 h 206"/>
              <a:gd name="T50" fmla="*/ 215 w 247"/>
              <a:gd name="T51" fmla="*/ 169 h 206"/>
              <a:gd name="T52" fmla="*/ 219 w 247"/>
              <a:gd name="T53" fmla="*/ 166 h 206"/>
              <a:gd name="T54" fmla="*/ 219 w 247"/>
              <a:gd name="T55" fmla="*/ 166 h 206"/>
              <a:gd name="T56" fmla="*/ 215 w 247"/>
              <a:gd name="T57" fmla="*/ 159 h 206"/>
              <a:gd name="T58" fmla="*/ 203 w 247"/>
              <a:gd name="T59" fmla="*/ 141 h 206"/>
              <a:gd name="T60" fmla="*/ 187 w 247"/>
              <a:gd name="T61" fmla="*/ 116 h 206"/>
              <a:gd name="T62" fmla="*/ 184 w 247"/>
              <a:gd name="T63" fmla="*/ 100 h 206"/>
              <a:gd name="T64" fmla="*/ 175 w 247"/>
              <a:gd name="T65" fmla="*/ 87 h 206"/>
              <a:gd name="T66" fmla="*/ 172 w 247"/>
              <a:gd name="T67" fmla="*/ 78 h 206"/>
              <a:gd name="T68" fmla="*/ 153 w 247"/>
              <a:gd name="T69" fmla="*/ 56 h 206"/>
              <a:gd name="T70" fmla="*/ 150 w 247"/>
              <a:gd name="T71" fmla="*/ 44 h 206"/>
              <a:gd name="T72" fmla="*/ 150 w 247"/>
              <a:gd name="T73" fmla="*/ 41 h 206"/>
              <a:gd name="T74" fmla="*/ 156 w 247"/>
              <a:gd name="T75" fmla="*/ 50 h 206"/>
              <a:gd name="T76" fmla="*/ 165 w 247"/>
              <a:gd name="T77" fmla="*/ 62 h 206"/>
              <a:gd name="T78" fmla="*/ 172 w 247"/>
              <a:gd name="T79" fmla="*/ 72 h 206"/>
              <a:gd name="T80" fmla="*/ 187 w 247"/>
              <a:gd name="T81" fmla="*/ 84 h 206"/>
              <a:gd name="T82" fmla="*/ 194 w 247"/>
              <a:gd name="T83" fmla="*/ 75 h 206"/>
              <a:gd name="T84" fmla="*/ 194 w 247"/>
              <a:gd name="T85" fmla="*/ 6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7" h="206">
                <a:moveTo>
                  <a:pt x="197" y="50"/>
                </a:moveTo>
                <a:lnTo>
                  <a:pt x="194" y="44"/>
                </a:lnTo>
                <a:lnTo>
                  <a:pt x="197" y="37"/>
                </a:lnTo>
                <a:lnTo>
                  <a:pt x="194" y="28"/>
                </a:lnTo>
                <a:lnTo>
                  <a:pt x="187" y="19"/>
                </a:lnTo>
                <a:lnTo>
                  <a:pt x="184" y="12"/>
                </a:lnTo>
                <a:lnTo>
                  <a:pt x="181" y="6"/>
                </a:lnTo>
                <a:lnTo>
                  <a:pt x="178" y="6"/>
                </a:lnTo>
                <a:lnTo>
                  <a:pt x="175" y="9"/>
                </a:lnTo>
                <a:lnTo>
                  <a:pt x="172" y="12"/>
                </a:lnTo>
                <a:lnTo>
                  <a:pt x="159" y="9"/>
                </a:lnTo>
                <a:lnTo>
                  <a:pt x="150" y="12"/>
                </a:lnTo>
                <a:lnTo>
                  <a:pt x="140" y="6"/>
                </a:lnTo>
                <a:lnTo>
                  <a:pt x="140" y="9"/>
                </a:lnTo>
                <a:lnTo>
                  <a:pt x="144" y="16"/>
                </a:lnTo>
                <a:lnTo>
                  <a:pt x="144" y="16"/>
                </a:lnTo>
                <a:lnTo>
                  <a:pt x="140" y="12"/>
                </a:lnTo>
                <a:lnTo>
                  <a:pt x="137" y="9"/>
                </a:lnTo>
                <a:lnTo>
                  <a:pt x="134" y="6"/>
                </a:lnTo>
                <a:lnTo>
                  <a:pt x="137" y="6"/>
                </a:lnTo>
                <a:lnTo>
                  <a:pt x="134" y="3"/>
                </a:lnTo>
                <a:lnTo>
                  <a:pt x="131" y="6"/>
                </a:lnTo>
                <a:lnTo>
                  <a:pt x="128" y="3"/>
                </a:lnTo>
                <a:lnTo>
                  <a:pt x="122" y="3"/>
                </a:lnTo>
                <a:lnTo>
                  <a:pt x="122" y="3"/>
                </a:lnTo>
                <a:lnTo>
                  <a:pt x="125" y="3"/>
                </a:lnTo>
                <a:lnTo>
                  <a:pt x="125" y="6"/>
                </a:lnTo>
                <a:lnTo>
                  <a:pt x="122" y="6"/>
                </a:lnTo>
                <a:lnTo>
                  <a:pt x="115" y="6"/>
                </a:lnTo>
                <a:lnTo>
                  <a:pt x="112" y="6"/>
                </a:lnTo>
                <a:lnTo>
                  <a:pt x="112" y="6"/>
                </a:lnTo>
                <a:lnTo>
                  <a:pt x="112" y="3"/>
                </a:lnTo>
                <a:lnTo>
                  <a:pt x="115" y="3"/>
                </a:lnTo>
                <a:lnTo>
                  <a:pt x="119" y="3"/>
                </a:lnTo>
                <a:lnTo>
                  <a:pt x="115" y="3"/>
                </a:lnTo>
                <a:lnTo>
                  <a:pt x="109" y="3"/>
                </a:lnTo>
                <a:lnTo>
                  <a:pt x="106" y="6"/>
                </a:lnTo>
                <a:lnTo>
                  <a:pt x="100" y="9"/>
                </a:lnTo>
                <a:lnTo>
                  <a:pt x="100" y="9"/>
                </a:lnTo>
                <a:lnTo>
                  <a:pt x="94" y="12"/>
                </a:lnTo>
                <a:lnTo>
                  <a:pt x="90" y="16"/>
                </a:lnTo>
                <a:lnTo>
                  <a:pt x="87" y="16"/>
                </a:lnTo>
                <a:lnTo>
                  <a:pt x="81" y="16"/>
                </a:lnTo>
                <a:lnTo>
                  <a:pt x="75" y="12"/>
                </a:lnTo>
                <a:lnTo>
                  <a:pt x="72" y="12"/>
                </a:lnTo>
                <a:lnTo>
                  <a:pt x="62" y="12"/>
                </a:lnTo>
                <a:lnTo>
                  <a:pt x="59" y="9"/>
                </a:lnTo>
                <a:lnTo>
                  <a:pt x="56" y="9"/>
                </a:lnTo>
                <a:lnTo>
                  <a:pt x="53" y="9"/>
                </a:lnTo>
                <a:lnTo>
                  <a:pt x="47" y="6"/>
                </a:lnTo>
                <a:lnTo>
                  <a:pt x="40" y="6"/>
                </a:lnTo>
                <a:lnTo>
                  <a:pt x="25" y="3"/>
                </a:lnTo>
                <a:lnTo>
                  <a:pt x="19" y="0"/>
                </a:lnTo>
                <a:lnTo>
                  <a:pt x="9" y="3"/>
                </a:lnTo>
                <a:lnTo>
                  <a:pt x="6" y="3"/>
                </a:lnTo>
                <a:lnTo>
                  <a:pt x="6" y="3"/>
                </a:lnTo>
                <a:lnTo>
                  <a:pt x="6" y="6"/>
                </a:lnTo>
                <a:lnTo>
                  <a:pt x="3" y="12"/>
                </a:lnTo>
                <a:lnTo>
                  <a:pt x="6" y="19"/>
                </a:lnTo>
                <a:lnTo>
                  <a:pt x="6" y="25"/>
                </a:lnTo>
                <a:lnTo>
                  <a:pt x="3" y="31"/>
                </a:lnTo>
                <a:lnTo>
                  <a:pt x="0" y="37"/>
                </a:lnTo>
                <a:lnTo>
                  <a:pt x="3" y="41"/>
                </a:lnTo>
                <a:lnTo>
                  <a:pt x="6" y="53"/>
                </a:lnTo>
                <a:lnTo>
                  <a:pt x="12" y="206"/>
                </a:lnTo>
                <a:lnTo>
                  <a:pt x="247" y="206"/>
                </a:lnTo>
                <a:lnTo>
                  <a:pt x="247" y="206"/>
                </a:lnTo>
                <a:lnTo>
                  <a:pt x="244" y="203"/>
                </a:lnTo>
                <a:lnTo>
                  <a:pt x="241" y="200"/>
                </a:lnTo>
                <a:lnTo>
                  <a:pt x="237" y="197"/>
                </a:lnTo>
                <a:lnTo>
                  <a:pt x="234" y="197"/>
                </a:lnTo>
                <a:lnTo>
                  <a:pt x="231" y="191"/>
                </a:lnTo>
                <a:lnTo>
                  <a:pt x="228" y="191"/>
                </a:lnTo>
                <a:lnTo>
                  <a:pt x="225" y="191"/>
                </a:lnTo>
                <a:lnTo>
                  <a:pt x="219" y="188"/>
                </a:lnTo>
                <a:lnTo>
                  <a:pt x="215" y="178"/>
                </a:lnTo>
                <a:lnTo>
                  <a:pt x="215" y="175"/>
                </a:lnTo>
                <a:lnTo>
                  <a:pt x="215" y="169"/>
                </a:lnTo>
                <a:lnTo>
                  <a:pt x="215" y="166"/>
                </a:lnTo>
                <a:lnTo>
                  <a:pt x="215" y="166"/>
                </a:lnTo>
                <a:lnTo>
                  <a:pt x="219" y="166"/>
                </a:lnTo>
                <a:lnTo>
                  <a:pt x="222" y="166"/>
                </a:lnTo>
                <a:lnTo>
                  <a:pt x="222" y="166"/>
                </a:lnTo>
                <a:lnTo>
                  <a:pt x="219" y="166"/>
                </a:lnTo>
                <a:lnTo>
                  <a:pt x="215" y="159"/>
                </a:lnTo>
                <a:lnTo>
                  <a:pt x="215" y="159"/>
                </a:lnTo>
                <a:lnTo>
                  <a:pt x="215" y="159"/>
                </a:lnTo>
                <a:lnTo>
                  <a:pt x="212" y="156"/>
                </a:lnTo>
                <a:lnTo>
                  <a:pt x="209" y="153"/>
                </a:lnTo>
                <a:lnTo>
                  <a:pt x="203" y="141"/>
                </a:lnTo>
                <a:lnTo>
                  <a:pt x="200" y="138"/>
                </a:lnTo>
                <a:lnTo>
                  <a:pt x="197" y="131"/>
                </a:lnTo>
                <a:lnTo>
                  <a:pt x="187" y="116"/>
                </a:lnTo>
                <a:lnTo>
                  <a:pt x="187" y="109"/>
                </a:lnTo>
                <a:lnTo>
                  <a:pt x="184" y="106"/>
                </a:lnTo>
                <a:lnTo>
                  <a:pt x="184" y="100"/>
                </a:lnTo>
                <a:lnTo>
                  <a:pt x="181" y="97"/>
                </a:lnTo>
                <a:lnTo>
                  <a:pt x="181" y="94"/>
                </a:lnTo>
                <a:lnTo>
                  <a:pt x="175" y="87"/>
                </a:lnTo>
                <a:lnTo>
                  <a:pt x="175" y="84"/>
                </a:lnTo>
                <a:lnTo>
                  <a:pt x="175" y="81"/>
                </a:lnTo>
                <a:lnTo>
                  <a:pt x="172" y="78"/>
                </a:lnTo>
                <a:lnTo>
                  <a:pt x="162" y="69"/>
                </a:lnTo>
                <a:lnTo>
                  <a:pt x="162" y="66"/>
                </a:lnTo>
                <a:lnTo>
                  <a:pt x="153" y="56"/>
                </a:lnTo>
                <a:lnTo>
                  <a:pt x="153" y="53"/>
                </a:lnTo>
                <a:lnTo>
                  <a:pt x="150" y="47"/>
                </a:lnTo>
                <a:lnTo>
                  <a:pt x="150" y="44"/>
                </a:lnTo>
                <a:lnTo>
                  <a:pt x="150" y="41"/>
                </a:lnTo>
                <a:lnTo>
                  <a:pt x="150" y="41"/>
                </a:lnTo>
                <a:lnTo>
                  <a:pt x="150" y="41"/>
                </a:lnTo>
                <a:lnTo>
                  <a:pt x="153" y="41"/>
                </a:lnTo>
                <a:lnTo>
                  <a:pt x="153" y="47"/>
                </a:lnTo>
                <a:lnTo>
                  <a:pt x="156" y="50"/>
                </a:lnTo>
                <a:lnTo>
                  <a:pt x="156" y="50"/>
                </a:lnTo>
                <a:lnTo>
                  <a:pt x="165" y="59"/>
                </a:lnTo>
                <a:lnTo>
                  <a:pt x="165" y="62"/>
                </a:lnTo>
                <a:lnTo>
                  <a:pt x="165" y="66"/>
                </a:lnTo>
                <a:lnTo>
                  <a:pt x="172" y="69"/>
                </a:lnTo>
                <a:lnTo>
                  <a:pt x="172" y="72"/>
                </a:lnTo>
                <a:lnTo>
                  <a:pt x="181" y="81"/>
                </a:lnTo>
                <a:lnTo>
                  <a:pt x="187" y="84"/>
                </a:lnTo>
                <a:lnTo>
                  <a:pt x="187" y="84"/>
                </a:lnTo>
                <a:lnTo>
                  <a:pt x="187" y="84"/>
                </a:lnTo>
                <a:lnTo>
                  <a:pt x="190" y="81"/>
                </a:lnTo>
                <a:lnTo>
                  <a:pt x="194" y="75"/>
                </a:lnTo>
                <a:lnTo>
                  <a:pt x="190" y="72"/>
                </a:lnTo>
                <a:lnTo>
                  <a:pt x="194" y="66"/>
                </a:lnTo>
                <a:lnTo>
                  <a:pt x="194" y="62"/>
                </a:lnTo>
                <a:lnTo>
                  <a:pt x="197" y="50"/>
                </a:lnTo>
                <a:lnTo>
                  <a:pt x="197" y="5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6" name="Freeform 104">
            <a:extLst>
              <a:ext uri="{FF2B5EF4-FFF2-40B4-BE49-F238E27FC236}">
                <a16:creationId xmlns:a16="http://schemas.microsoft.com/office/drawing/2014/main" id="{D2717C56-0CA3-E711-DF12-62A7CBA3542F}"/>
              </a:ext>
            </a:extLst>
          </p:cNvPr>
          <p:cNvSpPr>
            <a:spLocks/>
          </p:cNvSpPr>
          <p:nvPr userDrawn="1"/>
        </p:nvSpPr>
        <p:spPr bwMode="auto">
          <a:xfrm>
            <a:off x="14518326" y="7974881"/>
            <a:ext cx="1031811" cy="1184278"/>
          </a:xfrm>
          <a:custGeom>
            <a:avLst/>
            <a:gdLst>
              <a:gd name="T0" fmla="*/ 291 w 325"/>
              <a:gd name="T1" fmla="*/ 3 h 373"/>
              <a:gd name="T2" fmla="*/ 294 w 325"/>
              <a:gd name="T3" fmla="*/ 13 h 373"/>
              <a:gd name="T4" fmla="*/ 294 w 325"/>
              <a:gd name="T5" fmla="*/ 16 h 373"/>
              <a:gd name="T6" fmla="*/ 300 w 325"/>
              <a:gd name="T7" fmla="*/ 50 h 373"/>
              <a:gd name="T8" fmla="*/ 316 w 325"/>
              <a:gd name="T9" fmla="*/ 75 h 373"/>
              <a:gd name="T10" fmla="*/ 325 w 325"/>
              <a:gd name="T11" fmla="*/ 85 h 373"/>
              <a:gd name="T12" fmla="*/ 310 w 325"/>
              <a:gd name="T13" fmla="*/ 91 h 373"/>
              <a:gd name="T14" fmla="*/ 300 w 325"/>
              <a:gd name="T15" fmla="*/ 97 h 373"/>
              <a:gd name="T16" fmla="*/ 300 w 325"/>
              <a:gd name="T17" fmla="*/ 113 h 373"/>
              <a:gd name="T18" fmla="*/ 291 w 325"/>
              <a:gd name="T19" fmla="*/ 138 h 373"/>
              <a:gd name="T20" fmla="*/ 291 w 325"/>
              <a:gd name="T21" fmla="*/ 157 h 373"/>
              <a:gd name="T22" fmla="*/ 281 w 325"/>
              <a:gd name="T23" fmla="*/ 188 h 373"/>
              <a:gd name="T24" fmla="*/ 269 w 325"/>
              <a:gd name="T25" fmla="*/ 201 h 373"/>
              <a:gd name="T26" fmla="*/ 253 w 325"/>
              <a:gd name="T27" fmla="*/ 226 h 373"/>
              <a:gd name="T28" fmla="*/ 250 w 325"/>
              <a:gd name="T29" fmla="*/ 244 h 373"/>
              <a:gd name="T30" fmla="*/ 244 w 325"/>
              <a:gd name="T31" fmla="*/ 273 h 373"/>
              <a:gd name="T32" fmla="*/ 228 w 325"/>
              <a:gd name="T33" fmla="*/ 273 h 373"/>
              <a:gd name="T34" fmla="*/ 228 w 325"/>
              <a:gd name="T35" fmla="*/ 288 h 373"/>
              <a:gd name="T36" fmla="*/ 244 w 325"/>
              <a:gd name="T37" fmla="*/ 298 h 373"/>
              <a:gd name="T38" fmla="*/ 256 w 325"/>
              <a:gd name="T39" fmla="*/ 307 h 373"/>
              <a:gd name="T40" fmla="*/ 266 w 325"/>
              <a:gd name="T41" fmla="*/ 329 h 373"/>
              <a:gd name="T42" fmla="*/ 250 w 325"/>
              <a:gd name="T43" fmla="*/ 351 h 373"/>
              <a:gd name="T44" fmla="*/ 241 w 325"/>
              <a:gd name="T45" fmla="*/ 360 h 373"/>
              <a:gd name="T46" fmla="*/ 219 w 325"/>
              <a:gd name="T47" fmla="*/ 366 h 373"/>
              <a:gd name="T48" fmla="*/ 209 w 325"/>
              <a:gd name="T49" fmla="*/ 373 h 373"/>
              <a:gd name="T50" fmla="*/ 194 w 325"/>
              <a:gd name="T51" fmla="*/ 369 h 373"/>
              <a:gd name="T52" fmla="*/ 184 w 325"/>
              <a:gd name="T53" fmla="*/ 373 h 373"/>
              <a:gd name="T54" fmla="*/ 175 w 325"/>
              <a:gd name="T55" fmla="*/ 369 h 373"/>
              <a:gd name="T56" fmla="*/ 166 w 325"/>
              <a:gd name="T57" fmla="*/ 357 h 373"/>
              <a:gd name="T58" fmla="*/ 153 w 325"/>
              <a:gd name="T59" fmla="*/ 348 h 373"/>
              <a:gd name="T60" fmla="*/ 144 w 325"/>
              <a:gd name="T61" fmla="*/ 354 h 373"/>
              <a:gd name="T62" fmla="*/ 131 w 325"/>
              <a:gd name="T63" fmla="*/ 357 h 373"/>
              <a:gd name="T64" fmla="*/ 116 w 325"/>
              <a:gd name="T65" fmla="*/ 348 h 373"/>
              <a:gd name="T66" fmla="*/ 109 w 325"/>
              <a:gd name="T67" fmla="*/ 338 h 373"/>
              <a:gd name="T68" fmla="*/ 97 w 325"/>
              <a:gd name="T69" fmla="*/ 323 h 373"/>
              <a:gd name="T70" fmla="*/ 88 w 325"/>
              <a:gd name="T71" fmla="*/ 313 h 373"/>
              <a:gd name="T72" fmla="*/ 75 w 325"/>
              <a:gd name="T73" fmla="*/ 301 h 373"/>
              <a:gd name="T74" fmla="*/ 69 w 325"/>
              <a:gd name="T75" fmla="*/ 294 h 373"/>
              <a:gd name="T76" fmla="*/ 63 w 325"/>
              <a:gd name="T77" fmla="*/ 285 h 373"/>
              <a:gd name="T78" fmla="*/ 47 w 325"/>
              <a:gd name="T79" fmla="*/ 276 h 373"/>
              <a:gd name="T80" fmla="*/ 41 w 325"/>
              <a:gd name="T81" fmla="*/ 269 h 373"/>
              <a:gd name="T82" fmla="*/ 34 w 325"/>
              <a:gd name="T83" fmla="*/ 254 h 373"/>
              <a:gd name="T84" fmla="*/ 25 w 325"/>
              <a:gd name="T85" fmla="*/ 232 h 373"/>
              <a:gd name="T86" fmla="*/ 19 w 325"/>
              <a:gd name="T87" fmla="*/ 219 h 373"/>
              <a:gd name="T88" fmla="*/ 13 w 325"/>
              <a:gd name="T89" fmla="*/ 207 h 373"/>
              <a:gd name="T90" fmla="*/ 9 w 325"/>
              <a:gd name="T91" fmla="*/ 191 h 373"/>
              <a:gd name="T92" fmla="*/ 0 w 325"/>
              <a:gd name="T93" fmla="*/ 185 h 373"/>
              <a:gd name="T94" fmla="*/ 6 w 325"/>
              <a:gd name="T95" fmla="*/ 166 h 373"/>
              <a:gd name="T96" fmla="*/ 13 w 325"/>
              <a:gd name="T97" fmla="*/ 151 h 373"/>
              <a:gd name="T98" fmla="*/ 22 w 325"/>
              <a:gd name="T99" fmla="*/ 132 h 373"/>
              <a:gd name="T100" fmla="*/ 41 w 325"/>
              <a:gd name="T101" fmla="*/ 125 h 373"/>
              <a:gd name="T102" fmla="*/ 56 w 325"/>
              <a:gd name="T103"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5" h="373">
                <a:moveTo>
                  <a:pt x="56" y="0"/>
                </a:moveTo>
                <a:lnTo>
                  <a:pt x="291" y="0"/>
                </a:lnTo>
                <a:lnTo>
                  <a:pt x="291" y="0"/>
                </a:lnTo>
                <a:lnTo>
                  <a:pt x="291" y="3"/>
                </a:lnTo>
                <a:lnTo>
                  <a:pt x="291" y="3"/>
                </a:lnTo>
                <a:lnTo>
                  <a:pt x="291" y="7"/>
                </a:lnTo>
                <a:lnTo>
                  <a:pt x="291" y="7"/>
                </a:lnTo>
                <a:lnTo>
                  <a:pt x="291" y="7"/>
                </a:lnTo>
                <a:lnTo>
                  <a:pt x="291" y="10"/>
                </a:lnTo>
                <a:lnTo>
                  <a:pt x="294" y="13"/>
                </a:lnTo>
                <a:lnTo>
                  <a:pt x="297" y="19"/>
                </a:lnTo>
                <a:lnTo>
                  <a:pt x="297" y="19"/>
                </a:lnTo>
                <a:lnTo>
                  <a:pt x="297" y="19"/>
                </a:lnTo>
                <a:lnTo>
                  <a:pt x="297" y="19"/>
                </a:lnTo>
                <a:lnTo>
                  <a:pt x="294" y="16"/>
                </a:lnTo>
                <a:lnTo>
                  <a:pt x="294" y="19"/>
                </a:lnTo>
                <a:lnTo>
                  <a:pt x="294" y="22"/>
                </a:lnTo>
                <a:lnTo>
                  <a:pt x="300" y="35"/>
                </a:lnTo>
                <a:lnTo>
                  <a:pt x="300" y="44"/>
                </a:lnTo>
                <a:lnTo>
                  <a:pt x="300" y="50"/>
                </a:lnTo>
                <a:lnTo>
                  <a:pt x="300" y="60"/>
                </a:lnTo>
                <a:lnTo>
                  <a:pt x="306" y="66"/>
                </a:lnTo>
                <a:lnTo>
                  <a:pt x="310" y="66"/>
                </a:lnTo>
                <a:lnTo>
                  <a:pt x="316" y="72"/>
                </a:lnTo>
                <a:lnTo>
                  <a:pt x="316" y="75"/>
                </a:lnTo>
                <a:lnTo>
                  <a:pt x="322" y="75"/>
                </a:lnTo>
                <a:lnTo>
                  <a:pt x="325" y="79"/>
                </a:lnTo>
                <a:lnTo>
                  <a:pt x="325" y="82"/>
                </a:lnTo>
                <a:lnTo>
                  <a:pt x="325" y="82"/>
                </a:lnTo>
                <a:lnTo>
                  <a:pt x="325" y="85"/>
                </a:lnTo>
                <a:lnTo>
                  <a:pt x="322" y="88"/>
                </a:lnTo>
                <a:lnTo>
                  <a:pt x="316" y="88"/>
                </a:lnTo>
                <a:lnTo>
                  <a:pt x="316" y="91"/>
                </a:lnTo>
                <a:lnTo>
                  <a:pt x="313" y="91"/>
                </a:lnTo>
                <a:lnTo>
                  <a:pt x="310" y="91"/>
                </a:lnTo>
                <a:lnTo>
                  <a:pt x="306" y="91"/>
                </a:lnTo>
                <a:lnTo>
                  <a:pt x="306" y="94"/>
                </a:lnTo>
                <a:lnTo>
                  <a:pt x="306" y="97"/>
                </a:lnTo>
                <a:lnTo>
                  <a:pt x="306" y="97"/>
                </a:lnTo>
                <a:lnTo>
                  <a:pt x="300" y="97"/>
                </a:lnTo>
                <a:lnTo>
                  <a:pt x="297" y="100"/>
                </a:lnTo>
                <a:lnTo>
                  <a:pt x="297" y="104"/>
                </a:lnTo>
                <a:lnTo>
                  <a:pt x="297" y="110"/>
                </a:lnTo>
                <a:lnTo>
                  <a:pt x="297" y="110"/>
                </a:lnTo>
                <a:lnTo>
                  <a:pt x="300" y="113"/>
                </a:lnTo>
                <a:lnTo>
                  <a:pt x="297" y="113"/>
                </a:lnTo>
                <a:lnTo>
                  <a:pt x="294" y="119"/>
                </a:lnTo>
                <a:lnTo>
                  <a:pt x="294" y="129"/>
                </a:lnTo>
                <a:lnTo>
                  <a:pt x="291" y="135"/>
                </a:lnTo>
                <a:lnTo>
                  <a:pt x="291" y="138"/>
                </a:lnTo>
                <a:lnTo>
                  <a:pt x="288" y="141"/>
                </a:lnTo>
                <a:lnTo>
                  <a:pt x="288" y="144"/>
                </a:lnTo>
                <a:lnTo>
                  <a:pt x="291" y="154"/>
                </a:lnTo>
                <a:lnTo>
                  <a:pt x="291" y="157"/>
                </a:lnTo>
                <a:lnTo>
                  <a:pt x="291" y="157"/>
                </a:lnTo>
                <a:lnTo>
                  <a:pt x="291" y="160"/>
                </a:lnTo>
                <a:lnTo>
                  <a:pt x="288" y="163"/>
                </a:lnTo>
                <a:lnTo>
                  <a:pt x="288" y="172"/>
                </a:lnTo>
                <a:lnTo>
                  <a:pt x="285" y="182"/>
                </a:lnTo>
                <a:lnTo>
                  <a:pt x="281" y="188"/>
                </a:lnTo>
                <a:lnTo>
                  <a:pt x="278" y="185"/>
                </a:lnTo>
                <a:lnTo>
                  <a:pt x="275" y="188"/>
                </a:lnTo>
                <a:lnTo>
                  <a:pt x="275" y="191"/>
                </a:lnTo>
                <a:lnTo>
                  <a:pt x="272" y="197"/>
                </a:lnTo>
                <a:lnTo>
                  <a:pt x="269" y="201"/>
                </a:lnTo>
                <a:lnTo>
                  <a:pt x="266" y="207"/>
                </a:lnTo>
                <a:lnTo>
                  <a:pt x="263" y="210"/>
                </a:lnTo>
                <a:lnTo>
                  <a:pt x="259" y="226"/>
                </a:lnTo>
                <a:lnTo>
                  <a:pt x="256" y="226"/>
                </a:lnTo>
                <a:lnTo>
                  <a:pt x="253" y="226"/>
                </a:lnTo>
                <a:lnTo>
                  <a:pt x="253" y="229"/>
                </a:lnTo>
                <a:lnTo>
                  <a:pt x="250" y="235"/>
                </a:lnTo>
                <a:lnTo>
                  <a:pt x="247" y="238"/>
                </a:lnTo>
                <a:lnTo>
                  <a:pt x="250" y="241"/>
                </a:lnTo>
                <a:lnTo>
                  <a:pt x="250" y="244"/>
                </a:lnTo>
                <a:lnTo>
                  <a:pt x="247" y="247"/>
                </a:lnTo>
                <a:lnTo>
                  <a:pt x="244" y="254"/>
                </a:lnTo>
                <a:lnTo>
                  <a:pt x="247" y="263"/>
                </a:lnTo>
                <a:lnTo>
                  <a:pt x="244" y="273"/>
                </a:lnTo>
                <a:lnTo>
                  <a:pt x="244" y="273"/>
                </a:lnTo>
                <a:lnTo>
                  <a:pt x="241" y="276"/>
                </a:lnTo>
                <a:lnTo>
                  <a:pt x="238" y="276"/>
                </a:lnTo>
                <a:lnTo>
                  <a:pt x="238" y="273"/>
                </a:lnTo>
                <a:lnTo>
                  <a:pt x="234" y="276"/>
                </a:lnTo>
                <a:lnTo>
                  <a:pt x="228" y="273"/>
                </a:lnTo>
                <a:lnTo>
                  <a:pt x="228" y="279"/>
                </a:lnTo>
                <a:lnTo>
                  <a:pt x="225" y="279"/>
                </a:lnTo>
                <a:lnTo>
                  <a:pt x="222" y="282"/>
                </a:lnTo>
                <a:lnTo>
                  <a:pt x="225" y="285"/>
                </a:lnTo>
                <a:lnTo>
                  <a:pt x="228" y="288"/>
                </a:lnTo>
                <a:lnTo>
                  <a:pt x="238" y="288"/>
                </a:lnTo>
                <a:lnTo>
                  <a:pt x="238" y="288"/>
                </a:lnTo>
                <a:lnTo>
                  <a:pt x="241" y="294"/>
                </a:lnTo>
                <a:lnTo>
                  <a:pt x="244" y="294"/>
                </a:lnTo>
                <a:lnTo>
                  <a:pt x="244" y="298"/>
                </a:lnTo>
                <a:lnTo>
                  <a:pt x="247" y="304"/>
                </a:lnTo>
                <a:lnTo>
                  <a:pt x="250" y="304"/>
                </a:lnTo>
                <a:lnTo>
                  <a:pt x="250" y="307"/>
                </a:lnTo>
                <a:lnTo>
                  <a:pt x="253" y="307"/>
                </a:lnTo>
                <a:lnTo>
                  <a:pt x="256" y="307"/>
                </a:lnTo>
                <a:lnTo>
                  <a:pt x="259" y="310"/>
                </a:lnTo>
                <a:lnTo>
                  <a:pt x="259" y="313"/>
                </a:lnTo>
                <a:lnTo>
                  <a:pt x="263" y="316"/>
                </a:lnTo>
                <a:lnTo>
                  <a:pt x="266" y="326"/>
                </a:lnTo>
                <a:lnTo>
                  <a:pt x="266" y="329"/>
                </a:lnTo>
                <a:lnTo>
                  <a:pt x="269" y="335"/>
                </a:lnTo>
                <a:lnTo>
                  <a:pt x="263" y="341"/>
                </a:lnTo>
                <a:lnTo>
                  <a:pt x="256" y="348"/>
                </a:lnTo>
                <a:lnTo>
                  <a:pt x="253" y="348"/>
                </a:lnTo>
                <a:lnTo>
                  <a:pt x="250" y="351"/>
                </a:lnTo>
                <a:lnTo>
                  <a:pt x="250" y="354"/>
                </a:lnTo>
                <a:lnTo>
                  <a:pt x="247" y="354"/>
                </a:lnTo>
                <a:lnTo>
                  <a:pt x="244" y="357"/>
                </a:lnTo>
                <a:lnTo>
                  <a:pt x="244" y="357"/>
                </a:lnTo>
                <a:lnTo>
                  <a:pt x="241" y="360"/>
                </a:lnTo>
                <a:lnTo>
                  <a:pt x="238" y="363"/>
                </a:lnTo>
                <a:lnTo>
                  <a:pt x="234" y="366"/>
                </a:lnTo>
                <a:lnTo>
                  <a:pt x="228" y="366"/>
                </a:lnTo>
                <a:lnTo>
                  <a:pt x="222" y="366"/>
                </a:lnTo>
                <a:lnTo>
                  <a:pt x="219" y="366"/>
                </a:lnTo>
                <a:lnTo>
                  <a:pt x="216" y="366"/>
                </a:lnTo>
                <a:lnTo>
                  <a:pt x="213" y="369"/>
                </a:lnTo>
                <a:lnTo>
                  <a:pt x="209" y="366"/>
                </a:lnTo>
                <a:lnTo>
                  <a:pt x="209" y="369"/>
                </a:lnTo>
                <a:lnTo>
                  <a:pt x="209" y="373"/>
                </a:lnTo>
                <a:lnTo>
                  <a:pt x="206" y="373"/>
                </a:lnTo>
                <a:lnTo>
                  <a:pt x="200" y="373"/>
                </a:lnTo>
                <a:lnTo>
                  <a:pt x="200" y="369"/>
                </a:lnTo>
                <a:lnTo>
                  <a:pt x="197" y="366"/>
                </a:lnTo>
                <a:lnTo>
                  <a:pt x="194" y="369"/>
                </a:lnTo>
                <a:lnTo>
                  <a:pt x="191" y="366"/>
                </a:lnTo>
                <a:lnTo>
                  <a:pt x="184" y="366"/>
                </a:lnTo>
                <a:lnTo>
                  <a:pt x="184" y="366"/>
                </a:lnTo>
                <a:lnTo>
                  <a:pt x="184" y="369"/>
                </a:lnTo>
                <a:lnTo>
                  <a:pt x="184" y="373"/>
                </a:lnTo>
                <a:lnTo>
                  <a:pt x="184" y="373"/>
                </a:lnTo>
                <a:lnTo>
                  <a:pt x="181" y="373"/>
                </a:lnTo>
                <a:lnTo>
                  <a:pt x="178" y="373"/>
                </a:lnTo>
                <a:lnTo>
                  <a:pt x="175" y="373"/>
                </a:lnTo>
                <a:lnTo>
                  <a:pt x="175" y="369"/>
                </a:lnTo>
                <a:lnTo>
                  <a:pt x="175" y="366"/>
                </a:lnTo>
                <a:lnTo>
                  <a:pt x="175" y="366"/>
                </a:lnTo>
                <a:lnTo>
                  <a:pt x="172" y="363"/>
                </a:lnTo>
                <a:lnTo>
                  <a:pt x="169" y="360"/>
                </a:lnTo>
                <a:lnTo>
                  <a:pt x="166" y="357"/>
                </a:lnTo>
                <a:lnTo>
                  <a:pt x="163" y="357"/>
                </a:lnTo>
                <a:lnTo>
                  <a:pt x="163" y="354"/>
                </a:lnTo>
                <a:lnTo>
                  <a:pt x="159" y="348"/>
                </a:lnTo>
                <a:lnTo>
                  <a:pt x="156" y="348"/>
                </a:lnTo>
                <a:lnTo>
                  <a:pt x="153" y="348"/>
                </a:lnTo>
                <a:lnTo>
                  <a:pt x="150" y="351"/>
                </a:lnTo>
                <a:lnTo>
                  <a:pt x="150" y="354"/>
                </a:lnTo>
                <a:lnTo>
                  <a:pt x="147" y="354"/>
                </a:lnTo>
                <a:lnTo>
                  <a:pt x="144" y="354"/>
                </a:lnTo>
                <a:lnTo>
                  <a:pt x="144" y="354"/>
                </a:lnTo>
                <a:lnTo>
                  <a:pt x="141" y="354"/>
                </a:lnTo>
                <a:lnTo>
                  <a:pt x="138" y="354"/>
                </a:lnTo>
                <a:lnTo>
                  <a:pt x="134" y="354"/>
                </a:lnTo>
                <a:lnTo>
                  <a:pt x="131" y="357"/>
                </a:lnTo>
                <a:lnTo>
                  <a:pt x="131" y="357"/>
                </a:lnTo>
                <a:lnTo>
                  <a:pt x="125" y="354"/>
                </a:lnTo>
                <a:lnTo>
                  <a:pt x="122" y="351"/>
                </a:lnTo>
                <a:lnTo>
                  <a:pt x="119" y="351"/>
                </a:lnTo>
                <a:lnTo>
                  <a:pt x="119" y="348"/>
                </a:lnTo>
                <a:lnTo>
                  <a:pt x="116" y="348"/>
                </a:lnTo>
                <a:lnTo>
                  <a:pt x="116" y="344"/>
                </a:lnTo>
                <a:lnTo>
                  <a:pt x="116" y="344"/>
                </a:lnTo>
                <a:lnTo>
                  <a:pt x="116" y="341"/>
                </a:lnTo>
                <a:lnTo>
                  <a:pt x="113" y="341"/>
                </a:lnTo>
                <a:lnTo>
                  <a:pt x="109" y="338"/>
                </a:lnTo>
                <a:lnTo>
                  <a:pt x="106" y="335"/>
                </a:lnTo>
                <a:lnTo>
                  <a:pt x="106" y="329"/>
                </a:lnTo>
                <a:lnTo>
                  <a:pt x="106" y="329"/>
                </a:lnTo>
                <a:lnTo>
                  <a:pt x="103" y="326"/>
                </a:lnTo>
                <a:lnTo>
                  <a:pt x="97" y="323"/>
                </a:lnTo>
                <a:lnTo>
                  <a:pt x="97" y="323"/>
                </a:lnTo>
                <a:lnTo>
                  <a:pt x="97" y="319"/>
                </a:lnTo>
                <a:lnTo>
                  <a:pt x="94" y="316"/>
                </a:lnTo>
                <a:lnTo>
                  <a:pt x="91" y="316"/>
                </a:lnTo>
                <a:lnTo>
                  <a:pt x="88" y="313"/>
                </a:lnTo>
                <a:lnTo>
                  <a:pt x="88" y="307"/>
                </a:lnTo>
                <a:lnTo>
                  <a:pt x="88" y="307"/>
                </a:lnTo>
                <a:lnTo>
                  <a:pt x="81" y="301"/>
                </a:lnTo>
                <a:lnTo>
                  <a:pt x="78" y="301"/>
                </a:lnTo>
                <a:lnTo>
                  <a:pt x="75" y="301"/>
                </a:lnTo>
                <a:lnTo>
                  <a:pt x="75" y="301"/>
                </a:lnTo>
                <a:lnTo>
                  <a:pt x="72" y="301"/>
                </a:lnTo>
                <a:lnTo>
                  <a:pt x="66" y="298"/>
                </a:lnTo>
                <a:lnTo>
                  <a:pt x="69" y="294"/>
                </a:lnTo>
                <a:lnTo>
                  <a:pt x="69" y="294"/>
                </a:lnTo>
                <a:lnTo>
                  <a:pt x="72" y="291"/>
                </a:lnTo>
                <a:lnTo>
                  <a:pt x="72" y="288"/>
                </a:lnTo>
                <a:lnTo>
                  <a:pt x="72" y="285"/>
                </a:lnTo>
                <a:lnTo>
                  <a:pt x="69" y="285"/>
                </a:lnTo>
                <a:lnTo>
                  <a:pt x="63" y="285"/>
                </a:lnTo>
                <a:lnTo>
                  <a:pt x="63" y="282"/>
                </a:lnTo>
                <a:lnTo>
                  <a:pt x="59" y="279"/>
                </a:lnTo>
                <a:lnTo>
                  <a:pt x="56" y="279"/>
                </a:lnTo>
                <a:lnTo>
                  <a:pt x="53" y="279"/>
                </a:lnTo>
                <a:lnTo>
                  <a:pt x="47" y="276"/>
                </a:lnTo>
                <a:lnTo>
                  <a:pt x="47" y="273"/>
                </a:lnTo>
                <a:lnTo>
                  <a:pt x="50" y="269"/>
                </a:lnTo>
                <a:lnTo>
                  <a:pt x="47" y="266"/>
                </a:lnTo>
                <a:lnTo>
                  <a:pt x="41" y="266"/>
                </a:lnTo>
                <a:lnTo>
                  <a:pt x="41" y="269"/>
                </a:lnTo>
                <a:lnTo>
                  <a:pt x="34" y="269"/>
                </a:lnTo>
                <a:lnTo>
                  <a:pt x="31" y="266"/>
                </a:lnTo>
                <a:lnTo>
                  <a:pt x="31" y="260"/>
                </a:lnTo>
                <a:lnTo>
                  <a:pt x="34" y="257"/>
                </a:lnTo>
                <a:lnTo>
                  <a:pt x="34" y="254"/>
                </a:lnTo>
                <a:lnTo>
                  <a:pt x="34" y="251"/>
                </a:lnTo>
                <a:lnTo>
                  <a:pt x="34" y="247"/>
                </a:lnTo>
                <a:lnTo>
                  <a:pt x="31" y="241"/>
                </a:lnTo>
                <a:lnTo>
                  <a:pt x="25" y="232"/>
                </a:lnTo>
                <a:lnTo>
                  <a:pt x="25" y="232"/>
                </a:lnTo>
                <a:lnTo>
                  <a:pt x="22" y="229"/>
                </a:lnTo>
                <a:lnTo>
                  <a:pt x="22" y="226"/>
                </a:lnTo>
                <a:lnTo>
                  <a:pt x="22" y="222"/>
                </a:lnTo>
                <a:lnTo>
                  <a:pt x="19" y="222"/>
                </a:lnTo>
                <a:lnTo>
                  <a:pt x="19" y="219"/>
                </a:lnTo>
                <a:lnTo>
                  <a:pt x="19" y="216"/>
                </a:lnTo>
                <a:lnTo>
                  <a:pt x="22" y="216"/>
                </a:lnTo>
                <a:lnTo>
                  <a:pt x="19" y="213"/>
                </a:lnTo>
                <a:lnTo>
                  <a:pt x="13" y="210"/>
                </a:lnTo>
                <a:lnTo>
                  <a:pt x="13" y="207"/>
                </a:lnTo>
                <a:lnTo>
                  <a:pt x="13" y="201"/>
                </a:lnTo>
                <a:lnTo>
                  <a:pt x="9" y="197"/>
                </a:lnTo>
                <a:lnTo>
                  <a:pt x="13" y="194"/>
                </a:lnTo>
                <a:lnTo>
                  <a:pt x="9" y="194"/>
                </a:lnTo>
                <a:lnTo>
                  <a:pt x="9" y="191"/>
                </a:lnTo>
                <a:lnTo>
                  <a:pt x="9" y="188"/>
                </a:lnTo>
                <a:lnTo>
                  <a:pt x="9" y="188"/>
                </a:lnTo>
                <a:lnTo>
                  <a:pt x="3" y="191"/>
                </a:lnTo>
                <a:lnTo>
                  <a:pt x="0" y="188"/>
                </a:lnTo>
                <a:lnTo>
                  <a:pt x="0" y="185"/>
                </a:lnTo>
                <a:lnTo>
                  <a:pt x="6" y="179"/>
                </a:lnTo>
                <a:lnTo>
                  <a:pt x="9" y="176"/>
                </a:lnTo>
                <a:lnTo>
                  <a:pt x="9" y="172"/>
                </a:lnTo>
                <a:lnTo>
                  <a:pt x="6" y="169"/>
                </a:lnTo>
                <a:lnTo>
                  <a:pt x="6" y="166"/>
                </a:lnTo>
                <a:lnTo>
                  <a:pt x="9" y="163"/>
                </a:lnTo>
                <a:lnTo>
                  <a:pt x="13" y="160"/>
                </a:lnTo>
                <a:lnTo>
                  <a:pt x="9" y="157"/>
                </a:lnTo>
                <a:lnTo>
                  <a:pt x="9" y="154"/>
                </a:lnTo>
                <a:lnTo>
                  <a:pt x="13" y="151"/>
                </a:lnTo>
                <a:lnTo>
                  <a:pt x="16" y="151"/>
                </a:lnTo>
                <a:lnTo>
                  <a:pt x="22" y="144"/>
                </a:lnTo>
                <a:lnTo>
                  <a:pt x="25" y="138"/>
                </a:lnTo>
                <a:lnTo>
                  <a:pt x="22" y="135"/>
                </a:lnTo>
                <a:lnTo>
                  <a:pt x="22" y="132"/>
                </a:lnTo>
                <a:lnTo>
                  <a:pt x="25" y="129"/>
                </a:lnTo>
                <a:lnTo>
                  <a:pt x="31" y="129"/>
                </a:lnTo>
                <a:lnTo>
                  <a:pt x="34" y="129"/>
                </a:lnTo>
                <a:lnTo>
                  <a:pt x="38" y="129"/>
                </a:lnTo>
                <a:lnTo>
                  <a:pt x="41" y="125"/>
                </a:lnTo>
                <a:lnTo>
                  <a:pt x="41" y="50"/>
                </a:lnTo>
                <a:lnTo>
                  <a:pt x="41" y="50"/>
                </a:lnTo>
                <a:lnTo>
                  <a:pt x="41" y="41"/>
                </a:lnTo>
                <a:lnTo>
                  <a:pt x="59" y="41"/>
                </a:lnTo>
                <a:lnTo>
                  <a:pt x="56"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7" name="Freeform 105">
            <a:extLst>
              <a:ext uri="{FF2B5EF4-FFF2-40B4-BE49-F238E27FC236}">
                <a16:creationId xmlns:a16="http://schemas.microsoft.com/office/drawing/2014/main" id="{78091744-904B-AC32-4490-3FC354D2570E}"/>
              </a:ext>
            </a:extLst>
          </p:cNvPr>
          <p:cNvSpPr>
            <a:spLocks/>
          </p:cNvSpPr>
          <p:nvPr userDrawn="1"/>
        </p:nvSpPr>
        <p:spPr bwMode="auto">
          <a:xfrm>
            <a:off x="15223130" y="8432081"/>
            <a:ext cx="952440" cy="727078"/>
          </a:xfrm>
          <a:custGeom>
            <a:avLst/>
            <a:gdLst>
              <a:gd name="T0" fmla="*/ 44 w 300"/>
              <a:gd name="T1" fmla="*/ 182 h 229"/>
              <a:gd name="T2" fmla="*/ 37 w 300"/>
              <a:gd name="T3" fmla="*/ 166 h 229"/>
              <a:gd name="T4" fmla="*/ 28 w 300"/>
              <a:gd name="T5" fmla="*/ 163 h 229"/>
              <a:gd name="T6" fmla="*/ 22 w 300"/>
              <a:gd name="T7" fmla="*/ 154 h 229"/>
              <a:gd name="T8" fmla="*/ 16 w 300"/>
              <a:gd name="T9" fmla="*/ 144 h 229"/>
              <a:gd name="T10" fmla="*/ 3 w 300"/>
              <a:gd name="T11" fmla="*/ 141 h 229"/>
              <a:gd name="T12" fmla="*/ 6 w 300"/>
              <a:gd name="T13" fmla="*/ 135 h 229"/>
              <a:gd name="T14" fmla="*/ 16 w 300"/>
              <a:gd name="T15" fmla="*/ 129 h 229"/>
              <a:gd name="T16" fmla="*/ 22 w 300"/>
              <a:gd name="T17" fmla="*/ 129 h 229"/>
              <a:gd name="T18" fmla="*/ 22 w 300"/>
              <a:gd name="T19" fmla="*/ 110 h 229"/>
              <a:gd name="T20" fmla="*/ 28 w 300"/>
              <a:gd name="T21" fmla="*/ 97 h 229"/>
              <a:gd name="T22" fmla="*/ 31 w 300"/>
              <a:gd name="T23" fmla="*/ 85 h 229"/>
              <a:gd name="T24" fmla="*/ 37 w 300"/>
              <a:gd name="T25" fmla="*/ 82 h 229"/>
              <a:gd name="T26" fmla="*/ 47 w 300"/>
              <a:gd name="T27" fmla="*/ 57 h 229"/>
              <a:gd name="T28" fmla="*/ 53 w 300"/>
              <a:gd name="T29" fmla="*/ 44 h 229"/>
              <a:gd name="T30" fmla="*/ 63 w 300"/>
              <a:gd name="T31" fmla="*/ 38 h 229"/>
              <a:gd name="T32" fmla="*/ 69 w 300"/>
              <a:gd name="T33" fmla="*/ 16 h 229"/>
              <a:gd name="T34" fmla="*/ 78 w 300"/>
              <a:gd name="T35" fmla="*/ 13 h 229"/>
              <a:gd name="T36" fmla="*/ 88 w 300"/>
              <a:gd name="T37" fmla="*/ 0 h 229"/>
              <a:gd name="T38" fmla="*/ 97 w 300"/>
              <a:gd name="T39" fmla="*/ 7 h 229"/>
              <a:gd name="T40" fmla="*/ 109 w 300"/>
              <a:gd name="T41" fmla="*/ 3 h 229"/>
              <a:gd name="T42" fmla="*/ 116 w 300"/>
              <a:gd name="T43" fmla="*/ 3 h 229"/>
              <a:gd name="T44" fmla="*/ 125 w 300"/>
              <a:gd name="T45" fmla="*/ 7 h 229"/>
              <a:gd name="T46" fmla="*/ 138 w 300"/>
              <a:gd name="T47" fmla="*/ 13 h 229"/>
              <a:gd name="T48" fmla="*/ 150 w 300"/>
              <a:gd name="T49" fmla="*/ 22 h 229"/>
              <a:gd name="T50" fmla="*/ 156 w 300"/>
              <a:gd name="T51" fmla="*/ 25 h 229"/>
              <a:gd name="T52" fmla="*/ 172 w 300"/>
              <a:gd name="T53" fmla="*/ 35 h 229"/>
              <a:gd name="T54" fmla="*/ 175 w 300"/>
              <a:gd name="T55" fmla="*/ 47 h 229"/>
              <a:gd name="T56" fmla="*/ 181 w 300"/>
              <a:gd name="T57" fmla="*/ 53 h 229"/>
              <a:gd name="T58" fmla="*/ 178 w 300"/>
              <a:gd name="T59" fmla="*/ 69 h 229"/>
              <a:gd name="T60" fmla="*/ 172 w 300"/>
              <a:gd name="T61" fmla="*/ 78 h 229"/>
              <a:gd name="T62" fmla="*/ 188 w 300"/>
              <a:gd name="T63" fmla="*/ 78 h 229"/>
              <a:gd name="T64" fmla="*/ 194 w 300"/>
              <a:gd name="T65" fmla="*/ 82 h 229"/>
              <a:gd name="T66" fmla="*/ 203 w 300"/>
              <a:gd name="T67" fmla="*/ 103 h 229"/>
              <a:gd name="T68" fmla="*/ 213 w 300"/>
              <a:gd name="T69" fmla="*/ 116 h 229"/>
              <a:gd name="T70" fmla="*/ 300 w 300"/>
              <a:gd name="T71" fmla="*/ 138 h 229"/>
              <a:gd name="T72" fmla="*/ 216 w 300"/>
              <a:gd name="T73" fmla="*/ 197 h 229"/>
              <a:gd name="T74" fmla="*/ 203 w 300"/>
              <a:gd name="T75" fmla="*/ 204 h 229"/>
              <a:gd name="T76" fmla="*/ 194 w 300"/>
              <a:gd name="T77" fmla="*/ 213 h 229"/>
              <a:gd name="T78" fmla="*/ 178 w 300"/>
              <a:gd name="T79" fmla="*/ 219 h 229"/>
              <a:gd name="T80" fmla="*/ 166 w 300"/>
              <a:gd name="T81" fmla="*/ 219 h 229"/>
              <a:gd name="T82" fmla="*/ 156 w 300"/>
              <a:gd name="T83" fmla="*/ 213 h 229"/>
              <a:gd name="T84" fmla="*/ 144 w 300"/>
              <a:gd name="T85" fmla="*/ 216 h 229"/>
              <a:gd name="T86" fmla="*/ 131 w 300"/>
              <a:gd name="T87" fmla="*/ 229 h 229"/>
              <a:gd name="T88" fmla="*/ 122 w 300"/>
              <a:gd name="T89" fmla="*/ 225 h 229"/>
              <a:gd name="T90" fmla="*/ 106 w 300"/>
              <a:gd name="T91" fmla="*/ 225 h 229"/>
              <a:gd name="T92" fmla="*/ 94 w 300"/>
              <a:gd name="T93" fmla="*/ 216 h 229"/>
              <a:gd name="T94" fmla="*/ 72 w 300"/>
              <a:gd name="T95" fmla="*/ 207 h 229"/>
              <a:gd name="T96" fmla="*/ 59 w 300"/>
              <a:gd name="T97" fmla="*/ 207 h 229"/>
              <a:gd name="T98" fmla="*/ 53 w 300"/>
              <a:gd name="T99" fmla="*/ 191 h 229"/>
              <a:gd name="T100" fmla="*/ 47 w 300"/>
              <a:gd name="T101" fmla="*/ 19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229">
                <a:moveTo>
                  <a:pt x="47" y="191"/>
                </a:moveTo>
                <a:lnTo>
                  <a:pt x="44" y="185"/>
                </a:lnTo>
                <a:lnTo>
                  <a:pt x="44" y="182"/>
                </a:lnTo>
                <a:lnTo>
                  <a:pt x="41" y="172"/>
                </a:lnTo>
                <a:lnTo>
                  <a:pt x="37" y="169"/>
                </a:lnTo>
                <a:lnTo>
                  <a:pt x="37" y="166"/>
                </a:lnTo>
                <a:lnTo>
                  <a:pt x="34" y="163"/>
                </a:lnTo>
                <a:lnTo>
                  <a:pt x="31" y="163"/>
                </a:lnTo>
                <a:lnTo>
                  <a:pt x="28" y="163"/>
                </a:lnTo>
                <a:lnTo>
                  <a:pt x="28" y="160"/>
                </a:lnTo>
                <a:lnTo>
                  <a:pt x="25" y="160"/>
                </a:lnTo>
                <a:lnTo>
                  <a:pt x="22" y="154"/>
                </a:lnTo>
                <a:lnTo>
                  <a:pt x="22" y="150"/>
                </a:lnTo>
                <a:lnTo>
                  <a:pt x="19" y="150"/>
                </a:lnTo>
                <a:lnTo>
                  <a:pt x="16" y="144"/>
                </a:lnTo>
                <a:lnTo>
                  <a:pt x="16" y="144"/>
                </a:lnTo>
                <a:lnTo>
                  <a:pt x="6" y="144"/>
                </a:lnTo>
                <a:lnTo>
                  <a:pt x="3" y="141"/>
                </a:lnTo>
                <a:lnTo>
                  <a:pt x="0" y="138"/>
                </a:lnTo>
                <a:lnTo>
                  <a:pt x="3" y="135"/>
                </a:lnTo>
                <a:lnTo>
                  <a:pt x="6" y="135"/>
                </a:lnTo>
                <a:lnTo>
                  <a:pt x="6" y="129"/>
                </a:lnTo>
                <a:lnTo>
                  <a:pt x="12" y="132"/>
                </a:lnTo>
                <a:lnTo>
                  <a:pt x="16" y="129"/>
                </a:lnTo>
                <a:lnTo>
                  <a:pt x="16" y="132"/>
                </a:lnTo>
                <a:lnTo>
                  <a:pt x="19" y="132"/>
                </a:lnTo>
                <a:lnTo>
                  <a:pt x="22" y="129"/>
                </a:lnTo>
                <a:lnTo>
                  <a:pt x="22" y="129"/>
                </a:lnTo>
                <a:lnTo>
                  <a:pt x="25" y="119"/>
                </a:lnTo>
                <a:lnTo>
                  <a:pt x="22" y="110"/>
                </a:lnTo>
                <a:lnTo>
                  <a:pt x="25" y="103"/>
                </a:lnTo>
                <a:lnTo>
                  <a:pt x="28" y="100"/>
                </a:lnTo>
                <a:lnTo>
                  <a:pt x="28" y="97"/>
                </a:lnTo>
                <a:lnTo>
                  <a:pt x="25" y="94"/>
                </a:lnTo>
                <a:lnTo>
                  <a:pt x="28" y="91"/>
                </a:lnTo>
                <a:lnTo>
                  <a:pt x="31" y="85"/>
                </a:lnTo>
                <a:lnTo>
                  <a:pt x="31" y="82"/>
                </a:lnTo>
                <a:lnTo>
                  <a:pt x="34" y="82"/>
                </a:lnTo>
                <a:lnTo>
                  <a:pt x="37" y="82"/>
                </a:lnTo>
                <a:lnTo>
                  <a:pt x="41" y="66"/>
                </a:lnTo>
                <a:lnTo>
                  <a:pt x="44" y="63"/>
                </a:lnTo>
                <a:lnTo>
                  <a:pt x="47" y="57"/>
                </a:lnTo>
                <a:lnTo>
                  <a:pt x="50" y="53"/>
                </a:lnTo>
                <a:lnTo>
                  <a:pt x="53" y="47"/>
                </a:lnTo>
                <a:lnTo>
                  <a:pt x="53" y="44"/>
                </a:lnTo>
                <a:lnTo>
                  <a:pt x="56" y="41"/>
                </a:lnTo>
                <a:lnTo>
                  <a:pt x="59" y="44"/>
                </a:lnTo>
                <a:lnTo>
                  <a:pt x="63" y="38"/>
                </a:lnTo>
                <a:lnTo>
                  <a:pt x="66" y="28"/>
                </a:lnTo>
                <a:lnTo>
                  <a:pt x="66" y="19"/>
                </a:lnTo>
                <a:lnTo>
                  <a:pt x="69" y="16"/>
                </a:lnTo>
                <a:lnTo>
                  <a:pt x="69" y="13"/>
                </a:lnTo>
                <a:lnTo>
                  <a:pt x="72" y="13"/>
                </a:lnTo>
                <a:lnTo>
                  <a:pt x="78" y="13"/>
                </a:lnTo>
                <a:lnTo>
                  <a:pt x="78" y="13"/>
                </a:lnTo>
                <a:lnTo>
                  <a:pt x="81" y="13"/>
                </a:lnTo>
                <a:lnTo>
                  <a:pt x="88" y="0"/>
                </a:lnTo>
                <a:lnTo>
                  <a:pt x="88" y="3"/>
                </a:lnTo>
                <a:lnTo>
                  <a:pt x="91" y="3"/>
                </a:lnTo>
                <a:lnTo>
                  <a:pt x="97" y="7"/>
                </a:lnTo>
                <a:lnTo>
                  <a:pt x="100" y="7"/>
                </a:lnTo>
                <a:lnTo>
                  <a:pt x="106" y="3"/>
                </a:lnTo>
                <a:lnTo>
                  <a:pt x="109" y="3"/>
                </a:lnTo>
                <a:lnTo>
                  <a:pt x="113" y="7"/>
                </a:lnTo>
                <a:lnTo>
                  <a:pt x="113" y="3"/>
                </a:lnTo>
                <a:lnTo>
                  <a:pt x="116" y="3"/>
                </a:lnTo>
                <a:lnTo>
                  <a:pt x="122" y="10"/>
                </a:lnTo>
                <a:lnTo>
                  <a:pt x="122" y="10"/>
                </a:lnTo>
                <a:lnTo>
                  <a:pt x="125" y="7"/>
                </a:lnTo>
                <a:lnTo>
                  <a:pt x="131" y="10"/>
                </a:lnTo>
                <a:lnTo>
                  <a:pt x="134" y="13"/>
                </a:lnTo>
                <a:lnTo>
                  <a:pt x="138" y="13"/>
                </a:lnTo>
                <a:lnTo>
                  <a:pt x="144" y="19"/>
                </a:lnTo>
                <a:lnTo>
                  <a:pt x="144" y="22"/>
                </a:lnTo>
                <a:lnTo>
                  <a:pt x="150" y="22"/>
                </a:lnTo>
                <a:lnTo>
                  <a:pt x="150" y="22"/>
                </a:lnTo>
                <a:lnTo>
                  <a:pt x="156" y="25"/>
                </a:lnTo>
                <a:lnTo>
                  <a:pt x="156" y="25"/>
                </a:lnTo>
                <a:lnTo>
                  <a:pt x="163" y="28"/>
                </a:lnTo>
                <a:lnTo>
                  <a:pt x="166" y="35"/>
                </a:lnTo>
                <a:lnTo>
                  <a:pt x="172" y="35"/>
                </a:lnTo>
                <a:lnTo>
                  <a:pt x="175" y="41"/>
                </a:lnTo>
                <a:lnTo>
                  <a:pt x="175" y="44"/>
                </a:lnTo>
                <a:lnTo>
                  <a:pt x="175" y="47"/>
                </a:lnTo>
                <a:lnTo>
                  <a:pt x="178" y="47"/>
                </a:lnTo>
                <a:lnTo>
                  <a:pt x="184" y="53"/>
                </a:lnTo>
                <a:lnTo>
                  <a:pt x="181" y="53"/>
                </a:lnTo>
                <a:lnTo>
                  <a:pt x="178" y="60"/>
                </a:lnTo>
                <a:lnTo>
                  <a:pt x="178" y="63"/>
                </a:lnTo>
                <a:lnTo>
                  <a:pt x="178" y="69"/>
                </a:lnTo>
                <a:lnTo>
                  <a:pt x="175" y="72"/>
                </a:lnTo>
                <a:lnTo>
                  <a:pt x="175" y="75"/>
                </a:lnTo>
                <a:lnTo>
                  <a:pt x="172" y="78"/>
                </a:lnTo>
                <a:lnTo>
                  <a:pt x="175" y="82"/>
                </a:lnTo>
                <a:lnTo>
                  <a:pt x="181" y="82"/>
                </a:lnTo>
                <a:lnTo>
                  <a:pt x="188" y="78"/>
                </a:lnTo>
                <a:lnTo>
                  <a:pt x="191" y="78"/>
                </a:lnTo>
                <a:lnTo>
                  <a:pt x="197" y="78"/>
                </a:lnTo>
                <a:lnTo>
                  <a:pt x="194" y="82"/>
                </a:lnTo>
                <a:lnTo>
                  <a:pt x="197" y="88"/>
                </a:lnTo>
                <a:lnTo>
                  <a:pt x="200" y="100"/>
                </a:lnTo>
                <a:lnTo>
                  <a:pt x="203" y="103"/>
                </a:lnTo>
                <a:lnTo>
                  <a:pt x="203" y="110"/>
                </a:lnTo>
                <a:lnTo>
                  <a:pt x="206" y="113"/>
                </a:lnTo>
                <a:lnTo>
                  <a:pt x="213" y="116"/>
                </a:lnTo>
                <a:lnTo>
                  <a:pt x="219" y="119"/>
                </a:lnTo>
                <a:lnTo>
                  <a:pt x="275" y="138"/>
                </a:lnTo>
                <a:lnTo>
                  <a:pt x="300" y="138"/>
                </a:lnTo>
                <a:lnTo>
                  <a:pt x="241" y="197"/>
                </a:lnTo>
                <a:lnTo>
                  <a:pt x="228" y="197"/>
                </a:lnTo>
                <a:lnTo>
                  <a:pt x="216" y="197"/>
                </a:lnTo>
                <a:lnTo>
                  <a:pt x="213" y="200"/>
                </a:lnTo>
                <a:lnTo>
                  <a:pt x="209" y="200"/>
                </a:lnTo>
                <a:lnTo>
                  <a:pt x="203" y="204"/>
                </a:lnTo>
                <a:lnTo>
                  <a:pt x="203" y="207"/>
                </a:lnTo>
                <a:lnTo>
                  <a:pt x="197" y="210"/>
                </a:lnTo>
                <a:lnTo>
                  <a:pt x="194" y="213"/>
                </a:lnTo>
                <a:lnTo>
                  <a:pt x="188" y="213"/>
                </a:lnTo>
                <a:lnTo>
                  <a:pt x="181" y="216"/>
                </a:lnTo>
                <a:lnTo>
                  <a:pt x="178" y="219"/>
                </a:lnTo>
                <a:lnTo>
                  <a:pt x="178" y="219"/>
                </a:lnTo>
                <a:lnTo>
                  <a:pt x="172" y="219"/>
                </a:lnTo>
                <a:lnTo>
                  <a:pt x="166" y="219"/>
                </a:lnTo>
                <a:lnTo>
                  <a:pt x="163" y="219"/>
                </a:lnTo>
                <a:lnTo>
                  <a:pt x="159" y="216"/>
                </a:lnTo>
                <a:lnTo>
                  <a:pt x="156" y="213"/>
                </a:lnTo>
                <a:lnTo>
                  <a:pt x="147" y="213"/>
                </a:lnTo>
                <a:lnTo>
                  <a:pt x="147" y="216"/>
                </a:lnTo>
                <a:lnTo>
                  <a:pt x="144" y="216"/>
                </a:lnTo>
                <a:lnTo>
                  <a:pt x="141" y="216"/>
                </a:lnTo>
                <a:lnTo>
                  <a:pt x="138" y="219"/>
                </a:lnTo>
                <a:lnTo>
                  <a:pt x="131" y="229"/>
                </a:lnTo>
                <a:lnTo>
                  <a:pt x="128" y="229"/>
                </a:lnTo>
                <a:lnTo>
                  <a:pt x="125" y="229"/>
                </a:lnTo>
                <a:lnTo>
                  <a:pt x="122" y="225"/>
                </a:lnTo>
                <a:lnTo>
                  <a:pt x="116" y="229"/>
                </a:lnTo>
                <a:lnTo>
                  <a:pt x="113" y="225"/>
                </a:lnTo>
                <a:lnTo>
                  <a:pt x="106" y="225"/>
                </a:lnTo>
                <a:lnTo>
                  <a:pt x="103" y="225"/>
                </a:lnTo>
                <a:lnTo>
                  <a:pt x="100" y="222"/>
                </a:lnTo>
                <a:lnTo>
                  <a:pt x="94" y="216"/>
                </a:lnTo>
                <a:lnTo>
                  <a:pt x="88" y="210"/>
                </a:lnTo>
                <a:lnTo>
                  <a:pt x="81" y="207"/>
                </a:lnTo>
                <a:lnTo>
                  <a:pt x="72" y="207"/>
                </a:lnTo>
                <a:lnTo>
                  <a:pt x="69" y="207"/>
                </a:lnTo>
                <a:lnTo>
                  <a:pt x="63" y="210"/>
                </a:lnTo>
                <a:lnTo>
                  <a:pt x="59" y="207"/>
                </a:lnTo>
                <a:lnTo>
                  <a:pt x="56" y="204"/>
                </a:lnTo>
                <a:lnTo>
                  <a:pt x="56" y="191"/>
                </a:lnTo>
                <a:lnTo>
                  <a:pt x="53" y="191"/>
                </a:lnTo>
                <a:lnTo>
                  <a:pt x="50" y="191"/>
                </a:lnTo>
                <a:lnTo>
                  <a:pt x="47" y="188"/>
                </a:lnTo>
                <a:lnTo>
                  <a:pt x="47" y="191"/>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8" name="Freeform 106">
            <a:extLst>
              <a:ext uri="{FF2B5EF4-FFF2-40B4-BE49-F238E27FC236}">
                <a16:creationId xmlns:a16="http://schemas.microsoft.com/office/drawing/2014/main" id="{A33C3AF8-0FFA-0F1B-D757-BDDA8E465DDB}"/>
              </a:ext>
            </a:extLst>
          </p:cNvPr>
          <p:cNvSpPr>
            <a:spLocks/>
          </p:cNvSpPr>
          <p:nvPr userDrawn="1"/>
        </p:nvSpPr>
        <p:spPr bwMode="auto">
          <a:xfrm>
            <a:off x="15432668" y="8235233"/>
            <a:ext cx="415899" cy="365126"/>
          </a:xfrm>
          <a:custGeom>
            <a:avLst/>
            <a:gdLst>
              <a:gd name="T0" fmla="*/ 112 w 131"/>
              <a:gd name="T1" fmla="*/ 109 h 115"/>
              <a:gd name="T2" fmla="*/ 109 w 131"/>
              <a:gd name="T3" fmla="*/ 106 h 115"/>
              <a:gd name="T4" fmla="*/ 106 w 131"/>
              <a:gd name="T5" fmla="*/ 97 h 115"/>
              <a:gd name="T6" fmla="*/ 97 w 131"/>
              <a:gd name="T7" fmla="*/ 90 h 115"/>
              <a:gd name="T8" fmla="*/ 90 w 131"/>
              <a:gd name="T9" fmla="*/ 87 h 115"/>
              <a:gd name="T10" fmla="*/ 84 w 131"/>
              <a:gd name="T11" fmla="*/ 84 h 115"/>
              <a:gd name="T12" fmla="*/ 78 w 131"/>
              <a:gd name="T13" fmla="*/ 81 h 115"/>
              <a:gd name="T14" fmla="*/ 68 w 131"/>
              <a:gd name="T15" fmla="*/ 75 h 115"/>
              <a:gd name="T16" fmla="*/ 59 w 131"/>
              <a:gd name="T17" fmla="*/ 69 h 115"/>
              <a:gd name="T18" fmla="*/ 56 w 131"/>
              <a:gd name="T19" fmla="*/ 72 h 115"/>
              <a:gd name="T20" fmla="*/ 47 w 131"/>
              <a:gd name="T21" fmla="*/ 65 h 115"/>
              <a:gd name="T22" fmla="*/ 43 w 131"/>
              <a:gd name="T23" fmla="*/ 65 h 115"/>
              <a:gd name="T24" fmla="*/ 34 w 131"/>
              <a:gd name="T25" fmla="*/ 69 h 115"/>
              <a:gd name="T26" fmla="*/ 25 w 131"/>
              <a:gd name="T27" fmla="*/ 65 h 115"/>
              <a:gd name="T28" fmla="*/ 22 w 131"/>
              <a:gd name="T29" fmla="*/ 62 h 115"/>
              <a:gd name="T30" fmla="*/ 12 w 131"/>
              <a:gd name="T31" fmla="*/ 75 h 115"/>
              <a:gd name="T32" fmla="*/ 6 w 131"/>
              <a:gd name="T33" fmla="*/ 75 h 115"/>
              <a:gd name="T34" fmla="*/ 3 w 131"/>
              <a:gd name="T35" fmla="*/ 72 h 115"/>
              <a:gd name="T36" fmla="*/ 0 w 131"/>
              <a:gd name="T37" fmla="*/ 59 h 115"/>
              <a:gd name="T38" fmla="*/ 3 w 131"/>
              <a:gd name="T39" fmla="*/ 53 h 115"/>
              <a:gd name="T40" fmla="*/ 6 w 131"/>
              <a:gd name="T41" fmla="*/ 37 h 115"/>
              <a:gd name="T42" fmla="*/ 12 w 131"/>
              <a:gd name="T43" fmla="*/ 31 h 115"/>
              <a:gd name="T44" fmla="*/ 9 w 131"/>
              <a:gd name="T45" fmla="*/ 28 h 115"/>
              <a:gd name="T46" fmla="*/ 9 w 131"/>
              <a:gd name="T47" fmla="*/ 18 h 115"/>
              <a:gd name="T48" fmla="*/ 18 w 131"/>
              <a:gd name="T49" fmla="*/ 15 h 115"/>
              <a:gd name="T50" fmla="*/ 18 w 131"/>
              <a:gd name="T51" fmla="*/ 12 h 115"/>
              <a:gd name="T52" fmla="*/ 22 w 131"/>
              <a:gd name="T53" fmla="*/ 9 h 115"/>
              <a:gd name="T54" fmla="*/ 28 w 131"/>
              <a:gd name="T55" fmla="*/ 9 h 115"/>
              <a:gd name="T56" fmla="*/ 34 w 131"/>
              <a:gd name="T57" fmla="*/ 6 h 115"/>
              <a:gd name="T58" fmla="*/ 37 w 131"/>
              <a:gd name="T59" fmla="*/ 0 h 115"/>
              <a:gd name="T60" fmla="*/ 43 w 131"/>
              <a:gd name="T61" fmla="*/ 3 h 115"/>
              <a:gd name="T62" fmla="*/ 53 w 131"/>
              <a:gd name="T63" fmla="*/ 40 h 115"/>
              <a:gd name="T64" fmla="*/ 56 w 131"/>
              <a:gd name="T65" fmla="*/ 47 h 115"/>
              <a:gd name="T66" fmla="*/ 59 w 131"/>
              <a:gd name="T67" fmla="*/ 47 h 115"/>
              <a:gd name="T68" fmla="*/ 62 w 131"/>
              <a:gd name="T69" fmla="*/ 59 h 115"/>
              <a:gd name="T70" fmla="*/ 65 w 131"/>
              <a:gd name="T71" fmla="*/ 53 h 115"/>
              <a:gd name="T72" fmla="*/ 65 w 131"/>
              <a:gd name="T73" fmla="*/ 50 h 115"/>
              <a:gd name="T74" fmla="*/ 68 w 131"/>
              <a:gd name="T75" fmla="*/ 53 h 115"/>
              <a:gd name="T76" fmla="*/ 72 w 131"/>
              <a:gd name="T77" fmla="*/ 59 h 115"/>
              <a:gd name="T78" fmla="*/ 75 w 131"/>
              <a:gd name="T79" fmla="*/ 62 h 115"/>
              <a:gd name="T80" fmla="*/ 81 w 131"/>
              <a:gd name="T81" fmla="*/ 62 h 115"/>
              <a:gd name="T82" fmla="*/ 87 w 131"/>
              <a:gd name="T83" fmla="*/ 65 h 115"/>
              <a:gd name="T84" fmla="*/ 93 w 131"/>
              <a:gd name="T85" fmla="*/ 69 h 115"/>
              <a:gd name="T86" fmla="*/ 100 w 131"/>
              <a:gd name="T87" fmla="*/ 78 h 115"/>
              <a:gd name="T88" fmla="*/ 109 w 131"/>
              <a:gd name="T89" fmla="*/ 84 h 115"/>
              <a:gd name="T90" fmla="*/ 112 w 131"/>
              <a:gd name="T91" fmla="*/ 87 h 115"/>
              <a:gd name="T92" fmla="*/ 115 w 131"/>
              <a:gd name="T93" fmla="*/ 90 h 115"/>
              <a:gd name="T94" fmla="*/ 118 w 131"/>
              <a:gd name="T95" fmla="*/ 97 h 115"/>
              <a:gd name="T96" fmla="*/ 122 w 131"/>
              <a:gd name="T97" fmla="*/ 103 h 115"/>
              <a:gd name="T98" fmla="*/ 125 w 131"/>
              <a:gd name="T99" fmla="*/ 106 h 115"/>
              <a:gd name="T100" fmla="*/ 128 w 131"/>
              <a:gd name="T101" fmla="*/ 106 h 115"/>
              <a:gd name="T102" fmla="*/ 131 w 131"/>
              <a:gd name="T103" fmla="*/ 109 h 115"/>
              <a:gd name="T104" fmla="*/ 125 w 131"/>
              <a:gd name="T105" fmla="*/ 112 h 115"/>
              <a:gd name="T106" fmla="*/ 118 w 131"/>
              <a:gd name="T10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1" h="115">
                <a:moveTo>
                  <a:pt x="118" y="115"/>
                </a:moveTo>
                <a:lnTo>
                  <a:pt x="112" y="109"/>
                </a:lnTo>
                <a:lnTo>
                  <a:pt x="109" y="109"/>
                </a:lnTo>
                <a:lnTo>
                  <a:pt x="109" y="106"/>
                </a:lnTo>
                <a:lnTo>
                  <a:pt x="109" y="103"/>
                </a:lnTo>
                <a:lnTo>
                  <a:pt x="106" y="97"/>
                </a:lnTo>
                <a:lnTo>
                  <a:pt x="100" y="97"/>
                </a:lnTo>
                <a:lnTo>
                  <a:pt x="97" y="90"/>
                </a:lnTo>
                <a:lnTo>
                  <a:pt x="90" y="87"/>
                </a:lnTo>
                <a:lnTo>
                  <a:pt x="90" y="87"/>
                </a:lnTo>
                <a:lnTo>
                  <a:pt x="84" y="84"/>
                </a:lnTo>
                <a:lnTo>
                  <a:pt x="84" y="84"/>
                </a:lnTo>
                <a:lnTo>
                  <a:pt x="78" y="84"/>
                </a:lnTo>
                <a:lnTo>
                  <a:pt x="78" y="81"/>
                </a:lnTo>
                <a:lnTo>
                  <a:pt x="72" y="75"/>
                </a:lnTo>
                <a:lnTo>
                  <a:pt x="68" y="75"/>
                </a:lnTo>
                <a:lnTo>
                  <a:pt x="65" y="72"/>
                </a:lnTo>
                <a:lnTo>
                  <a:pt x="59" y="69"/>
                </a:lnTo>
                <a:lnTo>
                  <a:pt x="56" y="72"/>
                </a:lnTo>
                <a:lnTo>
                  <a:pt x="56" y="72"/>
                </a:lnTo>
                <a:lnTo>
                  <a:pt x="50" y="65"/>
                </a:lnTo>
                <a:lnTo>
                  <a:pt x="47" y="65"/>
                </a:lnTo>
                <a:lnTo>
                  <a:pt x="47" y="69"/>
                </a:lnTo>
                <a:lnTo>
                  <a:pt x="43" y="65"/>
                </a:lnTo>
                <a:lnTo>
                  <a:pt x="40" y="65"/>
                </a:lnTo>
                <a:lnTo>
                  <a:pt x="34" y="69"/>
                </a:lnTo>
                <a:lnTo>
                  <a:pt x="31" y="69"/>
                </a:lnTo>
                <a:lnTo>
                  <a:pt x="25" y="65"/>
                </a:lnTo>
                <a:lnTo>
                  <a:pt x="22" y="65"/>
                </a:lnTo>
                <a:lnTo>
                  <a:pt x="22" y="62"/>
                </a:lnTo>
                <a:lnTo>
                  <a:pt x="15" y="75"/>
                </a:lnTo>
                <a:lnTo>
                  <a:pt x="12" y="75"/>
                </a:lnTo>
                <a:lnTo>
                  <a:pt x="12" y="75"/>
                </a:lnTo>
                <a:lnTo>
                  <a:pt x="6" y="75"/>
                </a:lnTo>
                <a:lnTo>
                  <a:pt x="3" y="75"/>
                </a:lnTo>
                <a:lnTo>
                  <a:pt x="3" y="72"/>
                </a:lnTo>
                <a:lnTo>
                  <a:pt x="0" y="62"/>
                </a:lnTo>
                <a:lnTo>
                  <a:pt x="0" y="59"/>
                </a:lnTo>
                <a:lnTo>
                  <a:pt x="3" y="56"/>
                </a:lnTo>
                <a:lnTo>
                  <a:pt x="3" y="53"/>
                </a:lnTo>
                <a:lnTo>
                  <a:pt x="6" y="47"/>
                </a:lnTo>
                <a:lnTo>
                  <a:pt x="6" y="37"/>
                </a:lnTo>
                <a:lnTo>
                  <a:pt x="9" y="31"/>
                </a:lnTo>
                <a:lnTo>
                  <a:pt x="12" y="31"/>
                </a:lnTo>
                <a:lnTo>
                  <a:pt x="9" y="28"/>
                </a:lnTo>
                <a:lnTo>
                  <a:pt x="9" y="28"/>
                </a:lnTo>
                <a:lnTo>
                  <a:pt x="9" y="22"/>
                </a:lnTo>
                <a:lnTo>
                  <a:pt x="9" y="18"/>
                </a:lnTo>
                <a:lnTo>
                  <a:pt x="12" y="15"/>
                </a:lnTo>
                <a:lnTo>
                  <a:pt x="18" y="15"/>
                </a:lnTo>
                <a:lnTo>
                  <a:pt x="18" y="15"/>
                </a:lnTo>
                <a:lnTo>
                  <a:pt x="18" y="12"/>
                </a:lnTo>
                <a:lnTo>
                  <a:pt x="18" y="9"/>
                </a:lnTo>
                <a:lnTo>
                  <a:pt x="22" y="9"/>
                </a:lnTo>
                <a:lnTo>
                  <a:pt x="25" y="9"/>
                </a:lnTo>
                <a:lnTo>
                  <a:pt x="28" y="9"/>
                </a:lnTo>
                <a:lnTo>
                  <a:pt x="28" y="6"/>
                </a:lnTo>
                <a:lnTo>
                  <a:pt x="34" y="6"/>
                </a:lnTo>
                <a:lnTo>
                  <a:pt x="37" y="3"/>
                </a:lnTo>
                <a:lnTo>
                  <a:pt x="37" y="0"/>
                </a:lnTo>
                <a:lnTo>
                  <a:pt x="37" y="0"/>
                </a:lnTo>
                <a:lnTo>
                  <a:pt x="43" y="3"/>
                </a:lnTo>
                <a:lnTo>
                  <a:pt x="53" y="25"/>
                </a:lnTo>
                <a:lnTo>
                  <a:pt x="53" y="40"/>
                </a:lnTo>
                <a:lnTo>
                  <a:pt x="56" y="40"/>
                </a:lnTo>
                <a:lnTo>
                  <a:pt x="56" y="47"/>
                </a:lnTo>
                <a:lnTo>
                  <a:pt x="56" y="47"/>
                </a:lnTo>
                <a:lnTo>
                  <a:pt x="59" y="47"/>
                </a:lnTo>
                <a:lnTo>
                  <a:pt x="62" y="53"/>
                </a:lnTo>
                <a:lnTo>
                  <a:pt x="62" y="59"/>
                </a:lnTo>
                <a:lnTo>
                  <a:pt x="65" y="59"/>
                </a:lnTo>
                <a:lnTo>
                  <a:pt x="65" y="53"/>
                </a:lnTo>
                <a:lnTo>
                  <a:pt x="65" y="53"/>
                </a:lnTo>
                <a:lnTo>
                  <a:pt x="65" y="50"/>
                </a:lnTo>
                <a:lnTo>
                  <a:pt x="65" y="50"/>
                </a:lnTo>
                <a:lnTo>
                  <a:pt x="68" y="53"/>
                </a:lnTo>
                <a:lnTo>
                  <a:pt x="68" y="56"/>
                </a:lnTo>
                <a:lnTo>
                  <a:pt x="72" y="59"/>
                </a:lnTo>
                <a:lnTo>
                  <a:pt x="75" y="62"/>
                </a:lnTo>
                <a:lnTo>
                  <a:pt x="75" y="62"/>
                </a:lnTo>
                <a:lnTo>
                  <a:pt x="78" y="62"/>
                </a:lnTo>
                <a:lnTo>
                  <a:pt x="81" y="62"/>
                </a:lnTo>
                <a:lnTo>
                  <a:pt x="81" y="62"/>
                </a:lnTo>
                <a:lnTo>
                  <a:pt x="87" y="65"/>
                </a:lnTo>
                <a:lnTo>
                  <a:pt x="87" y="69"/>
                </a:lnTo>
                <a:lnTo>
                  <a:pt x="93" y="69"/>
                </a:lnTo>
                <a:lnTo>
                  <a:pt x="93" y="72"/>
                </a:lnTo>
                <a:lnTo>
                  <a:pt x="100" y="78"/>
                </a:lnTo>
                <a:lnTo>
                  <a:pt x="103" y="84"/>
                </a:lnTo>
                <a:lnTo>
                  <a:pt x="109" y="84"/>
                </a:lnTo>
                <a:lnTo>
                  <a:pt x="112" y="87"/>
                </a:lnTo>
                <a:lnTo>
                  <a:pt x="112" y="87"/>
                </a:lnTo>
                <a:lnTo>
                  <a:pt x="112" y="87"/>
                </a:lnTo>
                <a:lnTo>
                  <a:pt x="115" y="90"/>
                </a:lnTo>
                <a:lnTo>
                  <a:pt x="118" y="97"/>
                </a:lnTo>
                <a:lnTo>
                  <a:pt x="118" y="97"/>
                </a:lnTo>
                <a:lnTo>
                  <a:pt x="122" y="103"/>
                </a:lnTo>
                <a:lnTo>
                  <a:pt x="122" y="103"/>
                </a:lnTo>
                <a:lnTo>
                  <a:pt x="125" y="106"/>
                </a:lnTo>
                <a:lnTo>
                  <a:pt x="125" y="106"/>
                </a:lnTo>
                <a:lnTo>
                  <a:pt x="128" y="106"/>
                </a:lnTo>
                <a:lnTo>
                  <a:pt x="128" y="106"/>
                </a:lnTo>
                <a:lnTo>
                  <a:pt x="131" y="106"/>
                </a:lnTo>
                <a:lnTo>
                  <a:pt x="131" y="109"/>
                </a:lnTo>
                <a:lnTo>
                  <a:pt x="128" y="112"/>
                </a:lnTo>
                <a:lnTo>
                  <a:pt x="125" y="112"/>
                </a:lnTo>
                <a:lnTo>
                  <a:pt x="122" y="115"/>
                </a:lnTo>
                <a:lnTo>
                  <a:pt x="118" y="115"/>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9" name="Freeform 107">
            <a:extLst>
              <a:ext uri="{FF2B5EF4-FFF2-40B4-BE49-F238E27FC236}">
                <a16:creationId xmlns:a16="http://schemas.microsoft.com/office/drawing/2014/main" id="{6C5E7DDC-1570-0808-97E9-35745D32FDAF}"/>
              </a:ext>
            </a:extLst>
          </p:cNvPr>
          <p:cNvSpPr>
            <a:spLocks/>
          </p:cNvSpPr>
          <p:nvPr userDrawn="1"/>
        </p:nvSpPr>
        <p:spPr bwMode="auto">
          <a:xfrm>
            <a:off x="15769196" y="8581309"/>
            <a:ext cx="98420" cy="111126"/>
          </a:xfrm>
          <a:custGeom>
            <a:avLst/>
            <a:gdLst>
              <a:gd name="T0" fmla="*/ 25 w 31"/>
              <a:gd name="T1" fmla="*/ 31 h 35"/>
              <a:gd name="T2" fmla="*/ 19 w 31"/>
              <a:gd name="T3" fmla="*/ 31 h 35"/>
              <a:gd name="T4" fmla="*/ 16 w 31"/>
              <a:gd name="T5" fmla="*/ 31 h 35"/>
              <a:gd name="T6" fmla="*/ 9 w 31"/>
              <a:gd name="T7" fmla="*/ 35 h 35"/>
              <a:gd name="T8" fmla="*/ 3 w 31"/>
              <a:gd name="T9" fmla="*/ 35 h 35"/>
              <a:gd name="T10" fmla="*/ 0 w 31"/>
              <a:gd name="T11" fmla="*/ 31 h 35"/>
              <a:gd name="T12" fmla="*/ 3 w 31"/>
              <a:gd name="T13" fmla="*/ 28 h 35"/>
              <a:gd name="T14" fmla="*/ 3 w 31"/>
              <a:gd name="T15" fmla="*/ 25 h 35"/>
              <a:gd name="T16" fmla="*/ 6 w 31"/>
              <a:gd name="T17" fmla="*/ 22 h 35"/>
              <a:gd name="T18" fmla="*/ 6 w 31"/>
              <a:gd name="T19" fmla="*/ 16 h 35"/>
              <a:gd name="T20" fmla="*/ 6 w 31"/>
              <a:gd name="T21" fmla="*/ 13 h 35"/>
              <a:gd name="T22" fmla="*/ 9 w 31"/>
              <a:gd name="T23" fmla="*/ 6 h 35"/>
              <a:gd name="T24" fmla="*/ 16 w 31"/>
              <a:gd name="T25" fmla="*/ 6 h 35"/>
              <a:gd name="T26" fmla="*/ 19 w 31"/>
              <a:gd name="T27" fmla="*/ 3 h 35"/>
              <a:gd name="T28" fmla="*/ 22 w 31"/>
              <a:gd name="T29" fmla="*/ 3 h 35"/>
              <a:gd name="T30" fmla="*/ 25 w 31"/>
              <a:gd name="T31" fmla="*/ 0 h 35"/>
              <a:gd name="T32" fmla="*/ 25 w 31"/>
              <a:gd name="T33" fmla="*/ 0 h 35"/>
              <a:gd name="T34" fmla="*/ 25 w 31"/>
              <a:gd name="T35" fmla="*/ 0 h 35"/>
              <a:gd name="T36" fmla="*/ 28 w 31"/>
              <a:gd name="T37" fmla="*/ 3 h 35"/>
              <a:gd name="T38" fmla="*/ 31 w 31"/>
              <a:gd name="T39" fmla="*/ 3 h 35"/>
              <a:gd name="T40" fmla="*/ 31 w 31"/>
              <a:gd name="T41" fmla="*/ 6 h 35"/>
              <a:gd name="T42" fmla="*/ 31 w 31"/>
              <a:gd name="T43" fmla="*/ 13 h 35"/>
              <a:gd name="T44" fmla="*/ 28 w 31"/>
              <a:gd name="T45" fmla="*/ 13 h 35"/>
              <a:gd name="T46" fmla="*/ 25 w 31"/>
              <a:gd name="T47" fmla="*/ 19 h 35"/>
              <a:gd name="T48" fmla="*/ 22 w 31"/>
              <a:gd name="T49" fmla="*/ 19 h 35"/>
              <a:gd name="T50" fmla="*/ 22 w 31"/>
              <a:gd name="T51" fmla="*/ 22 h 35"/>
              <a:gd name="T52" fmla="*/ 16 w 31"/>
              <a:gd name="T53" fmla="*/ 22 h 35"/>
              <a:gd name="T54" fmla="*/ 19 w 31"/>
              <a:gd name="T55" fmla="*/ 22 h 35"/>
              <a:gd name="T56" fmla="*/ 19 w 31"/>
              <a:gd name="T57" fmla="*/ 22 h 35"/>
              <a:gd name="T58" fmla="*/ 22 w 31"/>
              <a:gd name="T59" fmla="*/ 22 h 35"/>
              <a:gd name="T60" fmla="*/ 28 w 31"/>
              <a:gd name="T61" fmla="*/ 22 h 35"/>
              <a:gd name="T62" fmla="*/ 28 w 31"/>
              <a:gd name="T63" fmla="*/ 22 h 35"/>
              <a:gd name="T64" fmla="*/ 25 w 31"/>
              <a:gd name="T65" fmla="*/ 31 h 35"/>
              <a:gd name="T66" fmla="*/ 25 w 31"/>
              <a:gd name="T67"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 h="35">
                <a:moveTo>
                  <a:pt x="25" y="31"/>
                </a:moveTo>
                <a:lnTo>
                  <a:pt x="19" y="31"/>
                </a:lnTo>
                <a:lnTo>
                  <a:pt x="16" y="31"/>
                </a:lnTo>
                <a:lnTo>
                  <a:pt x="9" y="35"/>
                </a:lnTo>
                <a:lnTo>
                  <a:pt x="3" y="35"/>
                </a:lnTo>
                <a:lnTo>
                  <a:pt x="0" y="31"/>
                </a:lnTo>
                <a:lnTo>
                  <a:pt x="3" y="28"/>
                </a:lnTo>
                <a:lnTo>
                  <a:pt x="3" y="25"/>
                </a:lnTo>
                <a:lnTo>
                  <a:pt x="6" y="22"/>
                </a:lnTo>
                <a:lnTo>
                  <a:pt x="6" y="16"/>
                </a:lnTo>
                <a:lnTo>
                  <a:pt x="6" y="13"/>
                </a:lnTo>
                <a:lnTo>
                  <a:pt x="9" y="6"/>
                </a:lnTo>
                <a:lnTo>
                  <a:pt x="16" y="6"/>
                </a:lnTo>
                <a:lnTo>
                  <a:pt x="19" y="3"/>
                </a:lnTo>
                <a:lnTo>
                  <a:pt x="22" y="3"/>
                </a:lnTo>
                <a:lnTo>
                  <a:pt x="25" y="0"/>
                </a:lnTo>
                <a:lnTo>
                  <a:pt x="25" y="0"/>
                </a:lnTo>
                <a:lnTo>
                  <a:pt x="25" y="0"/>
                </a:lnTo>
                <a:lnTo>
                  <a:pt x="28" y="3"/>
                </a:lnTo>
                <a:lnTo>
                  <a:pt x="31" y="3"/>
                </a:lnTo>
                <a:lnTo>
                  <a:pt x="31" y="6"/>
                </a:lnTo>
                <a:lnTo>
                  <a:pt x="31" y="13"/>
                </a:lnTo>
                <a:lnTo>
                  <a:pt x="28" y="13"/>
                </a:lnTo>
                <a:lnTo>
                  <a:pt x="25" y="19"/>
                </a:lnTo>
                <a:lnTo>
                  <a:pt x="22" y="19"/>
                </a:lnTo>
                <a:lnTo>
                  <a:pt x="22" y="22"/>
                </a:lnTo>
                <a:lnTo>
                  <a:pt x="16" y="22"/>
                </a:lnTo>
                <a:lnTo>
                  <a:pt x="19" y="22"/>
                </a:lnTo>
                <a:lnTo>
                  <a:pt x="19" y="22"/>
                </a:lnTo>
                <a:lnTo>
                  <a:pt x="22" y="22"/>
                </a:lnTo>
                <a:lnTo>
                  <a:pt x="28" y="22"/>
                </a:lnTo>
                <a:lnTo>
                  <a:pt x="28" y="22"/>
                </a:lnTo>
                <a:lnTo>
                  <a:pt x="25" y="31"/>
                </a:lnTo>
                <a:lnTo>
                  <a:pt x="25" y="31"/>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0" name="Freeform 108">
            <a:extLst>
              <a:ext uri="{FF2B5EF4-FFF2-40B4-BE49-F238E27FC236}">
                <a16:creationId xmlns:a16="http://schemas.microsoft.com/office/drawing/2014/main" id="{D33FA7C1-8373-6F3E-717F-3BC291EFAC19}"/>
              </a:ext>
            </a:extLst>
          </p:cNvPr>
          <p:cNvSpPr>
            <a:spLocks/>
          </p:cNvSpPr>
          <p:nvPr userDrawn="1"/>
        </p:nvSpPr>
        <p:spPr bwMode="auto">
          <a:xfrm>
            <a:off x="15727923" y="8622583"/>
            <a:ext cx="647660" cy="854078"/>
          </a:xfrm>
          <a:custGeom>
            <a:avLst/>
            <a:gdLst>
              <a:gd name="T0" fmla="*/ 22 w 204"/>
              <a:gd name="T1" fmla="*/ 156 h 269"/>
              <a:gd name="T2" fmla="*/ 38 w 204"/>
              <a:gd name="T3" fmla="*/ 150 h 269"/>
              <a:gd name="T4" fmla="*/ 50 w 204"/>
              <a:gd name="T5" fmla="*/ 140 h 269"/>
              <a:gd name="T6" fmla="*/ 69 w 204"/>
              <a:gd name="T7" fmla="*/ 137 h 269"/>
              <a:gd name="T8" fmla="*/ 116 w 204"/>
              <a:gd name="T9" fmla="*/ 78 h 269"/>
              <a:gd name="T10" fmla="*/ 47 w 204"/>
              <a:gd name="T11" fmla="*/ 53 h 269"/>
              <a:gd name="T12" fmla="*/ 41 w 204"/>
              <a:gd name="T13" fmla="*/ 40 h 269"/>
              <a:gd name="T14" fmla="*/ 38 w 204"/>
              <a:gd name="T15" fmla="*/ 18 h 269"/>
              <a:gd name="T16" fmla="*/ 44 w 204"/>
              <a:gd name="T17" fmla="*/ 12 h 269"/>
              <a:gd name="T18" fmla="*/ 60 w 204"/>
              <a:gd name="T19" fmla="*/ 31 h 269"/>
              <a:gd name="T20" fmla="*/ 75 w 204"/>
              <a:gd name="T21" fmla="*/ 34 h 269"/>
              <a:gd name="T22" fmla="*/ 85 w 204"/>
              <a:gd name="T23" fmla="*/ 28 h 269"/>
              <a:gd name="T24" fmla="*/ 94 w 204"/>
              <a:gd name="T25" fmla="*/ 25 h 269"/>
              <a:gd name="T26" fmla="*/ 107 w 204"/>
              <a:gd name="T27" fmla="*/ 25 h 269"/>
              <a:gd name="T28" fmla="*/ 125 w 204"/>
              <a:gd name="T29" fmla="*/ 18 h 269"/>
              <a:gd name="T30" fmla="*/ 138 w 204"/>
              <a:gd name="T31" fmla="*/ 18 h 269"/>
              <a:gd name="T32" fmla="*/ 154 w 204"/>
              <a:gd name="T33" fmla="*/ 15 h 269"/>
              <a:gd name="T34" fmla="*/ 169 w 204"/>
              <a:gd name="T35" fmla="*/ 12 h 269"/>
              <a:gd name="T36" fmla="*/ 175 w 204"/>
              <a:gd name="T37" fmla="*/ 9 h 269"/>
              <a:gd name="T38" fmla="*/ 185 w 204"/>
              <a:gd name="T39" fmla="*/ 6 h 269"/>
              <a:gd name="T40" fmla="*/ 188 w 204"/>
              <a:gd name="T41" fmla="*/ 0 h 269"/>
              <a:gd name="T42" fmla="*/ 194 w 204"/>
              <a:gd name="T43" fmla="*/ 3 h 269"/>
              <a:gd name="T44" fmla="*/ 200 w 204"/>
              <a:gd name="T45" fmla="*/ 3 h 269"/>
              <a:gd name="T46" fmla="*/ 197 w 204"/>
              <a:gd name="T47" fmla="*/ 12 h 269"/>
              <a:gd name="T48" fmla="*/ 200 w 204"/>
              <a:gd name="T49" fmla="*/ 18 h 269"/>
              <a:gd name="T50" fmla="*/ 197 w 204"/>
              <a:gd name="T51" fmla="*/ 25 h 269"/>
              <a:gd name="T52" fmla="*/ 197 w 204"/>
              <a:gd name="T53" fmla="*/ 34 h 269"/>
              <a:gd name="T54" fmla="*/ 200 w 204"/>
              <a:gd name="T55" fmla="*/ 31 h 269"/>
              <a:gd name="T56" fmla="*/ 200 w 204"/>
              <a:gd name="T57" fmla="*/ 34 h 269"/>
              <a:gd name="T58" fmla="*/ 194 w 204"/>
              <a:gd name="T59" fmla="*/ 40 h 269"/>
              <a:gd name="T60" fmla="*/ 194 w 204"/>
              <a:gd name="T61" fmla="*/ 50 h 269"/>
              <a:gd name="T62" fmla="*/ 182 w 204"/>
              <a:gd name="T63" fmla="*/ 75 h 269"/>
              <a:gd name="T64" fmla="*/ 172 w 204"/>
              <a:gd name="T65" fmla="*/ 81 h 269"/>
              <a:gd name="T66" fmla="*/ 172 w 204"/>
              <a:gd name="T67" fmla="*/ 87 h 269"/>
              <a:gd name="T68" fmla="*/ 154 w 204"/>
              <a:gd name="T69" fmla="*/ 125 h 269"/>
              <a:gd name="T70" fmla="*/ 138 w 204"/>
              <a:gd name="T71" fmla="*/ 153 h 269"/>
              <a:gd name="T72" fmla="*/ 100 w 204"/>
              <a:gd name="T73" fmla="*/ 191 h 269"/>
              <a:gd name="T74" fmla="*/ 79 w 204"/>
              <a:gd name="T75" fmla="*/ 203 h 269"/>
              <a:gd name="T76" fmla="*/ 57 w 204"/>
              <a:gd name="T77" fmla="*/ 222 h 269"/>
              <a:gd name="T78" fmla="*/ 41 w 204"/>
              <a:gd name="T79" fmla="*/ 241 h 269"/>
              <a:gd name="T80" fmla="*/ 32 w 204"/>
              <a:gd name="T81" fmla="*/ 250 h 269"/>
              <a:gd name="T82" fmla="*/ 0 w 204"/>
              <a:gd name="T83" fmla="*/ 256 h 269"/>
              <a:gd name="T84" fmla="*/ 19 w 204"/>
              <a:gd name="T85" fmla="*/ 15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4" h="269">
                <a:moveTo>
                  <a:pt x="19" y="159"/>
                </a:moveTo>
                <a:lnTo>
                  <a:pt x="19" y="159"/>
                </a:lnTo>
                <a:lnTo>
                  <a:pt x="22" y="156"/>
                </a:lnTo>
                <a:lnTo>
                  <a:pt x="29" y="153"/>
                </a:lnTo>
                <a:lnTo>
                  <a:pt x="35" y="153"/>
                </a:lnTo>
                <a:lnTo>
                  <a:pt x="38" y="150"/>
                </a:lnTo>
                <a:lnTo>
                  <a:pt x="44" y="147"/>
                </a:lnTo>
                <a:lnTo>
                  <a:pt x="44" y="144"/>
                </a:lnTo>
                <a:lnTo>
                  <a:pt x="50" y="140"/>
                </a:lnTo>
                <a:lnTo>
                  <a:pt x="54" y="140"/>
                </a:lnTo>
                <a:lnTo>
                  <a:pt x="57" y="137"/>
                </a:lnTo>
                <a:lnTo>
                  <a:pt x="69" y="137"/>
                </a:lnTo>
                <a:lnTo>
                  <a:pt x="82" y="137"/>
                </a:lnTo>
                <a:lnTo>
                  <a:pt x="141" y="78"/>
                </a:lnTo>
                <a:lnTo>
                  <a:pt x="116" y="78"/>
                </a:lnTo>
                <a:lnTo>
                  <a:pt x="60" y="59"/>
                </a:lnTo>
                <a:lnTo>
                  <a:pt x="54" y="56"/>
                </a:lnTo>
                <a:lnTo>
                  <a:pt x="47" y="53"/>
                </a:lnTo>
                <a:lnTo>
                  <a:pt x="44" y="50"/>
                </a:lnTo>
                <a:lnTo>
                  <a:pt x="44" y="43"/>
                </a:lnTo>
                <a:lnTo>
                  <a:pt x="41" y="40"/>
                </a:lnTo>
                <a:lnTo>
                  <a:pt x="38" y="28"/>
                </a:lnTo>
                <a:lnTo>
                  <a:pt x="35" y="22"/>
                </a:lnTo>
                <a:lnTo>
                  <a:pt x="38" y="18"/>
                </a:lnTo>
                <a:lnTo>
                  <a:pt x="41" y="9"/>
                </a:lnTo>
                <a:lnTo>
                  <a:pt x="44" y="12"/>
                </a:lnTo>
                <a:lnTo>
                  <a:pt x="44" y="12"/>
                </a:lnTo>
                <a:lnTo>
                  <a:pt x="57" y="28"/>
                </a:lnTo>
                <a:lnTo>
                  <a:pt x="57" y="28"/>
                </a:lnTo>
                <a:lnTo>
                  <a:pt x="60" y="31"/>
                </a:lnTo>
                <a:lnTo>
                  <a:pt x="63" y="34"/>
                </a:lnTo>
                <a:lnTo>
                  <a:pt x="69" y="34"/>
                </a:lnTo>
                <a:lnTo>
                  <a:pt x="75" y="34"/>
                </a:lnTo>
                <a:lnTo>
                  <a:pt x="75" y="34"/>
                </a:lnTo>
                <a:lnTo>
                  <a:pt x="82" y="31"/>
                </a:lnTo>
                <a:lnTo>
                  <a:pt x="85" y="28"/>
                </a:lnTo>
                <a:lnTo>
                  <a:pt x="91" y="25"/>
                </a:lnTo>
                <a:lnTo>
                  <a:pt x="94" y="25"/>
                </a:lnTo>
                <a:lnTo>
                  <a:pt x="94" y="25"/>
                </a:lnTo>
                <a:lnTo>
                  <a:pt x="100" y="25"/>
                </a:lnTo>
                <a:lnTo>
                  <a:pt x="100" y="25"/>
                </a:lnTo>
                <a:lnTo>
                  <a:pt x="107" y="25"/>
                </a:lnTo>
                <a:lnTo>
                  <a:pt x="110" y="25"/>
                </a:lnTo>
                <a:lnTo>
                  <a:pt x="122" y="18"/>
                </a:lnTo>
                <a:lnTo>
                  <a:pt x="125" y="18"/>
                </a:lnTo>
                <a:lnTo>
                  <a:pt x="132" y="18"/>
                </a:lnTo>
                <a:lnTo>
                  <a:pt x="135" y="18"/>
                </a:lnTo>
                <a:lnTo>
                  <a:pt x="138" y="18"/>
                </a:lnTo>
                <a:lnTo>
                  <a:pt x="144" y="15"/>
                </a:lnTo>
                <a:lnTo>
                  <a:pt x="150" y="15"/>
                </a:lnTo>
                <a:lnTo>
                  <a:pt x="154" y="15"/>
                </a:lnTo>
                <a:lnTo>
                  <a:pt x="154" y="15"/>
                </a:lnTo>
                <a:lnTo>
                  <a:pt x="163" y="15"/>
                </a:lnTo>
                <a:lnTo>
                  <a:pt x="169" y="12"/>
                </a:lnTo>
                <a:lnTo>
                  <a:pt x="172" y="12"/>
                </a:lnTo>
                <a:lnTo>
                  <a:pt x="175" y="12"/>
                </a:lnTo>
                <a:lnTo>
                  <a:pt x="175" y="9"/>
                </a:lnTo>
                <a:lnTo>
                  <a:pt x="182" y="9"/>
                </a:lnTo>
                <a:lnTo>
                  <a:pt x="185" y="6"/>
                </a:lnTo>
                <a:lnTo>
                  <a:pt x="185" y="6"/>
                </a:lnTo>
                <a:lnTo>
                  <a:pt x="188" y="3"/>
                </a:lnTo>
                <a:lnTo>
                  <a:pt x="188" y="3"/>
                </a:lnTo>
                <a:lnTo>
                  <a:pt x="188" y="0"/>
                </a:lnTo>
                <a:lnTo>
                  <a:pt x="191" y="3"/>
                </a:lnTo>
                <a:lnTo>
                  <a:pt x="191" y="0"/>
                </a:lnTo>
                <a:lnTo>
                  <a:pt x="194" y="3"/>
                </a:lnTo>
                <a:lnTo>
                  <a:pt x="197" y="3"/>
                </a:lnTo>
                <a:lnTo>
                  <a:pt x="200" y="3"/>
                </a:lnTo>
                <a:lnTo>
                  <a:pt x="200" y="3"/>
                </a:lnTo>
                <a:lnTo>
                  <a:pt x="200" y="6"/>
                </a:lnTo>
                <a:lnTo>
                  <a:pt x="197" y="9"/>
                </a:lnTo>
                <a:lnTo>
                  <a:pt x="197" y="12"/>
                </a:lnTo>
                <a:lnTo>
                  <a:pt x="197" y="15"/>
                </a:lnTo>
                <a:lnTo>
                  <a:pt x="197" y="18"/>
                </a:lnTo>
                <a:lnTo>
                  <a:pt x="200" y="18"/>
                </a:lnTo>
                <a:lnTo>
                  <a:pt x="200" y="18"/>
                </a:lnTo>
                <a:lnTo>
                  <a:pt x="197" y="22"/>
                </a:lnTo>
                <a:lnTo>
                  <a:pt x="197" y="25"/>
                </a:lnTo>
                <a:lnTo>
                  <a:pt x="197" y="28"/>
                </a:lnTo>
                <a:lnTo>
                  <a:pt x="200" y="31"/>
                </a:lnTo>
                <a:lnTo>
                  <a:pt x="197" y="34"/>
                </a:lnTo>
                <a:lnTo>
                  <a:pt x="200" y="34"/>
                </a:lnTo>
                <a:lnTo>
                  <a:pt x="200" y="31"/>
                </a:lnTo>
                <a:lnTo>
                  <a:pt x="200" y="31"/>
                </a:lnTo>
                <a:lnTo>
                  <a:pt x="204" y="34"/>
                </a:lnTo>
                <a:lnTo>
                  <a:pt x="200" y="34"/>
                </a:lnTo>
                <a:lnTo>
                  <a:pt x="200" y="34"/>
                </a:lnTo>
                <a:lnTo>
                  <a:pt x="197" y="34"/>
                </a:lnTo>
                <a:lnTo>
                  <a:pt x="197" y="34"/>
                </a:lnTo>
                <a:lnTo>
                  <a:pt x="194" y="40"/>
                </a:lnTo>
                <a:lnTo>
                  <a:pt x="194" y="43"/>
                </a:lnTo>
                <a:lnTo>
                  <a:pt x="194" y="47"/>
                </a:lnTo>
                <a:lnTo>
                  <a:pt x="194" y="50"/>
                </a:lnTo>
                <a:lnTo>
                  <a:pt x="194" y="53"/>
                </a:lnTo>
                <a:lnTo>
                  <a:pt x="188" y="62"/>
                </a:lnTo>
                <a:lnTo>
                  <a:pt x="182" y="75"/>
                </a:lnTo>
                <a:lnTo>
                  <a:pt x="179" y="78"/>
                </a:lnTo>
                <a:lnTo>
                  <a:pt x="179" y="78"/>
                </a:lnTo>
                <a:lnTo>
                  <a:pt x="172" y="81"/>
                </a:lnTo>
                <a:lnTo>
                  <a:pt x="172" y="84"/>
                </a:lnTo>
                <a:lnTo>
                  <a:pt x="175" y="87"/>
                </a:lnTo>
                <a:lnTo>
                  <a:pt x="172" y="87"/>
                </a:lnTo>
                <a:lnTo>
                  <a:pt x="160" y="109"/>
                </a:lnTo>
                <a:lnTo>
                  <a:pt x="160" y="115"/>
                </a:lnTo>
                <a:lnTo>
                  <a:pt x="154" y="125"/>
                </a:lnTo>
                <a:lnTo>
                  <a:pt x="154" y="128"/>
                </a:lnTo>
                <a:lnTo>
                  <a:pt x="141" y="147"/>
                </a:lnTo>
                <a:lnTo>
                  <a:pt x="138" y="153"/>
                </a:lnTo>
                <a:lnTo>
                  <a:pt x="132" y="159"/>
                </a:lnTo>
                <a:lnTo>
                  <a:pt x="122" y="172"/>
                </a:lnTo>
                <a:lnTo>
                  <a:pt x="100" y="191"/>
                </a:lnTo>
                <a:lnTo>
                  <a:pt x="91" y="197"/>
                </a:lnTo>
                <a:lnTo>
                  <a:pt x="85" y="200"/>
                </a:lnTo>
                <a:lnTo>
                  <a:pt x="79" y="203"/>
                </a:lnTo>
                <a:lnTo>
                  <a:pt x="72" y="209"/>
                </a:lnTo>
                <a:lnTo>
                  <a:pt x="60" y="222"/>
                </a:lnTo>
                <a:lnTo>
                  <a:pt x="57" y="222"/>
                </a:lnTo>
                <a:lnTo>
                  <a:pt x="44" y="234"/>
                </a:lnTo>
                <a:lnTo>
                  <a:pt x="44" y="237"/>
                </a:lnTo>
                <a:lnTo>
                  <a:pt x="41" y="241"/>
                </a:lnTo>
                <a:lnTo>
                  <a:pt x="38" y="241"/>
                </a:lnTo>
                <a:lnTo>
                  <a:pt x="32" y="244"/>
                </a:lnTo>
                <a:lnTo>
                  <a:pt x="32" y="250"/>
                </a:lnTo>
                <a:lnTo>
                  <a:pt x="16" y="266"/>
                </a:lnTo>
                <a:lnTo>
                  <a:pt x="16" y="269"/>
                </a:lnTo>
                <a:lnTo>
                  <a:pt x="0" y="256"/>
                </a:lnTo>
                <a:lnTo>
                  <a:pt x="0" y="178"/>
                </a:lnTo>
                <a:lnTo>
                  <a:pt x="19" y="159"/>
                </a:lnTo>
                <a:lnTo>
                  <a:pt x="19" y="15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1" name="Freeform 109">
            <a:extLst>
              <a:ext uri="{FF2B5EF4-FFF2-40B4-BE49-F238E27FC236}">
                <a16:creationId xmlns:a16="http://schemas.microsoft.com/office/drawing/2014/main" id="{03582BF7-9EC8-C967-E3A8-F7D8EE4EBBC9}"/>
              </a:ext>
            </a:extLst>
          </p:cNvPr>
          <p:cNvSpPr>
            <a:spLocks noEditPoints="1"/>
          </p:cNvSpPr>
          <p:nvPr userDrawn="1"/>
        </p:nvSpPr>
        <p:spPr bwMode="auto">
          <a:xfrm>
            <a:off x="15134240" y="9028982"/>
            <a:ext cx="654007" cy="635000"/>
          </a:xfrm>
          <a:custGeom>
            <a:avLst/>
            <a:gdLst>
              <a:gd name="T0" fmla="*/ 53 w 206"/>
              <a:gd name="T1" fmla="*/ 22 h 200"/>
              <a:gd name="T2" fmla="*/ 56 w 206"/>
              <a:gd name="T3" fmla="*/ 19 h 200"/>
              <a:gd name="T4" fmla="*/ 62 w 206"/>
              <a:gd name="T5" fmla="*/ 16 h 200"/>
              <a:gd name="T6" fmla="*/ 75 w 206"/>
              <a:gd name="T7" fmla="*/ 0 h 200"/>
              <a:gd name="T8" fmla="*/ 81 w 206"/>
              <a:gd name="T9" fmla="*/ 3 h 200"/>
              <a:gd name="T10" fmla="*/ 84 w 206"/>
              <a:gd name="T11" fmla="*/ 16 h 200"/>
              <a:gd name="T12" fmla="*/ 91 w 206"/>
              <a:gd name="T13" fmla="*/ 22 h 200"/>
              <a:gd name="T14" fmla="*/ 100 w 206"/>
              <a:gd name="T15" fmla="*/ 19 h 200"/>
              <a:gd name="T16" fmla="*/ 116 w 206"/>
              <a:gd name="T17" fmla="*/ 22 h 200"/>
              <a:gd name="T18" fmla="*/ 128 w 206"/>
              <a:gd name="T19" fmla="*/ 34 h 200"/>
              <a:gd name="T20" fmla="*/ 134 w 206"/>
              <a:gd name="T21" fmla="*/ 37 h 200"/>
              <a:gd name="T22" fmla="*/ 144 w 206"/>
              <a:gd name="T23" fmla="*/ 41 h 200"/>
              <a:gd name="T24" fmla="*/ 153 w 206"/>
              <a:gd name="T25" fmla="*/ 41 h 200"/>
              <a:gd name="T26" fmla="*/ 159 w 206"/>
              <a:gd name="T27" fmla="*/ 41 h 200"/>
              <a:gd name="T28" fmla="*/ 169 w 206"/>
              <a:gd name="T29" fmla="*/ 28 h 200"/>
              <a:gd name="T30" fmla="*/ 175 w 206"/>
              <a:gd name="T31" fmla="*/ 28 h 200"/>
              <a:gd name="T32" fmla="*/ 184 w 206"/>
              <a:gd name="T33" fmla="*/ 25 h 200"/>
              <a:gd name="T34" fmla="*/ 191 w 206"/>
              <a:gd name="T35" fmla="*/ 31 h 200"/>
              <a:gd name="T36" fmla="*/ 200 w 206"/>
              <a:gd name="T37" fmla="*/ 31 h 200"/>
              <a:gd name="T38" fmla="*/ 187 w 206"/>
              <a:gd name="T39" fmla="*/ 50 h 200"/>
              <a:gd name="T40" fmla="*/ 203 w 206"/>
              <a:gd name="T41" fmla="*/ 141 h 200"/>
              <a:gd name="T42" fmla="*/ 194 w 206"/>
              <a:gd name="T43" fmla="*/ 147 h 200"/>
              <a:gd name="T44" fmla="*/ 191 w 206"/>
              <a:gd name="T45" fmla="*/ 150 h 200"/>
              <a:gd name="T46" fmla="*/ 184 w 206"/>
              <a:gd name="T47" fmla="*/ 156 h 200"/>
              <a:gd name="T48" fmla="*/ 175 w 206"/>
              <a:gd name="T49" fmla="*/ 159 h 200"/>
              <a:gd name="T50" fmla="*/ 175 w 206"/>
              <a:gd name="T51" fmla="*/ 163 h 200"/>
              <a:gd name="T52" fmla="*/ 172 w 206"/>
              <a:gd name="T53" fmla="*/ 169 h 200"/>
              <a:gd name="T54" fmla="*/ 169 w 206"/>
              <a:gd name="T55" fmla="*/ 175 h 200"/>
              <a:gd name="T56" fmla="*/ 166 w 206"/>
              <a:gd name="T57" fmla="*/ 181 h 200"/>
              <a:gd name="T58" fmla="*/ 156 w 206"/>
              <a:gd name="T59" fmla="*/ 200 h 200"/>
              <a:gd name="T60" fmla="*/ 150 w 206"/>
              <a:gd name="T61" fmla="*/ 200 h 200"/>
              <a:gd name="T62" fmla="*/ 125 w 206"/>
              <a:gd name="T63" fmla="*/ 181 h 200"/>
              <a:gd name="T64" fmla="*/ 125 w 206"/>
              <a:gd name="T65" fmla="*/ 178 h 200"/>
              <a:gd name="T66" fmla="*/ 47 w 206"/>
              <a:gd name="T67" fmla="*/ 128 h 200"/>
              <a:gd name="T68" fmla="*/ 47 w 206"/>
              <a:gd name="T69" fmla="*/ 109 h 200"/>
              <a:gd name="T70" fmla="*/ 53 w 206"/>
              <a:gd name="T71" fmla="*/ 100 h 200"/>
              <a:gd name="T72" fmla="*/ 56 w 206"/>
              <a:gd name="T73" fmla="*/ 94 h 200"/>
              <a:gd name="T74" fmla="*/ 62 w 206"/>
              <a:gd name="T75" fmla="*/ 88 h 200"/>
              <a:gd name="T76" fmla="*/ 69 w 206"/>
              <a:gd name="T77" fmla="*/ 84 h 200"/>
              <a:gd name="T78" fmla="*/ 69 w 206"/>
              <a:gd name="T79" fmla="*/ 78 h 200"/>
              <a:gd name="T80" fmla="*/ 75 w 206"/>
              <a:gd name="T81" fmla="*/ 69 h 200"/>
              <a:gd name="T82" fmla="*/ 69 w 206"/>
              <a:gd name="T83" fmla="*/ 63 h 200"/>
              <a:gd name="T84" fmla="*/ 69 w 206"/>
              <a:gd name="T85" fmla="*/ 59 h 200"/>
              <a:gd name="T86" fmla="*/ 65 w 206"/>
              <a:gd name="T87" fmla="*/ 50 h 200"/>
              <a:gd name="T88" fmla="*/ 59 w 206"/>
              <a:gd name="T89" fmla="*/ 44 h 200"/>
              <a:gd name="T90" fmla="*/ 56 w 206"/>
              <a:gd name="T91" fmla="*/ 37 h 200"/>
              <a:gd name="T92" fmla="*/ 53 w 206"/>
              <a:gd name="T93" fmla="*/ 34 h 200"/>
              <a:gd name="T94" fmla="*/ 50 w 206"/>
              <a:gd name="T95" fmla="*/ 25 h 200"/>
              <a:gd name="T96" fmla="*/ 50 w 206"/>
              <a:gd name="T97" fmla="*/ 25 h 200"/>
              <a:gd name="T98" fmla="*/ 0 w 206"/>
              <a:gd name="T99" fmla="*/ 131 h 200"/>
              <a:gd name="T100" fmla="*/ 15 w 206"/>
              <a:gd name="T101" fmla="*/ 131 h 200"/>
              <a:gd name="T102" fmla="*/ 0 w 206"/>
              <a:gd name="T103" fmla="*/ 13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6" h="200">
                <a:moveTo>
                  <a:pt x="50" y="25"/>
                </a:moveTo>
                <a:lnTo>
                  <a:pt x="53" y="22"/>
                </a:lnTo>
                <a:lnTo>
                  <a:pt x="56" y="22"/>
                </a:lnTo>
                <a:lnTo>
                  <a:pt x="56" y="19"/>
                </a:lnTo>
                <a:lnTo>
                  <a:pt x="59" y="16"/>
                </a:lnTo>
                <a:lnTo>
                  <a:pt x="62" y="16"/>
                </a:lnTo>
                <a:lnTo>
                  <a:pt x="69" y="9"/>
                </a:lnTo>
                <a:lnTo>
                  <a:pt x="75" y="0"/>
                </a:lnTo>
                <a:lnTo>
                  <a:pt x="78" y="3"/>
                </a:lnTo>
                <a:lnTo>
                  <a:pt x="81" y="3"/>
                </a:lnTo>
                <a:lnTo>
                  <a:pt x="84" y="3"/>
                </a:lnTo>
                <a:lnTo>
                  <a:pt x="84" y="16"/>
                </a:lnTo>
                <a:lnTo>
                  <a:pt x="87" y="19"/>
                </a:lnTo>
                <a:lnTo>
                  <a:pt x="91" y="22"/>
                </a:lnTo>
                <a:lnTo>
                  <a:pt x="97" y="19"/>
                </a:lnTo>
                <a:lnTo>
                  <a:pt x="100" y="19"/>
                </a:lnTo>
                <a:lnTo>
                  <a:pt x="109" y="19"/>
                </a:lnTo>
                <a:lnTo>
                  <a:pt x="116" y="22"/>
                </a:lnTo>
                <a:lnTo>
                  <a:pt x="122" y="28"/>
                </a:lnTo>
                <a:lnTo>
                  <a:pt x="128" y="34"/>
                </a:lnTo>
                <a:lnTo>
                  <a:pt x="131" y="37"/>
                </a:lnTo>
                <a:lnTo>
                  <a:pt x="134" y="37"/>
                </a:lnTo>
                <a:lnTo>
                  <a:pt x="141" y="37"/>
                </a:lnTo>
                <a:lnTo>
                  <a:pt x="144" y="41"/>
                </a:lnTo>
                <a:lnTo>
                  <a:pt x="150" y="37"/>
                </a:lnTo>
                <a:lnTo>
                  <a:pt x="153" y="41"/>
                </a:lnTo>
                <a:lnTo>
                  <a:pt x="156" y="41"/>
                </a:lnTo>
                <a:lnTo>
                  <a:pt x="159" y="41"/>
                </a:lnTo>
                <a:lnTo>
                  <a:pt x="166" y="31"/>
                </a:lnTo>
                <a:lnTo>
                  <a:pt x="169" y="28"/>
                </a:lnTo>
                <a:lnTo>
                  <a:pt x="172" y="28"/>
                </a:lnTo>
                <a:lnTo>
                  <a:pt x="175" y="28"/>
                </a:lnTo>
                <a:lnTo>
                  <a:pt x="175" y="25"/>
                </a:lnTo>
                <a:lnTo>
                  <a:pt x="184" y="25"/>
                </a:lnTo>
                <a:lnTo>
                  <a:pt x="187" y="28"/>
                </a:lnTo>
                <a:lnTo>
                  <a:pt x="191" y="31"/>
                </a:lnTo>
                <a:lnTo>
                  <a:pt x="194" y="31"/>
                </a:lnTo>
                <a:lnTo>
                  <a:pt x="200" y="31"/>
                </a:lnTo>
                <a:lnTo>
                  <a:pt x="206" y="31"/>
                </a:lnTo>
                <a:lnTo>
                  <a:pt x="187" y="50"/>
                </a:lnTo>
                <a:lnTo>
                  <a:pt x="187" y="128"/>
                </a:lnTo>
                <a:lnTo>
                  <a:pt x="203" y="141"/>
                </a:lnTo>
                <a:lnTo>
                  <a:pt x="203" y="141"/>
                </a:lnTo>
                <a:lnTo>
                  <a:pt x="194" y="147"/>
                </a:lnTo>
                <a:lnTo>
                  <a:pt x="194" y="150"/>
                </a:lnTo>
                <a:lnTo>
                  <a:pt x="191" y="150"/>
                </a:lnTo>
                <a:lnTo>
                  <a:pt x="194" y="153"/>
                </a:lnTo>
                <a:lnTo>
                  <a:pt x="184" y="156"/>
                </a:lnTo>
                <a:lnTo>
                  <a:pt x="181" y="159"/>
                </a:lnTo>
                <a:lnTo>
                  <a:pt x="175" y="159"/>
                </a:lnTo>
                <a:lnTo>
                  <a:pt x="175" y="163"/>
                </a:lnTo>
                <a:lnTo>
                  <a:pt x="175" y="163"/>
                </a:lnTo>
                <a:lnTo>
                  <a:pt x="172" y="166"/>
                </a:lnTo>
                <a:lnTo>
                  <a:pt x="172" y="169"/>
                </a:lnTo>
                <a:lnTo>
                  <a:pt x="172" y="169"/>
                </a:lnTo>
                <a:lnTo>
                  <a:pt x="169" y="175"/>
                </a:lnTo>
                <a:lnTo>
                  <a:pt x="166" y="178"/>
                </a:lnTo>
                <a:lnTo>
                  <a:pt x="166" y="181"/>
                </a:lnTo>
                <a:lnTo>
                  <a:pt x="162" y="188"/>
                </a:lnTo>
                <a:lnTo>
                  <a:pt x="156" y="200"/>
                </a:lnTo>
                <a:lnTo>
                  <a:pt x="150" y="200"/>
                </a:lnTo>
                <a:lnTo>
                  <a:pt x="150" y="200"/>
                </a:lnTo>
                <a:lnTo>
                  <a:pt x="125" y="185"/>
                </a:lnTo>
                <a:lnTo>
                  <a:pt x="125" y="181"/>
                </a:lnTo>
                <a:lnTo>
                  <a:pt x="122" y="178"/>
                </a:lnTo>
                <a:lnTo>
                  <a:pt x="125" y="178"/>
                </a:lnTo>
                <a:lnTo>
                  <a:pt x="119" y="172"/>
                </a:lnTo>
                <a:lnTo>
                  <a:pt x="47" y="128"/>
                </a:lnTo>
                <a:lnTo>
                  <a:pt x="44" y="128"/>
                </a:lnTo>
                <a:lnTo>
                  <a:pt x="47" y="109"/>
                </a:lnTo>
                <a:lnTo>
                  <a:pt x="47" y="103"/>
                </a:lnTo>
                <a:lnTo>
                  <a:pt x="53" y="100"/>
                </a:lnTo>
                <a:lnTo>
                  <a:pt x="53" y="97"/>
                </a:lnTo>
                <a:lnTo>
                  <a:pt x="56" y="94"/>
                </a:lnTo>
                <a:lnTo>
                  <a:pt x="59" y="91"/>
                </a:lnTo>
                <a:lnTo>
                  <a:pt x="62" y="88"/>
                </a:lnTo>
                <a:lnTo>
                  <a:pt x="59" y="84"/>
                </a:lnTo>
                <a:lnTo>
                  <a:pt x="69" y="84"/>
                </a:lnTo>
                <a:lnTo>
                  <a:pt x="69" y="81"/>
                </a:lnTo>
                <a:lnTo>
                  <a:pt x="69" y="78"/>
                </a:lnTo>
                <a:lnTo>
                  <a:pt x="75" y="72"/>
                </a:lnTo>
                <a:lnTo>
                  <a:pt x="75" y="69"/>
                </a:lnTo>
                <a:lnTo>
                  <a:pt x="72" y="66"/>
                </a:lnTo>
                <a:lnTo>
                  <a:pt x="69" y="63"/>
                </a:lnTo>
                <a:lnTo>
                  <a:pt x="72" y="59"/>
                </a:lnTo>
                <a:lnTo>
                  <a:pt x="69" y="59"/>
                </a:lnTo>
                <a:lnTo>
                  <a:pt x="65" y="56"/>
                </a:lnTo>
                <a:lnTo>
                  <a:pt x="65" y="50"/>
                </a:lnTo>
                <a:lnTo>
                  <a:pt x="59" y="47"/>
                </a:lnTo>
                <a:lnTo>
                  <a:pt x="59" y="44"/>
                </a:lnTo>
                <a:lnTo>
                  <a:pt x="59" y="37"/>
                </a:lnTo>
                <a:lnTo>
                  <a:pt x="56" y="37"/>
                </a:lnTo>
                <a:lnTo>
                  <a:pt x="56" y="34"/>
                </a:lnTo>
                <a:lnTo>
                  <a:pt x="53" y="34"/>
                </a:lnTo>
                <a:lnTo>
                  <a:pt x="53" y="28"/>
                </a:lnTo>
                <a:lnTo>
                  <a:pt x="50" y="25"/>
                </a:lnTo>
                <a:lnTo>
                  <a:pt x="50" y="25"/>
                </a:lnTo>
                <a:lnTo>
                  <a:pt x="50" y="25"/>
                </a:lnTo>
                <a:lnTo>
                  <a:pt x="50" y="25"/>
                </a:lnTo>
                <a:close/>
                <a:moveTo>
                  <a:pt x="0" y="131"/>
                </a:moveTo>
                <a:lnTo>
                  <a:pt x="6" y="131"/>
                </a:lnTo>
                <a:lnTo>
                  <a:pt x="15" y="131"/>
                </a:lnTo>
                <a:lnTo>
                  <a:pt x="0" y="131"/>
                </a:lnTo>
                <a:lnTo>
                  <a:pt x="0" y="131"/>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2" name="Freeform 110">
            <a:extLst>
              <a:ext uri="{FF2B5EF4-FFF2-40B4-BE49-F238E27FC236}">
                <a16:creationId xmlns:a16="http://schemas.microsoft.com/office/drawing/2014/main" id="{E0EBD3E9-9003-52B9-FA3B-D9676863D9F0}"/>
              </a:ext>
            </a:extLst>
          </p:cNvPr>
          <p:cNvSpPr>
            <a:spLocks/>
          </p:cNvSpPr>
          <p:nvPr userDrawn="1"/>
        </p:nvSpPr>
        <p:spPr bwMode="auto">
          <a:xfrm>
            <a:off x="15004070" y="9108358"/>
            <a:ext cx="368278" cy="358776"/>
          </a:xfrm>
          <a:custGeom>
            <a:avLst/>
            <a:gdLst>
              <a:gd name="T0" fmla="*/ 88 w 116"/>
              <a:gd name="T1" fmla="*/ 78 h 113"/>
              <a:gd name="T2" fmla="*/ 94 w 116"/>
              <a:gd name="T3" fmla="*/ 72 h 113"/>
              <a:gd name="T4" fmla="*/ 100 w 116"/>
              <a:gd name="T5" fmla="*/ 66 h 113"/>
              <a:gd name="T6" fmla="*/ 100 w 116"/>
              <a:gd name="T7" fmla="*/ 59 h 113"/>
              <a:gd name="T8" fmla="*/ 110 w 116"/>
              <a:gd name="T9" fmla="*/ 56 h 113"/>
              <a:gd name="T10" fmla="*/ 116 w 116"/>
              <a:gd name="T11" fmla="*/ 47 h 113"/>
              <a:gd name="T12" fmla="*/ 113 w 116"/>
              <a:gd name="T13" fmla="*/ 41 h 113"/>
              <a:gd name="T14" fmla="*/ 113 w 116"/>
              <a:gd name="T15" fmla="*/ 34 h 113"/>
              <a:gd name="T16" fmla="*/ 106 w 116"/>
              <a:gd name="T17" fmla="*/ 31 h 113"/>
              <a:gd name="T18" fmla="*/ 100 w 116"/>
              <a:gd name="T19" fmla="*/ 22 h 113"/>
              <a:gd name="T20" fmla="*/ 100 w 116"/>
              <a:gd name="T21" fmla="*/ 12 h 113"/>
              <a:gd name="T22" fmla="*/ 97 w 116"/>
              <a:gd name="T23" fmla="*/ 9 h 113"/>
              <a:gd name="T24" fmla="*/ 94 w 116"/>
              <a:gd name="T25" fmla="*/ 3 h 113"/>
              <a:gd name="T26" fmla="*/ 88 w 116"/>
              <a:gd name="T27" fmla="*/ 3 h 113"/>
              <a:gd name="T28" fmla="*/ 81 w 116"/>
              <a:gd name="T29" fmla="*/ 9 h 113"/>
              <a:gd name="T30" fmla="*/ 69 w 116"/>
              <a:gd name="T31" fmla="*/ 9 h 113"/>
              <a:gd name="T32" fmla="*/ 63 w 116"/>
              <a:gd name="T33" fmla="*/ 9 h 113"/>
              <a:gd name="T34" fmla="*/ 56 w 116"/>
              <a:gd name="T35" fmla="*/ 9 h 113"/>
              <a:gd name="T36" fmla="*/ 56 w 116"/>
              <a:gd name="T37" fmla="*/ 16 h 113"/>
              <a:gd name="T38" fmla="*/ 47 w 116"/>
              <a:gd name="T39" fmla="*/ 16 h 113"/>
              <a:gd name="T40" fmla="*/ 44 w 116"/>
              <a:gd name="T41" fmla="*/ 9 h 113"/>
              <a:gd name="T42" fmla="*/ 38 w 116"/>
              <a:gd name="T43" fmla="*/ 9 h 113"/>
              <a:gd name="T44" fmla="*/ 31 w 116"/>
              <a:gd name="T45" fmla="*/ 9 h 113"/>
              <a:gd name="T46" fmla="*/ 31 w 116"/>
              <a:gd name="T47" fmla="*/ 16 h 113"/>
              <a:gd name="T48" fmla="*/ 31 w 116"/>
              <a:gd name="T49" fmla="*/ 16 h 113"/>
              <a:gd name="T50" fmla="*/ 28 w 116"/>
              <a:gd name="T51" fmla="*/ 22 h 113"/>
              <a:gd name="T52" fmla="*/ 25 w 116"/>
              <a:gd name="T53" fmla="*/ 34 h 113"/>
              <a:gd name="T54" fmla="*/ 28 w 116"/>
              <a:gd name="T55" fmla="*/ 41 h 113"/>
              <a:gd name="T56" fmla="*/ 31 w 116"/>
              <a:gd name="T57" fmla="*/ 47 h 113"/>
              <a:gd name="T58" fmla="*/ 22 w 116"/>
              <a:gd name="T59" fmla="*/ 63 h 113"/>
              <a:gd name="T60" fmla="*/ 13 w 116"/>
              <a:gd name="T61" fmla="*/ 72 h 113"/>
              <a:gd name="T62" fmla="*/ 3 w 116"/>
              <a:gd name="T63" fmla="*/ 88 h 113"/>
              <a:gd name="T64" fmla="*/ 3 w 116"/>
              <a:gd name="T65" fmla="*/ 100 h 113"/>
              <a:gd name="T66" fmla="*/ 0 w 116"/>
              <a:gd name="T67" fmla="*/ 113 h 113"/>
              <a:gd name="T68" fmla="*/ 0 w 116"/>
              <a:gd name="T69" fmla="*/ 113 h 113"/>
              <a:gd name="T70" fmla="*/ 10 w 116"/>
              <a:gd name="T71" fmla="*/ 109 h 113"/>
              <a:gd name="T72" fmla="*/ 13 w 116"/>
              <a:gd name="T73" fmla="*/ 113 h 113"/>
              <a:gd name="T74" fmla="*/ 16 w 116"/>
              <a:gd name="T75" fmla="*/ 113 h 113"/>
              <a:gd name="T76" fmla="*/ 19 w 116"/>
              <a:gd name="T77" fmla="*/ 109 h 113"/>
              <a:gd name="T78" fmla="*/ 22 w 116"/>
              <a:gd name="T79" fmla="*/ 106 h 113"/>
              <a:gd name="T80" fmla="*/ 25 w 116"/>
              <a:gd name="T81" fmla="*/ 106 h 113"/>
              <a:gd name="T82" fmla="*/ 41 w 116"/>
              <a:gd name="T83" fmla="*/ 106 h 113"/>
              <a:gd name="T84" fmla="*/ 85 w 116"/>
              <a:gd name="T85" fmla="*/ 10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6" h="113">
                <a:moveTo>
                  <a:pt x="88" y="84"/>
                </a:moveTo>
                <a:lnTo>
                  <a:pt x="88" y="78"/>
                </a:lnTo>
                <a:lnTo>
                  <a:pt x="94" y="75"/>
                </a:lnTo>
                <a:lnTo>
                  <a:pt x="94" y="72"/>
                </a:lnTo>
                <a:lnTo>
                  <a:pt x="97" y="69"/>
                </a:lnTo>
                <a:lnTo>
                  <a:pt x="100" y="66"/>
                </a:lnTo>
                <a:lnTo>
                  <a:pt x="103" y="63"/>
                </a:lnTo>
                <a:lnTo>
                  <a:pt x="100" y="59"/>
                </a:lnTo>
                <a:lnTo>
                  <a:pt x="110" y="59"/>
                </a:lnTo>
                <a:lnTo>
                  <a:pt x="110" y="56"/>
                </a:lnTo>
                <a:lnTo>
                  <a:pt x="110" y="53"/>
                </a:lnTo>
                <a:lnTo>
                  <a:pt x="116" y="47"/>
                </a:lnTo>
                <a:lnTo>
                  <a:pt x="116" y="44"/>
                </a:lnTo>
                <a:lnTo>
                  <a:pt x="113" y="41"/>
                </a:lnTo>
                <a:lnTo>
                  <a:pt x="110" y="38"/>
                </a:lnTo>
                <a:lnTo>
                  <a:pt x="113" y="34"/>
                </a:lnTo>
                <a:lnTo>
                  <a:pt x="110" y="34"/>
                </a:lnTo>
                <a:lnTo>
                  <a:pt x="106" y="31"/>
                </a:lnTo>
                <a:lnTo>
                  <a:pt x="106" y="25"/>
                </a:lnTo>
                <a:lnTo>
                  <a:pt x="100" y="22"/>
                </a:lnTo>
                <a:lnTo>
                  <a:pt x="100" y="19"/>
                </a:lnTo>
                <a:lnTo>
                  <a:pt x="100" y="12"/>
                </a:lnTo>
                <a:lnTo>
                  <a:pt x="97" y="12"/>
                </a:lnTo>
                <a:lnTo>
                  <a:pt x="97" y="9"/>
                </a:lnTo>
                <a:lnTo>
                  <a:pt x="94" y="9"/>
                </a:lnTo>
                <a:lnTo>
                  <a:pt x="94" y="3"/>
                </a:lnTo>
                <a:lnTo>
                  <a:pt x="91" y="0"/>
                </a:lnTo>
                <a:lnTo>
                  <a:pt x="88" y="3"/>
                </a:lnTo>
                <a:lnTo>
                  <a:pt x="85" y="6"/>
                </a:lnTo>
                <a:lnTo>
                  <a:pt x="81" y="9"/>
                </a:lnTo>
                <a:lnTo>
                  <a:pt x="75" y="9"/>
                </a:lnTo>
                <a:lnTo>
                  <a:pt x="69" y="9"/>
                </a:lnTo>
                <a:lnTo>
                  <a:pt x="66" y="9"/>
                </a:lnTo>
                <a:lnTo>
                  <a:pt x="63" y="9"/>
                </a:lnTo>
                <a:lnTo>
                  <a:pt x="60" y="12"/>
                </a:lnTo>
                <a:lnTo>
                  <a:pt x="56" y="9"/>
                </a:lnTo>
                <a:lnTo>
                  <a:pt x="56" y="12"/>
                </a:lnTo>
                <a:lnTo>
                  <a:pt x="56" y="16"/>
                </a:lnTo>
                <a:lnTo>
                  <a:pt x="53" y="16"/>
                </a:lnTo>
                <a:lnTo>
                  <a:pt x="47" y="16"/>
                </a:lnTo>
                <a:lnTo>
                  <a:pt x="47" y="12"/>
                </a:lnTo>
                <a:lnTo>
                  <a:pt x="44" y="9"/>
                </a:lnTo>
                <a:lnTo>
                  <a:pt x="41" y="12"/>
                </a:lnTo>
                <a:lnTo>
                  <a:pt x="38" y="9"/>
                </a:lnTo>
                <a:lnTo>
                  <a:pt x="31" y="9"/>
                </a:lnTo>
                <a:lnTo>
                  <a:pt x="31" y="9"/>
                </a:lnTo>
                <a:lnTo>
                  <a:pt x="31" y="12"/>
                </a:lnTo>
                <a:lnTo>
                  <a:pt x="31" y="16"/>
                </a:lnTo>
                <a:lnTo>
                  <a:pt x="31" y="16"/>
                </a:lnTo>
                <a:lnTo>
                  <a:pt x="31" y="16"/>
                </a:lnTo>
                <a:lnTo>
                  <a:pt x="28" y="19"/>
                </a:lnTo>
                <a:lnTo>
                  <a:pt x="28" y="22"/>
                </a:lnTo>
                <a:lnTo>
                  <a:pt x="28" y="28"/>
                </a:lnTo>
                <a:lnTo>
                  <a:pt x="25" y="34"/>
                </a:lnTo>
                <a:lnTo>
                  <a:pt x="25" y="38"/>
                </a:lnTo>
                <a:lnTo>
                  <a:pt x="28" y="41"/>
                </a:lnTo>
                <a:lnTo>
                  <a:pt x="31" y="44"/>
                </a:lnTo>
                <a:lnTo>
                  <a:pt x="31" y="47"/>
                </a:lnTo>
                <a:lnTo>
                  <a:pt x="31" y="50"/>
                </a:lnTo>
                <a:lnTo>
                  <a:pt x="22" y="63"/>
                </a:lnTo>
                <a:lnTo>
                  <a:pt x="16" y="69"/>
                </a:lnTo>
                <a:lnTo>
                  <a:pt x="13" y="72"/>
                </a:lnTo>
                <a:lnTo>
                  <a:pt x="6" y="84"/>
                </a:lnTo>
                <a:lnTo>
                  <a:pt x="3" y="88"/>
                </a:lnTo>
                <a:lnTo>
                  <a:pt x="3" y="94"/>
                </a:lnTo>
                <a:lnTo>
                  <a:pt x="3" y="100"/>
                </a:lnTo>
                <a:lnTo>
                  <a:pt x="0" y="106"/>
                </a:lnTo>
                <a:lnTo>
                  <a:pt x="0" y="113"/>
                </a:lnTo>
                <a:lnTo>
                  <a:pt x="0" y="113"/>
                </a:lnTo>
                <a:lnTo>
                  <a:pt x="0" y="113"/>
                </a:lnTo>
                <a:lnTo>
                  <a:pt x="3" y="113"/>
                </a:lnTo>
                <a:lnTo>
                  <a:pt x="10" y="109"/>
                </a:lnTo>
                <a:lnTo>
                  <a:pt x="10" y="113"/>
                </a:lnTo>
                <a:lnTo>
                  <a:pt x="13" y="113"/>
                </a:lnTo>
                <a:lnTo>
                  <a:pt x="16" y="113"/>
                </a:lnTo>
                <a:lnTo>
                  <a:pt x="16" y="113"/>
                </a:lnTo>
                <a:lnTo>
                  <a:pt x="16" y="109"/>
                </a:lnTo>
                <a:lnTo>
                  <a:pt x="19" y="109"/>
                </a:lnTo>
                <a:lnTo>
                  <a:pt x="19" y="109"/>
                </a:lnTo>
                <a:lnTo>
                  <a:pt x="22" y="106"/>
                </a:lnTo>
                <a:lnTo>
                  <a:pt x="22" y="106"/>
                </a:lnTo>
                <a:lnTo>
                  <a:pt x="25" y="106"/>
                </a:lnTo>
                <a:lnTo>
                  <a:pt x="41" y="106"/>
                </a:lnTo>
                <a:lnTo>
                  <a:pt x="41" y="106"/>
                </a:lnTo>
                <a:lnTo>
                  <a:pt x="56" y="106"/>
                </a:lnTo>
                <a:lnTo>
                  <a:pt x="85" y="103"/>
                </a:lnTo>
                <a:lnTo>
                  <a:pt x="88" y="8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3" name="Freeform 111">
            <a:extLst>
              <a:ext uri="{FF2B5EF4-FFF2-40B4-BE49-F238E27FC236}">
                <a16:creationId xmlns:a16="http://schemas.microsoft.com/office/drawing/2014/main" id="{DB9F04C6-5A37-A0A1-C344-0C16117E3E28}"/>
              </a:ext>
            </a:extLst>
          </p:cNvPr>
          <p:cNvSpPr>
            <a:spLocks/>
          </p:cNvSpPr>
          <p:nvPr userDrawn="1"/>
        </p:nvSpPr>
        <p:spPr bwMode="auto">
          <a:xfrm>
            <a:off x="14070682" y="8679733"/>
            <a:ext cx="815923" cy="549278"/>
          </a:xfrm>
          <a:custGeom>
            <a:avLst/>
            <a:gdLst>
              <a:gd name="T0" fmla="*/ 163 w 257"/>
              <a:gd name="T1" fmla="*/ 7 h 173"/>
              <a:gd name="T2" fmla="*/ 175 w 257"/>
              <a:gd name="T3" fmla="*/ 25 h 173"/>
              <a:gd name="T4" fmla="*/ 172 w 257"/>
              <a:gd name="T5" fmla="*/ 38 h 173"/>
              <a:gd name="T6" fmla="*/ 182 w 257"/>
              <a:gd name="T7" fmla="*/ 44 h 173"/>
              <a:gd name="T8" fmla="*/ 188 w 257"/>
              <a:gd name="T9" fmla="*/ 54 h 173"/>
              <a:gd name="T10" fmla="*/ 204 w 257"/>
              <a:gd name="T11" fmla="*/ 60 h 173"/>
              <a:gd name="T12" fmla="*/ 213 w 257"/>
              <a:gd name="T13" fmla="*/ 66 h 173"/>
              <a:gd name="T14" fmla="*/ 207 w 257"/>
              <a:gd name="T15" fmla="*/ 76 h 173"/>
              <a:gd name="T16" fmla="*/ 219 w 257"/>
              <a:gd name="T17" fmla="*/ 79 h 173"/>
              <a:gd name="T18" fmla="*/ 229 w 257"/>
              <a:gd name="T19" fmla="*/ 91 h 173"/>
              <a:gd name="T20" fmla="*/ 238 w 257"/>
              <a:gd name="T21" fmla="*/ 101 h 173"/>
              <a:gd name="T22" fmla="*/ 247 w 257"/>
              <a:gd name="T23" fmla="*/ 107 h 173"/>
              <a:gd name="T24" fmla="*/ 257 w 257"/>
              <a:gd name="T25" fmla="*/ 119 h 173"/>
              <a:gd name="T26" fmla="*/ 247 w 257"/>
              <a:gd name="T27" fmla="*/ 119 h 173"/>
              <a:gd name="T28" fmla="*/ 229 w 257"/>
              <a:gd name="T29" fmla="*/ 119 h 173"/>
              <a:gd name="T30" fmla="*/ 219 w 257"/>
              <a:gd name="T31" fmla="*/ 116 h 173"/>
              <a:gd name="T32" fmla="*/ 213 w 257"/>
              <a:gd name="T33" fmla="*/ 116 h 173"/>
              <a:gd name="T34" fmla="*/ 200 w 257"/>
              <a:gd name="T35" fmla="*/ 122 h 173"/>
              <a:gd name="T36" fmla="*/ 194 w 257"/>
              <a:gd name="T37" fmla="*/ 122 h 173"/>
              <a:gd name="T38" fmla="*/ 182 w 257"/>
              <a:gd name="T39" fmla="*/ 126 h 173"/>
              <a:gd name="T40" fmla="*/ 166 w 257"/>
              <a:gd name="T41" fmla="*/ 126 h 173"/>
              <a:gd name="T42" fmla="*/ 154 w 257"/>
              <a:gd name="T43" fmla="*/ 132 h 173"/>
              <a:gd name="T44" fmla="*/ 150 w 257"/>
              <a:gd name="T45" fmla="*/ 138 h 173"/>
              <a:gd name="T46" fmla="*/ 138 w 257"/>
              <a:gd name="T47" fmla="*/ 135 h 173"/>
              <a:gd name="T48" fmla="*/ 122 w 257"/>
              <a:gd name="T49" fmla="*/ 132 h 173"/>
              <a:gd name="T50" fmla="*/ 110 w 257"/>
              <a:gd name="T51" fmla="*/ 126 h 173"/>
              <a:gd name="T52" fmla="*/ 97 w 257"/>
              <a:gd name="T53" fmla="*/ 119 h 173"/>
              <a:gd name="T54" fmla="*/ 88 w 257"/>
              <a:gd name="T55" fmla="*/ 122 h 173"/>
              <a:gd name="T56" fmla="*/ 85 w 257"/>
              <a:gd name="T57" fmla="*/ 132 h 173"/>
              <a:gd name="T58" fmla="*/ 82 w 257"/>
              <a:gd name="T59" fmla="*/ 141 h 173"/>
              <a:gd name="T60" fmla="*/ 79 w 257"/>
              <a:gd name="T61" fmla="*/ 147 h 173"/>
              <a:gd name="T62" fmla="*/ 69 w 257"/>
              <a:gd name="T63" fmla="*/ 144 h 173"/>
              <a:gd name="T64" fmla="*/ 50 w 257"/>
              <a:gd name="T65" fmla="*/ 151 h 173"/>
              <a:gd name="T66" fmla="*/ 32 w 257"/>
              <a:gd name="T67" fmla="*/ 173 h 173"/>
              <a:gd name="T68" fmla="*/ 32 w 257"/>
              <a:gd name="T69" fmla="*/ 163 h 173"/>
              <a:gd name="T70" fmla="*/ 16 w 257"/>
              <a:gd name="T71" fmla="*/ 144 h 173"/>
              <a:gd name="T72" fmla="*/ 4 w 257"/>
              <a:gd name="T73" fmla="*/ 132 h 173"/>
              <a:gd name="T74" fmla="*/ 0 w 257"/>
              <a:gd name="T75" fmla="*/ 110 h 173"/>
              <a:gd name="T76" fmla="*/ 4 w 257"/>
              <a:gd name="T77" fmla="*/ 94 h 173"/>
              <a:gd name="T78" fmla="*/ 16 w 257"/>
              <a:gd name="T79" fmla="*/ 76 h 173"/>
              <a:gd name="T80" fmla="*/ 22 w 257"/>
              <a:gd name="T81" fmla="*/ 69 h 173"/>
              <a:gd name="T82" fmla="*/ 35 w 257"/>
              <a:gd name="T83" fmla="*/ 72 h 173"/>
              <a:gd name="T84" fmla="*/ 44 w 257"/>
              <a:gd name="T85" fmla="*/ 63 h 173"/>
              <a:gd name="T86" fmla="*/ 54 w 257"/>
              <a:gd name="T87" fmla="*/ 66 h 173"/>
              <a:gd name="T88" fmla="*/ 82 w 257"/>
              <a:gd name="T89" fmla="*/ 57 h 173"/>
              <a:gd name="T90" fmla="*/ 88 w 257"/>
              <a:gd name="T91" fmla="*/ 47 h 173"/>
              <a:gd name="T92" fmla="*/ 91 w 257"/>
              <a:gd name="T93" fmla="*/ 41 h 173"/>
              <a:gd name="T94" fmla="*/ 110 w 257"/>
              <a:gd name="T95" fmla="*/ 41 h 173"/>
              <a:gd name="T96" fmla="*/ 122 w 257"/>
              <a:gd name="T97" fmla="*/ 32 h 173"/>
              <a:gd name="T98" fmla="*/ 125 w 257"/>
              <a:gd name="T99" fmla="*/ 22 h 173"/>
              <a:gd name="T100" fmla="*/ 138 w 257"/>
              <a:gd name="T101" fmla="*/ 13 h 173"/>
              <a:gd name="T102" fmla="*/ 144 w 257"/>
              <a:gd name="T103" fmla="*/ 4 h 173"/>
              <a:gd name="T104" fmla="*/ 160 w 257"/>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7" h="173">
                <a:moveTo>
                  <a:pt x="160" y="0"/>
                </a:moveTo>
                <a:lnTo>
                  <a:pt x="163" y="0"/>
                </a:lnTo>
                <a:lnTo>
                  <a:pt x="163" y="4"/>
                </a:lnTo>
                <a:lnTo>
                  <a:pt x="163" y="7"/>
                </a:lnTo>
                <a:lnTo>
                  <a:pt x="166" y="10"/>
                </a:lnTo>
                <a:lnTo>
                  <a:pt x="166" y="10"/>
                </a:lnTo>
                <a:lnTo>
                  <a:pt x="172" y="19"/>
                </a:lnTo>
                <a:lnTo>
                  <a:pt x="175" y="25"/>
                </a:lnTo>
                <a:lnTo>
                  <a:pt x="175" y="29"/>
                </a:lnTo>
                <a:lnTo>
                  <a:pt x="175" y="32"/>
                </a:lnTo>
                <a:lnTo>
                  <a:pt x="175" y="35"/>
                </a:lnTo>
                <a:lnTo>
                  <a:pt x="172" y="38"/>
                </a:lnTo>
                <a:lnTo>
                  <a:pt x="172" y="44"/>
                </a:lnTo>
                <a:lnTo>
                  <a:pt x="175" y="47"/>
                </a:lnTo>
                <a:lnTo>
                  <a:pt x="182" y="47"/>
                </a:lnTo>
                <a:lnTo>
                  <a:pt x="182" y="44"/>
                </a:lnTo>
                <a:lnTo>
                  <a:pt x="188" y="44"/>
                </a:lnTo>
                <a:lnTo>
                  <a:pt x="191" y="47"/>
                </a:lnTo>
                <a:lnTo>
                  <a:pt x="188" y="51"/>
                </a:lnTo>
                <a:lnTo>
                  <a:pt x="188" y="54"/>
                </a:lnTo>
                <a:lnTo>
                  <a:pt x="194" y="57"/>
                </a:lnTo>
                <a:lnTo>
                  <a:pt x="197" y="57"/>
                </a:lnTo>
                <a:lnTo>
                  <a:pt x="200" y="57"/>
                </a:lnTo>
                <a:lnTo>
                  <a:pt x="204" y="60"/>
                </a:lnTo>
                <a:lnTo>
                  <a:pt x="204" y="63"/>
                </a:lnTo>
                <a:lnTo>
                  <a:pt x="210" y="63"/>
                </a:lnTo>
                <a:lnTo>
                  <a:pt x="213" y="63"/>
                </a:lnTo>
                <a:lnTo>
                  <a:pt x="213" y="66"/>
                </a:lnTo>
                <a:lnTo>
                  <a:pt x="213" y="69"/>
                </a:lnTo>
                <a:lnTo>
                  <a:pt x="210" y="72"/>
                </a:lnTo>
                <a:lnTo>
                  <a:pt x="210" y="72"/>
                </a:lnTo>
                <a:lnTo>
                  <a:pt x="207" y="76"/>
                </a:lnTo>
                <a:lnTo>
                  <a:pt x="213" y="79"/>
                </a:lnTo>
                <a:lnTo>
                  <a:pt x="216" y="79"/>
                </a:lnTo>
                <a:lnTo>
                  <a:pt x="216" y="79"/>
                </a:lnTo>
                <a:lnTo>
                  <a:pt x="219" y="79"/>
                </a:lnTo>
                <a:lnTo>
                  <a:pt x="222" y="79"/>
                </a:lnTo>
                <a:lnTo>
                  <a:pt x="229" y="85"/>
                </a:lnTo>
                <a:lnTo>
                  <a:pt x="229" y="85"/>
                </a:lnTo>
                <a:lnTo>
                  <a:pt x="229" y="91"/>
                </a:lnTo>
                <a:lnTo>
                  <a:pt x="232" y="94"/>
                </a:lnTo>
                <a:lnTo>
                  <a:pt x="235" y="94"/>
                </a:lnTo>
                <a:lnTo>
                  <a:pt x="238" y="97"/>
                </a:lnTo>
                <a:lnTo>
                  <a:pt x="238" y="101"/>
                </a:lnTo>
                <a:lnTo>
                  <a:pt x="238" y="101"/>
                </a:lnTo>
                <a:lnTo>
                  <a:pt x="244" y="104"/>
                </a:lnTo>
                <a:lnTo>
                  <a:pt x="247" y="107"/>
                </a:lnTo>
                <a:lnTo>
                  <a:pt x="247" y="107"/>
                </a:lnTo>
                <a:lnTo>
                  <a:pt x="247" y="113"/>
                </a:lnTo>
                <a:lnTo>
                  <a:pt x="250" y="116"/>
                </a:lnTo>
                <a:lnTo>
                  <a:pt x="254" y="119"/>
                </a:lnTo>
                <a:lnTo>
                  <a:pt x="257" y="119"/>
                </a:lnTo>
                <a:lnTo>
                  <a:pt x="257" y="122"/>
                </a:lnTo>
                <a:lnTo>
                  <a:pt x="254" y="119"/>
                </a:lnTo>
                <a:lnTo>
                  <a:pt x="250" y="119"/>
                </a:lnTo>
                <a:lnTo>
                  <a:pt x="247" y="119"/>
                </a:lnTo>
                <a:lnTo>
                  <a:pt x="241" y="122"/>
                </a:lnTo>
                <a:lnTo>
                  <a:pt x="238" y="119"/>
                </a:lnTo>
                <a:lnTo>
                  <a:pt x="232" y="119"/>
                </a:lnTo>
                <a:lnTo>
                  <a:pt x="229" y="119"/>
                </a:lnTo>
                <a:lnTo>
                  <a:pt x="225" y="119"/>
                </a:lnTo>
                <a:lnTo>
                  <a:pt x="225" y="116"/>
                </a:lnTo>
                <a:lnTo>
                  <a:pt x="222" y="116"/>
                </a:lnTo>
                <a:lnTo>
                  <a:pt x="219" y="116"/>
                </a:lnTo>
                <a:lnTo>
                  <a:pt x="216" y="113"/>
                </a:lnTo>
                <a:lnTo>
                  <a:pt x="213" y="116"/>
                </a:lnTo>
                <a:lnTo>
                  <a:pt x="213" y="116"/>
                </a:lnTo>
                <a:lnTo>
                  <a:pt x="213" y="116"/>
                </a:lnTo>
                <a:lnTo>
                  <a:pt x="210" y="122"/>
                </a:lnTo>
                <a:lnTo>
                  <a:pt x="210" y="122"/>
                </a:lnTo>
                <a:lnTo>
                  <a:pt x="207" y="122"/>
                </a:lnTo>
                <a:lnTo>
                  <a:pt x="200" y="122"/>
                </a:lnTo>
                <a:lnTo>
                  <a:pt x="200" y="122"/>
                </a:lnTo>
                <a:lnTo>
                  <a:pt x="197" y="122"/>
                </a:lnTo>
                <a:lnTo>
                  <a:pt x="197" y="122"/>
                </a:lnTo>
                <a:lnTo>
                  <a:pt x="194" y="122"/>
                </a:lnTo>
                <a:lnTo>
                  <a:pt x="194" y="119"/>
                </a:lnTo>
                <a:lnTo>
                  <a:pt x="191" y="119"/>
                </a:lnTo>
                <a:lnTo>
                  <a:pt x="185" y="122"/>
                </a:lnTo>
                <a:lnTo>
                  <a:pt x="182" y="126"/>
                </a:lnTo>
                <a:lnTo>
                  <a:pt x="179" y="126"/>
                </a:lnTo>
                <a:lnTo>
                  <a:pt x="172" y="129"/>
                </a:lnTo>
                <a:lnTo>
                  <a:pt x="169" y="129"/>
                </a:lnTo>
                <a:lnTo>
                  <a:pt x="166" y="126"/>
                </a:lnTo>
                <a:lnTo>
                  <a:pt x="163" y="126"/>
                </a:lnTo>
                <a:lnTo>
                  <a:pt x="160" y="126"/>
                </a:lnTo>
                <a:lnTo>
                  <a:pt x="157" y="129"/>
                </a:lnTo>
                <a:lnTo>
                  <a:pt x="154" y="132"/>
                </a:lnTo>
                <a:lnTo>
                  <a:pt x="154" y="135"/>
                </a:lnTo>
                <a:lnTo>
                  <a:pt x="154" y="135"/>
                </a:lnTo>
                <a:lnTo>
                  <a:pt x="154" y="138"/>
                </a:lnTo>
                <a:lnTo>
                  <a:pt x="150" y="138"/>
                </a:lnTo>
                <a:lnTo>
                  <a:pt x="147" y="138"/>
                </a:lnTo>
                <a:lnTo>
                  <a:pt x="144" y="135"/>
                </a:lnTo>
                <a:lnTo>
                  <a:pt x="141" y="135"/>
                </a:lnTo>
                <a:lnTo>
                  <a:pt x="138" y="135"/>
                </a:lnTo>
                <a:lnTo>
                  <a:pt x="135" y="135"/>
                </a:lnTo>
                <a:lnTo>
                  <a:pt x="132" y="135"/>
                </a:lnTo>
                <a:lnTo>
                  <a:pt x="129" y="135"/>
                </a:lnTo>
                <a:lnTo>
                  <a:pt x="122" y="132"/>
                </a:lnTo>
                <a:lnTo>
                  <a:pt x="119" y="132"/>
                </a:lnTo>
                <a:lnTo>
                  <a:pt x="119" y="132"/>
                </a:lnTo>
                <a:lnTo>
                  <a:pt x="113" y="129"/>
                </a:lnTo>
                <a:lnTo>
                  <a:pt x="110" y="126"/>
                </a:lnTo>
                <a:lnTo>
                  <a:pt x="104" y="122"/>
                </a:lnTo>
                <a:lnTo>
                  <a:pt x="100" y="122"/>
                </a:lnTo>
                <a:lnTo>
                  <a:pt x="97" y="119"/>
                </a:lnTo>
                <a:lnTo>
                  <a:pt x="97" y="119"/>
                </a:lnTo>
                <a:lnTo>
                  <a:pt x="97" y="122"/>
                </a:lnTo>
                <a:lnTo>
                  <a:pt x="94" y="119"/>
                </a:lnTo>
                <a:lnTo>
                  <a:pt x="91" y="122"/>
                </a:lnTo>
                <a:lnTo>
                  <a:pt x="88" y="122"/>
                </a:lnTo>
                <a:lnTo>
                  <a:pt x="85" y="126"/>
                </a:lnTo>
                <a:lnTo>
                  <a:pt x="85" y="129"/>
                </a:lnTo>
                <a:lnTo>
                  <a:pt x="85" y="129"/>
                </a:lnTo>
                <a:lnTo>
                  <a:pt x="85" y="132"/>
                </a:lnTo>
                <a:lnTo>
                  <a:pt x="82" y="132"/>
                </a:lnTo>
                <a:lnTo>
                  <a:pt x="79" y="135"/>
                </a:lnTo>
                <a:lnTo>
                  <a:pt x="79" y="135"/>
                </a:lnTo>
                <a:lnTo>
                  <a:pt x="82" y="141"/>
                </a:lnTo>
                <a:lnTo>
                  <a:pt x="82" y="141"/>
                </a:lnTo>
                <a:lnTo>
                  <a:pt x="82" y="144"/>
                </a:lnTo>
                <a:lnTo>
                  <a:pt x="82" y="147"/>
                </a:lnTo>
                <a:lnTo>
                  <a:pt x="79" y="147"/>
                </a:lnTo>
                <a:lnTo>
                  <a:pt x="75" y="147"/>
                </a:lnTo>
                <a:lnTo>
                  <a:pt x="72" y="147"/>
                </a:lnTo>
                <a:lnTo>
                  <a:pt x="72" y="144"/>
                </a:lnTo>
                <a:lnTo>
                  <a:pt x="69" y="144"/>
                </a:lnTo>
                <a:lnTo>
                  <a:pt x="66" y="144"/>
                </a:lnTo>
                <a:lnTo>
                  <a:pt x="63" y="147"/>
                </a:lnTo>
                <a:lnTo>
                  <a:pt x="60" y="147"/>
                </a:lnTo>
                <a:lnTo>
                  <a:pt x="50" y="151"/>
                </a:lnTo>
                <a:lnTo>
                  <a:pt x="50" y="151"/>
                </a:lnTo>
                <a:lnTo>
                  <a:pt x="47" y="154"/>
                </a:lnTo>
                <a:lnTo>
                  <a:pt x="41" y="157"/>
                </a:lnTo>
                <a:lnTo>
                  <a:pt x="32" y="173"/>
                </a:lnTo>
                <a:lnTo>
                  <a:pt x="32" y="173"/>
                </a:lnTo>
                <a:lnTo>
                  <a:pt x="32" y="169"/>
                </a:lnTo>
                <a:lnTo>
                  <a:pt x="32" y="166"/>
                </a:lnTo>
                <a:lnTo>
                  <a:pt x="32" y="163"/>
                </a:lnTo>
                <a:lnTo>
                  <a:pt x="25" y="157"/>
                </a:lnTo>
                <a:lnTo>
                  <a:pt x="22" y="157"/>
                </a:lnTo>
                <a:lnTo>
                  <a:pt x="19" y="151"/>
                </a:lnTo>
                <a:lnTo>
                  <a:pt x="16" y="144"/>
                </a:lnTo>
                <a:lnTo>
                  <a:pt x="13" y="138"/>
                </a:lnTo>
                <a:lnTo>
                  <a:pt x="10" y="135"/>
                </a:lnTo>
                <a:lnTo>
                  <a:pt x="4" y="132"/>
                </a:lnTo>
                <a:lnTo>
                  <a:pt x="4" y="132"/>
                </a:lnTo>
                <a:lnTo>
                  <a:pt x="4" y="122"/>
                </a:lnTo>
                <a:lnTo>
                  <a:pt x="4" y="119"/>
                </a:lnTo>
                <a:lnTo>
                  <a:pt x="0" y="113"/>
                </a:lnTo>
                <a:lnTo>
                  <a:pt x="0" y="110"/>
                </a:lnTo>
                <a:lnTo>
                  <a:pt x="0" y="104"/>
                </a:lnTo>
                <a:lnTo>
                  <a:pt x="0" y="101"/>
                </a:lnTo>
                <a:lnTo>
                  <a:pt x="0" y="97"/>
                </a:lnTo>
                <a:lnTo>
                  <a:pt x="4" y="94"/>
                </a:lnTo>
                <a:lnTo>
                  <a:pt x="7" y="91"/>
                </a:lnTo>
                <a:lnTo>
                  <a:pt x="10" y="85"/>
                </a:lnTo>
                <a:lnTo>
                  <a:pt x="13" y="79"/>
                </a:lnTo>
                <a:lnTo>
                  <a:pt x="16" y="76"/>
                </a:lnTo>
                <a:lnTo>
                  <a:pt x="19" y="72"/>
                </a:lnTo>
                <a:lnTo>
                  <a:pt x="22" y="69"/>
                </a:lnTo>
                <a:lnTo>
                  <a:pt x="22" y="66"/>
                </a:lnTo>
                <a:lnTo>
                  <a:pt x="22" y="69"/>
                </a:lnTo>
                <a:lnTo>
                  <a:pt x="25" y="72"/>
                </a:lnTo>
                <a:lnTo>
                  <a:pt x="29" y="72"/>
                </a:lnTo>
                <a:lnTo>
                  <a:pt x="32" y="72"/>
                </a:lnTo>
                <a:lnTo>
                  <a:pt x="35" y="72"/>
                </a:lnTo>
                <a:lnTo>
                  <a:pt x="38" y="69"/>
                </a:lnTo>
                <a:lnTo>
                  <a:pt x="38" y="63"/>
                </a:lnTo>
                <a:lnTo>
                  <a:pt x="41" y="63"/>
                </a:lnTo>
                <a:lnTo>
                  <a:pt x="44" y="63"/>
                </a:lnTo>
                <a:lnTo>
                  <a:pt x="44" y="69"/>
                </a:lnTo>
                <a:lnTo>
                  <a:pt x="47" y="69"/>
                </a:lnTo>
                <a:lnTo>
                  <a:pt x="50" y="69"/>
                </a:lnTo>
                <a:lnTo>
                  <a:pt x="54" y="66"/>
                </a:lnTo>
                <a:lnTo>
                  <a:pt x="60" y="63"/>
                </a:lnTo>
                <a:lnTo>
                  <a:pt x="66" y="60"/>
                </a:lnTo>
                <a:lnTo>
                  <a:pt x="75" y="57"/>
                </a:lnTo>
                <a:lnTo>
                  <a:pt x="82" y="57"/>
                </a:lnTo>
                <a:lnTo>
                  <a:pt x="85" y="54"/>
                </a:lnTo>
                <a:lnTo>
                  <a:pt x="91" y="51"/>
                </a:lnTo>
                <a:lnTo>
                  <a:pt x="91" y="47"/>
                </a:lnTo>
                <a:lnTo>
                  <a:pt x="88" y="47"/>
                </a:lnTo>
                <a:lnTo>
                  <a:pt x="85" y="44"/>
                </a:lnTo>
                <a:lnTo>
                  <a:pt x="85" y="41"/>
                </a:lnTo>
                <a:lnTo>
                  <a:pt x="88" y="38"/>
                </a:lnTo>
                <a:lnTo>
                  <a:pt x="91" y="41"/>
                </a:lnTo>
                <a:lnTo>
                  <a:pt x="94" y="38"/>
                </a:lnTo>
                <a:lnTo>
                  <a:pt x="97" y="41"/>
                </a:lnTo>
                <a:lnTo>
                  <a:pt x="104" y="41"/>
                </a:lnTo>
                <a:lnTo>
                  <a:pt x="110" y="41"/>
                </a:lnTo>
                <a:lnTo>
                  <a:pt x="116" y="41"/>
                </a:lnTo>
                <a:lnTo>
                  <a:pt x="119" y="38"/>
                </a:lnTo>
                <a:lnTo>
                  <a:pt x="122" y="35"/>
                </a:lnTo>
                <a:lnTo>
                  <a:pt x="122" y="32"/>
                </a:lnTo>
                <a:lnTo>
                  <a:pt x="122" y="29"/>
                </a:lnTo>
                <a:lnTo>
                  <a:pt x="122" y="25"/>
                </a:lnTo>
                <a:lnTo>
                  <a:pt x="125" y="25"/>
                </a:lnTo>
                <a:lnTo>
                  <a:pt x="125" y="22"/>
                </a:lnTo>
                <a:lnTo>
                  <a:pt x="129" y="19"/>
                </a:lnTo>
                <a:lnTo>
                  <a:pt x="132" y="19"/>
                </a:lnTo>
                <a:lnTo>
                  <a:pt x="132" y="19"/>
                </a:lnTo>
                <a:lnTo>
                  <a:pt x="138" y="13"/>
                </a:lnTo>
                <a:lnTo>
                  <a:pt x="138" y="13"/>
                </a:lnTo>
                <a:lnTo>
                  <a:pt x="138" y="10"/>
                </a:lnTo>
                <a:lnTo>
                  <a:pt x="138" y="7"/>
                </a:lnTo>
                <a:lnTo>
                  <a:pt x="144" y="4"/>
                </a:lnTo>
                <a:lnTo>
                  <a:pt x="147" y="0"/>
                </a:lnTo>
                <a:lnTo>
                  <a:pt x="154" y="0"/>
                </a:lnTo>
                <a:lnTo>
                  <a:pt x="154" y="4"/>
                </a:lnTo>
                <a:lnTo>
                  <a:pt x="160" y="0"/>
                </a:lnTo>
                <a:lnTo>
                  <a:pt x="160"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4" name="Freeform 112">
            <a:extLst>
              <a:ext uri="{FF2B5EF4-FFF2-40B4-BE49-F238E27FC236}">
                <a16:creationId xmlns:a16="http://schemas.microsoft.com/office/drawing/2014/main" id="{2E9068E9-7B1C-2387-F7CF-B38D02113EB4}"/>
              </a:ext>
            </a:extLst>
          </p:cNvPr>
          <p:cNvSpPr>
            <a:spLocks/>
          </p:cNvSpPr>
          <p:nvPr userDrawn="1"/>
        </p:nvSpPr>
        <p:spPr bwMode="auto">
          <a:xfrm>
            <a:off x="13734157" y="7231931"/>
            <a:ext cx="971487" cy="901702"/>
          </a:xfrm>
          <a:custGeom>
            <a:avLst/>
            <a:gdLst>
              <a:gd name="T0" fmla="*/ 288 w 306"/>
              <a:gd name="T1" fmla="*/ 275 h 284"/>
              <a:gd name="T2" fmla="*/ 297 w 306"/>
              <a:gd name="T3" fmla="*/ 81 h 284"/>
              <a:gd name="T4" fmla="*/ 291 w 306"/>
              <a:gd name="T5" fmla="*/ 65 h 284"/>
              <a:gd name="T6" fmla="*/ 297 w 306"/>
              <a:gd name="T7" fmla="*/ 53 h 284"/>
              <a:gd name="T8" fmla="*/ 294 w 306"/>
              <a:gd name="T9" fmla="*/ 40 h 284"/>
              <a:gd name="T10" fmla="*/ 297 w 306"/>
              <a:gd name="T11" fmla="*/ 31 h 284"/>
              <a:gd name="T12" fmla="*/ 294 w 306"/>
              <a:gd name="T13" fmla="*/ 22 h 284"/>
              <a:gd name="T14" fmla="*/ 285 w 306"/>
              <a:gd name="T15" fmla="*/ 22 h 284"/>
              <a:gd name="T16" fmla="*/ 269 w 306"/>
              <a:gd name="T17" fmla="*/ 19 h 284"/>
              <a:gd name="T18" fmla="*/ 260 w 306"/>
              <a:gd name="T19" fmla="*/ 15 h 284"/>
              <a:gd name="T20" fmla="*/ 260 w 306"/>
              <a:gd name="T21" fmla="*/ 12 h 284"/>
              <a:gd name="T22" fmla="*/ 250 w 306"/>
              <a:gd name="T23" fmla="*/ 6 h 284"/>
              <a:gd name="T24" fmla="*/ 238 w 306"/>
              <a:gd name="T25" fmla="*/ 3 h 284"/>
              <a:gd name="T26" fmla="*/ 235 w 306"/>
              <a:gd name="T27" fmla="*/ 6 h 284"/>
              <a:gd name="T28" fmla="*/ 228 w 306"/>
              <a:gd name="T29" fmla="*/ 3 h 284"/>
              <a:gd name="T30" fmla="*/ 213 w 306"/>
              <a:gd name="T31" fmla="*/ 6 h 284"/>
              <a:gd name="T32" fmla="*/ 200 w 306"/>
              <a:gd name="T33" fmla="*/ 15 h 284"/>
              <a:gd name="T34" fmla="*/ 197 w 306"/>
              <a:gd name="T35" fmla="*/ 22 h 284"/>
              <a:gd name="T36" fmla="*/ 200 w 306"/>
              <a:gd name="T37" fmla="*/ 37 h 284"/>
              <a:gd name="T38" fmla="*/ 200 w 306"/>
              <a:gd name="T39" fmla="*/ 50 h 284"/>
              <a:gd name="T40" fmla="*/ 194 w 306"/>
              <a:gd name="T41" fmla="*/ 56 h 284"/>
              <a:gd name="T42" fmla="*/ 185 w 306"/>
              <a:gd name="T43" fmla="*/ 65 h 284"/>
              <a:gd name="T44" fmla="*/ 169 w 306"/>
              <a:gd name="T45" fmla="*/ 56 h 284"/>
              <a:gd name="T46" fmla="*/ 153 w 306"/>
              <a:gd name="T47" fmla="*/ 47 h 284"/>
              <a:gd name="T48" fmla="*/ 131 w 306"/>
              <a:gd name="T49" fmla="*/ 37 h 284"/>
              <a:gd name="T50" fmla="*/ 122 w 306"/>
              <a:gd name="T51" fmla="*/ 40 h 284"/>
              <a:gd name="T52" fmla="*/ 110 w 306"/>
              <a:gd name="T53" fmla="*/ 25 h 284"/>
              <a:gd name="T54" fmla="*/ 103 w 306"/>
              <a:gd name="T55" fmla="*/ 12 h 284"/>
              <a:gd name="T56" fmla="*/ 85 w 306"/>
              <a:gd name="T57" fmla="*/ 6 h 284"/>
              <a:gd name="T58" fmla="*/ 69 w 306"/>
              <a:gd name="T59" fmla="*/ 3 h 284"/>
              <a:gd name="T60" fmla="*/ 44 w 306"/>
              <a:gd name="T61" fmla="*/ 3 h 284"/>
              <a:gd name="T62" fmla="*/ 38 w 306"/>
              <a:gd name="T63" fmla="*/ 0 h 284"/>
              <a:gd name="T64" fmla="*/ 38 w 306"/>
              <a:gd name="T65" fmla="*/ 9 h 284"/>
              <a:gd name="T66" fmla="*/ 35 w 306"/>
              <a:gd name="T67" fmla="*/ 15 h 284"/>
              <a:gd name="T68" fmla="*/ 22 w 306"/>
              <a:gd name="T69" fmla="*/ 28 h 284"/>
              <a:gd name="T70" fmla="*/ 16 w 306"/>
              <a:gd name="T71" fmla="*/ 31 h 284"/>
              <a:gd name="T72" fmla="*/ 13 w 306"/>
              <a:gd name="T73" fmla="*/ 34 h 284"/>
              <a:gd name="T74" fmla="*/ 13 w 306"/>
              <a:gd name="T75" fmla="*/ 44 h 284"/>
              <a:gd name="T76" fmla="*/ 13 w 306"/>
              <a:gd name="T77" fmla="*/ 50 h 284"/>
              <a:gd name="T78" fmla="*/ 13 w 306"/>
              <a:gd name="T79" fmla="*/ 53 h 284"/>
              <a:gd name="T80" fmla="*/ 6 w 306"/>
              <a:gd name="T81" fmla="*/ 59 h 284"/>
              <a:gd name="T82" fmla="*/ 3 w 306"/>
              <a:gd name="T83" fmla="*/ 59 h 284"/>
              <a:gd name="T84" fmla="*/ 0 w 306"/>
              <a:gd name="T85" fmla="*/ 62 h 284"/>
              <a:gd name="T86" fmla="*/ 3 w 306"/>
              <a:gd name="T87" fmla="*/ 69 h 284"/>
              <a:gd name="T88" fmla="*/ 6 w 306"/>
              <a:gd name="T89" fmla="*/ 87 h 284"/>
              <a:gd name="T90" fmla="*/ 6 w 306"/>
              <a:gd name="T91" fmla="*/ 97 h 284"/>
              <a:gd name="T92" fmla="*/ 10 w 306"/>
              <a:gd name="T93" fmla="*/ 112 h 284"/>
              <a:gd name="T94" fmla="*/ 6 w 306"/>
              <a:gd name="T95" fmla="*/ 125 h 284"/>
              <a:gd name="T96" fmla="*/ 10 w 306"/>
              <a:gd name="T97" fmla="*/ 137 h 284"/>
              <a:gd name="T98" fmla="*/ 3 w 306"/>
              <a:gd name="T99" fmla="*/ 141 h 284"/>
              <a:gd name="T100" fmla="*/ 0 w 306"/>
              <a:gd name="T101" fmla="*/ 147 h 284"/>
              <a:gd name="T102" fmla="*/ 6 w 306"/>
              <a:gd name="T103" fmla="*/ 156 h 284"/>
              <a:gd name="T104" fmla="*/ 13 w 306"/>
              <a:gd name="T105" fmla="*/ 162 h 284"/>
              <a:gd name="T106" fmla="*/ 13 w 306"/>
              <a:gd name="T107" fmla="*/ 172 h 284"/>
              <a:gd name="T108" fmla="*/ 16 w 306"/>
              <a:gd name="T109" fmla="*/ 178 h 284"/>
              <a:gd name="T110" fmla="*/ 19 w 306"/>
              <a:gd name="T111" fmla="*/ 184 h 284"/>
              <a:gd name="T112" fmla="*/ 35 w 306"/>
              <a:gd name="T113" fmla="*/ 184 h 284"/>
              <a:gd name="T114" fmla="*/ 41 w 306"/>
              <a:gd name="T115" fmla="*/ 191 h 284"/>
              <a:gd name="T116" fmla="*/ 47 w 306"/>
              <a:gd name="T117" fmla="*/ 203 h 284"/>
              <a:gd name="T118" fmla="*/ 50 w 306"/>
              <a:gd name="T119" fmla="*/ 206 h 284"/>
              <a:gd name="T120" fmla="*/ 88 w 306"/>
              <a:gd name="T121" fmla="*/ 219 h 284"/>
              <a:gd name="T122" fmla="*/ 288 w 306"/>
              <a:gd name="T123" fmla="*/ 284 h 284"/>
              <a:gd name="T124" fmla="*/ 288 w 306"/>
              <a:gd name="T125"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 h="284">
                <a:moveTo>
                  <a:pt x="288" y="284"/>
                </a:moveTo>
                <a:lnTo>
                  <a:pt x="288" y="275"/>
                </a:lnTo>
                <a:lnTo>
                  <a:pt x="306" y="275"/>
                </a:lnTo>
                <a:lnTo>
                  <a:pt x="297" y="81"/>
                </a:lnTo>
                <a:lnTo>
                  <a:pt x="294" y="69"/>
                </a:lnTo>
                <a:lnTo>
                  <a:pt x="291" y="65"/>
                </a:lnTo>
                <a:lnTo>
                  <a:pt x="294" y="59"/>
                </a:lnTo>
                <a:lnTo>
                  <a:pt x="297" y="53"/>
                </a:lnTo>
                <a:lnTo>
                  <a:pt x="297" y="47"/>
                </a:lnTo>
                <a:lnTo>
                  <a:pt x="294" y="40"/>
                </a:lnTo>
                <a:lnTo>
                  <a:pt x="297" y="34"/>
                </a:lnTo>
                <a:lnTo>
                  <a:pt x="297" y="31"/>
                </a:lnTo>
                <a:lnTo>
                  <a:pt x="297" y="25"/>
                </a:lnTo>
                <a:lnTo>
                  <a:pt x="294" y="22"/>
                </a:lnTo>
                <a:lnTo>
                  <a:pt x="291" y="22"/>
                </a:lnTo>
                <a:lnTo>
                  <a:pt x="285" y="22"/>
                </a:lnTo>
                <a:lnTo>
                  <a:pt x="272" y="19"/>
                </a:lnTo>
                <a:lnTo>
                  <a:pt x="269" y="19"/>
                </a:lnTo>
                <a:lnTo>
                  <a:pt x="266" y="19"/>
                </a:lnTo>
                <a:lnTo>
                  <a:pt x="260" y="15"/>
                </a:lnTo>
                <a:lnTo>
                  <a:pt x="256" y="12"/>
                </a:lnTo>
                <a:lnTo>
                  <a:pt x="260" y="12"/>
                </a:lnTo>
                <a:lnTo>
                  <a:pt x="256" y="9"/>
                </a:lnTo>
                <a:lnTo>
                  <a:pt x="250" y="6"/>
                </a:lnTo>
                <a:lnTo>
                  <a:pt x="244" y="6"/>
                </a:lnTo>
                <a:lnTo>
                  <a:pt x="238" y="3"/>
                </a:lnTo>
                <a:lnTo>
                  <a:pt x="238" y="3"/>
                </a:lnTo>
                <a:lnTo>
                  <a:pt x="235" y="6"/>
                </a:lnTo>
                <a:lnTo>
                  <a:pt x="231" y="3"/>
                </a:lnTo>
                <a:lnTo>
                  <a:pt x="228" y="3"/>
                </a:lnTo>
                <a:lnTo>
                  <a:pt x="222" y="6"/>
                </a:lnTo>
                <a:lnTo>
                  <a:pt x="213" y="6"/>
                </a:lnTo>
                <a:lnTo>
                  <a:pt x="206" y="9"/>
                </a:lnTo>
                <a:lnTo>
                  <a:pt x="200" y="15"/>
                </a:lnTo>
                <a:lnTo>
                  <a:pt x="200" y="22"/>
                </a:lnTo>
                <a:lnTo>
                  <a:pt x="197" y="22"/>
                </a:lnTo>
                <a:lnTo>
                  <a:pt x="197" y="31"/>
                </a:lnTo>
                <a:lnTo>
                  <a:pt x="200" y="37"/>
                </a:lnTo>
                <a:lnTo>
                  <a:pt x="203" y="47"/>
                </a:lnTo>
                <a:lnTo>
                  <a:pt x="200" y="50"/>
                </a:lnTo>
                <a:lnTo>
                  <a:pt x="194" y="56"/>
                </a:lnTo>
                <a:lnTo>
                  <a:pt x="194" y="56"/>
                </a:lnTo>
                <a:lnTo>
                  <a:pt x="188" y="62"/>
                </a:lnTo>
                <a:lnTo>
                  <a:pt x="185" y="65"/>
                </a:lnTo>
                <a:lnTo>
                  <a:pt x="175" y="62"/>
                </a:lnTo>
                <a:lnTo>
                  <a:pt x="169" y="56"/>
                </a:lnTo>
                <a:lnTo>
                  <a:pt x="163" y="50"/>
                </a:lnTo>
                <a:lnTo>
                  <a:pt x="153" y="47"/>
                </a:lnTo>
                <a:lnTo>
                  <a:pt x="138" y="40"/>
                </a:lnTo>
                <a:lnTo>
                  <a:pt x="131" y="37"/>
                </a:lnTo>
                <a:lnTo>
                  <a:pt x="128" y="40"/>
                </a:lnTo>
                <a:lnTo>
                  <a:pt x="122" y="40"/>
                </a:lnTo>
                <a:lnTo>
                  <a:pt x="116" y="37"/>
                </a:lnTo>
                <a:lnTo>
                  <a:pt x="110" y="25"/>
                </a:lnTo>
                <a:lnTo>
                  <a:pt x="110" y="19"/>
                </a:lnTo>
                <a:lnTo>
                  <a:pt x="103" y="12"/>
                </a:lnTo>
                <a:lnTo>
                  <a:pt x="91" y="9"/>
                </a:lnTo>
                <a:lnTo>
                  <a:pt x="85" y="6"/>
                </a:lnTo>
                <a:lnTo>
                  <a:pt x="75" y="6"/>
                </a:lnTo>
                <a:lnTo>
                  <a:pt x="69" y="3"/>
                </a:lnTo>
                <a:lnTo>
                  <a:pt x="53" y="6"/>
                </a:lnTo>
                <a:lnTo>
                  <a:pt x="44" y="3"/>
                </a:lnTo>
                <a:lnTo>
                  <a:pt x="41" y="0"/>
                </a:lnTo>
                <a:lnTo>
                  <a:pt x="38" y="0"/>
                </a:lnTo>
                <a:lnTo>
                  <a:pt x="38" y="0"/>
                </a:lnTo>
                <a:lnTo>
                  <a:pt x="38" y="9"/>
                </a:lnTo>
                <a:lnTo>
                  <a:pt x="38" y="9"/>
                </a:lnTo>
                <a:lnTo>
                  <a:pt x="35" y="15"/>
                </a:lnTo>
                <a:lnTo>
                  <a:pt x="22" y="25"/>
                </a:lnTo>
                <a:lnTo>
                  <a:pt x="22" y="28"/>
                </a:lnTo>
                <a:lnTo>
                  <a:pt x="19" y="31"/>
                </a:lnTo>
                <a:lnTo>
                  <a:pt x="16" y="31"/>
                </a:lnTo>
                <a:lnTo>
                  <a:pt x="13" y="34"/>
                </a:lnTo>
                <a:lnTo>
                  <a:pt x="13" y="34"/>
                </a:lnTo>
                <a:lnTo>
                  <a:pt x="13" y="37"/>
                </a:lnTo>
                <a:lnTo>
                  <a:pt x="13" y="44"/>
                </a:lnTo>
                <a:lnTo>
                  <a:pt x="13" y="50"/>
                </a:lnTo>
                <a:lnTo>
                  <a:pt x="13" y="50"/>
                </a:lnTo>
                <a:lnTo>
                  <a:pt x="13" y="53"/>
                </a:lnTo>
                <a:lnTo>
                  <a:pt x="13" y="53"/>
                </a:lnTo>
                <a:lnTo>
                  <a:pt x="10" y="56"/>
                </a:lnTo>
                <a:lnTo>
                  <a:pt x="6" y="59"/>
                </a:lnTo>
                <a:lnTo>
                  <a:pt x="6" y="59"/>
                </a:lnTo>
                <a:lnTo>
                  <a:pt x="3" y="59"/>
                </a:lnTo>
                <a:lnTo>
                  <a:pt x="3" y="59"/>
                </a:lnTo>
                <a:lnTo>
                  <a:pt x="0" y="62"/>
                </a:lnTo>
                <a:lnTo>
                  <a:pt x="0" y="69"/>
                </a:lnTo>
                <a:lnTo>
                  <a:pt x="3" y="69"/>
                </a:lnTo>
                <a:lnTo>
                  <a:pt x="6" y="75"/>
                </a:lnTo>
                <a:lnTo>
                  <a:pt x="6" y="87"/>
                </a:lnTo>
                <a:lnTo>
                  <a:pt x="6" y="94"/>
                </a:lnTo>
                <a:lnTo>
                  <a:pt x="6" y="97"/>
                </a:lnTo>
                <a:lnTo>
                  <a:pt x="6" y="106"/>
                </a:lnTo>
                <a:lnTo>
                  <a:pt x="10" y="112"/>
                </a:lnTo>
                <a:lnTo>
                  <a:pt x="6" y="122"/>
                </a:lnTo>
                <a:lnTo>
                  <a:pt x="6" y="125"/>
                </a:lnTo>
                <a:lnTo>
                  <a:pt x="10" y="128"/>
                </a:lnTo>
                <a:lnTo>
                  <a:pt x="10" y="137"/>
                </a:lnTo>
                <a:lnTo>
                  <a:pt x="6" y="137"/>
                </a:lnTo>
                <a:lnTo>
                  <a:pt x="3" y="141"/>
                </a:lnTo>
                <a:lnTo>
                  <a:pt x="0" y="144"/>
                </a:lnTo>
                <a:lnTo>
                  <a:pt x="0" y="147"/>
                </a:lnTo>
                <a:lnTo>
                  <a:pt x="3" y="150"/>
                </a:lnTo>
                <a:lnTo>
                  <a:pt x="6" y="156"/>
                </a:lnTo>
                <a:lnTo>
                  <a:pt x="13" y="162"/>
                </a:lnTo>
                <a:lnTo>
                  <a:pt x="13" y="162"/>
                </a:lnTo>
                <a:lnTo>
                  <a:pt x="13" y="169"/>
                </a:lnTo>
                <a:lnTo>
                  <a:pt x="13" y="172"/>
                </a:lnTo>
                <a:lnTo>
                  <a:pt x="13" y="175"/>
                </a:lnTo>
                <a:lnTo>
                  <a:pt x="16" y="178"/>
                </a:lnTo>
                <a:lnTo>
                  <a:pt x="16" y="181"/>
                </a:lnTo>
                <a:lnTo>
                  <a:pt x="19" y="184"/>
                </a:lnTo>
                <a:lnTo>
                  <a:pt x="25" y="184"/>
                </a:lnTo>
                <a:lnTo>
                  <a:pt x="35" y="184"/>
                </a:lnTo>
                <a:lnTo>
                  <a:pt x="38" y="187"/>
                </a:lnTo>
                <a:lnTo>
                  <a:pt x="41" y="191"/>
                </a:lnTo>
                <a:lnTo>
                  <a:pt x="44" y="200"/>
                </a:lnTo>
                <a:lnTo>
                  <a:pt x="47" y="203"/>
                </a:lnTo>
                <a:lnTo>
                  <a:pt x="47" y="206"/>
                </a:lnTo>
                <a:lnTo>
                  <a:pt x="50" y="206"/>
                </a:lnTo>
                <a:lnTo>
                  <a:pt x="85" y="216"/>
                </a:lnTo>
                <a:lnTo>
                  <a:pt x="88" y="219"/>
                </a:lnTo>
                <a:lnTo>
                  <a:pt x="128" y="203"/>
                </a:lnTo>
                <a:lnTo>
                  <a:pt x="288" y="284"/>
                </a:lnTo>
                <a:lnTo>
                  <a:pt x="288" y="284"/>
                </a:lnTo>
                <a:lnTo>
                  <a:pt x="288" y="28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5" name="Freeform 113">
            <a:extLst>
              <a:ext uri="{FF2B5EF4-FFF2-40B4-BE49-F238E27FC236}">
                <a16:creationId xmlns:a16="http://schemas.microsoft.com/office/drawing/2014/main" id="{110F2053-89AE-A154-378B-F0E5264E54C7}"/>
              </a:ext>
            </a:extLst>
          </p:cNvPr>
          <p:cNvSpPr>
            <a:spLocks noEditPoints="1"/>
          </p:cNvSpPr>
          <p:nvPr userDrawn="1"/>
        </p:nvSpPr>
        <p:spPr bwMode="auto">
          <a:xfrm>
            <a:off x="13616686" y="6933480"/>
            <a:ext cx="238111" cy="485776"/>
          </a:xfrm>
          <a:custGeom>
            <a:avLst/>
            <a:gdLst>
              <a:gd name="T0" fmla="*/ 43 w 75"/>
              <a:gd name="T1" fmla="*/ 153 h 153"/>
              <a:gd name="T2" fmla="*/ 47 w 75"/>
              <a:gd name="T3" fmla="*/ 150 h 153"/>
              <a:gd name="T4" fmla="*/ 50 w 75"/>
              <a:gd name="T5" fmla="*/ 147 h 153"/>
              <a:gd name="T6" fmla="*/ 50 w 75"/>
              <a:gd name="T7" fmla="*/ 144 h 153"/>
              <a:gd name="T8" fmla="*/ 50 w 75"/>
              <a:gd name="T9" fmla="*/ 131 h 153"/>
              <a:gd name="T10" fmla="*/ 50 w 75"/>
              <a:gd name="T11" fmla="*/ 128 h 153"/>
              <a:gd name="T12" fmla="*/ 56 w 75"/>
              <a:gd name="T13" fmla="*/ 125 h 153"/>
              <a:gd name="T14" fmla="*/ 59 w 75"/>
              <a:gd name="T15" fmla="*/ 119 h 153"/>
              <a:gd name="T16" fmla="*/ 75 w 75"/>
              <a:gd name="T17" fmla="*/ 103 h 153"/>
              <a:gd name="T18" fmla="*/ 75 w 75"/>
              <a:gd name="T19" fmla="*/ 94 h 153"/>
              <a:gd name="T20" fmla="*/ 72 w 75"/>
              <a:gd name="T21" fmla="*/ 94 h 153"/>
              <a:gd name="T22" fmla="*/ 65 w 75"/>
              <a:gd name="T23" fmla="*/ 87 h 153"/>
              <a:gd name="T24" fmla="*/ 62 w 75"/>
              <a:gd name="T25" fmla="*/ 84 h 153"/>
              <a:gd name="T26" fmla="*/ 62 w 75"/>
              <a:gd name="T27" fmla="*/ 84 h 153"/>
              <a:gd name="T28" fmla="*/ 56 w 75"/>
              <a:gd name="T29" fmla="*/ 84 h 153"/>
              <a:gd name="T30" fmla="*/ 53 w 75"/>
              <a:gd name="T31" fmla="*/ 84 h 153"/>
              <a:gd name="T32" fmla="*/ 43 w 75"/>
              <a:gd name="T33" fmla="*/ 72 h 153"/>
              <a:gd name="T34" fmla="*/ 56 w 75"/>
              <a:gd name="T35" fmla="*/ 59 h 153"/>
              <a:gd name="T36" fmla="*/ 62 w 75"/>
              <a:gd name="T37" fmla="*/ 53 h 153"/>
              <a:gd name="T38" fmla="*/ 62 w 75"/>
              <a:gd name="T39" fmla="*/ 50 h 153"/>
              <a:gd name="T40" fmla="*/ 62 w 75"/>
              <a:gd name="T41" fmla="*/ 44 h 153"/>
              <a:gd name="T42" fmla="*/ 56 w 75"/>
              <a:gd name="T43" fmla="*/ 37 h 153"/>
              <a:gd name="T44" fmla="*/ 53 w 75"/>
              <a:gd name="T45" fmla="*/ 25 h 153"/>
              <a:gd name="T46" fmla="*/ 56 w 75"/>
              <a:gd name="T47" fmla="*/ 19 h 153"/>
              <a:gd name="T48" fmla="*/ 59 w 75"/>
              <a:gd name="T49" fmla="*/ 9 h 153"/>
              <a:gd name="T50" fmla="*/ 53 w 75"/>
              <a:gd name="T51" fmla="*/ 12 h 153"/>
              <a:gd name="T52" fmla="*/ 47 w 75"/>
              <a:gd name="T53" fmla="*/ 16 h 153"/>
              <a:gd name="T54" fmla="*/ 43 w 75"/>
              <a:gd name="T55" fmla="*/ 6 h 153"/>
              <a:gd name="T56" fmla="*/ 40 w 75"/>
              <a:gd name="T57" fmla="*/ 0 h 153"/>
              <a:gd name="T58" fmla="*/ 37 w 75"/>
              <a:gd name="T59" fmla="*/ 3 h 153"/>
              <a:gd name="T60" fmla="*/ 28 w 75"/>
              <a:gd name="T61" fmla="*/ 3 h 153"/>
              <a:gd name="T62" fmla="*/ 15 w 75"/>
              <a:gd name="T63" fmla="*/ 9 h 153"/>
              <a:gd name="T64" fmla="*/ 15 w 75"/>
              <a:gd name="T65" fmla="*/ 12 h 153"/>
              <a:gd name="T66" fmla="*/ 15 w 75"/>
              <a:gd name="T67" fmla="*/ 22 h 153"/>
              <a:gd name="T68" fmla="*/ 12 w 75"/>
              <a:gd name="T69" fmla="*/ 37 h 153"/>
              <a:gd name="T70" fmla="*/ 15 w 75"/>
              <a:gd name="T71" fmla="*/ 47 h 153"/>
              <a:gd name="T72" fmla="*/ 15 w 75"/>
              <a:gd name="T73" fmla="*/ 47 h 153"/>
              <a:gd name="T74" fmla="*/ 15 w 75"/>
              <a:gd name="T75" fmla="*/ 53 h 153"/>
              <a:gd name="T76" fmla="*/ 12 w 75"/>
              <a:gd name="T77" fmla="*/ 62 h 153"/>
              <a:gd name="T78" fmla="*/ 9 w 75"/>
              <a:gd name="T79" fmla="*/ 66 h 153"/>
              <a:gd name="T80" fmla="*/ 3 w 75"/>
              <a:gd name="T81" fmla="*/ 72 h 153"/>
              <a:gd name="T82" fmla="*/ 0 w 75"/>
              <a:gd name="T83" fmla="*/ 84 h 153"/>
              <a:gd name="T84" fmla="*/ 3 w 75"/>
              <a:gd name="T85" fmla="*/ 91 h 153"/>
              <a:gd name="T86" fmla="*/ 6 w 75"/>
              <a:gd name="T87" fmla="*/ 94 h 153"/>
              <a:gd name="T88" fmla="*/ 12 w 75"/>
              <a:gd name="T89" fmla="*/ 103 h 153"/>
              <a:gd name="T90" fmla="*/ 18 w 75"/>
              <a:gd name="T91" fmla="*/ 109 h 153"/>
              <a:gd name="T92" fmla="*/ 28 w 75"/>
              <a:gd name="T93" fmla="*/ 116 h 153"/>
              <a:gd name="T94" fmla="*/ 40 w 75"/>
              <a:gd name="T95" fmla="*/ 153 h 153"/>
              <a:gd name="T96" fmla="*/ 59 w 75"/>
              <a:gd name="T97" fmla="*/ 78 h 153"/>
              <a:gd name="T98" fmla="*/ 62 w 75"/>
              <a:gd name="T99" fmla="*/ 81 h 153"/>
              <a:gd name="T100" fmla="*/ 56 w 75"/>
              <a:gd name="T101" fmla="*/ 7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5" h="153">
                <a:moveTo>
                  <a:pt x="40" y="153"/>
                </a:moveTo>
                <a:lnTo>
                  <a:pt x="43" y="153"/>
                </a:lnTo>
                <a:lnTo>
                  <a:pt x="43" y="153"/>
                </a:lnTo>
                <a:lnTo>
                  <a:pt x="47" y="150"/>
                </a:lnTo>
                <a:lnTo>
                  <a:pt x="50" y="147"/>
                </a:lnTo>
                <a:lnTo>
                  <a:pt x="50" y="147"/>
                </a:lnTo>
                <a:lnTo>
                  <a:pt x="50" y="144"/>
                </a:lnTo>
                <a:lnTo>
                  <a:pt x="50" y="144"/>
                </a:lnTo>
                <a:lnTo>
                  <a:pt x="50" y="138"/>
                </a:lnTo>
                <a:lnTo>
                  <a:pt x="50" y="131"/>
                </a:lnTo>
                <a:lnTo>
                  <a:pt x="50" y="128"/>
                </a:lnTo>
                <a:lnTo>
                  <a:pt x="50" y="128"/>
                </a:lnTo>
                <a:lnTo>
                  <a:pt x="53" y="125"/>
                </a:lnTo>
                <a:lnTo>
                  <a:pt x="56" y="125"/>
                </a:lnTo>
                <a:lnTo>
                  <a:pt x="59" y="122"/>
                </a:lnTo>
                <a:lnTo>
                  <a:pt x="59" y="119"/>
                </a:lnTo>
                <a:lnTo>
                  <a:pt x="72" y="109"/>
                </a:lnTo>
                <a:lnTo>
                  <a:pt x="75" y="103"/>
                </a:lnTo>
                <a:lnTo>
                  <a:pt x="75" y="103"/>
                </a:lnTo>
                <a:lnTo>
                  <a:pt x="75" y="94"/>
                </a:lnTo>
                <a:lnTo>
                  <a:pt x="75" y="94"/>
                </a:lnTo>
                <a:lnTo>
                  <a:pt x="72" y="94"/>
                </a:lnTo>
                <a:lnTo>
                  <a:pt x="65" y="91"/>
                </a:lnTo>
                <a:lnTo>
                  <a:pt x="65" y="87"/>
                </a:lnTo>
                <a:lnTo>
                  <a:pt x="65" y="84"/>
                </a:lnTo>
                <a:lnTo>
                  <a:pt x="62" y="84"/>
                </a:lnTo>
                <a:lnTo>
                  <a:pt x="62" y="84"/>
                </a:lnTo>
                <a:lnTo>
                  <a:pt x="62" y="84"/>
                </a:lnTo>
                <a:lnTo>
                  <a:pt x="59" y="87"/>
                </a:lnTo>
                <a:lnTo>
                  <a:pt x="56" y="84"/>
                </a:lnTo>
                <a:lnTo>
                  <a:pt x="56" y="81"/>
                </a:lnTo>
                <a:lnTo>
                  <a:pt x="53" y="84"/>
                </a:lnTo>
                <a:lnTo>
                  <a:pt x="47" y="78"/>
                </a:lnTo>
                <a:lnTo>
                  <a:pt x="43" y="72"/>
                </a:lnTo>
                <a:lnTo>
                  <a:pt x="47" y="66"/>
                </a:lnTo>
                <a:lnTo>
                  <a:pt x="56" y="59"/>
                </a:lnTo>
                <a:lnTo>
                  <a:pt x="62" y="53"/>
                </a:lnTo>
                <a:lnTo>
                  <a:pt x="62" y="53"/>
                </a:lnTo>
                <a:lnTo>
                  <a:pt x="62" y="50"/>
                </a:lnTo>
                <a:lnTo>
                  <a:pt x="62" y="50"/>
                </a:lnTo>
                <a:lnTo>
                  <a:pt x="62" y="47"/>
                </a:lnTo>
                <a:lnTo>
                  <a:pt x="62" y="44"/>
                </a:lnTo>
                <a:lnTo>
                  <a:pt x="62" y="37"/>
                </a:lnTo>
                <a:lnTo>
                  <a:pt x="56" y="37"/>
                </a:lnTo>
                <a:lnTo>
                  <a:pt x="50" y="28"/>
                </a:lnTo>
                <a:lnTo>
                  <a:pt x="53" y="25"/>
                </a:lnTo>
                <a:lnTo>
                  <a:pt x="56" y="22"/>
                </a:lnTo>
                <a:lnTo>
                  <a:pt x="56" y="19"/>
                </a:lnTo>
                <a:lnTo>
                  <a:pt x="59" y="12"/>
                </a:lnTo>
                <a:lnTo>
                  <a:pt x="59" y="9"/>
                </a:lnTo>
                <a:lnTo>
                  <a:pt x="59" y="6"/>
                </a:lnTo>
                <a:lnTo>
                  <a:pt x="53" y="12"/>
                </a:lnTo>
                <a:lnTo>
                  <a:pt x="50" y="16"/>
                </a:lnTo>
                <a:lnTo>
                  <a:pt x="47" y="16"/>
                </a:lnTo>
                <a:lnTo>
                  <a:pt x="43" y="6"/>
                </a:lnTo>
                <a:lnTo>
                  <a:pt x="43" y="6"/>
                </a:lnTo>
                <a:lnTo>
                  <a:pt x="43" y="3"/>
                </a:lnTo>
                <a:lnTo>
                  <a:pt x="40" y="0"/>
                </a:lnTo>
                <a:lnTo>
                  <a:pt x="37" y="3"/>
                </a:lnTo>
                <a:lnTo>
                  <a:pt x="37" y="3"/>
                </a:lnTo>
                <a:lnTo>
                  <a:pt x="34" y="3"/>
                </a:lnTo>
                <a:lnTo>
                  <a:pt x="28" y="3"/>
                </a:lnTo>
                <a:lnTo>
                  <a:pt x="22" y="6"/>
                </a:lnTo>
                <a:lnTo>
                  <a:pt x="15" y="9"/>
                </a:lnTo>
                <a:lnTo>
                  <a:pt x="15" y="9"/>
                </a:lnTo>
                <a:lnTo>
                  <a:pt x="15" y="12"/>
                </a:lnTo>
                <a:lnTo>
                  <a:pt x="15" y="16"/>
                </a:lnTo>
                <a:lnTo>
                  <a:pt x="15" y="22"/>
                </a:lnTo>
                <a:lnTo>
                  <a:pt x="15" y="28"/>
                </a:lnTo>
                <a:lnTo>
                  <a:pt x="12" y="37"/>
                </a:lnTo>
                <a:lnTo>
                  <a:pt x="12" y="44"/>
                </a:lnTo>
                <a:lnTo>
                  <a:pt x="15" y="47"/>
                </a:lnTo>
                <a:lnTo>
                  <a:pt x="15" y="47"/>
                </a:lnTo>
                <a:lnTo>
                  <a:pt x="15" y="47"/>
                </a:lnTo>
                <a:lnTo>
                  <a:pt x="12" y="50"/>
                </a:lnTo>
                <a:lnTo>
                  <a:pt x="15" y="53"/>
                </a:lnTo>
                <a:lnTo>
                  <a:pt x="15" y="56"/>
                </a:lnTo>
                <a:lnTo>
                  <a:pt x="12" y="62"/>
                </a:lnTo>
                <a:lnTo>
                  <a:pt x="9" y="66"/>
                </a:lnTo>
                <a:lnTo>
                  <a:pt x="9" y="66"/>
                </a:lnTo>
                <a:lnTo>
                  <a:pt x="6" y="69"/>
                </a:lnTo>
                <a:lnTo>
                  <a:pt x="3" y="72"/>
                </a:lnTo>
                <a:lnTo>
                  <a:pt x="0" y="81"/>
                </a:lnTo>
                <a:lnTo>
                  <a:pt x="0" y="84"/>
                </a:lnTo>
                <a:lnTo>
                  <a:pt x="3" y="87"/>
                </a:lnTo>
                <a:lnTo>
                  <a:pt x="3" y="91"/>
                </a:lnTo>
                <a:lnTo>
                  <a:pt x="6" y="94"/>
                </a:lnTo>
                <a:lnTo>
                  <a:pt x="6" y="94"/>
                </a:lnTo>
                <a:lnTo>
                  <a:pt x="12" y="100"/>
                </a:lnTo>
                <a:lnTo>
                  <a:pt x="12" y="103"/>
                </a:lnTo>
                <a:lnTo>
                  <a:pt x="18" y="106"/>
                </a:lnTo>
                <a:lnTo>
                  <a:pt x="18" y="109"/>
                </a:lnTo>
                <a:lnTo>
                  <a:pt x="22" y="109"/>
                </a:lnTo>
                <a:lnTo>
                  <a:pt x="28" y="116"/>
                </a:lnTo>
                <a:lnTo>
                  <a:pt x="40" y="153"/>
                </a:lnTo>
                <a:lnTo>
                  <a:pt x="40" y="153"/>
                </a:lnTo>
                <a:close/>
                <a:moveTo>
                  <a:pt x="56" y="78"/>
                </a:moveTo>
                <a:lnTo>
                  <a:pt x="59" y="78"/>
                </a:lnTo>
                <a:lnTo>
                  <a:pt x="62" y="78"/>
                </a:lnTo>
                <a:lnTo>
                  <a:pt x="62" y="81"/>
                </a:lnTo>
                <a:lnTo>
                  <a:pt x="59" y="81"/>
                </a:lnTo>
                <a:lnTo>
                  <a:pt x="56" y="78"/>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6" name="Freeform 114">
            <a:extLst>
              <a:ext uri="{FF2B5EF4-FFF2-40B4-BE49-F238E27FC236}">
                <a16:creationId xmlns:a16="http://schemas.microsoft.com/office/drawing/2014/main" id="{E920A03B-2FF5-5BCE-10F0-C715AC6434E3}"/>
              </a:ext>
            </a:extLst>
          </p:cNvPr>
          <p:cNvSpPr>
            <a:spLocks/>
          </p:cNvSpPr>
          <p:nvPr userDrawn="1"/>
        </p:nvSpPr>
        <p:spPr bwMode="auto">
          <a:xfrm>
            <a:off x="12642026" y="6952533"/>
            <a:ext cx="1250869" cy="1212850"/>
          </a:xfrm>
          <a:custGeom>
            <a:avLst/>
            <a:gdLst>
              <a:gd name="T0" fmla="*/ 391 w 394"/>
              <a:gd name="T1" fmla="*/ 291 h 382"/>
              <a:gd name="T2" fmla="*/ 382 w 394"/>
              <a:gd name="T3" fmla="*/ 275 h 382"/>
              <a:gd name="T4" fmla="*/ 363 w 394"/>
              <a:gd name="T5" fmla="*/ 272 h 382"/>
              <a:gd name="T6" fmla="*/ 357 w 394"/>
              <a:gd name="T7" fmla="*/ 263 h 382"/>
              <a:gd name="T8" fmla="*/ 357 w 394"/>
              <a:gd name="T9" fmla="*/ 250 h 382"/>
              <a:gd name="T10" fmla="*/ 347 w 394"/>
              <a:gd name="T11" fmla="*/ 238 h 382"/>
              <a:gd name="T12" fmla="*/ 347 w 394"/>
              <a:gd name="T13" fmla="*/ 229 h 382"/>
              <a:gd name="T14" fmla="*/ 354 w 394"/>
              <a:gd name="T15" fmla="*/ 216 h 382"/>
              <a:gd name="T16" fmla="*/ 354 w 394"/>
              <a:gd name="T17" fmla="*/ 200 h 382"/>
              <a:gd name="T18" fmla="*/ 350 w 394"/>
              <a:gd name="T19" fmla="*/ 182 h 382"/>
              <a:gd name="T20" fmla="*/ 347 w 394"/>
              <a:gd name="T21" fmla="*/ 157 h 382"/>
              <a:gd name="T22" fmla="*/ 347 w 394"/>
              <a:gd name="T23" fmla="*/ 147 h 382"/>
              <a:gd name="T24" fmla="*/ 325 w 394"/>
              <a:gd name="T25" fmla="*/ 103 h 382"/>
              <a:gd name="T26" fmla="*/ 319 w 394"/>
              <a:gd name="T27" fmla="*/ 94 h 382"/>
              <a:gd name="T28" fmla="*/ 310 w 394"/>
              <a:gd name="T29" fmla="*/ 85 h 382"/>
              <a:gd name="T30" fmla="*/ 307 w 394"/>
              <a:gd name="T31" fmla="*/ 75 h 382"/>
              <a:gd name="T32" fmla="*/ 316 w 394"/>
              <a:gd name="T33" fmla="*/ 60 h 382"/>
              <a:gd name="T34" fmla="*/ 322 w 394"/>
              <a:gd name="T35" fmla="*/ 50 h 382"/>
              <a:gd name="T36" fmla="*/ 322 w 394"/>
              <a:gd name="T37" fmla="*/ 41 h 382"/>
              <a:gd name="T38" fmla="*/ 319 w 394"/>
              <a:gd name="T39" fmla="*/ 38 h 382"/>
              <a:gd name="T40" fmla="*/ 322 w 394"/>
              <a:gd name="T41" fmla="*/ 16 h 382"/>
              <a:gd name="T42" fmla="*/ 322 w 394"/>
              <a:gd name="T43" fmla="*/ 3 h 382"/>
              <a:gd name="T44" fmla="*/ 313 w 394"/>
              <a:gd name="T45" fmla="*/ 3 h 382"/>
              <a:gd name="T46" fmla="*/ 297 w 394"/>
              <a:gd name="T47" fmla="*/ 0 h 382"/>
              <a:gd name="T48" fmla="*/ 285 w 394"/>
              <a:gd name="T49" fmla="*/ 6 h 382"/>
              <a:gd name="T50" fmla="*/ 279 w 394"/>
              <a:gd name="T51" fmla="*/ 0 h 382"/>
              <a:gd name="T52" fmla="*/ 272 w 394"/>
              <a:gd name="T53" fmla="*/ 6 h 382"/>
              <a:gd name="T54" fmla="*/ 263 w 394"/>
              <a:gd name="T55" fmla="*/ 10 h 382"/>
              <a:gd name="T56" fmla="*/ 250 w 394"/>
              <a:gd name="T57" fmla="*/ 6 h 382"/>
              <a:gd name="T58" fmla="*/ 238 w 394"/>
              <a:gd name="T59" fmla="*/ 6 h 382"/>
              <a:gd name="T60" fmla="*/ 232 w 394"/>
              <a:gd name="T61" fmla="*/ 3 h 382"/>
              <a:gd name="T62" fmla="*/ 219 w 394"/>
              <a:gd name="T63" fmla="*/ 6 h 382"/>
              <a:gd name="T64" fmla="*/ 207 w 394"/>
              <a:gd name="T65" fmla="*/ 10 h 382"/>
              <a:gd name="T66" fmla="*/ 191 w 394"/>
              <a:gd name="T67" fmla="*/ 10 h 382"/>
              <a:gd name="T68" fmla="*/ 175 w 394"/>
              <a:gd name="T69" fmla="*/ 19 h 382"/>
              <a:gd name="T70" fmla="*/ 166 w 394"/>
              <a:gd name="T71" fmla="*/ 28 h 382"/>
              <a:gd name="T72" fmla="*/ 160 w 394"/>
              <a:gd name="T73" fmla="*/ 28 h 382"/>
              <a:gd name="T74" fmla="*/ 150 w 394"/>
              <a:gd name="T75" fmla="*/ 31 h 382"/>
              <a:gd name="T76" fmla="*/ 144 w 394"/>
              <a:gd name="T77" fmla="*/ 38 h 382"/>
              <a:gd name="T78" fmla="*/ 128 w 394"/>
              <a:gd name="T79" fmla="*/ 44 h 382"/>
              <a:gd name="T80" fmla="*/ 135 w 394"/>
              <a:gd name="T81" fmla="*/ 50 h 382"/>
              <a:gd name="T82" fmla="*/ 135 w 394"/>
              <a:gd name="T83" fmla="*/ 63 h 382"/>
              <a:gd name="T84" fmla="*/ 138 w 394"/>
              <a:gd name="T85" fmla="*/ 88 h 382"/>
              <a:gd name="T86" fmla="*/ 144 w 394"/>
              <a:gd name="T87" fmla="*/ 97 h 382"/>
              <a:gd name="T88" fmla="*/ 150 w 394"/>
              <a:gd name="T89" fmla="*/ 100 h 382"/>
              <a:gd name="T90" fmla="*/ 144 w 394"/>
              <a:gd name="T91" fmla="*/ 113 h 382"/>
              <a:gd name="T92" fmla="*/ 113 w 394"/>
              <a:gd name="T93" fmla="*/ 119 h 382"/>
              <a:gd name="T94" fmla="*/ 107 w 394"/>
              <a:gd name="T95" fmla="*/ 135 h 382"/>
              <a:gd name="T96" fmla="*/ 72 w 394"/>
              <a:gd name="T97" fmla="*/ 160 h 382"/>
              <a:gd name="T98" fmla="*/ 41 w 394"/>
              <a:gd name="T99" fmla="*/ 172 h 382"/>
              <a:gd name="T100" fmla="*/ 19 w 394"/>
              <a:gd name="T101" fmla="*/ 175 h 382"/>
              <a:gd name="T102" fmla="*/ 0 w 394"/>
              <a:gd name="T103" fmla="*/ 191 h 382"/>
              <a:gd name="T104" fmla="*/ 0 w 394"/>
              <a:gd name="T105" fmla="*/ 213 h 382"/>
              <a:gd name="T106" fmla="*/ 72 w 394"/>
              <a:gd name="T107" fmla="*/ 260 h 382"/>
              <a:gd name="T108" fmla="*/ 203 w 394"/>
              <a:gd name="T109" fmla="*/ 354 h 382"/>
              <a:gd name="T110" fmla="*/ 219 w 394"/>
              <a:gd name="T111" fmla="*/ 360 h 382"/>
              <a:gd name="T112" fmla="*/ 232 w 394"/>
              <a:gd name="T113" fmla="*/ 369 h 382"/>
              <a:gd name="T114" fmla="*/ 232 w 394"/>
              <a:gd name="T115" fmla="*/ 382 h 382"/>
              <a:gd name="T116" fmla="*/ 253 w 394"/>
              <a:gd name="T117" fmla="*/ 379 h 382"/>
              <a:gd name="T118" fmla="*/ 282 w 394"/>
              <a:gd name="T119" fmla="*/ 372 h 382"/>
              <a:gd name="T120" fmla="*/ 394 w 394"/>
              <a:gd name="T121" fmla="*/ 294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4" h="382">
                <a:moveTo>
                  <a:pt x="394" y="294"/>
                </a:moveTo>
                <a:lnTo>
                  <a:pt x="391" y="294"/>
                </a:lnTo>
                <a:lnTo>
                  <a:pt x="391" y="291"/>
                </a:lnTo>
                <a:lnTo>
                  <a:pt x="388" y="288"/>
                </a:lnTo>
                <a:lnTo>
                  <a:pt x="385" y="279"/>
                </a:lnTo>
                <a:lnTo>
                  <a:pt x="382" y="275"/>
                </a:lnTo>
                <a:lnTo>
                  <a:pt x="379" y="272"/>
                </a:lnTo>
                <a:lnTo>
                  <a:pt x="369" y="272"/>
                </a:lnTo>
                <a:lnTo>
                  <a:pt x="363" y="272"/>
                </a:lnTo>
                <a:lnTo>
                  <a:pt x="360" y="269"/>
                </a:lnTo>
                <a:lnTo>
                  <a:pt x="360" y="266"/>
                </a:lnTo>
                <a:lnTo>
                  <a:pt x="357" y="263"/>
                </a:lnTo>
                <a:lnTo>
                  <a:pt x="357" y="260"/>
                </a:lnTo>
                <a:lnTo>
                  <a:pt x="357" y="257"/>
                </a:lnTo>
                <a:lnTo>
                  <a:pt x="357" y="250"/>
                </a:lnTo>
                <a:lnTo>
                  <a:pt x="357" y="250"/>
                </a:lnTo>
                <a:lnTo>
                  <a:pt x="350" y="244"/>
                </a:lnTo>
                <a:lnTo>
                  <a:pt x="347" y="238"/>
                </a:lnTo>
                <a:lnTo>
                  <a:pt x="344" y="235"/>
                </a:lnTo>
                <a:lnTo>
                  <a:pt x="344" y="232"/>
                </a:lnTo>
                <a:lnTo>
                  <a:pt x="347" y="229"/>
                </a:lnTo>
                <a:lnTo>
                  <a:pt x="350" y="225"/>
                </a:lnTo>
                <a:lnTo>
                  <a:pt x="354" y="225"/>
                </a:lnTo>
                <a:lnTo>
                  <a:pt x="354" y="216"/>
                </a:lnTo>
                <a:lnTo>
                  <a:pt x="350" y="213"/>
                </a:lnTo>
                <a:lnTo>
                  <a:pt x="350" y="210"/>
                </a:lnTo>
                <a:lnTo>
                  <a:pt x="354" y="200"/>
                </a:lnTo>
                <a:lnTo>
                  <a:pt x="350" y="194"/>
                </a:lnTo>
                <a:lnTo>
                  <a:pt x="350" y="185"/>
                </a:lnTo>
                <a:lnTo>
                  <a:pt x="350" y="182"/>
                </a:lnTo>
                <a:lnTo>
                  <a:pt x="350" y="175"/>
                </a:lnTo>
                <a:lnTo>
                  <a:pt x="350" y="163"/>
                </a:lnTo>
                <a:lnTo>
                  <a:pt x="347" y="157"/>
                </a:lnTo>
                <a:lnTo>
                  <a:pt x="344" y="157"/>
                </a:lnTo>
                <a:lnTo>
                  <a:pt x="344" y="150"/>
                </a:lnTo>
                <a:lnTo>
                  <a:pt x="347" y="147"/>
                </a:lnTo>
                <a:lnTo>
                  <a:pt x="335" y="110"/>
                </a:lnTo>
                <a:lnTo>
                  <a:pt x="329" y="103"/>
                </a:lnTo>
                <a:lnTo>
                  <a:pt x="325" y="103"/>
                </a:lnTo>
                <a:lnTo>
                  <a:pt x="325" y="100"/>
                </a:lnTo>
                <a:lnTo>
                  <a:pt x="319" y="97"/>
                </a:lnTo>
                <a:lnTo>
                  <a:pt x="319" y="94"/>
                </a:lnTo>
                <a:lnTo>
                  <a:pt x="313" y="88"/>
                </a:lnTo>
                <a:lnTo>
                  <a:pt x="313" y="88"/>
                </a:lnTo>
                <a:lnTo>
                  <a:pt x="310" y="85"/>
                </a:lnTo>
                <a:lnTo>
                  <a:pt x="310" y="81"/>
                </a:lnTo>
                <a:lnTo>
                  <a:pt x="307" y="78"/>
                </a:lnTo>
                <a:lnTo>
                  <a:pt x="307" y="75"/>
                </a:lnTo>
                <a:lnTo>
                  <a:pt x="310" y="66"/>
                </a:lnTo>
                <a:lnTo>
                  <a:pt x="313" y="63"/>
                </a:lnTo>
                <a:lnTo>
                  <a:pt x="316" y="60"/>
                </a:lnTo>
                <a:lnTo>
                  <a:pt x="316" y="60"/>
                </a:lnTo>
                <a:lnTo>
                  <a:pt x="319" y="56"/>
                </a:lnTo>
                <a:lnTo>
                  <a:pt x="322" y="50"/>
                </a:lnTo>
                <a:lnTo>
                  <a:pt x="322" y="47"/>
                </a:lnTo>
                <a:lnTo>
                  <a:pt x="319" y="44"/>
                </a:lnTo>
                <a:lnTo>
                  <a:pt x="322" y="41"/>
                </a:lnTo>
                <a:lnTo>
                  <a:pt x="322" y="41"/>
                </a:lnTo>
                <a:lnTo>
                  <a:pt x="322" y="41"/>
                </a:lnTo>
                <a:lnTo>
                  <a:pt x="319" y="38"/>
                </a:lnTo>
                <a:lnTo>
                  <a:pt x="319" y="31"/>
                </a:lnTo>
                <a:lnTo>
                  <a:pt x="322" y="22"/>
                </a:lnTo>
                <a:lnTo>
                  <a:pt x="322" y="16"/>
                </a:lnTo>
                <a:lnTo>
                  <a:pt x="322" y="10"/>
                </a:lnTo>
                <a:lnTo>
                  <a:pt x="322" y="6"/>
                </a:lnTo>
                <a:lnTo>
                  <a:pt x="322" y="3"/>
                </a:lnTo>
                <a:lnTo>
                  <a:pt x="322" y="3"/>
                </a:lnTo>
                <a:lnTo>
                  <a:pt x="316" y="3"/>
                </a:lnTo>
                <a:lnTo>
                  <a:pt x="313" y="3"/>
                </a:lnTo>
                <a:lnTo>
                  <a:pt x="307" y="6"/>
                </a:lnTo>
                <a:lnTo>
                  <a:pt x="300" y="3"/>
                </a:lnTo>
                <a:lnTo>
                  <a:pt x="297" y="0"/>
                </a:lnTo>
                <a:lnTo>
                  <a:pt x="297" y="3"/>
                </a:lnTo>
                <a:lnTo>
                  <a:pt x="291" y="6"/>
                </a:lnTo>
                <a:lnTo>
                  <a:pt x="285" y="6"/>
                </a:lnTo>
                <a:lnTo>
                  <a:pt x="285" y="3"/>
                </a:lnTo>
                <a:lnTo>
                  <a:pt x="282" y="0"/>
                </a:lnTo>
                <a:lnTo>
                  <a:pt x="279" y="0"/>
                </a:lnTo>
                <a:lnTo>
                  <a:pt x="279" y="3"/>
                </a:lnTo>
                <a:lnTo>
                  <a:pt x="272" y="3"/>
                </a:lnTo>
                <a:lnTo>
                  <a:pt x="272" y="6"/>
                </a:lnTo>
                <a:lnTo>
                  <a:pt x="269" y="6"/>
                </a:lnTo>
                <a:lnTo>
                  <a:pt x="266" y="6"/>
                </a:lnTo>
                <a:lnTo>
                  <a:pt x="263" y="10"/>
                </a:lnTo>
                <a:lnTo>
                  <a:pt x="257" y="10"/>
                </a:lnTo>
                <a:lnTo>
                  <a:pt x="257" y="6"/>
                </a:lnTo>
                <a:lnTo>
                  <a:pt x="250" y="6"/>
                </a:lnTo>
                <a:lnTo>
                  <a:pt x="247" y="3"/>
                </a:lnTo>
                <a:lnTo>
                  <a:pt x="241" y="6"/>
                </a:lnTo>
                <a:lnTo>
                  <a:pt x="238" y="6"/>
                </a:lnTo>
                <a:lnTo>
                  <a:pt x="235" y="6"/>
                </a:lnTo>
                <a:lnTo>
                  <a:pt x="232" y="3"/>
                </a:lnTo>
                <a:lnTo>
                  <a:pt x="232" y="3"/>
                </a:lnTo>
                <a:lnTo>
                  <a:pt x="228" y="10"/>
                </a:lnTo>
                <a:lnTo>
                  <a:pt x="225" y="10"/>
                </a:lnTo>
                <a:lnTo>
                  <a:pt x="219" y="6"/>
                </a:lnTo>
                <a:lnTo>
                  <a:pt x="216" y="13"/>
                </a:lnTo>
                <a:lnTo>
                  <a:pt x="213" y="13"/>
                </a:lnTo>
                <a:lnTo>
                  <a:pt x="207" y="10"/>
                </a:lnTo>
                <a:lnTo>
                  <a:pt x="203" y="10"/>
                </a:lnTo>
                <a:lnTo>
                  <a:pt x="197" y="13"/>
                </a:lnTo>
                <a:lnTo>
                  <a:pt x="191" y="10"/>
                </a:lnTo>
                <a:lnTo>
                  <a:pt x="182" y="19"/>
                </a:lnTo>
                <a:lnTo>
                  <a:pt x="175" y="19"/>
                </a:lnTo>
                <a:lnTo>
                  <a:pt x="175" y="19"/>
                </a:lnTo>
                <a:lnTo>
                  <a:pt x="169" y="22"/>
                </a:lnTo>
                <a:lnTo>
                  <a:pt x="169" y="25"/>
                </a:lnTo>
                <a:lnTo>
                  <a:pt x="166" y="28"/>
                </a:lnTo>
                <a:lnTo>
                  <a:pt x="166" y="28"/>
                </a:lnTo>
                <a:lnTo>
                  <a:pt x="163" y="28"/>
                </a:lnTo>
                <a:lnTo>
                  <a:pt x="160" y="28"/>
                </a:lnTo>
                <a:lnTo>
                  <a:pt x="160" y="28"/>
                </a:lnTo>
                <a:lnTo>
                  <a:pt x="157" y="31"/>
                </a:lnTo>
                <a:lnTo>
                  <a:pt x="150" y="31"/>
                </a:lnTo>
                <a:lnTo>
                  <a:pt x="147" y="31"/>
                </a:lnTo>
                <a:lnTo>
                  <a:pt x="144" y="35"/>
                </a:lnTo>
                <a:lnTo>
                  <a:pt x="144" y="38"/>
                </a:lnTo>
                <a:lnTo>
                  <a:pt x="141" y="41"/>
                </a:lnTo>
                <a:lnTo>
                  <a:pt x="135" y="44"/>
                </a:lnTo>
                <a:lnTo>
                  <a:pt x="128" y="44"/>
                </a:lnTo>
                <a:lnTo>
                  <a:pt x="132" y="47"/>
                </a:lnTo>
                <a:lnTo>
                  <a:pt x="132" y="47"/>
                </a:lnTo>
                <a:lnTo>
                  <a:pt x="135" y="50"/>
                </a:lnTo>
                <a:lnTo>
                  <a:pt x="135" y="53"/>
                </a:lnTo>
                <a:lnTo>
                  <a:pt x="135" y="56"/>
                </a:lnTo>
                <a:lnTo>
                  <a:pt x="135" y="63"/>
                </a:lnTo>
                <a:lnTo>
                  <a:pt x="135" y="69"/>
                </a:lnTo>
                <a:lnTo>
                  <a:pt x="135" y="72"/>
                </a:lnTo>
                <a:lnTo>
                  <a:pt x="138" y="88"/>
                </a:lnTo>
                <a:lnTo>
                  <a:pt x="141" y="94"/>
                </a:lnTo>
                <a:lnTo>
                  <a:pt x="141" y="97"/>
                </a:lnTo>
                <a:lnTo>
                  <a:pt x="144" y="97"/>
                </a:lnTo>
                <a:lnTo>
                  <a:pt x="147" y="100"/>
                </a:lnTo>
                <a:lnTo>
                  <a:pt x="147" y="100"/>
                </a:lnTo>
                <a:lnTo>
                  <a:pt x="150" y="100"/>
                </a:lnTo>
                <a:lnTo>
                  <a:pt x="147" y="107"/>
                </a:lnTo>
                <a:lnTo>
                  <a:pt x="147" y="107"/>
                </a:lnTo>
                <a:lnTo>
                  <a:pt x="144" y="113"/>
                </a:lnTo>
                <a:lnTo>
                  <a:pt x="122" y="113"/>
                </a:lnTo>
                <a:lnTo>
                  <a:pt x="119" y="113"/>
                </a:lnTo>
                <a:lnTo>
                  <a:pt x="113" y="119"/>
                </a:lnTo>
                <a:lnTo>
                  <a:pt x="110" y="122"/>
                </a:lnTo>
                <a:lnTo>
                  <a:pt x="107" y="128"/>
                </a:lnTo>
                <a:lnTo>
                  <a:pt x="107" y="135"/>
                </a:lnTo>
                <a:lnTo>
                  <a:pt x="107" y="138"/>
                </a:lnTo>
                <a:lnTo>
                  <a:pt x="91" y="147"/>
                </a:lnTo>
                <a:lnTo>
                  <a:pt x="72" y="160"/>
                </a:lnTo>
                <a:lnTo>
                  <a:pt x="53" y="169"/>
                </a:lnTo>
                <a:lnTo>
                  <a:pt x="47" y="172"/>
                </a:lnTo>
                <a:lnTo>
                  <a:pt x="41" y="172"/>
                </a:lnTo>
                <a:lnTo>
                  <a:pt x="35" y="172"/>
                </a:lnTo>
                <a:lnTo>
                  <a:pt x="32" y="172"/>
                </a:lnTo>
                <a:lnTo>
                  <a:pt x="19" y="175"/>
                </a:lnTo>
                <a:lnTo>
                  <a:pt x="13" y="178"/>
                </a:lnTo>
                <a:lnTo>
                  <a:pt x="10" y="182"/>
                </a:lnTo>
                <a:lnTo>
                  <a:pt x="0" y="191"/>
                </a:lnTo>
                <a:lnTo>
                  <a:pt x="0" y="207"/>
                </a:lnTo>
                <a:lnTo>
                  <a:pt x="0" y="207"/>
                </a:lnTo>
                <a:lnTo>
                  <a:pt x="0" y="213"/>
                </a:lnTo>
                <a:lnTo>
                  <a:pt x="0" y="213"/>
                </a:lnTo>
                <a:lnTo>
                  <a:pt x="0" y="213"/>
                </a:lnTo>
                <a:lnTo>
                  <a:pt x="72" y="260"/>
                </a:lnTo>
                <a:lnTo>
                  <a:pt x="72" y="260"/>
                </a:lnTo>
                <a:lnTo>
                  <a:pt x="200" y="344"/>
                </a:lnTo>
                <a:lnTo>
                  <a:pt x="203" y="354"/>
                </a:lnTo>
                <a:lnTo>
                  <a:pt x="207" y="357"/>
                </a:lnTo>
                <a:lnTo>
                  <a:pt x="213" y="357"/>
                </a:lnTo>
                <a:lnTo>
                  <a:pt x="219" y="360"/>
                </a:lnTo>
                <a:lnTo>
                  <a:pt x="222" y="363"/>
                </a:lnTo>
                <a:lnTo>
                  <a:pt x="228" y="366"/>
                </a:lnTo>
                <a:lnTo>
                  <a:pt x="232" y="369"/>
                </a:lnTo>
                <a:lnTo>
                  <a:pt x="232" y="372"/>
                </a:lnTo>
                <a:lnTo>
                  <a:pt x="228" y="379"/>
                </a:lnTo>
                <a:lnTo>
                  <a:pt x="232" y="382"/>
                </a:lnTo>
                <a:lnTo>
                  <a:pt x="235" y="382"/>
                </a:lnTo>
                <a:lnTo>
                  <a:pt x="244" y="382"/>
                </a:lnTo>
                <a:lnTo>
                  <a:pt x="253" y="379"/>
                </a:lnTo>
                <a:lnTo>
                  <a:pt x="253" y="379"/>
                </a:lnTo>
                <a:lnTo>
                  <a:pt x="253" y="379"/>
                </a:lnTo>
                <a:lnTo>
                  <a:pt x="282" y="372"/>
                </a:lnTo>
                <a:lnTo>
                  <a:pt x="307" y="351"/>
                </a:lnTo>
                <a:lnTo>
                  <a:pt x="394" y="294"/>
                </a:lnTo>
                <a:lnTo>
                  <a:pt x="394" y="29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7" name="Freeform 115">
            <a:extLst>
              <a:ext uri="{FF2B5EF4-FFF2-40B4-BE49-F238E27FC236}">
                <a16:creationId xmlns:a16="http://schemas.microsoft.com/office/drawing/2014/main" id="{3178F600-193A-5956-2E3F-5727CB179D45}"/>
              </a:ext>
            </a:extLst>
          </p:cNvPr>
          <p:cNvSpPr>
            <a:spLocks/>
          </p:cNvSpPr>
          <p:nvPr userDrawn="1"/>
        </p:nvSpPr>
        <p:spPr bwMode="auto">
          <a:xfrm>
            <a:off x="12394390" y="7031907"/>
            <a:ext cx="723855" cy="577850"/>
          </a:xfrm>
          <a:custGeom>
            <a:avLst/>
            <a:gdLst>
              <a:gd name="T0" fmla="*/ 78 w 228"/>
              <a:gd name="T1" fmla="*/ 166 h 182"/>
              <a:gd name="T2" fmla="*/ 91 w 228"/>
              <a:gd name="T3" fmla="*/ 153 h 182"/>
              <a:gd name="T4" fmla="*/ 110 w 228"/>
              <a:gd name="T5" fmla="*/ 147 h 182"/>
              <a:gd name="T6" fmla="*/ 119 w 228"/>
              <a:gd name="T7" fmla="*/ 147 h 182"/>
              <a:gd name="T8" fmla="*/ 131 w 228"/>
              <a:gd name="T9" fmla="*/ 144 h 182"/>
              <a:gd name="T10" fmla="*/ 169 w 228"/>
              <a:gd name="T11" fmla="*/ 122 h 182"/>
              <a:gd name="T12" fmla="*/ 185 w 228"/>
              <a:gd name="T13" fmla="*/ 110 h 182"/>
              <a:gd name="T14" fmla="*/ 188 w 228"/>
              <a:gd name="T15" fmla="*/ 97 h 182"/>
              <a:gd name="T16" fmla="*/ 197 w 228"/>
              <a:gd name="T17" fmla="*/ 88 h 182"/>
              <a:gd name="T18" fmla="*/ 222 w 228"/>
              <a:gd name="T19" fmla="*/ 88 h 182"/>
              <a:gd name="T20" fmla="*/ 225 w 228"/>
              <a:gd name="T21" fmla="*/ 82 h 182"/>
              <a:gd name="T22" fmla="*/ 225 w 228"/>
              <a:gd name="T23" fmla="*/ 75 h 182"/>
              <a:gd name="T24" fmla="*/ 222 w 228"/>
              <a:gd name="T25" fmla="*/ 72 h 182"/>
              <a:gd name="T26" fmla="*/ 219 w 228"/>
              <a:gd name="T27" fmla="*/ 69 h 182"/>
              <a:gd name="T28" fmla="*/ 213 w 228"/>
              <a:gd name="T29" fmla="*/ 47 h 182"/>
              <a:gd name="T30" fmla="*/ 213 w 228"/>
              <a:gd name="T31" fmla="*/ 38 h 182"/>
              <a:gd name="T32" fmla="*/ 213 w 228"/>
              <a:gd name="T33" fmla="*/ 28 h 182"/>
              <a:gd name="T34" fmla="*/ 210 w 228"/>
              <a:gd name="T35" fmla="*/ 22 h 182"/>
              <a:gd name="T36" fmla="*/ 206 w 228"/>
              <a:gd name="T37" fmla="*/ 19 h 182"/>
              <a:gd name="T38" fmla="*/ 194 w 228"/>
              <a:gd name="T39" fmla="*/ 19 h 182"/>
              <a:gd name="T40" fmla="*/ 191 w 228"/>
              <a:gd name="T41" fmla="*/ 13 h 182"/>
              <a:gd name="T42" fmla="*/ 188 w 228"/>
              <a:gd name="T43" fmla="*/ 10 h 182"/>
              <a:gd name="T44" fmla="*/ 178 w 228"/>
              <a:gd name="T45" fmla="*/ 16 h 182"/>
              <a:gd name="T46" fmla="*/ 169 w 228"/>
              <a:gd name="T47" fmla="*/ 13 h 182"/>
              <a:gd name="T48" fmla="*/ 160 w 228"/>
              <a:gd name="T49" fmla="*/ 16 h 182"/>
              <a:gd name="T50" fmla="*/ 150 w 228"/>
              <a:gd name="T51" fmla="*/ 10 h 182"/>
              <a:gd name="T52" fmla="*/ 147 w 228"/>
              <a:gd name="T53" fmla="*/ 6 h 182"/>
              <a:gd name="T54" fmla="*/ 147 w 228"/>
              <a:gd name="T55" fmla="*/ 3 h 182"/>
              <a:gd name="T56" fmla="*/ 141 w 228"/>
              <a:gd name="T57" fmla="*/ 3 h 182"/>
              <a:gd name="T58" fmla="*/ 138 w 228"/>
              <a:gd name="T59" fmla="*/ 3 h 182"/>
              <a:gd name="T60" fmla="*/ 131 w 228"/>
              <a:gd name="T61" fmla="*/ 19 h 182"/>
              <a:gd name="T62" fmla="*/ 128 w 228"/>
              <a:gd name="T63" fmla="*/ 31 h 182"/>
              <a:gd name="T64" fmla="*/ 116 w 228"/>
              <a:gd name="T65" fmla="*/ 44 h 182"/>
              <a:gd name="T66" fmla="*/ 110 w 228"/>
              <a:gd name="T67" fmla="*/ 47 h 182"/>
              <a:gd name="T68" fmla="*/ 97 w 228"/>
              <a:gd name="T69" fmla="*/ 56 h 182"/>
              <a:gd name="T70" fmla="*/ 88 w 228"/>
              <a:gd name="T71" fmla="*/ 63 h 182"/>
              <a:gd name="T72" fmla="*/ 78 w 228"/>
              <a:gd name="T73" fmla="*/ 69 h 182"/>
              <a:gd name="T74" fmla="*/ 72 w 228"/>
              <a:gd name="T75" fmla="*/ 82 h 182"/>
              <a:gd name="T76" fmla="*/ 66 w 228"/>
              <a:gd name="T77" fmla="*/ 94 h 182"/>
              <a:gd name="T78" fmla="*/ 60 w 228"/>
              <a:gd name="T79" fmla="*/ 107 h 182"/>
              <a:gd name="T80" fmla="*/ 60 w 228"/>
              <a:gd name="T81" fmla="*/ 122 h 182"/>
              <a:gd name="T82" fmla="*/ 63 w 228"/>
              <a:gd name="T83" fmla="*/ 125 h 182"/>
              <a:gd name="T84" fmla="*/ 50 w 228"/>
              <a:gd name="T85" fmla="*/ 144 h 182"/>
              <a:gd name="T86" fmla="*/ 44 w 228"/>
              <a:gd name="T87" fmla="*/ 157 h 182"/>
              <a:gd name="T88" fmla="*/ 25 w 228"/>
              <a:gd name="T89" fmla="*/ 169 h 182"/>
              <a:gd name="T90" fmla="*/ 0 w 228"/>
              <a:gd name="T91" fmla="*/ 182 h 182"/>
              <a:gd name="T92" fmla="*/ 78 w 228"/>
              <a:gd name="T93"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8" h="182">
                <a:moveTo>
                  <a:pt x="78" y="182"/>
                </a:moveTo>
                <a:lnTo>
                  <a:pt x="78" y="166"/>
                </a:lnTo>
                <a:lnTo>
                  <a:pt x="88" y="157"/>
                </a:lnTo>
                <a:lnTo>
                  <a:pt x="91" y="153"/>
                </a:lnTo>
                <a:lnTo>
                  <a:pt x="97" y="150"/>
                </a:lnTo>
                <a:lnTo>
                  <a:pt x="110" y="147"/>
                </a:lnTo>
                <a:lnTo>
                  <a:pt x="113" y="147"/>
                </a:lnTo>
                <a:lnTo>
                  <a:pt x="119" y="147"/>
                </a:lnTo>
                <a:lnTo>
                  <a:pt x="125" y="147"/>
                </a:lnTo>
                <a:lnTo>
                  <a:pt x="131" y="144"/>
                </a:lnTo>
                <a:lnTo>
                  <a:pt x="150" y="135"/>
                </a:lnTo>
                <a:lnTo>
                  <a:pt x="169" y="122"/>
                </a:lnTo>
                <a:lnTo>
                  <a:pt x="185" y="113"/>
                </a:lnTo>
                <a:lnTo>
                  <a:pt x="185" y="110"/>
                </a:lnTo>
                <a:lnTo>
                  <a:pt x="185" y="103"/>
                </a:lnTo>
                <a:lnTo>
                  <a:pt x="188" y="97"/>
                </a:lnTo>
                <a:lnTo>
                  <a:pt x="191" y="94"/>
                </a:lnTo>
                <a:lnTo>
                  <a:pt x="197" y="88"/>
                </a:lnTo>
                <a:lnTo>
                  <a:pt x="200" y="88"/>
                </a:lnTo>
                <a:lnTo>
                  <a:pt x="222" y="88"/>
                </a:lnTo>
                <a:lnTo>
                  <a:pt x="225" y="82"/>
                </a:lnTo>
                <a:lnTo>
                  <a:pt x="225" y="82"/>
                </a:lnTo>
                <a:lnTo>
                  <a:pt x="228" y="75"/>
                </a:lnTo>
                <a:lnTo>
                  <a:pt x="225" y="75"/>
                </a:lnTo>
                <a:lnTo>
                  <a:pt x="225" y="75"/>
                </a:lnTo>
                <a:lnTo>
                  <a:pt x="222" y="72"/>
                </a:lnTo>
                <a:lnTo>
                  <a:pt x="219" y="72"/>
                </a:lnTo>
                <a:lnTo>
                  <a:pt x="219" y="69"/>
                </a:lnTo>
                <a:lnTo>
                  <a:pt x="216" y="63"/>
                </a:lnTo>
                <a:lnTo>
                  <a:pt x="213" y="47"/>
                </a:lnTo>
                <a:lnTo>
                  <a:pt x="213" y="44"/>
                </a:lnTo>
                <a:lnTo>
                  <a:pt x="213" y="38"/>
                </a:lnTo>
                <a:lnTo>
                  <a:pt x="213" y="31"/>
                </a:lnTo>
                <a:lnTo>
                  <a:pt x="213" y="28"/>
                </a:lnTo>
                <a:lnTo>
                  <a:pt x="213" y="25"/>
                </a:lnTo>
                <a:lnTo>
                  <a:pt x="210" y="22"/>
                </a:lnTo>
                <a:lnTo>
                  <a:pt x="210" y="22"/>
                </a:lnTo>
                <a:lnTo>
                  <a:pt x="206" y="19"/>
                </a:lnTo>
                <a:lnTo>
                  <a:pt x="203" y="19"/>
                </a:lnTo>
                <a:lnTo>
                  <a:pt x="194" y="19"/>
                </a:lnTo>
                <a:lnTo>
                  <a:pt x="191" y="16"/>
                </a:lnTo>
                <a:lnTo>
                  <a:pt x="191" y="13"/>
                </a:lnTo>
                <a:lnTo>
                  <a:pt x="188" y="10"/>
                </a:lnTo>
                <a:lnTo>
                  <a:pt x="188" y="10"/>
                </a:lnTo>
                <a:lnTo>
                  <a:pt x="185" y="16"/>
                </a:lnTo>
                <a:lnTo>
                  <a:pt x="178" y="16"/>
                </a:lnTo>
                <a:lnTo>
                  <a:pt x="172" y="16"/>
                </a:lnTo>
                <a:lnTo>
                  <a:pt x="169" y="13"/>
                </a:lnTo>
                <a:lnTo>
                  <a:pt x="166" y="16"/>
                </a:lnTo>
                <a:lnTo>
                  <a:pt x="160" y="16"/>
                </a:lnTo>
                <a:lnTo>
                  <a:pt x="153" y="16"/>
                </a:lnTo>
                <a:lnTo>
                  <a:pt x="150" y="10"/>
                </a:lnTo>
                <a:lnTo>
                  <a:pt x="147" y="10"/>
                </a:lnTo>
                <a:lnTo>
                  <a:pt x="147" y="6"/>
                </a:lnTo>
                <a:lnTo>
                  <a:pt x="147" y="3"/>
                </a:lnTo>
                <a:lnTo>
                  <a:pt x="147" y="3"/>
                </a:lnTo>
                <a:lnTo>
                  <a:pt x="144" y="0"/>
                </a:lnTo>
                <a:lnTo>
                  <a:pt x="141" y="3"/>
                </a:lnTo>
                <a:lnTo>
                  <a:pt x="141" y="3"/>
                </a:lnTo>
                <a:lnTo>
                  <a:pt x="138" y="3"/>
                </a:lnTo>
                <a:lnTo>
                  <a:pt x="135" y="6"/>
                </a:lnTo>
                <a:lnTo>
                  <a:pt x="131" y="19"/>
                </a:lnTo>
                <a:lnTo>
                  <a:pt x="128" y="25"/>
                </a:lnTo>
                <a:lnTo>
                  <a:pt x="128" y="31"/>
                </a:lnTo>
                <a:lnTo>
                  <a:pt x="125" y="38"/>
                </a:lnTo>
                <a:lnTo>
                  <a:pt x="116" y="44"/>
                </a:lnTo>
                <a:lnTo>
                  <a:pt x="113" y="44"/>
                </a:lnTo>
                <a:lnTo>
                  <a:pt x="110" y="47"/>
                </a:lnTo>
                <a:lnTo>
                  <a:pt x="103" y="50"/>
                </a:lnTo>
                <a:lnTo>
                  <a:pt x="97" y="56"/>
                </a:lnTo>
                <a:lnTo>
                  <a:pt x="94" y="56"/>
                </a:lnTo>
                <a:lnTo>
                  <a:pt x="88" y="63"/>
                </a:lnTo>
                <a:lnTo>
                  <a:pt x="81" y="63"/>
                </a:lnTo>
                <a:lnTo>
                  <a:pt x="78" y="69"/>
                </a:lnTo>
                <a:lnTo>
                  <a:pt x="69" y="75"/>
                </a:lnTo>
                <a:lnTo>
                  <a:pt x="72" y="82"/>
                </a:lnTo>
                <a:lnTo>
                  <a:pt x="72" y="85"/>
                </a:lnTo>
                <a:lnTo>
                  <a:pt x="66" y="94"/>
                </a:lnTo>
                <a:lnTo>
                  <a:pt x="60" y="103"/>
                </a:lnTo>
                <a:lnTo>
                  <a:pt x="60" y="107"/>
                </a:lnTo>
                <a:lnTo>
                  <a:pt x="63" y="113"/>
                </a:lnTo>
                <a:lnTo>
                  <a:pt x="60" y="122"/>
                </a:lnTo>
                <a:lnTo>
                  <a:pt x="63" y="122"/>
                </a:lnTo>
                <a:lnTo>
                  <a:pt x="63" y="125"/>
                </a:lnTo>
                <a:lnTo>
                  <a:pt x="63" y="132"/>
                </a:lnTo>
                <a:lnTo>
                  <a:pt x="50" y="144"/>
                </a:lnTo>
                <a:lnTo>
                  <a:pt x="50" y="150"/>
                </a:lnTo>
                <a:lnTo>
                  <a:pt x="44" y="157"/>
                </a:lnTo>
                <a:lnTo>
                  <a:pt x="38" y="157"/>
                </a:lnTo>
                <a:lnTo>
                  <a:pt x="25" y="169"/>
                </a:lnTo>
                <a:lnTo>
                  <a:pt x="3" y="172"/>
                </a:lnTo>
                <a:lnTo>
                  <a:pt x="0" y="182"/>
                </a:lnTo>
                <a:lnTo>
                  <a:pt x="78" y="182"/>
                </a:lnTo>
                <a:lnTo>
                  <a:pt x="78" y="182"/>
                </a:lnTo>
                <a:lnTo>
                  <a:pt x="78" y="182"/>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8" name="Freeform 116">
            <a:extLst>
              <a:ext uri="{FF2B5EF4-FFF2-40B4-BE49-F238E27FC236}">
                <a16:creationId xmlns:a16="http://schemas.microsoft.com/office/drawing/2014/main" id="{410972D6-96EE-C511-5928-A4D17BAEC05E}"/>
              </a:ext>
            </a:extLst>
          </p:cNvPr>
          <p:cNvSpPr>
            <a:spLocks/>
          </p:cNvSpPr>
          <p:nvPr userDrawn="1"/>
        </p:nvSpPr>
        <p:spPr bwMode="auto">
          <a:xfrm>
            <a:off x="12137233" y="7609756"/>
            <a:ext cx="504793" cy="406400"/>
          </a:xfrm>
          <a:custGeom>
            <a:avLst/>
            <a:gdLst>
              <a:gd name="T0" fmla="*/ 159 w 159"/>
              <a:gd name="T1" fmla="*/ 6 h 128"/>
              <a:gd name="T2" fmla="*/ 159 w 159"/>
              <a:gd name="T3" fmla="*/ 0 h 128"/>
              <a:gd name="T4" fmla="*/ 81 w 159"/>
              <a:gd name="T5" fmla="*/ 0 h 128"/>
              <a:gd name="T6" fmla="*/ 72 w 159"/>
              <a:gd name="T7" fmla="*/ 9 h 128"/>
              <a:gd name="T8" fmla="*/ 72 w 159"/>
              <a:gd name="T9" fmla="*/ 15 h 128"/>
              <a:gd name="T10" fmla="*/ 69 w 159"/>
              <a:gd name="T11" fmla="*/ 15 h 128"/>
              <a:gd name="T12" fmla="*/ 56 w 159"/>
              <a:gd name="T13" fmla="*/ 25 h 128"/>
              <a:gd name="T14" fmla="*/ 56 w 159"/>
              <a:gd name="T15" fmla="*/ 28 h 128"/>
              <a:gd name="T16" fmla="*/ 50 w 159"/>
              <a:gd name="T17" fmla="*/ 31 h 128"/>
              <a:gd name="T18" fmla="*/ 50 w 159"/>
              <a:gd name="T19" fmla="*/ 37 h 128"/>
              <a:gd name="T20" fmla="*/ 37 w 159"/>
              <a:gd name="T21" fmla="*/ 53 h 128"/>
              <a:gd name="T22" fmla="*/ 37 w 159"/>
              <a:gd name="T23" fmla="*/ 59 h 128"/>
              <a:gd name="T24" fmla="*/ 28 w 159"/>
              <a:gd name="T25" fmla="*/ 68 h 128"/>
              <a:gd name="T26" fmla="*/ 25 w 159"/>
              <a:gd name="T27" fmla="*/ 68 h 128"/>
              <a:gd name="T28" fmla="*/ 22 w 159"/>
              <a:gd name="T29" fmla="*/ 81 h 128"/>
              <a:gd name="T30" fmla="*/ 22 w 159"/>
              <a:gd name="T31" fmla="*/ 84 h 128"/>
              <a:gd name="T32" fmla="*/ 12 w 159"/>
              <a:gd name="T33" fmla="*/ 93 h 128"/>
              <a:gd name="T34" fmla="*/ 12 w 159"/>
              <a:gd name="T35" fmla="*/ 97 h 128"/>
              <a:gd name="T36" fmla="*/ 16 w 159"/>
              <a:gd name="T37" fmla="*/ 97 h 128"/>
              <a:gd name="T38" fmla="*/ 12 w 159"/>
              <a:gd name="T39" fmla="*/ 100 h 128"/>
              <a:gd name="T40" fmla="*/ 6 w 159"/>
              <a:gd name="T41" fmla="*/ 109 h 128"/>
              <a:gd name="T42" fmla="*/ 3 w 159"/>
              <a:gd name="T43" fmla="*/ 109 h 128"/>
              <a:gd name="T44" fmla="*/ 0 w 159"/>
              <a:gd name="T45" fmla="*/ 112 h 128"/>
              <a:gd name="T46" fmla="*/ 0 w 159"/>
              <a:gd name="T47" fmla="*/ 118 h 128"/>
              <a:gd name="T48" fmla="*/ 0 w 159"/>
              <a:gd name="T49" fmla="*/ 122 h 128"/>
              <a:gd name="T50" fmla="*/ 0 w 159"/>
              <a:gd name="T51" fmla="*/ 128 h 128"/>
              <a:gd name="T52" fmla="*/ 78 w 159"/>
              <a:gd name="T53" fmla="*/ 128 h 128"/>
              <a:gd name="T54" fmla="*/ 78 w 159"/>
              <a:gd name="T55" fmla="*/ 93 h 128"/>
              <a:gd name="T56" fmla="*/ 81 w 159"/>
              <a:gd name="T57" fmla="*/ 87 h 128"/>
              <a:gd name="T58" fmla="*/ 84 w 159"/>
              <a:gd name="T59" fmla="*/ 84 h 128"/>
              <a:gd name="T60" fmla="*/ 91 w 159"/>
              <a:gd name="T61" fmla="*/ 84 h 128"/>
              <a:gd name="T62" fmla="*/ 97 w 159"/>
              <a:gd name="T63" fmla="*/ 84 h 128"/>
              <a:gd name="T64" fmla="*/ 97 w 159"/>
              <a:gd name="T65" fmla="*/ 31 h 128"/>
              <a:gd name="T66" fmla="*/ 159 w 159"/>
              <a:gd name="T67" fmla="*/ 34 h 128"/>
              <a:gd name="T68" fmla="*/ 159 w 159"/>
              <a:gd name="T69" fmla="*/ 6 h 128"/>
              <a:gd name="T70" fmla="*/ 159 w 159"/>
              <a:gd name="T71" fmla="*/ 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28">
                <a:moveTo>
                  <a:pt x="159" y="6"/>
                </a:moveTo>
                <a:lnTo>
                  <a:pt x="159" y="0"/>
                </a:lnTo>
                <a:lnTo>
                  <a:pt x="81" y="0"/>
                </a:lnTo>
                <a:lnTo>
                  <a:pt x="72" y="9"/>
                </a:lnTo>
                <a:lnTo>
                  <a:pt x="72" y="15"/>
                </a:lnTo>
                <a:lnTo>
                  <a:pt x="69" y="15"/>
                </a:lnTo>
                <a:lnTo>
                  <a:pt x="56" y="25"/>
                </a:lnTo>
                <a:lnTo>
                  <a:pt x="56" y="28"/>
                </a:lnTo>
                <a:lnTo>
                  <a:pt x="50" y="31"/>
                </a:lnTo>
                <a:lnTo>
                  <a:pt x="50" y="37"/>
                </a:lnTo>
                <a:lnTo>
                  <a:pt x="37" y="53"/>
                </a:lnTo>
                <a:lnTo>
                  <a:pt x="37" y="59"/>
                </a:lnTo>
                <a:lnTo>
                  <a:pt x="28" y="68"/>
                </a:lnTo>
                <a:lnTo>
                  <a:pt x="25" y="68"/>
                </a:lnTo>
                <a:lnTo>
                  <a:pt x="22" y="81"/>
                </a:lnTo>
                <a:lnTo>
                  <a:pt x="22" y="84"/>
                </a:lnTo>
                <a:lnTo>
                  <a:pt x="12" y="93"/>
                </a:lnTo>
                <a:lnTo>
                  <a:pt x="12" y="97"/>
                </a:lnTo>
                <a:lnTo>
                  <a:pt x="16" y="97"/>
                </a:lnTo>
                <a:lnTo>
                  <a:pt x="12" y="100"/>
                </a:lnTo>
                <a:lnTo>
                  <a:pt x="6" y="109"/>
                </a:lnTo>
                <a:lnTo>
                  <a:pt x="3" y="109"/>
                </a:lnTo>
                <a:lnTo>
                  <a:pt x="0" y="112"/>
                </a:lnTo>
                <a:lnTo>
                  <a:pt x="0" y="118"/>
                </a:lnTo>
                <a:lnTo>
                  <a:pt x="0" y="122"/>
                </a:lnTo>
                <a:lnTo>
                  <a:pt x="0" y="128"/>
                </a:lnTo>
                <a:lnTo>
                  <a:pt x="78" y="128"/>
                </a:lnTo>
                <a:lnTo>
                  <a:pt x="78" y="93"/>
                </a:lnTo>
                <a:lnTo>
                  <a:pt x="81" y="87"/>
                </a:lnTo>
                <a:lnTo>
                  <a:pt x="84" y="84"/>
                </a:lnTo>
                <a:lnTo>
                  <a:pt x="91" y="84"/>
                </a:lnTo>
                <a:lnTo>
                  <a:pt x="97" y="84"/>
                </a:lnTo>
                <a:lnTo>
                  <a:pt x="97" y="31"/>
                </a:lnTo>
                <a:lnTo>
                  <a:pt x="159" y="34"/>
                </a:lnTo>
                <a:lnTo>
                  <a:pt x="159" y="6"/>
                </a:lnTo>
                <a:lnTo>
                  <a:pt x="159" y="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9" name="Freeform 117">
            <a:extLst>
              <a:ext uri="{FF2B5EF4-FFF2-40B4-BE49-F238E27FC236}">
                <a16:creationId xmlns:a16="http://schemas.microsoft.com/office/drawing/2014/main" id="{9F97AA04-E302-134D-90C9-36CDDF49BD4C}"/>
              </a:ext>
            </a:extLst>
          </p:cNvPr>
          <p:cNvSpPr>
            <a:spLocks/>
          </p:cNvSpPr>
          <p:nvPr userDrawn="1"/>
        </p:nvSpPr>
        <p:spPr bwMode="auto">
          <a:xfrm>
            <a:off x="12127709" y="7628807"/>
            <a:ext cx="742902" cy="803278"/>
          </a:xfrm>
          <a:custGeom>
            <a:avLst/>
            <a:gdLst>
              <a:gd name="T0" fmla="*/ 81 w 234"/>
              <a:gd name="T1" fmla="*/ 122 h 253"/>
              <a:gd name="T2" fmla="*/ 84 w 234"/>
              <a:gd name="T3" fmla="*/ 81 h 253"/>
              <a:gd name="T4" fmla="*/ 94 w 234"/>
              <a:gd name="T5" fmla="*/ 78 h 253"/>
              <a:gd name="T6" fmla="*/ 100 w 234"/>
              <a:gd name="T7" fmla="*/ 25 h 253"/>
              <a:gd name="T8" fmla="*/ 162 w 234"/>
              <a:gd name="T9" fmla="*/ 0 h 253"/>
              <a:gd name="T10" fmla="*/ 234 w 234"/>
              <a:gd name="T11" fmla="*/ 47 h 253"/>
              <a:gd name="T12" fmla="*/ 209 w 234"/>
              <a:gd name="T13" fmla="*/ 47 h 253"/>
              <a:gd name="T14" fmla="*/ 231 w 234"/>
              <a:gd name="T15" fmla="*/ 225 h 253"/>
              <a:gd name="T16" fmla="*/ 156 w 234"/>
              <a:gd name="T17" fmla="*/ 241 h 253"/>
              <a:gd name="T18" fmla="*/ 150 w 234"/>
              <a:gd name="T19" fmla="*/ 238 h 253"/>
              <a:gd name="T20" fmla="*/ 144 w 234"/>
              <a:gd name="T21" fmla="*/ 241 h 253"/>
              <a:gd name="T22" fmla="*/ 144 w 234"/>
              <a:gd name="T23" fmla="*/ 234 h 253"/>
              <a:gd name="T24" fmla="*/ 128 w 234"/>
              <a:gd name="T25" fmla="*/ 238 h 253"/>
              <a:gd name="T26" fmla="*/ 122 w 234"/>
              <a:gd name="T27" fmla="*/ 244 h 253"/>
              <a:gd name="T28" fmla="*/ 119 w 234"/>
              <a:gd name="T29" fmla="*/ 234 h 253"/>
              <a:gd name="T30" fmla="*/ 106 w 234"/>
              <a:gd name="T31" fmla="*/ 234 h 253"/>
              <a:gd name="T32" fmla="*/ 106 w 234"/>
              <a:gd name="T33" fmla="*/ 244 h 253"/>
              <a:gd name="T34" fmla="*/ 100 w 234"/>
              <a:gd name="T35" fmla="*/ 250 h 253"/>
              <a:gd name="T36" fmla="*/ 94 w 234"/>
              <a:gd name="T37" fmla="*/ 253 h 253"/>
              <a:gd name="T38" fmla="*/ 87 w 234"/>
              <a:gd name="T39" fmla="*/ 247 h 253"/>
              <a:gd name="T40" fmla="*/ 84 w 234"/>
              <a:gd name="T41" fmla="*/ 244 h 253"/>
              <a:gd name="T42" fmla="*/ 78 w 234"/>
              <a:gd name="T43" fmla="*/ 238 h 253"/>
              <a:gd name="T44" fmla="*/ 75 w 234"/>
              <a:gd name="T45" fmla="*/ 228 h 253"/>
              <a:gd name="T46" fmla="*/ 69 w 234"/>
              <a:gd name="T47" fmla="*/ 228 h 253"/>
              <a:gd name="T48" fmla="*/ 65 w 234"/>
              <a:gd name="T49" fmla="*/ 228 h 253"/>
              <a:gd name="T50" fmla="*/ 62 w 234"/>
              <a:gd name="T51" fmla="*/ 225 h 253"/>
              <a:gd name="T52" fmla="*/ 53 w 234"/>
              <a:gd name="T53" fmla="*/ 219 h 253"/>
              <a:gd name="T54" fmla="*/ 40 w 234"/>
              <a:gd name="T55" fmla="*/ 216 h 253"/>
              <a:gd name="T56" fmla="*/ 19 w 234"/>
              <a:gd name="T57" fmla="*/ 222 h 253"/>
              <a:gd name="T58" fmla="*/ 12 w 234"/>
              <a:gd name="T59" fmla="*/ 225 h 253"/>
              <a:gd name="T60" fmla="*/ 9 w 234"/>
              <a:gd name="T61" fmla="*/ 219 h 253"/>
              <a:gd name="T62" fmla="*/ 19 w 234"/>
              <a:gd name="T63" fmla="*/ 200 h 253"/>
              <a:gd name="T64" fmla="*/ 15 w 234"/>
              <a:gd name="T65" fmla="*/ 166 h 253"/>
              <a:gd name="T66" fmla="*/ 12 w 234"/>
              <a:gd name="T67" fmla="*/ 156 h 253"/>
              <a:gd name="T68" fmla="*/ 15 w 234"/>
              <a:gd name="T69" fmla="*/ 150 h 253"/>
              <a:gd name="T70" fmla="*/ 15 w 234"/>
              <a:gd name="T71" fmla="*/ 144 h 253"/>
              <a:gd name="T72" fmla="*/ 9 w 234"/>
              <a:gd name="T73" fmla="*/ 138 h 253"/>
              <a:gd name="T74" fmla="*/ 6 w 234"/>
              <a:gd name="T75" fmla="*/ 131 h 253"/>
              <a:gd name="T76" fmla="*/ 0 w 234"/>
              <a:gd name="T77" fmla="*/ 128 h 253"/>
              <a:gd name="T78" fmla="*/ 3 w 234"/>
              <a:gd name="T79" fmla="*/ 122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253">
                <a:moveTo>
                  <a:pt x="3" y="122"/>
                </a:moveTo>
                <a:lnTo>
                  <a:pt x="81" y="122"/>
                </a:lnTo>
                <a:lnTo>
                  <a:pt x="81" y="87"/>
                </a:lnTo>
                <a:lnTo>
                  <a:pt x="84" y="81"/>
                </a:lnTo>
                <a:lnTo>
                  <a:pt x="87" y="78"/>
                </a:lnTo>
                <a:lnTo>
                  <a:pt x="94" y="78"/>
                </a:lnTo>
                <a:lnTo>
                  <a:pt x="100" y="78"/>
                </a:lnTo>
                <a:lnTo>
                  <a:pt x="100" y="25"/>
                </a:lnTo>
                <a:lnTo>
                  <a:pt x="162" y="28"/>
                </a:lnTo>
                <a:lnTo>
                  <a:pt x="162" y="0"/>
                </a:lnTo>
                <a:lnTo>
                  <a:pt x="234" y="47"/>
                </a:lnTo>
                <a:lnTo>
                  <a:pt x="234" y="47"/>
                </a:lnTo>
                <a:lnTo>
                  <a:pt x="234" y="47"/>
                </a:lnTo>
                <a:lnTo>
                  <a:pt x="209" y="47"/>
                </a:lnTo>
                <a:lnTo>
                  <a:pt x="225" y="219"/>
                </a:lnTo>
                <a:lnTo>
                  <a:pt x="231" y="225"/>
                </a:lnTo>
                <a:lnTo>
                  <a:pt x="225" y="241"/>
                </a:lnTo>
                <a:lnTo>
                  <a:pt x="156" y="241"/>
                </a:lnTo>
                <a:lnTo>
                  <a:pt x="153" y="241"/>
                </a:lnTo>
                <a:lnTo>
                  <a:pt x="150" y="238"/>
                </a:lnTo>
                <a:lnTo>
                  <a:pt x="147" y="238"/>
                </a:lnTo>
                <a:lnTo>
                  <a:pt x="144" y="241"/>
                </a:lnTo>
                <a:lnTo>
                  <a:pt x="144" y="241"/>
                </a:lnTo>
                <a:lnTo>
                  <a:pt x="144" y="234"/>
                </a:lnTo>
                <a:lnTo>
                  <a:pt x="137" y="231"/>
                </a:lnTo>
                <a:lnTo>
                  <a:pt x="128" y="238"/>
                </a:lnTo>
                <a:lnTo>
                  <a:pt x="122" y="247"/>
                </a:lnTo>
                <a:lnTo>
                  <a:pt x="122" y="244"/>
                </a:lnTo>
                <a:lnTo>
                  <a:pt x="119" y="238"/>
                </a:lnTo>
                <a:lnTo>
                  <a:pt x="119" y="234"/>
                </a:lnTo>
                <a:lnTo>
                  <a:pt x="112" y="234"/>
                </a:lnTo>
                <a:lnTo>
                  <a:pt x="106" y="234"/>
                </a:lnTo>
                <a:lnTo>
                  <a:pt x="106" y="244"/>
                </a:lnTo>
                <a:lnTo>
                  <a:pt x="106" y="244"/>
                </a:lnTo>
                <a:lnTo>
                  <a:pt x="103" y="250"/>
                </a:lnTo>
                <a:lnTo>
                  <a:pt x="100" y="250"/>
                </a:lnTo>
                <a:lnTo>
                  <a:pt x="94" y="253"/>
                </a:lnTo>
                <a:lnTo>
                  <a:pt x="94" y="253"/>
                </a:lnTo>
                <a:lnTo>
                  <a:pt x="94" y="250"/>
                </a:lnTo>
                <a:lnTo>
                  <a:pt x="87" y="247"/>
                </a:lnTo>
                <a:lnTo>
                  <a:pt x="84" y="247"/>
                </a:lnTo>
                <a:lnTo>
                  <a:pt x="84" y="244"/>
                </a:lnTo>
                <a:lnTo>
                  <a:pt x="78" y="241"/>
                </a:lnTo>
                <a:lnTo>
                  <a:pt x="78" y="238"/>
                </a:lnTo>
                <a:lnTo>
                  <a:pt x="75" y="234"/>
                </a:lnTo>
                <a:lnTo>
                  <a:pt x="75" y="228"/>
                </a:lnTo>
                <a:lnTo>
                  <a:pt x="72" y="228"/>
                </a:lnTo>
                <a:lnTo>
                  <a:pt x="69" y="228"/>
                </a:lnTo>
                <a:lnTo>
                  <a:pt x="69" y="228"/>
                </a:lnTo>
                <a:lnTo>
                  <a:pt x="65" y="228"/>
                </a:lnTo>
                <a:lnTo>
                  <a:pt x="62" y="228"/>
                </a:lnTo>
                <a:lnTo>
                  <a:pt x="62" y="225"/>
                </a:lnTo>
                <a:lnTo>
                  <a:pt x="56" y="219"/>
                </a:lnTo>
                <a:lnTo>
                  <a:pt x="53" y="219"/>
                </a:lnTo>
                <a:lnTo>
                  <a:pt x="44" y="216"/>
                </a:lnTo>
                <a:lnTo>
                  <a:pt x="40" y="216"/>
                </a:lnTo>
                <a:lnTo>
                  <a:pt x="28" y="219"/>
                </a:lnTo>
                <a:lnTo>
                  <a:pt x="19" y="222"/>
                </a:lnTo>
                <a:lnTo>
                  <a:pt x="15" y="225"/>
                </a:lnTo>
                <a:lnTo>
                  <a:pt x="12" y="225"/>
                </a:lnTo>
                <a:lnTo>
                  <a:pt x="9" y="228"/>
                </a:lnTo>
                <a:lnTo>
                  <a:pt x="9" y="219"/>
                </a:lnTo>
                <a:lnTo>
                  <a:pt x="12" y="206"/>
                </a:lnTo>
                <a:lnTo>
                  <a:pt x="19" y="200"/>
                </a:lnTo>
                <a:lnTo>
                  <a:pt x="19" y="188"/>
                </a:lnTo>
                <a:lnTo>
                  <a:pt x="15" y="166"/>
                </a:lnTo>
                <a:lnTo>
                  <a:pt x="9" y="156"/>
                </a:lnTo>
                <a:lnTo>
                  <a:pt x="12" y="156"/>
                </a:lnTo>
                <a:lnTo>
                  <a:pt x="15" y="156"/>
                </a:lnTo>
                <a:lnTo>
                  <a:pt x="15" y="150"/>
                </a:lnTo>
                <a:lnTo>
                  <a:pt x="15" y="144"/>
                </a:lnTo>
                <a:lnTo>
                  <a:pt x="15" y="144"/>
                </a:lnTo>
                <a:lnTo>
                  <a:pt x="12" y="134"/>
                </a:lnTo>
                <a:lnTo>
                  <a:pt x="9" y="138"/>
                </a:lnTo>
                <a:lnTo>
                  <a:pt x="6" y="134"/>
                </a:lnTo>
                <a:lnTo>
                  <a:pt x="6" y="131"/>
                </a:lnTo>
                <a:lnTo>
                  <a:pt x="0" y="134"/>
                </a:lnTo>
                <a:lnTo>
                  <a:pt x="0" y="128"/>
                </a:lnTo>
                <a:lnTo>
                  <a:pt x="3" y="125"/>
                </a:lnTo>
                <a:lnTo>
                  <a:pt x="3" y="122"/>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0" name="Freeform 118">
            <a:extLst>
              <a:ext uri="{FF2B5EF4-FFF2-40B4-BE49-F238E27FC236}">
                <a16:creationId xmlns:a16="http://schemas.microsoft.com/office/drawing/2014/main" id="{71C38E70-D65E-47CF-03BC-BE49FD036274}"/>
              </a:ext>
            </a:extLst>
          </p:cNvPr>
          <p:cNvSpPr>
            <a:spLocks/>
          </p:cNvSpPr>
          <p:nvPr userDrawn="1"/>
        </p:nvSpPr>
        <p:spPr bwMode="auto">
          <a:xfrm>
            <a:off x="12426139" y="7778032"/>
            <a:ext cx="1019110" cy="942976"/>
          </a:xfrm>
          <a:custGeom>
            <a:avLst/>
            <a:gdLst>
              <a:gd name="T0" fmla="*/ 9 w 321"/>
              <a:gd name="T1" fmla="*/ 203 h 297"/>
              <a:gd name="T2" fmla="*/ 12 w 321"/>
              <a:gd name="T3" fmla="*/ 187 h 297"/>
              <a:gd name="T4" fmla="*/ 25 w 321"/>
              <a:gd name="T5" fmla="*/ 191 h 297"/>
              <a:gd name="T6" fmla="*/ 34 w 321"/>
              <a:gd name="T7" fmla="*/ 191 h 297"/>
              <a:gd name="T8" fmla="*/ 50 w 321"/>
              <a:gd name="T9" fmla="*/ 194 h 297"/>
              <a:gd name="T10" fmla="*/ 56 w 321"/>
              <a:gd name="T11" fmla="*/ 191 h 297"/>
              <a:gd name="T12" fmla="*/ 131 w 321"/>
              <a:gd name="T13" fmla="*/ 194 h 297"/>
              <a:gd name="T14" fmla="*/ 115 w 321"/>
              <a:gd name="T15" fmla="*/ 0 h 297"/>
              <a:gd name="T16" fmla="*/ 271 w 321"/>
              <a:gd name="T17" fmla="*/ 94 h 297"/>
              <a:gd name="T18" fmla="*/ 287 w 321"/>
              <a:gd name="T19" fmla="*/ 100 h 297"/>
              <a:gd name="T20" fmla="*/ 300 w 321"/>
              <a:gd name="T21" fmla="*/ 109 h 297"/>
              <a:gd name="T22" fmla="*/ 300 w 321"/>
              <a:gd name="T23" fmla="*/ 122 h 297"/>
              <a:gd name="T24" fmla="*/ 321 w 321"/>
              <a:gd name="T25" fmla="*/ 119 h 297"/>
              <a:gd name="T26" fmla="*/ 318 w 321"/>
              <a:gd name="T27" fmla="*/ 175 h 297"/>
              <a:gd name="T28" fmla="*/ 312 w 321"/>
              <a:gd name="T29" fmla="*/ 187 h 297"/>
              <a:gd name="T30" fmla="*/ 290 w 321"/>
              <a:gd name="T31" fmla="*/ 197 h 297"/>
              <a:gd name="T32" fmla="*/ 275 w 321"/>
              <a:gd name="T33" fmla="*/ 200 h 297"/>
              <a:gd name="T34" fmla="*/ 250 w 321"/>
              <a:gd name="T35" fmla="*/ 203 h 297"/>
              <a:gd name="T36" fmla="*/ 243 w 321"/>
              <a:gd name="T37" fmla="*/ 203 h 297"/>
              <a:gd name="T38" fmla="*/ 231 w 321"/>
              <a:gd name="T39" fmla="*/ 200 h 297"/>
              <a:gd name="T40" fmla="*/ 209 w 321"/>
              <a:gd name="T41" fmla="*/ 209 h 297"/>
              <a:gd name="T42" fmla="*/ 181 w 321"/>
              <a:gd name="T43" fmla="*/ 228 h 297"/>
              <a:gd name="T44" fmla="*/ 162 w 321"/>
              <a:gd name="T45" fmla="*/ 231 h 297"/>
              <a:gd name="T46" fmla="*/ 156 w 321"/>
              <a:gd name="T47" fmla="*/ 244 h 297"/>
              <a:gd name="T48" fmla="*/ 146 w 321"/>
              <a:gd name="T49" fmla="*/ 263 h 297"/>
              <a:gd name="T50" fmla="*/ 137 w 321"/>
              <a:gd name="T51" fmla="*/ 272 h 297"/>
              <a:gd name="T52" fmla="*/ 134 w 321"/>
              <a:gd name="T53" fmla="*/ 281 h 297"/>
              <a:gd name="T54" fmla="*/ 134 w 321"/>
              <a:gd name="T55" fmla="*/ 291 h 297"/>
              <a:gd name="T56" fmla="*/ 121 w 321"/>
              <a:gd name="T57" fmla="*/ 294 h 297"/>
              <a:gd name="T58" fmla="*/ 112 w 321"/>
              <a:gd name="T59" fmla="*/ 294 h 297"/>
              <a:gd name="T60" fmla="*/ 103 w 321"/>
              <a:gd name="T61" fmla="*/ 294 h 297"/>
              <a:gd name="T62" fmla="*/ 87 w 321"/>
              <a:gd name="T63" fmla="*/ 297 h 297"/>
              <a:gd name="T64" fmla="*/ 81 w 321"/>
              <a:gd name="T65" fmla="*/ 291 h 297"/>
              <a:gd name="T66" fmla="*/ 81 w 321"/>
              <a:gd name="T67" fmla="*/ 284 h 297"/>
              <a:gd name="T68" fmla="*/ 71 w 321"/>
              <a:gd name="T69" fmla="*/ 288 h 297"/>
              <a:gd name="T70" fmla="*/ 78 w 321"/>
              <a:gd name="T71" fmla="*/ 275 h 297"/>
              <a:gd name="T72" fmla="*/ 71 w 321"/>
              <a:gd name="T73" fmla="*/ 266 h 297"/>
              <a:gd name="T74" fmla="*/ 65 w 321"/>
              <a:gd name="T75" fmla="*/ 256 h 297"/>
              <a:gd name="T76" fmla="*/ 56 w 321"/>
              <a:gd name="T77" fmla="*/ 256 h 297"/>
              <a:gd name="T78" fmla="*/ 43 w 321"/>
              <a:gd name="T79" fmla="*/ 263 h 297"/>
              <a:gd name="T80" fmla="*/ 31 w 321"/>
              <a:gd name="T81" fmla="*/ 263 h 297"/>
              <a:gd name="T82" fmla="*/ 21 w 321"/>
              <a:gd name="T83" fmla="*/ 263 h 297"/>
              <a:gd name="T84" fmla="*/ 25 w 321"/>
              <a:gd name="T85" fmla="*/ 256 h 297"/>
              <a:gd name="T86" fmla="*/ 18 w 321"/>
              <a:gd name="T87" fmla="*/ 247 h 297"/>
              <a:gd name="T88" fmla="*/ 15 w 321"/>
              <a:gd name="T89" fmla="*/ 241 h 297"/>
              <a:gd name="T90" fmla="*/ 9 w 321"/>
              <a:gd name="T91" fmla="*/ 238 h 297"/>
              <a:gd name="T92" fmla="*/ 3 w 321"/>
              <a:gd name="T93" fmla="*/ 225 h 297"/>
              <a:gd name="T94" fmla="*/ 3 w 321"/>
              <a:gd name="T95" fmla="*/ 209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1" h="297">
                <a:moveTo>
                  <a:pt x="0" y="206"/>
                </a:moveTo>
                <a:lnTo>
                  <a:pt x="6" y="203"/>
                </a:lnTo>
                <a:lnTo>
                  <a:pt x="9" y="203"/>
                </a:lnTo>
                <a:lnTo>
                  <a:pt x="12" y="197"/>
                </a:lnTo>
                <a:lnTo>
                  <a:pt x="12" y="197"/>
                </a:lnTo>
                <a:lnTo>
                  <a:pt x="12" y="187"/>
                </a:lnTo>
                <a:lnTo>
                  <a:pt x="18" y="187"/>
                </a:lnTo>
                <a:lnTo>
                  <a:pt x="25" y="187"/>
                </a:lnTo>
                <a:lnTo>
                  <a:pt x="25" y="191"/>
                </a:lnTo>
                <a:lnTo>
                  <a:pt x="28" y="197"/>
                </a:lnTo>
                <a:lnTo>
                  <a:pt x="28" y="200"/>
                </a:lnTo>
                <a:lnTo>
                  <a:pt x="34" y="191"/>
                </a:lnTo>
                <a:lnTo>
                  <a:pt x="43" y="184"/>
                </a:lnTo>
                <a:lnTo>
                  <a:pt x="50" y="187"/>
                </a:lnTo>
                <a:lnTo>
                  <a:pt x="50" y="194"/>
                </a:lnTo>
                <a:lnTo>
                  <a:pt x="50" y="194"/>
                </a:lnTo>
                <a:lnTo>
                  <a:pt x="53" y="191"/>
                </a:lnTo>
                <a:lnTo>
                  <a:pt x="56" y="191"/>
                </a:lnTo>
                <a:lnTo>
                  <a:pt x="59" y="194"/>
                </a:lnTo>
                <a:lnTo>
                  <a:pt x="62" y="194"/>
                </a:lnTo>
                <a:lnTo>
                  <a:pt x="131" y="194"/>
                </a:lnTo>
                <a:lnTo>
                  <a:pt x="137" y="178"/>
                </a:lnTo>
                <a:lnTo>
                  <a:pt x="131" y="172"/>
                </a:lnTo>
                <a:lnTo>
                  <a:pt x="115" y="0"/>
                </a:lnTo>
                <a:lnTo>
                  <a:pt x="140" y="0"/>
                </a:lnTo>
                <a:lnTo>
                  <a:pt x="268" y="84"/>
                </a:lnTo>
                <a:lnTo>
                  <a:pt x="271" y="94"/>
                </a:lnTo>
                <a:lnTo>
                  <a:pt x="275" y="97"/>
                </a:lnTo>
                <a:lnTo>
                  <a:pt x="281" y="97"/>
                </a:lnTo>
                <a:lnTo>
                  <a:pt x="287" y="100"/>
                </a:lnTo>
                <a:lnTo>
                  <a:pt x="290" y="103"/>
                </a:lnTo>
                <a:lnTo>
                  <a:pt x="296" y="106"/>
                </a:lnTo>
                <a:lnTo>
                  <a:pt x="300" y="109"/>
                </a:lnTo>
                <a:lnTo>
                  <a:pt x="300" y="112"/>
                </a:lnTo>
                <a:lnTo>
                  <a:pt x="296" y="119"/>
                </a:lnTo>
                <a:lnTo>
                  <a:pt x="300" y="122"/>
                </a:lnTo>
                <a:lnTo>
                  <a:pt x="303" y="122"/>
                </a:lnTo>
                <a:lnTo>
                  <a:pt x="312" y="122"/>
                </a:lnTo>
                <a:lnTo>
                  <a:pt x="321" y="119"/>
                </a:lnTo>
                <a:lnTo>
                  <a:pt x="321" y="119"/>
                </a:lnTo>
                <a:lnTo>
                  <a:pt x="318" y="156"/>
                </a:lnTo>
                <a:lnTo>
                  <a:pt x="318" y="175"/>
                </a:lnTo>
                <a:lnTo>
                  <a:pt x="315" y="178"/>
                </a:lnTo>
                <a:lnTo>
                  <a:pt x="315" y="184"/>
                </a:lnTo>
                <a:lnTo>
                  <a:pt x="312" y="187"/>
                </a:lnTo>
                <a:lnTo>
                  <a:pt x="303" y="194"/>
                </a:lnTo>
                <a:lnTo>
                  <a:pt x="296" y="197"/>
                </a:lnTo>
                <a:lnTo>
                  <a:pt x="290" y="197"/>
                </a:lnTo>
                <a:lnTo>
                  <a:pt x="287" y="200"/>
                </a:lnTo>
                <a:lnTo>
                  <a:pt x="281" y="200"/>
                </a:lnTo>
                <a:lnTo>
                  <a:pt x="275" y="200"/>
                </a:lnTo>
                <a:lnTo>
                  <a:pt x="268" y="203"/>
                </a:lnTo>
                <a:lnTo>
                  <a:pt x="262" y="203"/>
                </a:lnTo>
                <a:lnTo>
                  <a:pt x="250" y="203"/>
                </a:lnTo>
                <a:lnTo>
                  <a:pt x="246" y="203"/>
                </a:lnTo>
                <a:lnTo>
                  <a:pt x="246" y="203"/>
                </a:lnTo>
                <a:lnTo>
                  <a:pt x="243" y="203"/>
                </a:lnTo>
                <a:lnTo>
                  <a:pt x="240" y="203"/>
                </a:lnTo>
                <a:lnTo>
                  <a:pt x="234" y="200"/>
                </a:lnTo>
                <a:lnTo>
                  <a:pt x="231" y="200"/>
                </a:lnTo>
                <a:lnTo>
                  <a:pt x="221" y="203"/>
                </a:lnTo>
                <a:lnTo>
                  <a:pt x="215" y="206"/>
                </a:lnTo>
                <a:lnTo>
                  <a:pt x="209" y="209"/>
                </a:lnTo>
                <a:lnTo>
                  <a:pt x="193" y="219"/>
                </a:lnTo>
                <a:lnTo>
                  <a:pt x="184" y="225"/>
                </a:lnTo>
                <a:lnTo>
                  <a:pt x="181" y="228"/>
                </a:lnTo>
                <a:lnTo>
                  <a:pt x="171" y="231"/>
                </a:lnTo>
                <a:lnTo>
                  <a:pt x="168" y="231"/>
                </a:lnTo>
                <a:lnTo>
                  <a:pt x="162" y="231"/>
                </a:lnTo>
                <a:lnTo>
                  <a:pt x="162" y="234"/>
                </a:lnTo>
                <a:lnTo>
                  <a:pt x="159" y="234"/>
                </a:lnTo>
                <a:lnTo>
                  <a:pt x="156" y="244"/>
                </a:lnTo>
                <a:lnTo>
                  <a:pt x="156" y="247"/>
                </a:lnTo>
                <a:lnTo>
                  <a:pt x="150" y="253"/>
                </a:lnTo>
                <a:lnTo>
                  <a:pt x="146" y="263"/>
                </a:lnTo>
                <a:lnTo>
                  <a:pt x="140" y="266"/>
                </a:lnTo>
                <a:lnTo>
                  <a:pt x="137" y="269"/>
                </a:lnTo>
                <a:lnTo>
                  <a:pt x="137" y="272"/>
                </a:lnTo>
                <a:lnTo>
                  <a:pt x="140" y="278"/>
                </a:lnTo>
                <a:lnTo>
                  <a:pt x="134" y="278"/>
                </a:lnTo>
                <a:lnTo>
                  <a:pt x="134" y="281"/>
                </a:lnTo>
                <a:lnTo>
                  <a:pt x="137" y="284"/>
                </a:lnTo>
                <a:lnTo>
                  <a:pt x="134" y="291"/>
                </a:lnTo>
                <a:lnTo>
                  <a:pt x="134" y="291"/>
                </a:lnTo>
                <a:lnTo>
                  <a:pt x="131" y="297"/>
                </a:lnTo>
                <a:lnTo>
                  <a:pt x="125" y="297"/>
                </a:lnTo>
                <a:lnTo>
                  <a:pt x="121" y="294"/>
                </a:lnTo>
                <a:lnTo>
                  <a:pt x="121" y="291"/>
                </a:lnTo>
                <a:lnTo>
                  <a:pt x="118" y="291"/>
                </a:lnTo>
                <a:lnTo>
                  <a:pt x="112" y="294"/>
                </a:lnTo>
                <a:lnTo>
                  <a:pt x="112" y="294"/>
                </a:lnTo>
                <a:lnTo>
                  <a:pt x="109" y="297"/>
                </a:lnTo>
                <a:lnTo>
                  <a:pt x="103" y="294"/>
                </a:lnTo>
                <a:lnTo>
                  <a:pt x="96" y="294"/>
                </a:lnTo>
                <a:lnTo>
                  <a:pt x="93" y="294"/>
                </a:lnTo>
                <a:lnTo>
                  <a:pt x="87" y="297"/>
                </a:lnTo>
                <a:lnTo>
                  <a:pt x="87" y="294"/>
                </a:lnTo>
                <a:lnTo>
                  <a:pt x="87" y="291"/>
                </a:lnTo>
                <a:lnTo>
                  <a:pt x="81" y="291"/>
                </a:lnTo>
                <a:lnTo>
                  <a:pt x="81" y="291"/>
                </a:lnTo>
                <a:lnTo>
                  <a:pt x="81" y="288"/>
                </a:lnTo>
                <a:lnTo>
                  <a:pt x="81" y="284"/>
                </a:lnTo>
                <a:lnTo>
                  <a:pt x="78" y="284"/>
                </a:lnTo>
                <a:lnTo>
                  <a:pt x="75" y="284"/>
                </a:lnTo>
                <a:lnTo>
                  <a:pt x="71" y="288"/>
                </a:lnTo>
                <a:lnTo>
                  <a:pt x="75" y="281"/>
                </a:lnTo>
                <a:lnTo>
                  <a:pt x="78" y="275"/>
                </a:lnTo>
                <a:lnTo>
                  <a:pt x="78" y="275"/>
                </a:lnTo>
                <a:lnTo>
                  <a:pt x="71" y="272"/>
                </a:lnTo>
                <a:lnTo>
                  <a:pt x="71" y="272"/>
                </a:lnTo>
                <a:lnTo>
                  <a:pt x="71" y="266"/>
                </a:lnTo>
                <a:lnTo>
                  <a:pt x="71" y="263"/>
                </a:lnTo>
                <a:lnTo>
                  <a:pt x="65" y="259"/>
                </a:lnTo>
                <a:lnTo>
                  <a:pt x="65" y="256"/>
                </a:lnTo>
                <a:lnTo>
                  <a:pt x="62" y="256"/>
                </a:lnTo>
                <a:lnTo>
                  <a:pt x="59" y="259"/>
                </a:lnTo>
                <a:lnTo>
                  <a:pt x="56" y="256"/>
                </a:lnTo>
                <a:lnTo>
                  <a:pt x="50" y="256"/>
                </a:lnTo>
                <a:lnTo>
                  <a:pt x="46" y="263"/>
                </a:lnTo>
                <a:lnTo>
                  <a:pt x="43" y="263"/>
                </a:lnTo>
                <a:lnTo>
                  <a:pt x="40" y="266"/>
                </a:lnTo>
                <a:lnTo>
                  <a:pt x="37" y="266"/>
                </a:lnTo>
                <a:lnTo>
                  <a:pt x="31" y="263"/>
                </a:lnTo>
                <a:lnTo>
                  <a:pt x="28" y="263"/>
                </a:lnTo>
                <a:lnTo>
                  <a:pt x="25" y="263"/>
                </a:lnTo>
                <a:lnTo>
                  <a:pt x="21" y="263"/>
                </a:lnTo>
                <a:lnTo>
                  <a:pt x="21" y="263"/>
                </a:lnTo>
                <a:lnTo>
                  <a:pt x="25" y="259"/>
                </a:lnTo>
                <a:lnTo>
                  <a:pt x="25" y="256"/>
                </a:lnTo>
                <a:lnTo>
                  <a:pt x="18" y="253"/>
                </a:lnTo>
                <a:lnTo>
                  <a:pt x="18" y="250"/>
                </a:lnTo>
                <a:lnTo>
                  <a:pt x="18" y="247"/>
                </a:lnTo>
                <a:lnTo>
                  <a:pt x="18" y="247"/>
                </a:lnTo>
                <a:lnTo>
                  <a:pt x="15" y="244"/>
                </a:lnTo>
                <a:lnTo>
                  <a:pt x="15" y="241"/>
                </a:lnTo>
                <a:lnTo>
                  <a:pt x="12" y="238"/>
                </a:lnTo>
                <a:lnTo>
                  <a:pt x="12" y="238"/>
                </a:lnTo>
                <a:lnTo>
                  <a:pt x="9" y="238"/>
                </a:lnTo>
                <a:lnTo>
                  <a:pt x="6" y="231"/>
                </a:lnTo>
                <a:lnTo>
                  <a:pt x="3" y="228"/>
                </a:lnTo>
                <a:lnTo>
                  <a:pt x="3" y="225"/>
                </a:lnTo>
                <a:lnTo>
                  <a:pt x="3" y="216"/>
                </a:lnTo>
                <a:lnTo>
                  <a:pt x="3" y="213"/>
                </a:lnTo>
                <a:lnTo>
                  <a:pt x="3" y="209"/>
                </a:lnTo>
                <a:lnTo>
                  <a:pt x="0" y="20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1" name="Freeform 119">
            <a:extLst>
              <a:ext uri="{FF2B5EF4-FFF2-40B4-BE49-F238E27FC236}">
                <a16:creationId xmlns:a16="http://schemas.microsoft.com/office/drawing/2014/main" id="{F41BA9EA-3123-4343-6262-66564A7208E8}"/>
              </a:ext>
            </a:extLst>
          </p:cNvPr>
          <p:cNvSpPr>
            <a:spLocks/>
          </p:cNvSpPr>
          <p:nvPr userDrawn="1"/>
        </p:nvSpPr>
        <p:spPr bwMode="auto">
          <a:xfrm>
            <a:off x="12851563" y="8413031"/>
            <a:ext cx="476219" cy="346078"/>
          </a:xfrm>
          <a:custGeom>
            <a:avLst/>
            <a:gdLst>
              <a:gd name="T0" fmla="*/ 3 w 150"/>
              <a:gd name="T1" fmla="*/ 84 h 109"/>
              <a:gd name="T2" fmla="*/ 0 w 150"/>
              <a:gd name="T3" fmla="*/ 78 h 109"/>
              <a:gd name="T4" fmla="*/ 3 w 150"/>
              <a:gd name="T5" fmla="*/ 72 h 109"/>
              <a:gd name="T6" fmla="*/ 6 w 150"/>
              <a:gd name="T7" fmla="*/ 66 h 109"/>
              <a:gd name="T8" fmla="*/ 16 w 150"/>
              <a:gd name="T9" fmla="*/ 53 h 109"/>
              <a:gd name="T10" fmla="*/ 22 w 150"/>
              <a:gd name="T11" fmla="*/ 44 h 109"/>
              <a:gd name="T12" fmla="*/ 28 w 150"/>
              <a:gd name="T13" fmla="*/ 34 h 109"/>
              <a:gd name="T14" fmla="*/ 34 w 150"/>
              <a:gd name="T15" fmla="*/ 31 h 109"/>
              <a:gd name="T16" fmla="*/ 47 w 150"/>
              <a:gd name="T17" fmla="*/ 28 h 109"/>
              <a:gd name="T18" fmla="*/ 59 w 150"/>
              <a:gd name="T19" fmla="*/ 19 h 109"/>
              <a:gd name="T20" fmla="*/ 81 w 150"/>
              <a:gd name="T21" fmla="*/ 6 h 109"/>
              <a:gd name="T22" fmla="*/ 97 w 150"/>
              <a:gd name="T23" fmla="*/ 0 h 109"/>
              <a:gd name="T24" fmla="*/ 106 w 150"/>
              <a:gd name="T25" fmla="*/ 3 h 109"/>
              <a:gd name="T26" fmla="*/ 112 w 150"/>
              <a:gd name="T27" fmla="*/ 3 h 109"/>
              <a:gd name="T28" fmla="*/ 109 w 150"/>
              <a:gd name="T29" fmla="*/ 9 h 109"/>
              <a:gd name="T30" fmla="*/ 106 w 150"/>
              <a:gd name="T31" fmla="*/ 22 h 109"/>
              <a:gd name="T32" fmla="*/ 125 w 150"/>
              <a:gd name="T33" fmla="*/ 41 h 109"/>
              <a:gd name="T34" fmla="*/ 141 w 150"/>
              <a:gd name="T35" fmla="*/ 41 h 109"/>
              <a:gd name="T36" fmla="*/ 144 w 150"/>
              <a:gd name="T37" fmla="*/ 44 h 109"/>
              <a:gd name="T38" fmla="*/ 147 w 150"/>
              <a:gd name="T39" fmla="*/ 50 h 109"/>
              <a:gd name="T40" fmla="*/ 147 w 150"/>
              <a:gd name="T41" fmla="*/ 59 h 109"/>
              <a:gd name="T42" fmla="*/ 150 w 150"/>
              <a:gd name="T43" fmla="*/ 63 h 109"/>
              <a:gd name="T44" fmla="*/ 141 w 150"/>
              <a:gd name="T45" fmla="*/ 69 h 109"/>
              <a:gd name="T46" fmla="*/ 134 w 150"/>
              <a:gd name="T47" fmla="*/ 69 h 109"/>
              <a:gd name="T48" fmla="*/ 128 w 150"/>
              <a:gd name="T49" fmla="*/ 75 h 109"/>
              <a:gd name="T50" fmla="*/ 128 w 150"/>
              <a:gd name="T51" fmla="*/ 81 h 109"/>
              <a:gd name="T52" fmla="*/ 122 w 150"/>
              <a:gd name="T53" fmla="*/ 84 h 109"/>
              <a:gd name="T54" fmla="*/ 100 w 150"/>
              <a:gd name="T55" fmla="*/ 78 h 109"/>
              <a:gd name="T56" fmla="*/ 97 w 150"/>
              <a:gd name="T57" fmla="*/ 78 h 109"/>
              <a:gd name="T58" fmla="*/ 87 w 150"/>
              <a:gd name="T59" fmla="*/ 81 h 109"/>
              <a:gd name="T60" fmla="*/ 72 w 150"/>
              <a:gd name="T61" fmla="*/ 81 h 109"/>
              <a:gd name="T62" fmla="*/ 56 w 150"/>
              <a:gd name="T63" fmla="*/ 84 h 109"/>
              <a:gd name="T64" fmla="*/ 47 w 150"/>
              <a:gd name="T65" fmla="*/ 88 h 109"/>
              <a:gd name="T66" fmla="*/ 50 w 150"/>
              <a:gd name="T67" fmla="*/ 97 h 109"/>
              <a:gd name="T68" fmla="*/ 53 w 150"/>
              <a:gd name="T69" fmla="*/ 106 h 109"/>
              <a:gd name="T70" fmla="*/ 47 w 150"/>
              <a:gd name="T71" fmla="*/ 103 h 109"/>
              <a:gd name="T72" fmla="*/ 41 w 150"/>
              <a:gd name="T73" fmla="*/ 106 h 109"/>
              <a:gd name="T74" fmla="*/ 28 w 150"/>
              <a:gd name="T75" fmla="*/ 106 h 109"/>
              <a:gd name="T76" fmla="*/ 22 w 150"/>
              <a:gd name="T77" fmla="*/ 100 h 109"/>
              <a:gd name="T78" fmla="*/ 19 w 150"/>
              <a:gd name="T79" fmla="*/ 100 h 109"/>
              <a:gd name="T80" fmla="*/ 6 w 150"/>
              <a:gd name="T81" fmla="*/ 94 h 109"/>
              <a:gd name="T82" fmla="*/ 0 w 150"/>
              <a:gd name="T83" fmla="*/ 9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09">
                <a:moveTo>
                  <a:pt x="0" y="91"/>
                </a:moveTo>
                <a:lnTo>
                  <a:pt x="3" y="84"/>
                </a:lnTo>
                <a:lnTo>
                  <a:pt x="0" y="81"/>
                </a:lnTo>
                <a:lnTo>
                  <a:pt x="0" y="78"/>
                </a:lnTo>
                <a:lnTo>
                  <a:pt x="6" y="78"/>
                </a:lnTo>
                <a:lnTo>
                  <a:pt x="3" y="72"/>
                </a:lnTo>
                <a:lnTo>
                  <a:pt x="3" y="69"/>
                </a:lnTo>
                <a:lnTo>
                  <a:pt x="6" y="66"/>
                </a:lnTo>
                <a:lnTo>
                  <a:pt x="12" y="63"/>
                </a:lnTo>
                <a:lnTo>
                  <a:pt x="16" y="53"/>
                </a:lnTo>
                <a:lnTo>
                  <a:pt x="22" y="47"/>
                </a:lnTo>
                <a:lnTo>
                  <a:pt x="22" y="44"/>
                </a:lnTo>
                <a:lnTo>
                  <a:pt x="25" y="34"/>
                </a:lnTo>
                <a:lnTo>
                  <a:pt x="28" y="34"/>
                </a:lnTo>
                <a:lnTo>
                  <a:pt x="28" y="31"/>
                </a:lnTo>
                <a:lnTo>
                  <a:pt x="34" y="31"/>
                </a:lnTo>
                <a:lnTo>
                  <a:pt x="37" y="31"/>
                </a:lnTo>
                <a:lnTo>
                  <a:pt x="47" y="28"/>
                </a:lnTo>
                <a:lnTo>
                  <a:pt x="50" y="25"/>
                </a:lnTo>
                <a:lnTo>
                  <a:pt x="59" y="19"/>
                </a:lnTo>
                <a:lnTo>
                  <a:pt x="75" y="9"/>
                </a:lnTo>
                <a:lnTo>
                  <a:pt x="81" y="6"/>
                </a:lnTo>
                <a:lnTo>
                  <a:pt x="87" y="3"/>
                </a:lnTo>
                <a:lnTo>
                  <a:pt x="97" y="0"/>
                </a:lnTo>
                <a:lnTo>
                  <a:pt x="100" y="0"/>
                </a:lnTo>
                <a:lnTo>
                  <a:pt x="106" y="3"/>
                </a:lnTo>
                <a:lnTo>
                  <a:pt x="109" y="3"/>
                </a:lnTo>
                <a:lnTo>
                  <a:pt x="112" y="3"/>
                </a:lnTo>
                <a:lnTo>
                  <a:pt x="109" y="6"/>
                </a:lnTo>
                <a:lnTo>
                  <a:pt x="109" y="9"/>
                </a:lnTo>
                <a:lnTo>
                  <a:pt x="106" y="16"/>
                </a:lnTo>
                <a:lnTo>
                  <a:pt x="106" y="22"/>
                </a:lnTo>
                <a:lnTo>
                  <a:pt x="125" y="34"/>
                </a:lnTo>
                <a:lnTo>
                  <a:pt x="125" y="41"/>
                </a:lnTo>
                <a:lnTo>
                  <a:pt x="134" y="47"/>
                </a:lnTo>
                <a:lnTo>
                  <a:pt x="141" y="41"/>
                </a:lnTo>
                <a:lnTo>
                  <a:pt x="144" y="44"/>
                </a:lnTo>
                <a:lnTo>
                  <a:pt x="144" y="44"/>
                </a:lnTo>
                <a:lnTo>
                  <a:pt x="147" y="47"/>
                </a:lnTo>
                <a:lnTo>
                  <a:pt x="147" y="50"/>
                </a:lnTo>
                <a:lnTo>
                  <a:pt x="144" y="53"/>
                </a:lnTo>
                <a:lnTo>
                  <a:pt x="147" y="59"/>
                </a:lnTo>
                <a:lnTo>
                  <a:pt x="150" y="59"/>
                </a:lnTo>
                <a:lnTo>
                  <a:pt x="150" y="63"/>
                </a:lnTo>
                <a:lnTo>
                  <a:pt x="144" y="66"/>
                </a:lnTo>
                <a:lnTo>
                  <a:pt x="141" y="69"/>
                </a:lnTo>
                <a:lnTo>
                  <a:pt x="134" y="72"/>
                </a:lnTo>
                <a:lnTo>
                  <a:pt x="134" y="69"/>
                </a:lnTo>
                <a:lnTo>
                  <a:pt x="128" y="72"/>
                </a:lnTo>
                <a:lnTo>
                  <a:pt x="128" y="75"/>
                </a:lnTo>
                <a:lnTo>
                  <a:pt x="125" y="78"/>
                </a:lnTo>
                <a:lnTo>
                  <a:pt x="128" y="81"/>
                </a:lnTo>
                <a:lnTo>
                  <a:pt x="122" y="81"/>
                </a:lnTo>
                <a:lnTo>
                  <a:pt x="122" y="84"/>
                </a:lnTo>
                <a:lnTo>
                  <a:pt x="100" y="78"/>
                </a:lnTo>
                <a:lnTo>
                  <a:pt x="100" y="78"/>
                </a:lnTo>
                <a:lnTo>
                  <a:pt x="100" y="78"/>
                </a:lnTo>
                <a:lnTo>
                  <a:pt x="97" y="78"/>
                </a:lnTo>
                <a:lnTo>
                  <a:pt x="94" y="81"/>
                </a:lnTo>
                <a:lnTo>
                  <a:pt x="87" y="81"/>
                </a:lnTo>
                <a:lnTo>
                  <a:pt x="81" y="81"/>
                </a:lnTo>
                <a:lnTo>
                  <a:pt x="72" y="81"/>
                </a:lnTo>
                <a:lnTo>
                  <a:pt x="69" y="84"/>
                </a:lnTo>
                <a:lnTo>
                  <a:pt x="56" y="84"/>
                </a:lnTo>
                <a:lnTo>
                  <a:pt x="47" y="84"/>
                </a:lnTo>
                <a:lnTo>
                  <a:pt x="47" y="88"/>
                </a:lnTo>
                <a:lnTo>
                  <a:pt x="50" y="94"/>
                </a:lnTo>
                <a:lnTo>
                  <a:pt x="50" y="97"/>
                </a:lnTo>
                <a:lnTo>
                  <a:pt x="53" y="100"/>
                </a:lnTo>
                <a:lnTo>
                  <a:pt x="53" y="106"/>
                </a:lnTo>
                <a:lnTo>
                  <a:pt x="50" y="106"/>
                </a:lnTo>
                <a:lnTo>
                  <a:pt x="47" y="103"/>
                </a:lnTo>
                <a:lnTo>
                  <a:pt x="44" y="103"/>
                </a:lnTo>
                <a:lnTo>
                  <a:pt x="41" y="106"/>
                </a:lnTo>
                <a:lnTo>
                  <a:pt x="34" y="109"/>
                </a:lnTo>
                <a:lnTo>
                  <a:pt x="28" y="106"/>
                </a:lnTo>
                <a:lnTo>
                  <a:pt x="28" y="103"/>
                </a:lnTo>
                <a:lnTo>
                  <a:pt x="22" y="100"/>
                </a:lnTo>
                <a:lnTo>
                  <a:pt x="19" y="100"/>
                </a:lnTo>
                <a:lnTo>
                  <a:pt x="19" y="100"/>
                </a:lnTo>
                <a:lnTo>
                  <a:pt x="16" y="100"/>
                </a:lnTo>
                <a:lnTo>
                  <a:pt x="6" y="94"/>
                </a:lnTo>
                <a:lnTo>
                  <a:pt x="3" y="91"/>
                </a:lnTo>
                <a:lnTo>
                  <a:pt x="0" y="91"/>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2" name="Freeform 120">
            <a:extLst>
              <a:ext uri="{FF2B5EF4-FFF2-40B4-BE49-F238E27FC236}">
                <a16:creationId xmlns:a16="http://schemas.microsoft.com/office/drawing/2014/main" id="{4302D1DE-5C0F-9D2E-EF90-40F0AEB86807}"/>
              </a:ext>
            </a:extLst>
          </p:cNvPr>
          <p:cNvSpPr>
            <a:spLocks/>
          </p:cNvSpPr>
          <p:nvPr userDrawn="1"/>
        </p:nvSpPr>
        <p:spPr bwMode="auto">
          <a:xfrm>
            <a:off x="12095961" y="8314611"/>
            <a:ext cx="409549" cy="298450"/>
          </a:xfrm>
          <a:custGeom>
            <a:avLst/>
            <a:gdLst>
              <a:gd name="T0" fmla="*/ 22 w 129"/>
              <a:gd name="T1" fmla="*/ 9 h 94"/>
              <a:gd name="T2" fmla="*/ 29 w 129"/>
              <a:gd name="T3" fmla="*/ 6 h 94"/>
              <a:gd name="T4" fmla="*/ 50 w 129"/>
              <a:gd name="T5" fmla="*/ 0 h 94"/>
              <a:gd name="T6" fmla="*/ 63 w 129"/>
              <a:gd name="T7" fmla="*/ 3 h 94"/>
              <a:gd name="T8" fmla="*/ 72 w 129"/>
              <a:gd name="T9" fmla="*/ 9 h 94"/>
              <a:gd name="T10" fmla="*/ 75 w 129"/>
              <a:gd name="T11" fmla="*/ 12 h 94"/>
              <a:gd name="T12" fmla="*/ 79 w 129"/>
              <a:gd name="T13" fmla="*/ 12 h 94"/>
              <a:gd name="T14" fmla="*/ 85 w 129"/>
              <a:gd name="T15" fmla="*/ 12 h 94"/>
              <a:gd name="T16" fmla="*/ 88 w 129"/>
              <a:gd name="T17" fmla="*/ 22 h 94"/>
              <a:gd name="T18" fmla="*/ 94 w 129"/>
              <a:gd name="T19" fmla="*/ 28 h 94"/>
              <a:gd name="T20" fmla="*/ 97 w 129"/>
              <a:gd name="T21" fmla="*/ 31 h 94"/>
              <a:gd name="T22" fmla="*/ 104 w 129"/>
              <a:gd name="T23" fmla="*/ 37 h 94"/>
              <a:gd name="T24" fmla="*/ 107 w 129"/>
              <a:gd name="T25" fmla="*/ 44 h 94"/>
              <a:gd name="T26" fmla="*/ 107 w 129"/>
              <a:gd name="T27" fmla="*/ 56 h 94"/>
              <a:gd name="T28" fmla="*/ 110 w 129"/>
              <a:gd name="T29" fmla="*/ 62 h 94"/>
              <a:gd name="T30" fmla="*/ 116 w 129"/>
              <a:gd name="T31" fmla="*/ 69 h 94"/>
              <a:gd name="T32" fmla="*/ 119 w 129"/>
              <a:gd name="T33" fmla="*/ 72 h 94"/>
              <a:gd name="T34" fmla="*/ 122 w 129"/>
              <a:gd name="T35" fmla="*/ 78 h 94"/>
              <a:gd name="T36" fmla="*/ 122 w 129"/>
              <a:gd name="T37" fmla="*/ 81 h 94"/>
              <a:gd name="T38" fmla="*/ 129 w 129"/>
              <a:gd name="T39" fmla="*/ 87 h 94"/>
              <a:gd name="T40" fmla="*/ 125 w 129"/>
              <a:gd name="T41" fmla="*/ 94 h 94"/>
              <a:gd name="T42" fmla="*/ 122 w 129"/>
              <a:gd name="T43" fmla="*/ 90 h 94"/>
              <a:gd name="T44" fmla="*/ 116 w 129"/>
              <a:gd name="T45" fmla="*/ 87 h 94"/>
              <a:gd name="T46" fmla="*/ 107 w 129"/>
              <a:gd name="T47" fmla="*/ 87 h 94"/>
              <a:gd name="T48" fmla="*/ 97 w 129"/>
              <a:gd name="T49" fmla="*/ 84 h 94"/>
              <a:gd name="T50" fmla="*/ 75 w 129"/>
              <a:gd name="T51" fmla="*/ 81 h 94"/>
              <a:gd name="T52" fmla="*/ 72 w 129"/>
              <a:gd name="T53" fmla="*/ 81 h 94"/>
              <a:gd name="T54" fmla="*/ 50 w 129"/>
              <a:gd name="T55" fmla="*/ 78 h 94"/>
              <a:gd name="T56" fmla="*/ 41 w 129"/>
              <a:gd name="T57" fmla="*/ 87 h 94"/>
              <a:gd name="T58" fmla="*/ 19 w 129"/>
              <a:gd name="T59" fmla="*/ 87 h 94"/>
              <a:gd name="T60" fmla="*/ 16 w 129"/>
              <a:gd name="T61" fmla="*/ 84 h 94"/>
              <a:gd name="T62" fmla="*/ 16 w 129"/>
              <a:gd name="T63" fmla="*/ 84 h 94"/>
              <a:gd name="T64" fmla="*/ 22 w 129"/>
              <a:gd name="T65" fmla="*/ 81 h 94"/>
              <a:gd name="T66" fmla="*/ 13 w 129"/>
              <a:gd name="T67" fmla="*/ 81 h 94"/>
              <a:gd name="T68" fmla="*/ 13 w 129"/>
              <a:gd name="T69" fmla="*/ 78 h 94"/>
              <a:gd name="T70" fmla="*/ 16 w 129"/>
              <a:gd name="T71" fmla="*/ 72 h 94"/>
              <a:gd name="T72" fmla="*/ 32 w 129"/>
              <a:gd name="T73" fmla="*/ 69 h 94"/>
              <a:gd name="T74" fmla="*/ 38 w 129"/>
              <a:gd name="T75" fmla="*/ 62 h 94"/>
              <a:gd name="T76" fmla="*/ 41 w 129"/>
              <a:gd name="T77" fmla="*/ 65 h 94"/>
              <a:gd name="T78" fmla="*/ 47 w 129"/>
              <a:gd name="T79" fmla="*/ 62 h 94"/>
              <a:gd name="T80" fmla="*/ 57 w 129"/>
              <a:gd name="T81" fmla="*/ 65 h 94"/>
              <a:gd name="T82" fmla="*/ 66 w 129"/>
              <a:gd name="T83" fmla="*/ 69 h 94"/>
              <a:gd name="T84" fmla="*/ 72 w 129"/>
              <a:gd name="T85" fmla="*/ 65 h 94"/>
              <a:gd name="T86" fmla="*/ 69 w 129"/>
              <a:gd name="T87" fmla="*/ 65 h 94"/>
              <a:gd name="T88" fmla="*/ 57 w 129"/>
              <a:gd name="T89" fmla="*/ 59 h 94"/>
              <a:gd name="T90" fmla="*/ 47 w 129"/>
              <a:gd name="T91" fmla="*/ 56 h 94"/>
              <a:gd name="T92" fmla="*/ 38 w 129"/>
              <a:gd name="T93" fmla="*/ 56 h 94"/>
              <a:gd name="T94" fmla="*/ 29 w 129"/>
              <a:gd name="T95" fmla="*/ 62 h 94"/>
              <a:gd name="T96" fmla="*/ 16 w 129"/>
              <a:gd name="T97" fmla="*/ 62 h 94"/>
              <a:gd name="T98" fmla="*/ 19 w 129"/>
              <a:gd name="T99" fmla="*/ 59 h 94"/>
              <a:gd name="T100" fmla="*/ 16 w 129"/>
              <a:gd name="T101" fmla="*/ 56 h 94"/>
              <a:gd name="T102" fmla="*/ 13 w 129"/>
              <a:gd name="T103" fmla="*/ 53 h 94"/>
              <a:gd name="T104" fmla="*/ 0 w 129"/>
              <a:gd name="T105" fmla="*/ 37 h 94"/>
              <a:gd name="T106" fmla="*/ 19 w 129"/>
              <a:gd name="T107" fmla="*/ 1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9" h="94">
                <a:moveTo>
                  <a:pt x="19" y="12"/>
                </a:moveTo>
                <a:lnTo>
                  <a:pt x="22" y="9"/>
                </a:lnTo>
                <a:lnTo>
                  <a:pt x="25" y="9"/>
                </a:lnTo>
                <a:lnTo>
                  <a:pt x="29" y="6"/>
                </a:lnTo>
                <a:lnTo>
                  <a:pt x="38" y="3"/>
                </a:lnTo>
                <a:lnTo>
                  <a:pt x="50" y="0"/>
                </a:lnTo>
                <a:lnTo>
                  <a:pt x="54" y="0"/>
                </a:lnTo>
                <a:lnTo>
                  <a:pt x="63" y="3"/>
                </a:lnTo>
                <a:lnTo>
                  <a:pt x="66" y="3"/>
                </a:lnTo>
                <a:lnTo>
                  <a:pt x="72" y="9"/>
                </a:lnTo>
                <a:lnTo>
                  <a:pt x="72" y="12"/>
                </a:lnTo>
                <a:lnTo>
                  <a:pt x="75" y="12"/>
                </a:lnTo>
                <a:lnTo>
                  <a:pt x="79" y="12"/>
                </a:lnTo>
                <a:lnTo>
                  <a:pt x="79" y="12"/>
                </a:lnTo>
                <a:lnTo>
                  <a:pt x="82" y="12"/>
                </a:lnTo>
                <a:lnTo>
                  <a:pt x="85" y="12"/>
                </a:lnTo>
                <a:lnTo>
                  <a:pt x="85" y="18"/>
                </a:lnTo>
                <a:lnTo>
                  <a:pt x="88" y="22"/>
                </a:lnTo>
                <a:lnTo>
                  <a:pt x="88" y="25"/>
                </a:lnTo>
                <a:lnTo>
                  <a:pt x="94" y="28"/>
                </a:lnTo>
                <a:lnTo>
                  <a:pt x="94" y="31"/>
                </a:lnTo>
                <a:lnTo>
                  <a:pt x="97" y="31"/>
                </a:lnTo>
                <a:lnTo>
                  <a:pt x="104" y="34"/>
                </a:lnTo>
                <a:lnTo>
                  <a:pt x="104" y="37"/>
                </a:lnTo>
                <a:lnTo>
                  <a:pt x="107" y="40"/>
                </a:lnTo>
                <a:lnTo>
                  <a:pt x="107" y="44"/>
                </a:lnTo>
                <a:lnTo>
                  <a:pt x="107" y="47"/>
                </a:lnTo>
                <a:lnTo>
                  <a:pt x="107" y="56"/>
                </a:lnTo>
                <a:lnTo>
                  <a:pt x="107" y="59"/>
                </a:lnTo>
                <a:lnTo>
                  <a:pt x="110" y="62"/>
                </a:lnTo>
                <a:lnTo>
                  <a:pt x="113" y="69"/>
                </a:lnTo>
                <a:lnTo>
                  <a:pt x="116" y="69"/>
                </a:lnTo>
                <a:lnTo>
                  <a:pt x="116" y="69"/>
                </a:lnTo>
                <a:lnTo>
                  <a:pt x="119" y="72"/>
                </a:lnTo>
                <a:lnTo>
                  <a:pt x="119" y="75"/>
                </a:lnTo>
                <a:lnTo>
                  <a:pt x="122" y="78"/>
                </a:lnTo>
                <a:lnTo>
                  <a:pt x="122" y="78"/>
                </a:lnTo>
                <a:lnTo>
                  <a:pt x="122" y="81"/>
                </a:lnTo>
                <a:lnTo>
                  <a:pt x="122" y="84"/>
                </a:lnTo>
                <a:lnTo>
                  <a:pt x="129" y="87"/>
                </a:lnTo>
                <a:lnTo>
                  <a:pt x="129" y="90"/>
                </a:lnTo>
                <a:lnTo>
                  <a:pt x="125" y="94"/>
                </a:lnTo>
                <a:lnTo>
                  <a:pt x="125" y="90"/>
                </a:lnTo>
                <a:lnTo>
                  <a:pt x="122" y="90"/>
                </a:lnTo>
                <a:lnTo>
                  <a:pt x="119" y="87"/>
                </a:lnTo>
                <a:lnTo>
                  <a:pt x="116" y="87"/>
                </a:lnTo>
                <a:lnTo>
                  <a:pt x="113" y="87"/>
                </a:lnTo>
                <a:lnTo>
                  <a:pt x="107" y="87"/>
                </a:lnTo>
                <a:lnTo>
                  <a:pt x="100" y="87"/>
                </a:lnTo>
                <a:lnTo>
                  <a:pt x="97" y="84"/>
                </a:lnTo>
                <a:lnTo>
                  <a:pt x="88" y="81"/>
                </a:lnTo>
                <a:lnTo>
                  <a:pt x="75" y="81"/>
                </a:lnTo>
                <a:lnTo>
                  <a:pt x="72" y="81"/>
                </a:lnTo>
                <a:lnTo>
                  <a:pt x="72" y="81"/>
                </a:lnTo>
                <a:lnTo>
                  <a:pt x="69" y="78"/>
                </a:lnTo>
                <a:lnTo>
                  <a:pt x="50" y="78"/>
                </a:lnTo>
                <a:lnTo>
                  <a:pt x="44" y="81"/>
                </a:lnTo>
                <a:lnTo>
                  <a:pt x="41" y="87"/>
                </a:lnTo>
                <a:lnTo>
                  <a:pt x="25" y="84"/>
                </a:lnTo>
                <a:lnTo>
                  <a:pt x="19" y="87"/>
                </a:lnTo>
                <a:lnTo>
                  <a:pt x="16" y="87"/>
                </a:lnTo>
                <a:lnTo>
                  <a:pt x="16" y="84"/>
                </a:lnTo>
                <a:lnTo>
                  <a:pt x="13" y="81"/>
                </a:lnTo>
                <a:lnTo>
                  <a:pt x="16" y="84"/>
                </a:lnTo>
                <a:lnTo>
                  <a:pt x="19" y="84"/>
                </a:lnTo>
                <a:lnTo>
                  <a:pt x="22" y="81"/>
                </a:lnTo>
                <a:lnTo>
                  <a:pt x="16" y="78"/>
                </a:lnTo>
                <a:lnTo>
                  <a:pt x="13" y="81"/>
                </a:lnTo>
                <a:lnTo>
                  <a:pt x="10" y="81"/>
                </a:lnTo>
                <a:lnTo>
                  <a:pt x="13" y="78"/>
                </a:lnTo>
                <a:lnTo>
                  <a:pt x="13" y="72"/>
                </a:lnTo>
                <a:lnTo>
                  <a:pt x="16" y="72"/>
                </a:lnTo>
                <a:lnTo>
                  <a:pt x="29" y="72"/>
                </a:lnTo>
                <a:lnTo>
                  <a:pt x="32" y="69"/>
                </a:lnTo>
                <a:lnTo>
                  <a:pt x="35" y="65"/>
                </a:lnTo>
                <a:lnTo>
                  <a:pt x="38" y="62"/>
                </a:lnTo>
                <a:lnTo>
                  <a:pt x="41" y="65"/>
                </a:lnTo>
                <a:lnTo>
                  <a:pt x="41" y="65"/>
                </a:lnTo>
                <a:lnTo>
                  <a:pt x="44" y="62"/>
                </a:lnTo>
                <a:lnTo>
                  <a:pt x="47" y="62"/>
                </a:lnTo>
                <a:lnTo>
                  <a:pt x="50" y="65"/>
                </a:lnTo>
                <a:lnTo>
                  <a:pt x="57" y="65"/>
                </a:lnTo>
                <a:lnTo>
                  <a:pt x="60" y="65"/>
                </a:lnTo>
                <a:lnTo>
                  <a:pt x="66" y="69"/>
                </a:lnTo>
                <a:lnTo>
                  <a:pt x="72" y="69"/>
                </a:lnTo>
                <a:lnTo>
                  <a:pt x="72" y="65"/>
                </a:lnTo>
                <a:lnTo>
                  <a:pt x="72" y="65"/>
                </a:lnTo>
                <a:lnTo>
                  <a:pt x="69" y="65"/>
                </a:lnTo>
                <a:lnTo>
                  <a:pt x="63" y="59"/>
                </a:lnTo>
                <a:lnTo>
                  <a:pt x="57" y="59"/>
                </a:lnTo>
                <a:lnTo>
                  <a:pt x="50" y="56"/>
                </a:lnTo>
                <a:lnTo>
                  <a:pt x="47" y="56"/>
                </a:lnTo>
                <a:lnTo>
                  <a:pt x="44" y="53"/>
                </a:lnTo>
                <a:lnTo>
                  <a:pt x="38" y="56"/>
                </a:lnTo>
                <a:lnTo>
                  <a:pt x="32" y="62"/>
                </a:lnTo>
                <a:lnTo>
                  <a:pt x="29" y="62"/>
                </a:lnTo>
                <a:lnTo>
                  <a:pt x="25" y="62"/>
                </a:lnTo>
                <a:lnTo>
                  <a:pt x="16" y="62"/>
                </a:lnTo>
                <a:lnTo>
                  <a:pt x="16" y="62"/>
                </a:lnTo>
                <a:lnTo>
                  <a:pt x="19" y="59"/>
                </a:lnTo>
                <a:lnTo>
                  <a:pt x="13" y="56"/>
                </a:lnTo>
                <a:lnTo>
                  <a:pt x="16" y="56"/>
                </a:lnTo>
                <a:lnTo>
                  <a:pt x="16" y="53"/>
                </a:lnTo>
                <a:lnTo>
                  <a:pt x="13" y="53"/>
                </a:lnTo>
                <a:lnTo>
                  <a:pt x="7" y="44"/>
                </a:lnTo>
                <a:lnTo>
                  <a:pt x="0" y="37"/>
                </a:lnTo>
                <a:lnTo>
                  <a:pt x="13" y="28"/>
                </a:lnTo>
                <a:lnTo>
                  <a:pt x="19" y="18"/>
                </a:lnTo>
                <a:lnTo>
                  <a:pt x="19" y="12"/>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3" name="Freeform 121">
            <a:extLst>
              <a:ext uri="{FF2B5EF4-FFF2-40B4-BE49-F238E27FC236}">
                <a16:creationId xmlns:a16="http://schemas.microsoft.com/office/drawing/2014/main" id="{96F1264B-D7F3-A9BF-CB18-4FBBF2D2D0B0}"/>
              </a:ext>
            </a:extLst>
          </p:cNvPr>
          <p:cNvSpPr>
            <a:spLocks/>
          </p:cNvSpPr>
          <p:nvPr userDrawn="1"/>
        </p:nvSpPr>
        <p:spPr bwMode="auto">
          <a:xfrm>
            <a:off x="12127710" y="8482883"/>
            <a:ext cx="196837" cy="60326"/>
          </a:xfrm>
          <a:custGeom>
            <a:avLst/>
            <a:gdLst>
              <a:gd name="T0" fmla="*/ 3 w 62"/>
              <a:gd name="T1" fmla="*/ 19 h 19"/>
              <a:gd name="T2" fmla="*/ 6 w 62"/>
              <a:gd name="T3" fmla="*/ 19 h 19"/>
              <a:gd name="T4" fmla="*/ 19 w 62"/>
              <a:gd name="T5" fmla="*/ 19 h 19"/>
              <a:gd name="T6" fmla="*/ 22 w 62"/>
              <a:gd name="T7" fmla="*/ 16 h 19"/>
              <a:gd name="T8" fmla="*/ 25 w 62"/>
              <a:gd name="T9" fmla="*/ 12 h 19"/>
              <a:gd name="T10" fmla="*/ 28 w 62"/>
              <a:gd name="T11" fmla="*/ 9 h 19"/>
              <a:gd name="T12" fmla="*/ 31 w 62"/>
              <a:gd name="T13" fmla="*/ 12 h 19"/>
              <a:gd name="T14" fmla="*/ 31 w 62"/>
              <a:gd name="T15" fmla="*/ 12 h 19"/>
              <a:gd name="T16" fmla="*/ 34 w 62"/>
              <a:gd name="T17" fmla="*/ 9 h 19"/>
              <a:gd name="T18" fmla="*/ 37 w 62"/>
              <a:gd name="T19" fmla="*/ 9 h 19"/>
              <a:gd name="T20" fmla="*/ 40 w 62"/>
              <a:gd name="T21" fmla="*/ 12 h 19"/>
              <a:gd name="T22" fmla="*/ 47 w 62"/>
              <a:gd name="T23" fmla="*/ 12 h 19"/>
              <a:gd name="T24" fmla="*/ 50 w 62"/>
              <a:gd name="T25" fmla="*/ 12 h 19"/>
              <a:gd name="T26" fmla="*/ 56 w 62"/>
              <a:gd name="T27" fmla="*/ 16 h 19"/>
              <a:gd name="T28" fmla="*/ 62 w 62"/>
              <a:gd name="T29" fmla="*/ 16 h 19"/>
              <a:gd name="T30" fmla="*/ 62 w 62"/>
              <a:gd name="T31" fmla="*/ 12 h 19"/>
              <a:gd name="T32" fmla="*/ 62 w 62"/>
              <a:gd name="T33" fmla="*/ 12 h 19"/>
              <a:gd name="T34" fmla="*/ 59 w 62"/>
              <a:gd name="T35" fmla="*/ 12 h 19"/>
              <a:gd name="T36" fmla="*/ 53 w 62"/>
              <a:gd name="T37" fmla="*/ 6 h 19"/>
              <a:gd name="T38" fmla="*/ 47 w 62"/>
              <a:gd name="T39" fmla="*/ 6 h 19"/>
              <a:gd name="T40" fmla="*/ 40 w 62"/>
              <a:gd name="T41" fmla="*/ 3 h 19"/>
              <a:gd name="T42" fmla="*/ 37 w 62"/>
              <a:gd name="T43" fmla="*/ 3 h 19"/>
              <a:gd name="T44" fmla="*/ 34 w 62"/>
              <a:gd name="T45" fmla="*/ 0 h 19"/>
              <a:gd name="T46" fmla="*/ 28 w 62"/>
              <a:gd name="T47" fmla="*/ 3 h 19"/>
              <a:gd name="T48" fmla="*/ 22 w 62"/>
              <a:gd name="T49" fmla="*/ 9 h 19"/>
              <a:gd name="T50" fmla="*/ 19 w 62"/>
              <a:gd name="T51" fmla="*/ 9 h 19"/>
              <a:gd name="T52" fmla="*/ 15 w 62"/>
              <a:gd name="T53" fmla="*/ 9 h 19"/>
              <a:gd name="T54" fmla="*/ 6 w 62"/>
              <a:gd name="T55" fmla="*/ 9 h 19"/>
              <a:gd name="T56" fmla="*/ 6 w 62"/>
              <a:gd name="T57" fmla="*/ 12 h 19"/>
              <a:gd name="T58" fmla="*/ 12 w 62"/>
              <a:gd name="T59" fmla="*/ 16 h 19"/>
              <a:gd name="T60" fmla="*/ 15 w 62"/>
              <a:gd name="T61" fmla="*/ 16 h 19"/>
              <a:gd name="T62" fmla="*/ 12 w 62"/>
              <a:gd name="T63" fmla="*/ 19 h 19"/>
              <a:gd name="T64" fmla="*/ 9 w 62"/>
              <a:gd name="T65" fmla="*/ 19 h 19"/>
              <a:gd name="T66" fmla="*/ 3 w 62"/>
              <a:gd name="T67" fmla="*/ 12 h 19"/>
              <a:gd name="T68" fmla="*/ 0 w 62"/>
              <a:gd name="T69" fmla="*/ 16 h 19"/>
              <a:gd name="T70" fmla="*/ 3 w 62"/>
              <a:gd name="T71" fmla="*/ 19 h 19"/>
              <a:gd name="T72" fmla="*/ 3 w 62"/>
              <a:gd name="T7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19">
                <a:moveTo>
                  <a:pt x="3" y="19"/>
                </a:moveTo>
                <a:lnTo>
                  <a:pt x="6" y="19"/>
                </a:lnTo>
                <a:lnTo>
                  <a:pt x="19" y="19"/>
                </a:lnTo>
                <a:lnTo>
                  <a:pt x="22" y="16"/>
                </a:lnTo>
                <a:lnTo>
                  <a:pt x="25" y="12"/>
                </a:lnTo>
                <a:lnTo>
                  <a:pt x="28" y="9"/>
                </a:lnTo>
                <a:lnTo>
                  <a:pt x="31" y="12"/>
                </a:lnTo>
                <a:lnTo>
                  <a:pt x="31" y="12"/>
                </a:lnTo>
                <a:lnTo>
                  <a:pt x="34" y="9"/>
                </a:lnTo>
                <a:lnTo>
                  <a:pt x="37" y="9"/>
                </a:lnTo>
                <a:lnTo>
                  <a:pt x="40" y="12"/>
                </a:lnTo>
                <a:lnTo>
                  <a:pt x="47" y="12"/>
                </a:lnTo>
                <a:lnTo>
                  <a:pt x="50" y="12"/>
                </a:lnTo>
                <a:lnTo>
                  <a:pt x="56" y="16"/>
                </a:lnTo>
                <a:lnTo>
                  <a:pt x="62" y="16"/>
                </a:lnTo>
                <a:lnTo>
                  <a:pt x="62" y="12"/>
                </a:lnTo>
                <a:lnTo>
                  <a:pt x="62" y="12"/>
                </a:lnTo>
                <a:lnTo>
                  <a:pt x="59" y="12"/>
                </a:lnTo>
                <a:lnTo>
                  <a:pt x="53" y="6"/>
                </a:lnTo>
                <a:lnTo>
                  <a:pt x="47" y="6"/>
                </a:lnTo>
                <a:lnTo>
                  <a:pt x="40" y="3"/>
                </a:lnTo>
                <a:lnTo>
                  <a:pt x="37" y="3"/>
                </a:lnTo>
                <a:lnTo>
                  <a:pt x="34" y="0"/>
                </a:lnTo>
                <a:lnTo>
                  <a:pt x="28" y="3"/>
                </a:lnTo>
                <a:lnTo>
                  <a:pt x="22" y="9"/>
                </a:lnTo>
                <a:lnTo>
                  <a:pt x="19" y="9"/>
                </a:lnTo>
                <a:lnTo>
                  <a:pt x="15" y="9"/>
                </a:lnTo>
                <a:lnTo>
                  <a:pt x="6" y="9"/>
                </a:lnTo>
                <a:lnTo>
                  <a:pt x="6" y="12"/>
                </a:lnTo>
                <a:lnTo>
                  <a:pt x="12" y="16"/>
                </a:lnTo>
                <a:lnTo>
                  <a:pt x="15" y="16"/>
                </a:lnTo>
                <a:lnTo>
                  <a:pt x="12" y="19"/>
                </a:lnTo>
                <a:lnTo>
                  <a:pt x="9" y="19"/>
                </a:lnTo>
                <a:lnTo>
                  <a:pt x="3" y="12"/>
                </a:lnTo>
                <a:lnTo>
                  <a:pt x="0" y="16"/>
                </a:lnTo>
                <a:lnTo>
                  <a:pt x="3" y="19"/>
                </a:lnTo>
                <a:lnTo>
                  <a:pt x="3" y="1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4" name="Freeform 122">
            <a:extLst>
              <a:ext uri="{FF2B5EF4-FFF2-40B4-BE49-F238E27FC236}">
                <a16:creationId xmlns:a16="http://schemas.microsoft.com/office/drawing/2014/main" id="{FFE84A1A-5839-392D-3923-150B65C9DA21}"/>
              </a:ext>
            </a:extLst>
          </p:cNvPr>
          <p:cNvSpPr>
            <a:spLocks/>
          </p:cNvSpPr>
          <p:nvPr userDrawn="1"/>
        </p:nvSpPr>
        <p:spPr bwMode="auto">
          <a:xfrm>
            <a:off x="12146758" y="8562257"/>
            <a:ext cx="187314" cy="117478"/>
          </a:xfrm>
          <a:custGeom>
            <a:avLst/>
            <a:gdLst>
              <a:gd name="T0" fmla="*/ 0 w 59"/>
              <a:gd name="T1" fmla="*/ 9 h 37"/>
              <a:gd name="T2" fmla="*/ 3 w 59"/>
              <a:gd name="T3" fmla="*/ 9 h 37"/>
              <a:gd name="T4" fmla="*/ 9 w 59"/>
              <a:gd name="T5" fmla="*/ 6 h 37"/>
              <a:gd name="T6" fmla="*/ 25 w 59"/>
              <a:gd name="T7" fmla="*/ 9 h 37"/>
              <a:gd name="T8" fmla="*/ 28 w 59"/>
              <a:gd name="T9" fmla="*/ 3 h 37"/>
              <a:gd name="T10" fmla="*/ 34 w 59"/>
              <a:gd name="T11" fmla="*/ 0 h 37"/>
              <a:gd name="T12" fmla="*/ 53 w 59"/>
              <a:gd name="T13" fmla="*/ 0 h 37"/>
              <a:gd name="T14" fmla="*/ 56 w 59"/>
              <a:gd name="T15" fmla="*/ 3 h 37"/>
              <a:gd name="T16" fmla="*/ 56 w 59"/>
              <a:gd name="T17" fmla="*/ 9 h 37"/>
              <a:gd name="T18" fmla="*/ 56 w 59"/>
              <a:gd name="T19" fmla="*/ 12 h 37"/>
              <a:gd name="T20" fmla="*/ 56 w 59"/>
              <a:gd name="T21" fmla="*/ 19 h 37"/>
              <a:gd name="T22" fmla="*/ 59 w 59"/>
              <a:gd name="T23" fmla="*/ 22 h 37"/>
              <a:gd name="T24" fmla="*/ 59 w 59"/>
              <a:gd name="T25" fmla="*/ 25 h 37"/>
              <a:gd name="T26" fmla="*/ 56 w 59"/>
              <a:gd name="T27" fmla="*/ 28 h 37"/>
              <a:gd name="T28" fmla="*/ 50 w 59"/>
              <a:gd name="T29" fmla="*/ 28 h 37"/>
              <a:gd name="T30" fmla="*/ 44 w 59"/>
              <a:gd name="T31" fmla="*/ 31 h 37"/>
              <a:gd name="T32" fmla="*/ 41 w 59"/>
              <a:gd name="T33" fmla="*/ 31 h 37"/>
              <a:gd name="T34" fmla="*/ 38 w 59"/>
              <a:gd name="T35" fmla="*/ 37 h 37"/>
              <a:gd name="T36" fmla="*/ 31 w 59"/>
              <a:gd name="T37" fmla="*/ 37 h 37"/>
              <a:gd name="T38" fmla="*/ 31 w 59"/>
              <a:gd name="T39" fmla="*/ 37 h 37"/>
              <a:gd name="T40" fmla="*/ 31 w 59"/>
              <a:gd name="T41" fmla="*/ 34 h 37"/>
              <a:gd name="T42" fmla="*/ 25 w 59"/>
              <a:gd name="T43" fmla="*/ 34 h 37"/>
              <a:gd name="T44" fmla="*/ 28 w 59"/>
              <a:gd name="T45" fmla="*/ 28 h 37"/>
              <a:gd name="T46" fmla="*/ 25 w 59"/>
              <a:gd name="T47" fmla="*/ 28 h 37"/>
              <a:gd name="T48" fmla="*/ 28 w 59"/>
              <a:gd name="T49" fmla="*/ 28 h 37"/>
              <a:gd name="T50" fmla="*/ 25 w 59"/>
              <a:gd name="T51" fmla="*/ 25 h 37"/>
              <a:gd name="T52" fmla="*/ 22 w 59"/>
              <a:gd name="T53" fmla="*/ 25 h 37"/>
              <a:gd name="T54" fmla="*/ 22 w 59"/>
              <a:gd name="T55" fmla="*/ 25 h 37"/>
              <a:gd name="T56" fmla="*/ 31 w 59"/>
              <a:gd name="T57" fmla="*/ 22 h 37"/>
              <a:gd name="T58" fmla="*/ 31 w 59"/>
              <a:gd name="T59" fmla="*/ 22 h 37"/>
              <a:gd name="T60" fmla="*/ 28 w 59"/>
              <a:gd name="T61" fmla="*/ 19 h 37"/>
              <a:gd name="T62" fmla="*/ 22 w 59"/>
              <a:gd name="T63" fmla="*/ 19 h 37"/>
              <a:gd name="T64" fmla="*/ 19 w 59"/>
              <a:gd name="T65" fmla="*/ 22 h 37"/>
              <a:gd name="T66" fmla="*/ 16 w 59"/>
              <a:gd name="T67" fmla="*/ 22 h 37"/>
              <a:gd name="T68" fmla="*/ 13 w 59"/>
              <a:gd name="T69" fmla="*/ 19 h 37"/>
              <a:gd name="T70" fmla="*/ 9 w 59"/>
              <a:gd name="T71" fmla="*/ 19 h 37"/>
              <a:gd name="T72" fmla="*/ 6 w 59"/>
              <a:gd name="T73" fmla="*/ 16 h 37"/>
              <a:gd name="T74" fmla="*/ 9 w 59"/>
              <a:gd name="T75" fmla="*/ 12 h 37"/>
              <a:gd name="T76" fmla="*/ 6 w 59"/>
              <a:gd name="T77" fmla="*/ 12 h 37"/>
              <a:gd name="T78" fmla="*/ 0 w 59"/>
              <a:gd name="T79" fmla="*/ 12 h 37"/>
              <a:gd name="T80" fmla="*/ 0 w 59"/>
              <a:gd name="T81" fmla="*/ 9 h 37"/>
              <a:gd name="T82" fmla="*/ 0 w 59"/>
              <a:gd name="T83" fmla="*/ 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9" h="37">
                <a:moveTo>
                  <a:pt x="0" y="9"/>
                </a:moveTo>
                <a:lnTo>
                  <a:pt x="3" y="9"/>
                </a:lnTo>
                <a:lnTo>
                  <a:pt x="9" y="6"/>
                </a:lnTo>
                <a:lnTo>
                  <a:pt x="25" y="9"/>
                </a:lnTo>
                <a:lnTo>
                  <a:pt x="28" y="3"/>
                </a:lnTo>
                <a:lnTo>
                  <a:pt x="34" y="0"/>
                </a:lnTo>
                <a:lnTo>
                  <a:pt x="53" y="0"/>
                </a:lnTo>
                <a:lnTo>
                  <a:pt x="56" y="3"/>
                </a:lnTo>
                <a:lnTo>
                  <a:pt x="56" y="9"/>
                </a:lnTo>
                <a:lnTo>
                  <a:pt x="56" y="12"/>
                </a:lnTo>
                <a:lnTo>
                  <a:pt x="56" y="19"/>
                </a:lnTo>
                <a:lnTo>
                  <a:pt x="59" y="22"/>
                </a:lnTo>
                <a:lnTo>
                  <a:pt x="59" y="25"/>
                </a:lnTo>
                <a:lnTo>
                  <a:pt x="56" y="28"/>
                </a:lnTo>
                <a:lnTo>
                  <a:pt x="50" y="28"/>
                </a:lnTo>
                <a:lnTo>
                  <a:pt x="44" y="31"/>
                </a:lnTo>
                <a:lnTo>
                  <a:pt x="41" y="31"/>
                </a:lnTo>
                <a:lnTo>
                  <a:pt x="38" y="37"/>
                </a:lnTo>
                <a:lnTo>
                  <a:pt x="31" y="37"/>
                </a:lnTo>
                <a:lnTo>
                  <a:pt x="31" y="37"/>
                </a:lnTo>
                <a:lnTo>
                  <a:pt x="31" y="34"/>
                </a:lnTo>
                <a:lnTo>
                  <a:pt x="25" y="34"/>
                </a:lnTo>
                <a:lnTo>
                  <a:pt x="28" y="28"/>
                </a:lnTo>
                <a:lnTo>
                  <a:pt x="25" y="28"/>
                </a:lnTo>
                <a:lnTo>
                  <a:pt x="28" y="28"/>
                </a:lnTo>
                <a:lnTo>
                  <a:pt x="25" y="25"/>
                </a:lnTo>
                <a:lnTo>
                  <a:pt x="22" y="25"/>
                </a:lnTo>
                <a:lnTo>
                  <a:pt x="22" y="25"/>
                </a:lnTo>
                <a:lnTo>
                  <a:pt x="31" y="22"/>
                </a:lnTo>
                <a:lnTo>
                  <a:pt x="31" y="22"/>
                </a:lnTo>
                <a:lnTo>
                  <a:pt x="28" y="19"/>
                </a:lnTo>
                <a:lnTo>
                  <a:pt x="22" y="19"/>
                </a:lnTo>
                <a:lnTo>
                  <a:pt x="19" y="22"/>
                </a:lnTo>
                <a:lnTo>
                  <a:pt x="16" y="22"/>
                </a:lnTo>
                <a:lnTo>
                  <a:pt x="13" y="19"/>
                </a:lnTo>
                <a:lnTo>
                  <a:pt x="9" y="19"/>
                </a:lnTo>
                <a:lnTo>
                  <a:pt x="6" y="16"/>
                </a:lnTo>
                <a:lnTo>
                  <a:pt x="9" y="12"/>
                </a:lnTo>
                <a:lnTo>
                  <a:pt x="6" y="12"/>
                </a:lnTo>
                <a:lnTo>
                  <a:pt x="0" y="12"/>
                </a:lnTo>
                <a:lnTo>
                  <a:pt x="0" y="9"/>
                </a:lnTo>
                <a:lnTo>
                  <a:pt x="0" y="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5" name="Freeform 123">
            <a:extLst>
              <a:ext uri="{FF2B5EF4-FFF2-40B4-BE49-F238E27FC236}">
                <a16:creationId xmlns:a16="http://schemas.microsoft.com/office/drawing/2014/main" id="{7A6F06F7-CA01-4CB6-1480-85CF1CC468AB}"/>
              </a:ext>
            </a:extLst>
          </p:cNvPr>
          <p:cNvSpPr>
            <a:spLocks/>
          </p:cNvSpPr>
          <p:nvPr userDrawn="1"/>
        </p:nvSpPr>
        <p:spPr bwMode="auto">
          <a:xfrm>
            <a:off x="12267399" y="8571781"/>
            <a:ext cx="434948" cy="438150"/>
          </a:xfrm>
          <a:custGeom>
            <a:avLst/>
            <a:gdLst>
              <a:gd name="T0" fmla="*/ 3 w 137"/>
              <a:gd name="T1" fmla="*/ 28 h 138"/>
              <a:gd name="T2" fmla="*/ 12 w 137"/>
              <a:gd name="T3" fmla="*/ 25 h 138"/>
              <a:gd name="T4" fmla="*/ 21 w 137"/>
              <a:gd name="T5" fmla="*/ 22 h 138"/>
              <a:gd name="T6" fmla="*/ 18 w 137"/>
              <a:gd name="T7" fmla="*/ 16 h 138"/>
              <a:gd name="T8" fmla="*/ 18 w 137"/>
              <a:gd name="T9" fmla="*/ 6 h 138"/>
              <a:gd name="T10" fmla="*/ 21 w 137"/>
              <a:gd name="T11" fmla="*/ 0 h 138"/>
              <a:gd name="T12" fmla="*/ 43 w 137"/>
              <a:gd name="T13" fmla="*/ 3 h 138"/>
              <a:gd name="T14" fmla="*/ 53 w 137"/>
              <a:gd name="T15" fmla="*/ 6 h 138"/>
              <a:gd name="T16" fmla="*/ 62 w 137"/>
              <a:gd name="T17" fmla="*/ 6 h 138"/>
              <a:gd name="T18" fmla="*/ 68 w 137"/>
              <a:gd name="T19" fmla="*/ 9 h 138"/>
              <a:gd name="T20" fmla="*/ 71 w 137"/>
              <a:gd name="T21" fmla="*/ 13 h 138"/>
              <a:gd name="T22" fmla="*/ 78 w 137"/>
              <a:gd name="T23" fmla="*/ 13 h 138"/>
              <a:gd name="T24" fmla="*/ 87 w 137"/>
              <a:gd name="T25" fmla="*/ 16 h 138"/>
              <a:gd name="T26" fmla="*/ 93 w 137"/>
              <a:gd name="T27" fmla="*/ 13 h 138"/>
              <a:gd name="T28" fmla="*/ 100 w 137"/>
              <a:gd name="T29" fmla="*/ 6 h 138"/>
              <a:gd name="T30" fmla="*/ 109 w 137"/>
              <a:gd name="T31" fmla="*/ 9 h 138"/>
              <a:gd name="T32" fmla="*/ 115 w 137"/>
              <a:gd name="T33" fmla="*/ 6 h 138"/>
              <a:gd name="T34" fmla="*/ 121 w 137"/>
              <a:gd name="T35" fmla="*/ 13 h 138"/>
              <a:gd name="T36" fmla="*/ 121 w 137"/>
              <a:gd name="T37" fmla="*/ 22 h 138"/>
              <a:gd name="T38" fmla="*/ 128 w 137"/>
              <a:gd name="T39" fmla="*/ 25 h 138"/>
              <a:gd name="T40" fmla="*/ 125 w 137"/>
              <a:gd name="T41" fmla="*/ 31 h 138"/>
              <a:gd name="T42" fmla="*/ 125 w 137"/>
              <a:gd name="T43" fmla="*/ 34 h 138"/>
              <a:gd name="T44" fmla="*/ 131 w 137"/>
              <a:gd name="T45" fmla="*/ 34 h 138"/>
              <a:gd name="T46" fmla="*/ 131 w 137"/>
              <a:gd name="T47" fmla="*/ 41 h 138"/>
              <a:gd name="T48" fmla="*/ 137 w 137"/>
              <a:gd name="T49" fmla="*/ 41 h 138"/>
              <a:gd name="T50" fmla="*/ 137 w 137"/>
              <a:gd name="T51" fmla="*/ 47 h 138"/>
              <a:gd name="T52" fmla="*/ 131 w 137"/>
              <a:gd name="T53" fmla="*/ 50 h 138"/>
              <a:gd name="T54" fmla="*/ 131 w 137"/>
              <a:gd name="T55" fmla="*/ 56 h 138"/>
              <a:gd name="T56" fmla="*/ 131 w 137"/>
              <a:gd name="T57" fmla="*/ 66 h 138"/>
              <a:gd name="T58" fmla="*/ 134 w 137"/>
              <a:gd name="T59" fmla="*/ 75 h 138"/>
              <a:gd name="T60" fmla="*/ 134 w 137"/>
              <a:gd name="T61" fmla="*/ 81 h 138"/>
              <a:gd name="T62" fmla="*/ 131 w 137"/>
              <a:gd name="T63" fmla="*/ 81 h 138"/>
              <a:gd name="T64" fmla="*/ 134 w 137"/>
              <a:gd name="T65" fmla="*/ 91 h 138"/>
              <a:gd name="T66" fmla="*/ 134 w 137"/>
              <a:gd name="T67" fmla="*/ 97 h 138"/>
              <a:gd name="T68" fmla="*/ 125 w 137"/>
              <a:gd name="T69" fmla="*/ 110 h 138"/>
              <a:gd name="T70" fmla="*/ 125 w 137"/>
              <a:gd name="T71" fmla="*/ 116 h 138"/>
              <a:gd name="T72" fmla="*/ 121 w 137"/>
              <a:gd name="T73" fmla="*/ 125 h 138"/>
              <a:gd name="T74" fmla="*/ 90 w 137"/>
              <a:gd name="T75" fmla="*/ 138 h 138"/>
              <a:gd name="T76" fmla="*/ 81 w 137"/>
              <a:gd name="T77" fmla="*/ 131 h 138"/>
              <a:gd name="T78" fmla="*/ 71 w 137"/>
              <a:gd name="T79" fmla="*/ 122 h 138"/>
              <a:gd name="T80" fmla="*/ 71 w 137"/>
              <a:gd name="T81" fmla="*/ 119 h 138"/>
              <a:gd name="T82" fmla="*/ 84 w 137"/>
              <a:gd name="T83" fmla="*/ 88 h 138"/>
              <a:gd name="T84" fmla="*/ 81 w 137"/>
              <a:gd name="T85" fmla="*/ 85 h 138"/>
              <a:gd name="T86" fmla="*/ 84 w 137"/>
              <a:gd name="T87" fmla="*/ 78 h 138"/>
              <a:gd name="T88" fmla="*/ 81 w 137"/>
              <a:gd name="T89" fmla="*/ 72 h 138"/>
              <a:gd name="T90" fmla="*/ 75 w 137"/>
              <a:gd name="T91" fmla="*/ 59 h 138"/>
              <a:gd name="T92" fmla="*/ 71 w 137"/>
              <a:gd name="T93" fmla="*/ 53 h 138"/>
              <a:gd name="T94" fmla="*/ 50 w 137"/>
              <a:gd name="T95" fmla="*/ 53 h 138"/>
              <a:gd name="T96" fmla="*/ 40 w 137"/>
              <a:gd name="T97" fmla="*/ 63 h 138"/>
              <a:gd name="T98" fmla="*/ 34 w 137"/>
              <a:gd name="T99" fmla="*/ 69 h 138"/>
              <a:gd name="T100" fmla="*/ 28 w 137"/>
              <a:gd name="T101" fmla="*/ 66 h 138"/>
              <a:gd name="T102" fmla="*/ 21 w 137"/>
              <a:gd name="T103" fmla="*/ 56 h 138"/>
              <a:gd name="T104" fmla="*/ 15 w 137"/>
              <a:gd name="T105" fmla="*/ 56 h 138"/>
              <a:gd name="T106" fmla="*/ 18 w 137"/>
              <a:gd name="T107" fmla="*/ 50 h 138"/>
              <a:gd name="T108" fmla="*/ 12 w 137"/>
              <a:gd name="T109" fmla="*/ 53 h 138"/>
              <a:gd name="T110" fmla="*/ 6 w 137"/>
              <a:gd name="T111" fmla="*/ 50 h 138"/>
              <a:gd name="T112" fmla="*/ 3 w 137"/>
              <a:gd name="T113" fmla="*/ 38 h 138"/>
              <a:gd name="T114" fmla="*/ 0 w 137"/>
              <a:gd name="T115" fmla="*/ 3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7" h="138">
                <a:moveTo>
                  <a:pt x="0" y="34"/>
                </a:moveTo>
                <a:lnTo>
                  <a:pt x="3" y="28"/>
                </a:lnTo>
                <a:lnTo>
                  <a:pt x="6" y="28"/>
                </a:lnTo>
                <a:lnTo>
                  <a:pt x="12" y="25"/>
                </a:lnTo>
                <a:lnTo>
                  <a:pt x="18" y="25"/>
                </a:lnTo>
                <a:lnTo>
                  <a:pt x="21" y="22"/>
                </a:lnTo>
                <a:lnTo>
                  <a:pt x="21" y="19"/>
                </a:lnTo>
                <a:lnTo>
                  <a:pt x="18" y="16"/>
                </a:lnTo>
                <a:lnTo>
                  <a:pt x="18" y="9"/>
                </a:lnTo>
                <a:lnTo>
                  <a:pt x="18" y="6"/>
                </a:lnTo>
                <a:lnTo>
                  <a:pt x="18" y="0"/>
                </a:lnTo>
                <a:lnTo>
                  <a:pt x="21" y="0"/>
                </a:lnTo>
                <a:lnTo>
                  <a:pt x="34" y="0"/>
                </a:lnTo>
                <a:lnTo>
                  <a:pt x="43" y="3"/>
                </a:lnTo>
                <a:lnTo>
                  <a:pt x="46" y="6"/>
                </a:lnTo>
                <a:lnTo>
                  <a:pt x="53" y="6"/>
                </a:lnTo>
                <a:lnTo>
                  <a:pt x="59" y="6"/>
                </a:lnTo>
                <a:lnTo>
                  <a:pt x="62" y="6"/>
                </a:lnTo>
                <a:lnTo>
                  <a:pt x="65" y="6"/>
                </a:lnTo>
                <a:lnTo>
                  <a:pt x="68" y="9"/>
                </a:lnTo>
                <a:lnTo>
                  <a:pt x="71" y="9"/>
                </a:lnTo>
                <a:lnTo>
                  <a:pt x="71" y="13"/>
                </a:lnTo>
                <a:lnTo>
                  <a:pt x="75" y="13"/>
                </a:lnTo>
                <a:lnTo>
                  <a:pt x="78" y="13"/>
                </a:lnTo>
                <a:lnTo>
                  <a:pt x="81" y="13"/>
                </a:lnTo>
                <a:lnTo>
                  <a:pt x="87" y="16"/>
                </a:lnTo>
                <a:lnTo>
                  <a:pt x="90" y="16"/>
                </a:lnTo>
                <a:lnTo>
                  <a:pt x="93" y="13"/>
                </a:lnTo>
                <a:lnTo>
                  <a:pt x="96" y="13"/>
                </a:lnTo>
                <a:lnTo>
                  <a:pt x="100" y="6"/>
                </a:lnTo>
                <a:lnTo>
                  <a:pt x="106" y="6"/>
                </a:lnTo>
                <a:lnTo>
                  <a:pt x="109" y="9"/>
                </a:lnTo>
                <a:lnTo>
                  <a:pt x="112" y="6"/>
                </a:lnTo>
                <a:lnTo>
                  <a:pt x="115" y="6"/>
                </a:lnTo>
                <a:lnTo>
                  <a:pt x="115" y="9"/>
                </a:lnTo>
                <a:lnTo>
                  <a:pt x="121" y="13"/>
                </a:lnTo>
                <a:lnTo>
                  <a:pt x="121" y="16"/>
                </a:lnTo>
                <a:lnTo>
                  <a:pt x="121" y="22"/>
                </a:lnTo>
                <a:lnTo>
                  <a:pt x="121" y="22"/>
                </a:lnTo>
                <a:lnTo>
                  <a:pt x="128" y="25"/>
                </a:lnTo>
                <a:lnTo>
                  <a:pt x="128" y="25"/>
                </a:lnTo>
                <a:lnTo>
                  <a:pt x="125" y="31"/>
                </a:lnTo>
                <a:lnTo>
                  <a:pt x="121" y="38"/>
                </a:lnTo>
                <a:lnTo>
                  <a:pt x="125" y="34"/>
                </a:lnTo>
                <a:lnTo>
                  <a:pt x="128" y="34"/>
                </a:lnTo>
                <a:lnTo>
                  <a:pt x="131" y="34"/>
                </a:lnTo>
                <a:lnTo>
                  <a:pt x="131" y="38"/>
                </a:lnTo>
                <a:lnTo>
                  <a:pt x="131" y="41"/>
                </a:lnTo>
                <a:lnTo>
                  <a:pt x="131" y="41"/>
                </a:lnTo>
                <a:lnTo>
                  <a:pt x="137" y="41"/>
                </a:lnTo>
                <a:lnTo>
                  <a:pt x="137" y="44"/>
                </a:lnTo>
                <a:lnTo>
                  <a:pt x="137" y="47"/>
                </a:lnTo>
                <a:lnTo>
                  <a:pt x="137" y="47"/>
                </a:lnTo>
                <a:lnTo>
                  <a:pt x="131" y="50"/>
                </a:lnTo>
                <a:lnTo>
                  <a:pt x="131" y="53"/>
                </a:lnTo>
                <a:lnTo>
                  <a:pt x="131" y="56"/>
                </a:lnTo>
                <a:lnTo>
                  <a:pt x="131" y="63"/>
                </a:lnTo>
                <a:lnTo>
                  <a:pt x="131" y="66"/>
                </a:lnTo>
                <a:lnTo>
                  <a:pt x="131" y="75"/>
                </a:lnTo>
                <a:lnTo>
                  <a:pt x="134" y="75"/>
                </a:lnTo>
                <a:lnTo>
                  <a:pt x="137" y="78"/>
                </a:lnTo>
                <a:lnTo>
                  <a:pt x="134" y="81"/>
                </a:lnTo>
                <a:lnTo>
                  <a:pt x="131" y="81"/>
                </a:lnTo>
                <a:lnTo>
                  <a:pt x="131" y="81"/>
                </a:lnTo>
                <a:lnTo>
                  <a:pt x="131" y="85"/>
                </a:lnTo>
                <a:lnTo>
                  <a:pt x="134" y="91"/>
                </a:lnTo>
                <a:lnTo>
                  <a:pt x="134" y="91"/>
                </a:lnTo>
                <a:lnTo>
                  <a:pt x="134" y="97"/>
                </a:lnTo>
                <a:lnTo>
                  <a:pt x="128" y="106"/>
                </a:lnTo>
                <a:lnTo>
                  <a:pt x="125" y="110"/>
                </a:lnTo>
                <a:lnTo>
                  <a:pt x="125" y="110"/>
                </a:lnTo>
                <a:lnTo>
                  <a:pt x="125" y="116"/>
                </a:lnTo>
                <a:lnTo>
                  <a:pt x="121" y="122"/>
                </a:lnTo>
                <a:lnTo>
                  <a:pt x="121" y="125"/>
                </a:lnTo>
                <a:lnTo>
                  <a:pt x="121" y="125"/>
                </a:lnTo>
                <a:lnTo>
                  <a:pt x="90" y="138"/>
                </a:lnTo>
                <a:lnTo>
                  <a:pt x="84" y="131"/>
                </a:lnTo>
                <a:lnTo>
                  <a:pt x="81" y="131"/>
                </a:lnTo>
                <a:lnTo>
                  <a:pt x="75" y="125"/>
                </a:lnTo>
                <a:lnTo>
                  <a:pt x="71" y="122"/>
                </a:lnTo>
                <a:lnTo>
                  <a:pt x="75" y="119"/>
                </a:lnTo>
                <a:lnTo>
                  <a:pt x="71" y="119"/>
                </a:lnTo>
                <a:lnTo>
                  <a:pt x="81" y="113"/>
                </a:lnTo>
                <a:lnTo>
                  <a:pt x="84" y="88"/>
                </a:lnTo>
                <a:lnTo>
                  <a:pt x="84" y="85"/>
                </a:lnTo>
                <a:lnTo>
                  <a:pt x="81" y="85"/>
                </a:lnTo>
                <a:lnTo>
                  <a:pt x="81" y="81"/>
                </a:lnTo>
                <a:lnTo>
                  <a:pt x="84" y="78"/>
                </a:lnTo>
                <a:lnTo>
                  <a:pt x="84" y="75"/>
                </a:lnTo>
                <a:lnTo>
                  <a:pt x="81" y="72"/>
                </a:lnTo>
                <a:lnTo>
                  <a:pt x="81" y="69"/>
                </a:lnTo>
                <a:lnTo>
                  <a:pt x="75" y="59"/>
                </a:lnTo>
                <a:lnTo>
                  <a:pt x="75" y="56"/>
                </a:lnTo>
                <a:lnTo>
                  <a:pt x="71" y="53"/>
                </a:lnTo>
                <a:lnTo>
                  <a:pt x="56" y="53"/>
                </a:lnTo>
                <a:lnTo>
                  <a:pt x="50" y="53"/>
                </a:lnTo>
                <a:lnTo>
                  <a:pt x="46" y="56"/>
                </a:lnTo>
                <a:lnTo>
                  <a:pt x="40" y="63"/>
                </a:lnTo>
                <a:lnTo>
                  <a:pt x="40" y="66"/>
                </a:lnTo>
                <a:lnTo>
                  <a:pt x="34" y="69"/>
                </a:lnTo>
                <a:lnTo>
                  <a:pt x="31" y="69"/>
                </a:lnTo>
                <a:lnTo>
                  <a:pt x="28" y="66"/>
                </a:lnTo>
                <a:lnTo>
                  <a:pt x="25" y="63"/>
                </a:lnTo>
                <a:lnTo>
                  <a:pt x="21" y="56"/>
                </a:lnTo>
                <a:lnTo>
                  <a:pt x="18" y="56"/>
                </a:lnTo>
                <a:lnTo>
                  <a:pt x="15" y="56"/>
                </a:lnTo>
                <a:lnTo>
                  <a:pt x="15" y="53"/>
                </a:lnTo>
                <a:lnTo>
                  <a:pt x="18" y="50"/>
                </a:lnTo>
                <a:lnTo>
                  <a:pt x="15" y="50"/>
                </a:lnTo>
                <a:lnTo>
                  <a:pt x="12" y="53"/>
                </a:lnTo>
                <a:lnTo>
                  <a:pt x="9" y="50"/>
                </a:lnTo>
                <a:lnTo>
                  <a:pt x="6" y="50"/>
                </a:lnTo>
                <a:lnTo>
                  <a:pt x="0" y="44"/>
                </a:lnTo>
                <a:lnTo>
                  <a:pt x="3" y="38"/>
                </a:lnTo>
                <a:lnTo>
                  <a:pt x="0" y="34"/>
                </a:lnTo>
                <a:lnTo>
                  <a:pt x="0" y="3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6" name="Freeform 124">
            <a:extLst>
              <a:ext uri="{FF2B5EF4-FFF2-40B4-BE49-F238E27FC236}">
                <a16:creationId xmlns:a16="http://schemas.microsoft.com/office/drawing/2014/main" id="{B676D579-1110-A2E1-343B-10F06E0C65F2}"/>
              </a:ext>
            </a:extLst>
          </p:cNvPr>
          <p:cNvSpPr>
            <a:spLocks noEditPoints="1"/>
          </p:cNvSpPr>
          <p:nvPr userDrawn="1"/>
        </p:nvSpPr>
        <p:spPr bwMode="auto">
          <a:xfrm>
            <a:off x="12365814" y="8740061"/>
            <a:ext cx="168267" cy="209550"/>
          </a:xfrm>
          <a:custGeom>
            <a:avLst/>
            <a:gdLst>
              <a:gd name="T0" fmla="*/ 12 w 53"/>
              <a:gd name="T1" fmla="*/ 57 h 66"/>
              <a:gd name="T2" fmla="*/ 12 w 53"/>
              <a:gd name="T3" fmla="*/ 53 h 66"/>
              <a:gd name="T4" fmla="*/ 12 w 53"/>
              <a:gd name="T5" fmla="*/ 53 h 66"/>
              <a:gd name="T6" fmla="*/ 9 w 53"/>
              <a:gd name="T7" fmla="*/ 50 h 66"/>
              <a:gd name="T8" fmla="*/ 9 w 53"/>
              <a:gd name="T9" fmla="*/ 53 h 66"/>
              <a:gd name="T10" fmla="*/ 9 w 53"/>
              <a:gd name="T11" fmla="*/ 53 h 66"/>
              <a:gd name="T12" fmla="*/ 12 w 53"/>
              <a:gd name="T13" fmla="*/ 57 h 66"/>
              <a:gd name="T14" fmla="*/ 12 w 53"/>
              <a:gd name="T15" fmla="*/ 57 h 66"/>
              <a:gd name="T16" fmla="*/ 12 w 53"/>
              <a:gd name="T17" fmla="*/ 57 h 66"/>
              <a:gd name="T18" fmla="*/ 0 w 53"/>
              <a:gd name="T19" fmla="*/ 16 h 66"/>
              <a:gd name="T20" fmla="*/ 3 w 53"/>
              <a:gd name="T21" fmla="*/ 16 h 66"/>
              <a:gd name="T22" fmla="*/ 9 w 53"/>
              <a:gd name="T23" fmla="*/ 13 h 66"/>
              <a:gd name="T24" fmla="*/ 9 w 53"/>
              <a:gd name="T25" fmla="*/ 10 h 66"/>
              <a:gd name="T26" fmla="*/ 15 w 53"/>
              <a:gd name="T27" fmla="*/ 3 h 66"/>
              <a:gd name="T28" fmla="*/ 19 w 53"/>
              <a:gd name="T29" fmla="*/ 0 h 66"/>
              <a:gd name="T30" fmla="*/ 25 w 53"/>
              <a:gd name="T31" fmla="*/ 0 h 66"/>
              <a:gd name="T32" fmla="*/ 40 w 53"/>
              <a:gd name="T33" fmla="*/ 0 h 66"/>
              <a:gd name="T34" fmla="*/ 44 w 53"/>
              <a:gd name="T35" fmla="*/ 3 h 66"/>
              <a:gd name="T36" fmla="*/ 44 w 53"/>
              <a:gd name="T37" fmla="*/ 6 h 66"/>
              <a:gd name="T38" fmla="*/ 50 w 53"/>
              <a:gd name="T39" fmla="*/ 16 h 66"/>
              <a:gd name="T40" fmla="*/ 50 w 53"/>
              <a:gd name="T41" fmla="*/ 19 h 66"/>
              <a:gd name="T42" fmla="*/ 53 w 53"/>
              <a:gd name="T43" fmla="*/ 22 h 66"/>
              <a:gd name="T44" fmla="*/ 53 w 53"/>
              <a:gd name="T45" fmla="*/ 25 h 66"/>
              <a:gd name="T46" fmla="*/ 50 w 53"/>
              <a:gd name="T47" fmla="*/ 28 h 66"/>
              <a:gd name="T48" fmla="*/ 50 w 53"/>
              <a:gd name="T49" fmla="*/ 32 h 66"/>
              <a:gd name="T50" fmla="*/ 53 w 53"/>
              <a:gd name="T51" fmla="*/ 32 h 66"/>
              <a:gd name="T52" fmla="*/ 53 w 53"/>
              <a:gd name="T53" fmla="*/ 35 h 66"/>
              <a:gd name="T54" fmla="*/ 50 w 53"/>
              <a:gd name="T55" fmla="*/ 60 h 66"/>
              <a:gd name="T56" fmla="*/ 40 w 53"/>
              <a:gd name="T57" fmla="*/ 66 h 66"/>
              <a:gd name="T58" fmla="*/ 40 w 53"/>
              <a:gd name="T59" fmla="*/ 66 h 66"/>
              <a:gd name="T60" fmla="*/ 31 w 53"/>
              <a:gd name="T61" fmla="*/ 66 h 66"/>
              <a:gd name="T62" fmla="*/ 22 w 53"/>
              <a:gd name="T63" fmla="*/ 60 h 66"/>
              <a:gd name="T64" fmla="*/ 19 w 53"/>
              <a:gd name="T65" fmla="*/ 60 h 66"/>
              <a:gd name="T66" fmla="*/ 19 w 53"/>
              <a:gd name="T67" fmla="*/ 57 h 66"/>
              <a:gd name="T68" fmla="*/ 15 w 53"/>
              <a:gd name="T69" fmla="*/ 53 h 66"/>
              <a:gd name="T70" fmla="*/ 12 w 53"/>
              <a:gd name="T71" fmla="*/ 50 h 66"/>
              <a:gd name="T72" fmla="*/ 15 w 53"/>
              <a:gd name="T73" fmla="*/ 47 h 66"/>
              <a:gd name="T74" fmla="*/ 15 w 53"/>
              <a:gd name="T75" fmla="*/ 47 h 66"/>
              <a:gd name="T76" fmla="*/ 9 w 53"/>
              <a:gd name="T77" fmla="*/ 47 h 66"/>
              <a:gd name="T78" fmla="*/ 6 w 53"/>
              <a:gd name="T79" fmla="*/ 44 h 66"/>
              <a:gd name="T80" fmla="*/ 6 w 53"/>
              <a:gd name="T81" fmla="*/ 38 h 66"/>
              <a:gd name="T82" fmla="*/ 3 w 53"/>
              <a:gd name="T83" fmla="*/ 32 h 66"/>
              <a:gd name="T84" fmla="*/ 0 w 53"/>
              <a:gd name="T85" fmla="*/ 32 h 66"/>
              <a:gd name="T86" fmla="*/ 0 w 53"/>
              <a:gd name="T87" fmla="*/ 28 h 66"/>
              <a:gd name="T88" fmla="*/ 3 w 53"/>
              <a:gd name="T89" fmla="*/ 25 h 66"/>
              <a:gd name="T90" fmla="*/ 0 w 53"/>
              <a:gd name="T91" fmla="*/ 22 h 66"/>
              <a:gd name="T92" fmla="*/ 0 w 53"/>
              <a:gd name="T93" fmla="*/ 19 h 66"/>
              <a:gd name="T94" fmla="*/ 0 w 53"/>
              <a:gd name="T95" fmla="*/ 16 h 66"/>
              <a:gd name="T96" fmla="*/ 0 w 53"/>
              <a:gd name="T97"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66">
                <a:moveTo>
                  <a:pt x="12" y="57"/>
                </a:moveTo>
                <a:lnTo>
                  <a:pt x="12" y="53"/>
                </a:lnTo>
                <a:lnTo>
                  <a:pt x="12" y="53"/>
                </a:lnTo>
                <a:lnTo>
                  <a:pt x="9" y="50"/>
                </a:lnTo>
                <a:lnTo>
                  <a:pt x="9" y="53"/>
                </a:lnTo>
                <a:lnTo>
                  <a:pt x="9" y="53"/>
                </a:lnTo>
                <a:lnTo>
                  <a:pt x="12" y="57"/>
                </a:lnTo>
                <a:lnTo>
                  <a:pt x="12" y="57"/>
                </a:lnTo>
                <a:lnTo>
                  <a:pt x="12" y="57"/>
                </a:lnTo>
                <a:close/>
                <a:moveTo>
                  <a:pt x="0" y="16"/>
                </a:moveTo>
                <a:lnTo>
                  <a:pt x="3" y="16"/>
                </a:lnTo>
                <a:lnTo>
                  <a:pt x="9" y="13"/>
                </a:lnTo>
                <a:lnTo>
                  <a:pt x="9" y="10"/>
                </a:lnTo>
                <a:lnTo>
                  <a:pt x="15" y="3"/>
                </a:lnTo>
                <a:lnTo>
                  <a:pt x="19" y="0"/>
                </a:lnTo>
                <a:lnTo>
                  <a:pt x="25" y="0"/>
                </a:lnTo>
                <a:lnTo>
                  <a:pt x="40" y="0"/>
                </a:lnTo>
                <a:lnTo>
                  <a:pt x="44" y="3"/>
                </a:lnTo>
                <a:lnTo>
                  <a:pt x="44" y="6"/>
                </a:lnTo>
                <a:lnTo>
                  <a:pt x="50" y="16"/>
                </a:lnTo>
                <a:lnTo>
                  <a:pt x="50" y="19"/>
                </a:lnTo>
                <a:lnTo>
                  <a:pt x="53" y="22"/>
                </a:lnTo>
                <a:lnTo>
                  <a:pt x="53" y="25"/>
                </a:lnTo>
                <a:lnTo>
                  <a:pt x="50" y="28"/>
                </a:lnTo>
                <a:lnTo>
                  <a:pt x="50" y="32"/>
                </a:lnTo>
                <a:lnTo>
                  <a:pt x="53" y="32"/>
                </a:lnTo>
                <a:lnTo>
                  <a:pt x="53" y="35"/>
                </a:lnTo>
                <a:lnTo>
                  <a:pt x="50" y="60"/>
                </a:lnTo>
                <a:lnTo>
                  <a:pt x="40" y="66"/>
                </a:lnTo>
                <a:lnTo>
                  <a:pt x="40" y="66"/>
                </a:lnTo>
                <a:lnTo>
                  <a:pt x="31" y="66"/>
                </a:lnTo>
                <a:lnTo>
                  <a:pt x="22" y="60"/>
                </a:lnTo>
                <a:lnTo>
                  <a:pt x="19" y="60"/>
                </a:lnTo>
                <a:lnTo>
                  <a:pt x="19" y="57"/>
                </a:lnTo>
                <a:lnTo>
                  <a:pt x="15" y="53"/>
                </a:lnTo>
                <a:lnTo>
                  <a:pt x="12" y="50"/>
                </a:lnTo>
                <a:lnTo>
                  <a:pt x="15" y="47"/>
                </a:lnTo>
                <a:lnTo>
                  <a:pt x="15" y="47"/>
                </a:lnTo>
                <a:lnTo>
                  <a:pt x="9" y="47"/>
                </a:lnTo>
                <a:lnTo>
                  <a:pt x="6" y="44"/>
                </a:lnTo>
                <a:lnTo>
                  <a:pt x="6" y="38"/>
                </a:lnTo>
                <a:lnTo>
                  <a:pt x="3" y="32"/>
                </a:lnTo>
                <a:lnTo>
                  <a:pt x="0" y="32"/>
                </a:lnTo>
                <a:lnTo>
                  <a:pt x="0" y="28"/>
                </a:lnTo>
                <a:lnTo>
                  <a:pt x="3" y="25"/>
                </a:lnTo>
                <a:lnTo>
                  <a:pt x="0" y="22"/>
                </a:lnTo>
                <a:lnTo>
                  <a:pt x="0" y="19"/>
                </a:lnTo>
                <a:lnTo>
                  <a:pt x="0" y="16"/>
                </a:lnTo>
                <a:lnTo>
                  <a:pt x="0" y="1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7" name="Freeform 125">
            <a:extLst>
              <a:ext uri="{FF2B5EF4-FFF2-40B4-BE49-F238E27FC236}">
                <a16:creationId xmlns:a16="http://schemas.microsoft.com/office/drawing/2014/main" id="{C7F7CED0-DA03-7A65-742A-A99592A7E76E}"/>
              </a:ext>
            </a:extLst>
          </p:cNvPr>
          <p:cNvSpPr>
            <a:spLocks/>
          </p:cNvSpPr>
          <p:nvPr userDrawn="1"/>
        </p:nvSpPr>
        <p:spPr bwMode="auto">
          <a:xfrm>
            <a:off x="12473761" y="8828958"/>
            <a:ext cx="247634" cy="279400"/>
          </a:xfrm>
          <a:custGeom>
            <a:avLst/>
            <a:gdLst>
              <a:gd name="T0" fmla="*/ 0 w 78"/>
              <a:gd name="T1" fmla="*/ 38 h 88"/>
              <a:gd name="T2" fmla="*/ 0 w 78"/>
              <a:gd name="T3" fmla="*/ 35 h 88"/>
              <a:gd name="T4" fmla="*/ 3 w 78"/>
              <a:gd name="T5" fmla="*/ 29 h 88"/>
              <a:gd name="T6" fmla="*/ 6 w 78"/>
              <a:gd name="T7" fmla="*/ 25 h 88"/>
              <a:gd name="T8" fmla="*/ 13 w 78"/>
              <a:gd name="T9" fmla="*/ 22 h 88"/>
              <a:gd name="T10" fmla="*/ 13 w 78"/>
              <a:gd name="T11" fmla="*/ 19 h 88"/>
              <a:gd name="T12" fmla="*/ 13 w 78"/>
              <a:gd name="T13" fmla="*/ 13 h 88"/>
              <a:gd name="T14" fmla="*/ 16 w 78"/>
              <a:gd name="T15" fmla="*/ 13 h 88"/>
              <a:gd name="T16" fmla="*/ 16 w 78"/>
              <a:gd name="T17" fmla="*/ 10 h 88"/>
              <a:gd name="T18" fmla="*/ 16 w 78"/>
              <a:gd name="T19" fmla="*/ 7 h 88"/>
              <a:gd name="T20" fmla="*/ 22 w 78"/>
              <a:gd name="T21" fmla="*/ 4 h 88"/>
              <a:gd name="T22" fmla="*/ 25 w 78"/>
              <a:gd name="T23" fmla="*/ 4 h 88"/>
              <a:gd name="T24" fmla="*/ 31 w 78"/>
              <a:gd name="T25" fmla="*/ 0 h 88"/>
              <a:gd name="T26" fmla="*/ 35 w 78"/>
              <a:gd name="T27" fmla="*/ 4 h 88"/>
              <a:gd name="T28" fmla="*/ 38 w 78"/>
              <a:gd name="T29" fmla="*/ 7 h 88"/>
              <a:gd name="T30" fmla="*/ 41 w 78"/>
              <a:gd name="T31" fmla="*/ 10 h 88"/>
              <a:gd name="T32" fmla="*/ 41 w 78"/>
              <a:gd name="T33" fmla="*/ 16 h 88"/>
              <a:gd name="T34" fmla="*/ 41 w 78"/>
              <a:gd name="T35" fmla="*/ 22 h 88"/>
              <a:gd name="T36" fmla="*/ 47 w 78"/>
              <a:gd name="T37" fmla="*/ 29 h 88"/>
              <a:gd name="T38" fmla="*/ 47 w 78"/>
              <a:gd name="T39" fmla="*/ 25 h 88"/>
              <a:gd name="T40" fmla="*/ 53 w 78"/>
              <a:gd name="T41" fmla="*/ 22 h 88"/>
              <a:gd name="T42" fmla="*/ 56 w 78"/>
              <a:gd name="T43" fmla="*/ 22 h 88"/>
              <a:gd name="T44" fmla="*/ 60 w 78"/>
              <a:gd name="T45" fmla="*/ 25 h 88"/>
              <a:gd name="T46" fmla="*/ 60 w 78"/>
              <a:gd name="T47" fmla="*/ 29 h 88"/>
              <a:gd name="T48" fmla="*/ 60 w 78"/>
              <a:gd name="T49" fmla="*/ 29 h 88"/>
              <a:gd name="T50" fmla="*/ 60 w 78"/>
              <a:gd name="T51" fmla="*/ 35 h 88"/>
              <a:gd name="T52" fmla="*/ 56 w 78"/>
              <a:gd name="T53" fmla="*/ 41 h 88"/>
              <a:gd name="T54" fmla="*/ 56 w 78"/>
              <a:gd name="T55" fmla="*/ 44 h 88"/>
              <a:gd name="T56" fmla="*/ 56 w 78"/>
              <a:gd name="T57" fmla="*/ 47 h 88"/>
              <a:gd name="T58" fmla="*/ 60 w 78"/>
              <a:gd name="T59" fmla="*/ 47 h 88"/>
              <a:gd name="T60" fmla="*/ 60 w 78"/>
              <a:gd name="T61" fmla="*/ 47 h 88"/>
              <a:gd name="T62" fmla="*/ 63 w 78"/>
              <a:gd name="T63" fmla="*/ 47 h 88"/>
              <a:gd name="T64" fmla="*/ 66 w 78"/>
              <a:gd name="T65" fmla="*/ 50 h 88"/>
              <a:gd name="T66" fmla="*/ 69 w 78"/>
              <a:gd name="T67" fmla="*/ 50 h 88"/>
              <a:gd name="T68" fmla="*/ 72 w 78"/>
              <a:gd name="T69" fmla="*/ 50 h 88"/>
              <a:gd name="T70" fmla="*/ 72 w 78"/>
              <a:gd name="T71" fmla="*/ 54 h 88"/>
              <a:gd name="T72" fmla="*/ 75 w 78"/>
              <a:gd name="T73" fmla="*/ 57 h 88"/>
              <a:gd name="T74" fmla="*/ 78 w 78"/>
              <a:gd name="T75" fmla="*/ 57 h 88"/>
              <a:gd name="T76" fmla="*/ 78 w 78"/>
              <a:gd name="T77" fmla="*/ 60 h 88"/>
              <a:gd name="T78" fmla="*/ 75 w 78"/>
              <a:gd name="T79" fmla="*/ 63 h 88"/>
              <a:gd name="T80" fmla="*/ 78 w 78"/>
              <a:gd name="T81" fmla="*/ 66 h 88"/>
              <a:gd name="T82" fmla="*/ 75 w 78"/>
              <a:gd name="T83" fmla="*/ 69 h 88"/>
              <a:gd name="T84" fmla="*/ 75 w 78"/>
              <a:gd name="T85" fmla="*/ 72 h 88"/>
              <a:gd name="T86" fmla="*/ 75 w 78"/>
              <a:gd name="T87" fmla="*/ 75 h 88"/>
              <a:gd name="T88" fmla="*/ 75 w 78"/>
              <a:gd name="T89" fmla="*/ 79 h 88"/>
              <a:gd name="T90" fmla="*/ 78 w 78"/>
              <a:gd name="T91" fmla="*/ 82 h 88"/>
              <a:gd name="T92" fmla="*/ 78 w 78"/>
              <a:gd name="T93" fmla="*/ 88 h 88"/>
              <a:gd name="T94" fmla="*/ 56 w 78"/>
              <a:gd name="T95" fmla="*/ 79 h 88"/>
              <a:gd name="T96" fmla="*/ 44 w 78"/>
              <a:gd name="T97" fmla="*/ 69 h 88"/>
              <a:gd name="T98" fmla="*/ 38 w 78"/>
              <a:gd name="T99" fmla="*/ 69 h 88"/>
              <a:gd name="T100" fmla="*/ 25 w 78"/>
              <a:gd name="T101" fmla="*/ 57 h 88"/>
              <a:gd name="T102" fmla="*/ 19 w 78"/>
              <a:gd name="T103" fmla="*/ 50 h 88"/>
              <a:gd name="T104" fmla="*/ 16 w 78"/>
              <a:gd name="T105" fmla="*/ 50 h 88"/>
              <a:gd name="T106" fmla="*/ 10 w 78"/>
              <a:gd name="T107" fmla="*/ 44 h 88"/>
              <a:gd name="T108" fmla="*/ 6 w 78"/>
              <a:gd name="T109" fmla="*/ 41 h 88"/>
              <a:gd name="T110" fmla="*/ 10 w 78"/>
              <a:gd name="T111" fmla="*/ 38 h 88"/>
              <a:gd name="T112" fmla="*/ 6 w 78"/>
              <a:gd name="T113" fmla="*/ 38 h 88"/>
              <a:gd name="T114" fmla="*/ 0 w 78"/>
              <a:gd name="T115" fmla="*/ 3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 h="88">
                <a:moveTo>
                  <a:pt x="0" y="38"/>
                </a:moveTo>
                <a:lnTo>
                  <a:pt x="0" y="35"/>
                </a:lnTo>
                <a:lnTo>
                  <a:pt x="3" y="29"/>
                </a:lnTo>
                <a:lnTo>
                  <a:pt x="6" y="25"/>
                </a:lnTo>
                <a:lnTo>
                  <a:pt x="13" y="22"/>
                </a:lnTo>
                <a:lnTo>
                  <a:pt x="13" y="19"/>
                </a:lnTo>
                <a:lnTo>
                  <a:pt x="13" y="13"/>
                </a:lnTo>
                <a:lnTo>
                  <a:pt x="16" y="13"/>
                </a:lnTo>
                <a:lnTo>
                  <a:pt x="16" y="10"/>
                </a:lnTo>
                <a:lnTo>
                  <a:pt x="16" y="7"/>
                </a:lnTo>
                <a:lnTo>
                  <a:pt x="22" y="4"/>
                </a:lnTo>
                <a:lnTo>
                  <a:pt x="25" y="4"/>
                </a:lnTo>
                <a:lnTo>
                  <a:pt x="31" y="0"/>
                </a:lnTo>
                <a:lnTo>
                  <a:pt x="35" y="4"/>
                </a:lnTo>
                <a:lnTo>
                  <a:pt x="38" y="7"/>
                </a:lnTo>
                <a:lnTo>
                  <a:pt x="41" y="10"/>
                </a:lnTo>
                <a:lnTo>
                  <a:pt x="41" y="16"/>
                </a:lnTo>
                <a:lnTo>
                  <a:pt x="41" y="22"/>
                </a:lnTo>
                <a:lnTo>
                  <a:pt x="47" y="29"/>
                </a:lnTo>
                <a:lnTo>
                  <a:pt x="47" y="25"/>
                </a:lnTo>
                <a:lnTo>
                  <a:pt x="53" y="22"/>
                </a:lnTo>
                <a:lnTo>
                  <a:pt x="56" y="22"/>
                </a:lnTo>
                <a:lnTo>
                  <a:pt x="60" y="25"/>
                </a:lnTo>
                <a:lnTo>
                  <a:pt x="60" y="29"/>
                </a:lnTo>
                <a:lnTo>
                  <a:pt x="60" y="29"/>
                </a:lnTo>
                <a:lnTo>
                  <a:pt x="60" y="35"/>
                </a:lnTo>
                <a:lnTo>
                  <a:pt x="56" y="41"/>
                </a:lnTo>
                <a:lnTo>
                  <a:pt x="56" y="44"/>
                </a:lnTo>
                <a:lnTo>
                  <a:pt x="56" y="47"/>
                </a:lnTo>
                <a:lnTo>
                  <a:pt x="60" y="47"/>
                </a:lnTo>
                <a:lnTo>
                  <a:pt x="60" y="47"/>
                </a:lnTo>
                <a:lnTo>
                  <a:pt x="63" y="47"/>
                </a:lnTo>
                <a:lnTo>
                  <a:pt x="66" y="50"/>
                </a:lnTo>
                <a:lnTo>
                  <a:pt x="69" y="50"/>
                </a:lnTo>
                <a:lnTo>
                  <a:pt x="72" y="50"/>
                </a:lnTo>
                <a:lnTo>
                  <a:pt x="72" y="54"/>
                </a:lnTo>
                <a:lnTo>
                  <a:pt x="75" y="57"/>
                </a:lnTo>
                <a:lnTo>
                  <a:pt x="78" y="57"/>
                </a:lnTo>
                <a:lnTo>
                  <a:pt x="78" y="60"/>
                </a:lnTo>
                <a:lnTo>
                  <a:pt x="75" y="63"/>
                </a:lnTo>
                <a:lnTo>
                  <a:pt x="78" y="66"/>
                </a:lnTo>
                <a:lnTo>
                  <a:pt x="75" y="69"/>
                </a:lnTo>
                <a:lnTo>
                  <a:pt x="75" y="72"/>
                </a:lnTo>
                <a:lnTo>
                  <a:pt x="75" y="75"/>
                </a:lnTo>
                <a:lnTo>
                  <a:pt x="75" y="79"/>
                </a:lnTo>
                <a:lnTo>
                  <a:pt x="78" y="82"/>
                </a:lnTo>
                <a:lnTo>
                  <a:pt x="78" y="88"/>
                </a:lnTo>
                <a:lnTo>
                  <a:pt x="56" y="79"/>
                </a:lnTo>
                <a:lnTo>
                  <a:pt x="44" y="69"/>
                </a:lnTo>
                <a:lnTo>
                  <a:pt x="38" y="69"/>
                </a:lnTo>
                <a:lnTo>
                  <a:pt x="25" y="57"/>
                </a:lnTo>
                <a:lnTo>
                  <a:pt x="19" y="50"/>
                </a:lnTo>
                <a:lnTo>
                  <a:pt x="16" y="50"/>
                </a:lnTo>
                <a:lnTo>
                  <a:pt x="10" y="44"/>
                </a:lnTo>
                <a:lnTo>
                  <a:pt x="6" y="41"/>
                </a:lnTo>
                <a:lnTo>
                  <a:pt x="10" y="38"/>
                </a:lnTo>
                <a:lnTo>
                  <a:pt x="6" y="38"/>
                </a:lnTo>
                <a:lnTo>
                  <a:pt x="0" y="38"/>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8" name="Freeform 126">
            <a:extLst>
              <a:ext uri="{FF2B5EF4-FFF2-40B4-BE49-F238E27FC236}">
                <a16:creationId xmlns:a16="http://schemas.microsoft.com/office/drawing/2014/main" id="{89769378-639F-4321-4969-B329792BDDFA}"/>
              </a:ext>
            </a:extLst>
          </p:cNvPr>
          <p:cNvSpPr>
            <a:spLocks/>
          </p:cNvSpPr>
          <p:nvPr userDrawn="1"/>
        </p:nvSpPr>
        <p:spPr bwMode="auto">
          <a:xfrm>
            <a:off x="12651547" y="8701956"/>
            <a:ext cx="387325" cy="406400"/>
          </a:xfrm>
          <a:custGeom>
            <a:avLst/>
            <a:gdLst>
              <a:gd name="T0" fmla="*/ 22 w 122"/>
              <a:gd name="T1" fmla="*/ 122 h 128"/>
              <a:gd name="T2" fmla="*/ 19 w 122"/>
              <a:gd name="T3" fmla="*/ 115 h 128"/>
              <a:gd name="T4" fmla="*/ 19 w 122"/>
              <a:gd name="T5" fmla="*/ 109 h 128"/>
              <a:gd name="T6" fmla="*/ 19 w 122"/>
              <a:gd name="T7" fmla="*/ 103 h 128"/>
              <a:gd name="T8" fmla="*/ 22 w 122"/>
              <a:gd name="T9" fmla="*/ 97 h 128"/>
              <a:gd name="T10" fmla="*/ 16 w 122"/>
              <a:gd name="T11" fmla="*/ 94 h 128"/>
              <a:gd name="T12" fmla="*/ 13 w 122"/>
              <a:gd name="T13" fmla="*/ 90 h 128"/>
              <a:gd name="T14" fmla="*/ 7 w 122"/>
              <a:gd name="T15" fmla="*/ 87 h 128"/>
              <a:gd name="T16" fmla="*/ 4 w 122"/>
              <a:gd name="T17" fmla="*/ 87 h 128"/>
              <a:gd name="T18" fmla="*/ 0 w 122"/>
              <a:gd name="T19" fmla="*/ 84 h 128"/>
              <a:gd name="T20" fmla="*/ 4 w 122"/>
              <a:gd name="T21" fmla="*/ 75 h 128"/>
              <a:gd name="T22" fmla="*/ 4 w 122"/>
              <a:gd name="T23" fmla="*/ 69 h 128"/>
              <a:gd name="T24" fmla="*/ 13 w 122"/>
              <a:gd name="T25" fmla="*/ 56 h 128"/>
              <a:gd name="T26" fmla="*/ 13 w 122"/>
              <a:gd name="T27" fmla="*/ 50 h 128"/>
              <a:gd name="T28" fmla="*/ 10 w 122"/>
              <a:gd name="T29" fmla="*/ 40 h 128"/>
              <a:gd name="T30" fmla="*/ 13 w 122"/>
              <a:gd name="T31" fmla="*/ 40 h 128"/>
              <a:gd name="T32" fmla="*/ 13 w 122"/>
              <a:gd name="T33" fmla="*/ 34 h 128"/>
              <a:gd name="T34" fmla="*/ 10 w 122"/>
              <a:gd name="T35" fmla="*/ 25 h 128"/>
              <a:gd name="T36" fmla="*/ 10 w 122"/>
              <a:gd name="T37" fmla="*/ 15 h 128"/>
              <a:gd name="T38" fmla="*/ 10 w 122"/>
              <a:gd name="T39" fmla="*/ 9 h 128"/>
              <a:gd name="T40" fmla="*/ 22 w 122"/>
              <a:gd name="T41" fmla="*/ 3 h 128"/>
              <a:gd name="T42" fmla="*/ 32 w 122"/>
              <a:gd name="T43" fmla="*/ 3 h 128"/>
              <a:gd name="T44" fmla="*/ 41 w 122"/>
              <a:gd name="T45" fmla="*/ 3 h 128"/>
              <a:gd name="T46" fmla="*/ 47 w 122"/>
              <a:gd name="T47" fmla="*/ 0 h 128"/>
              <a:gd name="T48" fmla="*/ 50 w 122"/>
              <a:gd name="T49" fmla="*/ 3 h 128"/>
              <a:gd name="T50" fmla="*/ 60 w 122"/>
              <a:gd name="T51" fmla="*/ 6 h 128"/>
              <a:gd name="T52" fmla="*/ 66 w 122"/>
              <a:gd name="T53" fmla="*/ 0 h 128"/>
              <a:gd name="T54" fmla="*/ 79 w 122"/>
              <a:gd name="T55" fmla="*/ 9 h 128"/>
              <a:gd name="T56" fmla="*/ 82 w 122"/>
              <a:gd name="T57" fmla="*/ 9 h 128"/>
              <a:gd name="T58" fmla="*/ 91 w 122"/>
              <a:gd name="T59" fmla="*/ 12 h 128"/>
              <a:gd name="T60" fmla="*/ 97 w 122"/>
              <a:gd name="T61" fmla="*/ 18 h 128"/>
              <a:gd name="T62" fmla="*/ 107 w 122"/>
              <a:gd name="T63" fmla="*/ 12 h 128"/>
              <a:gd name="T64" fmla="*/ 113 w 122"/>
              <a:gd name="T65" fmla="*/ 15 h 128"/>
              <a:gd name="T66" fmla="*/ 116 w 122"/>
              <a:gd name="T67" fmla="*/ 18 h 128"/>
              <a:gd name="T68" fmla="*/ 116 w 122"/>
              <a:gd name="T69" fmla="*/ 28 h 128"/>
              <a:gd name="T70" fmla="*/ 119 w 122"/>
              <a:gd name="T71" fmla="*/ 34 h 128"/>
              <a:gd name="T72" fmla="*/ 119 w 122"/>
              <a:gd name="T73" fmla="*/ 44 h 128"/>
              <a:gd name="T74" fmla="*/ 116 w 122"/>
              <a:gd name="T75" fmla="*/ 50 h 128"/>
              <a:gd name="T76" fmla="*/ 110 w 122"/>
              <a:gd name="T77" fmla="*/ 62 h 128"/>
              <a:gd name="T78" fmla="*/ 107 w 122"/>
              <a:gd name="T79" fmla="*/ 72 h 128"/>
              <a:gd name="T80" fmla="*/ 107 w 122"/>
              <a:gd name="T81" fmla="*/ 81 h 128"/>
              <a:gd name="T82" fmla="*/ 104 w 122"/>
              <a:gd name="T83" fmla="*/ 84 h 128"/>
              <a:gd name="T84" fmla="*/ 110 w 122"/>
              <a:gd name="T85" fmla="*/ 94 h 128"/>
              <a:gd name="T86" fmla="*/ 116 w 122"/>
              <a:gd name="T87" fmla="*/ 100 h 128"/>
              <a:gd name="T88" fmla="*/ 116 w 122"/>
              <a:gd name="T89" fmla="*/ 109 h 128"/>
              <a:gd name="T90" fmla="*/ 110 w 122"/>
              <a:gd name="T91" fmla="*/ 109 h 128"/>
              <a:gd name="T92" fmla="*/ 107 w 122"/>
              <a:gd name="T93" fmla="*/ 106 h 128"/>
              <a:gd name="T94" fmla="*/ 100 w 122"/>
              <a:gd name="T95" fmla="*/ 112 h 128"/>
              <a:gd name="T96" fmla="*/ 82 w 122"/>
              <a:gd name="T97" fmla="*/ 112 h 128"/>
              <a:gd name="T98" fmla="*/ 50 w 122"/>
              <a:gd name="T99" fmla="*/ 112 h 128"/>
              <a:gd name="T100" fmla="*/ 35 w 122"/>
              <a:gd name="T101" fmla="*/ 119 h 128"/>
              <a:gd name="T102" fmla="*/ 29 w 122"/>
              <a:gd name="T103" fmla="*/ 122 h 128"/>
              <a:gd name="T104" fmla="*/ 22 w 122"/>
              <a:gd name="T10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2" h="128">
                <a:moveTo>
                  <a:pt x="22" y="128"/>
                </a:moveTo>
                <a:lnTo>
                  <a:pt x="22" y="122"/>
                </a:lnTo>
                <a:lnTo>
                  <a:pt x="19" y="119"/>
                </a:lnTo>
                <a:lnTo>
                  <a:pt x="19" y="115"/>
                </a:lnTo>
                <a:lnTo>
                  <a:pt x="19" y="112"/>
                </a:lnTo>
                <a:lnTo>
                  <a:pt x="19" y="109"/>
                </a:lnTo>
                <a:lnTo>
                  <a:pt x="22" y="106"/>
                </a:lnTo>
                <a:lnTo>
                  <a:pt x="19" y="103"/>
                </a:lnTo>
                <a:lnTo>
                  <a:pt x="22" y="100"/>
                </a:lnTo>
                <a:lnTo>
                  <a:pt x="22" y="97"/>
                </a:lnTo>
                <a:lnTo>
                  <a:pt x="19" y="97"/>
                </a:lnTo>
                <a:lnTo>
                  <a:pt x="16" y="94"/>
                </a:lnTo>
                <a:lnTo>
                  <a:pt x="16" y="90"/>
                </a:lnTo>
                <a:lnTo>
                  <a:pt x="13" y="90"/>
                </a:lnTo>
                <a:lnTo>
                  <a:pt x="10" y="90"/>
                </a:lnTo>
                <a:lnTo>
                  <a:pt x="7" y="87"/>
                </a:lnTo>
                <a:lnTo>
                  <a:pt x="4" y="87"/>
                </a:lnTo>
                <a:lnTo>
                  <a:pt x="4" y="87"/>
                </a:lnTo>
                <a:lnTo>
                  <a:pt x="0" y="87"/>
                </a:lnTo>
                <a:lnTo>
                  <a:pt x="0" y="84"/>
                </a:lnTo>
                <a:lnTo>
                  <a:pt x="0" y="81"/>
                </a:lnTo>
                <a:lnTo>
                  <a:pt x="4" y="75"/>
                </a:lnTo>
                <a:lnTo>
                  <a:pt x="4" y="69"/>
                </a:lnTo>
                <a:lnTo>
                  <a:pt x="4" y="69"/>
                </a:lnTo>
                <a:lnTo>
                  <a:pt x="7" y="65"/>
                </a:lnTo>
                <a:lnTo>
                  <a:pt x="13" y="56"/>
                </a:lnTo>
                <a:lnTo>
                  <a:pt x="13" y="50"/>
                </a:lnTo>
                <a:lnTo>
                  <a:pt x="13" y="50"/>
                </a:lnTo>
                <a:lnTo>
                  <a:pt x="10" y="44"/>
                </a:lnTo>
                <a:lnTo>
                  <a:pt x="10" y="40"/>
                </a:lnTo>
                <a:lnTo>
                  <a:pt x="10" y="40"/>
                </a:lnTo>
                <a:lnTo>
                  <a:pt x="13" y="40"/>
                </a:lnTo>
                <a:lnTo>
                  <a:pt x="16" y="37"/>
                </a:lnTo>
                <a:lnTo>
                  <a:pt x="13" y="34"/>
                </a:lnTo>
                <a:lnTo>
                  <a:pt x="10" y="34"/>
                </a:lnTo>
                <a:lnTo>
                  <a:pt x="10" y="25"/>
                </a:lnTo>
                <a:lnTo>
                  <a:pt x="10" y="22"/>
                </a:lnTo>
                <a:lnTo>
                  <a:pt x="10" y="15"/>
                </a:lnTo>
                <a:lnTo>
                  <a:pt x="10" y="12"/>
                </a:lnTo>
                <a:lnTo>
                  <a:pt x="10" y="9"/>
                </a:lnTo>
                <a:lnTo>
                  <a:pt x="16" y="6"/>
                </a:lnTo>
                <a:lnTo>
                  <a:pt x="22" y="3"/>
                </a:lnTo>
                <a:lnTo>
                  <a:pt x="25" y="3"/>
                </a:lnTo>
                <a:lnTo>
                  <a:pt x="32" y="3"/>
                </a:lnTo>
                <a:lnTo>
                  <a:pt x="38" y="6"/>
                </a:lnTo>
                <a:lnTo>
                  <a:pt x="41" y="3"/>
                </a:lnTo>
                <a:lnTo>
                  <a:pt x="41" y="3"/>
                </a:lnTo>
                <a:lnTo>
                  <a:pt x="47" y="0"/>
                </a:lnTo>
                <a:lnTo>
                  <a:pt x="50" y="0"/>
                </a:lnTo>
                <a:lnTo>
                  <a:pt x="50" y="3"/>
                </a:lnTo>
                <a:lnTo>
                  <a:pt x="54" y="6"/>
                </a:lnTo>
                <a:lnTo>
                  <a:pt x="60" y="6"/>
                </a:lnTo>
                <a:lnTo>
                  <a:pt x="63" y="0"/>
                </a:lnTo>
                <a:lnTo>
                  <a:pt x="66" y="0"/>
                </a:lnTo>
                <a:lnTo>
                  <a:pt x="69" y="3"/>
                </a:lnTo>
                <a:lnTo>
                  <a:pt x="79" y="9"/>
                </a:lnTo>
                <a:lnTo>
                  <a:pt x="82" y="9"/>
                </a:lnTo>
                <a:lnTo>
                  <a:pt x="82" y="9"/>
                </a:lnTo>
                <a:lnTo>
                  <a:pt x="85" y="9"/>
                </a:lnTo>
                <a:lnTo>
                  <a:pt x="91" y="12"/>
                </a:lnTo>
                <a:lnTo>
                  <a:pt x="91" y="15"/>
                </a:lnTo>
                <a:lnTo>
                  <a:pt x="97" y="18"/>
                </a:lnTo>
                <a:lnTo>
                  <a:pt x="104" y="15"/>
                </a:lnTo>
                <a:lnTo>
                  <a:pt x="107" y="12"/>
                </a:lnTo>
                <a:lnTo>
                  <a:pt x="110" y="12"/>
                </a:lnTo>
                <a:lnTo>
                  <a:pt x="113" y="15"/>
                </a:lnTo>
                <a:lnTo>
                  <a:pt x="116" y="15"/>
                </a:lnTo>
                <a:lnTo>
                  <a:pt x="116" y="18"/>
                </a:lnTo>
                <a:lnTo>
                  <a:pt x="116" y="25"/>
                </a:lnTo>
                <a:lnTo>
                  <a:pt x="116" y="28"/>
                </a:lnTo>
                <a:lnTo>
                  <a:pt x="116" y="31"/>
                </a:lnTo>
                <a:lnTo>
                  <a:pt x="119" y="34"/>
                </a:lnTo>
                <a:lnTo>
                  <a:pt x="122" y="40"/>
                </a:lnTo>
                <a:lnTo>
                  <a:pt x="119" y="44"/>
                </a:lnTo>
                <a:lnTo>
                  <a:pt x="119" y="47"/>
                </a:lnTo>
                <a:lnTo>
                  <a:pt x="116" y="50"/>
                </a:lnTo>
                <a:lnTo>
                  <a:pt x="110" y="59"/>
                </a:lnTo>
                <a:lnTo>
                  <a:pt x="110" y="62"/>
                </a:lnTo>
                <a:lnTo>
                  <a:pt x="110" y="65"/>
                </a:lnTo>
                <a:lnTo>
                  <a:pt x="107" y="72"/>
                </a:lnTo>
                <a:lnTo>
                  <a:pt x="107" y="75"/>
                </a:lnTo>
                <a:lnTo>
                  <a:pt x="107" y="81"/>
                </a:lnTo>
                <a:lnTo>
                  <a:pt x="104" y="84"/>
                </a:lnTo>
                <a:lnTo>
                  <a:pt x="104" y="84"/>
                </a:lnTo>
                <a:lnTo>
                  <a:pt x="107" y="87"/>
                </a:lnTo>
                <a:lnTo>
                  <a:pt x="110" y="94"/>
                </a:lnTo>
                <a:lnTo>
                  <a:pt x="110" y="100"/>
                </a:lnTo>
                <a:lnTo>
                  <a:pt x="116" y="100"/>
                </a:lnTo>
                <a:lnTo>
                  <a:pt x="116" y="103"/>
                </a:lnTo>
                <a:lnTo>
                  <a:pt x="116" y="109"/>
                </a:lnTo>
                <a:lnTo>
                  <a:pt x="113" y="109"/>
                </a:lnTo>
                <a:lnTo>
                  <a:pt x="110" y="109"/>
                </a:lnTo>
                <a:lnTo>
                  <a:pt x="110" y="112"/>
                </a:lnTo>
                <a:lnTo>
                  <a:pt x="107" y="106"/>
                </a:lnTo>
                <a:lnTo>
                  <a:pt x="104" y="109"/>
                </a:lnTo>
                <a:lnTo>
                  <a:pt x="100" y="112"/>
                </a:lnTo>
                <a:lnTo>
                  <a:pt x="91" y="109"/>
                </a:lnTo>
                <a:lnTo>
                  <a:pt x="82" y="112"/>
                </a:lnTo>
                <a:lnTo>
                  <a:pt x="57" y="112"/>
                </a:lnTo>
                <a:lnTo>
                  <a:pt x="50" y="112"/>
                </a:lnTo>
                <a:lnTo>
                  <a:pt x="50" y="115"/>
                </a:lnTo>
                <a:lnTo>
                  <a:pt x="35" y="119"/>
                </a:lnTo>
                <a:lnTo>
                  <a:pt x="35" y="122"/>
                </a:lnTo>
                <a:lnTo>
                  <a:pt x="29" y="122"/>
                </a:lnTo>
                <a:lnTo>
                  <a:pt x="22" y="128"/>
                </a:lnTo>
                <a:lnTo>
                  <a:pt x="22" y="128"/>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9" name="Freeform 127">
            <a:extLst>
              <a:ext uri="{FF2B5EF4-FFF2-40B4-BE49-F238E27FC236}">
                <a16:creationId xmlns:a16="http://schemas.microsoft.com/office/drawing/2014/main" id="{15E9201F-2285-B51D-6933-6B8EB5BAA359}"/>
              </a:ext>
            </a:extLst>
          </p:cNvPr>
          <p:cNvSpPr>
            <a:spLocks/>
          </p:cNvSpPr>
          <p:nvPr userDrawn="1"/>
        </p:nvSpPr>
        <p:spPr bwMode="auto">
          <a:xfrm>
            <a:off x="12981728" y="8660681"/>
            <a:ext cx="266685" cy="419102"/>
          </a:xfrm>
          <a:custGeom>
            <a:avLst/>
            <a:gdLst>
              <a:gd name="T0" fmla="*/ 6 w 84"/>
              <a:gd name="T1" fmla="*/ 122 h 132"/>
              <a:gd name="T2" fmla="*/ 12 w 84"/>
              <a:gd name="T3" fmla="*/ 122 h 132"/>
              <a:gd name="T4" fmla="*/ 12 w 84"/>
              <a:gd name="T5" fmla="*/ 113 h 132"/>
              <a:gd name="T6" fmla="*/ 6 w 84"/>
              <a:gd name="T7" fmla="*/ 107 h 132"/>
              <a:gd name="T8" fmla="*/ 0 w 84"/>
              <a:gd name="T9" fmla="*/ 97 h 132"/>
              <a:gd name="T10" fmla="*/ 3 w 84"/>
              <a:gd name="T11" fmla="*/ 94 h 132"/>
              <a:gd name="T12" fmla="*/ 3 w 84"/>
              <a:gd name="T13" fmla="*/ 85 h 132"/>
              <a:gd name="T14" fmla="*/ 6 w 84"/>
              <a:gd name="T15" fmla="*/ 75 h 132"/>
              <a:gd name="T16" fmla="*/ 12 w 84"/>
              <a:gd name="T17" fmla="*/ 63 h 132"/>
              <a:gd name="T18" fmla="*/ 15 w 84"/>
              <a:gd name="T19" fmla="*/ 57 h 132"/>
              <a:gd name="T20" fmla="*/ 15 w 84"/>
              <a:gd name="T21" fmla="*/ 47 h 132"/>
              <a:gd name="T22" fmla="*/ 12 w 84"/>
              <a:gd name="T23" fmla="*/ 41 h 132"/>
              <a:gd name="T24" fmla="*/ 12 w 84"/>
              <a:gd name="T25" fmla="*/ 31 h 132"/>
              <a:gd name="T26" fmla="*/ 9 w 84"/>
              <a:gd name="T27" fmla="*/ 19 h 132"/>
              <a:gd name="T28" fmla="*/ 6 w 84"/>
              <a:gd name="T29" fmla="*/ 10 h 132"/>
              <a:gd name="T30" fmla="*/ 15 w 84"/>
              <a:gd name="T31" fmla="*/ 6 h 132"/>
              <a:gd name="T32" fmla="*/ 31 w 84"/>
              <a:gd name="T33" fmla="*/ 3 h 132"/>
              <a:gd name="T34" fmla="*/ 46 w 84"/>
              <a:gd name="T35" fmla="*/ 3 h 132"/>
              <a:gd name="T36" fmla="*/ 56 w 84"/>
              <a:gd name="T37" fmla="*/ 0 h 132"/>
              <a:gd name="T38" fmla="*/ 59 w 84"/>
              <a:gd name="T39" fmla="*/ 6 h 132"/>
              <a:gd name="T40" fmla="*/ 62 w 84"/>
              <a:gd name="T41" fmla="*/ 13 h 132"/>
              <a:gd name="T42" fmla="*/ 68 w 84"/>
              <a:gd name="T43" fmla="*/ 19 h 132"/>
              <a:gd name="T44" fmla="*/ 71 w 84"/>
              <a:gd name="T45" fmla="*/ 25 h 132"/>
              <a:gd name="T46" fmla="*/ 75 w 84"/>
              <a:gd name="T47" fmla="*/ 35 h 132"/>
              <a:gd name="T48" fmla="*/ 75 w 84"/>
              <a:gd name="T49" fmla="*/ 41 h 132"/>
              <a:gd name="T50" fmla="*/ 75 w 84"/>
              <a:gd name="T51" fmla="*/ 47 h 132"/>
              <a:gd name="T52" fmla="*/ 75 w 84"/>
              <a:gd name="T53" fmla="*/ 53 h 132"/>
              <a:gd name="T54" fmla="*/ 75 w 84"/>
              <a:gd name="T55" fmla="*/ 60 h 132"/>
              <a:gd name="T56" fmla="*/ 78 w 84"/>
              <a:gd name="T57" fmla="*/ 69 h 132"/>
              <a:gd name="T58" fmla="*/ 75 w 84"/>
              <a:gd name="T59" fmla="*/ 85 h 132"/>
              <a:gd name="T60" fmla="*/ 75 w 84"/>
              <a:gd name="T61" fmla="*/ 91 h 132"/>
              <a:gd name="T62" fmla="*/ 78 w 84"/>
              <a:gd name="T63" fmla="*/ 100 h 132"/>
              <a:gd name="T64" fmla="*/ 81 w 84"/>
              <a:gd name="T65" fmla="*/ 103 h 132"/>
              <a:gd name="T66" fmla="*/ 71 w 84"/>
              <a:gd name="T67" fmla="*/ 110 h 132"/>
              <a:gd name="T68" fmla="*/ 53 w 84"/>
              <a:gd name="T69" fmla="*/ 122 h 132"/>
              <a:gd name="T70" fmla="*/ 25 w 84"/>
              <a:gd name="T71" fmla="*/ 132 h 132"/>
              <a:gd name="T72" fmla="*/ 6 w 84"/>
              <a:gd name="T73" fmla="*/ 12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4" h="132">
                <a:moveTo>
                  <a:pt x="6" y="125"/>
                </a:moveTo>
                <a:lnTo>
                  <a:pt x="6" y="122"/>
                </a:lnTo>
                <a:lnTo>
                  <a:pt x="9" y="122"/>
                </a:lnTo>
                <a:lnTo>
                  <a:pt x="12" y="122"/>
                </a:lnTo>
                <a:lnTo>
                  <a:pt x="12" y="116"/>
                </a:lnTo>
                <a:lnTo>
                  <a:pt x="12" y="113"/>
                </a:lnTo>
                <a:lnTo>
                  <a:pt x="6" y="113"/>
                </a:lnTo>
                <a:lnTo>
                  <a:pt x="6" y="107"/>
                </a:lnTo>
                <a:lnTo>
                  <a:pt x="3" y="100"/>
                </a:lnTo>
                <a:lnTo>
                  <a:pt x="0" y="97"/>
                </a:lnTo>
                <a:lnTo>
                  <a:pt x="0" y="97"/>
                </a:lnTo>
                <a:lnTo>
                  <a:pt x="3" y="94"/>
                </a:lnTo>
                <a:lnTo>
                  <a:pt x="3" y="88"/>
                </a:lnTo>
                <a:lnTo>
                  <a:pt x="3" y="85"/>
                </a:lnTo>
                <a:lnTo>
                  <a:pt x="6" y="78"/>
                </a:lnTo>
                <a:lnTo>
                  <a:pt x="6" y="75"/>
                </a:lnTo>
                <a:lnTo>
                  <a:pt x="6" y="72"/>
                </a:lnTo>
                <a:lnTo>
                  <a:pt x="12" y="63"/>
                </a:lnTo>
                <a:lnTo>
                  <a:pt x="15" y="60"/>
                </a:lnTo>
                <a:lnTo>
                  <a:pt x="15" y="57"/>
                </a:lnTo>
                <a:lnTo>
                  <a:pt x="18" y="53"/>
                </a:lnTo>
                <a:lnTo>
                  <a:pt x="15" y="47"/>
                </a:lnTo>
                <a:lnTo>
                  <a:pt x="12" y="44"/>
                </a:lnTo>
                <a:lnTo>
                  <a:pt x="12" y="41"/>
                </a:lnTo>
                <a:lnTo>
                  <a:pt x="12" y="38"/>
                </a:lnTo>
                <a:lnTo>
                  <a:pt x="12" y="31"/>
                </a:lnTo>
                <a:lnTo>
                  <a:pt x="12" y="22"/>
                </a:lnTo>
                <a:lnTo>
                  <a:pt x="9" y="19"/>
                </a:lnTo>
                <a:lnTo>
                  <a:pt x="9" y="16"/>
                </a:lnTo>
                <a:lnTo>
                  <a:pt x="6" y="10"/>
                </a:lnTo>
                <a:lnTo>
                  <a:pt x="6" y="6"/>
                </a:lnTo>
                <a:lnTo>
                  <a:pt x="15" y="6"/>
                </a:lnTo>
                <a:lnTo>
                  <a:pt x="28" y="6"/>
                </a:lnTo>
                <a:lnTo>
                  <a:pt x="31" y="3"/>
                </a:lnTo>
                <a:lnTo>
                  <a:pt x="40" y="3"/>
                </a:lnTo>
                <a:lnTo>
                  <a:pt x="46" y="3"/>
                </a:lnTo>
                <a:lnTo>
                  <a:pt x="53" y="3"/>
                </a:lnTo>
                <a:lnTo>
                  <a:pt x="56" y="0"/>
                </a:lnTo>
                <a:lnTo>
                  <a:pt x="59" y="0"/>
                </a:lnTo>
                <a:lnTo>
                  <a:pt x="59" y="6"/>
                </a:lnTo>
                <a:lnTo>
                  <a:pt x="62" y="10"/>
                </a:lnTo>
                <a:lnTo>
                  <a:pt x="62" y="13"/>
                </a:lnTo>
                <a:lnTo>
                  <a:pt x="65" y="16"/>
                </a:lnTo>
                <a:lnTo>
                  <a:pt x="68" y="19"/>
                </a:lnTo>
                <a:lnTo>
                  <a:pt x="71" y="22"/>
                </a:lnTo>
                <a:lnTo>
                  <a:pt x="71" y="25"/>
                </a:lnTo>
                <a:lnTo>
                  <a:pt x="71" y="35"/>
                </a:lnTo>
                <a:lnTo>
                  <a:pt x="75" y="35"/>
                </a:lnTo>
                <a:lnTo>
                  <a:pt x="75" y="35"/>
                </a:lnTo>
                <a:lnTo>
                  <a:pt x="75" y="41"/>
                </a:lnTo>
                <a:lnTo>
                  <a:pt x="75" y="44"/>
                </a:lnTo>
                <a:lnTo>
                  <a:pt x="75" y="47"/>
                </a:lnTo>
                <a:lnTo>
                  <a:pt x="75" y="50"/>
                </a:lnTo>
                <a:lnTo>
                  <a:pt x="75" y="53"/>
                </a:lnTo>
                <a:lnTo>
                  <a:pt x="75" y="57"/>
                </a:lnTo>
                <a:lnTo>
                  <a:pt x="75" y="60"/>
                </a:lnTo>
                <a:lnTo>
                  <a:pt x="75" y="66"/>
                </a:lnTo>
                <a:lnTo>
                  <a:pt x="78" y="69"/>
                </a:lnTo>
                <a:lnTo>
                  <a:pt x="78" y="82"/>
                </a:lnTo>
                <a:lnTo>
                  <a:pt x="75" y="85"/>
                </a:lnTo>
                <a:lnTo>
                  <a:pt x="75" y="88"/>
                </a:lnTo>
                <a:lnTo>
                  <a:pt x="75" y="91"/>
                </a:lnTo>
                <a:lnTo>
                  <a:pt x="75" y="97"/>
                </a:lnTo>
                <a:lnTo>
                  <a:pt x="78" y="100"/>
                </a:lnTo>
                <a:lnTo>
                  <a:pt x="78" y="103"/>
                </a:lnTo>
                <a:lnTo>
                  <a:pt x="81" y="103"/>
                </a:lnTo>
                <a:lnTo>
                  <a:pt x="84" y="107"/>
                </a:lnTo>
                <a:lnTo>
                  <a:pt x="71" y="110"/>
                </a:lnTo>
                <a:lnTo>
                  <a:pt x="62" y="113"/>
                </a:lnTo>
                <a:lnTo>
                  <a:pt x="53" y="122"/>
                </a:lnTo>
                <a:lnTo>
                  <a:pt x="40" y="122"/>
                </a:lnTo>
                <a:lnTo>
                  <a:pt x="25" y="132"/>
                </a:lnTo>
                <a:lnTo>
                  <a:pt x="15" y="128"/>
                </a:lnTo>
                <a:lnTo>
                  <a:pt x="6" y="125"/>
                </a:lnTo>
                <a:lnTo>
                  <a:pt x="6" y="125"/>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0" name="Freeform 128">
            <a:extLst>
              <a:ext uri="{FF2B5EF4-FFF2-40B4-BE49-F238E27FC236}">
                <a16:creationId xmlns:a16="http://schemas.microsoft.com/office/drawing/2014/main" id="{1B4BEC92-97C8-F932-A108-33B3ADB34002}"/>
              </a:ext>
            </a:extLst>
          </p:cNvPr>
          <p:cNvSpPr>
            <a:spLocks/>
          </p:cNvSpPr>
          <p:nvPr userDrawn="1"/>
        </p:nvSpPr>
        <p:spPr bwMode="auto">
          <a:xfrm>
            <a:off x="13169040" y="8660685"/>
            <a:ext cx="117470" cy="339726"/>
          </a:xfrm>
          <a:custGeom>
            <a:avLst/>
            <a:gdLst>
              <a:gd name="T0" fmla="*/ 22 w 37"/>
              <a:gd name="T1" fmla="*/ 6 h 107"/>
              <a:gd name="T2" fmla="*/ 0 w 37"/>
              <a:gd name="T3" fmla="*/ 0 h 107"/>
              <a:gd name="T4" fmla="*/ 0 w 37"/>
              <a:gd name="T5" fmla="*/ 0 h 107"/>
              <a:gd name="T6" fmla="*/ 0 w 37"/>
              <a:gd name="T7" fmla="*/ 6 h 107"/>
              <a:gd name="T8" fmla="*/ 3 w 37"/>
              <a:gd name="T9" fmla="*/ 10 h 107"/>
              <a:gd name="T10" fmla="*/ 3 w 37"/>
              <a:gd name="T11" fmla="*/ 13 h 107"/>
              <a:gd name="T12" fmla="*/ 6 w 37"/>
              <a:gd name="T13" fmla="*/ 16 h 107"/>
              <a:gd name="T14" fmla="*/ 9 w 37"/>
              <a:gd name="T15" fmla="*/ 19 h 107"/>
              <a:gd name="T16" fmla="*/ 12 w 37"/>
              <a:gd name="T17" fmla="*/ 22 h 107"/>
              <a:gd name="T18" fmla="*/ 12 w 37"/>
              <a:gd name="T19" fmla="*/ 25 h 107"/>
              <a:gd name="T20" fmla="*/ 12 w 37"/>
              <a:gd name="T21" fmla="*/ 35 h 107"/>
              <a:gd name="T22" fmla="*/ 16 w 37"/>
              <a:gd name="T23" fmla="*/ 35 h 107"/>
              <a:gd name="T24" fmla="*/ 16 w 37"/>
              <a:gd name="T25" fmla="*/ 35 h 107"/>
              <a:gd name="T26" fmla="*/ 16 w 37"/>
              <a:gd name="T27" fmla="*/ 41 h 107"/>
              <a:gd name="T28" fmla="*/ 16 w 37"/>
              <a:gd name="T29" fmla="*/ 44 h 107"/>
              <a:gd name="T30" fmla="*/ 16 w 37"/>
              <a:gd name="T31" fmla="*/ 47 h 107"/>
              <a:gd name="T32" fmla="*/ 16 w 37"/>
              <a:gd name="T33" fmla="*/ 50 h 107"/>
              <a:gd name="T34" fmla="*/ 16 w 37"/>
              <a:gd name="T35" fmla="*/ 53 h 107"/>
              <a:gd name="T36" fmla="*/ 16 w 37"/>
              <a:gd name="T37" fmla="*/ 57 h 107"/>
              <a:gd name="T38" fmla="*/ 16 w 37"/>
              <a:gd name="T39" fmla="*/ 60 h 107"/>
              <a:gd name="T40" fmla="*/ 16 w 37"/>
              <a:gd name="T41" fmla="*/ 66 h 107"/>
              <a:gd name="T42" fmla="*/ 19 w 37"/>
              <a:gd name="T43" fmla="*/ 69 h 107"/>
              <a:gd name="T44" fmla="*/ 19 w 37"/>
              <a:gd name="T45" fmla="*/ 82 h 107"/>
              <a:gd name="T46" fmla="*/ 16 w 37"/>
              <a:gd name="T47" fmla="*/ 85 h 107"/>
              <a:gd name="T48" fmla="*/ 16 w 37"/>
              <a:gd name="T49" fmla="*/ 88 h 107"/>
              <a:gd name="T50" fmla="*/ 16 w 37"/>
              <a:gd name="T51" fmla="*/ 91 h 107"/>
              <a:gd name="T52" fmla="*/ 16 w 37"/>
              <a:gd name="T53" fmla="*/ 97 h 107"/>
              <a:gd name="T54" fmla="*/ 19 w 37"/>
              <a:gd name="T55" fmla="*/ 100 h 107"/>
              <a:gd name="T56" fmla="*/ 19 w 37"/>
              <a:gd name="T57" fmla="*/ 103 h 107"/>
              <a:gd name="T58" fmla="*/ 22 w 37"/>
              <a:gd name="T59" fmla="*/ 103 h 107"/>
              <a:gd name="T60" fmla="*/ 25 w 37"/>
              <a:gd name="T61" fmla="*/ 107 h 107"/>
              <a:gd name="T62" fmla="*/ 25 w 37"/>
              <a:gd name="T63" fmla="*/ 107 h 107"/>
              <a:gd name="T64" fmla="*/ 37 w 37"/>
              <a:gd name="T65" fmla="*/ 100 h 107"/>
              <a:gd name="T66" fmla="*/ 37 w 37"/>
              <a:gd name="T67" fmla="*/ 100 h 107"/>
              <a:gd name="T68" fmla="*/ 37 w 37"/>
              <a:gd name="T69" fmla="*/ 97 h 107"/>
              <a:gd name="T70" fmla="*/ 37 w 37"/>
              <a:gd name="T71" fmla="*/ 94 h 107"/>
              <a:gd name="T72" fmla="*/ 37 w 37"/>
              <a:gd name="T73" fmla="*/ 88 h 107"/>
              <a:gd name="T74" fmla="*/ 34 w 37"/>
              <a:gd name="T75" fmla="*/ 82 h 107"/>
              <a:gd name="T76" fmla="*/ 34 w 37"/>
              <a:gd name="T77" fmla="*/ 60 h 107"/>
              <a:gd name="T78" fmla="*/ 34 w 37"/>
              <a:gd name="T79" fmla="*/ 57 h 107"/>
              <a:gd name="T80" fmla="*/ 37 w 37"/>
              <a:gd name="T81" fmla="*/ 53 h 107"/>
              <a:gd name="T82" fmla="*/ 37 w 37"/>
              <a:gd name="T83" fmla="*/ 47 h 107"/>
              <a:gd name="T84" fmla="*/ 37 w 37"/>
              <a:gd name="T85" fmla="*/ 44 h 107"/>
              <a:gd name="T86" fmla="*/ 37 w 37"/>
              <a:gd name="T87" fmla="*/ 41 h 107"/>
              <a:gd name="T88" fmla="*/ 34 w 37"/>
              <a:gd name="T89" fmla="*/ 31 h 107"/>
              <a:gd name="T90" fmla="*/ 31 w 37"/>
              <a:gd name="T91" fmla="*/ 22 h 107"/>
              <a:gd name="T92" fmla="*/ 28 w 37"/>
              <a:gd name="T93" fmla="*/ 19 h 107"/>
              <a:gd name="T94" fmla="*/ 25 w 37"/>
              <a:gd name="T95" fmla="*/ 16 h 107"/>
              <a:gd name="T96" fmla="*/ 22 w 37"/>
              <a:gd name="T97" fmla="*/ 16 h 107"/>
              <a:gd name="T98" fmla="*/ 19 w 37"/>
              <a:gd name="T99" fmla="*/ 10 h 107"/>
              <a:gd name="T100" fmla="*/ 22 w 37"/>
              <a:gd name="T101" fmla="*/ 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 h="107">
                <a:moveTo>
                  <a:pt x="22" y="6"/>
                </a:moveTo>
                <a:lnTo>
                  <a:pt x="0" y="0"/>
                </a:lnTo>
                <a:lnTo>
                  <a:pt x="0" y="0"/>
                </a:lnTo>
                <a:lnTo>
                  <a:pt x="0" y="6"/>
                </a:lnTo>
                <a:lnTo>
                  <a:pt x="3" y="10"/>
                </a:lnTo>
                <a:lnTo>
                  <a:pt x="3" y="13"/>
                </a:lnTo>
                <a:lnTo>
                  <a:pt x="6" y="16"/>
                </a:lnTo>
                <a:lnTo>
                  <a:pt x="9" y="19"/>
                </a:lnTo>
                <a:lnTo>
                  <a:pt x="12" y="22"/>
                </a:lnTo>
                <a:lnTo>
                  <a:pt x="12" y="25"/>
                </a:lnTo>
                <a:lnTo>
                  <a:pt x="12" y="35"/>
                </a:lnTo>
                <a:lnTo>
                  <a:pt x="16" y="35"/>
                </a:lnTo>
                <a:lnTo>
                  <a:pt x="16" y="35"/>
                </a:lnTo>
                <a:lnTo>
                  <a:pt x="16" y="41"/>
                </a:lnTo>
                <a:lnTo>
                  <a:pt x="16" y="44"/>
                </a:lnTo>
                <a:lnTo>
                  <a:pt x="16" y="47"/>
                </a:lnTo>
                <a:lnTo>
                  <a:pt x="16" y="50"/>
                </a:lnTo>
                <a:lnTo>
                  <a:pt x="16" y="53"/>
                </a:lnTo>
                <a:lnTo>
                  <a:pt x="16" y="57"/>
                </a:lnTo>
                <a:lnTo>
                  <a:pt x="16" y="60"/>
                </a:lnTo>
                <a:lnTo>
                  <a:pt x="16" y="66"/>
                </a:lnTo>
                <a:lnTo>
                  <a:pt x="19" y="69"/>
                </a:lnTo>
                <a:lnTo>
                  <a:pt x="19" y="82"/>
                </a:lnTo>
                <a:lnTo>
                  <a:pt x="16" y="85"/>
                </a:lnTo>
                <a:lnTo>
                  <a:pt x="16" y="88"/>
                </a:lnTo>
                <a:lnTo>
                  <a:pt x="16" y="91"/>
                </a:lnTo>
                <a:lnTo>
                  <a:pt x="16" y="97"/>
                </a:lnTo>
                <a:lnTo>
                  <a:pt x="19" y="100"/>
                </a:lnTo>
                <a:lnTo>
                  <a:pt x="19" y="103"/>
                </a:lnTo>
                <a:lnTo>
                  <a:pt x="22" y="103"/>
                </a:lnTo>
                <a:lnTo>
                  <a:pt x="25" y="107"/>
                </a:lnTo>
                <a:lnTo>
                  <a:pt x="25" y="107"/>
                </a:lnTo>
                <a:lnTo>
                  <a:pt x="37" y="100"/>
                </a:lnTo>
                <a:lnTo>
                  <a:pt x="37" y="100"/>
                </a:lnTo>
                <a:lnTo>
                  <a:pt x="37" y="97"/>
                </a:lnTo>
                <a:lnTo>
                  <a:pt x="37" y="94"/>
                </a:lnTo>
                <a:lnTo>
                  <a:pt x="37" y="88"/>
                </a:lnTo>
                <a:lnTo>
                  <a:pt x="34" y="82"/>
                </a:lnTo>
                <a:lnTo>
                  <a:pt x="34" y="60"/>
                </a:lnTo>
                <a:lnTo>
                  <a:pt x="34" y="57"/>
                </a:lnTo>
                <a:lnTo>
                  <a:pt x="37" y="53"/>
                </a:lnTo>
                <a:lnTo>
                  <a:pt x="37" y="47"/>
                </a:lnTo>
                <a:lnTo>
                  <a:pt x="37" y="44"/>
                </a:lnTo>
                <a:lnTo>
                  <a:pt x="37" y="41"/>
                </a:lnTo>
                <a:lnTo>
                  <a:pt x="34" y="31"/>
                </a:lnTo>
                <a:lnTo>
                  <a:pt x="31" y="22"/>
                </a:lnTo>
                <a:lnTo>
                  <a:pt x="28" y="19"/>
                </a:lnTo>
                <a:lnTo>
                  <a:pt x="25" y="16"/>
                </a:lnTo>
                <a:lnTo>
                  <a:pt x="22" y="16"/>
                </a:lnTo>
                <a:lnTo>
                  <a:pt x="19" y="10"/>
                </a:lnTo>
                <a:lnTo>
                  <a:pt x="22" y="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1" name="Freeform 129">
            <a:extLst>
              <a:ext uri="{FF2B5EF4-FFF2-40B4-BE49-F238E27FC236}">
                <a16:creationId xmlns:a16="http://schemas.microsoft.com/office/drawing/2014/main" id="{DF9710B4-EED7-3A8B-9FE9-26463D806B2E}"/>
              </a:ext>
            </a:extLst>
          </p:cNvPr>
          <p:cNvSpPr>
            <a:spLocks/>
          </p:cNvSpPr>
          <p:nvPr userDrawn="1"/>
        </p:nvSpPr>
        <p:spPr bwMode="auto">
          <a:xfrm>
            <a:off x="13229364" y="8581306"/>
            <a:ext cx="196837" cy="406400"/>
          </a:xfrm>
          <a:custGeom>
            <a:avLst/>
            <a:gdLst>
              <a:gd name="T0" fmla="*/ 31 w 62"/>
              <a:gd name="T1" fmla="*/ 10 h 128"/>
              <a:gd name="T2" fmla="*/ 22 w 62"/>
              <a:gd name="T3" fmla="*/ 16 h 128"/>
              <a:gd name="T4" fmla="*/ 15 w 62"/>
              <a:gd name="T5" fmla="*/ 16 h 128"/>
              <a:gd name="T6" fmla="*/ 9 w 62"/>
              <a:gd name="T7" fmla="*/ 22 h 128"/>
              <a:gd name="T8" fmla="*/ 9 w 62"/>
              <a:gd name="T9" fmla="*/ 28 h 128"/>
              <a:gd name="T10" fmla="*/ 0 w 62"/>
              <a:gd name="T11" fmla="*/ 35 h 128"/>
              <a:gd name="T12" fmla="*/ 6 w 62"/>
              <a:gd name="T13" fmla="*/ 41 h 128"/>
              <a:gd name="T14" fmla="*/ 12 w 62"/>
              <a:gd name="T15" fmla="*/ 47 h 128"/>
              <a:gd name="T16" fmla="*/ 18 w 62"/>
              <a:gd name="T17" fmla="*/ 66 h 128"/>
              <a:gd name="T18" fmla="*/ 18 w 62"/>
              <a:gd name="T19" fmla="*/ 72 h 128"/>
              <a:gd name="T20" fmla="*/ 15 w 62"/>
              <a:gd name="T21" fmla="*/ 82 h 128"/>
              <a:gd name="T22" fmla="*/ 15 w 62"/>
              <a:gd name="T23" fmla="*/ 107 h 128"/>
              <a:gd name="T24" fmla="*/ 18 w 62"/>
              <a:gd name="T25" fmla="*/ 119 h 128"/>
              <a:gd name="T26" fmla="*/ 18 w 62"/>
              <a:gd name="T27" fmla="*/ 125 h 128"/>
              <a:gd name="T28" fmla="*/ 40 w 62"/>
              <a:gd name="T29" fmla="*/ 122 h 128"/>
              <a:gd name="T30" fmla="*/ 40 w 62"/>
              <a:gd name="T31" fmla="*/ 119 h 128"/>
              <a:gd name="T32" fmla="*/ 40 w 62"/>
              <a:gd name="T33" fmla="*/ 107 h 128"/>
              <a:gd name="T34" fmla="*/ 40 w 62"/>
              <a:gd name="T35" fmla="*/ 94 h 128"/>
              <a:gd name="T36" fmla="*/ 40 w 62"/>
              <a:gd name="T37" fmla="*/ 91 h 128"/>
              <a:gd name="T38" fmla="*/ 40 w 62"/>
              <a:gd name="T39" fmla="*/ 88 h 128"/>
              <a:gd name="T40" fmla="*/ 40 w 62"/>
              <a:gd name="T41" fmla="*/ 82 h 128"/>
              <a:gd name="T42" fmla="*/ 40 w 62"/>
              <a:gd name="T43" fmla="*/ 75 h 128"/>
              <a:gd name="T44" fmla="*/ 40 w 62"/>
              <a:gd name="T45" fmla="*/ 69 h 128"/>
              <a:gd name="T46" fmla="*/ 47 w 62"/>
              <a:gd name="T47" fmla="*/ 66 h 128"/>
              <a:gd name="T48" fmla="*/ 50 w 62"/>
              <a:gd name="T49" fmla="*/ 63 h 128"/>
              <a:gd name="T50" fmla="*/ 53 w 62"/>
              <a:gd name="T51" fmla="*/ 53 h 128"/>
              <a:gd name="T52" fmla="*/ 59 w 62"/>
              <a:gd name="T53" fmla="*/ 53 h 128"/>
              <a:gd name="T54" fmla="*/ 56 w 62"/>
              <a:gd name="T55" fmla="*/ 47 h 128"/>
              <a:gd name="T56" fmla="*/ 59 w 62"/>
              <a:gd name="T57" fmla="*/ 41 h 128"/>
              <a:gd name="T58" fmla="*/ 62 w 62"/>
              <a:gd name="T59" fmla="*/ 38 h 128"/>
              <a:gd name="T60" fmla="*/ 62 w 62"/>
              <a:gd name="T61" fmla="*/ 28 h 128"/>
              <a:gd name="T62" fmla="*/ 56 w 62"/>
              <a:gd name="T63" fmla="*/ 19 h 128"/>
              <a:gd name="T64" fmla="*/ 56 w 62"/>
              <a:gd name="T65" fmla="*/ 16 h 128"/>
              <a:gd name="T66" fmla="*/ 47 w 62"/>
              <a:gd name="T67" fmla="*/ 10 h 128"/>
              <a:gd name="T68" fmla="*/ 37 w 62"/>
              <a:gd name="T69" fmla="*/ 0 h 128"/>
              <a:gd name="T70" fmla="*/ 37 w 62"/>
              <a:gd name="T71" fmla="*/ 3 h 128"/>
              <a:gd name="T72" fmla="*/ 31 w 62"/>
              <a:gd name="T73" fmla="*/ 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128">
                <a:moveTo>
                  <a:pt x="31" y="6"/>
                </a:moveTo>
                <a:lnTo>
                  <a:pt x="31" y="10"/>
                </a:lnTo>
                <a:lnTo>
                  <a:pt x="25" y="13"/>
                </a:lnTo>
                <a:lnTo>
                  <a:pt x="22" y="16"/>
                </a:lnTo>
                <a:lnTo>
                  <a:pt x="15" y="19"/>
                </a:lnTo>
                <a:lnTo>
                  <a:pt x="15" y="16"/>
                </a:lnTo>
                <a:lnTo>
                  <a:pt x="9" y="19"/>
                </a:lnTo>
                <a:lnTo>
                  <a:pt x="9" y="22"/>
                </a:lnTo>
                <a:lnTo>
                  <a:pt x="6" y="25"/>
                </a:lnTo>
                <a:lnTo>
                  <a:pt x="9" y="28"/>
                </a:lnTo>
                <a:lnTo>
                  <a:pt x="3" y="28"/>
                </a:lnTo>
                <a:lnTo>
                  <a:pt x="0" y="35"/>
                </a:lnTo>
                <a:lnTo>
                  <a:pt x="3" y="41"/>
                </a:lnTo>
                <a:lnTo>
                  <a:pt x="6" y="41"/>
                </a:lnTo>
                <a:lnTo>
                  <a:pt x="9" y="44"/>
                </a:lnTo>
                <a:lnTo>
                  <a:pt x="12" y="47"/>
                </a:lnTo>
                <a:lnTo>
                  <a:pt x="15" y="56"/>
                </a:lnTo>
                <a:lnTo>
                  <a:pt x="18" y="66"/>
                </a:lnTo>
                <a:lnTo>
                  <a:pt x="18" y="69"/>
                </a:lnTo>
                <a:lnTo>
                  <a:pt x="18" y="72"/>
                </a:lnTo>
                <a:lnTo>
                  <a:pt x="18" y="78"/>
                </a:lnTo>
                <a:lnTo>
                  <a:pt x="15" y="82"/>
                </a:lnTo>
                <a:lnTo>
                  <a:pt x="15" y="85"/>
                </a:lnTo>
                <a:lnTo>
                  <a:pt x="15" y="107"/>
                </a:lnTo>
                <a:lnTo>
                  <a:pt x="18" y="113"/>
                </a:lnTo>
                <a:lnTo>
                  <a:pt x="18" y="119"/>
                </a:lnTo>
                <a:lnTo>
                  <a:pt x="18" y="122"/>
                </a:lnTo>
                <a:lnTo>
                  <a:pt x="18" y="125"/>
                </a:lnTo>
                <a:lnTo>
                  <a:pt x="28" y="128"/>
                </a:lnTo>
                <a:lnTo>
                  <a:pt x="40" y="122"/>
                </a:lnTo>
                <a:lnTo>
                  <a:pt x="40" y="122"/>
                </a:lnTo>
                <a:lnTo>
                  <a:pt x="40" y="119"/>
                </a:lnTo>
                <a:lnTo>
                  <a:pt x="40" y="110"/>
                </a:lnTo>
                <a:lnTo>
                  <a:pt x="40" y="107"/>
                </a:lnTo>
                <a:lnTo>
                  <a:pt x="40" y="103"/>
                </a:lnTo>
                <a:lnTo>
                  <a:pt x="40" y="94"/>
                </a:lnTo>
                <a:lnTo>
                  <a:pt x="40" y="91"/>
                </a:lnTo>
                <a:lnTo>
                  <a:pt x="40" y="91"/>
                </a:lnTo>
                <a:lnTo>
                  <a:pt x="40" y="88"/>
                </a:lnTo>
                <a:lnTo>
                  <a:pt x="40" y="88"/>
                </a:lnTo>
                <a:lnTo>
                  <a:pt x="40" y="85"/>
                </a:lnTo>
                <a:lnTo>
                  <a:pt x="40" y="82"/>
                </a:lnTo>
                <a:lnTo>
                  <a:pt x="40" y="78"/>
                </a:lnTo>
                <a:lnTo>
                  <a:pt x="40" y="75"/>
                </a:lnTo>
                <a:lnTo>
                  <a:pt x="40" y="72"/>
                </a:lnTo>
                <a:lnTo>
                  <a:pt x="40" y="69"/>
                </a:lnTo>
                <a:lnTo>
                  <a:pt x="43" y="69"/>
                </a:lnTo>
                <a:lnTo>
                  <a:pt x="47" y="66"/>
                </a:lnTo>
                <a:lnTo>
                  <a:pt x="50" y="66"/>
                </a:lnTo>
                <a:lnTo>
                  <a:pt x="50" y="63"/>
                </a:lnTo>
                <a:lnTo>
                  <a:pt x="53" y="56"/>
                </a:lnTo>
                <a:lnTo>
                  <a:pt x="53" y="53"/>
                </a:lnTo>
                <a:lnTo>
                  <a:pt x="56" y="53"/>
                </a:lnTo>
                <a:lnTo>
                  <a:pt x="59" y="53"/>
                </a:lnTo>
                <a:lnTo>
                  <a:pt x="59" y="50"/>
                </a:lnTo>
                <a:lnTo>
                  <a:pt x="56" y="47"/>
                </a:lnTo>
                <a:lnTo>
                  <a:pt x="56" y="44"/>
                </a:lnTo>
                <a:lnTo>
                  <a:pt x="59" y="41"/>
                </a:lnTo>
                <a:lnTo>
                  <a:pt x="62" y="41"/>
                </a:lnTo>
                <a:lnTo>
                  <a:pt x="62" y="38"/>
                </a:lnTo>
                <a:lnTo>
                  <a:pt x="62" y="31"/>
                </a:lnTo>
                <a:lnTo>
                  <a:pt x="62" y="28"/>
                </a:lnTo>
                <a:lnTo>
                  <a:pt x="56" y="22"/>
                </a:lnTo>
                <a:lnTo>
                  <a:pt x="56" y="19"/>
                </a:lnTo>
                <a:lnTo>
                  <a:pt x="56" y="16"/>
                </a:lnTo>
                <a:lnTo>
                  <a:pt x="56" y="16"/>
                </a:lnTo>
                <a:lnTo>
                  <a:pt x="53" y="10"/>
                </a:lnTo>
                <a:lnTo>
                  <a:pt x="47" y="10"/>
                </a:lnTo>
                <a:lnTo>
                  <a:pt x="43" y="3"/>
                </a:lnTo>
                <a:lnTo>
                  <a:pt x="37" y="0"/>
                </a:lnTo>
                <a:lnTo>
                  <a:pt x="34" y="3"/>
                </a:lnTo>
                <a:lnTo>
                  <a:pt x="37" y="3"/>
                </a:lnTo>
                <a:lnTo>
                  <a:pt x="31" y="6"/>
                </a:lnTo>
                <a:lnTo>
                  <a:pt x="31" y="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2" name="Freeform 130">
            <a:extLst>
              <a:ext uri="{FF2B5EF4-FFF2-40B4-BE49-F238E27FC236}">
                <a16:creationId xmlns:a16="http://schemas.microsoft.com/office/drawing/2014/main" id="{0DDA314E-1F4E-8AB7-B3F4-CBFEBA1F6917}"/>
              </a:ext>
            </a:extLst>
          </p:cNvPr>
          <p:cNvSpPr>
            <a:spLocks noEditPoints="1"/>
          </p:cNvSpPr>
          <p:nvPr userDrawn="1"/>
        </p:nvSpPr>
        <p:spPr bwMode="auto">
          <a:xfrm>
            <a:off x="13924643" y="7876457"/>
            <a:ext cx="723855" cy="1031878"/>
          </a:xfrm>
          <a:custGeom>
            <a:avLst/>
            <a:gdLst>
              <a:gd name="T0" fmla="*/ 228 w 228"/>
              <a:gd name="T1" fmla="*/ 81 h 325"/>
              <a:gd name="T2" fmla="*/ 221 w 228"/>
              <a:gd name="T3" fmla="*/ 160 h 325"/>
              <a:gd name="T4" fmla="*/ 209 w 228"/>
              <a:gd name="T5" fmla="*/ 163 h 325"/>
              <a:gd name="T6" fmla="*/ 209 w 228"/>
              <a:gd name="T7" fmla="*/ 175 h 325"/>
              <a:gd name="T8" fmla="*/ 196 w 228"/>
              <a:gd name="T9" fmla="*/ 185 h 325"/>
              <a:gd name="T10" fmla="*/ 196 w 228"/>
              <a:gd name="T11" fmla="*/ 194 h 325"/>
              <a:gd name="T12" fmla="*/ 196 w 228"/>
              <a:gd name="T13" fmla="*/ 203 h 325"/>
              <a:gd name="T14" fmla="*/ 187 w 228"/>
              <a:gd name="T15" fmla="*/ 216 h 325"/>
              <a:gd name="T16" fmla="*/ 196 w 228"/>
              <a:gd name="T17" fmla="*/ 219 h 325"/>
              <a:gd name="T18" fmla="*/ 196 w 228"/>
              <a:gd name="T19" fmla="*/ 225 h 325"/>
              <a:gd name="T20" fmla="*/ 200 w 228"/>
              <a:gd name="T21" fmla="*/ 232 h 325"/>
              <a:gd name="T22" fmla="*/ 206 w 228"/>
              <a:gd name="T23" fmla="*/ 244 h 325"/>
              <a:gd name="T24" fmla="*/ 206 w 228"/>
              <a:gd name="T25" fmla="*/ 250 h 325"/>
              <a:gd name="T26" fmla="*/ 200 w 228"/>
              <a:gd name="T27" fmla="*/ 253 h 325"/>
              <a:gd name="T28" fmla="*/ 184 w 228"/>
              <a:gd name="T29" fmla="*/ 260 h 325"/>
              <a:gd name="T30" fmla="*/ 184 w 228"/>
              <a:gd name="T31" fmla="*/ 266 h 325"/>
              <a:gd name="T32" fmla="*/ 175 w 228"/>
              <a:gd name="T33" fmla="*/ 272 h 325"/>
              <a:gd name="T34" fmla="*/ 168 w 228"/>
              <a:gd name="T35" fmla="*/ 278 h 325"/>
              <a:gd name="T36" fmla="*/ 168 w 228"/>
              <a:gd name="T37" fmla="*/ 288 h 325"/>
              <a:gd name="T38" fmla="*/ 156 w 228"/>
              <a:gd name="T39" fmla="*/ 294 h 325"/>
              <a:gd name="T40" fmla="*/ 140 w 228"/>
              <a:gd name="T41" fmla="*/ 291 h 325"/>
              <a:gd name="T42" fmla="*/ 131 w 228"/>
              <a:gd name="T43" fmla="*/ 294 h 325"/>
              <a:gd name="T44" fmla="*/ 137 w 228"/>
              <a:gd name="T45" fmla="*/ 300 h 325"/>
              <a:gd name="T46" fmla="*/ 128 w 228"/>
              <a:gd name="T47" fmla="*/ 310 h 325"/>
              <a:gd name="T48" fmla="*/ 106 w 228"/>
              <a:gd name="T49" fmla="*/ 316 h 325"/>
              <a:gd name="T50" fmla="*/ 93 w 228"/>
              <a:gd name="T51" fmla="*/ 322 h 325"/>
              <a:gd name="T52" fmla="*/ 87 w 228"/>
              <a:gd name="T53" fmla="*/ 316 h 325"/>
              <a:gd name="T54" fmla="*/ 81 w 228"/>
              <a:gd name="T55" fmla="*/ 325 h 325"/>
              <a:gd name="T56" fmla="*/ 71 w 228"/>
              <a:gd name="T57" fmla="*/ 325 h 325"/>
              <a:gd name="T58" fmla="*/ 68 w 228"/>
              <a:gd name="T59" fmla="*/ 316 h 325"/>
              <a:gd name="T60" fmla="*/ 59 w 228"/>
              <a:gd name="T61" fmla="*/ 304 h 325"/>
              <a:gd name="T62" fmla="*/ 40 w 228"/>
              <a:gd name="T63" fmla="*/ 288 h 325"/>
              <a:gd name="T64" fmla="*/ 37 w 228"/>
              <a:gd name="T65" fmla="*/ 285 h 325"/>
              <a:gd name="T66" fmla="*/ 37 w 228"/>
              <a:gd name="T67" fmla="*/ 275 h 325"/>
              <a:gd name="T68" fmla="*/ 46 w 228"/>
              <a:gd name="T69" fmla="*/ 275 h 325"/>
              <a:gd name="T70" fmla="*/ 56 w 228"/>
              <a:gd name="T71" fmla="*/ 275 h 325"/>
              <a:gd name="T72" fmla="*/ 65 w 228"/>
              <a:gd name="T73" fmla="*/ 275 h 325"/>
              <a:gd name="T74" fmla="*/ 59 w 228"/>
              <a:gd name="T75" fmla="*/ 269 h 325"/>
              <a:gd name="T76" fmla="*/ 53 w 228"/>
              <a:gd name="T77" fmla="*/ 260 h 325"/>
              <a:gd name="T78" fmla="*/ 56 w 228"/>
              <a:gd name="T79" fmla="*/ 247 h 325"/>
              <a:gd name="T80" fmla="*/ 56 w 228"/>
              <a:gd name="T81" fmla="*/ 241 h 325"/>
              <a:gd name="T82" fmla="*/ 53 w 228"/>
              <a:gd name="T83" fmla="*/ 232 h 325"/>
              <a:gd name="T84" fmla="*/ 43 w 228"/>
              <a:gd name="T85" fmla="*/ 219 h 325"/>
              <a:gd name="T86" fmla="*/ 31 w 228"/>
              <a:gd name="T87" fmla="*/ 210 h 325"/>
              <a:gd name="T88" fmla="*/ 21 w 228"/>
              <a:gd name="T89" fmla="*/ 175 h 325"/>
              <a:gd name="T90" fmla="*/ 28 w 228"/>
              <a:gd name="T91" fmla="*/ 172 h 325"/>
              <a:gd name="T92" fmla="*/ 59 w 228"/>
              <a:gd name="T93" fmla="*/ 110 h 325"/>
              <a:gd name="T94" fmla="*/ 68 w 228"/>
              <a:gd name="T95" fmla="*/ 63 h 325"/>
              <a:gd name="T96" fmla="*/ 59 w 228"/>
              <a:gd name="T97" fmla="*/ 38 h 325"/>
              <a:gd name="T98" fmla="*/ 46 w 228"/>
              <a:gd name="T99" fmla="*/ 9 h 325"/>
              <a:gd name="T100" fmla="*/ 0 w 228"/>
              <a:gd name="T101" fmla="*/ 21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8" h="325">
                <a:moveTo>
                  <a:pt x="46" y="9"/>
                </a:moveTo>
                <a:lnTo>
                  <a:pt x="68" y="0"/>
                </a:lnTo>
                <a:lnTo>
                  <a:pt x="228" y="81"/>
                </a:lnTo>
                <a:lnTo>
                  <a:pt x="228" y="156"/>
                </a:lnTo>
                <a:lnTo>
                  <a:pt x="225" y="160"/>
                </a:lnTo>
                <a:lnTo>
                  <a:pt x="221" y="160"/>
                </a:lnTo>
                <a:lnTo>
                  <a:pt x="218" y="160"/>
                </a:lnTo>
                <a:lnTo>
                  <a:pt x="212" y="160"/>
                </a:lnTo>
                <a:lnTo>
                  <a:pt x="209" y="163"/>
                </a:lnTo>
                <a:lnTo>
                  <a:pt x="209" y="166"/>
                </a:lnTo>
                <a:lnTo>
                  <a:pt x="212" y="169"/>
                </a:lnTo>
                <a:lnTo>
                  <a:pt x="209" y="175"/>
                </a:lnTo>
                <a:lnTo>
                  <a:pt x="203" y="182"/>
                </a:lnTo>
                <a:lnTo>
                  <a:pt x="200" y="182"/>
                </a:lnTo>
                <a:lnTo>
                  <a:pt x="196" y="185"/>
                </a:lnTo>
                <a:lnTo>
                  <a:pt x="196" y="188"/>
                </a:lnTo>
                <a:lnTo>
                  <a:pt x="200" y="191"/>
                </a:lnTo>
                <a:lnTo>
                  <a:pt x="196" y="194"/>
                </a:lnTo>
                <a:lnTo>
                  <a:pt x="193" y="197"/>
                </a:lnTo>
                <a:lnTo>
                  <a:pt x="193" y="200"/>
                </a:lnTo>
                <a:lnTo>
                  <a:pt x="196" y="203"/>
                </a:lnTo>
                <a:lnTo>
                  <a:pt x="196" y="207"/>
                </a:lnTo>
                <a:lnTo>
                  <a:pt x="193" y="210"/>
                </a:lnTo>
                <a:lnTo>
                  <a:pt x="187" y="216"/>
                </a:lnTo>
                <a:lnTo>
                  <a:pt x="187" y="219"/>
                </a:lnTo>
                <a:lnTo>
                  <a:pt x="190" y="222"/>
                </a:lnTo>
                <a:lnTo>
                  <a:pt x="196" y="219"/>
                </a:lnTo>
                <a:lnTo>
                  <a:pt x="196" y="219"/>
                </a:lnTo>
                <a:lnTo>
                  <a:pt x="196" y="222"/>
                </a:lnTo>
                <a:lnTo>
                  <a:pt x="196" y="225"/>
                </a:lnTo>
                <a:lnTo>
                  <a:pt x="200" y="225"/>
                </a:lnTo>
                <a:lnTo>
                  <a:pt x="196" y="228"/>
                </a:lnTo>
                <a:lnTo>
                  <a:pt x="200" y="232"/>
                </a:lnTo>
                <a:lnTo>
                  <a:pt x="200" y="238"/>
                </a:lnTo>
                <a:lnTo>
                  <a:pt x="200" y="241"/>
                </a:lnTo>
                <a:lnTo>
                  <a:pt x="206" y="244"/>
                </a:lnTo>
                <a:lnTo>
                  <a:pt x="209" y="247"/>
                </a:lnTo>
                <a:lnTo>
                  <a:pt x="206" y="247"/>
                </a:lnTo>
                <a:lnTo>
                  <a:pt x="206" y="250"/>
                </a:lnTo>
                <a:lnTo>
                  <a:pt x="206" y="253"/>
                </a:lnTo>
                <a:lnTo>
                  <a:pt x="200" y="257"/>
                </a:lnTo>
                <a:lnTo>
                  <a:pt x="200" y="253"/>
                </a:lnTo>
                <a:lnTo>
                  <a:pt x="193" y="253"/>
                </a:lnTo>
                <a:lnTo>
                  <a:pt x="190" y="257"/>
                </a:lnTo>
                <a:lnTo>
                  <a:pt x="184" y="260"/>
                </a:lnTo>
                <a:lnTo>
                  <a:pt x="184" y="263"/>
                </a:lnTo>
                <a:lnTo>
                  <a:pt x="184" y="266"/>
                </a:lnTo>
                <a:lnTo>
                  <a:pt x="184" y="266"/>
                </a:lnTo>
                <a:lnTo>
                  <a:pt x="178" y="272"/>
                </a:lnTo>
                <a:lnTo>
                  <a:pt x="178" y="272"/>
                </a:lnTo>
                <a:lnTo>
                  <a:pt x="175" y="272"/>
                </a:lnTo>
                <a:lnTo>
                  <a:pt x="171" y="275"/>
                </a:lnTo>
                <a:lnTo>
                  <a:pt x="171" y="278"/>
                </a:lnTo>
                <a:lnTo>
                  <a:pt x="168" y="278"/>
                </a:lnTo>
                <a:lnTo>
                  <a:pt x="168" y="282"/>
                </a:lnTo>
                <a:lnTo>
                  <a:pt x="168" y="285"/>
                </a:lnTo>
                <a:lnTo>
                  <a:pt x="168" y="288"/>
                </a:lnTo>
                <a:lnTo>
                  <a:pt x="165" y="291"/>
                </a:lnTo>
                <a:lnTo>
                  <a:pt x="162" y="294"/>
                </a:lnTo>
                <a:lnTo>
                  <a:pt x="156" y="294"/>
                </a:lnTo>
                <a:lnTo>
                  <a:pt x="150" y="294"/>
                </a:lnTo>
                <a:lnTo>
                  <a:pt x="143" y="294"/>
                </a:lnTo>
                <a:lnTo>
                  <a:pt x="140" y="291"/>
                </a:lnTo>
                <a:lnTo>
                  <a:pt x="137" y="294"/>
                </a:lnTo>
                <a:lnTo>
                  <a:pt x="134" y="291"/>
                </a:lnTo>
                <a:lnTo>
                  <a:pt x="131" y="294"/>
                </a:lnTo>
                <a:lnTo>
                  <a:pt x="131" y="297"/>
                </a:lnTo>
                <a:lnTo>
                  <a:pt x="134" y="300"/>
                </a:lnTo>
                <a:lnTo>
                  <a:pt x="137" y="300"/>
                </a:lnTo>
                <a:lnTo>
                  <a:pt x="137" y="304"/>
                </a:lnTo>
                <a:lnTo>
                  <a:pt x="131" y="307"/>
                </a:lnTo>
                <a:lnTo>
                  <a:pt x="128" y="310"/>
                </a:lnTo>
                <a:lnTo>
                  <a:pt x="121" y="310"/>
                </a:lnTo>
                <a:lnTo>
                  <a:pt x="112" y="313"/>
                </a:lnTo>
                <a:lnTo>
                  <a:pt x="106" y="316"/>
                </a:lnTo>
                <a:lnTo>
                  <a:pt x="100" y="319"/>
                </a:lnTo>
                <a:lnTo>
                  <a:pt x="96" y="322"/>
                </a:lnTo>
                <a:lnTo>
                  <a:pt x="93" y="322"/>
                </a:lnTo>
                <a:lnTo>
                  <a:pt x="90" y="322"/>
                </a:lnTo>
                <a:lnTo>
                  <a:pt x="90" y="316"/>
                </a:lnTo>
                <a:lnTo>
                  <a:pt x="87" y="316"/>
                </a:lnTo>
                <a:lnTo>
                  <a:pt x="84" y="316"/>
                </a:lnTo>
                <a:lnTo>
                  <a:pt x="84" y="322"/>
                </a:lnTo>
                <a:lnTo>
                  <a:pt x="81" y="325"/>
                </a:lnTo>
                <a:lnTo>
                  <a:pt x="78" y="325"/>
                </a:lnTo>
                <a:lnTo>
                  <a:pt x="75" y="325"/>
                </a:lnTo>
                <a:lnTo>
                  <a:pt x="71" y="325"/>
                </a:lnTo>
                <a:lnTo>
                  <a:pt x="68" y="322"/>
                </a:lnTo>
                <a:lnTo>
                  <a:pt x="68" y="319"/>
                </a:lnTo>
                <a:lnTo>
                  <a:pt x="68" y="316"/>
                </a:lnTo>
                <a:lnTo>
                  <a:pt x="65" y="313"/>
                </a:lnTo>
                <a:lnTo>
                  <a:pt x="62" y="307"/>
                </a:lnTo>
                <a:lnTo>
                  <a:pt x="59" y="304"/>
                </a:lnTo>
                <a:lnTo>
                  <a:pt x="50" y="297"/>
                </a:lnTo>
                <a:lnTo>
                  <a:pt x="43" y="291"/>
                </a:lnTo>
                <a:lnTo>
                  <a:pt x="40" y="288"/>
                </a:lnTo>
                <a:lnTo>
                  <a:pt x="40" y="288"/>
                </a:lnTo>
                <a:lnTo>
                  <a:pt x="37" y="285"/>
                </a:lnTo>
                <a:lnTo>
                  <a:pt x="37" y="285"/>
                </a:lnTo>
                <a:lnTo>
                  <a:pt x="37" y="278"/>
                </a:lnTo>
                <a:lnTo>
                  <a:pt x="37" y="278"/>
                </a:lnTo>
                <a:lnTo>
                  <a:pt x="37" y="275"/>
                </a:lnTo>
                <a:lnTo>
                  <a:pt x="40" y="275"/>
                </a:lnTo>
                <a:lnTo>
                  <a:pt x="43" y="275"/>
                </a:lnTo>
                <a:lnTo>
                  <a:pt x="46" y="275"/>
                </a:lnTo>
                <a:lnTo>
                  <a:pt x="50" y="275"/>
                </a:lnTo>
                <a:lnTo>
                  <a:pt x="53" y="275"/>
                </a:lnTo>
                <a:lnTo>
                  <a:pt x="56" y="275"/>
                </a:lnTo>
                <a:lnTo>
                  <a:pt x="59" y="275"/>
                </a:lnTo>
                <a:lnTo>
                  <a:pt x="62" y="275"/>
                </a:lnTo>
                <a:lnTo>
                  <a:pt x="65" y="275"/>
                </a:lnTo>
                <a:lnTo>
                  <a:pt x="65" y="275"/>
                </a:lnTo>
                <a:lnTo>
                  <a:pt x="65" y="275"/>
                </a:lnTo>
                <a:lnTo>
                  <a:pt x="59" y="269"/>
                </a:lnTo>
                <a:lnTo>
                  <a:pt x="59" y="266"/>
                </a:lnTo>
                <a:lnTo>
                  <a:pt x="56" y="266"/>
                </a:lnTo>
                <a:lnTo>
                  <a:pt x="53" y="260"/>
                </a:lnTo>
                <a:lnTo>
                  <a:pt x="53" y="257"/>
                </a:lnTo>
                <a:lnTo>
                  <a:pt x="56" y="253"/>
                </a:lnTo>
                <a:lnTo>
                  <a:pt x="56" y="247"/>
                </a:lnTo>
                <a:lnTo>
                  <a:pt x="53" y="247"/>
                </a:lnTo>
                <a:lnTo>
                  <a:pt x="53" y="244"/>
                </a:lnTo>
                <a:lnTo>
                  <a:pt x="56" y="241"/>
                </a:lnTo>
                <a:lnTo>
                  <a:pt x="56" y="238"/>
                </a:lnTo>
                <a:lnTo>
                  <a:pt x="53" y="235"/>
                </a:lnTo>
                <a:lnTo>
                  <a:pt x="53" y="232"/>
                </a:lnTo>
                <a:lnTo>
                  <a:pt x="50" y="228"/>
                </a:lnTo>
                <a:lnTo>
                  <a:pt x="50" y="222"/>
                </a:lnTo>
                <a:lnTo>
                  <a:pt x="43" y="219"/>
                </a:lnTo>
                <a:lnTo>
                  <a:pt x="34" y="213"/>
                </a:lnTo>
                <a:lnTo>
                  <a:pt x="34" y="213"/>
                </a:lnTo>
                <a:lnTo>
                  <a:pt x="31" y="210"/>
                </a:lnTo>
                <a:lnTo>
                  <a:pt x="28" y="203"/>
                </a:lnTo>
                <a:lnTo>
                  <a:pt x="25" y="200"/>
                </a:lnTo>
                <a:lnTo>
                  <a:pt x="21" y="175"/>
                </a:lnTo>
                <a:lnTo>
                  <a:pt x="25" y="175"/>
                </a:lnTo>
                <a:lnTo>
                  <a:pt x="25" y="175"/>
                </a:lnTo>
                <a:lnTo>
                  <a:pt x="28" y="172"/>
                </a:lnTo>
                <a:lnTo>
                  <a:pt x="28" y="172"/>
                </a:lnTo>
                <a:lnTo>
                  <a:pt x="62" y="138"/>
                </a:lnTo>
                <a:lnTo>
                  <a:pt x="59" y="110"/>
                </a:lnTo>
                <a:lnTo>
                  <a:pt x="65" y="72"/>
                </a:lnTo>
                <a:lnTo>
                  <a:pt x="68" y="69"/>
                </a:lnTo>
                <a:lnTo>
                  <a:pt x="68" y="63"/>
                </a:lnTo>
                <a:lnTo>
                  <a:pt x="56" y="47"/>
                </a:lnTo>
                <a:lnTo>
                  <a:pt x="56" y="44"/>
                </a:lnTo>
                <a:lnTo>
                  <a:pt x="59" y="38"/>
                </a:lnTo>
                <a:lnTo>
                  <a:pt x="46" y="13"/>
                </a:lnTo>
                <a:lnTo>
                  <a:pt x="46" y="9"/>
                </a:lnTo>
                <a:lnTo>
                  <a:pt x="46" y="9"/>
                </a:lnTo>
                <a:close/>
                <a:moveTo>
                  <a:pt x="6" y="210"/>
                </a:moveTo>
                <a:lnTo>
                  <a:pt x="3" y="213"/>
                </a:lnTo>
                <a:lnTo>
                  <a:pt x="0" y="216"/>
                </a:lnTo>
                <a:lnTo>
                  <a:pt x="0" y="213"/>
                </a:lnTo>
                <a:lnTo>
                  <a:pt x="6" y="21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3" name="Freeform 131">
            <a:extLst>
              <a:ext uri="{FF2B5EF4-FFF2-40B4-BE49-F238E27FC236}">
                <a16:creationId xmlns:a16="http://schemas.microsoft.com/office/drawing/2014/main" id="{11ADA199-9207-1AB8-7C7B-624A09F08C1D}"/>
              </a:ext>
            </a:extLst>
          </p:cNvPr>
          <p:cNvSpPr>
            <a:spLocks/>
          </p:cNvSpPr>
          <p:nvPr userDrawn="1"/>
        </p:nvSpPr>
        <p:spPr bwMode="auto">
          <a:xfrm>
            <a:off x="13188089" y="7885983"/>
            <a:ext cx="952440" cy="746126"/>
          </a:xfrm>
          <a:custGeom>
            <a:avLst/>
            <a:gdLst>
              <a:gd name="T0" fmla="*/ 66 w 300"/>
              <a:gd name="T1" fmla="*/ 229 h 235"/>
              <a:gd name="T2" fmla="*/ 56 w 300"/>
              <a:gd name="T3" fmla="*/ 222 h 235"/>
              <a:gd name="T4" fmla="*/ 47 w 300"/>
              <a:gd name="T5" fmla="*/ 222 h 235"/>
              <a:gd name="T6" fmla="*/ 44 w 300"/>
              <a:gd name="T7" fmla="*/ 225 h 235"/>
              <a:gd name="T8" fmla="*/ 38 w 300"/>
              <a:gd name="T9" fmla="*/ 219 h 235"/>
              <a:gd name="T10" fmla="*/ 41 w 300"/>
              <a:gd name="T11" fmla="*/ 213 h 235"/>
              <a:gd name="T12" fmla="*/ 38 w 300"/>
              <a:gd name="T13" fmla="*/ 210 h 235"/>
              <a:gd name="T14" fmla="*/ 28 w 300"/>
              <a:gd name="T15" fmla="*/ 213 h 235"/>
              <a:gd name="T16" fmla="*/ 19 w 300"/>
              <a:gd name="T17" fmla="*/ 200 h 235"/>
              <a:gd name="T18" fmla="*/ 0 w 300"/>
              <a:gd name="T19" fmla="*/ 182 h 235"/>
              <a:gd name="T20" fmla="*/ 3 w 300"/>
              <a:gd name="T21" fmla="*/ 172 h 235"/>
              <a:gd name="T22" fmla="*/ 10 w 300"/>
              <a:gd name="T23" fmla="*/ 169 h 235"/>
              <a:gd name="T24" fmla="*/ 28 w 300"/>
              <a:gd name="T25" fmla="*/ 169 h 235"/>
              <a:gd name="T26" fmla="*/ 41 w 300"/>
              <a:gd name="T27" fmla="*/ 166 h 235"/>
              <a:gd name="T28" fmla="*/ 50 w 300"/>
              <a:gd name="T29" fmla="*/ 163 h 235"/>
              <a:gd name="T30" fmla="*/ 63 w 300"/>
              <a:gd name="T31" fmla="*/ 160 h 235"/>
              <a:gd name="T32" fmla="*/ 75 w 300"/>
              <a:gd name="T33" fmla="*/ 150 h 235"/>
              <a:gd name="T34" fmla="*/ 78 w 300"/>
              <a:gd name="T35" fmla="*/ 141 h 235"/>
              <a:gd name="T36" fmla="*/ 81 w 300"/>
              <a:gd name="T37" fmla="*/ 85 h 235"/>
              <a:gd name="T38" fmla="*/ 135 w 300"/>
              <a:gd name="T39" fmla="*/ 57 h 235"/>
              <a:gd name="T40" fmla="*/ 257 w 300"/>
              <a:gd name="T41" fmla="*/ 10 h 235"/>
              <a:gd name="T42" fmla="*/ 278 w 300"/>
              <a:gd name="T43" fmla="*/ 6 h 235"/>
              <a:gd name="T44" fmla="*/ 291 w 300"/>
              <a:gd name="T45" fmla="*/ 35 h 235"/>
              <a:gd name="T46" fmla="*/ 288 w 300"/>
              <a:gd name="T47" fmla="*/ 44 h 235"/>
              <a:gd name="T48" fmla="*/ 300 w 300"/>
              <a:gd name="T49" fmla="*/ 66 h 235"/>
              <a:gd name="T50" fmla="*/ 291 w 300"/>
              <a:gd name="T51" fmla="*/ 107 h 235"/>
              <a:gd name="T52" fmla="*/ 260 w 300"/>
              <a:gd name="T53" fmla="*/ 169 h 235"/>
              <a:gd name="T54" fmla="*/ 257 w 300"/>
              <a:gd name="T55" fmla="*/ 172 h 235"/>
              <a:gd name="T56" fmla="*/ 253 w 300"/>
              <a:gd name="T57" fmla="*/ 172 h 235"/>
              <a:gd name="T58" fmla="*/ 253 w 300"/>
              <a:gd name="T59" fmla="*/ 197 h 235"/>
              <a:gd name="T60" fmla="*/ 250 w 300"/>
              <a:gd name="T61" fmla="*/ 204 h 235"/>
              <a:gd name="T62" fmla="*/ 244 w 300"/>
              <a:gd name="T63" fmla="*/ 204 h 235"/>
              <a:gd name="T64" fmla="*/ 241 w 300"/>
              <a:gd name="T65" fmla="*/ 207 h 235"/>
              <a:gd name="T66" fmla="*/ 238 w 300"/>
              <a:gd name="T67" fmla="*/ 207 h 235"/>
              <a:gd name="T68" fmla="*/ 228 w 300"/>
              <a:gd name="T69" fmla="*/ 210 h 235"/>
              <a:gd name="T70" fmla="*/ 216 w 300"/>
              <a:gd name="T71" fmla="*/ 207 h 235"/>
              <a:gd name="T72" fmla="*/ 203 w 300"/>
              <a:gd name="T73" fmla="*/ 207 h 235"/>
              <a:gd name="T74" fmla="*/ 188 w 300"/>
              <a:gd name="T75" fmla="*/ 207 h 235"/>
              <a:gd name="T76" fmla="*/ 178 w 300"/>
              <a:gd name="T77" fmla="*/ 216 h 235"/>
              <a:gd name="T78" fmla="*/ 169 w 300"/>
              <a:gd name="T79" fmla="*/ 213 h 235"/>
              <a:gd name="T80" fmla="*/ 157 w 300"/>
              <a:gd name="T81" fmla="*/ 210 h 235"/>
              <a:gd name="T82" fmla="*/ 153 w 300"/>
              <a:gd name="T83" fmla="*/ 207 h 235"/>
              <a:gd name="T84" fmla="*/ 147 w 300"/>
              <a:gd name="T85" fmla="*/ 204 h 235"/>
              <a:gd name="T86" fmla="*/ 141 w 300"/>
              <a:gd name="T87" fmla="*/ 207 h 235"/>
              <a:gd name="T88" fmla="*/ 135 w 300"/>
              <a:gd name="T89" fmla="*/ 207 h 235"/>
              <a:gd name="T90" fmla="*/ 132 w 300"/>
              <a:gd name="T91" fmla="*/ 210 h 235"/>
              <a:gd name="T92" fmla="*/ 122 w 300"/>
              <a:gd name="T93" fmla="*/ 200 h 235"/>
              <a:gd name="T94" fmla="*/ 116 w 300"/>
              <a:gd name="T95" fmla="*/ 197 h 235"/>
              <a:gd name="T96" fmla="*/ 110 w 300"/>
              <a:gd name="T97" fmla="*/ 194 h 235"/>
              <a:gd name="T98" fmla="*/ 100 w 300"/>
              <a:gd name="T99" fmla="*/ 194 h 235"/>
              <a:gd name="T100" fmla="*/ 97 w 300"/>
              <a:gd name="T101" fmla="*/ 194 h 235"/>
              <a:gd name="T102" fmla="*/ 88 w 300"/>
              <a:gd name="T103" fmla="*/ 194 h 235"/>
              <a:gd name="T104" fmla="*/ 81 w 300"/>
              <a:gd name="T105" fmla="*/ 197 h 235"/>
              <a:gd name="T106" fmla="*/ 78 w 300"/>
              <a:gd name="T107" fmla="*/ 197 h 235"/>
              <a:gd name="T108" fmla="*/ 72 w 300"/>
              <a:gd name="T109" fmla="*/ 204 h 235"/>
              <a:gd name="T110" fmla="*/ 72 w 300"/>
              <a:gd name="T111" fmla="*/ 207 h 235"/>
              <a:gd name="T112" fmla="*/ 75 w 300"/>
              <a:gd name="T113" fmla="*/ 213 h 235"/>
              <a:gd name="T114" fmla="*/ 75 w 300"/>
              <a:gd name="T115" fmla="*/ 216 h 235"/>
              <a:gd name="T116" fmla="*/ 69 w 300"/>
              <a:gd name="T117" fmla="*/ 219 h 235"/>
              <a:gd name="T118" fmla="*/ 66 w 300"/>
              <a:gd name="T119" fmla="*/ 225 h 235"/>
              <a:gd name="T120" fmla="*/ 72 w 300"/>
              <a:gd name="T121" fmla="*/ 229 h 235"/>
              <a:gd name="T122" fmla="*/ 69 w 300"/>
              <a:gd name="T123"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0" h="235">
                <a:moveTo>
                  <a:pt x="69" y="235"/>
                </a:moveTo>
                <a:lnTo>
                  <a:pt x="66" y="229"/>
                </a:lnTo>
                <a:lnTo>
                  <a:pt x="60" y="229"/>
                </a:lnTo>
                <a:lnTo>
                  <a:pt x="56" y="222"/>
                </a:lnTo>
                <a:lnTo>
                  <a:pt x="50" y="219"/>
                </a:lnTo>
                <a:lnTo>
                  <a:pt x="47" y="222"/>
                </a:lnTo>
                <a:lnTo>
                  <a:pt x="50" y="222"/>
                </a:lnTo>
                <a:lnTo>
                  <a:pt x="44" y="225"/>
                </a:lnTo>
                <a:lnTo>
                  <a:pt x="41" y="225"/>
                </a:lnTo>
                <a:lnTo>
                  <a:pt x="38" y="219"/>
                </a:lnTo>
                <a:lnTo>
                  <a:pt x="41" y="216"/>
                </a:lnTo>
                <a:lnTo>
                  <a:pt x="41" y="213"/>
                </a:lnTo>
                <a:lnTo>
                  <a:pt x="38" y="210"/>
                </a:lnTo>
                <a:lnTo>
                  <a:pt x="38" y="210"/>
                </a:lnTo>
                <a:lnTo>
                  <a:pt x="35" y="207"/>
                </a:lnTo>
                <a:lnTo>
                  <a:pt x="28" y="213"/>
                </a:lnTo>
                <a:lnTo>
                  <a:pt x="19" y="207"/>
                </a:lnTo>
                <a:lnTo>
                  <a:pt x="19" y="200"/>
                </a:lnTo>
                <a:lnTo>
                  <a:pt x="0" y="188"/>
                </a:lnTo>
                <a:lnTo>
                  <a:pt x="0" y="182"/>
                </a:lnTo>
                <a:lnTo>
                  <a:pt x="3" y="175"/>
                </a:lnTo>
                <a:lnTo>
                  <a:pt x="3" y="172"/>
                </a:lnTo>
                <a:lnTo>
                  <a:pt x="6" y="169"/>
                </a:lnTo>
                <a:lnTo>
                  <a:pt x="10" y="169"/>
                </a:lnTo>
                <a:lnTo>
                  <a:pt x="22" y="169"/>
                </a:lnTo>
                <a:lnTo>
                  <a:pt x="28" y="169"/>
                </a:lnTo>
                <a:lnTo>
                  <a:pt x="35" y="166"/>
                </a:lnTo>
                <a:lnTo>
                  <a:pt x="41" y="166"/>
                </a:lnTo>
                <a:lnTo>
                  <a:pt x="47" y="166"/>
                </a:lnTo>
                <a:lnTo>
                  <a:pt x="50" y="163"/>
                </a:lnTo>
                <a:lnTo>
                  <a:pt x="56" y="163"/>
                </a:lnTo>
                <a:lnTo>
                  <a:pt x="63" y="160"/>
                </a:lnTo>
                <a:lnTo>
                  <a:pt x="72" y="153"/>
                </a:lnTo>
                <a:lnTo>
                  <a:pt x="75" y="150"/>
                </a:lnTo>
                <a:lnTo>
                  <a:pt x="75" y="144"/>
                </a:lnTo>
                <a:lnTo>
                  <a:pt x="78" y="141"/>
                </a:lnTo>
                <a:lnTo>
                  <a:pt x="78" y="122"/>
                </a:lnTo>
                <a:lnTo>
                  <a:pt x="81" y="85"/>
                </a:lnTo>
                <a:lnTo>
                  <a:pt x="110" y="78"/>
                </a:lnTo>
                <a:lnTo>
                  <a:pt x="135" y="57"/>
                </a:lnTo>
                <a:lnTo>
                  <a:pt x="222" y="0"/>
                </a:lnTo>
                <a:lnTo>
                  <a:pt x="257" y="10"/>
                </a:lnTo>
                <a:lnTo>
                  <a:pt x="260" y="13"/>
                </a:lnTo>
                <a:lnTo>
                  <a:pt x="278" y="6"/>
                </a:lnTo>
                <a:lnTo>
                  <a:pt x="278" y="10"/>
                </a:lnTo>
                <a:lnTo>
                  <a:pt x="291" y="35"/>
                </a:lnTo>
                <a:lnTo>
                  <a:pt x="288" y="41"/>
                </a:lnTo>
                <a:lnTo>
                  <a:pt x="288" y="44"/>
                </a:lnTo>
                <a:lnTo>
                  <a:pt x="300" y="60"/>
                </a:lnTo>
                <a:lnTo>
                  <a:pt x="300" y="66"/>
                </a:lnTo>
                <a:lnTo>
                  <a:pt x="297" y="69"/>
                </a:lnTo>
                <a:lnTo>
                  <a:pt x="291" y="107"/>
                </a:lnTo>
                <a:lnTo>
                  <a:pt x="294" y="135"/>
                </a:lnTo>
                <a:lnTo>
                  <a:pt x="260" y="169"/>
                </a:lnTo>
                <a:lnTo>
                  <a:pt x="260" y="169"/>
                </a:lnTo>
                <a:lnTo>
                  <a:pt x="257" y="172"/>
                </a:lnTo>
                <a:lnTo>
                  <a:pt x="257" y="172"/>
                </a:lnTo>
                <a:lnTo>
                  <a:pt x="253" y="172"/>
                </a:lnTo>
                <a:lnTo>
                  <a:pt x="257" y="197"/>
                </a:lnTo>
                <a:lnTo>
                  <a:pt x="253" y="197"/>
                </a:lnTo>
                <a:lnTo>
                  <a:pt x="250" y="200"/>
                </a:lnTo>
                <a:lnTo>
                  <a:pt x="250" y="204"/>
                </a:lnTo>
                <a:lnTo>
                  <a:pt x="247" y="204"/>
                </a:lnTo>
                <a:lnTo>
                  <a:pt x="244" y="204"/>
                </a:lnTo>
                <a:lnTo>
                  <a:pt x="241" y="204"/>
                </a:lnTo>
                <a:lnTo>
                  <a:pt x="241" y="207"/>
                </a:lnTo>
                <a:lnTo>
                  <a:pt x="238" y="207"/>
                </a:lnTo>
                <a:lnTo>
                  <a:pt x="238" y="207"/>
                </a:lnTo>
                <a:lnTo>
                  <a:pt x="232" y="210"/>
                </a:lnTo>
                <a:lnTo>
                  <a:pt x="228" y="210"/>
                </a:lnTo>
                <a:lnTo>
                  <a:pt x="222" y="210"/>
                </a:lnTo>
                <a:lnTo>
                  <a:pt x="216" y="207"/>
                </a:lnTo>
                <a:lnTo>
                  <a:pt x="207" y="204"/>
                </a:lnTo>
                <a:lnTo>
                  <a:pt x="203" y="207"/>
                </a:lnTo>
                <a:lnTo>
                  <a:pt x="194" y="207"/>
                </a:lnTo>
                <a:lnTo>
                  <a:pt x="188" y="207"/>
                </a:lnTo>
                <a:lnTo>
                  <a:pt x="185" y="213"/>
                </a:lnTo>
                <a:lnTo>
                  <a:pt x="178" y="216"/>
                </a:lnTo>
                <a:lnTo>
                  <a:pt x="175" y="216"/>
                </a:lnTo>
                <a:lnTo>
                  <a:pt x="169" y="213"/>
                </a:lnTo>
                <a:lnTo>
                  <a:pt x="163" y="213"/>
                </a:lnTo>
                <a:lnTo>
                  <a:pt x="157" y="210"/>
                </a:lnTo>
                <a:lnTo>
                  <a:pt x="153" y="207"/>
                </a:lnTo>
                <a:lnTo>
                  <a:pt x="153" y="207"/>
                </a:lnTo>
                <a:lnTo>
                  <a:pt x="150" y="204"/>
                </a:lnTo>
                <a:lnTo>
                  <a:pt x="147" y="204"/>
                </a:lnTo>
                <a:lnTo>
                  <a:pt x="147" y="204"/>
                </a:lnTo>
                <a:lnTo>
                  <a:pt x="141" y="207"/>
                </a:lnTo>
                <a:lnTo>
                  <a:pt x="138" y="207"/>
                </a:lnTo>
                <a:lnTo>
                  <a:pt x="135" y="207"/>
                </a:lnTo>
                <a:lnTo>
                  <a:pt x="132" y="210"/>
                </a:lnTo>
                <a:lnTo>
                  <a:pt x="132" y="210"/>
                </a:lnTo>
                <a:lnTo>
                  <a:pt x="125" y="207"/>
                </a:lnTo>
                <a:lnTo>
                  <a:pt x="122" y="200"/>
                </a:lnTo>
                <a:lnTo>
                  <a:pt x="119" y="200"/>
                </a:lnTo>
                <a:lnTo>
                  <a:pt x="116" y="197"/>
                </a:lnTo>
                <a:lnTo>
                  <a:pt x="113" y="197"/>
                </a:lnTo>
                <a:lnTo>
                  <a:pt x="110" y="194"/>
                </a:lnTo>
                <a:lnTo>
                  <a:pt x="103" y="194"/>
                </a:lnTo>
                <a:lnTo>
                  <a:pt x="100" y="194"/>
                </a:lnTo>
                <a:lnTo>
                  <a:pt x="97" y="194"/>
                </a:lnTo>
                <a:lnTo>
                  <a:pt x="97" y="194"/>
                </a:lnTo>
                <a:lnTo>
                  <a:pt x="91" y="194"/>
                </a:lnTo>
                <a:lnTo>
                  <a:pt x="88" y="194"/>
                </a:lnTo>
                <a:lnTo>
                  <a:pt x="85" y="194"/>
                </a:lnTo>
                <a:lnTo>
                  <a:pt x="81" y="197"/>
                </a:lnTo>
                <a:lnTo>
                  <a:pt x="81" y="197"/>
                </a:lnTo>
                <a:lnTo>
                  <a:pt x="78" y="197"/>
                </a:lnTo>
                <a:lnTo>
                  <a:pt x="75" y="200"/>
                </a:lnTo>
                <a:lnTo>
                  <a:pt x="72" y="204"/>
                </a:lnTo>
                <a:lnTo>
                  <a:pt x="75" y="207"/>
                </a:lnTo>
                <a:lnTo>
                  <a:pt x="72" y="207"/>
                </a:lnTo>
                <a:lnTo>
                  <a:pt x="72" y="207"/>
                </a:lnTo>
                <a:lnTo>
                  <a:pt x="75" y="213"/>
                </a:lnTo>
                <a:lnTo>
                  <a:pt x="75" y="213"/>
                </a:lnTo>
                <a:lnTo>
                  <a:pt x="75" y="216"/>
                </a:lnTo>
                <a:lnTo>
                  <a:pt x="72" y="216"/>
                </a:lnTo>
                <a:lnTo>
                  <a:pt x="69" y="219"/>
                </a:lnTo>
                <a:lnTo>
                  <a:pt x="69" y="222"/>
                </a:lnTo>
                <a:lnTo>
                  <a:pt x="66" y="225"/>
                </a:lnTo>
                <a:lnTo>
                  <a:pt x="69" y="229"/>
                </a:lnTo>
                <a:lnTo>
                  <a:pt x="72" y="229"/>
                </a:lnTo>
                <a:lnTo>
                  <a:pt x="72" y="232"/>
                </a:lnTo>
                <a:lnTo>
                  <a:pt x="69" y="235"/>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4" name="Freeform 132">
            <a:extLst>
              <a:ext uri="{FF2B5EF4-FFF2-40B4-BE49-F238E27FC236}">
                <a16:creationId xmlns:a16="http://schemas.microsoft.com/office/drawing/2014/main" id="{1E18DCF6-8314-F925-1AE2-2A2115080ABB}"/>
              </a:ext>
            </a:extLst>
          </p:cNvPr>
          <p:cNvSpPr>
            <a:spLocks/>
          </p:cNvSpPr>
          <p:nvPr userDrawn="1"/>
        </p:nvSpPr>
        <p:spPr bwMode="auto">
          <a:xfrm>
            <a:off x="13356352" y="8501935"/>
            <a:ext cx="714330" cy="615950"/>
          </a:xfrm>
          <a:custGeom>
            <a:avLst/>
            <a:gdLst>
              <a:gd name="T0" fmla="*/ 210 w 225"/>
              <a:gd name="T1" fmla="*/ 13 h 194"/>
              <a:gd name="T2" fmla="*/ 197 w 225"/>
              <a:gd name="T3" fmla="*/ 6 h 194"/>
              <a:gd name="T4" fmla="*/ 191 w 225"/>
              <a:gd name="T5" fmla="*/ 10 h 194"/>
              <a:gd name="T6" fmla="*/ 185 w 225"/>
              <a:gd name="T7" fmla="*/ 13 h 194"/>
              <a:gd name="T8" fmla="*/ 175 w 225"/>
              <a:gd name="T9" fmla="*/ 16 h 194"/>
              <a:gd name="T10" fmla="*/ 154 w 225"/>
              <a:gd name="T11" fmla="*/ 10 h 194"/>
              <a:gd name="T12" fmla="*/ 135 w 225"/>
              <a:gd name="T13" fmla="*/ 13 h 194"/>
              <a:gd name="T14" fmla="*/ 122 w 225"/>
              <a:gd name="T15" fmla="*/ 22 h 194"/>
              <a:gd name="T16" fmla="*/ 104 w 225"/>
              <a:gd name="T17" fmla="*/ 16 h 194"/>
              <a:gd name="T18" fmla="*/ 97 w 225"/>
              <a:gd name="T19" fmla="*/ 10 h 194"/>
              <a:gd name="T20" fmla="*/ 88 w 225"/>
              <a:gd name="T21" fmla="*/ 13 h 194"/>
              <a:gd name="T22" fmla="*/ 79 w 225"/>
              <a:gd name="T23" fmla="*/ 16 h 194"/>
              <a:gd name="T24" fmla="*/ 69 w 225"/>
              <a:gd name="T25" fmla="*/ 6 h 194"/>
              <a:gd name="T26" fmla="*/ 60 w 225"/>
              <a:gd name="T27" fmla="*/ 3 h 194"/>
              <a:gd name="T28" fmla="*/ 47 w 225"/>
              <a:gd name="T29" fmla="*/ 0 h 194"/>
              <a:gd name="T30" fmla="*/ 38 w 225"/>
              <a:gd name="T31" fmla="*/ 0 h 194"/>
              <a:gd name="T32" fmla="*/ 28 w 225"/>
              <a:gd name="T33" fmla="*/ 3 h 194"/>
              <a:gd name="T34" fmla="*/ 22 w 225"/>
              <a:gd name="T35" fmla="*/ 6 h 194"/>
              <a:gd name="T36" fmla="*/ 19 w 225"/>
              <a:gd name="T37" fmla="*/ 13 h 194"/>
              <a:gd name="T38" fmla="*/ 22 w 225"/>
              <a:gd name="T39" fmla="*/ 19 h 194"/>
              <a:gd name="T40" fmla="*/ 16 w 225"/>
              <a:gd name="T41" fmla="*/ 25 h 194"/>
              <a:gd name="T42" fmla="*/ 16 w 225"/>
              <a:gd name="T43" fmla="*/ 35 h 194"/>
              <a:gd name="T44" fmla="*/ 16 w 225"/>
              <a:gd name="T45" fmla="*/ 41 h 194"/>
              <a:gd name="T46" fmla="*/ 22 w 225"/>
              <a:gd name="T47" fmla="*/ 53 h 194"/>
              <a:gd name="T48" fmla="*/ 22 w 225"/>
              <a:gd name="T49" fmla="*/ 66 h 194"/>
              <a:gd name="T50" fmla="*/ 16 w 225"/>
              <a:gd name="T51" fmla="*/ 72 h 194"/>
              <a:gd name="T52" fmla="*/ 16 w 225"/>
              <a:gd name="T53" fmla="*/ 78 h 194"/>
              <a:gd name="T54" fmla="*/ 10 w 225"/>
              <a:gd name="T55" fmla="*/ 88 h 194"/>
              <a:gd name="T56" fmla="*/ 3 w 225"/>
              <a:gd name="T57" fmla="*/ 94 h 194"/>
              <a:gd name="T58" fmla="*/ 0 w 225"/>
              <a:gd name="T59" fmla="*/ 100 h 194"/>
              <a:gd name="T60" fmla="*/ 0 w 225"/>
              <a:gd name="T61" fmla="*/ 110 h 194"/>
              <a:gd name="T62" fmla="*/ 0 w 225"/>
              <a:gd name="T63" fmla="*/ 116 h 194"/>
              <a:gd name="T64" fmla="*/ 0 w 225"/>
              <a:gd name="T65" fmla="*/ 128 h 194"/>
              <a:gd name="T66" fmla="*/ 0 w 225"/>
              <a:gd name="T67" fmla="*/ 144 h 194"/>
              <a:gd name="T68" fmla="*/ 16 w 225"/>
              <a:gd name="T69" fmla="*/ 147 h 194"/>
              <a:gd name="T70" fmla="*/ 41 w 225"/>
              <a:gd name="T71" fmla="*/ 172 h 194"/>
              <a:gd name="T72" fmla="*/ 47 w 225"/>
              <a:gd name="T73" fmla="*/ 188 h 194"/>
              <a:gd name="T74" fmla="*/ 79 w 225"/>
              <a:gd name="T75" fmla="*/ 191 h 194"/>
              <a:gd name="T76" fmla="*/ 94 w 225"/>
              <a:gd name="T77" fmla="*/ 188 h 194"/>
              <a:gd name="T78" fmla="*/ 104 w 225"/>
              <a:gd name="T79" fmla="*/ 182 h 194"/>
              <a:gd name="T80" fmla="*/ 110 w 225"/>
              <a:gd name="T81" fmla="*/ 185 h 194"/>
              <a:gd name="T82" fmla="*/ 116 w 225"/>
              <a:gd name="T83" fmla="*/ 172 h 194"/>
              <a:gd name="T84" fmla="*/ 116 w 225"/>
              <a:gd name="T85" fmla="*/ 163 h 194"/>
              <a:gd name="T86" fmla="*/ 125 w 225"/>
              <a:gd name="T87" fmla="*/ 153 h 194"/>
              <a:gd name="T88" fmla="*/ 132 w 225"/>
              <a:gd name="T89" fmla="*/ 144 h 194"/>
              <a:gd name="T90" fmla="*/ 138 w 225"/>
              <a:gd name="T91" fmla="*/ 138 h 194"/>
              <a:gd name="T92" fmla="*/ 147 w 225"/>
              <a:gd name="T93" fmla="*/ 141 h 194"/>
              <a:gd name="T94" fmla="*/ 157 w 225"/>
              <a:gd name="T95" fmla="*/ 150 h 194"/>
              <a:gd name="T96" fmla="*/ 166 w 225"/>
              <a:gd name="T97" fmla="*/ 144 h 194"/>
              <a:gd name="T98" fmla="*/ 169 w 225"/>
              <a:gd name="T99" fmla="*/ 138 h 194"/>
              <a:gd name="T100" fmla="*/ 172 w 225"/>
              <a:gd name="T101" fmla="*/ 128 h 194"/>
              <a:gd name="T102" fmla="*/ 179 w 225"/>
              <a:gd name="T103" fmla="*/ 116 h 194"/>
              <a:gd name="T104" fmla="*/ 191 w 225"/>
              <a:gd name="T105" fmla="*/ 103 h 194"/>
              <a:gd name="T106" fmla="*/ 191 w 225"/>
              <a:gd name="T107" fmla="*/ 91 h 194"/>
              <a:gd name="T108" fmla="*/ 204 w 225"/>
              <a:gd name="T109" fmla="*/ 81 h 194"/>
              <a:gd name="T110" fmla="*/ 204 w 225"/>
              <a:gd name="T111" fmla="*/ 69 h 194"/>
              <a:gd name="T112" fmla="*/ 210 w 225"/>
              <a:gd name="T113" fmla="*/ 56 h 194"/>
              <a:gd name="T114" fmla="*/ 216 w 225"/>
              <a:gd name="T115" fmla="*/ 53 h 194"/>
              <a:gd name="T116" fmla="*/ 225 w 225"/>
              <a:gd name="T117" fmla="*/ 47 h 194"/>
              <a:gd name="T118" fmla="*/ 222 w 225"/>
              <a:gd name="T119" fmla="*/ 35 h 194"/>
              <a:gd name="T120" fmla="*/ 216 w 225"/>
              <a:gd name="T121" fmla="*/ 25 h 194"/>
              <a:gd name="T122" fmla="*/ 213 w 225"/>
              <a:gd name="T123" fmla="*/ 1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5" h="194">
                <a:moveTo>
                  <a:pt x="213" y="16"/>
                </a:moveTo>
                <a:lnTo>
                  <a:pt x="213" y="16"/>
                </a:lnTo>
                <a:lnTo>
                  <a:pt x="210" y="13"/>
                </a:lnTo>
                <a:lnTo>
                  <a:pt x="207" y="6"/>
                </a:lnTo>
                <a:lnTo>
                  <a:pt x="200" y="3"/>
                </a:lnTo>
                <a:lnTo>
                  <a:pt x="197" y="6"/>
                </a:lnTo>
                <a:lnTo>
                  <a:pt x="197" y="10"/>
                </a:lnTo>
                <a:lnTo>
                  <a:pt x="194" y="10"/>
                </a:lnTo>
                <a:lnTo>
                  <a:pt x="191" y="10"/>
                </a:lnTo>
                <a:lnTo>
                  <a:pt x="188" y="10"/>
                </a:lnTo>
                <a:lnTo>
                  <a:pt x="188" y="13"/>
                </a:lnTo>
                <a:lnTo>
                  <a:pt x="185" y="13"/>
                </a:lnTo>
                <a:lnTo>
                  <a:pt x="182" y="16"/>
                </a:lnTo>
                <a:lnTo>
                  <a:pt x="179" y="19"/>
                </a:lnTo>
                <a:lnTo>
                  <a:pt x="175" y="16"/>
                </a:lnTo>
                <a:lnTo>
                  <a:pt x="169" y="16"/>
                </a:lnTo>
                <a:lnTo>
                  <a:pt x="163" y="13"/>
                </a:lnTo>
                <a:lnTo>
                  <a:pt x="154" y="10"/>
                </a:lnTo>
                <a:lnTo>
                  <a:pt x="150" y="13"/>
                </a:lnTo>
                <a:lnTo>
                  <a:pt x="141" y="13"/>
                </a:lnTo>
                <a:lnTo>
                  <a:pt x="135" y="13"/>
                </a:lnTo>
                <a:lnTo>
                  <a:pt x="132" y="19"/>
                </a:lnTo>
                <a:lnTo>
                  <a:pt x="125" y="22"/>
                </a:lnTo>
                <a:lnTo>
                  <a:pt x="122" y="22"/>
                </a:lnTo>
                <a:lnTo>
                  <a:pt x="116" y="19"/>
                </a:lnTo>
                <a:lnTo>
                  <a:pt x="110" y="19"/>
                </a:lnTo>
                <a:lnTo>
                  <a:pt x="104" y="16"/>
                </a:lnTo>
                <a:lnTo>
                  <a:pt x="100" y="13"/>
                </a:lnTo>
                <a:lnTo>
                  <a:pt x="100" y="13"/>
                </a:lnTo>
                <a:lnTo>
                  <a:pt x="97" y="10"/>
                </a:lnTo>
                <a:lnTo>
                  <a:pt x="94" y="10"/>
                </a:lnTo>
                <a:lnTo>
                  <a:pt x="94" y="10"/>
                </a:lnTo>
                <a:lnTo>
                  <a:pt x="88" y="13"/>
                </a:lnTo>
                <a:lnTo>
                  <a:pt x="85" y="13"/>
                </a:lnTo>
                <a:lnTo>
                  <a:pt x="82" y="13"/>
                </a:lnTo>
                <a:lnTo>
                  <a:pt x="79" y="16"/>
                </a:lnTo>
                <a:lnTo>
                  <a:pt x="79" y="16"/>
                </a:lnTo>
                <a:lnTo>
                  <a:pt x="72" y="13"/>
                </a:lnTo>
                <a:lnTo>
                  <a:pt x="69" y="6"/>
                </a:lnTo>
                <a:lnTo>
                  <a:pt x="66" y="6"/>
                </a:lnTo>
                <a:lnTo>
                  <a:pt x="63" y="3"/>
                </a:lnTo>
                <a:lnTo>
                  <a:pt x="60" y="3"/>
                </a:lnTo>
                <a:lnTo>
                  <a:pt x="57" y="0"/>
                </a:lnTo>
                <a:lnTo>
                  <a:pt x="50" y="0"/>
                </a:lnTo>
                <a:lnTo>
                  <a:pt x="47" y="0"/>
                </a:lnTo>
                <a:lnTo>
                  <a:pt x="44" y="0"/>
                </a:lnTo>
                <a:lnTo>
                  <a:pt x="44" y="0"/>
                </a:lnTo>
                <a:lnTo>
                  <a:pt x="38" y="0"/>
                </a:lnTo>
                <a:lnTo>
                  <a:pt x="35" y="0"/>
                </a:lnTo>
                <a:lnTo>
                  <a:pt x="32" y="0"/>
                </a:lnTo>
                <a:lnTo>
                  <a:pt x="28" y="3"/>
                </a:lnTo>
                <a:lnTo>
                  <a:pt x="28" y="3"/>
                </a:lnTo>
                <a:lnTo>
                  <a:pt x="25" y="3"/>
                </a:lnTo>
                <a:lnTo>
                  <a:pt x="22" y="6"/>
                </a:lnTo>
                <a:lnTo>
                  <a:pt x="19" y="10"/>
                </a:lnTo>
                <a:lnTo>
                  <a:pt x="22" y="13"/>
                </a:lnTo>
                <a:lnTo>
                  <a:pt x="19" y="13"/>
                </a:lnTo>
                <a:lnTo>
                  <a:pt x="19" y="13"/>
                </a:lnTo>
                <a:lnTo>
                  <a:pt x="22" y="19"/>
                </a:lnTo>
                <a:lnTo>
                  <a:pt x="22" y="19"/>
                </a:lnTo>
                <a:lnTo>
                  <a:pt x="22" y="22"/>
                </a:lnTo>
                <a:lnTo>
                  <a:pt x="19" y="22"/>
                </a:lnTo>
                <a:lnTo>
                  <a:pt x="16" y="25"/>
                </a:lnTo>
                <a:lnTo>
                  <a:pt x="16" y="28"/>
                </a:lnTo>
                <a:lnTo>
                  <a:pt x="13" y="31"/>
                </a:lnTo>
                <a:lnTo>
                  <a:pt x="16" y="35"/>
                </a:lnTo>
                <a:lnTo>
                  <a:pt x="19" y="35"/>
                </a:lnTo>
                <a:lnTo>
                  <a:pt x="19" y="38"/>
                </a:lnTo>
                <a:lnTo>
                  <a:pt x="16" y="41"/>
                </a:lnTo>
                <a:lnTo>
                  <a:pt x="16" y="44"/>
                </a:lnTo>
                <a:lnTo>
                  <a:pt x="16" y="47"/>
                </a:lnTo>
                <a:lnTo>
                  <a:pt x="22" y="53"/>
                </a:lnTo>
                <a:lnTo>
                  <a:pt x="22" y="56"/>
                </a:lnTo>
                <a:lnTo>
                  <a:pt x="22" y="63"/>
                </a:lnTo>
                <a:lnTo>
                  <a:pt x="22" y="66"/>
                </a:lnTo>
                <a:lnTo>
                  <a:pt x="19" y="66"/>
                </a:lnTo>
                <a:lnTo>
                  <a:pt x="16" y="69"/>
                </a:lnTo>
                <a:lnTo>
                  <a:pt x="16" y="72"/>
                </a:lnTo>
                <a:lnTo>
                  <a:pt x="19" y="75"/>
                </a:lnTo>
                <a:lnTo>
                  <a:pt x="19" y="78"/>
                </a:lnTo>
                <a:lnTo>
                  <a:pt x="16" y="78"/>
                </a:lnTo>
                <a:lnTo>
                  <a:pt x="13" y="78"/>
                </a:lnTo>
                <a:lnTo>
                  <a:pt x="13" y="81"/>
                </a:lnTo>
                <a:lnTo>
                  <a:pt x="10" y="88"/>
                </a:lnTo>
                <a:lnTo>
                  <a:pt x="10" y="91"/>
                </a:lnTo>
                <a:lnTo>
                  <a:pt x="7" y="91"/>
                </a:lnTo>
                <a:lnTo>
                  <a:pt x="3" y="94"/>
                </a:lnTo>
                <a:lnTo>
                  <a:pt x="0" y="94"/>
                </a:lnTo>
                <a:lnTo>
                  <a:pt x="0" y="97"/>
                </a:lnTo>
                <a:lnTo>
                  <a:pt x="0" y="100"/>
                </a:lnTo>
                <a:lnTo>
                  <a:pt x="0" y="103"/>
                </a:lnTo>
                <a:lnTo>
                  <a:pt x="0" y="107"/>
                </a:lnTo>
                <a:lnTo>
                  <a:pt x="0" y="110"/>
                </a:lnTo>
                <a:lnTo>
                  <a:pt x="0" y="113"/>
                </a:lnTo>
                <a:lnTo>
                  <a:pt x="0" y="113"/>
                </a:lnTo>
                <a:lnTo>
                  <a:pt x="0" y="116"/>
                </a:lnTo>
                <a:lnTo>
                  <a:pt x="0" y="116"/>
                </a:lnTo>
                <a:lnTo>
                  <a:pt x="0" y="119"/>
                </a:lnTo>
                <a:lnTo>
                  <a:pt x="0" y="128"/>
                </a:lnTo>
                <a:lnTo>
                  <a:pt x="0" y="132"/>
                </a:lnTo>
                <a:lnTo>
                  <a:pt x="0" y="135"/>
                </a:lnTo>
                <a:lnTo>
                  <a:pt x="0" y="144"/>
                </a:lnTo>
                <a:lnTo>
                  <a:pt x="0" y="147"/>
                </a:lnTo>
                <a:lnTo>
                  <a:pt x="10" y="150"/>
                </a:lnTo>
                <a:lnTo>
                  <a:pt x="16" y="147"/>
                </a:lnTo>
                <a:lnTo>
                  <a:pt x="28" y="153"/>
                </a:lnTo>
                <a:lnTo>
                  <a:pt x="38" y="163"/>
                </a:lnTo>
                <a:lnTo>
                  <a:pt x="41" y="172"/>
                </a:lnTo>
                <a:lnTo>
                  <a:pt x="41" y="178"/>
                </a:lnTo>
                <a:lnTo>
                  <a:pt x="44" y="178"/>
                </a:lnTo>
                <a:lnTo>
                  <a:pt x="47" y="188"/>
                </a:lnTo>
                <a:lnTo>
                  <a:pt x="50" y="191"/>
                </a:lnTo>
                <a:lnTo>
                  <a:pt x="60" y="194"/>
                </a:lnTo>
                <a:lnTo>
                  <a:pt x="79" y="191"/>
                </a:lnTo>
                <a:lnTo>
                  <a:pt x="82" y="191"/>
                </a:lnTo>
                <a:lnTo>
                  <a:pt x="85" y="191"/>
                </a:lnTo>
                <a:lnTo>
                  <a:pt x="94" y="188"/>
                </a:lnTo>
                <a:lnTo>
                  <a:pt x="97" y="188"/>
                </a:lnTo>
                <a:lnTo>
                  <a:pt x="100" y="188"/>
                </a:lnTo>
                <a:lnTo>
                  <a:pt x="104" y="182"/>
                </a:lnTo>
                <a:lnTo>
                  <a:pt x="107" y="185"/>
                </a:lnTo>
                <a:lnTo>
                  <a:pt x="110" y="185"/>
                </a:lnTo>
                <a:lnTo>
                  <a:pt x="110" y="185"/>
                </a:lnTo>
                <a:lnTo>
                  <a:pt x="110" y="182"/>
                </a:lnTo>
                <a:lnTo>
                  <a:pt x="113" y="175"/>
                </a:lnTo>
                <a:lnTo>
                  <a:pt x="116" y="172"/>
                </a:lnTo>
                <a:lnTo>
                  <a:pt x="116" y="166"/>
                </a:lnTo>
                <a:lnTo>
                  <a:pt x="116" y="163"/>
                </a:lnTo>
                <a:lnTo>
                  <a:pt x="116" y="163"/>
                </a:lnTo>
                <a:lnTo>
                  <a:pt x="116" y="160"/>
                </a:lnTo>
                <a:lnTo>
                  <a:pt x="119" y="157"/>
                </a:lnTo>
                <a:lnTo>
                  <a:pt x="125" y="153"/>
                </a:lnTo>
                <a:lnTo>
                  <a:pt x="125" y="150"/>
                </a:lnTo>
                <a:lnTo>
                  <a:pt x="132" y="147"/>
                </a:lnTo>
                <a:lnTo>
                  <a:pt x="132" y="144"/>
                </a:lnTo>
                <a:lnTo>
                  <a:pt x="132" y="141"/>
                </a:lnTo>
                <a:lnTo>
                  <a:pt x="138" y="141"/>
                </a:lnTo>
                <a:lnTo>
                  <a:pt x="138" y="138"/>
                </a:lnTo>
                <a:lnTo>
                  <a:pt x="138" y="138"/>
                </a:lnTo>
                <a:lnTo>
                  <a:pt x="144" y="141"/>
                </a:lnTo>
                <a:lnTo>
                  <a:pt x="147" y="141"/>
                </a:lnTo>
                <a:lnTo>
                  <a:pt x="150" y="144"/>
                </a:lnTo>
                <a:lnTo>
                  <a:pt x="154" y="147"/>
                </a:lnTo>
                <a:lnTo>
                  <a:pt x="157" y="150"/>
                </a:lnTo>
                <a:lnTo>
                  <a:pt x="157" y="150"/>
                </a:lnTo>
                <a:lnTo>
                  <a:pt x="163" y="147"/>
                </a:lnTo>
                <a:lnTo>
                  <a:pt x="166" y="144"/>
                </a:lnTo>
                <a:lnTo>
                  <a:pt x="166" y="141"/>
                </a:lnTo>
                <a:lnTo>
                  <a:pt x="166" y="138"/>
                </a:lnTo>
                <a:lnTo>
                  <a:pt x="169" y="138"/>
                </a:lnTo>
                <a:lnTo>
                  <a:pt x="172" y="135"/>
                </a:lnTo>
                <a:lnTo>
                  <a:pt x="172" y="132"/>
                </a:lnTo>
                <a:lnTo>
                  <a:pt x="172" y="128"/>
                </a:lnTo>
                <a:lnTo>
                  <a:pt x="179" y="122"/>
                </a:lnTo>
                <a:lnTo>
                  <a:pt x="179" y="119"/>
                </a:lnTo>
                <a:lnTo>
                  <a:pt x="179" y="116"/>
                </a:lnTo>
                <a:lnTo>
                  <a:pt x="182" y="113"/>
                </a:lnTo>
                <a:lnTo>
                  <a:pt x="185" y="107"/>
                </a:lnTo>
                <a:lnTo>
                  <a:pt x="191" y="103"/>
                </a:lnTo>
                <a:lnTo>
                  <a:pt x="191" y="100"/>
                </a:lnTo>
                <a:lnTo>
                  <a:pt x="191" y="97"/>
                </a:lnTo>
                <a:lnTo>
                  <a:pt x="191" y="91"/>
                </a:lnTo>
                <a:lnTo>
                  <a:pt x="194" y="88"/>
                </a:lnTo>
                <a:lnTo>
                  <a:pt x="200" y="88"/>
                </a:lnTo>
                <a:lnTo>
                  <a:pt x="204" y="81"/>
                </a:lnTo>
                <a:lnTo>
                  <a:pt x="204" y="78"/>
                </a:lnTo>
                <a:lnTo>
                  <a:pt x="204" y="72"/>
                </a:lnTo>
                <a:lnTo>
                  <a:pt x="204" y="69"/>
                </a:lnTo>
                <a:lnTo>
                  <a:pt x="204" y="66"/>
                </a:lnTo>
                <a:lnTo>
                  <a:pt x="207" y="60"/>
                </a:lnTo>
                <a:lnTo>
                  <a:pt x="210" y="56"/>
                </a:lnTo>
                <a:lnTo>
                  <a:pt x="210" y="56"/>
                </a:lnTo>
                <a:lnTo>
                  <a:pt x="213" y="53"/>
                </a:lnTo>
                <a:lnTo>
                  <a:pt x="216" y="53"/>
                </a:lnTo>
                <a:lnTo>
                  <a:pt x="219" y="50"/>
                </a:lnTo>
                <a:lnTo>
                  <a:pt x="222" y="47"/>
                </a:lnTo>
                <a:lnTo>
                  <a:pt x="225" y="47"/>
                </a:lnTo>
                <a:lnTo>
                  <a:pt x="222" y="41"/>
                </a:lnTo>
                <a:lnTo>
                  <a:pt x="222" y="38"/>
                </a:lnTo>
                <a:lnTo>
                  <a:pt x="222" y="35"/>
                </a:lnTo>
                <a:lnTo>
                  <a:pt x="219" y="35"/>
                </a:lnTo>
                <a:lnTo>
                  <a:pt x="216" y="31"/>
                </a:lnTo>
                <a:lnTo>
                  <a:pt x="216" y="25"/>
                </a:lnTo>
                <a:lnTo>
                  <a:pt x="216" y="22"/>
                </a:lnTo>
                <a:lnTo>
                  <a:pt x="213" y="16"/>
                </a:lnTo>
                <a:lnTo>
                  <a:pt x="213" y="1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5" name="Freeform 133">
            <a:extLst>
              <a:ext uri="{FF2B5EF4-FFF2-40B4-BE49-F238E27FC236}">
                <a16:creationId xmlns:a16="http://schemas.microsoft.com/office/drawing/2014/main" id="{68D6163C-0D54-0E2F-2FAB-5AFDAEABC7D5}"/>
              </a:ext>
            </a:extLst>
          </p:cNvPr>
          <p:cNvSpPr>
            <a:spLocks/>
          </p:cNvSpPr>
          <p:nvPr userDrawn="1"/>
        </p:nvSpPr>
        <p:spPr bwMode="auto">
          <a:xfrm>
            <a:off x="13565890" y="9356009"/>
            <a:ext cx="19049" cy="19050"/>
          </a:xfrm>
          <a:custGeom>
            <a:avLst/>
            <a:gdLst>
              <a:gd name="T0" fmla="*/ 0 w 6"/>
              <a:gd name="T1" fmla="*/ 6 h 6"/>
              <a:gd name="T2" fmla="*/ 0 w 6"/>
              <a:gd name="T3" fmla="*/ 3 h 6"/>
              <a:gd name="T4" fmla="*/ 3 w 6"/>
              <a:gd name="T5" fmla="*/ 0 h 6"/>
              <a:gd name="T6" fmla="*/ 6 w 6"/>
              <a:gd name="T7" fmla="*/ 3 h 6"/>
              <a:gd name="T8" fmla="*/ 3 w 6"/>
              <a:gd name="T9" fmla="*/ 6 h 6"/>
              <a:gd name="T10" fmla="*/ 3 w 6"/>
              <a:gd name="T11" fmla="*/ 6 h 6"/>
              <a:gd name="T12" fmla="*/ 0 w 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0" y="6"/>
                </a:moveTo>
                <a:lnTo>
                  <a:pt x="0" y="3"/>
                </a:lnTo>
                <a:lnTo>
                  <a:pt x="3" y="0"/>
                </a:lnTo>
                <a:lnTo>
                  <a:pt x="6" y="3"/>
                </a:lnTo>
                <a:lnTo>
                  <a:pt x="3" y="6"/>
                </a:lnTo>
                <a:lnTo>
                  <a:pt x="3" y="6"/>
                </a:lnTo>
                <a:lnTo>
                  <a:pt x="0" y="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6" name="Freeform 134">
            <a:extLst>
              <a:ext uri="{FF2B5EF4-FFF2-40B4-BE49-F238E27FC236}">
                <a16:creationId xmlns:a16="http://schemas.microsoft.com/office/drawing/2014/main" id="{87E5841B-3162-DD42-A2CB-B9D2A1014310}"/>
              </a:ext>
            </a:extLst>
          </p:cNvPr>
          <p:cNvSpPr>
            <a:spLocks/>
          </p:cNvSpPr>
          <p:nvPr userDrawn="1"/>
        </p:nvSpPr>
        <p:spPr bwMode="auto">
          <a:xfrm>
            <a:off x="13686531" y="9136930"/>
            <a:ext cx="28574" cy="50800"/>
          </a:xfrm>
          <a:custGeom>
            <a:avLst/>
            <a:gdLst>
              <a:gd name="T0" fmla="*/ 0 w 9"/>
              <a:gd name="T1" fmla="*/ 13 h 16"/>
              <a:gd name="T2" fmla="*/ 0 w 9"/>
              <a:gd name="T3" fmla="*/ 10 h 16"/>
              <a:gd name="T4" fmla="*/ 3 w 9"/>
              <a:gd name="T5" fmla="*/ 10 h 16"/>
              <a:gd name="T6" fmla="*/ 3 w 9"/>
              <a:gd name="T7" fmla="*/ 3 h 16"/>
              <a:gd name="T8" fmla="*/ 9 w 9"/>
              <a:gd name="T9" fmla="*/ 0 h 16"/>
              <a:gd name="T10" fmla="*/ 9 w 9"/>
              <a:gd name="T11" fmla="*/ 0 h 16"/>
              <a:gd name="T12" fmla="*/ 9 w 9"/>
              <a:gd name="T13" fmla="*/ 7 h 16"/>
              <a:gd name="T14" fmla="*/ 6 w 9"/>
              <a:gd name="T15" fmla="*/ 16 h 16"/>
              <a:gd name="T16" fmla="*/ 3 w 9"/>
              <a:gd name="T17" fmla="*/ 13 h 16"/>
              <a:gd name="T18" fmla="*/ 0 w 9"/>
              <a:gd name="T19"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6">
                <a:moveTo>
                  <a:pt x="0" y="13"/>
                </a:moveTo>
                <a:lnTo>
                  <a:pt x="0" y="10"/>
                </a:lnTo>
                <a:lnTo>
                  <a:pt x="3" y="10"/>
                </a:lnTo>
                <a:lnTo>
                  <a:pt x="3" y="3"/>
                </a:lnTo>
                <a:lnTo>
                  <a:pt x="9" y="0"/>
                </a:lnTo>
                <a:lnTo>
                  <a:pt x="9" y="0"/>
                </a:lnTo>
                <a:lnTo>
                  <a:pt x="9" y="7"/>
                </a:lnTo>
                <a:lnTo>
                  <a:pt x="6" y="16"/>
                </a:lnTo>
                <a:lnTo>
                  <a:pt x="3" y="13"/>
                </a:lnTo>
                <a:lnTo>
                  <a:pt x="0" y="13"/>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7" name="Freeform 135">
            <a:extLst>
              <a:ext uri="{FF2B5EF4-FFF2-40B4-BE49-F238E27FC236}">
                <a16:creationId xmlns:a16="http://schemas.microsoft.com/office/drawing/2014/main" id="{BDEEEF07-47B2-25A7-7546-DAE48128F2D7}"/>
              </a:ext>
            </a:extLst>
          </p:cNvPr>
          <p:cNvSpPr>
            <a:spLocks/>
          </p:cNvSpPr>
          <p:nvPr userDrawn="1"/>
        </p:nvSpPr>
        <p:spPr bwMode="auto">
          <a:xfrm>
            <a:off x="13705581" y="8552732"/>
            <a:ext cx="466696" cy="714376"/>
          </a:xfrm>
          <a:custGeom>
            <a:avLst/>
            <a:gdLst>
              <a:gd name="T0" fmla="*/ 3 w 147"/>
              <a:gd name="T1" fmla="*/ 159 h 225"/>
              <a:gd name="T2" fmla="*/ 6 w 147"/>
              <a:gd name="T3" fmla="*/ 147 h 225"/>
              <a:gd name="T4" fmla="*/ 9 w 147"/>
              <a:gd name="T5" fmla="*/ 141 h 225"/>
              <a:gd name="T6" fmla="*/ 22 w 147"/>
              <a:gd name="T7" fmla="*/ 131 h 225"/>
              <a:gd name="T8" fmla="*/ 28 w 147"/>
              <a:gd name="T9" fmla="*/ 125 h 225"/>
              <a:gd name="T10" fmla="*/ 34 w 147"/>
              <a:gd name="T11" fmla="*/ 125 h 225"/>
              <a:gd name="T12" fmla="*/ 44 w 147"/>
              <a:gd name="T13" fmla="*/ 131 h 225"/>
              <a:gd name="T14" fmla="*/ 53 w 147"/>
              <a:gd name="T15" fmla="*/ 131 h 225"/>
              <a:gd name="T16" fmla="*/ 56 w 147"/>
              <a:gd name="T17" fmla="*/ 122 h 225"/>
              <a:gd name="T18" fmla="*/ 62 w 147"/>
              <a:gd name="T19" fmla="*/ 116 h 225"/>
              <a:gd name="T20" fmla="*/ 69 w 147"/>
              <a:gd name="T21" fmla="*/ 103 h 225"/>
              <a:gd name="T22" fmla="*/ 75 w 147"/>
              <a:gd name="T23" fmla="*/ 91 h 225"/>
              <a:gd name="T24" fmla="*/ 81 w 147"/>
              <a:gd name="T25" fmla="*/ 81 h 225"/>
              <a:gd name="T26" fmla="*/ 90 w 147"/>
              <a:gd name="T27" fmla="*/ 72 h 225"/>
              <a:gd name="T28" fmla="*/ 94 w 147"/>
              <a:gd name="T29" fmla="*/ 56 h 225"/>
              <a:gd name="T30" fmla="*/ 97 w 147"/>
              <a:gd name="T31" fmla="*/ 44 h 225"/>
              <a:gd name="T32" fmla="*/ 103 w 147"/>
              <a:gd name="T33" fmla="*/ 37 h 225"/>
              <a:gd name="T34" fmla="*/ 112 w 147"/>
              <a:gd name="T35" fmla="*/ 31 h 225"/>
              <a:gd name="T36" fmla="*/ 112 w 147"/>
              <a:gd name="T37" fmla="*/ 22 h 225"/>
              <a:gd name="T38" fmla="*/ 106 w 147"/>
              <a:gd name="T39" fmla="*/ 15 h 225"/>
              <a:gd name="T40" fmla="*/ 103 w 147"/>
              <a:gd name="T41" fmla="*/ 0 h 225"/>
              <a:gd name="T42" fmla="*/ 119 w 147"/>
              <a:gd name="T43" fmla="*/ 15 h 225"/>
              <a:gd name="T44" fmla="*/ 125 w 147"/>
              <a:gd name="T45" fmla="*/ 25 h 225"/>
              <a:gd name="T46" fmla="*/ 122 w 147"/>
              <a:gd name="T47" fmla="*/ 34 h 225"/>
              <a:gd name="T48" fmla="*/ 122 w 147"/>
              <a:gd name="T49" fmla="*/ 44 h 225"/>
              <a:gd name="T50" fmla="*/ 128 w 147"/>
              <a:gd name="T51" fmla="*/ 53 h 225"/>
              <a:gd name="T52" fmla="*/ 134 w 147"/>
              <a:gd name="T53" fmla="*/ 62 h 225"/>
              <a:gd name="T54" fmla="*/ 128 w 147"/>
              <a:gd name="T55" fmla="*/ 62 h 225"/>
              <a:gd name="T56" fmla="*/ 119 w 147"/>
              <a:gd name="T57" fmla="*/ 62 h 225"/>
              <a:gd name="T58" fmla="*/ 109 w 147"/>
              <a:gd name="T59" fmla="*/ 62 h 225"/>
              <a:gd name="T60" fmla="*/ 106 w 147"/>
              <a:gd name="T61" fmla="*/ 65 h 225"/>
              <a:gd name="T62" fmla="*/ 109 w 147"/>
              <a:gd name="T63" fmla="*/ 75 h 225"/>
              <a:gd name="T64" fmla="*/ 119 w 147"/>
              <a:gd name="T65" fmla="*/ 84 h 225"/>
              <a:gd name="T66" fmla="*/ 134 w 147"/>
              <a:gd name="T67" fmla="*/ 100 h 225"/>
              <a:gd name="T68" fmla="*/ 134 w 147"/>
              <a:gd name="T69" fmla="*/ 112 h 225"/>
              <a:gd name="T70" fmla="*/ 125 w 147"/>
              <a:gd name="T71" fmla="*/ 125 h 225"/>
              <a:gd name="T72" fmla="*/ 115 w 147"/>
              <a:gd name="T73" fmla="*/ 137 h 225"/>
              <a:gd name="T74" fmla="*/ 115 w 147"/>
              <a:gd name="T75" fmla="*/ 150 h 225"/>
              <a:gd name="T76" fmla="*/ 119 w 147"/>
              <a:gd name="T77" fmla="*/ 162 h 225"/>
              <a:gd name="T78" fmla="*/ 125 w 147"/>
              <a:gd name="T79" fmla="*/ 175 h 225"/>
              <a:gd name="T80" fmla="*/ 134 w 147"/>
              <a:gd name="T81" fmla="*/ 191 h 225"/>
              <a:gd name="T82" fmla="*/ 147 w 147"/>
              <a:gd name="T83" fmla="*/ 203 h 225"/>
              <a:gd name="T84" fmla="*/ 147 w 147"/>
              <a:gd name="T85" fmla="*/ 213 h 225"/>
              <a:gd name="T86" fmla="*/ 147 w 147"/>
              <a:gd name="T87" fmla="*/ 216 h 225"/>
              <a:gd name="T88" fmla="*/ 144 w 147"/>
              <a:gd name="T89" fmla="*/ 225 h 225"/>
              <a:gd name="T90" fmla="*/ 140 w 147"/>
              <a:gd name="T91" fmla="*/ 225 h 225"/>
              <a:gd name="T92" fmla="*/ 137 w 147"/>
              <a:gd name="T93" fmla="*/ 225 h 225"/>
              <a:gd name="T94" fmla="*/ 128 w 147"/>
              <a:gd name="T95" fmla="*/ 222 h 225"/>
              <a:gd name="T96" fmla="*/ 125 w 147"/>
              <a:gd name="T97" fmla="*/ 222 h 225"/>
              <a:gd name="T98" fmla="*/ 119 w 147"/>
              <a:gd name="T99" fmla="*/ 222 h 225"/>
              <a:gd name="T100" fmla="*/ 115 w 147"/>
              <a:gd name="T101" fmla="*/ 222 h 225"/>
              <a:gd name="T102" fmla="*/ 84 w 147"/>
              <a:gd name="T103" fmla="*/ 219 h 225"/>
              <a:gd name="T104" fmla="*/ 78 w 147"/>
              <a:gd name="T105" fmla="*/ 219 h 225"/>
              <a:gd name="T106" fmla="*/ 72 w 147"/>
              <a:gd name="T107" fmla="*/ 219 h 225"/>
              <a:gd name="T108" fmla="*/ 62 w 147"/>
              <a:gd name="T109" fmla="*/ 216 h 225"/>
              <a:gd name="T110" fmla="*/ 53 w 147"/>
              <a:gd name="T111" fmla="*/ 219 h 225"/>
              <a:gd name="T112" fmla="*/ 50 w 147"/>
              <a:gd name="T113" fmla="*/ 219 h 225"/>
              <a:gd name="T114" fmla="*/ 25 w 147"/>
              <a:gd name="T115" fmla="*/ 219 h 225"/>
              <a:gd name="T116" fmla="*/ 22 w 147"/>
              <a:gd name="T117" fmla="*/ 213 h 225"/>
              <a:gd name="T118" fmla="*/ 19 w 147"/>
              <a:gd name="T119" fmla="*/ 194 h 225"/>
              <a:gd name="T120" fmla="*/ 19 w 147"/>
              <a:gd name="T121" fmla="*/ 181 h 225"/>
              <a:gd name="T122" fmla="*/ 6 w 147"/>
              <a:gd name="T123" fmla="*/ 181 h 225"/>
              <a:gd name="T124" fmla="*/ 0 w 147"/>
              <a:gd name="T125" fmla="*/ 169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7" h="225">
                <a:moveTo>
                  <a:pt x="0" y="169"/>
                </a:moveTo>
                <a:lnTo>
                  <a:pt x="0" y="166"/>
                </a:lnTo>
                <a:lnTo>
                  <a:pt x="3" y="159"/>
                </a:lnTo>
                <a:lnTo>
                  <a:pt x="6" y="156"/>
                </a:lnTo>
                <a:lnTo>
                  <a:pt x="6" y="150"/>
                </a:lnTo>
                <a:lnTo>
                  <a:pt x="6" y="147"/>
                </a:lnTo>
                <a:lnTo>
                  <a:pt x="6" y="147"/>
                </a:lnTo>
                <a:lnTo>
                  <a:pt x="6" y="144"/>
                </a:lnTo>
                <a:lnTo>
                  <a:pt x="9" y="141"/>
                </a:lnTo>
                <a:lnTo>
                  <a:pt x="15" y="137"/>
                </a:lnTo>
                <a:lnTo>
                  <a:pt x="15" y="134"/>
                </a:lnTo>
                <a:lnTo>
                  <a:pt x="22" y="131"/>
                </a:lnTo>
                <a:lnTo>
                  <a:pt x="22" y="128"/>
                </a:lnTo>
                <a:lnTo>
                  <a:pt x="22" y="125"/>
                </a:lnTo>
                <a:lnTo>
                  <a:pt x="28" y="125"/>
                </a:lnTo>
                <a:lnTo>
                  <a:pt x="28" y="122"/>
                </a:lnTo>
                <a:lnTo>
                  <a:pt x="28" y="122"/>
                </a:lnTo>
                <a:lnTo>
                  <a:pt x="34" y="125"/>
                </a:lnTo>
                <a:lnTo>
                  <a:pt x="37" y="125"/>
                </a:lnTo>
                <a:lnTo>
                  <a:pt x="40" y="128"/>
                </a:lnTo>
                <a:lnTo>
                  <a:pt x="44" y="131"/>
                </a:lnTo>
                <a:lnTo>
                  <a:pt x="47" y="134"/>
                </a:lnTo>
                <a:lnTo>
                  <a:pt x="47" y="134"/>
                </a:lnTo>
                <a:lnTo>
                  <a:pt x="53" y="131"/>
                </a:lnTo>
                <a:lnTo>
                  <a:pt x="56" y="128"/>
                </a:lnTo>
                <a:lnTo>
                  <a:pt x="56" y="125"/>
                </a:lnTo>
                <a:lnTo>
                  <a:pt x="56" y="122"/>
                </a:lnTo>
                <a:lnTo>
                  <a:pt x="59" y="122"/>
                </a:lnTo>
                <a:lnTo>
                  <a:pt x="62" y="119"/>
                </a:lnTo>
                <a:lnTo>
                  <a:pt x="62" y="116"/>
                </a:lnTo>
                <a:lnTo>
                  <a:pt x="62" y="112"/>
                </a:lnTo>
                <a:lnTo>
                  <a:pt x="69" y="106"/>
                </a:lnTo>
                <a:lnTo>
                  <a:pt x="69" y="103"/>
                </a:lnTo>
                <a:lnTo>
                  <a:pt x="69" y="100"/>
                </a:lnTo>
                <a:lnTo>
                  <a:pt x="72" y="97"/>
                </a:lnTo>
                <a:lnTo>
                  <a:pt x="75" y="91"/>
                </a:lnTo>
                <a:lnTo>
                  <a:pt x="81" y="87"/>
                </a:lnTo>
                <a:lnTo>
                  <a:pt x="81" y="84"/>
                </a:lnTo>
                <a:lnTo>
                  <a:pt x="81" y="81"/>
                </a:lnTo>
                <a:lnTo>
                  <a:pt x="81" y="75"/>
                </a:lnTo>
                <a:lnTo>
                  <a:pt x="84" y="72"/>
                </a:lnTo>
                <a:lnTo>
                  <a:pt x="90" y="72"/>
                </a:lnTo>
                <a:lnTo>
                  <a:pt x="94" y="65"/>
                </a:lnTo>
                <a:lnTo>
                  <a:pt x="94" y="62"/>
                </a:lnTo>
                <a:lnTo>
                  <a:pt x="94" y="56"/>
                </a:lnTo>
                <a:lnTo>
                  <a:pt x="94" y="53"/>
                </a:lnTo>
                <a:lnTo>
                  <a:pt x="94" y="50"/>
                </a:lnTo>
                <a:lnTo>
                  <a:pt x="97" y="44"/>
                </a:lnTo>
                <a:lnTo>
                  <a:pt x="100" y="40"/>
                </a:lnTo>
                <a:lnTo>
                  <a:pt x="100" y="40"/>
                </a:lnTo>
                <a:lnTo>
                  <a:pt x="103" y="37"/>
                </a:lnTo>
                <a:lnTo>
                  <a:pt x="106" y="37"/>
                </a:lnTo>
                <a:lnTo>
                  <a:pt x="109" y="34"/>
                </a:lnTo>
                <a:lnTo>
                  <a:pt x="112" y="31"/>
                </a:lnTo>
                <a:lnTo>
                  <a:pt x="115" y="31"/>
                </a:lnTo>
                <a:lnTo>
                  <a:pt x="112" y="25"/>
                </a:lnTo>
                <a:lnTo>
                  <a:pt x="112" y="22"/>
                </a:lnTo>
                <a:lnTo>
                  <a:pt x="112" y="19"/>
                </a:lnTo>
                <a:lnTo>
                  <a:pt x="109" y="19"/>
                </a:lnTo>
                <a:lnTo>
                  <a:pt x="106" y="15"/>
                </a:lnTo>
                <a:lnTo>
                  <a:pt x="106" y="9"/>
                </a:lnTo>
                <a:lnTo>
                  <a:pt x="106" y="6"/>
                </a:lnTo>
                <a:lnTo>
                  <a:pt x="103" y="0"/>
                </a:lnTo>
                <a:lnTo>
                  <a:pt x="112" y="6"/>
                </a:lnTo>
                <a:lnTo>
                  <a:pt x="119" y="9"/>
                </a:lnTo>
                <a:lnTo>
                  <a:pt x="119" y="15"/>
                </a:lnTo>
                <a:lnTo>
                  <a:pt x="122" y="19"/>
                </a:lnTo>
                <a:lnTo>
                  <a:pt x="122" y="22"/>
                </a:lnTo>
                <a:lnTo>
                  <a:pt x="125" y="25"/>
                </a:lnTo>
                <a:lnTo>
                  <a:pt x="125" y="28"/>
                </a:lnTo>
                <a:lnTo>
                  <a:pt x="122" y="31"/>
                </a:lnTo>
                <a:lnTo>
                  <a:pt x="122" y="34"/>
                </a:lnTo>
                <a:lnTo>
                  <a:pt x="125" y="34"/>
                </a:lnTo>
                <a:lnTo>
                  <a:pt x="125" y="40"/>
                </a:lnTo>
                <a:lnTo>
                  <a:pt x="122" y="44"/>
                </a:lnTo>
                <a:lnTo>
                  <a:pt x="122" y="47"/>
                </a:lnTo>
                <a:lnTo>
                  <a:pt x="125" y="53"/>
                </a:lnTo>
                <a:lnTo>
                  <a:pt x="128" y="53"/>
                </a:lnTo>
                <a:lnTo>
                  <a:pt x="128" y="56"/>
                </a:lnTo>
                <a:lnTo>
                  <a:pt x="134" y="62"/>
                </a:lnTo>
                <a:lnTo>
                  <a:pt x="134" y="62"/>
                </a:lnTo>
                <a:lnTo>
                  <a:pt x="134" y="62"/>
                </a:lnTo>
                <a:lnTo>
                  <a:pt x="131" y="62"/>
                </a:lnTo>
                <a:lnTo>
                  <a:pt x="128" y="62"/>
                </a:lnTo>
                <a:lnTo>
                  <a:pt x="125" y="62"/>
                </a:lnTo>
                <a:lnTo>
                  <a:pt x="122" y="62"/>
                </a:lnTo>
                <a:lnTo>
                  <a:pt x="119" y="62"/>
                </a:lnTo>
                <a:lnTo>
                  <a:pt x="115" y="62"/>
                </a:lnTo>
                <a:lnTo>
                  <a:pt x="112" y="62"/>
                </a:lnTo>
                <a:lnTo>
                  <a:pt x="109" y="62"/>
                </a:lnTo>
                <a:lnTo>
                  <a:pt x="106" y="62"/>
                </a:lnTo>
                <a:lnTo>
                  <a:pt x="106" y="65"/>
                </a:lnTo>
                <a:lnTo>
                  <a:pt x="106" y="65"/>
                </a:lnTo>
                <a:lnTo>
                  <a:pt x="106" y="72"/>
                </a:lnTo>
                <a:lnTo>
                  <a:pt x="106" y="72"/>
                </a:lnTo>
                <a:lnTo>
                  <a:pt x="109" y="75"/>
                </a:lnTo>
                <a:lnTo>
                  <a:pt x="109" y="75"/>
                </a:lnTo>
                <a:lnTo>
                  <a:pt x="112" y="78"/>
                </a:lnTo>
                <a:lnTo>
                  <a:pt x="119" y="84"/>
                </a:lnTo>
                <a:lnTo>
                  <a:pt x="128" y="91"/>
                </a:lnTo>
                <a:lnTo>
                  <a:pt x="131" y="94"/>
                </a:lnTo>
                <a:lnTo>
                  <a:pt x="134" y="100"/>
                </a:lnTo>
                <a:lnTo>
                  <a:pt x="137" y="103"/>
                </a:lnTo>
                <a:lnTo>
                  <a:pt x="137" y="109"/>
                </a:lnTo>
                <a:lnTo>
                  <a:pt x="134" y="112"/>
                </a:lnTo>
                <a:lnTo>
                  <a:pt x="131" y="116"/>
                </a:lnTo>
                <a:lnTo>
                  <a:pt x="128" y="119"/>
                </a:lnTo>
                <a:lnTo>
                  <a:pt x="125" y="125"/>
                </a:lnTo>
                <a:lnTo>
                  <a:pt x="122" y="131"/>
                </a:lnTo>
                <a:lnTo>
                  <a:pt x="119" y="134"/>
                </a:lnTo>
                <a:lnTo>
                  <a:pt x="115" y="137"/>
                </a:lnTo>
                <a:lnTo>
                  <a:pt x="115" y="141"/>
                </a:lnTo>
                <a:lnTo>
                  <a:pt x="115" y="144"/>
                </a:lnTo>
                <a:lnTo>
                  <a:pt x="115" y="150"/>
                </a:lnTo>
                <a:lnTo>
                  <a:pt x="115" y="153"/>
                </a:lnTo>
                <a:lnTo>
                  <a:pt x="119" y="159"/>
                </a:lnTo>
                <a:lnTo>
                  <a:pt x="119" y="162"/>
                </a:lnTo>
                <a:lnTo>
                  <a:pt x="119" y="172"/>
                </a:lnTo>
                <a:lnTo>
                  <a:pt x="119" y="172"/>
                </a:lnTo>
                <a:lnTo>
                  <a:pt x="125" y="175"/>
                </a:lnTo>
                <a:lnTo>
                  <a:pt x="128" y="178"/>
                </a:lnTo>
                <a:lnTo>
                  <a:pt x="131" y="184"/>
                </a:lnTo>
                <a:lnTo>
                  <a:pt x="134" y="191"/>
                </a:lnTo>
                <a:lnTo>
                  <a:pt x="137" y="197"/>
                </a:lnTo>
                <a:lnTo>
                  <a:pt x="140" y="197"/>
                </a:lnTo>
                <a:lnTo>
                  <a:pt x="147" y="203"/>
                </a:lnTo>
                <a:lnTo>
                  <a:pt x="147" y="206"/>
                </a:lnTo>
                <a:lnTo>
                  <a:pt x="147" y="209"/>
                </a:lnTo>
                <a:lnTo>
                  <a:pt x="147" y="213"/>
                </a:lnTo>
                <a:lnTo>
                  <a:pt x="147" y="213"/>
                </a:lnTo>
                <a:lnTo>
                  <a:pt x="147" y="213"/>
                </a:lnTo>
                <a:lnTo>
                  <a:pt x="147" y="216"/>
                </a:lnTo>
                <a:lnTo>
                  <a:pt x="144" y="219"/>
                </a:lnTo>
                <a:lnTo>
                  <a:pt x="144" y="219"/>
                </a:lnTo>
                <a:lnTo>
                  <a:pt x="144" y="225"/>
                </a:lnTo>
                <a:lnTo>
                  <a:pt x="144" y="225"/>
                </a:lnTo>
                <a:lnTo>
                  <a:pt x="144" y="225"/>
                </a:lnTo>
                <a:lnTo>
                  <a:pt x="140" y="225"/>
                </a:lnTo>
                <a:lnTo>
                  <a:pt x="140" y="225"/>
                </a:lnTo>
                <a:lnTo>
                  <a:pt x="137" y="225"/>
                </a:lnTo>
                <a:lnTo>
                  <a:pt x="137" y="225"/>
                </a:lnTo>
                <a:lnTo>
                  <a:pt x="134" y="225"/>
                </a:lnTo>
                <a:lnTo>
                  <a:pt x="131" y="225"/>
                </a:lnTo>
                <a:lnTo>
                  <a:pt x="128" y="222"/>
                </a:lnTo>
                <a:lnTo>
                  <a:pt x="128" y="222"/>
                </a:lnTo>
                <a:lnTo>
                  <a:pt x="125" y="222"/>
                </a:lnTo>
                <a:lnTo>
                  <a:pt x="125" y="222"/>
                </a:lnTo>
                <a:lnTo>
                  <a:pt x="122" y="222"/>
                </a:lnTo>
                <a:lnTo>
                  <a:pt x="122" y="222"/>
                </a:lnTo>
                <a:lnTo>
                  <a:pt x="119" y="222"/>
                </a:lnTo>
                <a:lnTo>
                  <a:pt x="115" y="219"/>
                </a:lnTo>
                <a:lnTo>
                  <a:pt x="115" y="219"/>
                </a:lnTo>
                <a:lnTo>
                  <a:pt x="115" y="222"/>
                </a:lnTo>
                <a:lnTo>
                  <a:pt x="112" y="219"/>
                </a:lnTo>
                <a:lnTo>
                  <a:pt x="87" y="219"/>
                </a:lnTo>
                <a:lnTo>
                  <a:pt x="84" y="219"/>
                </a:lnTo>
                <a:lnTo>
                  <a:pt x="84" y="219"/>
                </a:lnTo>
                <a:lnTo>
                  <a:pt x="84" y="219"/>
                </a:lnTo>
                <a:lnTo>
                  <a:pt x="78" y="219"/>
                </a:lnTo>
                <a:lnTo>
                  <a:pt x="78" y="216"/>
                </a:lnTo>
                <a:lnTo>
                  <a:pt x="75" y="216"/>
                </a:lnTo>
                <a:lnTo>
                  <a:pt x="72" y="219"/>
                </a:lnTo>
                <a:lnTo>
                  <a:pt x="69" y="216"/>
                </a:lnTo>
                <a:lnTo>
                  <a:pt x="62" y="216"/>
                </a:lnTo>
                <a:lnTo>
                  <a:pt x="62" y="216"/>
                </a:lnTo>
                <a:lnTo>
                  <a:pt x="56" y="216"/>
                </a:lnTo>
                <a:lnTo>
                  <a:pt x="56" y="219"/>
                </a:lnTo>
                <a:lnTo>
                  <a:pt x="53" y="219"/>
                </a:lnTo>
                <a:lnTo>
                  <a:pt x="50" y="219"/>
                </a:lnTo>
                <a:lnTo>
                  <a:pt x="50" y="219"/>
                </a:lnTo>
                <a:lnTo>
                  <a:pt x="50" y="219"/>
                </a:lnTo>
                <a:lnTo>
                  <a:pt x="28" y="219"/>
                </a:lnTo>
                <a:lnTo>
                  <a:pt x="25" y="219"/>
                </a:lnTo>
                <a:lnTo>
                  <a:pt x="25" y="219"/>
                </a:lnTo>
                <a:lnTo>
                  <a:pt x="22" y="219"/>
                </a:lnTo>
                <a:lnTo>
                  <a:pt x="25" y="216"/>
                </a:lnTo>
                <a:lnTo>
                  <a:pt x="22" y="213"/>
                </a:lnTo>
                <a:lnTo>
                  <a:pt x="25" y="206"/>
                </a:lnTo>
                <a:lnTo>
                  <a:pt x="22" y="200"/>
                </a:lnTo>
                <a:lnTo>
                  <a:pt x="19" y="194"/>
                </a:lnTo>
                <a:lnTo>
                  <a:pt x="19" y="187"/>
                </a:lnTo>
                <a:lnTo>
                  <a:pt x="22" y="184"/>
                </a:lnTo>
                <a:lnTo>
                  <a:pt x="19" y="181"/>
                </a:lnTo>
                <a:lnTo>
                  <a:pt x="12" y="184"/>
                </a:lnTo>
                <a:lnTo>
                  <a:pt x="9" y="181"/>
                </a:lnTo>
                <a:lnTo>
                  <a:pt x="6" y="181"/>
                </a:lnTo>
                <a:lnTo>
                  <a:pt x="6" y="169"/>
                </a:lnTo>
                <a:lnTo>
                  <a:pt x="3" y="172"/>
                </a:lnTo>
                <a:lnTo>
                  <a:pt x="0" y="16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8" name="Freeform 136">
            <a:extLst>
              <a:ext uri="{FF2B5EF4-FFF2-40B4-BE49-F238E27FC236}">
                <a16:creationId xmlns:a16="http://schemas.microsoft.com/office/drawing/2014/main" id="{5750FE4B-144F-4393-8D4B-31B30F8722CB}"/>
              </a:ext>
            </a:extLst>
          </p:cNvPr>
          <p:cNvSpPr>
            <a:spLocks/>
          </p:cNvSpPr>
          <p:nvPr userDrawn="1"/>
        </p:nvSpPr>
        <p:spPr bwMode="auto">
          <a:xfrm>
            <a:off x="13705578" y="9238533"/>
            <a:ext cx="355577" cy="387350"/>
          </a:xfrm>
          <a:custGeom>
            <a:avLst/>
            <a:gdLst>
              <a:gd name="T0" fmla="*/ 50 w 112"/>
              <a:gd name="T1" fmla="*/ 3 h 122"/>
              <a:gd name="T2" fmla="*/ 56 w 112"/>
              <a:gd name="T3" fmla="*/ 3 h 122"/>
              <a:gd name="T4" fmla="*/ 62 w 112"/>
              <a:gd name="T5" fmla="*/ 0 h 122"/>
              <a:gd name="T6" fmla="*/ 69 w 112"/>
              <a:gd name="T7" fmla="*/ 0 h 122"/>
              <a:gd name="T8" fmla="*/ 75 w 112"/>
              <a:gd name="T9" fmla="*/ 0 h 122"/>
              <a:gd name="T10" fmla="*/ 78 w 112"/>
              <a:gd name="T11" fmla="*/ 3 h 122"/>
              <a:gd name="T12" fmla="*/ 84 w 112"/>
              <a:gd name="T13" fmla="*/ 3 h 122"/>
              <a:gd name="T14" fmla="*/ 87 w 112"/>
              <a:gd name="T15" fmla="*/ 3 h 122"/>
              <a:gd name="T16" fmla="*/ 84 w 112"/>
              <a:gd name="T17" fmla="*/ 6 h 122"/>
              <a:gd name="T18" fmla="*/ 87 w 112"/>
              <a:gd name="T19" fmla="*/ 15 h 122"/>
              <a:gd name="T20" fmla="*/ 87 w 112"/>
              <a:gd name="T21" fmla="*/ 22 h 122"/>
              <a:gd name="T22" fmla="*/ 90 w 112"/>
              <a:gd name="T23" fmla="*/ 22 h 122"/>
              <a:gd name="T24" fmla="*/ 100 w 112"/>
              <a:gd name="T25" fmla="*/ 22 h 122"/>
              <a:gd name="T26" fmla="*/ 109 w 112"/>
              <a:gd name="T27" fmla="*/ 18 h 122"/>
              <a:gd name="T28" fmla="*/ 112 w 112"/>
              <a:gd name="T29" fmla="*/ 25 h 122"/>
              <a:gd name="T30" fmla="*/ 112 w 112"/>
              <a:gd name="T31" fmla="*/ 31 h 122"/>
              <a:gd name="T32" fmla="*/ 109 w 112"/>
              <a:gd name="T33" fmla="*/ 34 h 122"/>
              <a:gd name="T34" fmla="*/ 103 w 112"/>
              <a:gd name="T35" fmla="*/ 40 h 122"/>
              <a:gd name="T36" fmla="*/ 106 w 112"/>
              <a:gd name="T37" fmla="*/ 43 h 122"/>
              <a:gd name="T38" fmla="*/ 103 w 112"/>
              <a:gd name="T39" fmla="*/ 47 h 122"/>
              <a:gd name="T40" fmla="*/ 100 w 112"/>
              <a:gd name="T41" fmla="*/ 47 h 122"/>
              <a:gd name="T42" fmla="*/ 103 w 112"/>
              <a:gd name="T43" fmla="*/ 50 h 122"/>
              <a:gd name="T44" fmla="*/ 106 w 112"/>
              <a:gd name="T45" fmla="*/ 53 h 122"/>
              <a:gd name="T46" fmla="*/ 109 w 112"/>
              <a:gd name="T47" fmla="*/ 59 h 122"/>
              <a:gd name="T48" fmla="*/ 112 w 112"/>
              <a:gd name="T49" fmla="*/ 65 h 122"/>
              <a:gd name="T50" fmla="*/ 106 w 112"/>
              <a:gd name="T51" fmla="*/ 87 h 122"/>
              <a:gd name="T52" fmla="*/ 106 w 112"/>
              <a:gd name="T53" fmla="*/ 93 h 122"/>
              <a:gd name="T54" fmla="*/ 103 w 112"/>
              <a:gd name="T55" fmla="*/ 90 h 122"/>
              <a:gd name="T56" fmla="*/ 94 w 112"/>
              <a:gd name="T57" fmla="*/ 90 h 122"/>
              <a:gd name="T58" fmla="*/ 90 w 112"/>
              <a:gd name="T59" fmla="*/ 90 h 122"/>
              <a:gd name="T60" fmla="*/ 81 w 112"/>
              <a:gd name="T61" fmla="*/ 90 h 122"/>
              <a:gd name="T62" fmla="*/ 75 w 112"/>
              <a:gd name="T63" fmla="*/ 81 h 122"/>
              <a:gd name="T64" fmla="*/ 75 w 112"/>
              <a:gd name="T65" fmla="*/ 87 h 122"/>
              <a:gd name="T66" fmla="*/ 65 w 112"/>
              <a:gd name="T67" fmla="*/ 90 h 122"/>
              <a:gd name="T68" fmla="*/ 62 w 112"/>
              <a:gd name="T69" fmla="*/ 93 h 122"/>
              <a:gd name="T70" fmla="*/ 56 w 112"/>
              <a:gd name="T71" fmla="*/ 93 h 122"/>
              <a:gd name="T72" fmla="*/ 50 w 112"/>
              <a:gd name="T73" fmla="*/ 97 h 122"/>
              <a:gd name="T74" fmla="*/ 53 w 112"/>
              <a:gd name="T75" fmla="*/ 103 h 122"/>
              <a:gd name="T76" fmla="*/ 59 w 112"/>
              <a:gd name="T77" fmla="*/ 100 h 122"/>
              <a:gd name="T78" fmla="*/ 62 w 112"/>
              <a:gd name="T79" fmla="*/ 103 h 122"/>
              <a:gd name="T80" fmla="*/ 62 w 112"/>
              <a:gd name="T81" fmla="*/ 119 h 122"/>
              <a:gd name="T82" fmla="*/ 56 w 112"/>
              <a:gd name="T83" fmla="*/ 112 h 122"/>
              <a:gd name="T84" fmla="*/ 53 w 112"/>
              <a:gd name="T85" fmla="*/ 115 h 122"/>
              <a:gd name="T86" fmla="*/ 50 w 112"/>
              <a:gd name="T87" fmla="*/ 119 h 122"/>
              <a:gd name="T88" fmla="*/ 47 w 112"/>
              <a:gd name="T89" fmla="*/ 122 h 122"/>
              <a:gd name="T90" fmla="*/ 40 w 112"/>
              <a:gd name="T91" fmla="*/ 119 h 122"/>
              <a:gd name="T92" fmla="*/ 31 w 112"/>
              <a:gd name="T93" fmla="*/ 109 h 122"/>
              <a:gd name="T94" fmla="*/ 19 w 112"/>
              <a:gd name="T95" fmla="*/ 97 h 122"/>
              <a:gd name="T96" fmla="*/ 15 w 112"/>
              <a:gd name="T97" fmla="*/ 90 h 122"/>
              <a:gd name="T98" fmla="*/ 9 w 112"/>
              <a:gd name="T99" fmla="*/ 84 h 122"/>
              <a:gd name="T100" fmla="*/ 6 w 112"/>
              <a:gd name="T101" fmla="*/ 75 h 122"/>
              <a:gd name="T102" fmla="*/ 3 w 112"/>
              <a:gd name="T103" fmla="*/ 68 h 122"/>
              <a:gd name="T104" fmla="*/ 0 w 112"/>
              <a:gd name="T105" fmla="*/ 59 h 122"/>
              <a:gd name="T106" fmla="*/ 9 w 112"/>
              <a:gd name="T107" fmla="*/ 56 h 122"/>
              <a:gd name="T108" fmla="*/ 9 w 112"/>
              <a:gd name="T109" fmla="*/ 40 h 122"/>
              <a:gd name="T110" fmla="*/ 22 w 112"/>
              <a:gd name="T111" fmla="*/ 40 h 122"/>
              <a:gd name="T112" fmla="*/ 12 w 112"/>
              <a:gd name="T113" fmla="*/ 34 h 122"/>
              <a:gd name="T114" fmla="*/ 15 w 112"/>
              <a:gd name="T115" fmla="*/ 28 h 122"/>
              <a:gd name="T116" fmla="*/ 19 w 112"/>
              <a:gd name="T117" fmla="*/ 25 h 122"/>
              <a:gd name="T118" fmla="*/ 25 w 112"/>
              <a:gd name="T119" fmla="*/ 28 h 122"/>
              <a:gd name="T120" fmla="*/ 50 w 112"/>
              <a:gd name="T121" fmla="*/ 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2" h="122">
                <a:moveTo>
                  <a:pt x="50" y="3"/>
                </a:moveTo>
                <a:lnTo>
                  <a:pt x="50" y="3"/>
                </a:lnTo>
                <a:lnTo>
                  <a:pt x="53" y="3"/>
                </a:lnTo>
                <a:lnTo>
                  <a:pt x="56" y="3"/>
                </a:lnTo>
                <a:lnTo>
                  <a:pt x="56" y="0"/>
                </a:lnTo>
                <a:lnTo>
                  <a:pt x="62" y="0"/>
                </a:lnTo>
                <a:lnTo>
                  <a:pt x="62" y="0"/>
                </a:lnTo>
                <a:lnTo>
                  <a:pt x="69" y="0"/>
                </a:lnTo>
                <a:lnTo>
                  <a:pt x="72" y="3"/>
                </a:lnTo>
                <a:lnTo>
                  <a:pt x="75" y="0"/>
                </a:lnTo>
                <a:lnTo>
                  <a:pt x="78" y="0"/>
                </a:lnTo>
                <a:lnTo>
                  <a:pt x="78" y="3"/>
                </a:lnTo>
                <a:lnTo>
                  <a:pt x="84" y="3"/>
                </a:lnTo>
                <a:lnTo>
                  <a:pt x="84" y="3"/>
                </a:lnTo>
                <a:lnTo>
                  <a:pt x="84" y="3"/>
                </a:lnTo>
                <a:lnTo>
                  <a:pt x="87" y="3"/>
                </a:lnTo>
                <a:lnTo>
                  <a:pt x="87" y="3"/>
                </a:lnTo>
                <a:lnTo>
                  <a:pt x="84" y="6"/>
                </a:lnTo>
                <a:lnTo>
                  <a:pt x="87" y="12"/>
                </a:lnTo>
                <a:lnTo>
                  <a:pt x="87" y="15"/>
                </a:lnTo>
                <a:lnTo>
                  <a:pt x="87" y="18"/>
                </a:lnTo>
                <a:lnTo>
                  <a:pt x="87" y="22"/>
                </a:lnTo>
                <a:lnTo>
                  <a:pt x="87" y="22"/>
                </a:lnTo>
                <a:lnTo>
                  <a:pt x="90" y="22"/>
                </a:lnTo>
                <a:lnTo>
                  <a:pt x="94" y="22"/>
                </a:lnTo>
                <a:lnTo>
                  <a:pt x="100" y="22"/>
                </a:lnTo>
                <a:lnTo>
                  <a:pt x="103" y="18"/>
                </a:lnTo>
                <a:lnTo>
                  <a:pt x="109" y="18"/>
                </a:lnTo>
                <a:lnTo>
                  <a:pt x="112" y="22"/>
                </a:lnTo>
                <a:lnTo>
                  <a:pt x="112" y="25"/>
                </a:lnTo>
                <a:lnTo>
                  <a:pt x="109" y="28"/>
                </a:lnTo>
                <a:lnTo>
                  <a:pt x="112" y="31"/>
                </a:lnTo>
                <a:lnTo>
                  <a:pt x="112" y="34"/>
                </a:lnTo>
                <a:lnTo>
                  <a:pt x="109" y="34"/>
                </a:lnTo>
                <a:lnTo>
                  <a:pt x="103" y="37"/>
                </a:lnTo>
                <a:lnTo>
                  <a:pt x="103" y="40"/>
                </a:lnTo>
                <a:lnTo>
                  <a:pt x="103" y="40"/>
                </a:lnTo>
                <a:lnTo>
                  <a:pt x="106" y="43"/>
                </a:lnTo>
                <a:lnTo>
                  <a:pt x="103" y="43"/>
                </a:lnTo>
                <a:lnTo>
                  <a:pt x="103" y="47"/>
                </a:lnTo>
                <a:lnTo>
                  <a:pt x="100" y="47"/>
                </a:lnTo>
                <a:lnTo>
                  <a:pt x="100" y="47"/>
                </a:lnTo>
                <a:lnTo>
                  <a:pt x="103" y="50"/>
                </a:lnTo>
                <a:lnTo>
                  <a:pt x="103" y="50"/>
                </a:lnTo>
                <a:lnTo>
                  <a:pt x="106" y="53"/>
                </a:lnTo>
                <a:lnTo>
                  <a:pt x="106" y="53"/>
                </a:lnTo>
                <a:lnTo>
                  <a:pt x="109" y="56"/>
                </a:lnTo>
                <a:lnTo>
                  <a:pt x="109" y="59"/>
                </a:lnTo>
                <a:lnTo>
                  <a:pt x="112" y="62"/>
                </a:lnTo>
                <a:lnTo>
                  <a:pt x="112" y="65"/>
                </a:lnTo>
                <a:lnTo>
                  <a:pt x="109" y="72"/>
                </a:lnTo>
                <a:lnTo>
                  <a:pt x="106" y="87"/>
                </a:lnTo>
                <a:lnTo>
                  <a:pt x="106" y="90"/>
                </a:lnTo>
                <a:lnTo>
                  <a:pt x="106" y="93"/>
                </a:lnTo>
                <a:lnTo>
                  <a:pt x="103" y="93"/>
                </a:lnTo>
                <a:lnTo>
                  <a:pt x="103" y="90"/>
                </a:lnTo>
                <a:lnTo>
                  <a:pt x="100" y="90"/>
                </a:lnTo>
                <a:lnTo>
                  <a:pt x="94" y="90"/>
                </a:lnTo>
                <a:lnTo>
                  <a:pt x="94" y="90"/>
                </a:lnTo>
                <a:lnTo>
                  <a:pt x="90" y="90"/>
                </a:lnTo>
                <a:lnTo>
                  <a:pt x="84" y="93"/>
                </a:lnTo>
                <a:lnTo>
                  <a:pt x="81" y="90"/>
                </a:lnTo>
                <a:lnTo>
                  <a:pt x="78" y="81"/>
                </a:lnTo>
                <a:lnTo>
                  <a:pt x="75" y="81"/>
                </a:lnTo>
                <a:lnTo>
                  <a:pt x="75" y="84"/>
                </a:lnTo>
                <a:lnTo>
                  <a:pt x="75" y="87"/>
                </a:lnTo>
                <a:lnTo>
                  <a:pt x="75" y="90"/>
                </a:lnTo>
                <a:lnTo>
                  <a:pt x="65" y="90"/>
                </a:lnTo>
                <a:lnTo>
                  <a:pt x="62" y="90"/>
                </a:lnTo>
                <a:lnTo>
                  <a:pt x="62" y="93"/>
                </a:lnTo>
                <a:lnTo>
                  <a:pt x="59" y="93"/>
                </a:lnTo>
                <a:lnTo>
                  <a:pt x="56" y="93"/>
                </a:lnTo>
                <a:lnTo>
                  <a:pt x="53" y="93"/>
                </a:lnTo>
                <a:lnTo>
                  <a:pt x="50" y="97"/>
                </a:lnTo>
                <a:lnTo>
                  <a:pt x="53" y="97"/>
                </a:lnTo>
                <a:lnTo>
                  <a:pt x="53" y="103"/>
                </a:lnTo>
                <a:lnTo>
                  <a:pt x="56" y="100"/>
                </a:lnTo>
                <a:lnTo>
                  <a:pt x="59" y="100"/>
                </a:lnTo>
                <a:lnTo>
                  <a:pt x="59" y="103"/>
                </a:lnTo>
                <a:lnTo>
                  <a:pt x="62" y="103"/>
                </a:lnTo>
                <a:lnTo>
                  <a:pt x="62" y="115"/>
                </a:lnTo>
                <a:lnTo>
                  <a:pt x="62" y="119"/>
                </a:lnTo>
                <a:lnTo>
                  <a:pt x="59" y="112"/>
                </a:lnTo>
                <a:lnTo>
                  <a:pt x="56" y="112"/>
                </a:lnTo>
                <a:lnTo>
                  <a:pt x="56" y="115"/>
                </a:lnTo>
                <a:lnTo>
                  <a:pt x="53" y="115"/>
                </a:lnTo>
                <a:lnTo>
                  <a:pt x="50" y="115"/>
                </a:lnTo>
                <a:lnTo>
                  <a:pt x="50" y="119"/>
                </a:lnTo>
                <a:lnTo>
                  <a:pt x="47" y="122"/>
                </a:lnTo>
                <a:lnTo>
                  <a:pt x="47" y="122"/>
                </a:lnTo>
                <a:lnTo>
                  <a:pt x="44" y="122"/>
                </a:lnTo>
                <a:lnTo>
                  <a:pt x="40" y="119"/>
                </a:lnTo>
                <a:lnTo>
                  <a:pt x="34" y="115"/>
                </a:lnTo>
                <a:lnTo>
                  <a:pt x="31" y="109"/>
                </a:lnTo>
                <a:lnTo>
                  <a:pt x="25" y="103"/>
                </a:lnTo>
                <a:lnTo>
                  <a:pt x="19" y="97"/>
                </a:lnTo>
                <a:lnTo>
                  <a:pt x="19" y="97"/>
                </a:lnTo>
                <a:lnTo>
                  <a:pt x="15" y="90"/>
                </a:lnTo>
                <a:lnTo>
                  <a:pt x="12" y="87"/>
                </a:lnTo>
                <a:lnTo>
                  <a:pt x="9" y="84"/>
                </a:lnTo>
                <a:lnTo>
                  <a:pt x="9" y="78"/>
                </a:lnTo>
                <a:lnTo>
                  <a:pt x="6" y="75"/>
                </a:lnTo>
                <a:lnTo>
                  <a:pt x="6" y="72"/>
                </a:lnTo>
                <a:lnTo>
                  <a:pt x="3" y="68"/>
                </a:lnTo>
                <a:lnTo>
                  <a:pt x="0" y="59"/>
                </a:lnTo>
                <a:lnTo>
                  <a:pt x="0" y="59"/>
                </a:lnTo>
                <a:lnTo>
                  <a:pt x="6" y="59"/>
                </a:lnTo>
                <a:lnTo>
                  <a:pt x="9" y="56"/>
                </a:lnTo>
                <a:lnTo>
                  <a:pt x="9" y="47"/>
                </a:lnTo>
                <a:lnTo>
                  <a:pt x="9" y="40"/>
                </a:lnTo>
                <a:lnTo>
                  <a:pt x="12" y="43"/>
                </a:lnTo>
                <a:lnTo>
                  <a:pt x="22" y="40"/>
                </a:lnTo>
                <a:lnTo>
                  <a:pt x="15" y="40"/>
                </a:lnTo>
                <a:lnTo>
                  <a:pt x="12" y="34"/>
                </a:lnTo>
                <a:lnTo>
                  <a:pt x="15" y="31"/>
                </a:lnTo>
                <a:lnTo>
                  <a:pt x="15" y="28"/>
                </a:lnTo>
                <a:lnTo>
                  <a:pt x="19" y="28"/>
                </a:lnTo>
                <a:lnTo>
                  <a:pt x="19" y="25"/>
                </a:lnTo>
                <a:lnTo>
                  <a:pt x="22" y="25"/>
                </a:lnTo>
                <a:lnTo>
                  <a:pt x="25" y="28"/>
                </a:lnTo>
                <a:lnTo>
                  <a:pt x="50" y="28"/>
                </a:lnTo>
                <a:lnTo>
                  <a:pt x="50" y="3"/>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9" name="Freeform 137">
            <a:extLst>
              <a:ext uri="{FF2B5EF4-FFF2-40B4-BE49-F238E27FC236}">
                <a16:creationId xmlns:a16="http://schemas.microsoft.com/office/drawing/2014/main" id="{23A3A45C-16CF-0185-40AF-0A7FB1AE0688}"/>
              </a:ext>
            </a:extLst>
          </p:cNvPr>
          <p:cNvSpPr>
            <a:spLocks/>
          </p:cNvSpPr>
          <p:nvPr userDrawn="1"/>
        </p:nvSpPr>
        <p:spPr bwMode="auto">
          <a:xfrm>
            <a:off x="13734152" y="9248056"/>
            <a:ext cx="130168" cy="79376"/>
          </a:xfrm>
          <a:custGeom>
            <a:avLst/>
            <a:gdLst>
              <a:gd name="T0" fmla="*/ 6 w 41"/>
              <a:gd name="T1" fmla="*/ 25 h 25"/>
              <a:gd name="T2" fmla="*/ 10 w 41"/>
              <a:gd name="T3" fmla="*/ 25 h 25"/>
              <a:gd name="T4" fmla="*/ 10 w 41"/>
              <a:gd name="T5" fmla="*/ 22 h 25"/>
              <a:gd name="T6" fmla="*/ 13 w 41"/>
              <a:gd name="T7" fmla="*/ 22 h 25"/>
              <a:gd name="T8" fmla="*/ 16 w 41"/>
              <a:gd name="T9" fmla="*/ 25 h 25"/>
              <a:gd name="T10" fmla="*/ 41 w 41"/>
              <a:gd name="T11" fmla="*/ 25 h 25"/>
              <a:gd name="T12" fmla="*/ 41 w 41"/>
              <a:gd name="T13" fmla="*/ 0 h 25"/>
              <a:gd name="T14" fmla="*/ 19 w 41"/>
              <a:gd name="T15" fmla="*/ 0 h 25"/>
              <a:gd name="T16" fmla="*/ 16 w 41"/>
              <a:gd name="T17" fmla="*/ 0 h 25"/>
              <a:gd name="T18" fmla="*/ 16 w 41"/>
              <a:gd name="T19" fmla="*/ 0 h 25"/>
              <a:gd name="T20" fmla="*/ 13 w 41"/>
              <a:gd name="T21" fmla="*/ 0 h 25"/>
              <a:gd name="T22" fmla="*/ 10 w 41"/>
              <a:gd name="T23" fmla="*/ 0 h 25"/>
              <a:gd name="T24" fmla="*/ 13 w 41"/>
              <a:gd name="T25" fmla="*/ 3 h 25"/>
              <a:gd name="T26" fmla="*/ 6 w 41"/>
              <a:gd name="T27" fmla="*/ 12 h 25"/>
              <a:gd name="T28" fmla="*/ 0 w 41"/>
              <a:gd name="T29" fmla="*/ 22 h 25"/>
              <a:gd name="T30" fmla="*/ 6 w 41"/>
              <a:gd name="T31" fmla="*/ 22 h 25"/>
              <a:gd name="T32" fmla="*/ 6 w 41"/>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 h="25">
                <a:moveTo>
                  <a:pt x="6" y="25"/>
                </a:moveTo>
                <a:lnTo>
                  <a:pt x="10" y="25"/>
                </a:lnTo>
                <a:lnTo>
                  <a:pt x="10" y="22"/>
                </a:lnTo>
                <a:lnTo>
                  <a:pt x="13" y="22"/>
                </a:lnTo>
                <a:lnTo>
                  <a:pt x="16" y="25"/>
                </a:lnTo>
                <a:lnTo>
                  <a:pt x="41" y="25"/>
                </a:lnTo>
                <a:lnTo>
                  <a:pt x="41" y="0"/>
                </a:lnTo>
                <a:lnTo>
                  <a:pt x="19" y="0"/>
                </a:lnTo>
                <a:lnTo>
                  <a:pt x="16" y="0"/>
                </a:lnTo>
                <a:lnTo>
                  <a:pt x="16" y="0"/>
                </a:lnTo>
                <a:lnTo>
                  <a:pt x="13" y="0"/>
                </a:lnTo>
                <a:lnTo>
                  <a:pt x="10" y="0"/>
                </a:lnTo>
                <a:lnTo>
                  <a:pt x="13" y="3"/>
                </a:lnTo>
                <a:lnTo>
                  <a:pt x="6" y="12"/>
                </a:lnTo>
                <a:lnTo>
                  <a:pt x="0" y="22"/>
                </a:lnTo>
                <a:lnTo>
                  <a:pt x="6" y="22"/>
                </a:lnTo>
                <a:lnTo>
                  <a:pt x="6" y="25"/>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0" name="Freeform 138">
            <a:extLst>
              <a:ext uri="{FF2B5EF4-FFF2-40B4-BE49-F238E27FC236}">
                <a16:creationId xmlns:a16="http://schemas.microsoft.com/office/drawing/2014/main" id="{3915A2D3-2717-6D12-CE57-80FED6575B36}"/>
              </a:ext>
            </a:extLst>
          </p:cNvPr>
          <p:cNvSpPr>
            <a:spLocks/>
          </p:cNvSpPr>
          <p:nvPr userDrawn="1"/>
        </p:nvSpPr>
        <p:spPr bwMode="auto">
          <a:xfrm>
            <a:off x="13854795" y="9136933"/>
            <a:ext cx="476219" cy="568326"/>
          </a:xfrm>
          <a:custGeom>
            <a:avLst/>
            <a:gdLst>
              <a:gd name="T0" fmla="*/ 3 w 150"/>
              <a:gd name="T1" fmla="*/ 147 h 179"/>
              <a:gd name="T2" fmla="*/ 9 w 150"/>
              <a:gd name="T3" fmla="*/ 144 h 179"/>
              <a:gd name="T4" fmla="*/ 15 w 150"/>
              <a:gd name="T5" fmla="*/ 147 h 179"/>
              <a:gd name="T6" fmla="*/ 12 w 150"/>
              <a:gd name="T7" fmla="*/ 132 h 179"/>
              <a:gd name="T8" fmla="*/ 6 w 150"/>
              <a:gd name="T9" fmla="*/ 129 h 179"/>
              <a:gd name="T10" fmla="*/ 9 w 150"/>
              <a:gd name="T11" fmla="*/ 125 h 179"/>
              <a:gd name="T12" fmla="*/ 15 w 150"/>
              <a:gd name="T13" fmla="*/ 122 h 179"/>
              <a:gd name="T14" fmla="*/ 28 w 150"/>
              <a:gd name="T15" fmla="*/ 119 h 179"/>
              <a:gd name="T16" fmla="*/ 31 w 150"/>
              <a:gd name="T17" fmla="*/ 113 h 179"/>
              <a:gd name="T18" fmla="*/ 43 w 150"/>
              <a:gd name="T19" fmla="*/ 122 h 179"/>
              <a:gd name="T20" fmla="*/ 53 w 150"/>
              <a:gd name="T21" fmla="*/ 122 h 179"/>
              <a:gd name="T22" fmla="*/ 59 w 150"/>
              <a:gd name="T23" fmla="*/ 125 h 179"/>
              <a:gd name="T24" fmla="*/ 62 w 150"/>
              <a:gd name="T25" fmla="*/ 104 h 179"/>
              <a:gd name="T26" fmla="*/ 62 w 150"/>
              <a:gd name="T27" fmla="*/ 91 h 179"/>
              <a:gd name="T28" fmla="*/ 59 w 150"/>
              <a:gd name="T29" fmla="*/ 85 h 179"/>
              <a:gd name="T30" fmla="*/ 53 w 150"/>
              <a:gd name="T31" fmla="*/ 79 h 179"/>
              <a:gd name="T32" fmla="*/ 56 w 150"/>
              <a:gd name="T33" fmla="*/ 75 h 179"/>
              <a:gd name="T34" fmla="*/ 56 w 150"/>
              <a:gd name="T35" fmla="*/ 72 h 179"/>
              <a:gd name="T36" fmla="*/ 65 w 150"/>
              <a:gd name="T37" fmla="*/ 66 h 179"/>
              <a:gd name="T38" fmla="*/ 65 w 150"/>
              <a:gd name="T39" fmla="*/ 57 h 179"/>
              <a:gd name="T40" fmla="*/ 56 w 150"/>
              <a:gd name="T41" fmla="*/ 50 h 179"/>
              <a:gd name="T42" fmla="*/ 43 w 150"/>
              <a:gd name="T43" fmla="*/ 54 h 179"/>
              <a:gd name="T44" fmla="*/ 40 w 150"/>
              <a:gd name="T45" fmla="*/ 50 h 179"/>
              <a:gd name="T46" fmla="*/ 37 w 150"/>
              <a:gd name="T47" fmla="*/ 38 h 179"/>
              <a:gd name="T48" fmla="*/ 68 w 150"/>
              <a:gd name="T49" fmla="*/ 38 h 179"/>
              <a:gd name="T50" fmla="*/ 72 w 150"/>
              <a:gd name="T51" fmla="*/ 38 h 179"/>
              <a:gd name="T52" fmla="*/ 78 w 150"/>
              <a:gd name="T53" fmla="*/ 38 h 179"/>
              <a:gd name="T54" fmla="*/ 81 w 150"/>
              <a:gd name="T55" fmla="*/ 38 h 179"/>
              <a:gd name="T56" fmla="*/ 90 w 150"/>
              <a:gd name="T57" fmla="*/ 41 h 179"/>
              <a:gd name="T58" fmla="*/ 93 w 150"/>
              <a:gd name="T59" fmla="*/ 41 h 179"/>
              <a:gd name="T60" fmla="*/ 97 w 150"/>
              <a:gd name="T61" fmla="*/ 41 h 179"/>
              <a:gd name="T62" fmla="*/ 100 w 150"/>
              <a:gd name="T63" fmla="*/ 32 h 179"/>
              <a:gd name="T64" fmla="*/ 115 w 150"/>
              <a:gd name="T65" fmla="*/ 10 h 179"/>
              <a:gd name="T66" fmla="*/ 128 w 150"/>
              <a:gd name="T67" fmla="*/ 3 h 179"/>
              <a:gd name="T68" fmla="*/ 137 w 150"/>
              <a:gd name="T69" fmla="*/ 0 h 179"/>
              <a:gd name="T70" fmla="*/ 143 w 150"/>
              <a:gd name="T71" fmla="*/ 3 h 179"/>
              <a:gd name="T72" fmla="*/ 147 w 150"/>
              <a:gd name="T73" fmla="*/ 3 h 179"/>
              <a:gd name="T74" fmla="*/ 147 w 150"/>
              <a:gd name="T75" fmla="*/ 19 h 179"/>
              <a:gd name="T76" fmla="*/ 137 w 150"/>
              <a:gd name="T77" fmla="*/ 41 h 179"/>
              <a:gd name="T78" fmla="*/ 134 w 150"/>
              <a:gd name="T79" fmla="*/ 50 h 179"/>
              <a:gd name="T80" fmla="*/ 134 w 150"/>
              <a:gd name="T81" fmla="*/ 66 h 179"/>
              <a:gd name="T82" fmla="*/ 131 w 150"/>
              <a:gd name="T83" fmla="*/ 75 h 179"/>
              <a:gd name="T84" fmla="*/ 122 w 150"/>
              <a:gd name="T85" fmla="*/ 97 h 179"/>
              <a:gd name="T86" fmla="*/ 112 w 150"/>
              <a:gd name="T87" fmla="*/ 100 h 179"/>
              <a:gd name="T88" fmla="*/ 106 w 150"/>
              <a:gd name="T89" fmla="*/ 113 h 179"/>
              <a:gd name="T90" fmla="*/ 97 w 150"/>
              <a:gd name="T91" fmla="*/ 129 h 179"/>
              <a:gd name="T92" fmla="*/ 97 w 150"/>
              <a:gd name="T93" fmla="*/ 147 h 179"/>
              <a:gd name="T94" fmla="*/ 90 w 150"/>
              <a:gd name="T95" fmla="*/ 157 h 179"/>
              <a:gd name="T96" fmla="*/ 78 w 150"/>
              <a:gd name="T97" fmla="*/ 169 h 179"/>
              <a:gd name="T98" fmla="*/ 65 w 150"/>
              <a:gd name="T99" fmla="*/ 172 h 179"/>
              <a:gd name="T100" fmla="*/ 65 w 150"/>
              <a:gd name="T101" fmla="*/ 163 h 179"/>
              <a:gd name="T102" fmla="*/ 56 w 150"/>
              <a:gd name="T103" fmla="*/ 166 h 179"/>
              <a:gd name="T104" fmla="*/ 50 w 150"/>
              <a:gd name="T105" fmla="*/ 172 h 179"/>
              <a:gd name="T106" fmla="*/ 43 w 150"/>
              <a:gd name="T107" fmla="*/ 172 h 179"/>
              <a:gd name="T108" fmla="*/ 37 w 150"/>
              <a:gd name="T109" fmla="*/ 172 h 179"/>
              <a:gd name="T110" fmla="*/ 34 w 150"/>
              <a:gd name="T111" fmla="*/ 166 h 179"/>
              <a:gd name="T112" fmla="*/ 28 w 150"/>
              <a:gd name="T113" fmla="*/ 166 h 179"/>
              <a:gd name="T114" fmla="*/ 22 w 150"/>
              <a:gd name="T115" fmla="*/ 172 h 179"/>
              <a:gd name="T116" fmla="*/ 15 w 150"/>
              <a:gd name="T117" fmla="*/ 179 h 179"/>
              <a:gd name="T118" fmla="*/ 12 w 150"/>
              <a:gd name="T119" fmla="*/ 169 h 179"/>
              <a:gd name="T120" fmla="*/ 3 w 150"/>
              <a:gd name="T121" fmla="*/ 16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179">
                <a:moveTo>
                  <a:pt x="0" y="154"/>
                </a:moveTo>
                <a:lnTo>
                  <a:pt x="3" y="151"/>
                </a:lnTo>
                <a:lnTo>
                  <a:pt x="3" y="147"/>
                </a:lnTo>
                <a:lnTo>
                  <a:pt x="6" y="147"/>
                </a:lnTo>
                <a:lnTo>
                  <a:pt x="9" y="147"/>
                </a:lnTo>
                <a:lnTo>
                  <a:pt x="9" y="144"/>
                </a:lnTo>
                <a:lnTo>
                  <a:pt x="12" y="144"/>
                </a:lnTo>
                <a:lnTo>
                  <a:pt x="15" y="151"/>
                </a:lnTo>
                <a:lnTo>
                  <a:pt x="15" y="147"/>
                </a:lnTo>
                <a:lnTo>
                  <a:pt x="15" y="135"/>
                </a:lnTo>
                <a:lnTo>
                  <a:pt x="12" y="135"/>
                </a:lnTo>
                <a:lnTo>
                  <a:pt x="12" y="132"/>
                </a:lnTo>
                <a:lnTo>
                  <a:pt x="9" y="132"/>
                </a:lnTo>
                <a:lnTo>
                  <a:pt x="6" y="135"/>
                </a:lnTo>
                <a:lnTo>
                  <a:pt x="6" y="129"/>
                </a:lnTo>
                <a:lnTo>
                  <a:pt x="3" y="129"/>
                </a:lnTo>
                <a:lnTo>
                  <a:pt x="6" y="125"/>
                </a:lnTo>
                <a:lnTo>
                  <a:pt x="9" y="125"/>
                </a:lnTo>
                <a:lnTo>
                  <a:pt x="12" y="125"/>
                </a:lnTo>
                <a:lnTo>
                  <a:pt x="15" y="125"/>
                </a:lnTo>
                <a:lnTo>
                  <a:pt x="15" y="122"/>
                </a:lnTo>
                <a:lnTo>
                  <a:pt x="18" y="122"/>
                </a:lnTo>
                <a:lnTo>
                  <a:pt x="28" y="122"/>
                </a:lnTo>
                <a:lnTo>
                  <a:pt x="28" y="119"/>
                </a:lnTo>
                <a:lnTo>
                  <a:pt x="28" y="116"/>
                </a:lnTo>
                <a:lnTo>
                  <a:pt x="28" y="113"/>
                </a:lnTo>
                <a:lnTo>
                  <a:pt x="31" y="113"/>
                </a:lnTo>
                <a:lnTo>
                  <a:pt x="34" y="122"/>
                </a:lnTo>
                <a:lnTo>
                  <a:pt x="37" y="125"/>
                </a:lnTo>
                <a:lnTo>
                  <a:pt x="43" y="122"/>
                </a:lnTo>
                <a:lnTo>
                  <a:pt x="47" y="122"/>
                </a:lnTo>
                <a:lnTo>
                  <a:pt x="47" y="122"/>
                </a:lnTo>
                <a:lnTo>
                  <a:pt x="53" y="122"/>
                </a:lnTo>
                <a:lnTo>
                  <a:pt x="56" y="122"/>
                </a:lnTo>
                <a:lnTo>
                  <a:pt x="56" y="125"/>
                </a:lnTo>
                <a:lnTo>
                  <a:pt x="59" y="125"/>
                </a:lnTo>
                <a:lnTo>
                  <a:pt x="59" y="122"/>
                </a:lnTo>
                <a:lnTo>
                  <a:pt x="59" y="119"/>
                </a:lnTo>
                <a:lnTo>
                  <a:pt x="62" y="104"/>
                </a:lnTo>
                <a:lnTo>
                  <a:pt x="65" y="97"/>
                </a:lnTo>
                <a:lnTo>
                  <a:pt x="65" y="94"/>
                </a:lnTo>
                <a:lnTo>
                  <a:pt x="62" y="91"/>
                </a:lnTo>
                <a:lnTo>
                  <a:pt x="62" y="88"/>
                </a:lnTo>
                <a:lnTo>
                  <a:pt x="59" y="85"/>
                </a:lnTo>
                <a:lnTo>
                  <a:pt x="59" y="85"/>
                </a:lnTo>
                <a:lnTo>
                  <a:pt x="56" y="82"/>
                </a:lnTo>
                <a:lnTo>
                  <a:pt x="56" y="82"/>
                </a:lnTo>
                <a:lnTo>
                  <a:pt x="53" y="79"/>
                </a:lnTo>
                <a:lnTo>
                  <a:pt x="53" y="79"/>
                </a:lnTo>
                <a:lnTo>
                  <a:pt x="56" y="79"/>
                </a:lnTo>
                <a:lnTo>
                  <a:pt x="56" y="75"/>
                </a:lnTo>
                <a:lnTo>
                  <a:pt x="59" y="75"/>
                </a:lnTo>
                <a:lnTo>
                  <a:pt x="56" y="72"/>
                </a:lnTo>
                <a:lnTo>
                  <a:pt x="56" y="72"/>
                </a:lnTo>
                <a:lnTo>
                  <a:pt x="56" y="69"/>
                </a:lnTo>
                <a:lnTo>
                  <a:pt x="62" y="66"/>
                </a:lnTo>
                <a:lnTo>
                  <a:pt x="65" y="66"/>
                </a:lnTo>
                <a:lnTo>
                  <a:pt x="65" y="63"/>
                </a:lnTo>
                <a:lnTo>
                  <a:pt x="62" y="60"/>
                </a:lnTo>
                <a:lnTo>
                  <a:pt x="65" y="57"/>
                </a:lnTo>
                <a:lnTo>
                  <a:pt x="65" y="54"/>
                </a:lnTo>
                <a:lnTo>
                  <a:pt x="62" y="50"/>
                </a:lnTo>
                <a:lnTo>
                  <a:pt x="56" y="50"/>
                </a:lnTo>
                <a:lnTo>
                  <a:pt x="53" y="54"/>
                </a:lnTo>
                <a:lnTo>
                  <a:pt x="47" y="54"/>
                </a:lnTo>
                <a:lnTo>
                  <a:pt x="43" y="54"/>
                </a:lnTo>
                <a:lnTo>
                  <a:pt x="40" y="54"/>
                </a:lnTo>
                <a:lnTo>
                  <a:pt x="40" y="54"/>
                </a:lnTo>
                <a:lnTo>
                  <a:pt x="40" y="50"/>
                </a:lnTo>
                <a:lnTo>
                  <a:pt x="40" y="47"/>
                </a:lnTo>
                <a:lnTo>
                  <a:pt x="40" y="44"/>
                </a:lnTo>
                <a:lnTo>
                  <a:pt x="37" y="38"/>
                </a:lnTo>
                <a:lnTo>
                  <a:pt x="40" y="35"/>
                </a:lnTo>
                <a:lnTo>
                  <a:pt x="65" y="35"/>
                </a:lnTo>
                <a:lnTo>
                  <a:pt x="68" y="38"/>
                </a:lnTo>
                <a:lnTo>
                  <a:pt x="68" y="35"/>
                </a:lnTo>
                <a:lnTo>
                  <a:pt x="68" y="35"/>
                </a:lnTo>
                <a:lnTo>
                  <a:pt x="72" y="38"/>
                </a:lnTo>
                <a:lnTo>
                  <a:pt x="75" y="38"/>
                </a:lnTo>
                <a:lnTo>
                  <a:pt x="75" y="38"/>
                </a:lnTo>
                <a:lnTo>
                  <a:pt x="78" y="38"/>
                </a:lnTo>
                <a:lnTo>
                  <a:pt x="78" y="38"/>
                </a:lnTo>
                <a:lnTo>
                  <a:pt x="81" y="38"/>
                </a:lnTo>
                <a:lnTo>
                  <a:pt x="81" y="38"/>
                </a:lnTo>
                <a:lnTo>
                  <a:pt x="84" y="41"/>
                </a:lnTo>
                <a:lnTo>
                  <a:pt x="87" y="41"/>
                </a:lnTo>
                <a:lnTo>
                  <a:pt x="90" y="41"/>
                </a:lnTo>
                <a:lnTo>
                  <a:pt x="90" y="41"/>
                </a:lnTo>
                <a:lnTo>
                  <a:pt x="93" y="41"/>
                </a:lnTo>
                <a:lnTo>
                  <a:pt x="93" y="41"/>
                </a:lnTo>
                <a:lnTo>
                  <a:pt x="97" y="41"/>
                </a:lnTo>
                <a:lnTo>
                  <a:pt x="97" y="41"/>
                </a:lnTo>
                <a:lnTo>
                  <a:pt x="97" y="41"/>
                </a:lnTo>
                <a:lnTo>
                  <a:pt x="97" y="35"/>
                </a:lnTo>
                <a:lnTo>
                  <a:pt x="97" y="35"/>
                </a:lnTo>
                <a:lnTo>
                  <a:pt x="100" y="32"/>
                </a:lnTo>
                <a:lnTo>
                  <a:pt x="100" y="29"/>
                </a:lnTo>
                <a:lnTo>
                  <a:pt x="109" y="13"/>
                </a:lnTo>
                <a:lnTo>
                  <a:pt x="115" y="10"/>
                </a:lnTo>
                <a:lnTo>
                  <a:pt x="118" y="7"/>
                </a:lnTo>
                <a:lnTo>
                  <a:pt x="118" y="7"/>
                </a:lnTo>
                <a:lnTo>
                  <a:pt x="128" y="3"/>
                </a:lnTo>
                <a:lnTo>
                  <a:pt x="131" y="3"/>
                </a:lnTo>
                <a:lnTo>
                  <a:pt x="134" y="0"/>
                </a:lnTo>
                <a:lnTo>
                  <a:pt x="137" y="0"/>
                </a:lnTo>
                <a:lnTo>
                  <a:pt x="140" y="0"/>
                </a:lnTo>
                <a:lnTo>
                  <a:pt x="140" y="3"/>
                </a:lnTo>
                <a:lnTo>
                  <a:pt x="143" y="3"/>
                </a:lnTo>
                <a:lnTo>
                  <a:pt x="147" y="3"/>
                </a:lnTo>
                <a:lnTo>
                  <a:pt x="150" y="3"/>
                </a:lnTo>
                <a:lnTo>
                  <a:pt x="147" y="3"/>
                </a:lnTo>
                <a:lnTo>
                  <a:pt x="150" y="10"/>
                </a:lnTo>
                <a:lnTo>
                  <a:pt x="150" y="16"/>
                </a:lnTo>
                <a:lnTo>
                  <a:pt x="147" y="19"/>
                </a:lnTo>
                <a:lnTo>
                  <a:pt x="147" y="22"/>
                </a:lnTo>
                <a:lnTo>
                  <a:pt x="137" y="32"/>
                </a:lnTo>
                <a:lnTo>
                  <a:pt x="137" y="41"/>
                </a:lnTo>
                <a:lnTo>
                  <a:pt x="137" y="44"/>
                </a:lnTo>
                <a:lnTo>
                  <a:pt x="137" y="47"/>
                </a:lnTo>
                <a:lnTo>
                  <a:pt x="134" y="50"/>
                </a:lnTo>
                <a:lnTo>
                  <a:pt x="134" y="57"/>
                </a:lnTo>
                <a:lnTo>
                  <a:pt x="134" y="60"/>
                </a:lnTo>
                <a:lnTo>
                  <a:pt x="134" y="66"/>
                </a:lnTo>
                <a:lnTo>
                  <a:pt x="134" y="66"/>
                </a:lnTo>
                <a:lnTo>
                  <a:pt x="134" y="72"/>
                </a:lnTo>
                <a:lnTo>
                  <a:pt x="131" y="75"/>
                </a:lnTo>
                <a:lnTo>
                  <a:pt x="128" y="82"/>
                </a:lnTo>
                <a:lnTo>
                  <a:pt x="128" y="88"/>
                </a:lnTo>
                <a:lnTo>
                  <a:pt x="122" y="97"/>
                </a:lnTo>
                <a:lnTo>
                  <a:pt x="118" y="97"/>
                </a:lnTo>
                <a:lnTo>
                  <a:pt x="115" y="100"/>
                </a:lnTo>
                <a:lnTo>
                  <a:pt x="112" y="100"/>
                </a:lnTo>
                <a:lnTo>
                  <a:pt x="109" y="104"/>
                </a:lnTo>
                <a:lnTo>
                  <a:pt x="106" y="107"/>
                </a:lnTo>
                <a:lnTo>
                  <a:pt x="106" y="113"/>
                </a:lnTo>
                <a:lnTo>
                  <a:pt x="100" y="119"/>
                </a:lnTo>
                <a:lnTo>
                  <a:pt x="97" y="122"/>
                </a:lnTo>
                <a:lnTo>
                  <a:pt x="97" y="129"/>
                </a:lnTo>
                <a:lnTo>
                  <a:pt x="100" y="129"/>
                </a:lnTo>
                <a:lnTo>
                  <a:pt x="97" y="141"/>
                </a:lnTo>
                <a:lnTo>
                  <a:pt x="97" y="147"/>
                </a:lnTo>
                <a:lnTo>
                  <a:pt x="97" y="151"/>
                </a:lnTo>
                <a:lnTo>
                  <a:pt x="93" y="154"/>
                </a:lnTo>
                <a:lnTo>
                  <a:pt x="90" y="157"/>
                </a:lnTo>
                <a:lnTo>
                  <a:pt x="87" y="157"/>
                </a:lnTo>
                <a:lnTo>
                  <a:pt x="84" y="160"/>
                </a:lnTo>
                <a:lnTo>
                  <a:pt x="78" y="169"/>
                </a:lnTo>
                <a:lnTo>
                  <a:pt x="75" y="172"/>
                </a:lnTo>
                <a:lnTo>
                  <a:pt x="68" y="176"/>
                </a:lnTo>
                <a:lnTo>
                  <a:pt x="65" y="172"/>
                </a:lnTo>
                <a:lnTo>
                  <a:pt x="65" y="169"/>
                </a:lnTo>
                <a:lnTo>
                  <a:pt x="62" y="169"/>
                </a:lnTo>
                <a:lnTo>
                  <a:pt x="65" y="163"/>
                </a:lnTo>
                <a:lnTo>
                  <a:pt x="65" y="163"/>
                </a:lnTo>
                <a:lnTo>
                  <a:pt x="59" y="163"/>
                </a:lnTo>
                <a:lnTo>
                  <a:pt x="56" y="166"/>
                </a:lnTo>
                <a:lnTo>
                  <a:pt x="53" y="166"/>
                </a:lnTo>
                <a:lnTo>
                  <a:pt x="50" y="166"/>
                </a:lnTo>
                <a:lnTo>
                  <a:pt x="50" y="172"/>
                </a:lnTo>
                <a:lnTo>
                  <a:pt x="47" y="172"/>
                </a:lnTo>
                <a:lnTo>
                  <a:pt x="43" y="172"/>
                </a:lnTo>
                <a:lnTo>
                  <a:pt x="43" y="172"/>
                </a:lnTo>
                <a:lnTo>
                  <a:pt x="43" y="169"/>
                </a:lnTo>
                <a:lnTo>
                  <a:pt x="40" y="172"/>
                </a:lnTo>
                <a:lnTo>
                  <a:pt x="37" y="172"/>
                </a:lnTo>
                <a:lnTo>
                  <a:pt x="37" y="172"/>
                </a:lnTo>
                <a:lnTo>
                  <a:pt x="37" y="169"/>
                </a:lnTo>
                <a:lnTo>
                  <a:pt x="34" y="166"/>
                </a:lnTo>
                <a:lnTo>
                  <a:pt x="34" y="163"/>
                </a:lnTo>
                <a:lnTo>
                  <a:pt x="31" y="163"/>
                </a:lnTo>
                <a:lnTo>
                  <a:pt x="28" y="166"/>
                </a:lnTo>
                <a:lnTo>
                  <a:pt x="25" y="166"/>
                </a:lnTo>
                <a:lnTo>
                  <a:pt x="25" y="169"/>
                </a:lnTo>
                <a:lnTo>
                  <a:pt x="22" y="172"/>
                </a:lnTo>
                <a:lnTo>
                  <a:pt x="18" y="172"/>
                </a:lnTo>
                <a:lnTo>
                  <a:pt x="18" y="176"/>
                </a:lnTo>
                <a:lnTo>
                  <a:pt x="15" y="179"/>
                </a:lnTo>
                <a:lnTo>
                  <a:pt x="12" y="176"/>
                </a:lnTo>
                <a:lnTo>
                  <a:pt x="15" y="172"/>
                </a:lnTo>
                <a:lnTo>
                  <a:pt x="12" y="169"/>
                </a:lnTo>
                <a:lnTo>
                  <a:pt x="9" y="166"/>
                </a:lnTo>
                <a:lnTo>
                  <a:pt x="6" y="160"/>
                </a:lnTo>
                <a:lnTo>
                  <a:pt x="3" y="160"/>
                </a:lnTo>
                <a:lnTo>
                  <a:pt x="0" y="15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1" name="Freeform 139">
            <a:extLst>
              <a:ext uri="{FF2B5EF4-FFF2-40B4-BE49-F238E27FC236}">
                <a16:creationId xmlns:a16="http://schemas.microsoft.com/office/drawing/2014/main" id="{8BB3328A-4187-DC58-CF07-F1BA02A53C40}"/>
              </a:ext>
            </a:extLst>
          </p:cNvPr>
          <p:cNvSpPr>
            <a:spLocks/>
          </p:cNvSpPr>
          <p:nvPr userDrawn="1"/>
        </p:nvSpPr>
        <p:spPr bwMode="auto">
          <a:xfrm>
            <a:off x="13902416" y="9654459"/>
            <a:ext cx="69845" cy="98426"/>
          </a:xfrm>
          <a:custGeom>
            <a:avLst/>
            <a:gdLst>
              <a:gd name="T0" fmla="*/ 22 w 22"/>
              <a:gd name="T1" fmla="*/ 9 h 31"/>
              <a:gd name="T2" fmla="*/ 22 w 22"/>
              <a:gd name="T3" fmla="*/ 6 h 31"/>
              <a:gd name="T4" fmla="*/ 19 w 22"/>
              <a:gd name="T5" fmla="*/ 3 h 31"/>
              <a:gd name="T6" fmla="*/ 19 w 22"/>
              <a:gd name="T7" fmla="*/ 0 h 31"/>
              <a:gd name="T8" fmla="*/ 16 w 22"/>
              <a:gd name="T9" fmla="*/ 0 h 31"/>
              <a:gd name="T10" fmla="*/ 13 w 22"/>
              <a:gd name="T11" fmla="*/ 3 h 31"/>
              <a:gd name="T12" fmla="*/ 10 w 22"/>
              <a:gd name="T13" fmla="*/ 3 h 31"/>
              <a:gd name="T14" fmla="*/ 10 w 22"/>
              <a:gd name="T15" fmla="*/ 6 h 31"/>
              <a:gd name="T16" fmla="*/ 7 w 22"/>
              <a:gd name="T17" fmla="*/ 9 h 31"/>
              <a:gd name="T18" fmla="*/ 3 w 22"/>
              <a:gd name="T19" fmla="*/ 9 h 31"/>
              <a:gd name="T20" fmla="*/ 3 w 22"/>
              <a:gd name="T21" fmla="*/ 13 h 31"/>
              <a:gd name="T22" fmla="*/ 0 w 22"/>
              <a:gd name="T23" fmla="*/ 16 h 31"/>
              <a:gd name="T24" fmla="*/ 3 w 22"/>
              <a:gd name="T25" fmla="*/ 19 h 31"/>
              <a:gd name="T26" fmla="*/ 3 w 22"/>
              <a:gd name="T27" fmla="*/ 22 h 31"/>
              <a:gd name="T28" fmla="*/ 3 w 22"/>
              <a:gd name="T29" fmla="*/ 28 h 31"/>
              <a:gd name="T30" fmla="*/ 3 w 22"/>
              <a:gd name="T31" fmla="*/ 31 h 31"/>
              <a:gd name="T32" fmla="*/ 7 w 22"/>
              <a:gd name="T33" fmla="*/ 28 h 31"/>
              <a:gd name="T34" fmla="*/ 10 w 22"/>
              <a:gd name="T35" fmla="*/ 28 h 31"/>
              <a:gd name="T36" fmla="*/ 13 w 22"/>
              <a:gd name="T37" fmla="*/ 25 h 31"/>
              <a:gd name="T38" fmla="*/ 13 w 22"/>
              <a:gd name="T39" fmla="*/ 19 h 31"/>
              <a:gd name="T40" fmla="*/ 13 w 22"/>
              <a:gd name="T41" fmla="*/ 16 h 31"/>
              <a:gd name="T42" fmla="*/ 19 w 22"/>
              <a:gd name="T43" fmla="*/ 13 h 31"/>
              <a:gd name="T44" fmla="*/ 22 w 22"/>
              <a:gd name="T45"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31">
                <a:moveTo>
                  <a:pt x="22" y="9"/>
                </a:moveTo>
                <a:lnTo>
                  <a:pt x="22" y="6"/>
                </a:lnTo>
                <a:lnTo>
                  <a:pt x="19" y="3"/>
                </a:lnTo>
                <a:lnTo>
                  <a:pt x="19" y="0"/>
                </a:lnTo>
                <a:lnTo>
                  <a:pt x="16" y="0"/>
                </a:lnTo>
                <a:lnTo>
                  <a:pt x="13" y="3"/>
                </a:lnTo>
                <a:lnTo>
                  <a:pt x="10" y="3"/>
                </a:lnTo>
                <a:lnTo>
                  <a:pt x="10" y="6"/>
                </a:lnTo>
                <a:lnTo>
                  <a:pt x="7" y="9"/>
                </a:lnTo>
                <a:lnTo>
                  <a:pt x="3" y="9"/>
                </a:lnTo>
                <a:lnTo>
                  <a:pt x="3" y="13"/>
                </a:lnTo>
                <a:lnTo>
                  <a:pt x="0" y="16"/>
                </a:lnTo>
                <a:lnTo>
                  <a:pt x="3" y="19"/>
                </a:lnTo>
                <a:lnTo>
                  <a:pt x="3" y="22"/>
                </a:lnTo>
                <a:lnTo>
                  <a:pt x="3" y="28"/>
                </a:lnTo>
                <a:lnTo>
                  <a:pt x="3" y="31"/>
                </a:lnTo>
                <a:lnTo>
                  <a:pt x="7" y="28"/>
                </a:lnTo>
                <a:lnTo>
                  <a:pt x="10" y="28"/>
                </a:lnTo>
                <a:lnTo>
                  <a:pt x="13" y="25"/>
                </a:lnTo>
                <a:lnTo>
                  <a:pt x="13" y="19"/>
                </a:lnTo>
                <a:lnTo>
                  <a:pt x="13" y="16"/>
                </a:lnTo>
                <a:lnTo>
                  <a:pt x="19" y="13"/>
                </a:lnTo>
                <a:lnTo>
                  <a:pt x="22" y="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2" name="Freeform 140">
            <a:extLst>
              <a:ext uri="{FF2B5EF4-FFF2-40B4-BE49-F238E27FC236}">
                <a16:creationId xmlns:a16="http://schemas.microsoft.com/office/drawing/2014/main" id="{47AB13FF-1E1F-1922-4F4B-A1271DBE5B98}"/>
              </a:ext>
            </a:extLst>
          </p:cNvPr>
          <p:cNvSpPr>
            <a:spLocks/>
          </p:cNvSpPr>
          <p:nvPr userDrawn="1"/>
        </p:nvSpPr>
        <p:spPr bwMode="auto">
          <a:xfrm>
            <a:off x="14985026" y="9435382"/>
            <a:ext cx="704804" cy="714376"/>
          </a:xfrm>
          <a:custGeom>
            <a:avLst/>
            <a:gdLst>
              <a:gd name="T0" fmla="*/ 28 w 222"/>
              <a:gd name="T1" fmla="*/ 3 h 225"/>
              <a:gd name="T2" fmla="*/ 94 w 222"/>
              <a:gd name="T3" fmla="*/ 0 h 225"/>
              <a:gd name="T4" fmla="*/ 169 w 222"/>
              <a:gd name="T5" fmla="*/ 50 h 225"/>
              <a:gd name="T6" fmla="*/ 197 w 222"/>
              <a:gd name="T7" fmla="*/ 72 h 225"/>
              <a:gd name="T8" fmla="*/ 197 w 222"/>
              <a:gd name="T9" fmla="*/ 78 h 225"/>
              <a:gd name="T10" fmla="*/ 188 w 222"/>
              <a:gd name="T11" fmla="*/ 100 h 225"/>
              <a:gd name="T12" fmla="*/ 197 w 222"/>
              <a:gd name="T13" fmla="*/ 116 h 225"/>
              <a:gd name="T14" fmla="*/ 203 w 222"/>
              <a:gd name="T15" fmla="*/ 122 h 225"/>
              <a:gd name="T16" fmla="*/ 197 w 222"/>
              <a:gd name="T17" fmla="*/ 128 h 225"/>
              <a:gd name="T18" fmla="*/ 200 w 222"/>
              <a:gd name="T19" fmla="*/ 144 h 225"/>
              <a:gd name="T20" fmla="*/ 200 w 222"/>
              <a:gd name="T21" fmla="*/ 157 h 225"/>
              <a:gd name="T22" fmla="*/ 200 w 222"/>
              <a:gd name="T23" fmla="*/ 163 h 225"/>
              <a:gd name="T24" fmla="*/ 203 w 222"/>
              <a:gd name="T25" fmla="*/ 169 h 225"/>
              <a:gd name="T26" fmla="*/ 213 w 222"/>
              <a:gd name="T27" fmla="*/ 185 h 225"/>
              <a:gd name="T28" fmla="*/ 222 w 222"/>
              <a:gd name="T29" fmla="*/ 191 h 225"/>
              <a:gd name="T30" fmla="*/ 219 w 222"/>
              <a:gd name="T31" fmla="*/ 194 h 225"/>
              <a:gd name="T32" fmla="*/ 209 w 222"/>
              <a:gd name="T33" fmla="*/ 197 h 225"/>
              <a:gd name="T34" fmla="*/ 200 w 222"/>
              <a:gd name="T35" fmla="*/ 204 h 225"/>
              <a:gd name="T36" fmla="*/ 191 w 222"/>
              <a:gd name="T37" fmla="*/ 204 h 225"/>
              <a:gd name="T38" fmla="*/ 178 w 222"/>
              <a:gd name="T39" fmla="*/ 210 h 225"/>
              <a:gd name="T40" fmla="*/ 169 w 222"/>
              <a:gd name="T41" fmla="*/ 207 h 225"/>
              <a:gd name="T42" fmla="*/ 169 w 222"/>
              <a:gd name="T43" fmla="*/ 213 h 225"/>
              <a:gd name="T44" fmla="*/ 156 w 222"/>
              <a:gd name="T45" fmla="*/ 213 h 225"/>
              <a:gd name="T46" fmla="*/ 150 w 222"/>
              <a:gd name="T47" fmla="*/ 210 h 225"/>
              <a:gd name="T48" fmla="*/ 144 w 222"/>
              <a:gd name="T49" fmla="*/ 216 h 225"/>
              <a:gd name="T50" fmla="*/ 134 w 222"/>
              <a:gd name="T51" fmla="*/ 213 h 225"/>
              <a:gd name="T52" fmla="*/ 128 w 222"/>
              <a:gd name="T53" fmla="*/ 210 h 225"/>
              <a:gd name="T54" fmla="*/ 125 w 222"/>
              <a:gd name="T55" fmla="*/ 210 h 225"/>
              <a:gd name="T56" fmla="*/ 100 w 222"/>
              <a:gd name="T57" fmla="*/ 225 h 225"/>
              <a:gd name="T58" fmla="*/ 91 w 222"/>
              <a:gd name="T59" fmla="*/ 179 h 225"/>
              <a:gd name="T60" fmla="*/ 87 w 222"/>
              <a:gd name="T61" fmla="*/ 172 h 225"/>
              <a:gd name="T62" fmla="*/ 81 w 222"/>
              <a:gd name="T63" fmla="*/ 172 h 225"/>
              <a:gd name="T64" fmla="*/ 78 w 222"/>
              <a:gd name="T65" fmla="*/ 172 h 225"/>
              <a:gd name="T66" fmla="*/ 72 w 222"/>
              <a:gd name="T67" fmla="*/ 169 h 225"/>
              <a:gd name="T68" fmla="*/ 69 w 222"/>
              <a:gd name="T69" fmla="*/ 166 h 225"/>
              <a:gd name="T70" fmla="*/ 62 w 222"/>
              <a:gd name="T71" fmla="*/ 160 h 225"/>
              <a:gd name="T72" fmla="*/ 47 w 222"/>
              <a:gd name="T73" fmla="*/ 157 h 225"/>
              <a:gd name="T74" fmla="*/ 41 w 222"/>
              <a:gd name="T75" fmla="*/ 150 h 225"/>
              <a:gd name="T76" fmla="*/ 34 w 222"/>
              <a:gd name="T77" fmla="*/ 150 h 225"/>
              <a:gd name="T78" fmla="*/ 9 w 222"/>
              <a:gd name="T79" fmla="*/ 113 h 225"/>
              <a:gd name="T80" fmla="*/ 12 w 222"/>
              <a:gd name="T81" fmla="*/ 72 h 225"/>
              <a:gd name="T82" fmla="*/ 25 w 222"/>
              <a:gd name="T83" fmla="*/ 60 h 225"/>
              <a:gd name="T84" fmla="*/ 34 w 222"/>
              <a:gd name="T85" fmla="*/ 53 h 225"/>
              <a:gd name="T86" fmla="*/ 31 w 222"/>
              <a:gd name="T87" fmla="*/ 44 h 225"/>
              <a:gd name="T88" fmla="*/ 28 w 222"/>
              <a:gd name="T89" fmla="*/ 38 h 225"/>
              <a:gd name="T90" fmla="*/ 28 w 222"/>
              <a:gd name="T91" fmla="*/ 35 h 225"/>
              <a:gd name="T92" fmla="*/ 34 w 222"/>
              <a:gd name="T93" fmla="*/ 31 h 225"/>
              <a:gd name="T94" fmla="*/ 34 w 222"/>
              <a:gd name="T95" fmla="*/ 22 h 225"/>
              <a:gd name="T96" fmla="*/ 31 w 222"/>
              <a:gd name="T97" fmla="*/ 1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2" h="225">
                <a:moveTo>
                  <a:pt x="25" y="6"/>
                </a:moveTo>
                <a:lnTo>
                  <a:pt x="28" y="3"/>
                </a:lnTo>
                <a:lnTo>
                  <a:pt x="28" y="3"/>
                </a:lnTo>
                <a:lnTo>
                  <a:pt x="31" y="3"/>
                </a:lnTo>
                <a:lnTo>
                  <a:pt x="53" y="3"/>
                </a:lnTo>
                <a:lnTo>
                  <a:pt x="94" y="0"/>
                </a:lnTo>
                <a:lnTo>
                  <a:pt x="166" y="44"/>
                </a:lnTo>
                <a:lnTo>
                  <a:pt x="172" y="50"/>
                </a:lnTo>
                <a:lnTo>
                  <a:pt x="169" y="50"/>
                </a:lnTo>
                <a:lnTo>
                  <a:pt x="172" y="53"/>
                </a:lnTo>
                <a:lnTo>
                  <a:pt x="172" y="57"/>
                </a:lnTo>
                <a:lnTo>
                  <a:pt x="197" y="72"/>
                </a:lnTo>
                <a:lnTo>
                  <a:pt x="197" y="72"/>
                </a:lnTo>
                <a:lnTo>
                  <a:pt x="197" y="75"/>
                </a:lnTo>
                <a:lnTo>
                  <a:pt x="197" y="78"/>
                </a:lnTo>
                <a:lnTo>
                  <a:pt x="197" y="78"/>
                </a:lnTo>
                <a:lnTo>
                  <a:pt x="191" y="91"/>
                </a:lnTo>
                <a:lnTo>
                  <a:pt x="188" y="100"/>
                </a:lnTo>
                <a:lnTo>
                  <a:pt x="188" y="103"/>
                </a:lnTo>
                <a:lnTo>
                  <a:pt x="194" y="110"/>
                </a:lnTo>
                <a:lnTo>
                  <a:pt x="197" y="116"/>
                </a:lnTo>
                <a:lnTo>
                  <a:pt x="200" y="113"/>
                </a:lnTo>
                <a:lnTo>
                  <a:pt x="203" y="122"/>
                </a:lnTo>
                <a:lnTo>
                  <a:pt x="203" y="122"/>
                </a:lnTo>
                <a:lnTo>
                  <a:pt x="200" y="122"/>
                </a:lnTo>
                <a:lnTo>
                  <a:pt x="197" y="125"/>
                </a:lnTo>
                <a:lnTo>
                  <a:pt x="197" y="128"/>
                </a:lnTo>
                <a:lnTo>
                  <a:pt x="197" y="138"/>
                </a:lnTo>
                <a:lnTo>
                  <a:pt x="200" y="141"/>
                </a:lnTo>
                <a:lnTo>
                  <a:pt x="200" y="144"/>
                </a:lnTo>
                <a:lnTo>
                  <a:pt x="197" y="147"/>
                </a:lnTo>
                <a:lnTo>
                  <a:pt x="197" y="150"/>
                </a:lnTo>
                <a:lnTo>
                  <a:pt x="200" y="157"/>
                </a:lnTo>
                <a:lnTo>
                  <a:pt x="200" y="157"/>
                </a:lnTo>
                <a:lnTo>
                  <a:pt x="200" y="160"/>
                </a:lnTo>
                <a:lnTo>
                  <a:pt x="200" y="163"/>
                </a:lnTo>
                <a:lnTo>
                  <a:pt x="203" y="163"/>
                </a:lnTo>
                <a:lnTo>
                  <a:pt x="200" y="169"/>
                </a:lnTo>
                <a:lnTo>
                  <a:pt x="203" y="169"/>
                </a:lnTo>
                <a:lnTo>
                  <a:pt x="206" y="175"/>
                </a:lnTo>
                <a:lnTo>
                  <a:pt x="203" y="179"/>
                </a:lnTo>
                <a:lnTo>
                  <a:pt x="213" y="185"/>
                </a:lnTo>
                <a:lnTo>
                  <a:pt x="216" y="185"/>
                </a:lnTo>
                <a:lnTo>
                  <a:pt x="222" y="191"/>
                </a:lnTo>
                <a:lnTo>
                  <a:pt x="222" y="191"/>
                </a:lnTo>
                <a:lnTo>
                  <a:pt x="222" y="191"/>
                </a:lnTo>
                <a:lnTo>
                  <a:pt x="222" y="191"/>
                </a:lnTo>
                <a:lnTo>
                  <a:pt x="219" y="194"/>
                </a:lnTo>
                <a:lnTo>
                  <a:pt x="216" y="194"/>
                </a:lnTo>
                <a:lnTo>
                  <a:pt x="213" y="197"/>
                </a:lnTo>
                <a:lnTo>
                  <a:pt x="209" y="197"/>
                </a:lnTo>
                <a:lnTo>
                  <a:pt x="206" y="200"/>
                </a:lnTo>
                <a:lnTo>
                  <a:pt x="203" y="204"/>
                </a:lnTo>
                <a:lnTo>
                  <a:pt x="200" y="204"/>
                </a:lnTo>
                <a:lnTo>
                  <a:pt x="197" y="204"/>
                </a:lnTo>
                <a:lnTo>
                  <a:pt x="194" y="207"/>
                </a:lnTo>
                <a:lnTo>
                  <a:pt x="191" y="204"/>
                </a:lnTo>
                <a:lnTo>
                  <a:pt x="184" y="207"/>
                </a:lnTo>
                <a:lnTo>
                  <a:pt x="181" y="207"/>
                </a:lnTo>
                <a:lnTo>
                  <a:pt x="178" y="210"/>
                </a:lnTo>
                <a:lnTo>
                  <a:pt x="175" y="207"/>
                </a:lnTo>
                <a:lnTo>
                  <a:pt x="172" y="207"/>
                </a:lnTo>
                <a:lnTo>
                  <a:pt x="169" y="207"/>
                </a:lnTo>
                <a:lnTo>
                  <a:pt x="169" y="207"/>
                </a:lnTo>
                <a:lnTo>
                  <a:pt x="169" y="210"/>
                </a:lnTo>
                <a:lnTo>
                  <a:pt x="169" y="213"/>
                </a:lnTo>
                <a:lnTo>
                  <a:pt x="163" y="213"/>
                </a:lnTo>
                <a:lnTo>
                  <a:pt x="159" y="213"/>
                </a:lnTo>
                <a:lnTo>
                  <a:pt x="156" y="213"/>
                </a:lnTo>
                <a:lnTo>
                  <a:pt x="153" y="213"/>
                </a:lnTo>
                <a:lnTo>
                  <a:pt x="153" y="213"/>
                </a:lnTo>
                <a:lnTo>
                  <a:pt x="150" y="210"/>
                </a:lnTo>
                <a:lnTo>
                  <a:pt x="150" y="213"/>
                </a:lnTo>
                <a:lnTo>
                  <a:pt x="147" y="213"/>
                </a:lnTo>
                <a:lnTo>
                  <a:pt x="144" y="216"/>
                </a:lnTo>
                <a:lnTo>
                  <a:pt x="138" y="216"/>
                </a:lnTo>
                <a:lnTo>
                  <a:pt x="138" y="216"/>
                </a:lnTo>
                <a:lnTo>
                  <a:pt x="134" y="213"/>
                </a:lnTo>
                <a:lnTo>
                  <a:pt x="134" y="213"/>
                </a:lnTo>
                <a:lnTo>
                  <a:pt x="131" y="210"/>
                </a:lnTo>
                <a:lnTo>
                  <a:pt x="128" y="210"/>
                </a:lnTo>
                <a:lnTo>
                  <a:pt x="128" y="210"/>
                </a:lnTo>
                <a:lnTo>
                  <a:pt x="125" y="210"/>
                </a:lnTo>
                <a:lnTo>
                  <a:pt x="125" y="210"/>
                </a:lnTo>
                <a:lnTo>
                  <a:pt x="122" y="213"/>
                </a:lnTo>
                <a:lnTo>
                  <a:pt x="103" y="213"/>
                </a:lnTo>
                <a:lnTo>
                  <a:pt x="100" y="225"/>
                </a:lnTo>
                <a:lnTo>
                  <a:pt x="100" y="194"/>
                </a:lnTo>
                <a:lnTo>
                  <a:pt x="97" y="185"/>
                </a:lnTo>
                <a:lnTo>
                  <a:pt x="91" y="179"/>
                </a:lnTo>
                <a:lnTo>
                  <a:pt x="91" y="175"/>
                </a:lnTo>
                <a:lnTo>
                  <a:pt x="87" y="175"/>
                </a:lnTo>
                <a:lnTo>
                  <a:pt x="87" y="172"/>
                </a:lnTo>
                <a:lnTo>
                  <a:pt x="84" y="172"/>
                </a:lnTo>
                <a:lnTo>
                  <a:pt x="84" y="172"/>
                </a:lnTo>
                <a:lnTo>
                  <a:pt x="81" y="172"/>
                </a:lnTo>
                <a:lnTo>
                  <a:pt x="81" y="172"/>
                </a:lnTo>
                <a:lnTo>
                  <a:pt x="78" y="172"/>
                </a:lnTo>
                <a:lnTo>
                  <a:pt x="78" y="172"/>
                </a:lnTo>
                <a:lnTo>
                  <a:pt x="75" y="169"/>
                </a:lnTo>
                <a:lnTo>
                  <a:pt x="75" y="169"/>
                </a:lnTo>
                <a:lnTo>
                  <a:pt x="72" y="169"/>
                </a:lnTo>
                <a:lnTo>
                  <a:pt x="72" y="169"/>
                </a:lnTo>
                <a:lnTo>
                  <a:pt x="72" y="169"/>
                </a:lnTo>
                <a:lnTo>
                  <a:pt x="69" y="166"/>
                </a:lnTo>
                <a:lnTo>
                  <a:pt x="66" y="163"/>
                </a:lnTo>
                <a:lnTo>
                  <a:pt x="62" y="163"/>
                </a:lnTo>
                <a:lnTo>
                  <a:pt x="62" y="160"/>
                </a:lnTo>
                <a:lnTo>
                  <a:pt x="59" y="160"/>
                </a:lnTo>
                <a:lnTo>
                  <a:pt x="50" y="157"/>
                </a:lnTo>
                <a:lnTo>
                  <a:pt x="47" y="157"/>
                </a:lnTo>
                <a:lnTo>
                  <a:pt x="44" y="153"/>
                </a:lnTo>
                <a:lnTo>
                  <a:pt x="44" y="153"/>
                </a:lnTo>
                <a:lnTo>
                  <a:pt x="41" y="150"/>
                </a:lnTo>
                <a:lnTo>
                  <a:pt x="41" y="150"/>
                </a:lnTo>
                <a:lnTo>
                  <a:pt x="37" y="150"/>
                </a:lnTo>
                <a:lnTo>
                  <a:pt x="34" y="150"/>
                </a:lnTo>
                <a:lnTo>
                  <a:pt x="28" y="147"/>
                </a:lnTo>
                <a:lnTo>
                  <a:pt x="22" y="132"/>
                </a:lnTo>
                <a:lnTo>
                  <a:pt x="9" y="113"/>
                </a:lnTo>
                <a:lnTo>
                  <a:pt x="3" y="88"/>
                </a:lnTo>
                <a:lnTo>
                  <a:pt x="0" y="72"/>
                </a:lnTo>
                <a:lnTo>
                  <a:pt x="12" y="72"/>
                </a:lnTo>
                <a:lnTo>
                  <a:pt x="19" y="69"/>
                </a:lnTo>
                <a:lnTo>
                  <a:pt x="22" y="66"/>
                </a:lnTo>
                <a:lnTo>
                  <a:pt x="25" y="60"/>
                </a:lnTo>
                <a:lnTo>
                  <a:pt x="28" y="57"/>
                </a:lnTo>
                <a:lnTo>
                  <a:pt x="31" y="57"/>
                </a:lnTo>
                <a:lnTo>
                  <a:pt x="34" y="53"/>
                </a:lnTo>
                <a:lnTo>
                  <a:pt x="34" y="50"/>
                </a:lnTo>
                <a:lnTo>
                  <a:pt x="34" y="44"/>
                </a:lnTo>
                <a:lnTo>
                  <a:pt x="31" y="44"/>
                </a:lnTo>
                <a:lnTo>
                  <a:pt x="31" y="41"/>
                </a:lnTo>
                <a:lnTo>
                  <a:pt x="28" y="38"/>
                </a:lnTo>
                <a:lnTo>
                  <a:pt x="28" y="38"/>
                </a:lnTo>
                <a:lnTo>
                  <a:pt x="28" y="35"/>
                </a:lnTo>
                <a:lnTo>
                  <a:pt x="28" y="31"/>
                </a:lnTo>
                <a:lnTo>
                  <a:pt x="28" y="35"/>
                </a:lnTo>
                <a:lnTo>
                  <a:pt x="28" y="35"/>
                </a:lnTo>
                <a:lnTo>
                  <a:pt x="31" y="31"/>
                </a:lnTo>
                <a:lnTo>
                  <a:pt x="34" y="31"/>
                </a:lnTo>
                <a:lnTo>
                  <a:pt x="34" y="28"/>
                </a:lnTo>
                <a:lnTo>
                  <a:pt x="34" y="25"/>
                </a:lnTo>
                <a:lnTo>
                  <a:pt x="34" y="22"/>
                </a:lnTo>
                <a:lnTo>
                  <a:pt x="34" y="16"/>
                </a:lnTo>
                <a:lnTo>
                  <a:pt x="31" y="13"/>
                </a:lnTo>
                <a:lnTo>
                  <a:pt x="31" y="13"/>
                </a:lnTo>
                <a:lnTo>
                  <a:pt x="28" y="10"/>
                </a:lnTo>
                <a:lnTo>
                  <a:pt x="25" y="6"/>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3" name="Freeform 141">
            <a:extLst>
              <a:ext uri="{FF2B5EF4-FFF2-40B4-BE49-F238E27FC236}">
                <a16:creationId xmlns:a16="http://schemas.microsoft.com/office/drawing/2014/main" id="{F67283CD-3229-B831-58CE-9BD44605C78C}"/>
              </a:ext>
            </a:extLst>
          </p:cNvPr>
          <p:cNvSpPr>
            <a:spLocks/>
          </p:cNvSpPr>
          <p:nvPr userDrawn="1"/>
        </p:nvSpPr>
        <p:spPr bwMode="auto">
          <a:xfrm>
            <a:off x="14975496" y="9454432"/>
            <a:ext cx="117470" cy="101600"/>
          </a:xfrm>
          <a:custGeom>
            <a:avLst/>
            <a:gdLst>
              <a:gd name="T0" fmla="*/ 9 w 37"/>
              <a:gd name="T1" fmla="*/ 4 h 32"/>
              <a:gd name="T2" fmla="*/ 9 w 37"/>
              <a:gd name="T3" fmla="*/ 4 h 32"/>
              <a:gd name="T4" fmla="*/ 12 w 37"/>
              <a:gd name="T5" fmla="*/ 4 h 32"/>
              <a:gd name="T6" fmla="*/ 19 w 37"/>
              <a:gd name="T7" fmla="*/ 0 h 32"/>
              <a:gd name="T8" fmla="*/ 19 w 37"/>
              <a:gd name="T9" fmla="*/ 4 h 32"/>
              <a:gd name="T10" fmla="*/ 22 w 37"/>
              <a:gd name="T11" fmla="*/ 4 h 32"/>
              <a:gd name="T12" fmla="*/ 25 w 37"/>
              <a:gd name="T13" fmla="*/ 4 h 32"/>
              <a:gd name="T14" fmla="*/ 25 w 37"/>
              <a:gd name="T15" fmla="*/ 4 h 32"/>
              <a:gd name="T16" fmla="*/ 25 w 37"/>
              <a:gd name="T17" fmla="*/ 0 h 32"/>
              <a:gd name="T18" fmla="*/ 28 w 37"/>
              <a:gd name="T19" fmla="*/ 0 h 32"/>
              <a:gd name="T20" fmla="*/ 31 w 37"/>
              <a:gd name="T21" fmla="*/ 4 h 32"/>
              <a:gd name="T22" fmla="*/ 34 w 37"/>
              <a:gd name="T23" fmla="*/ 7 h 32"/>
              <a:gd name="T24" fmla="*/ 34 w 37"/>
              <a:gd name="T25" fmla="*/ 7 h 32"/>
              <a:gd name="T26" fmla="*/ 37 w 37"/>
              <a:gd name="T27" fmla="*/ 10 h 32"/>
              <a:gd name="T28" fmla="*/ 37 w 37"/>
              <a:gd name="T29" fmla="*/ 16 h 32"/>
              <a:gd name="T30" fmla="*/ 37 w 37"/>
              <a:gd name="T31" fmla="*/ 19 h 32"/>
              <a:gd name="T32" fmla="*/ 37 w 37"/>
              <a:gd name="T33" fmla="*/ 22 h 32"/>
              <a:gd name="T34" fmla="*/ 37 w 37"/>
              <a:gd name="T35" fmla="*/ 25 h 32"/>
              <a:gd name="T36" fmla="*/ 34 w 37"/>
              <a:gd name="T37" fmla="*/ 25 h 32"/>
              <a:gd name="T38" fmla="*/ 31 w 37"/>
              <a:gd name="T39" fmla="*/ 29 h 32"/>
              <a:gd name="T40" fmla="*/ 31 w 37"/>
              <a:gd name="T41" fmla="*/ 29 h 32"/>
              <a:gd name="T42" fmla="*/ 31 w 37"/>
              <a:gd name="T43" fmla="*/ 25 h 32"/>
              <a:gd name="T44" fmla="*/ 31 w 37"/>
              <a:gd name="T45" fmla="*/ 25 h 32"/>
              <a:gd name="T46" fmla="*/ 28 w 37"/>
              <a:gd name="T47" fmla="*/ 25 h 32"/>
              <a:gd name="T48" fmla="*/ 28 w 37"/>
              <a:gd name="T49" fmla="*/ 22 h 32"/>
              <a:gd name="T50" fmla="*/ 25 w 37"/>
              <a:gd name="T51" fmla="*/ 22 h 32"/>
              <a:gd name="T52" fmla="*/ 22 w 37"/>
              <a:gd name="T53" fmla="*/ 19 h 32"/>
              <a:gd name="T54" fmla="*/ 22 w 37"/>
              <a:gd name="T55" fmla="*/ 19 h 32"/>
              <a:gd name="T56" fmla="*/ 22 w 37"/>
              <a:gd name="T57" fmla="*/ 22 h 32"/>
              <a:gd name="T58" fmla="*/ 19 w 37"/>
              <a:gd name="T59" fmla="*/ 29 h 32"/>
              <a:gd name="T60" fmla="*/ 19 w 37"/>
              <a:gd name="T61" fmla="*/ 32 h 32"/>
              <a:gd name="T62" fmla="*/ 15 w 37"/>
              <a:gd name="T63" fmla="*/ 32 h 32"/>
              <a:gd name="T64" fmla="*/ 12 w 37"/>
              <a:gd name="T65" fmla="*/ 32 h 32"/>
              <a:gd name="T66" fmla="*/ 12 w 37"/>
              <a:gd name="T67" fmla="*/ 32 h 32"/>
              <a:gd name="T68" fmla="*/ 9 w 37"/>
              <a:gd name="T69" fmla="*/ 32 h 32"/>
              <a:gd name="T70" fmla="*/ 6 w 37"/>
              <a:gd name="T71" fmla="*/ 32 h 32"/>
              <a:gd name="T72" fmla="*/ 6 w 37"/>
              <a:gd name="T73" fmla="*/ 29 h 32"/>
              <a:gd name="T74" fmla="*/ 3 w 37"/>
              <a:gd name="T75" fmla="*/ 25 h 32"/>
              <a:gd name="T76" fmla="*/ 0 w 37"/>
              <a:gd name="T77" fmla="*/ 25 h 32"/>
              <a:gd name="T78" fmla="*/ 0 w 37"/>
              <a:gd name="T79" fmla="*/ 29 h 32"/>
              <a:gd name="T80" fmla="*/ 0 w 37"/>
              <a:gd name="T81" fmla="*/ 25 h 32"/>
              <a:gd name="T82" fmla="*/ 3 w 37"/>
              <a:gd name="T83" fmla="*/ 13 h 32"/>
              <a:gd name="T84" fmla="*/ 6 w 37"/>
              <a:gd name="T85" fmla="*/ 7 h 32"/>
              <a:gd name="T86" fmla="*/ 9 w 37"/>
              <a:gd name="T87"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 h="32">
                <a:moveTo>
                  <a:pt x="9" y="4"/>
                </a:moveTo>
                <a:lnTo>
                  <a:pt x="9" y="4"/>
                </a:lnTo>
                <a:lnTo>
                  <a:pt x="12" y="4"/>
                </a:lnTo>
                <a:lnTo>
                  <a:pt x="19" y="0"/>
                </a:lnTo>
                <a:lnTo>
                  <a:pt x="19" y="4"/>
                </a:lnTo>
                <a:lnTo>
                  <a:pt x="22" y="4"/>
                </a:lnTo>
                <a:lnTo>
                  <a:pt x="25" y="4"/>
                </a:lnTo>
                <a:lnTo>
                  <a:pt x="25" y="4"/>
                </a:lnTo>
                <a:lnTo>
                  <a:pt x="25" y="0"/>
                </a:lnTo>
                <a:lnTo>
                  <a:pt x="28" y="0"/>
                </a:lnTo>
                <a:lnTo>
                  <a:pt x="31" y="4"/>
                </a:lnTo>
                <a:lnTo>
                  <a:pt x="34" y="7"/>
                </a:lnTo>
                <a:lnTo>
                  <a:pt x="34" y="7"/>
                </a:lnTo>
                <a:lnTo>
                  <a:pt x="37" y="10"/>
                </a:lnTo>
                <a:lnTo>
                  <a:pt x="37" y="16"/>
                </a:lnTo>
                <a:lnTo>
                  <a:pt x="37" y="19"/>
                </a:lnTo>
                <a:lnTo>
                  <a:pt x="37" y="22"/>
                </a:lnTo>
                <a:lnTo>
                  <a:pt x="37" y="25"/>
                </a:lnTo>
                <a:lnTo>
                  <a:pt x="34" y="25"/>
                </a:lnTo>
                <a:lnTo>
                  <a:pt x="31" y="29"/>
                </a:lnTo>
                <a:lnTo>
                  <a:pt x="31" y="29"/>
                </a:lnTo>
                <a:lnTo>
                  <a:pt x="31" y="25"/>
                </a:lnTo>
                <a:lnTo>
                  <a:pt x="31" y="25"/>
                </a:lnTo>
                <a:lnTo>
                  <a:pt x="28" y="25"/>
                </a:lnTo>
                <a:lnTo>
                  <a:pt x="28" y="22"/>
                </a:lnTo>
                <a:lnTo>
                  <a:pt x="25" y="22"/>
                </a:lnTo>
                <a:lnTo>
                  <a:pt x="22" y="19"/>
                </a:lnTo>
                <a:lnTo>
                  <a:pt x="22" y="19"/>
                </a:lnTo>
                <a:lnTo>
                  <a:pt x="22" y="22"/>
                </a:lnTo>
                <a:lnTo>
                  <a:pt x="19" y="29"/>
                </a:lnTo>
                <a:lnTo>
                  <a:pt x="19" y="32"/>
                </a:lnTo>
                <a:lnTo>
                  <a:pt x="15" y="32"/>
                </a:lnTo>
                <a:lnTo>
                  <a:pt x="12" y="32"/>
                </a:lnTo>
                <a:lnTo>
                  <a:pt x="12" y="32"/>
                </a:lnTo>
                <a:lnTo>
                  <a:pt x="9" y="32"/>
                </a:lnTo>
                <a:lnTo>
                  <a:pt x="6" y="32"/>
                </a:lnTo>
                <a:lnTo>
                  <a:pt x="6" y="29"/>
                </a:lnTo>
                <a:lnTo>
                  <a:pt x="3" y="25"/>
                </a:lnTo>
                <a:lnTo>
                  <a:pt x="0" y="25"/>
                </a:lnTo>
                <a:lnTo>
                  <a:pt x="0" y="29"/>
                </a:lnTo>
                <a:lnTo>
                  <a:pt x="0" y="25"/>
                </a:lnTo>
                <a:lnTo>
                  <a:pt x="3" y="13"/>
                </a:lnTo>
                <a:lnTo>
                  <a:pt x="6" y="7"/>
                </a:lnTo>
                <a:lnTo>
                  <a:pt x="9" y="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4" name="Freeform 142">
            <a:extLst>
              <a:ext uri="{FF2B5EF4-FFF2-40B4-BE49-F238E27FC236}">
                <a16:creationId xmlns:a16="http://schemas.microsoft.com/office/drawing/2014/main" id="{921E20B6-3CA3-FDF9-2AF9-ED2E1DF49237}"/>
              </a:ext>
            </a:extLst>
          </p:cNvPr>
          <p:cNvSpPr>
            <a:spLocks/>
          </p:cNvSpPr>
          <p:nvPr userDrawn="1"/>
        </p:nvSpPr>
        <p:spPr bwMode="auto">
          <a:xfrm>
            <a:off x="14965974" y="9514759"/>
            <a:ext cx="126992" cy="149226"/>
          </a:xfrm>
          <a:custGeom>
            <a:avLst/>
            <a:gdLst>
              <a:gd name="T0" fmla="*/ 6 w 40"/>
              <a:gd name="T1" fmla="*/ 47 h 47"/>
              <a:gd name="T2" fmla="*/ 18 w 40"/>
              <a:gd name="T3" fmla="*/ 47 h 47"/>
              <a:gd name="T4" fmla="*/ 25 w 40"/>
              <a:gd name="T5" fmla="*/ 44 h 47"/>
              <a:gd name="T6" fmla="*/ 28 w 40"/>
              <a:gd name="T7" fmla="*/ 41 h 47"/>
              <a:gd name="T8" fmla="*/ 31 w 40"/>
              <a:gd name="T9" fmla="*/ 35 h 47"/>
              <a:gd name="T10" fmla="*/ 34 w 40"/>
              <a:gd name="T11" fmla="*/ 32 h 47"/>
              <a:gd name="T12" fmla="*/ 37 w 40"/>
              <a:gd name="T13" fmla="*/ 32 h 47"/>
              <a:gd name="T14" fmla="*/ 40 w 40"/>
              <a:gd name="T15" fmla="*/ 28 h 47"/>
              <a:gd name="T16" fmla="*/ 40 w 40"/>
              <a:gd name="T17" fmla="*/ 25 h 47"/>
              <a:gd name="T18" fmla="*/ 40 w 40"/>
              <a:gd name="T19" fmla="*/ 19 h 47"/>
              <a:gd name="T20" fmla="*/ 37 w 40"/>
              <a:gd name="T21" fmla="*/ 19 h 47"/>
              <a:gd name="T22" fmla="*/ 37 w 40"/>
              <a:gd name="T23" fmla="*/ 16 h 47"/>
              <a:gd name="T24" fmla="*/ 34 w 40"/>
              <a:gd name="T25" fmla="*/ 13 h 47"/>
              <a:gd name="T26" fmla="*/ 34 w 40"/>
              <a:gd name="T27" fmla="*/ 13 h 47"/>
              <a:gd name="T28" fmla="*/ 34 w 40"/>
              <a:gd name="T29" fmla="*/ 10 h 47"/>
              <a:gd name="T30" fmla="*/ 34 w 40"/>
              <a:gd name="T31" fmla="*/ 6 h 47"/>
              <a:gd name="T32" fmla="*/ 31 w 40"/>
              <a:gd name="T33" fmla="*/ 6 h 47"/>
              <a:gd name="T34" fmla="*/ 31 w 40"/>
              <a:gd name="T35" fmla="*/ 3 h 47"/>
              <a:gd name="T36" fmla="*/ 28 w 40"/>
              <a:gd name="T37" fmla="*/ 3 h 47"/>
              <a:gd name="T38" fmla="*/ 25 w 40"/>
              <a:gd name="T39" fmla="*/ 0 h 47"/>
              <a:gd name="T40" fmla="*/ 25 w 40"/>
              <a:gd name="T41" fmla="*/ 0 h 47"/>
              <a:gd name="T42" fmla="*/ 25 w 40"/>
              <a:gd name="T43" fmla="*/ 3 h 47"/>
              <a:gd name="T44" fmla="*/ 22 w 40"/>
              <a:gd name="T45" fmla="*/ 10 h 47"/>
              <a:gd name="T46" fmla="*/ 22 w 40"/>
              <a:gd name="T47" fmla="*/ 13 h 47"/>
              <a:gd name="T48" fmla="*/ 18 w 40"/>
              <a:gd name="T49" fmla="*/ 13 h 47"/>
              <a:gd name="T50" fmla="*/ 15 w 40"/>
              <a:gd name="T51" fmla="*/ 13 h 47"/>
              <a:gd name="T52" fmla="*/ 15 w 40"/>
              <a:gd name="T53" fmla="*/ 13 h 47"/>
              <a:gd name="T54" fmla="*/ 12 w 40"/>
              <a:gd name="T55" fmla="*/ 13 h 47"/>
              <a:gd name="T56" fmla="*/ 9 w 40"/>
              <a:gd name="T57" fmla="*/ 13 h 47"/>
              <a:gd name="T58" fmla="*/ 9 w 40"/>
              <a:gd name="T59" fmla="*/ 10 h 47"/>
              <a:gd name="T60" fmla="*/ 6 w 40"/>
              <a:gd name="T61" fmla="*/ 6 h 47"/>
              <a:gd name="T62" fmla="*/ 3 w 40"/>
              <a:gd name="T63" fmla="*/ 6 h 47"/>
              <a:gd name="T64" fmla="*/ 3 w 40"/>
              <a:gd name="T65" fmla="*/ 10 h 47"/>
              <a:gd name="T66" fmla="*/ 0 w 40"/>
              <a:gd name="T67" fmla="*/ 10 h 47"/>
              <a:gd name="T68" fmla="*/ 3 w 40"/>
              <a:gd name="T69" fmla="*/ 16 h 47"/>
              <a:gd name="T70" fmla="*/ 3 w 40"/>
              <a:gd name="T71" fmla="*/ 19 h 47"/>
              <a:gd name="T72" fmla="*/ 3 w 40"/>
              <a:gd name="T73" fmla="*/ 25 h 47"/>
              <a:gd name="T74" fmla="*/ 6 w 40"/>
              <a:gd name="T75"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7">
                <a:moveTo>
                  <a:pt x="6" y="47"/>
                </a:moveTo>
                <a:lnTo>
                  <a:pt x="18" y="47"/>
                </a:lnTo>
                <a:lnTo>
                  <a:pt x="25" y="44"/>
                </a:lnTo>
                <a:lnTo>
                  <a:pt x="28" y="41"/>
                </a:lnTo>
                <a:lnTo>
                  <a:pt x="31" y="35"/>
                </a:lnTo>
                <a:lnTo>
                  <a:pt x="34" y="32"/>
                </a:lnTo>
                <a:lnTo>
                  <a:pt x="37" y="32"/>
                </a:lnTo>
                <a:lnTo>
                  <a:pt x="40" y="28"/>
                </a:lnTo>
                <a:lnTo>
                  <a:pt x="40" y="25"/>
                </a:lnTo>
                <a:lnTo>
                  <a:pt x="40" y="19"/>
                </a:lnTo>
                <a:lnTo>
                  <a:pt x="37" y="19"/>
                </a:lnTo>
                <a:lnTo>
                  <a:pt x="37" y="16"/>
                </a:lnTo>
                <a:lnTo>
                  <a:pt x="34" y="13"/>
                </a:lnTo>
                <a:lnTo>
                  <a:pt x="34" y="13"/>
                </a:lnTo>
                <a:lnTo>
                  <a:pt x="34" y="10"/>
                </a:lnTo>
                <a:lnTo>
                  <a:pt x="34" y="6"/>
                </a:lnTo>
                <a:lnTo>
                  <a:pt x="31" y="6"/>
                </a:lnTo>
                <a:lnTo>
                  <a:pt x="31" y="3"/>
                </a:lnTo>
                <a:lnTo>
                  <a:pt x="28" y="3"/>
                </a:lnTo>
                <a:lnTo>
                  <a:pt x="25" y="0"/>
                </a:lnTo>
                <a:lnTo>
                  <a:pt x="25" y="0"/>
                </a:lnTo>
                <a:lnTo>
                  <a:pt x="25" y="3"/>
                </a:lnTo>
                <a:lnTo>
                  <a:pt x="22" y="10"/>
                </a:lnTo>
                <a:lnTo>
                  <a:pt x="22" y="13"/>
                </a:lnTo>
                <a:lnTo>
                  <a:pt x="18" y="13"/>
                </a:lnTo>
                <a:lnTo>
                  <a:pt x="15" y="13"/>
                </a:lnTo>
                <a:lnTo>
                  <a:pt x="15" y="13"/>
                </a:lnTo>
                <a:lnTo>
                  <a:pt x="12" y="13"/>
                </a:lnTo>
                <a:lnTo>
                  <a:pt x="9" y="13"/>
                </a:lnTo>
                <a:lnTo>
                  <a:pt x="9" y="10"/>
                </a:lnTo>
                <a:lnTo>
                  <a:pt x="6" y="6"/>
                </a:lnTo>
                <a:lnTo>
                  <a:pt x="3" y="6"/>
                </a:lnTo>
                <a:lnTo>
                  <a:pt x="3" y="10"/>
                </a:lnTo>
                <a:lnTo>
                  <a:pt x="0" y="10"/>
                </a:lnTo>
                <a:lnTo>
                  <a:pt x="3" y="16"/>
                </a:lnTo>
                <a:lnTo>
                  <a:pt x="3" y="19"/>
                </a:lnTo>
                <a:lnTo>
                  <a:pt x="3" y="25"/>
                </a:lnTo>
                <a:lnTo>
                  <a:pt x="6" y="47"/>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5" name="Freeform 143">
            <a:extLst>
              <a:ext uri="{FF2B5EF4-FFF2-40B4-BE49-F238E27FC236}">
                <a16:creationId xmlns:a16="http://schemas.microsoft.com/office/drawing/2014/main" id="{AB171244-B990-61F9-B8F9-7FF8D86BFDF1}"/>
              </a:ext>
            </a:extLst>
          </p:cNvPr>
          <p:cNvSpPr>
            <a:spLocks/>
          </p:cNvSpPr>
          <p:nvPr userDrawn="1"/>
        </p:nvSpPr>
        <p:spPr bwMode="auto">
          <a:xfrm>
            <a:off x="13911945" y="9038509"/>
            <a:ext cx="1190549" cy="1190626"/>
          </a:xfrm>
          <a:custGeom>
            <a:avLst/>
            <a:gdLst>
              <a:gd name="T0" fmla="*/ 10 w 375"/>
              <a:gd name="T1" fmla="*/ 210 h 375"/>
              <a:gd name="T2" fmla="*/ 25 w 375"/>
              <a:gd name="T3" fmla="*/ 203 h 375"/>
              <a:gd name="T4" fmla="*/ 41 w 375"/>
              <a:gd name="T5" fmla="*/ 194 h 375"/>
              <a:gd name="T6" fmla="*/ 50 w 375"/>
              <a:gd name="T7" fmla="*/ 207 h 375"/>
              <a:gd name="T8" fmla="*/ 75 w 375"/>
              <a:gd name="T9" fmla="*/ 185 h 375"/>
              <a:gd name="T10" fmla="*/ 79 w 375"/>
              <a:gd name="T11" fmla="*/ 153 h 375"/>
              <a:gd name="T12" fmla="*/ 97 w 375"/>
              <a:gd name="T13" fmla="*/ 131 h 375"/>
              <a:gd name="T14" fmla="*/ 116 w 375"/>
              <a:gd name="T15" fmla="*/ 103 h 375"/>
              <a:gd name="T16" fmla="*/ 119 w 375"/>
              <a:gd name="T17" fmla="*/ 78 h 375"/>
              <a:gd name="T18" fmla="*/ 132 w 375"/>
              <a:gd name="T19" fmla="*/ 47 h 375"/>
              <a:gd name="T20" fmla="*/ 129 w 375"/>
              <a:gd name="T21" fmla="*/ 22 h 375"/>
              <a:gd name="T22" fmla="*/ 135 w 375"/>
              <a:gd name="T23" fmla="*/ 13 h 375"/>
              <a:gd name="T24" fmla="*/ 147 w 375"/>
              <a:gd name="T25" fmla="*/ 6 h 375"/>
              <a:gd name="T26" fmla="*/ 169 w 375"/>
              <a:gd name="T27" fmla="*/ 19 h 375"/>
              <a:gd name="T28" fmla="*/ 191 w 375"/>
              <a:gd name="T29" fmla="*/ 22 h 375"/>
              <a:gd name="T30" fmla="*/ 204 w 375"/>
              <a:gd name="T31" fmla="*/ 22 h 375"/>
              <a:gd name="T32" fmla="*/ 219 w 375"/>
              <a:gd name="T33" fmla="*/ 16 h 375"/>
              <a:gd name="T34" fmla="*/ 244 w 375"/>
              <a:gd name="T35" fmla="*/ 6 h 375"/>
              <a:gd name="T36" fmla="*/ 257 w 375"/>
              <a:gd name="T37" fmla="*/ 9 h 375"/>
              <a:gd name="T38" fmla="*/ 266 w 375"/>
              <a:gd name="T39" fmla="*/ 0 h 375"/>
              <a:gd name="T40" fmla="*/ 282 w 375"/>
              <a:gd name="T41" fmla="*/ 6 h 375"/>
              <a:gd name="T42" fmla="*/ 307 w 375"/>
              <a:gd name="T43" fmla="*/ 9 h 375"/>
              <a:gd name="T44" fmla="*/ 322 w 375"/>
              <a:gd name="T45" fmla="*/ 22 h 375"/>
              <a:gd name="T46" fmla="*/ 335 w 375"/>
              <a:gd name="T47" fmla="*/ 19 h 375"/>
              <a:gd name="T48" fmla="*/ 350 w 375"/>
              <a:gd name="T49" fmla="*/ 13 h 375"/>
              <a:gd name="T50" fmla="*/ 366 w 375"/>
              <a:gd name="T51" fmla="*/ 31 h 375"/>
              <a:gd name="T52" fmla="*/ 375 w 375"/>
              <a:gd name="T53" fmla="*/ 38 h 375"/>
              <a:gd name="T54" fmla="*/ 372 w 375"/>
              <a:gd name="T55" fmla="*/ 63 h 375"/>
              <a:gd name="T56" fmla="*/ 357 w 375"/>
              <a:gd name="T57" fmla="*/ 94 h 375"/>
              <a:gd name="T58" fmla="*/ 344 w 375"/>
              <a:gd name="T59" fmla="*/ 135 h 375"/>
              <a:gd name="T60" fmla="*/ 335 w 375"/>
              <a:gd name="T61" fmla="*/ 169 h 375"/>
              <a:gd name="T62" fmla="*/ 363 w 375"/>
              <a:gd name="T63" fmla="*/ 269 h 375"/>
              <a:gd name="T64" fmla="*/ 329 w 375"/>
              <a:gd name="T65" fmla="*/ 304 h 375"/>
              <a:gd name="T66" fmla="*/ 325 w 375"/>
              <a:gd name="T67" fmla="*/ 316 h 375"/>
              <a:gd name="T68" fmla="*/ 319 w 375"/>
              <a:gd name="T69" fmla="*/ 344 h 375"/>
              <a:gd name="T70" fmla="*/ 341 w 375"/>
              <a:gd name="T71" fmla="*/ 357 h 375"/>
              <a:gd name="T72" fmla="*/ 344 w 375"/>
              <a:gd name="T73" fmla="*/ 375 h 375"/>
              <a:gd name="T74" fmla="*/ 332 w 375"/>
              <a:gd name="T75" fmla="*/ 375 h 375"/>
              <a:gd name="T76" fmla="*/ 304 w 375"/>
              <a:gd name="T77" fmla="*/ 354 h 375"/>
              <a:gd name="T78" fmla="*/ 294 w 375"/>
              <a:gd name="T79" fmla="*/ 338 h 375"/>
              <a:gd name="T80" fmla="*/ 279 w 375"/>
              <a:gd name="T81" fmla="*/ 347 h 375"/>
              <a:gd name="T82" fmla="*/ 260 w 375"/>
              <a:gd name="T83" fmla="*/ 341 h 375"/>
              <a:gd name="T84" fmla="*/ 250 w 375"/>
              <a:gd name="T85" fmla="*/ 332 h 375"/>
              <a:gd name="T86" fmla="*/ 241 w 375"/>
              <a:gd name="T87" fmla="*/ 335 h 375"/>
              <a:gd name="T88" fmla="*/ 232 w 375"/>
              <a:gd name="T89" fmla="*/ 329 h 375"/>
              <a:gd name="T90" fmla="*/ 216 w 375"/>
              <a:gd name="T91" fmla="*/ 332 h 375"/>
              <a:gd name="T92" fmla="*/ 200 w 375"/>
              <a:gd name="T93" fmla="*/ 329 h 375"/>
              <a:gd name="T94" fmla="*/ 197 w 375"/>
              <a:gd name="T95" fmla="*/ 322 h 375"/>
              <a:gd name="T96" fmla="*/ 194 w 375"/>
              <a:gd name="T97" fmla="*/ 310 h 375"/>
              <a:gd name="T98" fmla="*/ 191 w 375"/>
              <a:gd name="T99" fmla="*/ 297 h 375"/>
              <a:gd name="T100" fmla="*/ 191 w 375"/>
              <a:gd name="T101" fmla="*/ 278 h 375"/>
              <a:gd name="T102" fmla="*/ 188 w 375"/>
              <a:gd name="T103" fmla="*/ 266 h 375"/>
              <a:gd name="T104" fmla="*/ 166 w 375"/>
              <a:gd name="T105" fmla="*/ 250 h 375"/>
              <a:gd name="T106" fmla="*/ 141 w 375"/>
              <a:gd name="T107" fmla="*/ 253 h 375"/>
              <a:gd name="T108" fmla="*/ 122 w 375"/>
              <a:gd name="T109" fmla="*/ 269 h 375"/>
              <a:gd name="T110" fmla="*/ 100 w 375"/>
              <a:gd name="T111" fmla="*/ 260 h 375"/>
              <a:gd name="T112" fmla="*/ 94 w 375"/>
              <a:gd name="T113" fmla="*/ 244 h 375"/>
              <a:gd name="T114" fmla="*/ 91 w 375"/>
              <a:gd name="T115" fmla="*/ 228 h 375"/>
              <a:gd name="T116" fmla="*/ 44 w 375"/>
              <a:gd name="T117" fmla="*/ 225 h 375"/>
              <a:gd name="T118" fmla="*/ 19 w 375"/>
              <a:gd name="T119" fmla="*/ 225 h 375"/>
              <a:gd name="T120" fmla="*/ 10 w 375"/>
              <a:gd name="T121" fmla="*/ 228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5" h="375">
                <a:moveTo>
                  <a:pt x="0" y="225"/>
                </a:moveTo>
                <a:lnTo>
                  <a:pt x="4" y="222"/>
                </a:lnTo>
                <a:lnTo>
                  <a:pt x="7" y="222"/>
                </a:lnTo>
                <a:lnTo>
                  <a:pt x="10" y="219"/>
                </a:lnTo>
                <a:lnTo>
                  <a:pt x="10" y="213"/>
                </a:lnTo>
                <a:lnTo>
                  <a:pt x="10" y="210"/>
                </a:lnTo>
                <a:lnTo>
                  <a:pt x="16" y="207"/>
                </a:lnTo>
                <a:lnTo>
                  <a:pt x="19" y="203"/>
                </a:lnTo>
                <a:lnTo>
                  <a:pt x="22" y="203"/>
                </a:lnTo>
                <a:lnTo>
                  <a:pt x="25" y="200"/>
                </a:lnTo>
                <a:lnTo>
                  <a:pt x="25" y="203"/>
                </a:lnTo>
                <a:lnTo>
                  <a:pt x="25" y="203"/>
                </a:lnTo>
                <a:lnTo>
                  <a:pt x="29" y="203"/>
                </a:lnTo>
                <a:lnTo>
                  <a:pt x="32" y="203"/>
                </a:lnTo>
                <a:lnTo>
                  <a:pt x="32" y="197"/>
                </a:lnTo>
                <a:lnTo>
                  <a:pt x="35" y="197"/>
                </a:lnTo>
                <a:lnTo>
                  <a:pt x="38" y="197"/>
                </a:lnTo>
                <a:lnTo>
                  <a:pt x="41" y="194"/>
                </a:lnTo>
                <a:lnTo>
                  <a:pt x="47" y="194"/>
                </a:lnTo>
                <a:lnTo>
                  <a:pt x="47" y="194"/>
                </a:lnTo>
                <a:lnTo>
                  <a:pt x="44" y="200"/>
                </a:lnTo>
                <a:lnTo>
                  <a:pt x="47" y="200"/>
                </a:lnTo>
                <a:lnTo>
                  <a:pt x="47" y="203"/>
                </a:lnTo>
                <a:lnTo>
                  <a:pt x="50" y="207"/>
                </a:lnTo>
                <a:lnTo>
                  <a:pt x="57" y="203"/>
                </a:lnTo>
                <a:lnTo>
                  <a:pt x="60" y="200"/>
                </a:lnTo>
                <a:lnTo>
                  <a:pt x="66" y="191"/>
                </a:lnTo>
                <a:lnTo>
                  <a:pt x="69" y="188"/>
                </a:lnTo>
                <a:lnTo>
                  <a:pt x="72" y="188"/>
                </a:lnTo>
                <a:lnTo>
                  <a:pt x="75" y="185"/>
                </a:lnTo>
                <a:lnTo>
                  <a:pt x="79" y="182"/>
                </a:lnTo>
                <a:lnTo>
                  <a:pt x="79" y="178"/>
                </a:lnTo>
                <a:lnTo>
                  <a:pt x="79" y="172"/>
                </a:lnTo>
                <a:lnTo>
                  <a:pt x="82" y="160"/>
                </a:lnTo>
                <a:lnTo>
                  <a:pt x="79" y="160"/>
                </a:lnTo>
                <a:lnTo>
                  <a:pt x="79" y="153"/>
                </a:lnTo>
                <a:lnTo>
                  <a:pt x="82" y="150"/>
                </a:lnTo>
                <a:lnTo>
                  <a:pt x="88" y="144"/>
                </a:lnTo>
                <a:lnTo>
                  <a:pt x="88" y="138"/>
                </a:lnTo>
                <a:lnTo>
                  <a:pt x="91" y="135"/>
                </a:lnTo>
                <a:lnTo>
                  <a:pt x="94" y="131"/>
                </a:lnTo>
                <a:lnTo>
                  <a:pt x="97" y="131"/>
                </a:lnTo>
                <a:lnTo>
                  <a:pt x="100" y="128"/>
                </a:lnTo>
                <a:lnTo>
                  <a:pt x="104" y="128"/>
                </a:lnTo>
                <a:lnTo>
                  <a:pt x="110" y="119"/>
                </a:lnTo>
                <a:lnTo>
                  <a:pt x="110" y="113"/>
                </a:lnTo>
                <a:lnTo>
                  <a:pt x="113" y="106"/>
                </a:lnTo>
                <a:lnTo>
                  <a:pt x="116" y="103"/>
                </a:lnTo>
                <a:lnTo>
                  <a:pt x="116" y="97"/>
                </a:lnTo>
                <a:lnTo>
                  <a:pt x="116" y="97"/>
                </a:lnTo>
                <a:lnTo>
                  <a:pt x="116" y="91"/>
                </a:lnTo>
                <a:lnTo>
                  <a:pt x="116" y="88"/>
                </a:lnTo>
                <a:lnTo>
                  <a:pt x="116" y="81"/>
                </a:lnTo>
                <a:lnTo>
                  <a:pt x="119" y="78"/>
                </a:lnTo>
                <a:lnTo>
                  <a:pt x="119" y="75"/>
                </a:lnTo>
                <a:lnTo>
                  <a:pt x="119" y="72"/>
                </a:lnTo>
                <a:lnTo>
                  <a:pt x="119" y="63"/>
                </a:lnTo>
                <a:lnTo>
                  <a:pt x="129" y="53"/>
                </a:lnTo>
                <a:lnTo>
                  <a:pt x="129" y="50"/>
                </a:lnTo>
                <a:lnTo>
                  <a:pt x="132" y="47"/>
                </a:lnTo>
                <a:lnTo>
                  <a:pt x="132" y="41"/>
                </a:lnTo>
                <a:lnTo>
                  <a:pt x="129" y="34"/>
                </a:lnTo>
                <a:lnTo>
                  <a:pt x="132" y="31"/>
                </a:lnTo>
                <a:lnTo>
                  <a:pt x="132" y="28"/>
                </a:lnTo>
                <a:lnTo>
                  <a:pt x="132" y="28"/>
                </a:lnTo>
                <a:lnTo>
                  <a:pt x="129" y="22"/>
                </a:lnTo>
                <a:lnTo>
                  <a:pt x="129" y="22"/>
                </a:lnTo>
                <a:lnTo>
                  <a:pt x="132" y="19"/>
                </a:lnTo>
                <a:lnTo>
                  <a:pt x="135" y="19"/>
                </a:lnTo>
                <a:lnTo>
                  <a:pt x="135" y="16"/>
                </a:lnTo>
                <a:lnTo>
                  <a:pt x="135" y="16"/>
                </a:lnTo>
                <a:lnTo>
                  <a:pt x="135" y="13"/>
                </a:lnTo>
                <a:lnTo>
                  <a:pt x="138" y="9"/>
                </a:lnTo>
                <a:lnTo>
                  <a:pt x="141" y="9"/>
                </a:lnTo>
                <a:lnTo>
                  <a:pt x="144" y="6"/>
                </a:lnTo>
                <a:lnTo>
                  <a:pt x="147" y="9"/>
                </a:lnTo>
                <a:lnTo>
                  <a:pt x="147" y="6"/>
                </a:lnTo>
                <a:lnTo>
                  <a:pt x="147" y="6"/>
                </a:lnTo>
                <a:lnTo>
                  <a:pt x="150" y="9"/>
                </a:lnTo>
                <a:lnTo>
                  <a:pt x="154" y="9"/>
                </a:lnTo>
                <a:lnTo>
                  <a:pt x="160" y="13"/>
                </a:lnTo>
                <a:lnTo>
                  <a:pt x="163" y="16"/>
                </a:lnTo>
                <a:lnTo>
                  <a:pt x="169" y="19"/>
                </a:lnTo>
                <a:lnTo>
                  <a:pt x="169" y="19"/>
                </a:lnTo>
                <a:lnTo>
                  <a:pt x="172" y="19"/>
                </a:lnTo>
                <a:lnTo>
                  <a:pt x="179" y="22"/>
                </a:lnTo>
                <a:lnTo>
                  <a:pt x="182" y="22"/>
                </a:lnTo>
                <a:lnTo>
                  <a:pt x="185" y="22"/>
                </a:lnTo>
                <a:lnTo>
                  <a:pt x="188" y="22"/>
                </a:lnTo>
                <a:lnTo>
                  <a:pt x="191" y="22"/>
                </a:lnTo>
                <a:lnTo>
                  <a:pt x="194" y="22"/>
                </a:lnTo>
                <a:lnTo>
                  <a:pt x="197" y="25"/>
                </a:lnTo>
                <a:lnTo>
                  <a:pt x="200" y="25"/>
                </a:lnTo>
                <a:lnTo>
                  <a:pt x="204" y="25"/>
                </a:lnTo>
                <a:lnTo>
                  <a:pt x="204" y="22"/>
                </a:lnTo>
                <a:lnTo>
                  <a:pt x="204" y="22"/>
                </a:lnTo>
                <a:lnTo>
                  <a:pt x="204" y="19"/>
                </a:lnTo>
                <a:lnTo>
                  <a:pt x="207" y="16"/>
                </a:lnTo>
                <a:lnTo>
                  <a:pt x="210" y="13"/>
                </a:lnTo>
                <a:lnTo>
                  <a:pt x="213" y="13"/>
                </a:lnTo>
                <a:lnTo>
                  <a:pt x="216" y="13"/>
                </a:lnTo>
                <a:lnTo>
                  <a:pt x="219" y="16"/>
                </a:lnTo>
                <a:lnTo>
                  <a:pt x="222" y="16"/>
                </a:lnTo>
                <a:lnTo>
                  <a:pt x="229" y="13"/>
                </a:lnTo>
                <a:lnTo>
                  <a:pt x="232" y="13"/>
                </a:lnTo>
                <a:lnTo>
                  <a:pt x="235" y="9"/>
                </a:lnTo>
                <a:lnTo>
                  <a:pt x="241" y="6"/>
                </a:lnTo>
                <a:lnTo>
                  <a:pt x="244" y="6"/>
                </a:lnTo>
                <a:lnTo>
                  <a:pt x="244" y="9"/>
                </a:lnTo>
                <a:lnTo>
                  <a:pt x="247" y="9"/>
                </a:lnTo>
                <a:lnTo>
                  <a:pt x="247" y="9"/>
                </a:lnTo>
                <a:lnTo>
                  <a:pt x="250" y="9"/>
                </a:lnTo>
                <a:lnTo>
                  <a:pt x="250" y="9"/>
                </a:lnTo>
                <a:lnTo>
                  <a:pt x="257" y="9"/>
                </a:lnTo>
                <a:lnTo>
                  <a:pt x="260" y="9"/>
                </a:lnTo>
                <a:lnTo>
                  <a:pt x="260" y="9"/>
                </a:lnTo>
                <a:lnTo>
                  <a:pt x="263" y="3"/>
                </a:lnTo>
                <a:lnTo>
                  <a:pt x="263" y="3"/>
                </a:lnTo>
                <a:lnTo>
                  <a:pt x="263" y="3"/>
                </a:lnTo>
                <a:lnTo>
                  <a:pt x="266" y="0"/>
                </a:lnTo>
                <a:lnTo>
                  <a:pt x="269" y="3"/>
                </a:lnTo>
                <a:lnTo>
                  <a:pt x="272" y="3"/>
                </a:lnTo>
                <a:lnTo>
                  <a:pt x="275" y="3"/>
                </a:lnTo>
                <a:lnTo>
                  <a:pt x="275" y="6"/>
                </a:lnTo>
                <a:lnTo>
                  <a:pt x="279" y="6"/>
                </a:lnTo>
                <a:lnTo>
                  <a:pt x="282" y="6"/>
                </a:lnTo>
                <a:lnTo>
                  <a:pt x="288" y="6"/>
                </a:lnTo>
                <a:lnTo>
                  <a:pt x="291" y="9"/>
                </a:lnTo>
                <a:lnTo>
                  <a:pt x="297" y="6"/>
                </a:lnTo>
                <a:lnTo>
                  <a:pt x="300" y="6"/>
                </a:lnTo>
                <a:lnTo>
                  <a:pt x="304" y="6"/>
                </a:lnTo>
                <a:lnTo>
                  <a:pt x="307" y="9"/>
                </a:lnTo>
                <a:lnTo>
                  <a:pt x="307" y="13"/>
                </a:lnTo>
                <a:lnTo>
                  <a:pt x="310" y="13"/>
                </a:lnTo>
                <a:lnTo>
                  <a:pt x="310" y="16"/>
                </a:lnTo>
                <a:lnTo>
                  <a:pt x="313" y="16"/>
                </a:lnTo>
                <a:lnTo>
                  <a:pt x="316" y="19"/>
                </a:lnTo>
                <a:lnTo>
                  <a:pt x="322" y="22"/>
                </a:lnTo>
                <a:lnTo>
                  <a:pt x="322" y="22"/>
                </a:lnTo>
                <a:lnTo>
                  <a:pt x="325" y="19"/>
                </a:lnTo>
                <a:lnTo>
                  <a:pt x="329" y="19"/>
                </a:lnTo>
                <a:lnTo>
                  <a:pt x="332" y="19"/>
                </a:lnTo>
                <a:lnTo>
                  <a:pt x="335" y="19"/>
                </a:lnTo>
                <a:lnTo>
                  <a:pt x="335" y="19"/>
                </a:lnTo>
                <a:lnTo>
                  <a:pt x="338" y="19"/>
                </a:lnTo>
                <a:lnTo>
                  <a:pt x="341" y="19"/>
                </a:lnTo>
                <a:lnTo>
                  <a:pt x="341" y="16"/>
                </a:lnTo>
                <a:lnTo>
                  <a:pt x="344" y="13"/>
                </a:lnTo>
                <a:lnTo>
                  <a:pt x="347" y="13"/>
                </a:lnTo>
                <a:lnTo>
                  <a:pt x="350" y="13"/>
                </a:lnTo>
                <a:lnTo>
                  <a:pt x="354" y="19"/>
                </a:lnTo>
                <a:lnTo>
                  <a:pt x="354" y="22"/>
                </a:lnTo>
                <a:lnTo>
                  <a:pt x="357" y="22"/>
                </a:lnTo>
                <a:lnTo>
                  <a:pt x="360" y="25"/>
                </a:lnTo>
                <a:lnTo>
                  <a:pt x="363" y="28"/>
                </a:lnTo>
                <a:lnTo>
                  <a:pt x="366" y="31"/>
                </a:lnTo>
                <a:lnTo>
                  <a:pt x="366" y="31"/>
                </a:lnTo>
                <a:lnTo>
                  <a:pt x="366" y="34"/>
                </a:lnTo>
                <a:lnTo>
                  <a:pt x="366" y="38"/>
                </a:lnTo>
                <a:lnTo>
                  <a:pt x="369" y="38"/>
                </a:lnTo>
                <a:lnTo>
                  <a:pt x="372" y="38"/>
                </a:lnTo>
                <a:lnTo>
                  <a:pt x="375" y="38"/>
                </a:lnTo>
                <a:lnTo>
                  <a:pt x="372" y="41"/>
                </a:lnTo>
                <a:lnTo>
                  <a:pt x="372" y="44"/>
                </a:lnTo>
                <a:lnTo>
                  <a:pt x="372" y="50"/>
                </a:lnTo>
                <a:lnTo>
                  <a:pt x="369" y="56"/>
                </a:lnTo>
                <a:lnTo>
                  <a:pt x="369" y="60"/>
                </a:lnTo>
                <a:lnTo>
                  <a:pt x="372" y="63"/>
                </a:lnTo>
                <a:lnTo>
                  <a:pt x="375" y="66"/>
                </a:lnTo>
                <a:lnTo>
                  <a:pt x="375" y="69"/>
                </a:lnTo>
                <a:lnTo>
                  <a:pt x="375" y="72"/>
                </a:lnTo>
                <a:lnTo>
                  <a:pt x="366" y="85"/>
                </a:lnTo>
                <a:lnTo>
                  <a:pt x="360" y="91"/>
                </a:lnTo>
                <a:lnTo>
                  <a:pt x="357" y="94"/>
                </a:lnTo>
                <a:lnTo>
                  <a:pt x="350" y="106"/>
                </a:lnTo>
                <a:lnTo>
                  <a:pt x="347" y="110"/>
                </a:lnTo>
                <a:lnTo>
                  <a:pt x="347" y="116"/>
                </a:lnTo>
                <a:lnTo>
                  <a:pt x="347" y="122"/>
                </a:lnTo>
                <a:lnTo>
                  <a:pt x="344" y="128"/>
                </a:lnTo>
                <a:lnTo>
                  <a:pt x="344" y="135"/>
                </a:lnTo>
                <a:lnTo>
                  <a:pt x="341" y="138"/>
                </a:lnTo>
                <a:lnTo>
                  <a:pt x="338" y="144"/>
                </a:lnTo>
                <a:lnTo>
                  <a:pt x="335" y="156"/>
                </a:lnTo>
                <a:lnTo>
                  <a:pt x="332" y="160"/>
                </a:lnTo>
                <a:lnTo>
                  <a:pt x="335" y="166"/>
                </a:lnTo>
                <a:lnTo>
                  <a:pt x="335" y="169"/>
                </a:lnTo>
                <a:lnTo>
                  <a:pt x="335" y="175"/>
                </a:lnTo>
                <a:lnTo>
                  <a:pt x="341" y="213"/>
                </a:lnTo>
                <a:lnTo>
                  <a:pt x="347" y="238"/>
                </a:lnTo>
                <a:lnTo>
                  <a:pt x="360" y="257"/>
                </a:lnTo>
                <a:lnTo>
                  <a:pt x="366" y="272"/>
                </a:lnTo>
                <a:lnTo>
                  <a:pt x="363" y="269"/>
                </a:lnTo>
                <a:lnTo>
                  <a:pt x="332" y="278"/>
                </a:lnTo>
                <a:lnTo>
                  <a:pt x="322" y="294"/>
                </a:lnTo>
                <a:lnTo>
                  <a:pt x="322" y="297"/>
                </a:lnTo>
                <a:lnTo>
                  <a:pt x="325" y="300"/>
                </a:lnTo>
                <a:lnTo>
                  <a:pt x="329" y="300"/>
                </a:lnTo>
                <a:lnTo>
                  <a:pt x="329" y="304"/>
                </a:lnTo>
                <a:lnTo>
                  <a:pt x="325" y="304"/>
                </a:lnTo>
                <a:lnTo>
                  <a:pt x="325" y="307"/>
                </a:lnTo>
                <a:lnTo>
                  <a:pt x="325" y="310"/>
                </a:lnTo>
                <a:lnTo>
                  <a:pt x="325" y="313"/>
                </a:lnTo>
                <a:lnTo>
                  <a:pt x="325" y="316"/>
                </a:lnTo>
                <a:lnTo>
                  <a:pt x="325" y="316"/>
                </a:lnTo>
                <a:lnTo>
                  <a:pt x="325" y="319"/>
                </a:lnTo>
                <a:lnTo>
                  <a:pt x="325" y="319"/>
                </a:lnTo>
                <a:lnTo>
                  <a:pt x="319" y="325"/>
                </a:lnTo>
                <a:lnTo>
                  <a:pt x="319" y="325"/>
                </a:lnTo>
                <a:lnTo>
                  <a:pt x="319" y="338"/>
                </a:lnTo>
                <a:lnTo>
                  <a:pt x="319" y="344"/>
                </a:lnTo>
                <a:lnTo>
                  <a:pt x="322" y="344"/>
                </a:lnTo>
                <a:lnTo>
                  <a:pt x="329" y="350"/>
                </a:lnTo>
                <a:lnTo>
                  <a:pt x="329" y="354"/>
                </a:lnTo>
                <a:lnTo>
                  <a:pt x="332" y="357"/>
                </a:lnTo>
                <a:lnTo>
                  <a:pt x="338" y="357"/>
                </a:lnTo>
                <a:lnTo>
                  <a:pt x="341" y="357"/>
                </a:lnTo>
                <a:lnTo>
                  <a:pt x="338" y="354"/>
                </a:lnTo>
                <a:lnTo>
                  <a:pt x="338" y="350"/>
                </a:lnTo>
                <a:lnTo>
                  <a:pt x="344" y="350"/>
                </a:lnTo>
                <a:lnTo>
                  <a:pt x="344" y="350"/>
                </a:lnTo>
                <a:lnTo>
                  <a:pt x="347" y="372"/>
                </a:lnTo>
                <a:lnTo>
                  <a:pt x="344" y="375"/>
                </a:lnTo>
                <a:lnTo>
                  <a:pt x="341" y="372"/>
                </a:lnTo>
                <a:lnTo>
                  <a:pt x="341" y="372"/>
                </a:lnTo>
                <a:lnTo>
                  <a:pt x="341" y="372"/>
                </a:lnTo>
                <a:lnTo>
                  <a:pt x="338" y="372"/>
                </a:lnTo>
                <a:lnTo>
                  <a:pt x="335" y="375"/>
                </a:lnTo>
                <a:lnTo>
                  <a:pt x="332" y="375"/>
                </a:lnTo>
                <a:lnTo>
                  <a:pt x="329" y="369"/>
                </a:lnTo>
                <a:lnTo>
                  <a:pt x="322" y="366"/>
                </a:lnTo>
                <a:lnTo>
                  <a:pt x="319" y="363"/>
                </a:lnTo>
                <a:lnTo>
                  <a:pt x="316" y="357"/>
                </a:lnTo>
                <a:lnTo>
                  <a:pt x="313" y="354"/>
                </a:lnTo>
                <a:lnTo>
                  <a:pt x="304" y="354"/>
                </a:lnTo>
                <a:lnTo>
                  <a:pt x="300" y="350"/>
                </a:lnTo>
                <a:lnTo>
                  <a:pt x="300" y="347"/>
                </a:lnTo>
                <a:lnTo>
                  <a:pt x="297" y="344"/>
                </a:lnTo>
                <a:lnTo>
                  <a:pt x="297" y="338"/>
                </a:lnTo>
                <a:lnTo>
                  <a:pt x="294" y="338"/>
                </a:lnTo>
                <a:lnTo>
                  <a:pt x="294" y="338"/>
                </a:lnTo>
                <a:lnTo>
                  <a:pt x="291" y="338"/>
                </a:lnTo>
                <a:lnTo>
                  <a:pt x="288" y="344"/>
                </a:lnTo>
                <a:lnTo>
                  <a:pt x="288" y="347"/>
                </a:lnTo>
                <a:lnTo>
                  <a:pt x="282" y="347"/>
                </a:lnTo>
                <a:lnTo>
                  <a:pt x="279" y="347"/>
                </a:lnTo>
                <a:lnTo>
                  <a:pt x="279" y="347"/>
                </a:lnTo>
                <a:lnTo>
                  <a:pt x="275" y="347"/>
                </a:lnTo>
                <a:lnTo>
                  <a:pt x="269" y="344"/>
                </a:lnTo>
                <a:lnTo>
                  <a:pt x="266" y="341"/>
                </a:lnTo>
                <a:lnTo>
                  <a:pt x="263" y="341"/>
                </a:lnTo>
                <a:lnTo>
                  <a:pt x="260" y="341"/>
                </a:lnTo>
                <a:lnTo>
                  <a:pt x="260" y="341"/>
                </a:lnTo>
                <a:lnTo>
                  <a:pt x="260" y="338"/>
                </a:lnTo>
                <a:lnTo>
                  <a:pt x="260" y="335"/>
                </a:lnTo>
                <a:lnTo>
                  <a:pt x="257" y="335"/>
                </a:lnTo>
                <a:lnTo>
                  <a:pt x="257" y="332"/>
                </a:lnTo>
                <a:lnTo>
                  <a:pt x="257" y="329"/>
                </a:lnTo>
                <a:lnTo>
                  <a:pt x="250" y="332"/>
                </a:lnTo>
                <a:lnTo>
                  <a:pt x="250" y="332"/>
                </a:lnTo>
                <a:lnTo>
                  <a:pt x="247" y="332"/>
                </a:lnTo>
                <a:lnTo>
                  <a:pt x="244" y="335"/>
                </a:lnTo>
                <a:lnTo>
                  <a:pt x="241" y="335"/>
                </a:lnTo>
                <a:lnTo>
                  <a:pt x="241" y="335"/>
                </a:lnTo>
                <a:lnTo>
                  <a:pt x="241" y="335"/>
                </a:lnTo>
                <a:lnTo>
                  <a:pt x="241" y="332"/>
                </a:lnTo>
                <a:lnTo>
                  <a:pt x="238" y="329"/>
                </a:lnTo>
                <a:lnTo>
                  <a:pt x="235" y="329"/>
                </a:lnTo>
                <a:lnTo>
                  <a:pt x="235" y="329"/>
                </a:lnTo>
                <a:lnTo>
                  <a:pt x="232" y="329"/>
                </a:lnTo>
                <a:lnTo>
                  <a:pt x="232" y="329"/>
                </a:lnTo>
                <a:lnTo>
                  <a:pt x="229" y="329"/>
                </a:lnTo>
                <a:lnTo>
                  <a:pt x="225" y="329"/>
                </a:lnTo>
                <a:lnTo>
                  <a:pt x="222" y="332"/>
                </a:lnTo>
                <a:lnTo>
                  <a:pt x="219" y="332"/>
                </a:lnTo>
                <a:lnTo>
                  <a:pt x="219" y="332"/>
                </a:lnTo>
                <a:lnTo>
                  <a:pt x="216" y="332"/>
                </a:lnTo>
                <a:lnTo>
                  <a:pt x="210" y="332"/>
                </a:lnTo>
                <a:lnTo>
                  <a:pt x="210" y="332"/>
                </a:lnTo>
                <a:lnTo>
                  <a:pt x="207" y="329"/>
                </a:lnTo>
                <a:lnTo>
                  <a:pt x="204" y="329"/>
                </a:lnTo>
                <a:lnTo>
                  <a:pt x="204" y="329"/>
                </a:lnTo>
                <a:lnTo>
                  <a:pt x="200" y="329"/>
                </a:lnTo>
                <a:lnTo>
                  <a:pt x="200" y="332"/>
                </a:lnTo>
                <a:lnTo>
                  <a:pt x="197" y="332"/>
                </a:lnTo>
                <a:lnTo>
                  <a:pt x="197" y="329"/>
                </a:lnTo>
                <a:lnTo>
                  <a:pt x="197" y="325"/>
                </a:lnTo>
                <a:lnTo>
                  <a:pt x="197" y="325"/>
                </a:lnTo>
                <a:lnTo>
                  <a:pt x="197" y="322"/>
                </a:lnTo>
                <a:lnTo>
                  <a:pt x="200" y="322"/>
                </a:lnTo>
                <a:lnTo>
                  <a:pt x="197" y="319"/>
                </a:lnTo>
                <a:lnTo>
                  <a:pt x="197" y="316"/>
                </a:lnTo>
                <a:lnTo>
                  <a:pt x="197" y="313"/>
                </a:lnTo>
                <a:lnTo>
                  <a:pt x="197" y="313"/>
                </a:lnTo>
                <a:lnTo>
                  <a:pt x="194" y="310"/>
                </a:lnTo>
                <a:lnTo>
                  <a:pt x="194" y="307"/>
                </a:lnTo>
                <a:lnTo>
                  <a:pt x="197" y="304"/>
                </a:lnTo>
                <a:lnTo>
                  <a:pt x="194" y="304"/>
                </a:lnTo>
                <a:lnTo>
                  <a:pt x="194" y="300"/>
                </a:lnTo>
                <a:lnTo>
                  <a:pt x="194" y="300"/>
                </a:lnTo>
                <a:lnTo>
                  <a:pt x="191" y="297"/>
                </a:lnTo>
                <a:lnTo>
                  <a:pt x="191" y="297"/>
                </a:lnTo>
                <a:lnTo>
                  <a:pt x="191" y="294"/>
                </a:lnTo>
                <a:lnTo>
                  <a:pt x="191" y="291"/>
                </a:lnTo>
                <a:lnTo>
                  <a:pt x="188" y="291"/>
                </a:lnTo>
                <a:lnTo>
                  <a:pt x="191" y="288"/>
                </a:lnTo>
                <a:lnTo>
                  <a:pt x="191" y="278"/>
                </a:lnTo>
                <a:lnTo>
                  <a:pt x="188" y="275"/>
                </a:lnTo>
                <a:lnTo>
                  <a:pt x="188" y="275"/>
                </a:lnTo>
                <a:lnTo>
                  <a:pt x="191" y="275"/>
                </a:lnTo>
                <a:lnTo>
                  <a:pt x="191" y="272"/>
                </a:lnTo>
                <a:lnTo>
                  <a:pt x="188" y="269"/>
                </a:lnTo>
                <a:lnTo>
                  <a:pt x="188" y="266"/>
                </a:lnTo>
                <a:lnTo>
                  <a:pt x="191" y="263"/>
                </a:lnTo>
                <a:lnTo>
                  <a:pt x="191" y="260"/>
                </a:lnTo>
                <a:lnTo>
                  <a:pt x="191" y="257"/>
                </a:lnTo>
                <a:lnTo>
                  <a:pt x="191" y="253"/>
                </a:lnTo>
                <a:lnTo>
                  <a:pt x="166" y="250"/>
                </a:lnTo>
                <a:lnTo>
                  <a:pt x="166" y="250"/>
                </a:lnTo>
                <a:lnTo>
                  <a:pt x="169" y="247"/>
                </a:lnTo>
                <a:lnTo>
                  <a:pt x="169" y="244"/>
                </a:lnTo>
                <a:lnTo>
                  <a:pt x="163" y="244"/>
                </a:lnTo>
                <a:lnTo>
                  <a:pt x="163" y="247"/>
                </a:lnTo>
                <a:lnTo>
                  <a:pt x="144" y="247"/>
                </a:lnTo>
                <a:lnTo>
                  <a:pt x="141" y="253"/>
                </a:lnTo>
                <a:lnTo>
                  <a:pt x="141" y="257"/>
                </a:lnTo>
                <a:lnTo>
                  <a:pt x="138" y="257"/>
                </a:lnTo>
                <a:lnTo>
                  <a:pt x="141" y="260"/>
                </a:lnTo>
                <a:lnTo>
                  <a:pt x="141" y="266"/>
                </a:lnTo>
                <a:lnTo>
                  <a:pt x="125" y="266"/>
                </a:lnTo>
                <a:lnTo>
                  <a:pt x="122" y="269"/>
                </a:lnTo>
                <a:lnTo>
                  <a:pt x="116" y="269"/>
                </a:lnTo>
                <a:lnTo>
                  <a:pt x="113" y="266"/>
                </a:lnTo>
                <a:lnTo>
                  <a:pt x="110" y="269"/>
                </a:lnTo>
                <a:lnTo>
                  <a:pt x="104" y="269"/>
                </a:lnTo>
                <a:lnTo>
                  <a:pt x="104" y="266"/>
                </a:lnTo>
                <a:lnTo>
                  <a:pt x="100" y="260"/>
                </a:lnTo>
                <a:lnTo>
                  <a:pt x="100" y="257"/>
                </a:lnTo>
                <a:lnTo>
                  <a:pt x="97" y="253"/>
                </a:lnTo>
                <a:lnTo>
                  <a:pt x="94" y="253"/>
                </a:lnTo>
                <a:lnTo>
                  <a:pt x="94" y="250"/>
                </a:lnTo>
                <a:lnTo>
                  <a:pt x="94" y="247"/>
                </a:lnTo>
                <a:lnTo>
                  <a:pt x="94" y="244"/>
                </a:lnTo>
                <a:lnTo>
                  <a:pt x="91" y="241"/>
                </a:lnTo>
                <a:lnTo>
                  <a:pt x="91" y="238"/>
                </a:lnTo>
                <a:lnTo>
                  <a:pt x="94" y="235"/>
                </a:lnTo>
                <a:lnTo>
                  <a:pt x="91" y="232"/>
                </a:lnTo>
                <a:lnTo>
                  <a:pt x="91" y="232"/>
                </a:lnTo>
                <a:lnTo>
                  <a:pt x="91" y="228"/>
                </a:lnTo>
                <a:lnTo>
                  <a:pt x="91" y="228"/>
                </a:lnTo>
                <a:lnTo>
                  <a:pt x="91" y="225"/>
                </a:lnTo>
                <a:lnTo>
                  <a:pt x="69" y="225"/>
                </a:lnTo>
                <a:lnTo>
                  <a:pt x="57" y="225"/>
                </a:lnTo>
                <a:lnTo>
                  <a:pt x="50" y="225"/>
                </a:lnTo>
                <a:lnTo>
                  <a:pt x="44" y="225"/>
                </a:lnTo>
                <a:lnTo>
                  <a:pt x="41" y="225"/>
                </a:lnTo>
                <a:lnTo>
                  <a:pt x="35" y="225"/>
                </a:lnTo>
                <a:lnTo>
                  <a:pt x="29" y="225"/>
                </a:lnTo>
                <a:lnTo>
                  <a:pt x="25" y="225"/>
                </a:lnTo>
                <a:lnTo>
                  <a:pt x="22" y="225"/>
                </a:lnTo>
                <a:lnTo>
                  <a:pt x="19" y="225"/>
                </a:lnTo>
                <a:lnTo>
                  <a:pt x="16" y="225"/>
                </a:lnTo>
                <a:lnTo>
                  <a:pt x="13" y="225"/>
                </a:lnTo>
                <a:lnTo>
                  <a:pt x="13" y="228"/>
                </a:lnTo>
                <a:lnTo>
                  <a:pt x="10" y="228"/>
                </a:lnTo>
                <a:lnTo>
                  <a:pt x="10" y="228"/>
                </a:lnTo>
                <a:lnTo>
                  <a:pt x="10" y="228"/>
                </a:lnTo>
                <a:lnTo>
                  <a:pt x="10" y="228"/>
                </a:lnTo>
                <a:lnTo>
                  <a:pt x="10" y="228"/>
                </a:lnTo>
                <a:lnTo>
                  <a:pt x="7" y="225"/>
                </a:lnTo>
                <a:lnTo>
                  <a:pt x="0" y="225"/>
                </a:lnTo>
                <a:lnTo>
                  <a:pt x="0" y="225"/>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6" name="Freeform 144">
            <a:extLst>
              <a:ext uri="{FF2B5EF4-FFF2-40B4-BE49-F238E27FC236}">
                <a16:creationId xmlns:a16="http://schemas.microsoft.com/office/drawing/2014/main" id="{00D3CA52-0CF9-F2F6-19E7-BD9DFC18DA60}"/>
              </a:ext>
            </a:extLst>
          </p:cNvPr>
          <p:cNvSpPr>
            <a:spLocks/>
          </p:cNvSpPr>
          <p:nvPr userDrawn="1"/>
        </p:nvSpPr>
        <p:spPr bwMode="auto">
          <a:xfrm>
            <a:off x="15194560" y="9971959"/>
            <a:ext cx="196837" cy="498478"/>
          </a:xfrm>
          <a:custGeom>
            <a:avLst/>
            <a:gdLst>
              <a:gd name="T0" fmla="*/ 9 w 62"/>
              <a:gd name="T1" fmla="*/ 0 h 157"/>
              <a:gd name="T2" fmla="*/ 12 w 62"/>
              <a:gd name="T3" fmla="*/ 3 h 157"/>
              <a:gd name="T4" fmla="*/ 15 w 62"/>
              <a:gd name="T5" fmla="*/ 3 h 157"/>
              <a:gd name="T6" fmla="*/ 18 w 62"/>
              <a:gd name="T7" fmla="*/ 3 h 157"/>
              <a:gd name="T8" fmla="*/ 21 w 62"/>
              <a:gd name="T9" fmla="*/ 3 h 157"/>
              <a:gd name="T10" fmla="*/ 25 w 62"/>
              <a:gd name="T11" fmla="*/ 6 h 157"/>
              <a:gd name="T12" fmla="*/ 31 w 62"/>
              <a:gd name="T13" fmla="*/ 16 h 157"/>
              <a:gd name="T14" fmla="*/ 34 w 62"/>
              <a:gd name="T15" fmla="*/ 56 h 157"/>
              <a:gd name="T16" fmla="*/ 34 w 62"/>
              <a:gd name="T17" fmla="*/ 78 h 157"/>
              <a:gd name="T18" fmla="*/ 43 w 62"/>
              <a:gd name="T19" fmla="*/ 85 h 157"/>
              <a:gd name="T20" fmla="*/ 46 w 62"/>
              <a:gd name="T21" fmla="*/ 88 h 157"/>
              <a:gd name="T22" fmla="*/ 56 w 62"/>
              <a:gd name="T23" fmla="*/ 97 h 157"/>
              <a:gd name="T24" fmla="*/ 62 w 62"/>
              <a:gd name="T25" fmla="*/ 106 h 157"/>
              <a:gd name="T26" fmla="*/ 62 w 62"/>
              <a:gd name="T27" fmla="*/ 113 h 157"/>
              <a:gd name="T28" fmla="*/ 59 w 62"/>
              <a:gd name="T29" fmla="*/ 116 h 157"/>
              <a:gd name="T30" fmla="*/ 56 w 62"/>
              <a:gd name="T31" fmla="*/ 116 h 157"/>
              <a:gd name="T32" fmla="*/ 56 w 62"/>
              <a:gd name="T33" fmla="*/ 119 h 157"/>
              <a:gd name="T34" fmla="*/ 59 w 62"/>
              <a:gd name="T35" fmla="*/ 128 h 157"/>
              <a:gd name="T36" fmla="*/ 56 w 62"/>
              <a:gd name="T37" fmla="*/ 135 h 157"/>
              <a:gd name="T38" fmla="*/ 50 w 62"/>
              <a:gd name="T39" fmla="*/ 141 h 157"/>
              <a:gd name="T40" fmla="*/ 46 w 62"/>
              <a:gd name="T41" fmla="*/ 147 h 157"/>
              <a:gd name="T42" fmla="*/ 46 w 62"/>
              <a:gd name="T43" fmla="*/ 157 h 157"/>
              <a:gd name="T44" fmla="*/ 43 w 62"/>
              <a:gd name="T45" fmla="*/ 157 h 157"/>
              <a:gd name="T46" fmla="*/ 40 w 62"/>
              <a:gd name="T47" fmla="*/ 150 h 157"/>
              <a:gd name="T48" fmla="*/ 37 w 62"/>
              <a:gd name="T49" fmla="*/ 147 h 157"/>
              <a:gd name="T50" fmla="*/ 31 w 62"/>
              <a:gd name="T51" fmla="*/ 138 h 157"/>
              <a:gd name="T52" fmla="*/ 28 w 62"/>
              <a:gd name="T53" fmla="*/ 132 h 157"/>
              <a:gd name="T54" fmla="*/ 31 w 62"/>
              <a:gd name="T55" fmla="*/ 125 h 157"/>
              <a:gd name="T56" fmla="*/ 34 w 62"/>
              <a:gd name="T57" fmla="*/ 116 h 157"/>
              <a:gd name="T58" fmla="*/ 34 w 62"/>
              <a:gd name="T59" fmla="*/ 106 h 157"/>
              <a:gd name="T60" fmla="*/ 28 w 62"/>
              <a:gd name="T61" fmla="*/ 100 h 157"/>
              <a:gd name="T62" fmla="*/ 21 w 62"/>
              <a:gd name="T63" fmla="*/ 103 h 157"/>
              <a:gd name="T64" fmla="*/ 18 w 62"/>
              <a:gd name="T65" fmla="*/ 103 h 157"/>
              <a:gd name="T66" fmla="*/ 15 w 62"/>
              <a:gd name="T67" fmla="*/ 100 h 157"/>
              <a:gd name="T68" fmla="*/ 12 w 62"/>
              <a:gd name="T69" fmla="*/ 97 h 157"/>
              <a:gd name="T70" fmla="*/ 6 w 62"/>
              <a:gd name="T71" fmla="*/ 94 h 157"/>
              <a:gd name="T72" fmla="*/ 3 w 62"/>
              <a:gd name="T73" fmla="*/ 88 h 157"/>
              <a:gd name="T74" fmla="*/ 0 w 62"/>
              <a:gd name="T75" fmla="*/ 85 h 157"/>
              <a:gd name="T76" fmla="*/ 6 w 62"/>
              <a:gd name="T77" fmla="*/ 78 h 157"/>
              <a:gd name="T78" fmla="*/ 6 w 62"/>
              <a:gd name="T79" fmla="*/ 75 h 157"/>
              <a:gd name="T80" fmla="*/ 6 w 62"/>
              <a:gd name="T81" fmla="*/ 69 h 157"/>
              <a:gd name="T82" fmla="*/ 9 w 62"/>
              <a:gd name="T83" fmla="*/ 66 h 157"/>
              <a:gd name="T84" fmla="*/ 15 w 62"/>
              <a:gd name="T85" fmla="*/ 63 h 157"/>
              <a:gd name="T86" fmla="*/ 15 w 62"/>
              <a:gd name="T87" fmla="*/ 60 h 157"/>
              <a:gd name="T88" fmla="*/ 12 w 62"/>
              <a:gd name="T89" fmla="*/ 56 h 157"/>
              <a:gd name="T90" fmla="*/ 12 w 62"/>
              <a:gd name="T91" fmla="*/ 53 h 157"/>
              <a:gd name="T92" fmla="*/ 12 w 62"/>
              <a:gd name="T93" fmla="*/ 47 h 157"/>
              <a:gd name="T94" fmla="*/ 12 w 62"/>
              <a:gd name="T95" fmla="*/ 44 h 157"/>
              <a:gd name="T96" fmla="*/ 12 w 62"/>
              <a:gd name="T97" fmla="*/ 38 h 157"/>
              <a:gd name="T98" fmla="*/ 18 w 62"/>
              <a:gd name="T99" fmla="*/ 28 h 157"/>
              <a:gd name="T100" fmla="*/ 18 w 62"/>
              <a:gd name="T101" fmla="*/ 28 h 157"/>
              <a:gd name="T102" fmla="*/ 15 w 62"/>
              <a:gd name="T103" fmla="*/ 19 h 157"/>
              <a:gd name="T104" fmla="*/ 12 w 62"/>
              <a:gd name="T105" fmla="*/ 16 h 157"/>
              <a:gd name="T106" fmla="*/ 15 w 62"/>
              <a:gd name="T107" fmla="*/ 10 h 157"/>
              <a:gd name="T108" fmla="*/ 9 w 62"/>
              <a:gd name="T109" fmla="*/ 6 h 157"/>
              <a:gd name="T110" fmla="*/ 9 w 62"/>
              <a:gd name="T111" fmla="*/ 3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 h="157">
                <a:moveTo>
                  <a:pt x="6" y="0"/>
                </a:moveTo>
                <a:lnTo>
                  <a:pt x="9" y="0"/>
                </a:lnTo>
                <a:lnTo>
                  <a:pt x="9" y="0"/>
                </a:lnTo>
                <a:lnTo>
                  <a:pt x="12" y="3"/>
                </a:lnTo>
                <a:lnTo>
                  <a:pt x="12" y="3"/>
                </a:lnTo>
                <a:lnTo>
                  <a:pt x="15" y="3"/>
                </a:lnTo>
                <a:lnTo>
                  <a:pt x="15" y="3"/>
                </a:lnTo>
                <a:lnTo>
                  <a:pt x="18" y="3"/>
                </a:lnTo>
                <a:lnTo>
                  <a:pt x="18" y="3"/>
                </a:lnTo>
                <a:lnTo>
                  <a:pt x="21" y="3"/>
                </a:lnTo>
                <a:lnTo>
                  <a:pt x="21" y="6"/>
                </a:lnTo>
                <a:lnTo>
                  <a:pt x="25" y="6"/>
                </a:lnTo>
                <a:lnTo>
                  <a:pt x="25" y="10"/>
                </a:lnTo>
                <a:lnTo>
                  <a:pt x="31" y="16"/>
                </a:lnTo>
                <a:lnTo>
                  <a:pt x="34" y="25"/>
                </a:lnTo>
                <a:lnTo>
                  <a:pt x="34" y="56"/>
                </a:lnTo>
                <a:lnTo>
                  <a:pt x="31" y="60"/>
                </a:lnTo>
                <a:lnTo>
                  <a:pt x="34" y="78"/>
                </a:lnTo>
                <a:lnTo>
                  <a:pt x="40" y="81"/>
                </a:lnTo>
                <a:lnTo>
                  <a:pt x="43" y="85"/>
                </a:lnTo>
                <a:lnTo>
                  <a:pt x="46" y="88"/>
                </a:lnTo>
                <a:lnTo>
                  <a:pt x="46" y="88"/>
                </a:lnTo>
                <a:lnTo>
                  <a:pt x="53" y="94"/>
                </a:lnTo>
                <a:lnTo>
                  <a:pt x="56" y="97"/>
                </a:lnTo>
                <a:lnTo>
                  <a:pt x="59" y="103"/>
                </a:lnTo>
                <a:lnTo>
                  <a:pt x="62" y="106"/>
                </a:lnTo>
                <a:lnTo>
                  <a:pt x="62" y="110"/>
                </a:lnTo>
                <a:lnTo>
                  <a:pt x="62" y="113"/>
                </a:lnTo>
                <a:lnTo>
                  <a:pt x="59" y="113"/>
                </a:lnTo>
                <a:lnTo>
                  <a:pt x="59" y="116"/>
                </a:lnTo>
                <a:lnTo>
                  <a:pt x="56" y="116"/>
                </a:lnTo>
                <a:lnTo>
                  <a:pt x="56" y="116"/>
                </a:lnTo>
                <a:lnTo>
                  <a:pt x="59" y="119"/>
                </a:lnTo>
                <a:lnTo>
                  <a:pt x="56" y="119"/>
                </a:lnTo>
                <a:lnTo>
                  <a:pt x="59" y="122"/>
                </a:lnTo>
                <a:lnTo>
                  <a:pt x="59" y="128"/>
                </a:lnTo>
                <a:lnTo>
                  <a:pt x="59" y="132"/>
                </a:lnTo>
                <a:lnTo>
                  <a:pt x="56" y="135"/>
                </a:lnTo>
                <a:lnTo>
                  <a:pt x="50" y="135"/>
                </a:lnTo>
                <a:lnTo>
                  <a:pt x="50" y="141"/>
                </a:lnTo>
                <a:lnTo>
                  <a:pt x="50" y="144"/>
                </a:lnTo>
                <a:lnTo>
                  <a:pt x="46" y="147"/>
                </a:lnTo>
                <a:lnTo>
                  <a:pt x="46" y="153"/>
                </a:lnTo>
                <a:lnTo>
                  <a:pt x="46" y="157"/>
                </a:lnTo>
                <a:lnTo>
                  <a:pt x="43" y="157"/>
                </a:lnTo>
                <a:lnTo>
                  <a:pt x="43" y="157"/>
                </a:lnTo>
                <a:lnTo>
                  <a:pt x="43" y="153"/>
                </a:lnTo>
                <a:lnTo>
                  <a:pt x="40" y="150"/>
                </a:lnTo>
                <a:lnTo>
                  <a:pt x="40" y="147"/>
                </a:lnTo>
                <a:lnTo>
                  <a:pt x="37" y="147"/>
                </a:lnTo>
                <a:lnTo>
                  <a:pt x="34" y="144"/>
                </a:lnTo>
                <a:lnTo>
                  <a:pt x="31" y="138"/>
                </a:lnTo>
                <a:lnTo>
                  <a:pt x="28" y="135"/>
                </a:lnTo>
                <a:lnTo>
                  <a:pt x="28" y="132"/>
                </a:lnTo>
                <a:lnTo>
                  <a:pt x="28" y="128"/>
                </a:lnTo>
                <a:lnTo>
                  <a:pt x="31" y="125"/>
                </a:lnTo>
                <a:lnTo>
                  <a:pt x="31" y="119"/>
                </a:lnTo>
                <a:lnTo>
                  <a:pt x="34" y="116"/>
                </a:lnTo>
                <a:lnTo>
                  <a:pt x="34" y="110"/>
                </a:lnTo>
                <a:lnTo>
                  <a:pt x="34" y="106"/>
                </a:lnTo>
                <a:lnTo>
                  <a:pt x="34" y="103"/>
                </a:lnTo>
                <a:lnTo>
                  <a:pt x="28" y="100"/>
                </a:lnTo>
                <a:lnTo>
                  <a:pt x="25" y="100"/>
                </a:lnTo>
                <a:lnTo>
                  <a:pt x="21" y="103"/>
                </a:lnTo>
                <a:lnTo>
                  <a:pt x="18" y="103"/>
                </a:lnTo>
                <a:lnTo>
                  <a:pt x="18" y="103"/>
                </a:lnTo>
                <a:lnTo>
                  <a:pt x="15" y="103"/>
                </a:lnTo>
                <a:lnTo>
                  <a:pt x="15" y="100"/>
                </a:lnTo>
                <a:lnTo>
                  <a:pt x="12" y="97"/>
                </a:lnTo>
                <a:lnTo>
                  <a:pt x="12" y="97"/>
                </a:lnTo>
                <a:lnTo>
                  <a:pt x="12" y="94"/>
                </a:lnTo>
                <a:lnTo>
                  <a:pt x="6" y="94"/>
                </a:lnTo>
                <a:lnTo>
                  <a:pt x="6" y="94"/>
                </a:lnTo>
                <a:lnTo>
                  <a:pt x="3" y="88"/>
                </a:lnTo>
                <a:lnTo>
                  <a:pt x="0" y="85"/>
                </a:lnTo>
                <a:lnTo>
                  <a:pt x="0" y="85"/>
                </a:lnTo>
                <a:lnTo>
                  <a:pt x="3" y="81"/>
                </a:lnTo>
                <a:lnTo>
                  <a:pt x="6" y="78"/>
                </a:lnTo>
                <a:lnTo>
                  <a:pt x="6" y="75"/>
                </a:lnTo>
                <a:lnTo>
                  <a:pt x="6" y="75"/>
                </a:lnTo>
                <a:lnTo>
                  <a:pt x="6" y="72"/>
                </a:lnTo>
                <a:lnTo>
                  <a:pt x="6" y="69"/>
                </a:lnTo>
                <a:lnTo>
                  <a:pt x="6" y="69"/>
                </a:lnTo>
                <a:lnTo>
                  <a:pt x="9" y="66"/>
                </a:lnTo>
                <a:lnTo>
                  <a:pt x="12" y="63"/>
                </a:lnTo>
                <a:lnTo>
                  <a:pt x="15" y="63"/>
                </a:lnTo>
                <a:lnTo>
                  <a:pt x="15" y="63"/>
                </a:lnTo>
                <a:lnTo>
                  <a:pt x="15" y="60"/>
                </a:lnTo>
                <a:lnTo>
                  <a:pt x="15" y="60"/>
                </a:lnTo>
                <a:lnTo>
                  <a:pt x="12" y="56"/>
                </a:lnTo>
                <a:lnTo>
                  <a:pt x="12" y="53"/>
                </a:lnTo>
                <a:lnTo>
                  <a:pt x="12" y="53"/>
                </a:lnTo>
                <a:lnTo>
                  <a:pt x="15" y="50"/>
                </a:lnTo>
                <a:lnTo>
                  <a:pt x="12" y="47"/>
                </a:lnTo>
                <a:lnTo>
                  <a:pt x="15" y="47"/>
                </a:lnTo>
                <a:lnTo>
                  <a:pt x="12" y="44"/>
                </a:lnTo>
                <a:lnTo>
                  <a:pt x="12" y="41"/>
                </a:lnTo>
                <a:lnTo>
                  <a:pt x="12" y="38"/>
                </a:lnTo>
                <a:lnTo>
                  <a:pt x="12" y="35"/>
                </a:lnTo>
                <a:lnTo>
                  <a:pt x="18" y="28"/>
                </a:lnTo>
                <a:lnTo>
                  <a:pt x="18" y="28"/>
                </a:lnTo>
                <a:lnTo>
                  <a:pt x="18" y="28"/>
                </a:lnTo>
                <a:lnTo>
                  <a:pt x="18" y="22"/>
                </a:lnTo>
                <a:lnTo>
                  <a:pt x="15" y="19"/>
                </a:lnTo>
                <a:lnTo>
                  <a:pt x="12" y="19"/>
                </a:lnTo>
                <a:lnTo>
                  <a:pt x="12" y="16"/>
                </a:lnTo>
                <a:lnTo>
                  <a:pt x="15" y="10"/>
                </a:lnTo>
                <a:lnTo>
                  <a:pt x="15" y="10"/>
                </a:lnTo>
                <a:lnTo>
                  <a:pt x="12" y="10"/>
                </a:lnTo>
                <a:lnTo>
                  <a:pt x="9" y="6"/>
                </a:lnTo>
                <a:lnTo>
                  <a:pt x="9" y="3"/>
                </a:lnTo>
                <a:lnTo>
                  <a:pt x="9" y="3"/>
                </a:lnTo>
                <a:lnTo>
                  <a:pt x="6" y="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7" name="Freeform 145">
            <a:extLst>
              <a:ext uri="{FF2B5EF4-FFF2-40B4-BE49-F238E27FC236}">
                <a16:creationId xmlns:a16="http://schemas.microsoft.com/office/drawing/2014/main" id="{F90D4A4A-6A08-760A-F2EB-0F119E32C2E3}"/>
              </a:ext>
            </a:extLst>
          </p:cNvPr>
          <p:cNvSpPr>
            <a:spLocks/>
          </p:cNvSpPr>
          <p:nvPr userDrawn="1"/>
        </p:nvSpPr>
        <p:spPr bwMode="auto">
          <a:xfrm>
            <a:off x="14508802" y="9892582"/>
            <a:ext cx="742902" cy="635000"/>
          </a:xfrm>
          <a:custGeom>
            <a:avLst/>
            <a:gdLst>
              <a:gd name="T0" fmla="*/ 50 w 234"/>
              <a:gd name="T1" fmla="*/ 60 h 200"/>
              <a:gd name="T2" fmla="*/ 53 w 234"/>
              <a:gd name="T3" fmla="*/ 66 h 200"/>
              <a:gd name="T4" fmla="*/ 62 w 234"/>
              <a:gd name="T5" fmla="*/ 63 h 200"/>
              <a:gd name="T6" fmla="*/ 72 w 234"/>
              <a:gd name="T7" fmla="*/ 66 h 200"/>
              <a:gd name="T8" fmla="*/ 75 w 234"/>
              <a:gd name="T9" fmla="*/ 72 h 200"/>
              <a:gd name="T10" fmla="*/ 91 w 234"/>
              <a:gd name="T11" fmla="*/ 78 h 200"/>
              <a:gd name="T12" fmla="*/ 100 w 234"/>
              <a:gd name="T13" fmla="*/ 75 h 200"/>
              <a:gd name="T14" fmla="*/ 109 w 234"/>
              <a:gd name="T15" fmla="*/ 69 h 200"/>
              <a:gd name="T16" fmla="*/ 116 w 234"/>
              <a:gd name="T17" fmla="*/ 85 h 200"/>
              <a:gd name="T18" fmla="*/ 134 w 234"/>
              <a:gd name="T19" fmla="*/ 97 h 200"/>
              <a:gd name="T20" fmla="*/ 150 w 234"/>
              <a:gd name="T21" fmla="*/ 103 h 200"/>
              <a:gd name="T22" fmla="*/ 156 w 234"/>
              <a:gd name="T23" fmla="*/ 106 h 200"/>
              <a:gd name="T24" fmla="*/ 150 w 234"/>
              <a:gd name="T25" fmla="*/ 81 h 200"/>
              <a:gd name="T26" fmla="*/ 144 w 234"/>
              <a:gd name="T27" fmla="*/ 88 h 200"/>
              <a:gd name="T28" fmla="*/ 131 w 234"/>
              <a:gd name="T29" fmla="*/ 75 h 200"/>
              <a:gd name="T30" fmla="*/ 137 w 234"/>
              <a:gd name="T31" fmla="*/ 50 h 200"/>
              <a:gd name="T32" fmla="*/ 137 w 234"/>
              <a:gd name="T33" fmla="*/ 44 h 200"/>
              <a:gd name="T34" fmla="*/ 141 w 234"/>
              <a:gd name="T35" fmla="*/ 35 h 200"/>
              <a:gd name="T36" fmla="*/ 134 w 234"/>
              <a:gd name="T37" fmla="*/ 25 h 200"/>
              <a:gd name="T38" fmla="*/ 187 w 234"/>
              <a:gd name="T39" fmla="*/ 6 h 200"/>
              <a:gd name="T40" fmla="*/ 194 w 234"/>
              <a:gd name="T41" fmla="*/ 9 h 200"/>
              <a:gd name="T42" fmla="*/ 212 w 234"/>
              <a:gd name="T43" fmla="*/ 16 h 200"/>
              <a:gd name="T44" fmla="*/ 222 w 234"/>
              <a:gd name="T45" fmla="*/ 25 h 200"/>
              <a:gd name="T46" fmla="*/ 225 w 234"/>
              <a:gd name="T47" fmla="*/ 31 h 200"/>
              <a:gd name="T48" fmla="*/ 228 w 234"/>
              <a:gd name="T49" fmla="*/ 41 h 200"/>
              <a:gd name="T50" fmla="*/ 234 w 234"/>
              <a:gd name="T51" fmla="*/ 53 h 200"/>
              <a:gd name="T52" fmla="*/ 228 w 234"/>
              <a:gd name="T53" fmla="*/ 63 h 200"/>
              <a:gd name="T54" fmla="*/ 228 w 234"/>
              <a:gd name="T55" fmla="*/ 72 h 200"/>
              <a:gd name="T56" fmla="*/ 228 w 234"/>
              <a:gd name="T57" fmla="*/ 81 h 200"/>
              <a:gd name="T58" fmla="*/ 231 w 234"/>
              <a:gd name="T59" fmla="*/ 88 h 200"/>
              <a:gd name="T60" fmla="*/ 222 w 234"/>
              <a:gd name="T61" fmla="*/ 94 h 200"/>
              <a:gd name="T62" fmla="*/ 222 w 234"/>
              <a:gd name="T63" fmla="*/ 103 h 200"/>
              <a:gd name="T64" fmla="*/ 219 w 234"/>
              <a:gd name="T65" fmla="*/ 113 h 200"/>
              <a:gd name="T66" fmla="*/ 216 w 234"/>
              <a:gd name="T67" fmla="*/ 122 h 200"/>
              <a:gd name="T68" fmla="*/ 178 w 234"/>
              <a:gd name="T69" fmla="*/ 135 h 200"/>
              <a:gd name="T70" fmla="*/ 169 w 234"/>
              <a:gd name="T71" fmla="*/ 150 h 200"/>
              <a:gd name="T72" fmla="*/ 159 w 234"/>
              <a:gd name="T73" fmla="*/ 150 h 200"/>
              <a:gd name="T74" fmla="*/ 147 w 234"/>
              <a:gd name="T75" fmla="*/ 153 h 200"/>
              <a:gd name="T76" fmla="*/ 137 w 234"/>
              <a:gd name="T77" fmla="*/ 160 h 200"/>
              <a:gd name="T78" fmla="*/ 134 w 234"/>
              <a:gd name="T79" fmla="*/ 166 h 200"/>
              <a:gd name="T80" fmla="*/ 103 w 234"/>
              <a:gd name="T81" fmla="*/ 197 h 200"/>
              <a:gd name="T82" fmla="*/ 91 w 234"/>
              <a:gd name="T83" fmla="*/ 194 h 200"/>
              <a:gd name="T84" fmla="*/ 81 w 234"/>
              <a:gd name="T85" fmla="*/ 194 h 200"/>
              <a:gd name="T86" fmla="*/ 72 w 234"/>
              <a:gd name="T87" fmla="*/ 194 h 200"/>
              <a:gd name="T88" fmla="*/ 59 w 234"/>
              <a:gd name="T89" fmla="*/ 188 h 200"/>
              <a:gd name="T90" fmla="*/ 53 w 234"/>
              <a:gd name="T91" fmla="*/ 188 h 200"/>
              <a:gd name="T92" fmla="*/ 28 w 234"/>
              <a:gd name="T93" fmla="*/ 191 h 200"/>
              <a:gd name="T94" fmla="*/ 22 w 234"/>
              <a:gd name="T95" fmla="*/ 182 h 200"/>
              <a:gd name="T96" fmla="*/ 9 w 234"/>
              <a:gd name="T97" fmla="*/ 172 h 200"/>
              <a:gd name="T98" fmla="*/ 0 w 234"/>
              <a:gd name="T99" fmla="*/ 163 h 200"/>
              <a:gd name="T100" fmla="*/ 44 w 234"/>
              <a:gd name="T101" fmla="*/ 91 h 200"/>
              <a:gd name="T102" fmla="*/ 44 w 234"/>
              <a:gd name="T103" fmla="*/ 78 h 200"/>
              <a:gd name="T104" fmla="*/ 44 w 234"/>
              <a:gd name="T10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4" h="200">
                <a:moveTo>
                  <a:pt x="44" y="60"/>
                </a:moveTo>
                <a:lnTo>
                  <a:pt x="47" y="60"/>
                </a:lnTo>
                <a:lnTo>
                  <a:pt x="47" y="60"/>
                </a:lnTo>
                <a:lnTo>
                  <a:pt x="50" y="60"/>
                </a:lnTo>
                <a:lnTo>
                  <a:pt x="53" y="63"/>
                </a:lnTo>
                <a:lnTo>
                  <a:pt x="53" y="66"/>
                </a:lnTo>
                <a:lnTo>
                  <a:pt x="53" y="66"/>
                </a:lnTo>
                <a:lnTo>
                  <a:pt x="53" y="66"/>
                </a:lnTo>
                <a:lnTo>
                  <a:pt x="56" y="66"/>
                </a:lnTo>
                <a:lnTo>
                  <a:pt x="59" y="63"/>
                </a:lnTo>
                <a:lnTo>
                  <a:pt x="62" y="63"/>
                </a:lnTo>
                <a:lnTo>
                  <a:pt x="62" y="63"/>
                </a:lnTo>
                <a:lnTo>
                  <a:pt x="69" y="60"/>
                </a:lnTo>
                <a:lnTo>
                  <a:pt x="69" y="63"/>
                </a:lnTo>
                <a:lnTo>
                  <a:pt x="69" y="66"/>
                </a:lnTo>
                <a:lnTo>
                  <a:pt x="72" y="66"/>
                </a:lnTo>
                <a:lnTo>
                  <a:pt x="72" y="69"/>
                </a:lnTo>
                <a:lnTo>
                  <a:pt x="72" y="72"/>
                </a:lnTo>
                <a:lnTo>
                  <a:pt x="72" y="72"/>
                </a:lnTo>
                <a:lnTo>
                  <a:pt x="75" y="72"/>
                </a:lnTo>
                <a:lnTo>
                  <a:pt x="78" y="72"/>
                </a:lnTo>
                <a:lnTo>
                  <a:pt x="81" y="75"/>
                </a:lnTo>
                <a:lnTo>
                  <a:pt x="87" y="78"/>
                </a:lnTo>
                <a:lnTo>
                  <a:pt x="91" y="78"/>
                </a:lnTo>
                <a:lnTo>
                  <a:pt x="91" y="78"/>
                </a:lnTo>
                <a:lnTo>
                  <a:pt x="94" y="78"/>
                </a:lnTo>
                <a:lnTo>
                  <a:pt x="100" y="78"/>
                </a:lnTo>
                <a:lnTo>
                  <a:pt x="100" y="75"/>
                </a:lnTo>
                <a:lnTo>
                  <a:pt x="103" y="69"/>
                </a:lnTo>
                <a:lnTo>
                  <a:pt x="106" y="69"/>
                </a:lnTo>
                <a:lnTo>
                  <a:pt x="106" y="69"/>
                </a:lnTo>
                <a:lnTo>
                  <a:pt x="109" y="69"/>
                </a:lnTo>
                <a:lnTo>
                  <a:pt x="109" y="75"/>
                </a:lnTo>
                <a:lnTo>
                  <a:pt x="112" y="78"/>
                </a:lnTo>
                <a:lnTo>
                  <a:pt x="112" y="81"/>
                </a:lnTo>
                <a:lnTo>
                  <a:pt x="116" y="85"/>
                </a:lnTo>
                <a:lnTo>
                  <a:pt x="125" y="85"/>
                </a:lnTo>
                <a:lnTo>
                  <a:pt x="128" y="88"/>
                </a:lnTo>
                <a:lnTo>
                  <a:pt x="131" y="94"/>
                </a:lnTo>
                <a:lnTo>
                  <a:pt x="134" y="97"/>
                </a:lnTo>
                <a:lnTo>
                  <a:pt x="141" y="100"/>
                </a:lnTo>
                <a:lnTo>
                  <a:pt x="144" y="106"/>
                </a:lnTo>
                <a:lnTo>
                  <a:pt x="147" y="106"/>
                </a:lnTo>
                <a:lnTo>
                  <a:pt x="150" y="103"/>
                </a:lnTo>
                <a:lnTo>
                  <a:pt x="153" y="103"/>
                </a:lnTo>
                <a:lnTo>
                  <a:pt x="153" y="103"/>
                </a:lnTo>
                <a:lnTo>
                  <a:pt x="153" y="103"/>
                </a:lnTo>
                <a:lnTo>
                  <a:pt x="156" y="106"/>
                </a:lnTo>
                <a:lnTo>
                  <a:pt x="159" y="103"/>
                </a:lnTo>
                <a:lnTo>
                  <a:pt x="156" y="81"/>
                </a:lnTo>
                <a:lnTo>
                  <a:pt x="156" y="81"/>
                </a:lnTo>
                <a:lnTo>
                  <a:pt x="150" y="81"/>
                </a:lnTo>
                <a:lnTo>
                  <a:pt x="150" y="85"/>
                </a:lnTo>
                <a:lnTo>
                  <a:pt x="153" y="88"/>
                </a:lnTo>
                <a:lnTo>
                  <a:pt x="150" y="88"/>
                </a:lnTo>
                <a:lnTo>
                  <a:pt x="144" y="88"/>
                </a:lnTo>
                <a:lnTo>
                  <a:pt x="141" y="85"/>
                </a:lnTo>
                <a:lnTo>
                  <a:pt x="141" y="81"/>
                </a:lnTo>
                <a:lnTo>
                  <a:pt x="134" y="75"/>
                </a:lnTo>
                <a:lnTo>
                  <a:pt x="131" y="75"/>
                </a:lnTo>
                <a:lnTo>
                  <a:pt x="131" y="69"/>
                </a:lnTo>
                <a:lnTo>
                  <a:pt x="131" y="56"/>
                </a:lnTo>
                <a:lnTo>
                  <a:pt x="131" y="56"/>
                </a:lnTo>
                <a:lnTo>
                  <a:pt x="137" y="50"/>
                </a:lnTo>
                <a:lnTo>
                  <a:pt x="137" y="50"/>
                </a:lnTo>
                <a:lnTo>
                  <a:pt x="137" y="47"/>
                </a:lnTo>
                <a:lnTo>
                  <a:pt x="137" y="47"/>
                </a:lnTo>
                <a:lnTo>
                  <a:pt x="137" y="44"/>
                </a:lnTo>
                <a:lnTo>
                  <a:pt x="137" y="41"/>
                </a:lnTo>
                <a:lnTo>
                  <a:pt x="137" y="38"/>
                </a:lnTo>
                <a:lnTo>
                  <a:pt x="137" y="35"/>
                </a:lnTo>
                <a:lnTo>
                  <a:pt x="141" y="35"/>
                </a:lnTo>
                <a:lnTo>
                  <a:pt x="141" y="31"/>
                </a:lnTo>
                <a:lnTo>
                  <a:pt x="137" y="31"/>
                </a:lnTo>
                <a:lnTo>
                  <a:pt x="134" y="28"/>
                </a:lnTo>
                <a:lnTo>
                  <a:pt x="134" y="25"/>
                </a:lnTo>
                <a:lnTo>
                  <a:pt x="144" y="9"/>
                </a:lnTo>
                <a:lnTo>
                  <a:pt x="175" y="0"/>
                </a:lnTo>
                <a:lnTo>
                  <a:pt x="184" y="6"/>
                </a:lnTo>
                <a:lnTo>
                  <a:pt x="187" y="6"/>
                </a:lnTo>
                <a:lnTo>
                  <a:pt x="191" y="6"/>
                </a:lnTo>
                <a:lnTo>
                  <a:pt x="191" y="6"/>
                </a:lnTo>
                <a:lnTo>
                  <a:pt x="194" y="9"/>
                </a:lnTo>
                <a:lnTo>
                  <a:pt x="194" y="9"/>
                </a:lnTo>
                <a:lnTo>
                  <a:pt x="197" y="13"/>
                </a:lnTo>
                <a:lnTo>
                  <a:pt x="200" y="13"/>
                </a:lnTo>
                <a:lnTo>
                  <a:pt x="209" y="16"/>
                </a:lnTo>
                <a:lnTo>
                  <a:pt x="212" y="16"/>
                </a:lnTo>
                <a:lnTo>
                  <a:pt x="212" y="19"/>
                </a:lnTo>
                <a:lnTo>
                  <a:pt x="216" y="19"/>
                </a:lnTo>
                <a:lnTo>
                  <a:pt x="219" y="22"/>
                </a:lnTo>
                <a:lnTo>
                  <a:pt x="222" y="25"/>
                </a:lnTo>
                <a:lnTo>
                  <a:pt x="222" y="25"/>
                </a:lnTo>
                <a:lnTo>
                  <a:pt x="225" y="28"/>
                </a:lnTo>
                <a:lnTo>
                  <a:pt x="225" y="28"/>
                </a:lnTo>
                <a:lnTo>
                  <a:pt x="225" y="31"/>
                </a:lnTo>
                <a:lnTo>
                  <a:pt x="228" y="35"/>
                </a:lnTo>
                <a:lnTo>
                  <a:pt x="231" y="35"/>
                </a:lnTo>
                <a:lnTo>
                  <a:pt x="231" y="35"/>
                </a:lnTo>
                <a:lnTo>
                  <a:pt x="228" y="41"/>
                </a:lnTo>
                <a:lnTo>
                  <a:pt x="228" y="44"/>
                </a:lnTo>
                <a:lnTo>
                  <a:pt x="231" y="44"/>
                </a:lnTo>
                <a:lnTo>
                  <a:pt x="234" y="47"/>
                </a:lnTo>
                <a:lnTo>
                  <a:pt x="234" y="53"/>
                </a:lnTo>
                <a:lnTo>
                  <a:pt x="234" y="53"/>
                </a:lnTo>
                <a:lnTo>
                  <a:pt x="234" y="53"/>
                </a:lnTo>
                <a:lnTo>
                  <a:pt x="228" y="60"/>
                </a:lnTo>
                <a:lnTo>
                  <a:pt x="228" y="63"/>
                </a:lnTo>
                <a:lnTo>
                  <a:pt x="228" y="66"/>
                </a:lnTo>
                <a:lnTo>
                  <a:pt x="228" y="69"/>
                </a:lnTo>
                <a:lnTo>
                  <a:pt x="231" y="72"/>
                </a:lnTo>
                <a:lnTo>
                  <a:pt x="228" y="72"/>
                </a:lnTo>
                <a:lnTo>
                  <a:pt x="231" y="75"/>
                </a:lnTo>
                <a:lnTo>
                  <a:pt x="228" y="78"/>
                </a:lnTo>
                <a:lnTo>
                  <a:pt x="228" y="78"/>
                </a:lnTo>
                <a:lnTo>
                  <a:pt x="228" y="81"/>
                </a:lnTo>
                <a:lnTo>
                  <a:pt x="231" y="85"/>
                </a:lnTo>
                <a:lnTo>
                  <a:pt x="231" y="85"/>
                </a:lnTo>
                <a:lnTo>
                  <a:pt x="231" y="88"/>
                </a:lnTo>
                <a:lnTo>
                  <a:pt x="231" y="88"/>
                </a:lnTo>
                <a:lnTo>
                  <a:pt x="228" y="88"/>
                </a:lnTo>
                <a:lnTo>
                  <a:pt x="225" y="91"/>
                </a:lnTo>
                <a:lnTo>
                  <a:pt x="222" y="94"/>
                </a:lnTo>
                <a:lnTo>
                  <a:pt x="222" y="94"/>
                </a:lnTo>
                <a:lnTo>
                  <a:pt x="222" y="97"/>
                </a:lnTo>
                <a:lnTo>
                  <a:pt x="222" y="100"/>
                </a:lnTo>
                <a:lnTo>
                  <a:pt x="222" y="100"/>
                </a:lnTo>
                <a:lnTo>
                  <a:pt x="222" y="103"/>
                </a:lnTo>
                <a:lnTo>
                  <a:pt x="219" y="106"/>
                </a:lnTo>
                <a:lnTo>
                  <a:pt x="216" y="110"/>
                </a:lnTo>
                <a:lnTo>
                  <a:pt x="216" y="110"/>
                </a:lnTo>
                <a:lnTo>
                  <a:pt x="219" y="113"/>
                </a:lnTo>
                <a:lnTo>
                  <a:pt x="222" y="119"/>
                </a:lnTo>
                <a:lnTo>
                  <a:pt x="222" y="119"/>
                </a:lnTo>
                <a:lnTo>
                  <a:pt x="222" y="119"/>
                </a:lnTo>
                <a:lnTo>
                  <a:pt x="216" y="122"/>
                </a:lnTo>
                <a:lnTo>
                  <a:pt x="203" y="125"/>
                </a:lnTo>
                <a:lnTo>
                  <a:pt x="200" y="128"/>
                </a:lnTo>
                <a:lnTo>
                  <a:pt x="181" y="135"/>
                </a:lnTo>
                <a:lnTo>
                  <a:pt x="178" y="135"/>
                </a:lnTo>
                <a:lnTo>
                  <a:pt x="169" y="141"/>
                </a:lnTo>
                <a:lnTo>
                  <a:pt x="169" y="144"/>
                </a:lnTo>
                <a:lnTo>
                  <a:pt x="169" y="147"/>
                </a:lnTo>
                <a:lnTo>
                  <a:pt x="169" y="150"/>
                </a:lnTo>
                <a:lnTo>
                  <a:pt x="169" y="150"/>
                </a:lnTo>
                <a:lnTo>
                  <a:pt x="166" y="150"/>
                </a:lnTo>
                <a:lnTo>
                  <a:pt x="162" y="150"/>
                </a:lnTo>
                <a:lnTo>
                  <a:pt x="159" y="150"/>
                </a:lnTo>
                <a:lnTo>
                  <a:pt x="159" y="150"/>
                </a:lnTo>
                <a:lnTo>
                  <a:pt x="153" y="150"/>
                </a:lnTo>
                <a:lnTo>
                  <a:pt x="150" y="150"/>
                </a:lnTo>
                <a:lnTo>
                  <a:pt x="147" y="153"/>
                </a:lnTo>
                <a:lnTo>
                  <a:pt x="144" y="153"/>
                </a:lnTo>
                <a:lnTo>
                  <a:pt x="137" y="157"/>
                </a:lnTo>
                <a:lnTo>
                  <a:pt x="137" y="160"/>
                </a:lnTo>
                <a:lnTo>
                  <a:pt x="137" y="160"/>
                </a:lnTo>
                <a:lnTo>
                  <a:pt x="137" y="163"/>
                </a:lnTo>
                <a:lnTo>
                  <a:pt x="137" y="166"/>
                </a:lnTo>
                <a:lnTo>
                  <a:pt x="137" y="166"/>
                </a:lnTo>
                <a:lnTo>
                  <a:pt x="134" y="166"/>
                </a:lnTo>
                <a:lnTo>
                  <a:pt x="128" y="169"/>
                </a:lnTo>
                <a:lnTo>
                  <a:pt x="116" y="178"/>
                </a:lnTo>
                <a:lnTo>
                  <a:pt x="109" y="188"/>
                </a:lnTo>
                <a:lnTo>
                  <a:pt x="103" y="197"/>
                </a:lnTo>
                <a:lnTo>
                  <a:pt x="97" y="200"/>
                </a:lnTo>
                <a:lnTo>
                  <a:pt x="94" y="197"/>
                </a:lnTo>
                <a:lnTo>
                  <a:pt x="91" y="197"/>
                </a:lnTo>
                <a:lnTo>
                  <a:pt x="91" y="194"/>
                </a:lnTo>
                <a:lnTo>
                  <a:pt x="87" y="194"/>
                </a:lnTo>
                <a:lnTo>
                  <a:pt x="87" y="194"/>
                </a:lnTo>
                <a:lnTo>
                  <a:pt x="84" y="194"/>
                </a:lnTo>
                <a:lnTo>
                  <a:pt x="81" y="194"/>
                </a:lnTo>
                <a:lnTo>
                  <a:pt x="78" y="197"/>
                </a:lnTo>
                <a:lnTo>
                  <a:pt x="75" y="197"/>
                </a:lnTo>
                <a:lnTo>
                  <a:pt x="75" y="194"/>
                </a:lnTo>
                <a:lnTo>
                  <a:pt x="72" y="194"/>
                </a:lnTo>
                <a:lnTo>
                  <a:pt x="66" y="194"/>
                </a:lnTo>
                <a:lnTo>
                  <a:pt x="62" y="194"/>
                </a:lnTo>
                <a:lnTo>
                  <a:pt x="59" y="191"/>
                </a:lnTo>
                <a:lnTo>
                  <a:pt x="59" y="188"/>
                </a:lnTo>
                <a:lnTo>
                  <a:pt x="59" y="188"/>
                </a:lnTo>
                <a:lnTo>
                  <a:pt x="56" y="188"/>
                </a:lnTo>
                <a:lnTo>
                  <a:pt x="56" y="188"/>
                </a:lnTo>
                <a:lnTo>
                  <a:pt x="53" y="188"/>
                </a:lnTo>
                <a:lnTo>
                  <a:pt x="53" y="188"/>
                </a:lnTo>
                <a:lnTo>
                  <a:pt x="50" y="188"/>
                </a:lnTo>
                <a:lnTo>
                  <a:pt x="47" y="188"/>
                </a:lnTo>
                <a:lnTo>
                  <a:pt x="28" y="191"/>
                </a:lnTo>
                <a:lnTo>
                  <a:pt x="28" y="188"/>
                </a:lnTo>
                <a:lnTo>
                  <a:pt x="25" y="188"/>
                </a:lnTo>
                <a:lnTo>
                  <a:pt x="22" y="185"/>
                </a:lnTo>
                <a:lnTo>
                  <a:pt x="22" y="182"/>
                </a:lnTo>
                <a:lnTo>
                  <a:pt x="19" y="182"/>
                </a:lnTo>
                <a:lnTo>
                  <a:pt x="16" y="178"/>
                </a:lnTo>
                <a:lnTo>
                  <a:pt x="12" y="175"/>
                </a:lnTo>
                <a:lnTo>
                  <a:pt x="9" y="172"/>
                </a:lnTo>
                <a:lnTo>
                  <a:pt x="6" y="172"/>
                </a:lnTo>
                <a:lnTo>
                  <a:pt x="6" y="169"/>
                </a:lnTo>
                <a:lnTo>
                  <a:pt x="3" y="166"/>
                </a:lnTo>
                <a:lnTo>
                  <a:pt x="0" y="163"/>
                </a:lnTo>
                <a:lnTo>
                  <a:pt x="3" y="97"/>
                </a:lnTo>
                <a:lnTo>
                  <a:pt x="44" y="97"/>
                </a:lnTo>
                <a:lnTo>
                  <a:pt x="44" y="97"/>
                </a:lnTo>
                <a:lnTo>
                  <a:pt x="44" y="91"/>
                </a:lnTo>
                <a:lnTo>
                  <a:pt x="47" y="88"/>
                </a:lnTo>
                <a:lnTo>
                  <a:pt x="47" y="85"/>
                </a:lnTo>
                <a:lnTo>
                  <a:pt x="44" y="81"/>
                </a:lnTo>
                <a:lnTo>
                  <a:pt x="44" y="78"/>
                </a:lnTo>
                <a:lnTo>
                  <a:pt x="44" y="69"/>
                </a:lnTo>
                <a:lnTo>
                  <a:pt x="44" y="63"/>
                </a:lnTo>
                <a:lnTo>
                  <a:pt x="44" y="60"/>
                </a:lnTo>
                <a:lnTo>
                  <a:pt x="44" y="60"/>
                </a:lnTo>
                <a:lnTo>
                  <a:pt x="44" y="6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8" name="Freeform 146">
            <a:extLst>
              <a:ext uri="{FF2B5EF4-FFF2-40B4-BE49-F238E27FC236}">
                <a16:creationId xmlns:a16="http://schemas.microsoft.com/office/drawing/2014/main" id="{D6EDE0DC-D76E-6D14-0EC8-E7C3BF75322C}"/>
              </a:ext>
            </a:extLst>
          </p:cNvPr>
          <p:cNvSpPr>
            <a:spLocks/>
          </p:cNvSpPr>
          <p:nvPr userDrawn="1"/>
        </p:nvSpPr>
        <p:spPr bwMode="auto">
          <a:xfrm>
            <a:off x="13873846" y="9752881"/>
            <a:ext cx="784175" cy="774702"/>
          </a:xfrm>
          <a:custGeom>
            <a:avLst/>
            <a:gdLst>
              <a:gd name="T0" fmla="*/ 222 w 247"/>
              <a:gd name="T1" fmla="*/ 229 h 244"/>
              <a:gd name="T2" fmla="*/ 212 w 247"/>
              <a:gd name="T3" fmla="*/ 219 h 244"/>
              <a:gd name="T4" fmla="*/ 203 w 247"/>
              <a:gd name="T5" fmla="*/ 210 h 244"/>
              <a:gd name="T6" fmla="*/ 244 w 247"/>
              <a:gd name="T7" fmla="*/ 141 h 244"/>
              <a:gd name="T8" fmla="*/ 244 w 247"/>
              <a:gd name="T9" fmla="*/ 125 h 244"/>
              <a:gd name="T10" fmla="*/ 244 w 247"/>
              <a:gd name="T11" fmla="*/ 104 h 244"/>
              <a:gd name="T12" fmla="*/ 237 w 247"/>
              <a:gd name="T13" fmla="*/ 104 h 244"/>
              <a:gd name="T14" fmla="*/ 228 w 247"/>
              <a:gd name="T15" fmla="*/ 107 h 244"/>
              <a:gd name="T16" fmla="*/ 216 w 247"/>
              <a:gd name="T17" fmla="*/ 104 h 244"/>
              <a:gd name="T18" fmla="*/ 209 w 247"/>
              <a:gd name="T19" fmla="*/ 107 h 244"/>
              <a:gd name="T20" fmla="*/ 209 w 247"/>
              <a:gd name="T21" fmla="*/ 97 h 244"/>
              <a:gd name="T22" fmla="*/ 209 w 247"/>
              <a:gd name="T23" fmla="*/ 88 h 244"/>
              <a:gd name="T24" fmla="*/ 209 w 247"/>
              <a:gd name="T25" fmla="*/ 79 h 244"/>
              <a:gd name="T26" fmla="*/ 203 w 247"/>
              <a:gd name="T27" fmla="*/ 72 h 244"/>
              <a:gd name="T28" fmla="*/ 200 w 247"/>
              <a:gd name="T29" fmla="*/ 66 h 244"/>
              <a:gd name="T30" fmla="*/ 200 w 247"/>
              <a:gd name="T31" fmla="*/ 50 h 244"/>
              <a:gd name="T32" fmla="*/ 200 w 247"/>
              <a:gd name="T33" fmla="*/ 41 h 244"/>
              <a:gd name="T34" fmla="*/ 203 w 247"/>
              <a:gd name="T35" fmla="*/ 28 h 244"/>
              <a:gd name="T36" fmla="*/ 181 w 247"/>
              <a:gd name="T37" fmla="*/ 19 h 244"/>
              <a:gd name="T38" fmla="*/ 153 w 247"/>
              <a:gd name="T39" fmla="*/ 28 h 244"/>
              <a:gd name="T40" fmla="*/ 153 w 247"/>
              <a:gd name="T41" fmla="*/ 41 h 244"/>
              <a:gd name="T42" fmla="*/ 125 w 247"/>
              <a:gd name="T43" fmla="*/ 41 h 244"/>
              <a:gd name="T44" fmla="*/ 112 w 247"/>
              <a:gd name="T45" fmla="*/ 35 h 244"/>
              <a:gd name="T46" fmla="*/ 106 w 247"/>
              <a:gd name="T47" fmla="*/ 25 h 244"/>
              <a:gd name="T48" fmla="*/ 103 w 247"/>
              <a:gd name="T49" fmla="*/ 13 h 244"/>
              <a:gd name="T50" fmla="*/ 103 w 247"/>
              <a:gd name="T51" fmla="*/ 3 h 244"/>
              <a:gd name="T52" fmla="*/ 69 w 247"/>
              <a:gd name="T53" fmla="*/ 0 h 244"/>
              <a:gd name="T54" fmla="*/ 47 w 247"/>
              <a:gd name="T55" fmla="*/ 0 h 244"/>
              <a:gd name="T56" fmla="*/ 31 w 247"/>
              <a:gd name="T57" fmla="*/ 0 h 244"/>
              <a:gd name="T58" fmla="*/ 22 w 247"/>
              <a:gd name="T59" fmla="*/ 3 h 244"/>
              <a:gd name="T60" fmla="*/ 16 w 247"/>
              <a:gd name="T61" fmla="*/ 7 h 244"/>
              <a:gd name="T62" fmla="*/ 28 w 247"/>
              <a:gd name="T63" fmla="*/ 38 h 244"/>
              <a:gd name="T64" fmla="*/ 31 w 247"/>
              <a:gd name="T65" fmla="*/ 66 h 244"/>
              <a:gd name="T66" fmla="*/ 41 w 247"/>
              <a:gd name="T67" fmla="*/ 94 h 244"/>
              <a:gd name="T68" fmla="*/ 37 w 247"/>
              <a:gd name="T69" fmla="*/ 132 h 244"/>
              <a:gd name="T70" fmla="*/ 16 w 247"/>
              <a:gd name="T71" fmla="*/ 154 h 244"/>
              <a:gd name="T72" fmla="*/ 6 w 247"/>
              <a:gd name="T73" fmla="*/ 182 h 244"/>
              <a:gd name="T74" fmla="*/ 0 w 247"/>
              <a:gd name="T75" fmla="*/ 210 h 244"/>
              <a:gd name="T76" fmla="*/ 0 w 247"/>
              <a:gd name="T77" fmla="*/ 229 h 244"/>
              <a:gd name="T78" fmla="*/ 6 w 247"/>
              <a:gd name="T79" fmla="*/ 226 h 244"/>
              <a:gd name="T80" fmla="*/ 16 w 247"/>
              <a:gd name="T81" fmla="*/ 226 h 244"/>
              <a:gd name="T82" fmla="*/ 28 w 247"/>
              <a:gd name="T83" fmla="*/ 222 h 244"/>
              <a:gd name="T84" fmla="*/ 34 w 247"/>
              <a:gd name="T85" fmla="*/ 222 h 244"/>
              <a:gd name="T86" fmla="*/ 37 w 247"/>
              <a:gd name="T87" fmla="*/ 226 h 244"/>
              <a:gd name="T88" fmla="*/ 50 w 247"/>
              <a:gd name="T89" fmla="*/ 229 h 244"/>
              <a:gd name="T90" fmla="*/ 131 w 247"/>
              <a:gd name="T91" fmla="*/ 229 h 244"/>
              <a:gd name="T92" fmla="*/ 137 w 247"/>
              <a:gd name="T93" fmla="*/ 238 h 244"/>
              <a:gd name="T94" fmla="*/ 147 w 247"/>
              <a:gd name="T95" fmla="*/ 238 h 244"/>
              <a:gd name="T96" fmla="*/ 162 w 247"/>
              <a:gd name="T97" fmla="*/ 238 h 244"/>
              <a:gd name="T98" fmla="*/ 169 w 247"/>
              <a:gd name="T99" fmla="*/ 238 h 244"/>
              <a:gd name="T100" fmla="*/ 181 w 247"/>
              <a:gd name="T101" fmla="*/ 241 h 244"/>
              <a:gd name="T102" fmla="*/ 187 w 247"/>
              <a:gd name="T103" fmla="*/ 241 h 244"/>
              <a:gd name="T104" fmla="*/ 194 w 247"/>
              <a:gd name="T105" fmla="*/ 244 h 244"/>
              <a:gd name="T106" fmla="*/ 228 w 247"/>
              <a:gd name="T107" fmla="*/ 23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7" h="244">
                <a:moveTo>
                  <a:pt x="228" y="235"/>
                </a:moveTo>
                <a:lnTo>
                  <a:pt x="228" y="232"/>
                </a:lnTo>
                <a:lnTo>
                  <a:pt x="225" y="232"/>
                </a:lnTo>
                <a:lnTo>
                  <a:pt x="222" y="229"/>
                </a:lnTo>
                <a:lnTo>
                  <a:pt x="222" y="226"/>
                </a:lnTo>
                <a:lnTo>
                  <a:pt x="219" y="226"/>
                </a:lnTo>
                <a:lnTo>
                  <a:pt x="216" y="222"/>
                </a:lnTo>
                <a:lnTo>
                  <a:pt x="212" y="219"/>
                </a:lnTo>
                <a:lnTo>
                  <a:pt x="209" y="216"/>
                </a:lnTo>
                <a:lnTo>
                  <a:pt x="206" y="216"/>
                </a:lnTo>
                <a:lnTo>
                  <a:pt x="206" y="213"/>
                </a:lnTo>
                <a:lnTo>
                  <a:pt x="203" y="210"/>
                </a:lnTo>
                <a:lnTo>
                  <a:pt x="200" y="207"/>
                </a:lnTo>
                <a:lnTo>
                  <a:pt x="203" y="141"/>
                </a:lnTo>
                <a:lnTo>
                  <a:pt x="244" y="141"/>
                </a:lnTo>
                <a:lnTo>
                  <a:pt x="244" y="141"/>
                </a:lnTo>
                <a:lnTo>
                  <a:pt x="244" y="135"/>
                </a:lnTo>
                <a:lnTo>
                  <a:pt x="247" y="132"/>
                </a:lnTo>
                <a:lnTo>
                  <a:pt x="247" y="129"/>
                </a:lnTo>
                <a:lnTo>
                  <a:pt x="244" y="125"/>
                </a:lnTo>
                <a:lnTo>
                  <a:pt x="244" y="122"/>
                </a:lnTo>
                <a:lnTo>
                  <a:pt x="244" y="113"/>
                </a:lnTo>
                <a:lnTo>
                  <a:pt x="244" y="107"/>
                </a:lnTo>
                <a:lnTo>
                  <a:pt x="244" y="104"/>
                </a:lnTo>
                <a:lnTo>
                  <a:pt x="244" y="104"/>
                </a:lnTo>
                <a:lnTo>
                  <a:pt x="244" y="104"/>
                </a:lnTo>
                <a:lnTo>
                  <a:pt x="241" y="104"/>
                </a:lnTo>
                <a:lnTo>
                  <a:pt x="237" y="104"/>
                </a:lnTo>
                <a:lnTo>
                  <a:pt x="234" y="107"/>
                </a:lnTo>
                <a:lnTo>
                  <a:pt x="231" y="107"/>
                </a:lnTo>
                <a:lnTo>
                  <a:pt x="231" y="107"/>
                </a:lnTo>
                <a:lnTo>
                  <a:pt x="228" y="107"/>
                </a:lnTo>
                <a:lnTo>
                  <a:pt x="222" y="107"/>
                </a:lnTo>
                <a:lnTo>
                  <a:pt x="222" y="107"/>
                </a:lnTo>
                <a:lnTo>
                  <a:pt x="219" y="104"/>
                </a:lnTo>
                <a:lnTo>
                  <a:pt x="216" y="104"/>
                </a:lnTo>
                <a:lnTo>
                  <a:pt x="216" y="104"/>
                </a:lnTo>
                <a:lnTo>
                  <a:pt x="212" y="104"/>
                </a:lnTo>
                <a:lnTo>
                  <a:pt x="212" y="107"/>
                </a:lnTo>
                <a:lnTo>
                  <a:pt x="209" y="107"/>
                </a:lnTo>
                <a:lnTo>
                  <a:pt x="209" y="104"/>
                </a:lnTo>
                <a:lnTo>
                  <a:pt x="209" y="100"/>
                </a:lnTo>
                <a:lnTo>
                  <a:pt x="209" y="100"/>
                </a:lnTo>
                <a:lnTo>
                  <a:pt x="209" y="97"/>
                </a:lnTo>
                <a:lnTo>
                  <a:pt x="212" y="97"/>
                </a:lnTo>
                <a:lnTo>
                  <a:pt x="209" y="94"/>
                </a:lnTo>
                <a:lnTo>
                  <a:pt x="209" y="91"/>
                </a:lnTo>
                <a:lnTo>
                  <a:pt x="209" y="88"/>
                </a:lnTo>
                <a:lnTo>
                  <a:pt x="209" y="88"/>
                </a:lnTo>
                <a:lnTo>
                  <a:pt x="206" y="85"/>
                </a:lnTo>
                <a:lnTo>
                  <a:pt x="206" y="82"/>
                </a:lnTo>
                <a:lnTo>
                  <a:pt x="209" y="79"/>
                </a:lnTo>
                <a:lnTo>
                  <a:pt x="206" y="79"/>
                </a:lnTo>
                <a:lnTo>
                  <a:pt x="206" y="75"/>
                </a:lnTo>
                <a:lnTo>
                  <a:pt x="206" y="75"/>
                </a:lnTo>
                <a:lnTo>
                  <a:pt x="203" y="72"/>
                </a:lnTo>
                <a:lnTo>
                  <a:pt x="203" y="72"/>
                </a:lnTo>
                <a:lnTo>
                  <a:pt x="203" y="69"/>
                </a:lnTo>
                <a:lnTo>
                  <a:pt x="203" y="66"/>
                </a:lnTo>
                <a:lnTo>
                  <a:pt x="200" y="66"/>
                </a:lnTo>
                <a:lnTo>
                  <a:pt x="203" y="63"/>
                </a:lnTo>
                <a:lnTo>
                  <a:pt x="203" y="53"/>
                </a:lnTo>
                <a:lnTo>
                  <a:pt x="200" y="50"/>
                </a:lnTo>
                <a:lnTo>
                  <a:pt x="200" y="50"/>
                </a:lnTo>
                <a:lnTo>
                  <a:pt x="203" y="50"/>
                </a:lnTo>
                <a:lnTo>
                  <a:pt x="203" y="47"/>
                </a:lnTo>
                <a:lnTo>
                  <a:pt x="200" y="44"/>
                </a:lnTo>
                <a:lnTo>
                  <a:pt x="200" y="41"/>
                </a:lnTo>
                <a:lnTo>
                  <a:pt x="203" y="38"/>
                </a:lnTo>
                <a:lnTo>
                  <a:pt x="203" y="35"/>
                </a:lnTo>
                <a:lnTo>
                  <a:pt x="203" y="32"/>
                </a:lnTo>
                <a:lnTo>
                  <a:pt x="203" y="28"/>
                </a:lnTo>
                <a:lnTo>
                  <a:pt x="178" y="25"/>
                </a:lnTo>
                <a:lnTo>
                  <a:pt x="178" y="25"/>
                </a:lnTo>
                <a:lnTo>
                  <a:pt x="181" y="22"/>
                </a:lnTo>
                <a:lnTo>
                  <a:pt x="181" y="19"/>
                </a:lnTo>
                <a:lnTo>
                  <a:pt x="175" y="19"/>
                </a:lnTo>
                <a:lnTo>
                  <a:pt x="175" y="22"/>
                </a:lnTo>
                <a:lnTo>
                  <a:pt x="156" y="22"/>
                </a:lnTo>
                <a:lnTo>
                  <a:pt x="153" y="28"/>
                </a:lnTo>
                <a:lnTo>
                  <a:pt x="153" y="32"/>
                </a:lnTo>
                <a:lnTo>
                  <a:pt x="150" y="32"/>
                </a:lnTo>
                <a:lnTo>
                  <a:pt x="153" y="35"/>
                </a:lnTo>
                <a:lnTo>
                  <a:pt x="153" y="41"/>
                </a:lnTo>
                <a:lnTo>
                  <a:pt x="137" y="41"/>
                </a:lnTo>
                <a:lnTo>
                  <a:pt x="134" y="44"/>
                </a:lnTo>
                <a:lnTo>
                  <a:pt x="128" y="44"/>
                </a:lnTo>
                <a:lnTo>
                  <a:pt x="125" y="41"/>
                </a:lnTo>
                <a:lnTo>
                  <a:pt x="122" y="44"/>
                </a:lnTo>
                <a:lnTo>
                  <a:pt x="116" y="44"/>
                </a:lnTo>
                <a:lnTo>
                  <a:pt x="116" y="41"/>
                </a:lnTo>
                <a:lnTo>
                  <a:pt x="112" y="35"/>
                </a:lnTo>
                <a:lnTo>
                  <a:pt x="112" y="32"/>
                </a:lnTo>
                <a:lnTo>
                  <a:pt x="109" y="28"/>
                </a:lnTo>
                <a:lnTo>
                  <a:pt x="106" y="28"/>
                </a:lnTo>
                <a:lnTo>
                  <a:pt x="106" y="25"/>
                </a:lnTo>
                <a:lnTo>
                  <a:pt x="106" y="22"/>
                </a:lnTo>
                <a:lnTo>
                  <a:pt x="106" y="19"/>
                </a:lnTo>
                <a:lnTo>
                  <a:pt x="103" y="16"/>
                </a:lnTo>
                <a:lnTo>
                  <a:pt x="103" y="13"/>
                </a:lnTo>
                <a:lnTo>
                  <a:pt x="106" y="10"/>
                </a:lnTo>
                <a:lnTo>
                  <a:pt x="103" y="7"/>
                </a:lnTo>
                <a:lnTo>
                  <a:pt x="103" y="7"/>
                </a:lnTo>
                <a:lnTo>
                  <a:pt x="103" y="3"/>
                </a:lnTo>
                <a:lnTo>
                  <a:pt x="103" y="3"/>
                </a:lnTo>
                <a:lnTo>
                  <a:pt x="103" y="0"/>
                </a:lnTo>
                <a:lnTo>
                  <a:pt x="81" y="0"/>
                </a:lnTo>
                <a:lnTo>
                  <a:pt x="69" y="0"/>
                </a:lnTo>
                <a:lnTo>
                  <a:pt x="62" y="0"/>
                </a:lnTo>
                <a:lnTo>
                  <a:pt x="56" y="0"/>
                </a:lnTo>
                <a:lnTo>
                  <a:pt x="53" y="0"/>
                </a:lnTo>
                <a:lnTo>
                  <a:pt x="47" y="0"/>
                </a:lnTo>
                <a:lnTo>
                  <a:pt x="41" y="0"/>
                </a:lnTo>
                <a:lnTo>
                  <a:pt x="37" y="0"/>
                </a:lnTo>
                <a:lnTo>
                  <a:pt x="34" y="0"/>
                </a:lnTo>
                <a:lnTo>
                  <a:pt x="31" y="0"/>
                </a:lnTo>
                <a:lnTo>
                  <a:pt x="28" y="0"/>
                </a:lnTo>
                <a:lnTo>
                  <a:pt x="25" y="0"/>
                </a:lnTo>
                <a:lnTo>
                  <a:pt x="25" y="3"/>
                </a:lnTo>
                <a:lnTo>
                  <a:pt x="22" y="3"/>
                </a:lnTo>
                <a:lnTo>
                  <a:pt x="22" y="3"/>
                </a:lnTo>
                <a:lnTo>
                  <a:pt x="22" y="3"/>
                </a:lnTo>
                <a:lnTo>
                  <a:pt x="22" y="3"/>
                </a:lnTo>
                <a:lnTo>
                  <a:pt x="16" y="7"/>
                </a:lnTo>
                <a:lnTo>
                  <a:pt x="19" y="10"/>
                </a:lnTo>
                <a:lnTo>
                  <a:pt x="19" y="13"/>
                </a:lnTo>
                <a:lnTo>
                  <a:pt x="28" y="22"/>
                </a:lnTo>
                <a:lnTo>
                  <a:pt x="28" y="38"/>
                </a:lnTo>
                <a:lnTo>
                  <a:pt x="34" y="47"/>
                </a:lnTo>
                <a:lnTo>
                  <a:pt x="34" y="57"/>
                </a:lnTo>
                <a:lnTo>
                  <a:pt x="28" y="63"/>
                </a:lnTo>
                <a:lnTo>
                  <a:pt x="31" y="66"/>
                </a:lnTo>
                <a:lnTo>
                  <a:pt x="31" y="72"/>
                </a:lnTo>
                <a:lnTo>
                  <a:pt x="34" y="75"/>
                </a:lnTo>
                <a:lnTo>
                  <a:pt x="34" y="82"/>
                </a:lnTo>
                <a:lnTo>
                  <a:pt x="41" y="94"/>
                </a:lnTo>
                <a:lnTo>
                  <a:pt x="41" y="97"/>
                </a:lnTo>
                <a:lnTo>
                  <a:pt x="44" y="100"/>
                </a:lnTo>
                <a:lnTo>
                  <a:pt x="44" y="116"/>
                </a:lnTo>
                <a:lnTo>
                  <a:pt x="37" y="132"/>
                </a:lnTo>
                <a:lnTo>
                  <a:pt x="34" y="132"/>
                </a:lnTo>
                <a:lnTo>
                  <a:pt x="25" y="138"/>
                </a:lnTo>
                <a:lnTo>
                  <a:pt x="25" y="144"/>
                </a:lnTo>
                <a:lnTo>
                  <a:pt x="16" y="154"/>
                </a:lnTo>
                <a:lnTo>
                  <a:pt x="12" y="160"/>
                </a:lnTo>
                <a:lnTo>
                  <a:pt x="12" y="160"/>
                </a:lnTo>
                <a:lnTo>
                  <a:pt x="12" y="175"/>
                </a:lnTo>
                <a:lnTo>
                  <a:pt x="6" y="182"/>
                </a:lnTo>
                <a:lnTo>
                  <a:pt x="6" y="191"/>
                </a:lnTo>
                <a:lnTo>
                  <a:pt x="0" y="197"/>
                </a:lnTo>
                <a:lnTo>
                  <a:pt x="0" y="204"/>
                </a:lnTo>
                <a:lnTo>
                  <a:pt x="0" y="210"/>
                </a:lnTo>
                <a:lnTo>
                  <a:pt x="0" y="219"/>
                </a:lnTo>
                <a:lnTo>
                  <a:pt x="0" y="226"/>
                </a:lnTo>
                <a:lnTo>
                  <a:pt x="0" y="229"/>
                </a:lnTo>
                <a:lnTo>
                  <a:pt x="0" y="229"/>
                </a:lnTo>
                <a:lnTo>
                  <a:pt x="3" y="229"/>
                </a:lnTo>
                <a:lnTo>
                  <a:pt x="3" y="229"/>
                </a:lnTo>
                <a:lnTo>
                  <a:pt x="6" y="229"/>
                </a:lnTo>
                <a:lnTo>
                  <a:pt x="6" y="226"/>
                </a:lnTo>
                <a:lnTo>
                  <a:pt x="6" y="226"/>
                </a:lnTo>
                <a:lnTo>
                  <a:pt x="12" y="226"/>
                </a:lnTo>
                <a:lnTo>
                  <a:pt x="16" y="229"/>
                </a:lnTo>
                <a:lnTo>
                  <a:pt x="16" y="226"/>
                </a:lnTo>
                <a:lnTo>
                  <a:pt x="16" y="226"/>
                </a:lnTo>
                <a:lnTo>
                  <a:pt x="22" y="219"/>
                </a:lnTo>
                <a:lnTo>
                  <a:pt x="25" y="219"/>
                </a:lnTo>
                <a:lnTo>
                  <a:pt x="28" y="222"/>
                </a:lnTo>
                <a:lnTo>
                  <a:pt x="28" y="222"/>
                </a:lnTo>
                <a:lnTo>
                  <a:pt x="31" y="222"/>
                </a:lnTo>
                <a:lnTo>
                  <a:pt x="31" y="219"/>
                </a:lnTo>
                <a:lnTo>
                  <a:pt x="34" y="222"/>
                </a:lnTo>
                <a:lnTo>
                  <a:pt x="34" y="222"/>
                </a:lnTo>
                <a:lnTo>
                  <a:pt x="37" y="222"/>
                </a:lnTo>
                <a:lnTo>
                  <a:pt x="37" y="226"/>
                </a:lnTo>
                <a:lnTo>
                  <a:pt x="37" y="226"/>
                </a:lnTo>
                <a:lnTo>
                  <a:pt x="41" y="229"/>
                </a:lnTo>
                <a:lnTo>
                  <a:pt x="47" y="232"/>
                </a:lnTo>
                <a:lnTo>
                  <a:pt x="50" y="229"/>
                </a:lnTo>
                <a:lnTo>
                  <a:pt x="50" y="229"/>
                </a:lnTo>
                <a:lnTo>
                  <a:pt x="53" y="229"/>
                </a:lnTo>
                <a:lnTo>
                  <a:pt x="56" y="229"/>
                </a:lnTo>
                <a:lnTo>
                  <a:pt x="56" y="229"/>
                </a:lnTo>
                <a:lnTo>
                  <a:pt x="131" y="229"/>
                </a:lnTo>
                <a:lnTo>
                  <a:pt x="131" y="229"/>
                </a:lnTo>
                <a:lnTo>
                  <a:pt x="134" y="235"/>
                </a:lnTo>
                <a:lnTo>
                  <a:pt x="134" y="235"/>
                </a:lnTo>
                <a:lnTo>
                  <a:pt x="137" y="238"/>
                </a:lnTo>
                <a:lnTo>
                  <a:pt x="144" y="238"/>
                </a:lnTo>
                <a:lnTo>
                  <a:pt x="147" y="238"/>
                </a:lnTo>
                <a:lnTo>
                  <a:pt x="147" y="238"/>
                </a:lnTo>
                <a:lnTo>
                  <a:pt x="147" y="238"/>
                </a:lnTo>
                <a:lnTo>
                  <a:pt x="150" y="241"/>
                </a:lnTo>
                <a:lnTo>
                  <a:pt x="153" y="238"/>
                </a:lnTo>
                <a:lnTo>
                  <a:pt x="156" y="238"/>
                </a:lnTo>
                <a:lnTo>
                  <a:pt x="162" y="238"/>
                </a:lnTo>
                <a:lnTo>
                  <a:pt x="166" y="238"/>
                </a:lnTo>
                <a:lnTo>
                  <a:pt x="166" y="235"/>
                </a:lnTo>
                <a:lnTo>
                  <a:pt x="166" y="238"/>
                </a:lnTo>
                <a:lnTo>
                  <a:pt x="169" y="238"/>
                </a:lnTo>
                <a:lnTo>
                  <a:pt x="172" y="241"/>
                </a:lnTo>
                <a:lnTo>
                  <a:pt x="175" y="241"/>
                </a:lnTo>
                <a:lnTo>
                  <a:pt x="181" y="241"/>
                </a:lnTo>
                <a:lnTo>
                  <a:pt x="181" y="241"/>
                </a:lnTo>
                <a:lnTo>
                  <a:pt x="181" y="241"/>
                </a:lnTo>
                <a:lnTo>
                  <a:pt x="184" y="241"/>
                </a:lnTo>
                <a:lnTo>
                  <a:pt x="187" y="241"/>
                </a:lnTo>
                <a:lnTo>
                  <a:pt x="187" y="241"/>
                </a:lnTo>
                <a:lnTo>
                  <a:pt x="191" y="241"/>
                </a:lnTo>
                <a:lnTo>
                  <a:pt x="191" y="241"/>
                </a:lnTo>
                <a:lnTo>
                  <a:pt x="191" y="241"/>
                </a:lnTo>
                <a:lnTo>
                  <a:pt x="194" y="244"/>
                </a:lnTo>
                <a:lnTo>
                  <a:pt x="194" y="244"/>
                </a:lnTo>
                <a:lnTo>
                  <a:pt x="197" y="244"/>
                </a:lnTo>
                <a:lnTo>
                  <a:pt x="197" y="244"/>
                </a:lnTo>
                <a:lnTo>
                  <a:pt x="228" y="235"/>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9" name="Freeform 147">
            <a:extLst>
              <a:ext uri="{FF2B5EF4-FFF2-40B4-BE49-F238E27FC236}">
                <a16:creationId xmlns:a16="http://schemas.microsoft.com/office/drawing/2014/main" id="{ACD36C35-7F4E-848C-D6E7-B5F419B9C54A}"/>
              </a:ext>
            </a:extLst>
          </p:cNvPr>
          <p:cNvSpPr>
            <a:spLocks/>
          </p:cNvSpPr>
          <p:nvPr userDrawn="1"/>
        </p:nvSpPr>
        <p:spPr bwMode="auto">
          <a:xfrm>
            <a:off x="14705640" y="10368831"/>
            <a:ext cx="498446" cy="447678"/>
          </a:xfrm>
          <a:custGeom>
            <a:avLst/>
            <a:gdLst>
              <a:gd name="T0" fmla="*/ 10 w 157"/>
              <a:gd name="T1" fmla="*/ 44 h 141"/>
              <a:gd name="T2" fmla="*/ 16 w 157"/>
              <a:gd name="T3" fmla="*/ 47 h 141"/>
              <a:gd name="T4" fmla="*/ 25 w 157"/>
              <a:gd name="T5" fmla="*/ 44 h 141"/>
              <a:gd name="T6" fmla="*/ 29 w 157"/>
              <a:gd name="T7" fmla="*/ 47 h 141"/>
              <a:gd name="T8" fmla="*/ 41 w 157"/>
              <a:gd name="T9" fmla="*/ 47 h 141"/>
              <a:gd name="T10" fmla="*/ 66 w 157"/>
              <a:gd name="T11" fmla="*/ 19 h 141"/>
              <a:gd name="T12" fmla="*/ 75 w 157"/>
              <a:gd name="T13" fmla="*/ 16 h 141"/>
              <a:gd name="T14" fmla="*/ 75 w 157"/>
              <a:gd name="T15" fmla="*/ 10 h 141"/>
              <a:gd name="T16" fmla="*/ 85 w 157"/>
              <a:gd name="T17" fmla="*/ 3 h 141"/>
              <a:gd name="T18" fmla="*/ 97 w 157"/>
              <a:gd name="T19" fmla="*/ 0 h 141"/>
              <a:gd name="T20" fmla="*/ 104 w 157"/>
              <a:gd name="T21" fmla="*/ 0 h 141"/>
              <a:gd name="T22" fmla="*/ 107 w 157"/>
              <a:gd name="T23" fmla="*/ 7 h 141"/>
              <a:gd name="T24" fmla="*/ 119 w 157"/>
              <a:gd name="T25" fmla="*/ 10 h 141"/>
              <a:gd name="T26" fmla="*/ 125 w 157"/>
              <a:gd name="T27" fmla="*/ 10 h 141"/>
              <a:gd name="T28" fmla="*/ 138 w 157"/>
              <a:gd name="T29" fmla="*/ 19 h 141"/>
              <a:gd name="T30" fmla="*/ 150 w 157"/>
              <a:gd name="T31" fmla="*/ 22 h 141"/>
              <a:gd name="T32" fmla="*/ 154 w 157"/>
              <a:gd name="T33" fmla="*/ 32 h 141"/>
              <a:gd name="T34" fmla="*/ 154 w 157"/>
              <a:gd name="T35" fmla="*/ 38 h 141"/>
              <a:gd name="T36" fmla="*/ 154 w 157"/>
              <a:gd name="T37" fmla="*/ 50 h 141"/>
              <a:gd name="T38" fmla="*/ 154 w 157"/>
              <a:gd name="T39" fmla="*/ 53 h 141"/>
              <a:gd name="T40" fmla="*/ 150 w 157"/>
              <a:gd name="T41" fmla="*/ 63 h 141"/>
              <a:gd name="T42" fmla="*/ 147 w 157"/>
              <a:gd name="T43" fmla="*/ 69 h 141"/>
              <a:gd name="T44" fmla="*/ 150 w 157"/>
              <a:gd name="T45" fmla="*/ 78 h 141"/>
              <a:gd name="T46" fmla="*/ 154 w 157"/>
              <a:gd name="T47" fmla="*/ 85 h 141"/>
              <a:gd name="T48" fmla="*/ 144 w 157"/>
              <a:gd name="T49" fmla="*/ 94 h 141"/>
              <a:gd name="T50" fmla="*/ 144 w 157"/>
              <a:gd name="T51" fmla="*/ 100 h 141"/>
              <a:gd name="T52" fmla="*/ 141 w 157"/>
              <a:gd name="T53" fmla="*/ 113 h 141"/>
              <a:gd name="T54" fmla="*/ 116 w 157"/>
              <a:gd name="T55" fmla="*/ 138 h 141"/>
              <a:gd name="T56" fmla="*/ 100 w 157"/>
              <a:gd name="T57" fmla="*/ 138 h 141"/>
              <a:gd name="T58" fmla="*/ 91 w 157"/>
              <a:gd name="T59" fmla="*/ 135 h 141"/>
              <a:gd name="T60" fmla="*/ 79 w 157"/>
              <a:gd name="T61" fmla="*/ 132 h 141"/>
              <a:gd name="T62" fmla="*/ 75 w 157"/>
              <a:gd name="T63" fmla="*/ 125 h 141"/>
              <a:gd name="T64" fmla="*/ 69 w 157"/>
              <a:gd name="T65" fmla="*/ 122 h 141"/>
              <a:gd name="T66" fmla="*/ 60 w 157"/>
              <a:gd name="T67" fmla="*/ 122 h 141"/>
              <a:gd name="T68" fmla="*/ 47 w 157"/>
              <a:gd name="T69" fmla="*/ 113 h 141"/>
              <a:gd name="T70" fmla="*/ 47 w 157"/>
              <a:gd name="T71" fmla="*/ 103 h 141"/>
              <a:gd name="T72" fmla="*/ 41 w 157"/>
              <a:gd name="T73" fmla="*/ 97 h 141"/>
              <a:gd name="T74" fmla="*/ 41 w 157"/>
              <a:gd name="T75" fmla="*/ 94 h 141"/>
              <a:gd name="T76" fmla="*/ 32 w 157"/>
              <a:gd name="T77" fmla="*/ 88 h 141"/>
              <a:gd name="T78" fmla="*/ 22 w 157"/>
              <a:gd name="T79" fmla="*/ 72 h 141"/>
              <a:gd name="T80" fmla="*/ 16 w 157"/>
              <a:gd name="T81" fmla="*/ 69 h 141"/>
              <a:gd name="T82" fmla="*/ 13 w 157"/>
              <a:gd name="T83" fmla="*/ 60 h 141"/>
              <a:gd name="T84" fmla="*/ 10 w 157"/>
              <a:gd name="T85" fmla="*/ 57 h 141"/>
              <a:gd name="T86" fmla="*/ 4 w 157"/>
              <a:gd name="T87" fmla="*/ 50 h 141"/>
              <a:gd name="T88" fmla="*/ 4 w 157"/>
              <a:gd name="T89" fmla="*/ 44 h 141"/>
              <a:gd name="T90" fmla="*/ 0 w 157"/>
              <a:gd name="T91" fmla="*/ 4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7" h="141">
                <a:moveTo>
                  <a:pt x="0" y="44"/>
                </a:moveTo>
                <a:lnTo>
                  <a:pt x="4" y="44"/>
                </a:lnTo>
                <a:lnTo>
                  <a:pt x="10" y="44"/>
                </a:lnTo>
                <a:lnTo>
                  <a:pt x="13" y="44"/>
                </a:lnTo>
                <a:lnTo>
                  <a:pt x="13" y="47"/>
                </a:lnTo>
                <a:lnTo>
                  <a:pt x="16" y="47"/>
                </a:lnTo>
                <a:lnTo>
                  <a:pt x="19" y="44"/>
                </a:lnTo>
                <a:lnTo>
                  <a:pt x="22" y="44"/>
                </a:lnTo>
                <a:lnTo>
                  <a:pt x="25" y="44"/>
                </a:lnTo>
                <a:lnTo>
                  <a:pt x="25" y="44"/>
                </a:lnTo>
                <a:lnTo>
                  <a:pt x="29" y="44"/>
                </a:lnTo>
                <a:lnTo>
                  <a:pt x="29" y="47"/>
                </a:lnTo>
                <a:lnTo>
                  <a:pt x="32" y="47"/>
                </a:lnTo>
                <a:lnTo>
                  <a:pt x="35" y="50"/>
                </a:lnTo>
                <a:lnTo>
                  <a:pt x="41" y="47"/>
                </a:lnTo>
                <a:lnTo>
                  <a:pt x="47" y="38"/>
                </a:lnTo>
                <a:lnTo>
                  <a:pt x="54" y="28"/>
                </a:lnTo>
                <a:lnTo>
                  <a:pt x="66" y="19"/>
                </a:lnTo>
                <a:lnTo>
                  <a:pt x="72" y="16"/>
                </a:lnTo>
                <a:lnTo>
                  <a:pt x="75" y="16"/>
                </a:lnTo>
                <a:lnTo>
                  <a:pt x="75" y="16"/>
                </a:lnTo>
                <a:lnTo>
                  <a:pt x="75" y="13"/>
                </a:lnTo>
                <a:lnTo>
                  <a:pt x="75" y="10"/>
                </a:lnTo>
                <a:lnTo>
                  <a:pt x="75" y="10"/>
                </a:lnTo>
                <a:lnTo>
                  <a:pt x="75" y="7"/>
                </a:lnTo>
                <a:lnTo>
                  <a:pt x="82" y="3"/>
                </a:lnTo>
                <a:lnTo>
                  <a:pt x="85" y="3"/>
                </a:lnTo>
                <a:lnTo>
                  <a:pt x="88" y="0"/>
                </a:lnTo>
                <a:lnTo>
                  <a:pt x="91" y="0"/>
                </a:lnTo>
                <a:lnTo>
                  <a:pt x="97" y="0"/>
                </a:lnTo>
                <a:lnTo>
                  <a:pt x="97" y="0"/>
                </a:lnTo>
                <a:lnTo>
                  <a:pt x="100" y="0"/>
                </a:lnTo>
                <a:lnTo>
                  <a:pt x="104" y="0"/>
                </a:lnTo>
                <a:lnTo>
                  <a:pt x="107" y="0"/>
                </a:lnTo>
                <a:lnTo>
                  <a:pt x="107" y="0"/>
                </a:lnTo>
                <a:lnTo>
                  <a:pt x="107" y="7"/>
                </a:lnTo>
                <a:lnTo>
                  <a:pt x="113" y="7"/>
                </a:lnTo>
                <a:lnTo>
                  <a:pt x="116" y="10"/>
                </a:lnTo>
                <a:lnTo>
                  <a:pt x="119" y="10"/>
                </a:lnTo>
                <a:lnTo>
                  <a:pt x="119" y="10"/>
                </a:lnTo>
                <a:lnTo>
                  <a:pt x="122" y="7"/>
                </a:lnTo>
                <a:lnTo>
                  <a:pt x="125" y="10"/>
                </a:lnTo>
                <a:lnTo>
                  <a:pt x="132" y="13"/>
                </a:lnTo>
                <a:lnTo>
                  <a:pt x="135" y="16"/>
                </a:lnTo>
                <a:lnTo>
                  <a:pt x="138" y="19"/>
                </a:lnTo>
                <a:lnTo>
                  <a:pt x="144" y="19"/>
                </a:lnTo>
                <a:lnTo>
                  <a:pt x="150" y="22"/>
                </a:lnTo>
                <a:lnTo>
                  <a:pt x="150" y="22"/>
                </a:lnTo>
                <a:lnTo>
                  <a:pt x="157" y="25"/>
                </a:lnTo>
                <a:lnTo>
                  <a:pt x="157" y="28"/>
                </a:lnTo>
                <a:lnTo>
                  <a:pt x="154" y="32"/>
                </a:lnTo>
                <a:lnTo>
                  <a:pt x="154" y="35"/>
                </a:lnTo>
                <a:lnTo>
                  <a:pt x="154" y="35"/>
                </a:lnTo>
                <a:lnTo>
                  <a:pt x="154" y="38"/>
                </a:lnTo>
                <a:lnTo>
                  <a:pt x="154" y="41"/>
                </a:lnTo>
                <a:lnTo>
                  <a:pt x="154" y="44"/>
                </a:lnTo>
                <a:lnTo>
                  <a:pt x="154" y="50"/>
                </a:lnTo>
                <a:lnTo>
                  <a:pt x="150" y="53"/>
                </a:lnTo>
                <a:lnTo>
                  <a:pt x="150" y="53"/>
                </a:lnTo>
                <a:lnTo>
                  <a:pt x="154" y="53"/>
                </a:lnTo>
                <a:lnTo>
                  <a:pt x="154" y="57"/>
                </a:lnTo>
                <a:lnTo>
                  <a:pt x="150" y="60"/>
                </a:lnTo>
                <a:lnTo>
                  <a:pt x="150" y="63"/>
                </a:lnTo>
                <a:lnTo>
                  <a:pt x="150" y="66"/>
                </a:lnTo>
                <a:lnTo>
                  <a:pt x="147" y="66"/>
                </a:lnTo>
                <a:lnTo>
                  <a:pt x="147" y="69"/>
                </a:lnTo>
                <a:lnTo>
                  <a:pt x="150" y="72"/>
                </a:lnTo>
                <a:lnTo>
                  <a:pt x="150" y="75"/>
                </a:lnTo>
                <a:lnTo>
                  <a:pt x="150" y="78"/>
                </a:lnTo>
                <a:lnTo>
                  <a:pt x="150" y="82"/>
                </a:lnTo>
                <a:lnTo>
                  <a:pt x="150" y="82"/>
                </a:lnTo>
                <a:lnTo>
                  <a:pt x="154" y="85"/>
                </a:lnTo>
                <a:lnTo>
                  <a:pt x="150" y="91"/>
                </a:lnTo>
                <a:lnTo>
                  <a:pt x="147" y="91"/>
                </a:lnTo>
                <a:lnTo>
                  <a:pt x="144" y="94"/>
                </a:lnTo>
                <a:lnTo>
                  <a:pt x="144" y="94"/>
                </a:lnTo>
                <a:lnTo>
                  <a:pt x="141" y="97"/>
                </a:lnTo>
                <a:lnTo>
                  <a:pt x="144" y="100"/>
                </a:lnTo>
                <a:lnTo>
                  <a:pt x="141" y="103"/>
                </a:lnTo>
                <a:lnTo>
                  <a:pt x="141" y="110"/>
                </a:lnTo>
                <a:lnTo>
                  <a:pt x="141" y="113"/>
                </a:lnTo>
                <a:lnTo>
                  <a:pt x="141" y="119"/>
                </a:lnTo>
                <a:lnTo>
                  <a:pt x="119" y="141"/>
                </a:lnTo>
                <a:lnTo>
                  <a:pt x="116" y="138"/>
                </a:lnTo>
                <a:lnTo>
                  <a:pt x="110" y="135"/>
                </a:lnTo>
                <a:lnTo>
                  <a:pt x="104" y="138"/>
                </a:lnTo>
                <a:lnTo>
                  <a:pt x="100" y="138"/>
                </a:lnTo>
                <a:lnTo>
                  <a:pt x="100" y="138"/>
                </a:lnTo>
                <a:lnTo>
                  <a:pt x="94" y="135"/>
                </a:lnTo>
                <a:lnTo>
                  <a:pt x="91" y="135"/>
                </a:lnTo>
                <a:lnTo>
                  <a:pt x="91" y="132"/>
                </a:lnTo>
                <a:lnTo>
                  <a:pt x="85" y="132"/>
                </a:lnTo>
                <a:lnTo>
                  <a:pt x="79" y="132"/>
                </a:lnTo>
                <a:lnTo>
                  <a:pt x="79" y="132"/>
                </a:lnTo>
                <a:lnTo>
                  <a:pt x="75" y="129"/>
                </a:lnTo>
                <a:lnTo>
                  <a:pt x="75" y="125"/>
                </a:lnTo>
                <a:lnTo>
                  <a:pt x="75" y="125"/>
                </a:lnTo>
                <a:lnTo>
                  <a:pt x="72" y="125"/>
                </a:lnTo>
                <a:lnTo>
                  <a:pt x="69" y="122"/>
                </a:lnTo>
                <a:lnTo>
                  <a:pt x="66" y="122"/>
                </a:lnTo>
                <a:lnTo>
                  <a:pt x="60" y="119"/>
                </a:lnTo>
                <a:lnTo>
                  <a:pt x="60" y="122"/>
                </a:lnTo>
                <a:lnTo>
                  <a:pt x="54" y="119"/>
                </a:lnTo>
                <a:lnTo>
                  <a:pt x="54" y="116"/>
                </a:lnTo>
                <a:lnTo>
                  <a:pt x="47" y="113"/>
                </a:lnTo>
                <a:lnTo>
                  <a:pt x="47" y="110"/>
                </a:lnTo>
                <a:lnTo>
                  <a:pt x="47" y="107"/>
                </a:lnTo>
                <a:lnTo>
                  <a:pt x="47" y="103"/>
                </a:lnTo>
                <a:lnTo>
                  <a:pt x="47" y="100"/>
                </a:lnTo>
                <a:lnTo>
                  <a:pt x="44" y="97"/>
                </a:lnTo>
                <a:lnTo>
                  <a:pt x="41" y="97"/>
                </a:lnTo>
                <a:lnTo>
                  <a:pt x="41" y="94"/>
                </a:lnTo>
                <a:lnTo>
                  <a:pt x="41" y="94"/>
                </a:lnTo>
                <a:lnTo>
                  <a:pt x="41" y="94"/>
                </a:lnTo>
                <a:lnTo>
                  <a:pt x="38" y="91"/>
                </a:lnTo>
                <a:lnTo>
                  <a:pt x="35" y="91"/>
                </a:lnTo>
                <a:lnTo>
                  <a:pt x="32" y="88"/>
                </a:lnTo>
                <a:lnTo>
                  <a:pt x="29" y="85"/>
                </a:lnTo>
                <a:lnTo>
                  <a:pt x="22" y="75"/>
                </a:lnTo>
                <a:lnTo>
                  <a:pt x="22" y="72"/>
                </a:lnTo>
                <a:lnTo>
                  <a:pt x="19" y="72"/>
                </a:lnTo>
                <a:lnTo>
                  <a:pt x="19" y="72"/>
                </a:lnTo>
                <a:lnTo>
                  <a:pt x="16" y="69"/>
                </a:lnTo>
                <a:lnTo>
                  <a:pt x="16" y="66"/>
                </a:lnTo>
                <a:lnTo>
                  <a:pt x="13" y="63"/>
                </a:lnTo>
                <a:lnTo>
                  <a:pt x="13" y="60"/>
                </a:lnTo>
                <a:lnTo>
                  <a:pt x="10" y="60"/>
                </a:lnTo>
                <a:lnTo>
                  <a:pt x="10" y="57"/>
                </a:lnTo>
                <a:lnTo>
                  <a:pt x="10" y="57"/>
                </a:lnTo>
                <a:lnTo>
                  <a:pt x="7" y="53"/>
                </a:lnTo>
                <a:lnTo>
                  <a:pt x="7" y="53"/>
                </a:lnTo>
                <a:lnTo>
                  <a:pt x="4" y="50"/>
                </a:lnTo>
                <a:lnTo>
                  <a:pt x="4" y="47"/>
                </a:lnTo>
                <a:lnTo>
                  <a:pt x="4" y="47"/>
                </a:lnTo>
                <a:lnTo>
                  <a:pt x="4" y="44"/>
                </a:lnTo>
                <a:lnTo>
                  <a:pt x="0" y="44"/>
                </a:lnTo>
                <a:lnTo>
                  <a:pt x="0" y="44"/>
                </a:lnTo>
                <a:lnTo>
                  <a:pt x="0" y="4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0" name="Freeform 148">
            <a:extLst>
              <a:ext uri="{FF2B5EF4-FFF2-40B4-BE49-F238E27FC236}">
                <a16:creationId xmlns:a16="http://schemas.microsoft.com/office/drawing/2014/main" id="{0AAD0F03-1EC6-4B27-6566-E2287E9D1BDF}"/>
              </a:ext>
            </a:extLst>
          </p:cNvPr>
          <p:cNvSpPr>
            <a:spLocks/>
          </p:cNvSpPr>
          <p:nvPr userDrawn="1"/>
        </p:nvSpPr>
        <p:spPr bwMode="auto">
          <a:xfrm>
            <a:off x="14369111" y="10508531"/>
            <a:ext cx="587338" cy="577850"/>
          </a:xfrm>
          <a:custGeom>
            <a:avLst/>
            <a:gdLst>
              <a:gd name="T0" fmla="*/ 110 w 185"/>
              <a:gd name="T1" fmla="*/ 3 h 182"/>
              <a:gd name="T2" fmla="*/ 113 w 185"/>
              <a:gd name="T3" fmla="*/ 9 h 182"/>
              <a:gd name="T4" fmla="*/ 116 w 185"/>
              <a:gd name="T5" fmla="*/ 13 h 182"/>
              <a:gd name="T6" fmla="*/ 119 w 185"/>
              <a:gd name="T7" fmla="*/ 19 h 182"/>
              <a:gd name="T8" fmla="*/ 125 w 185"/>
              <a:gd name="T9" fmla="*/ 28 h 182"/>
              <a:gd name="T10" fmla="*/ 128 w 185"/>
              <a:gd name="T11" fmla="*/ 31 h 182"/>
              <a:gd name="T12" fmla="*/ 141 w 185"/>
              <a:gd name="T13" fmla="*/ 47 h 182"/>
              <a:gd name="T14" fmla="*/ 147 w 185"/>
              <a:gd name="T15" fmla="*/ 50 h 182"/>
              <a:gd name="T16" fmla="*/ 150 w 185"/>
              <a:gd name="T17" fmla="*/ 53 h 182"/>
              <a:gd name="T18" fmla="*/ 153 w 185"/>
              <a:gd name="T19" fmla="*/ 63 h 182"/>
              <a:gd name="T20" fmla="*/ 160 w 185"/>
              <a:gd name="T21" fmla="*/ 72 h 182"/>
              <a:gd name="T22" fmla="*/ 166 w 185"/>
              <a:gd name="T23" fmla="*/ 75 h 182"/>
              <a:gd name="T24" fmla="*/ 178 w 185"/>
              <a:gd name="T25" fmla="*/ 81 h 182"/>
              <a:gd name="T26" fmla="*/ 181 w 185"/>
              <a:gd name="T27" fmla="*/ 85 h 182"/>
              <a:gd name="T28" fmla="*/ 185 w 185"/>
              <a:gd name="T29" fmla="*/ 88 h 182"/>
              <a:gd name="T30" fmla="*/ 175 w 185"/>
              <a:gd name="T31" fmla="*/ 91 h 182"/>
              <a:gd name="T32" fmla="*/ 172 w 185"/>
              <a:gd name="T33" fmla="*/ 97 h 182"/>
              <a:gd name="T34" fmla="*/ 166 w 185"/>
              <a:gd name="T35" fmla="*/ 100 h 182"/>
              <a:gd name="T36" fmla="*/ 156 w 185"/>
              <a:gd name="T37" fmla="*/ 103 h 182"/>
              <a:gd name="T38" fmla="*/ 150 w 185"/>
              <a:gd name="T39" fmla="*/ 110 h 182"/>
              <a:gd name="T40" fmla="*/ 144 w 185"/>
              <a:gd name="T41" fmla="*/ 113 h 182"/>
              <a:gd name="T42" fmla="*/ 135 w 185"/>
              <a:gd name="T43" fmla="*/ 125 h 182"/>
              <a:gd name="T44" fmla="*/ 135 w 185"/>
              <a:gd name="T45" fmla="*/ 131 h 182"/>
              <a:gd name="T46" fmla="*/ 128 w 185"/>
              <a:gd name="T47" fmla="*/ 135 h 182"/>
              <a:gd name="T48" fmla="*/ 125 w 185"/>
              <a:gd name="T49" fmla="*/ 141 h 182"/>
              <a:gd name="T50" fmla="*/ 113 w 185"/>
              <a:gd name="T51" fmla="*/ 144 h 182"/>
              <a:gd name="T52" fmla="*/ 110 w 185"/>
              <a:gd name="T53" fmla="*/ 153 h 182"/>
              <a:gd name="T54" fmla="*/ 110 w 185"/>
              <a:gd name="T55" fmla="*/ 163 h 182"/>
              <a:gd name="T56" fmla="*/ 103 w 185"/>
              <a:gd name="T57" fmla="*/ 163 h 182"/>
              <a:gd name="T58" fmla="*/ 91 w 185"/>
              <a:gd name="T59" fmla="*/ 163 h 182"/>
              <a:gd name="T60" fmla="*/ 78 w 185"/>
              <a:gd name="T61" fmla="*/ 160 h 182"/>
              <a:gd name="T62" fmla="*/ 66 w 185"/>
              <a:gd name="T63" fmla="*/ 153 h 182"/>
              <a:gd name="T64" fmla="*/ 53 w 185"/>
              <a:gd name="T65" fmla="*/ 169 h 182"/>
              <a:gd name="T66" fmla="*/ 41 w 185"/>
              <a:gd name="T67" fmla="*/ 175 h 182"/>
              <a:gd name="T68" fmla="*/ 31 w 185"/>
              <a:gd name="T69" fmla="*/ 182 h 182"/>
              <a:gd name="T70" fmla="*/ 19 w 185"/>
              <a:gd name="T71" fmla="*/ 182 h 182"/>
              <a:gd name="T72" fmla="*/ 16 w 185"/>
              <a:gd name="T73" fmla="*/ 172 h 182"/>
              <a:gd name="T74" fmla="*/ 10 w 185"/>
              <a:gd name="T75" fmla="*/ 150 h 182"/>
              <a:gd name="T76" fmla="*/ 0 w 185"/>
              <a:gd name="T77" fmla="*/ 147 h 182"/>
              <a:gd name="T78" fmla="*/ 22 w 185"/>
              <a:gd name="T79" fmla="*/ 85 h 182"/>
              <a:gd name="T80" fmla="*/ 60 w 185"/>
              <a:gd name="T81" fmla="*/ 9 h 182"/>
              <a:gd name="T82" fmla="*/ 69 w 185"/>
              <a:gd name="T83" fmla="*/ 6 h 182"/>
              <a:gd name="T84" fmla="*/ 72 w 185"/>
              <a:gd name="T85" fmla="*/ 13 h 182"/>
              <a:gd name="T86" fmla="*/ 72 w 185"/>
              <a:gd name="T87" fmla="*/ 16 h 182"/>
              <a:gd name="T88" fmla="*/ 88 w 185"/>
              <a:gd name="T89" fmla="*/ 3 h 182"/>
              <a:gd name="T90" fmla="*/ 94 w 185"/>
              <a:gd name="T91" fmla="*/ 3 h 182"/>
              <a:gd name="T92" fmla="*/ 106 w 185"/>
              <a:gd name="T9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5" h="182">
                <a:moveTo>
                  <a:pt x="106" y="0"/>
                </a:moveTo>
                <a:lnTo>
                  <a:pt x="110" y="0"/>
                </a:lnTo>
                <a:lnTo>
                  <a:pt x="110" y="3"/>
                </a:lnTo>
                <a:lnTo>
                  <a:pt x="110" y="3"/>
                </a:lnTo>
                <a:lnTo>
                  <a:pt x="110" y="6"/>
                </a:lnTo>
                <a:lnTo>
                  <a:pt x="113" y="9"/>
                </a:lnTo>
                <a:lnTo>
                  <a:pt x="113" y="9"/>
                </a:lnTo>
                <a:lnTo>
                  <a:pt x="116" y="13"/>
                </a:lnTo>
                <a:lnTo>
                  <a:pt x="116" y="13"/>
                </a:lnTo>
                <a:lnTo>
                  <a:pt x="116" y="16"/>
                </a:lnTo>
                <a:lnTo>
                  <a:pt x="119" y="16"/>
                </a:lnTo>
                <a:lnTo>
                  <a:pt x="119" y="19"/>
                </a:lnTo>
                <a:lnTo>
                  <a:pt x="122" y="22"/>
                </a:lnTo>
                <a:lnTo>
                  <a:pt x="122" y="25"/>
                </a:lnTo>
                <a:lnTo>
                  <a:pt x="125" y="28"/>
                </a:lnTo>
                <a:lnTo>
                  <a:pt x="125" y="28"/>
                </a:lnTo>
                <a:lnTo>
                  <a:pt x="128" y="28"/>
                </a:lnTo>
                <a:lnTo>
                  <a:pt x="128" y="31"/>
                </a:lnTo>
                <a:lnTo>
                  <a:pt x="135" y="41"/>
                </a:lnTo>
                <a:lnTo>
                  <a:pt x="138" y="44"/>
                </a:lnTo>
                <a:lnTo>
                  <a:pt x="141" y="47"/>
                </a:lnTo>
                <a:lnTo>
                  <a:pt x="144" y="47"/>
                </a:lnTo>
                <a:lnTo>
                  <a:pt x="147" y="50"/>
                </a:lnTo>
                <a:lnTo>
                  <a:pt x="147" y="50"/>
                </a:lnTo>
                <a:lnTo>
                  <a:pt x="147" y="50"/>
                </a:lnTo>
                <a:lnTo>
                  <a:pt x="147" y="53"/>
                </a:lnTo>
                <a:lnTo>
                  <a:pt x="150" y="53"/>
                </a:lnTo>
                <a:lnTo>
                  <a:pt x="153" y="56"/>
                </a:lnTo>
                <a:lnTo>
                  <a:pt x="153" y="59"/>
                </a:lnTo>
                <a:lnTo>
                  <a:pt x="153" y="63"/>
                </a:lnTo>
                <a:lnTo>
                  <a:pt x="153" y="66"/>
                </a:lnTo>
                <a:lnTo>
                  <a:pt x="153" y="69"/>
                </a:lnTo>
                <a:lnTo>
                  <a:pt x="160" y="72"/>
                </a:lnTo>
                <a:lnTo>
                  <a:pt x="160" y="75"/>
                </a:lnTo>
                <a:lnTo>
                  <a:pt x="166" y="78"/>
                </a:lnTo>
                <a:lnTo>
                  <a:pt x="166" y="75"/>
                </a:lnTo>
                <a:lnTo>
                  <a:pt x="172" y="78"/>
                </a:lnTo>
                <a:lnTo>
                  <a:pt x="175" y="78"/>
                </a:lnTo>
                <a:lnTo>
                  <a:pt x="178" y="81"/>
                </a:lnTo>
                <a:lnTo>
                  <a:pt x="181" y="81"/>
                </a:lnTo>
                <a:lnTo>
                  <a:pt x="181" y="81"/>
                </a:lnTo>
                <a:lnTo>
                  <a:pt x="181" y="85"/>
                </a:lnTo>
                <a:lnTo>
                  <a:pt x="185" y="88"/>
                </a:lnTo>
                <a:lnTo>
                  <a:pt x="185" y="88"/>
                </a:lnTo>
                <a:lnTo>
                  <a:pt x="185" y="88"/>
                </a:lnTo>
                <a:lnTo>
                  <a:pt x="181" y="91"/>
                </a:lnTo>
                <a:lnTo>
                  <a:pt x="178" y="91"/>
                </a:lnTo>
                <a:lnTo>
                  <a:pt x="175" y="91"/>
                </a:lnTo>
                <a:lnTo>
                  <a:pt x="175" y="94"/>
                </a:lnTo>
                <a:lnTo>
                  <a:pt x="175" y="97"/>
                </a:lnTo>
                <a:lnTo>
                  <a:pt x="172" y="97"/>
                </a:lnTo>
                <a:lnTo>
                  <a:pt x="169" y="100"/>
                </a:lnTo>
                <a:lnTo>
                  <a:pt x="166" y="100"/>
                </a:lnTo>
                <a:lnTo>
                  <a:pt x="166" y="100"/>
                </a:lnTo>
                <a:lnTo>
                  <a:pt x="163" y="100"/>
                </a:lnTo>
                <a:lnTo>
                  <a:pt x="160" y="100"/>
                </a:lnTo>
                <a:lnTo>
                  <a:pt x="156" y="103"/>
                </a:lnTo>
                <a:lnTo>
                  <a:pt x="153" y="106"/>
                </a:lnTo>
                <a:lnTo>
                  <a:pt x="150" y="106"/>
                </a:lnTo>
                <a:lnTo>
                  <a:pt x="150" y="110"/>
                </a:lnTo>
                <a:lnTo>
                  <a:pt x="147" y="110"/>
                </a:lnTo>
                <a:lnTo>
                  <a:pt x="147" y="113"/>
                </a:lnTo>
                <a:lnTo>
                  <a:pt x="144" y="113"/>
                </a:lnTo>
                <a:lnTo>
                  <a:pt x="141" y="113"/>
                </a:lnTo>
                <a:lnTo>
                  <a:pt x="135" y="122"/>
                </a:lnTo>
                <a:lnTo>
                  <a:pt x="135" y="125"/>
                </a:lnTo>
                <a:lnTo>
                  <a:pt x="135" y="128"/>
                </a:lnTo>
                <a:lnTo>
                  <a:pt x="135" y="131"/>
                </a:lnTo>
                <a:lnTo>
                  <a:pt x="135" y="131"/>
                </a:lnTo>
                <a:lnTo>
                  <a:pt x="131" y="131"/>
                </a:lnTo>
                <a:lnTo>
                  <a:pt x="128" y="135"/>
                </a:lnTo>
                <a:lnTo>
                  <a:pt x="128" y="135"/>
                </a:lnTo>
                <a:lnTo>
                  <a:pt x="125" y="138"/>
                </a:lnTo>
                <a:lnTo>
                  <a:pt x="125" y="138"/>
                </a:lnTo>
                <a:lnTo>
                  <a:pt x="125" y="141"/>
                </a:lnTo>
                <a:lnTo>
                  <a:pt x="122" y="141"/>
                </a:lnTo>
                <a:lnTo>
                  <a:pt x="119" y="144"/>
                </a:lnTo>
                <a:lnTo>
                  <a:pt x="113" y="144"/>
                </a:lnTo>
                <a:lnTo>
                  <a:pt x="113" y="147"/>
                </a:lnTo>
                <a:lnTo>
                  <a:pt x="113" y="153"/>
                </a:lnTo>
                <a:lnTo>
                  <a:pt x="110" y="153"/>
                </a:lnTo>
                <a:lnTo>
                  <a:pt x="110" y="156"/>
                </a:lnTo>
                <a:lnTo>
                  <a:pt x="110" y="160"/>
                </a:lnTo>
                <a:lnTo>
                  <a:pt x="110" y="163"/>
                </a:lnTo>
                <a:lnTo>
                  <a:pt x="106" y="166"/>
                </a:lnTo>
                <a:lnTo>
                  <a:pt x="103" y="163"/>
                </a:lnTo>
                <a:lnTo>
                  <a:pt x="103" y="163"/>
                </a:lnTo>
                <a:lnTo>
                  <a:pt x="100" y="163"/>
                </a:lnTo>
                <a:lnTo>
                  <a:pt x="94" y="163"/>
                </a:lnTo>
                <a:lnTo>
                  <a:pt x="91" y="163"/>
                </a:lnTo>
                <a:lnTo>
                  <a:pt x="88" y="163"/>
                </a:lnTo>
                <a:lnTo>
                  <a:pt x="85" y="163"/>
                </a:lnTo>
                <a:lnTo>
                  <a:pt x="78" y="160"/>
                </a:lnTo>
                <a:lnTo>
                  <a:pt x="75" y="156"/>
                </a:lnTo>
                <a:lnTo>
                  <a:pt x="72" y="156"/>
                </a:lnTo>
                <a:lnTo>
                  <a:pt x="66" y="153"/>
                </a:lnTo>
                <a:lnTo>
                  <a:pt x="63" y="156"/>
                </a:lnTo>
                <a:lnTo>
                  <a:pt x="56" y="160"/>
                </a:lnTo>
                <a:lnTo>
                  <a:pt x="53" y="169"/>
                </a:lnTo>
                <a:lnTo>
                  <a:pt x="50" y="172"/>
                </a:lnTo>
                <a:lnTo>
                  <a:pt x="44" y="175"/>
                </a:lnTo>
                <a:lnTo>
                  <a:pt x="41" y="175"/>
                </a:lnTo>
                <a:lnTo>
                  <a:pt x="38" y="178"/>
                </a:lnTo>
                <a:lnTo>
                  <a:pt x="35" y="182"/>
                </a:lnTo>
                <a:lnTo>
                  <a:pt x="31" y="182"/>
                </a:lnTo>
                <a:lnTo>
                  <a:pt x="25" y="182"/>
                </a:lnTo>
                <a:lnTo>
                  <a:pt x="22" y="182"/>
                </a:lnTo>
                <a:lnTo>
                  <a:pt x="19" y="182"/>
                </a:lnTo>
                <a:lnTo>
                  <a:pt x="13" y="182"/>
                </a:lnTo>
                <a:lnTo>
                  <a:pt x="13" y="178"/>
                </a:lnTo>
                <a:lnTo>
                  <a:pt x="16" y="172"/>
                </a:lnTo>
                <a:lnTo>
                  <a:pt x="16" y="166"/>
                </a:lnTo>
                <a:lnTo>
                  <a:pt x="10" y="156"/>
                </a:lnTo>
                <a:lnTo>
                  <a:pt x="10" y="150"/>
                </a:lnTo>
                <a:lnTo>
                  <a:pt x="3" y="147"/>
                </a:lnTo>
                <a:lnTo>
                  <a:pt x="3" y="147"/>
                </a:lnTo>
                <a:lnTo>
                  <a:pt x="0" y="147"/>
                </a:lnTo>
                <a:lnTo>
                  <a:pt x="0" y="147"/>
                </a:lnTo>
                <a:lnTo>
                  <a:pt x="6" y="85"/>
                </a:lnTo>
                <a:lnTo>
                  <a:pt x="22" y="85"/>
                </a:lnTo>
                <a:lnTo>
                  <a:pt x="25" y="13"/>
                </a:lnTo>
                <a:lnTo>
                  <a:pt x="41" y="13"/>
                </a:lnTo>
                <a:lnTo>
                  <a:pt x="60" y="9"/>
                </a:lnTo>
                <a:lnTo>
                  <a:pt x="66" y="6"/>
                </a:lnTo>
                <a:lnTo>
                  <a:pt x="69" y="6"/>
                </a:lnTo>
                <a:lnTo>
                  <a:pt x="69" y="6"/>
                </a:lnTo>
                <a:lnTo>
                  <a:pt x="69" y="6"/>
                </a:lnTo>
                <a:lnTo>
                  <a:pt x="72" y="9"/>
                </a:lnTo>
                <a:lnTo>
                  <a:pt x="72" y="13"/>
                </a:lnTo>
                <a:lnTo>
                  <a:pt x="72" y="13"/>
                </a:lnTo>
                <a:lnTo>
                  <a:pt x="72" y="16"/>
                </a:lnTo>
                <a:lnTo>
                  <a:pt x="72" y="16"/>
                </a:lnTo>
                <a:lnTo>
                  <a:pt x="78" y="13"/>
                </a:lnTo>
                <a:lnTo>
                  <a:pt x="85" y="6"/>
                </a:lnTo>
                <a:lnTo>
                  <a:pt x="88" y="3"/>
                </a:lnTo>
                <a:lnTo>
                  <a:pt x="91" y="3"/>
                </a:lnTo>
                <a:lnTo>
                  <a:pt x="91" y="3"/>
                </a:lnTo>
                <a:lnTo>
                  <a:pt x="94" y="3"/>
                </a:lnTo>
                <a:lnTo>
                  <a:pt x="97" y="3"/>
                </a:lnTo>
                <a:lnTo>
                  <a:pt x="103" y="0"/>
                </a:lnTo>
                <a:lnTo>
                  <a:pt x="106" y="0"/>
                </a:lnTo>
                <a:lnTo>
                  <a:pt x="106" y="0"/>
                </a:lnTo>
                <a:lnTo>
                  <a:pt x="106"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1" name="Freeform 149">
            <a:extLst>
              <a:ext uri="{FF2B5EF4-FFF2-40B4-BE49-F238E27FC236}">
                <a16:creationId xmlns:a16="http://schemas.microsoft.com/office/drawing/2014/main" id="{AA0C3FB0-CE55-293A-4248-75B5AEF92478}"/>
              </a:ext>
            </a:extLst>
          </p:cNvPr>
          <p:cNvSpPr>
            <a:spLocks/>
          </p:cNvSpPr>
          <p:nvPr userDrawn="1"/>
        </p:nvSpPr>
        <p:spPr bwMode="auto">
          <a:xfrm>
            <a:off x="13873846" y="10448209"/>
            <a:ext cx="831796" cy="796926"/>
          </a:xfrm>
          <a:custGeom>
            <a:avLst/>
            <a:gdLst>
              <a:gd name="T0" fmla="*/ 162 w 262"/>
              <a:gd name="T1" fmla="*/ 104 h 251"/>
              <a:gd name="T2" fmla="*/ 197 w 262"/>
              <a:gd name="T3" fmla="*/ 32 h 251"/>
              <a:gd name="T4" fmla="*/ 225 w 262"/>
              <a:gd name="T5" fmla="*/ 25 h 251"/>
              <a:gd name="T6" fmla="*/ 228 w 262"/>
              <a:gd name="T7" fmla="*/ 28 h 251"/>
              <a:gd name="T8" fmla="*/ 228 w 262"/>
              <a:gd name="T9" fmla="*/ 35 h 251"/>
              <a:gd name="T10" fmla="*/ 241 w 262"/>
              <a:gd name="T11" fmla="*/ 25 h 251"/>
              <a:gd name="T12" fmla="*/ 247 w 262"/>
              <a:gd name="T13" fmla="*/ 22 h 251"/>
              <a:gd name="T14" fmla="*/ 259 w 262"/>
              <a:gd name="T15" fmla="*/ 19 h 251"/>
              <a:gd name="T16" fmla="*/ 259 w 262"/>
              <a:gd name="T17" fmla="*/ 13 h 251"/>
              <a:gd name="T18" fmla="*/ 256 w 262"/>
              <a:gd name="T19" fmla="*/ 13 h 251"/>
              <a:gd name="T20" fmla="*/ 250 w 262"/>
              <a:gd name="T21" fmla="*/ 13 h 251"/>
              <a:gd name="T22" fmla="*/ 197 w 262"/>
              <a:gd name="T23" fmla="*/ 25 h 251"/>
              <a:gd name="T24" fmla="*/ 191 w 262"/>
              <a:gd name="T25" fmla="*/ 22 h 251"/>
              <a:gd name="T26" fmla="*/ 187 w 262"/>
              <a:gd name="T27" fmla="*/ 22 h 251"/>
              <a:gd name="T28" fmla="*/ 181 w 262"/>
              <a:gd name="T29" fmla="*/ 22 h 251"/>
              <a:gd name="T30" fmla="*/ 175 w 262"/>
              <a:gd name="T31" fmla="*/ 22 h 251"/>
              <a:gd name="T32" fmla="*/ 166 w 262"/>
              <a:gd name="T33" fmla="*/ 19 h 251"/>
              <a:gd name="T34" fmla="*/ 162 w 262"/>
              <a:gd name="T35" fmla="*/ 19 h 251"/>
              <a:gd name="T36" fmla="*/ 150 w 262"/>
              <a:gd name="T37" fmla="*/ 22 h 251"/>
              <a:gd name="T38" fmla="*/ 147 w 262"/>
              <a:gd name="T39" fmla="*/ 19 h 251"/>
              <a:gd name="T40" fmla="*/ 134 w 262"/>
              <a:gd name="T41" fmla="*/ 16 h 251"/>
              <a:gd name="T42" fmla="*/ 131 w 262"/>
              <a:gd name="T43" fmla="*/ 10 h 251"/>
              <a:gd name="T44" fmla="*/ 53 w 262"/>
              <a:gd name="T45" fmla="*/ 10 h 251"/>
              <a:gd name="T46" fmla="*/ 47 w 262"/>
              <a:gd name="T47" fmla="*/ 13 h 251"/>
              <a:gd name="T48" fmla="*/ 37 w 262"/>
              <a:gd name="T49" fmla="*/ 7 h 251"/>
              <a:gd name="T50" fmla="*/ 34 w 262"/>
              <a:gd name="T51" fmla="*/ 3 h 251"/>
              <a:gd name="T52" fmla="*/ 28 w 262"/>
              <a:gd name="T53" fmla="*/ 3 h 251"/>
              <a:gd name="T54" fmla="*/ 22 w 262"/>
              <a:gd name="T55" fmla="*/ 0 h 251"/>
              <a:gd name="T56" fmla="*/ 16 w 262"/>
              <a:gd name="T57" fmla="*/ 10 h 251"/>
              <a:gd name="T58" fmla="*/ 6 w 262"/>
              <a:gd name="T59" fmla="*/ 7 h 251"/>
              <a:gd name="T60" fmla="*/ 3 w 262"/>
              <a:gd name="T61" fmla="*/ 10 h 251"/>
              <a:gd name="T62" fmla="*/ 0 w 262"/>
              <a:gd name="T63" fmla="*/ 25 h 251"/>
              <a:gd name="T64" fmla="*/ 28 w 262"/>
              <a:gd name="T65" fmla="*/ 69 h 251"/>
              <a:gd name="T66" fmla="*/ 41 w 262"/>
              <a:gd name="T67" fmla="*/ 97 h 251"/>
              <a:gd name="T68" fmla="*/ 47 w 262"/>
              <a:gd name="T69" fmla="*/ 122 h 251"/>
              <a:gd name="T70" fmla="*/ 56 w 262"/>
              <a:gd name="T71" fmla="*/ 163 h 251"/>
              <a:gd name="T72" fmla="*/ 56 w 262"/>
              <a:gd name="T73" fmla="*/ 179 h 251"/>
              <a:gd name="T74" fmla="*/ 62 w 262"/>
              <a:gd name="T75" fmla="*/ 194 h 251"/>
              <a:gd name="T76" fmla="*/ 62 w 262"/>
              <a:gd name="T77" fmla="*/ 204 h 251"/>
              <a:gd name="T78" fmla="*/ 69 w 262"/>
              <a:gd name="T79" fmla="*/ 219 h 251"/>
              <a:gd name="T80" fmla="*/ 78 w 262"/>
              <a:gd name="T81" fmla="*/ 235 h 251"/>
              <a:gd name="T82" fmla="*/ 94 w 262"/>
              <a:gd name="T83" fmla="*/ 238 h 251"/>
              <a:gd name="T84" fmla="*/ 94 w 262"/>
              <a:gd name="T85" fmla="*/ 232 h 251"/>
              <a:gd name="T86" fmla="*/ 103 w 262"/>
              <a:gd name="T87" fmla="*/ 232 h 251"/>
              <a:gd name="T88" fmla="*/ 112 w 262"/>
              <a:gd name="T89" fmla="*/ 244 h 251"/>
              <a:gd name="T90" fmla="*/ 122 w 262"/>
              <a:gd name="T91" fmla="*/ 247 h 251"/>
              <a:gd name="T92" fmla="*/ 128 w 262"/>
              <a:gd name="T93" fmla="*/ 247 h 251"/>
              <a:gd name="T94" fmla="*/ 134 w 262"/>
              <a:gd name="T95" fmla="*/ 251 h 251"/>
              <a:gd name="T96" fmla="*/ 141 w 262"/>
              <a:gd name="T97" fmla="*/ 241 h 251"/>
              <a:gd name="T98" fmla="*/ 153 w 262"/>
              <a:gd name="T99" fmla="*/ 235 h 251"/>
              <a:gd name="T100" fmla="*/ 156 w 262"/>
              <a:gd name="T101" fmla="*/ 166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2" h="251">
                <a:moveTo>
                  <a:pt x="156" y="166"/>
                </a:moveTo>
                <a:lnTo>
                  <a:pt x="156" y="166"/>
                </a:lnTo>
                <a:lnTo>
                  <a:pt x="162" y="104"/>
                </a:lnTo>
                <a:lnTo>
                  <a:pt x="178" y="104"/>
                </a:lnTo>
                <a:lnTo>
                  <a:pt x="181" y="32"/>
                </a:lnTo>
                <a:lnTo>
                  <a:pt x="197" y="32"/>
                </a:lnTo>
                <a:lnTo>
                  <a:pt x="216" y="28"/>
                </a:lnTo>
                <a:lnTo>
                  <a:pt x="222" y="25"/>
                </a:lnTo>
                <a:lnTo>
                  <a:pt x="225" y="25"/>
                </a:lnTo>
                <a:lnTo>
                  <a:pt x="225" y="25"/>
                </a:lnTo>
                <a:lnTo>
                  <a:pt x="225" y="25"/>
                </a:lnTo>
                <a:lnTo>
                  <a:pt x="228" y="28"/>
                </a:lnTo>
                <a:lnTo>
                  <a:pt x="228" y="32"/>
                </a:lnTo>
                <a:lnTo>
                  <a:pt x="228" y="32"/>
                </a:lnTo>
                <a:lnTo>
                  <a:pt x="228" y="35"/>
                </a:lnTo>
                <a:lnTo>
                  <a:pt x="228" y="35"/>
                </a:lnTo>
                <a:lnTo>
                  <a:pt x="234" y="32"/>
                </a:lnTo>
                <a:lnTo>
                  <a:pt x="241" y="25"/>
                </a:lnTo>
                <a:lnTo>
                  <a:pt x="244" y="22"/>
                </a:lnTo>
                <a:lnTo>
                  <a:pt x="247" y="22"/>
                </a:lnTo>
                <a:lnTo>
                  <a:pt x="247" y="22"/>
                </a:lnTo>
                <a:lnTo>
                  <a:pt x="250" y="22"/>
                </a:lnTo>
                <a:lnTo>
                  <a:pt x="253" y="22"/>
                </a:lnTo>
                <a:lnTo>
                  <a:pt x="259" y="19"/>
                </a:lnTo>
                <a:lnTo>
                  <a:pt x="262" y="19"/>
                </a:lnTo>
                <a:lnTo>
                  <a:pt x="259" y="16"/>
                </a:lnTo>
                <a:lnTo>
                  <a:pt x="259" y="13"/>
                </a:lnTo>
                <a:lnTo>
                  <a:pt x="259" y="13"/>
                </a:lnTo>
                <a:lnTo>
                  <a:pt x="256" y="13"/>
                </a:lnTo>
                <a:lnTo>
                  <a:pt x="256" y="13"/>
                </a:lnTo>
                <a:lnTo>
                  <a:pt x="253" y="13"/>
                </a:lnTo>
                <a:lnTo>
                  <a:pt x="253" y="13"/>
                </a:lnTo>
                <a:lnTo>
                  <a:pt x="250" y="13"/>
                </a:lnTo>
                <a:lnTo>
                  <a:pt x="247" y="13"/>
                </a:lnTo>
                <a:lnTo>
                  <a:pt x="197" y="25"/>
                </a:lnTo>
                <a:lnTo>
                  <a:pt x="197" y="25"/>
                </a:lnTo>
                <a:lnTo>
                  <a:pt x="194" y="25"/>
                </a:lnTo>
                <a:lnTo>
                  <a:pt x="194" y="25"/>
                </a:lnTo>
                <a:lnTo>
                  <a:pt x="191" y="22"/>
                </a:lnTo>
                <a:lnTo>
                  <a:pt x="191" y="22"/>
                </a:lnTo>
                <a:lnTo>
                  <a:pt x="191" y="22"/>
                </a:lnTo>
                <a:lnTo>
                  <a:pt x="187" y="22"/>
                </a:lnTo>
                <a:lnTo>
                  <a:pt x="187" y="22"/>
                </a:lnTo>
                <a:lnTo>
                  <a:pt x="184" y="22"/>
                </a:lnTo>
                <a:lnTo>
                  <a:pt x="181" y="22"/>
                </a:lnTo>
                <a:lnTo>
                  <a:pt x="181" y="22"/>
                </a:lnTo>
                <a:lnTo>
                  <a:pt x="181" y="22"/>
                </a:lnTo>
                <a:lnTo>
                  <a:pt x="175" y="22"/>
                </a:lnTo>
                <a:lnTo>
                  <a:pt x="172" y="22"/>
                </a:lnTo>
                <a:lnTo>
                  <a:pt x="169" y="19"/>
                </a:lnTo>
                <a:lnTo>
                  <a:pt x="166" y="19"/>
                </a:lnTo>
                <a:lnTo>
                  <a:pt x="166" y="16"/>
                </a:lnTo>
                <a:lnTo>
                  <a:pt x="166" y="19"/>
                </a:lnTo>
                <a:lnTo>
                  <a:pt x="162" y="19"/>
                </a:lnTo>
                <a:lnTo>
                  <a:pt x="156" y="19"/>
                </a:lnTo>
                <a:lnTo>
                  <a:pt x="153" y="19"/>
                </a:lnTo>
                <a:lnTo>
                  <a:pt x="150" y="22"/>
                </a:lnTo>
                <a:lnTo>
                  <a:pt x="147" y="19"/>
                </a:lnTo>
                <a:lnTo>
                  <a:pt x="147" y="19"/>
                </a:lnTo>
                <a:lnTo>
                  <a:pt x="147" y="19"/>
                </a:lnTo>
                <a:lnTo>
                  <a:pt x="144" y="19"/>
                </a:lnTo>
                <a:lnTo>
                  <a:pt x="137" y="19"/>
                </a:lnTo>
                <a:lnTo>
                  <a:pt x="134" y="16"/>
                </a:lnTo>
                <a:lnTo>
                  <a:pt x="134" y="16"/>
                </a:lnTo>
                <a:lnTo>
                  <a:pt x="131" y="10"/>
                </a:lnTo>
                <a:lnTo>
                  <a:pt x="131" y="10"/>
                </a:lnTo>
                <a:lnTo>
                  <a:pt x="56" y="10"/>
                </a:lnTo>
                <a:lnTo>
                  <a:pt x="56" y="10"/>
                </a:lnTo>
                <a:lnTo>
                  <a:pt x="53" y="10"/>
                </a:lnTo>
                <a:lnTo>
                  <a:pt x="50" y="10"/>
                </a:lnTo>
                <a:lnTo>
                  <a:pt x="50" y="10"/>
                </a:lnTo>
                <a:lnTo>
                  <a:pt x="47" y="13"/>
                </a:lnTo>
                <a:lnTo>
                  <a:pt x="41" y="10"/>
                </a:lnTo>
                <a:lnTo>
                  <a:pt x="37" y="7"/>
                </a:lnTo>
                <a:lnTo>
                  <a:pt x="37" y="7"/>
                </a:lnTo>
                <a:lnTo>
                  <a:pt x="37" y="3"/>
                </a:lnTo>
                <a:lnTo>
                  <a:pt x="34" y="3"/>
                </a:lnTo>
                <a:lnTo>
                  <a:pt x="34" y="3"/>
                </a:lnTo>
                <a:lnTo>
                  <a:pt x="31" y="0"/>
                </a:lnTo>
                <a:lnTo>
                  <a:pt x="31" y="3"/>
                </a:lnTo>
                <a:lnTo>
                  <a:pt x="28" y="3"/>
                </a:lnTo>
                <a:lnTo>
                  <a:pt x="28" y="3"/>
                </a:lnTo>
                <a:lnTo>
                  <a:pt x="25" y="0"/>
                </a:lnTo>
                <a:lnTo>
                  <a:pt x="22" y="0"/>
                </a:lnTo>
                <a:lnTo>
                  <a:pt x="16" y="7"/>
                </a:lnTo>
                <a:lnTo>
                  <a:pt x="16" y="7"/>
                </a:lnTo>
                <a:lnTo>
                  <a:pt x="16" y="10"/>
                </a:lnTo>
                <a:lnTo>
                  <a:pt x="12" y="7"/>
                </a:lnTo>
                <a:lnTo>
                  <a:pt x="6" y="7"/>
                </a:lnTo>
                <a:lnTo>
                  <a:pt x="6" y="7"/>
                </a:lnTo>
                <a:lnTo>
                  <a:pt x="6" y="10"/>
                </a:lnTo>
                <a:lnTo>
                  <a:pt x="3" y="10"/>
                </a:lnTo>
                <a:lnTo>
                  <a:pt x="3" y="10"/>
                </a:lnTo>
                <a:lnTo>
                  <a:pt x="0" y="10"/>
                </a:lnTo>
                <a:lnTo>
                  <a:pt x="0" y="10"/>
                </a:lnTo>
                <a:lnTo>
                  <a:pt x="0" y="25"/>
                </a:lnTo>
                <a:lnTo>
                  <a:pt x="12" y="38"/>
                </a:lnTo>
                <a:lnTo>
                  <a:pt x="19" y="47"/>
                </a:lnTo>
                <a:lnTo>
                  <a:pt x="28" y="69"/>
                </a:lnTo>
                <a:lnTo>
                  <a:pt x="28" y="78"/>
                </a:lnTo>
                <a:lnTo>
                  <a:pt x="41" y="94"/>
                </a:lnTo>
                <a:lnTo>
                  <a:pt x="41" y="97"/>
                </a:lnTo>
                <a:lnTo>
                  <a:pt x="50" y="113"/>
                </a:lnTo>
                <a:lnTo>
                  <a:pt x="50" y="122"/>
                </a:lnTo>
                <a:lnTo>
                  <a:pt x="47" y="122"/>
                </a:lnTo>
                <a:lnTo>
                  <a:pt x="50" y="132"/>
                </a:lnTo>
                <a:lnTo>
                  <a:pt x="50" y="147"/>
                </a:lnTo>
                <a:lnTo>
                  <a:pt x="56" y="163"/>
                </a:lnTo>
                <a:lnTo>
                  <a:pt x="56" y="172"/>
                </a:lnTo>
                <a:lnTo>
                  <a:pt x="56" y="179"/>
                </a:lnTo>
                <a:lnTo>
                  <a:pt x="56" y="179"/>
                </a:lnTo>
                <a:lnTo>
                  <a:pt x="56" y="182"/>
                </a:lnTo>
                <a:lnTo>
                  <a:pt x="59" y="191"/>
                </a:lnTo>
                <a:lnTo>
                  <a:pt x="62" y="194"/>
                </a:lnTo>
                <a:lnTo>
                  <a:pt x="62" y="197"/>
                </a:lnTo>
                <a:lnTo>
                  <a:pt x="62" y="201"/>
                </a:lnTo>
                <a:lnTo>
                  <a:pt x="62" y="204"/>
                </a:lnTo>
                <a:lnTo>
                  <a:pt x="66" y="207"/>
                </a:lnTo>
                <a:lnTo>
                  <a:pt x="66" y="213"/>
                </a:lnTo>
                <a:lnTo>
                  <a:pt x="69" y="219"/>
                </a:lnTo>
                <a:lnTo>
                  <a:pt x="72" y="229"/>
                </a:lnTo>
                <a:lnTo>
                  <a:pt x="78" y="232"/>
                </a:lnTo>
                <a:lnTo>
                  <a:pt x="78" y="235"/>
                </a:lnTo>
                <a:lnTo>
                  <a:pt x="84" y="241"/>
                </a:lnTo>
                <a:lnTo>
                  <a:pt x="87" y="238"/>
                </a:lnTo>
                <a:lnTo>
                  <a:pt x="94" y="238"/>
                </a:lnTo>
                <a:lnTo>
                  <a:pt x="94" y="235"/>
                </a:lnTo>
                <a:lnTo>
                  <a:pt x="91" y="235"/>
                </a:lnTo>
                <a:lnTo>
                  <a:pt x="94" y="232"/>
                </a:lnTo>
                <a:lnTo>
                  <a:pt x="97" y="229"/>
                </a:lnTo>
                <a:lnTo>
                  <a:pt x="100" y="232"/>
                </a:lnTo>
                <a:lnTo>
                  <a:pt x="103" y="232"/>
                </a:lnTo>
                <a:lnTo>
                  <a:pt x="103" y="238"/>
                </a:lnTo>
                <a:lnTo>
                  <a:pt x="106" y="244"/>
                </a:lnTo>
                <a:lnTo>
                  <a:pt x="112" y="244"/>
                </a:lnTo>
                <a:lnTo>
                  <a:pt x="116" y="247"/>
                </a:lnTo>
                <a:lnTo>
                  <a:pt x="119" y="247"/>
                </a:lnTo>
                <a:lnTo>
                  <a:pt x="122" y="247"/>
                </a:lnTo>
                <a:lnTo>
                  <a:pt x="125" y="247"/>
                </a:lnTo>
                <a:lnTo>
                  <a:pt x="125" y="247"/>
                </a:lnTo>
                <a:lnTo>
                  <a:pt x="128" y="247"/>
                </a:lnTo>
                <a:lnTo>
                  <a:pt x="131" y="247"/>
                </a:lnTo>
                <a:lnTo>
                  <a:pt x="134" y="247"/>
                </a:lnTo>
                <a:lnTo>
                  <a:pt x="134" y="251"/>
                </a:lnTo>
                <a:lnTo>
                  <a:pt x="134" y="244"/>
                </a:lnTo>
                <a:lnTo>
                  <a:pt x="137" y="244"/>
                </a:lnTo>
                <a:lnTo>
                  <a:pt x="141" y="241"/>
                </a:lnTo>
                <a:lnTo>
                  <a:pt x="141" y="238"/>
                </a:lnTo>
                <a:lnTo>
                  <a:pt x="147" y="235"/>
                </a:lnTo>
                <a:lnTo>
                  <a:pt x="153" y="235"/>
                </a:lnTo>
                <a:lnTo>
                  <a:pt x="156" y="235"/>
                </a:lnTo>
                <a:lnTo>
                  <a:pt x="159" y="166"/>
                </a:lnTo>
                <a:lnTo>
                  <a:pt x="156" y="16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2" name="Freeform 150">
            <a:extLst>
              <a:ext uri="{FF2B5EF4-FFF2-40B4-BE49-F238E27FC236}">
                <a16:creationId xmlns:a16="http://schemas.microsoft.com/office/drawing/2014/main" id="{E00C24A3-F715-0591-7D07-404A407B531C}"/>
              </a:ext>
            </a:extLst>
          </p:cNvPr>
          <p:cNvSpPr>
            <a:spLocks noEditPoints="1"/>
          </p:cNvSpPr>
          <p:nvPr userDrawn="1"/>
        </p:nvSpPr>
        <p:spPr bwMode="auto">
          <a:xfrm>
            <a:off x="23360130" y="10778408"/>
            <a:ext cx="247634" cy="177800"/>
          </a:xfrm>
          <a:custGeom>
            <a:avLst/>
            <a:gdLst>
              <a:gd name="T0" fmla="*/ 6 w 78"/>
              <a:gd name="T1" fmla="*/ 6 h 56"/>
              <a:gd name="T2" fmla="*/ 9 w 78"/>
              <a:gd name="T3" fmla="*/ 6 h 56"/>
              <a:gd name="T4" fmla="*/ 16 w 78"/>
              <a:gd name="T5" fmla="*/ 12 h 56"/>
              <a:gd name="T6" fmla="*/ 19 w 78"/>
              <a:gd name="T7" fmla="*/ 15 h 56"/>
              <a:gd name="T8" fmla="*/ 31 w 78"/>
              <a:gd name="T9" fmla="*/ 34 h 56"/>
              <a:gd name="T10" fmla="*/ 34 w 78"/>
              <a:gd name="T11" fmla="*/ 34 h 56"/>
              <a:gd name="T12" fmla="*/ 47 w 78"/>
              <a:gd name="T13" fmla="*/ 50 h 56"/>
              <a:gd name="T14" fmla="*/ 50 w 78"/>
              <a:gd name="T15" fmla="*/ 56 h 56"/>
              <a:gd name="T16" fmla="*/ 47 w 78"/>
              <a:gd name="T17" fmla="*/ 56 h 56"/>
              <a:gd name="T18" fmla="*/ 38 w 78"/>
              <a:gd name="T19" fmla="*/ 53 h 56"/>
              <a:gd name="T20" fmla="*/ 34 w 78"/>
              <a:gd name="T21" fmla="*/ 46 h 56"/>
              <a:gd name="T22" fmla="*/ 28 w 78"/>
              <a:gd name="T23" fmla="*/ 40 h 56"/>
              <a:gd name="T24" fmla="*/ 25 w 78"/>
              <a:gd name="T25" fmla="*/ 40 h 56"/>
              <a:gd name="T26" fmla="*/ 16 w 78"/>
              <a:gd name="T27" fmla="*/ 31 h 56"/>
              <a:gd name="T28" fmla="*/ 13 w 78"/>
              <a:gd name="T29" fmla="*/ 28 h 56"/>
              <a:gd name="T30" fmla="*/ 9 w 78"/>
              <a:gd name="T31" fmla="*/ 21 h 56"/>
              <a:gd name="T32" fmla="*/ 0 w 78"/>
              <a:gd name="T33" fmla="*/ 9 h 56"/>
              <a:gd name="T34" fmla="*/ 0 w 78"/>
              <a:gd name="T35" fmla="*/ 3 h 56"/>
              <a:gd name="T36" fmla="*/ 0 w 78"/>
              <a:gd name="T37" fmla="*/ 0 h 56"/>
              <a:gd name="T38" fmla="*/ 75 w 78"/>
              <a:gd name="T39" fmla="*/ 31 h 56"/>
              <a:gd name="T40" fmla="*/ 75 w 78"/>
              <a:gd name="T41" fmla="*/ 37 h 56"/>
              <a:gd name="T42" fmla="*/ 72 w 78"/>
              <a:gd name="T43" fmla="*/ 40 h 56"/>
              <a:gd name="T44" fmla="*/ 69 w 78"/>
              <a:gd name="T45" fmla="*/ 34 h 56"/>
              <a:gd name="T46" fmla="*/ 59 w 78"/>
              <a:gd name="T47" fmla="*/ 12 h 56"/>
              <a:gd name="T48" fmla="*/ 56 w 78"/>
              <a:gd name="T49" fmla="*/ 18 h 56"/>
              <a:gd name="T50" fmla="*/ 59 w 78"/>
              <a:gd name="T51" fmla="*/ 25 h 56"/>
              <a:gd name="T52" fmla="*/ 66 w 78"/>
              <a:gd name="T53" fmla="*/ 25 h 56"/>
              <a:gd name="T54" fmla="*/ 63 w 78"/>
              <a:gd name="T55" fmla="*/ 18 h 56"/>
              <a:gd name="T56" fmla="*/ 59 w 78"/>
              <a:gd name="T57" fmla="*/ 12 h 56"/>
              <a:gd name="T58" fmla="*/ 47 w 78"/>
              <a:gd name="T59" fmla="*/ 9 h 56"/>
              <a:gd name="T60" fmla="*/ 44 w 78"/>
              <a:gd name="T61" fmla="*/ 15 h 56"/>
              <a:gd name="T62" fmla="*/ 50 w 78"/>
              <a:gd name="T63" fmla="*/ 12 h 56"/>
              <a:gd name="T64" fmla="*/ 47 w 78"/>
              <a:gd name="T65" fmla="*/ 9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56">
                <a:moveTo>
                  <a:pt x="0" y="0"/>
                </a:moveTo>
                <a:lnTo>
                  <a:pt x="6" y="6"/>
                </a:lnTo>
                <a:lnTo>
                  <a:pt x="6" y="3"/>
                </a:lnTo>
                <a:lnTo>
                  <a:pt x="9" y="6"/>
                </a:lnTo>
                <a:lnTo>
                  <a:pt x="9" y="9"/>
                </a:lnTo>
                <a:lnTo>
                  <a:pt x="16" y="12"/>
                </a:lnTo>
                <a:lnTo>
                  <a:pt x="16" y="15"/>
                </a:lnTo>
                <a:lnTo>
                  <a:pt x="19" y="15"/>
                </a:lnTo>
                <a:lnTo>
                  <a:pt x="25" y="28"/>
                </a:lnTo>
                <a:lnTo>
                  <a:pt x="31" y="34"/>
                </a:lnTo>
                <a:lnTo>
                  <a:pt x="31" y="34"/>
                </a:lnTo>
                <a:lnTo>
                  <a:pt x="34" y="34"/>
                </a:lnTo>
                <a:lnTo>
                  <a:pt x="41" y="43"/>
                </a:lnTo>
                <a:lnTo>
                  <a:pt x="47" y="50"/>
                </a:lnTo>
                <a:lnTo>
                  <a:pt x="50" y="50"/>
                </a:lnTo>
                <a:lnTo>
                  <a:pt x="50" y="56"/>
                </a:lnTo>
                <a:lnTo>
                  <a:pt x="47" y="53"/>
                </a:lnTo>
                <a:lnTo>
                  <a:pt x="47" y="56"/>
                </a:lnTo>
                <a:lnTo>
                  <a:pt x="44" y="53"/>
                </a:lnTo>
                <a:lnTo>
                  <a:pt x="38" y="53"/>
                </a:lnTo>
                <a:lnTo>
                  <a:pt x="34" y="50"/>
                </a:lnTo>
                <a:lnTo>
                  <a:pt x="34" y="46"/>
                </a:lnTo>
                <a:lnTo>
                  <a:pt x="28" y="46"/>
                </a:lnTo>
                <a:lnTo>
                  <a:pt x="28" y="40"/>
                </a:lnTo>
                <a:lnTo>
                  <a:pt x="25" y="40"/>
                </a:lnTo>
                <a:lnTo>
                  <a:pt x="25" y="40"/>
                </a:lnTo>
                <a:lnTo>
                  <a:pt x="22" y="34"/>
                </a:lnTo>
                <a:lnTo>
                  <a:pt x="16" y="31"/>
                </a:lnTo>
                <a:lnTo>
                  <a:pt x="16" y="28"/>
                </a:lnTo>
                <a:lnTo>
                  <a:pt x="13" y="28"/>
                </a:lnTo>
                <a:lnTo>
                  <a:pt x="9" y="25"/>
                </a:lnTo>
                <a:lnTo>
                  <a:pt x="9" y="21"/>
                </a:lnTo>
                <a:lnTo>
                  <a:pt x="6" y="18"/>
                </a:lnTo>
                <a:lnTo>
                  <a:pt x="0" y="9"/>
                </a:lnTo>
                <a:lnTo>
                  <a:pt x="0" y="6"/>
                </a:lnTo>
                <a:lnTo>
                  <a:pt x="0" y="3"/>
                </a:lnTo>
                <a:lnTo>
                  <a:pt x="0" y="0"/>
                </a:lnTo>
                <a:lnTo>
                  <a:pt x="0" y="0"/>
                </a:lnTo>
                <a:close/>
                <a:moveTo>
                  <a:pt x="69" y="34"/>
                </a:moveTo>
                <a:lnTo>
                  <a:pt x="75" y="31"/>
                </a:lnTo>
                <a:lnTo>
                  <a:pt x="78" y="34"/>
                </a:lnTo>
                <a:lnTo>
                  <a:pt x="75" y="37"/>
                </a:lnTo>
                <a:lnTo>
                  <a:pt x="75" y="37"/>
                </a:lnTo>
                <a:lnTo>
                  <a:pt x="72" y="40"/>
                </a:lnTo>
                <a:lnTo>
                  <a:pt x="69" y="37"/>
                </a:lnTo>
                <a:lnTo>
                  <a:pt x="69" y="34"/>
                </a:lnTo>
                <a:lnTo>
                  <a:pt x="69" y="34"/>
                </a:lnTo>
                <a:close/>
                <a:moveTo>
                  <a:pt x="59" y="12"/>
                </a:moveTo>
                <a:lnTo>
                  <a:pt x="56" y="15"/>
                </a:lnTo>
                <a:lnTo>
                  <a:pt x="56" y="18"/>
                </a:lnTo>
                <a:lnTo>
                  <a:pt x="56" y="21"/>
                </a:lnTo>
                <a:lnTo>
                  <a:pt x="59" y="25"/>
                </a:lnTo>
                <a:lnTo>
                  <a:pt x="63" y="25"/>
                </a:lnTo>
                <a:lnTo>
                  <a:pt x="66" y="25"/>
                </a:lnTo>
                <a:lnTo>
                  <a:pt x="63" y="21"/>
                </a:lnTo>
                <a:lnTo>
                  <a:pt x="63" y="18"/>
                </a:lnTo>
                <a:lnTo>
                  <a:pt x="63" y="15"/>
                </a:lnTo>
                <a:lnTo>
                  <a:pt x="59" y="12"/>
                </a:lnTo>
                <a:lnTo>
                  <a:pt x="59" y="12"/>
                </a:lnTo>
                <a:close/>
                <a:moveTo>
                  <a:pt x="47" y="9"/>
                </a:moveTo>
                <a:lnTo>
                  <a:pt x="47" y="12"/>
                </a:lnTo>
                <a:lnTo>
                  <a:pt x="44" y="15"/>
                </a:lnTo>
                <a:lnTo>
                  <a:pt x="50" y="15"/>
                </a:lnTo>
                <a:lnTo>
                  <a:pt x="50" y="12"/>
                </a:lnTo>
                <a:lnTo>
                  <a:pt x="50" y="9"/>
                </a:lnTo>
                <a:lnTo>
                  <a:pt x="47" y="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3" name="Freeform 151">
            <a:extLst>
              <a:ext uri="{FF2B5EF4-FFF2-40B4-BE49-F238E27FC236}">
                <a16:creationId xmlns:a16="http://schemas.microsoft.com/office/drawing/2014/main" id="{9D047B05-BA44-7A1D-86CC-F5816076D425}"/>
              </a:ext>
            </a:extLst>
          </p:cNvPr>
          <p:cNvSpPr>
            <a:spLocks/>
          </p:cNvSpPr>
          <p:nvPr userDrawn="1"/>
        </p:nvSpPr>
        <p:spPr bwMode="auto">
          <a:xfrm>
            <a:off x="17258174" y="13210456"/>
            <a:ext cx="19049" cy="28576"/>
          </a:xfrm>
          <a:custGeom>
            <a:avLst/>
            <a:gdLst>
              <a:gd name="T0" fmla="*/ 0 w 6"/>
              <a:gd name="T1" fmla="*/ 0 h 9"/>
              <a:gd name="T2" fmla="*/ 0 w 6"/>
              <a:gd name="T3" fmla="*/ 3 h 9"/>
              <a:gd name="T4" fmla="*/ 0 w 6"/>
              <a:gd name="T5" fmla="*/ 6 h 9"/>
              <a:gd name="T6" fmla="*/ 3 w 6"/>
              <a:gd name="T7" fmla="*/ 6 h 9"/>
              <a:gd name="T8" fmla="*/ 3 w 6"/>
              <a:gd name="T9" fmla="*/ 9 h 9"/>
              <a:gd name="T10" fmla="*/ 6 w 6"/>
              <a:gd name="T11" fmla="*/ 9 h 9"/>
              <a:gd name="T12" fmla="*/ 3 w 6"/>
              <a:gd name="T13" fmla="*/ 3 h 9"/>
              <a:gd name="T14" fmla="*/ 0 w 6"/>
              <a:gd name="T15" fmla="*/ 0 h 9"/>
              <a:gd name="T16" fmla="*/ 0 w 6"/>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9">
                <a:moveTo>
                  <a:pt x="0" y="0"/>
                </a:moveTo>
                <a:lnTo>
                  <a:pt x="0" y="3"/>
                </a:lnTo>
                <a:lnTo>
                  <a:pt x="0" y="6"/>
                </a:lnTo>
                <a:lnTo>
                  <a:pt x="3" y="6"/>
                </a:lnTo>
                <a:lnTo>
                  <a:pt x="3" y="9"/>
                </a:lnTo>
                <a:lnTo>
                  <a:pt x="6" y="9"/>
                </a:lnTo>
                <a:lnTo>
                  <a:pt x="3" y="3"/>
                </a:lnTo>
                <a:lnTo>
                  <a:pt x="0" y="0"/>
                </a:lnTo>
                <a:lnTo>
                  <a:pt x="0" y="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4" name="Freeform 152">
            <a:extLst>
              <a:ext uri="{FF2B5EF4-FFF2-40B4-BE49-F238E27FC236}">
                <a16:creationId xmlns:a16="http://schemas.microsoft.com/office/drawing/2014/main" id="{5FDA97F5-1B37-ED2D-9DF1-7910AA7EADA5}"/>
              </a:ext>
            </a:extLst>
          </p:cNvPr>
          <p:cNvSpPr>
            <a:spLocks noEditPoints="1"/>
          </p:cNvSpPr>
          <p:nvPr userDrawn="1"/>
        </p:nvSpPr>
        <p:spPr bwMode="auto">
          <a:xfrm>
            <a:off x="17067687" y="12823106"/>
            <a:ext cx="101593" cy="79376"/>
          </a:xfrm>
          <a:custGeom>
            <a:avLst/>
            <a:gdLst>
              <a:gd name="T0" fmla="*/ 13 w 32"/>
              <a:gd name="T1" fmla="*/ 6 h 25"/>
              <a:gd name="T2" fmla="*/ 13 w 32"/>
              <a:gd name="T3" fmla="*/ 3 h 25"/>
              <a:gd name="T4" fmla="*/ 16 w 32"/>
              <a:gd name="T5" fmla="*/ 3 h 25"/>
              <a:gd name="T6" fmla="*/ 16 w 32"/>
              <a:gd name="T7" fmla="*/ 6 h 25"/>
              <a:gd name="T8" fmla="*/ 13 w 32"/>
              <a:gd name="T9" fmla="*/ 6 h 25"/>
              <a:gd name="T10" fmla="*/ 13 w 32"/>
              <a:gd name="T11" fmla="*/ 6 h 25"/>
              <a:gd name="T12" fmla="*/ 13 w 32"/>
              <a:gd name="T13" fmla="*/ 6 h 25"/>
              <a:gd name="T14" fmla="*/ 13 w 32"/>
              <a:gd name="T15" fmla="*/ 6 h 25"/>
              <a:gd name="T16" fmla="*/ 0 w 32"/>
              <a:gd name="T17" fmla="*/ 22 h 25"/>
              <a:gd name="T18" fmla="*/ 3 w 32"/>
              <a:gd name="T19" fmla="*/ 22 h 25"/>
              <a:gd name="T20" fmla="*/ 7 w 32"/>
              <a:gd name="T21" fmla="*/ 19 h 25"/>
              <a:gd name="T22" fmla="*/ 10 w 32"/>
              <a:gd name="T23" fmla="*/ 19 h 25"/>
              <a:gd name="T24" fmla="*/ 13 w 32"/>
              <a:gd name="T25" fmla="*/ 22 h 25"/>
              <a:gd name="T26" fmla="*/ 16 w 32"/>
              <a:gd name="T27" fmla="*/ 22 h 25"/>
              <a:gd name="T28" fmla="*/ 16 w 32"/>
              <a:gd name="T29" fmla="*/ 22 h 25"/>
              <a:gd name="T30" fmla="*/ 19 w 32"/>
              <a:gd name="T31" fmla="*/ 19 h 25"/>
              <a:gd name="T32" fmla="*/ 19 w 32"/>
              <a:gd name="T33" fmla="*/ 22 h 25"/>
              <a:gd name="T34" fmla="*/ 19 w 32"/>
              <a:gd name="T35" fmla="*/ 22 h 25"/>
              <a:gd name="T36" fmla="*/ 22 w 32"/>
              <a:gd name="T37" fmla="*/ 25 h 25"/>
              <a:gd name="T38" fmla="*/ 25 w 32"/>
              <a:gd name="T39" fmla="*/ 25 h 25"/>
              <a:gd name="T40" fmla="*/ 28 w 32"/>
              <a:gd name="T41" fmla="*/ 22 h 25"/>
              <a:gd name="T42" fmla="*/ 28 w 32"/>
              <a:gd name="T43" fmla="*/ 22 h 25"/>
              <a:gd name="T44" fmla="*/ 25 w 32"/>
              <a:gd name="T45" fmla="*/ 22 h 25"/>
              <a:gd name="T46" fmla="*/ 22 w 32"/>
              <a:gd name="T47" fmla="*/ 19 h 25"/>
              <a:gd name="T48" fmla="*/ 25 w 32"/>
              <a:gd name="T49" fmla="*/ 16 h 25"/>
              <a:gd name="T50" fmla="*/ 28 w 32"/>
              <a:gd name="T51" fmla="*/ 16 h 25"/>
              <a:gd name="T52" fmla="*/ 32 w 32"/>
              <a:gd name="T53" fmla="*/ 16 h 25"/>
              <a:gd name="T54" fmla="*/ 32 w 32"/>
              <a:gd name="T55" fmla="*/ 12 h 25"/>
              <a:gd name="T56" fmla="*/ 32 w 32"/>
              <a:gd name="T57" fmla="*/ 9 h 25"/>
              <a:gd name="T58" fmla="*/ 28 w 32"/>
              <a:gd name="T59" fmla="*/ 12 h 25"/>
              <a:gd name="T60" fmla="*/ 25 w 32"/>
              <a:gd name="T61" fmla="*/ 9 h 25"/>
              <a:gd name="T62" fmla="*/ 22 w 32"/>
              <a:gd name="T63" fmla="*/ 16 h 25"/>
              <a:gd name="T64" fmla="*/ 19 w 32"/>
              <a:gd name="T65" fmla="*/ 16 h 25"/>
              <a:gd name="T66" fmla="*/ 19 w 32"/>
              <a:gd name="T67" fmla="*/ 9 h 25"/>
              <a:gd name="T68" fmla="*/ 19 w 32"/>
              <a:gd name="T69" fmla="*/ 9 h 25"/>
              <a:gd name="T70" fmla="*/ 19 w 32"/>
              <a:gd name="T71" fmla="*/ 3 h 25"/>
              <a:gd name="T72" fmla="*/ 19 w 32"/>
              <a:gd name="T73" fmla="*/ 6 h 25"/>
              <a:gd name="T74" fmla="*/ 16 w 32"/>
              <a:gd name="T75" fmla="*/ 9 h 25"/>
              <a:gd name="T76" fmla="*/ 16 w 32"/>
              <a:gd name="T77" fmla="*/ 12 h 25"/>
              <a:gd name="T78" fmla="*/ 13 w 32"/>
              <a:gd name="T79" fmla="*/ 9 h 25"/>
              <a:gd name="T80" fmla="*/ 10 w 32"/>
              <a:gd name="T81" fmla="*/ 9 h 25"/>
              <a:gd name="T82" fmla="*/ 7 w 32"/>
              <a:gd name="T83" fmla="*/ 6 h 25"/>
              <a:gd name="T84" fmla="*/ 7 w 32"/>
              <a:gd name="T85" fmla="*/ 3 h 25"/>
              <a:gd name="T86" fmla="*/ 7 w 32"/>
              <a:gd name="T87" fmla="*/ 3 h 25"/>
              <a:gd name="T88" fmla="*/ 10 w 32"/>
              <a:gd name="T89" fmla="*/ 0 h 25"/>
              <a:gd name="T90" fmla="*/ 10 w 32"/>
              <a:gd name="T91" fmla="*/ 0 h 25"/>
              <a:gd name="T92" fmla="*/ 7 w 32"/>
              <a:gd name="T93" fmla="*/ 0 h 25"/>
              <a:gd name="T94" fmla="*/ 3 w 32"/>
              <a:gd name="T95" fmla="*/ 3 h 25"/>
              <a:gd name="T96" fmla="*/ 7 w 32"/>
              <a:gd name="T97" fmla="*/ 6 h 25"/>
              <a:gd name="T98" fmla="*/ 7 w 32"/>
              <a:gd name="T99" fmla="*/ 9 h 25"/>
              <a:gd name="T100" fmla="*/ 7 w 32"/>
              <a:gd name="T101" fmla="*/ 9 h 25"/>
              <a:gd name="T102" fmla="*/ 7 w 32"/>
              <a:gd name="T103" fmla="*/ 12 h 25"/>
              <a:gd name="T104" fmla="*/ 3 w 32"/>
              <a:gd name="T105" fmla="*/ 16 h 25"/>
              <a:gd name="T106" fmla="*/ 0 w 32"/>
              <a:gd name="T107" fmla="*/ 19 h 25"/>
              <a:gd name="T108" fmla="*/ 0 w 32"/>
              <a:gd name="T109" fmla="*/ 2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 h="25">
                <a:moveTo>
                  <a:pt x="13" y="6"/>
                </a:moveTo>
                <a:lnTo>
                  <a:pt x="13" y="3"/>
                </a:lnTo>
                <a:lnTo>
                  <a:pt x="16" y="3"/>
                </a:lnTo>
                <a:lnTo>
                  <a:pt x="16" y="6"/>
                </a:lnTo>
                <a:lnTo>
                  <a:pt x="13" y="6"/>
                </a:lnTo>
                <a:lnTo>
                  <a:pt x="13" y="6"/>
                </a:lnTo>
                <a:lnTo>
                  <a:pt x="13" y="6"/>
                </a:lnTo>
                <a:lnTo>
                  <a:pt x="13" y="6"/>
                </a:lnTo>
                <a:close/>
                <a:moveTo>
                  <a:pt x="0" y="22"/>
                </a:moveTo>
                <a:lnTo>
                  <a:pt x="3" y="22"/>
                </a:lnTo>
                <a:lnTo>
                  <a:pt x="7" y="19"/>
                </a:lnTo>
                <a:lnTo>
                  <a:pt x="10" y="19"/>
                </a:lnTo>
                <a:lnTo>
                  <a:pt x="13" y="22"/>
                </a:lnTo>
                <a:lnTo>
                  <a:pt x="16" y="22"/>
                </a:lnTo>
                <a:lnTo>
                  <a:pt x="16" y="22"/>
                </a:lnTo>
                <a:lnTo>
                  <a:pt x="19" y="19"/>
                </a:lnTo>
                <a:lnTo>
                  <a:pt x="19" y="22"/>
                </a:lnTo>
                <a:lnTo>
                  <a:pt x="19" y="22"/>
                </a:lnTo>
                <a:lnTo>
                  <a:pt x="22" y="25"/>
                </a:lnTo>
                <a:lnTo>
                  <a:pt x="25" y="25"/>
                </a:lnTo>
                <a:lnTo>
                  <a:pt x="28" y="22"/>
                </a:lnTo>
                <a:lnTo>
                  <a:pt x="28" y="22"/>
                </a:lnTo>
                <a:lnTo>
                  <a:pt x="25" y="22"/>
                </a:lnTo>
                <a:lnTo>
                  <a:pt x="22" y="19"/>
                </a:lnTo>
                <a:lnTo>
                  <a:pt x="25" y="16"/>
                </a:lnTo>
                <a:lnTo>
                  <a:pt x="28" y="16"/>
                </a:lnTo>
                <a:lnTo>
                  <a:pt x="32" y="16"/>
                </a:lnTo>
                <a:lnTo>
                  <a:pt x="32" y="12"/>
                </a:lnTo>
                <a:lnTo>
                  <a:pt x="32" y="9"/>
                </a:lnTo>
                <a:lnTo>
                  <a:pt x="28" y="12"/>
                </a:lnTo>
                <a:lnTo>
                  <a:pt x="25" y="9"/>
                </a:lnTo>
                <a:lnTo>
                  <a:pt x="22" y="16"/>
                </a:lnTo>
                <a:lnTo>
                  <a:pt x="19" y="16"/>
                </a:lnTo>
                <a:lnTo>
                  <a:pt x="19" y="9"/>
                </a:lnTo>
                <a:lnTo>
                  <a:pt x="19" y="9"/>
                </a:lnTo>
                <a:lnTo>
                  <a:pt x="19" y="3"/>
                </a:lnTo>
                <a:lnTo>
                  <a:pt x="19" y="6"/>
                </a:lnTo>
                <a:lnTo>
                  <a:pt x="16" y="9"/>
                </a:lnTo>
                <a:lnTo>
                  <a:pt x="16" y="12"/>
                </a:lnTo>
                <a:lnTo>
                  <a:pt x="13" y="9"/>
                </a:lnTo>
                <a:lnTo>
                  <a:pt x="10" y="9"/>
                </a:lnTo>
                <a:lnTo>
                  <a:pt x="7" y="6"/>
                </a:lnTo>
                <a:lnTo>
                  <a:pt x="7" y="3"/>
                </a:lnTo>
                <a:lnTo>
                  <a:pt x="7" y="3"/>
                </a:lnTo>
                <a:lnTo>
                  <a:pt x="10" y="0"/>
                </a:lnTo>
                <a:lnTo>
                  <a:pt x="10" y="0"/>
                </a:lnTo>
                <a:lnTo>
                  <a:pt x="7" y="0"/>
                </a:lnTo>
                <a:lnTo>
                  <a:pt x="3" y="3"/>
                </a:lnTo>
                <a:lnTo>
                  <a:pt x="7" y="6"/>
                </a:lnTo>
                <a:lnTo>
                  <a:pt x="7" y="9"/>
                </a:lnTo>
                <a:lnTo>
                  <a:pt x="7" y="9"/>
                </a:lnTo>
                <a:lnTo>
                  <a:pt x="7" y="12"/>
                </a:lnTo>
                <a:lnTo>
                  <a:pt x="3" y="16"/>
                </a:lnTo>
                <a:lnTo>
                  <a:pt x="0" y="19"/>
                </a:lnTo>
                <a:lnTo>
                  <a:pt x="0" y="22"/>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5" name="Freeform 153">
            <a:extLst>
              <a:ext uri="{FF2B5EF4-FFF2-40B4-BE49-F238E27FC236}">
                <a16:creationId xmlns:a16="http://schemas.microsoft.com/office/drawing/2014/main" id="{9A72455C-AB54-1E50-E7AE-DEDDA99F9F32}"/>
              </a:ext>
            </a:extLst>
          </p:cNvPr>
          <p:cNvSpPr>
            <a:spLocks/>
          </p:cNvSpPr>
          <p:nvPr userDrawn="1"/>
        </p:nvSpPr>
        <p:spPr bwMode="auto">
          <a:xfrm>
            <a:off x="16702584" y="10657757"/>
            <a:ext cx="38100" cy="38102"/>
          </a:xfrm>
          <a:custGeom>
            <a:avLst/>
            <a:gdLst>
              <a:gd name="T0" fmla="*/ 3 w 12"/>
              <a:gd name="T1" fmla="*/ 0 h 12"/>
              <a:gd name="T2" fmla="*/ 3 w 12"/>
              <a:gd name="T3" fmla="*/ 6 h 12"/>
              <a:gd name="T4" fmla="*/ 0 w 12"/>
              <a:gd name="T5" fmla="*/ 9 h 12"/>
              <a:gd name="T6" fmla="*/ 6 w 12"/>
              <a:gd name="T7" fmla="*/ 12 h 12"/>
              <a:gd name="T8" fmla="*/ 9 w 12"/>
              <a:gd name="T9" fmla="*/ 9 h 12"/>
              <a:gd name="T10" fmla="*/ 9 w 12"/>
              <a:gd name="T11" fmla="*/ 6 h 12"/>
              <a:gd name="T12" fmla="*/ 12 w 12"/>
              <a:gd name="T13" fmla="*/ 6 h 12"/>
              <a:gd name="T14" fmla="*/ 12 w 12"/>
              <a:gd name="T15" fmla="*/ 3 h 12"/>
              <a:gd name="T16" fmla="*/ 9 w 12"/>
              <a:gd name="T17" fmla="*/ 0 h 12"/>
              <a:gd name="T18" fmla="*/ 6 w 12"/>
              <a:gd name="T19" fmla="*/ 3 h 12"/>
              <a:gd name="T20" fmla="*/ 3 w 12"/>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2">
                <a:moveTo>
                  <a:pt x="3" y="0"/>
                </a:moveTo>
                <a:lnTo>
                  <a:pt x="3" y="6"/>
                </a:lnTo>
                <a:lnTo>
                  <a:pt x="0" y="9"/>
                </a:lnTo>
                <a:lnTo>
                  <a:pt x="6" y="12"/>
                </a:lnTo>
                <a:lnTo>
                  <a:pt x="9" y="9"/>
                </a:lnTo>
                <a:lnTo>
                  <a:pt x="9" y="6"/>
                </a:lnTo>
                <a:lnTo>
                  <a:pt x="12" y="6"/>
                </a:lnTo>
                <a:lnTo>
                  <a:pt x="12" y="3"/>
                </a:lnTo>
                <a:lnTo>
                  <a:pt x="9" y="0"/>
                </a:lnTo>
                <a:lnTo>
                  <a:pt x="6" y="3"/>
                </a:lnTo>
                <a:lnTo>
                  <a:pt x="3" y="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6" name="Freeform 154">
            <a:extLst>
              <a:ext uri="{FF2B5EF4-FFF2-40B4-BE49-F238E27FC236}">
                <a16:creationId xmlns:a16="http://schemas.microsoft.com/office/drawing/2014/main" id="{F6E4B5D1-8F67-9B9D-E3EB-6B5E91A6B2AB}"/>
              </a:ext>
            </a:extLst>
          </p:cNvPr>
          <p:cNvSpPr>
            <a:spLocks/>
          </p:cNvSpPr>
          <p:nvPr userDrawn="1"/>
        </p:nvSpPr>
        <p:spPr bwMode="auto">
          <a:xfrm>
            <a:off x="16581944" y="10708557"/>
            <a:ext cx="31748" cy="38102"/>
          </a:xfrm>
          <a:custGeom>
            <a:avLst/>
            <a:gdLst>
              <a:gd name="T0" fmla="*/ 0 w 10"/>
              <a:gd name="T1" fmla="*/ 0 h 12"/>
              <a:gd name="T2" fmla="*/ 0 w 10"/>
              <a:gd name="T3" fmla="*/ 6 h 12"/>
              <a:gd name="T4" fmla="*/ 3 w 10"/>
              <a:gd name="T5" fmla="*/ 12 h 12"/>
              <a:gd name="T6" fmla="*/ 6 w 10"/>
              <a:gd name="T7" fmla="*/ 12 h 12"/>
              <a:gd name="T8" fmla="*/ 10 w 10"/>
              <a:gd name="T9" fmla="*/ 9 h 12"/>
              <a:gd name="T10" fmla="*/ 10 w 10"/>
              <a:gd name="T11" fmla="*/ 6 h 12"/>
              <a:gd name="T12" fmla="*/ 6 w 10"/>
              <a:gd name="T13" fmla="*/ 3 h 12"/>
              <a:gd name="T14" fmla="*/ 0 w 10"/>
              <a:gd name="T15" fmla="*/ 0 h 12"/>
              <a:gd name="T16" fmla="*/ 0 w 1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2">
                <a:moveTo>
                  <a:pt x="0" y="0"/>
                </a:moveTo>
                <a:lnTo>
                  <a:pt x="0" y="6"/>
                </a:lnTo>
                <a:lnTo>
                  <a:pt x="3" y="12"/>
                </a:lnTo>
                <a:lnTo>
                  <a:pt x="6" y="12"/>
                </a:lnTo>
                <a:lnTo>
                  <a:pt x="10" y="9"/>
                </a:lnTo>
                <a:lnTo>
                  <a:pt x="10" y="6"/>
                </a:lnTo>
                <a:lnTo>
                  <a:pt x="6" y="3"/>
                </a:lnTo>
                <a:lnTo>
                  <a:pt x="0" y="0"/>
                </a:lnTo>
                <a:lnTo>
                  <a:pt x="0" y="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7" name="Freeform 155">
            <a:extLst>
              <a:ext uri="{FF2B5EF4-FFF2-40B4-BE49-F238E27FC236}">
                <a16:creationId xmlns:a16="http://schemas.microsoft.com/office/drawing/2014/main" id="{304CC159-8AE5-052B-110C-511BA6C1B458}"/>
              </a:ext>
            </a:extLst>
          </p:cNvPr>
          <p:cNvSpPr>
            <a:spLocks noEditPoints="1"/>
          </p:cNvSpPr>
          <p:nvPr userDrawn="1"/>
        </p:nvSpPr>
        <p:spPr bwMode="auto">
          <a:xfrm>
            <a:off x="15807292" y="10140235"/>
            <a:ext cx="476219" cy="885826"/>
          </a:xfrm>
          <a:custGeom>
            <a:avLst/>
            <a:gdLst>
              <a:gd name="T0" fmla="*/ 44 w 150"/>
              <a:gd name="T1" fmla="*/ 276 h 279"/>
              <a:gd name="T2" fmla="*/ 69 w 150"/>
              <a:gd name="T3" fmla="*/ 266 h 279"/>
              <a:gd name="T4" fmla="*/ 79 w 150"/>
              <a:gd name="T5" fmla="*/ 254 h 279"/>
              <a:gd name="T6" fmla="*/ 82 w 150"/>
              <a:gd name="T7" fmla="*/ 238 h 279"/>
              <a:gd name="T8" fmla="*/ 88 w 150"/>
              <a:gd name="T9" fmla="*/ 229 h 279"/>
              <a:gd name="T10" fmla="*/ 100 w 150"/>
              <a:gd name="T11" fmla="*/ 201 h 279"/>
              <a:gd name="T12" fmla="*/ 116 w 150"/>
              <a:gd name="T13" fmla="*/ 163 h 279"/>
              <a:gd name="T14" fmla="*/ 125 w 150"/>
              <a:gd name="T15" fmla="*/ 138 h 279"/>
              <a:gd name="T16" fmla="*/ 132 w 150"/>
              <a:gd name="T17" fmla="*/ 110 h 279"/>
              <a:gd name="T18" fmla="*/ 135 w 150"/>
              <a:gd name="T19" fmla="*/ 94 h 279"/>
              <a:gd name="T20" fmla="*/ 138 w 150"/>
              <a:gd name="T21" fmla="*/ 82 h 279"/>
              <a:gd name="T22" fmla="*/ 138 w 150"/>
              <a:gd name="T23" fmla="*/ 69 h 279"/>
              <a:gd name="T24" fmla="*/ 147 w 150"/>
              <a:gd name="T25" fmla="*/ 82 h 279"/>
              <a:gd name="T26" fmla="*/ 150 w 150"/>
              <a:gd name="T27" fmla="*/ 69 h 279"/>
              <a:gd name="T28" fmla="*/ 144 w 150"/>
              <a:gd name="T29" fmla="*/ 57 h 279"/>
              <a:gd name="T30" fmla="*/ 147 w 150"/>
              <a:gd name="T31" fmla="*/ 41 h 279"/>
              <a:gd name="T32" fmla="*/ 141 w 150"/>
              <a:gd name="T33" fmla="*/ 16 h 279"/>
              <a:gd name="T34" fmla="*/ 132 w 150"/>
              <a:gd name="T35" fmla="*/ 7 h 279"/>
              <a:gd name="T36" fmla="*/ 129 w 150"/>
              <a:gd name="T37" fmla="*/ 7 h 279"/>
              <a:gd name="T38" fmla="*/ 125 w 150"/>
              <a:gd name="T39" fmla="*/ 10 h 279"/>
              <a:gd name="T40" fmla="*/ 122 w 150"/>
              <a:gd name="T41" fmla="*/ 22 h 279"/>
              <a:gd name="T42" fmla="*/ 113 w 150"/>
              <a:gd name="T43" fmla="*/ 35 h 279"/>
              <a:gd name="T44" fmla="*/ 110 w 150"/>
              <a:gd name="T45" fmla="*/ 32 h 279"/>
              <a:gd name="T46" fmla="*/ 107 w 150"/>
              <a:gd name="T47" fmla="*/ 44 h 279"/>
              <a:gd name="T48" fmla="*/ 100 w 150"/>
              <a:gd name="T49" fmla="*/ 47 h 279"/>
              <a:gd name="T50" fmla="*/ 104 w 150"/>
              <a:gd name="T51" fmla="*/ 57 h 279"/>
              <a:gd name="T52" fmla="*/ 94 w 150"/>
              <a:gd name="T53" fmla="*/ 63 h 279"/>
              <a:gd name="T54" fmla="*/ 91 w 150"/>
              <a:gd name="T55" fmla="*/ 57 h 279"/>
              <a:gd name="T56" fmla="*/ 88 w 150"/>
              <a:gd name="T57" fmla="*/ 66 h 279"/>
              <a:gd name="T58" fmla="*/ 85 w 150"/>
              <a:gd name="T59" fmla="*/ 72 h 279"/>
              <a:gd name="T60" fmla="*/ 82 w 150"/>
              <a:gd name="T61" fmla="*/ 66 h 279"/>
              <a:gd name="T62" fmla="*/ 75 w 150"/>
              <a:gd name="T63" fmla="*/ 82 h 279"/>
              <a:gd name="T64" fmla="*/ 69 w 150"/>
              <a:gd name="T65" fmla="*/ 72 h 279"/>
              <a:gd name="T66" fmla="*/ 57 w 150"/>
              <a:gd name="T67" fmla="*/ 75 h 279"/>
              <a:gd name="T68" fmla="*/ 54 w 150"/>
              <a:gd name="T69" fmla="*/ 79 h 279"/>
              <a:gd name="T70" fmla="*/ 41 w 150"/>
              <a:gd name="T71" fmla="*/ 85 h 279"/>
              <a:gd name="T72" fmla="*/ 32 w 150"/>
              <a:gd name="T73" fmla="*/ 88 h 279"/>
              <a:gd name="T74" fmla="*/ 19 w 150"/>
              <a:gd name="T75" fmla="*/ 110 h 279"/>
              <a:gd name="T76" fmla="*/ 22 w 150"/>
              <a:gd name="T77" fmla="*/ 125 h 279"/>
              <a:gd name="T78" fmla="*/ 32 w 150"/>
              <a:gd name="T79" fmla="*/ 147 h 279"/>
              <a:gd name="T80" fmla="*/ 29 w 150"/>
              <a:gd name="T81" fmla="*/ 163 h 279"/>
              <a:gd name="T82" fmla="*/ 19 w 150"/>
              <a:gd name="T83" fmla="*/ 175 h 279"/>
              <a:gd name="T84" fmla="*/ 7 w 150"/>
              <a:gd name="T85" fmla="*/ 188 h 279"/>
              <a:gd name="T86" fmla="*/ 0 w 150"/>
              <a:gd name="T87" fmla="*/ 207 h 279"/>
              <a:gd name="T88" fmla="*/ 7 w 150"/>
              <a:gd name="T89" fmla="*/ 226 h 279"/>
              <a:gd name="T90" fmla="*/ 10 w 150"/>
              <a:gd name="T91" fmla="*/ 232 h 279"/>
              <a:gd name="T92" fmla="*/ 7 w 150"/>
              <a:gd name="T93" fmla="*/ 244 h 279"/>
              <a:gd name="T94" fmla="*/ 10 w 150"/>
              <a:gd name="T95" fmla="*/ 260 h 279"/>
              <a:gd name="T96" fmla="*/ 19 w 150"/>
              <a:gd name="T97" fmla="*/ 269 h 279"/>
              <a:gd name="T98" fmla="*/ 29 w 150"/>
              <a:gd name="T99" fmla="*/ 276 h 279"/>
              <a:gd name="T100" fmla="*/ 32 w 150"/>
              <a:gd name="T101" fmla="*/ 279 h 279"/>
              <a:gd name="T102" fmla="*/ 119 w 150"/>
              <a:gd name="T103" fmla="*/ 16 h 279"/>
              <a:gd name="T104" fmla="*/ 116 w 150"/>
              <a:gd name="T105" fmla="*/ 25 h 279"/>
              <a:gd name="T106" fmla="*/ 116 w 150"/>
              <a:gd name="T107" fmla="*/ 25 h 279"/>
              <a:gd name="T108" fmla="*/ 113 w 150"/>
              <a:gd name="T109" fmla="*/ 25 h 279"/>
              <a:gd name="T110" fmla="*/ 110 w 150"/>
              <a:gd name="T111" fmla="*/ 25 h 279"/>
              <a:gd name="T112" fmla="*/ 138 w 150"/>
              <a:gd name="T113" fmla="*/ 97 h 279"/>
              <a:gd name="T114" fmla="*/ 141 w 150"/>
              <a:gd name="T115" fmla="*/ 9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279">
                <a:moveTo>
                  <a:pt x="32" y="279"/>
                </a:moveTo>
                <a:lnTo>
                  <a:pt x="35" y="276"/>
                </a:lnTo>
                <a:lnTo>
                  <a:pt x="38" y="279"/>
                </a:lnTo>
                <a:lnTo>
                  <a:pt x="44" y="276"/>
                </a:lnTo>
                <a:lnTo>
                  <a:pt x="47" y="269"/>
                </a:lnTo>
                <a:lnTo>
                  <a:pt x="60" y="269"/>
                </a:lnTo>
                <a:lnTo>
                  <a:pt x="63" y="269"/>
                </a:lnTo>
                <a:lnTo>
                  <a:pt x="69" y="266"/>
                </a:lnTo>
                <a:lnTo>
                  <a:pt x="72" y="263"/>
                </a:lnTo>
                <a:lnTo>
                  <a:pt x="75" y="263"/>
                </a:lnTo>
                <a:lnTo>
                  <a:pt x="75" y="257"/>
                </a:lnTo>
                <a:lnTo>
                  <a:pt x="79" y="254"/>
                </a:lnTo>
                <a:lnTo>
                  <a:pt x="82" y="247"/>
                </a:lnTo>
                <a:lnTo>
                  <a:pt x="85" y="247"/>
                </a:lnTo>
                <a:lnTo>
                  <a:pt x="85" y="241"/>
                </a:lnTo>
                <a:lnTo>
                  <a:pt x="82" y="238"/>
                </a:lnTo>
                <a:lnTo>
                  <a:pt x="85" y="238"/>
                </a:lnTo>
                <a:lnTo>
                  <a:pt x="88" y="232"/>
                </a:lnTo>
                <a:lnTo>
                  <a:pt x="88" y="229"/>
                </a:lnTo>
                <a:lnTo>
                  <a:pt x="88" y="229"/>
                </a:lnTo>
                <a:lnTo>
                  <a:pt x="91" y="226"/>
                </a:lnTo>
                <a:lnTo>
                  <a:pt x="94" y="210"/>
                </a:lnTo>
                <a:lnTo>
                  <a:pt x="97" y="204"/>
                </a:lnTo>
                <a:lnTo>
                  <a:pt x="100" y="201"/>
                </a:lnTo>
                <a:lnTo>
                  <a:pt x="100" y="191"/>
                </a:lnTo>
                <a:lnTo>
                  <a:pt x="107" y="182"/>
                </a:lnTo>
                <a:lnTo>
                  <a:pt x="113" y="166"/>
                </a:lnTo>
                <a:lnTo>
                  <a:pt x="116" y="163"/>
                </a:lnTo>
                <a:lnTo>
                  <a:pt x="116" y="154"/>
                </a:lnTo>
                <a:lnTo>
                  <a:pt x="119" y="147"/>
                </a:lnTo>
                <a:lnTo>
                  <a:pt x="119" y="144"/>
                </a:lnTo>
                <a:lnTo>
                  <a:pt x="125" y="138"/>
                </a:lnTo>
                <a:lnTo>
                  <a:pt x="125" y="125"/>
                </a:lnTo>
                <a:lnTo>
                  <a:pt x="129" y="119"/>
                </a:lnTo>
                <a:lnTo>
                  <a:pt x="132" y="116"/>
                </a:lnTo>
                <a:lnTo>
                  <a:pt x="132" y="110"/>
                </a:lnTo>
                <a:lnTo>
                  <a:pt x="129" y="107"/>
                </a:lnTo>
                <a:lnTo>
                  <a:pt x="132" y="104"/>
                </a:lnTo>
                <a:lnTo>
                  <a:pt x="135" y="97"/>
                </a:lnTo>
                <a:lnTo>
                  <a:pt x="135" y="94"/>
                </a:lnTo>
                <a:lnTo>
                  <a:pt x="138" y="91"/>
                </a:lnTo>
                <a:lnTo>
                  <a:pt x="138" y="88"/>
                </a:lnTo>
                <a:lnTo>
                  <a:pt x="135" y="85"/>
                </a:lnTo>
                <a:lnTo>
                  <a:pt x="138" y="82"/>
                </a:lnTo>
                <a:lnTo>
                  <a:pt x="135" y="75"/>
                </a:lnTo>
                <a:lnTo>
                  <a:pt x="135" y="75"/>
                </a:lnTo>
                <a:lnTo>
                  <a:pt x="135" y="72"/>
                </a:lnTo>
                <a:lnTo>
                  <a:pt x="138" y="69"/>
                </a:lnTo>
                <a:lnTo>
                  <a:pt x="138" y="72"/>
                </a:lnTo>
                <a:lnTo>
                  <a:pt x="141" y="75"/>
                </a:lnTo>
                <a:lnTo>
                  <a:pt x="144" y="79"/>
                </a:lnTo>
                <a:lnTo>
                  <a:pt x="147" y="82"/>
                </a:lnTo>
                <a:lnTo>
                  <a:pt x="147" y="79"/>
                </a:lnTo>
                <a:lnTo>
                  <a:pt x="147" y="75"/>
                </a:lnTo>
                <a:lnTo>
                  <a:pt x="147" y="72"/>
                </a:lnTo>
                <a:lnTo>
                  <a:pt x="150" y="69"/>
                </a:lnTo>
                <a:lnTo>
                  <a:pt x="150" y="69"/>
                </a:lnTo>
                <a:lnTo>
                  <a:pt x="150" y="66"/>
                </a:lnTo>
                <a:lnTo>
                  <a:pt x="147" y="60"/>
                </a:lnTo>
                <a:lnTo>
                  <a:pt x="144" y="57"/>
                </a:lnTo>
                <a:lnTo>
                  <a:pt x="147" y="53"/>
                </a:lnTo>
                <a:lnTo>
                  <a:pt x="147" y="50"/>
                </a:lnTo>
                <a:lnTo>
                  <a:pt x="144" y="44"/>
                </a:lnTo>
                <a:lnTo>
                  <a:pt x="147" y="41"/>
                </a:lnTo>
                <a:lnTo>
                  <a:pt x="147" y="32"/>
                </a:lnTo>
                <a:lnTo>
                  <a:pt x="144" y="28"/>
                </a:lnTo>
                <a:lnTo>
                  <a:pt x="144" y="19"/>
                </a:lnTo>
                <a:lnTo>
                  <a:pt x="141" y="16"/>
                </a:lnTo>
                <a:lnTo>
                  <a:pt x="141" y="16"/>
                </a:lnTo>
                <a:lnTo>
                  <a:pt x="138" y="13"/>
                </a:lnTo>
                <a:lnTo>
                  <a:pt x="135" y="10"/>
                </a:lnTo>
                <a:lnTo>
                  <a:pt x="132" y="7"/>
                </a:lnTo>
                <a:lnTo>
                  <a:pt x="135" y="3"/>
                </a:lnTo>
                <a:lnTo>
                  <a:pt x="135" y="0"/>
                </a:lnTo>
                <a:lnTo>
                  <a:pt x="129" y="3"/>
                </a:lnTo>
                <a:lnTo>
                  <a:pt x="129" y="7"/>
                </a:lnTo>
                <a:lnTo>
                  <a:pt x="125" y="10"/>
                </a:lnTo>
                <a:lnTo>
                  <a:pt x="122" y="7"/>
                </a:lnTo>
                <a:lnTo>
                  <a:pt x="122" y="7"/>
                </a:lnTo>
                <a:lnTo>
                  <a:pt x="125" y="10"/>
                </a:lnTo>
                <a:lnTo>
                  <a:pt x="125" y="13"/>
                </a:lnTo>
                <a:lnTo>
                  <a:pt x="125" y="16"/>
                </a:lnTo>
                <a:lnTo>
                  <a:pt x="125" y="16"/>
                </a:lnTo>
                <a:lnTo>
                  <a:pt x="122" y="22"/>
                </a:lnTo>
                <a:lnTo>
                  <a:pt x="122" y="25"/>
                </a:lnTo>
                <a:lnTo>
                  <a:pt x="119" y="32"/>
                </a:lnTo>
                <a:lnTo>
                  <a:pt x="116" y="28"/>
                </a:lnTo>
                <a:lnTo>
                  <a:pt x="113" y="35"/>
                </a:lnTo>
                <a:lnTo>
                  <a:pt x="113" y="38"/>
                </a:lnTo>
                <a:lnTo>
                  <a:pt x="110" y="38"/>
                </a:lnTo>
                <a:lnTo>
                  <a:pt x="110" y="38"/>
                </a:lnTo>
                <a:lnTo>
                  <a:pt x="110" y="32"/>
                </a:lnTo>
                <a:lnTo>
                  <a:pt x="107" y="32"/>
                </a:lnTo>
                <a:lnTo>
                  <a:pt x="104" y="35"/>
                </a:lnTo>
                <a:lnTo>
                  <a:pt x="104" y="38"/>
                </a:lnTo>
                <a:lnTo>
                  <a:pt x="107" y="44"/>
                </a:lnTo>
                <a:lnTo>
                  <a:pt x="110" y="44"/>
                </a:lnTo>
                <a:lnTo>
                  <a:pt x="107" y="47"/>
                </a:lnTo>
                <a:lnTo>
                  <a:pt x="107" y="44"/>
                </a:lnTo>
                <a:lnTo>
                  <a:pt x="100" y="47"/>
                </a:lnTo>
                <a:lnTo>
                  <a:pt x="104" y="50"/>
                </a:lnTo>
                <a:lnTo>
                  <a:pt x="107" y="50"/>
                </a:lnTo>
                <a:lnTo>
                  <a:pt x="107" y="53"/>
                </a:lnTo>
                <a:lnTo>
                  <a:pt x="104" y="57"/>
                </a:lnTo>
                <a:lnTo>
                  <a:pt x="104" y="53"/>
                </a:lnTo>
                <a:lnTo>
                  <a:pt x="100" y="53"/>
                </a:lnTo>
                <a:lnTo>
                  <a:pt x="100" y="57"/>
                </a:lnTo>
                <a:lnTo>
                  <a:pt x="94" y="63"/>
                </a:lnTo>
                <a:lnTo>
                  <a:pt x="94" y="57"/>
                </a:lnTo>
                <a:lnTo>
                  <a:pt x="94" y="57"/>
                </a:lnTo>
                <a:lnTo>
                  <a:pt x="94" y="53"/>
                </a:lnTo>
                <a:lnTo>
                  <a:pt x="91" y="57"/>
                </a:lnTo>
                <a:lnTo>
                  <a:pt x="91" y="60"/>
                </a:lnTo>
                <a:lnTo>
                  <a:pt x="91" y="60"/>
                </a:lnTo>
                <a:lnTo>
                  <a:pt x="88" y="63"/>
                </a:lnTo>
                <a:lnTo>
                  <a:pt x="88" y="66"/>
                </a:lnTo>
                <a:lnTo>
                  <a:pt x="91" y="66"/>
                </a:lnTo>
                <a:lnTo>
                  <a:pt x="91" y="69"/>
                </a:lnTo>
                <a:lnTo>
                  <a:pt x="88" y="69"/>
                </a:lnTo>
                <a:lnTo>
                  <a:pt x="85" y="72"/>
                </a:lnTo>
                <a:lnTo>
                  <a:pt x="85" y="69"/>
                </a:lnTo>
                <a:lnTo>
                  <a:pt x="82" y="69"/>
                </a:lnTo>
                <a:lnTo>
                  <a:pt x="85" y="66"/>
                </a:lnTo>
                <a:lnTo>
                  <a:pt x="82" y="66"/>
                </a:lnTo>
                <a:lnTo>
                  <a:pt x="75" y="72"/>
                </a:lnTo>
                <a:lnTo>
                  <a:pt x="75" y="75"/>
                </a:lnTo>
                <a:lnTo>
                  <a:pt x="75" y="79"/>
                </a:lnTo>
                <a:lnTo>
                  <a:pt x="75" y="82"/>
                </a:lnTo>
                <a:lnTo>
                  <a:pt x="72" y="82"/>
                </a:lnTo>
                <a:lnTo>
                  <a:pt x="69" y="79"/>
                </a:lnTo>
                <a:lnTo>
                  <a:pt x="69" y="75"/>
                </a:lnTo>
                <a:lnTo>
                  <a:pt x="69" y="72"/>
                </a:lnTo>
                <a:lnTo>
                  <a:pt x="63" y="79"/>
                </a:lnTo>
                <a:lnTo>
                  <a:pt x="60" y="75"/>
                </a:lnTo>
                <a:lnTo>
                  <a:pt x="57" y="75"/>
                </a:lnTo>
                <a:lnTo>
                  <a:pt x="57" y="75"/>
                </a:lnTo>
                <a:lnTo>
                  <a:pt x="57" y="82"/>
                </a:lnTo>
                <a:lnTo>
                  <a:pt x="57" y="82"/>
                </a:lnTo>
                <a:lnTo>
                  <a:pt x="54" y="82"/>
                </a:lnTo>
                <a:lnTo>
                  <a:pt x="54" y="79"/>
                </a:lnTo>
                <a:lnTo>
                  <a:pt x="50" y="79"/>
                </a:lnTo>
                <a:lnTo>
                  <a:pt x="50" y="82"/>
                </a:lnTo>
                <a:lnTo>
                  <a:pt x="47" y="79"/>
                </a:lnTo>
                <a:lnTo>
                  <a:pt x="41" y="85"/>
                </a:lnTo>
                <a:lnTo>
                  <a:pt x="38" y="85"/>
                </a:lnTo>
                <a:lnTo>
                  <a:pt x="35" y="85"/>
                </a:lnTo>
                <a:lnTo>
                  <a:pt x="32" y="85"/>
                </a:lnTo>
                <a:lnTo>
                  <a:pt x="32" y="88"/>
                </a:lnTo>
                <a:lnTo>
                  <a:pt x="32" y="94"/>
                </a:lnTo>
                <a:lnTo>
                  <a:pt x="25" y="104"/>
                </a:lnTo>
                <a:lnTo>
                  <a:pt x="25" y="104"/>
                </a:lnTo>
                <a:lnTo>
                  <a:pt x="19" y="110"/>
                </a:lnTo>
                <a:lnTo>
                  <a:pt x="19" y="113"/>
                </a:lnTo>
                <a:lnTo>
                  <a:pt x="22" y="116"/>
                </a:lnTo>
                <a:lnTo>
                  <a:pt x="19" y="119"/>
                </a:lnTo>
                <a:lnTo>
                  <a:pt x="22" y="125"/>
                </a:lnTo>
                <a:lnTo>
                  <a:pt x="22" y="129"/>
                </a:lnTo>
                <a:lnTo>
                  <a:pt x="29" y="141"/>
                </a:lnTo>
                <a:lnTo>
                  <a:pt x="29" y="144"/>
                </a:lnTo>
                <a:lnTo>
                  <a:pt x="32" y="147"/>
                </a:lnTo>
                <a:lnTo>
                  <a:pt x="32" y="147"/>
                </a:lnTo>
                <a:lnTo>
                  <a:pt x="29" y="150"/>
                </a:lnTo>
                <a:lnTo>
                  <a:pt x="29" y="154"/>
                </a:lnTo>
                <a:lnTo>
                  <a:pt x="29" y="163"/>
                </a:lnTo>
                <a:lnTo>
                  <a:pt x="22" y="166"/>
                </a:lnTo>
                <a:lnTo>
                  <a:pt x="22" y="169"/>
                </a:lnTo>
                <a:lnTo>
                  <a:pt x="19" y="169"/>
                </a:lnTo>
                <a:lnTo>
                  <a:pt x="19" y="175"/>
                </a:lnTo>
                <a:lnTo>
                  <a:pt x="16" y="175"/>
                </a:lnTo>
                <a:lnTo>
                  <a:pt x="16" y="185"/>
                </a:lnTo>
                <a:lnTo>
                  <a:pt x="13" y="188"/>
                </a:lnTo>
                <a:lnTo>
                  <a:pt x="7" y="188"/>
                </a:lnTo>
                <a:lnTo>
                  <a:pt x="7" y="191"/>
                </a:lnTo>
                <a:lnTo>
                  <a:pt x="7" y="197"/>
                </a:lnTo>
                <a:lnTo>
                  <a:pt x="0" y="201"/>
                </a:lnTo>
                <a:lnTo>
                  <a:pt x="0" y="207"/>
                </a:lnTo>
                <a:lnTo>
                  <a:pt x="0" y="210"/>
                </a:lnTo>
                <a:lnTo>
                  <a:pt x="0" y="213"/>
                </a:lnTo>
                <a:lnTo>
                  <a:pt x="0" y="219"/>
                </a:lnTo>
                <a:lnTo>
                  <a:pt x="7" y="226"/>
                </a:lnTo>
                <a:lnTo>
                  <a:pt x="7" y="229"/>
                </a:lnTo>
                <a:lnTo>
                  <a:pt x="7" y="232"/>
                </a:lnTo>
                <a:lnTo>
                  <a:pt x="10" y="232"/>
                </a:lnTo>
                <a:lnTo>
                  <a:pt x="10" y="232"/>
                </a:lnTo>
                <a:lnTo>
                  <a:pt x="10" y="235"/>
                </a:lnTo>
                <a:lnTo>
                  <a:pt x="7" y="235"/>
                </a:lnTo>
                <a:lnTo>
                  <a:pt x="7" y="238"/>
                </a:lnTo>
                <a:lnTo>
                  <a:pt x="7" y="244"/>
                </a:lnTo>
                <a:lnTo>
                  <a:pt x="7" y="254"/>
                </a:lnTo>
                <a:lnTo>
                  <a:pt x="7" y="254"/>
                </a:lnTo>
                <a:lnTo>
                  <a:pt x="7" y="257"/>
                </a:lnTo>
                <a:lnTo>
                  <a:pt x="10" y="260"/>
                </a:lnTo>
                <a:lnTo>
                  <a:pt x="13" y="263"/>
                </a:lnTo>
                <a:lnTo>
                  <a:pt x="13" y="263"/>
                </a:lnTo>
                <a:lnTo>
                  <a:pt x="16" y="266"/>
                </a:lnTo>
                <a:lnTo>
                  <a:pt x="19" y="269"/>
                </a:lnTo>
                <a:lnTo>
                  <a:pt x="22" y="269"/>
                </a:lnTo>
                <a:lnTo>
                  <a:pt x="22" y="269"/>
                </a:lnTo>
                <a:lnTo>
                  <a:pt x="25" y="272"/>
                </a:lnTo>
                <a:lnTo>
                  <a:pt x="29" y="276"/>
                </a:lnTo>
                <a:lnTo>
                  <a:pt x="32" y="276"/>
                </a:lnTo>
                <a:lnTo>
                  <a:pt x="32" y="279"/>
                </a:lnTo>
                <a:lnTo>
                  <a:pt x="32" y="279"/>
                </a:lnTo>
                <a:lnTo>
                  <a:pt x="32" y="279"/>
                </a:lnTo>
                <a:close/>
                <a:moveTo>
                  <a:pt x="119" y="19"/>
                </a:moveTo>
                <a:lnTo>
                  <a:pt x="116" y="19"/>
                </a:lnTo>
                <a:lnTo>
                  <a:pt x="119" y="16"/>
                </a:lnTo>
                <a:lnTo>
                  <a:pt x="119" y="16"/>
                </a:lnTo>
                <a:lnTo>
                  <a:pt x="119" y="19"/>
                </a:lnTo>
                <a:lnTo>
                  <a:pt x="119" y="19"/>
                </a:lnTo>
                <a:close/>
                <a:moveTo>
                  <a:pt x="116" y="25"/>
                </a:moveTo>
                <a:lnTo>
                  <a:pt x="116" y="25"/>
                </a:lnTo>
                <a:lnTo>
                  <a:pt x="119" y="25"/>
                </a:lnTo>
                <a:lnTo>
                  <a:pt x="116" y="28"/>
                </a:lnTo>
                <a:lnTo>
                  <a:pt x="116" y="25"/>
                </a:lnTo>
                <a:lnTo>
                  <a:pt x="116" y="25"/>
                </a:lnTo>
                <a:close/>
                <a:moveTo>
                  <a:pt x="110" y="25"/>
                </a:moveTo>
                <a:lnTo>
                  <a:pt x="110" y="25"/>
                </a:lnTo>
                <a:lnTo>
                  <a:pt x="113" y="25"/>
                </a:lnTo>
                <a:lnTo>
                  <a:pt x="113" y="25"/>
                </a:lnTo>
                <a:lnTo>
                  <a:pt x="113" y="28"/>
                </a:lnTo>
                <a:lnTo>
                  <a:pt x="110" y="28"/>
                </a:lnTo>
                <a:lnTo>
                  <a:pt x="110" y="28"/>
                </a:lnTo>
                <a:lnTo>
                  <a:pt x="110" y="25"/>
                </a:lnTo>
                <a:lnTo>
                  <a:pt x="110" y="25"/>
                </a:lnTo>
                <a:close/>
                <a:moveTo>
                  <a:pt x="138" y="104"/>
                </a:moveTo>
                <a:lnTo>
                  <a:pt x="138" y="100"/>
                </a:lnTo>
                <a:lnTo>
                  <a:pt x="138" y="97"/>
                </a:lnTo>
                <a:lnTo>
                  <a:pt x="138" y="97"/>
                </a:lnTo>
                <a:lnTo>
                  <a:pt x="141" y="97"/>
                </a:lnTo>
                <a:lnTo>
                  <a:pt x="141" y="94"/>
                </a:lnTo>
                <a:lnTo>
                  <a:pt x="141" y="97"/>
                </a:lnTo>
                <a:lnTo>
                  <a:pt x="138" y="100"/>
                </a:lnTo>
                <a:lnTo>
                  <a:pt x="138" y="10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8" name="Freeform 156">
            <a:extLst>
              <a:ext uri="{FF2B5EF4-FFF2-40B4-BE49-F238E27FC236}">
                <a16:creationId xmlns:a16="http://schemas.microsoft.com/office/drawing/2014/main" id="{73AFB262-E2F2-F8A6-EEF2-6243BEC4798F}"/>
              </a:ext>
            </a:extLst>
          </p:cNvPr>
          <p:cNvSpPr>
            <a:spLocks/>
          </p:cNvSpPr>
          <p:nvPr userDrawn="1"/>
        </p:nvSpPr>
        <p:spPr bwMode="auto">
          <a:xfrm>
            <a:off x="15045346" y="10041805"/>
            <a:ext cx="644484" cy="1054102"/>
          </a:xfrm>
          <a:custGeom>
            <a:avLst/>
            <a:gdLst>
              <a:gd name="T0" fmla="*/ 34 w 203"/>
              <a:gd name="T1" fmla="*/ 206 h 332"/>
              <a:gd name="T2" fmla="*/ 40 w 203"/>
              <a:gd name="T3" fmla="*/ 194 h 332"/>
              <a:gd name="T4" fmla="*/ 43 w 203"/>
              <a:gd name="T5" fmla="*/ 181 h 332"/>
              <a:gd name="T6" fmla="*/ 43 w 203"/>
              <a:gd name="T7" fmla="*/ 169 h 332"/>
              <a:gd name="T8" fmla="*/ 43 w 203"/>
              <a:gd name="T9" fmla="*/ 156 h 332"/>
              <a:gd name="T10" fmla="*/ 47 w 203"/>
              <a:gd name="T11" fmla="*/ 141 h 332"/>
              <a:gd name="T12" fmla="*/ 50 w 203"/>
              <a:gd name="T13" fmla="*/ 128 h 332"/>
              <a:gd name="T14" fmla="*/ 28 w 203"/>
              <a:gd name="T15" fmla="*/ 119 h 332"/>
              <a:gd name="T16" fmla="*/ 12 w 203"/>
              <a:gd name="T17" fmla="*/ 113 h 332"/>
              <a:gd name="T18" fmla="*/ 0 w 203"/>
              <a:gd name="T19" fmla="*/ 97 h 332"/>
              <a:gd name="T20" fmla="*/ 34 w 203"/>
              <a:gd name="T21" fmla="*/ 78 h 332"/>
              <a:gd name="T22" fmla="*/ 59 w 203"/>
              <a:gd name="T23" fmla="*/ 75 h 332"/>
              <a:gd name="T24" fmla="*/ 68 w 203"/>
              <a:gd name="T25" fmla="*/ 81 h 332"/>
              <a:gd name="T26" fmla="*/ 81 w 203"/>
              <a:gd name="T27" fmla="*/ 88 h 332"/>
              <a:gd name="T28" fmla="*/ 75 w 203"/>
              <a:gd name="T29" fmla="*/ 110 h 332"/>
              <a:gd name="T30" fmla="*/ 87 w 203"/>
              <a:gd name="T31" fmla="*/ 125 h 332"/>
              <a:gd name="T32" fmla="*/ 93 w 203"/>
              <a:gd name="T33" fmla="*/ 135 h 332"/>
              <a:gd name="T34" fmla="*/ 97 w 203"/>
              <a:gd name="T35" fmla="*/ 113 h 332"/>
              <a:gd name="T36" fmla="*/ 103 w 203"/>
              <a:gd name="T37" fmla="*/ 97 h 332"/>
              <a:gd name="T38" fmla="*/ 106 w 203"/>
              <a:gd name="T39" fmla="*/ 91 h 332"/>
              <a:gd name="T40" fmla="*/ 103 w 203"/>
              <a:gd name="T41" fmla="*/ 75 h 332"/>
              <a:gd name="T42" fmla="*/ 87 w 203"/>
              <a:gd name="T43" fmla="*/ 59 h 332"/>
              <a:gd name="T44" fmla="*/ 106 w 203"/>
              <a:gd name="T45" fmla="*/ 19 h 332"/>
              <a:gd name="T46" fmla="*/ 115 w 203"/>
              <a:gd name="T47" fmla="*/ 22 h 332"/>
              <a:gd name="T48" fmla="*/ 128 w 203"/>
              <a:gd name="T49" fmla="*/ 22 h 332"/>
              <a:gd name="T50" fmla="*/ 137 w 203"/>
              <a:gd name="T51" fmla="*/ 22 h 332"/>
              <a:gd name="T52" fmla="*/ 150 w 203"/>
              <a:gd name="T53" fmla="*/ 16 h 332"/>
              <a:gd name="T54" fmla="*/ 162 w 203"/>
              <a:gd name="T55" fmla="*/ 16 h 332"/>
              <a:gd name="T56" fmla="*/ 181 w 203"/>
              <a:gd name="T57" fmla="*/ 13 h 332"/>
              <a:gd name="T58" fmla="*/ 197 w 203"/>
              <a:gd name="T59" fmla="*/ 3 h 332"/>
              <a:gd name="T60" fmla="*/ 203 w 203"/>
              <a:gd name="T61" fmla="*/ 6 h 332"/>
              <a:gd name="T62" fmla="*/ 200 w 203"/>
              <a:gd name="T63" fmla="*/ 19 h 332"/>
              <a:gd name="T64" fmla="*/ 200 w 203"/>
              <a:gd name="T65" fmla="*/ 34 h 332"/>
              <a:gd name="T66" fmla="*/ 200 w 203"/>
              <a:gd name="T67" fmla="*/ 53 h 332"/>
              <a:gd name="T68" fmla="*/ 197 w 203"/>
              <a:gd name="T69" fmla="*/ 72 h 332"/>
              <a:gd name="T70" fmla="*/ 203 w 203"/>
              <a:gd name="T71" fmla="*/ 84 h 332"/>
              <a:gd name="T72" fmla="*/ 197 w 203"/>
              <a:gd name="T73" fmla="*/ 91 h 332"/>
              <a:gd name="T74" fmla="*/ 197 w 203"/>
              <a:gd name="T75" fmla="*/ 97 h 332"/>
              <a:gd name="T76" fmla="*/ 184 w 203"/>
              <a:gd name="T77" fmla="*/ 116 h 332"/>
              <a:gd name="T78" fmla="*/ 165 w 203"/>
              <a:gd name="T79" fmla="*/ 128 h 332"/>
              <a:gd name="T80" fmla="*/ 134 w 203"/>
              <a:gd name="T81" fmla="*/ 144 h 332"/>
              <a:gd name="T82" fmla="*/ 125 w 203"/>
              <a:gd name="T83" fmla="*/ 150 h 332"/>
              <a:gd name="T84" fmla="*/ 112 w 203"/>
              <a:gd name="T85" fmla="*/ 166 h 332"/>
              <a:gd name="T86" fmla="*/ 93 w 203"/>
              <a:gd name="T87" fmla="*/ 178 h 332"/>
              <a:gd name="T88" fmla="*/ 81 w 203"/>
              <a:gd name="T89" fmla="*/ 185 h 332"/>
              <a:gd name="T90" fmla="*/ 78 w 203"/>
              <a:gd name="T91" fmla="*/ 194 h 332"/>
              <a:gd name="T92" fmla="*/ 81 w 203"/>
              <a:gd name="T93" fmla="*/ 213 h 332"/>
              <a:gd name="T94" fmla="*/ 87 w 203"/>
              <a:gd name="T95" fmla="*/ 238 h 332"/>
              <a:gd name="T96" fmla="*/ 90 w 203"/>
              <a:gd name="T97" fmla="*/ 238 h 332"/>
              <a:gd name="T98" fmla="*/ 90 w 203"/>
              <a:gd name="T99" fmla="*/ 250 h 332"/>
              <a:gd name="T100" fmla="*/ 84 w 203"/>
              <a:gd name="T101" fmla="*/ 266 h 332"/>
              <a:gd name="T102" fmla="*/ 87 w 203"/>
              <a:gd name="T103" fmla="*/ 278 h 332"/>
              <a:gd name="T104" fmla="*/ 37 w 203"/>
              <a:gd name="T105" fmla="*/ 303 h 332"/>
              <a:gd name="T106" fmla="*/ 28 w 203"/>
              <a:gd name="T107" fmla="*/ 313 h 332"/>
              <a:gd name="T108" fmla="*/ 34 w 203"/>
              <a:gd name="T109" fmla="*/ 322 h 332"/>
              <a:gd name="T110" fmla="*/ 34 w 203"/>
              <a:gd name="T111" fmla="*/ 329 h 332"/>
              <a:gd name="T112" fmla="*/ 22 w 203"/>
              <a:gd name="T113" fmla="*/ 329 h 332"/>
              <a:gd name="T114" fmla="*/ 18 w 203"/>
              <a:gd name="T115" fmla="*/ 316 h 332"/>
              <a:gd name="T116" fmla="*/ 18 w 203"/>
              <a:gd name="T117" fmla="*/ 297 h 332"/>
              <a:gd name="T118" fmla="*/ 18 w 203"/>
              <a:gd name="T119" fmla="*/ 269 h 332"/>
              <a:gd name="T120" fmla="*/ 12 w 203"/>
              <a:gd name="T121" fmla="*/ 24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3" h="332">
                <a:moveTo>
                  <a:pt x="12" y="244"/>
                </a:moveTo>
                <a:lnTo>
                  <a:pt x="34" y="222"/>
                </a:lnTo>
                <a:lnTo>
                  <a:pt x="34" y="216"/>
                </a:lnTo>
                <a:lnTo>
                  <a:pt x="34" y="213"/>
                </a:lnTo>
                <a:lnTo>
                  <a:pt x="34" y="206"/>
                </a:lnTo>
                <a:lnTo>
                  <a:pt x="37" y="203"/>
                </a:lnTo>
                <a:lnTo>
                  <a:pt x="34" y="200"/>
                </a:lnTo>
                <a:lnTo>
                  <a:pt x="37" y="197"/>
                </a:lnTo>
                <a:lnTo>
                  <a:pt x="37" y="197"/>
                </a:lnTo>
                <a:lnTo>
                  <a:pt x="40" y="194"/>
                </a:lnTo>
                <a:lnTo>
                  <a:pt x="43" y="194"/>
                </a:lnTo>
                <a:lnTo>
                  <a:pt x="47" y="188"/>
                </a:lnTo>
                <a:lnTo>
                  <a:pt x="43" y="185"/>
                </a:lnTo>
                <a:lnTo>
                  <a:pt x="43" y="185"/>
                </a:lnTo>
                <a:lnTo>
                  <a:pt x="43" y="181"/>
                </a:lnTo>
                <a:lnTo>
                  <a:pt x="43" y="178"/>
                </a:lnTo>
                <a:lnTo>
                  <a:pt x="43" y="175"/>
                </a:lnTo>
                <a:lnTo>
                  <a:pt x="40" y="172"/>
                </a:lnTo>
                <a:lnTo>
                  <a:pt x="40" y="169"/>
                </a:lnTo>
                <a:lnTo>
                  <a:pt x="43" y="169"/>
                </a:lnTo>
                <a:lnTo>
                  <a:pt x="43" y="166"/>
                </a:lnTo>
                <a:lnTo>
                  <a:pt x="43" y="163"/>
                </a:lnTo>
                <a:lnTo>
                  <a:pt x="47" y="160"/>
                </a:lnTo>
                <a:lnTo>
                  <a:pt x="47" y="156"/>
                </a:lnTo>
                <a:lnTo>
                  <a:pt x="43" y="156"/>
                </a:lnTo>
                <a:lnTo>
                  <a:pt x="43" y="156"/>
                </a:lnTo>
                <a:lnTo>
                  <a:pt x="47" y="153"/>
                </a:lnTo>
                <a:lnTo>
                  <a:pt x="47" y="147"/>
                </a:lnTo>
                <a:lnTo>
                  <a:pt x="47" y="144"/>
                </a:lnTo>
                <a:lnTo>
                  <a:pt x="47" y="141"/>
                </a:lnTo>
                <a:lnTo>
                  <a:pt x="47" y="138"/>
                </a:lnTo>
                <a:lnTo>
                  <a:pt x="47" y="138"/>
                </a:lnTo>
                <a:lnTo>
                  <a:pt x="47" y="135"/>
                </a:lnTo>
                <a:lnTo>
                  <a:pt x="50" y="131"/>
                </a:lnTo>
                <a:lnTo>
                  <a:pt x="50" y="128"/>
                </a:lnTo>
                <a:lnTo>
                  <a:pt x="43" y="125"/>
                </a:lnTo>
                <a:lnTo>
                  <a:pt x="43" y="125"/>
                </a:lnTo>
                <a:lnTo>
                  <a:pt x="37" y="122"/>
                </a:lnTo>
                <a:lnTo>
                  <a:pt x="31" y="122"/>
                </a:lnTo>
                <a:lnTo>
                  <a:pt x="28" y="119"/>
                </a:lnTo>
                <a:lnTo>
                  <a:pt x="25" y="116"/>
                </a:lnTo>
                <a:lnTo>
                  <a:pt x="18" y="113"/>
                </a:lnTo>
                <a:lnTo>
                  <a:pt x="15" y="110"/>
                </a:lnTo>
                <a:lnTo>
                  <a:pt x="12" y="113"/>
                </a:lnTo>
                <a:lnTo>
                  <a:pt x="12" y="113"/>
                </a:lnTo>
                <a:lnTo>
                  <a:pt x="9" y="113"/>
                </a:lnTo>
                <a:lnTo>
                  <a:pt x="6" y="110"/>
                </a:lnTo>
                <a:lnTo>
                  <a:pt x="0" y="110"/>
                </a:lnTo>
                <a:lnTo>
                  <a:pt x="0" y="100"/>
                </a:lnTo>
                <a:lnTo>
                  <a:pt x="0" y="97"/>
                </a:lnTo>
                <a:lnTo>
                  <a:pt x="0" y="94"/>
                </a:lnTo>
                <a:lnTo>
                  <a:pt x="9" y="88"/>
                </a:lnTo>
                <a:lnTo>
                  <a:pt x="12" y="88"/>
                </a:lnTo>
                <a:lnTo>
                  <a:pt x="31" y="81"/>
                </a:lnTo>
                <a:lnTo>
                  <a:pt x="34" y="78"/>
                </a:lnTo>
                <a:lnTo>
                  <a:pt x="47" y="75"/>
                </a:lnTo>
                <a:lnTo>
                  <a:pt x="53" y="72"/>
                </a:lnTo>
                <a:lnTo>
                  <a:pt x="59" y="72"/>
                </a:lnTo>
                <a:lnTo>
                  <a:pt x="59" y="75"/>
                </a:lnTo>
                <a:lnTo>
                  <a:pt x="59" y="75"/>
                </a:lnTo>
                <a:lnTo>
                  <a:pt x="62" y="78"/>
                </a:lnTo>
                <a:lnTo>
                  <a:pt x="62" y="81"/>
                </a:lnTo>
                <a:lnTo>
                  <a:pt x="65" y="81"/>
                </a:lnTo>
                <a:lnTo>
                  <a:pt x="65" y="81"/>
                </a:lnTo>
                <a:lnTo>
                  <a:pt x="68" y="81"/>
                </a:lnTo>
                <a:lnTo>
                  <a:pt x="72" y="78"/>
                </a:lnTo>
                <a:lnTo>
                  <a:pt x="75" y="78"/>
                </a:lnTo>
                <a:lnTo>
                  <a:pt x="81" y="81"/>
                </a:lnTo>
                <a:lnTo>
                  <a:pt x="81" y="84"/>
                </a:lnTo>
                <a:lnTo>
                  <a:pt x="81" y="88"/>
                </a:lnTo>
                <a:lnTo>
                  <a:pt x="81" y="94"/>
                </a:lnTo>
                <a:lnTo>
                  <a:pt x="78" y="97"/>
                </a:lnTo>
                <a:lnTo>
                  <a:pt x="78" y="103"/>
                </a:lnTo>
                <a:lnTo>
                  <a:pt x="75" y="106"/>
                </a:lnTo>
                <a:lnTo>
                  <a:pt x="75" y="110"/>
                </a:lnTo>
                <a:lnTo>
                  <a:pt x="75" y="113"/>
                </a:lnTo>
                <a:lnTo>
                  <a:pt x="78" y="116"/>
                </a:lnTo>
                <a:lnTo>
                  <a:pt x="81" y="122"/>
                </a:lnTo>
                <a:lnTo>
                  <a:pt x="84" y="125"/>
                </a:lnTo>
                <a:lnTo>
                  <a:pt x="87" y="125"/>
                </a:lnTo>
                <a:lnTo>
                  <a:pt x="87" y="128"/>
                </a:lnTo>
                <a:lnTo>
                  <a:pt x="90" y="131"/>
                </a:lnTo>
                <a:lnTo>
                  <a:pt x="90" y="135"/>
                </a:lnTo>
                <a:lnTo>
                  <a:pt x="90" y="135"/>
                </a:lnTo>
                <a:lnTo>
                  <a:pt x="93" y="135"/>
                </a:lnTo>
                <a:lnTo>
                  <a:pt x="93" y="131"/>
                </a:lnTo>
                <a:lnTo>
                  <a:pt x="93" y="125"/>
                </a:lnTo>
                <a:lnTo>
                  <a:pt x="97" y="122"/>
                </a:lnTo>
                <a:lnTo>
                  <a:pt x="97" y="119"/>
                </a:lnTo>
                <a:lnTo>
                  <a:pt x="97" y="113"/>
                </a:lnTo>
                <a:lnTo>
                  <a:pt x="103" y="113"/>
                </a:lnTo>
                <a:lnTo>
                  <a:pt x="106" y="110"/>
                </a:lnTo>
                <a:lnTo>
                  <a:pt x="106" y="106"/>
                </a:lnTo>
                <a:lnTo>
                  <a:pt x="106" y="100"/>
                </a:lnTo>
                <a:lnTo>
                  <a:pt x="103" y="97"/>
                </a:lnTo>
                <a:lnTo>
                  <a:pt x="106" y="97"/>
                </a:lnTo>
                <a:lnTo>
                  <a:pt x="103" y="94"/>
                </a:lnTo>
                <a:lnTo>
                  <a:pt x="103" y="94"/>
                </a:lnTo>
                <a:lnTo>
                  <a:pt x="106" y="94"/>
                </a:lnTo>
                <a:lnTo>
                  <a:pt x="106" y="91"/>
                </a:lnTo>
                <a:lnTo>
                  <a:pt x="109" y="91"/>
                </a:lnTo>
                <a:lnTo>
                  <a:pt x="109" y="88"/>
                </a:lnTo>
                <a:lnTo>
                  <a:pt x="109" y="84"/>
                </a:lnTo>
                <a:lnTo>
                  <a:pt x="106" y="81"/>
                </a:lnTo>
                <a:lnTo>
                  <a:pt x="103" y="75"/>
                </a:lnTo>
                <a:lnTo>
                  <a:pt x="100" y="72"/>
                </a:lnTo>
                <a:lnTo>
                  <a:pt x="93" y="66"/>
                </a:lnTo>
                <a:lnTo>
                  <a:pt x="93" y="66"/>
                </a:lnTo>
                <a:lnTo>
                  <a:pt x="90" y="63"/>
                </a:lnTo>
                <a:lnTo>
                  <a:pt x="87" y="59"/>
                </a:lnTo>
                <a:lnTo>
                  <a:pt x="81" y="56"/>
                </a:lnTo>
                <a:lnTo>
                  <a:pt x="78" y="38"/>
                </a:lnTo>
                <a:lnTo>
                  <a:pt x="84" y="22"/>
                </a:lnTo>
                <a:lnTo>
                  <a:pt x="103" y="22"/>
                </a:lnTo>
                <a:lnTo>
                  <a:pt x="106" y="19"/>
                </a:lnTo>
                <a:lnTo>
                  <a:pt x="106" y="19"/>
                </a:lnTo>
                <a:lnTo>
                  <a:pt x="109" y="19"/>
                </a:lnTo>
                <a:lnTo>
                  <a:pt x="109" y="19"/>
                </a:lnTo>
                <a:lnTo>
                  <a:pt x="112" y="19"/>
                </a:lnTo>
                <a:lnTo>
                  <a:pt x="115" y="22"/>
                </a:lnTo>
                <a:lnTo>
                  <a:pt x="115" y="22"/>
                </a:lnTo>
                <a:lnTo>
                  <a:pt x="119" y="25"/>
                </a:lnTo>
                <a:lnTo>
                  <a:pt x="119" y="25"/>
                </a:lnTo>
                <a:lnTo>
                  <a:pt x="125" y="25"/>
                </a:lnTo>
                <a:lnTo>
                  <a:pt x="128" y="22"/>
                </a:lnTo>
                <a:lnTo>
                  <a:pt x="131" y="22"/>
                </a:lnTo>
                <a:lnTo>
                  <a:pt x="131" y="19"/>
                </a:lnTo>
                <a:lnTo>
                  <a:pt x="134" y="22"/>
                </a:lnTo>
                <a:lnTo>
                  <a:pt x="134" y="22"/>
                </a:lnTo>
                <a:lnTo>
                  <a:pt x="137" y="22"/>
                </a:lnTo>
                <a:lnTo>
                  <a:pt x="140" y="22"/>
                </a:lnTo>
                <a:lnTo>
                  <a:pt x="144" y="22"/>
                </a:lnTo>
                <a:lnTo>
                  <a:pt x="150" y="22"/>
                </a:lnTo>
                <a:lnTo>
                  <a:pt x="150" y="19"/>
                </a:lnTo>
                <a:lnTo>
                  <a:pt x="150" y="16"/>
                </a:lnTo>
                <a:lnTo>
                  <a:pt x="150" y="16"/>
                </a:lnTo>
                <a:lnTo>
                  <a:pt x="153" y="16"/>
                </a:lnTo>
                <a:lnTo>
                  <a:pt x="156" y="16"/>
                </a:lnTo>
                <a:lnTo>
                  <a:pt x="159" y="19"/>
                </a:lnTo>
                <a:lnTo>
                  <a:pt x="162" y="16"/>
                </a:lnTo>
                <a:lnTo>
                  <a:pt x="165" y="16"/>
                </a:lnTo>
                <a:lnTo>
                  <a:pt x="172" y="13"/>
                </a:lnTo>
                <a:lnTo>
                  <a:pt x="175" y="16"/>
                </a:lnTo>
                <a:lnTo>
                  <a:pt x="178" y="13"/>
                </a:lnTo>
                <a:lnTo>
                  <a:pt x="181" y="13"/>
                </a:lnTo>
                <a:lnTo>
                  <a:pt x="184" y="13"/>
                </a:lnTo>
                <a:lnTo>
                  <a:pt x="187" y="9"/>
                </a:lnTo>
                <a:lnTo>
                  <a:pt x="190" y="6"/>
                </a:lnTo>
                <a:lnTo>
                  <a:pt x="194" y="6"/>
                </a:lnTo>
                <a:lnTo>
                  <a:pt x="197" y="3"/>
                </a:lnTo>
                <a:lnTo>
                  <a:pt x="200" y="3"/>
                </a:lnTo>
                <a:lnTo>
                  <a:pt x="203" y="0"/>
                </a:lnTo>
                <a:lnTo>
                  <a:pt x="203" y="0"/>
                </a:lnTo>
                <a:lnTo>
                  <a:pt x="203" y="3"/>
                </a:lnTo>
                <a:lnTo>
                  <a:pt x="203" y="6"/>
                </a:lnTo>
                <a:lnTo>
                  <a:pt x="203" y="9"/>
                </a:lnTo>
                <a:lnTo>
                  <a:pt x="203" y="9"/>
                </a:lnTo>
                <a:lnTo>
                  <a:pt x="200" y="16"/>
                </a:lnTo>
                <a:lnTo>
                  <a:pt x="200" y="19"/>
                </a:lnTo>
                <a:lnTo>
                  <a:pt x="200" y="19"/>
                </a:lnTo>
                <a:lnTo>
                  <a:pt x="200" y="19"/>
                </a:lnTo>
                <a:lnTo>
                  <a:pt x="197" y="22"/>
                </a:lnTo>
                <a:lnTo>
                  <a:pt x="200" y="28"/>
                </a:lnTo>
                <a:lnTo>
                  <a:pt x="200" y="31"/>
                </a:lnTo>
                <a:lnTo>
                  <a:pt x="200" y="34"/>
                </a:lnTo>
                <a:lnTo>
                  <a:pt x="200" y="38"/>
                </a:lnTo>
                <a:lnTo>
                  <a:pt x="200" y="41"/>
                </a:lnTo>
                <a:lnTo>
                  <a:pt x="203" y="44"/>
                </a:lnTo>
                <a:lnTo>
                  <a:pt x="200" y="47"/>
                </a:lnTo>
                <a:lnTo>
                  <a:pt x="200" y="53"/>
                </a:lnTo>
                <a:lnTo>
                  <a:pt x="200" y="63"/>
                </a:lnTo>
                <a:lnTo>
                  <a:pt x="197" y="63"/>
                </a:lnTo>
                <a:lnTo>
                  <a:pt x="200" y="63"/>
                </a:lnTo>
                <a:lnTo>
                  <a:pt x="200" y="72"/>
                </a:lnTo>
                <a:lnTo>
                  <a:pt x="197" y="72"/>
                </a:lnTo>
                <a:lnTo>
                  <a:pt x="197" y="75"/>
                </a:lnTo>
                <a:lnTo>
                  <a:pt x="197" y="75"/>
                </a:lnTo>
                <a:lnTo>
                  <a:pt x="200" y="75"/>
                </a:lnTo>
                <a:lnTo>
                  <a:pt x="203" y="75"/>
                </a:lnTo>
                <a:lnTo>
                  <a:pt x="203" y="84"/>
                </a:lnTo>
                <a:lnTo>
                  <a:pt x="200" y="88"/>
                </a:lnTo>
                <a:lnTo>
                  <a:pt x="200" y="88"/>
                </a:lnTo>
                <a:lnTo>
                  <a:pt x="200" y="91"/>
                </a:lnTo>
                <a:lnTo>
                  <a:pt x="200" y="91"/>
                </a:lnTo>
                <a:lnTo>
                  <a:pt x="197" y="91"/>
                </a:lnTo>
                <a:lnTo>
                  <a:pt x="194" y="94"/>
                </a:lnTo>
                <a:lnTo>
                  <a:pt x="194" y="97"/>
                </a:lnTo>
                <a:lnTo>
                  <a:pt x="197" y="94"/>
                </a:lnTo>
                <a:lnTo>
                  <a:pt x="197" y="94"/>
                </a:lnTo>
                <a:lnTo>
                  <a:pt x="197" y="97"/>
                </a:lnTo>
                <a:lnTo>
                  <a:pt x="197" y="103"/>
                </a:lnTo>
                <a:lnTo>
                  <a:pt x="194" y="103"/>
                </a:lnTo>
                <a:lnTo>
                  <a:pt x="190" y="106"/>
                </a:lnTo>
                <a:lnTo>
                  <a:pt x="190" y="110"/>
                </a:lnTo>
                <a:lnTo>
                  <a:pt x="184" y="116"/>
                </a:lnTo>
                <a:lnTo>
                  <a:pt x="181" y="116"/>
                </a:lnTo>
                <a:lnTo>
                  <a:pt x="181" y="119"/>
                </a:lnTo>
                <a:lnTo>
                  <a:pt x="169" y="128"/>
                </a:lnTo>
                <a:lnTo>
                  <a:pt x="169" y="128"/>
                </a:lnTo>
                <a:lnTo>
                  <a:pt x="165" y="128"/>
                </a:lnTo>
                <a:lnTo>
                  <a:pt x="153" y="138"/>
                </a:lnTo>
                <a:lnTo>
                  <a:pt x="150" y="135"/>
                </a:lnTo>
                <a:lnTo>
                  <a:pt x="150" y="138"/>
                </a:lnTo>
                <a:lnTo>
                  <a:pt x="144" y="141"/>
                </a:lnTo>
                <a:lnTo>
                  <a:pt x="134" y="144"/>
                </a:lnTo>
                <a:lnTo>
                  <a:pt x="134" y="144"/>
                </a:lnTo>
                <a:lnTo>
                  <a:pt x="134" y="147"/>
                </a:lnTo>
                <a:lnTo>
                  <a:pt x="128" y="150"/>
                </a:lnTo>
                <a:lnTo>
                  <a:pt x="125" y="153"/>
                </a:lnTo>
                <a:lnTo>
                  <a:pt x="125" y="150"/>
                </a:lnTo>
                <a:lnTo>
                  <a:pt x="125" y="153"/>
                </a:lnTo>
                <a:lnTo>
                  <a:pt x="122" y="156"/>
                </a:lnTo>
                <a:lnTo>
                  <a:pt x="122" y="160"/>
                </a:lnTo>
                <a:lnTo>
                  <a:pt x="112" y="163"/>
                </a:lnTo>
                <a:lnTo>
                  <a:pt x="112" y="166"/>
                </a:lnTo>
                <a:lnTo>
                  <a:pt x="109" y="166"/>
                </a:lnTo>
                <a:lnTo>
                  <a:pt x="109" y="166"/>
                </a:lnTo>
                <a:lnTo>
                  <a:pt x="109" y="169"/>
                </a:lnTo>
                <a:lnTo>
                  <a:pt x="103" y="169"/>
                </a:lnTo>
                <a:lnTo>
                  <a:pt x="93" y="178"/>
                </a:lnTo>
                <a:lnTo>
                  <a:pt x="93" y="181"/>
                </a:lnTo>
                <a:lnTo>
                  <a:pt x="90" y="185"/>
                </a:lnTo>
                <a:lnTo>
                  <a:pt x="87" y="185"/>
                </a:lnTo>
                <a:lnTo>
                  <a:pt x="84" y="188"/>
                </a:lnTo>
                <a:lnTo>
                  <a:pt x="81" y="185"/>
                </a:lnTo>
                <a:lnTo>
                  <a:pt x="78" y="185"/>
                </a:lnTo>
                <a:lnTo>
                  <a:pt x="78" y="188"/>
                </a:lnTo>
                <a:lnTo>
                  <a:pt x="81" y="188"/>
                </a:lnTo>
                <a:lnTo>
                  <a:pt x="81" y="191"/>
                </a:lnTo>
                <a:lnTo>
                  <a:pt x="78" y="194"/>
                </a:lnTo>
                <a:lnTo>
                  <a:pt x="78" y="197"/>
                </a:lnTo>
                <a:lnTo>
                  <a:pt x="78" y="200"/>
                </a:lnTo>
                <a:lnTo>
                  <a:pt x="84" y="206"/>
                </a:lnTo>
                <a:lnTo>
                  <a:pt x="84" y="210"/>
                </a:lnTo>
                <a:lnTo>
                  <a:pt x="81" y="213"/>
                </a:lnTo>
                <a:lnTo>
                  <a:pt x="81" y="213"/>
                </a:lnTo>
                <a:lnTo>
                  <a:pt x="84" y="216"/>
                </a:lnTo>
                <a:lnTo>
                  <a:pt x="84" y="222"/>
                </a:lnTo>
                <a:lnTo>
                  <a:pt x="87" y="225"/>
                </a:lnTo>
                <a:lnTo>
                  <a:pt x="87" y="238"/>
                </a:lnTo>
                <a:lnTo>
                  <a:pt x="87" y="241"/>
                </a:lnTo>
                <a:lnTo>
                  <a:pt x="87" y="241"/>
                </a:lnTo>
                <a:lnTo>
                  <a:pt x="87" y="238"/>
                </a:lnTo>
                <a:lnTo>
                  <a:pt x="90" y="235"/>
                </a:lnTo>
                <a:lnTo>
                  <a:pt x="90" y="238"/>
                </a:lnTo>
                <a:lnTo>
                  <a:pt x="93" y="238"/>
                </a:lnTo>
                <a:lnTo>
                  <a:pt x="90" y="244"/>
                </a:lnTo>
                <a:lnTo>
                  <a:pt x="90" y="244"/>
                </a:lnTo>
                <a:lnTo>
                  <a:pt x="90" y="250"/>
                </a:lnTo>
                <a:lnTo>
                  <a:pt x="90" y="250"/>
                </a:lnTo>
                <a:lnTo>
                  <a:pt x="87" y="257"/>
                </a:lnTo>
                <a:lnTo>
                  <a:pt x="87" y="260"/>
                </a:lnTo>
                <a:lnTo>
                  <a:pt x="87" y="263"/>
                </a:lnTo>
                <a:lnTo>
                  <a:pt x="87" y="266"/>
                </a:lnTo>
                <a:lnTo>
                  <a:pt x="84" y="266"/>
                </a:lnTo>
                <a:lnTo>
                  <a:pt x="87" y="269"/>
                </a:lnTo>
                <a:lnTo>
                  <a:pt x="90" y="269"/>
                </a:lnTo>
                <a:lnTo>
                  <a:pt x="90" y="269"/>
                </a:lnTo>
                <a:lnTo>
                  <a:pt x="87" y="275"/>
                </a:lnTo>
                <a:lnTo>
                  <a:pt x="87" y="278"/>
                </a:lnTo>
                <a:lnTo>
                  <a:pt x="78" y="288"/>
                </a:lnTo>
                <a:lnTo>
                  <a:pt x="65" y="294"/>
                </a:lnTo>
                <a:lnTo>
                  <a:pt x="50" y="297"/>
                </a:lnTo>
                <a:lnTo>
                  <a:pt x="43" y="303"/>
                </a:lnTo>
                <a:lnTo>
                  <a:pt x="37" y="303"/>
                </a:lnTo>
                <a:lnTo>
                  <a:pt x="37" y="307"/>
                </a:lnTo>
                <a:lnTo>
                  <a:pt x="34" y="307"/>
                </a:lnTo>
                <a:lnTo>
                  <a:pt x="31" y="313"/>
                </a:lnTo>
                <a:lnTo>
                  <a:pt x="31" y="313"/>
                </a:lnTo>
                <a:lnTo>
                  <a:pt x="28" y="313"/>
                </a:lnTo>
                <a:lnTo>
                  <a:pt x="28" y="316"/>
                </a:lnTo>
                <a:lnTo>
                  <a:pt x="31" y="319"/>
                </a:lnTo>
                <a:lnTo>
                  <a:pt x="31" y="322"/>
                </a:lnTo>
                <a:lnTo>
                  <a:pt x="31" y="319"/>
                </a:lnTo>
                <a:lnTo>
                  <a:pt x="34" y="322"/>
                </a:lnTo>
                <a:lnTo>
                  <a:pt x="37" y="316"/>
                </a:lnTo>
                <a:lnTo>
                  <a:pt x="37" y="316"/>
                </a:lnTo>
                <a:lnTo>
                  <a:pt x="37" y="319"/>
                </a:lnTo>
                <a:lnTo>
                  <a:pt x="37" y="325"/>
                </a:lnTo>
                <a:lnTo>
                  <a:pt x="34" y="329"/>
                </a:lnTo>
                <a:lnTo>
                  <a:pt x="34" y="332"/>
                </a:lnTo>
                <a:lnTo>
                  <a:pt x="31" y="332"/>
                </a:lnTo>
                <a:lnTo>
                  <a:pt x="25" y="329"/>
                </a:lnTo>
                <a:lnTo>
                  <a:pt x="22" y="329"/>
                </a:lnTo>
                <a:lnTo>
                  <a:pt x="22" y="329"/>
                </a:lnTo>
                <a:lnTo>
                  <a:pt x="22" y="325"/>
                </a:lnTo>
                <a:lnTo>
                  <a:pt x="22" y="322"/>
                </a:lnTo>
                <a:lnTo>
                  <a:pt x="25" y="322"/>
                </a:lnTo>
                <a:lnTo>
                  <a:pt x="22" y="319"/>
                </a:lnTo>
                <a:lnTo>
                  <a:pt x="18" y="316"/>
                </a:lnTo>
                <a:lnTo>
                  <a:pt x="18" y="316"/>
                </a:lnTo>
                <a:lnTo>
                  <a:pt x="18" y="316"/>
                </a:lnTo>
                <a:lnTo>
                  <a:pt x="18" y="307"/>
                </a:lnTo>
                <a:lnTo>
                  <a:pt x="18" y="303"/>
                </a:lnTo>
                <a:lnTo>
                  <a:pt x="18" y="297"/>
                </a:lnTo>
                <a:lnTo>
                  <a:pt x="18" y="282"/>
                </a:lnTo>
                <a:lnTo>
                  <a:pt x="18" y="275"/>
                </a:lnTo>
                <a:lnTo>
                  <a:pt x="15" y="272"/>
                </a:lnTo>
                <a:lnTo>
                  <a:pt x="15" y="269"/>
                </a:lnTo>
                <a:lnTo>
                  <a:pt x="18" y="269"/>
                </a:lnTo>
                <a:lnTo>
                  <a:pt x="18" y="260"/>
                </a:lnTo>
                <a:lnTo>
                  <a:pt x="15" y="253"/>
                </a:lnTo>
                <a:lnTo>
                  <a:pt x="12" y="247"/>
                </a:lnTo>
                <a:lnTo>
                  <a:pt x="12" y="244"/>
                </a:lnTo>
                <a:lnTo>
                  <a:pt x="12" y="24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9" name="Freeform 157">
            <a:extLst>
              <a:ext uri="{FF2B5EF4-FFF2-40B4-BE49-F238E27FC236}">
                <a16:creationId xmlns:a16="http://schemas.microsoft.com/office/drawing/2014/main" id="{52C8BAFF-ABC4-6E30-EECF-786EC218382B}"/>
              </a:ext>
            </a:extLst>
          </p:cNvPr>
          <p:cNvSpPr>
            <a:spLocks/>
          </p:cNvSpPr>
          <p:nvPr userDrawn="1"/>
        </p:nvSpPr>
        <p:spPr bwMode="auto">
          <a:xfrm>
            <a:off x="15035816" y="11016531"/>
            <a:ext cx="88896" cy="98426"/>
          </a:xfrm>
          <a:custGeom>
            <a:avLst/>
            <a:gdLst>
              <a:gd name="T0" fmla="*/ 21 w 28"/>
              <a:gd name="T1" fmla="*/ 9 h 31"/>
              <a:gd name="T2" fmla="*/ 21 w 28"/>
              <a:gd name="T3" fmla="*/ 9 h 31"/>
              <a:gd name="T4" fmla="*/ 21 w 28"/>
              <a:gd name="T5" fmla="*/ 9 h 31"/>
              <a:gd name="T6" fmla="*/ 25 w 28"/>
              <a:gd name="T7" fmla="*/ 12 h 31"/>
              <a:gd name="T8" fmla="*/ 28 w 28"/>
              <a:gd name="T9" fmla="*/ 15 h 31"/>
              <a:gd name="T10" fmla="*/ 25 w 28"/>
              <a:gd name="T11" fmla="*/ 15 h 31"/>
              <a:gd name="T12" fmla="*/ 25 w 28"/>
              <a:gd name="T13" fmla="*/ 18 h 31"/>
              <a:gd name="T14" fmla="*/ 25 w 28"/>
              <a:gd name="T15" fmla="*/ 22 h 31"/>
              <a:gd name="T16" fmla="*/ 25 w 28"/>
              <a:gd name="T17" fmla="*/ 22 h 31"/>
              <a:gd name="T18" fmla="*/ 25 w 28"/>
              <a:gd name="T19" fmla="*/ 25 h 31"/>
              <a:gd name="T20" fmla="*/ 21 w 28"/>
              <a:gd name="T21" fmla="*/ 25 h 31"/>
              <a:gd name="T22" fmla="*/ 21 w 28"/>
              <a:gd name="T23" fmla="*/ 28 h 31"/>
              <a:gd name="T24" fmla="*/ 21 w 28"/>
              <a:gd name="T25" fmla="*/ 31 h 31"/>
              <a:gd name="T26" fmla="*/ 18 w 28"/>
              <a:gd name="T27" fmla="*/ 31 h 31"/>
              <a:gd name="T28" fmla="*/ 9 w 28"/>
              <a:gd name="T29" fmla="*/ 31 h 31"/>
              <a:gd name="T30" fmla="*/ 3 w 28"/>
              <a:gd name="T31" fmla="*/ 28 h 31"/>
              <a:gd name="T32" fmla="*/ 3 w 28"/>
              <a:gd name="T33" fmla="*/ 25 h 31"/>
              <a:gd name="T34" fmla="*/ 0 w 28"/>
              <a:gd name="T35" fmla="*/ 22 h 31"/>
              <a:gd name="T36" fmla="*/ 0 w 28"/>
              <a:gd name="T37" fmla="*/ 18 h 31"/>
              <a:gd name="T38" fmla="*/ 0 w 28"/>
              <a:gd name="T39" fmla="*/ 15 h 31"/>
              <a:gd name="T40" fmla="*/ 6 w 28"/>
              <a:gd name="T41" fmla="*/ 6 h 31"/>
              <a:gd name="T42" fmla="*/ 6 w 28"/>
              <a:gd name="T43" fmla="*/ 3 h 31"/>
              <a:gd name="T44" fmla="*/ 9 w 28"/>
              <a:gd name="T45" fmla="*/ 0 h 31"/>
              <a:gd name="T46" fmla="*/ 15 w 28"/>
              <a:gd name="T47" fmla="*/ 3 h 31"/>
              <a:gd name="T48" fmla="*/ 18 w 28"/>
              <a:gd name="T49" fmla="*/ 6 h 31"/>
              <a:gd name="T50" fmla="*/ 21 w 28"/>
              <a:gd name="T51" fmla="*/ 9 h 31"/>
              <a:gd name="T52" fmla="*/ 21 w 28"/>
              <a:gd name="T53"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31">
                <a:moveTo>
                  <a:pt x="21" y="9"/>
                </a:moveTo>
                <a:lnTo>
                  <a:pt x="21" y="9"/>
                </a:lnTo>
                <a:lnTo>
                  <a:pt x="21" y="9"/>
                </a:lnTo>
                <a:lnTo>
                  <a:pt x="25" y="12"/>
                </a:lnTo>
                <a:lnTo>
                  <a:pt x="28" y="15"/>
                </a:lnTo>
                <a:lnTo>
                  <a:pt x="25" y="15"/>
                </a:lnTo>
                <a:lnTo>
                  <a:pt x="25" y="18"/>
                </a:lnTo>
                <a:lnTo>
                  <a:pt x="25" y="22"/>
                </a:lnTo>
                <a:lnTo>
                  <a:pt x="25" y="22"/>
                </a:lnTo>
                <a:lnTo>
                  <a:pt x="25" y="25"/>
                </a:lnTo>
                <a:lnTo>
                  <a:pt x="21" y="25"/>
                </a:lnTo>
                <a:lnTo>
                  <a:pt x="21" y="28"/>
                </a:lnTo>
                <a:lnTo>
                  <a:pt x="21" y="31"/>
                </a:lnTo>
                <a:lnTo>
                  <a:pt x="18" y="31"/>
                </a:lnTo>
                <a:lnTo>
                  <a:pt x="9" y="31"/>
                </a:lnTo>
                <a:lnTo>
                  <a:pt x="3" y="28"/>
                </a:lnTo>
                <a:lnTo>
                  <a:pt x="3" y="25"/>
                </a:lnTo>
                <a:lnTo>
                  <a:pt x="0" y="22"/>
                </a:lnTo>
                <a:lnTo>
                  <a:pt x="0" y="18"/>
                </a:lnTo>
                <a:lnTo>
                  <a:pt x="0" y="15"/>
                </a:lnTo>
                <a:lnTo>
                  <a:pt x="6" y="6"/>
                </a:lnTo>
                <a:lnTo>
                  <a:pt x="6" y="3"/>
                </a:lnTo>
                <a:lnTo>
                  <a:pt x="9" y="0"/>
                </a:lnTo>
                <a:lnTo>
                  <a:pt x="15" y="3"/>
                </a:lnTo>
                <a:lnTo>
                  <a:pt x="18" y="6"/>
                </a:lnTo>
                <a:lnTo>
                  <a:pt x="21" y="9"/>
                </a:lnTo>
                <a:lnTo>
                  <a:pt x="21" y="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0" name="Freeform 158">
            <a:extLst>
              <a:ext uri="{FF2B5EF4-FFF2-40B4-BE49-F238E27FC236}">
                <a16:creationId xmlns:a16="http://schemas.microsoft.com/office/drawing/2014/main" id="{25217F5F-8652-3689-97A5-45743312DDE6}"/>
              </a:ext>
            </a:extLst>
          </p:cNvPr>
          <p:cNvSpPr>
            <a:spLocks noEditPoints="1"/>
          </p:cNvSpPr>
          <p:nvPr userDrawn="1"/>
        </p:nvSpPr>
        <p:spPr bwMode="auto">
          <a:xfrm>
            <a:off x="14140529" y="10787930"/>
            <a:ext cx="1012760" cy="863600"/>
          </a:xfrm>
          <a:custGeom>
            <a:avLst/>
            <a:gdLst>
              <a:gd name="T0" fmla="*/ 7 w 319"/>
              <a:gd name="T1" fmla="*/ 128 h 272"/>
              <a:gd name="T2" fmla="*/ 19 w 319"/>
              <a:gd name="T3" fmla="*/ 131 h 272"/>
              <a:gd name="T4" fmla="*/ 38 w 319"/>
              <a:gd name="T5" fmla="*/ 140 h 272"/>
              <a:gd name="T6" fmla="*/ 50 w 319"/>
              <a:gd name="T7" fmla="*/ 140 h 272"/>
              <a:gd name="T8" fmla="*/ 57 w 319"/>
              <a:gd name="T9" fmla="*/ 131 h 272"/>
              <a:gd name="T10" fmla="*/ 82 w 319"/>
              <a:gd name="T11" fmla="*/ 62 h 272"/>
              <a:gd name="T12" fmla="*/ 85 w 319"/>
              <a:gd name="T13" fmla="*/ 94 h 272"/>
              <a:gd name="T14" fmla="*/ 107 w 319"/>
              <a:gd name="T15" fmla="*/ 94 h 272"/>
              <a:gd name="T16" fmla="*/ 125 w 319"/>
              <a:gd name="T17" fmla="*/ 81 h 272"/>
              <a:gd name="T18" fmla="*/ 147 w 319"/>
              <a:gd name="T19" fmla="*/ 68 h 272"/>
              <a:gd name="T20" fmla="*/ 166 w 319"/>
              <a:gd name="T21" fmla="*/ 75 h 272"/>
              <a:gd name="T22" fmla="*/ 182 w 319"/>
              <a:gd name="T23" fmla="*/ 75 h 272"/>
              <a:gd name="T24" fmla="*/ 185 w 319"/>
              <a:gd name="T25" fmla="*/ 59 h 272"/>
              <a:gd name="T26" fmla="*/ 197 w 319"/>
              <a:gd name="T27" fmla="*/ 50 h 272"/>
              <a:gd name="T28" fmla="*/ 207 w 319"/>
              <a:gd name="T29" fmla="*/ 43 h 272"/>
              <a:gd name="T30" fmla="*/ 213 w 319"/>
              <a:gd name="T31" fmla="*/ 25 h 272"/>
              <a:gd name="T32" fmla="*/ 222 w 319"/>
              <a:gd name="T33" fmla="*/ 18 h 272"/>
              <a:gd name="T34" fmla="*/ 238 w 319"/>
              <a:gd name="T35" fmla="*/ 12 h 272"/>
              <a:gd name="T36" fmla="*/ 247 w 319"/>
              <a:gd name="T37" fmla="*/ 6 h 272"/>
              <a:gd name="T38" fmla="*/ 263 w 319"/>
              <a:gd name="T39" fmla="*/ 0 h 272"/>
              <a:gd name="T40" fmla="*/ 278 w 319"/>
              <a:gd name="T41" fmla="*/ 6 h 272"/>
              <a:gd name="T42" fmla="*/ 297 w 319"/>
              <a:gd name="T43" fmla="*/ 12 h 272"/>
              <a:gd name="T44" fmla="*/ 300 w 319"/>
              <a:gd name="T45" fmla="*/ 37 h 272"/>
              <a:gd name="T46" fmla="*/ 303 w 319"/>
              <a:gd name="T47" fmla="*/ 72 h 272"/>
              <a:gd name="T48" fmla="*/ 288 w 319"/>
              <a:gd name="T49" fmla="*/ 75 h 272"/>
              <a:gd name="T50" fmla="*/ 285 w 319"/>
              <a:gd name="T51" fmla="*/ 97 h 272"/>
              <a:gd name="T52" fmla="*/ 303 w 319"/>
              <a:gd name="T53" fmla="*/ 100 h 272"/>
              <a:gd name="T54" fmla="*/ 319 w 319"/>
              <a:gd name="T55" fmla="*/ 97 h 272"/>
              <a:gd name="T56" fmla="*/ 316 w 319"/>
              <a:gd name="T57" fmla="*/ 112 h 272"/>
              <a:gd name="T58" fmla="*/ 300 w 319"/>
              <a:gd name="T59" fmla="*/ 140 h 272"/>
              <a:gd name="T60" fmla="*/ 288 w 319"/>
              <a:gd name="T61" fmla="*/ 150 h 272"/>
              <a:gd name="T62" fmla="*/ 275 w 319"/>
              <a:gd name="T63" fmla="*/ 165 h 272"/>
              <a:gd name="T64" fmla="*/ 253 w 319"/>
              <a:gd name="T65" fmla="*/ 197 h 272"/>
              <a:gd name="T66" fmla="*/ 225 w 319"/>
              <a:gd name="T67" fmla="*/ 225 h 272"/>
              <a:gd name="T68" fmla="*/ 200 w 319"/>
              <a:gd name="T69" fmla="*/ 241 h 272"/>
              <a:gd name="T70" fmla="*/ 182 w 319"/>
              <a:gd name="T71" fmla="*/ 247 h 272"/>
              <a:gd name="T72" fmla="*/ 172 w 319"/>
              <a:gd name="T73" fmla="*/ 256 h 272"/>
              <a:gd name="T74" fmla="*/ 157 w 319"/>
              <a:gd name="T75" fmla="*/ 259 h 272"/>
              <a:gd name="T76" fmla="*/ 128 w 319"/>
              <a:gd name="T77" fmla="*/ 253 h 272"/>
              <a:gd name="T78" fmla="*/ 107 w 319"/>
              <a:gd name="T79" fmla="*/ 256 h 272"/>
              <a:gd name="T80" fmla="*/ 97 w 319"/>
              <a:gd name="T81" fmla="*/ 262 h 272"/>
              <a:gd name="T82" fmla="*/ 78 w 319"/>
              <a:gd name="T83" fmla="*/ 262 h 272"/>
              <a:gd name="T84" fmla="*/ 63 w 319"/>
              <a:gd name="T85" fmla="*/ 269 h 272"/>
              <a:gd name="T86" fmla="*/ 44 w 319"/>
              <a:gd name="T87" fmla="*/ 259 h 272"/>
              <a:gd name="T88" fmla="*/ 35 w 319"/>
              <a:gd name="T89" fmla="*/ 256 h 272"/>
              <a:gd name="T90" fmla="*/ 32 w 319"/>
              <a:gd name="T91" fmla="*/ 253 h 272"/>
              <a:gd name="T92" fmla="*/ 22 w 319"/>
              <a:gd name="T93" fmla="*/ 228 h 272"/>
              <a:gd name="T94" fmla="*/ 32 w 319"/>
              <a:gd name="T95" fmla="*/ 222 h 272"/>
              <a:gd name="T96" fmla="*/ 25 w 319"/>
              <a:gd name="T97" fmla="*/ 190 h 272"/>
              <a:gd name="T98" fmla="*/ 10 w 319"/>
              <a:gd name="T99" fmla="*/ 144 h 272"/>
              <a:gd name="T100" fmla="*/ 210 w 319"/>
              <a:gd name="T101" fmla="*/ 172 h 272"/>
              <a:gd name="T102" fmla="*/ 225 w 319"/>
              <a:gd name="T103" fmla="*/ 178 h 272"/>
              <a:gd name="T104" fmla="*/ 238 w 319"/>
              <a:gd name="T105" fmla="*/ 165 h 272"/>
              <a:gd name="T106" fmla="*/ 241 w 319"/>
              <a:gd name="T107" fmla="*/ 159 h 272"/>
              <a:gd name="T108" fmla="*/ 241 w 319"/>
              <a:gd name="T109" fmla="*/ 137 h 272"/>
              <a:gd name="T110" fmla="*/ 228 w 319"/>
              <a:gd name="T111" fmla="*/ 137 h 272"/>
              <a:gd name="T112" fmla="*/ 213 w 319"/>
              <a:gd name="T113" fmla="*/ 147 h 272"/>
              <a:gd name="T114" fmla="*/ 207 w 319"/>
              <a:gd name="T115" fmla="*/ 16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9" h="272">
                <a:moveTo>
                  <a:pt x="0" y="134"/>
                </a:moveTo>
                <a:lnTo>
                  <a:pt x="3" y="131"/>
                </a:lnTo>
                <a:lnTo>
                  <a:pt x="10" y="131"/>
                </a:lnTo>
                <a:lnTo>
                  <a:pt x="10" y="128"/>
                </a:lnTo>
                <a:lnTo>
                  <a:pt x="7" y="128"/>
                </a:lnTo>
                <a:lnTo>
                  <a:pt x="10" y="125"/>
                </a:lnTo>
                <a:lnTo>
                  <a:pt x="13" y="122"/>
                </a:lnTo>
                <a:lnTo>
                  <a:pt x="16" y="125"/>
                </a:lnTo>
                <a:lnTo>
                  <a:pt x="19" y="125"/>
                </a:lnTo>
                <a:lnTo>
                  <a:pt x="19" y="131"/>
                </a:lnTo>
                <a:lnTo>
                  <a:pt x="22" y="137"/>
                </a:lnTo>
                <a:lnTo>
                  <a:pt x="28" y="137"/>
                </a:lnTo>
                <a:lnTo>
                  <a:pt x="32" y="140"/>
                </a:lnTo>
                <a:lnTo>
                  <a:pt x="35" y="140"/>
                </a:lnTo>
                <a:lnTo>
                  <a:pt x="38" y="140"/>
                </a:lnTo>
                <a:lnTo>
                  <a:pt x="41" y="140"/>
                </a:lnTo>
                <a:lnTo>
                  <a:pt x="41" y="140"/>
                </a:lnTo>
                <a:lnTo>
                  <a:pt x="44" y="140"/>
                </a:lnTo>
                <a:lnTo>
                  <a:pt x="47" y="140"/>
                </a:lnTo>
                <a:lnTo>
                  <a:pt x="50" y="140"/>
                </a:lnTo>
                <a:lnTo>
                  <a:pt x="50" y="144"/>
                </a:lnTo>
                <a:lnTo>
                  <a:pt x="50" y="137"/>
                </a:lnTo>
                <a:lnTo>
                  <a:pt x="53" y="137"/>
                </a:lnTo>
                <a:lnTo>
                  <a:pt x="57" y="134"/>
                </a:lnTo>
                <a:lnTo>
                  <a:pt x="57" y="131"/>
                </a:lnTo>
                <a:lnTo>
                  <a:pt x="63" y="128"/>
                </a:lnTo>
                <a:lnTo>
                  <a:pt x="69" y="128"/>
                </a:lnTo>
                <a:lnTo>
                  <a:pt x="72" y="128"/>
                </a:lnTo>
                <a:lnTo>
                  <a:pt x="75" y="59"/>
                </a:lnTo>
                <a:lnTo>
                  <a:pt x="82" y="62"/>
                </a:lnTo>
                <a:lnTo>
                  <a:pt x="82" y="68"/>
                </a:lnTo>
                <a:lnTo>
                  <a:pt x="88" y="78"/>
                </a:lnTo>
                <a:lnTo>
                  <a:pt x="88" y="84"/>
                </a:lnTo>
                <a:lnTo>
                  <a:pt x="85" y="90"/>
                </a:lnTo>
                <a:lnTo>
                  <a:pt x="85" y="94"/>
                </a:lnTo>
                <a:lnTo>
                  <a:pt x="91" y="94"/>
                </a:lnTo>
                <a:lnTo>
                  <a:pt x="94" y="94"/>
                </a:lnTo>
                <a:lnTo>
                  <a:pt x="97" y="94"/>
                </a:lnTo>
                <a:lnTo>
                  <a:pt x="103" y="94"/>
                </a:lnTo>
                <a:lnTo>
                  <a:pt x="107" y="94"/>
                </a:lnTo>
                <a:lnTo>
                  <a:pt x="110" y="90"/>
                </a:lnTo>
                <a:lnTo>
                  <a:pt x="113" y="87"/>
                </a:lnTo>
                <a:lnTo>
                  <a:pt x="116" y="87"/>
                </a:lnTo>
                <a:lnTo>
                  <a:pt x="122" y="84"/>
                </a:lnTo>
                <a:lnTo>
                  <a:pt x="125" y="81"/>
                </a:lnTo>
                <a:lnTo>
                  <a:pt x="128" y="72"/>
                </a:lnTo>
                <a:lnTo>
                  <a:pt x="135" y="68"/>
                </a:lnTo>
                <a:lnTo>
                  <a:pt x="138" y="65"/>
                </a:lnTo>
                <a:lnTo>
                  <a:pt x="144" y="68"/>
                </a:lnTo>
                <a:lnTo>
                  <a:pt x="147" y="68"/>
                </a:lnTo>
                <a:lnTo>
                  <a:pt x="150" y="72"/>
                </a:lnTo>
                <a:lnTo>
                  <a:pt x="157" y="75"/>
                </a:lnTo>
                <a:lnTo>
                  <a:pt x="160" y="75"/>
                </a:lnTo>
                <a:lnTo>
                  <a:pt x="163" y="75"/>
                </a:lnTo>
                <a:lnTo>
                  <a:pt x="166" y="75"/>
                </a:lnTo>
                <a:lnTo>
                  <a:pt x="172" y="75"/>
                </a:lnTo>
                <a:lnTo>
                  <a:pt x="175" y="75"/>
                </a:lnTo>
                <a:lnTo>
                  <a:pt x="175" y="75"/>
                </a:lnTo>
                <a:lnTo>
                  <a:pt x="178" y="78"/>
                </a:lnTo>
                <a:lnTo>
                  <a:pt x="182" y="75"/>
                </a:lnTo>
                <a:lnTo>
                  <a:pt x="182" y="72"/>
                </a:lnTo>
                <a:lnTo>
                  <a:pt x="182" y="68"/>
                </a:lnTo>
                <a:lnTo>
                  <a:pt x="182" y="65"/>
                </a:lnTo>
                <a:lnTo>
                  <a:pt x="185" y="65"/>
                </a:lnTo>
                <a:lnTo>
                  <a:pt x="185" y="59"/>
                </a:lnTo>
                <a:lnTo>
                  <a:pt x="185" y="56"/>
                </a:lnTo>
                <a:lnTo>
                  <a:pt x="191" y="56"/>
                </a:lnTo>
                <a:lnTo>
                  <a:pt x="194" y="53"/>
                </a:lnTo>
                <a:lnTo>
                  <a:pt x="197" y="53"/>
                </a:lnTo>
                <a:lnTo>
                  <a:pt x="197" y="50"/>
                </a:lnTo>
                <a:lnTo>
                  <a:pt x="197" y="50"/>
                </a:lnTo>
                <a:lnTo>
                  <a:pt x="200" y="47"/>
                </a:lnTo>
                <a:lnTo>
                  <a:pt x="200" y="47"/>
                </a:lnTo>
                <a:lnTo>
                  <a:pt x="203" y="43"/>
                </a:lnTo>
                <a:lnTo>
                  <a:pt x="207" y="43"/>
                </a:lnTo>
                <a:lnTo>
                  <a:pt x="207" y="43"/>
                </a:lnTo>
                <a:lnTo>
                  <a:pt x="207" y="40"/>
                </a:lnTo>
                <a:lnTo>
                  <a:pt x="207" y="37"/>
                </a:lnTo>
                <a:lnTo>
                  <a:pt x="207" y="34"/>
                </a:lnTo>
                <a:lnTo>
                  <a:pt x="213" y="25"/>
                </a:lnTo>
                <a:lnTo>
                  <a:pt x="216" y="25"/>
                </a:lnTo>
                <a:lnTo>
                  <a:pt x="219" y="25"/>
                </a:lnTo>
                <a:lnTo>
                  <a:pt x="219" y="22"/>
                </a:lnTo>
                <a:lnTo>
                  <a:pt x="222" y="22"/>
                </a:lnTo>
                <a:lnTo>
                  <a:pt x="222" y="18"/>
                </a:lnTo>
                <a:lnTo>
                  <a:pt x="225" y="18"/>
                </a:lnTo>
                <a:lnTo>
                  <a:pt x="228" y="15"/>
                </a:lnTo>
                <a:lnTo>
                  <a:pt x="232" y="12"/>
                </a:lnTo>
                <a:lnTo>
                  <a:pt x="235" y="12"/>
                </a:lnTo>
                <a:lnTo>
                  <a:pt x="238" y="12"/>
                </a:lnTo>
                <a:lnTo>
                  <a:pt x="238" y="12"/>
                </a:lnTo>
                <a:lnTo>
                  <a:pt x="241" y="12"/>
                </a:lnTo>
                <a:lnTo>
                  <a:pt x="244" y="9"/>
                </a:lnTo>
                <a:lnTo>
                  <a:pt x="247" y="9"/>
                </a:lnTo>
                <a:lnTo>
                  <a:pt x="247" y="6"/>
                </a:lnTo>
                <a:lnTo>
                  <a:pt x="247" y="3"/>
                </a:lnTo>
                <a:lnTo>
                  <a:pt x="250" y="3"/>
                </a:lnTo>
                <a:lnTo>
                  <a:pt x="253" y="3"/>
                </a:lnTo>
                <a:lnTo>
                  <a:pt x="257" y="0"/>
                </a:lnTo>
                <a:lnTo>
                  <a:pt x="263" y="0"/>
                </a:lnTo>
                <a:lnTo>
                  <a:pt x="269" y="0"/>
                </a:lnTo>
                <a:lnTo>
                  <a:pt x="269" y="3"/>
                </a:lnTo>
                <a:lnTo>
                  <a:pt x="272" y="3"/>
                </a:lnTo>
                <a:lnTo>
                  <a:pt x="278" y="6"/>
                </a:lnTo>
                <a:lnTo>
                  <a:pt x="278" y="6"/>
                </a:lnTo>
                <a:lnTo>
                  <a:pt x="282" y="6"/>
                </a:lnTo>
                <a:lnTo>
                  <a:pt x="288" y="3"/>
                </a:lnTo>
                <a:lnTo>
                  <a:pt x="294" y="6"/>
                </a:lnTo>
                <a:lnTo>
                  <a:pt x="297" y="9"/>
                </a:lnTo>
                <a:lnTo>
                  <a:pt x="297" y="12"/>
                </a:lnTo>
                <a:lnTo>
                  <a:pt x="300" y="18"/>
                </a:lnTo>
                <a:lnTo>
                  <a:pt x="303" y="25"/>
                </a:lnTo>
                <a:lnTo>
                  <a:pt x="303" y="34"/>
                </a:lnTo>
                <a:lnTo>
                  <a:pt x="300" y="34"/>
                </a:lnTo>
                <a:lnTo>
                  <a:pt x="300" y="37"/>
                </a:lnTo>
                <a:lnTo>
                  <a:pt x="303" y="40"/>
                </a:lnTo>
                <a:lnTo>
                  <a:pt x="303" y="47"/>
                </a:lnTo>
                <a:lnTo>
                  <a:pt x="303" y="62"/>
                </a:lnTo>
                <a:lnTo>
                  <a:pt x="303" y="68"/>
                </a:lnTo>
                <a:lnTo>
                  <a:pt x="303" y="72"/>
                </a:lnTo>
                <a:lnTo>
                  <a:pt x="303" y="81"/>
                </a:lnTo>
                <a:lnTo>
                  <a:pt x="300" y="78"/>
                </a:lnTo>
                <a:lnTo>
                  <a:pt x="297" y="75"/>
                </a:lnTo>
                <a:lnTo>
                  <a:pt x="291" y="72"/>
                </a:lnTo>
                <a:lnTo>
                  <a:pt x="288" y="75"/>
                </a:lnTo>
                <a:lnTo>
                  <a:pt x="288" y="78"/>
                </a:lnTo>
                <a:lnTo>
                  <a:pt x="282" y="87"/>
                </a:lnTo>
                <a:lnTo>
                  <a:pt x="282" y="90"/>
                </a:lnTo>
                <a:lnTo>
                  <a:pt x="282" y="94"/>
                </a:lnTo>
                <a:lnTo>
                  <a:pt x="285" y="97"/>
                </a:lnTo>
                <a:lnTo>
                  <a:pt x="285" y="100"/>
                </a:lnTo>
                <a:lnTo>
                  <a:pt x="291" y="103"/>
                </a:lnTo>
                <a:lnTo>
                  <a:pt x="300" y="103"/>
                </a:lnTo>
                <a:lnTo>
                  <a:pt x="303" y="103"/>
                </a:lnTo>
                <a:lnTo>
                  <a:pt x="303" y="100"/>
                </a:lnTo>
                <a:lnTo>
                  <a:pt x="303" y="97"/>
                </a:lnTo>
                <a:lnTo>
                  <a:pt x="307" y="97"/>
                </a:lnTo>
                <a:lnTo>
                  <a:pt x="310" y="94"/>
                </a:lnTo>
                <a:lnTo>
                  <a:pt x="316" y="97"/>
                </a:lnTo>
                <a:lnTo>
                  <a:pt x="319" y="97"/>
                </a:lnTo>
                <a:lnTo>
                  <a:pt x="319" y="97"/>
                </a:lnTo>
                <a:lnTo>
                  <a:pt x="316" y="100"/>
                </a:lnTo>
                <a:lnTo>
                  <a:pt x="319" y="100"/>
                </a:lnTo>
                <a:lnTo>
                  <a:pt x="316" y="109"/>
                </a:lnTo>
                <a:lnTo>
                  <a:pt x="316" y="112"/>
                </a:lnTo>
                <a:lnTo>
                  <a:pt x="313" y="119"/>
                </a:lnTo>
                <a:lnTo>
                  <a:pt x="310" y="128"/>
                </a:lnTo>
                <a:lnTo>
                  <a:pt x="307" y="131"/>
                </a:lnTo>
                <a:lnTo>
                  <a:pt x="307" y="134"/>
                </a:lnTo>
                <a:lnTo>
                  <a:pt x="300" y="140"/>
                </a:lnTo>
                <a:lnTo>
                  <a:pt x="300" y="140"/>
                </a:lnTo>
                <a:lnTo>
                  <a:pt x="297" y="144"/>
                </a:lnTo>
                <a:lnTo>
                  <a:pt x="294" y="144"/>
                </a:lnTo>
                <a:lnTo>
                  <a:pt x="294" y="147"/>
                </a:lnTo>
                <a:lnTo>
                  <a:pt x="288" y="150"/>
                </a:lnTo>
                <a:lnTo>
                  <a:pt x="285" y="153"/>
                </a:lnTo>
                <a:lnTo>
                  <a:pt x="282" y="159"/>
                </a:lnTo>
                <a:lnTo>
                  <a:pt x="282" y="159"/>
                </a:lnTo>
                <a:lnTo>
                  <a:pt x="278" y="165"/>
                </a:lnTo>
                <a:lnTo>
                  <a:pt x="275" y="165"/>
                </a:lnTo>
                <a:lnTo>
                  <a:pt x="272" y="172"/>
                </a:lnTo>
                <a:lnTo>
                  <a:pt x="266" y="184"/>
                </a:lnTo>
                <a:lnTo>
                  <a:pt x="260" y="190"/>
                </a:lnTo>
                <a:lnTo>
                  <a:pt x="257" y="197"/>
                </a:lnTo>
                <a:lnTo>
                  <a:pt x="253" y="197"/>
                </a:lnTo>
                <a:lnTo>
                  <a:pt x="250" y="200"/>
                </a:lnTo>
                <a:lnTo>
                  <a:pt x="247" y="200"/>
                </a:lnTo>
                <a:lnTo>
                  <a:pt x="247" y="203"/>
                </a:lnTo>
                <a:lnTo>
                  <a:pt x="225" y="222"/>
                </a:lnTo>
                <a:lnTo>
                  <a:pt x="225" y="225"/>
                </a:lnTo>
                <a:lnTo>
                  <a:pt x="225" y="225"/>
                </a:lnTo>
                <a:lnTo>
                  <a:pt x="222" y="228"/>
                </a:lnTo>
                <a:lnTo>
                  <a:pt x="207" y="237"/>
                </a:lnTo>
                <a:lnTo>
                  <a:pt x="203" y="241"/>
                </a:lnTo>
                <a:lnTo>
                  <a:pt x="200" y="241"/>
                </a:lnTo>
                <a:lnTo>
                  <a:pt x="200" y="244"/>
                </a:lnTo>
                <a:lnTo>
                  <a:pt x="191" y="244"/>
                </a:lnTo>
                <a:lnTo>
                  <a:pt x="188" y="247"/>
                </a:lnTo>
                <a:lnTo>
                  <a:pt x="185" y="247"/>
                </a:lnTo>
                <a:lnTo>
                  <a:pt x="182" y="247"/>
                </a:lnTo>
                <a:lnTo>
                  <a:pt x="175" y="247"/>
                </a:lnTo>
                <a:lnTo>
                  <a:pt x="172" y="247"/>
                </a:lnTo>
                <a:lnTo>
                  <a:pt x="169" y="253"/>
                </a:lnTo>
                <a:lnTo>
                  <a:pt x="172" y="253"/>
                </a:lnTo>
                <a:lnTo>
                  <a:pt x="172" y="256"/>
                </a:lnTo>
                <a:lnTo>
                  <a:pt x="166" y="256"/>
                </a:lnTo>
                <a:lnTo>
                  <a:pt x="160" y="253"/>
                </a:lnTo>
                <a:lnTo>
                  <a:pt x="157" y="253"/>
                </a:lnTo>
                <a:lnTo>
                  <a:pt x="153" y="256"/>
                </a:lnTo>
                <a:lnTo>
                  <a:pt x="157" y="259"/>
                </a:lnTo>
                <a:lnTo>
                  <a:pt x="153" y="259"/>
                </a:lnTo>
                <a:lnTo>
                  <a:pt x="144" y="256"/>
                </a:lnTo>
                <a:lnTo>
                  <a:pt x="141" y="256"/>
                </a:lnTo>
                <a:lnTo>
                  <a:pt x="135" y="253"/>
                </a:lnTo>
                <a:lnTo>
                  <a:pt x="128" y="253"/>
                </a:lnTo>
                <a:lnTo>
                  <a:pt x="128" y="256"/>
                </a:lnTo>
                <a:lnTo>
                  <a:pt x="125" y="256"/>
                </a:lnTo>
                <a:lnTo>
                  <a:pt x="119" y="253"/>
                </a:lnTo>
                <a:lnTo>
                  <a:pt x="110" y="253"/>
                </a:lnTo>
                <a:lnTo>
                  <a:pt x="107" y="256"/>
                </a:lnTo>
                <a:lnTo>
                  <a:pt x="103" y="259"/>
                </a:lnTo>
                <a:lnTo>
                  <a:pt x="103" y="259"/>
                </a:lnTo>
                <a:lnTo>
                  <a:pt x="100" y="259"/>
                </a:lnTo>
                <a:lnTo>
                  <a:pt x="97" y="259"/>
                </a:lnTo>
                <a:lnTo>
                  <a:pt x="97" y="262"/>
                </a:lnTo>
                <a:lnTo>
                  <a:pt x="91" y="262"/>
                </a:lnTo>
                <a:lnTo>
                  <a:pt x="91" y="262"/>
                </a:lnTo>
                <a:lnTo>
                  <a:pt x="85" y="262"/>
                </a:lnTo>
                <a:lnTo>
                  <a:pt x="78" y="262"/>
                </a:lnTo>
                <a:lnTo>
                  <a:pt x="78" y="262"/>
                </a:lnTo>
                <a:lnTo>
                  <a:pt x="72" y="262"/>
                </a:lnTo>
                <a:lnTo>
                  <a:pt x="69" y="266"/>
                </a:lnTo>
                <a:lnTo>
                  <a:pt x="66" y="269"/>
                </a:lnTo>
                <a:lnTo>
                  <a:pt x="63" y="272"/>
                </a:lnTo>
                <a:lnTo>
                  <a:pt x="63" y="269"/>
                </a:lnTo>
                <a:lnTo>
                  <a:pt x="60" y="272"/>
                </a:lnTo>
                <a:lnTo>
                  <a:pt x="50" y="266"/>
                </a:lnTo>
                <a:lnTo>
                  <a:pt x="47" y="266"/>
                </a:lnTo>
                <a:lnTo>
                  <a:pt x="47" y="262"/>
                </a:lnTo>
                <a:lnTo>
                  <a:pt x="44" y="259"/>
                </a:lnTo>
                <a:lnTo>
                  <a:pt x="41" y="262"/>
                </a:lnTo>
                <a:lnTo>
                  <a:pt x="41" y="262"/>
                </a:lnTo>
                <a:lnTo>
                  <a:pt x="41" y="259"/>
                </a:lnTo>
                <a:lnTo>
                  <a:pt x="41" y="256"/>
                </a:lnTo>
                <a:lnTo>
                  <a:pt x="35" y="256"/>
                </a:lnTo>
                <a:lnTo>
                  <a:pt x="32" y="256"/>
                </a:lnTo>
                <a:lnTo>
                  <a:pt x="32" y="262"/>
                </a:lnTo>
                <a:lnTo>
                  <a:pt x="32" y="259"/>
                </a:lnTo>
                <a:lnTo>
                  <a:pt x="32" y="256"/>
                </a:lnTo>
                <a:lnTo>
                  <a:pt x="32" y="253"/>
                </a:lnTo>
                <a:lnTo>
                  <a:pt x="32" y="247"/>
                </a:lnTo>
                <a:lnTo>
                  <a:pt x="35" y="244"/>
                </a:lnTo>
                <a:lnTo>
                  <a:pt x="28" y="237"/>
                </a:lnTo>
                <a:lnTo>
                  <a:pt x="25" y="234"/>
                </a:lnTo>
                <a:lnTo>
                  <a:pt x="22" y="228"/>
                </a:lnTo>
                <a:lnTo>
                  <a:pt x="22" y="222"/>
                </a:lnTo>
                <a:lnTo>
                  <a:pt x="25" y="222"/>
                </a:lnTo>
                <a:lnTo>
                  <a:pt x="28" y="225"/>
                </a:lnTo>
                <a:lnTo>
                  <a:pt x="28" y="225"/>
                </a:lnTo>
                <a:lnTo>
                  <a:pt x="32" y="222"/>
                </a:lnTo>
                <a:lnTo>
                  <a:pt x="32" y="216"/>
                </a:lnTo>
                <a:lnTo>
                  <a:pt x="32" y="209"/>
                </a:lnTo>
                <a:lnTo>
                  <a:pt x="32" y="206"/>
                </a:lnTo>
                <a:lnTo>
                  <a:pt x="25" y="197"/>
                </a:lnTo>
                <a:lnTo>
                  <a:pt x="25" y="190"/>
                </a:lnTo>
                <a:lnTo>
                  <a:pt x="19" y="184"/>
                </a:lnTo>
                <a:lnTo>
                  <a:pt x="16" y="172"/>
                </a:lnTo>
                <a:lnTo>
                  <a:pt x="13" y="162"/>
                </a:lnTo>
                <a:lnTo>
                  <a:pt x="13" y="156"/>
                </a:lnTo>
                <a:lnTo>
                  <a:pt x="10" y="144"/>
                </a:lnTo>
                <a:lnTo>
                  <a:pt x="3" y="140"/>
                </a:lnTo>
                <a:lnTo>
                  <a:pt x="0" y="134"/>
                </a:lnTo>
                <a:lnTo>
                  <a:pt x="0" y="134"/>
                </a:lnTo>
                <a:lnTo>
                  <a:pt x="0" y="134"/>
                </a:lnTo>
                <a:close/>
                <a:moveTo>
                  <a:pt x="210" y="172"/>
                </a:moveTo>
                <a:lnTo>
                  <a:pt x="213" y="175"/>
                </a:lnTo>
                <a:lnTo>
                  <a:pt x="216" y="178"/>
                </a:lnTo>
                <a:lnTo>
                  <a:pt x="219" y="178"/>
                </a:lnTo>
                <a:lnTo>
                  <a:pt x="225" y="178"/>
                </a:lnTo>
                <a:lnTo>
                  <a:pt x="225" y="178"/>
                </a:lnTo>
                <a:lnTo>
                  <a:pt x="225" y="175"/>
                </a:lnTo>
                <a:lnTo>
                  <a:pt x="228" y="172"/>
                </a:lnTo>
                <a:lnTo>
                  <a:pt x="232" y="169"/>
                </a:lnTo>
                <a:lnTo>
                  <a:pt x="235" y="169"/>
                </a:lnTo>
                <a:lnTo>
                  <a:pt x="238" y="165"/>
                </a:lnTo>
                <a:lnTo>
                  <a:pt x="241" y="169"/>
                </a:lnTo>
                <a:lnTo>
                  <a:pt x="244" y="165"/>
                </a:lnTo>
                <a:lnTo>
                  <a:pt x="244" y="162"/>
                </a:lnTo>
                <a:lnTo>
                  <a:pt x="244" y="159"/>
                </a:lnTo>
                <a:lnTo>
                  <a:pt x="241" y="159"/>
                </a:lnTo>
                <a:lnTo>
                  <a:pt x="247" y="156"/>
                </a:lnTo>
                <a:lnTo>
                  <a:pt x="250" y="153"/>
                </a:lnTo>
                <a:lnTo>
                  <a:pt x="250" y="150"/>
                </a:lnTo>
                <a:lnTo>
                  <a:pt x="247" y="140"/>
                </a:lnTo>
                <a:lnTo>
                  <a:pt x="241" y="137"/>
                </a:lnTo>
                <a:lnTo>
                  <a:pt x="238" y="137"/>
                </a:lnTo>
                <a:lnTo>
                  <a:pt x="235" y="137"/>
                </a:lnTo>
                <a:lnTo>
                  <a:pt x="235" y="137"/>
                </a:lnTo>
                <a:lnTo>
                  <a:pt x="232" y="137"/>
                </a:lnTo>
                <a:lnTo>
                  <a:pt x="228" y="137"/>
                </a:lnTo>
                <a:lnTo>
                  <a:pt x="228" y="137"/>
                </a:lnTo>
                <a:lnTo>
                  <a:pt x="225" y="140"/>
                </a:lnTo>
                <a:lnTo>
                  <a:pt x="225" y="140"/>
                </a:lnTo>
                <a:lnTo>
                  <a:pt x="219" y="144"/>
                </a:lnTo>
                <a:lnTo>
                  <a:pt x="213" y="147"/>
                </a:lnTo>
                <a:lnTo>
                  <a:pt x="213" y="150"/>
                </a:lnTo>
                <a:lnTo>
                  <a:pt x="207" y="156"/>
                </a:lnTo>
                <a:lnTo>
                  <a:pt x="203" y="156"/>
                </a:lnTo>
                <a:lnTo>
                  <a:pt x="207" y="159"/>
                </a:lnTo>
                <a:lnTo>
                  <a:pt x="207" y="162"/>
                </a:lnTo>
                <a:lnTo>
                  <a:pt x="210" y="165"/>
                </a:lnTo>
                <a:lnTo>
                  <a:pt x="210" y="169"/>
                </a:lnTo>
                <a:lnTo>
                  <a:pt x="210" y="172"/>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1" name="Freeform 159">
            <a:extLst>
              <a:ext uri="{FF2B5EF4-FFF2-40B4-BE49-F238E27FC236}">
                <a16:creationId xmlns:a16="http://schemas.microsoft.com/office/drawing/2014/main" id="{10D1D9A2-A60C-1EC9-1EDC-B4203E4A3BDE}"/>
              </a:ext>
            </a:extLst>
          </p:cNvPr>
          <p:cNvSpPr>
            <a:spLocks/>
          </p:cNvSpPr>
          <p:nvPr userDrawn="1"/>
        </p:nvSpPr>
        <p:spPr bwMode="auto">
          <a:xfrm>
            <a:off x="14785011" y="11222906"/>
            <a:ext cx="149216" cy="130176"/>
          </a:xfrm>
          <a:custGeom>
            <a:avLst/>
            <a:gdLst>
              <a:gd name="T0" fmla="*/ 7 w 47"/>
              <a:gd name="T1" fmla="*/ 35 h 41"/>
              <a:gd name="T2" fmla="*/ 7 w 47"/>
              <a:gd name="T3" fmla="*/ 32 h 41"/>
              <a:gd name="T4" fmla="*/ 7 w 47"/>
              <a:gd name="T5" fmla="*/ 28 h 41"/>
              <a:gd name="T6" fmla="*/ 4 w 47"/>
              <a:gd name="T7" fmla="*/ 25 h 41"/>
              <a:gd name="T8" fmla="*/ 4 w 47"/>
              <a:gd name="T9" fmla="*/ 22 h 41"/>
              <a:gd name="T10" fmla="*/ 0 w 47"/>
              <a:gd name="T11" fmla="*/ 19 h 41"/>
              <a:gd name="T12" fmla="*/ 4 w 47"/>
              <a:gd name="T13" fmla="*/ 19 h 41"/>
              <a:gd name="T14" fmla="*/ 10 w 47"/>
              <a:gd name="T15" fmla="*/ 13 h 41"/>
              <a:gd name="T16" fmla="*/ 10 w 47"/>
              <a:gd name="T17" fmla="*/ 10 h 41"/>
              <a:gd name="T18" fmla="*/ 16 w 47"/>
              <a:gd name="T19" fmla="*/ 7 h 41"/>
              <a:gd name="T20" fmla="*/ 22 w 47"/>
              <a:gd name="T21" fmla="*/ 3 h 41"/>
              <a:gd name="T22" fmla="*/ 22 w 47"/>
              <a:gd name="T23" fmla="*/ 3 h 41"/>
              <a:gd name="T24" fmla="*/ 25 w 47"/>
              <a:gd name="T25" fmla="*/ 0 h 41"/>
              <a:gd name="T26" fmla="*/ 25 w 47"/>
              <a:gd name="T27" fmla="*/ 0 h 41"/>
              <a:gd name="T28" fmla="*/ 29 w 47"/>
              <a:gd name="T29" fmla="*/ 0 h 41"/>
              <a:gd name="T30" fmla="*/ 32 w 47"/>
              <a:gd name="T31" fmla="*/ 0 h 41"/>
              <a:gd name="T32" fmla="*/ 32 w 47"/>
              <a:gd name="T33" fmla="*/ 0 h 41"/>
              <a:gd name="T34" fmla="*/ 35 w 47"/>
              <a:gd name="T35" fmla="*/ 0 h 41"/>
              <a:gd name="T36" fmla="*/ 38 w 47"/>
              <a:gd name="T37" fmla="*/ 0 h 41"/>
              <a:gd name="T38" fmla="*/ 44 w 47"/>
              <a:gd name="T39" fmla="*/ 3 h 41"/>
              <a:gd name="T40" fmla="*/ 47 w 47"/>
              <a:gd name="T41" fmla="*/ 13 h 41"/>
              <a:gd name="T42" fmla="*/ 47 w 47"/>
              <a:gd name="T43" fmla="*/ 16 h 41"/>
              <a:gd name="T44" fmla="*/ 44 w 47"/>
              <a:gd name="T45" fmla="*/ 19 h 41"/>
              <a:gd name="T46" fmla="*/ 38 w 47"/>
              <a:gd name="T47" fmla="*/ 22 h 41"/>
              <a:gd name="T48" fmla="*/ 41 w 47"/>
              <a:gd name="T49" fmla="*/ 22 h 41"/>
              <a:gd name="T50" fmla="*/ 41 w 47"/>
              <a:gd name="T51" fmla="*/ 25 h 41"/>
              <a:gd name="T52" fmla="*/ 41 w 47"/>
              <a:gd name="T53" fmla="*/ 28 h 41"/>
              <a:gd name="T54" fmla="*/ 38 w 47"/>
              <a:gd name="T55" fmla="*/ 32 h 41"/>
              <a:gd name="T56" fmla="*/ 35 w 47"/>
              <a:gd name="T57" fmla="*/ 28 h 41"/>
              <a:gd name="T58" fmla="*/ 32 w 47"/>
              <a:gd name="T59" fmla="*/ 32 h 41"/>
              <a:gd name="T60" fmla="*/ 29 w 47"/>
              <a:gd name="T61" fmla="*/ 32 h 41"/>
              <a:gd name="T62" fmla="*/ 25 w 47"/>
              <a:gd name="T63" fmla="*/ 35 h 41"/>
              <a:gd name="T64" fmla="*/ 22 w 47"/>
              <a:gd name="T65" fmla="*/ 38 h 41"/>
              <a:gd name="T66" fmla="*/ 22 w 47"/>
              <a:gd name="T67" fmla="*/ 41 h 41"/>
              <a:gd name="T68" fmla="*/ 22 w 47"/>
              <a:gd name="T69" fmla="*/ 41 h 41"/>
              <a:gd name="T70" fmla="*/ 16 w 47"/>
              <a:gd name="T71" fmla="*/ 41 h 41"/>
              <a:gd name="T72" fmla="*/ 13 w 47"/>
              <a:gd name="T73" fmla="*/ 41 h 41"/>
              <a:gd name="T74" fmla="*/ 10 w 47"/>
              <a:gd name="T75" fmla="*/ 38 h 41"/>
              <a:gd name="T76" fmla="*/ 7 w 47"/>
              <a:gd name="T77" fmla="*/ 3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 h="41">
                <a:moveTo>
                  <a:pt x="7" y="35"/>
                </a:moveTo>
                <a:lnTo>
                  <a:pt x="7" y="32"/>
                </a:lnTo>
                <a:lnTo>
                  <a:pt x="7" y="28"/>
                </a:lnTo>
                <a:lnTo>
                  <a:pt x="4" y="25"/>
                </a:lnTo>
                <a:lnTo>
                  <a:pt x="4" y="22"/>
                </a:lnTo>
                <a:lnTo>
                  <a:pt x="0" y="19"/>
                </a:lnTo>
                <a:lnTo>
                  <a:pt x="4" y="19"/>
                </a:lnTo>
                <a:lnTo>
                  <a:pt x="10" y="13"/>
                </a:lnTo>
                <a:lnTo>
                  <a:pt x="10" y="10"/>
                </a:lnTo>
                <a:lnTo>
                  <a:pt x="16" y="7"/>
                </a:lnTo>
                <a:lnTo>
                  <a:pt x="22" y="3"/>
                </a:lnTo>
                <a:lnTo>
                  <a:pt x="22" y="3"/>
                </a:lnTo>
                <a:lnTo>
                  <a:pt x="25" y="0"/>
                </a:lnTo>
                <a:lnTo>
                  <a:pt x="25" y="0"/>
                </a:lnTo>
                <a:lnTo>
                  <a:pt x="29" y="0"/>
                </a:lnTo>
                <a:lnTo>
                  <a:pt x="32" y="0"/>
                </a:lnTo>
                <a:lnTo>
                  <a:pt x="32" y="0"/>
                </a:lnTo>
                <a:lnTo>
                  <a:pt x="35" y="0"/>
                </a:lnTo>
                <a:lnTo>
                  <a:pt x="38" y="0"/>
                </a:lnTo>
                <a:lnTo>
                  <a:pt x="44" y="3"/>
                </a:lnTo>
                <a:lnTo>
                  <a:pt x="47" y="13"/>
                </a:lnTo>
                <a:lnTo>
                  <a:pt x="47" y="16"/>
                </a:lnTo>
                <a:lnTo>
                  <a:pt x="44" y="19"/>
                </a:lnTo>
                <a:lnTo>
                  <a:pt x="38" y="22"/>
                </a:lnTo>
                <a:lnTo>
                  <a:pt x="41" y="22"/>
                </a:lnTo>
                <a:lnTo>
                  <a:pt x="41" y="25"/>
                </a:lnTo>
                <a:lnTo>
                  <a:pt x="41" y="28"/>
                </a:lnTo>
                <a:lnTo>
                  <a:pt x="38" y="32"/>
                </a:lnTo>
                <a:lnTo>
                  <a:pt x="35" y="28"/>
                </a:lnTo>
                <a:lnTo>
                  <a:pt x="32" y="32"/>
                </a:lnTo>
                <a:lnTo>
                  <a:pt x="29" y="32"/>
                </a:lnTo>
                <a:lnTo>
                  <a:pt x="25" y="35"/>
                </a:lnTo>
                <a:lnTo>
                  <a:pt x="22" y="38"/>
                </a:lnTo>
                <a:lnTo>
                  <a:pt x="22" y="41"/>
                </a:lnTo>
                <a:lnTo>
                  <a:pt x="22" y="41"/>
                </a:lnTo>
                <a:lnTo>
                  <a:pt x="16" y="41"/>
                </a:lnTo>
                <a:lnTo>
                  <a:pt x="13" y="41"/>
                </a:lnTo>
                <a:lnTo>
                  <a:pt x="10" y="38"/>
                </a:lnTo>
                <a:lnTo>
                  <a:pt x="7" y="35"/>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2" name="Freeform 160">
            <a:extLst>
              <a:ext uri="{FF2B5EF4-FFF2-40B4-BE49-F238E27FC236}">
                <a16:creationId xmlns:a16="http://schemas.microsoft.com/office/drawing/2014/main" id="{B8B0AD6F-52B0-69CD-CE2E-A3AB56BBB8FD}"/>
              </a:ext>
            </a:extLst>
          </p:cNvPr>
          <p:cNvSpPr>
            <a:spLocks noEditPoints="1"/>
          </p:cNvSpPr>
          <p:nvPr userDrawn="1"/>
        </p:nvSpPr>
        <p:spPr bwMode="auto">
          <a:xfrm>
            <a:off x="20115488" y="10051330"/>
            <a:ext cx="2530313" cy="2720976"/>
          </a:xfrm>
          <a:custGeom>
            <a:avLst/>
            <a:gdLst>
              <a:gd name="T0" fmla="*/ 252 w 255"/>
              <a:gd name="T1" fmla="*/ 115 h 274"/>
              <a:gd name="T2" fmla="*/ 217 w 255"/>
              <a:gd name="T3" fmla="*/ 59 h 274"/>
              <a:gd name="T4" fmla="*/ 174 w 255"/>
              <a:gd name="T5" fmla="*/ 47 h 274"/>
              <a:gd name="T6" fmla="*/ 156 w 255"/>
              <a:gd name="T7" fmla="*/ 26 h 274"/>
              <a:gd name="T8" fmla="*/ 158 w 255"/>
              <a:gd name="T9" fmla="*/ 28 h 274"/>
              <a:gd name="T10" fmla="*/ 154 w 255"/>
              <a:gd name="T11" fmla="*/ 11 h 274"/>
              <a:gd name="T12" fmla="*/ 121 w 255"/>
              <a:gd name="T13" fmla="*/ 8 h 274"/>
              <a:gd name="T14" fmla="*/ 120 w 255"/>
              <a:gd name="T15" fmla="*/ 8 h 274"/>
              <a:gd name="T16" fmla="*/ 82 w 255"/>
              <a:gd name="T17" fmla="*/ 36 h 274"/>
              <a:gd name="T18" fmla="*/ 1 w 255"/>
              <a:gd name="T19" fmla="*/ 103 h 274"/>
              <a:gd name="T20" fmla="*/ 138 w 255"/>
              <a:gd name="T21" fmla="*/ 196 h 274"/>
              <a:gd name="T22" fmla="*/ 187 w 255"/>
              <a:gd name="T23" fmla="*/ 226 h 274"/>
              <a:gd name="T24" fmla="*/ 172 w 255"/>
              <a:gd name="T25" fmla="*/ 241 h 274"/>
              <a:gd name="T26" fmla="*/ 192 w 255"/>
              <a:gd name="T27" fmla="*/ 237 h 274"/>
              <a:gd name="T28" fmla="*/ 186 w 255"/>
              <a:gd name="T29" fmla="*/ 265 h 274"/>
              <a:gd name="T30" fmla="*/ 169 w 255"/>
              <a:gd name="T31" fmla="*/ 263 h 274"/>
              <a:gd name="T32" fmla="*/ 173 w 255"/>
              <a:gd name="T33" fmla="*/ 245 h 274"/>
              <a:gd name="T34" fmla="*/ 191 w 255"/>
              <a:gd name="T35" fmla="*/ 247 h 274"/>
              <a:gd name="T36" fmla="*/ 184 w 255"/>
              <a:gd name="T37" fmla="*/ 266 h 274"/>
              <a:gd name="T38" fmla="*/ 176 w 255"/>
              <a:gd name="T39" fmla="*/ 272 h 274"/>
              <a:gd name="T40" fmla="*/ 12 w 255"/>
              <a:gd name="T41" fmla="*/ 181 h 274"/>
              <a:gd name="T42" fmla="*/ 30 w 255"/>
              <a:gd name="T43" fmla="*/ 175 h 274"/>
              <a:gd name="T44" fmla="*/ 53 w 255"/>
              <a:gd name="T45" fmla="*/ 173 h 274"/>
              <a:gd name="T46" fmla="*/ 82 w 255"/>
              <a:gd name="T47" fmla="*/ 161 h 274"/>
              <a:gd name="T48" fmla="*/ 117 w 255"/>
              <a:gd name="T49" fmla="*/ 160 h 274"/>
              <a:gd name="T50" fmla="*/ 128 w 255"/>
              <a:gd name="T51" fmla="*/ 182 h 274"/>
              <a:gd name="T52" fmla="*/ 139 w 255"/>
              <a:gd name="T53" fmla="*/ 176 h 274"/>
              <a:gd name="T54" fmla="*/ 141 w 255"/>
              <a:gd name="T55" fmla="*/ 183 h 274"/>
              <a:gd name="T56" fmla="*/ 143 w 255"/>
              <a:gd name="T57" fmla="*/ 193 h 274"/>
              <a:gd name="T58" fmla="*/ 149 w 255"/>
              <a:gd name="T59" fmla="*/ 209 h 274"/>
              <a:gd name="T60" fmla="*/ 170 w 255"/>
              <a:gd name="T61" fmla="*/ 225 h 274"/>
              <a:gd name="T62" fmla="*/ 183 w 255"/>
              <a:gd name="T63" fmla="*/ 223 h 274"/>
              <a:gd name="T64" fmla="*/ 196 w 255"/>
              <a:gd name="T65" fmla="*/ 220 h 274"/>
              <a:gd name="T66" fmla="*/ 215 w 255"/>
              <a:gd name="T67" fmla="*/ 203 h 274"/>
              <a:gd name="T68" fmla="*/ 236 w 255"/>
              <a:gd name="T69" fmla="*/ 173 h 274"/>
              <a:gd name="T70" fmla="*/ 248 w 255"/>
              <a:gd name="T71" fmla="*/ 145 h 274"/>
              <a:gd name="T72" fmla="*/ 251 w 255"/>
              <a:gd name="T73" fmla="*/ 113 h 274"/>
              <a:gd name="T74" fmla="*/ 240 w 255"/>
              <a:gd name="T75" fmla="*/ 94 h 274"/>
              <a:gd name="T76" fmla="*/ 234 w 255"/>
              <a:gd name="T77" fmla="*/ 83 h 274"/>
              <a:gd name="T78" fmla="*/ 224 w 255"/>
              <a:gd name="T79" fmla="*/ 69 h 274"/>
              <a:gd name="T80" fmla="*/ 215 w 255"/>
              <a:gd name="T81" fmla="*/ 49 h 274"/>
              <a:gd name="T82" fmla="*/ 206 w 255"/>
              <a:gd name="T83" fmla="*/ 29 h 274"/>
              <a:gd name="T84" fmla="*/ 199 w 255"/>
              <a:gd name="T85" fmla="*/ 9 h 274"/>
              <a:gd name="T86" fmla="*/ 191 w 255"/>
              <a:gd name="T87" fmla="*/ 21 h 274"/>
              <a:gd name="T88" fmla="*/ 183 w 255"/>
              <a:gd name="T89" fmla="*/ 52 h 274"/>
              <a:gd name="T90" fmla="*/ 160 w 255"/>
              <a:gd name="T91" fmla="*/ 40 h 274"/>
              <a:gd name="T92" fmla="*/ 155 w 255"/>
              <a:gd name="T93" fmla="*/ 22 h 274"/>
              <a:gd name="T94" fmla="*/ 157 w 255"/>
              <a:gd name="T95" fmla="*/ 15 h 274"/>
              <a:gd name="T96" fmla="*/ 148 w 255"/>
              <a:gd name="T97" fmla="*/ 13 h 274"/>
              <a:gd name="T98" fmla="*/ 131 w 255"/>
              <a:gd name="T99" fmla="*/ 8 h 274"/>
              <a:gd name="T100" fmla="*/ 124 w 255"/>
              <a:gd name="T101" fmla="*/ 16 h 274"/>
              <a:gd name="T102" fmla="*/ 115 w 255"/>
              <a:gd name="T103" fmla="*/ 25 h 274"/>
              <a:gd name="T104" fmla="*/ 111 w 255"/>
              <a:gd name="T105" fmla="*/ 33 h 274"/>
              <a:gd name="T106" fmla="*/ 103 w 255"/>
              <a:gd name="T107" fmla="*/ 35 h 274"/>
              <a:gd name="T108" fmla="*/ 91 w 255"/>
              <a:gd name="T109" fmla="*/ 27 h 274"/>
              <a:gd name="T110" fmla="*/ 83 w 255"/>
              <a:gd name="T111" fmla="*/ 35 h 274"/>
              <a:gd name="T112" fmla="*/ 78 w 255"/>
              <a:gd name="T113" fmla="*/ 43 h 274"/>
              <a:gd name="T114" fmla="*/ 71 w 255"/>
              <a:gd name="T115" fmla="*/ 45 h 274"/>
              <a:gd name="T116" fmla="*/ 60 w 255"/>
              <a:gd name="T117" fmla="*/ 59 h 274"/>
              <a:gd name="T118" fmla="*/ 29 w 255"/>
              <a:gd name="T119" fmla="*/ 72 h 274"/>
              <a:gd name="T120" fmla="*/ 9 w 255"/>
              <a:gd name="T121" fmla="*/ 82 h 274"/>
              <a:gd name="T122" fmla="*/ 5 w 255"/>
              <a:gd name="T123" fmla="*/ 110 h 274"/>
              <a:gd name="T124" fmla="*/ 8 w 255"/>
              <a:gd name="T125" fmla="*/ 145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5" h="274">
                <a:moveTo>
                  <a:pt x="252" y="131"/>
                </a:moveTo>
                <a:cubicBezTo>
                  <a:pt x="252" y="129"/>
                  <a:pt x="252" y="129"/>
                  <a:pt x="252" y="129"/>
                </a:cubicBezTo>
                <a:cubicBezTo>
                  <a:pt x="252" y="130"/>
                  <a:pt x="252" y="130"/>
                  <a:pt x="252" y="130"/>
                </a:cubicBezTo>
                <a:cubicBezTo>
                  <a:pt x="252" y="131"/>
                  <a:pt x="252" y="131"/>
                  <a:pt x="252" y="131"/>
                </a:cubicBezTo>
                <a:close/>
                <a:moveTo>
                  <a:pt x="252" y="115"/>
                </a:moveTo>
                <a:cubicBezTo>
                  <a:pt x="252" y="113"/>
                  <a:pt x="252" y="113"/>
                  <a:pt x="252" y="113"/>
                </a:cubicBezTo>
                <a:cubicBezTo>
                  <a:pt x="252" y="112"/>
                  <a:pt x="252" y="112"/>
                  <a:pt x="252" y="112"/>
                </a:cubicBezTo>
                <a:cubicBezTo>
                  <a:pt x="252" y="111"/>
                  <a:pt x="252" y="111"/>
                  <a:pt x="252" y="111"/>
                </a:cubicBezTo>
                <a:cubicBezTo>
                  <a:pt x="253" y="110"/>
                  <a:pt x="253" y="110"/>
                  <a:pt x="253" y="110"/>
                </a:cubicBezTo>
                <a:cubicBezTo>
                  <a:pt x="254" y="108"/>
                  <a:pt x="254" y="108"/>
                  <a:pt x="254" y="108"/>
                </a:cubicBezTo>
                <a:cubicBezTo>
                  <a:pt x="254" y="107"/>
                  <a:pt x="254" y="107"/>
                  <a:pt x="254" y="107"/>
                </a:cubicBezTo>
                <a:cubicBezTo>
                  <a:pt x="254" y="106"/>
                  <a:pt x="254" y="106"/>
                  <a:pt x="254" y="106"/>
                </a:cubicBezTo>
                <a:cubicBezTo>
                  <a:pt x="254" y="106"/>
                  <a:pt x="254" y="106"/>
                  <a:pt x="254" y="106"/>
                </a:cubicBezTo>
                <a:cubicBezTo>
                  <a:pt x="255" y="108"/>
                  <a:pt x="255" y="108"/>
                  <a:pt x="255" y="108"/>
                </a:cubicBezTo>
                <a:cubicBezTo>
                  <a:pt x="254" y="110"/>
                  <a:pt x="254" y="110"/>
                  <a:pt x="254" y="110"/>
                </a:cubicBezTo>
                <a:cubicBezTo>
                  <a:pt x="253" y="112"/>
                  <a:pt x="253" y="112"/>
                  <a:pt x="253" y="112"/>
                </a:cubicBezTo>
                <a:cubicBezTo>
                  <a:pt x="253" y="114"/>
                  <a:pt x="253" y="114"/>
                  <a:pt x="253" y="114"/>
                </a:cubicBezTo>
                <a:cubicBezTo>
                  <a:pt x="253" y="115"/>
                  <a:pt x="253" y="115"/>
                  <a:pt x="253" y="115"/>
                </a:cubicBezTo>
                <a:cubicBezTo>
                  <a:pt x="252" y="115"/>
                  <a:pt x="252" y="115"/>
                  <a:pt x="252" y="115"/>
                </a:cubicBezTo>
                <a:close/>
                <a:moveTo>
                  <a:pt x="242" y="97"/>
                </a:moveTo>
                <a:cubicBezTo>
                  <a:pt x="243" y="98"/>
                  <a:pt x="243" y="98"/>
                  <a:pt x="243" y="98"/>
                </a:cubicBezTo>
                <a:cubicBezTo>
                  <a:pt x="244" y="99"/>
                  <a:pt x="244" y="99"/>
                  <a:pt x="244" y="99"/>
                </a:cubicBezTo>
                <a:cubicBezTo>
                  <a:pt x="244" y="98"/>
                  <a:pt x="244" y="98"/>
                  <a:pt x="244" y="98"/>
                </a:cubicBezTo>
                <a:cubicBezTo>
                  <a:pt x="243" y="97"/>
                  <a:pt x="243" y="97"/>
                  <a:pt x="243" y="97"/>
                </a:cubicBezTo>
                <a:cubicBezTo>
                  <a:pt x="243" y="97"/>
                  <a:pt x="243" y="97"/>
                  <a:pt x="243" y="97"/>
                </a:cubicBezTo>
                <a:cubicBezTo>
                  <a:pt x="243" y="97"/>
                  <a:pt x="243" y="97"/>
                  <a:pt x="243" y="97"/>
                </a:cubicBezTo>
                <a:cubicBezTo>
                  <a:pt x="242" y="96"/>
                  <a:pt x="242" y="96"/>
                  <a:pt x="242" y="96"/>
                </a:cubicBezTo>
                <a:cubicBezTo>
                  <a:pt x="242" y="97"/>
                  <a:pt x="242" y="97"/>
                  <a:pt x="242" y="97"/>
                </a:cubicBezTo>
                <a:close/>
                <a:moveTo>
                  <a:pt x="240" y="88"/>
                </a:moveTo>
                <a:cubicBezTo>
                  <a:pt x="240" y="87"/>
                  <a:pt x="240" y="87"/>
                  <a:pt x="240" y="87"/>
                </a:cubicBezTo>
                <a:cubicBezTo>
                  <a:pt x="240" y="87"/>
                  <a:pt x="240" y="87"/>
                  <a:pt x="240" y="87"/>
                </a:cubicBezTo>
                <a:cubicBezTo>
                  <a:pt x="240" y="88"/>
                  <a:pt x="240" y="88"/>
                  <a:pt x="240" y="88"/>
                </a:cubicBezTo>
                <a:close/>
                <a:moveTo>
                  <a:pt x="216" y="60"/>
                </a:moveTo>
                <a:cubicBezTo>
                  <a:pt x="217" y="59"/>
                  <a:pt x="217" y="59"/>
                  <a:pt x="217" y="59"/>
                </a:cubicBezTo>
                <a:cubicBezTo>
                  <a:pt x="216" y="58"/>
                  <a:pt x="216" y="58"/>
                  <a:pt x="216" y="58"/>
                </a:cubicBezTo>
                <a:cubicBezTo>
                  <a:pt x="217" y="58"/>
                  <a:pt x="217" y="58"/>
                  <a:pt x="217" y="58"/>
                </a:cubicBezTo>
                <a:cubicBezTo>
                  <a:pt x="217" y="57"/>
                  <a:pt x="217" y="57"/>
                  <a:pt x="217" y="57"/>
                </a:cubicBezTo>
                <a:cubicBezTo>
                  <a:pt x="217" y="59"/>
                  <a:pt x="217" y="59"/>
                  <a:pt x="217" y="59"/>
                </a:cubicBezTo>
                <a:cubicBezTo>
                  <a:pt x="217" y="61"/>
                  <a:pt x="217" y="61"/>
                  <a:pt x="217" y="61"/>
                </a:cubicBezTo>
                <a:cubicBezTo>
                  <a:pt x="216" y="60"/>
                  <a:pt x="216" y="60"/>
                  <a:pt x="216" y="60"/>
                </a:cubicBezTo>
                <a:close/>
                <a:moveTo>
                  <a:pt x="196" y="0"/>
                </a:moveTo>
                <a:cubicBezTo>
                  <a:pt x="196" y="1"/>
                  <a:pt x="196" y="1"/>
                  <a:pt x="196" y="1"/>
                </a:cubicBezTo>
                <a:cubicBezTo>
                  <a:pt x="197" y="0"/>
                  <a:pt x="197" y="0"/>
                  <a:pt x="197" y="0"/>
                </a:cubicBezTo>
                <a:cubicBezTo>
                  <a:pt x="196" y="0"/>
                  <a:pt x="196" y="0"/>
                  <a:pt x="196" y="0"/>
                </a:cubicBezTo>
                <a:close/>
                <a:moveTo>
                  <a:pt x="195" y="3"/>
                </a:moveTo>
                <a:cubicBezTo>
                  <a:pt x="195" y="5"/>
                  <a:pt x="195" y="5"/>
                  <a:pt x="195" y="5"/>
                </a:cubicBezTo>
                <a:cubicBezTo>
                  <a:pt x="195" y="5"/>
                  <a:pt x="195" y="5"/>
                  <a:pt x="195" y="5"/>
                </a:cubicBezTo>
                <a:cubicBezTo>
                  <a:pt x="196" y="5"/>
                  <a:pt x="196" y="5"/>
                  <a:pt x="196" y="5"/>
                </a:cubicBezTo>
                <a:cubicBezTo>
                  <a:pt x="196" y="4"/>
                  <a:pt x="196" y="4"/>
                  <a:pt x="196" y="4"/>
                </a:cubicBezTo>
                <a:cubicBezTo>
                  <a:pt x="195" y="3"/>
                  <a:pt x="195" y="3"/>
                  <a:pt x="195" y="3"/>
                </a:cubicBezTo>
                <a:close/>
                <a:moveTo>
                  <a:pt x="175" y="49"/>
                </a:moveTo>
                <a:cubicBezTo>
                  <a:pt x="175" y="49"/>
                  <a:pt x="175" y="49"/>
                  <a:pt x="175" y="49"/>
                </a:cubicBezTo>
                <a:cubicBezTo>
                  <a:pt x="176" y="49"/>
                  <a:pt x="176" y="49"/>
                  <a:pt x="176" y="49"/>
                </a:cubicBezTo>
                <a:cubicBezTo>
                  <a:pt x="176" y="48"/>
                  <a:pt x="176" y="48"/>
                  <a:pt x="176" y="48"/>
                </a:cubicBezTo>
                <a:cubicBezTo>
                  <a:pt x="175" y="49"/>
                  <a:pt x="175" y="49"/>
                  <a:pt x="175" y="49"/>
                </a:cubicBezTo>
                <a:close/>
                <a:moveTo>
                  <a:pt x="173" y="46"/>
                </a:moveTo>
                <a:cubicBezTo>
                  <a:pt x="174" y="47"/>
                  <a:pt x="174" y="47"/>
                  <a:pt x="174" y="47"/>
                </a:cubicBezTo>
                <a:cubicBezTo>
                  <a:pt x="174" y="46"/>
                  <a:pt x="174" y="46"/>
                  <a:pt x="174" y="46"/>
                </a:cubicBezTo>
                <a:cubicBezTo>
                  <a:pt x="175" y="45"/>
                  <a:pt x="175" y="45"/>
                  <a:pt x="175" y="45"/>
                </a:cubicBezTo>
                <a:cubicBezTo>
                  <a:pt x="177" y="45"/>
                  <a:pt x="177" y="45"/>
                  <a:pt x="177" y="45"/>
                </a:cubicBezTo>
                <a:cubicBezTo>
                  <a:pt x="177" y="45"/>
                  <a:pt x="177" y="45"/>
                  <a:pt x="177" y="45"/>
                </a:cubicBezTo>
                <a:cubicBezTo>
                  <a:pt x="175" y="44"/>
                  <a:pt x="175" y="44"/>
                  <a:pt x="175" y="44"/>
                </a:cubicBezTo>
                <a:cubicBezTo>
                  <a:pt x="173" y="45"/>
                  <a:pt x="173" y="45"/>
                  <a:pt x="173" y="45"/>
                </a:cubicBezTo>
                <a:cubicBezTo>
                  <a:pt x="173" y="45"/>
                  <a:pt x="173" y="46"/>
                  <a:pt x="173" y="46"/>
                </a:cubicBezTo>
                <a:close/>
                <a:moveTo>
                  <a:pt x="160" y="40"/>
                </a:moveTo>
                <a:cubicBezTo>
                  <a:pt x="160" y="39"/>
                  <a:pt x="160" y="39"/>
                  <a:pt x="160" y="39"/>
                </a:cubicBezTo>
                <a:cubicBezTo>
                  <a:pt x="160" y="38"/>
                  <a:pt x="160" y="38"/>
                  <a:pt x="160" y="38"/>
                </a:cubicBezTo>
                <a:cubicBezTo>
                  <a:pt x="161" y="39"/>
                  <a:pt x="161" y="39"/>
                  <a:pt x="161" y="39"/>
                </a:cubicBezTo>
                <a:cubicBezTo>
                  <a:pt x="160" y="40"/>
                  <a:pt x="160" y="40"/>
                  <a:pt x="160" y="40"/>
                </a:cubicBezTo>
                <a:close/>
                <a:moveTo>
                  <a:pt x="156" y="26"/>
                </a:moveTo>
                <a:cubicBezTo>
                  <a:pt x="156" y="26"/>
                  <a:pt x="156" y="26"/>
                  <a:pt x="156" y="26"/>
                </a:cubicBezTo>
                <a:cubicBezTo>
                  <a:pt x="156" y="26"/>
                  <a:pt x="156" y="26"/>
                  <a:pt x="156" y="26"/>
                </a:cubicBezTo>
                <a:cubicBezTo>
                  <a:pt x="156" y="25"/>
                  <a:pt x="156" y="25"/>
                  <a:pt x="156" y="25"/>
                </a:cubicBezTo>
                <a:cubicBezTo>
                  <a:pt x="156" y="25"/>
                  <a:pt x="156" y="25"/>
                  <a:pt x="156" y="25"/>
                </a:cubicBezTo>
                <a:cubicBezTo>
                  <a:pt x="157" y="26"/>
                  <a:pt x="157" y="26"/>
                  <a:pt x="157" y="26"/>
                </a:cubicBezTo>
                <a:cubicBezTo>
                  <a:pt x="156" y="26"/>
                  <a:pt x="156" y="26"/>
                  <a:pt x="156" y="26"/>
                </a:cubicBezTo>
                <a:close/>
                <a:moveTo>
                  <a:pt x="158" y="28"/>
                </a:moveTo>
                <a:cubicBezTo>
                  <a:pt x="157" y="29"/>
                  <a:pt x="157" y="29"/>
                  <a:pt x="157" y="29"/>
                </a:cubicBezTo>
                <a:cubicBezTo>
                  <a:pt x="158" y="29"/>
                  <a:pt x="158" y="29"/>
                  <a:pt x="158" y="29"/>
                </a:cubicBezTo>
                <a:cubicBezTo>
                  <a:pt x="159" y="28"/>
                  <a:pt x="159" y="28"/>
                  <a:pt x="159" y="28"/>
                </a:cubicBezTo>
                <a:cubicBezTo>
                  <a:pt x="160" y="28"/>
                  <a:pt x="160" y="28"/>
                  <a:pt x="160" y="28"/>
                </a:cubicBezTo>
                <a:cubicBezTo>
                  <a:pt x="161" y="27"/>
                  <a:pt x="161" y="27"/>
                  <a:pt x="161" y="27"/>
                </a:cubicBezTo>
                <a:cubicBezTo>
                  <a:pt x="160" y="27"/>
                  <a:pt x="160" y="27"/>
                  <a:pt x="160" y="27"/>
                </a:cubicBezTo>
                <a:cubicBezTo>
                  <a:pt x="160" y="27"/>
                  <a:pt x="160" y="27"/>
                  <a:pt x="160" y="27"/>
                </a:cubicBezTo>
                <a:cubicBezTo>
                  <a:pt x="159" y="27"/>
                  <a:pt x="159" y="27"/>
                  <a:pt x="159" y="27"/>
                </a:cubicBezTo>
                <a:cubicBezTo>
                  <a:pt x="160" y="26"/>
                  <a:pt x="160" y="26"/>
                  <a:pt x="160" y="26"/>
                </a:cubicBezTo>
                <a:cubicBezTo>
                  <a:pt x="160" y="26"/>
                  <a:pt x="160" y="26"/>
                  <a:pt x="160" y="26"/>
                </a:cubicBezTo>
                <a:cubicBezTo>
                  <a:pt x="159" y="26"/>
                  <a:pt x="159" y="26"/>
                  <a:pt x="159" y="26"/>
                </a:cubicBezTo>
                <a:cubicBezTo>
                  <a:pt x="159" y="25"/>
                  <a:pt x="159" y="25"/>
                  <a:pt x="159" y="25"/>
                </a:cubicBezTo>
                <a:cubicBezTo>
                  <a:pt x="159" y="25"/>
                  <a:pt x="159" y="25"/>
                  <a:pt x="159" y="25"/>
                </a:cubicBezTo>
                <a:cubicBezTo>
                  <a:pt x="158" y="26"/>
                  <a:pt x="158" y="26"/>
                  <a:pt x="158" y="26"/>
                </a:cubicBezTo>
                <a:cubicBezTo>
                  <a:pt x="157" y="26"/>
                  <a:pt x="157" y="26"/>
                  <a:pt x="157" y="26"/>
                </a:cubicBezTo>
                <a:cubicBezTo>
                  <a:pt x="158" y="26"/>
                  <a:pt x="158" y="26"/>
                  <a:pt x="158" y="26"/>
                </a:cubicBezTo>
                <a:cubicBezTo>
                  <a:pt x="157" y="27"/>
                  <a:pt x="157" y="27"/>
                  <a:pt x="157" y="27"/>
                </a:cubicBezTo>
                <a:cubicBezTo>
                  <a:pt x="158" y="28"/>
                  <a:pt x="158" y="28"/>
                  <a:pt x="158" y="28"/>
                </a:cubicBezTo>
                <a:close/>
                <a:moveTo>
                  <a:pt x="159" y="9"/>
                </a:moveTo>
                <a:cubicBezTo>
                  <a:pt x="160" y="9"/>
                  <a:pt x="160" y="9"/>
                  <a:pt x="160" y="9"/>
                </a:cubicBezTo>
                <a:cubicBezTo>
                  <a:pt x="160" y="8"/>
                  <a:pt x="160" y="8"/>
                  <a:pt x="160" y="8"/>
                </a:cubicBezTo>
                <a:cubicBezTo>
                  <a:pt x="161" y="7"/>
                  <a:pt x="161" y="7"/>
                  <a:pt x="161" y="7"/>
                </a:cubicBezTo>
                <a:cubicBezTo>
                  <a:pt x="160" y="7"/>
                  <a:pt x="160" y="7"/>
                  <a:pt x="160" y="7"/>
                </a:cubicBezTo>
                <a:cubicBezTo>
                  <a:pt x="159" y="8"/>
                  <a:pt x="159" y="8"/>
                  <a:pt x="159" y="8"/>
                </a:cubicBezTo>
                <a:cubicBezTo>
                  <a:pt x="159" y="9"/>
                  <a:pt x="159" y="9"/>
                  <a:pt x="159" y="9"/>
                </a:cubicBezTo>
                <a:close/>
                <a:moveTo>
                  <a:pt x="157" y="10"/>
                </a:moveTo>
                <a:cubicBezTo>
                  <a:pt x="158" y="10"/>
                  <a:pt x="158" y="10"/>
                  <a:pt x="158" y="10"/>
                </a:cubicBezTo>
                <a:cubicBezTo>
                  <a:pt x="158" y="9"/>
                  <a:pt x="158" y="9"/>
                  <a:pt x="158" y="9"/>
                </a:cubicBezTo>
                <a:cubicBezTo>
                  <a:pt x="157" y="10"/>
                  <a:pt x="157" y="10"/>
                  <a:pt x="157" y="10"/>
                </a:cubicBezTo>
                <a:close/>
                <a:moveTo>
                  <a:pt x="156" y="10"/>
                </a:moveTo>
                <a:cubicBezTo>
                  <a:pt x="157" y="11"/>
                  <a:pt x="157" y="11"/>
                  <a:pt x="157" y="11"/>
                </a:cubicBezTo>
                <a:cubicBezTo>
                  <a:pt x="157" y="10"/>
                  <a:pt x="157" y="10"/>
                  <a:pt x="157" y="10"/>
                </a:cubicBezTo>
                <a:cubicBezTo>
                  <a:pt x="156" y="10"/>
                  <a:pt x="156" y="10"/>
                  <a:pt x="156" y="10"/>
                </a:cubicBezTo>
                <a:close/>
                <a:moveTo>
                  <a:pt x="154" y="11"/>
                </a:moveTo>
                <a:cubicBezTo>
                  <a:pt x="155" y="11"/>
                  <a:pt x="155" y="11"/>
                  <a:pt x="155" y="11"/>
                </a:cubicBezTo>
                <a:cubicBezTo>
                  <a:pt x="155" y="11"/>
                  <a:pt x="155" y="11"/>
                  <a:pt x="155" y="11"/>
                </a:cubicBezTo>
                <a:cubicBezTo>
                  <a:pt x="154" y="11"/>
                  <a:pt x="154" y="11"/>
                  <a:pt x="154" y="11"/>
                </a:cubicBezTo>
                <a:close/>
                <a:moveTo>
                  <a:pt x="153" y="13"/>
                </a:moveTo>
                <a:cubicBezTo>
                  <a:pt x="152" y="12"/>
                  <a:pt x="152" y="12"/>
                  <a:pt x="152" y="12"/>
                </a:cubicBezTo>
                <a:cubicBezTo>
                  <a:pt x="154" y="12"/>
                  <a:pt x="154" y="12"/>
                  <a:pt x="154" y="12"/>
                </a:cubicBezTo>
                <a:cubicBezTo>
                  <a:pt x="155" y="12"/>
                  <a:pt x="155" y="12"/>
                  <a:pt x="155" y="12"/>
                </a:cubicBezTo>
                <a:cubicBezTo>
                  <a:pt x="154" y="12"/>
                  <a:pt x="154" y="12"/>
                  <a:pt x="154" y="12"/>
                </a:cubicBezTo>
                <a:cubicBezTo>
                  <a:pt x="153" y="13"/>
                  <a:pt x="153" y="13"/>
                  <a:pt x="153" y="13"/>
                </a:cubicBezTo>
                <a:cubicBezTo>
                  <a:pt x="153" y="13"/>
                  <a:pt x="153" y="13"/>
                  <a:pt x="153" y="13"/>
                </a:cubicBezTo>
                <a:close/>
                <a:moveTo>
                  <a:pt x="151" y="14"/>
                </a:moveTo>
                <a:cubicBezTo>
                  <a:pt x="151" y="14"/>
                  <a:pt x="151" y="14"/>
                  <a:pt x="151" y="14"/>
                </a:cubicBezTo>
                <a:cubicBezTo>
                  <a:pt x="152" y="14"/>
                  <a:pt x="152" y="14"/>
                  <a:pt x="152" y="14"/>
                </a:cubicBezTo>
                <a:cubicBezTo>
                  <a:pt x="152" y="13"/>
                  <a:pt x="152" y="13"/>
                  <a:pt x="152" y="13"/>
                </a:cubicBezTo>
                <a:cubicBezTo>
                  <a:pt x="151" y="14"/>
                  <a:pt x="151" y="14"/>
                  <a:pt x="151" y="14"/>
                </a:cubicBezTo>
                <a:close/>
                <a:moveTo>
                  <a:pt x="135" y="9"/>
                </a:moveTo>
                <a:cubicBezTo>
                  <a:pt x="134" y="7"/>
                  <a:pt x="134" y="7"/>
                  <a:pt x="134" y="7"/>
                </a:cubicBezTo>
                <a:cubicBezTo>
                  <a:pt x="134" y="6"/>
                  <a:pt x="134" y="6"/>
                  <a:pt x="134" y="6"/>
                </a:cubicBezTo>
                <a:cubicBezTo>
                  <a:pt x="135" y="6"/>
                  <a:pt x="135" y="6"/>
                  <a:pt x="135" y="6"/>
                </a:cubicBezTo>
                <a:cubicBezTo>
                  <a:pt x="135" y="7"/>
                  <a:pt x="135" y="7"/>
                  <a:pt x="135" y="7"/>
                </a:cubicBezTo>
                <a:cubicBezTo>
                  <a:pt x="135" y="9"/>
                  <a:pt x="135" y="9"/>
                  <a:pt x="135" y="9"/>
                </a:cubicBezTo>
                <a:close/>
                <a:moveTo>
                  <a:pt x="121" y="8"/>
                </a:moveTo>
                <a:cubicBezTo>
                  <a:pt x="121" y="9"/>
                  <a:pt x="121" y="9"/>
                  <a:pt x="121" y="9"/>
                </a:cubicBezTo>
                <a:cubicBezTo>
                  <a:pt x="122" y="11"/>
                  <a:pt x="122" y="11"/>
                  <a:pt x="122" y="11"/>
                </a:cubicBezTo>
                <a:cubicBezTo>
                  <a:pt x="123" y="12"/>
                  <a:pt x="123" y="12"/>
                  <a:pt x="123" y="12"/>
                </a:cubicBezTo>
                <a:cubicBezTo>
                  <a:pt x="124" y="13"/>
                  <a:pt x="124" y="13"/>
                  <a:pt x="124" y="13"/>
                </a:cubicBezTo>
                <a:cubicBezTo>
                  <a:pt x="127" y="10"/>
                  <a:pt x="127" y="10"/>
                  <a:pt x="127" y="10"/>
                </a:cubicBezTo>
                <a:cubicBezTo>
                  <a:pt x="127" y="10"/>
                  <a:pt x="127" y="10"/>
                  <a:pt x="127" y="10"/>
                </a:cubicBezTo>
                <a:cubicBezTo>
                  <a:pt x="127" y="10"/>
                  <a:pt x="127" y="10"/>
                  <a:pt x="127" y="10"/>
                </a:cubicBezTo>
                <a:cubicBezTo>
                  <a:pt x="128" y="9"/>
                  <a:pt x="128" y="9"/>
                  <a:pt x="128" y="9"/>
                </a:cubicBezTo>
                <a:cubicBezTo>
                  <a:pt x="127" y="9"/>
                  <a:pt x="127" y="9"/>
                  <a:pt x="127" y="9"/>
                </a:cubicBezTo>
                <a:cubicBezTo>
                  <a:pt x="127" y="8"/>
                  <a:pt x="127" y="8"/>
                  <a:pt x="127" y="8"/>
                </a:cubicBezTo>
                <a:cubicBezTo>
                  <a:pt x="126" y="8"/>
                  <a:pt x="126" y="8"/>
                  <a:pt x="126" y="8"/>
                </a:cubicBezTo>
                <a:cubicBezTo>
                  <a:pt x="126" y="8"/>
                  <a:pt x="126" y="8"/>
                  <a:pt x="126" y="8"/>
                </a:cubicBezTo>
                <a:cubicBezTo>
                  <a:pt x="124" y="8"/>
                  <a:pt x="124" y="8"/>
                  <a:pt x="124" y="8"/>
                </a:cubicBezTo>
                <a:cubicBezTo>
                  <a:pt x="123" y="9"/>
                  <a:pt x="123" y="9"/>
                  <a:pt x="123" y="9"/>
                </a:cubicBezTo>
                <a:cubicBezTo>
                  <a:pt x="123" y="9"/>
                  <a:pt x="123" y="9"/>
                  <a:pt x="123" y="9"/>
                </a:cubicBezTo>
                <a:cubicBezTo>
                  <a:pt x="122" y="8"/>
                  <a:pt x="122" y="8"/>
                  <a:pt x="122" y="8"/>
                </a:cubicBezTo>
                <a:cubicBezTo>
                  <a:pt x="122" y="8"/>
                  <a:pt x="122" y="8"/>
                  <a:pt x="122" y="8"/>
                </a:cubicBezTo>
                <a:cubicBezTo>
                  <a:pt x="121" y="8"/>
                  <a:pt x="121" y="8"/>
                  <a:pt x="121" y="8"/>
                </a:cubicBezTo>
                <a:cubicBezTo>
                  <a:pt x="120" y="8"/>
                  <a:pt x="120" y="8"/>
                  <a:pt x="120" y="8"/>
                </a:cubicBezTo>
                <a:cubicBezTo>
                  <a:pt x="121" y="8"/>
                  <a:pt x="121" y="8"/>
                  <a:pt x="121" y="8"/>
                </a:cubicBezTo>
                <a:close/>
                <a:moveTo>
                  <a:pt x="120" y="8"/>
                </a:moveTo>
                <a:cubicBezTo>
                  <a:pt x="121" y="11"/>
                  <a:pt x="121" y="11"/>
                  <a:pt x="121" y="11"/>
                </a:cubicBezTo>
                <a:cubicBezTo>
                  <a:pt x="122" y="11"/>
                  <a:pt x="122" y="11"/>
                  <a:pt x="122" y="11"/>
                </a:cubicBezTo>
                <a:cubicBezTo>
                  <a:pt x="122" y="11"/>
                  <a:pt x="122" y="11"/>
                  <a:pt x="122" y="11"/>
                </a:cubicBezTo>
                <a:cubicBezTo>
                  <a:pt x="121" y="11"/>
                  <a:pt x="121" y="11"/>
                  <a:pt x="121" y="11"/>
                </a:cubicBezTo>
                <a:cubicBezTo>
                  <a:pt x="120" y="11"/>
                  <a:pt x="120" y="11"/>
                  <a:pt x="120" y="11"/>
                </a:cubicBezTo>
                <a:cubicBezTo>
                  <a:pt x="119" y="11"/>
                  <a:pt x="119" y="11"/>
                  <a:pt x="119" y="11"/>
                </a:cubicBezTo>
                <a:cubicBezTo>
                  <a:pt x="119" y="10"/>
                  <a:pt x="119" y="10"/>
                  <a:pt x="119" y="10"/>
                </a:cubicBezTo>
                <a:cubicBezTo>
                  <a:pt x="119" y="10"/>
                  <a:pt x="119" y="10"/>
                  <a:pt x="119" y="10"/>
                </a:cubicBezTo>
                <a:cubicBezTo>
                  <a:pt x="120" y="10"/>
                  <a:pt x="120" y="10"/>
                  <a:pt x="120" y="10"/>
                </a:cubicBezTo>
                <a:cubicBezTo>
                  <a:pt x="120" y="10"/>
                  <a:pt x="120" y="10"/>
                  <a:pt x="120" y="10"/>
                </a:cubicBezTo>
                <a:cubicBezTo>
                  <a:pt x="119" y="10"/>
                  <a:pt x="119" y="10"/>
                  <a:pt x="119" y="10"/>
                </a:cubicBezTo>
                <a:cubicBezTo>
                  <a:pt x="120" y="9"/>
                  <a:pt x="120" y="9"/>
                  <a:pt x="120" y="9"/>
                </a:cubicBezTo>
                <a:cubicBezTo>
                  <a:pt x="119" y="9"/>
                  <a:pt x="119" y="9"/>
                  <a:pt x="119" y="9"/>
                </a:cubicBezTo>
                <a:cubicBezTo>
                  <a:pt x="120" y="8"/>
                  <a:pt x="120" y="8"/>
                  <a:pt x="120" y="8"/>
                </a:cubicBezTo>
                <a:close/>
                <a:moveTo>
                  <a:pt x="80" y="35"/>
                </a:moveTo>
                <a:cubicBezTo>
                  <a:pt x="81" y="36"/>
                  <a:pt x="81" y="36"/>
                  <a:pt x="81" y="36"/>
                </a:cubicBezTo>
                <a:cubicBezTo>
                  <a:pt x="82" y="36"/>
                  <a:pt x="82" y="36"/>
                  <a:pt x="82" y="36"/>
                </a:cubicBezTo>
                <a:cubicBezTo>
                  <a:pt x="81" y="35"/>
                  <a:pt x="81" y="35"/>
                  <a:pt x="81" y="35"/>
                </a:cubicBezTo>
                <a:cubicBezTo>
                  <a:pt x="81" y="35"/>
                  <a:pt x="80" y="35"/>
                  <a:pt x="80" y="35"/>
                </a:cubicBezTo>
                <a:close/>
                <a:moveTo>
                  <a:pt x="80" y="40"/>
                </a:moveTo>
                <a:cubicBezTo>
                  <a:pt x="80" y="38"/>
                  <a:pt x="80" y="38"/>
                  <a:pt x="80" y="38"/>
                </a:cubicBezTo>
                <a:cubicBezTo>
                  <a:pt x="80" y="37"/>
                  <a:pt x="80" y="37"/>
                  <a:pt x="80" y="37"/>
                </a:cubicBezTo>
                <a:cubicBezTo>
                  <a:pt x="80" y="39"/>
                  <a:pt x="80" y="39"/>
                  <a:pt x="80" y="39"/>
                </a:cubicBezTo>
                <a:cubicBezTo>
                  <a:pt x="80" y="40"/>
                  <a:pt x="80" y="40"/>
                  <a:pt x="80" y="40"/>
                </a:cubicBezTo>
                <a:close/>
                <a:moveTo>
                  <a:pt x="86" y="30"/>
                </a:moveTo>
                <a:cubicBezTo>
                  <a:pt x="85" y="30"/>
                  <a:pt x="85" y="30"/>
                  <a:pt x="85" y="30"/>
                </a:cubicBezTo>
                <a:cubicBezTo>
                  <a:pt x="85" y="30"/>
                  <a:pt x="85" y="30"/>
                  <a:pt x="85" y="30"/>
                </a:cubicBezTo>
                <a:cubicBezTo>
                  <a:pt x="86" y="30"/>
                  <a:pt x="86" y="30"/>
                  <a:pt x="86" y="30"/>
                </a:cubicBezTo>
                <a:cubicBezTo>
                  <a:pt x="86" y="30"/>
                  <a:pt x="86" y="30"/>
                  <a:pt x="86" y="30"/>
                </a:cubicBezTo>
                <a:close/>
                <a:moveTo>
                  <a:pt x="19" y="74"/>
                </a:moveTo>
                <a:cubicBezTo>
                  <a:pt x="19" y="73"/>
                  <a:pt x="19" y="73"/>
                  <a:pt x="19" y="73"/>
                </a:cubicBezTo>
                <a:cubicBezTo>
                  <a:pt x="20" y="71"/>
                  <a:pt x="20" y="71"/>
                  <a:pt x="20" y="71"/>
                </a:cubicBezTo>
                <a:cubicBezTo>
                  <a:pt x="20" y="73"/>
                  <a:pt x="20" y="73"/>
                  <a:pt x="20" y="73"/>
                </a:cubicBezTo>
                <a:cubicBezTo>
                  <a:pt x="19" y="74"/>
                  <a:pt x="19" y="74"/>
                  <a:pt x="19" y="74"/>
                </a:cubicBezTo>
                <a:close/>
                <a:moveTo>
                  <a:pt x="0" y="106"/>
                </a:moveTo>
                <a:cubicBezTo>
                  <a:pt x="1" y="103"/>
                  <a:pt x="1" y="103"/>
                  <a:pt x="1" y="103"/>
                </a:cubicBezTo>
                <a:cubicBezTo>
                  <a:pt x="1" y="105"/>
                  <a:pt x="1" y="105"/>
                  <a:pt x="1" y="105"/>
                </a:cubicBezTo>
                <a:cubicBezTo>
                  <a:pt x="1" y="105"/>
                  <a:pt x="0" y="106"/>
                  <a:pt x="0" y="106"/>
                </a:cubicBezTo>
                <a:close/>
                <a:moveTo>
                  <a:pt x="0" y="111"/>
                </a:moveTo>
                <a:cubicBezTo>
                  <a:pt x="0" y="108"/>
                  <a:pt x="0" y="108"/>
                  <a:pt x="0" y="108"/>
                </a:cubicBezTo>
                <a:cubicBezTo>
                  <a:pt x="0" y="107"/>
                  <a:pt x="0" y="107"/>
                  <a:pt x="0" y="107"/>
                </a:cubicBezTo>
                <a:cubicBezTo>
                  <a:pt x="1" y="109"/>
                  <a:pt x="1" y="109"/>
                  <a:pt x="1" y="109"/>
                </a:cubicBezTo>
                <a:cubicBezTo>
                  <a:pt x="0" y="111"/>
                  <a:pt x="0" y="111"/>
                  <a:pt x="0" y="111"/>
                </a:cubicBezTo>
                <a:close/>
                <a:moveTo>
                  <a:pt x="139" y="192"/>
                </a:moveTo>
                <a:cubicBezTo>
                  <a:pt x="139" y="193"/>
                  <a:pt x="139" y="193"/>
                  <a:pt x="139" y="193"/>
                </a:cubicBezTo>
                <a:cubicBezTo>
                  <a:pt x="140" y="194"/>
                  <a:pt x="140" y="194"/>
                  <a:pt x="140" y="194"/>
                </a:cubicBezTo>
                <a:cubicBezTo>
                  <a:pt x="140" y="194"/>
                  <a:pt x="140" y="194"/>
                  <a:pt x="140" y="194"/>
                </a:cubicBezTo>
                <a:cubicBezTo>
                  <a:pt x="140" y="195"/>
                  <a:pt x="140" y="195"/>
                  <a:pt x="140" y="195"/>
                </a:cubicBezTo>
                <a:cubicBezTo>
                  <a:pt x="141" y="195"/>
                  <a:pt x="141" y="195"/>
                  <a:pt x="141" y="195"/>
                </a:cubicBezTo>
                <a:cubicBezTo>
                  <a:pt x="142" y="194"/>
                  <a:pt x="142" y="194"/>
                  <a:pt x="142" y="194"/>
                </a:cubicBezTo>
                <a:cubicBezTo>
                  <a:pt x="143" y="195"/>
                  <a:pt x="143" y="195"/>
                  <a:pt x="143" y="195"/>
                </a:cubicBezTo>
                <a:cubicBezTo>
                  <a:pt x="142" y="195"/>
                  <a:pt x="142" y="195"/>
                  <a:pt x="142" y="195"/>
                </a:cubicBezTo>
                <a:cubicBezTo>
                  <a:pt x="139" y="195"/>
                  <a:pt x="139" y="195"/>
                  <a:pt x="139" y="195"/>
                </a:cubicBezTo>
                <a:cubicBezTo>
                  <a:pt x="139" y="196"/>
                  <a:pt x="139" y="196"/>
                  <a:pt x="139" y="196"/>
                </a:cubicBezTo>
                <a:cubicBezTo>
                  <a:pt x="138" y="196"/>
                  <a:pt x="138" y="196"/>
                  <a:pt x="138" y="196"/>
                </a:cubicBezTo>
                <a:cubicBezTo>
                  <a:pt x="138" y="196"/>
                  <a:pt x="138" y="196"/>
                  <a:pt x="138" y="196"/>
                </a:cubicBezTo>
                <a:cubicBezTo>
                  <a:pt x="138" y="196"/>
                  <a:pt x="138" y="196"/>
                  <a:pt x="138" y="196"/>
                </a:cubicBezTo>
                <a:cubicBezTo>
                  <a:pt x="137" y="196"/>
                  <a:pt x="137" y="196"/>
                  <a:pt x="137" y="196"/>
                </a:cubicBezTo>
                <a:cubicBezTo>
                  <a:pt x="136" y="196"/>
                  <a:pt x="136" y="196"/>
                  <a:pt x="136" y="196"/>
                </a:cubicBezTo>
                <a:cubicBezTo>
                  <a:pt x="135" y="196"/>
                  <a:pt x="135" y="196"/>
                  <a:pt x="135" y="196"/>
                </a:cubicBezTo>
                <a:cubicBezTo>
                  <a:pt x="135" y="196"/>
                  <a:pt x="135" y="196"/>
                  <a:pt x="135" y="196"/>
                </a:cubicBezTo>
                <a:cubicBezTo>
                  <a:pt x="133" y="196"/>
                  <a:pt x="133" y="196"/>
                  <a:pt x="133" y="196"/>
                </a:cubicBezTo>
                <a:cubicBezTo>
                  <a:pt x="132" y="195"/>
                  <a:pt x="132" y="195"/>
                  <a:pt x="132" y="195"/>
                </a:cubicBezTo>
                <a:cubicBezTo>
                  <a:pt x="133" y="194"/>
                  <a:pt x="133" y="194"/>
                  <a:pt x="133" y="194"/>
                </a:cubicBezTo>
                <a:cubicBezTo>
                  <a:pt x="134" y="194"/>
                  <a:pt x="134" y="194"/>
                  <a:pt x="134" y="194"/>
                </a:cubicBezTo>
                <a:cubicBezTo>
                  <a:pt x="137" y="193"/>
                  <a:pt x="137" y="193"/>
                  <a:pt x="137" y="193"/>
                </a:cubicBezTo>
                <a:cubicBezTo>
                  <a:pt x="139" y="193"/>
                  <a:pt x="139" y="193"/>
                  <a:pt x="139" y="193"/>
                </a:cubicBezTo>
                <a:cubicBezTo>
                  <a:pt x="139" y="192"/>
                  <a:pt x="139" y="192"/>
                  <a:pt x="139" y="192"/>
                </a:cubicBezTo>
                <a:close/>
                <a:moveTo>
                  <a:pt x="180" y="222"/>
                </a:moveTo>
                <a:cubicBezTo>
                  <a:pt x="181" y="222"/>
                  <a:pt x="181" y="222"/>
                  <a:pt x="181" y="222"/>
                </a:cubicBezTo>
                <a:cubicBezTo>
                  <a:pt x="181" y="222"/>
                  <a:pt x="181" y="222"/>
                  <a:pt x="181" y="222"/>
                </a:cubicBezTo>
                <a:cubicBezTo>
                  <a:pt x="181" y="223"/>
                  <a:pt x="181" y="223"/>
                  <a:pt x="181" y="223"/>
                </a:cubicBezTo>
                <a:cubicBezTo>
                  <a:pt x="180" y="222"/>
                  <a:pt x="180" y="222"/>
                  <a:pt x="180" y="222"/>
                </a:cubicBezTo>
                <a:close/>
                <a:moveTo>
                  <a:pt x="187" y="226"/>
                </a:moveTo>
                <a:cubicBezTo>
                  <a:pt x="187" y="227"/>
                  <a:pt x="187" y="227"/>
                  <a:pt x="187" y="227"/>
                </a:cubicBezTo>
                <a:cubicBezTo>
                  <a:pt x="188" y="226"/>
                  <a:pt x="188" y="226"/>
                  <a:pt x="188" y="226"/>
                </a:cubicBezTo>
                <a:cubicBezTo>
                  <a:pt x="187" y="226"/>
                  <a:pt x="187" y="226"/>
                  <a:pt x="187" y="226"/>
                </a:cubicBezTo>
                <a:close/>
                <a:moveTo>
                  <a:pt x="172" y="243"/>
                </a:moveTo>
                <a:cubicBezTo>
                  <a:pt x="172" y="244"/>
                  <a:pt x="172" y="244"/>
                  <a:pt x="172" y="244"/>
                </a:cubicBezTo>
                <a:cubicBezTo>
                  <a:pt x="173" y="244"/>
                  <a:pt x="173" y="244"/>
                  <a:pt x="173" y="244"/>
                </a:cubicBezTo>
                <a:cubicBezTo>
                  <a:pt x="173" y="244"/>
                  <a:pt x="173" y="244"/>
                  <a:pt x="173" y="244"/>
                </a:cubicBezTo>
                <a:cubicBezTo>
                  <a:pt x="173" y="243"/>
                  <a:pt x="173" y="243"/>
                  <a:pt x="173" y="243"/>
                </a:cubicBezTo>
                <a:cubicBezTo>
                  <a:pt x="172" y="243"/>
                  <a:pt x="172" y="243"/>
                  <a:pt x="172" y="243"/>
                </a:cubicBezTo>
                <a:close/>
                <a:moveTo>
                  <a:pt x="172" y="241"/>
                </a:moveTo>
                <a:cubicBezTo>
                  <a:pt x="172" y="242"/>
                  <a:pt x="172" y="242"/>
                  <a:pt x="172" y="242"/>
                </a:cubicBezTo>
                <a:cubicBezTo>
                  <a:pt x="173" y="242"/>
                  <a:pt x="173" y="242"/>
                  <a:pt x="173" y="242"/>
                </a:cubicBezTo>
                <a:cubicBezTo>
                  <a:pt x="173" y="241"/>
                  <a:pt x="173" y="241"/>
                  <a:pt x="173" y="241"/>
                </a:cubicBezTo>
                <a:cubicBezTo>
                  <a:pt x="172" y="241"/>
                  <a:pt x="172" y="241"/>
                  <a:pt x="172" y="241"/>
                </a:cubicBezTo>
                <a:close/>
                <a:moveTo>
                  <a:pt x="171" y="242"/>
                </a:moveTo>
                <a:cubicBezTo>
                  <a:pt x="171" y="242"/>
                  <a:pt x="171" y="242"/>
                  <a:pt x="171" y="242"/>
                </a:cubicBezTo>
                <a:cubicBezTo>
                  <a:pt x="171" y="241"/>
                  <a:pt x="171" y="241"/>
                  <a:pt x="171" y="241"/>
                </a:cubicBezTo>
                <a:cubicBezTo>
                  <a:pt x="172" y="240"/>
                  <a:pt x="172" y="240"/>
                  <a:pt x="172" y="240"/>
                </a:cubicBezTo>
                <a:cubicBezTo>
                  <a:pt x="172" y="241"/>
                  <a:pt x="172" y="241"/>
                  <a:pt x="172" y="241"/>
                </a:cubicBezTo>
                <a:cubicBezTo>
                  <a:pt x="171" y="242"/>
                  <a:pt x="171" y="242"/>
                  <a:pt x="171" y="242"/>
                </a:cubicBezTo>
                <a:close/>
                <a:moveTo>
                  <a:pt x="167" y="238"/>
                </a:moveTo>
                <a:cubicBezTo>
                  <a:pt x="167" y="237"/>
                  <a:pt x="167" y="237"/>
                  <a:pt x="167" y="237"/>
                </a:cubicBezTo>
                <a:cubicBezTo>
                  <a:pt x="167" y="236"/>
                  <a:pt x="167" y="236"/>
                  <a:pt x="167" y="236"/>
                </a:cubicBezTo>
                <a:cubicBezTo>
                  <a:pt x="168" y="235"/>
                  <a:pt x="168" y="235"/>
                  <a:pt x="168" y="235"/>
                </a:cubicBezTo>
                <a:cubicBezTo>
                  <a:pt x="168" y="234"/>
                  <a:pt x="168" y="234"/>
                  <a:pt x="168" y="234"/>
                </a:cubicBezTo>
                <a:cubicBezTo>
                  <a:pt x="169" y="233"/>
                  <a:pt x="169" y="233"/>
                  <a:pt x="169" y="233"/>
                </a:cubicBezTo>
                <a:cubicBezTo>
                  <a:pt x="169" y="232"/>
                  <a:pt x="169" y="232"/>
                  <a:pt x="169" y="232"/>
                </a:cubicBezTo>
                <a:cubicBezTo>
                  <a:pt x="170" y="233"/>
                  <a:pt x="170" y="233"/>
                  <a:pt x="170" y="233"/>
                </a:cubicBezTo>
                <a:cubicBezTo>
                  <a:pt x="170" y="235"/>
                  <a:pt x="170" y="235"/>
                  <a:pt x="170" y="235"/>
                </a:cubicBezTo>
                <a:cubicBezTo>
                  <a:pt x="170" y="235"/>
                  <a:pt x="170" y="235"/>
                  <a:pt x="170" y="235"/>
                </a:cubicBezTo>
                <a:cubicBezTo>
                  <a:pt x="169" y="237"/>
                  <a:pt x="169" y="237"/>
                  <a:pt x="169" y="237"/>
                </a:cubicBezTo>
                <a:cubicBezTo>
                  <a:pt x="169" y="237"/>
                  <a:pt x="169" y="237"/>
                  <a:pt x="169" y="237"/>
                </a:cubicBezTo>
                <a:cubicBezTo>
                  <a:pt x="168" y="238"/>
                  <a:pt x="168" y="238"/>
                  <a:pt x="168" y="238"/>
                </a:cubicBezTo>
                <a:cubicBezTo>
                  <a:pt x="167" y="238"/>
                  <a:pt x="167" y="238"/>
                  <a:pt x="167" y="238"/>
                </a:cubicBezTo>
                <a:close/>
                <a:moveTo>
                  <a:pt x="192" y="241"/>
                </a:moveTo>
                <a:cubicBezTo>
                  <a:pt x="195" y="240"/>
                  <a:pt x="195" y="240"/>
                  <a:pt x="195" y="240"/>
                </a:cubicBezTo>
                <a:cubicBezTo>
                  <a:pt x="195" y="239"/>
                  <a:pt x="195" y="239"/>
                  <a:pt x="195" y="239"/>
                </a:cubicBezTo>
                <a:cubicBezTo>
                  <a:pt x="192" y="237"/>
                  <a:pt x="192" y="237"/>
                  <a:pt x="192" y="237"/>
                </a:cubicBezTo>
                <a:cubicBezTo>
                  <a:pt x="192" y="237"/>
                  <a:pt x="192" y="237"/>
                  <a:pt x="192" y="237"/>
                </a:cubicBezTo>
                <a:cubicBezTo>
                  <a:pt x="192" y="238"/>
                  <a:pt x="192" y="238"/>
                  <a:pt x="192" y="238"/>
                </a:cubicBezTo>
                <a:cubicBezTo>
                  <a:pt x="191" y="239"/>
                  <a:pt x="191" y="239"/>
                  <a:pt x="191" y="239"/>
                </a:cubicBezTo>
                <a:cubicBezTo>
                  <a:pt x="192" y="240"/>
                  <a:pt x="192" y="240"/>
                  <a:pt x="192" y="240"/>
                </a:cubicBezTo>
                <a:cubicBezTo>
                  <a:pt x="192" y="241"/>
                  <a:pt x="192" y="241"/>
                  <a:pt x="192" y="241"/>
                </a:cubicBezTo>
                <a:close/>
                <a:moveTo>
                  <a:pt x="191" y="242"/>
                </a:moveTo>
                <a:cubicBezTo>
                  <a:pt x="191" y="243"/>
                  <a:pt x="191" y="243"/>
                  <a:pt x="191" y="243"/>
                </a:cubicBezTo>
                <a:cubicBezTo>
                  <a:pt x="193" y="243"/>
                  <a:pt x="193" y="243"/>
                  <a:pt x="193" y="243"/>
                </a:cubicBezTo>
                <a:cubicBezTo>
                  <a:pt x="194" y="244"/>
                  <a:pt x="194" y="244"/>
                  <a:pt x="194" y="244"/>
                </a:cubicBezTo>
                <a:cubicBezTo>
                  <a:pt x="195" y="243"/>
                  <a:pt x="195" y="243"/>
                  <a:pt x="195" y="243"/>
                </a:cubicBezTo>
                <a:cubicBezTo>
                  <a:pt x="193" y="242"/>
                  <a:pt x="193" y="242"/>
                  <a:pt x="193" y="242"/>
                </a:cubicBezTo>
                <a:cubicBezTo>
                  <a:pt x="192" y="242"/>
                  <a:pt x="192" y="242"/>
                  <a:pt x="192" y="242"/>
                </a:cubicBezTo>
                <a:cubicBezTo>
                  <a:pt x="191" y="242"/>
                  <a:pt x="191" y="242"/>
                  <a:pt x="191" y="242"/>
                </a:cubicBezTo>
                <a:close/>
                <a:moveTo>
                  <a:pt x="192" y="245"/>
                </a:moveTo>
                <a:cubicBezTo>
                  <a:pt x="192" y="245"/>
                  <a:pt x="192" y="245"/>
                  <a:pt x="192" y="245"/>
                </a:cubicBezTo>
                <a:cubicBezTo>
                  <a:pt x="193" y="244"/>
                  <a:pt x="193" y="244"/>
                  <a:pt x="193" y="244"/>
                </a:cubicBezTo>
                <a:cubicBezTo>
                  <a:pt x="192" y="245"/>
                  <a:pt x="192" y="245"/>
                  <a:pt x="192" y="245"/>
                </a:cubicBezTo>
                <a:close/>
                <a:moveTo>
                  <a:pt x="186" y="266"/>
                </a:moveTo>
                <a:cubicBezTo>
                  <a:pt x="186" y="265"/>
                  <a:pt x="186" y="265"/>
                  <a:pt x="186" y="265"/>
                </a:cubicBezTo>
                <a:cubicBezTo>
                  <a:pt x="186" y="265"/>
                  <a:pt x="186" y="265"/>
                  <a:pt x="186" y="265"/>
                </a:cubicBezTo>
                <a:cubicBezTo>
                  <a:pt x="186" y="266"/>
                  <a:pt x="186" y="266"/>
                  <a:pt x="186" y="266"/>
                </a:cubicBezTo>
                <a:close/>
                <a:moveTo>
                  <a:pt x="178" y="273"/>
                </a:moveTo>
                <a:cubicBezTo>
                  <a:pt x="177" y="272"/>
                  <a:pt x="177" y="272"/>
                  <a:pt x="177" y="272"/>
                </a:cubicBezTo>
                <a:cubicBezTo>
                  <a:pt x="178" y="271"/>
                  <a:pt x="178" y="271"/>
                  <a:pt x="178" y="271"/>
                </a:cubicBezTo>
                <a:cubicBezTo>
                  <a:pt x="178" y="270"/>
                  <a:pt x="178" y="270"/>
                  <a:pt x="178" y="270"/>
                </a:cubicBezTo>
                <a:cubicBezTo>
                  <a:pt x="179" y="270"/>
                  <a:pt x="179" y="270"/>
                  <a:pt x="179" y="270"/>
                </a:cubicBezTo>
                <a:cubicBezTo>
                  <a:pt x="179" y="270"/>
                  <a:pt x="179" y="270"/>
                  <a:pt x="179" y="270"/>
                </a:cubicBezTo>
                <a:cubicBezTo>
                  <a:pt x="179" y="271"/>
                  <a:pt x="179" y="271"/>
                  <a:pt x="179" y="271"/>
                </a:cubicBezTo>
                <a:cubicBezTo>
                  <a:pt x="178" y="273"/>
                  <a:pt x="178" y="273"/>
                  <a:pt x="178" y="273"/>
                </a:cubicBezTo>
                <a:close/>
                <a:moveTo>
                  <a:pt x="170" y="272"/>
                </a:moveTo>
                <a:cubicBezTo>
                  <a:pt x="170" y="271"/>
                  <a:pt x="170" y="271"/>
                  <a:pt x="170" y="271"/>
                </a:cubicBezTo>
                <a:cubicBezTo>
                  <a:pt x="171" y="270"/>
                  <a:pt x="171" y="270"/>
                  <a:pt x="171" y="270"/>
                </a:cubicBezTo>
                <a:cubicBezTo>
                  <a:pt x="170" y="270"/>
                  <a:pt x="170" y="270"/>
                  <a:pt x="170" y="270"/>
                </a:cubicBezTo>
                <a:cubicBezTo>
                  <a:pt x="169" y="268"/>
                  <a:pt x="169" y="268"/>
                  <a:pt x="169" y="268"/>
                </a:cubicBezTo>
                <a:cubicBezTo>
                  <a:pt x="170" y="268"/>
                  <a:pt x="170" y="268"/>
                  <a:pt x="170" y="268"/>
                </a:cubicBezTo>
                <a:cubicBezTo>
                  <a:pt x="169" y="267"/>
                  <a:pt x="169" y="267"/>
                  <a:pt x="169" y="267"/>
                </a:cubicBezTo>
                <a:cubicBezTo>
                  <a:pt x="169" y="264"/>
                  <a:pt x="169" y="264"/>
                  <a:pt x="169" y="264"/>
                </a:cubicBezTo>
                <a:cubicBezTo>
                  <a:pt x="169" y="263"/>
                  <a:pt x="169" y="263"/>
                  <a:pt x="169" y="263"/>
                </a:cubicBezTo>
                <a:cubicBezTo>
                  <a:pt x="168" y="262"/>
                  <a:pt x="168" y="262"/>
                  <a:pt x="168" y="262"/>
                </a:cubicBezTo>
                <a:cubicBezTo>
                  <a:pt x="168" y="260"/>
                  <a:pt x="168" y="260"/>
                  <a:pt x="168" y="260"/>
                </a:cubicBezTo>
                <a:cubicBezTo>
                  <a:pt x="169" y="259"/>
                  <a:pt x="169" y="259"/>
                  <a:pt x="169" y="259"/>
                </a:cubicBezTo>
                <a:cubicBezTo>
                  <a:pt x="170" y="260"/>
                  <a:pt x="170" y="260"/>
                  <a:pt x="170" y="260"/>
                </a:cubicBezTo>
                <a:cubicBezTo>
                  <a:pt x="171" y="260"/>
                  <a:pt x="171" y="260"/>
                  <a:pt x="171" y="260"/>
                </a:cubicBezTo>
                <a:cubicBezTo>
                  <a:pt x="170" y="259"/>
                  <a:pt x="170" y="259"/>
                  <a:pt x="170" y="259"/>
                </a:cubicBezTo>
                <a:cubicBezTo>
                  <a:pt x="170" y="258"/>
                  <a:pt x="170" y="258"/>
                  <a:pt x="170" y="258"/>
                </a:cubicBezTo>
                <a:cubicBezTo>
                  <a:pt x="169" y="258"/>
                  <a:pt x="169" y="258"/>
                  <a:pt x="169" y="258"/>
                </a:cubicBezTo>
                <a:cubicBezTo>
                  <a:pt x="170" y="256"/>
                  <a:pt x="170" y="256"/>
                  <a:pt x="170" y="256"/>
                </a:cubicBezTo>
                <a:cubicBezTo>
                  <a:pt x="169" y="254"/>
                  <a:pt x="169" y="254"/>
                  <a:pt x="169" y="254"/>
                </a:cubicBezTo>
                <a:cubicBezTo>
                  <a:pt x="169" y="251"/>
                  <a:pt x="169" y="251"/>
                  <a:pt x="169" y="251"/>
                </a:cubicBezTo>
                <a:cubicBezTo>
                  <a:pt x="170" y="249"/>
                  <a:pt x="170" y="249"/>
                  <a:pt x="170" y="249"/>
                </a:cubicBezTo>
                <a:cubicBezTo>
                  <a:pt x="169" y="247"/>
                  <a:pt x="169" y="247"/>
                  <a:pt x="169" y="247"/>
                </a:cubicBezTo>
                <a:cubicBezTo>
                  <a:pt x="169" y="246"/>
                  <a:pt x="169" y="246"/>
                  <a:pt x="169" y="246"/>
                </a:cubicBezTo>
                <a:cubicBezTo>
                  <a:pt x="170" y="245"/>
                  <a:pt x="170" y="245"/>
                  <a:pt x="170" y="245"/>
                </a:cubicBezTo>
                <a:cubicBezTo>
                  <a:pt x="170" y="244"/>
                  <a:pt x="170" y="244"/>
                  <a:pt x="170" y="244"/>
                </a:cubicBezTo>
                <a:cubicBezTo>
                  <a:pt x="170" y="243"/>
                  <a:pt x="170" y="243"/>
                  <a:pt x="170" y="243"/>
                </a:cubicBezTo>
                <a:cubicBezTo>
                  <a:pt x="171" y="244"/>
                  <a:pt x="171" y="244"/>
                  <a:pt x="171" y="244"/>
                </a:cubicBezTo>
                <a:cubicBezTo>
                  <a:pt x="173" y="245"/>
                  <a:pt x="173" y="245"/>
                  <a:pt x="173" y="245"/>
                </a:cubicBezTo>
                <a:cubicBezTo>
                  <a:pt x="173" y="246"/>
                  <a:pt x="173" y="246"/>
                  <a:pt x="173" y="246"/>
                </a:cubicBezTo>
                <a:cubicBezTo>
                  <a:pt x="174" y="245"/>
                  <a:pt x="174" y="245"/>
                  <a:pt x="174" y="245"/>
                </a:cubicBezTo>
                <a:cubicBezTo>
                  <a:pt x="174" y="244"/>
                  <a:pt x="174" y="244"/>
                  <a:pt x="174" y="244"/>
                </a:cubicBezTo>
                <a:cubicBezTo>
                  <a:pt x="174" y="246"/>
                  <a:pt x="174" y="246"/>
                  <a:pt x="174" y="246"/>
                </a:cubicBezTo>
                <a:cubicBezTo>
                  <a:pt x="176" y="247"/>
                  <a:pt x="176" y="247"/>
                  <a:pt x="176" y="247"/>
                </a:cubicBezTo>
                <a:cubicBezTo>
                  <a:pt x="178" y="249"/>
                  <a:pt x="178" y="249"/>
                  <a:pt x="178" y="249"/>
                </a:cubicBezTo>
                <a:cubicBezTo>
                  <a:pt x="179" y="250"/>
                  <a:pt x="179" y="250"/>
                  <a:pt x="179" y="250"/>
                </a:cubicBezTo>
                <a:cubicBezTo>
                  <a:pt x="180" y="249"/>
                  <a:pt x="180" y="249"/>
                  <a:pt x="180" y="249"/>
                </a:cubicBezTo>
                <a:cubicBezTo>
                  <a:pt x="181" y="249"/>
                  <a:pt x="181" y="249"/>
                  <a:pt x="181" y="249"/>
                </a:cubicBezTo>
                <a:cubicBezTo>
                  <a:pt x="182" y="250"/>
                  <a:pt x="182" y="250"/>
                  <a:pt x="182" y="250"/>
                </a:cubicBezTo>
                <a:cubicBezTo>
                  <a:pt x="182" y="249"/>
                  <a:pt x="182" y="249"/>
                  <a:pt x="182" y="249"/>
                </a:cubicBezTo>
                <a:cubicBezTo>
                  <a:pt x="183" y="248"/>
                  <a:pt x="183" y="248"/>
                  <a:pt x="183" y="248"/>
                </a:cubicBezTo>
                <a:cubicBezTo>
                  <a:pt x="187" y="249"/>
                  <a:pt x="187" y="249"/>
                  <a:pt x="187" y="249"/>
                </a:cubicBezTo>
                <a:cubicBezTo>
                  <a:pt x="187" y="248"/>
                  <a:pt x="187" y="248"/>
                  <a:pt x="187" y="248"/>
                </a:cubicBezTo>
                <a:cubicBezTo>
                  <a:pt x="188" y="247"/>
                  <a:pt x="188" y="247"/>
                  <a:pt x="188" y="247"/>
                </a:cubicBezTo>
                <a:cubicBezTo>
                  <a:pt x="189" y="247"/>
                  <a:pt x="189" y="247"/>
                  <a:pt x="189" y="247"/>
                </a:cubicBezTo>
                <a:cubicBezTo>
                  <a:pt x="189" y="248"/>
                  <a:pt x="189" y="248"/>
                  <a:pt x="189" y="248"/>
                </a:cubicBezTo>
                <a:cubicBezTo>
                  <a:pt x="190" y="247"/>
                  <a:pt x="190" y="247"/>
                  <a:pt x="190" y="247"/>
                </a:cubicBezTo>
                <a:cubicBezTo>
                  <a:pt x="191" y="247"/>
                  <a:pt x="191" y="247"/>
                  <a:pt x="191" y="247"/>
                </a:cubicBezTo>
                <a:cubicBezTo>
                  <a:pt x="192" y="248"/>
                  <a:pt x="192" y="248"/>
                  <a:pt x="192" y="248"/>
                </a:cubicBezTo>
                <a:cubicBezTo>
                  <a:pt x="192" y="249"/>
                  <a:pt x="192" y="249"/>
                  <a:pt x="192" y="249"/>
                </a:cubicBezTo>
                <a:cubicBezTo>
                  <a:pt x="191" y="252"/>
                  <a:pt x="191" y="252"/>
                  <a:pt x="191" y="252"/>
                </a:cubicBezTo>
                <a:cubicBezTo>
                  <a:pt x="190" y="253"/>
                  <a:pt x="190" y="253"/>
                  <a:pt x="190" y="253"/>
                </a:cubicBezTo>
                <a:cubicBezTo>
                  <a:pt x="190" y="256"/>
                  <a:pt x="190" y="256"/>
                  <a:pt x="190" y="256"/>
                </a:cubicBezTo>
                <a:cubicBezTo>
                  <a:pt x="189" y="257"/>
                  <a:pt x="189" y="257"/>
                  <a:pt x="189" y="257"/>
                </a:cubicBezTo>
                <a:cubicBezTo>
                  <a:pt x="189" y="258"/>
                  <a:pt x="189" y="258"/>
                  <a:pt x="189" y="258"/>
                </a:cubicBezTo>
                <a:cubicBezTo>
                  <a:pt x="189" y="259"/>
                  <a:pt x="189" y="259"/>
                  <a:pt x="189" y="259"/>
                </a:cubicBezTo>
                <a:cubicBezTo>
                  <a:pt x="189" y="260"/>
                  <a:pt x="189" y="260"/>
                  <a:pt x="189" y="260"/>
                </a:cubicBezTo>
                <a:cubicBezTo>
                  <a:pt x="188" y="262"/>
                  <a:pt x="188" y="262"/>
                  <a:pt x="188" y="262"/>
                </a:cubicBezTo>
                <a:cubicBezTo>
                  <a:pt x="188" y="261"/>
                  <a:pt x="188" y="261"/>
                  <a:pt x="188" y="261"/>
                </a:cubicBezTo>
                <a:cubicBezTo>
                  <a:pt x="188" y="259"/>
                  <a:pt x="188" y="259"/>
                  <a:pt x="188" y="259"/>
                </a:cubicBezTo>
                <a:cubicBezTo>
                  <a:pt x="187" y="260"/>
                  <a:pt x="187" y="260"/>
                  <a:pt x="187" y="260"/>
                </a:cubicBezTo>
                <a:cubicBezTo>
                  <a:pt x="186" y="261"/>
                  <a:pt x="186" y="261"/>
                  <a:pt x="186" y="261"/>
                </a:cubicBezTo>
                <a:cubicBezTo>
                  <a:pt x="186" y="263"/>
                  <a:pt x="186" y="263"/>
                  <a:pt x="186" y="263"/>
                </a:cubicBezTo>
                <a:cubicBezTo>
                  <a:pt x="186" y="264"/>
                  <a:pt x="186" y="264"/>
                  <a:pt x="186" y="264"/>
                </a:cubicBezTo>
                <a:cubicBezTo>
                  <a:pt x="185" y="264"/>
                  <a:pt x="185" y="264"/>
                  <a:pt x="185" y="264"/>
                </a:cubicBezTo>
                <a:cubicBezTo>
                  <a:pt x="185" y="265"/>
                  <a:pt x="185" y="265"/>
                  <a:pt x="185" y="265"/>
                </a:cubicBezTo>
                <a:cubicBezTo>
                  <a:pt x="184" y="266"/>
                  <a:pt x="184" y="266"/>
                  <a:pt x="184" y="266"/>
                </a:cubicBezTo>
                <a:cubicBezTo>
                  <a:pt x="185" y="267"/>
                  <a:pt x="185" y="267"/>
                  <a:pt x="185" y="267"/>
                </a:cubicBezTo>
                <a:cubicBezTo>
                  <a:pt x="185" y="268"/>
                  <a:pt x="185" y="268"/>
                  <a:pt x="185" y="268"/>
                </a:cubicBezTo>
                <a:cubicBezTo>
                  <a:pt x="183" y="270"/>
                  <a:pt x="183" y="270"/>
                  <a:pt x="183" y="270"/>
                </a:cubicBezTo>
                <a:cubicBezTo>
                  <a:pt x="183" y="270"/>
                  <a:pt x="183" y="270"/>
                  <a:pt x="183" y="270"/>
                </a:cubicBezTo>
                <a:cubicBezTo>
                  <a:pt x="182" y="270"/>
                  <a:pt x="182" y="270"/>
                  <a:pt x="182" y="270"/>
                </a:cubicBezTo>
                <a:cubicBezTo>
                  <a:pt x="182" y="268"/>
                  <a:pt x="182" y="268"/>
                  <a:pt x="182" y="268"/>
                </a:cubicBezTo>
                <a:cubicBezTo>
                  <a:pt x="183" y="269"/>
                  <a:pt x="183" y="269"/>
                  <a:pt x="183" y="269"/>
                </a:cubicBezTo>
                <a:cubicBezTo>
                  <a:pt x="183" y="268"/>
                  <a:pt x="183" y="268"/>
                  <a:pt x="183" y="268"/>
                </a:cubicBezTo>
                <a:cubicBezTo>
                  <a:pt x="182" y="267"/>
                  <a:pt x="182" y="267"/>
                  <a:pt x="182" y="267"/>
                </a:cubicBezTo>
                <a:cubicBezTo>
                  <a:pt x="181" y="267"/>
                  <a:pt x="181" y="267"/>
                  <a:pt x="181" y="267"/>
                </a:cubicBezTo>
                <a:cubicBezTo>
                  <a:pt x="181" y="269"/>
                  <a:pt x="181" y="269"/>
                  <a:pt x="181" y="269"/>
                </a:cubicBezTo>
                <a:cubicBezTo>
                  <a:pt x="180" y="268"/>
                  <a:pt x="180" y="268"/>
                  <a:pt x="180" y="268"/>
                </a:cubicBezTo>
                <a:cubicBezTo>
                  <a:pt x="180" y="267"/>
                  <a:pt x="180" y="267"/>
                  <a:pt x="180" y="267"/>
                </a:cubicBezTo>
                <a:cubicBezTo>
                  <a:pt x="179" y="268"/>
                  <a:pt x="179" y="268"/>
                  <a:pt x="179" y="268"/>
                </a:cubicBezTo>
                <a:cubicBezTo>
                  <a:pt x="178" y="269"/>
                  <a:pt x="178" y="269"/>
                  <a:pt x="178" y="269"/>
                </a:cubicBezTo>
                <a:cubicBezTo>
                  <a:pt x="178" y="270"/>
                  <a:pt x="178" y="270"/>
                  <a:pt x="178" y="270"/>
                </a:cubicBezTo>
                <a:cubicBezTo>
                  <a:pt x="177" y="269"/>
                  <a:pt x="177" y="269"/>
                  <a:pt x="177" y="269"/>
                </a:cubicBezTo>
                <a:cubicBezTo>
                  <a:pt x="177" y="271"/>
                  <a:pt x="177" y="271"/>
                  <a:pt x="177" y="271"/>
                </a:cubicBezTo>
                <a:cubicBezTo>
                  <a:pt x="176" y="272"/>
                  <a:pt x="176" y="272"/>
                  <a:pt x="176" y="272"/>
                </a:cubicBezTo>
                <a:cubicBezTo>
                  <a:pt x="175" y="274"/>
                  <a:pt x="175" y="274"/>
                  <a:pt x="175" y="274"/>
                </a:cubicBezTo>
                <a:cubicBezTo>
                  <a:pt x="174" y="274"/>
                  <a:pt x="174" y="274"/>
                  <a:pt x="174" y="274"/>
                </a:cubicBezTo>
                <a:cubicBezTo>
                  <a:pt x="174" y="273"/>
                  <a:pt x="174" y="273"/>
                  <a:pt x="174" y="273"/>
                </a:cubicBezTo>
                <a:cubicBezTo>
                  <a:pt x="174" y="272"/>
                  <a:pt x="174" y="272"/>
                  <a:pt x="174" y="272"/>
                </a:cubicBezTo>
                <a:cubicBezTo>
                  <a:pt x="173" y="273"/>
                  <a:pt x="173" y="273"/>
                  <a:pt x="173" y="273"/>
                </a:cubicBezTo>
                <a:cubicBezTo>
                  <a:pt x="172" y="272"/>
                  <a:pt x="172" y="272"/>
                  <a:pt x="172" y="272"/>
                </a:cubicBezTo>
                <a:cubicBezTo>
                  <a:pt x="171" y="273"/>
                  <a:pt x="171" y="273"/>
                  <a:pt x="171" y="273"/>
                </a:cubicBezTo>
                <a:cubicBezTo>
                  <a:pt x="171" y="273"/>
                  <a:pt x="170" y="272"/>
                  <a:pt x="170" y="272"/>
                </a:cubicBezTo>
                <a:close/>
                <a:moveTo>
                  <a:pt x="2" y="174"/>
                </a:moveTo>
                <a:cubicBezTo>
                  <a:pt x="3" y="175"/>
                  <a:pt x="3" y="175"/>
                  <a:pt x="3" y="175"/>
                </a:cubicBezTo>
                <a:cubicBezTo>
                  <a:pt x="4" y="175"/>
                  <a:pt x="4" y="175"/>
                  <a:pt x="4" y="175"/>
                </a:cubicBezTo>
                <a:cubicBezTo>
                  <a:pt x="7" y="177"/>
                  <a:pt x="7" y="177"/>
                  <a:pt x="7" y="177"/>
                </a:cubicBezTo>
                <a:cubicBezTo>
                  <a:pt x="7" y="178"/>
                  <a:pt x="7" y="178"/>
                  <a:pt x="7" y="178"/>
                </a:cubicBezTo>
                <a:cubicBezTo>
                  <a:pt x="7" y="179"/>
                  <a:pt x="7" y="179"/>
                  <a:pt x="7" y="179"/>
                </a:cubicBezTo>
                <a:cubicBezTo>
                  <a:pt x="9" y="179"/>
                  <a:pt x="9" y="179"/>
                  <a:pt x="9" y="179"/>
                </a:cubicBezTo>
                <a:cubicBezTo>
                  <a:pt x="9" y="180"/>
                  <a:pt x="9" y="180"/>
                  <a:pt x="9" y="180"/>
                </a:cubicBezTo>
                <a:cubicBezTo>
                  <a:pt x="11" y="180"/>
                  <a:pt x="11" y="180"/>
                  <a:pt x="11" y="180"/>
                </a:cubicBezTo>
                <a:cubicBezTo>
                  <a:pt x="12" y="180"/>
                  <a:pt x="12" y="180"/>
                  <a:pt x="12" y="180"/>
                </a:cubicBezTo>
                <a:cubicBezTo>
                  <a:pt x="12" y="181"/>
                  <a:pt x="12" y="181"/>
                  <a:pt x="12" y="181"/>
                </a:cubicBezTo>
                <a:cubicBezTo>
                  <a:pt x="14" y="181"/>
                  <a:pt x="14" y="181"/>
                  <a:pt x="14" y="181"/>
                </a:cubicBezTo>
                <a:cubicBezTo>
                  <a:pt x="15" y="180"/>
                  <a:pt x="15" y="180"/>
                  <a:pt x="15" y="180"/>
                </a:cubicBezTo>
                <a:cubicBezTo>
                  <a:pt x="16" y="181"/>
                  <a:pt x="16" y="181"/>
                  <a:pt x="16" y="181"/>
                </a:cubicBezTo>
                <a:cubicBezTo>
                  <a:pt x="16" y="181"/>
                  <a:pt x="16" y="181"/>
                  <a:pt x="16" y="181"/>
                </a:cubicBezTo>
                <a:cubicBezTo>
                  <a:pt x="17" y="181"/>
                  <a:pt x="17" y="181"/>
                  <a:pt x="17" y="181"/>
                </a:cubicBezTo>
                <a:cubicBezTo>
                  <a:pt x="19" y="181"/>
                  <a:pt x="19" y="181"/>
                  <a:pt x="19" y="181"/>
                </a:cubicBezTo>
                <a:cubicBezTo>
                  <a:pt x="20" y="181"/>
                  <a:pt x="20" y="181"/>
                  <a:pt x="20" y="181"/>
                </a:cubicBezTo>
                <a:cubicBezTo>
                  <a:pt x="20" y="180"/>
                  <a:pt x="20" y="180"/>
                  <a:pt x="20" y="180"/>
                </a:cubicBezTo>
                <a:cubicBezTo>
                  <a:pt x="21" y="180"/>
                  <a:pt x="21" y="180"/>
                  <a:pt x="21" y="180"/>
                </a:cubicBezTo>
                <a:cubicBezTo>
                  <a:pt x="22" y="178"/>
                  <a:pt x="22" y="178"/>
                  <a:pt x="22" y="178"/>
                </a:cubicBezTo>
                <a:cubicBezTo>
                  <a:pt x="24" y="178"/>
                  <a:pt x="24" y="178"/>
                  <a:pt x="24" y="178"/>
                </a:cubicBezTo>
                <a:cubicBezTo>
                  <a:pt x="24" y="177"/>
                  <a:pt x="24" y="177"/>
                  <a:pt x="24" y="177"/>
                </a:cubicBezTo>
                <a:cubicBezTo>
                  <a:pt x="25" y="177"/>
                  <a:pt x="25" y="177"/>
                  <a:pt x="25" y="177"/>
                </a:cubicBezTo>
                <a:cubicBezTo>
                  <a:pt x="26" y="177"/>
                  <a:pt x="26" y="177"/>
                  <a:pt x="26" y="177"/>
                </a:cubicBezTo>
                <a:cubicBezTo>
                  <a:pt x="27" y="178"/>
                  <a:pt x="27" y="178"/>
                  <a:pt x="27" y="178"/>
                </a:cubicBezTo>
                <a:cubicBezTo>
                  <a:pt x="28" y="176"/>
                  <a:pt x="28" y="176"/>
                  <a:pt x="28" y="176"/>
                </a:cubicBezTo>
                <a:cubicBezTo>
                  <a:pt x="29" y="176"/>
                  <a:pt x="29" y="176"/>
                  <a:pt x="29" y="176"/>
                </a:cubicBezTo>
                <a:cubicBezTo>
                  <a:pt x="29" y="176"/>
                  <a:pt x="29" y="176"/>
                  <a:pt x="29" y="176"/>
                </a:cubicBezTo>
                <a:cubicBezTo>
                  <a:pt x="30" y="175"/>
                  <a:pt x="30" y="175"/>
                  <a:pt x="30" y="175"/>
                </a:cubicBezTo>
                <a:cubicBezTo>
                  <a:pt x="33" y="172"/>
                  <a:pt x="33" y="172"/>
                  <a:pt x="33" y="172"/>
                </a:cubicBezTo>
                <a:cubicBezTo>
                  <a:pt x="34" y="173"/>
                  <a:pt x="34" y="173"/>
                  <a:pt x="34" y="173"/>
                </a:cubicBezTo>
                <a:cubicBezTo>
                  <a:pt x="35" y="173"/>
                  <a:pt x="35" y="173"/>
                  <a:pt x="35" y="173"/>
                </a:cubicBezTo>
                <a:cubicBezTo>
                  <a:pt x="36" y="172"/>
                  <a:pt x="36" y="172"/>
                  <a:pt x="36" y="172"/>
                </a:cubicBezTo>
                <a:cubicBezTo>
                  <a:pt x="40" y="172"/>
                  <a:pt x="40" y="172"/>
                  <a:pt x="40" y="172"/>
                </a:cubicBezTo>
                <a:cubicBezTo>
                  <a:pt x="40" y="172"/>
                  <a:pt x="40" y="172"/>
                  <a:pt x="40" y="172"/>
                </a:cubicBezTo>
                <a:cubicBezTo>
                  <a:pt x="42" y="172"/>
                  <a:pt x="42" y="172"/>
                  <a:pt x="42" y="172"/>
                </a:cubicBezTo>
                <a:cubicBezTo>
                  <a:pt x="43" y="172"/>
                  <a:pt x="43" y="172"/>
                  <a:pt x="43" y="172"/>
                </a:cubicBezTo>
                <a:cubicBezTo>
                  <a:pt x="44" y="172"/>
                  <a:pt x="44" y="172"/>
                  <a:pt x="44" y="172"/>
                </a:cubicBezTo>
                <a:cubicBezTo>
                  <a:pt x="45" y="172"/>
                  <a:pt x="45" y="172"/>
                  <a:pt x="45" y="172"/>
                </a:cubicBezTo>
                <a:cubicBezTo>
                  <a:pt x="46" y="173"/>
                  <a:pt x="46" y="173"/>
                  <a:pt x="46" y="173"/>
                </a:cubicBezTo>
                <a:cubicBezTo>
                  <a:pt x="47" y="173"/>
                  <a:pt x="47" y="173"/>
                  <a:pt x="47" y="173"/>
                </a:cubicBezTo>
                <a:cubicBezTo>
                  <a:pt x="48" y="173"/>
                  <a:pt x="48" y="173"/>
                  <a:pt x="48" y="173"/>
                </a:cubicBezTo>
                <a:cubicBezTo>
                  <a:pt x="48" y="173"/>
                  <a:pt x="48" y="173"/>
                  <a:pt x="48" y="173"/>
                </a:cubicBezTo>
                <a:cubicBezTo>
                  <a:pt x="49" y="173"/>
                  <a:pt x="49" y="173"/>
                  <a:pt x="49" y="173"/>
                </a:cubicBezTo>
                <a:cubicBezTo>
                  <a:pt x="52" y="173"/>
                  <a:pt x="52" y="173"/>
                  <a:pt x="52" y="173"/>
                </a:cubicBezTo>
                <a:cubicBezTo>
                  <a:pt x="51" y="174"/>
                  <a:pt x="51" y="174"/>
                  <a:pt x="51" y="174"/>
                </a:cubicBezTo>
                <a:cubicBezTo>
                  <a:pt x="52" y="174"/>
                  <a:pt x="52" y="174"/>
                  <a:pt x="52" y="174"/>
                </a:cubicBezTo>
                <a:cubicBezTo>
                  <a:pt x="53" y="173"/>
                  <a:pt x="53" y="173"/>
                  <a:pt x="53" y="173"/>
                </a:cubicBezTo>
                <a:cubicBezTo>
                  <a:pt x="55" y="173"/>
                  <a:pt x="55" y="173"/>
                  <a:pt x="55" y="173"/>
                </a:cubicBezTo>
                <a:cubicBezTo>
                  <a:pt x="56" y="172"/>
                  <a:pt x="56" y="172"/>
                  <a:pt x="56" y="172"/>
                </a:cubicBezTo>
                <a:cubicBezTo>
                  <a:pt x="57" y="170"/>
                  <a:pt x="57" y="170"/>
                  <a:pt x="57" y="170"/>
                </a:cubicBezTo>
                <a:cubicBezTo>
                  <a:pt x="57" y="170"/>
                  <a:pt x="57" y="170"/>
                  <a:pt x="57" y="170"/>
                </a:cubicBezTo>
                <a:cubicBezTo>
                  <a:pt x="59" y="169"/>
                  <a:pt x="59" y="169"/>
                  <a:pt x="59" y="169"/>
                </a:cubicBezTo>
                <a:cubicBezTo>
                  <a:pt x="60" y="167"/>
                  <a:pt x="60" y="167"/>
                  <a:pt x="60" y="167"/>
                </a:cubicBezTo>
                <a:cubicBezTo>
                  <a:pt x="61" y="165"/>
                  <a:pt x="61" y="165"/>
                  <a:pt x="61" y="165"/>
                </a:cubicBezTo>
                <a:cubicBezTo>
                  <a:pt x="63" y="165"/>
                  <a:pt x="63" y="165"/>
                  <a:pt x="63" y="165"/>
                </a:cubicBezTo>
                <a:cubicBezTo>
                  <a:pt x="64" y="165"/>
                  <a:pt x="64" y="165"/>
                  <a:pt x="64" y="165"/>
                </a:cubicBezTo>
                <a:cubicBezTo>
                  <a:pt x="66" y="164"/>
                  <a:pt x="66" y="164"/>
                  <a:pt x="66" y="164"/>
                </a:cubicBezTo>
                <a:cubicBezTo>
                  <a:pt x="69" y="162"/>
                  <a:pt x="69" y="162"/>
                  <a:pt x="69" y="162"/>
                </a:cubicBezTo>
                <a:cubicBezTo>
                  <a:pt x="72" y="160"/>
                  <a:pt x="72" y="160"/>
                  <a:pt x="72" y="160"/>
                </a:cubicBezTo>
                <a:cubicBezTo>
                  <a:pt x="72" y="160"/>
                  <a:pt x="72" y="160"/>
                  <a:pt x="72" y="160"/>
                </a:cubicBezTo>
                <a:cubicBezTo>
                  <a:pt x="73" y="160"/>
                  <a:pt x="73" y="160"/>
                  <a:pt x="73" y="160"/>
                </a:cubicBezTo>
                <a:cubicBezTo>
                  <a:pt x="74" y="160"/>
                  <a:pt x="74" y="160"/>
                  <a:pt x="74" y="160"/>
                </a:cubicBezTo>
                <a:cubicBezTo>
                  <a:pt x="76" y="161"/>
                  <a:pt x="76" y="161"/>
                  <a:pt x="76" y="161"/>
                </a:cubicBezTo>
                <a:cubicBezTo>
                  <a:pt x="78" y="161"/>
                  <a:pt x="78" y="161"/>
                  <a:pt x="78" y="161"/>
                </a:cubicBezTo>
                <a:cubicBezTo>
                  <a:pt x="79" y="161"/>
                  <a:pt x="79" y="161"/>
                  <a:pt x="79" y="161"/>
                </a:cubicBezTo>
                <a:cubicBezTo>
                  <a:pt x="82" y="161"/>
                  <a:pt x="82" y="161"/>
                  <a:pt x="82" y="161"/>
                </a:cubicBezTo>
                <a:cubicBezTo>
                  <a:pt x="85" y="159"/>
                  <a:pt x="85" y="159"/>
                  <a:pt x="85" y="159"/>
                </a:cubicBezTo>
                <a:cubicBezTo>
                  <a:pt x="87" y="159"/>
                  <a:pt x="87" y="159"/>
                  <a:pt x="87" y="159"/>
                </a:cubicBezTo>
                <a:cubicBezTo>
                  <a:pt x="89" y="158"/>
                  <a:pt x="89" y="158"/>
                  <a:pt x="89" y="158"/>
                </a:cubicBezTo>
                <a:cubicBezTo>
                  <a:pt x="90" y="158"/>
                  <a:pt x="90" y="158"/>
                  <a:pt x="90" y="158"/>
                </a:cubicBezTo>
                <a:cubicBezTo>
                  <a:pt x="91" y="157"/>
                  <a:pt x="91" y="157"/>
                  <a:pt x="91" y="157"/>
                </a:cubicBezTo>
                <a:cubicBezTo>
                  <a:pt x="94" y="156"/>
                  <a:pt x="94" y="156"/>
                  <a:pt x="94" y="156"/>
                </a:cubicBezTo>
                <a:cubicBezTo>
                  <a:pt x="101" y="156"/>
                  <a:pt x="101" y="156"/>
                  <a:pt x="101" y="156"/>
                </a:cubicBezTo>
                <a:cubicBezTo>
                  <a:pt x="103" y="157"/>
                  <a:pt x="103" y="157"/>
                  <a:pt x="103" y="157"/>
                </a:cubicBezTo>
                <a:cubicBezTo>
                  <a:pt x="105" y="157"/>
                  <a:pt x="105" y="157"/>
                  <a:pt x="105" y="157"/>
                </a:cubicBezTo>
                <a:cubicBezTo>
                  <a:pt x="107" y="156"/>
                  <a:pt x="107" y="156"/>
                  <a:pt x="107" y="156"/>
                </a:cubicBezTo>
                <a:cubicBezTo>
                  <a:pt x="108" y="156"/>
                  <a:pt x="108" y="156"/>
                  <a:pt x="108" y="156"/>
                </a:cubicBezTo>
                <a:cubicBezTo>
                  <a:pt x="110" y="158"/>
                  <a:pt x="110" y="158"/>
                  <a:pt x="110" y="158"/>
                </a:cubicBezTo>
                <a:cubicBezTo>
                  <a:pt x="112" y="160"/>
                  <a:pt x="112" y="160"/>
                  <a:pt x="112" y="160"/>
                </a:cubicBezTo>
                <a:cubicBezTo>
                  <a:pt x="113" y="161"/>
                  <a:pt x="113" y="161"/>
                  <a:pt x="113" y="161"/>
                </a:cubicBezTo>
                <a:cubicBezTo>
                  <a:pt x="113" y="160"/>
                  <a:pt x="113" y="160"/>
                  <a:pt x="113" y="160"/>
                </a:cubicBezTo>
                <a:cubicBezTo>
                  <a:pt x="114" y="160"/>
                  <a:pt x="114" y="160"/>
                  <a:pt x="114" y="160"/>
                </a:cubicBezTo>
                <a:cubicBezTo>
                  <a:pt x="115" y="160"/>
                  <a:pt x="115" y="160"/>
                  <a:pt x="115" y="160"/>
                </a:cubicBezTo>
                <a:cubicBezTo>
                  <a:pt x="116" y="160"/>
                  <a:pt x="116" y="160"/>
                  <a:pt x="116" y="160"/>
                </a:cubicBezTo>
                <a:cubicBezTo>
                  <a:pt x="117" y="160"/>
                  <a:pt x="117" y="160"/>
                  <a:pt x="117" y="160"/>
                </a:cubicBezTo>
                <a:cubicBezTo>
                  <a:pt x="118" y="162"/>
                  <a:pt x="118" y="162"/>
                  <a:pt x="118" y="162"/>
                </a:cubicBezTo>
                <a:cubicBezTo>
                  <a:pt x="120" y="162"/>
                  <a:pt x="120" y="162"/>
                  <a:pt x="120" y="162"/>
                </a:cubicBezTo>
                <a:cubicBezTo>
                  <a:pt x="120" y="162"/>
                  <a:pt x="120" y="162"/>
                  <a:pt x="120" y="162"/>
                </a:cubicBezTo>
                <a:cubicBezTo>
                  <a:pt x="123" y="164"/>
                  <a:pt x="123" y="164"/>
                  <a:pt x="123" y="164"/>
                </a:cubicBezTo>
                <a:cubicBezTo>
                  <a:pt x="123" y="165"/>
                  <a:pt x="123" y="165"/>
                  <a:pt x="123" y="165"/>
                </a:cubicBezTo>
                <a:cubicBezTo>
                  <a:pt x="124" y="165"/>
                  <a:pt x="124" y="165"/>
                  <a:pt x="124" y="165"/>
                </a:cubicBezTo>
                <a:cubicBezTo>
                  <a:pt x="125" y="166"/>
                  <a:pt x="125" y="166"/>
                  <a:pt x="125" y="166"/>
                </a:cubicBezTo>
                <a:cubicBezTo>
                  <a:pt x="124" y="167"/>
                  <a:pt x="124" y="167"/>
                  <a:pt x="124" y="167"/>
                </a:cubicBezTo>
                <a:cubicBezTo>
                  <a:pt x="123" y="167"/>
                  <a:pt x="123" y="167"/>
                  <a:pt x="123" y="167"/>
                </a:cubicBezTo>
                <a:cubicBezTo>
                  <a:pt x="123" y="168"/>
                  <a:pt x="123" y="168"/>
                  <a:pt x="123" y="168"/>
                </a:cubicBezTo>
                <a:cubicBezTo>
                  <a:pt x="124" y="170"/>
                  <a:pt x="124" y="170"/>
                  <a:pt x="124" y="170"/>
                </a:cubicBezTo>
                <a:cubicBezTo>
                  <a:pt x="125" y="170"/>
                  <a:pt x="125" y="170"/>
                  <a:pt x="125" y="170"/>
                </a:cubicBezTo>
                <a:cubicBezTo>
                  <a:pt x="126" y="172"/>
                  <a:pt x="126" y="172"/>
                  <a:pt x="126" y="172"/>
                </a:cubicBezTo>
                <a:cubicBezTo>
                  <a:pt x="127" y="173"/>
                  <a:pt x="127" y="173"/>
                  <a:pt x="127" y="173"/>
                </a:cubicBezTo>
                <a:cubicBezTo>
                  <a:pt x="127" y="175"/>
                  <a:pt x="127" y="175"/>
                  <a:pt x="127" y="175"/>
                </a:cubicBezTo>
                <a:cubicBezTo>
                  <a:pt x="128" y="178"/>
                  <a:pt x="128" y="178"/>
                  <a:pt x="128" y="178"/>
                </a:cubicBezTo>
                <a:cubicBezTo>
                  <a:pt x="128" y="179"/>
                  <a:pt x="128" y="179"/>
                  <a:pt x="128" y="179"/>
                </a:cubicBezTo>
                <a:cubicBezTo>
                  <a:pt x="128" y="180"/>
                  <a:pt x="128" y="180"/>
                  <a:pt x="128" y="180"/>
                </a:cubicBezTo>
                <a:cubicBezTo>
                  <a:pt x="128" y="182"/>
                  <a:pt x="128" y="182"/>
                  <a:pt x="128" y="182"/>
                </a:cubicBezTo>
                <a:cubicBezTo>
                  <a:pt x="127" y="183"/>
                  <a:pt x="127" y="183"/>
                  <a:pt x="127" y="183"/>
                </a:cubicBezTo>
                <a:cubicBezTo>
                  <a:pt x="127" y="182"/>
                  <a:pt x="127" y="182"/>
                  <a:pt x="127" y="182"/>
                </a:cubicBezTo>
                <a:cubicBezTo>
                  <a:pt x="126" y="182"/>
                  <a:pt x="126" y="182"/>
                  <a:pt x="126" y="182"/>
                </a:cubicBezTo>
                <a:cubicBezTo>
                  <a:pt x="127" y="184"/>
                  <a:pt x="127" y="184"/>
                  <a:pt x="127" y="184"/>
                </a:cubicBezTo>
                <a:cubicBezTo>
                  <a:pt x="128" y="184"/>
                  <a:pt x="128" y="184"/>
                  <a:pt x="128" y="184"/>
                </a:cubicBezTo>
                <a:cubicBezTo>
                  <a:pt x="129" y="186"/>
                  <a:pt x="129" y="186"/>
                  <a:pt x="129" y="186"/>
                </a:cubicBezTo>
                <a:cubicBezTo>
                  <a:pt x="130" y="185"/>
                  <a:pt x="130" y="185"/>
                  <a:pt x="130" y="185"/>
                </a:cubicBezTo>
                <a:cubicBezTo>
                  <a:pt x="131" y="186"/>
                  <a:pt x="131" y="186"/>
                  <a:pt x="131" y="186"/>
                </a:cubicBezTo>
                <a:cubicBezTo>
                  <a:pt x="131" y="185"/>
                  <a:pt x="131" y="185"/>
                  <a:pt x="131" y="185"/>
                </a:cubicBezTo>
                <a:cubicBezTo>
                  <a:pt x="130" y="184"/>
                  <a:pt x="130" y="184"/>
                  <a:pt x="130" y="184"/>
                </a:cubicBezTo>
                <a:cubicBezTo>
                  <a:pt x="131" y="183"/>
                  <a:pt x="131" y="183"/>
                  <a:pt x="131" y="183"/>
                </a:cubicBezTo>
                <a:cubicBezTo>
                  <a:pt x="132" y="182"/>
                  <a:pt x="132" y="182"/>
                  <a:pt x="132" y="182"/>
                </a:cubicBezTo>
                <a:cubicBezTo>
                  <a:pt x="133" y="182"/>
                  <a:pt x="133" y="182"/>
                  <a:pt x="133" y="182"/>
                </a:cubicBezTo>
                <a:cubicBezTo>
                  <a:pt x="133" y="181"/>
                  <a:pt x="133" y="181"/>
                  <a:pt x="133" y="181"/>
                </a:cubicBezTo>
                <a:cubicBezTo>
                  <a:pt x="134" y="180"/>
                  <a:pt x="134" y="180"/>
                  <a:pt x="134" y="180"/>
                </a:cubicBezTo>
                <a:cubicBezTo>
                  <a:pt x="135" y="179"/>
                  <a:pt x="135" y="179"/>
                  <a:pt x="135" y="179"/>
                </a:cubicBezTo>
                <a:cubicBezTo>
                  <a:pt x="136" y="178"/>
                  <a:pt x="136" y="178"/>
                  <a:pt x="136" y="178"/>
                </a:cubicBezTo>
                <a:cubicBezTo>
                  <a:pt x="138" y="176"/>
                  <a:pt x="138" y="176"/>
                  <a:pt x="138" y="176"/>
                </a:cubicBezTo>
                <a:cubicBezTo>
                  <a:pt x="139" y="176"/>
                  <a:pt x="139" y="176"/>
                  <a:pt x="139" y="176"/>
                </a:cubicBezTo>
                <a:cubicBezTo>
                  <a:pt x="139" y="176"/>
                  <a:pt x="139" y="176"/>
                  <a:pt x="139" y="176"/>
                </a:cubicBezTo>
                <a:cubicBezTo>
                  <a:pt x="141" y="175"/>
                  <a:pt x="141" y="175"/>
                  <a:pt x="141" y="175"/>
                </a:cubicBezTo>
                <a:cubicBezTo>
                  <a:pt x="142" y="173"/>
                  <a:pt x="142" y="173"/>
                  <a:pt x="142" y="173"/>
                </a:cubicBezTo>
                <a:cubicBezTo>
                  <a:pt x="143" y="170"/>
                  <a:pt x="143" y="170"/>
                  <a:pt x="143" y="170"/>
                </a:cubicBezTo>
                <a:cubicBezTo>
                  <a:pt x="145" y="170"/>
                  <a:pt x="145" y="170"/>
                  <a:pt x="145" y="170"/>
                </a:cubicBezTo>
                <a:cubicBezTo>
                  <a:pt x="146" y="169"/>
                  <a:pt x="146" y="169"/>
                  <a:pt x="146" y="169"/>
                </a:cubicBezTo>
                <a:cubicBezTo>
                  <a:pt x="145" y="167"/>
                  <a:pt x="145" y="167"/>
                  <a:pt x="145" y="167"/>
                </a:cubicBezTo>
                <a:cubicBezTo>
                  <a:pt x="146" y="166"/>
                  <a:pt x="146" y="166"/>
                  <a:pt x="146" y="166"/>
                </a:cubicBezTo>
                <a:cubicBezTo>
                  <a:pt x="147" y="168"/>
                  <a:pt x="147" y="168"/>
                  <a:pt x="147" y="168"/>
                </a:cubicBezTo>
                <a:cubicBezTo>
                  <a:pt x="147" y="169"/>
                  <a:pt x="147" y="169"/>
                  <a:pt x="147" y="169"/>
                </a:cubicBezTo>
                <a:cubicBezTo>
                  <a:pt x="147" y="171"/>
                  <a:pt x="147" y="171"/>
                  <a:pt x="147" y="171"/>
                </a:cubicBezTo>
                <a:cubicBezTo>
                  <a:pt x="146" y="172"/>
                  <a:pt x="146" y="172"/>
                  <a:pt x="146" y="172"/>
                </a:cubicBezTo>
                <a:cubicBezTo>
                  <a:pt x="145" y="175"/>
                  <a:pt x="145" y="175"/>
                  <a:pt x="145" y="175"/>
                </a:cubicBezTo>
                <a:cubicBezTo>
                  <a:pt x="143" y="177"/>
                  <a:pt x="143" y="177"/>
                  <a:pt x="143" y="177"/>
                </a:cubicBezTo>
                <a:cubicBezTo>
                  <a:pt x="142" y="178"/>
                  <a:pt x="142" y="178"/>
                  <a:pt x="142" y="178"/>
                </a:cubicBezTo>
                <a:cubicBezTo>
                  <a:pt x="142" y="179"/>
                  <a:pt x="142" y="179"/>
                  <a:pt x="142" y="179"/>
                </a:cubicBezTo>
                <a:cubicBezTo>
                  <a:pt x="142" y="181"/>
                  <a:pt x="142" y="181"/>
                  <a:pt x="142" y="181"/>
                </a:cubicBezTo>
                <a:cubicBezTo>
                  <a:pt x="140" y="183"/>
                  <a:pt x="140" y="183"/>
                  <a:pt x="140" y="183"/>
                </a:cubicBezTo>
                <a:cubicBezTo>
                  <a:pt x="141" y="183"/>
                  <a:pt x="141" y="183"/>
                  <a:pt x="141" y="183"/>
                </a:cubicBezTo>
                <a:cubicBezTo>
                  <a:pt x="140" y="186"/>
                  <a:pt x="140" y="186"/>
                  <a:pt x="140" y="186"/>
                </a:cubicBezTo>
                <a:cubicBezTo>
                  <a:pt x="137" y="186"/>
                  <a:pt x="137" y="186"/>
                  <a:pt x="137" y="186"/>
                </a:cubicBezTo>
                <a:cubicBezTo>
                  <a:pt x="136" y="188"/>
                  <a:pt x="136" y="188"/>
                  <a:pt x="136" y="188"/>
                </a:cubicBezTo>
                <a:cubicBezTo>
                  <a:pt x="135" y="189"/>
                  <a:pt x="135" y="189"/>
                  <a:pt x="135" y="189"/>
                </a:cubicBezTo>
                <a:cubicBezTo>
                  <a:pt x="135" y="189"/>
                  <a:pt x="135" y="189"/>
                  <a:pt x="135" y="189"/>
                </a:cubicBezTo>
                <a:cubicBezTo>
                  <a:pt x="137" y="189"/>
                  <a:pt x="137" y="189"/>
                  <a:pt x="137" y="189"/>
                </a:cubicBezTo>
                <a:cubicBezTo>
                  <a:pt x="139" y="188"/>
                  <a:pt x="139" y="188"/>
                  <a:pt x="139" y="188"/>
                </a:cubicBezTo>
                <a:cubicBezTo>
                  <a:pt x="141" y="189"/>
                  <a:pt x="141" y="189"/>
                  <a:pt x="141" y="189"/>
                </a:cubicBezTo>
                <a:cubicBezTo>
                  <a:pt x="143" y="185"/>
                  <a:pt x="143" y="185"/>
                  <a:pt x="143" y="185"/>
                </a:cubicBezTo>
                <a:cubicBezTo>
                  <a:pt x="144" y="182"/>
                  <a:pt x="144" y="182"/>
                  <a:pt x="144" y="182"/>
                </a:cubicBezTo>
                <a:cubicBezTo>
                  <a:pt x="145" y="180"/>
                  <a:pt x="145" y="180"/>
                  <a:pt x="145" y="180"/>
                </a:cubicBezTo>
                <a:cubicBezTo>
                  <a:pt x="146" y="181"/>
                  <a:pt x="146" y="181"/>
                  <a:pt x="146" y="181"/>
                </a:cubicBezTo>
                <a:cubicBezTo>
                  <a:pt x="146" y="184"/>
                  <a:pt x="146" y="184"/>
                  <a:pt x="146" y="184"/>
                </a:cubicBezTo>
                <a:cubicBezTo>
                  <a:pt x="147" y="186"/>
                  <a:pt x="147" y="186"/>
                  <a:pt x="147" y="186"/>
                </a:cubicBezTo>
                <a:cubicBezTo>
                  <a:pt x="146" y="186"/>
                  <a:pt x="146" y="186"/>
                  <a:pt x="146" y="186"/>
                </a:cubicBezTo>
                <a:cubicBezTo>
                  <a:pt x="146" y="189"/>
                  <a:pt x="146" y="189"/>
                  <a:pt x="146" y="189"/>
                </a:cubicBezTo>
                <a:cubicBezTo>
                  <a:pt x="145" y="191"/>
                  <a:pt x="145" y="191"/>
                  <a:pt x="145" y="191"/>
                </a:cubicBezTo>
                <a:cubicBezTo>
                  <a:pt x="143" y="192"/>
                  <a:pt x="143" y="192"/>
                  <a:pt x="143" y="192"/>
                </a:cubicBezTo>
                <a:cubicBezTo>
                  <a:pt x="143" y="193"/>
                  <a:pt x="143" y="193"/>
                  <a:pt x="143" y="193"/>
                </a:cubicBezTo>
                <a:cubicBezTo>
                  <a:pt x="144" y="193"/>
                  <a:pt x="144" y="193"/>
                  <a:pt x="144" y="193"/>
                </a:cubicBezTo>
                <a:cubicBezTo>
                  <a:pt x="146" y="193"/>
                  <a:pt x="146" y="193"/>
                  <a:pt x="146" y="193"/>
                </a:cubicBezTo>
                <a:cubicBezTo>
                  <a:pt x="147" y="192"/>
                  <a:pt x="147" y="192"/>
                  <a:pt x="147" y="192"/>
                </a:cubicBezTo>
                <a:cubicBezTo>
                  <a:pt x="148" y="192"/>
                  <a:pt x="148" y="192"/>
                  <a:pt x="148" y="192"/>
                </a:cubicBezTo>
                <a:cubicBezTo>
                  <a:pt x="149" y="191"/>
                  <a:pt x="149" y="191"/>
                  <a:pt x="149" y="191"/>
                </a:cubicBezTo>
                <a:cubicBezTo>
                  <a:pt x="150" y="191"/>
                  <a:pt x="150" y="191"/>
                  <a:pt x="150" y="191"/>
                </a:cubicBezTo>
                <a:cubicBezTo>
                  <a:pt x="151" y="191"/>
                  <a:pt x="151" y="191"/>
                  <a:pt x="151" y="191"/>
                </a:cubicBezTo>
                <a:cubicBezTo>
                  <a:pt x="150" y="192"/>
                  <a:pt x="150" y="192"/>
                  <a:pt x="150" y="192"/>
                </a:cubicBezTo>
                <a:cubicBezTo>
                  <a:pt x="150" y="193"/>
                  <a:pt x="150" y="193"/>
                  <a:pt x="150" y="193"/>
                </a:cubicBezTo>
                <a:cubicBezTo>
                  <a:pt x="149" y="193"/>
                  <a:pt x="149" y="193"/>
                  <a:pt x="149" y="193"/>
                </a:cubicBezTo>
                <a:cubicBezTo>
                  <a:pt x="148" y="194"/>
                  <a:pt x="148" y="194"/>
                  <a:pt x="148" y="194"/>
                </a:cubicBezTo>
                <a:cubicBezTo>
                  <a:pt x="149" y="196"/>
                  <a:pt x="149" y="196"/>
                  <a:pt x="149" y="196"/>
                </a:cubicBezTo>
                <a:cubicBezTo>
                  <a:pt x="150" y="197"/>
                  <a:pt x="150" y="197"/>
                  <a:pt x="150" y="197"/>
                </a:cubicBezTo>
                <a:cubicBezTo>
                  <a:pt x="151" y="199"/>
                  <a:pt x="151" y="199"/>
                  <a:pt x="151" y="199"/>
                </a:cubicBezTo>
                <a:cubicBezTo>
                  <a:pt x="151" y="201"/>
                  <a:pt x="151" y="201"/>
                  <a:pt x="151" y="201"/>
                </a:cubicBezTo>
                <a:cubicBezTo>
                  <a:pt x="151" y="204"/>
                  <a:pt x="151" y="204"/>
                  <a:pt x="151" y="204"/>
                </a:cubicBezTo>
                <a:cubicBezTo>
                  <a:pt x="149" y="206"/>
                  <a:pt x="149" y="206"/>
                  <a:pt x="149" y="206"/>
                </a:cubicBezTo>
                <a:cubicBezTo>
                  <a:pt x="149" y="207"/>
                  <a:pt x="149" y="207"/>
                  <a:pt x="149" y="207"/>
                </a:cubicBezTo>
                <a:cubicBezTo>
                  <a:pt x="149" y="209"/>
                  <a:pt x="149" y="209"/>
                  <a:pt x="149" y="209"/>
                </a:cubicBezTo>
                <a:cubicBezTo>
                  <a:pt x="150" y="210"/>
                  <a:pt x="150" y="210"/>
                  <a:pt x="150" y="210"/>
                </a:cubicBezTo>
                <a:cubicBezTo>
                  <a:pt x="151" y="211"/>
                  <a:pt x="151" y="211"/>
                  <a:pt x="151" y="211"/>
                </a:cubicBezTo>
                <a:cubicBezTo>
                  <a:pt x="151" y="213"/>
                  <a:pt x="151" y="213"/>
                  <a:pt x="151" y="213"/>
                </a:cubicBezTo>
                <a:cubicBezTo>
                  <a:pt x="154" y="216"/>
                  <a:pt x="154" y="216"/>
                  <a:pt x="154" y="216"/>
                </a:cubicBezTo>
                <a:cubicBezTo>
                  <a:pt x="155" y="217"/>
                  <a:pt x="155" y="217"/>
                  <a:pt x="155" y="217"/>
                </a:cubicBezTo>
                <a:cubicBezTo>
                  <a:pt x="157" y="218"/>
                  <a:pt x="157" y="218"/>
                  <a:pt x="157" y="218"/>
                </a:cubicBezTo>
                <a:cubicBezTo>
                  <a:pt x="157" y="219"/>
                  <a:pt x="157" y="219"/>
                  <a:pt x="157" y="219"/>
                </a:cubicBezTo>
                <a:cubicBezTo>
                  <a:pt x="158" y="219"/>
                  <a:pt x="158" y="219"/>
                  <a:pt x="158" y="219"/>
                </a:cubicBezTo>
                <a:cubicBezTo>
                  <a:pt x="159" y="219"/>
                  <a:pt x="159" y="219"/>
                  <a:pt x="159" y="219"/>
                </a:cubicBezTo>
                <a:cubicBezTo>
                  <a:pt x="159" y="219"/>
                  <a:pt x="159" y="219"/>
                  <a:pt x="159" y="219"/>
                </a:cubicBezTo>
                <a:cubicBezTo>
                  <a:pt x="161" y="219"/>
                  <a:pt x="161" y="219"/>
                  <a:pt x="161" y="219"/>
                </a:cubicBezTo>
                <a:cubicBezTo>
                  <a:pt x="162" y="221"/>
                  <a:pt x="162" y="221"/>
                  <a:pt x="162" y="221"/>
                </a:cubicBezTo>
                <a:cubicBezTo>
                  <a:pt x="164" y="221"/>
                  <a:pt x="164" y="221"/>
                  <a:pt x="164" y="221"/>
                </a:cubicBezTo>
                <a:cubicBezTo>
                  <a:pt x="165" y="222"/>
                  <a:pt x="165" y="222"/>
                  <a:pt x="165" y="222"/>
                </a:cubicBezTo>
                <a:cubicBezTo>
                  <a:pt x="166" y="224"/>
                  <a:pt x="166" y="224"/>
                  <a:pt x="166" y="224"/>
                </a:cubicBezTo>
                <a:cubicBezTo>
                  <a:pt x="167" y="224"/>
                  <a:pt x="167" y="224"/>
                  <a:pt x="167" y="224"/>
                </a:cubicBezTo>
                <a:cubicBezTo>
                  <a:pt x="168" y="225"/>
                  <a:pt x="168" y="225"/>
                  <a:pt x="168" y="225"/>
                </a:cubicBezTo>
                <a:cubicBezTo>
                  <a:pt x="169" y="225"/>
                  <a:pt x="169" y="225"/>
                  <a:pt x="169" y="225"/>
                </a:cubicBezTo>
                <a:cubicBezTo>
                  <a:pt x="170" y="225"/>
                  <a:pt x="170" y="225"/>
                  <a:pt x="170" y="225"/>
                </a:cubicBezTo>
                <a:cubicBezTo>
                  <a:pt x="172" y="223"/>
                  <a:pt x="172" y="223"/>
                  <a:pt x="172" y="223"/>
                </a:cubicBezTo>
                <a:cubicBezTo>
                  <a:pt x="173" y="222"/>
                  <a:pt x="173" y="222"/>
                  <a:pt x="173" y="222"/>
                </a:cubicBezTo>
                <a:cubicBezTo>
                  <a:pt x="174" y="222"/>
                  <a:pt x="174" y="222"/>
                  <a:pt x="174" y="222"/>
                </a:cubicBezTo>
                <a:cubicBezTo>
                  <a:pt x="176" y="221"/>
                  <a:pt x="176" y="221"/>
                  <a:pt x="176" y="221"/>
                </a:cubicBezTo>
                <a:cubicBezTo>
                  <a:pt x="177" y="221"/>
                  <a:pt x="177" y="221"/>
                  <a:pt x="177" y="221"/>
                </a:cubicBezTo>
                <a:cubicBezTo>
                  <a:pt x="177" y="220"/>
                  <a:pt x="177" y="220"/>
                  <a:pt x="177" y="220"/>
                </a:cubicBezTo>
                <a:cubicBezTo>
                  <a:pt x="177" y="220"/>
                  <a:pt x="177" y="220"/>
                  <a:pt x="177" y="220"/>
                </a:cubicBezTo>
                <a:cubicBezTo>
                  <a:pt x="176" y="219"/>
                  <a:pt x="176" y="219"/>
                  <a:pt x="176" y="219"/>
                </a:cubicBezTo>
                <a:cubicBezTo>
                  <a:pt x="176" y="219"/>
                  <a:pt x="176" y="219"/>
                  <a:pt x="176" y="219"/>
                </a:cubicBezTo>
                <a:cubicBezTo>
                  <a:pt x="179" y="217"/>
                  <a:pt x="179" y="217"/>
                  <a:pt x="179" y="217"/>
                </a:cubicBezTo>
                <a:cubicBezTo>
                  <a:pt x="181" y="218"/>
                  <a:pt x="181" y="218"/>
                  <a:pt x="181" y="218"/>
                </a:cubicBezTo>
                <a:cubicBezTo>
                  <a:pt x="181" y="220"/>
                  <a:pt x="181" y="220"/>
                  <a:pt x="181" y="220"/>
                </a:cubicBezTo>
                <a:cubicBezTo>
                  <a:pt x="178" y="221"/>
                  <a:pt x="178" y="221"/>
                  <a:pt x="178" y="221"/>
                </a:cubicBezTo>
                <a:cubicBezTo>
                  <a:pt x="179" y="222"/>
                  <a:pt x="179" y="222"/>
                  <a:pt x="179" y="222"/>
                </a:cubicBezTo>
                <a:cubicBezTo>
                  <a:pt x="180" y="222"/>
                  <a:pt x="180" y="222"/>
                  <a:pt x="180" y="222"/>
                </a:cubicBezTo>
                <a:cubicBezTo>
                  <a:pt x="180" y="221"/>
                  <a:pt x="180" y="221"/>
                  <a:pt x="180" y="221"/>
                </a:cubicBezTo>
                <a:cubicBezTo>
                  <a:pt x="182" y="221"/>
                  <a:pt x="182" y="221"/>
                  <a:pt x="182" y="221"/>
                </a:cubicBezTo>
                <a:cubicBezTo>
                  <a:pt x="183" y="221"/>
                  <a:pt x="183" y="221"/>
                  <a:pt x="183" y="221"/>
                </a:cubicBezTo>
                <a:cubicBezTo>
                  <a:pt x="183" y="223"/>
                  <a:pt x="183" y="223"/>
                  <a:pt x="183" y="223"/>
                </a:cubicBezTo>
                <a:cubicBezTo>
                  <a:pt x="182" y="223"/>
                  <a:pt x="182" y="223"/>
                  <a:pt x="182" y="223"/>
                </a:cubicBezTo>
                <a:cubicBezTo>
                  <a:pt x="181" y="224"/>
                  <a:pt x="181" y="224"/>
                  <a:pt x="181" y="224"/>
                </a:cubicBezTo>
                <a:cubicBezTo>
                  <a:pt x="183" y="226"/>
                  <a:pt x="183" y="226"/>
                  <a:pt x="183" y="226"/>
                </a:cubicBezTo>
                <a:cubicBezTo>
                  <a:pt x="183" y="228"/>
                  <a:pt x="183" y="228"/>
                  <a:pt x="183" y="228"/>
                </a:cubicBezTo>
                <a:cubicBezTo>
                  <a:pt x="184" y="227"/>
                  <a:pt x="184" y="227"/>
                  <a:pt x="184" y="227"/>
                </a:cubicBezTo>
                <a:cubicBezTo>
                  <a:pt x="184" y="227"/>
                  <a:pt x="184" y="227"/>
                  <a:pt x="184" y="227"/>
                </a:cubicBezTo>
                <a:cubicBezTo>
                  <a:pt x="184" y="229"/>
                  <a:pt x="184" y="229"/>
                  <a:pt x="184" y="229"/>
                </a:cubicBezTo>
                <a:cubicBezTo>
                  <a:pt x="185" y="230"/>
                  <a:pt x="185" y="230"/>
                  <a:pt x="185" y="230"/>
                </a:cubicBezTo>
                <a:cubicBezTo>
                  <a:pt x="186" y="228"/>
                  <a:pt x="186" y="228"/>
                  <a:pt x="186" y="228"/>
                </a:cubicBezTo>
                <a:cubicBezTo>
                  <a:pt x="186" y="227"/>
                  <a:pt x="186" y="227"/>
                  <a:pt x="186" y="227"/>
                </a:cubicBezTo>
                <a:cubicBezTo>
                  <a:pt x="185" y="227"/>
                  <a:pt x="185" y="227"/>
                  <a:pt x="185" y="227"/>
                </a:cubicBezTo>
                <a:cubicBezTo>
                  <a:pt x="185" y="227"/>
                  <a:pt x="185" y="227"/>
                  <a:pt x="185" y="227"/>
                </a:cubicBezTo>
                <a:cubicBezTo>
                  <a:pt x="186" y="226"/>
                  <a:pt x="186" y="226"/>
                  <a:pt x="186" y="226"/>
                </a:cubicBezTo>
                <a:cubicBezTo>
                  <a:pt x="189" y="226"/>
                  <a:pt x="189" y="226"/>
                  <a:pt x="189" y="226"/>
                </a:cubicBezTo>
                <a:cubicBezTo>
                  <a:pt x="189" y="227"/>
                  <a:pt x="189" y="227"/>
                  <a:pt x="189" y="227"/>
                </a:cubicBezTo>
                <a:cubicBezTo>
                  <a:pt x="190" y="226"/>
                  <a:pt x="190" y="226"/>
                  <a:pt x="190" y="226"/>
                </a:cubicBezTo>
                <a:cubicBezTo>
                  <a:pt x="191" y="224"/>
                  <a:pt x="191" y="224"/>
                  <a:pt x="191" y="224"/>
                </a:cubicBezTo>
                <a:cubicBezTo>
                  <a:pt x="194" y="222"/>
                  <a:pt x="194" y="222"/>
                  <a:pt x="194" y="222"/>
                </a:cubicBezTo>
                <a:cubicBezTo>
                  <a:pt x="196" y="220"/>
                  <a:pt x="196" y="220"/>
                  <a:pt x="196" y="220"/>
                </a:cubicBezTo>
                <a:cubicBezTo>
                  <a:pt x="195" y="220"/>
                  <a:pt x="195" y="220"/>
                  <a:pt x="195" y="220"/>
                </a:cubicBezTo>
                <a:cubicBezTo>
                  <a:pt x="195" y="221"/>
                  <a:pt x="195" y="221"/>
                  <a:pt x="195" y="221"/>
                </a:cubicBezTo>
                <a:cubicBezTo>
                  <a:pt x="195" y="220"/>
                  <a:pt x="195" y="220"/>
                  <a:pt x="195" y="220"/>
                </a:cubicBezTo>
                <a:cubicBezTo>
                  <a:pt x="194" y="220"/>
                  <a:pt x="194" y="220"/>
                  <a:pt x="194" y="220"/>
                </a:cubicBezTo>
                <a:cubicBezTo>
                  <a:pt x="195" y="220"/>
                  <a:pt x="195" y="220"/>
                  <a:pt x="195" y="220"/>
                </a:cubicBezTo>
                <a:cubicBezTo>
                  <a:pt x="197" y="220"/>
                  <a:pt x="197" y="220"/>
                  <a:pt x="197" y="220"/>
                </a:cubicBezTo>
                <a:cubicBezTo>
                  <a:pt x="199" y="219"/>
                  <a:pt x="199" y="219"/>
                  <a:pt x="199" y="219"/>
                </a:cubicBezTo>
                <a:cubicBezTo>
                  <a:pt x="204" y="218"/>
                  <a:pt x="204" y="218"/>
                  <a:pt x="204" y="218"/>
                </a:cubicBezTo>
                <a:cubicBezTo>
                  <a:pt x="208" y="219"/>
                  <a:pt x="208" y="219"/>
                  <a:pt x="208" y="219"/>
                </a:cubicBezTo>
                <a:cubicBezTo>
                  <a:pt x="209" y="218"/>
                  <a:pt x="209" y="218"/>
                  <a:pt x="209" y="218"/>
                </a:cubicBezTo>
                <a:cubicBezTo>
                  <a:pt x="209" y="217"/>
                  <a:pt x="209" y="217"/>
                  <a:pt x="209" y="217"/>
                </a:cubicBezTo>
                <a:cubicBezTo>
                  <a:pt x="210" y="217"/>
                  <a:pt x="210" y="217"/>
                  <a:pt x="210" y="217"/>
                </a:cubicBezTo>
                <a:cubicBezTo>
                  <a:pt x="212" y="216"/>
                  <a:pt x="212" y="216"/>
                  <a:pt x="212" y="216"/>
                </a:cubicBezTo>
                <a:cubicBezTo>
                  <a:pt x="213" y="214"/>
                  <a:pt x="213" y="214"/>
                  <a:pt x="213" y="214"/>
                </a:cubicBezTo>
                <a:cubicBezTo>
                  <a:pt x="212" y="211"/>
                  <a:pt x="212" y="211"/>
                  <a:pt x="212" y="211"/>
                </a:cubicBezTo>
                <a:cubicBezTo>
                  <a:pt x="212" y="210"/>
                  <a:pt x="212" y="210"/>
                  <a:pt x="212" y="210"/>
                </a:cubicBezTo>
                <a:cubicBezTo>
                  <a:pt x="214" y="208"/>
                  <a:pt x="214" y="208"/>
                  <a:pt x="214" y="208"/>
                </a:cubicBezTo>
                <a:cubicBezTo>
                  <a:pt x="214" y="204"/>
                  <a:pt x="214" y="204"/>
                  <a:pt x="214" y="204"/>
                </a:cubicBezTo>
                <a:cubicBezTo>
                  <a:pt x="215" y="203"/>
                  <a:pt x="215" y="203"/>
                  <a:pt x="215" y="203"/>
                </a:cubicBezTo>
                <a:cubicBezTo>
                  <a:pt x="216" y="200"/>
                  <a:pt x="216" y="200"/>
                  <a:pt x="216" y="200"/>
                </a:cubicBezTo>
                <a:cubicBezTo>
                  <a:pt x="217" y="200"/>
                  <a:pt x="217" y="200"/>
                  <a:pt x="217" y="200"/>
                </a:cubicBezTo>
                <a:cubicBezTo>
                  <a:pt x="217" y="198"/>
                  <a:pt x="217" y="198"/>
                  <a:pt x="217" y="198"/>
                </a:cubicBezTo>
                <a:cubicBezTo>
                  <a:pt x="221" y="194"/>
                  <a:pt x="221" y="194"/>
                  <a:pt x="221" y="194"/>
                </a:cubicBezTo>
                <a:cubicBezTo>
                  <a:pt x="222" y="194"/>
                  <a:pt x="222" y="194"/>
                  <a:pt x="222" y="194"/>
                </a:cubicBezTo>
                <a:cubicBezTo>
                  <a:pt x="222" y="191"/>
                  <a:pt x="222" y="191"/>
                  <a:pt x="222" y="191"/>
                </a:cubicBezTo>
                <a:cubicBezTo>
                  <a:pt x="224" y="189"/>
                  <a:pt x="224" y="189"/>
                  <a:pt x="224" y="189"/>
                </a:cubicBezTo>
                <a:cubicBezTo>
                  <a:pt x="225" y="186"/>
                  <a:pt x="225" y="186"/>
                  <a:pt x="225" y="186"/>
                </a:cubicBezTo>
                <a:cubicBezTo>
                  <a:pt x="226" y="185"/>
                  <a:pt x="226" y="185"/>
                  <a:pt x="226" y="185"/>
                </a:cubicBezTo>
                <a:cubicBezTo>
                  <a:pt x="226" y="183"/>
                  <a:pt x="226" y="183"/>
                  <a:pt x="226" y="183"/>
                </a:cubicBezTo>
                <a:cubicBezTo>
                  <a:pt x="227" y="183"/>
                  <a:pt x="227" y="183"/>
                  <a:pt x="227" y="183"/>
                </a:cubicBezTo>
                <a:cubicBezTo>
                  <a:pt x="228" y="180"/>
                  <a:pt x="228" y="180"/>
                  <a:pt x="228" y="180"/>
                </a:cubicBezTo>
                <a:cubicBezTo>
                  <a:pt x="227" y="180"/>
                  <a:pt x="227" y="180"/>
                  <a:pt x="227" y="180"/>
                </a:cubicBezTo>
                <a:cubicBezTo>
                  <a:pt x="229" y="179"/>
                  <a:pt x="229" y="179"/>
                  <a:pt x="229" y="179"/>
                </a:cubicBezTo>
                <a:cubicBezTo>
                  <a:pt x="231" y="177"/>
                  <a:pt x="231" y="177"/>
                  <a:pt x="231" y="177"/>
                </a:cubicBezTo>
                <a:cubicBezTo>
                  <a:pt x="232" y="176"/>
                  <a:pt x="232" y="176"/>
                  <a:pt x="232" y="176"/>
                </a:cubicBezTo>
                <a:cubicBezTo>
                  <a:pt x="233" y="174"/>
                  <a:pt x="233" y="174"/>
                  <a:pt x="233" y="174"/>
                </a:cubicBezTo>
                <a:cubicBezTo>
                  <a:pt x="234" y="173"/>
                  <a:pt x="234" y="173"/>
                  <a:pt x="234" y="173"/>
                </a:cubicBezTo>
                <a:cubicBezTo>
                  <a:pt x="236" y="173"/>
                  <a:pt x="236" y="173"/>
                  <a:pt x="236" y="173"/>
                </a:cubicBezTo>
                <a:cubicBezTo>
                  <a:pt x="234" y="173"/>
                  <a:pt x="234" y="173"/>
                  <a:pt x="234" y="173"/>
                </a:cubicBezTo>
                <a:cubicBezTo>
                  <a:pt x="234" y="172"/>
                  <a:pt x="234" y="172"/>
                  <a:pt x="234" y="172"/>
                </a:cubicBezTo>
                <a:cubicBezTo>
                  <a:pt x="236" y="172"/>
                  <a:pt x="236" y="172"/>
                  <a:pt x="236" y="172"/>
                </a:cubicBezTo>
                <a:cubicBezTo>
                  <a:pt x="238" y="171"/>
                  <a:pt x="238" y="171"/>
                  <a:pt x="238" y="171"/>
                </a:cubicBezTo>
                <a:cubicBezTo>
                  <a:pt x="239" y="169"/>
                  <a:pt x="239" y="169"/>
                  <a:pt x="239" y="169"/>
                </a:cubicBezTo>
                <a:cubicBezTo>
                  <a:pt x="238" y="168"/>
                  <a:pt x="238" y="168"/>
                  <a:pt x="238" y="168"/>
                </a:cubicBezTo>
                <a:cubicBezTo>
                  <a:pt x="239" y="167"/>
                  <a:pt x="239" y="167"/>
                  <a:pt x="239" y="167"/>
                </a:cubicBezTo>
                <a:cubicBezTo>
                  <a:pt x="241" y="166"/>
                  <a:pt x="241" y="166"/>
                  <a:pt x="241" y="166"/>
                </a:cubicBezTo>
                <a:cubicBezTo>
                  <a:pt x="241" y="164"/>
                  <a:pt x="241" y="164"/>
                  <a:pt x="241" y="164"/>
                </a:cubicBezTo>
                <a:cubicBezTo>
                  <a:pt x="242" y="164"/>
                  <a:pt x="242" y="164"/>
                  <a:pt x="242" y="164"/>
                </a:cubicBezTo>
                <a:cubicBezTo>
                  <a:pt x="244" y="161"/>
                  <a:pt x="244" y="161"/>
                  <a:pt x="244" y="161"/>
                </a:cubicBezTo>
                <a:cubicBezTo>
                  <a:pt x="243" y="160"/>
                  <a:pt x="243" y="160"/>
                  <a:pt x="243" y="160"/>
                </a:cubicBezTo>
                <a:cubicBezTo>
                  <a:pt x="244" y="158"/>
                  <a:pt x="244" y="158"/>
                  <a:pt x="244" y="158"/>
                </a:cubicBezTo>
                <a:cubicBezTo>
                  <a:pt x="244" y="158"/>
                  <a:pt x="244" y="158"/>
                  <a:pt x="244" y="158"/>
                </a:cubicBezTo>
                <a:cubicBezTo>
                  <a:pt x="244" y="157"/>
                  <a:pt x="244" y="157"/>
                  <a:pt x="244" y="157"/>
                </a:cubicBezTo>
                <a:cubicBezTo>
                  <a:pt x="246" y="152"/>
                  <a:pt x="246" y="152"/>
                  <a:pt x="246" y="152"/>
                </a:cubicBezTo>
                <a:cubicBezTo>
                  <a:pt x="246" y="150"/>
                  <a:pt x="246" y="150"/>
                  <a:pt x="246" y="150"/>
                </a:cubicBezTo>
                <a:cubicBezTo>
                  <a:pt x="248" y="146"/>
                  <a:pt x="248" y="146"/>
                  <a:pt x="248" y="146"/>
                </a:cubicBezTo>
                <a:cubicBezTo>
                  <a:pt x="248" y="145"/>
                  <a:pt x="248" y="145"/>
                  <a:pt x="248" y="145"/>
                </a:cubicBezTo>
                <a:cubicBezTo>
                  <a:pt x="249" y="142"/>
                  <a:pt x="249" y="142"/>
                  <a:pt x="249" y="142"/>
                </a:cubicBezTo>
                <a:cubicBezTo>
                  <a:pt x="251" y="140"/>
                  <a:pt x="251" y="140"/>
                  <a:pt x="251" y="140"/>
                </a:cubicBezTo>
                <a:cubicBezTo>
                  <a:pt x="252" y="139"/>
                  <a:pt x="252" y="139"/>
                  <a:pt x="252" y="139"/>
                </a:cubicBezTo>
                <a:cubicBezTo>
                  <a:pt x="251" y="137"/>
                  <a:pt x="251" y="137"/>
                  <a:pt x="251" y="137"/>
                </a:cubicBezTo>
                <a:cubicBezTo>
                  <a:pt x="252" y="135"/>
                  <a:pt x="252" y="135"/>
                  <a:pt x="252" y="135"/>
                </a:cubicBezTo>
                <a:cubicBezTo>
                  <a:pt x="251" y="133"/>
                  <a:pt x="251" y="133"/>
                  <a:pt x="251" y="133"/>
                </a:cubicBezTo>
                <a:cubicBezTo>
                  <a:pt x="251" y="131"/>
                  <a:pt x="251" y="131"/>
                  <a:pt x="251" y="131"/>
                </a:cubicBezTo>
                <a:cubicBezTo>
                  <a:pt x="251" y="129"/>
                  <a:pt x="251" y="129"/>
                  <a:pt x="251" y="129"/>
                </a:cubicBezTo>
                <a:cubicBezTo>
                  <a:pt x="250" y="128"/>
                  <a:pt x="250" y="128"/>
                  <a:pt x="250" y="128"/>
                </a:cubicBezTo>
                <a:cubicBezTo>
                  <a:pt x="250" y="127"/>
                  <a:pt x="250" y="127"/>
                  <a:pt x="250" y="127"/>
                </a:cubicBezTo>
                <a:cubicBezTo>
                  <a:pt x="251" y="126"/>
                  <a:pt x="251" y="126"/>
                  <a:pt x="251" y="126"/>
                </a:cubicBezTo>
                <a:cubicBezTo>
                  <a:pt x="251" y="125"/>
                  <a:pt x="251" y="125"/>
                  <a:pt x="251" y="125"/>
                </a:cubicBezTo>
                <a:cubicBezTo>
                  <a:pt x="252" y="123"/>
                  <a:pt x="252" y="123"/>
                  <a:pt x="252" y="123"/>
                </a:cubicBezTo>
                <a:cubicBezTo>
                  <a:pt x="252" y="122"/>
                  <a:pt x="252" y="122"/>
                  <a:pt x="252" y="122"/>
                </a:cubicBezTo>
                <a:cubicBezTo>
                  <a:pt x="252" y="119"/>
                  <a:pt x="252" y="119"/>
                  <a:pt x="252" y="119"/>
                </a:cubicBezTo>
                <a:cubicBezTo>
                  <a:pt x="252" y="117"/>
                  <a:pt x="252" y="117"/>
                  <a:pt x="252" y="117"/>
                </a:cubicBezTo>
                <a:cubicBezTo>
                  <a:pt x="252" y="117"/>
                  <a:pt x="252" y="117"/>
                  <a:pt x="252" y="117"/>
                </a:cubicBezTo>
                <a:cubicBezTo>
                  <a:pt x="251" y="115"/>
                  <a:pt x="251" y="115"/>
                  <a:pt x="251" y="115"/>
                </a:cubicBezTo>
                <a:cubicBezTo>
                  <a:pt x="251" y="113"/>
                  <a:pt x="251" y="113"/>
                  <a:pt x="251" y="113"/>
                </a:cubicBezTo>
                <a:cubicBezTo>
                  <a:pt x="251" y="113"/>
                  <a:pt x="251" y="113"/>
                  <a:pt x="251" y="113"/>
                </a:cubicBezTo>
                <a:cubicBezTo>
                  <a:pt x="252" y="111"/>
                  <a:pt x="252" y="111"/>
                  <a:pt x="252" y="111"/>
                </a:cubicBezTo>
                <a:cubicBezTo>
                  <a:pt x="250" y="111"/>
                  <a:pt x="250" y="111"/>
                  <a:pt x="250" y="111"/>
                </a:cubicBezTo>
                <a:cubicBezTo>
                  <a:pt x="250" y="110"/>
                  <a:pt x="250" y="110"/>
                  <a:pt x="250" y="110"/>
                </a:cubicBezTo>
                <a:cubicBezTo>
                  <a:pt x="250" y="108"/>
                  <a:pt x="250" y="108"/>
                  <a:pt x="250" y="108"/>
                </a:cubicBezTo>
                <a:cubicBezTo>
                  <a:pt x="248" y="107"/>
                  <a:pt x="248" y="107"/>
                  <a:pt x="248" y="107"/>
                </a:cubicBezTo>
                <a:cubicBezTo>
                  <a:pt x="247" y="105"/>
                  <a:pt x="247" y="105"/>
                  <a:pt x="247" y="105"/>
                </a:cubicBezTo>
                <a:cubicBezTo>
                  <a:pt x="247" y="103"/>
                  <a:pt x="247" y="103"/>
                  <a:pt x="247" y="103"/>
                </a:cubicBezTo>
                <a:cubicBezTo>
                  <a:pt x="246" y="102"/>
                  <a:pt x="246" y="102"/>
                  <a:pt x="246" y="102"/>
                </a:cubicBezTo>
                <a:cubicBezTo>
                  <a:pt x="245" y="102"/>
                  <a:pt x="245" y="102"/>
                  <a:pt x="245" y="102"/>
                </a:cubicBezTo>
                <a:cubicBezTo>
                  <a:pt x="244" y="102"/>
                  <a:pt x="244" y="102"/>
                  <a:pt x="244" y="102"/>
                </a:cubicBezTo>
                <a:cubicBezTo>
                  <a:pt x="244" y="101"/>
                  <a:pt x="244" y="101"/>
                  <a:pt x="244" y="101"/>
                </a:cubicBezTo>
                <a:cubicBezTo>
                  <a:pt x="243" y="100"/>
                  <a:pt x="243" y="100"/>
                  <a:pt x="243" y="100"/>
                </a:cubicBezTo>
                <a:cubicBezTo>
                  <a:pt x="243" y="99"/>
                  <a:pt x="243" y="99"/>
                  <a:pt x="243" y="99"/>
                </a:cubicBezTo>
                <a:cubicBezTo>
                  <a:pt x="243" y="99"/>
                  <a:pt x="243" y="99"/>
                  <a:pt x="243" y="99"/>
                </a:cubicBezTo>
                <a:cubicBezTo>
                  <a:pt x="241" y="97"/>
                  <a:pt x="241" y="97"/>
                  <a:pt x="241" y="97"/>
                </a:cubicBezTo>
                <a:cubicBezTo>
                  <a:pt x="240" y="97"/>
                  <a:pt x="240" y="97"/>
                  <a:pt x="240" y="97"/>
                </a:cubicBezTo>
                <a:cubicBezTo>
                  <a:pt x="241" y="96"/>
                  <a:pt x="241" y="96"/>
                  <a:pt x="241" y="96"/>
                </a:cubicBezTo>
                <a:cubicBezTo>
                  <a:pt x="240" y="94"/>
                  <a:pt x="240" y="94"/>
                  <a:pt x="240" y="94"/>
                </a:cubicBezTo>
                <a:cubicBezTo>
                  <a:pt x="241" y="93"/>
                  <a:pt x="241" y="93"/>
                  <a:pt x="241" y="93"/>
                </a:cubicBezTo>
                <a:cubicBezTo>
                  <a:pt x="241" y="91"/>
                  <a:pt x="241" y="91"/>
                  <a:pt x="241" y="91"/>
                </a:cubicBezTo>
                <a:cubicBezTo>
                  <a:pt x="241" y="90"/>
                  <a:pt x="241" y="90"/>
                  <a:pt x="241" y="90"/>
                </a:cubicBezTo>
                <a:cubicBezTo>
                  <a:pt x="241" y="89"/>
                  <a:pt x="241" y="89"/>
                  <a:pt x="241" y="89"/>
                </a:cubicBezTo>
                <a:cubicBezTo>
                  <a:pt x="240" y="88"/>
                  <a:pt x="240" y="88"/>
                  <a:pt x="240" y="88"/>
                </a:cubicBezTo>
                <a:cubicBezTo>
                  <a:pt x="240" y="89"/>
                  <a:pt x="240" y="89"/>
                  <a:pt x="240" y="89"/>
                </a:cubicBezTo>
                <a:cubicBezTo>
                  <a:pt x="240" y="89"/>
                  <a:pt x="240" y="89"/>
                  <a:pt x="240" y="89"/>
                </a:cubicBezTo>
                <a:cubicBezTo>
                  <a:pt x="240" y="90"/>
                  <a:pt x="240" y="90"/>
                  <a:pt x="240" y="90"/>
                </a:cubicBezTo>
                <a:cubicBezTo>
                  <a:pt x="237" y="87"/>
                  <a:pt x="237" y="87"/>
                  <a:pt x="237" y="87"/>
                </a:cubicBezTo>
                <a:cubicBezTo>
                  <a:pt x="237" y="86"/>
                  <a:pt x="237" y="86"/>
                  <a:pt x="237" y="86"/>
                </a:cubicBezTo>
                <a:cubicBezTo>
                  <a:pt x="236" y="86"/>
                  <a:pt x="236" y="86"/>
                  <a:pt x="236" y="86"/>
                </a:cubicBezTo>
                <a:cubicBezTo>
                  <a:pt x="236" y="87"/>
                  <a:pt x="236" y="87"/>
                  <a:pt x="236" y="87"/>
                </a:cubicBezTo>
                <a:cubicBezTo>
                  <a:pt x="236" y="88"/>
                  <a:pt x="236" y="88"/>
                  <a:pt x="236" y="88"/>
                </a:cubicBezTo>
                <a:cubicBezTo>
                  <a:pt x="236" y="90"/>
                  <a:pt x="236" y="90"/>
                  <a:pt x="236" y="90"/>
                </a:cubicBezTo>
                <a:cubicBezTo>
                  <a:pt x="235" y="88"/>
                  <a:pt x="235" y="88"/>
                  <a:pt x="235" y="88"/>
                </a:cubicBezTo>
                <a:cubicBezTo>
                  <a:pt x="234" y="89"/>
                  <a:pt x="234" y="89"/>
                  <a:pt x="234" y="89"/>
                </a:cubicBezTo>
                <a:cubicBezTo>
                  <a:pt x="234" y="88"/>
                  <a:pt x="234" y="88"/>
                  <a:pt x="234" y="88"/>
                </a:cubicBezTo>
                <a:cubicBezTo>
                  <a:pt x="234" y="87"/>
                  <a:pt x="234" y="87"/>
                  <a:pt x="234" y="87"/>
                </a:cubicBezTo>
                <a:cubicBezTo>
                  <a:pt x="234" y="83"/>
                  <a:pt x="234" y="83"/>
                  <a:pt x="234" y="83"/>
                </a:cubicBezTo>
                <a:cubicBezTo>
                  <a:pt x="234" y="83"/>
                  <a:pt x="234" y="83"/>
                  <a:pt x="234" y="83"/>
                </a:cubicBezTo>
                <a:cubicBezTo>
                  <a:pt x="234" y="82"/>
                  <a:pt x="234" y="82"/>
                  <a:pt x="234" y="82"/>
                </a:cubicBezTo>
                <a:cubicBezTo>
                  <a:pt x="233" y="81"/>
                  <a:pt x="233" y="81"/>
                  <a:pt x="233" y="81"/>
                </a:cubicBezTo>
                <a:cubicBezTo>
                  <a:pt x="233" y="80"/>
                  <a:pt x="233" y="80"/>
                  <a:pt x="233" y="80"/>
                </a:cubicBezTo>
                <a:cubicBezTo>
                  <a:pt x="232" y="80"/>
                  <a:pt x="232" y="80"/>
                  <a:pt x="232" y="80"/>
                </a:cubicBezTo>
                <a:cubicBezTo>
                  <a:pt x="233" y="79"/>
                  <a:pt x="233" y="79"/>
                  <a:pt x="233" y="79"/>
                </a:cubicBezTo>
                <a:cubicBezTo>
                  <a:pt x="231" y="77"/>
                  <a:pt x="231" y="77"/>
                  <a:pt x="231" y="77"/>
                </a:cubicBezTo>
                <a:cubicBezTo>
                  <a:pt x="230" y="76"/>
                  <a:pt x="230" y="76"/>
                  <a:pt x="230" y="76"/>
                </a:cubicBezTo>
                <a:cubicBezTo>
                  <a:pt x="230" y="74"/>
                  <a:pt x="230" y="74"/>
                  <a:pt x="230" y="74"/>
                </a:cubicBezTo>
                <a:cubicBezTo>
                  <a:pt x="231" y="74"/>
                  <a:pt x="231" y="74"/>
                  <a:pt x="231" y="74"/>
                </a:cubicBezTo>
                <a:cubicBezTo>
                  <a:pt x="231" y="73"/>
                  <a:pt x="231" y="73"/>
                  <a:pt x="231" y="73"/>
                </a:cubicBezTo>
                <a:cubicBezTo>
                  <a:pt x="230" y="71"/>
                  <a:pt x="230" y="71"/>
                  <a:pt x="230" y="71"/>
                </a:cubicBezTo>
                <a:cubicBezTo>
                  <a:pt x="230" y="72"/>
                  <a:pt x="230" y="72"/>
                  <a:pt x="230" y="72"/>
                </a:cubicBezTo>
                <a:cubicBezTo>
                  <a:pt x="228" y="71"/>
                  <a:pt x="228" y="71"/>
                  <a:pt x="228" y="71"/>
                </a:cubicBezTo>
                <a:cubicBezTo>
                  <a:pt x="227" y="70"/>
                  <a:pt x="227" y="70"/>
                  <a:pt x="227" y="70"/>
                </a:cubicBezTo>
                <a:cubicBezTo>
                  <a:pt x="226" y="70"/>
                  <a:pt x="226" y="70"/>
                  <a:pt x="226" y="70"/>
                </a:cubicBezTo>
                <a:cubicBezTo>
                  <a:pt x="225" y="69"/>
                  <a:pt x="225" y="69"/>
                  <a:pt x="225" y="69"/>
                </a:cubicBezTo>
                <a:cubicBezTo>
                  <a:pt x="224" y="69"/>
                  <a:pt x="224" y="69"/>
                  <a:pt x="224" y="69"/>
                </a:cubicBezTo>
                <a:cubicBezTo>
                  <a:pt x="224" y="69"/>
                  <a:pt x="224" y="69"/>
                  <a:pt x="224" y="69"/>
                </a:cubicBezTo>
                <a:cubicBezTo>
                  <a:pt x="223" y="68"/>
                  <a:pt x="223" y="68"/>
                  <a:pt x="223" y="68"/>
                </a:cubicBezTo>
                <a:cubicBezTo>
                  <a:pt x="222" y="69"/>
                  <a:pt x="222" y="69"/>
                  <a:pt x="222" y="69"/>
                </a:cubicBezTo>
                <a:cubicBezTo>
                  <a:pt x="222" y="68"/>
                  <a:pt x="222" y="68"/>
                  <a:pt x="222" y="68"/>
                </a:cubicBezTo>
                <a:cubicBezTo>
                  <a:pt x="224" y="67"/>
                  <a:pt x="224" y="67"/>
                  <a:pt x="224" y="67"/>
                </a:cubicBezTo>
                <a:cubicBezTo>
                  <a:pt x="224" y="67"/>
                  <a:pt x="224" y="67"/>
                  <a:pt x="224" y="67"/>
                </a:cubicBezTo>
                <a:cubicBezTo>
                  <a:pt x="223" y="66"/>
                  <a:pt x="223" y="66"/>
                  <a:pt x="223" y="66"/>
                </a:cubicBezTo>
                <a:cubicBezTo>
                  <a:pt x="222" y="66"/>
                  <a:pt x="222" y="66"/>
                  <a:pt x="222" y="66"/>
                </a:cubicBezTo>
                <a:cubicBezTo>
                  <a:pt x="221" y="66"/>
                  <a:pt x="221" y="66"/>
                  <a:pt x="221" y="66"/>
                </a:cubicBezTo>
                <a:cubicBezTo>
                  <a:pt x="221" y="65"/>
                  <a:pt x="221" y="65"/>
                  <a:pt x="221" y="65"/>
                </a:cubicBezTo>
                <a:cubicBezTo>
                  <a:pt x="220" y="65"/>
                  <a:pt x="220" y="65"/>
                  <a:pt x="220" y="65"/>
                </a:cubicBezTo>
                <a:cubicBezTo>
                  <a:pt x="217" y="64"/>
                  <a:pt x="217" y="64"/>
                  <a:pt x="217" y="64"/>
                </a:cubicBezTo>
                <a:cubicBezTo>
                  <a:pt x="216" y="61"/>
                  <a:pt x="216" y="61"/>
                  <a:pt x="216" y="61"/>
                </a:cubicBezTo>
                <a:cubicBezTo>
                  <a:pt x="216" y="59"/>
                  <a:pt x="216" y="59"/>
                  <a:pt x="216" y="59"/>
                </a:cubicBezTo>
                <a:cubicBezTo>
                  <a:pt x="215" y="58"/>
                  <a:pt x="215" y="58"/>
                  <a:pt x="215" y="58"/>
                </a:cubicBezTo>
                <a:cubicBezTo>
                  <a:pt x="215" y="56"/>
                  <a:pt x="215" y="56"/>
                  <a:pt x="215" y="56"/>
                </a:cubicBezTo>
                <a:cubicBezTo>
                  <a:pt x="216" y="56"/>
                  <a:pt x="216" y="56"/>
                  <a:pt x="216" y="56"/>
                </a:cubicBezTo>
                <a:cubicBezTo>
                  <a:pt x="216" y="54"/>
                  <a:pt x="216" y="54"/>
                  <a:pt x="216" y="54"/>
                </a:cubicBezTo>
                <a:cubicBezTo>
                  <a:pt x="216" y="50"/>
                  <a:pt x="216" y="50"/>
                  <a:pt x="216" y="50"/>
                </a:cubicBezTo>
                <a:cubicBezTo>
                  <a:pt x="215" y="49"/>
                  <a:pt x="215" y="49"/>
                  <a:pt x="215" y="49"/>
                </a:cubicBezTo>
                <a:cubicBezTo>
                  <a:pt x="216" y="49"/>
                  <a:pt x="216" y="49"/>
                  <a:pt x="216" y="49"/>
                </a:cubicBezTo>
                <a:cubicBezTo>
                  <a:pt x="215" y="48"/>
                  <a:pt x="215" y="48"/>
                  <a:pt x="215" y="48"/>
                </a:cubicBezTo>
                <a:cubicBezTo>
                  <a:pt x="214" y="48"/>
                  <a:pt x="214" y="48"/>
                  <a:pt x="214" y="48"/>
                </a:cubicBezTo>
                <a:cubicBezTo>
                  <a:pt x="213" y="45"/>
                  <a:pt x="213" y="45"/>
                  <a:pt x="213" y="45"/>
                </a:cubicBezTo>
                <a:cubicBezTo>
                  <a:pt x="213" y="42"/>
                  <a:pt x="213" y="42"/>
                  <a:pt x="213" y="42"/>
                </a:cubicBezTo>
                <a:cubicBezTo>
                  <a:pt x="213" y="42"/>
                  <a:pt x="213" y="42"/>
                  <a:pt x="213" y="42"/>
                </a:cubicBezTo>
                <a:cubicBezTo>
                  <a:pt x="213" y="41"/>
                  <a:pt x="213" y="41"/>
                  <a:pt x="213" y="41"/>
                </a:cubicBezTo>
                <a:cubicBezTo>
                  <a:pt x="213" y="40"/>
                  <a:pt x="213" y="40"/>
                  <a:pt x="213" y="40"/>
                </a:cubicBezTo>
                <a:cubicBezTo>
                  <a:pt x="212" y="37"/>
                  <a:pt x="212" y="37"/>
                  <a:pt x="212" y="37"/>
                </a:cubicBezTo>
                <a:cubicBezTo>
                  <a:pt x="213" y="36"/>
                  <a:pt x="213" y="36"/>
                  <a:pt x="213" y="36"/>
                </a:cubicBezTo>
                <a:cubicBezTo>
                  <a:pt x="212" y="34"/>
                  <a:pt x="212" y="34"/>
                  <a:pt x="212" y="34"/>
                </a:cubicBezTo>
                <a:cubicBezTo>
                  <a:pt x="213" y="34"/>
                  <a:pt x="213" y="34"/>
                  <a:pt x="213" y="34"/>
                </a:cubicBezTo>
                <a:cubicBezTo>
                  <a:pt x="213" y="33"/>
                  <a:pt x="213" y="33"/>
                  <a:pt x="213" y="33"/>
                </a:cubicBezTo>
                <a:cubicBezTo>
                  <a:pt x="211" y="31"/>
                  <a:pt x="211" y="31"/>
                  <a:pt x="211" y="31"/>
                </a:cubicBezTo>
                <a:cubicBezTo>
                  <a:pt x="209" y="30"/>
                  <a:pt x="209" y="30"/>
                  <a:pt x="209" y="30"/>
                </a:cubicBezTo>
                <a:cubicBezTo>
                  <a:pt x="210" y="30"/>
                  <a:pt x="210" y="30"/>
                  <a:pt x="210" y="30"/>
                </a:cubicBezTo>
                <a:cubicBezTo>
                  <a:pt x="208" y="28"/>
                  <a:pt x="208" y="28"/>
                  <a:pt x="208" y="28"/>
                </a:cubicBezTo>
                <a:cubicBezTo>
                  <a:pt x="207" y="29"/>
                  <a:pt x="207" y="29"/>
                  <a:pt x="207" y="29"/>
                </a:cubicBezTo>
                <a:cubicBezTo>
                  <a:pt x="206" y="29"/>
                  <a:pt x="206" y="29"/>
                  <a:pt x="206" y="29"/>
                </a:cubicBezTo>
                <a:cubicBezTo>
                  <a:pt x="206" y="30"/>
                  <a:pt x="206" y="30"/>
                  <a:pt x="206" y="30"/>
                </a:cubicBezTo>
                <a:cubicBezTo>
                  <a:pt x="205" y="30"/>
                  <a:pt x="205" y="30"/>
                  <a:pt x="205" y="30"/>
                </a:cubicBezTo>
                <a:cubicBezTo>
                  <a:pt x="203" y="28"/>
                  <a:pt x="203" y="28"/>
                  <a:pt x="203" y="28"/>
                </a:cubicBezTo>
                <a:cubicBezTo>
                  <a:pt x="203" y="27"/>
                  <a:pt x="203" y="27"/>
                  <a:pt x="203" y="27"/>
                </a:cubicBezTo>
                <a:cubicBezTo>
                  <a:pt x="203" y="25"/>
                  <a:pt x="203" y="25"/>
                  <a:pt x="203" y="25"/>
                </a:cubicBezTo>
                <a:cubicBezTo>
                  <a:pt x="203" y="23"/>
                  <a:pt x="203" y="23"/>
                  <a:pt x="203" y="23"/>
                </a:cubicBezTo>
                <a:cubicBezTo>
                  <a:pt x="203" y="20"/>
                  <a:pt x="203" y="20"/>
                  <a:pt x="203" y="20"/>
                </a:cubicBezTo>
                <a:cubicBezTo>
                  <a:pt x="202" y="20"/>
                  <a:pt x="202" y="20"/>
                  <a:pt x="202" y="20"/>
                </a:cubicBezTo>
                <a:cubicBezTo>
                  <a:pt x="202" y="19"/>
                  <a:pt x="202" y="19"/>
                  <a:pt x="202" y="19"/>
                </a:cubicBezTo>
                <a:cubicBezTo>
                  <a:pt x="202" y="18"/>
                  <a:pt x="202" y="18"/>
                  <a:pt x="202" y="18"/>
                </a:cubicBezTo>
                <a:cubicBezTo>
                  <a:pt x="201" y="17"/>
                  <a:pt x="201" y="17"/>
                  <a:pt x="201" y="17"/>
                </a:cubicBezTo>
                <a:cubicBezTo>
                  <a:pt x="201" y="16"/>
                  <a:pt x="201" y="16"/>
                  <a:pt x="201" y="16"/>
                </a:cubicBezTo>
                <a:cubicBezTo>
                  <a:pt x="201" y="15"/>
                  <a:pt x="201" y="15"/>
                  <a:pt x="201" y="15"/>
                </a:cubicBezTo>
                <a:cubicBezTo>
                  <a:pt x="201" y="14"/>
                  <a:pt x="201" y="14"/>
                  <a:pt x="201" y="14"/>
                </a:cubicBezTo>
                <a:cubicBezTo>
                  <a:pt x="202" y="13"/>
                  <a:pt x="202" y="13"/>
                  <a:pt x="202" y="13"/>
                </a:cubicBezTo>
                <a:cubicBezTo>
                  <a:pt x="201" y="12"/>
                  <a:pt x="201" y="12"/>
                  <a:pt x="201" y="12"/>
                </a:cubicBezTo>
                <a:cubicBezTo>
                  <a:pt x="200" y="13"/>
                  <a:pt x="200" y="13"/>
                  <a:pt x="200" y="13"/>
                </a:cubicBezTo>
                <a:cubicBezTo>
                  <a:pt x="199" y="12"/>
                  <a:pt x="199" y="12"/>
                  <a:pt x="199" y="12"/>
                </a:cubicBezTo>
                <a:cubicBezTo>
                  <a:pt x="199" y="9"/>
                  <a:pt x="199" y="9"/>
                  <a:pt x="199" y="9"/>
                </a:cubicBezTo>
                <a:cubicBezTo>
                  <a:pt x="199" y="8"/>
                  <a:pt x="199" y="8"/>
                  <a:pt x="199" y="8"/>
                </a:cubicBezTo>
                <a:cubicBezTo>
                  <a:pt x="199" y="7"/>
                  <a:pt x="199" y="7"/>
                  <a:pt x="199" y="7"/>
                </a:cubicBezTo>
                <a:cubicBezTo>
                  <a:pt x="197" y="6"/>
                  <a:pt x="197" y="6"/>
                  <a:pt x="197" y="6"/>
                </a:cubicBezTo>
                <a:cubicBezTo>
                  <a:pt x="197" y="5"/>
                  <a:pt x="197" y="5"/>
                  <a:pt x="197" y="5"/>
                </a:cubicBezTo>
                <a:cubicBezTo>
                  <a:pt x="196" y="6"/>
                  <a:pt x="196" y="6"/>
                  <a:pt x="196" y="6"/>
                </a:cubicBezTo>
                <a:cubicBezTo>
                  <a:pt x="195" y="7"/>
                  <a:pt x="195" y="7"/>
                  <a:pt x="195" y="7"/>
                </a:cubicBezTo>
                <a:cubicBezTo>
                  <a:pt x="195" y="9"/>
                  <a:pt x="195" y="9"/>
                  <a:pt x="195" y="9"/>
                </a:cubicBezTo>
                <a:cubicBezTo>
                  <a:pt x="194" y="11"/>
                  <a:pt x="194" y="11"/>
                  <a:pt x="194" y="11"/>
                </a:cubicBezTo>
                <a:cubicBezTo>
                  <a:pt x="194" y="12"/>
                  <a:pt x="194" y="12"/>
                  <a:pt x="194" y="12"/>
                </a:cubicBezTo>
                <a:cubicBezTo>
                  <a:pt x="194" y="13"/>
                  <a:pt x="194" y="13"/>
                  <a:pt x="194" y="13"/>
                </a:cubicBezTo>
                <a:cubicBezTo>
                  <a:pt x="193" y="13"/>
                  <a:pt x="193" y="13"/>
                  <a:pt x="193" y="13"/>
                </a:cubicBezTo>
                <a:cubicBezTo>
                  <a:pt x="193" y="15"/>
                  <a:pt x="193" y="15"/>
                  <a:pt x="193" y="15"/>
                </a:cubicBezTo>
                <a:cubicBezTo>
                  <a:pt x="192" y="16"/>
                  <a:pt x="192" y="16"/>
                  <a:pt x="192" y="16"/>
                </a:cubicBezTo>
                <a:cubicBezTo>
                  <a:pt x="192" y="17"/>
                  <a:pt x="192" y="17"/>
                  <a:pt x="192" y="17"/>
                </a:cubicBezTo>
                <a:cubicBezTo>
                  <a:pt x="194" y="18"/>
                  <a:pt x="194" y="18"/>
                  <a:pt x="194" y="18"/>
                </a:cubicBezTo>
                <a:cubicBezTo>
                  <a:pt x="193" y="19"/>
                  <a:pt x="193" y="19"/>
                  <a:pt x="193" y="19"/>
                </a:cubicBezTo>
                <a:cubicBezTo>
                  <a:pt x="192" y="19"/>
                  <a:pt x="192" y="19"/>
                  <a:pt x="192" y="19"/>
                </a:cubicBezTo>
                <a:cubicBezTo>
                  <a:pt x="192" y="20"/>
                  <a:pt x="192" y="20"/>
                  <a:pt x="192" y="20"/>
                </a:cubicBezTo>
                <a:cubicBezTo>
                  <a:pt x="191" y="21"/>
                  <a:pt x="191" y="21"/>
                  <a:pt x="191" y="21"/>
                </a:cubicBezTo>
                <a:cubicBezTo>
                  <a:pt x="192" y="23"/>
                  <a:pt x="192" y="23"/>
                  <a:pt x="192" y="23"/>
                </a:cubicBezTo>
                <a:cubicBezTo>
                  <a:pt x="192" y="24"/>
                  <a:pt x="192" y="24"/>
                  <a:pt x="192" y="24"/>
                </a:cubicBezTo>
                <a:cubicBezTo>
                  <a:pt x="191" y="23"/>
                  <a:pt x="191" y="23"/>
                  <a:pt x="191" y="23"/>
                </a:cubicBezTo>
                <a:cubicBezTo>
                  <a:pt x="190" y="24"/>
                  <a:pt x="190" y="24"/>
                  <a:pt x="190" y="24"/>
                </a:cubicBezTo>
                <a:cubicBezTo>
                  <a:pt x="190" y="27"/>
                  <a:pt x="190" y="27"/>
                  <a:pt x="190" y="27"/>
                </a:cubicBezTo>
                <a:cubicBezTo>
                  <a:pt x="190" y="29"/>
                  <a:pt x="190" y="29"/>
                  <a:pt x="190" y="29"/>
                </a:cubicBezTo>
                <a:cubicBezTo>
                  <a:pt x="190" y="31"/>
                  <a:pt x="190" y="31"/>
                  <a:pt x="190" y="31"/>
                </a:cubicBezTo>
                <a:cubicBezTo>
                  <a:pt x="190" y="33"/>
                  <a:pt x="190" y="33"/>
                  <a:pt x="190" y="33"/>
                </a:cubicBezTo>
                <a:cubicBezTo>
                  <a:pt x="190" y="35"/>
                  <a:pt x="190" y="35"/>
                  <a:pt x="190" y="35"/>
                </a:cubicBezTo>
                <a:cubicBezTo>
                  <a:pt x="189" y="36"/>
                  <a:pt x="189" y="36"/>
                  <a:pt x="189" y="36"/>
                </a:cubicBezTo>
                <a:cubicBezTo>
                  <a:pt x="189" y="37"/>
                  <a:pt x="189" y="37"/>
                  <a:pt x="189" y="37"/>
                </a:cubicBezTo>
                <a:cubicBezTo>
                  <a:pt x="188" y="39"/>
                  <a:pt x="188" y="39"/>
                  <a:pt x="188" y="39"/>
                </a:cubicBezTo>
                <a:cubicBezTo>
                  <a:pt x="188" y="43"/>
                  <a:pt x="188" y="43"/>
                  <a:pt x="188" y="43"/>
                </a:cubicBezTo>
                <a:cubicBezTo>
                  <a:pt x="187" y="44"/>
                  <a:pt x="187" y="44"/>
                  <a:pt x="187" y="44"/>
                </a:cubicBezTo>
                <a:cubicBezTo>
                  <a:pt x="187" y="45"/>
                  <a:pt x="187" y="45"/>
                  <a:pt x="187" y="45"/>
                </a:cubicBezTo>
                <a:cubicBezTo>
                  <a:pt x="186" y="47"/>
                  <a:pt x="186" y="47"/>
                  <a:pt x="186" y="47"/>
                </a:cubicBezTo>
                <a:cubicBezTo>
                  <a:pt x="185" y="48"/>
                  <a:pt x="185" y="48"/>
                  <a:pt x="185" y="48"/>
                </a:cubicBezTo>
                <a:cubicBezTo>
                  <a:pt x="185" y="51"/>
                  <a:pt x="185" y="51"/>
                  <a:pt x="185" y="51"/>
                </a:cubicBezTo>
                <a:cubicBezTo>
                  <a:pt x="183" y="52"/>
                  <a:pt x="183" y="52"/>
                  <a:pt x="183" y="52"/>
                </a:cubicBezTo>
                <a:cubicBezTo>
                  <a:pt x="179" y="54"/>
                  <a:pt x="179" y="54"/>
                  <a:pt x="179" y="54"/>
                </a:cubicBezTo>
                <a:cubicBezTo>
                  <a:pt x="177" y="53"/>
                  <a:pt x="177" y="53"/>
                  <a:pt x="177" y="53"/>
                </a:cubicBezTo>
                <a:cubicBezTo>
                  <a:pt x="176" y="53"/>
                  <a:pt x="176" y="53"/>
                  <a:pt x="176" y="53"/>
                </a:cubicBezTo>
                <a:cubicBezTo>
                  <a:pt x="175" y="51"/>
                  <a:pt x="175" y="51"/>
                  <a:pt x="175" y="51"/>
                </a:cubicBezTo>
                <a:cubicBezTo>
                  <a:pt x="173" y="50"/>
                  <a:pt x="173" y="50"/>
                  <a:pt x="173" y="50"/>
                </a:cubicBezTo>
                <a:cubicBezTo>
                  <a:pt x="173" y="49"/>
                  <a:pt x="173" y="49"/>
                  <a:pt x="173" y="49"/>
                </a:cubicBezTo>
                <a:cubicBezTo>
                  <a:pt x="173" y="49"/>
                  <a:pt x="173" y="49"/>
                  <a:pt x="173" y="49"/>
                </a:cubicBezTo>
                <a:cubicBezTo>
                  <a:pt x="172" y="48"/>
                  <a:pt x="172" y="48"/>
                  <a:pt x="172" y="48"/>
                </a:cubicBezTo>
                <a:cubicBezTo>
                  <a:pt x="171" y="47"/>
                  <a:pt x="171" y="47"/>
                  <a:pt x="171" y="47"/>
                </a:cubicBezTo>
                <a:cubicBezTo>
                  <a:pt x="170" y="47"/>
                  <a:pt x="170" y="47"/>
                  <a:pt x="170" y="47"/>
                </a:cubicBezTo>
                <a:cubicBezTo>
                  <a:pt x="168" y="47"/>
                  <a:pt x="168" y="47"/>
                  <a:pt x="168" y="47"/>
                </a:cubicBezTo>
                <a:cubicBezTo>
                  <a:pt x="166" y="46"/>
                  <a:pt x="166" y="46"/>
                  <a:pt x="166" y="46"/>
                </a:cubicBezTo>
                <a:cubicBezTo>
                  <a:pt x="166" y="44"/>
                  <a:pt x="166" y="44"/>
                  <a:pt x="166" y="44"/>
                </a:cubicBezTo>
                <a:cubicBezTo>
                  <a:pt x="164" y="43"/>
                  <a:pt x="164" y="43"/>
                  <a:pt x="164" y="43"/>
                </a:cubicBezTo>
                <a:cubicBezTo>
                  <a:pt x="163" y="43"/>
                  <a:pt x="163" y="43"/>
                  <a:pt x="163" y="43"/>
                </a:cubicBezTo>
                <a:cubicBezTo>
                  <a:pt x="161" y="42"/>
                  <a:pt x="161" y="42"/>
                  <a:pt x="161" y="42"/>
                </a:cubicBezTo>
                <a:cubicBezTo>
                  <a:pt x="161" y="41"/>
                  <a:pt x="161" y="41"/>
                  <a:pt x="161" y="41"/>
                </a:cubicBezTo>
                <a:cubicBezTo>
                  <a:pt x="160" y="41"/>
                  <a:pt x="160" y="41"/>
                  <a:pt x="160" y="41"/>
                </a:cubicBezTo>
                <a:cubicBezTo>
                  <a:pt x="160" y="40"/>
                  <a:pt x="160" y="40"/>
                  <a:pt x="160" y="40"/>
                </a:cubicBezTo>
                <a:cubicBezTo>
                  <a:pt x="158" y="40"/>
                  <a:pt x="158" y="40"/>
                  <a:pt x="158" y="40"/>
                </a:cubicBezTo>
                <a:cubicBezTo>
                  <a:pt x="157" y="40"/>
                  <a:pt x="157" y="40"/>
                  <a:pt x="157" y="40"/>
                </a:cubicBezTo>
                <a:cubicBezTo>
                  <a:pt x="157" y="39"/>
                  <a:pt x="157" y="39"/>
                  <a:pt x="157" y="39"/>
                </a:cubicBezTo>
                <a:cubicBezTo>
                  <a:pt x="156" y="38"/>
                  <a:pt x="156" y="38"/>
                  <a:pt x="156" y="38"/>
                </a:cubicBezTo>
                <a:cubicBezTo>
                  <a:pt x="156" y="37"/>
                  <a:pt x="156" y="37"/>
                  <a:pt x="156" y="37"/>
                </a:cubicBezTo>
                <a:cubicBezTo>
                  <a:pt x="154" y="35"/>
                  <a:pt x="154" y="35"/>
                  <a:pt x="154" y="35"/>
                </a:cubicBezTo>
                <a:cubicBezTo>
                  <a:pt x="153" y="35"/>
                  <a:pt x="153" y="35"/>
                  <a:pt x="153" y="35"/>
                </a:cubicBezTo>
                <a:cubicBezTo>
                  <a:pt x="152" y="33"/>
                  <a:pt x="152" y="33"/>
                  <a:pt x="152" y="33"/>
                </a:cubicBezTo>
                <a:cubicBezTo>
                  <a:pt x="151" y="32"/>
                  <a:pt x="151" y="32"/>
                  <a:pt x="151" y="32"/>
                </a:cubicBezTo>
                <a:cubicBezTo>
                  <a:pt x="153" y="30"/>
                  <a:pt x="153" y="30"/>
                  <a:pt x="153" y="30"/>
                </a:cubicBezTo>
                <a:cubicBezTo>
                  <a:pt x="153" y="28"/>
                  <a:pt x="153" y="28"/>
                  <a:pt x="153" y="28"/>
                </a:cubicBezTo>
                <a:cubicBezTo>
                  <a:pt x="154" y="28"/>
                  <a:pt x="154" y="28"/>
                  <a:pt x="154" y="28"/>
                </a:cubicBezTo>
                <a:cubicBezTo>
                  <a:pt x="155" y="26"/>
                  <a:pt x="155" y="26"/>
                  <a:pt x="155" y="26"/>
                </a:cubicBezTo>
                <a:cubicBezTo>
                  <a:pt x="155" y="25"/>
                  <a:pt x="155" y="25"/>
                  <a:pt x="155" y="25"/>
                </a:cubicBezTo>
                <a:cubicBezTo>
                  <a:pt x="154" y="26"/>
                  <a:pt x="154" y="26"/>
                  <a:pt x="154" y="26"/>
                </a:cubicBezTo>
                <a:cubicBezTo>
                  <a:pt x="153" y="24"/>
                  <a:pt x="153" y="24"/>
                  <a:pt x="153" y="24"/>
                </a:cubicBezTo>
                <a:cubicBezTo>
                  <a:pt x="154" y="23"/>
                  <a:pt x="154" y="23"/>
                  <a:pt x="154" y="23"/>
                </a:cubicBezTo>
                <a:cubicBezTo>
                  <a:pt x="154" y="22"/>
                  <a:pt x="154" y="22"/>
                  <a:pt x="154" y="22"/>
                </a:cubicBezTo>
                <a:cubicBezTo>
                  <a:pt x="155" y="22"/>
                  <a:pt x="155" y="22"/>
                  <a:pt x="155" y="22"/>
                </a:cubicBezTo>
                <a:cubicBezTo>
                  <a:pt x="156" y="21"/>
                  <a:pt x="156" y="21"/>
                  <a:pt x="156" y="21"/>
                </a:cubicBezTo>
                <a:cubicBezTo>
                  <a:pt x="156" y="22"/>
                  <a:pt x="156" y="22"/>
                  <a:pt x="156" y="22"/>
                </a:cubicBezTo>
                <a:cubicBezTo>
                  <a:pt x="157" y="22"/>
                  <a:pt x="157" y="22"/>
                  <a:pt x="157" y="22"/>
                </a:cubicBezTo>
                <a:cubicBezTo>
                  <a:pt x="159" y="21"/>
                  <a:pt x="159" y="21"/>
                  <a:pt x="159" y="21"/>
                </a:cubicBezTo>
                <a:cubicBezTo>
                  <a:pt x="159" y="20"/>
                  <a:pt x="159" y="20"/>
                  <a:pt x="159" y="20"/>
                </a:cubicBezTo>
                <a:cubicBezTo>
                  <a:pt x="158" y="19"/>
                  <a:pt x="158" y="19"/>
                  <a:pt x="158" y="19"/>
                </a:cubicBezTo>
                <a:cubicBezTo>
                  <a:pt x="159" y="18"/>
                  <a:pt x="159" y="18"/>
                  <a:pt x="159" y="18"/>
                </a:cubicBezTo>
                <a:cubicBezTo>
                  <a:pt x="160" y="19"/>
                  <a:pt x="160" y="19"/>
                  <a:pt x="160" y="19"/>
                </a:cubicBezTo>
                <a:cubicBezTo>
                  <a:pt x="160" y="16"/>
                  <a:pt x="160" y="16"/>
                  <a:pt x="160" y="16"/>
                </a:cubicBezTo>
                <a:cubicBezTo>
                  <a:pt x="161" y="16"/>
                  <a:pt x="161" y="16"/>
                  <a:pt x="161" y="16"/>
                </a:cubicBezTo>
                <a:cubicBezTo>
                  <a:pt x="162" y="15"/>
                  <a:pt x="162" y="15"/>
                  <a:pt x="162" y="15"/>
                </a:cubicBezTo>
                <a:cubicBezTo>
                  <a:pt x="162" y="14"/>
                  <a:pt x="162" y="14"/>
                  <a:pt x="162" y="14"/>
                </a:cubicBezTo>
                <a:cubicBezTo>
                  <a:pt x="161" y="14"/>
                  <a:pt x="161" y="14"/>
                  <a:pt x="161" y="14"/>
                </a:cubicBezTo>
                <a:cubicBezTo>
                  <a:pt x="160" y="15"/>
                  <a:pt x="160" y="15"/>
                  <a:pt x="160" y="15"/>
                </a:cubicBezTo>
                <a:cubicBezTo>
                  <a:pt x="159" y="14"/>
                  <a:pt x="159" y="14"/>
                  <a:pt x="159" y="14"/>
                </a:cubicBezTo>
                <a:cubicBezTo>
                  <a:pt x="159" y="12"/>
                  <a:pt x="159" y="12"/>
                  <a:pt x="159" y="12"/>
                </a:cubicBezTo>
                <a:cubicBezTo>
                  <a:pt x="158" y="13"/>
                  <a:pt x="158" y="13"/>
                  <a:pt x="158" y="13"/>
                </a:cubicBezTo>
                <a:cubicBezTo>
                  <a:pt x="156" y="14"/>
                  <a:pt x="156" y="14"/>
                  <a:pt x="156" y="14"/>
                </a:cubicBezTo>
                <a:cubicBezTo>
                  <a:pt x="157" y="15"/>
                  <a:pt x="157" y="15"/>
                  <a:pt x="157" y="15"/>
                </a:cubicBezTo>
                <a:cubicBezTo>
                  <a:pt x="157" y="16"/>
                  <a:pt x="157" y="16"/>
                  <a:pt x="157" y="16"/>
                </a:cubicBezTo>
                <a:cubicBezTo>
                  <a:pt x="156" y="16"/>
                  <a:pt x="156" y="16"/>
                  <a:pt x="156" y="16"/>
                </a:cubicBezTo>
                <a:cubicBezTo>
                  <a:pt x="155" y="15"/>
                  <a:pt x="155" y="15"/>
                  <a:pt x="155" y="15"/>
                </a:cubicBezTo>
                <a:cubicBezTo>
                  <a:pt x="155" y="15"/>
                  <a:pt x="155" y="15"/>
                  <a:pt x="155" y="15"/>
                </a:cubicBezTo>
                <a:cubicBezTo>
                  <a:pt x="154" y="14"/>
                  <a:pt x="154" y="14"/>
                  <a:pt x="154" y="14"/>
                </a:cubicBezTo>
                <a:cubicBezTo>
                  <a:pt x="154" y="15"/>
                  <a:pt x="154" y="15"/>
                  <a:pt x="154" y="15"/>
                </a:cubicBezTo>
                <a:cubicBezTo>
                  <a:pt x="153" y="15"/>
                  <a:pt x="153" y="15"/>
                  <a:pt x="153" y="15"/>
                </a:cubicBezTo>
                <a:cubicBezTo>
                  <a:pt x="153" y="14"/>
                  <a:pt x="153" y="14"/>
                  <a:pt x="153" y="14"/>
                </a:cubicBezTo>
                <a:cubicBezTo>
                  <a:pt x="154" y="13"/>
                  <a:pt x="154" y="13"/>
                  <a:pt x="154" y="13"/>
                </a:cubicBezTo>
                <a:cubicBezTo>
                  <a:pt x="154" y="13"/>
                  <a:pt x="154" y="13"/>
                  <a:pt x="154" y="13"/>
                </a:cubicBezTo>
                <a:cubicBezTo>
                  <a:pt x="153" y="13"/>
                  <a:pt x="153" y="13"/>
                  <a:pt x="153" y="13"/>
                </a:cubicBezTo>
                <a:cubicBezTo>
                  <a:pt x="153" y="14"/>
                  <a:pt x="153" y="14"/>
                  <a:pt x="153" y="14"/>
                </a:cubicBezTo>
                <a:cubicBezTo>
                  <a:pt x="151" y="14"/>
                  <a:pt x="151" y="14"/>
                  <a:pt x="151" y="14"/>
                </a:cubicBezTo>
                <a:cubicBezTo>
                  <a:pt x="151" y="15"/>
                  <a:pt x="151" y="15"/>
                  <a:pt x="151" y="15"/>
                </a:cubicBezTo>
                <a:cubicBezTo>
                  <a:pt x="150" y="15"/>
                  <a:pt x="150" y="15"/>
                  <a:pt x="150" y="15"/>
                </a:cubicBezTo>
                <a:cubicBezTo>
                  <a:pt x="150" y="15"/>
                  <a:pt x="150" y="15"/>
                  <a:pt x="150" y="15"/>
                </a:cubicBezTo>
                <a:cubicBezTo>
                  <a:pt x="149" y="14"/>
                  <a:pt x="149" y="14"/>
                  <a:pt x="149" y="14"/>
                </a:cubicBezTo>
                <a:cubicBezTo>
                  <a:pt x="149" y="14"/>
                  <a:pt x="149" y="14"/>
                  <a:pt x="149" y="14"/>
                </a:cubicBezTo>
                <a:cubicBezTo>
                  <a:pt x="148" y="13"/>
                  <a:pt x="148" y="13"/>
                  <a:pt x="148" y="13"/>
                </a:cubicBezTo>
                <a:cubicBezTo>
                  <a:pt x="147" y="12"/>
                  <a:pt x="147" y="12"/>
                  <a:pt x="147" y="12"/>
                </a:cubicBezTo>
                <a:cubicBezTo>
                  <a:pt x="146" y="13"/>
                  <a:pt x="146" y="13"/>
                  <a:pt x="146" y="13"/>
                </a:cubicBezTo>
                <a:cubicBezTo>
                  <a:pt x="145" y="13"/>
                  <a:pt x="145" y="13"/>
                  <a:pt x="145" y="13"/>
                </a:cubicBezTo>
                <a:cubicBezTo>
                  <a:pt x="144" y="13"/>
                  <a:pt x="144" y="13"/>
                  <a:pt x="144" y="13"/>
                </a:cubicBezTo>
                <a:cubicBezTo>
                  <a:pt x="144" y="12"/>
                  <a:pt x="144" y="12"/>
                  <a:pt x="144" y="12"/>
                </a:cubicBezTo>
                <a:cubicBezTo>
                  <a:pt x="143" y="12"/>
                  <a:pt x="143" y="12"/>
                  <a:pt x="143" y="12"/>
                </a:cubicBezTo>
                <a:cubicBezTo>
                  <a:pt x="142" y="11"/>
                  <a:pt x="142" y="11"/>
                  <a:pt x="142" y="11"/>
                </a:cubicBezTo>
                <a:cubicBezTo>
                  <a:pt x="141" y="12"/>
                  <a:pt x="141" y="12"/>
                  <a:pt x="141" y="12"/>
                </a:cubicBezTo>
                <a:cubicBezTo>
                  <a:pt x="139" y="11"/>
                  <a:pt x="139" y="11"/>
                  <a:pt x="139" y="11"/>
                </a:cubicBezTo>
                <a:cubicBezTo>
                  <a:pt x="138" y="11"/>
                  <a:pt x="138" y="11"/>
                  <a:pt x="138" y="11"/>
                </a:cubicBezTo>
                <a:cubicBezTo>
                  <a:pt x="138" y="10"/>
                  <a:pt x="138" y="10"/>
                  <a:pt x="138" y="10"/>
                </a:cubicBezTo>
                <a:cubicBezTo>
                  <a:pt x="137" y="9"/>
                  <a:pt x="137" y="9"/>
                  <a:pt x="137" y="9"/>
                </a:cubicBezTo>
                <a:cubicBezTo>
                  <a:pt x="137" y="9"/>
                  <a:pt x="137" y="9"/>
                  <a:pt x="137" y="9"/>
                </a:cubicBezTo>
                <a:cubicBezTo>
                  <a:pt x="137" y="9"/>
                  <a:pt x="137" y="9"/>
                  <a:pt x="137" y="9"/>
                </a:cubicBezTo>
                <a:cubicBezTo>
                  <a:pt x="135" y="10"/>
                  <a:pt x="135" y="10"/>
                  <a:pt x="135" y="10"/>
                </a:cubicBezTo>
                <a:cubicBezTo>
                  <a:pt x="134" y="9"/>
                  <a:pt x="134" y="9"/>
                  <a:pt x="134" y="9"/>
                </a:cubicBezTo>
                <a:cubicBezTo>
                  <a:pt x="133" y="8"/>
                  <a:pt x="133" y="8"/>
                  <a:pt x="133" y="8"/>
                </a:cubicBezTo>
                <a:cubicBezTo>
                  <a:pt x="132" y="7"/>
                  <a:pt x="132" y="7"/>
                  <a:pt x="132" y="7"/>
                </a:cubicBezTo>
                <a:cubicBezTo>
                  <a:pt x="131" y="8"/>
                  <a:pt x="131" y="8"/>
                  <a:pt x="131" y="8"/>
                </a:cubicBezTo>
                <a:cubicBezTo>
                  <a:pt x="131" y="7"/>
                  <a:pt x="131" y="7"/>
                  <a:pt x="131" y="7"/>
                </a:cubicBezTo>
                <a:cubicBezTo>
                  <a:pt x="129" y="8"/>
                  <a:pt x="129" y="8"/>
                  <a:pt x="129" y="8"/>
                </a:cubicBezTo>
                <a:cubicBezTo>
                  <a:pt x="131" y="9"/>
                  <a:pt x="131" y="9"/>
                  <a:pt x="131" y="9"/>
                </a:cubicBezTo>
                <a:cubicBezTo>
                  <a:pt x="130" y="9"/>
                  <a:pt x="130" y="9"/>
                  <a:pt x="130" y="9"/>
                </a:cubicBezTo>
                <a:cubicBezTo>
                  <a:pt x="132" y="10"/>
                  <a:pt x="132" y="10"/>
                  <a:pt x="132" y="10"/>
                </a:cubicBezTo>
                <a:cubicBezTo>
                  <a:pt x="133" y="9"/>
                  <a:pt x="133" y="9"/>
                  <a:pt x="133" y="9"/>
                </a:cubicBezTo>
                <a:cubicBezTo>
                  <a:pt x="134" y="11"/>
                  <a:pt x="134" y="11"/>
                  <a:pt x="134" y="11"/>
                </a:cubicBezTo>
                <a:cubicBezTo>
                  <a:pt x="134" y="11"/>
                  <a:pt x="134" y="11"/>
                  <a:pt x="134" y="11"/>
                </a:cubicBezTo>
                <a:cubicBezTo>
                  <a:pt x="135" y="13"/>
                  <a:pt x="135" y="13"/>
                  <a:pt x="135" y="13"/>
                </a:cubicBezTo>
                <a:cubicBezTo>
                  <a:pt x="133" y="14"/>
                  <a:pt x="133" y="14"/>
                  <a:pt x="133" y="14"/>
                </a:cubicBezTo>
                <a:cubicBezTo>
                  <a:pt x="133" y="15"/>
                  <a:pt x="133" y="15"/>
                  <a:pt x="133" y="15"/>
                </a:cubicBezTo>
                <a:cubicBezTo>
                  <a:pt x="132" y="14"/>
                  <a:pt x="132" y="14"/>
                  <a:pt x="132" y="14"/>
                </a:cubicBezTo>
                <a:cubicBezTo>
                  <a:pt x="131" y="14"/>
                  <a:pt x="131" y="14"/>
                  <a:pt x="131" y="14"/>
                </a:cubicBezTo>
                <a:cubicBezTo>
                  <a:pt x="130" y="14"/>
                  <a:pt x="130" y="14"/>
                  <a:pt x="130" y="14"/>
                </a:cubicBezTo>
                <a:cubicBezTo>
                  <a:pt x="127" y="15"/>
                  <a:pt x="127" y="15"/>
                  <a:pt x="127" y="15"/>
                </a:cubicBezTo>
                <a:cubicBezTo>
                  <a:pt x="125" y="13"/>
                  <a:pt x="125" y="13"/>
                  <a:pt x="125" y="13"/>
                </a:cubicBezTo>
                <a:cubicBezTo>
                  <a:pt x="125" y="14"/>
                  <a:pt x="125" y="14"/>
                  <a:pt x="125" y="14"/>
                </a:cubicBezTo>
                <a:cubicBezTo>
                  <a:pt x="124" y="15"/>
                  <a:pt x="124" y="15"/>
                  <a:pt x="124" y="15"/>
                </a:cubicBezTo>
                <a:cubicBezTo>
                  <a:pt x="124" y="16"/>
                  <a:pt x="124" y="16"/>
                  <a:pt x="124" y="16"/>
                </a:cubicBezTo>
                <a:cubicBezTo>
                  <a:pt x="123" y="15"/>
                  <a:pt x="123" y="15"/>
                  <a:pt x="123" y="15"/>
                </a:cubicBezTo>
                <a:cubicBezTo>
                  <a:pt x="123" y="17"/>
                  <a:pt x="123" y="17"/>
                  <a:pt x="123" y="17"/>
                </a:cubicBezTo>
                <a:cubicBezTo>
                  <a:pt x="123" y="17"/>
                  <a:pt x="123" y="17"/>
                  <a:pt x="123" y="17"/>
                </a:cubicBezTo>
                <a:cubicBezTo>
                  <a:pt x="121" y="16"/>
                  <a:pt x="121" y="16"/>
                  <a:pt x="121" y="16"/>
                </a:cubicBezTo>
                <a:cubicBezTo>
                  <a:pt x="121" y="17"/>
                  <a:pt x="121" y="17"/>
                  <a:pt x="121" y="17"/>
                </a:cubicBezTo>
                <a:cubicBezTo>
                  <a:pt x="121" y="18"/>
                  <a:pt x="121" y="18"/>
                  <a:pt x="121" y="18"/>
                </a:cubicBezTo>
                <a:cubicBezTo>
                  <a:pt x="121" y="18"/>
                  <a:pt x="121" y="18"/>
                  <a:pt x="121" y="18"/>
                </a:cubicBezTo>
                <a:cubicBezTo>
                  <a:pt x="120" y="18"/>
                  <a:pt x="120" y="18"/>
                  <a:pt x="120" y="18"/>
                </a:cubicBezTo>
                <a:cubicBezTo>
                  <a:pt x="119" y="19"/>
                  <a:pt x="119" y="19"/>
                  <a:pt x="119" y="19"/>
                </a:cubicBezTo>
                <a:cubicBezTo>
                  <a:pt x="119" y="19"/>
                  <a:pt x="119" y="19"/>
                  <a:pt x="119" y="19"/>
                </a:cubicBezTo>
                <a:cubicBezTo>
                  <a:pt x="119" y="20"/>
                  <a:pt x="119" y="20"/>
                  <a:pt x="119" y="20"/>
                </a:cubicBezTo>
                <a:cubicBezTo>
                  <a:pt x="118" y="20"/>
                  <a:pt x="118" y="20"/>
                  <a:pt x="118" y="20"/>
                </a:cubicBezTo>
                <a:cubicBezTo>
                  <a:pt x="118" y="21"/>
                  <a:pt x="118" y="21"/>
                  <a:pt x="118" y="21"/>
                </a:cubicBezTo>
                <a:cubicBezTo>
                  <a:pt x="119" y="22"/>
                  <a:pt x="119" y="22"/>
                  <a:pt x="119" y="22"/>
                </a:cubicBezTo>
                <a:cubicBezTo>
                  <a:pt x="119" y="23"/>
                  <a:pt x="119" y="23"/>
                  <a:pt x="119" y="23"/>
                </a:cubicBezTo>
                <a:cubicBezTo>
                  <a:pt x="118" y="22"/>
                  <a:pt x="118" y="22"/>
                  <a:pt x="118" y="22"/>
                </a:cubicBezTo>
                <a:cubicBezTo>
                  <a:pt x="117" y="23"/>
                  <a:pt x="117" y="23"/>
                  <a:pt x="117" y="23"/>
                </a:cubicBezTo>
                <a:cubicBezTo>
                  <a:pt x="116" y="23"/>
                  <a:pt x="116" y="23"/>
                  <a:pt x="116" y="23"/>
                </a:cubicBezTo>
                <a:cubicBezTo>
                  <a:pt x="115" y="25"/>
                  <a:pt x="115" y="25"/>
                  <a:pt x="115" y="25"/>
                </a:cubicBezTo>
                <a:cubicBezTo>
                  <a:pt x="114" y="27"/>
                  <a:pt x="114" y="27"/>
                  <a:pt x="114" y="27"/>
                </a:cubicBezTo>
                <a:cubicBezTo>
                  <a:pt x="113" y="27"/>
                  <a:pt x="113" y="27"/>
                  <a:pt x="113" y="27"/>
                </a:cubicBezTo>
                <a:cubicBezTo>
                  <a:pt x="113" y="28"/>
                  <a:pt x="113" y="28"/>
                  <a:pt x="113" y="28"/>
                </a:cubicBezTo>
                <a:cubicBezTo>
                  <a:pt x="112" y="29"/>
                  <a:pt x="112" y="29"/>
                  <a:pt x="112" y="29"/>
                </a:cubicBezTo>
                <a:cubicBezTo>
                  <a:pt x="113" y="30"/>
                  <a:pt x="113" y="30"/>
                  <a:pt x="113" y="30"/>
                </a:cubicBezTo>
                <a:cubicBezTo>
                  <a:pt x="115" y="30"/>
                  <a:pt x="115" y="30"/>
                  <a:pt x="115" y="30"/>
                </a:cubicBezTo>
                <a:cubicBezTo>
                  <a:pt x="114" y="31"/>
                  <a:pt x="114" y="31"/>
                  <a:pt x="114" y="31"/>
                </a:cubicBezTo>
                <a:cubicBezTo>
                  <a:pt x="113" y="31"/>
                  <a:pt x="113" y="31"/>
                  <a:pt x="113" y="31"/>
                </a:cubicBezTo>
                <a:cubicBezTo>
                  <a:pt x="116" y="32"/>
                  <a:pt x="116" y="32"/>
                  <a:pt x="116" y="32"/>
                </a:cubicBezTo>
                <a:cubicBezTo>
                  <a:pt x="115" y="33"/>
                  <a:pt x="115" y="33"/>
                  <a:pt x="115" y="33"/>
                </a:cubicBezTo>
                <a:cubicBezTo>
                  <a:pt x="113" y="33"/>
                  <a:pt x="113" y="33"/>
                  <a:pt x="113" y="33"/>
                </a:cubicBezTo>
                <a:cubicBezTo>
                  <a:pt x="113" y="32"/>
                  <a:pt x="113" y="32"/>
                  <a:pt x="113" y="32"/>
                </a:cubicBezTo>
                <a:cubicBezTo>
                  <a:pt x="113" y="33"/>
                  <a:pt x="113" y="33"/>
                  <a:pt x="113" y="33"/>
                </a:cubicBezTo>
                <a:cubicBezTo>
                  <a:pt x="114" y="33"/>
                  <a:pt x="114" y="33"/>
                  <a:pt x="114" y="33"/>
                </a:cubicBezTo>
                <a:cubicBezTo>
                  <a:pt x="114" y="35"/>
                  <a:pt x="114" y="35"/>
                  <a:pt x="114" y="35"/>
                </a:cubicBezTo>
                <a:cubicBezTo>
                  <a:pt x="115" y="36"/>
                  <a:pt x="115" y="36"/>
                  <a:pt x="115" y="36"/>
                </a:cubicBezTo>
                <a:cubicBezTo>
                  <a:pt x="113" y="35"/>
                  <a:pt x="113" y="35"/>
                  <a:pt x="113" y="35"/>
                </a:cubicBezTo>
                <a:cubicBezTo>
                  <a:pt x="112" y="33"/>
                  <a:pt x="112" y="33"/>
                  <a:pt x="112" y="33"/>
                </a:cubicBezTo>
                <a:cubicBezTo>
                  <a:pt x="111" y="33"/>
                  <a:pt x="111" y="33"/>
                  <a:pt x="111" y="33"/>
                </a:cubicBezTo>
                <a:cubicBezTo>
                  <a:pt x="111" y="34"/>
                  <a:pt x="111" y="34"/>
                  <a:pt x="111" y="34"/>
                </a:cubicBezTo>
                <a:cubicBezTo>
                  <a:pt x="111" y="35"/>
                  <a:pt x="111" y="35"/>
                  <a:pt x="111" y="35"/>
                </a:cubicBezTo>
                <a:cubicBezTo>
                  <a:pt x="110" y="34"/>
                  <a:pt x="110" y="34"/>
                  <a:pt x="110" y="34"/>
                </a:cubicBezTo>
                <a:cubicBezTo>
                  <a:pt x="108" y="32"/>
                  <a:pt x="108" y="32"/>
                  <a:pt x="108" y="32"/>
                </a:cubicBezTo>
                <a:cubicBezTo>
                  <a:pt x="106" y="32"/>
                  <a:pt x="106" y="32"/>
                  <a:pt x="106" y="32"/>
                </a:cubicBezTo>
                <a:cubicBezTo>
                  <a:pt x="106" y="33"/>
                  <a:pt x="106" y="33"/>
                  <a:pt x="106" y="33"/>
                </a:cubicBezTo>
                <a:cubicBezTo>
                  <a:pt x="106" y="34"/>
                  <a:pt x="106" y="34"/>
                  <a:pt x="106" y="34"/>
                </a:cubicBezTo>
                <a:cubicBezTo>
                  <a:pt x="105" y="33"/>
                  <a:pt x="105" y="33"/>
                  <a:pt x="105" y="33"/>
                </a:cubicBezTo>
                <a:cubicBezTo>
                  <a:pt x="105" y="33"/>
                  <a:pt x="105" y="33"/>
                  <a:pt x="105" y="33"/>
                </a:cubicBezTo>
                <a:cubicBezTo>
                  <a:pt x="104" y="34"/>
                  <a:pt x="104" y="34"/>
                  <a:pt x="104" y="34"/>
                </a:cubicBezTo>
                <a:cubicBezTo>
                  <a:pt x="105" y="35"/>
                  <a:pt x="105" y="35"/>
                  <a:pt x="105" y="35"/>
                </a:cubicBezTo>
                <a:cubicBezTo>
                  <a:pt x="105" y="36"/>
                  <a:pt x="105" y="36"/>
                  <a:pt x="105" y="36"/>
                </a:cubicBezTo>
                <a:cubicBezTo>
                  <a:pt x="105" y="35"/>
                  <a:pt x="105" y="35"/>
                  <a:pt x="105" y="35"/>
                </a:cubicBezTo>
                <a:cubicBezTo>
                  <a:pt x="104" y="35"/>
                  <a:pt x="104" y="35"/>
                  <a:pt x="104" y="35"/>
                </a:cubicBezTo>
                <a:cubicBezTo>
                  <a:pt x="104" y="36"/>
                  <a:pt x="104" y="36"/>
                  <a:pt x="104" y="36"/>
                </a:cubicBezTo>
                <a:cubicBezTo>
                  <a:pt x="103" y="37"/>
                  <a:pt x="103" y="37"/>
                  <a:pt x="103" y="37"/>
                </a:cubicBezTo>
                <a:cubicBezTo>
                  <a:pt x="101" y="37"/>
                  <a:pt x="101" y="37"/>
                  <a:pt x="101" y="37"/>
                </a:cubicBezTo>
                <a:cubicBezTo>
                  <a:pt x="102" y="36"/>
                  <a:pt x="102" y="36"/>
                  <a:pt x="102" y="36"/>
                </a:cubicBezTo>
                <a:cubicBezTo>
                  <a:pt x="103" y="35"/>
                  <a:pt x="103" y="35"/>
                  <a:pt x="103" y="35"/>
                </a:cubicBezTo>
                <a:cubicBezTo>
                  <a:pt x="103" y="33"/>
                  <a:pt x="103" y="33"/>
                  <a:pt x="103" y="33"/>
                </a:cubicBezTo>
                <a:cubicBezTo>
                  <a:pt x="104" y="32"/>
                  <a:pt x="104" y="32"/>
                  <a:pt x="104" y="32"/>
                </a:cubicBezTo>
                <a:cubicBezTo>
                  <a:pt x="104" y="31"/>
                  <a:pt x="104" y="31"/>
                  <a:pt x="104" y="31"/>
                </a:cubicBezTo>
                <a:cubicBezTo>
                  <a:pt x="102" y="31"/>
                  <a:pt x="102" y="31"/>
                  <a:pt x="102" y="31"/>
                </a:cubicBezTo>
                <a:cubicBezTo>
                  <a:pt x="101" y="28"/>
                  <a:pt x="101" y="28"/>
                  <a:pt x="101" y="28"/>
                </a:cubicBezTo>
                <a:cubicBezTo>
                  <a:pt x="100" y="26"/>
                  <a:pt x="100" y="26"/>
                  <a:pt x="100" y="26"/>
                </a:cubicBezTo>
                <a:cubicBezTo>
                  <a:pt x="98" y="26"/>
                  <a:pt x="98" y="26"/>
                  <a:pt x="98" y="26"/>
                </a:cubicBezTo>
                <a:cubicBezTo>
                  <a:pt x="97" y="25"/>
                  <a:pt x="97" y="25"/>
                  <a:pt x="97" y="25"/>
                </a:cubicBezTo>
                <a:cubicBezTo>
                  <a:pt x="96" y="25"/>
                  <a:pt x="96" y="25"/>
                  <a:pt x="96" y="25"/>
                </a:cubicBezTo>
                <a:cubicBezTo>
                  <a:pt x="97" y="26"/>
                  <a:pt x="97" y="26"/>
                  <a:pt x="97" y="26"/>
                </a:cubicBezTo>
                <a:cubicBezTo>
                  <a:pt x="96" y="26"/>
                  <a:pt x="96" y="26"/>
                  <a:pt x="96" y="26"/>
                </a:cubicBezTo>
                <a:cubicBezTo>
                  <a:pt x="95" y="28"/>
                  <a:pt x="95" y="28"/>
                  <a:pt x="95" y="28"/>
                </a:cubicBezTo>
                <a:cubicBezTo>
                  <a:pt x="94" y="27"/>
                  <a:pt x="94" y="27"/>
                  <a:pt x="94" y="27"/>
                </a:cubicBezTo>
                <a:cubicBezTo>
                  <a:pt x="95" y="27"/>
                  <a:pt x="95" y="27"/>
                  <a:pt x="95" y="27"/>
                </a:cubicBezTo>
                <a:cubicBezTo>
                  <a:pt x="93" y="27"/>
                  <a:pt x="93" y="27"/>
                  <a:pt x="93" y="27"/>
                </a:cubicBezTo>
                <a:cubicBezTo>
                  <a:pt x="93" y="28"/>
                  <a:pt x="93" y="28"/>
                  <a:pt x="93" y="28"/>
                </a:cubicBezTo>
                <a:cubicBezTo>
                  <a:pt x="92" y="26"/>
                  <a:pt x="92" y="26"/>
                  <a:pt x="92" y="26"/>
                </a:cubicBezTo>
                <a:cubicBezTo>
                  <a:pt x="92" y="26"/>
                  <a:pt x="92" y="26"/>
                  <a:pt x="92" y="26"/>
                </a:cubicBezTo>
                <a:cubicBezTo>
                  <a:pt x="91" y="27"/>
                  <a:pt x="91" y="27"/>
                  <a:pt x="91" y="27"/>
                </a:cubicBezTo>
                <a:cubicBezTo>
                  <a:pt x="92" y="27"/>
                  <a:pt x="92" y="27"/>
                  <a:pt x="92" y="27"/>
                </a:cubicBezTo>
                <a:cubicBezTo>
                  <a:pt x="91" y="28"/>
                  <a:pt x="91" y="28"/>
                  <a:pt x="91" y="28"/>
                </a:cubicBezTo>
                <a:cubicBezTo>
                  <a:pt x="91" y="30"/>
                  <a:pt x="91" y="30"/>
                  <a:pt x="91" y="30"/>
                </a:cubicBezTo>
                <a:cubicBezTo>
                  <a:pt x="91" y="30"/>
                  <a:pt x="91" y="30"/>
                  <a:pt x="91" y="30"/>
                </a:cubicBezTo>
                <a:cubicBezTo>
                  <a:pt x="90" y="31"/>
                  <a:pt x="90" y="31"/>
                  <a:pt x="90" y="31"/>
                </a:cubicBezTo>
                <a:cubicBezTo>
                  <a:pt x="89" y="30"/>
                  <a:pt x="89" y="30"/>
                  <a:pt x="89" y="30"/>
                </a:cubicBezTo>
                <a:cubicBezTo>
                  <a:pt x="88" y="30"/>
                  <a:pt x="88" y="30"/>
                  <a:pt x="88" y="30"/>
                </a:cubicBezTo>
                <a:cubicBezTo>
                  <a:pt x="88" y="29"/>
                  <a:pt x="88" y="29"/>
                  <a:pt x="88" y="29"/>
                </a:cubicBezTo>
                <a:cubicBezTo>
                  <a:pt x="89" y="28"/>
                  <a:pt x="89" y="28"/>
                  <a:pt x="89" y="28"/>
                </a:cubicBezTo>
                <a:cubicBezTo>
                  <a:pt x="88" y="29"/>
                  <a:pt x="88" y="29"/>
                  <a:pt x="88" y="29"/>
                </a:cubicBezTo>
                <a:cubicBezTo>
                  <a:pt x="88" y="30"/>
                  <a:pt x="88" y="30"/>
                  <a:pt x="88" y="30"/>
                </a:cubicBezTo>
                <a:cubicBezTo>
                  <a:pt x="86" y="30"/>
                  <a:pt x="86" y="30"/>
                  <a:pt x="86" y="30"/>
                </a:cubicBezTo>
                <a:cubicBezTo>
                  <a:pt x="86" y="31"/>
                  <a:pt x="86" y="31"/>
                  <a:pt x="86" y="31"/>
                </a:cubicBezTo>
                <a:cubicBezTo>
                  <a:pt x="86" y="32"/>
                  <a:pt x="86" y="32"/>
                  <a:pt x="86" y="32"/>
                </a:cubicBezTo>
                <a:cubicBezTo>
                  <a:pt x="87" y="33"/>
                  <a:pt x="87" y="33"/>
                  <a:pt x="87" y="33"/>
                </a:cubicBezTo>
                <a:cubicBezTo>
                  <a:pt x="86" y="34"/>
                  <a:pt x="86" y="34"/>
                  <a:pt x="86" y="34"/>
                </a:cubicBezTo>
                <a:cubicBezTo>
                  <a:pt x="85" y="34"/>
                  <a:pt x="85" y="34"/>
                  <a:pt x="85" y="34"/>
                </a:cubicBezTo>
                <a:cubicBezTo>
                  <a:pt x="83" y="35"/>
                  <a:pt x="83" y="35"/>
                  <a:pt x="83" y="35"/>
                </a:cubicBezTo>
                <a:cubicBezTo>
                  <a:pt x="83" y="35"/>
                  <a:pt x="83" y="35"/>
                  <a:pt x="83" y="35"/>
                </a:cubicBezTo>
                <a:cubicBezTo>
                  <a:pt x="85" y="36"/>
                  <a:pt x="85" y="36"/>
                  <a:pt x="85" y="36"/>
                </a:cubicBezTo>
                <a:cubicBezTo>
                  <a:pt x="85" y="37"/>
                  <a:pt x="85" y="37"/>
                  <a:pt x="85" y="37"/>
                </a:cubicBezTo>
                <a:cubicBezTo>
                  <a:pt x="84" y="37"/>
                  <a:pt x="84" y="37"/>
                  <a:pt x="84" y="37"/>
                </a:cubicBezTo>
                <a:cubicBezTo>
                  <a:pt x="83" y="35"/>
                  <a:pt x="83" y="35"/>
                  <a:pt x="83" y="35"/>
                </a:cubicBezTo>
                <a:cubicBezTo>
                  <a:pt x="81" y="37"/>
                  <a:pt x="81" y="37"/>
                  <a:pt x="81" y="37"/>
                </a:cubicBezTo>
                <a:cubicBezTo>
                  <a:pt x="80" y="37"/>
                  <a:pt x="80" y="37"/>
                  <a:pt x="80" y="37"/>
                </a:cubicBezTo>
                <a:cubicBezTo>
                  <a:pt x="80" y="38"/>
                  <a:pt x="80" y="38"/>
                  <a:pt x="80" y="38"/>
                </a:cubicBezTo>
                <a:cubicBezTo>
                  <a:pt x="81" y="39"/>
                  <a:pt x="81" y="39"/>
                  <a:pt x="81" y="39"/>
                </a:cubicBezTo>
                <a:cubicBezTo>
                  <a:pt x="81" y="39"/>
                  <a:pt x="81" y="39"/>
                  <a:pt x="81" y="39"/>
                </a:cubicBezTo>
                <a:cubicBezTo>
                  <a:pt x="82" y="39"/>
                  <a:pt x="82" y="39"/>
                  <a:pt x="82" y="39"/>
                </a:cubicBezTo>
                <a:cubicBezTo>
                  <a:pt x="81" y="40"/>
                  <a:pt x="81" y="40"/>
                  <a:pt x="81" y="40"/>
                </a:cubicBezTo>
                <a:cubicBezTo>
                  <a:pt x="81" y="41"/>
                  <a:pt x="81" y="41"/>
                  <a:pt x="81" y="41"/>
                </a:cubicBezTo>
                <a:cubicBezTo>
                  <a:pt x="80" y="42"/>
                  <a:pt x="80" y="42"/>
                  <a:pt x="80" y="42"/>
                </a:cubicBezTo>
                <a:cubicBezTo>
                  <a:pt x="80" y="43"/>
                  <a:pt x="80" y="43"/>
                  <a:pt x="80" y="43"/>
                </a:cubicBezTo>
                <a:cubicBezTo>
                  <a:pt x="82" y="43"/>
                  <a:pt x="82" y="43"/>
                  <a:pt x="82" y="43"/>
                </a:cubicBezTo>
                <a:cubicBezTo>
                  <a:pt x="80" y="44"/>
                  <a:pt x="80" y="44"/>
                  <a:pt x="80" y="44"/>
                </a:cubicBezTo>
                <a:cubicBezTo>
                  <a:pt x="80" y="44"/>
                  <a:pt x="80" y="44"/>
                  <a:pt x="80" y="44"/>
                </a:cubicBezTo>
                <a:cubicBezTo>
                  <a:pt x="79" y="44"/>
                  <a:pt x="79" y="44"/>
                  <a:pt x="79" y="44"/>
                </a:cubicBezTo>
                <a:cubicBezTo>
                  <a:pt x="78" y="43"/>
                  <a:pt x="78" y="43"/>
                  <a:pt x="78" y="43"/>
                </a:cubicBezTo>
                <a:cubicBezTo>
                  <a:pt x="77" y="42"/>
                  <a:pt x="77" y="42"/>
                  <a:pt x="77" y="42"/>
                </a:cubicBezTo>
                <a:cubicBezTo>
                  <a:pt x="76" y="43"/>
                  <a:pt x="76" y="43"/>
                  <a:pt x="76" y="43"/>
                </a:cubicBezTo>
                <a:cubicBezTo>
                  <a:pt x="76" y="42"/>
                  <a:pt x="76" y="42"/>
                  <a:pt x="76" y="42"/>
                </a:cubicBezTo>
                <a:cubicBezTo>
                  <a:pt x="75" y="42"/>
                  <a:pt x="75" y="42"/>
                  <a:pt x="75" y="42"/>
                </a:cubicBezTo>
                <a:cubicBezTo>
                  <a:pt x="74" y="42"/>
                  <a:pt x="74" y="42"/>
                  <a:pt x="74" y="42"/>
                </a:cubicBezTo>
                <a:cubicBezTo>
                  <a:pt x="75" y="43"/>
                  <a:pt x="75" y="43"/>
                  <a:pt x="75" y="43"/>
                </a:cubicBezTo>
                <a:cubicBezTo>
                  <a:pt x="75" y="44"/>
                  <a:pt x="75" y="44"/>
                  <a:pt x="75" y="44"/>
                </a:cubicBezTo>
                <a:cubicBezTo>
                  <a:pt x="74" y="45"/>
                  <a:pt x="74" y="45"/>
                  <a:pt x="74" y="45"/>
                </a:cubicBezTo>
                <a:cubicBezTo>
                  <a:pt x="75" y="46"/>
                  <a:pt x="75" y="46"/>
                  <a:pt x="75" y="46"/>
                </a:cubicBezTo>
                <a:cubicBezTo>
                  <a:pt x="77" y="46"/>
                  <a:pt x="77" y="46"/>
                  <a:pt x="77" y="46"/>
                </a:cubicBezTo>
                <a:cubicBezTo>
                  <a:pt x="76" y="47"/>
                  <a:pt x="76" y="47"/>
                  <a:pt x="76" y="47"/>
                </a:cubicBezTo>
                <a:cubicBezTo>
                  <a:pt x="76" y="48"/>
                  <a:pt x="76" y="48"/>
                  <a:pt x="76" y="48"/>
                </a:cubicBezTo>
                <a:cubicBezTo>
                  <a:pt x="76" y="48"/>
                  <a:pt x="76" y="48"/>
                  <a:pt x="76" y="48"/>
                </a:cubicBezTo>
                <a:cubicBezTo>
                  <a:pt x="75" y="48"/>
                  <a:pt x="75" y="48"/>
                  <a:pt x="75" y="48"/>
                </a:cubicBezTo>
                <a:cubicBezTo>
                  <a:pt x="75" y="49"/>
                  <a:pt x="75" y="49"/>
                  <a:pt x="75" y="49"/>
                </a:cubicBezTo>
                <a:cubicBezTo>
                  <a:pt x="75" y="50"/>
                  <a:pt x="75" y="50"/>
                  <a:pt x="75" y="50"/>
                </a:cubicBezTo>
                <a:cubicBezTo>
                  <a:pt x="74" y="52"/>
                  <a:pt x="74" y="52"/>
                  <a:pt x="74" y="52"/>
                </a:cubicBezTo>
                <a:cubicBezTo>
                  <a:pt x="72" y="48"/>
                  <a:pt x="72" y="48"/>
                  <a:pt x="72" y="48"/>
                </a:cubicBezTo>
                <a:cubicBezTo>
                  <a:pt x="71" y="45"/>
                  <a:pt x="71" y="45"/>
                  <a:pt x="71" y="45"/>
                </a:cubicBezTo>
                <a:cubicBezTo>
                  <a:pt x="70" y="44"/>
                  <a:pt x="70" y="44"/>
                  <a:pt x="70" y="44"/>
                </a:cubicBezTo>
                <a:cubicBezTo>
                  <a:pt x="71" y="43"/>
                  <a:pt x="71" y="43"/>
                  <a:pt x="71" y="43"/>
                </a:cubicBezTo>
                <a:cubicBezTo>
                  <a:pt x="70" y="43"/>
                  <a:pt x="70" y="43"/>
                  <a:pt x="70" y="43"/>
                </a:cubicBezTo>
                <a:cubicBezTo>
                  <a:pt x="69" y="44"/>
                  <a:pt x="69" y="44"/>
                  <a:pt x="69" y="44"/>
                </a:cubicBezTo>
                <a:cubicBezTo>
                  <a:pt x="69" y="46"/>
                  <a:pt x="69" y="46"/>
                  <a:pt x="69" y="46"/>
                </a:cubicBezTo>
                <a:cubicBezTo>
                  <a:pt x="68" y="46"/>
                  <a:pt x="68" y="46"/>
                  <a:pt x="68" y="46"/>
                </a:cubicBezTo>
                <a:cubicBezTo>
                  <a:pt x="67" y="47"/>
                  <a:pt x="67" y="47"/>
                  <a:pt x="67" y="47"/>
                </a:cubicBezTo>
                <a:cubicBezTo>
                  <a:pt x="66" y="47"/>
                  <a:pt x="66" y="47"/>
                  <a:pt x="66" y="47"/>
                </a:cubicBezTo>
                <a:cubicBezTo>
                  <a:pt x="66" y="48"/>
                  <a:pt x="66" y="48"/>
                  <a:pt x="66" y="48"/>
                </a:cubicBezTo>
                <a:cubicBezTo>
                  <a:pt x="64" y="49"/>
                  <a:pt x="64" y="49"/>
                  <a:pt x="64" y="49"/>
                </a:cubicBezTo>
                <a:cubicBezTo>
                  <a:pt x="65" y="50"/>
                  <a:pt x="65" y="50"/>
                  <a:pt x="65" y="50"/>
                </a:cubicBezTo>
                <a:cubicBezTo>
                  <a:pt x="65" y="54"/>
                  <a:pt x="65" y="54"/>
                  <a:pt x="65" y="54"/>
                </a:cubicBezTo>
                <a:cubicBezTo>
                  <a:pt x="65" y="54"/>
                  <a:pt x="65" y="54"/>
                  <a:pt x="65" y="54"/>
                </a:cubicBezTo>
                <a:cubicBezTo>
                  <a:pt x="65" y="55"/>
                  <a:pt x="65" y="55"/>
                  <a:pt x="65" y="55"/>
                </a:cubicBezTo>
                <a:cubicBezTo>
                  <a:pt x="64" y="56"/>
                  <a:pt x="64" y="56"/>
                  <a:pt x="64" y="56"/>
                </a:cubicBezTo>
                <a:cubicBezTo>
                  <a:pt x="64" y="57"/>
                  <a:pt x="64" y="57"/>
                  <a:pt x="64" y="57"/>
                </a:cubicBezTo>
                <a:cubicBezTo>
                  <a:pt x="62" y="57"/>
                  <a:pt x="62" y="57"/>
                  <a:pt x="62" y="57"/>
                </a:cubicBezTo>
                <a:cubicBezTo>
                  <a:pt x="62" y="58"/>
                  <a:pt x="62" y="58"/>
                  <a:pt x="62" y="58"/>
                </a:cubicBezTo>
                <a:cubicBezTo>
                  <a:pt x="60" y="59"/>
                  <a:pt x="60" y="59"/>
                  <a:pt x="60" y="59"/>
                </a:cubicBezTo>
                <a:cubicBezTo>
                  <a:pt x="61" y="61"/>
                  <a:pt x="61" y="61"/>
                  <a:pt x="61" y="61"/>
                </a:cubicBezTo>
                <a:cubicBezTo>
                  <a:pt x="60" y="61"/>
                  <a:pt x="60" y="61"/>
                  <a:pt x="60" y="61"/>
                </a:cubicBezTo>
                <a:cubicBezTo>
                  <a:pt x="58" y="64"/>
                  <a:pt x="58" y="64"/>
                  <a:pt x="58" y="64"/>
                </a:cubicBezTo>
                <a:cubicBezTo>
                  <a:pt x="54" y="66"/>
                  <a:pt x="54" y="66"/>
                  <a:pt x="54" y="66"/>
                </a:cubicBezTo>
                <a:cubicBezTo>
                  <a:pt x="51" y="67"/>
                  <a:pt x="51" y="67"/>
                  <a:pt x="51" y="67"/>
                </a:cubicBezTo>
                <a:cubicBezTo>
                  <a:pt x="49" y="67"/>
                  <a:pt x="49" y="67"/>
                  <a:pt x="49" y="67"/>
                </a:cubicBezTo>
                <a:cubicBezTo>
                  <a:pt x="48" y="67"/>
                  <a:pt x="48" y="67"/>
                  <a:pt x="48" y="67"/>
                </a:cubicBezTo>
                <a:cubicBezTo>
                  <a:pt x="46" y="68"/>
                  <a:pt x="46" y="68"/>
                  <a:pt x="46" y="68"/>
                </a:cubicBezTo>
                <a:cubicBezTo>
                  <a:pt x="45" y="67"/>
                  <a:pt x="45" y="67"/>
                  <a:pt x="45" y="67"/>
                </a:cubicBezTo>
                <a:cubicBezTo>
                  <a:pt x="43" y="68"/>
                  <a:pt x="43" y="68"/>
                  <a:pt x="43" y="68"/>
                </a:cubicBezTo>
                <a:cubicBezTo>
                  <a:pt x="42" y="69"/>
                  <a:pt x="42" y="69"/>
                  <a:pt x="42" y="69"/>
                </a:cubicBezTo>
                <a:cubicBezTo>
                  <a:pt x="41" y="70"/>
                  <a:pt x="41" y="70"/>
                  <a:pt x="41" y="70"/>
                </a:cubicBezTo>
                <a:cubicBezTo>
                  <a:pt x="37" y="70"/>
                  <a:pt x="37" y="70"/>
                  <a:pt x="37" y="70"/>
                </a:cubicBezTo>
                <a:cubicBezTo>
                  <a:pt x="36" y="70"/>
                  <a:pt x="36" y="70"/>
                  <a:pt x="36" y="70"/>
                </a:cubicBezTo>
                <a:cubicBezTo>
                  <a:pt x="36" y="71"/>
                  <a:pt x="36" y="71"/>
                  <a:pt x="36" y="71"/>
                </a:cubicBezTo>
                <a:cubicBezTo>
                  <a:pt x="33" y="72"/>
                  <a:pt x="33" y="72"/>
                  <a:pt x="33" y="72"/>
                </a:cubicBezTo>
                <a:cubicBezTo>
                  <a:pt x="31" y="72"/>
                  <a:pt x="31" y="72"/>
                  <a:pt x="31" y="72"/>
                </a:cubicBezTo>
                <a:cubicBezTo>
                  <a:pt x="30" y="72"/>
                  <a:pt x="30" y="72"/>
                  <a:pt x="30" y="72"/>
                </a:cubicBezTo>
                <a:cubicBezTo>
                  <a:pt x="29" y="72"/>
                  <a:pt x="29" y="72"/>
                  <a:pt x="29" y="72"/>
                </a:cubicBezTo>
                <a:cubicBezTo>
                  <a:pt x="29" y="71"/>
                  <a:pt x="29" y="71"/>
                  <a:pt x="29" y="71"/>
                </a:cubicBezTo>
                <a:cubicBezTo>
                  <a:pt x="28" y="72"/>
                  <a:pt x="28" y="72"/>
                  <a:pt x="28" y="72"/>
                </a:cubicBezTo>
                <a:cubicBezTo>
                  <a:pt x="27" y="73"/>
                  <a:pt x="27" y="73"/>
                  <a:pt x="27" y="73"/>
                </a:cubicBezTo>
                <a:cubicBezTo>
                  <a:pt x="24" y="74"/>
                  <a:pt x="24" y="74"/>
                  <a:pt x="24" y="74"/>
                </a:cubicBezTo>
                <a:cubicBezTo>
                  <a:pt x="24" y="74"/>
                  <a:pt x="24" y="74"/>
                  <a:pt x="24" y="74"/>
                </a:cubicBezTo>
                <a:cubicBezTo>
                  <a:pt x="23" y="74"/>
                  <a:pt x="23" y="74"/>
                  <a:pt x="23" y="74"/>
                </a:cubicBezTo>
                <a:cubicBezTo>
                  <a:pt x="21" y="76"/>
                  <a:pt x="21" y="76"/>
                  <a:pt x="21" y="76"/>
                </a:cubicBezTo>
                <a:cubicBezTo>
                  <a:pt x="18" y="78"/>
                  <a:pt x="18" y="78"/>
                  <a:pt x="18" y="78"/>
                </a:cubicBezTo>
                <a:cubicBezTo>
                  <a:pt x="15" y="79"/>
                  <a:pt x="15" y="79"/>
                  <a:pt x="15" y="79"/>
                </a:cubicBezTo>
                <a:cubicBezTo>
                  <a:pt x="13" y="81"/>
                  <a:pt x="13" y="81"/>
                  <a:pt x="13" y="81"/>
                </a:cubicBezTo>
                <a:cubicBezTo>
                  <a:pt x="13" y="83"/>
                  <a:pt x="13" y="83"/>
                  <a:pt x="13" y="83"/>
                </a:cubicBezTo>
                <a:cubicBezTo>
                  <a:pt x="12" y="84"/>
                  <a:pt x="12" y="84"/>
                  <a:pt x="12" y="84"/>
                </a:cubicBezTo>
                <a:cubicBezTo>
                  <a:pt x="11" y="83"/>
                  <a:pt x="11" y="83"/>
                  <a:pt x="11" y="83"/>
                </a:cubicBezTo>
                <a:cubicBezTo>
                  <a:pt x="11" y="83"/>
                  <a:pt x="11" y="83"/>
                  <a:pt x="11" y="83"/>
                </a:cubicBezTo>
                <a:cubicBezTo>
                  <a:pt x="11" y="82"/>
                  <a:pt x="11" y="82"/>
                  <a:pt x="11" y="82"/>
                </a:cubicBezTo>
                <a:cubicBezTo>
                  <a:pt x="12" y="80"/>
                  <a:pt x="12" y="80"/>
                  <a:pt x="12" y="80"/>
                </a:cubicBezTo>
                <a:cubicBezTo>
                  <a:pt x="12" y="79"/>
                  <a:pt x="12" y="79"/>
                  <a:pt x="12" y="79"/>
                </a:cubicBezTo>
                <a:cubicBezTo>
                  <a:pt x="10" y="81"/>
                  <a:pt x="10" y="81"/>
                  <a:pt x="10" y="81"/>
                </a:cubicBezTo>
                <a:cubicBezTo>
                  <a:pt x="9" y="82"/>
                  <a:pt x="9" y="82"/>
                  <a:pt x="9" y="82"/>
                </a:cubicBezTo>
                <a:cubicBezTo>
                  <a:pt x="8" y="85"/>
                  <a:pt x="8" y="85"/>
                  <a:pt x="8" y="85"/>
                </a:cubicBezTo>
                <a:cubicBezTo>
                  <a:pt x="9" y="87"/>
                  <a:pt x="9" y="87"/>
                  <a:pt x="9" y="87"/>
                </a:cubicBezTo>
                <a:cubicBezTo>
                  <a:pt x="8" y="89"/>
                  <a:pt x="8" y="89"/>
                  <a:pt x="8" y="89"/>
                </a:cubicBezTo>
                <a:cubicBezTo>
                  <a:pt x="8" y="91"/>
                  <a:pt x="8" y="91"/>
                  <a:pt x="8" y="91"/>
                </a:cubicBezTo>
                <a:cubicBezTo>
                  <a:pt x="6" y="94"/>
                  <a:pt x="6" y="94"/>
                  <a:pt x="6" y="94"/>
                </a:cubicBezTo>
                <a:cubicBezTo>
                  <a:pt x="5" y="99"/>
                  <a:pt x="5" y="99"/>
                  <a:pt x="5" y="99"/>
                </a:cubicBezTo>
                <a:cubicBezTo>
                  <a:pt x="5" y="101"/>
                  <a:pt x="5" y="101"/>
                  <a:pt x="5" y="101"/>
                </a:cubicBezTo>
                <a:cubicBezTo>
                  <a:pt x="5" y="104"/>
                  <a:pt x="5" y="104"/>
                  <a:pt x="5" y="104"/>
                </a:cubicBezTo>
                <a:cubicBezTo>
                  <a:pt x="7" y="107"/>
                  <a:pt x="7" y="107"/>
                  <a:pt x="7" y="107"/>
                </a:cubicBezTo>
                <a:cubicBezTo>
                  <a:pt x="7" y="109"/>
                  <a:pt x="7" y="109"/>
                  <a:pt x="7" y="109"/>
                </a:cubicBezTo>
                <a:cubicBezTo>
                  <a:pt x="8" y="110"/>
                  <a:pt x="8" y="110"/>
                  <a:pt x="8" y="110"/>
                </a:cubicBezTo>
                <a:cubicBezTo>
                  <a:pt x="7" y="112"/>
                  <a:pt x="7" y="112"/>
                  <a:pt x="7" y="112"/>
                </a:cubicBezTo>
                <a:cubicBezTo>
                  <a:pt x="8" y="113"/>
                  <a:pt x="8" y="113"/>
                  <a:pt x="8" y="113"/>
                </a:cubicBezTo>
                <a:cubicBezTo>
                  <a:pt x="6" y="114"/>
                  <a:pt x="6" y="114"/>
                  <a:pt x="6" y="114"/>
                </a:cubicBezTo>
                <a:cubicBezTo>
                  <a:pt x="6" y="113"/>
                  <a:pt x="6" y="113"/>
                  <a:pt x="6" y="113"/>
                </a:cubicBezTo>
                <a:cubicBezTo>
                  <a:pt x="6" y="111"/>
                  <a:pt x="6" y="111"/>
                  <a:pt x="6" y="111"/>
                </a:cubicBezTo>
                <a:cubicBezTo>
                  <a:pt x="5" y="112"/>
                  <a:pt x="5" y="112"/>
                  <a:pt x="5" y="112"/>
                </a:cubicBezTo>
                <a:cubicBezTo>
                  <a:pt x="5" y="112"/>
                  <a:pt x="5" y="112"/>
                  <a:pt x="5" y="112"/>
                </a:cubicBezTo>
                <a:cubicBezTo>
                  <a:pt x="5" y="110"/>
                  <a:pt x="5" y="110"/>
                  <a:pt x="5" y="110"/>
                </a:cubicBezTo>
                <a:cubicBezTo>
                  <a:pt x="3" y="107"/>
                  <a:pt x="3" y="107"/>
                  <a:pt x="3" y="107"/>
                </a:cubicBezTo>
                <a:cubicBezTo>
                  <a:pt x="3" y="108"/>
                  <a:pt x="3" y="108"/>
                  <a:pt x="3" y="108"/>
                </a:cubicBezTo>
                <a:cubicBezTo>
                  <a:pt x="3" y="111"/>
                  <a:pt x="3" y="111"/>
                  <a:pt x="3" y="111"/>
                </a:cubicBezTo>
                <a:cubicBezTo>
                  <a:pt x="5" y="113"/>
                  <a:pt x="5" y="113"/>
                  <a:pt x="5" y="113"/>
                </a:cubicBezTo>
                <a:cubicBezTo>
                  <a:pt x="6" y="115"/>
                  <a:pt x="6" y="115"/>
                  <a:pt x="6" y="115"/>
                </a:cubicBezTo>
                <a:cubicBezTo>
                  <a:pt x="4" y="115"/>
                  <a:pt x="4" y="115"/>
                  <a:pt x="4" y="115"/>
                </a:cubicBezTo>
                <a:cubicBezTo>
                  <a:pt x="3" y="113"/>
                  <a:pt x="3" y="113"/>
                  <a:pt x="3" y="113"/>
                </a:cubicBezTo>
                <a:cubicBezTo>
                  <a:pt x="2" y="111"/>
                  <a:pt x="2" y="111"/>
                  <a:pt x="2" y="111"/>
                </a:cubicBezTo>
                <a:cubicBezTo>
                  <a:pt x="2" y="112"/>
                  <a:pt x="2" y="112"/>
                  <a:pt x="2" y="112"/>
                </a:cubicBezTo>
                <a:cubicBezTo>
                  <a:pt x="1" y="112"/>
                  <a:pt x="1" y="112"/>
                  <a:pt x="1" y="112"/>
                </a:cubicBezTo>
                <a:cubicBezTo>
                  <a:pt x="2" y="115"/>
                  <a:pt x="2" y="115"/>
                  <a:pt x="2" y="115"/>
                </a:cubicBezTo>
                <a:cubicBezTo>
                  <a:pt x="4" y="117"/>
                  <a:pt x="4" y="117"/>
                  <a:pt x="4" y="117"/>
                </a:cubicBezTo>
                <a:cubicBezTo>
                  <a:pt x="6" y="121"/>
                  <a:pt x="6" y="121"/>
                  <a:pt x="6" y="121"/>
                </a:cubicBezTo>
                <a:cubicBezTo>
                  <a:pt x="5" y="127"/>
                  <a:pt x="5" y="127"/>
                  <a:pt x="5" y="127"/>
                </a:cubicBezTo>
                <a:cubicBezTo>
                  <a:pt x="6" y="128"/>
                  <a:pt x="6" y="128"/>
                  <a:pt x="6" y="128"/>
                </a:cubicBezTo>
                <a:cubicBezTo>
                  <a:pt x="7" y="132"/>
                  <a:pt x="7" y="132"/>
                  <a:pt x="7" y="132"/>
                </a:cubicBezTo>
                <a:cubicBezTo>
                  <a:pt x="9" y="137"/>
                  <a:pt x="9" y="137"/>
                  <a:pt x="9" y="137"/>
                </a:cubicBezTo>
                <a:cubicBezTo>
                  <a:pt x="8" y="138"/>
                  <a:pt x="8" y="138"/>
                  <a:pt x="8" y="138"/>
                </a:cubicBezTo>
                <a:cubicBezTo>
                  <a:pt x="8" y="145"/>
                  <a:pt x="8" y="145"/>
                  <a:pt x="8" y="145"/>
                </a:cubicBezTo>
                <a:cubicBezTo>
                  <a:pt x="8" y="146"/>
                  <a:pt x="8" y="146"/>
                  <a:pt x="8" y="146"/>
                </a:cubicBezTo>
                <a:cubicBezTo>
                  <a:pt x="9" y="148"/>
                  <a:pt x="9" y="148"/>
                  <a:pt x="9" y="148"/>
                </a:cubicBezTo>
                <a:cubicBezTo>
                  <a:pt x="9" y="150"/>
                  <a:pt x="9" y="150"/>
                  <a:pt x="9" y="150"/>
                </a:cubicBezTo>
                <a:cubicBezTo>
                  <a:pt x="10" y="153"/>
                  <a:pt x="10" y="153"/>
                  <a:pt x="10" y="153"/>
                </a:cubicBezTo>
                <a:cubicBezTo>
                  <a:pt x="10" y="155"/>
                  <a:pt x="10" y="155"/>
                  <a:pt x="10" y="155"/>
                </a:cubicBezTo>
                <a:cubicBezTo>
                  <a:pt x="9" y="156"/>
                  <a:pt x="9" y="156"/>
                  <a:pt x="9" y="156"/>
                </a:cubicBezTo>
                <a:cubicBezTo>
                  <a:pt x="9" y="157"/>
                  <a:pt x="9" y="157"/>
                  <a:pt x="9" y="157"/>
                </a:cubicBezTo>
                <a:cubicBezTo>
                  <a:pt x="9" y="158"/>
                  <a:pt x="9" y="158"/>
                  <a:pt x="9" y="158"/>
                </a:cubicBezTo>
                <a:cubicBezTo>
                  <a:pt x="9" y="161"/>
                  <a:pt x="9" y="161"/>
                  <a:pt x="9" y="161"/>
                </a:cubicBezTo>
                <a:cubicBezTo>
                  <a:pt x="8" y="162"/>
                  <a:pt x="8" y="162"/>
                  <a:pt x="8" y="162"/>
                </a:cubicBezTo>
                <a:cubicBezTo>
                  <a:pt x="8" y="163"/>
                  <a:pt x="8" y="163"/>
                  <a:pt x="8" y="163"/>
                </a:cubicBezTo>
                <a:cubicBezTo>
                  <a:pt x="8" y="164"/>
                  <a:pt x="8" y="164"/>
                  <a:pt x="8" y="164"/>
                </a:cubicBezTo>
                <a:cubicBezTo>
                  <a:pt x="7" y="165"/>
                  <a:pt x="7" y="165"/>
                  <a:pt x="7" y="165"/>
                </a:cubicBezTo>
                <a:cubicBezTo>
                  <a:pt x="7" y="167"/>
                  <a:pt x="7" y="167"/>
                  <a:pt x="7" y="167"/>
                </a:cubicBezTo>
                <a:cubicBezTo>
                  <a:pt x="5" y="168"/>
                  <a:pt x="5" y="168"/>
                  <a:pt x="5" y="168"/>
                </a:cubicBezTo>
                <a:cubicBezTo>
                  <a:pt x="4" y="168"/>
                  <a:pt x="4" y="168"/>
                  <a:pt x="4" y="168"/>
                </a:cubicBezTo>
                <a:cubicBezTo>
                  <a:pt x="2" y="170"/>
                  <a:pt x="2" y="170"/>
                  <a:pt x="2" y="170"/>
                </a:cubicBezTo>
                <a:lnTo>
                  <a:pt x="2" y="174"/>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3" name="Freeform 161">
            <a:extLst>
              <a:ext uri="{FF2B5EF4-FFF2-40B4-BE49-F238E27FC236}">
                <a16:creationId xmlns:a16="http://schemas.microsoft.com/office/drawing/2014/main" id="{589DC4A2-1BA4-8C73-EA8A-A92DAAC93AFA}"/>
              </a:ext>
            </a:extLst>
          </p:cNvPr>
          <p:cNvSpPr>
            <a:spLocks noEditPoints="1"/>
          </p:cNvSpPr>
          <p:nvPr userDrawn="1"/>
        </p:nvSpPr>
        <p:spPr bwMode="auto">
          <a:xfrm>
            <a:off x="22696594" y="12007131"/>
            <a:ext cx="1260396" cy="1927226"/>
          </a:xfrm>
          <a:custGeom>
            <a:avLst/>
            <a:gdLst>
              <a:gd name="T0" fmla="*/ 25 w 397"/>
              <a:gd name="T1" fmla="*/ 604 h 607"/>
              <a:gd name="T2" fmla="*/ 0 w 397"/>
              <a:gd name="T3" fmla="*/ 529 h 607"/>
              <a:gd name="T4" fmla="*/ 0 w 397"/>
              <a:gd name="T5" fmla="*/ 529 h 607"/>
              <a:gd name="T6" fmla="*/ 340 w 397"/>
              <a:gd name="T7" fmla="*/ 69 h 607"/>
              <a:gd name="T8" fmla="*/ 347 w 397"/>
              <a:gd name="T9" fmla="*/ 69 h 607"/>
              <a:gd name="T10" fmla="*/ 290 w 397"/>
              <a:gd name="T11" fmla="*/ 229 h 607"/>
              <a:gd name="T12" fmla="*/ 315 w 397"/>
              <a:gd name="T13" fmla="*/ 216 h 607"/>
              <a:gd name="T14" fmla="*/ 343 w 397"/>
              <a:gd name="T15" fmla="*/ 185 h 607"/>
              <a:gd name="T16" fmla="*/ 356 w 397"/>
              <a:gd name="T17" fmla="*/ 160 h 607"/>
              <a:gd name="T18" fmla="*/ 368 w 397"/>
              <a:gd name="T19" fmla="*/ 154 h 607"/>
              <a:gd name="T20" fmla="*/ 387 w 397"/>
              <a:gd name="T21" fmla="*/ 129 h 607"/>
              <a:gd name="T22" fmla="*/ 387 w 397"/>
              <a:gd name="T23" fmla="*/ 110 h 607"/>
              <a:gd name="T24" fmla="*/ 350 w 397"/>
              <a:gd name="T25" fmla="*/ 107 h 607"/>
              <a:gd name="T26" fmla="*/ 347 w 397"/>
              <a:gd name="T27" fmla="*/ 79 h 607"/>
              <a:gd name="T28" fmla="*/ 340 w 397"/>
              <a:gd name="T29" fmla="*/ 88 h 607"/>
              <a:gd name="T30" fmla="*/ 328 w 397"/>
              <a:gd name="T31" fmla="*/ 88 h 607"/>
              <a:gd name="T32" fmla="*/ 334 w 397"/>
              <a:gd name="T33" fmla="*/ 63 h 607"/>
              <a:gd name="T34" fmla="*/ 337 w 397"/>
              <a:gd name="T35" fmla="*/ 41 h 607"/>
              <a:gd name="T36" fmla="*/ 328 w 397"/>
              <a:gd name="T37" fmla="*/ 25 h 607"/>
              <a:gd name="T38" fmla="*/ 322 w 397"/>
              <a:gd name="T39" fmla="*/ 13 h 607"/>
              <a:gd name="T40" fmla="*/ 312 w 397"/>
              <a:gd name="T41" fmla="*/ 4 h 607"/>
              <a:gd name="T42" fmla="*/ 312 w 397"/>
              <a:gd name="T43" fmla="*/ 25 h 607"/>
              <a:gd name="T44" fmla="*/ 312 w 397"/>
              <a:gd name="T45" fmla="*/ 41 h 607"/>
              <a:gd name="T46" fmla="*/ 322 w 397"/>
              <a:gd name="T47" fmla="*/ 63 h 607"/>
              <a:gd name="T48" fmla="*/ 322 w 397"/>
              <a:gd name="T49" fmla="*/ 76 h 607"/>
              <a:gd name="T50" fmla="*/ 325 w 397"/>
              <a:gd name="T51" fmla="*/ 91 h 607"/>
              <a:gd name="T52" fmla="*/ 322 w 397"/>
              <a:gd name="T53" fmla="*/ 113 h 607"/>
              <a:gd name="T54" fmla="*/ 312 w 397"/>
              <a:gd name="T55" fmla="*/ 129 h 607"/>
              <a:gd name="T56" fmla="*/ 284 w 397"/>
              <a:gd name="T57" fmla="*/ 160 h 607"/>
              <a:gd name="T58" fmla="*/ 306 w 397"/>
              <a:gd name="T59" fmla="*/ 191 h 607"/>
              <a:gd name="T60" fmla="*/ 272 w 397"/>
              <a:gd name="T61" fmla="*/ 210 h 607"/>
              <a:gd name="T62" fmla="*/ 272 w 397"/>
              <a:gd name="T63" fmla="*/ 210 h 607"/>
              <a:gd name="T64" fmla="*/ 272 w 397"/>
              <a:gd name="T65" fmla="*/ 213 h 607"/>
              <a:gd name="T66" fmla="*/ 87 w 397"/>
              <a:gd name="T67" fmla="*/ 404 h 607"/>
              <a:gd name="T68" fmla="*/ 90 w 397"/>
              <a:gd name="T69" fmla="*/ 391 h 607"/>
              <a:gd name="T70" fmla="*/ 96 w 397"/>
              <a:gd name="T71" fmla="*/ 398 h 607"/>
              <a:gd name="T72" fmla="*/ 90 w 397"/>
              <a:gd name="T73" fmla="*/ 404 h 607"/>
              <a:gd name="T74" fmla="*/ 81 w 397"/>
              <a:gd name="T75" fmla="*/ 363 h 607"/>
              <a:gd name="T76" fmla="*/ 93 w 397"/>
              <a:gd name="T77" fmla="*/ 341 h 607"/>
              <a:gd name="T78" fmla="*/ 109 w 397"/>
              <a:gd name="T79" fmla="*/ 329 h 607"/>
              <a:gd name="T80" fmla="*/ 125 w 397"/>
              <a:gd name="T81" fmla="*/ 310 h 607"/>
              <a:gd name="T82" fmla="*/ 156 w 397"/>
              <a:gd name="T83" fmla="*/ 301 h 607"/>
              <a:gd name="T84" fmla="*/ 181 w 397"/>
              <a:gd name="T85" fmla="*/ 276 h 607"/>
              <a:gd name="T86" fmla="*/ 215 w 397"/>
              <a:gd name="T87" fmla="*/ 244 h 607"/>
              <a:gd name="T88" fmla="*/ 237 w 397"/>
              <a:gd name="T89" fmla="*/ 219 h 607"/>
              <a:gd name="T90" fmla="*/ 256 w 397"/>
              <a:gd name="T91" fmla="*/ 207 h 607"/>
              <a:gd name="T92" fmla="*/ 259 w 397"/>
              <a:gd name="T93" fmla="*/ 219 h 607"/>
              <a:gd name="T94" fmla="*/ 272 w 397"/>
              <a:gd name="T95" fmla="*/ 216 h 607"/>
              <a:gd name="T96" fmla="*/ 278 w 397"/>
              <a:gd name="T97" fmla="*/ 219 h 607"/>
              <a:gd name="T98" fmla="*/ 262 w 397"/>
              <a:gd name="T99" fmla="*/ 251 h 607"/>
              <a:gd name="T100" fmla="*/ 237 w 397"/>
              <a:gd name="T101" fmla="*/ 282 h 607"/>
              <a:gd name="T102" fmla="*/ 228 w 397"/>
              <a:gd name="T103" fmla="*/ 307 h 607"/>
              <a:gd name="T104" fmla="*/ 222 w 397"/>
              <a:gd name="T105" fmla="*/ 304 h 607"/>
              <a:gd name="T106" fmla="*/ 209 w 397"/>
              <a:gd name="T107" fmla="*/ 301 h 607"/>
              <a:gd name="T108" fmla="*/ 190 w 397"/>
              <a:gd name="T109" fmla="*/ 313 h 607"/>
              <a:gd name="T110" fmla="*/ 165 w 397"/>
              <a:gd name="T111" fmla="*/ 354 h 607"/>
              <a:gd name="T112" fmla="*/ 153 w 397"/>
              <a:gd name="T113" fmla="*/ 370 h 607"/>
              <a:gd name="T114" fmla="*/ 134 w 397"/>
              <a:gd name="T115" fmla="*/ 385 h 607"/>
              <a:gd name="T116" fmla="*/ 109 w 397"/>
              <a:gd name="T117" fmla="*/ 388 h 607"/>
              <a:gd name="T118" fmla="*/ 93 w 397"/>
              <a:gd name="T119" fmla="*/ 373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7" h="607">
                <a:moveTo>
                  <a:pt x="81" y="354"/>
                </a:moveTo>
                <a:lnTo>
                  <a:pt x="84" y="354"/>
                </a:lnTo>
                <a:lnTo>
                  <a:pt x="87" y="354"/>
                </a:lnTo>
                <a:lnTo>
                  <a:pt x="87" y="351"/>
                </a:lnTo>
                <a:lnTo>
                  <a:pt x="84" y="351"/>
                </a:lnTo>
                <a:lnTo>
                  <a:pt x="81" y="351"/>
                </a:lnTo>
                <a:lnTo>
                  <a:pt x="81" y="354"/>
                </a:lnTo>
                <a:lnTo>
                  <a:pt x="81" y="354"/>
                </a:lnTo>
                <a:close/>
                <a:moveTo>
                  <a:pt x="25" y="604"/>
                </a:moveTo>
                <a:lnTo>
                  <a:pt x="28" y="607"/>
                </a:lnTo>
                <a:lnTo>
                  <a:pt x="31" y="607"/>
                </a:lnTo>
                <a:lnTo>
                  <a:pt x="34" y="601"/>
                </a:lnTo>
                <a:lnTo>
                  <a:pt x="34" y="598"/>
                </a:lnTo>
                <a:lnTo>
                  <a:pt x="31" y="604"/>
                </a:lnTo>
                <a:lnTo>
                  <a:pt x="28" y="604"/>
                </a:lnTo>
                <a:lnTo>
                  <a:pt x="25" y="604"/>
                </a:lnTo>
                <a:lnTo>
                  <a:pt x="25" y="604"/>
                </a:lnTo>
                <a:close/>
                <a:moveTo>
                  <a:pt x="0" y="529"/>
                </a:moveTo>
                <a:lnTo>
                  <a:pt x="9" y="520"/>
                </a:lnTo>
                <a:lnTo>
                  <a:pt x="9" y="520"/>
                </a:lnTo>
                <a:lnTo>
                  <a:pt x="9" y="523"/>
                </a:lnTo>
                <a:lnTo>
                  <a:pt x="6" y="526"/>
                </a:lnTo>
                <a:lnTo>
                  <a:pt x="9" y="529"/>
                </a:lnTo>
                <a:lnTo>
                  <a:pt x="9" y="532"/>
                </a:lnTo>
                <a:lnTo>
                  <a:pt x="3" y="529"/>
                </a:lnTo>
                <a:lnTo>
                  <a:pt x="0" y="532"/>
                </a:lnTo>
                <a:lnTo>
                  <a:pt x="0" y="529"/>
                </a:lnTo>
                <a:lnTo>
                  <a:pt x="0" y="529"/>
                </a:lnTo>
                <a:close/>
                <a:moveTo>
                  <a:pt x="334" y="85"/>
                </a:moveTo>
                <a:lnTo>
                  <a:pt x="337" y="85"/>
                </a:lnTo>
                <a:lnTo>
                  <a:pt x="337" y="88"/>
                </a:lnTo>
                <a:lnTo>
                  <a:pt x="337" y="88"/>
                </a:lnTo>
                <a:lnTo>
                  <a:pt x="334" y="85"/>
                </a:lnTo>
                <a:lnTo>
                  <a:pt x="334" y="85"/>
                </a:lnTo>
                <a:close/>
                <a:moveTo>
                  <a:pt x="340" y="69"/>
                </a:moveTo>
                <a:lnTo>
                  <a:pt x="340" y="69"/>
                </a:lnTo>
                <a:lnTo>
                  <a:pt x="340" y="69"/>
                </a:lnTo>
                <a:lnTo>
                  <a:pt x="340" y="69"/>
                </a:lnTo>
                <a:lnTo>
                  <a:pt x="340" y="69"/>
                </a:lnTo>
                <a:close/>
                <a:moveTo>
                  <a:pt x="347" y="72"/>
                </a:moveTo>
                <a:lnTo>
                  <a:pt x="343" y="69"/>
                </a:lnTo>
                <a:lnTo>
                  <a:pt x="347" y="63"/>
                </a:lnTo>
                <a:lnTo>
                  <a:pt x="347" y="66"/>
                </a:lnTo>
                <a:lnTo>
                  <a:pt x="350" y="69"/>
                </a:lnTo>
                <a:lnTo>
                  <a:pt x="347" y="69"/>
                </a:lnTo>
                <a:lnTo>
                  <a:pt x="347" y="69"/>
                </a:lnTo>
                <a:lnTo>
                  <a:pt x="347" y="72"/>
                </a:lnTo>
                <a:lnTo>
                  <a:pt x="347" y="72"/>
                </a:lnTo>
                <a:close/>
                <a:moveTo>
                  <a:pt x="284" y="226"/>
                </a:moveTo>
                <a:lnTo>
                  <a:pt x="287" y="226"/>
                </a:lnTo>
                <a:lnTo>
                  <a:pt x="287" y="223"/>
                </a:lnTo>
                <a:lnTo>
                  <a:pt x="290" y="223"/>
                </a:lnTo>
                <a:lnTo>
                  <a:pt x="290" y="226"/>
                </a:lnTo>
                <a:lnTo>
                  <a:pt x="290" y="229"/>
                </a:lnTo>
                <a:lnTo>
                  <a:pt x="290" y="229"/>
                </a:lnTo>
                <a:lnTo>
                  <a:pt x="293" y="229"/>
                </a:lnTo>
                <a:lnTo>
                  <a:pt x="293" y="229"/>
                </a:lnTo>
                <a:lnTo>
                  <a:pt x="293" y="232"/>
                </a:lnTo>
                <a:lnTo>
                  <a:pt x="293" y="235"/>
                </a:lnTo>
                <a:lnTo>
                  <a:pt x="297" y="235"/>
                </a:lnTo>
                <a:lnTo>
                  <a:pt x="303" y="229"/>
                </a:lnTo>
                <a:lnTo>
                  <a:pt x="309" y="223"/>
                </a:lnTo>
                <a:lnTo>
                  <a:pt x="315" y="216"/>
                </a:lnTo>
                <a:lnTo>
                  <a:pt x="322" y="210"/>
                </a:lnTo>
                <a:lnTo>
                  <a:pt x="328" y="204"/>
                </a:lnTo>
                <a:lnTo>
                  <a:pt x="331" y="201"/>
                </a:lnTo>
                <a:lnTo>
                  <a:pt x="334" y="201"/>
                </a:lnTo>
                <a:lnTo>
                  <a:pt x="337" y="198"/>
                </a:lnTo>
                <a:lnTo>
                  <a:pt x="337" y="194"/>
                </a:lnTo>
                <a:lnTo>
                  <a:pt x="337" y="194"/>
                </a:lnTo>
                <a:lnTo>
                  <a:pt x="340" y="191"/>
                </a:lnTo>
                <a:lnTo>
                  <a:pt x="343" y="185"/>
                </a:lnTo>
                <a:lnTo>
                  <a:pt x="350" y="179"/>
                </a:lnTo>
                <a:lnTo>
                  <a:pt x="350" y="176"/>
                </a:lnTo>
                <a:lnTo>
                  <a:pt x="350" y="176"/>
                </a:lnTo>
                <a:lnTo>
                  <a:pt x="347" y="172"/>
                </a:lnTo>
                <a:lnTo>
                  <a:pt x="343" y="172"/>
                </a:lnTo>
                <a:lnTo>
                  <a:pt x="340" y="172"/>
                </a:lnTo>
                <a:lnTo>
                  <a:pt x="343" y="169"/>
                </a:lnTo>
                <a:lnTo>
                  <a:pt x="347" y="169"/>
                </a:lnTo>
                <a:lnTo>
                  <a:pt x="356" y="160"/>
                </a:lnTo>
                <a:lnTo>
                  <a:pt x="359" y="157"/>
                </a:lnTo>
                <a:lnTo>
                  <a:pt x="365" y="160"/>
                </a:lnTo>
                <a:lnTo>
                  <a:pt x="368" y="160"/>
                </a:lnTo>
                <a:lnTo>
                  <a:pt x="368" y="163"/>
                </a:lnTo>
                <a:lnTo>
                  <a:pt x="368" y="163"/>
                </a:lnTo>
                <a:lnTo>
                  <a:pt x="372" y="160"/>
                </a:lnTo>
                <a:lnTo>
                  <a:pt x="375" y="160"/>
                </a:lnTo>
                <a:lnTo>
                  <a:pt x="368" y="157"/>
                </a:lnTo>
                <a:lnTo>
                  <a:pt x="368" y="154"/>
                </a:lnTo>
                <a:lnTo>
                  <a:pt x="372" y="147"/>
                </a:lnTo>
                <a:lnTo>
                  <a:pt x="375" y="144"/>
                </a:lnTo>
                <a:lnTo>
                  <a:pt x="378" y="144"/>
                </a:lnTo>
                <a:lnTo>
                  <a:pt x="378" y="147"/>
                </a:lnTo>
                <a:lnTo>
                  <a:pt x="381" y="144"/>
                </a:lnTo>
                <a:lnTo>
                  <a:pt x="384" y="141"/>
                </a:lnTo>
                <a:lnTo>
                  <a:pt x="387" y="135"/>
                </a:lnTo>
                <a:lnTo>
                  <a:pt x="387" y="132"/>
                </a:lnTo>
                <a:lnTo>
                  <a:pt x="387" y="129"/>
                </a:lnTo>
                <a:lnTo>
                  <a:pt x="390" y="126"/>
                </a:lnTo>
                <a:lnTo>
                  <a:pt x="393" y="119"/>
                </a:lnTo>
                <a:lnTo>
                  <a:pt x="397" y="119"/>
                </a:lnTo>
                <a:lnTo>
                  <a:pt x="393" y="116"/>
                </a:lnTo>
                <a:lnTo>
                  <a:pt x="390" y="116"/>
                </a:lnTo>
                <a:lnTo>
                  <a:pt x="387" y="113"/>
                </a:lnTo>
                <a:lnTo>
                  <a:pt x="390" y="113"/>
                </a:lnTo>
                <a:lnTo>
                  <a:pt x="390" y="113"/>
                </a:lnTo>
                <a:lnTo>
                  <a:pt x="387" y="110"/>
                </a:lnTo>
                <a:lnTo>
                  <a:pt x="381" y="113"/>
                </a:lnTo>
                <a:lnTo>
                  <a:pt x="375" y="122"/>
                </a:lnTo>
                <a:lnTo>
                  <a:pt x="368" y="122"/>
                </a:lnTo>
                <a:lnTo>
                  <a:pt x="368" y="122"/>
                </a:lnTo>
                <a:lnTo>
                  <a:pt x="362" y="122"/>
                </a:lnTo>
                <a:lnTo>
                  <a:pt x="356" y="113"/>
                </a:lnTo>
                <a:lnTo>
                  <a:pt x="353" y="113"/>
                </a:lnTo>
                <a:lnTo>
                  <a:pt x="350" y="110"/>
                </a:lnTo>
                <a:lnTo>
                  <a:pt x="350" y="107"/>
                </a:lnTo>
                <a:lnTo>
                  <a:pt x="353" y="104"/>
                </a:lnTo>
                <a:lnTo>
                  <a:pt x="353" y="101"/>
                </a:lnTo>
                <a:lnTo>
                  <a:pt x="350" y="94"/>
                </a:lnTo>
                <a:lnTo>
                  <a:pt x="350" y="91"/>
                </a:lnTo>
                <a:lnTo>
                  <a:pt x="347" y="88"/>
                </a:lnTo>
                <a:lnTo>
                  <a:pt x="350" y="85"/>
                </a:lnTo>
                <a:lnTo>
                  <a:pt x="350" y="82"/>
                </a:lnTo>
                <a:lnTo>
                  <a:pt x="347" y="82"/>
                </a:lnTo>
                <a:lnTo>
                  <a:pt x="347" y="79"/>
                </a:lnTo>
                <a:lnTo>
                  <a:pt x="347" y="76"/>
                </a:lnTo>
                <a:lnTo>
                  <a:pt x="343" y="76"/>
                </a:lnTo>
                <a:lnTo>
                  <a:pt x="340" y="76"/>
                </a:lnTo>
                <a:lnTo>
                  <a:pt x="340" y="76"/>
                </a:lnTo>
                <a:lnTo>
                  <a:pt x="343" y="79"/>
                </a:lnTo>
                <a:lnTo>
                  <a:pt x="343" y="82"/>
                </a:lnTo>
                <a:lnTo>
                  <a:pt x="343" y="85"/>
                </a:lnTo>
                <a:lnTo>
                  <a:pt x="340" y="88"/>
                </a:lnTo>
                <a:lnTo>
                  <a:pt x="340" y="88"/>
                </a:lnTo>
                <a:lnTo>
                  <a:pt x="343" y="94"/>
                </a:lnTo>
                <a:lnTo>
                  <a:pt x="343" y="94"/>
                </a:lnTo>
                <a:lnTo>
                  <a:pt x="340" y="97"/>
                </a:lnTo>
                <a:lnTo>
                  <a:pt x="337" y="94"/>
                </a:lnTo>
                <a:lnTo>
                  <a:pt x="337" y="91"/>
                </a:lnTo>
                <a:lnTo>
                  <a:pt x="334" y="91"/>
                </a:lnTo>
                <a:lnTo>
                  <a:pt x="334" y="88"/>
                </a:lnTo>
                <a:lnTo>
                  <a:pt x="331" y="85"/>
                </a:lnTo>
                <a:lnTo>
                  <a:pt x="328" y="88"/>
                </a:lnTo>
                <a:lnTo>
                  <a:pt x="328" y="85"/>
                </a:lnTo>
                <a:lnTo>
                  <a:pt x="331" y="82"/>
                </a:lnTo>
                <a:lnTo>
                  <a:pt x="331" y="82"/>
                </a:lnTo>
                <a:lnTo>
                  <a:pt x="328" y="79"/>
                </a:lnTo>
                <a:lnTo>
                  <a:pt x="331" y="72"/>
                </a:lnTo>
                <a:lnTo>
                  <a:pt x="334" y="72"/>
                </a:lnTo>
                <a:lnTo>
                  <a:pt x="334" y="69"/>
                </a:lnTo>
                <a:lnTo>
                  <a:pt x="334" y="66"/>
                </a:lnTo>
                <a:lnTo>
                  <a:pt x="334" y="63"/>
                </a:lnTo>
                <a:lnTo>
                  <a:pt x="334" y="60"/>
                </a:lnTo>
                <a:lnTo>
                  <a:pt x="334" y="57"/>
                </a:lnTo>
                <a:lnTo>
                  <a:pt x="328" y="54"/>
                </a:lnTo>
                <a:lnTo>
                  <a:pt x="331" y="50"/>
                </a:lnTo>
                <a:lnTo>
                  <a:pt x="331" y="54"/>
                </a:lnTo>
                <a:lnTo>
                  <a:pt x="334" y="50"/>
                </a:lnTo>
                <a:lnTo>
                  <a:pt x="337" y="47"/>
                </a:lnTo>
                <a:lnTo>
                  <a:pt x="337" y="47"/>
                </a:lnTo>
                <a:lnTo>
                  <a:pt x="337" y="41"/>
                </a:lnTo>
                <a:lnTo>
                  <a:pt x="337" y="35"/>
                </a:lnTo>
                <a:lnTo>
                  <a:pt x="337" y="32"/>
                </a:lnTo>
                <a:lnTo>
                  <a:pt x="334" y="32"/>
                </a:lnTo>
                <a:lnTo>
                  <a:pt x="331" y="35"/>
                </a:lnTo>
                <a:lnTo>
                  <a:pt x="328" y="32"/>
                </a:lnTo>
                <a:lnTo>
                  <a:pt x="328" y="29"/>
                </a:lnTo>
                <a:lnTo>
                  <a:pt x="328" y="29"/>
                </a:lnTo>
                <a:lnTo>
                  <a:pt x="325" y="29"/>
                </a:lnTo>
                <a:lnTo>
                  <a:pt x="328" y="25"/>
                </a:lnTo>
                <a:lnTo>
                  <a:pt x="331" y="22"/>
                </a:lnTo>
                <a:lnTo>
                  <a:pt x="328" y="22"/>
                </a:lnTo>
                <a:lnTo>
                  <a:pt x="325" y="22"/>
                </a:lnTo>
                <a:lnTo>
                  <a:pt x="322" y="19"/>
                </a:lnTo>
                <a:lnTo>
                  <a:pt x="322" y="19"/>
                </a:lnTo>
                <a:lnTo>
                  <a:pt x="318" y="16"/>
                </a:lnTo>
                <a:lnTo>
                  <a:pt x="322" y="16"/>
                </a:lnTo>
                <a:lnTo>
                  <a:pt x="322" y="13"/>
                </a:lnTo>
                <a:lnTo>
                  <a:pt x="322" y="13"/>
                </a:lnTo>
                <a:lnTo>
                  <a:pt x="318" y="16"/>
                </a:lnTo>
                <a:lnTo>
                  <a:pt x="318" y="16"/>
                </a:lnTo>
                <a:lnTo>
                  <a:pt x="318" y="19"/>
                </a:lnTo>
                <a:lnTo>
                  <a:pt x="315" y="19"/>
                </a:lnTo>
                <a:lnTo>
                  <a:pt x="315" y="16"/>
                </a:lnTo>
                <a:lnTo>
                  <a:pt x="315" y="13"/>
                </a:lnTo>
                <a:lnTo>
                  <a:pt x="312" y="7"/>
                </a:lnTo>
                <a:lnTo>
                  <a:pt x="312" y="4"/>
                </a:lnTo>
                <a:lnTo>
                  <a:pt x="312" y="4"/>
                </a:lnTo>
                <a:lnTo>
                  <a:pt x="315" y="4"/>
                </a:lnTo>
                <a:lnTo>
                  <a:pt x="312" y="0"/>
                </a:lnTo>
                <a:lnTo>
                  <a:pt x="312" y="4"/>
                </a:lnTo>
                <a:lnTo>
                  <a:pt x="306" y="0"/>
                </a:lnTo>
                <a:lnTo>
                  <a:pt x="306" y="4"/>
                </a:lnTo>
                <a:lnTo>
                  <a:pt x="309" y="7"/>
                </a:lnTo>
                <a:lnTo>
                  <a:pt x="312" y="16"/>
                </a:lnTo>
                <a:lnTo>
                  <a:pt x="312" y="19"/>
                </a:lnTo>
                <a:lnTo>
                  <a:pt x="312" y="25"/>
                </a:lnTo>
                <a:lnTo>
                  <a:pt x="309" y="29"/>
                </a:lnTo>
                <a:lnTo>
                  <a:pt x="309" y="29"/>
                </a:lnTo>
                <a:lnTo>
                  <a:pt x="309" y="29"/>
                </a:lnTo>
                <a:lnTo>
                  <a:pt x="309" y="38"/>
                </a:lnTo>
                <a:lnTo>
                  <a:pt x="312" y="38"/>
                </a:lnTo>
                <a:lnTo>
                  <a:pt x="315" y="35"/>
                </a:lnTo>
                <a:lnTo>
                  <a:pt x="318" y="35"/>
                </a:lnTo>
                <a:lnTo>
                  <a:pt x="315" y="38"/>
                </a:lnTo>
                <a:lnTo>
                  <a:pt x="312" y="41"/>
                </a:lnTo>
                <a:lnTo>
                  <a:pt x="315" y="44"/>
                </a:lnTo>
                <a:lnTo>
                  <a:pt x="315" y="50"/>
                </a:lnTo>
                <a:lnTo>
                  <a:pt x="318" y="60"/>
                </a:lnTo>
                <a:lnTo>
                  <a:pt x="318" y="66"/>
                </a:lnTo>
                <a:lnTo>
                  <a:pt x="318" y="69"/>
                </a:lnTo>
                <a:lnTo>
                  <a:pt x="318" y="69"/>
                </a:lnTo>
                <a:lnTo>
                  <a:pt x="322" y="66"/>
                </a:lnTo>
                <a:lnTo>
                  <a:pt x="318" y="63"/>
                </a:lnTo>
                <a:lnTo>
                  <a:pt x="322" y="63"/>
                </a:lnTo>
                <a:lnTo>
                  <a:pt x="322" y="66"/>
                </a:lnTo>
                <a:lnTo>
                  <a:pt x="322" y="69"/>
                </a:lnTo>
                <a:lnTo>
                  <a:pt x="325" y="66"/>
                </a:lnTo>
                <a:lnTo>
                  <a:pt x="325" y="66"/>
                </a:lnTo>
                <a:lnTo>
                  <a:pt x="325" y="66"/>
                </a:lnTo>
                <a:lnTo>
                  <a:pt x="325" y="63"/>
                </a:lnTo>
                <a:lnTo>
                  <a:pt x="325" y="66"/>
                </a:lnTo>
                <a:lnTo>
                  <a:pt x="325" y="72"/>
                </a:lnTo>
                <a:lnTo>
                  <a:pt x="322" y="76"/>
                </a:lnTo>
                <a:lnTo>
                  <a:pt x="322" y="76"/>
                </a:lnTo>
                <a:lnTo>
                  <a:pt x="322" y="76"/>
                </a:lnTo>
                <a:lnTo>
                  <a:pt x="318" y="76"/>
                </a:lnTo>
                <a:lnTo>
                  <a:pt x="318" y="76"/>
                </a:lnTo>
                <a:lnTo>
                  <a:pt x="318" y="79"/>
                </a:lnTo>
                <a:lnTo>
                  <a:pt x="322" y="88"/>
                </a:lnTo>
                <a:lnTo>
                  <a:pt x="322" y="88"/>
                </a:lnTo>
                <a:lnTo>
                  <a:pt x="325" y="88"/>
                </a:lnTo>
                <a:lnTo>
                  <a:pt x="325" y="91"/>
                </a:lnTo>
                <a:lnTo>
                  <a:pt x="325" y="91"/>
                </a:lnTo>
                <a:lnTo>
                  <a:pt x="328" y="94"/>
                </a:lnTo>
                <a:lnTo>
                  <a:pt x="325" y="97"/>
                </a:lnTo>
                <a:lnTo>
                  <a:pt x="325" y="97"/>
                </a:lnTo>
                <a:lnTo>
                  <a:pt x="325" y="97"/>
                </a:lnTo>
                <a:lnTo>
                  <a:pt x="325" y="101"/>
                </a:lnTo>
                <a:lnTo>
                  <a:pt x="322" y="107"/>
                </a:lnTo>
                <a:lnTo>
                  <a:pt x="322" y="113"/>
                </a:lnTo>
                <a:lnTo>
                  <a:pt x="322" y="113"/>
                </a:lnTo>
                <a:lnTo>
                  <a:pt x="322" y="116"/>
                </a:lnTo>
                <a:lnTo>
                  <a:pt x="322" y="116"/>
                </a:lnTo>
                <a:lnTo>
                  <a:pt x="318" y="116"/>
                </a:lnTo>
                <a:lnTo>
                  <a:pt x="318" y="119"/>
                </a:lnTo>
                <a:lnTo>
                  <a:pt x="318" y="122"/>
                </a:lnTo>
                <a:lnTo>
                  <a:pt x="318" y="122"/>
                </a:lnTo>
                <a:lnTo>
                  <a:pt x="318" y="126"/>
                </a:lnTo>
                <a:lnTo>
                  <a:pt x="315" y="126"/>
                </a:lnTo>
                <a:lnTo>
                  <a:pt x="312" y="129"/>
                </a:lnTo>
                <a:lnTo>
                  <a:pt x="309" y="144"/>
                </a:lnTo>
                <a:lnTo>
                  <a:pt x="309" y="147"/>
                </a:lnTo>
                <a:lnTo>
                  <a:pt x="306" y="147"/>
                </a:lnTo>
                <a:lnTo>
                  <a:pt x="306" y="147"/>
                </a:lnTo>
                <a:lnTo>
                  <a:pt x="300" y="147"/>
                </a:lnTo>
                <a:lnTo>
                  <a:pt x="297" y="147"/>
                </a:lnTo>
                <a:lnTo>
                  <a:pt x="290" y="151"/>
                </a:lnTo>
                <a:lnTo>
                  <a:pt x="287" y="157"/>
                </a:lnTo>
                <a:lnTo>
                  <a:pt x="284" y="160"/>
                </a:lnTo>
                <a:lnTo>
                  <a:pt x="287" y="166"/>
                </a:lnTo>
                <a:lnTo>
                  <a:pt x="290" y="169"/>
                </a:lnTo>
                <a:lnTo>
                  <a:pt x="297" y="172"/>
                </a:lnTo>
                <a:lnTo>
                  <a:pt x="297" y="179"/>
                </a:lnTo>
                <a:lnTo>
                  <a:pt x="303" y="179"/>
                </a:lnTo>
                <a:lnTo>
                  <a:pt x="306" y="182"/>
                </a:lnTo>
                <a:lnTo>
                  <a:pt x="306" y="191"/>
                </a:lnTo>
                <a:lnTo>
                  <a:pt x="306" y="191"/>
                </a:lnTo>
                <a:lnTo>
                  <a:pt x="306" y="191"/>
                </a:lnTo>
                <a:lnTo>
                  <a:pt x="306" y="198"/>
                </a:lnTo>
                <a:lnTo>
                  <a:pt x="303" y="201"/>
                </a:lnTo>
                <a:lnTo>
                  <a:pt x="297" y="210"/>
                </a:lnTo>
                <a:lnTo>
                  <a:pt x="290" y="216"/>
                </a:lnTo>
                <a:lnTo>
                  <a:pt x="284" y="219"/>
                </a:lnTo>
                <a:lnTo>
                  <a:pt x="284" y="223"/>
                </a:lnTo>
                <a:lnTo>
                  <a:pt x="284" y="226"/>
                </a:lnTo>
                <a:lnTo>
                  <a:pt x="284" y="226"/>
                </a:lnTo>
                <a:close/>
                <a:moveTo>
                  <a:pt x="272" y="210"/>
                </a:moveTo>
                <a:lnTo>
                  <a:pt x="272" y="207"/>
                </a:lnTo>
                <a:lnTo>
                  <a:pt x="272" y="204"/>
                </a:lnTo>
                <a:lnTo>
                  <a:pt x="275" y="204"/>
                </a:lnTo>
                <a:lnTo>
                  <a:pt x="275" y="207"/>
                </a:lnTo>
                <a:lnTo>
                  <a:pt x="272" y="207"/>
                </a:lnTo>
                <a:lnTo>
                  <a:pt x="272" y="210"/>
                </a:lnTo>
                <a:lnTo>
                  <a:pt x="272" y="210"/>
                </a:lnTo>
                <a:lnTo>
                  <a:pt x="272" y="210"/>
                </a:lnTo>
                <a:lnTo>
                  <a:pt x="272" y="210"/>
                </a:lnTo>
                <a:close/>
                <a:moveTo>
                  <a:pt x="268" y="216"/>
                </a:moveTo>
                <a:lnTo>
                  <a:pt x="272" y="213"/>
                </a:lnTo>
                <a:lnTo>
                  <a:pt x="272" y="213"/>
                </a:lnTo>
                <a:lnTo>
                  <a:pt x="272" y="216"/>
                </a:lnTo>
                <a:lnTo>
                  <a:pt x="268" y="216"/>
                </a:lnTo>
                <a:lnTo>
                  <a:pt x="268" y="216"/>
                </a:lnTo>
                <a:close/>
                <a:moveTo>
                  <a:pt x="265" y="213"/>
                </a:moveTo>
                <a:lnTo>
                  <a:pt x="268" y="213"/>
                </a:lnTo>
                <a:lnTo>
                  <a:pt x="272" y="213"/>
                </a:lnTo>
                <a:lnTo>
                  <a:pt x="272" y="213"/>
                </a:lnTo>
                <a:lnTo>
                  <a:pt x="265" y="213"/>
                </a:lnTo>
                <a:lnTo>
                  <a:pt x="265" y="213"/>
                </a:lnTo>
                <a:close/>
                <a:moveTo>
                  <a:pt x="106" y="398"/>
                </a:moveTo>
                <a:lnTo>
                  <a:pt x="109" y="395"/>
                </a:lnTo>
                <a:lnTo>
                  <a:pt x="106" y="398"/>
                </a:lnTo>
                <a:lnTo>
                  <a:pt x="106" y="398"/>
                </a:lnTo>
                <a:lnTo>
                  <a:pt x="106" y="398"/>
                </a:lnTo>
                <a:close/>
                <a:moveTo>
                  <a:pt x="87" y="404"/>
                </a:moveTo>
                <a:lnTo>
                  <a:pt x="84" y="407"/>
                </a:lnTo>
                <a:lnTo>
                  <a:pt x="81" y="407"/>
                </a:lnTo>
                <a:lnTo>
                  <a:pt x="81" y="407"/>
                </a:lnTo>
                <a:lnTo>
                  <a:pt x="84" y="401"/>
                </a:lnTo>
                <a:lnTo>
                  <a:pt x="87" y="401"/>
                </a:lnTo>
                <a:lnTo>
                  <a:pt x="87" y="398"/>
                </a:lnTo>
                <a:lnTo>
                  <a:pt x="90" y="398"/>
                </a:lnTo>
                <a:lnTo>
                  <a:pt x="90" y="395"/>
                </a:lnTo>
                <a:lnTo>
                  <a:pt x="90" y="391"/>
                </a:lnTo>
                <a:lnTo>
                  <a:pt x="90" y="388"/>
                </a:lnTo>
                <a:lnTo>
                  <a:pt x="93" y="388"/>
                </a:lnTo>
                <a:lnTo>
                  <a:pt x="96" y="391"/>
                </a:lnTo>
                <a:lnTo>
                  <a:pt x="100" y="395"/>
                </a:lnTo>
                <a:lnTo>
                  <a:pt x="100" y="395"/>
                </a:lnTo>
                <a:lnTo>
                  <a:pt x="100" y="398"/>
                </a:lnTo>
                <a:lnTo>
                  <a:pt x="96" y="398"/>
                </a:lnTo>
                <a:lnTo>
                  <a:pt x="96" y="395"/>
                </a:lnTo>
                <a:lnTo>
                  <a:pt x="96" y="398"/>
                </a:lnTo>
                <a:lnTo>
                  <a:pt x="96" y="398"/>
                </a:lnTo>
                <a:lnTo>
                  <a:pt x="96" y="398"/>
                </a:lnTo>
                <a:lnTo>
                  <a:pt x="100" y="401"/>
                </a:lnTo>
                <a:lnTo>
                  <a:pt x="100" y="401"/>
                </a:lnTo>
                <a:lnTo>
                  <a:pt x="100" y="404"/>
                </a:lnTo>
                <a:lnTo>
                  <a:pt x="96" y="401"/>
                </a:lnTo>
                <a:lnTo>
                  <a:pt x="93" y="404"/>
                </a:lnTo>
                <a:lnTo>
                  <a:pt x="90" y="404"/>
                </a:lnTo>
                <a:lnTo>
                  <a:pt x="90" y="404"/>
                </a:lnTo>
                <a:lnTo>
                  <a:pt x="87" y="404"/>
                </a:lnTo>
                <a:lnTo>
                  <a:pt x="87" y="404"/>
                </a:lnTo>
                <a:lnTo>
                  <a:pt x="87" y="404"/>
                </a:lnTo>
                <a:close/>
                <a:moveTo>
                  <a:pt x="84" y="370"/>
                </a:moveTo>
                <a:lnTo>
                  <a:pt x="81" y="370"/>
                </a:lnTo>
                <a:lnTo>
                  <a:pt x="81" y="363"/>
                </a:lnTo>
                <a:lnTo>
                  <a:pt x="84" y="363"/>
                </a:lnTo>
                <a:lnTo>
                  <a:pt x="81" y="363"/>
                </a:lnTo>
                <a:lnTo>
                  <a:pt x="81" y="363"/>
                </a:lnTo>
                <a:lnTo>
                  <a:pt x="84" y="357"/>
                </a:lnTo>
                <a:lnTo>
                  <a:pt x="87" y="357"/>
                </a:lnTo>
                <a:lnTo>
                  <a:pt x="90" y="357"/>
                </a:lnTo>
                <a:lnTo>
                  <a:pt x="93" y="357"/>
                </a:lnTo>
                <a:lnTo>
                  <a:pt x="90" y="354"/>
                </a:lnTo>
                <a:lnTo>
                  <a:pt x="87" y="351"/>
                </a:lnTo>
                <a:lnTo>
                  <a:pt x="87" y="348"/>
                </a:lnTo>
                <a:lnTo>
                  <a:pt x="90" y="341"/>
                </a:lnTo>
                <a:lnTo>
                  <a:pt x="93" y="341"/>
                </a:lnTo>
                <a:lnTo>
                  <a:pt x="93" y="338"/>
                </a:lnTo>
                <a:lnTo>
                  <a:pt x="96" y="341"/>
                </a:lnTo>
                <a:lnTo>
                  <a:pt x="96" y="345"/>
                </a:lnTo>
                <a:lnTo>
                  <a:pt x="100" y="341"/>
                </a:lnTo>
                <a:lnTo>
                  <a:pt x="100" y="335"/>
                </a:lnTo>
                <a:lnTo>
                  <a:pt x="100" y="332"/>
                </a:lnTo>
                <a:lnTo>
                  <a:pt x="103" y="332"/>
                </a:lnTo>
                <a:lnTo>
                  <a:pt x="109" y="326"/>
                </a:lnTo>
                <a:lnTo>
                  <a:pt x="109" y="329"/>
                </a:lnTo>
                <a:lnTo>
                  <a:pt x="112" y="326"/>
                </a:lnTo>
                <a:lnTo>
                  <a:pt x="112" y="320"/>
                </a:lnTo>
                <a:lnTo>
                  <a:pt x="115" y="320"/>
                </a:lnTo>
                <a:lnTo>
                  <a:pt x="115" y="316"/>
                </a:lnTo>
                <a:lnTo>
                  <a:pt x="118" y="320"/>
                </a:lnTo>
                <a:lnTo>
                  <a:pt x="118" y="320"/>
                </a:lnTo>
                <a:lnTo>
                  <a:pt x="118" y="316"/>
                </a:lnTo>
                <a:lnTo>
                  <a:pt x="125" y="313"/>
                </a:lnTo>
                <a:lnTo>
                  <a:pt x="125" y="310"/>
                </a:lnTo>
                <a:lnTo>
                  <a:pt x="131" y="307"/>
                </a:lnTo>
                <a:lnTo>
                  <a:pt x="134" y="304"/>
                </a:lnTo>
                <a:lnTo>
                  <a:pt x="140" y="298"/>
                </a:lnTo>
                <a:lnTo>
                  <a:pt x="143" y="298"/>
                </a:lnTo>
                <a:lnTo>
                  <a:pt x="143" y="301"/>
                </a:lnTo>
                <a:lnTo>
                  <a:pt x="147" y="301"/>
                </a:lnTo>
                <a:lnTo>
                  <a:pt x="150" y="298"/>
                </a:lnTo>
                <a:lnTo>
                  <a:pt x="153" y="298"/>
                </a:lnTo>
                <a:lnTo>
                  <a:pt x="156" y="301"/>
                </a:lnTo>
                <a:lnTo>
                  <a:pt x="156" y="298"/>
                </a:lnTo>
                <a:lnTo>
                  <a:pt x="153" y="294"/>
                </a:lnTo>
                <a:lnTo>
                  <a:pt x="156" y="291"/>
                </a:lnTo>
                <a:lnTo>
                  <a:pt x="162" y="288"/>
                </a:lnTo>
                <a:lnTo>
                  <a:pt x="165" y="288"/>
                </a:lnTo>
                <a:lnTo>
                  <a:pt x="172" y="282"/>
                </a:lnTo>
                <a:lnTo>
                  <a:pt x="178" y="279"/>
                </a:lnTo>
                <a:lnTo>
                  <a:pt x="181" y="279"/>
                </a:lnTo>
                <a:lnTo>
                  <a:pt x="181" y="276"/>
                </a:lnTo>
                <a:lnTo>
                  <a:pt x="187" y="273"/>
                </a:lnTo>
                <a:lnTo>
                  <a:pt x="190" y="273"/>
                </a:lnTo>
                <a:lnTo>
                  <a:pt x="200" y="266"/>
                </a:lnTo>
                <a:lnTo>
                  <a:pt x="206" y="257"/>
                </a:lnTo>
                <a:lnTo>
                  <a:pt x="206" y="254"/>
                </a:lnTo>
                <a:lnTo>
                  <a:pt x="209" y="254"/>
                </a:lnTo>
                <a:lnTo>
                  <a:pt x="209" y="248"/>
                </a:lnTo>
                <a:lnTo>
                  <a:pt x="212" y="244"/>
                </a:lnTo>
                <a:lnTo>
                  <a:pt x="215" y="244"/>
                </a:lnTo>
                <a:lnTo>
                  <a:pt x="215" y="241"/>
                </a:lnTo>
                <a:lnTo>
                  <a:pt x="215" y="235"/>
                </a:lnTo>
                <a:lnTo>
                  <a:pt x="218" y="235"/>
                </a:lnTo>
                <a:lnTo>
                  <a:pt x="222" y="235"/>
                </a:lnTo>
                <a:lnTo>
                  <a:pt x="225" y="232"/>
                </a:lnTo>
                <a:lnTo>
                  <a:pt x="228" y="229"/>
                </a:lnTo>
                <a:lnTo>
                  <a:pt x="231" y="226"/>
                </a:lnTo>
                <a:lnTo>
                  <a:pt x="234" y="223"/>
                </a:lnTo>
                <a:lnTo>
                  <a:pt x="237" y="219"/>
                </a:lnTo>
                <a:lnTo>
                  <a:pt x="240" y="210"/>
                </a:lnTo>
                <a:lnTo>
                  <a:pt x="240" y="207"/>
                </a:lnTo>
                <a:lnTo>
                  <a:pt x="243" y="204"/>
                </a:lnTo>
                <a:lnTo>
                  <a:pt x="247" y="201"/>
                </a:lnTo>
                <a:lnTo>
                  <a:pt x="253" y="198"/>
                </a:lnTo>
                <a:lnTo>
                  <a:pt x="256" y="198"/>
                </a:lnTo>
                <a:lnTo>
                  <a:pt x="253" y="201"/>
                </a:lnTo>
                <a:lnTo>
                  <a:pt x="253" y="204"/>
                </a:lnTo>
                <a:lnTo>
                  <a:pt x="256" y="207"/>
                </a:lnTo>
                <a:lnTo>
                  <a:pt x="256" y="207"/>
                </a:lnTo>
                <a:lnTo>
                  <a:pt x="259" y="207"/>
                </a:lnTo>
                <a:lnTo>
                  <a:pt x="259" y="207"/>
                </a:lnTo>
                <a:lnTo>
                  <a:pt x="259" y="207"/>
                </a:lnTo>
                <a:lnTo>
                  <a:pt x="259" y="210"/>
                </a:lnTo>
                <a:lnTo>
                  <a:pt x="259" y="210"/>
                </a:lnTo>
                <a:lnTo>
                  <a:pt x="256" y="213"/>
                </a:lnTo>
                <a:lnTo>
                  <a:pt x="256" y="213"/>
                </a:lnTo>
                <a:lnTo>
                  <a:pt x="259" y="219"/>
                </a:lnTo>
                <a:lnTo>
                  <a:pt x="259" y="223"/>
                </a:lnTo>
                <a:lnTo>
                  <a:pt x="262" y="216"/>
                </a:lnTo>
                <a:lnTo>
                  <a:pt x="265" y="216"/>
                </a:lnTo>
                <a:lnTo>
                  <a:pt x="268" y="216"/>
                </a:lnTo>
                <a:lnTo>
                  <a:pt x="268" y="216"/>
                </a:lnTo>
                <a:lnTo>
                  <a:pt x="268" y="219"/>
                </a:lnTo>
                <a:lnTo>
                  <a:pt x="272" y="219"/>
                </a:lnTo>
                <a:lnTo>
                  <a:pt x="275" y="219"/>
                </a:lnTo>
                <a:lnTo>
                  <a:pt x="272" y="216"/>
                </a:lnTo>
                <a:lnTo>
                  <a:pt x="272" y="216"/>
                </a:lnTo>
                <a:lnTo>
                  <a:pt x="275" y="213"/>
                </a:lnTo>
                <a:lnTo>
                  <a:pt x="278" y="213"/>
                </a:lnTo>
                <a:lnTo>
                  <a:pt x="278" y="216"/>
                </a:lnTo>
                <a:lnTo>
                  <a:pt x="278" y="216"/>
                </a:lnTo>
                <a:lnTo>
                  <a:pt x="275" y="219"/>
                </a:lnTo>
                <a:lnTo>
                  <a:pt x="272" y="223"/>
                </a:lnTo>
                <a:lnTo>
                  <a:pt x="275" y="223"/>
                </a:lnTo>
                <a:lnTo>
                  <a:pt x="278" y="219"/>
                </a:lnTo>
                <a:lnTo>
                  <a:pt x="275" y="226"/>
                </a:lnTo>
                <a:lnTo>
                  <a:pt x="272" y="226"/>
                </a:lnTo>
                <a:lnTo>
                  <a:pt x="272" y="229"/>
                </a:lnTo>
                <a:lnTo>
                  <a:pt x="272" y="232"/>
                </a:lnTo>
                <a:lnTo>
                  <a:pt x="275" y="235"/>
                </a:lnTo>
                <a:lnTo>
                  <a:pt x="275" y="238"/>
                </a:lnTo>
                <a:lnTo>
                  <a:pt x="275" y="241"/>
                </a:lnTo>
                <a:lnTo>
                  <a:pt x="272" y="241"/>
                </a:lnTo>
                <a:lnTo>
                  <a:pt x="262" y="251"/>
                </a:lnTo>
                <a:lnTo>
                  <a:pt x="262" y="254"/>
                </a:lnTo>
                <a:lnTo>
                  <a:pt x="253" y="260"/>
                </a:lnTo>
                <a:lnTo>
                  <a:pt x="256" y="263"/>
                </a:lnTo>
                <a:lnTo>
                  <a:pt x="253" y="263"/>
                </a:lnTo>
                <a:lnTo>
                  <a:pt x="247" y="266"/>
                </a:lnTo>
                <a:lnTo>
                  <a:pt x="247" y="269"/>
                </a:lnTo>
                <a:lnTo>
                  <a:pt x="243" y="276"/>
                </a:lnTo>
                <a:lnTo>
                  <a:pt x="240" y="276"/>
                </a:lnTo>
                <a:lnTo>
                  <a:pt x="237" y="282"/>
                </a:lnTo>
                <a:lnTo>
                  <a:pt x="231" y="282"/>
                </a:lnTo>
                <a:lnTo>
                  <a:pt x="228" y="285"/>
                </a:lnTo>
                <a:lnTo>
                  <a:pt x="228" y="291"/>
                </a:lnTo>
                <a:lnTo>
                  <a:pt x="228" y="294"/>
                </a:lnTo>
                <a:lnTo>
                  <a:pt x="225" y="294"/>
                </a:lnTo>
                <a:lnTo>
                  <a:pt x="228" y="298"/>
                </a:lnTo>
                <a:lnTo>
                  <a:pt x="231" y="301"/>
                </a:lnTo>
                <a:lnTo>
                  <a:pt x="231" y="304"/>
                </a:lnTo>
                <a:lnTo>
                  <a:pt x="228" y="307"/>
                </a:lnTo>
                <a:lnTo>
                  <a:pt x="228" y="304"/>
                </a:lnTo>
                <a:lnTo>
                  <a:pt x="228" y="301"/>
                </a:lnTo>
                <a:lnTo>
                  <a:pt x="225" y="301"/>
                </a:lnTo>
                <a:lnTo>
                  <a:pt x="225" y="301"/>
                </a:lnTo>
                <a:lnTo>
                  <a:pt x="225" y="304"/>
                </a:lnTo>
                <a:lnTo>
                  <a:pt x="225" y="307"/>
                </a:lnTo>
                <a:lnTo>
                  <a:pt x="222" y="304"/>
                </a:lnTo>
                <a:lnTo>
                  <a:pt x="215" y="304"/>
                </a:lnTo>
                <a:lnTo>
                  <a:pt x="222" y="304"/>
                </a:lnTo>
                <a:lnTo>
                  <a:pt x="222" y="301"/>
                </a:lnTo>
                <a:lnTo>
                  <a:pt x="218" y="301"/>
                </a:lnTo>
                <a:lnTo>
                  <a:pt x="215" y="304"/>
                </a:lnTo>
                <a:lnTo>
                  <a:pt x="215" y="304"/>
                </a:lnTo>
                <a:lnTo>
                  <a:pt x="212" y="304"/>
                </a:lnTo>
                <a:lnTo>
                  <a:pt x="212" y="304"/>
                </a:lnTo>
                <a:lnTo>
                  <a:pt x="209" y="301"/>
                </a:lnTo>
                <a:lnTo>
                  <a:pt x="206" y="301"/>
                </a:lnTo>
                <a:lnTo>
                  <a:pt x="209" y="301"/>
                </a:lnTo>
                <a:lnTo>
                  <a:pt x="209" y="304"/>
                </a:lnTo>
                <a:lnTo>
                  <a:pt x="206" y="307"/>
                </a:lnTo>
                <a:lnTo>
                  <a:pt x="206" y="310"/>
                </a:lnTo>
                <a:lnTo>
                  <a:pt x="203" y="310"/>
                </a:lnTo>
                <a:lnTo>
                  <a:pt x="200" y="313"/>
                </a:lnTo>
                <a:lnTo>
                  <a:pt x="197" y="313"/>
                </a:lnTo>
                <a:lnTo>
                  <a:pt x="197" y="310"/>
                </a:lnTo>
                <a:lnTo>
                  <a:pt x="193" y="313"/>
                </a:lnTo>
                <a:lnTo>
                  <a:pt x="190" y="313"/>
                </a:lnTo>
                <a:lnTo>
                  <a:pt x="187" y="320"/>
                </a:lnTo>
                <a:lnTo>
                  <a:pt x="187" y="323"/>
                </a:lnTo>
                <a:lnTo>
                  <a:pt x="187" y="326"/>
                </a:lnTo>
                <a:lnTo>
                  <a:pt x="181" y="332"/>
                </a:lnTo>
                <a:lnTo>
                  <a:pt x="181" y="335"/>
                </a:lnTo>
                <a:lnTo>
                  <a:pt x="178" y="338"/>
                </a:lnTo>
                <a:lnTo>
                  <a:pt x="172" y="345"/>
                </a:lnTo>
                <a:lnTo>
                  <a:pt x="168" y="348"/>
                </a:lnTo>
                <a:lnTo>
                  <a:pt x="165" y="354"/>
                </a:lnTo>
                <a:lnTo>
                  <a:pt x="162" y="360"/>
                </a:lnTo>
                <a:lnTo>
                  <a:pt x="159" y="363"/>
                </a:lnTo>
                <a:lnTo>
                  <a:pt x="159" y="366"/>
                </a:lnTo>
                <a:lnTo>
                  <a:pt x="159" y="366"/>
                </a:lnTo>
                <a:lnTo>
                  <a:pt x="156" y="366"/>
                </a:lnTo>
                <a:lnTo>
                  <a:pt x="162" y="366"/>
                </a:lnTo>
                <a:lnTo>
                  <a:pt x="162" y="370"/>
                </a:lnTo>
                <a:lnTo>
                  <a:pt x="159" y="370"/>
                </a:lnTo>
                <a:lnTo>
                  <a:pt x="153" y="370"/>
                </a:lnTo>
                <a:lnTo>
                  <a:pt x="150" y="373"/>
                </a:lnTo>
                <a:lnTo>
                  <a:pt x="147" y="376"/>
                </a:lnTo>
                <a:lnTo>
                  <a:pt x="143" y="379"/>
                </a:lnTo>
                <a:lnTo>
                  <a:pt x="140" y="382"/>
                </a:lnTo>
                <a:lnTo>
                  <a:pt x="140" y="379"/>
                </a:lnTo>
                <a:lnTo>
                  <a:pt x="137" y="376"/>
                </a:lnTo>
                <a:lnTo>
                  <a:pt x="140" y="379"/>
                </a:lnTo>
                <a:lnTo>
                  <a:pt x="140" y="382"/>
                </a:lnTo>
                <a:lnTo>
                  <a:pt x="134" y="385"/>
                </a:lnTo>
                <a:lnTo>
                  <a:pt x="131" y="388"/>
                </a:lnTo>
                <a:lnTo>
                  <a:pt x="122" y="391"/>
                </a:lnTo>
                <a:lnTo>
                  <a:pt x="118" y="391"/>
                </a:lnTo>
                <a:lnTo>
                  <a:pt x="115" y="391"/>
                </a:lnTo>
                <a:lnTo>
                  <a:pt x="115" y="388"/>
                </a:lnTo>
                <a:lnTo>
                  <a:pt x="109" y="391"/>
                </a:lnTo>
                <a:lnTo>
                  <a:pt x="109" y="391"/>
                </a:lnTo>
                <a:lnTo>
                  <a:pt x="112" y="388"/>
                </a:lnTo>
                <a:lnTo>
                  <a:pt x="109" y="388"/>
                </a:lnTo>
                <a:lnTo>
                  <a:pt x="106" y="385"/>
                </a:lnTo>
                <a:lnTo>
                  <a:pt x="106" y="379"/>
                </a:lnTo>
                <a:lnTo>
                  <a:pt x="103" y="379"/>
                </a:lnTo>
                <a:lnTo>
                  <a:pt x="100" y="379"/>
                </a:lnTo>
                <a:lnTo>
                  <a:pt x="100" y="376"/>
                </a:lnTo>
                <a:lnTo>
                  <a:pt x="100" y="376"/>
                </a:lnTo>
                <a:lnTo>
                  <a:pt x="96" y="373"/>
                </a:lnTo>
                <a:lnTo>
                  <a:pt x="96" y="370"/>
                </a:lnTo>
                <a:lnTo>
                  <a:pt x="93" y="373"/>
                </a:lnTo>
                <a:lnTo>
                  <a:pt x="93" y="373"/>
                </a:lnTo>
                <a:lnTo>
                  <a:pt x="90" y="373"/>
                </a:lnTo>
                <a:lnTo>
                  <a:pt x="90" y="373"/>
                </a:lnTo>
                <a:lnTo>
                  <a:pt x="84" y="373"/>
                </a:lnTo>
                <a:lnTo>
                  <a:pt x="84" y="37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4" name="Freeform 162">
            <a:extLst>
              <a:ext uri="{FF2B5EF4-FFF2-40B4-BE49-F238E27FC236}">
                <a16:creationId xmlns:a16="http://schemas.microsoft.com/office/drawing/2014/main" id="{DA44F5AE-0928-64B0-2BF3-761BCB412123}"/>
              </a:ext>
            </a:extLst>
          </p:cNvPr>
          <p:cNvSpPr>
            <a:spLocks noEditPoints="1"/>
          </p:cNvSpPr>
          <p:nvPr userDrawn="1"/>
        </p:nvSpPr>
        <p:spPr bwMode="auto">
          <a:xfrm>
            <a:off x="11908648" y="4380783"/>
            <a:ext cx="555590" cy="346078"/>
          </a:xfrm>
          <a:custGeom>
            <a:avLst/>
            <a:gdLst>
              <a:gd name="T0" fmla="*/ 66 w 175"/>
              <a:gd name="T1" fmla="*/ 106 h 109"/>
              <a:gd name="T2" fmla="*/ 56 w 175"/>
              <a:gd name="T3" fmla="*/ 94 h 109"/>
              <a:gd name="T4" fmla="*/ 78 w 175"/>
              <a:gd name="T5" fmla="*/ 103 h 109"/>
              <a:gd name="T6" fmla="*/ 94 w 175"/>
              <a:gd name="T7" fmla="*/ 97 h 109"/>
              <a:gd name="T8" fmla="*/ 109 w 175"/>
              <a:gd name="T9" fmla="*/ 91 h 109"/>
              <a:gd name="T10" fmla="*/ 116 w 175"/>
              <a:gd name="T11" fmla="*/ 88 h 109"/>
              <a:gd name="T12" fmla="*/ 125 w 175"/>
              <a:gd name="T13" fmla="*/ 91 h 109"/>
              <a:gd name="T14" fmla="*/ 147 w 175"/>
              <a:gd name="T15" fmla="*/ 72 h 109"/>
              <a:gd name="T16" fmla="*/ 159 w 175"/>
              <a:gd name="T17" fmla="*/ 72 h 109"/>
              <a:gd name="T18" fmla="*/ 159 w 175"/>
              <a:gd name="T19" fmla="*/ 59 h 109"/>
              <a:gd name="T20" fmla="*/ 169 w 175"/>
              <a:gd name="T21" fmla="*/ 59 h 109"/>
              <a:gd name="T22" fmla="*/ 166 w 175"/>
              <a:gd name="T23" fmla="*/ 41 h 109"/>
              <a:gd name="T24" fmla="*/ 163 w 175"/>
              <a:gd name="T25" fmla="*/ 34 h 109"/>
              <a:gd name="T26" fmla="*/ 156 w 175"/>
              <a:gd name="T27" fmla="*/ 28 h 109"/>
              <a:gd name="T28" fmla="*/ 159 w 175"/>
              <a:gd name="T29" fmla="*/ 16 h 109"/>
              <a:gd name="T30" fmla="*/ 156 w 175"/>
              <a:gd name="T31" fmla="*/ 9 h 109"/>
              <a:gd name="T32" fmla="*/ 147 w 175"/>
              <a:gd name="T33" fmla="*/ 9 h 109"/>
              <a:gd name="T34" fmla="*/ 141 w 175"/>
              <a:gd name="T35" fmla="*/ 6 h 109"/>
              <a:gd name="T36" fmla="*/ 131 w 175"/>
              <a:gd name="T37" fmla="*/ 6 h 109"/>
              <a:gd name="T38" fmla="*/ 122 w 175"/>
              <a:gd name="T39" fmla="*/ 12 h 109"/>
              <a:gd name="T40" fmla="*/ 109 w 175"/>
              <a:gd name="T41" fmla="*/ 12 h 109"/>
              <a:gd name="T42" fmla="*/ 103 w 175"/>
              <a:gd name="T43" fmla="*/ 25 h 109"/>
              <a:gd name="T44" fmla="*/ 97 w 175"/>
              <a:gd name="T45" fmla="*/ 16 h 109"/>
              <a:gd name="T46" fmla="*/ 84 w 175"/>
              <a:gd name="T47" fmla="*/ 22 h 109"/>
              <a:gd name="T48" fmla="*/ 75 w 175"/>
              <a:gd name="T49" fmla="*/ 12 h 109"/>
              <a:gd name="T50" fmla="*/ 69 w 175"/>
              <a:gd name="T51" fmla="*/ 31 h 109"/>
              <a:gd name="T52" fmla="*/ 59 w 175"/>
              <a:gd name="T53" fmla="*/ 37 h 109"/>
              <a:gd name="T54" fmla="*/ 50 w 175"/>
              <a:gd name="T55" fmla="*/ 34 h 109"/>
              <a:gd name="T56" fmla="*/ 50 w 175"/>
              <a:gd name="T57" fmla="*/ 22 h 109"/>
              <a:gd name="T58" fmla="*/ 53 w 175"/>
              <a:gd name="T59" fmla="*/ 12 h 109"/>
              <a:gd name="T60" fmla="*/ 41 w 175"/>
              <a:gd name="T61" fmla="*/ 3 h 109"/>
              <a:gd name="T62" fmla="*/ 25 w 175"/>
              <a:gd name="T63" fmla="*/ 0 h 109"/>
              <a:gd name="T64" fmla="*/ 34 w 175"/>
              <a:gd name="T65" fmla="*/ 3 h 109"/>
              <a:gd name="T66" fmla="*/ 31 w 175"/>
              <a:gd name="T67" fmla="*/ 6 h 109"/>
              <a:gd name="T68" fmla="*/ 38 w 175"/>
              <a:gd name="T69" fmla="*/ 16 h 109"/>
              <a:gd name="T70" fmla="*/ 25 w 175"/>
              <a:gd name="T71" fmla="*/ 9 h 109"/>
              <a:gd name="T72" fmla="*/ 19 w 175"/>
              <a:gd name="T73" fmla="*/ 9 h 109"/>
              <a:gd name="T74" fmla="*/ 19 w 175"/>
              <a:gd name="T75" fmla="*/ 19 h 109"/>
              <a:gd name="T76" fmla="*/ 19 w 175"/>
              <a:gd name="T77" fmla="*/ 22 h 109"/>
              <a:gd name="T78" fmla="*/ 9 w 175"/>
              <a:gd name="T79" fmla="*/ 22 h 109"/>
              <a:gd name="T80" fmla="*/ 6 w 175"/>
              <a:gd name="T81" fmla="*/ 25 h 109"/>
              <a:gd name="T82" fmla="*/ 13 w 175"/>
              <a:gd name="T83" fmla="*/ 34 h 109"/>
              <a:gd name="T84" fmla="*/ 22 w 175"/>
              <a:gd name="T85" fmla="*/ 31 h 109"/>
              <a:gd name="T86" fmla="*/ 34 w 175"/>
              <a:gd name="T87" fmla="*/ 31 h 109"/>
              <a:gd name="T88" fmla="*/ 41 w 175"/>
              <a:gd name="T89" fmla="*/ 31 h 109"/>
              <a:gd name="T90" fmla="*/ 44 w 175"/>
              <a:gd name="T91" fmla="*/ 37 h 109"/>
              <a:gd name="T92" fmla="*/ 31 w 175"/>
              <a:gd name="T93" fmla="*/ 44 h 109"/>
              <a:gd name="T94" fmla="*/ 44 w 175"/>
              <a:gd name="T95" fmla="*/ 44 h 109"/>
              <a:gd name="T96" fmla="*/ 28 w 175"/>
              <a:gd name="T97" fmla="*/ 47 h 109"/>
              <a:gd name="T98" fmla="*/ 25 w 175"/>
              <a:gd name="T99" fmla="*/ 47 h 109"/>
              <a:gd name="T100" fmla="*/ 9 w 175"/>
              <a:gd name="T101" fmla="*/ 47 h 109"/>
              <a:gd name="T102" fmla="*/ 13 w 175"/>
              <a:gd name="T103" fmla="*/ 56 h 109"/>
              <a:gd name="T104" fmla="*/ 31 w 175"/>
              <a:gd name="T105" fmla="*/ 59 h 109"/>
              <a:gd name="T106" fmla="*/ 34 w 175"/>
              <a:gd name="T107" fmla="*/ 69 h 109"/>
              <a:gd name="T108" fmla="*/ 38 w 175"/>
              <a:gd name="T109" fmla="*/ 75 h 109"/>
              <a:gd name="T110" fmla="*/ 41 w 175"/>
              <a:gd name="T111" fmla="*/ 72 h 109"/>
              <a:gd name="T112" fmla="*/ 31 w 175"/>
              <a:gd name="T113" fmla="*/ 81 h 109"/>
              <a:gd name="T114" fmla="*/ 22 w 175"/>
              <a:gd name="T115" fmla="*/ 78 h 109"/>
              <a:gd name="T116" fmla="*/ 28 w 175"/>
              <a:gd name="T117" fmla="*/ 91 h 109"/>
              <a:gd name="T118" fmla="*/ 47 w 175"/>
              <a:gd name="T119" fmla="*/ 9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5" h="109">
                <a:moveTo>
                  <a:pt x="63" y="109"/>
                </a:moveTo>
                <a:lnTo>
                  <a:pt x="59" y="106"/>
                </a:lnTo>
                <a:lnTo>
                  <a:pt x="63" y="103"/>
                </a:lnTo>
                <a:lnTo>
                  <a:pt x="63" y="103"/>
                </a:lnTo>
                <a:lnTo>
                  <a:pt x="66" y="106"/>
                </a:lnTo>
                <a:lnTo>
                  <a:pt x="63" y="109"/>
                </a:lnTo>
                <a:lnTo>
                  <a:pt x="63" y="109"/>
                </a:lnTo>
                <a:close/>
                <a:moveTo>
                  <a:pt x="53" y="91"/>
                </a:moveTo>
                <a:lnTo>
                  <a:pt x="56" y="91"/>
                </a:lnTo>
                <a:lnTo>
                  <a:pt x="56" y="94"/>
                </a:lnTo>
                <a:lnTo>
                  <a:pt x="63" y="100"/>
                </a:lnTo>
                <a:lnTo>
                  <a:pt x="66" y="100"/>
                </a:lnTo>
                <a:lnTo>
                  <a:pt x="69" y="97"/>
                </a:lnTo>
                <a:lnTo>
                  <a:pt x="72" y="97"/>
                </a:lnTo>
                <a:lnTo>
                  <a:pt x="78" y="103"/>
                </a:lnTo>
                <a:lnTo>
                  <a:pt x="84" y="103"/>
                </a:lnTo>
                <a:lnTo>
                  <a:pt x="88" y="106"/>
                </a:lnTo>
                <a:lnTo>
                  <a:pt x="94" y="103"/>
                </a:lnTo>
                <a:lnTo>
                  <a:pt x="94" y="100"/>
                </a:lnTo>
                <a:lnTo>
                  <a:pt x="94" y="97"/>
                </a:lnTo>
                <a:lnTo>
                  <a:pt x="97" y="100"/>
                </a:lnTo>
                <a:lnTo>
                  <a:pt x="100" y="100"/>
                </a:lnTo>
                <a:lnTo>
                  <a:pt x="103" y="97"/>
                </a:lnTo>
                <a:lnTo>
                  <a:pt x="103" y="94"/>
                </a:lnTo>
                <a:lnTo>
                  <a:pt x="109" y="91"/>
                </a:lnTo>
                <a:lnTo>
                  <a:pt x="106" y="94"/>
                </a:lnTo>
                <a:lnTo>
                  <a:pt x="109" y="97"/>
                </a:lnTo>
                <a:lnTo>
                  <a:pt x="109" y="94"/>
                </a:lnTo>
                <a:lnTo>
                  <a:pt x="113" y="94"/>
                </a:lnTo>
                <a:lnTo>
                  <a:pt x="116" y="88"/>
                </a:lnTo>
                <a:lnTo>
                  <a:pt x="119" y="91"/>
                </a:lnTo>
                <a:lnTo>
                  <a:pt x="119" y="91"/>
                </a:lnTo>
                <a:lnTo>
                  <a:pt x="125" y="91"/>
                </a:lnTo>
                <a:lnTo>
                  <a:pt x="125" y="91"/>
                </a:lnTo>
                <a:lnTo>
                  <a:pt x="125" y="91"/>
                </a:lnTo>
                <a:lnTo>
                  <a:pt x="134" y="81"/>
                </a:lnTo>
                <a:lnTo>
                  <a:pt x="138" y="78"/>
                </a:lnTo>
                <a:lnTo>
                  <a:pt x="147" y="75"/>
                </a:lnTo>
                <a:lnTo>
                  <a:pt x="147" y="75"/>
                </a:lnTo>
                <a:lnTo>
                  <a:pt x="147" y="72"/>
                </a:lnTo>
                <a:lnTo>
                  <a:pt x="147" y="69"/>
                </a:lnTo>
                <a:lnTo>
                  <a:pt x="150" y="69"/>
                </a:lnTo>
                <a:lnTo>
                  <a:pt x="150" y="72"/>
                </a:lnTo>
                <a:lnTo>
                  <a:pt x="156" y="75"/>
                </a:lnTo>
                <a:lnTo>
                  <a:pt x="159" y="72"/>
                </a:lnTo>
                <a:lnTo>
                  <a:pt x="159" y="69"/>
                </a:lnTo>
                <a:lnTo>
                  <a:pt x="156" y="69"/>
                </a:lnTo>
                <a:lnTo>
                  <a:pt x="159" y="66"/>
                </a:lnTo>
                <a:lnTo>
                  <a:pt x="159" y="66"/>
                </a:lnTo>
                <a:lnTo>
                  <a:pt x="159" y="59"/>
                </a:lnTo>
                <a:lnTo>
                  <a:pt x="159" y="56"/>
                </a:lnTo>
                <a:lnTo>
                  <a:pt x="163" y="59"/>
                </a:lnTo>
                <a:lnTo>
                  <a:pt x="163" y="62"/>
                </a:lnTo>
                <a:lnTo>
                  <a:pt x="166" y="62"/>
                </a:lnTo>
                <a:lnTo>
                  <a:pt x="169" y="59"/>
                </a:lnTo>
                <a:lnTo>
                  <a:pt x="169" y="56"/>
                </a:lnTo>
                <a:lnTo>
                  <a:pt x="166" y="50"/>
                </a:lnTo>
                <a:lnTo>
                  <a:pt x="166" y="47"/>
                </a:lnTo>
                <a:lnTo>
                  <a:pt x="166" y="47"/>
                </a:lnTo>
                <a:lnTo>
                  <a:pt x="166" y="41"/>
                </a:lnTo>
                <a:lnTo>
                  <a:pt x="169" y="41"/>
                </a:lnTo>
                <a:lnTo>
                  <a:pt x="172" y="41"/>
                </a:lnTo>
                <a:lnTo>
                  <a:pt x="175" y="37"/>
                </a:lnTo>
                <a:lnTo>
                  <a:pt x="172" y="34"/>
                </a:lnTo>
                <a:lnTo>
                  <a:pt x="163" y="34"/>
                </a:lnTo>
                <a:lnTo>
                  <a:pt x="163" y="34"/>
                </a:lnTo>
                <a:lnTo>
                  <a:pt x="163" y="31"/>
                </a:lnTo>
                <a:lnTo>
                  <a:pt x="163" y="28"/>
                </a:lnTo>
                <a:lnTo>
                  <a:pt x="159" y="28"/>
                </a:lnTo>
                <a:lnTo>
                  <a:pt x="156" y="28"/>
                </a:lnTo>
                <a:lnTo>
                  <a:pt x="156" y="25"/>
                </a:lnTo>
                <a:lnTo>
                  <a:pt x="159" y="22"/>
                </a:lnTo>
                <a:lnTo>
                  <a:pt x="163" y="22"/>
                </a:lnTo>
                <a:lnTo>
                  <a:pt x="159" y="16"/>
                </a:lnTo>
                <a:lnTo>
                  <a:pt x="159" y="16"/>
                </a:lnTo>
                <a:lnTo>
                  <a:pt x="156" y="19"/>
                </a:lnTo>
                <a:lnTo>
                  <a:pt x="153" y="16"/>
                </a:lnTo>
                <a:lnTo>
                  <a:pt x="150" y="12"/>
                </a:lnTo>
                <a:lnTo>
                  <a:pt x="156" y="12"/>
                </a:lnTo>
                <a:lnTo>
                  <a:pt x="156" y="9"/>
                </a:lnTo>
                <a:lnTo>
                  <a:pt x="156" y="6"/>
                </a:lnTo>
                <a:lnTo>
                  <a:pt x="159" y="6"/>
                </a:lnTo>
                <a:lnTo>
                  <a:pt x="156" y="3"/>
                </a:lnTo>
                <a:lnTo>
                  <a:pt x="153" y="3"/>
                </a:lnTo>
                <a:lnTo>
                  <a:pt x="147" y="9"/>
                </a:lnTo>
                <a:lnTo>
                  <a:pt x="147" y="12"/>
                </a:lnTo>
                <a:lnTo>
                  <a:pt x="144" y="16"/>
                </a:lnTo>
                <a:lnTo>
                  <a:pt x="141" y="9"/>
                </a:lnTo>
                <a:lnTo>
                  <a:pt x="144" y="9"/>
                </a:lnTo>
                <a:lnTo>
                  <a:pt x="141" y="6"/>
                </a:lnTo>
                <a:lnTo>
                  <a:pt x="141" y="3"/>
                </a:lnTo>
                <a:lnTo>
                  <a:pt x="138" y="0"/>
                </a:lnTo>
                <a:lnTo>
                  <a:pt x="134" y="3"/>
                </a:lnTo>
                <a:lnTo>
                  <a:pt x="131" y="3"/>
                </a:lnTo>
                <a:lnTo>
                  <a:pt x="131" y="6"/>
                </a:lnTo>
                <a:lnTo>
                  <a:pt x="131" y="9"/>
                </a:lnTo>
                <a:lnTo>
                  <a:pt x="131" y="12"/>
                </a:lnTo>
                <a:lnTo>
                  <a:pt x="125" y="12"/>
                </a:lnTo>
                <a:lnTo>
                  <a:pt x="122" y="16"/>
                </a:lnTo>
                <a:lnTo>
                  <a:pt x="122" y="12"/>
                </a:lnTo>
                <a:lnTo>
                  <a:pt x="119" y="9"/>
                </a:lnTo>
                <a:lnTo>
                  <a:pt x="119" y="12"/>
                </a:lnTo>
                <a:lnTo>
                  <a:pt x="116" y="19"/>
                </a:lnTo>
                <a:lnTo>
                  <a:pt x="113" y="19"/>
                </a:lnTo>
                <a:lnTo>
                  <a:pt x="109" y="12"/>
                </a:lnTo>
                <a:lnTo>
                  <a:pt x="106" y="12"/>
                </a:lnTo>
                <a:lnTo>
                  <a:pt x="103" y="12"/>
                </a:lnTo>
                <a:lnTo>
                  <a:pt x="100" y="12"/>
                </a:lnTo>
                <a:lnTo>
                  <a:pt x="100" y="19"/>
                </a:lnTo>
                <a:lnTo>
                  <a:pt x="103" y="25"/>
                </a:lnTo>
                <a:lnTo>
                  <a:pt x="100" y="34"/>
                </a:lnTo>
                <a:lnTo>
                  <a:pt x="100" y="25"/>
                </a:lnTo>
                <a:lnTo>
                  <a:pt x="97" y="22"/>
                </a:lnTo>
                <a:lnTo>
                  <a:pt x="97" y="19"/>
                </a:lnTo>
                <a:lnTo>
                  <a:pt x="97" y="16"/>
                </a:lnTo>
                <a:lnTo>
                  <a:pt x="97" y="12"/>
                </a:lnTo>
                <a:lnTo>
                  <a:pt x="91" y="9"/>
                </a:lnTo>
                <a:lnTo>
                  <a:pt x="84" y="16"/>
                </a:lnTo>
                <a:lnTo>
                  <a:pt x="84" y="19"/>
                </a:lnTo>
                <a:lnTo>
                  <a:pt x="84" y="22"/>
                </a:lnTo>
                <a:lnTo>
                  <a:pt x="81" y="28"/>
                </a:lnTo>
                <a:lnTo>
                  <a:pt x="78" y="28"/>
                </a:lnTo>
                <a:lnTo>
                  <a:pt x="78" y="22"/>
                </a:lnTo>
                <a:lnTo>
                  <a:pt x="75" y="19"/>
                </a:lnTo>
                <a:lnTo>
                  <a:pt x="75" y="12"/>
                </a:lnTo>
                <a:lnTo>
                  <a:pt x="72" y="9"/>
                </a:lnTo>
                <a:lnTo>
                  <a:pt x="66" y="12"/>
                </a:lnTo>
                <a:lnTo>
                  <a:pt x="69" y="22"/>
                </a:lnTo>
                <a:lnTo>
                  <a:pt x="69" y="25"/>
                </a:lnTo>
                <a:lnTo>
                  <a:pt x="69" y="31"/>
                </a:lnTo>
                <a:lnTo>
                  <a:pt x="66" y="34"/>
                </a:lnTo>
                <a:lnTo>
                  <a:pt x="63" y="34"/>
                </a:lnTo>
                <a:lnTo>
                  <a:pt x="63" y="31"/>
                </a:lnTo>
                <a:lnTo>
                  <a:pt x="59" y="31"/>
                </a:lnTo>
                <a:lnTo>
                  <a:pt x="59" y="37"/>
                </a:lnTo>
                <a:lnTo>
                  <a:pt x="56" y="37"/>
                </a:lnTo>
                <a:lnTo>
                  <a:pt x="56" y="44"/>
                </a:lnTo>
                <a:lnTo>
                  <a:pt x="53" y="37"/>
                </a:lnTo>
                <a:lnTo>
                  <a:pt x="50" y="37"/>
                </a:lnTo>
                <a:lnTo>
                  <a:pt x="50" y="34"/>
                </a:lnTo>
                <a:lnTo>
                  <a:pt x="53" y="31"/>
                </a:lnTo>
                <a:lnTo>
                  <a:pt x="53" y="28"/>
                </a:lnTo>
                <a:lnTo>
                  <a:pt x="50" y="28"/>
                </a:lnTo>
                <a:lnTo>
                  <a:pt x="50" y="25"/>
                </a:lnTo>
                <a:lnTo>
                  <a:pt x="50" y="22"/>
                </a:lnTo>
                <a:lnTo>
                  <a:pt x="50" y="25"/>
                </a:lnTo>
                <a:lnTo>
                  <a:pt x="53" y="22"/>
                </a:lnTo>
                <a:lnTo>
                  <a:pt x="53" y="19"/>
                </a:lnTo>
                <a:lnTo>
                  <a:pt x="50" y="16"/>
                </a:lnTo>
                <a:lnTo>
                  <a:pt x="53" y="12"/>
                </a:lnTo>
                <a:lnTo>
                  <a:pt x="50" y="9"/>
                </a:lnTo>
                <a:lnTo>
                  <a:pt x="47" y="12"/>
                </a:lnTo>
                <a:lnTo>
                  <a:pt x="47" y="9"/>
                </a:lnTo>
                <a:lnTo>
                  <a:pt x="41" y="6"/>
                </a:lnTo>
                <a:lnTo>
                  <a:pt x="41" y="3"/>
                </a:lnTo>
                <a:lnTo>
                  <a:pt x="41" y="0"/>
                </a:lnTo>
                <a:lnTo>
                  <a:pt x="34" y="0"/>
                </a:lnTo>
                <a:lnTo>
                  <a:pt x="31" y="0"/>
                </a:lnTo>
                <a:lnTo>
                  <a:pt x="25" y="0"/>
                </a:lnTo>
                <a:lnTo>
                  <a:pt x="25" y="0"/>
                </a:lnTo>
                <a:lnTo>
                  <a:pt x="28" y="3"/>
                </a:lnTo>
                <a:lnTo>
                  <a:pt x="28" y="3"/>
                </a:lnTo>
                <a:lnTo>
                  <a:pt x="31" y="3"/>
                </a:lnTo>
                <a:lnTo>
                  <a:pt x="31" y="3"/>
                </a:lnTo>
                <a:lnTo>
                  <a:pt x="34" y="3"/>
                </a:lnTo>
                <a:lnTo>
                  <a:pt x="38" y="3"/>
                </a:lnTo>
                <a:lnTo>
                  <a:pt x="38" y="6"/>
                </a:lnTo>
                <a:lnTo>
                  <a:pt x="34" y="6"/>
                </a:lnTo>
                <a:lnTo>
                  <a:pt x="28" y="6"/>
                </a:lnTo>
                <a:lnTo>
                  <a:pt x="31" y="6"/>
                </a:lnTo>
                <a:lnTo>
                  <a:pt x="34" y="9"/>
                </a:lnTo>
                <a:lnTo>
                  <a:pt x="38" y="16"/>
                </a:lnTo>
                <a:lnTo>
                  <a:pt x="38" y="19"/>
                </a:lnTo>
                <a:lnTo>
                  <a:pt x="38" y="19"/>
                </a:lnTo>
                <a:lnTo>
                  <a:pt x="38" y="16"/>
                </a:lnTo>
                <a:lnTo>
                  <a:pt x="31" y="12"/>
                </a:lnTo>
                <a:lnTo>
                  <a:pt x="28" y="16"/>
                </a:lnTo>
                <a:lnTo>
                  <a:pt x="28" y="16"/>
                </a:lnTo>
                <a:lnTo>
                  <a:pt x="28" y="12"/>
                </a:lnTo>
                <a:lnTo>
                  <a:pt x="25" y="9"/>
                </a:lnTo>
                <a:lnTo>
                  <a:pt x="22" y="6"/>
                </a:lnTo>
                <a:lnTo>
                  <a:pt x="19" y="9"/>
                </a:lnTo>
                <a:lnTo>
                  <a:pt x="22" y="12"/>
                </a:lnTo>
                <a:lnTo>
                  <a:pt x="22" y="12"/>
                </a:lnTo>
                <a:lnTo>
                  <a:pt x="19" y="9"/>
                </a:lnTo>
                <a:lnTo>
                  <a:pt x="16" y="9"/>
                </a:lnTo>
                <a:lnTo>
                  <a:pt x="16" y="12"/>
                </a:lnTo>
                <a:lnTo>
                  <a:pt x="16" y="16"/>
                </a:lnTo>
                <a:lnTo>
                  <a:pt x="19" y="16"/>
                </a:lnTo>
                <a:lnTo>
                  <a:pt x="19" y="19"/>
                </a:lnTo>
                <a:lnTo>
                  <a:pt x="16" y="16"/>
                </a:lnTo>
                <a:lnTo>
                  <a:pt x="13" y="19"/>
                </a:lnTo>
                <a:lnTo>
                  <a:pt x="16" y="22"/>
                </a:lnTo>
                <a:lnTo>
                  <a:pt x="19" y="22"/>
                </a:lnTo>
                <a:lnTo>
                  <a:pt x="19" y="22"/>
                </a:lnTo>
                <a:lnTo>
                  <a:pt x="16" y="25"/>
                </a:lnTo>
                <a:lnTo>
                  <a:pt x="19" y="25"/>
                </a:lnTo>
                <a:lnTo>
                  <a:pt x="16" y="25"/>
                </a:lnTo>
                <a:lnTo>
                  <a:pt x="9" y="22"/>
                </a:lnTo>
                <a:lnTo>
                  <a:pt x="9" y="22"/>
                </a:lnTo>
                <a:lnTo>
                  <a:pt x="6" y="22"/>
                </a:lnTo>
                <a:lnTo>
                  <a:pt x="9" y="28"/>
                </a:lnTo>
                <a:lnTo>
                  <a:pt x="13" y="31"/>
                </a:lnTo>
                <a:lnTo>
                  <a:pt x="9" y="31"/>
                </a:lnTo>
                <a:lnTo>
                  <a:pt x="6" y="25"/>
                </a:lnTo>
                <a:lnTo>
                  <a:pt x="3" y="25"/>
                </a:lnTo>
                <a:lnTo>
                  <a:pt x="0" y="28"/>
                </a:lnTo>
                <a:lnTo>
                  <a:pt x="6" y="31"/>
                </a:lnTo>
                <a:lnTo>
                  <a:pt x="9" y="34"/>
                </a:lnTo>
                <a:lnTo>
                  <a:pt x="13" y="34"/>
                </a:lnTo>
                <a:lnTo>
                  <a:pt x="16" y="31"/>
                </a:lnTo>
                <a:lnTo>
                  <a:pt x="19" y="31"/>
                </a:lnTo>
                <a:lnTo>
                  <a:pt x="22" y="28"/>
                </a:lnTo>
                <a:lnTo>
                  <a:pt x="22" y="28"/>
                </a:lnTo>
                <a:lnTo>
                  <a:pt x="22" y="31"/>
                </a:lnTo>
                <a:lnTo>
                  <a:pt x="25" y="31"/>
                </a:lnTo>
                <a:lnTo>
                  <a:pt x="28" y="28"/>
                </a:lnTo>
                <a:lnTo>
                  <a:pt x="28" y="31"/>
                </a:lnTo>
                <a:lnTo>
                  <a:pt x="31" y="31"/>
                </a:lnTo>
                <a:lnTo>
                  <a:pt x="34" y="31"/>
                </a:lnTo>
                <a:lnTo>
                  <a:pt x="34" y="28"/>
                </a:lnTo>
                <a:lnTo>
                  <a:pt x="34" y="31"/>
                </a:lnTo>
                <a:lnTo>
                  <a:pt x="34" y="31"/>
                </a:lnTo>
                <a:lnTo>
                  <a:pt x="41" y="28"/>
                </a:lnTo>
                <a:lnTo>
                  <a:pt x="41" y="31"/>
                </a:lnTo>
                <a:lnTo>
                  <a:pt x="38" y="34"/>
                </a:lnTo>
                <a:lnTo>
                  <a:pt x="41" y="34"/>
                </a:lnTo>
                <a:lnTo>
                  <a:pt x="44" y="34"/>
                </a:lnTo>
                <a:lnTo>
                  <a:pt x="47" y="34"/>
                </a:lnTo>
                <a:lnTo>
                  <a:pt x="44" y="37"/>
                </a:lnTo>
                <a:lnTo>
                  <a:pt x="41" y="37"/>
                </a:lnTo>
                <a:lnTo>
                  <a:pt x="41" y="37"/>
                </a:lnTo>
                <a:lnTo>
                  <a:pt x="38" y="37"/>
                </a:lnTo>
                <a:lnTo>
                  <a:pt x="31" y="41"/>
                </a:lnTo>
                <a:lnTo>
                  <a:pt x="31" y="44"/>
                </a:lnTo>
                <a:lnTo>
                  <a:pt x="38" y="44"/>
                </a:lnTo>
                <a:lnTo>
                  <a:pt x="41" y="44"/>
                </a:lnTo>
                <a:lnTo>
                  <a:pt x="44" y="41"/>
                </a:lnTo>
                <a:lnTo>
                  <a:pt x="44" y="41"/>
                </a:lnTo>
                <a:lnTo>
                  <a:pt x="44" y="44"/>
                </a:lnTo>
                <a:lnTo>
                  <a:pt x="41" y="47"/>
                </a:lnTo>
                <a:lnTo>
                  <a:pt x="34" y="47"/>
                </a:lnTo>
                <a:lnTo>
                  <a:pt x="34" y="47"/>
                </a:lnTo>
                <a:lnTo>
                  <a:pt x="31" y="50"/>
                </a:lnTo>
                <a:lnTo>
                  <a:pt x="28" y="47"/>
                </a:lnTo>
                <a:lnTo>
                  <a:pt x="28" y="47"/>
                </a:lnTo>
                <a:lnTo>
                  <a:pt x="28" y="44"/>
                </a:lnTo>
                <a:lnTo>
                  <a:pt x="25" y="44"/>
                </a:lnTo>
                <a:lnTo>
                  <a:pt x="25" y="44"/>
                </a:lnTo>
                <a:lnTo>
                  <a:pt x="25" y="47"/>
                </a:lnTo>
                <a:lnTo>
                  <a:pt x="22" y="50"/>
                </a:lnTo>
                <a:lnTo>
                  <a:pt x="19" y="47"/>
                </a:lnTo>
                <a:lnTo>
                  <a:pt x="16" y="47"/>
                </a:lnTo>
                <a:lnTo>
                  <a:pt x="13" y="50"/>
                </a:lnTo>
                <a:lnTo>
                  <a:pt x="9" y="47"/>
                </a:lnTo>
                <a:lnTo>
                  <a:pt x="6" y="50"/>
                </a:lnTo>
                <a:lnTo>
                  <a:pt x="6" y="50"/>
                </a:lnTo>
                <a:lnTo>
                  <a:pt x="6" y="53"/>
                </a:lnTo>
                <a:lnTo>
                  <a:pt x="9" y="56"/>
                </a:lnTo>
                <a:lnTo>
                  <a:pt x="13" y="56"/>
                </a:lnTo>
                <a:lnTo>
                  <a:pt x="13" y="56"/>
                </a:lnTo>
                <a:lnTo>
                  <a:pt x="19" y="56"/>
                </a:lnTo>
                <a:lnTo>
                  <a:pt x="28" y="56"/>
                </a:lnTo>
                <a:lnTo>
                  <a:pt x="31" y="56"/>
                </a:lnTo>
                <a:lnTo>
                  <a:pt x="31" y="59"/>
                </a:lnTo>
                <a:lnTo>
                  <a:pt x="28" y="59"/>
                </a:lnTo>
                <a:lnTo>
                  <a:pt x="28" y="62"/>
                </a:lnTo>
                <a:lnTo>
                  <a:pt x="31" y="66"/>
                </a:lnTo>
                <a:lnTo>
                  <a:pt x="34" y="69"/>
                </a:lnTo>
                <a:lnTo>
                  <a:pt x="34" y="69"/>
                </a:lnTo>
                <a:lnTo>
                  <a:pt x="41" y="62"/>
                </a:lnTo>
                <a:lnTo>
                  <a:pt x="41" y="66"/>
                </a:lnTo>
                <a:lnTo>
                  <a:pt x="38" y="69"/>
                </a:lnTo>
                <a:lnTo>
                  <a:pt x="34" y="72"/>
                </a:lnTo>
                <a:lnTo>
                  <a:pt x="38" y="75"/>
                </a:lnTo>
                <a:lnTo>
                  <a:pt x="44" y="69"/>
                </a:lnTo>
                <a:lnTo>
                  <a:pt x="47" y="72"/>
                </a:lnTo>
                <a:lnTo>
                  <a:pt x="47" y="72"/>
                </a:lnTo>
                <a:lnTo>
                  <a:pt x="44" y="72"/>
                </a:lnTo>
                <a:lnTo>
                  <a:pt x="41" y="72"/>
                </a:lnTo>
                <a:lnTo>
                  <a:pt x="38" y="75"/>
                </a:lnTo>
                <a:lnTo>
                  <a:pt x="34" y="75"/>
                </a:lnTo>
                <a:lnTo>
                  <a:pt x="34" y="78"/>
                </a:lnTo>
                <a:lnTo>
                  <a:pt x="34" y="81"/>
                </a:lnTo>
                <a:lnTo>
                  <a:pt x="31" y="81"/>
                </a:lnTo>
                <a:lnTo>
                  <a:pt x="28" y="81"/>
                </a:lnTo>
                <a:lnTo>
                  <a:pt x="28" y="78"/>
                </a:lnTo>
                <a:lnTo>
                  <a:pt x="25" y="78"/>
                </a:lnTo>
                <a:lnTo>
                  <a:pt x="25" y="78"/>
                </a:lnTo>
                <a:lnTo>
                  <a:pt x="22" y="78"/>
                </a:lnTo>
                <a:lnTo>
                  <a:pt x="22" y="84"/>
                </a:lnTo>
                <a:lnTo>
                  <a:pt x="25" y="84"/>
                </a:lnTo>
                <a:lnTo>
                  <a:pt x="25" y="84"/>
                </a:lnTo>
                <a:lnTo>
                  <a:pt x="22" y="91"/>
                </a:lnTo>
                <a:lnTo>
                  <a:pt x="28" y="91"/>
                </a:lnTo>
                <a:lnTo>
                  <a:pt x="28" y="91"/>
                </a:lnTo>
                <a:lnTo>
                  <a:pt x="31" y="91"/>
                </a:lnTo>
                <a:lnTo>
                  <a:pt x="38" y="94"/>
                </a:lnTo>
                <a:lnTo>
                  <a:pt x="44" y="88"/>
                </a:lnTo>
                <a:lnTo>
                  <a:pt x="47" y="91"/>
                </a:lnTo>
                <a:lnTo>
                  <a:pt x="50" y="91"/>
                </a:lnTo>
                <a:lnTo>
                  <a:pt x="50" y="91"/>
                </a:lnTo>
                <a:lnTo>
                  <a:pt x="53" y="91"/>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5" name="Freeform 163">
            <a:extLst>
              <a:ext uri="{FF2B5EF4-FFF2-40B4-BE49-F238E27FC236}">
                <a16:creationId xmlns:a16="http://schemas.microsoft.com/office/drawing/2014/main" id="{F4961D79-4079-AD47-C138-3217006E9615}"/>
              </a:ext>
            </a:extLst>
          </p:cNvPr>
          <p:cNvSpPr>
            <a:spLocks noEditPoints="1"/>
          </p:cNvSpPr>
          <p:nvPr userDrawn="1"/>
        </p:nvSpPr>
        <p:spPr bwMode="auto">
          <a:xfrm>
            <a:off x="3295435" y="7885983"/>
            <a:ext cx="336528" cy="247650"/>
          </a:xfrm>
          <a:custGeom>
            <a:avLst/>
            <a:gdLst>
              <a:gd name="T0" fmla="*/ 3 w 106"/>
              <a:gd name="T1" fmla="*/ 10 h 78"/>
              <a:gd name="T2" fmla="*/ 6 w 106"/>
              <a:gd name="T3" fmla="*/ 6 h 78"/>
              <a:gd name="T4" fmla="*/ 3 w 106"/>
              <a:gd name="T5" fmla="*/ 3 h 78"/>
              <a:gd name="T6" fmla="*/ 0 w 106"/>
              <a:gd name="T7" fmla="*/ 6 h 78"/>
              <a:gd name="T8" fmla="*/ 3 w 106"/>
              <a:gd name="T9" fmla="*/ 10 h 78"/>
              <a:gd name="T10" fmla="*/ 3 w 106"/>
              <a:gd name="T11" fmla="*/ 10 h 78"/>
              <a:gd name="T12" fmla="*/ 22 w 106"/>
              <a:gd name="T13" fmla="*/ 6 h 78"/>
              <a:gd name="T14" fmla="*/ 22 w 106"/>
              <a:gd name="T15" fmla="*/ 0 h 78"/>
              <a:gd name="T16" fmla="*/ 22 w 106"/>
              <a:gd name="T17" fmla="*/ 0 h 78"/>
              <a:gd name="T18" fmla="*/ 19 w 106"/>
              <a:gd name="T19" fmla="*/ 0 h 78"/>
              <a:gd name="T20" fmla="*/ 16 w 106"/>
              <a:gd name="T21" fmla="*/ 3 h 78"/>
              <a:gd name="T22" fmla="*/ 19 w 106"/>
              <a:gd name="T23" fmla="*/ 6 h 78"/>
              <a:gd name="T24" fmla="*/ 22 w 106"/>
              <a:gd name="T25" fmla="*/ 6 h 78"/>
              <a:gd name="T26" fmla="*/ 22 w 106"/>
              <a:gd name="T27" fmla="*/ 6 h 78"/>
              <a:gd name="T28" fmla="*/ 53 w 106"/>
              <a:gd name="T29" fmla="*/ 19 h 78"/>
              <a:gd name="T30" fmla="*/ 50 w 106"/>
              <a:gd name="T31" fmla="*/ 16 h 78"/>
              <a:gd name="T32" fmla="*/ 47 w 106"/>
              <a:gd name="T33" fmla="*/ 13 h 78"/>
              <a:gd name="T34" fmla="*/ 44 w 106"/>
              <a:gd name="T35" fmla="*/ 13 h 78"/>
              <a:gd name="T36" fmla="*/ 44 w 106"/>
              <a:gd name="T37" fmla="*/ 16 h 78"/>
              <a:gd name="T38" fmla="*/ 47 w 106"/>
              <a:gd name="T39" fmla="*/ 22 h 78"/>
              <a:gd name="T40" fmla="*/ 53 w 106"/>
              <a:gd name="T41" fmla="*/ 22 h 78"/>
              <a:gd name="T42" fmla="*/ 53 w 106"/>
              <a:gd name="T43" fmla="*/ 19 h 78"/>
              <a:gd name="T44" fmla="*/ 53 w 106"/>
              <a:gd name="T45" fmla="*/ 19 h 78"/>
              <a:gd name="T46" fmla="*/ 69 w 106"/>
              <a:gd name="T47" fmla="*/ 25 h 78"/>
              <a:gd name="T48" fmla="*/ 66 w 106"/>
              <a:gd name="T49" fmla="*/ 25 h 78"/>
              <a:gd name="T50" fmla="*/ 66 w 106"/>
              <a:gd name="T51" fmla="*/ 25 h 78"/>
              <a:gd name="T52" fmla="*/ 62 w 106"/>
              <a:gd name="T53" fmla="*/ 25 h 78"/>
              <a:gd name="T54" fmla="*/ 66 w 106"/>
              <a:gd name="T55" fmla="*/ 25 h 78"/>
              <a:gd name="T56" fmla="*/ 72 w 106"/>
              <a:gd name="T57" fmla="*/ 22 h 78"/>
              <a:gd name="T58" fmla="*/ 69 w 106"/>
              <a:gd name="T59" fmla="*/ 25 h 78"/>
              <a:gd name="T60" fmla="*/ 69 w 106"/>
              <a:gd name="T61" fmla="*/ 25 h 78"/>
              <a:gd name="T62" fmla="*/ 78 w 106"/>
              <a:gd name="T63" fmla="*/ 35 h 78"/>
              <a:gd name="T64" fmla="*/ 75 w 106"/>
              <a:gd name="T65" fmla="*/ 31 h 78"/>
              <a:gd name="T66" fmla="*/ 72 w 106"/>
              <a:gd name="T67" fmla="*/ 31 h 78"/>
              <a:gd name="T68" fmla="*/ 72 w 106"/>
              <a:gd name="T69" fmla="*/ 28 h 78"/>
              <a:gd name="T70" fmla="*/ 72 w 106"/>
              <a:gd name="T71" fmla="*/ 28 h 78"/>
              <a:gd name="T72" fmla="*/ 75 w 106"/>
              <a:gd name="T73" fmla="*/ 28 h 78"/>
              <a:gd name="T74" fmla="*/ 81 w 106"/>
              <a:gd name="T75" fmla="*/ 31 h 78"/>
              <a:gd name="T76" fmla="*/ 84 w 106"/>
              <a:gd name="T77" fmla="*/ 35 h 78"/>
              <a:gd name="T78" fmla="*/ 81 w 106"/>
              <a:gd name="T79" fmla="*/ 35 h 78"/>
              <a:gd name="T80" fmla="*/ 78 w 106"/>
              <a:gd name="T81" fmla="*/ 35 h 78"/>
              <a:gd name="T82" fmla="*/ 78 w 106"/>
              <a:gd name="T83" fmla="*/ 35 h 78"/>
              <a:gd name="T84" fmla="*/ 84 w 106"/>
              <a:gd name="T85" fmla="*/ 60 h 78"/>
              <a:gd name="T86" fmla="*/ 84 w 106"/>
              <a:gd name="T87" fmla="*/ 66 h 78"/>
              <a:gd name="T88" fmla="*/ 84 w 106"/>
              <a:gd name="T89" fmla="*/ 75 h 78"/>
              <a:gd name="T90" fmla="*/ 91 w 106"/>
              <a:gd name="T91" fmla="*/ 78 h 78"/>
              <a:gd name="T92" fmla="*/ 97 w 106"/>
              <a:gd name="T93" fmla="*/ 69 h 78"/>
              <a:gd name="T94" fmla="*/ 103 w 106"/>
              <a:gd name="T95" fmla="*/ 66 h 78"/>
              <a:gd name="T96" fmla="*/ 106 w 106"/>
              <a:gd name="T97" fmla="*/ 63 h 78"/>
              <a:gd name="T98" fmla="*/ 103 w 106"/>
              <a:gd name="T99" fmla="*/ 60 h 78"/>
              <a:gd name="T100" fmla="*/ 100 w 106"/>
              <a:gd name="T101" fmla="*/ 60 h 78"/>
              <a:gd name="T102" fmla="*/ 103 w 106"/>
              <a:gd name="T103" fmla="*/ 57 h 78"/>
              <a:gd name="T104" fmla="*/ 97 w 106"/>
              <a:gd name="T105" fmla="*/ 50 h 78"/>
              <a:gd name="T106" fmla="*/ 94 w 106"/>
              <a:gd name="T107" fmla="*/ 50 h 78"/>
              <a:gd name="T108" fmla="*/ 91 w 106"/>
              <a:gd name="T109" fmla="*/ 47 h 78"/>
              <a:gd name="T110" fmla="*/ 87 w 106"/>
              <a:gd name="T111" fmla="*/ 44 h 78"/>
              <a:gd name="T112" fmla="*/ 84 w 106"/>
              <a:gd name="T113" fmla="*/ 47 h 78"/>
              <a:gd name="T114" fmla="*/ 87 w 106"/>
              <a:gd name="T115" fmla="*/ 50 h 78"/>
              <a:gd name="T116" fmla="*/ 84 w 106"/>
              <a:gd name="T117" fmla="*/ 53 h 78"/>
              <a:gd name="T118" fmla="*/ 84 w 106"/>
              <a:gd name="T119" fmla="*/ 57 h 78"/>
              <a:gd name="T120" fmla="*/ 84 w 106"/>
              <a:gd name="T121" fmla="*/ 6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6" h="78">
                <a:moveTo>
                  <a:pt x="3" y="10"/>
                </a:moveTo>
                <a:lnTo>
                  <a:pt x="6" y="6"/>
                </a:lnTo>
                <a:lnTo>
                  <a:pt x="3" y="3"/>
                </a:lnTo>
                <a:lnTo>
                  <a:pt x="0" y="6"/>
                </a:lnTo>
                <a:lnTo>
                  <a:pt x="3" y="10"/>
                </a:lnTo>
                <a:lnTo>
                  <a:pt x="3" y="10"/>
                </a:lnTo>
                <a:close/>
                <a:moveTo>
                  <a:pt x="22" y="6"/>
                </a:moveTo>
                <a:lnTo>
                  <a:pt x="22" y="0"/>
                </a:lnTo>
                <a:lnTo>
                  <a:pt x="22" y="0"/>
                </a:lnTo>
                <a:lnTo>
                  <a:pt x="19" y="0"/>
                </a:lnTo>
                <a:lnTo>
                  <a:pt x="16" y="3"/>
                </a:lnTo>
                <a:lnTo>
                  <a:pt x="19" y="6"/>
                </a:lnTo>
                <a:lnTo>
                  <a:pt x="22" y="6"/>
                </a:lnTo>
                <a:lnTo>
                  <a:pt x="22" y="6"/>
                </a:lnTo>
                <a:close/>
                <a:moveTo>
                  <a:pt x="53" y="19"/>
                </a:moveTo>
                <a:lnTo>
                  <a:pt x="50" y="16"/>
                </a:lnTo>
                <a:lnTo>
                  <a:pt x="47" y="13"/>
                </a:lnTo>
                <a:lnTo>
                  <a:pt x="44" y="13"/>
                </a:lnTo>
                <a:lnTo>
                  <a:pt x="44" y="16"/>
                </a:lnTo>
                <a:lnTo>
                  <a:pt x="47" y="22"/>
                </a:lnTo>
                <a:lnTo>
                  <a:pt x="53" y="22"/>
                </a:lnTo>
                <a:lnTo>
                  <a:pt x="53" y="19"/>
                </a:lnTo>
                <a:lnTo>
                  <a:pt x="53" y="19"/>
                </a:lnTo>
                <a:close/>
                <a:moveTo>
                  <a:pt x="69" y="25"/>
                </a:moveTo>
                <a:lnTo>
                  <a:pt x="66" y="25"/>
                </a:lnTo>
                <a:lnTo>
                  <a:pt x="66" y="25"/>
                </a:lnTo>
                <a:lnTo>
                  <a:pt x="62" y="25"/>
                </a:lnTo>
                <a:lnTo>
                  <a:pt x="66" y="25"/>
                </a:lnTo>
                <a:lnTo>
                  <a:pt x="72" y="22"/>
                </a:lnTo>
                <a:lnTo>
                  <a:pt x="69" y="25"/>
                </a:lnTo>
                <a:lnTo>
                  <a:pt x="69" y="25"/>
                </a:lnTo>
                <a:close/>
                <a:moveTo>
                  <a:pt x="78" y="35"/>
                </a:moveTo>
                <a:lnTo>
                  <a:pt x="75" y="31"/>
                </a:lnTo>
                <a:lnTo>
                  <a:pt x="72" y="31"/>
                </a:lnTo>
                <a:lnTo>
                  <a:pt x="72" y="28"/>
                </a:lnTo>
                <a:lnTo>
                  <a:pt x="72" y="28"/>
                </a:lnTo>
                <a:lnTo>
                  <a:pt x="75" y="28"/>
                </a:lnTo>
                <a:lnTo>
                  <a:pt x="81" y="31"/>
                </a:lnTo>
                <a:lnTo>
                  <a:pt x="84" y="35"/>
                </a:lnTo>
                <a:lnTo>
                  <a:pt x="81" y="35"/>
                </a:lnTo>
                <a:lnTo>
                  <a:pt x="78" y="35"/>
                </a:lnTo>
                <a:lnTo>
                  <a:pt x="78" y="35"/>
                </a:lnTo>
                <a:close/>
                <a:moveTo>
                  <a:pt x="84" y="60"/>
                </a:moveTo>
                <a:lnTo>
                  <a:pt x="84" y="66"/>
                </a:lnTo>
                <a:lnTo>
                  <a:pt x="84" y="75"/>
                </a:lnTo>
                <a:lnTo>
                  <a:pt x="91" y="78"/>
                </a:lnTo>
                <a:lnTo>
                  <a:pt x="97" y="69"/>
                </a:lnTo>
                <a:lnTo>
                  <a:pt x="103" y="66"/>
                </a:lnTo>
                <a:lnTo>
                  <a:pt x="106" y="63"/>
                </a:lnTo>
                <a:lnTo>
                  <a:pt x="103" y="60"/>
                </a:lnTo>
                <a:lnTo>
                  <a:pt x="100" y="60"/>
                </a:lnTo>
                <a:lnTo>
                  <a:pt x="103" y="57"/>
                </a:lnTo>
                <a:lnTo>
                  <a:pt x="97" y="50"/>
                </a:lnTo>
                <a:lnTo>
                  <a:pt x="94" y="50"/>
                </a:lnTo>
                <a:lnTo>
                  <a:pt x="91" y="47"/>
                </a:lnTo>
                <a:lnTo>
                  <a:pt x="87" y="44"/>
                </a:lnTo>
                <a:lnTo>
                  <a:pt x="84" y="47"/>
                </a:lnTo>
                <a:lnTo>
                  <a:pt x="87" y="50"/>
                </a:lnTo>
                <a:lnTo>
                  <a:pt x="84" y="53"/>
                </a:lnTo>
                <a:lnTo>
                  <a:pt x="84" y="57"/>
                </a:lnTo>
                <a:lnTo>
                  <a:pt x="84" y="6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6" name="Freeform 164">
            <a:extLst>
              <a:ext uri="{FF2B5EF4-FFF2-40B4-BE49-F238E27FC236}">
                <a16:creationId xmlns:a16="http://schemas.microsoft.com/office/drawing/2014/main" id="{76D2C372-3C2B-3DB4-DE79-56459AA5855B}"/>
              </a:ext>
            </a:extLst>
          </p:cNvPr>
          <p:cNvSpPr>
            <a:spLocks noEditPoints="1"/>
          </p:cNvSpPr>
          <p:nvPr userDrawn="1"/>
        </p:nvSpPr>
        <p:spPr bwMode="auto">
          <a:xfrm>
            <a:off x="7502031" y="9387757"/>
            <a:ext cx="130168" cy="88902"/>
          </a:xfrm>
          <a:custGeom>
            <a:avLst/>
            <a:gdLst>
              <a:gd name="T0" fmla="*/ 38 w 41"/>
              <a:gd name="T1" fmla="*/ 21 h 28"/>
              <a:gd name="T2" fmla="*/ 35 w 41"/>
              <a:gd name="T3" fmla="*/ 25 h 28"/>
              <a:gd name="T4" fmla="*/ 35 w 41"/>
              <a:gd name="T5" fmla="*/ 28 h 28"/>
              <a:gd name="T6" fmla="*/ 41 w 41"/>
              <a:gd name="T7" fmla="*/ 21 h 28"/>
              <a:gd name="T8" fmla="*/ 41 w 41"/>
              <a:gd name="T9" fmla="*/ 21 h 28"/>
              <a:gd name="T10" fmla="*/ 38 w 41"/>
              <a:gd name="T11" fmla="*/ 21 h 28"/>
              <a:gd name="T12" fmla="*/ 38 w 41"/>
              <a:gd name="T13" fmla="*/ 21 h 28"/>
              <a:gd name="T14" fmla="*/ 22 w 41"/>
              <a:gd name="T15" fmla="*/ 15 h 28"/>
              <a:gd name="T16" fmla="*/ 25 w 41"/>
              <a:gd name="T17" fmla="*/ 15 h 28"/>
              <a:gd name="T18" fmla="*/ 28 w 41"/>
              <a:gd name="T19" fmla="*/ 15 h 28"/>
              <a:gd name="T20" fmla="*/ 25 w 41"/>
              <a:gd name="T21" fmla="*/ 18 h 28"/>
              <a:gd name="T22" fmla="*/ 22 w 41"/>
              <a:gd name="T23" fmla="*/ 15 h 28"/>
              <a:gd name="T24" fmla="*/ 22 w 41"/>
              <a:gd name="T25" fmla="*/ 15 h 28"/>
              <a:gd name="T26" fmla="*/ 16 w 41"/>
              <a:gd name="T27" fmla="*/ 6 h 28"/>
              <a:gd name="T28" fmla="*/ 16 w 41"/>
              <a:gd name="T29" fmla="*/ 9 h 28"/>
              <a:gd name="T30" fmla="*/ 19 w 41"/>
              <a:gd name="T31" fmla="*/ 9 h 28"/>
              <a:gd name="T32" fmla="*/ 16 w 41"/>
              <a:gd name="T33" fmla="*/ 6 h 28"/>
              <a:gd name="T34" fmla="*/ 16 w 41"/>
              <a:gd name="T35" fmla="*/ 6 h 28"/>
              <a:gd name="T36" fmla="*/ 0 w 41"/>
              <a:gd name="T37" fmla="*/ 12 h 28"/>
              <a:gd name="T38" fmla="*/ 3 w 41"/>
              <a:gd name="T39" fmla="*/ 12 h 28"/>
              <a:gd name="T40" fmla="*/ 3 w 41"/>
              <a:gd name="T41" fmla="*/ 15 h 28"/>
              <a:gd name="T42" fmla="*/ 0 w 41"/>
              <a:gd name="T43" fmla="*/ 15 h 28"/>
              <a:gd name="T44" fmla="*/ 0 w 41"/>
              <a:gd name="T45" fmla="*/ 12 h 28"/>
              <a:gd name="T46" fmla="*/ 0 w 41"/>
              <a:gd name="T47" fmla="*/ 12 h 28"/>
              <a:gd name="T48" fmla="*/ 0 w 41"/>
              <a:gd name="T49" fmla="*/ 12 h 28"/>
              <a:gd name="T50" fmla="*/ 3 w 41"/>
              <a:gd name="T51" fmla="*/ 6 h 28"/>
              <a:gd name="T52" fmla="*/ 6 w 41"/>
              <a:gd name="T53" fmla="*/ 6 h 28"/>
              <a:gd name="T54" fmla="*/ 6 w 41"/>
              <a:gd name="T55" fmla="*/ 12 h 28"/>
              <a:gd name="T56" fmla="*/ 10 w 41"/>
              <a:gd name="T57" fmla="*/ 18 h 28"/>
              <a:gd name="T58" fmla="*/ 6 w 41"/>
              <a:gd name="T59" fmla="*/ 18 h 28"/>
              <a:gd name="T60" fmla="*/ 3 w 41"/>
              <a:gd name="T61" fmla="*/ 25 h 28"/>
              <a:gd name="T62" fmla="*/ 6 w 41"/>
              <a:gd name="T63" fmla="*/ 25 h 28"/>
              <a:gd name="T64" fmla="*/ 13 w 41"/>
              <a:gd name="T65" fmla="*/ 25 h 28"/>
              <a:gd name="T66" fmla="*/ 13 w 41"/>
              <a:gd name="T67" fmla="*/ 18 h 28"/>
              <a:gd name="T68" fmla="*/ 10 w 41"/>
              <a:gd name="T69" fmla="*/ 15 h 28"/>
              <a:gd name="T70" fmla="*/ 10 w 41"/>
              <a:gd name="T71" fmla="*/ 12 h 28"/>
              <a:gd name="T72" fmla="*/ 10 w 41"/>
              <a:gd name="T73" fmla="*/ 9 h 28"/>
              <a:gd name="T74" fmla="*/ 10 w 41"/>
              <a:gd name="T75" fmla="*/ 3 h 28"/>
              <a:gd name="T76" fmla="*/ 6 w 41"/>
              <a:gd name="T77" fmla="*/ 0 h 28"/>
              <a:gd name="T78" fmla="*/ 3 w 41"/>
              <a:gd name="T79" fmla="*/ 3 h 28"/>
              <a:gd name="T80" fmla="*/ 3 w 41"/>
              <a:gd name="T81"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 h="28">
                <a:moveTo>
                  <a:pt x="38" y="21"/>
                </a:moveTo>
                <a:lnTo>
                  <a:pt x="35" y="25"/>
                </a:lnTo>
                <a:lnTo>
                  <a:pt x="35" y="28"/>
                </a:lnTo>
                <a:lnTo>
                  <a:pt x="41" y="21"/>
                </a:lnTo>
                <a:lnTo>
                  <a:pt x="41" y="21"/>
                </a:lnTo>
                <a:lnTo>
                  <a:pt x="38" y="21"/>
                </a:lnTo>
                <a:lnTo>
                  <a:pt x="38" y="21"/>
                </a:lnTo>
                <a:close/>
                <a:moveTo>
                  <a:pt x="22" y="15"/>
                </a:moveTo>
                <a:lnTo>
                  <a:pt x="25" y="15"/>
                </a:lnTo>
                <a:lnTo>
                  <a:pt x="28" y="15"/>
                </a:lnTo>
                <a:lnTo>
                  <a:pt x="25" y="18"/>
                </a:lnTo>
                <a:lnTo>
                  <a:pt x="22" y="15"/>
                </a:lnTo>
                <a:lnTo>
                  <a:pt x="22" y="15"/>
                </a:lnTo>
                <a:close/>
                <a:moveTo>
                  <a:pt x="16" y="6"/>
                </a:moveTo>
                <a:lnTo>
                  <a:pt x="16" y="9"/>
                </a:lnTo>
                <a:lnTo>
                  <a:pt x="19" y="9"/>
                </a:lnTo>
                <a:lnTo>
                  <a:pt x="16" y="6"/>
                </a:lnTo>
                <a:lnTo>
                  <a:pt x="16" y="6"/>
                </a:lnTo>
                <a:close/>
                <a:moveTo>
                  <a:pt x="0" y="12"/>
                </a:moveTo>
                <a:lnTo>
                  <a:pt x="3" y="12"/>
                </a:lnTo>
                <a:lnTo>
                  <a:pt x="3" y="15"/>
                </a:lnTo>
                <a:lnTo>
                  <a:pt x="0" y="15"/>
                </a:lnTo>
                <a:lnTo>
                  <a:pt x="0" y="12"/>
                </a:lnTo>
                <a:lnTo>
                  <a:pt x="0" y="12"/>
                </a:lnTo>
                <a:lnTo>
                  <a:pt x="0" y="12"/>
                </a:lnTo>
                <a:close/>
                <a:moveTo>
                  <a:pt x="3" y="6"/>
                </a:moveTo>
                <a:lnTo>
                  <a:pt x="6" y="6"/>
                </a:lnTo>
                <a:lnTo>
                  <a:pt x="6" y="12"/>
                </a:lnTo>
                <a:lnTo>
                  <a:pt x="10" y="18"/>
                </a:lnTo>
                <a:lnTo>
                  <a:pt x="6" y="18"/>
                </a:lnTo>
                <a:lnTo>
                  <a:pt x="3" y="25"/>
                </a:lnTo>
                <a:lnTo>
                  <a:pt x="6" y="25"/>
                </a:lnTo>
                <a:lnTo>
                  <a:pt x="13" y="25"/>
                </a:lnTo>
                <a:lnTo>
                  <a:pt x="13" y="18"/>
                </a:lnTo>
                <a:lnTo>
                  <a:pt x="10" y="15"/>
                </a:lnTo>
                <a:lnTo>
                  <a:pt x="10" y="12"/>
                </a:lnTo>
                <a:lnTo>
                  <a:pt x="10" y="9"/>
                </a:lnTo>
                <a:lnTo>
                  <a:pt x="10" y="3"/>
                </a:lnTo>
                <a:lnTo>
                  <a:pt x="6" y="0"/>
                </a:lnTo>
                <a:lnTo>
                  <a:pt x="3" y="3"/>
                </a:lnTo>
                <a:lnTo>
                  <a:pt x="3" y="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7" name="Freeform 165">
            <a:extLst>
              <a:ext uri="{FF2B5EF4-FFF2-40B4-BE49-F238E27FC236}">
                <a16:creationId xmlns:a16="http://schemas.microsoft.com/office/drawing/2014/main" id="{87F6AE99-410E-8475-5607-DF12892BB47A}"/>
              </a:ext>
            </a:extLst>
          </p:cNvPr>
          <p:cNvSpPr>
            <a:spLocks noEditPoints="1"/>
          </p:cNvSpPr>
          <p:nvPr userDrawn="1"/>
        </p:nvSpPr>
        <p:spPr bwMode="auto">
          <a:xfrm>
            <a:off x="9191027" y="8203481"/>
            <a:ext cx="196837" cy="88902"/>
          </a:xfrm>
          <a:custGeom>
            <a:avLst/>
            <a:gdLst>
              <a:gd name="T0" fmla="*/ 56 w 62"/>
              <a:gd name="T1" fmla="*/ 22 h 28"/>
              <a:gd name="T2" fmla="*/ 62 w 62"/>
              <a:gd name="T3" fmla="*/ 25 h 28"/>
              <a:gd name="T4" fmla="*/ 59 w 62"/>
              <a:gd name="T5" fmla="*/ 28 h 28"/>
              <a:gd name="T6" fmla="*/ 56 w 62"/>
              <a:gd name="T7" fmla="*/ 25 h 28"/>
              <a:gd name="T8" fmla="*/ 56 w 62"/>
              <a:gd name="T9" fmla="*/ 22 h 28"/>
              <a:gd name="T10" fmla="*/ 56 w 62"/>
              <a:gd name="T11" fmla="*/ 22 h 28"/>
              <a:gd name="T12" fmla="*/ 59 w 62"/>
              <a:gd name="T13" fmla="*/ 10 h 28"/>
              <a:gd name="T14" fmla="*/ 56 w 62"/>
              <a:gd name="T15" fmla="*/ 13 h 28"/>
              <a:gd name="T16" fmla="*/ 59 w 62"/>
              <a:gd name="T17" fmla="*/ 16 h 28"/>
              <a:gd name="T18" fmla="*/ 62 w 62"/>
              <a:gd name="T19" fmla="*/ 13 h 28"/>
              <a:gd name="T20" fmla="*/ 59 w 62"/>
              <a:gd name="T21" fmla="*/ 10 h 28"/>
              <a:gd name="T22" fmla="*/ 59 w 62"/>
              <a:gd name="T23" fmla="*/ 10 h 28"/>
              <a:gd name="T24" fmla="*/ 40 w 62"/>
              <a:gd name="T25" fmla="*/ 16 h 28"/>
              <a:gd name="T26" fmla="*/ 37 w 62"/>
              <a:gd name="T27" fmla="*/ 19 h 28"/>
              <a:gd name="T28" fmla="*/ 40 w 62"/>
              <a:gd name="T29" fmla="*/ 22 h 28"/>
              <a:gd name="T30" fmla="*/ 43 w 62"/>
              <a:gd name="T31" fmla="*/ 22 h 28"/>
              <a:gd name="T32" fmla="*/ 40 w 62"/>
              <a:gd name="T33" fmla="*/ 16 h 28"/>
              <a:gd name="T34" fmla="*/ 40 w 62"/>
              <a:gd name="T35" fmla="*/ 16 h 28"/>
              <a:gd name="T36" fmla="*/ 31 w 62"/>
              <a:gd name="T37" fmla="*/ 3 h 28"/>
              <a:gd name="T38" fmla="*/ 34 w 62"/>
              <a:gd name="T39" fmla="*/ 0 h 28"/>
              <a:gd name="T40" fmla="*/ 40 w 62"/>
              <a:gd name="T41" fmla="*/ 0 h 28"/>
              <a:gd name="T42" fmla="*/ 37 w 62"/>
              <a:gd name="T43" fmla="*/ 7 h 28"/>
              <a:gd name="T44" fmla="*/ 37 w 62"/>
              <a:gd name="T45" fmla="*/ 10 h 28"/>
              <a:gd name="T46" fmla="*/ 31 w 62"/>
              <a:gd name="T47" fmla="*/ 7 h 28"/>
              <a:gd name="T48" fmla="*/ 31 w 62"/>
              <a:gd name="T49" fmla="*/ 3 h 28"/>
              <a:gd name="T50" fmla="*/ 31 w 62"/>
              <a:gd name="T51" fmla="*/ 3 h 28"/>
              <a:gd name="T52" fmla="*/ 6 w 62"/>
              <a:gd name="T53" fmla="*/ 10 h 28"/>
              <a:gd name="T54" fmla="*/ 6 w 62"/>
              <a:gd name="T55" fmla="*/ 13 h 28"/>
              <a:gd name="T56" fmla="*/ 0 w 62"/>
              <a:gd name="T57" fmla="*/ 13 h 28"/>
              <a:gd name="T58" fmla="*/ 6 w 62"/>
              <a:gd name="T59"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2" h="28">
                <a:moveTo>
                  <a:pt x="56" y="22"/>
                </a:moveTo>
                <a:lnTo>
                  <a:pt x="62" y="25"/>
                </a:lnTo>
                <a:lnTo>
                  <a:pt x="59" y="28"/>
                </a:lnTo>
                <a:lnTo>
                  <a:pt x="56" y="25"/>
                </a:lnTo>
                <a:lnTo>
                  <a:pt x="56" y="22"/>
                </a:lnTo>
                <a:lnTo>
                  <a:pt x="56" y="22"/>
                </a:lnTo>
                <a:close/>
                <a:moveTo>
                  <a:pt x="59" y="10"/>
                </a:moveTo>
                <a:lnTo>
                  <a:pt x="56" y="13"/>
                </a:lnTo>
                <a:lnTo>
                  <a:pt x="59" y="16"/>
                </a:lnTo>
                <a:lnTo>
                  <a:pt x="62" y="13"/>
                </a:lnTo>
                <a:lnTo>
                  <a:pt x="59" y="10"/>
                </a:lnTo>
                <a:lnTo>
                  <a:pt x="59" y="10"/>
                </a:lnTo>
                <a:close/>
                <a:moveTo>
                  <a:pt x="40" y="16"/>
                </a:moveTo>
                <a:lnTo>
                  <a:pt x="37" y="19"/>
                </a:lnTo>
                <a:lnTo>
                  <a:pt x="40" y="22"/>
                </a:lnTo>
                <a:lnTo>
                  <a:pt x="43" y="22"/>
                </a:lnTo>
                <a:lnTo>
                  <a:pt x="40" y="16"/>
                </a:lnTo>
                <a:lnTo>
                  <a:pt x="40" y="16"/>
                </a:lnTo>
                <a:close/>
                <a:moveTo>
                  <a:pt x="31" y="3"/>
                </a:moveTo>
                <a:lnTo>
                  <a:pt x="34" y="0"/>
                </a:lnTo>
                <a:lnTo>
                  <a:pt x="40" y="0"/>
                </a:lnTo>
                <a:lnTo>
                  <a:pt x="37" y="7"/>
                </a:lnTo>
                <a:lnTo>
                  <a:pt x="37" y="10"/>
                </a:lnTo>
                <a:lnTo>
                  <a:pt x="31" y="7"/>
                </a:lnTo>
                <a:lnTo>
                  <a:pt x="31" y="3"/>
                </a:lnTo>
                <a:lnTo>
                  <a:pt x="31" y="3"/>
                </a:lnTo>
                <a:close/>
                <a:moveTo>
                  <a:pt x="6" y="10"/>
                </a:moveTo>
                <a:lnTo>
                  <a:pt x="6" y="13"/>
                </a:lnTo>
                <a:lnTo>
                  <a:pt x="0" y="13"/>
                </a:lnTo>
                <a:lnTo>
                  <a:pt x="6" y="1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8" name="Freeform 166">
            <a:extLst>
              <a:ext uri="{FF2B5EF4-FFF2-40B4-BE49-F238E27FC236}">
                <a16:creationId xmlns:a16="http://schemas.microsoft.com/office/drawing/2014/main" id="{2A2FFDB4-C669-AB6B-DE0C-E275EFB27300}"/>
              </a:ext>
            </a:extLst>
          </p:cNvPr>
          <p:cNvSpPr>
            <a:spLocks noEditPoints="1"/>
          </p:cNvSpPr>
          <p:nvPr userDrawn="1"/>
        </p:nvSpPr>
        <p:spPr bwMode="auto">
          <a:xfrm>
            <a:off x="9041811" y="8193959"/>
            <a:ext cx="136517" cy="41278"/>
          </a:xfrm>
          <a:custGeom>
            <a:avLst/>
            <a:gdLst>
              <a:gd name="T0" fmla="*/ 34 w 43"/>
              <a:gd name="T1" fmla="*/ 13 h 13"/>
              <a:gd name="T2" fmla="*/ 37 w 43"/>
              <a:gd name="T3" fmla="*/ 10 h 13"/>
              <a:gd name="T4" fmla="*/ 43 w 43"/>
              <a:gd name="T5" fmla="*/ 10 h 13"/>
              <a:gd name="T6" fmla="*/ 40 w 43"/>
              <a:gd name="T7" fmla="*/ 10 h 13"/>
              <a:gd name="T8" fmla="*/ 34 w 43"/>
              <a:gd name="T9" fmla="*/ 13 h 13"/>
              <a:gd name="T10" fmla="*/ 34 w 43"/>
              <a:gd name="T11" fmla="*/ 13 h 13"/>
              <a:gd name="T12" fmla="*/ 31 w 43"/>
              <a:gd name="T13" fmla="*/ 0 h 13"/>
              <a:gd name="T14" fmla="*/ 28 w 43"/>
              <a:gd name="T15" fmla="*/ 0 h 13"/>
              <a:gd name="T16" fmla="*/ 22 w 43"/>
              <a:gd name="T17" fmla="*/ 0 h 13"/>
              <a:gd name="T18" fmla="*/ 6 w 43"/>
              <a:gd name="T19" fmla="*/ 0 h 13"/>
              <a:gd name="T20" fmla="*/ 6 w 43"/>
              <a:gd name="T21" fmla="*/ 3 h 13"/>
              <a:gd name="T22" fmla="*/ 0 w 43"/>
              <a:gd name="T23" fmla="*/ 3 h 13"/>
              <a:gd name="T24" fmla="*/ 3 w 43"/>
              <a:gd name="T25" fmla="*/ 6 h 13"/>
              <a:gd name="T26" fmla="*/ 0 w 43"/>
              <a:gd name="T27" fmla="*/ 10 h 13"/>
              <a:gd name="T28" fmla="*/ 3 w 43"/>
              <a:gd name="T29" fmla="*/ 13 h 13"/>
              <a:gd name="T30" fmla="*/ 12 w 43"/>
              <a:gd name="T31" fmla="*/ 13 h 13"/>
              <a:gd name="T32" fmla="*/ 15 w 43"/>
              <a:gd name="T33" fmla="*/ 13 h 13"/>
              <a:gd name="T34" fmla="*/ 22 w 43"/>
              <a:gd name="T35" fmla="*/ 13 h 13"/>
              <a:gd name="T36" fmla="*/ 25 w 43"/>
              <a:gd name="T37" fmla="*/ 13 h 13"/>
              <a:gd name="T38" fmla="*/ 31 w 43"/>
              <a:gd name="T39" fmla="*/ 10 h 13"/>
              <a:gd name="T40" fmla="*/ 34 w 43"/>
              <a:gd name="T41" fmla="*/ 6 h 13"/>
              <a:gd name="T42" fmla="*/ 31 w 43"/>
              <a:gd name="T43" fmla="*/ 3 h 13"/>
              <a:gd name="T44" fmla="*/ 31 w 43"/>
              <a:gd name="T4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 h="13">
                <a:moveTo>
                  <a:pt x="34" y="13"/>
                </a:moveTo>
                <a:lnTo>
                  <a:pt x="37" y="10"/>
                </a:lnTo>
                <a:lnTo>
                  <a:pt x="43" y="10"/>
                </a:lnTo>
                <a:lnTo>
                  <a:pt x="40" y="10"/>
                </a:lnTo>
                <a:lnTo>
                  <a:pt x="34" y="13"/>
                </a:lnTo>
                <a:lnTo>
                  <a:pt x="34" y="13"/>
                </a:lnTo>
                <a:close/>
                <a:moveTo>
                  <a:pt x="31" y="0"/>
                </a:moveTo>
                <a:lnTo>
                  <a:pt x="28" y="0"/>
                </a:lnTo>
                <a:lnTo>
                  <a:pt x="22" y="0"/>
                </a:lnTo>
                <a:lnTo>
                  <a:pt x="6" y="0"/>
                </a:lnTo>
                <a:lnTo>
                  <a:pt x="6" y="3"/>
                </a:lnTo>
                <a:lnTo>
                  <a:pt x="0" y="3"/>
                </a:lnTo>
                <a:lnTo>
                  <a:pt x="3" y="6"/>
                </a:lnTo>
                <a:lnTo>
                  <a:pt x="0" y="10"/>
                </a:lnTo>
                <a:lnTo>
                  <a:pt x="3" y="13"/>
                </a:lnTo>
                <a:lnTo>
                  <a:pt x="12" y="13"/>
                </a:lnTo>
                <a:lnTo>
                  <a:pt x="15" y="13"/>
                </a:lnTo>
                <a:lnTo>
                  <a:pt x="22" y="13"/>
                </a:lnTo>
                <a:lnTo>
                  <a:pt x="25" y="13"/>
                </a:lnTo>
                <a:lnTo>
                  <a:pt x="31" y="10"/>
                </a:lnTo>
                <a:lnTo>
                  <a:pt x="34" y="6"/>
                </a:lnTo>
                <a:lnTo>
                  <a:pt x="31" y="3"/>
                </a:lnTo>
                <a:lnTo>
                  <a:pt x="31"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9" name="Freeform 167">
            <a:extLst>
              <a:ext uri="{FF2B5EF4-FFF2-40B4-BE49-F238E27FC236}">
                <a16:creationId xmlns:a16="http://schemas.microsoft.com/office/drawing/2014/main" id="{37A4C95F-8893-8A0F-E96D-9C840062B54C}"/>
              </a:ext>
            </a:extLst>
          </p:cNvPr>
          <p:cNvSpPr>
            <a:spLocks noEditPoints="1"/>
          </p:cNvSpPr>
          <p:nvPr userDrawn="1"/>
        </p:nvSpPr>
        <p:spPr bwMode="auto">
          <a:xfrm>
            <a:off x="8752905" y="8095531"/>
            <a:ext cx="238111" cy="168278"/>
          </a:xfrm>
          <a:custGeom>
            <a:avLst/>
            <a:gdLst>
              <a:gd name="T0" fmla="*/ 69 w 75"/>
              <a:gd name="T1" fmla="*/ 37 h 53"/>
              <a:gd name="T2" fmla="*/ 69 w 75"/>
              <a:gd name="T3" fmla="*/ 41 h 53"/>
              <a:gd name="T4" fmla="*/ 66 w 75"/>
              <a:gd name="T5" fmla="*/ 37 h 53"/>
              <a:gd name="T6" fmla="*/ 66 w 75"/>
              <a:gd name="T7" fmla="*/ 37 h 53"/>
              <a:gd name="T8" fmla="*/ 6 w 75"/>
              <a:gd name="T9" fmla="*/ 9 h 53"/>
              <a:gd name="T10" fmla="*/ 6 w 75"/>
              <a:gd name="T11" fmla="*/ 16 h 53"/>
              <a:gd name="T12" fmla="*/ 3 w 75"/>
              <a:gd name="T13" fmla="*/ 22 h 53"/>
              <a:gd name="T14" fmla="*/ 3 w 75"/>
              <a:gd name="T15" fmla="*/ 25 h 53"/>
              <a:gd name="T16" fmla="*/ 3 w 75"/>
              <a:gd name="T17" fmla="*/ 31 h 53"/>
              <a:gd name="T18" fmla="*/ 0 w 75"/>
              <a:gd name="T19" fmla="*/ 41 h 53"/>
              <a:gd name="T20" fmla="*/ 3 w 75"/>
              <a:gd name="T21" fmla="*/ 44 h 53"/>
              <a:gd name="T22" fmla="*/ 6 w 75"/>
              <a:gd name="T23" fmla="*/ 47 h 53"/>
              <a:gd name="T24" fmla="*/ 9 w 75"/>
              <a:gd name="T25" fmla="*/ 53 h 53"/>
              <a:gd name="T26" fmla="*/ 16 w 75"/>
              <a:gd name="T27" fmla="*/ 41 h 53"/>
              <a:gd name="T28" fmla="*/ 19 w 75"/>
              <a:gd name="T29" fmla="*/ 34 h 53"/>
              <a:gd name="T30" fmla="*/ 22 w 75"/>
              <a:gd name="T31" fmla="*/ 37 h 53"/>
              <a:gd name="T32" fmla="*/ 28 w 75"/>
              <a:gd name="T33" fmla="*/ 34 h 53"/>
              <a:gd name="T34" fmla="*/ 31 w 75"/>
              <a:gd name="T35" fmla="*/ 41 h 53"/>
              <a:gd name="T36" fmla="*/ 41 w 75"/>
              <a:gd name="T37" fmla="*/ 34 h 53"/>
              <a:gd name="T38" fmla="*/ 53 w 75"/>
              <a:gd name="T39" fmla="*/ 34 h 53"/>
              <a:gd name="T40" fmla="*/ 59 w 75"/>
              <a:gd name="T41" fmla="*/ 34 h 53"/>
              <a:gd name="T42" fmla="*/ 69 w 75"/>
              <a:gd name="T43" fmla="*/ 34 h 53"/>
              <a:gd name="T44" fmla="*/ 72 w 75"/>
              <a:gd name="T45" fmla="*/ 31 h 53"/>
              <a:gd name="T46" fmla="*/ 72 w 75"/>
              <a:gd name="T47" fmla="*/ 25 h 53"/>
              <a:gd name="T48" fmla="*/ 63 w 75"/>
              <a:gd name="T49" fmla="*/ 22 h 53"/>
              <a:gd name="T50" fmla="*/ 53 w 75"/>
              <a:gd name="T51" fmla="*/ 22 h 53"/>
              <a:gd name="T52" fmla="*/ 44 w 75"/>
              <a:gd name="T53" fmla="*/ 16 h 53"/>
              <a:gd name="T54" fmla="*/ 41 w 75"/>
              <a:gd name="T55" fmla="*/ 12 h 53"/>
              <a:gd name="T56" fmla="*/ 56 w 75"/>
              <a:gd name="T57" fmla="*/ 16 h 53"/>
              <a:gd name="T58" fmla="*/ 56 w 75"/>
              <a:gd name="T59" fmla="*/ 12 h 53"/>
              <a:gd name="T60" fmla="*/ 47 w 75"/>
              <a:gd name="T61" fmla="*/ 12 h 53"/>
              <a:gd name="T62" fmla="*/ 41 w 75"/>
              <a:gd name="T63" fmla="*/ 6 h 53"/>
              <a:gd name="T64" fmla="*/ 38 w 75"/>
              <a:gd name="T65" fmla="*/ 6 h 53"/>
              <a:gd name="T66" fmla="*/ 19 w 75"/>
              <a:gd name="T67" fmla="*/ 3 h 53"/>
              <a:gd name="T68" fmla="*/ 9 w 75"/>
              <a:gd name="T69" fmla="*/ 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 h="53">
                <a:moveTo>
                  <a:pt x="66" y="37"/>
                </a:moveTo>
                <a:lnTo>
                  <a:pt x="69" y="37"/>
                </a:lnTo>
                <a:lnTo>
                  <a:pt x="72" y="41"/>
                </a:lnTo>
                <a:lnTo>
                  <a:pt x="69" y="41"/>
                </a:lnTo>
                <a:lnTo>
                  <a:pt x="66" y="41"/>
                </a:lnTo>
                <a:lnTo>
                  <a:pt x="66" y="37"/>
                </a:lnTo>
                <a:lnTo>
                  <a:pt x="66" y="37"/>
                </a:lnTo>
                <a:lnTo>
                  <a:pt x="66" y="37"/>
                </a:lnTo>
                <a:close/>
                <a:moveTo>
                  <a:pt x="6" y="6"/>
                </a:moveTo>
                <a:lnTo>
                  <a:pt x="6" y="9"/>
                </a:lnTo>
                <a:lnTo>
                  <a:pt x="6" y="12"/>
                </a:lnTo>
                <a:lnTo>
                  <a:pt x="6" y="16"/>
                </a:lnTo>
                <a:lnTo>
                  <a:pt x="6" y="19"/>
                </a:lnTo>
                <a:lnTo>
                  <a:pt x="3" y="22"/>
                </a:lnTo>
                <a:lnTo>
                  <a:pt x="3" y="22"/>
                </a:lnTo>
                <a:lnTo>
                  <a:pt x="3" y="25"/>
                </a:lnTo>
                <a:lnTo>
                  <a:pt x="3" y="28"/>
                </a:lnTo>
                <a:lnTo>
                  <a:pt x="3" y="31"/>
                </a:lnTo>
                <a:lnTo>
                  <a:pt x="0" y="37"/>
                </a:lnTo>
                <a:lnTo>
                  <a:pt x="0" y="41"/>
                </a:lnTo>
                <a:lnTo>
                  <a:pt x="0" y="41"/>
                </a:lnTo>
                <a:lnTo>
                  <a:pt x="3" y="44"/>
                </a:lnTo>
                <a:lnTo>
                  <a:pt x="3" y="47"/>
                </a:lnTo>
                <a:lnTo>
                  <a:pt x="6" y="47"/>
                </a:lnTo>
                <a:lnTo>
                  <a:pt x="6" y="50"/>
                </a:lnTo>
                <a:lnTo>
                  <a:pt x="9" y="53"/>
                </a:lnTo>
                <a:lnTo>
                  <a:pt x="13" y="47"/>
                </a:lnTo>
                <a:lnTo>
                  <a:pt x="16" y="41"/>
                </a:lnTo>
                <a:lnTo>
                  <a:pt x="16" y="37"/>
                </a:lnTo>
                <a:lnTo>
                  <a:pt x="19" y="34"/>
                </a:lnTo>
                <a:lnTo>
                  <a:pt x="19" y="37"/>
                </a:lnTo>
                <a:lnTo>
                  <a:pt x="22" y="37"/>
                </a:lnTo>
                <a:lnTo>
                  <a:pt x="25" y="31"/>
                </a:lnTo>
                <a:lnTo>
                  <a:pt x="28" y="34"/>
                </a:lnTo>
                <a:lnTo>
                  <a:pt x="28" y="37"/>
                </a:lnTo>
                <a:lnTo>
                  <a:pt x="31" y="41"/>
                </a:lnTo>
                <a:lnTo>
                  <a:pt x="34" y="37"/>
                </a:lnTo>
                <a:lnTo>
                  <a:pt x="41" y="34"/>
                </a:lnTo>
                <a:lnTo>
                  <a:pt x="47" y="31"/>
                </a:lnTo>
                <a:lnTo>
                  <a:pt x="53" y="34"/>
                </a:lnTo>
                <a:lnTo>
                  <a:pt x="56" y="31"/>
                </a:lnTo>
                <a:lnTo>
                  <a:pt x="59" y="34"/>
                </a:lnTo>
                <a:lnTo>
                  <a:pt x="63" y="34"/>
                </a:lnTo>
                <a:lnTo>
                  <a:pt x="69" y="34"/>
                </a:lnTo>
                <a:lnTo>
                  <a:pt x="69" y="31"/>
                </a:lnTo>
                <a:lnTo>
                  <a:pt x="72" y="31"/>
                </a:lnTo>
                <a:lnTo>
                  <a:pt x="75" y="28"/>
                </a:lnTo>
                <a:lnTo>
                  <a:pt x="72" y="25"/>
                </a:lnTo>
                <a:lnTo>
                  <a:pt x="66" y="22"/>
                </a:lnTo>
                <a:lnTo>
                  <a:pt x="63" y="22"/>
                </a:lnTo>
                <a:lnTo>
                  <a:pt x="56" y="19"/>
                </a:lnTo>
                <a:lnTo>
                  <a:pt x="53" y="22"/>
                </a:lnTo>
                <a:lnTo>
                  <a:pt x="50" y="19"/>
                </a:lnTo>
                <a:lnTo>
                  <a:pt x="44" y="16"/>
                </a:lnTo>
                <a:lnTo>
                  <a:pt x="41" y="16"/>
                </a:lnTo>
                <a:lnTo>
                  <a:pt x="41" y="12"/>
                </a:lnTo>
                <a:lnTo>
                  <a:pt x="47" y="16"/>
                </a:lnTo>
                <a:lnTo>
                  <a:pt x="56" y="16"/>
                </a:lnTo>
                <a:lnTo>
                  <a:pt x="59" y="16"/>
                </a:lnTo>
                <a:lnTo>
                  <a:pt x="56" y="12"/>
                </a:lnTo>
                <a:lnTo>
                  <a:pt x="53" y="12"/>
                </a:lnTo>
                <a:lnTo>
                  <a:pt x="47" y="12"/>
                </a:lnTo>
                <a:lnTo>
                  <a:pt x="44" y="6"/>
                </a:lnTo>
                <a:lnTo>
                  <a:pt x="41" y="6"/>
                </a:lnTo>
                <a:lnTo>
                  <a:pt x="41" y="6"/>
                </a:lnTo>
                <a:lnTo>
                  <a:pt x="38" y="6"/>
                </a:lnTo>
                <a:lnTo>
                  <a:pt x="22" y="0"/>
                </a:lnTo>
                <a:lnTo>
                  <a:pt x="19" y="3"/>
                </a:lnTo>
                <a:lnTo>
                  <a:pt x="16" y="0"/>
                </a:lnTo>
                <a:lnTo>
                  <a:pt x="9" y="3"/>
                </a:lnTo>
                <a:lnTo>
                  <a:pt x="6" y="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0" name="Freeform 168">
            <a:extLst>
              <a:ext uri="{FF2B5EF4-FFF2-40B4-BE49-F238E27FC236}">
                <a16:creationId xmlns:a16="http://schemas.microsoft.com/office/drawing/2014/main" id="{78976E8C-1A2E-1396-7CAD-6D09C335D10D}"/>
              </a:ext>
            </a:extLst>
          </p:cNvPr>
          <p:cNvSpPr>
            <a:spLocks noEditPoints="1"/>
          </p:cNvSpPr>
          <p:nvPr userDrawn="1"/>
        </p:nvSpPr>
        <p:spPr bwMode="auto">
          <a:xfrm>
            <a:off x="10064094" y="1628061"/>
            <a:ext cx="2638254" cy="3387726"/>
          </a:xfrm>
          <a:custGeom>
            <a:avLst/>
            <a:gdLst>
              <a:gd name="T0" fmla="*/ 67 w 266"/>
              <a:gd name="T1" fmla="*/ 327 h 341"/>
              <a:gd name="T2" fmla="*/ 52 w 266"/>
              <a:gd name="T3" fmla="*/ 314 h 341"/>
              <a:gd name="T4" fmla="*/ 45 w 266"/>
              <a:gd name="T5" fmla="*/ 297 h 341"/>
              <a:gd name="T6" fmla="*/ 42 w 266"/>
              <a:gd name="T7" fmla="*/ 289 h 341"/>
              <a:gd name="T8" fmla="*/ 47 w 266"/>
              <a:gd name="T9" fmla="*/ 270 h 341"/>
              <a:gd name="T10" fmla="*/ 44 w 266"/>
              <a:gd name="T11" fmla="*/ 261 h 341"/>
              <a:gd name="T12" fmla="*/ 55 w 266"/>
              <a:gd name="T13" fmla="*/ 251 h 341"/>
              <a:gd name="T14" fmla="*/ 58 w 266"/>
              <a:gd name="T15" fmla="*/ 248 h 341"/>
              <a:gd name="T16" fmla="*/ 62 w 266"/>
              <a:gd name="T17" fmla="*/ 233 h 341"/>
              <a:gd name="T18" fmla="*/ 64 w 266"/>
              <a:gd name="T19" fmla="*/ 220 h 341"/>
              <a:gd name="T20" fmla="*/ 63 w 266"/>
              <a:gd name="T21" fmla="*/ 202 h 341"/>
              <a:gd name="T22" fmla="*/ 48 w 266"/>
              <a:gd name="T23" fmla="*/ 198 h 341"/>
              <a:gd name="T24" fmla="*/ 54 w 266"/>
              <a:gd name="T25" fmla="*/ 169 h 341"/>
              <a:gd name="T26" fmla="*/ 42 w 266"/>
              <a:gd name="T27" fmla="*/ 132 h 341"/>
              <a:gd name="T28" fmla="*/ 9 w 266"/>
              <a:gd name="T29" fmla="*/ 116 h 341"/>
              <a:gd name="T30" fmla="*/ 27 w 266"/>
              <a:gd name="T31" fmla="*/ 100 h 341"/>
              <a:gd name="T32" fmla="*/ 10 w 266"/>
              <a:gd name="T33" fmla="*/ 78 h 341"/>
              <a:gd name="T34" fmla="*/ 53 w 266"/>
              <a:gd name="T35" fmla="*/ 58 h 341"/>
              <a:gd name="T36" fmla="*/ 69 w 266"/>
              <a:gd name="T37" fmla="*/ 39 h 341"/>
              <a:gd name="T38" fmla="*/ 104 w 266"/>
              <a:gd name="T39" fmla="*/ 20 h 341"/>
              <a:gd name="T40" fmla="*/ 122 w 266"/>
              <a:gd name="T41" fmla="*/ 36 h 341"/>
              <a:gd name="T42" fmla="*/ 143 w 266"/>
              <a:gd name="T43" fmla="*/ 36 h 341"/>
              <a:gd name="T44" fmla="*/ 152 w 266"/>
              <a:gd name="T45" fmla="*/ 14 h 341"/>
              <a:gd name="T46" fmla="*/ 179 w 266"/>
              <a:gd name="T47" fmla="*/ 2 h 341"/>
              <a:gd name="T48" fmla="*/ 197 w 266"/>
              <a:gd name="T49" fmla="*/ 13 h 341"/>
              <a:gd name="T50" fmla="*/ 210 w 266"/>
              <a:gd name="T51" fmla="*/ 17 h 341"/>
              <a:gd name="T52" fmla="*/ 235 w 266"/>
              <a:gd name="T53" fmla="*/ 35 h 341"/>
              <a:gd name="T54" fmla="*/ 184 w 266"/>
              <a:gd name="T55" fmla="*/ 44 h 341"/>
              <a:gd name="T56" fmla="*/ 223 w 266"/>
              <a:gd name="T57" fmla="*/ 47 h 341"/>
              <a:gd name="T58" fmla="*/ 232 w 266"/>
              <a:gd name="T59" fmla="*/ 59 h 341"/>
              <a:gd name="T60" fmla="*/ 256 w 266"/>
              <a:gd name="T61" fmla="*/ 66 h 341"/>
              <a:gd name="T62" fmla="*/ 232 w 266"/>
              <a:gd name="T63" fmla="*/ 80 h 341"/>
              <a:gd name="T64" fmla="*/ 222 w 266"/>
              <a:gd name="T65" fmla="*/ 121 h 341"/>
              <a:gd name="T66" fmla="*/ 221 w 266"/>
              <a:gd name="T67" fmla="*/ 138 h 341"/>
              <a:gd name="T68" fmla="*/ 222 w 266"/>
              <a:gd name="T69" fmla="*/ 154 h 341"/>
              <a:gd name="T70" fmla="*/ 216 w 266"/>
              <a:gd name="T71" fmla="*/ 166 h 341"/>
              <a:gd name="T72" fmla="*/ 215 w 266"/>
              <a:gd name="T73" fmla="*/ 183 h 341"/>
              <a:gd name="T74" fmla="*/ 196 w 266"/>
              <a:gd name="T75" fmla="*/ 186 h 341"/>
              <a:gd name="T76" fmla="*/ 187 w 266"/>
              <a:gd name="T77" fmla="*/ 196 h 341"/>
              <a:gd name="T78" fmla="*/ 207 w 266"/>
              <a:gd name="T79" fmla="*/ 213 h 341"/>
              <a:gd name="T80" fmla="*/ 195 w 266"/>
              <a:gd name="T81" fmla="*/ 223 h 341"/>
              <a:gd name="T82" fmla="*/ 178 w 266"/>
              <a:gd name="T83" fmla="*/ 221 h 341"/>
              <a:gd name="T84" fmla="*/ 191 w 266"/>
              <a:gd name="T85" fmla="*/ 230 h 341"/>
              <a:gd name="T86" fmla="*/ 180 w 266"/>
              <a:gd name="T87" fmla="*/ 249 h 341"/>
              <a:gd name="T88" fmla="*/ 151 w 266"/>
              <a:gd name="T89" fmla="*/ 253 h 341"/>
              <a:gd name="T90" fmla="*/ 126 w 266"/>
              <a:gd name="T91" fmla="*/ 278 h 341"/>
              <a:gd name="T92" fmla="*/ 106 w 266"/>
              <a:gd name="T93" fmla="*/ 283 h 341"/>
              <a:gd name="T94" fmla="*/ 93 w 266"/>
              <a:gd name="T95" fmla="*/ 302 h 341"/>
              <a:gd name="T96" fmla="*/ 88 w 266"/>
              <a:gd name="T97" fmla="*/ 318 h 341"/>
              <a:gd name="T98" fmla="*/ 77 w 266"/>
              <a:gd name="T99" fmla="*/ 332 h 341"/>
              <a:gd name="T100" fmla="*/ 89 w 266"/>
              <a:gd name="T101" fmla="*/ 312 h 341"/>
              <a:gd name="T102" fmla="*/ 198 w 266"/>
              <a:gd name="T103" fmla="*/ 239 h 341"/>
              <a:gd name="T104" fmla="*/ 201 w 266"/>
              <a:gd name="T105" fmla="*/ 197 h 341"/>
              <a:gd name="T106" fmla="*/ 213 w 266"/>
              <a:gd name="T107" fmla="*/ 175 h 341"/>
              <a:gd name="T108" fmla="*/ 219 w 266"/>
              <a:gd name="T109" fmla="*/ 147 h 341"/>
              <a:gd name="T110" fmla="*/ 246 w 266"/>
              <a:gd name="T111" fmla="*/ 45 h 341"/>
              <a:gd name="T112" fmla="*/ 151 w 266"/>
              <a:gd name="T113" fmla="*/ 13 h 341"/>
              <a:gd name="T114" fmla="*/ 120 w 266"/>
              <a:gd name="T115" fmla="*/ 26 h 341"/>
              <a:gd name="T116" fmla="*/ 50 w 266"/>
              <a:gd name="T117" fmla="*/ 158 h 341"/>
              <a:gd name="T118" fmla="*/ 50 w 266"/>
              <a:gd name="T119" fmla="*/ 185 h 341"/>
              <a:gd name="T120" fmla="*/ 54 w 266"/>
              <a:gd name="T121" fmla="*/ 330 h 341"/>
              <a:gd name="T122" fmla="*/ 49 w 266"/>
              <a:gd name="T123" fmla="*/ 241 h 341"/>
              <a:gd name="T124" fmla="*/ 62 w 266"/>
              <a:gd name="T125" fmla="*/ 226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6" h="341">
                <a:moveTo>
                  <a:pt x="79" y="338"/>
                </a:moveTo>
                <a:cubicBezTo>
                  <a:pt x="76" y="336"/>
                  <a:pt x="76" y="336"/>
                  <a:pt x="76" y="336"/>
                </a:cubicBezTo>
                <a:cubicBezTo>
                  <a:pt x="75" y="336"/>
                  <a:pt x="75" y="336"/>
                  <a:pt x="75" y="336"/>
                </a:cubicBezTo>
                <a:cubicBezTo>
                  <a:pt x="75" y="336"/>
                  <a:pt x="75" y="336"/>
                  <a:pt x="75" y="336"/>
                </a:cubicBezTo>
                <a:cubicBezTo>
                  <a:pt x="75" y="335"/>
                  <a:pt x="75" y="335"/>
                  <a:pt x="75" y="335"/>
                </a:cubicBezTo>
                <a:cubicBezTo>
                  <a:pt x="75" y="335"/>
                  <a:pt x="75" y="335"/>
                  <a:pt x="75" y="335"/>
                </a:cubicBezTo>
                <a:cubicBezTo>
                  <a:pt x="75" y="334"/>
                  <a:pt x="75" y="334"/>
                  <a:pt x="75" y="334"/>
                </a:cubicBezTo>
                <a:cubicBezTo>
                  <a:pt x="75" y="334"/>
                  <a:pt x="75" y="334"/>
                  <a:pt x="75" y="334"/>
                </a:cubicBezTo>
                <a:cubicBezTo>
                  <a:pt x="74" y="335"/>
                  <a:pt x="74" y="335"/>
                  <a:pt x="74" y="335"/>
                </a:cubicBezTo>
                <a:cubicBezTo>
                  <a:pt x="74" y="335"/>
                  <a:pt x="74" y="335"/>
                  <a:pt x="74" y="335"/>
                </a:cubicBezTo>
                <a:cubicBezTo>
                  <a:pt x="74" y="336"/>
                  <a:pt x="74" y="336"/>
                  <a:pt x="74" y="336"/>
                </a:cubicBezTo>
                <a:cubicBezTo>
                  <a:pt x="73" y="336"/>
                  <a:pt x="73" y="336"/>
                  <a:pt x="73" y="336"/>
                </a:cubicBezTo>
                <a:cubicBezTo>
                  <a:pt x="72" y="336"/>
                  <a:pt x="72" y="336"/>
                  <a:pt x="72" y="336"/>
                </a:cubicBezTo>
                <a:cubicBezTo>
                  <a:pt x="72" y="337"/>
                  <a:pt x="72" y="337"/>
                  <a:pt x="72" y="337"/>
                </a:cubicBezTo>
                <a:cubicBezTo>
                  <a:pt x="72" y="338"/>
                  <a:pt x="72" y="338"/>
                  <a:pt x="72" y="338"/>
                </a:cubicBezTo>
                <a:cubicBezTo>
                  <a:pt x="72" y="338"/>
                  <a:pt x="72" y="338"/>
                  <a:pt x="72" y="338"/>
                </a:cubicBezTo>
                <a:cubicBezTo>
                  <a:pt x="71" y="338"/>
                  <a:pt x="71" y="338"/>
                  <a:pt x="71" y="338"/>
                </a:cubicBezTo>
                <a:cubicBezTo>
                  <a:pt x="71" y="337"/>
                  <a:pt x="71" y="337"/>
                  <a:pt x="71" y="337"/>
                </a:cubicBezTo>
                <a:cubicBezTo>
                  <a:pt x="72" y="336"/>
                  <a:pt x="72" y="336"/>
                  <a:pt x="72" y="336"/>
                </a:cubicBezTo>
                <a:cubicBezTo>
                  <a:pt x="72" y="335"/>
                  <a:pt x="72" y="335"/>
                  <a:pt x="72" y="335"/>
                </a:cubicBezTo>
                <a:cubicBezTo>
                  <a:pt x="73" y="333"/>
                  <a:pt x="73" y="333"/>
                  <a:pt x="73" y="333"/>
                </a:cubicBezTo>
                <a:cubicBezTo>
                  <a:pt x="73" y="333"/>
                  <a:pt x="73" y="333"/>
                  <a:pt x="73" y="333"/>
                </a:cubicBezTo>
                <a:cubicBezTo>
                  <a:pt x="72" y="334"/>
                  <a:pt x="72" y="334"/>
                  <a:pt x="72" y="334"/>
                </a:cubicBezTo>
                <a:cubicBezTo>
                  <a:pt x="71" y="336"/>
                  <a:pt x="71" y="336"/>
                  <a:pt x="71" y="336"/>
                </a:cubicBezTo>
                <a:cubicBezTo>
                  <a:pt x="70" y="337"/>
                  <a:pt x="70" y="337"/>
                  <a:pt x="70" y="337"/>
                </a:cubicBezTo>
                <a:cubicBezTo>
                  <a:pt x="69" y="336"/>
                  <a:pt x="69" y="336"/>
                  <a:pt x="69" y="336"/>
                </a:cubicBezTo>
                <a:cubicBezTo>
                  <a:pt x="70" y="336"/>
                  <a:pt x="70" y="336"/>
                  <a:pt x="70" y="336"/>
                </a:cubicBezTo>
                <a:cubicBezTo>
                  <a:pt x="71" y="335"/>
                  <a:pt x="71" y="335"/>
                  <a:pt x="71" y="335"/>
                </a:cubicBezTo>
                <a:cubicBezTo>
                  <a:pt x="71" y="333"/>
                  <a:pt x="71" y="333"/>
                  <a:pt x="71" y="333"/>
                </a:cubicBezTo>
                <a:cubicBezTo>
                  <a:pt x="72" y="332"/>
                  <a:pt x="72" y="332"/>
                  <a:pt x="72" y="332"/>
                </a:cubicBezTo>
                <a:cubicBezTo>
                  <a:pt x="71" y="332"/>
                  <a:pt x="71" y="332"/>
                  <a:pt x="71" y="332"/>
                </a:cubicBezTo>
                <a:cubicBezTo>
                  <a:pt x="70" y="332"/>
                  <a:pt x="70" y="332"/>
                  <a:pt x="70" y="332"/>
                </a:cubicBezTo>
                <a:cubicBezTo>
                  <a:pt x="70" y="333"/>
                  <a:pt x="70" y="333"/>
                  <a:pt x="70" y="333"/>
                </a:cubicBezTo>
                <a:cubicBezTo>
                  <a:pt x="69" y="334"/>
                  <a:pt x="69" y="334"/>
                  <a:pt x="69" y="334"/>
                </a:cubicBezTo>
                <a:cubicBezTo>
                  <a:pt x="69" y="333"/>
                  <a:pt x="69" y="333"/>
                  <a:pt x="69" y="333"/>
                </a:cubicBezTo>
                <a:cubicBezTo>
                  <a:pt x="69" y="332"/>
                  <a:pt x="69" y="332"/>
                  <a:pt x="69" y="332"/>
                </a:cubicBezTo>
                <a:cubicBezTo>
                  <a:pt x="70" y="332"/>
                  <a:pt x="70" y="332"/>
                  <a:pt x="70" y="332"/>
                </a:cubicBezTo>
                <a:cubicBezTo>
                  <a:pt x="70" y="331"/>
                  <a:pt x="70" y="331"/>
                  <a:pt x="70" y="331"/>
                </a:cubicBezTo>
                <a:cubicBezTo>
                  <a:pt x="69" y="331"/>
                  <a:pt x="69" y="331"/>
                  <a:pt x="69" y="331"/>
                </a:cubicBezTo>
                <a:cubicBezTo>
                  <a:pt x="69" y="332"/>
                  <a:pt x="69" y="332"/>
                  <a:pt x="69" y="332"/>
                </a:cubicBezTo>
                <a:cubicBezTo>
                  <a:pt x="68" y="333"/>
                  <a:pt x="68" y="333"/>
                  <a:pt x="68" y="333"/>
                </a:cubicBezTo>
                <a:cubicBezTo>
                  <a:pt x="68" y="333"/>
                  <a:pt x="68" y="333"/>
                  <a:pt x="68" y="333"/>
                </a:cubicBezTo>
                <a:cubicBezTo>
                  <a:pt x="67" y="332"/>
                  <a:pt x="67" y="332"/>
                  <a:pt x="67" y="332"/>
                </a:cubicBezTo>
                <a:cubicBezTo>
                  <a:pt x="67" y="332"/>
                  <a:pt x="67" y="332"/>
                  <a:pt x="67" y="332"/>
                </a:cubicBezTo>
                <a:cubicBezTo>
                  <a:pt x="67" y="332"/>
                  <a:pt x="67" y="332"/>
                  <a:pt x="67" y="332"/>
                </a:cubicBezTo>
                <a:cubicBezTo>
                  <a:pt x="66" y="332"/>
                  <a:pt x="66" y="332"/>
                  <a:pt x="66" y="332"/>
                </a:cubicBezTo>
                <a:cubicBezTo>
                  <a:pt x="66" y="332"/>
                  <a:pt x="66" y="332"/>
                  <a:pt x="66" y="332"/>
                </a:cubicBezTo>
                <a:cubicBezTo>
                  <a:pt x="66" y="332"/>
                  <a:pt x="66" y="332"/>
                  <a:pt x="66" y="332"/>
                </a:cubicBezTo>
                <a:cubicBezTo>
                  <a:pt x="68" y="331"/>
                  <a:pt x="68" y="331"/>
                  <a:pt x="68" y="331"/>
                </a:cubicBezTo>
                <a:cubicBezTo>
                  <a:pt x="68" y="330"/>
                  <a:pt x="68" y="330"/>
                  <a:pt x="68" y="330"/>
                </a:cubicBezTo>
                <a:cubicBezTo>
                  <a:pt x="69" y="329"/>
                  <a:pt x="69" y="329"/>
                  <a:pt x="69" y="329"/>
                </a:cubicBezTo>
                <a:cubicBezTo>
                  <a:pt x="70" y="328"/>
                  <a:pt x="70" y="328"/>
                  <a:pt x="70" y="328"/>
                </a:cubicBezTo>
                <a:cubicBezTo>
                  <a:pt x="70" y="328"/>
                  <a:pt x="70" y="328"/>
                  <a:pt x="70" y="328"/>
                </a:cubicBezTo>
                <a:cubicBezTo>
                  <a:pt x="68" y="329"/>
                  <a:pt x="68" y="329"/>
                  <a:pt x="68" y="329"/>
                </a:cubicBezTo>
                <a:cubicBezTo>
                  <a:pt x="67" y="329"/>
                  <a:pt x="67" y="329"/>
                  <a:pt x="67" y="329"/>
                </a:cubicBezTo>
                <a:cubicBezTo>
                  <a:pt x="67" y="329"/>
                  <a:pt x="67" y="329"/>
                  <a:pt x="67" y="329"/>
                </a:cubicBezTo>
                <a:cubicBezTo>
                  <a:pt x="67" y="329"/>
                  <a:pt x="67" y="329"/>
                  <a:pt x="67" y="329"/>
                </a:cubicBezTo>
                <a:cubicBezTo>
                  <a:pt x="68" y="329"/>
                  <a:pt x="68" y="329"/>
                  <a:pt x="68" y="329"/>
                </a:cubicBezTo>
                <a:cubicBezTo>
                  <a:pt x="69" y="328"/>
                  <a:pt x="69" y="328"/>
                  <a:pt x="69" y="328"/>
                </a:cubicBezTo>
                <a:cubicBezTo>
                  <a:pt x="70" y="327"/>
                  <a:pt x="70" y="327"/>
                  <a:pt x="70" y="327"/>
                </a:cubicBezTo>
                <a:cubicBezTo>
                  <a:pt x="71" y="327"/>
                  <a:pt x="71" y="327"/>
                  <a:pt x="71" y="327"/>
                </a:cubicBezTo>
                <a:cubicBezTo>
                  <a:pt x="71" y="326"/>
                  <a:pt x="71" y="326"/>
                  <a:pt x="71" y="326"/>
                </a:cubicBezTo>
                <a:cubicBezTo>
                  <a:pt x="71" y="325"/>
                  <a:pt x="71" y="325"/>
                  <a:pt x="71" y="325"/>
                </a:cubicBezTo>
                <a:cubicBezTo>
                  <a:pt x="70" y="325"/>
                  <a:pt x="70" y="325"/>
                  <a:pt x="70" y="325"/>
                </a:cubicBezTo>
                <a:cubicBezTo>
                  <a:pt x="69" y="327"/>
                  <a:pt x="69" y="327"/>
                  <a:pt x="69" y="327"/>
                </a:cubicBezTo>
                <a:cubicBezTo>
                  <a:pt x="67" y="328"/>
                  <a:pt x="67" y="328"/>
                  <a:pt x="67" y="328"/>
                </a:cubicBezTo>
                <a:cubicBezTo>
                  <a:pt x="66" y="328"/>
                  <a:pt x="66" y="328"/>
                  <a:pt x="66" y="328"/>
                </a:cubicBezTo>
                <a:cubicBezTo>
                  <a:pt x="66" y="328"/>
                  <a:pt x="66" y="328"/>
                  <a:pt x="66" y="328"/>
                </a:cubicBezTo>
                <a:cubicBezTo>
                  <a:pt x="66" y="327"/>
                  <a:pt x="66" y="327"/>
                  <a:pt x="66" y="327"/>
                </a:cubicBezTo>
                <a:cubicBezTo>
                  <a:pt x="67" y="327"/>
                  <a:pt x="67" y="327"/>
                  <a:pt x="67" y="327"/>
                </a:cubicBezTo>
                <a:cubicBezTo>
                  <a:pt x="68" y="326"/>
                  <a:pt x="68" y="326"/>
                  <a:pt x="68" y="326"/>
                </a:cubicBezTo>
                <a:cubicBezTo>
                  <a:pt x="68" y="325"/>
                  <a:pt x="68" y="325"/>
                  <a:pt x="68" y="325"/>
                </a:cubicBezTo>
                <a:cubicBezTo>
                  <a:pt x="67" y="324"/>
                  <a:pt x="67" y="324"/>
                  <a:pt x="67" y="324"/>
                </a:cubicBezTo>
                <a:cubicBezTo>
                  <a:pt x="67" y="324"/>
                  <a:pt x="67" y="324"/>
                  <a:pt x="67" y="324"/>
                </a:cubicBezTo>
                <a:cubicBezTo>
                  <a:pt x="66" y="324"/>
                  <a:pt x="66" y="324"/>
                  <a:pt x="66" y="324"/>
                </a:cubicBezTo>
                <a:cubicBezTo>
                  <a:pt x="66" y="325"/>
                  <a:pt x="66" y="325"/>
                  <a:pt x="66" y="325"/>
                </a:cubicBezTo>
                <a:cubicBezTo>
                  <a:pt x="67" y="325"/>
                  <a:pt x="67" y="325"/>
                  <a:pt x="67" y="325"/>
                </a:cubicBezTo>
                <a:cubicBezTo>
                  <a:pt x="67" y="326"/>
                  <a:pt x="67" y="326"/>
                  <a:pt x="67" y="326"/>
                </a:cubicBezTo>
                <a:cubicBezTo>
                  <a:pt x="66" y="326"/>
                  <a:pt x="66" y="326"/>
                  <a:pt x="66" y="326"/>
                </a:cubicBezTo>
                <a:cubicBezTo>
                  <a:pt x="65" y="326"/>
                  <a:pt x="65" y="326"/>
                  <a:pt x="65" y="326"/>
                </a:cubicBezTo>
                <a:cubicBezTo>
                  <a:pt x="64" y="326"/>
                  <a:pt x="64" y="326"/>
                  <a:pt x="64" y="326"/>
                </a:cubicBezTo>
                <a:cubicBezTo>
                  <a:pt x="64" y="326"/>
                  <a:pt x="64" y="326"/>
                  <a:pt x="64" y="326"/>
                </a:cubicBezTo>
                <a:cubicBezTo>
                  <a:pt x="63" y="327"/>
                  <a:pt x="63" y="327"/>
                  <a:pt x="63" y="327"/>
                </a:cubicBezTo>
                <a:cubicBezTo>
                  <a:pt x="62" y="328"/>
                  <a:pt x="62" y="328"/>
                  <a:pt x="62" y="328"/>
                </a:cubicBezTo>
                <a:cubicBezTo>
                  <a:pt x="62" y="328"/>
                  <a:pt x="62" y="328"/>
                  <a:pt x="62" y="328"/>
                </a:cubicBezTo>
                <a:cubicBezTo>
                  <a:pt x="61" y="328"/>
                  <a:pt x="61" y="328"/>
                  <a:pt x="61" y="328"/>
                </a:cubicBezTo>
                <a:cubicBezTo>
                  <a:pt x="61" y="327"/>
                  <a:pt x="61" y="327"/>
                  <a:pt x="61" y="327"/>
                </a:cubicBezTo>
                <a:cubicBezTo>
                  <a:pt x="60" y="327"/>
                  <a:pt x="60" y="327"/>
                  <a:pt x="60" y="327"/>
                </a:cubicBezTo>
                <a:cubicBezTo>
                  <a:pt x="59" y="328"/>
                  <a:pt x="59" y="328"/>
                  <a:pt x="59" y="328"/>
                </a:cubicBezTo>
                <a:cubicBezTo>
                  <a:pt x="58" y="328"/>
                  <a:pt x="58" y="328"/>
                  <a:pt x="58" y="328"/>
                </a:cubicBezTo>
                <a:cubicBezTo>
                  <a:pt x="58" y="328"/>
                  <a:pt x="58" y="328"/>
                  <a:pt x="58" y="328"/>
                </a:cubicBezTo>
                <a:cubicBezTo>
                  <a:pt x="58" y="328"/>
                  <a:pt x="58" y="328"/>
                  <a:pt x="58" y="328"/>
                </a:cubicBezTo>
                <a:cubicBezTo>
                  <a:pt x="58" y="329"/>
                  <a:pt x="58" y="329"/>
                  <a:pt x="58" y="329"/>
                </a:cubicBezTo>
                <a:cubicBezTo>
                  <a:pt x="57" y="329"/>
                  <a:pt x="57" y="329"/>
                  <a:pt x="57" y="329"/>
                </a:cubicBezTo>
                <a:cubicBezTo>
                  <a:pt x="56" y="329"/>
                  <a:pt x="56" y="329"/>
                  <a:pt x="56" y="329"/>
                </a:cubicBezTo>
                <a:cubicBezTo>
                  <a:pt x="55" y="328"/>
                  <a:pt x="55" y="328"/>
                  <a:pt x="55" y="328"/>
                </a:cubicBezTo>
                <a:cubicBezTo>
                  <a:pt x="56" y="327"/>
                  <a:pt x="56" y="327"/>
                  <a:pt x="56" y="327"/>
                </a:cubicBezTo>
                <a:cubicBezTo>
                  <a:pt x="57" y="327"/>
                  <a:pt x="57" y="327"/>
                  <a:pt x="57" y="327"/>
                </a:cubicBezTo>
                <a:cubicBezTo>
                  <a:pt x="58" y="327"/>
                  <a:pt x="58" y="327"/>
                  <a:pt x="58" y="327"/>
                </a:cubicBezTo>
                <a:cubicBezTo>
                  <a:pt x="57" y="326"/>
                  <a:pt x="57" y="326"/>
                  <a:pt x="57" y="326"/>
                </a:cubicBezTo>
                <a:cubicBezTo>
                  <a:pt x="56" y="326"/>
                  <a:pt x="56" y="326"/>
                  <a:pt x="56" y="326"/>
                </a:cubicBezTo>
                <a:cubicBezTo>
                  <a:pt x="56" y="325"/>
                  <a:pt x="56" y="325"/>
                  <a:pt x="56" y="325"/>
                </a:cubicBezTo>
                <a:cubicBezTo>
                  <a:pt x="56" y="324"/>
                  <a:pt x="56" y="324"/>
                  <a:pt x="56" y="324"/>
                </a:cubicBezTo>
                <a:cubicBezTo>
                  <a:pt x="55" y="323"/>
                  <a:pt x="55" y="323"/>
                  <a:pt x="55" y="323"/>
                </a:cubicBezTo>
                <a:cubicBezTo>
                  <a:pt x="55" y="324"/>
                  <a:pt x="55" y="324"/>
                  <a:pt x="55" y="324"/>
                </a:cubicBezTo>
                <a:cubicBezTo>
                  <a:pt x="53" y="325"/>
                  <a:pt x="53" y="325"/>
                  <a:pt x="53" y="325"/>
                </a:cubicBezTo>
                <a:cubicBezTo>
                  <a:pt x="52" y="325"/>
                  <a:pt x="52" y="325"/>
                  <a:pt x="52" y="325"/>
                </a:cubicBezTo>
                <a:cubicBezTo>
                  <a:pt x="52" y="324"/>
                  <a:pt x="52" y="324"/>
                  <a:pt x="52" y="324"/>
                </a:cubicBezTo>
                <a:cubicBezTo>
                  <a:pt x="53" y="323"/>
                  <a:pt x="53" y="323"/>
                  <a:pt x="53" y="323"/>
                </a:cubicBezTo>
                <a:cubicBezTo>
                  <a:pt x="52" y="322"/>
                  <a:pt x="52" y="322"/>
                  <a:pt x="52" y="322"/>
                </a:cubicBezTo>
                <a:cubicBezTo>
                  <a:pt x="52" y="322"/>
                  <a:pt x="52" y="322"/>
                  <a:pt x="52" y="322"/>
                </a:cubicBezTo>
                <a:cubicBezTo>
                  <a:pt x="52" y="322"/>
                  <a:pt x="52" y="322"/>
                  <a:pt x="52" y="322"/>
                </a:cubicBezTo>
                <a:cubicBezTo>
                  <a:pt x="53" y="321"/>
                  <a:pt x="53" y="321"/>
                  <a:pt x="53" y="321"/>
                </a:cubicBezTo>
                <a:cubicBezTo>
                  <a:pt x="54" y="321"/>
                  <a:pt x="54" y="321"/>
                  <a:pt x="54" y="321"/>
                </a:cubicBezTo>
                <a:cubicBezTo>
                  <a:pt x="54" y="321"/>
                  <a:pt x="54" y="321"/>
                  <a:pt x="54" y="321"/>
                </a:cubicBezTo>
                <a:cubicBezTo>
                  <a:pt x="54" y="320"/>
                  <a:pt x="54" y="320"/>
                  <a:pt x="54" y="320"/>
                </a:cubicBezTo>
                <a:cubicBezTo>
                  <a:pt x="53" y="320"/>
                  <a:pt x="53" y="320"/>
                  <a:pt x="53" y="320"/>
                </a:cubicBezTo>
                <a:cubicBezTo>
                  <a:pt x="52" y="320"/>
                  <a:pt x="52" y="320"/>
                  <a:pt x="52" y="320"/>
                </a:cubicBezTo>
                <a:cubicBezTo>
                  <a:pt x="51" y="321"/>
                  <a:pt x="51" y="321"/>
                  <a:pt x="51" y="321"/>
                </a:cubicBezTo>
                <a:cubicBezTo>
                  <a:pt x="50" y="321"/>
                  <a:pt x="50" y="321"/>
                  <a:pt x="50" y="321"/>
                </a:cubicBezTo>
                <a:cubicBezTo>
                  <a:pt x="49" y="321"/>
                  <a:pt x="49" y="321"/>
                  <a:pt x="49" y="321"/>
                </a:cubicBezTo>
                <a:cubicBezTo>
                  <a:pt x="49" y="320"/>
                  <a:pt x="49" y="320"/>
                  <a:pt x="49" y="320"/>
                </a:cubicBezTo>
                <a:cubicBezTo>
                  <a:pt x="50" y="320"/>
                  <a:pt x="50" y="320"/>
                  <a:pt x="50" y="320"/>
                </a:cubicBezTo>
                <a:cubicBezTo>
                  <a:pt x="51" y="319"/>
                  <a:pt x="51" y="319"/>
                  <a:pt x="51" y="319"/>
                </a:cubicBezTo>
                <a:cubicBezTo>
                  <a:pt x="51" y="318"/>
                  <a:pt x="51" y="318"/>
                  <a:pt x="51" y="318"/>
                </a:cubicBezTo>
                <a:cubicBezTo>
                  <a:pt x="52" y="318"/>
                  <a:pt x="52" y="318"/>
                  <a:pt x="52" y="318"/>
                </a:cubicBezTo>
                <a:cubicBezTo>
                  <a:pt x="52" y="317"/>
                  <a:pt x="52" y="317"/>
                  <a:pt x="52" y="317"/>
                </a:cubicBezTo>
                <a:cubicBezTo>
                  <a:pt x="52" y="317"/>
                  <a:pt x="52" y="317"/>
                  <a:pt x="52" y="317"/>
                </a:cubicBezTo>
                <a:cubicBezTo>
                  <a:pt x="51" y="317"/>
                  <a:pt x="51" y="317"/>
                  <a:pt x="51" y="317"/>
                </a:cubicBezTo>
                <a:cubicBezTo>
                  <a:pt x="50" y="317"/>
                  <a:pt x="50" y="317"/>
                  <a:pt x="50" y="317"/>
                </a:cubicBezTo>
                <a:cubicBezTo>
                  <a:pt x="49" y="318"/>
                  <a:pt x="49" y="318"/>
                  <a:pt x="49" y="318"/>
                </a:cubicBezTo>
                <a:cubicBezTo>
                  <a:pt x="49" y="317"/>
                  <a:pt x="49" y="317"/>
                  <a:pt x="49" y="317"/>
                </a:cubicBezTo>
                <a:cubicBezTo>
                  <a:pt x="49" y="316"/>
                  <a:pt x="49" y="316"/>
                  <a:pt x="49" y="316"/>
                </a:cubicBezTo>
                <a:cubicBezTo>
                  <a:pt x="50" y="316"/>
                  <a:pt x="50" y="316"/>
                  <a:pt x="50" y="316"/>
                </a:cubicBezTo>
                <a:cubicBezTo>
                  <a:pt x="51" y="316"/>
                  <a:pt x="51" y="316"/>
                  <a:pt x="51" y="316"/>
                </a:cubicBezTo>
                <a:cubicBezTo>
                  <a:pt x="51" y="316"/>
                  <a:pt x="51" y="316"/>
                  <a:pt x="51" y="316"/>
                </a:cubicBezTo>
                <a:cubicBezTo>
                  <a:pt x="52" y="315"/>
                  <a:pt x="52" y="315"/>
                  <a:pt x="52" y="315"/>
                </a:cubicBezTo>
                <a:cubicBezTo>
                  <a:pt x="52" y="315"/>
                  <a:pt x="52" y="315"/>
                  <a:pt x="52" y="315"/>
                </a:cubicBezTo>
                <a:cubicBezTo>
                  <a:pt x="52" y="314"/>
                  <a:pt x="52" y="314"/>
                  <a:pt x="52" y="314"/>
                </a:cubicBezTo>
                <a:cubicBezTo>
                  <a:pt x="52" y="314"/>
                  <a:pt x="52" y="314"/>
                  <a:pt x="52" y="314"/>
                </a:cubicBezTo>
                <a:cubicBezTo>
                  <a:pt x="51" y="314"/>
                  <a:pt x="51" y="314"/>
                  <a:pt x="51" y="314"/>
                </a:cubicBezTo>
                <a:cubicBezTo>
                  <a:pt x="50" y="315"/>
                  <a:pt x="50" y="315"/>
                  <a:pt x="50" y="315"/>
                </a:cubicBezTo>
                <a:cubicBezTo>
                  <a:pt x="50" y="315"/>
                  <a:pt x="50" y="315"/>
                  <a:pt x="50" y="315"/>
                </a:cubicBezTo>
                <a:cubicBezTo>
                  <a:pt x="49" y="315"/>
                  <a:pt x="49" y="315"/>
                  <a:pt x="49" y="315"/>
                </a:cubicBezTo>
                <a:cubicBezTo>
                  <a:pt x="49" y="315"/>
                  <a:pt x="49" y="315"/>
                  <a:pt x="49" y="315"/>
                </a:cubicBezTo>
                <a:cubicBezTo>
                  <a:pt x="50" y="314"/>
                  <a:pt x="50" y="314"/>
                  <a:pt x="50" y="314"/>
                </a:cubicBezTo>
                <a:cubicBezTo>
                  <a:pt x="50" y="314"/>
                  <a:pt x="50" y="314"/>
                  <a:pt x="50" y="314"/>
                </a:cubicBezTo>
                <a:cubicBezTo>
                  <a:pt x="49" y="313"/>
                  <a:pt x="49" y="313"/>
                  <a:pt x="49" y="313"/>
                </a:cubicBezTo>
                <a:cubicBezTo>
                  <a:pt x="50" y="313"/>
                  <a:pt x="50" y="313"/>
                  <a:pt x="50" y="313"/>
                </a:cubicBezTo>
                <a:cubicBezTo>
                  <a:pt x="50" y="312"/>
                  <a:pt x="50" y="312"/>
                  <a:pt x="50" y="312"/>
                </a:cubicBezTo>
                <a:cubicBezTo>
                  <a:pt x="50" y="312"/>
                  <a:pt x="50" y="312"/>
                  <a:pt x="50" y="312"/>
                </a:cubicBezTo>
                <a:cubicBezTo>
                  <a:pt x="49" y="312"/>
                  <a:pt x="49" y="312"/>
                  <a:pt x="49" y="312"/>
                </a:cubicBezTo>
                <a:cubicBezTo>
                  <a:pt x="49" y="312"/>
                  <a:pt x="49" y="312"/>
                  <a:pt x="49" y="312"/>
                </a:cubicBezTo>
                <a:cubicBezTo>
                  <a:pt x="49" y="311"/>
                  <a:pt x="49" y="311"/>
                  <a:pt x="49" y="311"/>
                </a:cubicBezTo>
                <a:cubicBezTo>
                  <a:pt x="49" y="310"/>
                  <a:pt x="49" y="310"/>
                  <a:pt x="49" y="310"/>
                </a:cubicBezTo>
                <a:cubicBezTo>
                  <a:pt x="48" y="310"/>
                  <a:pt x="48" y="310"/>
                  <a:pt x="48" y="310"/>
                </a:cubicBezTo>
                <a:cubicBezTo>
                  <a:pt x="48" y="310"/>
                  <a:pt x="48" y="310"/>
                  <a:pt x="48" y="310"/>
                </a:cubicBezTo>
                <a:cubicBezTo>
                  <a:pt x="47" y="311"/>
                  <a:pt x="47" y="311"/>
                  <a:pt x="47" y="311"/>
                </a:cubicBezTo>
                <a:cubicBezTo>
                  <a:pt x="47" y="310"/>
                  <a:pt x="47" y="310"/>
                  <a:pt x="47" y="310"/>
                </a:cubicBezTo>
                <a:cubicBezTo>
                  <a:pt x="47" y="309"/>
                  <a:pt x="47" y="309"/>
                  <a:pt x="47" y="309"/>
                </a:cubicBezTo>
                <a:cubicBezTo>
                  <a:pt x="48" y="308"/>
                  <a:pt x="48" y="308"/>
                  <a:pt x="48" y="308"/>
                </a:cubicBezTo>
                <a:cubicBezTo>
                  <a:pt x="48" y="308"/>
                  <a:pt x="48" y="308"/>
                  <a:pt x="48" y="308"/>
                </a:cubicBezTo>
                <a:cubicBezTo>
                  <a:pt x="49" y="307"/>
                  <a:pt x="49" y="307"/>
                  <a:pt x="49" y="307"/>
                </a:cubicBezTo>
                <a:cubicBezTo>
                  <a:pt x="49" y="306"/>
                  <a:pt x="49" y="306"/>
                  <a:pt x="49" y="306"/>
                </a:cubicBezTo>
                <a:cubicBezTo>
                  <a:pt x="49" y="306"/>
                  <a:pt x="49" y="306"/>
                  <a:pt x="49" y="306"/>
                </a:cubicBezTo>
                <a:cubicBezTo>
                  <a:pt x="49" y="305"/>
                  <a:pt x="49" y="305"/>
                  <a:pt x="49" y="305"/>
                </a:cubicBezTo>
                <a:cubicBezTo>
                  <a:pt x="49" y="305"/>
                  <a:pt x="49" y="305"/>
                  <a:pt x="49" y="305"/>
                </a:cubicBezTo>
                <a:cubicBezTo>
                  <a:pt x="49" y="305"/>
                  <a:pt x="49" y="305"/>
                  <a:pt x="49" y="305"/>
                </a:cubicBezTo>
                <a:cubicBezTo>
                  <a:pt x="48" y="306"/>
                  <a:pt x="48" y="306"/>
                  <a:pt x="48" y="306"/>
                </a:cubicBezTo>
                <a:cubicBezTo>
                  <a:pt x="48" y="305"/>
                  <a:pt x="48" y="305"/>
                  <a:pt x="48" y="305"/>
                </a:cubicBezTo>
                <a:cubicBezTo>
                  <a:pt x="47" y="305"/>
                  <a:pt x="47" y="305"/>
                  <a:pt x="47" y="305"/>
                </a:cubicBezTo>
                <a:cubicBezTo>
                  <a:pt x="47" y="305"/>
                  <a:pt x="47" y="305"/>
                  <a:pt x="47" y="305"/>
                </a:cubicBezTo>
                <a:cubicBezTo>
                  <a:pt x="46" y="305"/>
                  <a:pt x="46" y="305"/>
                  <a:pt x="46" y="305"/>
                </a:cubicBezTo>
                <a:cubicBezTo>
                  <a:pt x="46" y="304"/>
                  <a:pt x="46" y="304"/>
                  <a:pt x="46" y="304"/>
                </a:cubicBezTo>
                <a:cubicBezTo>
                  <a:pt x="46" y="303"/>
                  <a:pt x="46" y="303"/>
                  <a:pt x="46" y="303"/>
                </a:cubicBezTo>
                <a:cubicBezTo>
                  <a:pt x="48" y="303"/>
                  <a:pt x="48" y="303"/>
                  <a:pt x="48" y="303"/>
                </a:cubicBezTo>
                <a:cubicBezTo>
                  <a:pt x="48" y="302"/>
                  <a:pt x="48" y="302"/>
                  <a:pt x="48" y="302"/>
                </a:cubicBezTo>
                <a:cubicBezTo>
                  <a:pt x="47" y="302"/>
                  <a:pt x="47" y="302"/>
                  <a:pt x="47" y="302"/>
                </a:cubicBezTo>
                <a:cubicBezTo>
                  <a:pt x="46" y="302"/>
                  <a:pt x="46" y="302"/>
                  <a:pt x="46" y="302"/>
                </a:cubicBezTo>
                <a:cubicBezTo>
                  <a:pt x="45" y="302"/>
                  <a:pt x="45" y="302"/>
                  <a:pt x="45" y="302"/>
                </a:cubicBezTo>
                <a:cubicBezTo>
                  <a:pt x="44" y="302"/>
                  <a:pt x="44" y="302"/>
                  <a:pt x="44" y="302"/>
                </a:cubicBezTo>
                <a:cubicBezTo>
                  <a:pt x="44" y="302"/>
                  <a:pt x="44" y="302"/>
                  <a:pt x="44" y="302"/>
                </a:cubicBezTo>
                <a:cubicBezTo>
                  <a:pt x="44" y="301"/>
                  <a:pt x="44" y="301"/>
                  <a:pt x="44" y="301"/>
                </a:cubicBezTo>
                <a:cubicBezTo>
                  <a:pt x="45" y="301"/>
                  <a:pt x="45" y="301"/>
                  <a:pt x="45" y="301"/>
                </a:cubicBezTo>
                <a:cubicBezTo>
                  <a:pt x="46" y="301"/>
                  <a:pt x="46" y="301"/>
                  <a:pt x="46" y="301"/>
                </a:cubicBezTo>
                <a:cubicBezTo>
                  <a:pt x="48" y="301"/>
                  <a:pt x="48" y="301"/>
                  <a:pt x="48" y="301"/>
                </a:cubicBezTo>
                <a:cubicBezTo>
                  <a:pt x="48" y="300"/>
                  <a:pt x="48" y="300"/>
                  <a:pt x="48" y="300"/>
                </a:cubicBezTo>
                <a:cubicBezTo>
                  <a:pt x="48" y="300"/>
                  <a:pt x="48" y="300"/>
                  <a:pt x="48" y="300"/>
                </a:cubicBezTo>
                <a:cubicBezTo>
                  <a:pt x="47" y="300"/>
                  <a:pt x="47" y="300"/>
                  <a:pt x="47" y="300"/>
                </a:cubicBezTo>
                <a:cubicBezTo>
                  <a:pt x="46" y="300"/>
                  <a:pt x="46" y="300"/>
                  <a:pt x="46" y="300"/>
                </a:cubicBezTo>
                <a:cubicBezTo>
                  <a:pt x="45" y="300"/>
                  <a:pt x="45" y="300"/>
                  <a:pt x="45" y="300"/>
                </a:cubicBezTo>
                <a:cubicBezTo>
                  <a:pt x="44" y="300"/>
                  <a:pt x="44" y="300"/>
                  <a:pt x="44" y="300"/>
                </a:cubicBezTo>
                <a:cubicBezTo>
                  <a:pt x="44" y="300"/>
                  <a:pt x="44" y="300"/>
                  <a:pt x="44" y="300"/>
                </a:cubicBezTo>
                <a:cubicBezTo>
                  <a:pt x="45" y="299"/>
                  <a:pt x="45" y="299"/>
                  <a:pt x="45" y="299"/>
                </a:cubicBezTo>
                <a:cubicBezTo>
                  <a:pt x="46" y="299"/>
                  <a:pt x="46" y="299"/>
                  <a:pt x="46" y="299"/>
                </a:cubicBezTo>
                <a:cubicBezTo>
                  <a:pt x="47" y="298"/>
                  <a:pt x="47" y="298"/>
                  <a:pt x="47" y="298"/>
                </a:cubicBezTo>
                <a:cubicBezTo>
                  <a:pt x="46" y="298"/>
                  <a:pt x="46" y="298"/>
                  <a:pt x="46" y="298"/>
                </a:cubicBezTo>
                <a:cubicBezTo>
                  <a:pt x="46" y="298"/>
                  <a:pt x="46" y="298"/>
                  <a:pt x="46" y="298"/>
                </a:cubicBezTo>
                <a:cubicBezTo>
                  <a:pt x="45" y="298"/>
                  <a:pt x="45" y="298"/>
                  <a:pt x="45" y="298"/>
                </a:cubicBezTo>
                <a:cubicBezTo>
                  <a:pt x="45" y="297"/>
                  <a:pt x="45" y="297"/>
                  <a:pt x="45" y="297"/>
                </a:cubicBezTo>
                <a:cubicBezTo>
                  <a:pt x="46" y="298"/>
                  <a:pt x="46" y="298"/>
                  <a:pt x="46" y="298"/>
                </a:cubicBezTo>
                <a:cubicBezTo>
                  <a:pt x="47" y="298"/>
                  <a:pt x="47" y="298"/>
                  <a:pt x="47" y="298"/>
                </a:cubicBezTo>
                <a:cubicBezTo>
                  <a:pt x="48" y="297"/>
                  <a:pt x="48" y="297"/>
                  <a:pt x="48" y="297"/>
                </a:cubicBezTo>
                <a:cubicBezTo>
                  <a:pt x="49" y="297"/>
                  <a:pt x="49" y="297"/>
                  <a:pt x="49" y="297"/>
                </a:cubicBezTo>
                <a:cubicBezTo>
                  <a:pt x="48" y="297"/>
                  <a:pt x="48" y="297"/>
                  <a:pt x="48" y="297"/>
                </a:cubicBezTo>
                <a:cubicBezTo>
                  <a:pt x="48" y="297"/>
                  <a:pt x="48" y="297"/>
                  <a:pt x="48" y="297"/>
                </a:cubicBezTo>
                <a:cubicBezTo>
                  <a:pt x="47" y="297"/>
                  <a:pt x="47" y="297"/>
                  <a:pt x="47" y="297"/>
                </a:cubicBezTo>
                <a:cubicBezTo>
                  <a:pt x="46" y="297"/>
                  <a:pt x="46" y="297"/>
                  <a:pt x="46" y="297"/>
                </a:cubicBezTo>
                <a:cubicBezTo>
                  <a:pt x="46" y="297"/>
                  <a:pt x="46" y="297"/>
                  <a:pt x="46" y="297"/>
                </a:cubicBezTo>
                <a:cubicBezTo>
                  <a:pt x="45" y="297"/>
                  <a:pt x="45" y="297"/>
                  <a:pt x="45" y="297"/>
                </a:cubicBezTo>
                <a:cubicBezTo>
                  <a:pt x="45" y="297"/>
                  <a:pt x="45" y="297"/>
                  <a:pt x="45" y="297"/>
                </a:cubicBezTo>
                <a:cubicBezTo>
                  <a:pt x="44" y="298"/>
                  <a:pt x="44" y="298"/>
                  <a:pt x="44" y="298"/>
                </a:cubicBezTo>
                <a:cubicBezTo>
                  <a:pt x="43" y="297"/>
                  <a:pt x="43" y="297"/>
                  <a:pt x="43" y="297"/>
                </a:cubicBezTo>
                <a:cubicBezTo>
                  <a:pt x="43" y="297"/>
                  <a:pt x="43" y="297"/>
                  <a:pt x="43" y="297"/>
                </a:cubicBezTo>
                <a:cubicBezTo>
                  <a:pt x="43" y="296"/>
                  <a:pt x="43" y="296"/>
                  <a:pt x="43" y="296"/>
                </a:cubicBezTo>
                <a:cubicBezTo>
                  <a:pt x="45" y="296"/>
                  <a:pt x="45" y="296"/>
                  <a:pt x="45" y="296"/>
                </a:cubicBezTo>
                <a:cubicBezTo>
                  <a:pt x="46" y="295"/>
                  <a:pt x="46" y="295"/>
                  <a:pt x="46" y="295"/>
                </a:cubicBezTo>
                <a:cubicBezTo>
                  <a:pt x="45" y="295"/>
                  <a:pt x="45" y="295"/>
                  <a:pt x="45" y="295"/>
                </a:cubicBezTo>
                <a:cubicBezTo>
                  <a:pt x="44" y="295"/>
                  <a:pt x="44" y="295"/>
                  <a:pt x="44" y="295"/>
                </a:cubicBezTo>
                <a:cubicBezTo>
                  <a:pt x="43" y="295"/>
                  <a:pt x="43" y="295"/>
                  <a:pt x="43" y="295"/>
                </a:cubicBezTo>
                <a:cubicBezTo>
                  <a:pt x="43" y="294"/>
                  <a:pt x="43" y="294"/>
                  <a:pt x="43" y="294"/>
                </a:cubicBezTo>
                <a:cubicBezTo>
                  <a:pt x="43" y="293"/>
                  <a:pt x="43" y="293"/>
                  <a:pt x="43" y="293"/>
                </a:cubicBezTo>
                <a:cubicBezTo>
                  <a:pt x="44" y="293"/>
                  <a:pt x="44" y="293"/>
                  <a:pt x="44" y="293"/>
                </a:cubicBezTo>
                <a:cubicBezTo>
                  <a:pt x="47" y="293"/>
                  <a:pt x="47" y="293"/>
                  <a:pt x="47" y="293"/>
                </a:cubicBezTo>
                <a:cubicBezTo>
                  <a:pt x="48" y="292"/>
                  <a:pt x="48" y="292"/>
                  <a:pt x="48" y="292"/>
                </a:cubicBezTo>
                <a:cubicBezTo>
                  <a:pt x="50" y="292"/>
                  <a:pt x="50" y="292"/>
                  <a:pt x="50" y="292"/>
                </a:cubicBezTo>
                <a:cubicBezTo>
                  <a:pt x="51" y="292"/>
                  <a:pt x="51" y="292"/>
                  <a:pt x="51" y="292"/>
                </a:cubicBezTo>
                <a:cubicBezTo>
                  <a:pt x="51" y="291"/>
                  <a:pt x="51" y="291"/>
                  <a:pt x="51" y="291"/>
                </a:cubicBezTo>
                <a:cubicBezTo>
                  <a:pt x="50" y="291"/>
                  <a:pt x="50" y="291"/>
                  <a:pt x="50" y="291"/>
                </a:cubicBezTo>
                <a:cubicBezTo>
                  <a:pt x="49" y="291"/>
                  <a:pt x="49" y="291"/>
                  <a:pt x="49" y="291"/>
                </a:cubicBezTo>
                <a:cubicBezTo>
                  <a:pt x="48" y="292"/>
                  <a:pt x="48" y="292"/>
                  <a:pt x="48" y="292"/>
                </a:cubicBezTo>
                <a:cubicBezTo>
                  <a:pt x="46" y="292"/>
                  <a:pt x="46" y="292"/>
                  <a:pt x="46" y="292"/>
                </a:cubicBezTo>
                <a:cubicBezTo>
                  <a:pt x="45" y="292"/>
                  <a:pt x="45" y="292"/>
                  <a:pt x="45" y="292"/>
                </a:cubicBezTo>
                <a:cubicBezTo>
                  <a:pt x="44" y="292"/>
                  <a:pt x="44" y="292"/>
                  <a:pt x="44" y="292"/>
                </a:cubicBezTo>
                <a:cubicBezTo>
                  <a:pt x="43" y="292"/>
                  <a:pt x="43" y="292"/>
                  <a:pt x="43" y="292"/>
                </a:cubicBezTo>
                <a:cubicBezTo>
                  <a:pt x="44" y="292"/>
                  <a:pt x="44" y="292"/>
                  <a:pt x="44" y="292"/>
                </a:cubicBezTo>
                <a:cubicBezTo>
                  <a:pt x="46" y="292"/>
                  <a:pt x="46" y="292"/>
                  <a:pt x="46" y="292"/>
                </a:cubicBezTo>
                <a:cubicBezTo>
                  <a:pt x="47" y="291"/>
                  <a:pt x="47" y="291"/>
                  <a:pt x="47" y="291"/>
                </a:cubicBezTo>
                <a:cubicBezTo>
                  <a:pt x="48" y="290"/>
                  <a:pt x="48" y="290"/>
                  <a:pt x="48" y="290"/>
                </a:cubicBezTo>
                <a:cubicBezTo>
                  <a:pt x="49" y="290"/>
                  <a:pt x="49" y="290"/>
                  <a:pt x="49" y="290"/>
                </a:cubicBezTo>
                <a:cubicBezTo>
                  <a:pt x="49" y="290"/>
                  <a:pt x="49" y="290"/>
                  <a:pt x="49" y="290"/>
                </a:cubicBezTo>
                <a:cubicBezTo>
                  <a:pt x="50" y="291"/>
                  <a:pt x="50" y="291"/>
                  <a:pt x="50" y="291"/>
                </a:cubicBezTo>
                <a:cubicBezTo>
                  <a:pt x="51" y="291"/>
                  <a:pt x="51" y="291"/>
                  <a:pt x="51" y="291"/>
                </a:cubicBezTo>
                <a:cubicBezTo>
                  <a:pt x="51" y="290"/>
                  <a:pt x="51" y="290"/>
                  <a:pt x="51" y="290"/>
                </a:cubicBezTo>
                <a:cubicBezTo>
                  <a:pt x="50" y="290"/>
                  <a:pt x="50" y="290"/>
                  <a:pt x="50" y="290"/>
                </a:cubicBezTo>
                <a:cubicBezTo>
                  <a:pt x="49" y="289"/>
                  <a:pt x="49" y="289"/>
                  <a:pt x="49" y="289"/>
                </a:cubicBezTo>
                <a:cubicBezTo>
                  <a:pt x="49" y="289"/>
                  <a:pt x="49" y="289"/>
                  <a:pt x="49" y="289"/>
                </a:cubicBezTo>
                <a:cubicBezTo>
                  <a:pt x="48" y="288"/>
                  <a:pt x="48" y="288"/>
                  <a:pt x="48" y="288"/>
                </a:cubicBezTo>
                <a:cubicBezTo>
                  <a:pt x="49" y="288"/>
                  <a:pt x="49" y="288"/>
                  <a:pt x="49" y="288"/>
                </a:cubicBezTo>
                <a:cubicBezTo>
                  <a:pt x="49" y="288"/>
                  <a:pt x="49" y="288"/>
                  <a:pt x="49" y="288"/>
                </a:cubicBezTo>
                <a:cubicBezTo>
                  <a:pt x="50" y="287"/>
                  <a:pt x="50" y="287"/>
                  <a:pt x="50" y="287"/>
                </a:cubicBezTo>
                <a:cubicBezTo>
                  <a:pt x="50" y="288"/>
                  <a:pt x="50" y="288"/>
                  <a:pt x="50" y="288"/>
                </a:cubicBezTo>
                <a:cubicBezTo>
                  <a:pt x="51" y="288"/>
                  <a:pt x="51" y="288"/>
                  <a:pt x="51" y="288"/>
                </a:cubicBezTo>
                <a:cubicBezTo>
                  <a:pt x="52" y="290"/>
                  <a:pt x="52" y="290"/>
                  <a:pt x="52" y="290"/>
                </a:cubicBezTo>
                <a:cubicBezTo>
                  <a:pt x="52" y="290"/>
                  <a:pt x="52" y="290"/>
                  <a:pt x="52" y="290"/>
                </a:cubicBezTo>
                <a:cubicBezTo>
                  <a:pt x="53" y="290"/>
                  <a:pt x="53" y="290"/>
                  <a:pt x="53" y="290"/>
                </a:cubicBezTo>
                <a:cubicBezTo>
                  <a:pt x="52" y="289"/>
                  <a:pt x="52" y="289"/>
                  <a:pt x="52" y="289"/>
                </a:cubicBezTo>
                <a:cubicBezTo>
                  <a:pt x="52" y="288"/>
                  <a:pt x="52" y="288"/>
                  <a:pt x="52" y="288"/>
                </a:cubicBezTo>
                <a:cubicBezTo>
                  <a:pt x="52" y="286"/>
                  <a:pt x="52" y="286"/>
                  <a:pt x="52" y="286"/>
                </a:cubicBezTo>
                <a:cubicBezTo>
                  <a:pt x="52" y="286"/>
                  <a:pt x="52" y="286"/>
                  <a:pt x="52" y="286"/>
                </a:cubicBezTo>
                <a:cubicBezTo>
                  <a:pt x="52" y="285"/>
                  <a:pt x="52" y="285"/>
                  <a:pt x="52" y="285"/>
                </a:cubicBezTo>
                <a:cubicBezTo>
                  <a:pt x="52" y="285"/>
                  <a:pt x="52" y="285"/>
                  <a:pt x="52" y="285"/>
                </a:cubicBezTo>
                <a:cubicBezTo>
                  <a:pt x="51" y="286"/>
                  <a:pt x="51" y="286"/>
                  <a:pt x="51" y="286"/>
                </a:cubicBezTo>
                <a:cubicBezTo>
                  <a:pt x="50" y="286"/>
                  <a:pt x="50" y="286"/>
                  <a:pt x="50" y="286"/>
                </a:cubicBezTo>
                <a:cubicBezTo>
                  <a:pt x="50" y="285"/>
                  <a:pt x="50" y="285"/>
                  <a:pt x="50" y="285"/>
                </a:cubicBezTo>
                <a:cubicBezTo>
                  <a:pt x="49" y="286"/>
                  <a:pt x="49" y="286"/>
                  <a:pt x="49" y="286"/>
                </a:cubicBezTo>
                <a:cubicBezTo>
                  <a:pt x="48" y="287"/>
                  <a:pt x="48" y="287"/>
                  <a:pt x="48" y="287"/>
                </a:cubicBezTo>
                <a:cubicBezTo>
                  <a:pt x="47" y="287"/>
                  <a:pt x="47" y="287"/>
                  <a:pt x="47" y="287"/>
                </a:cubicBezTo>
                <a:cubicBezTo>
                  <a:pt x="47" y="287"/>
                  <a:pt x="47" y="287"/>
                  <a:pt x="47" y="287"/>
                </a:cubicBezTo>
                <a:cubicBezTo>
                  <a:pt x="47" y="287"/>
                  <a:pt x="47" y="287"/>
                  <a:pt x="47" y="287"/>
                </a:cubicBezTo>
                <a:cubicBezTo>
                  <a:pt x="47" y="286"/>
                  <a:pt x="47" y="286"/>
                  <a:pt x="47" y="286"/>
                </a:cubicBezTo>
                <a:cubicBezTo>
                  <a:pt x="47" y="286"/>
                  <a:pt x="47" y="286"/>
                  <a:pt x="47" y="286"/>
                </a:cubicBezTo>
                <a:cubicBezTo>
                  <a:pt x="47" y="286"/>
                  <a:pt x="47" y="286"/>
                  <a:pt x="47" y="286"/>
                </a:cubicBezTo>
                <a:cubicBezTo>
                  <a:pt x="46" y="287"/>
                  <a:pt x="46" y="287"/>
                  <a:pt x="46" y="287"/>
                </a:cubicBezTo>
                <a:cubicBezTo>
                  <a:pt x="46" y="287"/>
                  <a:pt x="46" y="287"/>
                  <a:pt x="46" y="287"/>
                </a:cubicBezTo>
                <a:cubicBezTo>
                  <a:pt x="44" y="289"/>
                  <a:pt x="44" y="289"/>
                  <a:pt x="44" y="289"/>
                </a:cubicBezTo>
                <a:cubicBezTo>
                  <a:pt x="44" y="289"/>
                  <a:pt x="44" y="289"/>
                  <a:pt x="44" y="289"/>
                </a:cubicBezTo>
                <a:cubicBezTo>
                  <a:pt x="43" y="290"/>
                  <a:pt x="43" y="290"/>
                  <a:pt x="43" y="290"/>
                </a:cubicBezTo>
                <a:cubicBezTo>
                  <a:pt x="42" y="290"/>
                  <a:pt x="42" y="290"/>
                  <a:pt x="42" y="290"/>
                </a:cubicBezTo>
                <a:cubicBezTo>
                  <a:pt x="42" y="289"/>
                  <a:pt x="42" y="289"/>
                  <a:pt x="42" y="289"/>
                </a:cubicBezTo>
                <a:cubicBezTo>
                  <a:pt x="42" y="288"/>
                  <a:pt x="42" y="288"/>
                  <a:pt x="42" y="288"/>
                </a:cubicBezTo>
                <a:cubicBezTo>
                  <a:pt x="42" y="287"/>
                  <a:pt x="42" y="287"/>
                  <a:pt x="42" y="287"/>
                </a:cubicBezTo>
                <a:cubicBezTo>
                  <a:pt x="42" y="287"/>
                  <a:pt x="42" y="287"/>
                  <a:pt x="42" y="287"/>
                </a:cubicBezTo>
                <a:cubicBezTo>
                  <a:pt x="42" y="286"/>
                  <a:pt x="42" y="286"/>
                  <a:pt x="42" y="286"/>
                </a:cubicBezTo>
                <a:cubicBezTo>
                  <a:pt x="42" y="285"/>
                  <a:pt x="42" y="285"/>
                  <a:pt x="42" y="285"/>
                </a:cubicBezTo>
                <a:cubicBezTo>
                  <a:pt x="43" y="285"/>
                  <a:pt x="43" y="285"/>
                  <a:pt x="43" y="285"/>
                </a:cubicBezTo>
                <a:cubicBezTo>
                  <a:pt x="45" y="284"/>
                  <a:pt x="45" y="284"/>
                  <a:pt x="45" y="284"/>
                </a:cubicBezTo>
                <a:cubicBezTo>
                  <a:pt x="45" y="284"/>
                  <a:pt x="45" y="284"/>
                  <a:pt x="45" y="284"/>
                </a:cubicBezTo>
                <a:cubicBezTo>
                  <a:pt x="46" y="283"/>
                  <a:pt x="46" y="283"/>
                  <a:pt x="46" y="283"/>
                </a:cubicBezTo>
                <a:cubicBezTo>
                  <a:pt x="47" y="283"/>
                  <a:pt x="47" y="283"/>
                  <a:pt x="47" y="283"/>
                </a:cubicBezTo>
                <a:cubicBezTo>
                  <a:pt x="46" y="282"/>
                  <a:pt x="46" y="282"/>
                  <a:pt x="46" y="282"/>
                </a:cubicBezTo>
                <a:cubicBezTo>
                  <a:pt x="46" y="282"/>
                  <a:pt x="46" y="282"/>
                  <a:pt x="46" y="282"/>
                </a:cubicBezTo>
                <a:cubicBezTo>
                  <a:pt x="45" y="283"/>
                  <a:pt x="45" y="283"/>
                  <a:pt x="45" y="283"/>
                </a:cubicBezTo>
                <a:cubicBezTo>
                  <a:pt x="44" y="283"/>
                  <a:pt x="44" y="283"/>
                  <a:pt x="44" y="283"/>
                </a:cubicBezTo>
                <a:cubicBezTo>
                  <a:pt x="44" y="284"/>
                  <a:pt x="44" y="284"/>
                  <a:pt x="44" y="284"/>
                </a:cubicBezTo>
                <a:cubicBezTo>
                  <a:pt x="43" y="284"/>
                  <a:pt x="43" y="284"/>
                  <a:pt x="43" y="284"/>
                </a:cubicBezTo>
                <a:cubicBezTo>
                  <a:pt x="42" y="284"/>
                  <a:pt x="42" y="284"/>
                  <a:pt x="42" y="284"/>
                </a:cubicBezTo>
                <a:cubicBezTo>
                  <a:pt x="42" y="283"/>
                  <a:pt x="42" y="283"/>
                  <a:pt x="42" y="283"/>
                </a:cubicBezTo>
                <a:cubicBezTo>
                  <a:pt x="42" y="282"/>
                  <a:pt x="42" y="282"/>
                  <a:pt x="42" y="282"/>
                </a:cubicBezTo>
                <a:cubicBezTo>
                  <a:pt x="43" y="281"/>
                  <a:pt x="43" y="281"/>
                  <a:pt x="43" y="281"/>
                </a:cubicBezTo>
                <a:cubicBezTo>
                  <a:pt x="43" y="280"/>
                  <a:pt x="43" y="280"/>
                  <a:pt x="43" y="280"/>
                </a:cubicBezTo>
                <a:cubicBezTo>
                  <a:pt x="42" y="279"/>
                  <a:pt x="42" y="279"/>
                  <a:pt x="42" y="279"/>
                </a:cubicBezTo>
                <a:cubicBezTo>
                  <a:pt x="42" y="279"/>
                  <a:pt x="42" y="279"/>
                  <a:pt x="42" y="279"/>
                </a:cubicBezTo>
                <a:cubicBezTo>
                  <a:pt x="41" y="280"/>
                  <a:pt x="41" y="280"/>
                  <a:pt x="41" y="280"/>
                </a:cubicBezTo>
                <a:cubicBezTo>
                  <a:pt x="41" y="280"/>
                  <a:pt x="41" y="280"/>
                  <a:pt x="41" y="280"/>
                </a:cubicBezTo>
                <a:cubicBezTo>
                  <a:pt x="41" y="279"/>
                  <a:pt x="41" y="279"/>
                  <a:pt x="41" y="279"/>
                </a:cubicBezTo>
                <a:cubicBezTo>
                  <a:pt x="41" y="278"/>
                  <a:pt x="41" y="278"/>
                  <a:pt x="41" y="278"/>
                </a:cubicBezTo>
                <a:cubicBezTo>
                  <a:pt x="43" y="278"/>
                  <a:pt x="43" y="278"/>
                  <a:pt x="43" y="278"/>
                </a:cubicBezTo>
                <a:cubicBezTo>
                  <a:pt x="43" y="277"/>
                  <a:pt x="43" y="277"/>
                  <a:pt x="43" y="277"/>
                </a:cubicBezTo>
                <a:cubicBezTo>
                  <a:pt x="45" y="277"/>
                  <a:pt x="45" y="277"/>
                  <a:pt x="45" y="277"/>
                </a:cubicBezTo>
                <a:cubicBezTo>
                  <a:pt x="45" y="276"/>
                  <a:pt x="45" y="276"/>
                  <a:pt x="45" y="276"/>
                </a:cubicBezTo>
                <a:cubicBezTo>
                  <a:pt x="46" y="276"/>
                  <a:pt x="46" y="276"/>
                  <a:pt x="46" y="276"/>
                </a:cubicBezTo>
                <a:cubicBezTo>
                  <a:pt x="46" y="275"/>
                  <a:pt x="46" y="275"/>
                  <a:pt x="46" y="275"/>
                </a:cubicBezTo>
                <a:cubicBezTo>
                  <a:pt x="47" y="275"/>
                  <a:pt x="47" y="275"/>
                  <a:pt x="47" y="275"/>
                </a:cubicBezTo>
                <a:cubicBezTo>
                  <a:pt x="47" y="275"/>
                  <a:pt x="47" y="275"/>
                  <a:pt x="47" y="275"/>
                </a:cubicBezTo>
                <a:cubicBezTo>
                  <a:pt x="48" y="275"/>
                  <a:pt x="48" y="275"/>
                  <a:pt x="48" y="275"/>
                </a:cubicBezTo>
                <a:cubicBezTo>
                  <a:pt x="50" y="275"/>
                  <a:pt x="50" y="275"/>
                  <a:pt x="50" y="275"/>
                </a:cubicBezTo>
                <a:cubicBezTo>
                  <a:pt x="50" y="275"/>
                  <a:pt x="50" y="275"/>
                  <a:pt x="50" y="275"/>
                </a:cubicBezTo>
                <a:cubicBezTo>
                  <a:pt x="51" y="275"/>
                  <a:pt x="51" y="275"/>
                  <a:pt x="51" y="275"/>
                </a:cubicBezTo>
                <a:cubicBezTo>
                  <a:pt x="51" y="274"/>
                  <a:pt x="51" y="274"/>
                  <a:pt x="51" y="274"/>
                </a:cubicBezTo>
                <a:cubicBezTo>
                  <a:pt x="50" y="274"/>
                  <a:pt x="50" y="274"/>
                  <a:pt x="50" y="274"/>
                </a:cubicBezTo>
                <a:cubicBezTo>
                  <a:pt x="50" y="273"/>
                  <a:pt x="50" y="273"/>
                  <a:pt x="50" y="273"/>
                </a:cubicBezTo>
                <a:cubicBezTo>
                  <a:pt x="49" y="273"/>
                  <a:pt x="49" y="273"/>
                  <a:pt x="49" y="273"/>
                </a:cubicBezTo>
                <a:cubicBezTo>
                  <a:pt x="46" y="275"/>
                  <a:pt x="46" y="275"/>
                  <a:pt x="46" y="275"/>
                </a:cubicBezTo>
                <a:cubicBezTo>
                  <a:pt x="46" y="275"/>
                  <a:pt x="46" y="275"/>
                  <a:pt x="46" y="275"/>
                </a:cubicBezTo>
                <a:cubicBezTo>
                  <a:pt x="45" y="275"/>
                  <a:pt x="45" y="275"/>
                  <a:pt x="45" y="275"/>
                </a:cubicBezTo>
                <a:cubicBezTo>
                  <a:pt x="45" y="276"/>
                  <a:pt x="45" y="276"/>
                  <a:pt x="45" y="276"/>
                </a:cubicBezTo>
                <a:cubicBezTo>
                  <a:pt x="44" y="276"/>
                  <a:pt x="44" y="276"/>
                  <a:pt x="44" y="276"/>
                </a:cubicBezTo>
                <a:cubicBezTo>
                  <a:pt x="43" y="277"/>
                  <a:pt x="43" y="277"/>
                  <a:pt x="43" y="277"/>
                </a:cubicBezTo>
                <a:cubicBezTo>
                  <a:pt x="42" y="277"/>
                  <a:pt x="42" y="277"/>
                  <a:pt x="42" y="277"/>
                </a:cubicBezTo>
                <a:cubicBezTo>
                  <a:pt x="42" y="277"/>
                  <a:pt x="42" y="277"/>
                  <a:pt x="42" y="277"/>
                </a:cubicBezTo>
                <a:cubicBezTo>
                  <a:pt x="42" y="277"/>
                  <a:pt x="42" y="277"/>
                  <a:pt x="42" y="277"/>
                </a:cubicBezTo>
                <a:cubicBezTo>
                  <a:pt x="42" y="276"/>
                  <a:pt x="42" y="276"/>
                  <a:pt x="42" y="276"/>
                </a:cubicBezTo>
                <a:cubicBezTo>
                  <a:pt x="41" y="276"/>
                  <a:pt x="41" y="276"/>
                  <a:pt x="41" y="276"/>
                </a:cubicBezTo>
                <a:cubicBezTo>
                  <a:pt x="41" y="276"/>
                  <a:pt x="41" y="276"/>
                  <a:pt x="41" y="276"/>
                </a:cubicBezTo>
                <a:cubicBezTo>
                  <a:pt x="42" y="275"/>
                  <a:pt x="42" y="275"/>
                  <a:pt x="42" y="275"/>
                </a:cubicBezTo>
                <a:cubicBezTo>
                  <a:pt x="41" y="274"/>
                  <a:pt x="41" y="274"/>
                  <a:pt x="41" y="274"/>
                </a:cubicBezTo>
                <a:cubicBezTo>
                  <a:pt x="40" y="274"/>
                  <a:pt x="40" y="274"/>
                  <a:pt x="40" y="274"/>
                </a:cubicBezTo>
                <a:cubicBezTo>
                  <a:pt x="40" y="273"/>
                  <a:pt x="40" y="273"/>
                  <a:pt x="40" y="273"/>
                </a:cubicBezTo>
                <a:cubicBezTo>
                  <a:pt x="40" y="273"/>
                  <a:pt x="40" y="273"/>
                  <a:pt x="40" y="273"/>
                </a:cubicBezTo>
                <a:cubicBezTo>
                  <a:pt x="41" y="272"/>
                  <a:pt x="41" y="272"/>
                  <a:pt x="41" y="272"/>
                </a:cubicBezTo>
                <a:cubicBezTo>
                  <a:pt x="42" y="272"/>
                  <a:pt x="42" y="272"/>
                  <a:pt x="42" y="272"/>
                </a:cubicBezTo>
                <a:cubicBezTo>
                  <a:pt x="42" y="272"/>
                  <a:pt x="42" y="272"/>
                  <a:pt x="42" y="272"/>
                </a:cubicBezTo>
                <a:cubicBezTo>
                  <a:pt x="43" y="272"/>
                  <a:pt x="43" y="272"/>
                  <a:pt x="43" y="272"/>
                </a:cubicBezTo>
                <a:cubicBezTo>
                  <a:pt x="44" y="272"/>
                  <a:pt x="44" y="272"/>
                  <a:pt x="44" y="272"/>
                </a:cubicBezTo>
                <a:cubicBezTo>
                  <a:pt x="45" y="272"/>
                  <a:pt x="45" y="272"/>
                  <a:pt x="45" y="272"/>
                </a:cubicBezTo>
                <a:cubicBezTo>
                  <a:pt x="46" y="271"/>
                  <a:pt x="46" y="271"/>
                  <a:pt x="46" y="271"/>
                </a:cubicBezTo>
                <a:cubicBezTo>
                  <a:pt x="47" y="271"/>
                  <a:pt x="47" y="271"/>
                  <a:pt x="47" y="271"/>
                </a:cubicBezTo>
                <a:cubicBezTo>
                  <a:pt x="47" y="270"/>
                  <a:pt x="47" y="270"/>
                  <a:pt x="47" y="270"/>
                </a:cubicBezTo>
                <a:cubicBezTo>
                  <a:pt x="47" y="270"/>
                  <a:pt x="47" y="270"/>
                  <a:pt x="47" y="270"/>
                </a:cubicBezTo>
                <a:cubicBezTo>
                  <a:pt x="46" y="270"/>
                  <a:pt x="46" y="270"/>
                  <a:pt x="46" y="270"/>
                </a:cubicBezTo>
                <a:cubicBezTo>
                  <a:pt x="45" y="271"/>
                  <a:pt x="45" y="271"/>
                  <a:pt x="45" y="271"/>
                </a:cubicBezTo>
                <a:cubicBezTo>
                  <a:pt x="44" y="271"/>
                  <a:pt x="44" y="271"/>
                  <a:pt x="44" y="271"/>
                </a:cubicBezTo>
                <a:cubicBezTo>
                  <a:pt x="43" y="271"/>
                  <a:pt x="43" y="271"/>
                  <a:pt x="43" y="271"/>
                </a:cubicBezTo>
                <a:cubicBezTo>
                  <a:pt x="42" y="270"/>
                  <a:pt x="42" y="270"/>
                  <a:pt x="42" y="270"/>
                </a:cubicBezTo>
                <a:cubicBezTo>
                  <a:pt x="42" y="270"/>
                  <a:pt x="42" y="270"/>
                  <a:pt x="42" y="270"/>
                </a:cubicBezTo>
                <a:cubicBezTo>
                  <a:pt x="41" y="271"/>
                  <a:pt x="41" y="271"/>
                  <a:pt x="41" y="271"/>
                </a:cubicBezTo>
                <a:cubicBezTo>
                  <a:pt x="40" y="272"/>
                  <a:pt x="40" y="272"/>
                  <a:pt x="40" y="272"/>
                </a:cubicBezTo>
                <a:cubicBezTo>
                  <a:pt x="40" y="271"/>
                  <a:pt x="40" y="271"/>
                  <a:pt x="40" y="271"/>
                </a:cubicBezTo>
                <a:cubicBezTo>
                  <a:pt x="40" y="271"/>
                  <a:pt x="40" y="271"/>
                  <a:pt x="40" y="271"/>
                </a:cubicBezTo>
                <a:cubicBezTo>
                  <a:pt x="39" y="271"/>
                  <a:pt x="39" y="271"/>
                  <a:pt x="39" y="271"/>
                </a:cubicBezTo>
                <a:cubicBezTo>
                  <a:pt x="38" y="271"/>
                  <a:pt x="38" y="271"/>
                  <a:pt x="38" y="271"/>
                </a:cubicBezTo>
                <a:cubicBezTo>
                  <a:pt x="39" y="271"/>
                  <a:pt x="39" y="271"/>
                  <a:pt x="39" y="271"/>
                </a:cubicBezTo>
                <a:cubicBezTo>
                  <a:pt x="39" y="270"/>
                  <a:pt x="39" y="270"/>
                  <a:pt x="39" y="270"/>
                </a:cubicBezTo>
                <a:cubicBezTo>
                  <a:pt x="41" y="270"/>
                  <a:pt x="41" y="270"/>
                  <a:pt x="41" y="270"/>
                </a:cubicBezTo>
                <a:cubicBezTo>
                  <a:pt x="43" y="269"/>
                  <a:pt x="43" y="269"/>
                  <a:pt x="43" y="269"/>
                </a:cubicBezTo>
                <a:cubicBezTo>
                  <a:pt x="44" y="268"/>
                  <a:pt x="44" y="268"/>
                  <a:pt x="44" y="268"/>
                </a:cubicBezTo>
                <a:cubicBezTo>
                  <a:pt x="45" y="268"/>
                  <a:pt x="45" y="268"/>
                  <a:pt x="45" y="268"/>
                </a:cubicBezTo>
                <a:cubicBezTo>
                  <a:pt x="46" y="267"/>
                  <a:pt x="46" y="267"/>
                  <a:pt x="46" y="267"/>
                </a:cubicBezTo>
                <a:cubicBezTo>
                  <a:pt x="48" y="265"/>
                  <a:pt x="48" y="265"/>
                  <a:pt x="48" y="265"/>
                </a:cubicBezTo>
                <a:cubicBezTo>
                  <a:pt x="50" y="264"/>
                  <a:pt x="50" y="264"/>
                  <a:pt x="50" y="264"/>
                </a:cubicBezTo>
                <a:cubicBezTo>
                  <a:pt x="52" y="263"/>
                  <a:pt x="52" y="263"/>
                  <a:pt x="52" y="263"/>
                </a:cubicBezTo>
                <a:cubicBezTo>
                  <a:pt x="53" y="263"/>
                  <a:pt x="53" y="263"/>
                  <a:pt x="53" y="263"/>
                </a:cubicBezTo>
                <a:cubicBezTo>
                  <a:pt x="53" y="263"/>
                  <a:pt x="53" y="263"/>
                  <a:pt x="53" y="263"/>
                </a:cubicBezTo>
                <a:cubicBezTo>
                  <a:pt x="53" y="262"/>
                  <a:pt x="53" y="262"/>
                  <a:pt x="53" y="262"/>
                </a:cubicBezTo>
                <a:cubicBezTo>
                  <a:pt x="52" y="262"/>
                  <a:pt x="52" y="262"/>
                  <a:pt x="52" y="262"/>
                </a:cubicBezTo>
                <a:cubicBezTo>
                  <a:pt x="51" y="263"/>
                  <a:pt x="51" y="263"/>
                  <a:pt x="51" y="263"/>
                </a:cubicBezTo>
                <a:cubicBezTo>
                  <a:pt x="48" y="264"/>
                  <a:pt x="48" y="264"/>
                  <a:pt x="48" y="264"/>
                </a:cubicBezTo>
                <a:cubicBezTo>
                  <a:pt x="46" y="265"/>
                  <a:pt x="46" y="265"/>
                  <a:pt x="46" y="265"/>
                </a:cubicBezTo>
                <a:cubicBezTo>
                  <a:pt x="45" y="267"/>
                  <a:pt x="45" y="267"/>
                  <a:pt x="45" y="267"/>
                </a:cubicBezTo>
                <a:cubicBezTo>
                  <a:pt x="44" y="267"/>
                  <a:pt x="44" y="267"/>
                  <a:pt x="44" y="267"/>
                </a:cubicBezTo>
                <a:cubicBezTo>
                  <a:pt x="42" y="268"/>
                  <a:pt x="42" y="268"/>
                  <a:pt x="42" y="268"/>
                </a:cubicBezTo>
                <a:cubicBezTo>
                  <a:pt x="41" y="268"/>
                  <a:pt x="41" y="268"/>
                  <a:pt x="41" y="268"/>
                </a:cubicBezTo>
                <a:cubicBezTo>
                  <a:pt x="39" y="269"/>
                  <a:pt x="39" y="269"/>
                  <a:pt x="39" y="269"/>
                </a:cubicBezTo>
                <a:cubicBezTo>
                  <a:pt x="38" y="269"/>
                  <a:pt x="38" y="269"/>
                  <a:pt x="38" y="269"/>
                </a:cubicBezTo>
                <a:cubicBezTo>
                  <a:pt x="38" y="269"/>
                  <a:pt x="38" y="269"/>
                  <a:pt x="38" y="269"/>
                </a:cubicBezTo>
                <a:cubicBezTo>
                  <a:pt x="38" y="268"/>
                  <a:pt x="38" y="268"/>
                  <a:pt x="38" y="268"/>
                </a:cubicBezTo>
                <a:cubicBezTo>
                  <a:pt x="38" y="266"/>
                  <a:pt x="38" y="266"/>
                  <a:pt x="38" y="266"/>
                </a:cubicBezTo>
                <a:cubicBezTo>
                  <a:pt x="39" y="265"/>
                  <a:pt x="39" y="265"/>
                  <a:pt x="39" y="265"/>
                </a:cubicBezTo>
                <a:cubicBezTo>
                  <a:pt x="40" y="265"/>
                  <a:pt x="40" y="265"/>
                  <a:pt x="40" y="265"/>
                </a:cubicBezTo>
                <a:cubicBezTo>
                  <a:pt x="41" y="266"/>
                  <a:pt x="41" y="266"/>
                  <a:pt x="41" y="266"/>
                </a:cubicBezTo>
                <a:cubicBezTo>
                  <a:pt x="41" y="266"/>
                  <a:pt x="41" y="266"/>
                  <a:pt x="41" y="266"/>
                </a:cubicBezTo>
                <a:cubicBezTo>
                  <a:pt x="43" y="266"/>
                  <a:pt x="43" y="266"/>
                  <a:pt x="43" y="266"/>
                </a:cubicBezTo>
                <a:cubicBezTo>
                  <a:pt x="44" y="266"/>
                  <a:pt x="44" y="266"/>
                  <a:pt x="44" y="266"/>
                </a:cubicBezTo>
                <a:cubicBezTo>
                  <a:pt x="43" y="265"/>
                  <a:pt x="43" y="265"/>
                  <a:pt x="43" y="265"/>
                </a:cubicBezTo>
                <a:cubicBezTo>
                  <a:pt x="43" y="265"/>
                  <a:pt x="43" y="265"/>
                  <a:pt x="43" y="265"/>
                </a:cubicBezTo>
                <a:cubicBezTo>
                  <a:pt x="42" y="265"/>
                  <a:pt x="42" y="265"/>
                  <a:pt x="42" y="265"/>
                </a:cubicBezTo>
                <a:cubicBezTo>
                  <a:pt x="41" y="265"/>
                  <a:pt x="41" y="265"/>
                  <a:pt x="41" y="265"/>
                </a:cubicBezTo>
                <a:cubicBezTo>
                  <a:pt x="40" y="265"/>
                  <a:pt x="40" y="265"/>
                  <a:pt x="40" y="265"/>
                </a:cubicBezTo>
                <a:cubicBezTo>
                  <a:pt x="40" y="264"/>
                  <a:pt x="40" y="264"/>
                  <a:pt x="40" y="264"/>
                </a:cubicBezTo>
                <a:cubicBezTo>
                  <a:pt x="40" y="264"/>
                  <a:pt x="40" y="264"/>
                  <a:pt x="40" y="264"/>
                </a:cubicBezTo>
                <a:cubicBezTo>
                  <a:pt x="41" y="263"/>
                  <a:pt x="41" y="263"/>
                  <a:pt x="41" y="263"/>
                </a:cubicBezTo>
                <a:cubicBezTo>
                  <a:pt x="42" y="264"/>
                  <a:pt x="42" y="264"/>
                  <a:pt x="42" y="264"/>
                </a:cubicBezTo>
                <a:cubicBezTo>
                  <a:pt x="43" y="264"/>
                  <a:pt x="43" y="264"/>
                  <a:pt x="43" y="264"/>
                </a:cubicBezTo>
                <a:cubicBezTo>
                  <a:pt x="44" y="264"/>
                  <a:pt x="44" y="264"/>
                  <a:pt x="44" y="264"/>
                </a:cubicBezTo>
                <a:cubicBezTo>
                  <a:pt x="44" y="263"/>
                  <a:pt x="44" y="263"/>
                  <a:pt x="44" y="263"/>
                </a:cubicBezTo>
                <a:cubicBezTo>
                  <a:pt x="43" y="263"/>
                  <a:pt x="43" y="263"/>
                  <a:pt x="43" y="263"/>
                </a:cubicBezTo>
                <a:cubicBezTo>
                  <a:pt x="43" y="263"/>
                  <a:pt x="43" y="263"/>
                  <a:pt x="43" y="263"/>
                </a:cubicBezTo>
                <a:cubicBezTo>
                  <a:pt x="42" y="263"/>
                  <a:pt x="42" y="263"/>
                  <a:pt x="42" y="263"/>
                </a:cubicBezTo>
                <a:cubicBezTo>
                  <a:pt x="43" y="262"/>
                  <a:pt x="43" y="262"/>
                  <a:pt x="43" y="262"/>
                </a:cubicBezTo>
                <a:cubicBezTo>
                  <a:pt x="44" y="262"/>
                  <a:pt x="44" y="262"/>
                  <a:pt x="44" y="262"/>
                </a:cubicBezTo>
                <a:cubicBezTo>
                  <a:pt x="44" y="262"/>
                  <a:pt x="44" y="262"/>
                  <a:pt x="44" y="262"/>
                </a:cubicBezTo>
                <a:cubicBezTo>
                  <a:pt x="44" y="262"/>
                  <a:pt x="44" y="262"/>
                  <a:pt x="44" y="262"/>
                </a:cubicBezTo>
                <a:cubicBezTo>
                  <a:pt x="45" y="262"/>
                  <a:pt x="45" y="262"/>
                  <a:pt x="45" y="262"/>
                </a:cubicBezTo>
                <a:cubicBezTo>
                  <a:pt x="46" y="262"/>
                  <a:pt x="46" y="262"/>
                  <a:pt x="46" y="262"/>
                </a:cubicBezTo>
                <a:cubicBezTo>
                  <a:pt x="46" y="261"/>
                  <a:pt x="46" y="261"/>
                  <a:pt x="46" y="261"/>
                </a:cubicBezTo>
                <a:cubicBezTo>
                  <a:pt x="46" y="260"/>
                  <a:pt x="46" y="260"/>
                  <a:pt x="46" y="260"/>
                </a:cubicBezTo>
                <a:cubicBezTo>
                  <a:pt x="45" y="260"/>
                  <a:pt x="45" y="260"/>
                  <a:pt x="45" y="260"/>
                </a:cubicBezTo>
                <a:cubicBezTo>
                  <a:pt x="45" y="260"/>
                  <a:pt x="45" y="260"/>
                  <a:pt x="45" y="260"/>
                </a:cubicBezTo>
                <a:cubicBezTo>
                  <a:pt x="44" y="261"/>
                  <a:pt x="44" y="261"/>
                  <a:pt x="44" y="261"/>
                </a:cubicBezTo>
                <a:cubicBezTo>
                  <a:pt x="43" y="261"/>
                  <a:pt x="43" y="261"/>
                  <a:pt x="43" y="261"/>
                </a:cubicBezTo>
                <a:cubicBezTo>
                  <a:pt x="41" y="260"/>
                  <a:pt x="41" y="260"/>
                  <a:pt x="41" y="260"/>
                </a:cubicBezTo>
                <a:cubicBezTo>
                  <a:pt x="39" y="260"/>
                  <a:pt x="39" y="260"/>
                  <a:pt x="39" y="260"/>
                </a:cubicBezTo>
                <a:cubicBezTo>
                  <a:pt x="39" y="259"/>
                  <a:pt x="39" y="259"/>
                  <a:pt x="39" y="259"/>
                </a:cubicBezTo>
                <a:cubicBezTo>
                  <a:pt x="39" y="259"/>
                  <a:pt x="39" y="259"/>
                  <a:pt x="39" y="259"/>
                </a:cubicBezTo>
                <a:cubicBezTo>
                  <a:pt x="40" y="259"/>
                  <a:pt x="40" y="259"/>
                  <a:pt x="40" y="259"/>
                </a:cubicBezTo>
                <a:cubicBezTo>
                  <a:pt x="41" y="259"/>
                  <a:pt x="41" y="259"/>
                  <a:pt x="41" y="259"/>
                </a:cubicBezTo>
                <a:cubicBezTo>
                  <a:pt x="41" y="259"/>
                  <a:pt x="41" y="259"/>
                  <a:pt x="41" y="259"/>
                </a:cubicBezTo>
                <a:cubicBezTo>
                  <a:pt x="41" y="258"/>
                  <a:pt x="41" y="258"/>
                  <a:pt x="41" y="258"/>
                </a:cubicBezTo>
                <a:cubicBezTo>
                  <a:pt x="40" y="258"/>
                  <a:pt x="40" y="258"/>
                  <a:pt x="40" y="258"/>
                </a:cubicBezTo>
                <a:cubicBezTo>
                  <a:pt x="40" y="258"/>
                  <a:pt x="40" y="258"/>
                  <a:pt x="40" y="258"/>
                </a:cubicBezTo>
                <a:cubicBezTo>
                  <a:pt x="40" y="257"/>
                  <a:pt x="40" y="257"/>
                  <a:pt x="40" y="257"/>
                </a:cubicBezTo>
                <a:cubicBezTo>
                  <a:pt x="41" y="257"/>
                  <a:pt x="41" y="257"/>
                  <a:pt x="41" y="257"/>
                </a:cubicBezTo>
                <a:cubicBezTo>
                  <a:pt x="42" y="257"/>
                  <a:pt x="42" y="257"/>
                  <a:pt x="42" y="257"/>
                </a:cubicBezTo>
                <a:cubicBezTo>
                  <a:pt x="43" y="257"/>
                  <a:pt x="43" y="257"/>
                  <a:pt x="43" y="257"/>
                </a:cubicBezTo>
                <a:cubicBezTo>
                  <a:pt x="47" y="257"/>
                  <a:pt x="47" y="257"/>
                  <a:pt x="47" y="257"/>
                </a:cubicBezTo>
                <a:cubicBezTo>
                  <a:pt x="48" y="257"/>
                  <a:pt x="48" y="257"/>
                  <a:pt x="48" y="257"/>
                </a:cubicBezTo>
                <a:cubicBezTo>
                  <a:pt x="49" y="257"/>
                  <a:pt x="49" y="257"/>
                  <a:pt x="49" y="257"/>
                </a:cubicBezTo>
                <a:cubicBezTo>
                  <a:pt x="50" y="257"/>
                  <a:pt x="50" y="257"/>
                  <a:pt x="50" y="257"/>
                </a:cubicBezTo>
                <a:cubicBezTo>
                  <a:pt x="50" y="256"/>
                  <a:pt x="50" y="256"/>
                  <a:pt x="50" y="256"/>
                </a:cubicBezTo>
                <a:cubicBezTo>
                  <a:pt x="48" y="256"/>
                  <a:pt x="48" y="256"/>
                  <a:pt x="48" y="256"/>
                </a:cubicBezTo>
                <a:cubicBezTo>
                  <a:pt x="46" y="256"/>
                  <a:pt x="46" y="256"/>
                  <a:pt x="46" y="256"/>
                </a:cubicBezTo>
                <a:cubicBezTo>
                  <a:pt x="44" y="256"/>
                  <a:pt x="44" y="256"/>
                  <a:pt x="44" y="256"/>
                </a:cubicBezTo>
                <a:cubicBezTo>
                  <a:pt x="43" y="256"/>
                  <a:pt x="43" y="256"/>
                  <a:pt x="43" y="256"/>
                </a:cubicBezTo>
                <a:cubicBezTo>
                  <a:pt x="43" y="256"/>
                  <a:pt x="43" y="256"/>
                  <a:pt x="43" y="256"/>
                </a:cubicBezTo>
                <a:cubicBezTo>
                  <a:pt x="42" y="256"/>
                  <a:pt x="42" y="256"/>
                  <a:pt x="42" y="256"/>
                </a:cubicBezTo>
                <a:cubicBezTo>
                  <a:pt x="41" y="256"/>
                  <a:pt x="41" y="256"/>
                  <a:pt x="41" y="256"/>
                </a:cubicBezTo>
                <a:cubicBezTo>
                  <a:pt x="40" y="257"/>
                  <a:pt x="40" y="257"/>
                  <a:pt x="40" y="257"/>
                </a:cubicBezTo>
                <a:cubicBezTo>
                  <a:pt x="40" y="257"/>
                  <a:pt x="40" y="257"/>
                  <a:pt x="40" y="257"/>
                </a:cubicBezTo>
                <a:cubicBezTo>
                  <a:pt x="40" y="256"/>
                  <a:pt x="40" y="256"/>
                  <a:pt x="40" y="256"/>
                </a:cubicBezTo>
                <a:cubicBezTo>
                  <a:pt x="41" y="255"/>
                  <a:pt x="41" y="255"/>
                  <a:pt x="41" y="255"/>
                </a:cubicBezTo>
                <a:cubicBezTo>
                  <a:pt x="42" y="254"/>
                  <a:pt x="42" y="254"/>
                  <a:pt x="42" y="254"/>
                </a:cubicBezTo>
                <a:cubicBezTo>
                  <a:pt x="43" y="254"/>
                  <a:pt x="43" y="254"/>
                  <a:pt x="43" y="254"/>
                </a:cubicBezTo>
                <a:cubicBezTo>
                  <a:pt x="44" y="253"/>
                  <a:pt x="44" y="253"/>
                  <a:pt x="44" y="253"/>
                </a:cubicBezTo>
                <a:cubicBezTo>
                  <a:pt x="44" y="252"/>
                  <a:pt x="44" y="252"/>
                  <a:pt x="44" y="252"/>
                </a:cubicBezTo>
                <a:cubicBezTo>
                  <a:pt x="45" y="251"/>
                  <a:pt x="45" y="251"/>
                  <a:pt x="45" y="251"/>
                </a:cubicBezTo>
                <a:cubicBezTo>
                  <a:pt x="46" y="251"/>
                  <a:pt x="46" y="251"/>
                  <a:pt x="46" y="251"/>
                </a:cubicBezTo>
                <a:cubicBezTo>
                  <a:pt x="46" y="252"/>
                  <a:pt x="46" y="252"/>
                  <a:pt x="46" y="252"/>
                </a:cubicBezTo>
                <a:cubicBezTo>
                  <a:pt x="47" y="252"/>
                  <a:pt x="47" y="252"/>
                  <a:pt x="47" y="252"/>
                </a:cubicBezTo>
                <a:cubicBezTo>
                  <a:pt x="48" y="251"/>
                  <a:pt x="48" y="251"/>
                  <a:pt x="48" y="251"/>
                </a:cubicBezTo>
                <a:cubicBezTo>
                  <a:pt x="49" y="251"/>
                  <a:pt x="49" y="251"/>
                  <a:pt x="49" y="251"/>
                </a:cubicBezTo>
                <a:cubicBezTo>
                  <a:pt x="49" y="252"/>
                  <a:pt x="49" y="252"/>
                  <a:pt x="49" y="252"/>
                </a:cubicBezTo>
                <a:cubicBezTo>
                  <a:pt x="50" y="252"/>
                  <a:pt x="50" y="252"/>
                  <a:pt x="50" y="252"/>
                </a:cubicBezTo>
                <a:cubicBezTo>
                  <a:pt x="51" y="253"/>
                  <a:pt x="51" y="253"/>
                  <a:pt x="51" y="253"/>
                </a:cubicBezTo>
                <a:cubicBezTo>
                  <a:pt x="53" y="253"/>
                  <a:pt x="53" y="253"/>
                  <a:pt x="53" y="253"/>
                </a:cubicBezTo>
                <a:cubicBezTo>
                  <a:pt x="54" y="253"/>
                  <a:pt x="54" y="253"/>
                  <a:pt x="54" y="253"/>
                </a:cubicBezTo>
                <a:cubicBezTo>
                  <a:pt x="55" y="255"/>
                  <a:pt x="55" y="255"/>
                  <a:pt x="55" y="255"/>
                </a:cubicBezTo>
                <a:cubicBezTo>
                  <a:pt x="56" y="256"/>
                  <a:pt x="56" y="256"/>
                  <a:pt x="56" y="256"/>
                </a:cubicBezTo>
                <a:cubicBezTo>
                  <a:pt x="58" y="256"/>
                  <a:pt x="58" y="256"/>
                  <a:pt x="58" y="256"/>
                </a:cubicBezTo>
                <a:cubicBezTo>
                  <a:pt x="59" y="256"/>
                  <a:pt x="59" y="256"/>
                  <a:pt x="59" y="256"/>
                </a:cubicBezTo>
                <a:cubicBezTo>
                  <a:pt x="59" y="256"/>
                  <a:pt x="59" y="256"/>
                  <a:pt x="59" y="256"/>
                </a:cubicBezTo>
                <a:cubicBezTo>
                  <a:pt x="60" y="255"/>
                  <a:pt x="60" y="255"/>
                  <a:pt x="60" y="255"/>
                </a:cubicBezTo>
                <a:cubicBezTo>
                  <a:pt x="59" y="255"/>
                  <a:pt x="59" y="255"/>
                  <a:pt x="59" y="255"/>
                </a:cubicBezTo>
                <a:cubicBezTo>
                  <a:pt x="58" y="255"/>
                  <a:pt x="58" y="255"/>
                  <a:pt x="58" y="255"/>
                </a:cubicBezTo>
                <a:cubicBezTo>
                  <a:pt x="58" y="255"/>
                  <a:pt x="58" y="255"/>
                  <a:pt x="58" y="255"/>
                </a:cubicBezTo>
                <a:cubicBezTo>
                  <a:pt x="57" y="255"/>
                  <a:pt x="57" y="255"/>
                  <a:pt x="57" y="255"/>
                </a:cubicBezTo>
                <a:cubicBezTo>
                  <a:pt x="56" y="254"/>
                  <a:pt x="56" y="254"/>
                  <a:pt x="56" y="254"/>
                </a:cubicBezTo>
                <a:cubicBezTo>
                  <a:pt x="55" y="253"/>
                  <a:pt x="55" y="253"/>
                  <a:pt x="55" y="253"/>
                </a:cubicBezTo>
                <a:cubicBezTo>
                  <a:pt x="55" y="252"/>
                  <a:pt x="55" y="252"/>
                  <a:pt x="55" y="252"/>
                </a:cubicBezTo>
                <a:cubicBezTo>
                  <a:pt x="55" y="252"/>
                  <a:pt x="55" y="252"/>
                  <a:pt x="55" y="252"/>
                </a:cubicBezTo>
                <a:cubicBezTo>
                  <a:pt x="57" y="252"/>
                  <a:pt x="57" y="252"/>
                  <a:pt x="57" y="252"/>
                </a:cubicBezTo>
                <a:cubicBezTo>
                  <a:pt x="59" y="252"/>
                  <a:pt x="59" y="252"/>
                  <a:pt x="59" y="252"/>
                </a:cubicBezTo>
                <a:cubicBezTo>
                  <a:pt x="59" y="251"/>
                  <a:pt x="59" y="251"/>
                  <a:pt x="59" y="251"/>
                </a:cubicBezTo>
                <a:cubicBezTo>
                  <a:pt x="59" y="250"/>
                  <a:pt x="59" y="250"/>
                  <a:pt x="59" y="250"/>
                </a:cubicBezTo>
                <a:cubicBezTo>
                  <a:pt x="58" y="250"/>
                  <a:pt x="58" y="250"/>
                  <a:pt x="58" y="250"/>
                </a:cubicBezTo>
                <a:cubicBezTo>
                  <a:pt x="57" y="250"/>
                  <a:pt x="57" y="250"/>
                  <a:pt x="57" y="250"/>
                </a:cubicBezTo>
                <a:cubicBezTo>
                  <a:pt x="57" y="251"/>
                  <a:pt x="57" y="251"/>
                  <a:pt x="57" y="251"/>
                </a:cubicBezTo>
                <a:cubicBezTo>
                  <a:pt x="57" y="251"/>
                  <a:pt x="57" y="251"/>
                  <a:pt x="57" y="251"/>
                </a:cubicBezTo>
                <a:cubicBezTo>
                  <a:pt x="57" y="251"/>
                  <a:pt x="57" y="251"/>
                  <a:pt x="57" y="251"/>
                </a:cubicBezTo>
                <a:cubicBezTo>
                  <a:pt x="55" y="251"/>
                  <a:pt x="55" y="251"/>
                  <a:pt x="55" y="251"/>
                </a:cubicBezTo>
                <a:cubicBezTo>
                  <a:pt x="55" y="251"/>
                  <a:pt x="55" y="251"/>
                  <a:pt x="55" y="251"/>
                </a:cubicBezTo>
                <a:cubicBezTo>
                  <a:pt x="54" y="250"/>
                  <a:pt x="54" y="250"/>
                  <a:pt x="54" y="250"/>
                </a:cubicBezTo>
                <a:cubicBezTo>
                  <a:pt x="55" y="250"/>
                  <a:pt x="55" y="250"/>
                  <a:pt x="55" y="250"/>
                </a:cubicBezTo>
                <a:cubicBezTo>
                  <a:pt x="56" y="250"/>
                  <a:pt x="56" y="250"/>
                  <a:pt x="56" y="250"/>
                </a:cubicBezTo>
                <a:cubicBezTo>
                  <a:pt x="56" y="250"/>
                  <a:pt x="56" y="250"/>
                  <a:pt x="56" y="250"/>
                </a:cubicBezTo>
                <a:cubicBezTo>
                  <a:pt x="55" y="249"/>
                  <a:pt x="55" y="249"/>
                  <a:pt x="55" y="249"/>
                </a:cubicBezTo>
                <a:cubicBezTo>
                  <a:pt x="55" y="249"/>
                  <a:pt x="55" y="249"/>
                  <a:pt x="55" y="249"/>
                </a:cubicBezTo>
                <a:cubicBezTo>
                  <a:pt x="54" y="249"/>
                  <a:pt x="54" y="249"/>
                  <a:pt x="54" y="249"/>
                </a:cubicBezTo>
                <a:cubicBezTo>
                  <a:pt x="54" y="249"/>
                  <a:pt x="54" y="249"/>
                  <a:pt x="54" y="249"/>
                </a:cubicBezTo>
                <a:cubicBezTo>
                  <a:pt x="53" y="249"/>
                  <a:pt x="53" y="249"/>
                  <a:pt x="53" y="249"/>
                </a:cubicBezTo>
                <a:cubicBezTo>
                  <a:pt x="53" y="250"/>
                  <a:pt x="53" y="250"/>
                  <a:pt x="53" y="250"/>
                </a:cubicBezTo>
                <a:cubicBezTo>
                  <a:pt x="54" y="250"/>
                  <a:pt x="54" y="250"/>
                  <a:pt x="54" y="250"/>
                </a:cubicBezTo>
                <a:cubicBezTo>
                  <a:pt x="54" y="251"/>
                  <a:pt x="54" y="251"/>
                  <a:pt x="54" y="251"/>
                </a:cubicBezTo>
                <a:cubicBezTo>
                  <a:pt x="53" y="252"/>
                  <a:pt x="53" y="252"/>
                  <a:pt x="53" y="252"/>
                </a:cubicBezTo>
                <a:cubicBezTo>
                  <a:pt x="52" y="252"/>
                  <a:pt x="52" y="252"/>
                  <a:pt x="52" y="252"/>
                </a:cubicBezTo>
                <a:cubicBezTo>
                  <a:pt x="51" y="252"/>
                  <a:pt x="51" y="252"/>
                  <a:pt x="51" y="252"/>
                </a:cubicBezTo>
                <a:cubicBezTo>
                  <a:pt x="50" y="251"/>
                  <a:pt x="50" y="251"/>
                  <a:pt x="50" y="251"/>
                </a:cubicBezTo>
                <a:cubicBezTo>
                  <a:pt x="49" y="251"/>
                  <a:pt x="49" y="251"/>
                  <a:pt x="49" y="251"/>
                </a:cubicBezTo>
                <a:cubicBezTo>
                  <a:pt x="49" y="250"/>
                  <a:pt x="49" y="250"/>
                  <a:pt x="49" y="250"/>
                </a:cubicBezTo>
                <a:cubicBezTo>
                  <a:pt x="48" y="250"/>
                  <a:pt x="48" y="250"/>
                  <a:pt x="48" y="250"/>
                </a:cubicBezTo>
                <a:cubicBezTo>
                  <a:pt x="48" y="250"/>
                  <a:pt x="48" y="250"/>
                  <a:pt x="48" y="250"/>
                </a:cubicBezTo>
                <a:cubicBezTo>
                  <a:pt x="47" y="250"/>
                  <a:pt x="47" y="250"/>
                  <a:pt x="47" y="250"/>
                </a:cubicBezTo>
                <a:cubicBezTo>
                  <a:pt x="46" y="250"/>
                  <a:pt x="46" y="250"/>
                  <a:pt x="46" y="250"/>
                </a:cubicBezTo>
                <a:cubicBezTo>
                  <a:pt x="45" y="250"/>
                  <a:pt x="45" y="250"/>
                  <a:pt x="45" y="250"/>
                </a:cubicBezTo>
                <a:cubicBezTo>
                  <a:pt x="44" y="251"/>
                  <a:pt x="44" y="251"/>
                  <a:pt x="44" y="251"/>
                </a:cubicBezTo>
                <a:cubicBezTo>
                  <a:pt x="43" y="252"/>
                  <a:pt x="43" y="252"/>
                  <a:pt x="43" y="252"/>
                </a:cubicBezTo>
                <a:cubicBezTo>
                  <a:pt x="42" y="253"/>
                  <a:pt x="42" y="253"/>
                  <a:pt x="42" y="253"/>
                </a:cubicBezTo>
                <a:cubicBezTo>
                  <a:pt x="42" y="252"/>
                  <a:pt x="42" y="252"/>
                  <a:pt x="42" y="252"/>
                </a:cubicBezTo>
                <a:cubicBezTo>
                  <a:pt x="42" y="252"/>
                  <a:pt x="42" y="252"/>
                  <a:pt x="42" y="252"/>
                </a:cubicBezTo>
                <a:cubicBezTo>
                  <a:pt x="43" y="250"/>
                  <a:pt x="43" y="250"/>
                  <a:pt x="43" y="250"/>
                </a:cubicBezTo>
                <a:cubicBezTo>
                  <a:pt x="44" y="250"/>
                  <a:pt x="44" y="250"/>
                  <a:pt x="44" y="250"/>
                </a:cubicBezTo>
                <a:cubicBezTo>
                  <a:pt x="44" y="250"/>
                  <a:pt x="44" y="250"/>
                  <a:pt x="44" y="250"/>
                </a:cubicBezTo>
                <a:cubicBezTo>
                  <a:pt x="44" y="249"/>
                  <a:pt x="44" y="249"/>
                  <a:pt x="44" y="249"/>
                </a:cubicBezTo>
                <a:cubicBezTo>
                  <a:pt x="44" y="249"/>
                  <a:pt x="44" y="249"/>
                  <a:pt x="44" y="249"/>
                </a:cubicBezTo>
                <a:cubicBezTo>
                  <a:pt x="45" y="248"/>
                  <a:pt x="45" y="248"/>
                  <a:pt x="45" y="248"/>
                </a:cubicBezTo>
                <a:cubicBezTo>
                  <a:pt x="45" y="248"/>
                  <a:pt x="45" y="248"/>
                  <a:pt x="45" y="248"/>
                </a:cubicBezTo>
                <a:cubicBezTo>
                  <a:pt x="46" y="247"/>
                  <a:pt x="46" y="247"/>
                  <a:pt x="46" y="247"/>
                </a:cubicBezTo>
                <a:cubicBezTo>
                  <a:pt x="46" y="247"/>
                  <a:pt x="46" y="247"/>
                  <a:pt x="46" y="247"/>
                </a:cubicBezTo>
                <a:cubicBezTo>
                  <a:pt x="47" y="248"/>
                  <a:pt x="47" y="248"/>
                  <a:pt x="47" y="248"/>
                </a:cubicBezTo>
                <a:cubicBezTo>
                  <a:pt x="48" y="248"/>
                  <a:pt x="48" y="248"/>
                  <a:pt x="48" y="248"/>
                </a:cubicBezTo>
                <a:cubicBezTo>
                  <a:pt x="50" y="248"/>
                  <a:pt x="50" y="248"/>
                  <a:pt x="50" y="248"/>
                </a:cubicBezTo>
                <a:cubicBezTo>
                  <a:pt x="50" y="248"/>
                  <a:pt x="50" y="248"/>
                  <a:pt x="50" y="248"/>
                </a:cubicBezTo>
                <a:cubicBezTo>
                  <a:pt x="49" y="248"/>
                  <a:pt x="49" y="248"/>
                  <a:pt x="49" y="248"/>
                </a:cubicBezTo>
                <a:cubicBezTo>
                  <a:pt x="48" y="248"/>
                  <a:pt x="48" y="248"/>
                  <a:pt x="48" y="248"/>
                </a:cubicBezTo>
                <a:cubicBezTo>
                  <a:pt x="48" y="247"/>
                  <a:pt x="48" y="247"/>
                  <a:pt x="48" y="247"/>
                </a:cubicBezTo>
                <a:cubicBezTo>
                  <a:pt x="46" y="246"/>
                  <a:pt x="46" y="246"/>
                  <a:pt x="46" y="246"/>
                </a:cubicBezTo>
                <a:cubicBezTo>
                  <a:pt x="46" y="245"/>
                  <a:pt x="46" y="245"/>
                  <a:pt x="46" y="245"/>
                </a:cubicBezTo>
                <a:cubicBezTo>
                  <a:pt x="45" y="245"/>
                  <a:pt x="45" y="245"/>
                  <a:pt x="45" y="245"/>
                </a:cubicBezTo>
                <a:cubicBezTo>
                  <a:pt x="45" y="244"/>
                  <a:pt x="45" y="244"/>
                  <a:pt x="45" y="244"/>
                </a:cubicBezTo>
                <a:cubicBezTo>
                  <a:pt x="46" y="244"/>
                  <a:pt x="46" y="244"/>
                  <a:pt x="46" y="244"/>
                </a:cubicBezTo>
                <a:cubicBezTo>
                  <a:pt x="47" y="244"/>
                  <a:pt x="47" y="244"/>
                  <a:pt x="47" y="244"/>
                </a:cubicBezTo>
                <a:cubicBezTo>
                  <a:pt x="48" y="246"/>
                  <a:pt x="48" y="246"/>
                  <a:pt x="48" y="246"/>
                </a:cubicBezTo>
                <a:cubicBezTo>
                  <a:pt x="49" y="247"/>
                  <a:pt x="49" y="247"/>
                  <a:pt x="49" y="247"/>
                </a:cubicBezTo>
                <a:cubicBezTo>
                  <a:pt x="49" y="247"/>
                  <a:pt x="49" y="247"/>
                  <a:pt x="49" y="247"/>
                </a:cubicBezTo>
                <a:cubicBezTo>
                  <a:pt x="49" y="246"/>
                  <a:pt x="49" y="246"/>
                  <a:pt x="49" y="246"/>
                </a:cubicBezTo>
                <a:cubicBezTo>
                  <a:pt x="49" y="245"/>
                  <a:pt x="49" y="245"/>
                  <a:pt x="49" y="245"/>
                </a:cubicBezTo>
                <a:cubicBezTo>
                  <a:pt x="49" y="245"/>
                  <a:pt x="49" y="245"/>
                  <a:pt x="49" y="245"/>
                </a:cubicBezTo>
                <a:cubicBezTo>
                  <a:pt x="50" y="246"/>
                  <a:pt x="50" y="246"/>
                  <a:pt x="50" y="246"/>
                </a:cubicBezTo>
                <a:cubicBezTo>
                  <a:pt x="50" y="246"/>
                  <a:pt x="50" y="246"/>
                  <a:pt x="50" y="246"/>
                </a:cubicBezTo>
                <a:cubicBezTo>
                  <a:pt x="52" y="248"/>
                  <a:pt x="52" y="248"/>
                  <a:pt x="52" y="248"/>
                </a:cubicBezTo>
                <a:cubicBezTo>
                  <a:pt x="53" y="248"/>
                  <a:pt x="53" y="248"/>
                  <a:pt x="53" y="248"/>
                </a:cubicBezTo>
                <a:cubicBezTo>
                  <a:pt x="54" y="247"/>
                  <a:pt x="54" y="247"/>
                  <a:pt x="54" y="247"/>
                </a:cubicBezTo>
                <a:cubicBezTo>
                  <a:pt x="55" y="247"/>
                  <a:pt x="55" y="247"/>
                  <a:pt x="55" y="247"/>
                </a:cubicBezTo>
                <a:cubicBezTo>
                  <a:pt x="55" y="248"/>
                  <a:pt x="55" y="248"/>
                  <a:pt x="55" y="248"/>
                </a:cubicBezTo>
                <a:cubicBezTo>
                  <a:pt x="57" y="249"/>
                  <a:pt x="57" y="249"/>
                  <a:pt x="57" y="249"/>
                </a:cubicBezTo>
                <a:cubicBezTo>
                  <a:pt x="58" y="249"/>
                  <a:pt x="58" y="249"/>
                  <a:pt x="58" y="249"/>
                </a:cubicBezTo>
                <a:cubicBezTo>
                  <a:pt x="58" y="249"/>
                  <a:pt x="58" y="249"/>
                  <a:pt x="58" y="249"/>
                </a:cubicBezTo>
                <a:cubicBezTo>
                  <a:pt x="59" y="249"/>
                  <a:pt x="59" y="249"/>
                  <a:pt x="59" y="249"/>
                </a:cubicBezTo>
                <a:cubicBezTo>
                  <a:pt x="59" y="249"/>
                  <a:pt x="59" y="249"/>
                  <a:pt x="59" y="249"/>
                </a:cubicBezTo>
                <a:cubicBezTo>
                  <a:pt x="58" y="248"/>
                  <a:pt x="58" y="248"/>
                  <a:pt x="58" y="248"/>
                </a:cubicBezTo>
                <a:cubicBezTo>
                  <a:pt x="55" y="246"/>
                  <a:pt x="55" y="246"/>
                  <a:pt x="55" y="246"/>
                </a:cubicBezTo>
                <a:cubicBezTo>
                  <a:pt x="55" y="245"/>
                  <a:pt x="55" y="245"/>
                  <a:pt x="55" y="245"/>
                </a:cubicBezTo>
                <a:cubicBezTo>
                  <a:pt x="55" y="245"/>
                  <a:pt x="55" y="245"/>
                  <a:pt x="55" y="245"/>
                </a:cubicBezTo>
                <a:cubicBezTo>
                  <a:pt x="56" y="244"/>
                  <a:pt x="56" y="244"/>
                  <a:pt x="56" y="244"/>
                </a:cubicBezTo>
                <a:cubicBezTo>
                  <a:pt x="57" y="244"/>
                  <a:pt x="57" y="244"/>
                  <a:pt x="57" y="244"/>
                </a:cubicBezTo>
                <a:cubicBezTo>
                  <a:pt x="57" y="243"/>
                  <a:pt x="57" y="243"/>
                  <a:pt x="57" y="243"/>
                </a:cubicBezTo>
                <a:cubicBezTo>
                  <a:pt x="57" y="243"/>
                  <a:pt x="57" y="243"/>
                  <a:pt x="57" y="243"/>
                </a:cubicBezTo>
                <a:cubicBezTo>
                  <a:pt x="57" y="242"/>
                  <a:pt x="57" y="242"/>
                  <a:pt x="57" y="242"/>
                </a:cubicBezTo>
                <a:cubicBezTo>
                  <a:pt x="57" y="242"/>
                  <a:pt x="57" y="242"/>
                  <a:pt x="57" y="242"/>
                </a:cubicBezTo>
                <a:cubicBezTo>
                  <a:pt x="56" y="243"/>
                  <a:pt x="56" y="243"/>
                  <a:pt x="56" y="243"/>
                </a:cubicBezTo>
                <a:cubicBezTo>
                  <a:pt x="54" y="243"/>
                  <a:pt x="54" y="243"/>
                  <a:pt x="54" y="243"/>
                </a:cubicBezTo>
                <a:cubicBezTo>
                  <a:pt x="54" y="243"/>
                  <a:pt x="54" y="243"/>
                  <a:pt x="54" y="243"/>
                </a:cubicBezTo>
                <a:cubicBezTo>
                  <a:pt x="54" y="243"/>
                  <a:pt x="54" y="243"/>
                  <a:pt x="54" y="243"/>
                </a:cubicBezTo>
                <a:cubicBezTo>
                  <a:pt x="55" y="244"/>
                  <a:pt x="55" y="244"/>
                  <a:pt x="55" y="244"/>
                </a:cubicBezTo>
                <a:cubicBezTo>
                  <a:pt x="55" y="244"/>
                  <a:pt x="55" y="244"/>
                  <a:pt x="55" y="244"/>
                </a:cubicBezTo>
                <a:cubicBezTo>
                  <a:pt x="53" y="244"/>
                  <a:pt x="53" y="244"/>
                  <a:pt x="53" y="244"/>
                </a:cubicBezTo>
                <a:cubicBezTo>
                  <a:pt x="53" y="245"/>
                  <a:pt x="53" y="245"/>
                  <a:pt x="53" y="245"/>
                </a:cubicBezTo>
                <a:cubicBezTo>
                  <a:pt x="52" y="244"/>
                  <a:pt x="52" y="244"/>
                  <a:pt x="52" y="244"/>
                </a:cubicBezTo>
                <a:cubicBezTo>
                  <a:pt x="51" y="245"/>
                  <a:pt x="51" y="245"/>
                  <a:pt x="51" y="245"/>
                </a:cubicBezTo>
                <a:cubicBezTo>
                  <a:pt x="50" y="244"/>
                  <a:pt x="50" y="244"/>
                  <a:pt x="50" y="244"/>
                </a:cubicBezTo>
                <a:cubicBezTo>
                  <a:pt x="49" y="244"/>
                  <a:pt x="49" y="244"/>
                  <a:pt x="49" y="244"/>
                </a:cubicBezTo>
                <a:cubicBezTo>
                  <a:pt x="49" y="243"/>
                  <a:pt x="49" y="243"/>
                  <a:pt x="49" y="243"/>
                </a:cubicBezTo>
                <a:cubicBezTo>
                  <a:pt x="49" y="243"/>
                  <a:pt x="49" y="243"/>
                  <a:pt x="49" y="243"/>
                </a:cubicBezTo>
                <a:cubicBezTo>
                  <a:pt x="50" y="242"/>
                  <a:pt x="50" y="242"/>
                  <a:pt x="50" y="242"/>
                </a:cubicBezTo>
                <a:cubicBezTo>
                  <a:pt x="49" y="242"/>
                  <a:pt x="49" y="242"/>
                  <a:pt x="49" y="242"/>
                </a:cubicBezTo>
                <a:cubicBezTo>
                  <a:pt x="48" y="242"/>
                  <a:pt x="48" y="242"/>
                  <a:pt x="48" y="242"/>
                </a:cubicBezTo>
                <a:cubicBezTo>
                  <a:pt x="48" y="242"/>
                  <a:pt x="48" y="242"/>
                  <a:pt x="48" y="242"/>
                </a:cubicBezTo>
                <a:cubicBezTo>
                  <a:pt x="49" y="242"/>
                  <a:pt x="49" y="242"/>
                  <a:pt x="49" y="242"/>
                </a:cubicBezTo>
                <a:cubicBezTo>
                  <a:pt x="51" y="241"/>
                  <a:pt x="51" y="241"/>
                  <a:pt x="51" y="241"/>
                </a:cubicBezTo>
                <a:cubicBezTo>
                  <a:pt x="52" y="241"/>
                  <a:pt x="52" y="241"/>
                  <a:pt x="52" y="241"/>
                </a:cubicBezTo>
                <a:cubicBezTo>
                  <a:pt x="53" y="241"/>
                  <a:pt x="53" y="241"/>
                  <a:pt x="53" y="241"/>
                </a:cubicBezTo>
                <a:cubicBezTo>
                  <a:pt x="54" y="241"/>
                  <a:pt x="54" y="241"/>
                  <a:pt x="54" y="241"/>
                </a:cubicBezTo>
                <a:cubicBezTo>
                  <a:pt x="55" y="241"/>
                  <a:pt x="55" y="241"/>
                  <a:pt x="55" y="241"/>
                </a:cubicBezTo>
                <a:cubicBezTo>
                  <a:pt x="56" y="241"/>
                  <a:pt x="56" y="241"/>
                  <a:pt x="56" y="241"/>
                </a:cubicBezTo>
                <a:cubicBezTo>
                  <a:pt x="57" y="241"/>
                  <a:pt x="57" y="241"/>
                  <a:pt x="57" y="241"/>
                </a:cubicBezTo>
                <a:cubicBezTo>
                  <a:pt x="57" y="240"/>
                  <a:pt x="57" y="240"/>
                  <a:pt x="57" y="240"/>
                </a:cubicBezTo>
                <a:cubicBezTo>
                  <a:pt x="58" y="240"/>
                  <a:pt x="58" y="240"/>
                  <a:pt x="58" y="240"/>
                </a:cubicBezTo>
                <a:cubicBezTo>
                  <a:pt x="58" y="240"/>
                  <a:pt x="58" y="240"/>
                  <a:pt x="58" y="240"/>
                </a:cubicBezTo>
                <a:cubicBezTo>
                  <a:pt x="59" y="239"/>
                  <a:pt x="59" y="239"/>
                  <a:pt x="59" y="239"/>
                </a:cubicBezTo>
                <a:cubicBezTo>
                  <a:pt x="59" y="238"/>
                  <a:pt x="59" y="238"/>
                  <a:pt x="59" y="238"/>
                </a:cubicBezTo>
                <a:cubicBezTo>
                  <a:pt x="59" y="238"/>
                  <a:pt x="59" y="238"/>
                  <a:pt x="59" y="238"/>
                </a:cubicBezTo>
                <a:cubicBezTo>
                  <a:pt x="58" y="239"/>
                  <a:pt x="58" y="239"/>
                  <a:pt x="58" y="239"/>
                </a:cubicBezTo>
                <a:cubicBezTo>
                  <a:pt x="57" y="239"/>
                  <a:pt x="57" y="239"/>
                  <a:pt x="57" y="239"/>
                </a:cubicBezTo>
                <a:cubicBezTo>
                  <a:pt x="57" y="238"/>
                  <a:pt x="57" y="238"/>
                  <a:pt x="57" y="238"/>
                </a:cubicBezTo>
                <a:cubicBezTo>
                  <a:pt x="58" y="237"/>
                  <a:pt x="58" y="237"/>
                  <a:pt x="58" y="237"/>
                </a:cubicBezTo>
                <a:cubicBezTo>
                  <a:pt x="59" y="235"/>
                  <a:pt x="59" y="235"/>
                  <a:pt x="59" y="235"/>
                </a:cubicBezTo>
                <a:cubicBezTo>
                  <a:pt x="58" y="234"/>
                  <a:pt x="58" y="234"/>
                  <a:pt x="58" y="234"/>
                </a:cubicBezTo>
                <a:cubicBezTo>
                  <a:pt x="59" y="234"/>
                  <a:pt x="59" y="234"/>
                  <a:pt x="59" y="234"/>
                </a:cubicBezTo>
                <a:cubicBezTo>
                  <a:pt x="59" y="234"/>
                  <a:pt x="59" y="234"/>
                  <a:pt x="59" y="234"/>
                </a:cubicBezTo>
                <a:cubicBezTo>
                  <a:pt x="60" y="235"/>
                  <a:pt x="60" y="235"/>
                  <a:pt x="60" y="235"/>
                </a:cubicBezTo>
                <a:cubicBezTo>
                  <a:pt x="60" y="236"/>
                  <a:pt x="60" y="236"/>
                  <a:pt x="60" y="236"/>
                </a:cubicBezTo>
                <a:cubicBezTo>
                  <a:pt x="60" y="236"/>
                  <a:pt x="60" y="236"/>
                  <a:pt x="60" y="236"/>
                </a:cubicBezTo>
                <a:cubicBezTo>
                  <a:pt x="61" y="236"/>
                  <a:pt x="61" y="236"/>
                  <a:pt x="61" y="236"/>
                </a:cubicBezTo>
                <a:cubicBezTo>
                  <a:pt x="62" y="236"/>
                  <a:pt x="62" y="236"/>
                  <a:pt x="62" y="236"/>
                </a:cubicBezTo>
                <a:cubicBezTo>
                  <a:pt x="62" y="237"/>
                  <a:pt x="62" y="237"/>
                  <a:pt x="62" y="237"/>
                </a:cubicBezTo>
                <a:cubicBezTo>
                  <a:pt x="63" y="237"/>
                  <a:pt x="63" y="237"/>
                  <a:pt x="63" y="237"/>
                </a:cubicBezTo>
                <a:cubicBezTo>
                  <a:pt x="63" y="236"/>
                  <a:pt x="63" y="236"/>
                  <a:pt x="63" y="236"/>
                </a:cubicBezTo>
                <a:cubicBezTo>
                  <a:pt x="63" y="237"/>
                  <a:pt x="63" y="237"/>
                  <a:pt x="63" y="237"/>
                </a:cubicBezTo>
                <a:cubicBezTo>
                  <a:pt x="64" y="237"/>
                  <a:pt x="64" y="237"/>
                  <a:pt x="64" y="237"/>
                </a:cubicBezTo>
                <a:cubicBezTo>
                  <a:pt x="64" y="236"/>
                  <a:pt x="64" y="236"/>
                  <a:pt x="64" y="236"/>
                </a:cubicBezTo>
                <a:cubicBezTo>
                  <a:pt x="63" y="236"/>
                  <a:pt x="63" y="236"/>
                  <a:pt x="63" y="236"/>
                </a:cubicBezTo>
                <a:cubicBezTo>
                  <a:pt x="62" y="235"/>
                  <a:pt x="62" y="235"/>
                  <a:pt x="62" y="235"/>
                </a:cubicBezTo>
                <a:cubicBezTo>
                  <a:pt x="62" y="235"/>
                  <a:pt x="62" y="235"/>
                  <a:pt x="62" y="235"/>
                </a:cubicBezTo>
                <a:cubicBezTo>
                  <a:pt x="63" y="235"/>
                  <a:pt x="63" y="235"/>
                  <a:pt x="63" y="235"/>
                </a:cubicBezTo>
                <a:cubicBezTo>
                  <a:pt x="64" y="235"/>
                  <a:pt x="64" y="235"/>
                  <a:pt x="64" y="235"/>
                </a:cubicBezTo>
                <a:cubicBezTo>
                  <a:pt x="64" y="234"/>
                  <a:pt x="64" y="234"/>
                  <a:pt x="64" y="234"/>
                </a:cubicBezTo>
                <a:cubicBezTo>
                  <a:pt x="63" y="234"/>
                  <a:pt x="63" y="234"/>
                  <a:pt x="63" y="234"/>
                </a:cubicBezTo>
                <a:cubicBezTo>
                  <a:pt x="63" y="234"/>
                  <a:pt x="63" y="234"/>
                  <a:pt x="63" y="234"/>
                </a:cubicBezTo>
                <a:cubicBezTo>
                  <a:pt x="62" y="233"/>
                  <a:pt x="62" y="233"/>
                  <a:pt x="62" y="233"/>
                </a:cubicBezTo>
                <a:cubicBezTo>
                  <a:pt x="62" y="233"/>
                  <a:pt x="62" y="233"/>
                  <a:pt x="62" y="233"/>
                </a:cubicBezTo>
                <a:cubicBezTo>
                  <a:pt x="61" y="233"/>
                  <a:pt x="61" y="233"/>
                  <a:pt x="61" y="233"/>
                </a:cubicBezTo>
                <a:cubicBezTo>
                  <a:pt x="61" y="233"/>
                  <a:pt x="61" y="233"/>
                  <a:pt x="61" y="233"/>
                </a:cubicBezTo>
                <a:cubicBezTo>
                  <a:pt x="60" y="233"/>
                  <a:pt x="60" y="233"/>
                  <a:pt x="60" y="233"/>
                </a:cubicBezTo>
                <a:cubicBezTo>
                  <a:pt x="60" y="233"/>
                  <a:pt x="60" y="233"/>
                  <a:pt x="60" y="233"/>
                </a:cubicBezTo>
                <a:cubicBezTo>
                  <a:pt x="60" y="232"/>
                  <a:pt x="60" y="232"/>
                  <a:pt x="60" y="232"/>
                </a:cubicBezTo>
                <a:cubicBezTo>
                  <a:pt x="61" y="232"/>
                  <a:pt x="61" y="232"/>
                  <a:pt x="61" y="232"/>
                </a:cubicBezTo>
                <a:cubicBezTo>
                  <a:pt x="62" y="231"/>
                  <a:pt x="62" y="231"/>
                  <a:pt x="62" y="231"/>
                </a:cubicBezTo>
                <a:cubicBezTo>
                  <a:pt x="62" y="230"/>
                  <a:pt x="62" y="230"/>
                  <a:pt x="62" y="230"/>
                </a:cubicBezTo>
                <a:cubicBezTo>
                  <a:pt x="63" y="230"/>
                  <a:pt x="63" y="230"/>
                  <a:pt x="63" y="230"/>
                </a:cubicBezTo>
                <a:cubicBezTo>
                  <a:pt x="63" y="230"/>
                  <a:pt x="63" y="230"/>
                  <a:pt x="63" y="230"/>
                </a:cubicBezTo>
                <a:cubicBezTo>
                  <a:pt x="64" y="230"/>
                  <a:pt x="64" y="230"/>
                  <a:pt x="64" y="230"/>
                </a:cubicBezTo>
                <a:cubicBezTo>
                  <a:pt x="64" y="230"/>
                  <a:pt x="64" y="230"/>
                  <a:pt x="64" y="230"/>
                </a:cubicBezTo>
                <a:cubicBezTo>
                  <a:pt x="63" y="229"/>
                  <a:pt x="63" y="229"/>
                  <a:pt x="63" y="229"/>
                </a:cubicBezTo>
                <a:cubicBezTo>
                  <a:pt x="62" y="229"/>
                  <a:pt x="62" y="229"/>
                  <a:pt x="62" y="229"/>
                </a:cubicBezTo>
                <a:cubicBezTo>
                  <a:pt x="62" y="229"/>
                  <a:pt x="62" y="229"/>
                  <a:pt x="62" y="229"/>
                </a:cubicBezTo>
                <a:cubicBezTo>
                  <a:pt x="62" y="228"/>
                  <a:pt x="62" y="228"/>
                  <a:pt x="62" y="228"/>
                </a:cubicBezTo>
                <a:cubicBezTo>
                  <a:pt x="64" y="228"/>
                  <a:pt x="64" y="228"/>
                  <a:pt x="64" y="228"/>
                </a:cubicBezTo>
                <a:cubicBezTo>
                  <a:pt x="64" y="227"/>
                  <a:pt x="64" y="227"/>
                  <a:pt x="64" y="227"/>
                </a:cubicBezTo>
                <a:cubicBezTo>
                  <a:pt x="65" y="227"/>
                  <a:pt x="65" y="227"/>
                  <a:pt x="65" y="227"/>
                </a:cubicBezTo>
                <a:cubicBezTo>
                  <a:pt x="65" y="227"/>
                  <a:pt x="65" y="227"/>
                  <a:pt x="65" y="227"/>
                </a:cubicBezTo>
                <a:cubicBezTo>
                  <a:pt x="66" y="226"/>
                  <a:pt x="66" y="226"/>
                  <a:pt x="66" y="226"/>
                </a:cubicBezTo>
                <a:cubicBezTo>
                  <a:pt x="65" y="225"/>
                  <a:pt x="65" y="225"/>
                  <a:pt x="65" y="225"/>
                </a:cubicBezTo>
                <a:cubicBezTo>
                  <a:pt x="65" y="225"/>
                  <a:pt x="65" y="225"/>
                  <a:pt x="65" y="225"/>
                </a:cubicBezTo>
                <a:cubicBezTo>
                  <a:pt x="65" y="225"/>
                  <a:pt x="65" y="225"/>
                  <a:pt x="65" y="225"/>
                </a:cubicBezTo>
                <a:cubicBezTo>
                  <a:pt x="65" y="225"/>
                  <a:pt x="65" y="225"/>
                  <a:pt x="65" y="225"/>
                </a:cubicBezTo>
                <a:cubicBezTo>
                  <a:pt x="66" y="225"/>
                  <a:pt x="66" y="225"/>
                  <a:pt x="66" y="225"/>
                </a:cubicBezTo>
                <a:cubicBezTo>
                  <a:pt x="66" y="224"/>
                  <a:pt x="66" y="224"/>
                  <a:pt x="66" y="224"/>
                </a:cubicBezTo>
                <a:cubicBezTo>
                  <a:pt x="65" y="223"/>
                  <a:pt x="65" y="223"/>
                  <a:pt x="65" y="223"/>
                </a:cubicBezTo>
                <a:cubicBezTo>
                  <a:pt x="64" y="224"/>
                  <a:pt x="64" y="224"/>
                  <a:pt x="64" y="224"/>
                </a:cubicBezTo>
                <a:cubicBezTo>
                  <a:pt x="63" y="224"/>
                  <a:pt x="63" y="224"/>
                  <a:pt x="63" y="224"/>
                </a:cubicBezTo>
                <a:cubicBezTo>
                  <a:pt x="62" y="224"/>
                  <a:pt x="62" y="224"/>
                  <a:pt x="62" y="224"/>
                </a:cubicBezTo>
                <a:cubicBezTo>
                  <a:pt x="62" y="224"/>
                  <a:pt x="62" y="224"/>
                  <a:pt x="62" y="224"/>
                </a:cubicBezTo>
                <a:cubicBezTo>
                  <a:pt x="61" y="224"/>
                  <a:pt x="61" y="224"/>
                  <a:pt x="61" y="224"/>
                </a:cubicBezTo>
                <a:cubicBezTo>
                  <a:pt x="60" y="224"/>
                  <a:pt x="60" y="224"/>
                  <a:pt x="60" y="224"/>
                </a:cubicBezTo>
                <a:cubicBezTo>
                  <a:pt x="59" y="223"/>
                  <a:pt x="59" y="223"/>
                  <a:pt x="59" y="223"/>
                </a:cubicBezTo>
                <a:cubicBezTo>
                  <a:pt x="59" y="224"/>
                  <a:pt x="59" y="224"/>
                  <a:pt x="59" y="224"/>
                </a:cubicBezTo>
                <a:cubicBezTo>
                  <a:pt x="58" y="223"/>
                  <a:pt x="58" y="223"/>
                  <a:pt x="58" y="223"/>
                </a:cubicBezTo>
                <a:cubicBezTo>
                  <a:pt x="57" y="222"/>
                  <a:pt x="57" y="222"/>
                  <a:pt x="57" y="222"/>
                </a:cubicBezTo>
                <a:cubicBezTo>
                  <a:pt x="56" y="222"/>
                  <a:pt x="56" y="222"/>
                  <a:pt x="56" y="222"/>
                </a:cubicBezTo>
                <a:cubicBezTo>
                  <a:pt x="55" y="222"/>
                  <a:pt x="55" y="222"/>
                  <a:pt x="55" y="222"/>
                </a:cubicBezTo>
                <a:cubicBezTo>
                  <a:pt x="55" y="221"/>
                  <a:pt x="55" y="221"/>
                  <a:pt x="55" y="221"/>
                </a:cubicBezTo>
                <a:cubicBezTo>
                  <a:pt x="55" y="220"/>
                  <a:pt x="55" y="220"/>
                  <a:pt x="55" y="220"/>
                </a:cubicBezTo>
                <a:cubicBezTo>
                  <a:pt x="53" y="219"/>
                  <a:pt x="53" y="219"/>
                  <a:pt x="53" y="219"/>
                </a:cubicBezTo>
                <a:cubicBezTo>
                  <a:pt x="51" y="218"/>
                  <a:pt x="51" y="218"/>
                  <a:pt x="51" y="218"/>
                </a:cubicBezTo>
                <a:cubicBezTo>
                  <a:pt x="49" y="218"/>
                  <a:pt x="49" y="218"/>
                  <a:pt x="49" y="218"/>
                </a:cubicBezTo>
                <a:cubicBezTo>
                  <a:pt x="48" y="217"/>
                  <a:pt x="48" y="217"/>
                  <a:pt x="48" y="217"/>
                </a:cubicBezTo>
                <a:cubicBezTo>
                  <a:pt x="48" y="216"/>
                  <a:pt x="48" y="216"/>
                  <a:pt x="48" y="216"/>
                </a:cubicBezTo>
                <a:cubicBezTo>
                  <a:pt x="48" y="214"/>
                  <a:pt x="48" y="214"/>
                  <a:pt x="48" y="214"/>
                </a:cubicBezTo>
                <a:cubicBezTo>
                  <a:pt x="47" y="214"/>
                  <a:pt x="47" y="214"/>
                  <a:pt x="47" y="214"/>
                </a:cubicBezTo>
                <a:cubicBezTo>
                  <a:pt x="47" y="213"/>
                  <a:pt x="47" y="213"/>
                  <a:pt x="47" y="213"/>
                </a:cubicBezTo>
                <a:cubicBezTo>
                  <a:pt x="47" y="212"/>
                  <a:pt x="47" y="212"/>
                  <a:pt x="47" y="212"/>
                </a:cubicBezTo>
                <a:cubicBezTo>
                  <a:pt x="48" y="211"/>
                  <a:pt x="48" y="211"/>
                  <a:pt x="48" y="211"/>
                </a:cubicBezTo>
                <a:cubicBezTo>
                  <a:pt x="49" y="211"/>
                  <a:pt x="49" y="211"/>
                  <a:pt x="49" y="211"/>
                </a:cubicBezTo>
                <a:cubicBezTo>
                  <a:pt x="50" y="211"/>
                  <a:pt x="50" y="211"/>
                  <a:pt x="50" y="211"/>
                </a:cubicBezTo>
                <a:cubicBezTo>
                  <a:pt x="50" y="211"/>
                  <a:pt x="50" y="211"/>
                  <a:pt x="50" y="211"/>
                </a:cubicBezTo>
                <a:cubicBezTo>
                  <a:pt x="52" y="211"/>
                  <a:pt x="52" y="211"/>
                  <a:pt x="52" y="211"/>
                </a:cubicBezTo>
                <a:cubicBezTo>
                  <a:pt x="53" y="212"/>
                  <a:pt x="53" y="212"/>
                  <a:pt x="53" y="212"/>
                </a:cubicBezTo>
                <a:cubicBezTo>
                  <a:pt x="54" y="212"/>
                  <a:pt x="54" y="212"/>
                  <a:pt x="54" y="212"/>
                </a:cubicBezTo>
                <a:cubicBezTo>
                  <a:pt x="55" y="213"/>
                  <a:pt x="55" y="213"/>
                  <a:pt x="55" y="213"/>
                </a:cubicBezTo>
                <a:cubicBezTo>
                  <a:pt x="55" y="213"/>
                  <a:pt x="55" y="213"/>
                  <a:pt x="55" y="213"/>
                </a:cubicBezTo>
                <a:cubicBezTo>
                  <a:pt x="56" y="213"/>
                  <a:pt x="56" y="213"/>
                  <a:pt x="56" y="213"/>
                </a:cubicBezTo>
                <a:cubicBezTo>
                  <a:pt x="57" y="213"/>
                  <a:pt x="57" y="213"/>
                  <a:pt x="57" y="213"/>
                </a:cubicBezTo>
                <a:cubicBezTo>
                  <a:pt x="58" y="214"/>
                  <a:pt x="58" y="214"/>
                  <a:pt x="58" y="214"/>
                </a:cubicBezTo>
                <a:cubicBezTo>
                  <a:pt x="59" y="214"/>
                  <a:pt x="59" y="214"/>
                  <a:pt x="59" y="214"/>
                </a:cubicBezTo>
                <a:cubicBezTo>
                  <a:pt x="59" y="215"/>
                  <a:pt x="59" y="215"/>
                  <a:pt x="59" y="215"/>
                </a:cubicBezTo>
                <a:cubicBezTo>
                  <a:pt x="60" y="217"/>
                  <a:pt x="60" y="217"/>
                  <a:pt x="60" y="217"/>
                </a:cubicBezTo>
                <a:cubicBezTo>
                  <a:pt x="61" y="218"/>
                  <a:pt x="61" y="218"/>
                  <a:pt x="61" y="218"/>
                </a:cubicBezTo>
                <a:cubicBezTo>
                  <a:pt x="62" y="219"/>
                  <a:pt x="62" y="219"/>
                  <a:pt x="62" y="219"/>
                </a:cubicBezTo>
                <a:cubicBezTo>
                  <a:pt x="63" y="220"/>
                  <a:pt x="63" y="220"/>
                  <a:pt x="63" y="220"/>
                </a:cubicBezTo>
                <a:cubicBezTo>
                  <a:pt x="64" y="220"/>
                  <a:pt x="64" y="220"/>
                  <a:pt x="64" y="220"/>
                </a:cubicBezTo>
                <a:cubicBezTo>
                  <a:pt x="65" y="220"/>
                  <a:pt x="65" y="220"/>
                  <a:pt x="65" y="220"/>
                </a:cubicBezTo>
                <a:cubicBezTo>
                  <a:pt x="65" y="219"/>
                  <a:pt x="65" y="219"/>
                  <a:pt x="65" y="219"/>
                </a:cubicBezTo>
                <a:cubicBezTo>
                  <a:pt x="65" y="219"/>
                  <a:pt x="65" y="219"/>
                  <a:pt x="65" y="219"/>
                </a:cubicBezTo>
                <a:cubicBezTo>
                  <a:pt x="65" y="219"/>
                  <a:pt x="65" y="219"/>
                  <a:pt x="65" y="219"/>
                </a:cubicBezTo>
                <a:cubicBezTo>
                  <a:pt x="64" y="219"/>
                  <a:pt x="64" y="219"/>
                  <a:pt x="64" y="219"/>
                </a:cubicBezTo>
                <a:cubicBezTo>
                  <a:pt x="63" y="219"/>
                  <a:pt x="63" y="219"/>
                  <a:pt x="63" y="219"/>
                </a:cubicBezTo>
                <a:cubicBezTo>
                  <a:pt x="62" y="217"/>
                  <a:pt x="62" y="217"/>
                  <a:pt x="62" y="217"/>
                </a:cubicBezTo>
                <a:cubicBezTo>
                  <a:pt x="62" y="217"/>
                  <a:pt x="62" y="217"/>
                  <a:pt x="62" y="217"/>
                </a:cubicBezTo>
                <a:cubicBezTo>
                  <a:pt x="62" y="217"/>
                  <a:pt x="62" y="217"/>
                  <a:pt x="62" y="217"/>
                </a:cubicBezTo>
                <a:cubicBezTo>
                  <a:pt x="63" y="218"/>
                  <a:pt x="63" y="218"/>
                  <a:pt x="63" y="218"/>
                </a:cubicBezTo>
                <a:cubicBezTo>
                  <a:pt x="64" y="218"/>
                  <a:pt x="64" y="218"/>
                  <a:pt x="64" y="218"/>
                </a:cubicBezTo>
                <a:cubicBezTo>
                  <a:pt x="64" y="217"/>
                  <a:pt x="64" y="217"/>
                  <a:pt x="64" y="217"/>
                </a:cubicBezTo>
                <a:cubicBezTo>
                  <a:pt x="65" y="217"/>
                  <a:pt x="65" y="217"/>
                  <a:pt x="65" y="217"/>
                </a:cubicBezTo>
                <a:cubicBezTo>
                  <a:pt x="65" y="217"/>
                  <a:pt x="65" y="217"/>
                  <a:pt x="65" y="217"/>
                </a:cubicBezTo>
                <a:cubicBezTo>
                  <a:pt x="63" y="216"/>
                  <a:pt x="63" y="216"/>
                  <a:pt x="63" y="216"/>
                </a:cubicBezTo>
                <a:cubicBezTo>
                  <a:pt x="62" y="214"/>
                  <a:pt x="62" y="214"/>
                  <a:pt x="62" y="214"/>
                </a:cubicBezTo>
                <a:cubicBezTo>
                  <a:pt x="62" y="214"/>
                  <a:pt x="62" y="214"/>
                  <a:pt x="62" y="214"/>
                </a:cubicBezTo>
                <a:cubicBezTo>
                  <a:pt x="62" y="213"/>
                  <a:pt x="62" y="213"/>
                  <a:pt x="62" y="213"/>
                </a:cubicBezTo>
                <a:cubicBezTo>
                  <a:pt x="62" y="213"/>
                  <a:pt x="62" y="213"/>
                  <a:pt x="62" y="213"/>
                </a:cubicBezTo>
                <a:cubicBezTo>
                  <a:pt x="63" y="214"/>
                  <a:pt x="63" y="214"/>
                  <a:pt x="63" y="214"/>
                </a:cubicBezTo>
                <a:cubicBezTo>
                  <a:pt x="64" y="214"/>
                  <a:pt x="64" y="214"/>
                  <a:pt x="64" y="214"/>
                </a:cubicBezTo>
                <a:cubicBezTo>
                  <a:pt x="63" y="213"/>
                  <a:pt x="63" y="213"/>
                  <a:pt x="63" y="213"/>
                </a:cubicBezTo>
                <a:cubicBezTo>
                  <a:pt x="62" y="212"/>
                  <a:pt x="62" y="212"/>
                  <a:pt x="62" y="212"/>
                </a:cubicBezTo>
                <a:cubicBezTo>
                  <a:pt x="61" y="211"/>
                  <a:pt x="61" y="211"/>
                  <a:pt x="61" y="211"/>
                </a:cubicBezTo>
                <a:cubicBezTo>
                  <a:pt x="61" y="211"/>
                  <a:pt x="61" y="211"/>
                  <a:pt x="61" y="211"/>
                </a:cubicBezTo>
                <a:cubicBezTo>
                  <a:pt x="61" y="210"/>
                  <a:pt x="61" y="210"/>
                  <a:pt x="61" y="210"/>
                </a:cubicBezTo>
                <a:cubicBezTo>
                  <a:pt x="62" y="211"/>
                  <a:pt x="62" y="211"/>
                  <a:pt x="62" y="211"/>
                </a:cubicBezTo>
                <a:cubicBezTo>
                  <a:pt x="64" y="211"/>
                  <a:pt x="64" y="211"/>
                  <a:pt x="64" y="211"/>
                </a:cubicBezTo>
                <a:cubicBezTo>
                  <a:pt x="65" y="211"/>
                  <a:pt x="65" y="211"/>
                  <a:pt x="65" y="211"/>
                </a:cubicBezTo>
                <a:cubicBezTo>
                  <a:pt x="65" y="210"/>
                  <a:pt x="65" y="210"/>
                  <a:pt x="65" y="210"/>
                </a:cubicBezTo>
                <a:cubicBezTo>
                  <a:pt x="64" y="209"/>
                  <a:pt x="64" y="209"/>
                  <a:pt x="64" y="209"/>
                </a:cubicBezTo>
                <a:cubicBezTo>
                  <a:pt x="64" y="209"/>
                  <a:pt x="64" y="209"/>
                  <a:pt x="64" y="209"/>
                </a:cubicBezTo>
                <a:cubicBezTo>
                  <a:pt x="63" y="210"/>
                  <a:pt x="63" y="210"/>
                  <a:pt x="63" y="210"/>
                </a:cubicBezTo>
                <a:cubicBezTo>
                  <a:pt x="62" y="210"/>
                  <a:pt x="62" y="210"/>
                  <a:pt x="62" y="210"/>
                </a:cubicBezTo>
                <a:cubicBezTo>
                  <a:pt x="61" y="210"/>
                  <a:pt x="61" y="210"/>
                  <a:pt x="61" y="210"/>
                </a:cubicBezTo>
                <a:cubicBezTo>
                  <a:pt x="61" y="209"/>
                  <a:pt x="61" y="209"/>
                  <a:pt x="61" y="209"/>
                </a:cubicBezTo>
                <a:cubicBezTo>
                  <a:pt x="61" y="208"/>
                  <a:pt x="61" y="208"/>
                  <a:pt x="61" y="208"/>
                </a:cubicBezTo>
                <a:cubicBezTo>
                  <a:pt x="63" y="208"/>
                  <a:pt x="63" y="208"/>
                  <a:pt x="63" y="208"/>
                </a:cubicBezTo>
                <a:cubicBezTo>
                  <a:pt x="63" y="208"/>
                  <a:pt x="63" y="208"/>
                  <a:pt x="63" y="208"/>
                </a:cubicBezTo>
                <a:cubicBezTo>
                  <a:pt x="64" y="208"/>
                  <a:pt x="64" y="208"/>
                  <a:pt x="64" y="208"/>
                </a:cubicBezTo>
                <a:cubicBezTo>
                  <a:pt x="64" y="208"/>
                  <a:pt x="64" y="208"/>
                  <a:pt x="64" y="208"/>
                </a:cubicBezTo>
                <a:cubicBezTo>
                  <a:pt x="64" y="207"/>
                  <a:pt x="64" y="207"/>
                  <a:pt x="64" y="207"/>
                </a:cubicBezTo>
                <a:cubicBezTo>
                  <a:pt x="63" y="206"/>
                  <a:pt x="63" y="206"/>
                  <a:pt x="63" y="206"/>
                </a:cubicBezTo>
                <a:cubicBezTo>
                  <a:pt x="63" y="206"/>
                  <a:pt x="63" y="206"/>
                  <a:pt x="63" y="206"/>
                </a:cubicBezTo>
                <a:cubicBezTo>
                  <a:pt x="62" y="207"/>
                  <a:pt x="62" y="207"/>
                  <a:pt x="62" y="207"/>
                </a:cubicBezTo>
                <a:cubicBezTo>
                  <a:pt x="62" y="207"/>
                  <a:pt x="62" y="207"/>
                  <a:pt x="62" y="207"/>
                </a:cubicBezTo>
                <a:cubicBezTo>
                  <a:pt x="61" y="207"/>
                  <a:pt x="61" y="207"/>
                  <a:pt x="61" y="207"/>
                </a:cubicBezTo>
                <a:cubicBezTo>
                  <a:pt x="60" y="209"/>
                  <a:pt x="60" y="209"/>
                  <a:pt x="60" y="209"/>
                </a:cubicBezTo>
                <a:cubicBezTo>
                  <a:pt x="59" y="209"/>
                  <a:pt x="59" y="209"/>
                  <a:pt x="59" y="209"/>
                </a:cubicBezTo>
                <a:cubicBezTo>
                  <a:pt x="59" y="208"/>
                  <a:pt x="59" y="208"/>
                  <a:pt x="59" y="208"/>
                </a:cubicBezTo>
                <a:cubicBezTo>
                  <a:pt x="60" y="208"/>
                  <a:pt x="60" y="208"/>
                  <a:pt x="60" y="208"/>
                </a:cubicBezTo>
                <a:cubicBezTo>
                  <a:pt x="60" y="207"/>
                  <a:pt x="60" y="207"/>
                  <a:pt x="60" y="207"/>
                </a:cubicBezTo>
                <a:cubicBezTo>
                  <a:pt x="61" y="206"/>
                  <a:pt x="61" y="206"/>
                  <a:pt x="61" y="206"/>
                </a:cubicBezTo>
                <a:cubicBezTo>
                  <a:pt x="61" y="206"/>
                  <a:pt x="61" y="206"/>
                  <a:pt x="61" y="206"/>
                </a:cubicBezTo>
                <a:cubicBezTo>
                  <a:pt x="62" y="206"/>
                  <a:pt x="62" y="206"/>
                  <a:pt x="62" y="206"/>
                </a:cubicBezTo>
                <a:cubicBezTo>
                  <a:pt x="63" y="205"/>
                  <a:pt x="63" y="205"/>
                  <a:pt x="63" y="205"/>
                </a:cubicBezTo>
                <a:cubicBezTo>
                  <a:pt x="64" y="205"/>
                  <a:pt x="64" y="205"/>
                  <a:pt x="64" y="205"/>
                </a:cubicBezTo>
                <a:cubicBezTo>
                  <a:pt x="64" y="204"/>
                  <a:pt x="64" y="204"/>
                  <a:pt x="64" y="204"/>
                </a:cubicBezTo>
                <a:cubicBezTo>
                  <a:pt x="64" y="204"/>
                  <a:pt x="64" y="204"/>
                  <a:pt x="64" y="204"/>
                </a:cubicBezTo>
                <a:cubicBezTo>
                  <a:pt x="62" y="204"/>
                  <a:pt x="62" y="204"/>
                  <a:pt x="62" y="204"/>
                </a:cubicBezTo>
                <a:cubicBezTo>
                  <a:pt x="61" y="205"/>
                  <a:pt x="61" y="205"/>
                  <a:pt x="61" y="205"/>
                </a:cubicBezTo>
                <a:cubicBezTo>
                  <a:pt x="61" y="205"/>
                  <a:pt x="61" y="205"/>
                  <a:pt x="61" y="205"/>
                </a:cubicBezTo>
                <a:cubicBezTo>
                  <a:pt x="60" y="205"/>
                  <a:pt x="60" y="205"/>
                  <a:pt x="60" y="205"/>
                </a:cubicBezTo>
                <a:cubicBezTo>
                  <a:pt x="59" y="205"/>
                  <a:pt x="59" y="205"/>
                  <a:pt x="59" y="205"/>
                </a:cubicBezTo>
                <a:cubicBezTo>
                  <a:pt x="58" y="205"/>
                  <a:pt x="58" y="205"/>
                  <a:pt x="58" y="205"/>
                </a:cubicBezTo>
                <a:cubicBezTo>
                  <a:pt x="58" y="204"/>
                  <a:pt x="58" y="204"/>
                  <a:pt x="58" y="204"/>
                </a:cubicBezTo>
                <a:cubicBezTo>
                  <a:pt x="59" y="203"/>
                  <a:pt x="59" y="203"/>
                  <a:pt x="59" y="203"/>
                </a:cubicBezTo>
                <a:cubicBezTo>
                  <a:pt x="60" y="203"/>
                  <a:pt x="60" y="203"/>
                  <a:pt x="60" y="203"/>
                </a:cubicBezTo>
                <a:cubicBezTo>
                  <a:pt x="61" y="203"/>
                  <a:pt x="61" y="203"/>
                  <a:pt x="61" y="203"/>
                </a:cubicBezTo>
                <a:cubicBezTo>
                  <a:pt x="63" y="202"/>
                  <a:pt x="63" y="202"/>
                  <a:pt x="63" y="202"/>
                </a:cubicBezTo>
                <a:cubicBezTo>
                  <a:pt x="65" y="201"/>
                  <a:pt x="65" y="201"/>
                  <a:pt x="65" y="201"/>
                </a:cubicBezTo>
                <a:cubicBezTo>
                  <a:pt x="65" y="201"/>
                  <a:pt x="65" y="201"/>
                  <a:pt x="65" y="201"/>
                </a:cubicBezTo>
                <a:cubicBezTo>
                  <a:pt x="64" y="201"/>
                  <a:pt x="64" y="201"/>
                  <a:pt x="64" y="201"/>
                </a:cubicBezTo>
                <a:cubicBezTo>
                  <a:pt x="64" y="201"/>
                  <a:pt x="64" y="201"/>
                  <a:pt x="64" y="201"/>
                </a:cubicBezTo>
                <a:cubicBezTo>
                  <a:pt x="63" y="201"/>
                  <a:pt x="63" y="201"/>
                  <a:pt x="63" y="201"/>
                </a:cubicBezTo>
                <a:cubicBezTo>
                  <a:pt x="62" y="202"/>
                  <a:pt x="62" y="202"/>
                  <a:pt x="62" y="202"/>
                </a:cubicBezTo>
                <a:cubicBezTo>
                  <a:pt x="61" y="201"/>
                  <a:pt x="61" y="201"/>
                  <a:pt x="61" y="201"/>
                </a:cubicBezTo>
                <a:cubicBezTo>
                  <a:pt x="61" y="201"/>
                  <a:pt x="61" y="201"/>
                  <a:pt x="61" y="201"/>
                </a:cubicBezTo>
                <a:cubicBezTo>
                  <a:pt x="60" y="200"/>
                  <a:pt x="60" y="200"/>
                  <a:pt x="60" y="200"/>
                </a:cubicBezTo>
                <a:cubicBezTo>
                  <a:pt x="59" y="200"/>
                  <a:pt x="59" y="200"/>
                  <a:pt x="59" y="200"/>
                </a:cubicBezTo>
                <a:cubicBezTo>
                  <a:pt x="59" y="200"/>
                  <a:pt x="59" y="200"/>
                  <a:pt x="59" y="200"/>
                </a:cubicBezTo>
                <a:cubicBezTo>
                  <a:pt x="59" y="200"/>
                  <a:pt x="59" y="200"/>
                  <a:pt x="59" y="200"/>
                </a:cubicBezTo>
                <a:cubicBezTo>
                  <a:pt x="60" y="199"/>
                  <a:pt x="60" y="199"/>
                  <a:pt x="60" y="199"/>
                </a:cubicBezTo>
                <a:cubicBezTo>
                  <a:pt x="60" y="198"/>
                  <a:pt x="60" y="198"/>
                  <a:pt x="60" y="198"/>
                </a:cubicBezTo>
                <a:cubicBezTo>
                  <a:pt x="61" y="197"/>
                  <a:pt x="61" y="197"/>
                  <a:pt x="61" y="197"/>
                </a:cubicBezTo>
                <a:cubicBezTo>
                  <a:pt x="61" y="197"/>
                  <a:pt x="61" y="197"/>
                  <a:pt x="61" y="197"/>
                </a:cubicBezTo>
                <a:cubicBezTo>
                  <a:pt x="61" y="196"/>
                  <a:pt x="61" y="196"/>
                  <a:pt x="61" y="196"/>
                </a:cubicBezTo>
                <a:cubicBezTo>
                  <a:pt x="61" y="196"/>
                  <a:pt x="61" y="196"/>
                  <a:pt x="61" y="196"/>
                </a:cubicBezTo>
                <a:cubicBezTo>
                  <a:pt x="60" y="197"/>
                  <a:pt x="60" y="197"/>
                  <a:pt x="60" y="197"/>
                </a:cubicBezTo>
                <a:cubicBezTo>
                  <a:pt x="59" y="198"/>
                  <a:pt x="59" y="198"/>
                  <a:pt x="59" y="198"/>
                </a:cubicBezTo>
                <a:cubicBezTo>
                  <a:pt x="59" y="199"/>
                  <a:pt x="59" y="199"/>
                  <a:pt x="59" y="199"/>
                </a:cubicBezTo>
                <a:cubicBezTo>
                  <a:pt x="58" y="199"/>
                  <a:pt x="58" y="199"/>
                  <a:pt x="58" y="199"/>
                </a:cubicBezTo>
                <a:cubicBezTo>
                  <a:pt x="58" y="200"/>
                  <a:pt x="58" y="200"/>
                  <a:pt x="58" y="200"/>
                </a:cubicBezTo>
                <a:cubicBezTo>
                  <a:pt x="57" y="200"/>
                  <a:pt x="57" y="200"/>
                  <a:pt x="57" y="200"/>
                </a:cubicBezTo>
                <a:cubicBezTo>
                  <a:pt x="57" y="199"/>
                  <a:pt x="57" y="199"/>
                  <a:pt x="57" y="199"/>
                </a:cubicBezTo>
                <a:cubicBezTo>
                  <a:pt x="57" y="197"/>
                  <a:pt x="57" y="197"/>
                  <a:pt x="57" y="197"/>
                </a:cubicBezTo>
                <a:cubicBezTo>
                  <a:pt x="58" y="196"/>
                  <a:pt x="58" y="196"/>
                  <a:pt x="58" y="196"/>
                </a:cubicBezTo>
                <a:cubicBezTo>
                  <a:pt x="57" y="194"/>
                  <a:pt x="57" y="194"/>
                  <a:pt x="57" y="194"/>
                </a:cubicBezTo>
                <a:cubicBezTo>
                  <a:pt x="57" y="193"/>
                  <a:pt x="57" y="193"/>
                  <a:pt x="57" y="193"/>
                </a:cubicBezTo>
                <a:cubicBezTo>
                  <a:pt x="57" y="192"/>
                  <a:pt x="57" y="192"/>
                  <a:pt x="57" y="192"/>
                </a:cubicBezTo>
                <a:cubicBezTo>
                  <a:pt x="57" y="191"/>
                  <a:pt x="57" y="191"/>
                  <a:pt x="57" y="191"/>
                </a:cubicBezTo>
                <a:cubicBezTo>
                  <a:pt x="57" y="191"/>
                  <a:pt x="57" y="191"/>
                  <a:pt x="57" y="191"/>
                </a:cubicBezTo>
                <a:cubicBezTo>
                  <a:pt x="57" y="192"/>
                  <a:pt x="57" y="192"/>
                  <a:pt x="57" y="192"/>
                </a:cubicBezTo>
                <a:cubicBezTo>
                  <a:pt x="56" y="194"/>
                  <a:pt x="56" y="194"/>
                  <a:pt x="56" y="194"/>
                </a:cubicBezTo>
                <a:cubicBezTo>
                  <a:pt x="57" y="195"/>
                  <a:pt x="57" y="195"/>
                  <a:pt x="57" y="195"/>
                </a:cubicBezTo>
                <a:cubicBezTo>
                  <a:pt x="57" y="196"/>
                  <a:pt x="57" y="196"/>
                  <a:pt x="57" y="196"/>
                </a:cubicBezTo>
                <a:cubicBezTo>
                  <a:pt x="57" y="197"/>
                  <a:pt x="57" y="197"/>
                  <a:pt x="57" y="197"/>
                </a:cubicBezTo>
                <a:cubicBezTo>
                  <a:pt x="57" y="199"/>
                  <a:pt x="57" y="199"/>
                  <a:pt x="57" y="199"/>
                </a:cubicBezTo>
                <a:cubicBezTo>
                  <a:pt x="56" y="200"/>
                  <a:pt x="56" y="200"/>
                  <a:pt x="56" y="200"/>
                </a:cubicBezTo>
                <a:cubicBezTo>
                  <a:pt x="56" y="200"/>
                  <a:pt x="56" y="200"/>
                  <a:pt x="56" y="200"/>
                </a:cubicBezTo>
                <a:cubicBezTo>
                  <a:pt x="55" y="199"/>
                  <a:pt x="55" y="199"/>
                  <a:pt x="55" y="199"/>
                </a:cubicBezTo>
                <a:cubicBezTo>
                  <a:pt x="55" y="198"/>
                  <a:pt x="55" y="198"/>
                  <a:pt x="55" y="198"/>
                </a:cubicBezTo>
                <a:cubicBezTo>
                  <a:pt x="54" y="200"/>
                  <a:pt x="54" y="200"/>
                  <a:pt x="54" y="200"/>
                </a:cubicBezTo>
                <a:cubicBezTo>
                  <a:pt x="54" y="201"/>
                  <a:pt x="54" y="201"/>
                  <a:pt x="54" y="201"/>
                </a:cubicBezTo>
                <a:cubicBezTo>
                  <a:pt x="54" y="200"/>
                  <a:pt x="54" y="200"/>
                  <a:pt x="54" y="200"/>
                </a:cubicBezTo>
                <a:cubicBezTo>
                  <a:pt x="53" y="200"/>
                  <a:pt x="53" y="200"/>
                  <a:pt x="53" y="200"/>
                </a:cubicBezTo>
                <a:cubicBezTo>
                  <a:pt x="54" y="201"/>
                  <a:pt x="54" y="201"/>
                  <a:pt x="54" y="201"/>
                </a:cubicBezTo>
                <a:cubicBezTo>
                  <a:pt x="54" y="202"/>
                  <a:pt x="54" y="202"/>
                  <a:pt x="54" y="202"/>
                </a:cubicBezTo>
                <a:cubicBezTo>
                  <a:pt x="54" y="203"/>
                  <a:pt x="54" y="203"/>
                  <a:pt x="54" y="203"/>
                </a:cubicBezTo>
                <a:cubicBezTo>
                  <a:pt x="53" y="203"/>
                  <a:pt x="53" y="203"/>
                  <a:pt x="53" y="203"/>
                </a:cubicBezTo>
                <a:cubicBezTo>
                  <a:pt x="52" y="204"/>
                  <a:pt x="52" y="204"/>
                  <a:pt x="52" y="204"/>
                </a:cubicBezTo>
                <a:cubicBezTo>
                  <a:pt x="52" y="203"/>
                  <a:pt x="52" y="203"/>
                  <a:pt x="52" y="203"/>
                </a:cubicBezTo>
                <a:cubicBezTo>
                  <a:pt x="51" y="204"/>
                  <a:pt x="51" y="204"/>
                  <a:pt x="51" y="204"/>
                </a:cubicBezTo>
                <a:cubicBezTo>
                  <a:pt x="50" y="204"/>
                  <a:pt x="50" y="204"/>
                  <a:pt x="50" y="204"/>
                </a:cubicBezTo>
                <a:cubicBezTo>
                  <a:pt x="49" y="204"/>
                  <a:pt x="49" y="204"/>
                  <a:pt x="49" y="204"/>
                </a:cubicBezTo>
                <a:cubicBezTo>
                  <a:pt x="48" y="204"/>
                  <a:pt x="48" y="204"/>
                  <a:pt x="48" y="204"/>
                </a:cubicBezTo>
                <a:cubicBezTo>
                  <a:pt x="48" y="203"/>
                  <a:pt x="48" y="203"/>
                  <a:pt x="48" y="203"/>
                </a:cubicBezTo>
                <a:cubicBezTo>
                  <a:pt x="48" y="202"/>
                  <a:pt x="48" y="202"/>
                  <a:pt x="48" y="202"/>
                </a:cubicBezTo>
                <a:cubicBezTo>
                  <a:pt x="48" y="202"/>
                  <a:pt x="48" y="202"/>
                  <a:pt x="48" y="202"/>
                </a:cubicBezTo>
                <a:cubicBezTo>
                  <a:pt x="47" y="202"/>
                  <a:pt x="47" y="202"/>
                  <a:pt x="47" y="202"/>
                </a:cubicBezTo>
                <a:cubicBezTo>
                  <a:pt x="47" y="203"/>
                  <a:pt x="47" y="203"/>
                  <a:pt x="47" y="203"/>
                </a:cubicBezTo>
                <a:cubicBezTo>
                  <a:pt x="46" y="203"/>
                  <a:pt x="46" y="203"/>
                  <a:pt x="46" y="203"/>
                </a:cubicBezTo>
                <a:cubicBezTo>
                  <a:pt x="46" y="201"/>
                  <a:pt x="46" y="201"/>
                  <a:pt x="46" y="201"/>
                </a:cubicBezTo>
                <a:cubicBezTo>
                  <a:pt x="46" y="200"/>
                  <a:pt x="46" y="200"/>
                  <a:pt x="46" y="200"/>
                </a:cubicBezTo>
                <a:cubicBezTo>
                  <a:pt x="46" y="200"/>
                  <a:pt x="46" y="200"/>
                  <a:pt x="46" y="200"/>
                </a:cubicBezTo>
                <a:cubicBezTo>
                  <a:pt x="46" y="199"/>
                  <a:pt x="46" y="199"/>
                  <a:pt x="46" y="199"/>
                </a:cubicBezTo>
                <a:cubicBezTo>
                  <a:pt x="46" y="199"/>
                  <a:pt x="46" y="199"/>
                  <a:pt x="46" y="199"/>
                </a:cubicBezTo>
                <a:cubicBezTo>
                  <a:pt x="47" y="198"/>
                  <a:pt x="47" y="198"/>
                  <a:pt x="47" y="198"/>
                </a:cubicBezTo>
                <a:cubicBezTo>
                  <a:pt x="48" y="198"/>
                  <a:pt x="48" y="198"/>
                  <a:pt x="48" y="198"/>
                </a:cubicBezTo>
                <a:cubicBezTo>
                  <a:pt x="48" y="198"/>
                  <a:pt x="48" y="198"/>
                  <a:pt x="48" y="198"/>
                </a:cubicBezTo>
                <a:cubicBezTo>
                  <a:pt x="49" y="197"/>
                  <a:pt x="49" y="197"/>
                  <a:pt x="49" y="197"/>
                </a:cubicBezTo>
                <a:cubicBezTo>
                  <a:pt x="49" y="197"/>
                  <a:pt x="49" y="197"/>
                  <a:pt x="49" y="197"/>
                </a:cubicBezTo>
                <a:cubicBezTo>
                  <a:pt x="51" y="197"/>
                  <a:pt x="51" y="197"/>
                  <a:pt x="51" y="197"/>
                </a:cubicBezTo>
                <a:cubicBezTo>
                  <a:pt x="52" y="197"/>
                  <a:pt x="52" y="197"/>
                  <a:pt x="52" y="197"/>
                </a:cubicBezTo>
                <a:cubicBezTo>
                  <a:pt x="53" y="195"/>
                  <a:pt x="53" y="195"/>
                  <a:pt x="53" y="195"/>
                </a:cubicBezTo>
                <a:cubicBezTo>
                  <a:pt x="54" y="194"/>
                  <a:pt x="54" y="194"/>
                  <a:pt x="54" y="194"/>
                </a:cubicBezTo>
                <a:cubicBezTo>
                  <a:pt x="54" y="193"/>
                  <a:pt x="54" y="193"/>
                  <a:pt x="54" y="193"/>
                </a:cubicBezTo>
                <a:cubicBezTo>
                  <a:pt x="54" y="193"/>
                  <a:pt x="54" y="193"/>
                  <a:pt x="54" y="193"/>
                </a:cubicBezTo>
                <a:cubicBezTo>
                  <a:pt x="53" y="193"/>
                  <a:pt x="53" y="193"/>
                  <a:pt x="53" y="193"/>
                </a:cubicBezTo>
                <a:cubicBezTo>
                  <a:pt x="53" y="194"/>
                  <a:pt x="53" y="194"/>
                  <a:pt x="53" y="194"/>
                </a:cubicBezTo>
                <a:cubicBezTo>
                  <a:pt x="52" y="196"/>
                  <a:pt x="52" y="196"/>
                  <a:pt x="52" y="196"/>
                </a:cubicBezTo>
                <a:cubicBezTo>
                  <a:pt x="50" y="196"/>
                  <a:pt x="50" y="196"/>
                  <a:pt x="50" y="196"/>
                </a:cubicBezTo>
                <a:cubicBezTo>
                  <a:pt x="49" y="196"/>
                  <a:pt x="49" y="196"/>
                  <a:pt x="49" y="196"/>
                </a:cubicBezTo>
                <a:cubicBezTo>
                  <a:pt x="48" y="195"/>
                  <a:pt x="48" y="195"/>
                  <a:pt x="48" y="195"/>
                </a:cubicBezTo>
                <a:cubicBezTo>
                  <a:pt x="48" y="194"/>
                  <a:pt x="48" y="194"/>
                  <a:pt x="48" y="194"/>
                </a:cubicBezTo>
                <a:cubicBezTo>
                  <a:pt x="49" y="194"/>
                  <a:pt x="49" y="194"/>
                  <a:pt x="49" y="194"/>
                </a:cubicBezTo>
                <a:cubicBezTo>
                  <a:pt x="50" y="192"/>
                  <a:pt x="50" y="192"/>
                  <a:pt x="50" y="192"/>
                </a:cubicBezTo>
                <a:cubicBezTo>
                  <a:pt x="51" y="192"/>
                  <a:pt x="51" y="192"/>
                  <a:pt x="51" y="192"/>
                </a:cubicBezTo>
                <a:cubicBezTo>
                  <a:pt x="51" y="192"/>
                  <a:pt x="51" y="192"/>
                  <a:pt x="51" y="192"/>
                </a:cubicBezTo>
                <a:cubicBezTo>
                  <a:pt x="51" y="191"/>
                  <a:pt x="51" y="191"/>
                  <a:pt x="51" y="191"/>
                </a:cubicBezTo>
                <a:cubicBezTo>
                  <a:pt x="52" y="191"/>
                  <a:pt x="52" y="191"/>
                  <a:pt x="52" y="191"/>
                </a:cubicBezTo>
                <a:cubicBezTo>
                  <a:pt x="52" y="191"/>
                  <a:pt x="52" y="191"/>
                  <a:pt x="52" y="191"/>
                </a:cubicBezTo>
                <a:cubicBezTo>
                  <a:pt x="53" y="190"/>
                  <a:pt x="53" y="190"/>
                  <a:pt x="53" y="190"/>
                </a:cubicBezTo>
                <a:cubicBezTo>
                  <a:pt x="52" y="190"/>
                  <a:pt x="52" y="190"/>
                  <a:pt x="52" y="190"/>
                </a:cubicBezTo>
                <a:cubicBezTo>
                  <a:pt x="52" y="189"/>
                  <a:pt x="52" y="189"/>
                  <a:pt x="52" y="189"/>
                </a:cubicBezTo>
                <a:cubicBezTo>
                  <a:pt x="52" y="189"/>
                  <a:pt x="52" y="189"/>
                  <a:pt x="52" y="189"/>
                </a:cubicBezTo>
                <a:cubicBezTo>
                  <a:pt x="52" y="189"/>
                  <a:pt x="52" y="189"/>
                  <a:pt x="52" y="189"/>
                </a:cubicBezTo>
                <a:cubicBezTo>
                  <a:pt x="51" y="190"/>
                  <a:pt x="51" y="190"/>
                  <a:pt x="51" y="190"/>
                </a:cubicBezTo>
                <a:cubicBezTo>
                  <a:pt x="50" y="190"/>
                  <a:pt x="50" y="190"/>
                  <a:pt x="50" y="190"/>
                </a:cubicBezTo>
                <a:cubicBezTo>
                  <a:pt x="49" y="190"/>
                  <a:pt x="49" y="190"/>
                  <a:pt x="49" y="190"/>
                </a:cubicBezTo>
                <a:cubicBezTo>
                  <a:pt x="49" y="189"/>
                  <a:pt x="49" y="189"/>
                  <a:pt x="49" y="189"/>
                </a:cubicBezTo>
                <a:cubicBezTo>
                  <a:pt x="49" y="188"/>
                  <a:pt x="49" y="188"/>
                  <a:pt x="49" y="188"/>
                </a:cubicBezTo>
                <a:cubicBezTo>
                  <a:pt x="50" y="188"/>
                  <a:pt x="50" y="188"/>
                  <a:pt x="50" y="188"/>
                </a:cubicBezTo>
                <a:cubicBezTo>
                  <a:pt x="51" y="188"/>
                  <a:pt x="51" y="188"/>
                  <a:pt x="51" y="188"/>
                </a:cubicBezTo>
                <a:cubicBezTo>
                  <a:pt x="52" y="188"/>
                  <a:pt x="52" y="188"/>
                  <a:pt x="52" y="188"/>
                </a:cubicBezTo>
                <a:cubicBezTo>
                  <a:pt x="52" y="188"/>
                  <a:pt x="52" y="188"/>
                  <a:pt x="52" y="188"/>
                </a:cubicBezTo>
                <a:cubicBezTo>
                  <a:pt x="54" y="188"/>
                  <a:pt x="54" y="188"/>
                  <a:pt x="54" y="188"/>
                </a:cubicBezTo>
                <a:cubicBezTo>
                  <a:pt x="54" y="186"/>
                  <a:pt x="54" y="186"/>
                  <a:pt x="54" y="186"/>
                </a:cubicBezTo>
                <a:cubicBezTo>
                  <a:pt x="54" y="185"/>
                  <a:pt x="54" y="185"/>
                  <a:pt x="54" y="185"/>
                </a:cubicBezTo>
                <a:cubicBezTo>
                  <a:pt x="54" y="185"/>
                  <a:pt x="54" y="185"/>
                  <a:pt x="54" y="185"/>
                </a:cubicBezTo>
                <a:cubicBezTo>
                  <a:pt x="55" y="183"/>
                  <a:pt x="55" y="183"/>
                  <a:pt x="55" y="183"/>
                </a:cubicBezTo>
                <a:cubicBezTo>
                  <a:pt x="55" y="182"/>
                  <a:pt x="55" y="182"/>
                  <a:pt x="55" y="182"/>
                </a:cubicBezTo>
                <a:cubicBezTo>
                  <a:pt x="55" y="181"/>
                  <a:pt x="55" y="181"/>
                  <a:pt x="55" y="181"/>
                </a:cubicBezTo>
                <a:cubicBezTo>
                  <a:pt x="55" y="180"/>
                  <a:pt x="55" y="180"/>
                  <a:pt x="55" y="180"/>
                </a:cubicBezTo>
                <a:cubicBezTo>
                  <a:pt x="54" y="180"/>
                  <a:pt x="54" y="180"/>
                  <a:pt x="54" y="180"/>
                </a:cubicBezTo>
                <a:cubicBezTo>
                  <a:pt x="54" y="180"/>
                  <a:pt x="54" y="180"/>
                  <a:pt x="54" y="180"/>
                </a:cubicBezTo>
                <a:cubicBezTo>
                  <a:pt x="53" y="179"/>
                  <a:pt x="53" y="179"/>
                  <a:pt x="53" y="179"/>
                </a:cubicBezTo>
                <a:cubicBezTo>
                  <a:pt x="52" y="179"/>
                  <a:pt x="52" y="179"/>
                  <a:pt x="52" y="179"/>
                </a:cubicBezTo>
                <a:cubicBezTo>
                  <a:pt x="51" y="179"/>
                  <a:pt x="51" y="179"/>
                  <a:pt x="51" y="179"/>
                </a:cubicBezTo>
                <a:cubicBezTo>
                  <a:pt x="51" y="178"/>
                  <a:pt x="51" y="178"/>
                  <a:pt x="51" y="178"/>
                </a:cubicBezTo>
                <a:cubicBezTo>
                  <a:pt x="52" y="178"/>
                  <a:pt x="52" y="178"/>
                  <a:pt x="52" y="178"/>
                </a:cubicBezTo>
                <a:cubicBezTo>
                  <a:pt x="53" y="178"/>
                  <a:pt x="53" y="178"/>
                  <a:pt x="53" y="178"/>
                </a:cubicBezTo>
                <a:cubicBezTo>
                  <a:pt x="53" y="178"/>
                  <a:pt x="53" y="178"/>
                  <a:pt x="53" y="178"/>
                </a:cubicBezTo>
                <a:cubicBezTo>
                  <a:pt x="54" y="177"/>
                  <a:pt x="54" y="177"/>
                  <a:pt x="54" y="177"/>
                </a:cubicBezTo>
                <a:cubicBezTo>
                  <a:pt x="54" y="176"/>
                  <a:pt x="54" y="176"/>
                  <a:pt x="54" y="176"/>
                </a:cubicBezTo>
                <a:cubicBezTo>
                  <a:pt x="55" y="176"/>
                  <a:pt x="55" y="176"/>
                  <a:pt x="55" y="176"/>
                </a:cubicBezTo>
                <a:cubicBezTo>
                  <a:pt x="55" y="175"/>
                  <a:pt x="55" y="175"/>
                  <a:pt x="55" y="175"/>
                </a:cubicBezTo>
                <a:cubicBezTo>
                  <a:pt x="54" y="174"/>
                  <a:pt x="54" y="174"/>
                  <a:pt x="54" y="174"/>
                </a:cubicBezTo>
                <a:cubicBezTo>
                  <a:pt x="53" y="174"/>
                  <a:pt x="53" y="174"/>
                  <a:pt x="53" y="174"/>
                </a:cubicBezTo>
                <a:cubicBezTo>
                  <a:pt x="53" y="174"/>
                  <a:pt x="53" y="174"/>
                  <a:pt x="53" y="174"/>
                </a:cubicBezTo>
                <a:cubicBezTo>
                  <a:pt x="53" y="173"/>
                  <a:pt x="53" y="173"/>
                  <a:pt x="53" y="173"/>
                </a:cubicBezTo>
                <a:cubicBezTo>
                  <a:pt x="54" y="172"/>
                  <a:pt x="54" y="172"/>
                  <a:pt x="54" y="172"/>
                </a:cubicBezTo>
                <a:cubicBezTo>
                  <a:pt x="54" y="173"/>
                  <a:pt x="54" y="173"/>
                  <a:pt x="54" y="173"/>
                </a:cubicBezTo>
                <a:cubicBezTo>
                  <a:pt x="54" y="172"/>
                  <a:pt x="54" y="172"/>
                  <a:pt x="54" y="172"/>
                </a:cubicBezTo>
                <a:cubicBezTo>
                  <a:pt x="53" y="171"/>
                  <a:pt x="53" y="171"/>
                  <a:pt x="53" y="171"/>
                </a:cubicBezTo>
                <a:cubicBezTo>
                  <a:pt x="53" y="170"/>
                  <a:pt x="53" y="170"/>
                  <a:pt x="53" y="170"/>
                </a:cubicBezTo>
                <a:cubicBezTo>
                  <a:pt x="53" y="169"/>
                  <a:pt x="53" y="169"/>
                  <a:pt x="53" y="169"/>
                </a:cubicBezTo>
                <a:cubicBezTo>
                  <a:pt x="54" y="170"/>
                  <a:pt x="54" y="170"/>
                  <a:pt x="54" y="170"/>
                </a:cubicBezTo>
                <a:cubicBezTo>
                  <a:pt x="54" y="170"/>
                  <a:pt x="54" y="170"/>
                  <a:pt x="54" y="170"/>
                </a:cubicBezTo>
                <a:cubicBezTo>
                  <a:pt x="54" y="169"/>
                  <a:pt x="54" y="169"/>
                  <a:pt x="54" y="169"/>
                </a:cubicBezTo>
                <a:cubicBezTo>
                  <a:pt x="54" y="168"/>
                  <a:pt x="54" y="168"/>
                  <a:pt x="54" y="168"/>
                </a:cubicBezTo>
                <a:cubicBezTo>
                  <a:pt x="54" y="167"/>
                  <a:pt x="54" y="167"/>
                  <a:pt x="54" y="167"/>
                </a:cubicBezTo>
                <a:cubicBezTo>
                  <a:pt x="54" y="166"/>
                  <a:pt x="54" y="166"/>
                  <a:pt x="54" y="166"/>
                </a:cubicBezTo>
                <a:cubicBezTo>
                  <a:pt x="53" y="165"/>
                  <a:pt x="53" y="165"/>
                  <a:pt x="53" y="165"/>
                </a:cubicBezTo>
                <a:cubicBezTo>
                  <a:pt x="53" y="165"/>
                  <a:pt x="53" y="165"/>
                  <a:pt x="53" y="165"/>
                </a:cubicBezTo>
                <a:cubicBezTo>
                  <a:pt x="53" y="164"/>
                  <a:pt x="53" y="164"/>
                  <a:pt x="53" y="164"/>
                </a:cubicBezTo>
                <a:cubicBezTo>
                  <a:pt x="54" y="163"/>
                  <a:pt x="54" y="163"/>
                  <a:pt x="54" y="163"/>
                </a:cubicBezTo>
                <a:cubicBezTo>
                  <a:pt x="54" y="162"/>
                  <a:pt x="54" y="162"/>
                  <a:pt x="54" y="162"/>
                </a:cubicBezTo>
                <a:cubicBezTo>
                  <a:pt x="53" y="162"/>
                  <a:pt x="53" y="162"/>
                  <a:pt x="53" y="162"/>
                </a:cubicBezTo>
                <a:cubicBezTo>
                  <a:pt x="53" y="162"/>
                  <a:pt x="53" y="162"/>
                  <a:pt x="53" y="162"/>
                </a:cubicBezTo>
                <a:cubicBezTo>
                  <a:pt x="52" y="163"/>
                  <a:pt x="52" y="163"/>
                  <a:pt x="52" y="163"/>
                </a:cubicBezTo>
                <a:cubicBezTo>
                  <a:pt x="51" y="163"/>
                  <a:pt x="51" y="163"/>
                  <a:pt x="51" y="163"/>
                </a:cubicBezTo>
                <a:cubicBezTo>
                  <a:pt x="51" y="163"/>
                  <a:pt x="51" y="163"/>
                  <a:pt x="51" y="163"/>
                </a:cubicBezTo>
                <a:cubicBezTo>
                  <a:pt x="50" y="164"/>
                  <a:pt x="50" y="164"/>
                  <a:pt x="50" y="164"/>
                </a:cubicBezTo>
                <a:cubicBezTo>
                  <a:pt x="49" y="163"/>
                  <a:pt x="49" y="163"/>
                  <a:pt x="49" y="163"/>
                </a:cubicBezTo>
                <a:cubicBezTo>
                  <a:pt x="50" y="163"/>
                  <a:pt x="50" y="163"/>
                  <a:pt x="50" y="163"/>
                </a:cubicBezTo>
                <a:cubicBezTo>
                  <a:pt x="51" y="162"/>
                  <a:pt x="51" y="162"/>
                  <a:pt x="51" y="162"/>
                </a:cubicBezTo>
                <a:cubicBezTo>
                  <a:pt x="52" y="162"/>
                  <a:pt x="52" y="162"/>
                  <a:pt x="52" y="162"/>
                </a:cubicBezTo>
                <a:cubicBezTo>
                  <a:pt x="52" y="161"/>
                  <a:pt x="52" y="161"/>
                  <a:pt x="52" y="161"/>
                </a:cubicBezTo>
                <a:cubicBezTo>
                  <a:pt x="53" y="160"/>
                  <a:pt x="53" y="160"/>
                  <a:pt x="53" y="160"/>
                </a:cubicBezTo>
                <a:cubicBezTo>
                  <a:pt x="53" y="159"/>
                  <a:pt x="53" y="159"/>
                  <a:pt x="53" y="159"/>
                </a:cubicBezTo>
                <a:cubicBezTo>
                  <a:pt x="54" y="159"/>
                  <a:pt x="54" y="159"/>
                  <a:pt x="54" y="159"/>
                </a:cubicBezTo>
                <a:cubicBezTo>
                  <a:pt x="55" y="158"/>
                  <a:pt x="55" y="158"/>
                  <a:pt x="55" y="158"/>
                </a:cubicBezTo>
                <a:cubicBezTo>
                  <a:pt x="55" y="157"/>
                  <a:pt x="55" y="157"/>
                  <a:pt x="55" y="157"/>
                </a:cubicBezTo>
                <a:cubicBezTo>
                  <a:pt x="54" y="157"/>
                  <a:pt x="54" y="157"/>
                  <a:pt x="54" y="157"/>
                </a:cubicBezTo>
                <a:cubicBezTo>
                  <a:pt x="53" y="156"/>
                  <a:pt x="53" y="156"/>
                  <a:pt x="53" y="156"/>
                </a:cubicBezTo>
                <a:cubicBezTo>
                  <a:pt x="53" y="155"/>
                  <a:pt x="53" y="155"/>
                  <a:pt x="53" y="155"/>
                </a:cubicBezTo>
                <a:cubicBezTo>
                  <a:pt x="53" y="154"/>
                  <a:pt x="53" y="154"/>
                  <a:pt x="53" y="154"/>
                </a:cubicBezTo>
                <a:cubicBezTo>
                  <a:pt x="52" y="154"/>
                  <a:pt x="52" y="154"/>
                  <a:pt x="52" y="154"/>
                </a:cubicBezTo>
                <a:cubicBezTo>
                  <a:pt x="52" y="153"/>
                  <a:pt x="52" y="153"/>
                  <a:pt x="52" y="153"/>
                </a:cubicBezTo>
                <a:cubicBezTo>
                  <a:pt x="52" y="153"/>
                  <a:pt x="52" y="153"/>
                  <a:pt x="52" y="153"/>
                </a:cubicBezTo>
                <a:cubicBezTo>
                  <a:pt x="52" y="152"/>
                  <a:pt x="52" y="152"/>
                  <a:pt x="52" y="152"/>
                </a:cubicBezTo>
                <a:cubicBezTo>
                  <a:pt x="52" y="152"/>
                  <a:pt x="52" y="152"/>
                  <a:pt x="52" y="152"/>
                </a:cubicBezTo>
                <a:cubicBezTo>
                  <a:pt x="52" y="150"/>
                  <a:pt x="52" y="150"/>
                  <a:pt x="52" y="150"/>
                </a:cubicBezTo>
                <a:cubicBezTo>
                  <a:pt x="51" y="149"/>
                  <a:pt x="51" y="149"/>
                  <a:pt x="51" y="149"/>
                </a:cubicBezTo>
                <a:cubicBezTo>
                  <a:pt x="49" y="148"/>
                  <a:pt x="49" y="148"/>
                  <a:pt x="49" y="148"/>
                </a:cubicBezTo>
                <a:cubicBezTo>
                  <a:pt x="49" y="147"/>
                  <a:pt x="49" y="147"/>
                  <a:pt x="49" y="147"/>
                </a:cubicBezTo>
                <a:cubicBezTo>
                  <a:pt x="49" y="146"/>
                  <a:pt x="49" y="146"/>
                  <a:pt x="49" y="146"/>
                </a:cubicBezTo>
                <a:cubicBezTo>
                  <a:pt x="48" y="146"/>
                  <a:pt x="48" y="146"/>
                  <a:pt x="48" y="146"/>
                </a:cubicBezTo>
                <a:cubicBezTo>
                  <a:pt x="48" y="145"/>
                  <a:pt x="48" y="145"/>
                  <a:pt x="48" y="145"/>
                </a:cubicBezTo>
                <a:cubicBezTo>
                  <a:pt x="49" y="145"/>
                  <a:pt x="49" y="145"/>
                  <a:pt x="49" y="145"/>
                </a:cubicBezTo>
                <a:cubicBezTo>
                  <a:pt x="50" y="144"/>
                  <a:pt x="50" y="144"/>
                  <a:pt x="50" y="144"/>
                </a:cubicBezTo>
                <a:cubicBezTo>
                  <a:pt x="51" y="144"/>
                  <a:pt x="51" y="144"/>
                  <a:pt x="51" y="144"/>
                </a:cubicBezTo>
                <a:cubicBezTo>
                  <a:pt x="51" y="143"/>
                  <a:pt x="51" y="143"/>
                  <a:pt x="51" y="143"/>
                </a:cubicBezTo>
                <a:cubicBezTo>
                  <a:pt x="51" y="143"/>
                  <a:pt x="51" y="143"/>
                  <a:pt x="51" y="143"/>
                </a:cubicBezTo>
                <a:cubicBezTo>
                  <a:pt x="50" y="143"/>
                  <a:pt x="50" y="143"/>
                  <a:pt x="50" y="143"/>
                </a:cubicBezTo>
                <a:cubicBezTo>
                  <a:pt x="50" y="142"/>
                  <a:pt x="50" y="142"/>
                  <a:pt x="50" y="142"/>
                </a:cubicBezTo>
                <a:cubicBezTo>
                  <a:pt x="50" y="142"/>
                  <a:pt x="50" y="142"/>
                  <a:pt x="50" y="142"/>
                </a:cubicBezTo>
                <a:cubicBezTo>
                  <a:pt x="51" y="141"/>
                  <a:pt x="51" y="141"/>
                  <a:pt x="51" y="141"/>
                </a:cubicBezTo>
                <a:cubicBezTo>
                  <a:pt x="52" y="140"/>
                  <a:pt x="52" y="140"/>
                  <a:pt x="52" y="140"/>
                </a:cubicBezTo>
                <a:cubicBezTo>
                  <a:pt x="52" y="139"/>
                  <a:pt x="52" y="139"/>
                  <a:pt x="52" y="139"/>
                </a:cubicBezTo>
                <a:cubicBezTo>
                  <a:pt x="51" y="139"/>
                  <a:pt x="51" y="139"/>
                  <a:pt x="51" y="139"/>
                </a:cubicBezTo>
                <a:cubicBezTo>
                  <a:pt x="52" y="138"/>
                  <a:pt x="52" y="138"/>
                  <a:pt x="52" y="138"/>
                </a:cubicBezTo>
                <a:cubicBezTo>
                  <a:pt x="51" y="138"/>
                  <a:pt x="51" y="138"/>
                  <a:pt x="51" y="138"/>
                </a:cubicBezTo>
                <a:cubicBezTo>
                  <a:pt x="51" y="138"/>
                  <a:pt x="51" y="138"/>
                  <a:pt x="51" y="138"/>
                </a:cubicBezTo>
                <a:cubicBezTo>
                  <a:pt x="50" y="136"/>
                  <a:pt x="50" y="136"/>
                  <a:pt x="50" y="136"/>
                </a:cubicBezTo>
                <a:cubicBezTo>
                  <a:pt x="48" y="135"/>
                  <a:pt x="48" y="135"/>
                  <a:pt x="48" y="135"/>
                </a:cubicBezTo>
                <a:cubicBezTo>
                  <a:pt x="48" y="134"/>
                  <a:pt x="48" y="134"/>
                  <a:pt x="48" y="134"/>
                </a:cubicBezTo>
                <a:cubicBezTo>
                  <a:pt x="47" y="134"/>
                  <a:pt x="47" y="134"/>
                  <a:pt x="47" y="134"/>
                </a:cubicBezTo>
                <a:cubicBezTo>
                  <a:pt x="47" y="134"/>
                  <a:pt x="47" y="134"/>
                  <a:pt x="47" y="134"/>
                </a:cubicBezTo>
                <a:cubicBezTo>
                  <a:pt x="47" y="135"/>
                  <a:pt x="47" y="135"/>
                  <a:pt x="47" y="135"/>
                </a:cubicBezTo>
                <a:cubicBezTo>
                  <a:pt x="46" y="135"/>
                  <a:pt x="46" y="135"/>
                  <a:pt x="46" y="135"/>
                </a:cubicBezTo>
                <a:cubicBezTo>
                  <a:pt x="46" y="134"/>
                  <a:pt x="46" y="134"/>
                  <a:pt x="46" y="134"/>
                </a:cubicBezTo>
                <a:cubicBezTo>
                  <a:pt x="46" y="133"/>
                  <a:pt x="46" y="133"/>
                  <a:pt x="46" y="133"/>
                </a:cubicBezTo>
                <a:cubicBezTo>
                  <a:pt x="45" y="133"/>
                  <a:pt x="45" y="133"/>
                  <a:pt x="45" y="133"/>
                </a:cubicBezTo>
                <a:cubicBezTo>
                  <a:pt x="44" y="132"/>
                  <a:pt x="44" y="132"/>
                  <a:pt x="44" y="132"/>
                </a:cubicBezTo>
                <a:cubicBezTo>
                  <a:pt x="43" y="132"/>
                  <a:pt x="43" y="132"/>
                  <a:pt x="43" y="132"/>
                </a:cubicBezTo>
                <a:cubicBezTo>
                  <a:pt x="43" y="131"/>
                  <a:pt x="43" y="131"/>
                  <a:pt x="43" y="131"/>
                </a:cubicBezTo>
                <a:cubicBezTo>
                  <a:pt x="43" y="132"/>
                  <a:pt x="43" y="132"/>
                  <a:pt x="43" y="132"/>
                </a:cubicBezTo>
                <a:cubicBezTo>
                  <a:pt x="42" y="132"/>
                  <a:pt x="42" y="132"/>
                  <a:pt x="42" y="132"/>
                </a:cubicBezTo>
                <a:cubicBezTo>
                  <a:pt x="42" y="131"/>
                  <a:pt x="42" y="131"/>
                  <a:pt x="42" y="131"/>
                </a:cubicBezTo>
                <a:cubicBezTo>
                  <a:pt x="42" y="130"/>
                  <a:pt x="42" y="130"/>
                  <a:pt x="42" y="130"/>
                </a:cubicBezTo>
                <a:cubicBezTo>
                  <a:pt x="41" y="129"/>
                  <a:pt x="41" y="129"/>
                  <a:pt x="41" y="129"/>
                </a:cubicBezTo>
                <a:cubicBezTo>
                  <a:pt x="40" y="128"/>
                  <a:pt x="40" y="128"/>
                  <a:pt x="40" y="128"/>
                </a:cubicBezTo>
                <a:cubicBezTo>
                  <a:pt x="39" y="128"/>
                  <a:pt x="39" y="128"/>
                  <a:pt x="39" y="128"/>
                </a:cubicBezTo>
                <a:cubicBezTo>
                  <a:pt x="39" y="129"/>
                  <a:pt x="39" y="129"/>
                  <a:pt x="39" y="129"/>
                </a:cubicBezTo>
                <a:cubicBezTo>
                  <a:pt x="38" y="128"/>
                  <a:pt x="38" y="128"/>
                  <a:pt x="38" y="128"/>
                </a:cubicBezTo>
                <a:cubicBezTo>
                  <a:pt x="36" y="127"/>
                  <a:pt x="36" y="127"/>
                  <a:pt x="36" y="127"/>
                </a:cubicBezTo>
                <a:cubicBezTo>
                  <a:pt x="35" y="126"/>
                  <a:pt x="35" y="126"/>
                  <a:pt x="35" y="126"/>
                </a:cubicBezTo>
                <a:cubicBezTo>
                  <a:pt x="34" y="125"/>
                  <a:pt x="34" y="125"/>
                  <a:pt x="34" y="125"/>
                </a:cubicBezTo>
                <a:cubicBezTo>
                  <a:pt x="33" y="125"/>
                  <a:pt x="33" y="125"/>
                  <a:pt x="33" y="125"/>
                </a:cubicBezTo>
                <a:cubicBezTo>
                  <a:pt x="31" y="125"/>
                  <a:pt x="31" y="125"/>
                  <a:pt x="31" y="125"/>
                </a:cubicBezTo>
                <a:cubicBezTo>
                  <a:pt x="30" y="126"/>
                  <a:pt x="30" y="126"/>
                  <a:pt x="30" y="126"/>
                </a:cubicBezTo>
                <a:cubicBezTo>
                  <a:pt x="30" y="127"/>
                  <a:pt x="30" y="127"/>
                  <a:pt x="30" y="127"/>
                </a:cubicBezTo>
                <a:cubicBezTo>
                  <a:pt x="29" y="128"/>
                  <a:pt x="29" y="128"/>
                  <a:pt x="29" y="128"/>
                </a:cubicBezTo>
                <a:cubicBezTo>
                  <a:pt x="28" y="129"/>
                  <a:pt x="28" y="129"/>
                  <a:pt x="28" y="129"/>
                </a:cubicBezTo>
                <a:cubicBezTo>
                  <a:pt x="28" y="128"/>
                  <a:pt x="28" y="128"/>
                  <a:pt x="28" y="128"/>
                </a:cubicBezTo>
                <a:cubicBezTo>
                  <a:pt x="29" y="127"/>
                  <a:pt x="29" y="127"/>
                  <a:pt x="29" y="127"/>
                </a:cubicBezTo>
                <a:cubicBezTo>
                  <a:pt x="29" y="125"/>
                  <a:pt x="29" y="125"/>
                  <a:pt x="29" y="125"/>
                </a:cubicBezTo>
                <a:cubicBezTo>
                  <a:pt x="28" y="125"/>
                  <a:pt x="28" y="125"/>
                  <a:pt x="28" y="125"/>
                </a:cubicBezTo>
                <a:cubicBezTo>
                  <a:pt x="27" y="125"/>
                  <a:pt x="27" y="125"/>
                  <a:pt x="27" y="125"/>
                </a:cubicBezTo>
                <a:cubicBezTo>
                  <a:pt x="26" y="126"/>
                  <a:pt x="26" y="126"/>
                  <a:pt x="26" y="126"/>
                </a:cubicBezTo>
                <a:cubicBezTo>
                  <a:pt x="26" y="127"/>
                  <a:pt x="26" y="127"/>
                  <a:pt x="26" y="127"/>
                </a:cubicBezTo>
                <a:cubicBezTo>
                  <a:pt x="25" y="127"/>
                  <a:pt x="25" y="127"/>
                  <a:pt x="25" y="127"/>
                </a:cubicBezTo>
                <a:cubicBezTo>
                  <a:pt x="25" y="127"/>
                  <a:pt x="25" y="127"/>
                  <a:pt x="25" y="127"/>
                </a:cubicBezTo>
                <a:cubicBezTo>
                  <a:pt x="24" y="125"/>
                  <a:pt x="24" y="125"/>
                  <a:pt x="24" y="125"/>
                </a:cubicBezTo>
                <a:cubicBezTo>
                  <a:pt x="23" y="125"/>
                  <a:pt x="23" y="125"/>
                  <a:pt x="23" y="125"/>
                </a:cubicBezTo>
                <a:cubicBezTo>
                  <a:pt x="23" y="126"/>
                  <a:pt x="23" y="126"/>
                  <a:pt x="23" y="126"/>
                </a:cubicBezTo>
                <a:cubicBezTo>
                  <a:pt x="23" y="128"/>
                  <a:pt x="23" y="128"/>
                  <a:pt x="23" y="128"/>
                </a:cubicBezTo>
                <a:cubicBezTo>
                  <a:pt x="22" y="128"/>
                  <a:pt x="22" y="128"/>
                  <a:pt x="22" y="128"/>
                </a:cubicBezTo>
                <a:cubicBezTo>
                  <a:pt x="21" y="128"/>
                  <a:pt x="21" y="128"/>
                  <a:pt x="21" y="128"/>
                </a:cubicBezTo>
                <a:cubicBezTo>
                  <a:pt x="21" y="127"/>
                  <a:pt x="21" y="127"/>
                  <a:pt x="21" y="127"/>
                </a:cubicBezTo>
                <a:cubicBezTo>
                  <a:pt x="22" y="125"/>
                  <a:pt x="22" y="125"/>
                  <a:pt x="22" y="125"/>
                </a:cubicBezTo>
                <a:cubicBezTo>
                  <a:pt x="23" y="125"/>
                  <a:pt x="23" y="125"/>
                  <a:pt x="23" y="125"/>
                </a:cubicBezTo>
                <a:cubicBezTo>
                  <a:pt x="22" y="124"/>
                  <a:pt x="22" y="124"/>
                  <a:pt x="22" y="124"/>
                </a:cubicBezTo>
                <a:cubicBezTo>
                  <a:pt x="22" y="124"/>
                  <a:pt x="22" y="124"/>
                  <a:pt x="22" y="124"/>
                </a:cubicBezTo>
                <a:cubicBezTo>
                  <a:pt x="21" y="124"/>
                  <a:pt x="21" y="124"/>
                  <a:pt x="21" y="124"/>
                </a:cubicBezTo>
                <a:cubicBezTo>
                  <a:pt x="20" y="125"/>
                  <a:pt x="20" y="125"/>
                  <a:pt x="20" y="125"/>
                </a:cubicBezTo>
                <a:cubicBezTo>
                  <a:pt x="19" y="125"/>
                  <a:pt x="19" y="125"/>
                  <a:pt x="19" y="125"/>
                </a:cubicBezTo>
                <a:cubicBezTo>
                  <a:pt x="19" y="125"/>
                  <a:pt x="19" y="125"/>
                  <a:pt x="19" y="125"/>
                </a:cubicBezTo>
                <a:cubicBezTo>
                  <a:pt x="19" y="126"/>
                  <a:pt x="19" y="126"/>
                  <a:pt x="19" y="126"/>
                </a:cubicBezTo>
                <a:cubicBezTo>
                  <a:pt x="18" y="125"/>
                  <a:pt x="18" y="125"/>
                  <a:pt x="18" y="125"/>
                </a:cubicBezTo>
                <a:cubicBezTo>
                  <a:pt x="18" y="124"/>
                  <a:pt x="18" y="124"/>
                  <a:pt x="18" y="124"/>
                </a:cubicBezTo>
                <a:cubicBezTo>
                  <a:pt x="18" y="123"/>
                  <a:pt x="18" y="123"/>
                  <a:pt x="18" y="123"/>
                </a:cubicBezTo>
                <a:cubicBezTo>
                  <a:pt x="18" y="122"/>
                  <a:pt x="18" y="122"/>
                  <a:pt x="18" y="122"/>
                </a:cubicBezTo>
                <a:cubicBezTo>
                  <a:pt x="17" y="122"/>
                  <a:pt x="17" y="122"/>
                  <a:pt x="17" y="122"/>
                </a:cubicBezTo>
                <a:cubicBezTo>
                  <a:pt x="17" y="122"/>
                  <a:pt x="17" y="122"/>
                  <a:pt x="17" y="122"/>
                </a:cubicBezTo>
                <a:cubicBezTo>
                  <a:pt x="16" y="123"/>
                  <a:pt x="16" y="123"/>
                  <a:pt x="16" y="123"/>
                </a:cubicBezTo>
                <a:cubicBezTo>
                  <a:pt x="16" y="124"/>
                  <a:pt x="16" y="124"/>
                  <a:pt x="16" y="124"/>
                </a:cubicBezTo>
                <a:cubicBezTo>
                  <a:pt x="16" y="125"/>
                  <a:pt x="16" y="125"/>
                  <a:pt x="16" y="125"/>
                </a:cubicBezTo>
                <a:cubicBezTo>
                  <a:pt x="16" y="126"/>
                  <a:pt x="16" y="126"/>
                  <a:pt x="16" y="126"/>
                </a:cubicBezTo>
                <a:cubicBezTo>
                  <a:pt x="16" y="127"/>
                  <a:pt x="16" y="127"/>
                  <a:pt x="16" y="127"/>
                </a:cubicBezTo>
                <a:cubicBezTo>
                  <a:pt x="16" y="128"/>
                  <a:pt x="16" y="128"/>
                  <a:pt x="16" y="128"/>
                </a:cubicBezTo>
                <a:cubicBezTo>
                  <a:pt x="15" y="129"/>
                  <a:pt x="15" y="129"/>
                  <a:pt x="15" y="129"/>
                </a:cubicBezTo>
                <a:cubicBezTo>
                  <a:pt x="15" y="128"/>
                  <a:pt x="15" y="128"/>
                  <a:pt x="15" y="128"/>
                </a:cubicBezTo>
                <a:cubicBezTo>
                  <a:pt x="14" y="127"/>
                  <a:pt x="14" y="127"/>
                  <a:pt x="14" y="127"/>
                </a:cubicBezTo>
                <a:cubicBezTo>
                  <a:pt x="12" y="126"/>
                  <a:pt x="12" y="126"/>
                  <a:pt x="12" y="126"/>
                </a:cubicBezTo>
                <a:cubicBezTo>
                  <a:pt x="11" y="126"/>
                  <a:pt x="11" y="126"/>
                  <a:pt x="11" y="126"/>
                </a:cubicBezTo>
                <a:cubicBezTo>
                  <a:pt x="10" y="125"/>
                  <a:pt x="10" y="125"/>
                  <a:pt x="10" y="125"/>
                </a:cubicBezTo>
                <a:cubicBezTo>
                  <a:pt x="9" y="124"/>
                  <a:pt x="9" y="124"/>
                  <a:pt x="9" y="124"/>
                </a:cubicBezTo>
                <a:cubicBezTo>
                  <a:pt x="9" y="124"/>
                  <a:pt x="9" y="124"/>
                  <a:pt x="9" y="124"/>
                </a:cubicBezTo>
                <a:cubicBezTo>
                  <a:pt x="10" y="123"/>
                  <a:pt x="10" y="123"/>
                  <a:pt x="10" y="123"/>
                </a:cubicBezTo>
                <a:cubicBezTo>
                  <a:pt x="8" y="123"/>
                  <a:pt x="8" y="123"/>
                  <a:pt x="8" y="123"/>
                </a:cubicBezTo>
                <a:cubicBezTo>
                  <a:pt x="8" y="121"/>
                  <a:pt x="8" y="121"/>
                  <a:pt x="8" y="121"/>
                </a:cubicBezTo>
                <a:cubicBezTo>
                  <a:pt x="7" y="120"/>
                  <a:pt x="7" y="120"/>
                  <a:pt x="7" y="120"/>
                </a:cubicBezTo>
                <a:cubicBezTo>
                  <a:pt x="6" y="119"/>
                  <a:pt x="6" y="119"/>
                  <a:pt x="6" y="119"/>
                </a:cubicBezTo>
                <a:cubicBezTo>
                  <a:pt x="6" y="118"/>
                  <a:pt x="6" y="118"/>
                  <a:pt x="6" y="118"/>
                </a:cubicBezTo>
                <a:cubicBezTo>
                  <a:pt x="7" y="117"/>
                  <a:pt x="7" y="117"/>
                  <a:pt x="7" y="117"/>
                </a:cubicBezTo>
                <a:cubicBezTo>
                  <a:pt x="8" y="117"/>
                  <a:pt x="8" y="117"/>
                  <a:pt x="8" y="117"/>
                </a:cubicBezTo>
                <a:cubicBezTo>
                  <a:pt x="9" y="116"/>
                  <a:pt x="9" y="116"/>
                  <a:pt x="9" y="116"/>
                </a:cubicBezTo>
                <a:cubicBezTo>
                  <a:pt x="10" y="116"/>
                  <a:pt x="10" y="116"/>
                  <a:pt x="10" y="116"/>
                </a:cubicBezTo>
                <a:cubicBezTo>
                  <a:pt x="12" y="116"/>
                  <a:pt x="12" y="116"/>
                  <a:pt x="12" y="116"/>
                </a:cubicBezTo>
                <a:cubicBezTo>
                  <a:pt x="12" y="116"/>
                  <a:pt x="12" y="116"/>
                  <a:pt x="12" y="116"/>
                </a:cubicBezTo>
                <a:cubicBezTo>
                  <a:pt x="13" y="116"/>
                  <a:pt x="13" y="116"/>
                  <a:pt x="13" y="116"/>
                </a:cubicBezTo>
                <a:cubicBezTo>
                  <a:pt x="13" y="115"/>
                  <a:pt x="13" y="115"/>
                  <a:pt x="13" y="115"/>
                </a:cubicBezTo>
                <a:cubicBezTo>
                  <a:pt x="13" y="114"/>
                  <a:pt x="13" y="114"/>
                  <a:pt x="13" y="114"/>
                </a:cubicBezTo>
                <a:cubicBezTo>
                  <a:pt x="12" y="115"/>
                  <a:pt x="12" y="115"/>
                  <a:pt x="12" y="115"/>
                </a:cubicBezTo>
                <a:cubicBezTo>
                  <a:pt x="10" y="114"/>
                  <a:pt x="10" y="114"/>
                  <a:pt x="10" y="114"/>
                </a:cubicBezTo>
                <a:cubicBezTo>
                  <a:pt x="10" y="114"/>
                  <a:pt x="10" y="114"/>
                  <a:pt x="10" y="114"/>
                </a:cubicBezTo>
                <a:cubicBezTo>
                  <a:pt x="9" y="114"/>
                  <a:pt x="9" y="114"/>
                  <a:pt x="9" y="114"/>
                </a:cubicBezTo>
                <a:cubicBezTo>
                  <a:pt x="7" y="112"/>
                  <a:pt x="7" y="112"/>
                  <a:pt x="7" y="112"/>
                </a:cubicBezTo>
                <a:cubicBezTo>
                  <a:pt x="7" y="111"/>
                  <a:pt x="7" y="111"/>
                  <a:pt x="7" y="111"/>
                </a:cubicBezTo>
                <a:cubicBezTo>
                  <a:pt x="8" y="110"/>
                  <a:pt x="8" y="110"/>
                  <a:pt x="8" y="110"/>
                </a:cubicBezTo>
                <a:cubicBezTo>
                  <a:pt x="9" y="110"/>
                  <a:pt x="9" y="110"/>
                  <a:pt x="9" y="110"/>
                </a:cubicBezTo>
                <a:cubicBezTo>
                  <a:pt x="9" y="108"/>
                  <a:pt x="9" y="108"/>
                  <a:pt x="9" y="108"/>
                </a:cubicBezTo>
                <a:cubicBezTo>
                  <a:pt x="10" y="108"/>
                  <a:pt x="10" y="108"/>
                  <a:pt x="10" y="108"/>
                </a:cubicBezTo>
                <a:cubicBezTo>
                  <a:pt x="9" y="108"/>
                  <a:pt x="9" y="108"/>
                  <a:pt x="9" y="108"/>
                </a:cubicBezTo>
                <a:cubicBezTo>
                  <a:pt x="8" y="108"/>
                  <a:pt x="8" y="108"/>
                  <a:pt x="8" y="108"/>
                </a:cubicBezTo>
                <a:cubicBezTo>
                  <a:pt x="8" y="110"/>
                  <a:pt x="8" y="110"/>
                  <a:pt x="8" y="110"/>
                </a:cubicBezTo>
                <a:cubicBezTo>
                  <a:pt x="7" y="110"/>
                  <a:pt x="7" y="110"/>
                  <a:pt x="7" y="110"/>
                </a:cubicBezTo>
                <a:cubicBezTo>
                  <a:pt x="7" y="110"/>
                  <a:pt x="7" y="110"/>
                  <a:pt x="7" y="110"/>
                </a:cubicBezTo>
                <a:cubicBezTo>
                  <a:pt x="6" y="111"/>
                  <a:pt x="6" y="111"/>
                  <a:pt x="6" y="111"/>
                </a:cubicBezTo>
                <a:cubicBezTo>
                  <a:pt x="5" y="110"/>
                  <a:pt x="5" y="110"/>
                  <a:pt x="5" y="110"/>
                </a:cubicBezTo>
                <a:cubicBezTo>
                  <a:pt x="4" y="109"/>
                  <a:pt x="4" y="109"/>
                  <a:pt x="4" y="109"/>
                </a:cubicBezTo>
                <a:cubicBezTo>
                  <a:pt x="4" y="108"/>
                  <a:pt x="4" y="108"/>
                  <a:pt x="4" y="108"/>
                </a:cubicBezTo>
                <a:cubicBezTo>
                  <a:pt x="5" y="108"/>
                  <a:pt x="5" y="108"/>
                  <a:pt x="5" y="108"/>
                </a:cubicBezTo>
                <a:cubicBezTo>
                  <a:pt x="5" y="107"/>
                  <a:pt x="5" y="107"/>
                  <a:pt x="5" y="107"/>
                </a:cubicBezTo>
                <a:cubicBezTo>
                  <a:pt x="4" y="107"/>
                  <a:pt x="4" y="107"/>
                  <a:pt x="4" y="107"/>
                </a:cubicBezTo>
                <a:cubicBezTo>
                  <a:pt x="4" y="108"/>
                  <a:pt x="4" y="108"/>
                  <a:pt x="4" y="108"/>
                </a:cubicBezTo>
                <a:cubicBezTo>
                  <a:pt x="4" y="107"/>
                  <a:pt x="4" y="107"/>
                  <a:pt x="4" y="107"/>
                </a:cubicBezTo>
                <a:cubicBezTo>
                  <a:pt x="4" y="106"/>
                  <a:pt x="4" y="106"/>
                  <a:pt x="4" y="106"/>
                </a:cubicBezTo>
                <a:cubicBezTo>
                  <a:pt x="4" y="105"/>
                  <a:pt x="4" y="105"/>
                  <a:pt x="4" y="105"/>
                </a:cubicBezTo>
                <a:cubicBezTo>
                  <a:pt x="5" y="105"/>
                  <a:pt x="5" y="105"/>
                  <a:pt x="5" y="105"/>
                </a:cubicBezTo>
                <a:cubicBezTo>
                  <a:pt x="5" y="104"/>
                  <a:pt x="5" y="104"/>
                  <a:pt x="5" y="104"/>
                </a:cubicBezTo>
                <a:cubicBezTo>
                  <a:pt x="6" y="104"/>
                  <a:pt x="6" y="104"/>
                  <a:pt x="6" y="104"/>
                </a:cubicBezTo>
                <a:cubicBezTo>
                  <a:pt x="7" y="105"/>
                  <a:pt x="7" y="105"/>
                  <a:pt x="7" y="105"/>
                </a:cubicBezTo>
                <a:cubicBezTo>
                  <a:pt x="7" y="104"/>
                  <a:pt x="7" y="104"/>
                  <a:pt x="7" y="104"/>
                </a:cubicBezTo>
                <a:cubicBezTo>
                  <a:pt x="9" y="103"/>
                  <a:pt x="9" y="103"/>
                  <a:pt x="9" y="103"/>
                </a:cubicBezTo>
                <a:cubicBezTo>
                  <a:pt x="11" y="103"/>
                  <a:pt x="11" y="103"/>
                  <a:pt x="11" y="103"/>
                </a:cubicBezTo>
                <a:cubicBezTo>
                  <a:pt x="12" y="104"/>
                  <a:pt x="12" y="104"/>
                  <a:pt x="12" y="104"/>
                </a:cubicBezTo>
                <a:cubicBezTo>
                  <a:pt x="14" y="104"/>
                  <a:pt x="14" y="104"/>
                  <a:pt x="14" y="104"/>
                </a:cubicBezTo>
                <a:cubicBezTo>
                  <a:pt x="17" y="105"/>
                  <a:pt x="17" y="105"/>
                  <a:pt x="17" y="105"/>
                </a:cubicBezTo>
                <a:cubicBezTo>
                  <a:pt x="18" y="106"/>
                  <a:pt x="18" y="106"/>
                  <a:pt x="18" y="106"/>
                </a:cubicBezTo>
                <a:cubicBezTo>
                  <a:pt x="19" y="106"/>
                  <a:pt x="19" y="106"/>
                  <a:pt x="19" y="106"/>
                </a:cubicBezTo>
                <a:cubicBezTo>
                  <a:pt x="21" y="107"/>
                  <a:pt x="21" y="107"/>
                  <a:pt x="21" y="107"/>
                </a:cubicBezTo>
                <a:cubicBezTo>
                  <a:pt x="22" y="107"/>
                  <a:pt x="22" y="107"/>
                  <a:pt x="22" y="107"/>
                </a:cubicBezTo>
                <a:cubicBezTo>
                  <a:pt x="23" y="107"/>
                  <a:pt x="23" y="107"/>
                  <a:pt x="23" y="107"/>
                </a:cubicBezTo>
                <a:cubicBezTo>
                  <a:pt x="24" y="107"/>
                  <a:pt x="24" y="107"/>
                  <a:pt x="24" y="107"/>
                </a:cubicBezTo>
                <a:cubicBezTo>
                  <a:pt x="23" y="107"/>
                  <a:pt x="23" y="107"/>
                  <a:pt x="23" y="107"/>
                </a:cubicBezTo>
                <a:cubicBezTo>
                  <a:pt x="22" y="107"/>
                  <a:pt x="22" y="107"/>
                  <a:pt x="22" y="107"/>
                </a:cubicBezTo>
                <a:cubicBezTo>
                  <a:pt x="20" y="106"/>
                  <a:pt x="20" y="106"/>
                  <a:pt x="20" y="106"/>
                </a:cubicBezTo>
                <a:cubicBezTo>
                  <a:pt x="19" y="105"/>
                  <a:pt x="19" y="105"/>
                  <a:pt x="19" y="105"/>
                </a:cubicBezTo>
                <a:cubicBezTo>
                  <a:pt x="17" y="104"/>
                  <a:pt x="17" y="104"/>
                  <a:pt x="17" y="104"/>
                </a:cubicBezTo>
                <a:cubicBezTo>
                  <a:pt x="16" y="104"/>
                  <a:pt x="16" y="104"/>
                  <a:pt x="16" y="104"/>
                </a:cubicBezTo>
                <a:cubicBezTo>
                  <a:pt x="15" y="103"/>
                  <a:pt x="15" y="103"/>
                  <a:pt x="15" y="103"/>
                </a:cubicBezTo>
                <a:cubicBezTo>
                  <a:pt x="15" y="103"/>
                  <a:pt x="15" y="103"/>
                  <a:pt x="15" y="103"/>
                </a:cubicBezTo>
                <a:cubicBezTo>
                  <a:pt x="17" y="102"/>
                  <a:pt x="17" y="102"/>
                  <a:pt x="17" y="102"/>
                </a:cubicBezTo>
                <a:cubicBezTo>
                  <a:pt x="19" y="102"/>
                  <a:pt x="19" y="102"/>
                  <a:pt x="19" y="102"/>
                </a:cubicBezTo>
                <a:cubicBezTo>
                  <a:pt x="21" y="102"/>
                  <a:pt x="21" y="102"/>
                  <a:pt x="21" y="102"/>
                </a:cubicBezTo>
                <a:cubicBezTo>
                  <a:pt x="23" y="103"/>
                  <a:pt x="23" y="103"/>
                  <a:pt x="23" y="103"/>
                </a:cubicBezTo>
                <a:cubicBezTo>
                  <a:pt x="24" y="104"/>
                  <a:pt x="24" y="104"/>
                  <a:pt x="24" y="104"/>
                </a:cubicBezTo>
                <a:cubicBezTo>
                  <a:pt x="25" y="104"/>
                  <a:pt x="25" y="104"/>
                  <a:pt x="25" y="104"/>
                </a:cubicBezTo>
                <a:cubicBezTo>
                  <a:pt x="25" y="105"/>
                  <a:pt x="25" y="105"/>
                  <a:pt x="25" y="105"/>
                </a:cubicBezTo>
                <a:cubicBezTo>
                  <a:pt x="26" y="105"/>
                  <a:pt x="26" y="105"/>
                  <a:pt x="26" y="105"/>
                </a:cubicBezTo>
                <a:cubicBezTo>
                  <a:pt x="26" y="105"/>
                  <a:pt x="26" y="105"/>
                  <a:pt x="26" y="105"/>
                </a:cubicBezTo>
                <a:cubicBezTo>
                  <a:pt x="26" y="104"/>
                  <a:pt x="26" y="104"/>
                  <a:pt x="26" y="104"/>
                </a:cubicBezTo>
                <a:cubicBezTo>
                  <a:pt x="26" y="103"/>
                  <a:pt x="26" y="103"/>
                  <a:pt x="26" y="103"/>
                </a:cubicBezTo>
                <a:cubicBezTo>
                  <a:pt x="27" y="102"/>
                  <a:pt x="27" y="102"/>
                  <a:pt x="27" y="102"/>
                </a:cubicBezTo>
                <a:cubicBezTo>
                  <a:pt x="27" y="102"/>
                  <a:pt x="27" y="102"/>
                  <a:pt x="27" y="102"/>
                </a:cubicBezTo>
                <a:cubicBezTo>
                  <a:pt x="27" y="100"/>
                  <a:pt x="27" y="100"/>
                  <a:pt x="27" y="100"/>
                </a:cubicBezTo>
                <a:cubicBezTo>
                  <a:pt x="27" y="100"/>
                  <a:pt x="27" y="100"/>
                  <a:pt x="27" y="100"/>
                </a:cubicBezTo>
                <a:cubicBezTo>
                  <a:pt x="26" y="100"/>
                  <a:pt x="26" y="100"/>
                  <a:pt x="26" y="100"/>
                </a:cubicBezTo>
                <a:cubicBezTo>
                  <a:pt x="26" y="100"/>
                  <a:pt x="26" y="100"/>
                  <a:pt x="26" y="100"/>
                </a:cubicBezTo>
                <a:cubicBezTo>
                  <a:pt x="26" y="99"/>
                  <a:pt x="26" y="99"/>
                  <a:pt x="26" y="99"/>
                </a:cubicBezTo>
                <a:cubicBezTo>
                  <a:pt x="25" y="99"/>
                  <a:pt x="25" y="99"/>
                  <a:pt x="25" y="99"/>
                </a:cubicBezTo>
                <a:cubicBezTo>
                  <a:pt x="24" y="99"/>
                  <a:pt x="24" y="99"/>
                  <a:pt x="24" y="99"/>
                </a:cubicBezTo>
                <a:cubicBezTo>
                  <a:pt x="23" y="100"/>
                  <a:pt x="23" y="100"/>
                  <a:pt x="23" y="100"/>
                </a:cubicBezTo>
                <a:cubicBezTo>
                  <a:pt x="22" y="100"/>
                  <a:pt x="22" y="100"/>
                  <a:pt x="22" y="100"/>
                </a:cubicBezTo>
                <a:cubicBezTo>
                  <a:pt x="20" y="99"/>
                  <a:pt x="20" y="99"/>
                  <a:pt x="20" y="99"/>
                </a:cubicBezTo>
                <a:cubicBezTo>
                  <a:pt x="19" y="99"/>
                  <a:pt x="19" y="99"/>
                  <a:pt x="19" y="99"/>
                </a:cubicBezTo>
                <a:cubicBezTo>
                  <a:pt x="19" y="98"/>
                  <a:pt x="19" y="98"/>
                  <a:pt x="19" y="98"/>
                </a:cubicBezTo>
                <a:cubicBezTo>
                  <a:pt x="19" y="98"/>
                  <a:pt x="19" y="98"/>
                  <a:pt x="19" y="98"/>
                </a:cubicBezTo>
                <a:cubicBezTo>
                  <a:pt x="18" y="97"/>
                  <a:pt x="18" y="97"/>
                  <a:pt x="18" y="97"/>
                </a:cubicBezTo>
                <a:cubicBezTo>
                  <a:pt x="17" y="97"/>
                  <a:pt x="17" y="97"/>
                  <a:pt x="17" y="97"/>
                </a:cubicBezTo>
                <a:cubicBezTo>
                  <a:pt x="17" y="97"/>
                  <a:pt x="17" y="97"/>
                  <a:pt x="17" y="97"/>
                </a:cubicBezTo>
                <a:cubicBezTo>
                  <a:pt x="17" y="98"/>
                  <a:pt x="17" y="98"/>
                  <a:pt x="17" y="98"/>
                </a:cubicBezTo>
                <a:cubicBezTo>
                  <a:pt x="17" y="98"/>
                  <a:pt x="17" y="98"/>
                  <a:pt x="17" y="98"/>
                </a:cubicBezTo>
                <a:cubicBezTo>
                  <a:pt x="17" y="100"/>
                  <a:pt x="17" y="100"/>
                  <a:pt x="17" y="100"/>
                </a:cubicBezTo>
                <a:cubicBezTo>
                  <a:pt x="17" y="100"/>
                  <a:pt x="17" y="100"/>
                  <a:pt x="17" y="100"/>
                </a:cubicBezTo>
                <a:cubicBezTo>
                  <a:pt x="15" y="100"/>
                  <a:pt x="15" y="100"/>
                  <a:pt x="15" y="100"/>
                </a:cubicBezTo>
                <a:cubicBezTo>
                  <a:pt x="14" y="100"/>
                  <a:pt x="14" y="100"/>
                  <a:pt x="14" y="100"/>
                </a:cubicBezTo>
                <a:cubicBezTo>
                  <a:pt x="12" y="98"/>
                  <a:pt x="12" y="98"/>
                  <a:pt x="12" y="98"/>
                </a:cubicBezTo>
                <a:cubicBezTo>
                  <a:pt x="12" y="97"/>
                  <a:pt x="12" y="97"/>
                  <a:pt x="12" y="97"/>
                </a:cubicBezTo>
                <a:cubicBezTo>
                  <a:pt x="13" y="97"/>
                  <a:pt x="13" y="97"/>
                  <a:pt x="13" y="97"/>
                </a:cubicBezTo>
                <a:cubicBezTo>
                  <a:pt x="15" y="96"/>
                  <a:pt x="15" y="96"/>
                  <a:pt x="15" y="96"/>
                </a:cubicBezTo>
                <a:cubicBezTo>
                  <a:pt x="15" y="95"/>
                  <a:pt x="15" y="95"/>
                  <a:pt x="15" y="95"/>
                </a:cubicBezTo>
                <a:cubicBezTo>
                  <a:pt x="15" y="95"/>
                  <a:pt x="15" y="95"/>
                  <a:pt x="15" y="95"/>
                </a:cubicBezTo>
                <a:cubicBezTo>
                  <a:pt x="13" y="96"/>
                  <a:pt x="13" y="96"/>
                  <a:pt x="13" y="96"/>
                </a:cubicBezTo>
                <a:cubicBezTo>
                  <a:pt x="12" y="96"/>
                  <a:pt x="12" y="96"/>
                  <a:pt x="12" y="96"/>
                </a:cubicBezTo>
                <a:cubicBezTo>
                  <a:pt x="11" y="96"/>
                  <a:pt x="11" y="96"/>
                  <a:pt x="11" y="96"/>
                </a:cubicBezTo>
                <a:cubicBezTo>
                  <a:pt x="11" y="95"/>
                  <a:pt x="11" y="95"/>
                  <a:pt x="11" y="95"/>
                </a:cubicBezTo>
                <a:cubicBezTo>
                  <a:pt x="11" y="95"/>
                  <a:pt x="11" y="95"/>
                  <a:pt x="11" y="95"/>
                </a:cubicBezTo>
                <a:cubicBezTo>
                  <a:pt x="12" y="94"/>
                  <a:pt x="12" y="94"/>
                  <a:pt x="12" y="94"/>
                </a:cubicBezTo>
                <a:cubicBezTo>
                  <a:pt x="13" y="94"/>
                  <a:pt x="13" y="94"/>
                  <a:pt x="13" y="94"/>
                </a:cubicBezTo>
                <a:cubicBezTo>
                  <a:pt x="14" y="92"/>
                  <a:pt x="14" y="92"/>
                  <a:pt x="14" y="92"/>
                </a:cubicBezTo>
                <a:cubicBezTo>
                  <a:pt x="14" y="92"/>
                  <a:pt x="14" y="92"/>
                  <a:pt x="14" y="92"/>
                </a:cubicBezTo>
                <a:cubicBezTo>
                  <a:pt x="13" y="91"/>
                  <a:pt x="13" y="91"/>
                  <a:pt x="13" y="91"/>
                </a:cubicBezTo>
                <a:cubicBezTo>
                  <a:pt x="13" y="92"/>
                  <a:pt x="13" y="92"/>
                  <a:pt x="13" y="92"/>
                </a:cubicBezTo>
                <a:cubicBezTo>
                  <a:pt x="13" y="92"/>
                  <a:pt x="13" y="92"/>
                  <a:pt x="13" y="92"/>
                </a:cubicBezTo>
                <a:cubicBezTo>
                  <a:pt x="11" y="93"/>
                  <a:pt x="11" y="93"/>
                  <a:pt x="11" y="93"/>
                </a:cubicBezTo>
                <a:cubicBezTo>
                  <a:pt x="10" y="93"/>
                  <a:pt x="10" y="93"/>
                  <a:pt x="10" y="93"/>
                </a:cubicBezTo>
                <a:cubicBezTo>
                  <a:pt x="9" y="93"/>
                  <a:pt x="9" y="93"/>
                  <a:pt x="9" y="93"/>
                </a:cubicBezTo>
                <a:cubicBezTo>
                  <a:pt x="8" y="92"/>
                  <a:pt x="8" y="92"/>
                  <a:pt x="8" y="92"/>
                </a:cubicBezTo>
                <a:cubicBezTo>
                  <a:pt x="9" y="92"/>
                  <a:pt x="9" y="92"/>
                  <a:pt x="9" y="92"/>
                </a:cubicBezTo>
                <a:cubicBezTo>
                  <a:pt x="9" y="91"/>
                  <a:pt x="9" y="91"/>
                  <a:pt x="9" y="91"/>
                </a:cubicBezTo>
                <a:cubicBezTo>
                  <a:pt x="10" y="91"/>
                  <a:pt x="10" y="91"/>
                  <a:pt x="10" y="91"/>
                </a:cubicBezTo>
                <a:cubicBezTo>
                  <a:pt x="10" y="90"/>
                  <a:pt x="10" y="90"/>
                  <a:pt x="10" y="90"/>
                </a:cubicBezTo>
                <a:cubicBezTo>
                  <a:pt x="9" y="90"/>
                  <a:pt x="9" y="90"/>
                  <a:pt x="9" y="90"/>
                </a:cubicBezTo>
                <a:cubicBezTo>
                  <a:pt x="8" y="90"/>
                  <a:pt x="8" y="90"/>
                  <a:pt x="8" y="90"/>
                </a:cubicBezTo>
                <a:cubicBezTo>
                  <a:pt x="7" y="89"/>
                  <a:pt x="7" y="89"/>
                  <a:pt x="7" y="89"/>
                </a:cubicBezTo>
                <a:cubicBezTo>
                  <a:pt x="6" y="87"/>
                  <a:pt x="6" y="87"/>
                  <a:pt x="6" y="87"/>
                </a:cubicBezTo>
                <a:cubicBezTo>
                  <a:pt x="6" y="86"/>
                  <a:pt x="6" y="86"/>
                  <a:pt x="6" y="86"/>
                </a:cubicBezTo>
                <a:cubicBezTo>
                  <a:pt x="4" y="85"/>
                  <a:pt x="4" y="85"/>
                  <a:pt x="4" y="85"/>
                </a:cubicBezTo>
                <a:cubicBezTo>
                  <a:pt x="4" y="85"/>
                  <a:pt x="4" y="85"/>
                  <a:pt x="4" y="85"/>
                </a:cubicBezTo>
                <a:cubicBezTo>
                  <a:pt x="5" y="85"/>
                  <a:pt x="5" y="85"/>
                  <a:pt x="5" y="85"/>
                </a:cubicBezTo>
                <a:cubicBezTo>
                  <a:pt x="6" y="84"/>
                  <a:pt x="6" y="84"/>
                  <a:pt x="6" y="84"/>
                </a:cubicBezTo>
                <a:cubicBezTo>
                  <a:pt x="6" y="83"/>
                  <a:pt x="6" y="83"/>
                  <a:pt x="6" y="83"/>
                </a:cubicBezTo>
                <a:cubicBezTo>
                  <a:pt x="7" y="83"/>
                  <a:pt x="7" y="83"/>
                  <a:pt x="7" y="83"/>
                </a:cubicBezTo>
                <a:cubicBezTo>
                  <a:pt x="7" y="83"/>
                  <a:pt x="7" y="83"/>
                  <a:pt x="7" y="83"/>
                </a:cubicBezTo>
                <a:cubicBezTo>
                  <a:pt x="8" y="83"/>
                  <a:pt x="8" y="83"/>
                  <a:pt x="8" y="83"/>
                </a:cubicBezTo>
                <a:cubicBezTo>
                  <a:pt x="8" y="82"/>
                  <a:pt x="8" y="82"/>
                  <a:pt x="8" y="82"/>
                </a:cubicBezTo>
                <a:cubicBezTo>
                  <a:pt x="7" y="82"/>
                  <a:pt x="7" y="82"/>
                  <a:pt x="7" y="82"/>
                </a:cubicBezTo>
                <a:cubicBezTo>
                  <a:pt x="6" y="82"/>
                  <a:pt x="6" y="82"/>
                  <a:pt x="6" y="82"/>
                </a:cubicBezTo>
                <a:cubicBezTo>
                  <a:pt x="6" y="81"/>
                  <a:pt x="6" y="81"/>
                  <a:pt x="6" y="81"/>
                </a:cubicBezTo>
                <a:cubicBezTo>
                  <a:pt x="6" y="81"/>
                  <a:pt x="6" y="81"/>
                  <a:pt x="6" y="81"/>
                </a:cubicBezTo>
                <a:cubicBezTo>
                  <a:pt x="7" y="81"/>
                  <a:pt x="7" y="81"/>
                  <a:pt x="7" y="81"/>
                </a:cubicBezTo>
                <a:cubicBezTo>
                  <a:pt x="9" y="80"/>
                  <a:pt x="9" y="80"/>
                  <a:pt x="9" y="80"/>
                </a:cubicBezTo>
                <a:cubicBezTo>
                  <a:pt x="9" y="79"/>
                  <a:pt x="9" y="79"/>
                  <a:pt x="9" y="79"/>
                </a:cubicBezTo>
                <a:cubicBezTo>
                  <a:pt x="9" y="79"/>
                  <a:pt x="9" y="79"/>
                  <a:pt x="9" y="79"/>
                </a:cubicBezTo>
                <a:cubicBezTo>
                  <a:pt x="10" y="78"/>
                  <a:pt x="10" y="78"/>
                  <a:pt x="10" y="78"/>
                </a:cubicBezTo>
                <a:cubicBezTo>
                  <a:pt x="11" y="78"/>
                  <a:pt x="11" y="78"/>
                  <a:pt x="11" y="78"/>
                </a:cubicBezTo>
                <a:cubicBezTo>
                  <a:pt x="12" y="78"/>
                  <a:pt x="12" y="78"/>
                  <a:pt x="12" y="78"/>
                </a:cubicBezTo>
                <a:cubicBezTo>
                  <a:pt x="12" y="78"/>
                  <a:pt x="12" y="78"/>
                  <a:pt x="12" y="78"/>
                </a:cubicBezTo>
                <a:cubicBezTo>
                  <a:pt x="13" y="78"/>
                  <a:pt x="13" y="78"/>
                  <a:pt x="13" y="78"/>
                </a:cubicBezTo>
                <a:cubicBezTo>
                  <a:pt x="14" y="78"/>
                  <a:pt x="14" y="78"/>
                  <a:pt x="14" y="78"/>
                </a:cubicBezTo>
                <a:cubicBezTo>
                  <a:pt x="15" y="78"/>
                  <a:pt x="15" y="78"/>
                  <a:pt x="15" y="78"/>
                </a:cubicBezTo>
                <a:cubicBezTo>
                  <a:pt x="15" y="78"/>
                  <a:pt x="15" y="78"/>
                  <a:pt x="15" y="78"/>
                </a:cubicBezTo>
                <a:cubicBezTo>
                  <a:pt x="15" y="78"/>
                  <a:pt x="15" y="78"/>
                  <a:pt x="15" y="78"/>
                </a:cubicBezTo>
                <a:cubicBezTo>
                  <a:pt x="16" y="78"/>
                  <a:pt x="16" y="78"/>
                  <a:pt x="16" y="78"/>
                </a:cubicBezTo>
                <a:cubicBezTo>
                  <a:pt x="17" y="78"/>
                  <a:pt x="17" y="78"/>
                  <a:pt x="17" y="78"/>
                </a:cubicBezTo>
                <a:cubicBezTo>
                  <a:pt x="17" y="77"/>
                  <a:pt x="17" y="77"/>
                  <a:pt x="17" y="77"/>
                </a:cubicBezTo>
                <a:cubicBezTo>
                  <a:pt x="18" y="77"/>
                  <a:pt x="18" y="77"/>
                  <a:pt x="18" y="77"/>
                </a:cubicBezTo>
                <a:cubicBezTo>
                  <a:pt x="19" y="77"/>
                  <a:pt x="19" y="77"/>
                  <a:pt x="19" y="77"/>
                </a:cubicBezTo>
                <a:cubicBezTo>
                  <a:pt x="19" y="77"/>
                  <a:pt x="19" y="77"/>
                  <a:pt x="19" y="77"/>
                </a:cubicBezTo>
                <a:cubicBezTo>
                  <a:pt x="20" y="77"/>
                  <a:pt x="20" y="77"/>
                  <a:pt x="20" y="77"/>
                </a:cubicBezTo>
                <a:cubicBezTo>
                  <a:pt x="20" y="77"/>
                  <a:pt x="20" y="77"/>
                  <a:pt x="20" y="77"/>
                </a:cubicBezTo>
                <a:cubicBezTo>
                  <a:pt x="21" y="77"/>
                  <a:pt x="21" y="77"/>
                  <a:pt x="21" y="77"/>
                </a:cubicBezTo>
                <a:cubicBezTo>
                  <a:pt x="26" y="75"/>
                  <a:pt x="26" y="75"/>
                  <a:pt x="26" y="75"/>
                </a:cubicBezTo>
                <a:cubicBezTo>
                  <a:pt x="27" y="75"/>
                  <a:pt x="27" y="75"/>
                  <a:pt x="27" y="75"/>
                </a:cubicBezTo>
                <a:cubicBezTo>
                  <a:pt x="27" y="76"/>
                  <a:pt x="27" y="76"/>
                  <a:pt x="27" y="76"/>
                </a:cubicBezTo>
                <a:cubicBezTo>
                  <a:pt x="27" y="75"/>
                  <a:pt x="27" y="75"/>
                  <a:pt x="27" y="75"/>
                </a:cubicBezTo>
                <a:cubicBezTo>
                  <a:pt x="27" y="75"/>
                  <a:pt x="27" y="75"/>
                  <a:pt x="27" y="75"/>
                </a:cubicBezTo>
                <a:cubicBezTo>
                  <a:pt x="27" y="74"/>
                  <a:pt x="27" y="74"/>
                  <a:pt x="27" y="74"/>
                </a:cubicBezTo>
                <a:cubicBezTo>
                  <a:pt x="29" y="73"/>
                  <a:pt x="29" y="73"/>
                  <a:pt x="29" y="73"/>
                </a:cubicBezTo>
                <a:cubicBezTo>
                  <a:pt x="31" y="73"/>
                  <a:pt x="31" y="73"/>
                  <a:pt x="31" y="73"/>
                </a:cubicBezTo>
                <a:cubicBezTo>
                  <a:pt x="32" y="73"/>
                  <a:pt x="32" y="73"/>
                  <a:pt x="32" y="73"/>
                </a:cubicBezTo>
                <a:cubicBezTo>
                  <a:pt x="33" y="73"/>
                  <a:pt x="33" y="73"/>
                  <a:pt x="33" y="73"/>
                </a:cubicBezTo>
                <a:cubicBezTo>
                  <a:pt x="34" y="74"/>
                  <a:pt x="34" y="74"/>
                  <a:pt x="34" y="74"/>
                </a:cubicBezTo>
                <a:cubicBezTo>
                  <a:pt x="35" y="73"/>
                  <a:pt x="35" y="73"/>
                  <a:pt x="35" y="73"/>
                </a:cubicBezTo>
                <a:cubicBezTo>
                  <a:pt x="36" y="73"/>
                  <a:pt x="36" y="73"/>
                  <a:pt x="36" y="73"/>
                </a:cubicBezTo>
                <a:cubicBezTo>
                  <a:pt x="38" y="73"/>
                  <a:pt x="38" y="73"/>
                  <a:pt x="38" y="73"/>
                </a:cubicBezTo>
                <a:cubicBezTo>
                  <a:pt x="38" y="74"/>
                  <a:pt x="38" y="74"/>
                  <a:pt x="38" y="74"/>
                </a:cubicBezTo>
                <a:cubicBezTo>
                  <a:pt x="39" y="74"/>
                  <a:pt x="39" y="74"/>
                  <a:pt x="39" y="74"/>
                </a:cubicBezTo>
                <a:cubicBezTo>
                  <a:pt x="40" y="74"/>
                  <a:pt x="40" y="74"/>
                  <a:pt x="40" y="74"/>
                </a:cubicBezTo>
                <a:cubicBezTo>
                  <a:pt x="41" y="75"/>
                  <a:pt x="41" y="75"/>
                  <a:pt x="41" y="75"/>
                </a:cubicBezTo>
                <a:cubicBezTo>
                  <a:pt x="42" y="75"/>
                  <a:pt x="42" y="75"/>
                  <a:pt x="42" y="75"/>
                </a:cubicBezTo>
                <a:cubicBezTo>
                  <a:pt x="43" y="75"/>
                  <a:pt x="43" y="75"/>
                  <a:pt x="43" y="75"/>
                </a:cubicBezTo>
                <a:cubicBezTo>
                  <a:pt x="43" y="74"/>
                  <a:pt x="43" y="74"/>
                  <a:pt x="43" y="74"/>
                </a:cubicBezTo>
                <a:cubicBezTo>
                  <a:pt x="44" y="73"/>
                  <a:pt x="44" y="73"/>
                  <a:pt x="44" y="73"/>
                </a:cubicBezTo>
                <a:cubicBezTo>
                  <a:pt x="45" y="72"/>
                  <a:pt x="45" y="72"/>
                  <a:pt x="45" y="72"/>
                </a:cubicBezTo>
                <a:cubicBezTo>
                  <a:pt x="46" y="71"/>
                  <a:pt x="46" y="71"/>
                  <a:pt x="46" y="71"/>
                </a:cubicBezTo>
                <a:cubicBezTo>
                  <a:pt x="47" y="70"/>
                  <a:pt x="47" y="70"/>
                  <a:pt x="47" y="70"/>
                </a:cubicBezTo>
                <a:cubicBezTo>
                  <a:pt x="48" y="69"/>
                  <a:pt x="48" y="69"/>
                  <a:pt x="48" y="69"/>
                </a:cubicBezTo>
                <a:cubicBezTo>
                  <a:pt x="49" y="68"/>
                  <a:pt x="49" y="68"/>
                  <a:pt x="49" y="68"/>
                </a:cubicBezTo>
                <a:cubicBezTo>
                  <a:pt x="50" y="67"/>
                  <a:pt x="50" y="67"/>
                  <a:pt x="50" y="67"/>
                </a:cubicBezTo>
                <a:cubicBezTo>
                  <a:pt x="50" y="66"/>
                  <a:pt x="50" y="66"/>
                  <a:pt x="50" y="66"/>
                </a:cubicBezTo>
                <a:cubicBezTo>
                  <a:pt x="49" y="66"/>
                  <a:pt x="49" y="66"/>
                  <a:pt x="49" y="66"/>
                </a:cubicBezTo>
                <a:cubicBezTo>
                  <a:pt x="49" y="65"/>
                  <a:pt x="49" y="65"/>
                  <a:pt x="49" y="65"/>
                </a:cubicBezTo>
                <a:cubicBezTo>
                  <a:pt x="50" y="63"/>
                  <a:pt x="50" y="63"/>
                  <a:pt x="50" y="63"/>
                </a:cubicBezTo>
                <a:cubicBezTo>
                  <a:pt x="51" y="63"/>
                  <a:pt x="51" y="63"/>
                  <a:pt x="51" y="63"/>
                </a:cubicBezTo>
                <a:cubicBezTo>
                  <a:pt x="53" y="63"/>
                  <a:pt x="53" y="63"/>
                  <a:pt x="53" y="63"/>
                </a:cubicBezTo>
                <a:cubicBezTo>
                  <a:pt x="54" y="63"/>
                  <a:pt x="54" y="63"/>
                  <a:pt x="54" y="63"/>
                </a:cubicBezTo>
                <a:cubicBezTo>
                  <a:pt x="55" y="62"/>
                  <a:pt x="55" y="62"/>
                  <a:pt x="55" y="62"/>
                </a:cubicBezTo>
                <a:cubicBezTo>
                  <a:pt x="54" y="61"/>
                  <a:pt x="54" y="61"/>
                  <a:pt x="54" y="61"/>
                </a:cubicBezTo>
                <a:cubicBezTo>
                  <a:pt x="53" y="61"/>
                  <a:pt x="53" y="61"/>
                  <a:pt x="53" y="61"/>
                </a:cubicBezTo>
                <a:cubicBezTo>
                  <a:pt x="52" y="61"/>
                  <a:pt x="52" y="61"/>
                  <a:pt x="52" y="61"/>
                </a:cubicBezTo>
                <a:cubicBezTo>
                  <a:pt x="52" y="60"/>
                  <a:pt x="52" y="60"/>
                  <a:pt x="52" y="60"/>
                </a:cubicBezTo>
                <a:cubicBezTo>
                  <a:pt x="52" y="59"/>
                  <a:pt x="52" y="59"/>
                  <a:pt x="52" y="59"/>
                </a:cubicBezTo>
                <a:cubicBezTo>
                  <a:pt x="53" y="59"/>
                  <a:pt x="53" y="59"/>
                  <a:pt x="53" y="59"/>
                </a:cubicBezTo>
                <a:cubicBezTo>
                  <a:pt x="55" y="59"/>
                  <a:pt x="55" y="59"/>
                  <a:pt x="55" y="59"/>
                </a:cubicBezTo>
                <a:cubicBezTo>
                  <a:pt x="56" y="58"/>
                  <a:pt x="56" y="58"/>
                  <a:pt x="56" y="58"/>
                </a:cubicBezTo>
                <a:cubicBezTo>
                  <a:pt x="57" y="58"/>
                  <a:pt x="57" y="58"/>
                  <a:pt x="57" y="58"/>
                </a:cubicBezTo>
                <a:cubicBezTo>
                  <a:pt x="58" y="57"/>
                  <a:pt x="58" y="57"/>
                  <a:pt x="58" y="57"/>
                </a:cubicBezTo>
                <a:cubicBezTo>
                  <a:pt x="57" y="57"/>
                  <a:pt x="57" y="57"/>
                  <a:pt x="57" y="57"/>
                </a:cubicBezTo>
                <a:cubicBezTo>
                  <a:pt x="57" y="56"/>
                  <a:pt x="57" y="56"/>
                  <a:pt x="57" y="56"/>
                </a:cubicBezTo>
                <a:cubicBezTo>
                  <a:pt x="57" y="56"/>
                  <a:pt x="57" y="56"/>
                  <a:pt x="57" y="56"/>
                </a:cubicBezTo>
                <a:cubicBezTo>
                  <a:pt x="56" y="57"/>
                  <a:pt x="56" y="57"/>
                  <a:pt x="56" y="57"/>
                </a:cubicBezTo>
                <a:cubicBezTo>
                  <a:pt x="56" y="58"/>
                  <a:pt x="56" y="58"/>
                  <a:pt x="56" y="58"/>
                </a:cubicBezTo>
                <a:cubicBezTo>
                  <a:pt x="55" y="58"/>
                  <a:pt x="55" y="58"/>
                  <a:pt x="55" y="58"/>
                </a:cubicBezTo>
                <a:cubicBezTo>
                  <a:pt x="53" y="58"/>
                  <a:pt x="53" y="58"/>
                  <a:pt x="53" y="58"/>
                </a:cubicBezTo>
                <a:cubicBezTo>
                  <a:pt x="52" y="58"/>
                  <a:pt x="52" y="58"/>
                  <a:pt x="52" y="58"/>
                </a:cubicBezTo>
                <a:cubicBezTo>
                  <a:pt x="52" y="58"/>
                  <a:pt x="52" y="58"/>
                  <a:pt x="52" y="58"/>
                </a:cubicBezTo>
                <a:cubicBezTo>
                  <a:pt x="51" y="59"/>
                  <a:pt x="51" y="59"/>
                  <a:pt x="51" y="59"/>
                </a:cubicBezTo>
                <a:cubicBezTo>
                  <a:pt x="50" y="59"/>
                  <a:pt x="50" y="59"/>
                  <a:pt x="50" y="59"/>
                </a:cubicBezTo>
                <a:cubicBezTo>
                  <a:pt x="49" y="58"/>
                  <a:pt x="49" y="58"/>
                  <a:pt x="49" y="58"/>
                </a:cubicBezTo>
                <a:cubicBezTo>
                  <a:pt x="48" y="57"/>
                  <a:pt x="48" y="57"/>
                  <a:pt x="48" y="57"/>
                </a:cubicBezTo>
                <a:cubicBezTo>
                  <a:pt x="47" y="57"/>
                  <a:pt x="47" y="57"/>
                  <a:pt x="47" y="57"/>
                </a:cubicBezTo>
                <a:cubicBezTo>
                  <a:pt x="47" y="58"/>
                  <a:pt x="47" y="58"/>
                  <a:pt x="47" y="58"/>
                </a:cubicBezTo>
                <a:cubicBezTo>
                  <a:pt x="46" y="58"/>
                  <a:pt x="46" y="58"/>
                  <a:pt x="46" y="58"/>
                </a:cubicBezTo>
                <a:cubicBezTo>
                  <a:pt x="46" y="57"/>
                  <a:pt x="46" y="57"/>
                  <a:pt x="46" y="57"/>
                </a:cubicBezTo>
                <a:cubicBezTo>
                  <a:pt x="45" y="57"/>
                  <a:pt x="45" y="57"/>
                  <a:pt x="45" y="57"/>
                </a:cubicBezTo>
                <a:cubicBezTo>
                  <a:pt x="44" y="57"/>
                  <a:pt x="44" y="57"/>
                  <a:pt x="44" y="57"/>
                </a:cubicBezTo>
                <a:cubicBezTo>
                  <a:pt x="44" y="57"/>
                  <a:pt x="44" y="57"/>
                  <a:pt x="44" y="57"/>
                </a:cubicBezTo>
                <a:cubicBezTo>
                  <a:pt x="44" y="56"/>
                  <a:pt x="44" y="56"/>
                  <a:pt x="44" y="56"/>
                </a:cubicBezTo>
                <a:cubicBezTo>
                  <a:pt x="44" y="56"/>
                  <a:pt x="44" y="56"/>
                  <a:pt x="44" y="56"/>
                </a:cubicBezTo>
                <a:cubicBezTo>
                  <a:pt x="44" y="55"/>
                  <a:pt x="44" y="55"/>
                  <a:pt x="44" y="55"/>
                </a:cubicBezTo>
                <a:cubicBezTo>
                  <a:pt x="44" y="54"/>
                  <a:pt x="44" y="54"/>
                  <a:pt x="44" y="54"/>
                </a:cubicBezTo>
                <a:cubicBezTo>
                  <a:pt x="45" y="54"/>
                  <a:pt x="45" y="54"/>
                  <a:pt x="45" y="54"/>
                </a:cubicBezTo>
                <a:cubicBezTo>
                  <a:pt x="46" y="53"/>
                  <a:pt x="46" y="53"/>
                  <a:pt x="46" y="53"/>
                </a:cubicBezTo>
                <a:cubicBezTo>
                  <a:pt x="46" y="52"/>
                  <a:pt x="46" y="52"/>
                  <a:pt x="46" y="52"/>
                </a:cubicBezTo>
                <a:cubicBezTo>
                  <a:pt x="47" y="52"/>
                  <a:pt x="47" y="52"/>
                  <a:pt x="47" y="52"/>
                </a:cubicBezTo>
                <a:cubicBezTo>
                  <a:pt x="47" y="51"/>
                  <a:pt x="47" y="51"/>
                  <a:pt x="47" y="51"/>
                </a:cubicBezTo>
                <a:cubicBezTo>
                  <a:pt x="47" y="51"/>
                  <a:pt x="47" y="51"/>
                  <a:pt x="47" y="51"/>
                </a:cubicBezTo>
                <a:cubicBezTo>
                  <a:pt x="46" y="50"/>
                  <a:pt x="46" y="50"/>
                  <a:pt x="46" y="50"/>
                </a:cubicBezTo>
                <a:cubicBezTo>
                  <a:pt x="47" y="50"/>
                  <a:pt x="47" y="50"/>
                  <a:pt x="47" y="50"/>
                </a:cubicBezTo>
                <a:cubicBezTo>
                  <a:pt x="48" y="49"/>
                  <a:pt x="48" y="49"/>
                  <a:pt x="48" y="49"/>
                </a:cubicBezTo>
                <a:cubicBezTo>
                  <a:pt x="49" y="49"/>
                  <a:pt x="49" y="49"/>
                  <a:pt x="49" y="49"/>
                </a:cubicBezTo>
                <a:cubicBezTo>
                  <a:pt x="49" y="48"/>
                  <a:pt x="49" y="48"/>
                  <a:pt x="49" y="48"/>
                </a:cubicBezTo>
                <a:cubicBezTo>
                  <a:pt x="50" y="48"/>
                  <a:pt x="50" y="48"/>
                  <a:pt x="50" y="48"/>
                </a:cubicBezTo>
                <a:cubicBezTo>
                  <a:pt x="52" y="47"/>
                  <a:pt x="52" y="47"/>
                  <a:pt x="52" y="47"/>
                </a:cubicBezTo>
                <a:cubicBezTo>
                  <a:pt x="52" y="46"/>
                  <a:pt x="52" y="46"/>
                  <a:pt x="52" y="46"/>
                </a:cubicBezTo>
                <a:cubicBezTo>
                  <a:pt x="53" y="46"/>
                  <a:pt x="53" y="46"/>
                  <a:pt x="53" y="46"/>
                </a:cubicBezTo>
                <a:cubicBezTo>
                  <a:pt x="55" y="46"/>
                  <a:pt x="55" y="46"/>
                  <a:pt x="55" y="46"/>
                </a:cubicBezTo>
                <a:cubicBezTo>
                  <a:pt x="56" y="46"/>
                  <a:pt x="56" y="46"/>
                  <a:pt x="56" y="46"/>
                </a:cubicBezTo>
                <a:cubicBezTo>
                  <a:pt x="55" y="45"/>
                  <a:pt x="55" y="45"/>
                  <a:pt x="55" y="45"/>
                </a:cubicBezTo>
                <a:cubicBezTo>
                  <a:pt x="55" y="45"/>
                  <a:pt x="55" y="45"/>
                  <a:pt x="55" y="45"/>
                </a:cubicBezTo>
                <a:cubicBezTo>
                  <a:pt x="55" y="44"/>
                  <a:pt x="55" y="44"/>
                  <a:pt x="55" y="44"/>
                </a:cubicBezTo>
                <a:cubicBezTo>
                  <a:pt x="55" y="44"/>
                  <a:pt x="55" y="44"/>
                  <a:pt x="55" y="44"/>
                </a:cubicBezTo>
                <a:cubicBezTo>
                  <a:pt x="57" y="44"/>
                  <a:pt x="57" y="44"/>
                  <a:pt x="57" y="44"/>
                </a:cubicBezTo>
                <a:cubicBezTo>
                  <a:pt x="57" y="45"/>
                  <a:pt x="57" y="45"/>
                  <a:pt x="57" y="45"/>
                </a:cubicBezTo>
                <a:cubicBezTo>
                  <a:pt x="57" y="44"/>
                  <a:pt x="57" y="44"/>
                  <a:pt x="57" y="44"/>
                </a:cubicBezTo>
                <a:cubicBezTo>
                  <a:pt x="59" y="43"/>
                  <a:pt x="59" y="43"/>
                  <a:pt x="59" y="43"/>
                </a:cubicBezTo>
                <a:cubicBezTo>
                  <a:pt x="59" y="42"/>
                  <a:pt x="59" y="42"/>
                  <a:pt x="59" y="42"/>
                </a:cubicBezTo>
                <a:cubicBezTo>
                  <a:pt x="59" y="41"/>
                  <a:pt x="59" y="41"/>
                  <a:pt x="59" y="41"/>
                </a:cubicBezTo>
                <a:cubicBezTo>
                  <a:pt x="60" y="40"/>
                  <a:pt x="60" y="40"/>
                  <a:pt x="60" y="40"/>
                </a:cubicBezTo>
                <a:cubicBezTo>
                  <a:pt x="61" y="40"/>
                  <a:pt x="61" y="40"/>
                  <a:pt x="61" y="40"/>
                </a:cubicBezTo>
                <a:cubicBezTo>
                  <a:pt x="62" y="39"/>
                  <a:pt x="62" y="39"/>
                  <a:pt x="62" y="39"/>
                </a:cubicBezTo>
                <a:cubicBezTo>
                  <a:pt x="63" y="39"/>
                  <a:pt x="63" y="39"/>
                  <a:pt x="63" y="39"/>
                </a:cubicBezTo>
                <a:cubicBezTo>
                  <a:pt x="63" y="39"/>
                  <a:pt x="63" y="39"/>
                  <a:pt x="63" y="39"/>
                </a:cubicBezTo>
                <a:cubicBezTo>
                  <a:pt x="64" y="39"/>
                  <a:pt x="64" y="39"/>
                  <a:pt x="64" y="39"/>
                </a:cubicBezTo>
                <a:cubicBezTo>
                  <a:pt x="64" y="40"/>
                  <a:pt x="64" y="40"/>
                  <a:pt x="64" y="40"/>
                </a:cubicBezTo>
                <a:cubicBezTo>
                  <a:pt x="64" y="42"/>
                  <a:pt x="64" y="42"/>
                  <a:pt x="64" y="42"/>
                </a:cubicBezTo>
                <a:cubicBezTo>
                  <a:pt x="64" y="43"/>
                  <a:pt x="64" y="43"/>
                  <a:pt x="64" y="43"/>
                </a:cubicBezTo>
                <a:cubicBezTo>
                  <a:pt x="64" y="45"/>
                  <a:pt x="64" y="45"/>
                  <a:pt x="64" y="45"/>
                </a:cubicBezTo>
                <a:cubicBezTo>
                  <a:pt x="64" y="47"/>
                  <a:pt x="64" y="47"/>
                  <a:pt x="64" y="47"/>
                </a:cubicBezTo>
                <a:cubicBezTo>
                  <a:pt x="65" y="47"/>
                  <a:pt x="65" y="47"/>
                  <a:pt x="65" y="47"/>
                </a:cubicBezTo>
                <a:cubicBezTo>
                  <a:pt x="65" y="47"/>
                  <a:pt x="65" y="47"/>
                  <a:pt x="65" y="47"/>
                </a:cubicBezTo>
                <a:cubicBezTo>
                  <a:pt x="65" y="45"/>
                  <a:pt x="65" y="45"/>
                  <a:pt x="65" y="45"/>
                </a:cubicBezTo>
                <a:cubicBezTo>
                  <a:pt x="65" y="43"/>
                  <a:pt x="65" y="43"/>
                  <a:pt x="65" y="43"/>
                </a:cubicBezTo>
                <a:cubicBezTo>
                  <a:pt x="65" y="42"/>
                  <a:pt x="65" y="42"/>
                  <a:pt x="65" y="42"/>
                </a:cubicBezTo>
                <a:cubicBezTo>
                  <a:pt x="65" y="41"/>
                  <a:pt x="65" y="41"/>
                  <a:pt x="65" y="41"/>
                </a:cubicBezTo>
                <a:cubicBezTo>
                  <a:pt x="65" y="39"/>
                  <a:pt x="65" y="39"/>
                  <a:pt x="65" y="39"/>
                </a:cubicBezTo>
                <a:cubicBezTo>
                  <a:pt x="66" y="39"/>
                  <a:pt x="66" y="39"/>
                  <a:pt x="66" y="39"/>
                </a:cubicBezTo>
                <a:cubicBezTo>
                  <a:pt x="66" y="39"/>
                  <a:pt x="66" y="39"/>
                  <a:pt x="66" y="39"/>
                </a:cubicBezTo>
                <a:cubicBezTo>
                  <a:pt x="67" y="38"/>
                  <a:pt x="67" y="38"/>
                  <a:pt x="67" y="38"/>
                </a:cubicBezTo>
                <a:cubicBezTo>
                  <a:pt x="67" y="38"/>
                  <a:pt x="67" y="38"/>
                  <a:pt x="67" y="38"/>
                </a:cubicBezTo>
                <a:cubicBezTo>
                  <a:pt x="68" y="38"/>
                  <a:pt x="68" y="38"/>
                  <a:pt x="68" y="38"/>
                </a:cubicBezTo>
                <a:cubicBezTo>
                  <a:pt x="68" y="39"/>
                  <a:pt x="68" y="39"/>
                  <a:pt x="68" y="39"/>
                </a:cubicBezTo>
                <a:cubicBezTo>
                  <a:pt x="68" y="39"/>
                  <a:pt x="68" y="39"/>
                  <a:pt x="68" y="39"/>
                </a:cubicBezTo>
                <a:cubicBezTo>
                  <a:pt x="69" y="39"/>
                  <a:pt x="69" y="39"/>
                  <a:pt x="69" y="39"/>
                </a:cubicBezTo>
                <a:cubicBezTo>
                  <a:pt x="69" y="39"/>
                  <a:pt x="69" y="39"/>
                  <a:pt x="69" y="39"/>
                </a:cubicBezTo>
                <a:cubicBezTo>
                  <a:pt x="69" y="40"/>
                  <a:pt x="69" y="40"/>
                  <a:pt x="69" y="40"/>
                </a:cubicBezTo>
                <a:cubicBezTo>
                  <a:pt x="69" y="41"/>
                  <a:pt x="69" y="41"/>
                  <a:pt x="69" y="41"/>
                </a:cubicBezTo>
                <a:cubicBezTo>
                  <a:pt x="70" y="41"/>
                  <a:pt x="70" y="41"/>
                  <a:pt x="70" y="41"/>
                </a:cubicBezTo>
                <a:cubicBezTo>
                  <a:pt x="72" y="41"/>
                  <a:pt x="72" y="41"/>
                  <a:pt x="72" y="41"/>
                </a:cubicBezTo>
                <a:cubicBezTo>
                  <a:pt x="73" y="41"/>
                  <a:pt x="73" y="41"/>
                  <a:pt x="73" y="41"/>
                </a:cubicBezTo>
                <a:cubicBezTo>
                  <a:pt x="74" y="41"/>
                  <a:pt x="74" y="41"/>
                  <a:pt x="74" y="41"/>
                </a:cubicBezTo>
                <a:cubicBezTo>
                  <a:pt x="74" y="40"/>
                  <a:pt x="74" y="40"/>
                  <a:pt x="74" y="40"/>
                </a:cubicBezTo>
                <a:cubicBezTo>
                  <a:pt x="73" y="40"/>
                  <a:pt x="73" y="40"/>
                  <a:pt x="73" y="40"/>
                </a:cubicBezTo>
                <a:cubicBezTo>
                  <a:pt x="74" y="39"/>
                  <a:pt x="74" y="39"/>
                  <a:pt x="74" y="39"/>
                </a:cubicBezTo>
                <a:cubicBezTo>
                  <a:pt x="74" y="38"/>
                  <a:pt x="74" y="38"/>
                  <a:pt x="74" y="38"/>
                </a:cubicBezTo>
                <a:cubicBezTo>
                  <a:pt x="75" y="37"/>
                  <a:pt x="75" y="37"/>
                  <a:pt x="75" y="37"/>
                </a:cubicBezTo>
                <a:cubicBezTo>
                  <a:pt x="75" y="37"/>
                  <a:pt x="75" y="37"/>
                  <a:pt x="75" y="37"/>
                </a:cubicBezTo>
                <a:cubicBezTo>
                  <a:pt x="76" y="37"/>
                  <a:pt x="76" y="37"/>
                  <a:pt x="76" y="37"/>
                </a:cubicBezTo>
                <a:cubicBezTo>
                  <a:pt x="78" y="36"/>
                  <a:pt x="78" y="36"/>
                  <a:pt x="78" y="36"/>
                </a:cubicBezTo>
                <a:cubicBezTo>
                  <a:pt x="78" y="35"/>
                  <a:pt x="78" y="35"/>
                  <a:pt x="78" y="35"/>
                </a:cubicBezTo>
                <a:cubicBezTo>
                  <a:pt x="78" y="33"/>
                  <a:pt x="78" y="33"/>
                  <a:pt x="78" y="33"/>
                </a:cubicBezTo>
                <a:cubicBezTo>
                  <a:pt x="78" y="33"/>
                  <a:pt x="78" y="33"/>
                  <a:pt x="78" y="33"/>
                </a:cubicBezTo>
                <a:cubicBezTo>
                  <a:pt x="77" y="33"/>
                  <a:pt x="77" y="33"/>
                  <a:pt x="77" y="33"/>
                </a:cubicBezTo>
                <a:cubicBezTo>
                  <a:pt x="77" y="33"/>
                  <a:pt x="77" y="33"/>
                  <a:pt x="77" y="33"/>
                </a:cubicBezTo>
                <a:cubicBezTo>
                  <a:pt x="77" y="32"/>
                  <a:pt x="77" y="32"/>
                  <a:pt x="77" y="32"/>
                </a:cubicBezTo>
                <a:cubicBezTo>
                  <a:pt x="78" y="31"/>
                  <a:pt x="78" y="31"/>
                  <a:pt x="78" y="31"/>
                </a:cubicBezTo>
                <a:cubicBezTo>
                  <a:pt x="78" y="29"/>
                  <a:pt x="78" y="29"/>
                  <a:pt x="78" y="29"/>
                </a:cubicBezTo>
                <a:cubicBezTo>
                  <a:pt x="78" y="28"/>
                  <a:pt x="78" y="28"/>
                  <a:pt x="78" y="28"/>
                </a:cubicBezTo>
                <a:cubicBezTo>
                  <a:pt x="78" y="27"/>
                  <a:pt x="78" y="27"/>
                  <a:pt x="78" y="27"/>
                </a:cubicBezTo>
                <a:cubicBezTo>
                  <a:pt x="79" y="26"/>
                  <a:pt x="79" y="26"/>
                  <a:pt x="79" y="26"/>
                </a:cubicBezTo>
                <a:cubicBezTo>
                  <a:pt x="81" y="26"/>
                  <a:pt x="81" y="26"/>
                  <a:pt x="81" y="26"/>
                </a:cubicBezTo>
                <a:cubicBezTo>
                  <a:pt x="82" y="25"/>
                  <a:pt x="82" y="25"/>
                  <a:pt x="82" y="25"/>
                </a:cubicBezTo>
                <a:cubicBezTo>
                  <a:pt x="84" y="25"/>
                  <a:pt x="84" y="25"/>
                  <a:pt x="84" y="25"/>
                </a:cubicBezTo>
                <a:cubicBezTo>
                  <a:pt x="84" y="25"/>
                  <a:pt x="84" y="25"/>
                  <a:pt x="84" y="25"/>
                </a:cubicBezTo>
                <a:cubicBezTo>
                  <a:pt x="84" y="26"/>
                  <a:pt x="84" y="26"/>
                  <a:pt x="84" y="26"/>
                </a:cubicBezTo>
                <a:cubicBezTo>
                  <a:pt x="84" y="27"/>
                  <a:pt x="84" y="27"/>
                  <a:pt x="84" y="27"/>
                </a:cubicBezTo>
                <a:cubicBezTo>
                  <a:pt x="86" y="28"/>
                  <a:pt x="86" y="28"/>
                  <a:pt x="86" y="28"/>
                </a:cubicBezTo>
                <a:cubicBezTo>
                  <a:pt x="86" y="29"/>
                  <a:pt x="86" y="29"/>
                  <a:pt x="86" y="29"/>
                </a:cubicBezTo>
                <a:cubicBezTo>
                  <a:pt x="86" y="32"/>
                  <a:pt x="86" y="32"/>
                  <a:pt x="86" y="32"/>
                </a:cubicBezTo>
                <a:cubicBezTo>
                  <a:pt x="85" y="34"/>
                  <a:pt x="85" y="34"/>
                  <a:pt x="85" y="34"/>
                </a:cubicBezTo>
                <a:cubicBezTo>
                  <a:pt x="86" y="34"/>
                  <a:pt x="86" y="34"/>
                  <a:pt x="86" y="34"/>
                </a:cubicBezTo>
                <a:cubicBezTo>
                  <a:pt x="88" y="36"/>
                  <a:pt x="88" y="36"/>
                  <a:pt x="88" y="36"/>
                </a:cubicBezTo>
                <a:cubicBezTo>
                  <a:pt x="88" y="37"/>
                  <a:pt x="88" y="37"/>
                  <a:pt x="88" y="37"/>
                </a:cubicBezTo>
                <a:cubicBezTo>
                  <a:pt x="89" y="38"/>
                  <a:pt x="89" y="38"/>
                  <a:pt x="89" y="38"/>
                </a:cubicBezTo>
                <a:cubicBezTo>
                  <a:pt x="89" y="37"/>
                  <a:pt x="89" y="37"/>
                  <a:pt x="89" y="37"/>
                </a:cubicBezTo>
                <a:cubicBezTo>
                  <a:pt x="89" y="35"/>
                  <a:pt x="89" y="35"/>
                  <a:pt x="89" y="35"/>
                </a:cubicBezTo>
                <a:cubicBezTo>
                  <a:pt x="89" y="34"/>
                  <a:pt x="89" y="34"/>
                  <a:pt x="89" y="34"/>
                </a:cubicBezTo>
                <a:cubicBezTo>
                  <a:pt x="87" y="32"/>
                  <a:pt x="87" y="32"/>
                  <a:pt x="87" y="32"/>
                </a:cubicBezTo>
                <a:cubicBezTo>
                  <a:pt x="87" y="30"/>
                  <a:pt x="87" y="30"/>
                  <a:pt x="87" y="30"/>
                </a:cubicBezTo>
                <a:cubicBezTo>
                  <a:pt x="88" y="28"/>
                  <a:pt x="88" y="28"/>
                  <a:pt x="88" y="28"/>
                </a:cubicBezTo>
                <a:cubicBezTo>
                  <a:pt x="88" y="27"/>
                  <a:pt x="88" y="27"/>
                  <a:pt x="88" y="27"/>
                </a:cubicBezTo>
                <a:cubicBezTo>
                  <a:pt x="88" y="27"/>
                  <a:pt x="88" y="27"/>
                  <a:pt x="88" y="27"/>
                </a:cubicBezTo>
                <a:cubicBezTo>
                  <a:pt x="87" y="26"/>
                  <a:pt x="87" y="26"/>
                  <a:pt x="87" y="26"/>
                </a:cubicBezTo>
                <a:cubicBezTo>
                  <a:pt x="87" y="25"/>
                  <a:pt x="87" y="25"/>
                  <a:pt x="87" y="25"/>
                </a:cubicBezTo>
                <a:cubicBezTo>
                  <a:pt x="87" y="24"/>
                  <a:pt x="87" y="24"/>
                  <a:pt x="87" y="24"/>
                </a:cubicBezTo>
                <a:cubicBezTo>
                  <a:pt x="87" y="23"/>
                  <a:pt x="87" y="23"/>
                  <a:pt x="87" y="23"/>
                </a:cubicBezTo>
                <a:cubicBezTo>
                  <a:pt x="88" y="22"/>
                  <a:pt x="88" y="22"/>
                  <a:pt x="88" y="22"/>
                </a:cubicBezTo>
                <a:cubicBezTo>
                  <a:pt x="89" y="22"/>
                  <a:pt x="89" y="22"/>
                  <a:pt x="89" y="22"/>
                </a:cubicBezTo>
                <a:cubicBezTo>
                  <a:pt x="90" y="23"/>
                  <a:pt x="90" y="23"/>
                  <a:pt x="90" y="23"/>
                </a:cubicBezTo>
                <a:cubicBezTo>
                  <a:pt x="91" y="22"/>
                  <a:pt x="91" y="22"/>
                  <a:pt x="91" y="22"/>
                </a:cubicBezTo>
                <a:cubicBezTo>
                  <a:pt x="92" y="22"/>
                  <a:pt x="92" y="22"/>
                  <a:pt x="92" y="22"/>
                </a:cubicBezTo>
                <a:cubicBezTo>
                  <a:pt x="93" y="23"/>
                  <a:pt x="93" y="23"/>
                  <a:pt x="93" y="23"/>
                </a:cubicBezTo>
                <a:cubicBezTo>
                  <a:pt x="96" y="22"/>
                  <a:pt x="96" y="22"/>
                  <a:pt x="96" y="22"/>
                </a:cubicBezTo>
                <a:cubicBezTo>
                  <a:pt x="98" y="22"/>
                  <a:pt x="98" y="22"/>
                  <a:pt x="98" y="22"/>
                </a:cubicBezTo>
                <a:cubicBezTo>
                  <a:pt x="101" y="21"/>
                  <a:pt x="101" y="21"/>
                  <a:pt x="101" y="21"/>
                </a:cubicBezTo>
                <a:cubicBezTo>
                  <a:pt x="101" y="22"/>
                  <a:pt x="101" y="22"/>
                  <a:pt x="101" y="22"/>
                </a:cubicBezTo>
                <a:cubicBezTo>
                  <a:pt x="102" y="23"/>
                  <a:pt x="102" y="23"/>
                  <a:pt x="102" y="23"/>
                </a:cubicBezTo>
                <a:cubicBezTo>
                  <a:pt x="102" y="24"/>
                  <a:pt x="102" y="24"/>
                  <a:pt x="102" y="24"/>
                </a:cubicBezTo>
                <a:cubicBezTo>
                  <a:pt x="102" y="25"/>
                  <a:pt x="102" y="25"/>
                  <a:pt x="102" y="25"/>
                </a:cubicBezTo>
                <a:cubicBezTo>
                  <a:pt x="103" y="25"/>
                  <a:pt x="103" y="25"/>
                  <a:pt x="103" y="25"/>
                </a:cubicBezTo>
                <a:cubicBezTo>
                  <a:pt x="103" y="24"/>
                  <a:pt x="103" y="24"/>
                  <a:pt x="103" y="24"/>
                </a:cubicBezTo>
                <a:cubicBezTo>
                  <a:pt x="103" y="23"/>
                  <a:pt x="103" y="23"/>
                  <a:pt x="103" y="23"/>
                </a:cubicBezTo>
                <a:cubicBezTo>
                  <a:pt x="103" y="22"/>
                  <a:pt x="103" y="22"/>
                  <a:pt x="103" y="22"/>
                </a:cubicBezTo>
                <a:cubicBezTo>
                  <a:pt x="104" y="20"/>
                  <a:pt x="104" y="20"/>
                  <a:pt x="104" y="20"/>
                </a:cubicBezTo>
                <a:cubicBezTo>
                  <a:pt x="105" y="21"/>
                  <a:pt x="105" y="21"/>
                  <a:pt x="105" y="21"/>
                </a:cubicBezTo>
                <a:cubicBezTo>
                  <a:pt x="106" y="22"/>
                  <a:pt x="106" y="22"/>
                  <a:pt x="106" y="22"/>
                </a:cubicBezTo>
                <a:cubicBezTo>
                  <a:pt x="106" y="23"/>
                  <a:pt x="106" y="23"/>
                  <a:pt x="106" y="23"/>
                </a:cubicBezTo>
                <a:cubicBezTo>
                  <a:pt x="107" y="24"/>
                  <a:pt x="107" y="24"/>
                  <a:pt x="107" y="24"/>
                </a:cubicBezTo>
                <a:cubicBezTo>
                  <a:pt x="107" y="23"/>
                  <a:pt x="107" y="23"/>
                  <a:pt x="107" y="23"/>
                </a:cubicBezTo>
                <a:cubicBezTo>
                  <a:pt x="107" y="21"/>
                  <a:pt x="107" y="21"/>
                  <a:pt x="107" y="21"/>
                </a:cubicBezTo>
                <a:cubicBezTo>
                  <a:pt x="106" y="20"/>
                  <a:pt x="106" y="20"/>
                  <a:pt x="106" y="20"/>
                </a:cubicBezTo>
                <a:cubicBezTo>
                  <a:pt x="106" y="19"/>
                  <a:pt x="106" y="19"/>
                  <a:pt x="106" y="19"/>
                </a:cubicBezTo>
                <a:cubicBezTo>
                  <a:pt x="107" y="19"/>
                  <a:pt x="107" y="19"/>
                  <a:pt x="107" y="19"/>
                </a:cubicBezTo>
                <a:cubicBezTo>
                  <a:pt x="108" y="19"/>
                  <a:pt x="108" y="19"/>
                  <a:pt x="108" y="19"/>
                </a:cubicBezTo>
                <a:cubicBezTo>
                  <a:pt x="109" y="20"/>
                  <a:pt x="109" y="20"/>
                  <a:pt x="109" y="20"/>
                </a:cubicBezTo>
                <a:cubicBezTo>
                  <a:pt x="110" y="19"/>
                  <a:pt x="110" y="19"/>
                  <a:pt x="110" y="19"/>
                </a:cubicBezTo>
                <a:cubicBezTo>
                  <a:pt x="111" y="19"/>
                  <a:pt x="111" y="19"/>
                  <a:pt x="111" y="19"/>
                </a:cubicBezTo>
                <a:cubicBezTo>
                  <a:pt x="113" y="19"/>
                  <a:pt x="113" y="19"/>
                  <a:pt x="113" y="19"/>
                </a:cubicBezTo>
                <a:cubicBezTo>
                  <a:pt x="113" y="20"/>
                  <a:pt x="113" y="20"/>
                  <a:pt x="113" y="20"/>
                </a:cubicBezTo>
                <a:cubicBezTo>
                  <a:pt x="113" y="23"/>
                  <a:pt x="113" y="23"/>
                  <a:pt x="113" y="23"/>
                </a:cubicBezTo>
                <a:cubicBezTo>
                  <a:pt x="112" y="24"/>
                  <a:pt x="112" y="24"/>
                  <a:pt x="112" y="24"/>
                </a:cubicBezTo>
                <a:cubicBezTo>
                  <a:pt x="112" y="25"/>
                  <a:pt x="112" y="25"/>
                  <a:pt x="112" y="25"/>
                </a:cubicBezTo>
                <a:cubicBezTo>
                  <a:pt x="111" y="27"/>
                  <a:pt x="111" y="27"/>
                  <a:pt x="111" y="27"/>
                </a:cubicBezTo>
                <a:cubicBezTo>
                  <a:pt x="111" y="29"/>
                  <a:pt x="111" y="29"/>
                  <a:pt x="111" y="29"/>
                </a:cubicBezTo>
                <a:cubicBezTo>
                  <a:pt x="111" y="29"/>
                  <a:pt x="111" y="29"/>
                  <a:pt x="111" y="29"/>
                </a:cubicBezTo>
                <a:cubicBezTo>
                  <a:pt x="110" y="30"/>
                  <a:pt x="110" y="30"/>
                  <a:pt x="110" y="30"/>
                </a:cubicBezTo>
                <a:cubicBezTo>
                  <a:pt x="110" y="31"/>
                  <a:pt x="110" y="31"/>
                  <a:pt x="110" y="31"/>
                </a:cubicBezTo>
                <a:cubicBezTo>
                  <a:pt x="109" y="31"/>
                  <a:pt x="109" y="31"/>
                  <a:pt x="109" y="31"/>
                </a:cubicBezTo>
                <a:cubicBezTo>
                  <a:pt x="110" y="32"/>
                  <a:pt x="110" y="32"/>
                  <a:pt x="110" y="32"/>
                </a:cubicBezTo>
                <a:cubicBezTo>
                  <a:pt x="110" y="32"/>
                  <a:pt x="110" y="32"/>
                  <a:pt x="110" y="32"/>
                </a:cubicBezTo>
                <a:cubicBezTo>
                  <a:pt x="110" y="33"/>
                  <a:pt x="110" y="33"/>
                  <a:pt x="110" y="33"/>
                </a:cubicBezTo>
                <a:cubicBezTo>
                  <a:pt x="109" y="34"/>
                  <a:pt x="109" y="34"/>
                  <a:pt x="109" y="34"/>
                </a:cubicBezTo>
                <a:cubicBezTo>
                  <a:pt x="108" y="36"/>
                  <a:pt x="108" y="36"/>
                  <a:pt x="108" y="36"/>
                </a:cubicBezTo>
                <a:cubicBezTo>
                  <a:pt x="107" y="36"/>
                  <a:pt x="107" y="36"/>
                  <a:pt x="107" y="36"/>
                </a:cubicBezTo>
                <a:cubicBezTo>
                  <a:pt x="107" y="37"/>
                  <a:pt x="107" y="37"/>
                  <a:pt x="107" y="37"/>
                </a:cubicBezTo>
                <a:cubicBezTo>
                  <a:pt x="106" y="38"/>
                  <a:pt x="106" y="38"/>
                  <a:pt x="106" y="38"/>
                </a:cubicBezTo>
                <a:cubicBezTo>
                  <a:pt x="106" y="39"/>
                  <a:pt x="106" y="39"/>
                  <a:pt x="106" y="39"/>
                </a:cubicBezTo>
                <a:cubicBezTo>
                  <a:pt x="105" y="41"/>
                  <a:pt x="105" y="41"/>
                  <a:pt x="105" y="41"/>
                </a:cubicBezTo>
                <a:cubicBezTo>
                  <a:pt x="106" y="41"/>
                  <a:pt x="106" y="41"/>
                  <a:pt x="106" y="41"/>
                </a:cubicBezTo>
                <a:cubicBezTo>
                  <a:pt x="106" y="41"/>
                  <a:pt x="106" y="41"/>
                  <a:pt x="106" y="41"/>
                </a:cubicBezTo>
                <a:cubicBezTo>
                  <a:pt x="107" y="40"/>
                  <a:pt x="107" y="40"/>
                  <a:pt x="107" y="40"/>
                </a:cubicBezTo>
                <a:cubicBezTo>
                  <a:pt x="108" y="39"/>
                  <a:pt x="108" y="39"/>
                  <a:pt x="108" y="39"/>
                </a:cubicBezTo>
                <a:cubicBezTo>
                  <a:pt x="108" y="38"/>
                  <a:pt x="108" y="38"/>
                  <a:pt x="108" y="38"/>
                </a:cubicBezTo>
                <a:cubicBezTo>
                  <a:pt x="109" y="37"/>
                  <a:pt x="109" y="37"/>
                  <a:pt x="109" y="37"/>
                </a:cubicBezTo>
                <a:cubicBezTo>
                  <a:pt x="110" y="36"/>
                  <a:pt x="110" y="36"/>
                  <a:pt x="110" y="36"/>
                </a:cubicBezTo>
                <a:cubicBezTo>
                  <a:pt x="110" y="35"/>
                  <a:pt x="110" y="35"/>
                  <a:pt x="110" y="35"/>
                </a:cubicBezTo>
                <a:cubicBezTo>
                  <a:pt x="111" y="34"/>
                  <a:pt x="111" y="34"/>
                  <a:pt x="111" y="34"/>
                </a:cubicBezTo>
                <a:cubicBezTo>
                  <a:pt x="112" y="34"/>
                  <a:pt x="112" y="34"/>
                  <a:pt x="112" y="34"/>
                </a:cubicBezTo>
                <a:cubicBezTo>
                  <a:pt x="112" y="33"/>
                  <a:pt x="112" y="33"/>
                  <a:pt x="112" y="33"/>
                </a:cubicBezTo>
                <a:cubicBezTo>
                  <a:pt x="112" y="32"/>
                  <a:pt x="112" y="32"/>
                  <a:pt x="112" y="32"/>
                </a:cubicBezTo>
                <a:cubicBezTo>
                  <a:pt x="113" y="32"/>
                  <a:pt x="113" y="32"/>
                  <a:pt x="113" y="32"/>
                </a:cubicBezTo>
                <a:cubicBezTo>
                  <a:pt x="113" y="30"/>
                  <a:pt x="113" y="30"/>
                  <a:pt x="113" y="30"/>
                </a:cubicBezTo>
                <a:cubicBezTo>
                  <a:pt x="114" y="30"/>
                  <a:pt x="114" y="30"/>
                  <a:pt x="114" y="30"/>
                </a:cubicBezTo>
                <a:cubicBezTo>
                  <a:pt x="114" y="31"/>
                  <a:pt x="114" y="31"/>
                  <a:pt x="114" y="31"/>
                </a:cubicBezTo>
                <a:cubicBezTo>
                  <a:pt x="114" y="32"/>
                  <a:pt x="114" y="32"/>
                  <a:pt x="114" y="32"/>
                </a:cubicBezTo>
                <a:cubicBezTo>
                  <a:pt x="115" y="32"/>
                  <a:pt x="115" y="32"/>
                  <a:pt x="115" y="32"/>
                </a:cubicBezTo>
                <a:cubicBezTo>
                  <a:pt x="115" y="33"/>
                  <a:pt x="115" y="33"/>
                  <a:pt x="115" y="33"/>
                </a:cubicBezTo>
                <a:cubicBezTo>
                  <a:pt x="116" y="35"/>
                  <a:pt x="116" y="35"/>
                  <a:pt x="116" y="35"/>
                </a:cubicBezTo>
                <a:cubicBezTo>
                  <a:pt x="117" y="36"/>
                  <a:pt x="117" y="36"/>
                  <a:pt x="117" y="36"/>
                </a:cubicBezTo>
                <a:cubicBezTo>
                  <a:pt x="117" y="38"/>
                  <a:pt x="117" y="38"/>
                  <a:pt x="117" y="38"/>
                </a:cubicBezTo>
                <a:cubicBezTo>
                  <a:pt x="117" y="38"/>
                  <a:pt x="117" y="38"/>
                  <a:pt x="117" y="38"/>
                </a:cubicBezTo>
                <a:cubicBezTo>
                  <a:pt x="118" y="38"/>
                  <a:pt x="118" y="38"/>
                  <a:pt x="118" y="38"/>
                </a:cubicBezTo>
                <a:cubicBezTo>
                  <a:pt x="119" y="39"/>
                  <a:pt x="119" y="39"/>
                  <a:pt x="119" y="39"/>
                </a:cubicBezTo>
                <a:cubicBezTo>
                  <a:pt x="119" y="39"/>
                  <a:pt x="119" y="39"/>
                  <a:pt x="119" y="39"/>
                </a:cubicBezTo>
                <a:cubicBezTo>
                  <a:pt x="119" y="38"/>
                  <a:pt x="119" y="38"/>
                  <a:pt x="119" y="38"/>
                </a:cubicBezTo>
                <a:cubicBezTo>
                  <a:pt x="120" y="38"/>
                  <a:pt x="120" y="38"/>
                  <a:pt x="120" y="38"/>
                </a:cubicBezTo>
                <a:cubicBezTo>
                  <a:pt x="120" y="37"/>
                  <a:pt x="120" y="37"/>
                  <a:pt x="120" y="37"/>
                </a:cubicBezTo>
                <a:cubicBezTo>
                  <a:pt x="119" y="36"/>
                  <a:pt x="119" y="36"/>
                  <a:pt x="119" y="36"/>
                </a:cubicBezTo>
                <a:cubicBezTo>
                  <a:pt x="119" y="35"/>
                  <a:pt x="119" y="35"/>
                  <a:pt x="119" y="35"/>
                </a:cubicBezTo>
                <a:cubicBezTo>
                  <a:pt x="119" y="35"/>
                  <a:pt x="119" y="35"/>
                  <a:pt x="119" y="35"/>
                </a:cubicBezTo>
                <a:cubicBezTo>
                  <a:pt x="119" y="35"/>
                  <a:pt x="119" y="35"/>
                  <a:pt x="119" y="35"/>
                </a:cubicBezTo>
                <a:cubicBezTo>
                  <a:pt x="120" y="36"/>
                  <a:pt x="120" y="36"/>
                  <a:pt x="120" y="36"/>
                </a:cubicBezTo>
                <a:cubicBezTo>
                  <a:pt x="121" y="36"/>
                  <a:pt x="121" y="36"/>
                  <a:pt x="121" y="36"/>
                </a:cubicBezTo>
                <a:cubicBezTo>
                  <a:pt x="122" y="36"/>
                  <a:pt x="122" y="36"/>
                  <a:pt x="122" y="36"/>
                </a:cubicBezTo>
                <a:cubicBezTo>
                  <a:pt x="122" y="37"/>
                  <a:pt x="122" y="37"/>
                  <a:pt x="122" y="37"/>
                </a:cubicBezTo>
                <a:cubicBezTo>
                  <a:pt x="123" y="37"/>
                  <a:pt x="123" y="37"/>
                  <a:pt x="123" y="37"/>
                </a:cubicBezTo>
                <a:cubicBezTo>
                  <a:pt x="124" y="37"/>
                  <a:pt x="124" y="37"/>
                  <a:pt x="124" y="37"/>
                </a:cubicBezTo>
                <a:cubicBezTo>
                  <a:pt x="124" y="37"/>
                  <a:pt x="124" y="37"/>
                  <a:pt x="124" y="37"/>
                </a:cubicBezTo>
                <a:cubicBezTo>
                  <a:pt x="125" y="37"/>
                  <a:pt x="125" y="37"/>
                  <a:pt x="125" y="37"/>
                </a:cubicBezTo>
                <a:cubicBezTo>
                  <a:pt x="125" y="37"/>
                  <a:pt x="125" y="37"/>
                  <a:pt x="125" y="37"/>
                </a:cubicBezTo>
                <a:cubicBezTo>
                  <a:pt x="125" y="35"/>
                  <a:pt x="125" y="35"/>
                  <a:pt x="125" y="35"/>
                </a:cubicBezTo>
                <a:cubicBezTo>
                  <a:pt x="125" y="34"/>
                  <a:pt x="125" y="34"/>
                  <a:pt x="125" y="34"/>
                </a:cubicBezTo>
                <a:cubicBezTo>
                  <a:pt x="125" y="32"/>
                  <a:pt x="125" y="32"/>
                  <a:pt x="125" y="32"/>
                </a:cubicBezTo>
                <a:cubicBezTo>
                  <a:pt x="126" y="30"/>
                  <a:pt x="126" y="30"/>
                  <a:pt x="126" y="30"/>
                </a:cubicBezTo>
                <a:cubicBezTo>
                  <a:pt x="125" y="30"/>
                  <a:pt x="125" y="30"/>
                  <a:pt x="125" y="30"/>
                </a:cubicBezTo>
                <a:cubicBezTo>
                  <a:pt x="125" y="28"/>
                  <a:pt x="125" y="28"/>
                  <a:pt x="125" y="28"/>
                </a:cubicBezTo>
                <a:cubicBezTo>
                  <a:pt x="125" y="26"/>
                  <a:pt x="125" y="26"/>
                  <a:pt x="125" y="26"/>
                </a:cubicBezTo>
                <a:cubicBezTo>
                  <a:pt x="126" y="24"/>
                  <a:pt x="126" y="24"/>
                  <a:pt x="126" y="24"/>
                </a:cubicBezTo>
                <a:cubicBezTo>
                  <a:pt x="126" y="23"/>
                  <a:pt x="126" y="23"/>
                  <a:pt x="126" y="23"/>
                </a:cubicBezTo>
                <a:cubicBezTo>
                  <a:pt x="126" y="23"/>
                  <a:pt x="126" y="23"/>
                  <a:pt x="126" y="23"/>
                </a:cubicBezTo>
                <a:cubicBezTo>
                  <a:pt x="126" y="22"/>
                  <a:pt x="126" y="22"/>
                  <a:pt x="126" y="22"/>
                </a:cubicBezTo>
                <a:cubicBezTo>
                  <a:pt x="126" y="21"/>
                  <a:pt x="126" y="21"/>
                  <a:pt x="126" y="21"/>
                </a:cubicBezTo>
                <a:cubicBezTo>
                  <a:pt x="126" y="20"/>
                  <a:pt x="126" y="20"/>
                  <a:pt x="126" y="20"/>
                </a:cubicBezTo>
                <a:cubicBezTo>
                  <a:pt x="128" y="20"/>
                  <a:pt x="128" y="20"/>
                  <a:pt x="128" y="20"/>
                </a:cubicBezTo>
                <a:cubicBezTo>
                  <a:pt x="128" y="20"/>
                  <a:pt x="128" y="20"/>
                  <a:pt x="128" y="20"/>
                </a:cubicBezTo>
                <a:cubicBezTo>
                  <a:pt x="129" y="20"/>
                  <a:pt x="129" y="20"/>
                  <a:pt x="129" y="20"/>
                </a:cubicBezTo>
                <a:cubicBezTo>
                  <a:pt x="130" y="21"/>
                  <a:pt x="130" y="21"/>
                  <a:pt x="130" y="21"/>
                </a:cubicBezTo>
                <a:cubicBezTo>
                  <a:pt x="130" y="22"/>
                  <a:pt x="130" y="22"/>
                  <a:pt x="130" y="22"/>
                </a:cubicBezTo>
                <a:cubicBezTo>
                  <a:pt x="131" y="22"/>
                  <a:pt x="131" y="22"/>
                  <a:pt x="131" y="22"/>
                </a:cubicBezTo>
                <a:cubicBezTo>
                  <a:pt x="132" y="23"/>
                  <a:pt x="132" y="23"/>
                  <a:pt x="132" y="23"/>
                </a:cubicBezTo>
                <a:cubicBezTo>
                  <a:pt x="133" y="26"/>
                  <a:pt x="133" y="26"/>
                  <a:pt x="133" y="26"/>
                </a:cubicBezTo>
                <a:cubicBezTo>
                  <a:pt x="133" y="27"/>
                  <a:pt x="133" y="27"/>
                  <a:pt x="133" y="27"/>
                </a:cubicBezTo>
                <a:cubicBezTo>
                  <a:pt x="134" y="29"/>
                  <a:pt x="134" y="29"/>
                  <a:pt x="134" y="29"/>
                </a:cubicBezTo>
                <a:cubicBezTo>
                  <a:pt x="135" y="30"/>
                  <a:pt x="135" y="30"/>
                  <a:pt x="135" y="30"/>
                </a:cubicBezTo>
                <a:cubicBezTo>
                  <a:pt x="135" y="33"/>
                  <a:pt x="135" y="33"/>
                  <a:pt x="135" y="33"/>
                </a:cubicBezTo>
                <a:cubicBezTo>
                  <a:pt x="135" y="34"/>
                  <a:pt x="135" y="34"/>
                  <a:pt x="135" y="34"/>
                </a:cubicBezTo>
                <a:cubicBezTo>
                  <a:pt x="134" y="34"/>
                  <a:pt x="134" y="34"/>
                  <a:pt x="134" y="34"/>
                </a:cubicBezTo>
                <a:cubicBezTo>
                  <a:pt x="134" y="35"/>
                  <a:pt x="134" y="35"/>
                  <a:pt x="134" y="35"/>
                </a:cubicBezTo>
                <a:cubicBezTo>
                  <a:pt x="134" y="37"/>
                  <a:pt x="134" y="37"/>
                  <a:pt x="134" y="37"/>
                </a:cubicBezTo>
                <a:cubicBezTo>
                  <a:pt x="135" y="37"/>
                  <a:pt x="135" y="37"/>
                  <a:pt x="135" y="37"/>
                </a:cubicBezTo>
                <a:cubicBezTo>
                  <a:pt x="136" y="39"/>
                  <a:pt x="136" y="39"/>
                  <a:pt x="136" y="39"/>
                </a:cubicBezTo>
                <a:cubicBezTo>
                  <a:pt x="136" y="41"/>
                  <a:pt x="136" y="41"/>
                  <a:pt x="136" y="41"/>
                </a:cubicBezTo>
                <a:cubicBezTo>
                  <a:pt x="136" y="42"/>
                  <a:pt x="136" y="42"/>
                  <a:pt x="136" y="42"/>
                </a:cubicBezTo>
                <a:cubicBezTo>
                  <a:pt x="136" y="43"/>
                  <a:pt x="136" y="43"/>
                  <a:pt x="136" y="43"/>
                </a:cubicBezTo>
                <a:cubicBezTo>
                  <a:pt x="137" y="43"/>
                  <a:pt x="137" y="43"/>
                  <a:pt x="137" y="43"/>
                </a:cubicBezTo>
                <a:cubicBezTo>
                  <a:pt x="139" y="44"/>
                  <a:pt x="139" y="44"/>
                  <a:pt x="139" y="44"/>
                </a:cubicBezTo>
                <a:cubicBezTo>
                  <a:pt x="140" y="44"/>
                  <a:pt x="140" y="44"/>
                  <a:pt x="140" y="44"/>
                </a:cubicBezTo>
                <a:cubicBezTo>
                  <a:pt x="141" y="43"/>
                  <a:pt x="141" y="43"/>
                  <a:pt x="141" y="43"/>
                </a:cubicBezTo>
                <a:cubicBezTo>
                  <a:pt x="142" y="42"/>
                  <a:pt x="142" y="42"/>
                  <a:pt x="142" y="42"/>
                </a:cubicBezTo>
                <a:cubicBezTo>
                  <a:pt x="142" y="41"/>
                  <a:pt x="142" y="41"/>
                  <a:pt x="142" y="41"/>
                </a:cubicBezTo>
                <a:cubicBezTo>
                  <a:pt x="143" y="41"/>
                  <a:pt x="143" y="41"/>
                  <a:pt x="143" y="41"/>
                </a:cubicBezTo>
                <a:cubicBezTo>
                  <a:pt x="143" y="42"/>
                  <a:pt x="143" y="42"/>
                  <a:pt x="143" y="42"/>
                </a:cubicBezTo>
                <a:cubicBezTo>
                  <a:pt x="143" y="43"/>
                  <a:pt x="143" y="43"/>
                  <a:pt x="143" y="43"/>
                </a:cubicBezTo>
                <a:cubicBezTo>
                  <a:pt x="143" y="43"/>
                  <a:pt x="143" y="43"/>
                  <a:pt x="143" y="43"/>
                </a:cubicBezTo>
                <a:cubicBezTo>
                  <a:pt x="144" y="42"/>
                  <a:pt x="144" y="42"/>
                  <a:pt x="144" y="42"/>
                </a:cubicBezTo>
                <a:cubicBezTo>
                  <a:pt x="145" y="43"/>
                  <a:pt x="145" y="43"/>
                  <a:pt x="145" y="43"/>
                </a:cubicBezTo>
                <a:cubicBezTo>
                  <a:pt x="145" y="43"/>
                  <a:pt x="145" y="43"/>
                  <a:pt x="145" y="43"/>
                </a:cubicBezTo>
                <a:cubicBezTo>
                  <a:pt x="145" y="44"/>
                  <a:pt x="145" y="44"/>
                  <a:pt x="145" y="44"/>
                </a:cubicBezTo>
                <a:cubicBezTo>
                  <a:pt x="146" y="45"/>
                  <a:pt x="146" y="45"/>
                  <a:pt x="146" y="45"/>
                </a:cubicBezTo>
                <a:cubicBezTo>
                  <a:pt x="147" y="45"/>
                  <a:pt x="147" y="45"/>
                  <a:pt x="147" y="45"/>
                </a:cubicBezTo>
                <a:cubicBezTo>
                  <a:pt x="147" y="45"/>
                  <a:pt x="147" y="45"/>
                  <a:pt x="147" y="45"/>
                </a:cubicBezTo>
                <a:cubicBezTo>
                  <a:pt x="148" y="45"/>
                  <a:pt x="148" y="45"/>
                  <a:pt x="148" y="45"/>
                </a:cubicBezTo>
                <a:cubicBezTo>
                  <a:pt x="149" y="45"/>
                  <a:pt x="149" y="45"/>
                  <a:pt x="149" y="45"/>
                </a:cubicBezTo>
                <a:cubicBezTo>
                  <a:pt x="148" y="45"/>
                  <a:pt x="148" y="45"/>
                  <a:pt x="148" y="45"/>
                </a:cubicBezTo>
                <a:cubicBezTo>
                  <a:pt x="147" y="44"/>
                  <a:pt x="147" y="44"/>
                  <a:pt x="147" y="44"/>
                </a:cubicBezTo>
                <a:cubicBezTo>
                  <a:pt x="147" y="43"/>
                  <a:pt x="147" y="43"/>
                  <a:pt x="147" y="43"/>
                </a:cubicBezTo>
                <a:cubicBezTo>
                  <a:pt x="147" y="42"/>
                  <a:pt x="147" y="42"/>
                  <a:pt x="147" y="42"/>
                </a:cubicBezTo>
                <a:cubicBezTo>
                  <a:pt x="146" y="42"/>
                  <a:pt x="146" y="42"/>
                  <a:pt x="146" y="42"/>
                </a:cubicBezTo>
                <a:cubicBezTo>
                  <a:pt x="146" y="42"/>
                  <a:pt x="146" y="42"/>
                  <a:pt x="146" y="42"/>
                </a:cubicBezTo>
                <a:cubicBezTo>
                  <a:pt x="146" y="41"/>
                  <a:pt x="146" y="41"/>
                  <a:pt x="146" y="41"/>
                </a:cubicBezTo>
                <a:cubicBezTo>
                  <a:pt x="145" y="40"/>
                  <a:pt x="145" y="40"/>
                  <a:pt x="145" y="40"/>
                </a:cubicBezTo>
                <a:cubicBezTo>
                  <a:pt x="144" y="39"/>
                  <a:pt x="144" y="39"/>
                  <a:pt x="144" y="39"/>
                </a:cubicBezTo>
                <a:cubicBezTo>
                  <a:pt x="144" y="38"/>
                  <a:pt x="144" y="38"/>
                  <a:pt x="144" y="38"/>
                </a:cubicBezTo>
                <a:cubicBezTo>
                  <a:pt x="143" y="36"/>
                  <a:pt x="143" y="36"/>
                  <a:pt x="143" y="36"/>
                </a:cubicBezTo>
                <a:cubicBezTo>
                  <a:pt x="143" y="35"/>
                  <a:pt x="143" y="35"/>
                  <a:pt x="143" y="35"/>
                </a:cubicBezTo>
                <a:cubicBezTo>
                  <a:pt x="143" y="35"/>
                  <a:pt x="143" y="35"/>
                  <a:pt x="143" y="35"/>
                </a:cubicBezTo>
                <a:cubicBezTo>
                  <a:pt x="143" y="33"/>
                  <a:pt x="143" y="33"/>
                  <a:pt x="143" y="33"/>
                </a:cubicBezTo>
                <a:cubicBezTo>
                  <a:pt x="143" y="32"/>
                  <a:pt x="143" y="32"/>
                  <a:pt x="143" y="32"/>
                </a:cubicBezTo>
                <a:cubicBezTo>
                  <a:pt x="142" y="30"/>
                  <a:pt x="142" y="30"/>
                  <a:pt x="142" y="30"/>
                </a:cubicBezTo>
                <a:cubicBezTo>
                  <a:pt x="142" y="29"/>
                  <a:pt x="142" y="29"/>
                  <a:pt x="142" y="29"/>
                </a:cubicBezTo>
                <a:cubicBezTo>
                  <a:pt x="142" y="29"/>
                  <a:pt x="142" y="29"/>
                  <a:pt x="142" y="29"/>
                </a:cubicBezTo>
                <a:cubicBezTo>
                  <a:pt x="142" y="27"/>
                  <a:pt x="142" y="27"/>
                  <a:pt x="142" y="27"/>
                </a:cubicBezTo>
                <a:cubicBezTo>
                  <a:pt x="141" y="26"/>
                  <a:pt x="141" y="26"/>
                  <a:pt x="141" y="26"/>
                </a:cubicBezTo>
                <a:cubicBezTo>
                  <a:pt x="141" y="25"/>
                  <a:pt x="141" y="25"/>
                  <a:pt x="141" y="25"/>
                </a:cubicBezTo>
                <a:cubicBezTo>
                  <a:pt x="141" y="23"/>
                  <a:pt x="141" y="23"/>
                  <a:pt x="141" y="23"/>
                </a:cubicBezTo>
                <a:cubicBezTo>
                  <a:pt x="140" y="22"/>
                  <a:pt x="140" y="22"/>
                  <a:pt x="140" y="22"/>
                </a:cubicBezTo>
                <a:cubicBezTo>
                  <a:pt x="141" y="21"/>
                  <a:pt x="141" y="21"/>
                  <a:pt x="141" y="21"/>
                </a:cubicBezTo>
                <a:cubicBezTo>
                  <a:pt x="140" y="20"/>
                  <a:pt x="140" y="20"/>
                  <a:pt x="140" y="20"/>
                </a:cubicBezTo>
                <a:cubicBezTo>
                  <a:pt x="140" y="19"/>
                  <a:pt x="140" y="19"/>
                  <a:pt x="140" y="19"/>
                </a:cubicBezTo>
                <a:cubicBezTo>
                  <a:pt x="140" y="18"/>
                  <a:pt x="140" y="18"/>
                  <a:pt x="140" y="18"/>
                </a:cubicBezTo>
                <a:cubicBezTo>
                  <a:pt x="142" y="19"/>
                  <a:pt x="142" y="19"/>
                  <a:pt x="142" y="19"/>
                </a:cubicBezTo>
                <a:cubicBezTo>
                  <a:pt x="143" y="19"/>
                  <a:pt x="143" y="19"/>
                  <a:pt x="143" y="19"/>
                </a:cubicBezTo>
                <a:cubicBezTo>
                  <a:pt x="144" y="19"/>
                  <a:pt x="144" y="19"/>
                  <a:pt x="144" y="19"/>
                </a:cubicBezTo>
                <a:cubicBezTo>
                  <a:pt x="144" y="19"/>
                  <a:pt x="144" y="19"/>
                  <a:pt x="144" y="19"/>
                </a:cubicBezTo>
                <a:cubicBezTo>
                  <a:pt x="145" y="19"/>
                  <a:pt x="145" y="19"/>
                  <a:pt x="145" y="19"/>
                </a:cubicBezTo>
                <a:cubicBezTo>
                  <a:pt x="147" y="21"/>
                  <a:pt x="147" y="21"/>
                  <a:pt x="147" y="21"/>
                </a:cubicBezTo>
                <a:cubicBezTo>
                  <a:pt x="148" y="22"/>
                  <a:pt x="148" y="22"/>
                  <a:pt x="148" y="22"/>
                </a:cubicBezTo>
                <a:cubicBezTo>
                  <a:pt x="149" y="21"/>
                  <a:pt x="149" y="21"/>
                  <a:pt x="149" y="21"/>
                </a:cubicBezTo>
                <a:cubicBezTo>
                  <a:pt x="149" y="20"/>
                  <a:pt x="149" y="20"/>
                  <a:pt x="149" y="20"/>
                </a:cubicBezTo>
                <a:cubicBezTo>
                  <a:pt x="148" y="20"/>
                  <a:pt x="148" y="20"/>
                  <a:pt x="148" y="20"/>
                </a:cubicBezTo>
                <a:cubicBezTo>
                  <a:pt x="149" y="18"/>
                  <a:pt x="149" y="18"/>
                  <a:pt x="149" y="18"/>
                </a:cubicBezTo>
                <a:cubicBezTo>
                  <a:pt x="150" y="18"/>
                  <a:pt x="150" y="18"/>
                  <a:pt x="150" y="18"/>
                </a:cubicBezTo>
                <a:cubicBezTo>
                  <a:pt x="151" y="18"/>
                  <a:pt x="151" y="18"/>
                  <a:pt x="151" y="18"/>
                </a:cubicBezTo>
                <a:cubicBezTo>
                  <a:pt x="152" y="18"/>
                  <a:pt x="152" y="18"/>
                  <a:pt x="152" y="18"/>
                </a:cubicBezTo>
                <a:cubicBezTo>
                  <a:pt x="153" y="17"/>
                  <a:pt x="153" y="17"/>
                  <a:pt x="153" y="17"/>
                </a:cubicBezTo>
                <a:cubicBezTo>
                  <a:pt x="154" y="17"/>
                  <a:pt x="154" y="17"/>
                  <a:pt x="154" y="17"/>
                </a:cubicBezTo>
                <a:cubicBezTo>
                  <a:pt x="155" y="18"/>
                  <a:pt x="155" y="18"/>
                  <a:pt x="155" y="18"/>
                </a:cubicBezTo>
                <a:cubicBezTo>
                  <a:pt x="156" y="18"/>
                  <a:pt x="156" y="18"/>
                  <a:pt x="156" y="18"/>
                </a:cubicBezTo>
                <a:cubicBezTo>
                  <a:pt x="157" y="19"/>
                  <a:pt x="157" y="19"/>
                  <a:pt x="157" y="19"/>
                </a:cubicBezTo>
                <a:cubicBezTo>
                  <a:pt x="157" y="21"/>
                  <a:pt x="157" y="21"/>
                  <a:pt x="157" y="21"/>
                </a:cubicBezTo>
                <a:cubicBezTo>
                  <a:pt x="157" y="21"/>
                  <a:pt x="157" y="21"/>
                  <a:pt x="157" y="21"/>
                </a:cubicBezTo>
                <a:cubicBezTo>
                  <a:pt x="159" y="23"/>
                  <a:pt x="159" y="23"/>
                  <a:pt x="159" y="23"/>
                </a:cubicBezTo>
                <a:cubicBezTo>
                  <a:pt x="159" y="24"/>
                  <a:pt x="159" y="24"/>
                  <a:pt x="159" y="24"/>
                </a:cubicBezTo>
                <a:cubicBezTo>
                  <a:pt x="158" y="25"/>
                  <a:pt x="158" y="25"/>
                  <a:pt x="158" y="25"/>
                </a:cubicBezTo>
                <a:cubicBezTo>
                  <a:pt x="159" y="27"/>
                  <a:pt x="159" y="27"/>
                  <a:pt x="159" y="27"/>
                </a:cubicBezTo>
                <a:cubicBezTo>
                  <a:pt x="159" y="28"/>
                  <a:pt x="159" y="28"/>
                  <a:pt x="159" y="28"/>
                </a:cubicBezTo>
                <a:cubicBezTo>
                  <a:pt x="159" y="29"/>
                  <a:pt x="159" y="29"/>
                  <a:pt x="159" y="29"/>
                </a:cubicBezTo>
                <a:cubicBezTo>
                  <a:pt x="160" y="30"/>
                  <a:pt x="160" y="30"/>
                  <a:pt x="160" y="30"/>
                </a:cubicBezTo>
                <a:cubicBezTo>
                  <a:pt x="162" y="30"/>
                  <a:pt x="162" y="30"/>
                  <a:pt x="162" y="30"/>
                </a:cubicBezTo>
                <a:cubicBezTo>
                  <a:pt x="163" y="31"/>
                  <a:pt x="163" y="31"/>
                  <a:pt x="163" y="31"/>
                </a:cubicBezTo>
                <a:cubicBezTo>
                  <a:pt x="165" y="32"/>
                  <a:pt x="165" y="32"/>
                  <a:pt x="165" y="32"/>
                </a:cubicBezTo>
                <a:cubicBezTo>
                  <a:pt x="164" y="31"/>
                  <a:pt x="164" y="31"/>
                  <a:pt x="164" y="31"/>
                </a:cubicBezTo>
                <a:cubicBezTo>
                  <a:pt x="164" y="31"/>
                  <a:pt x="164" y="31"/>
                  <a:pt x="164" y="31"/>
                </a:cubicBezTo>
                <a:cubicBezTo>
                  <a:pt x="163" y="30"/>
                  <a:pt x="163" y="30"/>
                  <a:pt x="163" y="30"/>
                </a:cubicBezTo>
                <a:cubicBezTo>
                  <a:pt x="162" y="29"/>
                  <a:pt x="162" y="29"/>
                  <a:pt x="162" y="29"/>
                </a:cubicBezTo>
                <a:cubicBezTo>
                  <a:pt x="161" y="29"/>
                  <a:pt x="161" y="29"/>
                  <a:pt x="161" y="29"/>
                </a:cubicBezTo>
                <a:cubicBezTo>
                  <a:pt x="160" y="28"/>
                  <a:pt x="160" y="28"/>
                  <a:pt x="160" y="28"/>
                </a:cubicBezTo>
                <a:cubicBezTo>
                  <a:pt x="160" y="27"/>
                  <a:pt x="160" y="27"/>
                  <a:pt x="160" y="27"/>
                </a:cubicBezTo>
                <a:cubicBezTo>
                  <a:pt x="160" y="26"/>
                  <a:pt x="160" y="26"/>
                  <a:pt x="160" y="26"/>
                </a:cubicBezTo>
                <a:cubicBezTo>
                  <a:pt x="159" y="25"/>
                  <a:pt x="159" y="25"/>
                  <a:pt x="159" y="25"/>
                </a:cubicBezTo>
                <a:cubicBezTo>
                  <a:pt x="159" y="24"/>
                  <a:pt x="159" y="24"/>
                  <a:pt x="159" y="24"/>
                </a:cubicBezTo>
                <a:cubicBezTo>
                  <a:pt x="160" y="22"/>
                  <a:pt x="160" y="22"/>
                  <a:pt x="160" y="22"/>
                </a:cubicBezTo>
                <a:cubicBezTo>
                  <a:pt x="160" y="21"/>
                  <a:pt x="160" y="21"/>
                  <a:pt x="160" y="21"/>
                </a:cubicBezTo>
                <a:cubicBezTo>
                  <a:pt x="160" y="20"/>
                  <a:pt x="160" y="20"/>
                  <a:pt x="160" y="20"/>
                </a:cubicBezTo>
                <a:cubicBezTo>
                  <a:pt x="160" y="19"/>
                  <a:pt x="160" y="19"/>
                  <a:pt x="160" y="19"/>
                </a:cubicBezTo>
                <a:cubicBezTo>
                  <a:pt x="159" y="19"/>
                  <a:pt x="159" y="19"/>
                  <a:pt x="159" y="19"/>
                </a:cubicBezTo>
                <a:cubicBezTo>
                  <a:pt x="158" y="18"/>
                  <a:pt x="158" y="18"/>
                  <a:pt x="158" y="18"/>
                </a:cubicBezTo>
                <a:cubicBezTo>
                  <a:pt x="157" y="16"/>
                  <a:pt x="157" y="16"/>
                  <a:pt x="157" y="16"/>
                </a:cubicBezTo>
                <a:cubicBezTo>
                  <a:pt x="156" y="16"/>
                  <a:pt x="156" y="16"/>
                  <a:pt x="156" y="16"/>
                </a:cubicBezTo>
                <a:cubicBezTo>
                  <a:pt x="155" y="16"/>
                  <a:pt x="155" y="16"/>
                  <a:pt x="155" y="16"/>
                </a:cubicBezTo>
                <a:cubicBezTo>
                  <a:pt x="154" y="17"/>
                  <a:pt x="154" y="17"/>
                  <a:pt x="154" y="17"/>
                </a:cubicBezTo>
                <a:cubicBezTo>
                  <a:pt x="153" y="17"/>
                  <a:pt x="153" y="17"/>
                  <a:pt x="153" y="17"/>
                </a:cubicBezTo>
                <a:cubicBezTo>
                  <a:pt x="152" y="16"/>
                  <a:pt x="152" y="16"/>
                  <a:pt x="152" y="16"/>
                </a:cubicBezTo>
                <a:cubicBezTo>
                  <a:pt x="152" y="14"/>
                  <a:pt x="152" y="14"/>
                  <a:pt x="152" y="14"/>
                </a:cubicBezTo>
                <a:cubicBezTo>
                  <a:pt x="153" y="13"/>
                  <a:pt x="153" y="13"/>
                  <a:pt x="153" y="13"/>
                </a:cubicBezTo>
                <a:cubicBezTo>
                  <a:pt x="154" y="13"/>
                  <a:pt x="154" y="13"/>
                  <a:pt x="154" y="13"/>
                </a:cubicBezTo>
                <a:cubicBezTo>
                  <a:pt x="154" y="12"/>
                  <a:pt x="154" y="12"/>
                  <a:pt x="154" y="12"/>
                </a:cubicBezTo>
                <a:cubicBezTo>
                  <a:pt x="152" y="11"/>
                  <a:pt x="152" y="11"/>
                  <a:pt x="152" y="11"/>
                </a:cubicBezTo>
                <a:cubicBezTo>
                  <a:pt x="152" y="10"/>
                  <a:pt x="152" y="10"/>
                  <a:pt x="152" y="10"/>
                </a:cubicBezTo>
                <a:cubicBezTo>
                  <a:pt x="152" y="9"/>
                  <a:pt x="152" y="9"/>
                  <a:pt x="152" y="9"/>
                </a:cubicBezTo>
                <a:cubicBezTo>
                  <a:pt x="152" y="8"/>
                  <a:pt x="152" y="8"/>
                  <a:pt x="152" y="8"/>
                </a:cubicBezTo>
                <a:cubicBezTo>
                  <a:pt x="153" y="8"/>
                  <a:pt x="153" y="8"/>
                  <a:pt x="153" y="8"/>
                </a:cubicBezTo>
                <a:cubicBezTo>
                  <a:pt x="154" y="9"/>
                  <a:pt x="154" y="9"/>
                  <a:pt x="154" y="9"/>
                </a:cubicBezTo>
                <a:cubicBezTo>
                  <a:pt x="154" y="10"/>
                  <a:pt x="154" y="10"/>
                  <a:pt x="154" y="10"/>
                </a:cubicBezTo>
                <a:cubicBezTo>
                  <a:pt x="155" y="10"/>
                  <a:pt x="155" y="10"/>
                  <a:pt x="155" y="10"/>
                </a:cubicBezTo>
                <a:cubicBezTo>
                  <a:pt x="156" y="8"/>
                  <a:pt x="156" y="8"/>
                  <a:pt x="156" y="8"/>
                </a:cubicBezTo>
                <a:cubicBezTo>
                  <a:pt x="157" y="8"/>
                  <a:pt x="157" y="8"/>
                  <a:pt x="157" y="8"/>
                </a:cubicBezTo>
                <a:cubicBezTo>
                  <a:pt x="158" y="7"/>
                  <a:pt x="158" y="7"/>
                  <a:pt x="158" y="7"/>
                </a:cubicBezTo>
                <a:cubicBezTo>
                  <a:pt x="158" y="6"/>
                  <a:pt x="158" y="6"/>
                  <a:pt x="158" y="6"/>
                </a:cubicBezTo>
                <a:cubicBezTo>
                  <a:pt x="159" y="5"/>
                  <a:pt x="159" y="5"/>
                  <a:pt x="159" y="5"/>
                </a:cubicBezTo>
                <a:cubicBezTo>
                  <a:pt x="161" y="5"/>
                  <a:pt x="161" y="5"/>
                  <a:pt x="161" y="5"/>
                </a:cubicBezTo>
                <a:cubicBezTo>
                  <a:pt x="160" y="6"/>
                  <a:pt x="160" y="6"/>
                  <a:pt x="160" y="6"/>
                </a:cubicBezTo>
                <a:cubicBezTo>
                  <a:pt x="159" y="7"/>
                  <a:pt x="159" y="7"/>
                  <a:pt x="159" y="7"/>
                </a:cubicBezTo>
                <a:cubicBezTo>
                  <a:pt x="160" y="7"/>
                  <a:pt x="160" y="7"/>
                  <a:pt x="160" y="7"/>
                </a:cubicBezTo>
                <a:cubicBezTo>
                  <a:pt x="161" y="7"/>
                  <a:pt x="161" y="7"/>
                  <a:pt x="161" y="7"/>
                </a:cubicBezTo>
                <a:cubicBezTo>
                  <a:pt x="162" y="7"/>
                  <a:pt x="162" y="7"/>
                  <a:pt x="162" y="7"/>
                </a:cubicBezTo>
                <a:cubicBezTo>
                  <a:pt x="162" y="7"/>
                  <a:pt x="162" y="7"/>
                  <a:pt x="162" y="7"/>
                </a:cubicBezTo>
                <a:cubicBezTo>
                  <a:pt x="162" y="8"/>
                  <a:pt x="162" y="8"/>
                  <a:pt x="162" y="8"/>
                </a:cubicBezTo>
                <a:cubicBezTo>
                  <a:pt x="163" y="9"/>
                  <a:pt x="163" y="9"/>
                  <a:pt x="163" y="9"/>
                </a:cubicBezTo>
                <a:cubicBezTo>
                  <a:pt x="163" y="9"/>
                  <a:pt x="163" y="9"/>
                  <a:pt x="163" y="9"/>
                </a:cubicBezTo>
                <a:cubicBezTo>
                  <a:pt x="162" y="10"/>
                  <a:pt x="162" y="10"/>
                  <a:pt x="162" y="10"/>
                </a:cubicBezTo>
                <a:cubicBezTo>
                  <a:pt x="163" y="11"/>
                  <a:pt x="163" y="11"/>
                  <a:pt x="163" y="11"/>
                </a:cubicBezTo>
                <a:cubicBezTo>
                  <a:pt x="163" y="10"/>
                  <a:pt x="163" y="10"/>
                  <a:pt x="163" y="10"/>
                </a:cubicBezTo>
                <a:cubicBezTo>
                  <a:pt x="164" y="9"/>
                  <a:pt x="164" y="9"/>
                  <a:pt x="164" y="9"/>
                </a:cubicBezTo>
                <a:cubicBezTo>
                  <a:pt x="166" y="9"/>
                  <a:pt x="166" y="9"/>
                  <a:pt x="166" y="9"/>
                </a:cubicBezTo>
                <a:cubicBezTo>
                  <a:pt x="166" y="10"/>
                  <a:pt x="166" y="10"/>
                  <a:pt x="166" y="10"/>
                </a:cubicBezTo>
                <a:cubicBezTo>
                  <a:pt x="166" y="11"/>
                  <a:pt x="166" y="11"/>
                  <a:pt x="166" y="11"/>
                </a:cubicBezTo>
                <a:cubicBezTo>
                  <a:pt x="167" y="13"/>
                  <a:pt x="167" y="13"/>
                  <a:pt x="167" y="13"/>
                </a:cubicBezTo>
                <a:cubicBezTo>
                  <a:pt x="168" y="14"/>
                  <a:pt x="168" y="14"/>
                  <a:pt x="168" y="14"/>
                </a:cubicBezTo>
                <a:cubicBezTo>
                  <a:pt x="168" y="16"/>
                  <a:pt x="168" y="16"/>
                  <a:pt x="168" y="16"/>
                </a:cubicBezTo>
                <a:cubicBezTo>
                  <a:pt x="168" y="15"/>
                  <a:pt x="168" y="15"/>
                  <a:pt x="168" y="15"/>
                </a:cubicBezTo>
                <a:cubicBezTo>
                  <a:pt x="169" y="14"/>
                  <a:pt x="169" y="14"/>
                  <a:pt x="169" y="14"/>
                </a:cubicBezTo>
                <a:cubicBezTo>
                  <a:pt x="168" y="13"/>
                  <a:pt x="168" y="13"/>
                  <a:pt x="168" y="13"/>
                </a:cubicBezTo>
                <a:cubicBezTo>
                  <a:pt x="168" y="12"/>
                  <a:pt x="168" y="12"/>
                  <a:pt x="168" y="12"/>
                </a:cubicBezTo>
                <a:cubicBezTo>
                  <a:pt x="168" y="11"/>
                  <a:pt x="168" y="11"/>
                  <a:pt x="168" y="11"/>
                </a:cubicBezTo>
                <a:cubicBezTo>
                  <a:pt x="167" y="10"/>
                  <a:pt x="167" y="10"/>
                  <a:pt x="167" y="10"/>
                </a:cubicBezTo>
                <a:cubicBezTo>
                  <a:pt x="168" y="10"/>
                  <a:pt x="168" y="10"/>
                  <a:pt x="168" y="10"/>
                </a:cubicBezTo>
                <a:cubicBezTo>
                  <a:pt x="168" y="10"/>
                  <a:pt x="168" y="10"/>
                  <a:pt x="168" y="10"/>
                </a:cubicBezTo>
                <a:cubicBezTo>
                  <a:pt x="170" y="12"/>
                  <a:pt x="170" y="12"/>
                  <a:pt x="170" y="12"/>
                </a:cubicBezTo>
                <a:cubicBezTo>
                  <a:pt x="171" y="14"/>
                  <a:pt x="171" y="14"/>
                  <a:pt x="171" y="14"/>
                </a:cubicBezTo>
                <a:cubicBezTo>
                  <a:pt x="173" y="15"/>
                  <a:pt x="173" y="15"/>
                  <a:pt x="173" y="15"/>
                </a:cubicBezTo>
                <a:cubicBezTo>
                  <a:pt x="174" y="15"/>
                  <a:pt x="174" y="15"/>
                  <a:pt x="174" y="15"/>
                </a:cubicBezTo>
                <a:cubicBezTo>
                  <a:pt x="174" y="14"/>
                  <a:pt x="174" y="14"/>
                  <a:pt x="174" y="14"/>
                </a:cubicBezTo>
                <a:cubicBezTo>
                  <a:pt x="174" y="14"/>
                  <a:pt x="174" y="14"/>
                  <a:pt x="174" y="14"/>
                </a:cubicBezTo>
                <a:cubicBezTo>
                  <a:pt x="172" y="13"/>
                  <a:pt x="172" y="13"/>
                  <a:pt x="172" y="13"/>
                </a:cubicBezTo>
                <a:cubicBezTo>
                  <a:pt x="171" y="11"/>
                  <a:pt x="171" y="11"/>
                  <a:pt x="171" y="11"/>
                </a:cubicBezTo>
                <a:cubicBezTo>
                  <a:pt x="171" y="10"/>
                  <a:pt x="171" y="10"/>
                  <a:pt x="171" y="10"/>
                </a:cubicBezTo>
                <a:cubicBezTo>
                  <a:pt x="171" y="8"/>
                  <a:pt x="171" y="8"/>
                  <a:pt x="171" y="8"/>
                </a:cubicBezTo>
                <a:cubicBezTo>
                  <a:pt x="173" y="8"/>
                  <a:pt x="173" y="8"/>
                  <a:pt x="173" y="8"/>
                </a:cubicBezTo>
                <a:cubicBezTo>
                  <a:pt x="174" y="8"/>
                  <a:pt x="174" y="8"/>
                  <a:pt x="174" y="8"/>
                </a:cubicBezTo>
                <a:cubicBezTo>
                  <a:pt x="175" y="9"/>
                  <a:pt x="175" y="9"/>
                  <a:pt x="175" y="9"/>
                </a:cubicBezTo>
                <a:cubicBezTo>
                  <a:pt x="177" y="9"/>
                  <a:pt x="177" y="9"/>
                  <a:pt x="177" y="9"/>
                </a:cubicBezTo>
                <a:cubicBezTo>
                  <a:pt x="177" y="9"/>
                  <a:pt x="177" y="9"/>
                  <a:pt x="177" y="9"/>
                </a:cubicBezTo>
                <a:cubicBezTo>
                  <a:pt x="177" y="8"/>
                  <a:pt x="177" y="8"/>
                  <a:pt x="177" y="8"/>
                </a:cubicBezTo>
                <a:cubicBezTo>
                  <a:pt x="176" y="8"/>
                  <a:pt x="176" y="8"/>
                  <a:pt x="176" y="8"/>
                </a:cubicBezTo>
                <a:cubicBezTo>
                  <a:pt x="176" y="7"/>
                  <a:pt x="176" y="7"/>
                  <a:pt x="176" y="7"/>
                </a:cubicBezTo>
                <a:cubicBezTo>
                  <a:pt x="177" y="6"/>
                  <a:pt x="177" y="6"/>
                  <a:pt x="177" y="6"/>
                </a:cubicBezTo>
                <a:cubicBezTo>
                  <a:pt x="178" y="5"/>
                  <a:pt x="178" y="5"/>
                  <a:pt x="178" y="5"/>
                </a:cubicBezTo>
                <a:cubicBezTo>
                  <a:pt x="177" y="4"/>
                  <a:pt x="177" y="4"/>
                  <a:pt x="177" y="4"/>
                </a:cubicBezTo>
                <a:cubicBezTo>
                  <a:pt x="177" y="3"/>
                  <a:pt x="177" y="3"/>
                  <a:pt x="177" y="3"/>
                </a:cubicBezTo>
                <a:cubicBezTo>
                  <a:pt x="177" y="2"/>
                  <a:pt x="177" y="2"/>
                  <a:pt x="177" y="2"/>
                </a:cubicBezTo>
                <a:cubicBezTo>
                  <a:pt x="178" y="2"/>
                  <a:pt x="178" y="2"/>
                  <a:pt x="178" y="2"/>
                </a:cubicBezTo>
                <a:cubicBezTo>
                  <a:pt x="179" y="2"/>
                  <a:pt x="179" y="2"/>
                  <a:pt x="179" y="2"/>
                </a:cubicBezTo>
                <a:cubicBezTo>
                  <a:pt x="179" y="2"/>
                  <a:pt x="179" y="2"/>
                  <a:pt x="179" y="2"/>
                </a:cubicBezTo>
                <a:cubicBezTo>
                  <a:pt x="180" y="1"/>
                  <a:pt x="180" y="1"/>
                  <a:pt x="180" y="1"/>
                </a:cubicBezTo>
                <a:cubicBezTo>
                  <a:pt x="180" y="0"/>
                  <a:pt x="180" y="0"/>
                  <a:pt x="180" y="0"/>
                </a:cubicBezTo>
                <a:cubicBezTo>
                  <a:pt x="181" y="0"/>
                  <a:pt x="181" y="0"/>
                  <a:pt x="181" y="0"/>
                </a:cubicBezTo>
                <a:cubicBezTo>
                  <a:pt x="181" y="1"/>
                  <a:pt x="181" y="1"/>
                  <a:pt x="181" y="1"/>
                </a:cubicBezTo>
                <a:cubicBezTo>
                  <a:pt x="182" y="1"/>
                  <a:pt x="182" y="1"/>
                  <a:pt x="182" y="1"/>
                </a:cubicBezTo>
                <a:cubicBezTo>
                  <a:pt x="182" y="2"/>
                  <a:pt x="182" y="2"/>
                  <a:pt x="182" y="2"/>
                </a:cubicBezTo>
                <a:cubicBezTo>
                  <a:pt x="183" y="3"/>
                  <a:pt x="183" y="3"/>
                  <a:pt x="183" y="3"/>
                </a:cubicBezTo>
                <a:cubicBezTo>
                  <a:pt x="183" y="4"/>
                  <a:pt x="183" y="4"/>
                  <a:pt x="183" y="4"/>
                </a:cubicBezTo>
                <a:cubicBezTo>
                  <a:pt x="184" y="3"/>
                  <a:pt x="184" y="3"/>
                  <a:pt x="184" y="3"/>
                </a:cubicBezTo>
                <a:cubicBezTo>
                  <a:pt x="184" y="2"/>
                  <a:pt x="184" y="2"/>
                  <a:pt x="184" y="2"/>
                </a:cubicBezTo>
                <a:cubicBezTo>
                  <a:pt x="184" y="1"/>
                  <a:pt x="184" y="1"/>
                  <a:pt x="184" y="1"/>
                </a:cubicBezTo>
                <a:cubicBezTo>
                  <a:pt x="184" y="0"/>
                  <a:pt x="184" y="0"/>
                  <a:pt x="184" y="0"/>
                </a:cubicBezTo>
                <a:cubicBezTo>
                  <a:pt x="184" y="0"/>
                  <a:pt x="184" y="0"/>
                  <a:pt x="184" y="0"/>
                </a:cubicBezTo>
                <a:cubicBezTo>
                  <a:pt x="185" y="0"/>
                  <a:pt x="185" y="0"/>
                  <a:pt x="185" y="0"/>
                </a:cubicBezTo>
                <a:cubicBezTo>
                  <a:pt x="186" y="0"/>
                  <a:pt x="186" y="0"/>
                  <a:pt x="186" y="0"/>
                </a:cubicBezTo>
                <a:cubicBezTo>
                  <a:pt x="188" y="0"/>
                  <a:pt x="188" y="0"/>
                  <a:pt x="188" y="0"/>
                </a:cubicBezTo>
                <a:cubicBezTo>
                  <a:pt x="189" y="0"/>
                  <a:pt x="189" y="0"/>
                  <a:pt x="189" y="0"/>
                </a:cubicBezTo>
                <a:cubicBezTo>
                  <a:pt x="189" y="1"/>
                  <a:pt x="189" y="1"/>
                  <a:pt x="189" y="1"/>
                </a:cubicBezTo>
                <a:cubicBezTo>
                  <a:pt x="190" y="1"/>
                  <a:pt x="190" y="1"/>
                  <a:pt x="190" y="1"/>
                </a:cubicBezTo>
                <a:cubicBezTo>
                  <a:pt x="191" y="0"/>
                  <a:pt x="191" y="0"/>
                  <a:pt x="191" y="0"/>
                </a:cubicBezTo>
                <a:cubicBezTo>
                  <a:pt x="192" y="1"/>
                  <a:pt x="192" y="1"/>
                  <a:pt x="192" y="1"/>
                </a:cubicBezTo>
                <a:cubicBezTo>
                  <a:pt x="194" y="1"/>
                  <a:pt x="194" y="1"/>
                  <a:pt x="194" y="1"/>
                </a:cubicBezTo>
                <a:cubicBezTo>
                  <a:pt x="195" y="1"/>
                  <a:pt x="195" y="1"/>
                  <a:pt x="195" y="1"/>
                </a:cubicBezTo>
                <a:cubicBezTo>
                  <a:pt x="195" y="1"/>
                  <a:pt x="195" y="1"/>
                  <a:pt x="195" y="1"/>
                </a:cubicBezTo>
                <a:cubicBezTo>
                  <a:pt x="196" y="1"/>
                  <a:pt x="196" y="1"/>
                  <a:pt x="196" y="1"/>
                </a:cubicBezTo>
                <a:cubicBezTo>
                  <a:pt x="197" y="1"/>
                  <a:pt x="197" y="1"/>
                  <a:pt x="197" y="1"/>
                </a:cubicBezTo>
                <a:cubicBezTo>
                  <a:pt x="197" y="2"/>
                  <a:pt x="197" y="2"/>
                  <a:pt x="197" y="2"/>
                </a:cubicBezTo>
                <a:cubicBezTo>
                  <a:pt x="199" y="3"/>
                  <a:pt x="199" y="3"/>
                  <a:pt x="199" y="3"/>
                </a:cubicBezTo>
                <a:cubicBezTo>
                  <a:pt x="200" y="3"/>
                  <a:pt x="200" y="3"/>
                  <a:pt x="200" y="3"/>
                </a:cubicBezTo>
                <a:cubicBezTo>
                  <a:pt x="200" y="3"/>
                  <a:pt x="200" y="3"/>
                  <a:pt x="200" y="3"/>
                </a:cubicBezTo>
                <a:cubicBezTo>
                  <a:pt x="200" y="3"/>
                  <a:pt x="200" y="3"/>
                  <a:pt x="200" y="3"/>
                </a:cubicBezTo>
                <a:cubicBezTo>
                  <a:pt x="202" y="4"/>
                  <a:pt x="202" y="4"/>
                  <a:pt x="202" y="4"/>
                </a:cubicBezTo>
                <a:cubicBezTo>
                  <a:pt x="203" y="4"/>
                  <a:pt x="203" y="4"/>
                  <a:pt x="203" y="4"/>
                </a:cubicBezTo>
                <a:cubicBezTo>
                  <a:pt x="204" y="5"/>
                  <a:pt x="204" y="5"/>
                  <a:pt x="204" y="5"/>
                </a:cubicBezTo>
                <a:cubicBezTo>
                  <a:pt x="207" y="5"/>
                  <a:pt x="207" y="5"/>
                  <a:pt x="207" y="5"/>
                </a:cubicBezTo>
                <a:cubicBezTo>
                  <a:pt x="208" y="6"/>
                  <a:pt x="208" y="6"/>
                  <a:pt x="208" y="6"/>
                </a:cubicBezTo>
                <a:cubicBezTo>
                  <a:pt x="209" y="5"/>
                  <a:pt x="209" y="5"/>
                  <a:pt x="209" y="5"/>
                </a:cubicBezTo>
                <a:cubicBezTo>
                  <a:pt x="209" y="6"/>
                  <a:pt x="209" y="6"/>
                  <a:pt x="209" y="6"/>
                </a:cubicBezTo>
                <a:cubicBezTo>
                  <a:pt x="210" y="6"/>
                  <a:pt x="210" y="6"/>
                  <a:pt x="210" y="6"/>
                </a:cubicBezTo>
                <a:cubicBezTo>
                  <a:pt x="211" y="6"/>
                  <a:pt x="211" y="6"/>
                  <a:pt x="211" y="6"/>
                </a:cubicBezTo>
                <a:cubicBezTo>
                  <a:pt x="212" y="6"/>
                  <a:pt x="212" y="6"/>
                  <a:pt x="212" y="6"/>
                </a:cubicBezTo>
                <a:cubicBezTo>
                  <a:pt x="213" y="7"/>
                  <a:pt x="213" y="7"/>
                  <a:pt x="213" y="7"/>
                </a:cubicBezTo>
                <a:cubicBezTo>
                  <a:pt x="215" y="8"/>
                  <a:pt x="215" y="8"/>
                  <a:pt x="215" y="8"/>
                </a:cubicBezTo>
                <a:cubicBezTo>
                  <a:pt x="216" y="9"/>
                  <a:pt x="216" y="9"/>
                  <a:pt x="216" y="9"/>
                </a:cubicBezTo>
                <a:cubicBezTo>
                  <a:pt x="217" y="10"/>
                  <a:pt x="217" y="10"/>
                  <a:pt x="217" y="10"/>
                </a:cubicBezTo>
                <a:cubicBezTo>
                  <a:pt x="218" y="10"/>
                  <a:pt x="218" y="10"/>
                  <a:pt x="218" y="10"/>
                </a:cubicBezTo>
                <a:cubicBezTo>
                  <a:pt x="220" y="11"/>
                  <a:pt x="220" y="11"/>
                  <a:pt x="220" y="11"/>
                </a:cubicBezTo>
                <a:cubicBezTo>
                  <a:pt x="219" y="12"/>
                  <a:pt x="219" y="12"/>
                  <a:pt x="219" y="12"/>
                </a:cubicBezTo>
                <a:cubicBezTo>
                  <a:pt x="219" y="13"/>
                  <a:pt x="219" y="13"/>
                  <a:pt x="219" y="13"/>
                </a:cubicBezTo>
                <a:cubicBezTo>
                  <a:pt x="218" y="13"/>
                  <a:pt x="218" y="13"/>
                  <a:pt x="218" y="13"/>
                </a:cubicBezTo>
                <a:cubicBezTo>
                  <a:pt x="217" y="13"/>
                  <a:pt x="217" y="13"/>
                  <a:pt x="217" y="13"/>
                </a:cubicBezTo>
                <a:cubicBezTo>
                  <a:pt x="216" y="13"/>
                  <a:pt x="216" y="13"/>
                  <a:pt x="216" y="13"/>
                </a:cubicBezTo>
                <a:cubicBezTo>
                  <a:pt x="215" y="14"/>
                  <a:pt x="215" y="14"/>
                  <a:pt x="215" y="14"/>
                </a:cubicBezTo>
                <a:cubicBezTo>
                  <a:pt x="214" y="14"/>
                  <a:pt x="214" y="14"/>
                  <a:pt x="214" y="14"/>
                </a:cubicBezTo>
                <a:cubicBezTo>
                  <a:pt x="214" y="14"/>
                  <a:pt x="214" y="14"/>
                  <a:pt x="214" y="14"/>
                </a:cubicBezTo>
                <a:cubicBezTo>
                  <a:pt x="213" y="14"/>
                  <a:pt x="213" y="14"/>
                  <a:pt x="213" y="14"/>
                </a:cubicBezTo>
                <a:cubicBezTo>
                  <a:pt x="211" y="14"/>
                  <a:pt x="211" y="14"/>
                  <a:pt x="211" y="14"/>
                </a:cubicBezTo>
                <a:cubicBezTo>
                  <a:pt x="209" y="13"/>
                  <a:pt x="209" y="13"/>
                  <a:pt x="209" y="13"/>
                </a:cubicBezTo>
                <a:cubicBezTo>
                  <a:pt x="208" y="13"/>
                  <a:pt x="208" y="13"/>
                  <a:pt x="208" y="13"/>
                </a:cubicBezTo>
                <a:cubicBezTo>
                  <a:pt x="207" y="13"/>
                  <a:pt x="207" y="13"/>
                  <a:pt x="207" y="13"/>
                </a:cubicBezTo>
                <a:cubicBezTo>
                  <a:pt x="206" y="12"/>
                  <a:pt x="206" y="12"/>
                  <a:pt x="206" y="12"/>
                </a:cubicBezTo>
                <a:cubicBezTo>
                  <a:pt x="204" y="12"/>
                  <a:pt x="204" y="12"/>
                  <a:pt x="204" y="12"/>
                </a:cubicBezTo>
                <a:cubicBezTo>
                  <a:pt x="204" y="13"/>
                  <a:pt x="204" y="13"/>
                  <a:pt x="204" y="13"/>
                </a:cubicBezTo>
                <a:cubicBezTo>
                  <a:pt x="203" y="13"/>
                  <a:pt x="203" y="13"/>
                  <a:pt x="203" y="13"/>
                </a:cubicBezTo>
                <a:cubicBezTo>
                  <a:pt x="203" y="12"/>
                  <a:pt x="203" y="12"/>
                  <a:pt x="203" y="12"/>
                </a:cubicBezTo>
                <a:cubicBezTo>
                  <a:pt x="201" y="12"/>
                  <a:pt x="201" y="12"/>
                  <a:pt x="201" y="12"/>
                </a:cubicBezTo>
                <a:cubicBezTo>
                  <a:pt x="199" y="13"/>
                  <a:pt x="199" y="13"/>
                  <a:pt x="199" y="13"/>
                </a:cubicBezTo>
                <a:cubicBezTo>
                  <a:pt x="199" y="14"/>
                  <a:pt x="199" y="14"/>
                  <a:pt x="199" y="14"/>
                </a:cubicBezTo>
                <a:cubicBezTo>
                  <a:pt x="198" y="13"/>
                  <a:pt x="198" y="13"/>
                  <a:pt x="198" y="13"/>
                </a:cubicBezTo>
                <a:cubicBezTo>
                  <a:pt x="197" y="13"/>
                  <a:pt x="197" y="13"/>
                  <a:pt x="197" y="13"/>
                </a:cubicBezTo>
                <a:cubicBezTo>
                  <a:pt x="195" y="14"/>
                  <a:pt x="195" y="14"/>
                  <a:pt x="195" y="14"/>
                </a:cubicBezTo>
                <a:cubicBezTo>
                  <a:pt x="193" y="14"/>
                  <a:pt x="193" y="14"/>
                  <a:pt x="193" y="14"/>
                </a:cubicBezTo>
                <a:cubicBezTo>
                  <a:pt x="193" y="13"/>
                  <a:pt x="193" y="13"/>
                  <a:pt x="193" y="13"/>
                </a:cubicBezTo>
                <a:cubicBezTo>
                  <a:pt x="193" y="12"/>
                  <a:pt x="193" y="12"/>
                  <a:pt x="193" y="12"/>
                </a:cubicBezTo>
                <a:cubicBezTo>
                  <a:pt x="193" y="11"/>
                  <a:pt x="193" y="11"/>
                  <a:pt x="193" y="11"/>
                </a:cubicBezTo>
                <a:cubicBezTo>
                  <a:pt x="194" y="11"/>
                  <a:pt x="194" y="11"/>
                  <a:pt x="194" y="11"/>
                </a:cubicBezTo>
                <a:cubicBezTo>
                  <a:pt x="194" y="11"/>
                  <a:pt x="194" y="11"/>
                  <a:pt x="194" y="11"/>
                </a:cubicBezTo>
                <a:cubicBezTo>
                  <a:pt x="194" y="10"/>
                  <a:pt x="194" y="10"/>
                  <a:pt x="194" y="10"/>
                </a:cubicBezTo>
                <a:cubicBezTo>
                  <a:pt x="193" y="10"/>
                  <a:pt x="193" y="10"/>
                  <a:pt x="193" y="10"/>
                </a:cubicBezTo>
                <a:cubicBezTo>
                  <a:pt x="192" y="10"/>
                  <a:pt x="192" y="10"/>
                  <a:pt x="192" y="10"/>
                </a:cubicBezTo>
                <a:cubicBezTo>
                  <a:pt x="191" y="11"/>
                  <a:pt x="191" y="11"/>
                  <a:pt x="191" y="11"/>
                </a:cubicBezTo>
                <a:cubicBezTo>
                  <a:pt x="191" y="12"/>
                  <a:pt x="191" y="12"/>
                  <a:pt x="191" y="12"/>
                </a:cubicBezTo>
                <a:cubicBezTo>
                  <a:pt x="192" y="13"/>
                  <a:pt x="192" y="13"/>
                  <a:pt x="192" y="13"/>
                </a:cubicBezTo>
                <a:cubicBezTo>
                  <a:pt x="192" y="13"/>
                  <a:pt x="192" y="13"/>
                  <a:pt x="192" y="13"/>
                </a:cubicBezTo>
                <a:cubicBezTo>
                  <a:pt x="192" y="14"/>
                  <a:pt x="192" y="14"/>
                  <a:pt x="192" y="14"/>
                </a:cubicBezTo>
                <a:cubicBezTo>
                  <a:pt x="191" y="15"/>
                  <a:pt x="191" y="15"/>
                  <a:pt x="191" y="15"/>
                </a:cubicBezTo>
                <a:cubicBezTo>
                  <a:pt x="191" y="15"/>
                  <a:pt x="191" y="15"/>
                  <a:pt x="191" y="15"/>
                </a:cubicBezTo>
                <a:cubicBezTo>
                  <a:pt x="190" y="15"/>
                  <a:pt x="190" y="15"/>
                  <a:pt x="190" y="15"/>
                </a:cubicBezTo>
                <a:cubicBezTo>
                  <a:pt x="188" y="15"/>
                  <a:pt x="188" y="15"/>
                  <a:pt x="188" y="15"/>
                </a:cubicBezTo>
                <a:cubicBezTo>
                  <a:pt x="188" y="15"/>
                  <a:pt x="188" y="15"/>
                  <a:pt x="188" y="15"/>
                </a:cubicBezTo>
                <a:cubicBezTo>
                  <a:pt x="187" y="15"/>
                  <a:pt x="187" y="15"/>
                  <a:pt x="187" y="15"/>
                </a:cubicBezTo>
                <a:cubicBezTo>
                  <a:pt x="185" y="15"/>
                  <a:pt x="185" y="15"/>
                  <a:pt x="185" y="15"/>
                </a:cubicBezTo>
                <a:cubicBezTo>
                  <a:pt x="184" y="15"/>
                  <a:pt x="184" y="15"/>
                  <a:pt x="184" y="15"/>
                </a:cubicBezTo>
                <a:cubicBezTo>
                  <a:pt x="182" y="15"/>
                  <a:pt x="182" y="15"/>
                  <a:pt x="182" y="15"/>
                </a:cubicBezTo>
                <a:cubicBezTo>
                  <a:pt x="180" y="17"/>
                  <a:pt x="180" y="17"/>
                  <a:pt x="180" y="17"/>
                </a:cubicBezTo>
                <a:cubicBezTo>
                  <a:pt x="180" y="18"/>
                  <a:pt x="180" y="18"/>
                  <a:pt x="180" y="18"/>
                </a:cubicBezTo>
                <a:cubicBezTo>
                  <a:pt x="180" y="19"/>
                  <a:pt x="180" y="19"/>
                  <a:pt x="180" y="19"/>
                </a:cubicBezTo>
                <a:cubicBezTo>
                  <a:pt x="179" y="20"/>
                  <a:pt x="179" y="20"/>
                  <a:pt x="179" y="20"/>
                </a:cubicBezTo>
                <a:cubicBezTo>
                  <a:pt x="179" y="21"/>
                  <a:pt x="179" y="21"/>
                  <a:pt x="179" y="21"/>
                </a:cubicBezTo>
                <a:cubicBezTo>
                  <a:pt x="179" y="22"/>
                  <a:pt x="179" y="22"/>
                  <a:pt x="179" y="22"/>
                </a:cubicBezTo>
                <a:cubicBezTo>
                  <a:pt x="180" y="21"/>
                  <a:pt x="180" y="21"/>
                  <a:pt x="180" y="21"/>
                </a:cubicBezTo>
                <a:cubicBezTo>
                  <a:pt x="180" y="20"/>
                  <a:pt x="180" y="20"/>
                  <a:pt x="180" y="20"/>
                </a:cubicBezTo>
                <a:cubicBezTo>
                  <a:pt x="181" y="19"/>
                  <a:pt x="181" y="19"/>
                  <a:pt x="181" y="19"/>
                </a:cubicBezTo>
                <a:cubicBezTo>
                  <a:pt x="181" y="19"/>
                  <a:pt x="181" y="19"/>
                  <a:pt x="181" y="19"/>
                </a:cubicBezTo>
                <a:cubicBezTo>
                  <a:pt x="181" y="18"/>
                  <a:pt x="181" y="18"/>
                  <a:pt x="181" y="18"/>
                </a:cubicBezTo>
                <a:cubicBezTo>
                  <a:pt x="183" y="18"/>
                  <a:pt x="183" y="18"/>
                  <a:pt x="183" y="18"/>
                </a:cubicBezTo>
                <a:cubicBezTo>
                  <a:pt x="183" y="18"/>
                  <a:pt x="183" y="18"/>
                  <a:pt x="183" y="18"/>
                </a:cubicBezTo>
                <a:cubicBezTo>
                  <a:pt x="184" y="19"/>
                  <a:pt x="184" y="19"/>
                  <a:pt x="184" y="19"/>
                </a:cubicBezTo>
                <a:cubicBezTo>
                  <a:pt x="183" y="19"/>
                  <a:pt x="183" y="19"/>
                  <a:pt x="183" y="19"/>
                </a:cubicBezTo>
                <a:cubicBezTo>
                  <a:pt x="183" y="20"/>
                  <a:pt x="183" y="20"/>
                  <a:pt x="183" y="20"/>
                </a:cubicBezTo>
                <a:cubicBezTo>
                  <a:pt x="183" y="21"/>
                  <a:pt x="183" y="21"/>
                  <a:pt x="183" y="21"/>
                </a:cubicBezTo>
                <a:cubicBezTo>
                  <a:pt x="183" y="21"/>
                  <a:pt x="183" y="21"/>
                  <a:pt x="183" y="21"/>
                </a:cubicBezTo>
                <a:cubicBezTo>
                  <a:pt x="184" y="20"/>
                  <a:pt x="184" y="20"/>
                  <a:pt x="184" y="20"/>
                </a:cubicBezTo>
                <a:cubicBezTo>
                  <a:pt x="184" y="18"/>
                  <a:pt x="184" y="18"/>
                  <a:pt x="184" y="18"/>
                </a:cubicBezTo>
                <a:cubicBezTo>
                  <a:pt x="184" y="18"/>
                  <a:pt x="185" y="17"/>
                  <a:pt x="185" y="17"/>
                </a:cubicBezTo>
                <a:cubicBezTo>
                  <a:pt x="185" y="17"/>
                  <a:pt x="187" y="16"/>
                  <a:pt x="187" y="16"/>
                </a:cubicBezTo>
                <a:cubicBezTo>
                  <a:pt x="187" y="16"/>
                  <a:pt x="187" y="16"/>
                  <a:pt x="187" y="16"/>
                </a:cubicBezTo>
                <a:cubicBezTo>
                  <a:pt x="189" y="16"/>
                  <a:pt x="189" y="16"/>
                  <a:pt x="189" y="16"/>
                </a:cubicBezTo>
                <a:cubicBezTo>
                  <a:pt x="190" y="16"/>
                  <a:pt x="190" y="16"/>
                  <a:pt x="190" y="16"/>
                </a:cubicBezTo>
                <a:cubicBezTo>
                  <a:pt x="191" y="16"/>
                  <a:pt x="191" y="16"/>
                  <a:pt x="191" y="16"/>
                </a:cubicBezTo>
                <a:cubicBezTo>
                  <a:pt x="191" y="16"/>
                  <a:pt x="191" y="16"/>
                  <a:pt x="191" y="16"/>
                </a:cubicBezTo>
                <a:cubicBezTo>
                  <a:pt x="192" y="17"/>
                  <a:pt x="192" y="17"/>
                  <a:pt x="192" y="17"/>
                </a:cubicBezTo>
                <a:cubicBezTo>
                  <a:pt x="192" y="18"/>
                  <a:pt x="192" y="18"/>
                  <a:pt x="192" y="18"/>
                </a:cubicBezTo>
                <a:cubicBezTo>
                  <a:pt x="193" y="19"/>
                  <a:pt x="193" y="19"/>
                  <a:pt x="193" y="19"/>
                </a:cubicBezTo>
                <a:cubicBezTo>
                  <a:pt x="193" y="19"/>
                  <a:pt x="193" y="19"/>
                  <a:pt x="193" y="19"/>
                </a:cubicBezTo>
                <a:cubicBezTo>
                  <a:pt x="194" y="18"/>
                  <a:pt x="194" y="18"/>
                  <a:pt x="194" y="18"/>
                </a:cubicBezTo>
                <a:cubicBezTo>
                  <a:pt x="193" y="17"/>
                  <a:pt x="193" y="17"/>
                  <a:pt x="193" y="17"/>
                </a:cubicBezTo>
                <a:cubicBezTo>
                  <a:pt x="193" y="16"/>
                  <a:pt x="193" y="16"/>
                  <a:pt x="193" y="16"/>
                </a:cubicBezTo>
                <a:cubicBezTo>
                  <a:pt x="195" y="16"/>
                  <a:pt x="195" y="16"/>
                  <a:pt x="195" y="16"/>
                </a:cubicBezTo>
                <a:cubicBezTo>
                  <a:pt x="196" y="16"/>
                  <a:pt x="196" y="16"/>
                  <a:pt x="196" y="16"/>
                </a:cubicBezTo>
                <a:cubicBezTo>
                  <a:pt x="197" y="16"/>
                  <a:pt x="197" y="16"/>
                  <a:pt x="197" y="16"/>
                </a:cubicBezTo>
                <a:cubicBezTo>
                  <a:pt x="199" y="16"/>
                  <a:pt x="199" y="16"/>
                  <a:pt x="199" y="16"/>
                </a:cubicBezTo>
                <a:cubicBezTo>
                  <a:pt x="201" y="15"/>
                  <a:pt x="201" y="15"/>
                  <a:pt x="201" y="15"/>
                </a:cubicBezTo>
                <a:cubicBezTo>
                  <a:pt x="202" y="15"/>
                  <a:pt x="202" y="15"/>
                  <a:pt x="202" y="15"/>
                </a:cubicBezTo>
                <a:cubicBezTo>
                  <a:pt x="204" y="15"/>
                  <a:pt x="204" y="15"/>
                  <a:pt x="204" y="15"/>
                </a:cubicBezTo>
                <a:cubicBezTo>
                  <a:pt x="206" y="15"/>
                  <a:pt x="206" y="15"/>
                  <a:pt x="206" y="15"/>
                </a:cubicBezTo>
                <a:cubicBezTo>
                  <a:pt x="207" y="16"/>
                  <a:pt x="207" y="16"/>
                  <a:pt x="207" y="16"/>
                </a:cubicBezTo>
                <a:cubicBezTo>
                  <a:pt x="208" y="16"/>
                  <a:pt x="208" y="16"/>
                  <a:pt x="208" y="16"/>
                </a:cubicBezTo>
                <a:cubicBezTo>
                  <a:pt x="209" y="16"/>
                  <a:pt x="209" y="16"/>
                  <a:pt x="209" y="16"/>
                </a:cubicBezTo>
                <a:cubicBezTo>
                  <a:pt x="210" y="17"/>
                  <a:pt x="210" y="17"/>
                  <a:pt x="210" y="17"/>
                </a:cubicBezTo>
                <a:cubicBezTo>
                  <a:pt x="211" y="17"/>
                  <a:pt x="211" y="17"/>
                  <a:pt x="211" y="17"/>
                </a:cubicBezTo>
                <a:cubicBezTo>
                  <a:pt x="212" y="18"/>
                  <a:pt x="212" y="18"/>
                  <a:pt x="212" y="18"/>
                </a:cubicBezTo>
                <a:cubicBezTo>
                  <a:pt x="213" y="17"/>
                  <a:pt x="213" y="17"/>
                  <a:pt x="213" y="17"/>
                </a:cubicBezTo>
                <a:cubicBezTo>
                  <a:pt x="213" y="17"/>
                  <a:pt x="213" y="17"/>
                  <a:pt x="213" y="17"/>
                </a:cubicBezTo>
                <a:cubicBezTo>
                  <a:pt x="214" y="17"/>
                  <a:pt x="214" y="17"/>
                  <a:pt x="214" y="17"/>
                </a:cubicBezTo>
                <a:cubicBezTo>
                  <a:pt x="214" y="18"/>
                  <a:pt x="214" y="18"/>
                  <a:pt x="214" y="18"/>
                </a:cubicBezTo>
                <a:cubicBezTo>
                  <a:pt x="215" y="18"/>
                  <a:pt x="215" y="18"/>
                  <a:pt x="215" y="18"/>
                </a:cubicBezTo>
                <a:cubicBezTo>
                  <a:pt x="216" y="17"/>
                  <a:pt x="216" y="17"/>
                  <a:pt x="216" y="17"/>
                </a:cubicBezTo>
                <a:cubicBezTo>
                  <a:pt x="217" y="17"/>
                  <a:pt x="217" y="17"/>
                  <a:pt x="217" y="17"/>
                </a:cubicBezTo>
                <a:cubicBezTo>
                  <a:pt x="218" y="17"/>
                  <a:pt x="218" y="17"/>
                  <a:pt x="218" y="17"/>
                </a:cubicBezTo>
                <a:cubicBezTo>
                  <a:pt x="220" y="16"/>
                  <a:pt x="220" y="16"/>
                  <a:pt x="220" y="16"/>
                </a:cubicBezTo>
                <a:cubicBezTo>
                  <a:pt x="221" y="15"/>
                  <a:pt x="221" y="15"/>
                  <a:pt x="221" y="15"/>
                </a:cubicBezTo>
                <a:cubicBezTo>
                  <a:pt x="221" y="15"/>
                  <a:pt x="221" y="15"/>
                  <a:pt x="221" y="15"/>
                </a:cubicBezTo>
                <a:cubicBezTo>
                  <a:pt x="222" y="15"/>
                  <a:pt x="222" y="15"/>
                  <a:pt x="222" y="15"/>
                </a:cubicBezTo>
                <a:cubicBezTo>
                  <a:pt x="223" y="16"/>
                  <a:pt x="223" y="16"/>
                  <a:pt x="223" y="16"/>
                </a:cubicBezTo>
                <a:cubicBezTo>
                  <a:pt x="224" y="17"/>
                  <a:pt x="224" y="17"/>
                  <a:pt x="224" y="17"/>
                </a:cubicBezTo>
                <a:cubicBezTo>
                  <a:pt x="224" y="18"/>
                  <a:pt x="224" y="18"/>
                  <a:pt x="224" y="18"/>
                </a:cubicBezTo>
                <a:cubicBezTo>
                  <a:pt x="223" y="18"/>
                  <a:pt x="223" y="18"/>
                  <a:pt x="223" y="18"/>
                </a:cubicBezTo>
                <a:cubicBezTo>
                  <a:pt x="223" y="19"/>
                  <a:pt x="223" y="19"/>
                  <a:pt x="223" y="19"/>
                </a:cubicBezTo>
                <a:cubicBezTo>
                  <a:pt x="224" y="19"/>
                  <a:pt x="224" y="19"/>
                  <a:pt x="224" y="19"/>
                </a:cubicBezTo>
                <a:cubicBezTo>
                  <a:pt x="224" y="20"/>
                  <a:pt x="224" y="20"/>
                  <a:pt x="224" y="20"/>
                </a:cubicBezTo>
                <a:cubicBezTo>
                  <a:pt x="224" y="20"/>
                  <a:pt x="224" y="20"/>
                  <a:pt x="224" y="20"/>
                </a:cubicBezTo>
                <a:cubicBezTo>
                  <a:pt x="222" y="22"/>
                  <a:pt x="222" y="22"/>
                  <a:pt x="222" y="22"/>
                </a:cubicBezTo>
                <a:cubicBezTo>
                  <a:pt x="220" y="22"/>
                  <a:pt x="220" y="22"/>
                  <a:pt x="220" y="22"/>
                </a:cubicBezTo>
                <a:cubicBezTo>
                  <a:pt x="219" y="22"/>
                  <a:pt x="219" y="22"/>
                  <a:pt x="219" y="22"/>
                </a:cubicBezTo>
                <a:cubicBezTo>
                  <a:pt x="218" y="22"/>
                  <a:pt x="218" y="22"/>
                  <a:pt x="218" y="22"/>
                </a:cubicBezTo>
                <a:cubicBezTo>
                  <a:pt x="218" y="21"/>
                  <a:pt x="218" y="21"/>
                  <a:pt x="218" y="21"/>
                </a:cubicBezTo>
                <a:cubicBezTo>
                  <a:pt x="217" y="21"/>
                  <a:pt x="217" y="21"/>
                  <a:pt x="217" y="21"/>
                </a:cubicBezTo>
                <a:cubicBezTo>
                  <a:pt x="217" y="22"/>
                  <a:pt x="217" y="22"/>
                  <a:pt x="217" y="22"/>
                </a:cubicBezTo>
                <a:cubicBezTo>
                  <a:pt x="218" y="23"/>
                  <a:pt x="218" y="23"/>
                  <a:pt x="218" y="23"/>
                </a:cubicBezTo>
                <a:cubicBezTo>
                  <a:pt x="219" y="23"/>
                  <a:pt x="219" y="23"/>
                  <a:pt x="219" y="23"/>
                </a:cubicBezTo>
                <a:cubicBezTo>
                  <a:pt x="218" y="24"/>
                  <a:pt x="218" y="24"/>
                  <a:pt x="218" y="24"/>
                </a:cubicBezTo>
                <a:cubicBezTo>
                  <a:pt x="217" y="23"/>
                  <a:pt x="217" y="23"/>
                  <a:pt x="217" y="23"/>
                </a:cubicBezTo>
                <a:cubicBezTo>
                  <a:pt x="217" y="23"/>
                  <a:pt x="217" y="23"/>
                  <a:pt x="217" y="23"/>
                </a:cubicBezTo>
                <a:cubicBezTo>
                  <a:pt x="216" y="23"/>
                  <a:pt x="216" y="23"/>
                  <a:pt x="216" y="23"/>
                </a:cubicBezTo>
                <a:cubicBezTo>
                  <a:pt x="216" y="23"/>
                  <a:pt x="216" y="23"/>
                  <a:pt x="216" y="23"/>
                </a:cubicBezTo>
                <a:cubicBezTo>
                  <a:pt x="216" y="24"/>
                  <a:pt x="216" y="24"/>
                  <a:pt x="216" y="24"/>
                </a:cubicBezTo>
                <a:cubicBezTo>
                  <a:pt x="217" y="24"/>
                  <a:pt x="217" y="24"/>
                  <a:pt x="217" y="24"/>
                </a:cubicBezTo>
                <a:cubicBezTo>
                  <a:pt x="218" y="25"/>
                  <a:pt x="218" y="25"/>
                  <a:pt x="218" y="25"/>
                </a:cubicBezTo>
                <a:cubicBezTo>
                  <a:pt x="220" y="25"/>
                  <a:pt x="220" y="25"/>
                  <a:pt x="220" y="25"/>
                </a:cubicBezTo>
                <a:cubicBezTo>
                  <a:pt x="221" y="25"/>
                  <a:pt x="221" y="25"/>
                  <a:pt x="221" y="25"/>
                </a:cubicBezTo>
                <a:cubicBezTo>
                  <a:pt x="223" y="24"/>
                  <a:pt x="223" y="24"/>
                  <a:pt x="223" y="24"/>
                </a:cubicBezTo>
                <a:cubicBezTo>
                  <a:pt x="223" y="24"/>
                  <a:pt x="223" y="24"/>
                  <a:pt x="223" y="24"/>
                </a:cubicBezTo>
                <a:cubicBezTo>
                  <a:pt x="224" y="25"/>
                  <a:pt x="224" y="25"/>
                  <a:pt x="224" y="25"/>
                </a:cubicBezTo>
                <a:cubicBezTo>
                  <a:pt x="224" y="24"/>
                  <a:pt x="224" y="24"/>
                  <a:pt x="224" y="24"/>
                </a:cubicBezTo>
                <a:cubicBezTo>
                  <a:pt x="224" y="23"/>
                  <a:pt x="224" y="23"/>
                  <a:pt x="224" y="23"/>
                </a:cubicBezTo>
                <a:cubicBezTo>
                  <a:pt x="225" y="23"/>
                  <a:pt x="225" y="23"/>
                  <a:pt x="225" y="23"/>
                </a:cubicBezTo>
                <a:cubicBezTo>
                  <a:pt x="227" y="23"/>
                  <a:pt x="227" y="23"/>
                  <a:pt x="227" y="23"/>
                </a:cubicBezTo>
                <a:cubicBezTo>
                  <a:pt x="228" y="24"/>
                  <a:pt x="228" y="24"/>
                  <a:pt x="228" y="24"/>
                </a:cubicBezTo>
                <a:cubicBezTo>
                  <a:pt x="228" y="24"/>
                  <a:pt x="228" y="24"/>
                  <a:pt x="228" y="24"/>
                </a:cubicBezTo>
                <a:cubicBezTo>
                  <a:pt x="229" y="25"/>
                  <a:pt x="229" y="25"/>
                  <a:pt x="229" y="25"/>
                </a:cubicBezTo>
                <a:cubicBezTo>
                  <a:pt x="229" y="25"/>
                  <a:pt x="229" y="25"/>
                  <a:pt x="229" y="25"/>
                </a:cubicBezTo>
                <a:cubicBezTo>
                  <a:pt x="230" y="24"/>
                  <a:pt x="230" y="24"/>
                  <a:pt x="230" y="24"/>
                </a:cubicBezTo>
                <a:cubicBezTo>
                  <a:pt x="230" y="24"/>
                  <a:pt x="230" y="24"/>
                  <a:pt x="230" y="24"/>
                </a:cubicBezTo>
                <a:cubicBezTo>
                  <a:pt x="231" y="25"/>
                  <a:pt x="231" y="25"/>
                  <a:pt x="231" y="25"/>
                </a:cubicBezTo>
                <a:cubicBezTo>
                  <a:pt x="231" y="26"/>
                  <a:pt x="231" y="26"/>
                  <a:pt x="231" y="26"/>
                </a:cubicBezTo>
                <a:cubicBezTo>
                  <a:pt x="233" y="26"/>
                  <a:pt x="233" y="26"/>
                  <a:pt x="233" y="26"/>
                </a:cubicBezTo>
                <a:cubicBezTo>
                  <a:pt x="234" y="27"/>
                  <a:pt x="234" y="27"/>
                  <a:pt x="234" y="27"/>
                </a:cubicBezTo>
                <a:cubicBezTo>
                  <a:pt x="234" y="28"/>
                  <a:pt x="234" y="28"/>
                  <a:pt x="234" y="28"/>
                </a:cubicBezTo>
                <a:cubicBezTo>
                  <a:pt x="235" y="29"/>
                  <a:pt x="235" y="29"/>
                  <a:pt x="235" y="29"/>
                </a:cubicBezTo>
                <a:cubicBezTo>
                  <a:pt x="237" y="29"/>
                  <a:pt x="237" y="29"/>
                  <a:pt x="237" y="29"/>
                </a:cubicBezTo>
                <a:cubicBezTo>
                  <a:pt x="238" y="30"/>
                  <a:pt x="238" y="30"/>
                  <a:pt x="238" y="30"/>
                </a:cubicBezTo>
                <a:cubicBezTo>
                  <a:pt x="238" y="31"/>
                  <a:pt x="238" y="31"/>
                  <a:pt x="238" y="31"/>
                </a:cubicBezTo>
                <a:cubicBezTo>
                  <a:pt x="238" y="32"/>
                  <a:pt x="238" y="32"/>
                  <a:pt x="238" y="32"/>
                </a:cubicBezTo>
                <a:cubicBezTo>
                  <a:pt x="237" y="32"/>
                  <a:pt x="237" y="32"/>
                  <a:pt x="237" y="32"/>
                </a:cubicBezTo>
                <a:cubicBezTo>
                  <a:pt x="237" y="33"/>
                  <a:pt x="237" y="33"/>
                  <a:pt x="237" y="33"/>
                </a:cubicBezTo>
                <a:cubicBezTo>
                  <a:pt x="237" y="34"/>
                  <a:pt x="237" y="34"/>
                  <a:pt x="237" y="34"/>
                </a:cubicBezTo>
                <a:cubicBezTo>
                  <a:pt x="237" y="34"/>
                  <a:pt x="237" y="34"/>
                  <a:pt x="237" y="34"/>
                </a:cubicBezTo>
                <a:cubicBezTo>
                  <a:pt x="235" y="35"/>
                  <a:pt x="235" y="35"/>
                  <a:pt x="235" y="35"/>
                </a:cubicBezTo>
                <a:cubicBezTo>
                  <a:pt x="235" y="35"/>
                  <a:pt x="235" y="35"/>
                  <a:pt x="235" y="35"/>
                </a:cubicBezTo>
                <a:cubicBezTo>
                  <a:pt x="234" y="35"/>
                  <a:pt x="234" y="35"/>
                  <a:pt x="234" y="35"/>
                </a:cubicBezTo>
                <a:cubicBezTo>
                  <a:pt x="234" y="35"/>
                  <a:pt x="234" y="35"/>
                  <a:pt x="234" y="35"/>
                </a:cubicBezTo>
                <a:cubicBezTo>
                  <a:pt x="234" y="36"/>
                  <a:pt x="234" y="36"/>
                  <a:pt x="234" y="36"/>
                </a:cubicBezTo>
                <a:cubicBezTo>
                  <a:pt x="233" y="36"/>
                  <a:pt x="233" y="36"/>
                  <a:pt x="233" y="36"/>
                </a:cubicBezTo>
                <a:cubicBezTo>
                  <a:pt x="232" y="37"/>
                  <a:pt x="232" y="37"/>
                  <a:pt x="232" y="37"/>
                </a:cubicBezTo>
                <a:cubicBezTo>
                  <a:pt x="230" y="38"/>
                  <a:pt x="230" y="38"/>
                  <a:pt x="230" y="38"/>
                </a:cubicBezTo>
                <a:cubicBezTo>
                  <a:pt x="228" y="38"/>
                  <a:pt x="228" y="38"/>
                  <a:pt x="228" y="38"/>
                </a:cubicBezTo>
                <a:cubicBezTo>
                  <a:pt x="228" y="38"/>
                  <a:pt x="228" y="38"/>
                  <a:pt x="228" y="38"/>
                </a:cubicBezTo>
                <a:cubicBezTo>
                  <a:pt x="227" y="38"/>
                  <a:pt x="227" y="38"/>
                  <a:pt x="227" y="38"/>
                </a:cubicBezTo>
                <a:cubicBezTo>
                  <a:pt x="226" y="38"/>
                  <a:pt x="226" y="38"/>
                  <a:pt x="226" y="38"/>
                </a:cubicBezTo>
                <a:cubicBezTo>
                  <a:pt x="226" y="37"/>
                  <a:pt x="226" y="37"/>
                  <a:pt x="226" y="37"/>
                </a:cubicBezTo>
                <a:cubicBezTo>
                  <a:pt x="225" y="37"/>
                  <a:pt x="225" y="37"/>
                  <a:pt x="225" y="37"/>
                </a:cubicBezTo>
                <a:cubicBezTo>
                  <a:pt x="225" y="38"/>
                  <a:pt x="225" y="38"/>
                  <a:pt x="225" y="38"/>
                </a:cubicBezTo>
                <a:cubicBezTo>
                  <a:pt x="226" y="38"/>
                  <a:pt x="226" y="38"/>
                  <a:pt x="226" y="38"/>
                </a:cubicBezTo>
                <a:cubicBezTo>
                  <a:pt x="226" y="39"/>
                  <a:pt x="226" y="39"/>
                  <a:pt x="226" y="39"/>
                </a:cubicBezTo>
                <a:cubicBezTo>
                  <a:pt x="225" y="39"/>
                  <a:pt x="225" y="39"/>
                  <a:pt x="225" y="39"/>
                </a:cubicBezTo>
                <a:cubicBezTo>
                  <a:pt x="224" y="38"/>
                  <a:pt x="224" y="38"/>
                  <a:pt x="224" y="38"/>
                </a:cubicBezTo>
                <a:cubicBezTo>
                  <a:pt x="223" y="39"/>
                  <a:pt x="223" y="39"/>
                  <a:pt x="223" y="39"/>
                </a:cubicBezTo>
                <a:cubicBezTo>
                  <a:pt x="222" y="39"/>
                  <a:pt x="222" y="39"/>
                  <a:pt x="222" y="39"/>
                </a:cubicBezTo>
                <a:cubicBezTo>
                  <a:pt x="221" y="38"/>
                  <a:pt x="221" y="38"/>
                  <a:pt x="221" y="38"/>
                </a:cubicBezTo>
                <a:cubicBezTo>
                  <a:pt x="220" y="38"/>
                  <a:pt x="220" y="38"/>
                  <a:pt x="220" y="38"/>
                </a:cubicBezTo>
                <a:cubicBezTo>
                  <a:pt x="219" y="39"/>
                  <a:pt x="219" y="39"/>
                  <a:pt x="219" y="39"/>
                </a:cubicBezTo>
                <a:cubicBezTo>
                  <a:pt x="218" y="40"/>
                  <a:pt x="218" y="40"/>
                  <a:pt x="218" y="40"/>
                </a:cubicBezTo>
                <a:cubicBezTo>
                  <a:pt x="217" y="40"/>
                  <a:pt x="217" y="40"/>
                  <a:pt x="217" y="40"/>
                </a:cubicBezTo>
                <a:cubicBezTo>
                  <a:pt x="216" y="39"/>
                  <a:pt x="216" y="39"/>
                  <a:pt x="216" y="39"/>
                </a:cubicBezTo>
                <a:cubicBezTo>
                  <a:pt x="215" y="39"/>
                  <a:pt x="215" y="39"/>
                  <a:pt x="215" y="39"/>
                </a:cubicBezTo>
                <a:cubicBezTo>
                  <a:pt x="214" y="39"/>
                  <a:pt x="214" y="39"/>
                  <a:pt x="214" y="39"/>
                </a:cubicBezTo>
                <a:cubicBezTo>
                  <a:pt x="214" y="39"/>
                  <a:pt x="214" y="39"/>
                  <a:pt x="214" y="39"/>
                </a:cubicBezTo>
                <a:cubicBezTo>
                  <a:pt x="213" y="39"/>
                  <a:pt x="213" y="39"/>
                  <a:pt x="213" y="39"/>
                </a:cubicBezTo>
                <a:cubicBezTo>
                  <a:pt x="212" y="40"/>
                  <a:pt x="212" y="40"/>
                  <a:pt x="212" y="40"/>
                </a:cubicBezTo>
                <a:cubicBezTo>
                  <a:pt x="211" y="39"/>
                  <a:pt x="211" y="39"/>
                  <a:pt x="211" y="39"/>
                </a:cubicBezTo>
                <a:cubicBezTo>
                  <a:pt x="209" y="38"/>
                  <a:pt x="209" y="38"/>
                  <a:pt x="209" y="38"/>
                </a:cubicBezTo>
                <a:cubicBezTo>
                  <a:pt x="209" y="38"/>
                  <a:pt x="209" y="38"/>
                  <a:pt x="209" y="38"/>
                </a:cubicBezTo>
                <a:cubicBezTo>
                  <a:pt x="209" y="38"/>
                  <a:pt x="209" y="38"/>
                  <a:pt x="209" y="38"/>
                </a:cubicBezTo>
                <a:cubicBezTo>
                  <a:pt x="207" y="38"/>
                  <a:pt x="207" y="38"/>
                  <a:pt x="207" y="38"/>
                </a:cubicBezTo>
                <a:cubicBezTo>
                  <a:pt x="206" y="37"/>
                  <a:pt x="206" y="37"/>
                  <a:pt x="206" y="37"/>
                </a:cubicBezTo>
                <a:cubicBezTo>
                  <a:pt x="205" y="37"/>
                  <a:pt x="205" y="37"/>
                  <a:pt x="205" y="37"/>
                </a:cubicBezTo>
                <a:cubicBezTo>
                  <a:pt x="204" y="38"/>
                  <a:pt x="204" y="38"/>
                  <a:pt x="204" y="38"/>
                </a:cubicBezTo>
                <a:cubicBezTo>
                  <a:pt x="203" y="37"/>
                  <a:pt x="203" y="37"/>
                  <a:pt x="203" y="37"/>
                </a:cubicBezTo>
                <a:cubicBezTo>
                  <a:pt x="202" y="37"/>
                  <a:pt x="202" y="37"/>
                  <a:pt x="202" y="37"/>
                </a:cubicBezTo>
                <a:cubicBezTo>
                  <a:pt x="201" y="37"/>
                  <a:pt x="201" y="37"/>
                  <a:pt x="201" y="37"/>
                </a:cubicBezTo>
                <a:cubicBezTo>
                  <a:pt x="200" y="38"/>
                  <a:pt x="200" y="38"/>
                  <a:pt x="200" y="38"/>
                </a:cubicBezTo>
                <a:cubicBezTo>
                  <a:pt x="199" y="38"/>
                  <a:pt x="199" y="38"/>
                  <a:pt x="199" y="38"/>
                </a:cubicBezTo>
                <a:cubicBezTo>
                  <a:pt x="198" y="38"/>
                  <a:pt x="198" y="38"/>
                  <a:pt x="198" y="38"/>
                </a:cubicBezTo>
                <a:cubicBezTo>
                  <a:pt x="197" y="39"/>
                  <a:pt x="197" y="39"/>
                  <a:pt x="197" y="39"/>
                </a:cubicBezTo>
                <a:cubicBezTo>
                  <a:pt x="197" y="39"/>
                  <a:pt x="197" y="39"/>
                  <a:pt x="197" y="39"/>
                </a:cubicBezTo>
                <a:cubicBezTo>
                  <a:pt x="196" y="39"/>
                  <a:pt x="196" y="39"/>
                  <a:pt x="196" y="39"/>
                </a:cubicBezTo>
                <a:cubicBezTo>
                  <a:pt x="196" y="38"/>
                  <a:pt x="196" y="38"/>
                  <a:pt x="196" y="38"/>
                </a:cubicBezTo>
                <a:cubicBezTo>
                  <a:pt x="195" y="38"/>
                  <a:pt x="195" y="38"/>
                  <a:pt x="195" y="38"/>
                </a:cubicBezTo>
                <a:cubicBezTo>
                  <a:pt x="194" y="38"/>
                  <a:pt x="194" y="38"/>
                  <a:pt x="194" y="38"/>
                </a:cubicBezTo>
                <a:cubicBezTo>
                  <a:pt x="194" y="37"/>
                  <a:pt x="194" y="37"/>
                  <a:pt x="194" y="37"/>
                </a:cubicBezTo>
                <a:cubicBezTo>
                  <a:pt x="193" y="37"/>
                  <a:pt x="193" y="37"/>
                  <a:pt x="193" y="37"/>
                </a:cubicBezTo>
                <a:cubicBezTo>
                  <a:pt x="193" y="38"/>
                  <a:pt x="193" y="38"/>
                  <a:pt x="193" y="38"/>
                </a:cubicBezTo>
                <a:cubicBezTo>
                  <a:pt x="193" y="38"/>
                  <a:pt x="193" y="38"/>
                  <a:pt x="193" y="38"/>
                </a:cubicBezTo>
                <a:cubicBezTo>
                  <a:pt x="195" y="38"/>
                  <a:pt x="195" y="38"/>
                  <a:pt x="195" y="38"/>
                </a:cubicBezTo>
                <a:cubicBezTo>
                  <a:pt x="195" y="38"/>
                  <a:pt x="195" y="38"/>
                  <a:pt x="195" y="38"/>
                </a:cubicBezTo>
                <a:cubicBezTo>
                  <a:pt x="196" y="39"/>
                  <a:pt x="196" y="39"/>
                  <a:pt x="196" y="39"/>
                </a:cubicBezTo>
                <a:cubicBezTo>
                  <a:pt x="195" y="40"/>
                  <a:pt x="195" y="40"/>
                  <a:pt x="195" y="40"/>
                </a:cubicBezTo>
                <a:cubicBezTo>
                  <a:pt x="194" y="40"/>
                  <a:pt x="194" y="40"/>
                  <a:pt x="194" y="40"/>
                </a:cubicBezTo>
                <a:cubicBezTo>
                  <a:pt x="194" y="40"/>
                  <a:pt x="194" y="40"/>
                  <a:pt x="194" y="40"/>
                </a:cubicBezTo>
                <a:cubicBezTo>
                  <a:pt x="193" y="40"/>
                  <a:pt x="193" y="40"/>
                  <a:pt x="193" y="40"/>
                </a:cubicBezTo>
                <a:cubicBezTo>
                  <a:pt x="192" y="41"/>
                  <a:pt x="192" y="41"/>
                  <a:pt x="192" y="41"/>
                </a:cubicBezTo>
                <a:cubicBezTo>
                  <a:pt x="191" y="41"/>
                  <a:pt x="191" y="41"/>
                  <a:pt x="191" y="41"/>
                </a:cubicBezTo>
                <a:cubicBezTo>
                  <a:pt x="189" y="42"/>
                  <a:pt x="189" y="42"/>
                  <a:pt x="189" y="42"/>
                </a:cubicBezTo>
                <a:cubicBezTo>
                  <a:pt x="188" y="42"/>
                  <a:pt x="188" y="42"/>
                  <a:pt x="188" y="42"/>
                </a:cubicBezTo>
                <a:cubicBezTo>
                  <a:pt x="188" y="43"/>
                  <a:pt x="188" y="43"/>
                  <a:pt x="188" y="43"/>
                </a:cubicBezTo>
                <a:cubicBezTo>
                  <a:pt x="187" y="43"/>
                  <a:pt x="187" y="43"/>
                  <a:pt x="187" y="43"/>
                </a:cubicBezTo>
                <a:cubicBezTo>
                  <a:pt x="186" y="43"/>
                  <a:pt x="186" y="43"/>
                  <a:pt x="186" y="43"/>
                </a:cubicBezTo>
                <a:cubicBezTo>
                  <a:pt x="184" y="44"/>
                  <a:pt x="184" y="44"/>
                  <a:pt x="184" y="44"/>
                </a:cubicBezTo>
                <a:cubicBezTo>
                  <a:pt x="184" y="44"/>
                  <a:pt x="184" y="44"/>
                  <a:pt x="184" y="44"/>
                </a:cubicBezTo>
                <a:cubicBezTo>
                  <a:pt x="183" y="44"/>
                  <a:pt x="183" y="44"/>
                  <a:pt x="183" y="44"/>
                </a:cubicBezTo>
                <a:cubicBezTo>
                  <a:pt x="183" y="45"/>
                  <a:pt x="183" y="45"/>
                  <a:pt x="183" y="45"/>
                </a:cubicBezTo>
                <a:cubicBezTo>
                  <a:pt x="184" y="46"/>
                  <a:pt x="184" y="46"/>
                  <a:pt x="184" y="46"/>
                </a:cubicBezTo>
                <a:cubicBezTo>
                  <a:pt x="184" y="47"/>
                  <a:pt x="184" y="47"/>
                  <a:pt x="184" y="47"/>
                </a:cubicBezTo>
                <a:cubicBezTo>
                  <a:pt x="184" y="48"/>
                  <a:pt x="184" y="48"/>
                  <a:pt x="184" y="48"/>
                </a:cubicBezTo>
                <a:cubicBezTo>
                  <a:pt x="184" y="49"/>
                  <a:pt x="184" y="49"/>
                  <a:pt x="184" y="49"/>
                </a:cubicBezTo>
                <a:cubicBezTo>
                  <a:pt x="185" y="48"/>
                  <a:pt x="185" y="48"/>
                  <a:pt x="185" y="48"/>
                </a:cubicBezTo>
                <a:cubicBezTo>
                  <a:pt x="185" y="48"/>
                  <a:pt x="185" y="48"/>
                  <a:pt x="185" y="48"/>
                </a:cubicBezTo>
                <a:cubicBezTo>
                  <a:pt x="186" y="47"/>
                  <a:pt x="186" y="47"/>
                  <a:pt x="186" y="47"/>
                </a:cubicBezTo>
                <a:cubicBezTo>
                  <a:pt x="186" y="46"/>
                  <a:pt x="186" y="46"/>
                  <a:pt x="186" y="46"/>
                </a:cubicBezTo>
                <a:cubicBezTo>
                  <a:pt x="187" y="46"/>
                  <a:pt x="187" y="46"/>
                  <a:pt x="187" y="46"/>
                </a:cubicBezTo>
                <a:cubicBezTo>
                  <a:pt x="188" y="45"/>
                  <a:pt x="188" y="45"/>
                  <a:pt x="188" y="45"/>
                </a:cubicBezTo>
                <a:cubicBezTo>
                  <a:pt x="189" y="45"/>
                  <a:pt x="189" y="45"/>
                  <a:pt x="189" y="45"/>
                </a:cubicBezTo>
                <a:cubicBezTo>
                  <a:pt x="190" y="45"/>
                  <a:pt x="190" y="45"/>
                  <a:pt x="190" y="45"/>
                </a:cubicBezTo>
                <a:cubicBezTo>
                  <a:pt x="191" y="45"/>
                  <a:pt x="191" y="45"/>
                  <a:pt x="191" y="45"/>
                </a:cubicBezTo>
                <a:cubicBezTo>
                  <a:pt x="192" y="44"/>
                  <a:pt x="192" y="44"/>
                  <a:pt x="192" y="44"/>
                </a:cubicBezTo>
                <a:cubicBezTo>
                  <a:pt x="193" y="44"/>
                  <a:pt x="193" y="44"/>
                  <a:pt x="193" y="44"/>
                </a:cubicBezTo>
                <a:cubicBezTo>
                  <a:pt x="196" y="43"/>
                  <a:pt x="196" y="43"/>
                  <a:pt x="196" y="43"/>
                </a:cubicBezTo>
                <a:cubicBezTo>
                  <a:pt x="197" y="43"/>
                  <a:pt x="197" y="43"/>
                  <a:pt x="197" y="43"/>
                </a:cubicBezTo>
                <a:cubicBezTo>
                  <a:pt x="197" y="43"/>
                  <a:pt x="197" y="43"/>
                  <a:pt x="197" y="43"/>
                </a:cubicBezTo>
                <a:cubicBezTo>
                  <a:pt x="196" y="44"/>
                  <a:pt x="196" y="44"/>
                  <a:pt x="196" y="44"/>
                </a:cubicBezTo>
                <a:cubicBezTo>
                  <a:pt x="197" y="44"/>
                  <a:pt x="197" y="44"/>
                  <a:pt x="197" y="44"/>
                </a:cubicBezTo>
                <a:cubicBezTo>
                  <a:pt x="198" y="43"/>
                  <a:pt x="198" y="43"/>
                  <a:pt x="198" y="43"/>
                </a:cubicBezTo>
                <a:cubicBezTo>
                  <a:pt x="198" y="42"/>
                  <a:pt x="198" y="42"/>
                  <a:pt x="198" y="42"/>
                </a:cubicBezTo>
                <a:cubicBezTo>
                  <a:pt x="198" y="41"/>
                  <a:pt x="198" y="41"/>
                  <a:pt x="198" y="41"/>
                </a:cubicBezTo>
                <a:cubicBezTo>
                  <a:pt x="199" y="41"/>
                  <a:pt x="199" y="41"/>
                  <a:pt x="199" y="41"/>
                </a:cubicBezTo>
                <a:cubicBezTo>
                  <a:pt x="200" y="41"/>
                  <a:pt x="200" y="41"/>
                  <a:pt x="200" y="41"/>
                </a:cubicBezTo>
                <a:cubicBezTo>
                  <a:pt x="201" y="41"/>
                  <a:pt x="201" y="41"/>
                  <a:pt x="201" y="41"/>
                </a:cubicBezTo>
                <a:cubicBezTo>
                  <a:pt x="202" y="41"/>
                  <a:pt x="202" y="41"/>
                  <a:pt x="202" y="41"/>
                </a:cubicBezTo>
                <a:cubicBezTo>
                  <a:pt x="204" y="41"/>
                  <a:pt x="204" y="41"/>
                  <a:pt x="204" y="41"/>
                </a:cubicBezTo>
                <a:cubicBezTo>
                  <a:pt x="205" y="42"/>
                  <a:pt x="205" y="42"/>
                  <a:pt x="205" y="42"/>
                </a:cubicBezTo>
                <a:cubicBezTo>
                  <a:pt x="206" y="42"/>
                  <a:pt x="206" y="42"/>
                  <a:pt x="206" y="42"/>
                </a:cubicBezTo>
                <a:cubicBezTo>
                  <a:pt x="209" y="42"/>
                  <a:pt x="209" y="42"/>
                  <a:pt x="209" y="42"/>
                </a:cubicBezTo>
                <a:cubicBezTo>
                  <a:pt x="210" y="42"/>
                  <a:pt x="210" y="42"/>
                  <a:pt x="210" y="42"/>
                </a:cubicBezTo>
                <a:cubicBezTo>
                  <a:pt x="211" y="42"/>
                  <a:pt x="211" y="42"/>
                  <a:pt x="211" y="42"/>
                </a:cubicBezTo>
                <a:cubicBezTo>
                  <a:pt x="213" y="43"/>
                  <a:pt x="213" y="43"/>
                  <a:pt x="213" y="43"/>
                </a:cubicBezTo>
                <a:cubicBezTo>
                  <a:pt x="216" y="43"/>
                  <a:pt x="216" y="43"/>
                  <a:pt x="216" y="43"/>
                </a:cubicBezTo>
                <a:cubicBezTo>
                  <a:pt x="217" y="43"/>
                  <a:pt x="217" y="43"/>
                  <a:pt x="217" y="43"/>
                </a:cubicBezTo>
                <a:cubicBezTo>
                  <a:pt x="217" y="44"/>
                  <a:pt x="217" y="44"/>
                  <a:pt x="217" y="44"/>
                </a:cubicBezTo>
                <a:cubicBezTo>
                  <a:pt x="217" y="44"/>
                  <a:pt x="217" y="44"/>
                  <a:pt x="217" y="44"/>
                </a:cubicBezTo>
                <a:cubicBezTo>
                  <a:pt x="217" y="45"/>
                  <a:pt x="217" y="45"/>
                  <a:pt x="217" y="45"/>
                </a:cubicBezTo>
                <a:cubicBezTo>
                  <a:pt x="216" y="45"/>
                  <a:pt x="216" y="45"/>
                  <a:pt x="216" y="45"/>
                </a:cubicBezTo>
                <a:cubicBezTo>
                  <a:pt x="216" y="46"/>
                  <a:pt x="216" y="46"/>
                  <a:pt x="216" y="46"/>
                </a:cubicBezTo>
                <a:cubicBezTo>
                  <a:pt x="215" y="47"/>
                  <a:pt x="215" y="47"/>
                  <a:pt x="215" y="47"/>
                </a:cubicBezTo>
                <a:cubicBezTo>
                  <a:pt x="215" y="48"/>
                  <a:pt x="215" y="48"/>
                  <a:pt x="215" y="48"/>
                </a:cubicBezTo>
                <a:cubicBezTo>
                  <a:pt x="212" y="48"/>
                  <a:pt x="212" y="48"/>
                  <a:pt x="212" y="48"/>
                </a:cubicBezTo>
                <a:cubicBezTo>
                  <a:pt x="210" y="49"/>
                  <a:pt x="210" y="49"/>
                  <a:pt x="210" y="49"/>
                </a:cubicBezTo>
                <a:cubicBezTo>
                  <a:pt x="210" y="49"/>
                  <a:pt x="210" y="49"/>
                  <a:pt x="210" y="49"/>
                </a:cubicBezTo>
                <a:cubicBezTo>
                  <a:pt x="209" y="49"/>
                  <a:pt x="209" y="49"/>
                  <a:pt x="209" y="49"/>
                </a:cubicBezTo>
                <a:cubicBezTo>
                  <a:pt x="209" y="49"/>
                  <a:pt x="209" y="49"/>
                  <a:pt x="209" y="49"/>
                </a:cubicBezTo>
                <a:cubicBezTo>
                  <a:pt x="209" y="50"/>
                  <a:pt x="209" y="50"/>
                  <a:pt x="209" y="50"/>
                </a:cubicBezTo>
                <a:cubicBezTo>
                  <a:pt x="209" y="50"/>
                  <a:pt x="209" y="50"/>
                  <a:pt x="209" y="50"/>
                </a:cubicBezTo>
                <a:cubicBezTo>
                  <a:pt x="208" y="51"/>
                  <a:pt x="208" y="51"/>
                  <a:pt x="208" y="51"/>
                </a:cubicBezTo>
                <a:cubicBezTo>
                  <a:pt x="209" y="52"/>
                  <a:pt x="209" y="52"/>
                  <a:pt x="209" y="52"/>
                </a:cubicBezTo>
                <a:cubicBezTo>
                  <a:pt x="209" y="52"/>
                  <a:pt x="209" y="52"/>
                  <a:pt x="209" y="52"/>
                </a:cubicBezTo>
                <a:cubicBezTo>
                  <a:pt x="210" y="52"/>
                  <a:pt x="210" y="52"/>
                  <a:pt x="210" y="52"/>
                </a:cubicBezTo>
                <a:cubicBezTo>
                  <a:pt x="212" y="51"/>
                  <a:pt x="212" y="51"/>
                  <a:pt x="212" y="51"/>
                </a:cubicBezTo>
                <a:cubicBezTo>
                  <a:pt x="213" y="51"/>
                  <a:pt x="213" y="51"/>
                  <a:pt x="213" y="51"/>
                </a:cubicBezTo>
                <a:cubicBezTo>
                  <a:pt x="213" y="51"/>
                  <a:pt x="215" y="51"/>
                  <a:pt x="215" y="51"/>
                </a:cubicBezTo>
                <a:cubicBezTo>
                  <a:pt x="216" y="51"/>
                  <a:pt x="218" y="51"/>
                  <a:pt x="218" y="51"/>
                </a:cubicBezTo>
                <a:cubicBezTo>
                  <a:pt x="218" y="51"/>
                  <a:pt x="218" y="51"/>
                  <a:pt x="218" y="51"/>
                </a:cubicBezTo>
                <a:cubicBezTo>
                  <a:pt x="219" y="52"/>
                  <a:pt x="219" y="52"/>
                  <a:pt x="219" y="52"/>
                </a:cubicBezTo>
                <a:cubicBezTo>
                  <a:pt x="220" y="52"/>
                  <a:pt x="220" y="52"/>
                  <a:pt x="220" y="52"/>
                </a:cubicBezTo>
                <a:cubicBezTo>
                  <a:pt x="220" y="51"/>
                  <a:pt x="220" y="51"/>
                  <a:pt x="220" y="51"/>
                </a:cubicBezTo>
                <a:cubicBezTo>
                  <a:pt x="221" y="51"/>
                  <a:pt x="221" y="51"/>
                  <a:pt x="221" y="51"/>
                </a:cubicBezTo>
                <a:cubicBezTo>
                  <a:pt x="221" y="51"/>
                  <a:pt x="221" y="51"/>
                  <a:pt x="221" y="51"/>
                </a:cubicBezTo>
                <a:cubicBezTo>
                  <a:pt x="222" y="52"/>
                  <a:pt x="222" y="52"/>
                  <a:pt x="222" y="52"/>
                </a:cubicBezTo>
                <a:cubicBezTo>
                  <a:pt x="223" y="50"/>
                  <a:pt x="223" y="50"/>
                  <a:pt x="223" y="50"/>
                </a:cubicBezTo>
                <a:cubicBezTo>
                  <a:pt x="223" y="48"/>
                  <a:pt x="223" y="48"/>
                  <a:pt x="223" y="48"/>
                </a:cubicBezTo>
                <a:cubicBezTo>
                  <a:pt x="223" y="47"/>
                  <a:pt x="223" y="47"/>
                  <a:pt x="223" y="47"/>
                </a:cubicBezTo>
                <a:cubicBezTo>
                  <a:pt x="224" y="46"/>
                  <a:pt x="224" y="46"/>
                  <a:pt x="224" y="46"/>
                </a:cubicBezTo>
                <a:cubicBezTo>
                  <a:pt x="224" y="46"/>
                  <a:pt x="224" y="46"/>
                  <a:pt x="224" y="46"/>
                </a:cubicBezTo>
                <a:cubicBezTo>
                  <a:pt x="224" y="45"/>
                  <a:pt x="224" y="45"/>
                  <a:pt x="224" y="45"/>
                </a:cubicBezTo>
                <a:cubicBezTo>
                  <a:pt x="225" y="44"/>
                  <a:pt x="225" y="44"/>
                  <a:pt x="225" y="44"/>
                </a:cubicBezTo>
                <a:cubicBezTo>
                  <a:pt x="226" y="44"/>
                  <a:pt x="226" y="44"/>
                  <a:pt x="226" y="44"/>
                </a:cubicBezTo>
                <a:cubicBezTo>
                  <a:pt x="227" y="45"/>
                  <a:pt x="227" y="45"/>
                  <a:pt x="227" y="45"/>
                </a:cubicBezTo>
                <a:cubicBezTo>
                  <a:pt x="229" y="44"/>
                  <a:pt x="229" y="44"/>
                  <a:pt x="229" y="44"/>
                </a:cubicBezTo>
                <a:cubicBezTo>
                  <a:pt x="230" y="44"/>
                  <a:pt x="230" y="44"/>
                  <a:pt x="230" y="44"/>
                </a:cubicBezTo>
                <a:cubicBezTo>
                  <a:pt x="231" y="44"/>
                  <a:pt x="231" y="44"/>
                  <a:pt x="231" y="44"/>
                </a:cubicBezTo>
                <a:cubicBezTo>
                  <a:pt x="231" y="46"/>
                  <a:pt x="231" y="46"/>
                  <a:pt x="231" y="46"/>
                </a:cubicBezTo>
                <a:cubicBezTo>
                  <a:pt x="231" y="48"/>
                  <a:pt x="231" y="48"/>
                  <a:pt x="231" y="48"/>
                </a:cubicBezTo>
                <a:cubicBezTo>
                  <a:pt x="231" y="49"/>
                  <a:pt x="231" y="49"/>
                  <a:pt x="231" y="49"/>
                </a:cubicBezTo>
                <a:cubicBezTo>
                  <a:pt x="230" y="51"/>
                  <a:pt x="230" y="51"/>
                  <a:pt x="230" y="51"/>
                </a:cubicBezTo>
                <a:cubicBezTo>
                  <a:pt x="229" y="52"/>
                  <a:pt x="229" y="52"/>
                  <a:pt x="229" y="52"/>
                </a:cubicBezTo>
                <a:cubicBezTo>
                  <a:pt x="229" y="54"/>
                  <a:pt x="229" y="54"/>
                  <a:pt x="229" y="54"/>
                </a:cubicBezTo>
                <a:cubicBezTo>
                  <a:pt x="229" y="55"/>
                  <a:pt x="229" y="55"/>
                  <a:pt x="229" y="55"/>
                </a:cubicBezTo>
                <a:cubicBezTo>
                  <a:pt x="225" y="58"/>
                  <a:pt x="225" y="58"/>
                  <a:pt x="225" y="58"/>
                </a:cubicBezTo>
                <a:cubicBezTo>
                  <a:pt x="224" y="58"/>
                  <a:pt x="224" y="58"/>
                  <a:pt x="224" y="58"/>
                </a:cubicBezTo>
                <a:cubicBezTo>
                  <a:pt x="224" y="58"/>
                  <a:pt x="224" y="58"/>
                  <a:pt x="224" y="58"/>
                </a:cubicBezTo>
                <a:cubicBezTo>
                  <a:pt x="223" y="58"/>
                  <a:pt x="223" y="58"/>
                  <a:pt x="223" y="58"/>
                </a:cubicBezTo>
                <a:cubicBezTo>
                  <a:pt x="222" y="59"/>
                  <a:pt x="222" y="59"/>
                  <a:pt x="222" y="59"/>
                </a:cubicBezTo>
                <a:cubicBezTo>
                  <a:pt x="222" y="59"/>
                  <a:pt x="222" y="59"/>
                  <a:pt x="222" y="59"/>
                </a:cubicBezTo>
                <a:cubicBezTo>
                  <a:pt x="221" y="59"/>
                  <a:pt x="221" y="59"/>
                  <a:pt x="221" y="59"/>
                </a:cubicBezTo>
                <a:cubicBezTo>
                  <a:pt x="220" y="60"/>
                  <a:pt x="220" y="60"/>
                  <a:pt x="220" y="60"/>
                </a:cubicBezTo>
                <a:cubicBezTo>
                  <a:pt x="220" y="61"/>
                  <a:pt x="220" y="61"/>
                  <a:pt x="220" y="61"/>
                </a:cubicBezTo>
                <a:cubicBezTo>
                  <a:pt x="219" y="62"/>
                  <a:pt x="219" y="62"/>
                  <a:pt x="219" y="62"/>
                </a:cubicBezTo>
                <a:cubicBezTo>
                  <a:pt x="218" y="63"/>
                  <a:pt x="218" y="63"/>
                  <a:pt x="218" y="63"/>
                </a:cubicBezTo>
                <a:cubicBezTo>
                  <a:pt x="218" y="63"/>
                  <a:pt x="218" y="63"/>
                  <a:pt x="218" y="63"/>
                </a:cubicBezTo>
                <a:cubicBezTo>
                  <a:pt x="217" y="62"/>
                  <a:pt x="217" y="62"/>
                  <a:pt x="217" y="62"/>
                </a:cubicBezTo>
                <a:cubicBezTo>
                  <a:pt x="217" y="63"/>
                  <a:pt x="217" y="63"/>
                  <a:pt x="217" y="63"/>
                </a:cubicBezTo>
                <a:cubicBezTo>
                  <a:pt x="217" y="63"/>
                  <a:pt x="217" y="63"/>
                  <a:pt x="217" y="63"/>
                </a:cubicBezTo>
                <a:cubicBezTo>
                  <a:pt x="217" y="64"/>
                  <a:pt x="217" y="64"/>
                  <a:pt x="217" y="64"/>
                </a:cubicBezTo>
                <a:cubicBezTo>
                  <a:pt x="216" y="66"/>
                  <a:pt x="216" y="66"/>
                  <a:pt x="216" y="66"/>
                </a:cubicBezTo>
                <a:cubicBezTo>
                  <a:pt x="215" y="67"/>
                  <a:pt x="215" y="67"/>
                  <a:pt x="215" y="67"/>
                </a:cubicBezTo>
                <a:cubicBezTo>
                  <a:pt x="214" y="67"/>
                  <a:pt x="214" y="67"/>
                  <a:pt x="214" y="67"/>
                </a:cubicBezTo>
                <a:cubicBezTo>
                  <a:pt x="213" y="69"/>
                  <a:pt x="213" y="69"/>
                  <a:pt x="213" y="69"/>
                </a:cubicBezTo>
                <a:cubicBezTo>
                  <a:pt x="211" y="70"/>
                  <a:pt x="211" y="70"/>
                  <a:pt x="211" y="70"/>
                </a:cubicBezTo>
                <a:cubicBezTo>
                  <a:pt x="210" y="70"/>
                  <a:pt x="210" y="70"/>
                  <a:pt x="210" y="70"/>
                </a:cubicBezTo>
                <a:cubicBezTo>
                  <a:pt x="209" y="71"/>
                  <a:pt x="209" y="71"/>
                  <a:pt x="209" y="71"/>
                </a:cubicBezTo>
                <a:cubicBezTo>
                  <a:pt x="209" y="72"/>
                  <a:pt x="209" y="72"/>
                  <a:pt x="209" y="72"/>
                </a:cubicBezTo>
                <a:cubicBezTo>
                  <a:pt x="208" y="72"/>
                  <a:pt x="208" y="72"/>
                  <a:pt x="208" y="72"/>
                </a:cubicBezTo>
                <a:cubicBezTo>
                  <a:pt x="208" y="73"/>
                  <a:pt x="208" y="73"/>
                  <a:pt x="208" y="73"/>
                </a:cubicBezTo>
                <a:cubicBezTo>
                  <a:pt x="208" y="74"/>
                  <a:pt x="208" y="74"/>
                  <a:pt x="208" y="74"/>
                </a:cubicBezTo>
                <a:cubicBezTo>
                  <a:pt x="207" y="75"/>
                  <a:pt x="207" y="75"/>
                  <a:pt x="207" y="75"/>
                </a:cubicBezTo>
                <a:cubicBezTo>
                  <a:pt x="207" y="76"/>
                  <a:pt x="207" y="76"/>
                  <a:pt x="207" y="76"/>
                </a:cubicBezTo>
                <a:cubicBezTo>
                  <a:pt x="208" y="75"/>
                  <a:pt x="208" y="75"/>
                  <a:pt x="208" y="75"/>
                </a:cubicBezTo>
                <a:cubicBezTo>
                  <a:pt x="208" y="75"/>
                  <a:pt x="208" y="75"/>
                  <a:pt x="208" y="75"/>
                </a:cubicBezTo>
                <a:cubicBezTo>
                  <a:pt x="209" y="73"/>
                  <a:pt x="209" y="73"/>
                  <a:pt x="209" y="73"/>
                </a:cubicBezTo>
                <a:cubicBezTo>
                  <a:pt x="210" y="72"/>
                  <a:pt x="210" y="72"/>
                  <a:pt x="210" y="72"/>
                </a:cubicBezTo>
                <a:cubicBezTo>
                  <a:pt x="211" y="71"/>
                  <a:pt x="211" y="71"/>
                  <a:pt x="211" y="71"/>
                </a:cubicBezTo>
                <a:cubicBezTo>
                  <a:pt x="212" y="71"/>
                  <a:pt x="212" y="71"/>
                  <a:pt x="212" y="71"/>
                </a:cubicBezTo>
                <a:cubicBezTo>
                  <a:pt x="212" y="72"/>
                  <a:pt x="212" y="72"/>
                  <a:pt x="212" y="72"/>
                </a:cubicBezTo>
                <a:cubicBezTo>
                  <a:pt x="213" y="70"/>
                  <a:pt x="213" y="70"/>
                  <a:pt x="213" y="70"/>
                </a:cubicBezTo>
                <a:cubicBezTo>
                  <a:pt x="215" y="69"/>
                  <a:pt x="215" y="69"/>
                  <a:pt x="215" y="69"/>
                </a:cubicBezTo>
                <a:cubicBezTo>
                  <a:pt x="216" y="69"/>
                  <a:pt x="216" y="69"/>
                  <a:pt x="216" y="69"/>
                </a:cubicBezTo>
                <a:cubicBezTo>
                  <a:pt x="216" y="67"/>
                  <a:pt x="216" y="67"/>
                  <a:pt x="216" y="67"/>
                </a:cubicBezTo>
                <a:cubicBezTo>
                  <a:pt x="218" y="66"/>
                  <a:pt x="218" y="66"/>
                  <a:pt x="218" y="66"/>
                </a:cubicBezTo>
                <a:cubicBezTo>
                  <a:pt x="220" y="64"/>
                  <a:pt x="220" y="64"/>
                  <a:pt x="220" y="64"/>
                </a:cubicBezTo>
                <a:cubicBezTo>
                  <a:pt x="220" y="64"/>
                  <a:pt x="220" y="64"/>
                  <a:pt x="220" y="64"/>
                </a:cubicBezTo>
                <a:cubicBezTo>
                  <a:pt x="221" y="64"/>
                  <a:pt x="221" y="64"/>
                  <a:pt x="221" y="64"/>
                </a:cubicBezTo>
                <a:cubicBezTo>
                  <a:pt x="222" y="64"/>
                  <a:pt x="222" y="64"/>
                  <a:pt x="222" y="64"/>
                </a:cubicBezTo>
                <a:cubicBezTo>
                  <a:pt x="223" y="63"/>
                  <a:pt x="223" y="63"/>
                  <a:pt x="223" y="63"/>
                </a:cubicBezTo>
                <a:cubicBezTo>
                  <a:pt x="223" y="63"/>
                  <a:pt x="223" y="63"/>
                  <a:pt x="223" y="63"/>
                </a:cubicBezTo>
                <a:cubicBezTo>
                  <a:pt x="224" y="63"/>
                  <a:pt x="224" y="63"/>
                  <a:pt x="224" y="63"/>
                </a:cubicBezTo>
                <a:cubicBezTo>
                  <a:pt x="226" y="63"/>
                  <a:pt x="226" y="63"/>
                  <a:pt x="226" y="63"/>
                </a:cubicBezTo>
                <a:cubicBezTo>
                  <a:pt x="228" y="62"/>
                  <a:pt x="228" y="62"/>
                  <a:pt x="228" y="62"/>
                </a:cubicBezTo>
                <a:cubicBezTo>
                  <a:pt x="229" y="61"/>
                  <a:pt x="229" y="61"/>
                  <a:pt x="229" y="61"/>
                </a:cubicBezTo>
                <a:cubicBezTo>
                  <a:pt x="230" y="61"/>
                  <a:pt x="230" y="61"/>
                  <a:pt x="230" y="61"/>
                </a:cubicBezTo>
                <a:cubicBezTo>
                  <a:pt x="231" y="60"/>
                  <a:pt x="231" y="60"/>
                  <a:pt x="231" y="60"/>
                </a:cubicBezTo>
                <a:cubicBezTo>
                  <a:pt x="232" y="59"/>
                  <a:pt x="232" y="59"/>
                  <a:pt x="232" y="59"/>
                </a:cubicBezTo>
                <a:cubicBezTo>
                  <a:pt x="233" y="59"/>
                  <a:pt x="233" y="59"/>
                  <a:pt x="233" y="59"/>
                </a:cubicBezTo>
                <a:cubicBezTo>
                  <a:pt x="233" y="58"/>
                  <a:pt x="233" y="58"/>
                  <a:pt x="233" y="58"/>
                </a:cubicBezTo>
                <a:cubicBezTo>
                  <a:pt x="235" y="57"/>
                  <a:pt x="235" y="57"/>
                  <a:pt x="235" y="57"/>
                </a:cubicBezTo>
                <a:cubicBezTo>
                  <a:pt x="236" y="55"/>
                  <a:pt x="236" y="55"/>
                  <a:pt x="236" y="55"/>
                </a:cubicBezTo>
                <a:cubicBezTo>
                  <a:pt x="236" y="55"/>
                  <a:pt x="236" y="55"/>
                  <a:pt x="236" y="55"/>
                </a:cubicBezTo>
                <a:cubicBezTo>
                  <a:pt x="236" y="54"/>
                  <a:pt x="236" y="54"/>
                  <a:pt x="236" y="54"/>
                </a:cubicBezTo>
                <a:cubicBezTo>
                  <a:pt x="237" y="53"/>
                  <a:pt x="237" y="53"/>
                  <a:pt x="237" y="53"/>
                </a:cubicBezTo>
                <a:cubicBezTo>
                  <a:pt x="237" y="53"/>
                  <a:pt x="237" y="53"/>
                  <a:pt x="237" y="53"/>
                </a:cubicBezTo>
                <a:cubicBezTo>
                  <a:pt x="237" y="53"/>
                  <a:pt x="237" y="53"/>
                  <a:pt x="237" y="53"/>
                </a:cubicBezTo>
                <a:cubicBezTo>
                  <a:pt x="238" y="54"/>
                  <a:pt x="238" y="54"/>
                  <a:pt x="238" y="54"/>
                </a:cubicBezTo>
                <a:cubicBezTo>
                  <a:pt x="238" y="55"/>
                  <a:pt x="238" y="55"/>
                  <a:pt x="238" y="55"/>
                </a:cubicBezTo>
                <a:cubicBezTo>
                  <a:pt x="237" y="56"/>
                  <a:pt x="237" y="56"/>
                  <a:pt x="237" y="56"/>
                </a:cubicBezTo>
                <a:cubicBezTo>
                  <a:pt x="238" y="57"/>
                  <a:pt x="238" y="57"/>
                  <a:pt x="238" y="57"/>
                </a:cubicBezTo>
                <a:cubicBezTo>
                  <a:pt x="238" y="58"/>
                  <a:pt x="238" y="58"/>
                  <a:pt x="238" y="58"/>
                </a:cubicBezTo>
                <a:cubicBezTo>
                  <a:pt x="238" y="59"/>
                  <a:pt x="238" y="59"/>
                  <a:pt x="238" y="59"/>
                </a:cubicBezTo>
                <a:cubicBezTo>
                  <a:pt x="238" y="59"/>
                  <a:pt x="238" y="59"/>
                  <a:pt x="238" y="59"/>
                </a:cubicBezTo>
                <a:cubicBezTo>
                  <a:pt x="238" y="59"/>
                  <a:pt x="238" y="59"/>
                  <a:pt x="238" y="59"/>
                </a:cubicBezTo>
                <a:cubicBezTo>
                  <a:pt x="239" y="58"/>
                  <a:pt x="239" y="58"/>
                  <a:pt x="239" y="58"/>
                </a:cubicBezTo>
                <a:cubicBezTo>
                  <a:pt x="239" y="57"/>
                  <a:pt x="239" y="57"/>
                  <a:pt x="239" y="57"/>
                </a:cubicBezTo>
                <a:cubicBezTo>
                  <a:pt x="239" y="57"/>
                  <a:pt x="239" y="57"/>
                  <a:pt x="239" y="57"/>
                </a:cubicBezTo>
                <a:cubicBezTo>
                  <a:pt x="239" y="55"/>
                  <a:pt x="239" y="55"/>
                  <a:pt x="239" y="55"/>
                </a:cubicBezTo>
                <a:cubicBezTo>
                  <a:pt x="239" y="55"/>
                  <a:pt x="239" y="55"/>
                  <a:pt x="239" y="55"/>
                </a:cubicBezTo>
                <a:cubicBezTo>
                  <a:pt x="240" y="55"/>
                  <a:pt x="240" y="55"/>
                  <a:pt x="240" y="55"/>
                </a:cubicBezTo>
                <a:cubicBezTo>
                  <a:pt x="240" y="56"/>
                  <a:pt x="240" y="56"/>
                  <a:pt x="240" y="56"/>
                </a:cubicBezTo>
                <a:cubicBezTo>
                  <a:pt x="241" y="57"/>
                  <a:pt x="241" y="57"/>
                  <a:pt x="241" y="57"/>
                </a:cubicBezTo>
                <a:cubicBezTo>
                  <a:pt x="242" y="57"/>
                  <a:pt x="242" y="57"/>
                  <a:pt x="242" y="57"/>
                </a:cubicBezTo>
                <a:cubicBezTo>
                  <a:pt x="243" y="56"/>
                  <a:pt x="243" y="56"/>
                  <a:pt x="243" y="56"/>
                </a:cubicBezTo>
                <a:cubicBezTo>
                  <a:pt x="243" y="56"/>
                  <a:pt x="243" y="56"/>
                  <a:pt x="243" y="56"/>
                </a:cubicBezTo>
                <a:cubicBezTo>
                  <a:pt x="243" y="55"/>
                  <a:pt x="243" y="55"/>
                  <a:pt x="243" y="55"/>
                </a:cubicBezTo>
                <a:cubicBezTo>
                  <a:pt x="243" y="54"/>
                  <a:pt x="243" y="54"/>
                  <a:pt x="243" y="54"/>
                </a:cubicBezTo>
                <a:cubicBezTo>
                  <a:pt x="244" y="54"/>
                  <a:pt x="244" y="54"/>
                  <a:pt x="244" y="54"/>
                </a:cubicBezTo>
                <a:cubicBezTo>
                  <a:pt x="244" y="54"/>
                  <a:pt x="244" y="54"/>
                  <a:pt x="244" y="54"/>
                </a:cubicBezTo>
                <a:cubicBezTo>
                  <a:pt x="244" y="52"/>
                  <a:pt x="244" y="52"/>
                  <a:pt x="244" y="52"/>
                </a:cubicBezTo>
                <a:cubicBezTo>
                  <a:pt x="244" y="51"/>
                  <a:pt x="244" y="51"/>
                  <a:pt x="244" y="51"/>
                </a:cubicBezTo>
                <a:cubicBezTo>
                  <a:pt x="244" y="51"/>
                  <a:pt x="244" y="51"/>
                  <a:pt x="244" y="51"/>
                </a:cubicBezTo>
                <a:cubicBezTo>
                  <a:pt x="245" y="50"/>
                  <a:pt x="245" y="50"/>
                  <a:pt x="245" y="50"/>
                </a:cubicBezTo>
                <a:cubicBezTo>
                  <a:pt x="245" y="51"/>
                  <a:pt x="245" y="51"/>
                  <a:pt x="245" y="51"/>
                </a:cubicBezTo>
                <a:cubicBezTo>
                  <a:pt x="246" y="52"/>
                  <a:pt x="246" y="52"/>
                  <a:pt x="246" y="52"/>
                </a:cubicBezTo>
                <a:cubicBezTo>
                  <a:pt x="248" y="51"/>
                  <a:pt x="248" y="51"/>
                  <a:pt x="248" y="51"/>
                </a:cubicBezTo>
                <a:cubicBezTo>
                  <a:pt x="248" y="50"/>
                  <a:pt x="248" y="50"/>
                  <a:pt x="248" y="50"/>
                </a:cubicBezTo>
                <a:cubicBezTo>
                  <a:pt x="250" y="50"/>
                  <a:pt x="250" y="50"/>
                  <a:pt x="250" y="50"/>
                </a:cubicBezTo>
                <a:cubicBezTo>
                  <a:pt x="251" y="50"/>
                  <a:pt x="251" y="50"/>
                  <a:pt x="251" y="50"/>
                </a:cubicBezTo>
                <a:cubicBezTo>
                  <a:pt x="252" y="49"/>
                  <a:pt x="252" y="49"/>
                  <a:pt x="252" y="49"/>
                </a:cubicBezTo>
                <a:cubicBezTo>
                  <a:pt x="254" y="50"/>
                  <a:pt x="254" y="50"/>
                  <a:pt x="254" y="50"/>
                </a:cubicBezTo>
                <a:cubicBezTo>
                  <a:pt x="255" y="51"/>
                  <a:pt x="255" y="51"/>
                  <a:pt x="255" y="51"/>
                </a:cubicBezTo>
                <a:cubicBezTo>
                  <a:pt x="257" y="51"/>
                  <a:pt x="257" y="51"/>
                  <a:pt x="257" y="51"/>
                </a:cubicBezTo>
                <a:cubicBezTo>
                  <a:pt x="258" y="51"/>
                  <a:pt x="258" y="51"/>
                  <a:pt x="258" y="51"/>
                </a:cubicBezTo>
                <a:cubicBezTo>
                  <a:pt x="259" y="52"/>
                  <a:pt x="259" y="52"/>
                  <a:pt x="259" y="52"/>
                </a:cubicBezTo>
                <a:cubicBezTo>
                  <a:pt x="260" y="53"/>
                  <a:pt x="260" y="53"/>
                  <a:pt x="260" y="53"/>
                </a:cubicBezTo>
                <a:cubicBezTo>
                  <a:pt x="261" y="53"/>
                  <a:pt x="261" y="53"/>
                  <a:pt x="261" y="53"/>
                </a:cubicBezTo>
                <a:cubicBezTo>
                  <a:pt x="262" y="53"/>
                  <a:pt x="262" y="53"/>
                  <a:pt x="262" y="53"/>
                </a:cubicBezTo>
                <a:cubicBezTo>
                  <a:pt x="262" y="54"/>
                  <a:pt x="262" y="54"/>
                  <a:pt x="262" y="54"/>
                </a:cubicBezTo>
                <a:cubicBezTo>
                  <a:pt x="263" y="55"/>
                  <a:pt x="263" y="55"/>
                  <a:pt x="263" y="55"/>
                </a:cubicBezTo>
                <a:cubicBezTo>
                  <a:pt x="264" y="56"/>
                  <a:pt x="264" y="56"/>
                  <a:pt x="264" y="56"/>
                </a:cubicBezTo>
                <a:cubicBezTo>
                  <a:pt x="265" y="57"/>
                  <a:pt x="265" y="57"/>
                  <a:pt x="265" y="57"/>
                </a:cubicBezTo>
                <a:cubicBezTo>
                  <a:pt x="266" y="58"/>
                  <a:pt x="266" y="58"/>
                  <a:pt x="266" y="58"/>
                </a:cubicBezTo>
                <a:cubicBezTo>
                  <a:pt x="266" y="60"/>
                  <a:pt x="266" y="60"/>
                  <a:pt x="266" y="60"/>
                </a:cubicBezTo>
                <a:cubicBezTo>
                  <a:pt x="266" y="61"/>
                  <a:pt x="266" y="61"/>
                  <a:pt x="266" y="61"/>
                </a:cubicBezTo>
                <a:cubicBezTo>
                  <a:pt x="266" y="62"/>
                  <a:pt x="266" y="62"/>
                  <a:pt x="266" y="62"/>
                </a:cubicBezTo>
                <a:cubicBezTo>
                  <a:pt x="264" y="62"/>
                  <a:pt x="264" y="62"/>
                  <a:pt x="264" y="62"/>
                </a:cubicBezTo>
                <a:cubicBezTo>
                  <a:pt x="263" y="63"/>
                  <a:pt x="263" y="63"/>
                  <a:pt x="263" y="63"/>
                </a:cubicBezTo>
                <a:cubicBezTo>
                  <a:pt x="263" y="64"/>
                  <a:pt x="263" y="64"/>
                  <a:pt x="263" y="64"/>
                </a:cubicBezTo>
                <a:cubicBezTo>
                  <a:pt x="262" y="64"/>
                  <a:pt x="262" y="64"/>
                  <a:pt x="262" y="64"/>
                </a:cubicBezTo>
                <a:cubicBezTo>
                  <a:pt x="261" y="65"/>
                  <a:pt x="261" y="65"/>
                  <a:pt x="261" y="65"/>
                </a:cubicBezTo>
                <a:cubicBezTo>
                  <a:pt x="260" y="67"/>
                  <a:pt x="260" y="67"/>
                  <a:pt x="260" y="67"/>
                </a:cubicBezTo>
                <a:cubicBezTo>
                  <a:pt x="259" y="68"/>
                  <a:pt x="259" y="68"/>
                  <a:pt x="259" y="68"/>
                </a:cubicBezTo>
                <a:cubicBezTo>
                  <a:pt x="259" y="68"/>
                  <a:pt x="259" y="68"/>
                  <a:pt x="259" y="68"/>
                </a:cubicBezTo>
                <a:cubicBezTo>
                  <a:pt x="258" y="67"/>
                  <a:pt x="258" y="67"/>
                  <a:pt x="258" y="67"/>
                </a:cubicBezTo>
                <a:cubicBezTo>
                  <a:pt x="256" y="66"/>
                  <a:pt x="256" y="66"/>
                  <a:pt x="256" y="66"/>
                </a:cubicBezTo>
                <a:cubicBezTo>
                  <a:pt x="256" y="66"/>
                  <a:pt x="256" y="66"/>
                  <a:pt x="256" y="66"/>
                </a:cubicBezTo>
                <a:cubicBezTo>
                  <a:pt x="255" y="67"/>
                  <a:pt x="255" y="67"/>
                  <a:pt x="255" y="67"/>
                </a:cubicBezTo>
                <a:cubicBezTo>
                  <a:pt x="254" y="68"/>
                  <a:pt x="254" y="68"/>
                  <a:pt x="254" y="68"/>
                </a:cubicBezTo>
                <a:cubicBezTo>
                  <a:pt x="254" y="69"/>
                  <a:pt x="254" y="69"/>
                  <a:pt x="254" y="69"/>
                </a:cubicBezTo>
                <a:cubicBezTo>
                  <a:pt x="254" y="69"/>
                  <a:pt x="254" y="69"/>
                  <a:pt x="254" y="69"/>
                </a:cubicBezTo>
                <a:cubicBezTo>
                  <a:pt x="254" y="70"/>
                  <a:pt x="254" y="70"/>
                  <a:pt x="254" y="70"/>
                </a:cubicBezTo>
                <a:cubicBezTo>
                  <a:pt x="255" y="71"/>
                  <a:pt x="255" y="71"/>
                  <a:pt x="255" y="71"/>
                </a:cubicBezTo>
                <a:cubicBezTo>
                  <a:pt x="256" y="71"/>
                  <a:pt x="256" y="71"/>
                  <a:pt x="256" y="71"/>
                </a:cubicBezTo>
                <a:cubicBezTo>
                  <a:pt x="256" y="72"/>
                  <a:pt x="256" y="72"/>
                  <a:pt x="256" y="72"/>
                </a:cubicBezTo>
                <a:cubicBezTo>
                  <a:pt x="255" y="72"/>
                  <a:pt x="255" y="72"/>
                  <a:pt x="255" y="72"/>
                </a:cubicBezTo>
                <a:cubicBezTo>
                  <a:pt x="254" y="72"/>
                  <a:pt x="254" y="72"/>
                  <a:pt x="254" y="72"/>
                </a:cubicBezTo>
                <a:cubicBezTo>
                  <a:pt x="254" y="72"/>
                  <a:pt x="254" y="72"/>
                  <a:pt x="254" y="72"/>
                </a:cubicBezTo>
                <a:cubicBezTo>
                  <a:pt x="252" y="73"/>
                  <a:pt x="252" y="73"/>
                  <a:pt x="252" y="73"/>
                </a:cubicBezTo>
                <a:cubicBezTo>
                  <a:pt x="250" y="74"/>
                  <a:pt x="250" y="74"/>
                  <a:pt x="250" y="74"/>
                </a:cubicBezTo>
                <a:cubicBezTo>
                  <a:pt x="249" y="74"/>
                  <a:pt x="249" y="74"/>
                  <a:pt x="249" y="74"/>
                </a:cubicBezTo>
                <a:cubicBezTo>
                  <a:pt x="249" y="74"/>
                  <a:pt x="249" y="74"/>
                  <a:pt x="249" y="74"/>
                </a:cubicBezTo>
                <a:cubicBezTo>
                  <a:pt x="248" y="74"/>
                  <a:pt x="248" y="74"/>
                  <a:pt x="248" y="74"/>
                </a:cubicBezTo>
                <a:cubicBezTo>
                  <a:pt x="247" y="73"/>
                  <a:pt x="247" y="73"/>
                  <a:pt x="247" y="73"/>
                </a:cubicBezTo>
                <a:cubicBezTo>
                  <a:pt x="246" y="73"/>
                  <a:pt x="246" y="73"/>
                  <a:pt x="246" y="73"/>
                </a:cubicBezTo>
                <a:cubicBezTo>
                  <a:pt x="245" y="73"/>
                  <a:pt x="245" y="73"/>
                  <a:pt x="245" y="73"/>
                </a:cubicBezTo>
                <a:cubicBezTo>
                  <a:pt x="245" y="73"/>
                  <a:pt x="245" y="73"/>
                  <a:pt x="245" y="73"/>
                </a:cubicBezTo>
                <a:cubicBezTo>
                  <a:pt x="244" y="73"/>
                  <a:pt x="244" y="73"/>
                  <a:pt x="244" y="73"/>
                </a:cubicBezTo>
                <a:cubicBezTo>
                  <a:pt x="244" y="73"/>
                  <a:pt x="244" y="73"/>
                  <a:pt x="244" y="73"/>
                </a:cubicBezTo>
                <a:cubicBezTo>
                  <a:pt x="244" y="73"/>
                  <a:pt x="244" y="73"/>
                  <a:pt x="244" y="73"/>
                </a:cubicBezTo>
                <a:cubicBezTo>
                  <a:pt x="243" y="73"/>
                  <a:pt x="243" y="73"/>
                  <a:pt x="243" y="73"/>
                </a:cubicBezTo>
                <a:cubicBezTo>
                  <a:pt x="243" y="73"/>
                  <a:pt x="243" y="73"/>
                  <a:pt x="243" y="73"/>
                </a:cubicBezTo>
                <a:cubicBezTo>
                  <a:pt x="242" y="73"/>
                  <a:pt x="242" y="73"/>
                  <a:pt x="242" y="73"/>
                </a:cubicBezTo>
                <a:cubicBezTo>
                  <a:pt x="242" y="73"/>
                  <a:pt x="242" y="73"/>
                  <a:pt x="242" y="73"/>
                </a:cubicBezTo>
                <a:cubicBezTo>
                  <a:pt x="241" y="74"/>
                  <a:pt x="241" y="74"/>
                  <a:pt x="241" y="74"/>
                </a:cubicBezTo>
                <a:cubicBezTo>
                  <a:pt x="240" y="74"/>
                  <a:pt x="240" y="74"/>
                  <a:pt x="240" y="74"/>
                </a:cubicBezTo>
                <a:cubicBezTo>
                  <a:pt x="240" y="74"/>
                  <a:pt x="240" y="74"/>
                  <a:pt x="240" y="74"/>
                </a:cubicBezTo>
                <a:cubicBezTo>
                  <a:pt x="239" y="74"/>
                  <a:pt x="239" y="74"/>
                  <a:pt x="239" y="74"/>
                </a:cubicBezTo>
                <a:cubicBezTo>
                  <a:pt x="239" y="75"/>
                  <a:pt x="239" y="75"/>
                  <a:pt x="239" y="75"/>
                </a:cubicBezTo>
                <a:cubicBezTo>
                  <a:pt x="237" y="74"/>
                  <a:pt x="237" y="74"/>
                  <a:pt x="237" y="74"/>
                </a:cubicBezTo>
                <a:cubicBezTo>
                  <a:pt x="236" y="74"/>
                  <a:pt x="236" y="74"/>
                  <a:pt x="236" y="74"/>
                </a:cubicBezTo>
                <a:cubicBezTo>
                  <a:pt x="235" y="74"/>
                  <a:pt x="235" y="74"/>
                  <a:pt x="235" y="74"/>
                </a:cubicBezTo>
                <a:cubicBezTo>
                  <a:pt x="234" y="75"/>
                  <a:pt x="234" y="75"/>
                  <a:pt x="234" y="75"/>
                </a:cubicBezTo>
                <a:cubicBezTo>
                  <a:pt x="233" y="75"/>
                  <a:pt x="233" y="75"/>
                  <a:pt x="233" y="75"/>
                </a:cubicBezTo>
                <a:cubicBezTo>
                  <a:pt x="232" y="75"/>
                  <a:pt x="232" y="75"/>
                  <a:pt x="232" y="75"/>
                </a:cubicBezTo>
                <a:cubicBezTo>
                  <a:pt x="233" y="75"/>
                  <a:pt x="233" y="75"/>
                  <a:pt x="233" y="75"/>
                </a:cubicBezTo>
                <a:cubicBezTo>
                  <a:pt x="234" y="75"/>
                  <a:pt x="234" y="75"/>
                  <a:pt x="234" y="75"/>
                </a:cubicBezTo>
                <a:cubicBezTo>
                  <a:pt x="236" y="75"/>
                  <a:pt x="236" y="75"/>
                  <a:pt x="236" y="75"/>
                </a:cubicBezTo>
                <a:cubicBezTo>
                  <a:pt x="237" y="75"/>
                  <a:pt x="237" y="75"/>
                  <a:pt x="237" y="75"/>
                </a:cubicBezTo>
                <a:cubicBezTo>
                  <a:pt x="238" y="75"/>
                  <a:pt x="238" y="75"/>
                  <a:pt x="238" y="75"/>
                </a:cubicBezTo>
                <a:cubicBezTo>
                  <a:pt x="239" y="75"/>
                  <a:pt x="239" y="75"/>
                  <a:pt x="239" y="75"/>
                </a:cubicBezTo>
                <a:cubicBezTo>
                  <a:pt x="241" y="76"/>
                  <a:pt x="241" y="76"/>
                  <a:pt x="241" y="76"/>
                </a:cubicBezTo>
                <a:cubicBezTo>
                  <a:pt x="243" y="76"/>
                  <a:pt x="243" y="76"/>
                  <a:pt x="243" y="76"/>
                </a:cubicBezTo>
                <a:cubicBezTo>
                  <a:pt x="244" y="76"/>
                  <a:pt x="244" y="76"/>
                  <a:pt x="244" y="76"/>
                </a:cubicBezTo>
                <a:cubicBezTo>
                  <a:pt x="244" y="76"/>
                  <a:pt x="244" y="76"/>
                  <a:pt x="244" y="76"/>
                </a:cubicBezTo>
                <a:cubicBezTo>
                  <a:pt x="245" y="76"/>
                  <a:pt x="245" y="76"/>
                  <a:pt x="245" y="76"/>
                </a:cubicBezTo>
                <a:cubicBezTo>
                  <a:pt x="246" y="76"/>
                  <a:pt x="246" y="76"/>
                  <a:pt x="246" y="76"/>
                </a:cubicBezTo>
                <a:cubicBezTo>
                  <a:pt x="247" y="76"/>
                  <a:pt x="247" y="76"/>
                  <a:pt x="247" y="76"/>
                </a:cubicBezTo>
                <a:cubicBezTo>
                  <a:pt x="247" y="76"/>
                  <a:pt x="247" y="76"/>
                  <a:pt x="247" y="76"/>
                </a:cubicBezTo>
                <a:cubicBezTo>
                  <a:pt x="248" y="77"/>
                  <a:pt x="248" y="77"/>
                  <a:pt x="248" y="77"/>
                </a:cubicBezTo>
                <a:cubicBezTo>
                  <a:pt x="249" y="78"/>
                  <a:pt x="249" y="78"/>
                  <a:pt x="249" y="78"/>
                </a:cubicBezTo>
                <a:cubicBezTo>
                  <a:pt x="249" y="78"/>
                  <a:pt x="249" y="78"/>
                  <a:pt x="249" y="78"/>
                </a:cubicBezTo>
                <a:cubicBezTo>
                  <a:pt x="248" y="79"/>
                  <a:pt x="248" y="79"/>
                  <a:pt x="248" y="79"/>
                </a:cubicBezTo>
                <a:cubicBezTo>
                  <a:pt x="247" y="80"/>
                  <a:pt x="247" y="80"/>
                  <a:pt x="247" y="80"/>
                </a:cubicBezTo>
                <a:cubicBezTo>
                  <a:pt x="247" y="80"/>
                  <a:pt x="247" y="80"/>
                  <a:pt x="247" y="80"/>
                </a:cubicBezTo>
                <a:cubicBezTo>
                  <a:pt x="247" y="80"/>
                  <a:pt x="247" y="80"/>
                  <a:pt x="247" y="80"/>
                </a:cubicBezTo>
                <a:cubicBezTo>
                  <a:pt x="247" y="81"/>
                  <a:pt x="247" y="81"/>
                  <a:pt x="247" y="81"/>
                </a:cubicBezTo>
                <a:cubicBezTo>
                  <a:pt x="246" y="82"/>
                  <a:pt x="246" y="82"/>
                  <a:pt x="246" y="82"/>
                </a:cubicBezTo>
                <a:cubicBezTo>
                  <a:pt x="243" y="82"/>
                  <a:pt x="243" y="82"/>
                  <a:pt x="243" y="82"/>
                </a:cubicBezTo>
                <a:cubicBezTo>
                  <a:pt x="242" y="82"/>
                  <a:pt x="242" y="82"/>
                  <a:pt x="242" y="82"/>
                </a:cubicBezTo>
                <a:cubicBezTo>
                  <a:pt x="241" y="82"/>
                  <a:pt x="241" y="82"/>
                  <a:pt x="241" y="82"/>
                </a:cubicBezTo>
                <a:cubicBezTo>
                  <a:pt x="239" y="82"/>
                  <a:pt x="239" y="82"/>
                  <a:pt x="239" y="82"/>
                </a:cubicBezTo>
                <a:cubicBezTo>
                  <a:pt x="238" y="82"/>
                  <a:pt x="238" y="82"/>
                  <a:pt x="238" y="82"/>
                </a:cubicBezTo>
                <a:cubicBezTo>
                  <a:pt x="236" y="80"/>
                  <a:pt x="236" y="80"/>
                  <a:pt x="236" y="80"/>
                </a:cubicBezTo>
                <a:cubicBezTo>
                  <a:pt x="234" y="80"/>
                  <a:pt x="234" y="80"/>
                  <a:pt x="234" y="80"/>
                </a:cubicBezTo>
                <a:cubicBezTo>
                  <a:pt x="233" y="80"/>
                  <a:pt x="233" y="80"/>
                  <a:pt x="233" y="80"/>
                </a:cubicBezTo>
                <a:cubicBezTo>
                  <a:pt x="232" y="80"/>
                  <a:pt x="232" y="80"/>
                  <a:pt x="232" y="80"/>
                </a:cubicBezTo>
                <a:cubicBezTo>
                  <a:pt x="232" y="82"/>
                  <a:pt x="232" y="82"/>
                  <a:pt x="232" y="82"/>
                </a:cubicBezTo>
                <a:cubicBezTo>
                  <a:pt x="230" y="83"/>
                  <a:pt x="230" y="83"/>
                  <a:pt x="230" y="83"/>
                </a:cubicBezTo>
                <a:cubicBezTo>
                  <a:pt x="230" y="83"/>
                  <a:pt x="230" y="83"/>
                  <a:pt x="230" y="83"/>
                </a:cubicBezTo>
                <a:cubicBezTo>
                  <a:pt x="229" y="84"/>
                  <a:pt x="229" y="84"/>
                  <a:pt x="229" y="84"/>
                </a:cubicBezTo>
                <a:cubicBezTo>
                  <a:pt x="230" y="84"/>
                  <a:pt x="230" y="84"/>
                  <a:pt x="230" y="84"/>
                </a:cubicBezTo>
                <a:cubicBezTo>
                  <a:pt x="230" y="84"/>
                  <a:pt x="230" y="84"/>
                  <a:pt x="230" y="84"/>
                </a:cubicBezTo>
                <a:cubicBezTo>
                  <a:pt x="231" y="85"/>
                  <a:pt x="231" y="85"/>
                  <a:pt x="231" y="85"/>
                </a:cubicBezTo>
                <a:cubicBezTo>
                  <a:pt x="231" y="86"/>
                  <a:pt x="231" y="86"/>
                  <a:pt x="231" y="86"/>
                </a:cubicBezTo>
                <a:cubicBezTo>
                  <a:pt x="230" y="86"/>
                  <a:pt x="230" y="86"/>
                  <a:pt x="230" y="86"/>
                </a:cubicBezTo>
                <a:cubicBezTo>
                  <a:pt x="229" y="86"/>
                  <a:pt x="229" y="86"/>
                  <a:pt x="229" y="86"/>
                </a:cubicBezTo>
                <a:cubicBezTo>
                  <a:pt x="229" y="87"/>
                  <a:pt x="229" y="87"/>
                  <a:pt x="229" y="87"/>
                </a:cubicBezTo>
                <a:cubicBezTo>
                  <a:pt x="230" y="87"/>
                  <a:pt x="230" y="87"/>
                  <a:pt x="230" y="87"/>
                </a:cubicBezTo>
                <a:cubicBezTo>
                  <a:pt x="231" y="88"/>
                  <a:pt x="231" y="88"/>
                  <a:pt x="231" y="88"/>
                </a:cubicBezTo>
                <a:cubicBezTo>
                  <a:pt x="232" y="87"/>
                  <a:pt x="232" y="87"/>
                  <a:pt x="232" y="87"/>
                </a:cubicBezTo>
                <a:cubicBezTo>
                  <a:pt x="232" y="87"/>
                  <a:pt x="232" y="87"/>
                  <a:pt x="232" y="87"/>
                </a:cubicBezTo>
                <a:cubicBezTo>
                  <a:pt x="233" y="86"/>
                  <a:pt x="233" y="86"/>
                  <a:pt x="233" y="86"/>
                </a:cubicBezTo>
                <a:cubicBezTo>
                  <a:pt x="234" y="85"/>
                  <a:pt x="234" y="85"/>
                  <a:pt x="234" y="85"/>
                </a:cubicBezTo>
                <a:cubicBezTo>
                  <a:pt x="236" y="84"/>
                  <a:pt x="236" y="84"/>
                  <a:pt x="236" y="84"/>
                </a:cubicBezTo>
                <a:cubicBezTo>
                  <a:pt x="237" y="84"/>
                  <a:pt x="237" y="84"/>
                  <a:pt x="237" y="84"/>
                </a:cubicBezTo>
                <a:cubicBezTo>
                  <a:pt x="239" y="83"/>
                  <a:pt x="239" y="83"/>
                  <a:pt x="239" y="83"/>
                </a:cubicBezTo>
                <a:cubicBezTo>
                  <a:pt x="240" y="83"/>
                  <a:pt x="240" y="83"/>
                  <a:pt x="240" y="83"/>
                </a:cubicBezTo>
                <a:cubicBezTo>
                  <a:pt x="240" y="84"/>
                  <a:pt x="240" y="84"/>
                  <a:pt x="240" y="84"/>
                </a:cubicBezTo>
                <a:cubicBezTo>
                  <a:pt x="241" y="84"/>
                  <a:pt x="241" y="84"/>
                  <a:pt x="241" y="84"/>
                </a:cubicBezTo>
                <a:cubicBezTo>
                  <a:pt x="242" y="85"/>
                  <a:pt x="242" y="85"/>
                  <a:pt x="242" y="85"/>
                </a:cubicBezTo>
                <a:cubicBezTo>
                  <a:pt x="243" y="85"/>
                  <a:pt x="243" y="85"/>
                  <a:pt x="243" y="85"/>
                </a:cubicBezTo>
                <a:cubicBezTo>
                  <a:pt x="243" y="86"/>
                  <a:pt x="243" y="86"/>
                  <a:pt x="243" y="86"/>
                </a:cubicBezTo>
                <a:cubicBezTo>
                  <a:pt x="243" y="86"/>
                  <a:pt x="243" y="86"/>
                  <a:pt x="243" y="86"/>
                </a:cubicBezTo>
                <a:cubicBezTo>
                  <a:pt x="241" y="87"/>
                  <a:pt x="241" y="87"/>
                  <a:pt x="241" y="87"/>
                </a:cubicBezTo>
                <a:cubicBezTo>
                  <a:pt x="241" y="89"/>
                  <a:pt x="241" y="89"/>
                  <a:pt x="241" y="89"/>
                </a:cubicBezTo>
                <a:cubicBezTo>
                  <a:pt x="240" y="90"/>
                  <a:pt x="240" y="90"/>
                  <a:pt x="240" y="90"/>
                </a:cubicBezTo>
                <a:cubicBezTo>
                  <a:pt x="239" y="91"/>
                  <a:pt x="239" y="91"/>
                  <a:pt x="239" y="91"/>
                </a:cubicBezTo>
                <a:cubicBezTo>
                  <a:pt x="238" y="92"/>
                  <a:pt x="238" y="92"/>
                  <a:pt x="238" y="92"/>
                </a:cubicBezTo>
                <a:cubicBezTo>
                  <a:pt x="237" y="94"/>
                  <a:pt x="237" y="94"/>
                  <a:pt x="237" y="94"/>
                </a:cubicBezTo>
                <a:cubicBezTo>
                  <a:pt x="235" y="97"/>
                  <a:pt x="235" y="97"/>
                  <a:pt x="235" y="97"/>
                </a:cubicBezTo>
                <a:cubicBezTo>
                  <a:pt x="234" y="98"/>
                  <a:pt x="234" y="98"/>
                  <a:pt x="234" y="98"/>
                </a:cubicBezTo>
                <a:cubicBezTo>
                  <a:pt x="233" y="99"/>
                  <a:pt x="233" y="99"/>
                  <a:pt x="233" y="99"/>
                </a:cubicBezTo>
                <a:cubicBezTo>
                  <a:pt x="233" y="100"/>
                  <a:pt x="233" y="100"/>
                  <a:pt x="233" y="100"/>
                </a:cubicBezTo>
                <a:cubicBezTo>
                  <a:pt x="233" y="102"/>
                  <a:pt x="233" y="102"/>
                  <a:pt x="233" y="102"/>
                </a:cubicBezTo>
                <a:cubicBezTo>
                  <a:pt x="232" y="102"/>
                  <a:pt x="232" y="102"/>
                  <a:pt x="232" y="102"/>
                </a:cubicBezTo>
                <a:cubicBezTo>
                  <a:pt x="232" y="103"/>
                  <a:pt x="232" y="103"/>
                  <a:pt x="232" y="103"/>
                </a:cubicBezTo>
                <a:cubicBezTo>
                  <a:pt x="232" y="105"/>
                  <a:pt x="232" y="105"/>
                  <a:pt x="232" y="105"/>
                </a:cubicBezTo>
                <a:cubicBezTo>
                  <a:pt x="231" y="107"/>
                  <a:pt x="231" y="107"/>
                  <a:pt x="231" y="107"/>
                </a:cubicBezTo>
                <a:cubicBezTo>
                  <a:pt x="230" y="109"/>
                  <a:pt x="230" y="109"/>
                  <a:pt x="230" y="109"/>
                </a:cubicBezTo>
                <a:cubicBezTo>
                  <a:pt x="231" y="110"/>
                  <a:pt x="231" y="110"/>
                  <a:pt x="231" y="110"/>
                </a:cubicBezTo>
                <a:cubicBezTo>
                  <a:pt x="231" y="111"/>
                  <a:pt x="231" y="111"/>
                  <a:pt x="231" y="111"/>
                </a:cubicBezTo>
                <a:cubicBezTo>
                  <a:pt x="231" y="113"/>
                  <a:pt x="231" y="113"/>
                  <a:pt x="231" y="113"/>
                </a:cubicBezTo>
                <a:cubicBezTo>
                  <a:pt x="230" y="113"/>
                  <a:pt x="230" y="113"/>
                  <a:pt x="230" y="113"/>
                </a:cubicBezTo>
                <a:cubicBezTo>
                  <a:pt x="229" y="114"/>
                  <a:pt x="229" y="114"/>
                  <a:pt x="229" y="114"/>
                </a:cubicBezTo>
                <a:cubicBezTo>
                  <a:pt x="230" y="116"/>
                  <a:pt x="230" y="116"/>
                  <a:pt x="230" y="116"/>
                </a:cubicBezTo>
                <a:cubicBezTo>
                  <a:pt x="229" y="116"/>
                  <a:pt x="229" y="116"/>
                  <a:pt x="229" y="116"/>
                </a:cubicBezTo>
                <a:cubicBezTo>
                  <a:pt x="229" y="117"/>
                  <a:pt x="229" y="117"/>
                  <a:pt x="229" y="117"/>
                </a:cubicBezTo>
                <a:cubicBezTo>
                  <a:pt x="228" y="119"/>
                  <a:pt x="228" y="119"/>
                  <a:pt x="228" y="119"/>
                </a:cubicBezTo>
                <a:cubicBezTo>
                  <a:pt x="228" y="120"/>
                  <a:pt x="228" y="120"/>
                  <a:pt x="228" y="120"/>
                </a:cubicBezTo>
                <a:cubicBezTo>
                  <a:pt x="227" y="121"/>
                  <a:pt x="227" y="121"/>
                  <a:pt x="227" y="121"/>
                </a:cubicBezTo>
                <a:cubicBezTo>
                  <a:pt x="226" y="121"/>
                  <a:pt x="226" y="121"/>
                  <a:pt x="226" y="121"/>
                </a:cubicBezTo>
                <a:cubicBezTo>
                  <a:pt x="226" y="120"/>
                  <a:pt x="226" y="120"/>
                  <a:pt x="226" y="120"/>
                </a:cubicBezTo>
                <a:cubicBezTo>
                  <a:pt x="226" y="119"/>
                  <a:pt x="226" y="119"/>
                  <a:pt x="226" y="119"/>
                </a:cubicBezTo>
                <a:cubicBezTo>
                  <a:pt x="225" y="119"/>
                  <a:pt x="225" y="119"/>
                  <a:pt x="225" y="119"/>
                </a:cubicBezTo>
                <a:cubicBezTo>
                  <a:pt x="225" y="119"/>
                  <a:pt x="225" y="119"/>
                  <a:pt x="225" y="119"/>
                </a:cubicBezTo>
                <a:cubicBezTo>
                  <a:pt x="226" y="118"/>
                  <a:pt x="226" y="118"/>
                  <a:pt x="226" y="118"/>
                </a:cubicBezTo>
                <a:cubicBezTo>
                  <a:pt x="225" y="117"/>
                  <a:pt x="225" y="117"/>
                  <a:pt x="225" y="117"/>
                </a:cubicBezTo>
                <a:cubicBezTo>
                  <a:pt x="224" y="117"/>
                  <a:pt x="224" y="117"/>
                  <a:pt x="224" y="117"/>
                </a:cubicBezTo>
                <a:cubicBezTo>
                  <a:pt x="224" y="118"/>
                  <a:pt x="224" y="118"/>
                  <a:pt x="224" y="118"/>
                </a:cubicBezTo>
                <a:cubicBezTo>
                  <a:pt x="223" y="118"/>
                  <a:pt x="223" y="118"/>
                  <a:pt x="223" y="118"/>
                </a:cubicBezTo>
                <a:cubicBezTo>
                  <a:pt x="223" y="118"/>
                  <a:pt x="223" y="118"/>
                  <a:pt x="223" y="118"/>
                </a:cubicBezTo>
                <a:cubicBezTo>
                  <a:pt x="223" y="119"/>
                  <a:pt x="223" y="119"/>
                  <a:pt x="223" y="119"/>
                </a:cubicBezTo>
                <a:cubicBezTo>
                  <a:pt x="223" y="119"/>
                  <a:pt x="223" y="119"/>
                  <a:pt x="223" y="119"/>
                </a:cubicBezTo>
                <a:cubicBezTo>
                  <a:pt x="223" y="120"/>
                  <a:pt x="223" y="120"/>
                  <a:pt x="223" y="120"/>
                </a:cubicBezTo>
                <a:cubicBezTo>
                  <a:pt x="222" y="120"/>
                  <a:pt x="222" y="120"/>
                  <a:pt x="222" y="120"/>
                </a:cubicBezTo>
                <a:cubicBezTo>
                  <a:pt x="222" y="121"/>
                  <a:pt x="222" y="121"/>
                  <a:pt x="222" y="121"/>
                </a:cubicBezTo>
                <a:cubicBezTo>
                  <a:pt x="223" y="121"/>
                  <a:pt x="223" y="121"/>
                  <a:pt x="223" y="121"/>
                </a:cubicBezTo>
                <a:cubicBezTo>
                  <a:pt x="224" y="122"/>
                  <a:pt x="224" y="122"/>
                  <a:pt x="224" y="122"/>
                </a:cubicBezTo>
                <a:cubicBezTo>
                  <a:pt x="225" y="123"/>
                  <a:pt x="225" y="123"/>
                  <a:pt x="225" y="123"/>
                </a:cubicBezTo>
                <a:cubicBezTo>
                  <a:pt x="225" y="123"/>
                  <a:pt x="225" y="123"/>
                  <a:pt x="225" y="123"/>
                </a:cubicBezTo>
                <a:cubicBezTo>
                  <a:pt x="226" y="125"/>
                  <a:pt x="226" y="125"/>
                  <a:pt x="226" y="125"/>
                </a:cubicBezTo>
                <a:cubicBezTo>
                  <a:pt x="227" y="125"/>
                  <a:pt x="227" y="125"/>
                  <a:pt x="227" y="125"/>
                </a:cubicBezTo>
                <a:cubicBezTo>
                  <a:pt x="228" y="126"/>
                  <a:pt x="228" y="126"/>
                  <a:pt x="228" y="126"/>
                </a:cubicBezTo>
                <a:cubicBezTo>
                  <a:pt x="229" y="127"/>
                  <a:pt x="229" y="127"/>
                  <a:pt x="229" y="127"/>
                </a:cubicBezTo>
                <a:cubicBezTo>
                  <a:pt x="230" y="128"/>
                  <a:pt x="230" y="128"/>
                  <a:pt x="230" y="128"/>
                </a:cubicBezTo>
                <a:cubicBezTo>
                  <a:pt x="229" y="129"/>
                  <a:pt x="229" y="129"/>
                  <a:pt x="229" y="129"/>
                </a:cubicBezTo>
                <a:cubicBezTo>
                  <a:pt x="228" y="129"/>
                  <a:pt x="228" y="129"/>
                  <a:pt x="228" y="129"/>
                </a:cubicBezTo>
                <a:cubicBezTo>
                  <a:pt x="227" y="129"/>
                  <a:pt x="227" y="129"/>
                  <a:pt x="227" y="129"/>
                </a:cubicBezTo>
                <a:cubicBezTo>
                  <a:pt x="226" y="127"/>
                  <a:pt x="226" y="127"/>
                  <a:pt x="226" y="127"/>
                </a:cubicBezTo>
                <a:cubicBezTo>
                  <a:pt x="226" y="127"/>
                  <a:pt x="226" y="127"/>
                  <a:pt x="226" y="127"/>
                </a:cubicBezTo>
                <a:cubicBezTo>
                  <a:pt x="225" y="126"/>
                  <a:pt x="225" y="126"/>
                  <a:pt x="225" y="126"/>
                </a:cubicBezTo>
                <a:cubicBezTo>
                  <a:pt x="225" y="126"/>
                  <a:pt x="225" y="126"/>
                  <a:pt x="225" y="126"/>
                </a:cubicBezTo>
                <a:cubicBezTo>
                  <a:pt x="224" y="126"/>
                  <a:pt x="224" y="126"/>
                  <a:pt x="224" y="126"/>
                </a:cubicBezTo>
                <a:cubicBezTo>
                  <a:pt x="224" y="127"/>
                  <a:pt x="224" y="127"/>
                  <a:pt x="224" y="127"/>
                </a:cubicBezTo>
                <a:cubicBezTo>
                  <a:pt x="225" y="128"/>
                  <a:pt x="225" y="128"/>
                  <a:pt x="225" y="128"/>
                </a:cubicBezTo>
                <a:cubicBezTo>
                  <a:pt x="225" y="128"/>
                  <a:pt x="225" y="128"/>
                  <a:pt x="225" y="128"/>
                </a:cubicBezTo>
                <a:cubicBezTo>
                  <a:pt x="225" y="129"/>
                  <a:pt x="225" y="129"/>
                  <a:pt x="225" y="129"/>
                </a:cubicBezTo>
                <a:cubicBezTo>
                  <a:pt x="224" y="129"/>
                  <a:pt x="224" y="129"/>
                  <a:pt x="224" y="129"/>
                </a:cubicBezTo>
                <a:cubicBezTo>
                  <a:pt x="224" y="129"/>
                  <a:pt x="224" y="129"/>
                  <a:pt x="224" y="129"/>
                </a:cubicBezTo>
                <a:cubicBezTo>
                  <a:pt x="224" y="129"/>
                  <a:pt x="224" y="129"/>
                  <a:pt x="224" y="129"/>
                </a:cubicBezTo>
                <a:cubicBezTo>
                  <a:pt x="224" y="130"/>
                  <a:pt x="224" y="130"/>
                  <a:pt x="224" y="130"/>
                </a:cubicBezTo>
                <a:cubicBezTo>
                  <a:pt x="225" y="130"/>
                  <a:pt x="225" y="130"/>
                  <a:pt x="225" y="130"/>
                </a:cubicBezTo>
                <a:cubicBezTo>
                  <a:pt x="225" y="130"/>
                  <a:pt x="225" y="130"/>
                  <a:pt x="225" y="130"/>
                </a:cubicBezTo>
                <a:cubicBezTo>
                  <a:pt x="224" y="131"/>
                  <a:pt x="224" y="131"/>
                  <a:pt x="224" y="131"/>
                </a:cubicBezTo>
                <a:cubicBezTo>
                  <a:pt x="225" y="131"/>
                  <a:pt x="225" y="131"/>
                  <a:pt x="225" y="131"/>
                </a:cubicBezTo>
                <a:cubicBezTo>
                  <a:pt x="225" y="131"/>
                  <a:pt x="225" y="131"/>
                  <a:pt x="225" y="131"/>
                </a:cubicBezTo>
                <a:cubicBezTo>
                  <a:pt x="227" y="131"/>
                  <a:pt x="227" y="131"/>
                  <a:pt x="227" y="131"/>
                </a:cubicBezTo>
                <a:cubicBezTo>
                  <a:pt x="227" y="132"/>
                  <a:pt x="227" y="132"/>
                  <a:pt x="227" y="132"/>
                </a:cubicBezTo>
                <a:cubicBezTo>
                  <a:pt x="227" y="133"/>
                  <a:pt x="227" y="133"/>
                  <a:pt x="227" y="133"/>
                </a:cubicBezTo>
                <a:cubicBezTo>
                  <a:pt x="227" y="133"/>
                  <a:pt x="227" y="133"/>
                  <a:pt x="227" y="133"/>
                </a:cubicBezTo>
                <a:cubicBezTo>
                  <a:pt x="227" y="134"/>
                  <a:pt x="227" y="134"/>
                  <a:pt x="227" y="134"/>
                </a:cubicBezTo>
                <a:cubicBezTo>
                  <a:pt x="228" y="133"/>
                  <a:pt x="228" y="133"/>
                  <a:pt x="228" y="133"/>
                </a:cubicBezTo>
                <a:cubicBezTo>
                  <a:pt x="229" y="132"/>
                  <a:pt x="229" y="132"/>
                  <a:pt x="229" y="132"/>
                </a:cubicBezTo>
                <a:cubicBezTo>
                  <a:pt x="230" y="131"/>
                  <a:pt x="230" y="131"/>
                  <a:pt x="230" y="131"/>
                </a:cubicBezTo>
                <a:cubicBezTo>
                  <a:pt x="230" y="131"/>
                  <a:pt x="230" y="131"/>
                  <a:pt x="230" y="131"/>
                </a:cubicBezTo>
                <a:cubicBezTo>
                  <a:pt x="230" y="132"/>
                  <a:pt x="230" y="132"/>
                  <a:pt x="230" y="132"/>
                </a:cubicBezTo>
                <a:cubicBezTo>
                  <a:pt x="230" y="132"/>
                  <a:pt x="230" y="132"/>
                  <a:pt x="230" y="132"/>
                </a:cubicBezTo>
                <a:cubicBezTo>
                  <a:pt x="231" y="132"/>
                  <a:pt x="231" y="132"/>
                  <a:pt x="231" y="132"/>
                </a:cubicBezTo>
                <a:cubicBezTo>
                  <a:pt x="232" y="133"/>
                  <a:pt x="232" y="133"/>
                  <a:pt x="232" y="133"/>
                </a:cubicBezTo>
                <a:cubicBezTo>
                  <a:pt x="233" y="133"/>
                  <a:pt x="233" y="133"/>
                  <a:pt x="233" y="133"/>
                </a:cubicBezTo>
                <a:cubicBezTo>
                  <a:pt x="233" y="134"/>
                  <a:pt x="233" y="134"/>
                  <a:pt x="233" y="134"/>
                </a:cubicBezTo>
                <a:cubicBezTo>
                  <a:pt x="233" y="135"/>
                  <a:pt x="233" y="135"/>
                  <a:pt x="233" y="135"/>
                </a:cubicBezTo>
                <a:cubicBezTo>
                  <a:pt x="232" y="136"/>
                  <a:pt x="232" y="136"/>
                  <a:pt x="232" y="136"/>
                </a:cubicBezTo>
                <a:cubicBezTo>
                  <a:pt x="232" y="137"/>
                  <a:pt x="232" y="137"/>
                  <a:pt x="232" y="137"/>
                </a:cubicBezTo>
                <a:cubicBezTo>
                  <a:pt x="232" y="139"/>
                  <a:pt x="232" y="139"/>
                  <a:pt x="232" y="139"/>
                </a:cubicBezTo>
                <a:cubicBezTo>
                  <a:pt x="232" y="139"/>
                  <a:pt x="232" y="139"/>
                  <a:pt x="232" y="139"/>
                </a:cubicBezTo>
                <a:cubicBezTo>
                  <a:pt x="232" y="141"/>
                  <a:pt x="232" y="141"/>
                  <a:pt x="232" y="141"/>
                </a:cubicBezTo>
                <a:cubicBezTo>
                  <a:pt x="231" y="142"/>
                  <a:pt x="231" y="142"/>
                  <a:pt x="231" y="142"/>
                </a:cubicBezTo>
                <a:cubicBezTo>
                  <a:pt x="231" y="143"/>
                  <a:pt x="231" y="143"/>
                  <a:pt x="231" y="143"/>
                </a:cubicBezTo>
                <a:cubicBezTo>
                  <a:pt x="231" y="143"/>
                  <a:pt x="231" y="143"/>
                  <a:pt x="231" y="143"/>
                </a:cubicBezTo>
                <a:cubicBezTo>
                  <a:pt x="230" y="143"/>
                  <a:pt x="230" y="143"/>
                  <a:pt x="230" y="143"/>
                </a:cubicBezTo>
                <a:cubicBezTo>
                  <a:pt x="230" y="142"/>
                  <a:pt x="230" y="142"/>
                  <a:pt x="230" y="142"/>
                </a:cubicBezTo>
                <a:cubicBezTo>
                  <a:pt x="228" y="142"/>
                  <a:pt x="228" y="142"/>
                  <a:pt x="228" y="142"/>
                </a:cubicBezTo>
                <a:cubicBezTo>
                  <a:pt x="228" y="141"/>
                  <a:pt x="228" y="141"/>
                  <a:pt x="228" y="141"/>
                </a:cubicBezTo>
                <a:cubicBezTo>
                  <a:pt x="227" y="141"/>
                  <a:pt x="227" y="141"/>
                  <a:pt x="227" y="141"/>
                </a:cubicBezTo>
                <a:cubicBezTo>
                  <a:pt x="227" y="141"/>
                  <a:pt x="227" y="141"/>
                  <a:pt x="227" y="141"/>
                </a:cubicBezTo>
                <a:cubicBezTo>
                  <a:pt x="226" y="141"/>
                  <a:pt x="226" y="141"/>
                  <a:pt x="226" y="141"/>
                </a:cubicBezTo>
                <a:cubicBezTo>
                  <a:pt x="226" y="140"/>
                  <a:pt x="226" y="140"/>
                  <a:pt x="226" y="140"/>
                </a:cubicBezTo>
                <a:cubicBezTo>
                  <a:pt x="226" y="139"/>
                  <a:pt x="226" y="139"/>
                  <a:pt x="226" y="139"/>
                </a:cubicBezTo>
                <a:cubicBezTo>
                  <a:pt x="225" y="139"/>
                  <a:pt x="225" y="139"/>
                  <a:pt x="225" y="139"/>
                </a:cubicBezTo>
                <a:cubicBezTo>
                  <a:pt x="225" y="138"/>
                  <a:pt x="225" y="138"/>
                  <a:pt x="225" y="138"/>
                </a:cubicBezTo>
                <a:cubicBezTo>
                  <a:pt x="224" y="139"/>
                  <a:pt x="224" y="139"/>
                  <a:pt x="224" y="139"/>
                </a:cubicBezTo>
                <a:cubicBezTo>
                  <a:pt x="224" y="138"/>
                  <a:pt x="224" y="138"/>
                  <a:pt x="224" y="138"/>
                </a:cubicBezTo>
                <a:cubicBezTo>
                  <a:pt x="223" y="138"/>
                  <a:pt x="223" y="138"/>
                  <a:pt x="223" y="138"/>
                </a:cubicBezTo>
                <a:cubicBezTo>
                  <a:pt x="222" y="137"/>
                  <a:pt x="222" y="137"/>
                  <a:pt x="222" y="137"/>
                </a:cubicBezTo>
                <a:cubicBezTo>
                  <a:pt x="221" y="138"/>
                  <a:pt x="221" y="138"/>
                  <a:pt x="221" y="138"/>
                </a:cubicBezTo>
                <a:cubicBezTo>
                  <a:pt x="221" y="138"/>
                  <a:pt x="221" y="138"/>
                  <a:pt x="221" y="138"/>
                </a:cubicBezTo>
                <a:cubicBezTo>
                  <a:pt x="221" y="139"/>
                  <a:pt x="221" y="139"/>
                  <a:pt x="221" y="139"/>
                </a:cubicBezTo>
                <a:cubicBezTo>
                  <a:pt x="221" y="139"/>
                  <a:pt x="221" y="139"/>
                  <a:pt x="221" y="139"/>
                </a:cubicBezTo>
                <a:cubicBezTo>
                  <a:pt x="220" y="139"/>
                  <a:pt x="220" y="139"/>
                  <a:pt x="220" y="139"/>
                </a:cubicBezTo>
                <a:cubicBezTo>
                  <a:pt x="219" y="138"/>
                  <a:pt x="219" y="138"/>
                  <a:pt x="219" y="138"/>
                </a:cubicBezTo>
                <a:cubicBezTo>
                  <a:pt x="218" y="139"/>
                  <a:pt x="218" y="139"/>
                  <a:pt x="218" y="139"/>
                </a:cubicBezTo>
                <a:cubicBezTo>
                  <a:pt x="218" y="139"/>
                  <a:pt x="218" y="139"/>
                  <a:pt x="218" y="139"/>
                </a:cubicBezTo>
                <a:cubicBezTo>
                  <a:pt x="219" y="139"/>
                  <a:pt x="219" y="139"/>
                  <a:pt x="219" y="139"/>
                </a:cubicBezTo>
                <a:cubicBezTo>
                  <a:pt x="220" y="139"/>
                  <a:pt x="220" y="139"/>
                  <a:pt x="220" y="139"/>
                </a:cubicBezTo>
                <a:cubicBezTo>
                  <a:pt x="221" y="140"/>
                  <a:pt x="221" y="140"/>
                  <a:pt x="221" y="140"/>
                </a:cubicBezTo>
                <a:cubicBezTo>
                  <a:pt x="221" y="140"/>
                  <a:pt x="221" y="140"/>
                  <a:pt x="221" y="140"/>
                </a:cubicBezTo>
                <a:cubicBezTo>
                  <a:pt x="220" y="140"/>
                  <a:pt x="220" y="140"/>
                  <a:pt x="220" y="140"/>
                </a:cubicBezTo>
                <a:cubicBezTo>
                  <a:pt x="218" y="142"/>
                  <a:pt x="218" y="142"/>
                  <a:pt x="218" y="142"/>
                </a:cubicBezTo>
                <a:cubicBezTo>
                  <a:pt x="217" y="142"/>
                  <a:pt x="217" y="142"/>
                  <a:pt x="217" y="142"/>
                </a:cubicBezTo>
                <a:cubicBezTo>
                  <a:pt x="217" y="142"/>
                  <a:pt x="217" y="142"/>
                  <a:pt x="217" y="142"/>
                </a:cubicBezTo>
                <a:cubicBezTo>
                  <a:pt x="216" y="142"/>
                  <a:pt x="216" y="142"/>
                  <a:pt x="216" y="142"/>
                </a:cubicBezTo>
                <a:cubicBezTo>
                  <a:pt x="216" y="141"/>
                  <a:pt x="216" y="141"/>
                  <a:pt x="216" y="141"/>
                </a:cubicBezTo>
                <a:cubicBezTo>
                  <a:pt x="216" y="141"/>
                  <a:pt x="216" y="141"/>
                  <a:pt x="216" y="141"/>
                </a:cubicBezTo>
                <a:cubicBezTo>
                  <a:pt x="215" y="141"/>
                  <a:pt x="215" y="141"/>
                  <a:pt x="215" y="141"/>
                </a:cubicBezTo>
                <a:cubicBezTo>
                  <a:pt x="215" y="142"/>
                  <a:pt x="215" y="142"/>
                  <a:pt x="215" y="142"/>
                </a:cubicBezTo>
                <a:cubicBezTo>
                  <a:pt x="216" y="142"/>
                  <a:pt x="216" y="142"/>
                  <a:pt x="216" y="142"/>
                </a:cubicBezTo>
                <a:cubicBezTo>
                  <a:pt x="215" y="143"/>
                  <a:pt x="215" y="143"/>
                  <a:pt x="215" y="143"/>
                </a:cubicBezTo>
                <a:cubicBezTo>
                  <a:pt x="215" y="144"/>
                  <a:pt x="215" y="144"/>
                  <a:pt x="215" y="144"/>
                </a:cubicBezTo>
                <a:cubicBezTo>
                  <a:pt x="216" y="144"/>
                  <a:pt x="216" y="144"/>
                  <a:pt x="216" y="144"/>
                </a:cubicBezTo>
                <a:cubicBezTo>
                  <a:pt x="215" y="145"/>
                  <a:pt x="215" y="145"/>
                  <a:pt x="215" y="145"/>
                </a:cubicBezTo>
                <a:cubicBezTo>
                  <a:pt x="216" y="145"/>
                  <a:pt x="216" y="145"/>
                  <a:pt x="216" y="145"/>
                </a:cubicBezTo>
                <a:cubicBezTo>
                  <a:pt x="216" y="146"/>
                  <a:pt x="216" y="146"/>
                  <a:pt x="216" y="146"/>
                </a:cubicBezTo>
                <a:cubicBezTo>
                  <a:pt x="215" y="146"/>
                  <a:pt x="215" y="146"/>
                  <a:pt x="215" y="146"/>
                </a:cubicBezTo>
                <a:cubicBezTo>
                  <a:pt x="214" y="146"/>
                  <a:pt x="214" y="146"/>
                  <a:pt x="214" y="146"/>
                </a:cubicBezTo>
                <a:cubicBezTo>
                  <a:pt x="213" y="146"/>
                  <a:pt x="213" y="146"/>
                  <a:pt x="213" y="146"/>
                </a:cubicBezTo>
                <a:cubicBezTo>
                  <a:pt x="213" y="146"/>
                  <a:pt x="213" y="146"/>
                  <a:pt x="213" y="146"/>
                </a:cubicBezTo>
                <a:cubicBezTo>
                  <a:pt x="214" y="147"/>
                  <a:pt x="214" y="147"/>
                  <a:pt x="214" y="147"/>
                </a:cubicBezTo>
                <a:cubicBezTo>
                  <a:pt x="214" y="147"/>
                  <a:pt x="214" y="147"/>
                  <a:pt x="214" y="147"/>
                </a:cubicBezTo>
                <a:cubicBezTo>
                  <a:pt x="216" y="147"/>
                  <a:pt x="216" y="147"/>
                  <a:pt x="216" y="147"/>
                </a:cubicBezTo>
                <a:cubicBezTo>
                  <a:pt x="216" y="147"/>
                  <a:pt x="216" y="147"/>
                  <a:pt x="216" y="147"/>
                </a:cubicBezTo>
                <a:cubicBezTo>
                  <a:pt x="216" y="148"/>
                  <a:pt x="216" y="148"/>
                  <a:pt x="216" y="148"/>
                </a:cubicBezTo>
                <a:cubicBezTo>
                  <a:pt x="216" y="149"/>
                  <a:pt x="216" y="149"/>
                  <a:pt x="216" y="149"/>
                </a:cubicBezTo>
                <a:cubicBezTo>
                  <a:pt x="216" y="149"/>
                  <a:pt x="216" y="149"/>
                  <a:pt x="216" y="149"/>
                </a:cubicBezTo>
                <a:cubicBezTo>
                  <a:pt x="217" y="149"/>
                  <a:pt x="217" y="149"/>
                  <a:pt x="217" y="149"/>
                </a:cubicBezTo>
                <a:cubicBezTo>
                  <a:pt x="218" y="148"/>
                  <a:pt x="218" y="148"/>
                  <a:pt x="218" y="148"/>
                </a:cubicBezTo>
                <a:cubicBezTo>
                  <a:pt x="219" y="149"/>
                  <a:pt x="219" y="149"/>
                  <a:pt x="219" y="149"/>
                </a:cubicBezTo>
                <a:cubicBezTo>
                  <a:pt x="220" y="149"/>
                  <a:pt x="220" y="149"/>
                  <a:pt x="220" y="149"/>
                </a:cubicBezTo>
                <a:cubicBezTo>
                  <a:pt x="221" y="149"/>
                  <a:pt x="221" y="149"/>
                  <a:pt x="221" y="149"/>
                </a:cubicBezTo>
                <a:cubicBezTo>
                  <a:pt x="222" y="150"/>
                  <a:pt x="222" y="150"/>
                  <a:pt x="222" y="150"/>
                </a:cubicBezTo>
                <a:cubicBezTo>
                  <a:pt x="223" y="149"/>
                  <a:pt x="223" y="149"/>
                  <a:pt x="223" y="149"/>
                </a:cubicBezTo>
                <a:cubicBezTo>
                  <a:pt x="223" y="149"/>
                  <a:pt x="223" y="149"/>
                  <a:pt x="223" y="149"/>
                </a:cubicBezTo>
                <a:cubicBezTo>
                  <a:pt x="224" y="149"/>
                  <a:pt x="224" y="149"/>
                  <a:pt x="224" y="149"/>
                </a:cubicBezTo>
                <a:cubicBezTo>
                  <a:pt x="224" y="150"/>
                  <a:pt x="224" y="150"/>
                  <a:pt x="224" y="150"/>
                </a:cubicBezTo>
                <a:cubicBezTo>
                  <a:pt x="224" y="151"/>
                  <a:pt x="224" y="151"/>
                  <a:pt x="224" y="151"/>
                </a:cubicBezTo>
                <a:cubicBezTo>
                  <a:pt x="224" y="152"/>
                  <a:pt x="224" y="152"/>
                  <a:pt x="224" y="152"/>
                </a:cubicBezTo>
                <a:cubicBezTo>
                  <a:pt x="224" y="152"/>
                  <a:pt x="224" y="152"/>
                  <a:pt x="224" y="152"/>
                </a:cubicBezTo>
                <a:cubicBezTo>
                  <a:pt x="223" y="152"/>
                  <a:pt x="223" y="152"/>
                  <a:pt x="223" y="152"/>
                </a:cubicBezTo>
                <a:cubicBezTo>
                  <a:pt x="222" y="152"/>
                  <a:pt x="222" y="152"/>
                  <a:pt x="222" y="152"/>
                </a:cubicBezTo>
                <a:cubicBezTo>
                  <a:pt x="222" y="152"/>
                  <a:pt x="222" y="152"/>
                  <a:pt x="222" y="152"/>
                </a:cubicBezTo>
                <a:cubicBezTo>
                  <a:pt x="221" y="152"/>
                  <a:pt x="221" y="152"/>
                  <a:pt x="221" y="152"/>
                </a:cubicBezTo>
                <a:cubicBezTo>
                  <a:pt x="220" y="152"/>
                  <a:pt x="220" y="152"/>
                  <a:pt x="220" y="152"/>
                </a:cubicBezTo>
                <a:cubicBezTo>
                  <a:pt x="220" y="152"/>
                  <a:pt x="220" y="152"/>
                  <a:pt x="220" y="152"/>
                </a:cubicBezTo>
                <a:cubicBezTo>
                  <a:pt x="218" y="152"/>
                  <a:pt x="218" y="152"/>
                  <a:pt x="218" y="152"/>
                </a:cubicBezTo>
                <a:cubicBezTo>
                  <a:pt x="217" y="152"/>
                  <a:pt x="217" y="152"/>
                  <a:pt x="217" y="152"/>
                </a:cubicBezTo>
                <a:cubicBezTo>
                  <a:pt x="216" y="152"/>
                  <a:pt x="216" y="152"/>
                  <a:pt x="216" y="152"/>
                </a:cubicBezTo>
                <a:cubicBezTo>
                  <a:pt x="216" y="152"/>
                  <a:pt x="216" y="152"/>
                  <a:pt x="216" y="152"/>
                </a:cubicBezTo>
                <a:cubicBezTo>
                  <a:pt x="215" y="152"/>
                  <a:pt x="215" y="152"/>
                  <a:pt x="215" y="152"/>
                </a:cubicBezTo>
                <a:cubicBezTo>
                  <a:pt x="216" y="153"/>
                  <a:pt x="216" y="153"/>
                  <a:pt x="216" y="153"/>
                </a:cubicBezTo>
                <a:cubicBezTo>
                  <a:pt x="216" y="153"/>
                  <a:pt x="216" y="153"/>
                  <a:pt x="216" y="153"/>
                </a:cubicBezTo>
                <a:cubicBezTo>
                  <a:pt x="217" y="153"/>
                  <a:pt x="217" y="153"/>
                  <a:pt x="217" y="153"/>
                </a:cubicBezTo>
                <a:cubicBezTo>
                  <a:pt x="218" y="153"/>
                  <a:pt x="218" y="153"/>
                  <a:pt x="218" y="153"/>
                </a:cubicBezTo>
                <a:cubicBezTo>
                  <a:pt x="220" y="153"/>
                  <a:pt x="220" y="153"/>
                  <a:pt x="220" y="153"/>
                </a:cubicBezTo>
                <a:cubicBezTo>
                  <a:pt x="220" y="153"/>
                  <a:pt x="220" y="153"/>
                  <a:pt x="220" y="153"/>
                </a:cubicBezTo>
                <a:cubicBezTo>
                  <a:pt x="221" y="154"/>
                  <a:pt x="221" y="154"/>
                  <a:pt x="221" y="154"/>
                </a:cubicBezTo>
                <a:cubicBezTo>
                  <a:pt x="222" y="154"/>
                  <a:pt x="222" y="154"/>
                  <a:pt x="222" y="154"/>
                </a:cubicBezTo>
                <a:cubicBezTo>
                  <a:pt x="223" y="154"/>
                  <a:pt x="223" y="154"/>
                  <a:pt x="223" y="154"/>
                </a:cubicBezTo>
                <a:cubicBezTo>
                  <a:pt x="223" y="155"/>
                  <a:pt x="223" y="155"/>
                  <a:pt x="223" y="155"/>
                </a:cubicBezTo>
                <a:cubicBezTo>
                  <a:pt x="224" y="156"/>
                  <a:pt x="224" y="156"/>
                  <a:pt x="224" y="156"/>
                </a:cubicBezTo>
                <a:cubicBezTo>
                  <a:pt x="225" y="157"/>
                  <a:pt x="225" y="157"/>
                  <a:pt x="225" y="157"/>
                </a:cubicBezTo>
                <a:cubicBezTo>
                  <a:pt x="225" y="158"/>
                  <a:pt x="225" y="158"/>
                  <a:pt x="225" y="158"/>
                </a:cubicBezTo>
                <a:cubicBezTo>
                  <a:pt x="225" y="158"/>
                  <a:pt x="225" y="158"/>
                  <a:pt x="225" y="158"/>
                </a:cubicBezTo>
                <a:cubicBezTo>
                  <a:pt x="224" y="157"/>
                  <a:pt x="224" y="157"/>
                  <a:pt x="224" y="157"/>
                </a:cubicBezTo>
                <a:cubicBezTo>
                  <a:pt x="224" y="157"/>
                  <a:pt x="224" y="157"/>
                  <a:pt x="224" y="157"/>
                </a:cubicBezTo>
                <a:cubicBezTo>
                  <a:pt x="224" y="158"/>
                  <a:pt x="224" y="158"/>
                  <a:pt x="224" y="158"/>
                </a:cubicBezTo>
                <a:cubicBezTo>
                  <a:pt x="223" y="158"/>
                  <a:pt x="223" y="158"/>
                  <a:pt x="223" y="158"/>
                </a:cubicBezTo>
                <a:cubicBezTo>
                  <a:pt x="224" y="159"/>
                  <a:pt x="224" y="159"/>
                  <a:pt x="224" y="159"/>
                </a:cubicBezTo>
                <a:cubicBezTo>
                  <a:pt x="224" y="161"/>
                  <a:pt x="224" y="161"/>
                  <a:pt x="224" y="161"/>
                </a:cubicBezTo>
                <a:cubicBezTo>
                  <a:pt x="224" y="161"/>
                  <a:pt x="224" y="161"/>
                  <a:pt x="224" y="161"/>
                </a:cubicBezTo>
                <a:cubicBezTo>
                  <a:pt x="224" y="162"/>
                  <a:pt x="224" y="162"/>
                  <a:pt x="224" y="162"/>
                </a:cubicBezTo>
                <a:cubicBezTo>
                  <a:pt x="224" y="163"/>
                  <a:pt x="224" y="163"/>
                  <a:pt x="224" y="163"/>
                </a:cubicBezTo>
                <a:cubicBezTo>
                  <a:pt x="224" y="164"/>
                  <a:pt x="224" y="164"/>
                  <a:pt x="224" y="164"/>
                </a:cubicBezTo>
                <a:cubicBezTo>
                  <a:pt x="223" y="166"/>
                  <a:pt x="223" y="166"/>
                  <a:pt x="223" y="166"/>
                </a:cubicBezTo>
                <a:cubicBezTo>
                  <a:pt x="222" y="166"/>
                  <a:pt x="222" y="166"/>
                  <a:pt x="222" y="166"/>
                </a:cubicBezTo>
                <a:cubicBezTo>
                  <a:pt x="222" y="166"/>
                  <a:pt x="222" y="166"/>
                  <a:pt x="222" y="166"/>
                </a:cubicBezTo>
                <a:cubicBezTo>
                  <a:pt x="221" y="166"/>
                  <a:pt x="221" y="166"/>
                  <a:pt x="221" y="166"/>
                </a:cubicBezTo>
                <a:cubicBezTo>
                  <a:pt x="220" y="165"/>
                  <a:pt x="220" y="165"/>
                  <a:pt x="220" y="165"/>
                </a:cubicBezTo>
                <a:cubicBezTo>
                  <a:pt x="221" y="164"/>
                  <a:pt x="221" y="164"/>
                  <a:pt x="221" y="164"/>
                </a:cubicBezTo>
                <a:cubicBezTo>
                  <a:pt x="221" y="164"/>
                  <a:pt x="221" y="164"/>
                  <a:pt x="221" y="164"/>
                </a:cubicBezTo>
                <a:cubicBezTo>
                  <a:pt x="220" y="164"/>
                  <a:pt x="220" y="164"/>
                  <a:pt x="220" y="164"/>
                </a:cubicBezTo>
                <a:cubicBezTo>
                  <a:pt x="220" y="164"/>
                  <a:pt x="220" y="164"/>
                  <a:pt x="220" y="164"/>
                </a:cubicBezTo>
                <a:cubicBezTo>
                  <a:pt x="219" y="164"/>
                  <a:pt x="219" y="164"/>
                  <a:pt x="219" y="164"/>
                </a:cubicBezTo>
                <a:cubicBezTo>
                  <a:pt x="218" y="162"/>
                  <a:pt x="218" y="162"/>
                  <a:pt x="218" y="162"/>
                </a:cubicBezTo>
                <a:cubicBezTo>
                  <a:pt x="217" y="161"/>
                  <a:pt x="217" y="161"/>
                  <a:pt x="217" y="161"/>
                </a:cubicBezTo>
                <a:cubicBezTo>
                  <a:pt x="215" y="160"/>
                  <a:pt x="215" y="160"/>
                  <a:pt x="215" y="160"/>
                </a:cubicBezTo>
                <a:cubicBezTo>
                  <a:pt x="215" y="159"/>
                  <a:pt x="215" y="159"/>
                  <a:pt x="215" y="159"/>
                </a:cubicBezTo>
                <a:cubicBezTo>
                  <a:pt x="215" y="158"/>
                  <a:pt x="215" y="158"/>
                  <a:pt x="215" y="158"/>
                </a:cubicBezTo>
                <a:cubicBezTo>
                  <a:pt x="214" y="157"/>
                  <a:pt x="214" y="157"/>
                  <a:pt x="214" y="157"/>
                </a:cubicBezTo>
                <a:cubicBezTo>
                  <a:pt x="213" y="157"/>
                  <a:pt x="213" y="157"/>
                  <a:pt x="213" y="157"/>
                </a:cubicBezTo>
                <a:cubicBezTo>
                  <a:pt x="213" y="157"/>
                  <a:pt x="213" y="157"/>
                  <a:pt x="213" y="157"/>
                </a:cubicBezTo>
                <a:cubicBezTo>
                  <a:pt x="213" y="157"/>
                  <a:pt x="213" y="157"/>
                  <a:pt x="213" y="157"/>
                </a:cubicBezTo>
                <a:cubicBezTo>
                  <a:pt x="213" y="157"/>
                  <a:pt x="213" y="157"/>
                  <a:pt x="213" y="157"/>
                </a:cubicBezTo>
                <a:cubicBezTo>
                  <a:pt x="214" y="159"/>
                  <a:pt x="214" y="159"/>
                  <a:pt x="214" y="159"/>
                </a:cubicBezTo>
                <a:cubicBezTo>
                  <a:pt x="214" y="159"/>
                  <a:pt x="214" y="159"/>
                  <a:pt x="214" y="159"/>
                </a:cubicBezTo>
                <a:cubicBezTo>
                  <a:pt x="214" y="160"/>
                  <a:pt x="214" y="160"/>
                  <a:pt x="214" y="160"/>
                </a:cubicBezTo>
                <a:cubicBezTo>
                  <a:pt x="212" y="160"/>
                  <a:pt x="212" y="160"/>
                  <a:pt x="212" y="160"/>
                </a:cubicBezTo>
                <a:cubicBezTo>
                  <a:pt x="212" y="159"/>
                  <a:pt x="212" y="159"/>
                  <a:pt x="212" y="159"/>
                </a:cubicBezTo>
                <a:cubicBezTo>
                  <a:pt x="211" y="158"/>
                  <a:pt x="211" y="158"/>
                  <a:pt x="211" y="158"/>
                </a:cubicBezTo>
                <a:cubicBezTo>
                  <a:pt x="210" y="157"/>
                  <a:pt x="210" y="157"/>
                  <a:pt x="210" y="157"/>
                </a:cubicBezTo>
                <a:cubicBezTo>
                  <a:pt x="210" y="158"/>
                  <a:pt x="210" y="158"/>
                  <a:pt x="210" y="158"/>
                </a:cubicBezTo>
                <a:cubicBezTo>
                  <a:pt x="210" y="159"/>
                  <a:pt x="210" y="159"/>
                  <a:pt x="210" y="159"/>
                </a:cubicBezTo>
                <a:cubicBezTo>
                  <a:pt x="211" y="160"/>
                  <a:pt x="211" y="160"/>
                  <a:pt x="211" y="160"/>
                </a:cubicBezTo>
                <a:cubicBezTo>
                  <a:pt x="213" y="161"/>
                  <a:pt x="213" y="161"/>
                  <a:pt x="213" y="161"/>
                </a:cubicBezTo>
                <a:cubicBezTo>
                  <a:pt x="215" y="161"/>
                  <a:pt x="215" y="161"/>
                  <a:pt x="215" y="161"/>
                </a:cubicBezTo>
                <a:cubicBezTo>
                  <a:pt x="217" y="162"/>
                  <a:pt x="217" y="162"/>
                  <a:pt x="217" y="162"/>
                </a:cubicBezTo>
                <a:cubicBezTo>
                  <a:pt x="219" y="164"/>
                  <a:pt x="219" y="164"/>
                  <a:pt x="219" y="164"/>
                </a:cubicBezTo>
                <a:cubicBezTo>
                  <a:pt x="219" y="165"/>
                  <a:pt x="219" y="165"/>
                  <a:pt x="219" y="165"/>
                </a:cubicBezTo>
                <a:cubicBezTo>
                  <a:pt x="219" y="166"/>
                  <a:pt x="219" y="166"/>
                  <a:pt x="219" y="166"/>
                </a:cubicBezTo>
                <a:cubicBezTo>
                  <a:pt x="218" y="165"/>
                  <a:pt x="218" y="165"/>
                  <a:pt x="218" y="165"/>
                </a:cubicBezTo>
                <a:cubicBezTo>
                  <a:pt x="217" y="165"/>
                  <a:pt x="217" y="165"/>
                  <a:pt x="217" y="165"/>
                </a:cubicBezTo>
                <a:cubicBezTo>
                  <a:pt x="216" y="165"/>
                  <a:pt x="216" y="165"/>
                  <a:pt x="216" y="165"/>
                </a:cubicBezTo>
                <a:cubicBezTo>
                  <a:pt x="216" y="165"/>
                  <a:pt x="216" y="165"/>
                  <a:pt x="216" y="165"/>
                </a:cubicBezTo>
                <a:cubicBezTo>
                  <a:pt x="214" y="167"/>
                  <a:pt x="214" y="167"/>
                  <a:pt x="214" y="167"/>
                </a:cubicBezTo>
                <a:cubicBezTo>
                  <a:pt x="214" y="167"/>
                  <a:pt x="214" y="167"/>
                  <a:pt x="214" y="167"/>
                </a:cubicBezTo>
                <a:cubicBezTo>
                  <a:pt x="213" y="166"/>
                  <a:pt x="213" y="166"/>
                  <a:pt x="213" y="166"/>
                </a:cubicBezTo>
                <a:cubicBezTo>
                  <a:pt x="212" y="165"/>
                  <a:pt x="212" y="165"/>
                  <a:pt x="212" y="165"/>
                </a:cubicBezTo>
                <a:cubicBezTo>
                  <a:pt x="213" y="165"/>
                  <a:pt x="213" y="165"/>
                  <a:pt x="213" y="165"/>
                </a:cubicBezTo>
                <a:cubicBezTo>
                  <a:pt x="212" y="164"/>
                  <a:pt x="212" y="164"/>
                  <a:pt x="212" y="164"/>
                </a:cubicBezTo>
                <a:cubicBezTo>
                  <a:pt x="212" y="164"/>
                  <a:pt x="212" y="164"/>
                  <a:pt x="212" y="164"/>
                </a:cubicBezTo>
                <a:cubicBezTo>
                  <a:pt x="212" y="165"/>
                  <a:pt x="212" y="165"/>
                  <a:pt x="212" y="165"/>
                </a:cubicBezTo>
                <a:cubicBezTo>
                  <a:pt x="212" y="165"/>
                  <a:pt x="212" y="165"/>
                  <a:pt x="212" y="165"/>
                </a:cubicBezTo>
                <a:cubicBezTo>
                  <a:pt x="212" y="166"/>
                  <a:pt x="212" y="166"/>
                  <a:pt x="212" y="166"/>
                </a:cubicBezTo>
                <a:cubicBezTo>
                  <a:pt x="213" y="167"/>
                  <a:pt x="213" y="167"/>
                  <a:pt x="213" y="167"/>
                </a:cubicBezTo>
                <a:cubicBezTo>
                  <a:pt x="214" y="167"/>
                  <a:pt x="214" y="167"/>
                  <a:pt x="214" y="167"/>
                </a:cubicBezTo>
                <a:cubicBezTo>
                  <a:pt x="215" y="167"/>
                  <a:pt x="215" y="167"/>
                  <a:pt x="215" y="167"/>
                </a:cubicBezTo>
                <a:cubicBezTo>
                  <a:pt x="216" y="166"/>
                  <a:pt x="216" y="166"/>
                  <a:pt x="216" y="166"/>
                </a:cubicBezTo>
                <a:cubicBezTo>
                  <a:pt x="217" y="166"/>
                  <a:pt x="217" y="166"/>
                  <a:pt x="217" y="166"/>
                </a:cubicBezTo>
                <a:cubicBezTo>
                  <a:pt x="218" y="167"/>
                  <a:pt x="218" y="167"/>
                  <a:pt x="218" y="167"/>
                </a:cubicBezTo>
                <a:cubicBezTo>
                  <a:pt x="218" y="167"/>
                  <a:pt x="218" y="167"/>
                  <a:pt x="218" y="167"/>
                </a:cubicBezTo>
                <a:cubicBezTo>
                  <a:pt x="218" y="168"/>
                  <a:pt x="218" y="168"/>
                  <a:pt x="218" y="168"/>
                </a:cubicBezTo>
                <a:cubicBezTo>
                  <a:pt x="217" y="170"/>
                  <a:pt x="217" y="170"/>
                  <a:pt x="217" y="170"/>
                </a:cubicBezTo>
                <a:cubicBezTo>
                  <a:pt x="217" y="171"/>
                  <a:pt x="217" y="171"/>
                  <a:pt x="217" y="171"/>
                </a:cubicBezTo>
                <a:cubicBezTo>
                  <a:pt x="216" y="171"/>
                  <a:pt x="216" y="171"/>
                  <a:pt x="216" y="171"/>
                </a:cubicBezTo>
                <a:cubicBezTo>
                  <a:pt x="216" y="171"/>
                  <a:pt x="216" y="171"/>
                  <a:pt x="216" y="171"/>
                </a:cubicBezTo>
                <a:cubicBezTo>
                  <a:pt x="217" y="172"/>
                  <a:pt x="217" y="172"/>
                  <a:pt x="217" y="172"/>
                </a:cubicBezTo>
                <a:cubicBezTo>
                  <a:pt x="218" y="171"/>
                  <a:pt x="218" y="171"/>
                  <a:pt x="218" y="171"/>
                </a:cubicBezTo>
                <a:cubicBezTo>
                  <a:pt x="219" y="171"/>
                  <a:pt x="219" y="171"/>
                  <a:pt x="219" y="171"/>
                </a:cubicBezTo>
                <a:cubicBezTo>
                  <a:pt x="220" y="173"/>
                  <a:pt x="220" y="173"/>
                  <a:pt x="220" y="173"/>
                </a:cubicBezTo>
                <a:cubicBezTo>
                  <a:pt x="221" y="173"/>
                  <a:pt x="221" y="173"/>
                  <a:pt x="221" y="173"/>
                </a:cubicBezTo>
                <a:cubicBezTo>
                  <a:pt x="222" y="173"/>
                  <a:pt x="222" y="173"/>
                  <a:pt x="222" y="173"/>
                </a:cubicBezTo>
                <a:cubicBezTo>
                  <a:pt x="223" y="172"/>
                  <a:pt x="223" y="172"/>
                  <a:pt x="223" y="172"/>
                </a:cubicBezTo>
                <a:cubicBezTo>
                  <a:pt x="224" y="173"/>
                  <a:pt x="224" y="173"/>
                  <a:pt x="224" y="173"/>
                </a:cubicBezTo>
                <a:cubicBezTo>
                  <a:pt x="224" y="173"/>
                  <a:pt x="224" y="173"/>
                  <a:pt x="224" y="173"/>
                </a:cubicBezTo>
                <a:cubicBezTo>
                  <a:pt x="223" y="174"/>
                  <a:pt x="223" y="174"/>
                  <a:pt x="223" y="174"/>
                </a:cubicBezTo>
                <a:cubicBezTo>
                  <a:pt x="223" y="175"/>
                  <a:pt x="223" y="175"/>
                  <a:pt x="223" y="175"/>
                </a:cubicBezTo>
                <a:cubicBezTo>
                  <a:pt x="224" y="175"/>
                  <a:pt x="224" y="175"/>
                  <a:pt x="224" y="175"/>
                </a:cubicBezTo>
                <a:cubicBezTo>
                  <a:pt x="224" y="176"/>
                  <a:pt x="224" y="176"/>
                  <a:pt x="224" y="176"/>
                </a:cubicBezTo>
                <a:cubicBezTo>
                  <a:pt x="222" y="178"/>
                  <a:pt x="222" y="178"/>
                  <a:pt x="222" y="178"/>
                </a:cubicBezTo>
                <a:cubicBezTo>
                  <a:pt x="221" y="179"/>
                  <a:pt x="221" y="179"/>
                  <a:pt x="221" y="179"/>
                </a:cubicBezTo>
                <a:cubicBezTo>
                  <a:pt x="220" y="179"/>
                  <a:pt x="220" y="179"/>
                  <a:pt x="220" y="179"/>
                </a:cubicBezTo>
                <a:cubicBezTo>
                  <a:pt x="220" y="178"/>
                  <a:pt x="220" y="178"/>
                  <a:pt x="220" y="178"/>
                </a:cubicBezTo>
                <a:cubicBezTo>
                  <a:pt x="220" y="177"/>
                  <a:pt x="220" y="177"/>
                  <a:pt x="220" y="177"/>
                </a:cubicBezTo>
                <a:cubicBezTo>
                  <a:pt x="219" y="177"/>
                  <a:pt x="219" y="177"/>
                  <a:pt x="219" y="177"/>
                </a:cubicBezTo>
                <a:cubicBezTo>
                  <a:pt x="219" y="176"/>
                  <a:pt x="219" y="176"/>
                  <a:pt x="219" y="176"/>
                </a:cubicBezTo>
                <a:cubicBezTo>
                  <a:pt x="218" y="175"/>
                  <a:pt x="218" y="175"/>
                  <a:pt x="218" y="175"/>
                </a:cubicBezTo>
                <a:cubicBezTo>
                  <a:pt x="217" y="174"/>
                  <a:pt x="217" y="174"/>
                  <a:pt x="217" y="174"/>
                </a:cubicBezTo>
                <a:cubicBezTo>
                  <a:pt x="216" y="174"/>
                  <a:pt x="216" y="174"/>
                  <a:pt x="216" y="174"/>
                </a:cubicBezTo>
                <a:cubicBezTo>
                  <a:pt x="215" y="174"/>
                  <a:pt x="215" y="174"/>
                  <a:pt x="215" y="174"/>
                </a:cubicBezTo>
                <a:cubicBezTo>
                  <a:pt x="214" y="174"/>
                  <a:pt x="214" y="174"/>
                  <a:pt x="214" y="174"/>
                </a:cubicBezTo>
                <a:cubicBezTo>
                  <a:pt x="213" y="174"/>
                  <a:pt x="213" y="174"/>
                  <a:pt x="213" y="174"/>
                </a:cubicBezTo>
                <a:cubicBezTo>
                  <a:pt x="213" y="174"/>
                  <a:pt x="213" y="174"/>
                  <a:pt x="213" y="174"/>
                </a:cubicBezTo>
                <a:cubicBezTo>
                  <a:pt x="212" y="173"/>
                  <a:pt x="212" y="173"/>
                  <a:pt x="212" y="173"/>
                </a:cubicBezTo>
                <a:cubicBezTo>
                  <a:pt x="212" y="172"/>
                  <a:pt x="212" y="172"/>
                  <a:pt x="212" y="172"/>
                </a:cubicBezTo>
                <a:cubicBezTo>
                  <a:pt x="211" y="172"/>
                  <a:pt x="211" y="172"/>
                  <a:pt x="211" y="172"/>
                </a:cubicBezTo>
                <a:cubicBezTo>
                  <a:pt x="211" y="173"/>
                  <a:pt x="211" y="173"/>
                  <a:pt x="211" y="173"/>
                </a:cubicBezTo>
                <a:cubicBezTo>
                  <a:pt x="212" y="173"/>
                  <a:pt x="212" y="173"/>
                  <a:pt x="212" y="173"/>
                </a:cubicBezTo>
                <a:cubicBezTo>
                  <a:pt x="212" y="175"/>
                  <a:pt x="212" y="175"/>
                  <a:pt x="212" y="175"/>
                </a:cubicBezTo>
                <a:cubicBezTo>
                  <a:pt x="211" y="176"/>
                  <a:pt x="211" y="176"/>
                  <a:pt x="211" y="176"/>
                </a:cubicBezTo>
                <a:cubicBezTo>
                  <a:pt x="211" y="176"/>
                  <a:pt x="211" y="176"/>
                  <a:pt x="211" y="176"/>
                </a:cubicBezTo>
                <a:cubicBezTo>
                  <a:pt x="210" y="176"/>
                  <a:pt x="210" y="176"/>
                  <a:pt x="210" y="176"/>
                </a:cubicBezTo>
                <a:cubicBezTo>
                  <a:pt x="209" y="176"/>
                  <a:pt x="209" y="176"/>
                  <a:pt x="209" y="176"/>
                </a:cubicBezTo>
                <a:cubicBezTo>
                  <a:pt x="210" y="177"/>
                  <a:pt x="210" y="177"/>
                  <a:pt x="210" y="177"/>
                </a:cubicBezTo>
                <a:cubicBezTo>
                  <a:pt x="210" y="177"/>
                  <a:pt x="210" y="177"/>
                  <a:pt x="210" y="177"/>
                </a:cubicBezTo>
                <a:cubicBezTo>
                  <a:pt x="210" y="178"/>
                  <a:pt x="210" y="178"/>
                  <a:pt x="210" y="178"/>
                </a:cubicBezTo>
                <a:cubicBezTo>
                  <a:pt x="209" y="179"/>
                  <a:pt x="209" y="179"/>
                  <a:pt x="209" y="179"/>
                </a:cubicBezTo>
                <a:cubicBezTo>
                  <a:pt x="209" y="179"/>
                  <a:pt x="209" y="179"/>
                  <a:pt x="209" y="179"/>
                </a:cubicBezTo>
                <a:cubicBezTo>
                  <a:pt x="209" y="180"/>
                  <a:pt x="209" y="180"/>
                  <a:pt x="209" y="180"/>
                </a:cubicBezTo>
                <a:cubicBezTo>
                  <a:pt x="209" y="180"/>
                  <a:pt x="209" y="180"/>
                  <a:pt x="209" y="180"/>
                </a:cubicBezTo>
                <a:cubicBezTo>
                  <a:pt x="210" y="181"/>
                  <a:pt x="210" y="181"/>
                  <a:pt x="210" y="181"/>
                </a:cubicBezTo>
                <a:cubicBezTo>
                  <a:pt x="210" y="182"/>
                  <a:pt x="210" y="182"/>
                  <a:pt x="210" y="182"/>
                </a:cubicBezTo>
                <a:cubicBezTo>
                  <a:pt x="211" y="182"/>
                  <a:pt x="211" y="182"/>
                  <a:pt x="211" y="182"/>
                </a:cubicBezTo>
                <a:cubicBezTo>
                  <a:pt x="211" y="184"/>
                  <a:pt x="211" y="184"/>
                  <a:pt x="211" y="184"/>
                </a:cubicBezTo>
                <a:cubicBezTo>
                  <a:pt x="211" y="185"/>
                  <a:pt x="211" y="185"/>
                  <a:pt x="211" y="185"/>
                </a:cubicBezTo>
                <a:cubicBezTo>
                  <a:pt x="211" y="185"/>
                  <a:pt x="211" y="185"/>
                  <a:pt x="211" y="185"/>
                </a:cubicBezTo>
                <a:cubicBezTo>
                  <a:pt x="211" y="184"/>
                  <a:pt x="211" y="184"/>
                  <a:pt x="211" y="184"/>
                </a:cubicBezTo>
                <a:cubicBezTo>
                  <a:pt x="212" y="184"/>
                  <a:pt x="212" y="184"/>
                  <a:pt x="212" y="184"/>
                </a:cubicBezTo>
                <a:cubicBezTo>
                  <a:pt x="212" y="183"/>
                  <a:pt x="212" y="183"/>
                  <a:pt x="212" y="183"/>
                </a:cubicBezTo>
                <a:cubicBezTo>
                  <a:pt x="211" y="182"/>
                  <a:pt x="211" y="182"/>
                  <a:pt x="211" y="182"/>
                </a:cubicBezTo>
                <a:cubicBezTo>
                  <a:pt x="211" y="181"/>
                  <a:pt x="211" y="181"/>
                  <a:pt x="211" y="181"/>
                </a:cubicBezTo>
                <a:cubicBezTo>
                  <a:pt x="212" y="180"/>
                  <a:pt x="212" y="180"/>
                  <a:pt x="212" y="180"/>
                </a:cubicBezTo>
                <a:cubicBezTo>
                  <a:pt x="212" y="180"/>
                  <a:pt x="212" y="180"/>
                  <a:pt x="212" y="180"/>
                </a:cubicBezTo>
                <a:cubicBezTo>
                  <a:pt x="212" y="181"/>
                  <a:pt x="212" y="181"/>
                  <a:pt x="212" y="181"/>
                </a:cubicBezTo>
                <a:cubicBezTo>
                  <a:pt x="213" y="182"/>
                  <a:pt x="213" y="182"/>
                  <a:pt x="213" y="182"/>
                </a:cubicBezTo>
                <a:cubicBezTo>
                  <a:pt x="213" y="183"/>
                  <a:pt x="213" y="183"/>
                  <a:pt x="213" y="183"/>
                </a:cubicBezTo>
                <a:cubicBezTo>
                  <a:pt x="214" y="183"/>
                  <a:pt x="214" y="183"/>
                  <a:pt x="214" y="183"/>
                </a:cubicBezTo>
                <a:cubicBezTo>
                  <a:pt x="215" y="183"/>
                  <a:pt x="215" y="183"/>
                  <a:pt x="215" y="183"/>
                </a:cubicBezTo>
                <a:cubicBezTo>
                  <a:pt x="215" y="183"/>
                  <a:pt x="215" y="183"/>
                  <a:pt x="215" y="183"/>
                </a:cubicBezTo>
                <a:cubicBezTo>
                  <a:pt x="215" y="183"/>
                  <a:pt x="215" y="183"/>
                  <a:pt x="215" y="183"/>
                </a:cubicBezTo>
                <a:cubicBezTo>
                  <a:pt x="216" y="183"/>
                  <a:pt x="216" y="183"/>
                  <a:pt x="216" y="183"/>
                </a:cubicBezTo>
                <a:cubicBezTo>
                  <a:pt x="217" y="182"/>
                  <a:pt x="217" y="182"/>
                  <a:pt x="217" y="182"/>
                </a:cubicBezTo>
                <a:cubicBezTo>
                  <a:pt x="218" y="183"/>
                  <a:pt x="218" y="183"/>
                  <a:pt x="218" y="183"/>
                </a:cubicBezTo>
                <a:cubicBezTo>
                  <a:pt x="218" y="183"/>
                  <a:pt x="218" y="183"/>
                  <a:pt x="218" y="183"/>
                </a:cubicBezTo>
                <a:cubicBezTo>
                  <a:pt x="218" y="184"/>
                  <a:pt x="218" y="184"/>
                  <a:pt x="218" y="184"/>
                </a:cubicBezTo>
                <a:cubicBezTo>
                  <a:pt x="217" y="185"/>
                  <a:pt x="217" y="185"/>
                  <a:pt x="217" y="185"/>
                </a:cubicBezTo>
                <a:cubicBezTo>
                  <a:pt x="217" y="186"/>
                  <a:pt x="217" y="186"/>
                  <a:pt x="217" y="186"/>
                </a:cubicBezTo>
                <a:cubicBezTo>
                  <a:pt x="217" y="187"/>
                  <a:pt x="217" y="187"/>
                  <a:pt x="217" y="187"/>
                </a:cubicBezTo>
                <a:cubicBezTo>
                  <a:pt x="217" y="189"/>
                  <a:pt x="217" y="189"/>
                  <a:pt x="217" y="189"/>
                </a:cubicBezTo>
                <a:cubicBezTo>
                  <a:pt x="216" y="189"/>
                  <a:pt x="216" y="189"/>
                  <a:pt x="216" y="189"/>
                </a:cubicBezTo>
                <a:cubicBezTo>
                  <a:pt x="215" y="189"/>
                  <a:pt x="215" y="189"/>
                  <a:pt x="215" y="189"/>
                </a:cubicBezTo>
                <a:cubicBezTo>
                  <a:pt x="214" y="190"/>
                  <a:pt x="214" y="190"/>
                  <a:pt x="214" y="190"/>
                </a:cubicBezTo>
                <a:cubicBezTo>
                  <a:pt x="213" y="189"/>
                  <a:pt x="213" y="189"/>
                  <a:pt x="213" y="189"/>
                </a:cubicBezTo>
                <a:cubicBezTo>
                  <a:pt x="212" y="189"/>
                  <a:pt x="212" y="189"/>
                  <a:pt x="212" y="189"/>
                </a:cubicBezTo>
                <a:cubicBezTo>
                  <a:pt x="212" y="189"/>
                  <a:pt x="212" y="189"/>
                  <a:pt x="212" y="189"/>
                </a:cubicBezTo>
                <a:cubicBezTo>
                  <a:pt x="211" y="190"/>
                  <a:pt x="211" y="190"/>
                  <a:pt x="211" y="190"/>
                </a:cubicBezTo>
                <a:cubicBezTo>
                  <a:pt x="211" y="190"/>
                  <a:pt x="211" y="190"/>
                  <a:pt x="211" y="190"/>
                </a:cubicBezTo>
                <a:cubicBezTo>
                  <a:pt x="210" y="191"/>
                  <a:pt x="210" y="191"/>
                  <a:pt x="210" y="191"/>
                </a:cubicBezTo>
                <a:cubicBezTo>
                  <a:pt x="209" y="191"/>
                  <a:pt x="209" y="191"/>
                  <a:pt x="209" y="191"/>
                </a:cubicBezTo>
                <a:cubicBezTo>
                  <a:pt x="209" y="191"/>
                  <a:pt x="209" y="191"/>
                  <a:pt x="209" y="191"/>
                </a:cubicBezTo>
                <a:cubicBezTo>
                  <a:pt x="208" y="192"/>
                  <a:pt x="208" y="192"/>
                  <a:pt x="208" y="192"/>
                </a:cubicBezTo>
                <a:cubicBezTo>
                  <a:pt x="208" y="192"/>
                  <a:pt x="208" y="192"/>
                  <a:pt x="208" y="192"/>
                </a:cubicBezTo>
                <a:cubicBezTo>
                  <a:pt x="208" y="192"/>
                  <a:pt x="208" y="192"/>
                  <a:pt x="208" y="192"/>
                </a:cubicBezTo>
                <a:cubicBezTo>
                  <a:pt x="207" y="192"/>
                  <a:pt x="207" y="192"/>
                  <a:pt x="207" y="192"/>
                </a:cubicBezTo>
                <a:cubicBezTo>
                  <a:pt x="206" y="191"/>
                  <a:pt x="206" y="191"/>
                  <a:pt x="206" y="191"/>
                </a:cubicBezTo>
                <a:cubicBezTo>
                  <a:pt x="204" y="191"/>
                  <a:pt x="204" y="191"/>
                  <a:pt x="204" y="191"/>
                </a:cubicBezTo>
                <a:cubicBezTo>
                  <a:pt x="203" y="189"/>
                  <a:pt x="203" y="189"/>
                  <a:pt x="203" y="189"/>
                </a:cubicBezTo>
                <a:cubicBezTo>
                  <a:pt x="201" y="187"/>
                  <a:pt x="201" y="187"/>
                  <a:pt x="201" y="187"/>
                </a:cubicBezTo>
                <a:cubicBezTo>
                  <a:pt x="200" y="186"/>
                  <a:pt x="200" y="186"/>
                  <a:pt x="200" y="186"/>
                </a:cubicBezTo>
                <a:cubicBezTo>
                  <a:pt x="200" y="185"/>
                  <a:pt x="200" y="185"/>
                  <a:pt x="200" y="185"/>
                </a:cubicBezTo>
                <a:cubicBezTo>
                  <a:pt x="201" y="185"/>
                  <a:pt x="201" y="185"/>
                  <a:pt x="201" y="185"/>
                </a:cubicBezTo>
                <a:cubicBezTo>
                  <a:pt x="201" y="185"/>
                  <a:pt x="201" y="185"/>
                  <a:pt x="201" y="185"/>
                </a:cubicBezTo>
                <a:cubicBezTo>
                  <a:pt x="201" y="185"/>
                  <a:pt x="201" y="185"/>
                  <a:pt x="201" y="185"/>
                </a:cubicBezTo>
                <a:cubicBezTo>
                  <a:pt x="202" y="186"/>
                  <a:pt x="202" y="186"/>
                  <a:pt x="202" y="186"/>
                </a:cubicBezTo>
                <a:cubicBezTo>
                  <a:pt x="204" y="187"/>
                  <a:pt x="204" y="187"/>
                  <a:pt x="204" y="187"/>
                </a:cubicBezTo>
                <a:cubicBezTo>
                  <a:pt x="205" y="188"/>
                  <a:pt x="205" y="188"/>
                  <a:pt x="205" y="188"/>
                </a:cubicBezTo>
                <a:cubicBezTo>
                  <a:pt x="206" y="188"/>
                  <a:pt x="206" y="188"/>
                  <a:pt x="206" y="188"/>
                </a:cubicBezTo>
                <a:cubicBezTo>
                  <a:pt x="207" y="187"/>
                  <a:pt x="207" y="187"/>
                  <a:pt x="207" y="187"/>
                </a:cubicBezTo>
                <a:cubicBezTo>
                  <a:pt x="208" y="187"/>
                  <a:pt x="208" y="187"/>
                  <a:pt x="208" y="187"/>
                </a:cubicBezTo>
                <a:cubicBezTo>
                  <a:pt x="207" y="186"/>
                  <a:pt x="207" y="186"/>
                  <a:pt x="207" y="186"/>
                </a:cubicBezTo>
                <a:cubicBezTo>
                  <a:pt x="207" y="186"/>
                  <a:pt x="207" y="186"/>
                  <a:pt x="207" y="186"/>
                </a:cubicBezTo>
                <a:cubicBezTo>
                  <a:pt x="206" y="187"/>
                  <a:pt x="206" y="187"/>
                  <a:pt x="206" y="187"/>
                </a:cubicBezTo>
                <a:cubicBezTo>
                  <a:pt x="205" y="186"/>
                  <a:pt x="205" y="186"/>
                  <a:pt x="205" y="186"/>
                </a:cubicBezTo>
                <a:cubicBezTo>
                  <a:pt x="203" y="185"/>
                  <a:pt x="203" y="185"/>
                  <a:pt x="203" y="185"/>
                </a:cubicBezTo>
                <a:cubicBezTo>
                  <a:pt x="201" y="184"/>
                  <a:pt x="201" y="184"/>
                  <a:pt x="201" y="184"/>
                </a:cubicBezTo>
                <a:cubicBezTo>
                  <a:pt x="200" y="184"/>
                  <a:pt x="200" y="184"/>
                  <a:pt x="200" y="184"/>
                </a:cubicBezTo>
                <a:cubicBezTo>
                  <a:pt x="200" y="184"/>
                  <a:pt x="200" y="184"/>
                  <a:pt x="200" y="184"/>
                </a:cubicBezTo>
                <a:cubicBezTo>
                  <a:pt x="200" y="183"/>
                  <a:pt x="200" y="183"/>
                  <a:pt x="200" y="183"/>
                </a:cubicBezTo>
                <a:cubicBezTo>
                  <a:pt x="200" y="183"/>
                  <a:pt x="200" y="183"/>
                  <a:pt x="200" y="183"/>
                </a:cubicBezTo>
                <a:cubicBezTo>
                  <a:pt x="199" y="183"/>
                  <a:pt x="199" y="183"/>
                  <a:pt x="199" y="183"/>
                </a:cubicBezTo>
                <a:cubicBezTo>
                  <a:pt x="199" y="183"/>
                  <a:pt x="199" y="183"/>
                  <a:pt x="199" y="183"/>
                </a:cubicBezTo>
                <a:cubicBezTo>
                  <a:pt x="199" y="184"/>
                  <a:pt x="199" y="184"/>
                  <a:pt x="199" y="184"/>
                </a:cubicBezTo>
                <a:cubicBezTo>
                  <a:pt x="198" y="186"/>
                  <a:pt x="198" y="186"/>
                  <a:pt x="198" y="186"/>
                </a:cubicBezTo>
                <a:cubicBezTo>
                  <a:pt x="198" y="187"/>
                  <a:pt x="198" y="187"/>
                  <a:pt x="198" y="187"/>
                </a:cubicBezTo>
                <a:cubicBezTo>
                  <a:pt x="198" y="188"/>
                  <a:pt x="198" y="188"/>
                  <a:pt x="198" y="188"/>
                </a:cubicBezTo>
                <a:cubicBezTo>
                  <a:pt x="198" y="187"/>
                  <a:pt x="198" y="187"/>
                  <a:pt x="198" y="187"/>
                </a:cubicBezTo>
                <a:cubicBezTo>
                  <a:pt x="196" y="185"/>
                  <a:pt x="196" y="185"/>
                  <a:pt x="196" y="185"/>
                </a:cubicBezTo>
                <a:cubicBezTo>
                  <a:pt x="195" y="183"/>
                  <a:pt x="195" y="183"/>
                  <a:pt x="195" y="183"/>
                </a:cubicBezTo>
                <a:cubicBezTo>
                  <a:pt x="194" y="182"/>
                  <a:pt x="194" y="182"/>
                  <a:pt x="194" y="182"/>
                </a:cubicBezTo>
                <a:cubicBezTo>
                  <a:pt x="194" y="182"/>
                  <a:pt x="194" y="182"/>
                  <a:pt x="194" y="182"/>
                </a:cubicBezTo>
                <a:cubicBezTo>
                  <a:pt x="194" y="181"/>
                  <a:pt x="194" y="181"/>
                  <a:pt x="194" y="181"/>
                </a:cubicBezTo>
                <a:cubicBezTo>
                  <a:pt x="193" y="181"/>
                  <a:pt x="193" y="181"/>
                  <a:pt x="193" y="181"/>
                </a:cubicBezTo>
                <a:cubicBezTo>
                  <a:pt x="193" y="181"/>
                  <a:pt x="193" y="181"/>
                  <a:pt x="193" y="181"/>
                </a:cubicBezTo>
                <a:cubicBezTo>
                  <a:pt x="193" y="182"/>
                  <a:pt x="193" y="182"/>
                  <a:pt x="193" y="182"/>
                </a:cubicBezTo>
                <a:cubicBezTo>
                  <a:pt x="194" y="183"/>
                  <a:pt x="194" y="183"/>
                  <a:pt x="194" y="183"/>
                </a:cubicBezTo>
                <a:cubicBezTo>
                  <a:pt x="195" y="185"/>
                  <a:pt x="195" y="185"/>
                  <a:pt x="195" y="185"/>
                </a:cubicBezTo>
                <a:cubicBezTo>
                  <a:pt x="195" y="186"/>
                  <a:pt x="195" y="186"/>
                  <a:pt x="195" y="186"/>
                </a:cubicBezTo>
                <a:cubicBezTo>
                  <a:pt x="196" y="186"/>
                  <a:pt x="196" y="186"/>
                  <a:pt x="196" y="186"/>
                </a:cubicBezTo>
                <a:cubicBezTo>
                  <a:pt x="197" y="187"/>
                  <a:pt x="197" y="187"/>
                  <a:pt x="197" y="187"/>
                </a:cubicBezTo>
                <a:cubicBezTo>
                  <a:pt x="196" y="188"/>
                  <a:pt x="196" y="188"/>
                  <a:pt x="196" y="188"/>
                </a:cubicBezTo>
                <a:cubicBezTo>
                  <a:pt x="196" y="188"/>
                  <a:pt x="196" y="188"/>
                  <a:pt x="196" y="188"/>
                </a:cubicBezTo>
                <a:cubicBezTo>
                  <a:pt x="195" y="188"/>
                  <a:pt x="195" y="188"/>
                  <a:pt x="195" y="188"/>
                </a:cubicBezTo>
                <a:cubicBezTo>
                  <a:pt x="194" y="189"/>
                  <a:pt x="194" y="189"/>
                  <a:pt x="194" y="189"/>
                </a:cubicBezTo>
                <a:cubicBezTo>
                  <a:pt x="194" y="189"/>
                  <a:pt x="194" y="189"/>
                  <a:pt x="194" y="189"/>
                </a:cubicBezTo>
                <a:cubicBezTo>
                  <a:pt x="193" y="190"/>
                  <a:pt x="193" y="190"/>
                  <a:pt x="193" y="190"/>
                </a:cubicBezTo>
                <a:cubicBezTo>
                  <a:pt x="192" y="190"/>
                  <a:pt x="192" y="190"/>
                  <a:pt x="192" y="190"/>
                </a:cubicBezTo>
                <a:cubicBezTo>
                  <a:pt x="191" y="190"/>
                  <a:pt x="191" y="190"/>
                  <a:pt x="191" y="190"/>
                </a:cubicBezTo>
                <a:cubicBezTo>
                  <a:pt x="190" y="190"/>
                  <a:pt x="190" y="190"/>
                  <a:pt x="190" y="190"/>
                </a:cubicBezTo>
                <a:cubicBezTo>
                  <a:pt x="189" y="190"/>
                  <a:pt x="189" y="190"/>
                  <a:pt x="189" y="190"/>
                </a:cubicBezTo>
                <a:cubicBezTo>
                  <a:pt x="189" y="189"/>
                  <a:pt x="189" y="189"/>
                  <a:pt x="189" y="189"/>
                </a:cubicBezTo>
                <a:cubicBezTo>
                  <a:pt x="188" y="189"/>
                  <a:pt x="188" y="189"/>
                  <a:pt x="188" y="189"/>
                </a:cubicBezTo>
                <a:cubicBezTo>
                  <a:pt x="188" y="189"/>
                  <a:pt x="188" y="189"/>
                  <a:pt x="188" y="189"/>
                </a:cubicBezTo>
                <a:cubicBezTo>
                  <a:pt x="186" y="188"/>
                  <a:pt x="186" y="188"/>
                  <a:pt x="186" y="188"/>
                </a:cubicBezTo>
                <a:cubicBezTo>
                  <a:pt x="186" y="187"/>
                  <a:pt x="186" y="187"/>
                  <a:pt x="186" y="187"/>
                </a:cubicBezTo>
                <a:cubicBezTo>
                  <a:pt x="186" y="186"/>
                  <a:pt x="186" y="186"/>
                  <a:pt x="186" y="186"/>
                </a:cubicBezTo>
                <a:cubicBezTo>
                  <a:pt x="185" y="186"/>
                  <a:pt x="185" y="186"/>
                  <a:pt x="185" y="186"/>
                </a:cubicBezTo>
                <a:cubicBezTo>
                  <a:pt x="185" y="186"/>
                  <a:pt x="185" y="186"/>
                  <a:pt x="185" y="186"/>
                </a:cubicBezTo>
                <a:cubicBezTo>
                  <a:pt x="185" y="186"/>
                  <a:pt x="185" y="186"/>
                  <a:pt x="185" y="186"/>
                </a:cubicBezTo>
                <a:cubicBezTo>
                  <a:pt x="185" y="187"/>
                  <a:pt x="185" y="187"/>
                  <a:pt x="185" y="187"/>
                </a:cubicBezTo>
                <a:cubicBezTo>
                  <a:pt x="185" y="188"/>
                  <a:pt x="185" y="188"/>
                  <a:pt x="185" y="188"/>
                </a:cubicBezTo>
                <a:cubicBezTo>
                  <a:pt x="186" y="188"/>
                  <a:pt x="186" y="188"/>
                  <a:pt x="186" y="188"/>
                </a:cubicBezTo>
                <a:cubicBezTo>
                  <a:pt x="187" y="189"/>
                  <a:pt x="187" y="189"/>
                  <a:pt x="187" y="189"/>
                </a:cubicBezTo>
                <a:cubicBezTo>
                  <a:pt x="188" y="190"/>
                  <a:pt x="188" y="190"/>
                  <a:pt x="188" y="190"/>
                </a:cubicBezTo>
                <a:cubicBezTo>
                  <a:pt x="188" y="191"/>
                  <a:pt x="188" y="191"/>
                  <a:pt x="188" y="191"/>
                </a:cubicBezTo>
                <a:cubicBezTo>
                  <a:pt x="187" y="191"/>
                  <a:pt x="187" y="191"/>
                  <a:pt x="187" y="191"/>
                </a:cubicBezTo>
                <a:cubicBezTo>
                  <a:pt x="185" y="191"/>
                  <a:pt x="185" y="191"/>
                  <a:pt x="185" y="191"/>
                </a:cubicBezTo>
                <a:cubicBezTo>
                  <a:pt x="184" y="191"/>
                  <a:pt x="184" y="191"/>
                  <a:pt x="184" y="191"/>
                </a:cubicBezTo>
                <a:cubicBezTo>
                  <a:pt x="183" y="191"/>
                  <a:pt x="183" y="191"/>
                  <a:pt x="183" y="191"/>
                </a:cubicBezTo>
                <a:cubicBezTo>
                  <a:pt x="182" y="192"/>
                  <a:pt x="182" y="192"/>
                  <a:pt x="182" y="192"/>
                </a:cubicBezTo>
                <a:cubicBezTo>
                  <a:pt x="183" y="192"/>
                  <a:pt x="183" y="192"/>
                  <a:pt x="183" y="192"/>
                </a:cubicBezTo>
                <a:cubicBezTo>
                  <a:pt x="183" y="192"/>
                  <a:pt x="183" y="192"/>
                  <a:pt x="183" y="192"/>
                </a:cubicBezTo>
                <a:cubicBezTo>
                  <a:pt x="183" y="193"/>
                  <a:pt x="183" y="193"/>
                  <a:pt x="183" y="193"/>
                </a:cubicBezTo>
                <a:cubicBezTo>
                  <a:pt x="184" y="193"/>
                  <a:pt x="184" y="193"/>
                  <a:pt x="184" y="193"/>
                </a:cubicBezTo>
                <a:cubicBezTo>
                  <a:pt x="184" y="193"/>
                  <a:pt x="184" y="193"/>
                  <a:pt x="184" y="193"/>
                </a:cubicBezTo>
                <a:cubicBezTo>
                  <a:pt x="184" y="192"/>
                  <a:pt x="184" y="192"/>
                  <a:pt x="184" y="192"/>
                </a:cubicBezTo>
                <a:cubicBezTo>
                  <a:pt x="186" y="192"/>
                  <a:pt x="186" y="192"/>
                  <a:pt x="186" y="192"/>
                </a:cubicBezTo>
                <a:cubicBezTo>
                  <a:pt x="186" y="192"/>
                  <a:pt x="186" y="192"/>
                  <a:pt x="186" y="192"/>
                </a:cubicBezTo>
                <a:cubicBezTo>
                  <a:pt x="187" y="192"/>
                  <a:pt x="187" y="193"/>
                  <a:pt x="187" y="193"/>
                </a:cubicBezTo>
                <a:cubicBezTo>
                  <a:pt x="188" y="192"/>
                  <a:pt x="188" y="192"/>
                  <a:pt x="188" y="192"/>
                </a:cubicBezTo>
                <a:cubicBezTo>
                  <a:pt x="188" y="191"/>
                  <a:pt x="188" y="191"/>
                  <a:pt x="188" y="191"/>
                </a:cubicBezTo>
                <a:cubicBezTo>
                  <a:pt x="189" y="191"/>
                  <a:pt x="189" y="191"/>
                  <a:pt x="189" y="191"/>
                </a:cubicBezTo>
                <a:cubicBezTo>
                  <a:pt x="190" y="191"/>
                  <a:pt x="190" y="191"/>
                  <a:pt x="190" y="191"/>
                </a:cubicBezTo>
                <a:cubicBezTo>
                  <a:pt x="191" y="191"/>
                  <a:pt x="191" y="191"/>
                  <a:pt x="191" y="191"/>
                </a:cubicBezTo>
                <a:cubicBezTo>
                  <a:pt x="192" y="192"/>
                  <a:pt x="192" y="192"/>
                  <a:pt x="192" y="192"/>
                </a:cubicBezTo>
                <a:cubicBezTo>
                  <a:pt x="193" y="192"/>
                  <a:pt x="193" y="192"/>
                  <a:pt x="193" y="192"/>
                </a:cubicBezTo>
                <a:cubicBezTo>
                  <a:pt x="194" y="193"/>
                  <a:pt x="194" y="193"/>
                  <a:pt x="194" y="193"/>
                </a:cubicBezTo>
                <a:cubicBezTo>
                  <a:pt x="195" y="193"/>
                  <a:pt x="195" y="193"/>
                  <a:pt x="195" y="193"/>
                </a:cubicBezTo>
                <a:cubicBezTo>
                  <a:pt x="195" y="194"/>
                  <a:pt x="195" y="194"/>
                  <a:pt x="195" y="194"/>
                </a:cubicBezTo>
                <a:cubicBezTo>
                  <a:pt x="195" y="195"/>
                  <a:pt x="195" y="195"/>
                  <a:pt x="195" y="195"/>
                </a:cubicBezTo>
                <a:cubicBezTo>
                  <a:pt x="194" y="195"/>
                  <a:pt x="194" y="195"/>
                  <a:pt x="194" y="195"/>
                </a:cubicBezTo>
                <a:cubicBezTo>
                  <a:pt x="194" y="196"/>
                  <a:pt x="194" y="196"/>
                  <a:pt x="194" y="196"/>
                </a:cubicBezTo>
                <a:cubicBezTo>
                  <a:pt x="193" y="195"/>
                  <a:pt x="193" y="195"/>
                  <a:pt x="193" y="195"/>
                </a:cubicBezTo>
                <a:cubicBezTo>
                  <a:pt x="192" y="196"/>
                  <a:pt x="192" y="196"/>
                  <a:pt x="192" y="196"/>
                </a:cubicBezTo>
                <a:cubicBezTo>
                  <a:pt x="191" y="196"/>
                  <a:pt x="191" y="196"/>
                  <a:pt x="191" y="196"/>
                </a:cubicBezTo>
                <a:cubicBezTo>
                  <a:pt x="190" y="197"/>
                  <a:pt x="190" y="197"/>
                  <a:pt x="190" y="197"/>
                </a:cubicBezTo>
                <a:cubicBezTo>
                  <a:pt x="189" y="197"/>
                  <a:pt x="189" y="197"/>
                  <a:pt x="189" y="197"/>
                </a:cubicBezTo>
                <a:cubicBezTo>
                  <a:pt x="188" y="195"/>
                  <a:pt x="188" y="195"/>
                  <a:pt x="188" y="195"/>
                </a:cubicBezTo>
                <a:cubicBezTo>
                  <a:pt x="187" y="195"/>
                  <a:pt x="187" y="195"/>
                  <a:pt x="187" y="195"/>
                </a:cubicBezTo>
                <a:cubicBezTo>
                  <a:pt x="187" y="195"/>
                  <a:pt x="187" y="195"/>
                  <a:pt x="187" y="195"/>
                </a:cubicBezTo>
                <a:cubicBezTo>
                  <a:pt x="186" y="196"/>
                  <a:pt x="186" y="196"/>
                  <a:pt x="186" y="196"/>
                </a:cubicBezTo>
                <a:cubicBezTo>
                  <a:pt x="185" y="196"/>
                  <a:pt x="185" y="196"/>
                  <a:pt x="185" y="196"/>
                </a:cubicBezTo>
                <a:cubicBezTo>
                  <a:pt x="185" y="196"/>
                  <a:pt x="185" y="196"/>
                  <a:pt x="185" y="196"/>
                </a:cubicBezTo>
                <a:cubicBezTo>
                  <a:pt x="184" y="196"/>
                  <a:pt x="184" y="196"/>
                  <a:pt x="184" y="196"/>
                </a:cubicBezTo>
                <a:cubicBezTo>
                  <a:pt x="184" y="196"/>
                  <a:pt x="184" y="196"/>
                  <a:pt x="184" y="196"/>
                </a:cubicBezTo>
                <a:cubicBezTo>
                  <a:pt x="185" y="196"/>
                  <a:pt x="185" y="196"/>
                  <a:pt x="185" y="196"/>
                </a:cubicBezTo>
                <a:cubicBezTo>
                  <a:pt x="186" y="196"/>
                  <a:pt x="186" y="196"/>
                  <a:pt x="186" y="196"/>
                </a:cubicBezTo>
                <a:cubicBezTo>
                  <a:pt x="187" y="196"/>
                  <a:pt x="187" y="196"/>
                  <a:pt x="187" y="196"/>
                </a:cubicBezTo>
                <a:cubicBezTo>
                  <a:pt x="187" y="196"/>
                  <a:pt x="187" y="196"/>
                  <a:pt x="187" y="196"/>
                </a:cubicBezTo>
                <a:cubicBezTo>
                  <a:pt x="188" y="197"/>
                  <a:pt x="188" y="197"/>
                  <a:pt x="188" y="197"/>
                </a:cubicBezTo>
                <a:cubicBezTo>
                  <a:pt x="187" y="197"/>
                  <a:pt x="187" y="197"/>
                  <a:pt x="187" y="197"/>
                </a:cubicBezTo>
                <a:cubicBezTo>
                  <a:pt x="186" y="197"/>
                  <a:pt x="186" y="197"/>
                  <a:pt x="186" y="197"/>
                </a:cubicBezTo>
                <a:cubicBezTo>
                  <a:pt x="185" y="198"/>
                  <a:pt x="185" y="198"/>
                  <a:pt x="185" y="198"/>
                </a:cubicBezTo>
                <a:cubicBezTo>
                  <a:pt x="185" y="198"/>
                  <a:pt x="185" y="198"/>
                  <a:pt x="185" y="198"/>
                </a:cubicBezTo>
                <a:cubicBezTo>
                  <a:pt x="185" y="198"/>
                  <a:pt x="185" y="198"/>
                  <a:pt x="185" y="198"/>
                </a:cubicBezTo>
                <a:cubicBezTo>
                  <a:pt x="186" y="198"/>
                  <a:pt x="186" y="198"/>
                  <a:pt x="186" y="198"/>
                </a:cubicBezTo>
                <a:cubicBezTo>
                  <a:pt x="187" y="198"/>
                  <a:pt x="187" y="198"/>
                  <a:pt x="187" y="198"/>
                </a:cubicBezTo>
                <a:cubicBezTo>
                  <a:pt x="188" y="198"/>
                  <a:pt x="188" y="198"/>
                  <a:pt x="188" y="198"/>
                </a:cubicBezTo>
                <a:cubicBezTo>
                  <a:pt x="188" y="198"/>
                  <a:pt x="188" y="198"/>
                  <a:pt x="188" y="198"/>
                </a:cubicBezTo>
                <a:cubicBezTo>
                  <a:pt x="188" y="199"/>
                  <a:pt x="188" y="199"/>
                  <a:pt x="188" y="199"/>
                </a:cubicBezTo>
                <a:cubicBezTo>
                  <a:pt x="189" y="199"/>
                  <a:pt x="189" y="199"/>
                  <a:pt x="189" y="199"/>
                </a:cubicBezTo>
                <a:cubicBezTo>
                  <a:pt x="189" y="198"/>
                  <a:pt x="189" y="198"/>
                  <a:pt x="189" y="198"/>
                </a:cubicBezTo>
                <a:cubicBezTo>
                  <a:pt x="190" y="198"/>
                  <a:pt x="190" y="198"/>
                  <a:pt x="190" y="198"/>
                </a:cubicBezTo>
                <a:cubicBezTo>
                  <a:pt x="191" y="198"/>
                  <a:pt x="191" y="198"/>
                  <a:pt x="191" y="198"/>
                </a:cubicBezTo>
                <a:cubicBezTo>
                  <a:pt x="192" y="197"/>
                  <a:pt x="192" y="197"/>
                  <a:pt x="192" y="197"/>
                </a:cubicBezTo>
                <a:cubicBezTo>
                  <a:pt x="192" y="197"/>
                  <a:pt x="192" y="197"/>
                  <a:pt x="192" y="197"/>
                </a:cubicBezTo>
                <a:cubicBezTo>
                  <a:pt x="193" y="197"/>
                  <a:pt x="193" y="197"/>
                  <a:pt x="193" y="197"/>
                </a:cubicBezTo>
                <a:cubicBezTo>
                  <a:pt x="194" y="198"/>
                  <a:pt x="194" y="198"/>
                  <a:pt x="194" y="198"/>
                </a:cubicBezTo>
                <a:cubicBezTo>
                  <a:pt x="195" y="198"/>
                  <a:pt x="195" y="198"/>
                  <a:pt x="195" y="198"/>
                </a:cubicBezTo>
                <a:cubicBezTo>
                  <a:pt x="195" y="198"/>
                  <a:pt x="195" y="198"/>
                  <a:pt x="195" y="198"/>
                </a:cubicBezTo>
                <a:cubicBezTo>
                  <a:pt x="195" y="199"/>
                  <a:pt x="195" y="199"/>
                  <a:pt x="195" y="199"/>
                </a:cubicBezTo>
                <a:cubicBezTo>
                  <a:pt x="195" y="201"/>
                  <a:pt x="195" y="201"/>
                  <a:pt x="195" y="201"/>
                </a:cubicBezTo>
                <a:cubicBezTo>
                  <a:pt x="194" y="202"/>
                  <a:pt x="194" y="202"/>
                  <a:pt x="194" y="202"/>
                </a:cubicBezTo>
                <a:cubicBezTo>
                  <a:pt x="193" y="202"/>
                  <a:pt x="193" y="202"/>
                  <a:pt x="193" y="202"/>
                </a:cubicBezTo>
                <a:cubicBezTo>
                  <a:pt x="192" y="202"/>
                  <a:pt x="192" y="202"/>
                  <a:pt x="192" y="202"/>
                </a:cubicBezTo>
                <a:cubicBezTo>
                  <a:pt x="191" y="202"/>
                  <a:pt x="191" y="202"/>
                  <a:pt x="191" y="202"/>
                </a:cubicBezTo>
                <a:cubicBezTo>
                  <a:pt x="189" y="202"/>
                  <a:pt x="189" y="202"/>
                  <a:pt x="189" y="202"/>
                </a:cubicBezTo>
                <a:cubicBezTo>
                  <a:pt x="189" y="201"/>
                  <a:pt x="189" y="201"/>
                  <a:pt x="189" y="201"/>
                </a:cubicBezTo>
                <a:cubicBezTo>
                  <a:pt x="188" y="202"/>
                  <a:pt x="188" y="202"/>
                  <a:pt x="188" y="202"/>
                </a:cubicBezTo>
                <a:cubicBezTo>
                  <a:pt x="188" y="202"/>
                  <a:pt x="188" y="202"/>
                  <a:pt x="188" y="202"/>
                </a:cubicBezTo>
                <a:cubicBezTo>
                  <a:pt x="189" y="202"/>
                  <a:pt x="189" y="202"/>
                  <a:pt x="189" y="202"/>
                </a:cubicBezTo>
                <a:cubicBezTo>
                  <a:pt x="191" y="202"/>
                  <a:pt x="191" y="202"/>
                  <a:pt x="191" y="202"/>
                </a:cubicBezTo>
                <a:cubicBezTo>
                  <a:pt x="192" y="203"/>
                  <a:pt x="192" y="203"/>
                  <a:pt x="192" y="203"/>
                </a:cubicBezTo>
                <a:cubicBezTo>
                  <a:pt x="193" y="204"/>
                  <a:pt x="193" y="204"/>
                  <a:pt x="193" y="204"/>
                </a:cubicBezTo>
                <a:cubicBezTo>
                  <a:pt x="192" y="204"/>
                  <a:pt x="192" y="204"/>
                  <a:pt x="192" y="204"/>
                </a:cubicBezTo>
                <a:cubicBezTo>
                  <a:pt x="193" y="203"/>
                  <a:pt x="193" y="203"/>
                  <a:pt x="193" y="203"/>
                </a:cubicBezTo>
                <a:cubicBezTo>
                  <a:pt x="194" y="203"/>
                  <a:pt x="194" y="203"/>
                  <a:pt x="194" y="203"/>
                </a:cubicBezTo>
                <a:cubicBezTo>
                  <a:pt x="196" y="203"/>
                  <a:pt x="196" y="203"/>
                  <a:pt x="196" y="203"/>
                </a:cubicBezTo>
                <a:cubicBezTo>
                  <a:pt x="197" y="203"/>
                  <a:pt x="197" y="203"/>
                  <a:pt x="197" y="203"/>
                </a:cubicBezTo>
                <a:cubicBezTo>
                  <a:pt x="197" y="204"/>
                  <a:pt x="197" y="204"/>
                  <a:pt x="197" y="204"/>
                </a:cubicBezTo>
                <a:cubicBezTo>
                  <a:pt x="199" y="205"/>
                  <a:pt x="199" y="205"/>
                  <a:pt x="199" y="205"/>
                </a:cubicBezTo>
                <a:cubicBezTo>
                  <a:pt x="199" y="206"/>
                  <a:pt x="199" y="206"/>
                  <a:pt x="199" y="206"/>
                </a:cubicBezTo>
                <a:cubicBezTo>
                  <a:pt x="199" y="206"/>
                  <a:pt x="199" y="206"/>
                  <a:pt x="199" y="206"/>
                </a:cubicBezTo>
                <a:cubicBezTo>
                  <a:pt x="200" y="206"/>
                  <a:pt x="200" y="206"/>
                  <a:pt x="200" y="206"/>
                </a:cubicBezTo>
                <a:cubicBezTo>
                  <a:pt x="200" y="207"/>
                  <a:pt x="200" y="207"/>
                  <a:pt x="200" y="207"/>
                </a:cubicBezTo>
                <a:cubicBezTo>
                  <a:pt x="201" y="207"/>
                  <a:pt x="201" y="207"/>
                  <a:pt x="201" y="207"/>
                </a:cubicBezTo>
                <a:cubicBezTo>
                  <a:pt x="202" y="208"/>
                  <a:pt x="202" y="208"/>
                  <a:pt x="202" y="208"/>
                </a:cubicBezTo>
                <a:cubicBezTo>
                  <a:pt x="202" y="208"/>
                  <a:pt x="202" y="208"/>
                  <a:pt x="202" y="208"/>
                </a:cubicBezTo>
                <a:cubicBezTo>
                  <a:pt x="203" y="209"/>
                  <a:pt x="203" y="209"/>
                  <a:pt x="203" y="209"/>
                </a:cubicBezTo>
                <a:cubicBezTo>
                  <a:pt x="203" y="209"/>
                  <a:pt x="203" y="209"/>
                  <a:pt x="203" y="209"/>
                </a:cubicBezTo>
                <a:cubicBezTo>
                  <a:pt x="204" y="209"/>
                  <a:pt x="204" y="209"/>
                  <a:pt x="204" y="209"/>
                </a:cubicBezTo>
                <a:cubicBezTo>
                  <a:pt x="204" y="210"/>
                  <a:pt x="204" y="210"/>
                  <a:pt x="204" y="210"/>
                </a:cubicBezTo>
                <a:cubicBezTo>
                  <a:pt x="205" y="210"/>
                  <a:pt x="205" y="210"/>
                  <a:pt x="205" y="210"/>
                </a:cubicBezTo>
                <a:cubicBezTo>
                  <a:pt x="205" y="211"/>
                  <a:pt x="205" y="211"/>
                  <a:pt x="205" y="211"/>
                </a:cubicBezTo>
                <a:cubicBezTo>
                  <a:pt x="204" y="212"/>
                  <a:pt x="204" y="212"/>
                  <a:pt x="204" y="212"/>
                </a:cubicBezTo>
                <a:cubicBezTo>
                  <a:pt x="203" y="212"/>
                  <a:pt x="203" y="212"/>
                  <a:pt x="203" y="212"/>
                </a:cubicBezTo>
                <a:cubicBezTo>
                  <a:pt x="203" y="213"/>
                  <a:pt x="203" y="213"/>
                  <a:pt x="203" y="213"/>
                </a:cubicBezTo>
                <a:cubicBezTo>
                  <a:pt x="203" y="214"/>
                  <a:pt x="203" y="214"/>
                  <a:pt x="203" y="214"/>
                </a:cubicBezTo>
                <a:cubicBezTo>
                  <a:pt x="203" y="214"/>
                  <a:pt x="203" y="214"/>
                  <a:pt x="203" y="214"/>
                </a:cubicBezTo>
                <a:cubicBezTo>
                  <a:pt x="203" y="213"/>
                  <a:pt x="203" y="213"/>
                  <a:pt x="203" y="213"/>
                </a:cubicBezTo>
                <a:cubicBezTo>
                  <a:pt x="204" y="212"/>
                  <a:pt x="204" y="212"/>
                  <a:pt x="204" y="212"/>
                </a:cubicBezTo>
                <a:cubicBezTo>
                  <a:pt x="205" y="212"/>
                  <a:pt x="205" y="212"/>
                  <a:pt x="205" y="212"/>
                </a:cubicBezTo>
                <a:cubicBezTo>
                  <a:pt x="205" y="212"/>
                  <a:pt x="205" y="212"/>
                  <a:pt x="205" y="212"/>
                </a:cubicBezTo>
                <a:cubicBezTo>
                  <a:pt x="205" y="213"/>
                  <a:pt x="205" y="213"/>
                  <a:pt x="205" y="213"/>
                </a:cubicBezTo>
                <a:cubicBezTo>
                  <a:pt x="205" y="214"/>
                  <a:pt x="205" y="214"/>
                  <a:pt x="205" y="214"/>
                </a:cubicBezTo>
                <a:cubicBezTo>
                  <a:pt x="205" y="214"/>
                  <a:pt x="205" y="214"/>
                  <a:pt x="205" y="214"/>
                </a:cubicBezTo>
                <a:cubicBezTo>
                  <a:pt x="205" y="213"/>
                  <a:pt x="205" y="213"/>
                  <a:pt x="205" y="213"/>
                </a:cubicBezTo>
                <a:cubicBezTo>
                  <a:pt x="206" y="213"/>
                  <a:pt x="206" y="213"/>
                  <a:pt x="206" y="213"/>
                </a:cubicBezTo>
                <a:cubicBezTo>
                  <a:pt x="207" y="213"/>
                  <a:pt x="207" y="213"/>
                  <a:pt x="207" y="213"/>
                </a:cubicBezTo>
                <a:cubicBezTo>
                  <a:pt x="207" y="213"/>
                  <a:pt x="207" y="213"/>
                  <a:pt x="207" y="213"/>
                </a:cubicBezTo>
                <a:cubicBezTo>
                  <a:pt x="207" y="214"/>
                  <a:pt x="207" y="214"/>
                  <a:pt x="207" y="214"/>
                </a:cubicBezTo>
                <a:cubicBezTo>
                  <a:pt x="206" y="215"/>
                  <a:pt x="206" y="215"/>
                  <a:pt x="206" y="215"/>
                </a:cubicBezTo>
                <a:cubicBezTo>
                  <a:pt x="205" y="215"/>
                  <a:pt x="205" y="215"/>
                  <a:pt x="205" y="215"/>
                </a:cubicBezTo>
                <a:cubicBezTo>
                  <a:pt x="205" y="216"/>
                  <a:pt x="205" y="216"/>
                  <a:pt x="205" y="216"/>
                </a:cubicBezTo>
                <a:cubicBezTo>
                  <a:pt x="205" y="217"/>
                  <a:pt x="205" y="217"/>
                  <a:pt x="205" y="217"/>
                </a:cubicBezTo>
                <a:cubicBezTo>
                  <a:pt x="205" y="217"/>
                  <a:pt x="205" y="217"/>
                  <a:pt x="205" y="217"/>
                </a:cubicBezTo>
                <a:cubicBezTo>
                  <a:pt x="205" y="218"/>
                  <a:pt x="205" y="218"/>
                  <a:pt x="205" y="218"/>
                </a:cubicBezTo>
                <a:cubicBezTo>
                  <a:pt x="205" y="219"/>
                  <a:pt x="205" y="219"/>
                  <a:pt x="205" y="219"/>
                </a:cubicBezTo>
                <a:cubicBezTo>
                  <a:pt x="205" y="220"/>
                  <a:pt x="205" y="220"/>
                  <a:pt x="205" y="220"/>
                </a:cubicBezTo>
                <a:cubicBezTo>
                  <a:pt x="205" y="220"/>
                  <a:pt x="205" y="220"/>
                  <a:pt x="205" y="220"/>
                </a:cubicBezTo>
                <a:cubicBezTo>
                  <a:pt x="205" y="218"/>
                  <a:pt x="205" y="218"/>
                  <a:pt x="205" y="218"/>
                </a:cubicBezTo>
                <a:cubicBezTo>
                  <a:pt x="206" y="217"/>
                  <a:pt x="206" y="217"/>
                  <a:pt x="206" y="217"/>
                </a:cubicBezTo>
                <a:cubicBezTo>
                  <a:pt x="207" y="216"/>
                  <a:pt x="207" y="216"/>
                  <a:pt x="207" y="216"/>
                </a:cubicBezTo>
                <a:cubicBezTo>
                  <a:pt x="208" y="216"/>
                  <a:pt x="208" y="216"/>
                  <a:pt x="208" y="216"/>
                </a:cubicBezTo>
                <a:cubicBezTo>
                  <a:pt x="208" y="217"/>
                  <a:pt x="208" y="217"/>
                  <a:pt x="208" y="217"/>
                </a:cubicBezTo>
                <a:cubicBezTo>
                  <a:pt x="207" y="218"/>
                  <a:pt x="207" y="218"/>
                  <a:pt x="207" y="218"/>
                </a:cubicBezTo>
                <a:cubicBezTo>
                  <a:pt x="207" y="219"/>
                  <a:pt x="207" y="219"/>
                  <a:pt x="207" y="219"/>
                </a:cubicBezTo>
                <a:cubicBezTo>
                  <a:pt x="207" y="219"/>
                  <a:pt x="207" y="219"/>
                  <a:pt x="207" y="219"/>
                </a:cubicBezTo>
                <a:cubicBezTo>
                  <a:pt x="207" y="219"/>
                  <a:pt x="207" y="219"/>
                  <a:pt x="207" y="219"/>
                </a:cubicBezTo>
                <a:cubicBezTo>
                  <a:pt x="208" y="219"/>
                  <a:pt x="208" y="219"/>
                  <a:pt x="208" y="219"/>
                </a:cubicBezTo>
                <a:cubicBezTo>
                  <a:pt x="208" y="221"/>
                  <a:pt x="208" y="221"/>
                  <a:pt x="208" y="221"/>
                </a:cubicBezTo>
                <a:cubicBezTo>
                  <a:pt x="207" y="221"/>
                  <a:pt x="207" y="221"/>
                  <a:pt x="207" y="221"/>
                </a:cubicBezTo>
                <a:cubicBezTo>
                  <a:pt x="206" y="221"/>
                  <a:pt x="206" y="221"/>
                  <a:pt x="206" y="221"/>
                </a:cubicBezTo>
                <a:cubicBezTo>
                  <a:pt x="206" y="222"/>
                  <a:pt x="206" y="222"/>
                  <a:pt x="206" y="222"/>
                </a:cubicBezTo>
                <a:cubicBezTo>
                  <a:pt x="206" y="222"/>
                  <a:pt x="206" y="222"/>
                  <a:pt x="206" y="222"/>
                </a:cubicBezTo>
                <a:cubicBezTo>
                  <a:pt x="207" y="222"/>
                  <a:pt x="207" y="222"/>
                  <a:pt x="207" y="222"/>
                </a:cubicBezTo>
                <a:cubicBezTo>
                  <a:pt x="207" y="222"/>
                  <a:pt x="207" y="222"/>
                  <a:pt x="207" y="222"/>
                </a:cubicBezTo>
                <a:cubicBezTo>
                  <a:pt x="207" y="223"/>
                  <a:pt x="207" y="223"/>
                  <a:pt x="207" y="223"/>
                </a:cubicBezTo>
                <a:cubicBezTo>
                  <a:pt x="207" y="223"/>
                  <a:pt x="207" y="223"/>
                  <a:pt x="207" y="223"/>
                </a:cubicBezTo>
                <a:cubicBezTo>
                  <a:pt x="207" y="224"/>
                  <a:pt x="207" y="224"/>
                  <a:pt x="207" y="224"/>
                </a:cubicBezTo>
                <a:cubicBezTo>
                  <a:pt x="208" y="224"/>
                  <a:pt x="208" y="224"/>
                  <a:pt x="208" y="224"/>
                </a:cubicBezTo>
                <a:cubicBezTo>
                  <a:pt x="208" y="225"/>
                  <a:pt x="208" y="225"/>
                  <a:pt x="208" y="225"/>
                </a:cubicBezTo>
                <a:cubicBezTo>
                  <a:pt x="207" y="226"/>
                  <a:pt x="207" y="226"/>
                  <a:pt x="207" y="226"/>
                </a:cubicBezTo>
                <a:cubicBezTo>
                  <a:pt x="207" y="227"/>
                  <a:pt x="207" y="227"/>
                  <a:pt x="207" y="227"/>
                </a:cubicBezTo>
                <a:cubicBezTo>
                  <a:pt x="207" y="229"/>
                  <a:pt x="207" y="229"/>
                  <a:pt x="207" y="229"/>
                </a:cubicBezTo>
                <a:cubicBezTo>
                  <a:pt x="207" y="229"/>
                  <a:pt x="207" y="229"/>
                  <a:pt x="207" y="229"/>
                </a:cubicBezTo>
                <a:cubicBezTo>
                  <a:pt x="207" y="230"/>
                  <a:pt x="207" y="230"/>
                  <a:pt x="207" y="230"/>
                </a:cubicBezTo>
                <a:cubicBezTo>
                  <a:pt x="207" y="231"/>
                  <a:pt x="207" y="231"/>
                  <a:pt x="207" y="231"/>
                </a:cubicBezTo>
                <a:cubicBezTo>
                  <a:pt x="206" y="231"/>
                  <a:pt x="206" y="231"/>
                  <a:pt x="206" y="231"/>
                </a:cubicBezTo>
                <a:cubicBezTo>
                  <a:pt x="206" y="231"/>
                  <a:pt x="206" y="231"/>
                  <a:pt x="206" y="231"/>
                </a:cubicBezTo>
                <a:cubicBezTo>
                  <a:pt x="205" y="230"/>
                  <a:pt x="205" y="230"/>
                  <a:pt x="205" y="230"/>
                </a:cubicBezTo>
                <a:cubicBezTo>
                  <a:pt x="206" y="230"/>
                  <a:pt x="206" y="230"/>
                  <a:pt x="206" y="230"/>
                </a:cubicBezTo>
                <a:cubicBezTo>
                  <a:pt x="205" y="229"/>
                  <a:pt x="205" y="229"/>
                  <a:pt x="205" y="229"/>
                </a:cubicBezTo>
                <a:cubicBezTo>
                  <a:pt x="205" y="229"/>
                  <a:pt x="205" y="229"/>
                  <a:pt x="205" y="229"/>
                </a:cubicBezTo>
                <a:cubicBezTo>
                  <a:pt x="204" y="229"/>
                  <a:pt x="204" y="229"/>
                  <a:pt x="204" y="229"/>
                </a:cubicBezTo>
                <a:cubicBezTo>
                  <a:pt x="204" y="230"/>
                  <a:pt x="204" y="230"/>
                  <a:pt x="204" y="230"/>
                </a:cubicBezTo>
                <a:cubicBezTo>
                  <a:pt x="203" y="229"/>
                  <a:pt x="203" y="229"/>
                  <a:pt x="203" y="229"/>
                </a:cubicBezTo>
                <a:cubicBezTo>
                  <a:pt x="203" y="228"/>
                  <a:pt x="203" y="228"/>
                  <a:pt x="203" y="228"/>
                </a:cubicBezTo>
                <a:cubicBezTo>
                  <a:pt x="204" y="227"/>
                  <a:pt x="204" y="227"/>
                  <a:pt x="204" y="227"/>
                </a:cubicBezTo>
                <a:cubicBezTo>
                  <a:pt x="203" y="226"/>
                  <a:pt x="203" y="226"/>
                  <a:pt x="203" y="226"/>
                </a:cubicBezTo>
                <a:cubicBezTo>
                  <a:pt x="203" y="225"/>
                  <a:pt x="203" y="225"/>
                  <a:pt x="203" y="225"/>
                </a:cubicBezTo>
                <a:cubicBezTo>
                  <a:pt x="203" y="225"/>
                  <a:pt x="203" y="225"/>
                  <a:pt x="203" y="225"/>
                </a:cubicBezTo>
                <a:cubicBezTo>
                  <a:pt x="203" y="224"/>
                  <a:pt x="203" y="224"/>
                  <a:pt x="203" y="224"/>
                </a:cubicBezTo>
                <a:cubicBezTo>
                  <a:pt x="203" y="224"/>
                  <a:pt x="203" y="224"/>
                  <a:pt x="203" y="224"/>
                </a:cubicBezTo>
                <a:cubicBezTo>
                  <a:pt x="202" y="225"/>
                  <a:pt x="202" y="225"/>
                  <a:pt x="202" y="225"/>
                </a:cubicBezTo>
                <a:cubicBezTo>
                  <a:pt x="202" y="226"/>
                  <a:pt x="202" y="226"/>
                  <a:pt x="202" y="226"/>
                </a:cubicBezTo>
                <a:cubicBezTo>
                  <a:pt x="202" y="227"/>
                  <a:pt x="202" y="227"/>
                  <a:pt x="202" y="227"/>
                </a:cubicBezTo>
                <a:cubicBezTo>
                  <a:pt x="202" y="229"/>
                  <a:pt x="202" y="229"/>
                  <a:pt x="202" y="229"/>
                </a:cubicBezTo>
                <a:cubicBezTo>
                  <a:pt x="202" y="230"/>
                  <a:pt x="202" y="230"/>
                  <a:pt x="202" y="230"/>
                </a:cubicBezTo>
                <a:cubicBezTo>
                  <a:pt x="202" y="230"/>
                  <a:pt x="202" y="230"/>
                  <a:pt x="202" y="230"/>
                </a:cubicBezTo>
                <a:cubicBezTo>
                  <a:pt x="201" y="230"/>
                  <a:pt x="201" y="230"/>
                  <a:pt x="201" y="230"/>
                </a:cubicBezTo>
                <a:cubicBezTo>
                  <a:pt x="200" y="230"/>
                  <a:pt x="200" y="230"/>
                  <a:pt x="200" y="230"/>
                </a:cubicBezTo>
                <a:cubicBezTo>
                  <a:pt x="199" y="230"/>
                  <a:pt x="199" y="230"/>
                  <a:pt x="199" y="230"/>
                </a:cubicBezTo>
                <a:cubicBezTo>
                  <a:pt x="199" y="230"/>
                  <a:pt x="199" y="230"/>
                  <a:pt x="199" y="230"/>
                </a:cubicBezTo>
                <a:cubicBezTo>
                  <a:pt x="197" y="229"/>
                  <a:pt x="197" y="229"/>
                  <a:pt x="197" y="229"/>
                </a:cubicBezTo>
                <a:cubicBezTo>
                  <a:pt x="196" y="227"/>
                  <a:pt x="196" y="227"/>
                  <a:pt x="196" y="227"/>
                </a:cubicBezTo>
                <a:cubicBezTo>
                  <a:pt x="195" y="226"/>
                  <a:pt x="195" y="226"/>
                  <a:pt x="195" y="226"/>
                </a:cubicBezTo>
                <a:cubicBezTo>
                  <a:pt x="195" y="225"/>
                  <a:pt x="195" y="225"/>
                  <a:pt x="195" y="225"/>
                </a:cubicBezTo>
                <a:cubicBezTo>
                  <a:pt x="195" y="223"/>
                  <a:pt x="195" y="223"/>
                  <a:pt x="195" y="223"/>
                </a:cubicBezTo>
                <a:cubicBezTo>
                  <a:pt x="194" y="222"/>
                  <a:pt x="194" y="222"/>
                  <a:pt x="194" y="222"/>
                </a:cubicBezTo>
                <a:cubicBezTo>
                  <a:pt x="193" y="221"/>
                  <a:pt x="193" y="221"/>
                  <a:pt x="193" y="221"/>
                </a:cubicBezTo>
                <a:cubicBezTo>
                  <a:pt x="193" y="220"/>
                  <a:pt x="193" y="220"/>
                  <a:pt x="193" y="220"/>
                </a:cubicBezTo>
                <a:cubicBezTo>
                  <a:pt x="193" y="219"/>
                  <a:pt x="193" y="219"/>
                  <a:pt x="193" y="219"/>
                </a:cubicBezTo>
                <a:cubicBezTo>
                  <a:pt x="194" y="218"/>
                  <a:pt x="194" y="218"/>
                  <a:pt x="194" y="218"/>
                </a:cubicBezTo>
                <a:cubicBezTo>
                  <a:pt x="193" y="217"/>
                  <a:pt x="193" y="217"/>
                  <a:pt x="193" y="217"/>
                </a:cubicBezTo>
                <a:cubicBezTo>
                  <a:pt x="193" y="217"/>
                  <a:pt x="193" y="217"/>
                  <a:pt x="193" y="217"/>
                </a:cubicBezTo>
                <a:cubicBezTo>
                  <a:pt x="192" y="217"/>
                  <a:pt x="192" y="217"/>
                  <a:pt x="192" y="217"/>
                </a:cubicBezTo>
                <a:cubicBezTo>
                  <a:pt x="191" y="218"/>
                  <a:pt x="191" y="218"/>
                  <a:pt x="191" y="218"/>
                </a:cubicBezTo>
                <a:cubicBezTo>
                  <a:pt x="191" y="217"/>
                  <a:pt x="191" y="217"/>
                  <a:pt x="191" y="217"/>
                </a:cubicBezTo>
                <a:cubicBezTo>
                  <a:pt x="189" y="215"/>
                  <a:pt x="189" y="215"/>
                  <a:pt x="189" y="215"/>
                </a:cubicBezTo>
                <a:cubicBezTo>
                  <a:pt x="188" y="214"/>
                  <a:pt x="188" y="214"/>
                  <a:pt x="188" y="214"/>
                </a:cubicBezTo>
                <a:cubicBezTo>
                  <a:pt x="188" y="213"/>
                  <a:pt x="188" y="213"/>
                  <a:pt x="188" y="213"/>
                </a:cubicBezTo>
                <a:cubicBezTo>
                  <a:pt x="187" y="214"/>
                  <a:pt x="187" y="214"/>
                  <a:pt x="187" y="214"/>
                </a:cubicBezTo>
                <a:cubicBezTo>
                  <a:pt x="186" y="214"/>
                  <a:pt x="186" y="214"/>
                  <a:pt x="186" y="214"/>
                </a:cubicBezTo>
                <a:cubicBezTo>
                  <a:pt x="185" y="213"/>
                  <a:pt x="185" y="213"/>
                  <a:pt x="185" y="213"/>
                </a:cubicBezTo>
                <a:cubicBezTo>
                  <a:pt x="185" y="214"/>
                  <a:pt x="185" y="214"/>
                  <a:pt x="185" y="214"/>
                </a:cubicBezTo>
                <a:cubicBezTo>
                  <a:pt x="184" y="214"/>
                  <a:pt x="184" y="214"/>
                  <a:pt x="184" y="214"/>
                </a:cubicBezTo>
                <a:cubicBezTo>
                  <a:pt x="183" y="214"/>
                  <a:pt x="183" y="214"/>
                  <a:pt x="183" y="214"/>
                </a:cubicBezTo>
                <a:cubicBezTo>
                  <a:pt x="182" y="213"/>
                  <a:pt x="182" y="213"/>
                  <a:pt x="182" y="213"/>
                </a:cubicBezTo>
                <a:cubicBezTo>
                  <a:pt x="182" y="212"/>
                  <a:pt x="182" y="212"/>
                  <a:pt x="182" y="212"/>
                </a:cubicBezTo>
                <a:cubicBezTo>
                  <a:pt x="181" y="211"/>
                  <a:pt x="181" y="211"/>
                  <a:pt x="181" y="211"/>
                </a:cubicBezTo>
                <a:cubicBezTo>
                  <a:pt x="181" y="210"/>
                  <a:pt x="181" y="210"/>
                  <a:pt x="181" y="210"/>
                </a:cubicBezTo>
                <a:cubicBezTo>
                  <a:pt x="180" y="210"/>
                  <a:pt x="180" y="210"/>
                  <a:pt x="180" y="210"/>
                </a:cubicBezTo>
                <a:cubicBezTo>
                  <a:pt x="180" y="208"/>
                  <a:pt x="180" y="208"/>
                  <a:pt x="180" y="208"/>
                </a:cubicBezTo>
                <a:cubicBezTo>
                  <a:pt x="179" y="207"/>
                  <a:pt x="179" y="207"/>
                  <a:pt x="179" y="207"/>
                </a:cubicBezTo>
                <a:cubicBezTo>
                  <a:pt x="179" y="208"/>
                  <a:pt x="179" y="208"/>
                  <a:pt x="179" y="208"/>
                </a:cubicBezTo>
                <a:cubicBezTo>
                  <a:pt x="179" y="209"/>
                  <a:pt x="179" y="209"/>
                  <a:pt x="179" y="209"/>
                </a:cubicBezTo>
                <a:cubicBezTo>
                  <a:pt x="179" y="210"/>
                  <a:pt x="179" y="210"/>
                  <a:pt x="179" y="210"/>
                </a:cubicBezTo>
                <a:cubicBezTo>
                  <a:pt x="178" y="210"/>
                  <a:pt x="178" y="210"/>
                  <a:pt x="178" y="210"/>
                </a:cubicBezTo>
                <a:cubicBezTo>
                  <a:pt x="178" y="211"/>
                  <a:pt x="178" y="211"/>
                  <a:pt x="178" y="211"/>
                </a:cubicBezTo>
                <a:cubicBezTo>
                  <a:pt x="179" y="211"/>
                  <a:pt x="179" y="211"/>
                  <a:pt x="179" y="211"/>
                </a:cubicBezTo>
                <a:cubicBezTo>
                  <a:pt x="179" y="211"/>
                  <a:pt x="179" y="211"/>
                  <a:pt x="179" y="211"/>
                </a:cubicBezTo>
                <a:cubicBezTo>
                  <a:pt x="180" y="212"/>
                  <a:pt x="180" y="212"/>
                  <a:pt x="180" y="212"/>
                </a:cubicBezTo>
                <a:cubicBezTo>
                  <a:pt x="181" y="213"/>
                  <a:pt x="181" y="213"/>
                  <a:pt x="181" y="213"/>
                </a:cubicBezTo>
                <a:cubicBezTo>
                  <a:pt x="180" y="214"/>
                  <a:pt x="180" y="214"/>
                  <a:pt x="180" y="214"/>
                </a:cubicBezTo>
                <a:cubicBezTo>
                  <a:pt x="179" y="214"/>
                  <a:pt x="179" y="214"/>
                  <a:pt x="179" y="214"/>
                </a:cubicBezTo>
                <a:cubicBezTo>
                  <a:pt x="179" y="214"/>
                  <a:pt x="179" y="214"/>
                  <a:pt x="179" y="214"/>
                </a:cubicBezTo>
                <a:cubicBezTo>
                  <a:pt x="178" y="215"/>
                  <a:pt x="178" y="215"/>
                  <a:pt x="178" y="215"/>
                </a:cubicBezTo>
                <a:cubicBezTo>
                  <a:pt x="177" y="214"/>
                  <a:pt x="177" y="214"/>
                  <a:pt x="177" y="214"/>
                </a:cubicBezTo>
                <a:cubicBezTo>
                  <a:pt x="177" y="215"/>
                  <a:pt x="177" y="215"/>
                  <a:pt x="177" y="215"/>
                </a:cubicBezTo>
                <a:cubicBezTo>
                  <a:pt x="178" y="215"/>
                  <a:pt x="178" y="215"/>
                  <a:pt x="178" y="215"/>
                </a:cubicBezTo>
                <a:cubicBezTo>
                  <a:pt x="179" y="215"/>
                  <a:pt x="179" y="215"/>
                  <a:pt x="179" y="215"/>
                </a:cubicBezTo>
                <a:cubicBezTo>
                  <a:pt x="180" y="214"/>
                  <a:pt x="180" y="214"/>
                  <a:pt x="180" y="214"/>
                </a:cubicBezTo>
                <a:cubicBezTo>
                  <a:pt x="181" y="214"/>
                  <a:pt x="181" y="214"/>
                  <a:pt x="181" y="214"/>
                </a:cubicBezTo>
                <a:cubicBezTo>
                  <a:pt x="182" y="214"/>
                  <a:pt x="182" y="214"/>
                  <a:pt x="182" y="214"/>
                </a:cubicBezTo>
                <a:cubicBezTo>
                  <a:pt x="182" y="214"/>
                  <a:pt x="182" y="214"/>
                  <a:pt x="182" y="214"/>
                </a:cubicBezTo>
                <a:cubicBezTo>
                  <a:pt x="182" y="215"/>
                  <a:pt x="182" y="215"/>
                  <a:pt x="182" y="215"/>
                </a:cubicBezTo>
                <a:cubicBezTo>
                  <a:pt x="183" y="215"/>
                  <a:pt x="183" y="215"/>
                  <a:pt x="183" y="215"/>
                </a:cubicBezTo>
                <a:cubicBezTo>
                  <a:pt x="184" y="215"/>
                  <a:pt x="184" y="215"/>
                  <a:pt x="184" y="215"/>
                </a:cubicBezTo>
                <a:cubicBezTo>
                  <a:pt x="184" y="215"/>
                  <a:pt x="184" y="215"/>
                  <a:pt x="184" y="215"/>
                </a:cubicBezTo>
                <a:cubicBezTo>
                  <a:pt x="187" y="216"/>
                  <a:pt x="187" y="216"/>
                  <a:pt x="187" y="216"/>
                </a:cubicBezTo>
                <a:cubicBezTo>
                  <a:pt x="188" y="216"/>
                  <a:pt x="188" y="216"/>
                  <a:pt x="188" y="216"/>
                </a:cubicBezTo>
                <a:cubicBezTo>
                  <a:pt x="189" y="216"/>
                  <a:pt x="189" y="216"/>
                  <a:pt x="189" y="216"/>
                </a:cubicBezTo>
                <a:cubicBezTo>
                  <a:pt x="189" y="217"/>
                  <a:pt x="189" y="217"/>
                  <a:pt x="189" y="217"/>
                </a:cubicBezTo>
                <a:cubicBezTo>
                  <a:pt x="190" y="218"/>
                  <a:pt x="190" y="218"/>
                  <a:pt x="190" y="218"/>
                </a:cubicBezTo>
                <a:cubicBezTo>
                  <a:pt x="189" y="219"/>
                  <a:pt x="189" y="219"/>
                  <a:pt x="189" y="219"/>
                </a:cubicBezTo>
                <a:cubicBezTo>
                  <a:pt x="188" y="220"/>
                  <a:pt x="188" y="220"/>
                  <a:pt x="188" y="220"/>
                </a:cubicBezTo>
                <a:cubicBezTo>
                  <a:pt x="188" y="221"/>
                  <a:pt x="188" y="221"/>
                  <a:pt x="188" y="221"/>
                </a:cubicBezTo>
                <a:cubicBezTo>
                  <a:pt x="187" y="221"/>
                  <a:pt x="187" y="221"/>
                  <a:pt x="187" y="221"/>
                </a:cubicBezTo>
                <a:cubicBezTo>
                  <a:pt x="186" y="221"/>
                  <a:pt x="186" y="221"/>
                  <a:pt x="186" y="221"/>
                </a:cubicBezTo>
                <a:cubicBezTo>
                  <a:pt x="183" y="222"/>
                  <a:pt x="183" y="222"/>
                  <a:pt x="183" y="222"/>
                </a:cubicBezTo>
                <a:cubicBezTo>
                  <a:pt x="182" y="222"/>
                  <a:pt x="182" y="222"/>
                  <a:pt x="182" y="222"/>
                </a:cubicBezTo>
                <a:cubicBezTo>
                  <a:pt x="180" y="223"/>
                  <a:pt x="180" y="223"/>
                  <a:pt x="180" y="223"/>
                </a:cubicBezTo>
                <a:cubicBezTo>
                  <a:pt x="180" y="222"/>
                  <a:pt x="180" y="222"/>
                  <a:pt x="180" y="222"/>
                </a:cubicBezTo>
                <a:cubicBezTo>
                  <a:pt x="179" y="221"/>
                  <a:pt x="179" y="221"/>
                  <a:pt x="179" y="221"/>
                </a:cubicBezTo>
                <a:cubicBezTo>
                  <a:pt x="179" y="220"/>
                  <a:pt x="179" y="220"/>
                  <a:pt x="179" y="220"/>
                </a:cubicBezTo>
                <a:cubicBezTo>
                  <a:pt x="179" y="220"/>
                  <a:pt x="179" y="220"/>
                  <a:pt x="179" y="220"/>
                </a:cubicBezTo>
                <a:cubicBezTo>
                  <a:pt x="178" y="220"/>
                  <a:pt x="178" y="220"/>
                  <a:pt x="178" y="220"/>
                </a:cubicBezTo>
                <a:cubicBezTo>
                  <a:pt x="178" y="221"/>
                  <a:pt x="178" y="221"/>
                  <a:pt x="178" y="221"/>
                </a:cubicBezTo>
                <a:cubicBezTo>
                  <a:pt x="178" y="221"/>
                  <a:pt x="178" y="221"/>
                  <a:pt x="178" y="221"/>
                </a:cubicBezTo>
                <a:cubicBezTo>
                  <a:pt x="178" y="222"/>
                  <a:pt x="178" y="222"/>
                  <a:pt x="178" y="222"/>
                </a:cubicBezTo>
                <a:cubicBezTo>
                  <a:pt x="178" y="222"/>
                  <a:pt x="178" y="222"/>
                  <a:pt x="178" y="222"/>
                </a:cubicBezTo>
                <a:cubicBezTo>
                  <a:pt x="177" y="222"/>
                  <a:pt x="177" y="222"/>
                  <a:pt x="177" y="222"/>
                </a:cubicBezTo>
                <a:cubicBezTo>
                  <a:pt x="177" y="222"/>
                  <a:pt x="177" y="222"/>
                  <a:pt x="177" y="222"/>
                </a:cubicBezTo>
                <a:cubicBezTo>
                  <a:pt x="177" y="222"/>
                  <a:pt x="177" y="222"/>
                  <a:pt x="177" y="222"/>
                </a:cubicBezTo>
                <a:cubicBezTo>
                  <a:pt x="176" y="222"/>
                  <a:pt x="176" y="222"/>
                  <a:pt x="176" y="222"/>
                </a:cubicBezTo>
                <a:cubicBezTo>
                  <a:pt x="176" y="223"/>
                  <a:pt x="176" y="223"/>
                  <a:pt x="176" y="223"/>
                </a:cubicBezTo>
                <a:cubicBezTo>
                  <a:pt x="177" y="223"/>
                  <a:pt x="177" y="223"/>
                  <a:pt x="177" y="223"/>
                </a:cubicBezTo>
                <a:cubicBezTo>
                  <a:pt x="177" y="223"/>
                  <a:pt x="177" y="223"/>
                  <a:pt x="177" y="223"/>
                </a:cubicBezTo>
                <a:cubicBezTo>
                  <a:pt x="178" y="224"/>
                  <a:pt x="178" y="224"/>
                  <a:pt x="178" y="224"/>
                </a:cubicBezTo>
                <a:cubicBezTo>
                  <a:pt x="177" y="225"/>
                  <a:pt x="177" y="225"/>
                  <a:pt x="177" y="225"/>
                </a:cubicBezTo>
                <a:cubicBezTo>
                  <a:pt x="177" y="225"/>
                  <a:pt x="177" y="225"/>
                  <a:pt x="177" y="225"/>
                </a:cubicBezTo>
                <a:cubicBezTo>
                  <a:pt x="176" y="225"/>
                  <a:pt x="176" y="225"/>
                  <a:pt x="176" y="225"/>
                </a:cubicBezTo>
                <a:cubicBezTo>
                  <a:pt x="176" y="226"/>
                  <a:pt x="176" y="226"/>
                  <a:pt x="176" y="226"/>
                </a:cubicBezTo>
                <a:cubicBezTo>
                  <a:pt x="175" y="226"/>
                  <a:pt x="175" y="226"/>
                  <a:pt x="175" y="226"/>
                </a:cubicBezTo>
                <a:cubicBezTo>
                  <a:pt x="175" y="227"/>
                  <a:pt x="175" y="227"/>
                  <a:pt x="175" y="227"/>
                </a:cubicBezTo>
                <a:cubicBezTo>
                  <a:pt x="173" y="228"/>
                  <a:pt x="173" y="228"/>
                  <a:pt x="173" y="228"/>
                </a:cubicBezTo>
                <a:cubicBezTo>
                  <a:pt x="171" y="228"/>
                  <a:pt x="171" y="228"/>
                  <a:pt x="171" y="228"/>
                </a:cubicBezTo>
                <a:cubicBezTo>
                  <a:pt x="171" y="228"/>
                  <a:pt x="171" y="228"/>
                  <a:pt x="171" y="228"/>
                </a:cubicBezTo>
                <a:cubicBezTo>
                  <a:pt x="170" y="229"/>
                  <a:pt x="170" y="229"/>
                  <a:pt x="170" y="229"/>
                </a:cubicBezTo>
                <a:cubicBezTo>
                  <a:pt x="169" y="229"/>
                  <a:pt x="169" y="229"/>
                  <a:pt x="169" y="229"/>
                </a:cubicBezTo>
                <a:cubicBezTo>
                  <a:pt x="170" y="230"/>
                  <a:pt x="170" y="230"/>
                  <a:pt x="170" y="230"/>
                </a:cubicBezTo>
                <a:cubicBezTo>
                  <a:pt x="172" y="229"/>
                  <a:pt x="172" y="229"/>
                  <a:pt x="172" y="229"/>
                </a:cubicBezTo>
                <a:cubicBezTo>
                  <a:pt x="173" y="229"/>
                  <a:pt x="173" y="229"/>
                  <a:pt x="173" y="229"/>
                </a:cubicBezTo>
                <a:cubicBezTo>
                  <a:pt x="174" y="228"/>
                  <a:pt x="174" y="228"/>
                  <a:pt x="174" y="228"/>
                </a:cubicBezTo>
                <a:cubicBezTo>
                  <a:pt x="175" y="229"/>
                  <a:pt x="175" y="229"/>
                  <a:pt x="175" y="229"/>
                </a:cubicBezTo>
                <a:cubicBezTo>
                  <a:pt x="175" y="229"/>
                  <a:pt x="175" y="229"/>
                  <a:pt x="175" y="229"/>
                </a:cubicBezTo>
                <a:cubicBezTo>
                  <a:pt x="176" y="230"/>
                  <a:pt x="176" y="230"/>
                  <a:pt x="176" y="230"/>
                </a:cubicBezTo>
                <a:cubicBezTo>
                  <a:pt x="178" y="230"/>
                  <a:pt x="178" y="230"/>
                  <a:pt x="178" y="230"/>
                </a:cubicBezTo>
                <a:cubicBezTo>
                  <a:pt x="179" y="229"/>
                  <a:pt x="179" y="229"/>
                  <a:pt x="179" y="229"/>
                </a:cubicBezTo>
                <a:cubicBezTo>
                  <a:pt x="181" y="229"/>
                  <a:pt x="181" y="229"/>
                  <a:pt x="181" y="229"/>
                </a:cubicBezTo>
                <a:cubicBezTo>
                  <a:pt x="181" y="230"/>
                  <a:pt x="181" y="230"/>
                  <a:pt x="181" y="230"/>
                </a:cubicBezTo>
                <a:cubicBezTo>
                  <a:pt x="183" y="229"/>
                  <a:pt x="183" y="229"/>
                  <a:pt x="183" y="229"/>
                </a:cubicBezTo>
                <a:cubicBezTo>
                  <a:pt x="183" y="229"/>
                  <a:pt x="183" y="229"/>
                  <a:pt x="183" y="229"/>
                </a:cubicBezTo>
                <a:cubicBezTo>
                  <a:pt x="183" y="230"/>
                  <a:pt x="183" y="230"/>
                  <a:pt x="183" y="230"/>
                </a:cubicBezTo>
                <a:cubicBezTo>
                  <a:pt x="184" y="230"/>
                  <a:pt x="184" y="230"/>
                  <a:pt x="184" y="230"/>
                </a:cubicBezTo>
                <a:cubicBezTo>
                  <a:pt x="184" y="231"/>
                  <a:pt x="184" y="231"/>
                  <a:pt x="184" y="231"/>
                </a:cubicBezTo>
                <a:cubicBezTo>
                  <a:pt x="184" y="231"/>
                  <a:pt x="184" y="231"/>
                  <a:pt x="184" y="231"/>
                </a:cubicBezTo>
                <a:cubicBezTo>
                  <a:pt x="183" y="231"/>
                  <a:pt x="183" y="231"/>
                  <a:pt x="183" y="231"/>
                </a:cubicBezTo>
                <a:cubicBezTo>
                  <a:pt x="182" y="231"/>
                  <a:pt x="182" y="231"/>
                  <a:pt x="182" y="231"/>
                </a:cubicBezTo>
                <a:cubicBezTo>
                  <a:pt x="181" y="231"/>
                  <a:pt x="181" y="231"/>
                  <a:pt x="181" y="231"/>
                </a:cubicBezTo>
                <a:cubicBezTo>
                  <a:pt x="180" y="232"/>
                  <a:pt x="180" y="232"/>
                  <a:pt x="180" y="232"/>
                </a:cubicBezTo>
                <a:cubicBezTo>
                  <a:pt x="178" y="232"/>
                  <a:pt x="178" y="232"/>
                  <a:pt x="178" y="232"/>
                </a:cubicBezTo>
                <a:cubicBezTo>
                  <a:pt x="177" y="233"/>
                  <a:pt x="177" y="233"/>
                  <a:pt x="177" y="233"/>
                </a:cubicBezTo>
                <a:cubicBezTo>
                  <a:pt x="177" y="232"/>
                  <a:pt x="177" y="232"/>
                  <a:pt x="177" y="232"/>
                </a:cubicBezTo>
                <a:cubicBezTo>
                  <a:pt x="176" y="232"/>
                  <a:pt x="176" y="232"/>
                  <a:pt x="176" y="232"/>
                </a:cubicBezTo>
                <a:cubicBezTo>
                  <a:pt x="175" y="232"/>
                  <a:pt x="175" y="232"/>
                  <a:pt x="175" y="232"/>
                </a:cubicBezTo>
                <a:cubicBezTo>
                  <a:pt x="174" y="233"/>
                  <a:pt x="174" y="233"/>
                  <a:pt x="174" y="233"/>
                </a:cubicBezTo>
                <a:cubicBezTo>
                  <a:pt x="175" y="233"/>
                  <a:pt x="175" y="233"/>
                  <a:pt x="175" y="233"/>
                </a:cubicBezTo>
                <a:cubicBezTo>
                  <a:pt x="175" y="233"/>
                  <a:pt x="175" y="233"/>
                  <a:pt x="175" y="233"/>
                </a:cubicBezTo>
                <a:cubicBezTo>
                  <a:pt x="176" y="233"/>
                  <a:pt x="176" y="233"/>
                  <a:pt x="176" y="233"/>
                </a:cubicBezTo>
                <a:cubicBezTo>
                  <a:pt x="178" y="233"/>
                  <a:pt x="178" y="233"/>
                  <a:pt x="178" y="233"/>
                </a:cubicBezTo>
                <a:cubicBezTo>
                  <a:pt x="179" y="234"/>
                  <a:pt x="179" y="234"/>
                  <a:pt x="179" y="234"/>
                </a:cubicBezTo>
                <a:cubicBezTo>
                  <a:pt x="179" y="234"/>
                  <a:pt x="179" y="234"/>
                  <a:pt x="179" y="234"/>
                </a:cubicBezTo>
                <a:cubicBezTo>
                  <a:pt x="180" y="234"/>
                  <a:pt x="180" y="234"/>
                  <a:pt x="180" y="234"/>
                </a:cubicBezTo>
                <a:cubicBezTo>
                  <a:pt x="181" y="232"/>
                  <a:pt x="181" y="232"/>
                  <a:pt x="181" y="232"/>
                </a:cubicBezTo>
                <a:cubicBezTo>
                  <a:pt x="181" y="232"/>
                  <a:pt x="182" y="232"/>
                  <a:pt x="182" y="232"/>
                </a:cubicBezTo>
                <a:cubicBezTo>
                  <a:pt x="182" y="232"/>
                  <a:pt x="183" y="232"/>
                  <a:pt x="183" y="232"/>
                </a:cubicBezTo>
                <a:cubicBezTo>
                  <a:pt x="183" y="232"/>
                  <a:pt x="183" y="232"/>
                  <a:pt x="183" y="232"/>
                </a:cubicBezTo>
                <a:cubicBezTo>
                  <a:pt x="184" y="233"/>
                  <a:pt x="184" y="233"/>
                  <a:pt x="184" y="233"/>
                </a:cubicBezTo>
                <a:cubicBezTo>
                  <a:pt x="185" y="232"/>
                  <a:pt x="185" y="232"/>
                  <a:pt x="185" y="232"/>
                </a:cubicBezTo>
                <a:cubicBezTo>
                  <a:pt x="186" y="232"/>
                  <a:pt x="186" y="232"/>
                  <a:pt x="186" y="232"/>
                </a:cubicBezTo>
                <a:cubicBezTo>
                  <a:pt x="187" y="232"/>
                  <a:pt x="187" y="232"/>
                  <a:pt x="187" y="232"/>
                </a:cubicBezTo>
                <a:cubicBezTo>
                  <a:pt x="189" y="231"/>
                  <a:pt x="189" y="231"/>
                  <a:pt x="189" y="231"/>
                </a:cubicBezTo>
                <a:cubicBezTo>
                  <a:pt x="190" y="230"/>
                  <a:pt x="190" y="230"/>
                  <a:pt x="190" y="230"/>
                </a:cubicBezTo>
                <a:cubicBezTo>
                  <a:pt x="190" y="230"/>
                  <a:pt x="190" y="230"/>
                  <a:pt x="190" y="230"/>
                </a:cubicBezTo>
                <a:cubicBezTo>
                  <a:pt x="189" y="231"/>
                  <a:pt x="189" y="231"/>
                  <a:pt x="189" y="231"/>
                </a:cubicBezTo>
                <a:cubicBezTo>
                  <a:pt x="190" y="231"/>
                  <a:pt x="190" y="231"/>
                  <a:pt x="190" y="231"/>
                </a:cubicBezTo>
                <a:cubicBezTo>
                  <a:pt x="191" y="230"/>
                  <a:pt x="191" y="230"/>
                  <a:pt x="191" y="230"/>
                </a:cubicBezTo>
                <a:cubicBezTo>
                  <a:pt x="191" y="230"/>
                  <a:pt x="191" y="230"/>
                  <a:pt x="191" y="230"/>
                </a:cubicBezTo>
                <a:cubicBezTo>
                  <a:pt x="191" y="231"/>
                  <a:pt x="191" y="231"/>
                  <a:pt x="191" y="231"/>
                </a:cubicBezTo>
                <a:cubicBezTo>
                  <a:pt x="193" y="232"/>
                  <a:pt x="193" y="232"/>
                  <a:pt x="193" y="232"/>
                </a:cubicBezTo>
                <a:cubicBezTo>
                  <a:pt x="195" y="233"/>
                  <a:pt x="195" y="233"/>
                  <a:pt x="195" y="233"/>
                </a:cubicBezTo>
                <a:cubicBezTo>
                  <a:pt x="196" y="233"/>
                  <a:pt x="196" y="233"/>
                  <a:pt x="196" y="233"/>
                </a:cubicBezTo>
                <a:cubicBezTo>
                  <a:pt x="198" y="234"/>
                  <a:pt x="198" y="234"/>
                  <a:pt x="198" y="234"/>
                </a:cubicBezTo>
                <a:cubicBezTo>
                  <a:pt x="199" y="234"/>
                  <a:pt x="199" y="234"/>
                  <a:pt x="199" y="234"/>
                </a:cubicBezTo>
                <a:cubicBezTo>
                  <a:pt x="200" y="234"/>
                  <a:pt x="200" y="234"/>
                  <a:pt x="200" y="234"/>
                </a:cubicBezTo>
                <a:cubicBezTo>
                  <a:pt x="201" y="234"/>
                  <a:pt x="201" y="234"/>
                  <a:pt x="201" y="234"/>
                </a:cubicBezTo>
                <a:cubicBezTo>
                  <a:pt x="202" y="234"/>
                  <a:pt x="202" y="234"/>
                  <a:pt x="202" y="234"/>
                </a:cubicBezTo>
                <a:cubicBezTo>
                  <a:pt x="204" y="233"/>
                  <a:pt x="204" y="233"/>
                  <a:pt x="204" y="233"/>
                </a:cubicBezTo>
                <a:cubicBezTo>
                  <a:pt x="204" y="234"/>
                  <a:pt x="204" y="234"/>
                  <a:pt x="204" y="234"/>
                </a:cubicBezTo>
                <a:cubicBezTo>
                  <a:pt x="203" y="235"/>
                  <a:pt x="203" y="235"/>
                  <a:pt x="203" y="235"/>
                </a:cubicBezTo>
                <a:cubicBezTo>
                  <a:pt x="202" y="236"/>
                  <a:pt x="202" y="236"/>
                  <a:pt x="202" y="236"/>
                </a:cubicBezTo>
                <a:cubicBezTo>
                  <a:pt x="201" y="236"/>
                  <a:pt x="201" y="236"/>
                  <a:pt x="201" y="236"/>
                </a:cubicBezTo>
                <a:cubicBezTo>
                  <a:pt x="200" y="236"/>
                  <a:pt x="200" y="236"/>
                  <a:pt x="200" y="236"/>
                </a:cubicBezTo>
                <a:cubicBezTo>
                  <a:pt x="199" y="236"/>
                  <a:pt x="199" y="236"/>
                  <a:pt x="199" y="236"/>
                </a:cubicBezTo>
                <a:cubicBezTo>
                  <a:pt x="199" y="237"/>
                  <a:pt x="199" y="237"/>
                  <a:pt x="199" y="237"/>
                </a:cubicBezTo>
                <a:cubicBezTo>
                  <a:pt x="200" y="237"/>
                  <a:pt x="200" y="237"/>
                  <a:pt x="200" y="237"/>
                </a:cubicBezTo>
                <a:cubicBezTo>
                  <a:pt x="200" y="238"/>
                  <a:pt x="200" y="238"/>
                  <a:pt x="200" y="238"/>
                </a:cubicBezTo>
                <a:cubicBezTo>
                  <a:pt x="200" y="238"/>
                  <a:pt x="200" y="238"/>
                  <a:pt x="200" y="238"/>
                </a:cubicBezTo>
                <a:cubicBezTo>
                  <a:pt x="199" y="238"/>
                  <a:pt x="199" y="238"/>
                  <a:pt x="199" y="238"/>
                </a:cubicBezTo>
                <a:cubicBezTo>
                  <a:pt x="199" y="238"/>
                  <a:pt x="199" y="238"/>
                  <a:pt x="199" y="238"/>
                </a:cubicBezTo>
                <a:cubicBezTo>
                  <a:pt x="198" y="237"/>
                  <a:pt x="198" y="237"/>
                  <a:pt x="198" y="237"/>
                </a:cubicBezTo>
                <a:cubicBezTo>
                  <a:pt x="198" y="238"/>
                  <a:pt x="198" y="238"/>
                  <a:pt x="198" y="238"/>
                </a:cubicBezTo>
                <a:cubicBezTo>
                  <a:pt x="198" y="239"/>
                  <a:pt x="198" y="239"/>
                  <a:pt x="198" y="239"/>
                </a:cubicBezTo>
                <a:cubicBezTo>
                  <a:pt x="197" y="238"/>
                  <a:pt x="197" y="238"/>
                  <a:pt x="197" y="238"/>
                </a:cubicBezTo>
                <a:cubicBezTo>
                  <a:pt x="196" y="238"/>
                  <a:pt x="196" y="238"/>
                  <a:pt x="196" y="238"/>
                </a:cubicBezTo>
                <a:cubicBezTo>
                  <a:pt x="196" y="239"/>
                  <a:pt x="196" y="239"/>
                  <a:pt x="196" y="239"/>
                </a:cubicBezTo>
                <a:cubicBezTo>
                  <a:pt x="196" y="239"/>
                  <a:pt x="196" y="239"/>
                  <a:pt x="196" y="239"/>
                </a:cubicBezTo>
                <a:cubicBezTo>
                  <a:pt x="196" y="239"/>
                  <a:pt x="196" y="239"/>
                  <a:pt x="196" y="239"/>
                </a:cubicBezTo>
                <a:cubicBezTo>
                  <a:pt x="196" y="240"/>
                  <a:pt x="196" y="240"/>
                  <a:pt x="196" y="240"/>
                </a:cubicBezTo>
                <a:cubicBezTo>
                  <a:pt x="195" y="241"/>
                  <a:pt x="195" y="241"/>
                  <a:pt x="195" y="241"/>
                </a:cubicBezTo>
                <a:cubicBezTo>
                  <a:pt x="195" y="241"/>
                  <a:pt x="195" y="241"/>
                  <a:pt x="195" y="241"/>
                </a:cubicBezTo>
                <a:cubicBezTo>
                  <a:pt x="194" y="240"/>
                  <a:pt x="194" y="240"/>
                  <a:pt x="194" y="240"/>
                </a:cubicBezTo>
                <a:cubicBezTo>
                  <a:pt x="194" y="240"/>
                  <a:pt x="194" y="240"/>
                  <a:pt x="194" y="240"/>
                </a:cubicBezTo>
                <a:cubicBezTo>
                  <a:pt x="193" y="240"/>
                  <a:pt x="193" y="240"/>
                  <a:pt x="193" y="240"/>
                </a:cubicBezTo>
                <a:cubicBezTo>
                  <a:pt x="194" y="241"/>
                  <a:pt x="194" y="241"/>
                  <a:pt x="194" y="241"/>
                </a:cubicBezTo>
                <a:cubicBezTo>
                  <a:pt x="194" y="242"/>
                  <a:pt x="194" y="242"/>
                  <a:pt x="194" y="242"/>
                </a:cubicBezTo>
                <a:cubicBezTo>
                  <a:pt x="193" y="242"/>
                  <a:pt x="193" y="242"/>
                  <a:pt x="193" y="242"/>
                </a:cubicBezTo>
                <a:cubicBezTo>
                  <a:pt x="192" y="242"/>
                  <a:pt x="192" y="242"/>
                  <a:pt x="192" y="242"/>
                </a:cubicBezTo>
                <a:cubicBezTo>
                  <a:pt x="192" y="243"/>
                  <a:pt x="192" y="243"/>
                  <a:pt x="192" y="243"/>
                </a:cubicBezTo>
                <a:cubicBezTo>
                  <a:pt x="191" y="242"/>
                  <a:pt x="191" y="242"/>
                  <a:pt x="191" y="242"/>
                </a:cubicBezTo>
                <a:cubicBezTo>
                  <a:pt x="191" y="242"/>
                  <a:pt x="191" y="242"/>
                  <a:pt x="191" y="242"/>
                </a:cubicBezTo>
                <a:cubicBezTo>
                  <a:pt x="190" y="242"/>
                  <a:pt x="190" y="242"/>
                  <a:pt x="190" y="242"/>
                </a:cubicBezTo>
                <a:cubicBezTo>
                  <a:pt x="190" y="243"/>
                  <a:pt x="190" y="243"/>
                  <a:pt x="190" y="243"/>
                </a:cubicBezTo>
                <a:cubicBezTo>
                  <a:pt x="191" y="243"/>
                  <a:pt x="191" y="243"/>
                  <a:pt x="191" y="243"/>
                </a:cubicBezTo>
                <a:cubicBezTo>
                  <a:pt x="190" y="244"/>
                  <a:pt x="190" y="244"/>
                  <a:pt x="190" y="244"/>
                </a:cubicBezTo>
                <a:cubicBezTo>
                  <a:pt x="189" y="244"/>
                  <a:pt x="189" y="244"/>
                  <a:pt x="189" y="244"/>
                </a:cubicBezTo>
                <a:cubicBezTo>
                  <a:pt x="189" y="243"/>
                  <a:pt x="189" y="243"/>
                  <a:pt x="189" y="243"/>
                </a:cubicBezTo>
                <a:cubicBezTo>
                  <a:pt x="188" y="244"/>
                  <a:pt x="188" y="244"/>
                  <a:pt x="188" y="244"/>
                </a:cubicBezTo>
                <a:cubicBezTo>
                  <a:pt x="188" y="244"/>
                  <a:pt x="188" y="244"/>
                  <a:pt x="188" y="244"/>
                </a:cubicBezTo>
                <a:cubicBezTo>
                  <a:pt x="189" y="245"/>
                  <a:pt x="189" y="245"/>
                  <a:pt x="189" y="245"/>
                </a:cubicBezTo>
                <a:cubicBezTo>
                  <a:pt x="189" y="246"/>
                  <a:pt x="189" y="246"/>
                  <a:pt x="189" y="246"/>
                </a:cubicBezTo>
                <a:cubicBezTo>
                  <a:pt x="187" y="246"/>
                  <a:pt x="187" y="246"/>
                  <a:pt x="187" y="246"/>
                </a:cubicBezTo>
                <a:cubicBezTo>
                  <a:pt x="187" y="246"/>
                  <a:pt x="187" y="246"/>
                  <a:pt x="187" y="246"/>
                </a:cubicBezTo>
                <a:cubicBezTo>
                  <a:pt x="187" y="246"/>
                  <a:pt x="187" y="246"/>
                  <a:pt x="187" y="246"/>
                </a:cubicBezTo>
                <a:cubicBezTo>
                  <a:pt x="186" y="245"/>
                  <a:pt x="186" y="245"/>
                  <a:pt x="186" y="245"/>
                </a:cubicBezTo>
                <a:cubicBezTo>
                  <a:pt x="185" y="245"/>
                  <a:pt x="185" y="245"/>
                  <a:pt x="185" y="245"/>
                </a:cubicBezTo>
                <a:cubicBezTo>
                  <a:pt x="185" y="246"/>
                  <a:pt x="185" y="246"/>
                  <a:pt x="185" y="246"/>
                </a:cubicBezTo>
                <a:cubicBezTo>
                  <a:pt x="186" y="247"/>
                  <a:pt x="186" y="247"/>
                  <a:pt x="186" y="247"/>
                </a:cubicBezTo>
                <a:cubicBezTo>
                  <a:pt x="186" y="247"/>
                  <a:pt x="186" y="247"/>
                  <a:pt x="186" y="247"/>
                </a:cubicBezTo>
                <a:cubicBezTo>
                  <a:pt x="185" y="248"/>
                  <a:pt x="185" y="248"/>
                  <a:pt x="185" y="248"/>
                </a:cubicBezTo>
                <a:cubicBezTo>
                  <a:pt x="184" y="248"/>
                  <a:pt x="184" y="248"/>
                  <a:pt x="184" y="248"/>
                </a:cubicBezTo>
                <a:cubicBezTo>
                  <a:pt x="184" y="248"/>
                  <a:pt x="184" y="248"/>
                  <a:pt x="184" y="248"/>
                </a:cubicBezTo>
                <a:cubicBezTo>
                  <a:pt x="182" y="249"/>
                  <a:pt x="182" y="249"/>
                  <a:pt x="182" y="249"/>
                </a:cubicBezTo>
                <a:cubicBezTo>
                  <a:pt x="182" y="249"/>
                  <a:pt x="182" y="249"/>
                  <a:pt x="182" y="249"/>
                </a:cubicBezTo>
                <a:cubicBezTo>
                  <a:pt x="181" y="250"/>
                  <a:pt x="181" y="250"/>
                  <a:pt x="181" y="250"/>
                </a:cubicBezTo>
                <a:cubicBezTo>
                  <a:pt x="181" y="250"/>
                  <a:pt x="181" y="250"/>
                  <a:pt x="181" y="250"/>
                </a:cubicBezTo>
                <a:cubicBezTo>
                  <a:pt x="180" y="249"/>
                  <a:pt x="180" y="249"/>
                  <a:pt x="180" y="249"/>
                </a:cubicBezTo>
                <a:cubicBezTo>
                  <a:pt x="180" y="249"/>
                  <a:pt x="180" y="249"/>
                  <a:pt x="180" y="249"/>
                </a:cubicBezTo>
                <a:cubicBezTo>
                  <a:pt x="179" y="250"/>
                  <a:pt x="179" y="250"/>
                  <a:pt x="179" y="250"/>
                </a:cubicBezTo>
                <a:cubicBezTo>
                  <a:pt x="178" y="250"/>
                  <a:pt x="178" y="250"/>
                  <a:pt x="178" y="250"/>
                </a:cubicBezTo>
                <a:cubicBezTo>
                  <a:pt x="177" y="250"/>
                  <a:pt x="177" y="250"/>
                  <a:pt x="177" y="250"/>
                </a:cubicBezTo>
                <a:cubicBezTo>
                  <a:pt x="177" y="251"/>
                  <a:pt x="177" y="251"/>
                  <a:pt x="177" y="251"/>
                </a:cubicBezTo>
                <a:cubicBezTo>
                  <a:pt x="176" y="251"/>
                  <a:pt x="176" y="251"/>
                  <a:pt x="176" y="251"/>
                </a:cubicBezTo>
                <a:cubicBezTo>
                  <a:pt x="176" y="251"/>
                  <a:pt x="176" y="251"/>
                  <a:pt x="176" y="251"/>
                </a:cubicBezTo>
                <a:cubicBezTo>
                  <a:pt x="175" y="250"/>
                  <a:pt x="175" y="250"/>
                  <a:pt x="175" y="250"/>
                </a:cubicBezTo>
                <a:cubicBezTo>
                  <a:pt x="175" y="250"/>
                  <a:pt x="175" y="250"/>
                  <a:pt x="175" y="250"/>
                </a:cubicBezTo>
                <a:cubicBezTo>
                  <a:pt x="174" y="252"/>
                  <a:pt x="174" y="252"/>
                  <a:pt x="174" y="252"/>
                </a:cubicBezTo>
                <a:cubicBezTo>
                  <a:pt x="174" y="251"/>
                  <a:pt x="174" y="251"/>
                  <a:pt x="174" y="251"/>
                </a:cubicBezTo>
                <a:cubicBezTo>
                  <a:pt x="173" y="251"/>
                  <a:pt x="173" y="251"/>
                  <a:pt x="173" y="251"/>
                </a:cubicBezTo>
                <a:cubicBezTo>
                  <a:pt x="173" y="251"/>
                  <a:pt x="173" y="251"/>
                  <a:pt x="173" y="251"/>
                </a:cubicBezTo>
                <a:cubicBezTo>
                  <a:pt x="173" y="251"/>
                  <a:pt x="173" y="251"/>
                  <a:pt x="173" y="251"/>
                </a:cubicBezTo>
                <a:cubicBezTo>
                  <a:pt x="172" y="252"/>
                  <a:pt x="172" y="252"/>
                  <a:pt x="172" y="252"/>
                </a:cubicBezTo>
                <a:cubicBezTo>
                  <a:pt x="171" y="252"/>
                  <a:pt x="171" y="252"/>
                  <a:pt x="171" y="252"/>
                </a:cubicBezTo>
                <a:cubicBezTo>
                  <a:pt x="171" y="251"/>
                  <a:pt x="171" y="251"/>
                  <a:pt x="171" y="251"/>
                </a:cubicBezTo>
                <a:cubicBezTo>
                  <a:pt x="171" y="251"/>
                  <a:pt x="171" y="251"/>
                  <a:pt x="171" y="251"/>
                </a:cubicBezTo>
                <a:cubicBezTo>
                  <a:pt x="171" y="252"/>
                  <a:pt x="171" y="252"/>
                  <a:pt x="171" y="252"/>
                </a:cubicBezTo>
                <a:cubicBezTo>
                  <a:pt x="171" y="252"/>
                  <a:pt x="171" y="252"/>
                  <a:pt x="171" y="252"/>
                </a:cubicBezTo>
                <a:cubicBezTo>
                  <a:pt x="170" y="252"/>
                  <a:pt x="170" y="252"/>
                  <a:pt x="170" y="252"/>
                </a:cubicBezTo>
                <a:cubicBezTo>
                  <a:pt x="169" y="252"/>
                  <a:pt x="169" y="252"/>
                  <a:pt x="169" y="252"/>
                </a:cubicBezTo>
                <a:cubicBezTo>
                  <a:pt x="169" y="253"/>
                  <a:pt x="169" y="253"/>
                  <a:pt x="169" y="253"/>
                </a:cubicBezTo>
                <a:cubicBezTo>
                  <a:pt x="169" y="253"/>
                  <a:pt x="169" y="253"/>
                  <a:pt x="169" y="253"/>
                </a:cubicBezTo>
                <a:cubicBezTo>
                  <a:pt x="168" y="253"/>
                  <a:pt x="168" y="253"/>
                  <a:pt x="168" y="253"/>
                </a:cubicBezTo>
                <a:cubicBezTo>
                  <a:pt x="168" y="253"/>
                  <a:pt x="168" y="253"/>
                  <a:pt x="168" y="253"/>
                </a:cubicBezTo>
                <a:cubicBezTo>
                  <a:pt x="167" y="253"/>
                  <a:pt x="167" y="253"/>
                  <a:pt x="167" y="253"/>
                </a:cubicBezTo>
                <a:cubicBezTo>
                  <a:pt x="167" y="254"/>
                  <a:pt x="167" y="254"/>
                  <a:pt x="167" y="254"/>
                </a:cubicBezTo>
                <a:cubicBezTo>
                  <a:pt x="167" y="254"/>
                  <a:pt x="167" y="254"/>
                  <a:pt x="167" y="254"/>
                </a:cubicBezTo>
                <a:cubicBezTo>
                  <a:pt x="166" y="253"/>
                  <a:pt x="166" y="253"/>
                  <a:pt x="166" y="253"/>
                </a:cubicBezTo>
                <a:cubicBezTo>
                  <a:pt x="166" y="253"/>
                  <a:pt x="166" y="253"/>
                  <a:pt x="166" y="253"/>
                </a:cubicBezTo>
                <a:cubicBezTo>
                  <a:pt x="166" y="254"/>
                  <a:pt x="166" y="254"/>
                  <a:pt x="166" y="254"/>
                </a:cubicBezTo>
                <a:cubicBezTo>
                  <a:pt x="165" y="255"/>
                  <a:pt x="165" y="255"/>
                  <a:pt x="165" y="255"/>
                </a:cubicBezTo>
                <a:cubicBezTo>
                  <a:pt x="165" y="255"/>
                  <a:pt x="165" y="255"/>
                  <a:pt x="165" y="255"/>
                </a:cubicBezTo>
                <a:cubicBezTo>
                  <a:pt x="164" y="255"/>
                  <a:pt x="164" y="255"/>
                  <a:pt x="164" y="255"/>
                </a:cubicBezTo>
                <a:cubicBezTo>
                  <a:pt x="164" y="255"/>
                  <a:pt x="164" y="255"/>
                  <a:pt x="164" y="255"/>
                </a:cubicBezTo>
                <a:cubicBezTo>
                  <a:pt x="163" y="253"/>
                  <a:pt x="163" y="253"/>
                  <a:pt x="163" y="253"/>
                </a:cubicBezTo>
                <a:cubicBezTo>
                  <a:pt x="162" y="253"/>
                  <a:pt x="162" y="253"/>
                  <a:pt x="162" y="253"/>
                </a:cubicBezTo>
                <a:cubicBezTo>
                  <a:pt x="161" y="253"/>
                  <a:pt x="161" y="253"/>
                  <a:pt x="161" y="253"/>
                </a:cubicBezTo>
                <a:cubicBezTo>
                  <a:pt x="161" y="254"/>
                  <a:pt x="161" y="254"/>
                  <a:pt x="161" y="254"/>
                </a:cubicBezTo>
                <a:cubicBezTo>
                  <a:pt x="161" y="254"/>
                  <a:pt x="161" y="254"/>
                  <a:pt x="161" y="254"/>
                </a:cubicBezTo>
                <a:cubicBezTo>
                  <a:pt x="161" y="255"/>
                  <a:pt x="161" y="255"/>
                  <a:pt x="161" y="255"/>
                </a:cubicBezTo>
                <a:cubicBezTo>
                  <a:pt x="160" y="255"/>
                  <a:pt x="160" y="255"/>
                  <a:pt x="160" y="255"/>
                </a:cubicBezTo>
                <a:cubicBezTo>
                  <a:pt x="159" y="255"/>
                  <a:pt x="159" y="255"/>
                  <a:pt x="159" y="255"/>
                </a:cubicBezTo>
                <a:cubicBezTo>
                  <a:pt x="159" y="255"/>
                  <a:pt x="159" y="255"/>
                  <a:pt x="159" y="255"/>
                </a:cubicBezTo>
                <a:cubicBezTo>
                  <a:pt x="158" y="255"/>
                  <a:pt x="158" y="255"/>
                  <a:pt x="158" y="255"/>
                </a:cubicBezTo>
                <a:cubicBezTo>
                  <a:pt x="157" y="256"/>
                  <a:pt x="157" y="256"/>
                  <a:pt x="157" y="256"/>
                </a:cubicBezTo>
                <a:cubicBezTo>
                  <a:pt x="157" y="255"/>
                  <a:pt x="157" y="255"/>
                  <a:pt x="157" y="255"/>
                </a:cubicBezTo>
                <a:cubicBezTo>
                  <a:pt x="156" y="255"/>
                  <a:pt x="156" y="255"/>
                  <a:pt x="156" y="255"/>
                </a:cubicBezTo>
                <a:cubicBezTo>
                  <a:pt x="155" y="255"/>
                  <a:pt x="155" y="255"/>
                  <a:pt x="155" y="255"/>
                </a:cubicBezTo>
                <a:cubicBezTo>
                  <a:pt x="155" y="255"/>
                  <a:pt x="155" y="255"/>
                  <a:pt x="155" y="255"/>
                </a:cubicBezTo>
                <a:cubicBezTo>
                  <a:pt x="155" y="256"/>
                  <a:pt x="155" y="256"/>
                  <a:pt x="155" y="256"/>
                </a:cubicBezTo>
                <a:cubicBezTo>
                  <a:pt x="154" y="256"/>
                  <a:pt x="154" y="256"/>
                  <a:pt x="154" y="256"/>
                </a:cubicBezTo>
                <a:cubicBezTo>
                  <a:pt x="153" y="255"/>
                  <a:pt x="153" y="255"/>
                  <a:pt x="153" y="255"/>
                </a:cubicBezTo>
                <a:cubicBezTo>
                  <a:pt x="153" y="254"/>
                  <a:pt x="153" y="254"/>
                  <a:pt x="153" y="254"/>
                </a:cubicBezTo>
                <a:cubicBezTo>
                  <a:pt x="153" y="253"/>
                  <a:pt x="153" y="253"/>
                  <a:pt x="153" y="253"/>
                </a:cubicBezTo>
                <a:cubicBezTo>
                  <a:pt x="153" y="253"/>
                  <a:pt x="153" y="253"/>
                  <a:pt x="153" y="253"/>
                </a:cubicBezTo>
                <a:cubicBezTo>
                  <a:pt x="152" y="253"/>
                  <a:pt x="152" y="253"/>
                  <a:pt x="152" y="253"/>
                </a:cubicBezTo>
                <a:cubicBezTo>
                  <a:pt x="151" y="251"/>
                  <a:pt x="151" y="251"/>
                  <a:pt x="151" y="251"/>
                </a:cubicBezTo>
                <a:cubicBezTo>
                  <a:pt x="151" y="250"/>
                  <a:pt x="151" y="250"/>
                  <a:pt x="151" y="250"/>
                </a:cubicBezTo>
                <a:cubicBezTo>
                  <a:pt x="151" y="250"/>
                  <a:pt x="151" y="250"/>
                  <a:pt x="151" y="250"/>
                </a:cubicBezTo>
                <a:cubicBezTo>
                  <a:pt x="151" y="248"/>
                  <a:pt x="151" y="248"/>
                  <a:pt x="151" y="248"/>
                </a:cubicBezTo>
                <a:cubicBezTo>
                  <a:pt x="150" y="248"/>
                  <a:pt x="150" y="248"/>
                  <a:pt x="150" y="248"/>
                </a:cubicBezTo>
                <a:cubicBezTo>
                  <a:pt x="150" y="248"/>
                  <a:pt x="150" y="248"/>
                  <a:pt x="150" y="248"/>
                </a:cubicBezTo>
                <a:cubicBezTo>
                  <a:pt x="150" y="249"/>
                  <a:pt x="150" y="249"/>
                  <a:pt x="150" y="249"/>
                </a:cubicBezTo>
                <a:cubicBezTo>
                  <a:pt x="150" y="250"/>
                  <a:pt x="150" y="250"/>
                  <a:pt x="150" y="250"/>
                </a:cubicBezTo>
                <a:cubicBezTo>
                  <a:pt x="150" y="251"/>
                  <a:pt x="150" y="251"/>
                  <a:pt x="150" y="251"/>
                </a:cubicBezTo>
                <a:cubicBezTo>
                  <a:pt x="151" y="251"/>
                  <a:pt x="151" y="251"/>
                  <a:pt x="151" y="251"/>
                </a:cubicBezTo>
                <a:cubicBezTo>
                  <a:pt x="151" y="252"/>
                  <a:pt x="151" y="252"/>
                  <a:pt x="151" y="252"/>
                </a:cubicBezTo>
                <a:cubicBezTo>
                  <a:pt x="151" y="253"/>
                  <a:pt x="151" y="253"/>
                  <a:pt x="151" y="253"/>
                </a:cubicBezTo>
                <a:cubicBezTo>
                  <a:pt x="151" y="254"/>
                  <a:pt x="151" y="254"/>
                  <a:pt x="151" y="254"/>
                </a:cubicBezTo>
                <a:cubicBezTo>
                  <a:pt x="151" y="254"/>
                  <a:pt x="151" y="254"/>
                  <a:pt x="151" y="254"/>
                </a:cubicBezTo>
                <a:cubicBezTo>
                  <a:pt x="152" y="254"/>
                  <a:pt x="152" y="254"/>
                  <a:pt x="152" y="254"/>
                </a:cubicBezTo>
                <a:cubicBezTo>
                  <a:pt x="152" y="256"/>
                  <a:pt x="152" y="256"/>
                  <a:pt x="152" y="256"/>
                </a:cubicBezTo>
                <a:cubicBezTo>
                  <a:pt x="152" y="257"/>
                  <a:pt x="152" y="257"/>
                  <a:pt x="152" y="257"/>
                </a:cubicBezTo>
                <a:cubicBezTo>
                  <a:pt x="151" y="258"/>
                  <a:pt x="151" y="258"/>
                  <a:pt x="151" y="258"/>
                </a:cubicBezTo>
                <a:cubicBezTo>
                  <a:pt x="150" y="258"/>
                  <a:pt x="150" y="258"/>
                  <a:pt x="150" y="258"/>
                </a:cubicBezTo>
                <a:cubicBezTo>
                  <a:pt x="150" y="258"/>
                  <a:pt x="150" y="258"/>
                  <a:pt x="150" y="258"/>
                </a:cubicBezTo>
                <a:cubicBezTo>
                  <a:pt x="149" y="258"/>
                  <a:pt x="149" y="258"/>
                  <a:pt x="149" y="258"/>
                </a:cubicBezTo>
                <a:cubicBezTo>
                  <a:pt x="149" y="258"/>
                  <a:pt x="149" y="258"/>
                  <a:pt x="149" y="258"/>
                </a:cubicBezTo>
                <a:cubicBezTo>
                  <a:pt x="148" y="260"/>
                  <a:pt x="148" y="260"/>
                  <a:pt x="148" y="260"/>
                </a:cubicBezTo>
                <a:cubicBezTo>
                  <a:pt x="147" y="260"/>
                  <a:pt x="147" y="260"/>
                  <a:pt x="147" y="260"/>
                </a:cubicBezTo>
                <a:cubicBezTo>
                  <a:pt x="146" y="260"/>
                  <a:pt x="146" y="260"/>
                  <a:pt x="146" y="260"/>
                </a:cubicBezTo>
                <a:cubicBezTo>
                  <a:pt x="146" y="260"/>
                  <a:pt x="146" y="260"/>
                  <a:pt x="146" y="260"/>
                </a:cubicBezTo>
                <a:cubicBezTo>
                  <a:pt x="146" y="260"/>
                  <a:pt x="146" y="260"/>
                  <a:pt x="146" y="260"/>
                </a:cubicBezTo>
                <a:cubicBezTo>
                  <a:pt x="146" y="261"/>
                  <a:pt x="146" y="261"/>
                  <a:pt x="146" y="261"/>
                </a:cubicBezTo>
                <a:cubicBezTo>
                  <a:pt x="145" y="262"/>
                  <a:pt x="145" y="262"/>
                  <a:pt x="145" y="262"/>
                </a:cubicBezTo>
                <a:cubicBezTo>
                  <a:pt x="145" y="262"/>
                  <a:pt x="145" y="262"/>
                  <a:pt x="145" y="262"/>
                </a:cubicBezTo>
                <a:cubicBezTo>
                  <a:pt x="144" y="262"/>
                  <a:pt x="144" y="262"/>
                  <a:pt x="144" y="262"/>
                </a:cubicBezTo>
                <a:cubicBezTo>
                  <a:pt x="144" y="263"/>
                  <a:pt x="144" y="263"/>
                  <a:pt x="144" y="263"/>
                </a:cubicBezTo>
                <a:cubicBezTo>
                  <a:pt x="144" y="264"/>
                  <a:pt x="144" y="264"/>
                  <a:pt x="144" y="264"/>
                </a:cubicBezTo>
                <a:cubicBezTo>
                  <a:pt x="144" y="263"/>
                  <a:pt x="144" y="263"/>
                  <a:pt x="144" y="263"/>
                </a:cubicBezTo>
                <a:cubicBezTo>
                  <a:pt x="143" y="263"/>
                  <a:pt x="143" y="263"/>
                  <a:pt x="143" y="263"/>
                </a:cubicBezTo>
                <a:cubicBezTo>
                  <a:pt x="144" y="263"/>
                  <a:pt x="144" y="263"/>
                  <a:pt x="144" y="263"/>
                </a:cubicBezTo>
                <a:cubicBezTo>
                  <a:pt x="144" y="264"/>
                  <a:pt x="144" y="264"/>
                  <a:pt x="144" y="264"/>
                </a:cubicBezTo>
                <a:cubicBezTo>
                  <a:pt x="144" y="265"/>
                  <a:pt x="144" y="265"/>
                  <a:pt x="144" y="265"/>
                </a:cubicBezTo>
                <a:cubicBezTo>
                  <a:pt x="143" y="265"/>
                  <a:pt x="143" y="265"/>
                  <a:pt x="143" y="265"/>
                </a:cubicBezTo>
                <a:cubicBezTo>
                  <a:pt x="143" y="264"/>
                  <a:pt x="143" y="264"/>
                  <a:pt x="143" y="264"/>
                </a:cubicBezTo>
                <a:cubicBezTo>
                  <a:pt x="142" y="264"/>
                  <a:pt x="142" y="264"/>
                  <a:pt x="142" y="264"/>
                </a:cubicBezTo>
                <a:cubicBezTo>
                  <a:pt x="142" y="265"/>
                  <a:pt x="142" y="265"/>
                  <a:pt x="142" y="265"/>
                </a:cubicBezTo>
                <a:cubicBezTo>
                  <a:pt x="142" y="265"/>
                  <a:pt x="142" y="265"/>
                  <a:pt x="142" y="265"/>
                </a:cubicBezTo>
                <a:cubicBezTo>
                  <a:pt x="142" y="266"/>
                  <a:pt x="142" y="266"/>
                  <a:pt x="142" y="266"/>
                </a:cubicBezTo>
                <a:cubicBezTo>
                  <a:pt x="142" y="266"/>
                  <a:pt x="142" y="266"/>
                  <a:pt x="142" y="266"/>
                </a:cubicBezTo>
                <a:cubicBezTo>
                  <a:pt x="141" y="267"/>
                  <a:pt x="141" y="267"/>
                  <a:pt x="141" y="267"/>
                </a:cubicBezTo>
                <a:cubicBezTo>
                  <a:pt x="139" y="268"/>
                  <a:pt x="139" y="268"/>
                  <a:pt x="139" y="268"/>
                </a:cubicBezTo>
                <a:cubicBezTo>
                  <a:pt x="139" y="269"/>
                  <a:pt x="139" y="269"/>
                  <a:pt x="139" y="269"/>
                </a:cubicBezTo>
                <a:cubicBezTo>
                  <a:pt x="139" y="270"/>
                  <a:pt x="139" y="270"/>
                  <a:pt x="139" y="270"/>
                </a:cubicBezTo>
                <a:cubicBezTo>
                  <a:pt x="139" y="271"/>
                  <a:pt x="139" y="271"/>
                  <a:pt x="139" y="271"/>
                </a:cubicBezTo>
                <a:cubicBezTo>
                  <a:pt x="138" y="272"/>
                  <a:pt x="138" y="272"/>
                  <a:pt x="138" y="272"/>
                </a:cubicBezTo>
                <a:cubicBezTo>
                  <a:pt x="138" y="272"/>
                  <a:pt x="138" y="272"/>
                  <a:pt x="138" y="272"/>
                </a:cubicBezTo>
                <a:cubicBezTo>
                  <a:pt x="137" y="272"/>
                  <a:pt x="137" y="272"/>
                  <a:pt x="137" y="272"/>
                </a:cubicBezTo>
                <a:cubicBezTo>
                  <a:pt x="137" y="271"/>
                  <a:pt x="137" y="271"/>
                  <a:pt x="137" y="271"/>
                </a:cubicBezTo>
                <a:cubicBezTo>
                  <a:pt x="137" y="271"/>
                  <a:pt x="137" y="271"/>
                  <a:pt x="137" y="271"/>
                </a:cubicBezTo>
                <a:cubicBezTo>
                  <a:pt x="137" y="271"/>
                  <a:pt x="137" y="271"/>
                  <a:pt x="137" y="271"/>
                </a:cubicBezTo>
                <a:cubicBezTo>
                  <a:pt x="136" y="272"/>
                  <a:pt x="136" y="272"/>
                  <a:pt x="136" y="272"/>
                </a:cubicBezTo>
                <a:cubicBezTo>
                  <a:pt x="136" y="272"/>
                  <a:pt x="136" y="272"/>
                  <a:pt x="136" y="272"/>
                </a:cubicBezTo>
                <a:cubicBezTo>
                  <a:pt x="136" y="273"/>
                  <a:pt x="136" y="273"/>
                  <a:pt x="136" y="273"/>
                </a:cubicBezTo>
                <a:cubicBezTo>
                  <a:pt x="136" y="273"/>
                  <a:pt x="136" y="273"/>
                  <a:pt x="136" y="273"/>
                </a:cubicBezTo>
                <a:cubicBezTo>
                  <a:pt x="134" y="275"/>
                  <a:pt x="134" y="275"/>
                  <a:pt x="134" y="275"/>
                </a:cubicBezTo>
                <a:cubicBezTo>
                  <a:pt x="134" y="275"/>
                  <a:pt x="134" y="275"/>
                  <a:pt x="134" y="275"/>
                </a:cubicBezTo>
                <a:cubicBezTo>
                  <a:pt x="133" y="275"/>
                  <a:pt x="133" y="275"/>
                  <a:pt x="133" y="275"/>
                </a:cubicBezTo>
                <a:cubicBezTo>
                  <a:pt x="133" y="274"/>
                  <a:pt x="133" y="274"/>
                  <a:pt x="133" y="274"/>
                </a:cubicBezTo>
                <a:cubicBezTo>
                  <a:pt x="133" y="274"/>
                  <a:pt x="133" y="274"/>
                  <a:pt x="133" y="274"/>
                </a:cubicBezTo>
                <a:cubicBezTo>
                  <a:pt x="132" y="274"/>
                  <a:pt x="132" y="274"/>
                  <a:pt x="132" y="274"/>
                </a:cubicBezTo>
                <a:cubicBezTo>
                  <a:pt x="132" y="274"/>
                  <a:pt x="132" y="274"/>
                  <a:pt x="132" y="274"/>
                </a:cubicBezTo>
                <a:cubicBezTo>
                  <a:pt x="132" y="274"/>
                  <a:pt x="132" y="274"/>
                  <a:pt x="132" y="274"/>
                </a:cubicBezTo>
                <a:cubicBezTo>
                  <a:pt x="131" y="274"/>
                  <a:pt x="131" y="274"/>
                  <a:pt x="131" y="274"/>
                </a:cubicBezTo>
                <a:cubicBezTo>
                  <a:pt x="130" y="273"/>
                  <a:pt x="130" y="273"/>
                  <a:pt x="130" y="273"/>
                </a:cubicBezTo>
                <a:cubicBezTo>
                  <a:pt x="130" y="273"/>
                  <a:pt x="130" y="273"/>
                  <a:pt x="130" y="273"/>
                </a:cubicBezTo>
                <a:cubicBezTo>
                  <a:pt x="130" y="273"/>
                  <a:pt x="130" y="273"/>
                  <a:pt x="130" y="273"/>
                </a:cubicBezTo>
                <a:cubicBezTo>
                  <a:pt x="130" y="274"/>
                  <a:pt x="130" y="274"/>
                  <a:pt x="130" y="274"/>
                </a:cubicBezTo>
                <a:cubicBezTo>
                  <a:pt x="131" y="274"/>
                  <a:pt x="131" y="274"/>
                  <a:pt x="131" y="274"/>
                </a:cubicBezTo>
                <a:cubicBezTo>
                  <a:pt x="131" y="275"/>
                  <a:pt x="131" y="275"/>
                  <a:pt x="131" y="275"/>
                </a:cubicBezTo>
                <a:cubicBezTo>
                  <a:pt x="131" y="276"/>
                  <a:pt x="131" y="276"/>
                  <a:pt x="131" y="276"/>
                </a:cubicBezTo>
                <a:cubicBezTo>
                  <a:pt x="130" y="276"/>
                  <a:pt x="130" y="276"/>
                  <a:pt x="130" y="276"/>
                </a:cubicBezTo>
                <a:cubicBezTo>
                  <a:pt x="130" y="276"/>
                  <a:pt x="130" y="276"/>
                  <a:pt x="130" y="276"/>
                </a:cubicBezTo>
                <a:cubicBezTo>
                  <a:pt x="128" y="277"/>
                  <a:pt x="128" y="277"/>
                  <a:pt x="128" y="277"/>
                </a:cubicBezTo>
                <a:cubicBezTo>
                  <a:pt x="127" y="278"/>
                  <a:pt x="127" y="278"/>
                  <a:pt x="127" y="278"/>
                </a:cubicBezTo>
                <a:cubicBezTo>
                  <a:pt x="127" y="279"/>
                  <a:pt x="127" y="279"/>
                  <a:pt x="127" y="279"/>
                </a:cubicBezTo>
                <a:cubicBezTo>
                  <a:pt x="126" y="278"/>
                  <a:pt x="126" y="278"/>
                  <a:pt x="126" y="278"/>
                </a:cubicBezTo>
                <a:cubicBezTo>
                  <a:pt x="126" y="278"/>
                  <a:pt x="126" y="278"/>
                  <a:pt x="126" y="278"/>
                </a:cubicBezTo>
                <a:cubicBezTo>
                  <a:pt x="126" y="277"/>
                  <a:pt x="126" y="277"/>
                  <a:pt x="126" y="277"/>
                </a:cubicBezTo>
                <a:cubicBezTo>
                  <a:pt x="126" y="277"/>
                  <a:pt x="126" y="277"/>
                  <a:pt x="126" y="277"/>
                </a:cubicBezTo>
                <a:cubicBezTo>
                  <a:pt x="126" y="277"/>
                  <a:pt x="126" y="277"/>
                  <a:pt x="126" y="277"/>
                </a:cubicBezTo>
                <a:cubicBezTo>
                  <a:pt x="125" y="277"/>
                  <a:pt x="125" y="277"/>
                  <a:pt x="125" y="277"/>
                </a:cubicBezTo>
                <a:cubicBezTo>
                  <a:pt x="125" y="278"/>
                  <a:pt x="125" y="278"/>
                  <a:pt x="125" y="278"/>
                </a:cubicBezTo>
                <a:cubicBezTo>
                  <a:pt x="125" y="279"/>
                  <a:pt x="125" y="279"/>
                  <a:pt x="125" y="279"/>
                </a:cubicBezTo>
                <a:cubicBezTo>
                  <a:pt x="124" y="279"/>
                  <a:pt x="124" y="279"/>
                  <a:pt x="124" y="279"/>
                </a:cubicBezTo>
                <a:cubicBezTo>
                  <a:pt x="123" y="279"/>
                  <a:pt x="123" y="279"/>
                  <a:pt x="123" y="279"/>
                </a:cubicBezTo>
                <a:cubicBezTo>
                  <a:pt x="123" y="279"/>
                  <a:pt x="123" y="279"/>
                  <a:pt x="123" y="279"/>
                </a:cubicBezTo>
                <a:cubicBezTo>
                  <a:pt x="122" y="278"/>
                  <a:pt x="122" y="278"/>
                  <a:pt x="122" y="278"/>
                </a:cubicBezTo>
                <a:cubicBezTo>
                  <a:pt x="122" y="277"/>
                  <a:pt x="122" y="277"/>
                  <a:pt x="122" y="277"/>
                </a:cubicBezTo>
                <a:cubicBezTo>
                  <a:pt x="122" y="276"/>
                  <a:pt x="122" y="276"/>
                  <a:pt x="122" y="276"/>
                </a:cubicBezTo>
                <a:cubicBezTo>
                  <a:pt x="122" y="276"/>
                  <a:pt x="122" y="276"/>
                  <a:pt x="122" y="276"/>
                </a:cubicBezTo>
                <a:cubicBezTo>
                  <a:pt x="122" y="275"/>
                  <a:pt x="122" y="275"/>
                  <a:pt x="122" y="275"/>
                </a:cubicBezTo>
                <a:cubicBezTo>
                  <a:pt x="122" y="277"/>
                  <a:pt x="122" y="277"/>
                  <a:pt x="122" y="277"/>
                </a:cubicBezTo>
                <a:cubicBezTo>
                  <a:pt x="121" y="278"/>
                  <a:pt x="121" y="278"/>
                  <a:pt x="121" y="278"/>
                </a:cubicBezTo>
                <a:cubicBezTo>
                  <a:pt x="121" y="278"/>
                  <a:pt x="121" y="278"/>
                  <a:pt x="121" y="278"/>
                </a:cubicBezTo>
                <a:cubicBezTo>
                  <a:pt x="121" y="279"/>
                  <a:pt x="121" y="279"/>
                  <a:pt x="121" y="279"/>
                </a:cubicBezTo>
                <a:cubicBezTo>
                  <a:pt x="121" y="279"/>
                  <a:pt x="121" y="279"/>
                  <a:pt x="121" y="279"/>
                </a:cubicBezTo>
                <a:cubicBezTo>
                  <a:pt x="119" y="277"/>
                  <a:pt x="119" y="277"/>
                  <a:pt x="119" y="277"/>
                </a:cubicBezTo>
                <a:cubicBezTo>
                  <a:pt x="119" y="276"/>
                  <a:pt x="119" y="276"/>
                  <a:pt x="119" y="276"/>
                </a:cubicBezTo>
                <a:cubicBezTo>
                  <a:pt x="120" y="275"/>
                  <a:pt x="120" y="275"/>
                  <a:pt x="120" y="275"/>
                </a:cubicBezTo>
                <a:cubicBezTo>
                  <a:pt x="120" y="274"/>
                  <a:pt x="120" y="274"/>
                  <a:pt x="120" y="274"/>
                </a:cubicBezTo>
                <a:cubicBezTo>
                  <a:pt x="121" y="274"/>
                  <a:pt x="121" y="274"/>
                  <a:pt x="121" y="274"/>
                </a:cubicBezTo>
                <a:cubicBezTo>
                  <a:pt x="121" y="273"/>
                  <a:pt x="121" y="273"/>
                  <a:pt x="121" y="273"/>
                </a:cubicBezTo>
                <a:cubicBezTo>
                  <a:pt x="120" y="273"/>
                  <a:pt x="120" y="273"/>
                  <a:pt x="120" y="273"/>
                </a:cubicBezTo>
                <a:cubicBezTo>
                  <a:pt x="119" y="272"/>
                  <a:pt x="119" y="272"/>
                  <a:pt x="119" y="272"/>
                </a:cubicBezTo>
                <a:cubicBezTo>
                  <a:pt x="119" y="272"/>
                  <a:pt x="119" y="272"/>
                  <a:pt x="119" y="272"/>
                </a:cubicBezTo>
                <a:cubicBezTo>
                  <a:pt x="119" y="272"/>
                  <a:pt x="119" y="272"/>
                  <a:pt x="119" y="272"/>
                </a:cubicBezTo>
                <a:cubicBezTo>
                  <a:pt x="118" y="272"/>
                  <a:pt x="118" y="272"/>
                  <a:pt x="118" y="272"/>
                </a:cubicBezTo>
                <a:cubicBezTo>
                  <a:pt x="118" y="273"/>
                  <a:pt x="118" y="273"/>
                  <a:pt x="118" y="273"/>
                </a:cubicBezTo>
                <a:cubicBezTo>
                  <a:pt x="118" y="273"/>
                  <a:pt x="118" y="273"/>
                  <a:pt x="118" y="273"/>
                </a:cubicBezTo>
                <a:cubicBezTo>
                  <a:pt x="119" y="274"/>
                  <a:pt x="119" y="274"/>
                  <a:pt x="119" y="274"/>
                </a:cubicBezTo>
                <a:cubicBezTo>
                  <a:pt x="118" y="275"/>
                  <a:pt x="118" y="275"/>
                  <a:pt x="118" y="275"/>
                </a:cubicBezTo>
                <a:cubicBezTo>
                  <a:pt x="118" y="276"/>
                  <a:pt x="118" y="276"/>
                  <a:pt x="118" y="276"/>
                </a:cubicBezTo>
                <a:cubicBezTo>
                  <a:pt x="118" y="276"/>
                  <a:pt x="118" y="276"/>
                  <a:pt x="118" y="276"/>
                </a:cubicBezTo>
                <a:cubicBezTo>
                  <a:pt x="117" y="277"/>
                  <a:pt x="117" y="277"/>
                  <a:pt x="117" y="277"/>
                </a:cubicBezTo>
                <a:cubicBezTo>
                  <a:pt x="116" y="277"/>
                  <a:pt x="116" y="277"/>
                  <a:pt x="116" y="277"/>
                </a:cubicBezTo>
                <a:cubicBezTo>
                  <a:pt x="116" y="276"/>
                  <a:pt x="116" y="276"/>
                  <a:pt x="116" y="276"/>
                </a:cubicBezTo>
                <a:cubicBezTo>
                  <a:pt x="116" y="276"/>
                  <a:pt x="116" y="276"/>
                  <a:pt x="116" y="276"/>
                </a:cubicBezTo>
                <a:cubicBezTo>
                  <a:pt x="115" y="277"/>
                  <a:pt x="115" y="277"/>
                  <a:pt x="115" y="277"/>
                </a:cubicBezTo>
                <a:cubicBezTo>
                  <a:pt x="115" y="277"/>
                  <a:pt x="115" y="277"/>
                  <a:pt x="115" y="277"/>
                </a:cubicBezTo>
                <a:cubicBezTo>
                  <a:pt x="116" y="279"/>
                  <a:pt x="116" y="279"/>
                  <a:pt x="116" y="279"/>
                </a:cubicBezTo>
                <a:cubicBezTo>
                  <a:pt x="116" y="280"/>
                  <a:pt x="116" y="280"/>
                  <a:pt x="116" y="280"/>
                </a:cubicBezTo>
                <a:cubicBezTo>
                  <a:pt x="116" y="280"/>
                  <a:pt x="116" y="280"/>
                  <a:pt x="116" y="280"/>
                </a:cubicBezTo>
                <a:cubicBezTo>
                  <a:pt x="116" y="280"/>
                  <a:pt x="116" y="280"/>
                  <a:pt x="116" y="280"/>
                </a:cubicBezTo>
                <a:cubicBezTo>
                  <a:pt x="116" y="281"/>
                  <a:pt x="116" y="281"/>
                  <a:pt x="116" y="281"/>
                </a:cubicBezTo>
                <a:cubicBezTo>
                  <a:pt x="115" y="281"/>
                  <a:pt x="115" y="281"/>
                  <a:pt x="115" y="281"/>
                </a:cubicBezTo>
                <a:cubicBezTo>
                  <a:pt x="114" y="281"/>
                  <a:pt x="114" y="281"/>
                  <a:pt x="114" y="281"/>
                </a:cubicBezTo>
                <a:cubicBezTo>
                  <a:pt x="114" y="281"/>
                  <a:pt x="114" y="281"/>
                  <a:pt x="114" y="281"/>
                </a:cubicBezTo>
                <a:cubicBezTo>
                  <a:pt x="113" y="281"/>
                  <a:pt x="113" y="281"/>
                  <a:pt x="113" y="281"/>
                </a:cubicBezTo>
                <a:cubicBezTo>
                  <a:pt x="113" y="282"/>
                  <a:pt x="113" y="282"/>
                  <a:pt x="113" y="282"/>
                </a:cubicBezTo>
                <a:cubicBezTo>
                  <a:pt x="112" y="282"/>
                  <a:pt x="112" y="282"/>
                  <a:pt x="112" y="282"/>
                </a:cubicBezTo>
                <a:cubicBezTo>
                  <a:pt x="111" y="282"/>
                  <a:pt x="111" y="282"/>
                  <a:pt x="111" y="282"/>
                </a:cubicBezTo>
                <a:cubicBezTo>
                  <a:pt x="111" y="281"/>
                  <a:pt x="111" y="281"/>
                  <a:pt x="111" y="281"/>
                </a:cubicBezTo>
                <a:cubicBezTo>
                  <a:pt x="110" y="280"/>
                  <a:pt x="110" y="280"/>
                  <a:pt x="110" y="280"/>
                </a:cubicBezTo>
                <a:cubicBezTo>
                  <a:pt x="110" y="280"/>
                  <a:pt x="110" y="280"/>
                  <a:pt x="110" y="280"/>
                </a:cubicBezTo>
                <a:cubicBezTo>
                  <a:pt x="110" y="281"/>
                  <a:pt x="110" y="281"/>
                  <a:pt x="110" y="281"/>
                </a:cubicBezTo>
                <a:cubicBezTo>
                  <a:pt x="110" y="281"/>
                  <a:pt x="110" y="281"/>
                  <a:pt x="110" y="281"/>
                </a:cubicBezTo>
                <a:cubicBezTo>
                  <a:pt x="109" y="282"/>
                  <a:pt x="109" y="282"/>
                  <a:pt x="109" y="282"/>
                </a:cubicBezTo>
                <a:cubicBezTo>
                  <a:pt x="109" y="282"/>
                  <a:pt x="109" y="282"/>
                  <a:pt x="109" y="282"/>
                </a:cubicBezTo>
                <a:cubicBezTo>
                  <a:pt x="108" y="281"/>
                  <a:pt x="108" y="281"/>
                  <a:pt x="108" y="281"/>
                </a:cubicBezTo>
                <a:cubicBezTo>
                  <a:pt x="108" y="280"/>
                  <a:pt x="108" y="280"/>
                  <a:pt x="108" y="280"/>
                </a:cubicBezTo>
                <a:cubicBezTo>
                  <a:pt x="107" y="280"/>
                  <a:pt x="107" y="280"/>
                  <a:pt x="107" y="280"/>
                </a:cubicBezTo>
                <a:cubicBezTo>
                  <a:pt x="107" y="281"/>
                  <a:pt x="107" y="281"/>
                  <a:pt x="107" y="281"/>
                </a:cubicBezTo>
                <a:cubicBezTo>
                  <a:pt x="106" y="281"/>
                  <a:pt x="106" y="281"/>
                  <a:pt x="106" y="281"/>
                </a:cubicBezTo>
                <a:cubicBezTo>
                  <a:pt x="106" y="281"/>
                  <a:pt x="106" y="281"/>
                  <a:pt x="106" y="281"/>
                </a:cubicBezTo>
                <a:cubicBezTo>
                  <a:pt x="106" y="282"/>
                  <a:pt x="106" y="282"/>
                  <a:pt x="106" y="282"/>
                </a:cubicBezTo>
                <a:cubicBezTo>
                  <a:pt x="106" y="283"/>
                  <a:pt x="106" y="283"/>
                  <a:pt x="106" y="283"/>
                </a:cubicBezTo>
                <a:cubicBezTo>
                  <a:pt x="106" y="284"/>
                  <a:pt x="106" y="284"/>
                  <a:pt x="106" y="284"/>
                </a:cubicBezTo>
                <a:cubicBezTo>
                  <a:pt x="106" y="285"/>
                  <a:pt x="106" y="285"/>
                  <a:pt x="106" y="285"/>
                </a:cubicBezTo>
                <a:cubicBezTo>
                  <a:pt x="105" y="287"/>
                  <a:pt x="105" y="287"/>
                  <a:pt x="105" y="287"/>
                </a:cubicBezTo>
                <a:cubicBezTo>
                  <a:pt x="104" y="287"/>
                  <a:pt x="104" y="287"/>
                  <a:pt x="104" y="287"/>
                </a:cubicBezTo>
                <a:cubicBezTo>
                  <a:pt x="103" y="286"/>
                  <a:pt x="103" y="286"/>
                  <a:pt x="103" y="286"/>
                </a:cubicBezTo>
                <a:cubicBezTo>
                  <a:pt x="103" y="285"/>
                  <a:pt x="103" y="285"/>
                  <a:pt x="103" y="285"/>
                </a:cubicBezTo>
                <a:cubicBezTo>
                  <a:pt x="102" y="285"/>
                  <a:pt x="102" y="285"/>
                  <a:pt x="102" y="285"/>
                </a:cubicBezTo>
                <a:cubicBezTo>
                  <a:pt x="102" y="285"/>
                  <a:pt x="102" y="285"/>
                  <a:pt x="102" y="285"/>
                </a:cubicBezTo>
                <a:cubicBezTo>
                  <a:pt x="102" y="286"/>
                  <a:pt x="102" y="286"/>
                  <a:pt x="102" y="286"/>
                </a:cubicBezTo>
                <a:cubicBezTo>
                  <a:pt x="101" y="285"/>
                  <a:pt x="101" y="285"/>
                  <a:pt x="101" y="285"/>
                </a:cubicBezTo>
                <a:cubicBezTo>
                  <a:pt x="101" y="284"/>
                  <a:pt x="101" y="284"/>
                  <a:pt x="101" y="284"/>
                </a:cubicBezTo>
                <a:cubicBezTo>
                  <a:pt x="100" y="284"/>
                  <a:pt x="100" y="284"/>
                  <a:pt x="100" y="284"/>
                </a:cubicBezTo>
                <a:cubicBezTo>
                  <a:pt x="100" y="285"/>
                  <a:pt x="100" y="285"/>
                  <a:pt x="100" y="285"/>
                </a:cubicBezTo>
                <a:cubicBezTo>
                  <a:pt x="100" y="285"/>
                  <a:pt x="100" y="285"/>
                  <a:pt x="100" y="285"/>
                </a:cubicBezTo>
                <a:cubicBezTo>
                  <a:pt x="100" y="286"/>
                  <a:pt x="100" y="286"/>
                  <a:pt x="100" y="286"/>
                </a:cubicBezTo>
                <a:cubicBezTo>
                  <a:pt x="100" y="287"/>
                  <a:pt x="100" y="287"/>
                  <a:pt x="100" y="287"/>
                </a:cubicBezTo>
                <a:cubicBezTo>
                  <a:pt x="100" y="287"/>
                  <a:pt x="100" y="287"/>
                  <a:pt x="100" y="287"/>
                </a:cubicBezTo>
                <a:cubicBezTo>
                  <a:pt x="100" y="288"/>
                  <a:pt x="100" y="288"/>
                  <a:pt x="100" y="288"/>
                </a:cubicBezTo>
                <a:cubicBezTo>
                  <a:pt x="101" y="289"/>
                  <a:pt x="101" y="289"/>
                  <a:pt x="101" y="289"/>
                </a:cubicBezTo>
                <a:cubicBezTo>
                  <a:pt x="101" y="290"/>
                  <a:pt x="101" y="290"/>
                  <a:pt x="101" y="290"/>
                </a:cubicBezTo>
                <a:cubicBezTo>
                  <a:pt x="101" y="292"/>
                  <a:pt x="101" y="292"/>
                  <a:pt x="101" y="292"/>
                </a:cubicBezTo>
                <a:cubicBezTo>
                  <a:pt x="101" y="293"/>
                  <a:pt x="101" y="293"/>
                  <a:pt x="101" y="293"/>
                </a:cubicBezTo>
                <a:cubicBezTo>
                  <a:pt x="100" y="292"/>
                  <a:pt x="100" y="292"/>
                  <a:pt x="100" y="292"/>
                </a:cubicBezTo>
                <a:cubicBezTo>
                  <a:pt x="100" y="292"/>
                  <a:pt x="100" y="292"/>
                  <a:pt x="100" y="292"/>
                </a:cubicBezTo>
                <a:cubicBezTo>
                  <a:pt x="100" y="293"/>
                  <a:pt x="100" y="293"/>
                  <a:pt x="100" y="293"/>
                </a:cubicBezTo>
                <a:cubicBezTo>
                  <a:pt x="99" y="293"/>
                  <a:pt x="99" y="293"/>
                  <a:pt x="99" y="293"/>
                </a:cubicBezTo>
                <a:cubicBezTo>
                  <a:pt x="97" y="293"/>
                  <a:pt x="97" y="293"/>
                  <a:pt x="97" y="293"/>
                </a:cubicBezTo>
                <a:cubicBezTo>
                  <a:pt x="96" y="293"/>
                  <a:pt x="96" y="293"/>
                  <a:pt x="96" y="293"/>
                </a:cubicBezTo>
                <a:cubicBezTo>
                  <a:pt x="96" y="294"/>
                  <a:pt x="96" y="294"/>
                  <a:pt x="96" y="294"/>
                </a:cubicBezTo>
                <a:cubicBezTo>
                  <a:pt x="96" y="294"/>
                  <a:pt x="96" y="294"/>
                  <a:pt x="96" y="294"/>
                </a:cubicBezTo>
                <a:cubicBezTo>
                  <a:pt x="97" y="295"/>
                  <a:pt x="97" y="295"/>
                  <a:pt x="97" y="295"/>
                </a:cubicBezTo>
                <a:cubicBezTo>
                  <a:pt x="98" y="295"/>
                  <a:pt x="98" y="295"/>
                  <a:pt x="98" y="295"/>
                </a:cubicBezTo>
                <a:cubicBezTo>
                  <a:pt x="99" y="295"/>
                  <a:pt x="99" y="295"/>
                  <a:pt x="99" y="295"/>
                </a:cubicBezTo>
                <a:cubicBezTo>
                  <a:pt x="99" y="296"/>
                  <a:pt x="99" y="296"/>
                  <a:pt x="99" y="296"/>
                </a:cubicBezTo>
                <a:cubicBezTo>
                  <a:pt x="100" y="296"/>
                  <a:pt x="100" y="296"/>
                  <a:pt x="100" y="296"/>
                </a:cubicBezTo>
                <a:cubicBezTo>
                  <a:pt x="101" y="296"/>
                  <a:pt x="101" y="296"/>
                  <a:pt x="101" y="296"/>
                </a:cubicBezTo>
                <a:cubicBezTo>
                  <a:pt x="101" y="296"/>
                  <a:pt x="101" y="296"/>
                  <a:pt x="101" y="296"/>
                </a:cubicBezTo>
                <a:cubicBezTo>
                  <a:pt x="100" y="297"/>
                  <a:pt x="100" y="297"/>
                  <a:pt x="100" y="297"/>
                </a:cubicBezTo>
                <a:cubicBezTo>
                  <a:pt x="100" y="297"/>
                  <a:pt x="100" y="297"/>
                  <a:pt x="100" y="297"/>
                </a:cubicBezTo>
                <a:cubicBezTo>
                  <a:pt x="99" y="297"/>
                  <a:pt x="99" y="297"/>
                  <a:pt x="99" y="297"/>
                </a:cubicBezTo>
                <a:cubicBezTo>
                  <a:pt x="99" y="298"/>
                  <a:pt x="99" y="298"/>
                  <a:pt x="99" y="298"/>
                </a:cubicBezTo>
                <a:cubicBezTo>
                  <a:pt x="100" y="298"/>
                  <a:pt x="100" y="298"/>
                  <a:pt x="100" y="298"/>
                </a:cubicBezTo>
                <a:cubicBezTo>
                  <a:pt x="100" y="299"/>
                  <a:pt x="100" y="299"/>
                  <a:pt x="100" y="299"/>
                </a:cubicBezTo>
                <a:cubicBezTo>
                  <a:pt x="100" y="300"/>
                  <a:pt x="100" y="300"/>
                  <a:pt x="100" y="300"/>
                </a:cubicBezTo>
                <a:cubicBezTo>
                  <a:pt x="100" y="300"/>
                  <a:pt x="100" y="300"/>
                  <a:pt x="100" y="300"/>
                </a:cubicBezTo>
                <a:cubicBezTo>
                  <a:pt x="99" y="301"/>
                  <a:pt x="99" y="301"/>
                  <a:pt x="99" y="301"/>
                </a:cubicBezTo>
                <a:cubicBezTo>
                  <a:pt x="99" y="301"/>
                  <a:pt x="99" y="301"/>
                  <a:pt x="99" y="301"/>
                </a:cubicBezTo>
                <a:cubicBezTo>
                  <a:pt x="98" y="300"/>
                  <a:pt x="98" y="300"/>
                  <a:pt x="98" y="300"/>
                </a:cubicBezTo>
                <a:cubicBezTo>
                  <a:pt x="97" y="299"/>
                  <a:pt x="97" y="299"/>
                  <a:pt x="97" y="299"/>
                </a:cubicBezTo>
                <a:cubicBezTo>
                  <a:pt x="97" y="299"/>
                  <a:pt x="97" y="299"/>
                  <a:pt x="97" y="299"/>
                </a:cubicBezTo>
                <a:cubicBezTo>
                  <a:pt x="96" y="299"/>
                  <a:pt x="96" y="299"/>
                  <a:pt x="96" y="299"/>
                </a:cubicBezTo>
                <a:cubicBezTo>
                  <a:pt x="96" y="298"/>
                  <a:pt x="96" y="298"/>
                  <a:pt x="96" y="298"/>
                </a:cubicBezTo>
                <a:cubicBezTo>
                  <a:pt x="95" y="298"/>
                  <a:pt x="95" y="298"/>
                  <a:pt x="95" y="298"/>
                </a:cubicBezTo>
                <a:cubicBezTo>
                  <a:pt x="95" y="299"/>
                  <a:pt x="95" y="299"/>
                  <a:pt x="95" y="299"/>
                </a:cubicBezTo>
                <a:cubicBezTo>
                  <a:pt x="94" y="299"/>
                  <a:pt x="94" y="299"/>
                  <a:pt x="94" y="299"/>
                </a:cubicBezTo>
                <a:cubicBezTo>
                  <a:pt x="95" y="299"/>
                  <a:pt x="95" y="299"/>
                  <a:pt x="95" y="299"/>
                </a:cubicBezTo>
                <a:cubicBezTo>
                  <a:pt x="96" y="300"/>
                  <a:pt x="96" y="300"/>
                  <a:pt x="96" y="300"/>
                </a:cubicBezTo>
                <a:cubicBezTo>
                  <a:pt x="97" y="300"/>
                  <a:pt x="97" y="300"/>
                  <a:pt x="97" y="300"/>
                </a:cubicBezTo>
                <a:cubicBezTo>
                  <a:pt x="98" y="301"/>
                  <a:pt x="98" y="301"/>
                  <a:pt x="98" y="301"/>
                </a:cubicBezTo>
                <a:cubicBezTo>
                  <a:pt x="99" y="301"/>
                  <a:pt x="99" y="301"/>
                  <a:pt x="99" y="301"/>
                </a:cubicBezTo>
                <a:cubicBezTo>
                  <a:pt x="99" y="301"/>
                  <a:pt x="99" y="301"/>
                  <a:pt x="99" y="301"/>
                </a:cubicBezTo>
                <a:cubicBezTo>
                  <a:pt x="99" y="302"/>
                  <a:pt x="99" y="302"/>
                  <a:pt x="99" y="302"/>
                </a:cubicBezTo>
                <a:cubicBezTo>
                  <a:pt x="98" y="303"/>
                  <a:pt x="98" y="303"/>
                  <a:pt x="98" y="303"/>
                </a:cubicBezTo>
                <a:cubicBezTo>
                  <a:pt x="97" y="303"/>
                  <a:pt x="97" y="303"/>
                  <a:pt x="97" y="303"/>
                </a:cubicBezTo>
                <a:cubicBezTo>
                  <a:pt x="96" y="303"/>
                  <a:pt x="96" y="303"/>
                  <a:pt x="96" y="303"/>
                </a:cubicBezTo>
                <a:cubicBezTo>
                  <a:pt x="96" y="303"/>
                  <a:pt x="96" y="303"/>
                  <a:pt x="96" y="303"/>
                </a:cubicBezTo>
                <a:cubicBezTo>
                  <a:pt x="94" y="302"/>
                  <a:pt x="94" y="302"/>
                  <a:pt x="94" y="302"/>
                </a:cubicBezTo>
                <a:cubicBezTo>
                  <a:pt x="94" y="301"/>
                  <a:pt x="94" y="301"/>
                  <a:pt x="94" y="301"/>
                </a:cubicBezTo>
                <a:cubicBezTo>
                  <a:pt x="93" y="301"/>
                  <a:pt x="93" y="301"/>
                  <a:pt x="93" y="301"/>
                </a:cubicBezTo>
                <a:cubicBezTo>
                  <a:pt x="93" y="302"/>
                  <a:pt x="93" y="302"/>
                  <a:pt x="93" y="302"/>
                </a:cubicBezTo>
                <a:cubicBezTo>
                  <a:pt x="93" y="302"/>
                  <a:pt x="93" y="302"/>
                  <a:pt x="93" y="302"/>
                </a:cubicBezTo>
                <a:cubicBezTo>
                  <a:pt x="93" y="303"/>
                  <a:pt x="93" y="303"/>
                  <a:pt x="93" y="303"/>
                </a:cubicBezTo>
                <a:cubicBezTo>
                  <a:pt x="93" y="304"/>
                  <a:pt x="93" y="304"/>
                  <a:pt x="93" y="304"/>
                </a:cubicBezTo>
                <a:cubicBezTo>
                  <a:pt x="95" y="304"/>
                  <a:pt x="95" y="304"/>
                  <a:pt x="95" y="304"/>
                </a:cubicBezTo>
                <a:cubicBezTo>
                  <a:pt x="95" y="305"/>
                  <a:pt x="95" y="305"/>
                  <a:pt x="95" y="305"/>
                </a:cubicBezTo>
                <a:cubicBezTo>
                  <a:pt x="95" y="306"/>
                  <a:pt x="95" y="306"/>
                  <a:pt x="95" y="306"/>
                </a:cubicBezTo>
                <a:cubicBezTo>
                  <a:pt x="95" y="306"/>
                  <a:pt x="95" y="306"/>
                  <a:pt x="95" y="306"/>
                </a:cubicBezTo>
                <a:cubicBezTo>
                  <a:pt x="94" y="305"/>
                  <a:pt x="94" y="305"/>
                  <a:pt x="94" y="305"/>
                </a:cubicBezTo>
                <a:cubicBezTo>
                  <a:pt x="93" y="305"/>
                  <a:pt x="93" y="305"/>
                  <a:pt x="93" y="305"/>
                </a:cubicBezTo>
                <a:cubicBezTo>
                  <a:pt x="92" y="304"/>
                  <a:pt x="92" y="304"/>
                  <a:pt x="92" y="304"/>
                </a:cubicBezTo>
                <a:cubicBezTo>
                  <a:pt x="91" y="304"/>
                  <a:pt x="91" y="304"/>
                  <a:pt x="91" y="304"/>
                </a:cubicBezTo>
                <a:cubicBezTo>
                  <a:pt x="91" y="304"/>
                  <a:pt x="91" y="304"/>
                  <a:pt x="91" y="304"/>
                </a:cubicBezTo>
                <a:cubicBezTo>
                  <a:pt x="91" y="305"/>
                  <a:pt x="91" y="305"/>
                  <a:pt x="91" y="305"/>
                </a:cubicBezTo>
                <a:cubicBezTo>
                  <a:pt x="92" y="305"/>
                  <a:pt x="92" y="305"/>
                  <a:pt x="92" y="305"/>
                </a:cubicBezTo>
                <a:cubicBezTo>
                  <a:pt x="93" y="306"/>
                  <a:pt x="93" y="306"/>
                  <a:pt x="93" y="306"/>
                </a:cubicBezTo>
                <a:cubicBezTo>
                  <a:pt x="94" y="306"/>
                  <a:pt x="94" y="306"/>
                  <a:pt x="94" y="306"/>
                </a:cubicBezTo>
                <a:cubicBezTo>
                  <a:pt x="94" y="307"/>
                  <a:pt x="94" y="307"/>
                  <a:pt x="94" y="307"/>
                </a:cubicBezTo>
                <a:cubicBezTo>
                  <a:pt x="93" y="307"/>
                  <a:pt x="93" y="307"/>
                  <a:pt x="93" y="307"/>
                </a:cubicBezTo>
                <a:cubicBezTo>
                  <a:pt x="92" y="307"/>
                  <a:pt x="92" y="307"/>
                  <a:pt x="92" y="307"/>
                </a:cubicBezTo>
                <a:cubicBezTo>
                  <a:pt x="91" y="306"/>
                  <a:pt x="91" y="306"/>
                  <a:pt x="91" y="306"/>
                </a:cubicBezTo>
                <a:cubicBezTo>
                  <a:pt x="91" y="306"/>
                  <a:pt x="91" y="306"/>
                  <a:pt x="91" y="306"/>
                </a:cubicBezTo>
                <a:cubicBezTo>
                  <a:pt x="91" y="305"/>
                  <a:pt x="91" y="305"/>
                  <a:pt x="91" y="305"/>
                </a:cubicBezTo>
                <a:cubicBezTo>
                  <a:pt x="90" y="305"/>
                  <a:pt x="90" y="305"/>
                  <a:pt x="90" y="305"/>
                </a:cubicBezTo>
                <a:cubicBezTo>
                  <a:pt x="90" y="306"/>
                  <a:pt x="90" y="306"/>
                  <a:pt x="90" y="306"/>
                </a:cubicBezTo>
                <a:cubicBezTo>
                  <a:pt x="90" y="306"/>
                  <a:pt x="90" y="306"/>
                  <a:pt x="90" y="306"/>
                </a:cubicBezTo>
                <a:cubicBezTo>
                  <a:pt x="90" y="307"/>
                  <a:pt x="90" y="307"/>
                  <a:pt x="90" y="307"/>
                </a:cubicBezTo>
                <a:cubicBezTo>
                  <a:pt x="90" y="308"/>
                  <a:pt x="90" y="308"/>
                  <a:pt x="90" y="308"/>
                </a:cubicBezTo>
                <a:cubicBezTo>
                  <a:pt x="90" y="308"/>
                  <a:pt x="90" y="308"/>
                  <a:pt x="90" y="308"/>
                </a:cubicBezTo>
                <a:cubicBezTo>
                  <a:pt x="91" y="308"/>
                  <a:pt x="91" y="308"/>
                  <a:pt x="91" y="308"/>
                </a:cubicBezTo>
                <a:cubicBezTo>
                  <a:pt x="92" y="308"/>
                  <a:pt x="92" y="308"/>
                  <a:pt x="92" y="308"/>
                </a:cubicBezTo>
                <a:cubicBezTo>
                  <a:pt x="93" y="308"/>
                  <a:pt x="93" y="308"/>
                  <a:pt x="93" y="308"/>
                </a:cubicBezTo>
                <a:cubicBezTo>
                  <a:pt x="93" y="309"/>
                  <a:pt x="93" y="309"/>
                  <a:pt x="93" y="309"/>
                </a:cubicBezTo>
                <a:cubicBezTo>
                  <a:pt x="93" y="309"/>
                  <a:pt x="93" y="309"/>
                  <a:pt x="93" y="309"/>
                </a:cubicBezTo>
                <a:cubicBezTo>
                  <a:pt x="93" y="310"/>
                  <a:pt x="93" y="310"/>
                  <a:pt x="93" y="310"/>
                </a:cubicBezTo>
                <a:cubicBezTo>
                  <a:pt x="92" y="310"/>
                  <a:pt x="92" y="310"/>
                  <a:pt x="92" y="310"/>
                </a:cubicBezTo>
                <a:cubicBezTo>
                  <a:pt x="91" y="311"/>
                  <a:pt x="91" y="311"/>
                  <a:pt x="91" y="311"/>
                </a:cubicBezTo>
                <a:cubicBezTo>
                  <a:pt x="91" y="310"/>
                  <a:pt x="91" y="310"/>
                  <a:pt x="91" y="310"/>
                </a:cubicBezTo>
                <a:cubicBezTo>
                  <a:pt x="90" y="310"/>
                  <a:pt x="90" y="310"/>
                  <a:pt x="90" y="310"/>
                </a:cubicBezTo>
                <a:cubicBezTo>
                  <a:pt x="89" y="310"/>
                  <a:pt x="89" y="310"/>
                  <a:pt x="89" y="310"/>
                </a:cubicBezTo>
                <a:cubicBezTo>
                  <a:pt x="89" y="309"/>
                  <a:pt x="89" y="309"/>
                  <a:pt x="89" y="309"/>
                </a:cubicBezTo>
                <a:cubicBezTo>
                  <a:pt x="89" y="309"/>
                  <a:pt x="89" y="309"/>
                  <a:pt x="89" y="309"/>
                </a:cubicBezTo>
                <a:cubicBezTo>
                  <a:pt x="88" y="308"/>
                  <a:pt x="88" y="308"/>
                  <a:pt x="88" y="308"/>
                </a:cubicBezTo>
                <a:cubicBezTo>
                  <a:pt x="88" y="308"/>
                  <a:pt x="88" y="308"/>
                  <a:pt x="88" y="308"/>
                </a:cubicBezTo>
                <a:cubicBezTo>
                  <a:pt x="88" y="309"/>
                  <a:pt x="88" y="309"/>
                  <a:pt x="88" y="309"/>
                </a:cubicBezTo>
                <a:cubicBezTo>
                  <a:pt x="88" y="310"/>
                  <a:pt x="88" y="310"/>
                  <a:pt x="88" y="310"/>
                </a:cubicBezTo>
                <a:cubicBezTo>
                  <a:pt x="87" y="311"/>
                  <a:pt x="87" y="311"/>
                  <a:pt x="87" y="311"/>
                </a:cubicBezTo>
                <a:cubicBezTo>
                  <a:pt x="86" y="311"/>
                  <a:pt x="86" y="311"/>
                  <a:pt x="86" y="311"/>
                </a:cubicBezTo>
                <a:cubicBezTo>
                  <a:pt x="86" y="310"/>
                  <a:pt x="86" y="310"/>
                  <a:pt x="86" y="310"/>
                </a:cubicBezTo>
                <a:cubicBezTo>
                  <a:pt x="85" y="310"/>
                  <a:pt x="85" y="310"/>
                  <a:pt x="85" y="310"/>
                </a:cubicBezTo>
                <a:cubicBezTo>
                  <a:pt x="85" y="310"/>
                  <a:pt x="85" y="310"/>
                  <a:pt x="85" y="310"/>
                </a:cubicBezTo>
                <a:cubicBezTo>
                  <a:pt x="85" y="311"/>
                  <a:pt x="85" y="311"/>
                  <a:pt x="85" y="311"/>
                </a:cubicBezTo>
                <a:cubicBezTo>
                  <a:pt x="85" y="311"/>
                  <a:pt x="85" y="311"/>
                  <a:pt x="85" y="311"/>
                </a:cubicBezTo>
                <a:cubicBezTo>
                  <a:pt x="87" y="312"/>
                  <a:pt x="87" y="312"/>
                  <a:pt x="87" y="312"/>
                </a:cubicBezTo>
                <a:cubicBezTo>
                  <a:pt x="88" y="312"/>
                  <a:pt x="88" y="312"/>
                  <a:pt x="88" y="312"/>
                </a:cubicBezTo>
                <a:cubicBezTo>
                  <a:pt x="89" y="313"/>
                  <a:pt x="89" y="313"/>
                  <a:pt x="89" y="313"/>
                </a:cubicBezTo>
                <a:cubicBezTo>
                  <a:pt x="89" y="315"/>
                  <a:pt x="89" y="315"/>
                  <a:pt x="89" y="315"/>
                </a:cubicBezTo>
                <a:cubicBezTo>
                  <a:pt x="89" y="315"/>
                  <a:pt x="89" y="315"/>
                  <a:pt x="89" y="315"/>
                </a:cubicBezTo>
                <a:cubicBezTo>
                  <a:pt x="88" y="315"/>
                  <a:pt x="88" y="315"/>
                  <a:pt x="88" y="315"/>
                </a:cubicBezTo>
                <a:cubicBezTo>
                  <a:pt x="87" y="314"/>
                  <a:pt x="87" y="314"/>
                  <a:pt x="87" y="314"/>
                </a:cubicBezTo>
                <a:cubicBezTo>
                  <a:pt x="86" y="313"/>
                  <a:pt x="86" y="313"/>
                  <a:pt x="86" y="313"/>
                </a:cubicBezTo>
                <a:cubicBezTo>
                  <a:pt x="85" y="313"/>
                  <a:pt x="85" y="313"/>
                  <a:pt x="85" y="313"/>
                </a:cubicBezTo>
                <a:cubicBezTo>
                  <a:pt x="84" y="313"/>
                  <a:pt x="84" y="313"/>
                  <a:pt x="84" y="313"/>
                </a:cubicBezTo>
                <a:cubicBezTo>
                  <a:pt x="84" y="313"/>
                  <a:pt x="84" y="313"/>
                  <a:pt x="84" y="313"/>
                </a:cubicBezTo>
                <a:cubicBezTo>
                  <a:pt x="85" y="314"/>
                  <a:pt x="85" y="314"/>
                  <a:pt x="85" y="314"/>
                </a:cubicBezTo>
                <a:cubicBezTo>
                  <a:pt x="86" y="314"/>
                  <a:pt x="86" y="314"/>
                  <a:pt x="86" y="314"/>
                </a:cubicBezTo>
                <a:cubicBezTo>
                  <a:pt x="87" y="315"/>
                  <a:pt x="87" y="315"/>
                  <a:pt x="87" y="315"/>
                </a:cubicBezTo>
                <a:cubicBezTo>
                  <a:pt x="88" y="316"/>
                  <a:pt x="88" y="316"/>
                  <a:pt x="88" y="316"/>
                </a:cubicBezTo>
                <a:cubicBezTo>
                  <a:pt x="88" y="317"/>
                  <a:pt x="88" y="317"/>
                  <a:pt x="88" y="317"/>
                </a:cubicBezTo>
                <a:cubicBezTo>
                  <a:pt x="88" y="318"/>
                  <a:pt x="88" y="318"/>
                  <a:pt x="88" y="318"/>
                </a:cubicBezTo>
                <a:cubicBezTo>
                  <a:pt x="88" y="318"/>
                  <a:pt x="88" y="318"/>
                  <a:pt x="88" y="318"/>
                </a:cubicBezTo>
                <a:cubicBezTo>
                  <a:pt x="88" y="319"/>
                  <a:pt x="88" y="319"/>
                  <a:pt x="88" y="319"/>
                </a:cubicBezTo>
                <a:cubicBezTo>
                  <a:pt x="87" y="319"/>
                  <a:pt x="87" y="319"/>
                  <a:pt x="87" y="319"/>
                </a:cubicBezTo>
                <a:cubicBezTo>
                  <a:pt x="87" y="320"/>
                  <a:pt x="87" y="320"/>
                  <a:pt x="87" y="320"/>
                </a:cubicBezTo>
                <a:cubicBezTo>
                  <a:pt x="87" y="321"/>
                  <a:pt x="87" y="321"/>
                  <a:pt x="87" y="321"/>
                </a:cubicBezTo>
                <a:cubicBezTo>
                  <a:pt x="86" y="321"/>
                  <a:pt x="86" y="321"/>
                  <a:pt x="86" y="321"/>
                </a:cubicBezTo>
                <a:cubicBezTo>
                  <a:pt x="86" y="320"/>
                  <a:pt x="86" y="320"/>
                  <a:pt x="86" y="320"/>
                </a:cubicBezTo>
                <a:cubicBezTo>
                  <a:pt x="85" y="320"/>
                  <a:pt x="85" y="320"/>
                  <a:pt x="85" y="320"/>
                </a:cubicBezTo>
                <a:cubicBezTo>
                  <a:pt x="84" y="320"/>
                  <a:pt x="84" y="320"/>
                  <a:pt x="84" y="320"/>
                </a:cubicBezTo>
                <a:cubicBezTo>
                  <a:pt x="83" y="320"/>
                  <a:pt x="83" y="320"/>
                  <a:pt x="83" y="320"/>
                </a:cubicBezTo>
                <a:cubicBezTo>
                  <a:pt x="84" y="320"/>
                  <a:pt x="84" y="320"/>
                  <a:pt x="84" y="320"/>
                </a:cubicBezTo>
                <a:cubicBezTo>
                  <a:pt x="85" y="321"/>
                  <a:pt x="85" y="321"/>
                  <a:pt x="85" y="321"/>
                </a:cubicBezTo>
                <a:cubicBezTo>
                  <a:pt x="86" y="321"/>
                  <a:pt x="86" y="321"/>
                  <a:pt x="86" y="321"/>
                </a:cubicBezTo>
                <a:cubicBezTo>
                  <a:pt x="86" y="321"/>
                  <a:pt x="86" y="321"/>
                  <a:pt x="86" y="321"/>
                </a:cubicBezTo>
                <a:cubicBezTo>
                  <a:pt x="85" y="322"/>
                  <a:pt x="85" y="322"/>
                  <a:pt x="85" y="322"/>
                </a:cubicBezTo>
                <a:cubicBezTo>
                  <a:pt x="84" y="322"/>
                  <a:pt x="84" y="322"/>
                  <a:pt x="84" y="322"/>
                </a:cubicBezTo>
                <a:cubicBezTo>
                  <a:pt x="84" y="322"/>
                  <a:pt x="84" y="322"/>
                  <a:pt x="84" y="322"/>
                </a:cubicBezTo>
                <a:cubicBezTo>
                  <a:pt x="84" y="322"/>
                  <a:pt x="84" y="322"/>
                  <a:pt x="84" y="322"/>
                </a:cubicBezTo>
                <a:cubicBezTo>
                  <a:pt x="84" y="322"/>
                  <a:pt x="84" y="322"/>
                  <a:pt x="84" y="322"/>
                </a:cubicBezTo>
                <a:cubicBezTo>
                  <a:pt x="84" y="323"/>
                  <a:pt x="84" y="323"/>
                  <a:pt x="84" y="323"/>
                </a:cubicBezTo>
                <a:cubicBezTo>
                  <a:pt x="85" y="323"/>
                  <a:pt x="85" y="323"/>
                  <a:pt x="85" y="323"/>
                </a:cubicBezTo>
                <a:cubicBezTo>
                  <a:pt x="85" y="323"/>
                  <a:pt x="85" y="323"/>
                  <a:pt x="85" y="323"/>
                </a:cubicBezTo>
                <a:cubicBezTo>
                  <a:pt x="84" y="324"/>
                  <a:pt x="84" y="324"/>
                  <a:pt x="84" y="324"/>
                </a:cubicBezTo>
                <a:cubicBezTo>
                  <a:pt x="83" y="324"/>
                  <a:pt x="83" y="324"/>
                  <a:pt x="83" y="324"/>
                </a:cubicBezTo>
                <a:cubicBezTo>
                  <a:pt x="83" y="324"/>
                  <a:pt x="83" y="324"/>
                  <a:pt x="83" y="324"/>
                </a:cubicBezTo>
                <a:cubicBezTo>
                  <a:pt x="82" y="324"/>
                  <a:pt x="82" y="324"/>
                  <a:pt x="82" y="324"/>
                </a:cubicBezTo>
                <a:cubicBezTo>
                  <a:pt x="82" y="324"/>
                  <a:pt x="82" y="324"/>
                  <a:pt x="82" y="324"/>
                </a:cubicBezTo>
                <a:cubicBezTo>
                  <a:pt x="82" y="324"/>
                  <a:pt x="82" y="324"/>
                  <a:pt x="82" y="324"/>
                </a:cubicBezTo>
                <a:cubicBezTo>
                  <a:pt x="83" y="325"/>
                  <a:pt x="83" y="325"/>
                  <a:pt x="83" y="325"/>
                </a:cubicBezTo>
                <a:cubicBezTo>
                  <a:pt x="84" y="325"/>
                  <a:pt x="84" y="325"/>
                  <a:pt x="84" y="325"/>
                </a:cubicBezTo>
                <a:cubicBezTo>
                  <a:pt x="83" y="326"/>
                  <a:pt x="83" y="326"/>
                  <a:pt x="83" y="326"/>
                </a:cubicBezTo>
                <a:cubicBezTo>
                  <a:pt x="83" y="326"/>
                  <a:pt x="83" y="326"/>
                  <a:pt x="83" y="326"/>
                </a:cubicBezTo>
                <a:cubicBezTo>
                  <a:pt x="81" y="326"/>
                  <a:pt x="81" y="326"/>
                  <a:pt x="81" y="326"/>
                </a:cubicBezTo>
                <a:cubicBezTo>
                  <a:pt x="80" y="326"/>
                  <a:pt x="80" y="326"/>
                  <a:pt x="80" y="326"/>
                </a:cubicBezTo>
                <a:cubicBezTo>
                  <a:pt x="80" y="326"/>
                  <a:pt x="80" y="326"/>
                  <a:pt x="80" y="326"/>
                </a:cubicBezTo>
                <a:cubicBezTo>
                  <a:pt x="80" y="326"/>
                  <a:pt x="80" y="326"/>
                  <a:pt x="80" y="326"/>
                </a:cubicBezTo>
                <a:cubicBezTo>
                  <a:pt x="81" y="327"/>
                  <a:pt x="81" y="327"/>
                  <a:pt x="81" y="327"/>
                </a:cubicBezTo>
                <a:cubicBezTo>
                  <a:pt x="83" y="327"/>
                  <a:pt x="83" y="327"/>
                  <a:pt x="83" y="327"/>
                </a:cubicBezTo>
                <a:cubicBezTo>
                  <a:pt x="84" y="327"/>
                  <a:pt x="84" y="327"/>
                  <a:pt x="84" y="327"/>
                </a:cubicBezTo>
                <a:cubicBezTo>
                  <a:pt x="84" y="328"/>
                  <a:pt x="84" y="328"/>
                  <a:pt x="84" y="328"/>
                </a:cubicBezTo>
                <a:cubicBezTo>
                  <a:pt x="84" y="328"/>
                  <a:pt x="84" y="328"/>
                  <a:pt x="84" y="328"/>
                </a:cubicBezTo>
                <a:cubicBezTo>
                  <a:pt x="83" y="329"/>
                  <a:pt x="83" y="329"/>
                  <a:pt x="83" y="329"/>
                </a:cubicBezTo>
                <a:cubicBezTo>
                  <a:pt x="82" y="329"/>
                  <a:pt x="82" y="329"/>
                  <a:pt x="82" y="329"/>
                </a:cubicBezTo>
                <a:cubicBezTo>
                  <a:pt x="80" y="329"/>
                  <a:pt x="80" y="329"/>
                  <a:pt x="80" y="329"/>
                </a:cubicBezTo>
                <a:cubicBezTo>
                  <a:pt x="79" y="328"/>
                  <a:pt x="79" y="328"/>
                  <a:pt x="79" y="328"/>
                </a:cubicBezTo>
                <a:cubicBezTo>
                  <a:pt x="79" y="329"/>
                  <a:pt x="79" y="329"/>
                  <a:pt x="79" y="329"/>
                </a:cubicBezTo>
                <a:cubicBezTo>
                  <a:pt x="80" y="329"/>
                  <a:pt x="80" y="329"/>
                  <a:pt x="80" y="329"/>
                </a:cubicBezTo>
                <a:cubicBezTo>
                  <a:pt x="81" y="329"/>
                  <a:pt x="81" y="329"/>
                  <a:pt x="81" y="329"/>
                </a:cubicBezTo>
                <a:cubicBezTo>
                  <a:pt x="81" y="330"/>
                  <a:pt x="81" y="330"/>
                  <a:pt x="81" y="330"/>
                </a:cubicBezTo>
                <a:cubicBezTo>
                  <a:pt x="81" y="330"/>
                  <a:pt x="81" y="330"/>
                  <a:pt x="81" y="330"/>
                </a:cubicBezTo>
                <a:cubicBezTo>
                  <a:pt x="80" y="330"/>
                  <a:pt x="80" y="330"/>
                  <a:pt x="80" y="330"/>
                </a:cubicBezTo>
                <a:cubicBezTo>
                  <a:pt x="80" y="330"/>
                  <a:pt x="80" y="330"/>
                  <a:pt x="80" y="330"/>
                </a:cubicBezTo>
                <a:cubicBezTo>
                  <a:pt x="81" y="331"/>
                  <a:pt x="81" y="331"/>
                  <a:pt x="81" y="331"/>
                </a:cubicBezTo>
                <a:cubicBezTo>
                  <a:pt x="82" y="331"/>
                  <a:pt x="82" y="331"/>
                  <a:pt x="82" y="331"/>
                </a:cubicBezTo>
                <a:cubicBezTo>
                  <a:pt x="82" y="331"/>
                  <a:pt x="82" y="331"/>
                  <a:pt x="82" y="331"/>
                </a:cubicBezTo>
                <a:cubicBezTo>
                  <a:pt x="82" y="332"/>
                  <a:pt x="82" y="332"/>
                  <a:pt x="82" y="332"/>
                </a:cubicBezTo>
                <a:cubicBezTo>
                  <a:pt x="81" y="332"/>
                  <a:pt x="81" y="332"/>
                  <a:pt x="81" y="332"/>
                </a:cubicBezTo>
                <a:cubicBezTo>
                  <a:pt x="80" y="332"/>
                  <a:pt x="80" y="332"/>
                  <a:pt x="80" y="332"/>
                </a:cubicBezTo>
                <a:cubicBezTo>
                  <a:pt x="80" y="332"/>
                  <a:pt x="80" y="332"/>
                  <a:pt x="80" y="332"/>
                </a:cubicBezTo>
                <a:cubicBezTo>
                  <a:pt x="81" y="333"/>
                  <a:pt x="81" y="333"/>
                  <a:pt x="81" y="333"/>
                </a:cubicBezTo>
                <a:cubicBezTo>
                  <a:pt x="82" y="332"/>
                  <a:pt x="82" y="332"/>
                  <a:pt x="82" y="332"/>
                </a:cubicBezTo>
                <a:cubicBezTo>
                  <a:pt x="83" y="333"/>
                  <a:pt x="83" y="333"/>
                  <a:pt x="83" y="333"/>
                </a:cubicBezTo>
                <a:cubicBezTo>
                  <a:pt x="82" y="333"/>
                  <a:pt x="82" y="333"/>
                  <a:pt x="82" y="333"/>
                </a:cubicBezTo>
                <a:cubicBezTo>
                  <a:pt x="82" y="334"/>
                  <a:pt x="82" y="334"/>
                  <a:pt x="82" y="334"/>
                </a:cubicBezTo>
                <a:cubicBezTo>
                  <a:pt x="81" y="334"/>
                  <a:pt x="81" y="334"/>
                  <a:pt x="81" y="334"/>
                </a:cubicBezTo>
                <a:cubicBezTo>
                  <a:pt x="80" y="334"/>
                  <a:pt x="80" y="334"/>
                  <a:pt x="80" y="334"/>
                </a:cubicBezTo>
                <a:cubicBezTo>
                  <a:pt x="79" y="333"/>
                  <a:pt x="79" y="333"/>
                  <a:pt x="79" y="333"/>
                </a:cubicBezTo>
                <a:cubicBezTo>
                  <a:pt x="78" y="333"/>
                  <a:pt x="78" y="333"/>
                  <a:pt x="78" y="333"/>
                </a:cubicBezTo>
                <a:cubicBezTo>
                  <a:pt x="78" y="332"/>
                  <a:pt x="78" y="332"/>
                  <a:pt x="78" y="332"/>
                </a:cubicBezTo>
                <a:cubicBezTo>
                  <a:pt x="77" y="332"/>
                  <a:pt x="77" y="332"/>
                  <a:pt x="77" y="332"/>
                </a:cubicBezTo>
                <a:cubicBezTo>
                  <a:pt x="77" y="332"/>
                  <a:pt x="77" y="332"/>
                  <a:pt x="77" y="332"/>
                </a:cubicBezTo>
                <a:cubicBezTo>
                  <a:pt x="76" y="332"/>
                  <a:pt x="76" y="332"/>
                  <a:pt x="76" y="332"/>
                </a:cubicBezTo>
                <a:cubicBezTo>
                  <a:pt x="76" y="332"/>
                  <a:pt x="76" y="332"/>
                  <a:pt x="76" y="332"/>
                </a:cubicBezTo>
                <a:cubicBezTo>
                  <a:pt x="76" y="333"/>
                  <a:pt x="76" y="333"/>
                  <a:pt x="76" y="333"/>
                </a:cubicBezTo>
                <a:cubicBezTo>
                  <a:pt x="78" y="334"/>
                  <a:pt x="78" y="334"/>
                  <a:pt x="78" y="334"/>
                </a:cubicBezTo>
                <a:cubicBezTo>
                  <a:pt x="79" y="334"/>
                  <a:pt x="79" y="334"/>
                  <a:pt x="79" y="334"/>
                </a:cubicBezTo>
                <a:cubicBezTo>
                  <a:pt x="79" y="335"/>
                  <a:pt x="79" y="335"/>
                  <a:pt x="79" y="335"/>
                </a:cubicBezTo>
                <a:cubicBezTo>
                  <a:pt x="79" y="335"/>
                  <a:pt x="79" y="335"/>
                  <a:pt x="79" y="335"/>
                </a:cubicBezTo>
                <a:cubicBezTo>
                  <a:pt x="79" y="336"/>
                  <a:pt x="79" y="336"/>
                  <a:pt x="79" y="336"/>
                </a:cubicBezTo>
                <a:cubicBezTo>
                  <a:pt x="79" y="336"/>
                  <a:pt x="79" y="336"/>
                  <a:pt x="79" y="336"/>
                </a:cubicBezTo>
                <a:cubicBezTo>
                  <a:pt x="80" y="336"/>
                  <a:pt x="80" y="336"/>
                  <a:pt x="80" y="336"/>
                </a:cubicBezTo>
                <a:cubicBezTo>
                  <a:pt x="80" y="336"/>
                  <a:pt x="80" y="336"/>
                  <a:pt x="80" y="336"/>
                </a:cubicBezTo>
                <a:cubicBezTo>
                  <a:pt x="81" y="336"/>
                  <a:pt x="81" y="336"/>
                  <a:pt x="81" y="336"/>
                </a:cubicBezTo>
                <a:cubicBezTo>
                  <a:pt x="81" y="337"/>
                  <a:pt x="81" y="337"/>
                  <a:pt x="81" y="337"/>
                </a:cubicBezTo>
                <a:cubicBezTo>
                  <a:pt x="80" y="337"/>
                  <a:pt x="80" y="337"/>
                  <a:pt x="80" y="337"/>
                </a:cubicBezTo>
                <a:cubicBezTo>
                  <a:pt x="80" y="337"/>
                  <a:pt x="80" y="337"/>
                  <a:pt x="80" y="337"/>
                </a:cubicBezTo>
                <a:cubicBezTo>
                  <a:pt x="80" y="338"/>
                  <a:pt x="80" y="338"/>
                  <a:pt x="80" y="338"/>
                </a:cubicBezTo>
                <a:cubicBezTo>
                  <a:pt x="79" y="338"/>
                  <a:pt x="79" y="338"/>
                  <a:pt x="79" y="338"/>
                </a:cubicBezTo>
                <a:close/>
                <a:moveTo>
                  <a:pt x="78" y="338"/>
                </a:moveTo>
                <a:cubicBezTo>
                  <a:pt x="76" y="337"/>
                  <a:pt x="76" y="337"/>
                  <a:pt x="76" y="337"/>
                </a:cubicBezTo>
                <a:cubicBezTo>
                  <a:pt x="75" y="337"/>
                  <a:pt x="75" y="337"/>
                  <a:pt x="75" y="337"/>
                </a:cubicBezTo>
                <a:cubicBezTo>
                  <a:pt x="75" y="337"/>
                  <a:pt x="75" y="337"/>
                  <a:pt x="75" y="337"/>
                </a:cubicBezTo>
                <a:cubicBezTo>
                  <a:pt x="76" y="339"/>
                  <a:pt x="76" y="339"/>
                  <a:pt x="76" y="339"/>
                </a:cubicBezTo>
                <a:cubicBezTo>
                  <a:pt x="77" y="339"/>
                  <a:pt x="77" y="339"/>
                  <a:pt x="77" y="339"/>
                </a:cubicBezTo>
                <a:cubicBezTo>
                  <a:pt x="78" y="338"/>
                  <a:pt x="78" y="338"/>
                  <a:pt x="78" y="338"/>
                </a:cubicBezTo>
                <a:close/>
                <a:moveTo>
                  <a:pt x="176" y="228"/>
                </a:moveTo>
                <a:cubicBezTo>
                  <a:pt x="176" y="229"/>
                  <a:pt x="176" y="229"/>
                  <a:pt x="176" y="229"/>
                </a:cubicBezTo>
                <a:cubicBezTo>
                  <a:pt x="178" y="229"/>
                  <a:pt x="178" y="229"/>
                  <a:pt x="178" y="229"/>
                </a:cubicBezTo>
                <a:cubicBezTo>
                  <a:pt x="180" y="228"/>
                  <a:pt x="180" y="228"/>
                  <a:pt x="180" y="228"/>
                </a:cubicBezTo>
                <a:cubicBezTo>
                  <a:pt x="183" y="229"/>
                  <a:pt x="183" y="229"/>
                  <a:pt x="183" y="229"/>
                </a:cubicBezTo>
                <a:cubicBezTo>
                  <a:pt x="184" y="228"/>
                  <a:pt x="184" y="228"/>
                  <a:pt x="184" y="228"/>
                </a:cubicBezTo>
                <a:cubicBezTo>
                  <a:pt x="185" y="227"/>
                  <a:pt x="185" y="227"/>
                  <a:pt x="185" y="227"/>
                </a:cubicBezTo>
                <a:cubicBezTo>
                  <a:pt x="187" y="228"/>
                  <a:pt x="187" y="228"/>
                  <a:pt x="187" y="228"/>
                </a:cubicBezTo>
                <a:cubicBezTo>
                  <a:pt x="188" y="228"/>
                  <a:pt x="188" y="228"/>
                  <a:pt x="188" y="228"/>
                </a:cubicBezTo>
                <a:cubicBezTo>
                  <a:pt x="189" y="228"/>
                  <a:pt x="189" y="228"/>
                  <a:pt x="189" y="228"/>
                </a:cubicBezTo>
                <a:cubicBezTo>
                  <a:pt x="190" y="227"/>
                  <a:pt x="190" y="227"/>
                  <a:pt x="190" y="227"/>
                </a:cubicBezTo>
                <a:cubicBezTo>
                  <a:pt x="190" y="223"/>
                  <a:pt x="190" y="223"/>
                  <a:pt x="190" y="223"/>
                </a:cubicBezTo>
                <a:cubicBezTo>
                  <a:pt x="189" y="223"/>
                  <a:pt x="189" y="223"/>
                  <a:pt x="189" y="223"/>
                </a:cubicBezTo>
                <a:cubicBezTo>
                  <a:pt x="189" y="221"/>
                  <a:pt x="189" y="221"/>
                  <a:pt x="189" y="221"/>
                </a:cubicBezTo>
                <a:cubicBezTo>
                  <a:pt x="188" y="221"/>
                  <a:pt x="188" y="221"/>
                  <a:pt x="188" y="221"/>
                </a:cubicBezTo>
                <a:cubicBezTo>
                  <a:pt x="184" y="223"/>
                  <a:pt x="184" y="223"/>
                  <a:pt x="184" y="223"/>
                </a:cubicBezTo>
                <a:cubicBezTo>
                  <a:pt x="181" y="223"/>
                  <a:pt x="181" y="223"/>
                  <a:pt x="181" y="223"/>
                </a:cubicBezTo>
                <a:cubicBezTo>
                  <a:pt x="180" y="224"/>
                  <a:pt x="180" y="224"/>
                  <a:pt x="180" y="224"/>
                </a:cubicBezTo>
                <a:cubicBezTo>
                  <a:pt x="179" y="225"/>
                  <a:pt x="179" y="225"/>
                  <a:pt x="179" y="225"/>
                </a:cubicBezTo>
                <a:cubicBezTo>
                  <a:pt x="178" y="226"/>
                  <a:pt x="178" y="226"/>
                  <a:pt x="178" y="226"/>
                </a:cubicBezTo>
                <a:cubicBezTo>
                  <a:pt x="177" y="226"/>
                  <a:pt x="177" y="226"/>
                  <a:pt x="177" y="226"/>
                </a:cubicBezTo>
                <a:cubicBezTo>
                  <a:pt x="176" y="227"/>
                  <a:pt x="176" y="227"/>
                  <a:pt x="176" y="227"/>
                </a:cubicBezTo>
                <a:cubicBezTo>
                  <a:pt x="176" y="228"/>
                  <a:pt x="176" y="228"/>
                  <a:pt x="176" y="228"/>
                </a:cubicBezTo>
                <a:close/>
                <a:moveTo>
                  <a:pt x="82" y="330"/>
                </a:moveTo>
                <a:cubicBezTo>
                  <a:pt x="83" y="330"/>
                  <a:pt x="83" y="330"/>
                  <a:pt x="83" y="330"/>
                </a:cubicBezTo>
                <a:cubicBezTo>
                  <a:pt x="84" y="330"/>
                  <a:pt x="84" y="330"/>
                  <a:pt x="84" y="330"/>
                </a:cubicBezTo>
                <a:cubicBezTo>
                  <a:pt x="83" y="329"/>
                  <a:pt x="83" y="329"/>
                  <a:pt x="83" y="329"/>
                </a:cubicBezTo>
                <a:cubicBezTo>
                  <a:pt x="83" y="330"/>
                  <a:pt x="83" y="330"/>
                  <a:pt x="83" y="330"/>
                </a:cubicBezTo>
                <a:cubicBezTo>
                  <a:pt x="82" y="330"/>
                  <a:pt x="82" y="330"/>
                  <a:pt x="82" y="330"/>
                </a:cubicBezTo>
                <a:close/>
                <a:moveTo>
                  <a:pt x="88" y="317"/>
                </a:moveTo>
                <a:cubicBezTo>
                  <a:pt x="89" y="318"/>
                  <a:pt x="89" y="318"/>
                  <a:pt x="89" y="318"/>
                </a:cubicBezTo>
                <a:cubicBezTo>
                  <a:pt x="89" y="317"/>
                  <a:pt x="89" y="317"/>
                  <a:pt x="89" y="317"/>
                </a:cubicBezTo>
                <a:cubicBezTo>
                  <a:pt x="88" y="317"/>
                  <a:pt x="88" y="317"/>
                  <a:pt x="88" y="317"/>
                </a:cubicBezTo>
                <a:close/>
                <a:moveTo>
                  <a:pt x="89" y="316"/>
                </a:moveTo>
                <a:cubicBezTo>
                  <a:pt x="89" y="316"/>
                  <a:pt x="89" y="316"/>
                  <a:pt x="89" y="316"/>
                </a:cubicBezTo>
                <a:cubicBezTo>
                  <a:pt x="89" y="316"/>
                  <a:pt x="89" y="316"/>
                  <a:pt x="89" y="316"/>
                </a:cubicBezTo>
                <a:cubicBezTo>
                  <a:pt x="89" y="315"/>
                  <a:pt x="89" y="315"/>
                  <a:pt x="89" y="315"/>
                </a:cubicBezTo>
                <a:cubicBezTo>
                  <a:pt x="89" y="316"/>
                  <a:pt x="89" y="316"/>
                  <a:pt x="89" y="316"/>
                </a:cubicBezTo>
                <a:close/>
                <a:moveTo>
                  <a:pt x="90" y="313"/>
                </a:moveTo>
                <a:cubicBezTo>
                  <a:pt x="90" y="314"/>
                  <a:pt x="90" y="314"/>
                  <a:pt x="90" y="314"/>
                </a:cubicBezTo>
                <a:cubicBezTo>
                  <a:pt x="90" y="314"/>
                  <a:pt x="90" y="314"/>
                  <a:pt x="90" y="314"/>
                </a:cubicBezTo>
                <a:cubicBezTo>
                  <a:pt x="90" y="313"/>
                  <a:pt x="90" y="313"/>
                  <a:pt x="90" y="313"/>
                </a:cubicBezTo>
                <a:cubicBezTo>
                  <a:pt x="90" y="313"/>
                  <a:pt x="90" y="313"/>
                  <a:pt x="90" y="313"/>
                </a:cubicBezTo>
                <a:cubicBezTo>
                  <a:pt x="90" y="313"/>
                  <a:pt x="90" y="313"/>
                  <a:pt x="90" y="313"/>
                </a:cubicBezTo>
                <a:close/>
                <a:moveTo>
                  <a:pt x="89" y="311"/>
                </a:moveTo>
                <a:cubicBezTo>
                  <a:pt x="89" y="312"/>
                  <a:pt x="89" y="312"/>
                  <a:pt x="89" y="312"/>
                </a:cubicBezTo>
                <a:cubicBezTo>
                  <a:pt x="90" y="312"/>
                  <a:pt x="90" y="312"/>
                  <a:pt x="90" y="312"/>
                </a:cubicBezTo>
                <a:cubicBezTo>
                  <a:pt x="90" y="312"/>
                  <a:pt x="90" y="312"/>
                  <a:pt x="90" y="312"/>
                </a:cubicBezTo>
                <a:cubicBezTo>
                  <a:pt x="91" y="312"/>
                  <a:pt x="91" y="312"/>
                  <a:pt x="91" y="312"/>
                </a:cubicBezTo>
                <a:cubicBezTo>
                  <a:pt x="91" y="312"/>
                  <a:pt x="91" y="312"/>
                  <a:pt x="91" y="312"/>
                </a:cubicBezTo>
                <a:cubicBezTo>
                  <a:pt x="91" y="311"/>
                  <a:pt x="91" y="311"/>
                  <a:pt x="91" y="311"/>
                </a:cubicBezTo>
                <a:cubicBezTo>
                  <a:pt x="90" y="311"/>
                  <a:pt x="90" y="311"/>
                  <a:pt x="90" y="311"/>
                </a:cubicBezTo>
                <a:cubicBezTo>
                  <a:pt x="89" y="311"/>
                  <a:pt x="89" y="311"/>
                  <a:pt x="89" y="311"/>
                </a:cubicBezTo>
                <a:cubicBezTo>
                  <a:pt x="89" y="311"/>
                  <a:pt x="89" y="311"/>
                  <a:pt x="89" y="311"/>
                </a:cubicBezTo>
                <a:close/>
                <a:moveTo>
                  <a:pt x="94" y="310"/>
                </a:moveTo>
                <a:cubicBezTo>
                  <a:pt x="94" y="310"/>
                  <a:pt x="94" y="310"/>
                  <a:pt x="94" y="310"/>
                </a:cubicBezTo>
                <a:cubicBezTo>
                  <a:pt x="94" y="309"/>
                  <a:pt x="94" y="309"/>
                  <a:pt x="94" y="309"/>
                </a:cubicBezTo>
                <a:cubicBezTo>
                  <a:pt x="94" y="309"/>
                  <a:pt x="94" y="309"/>
                  <a:pt x="94" y="309"/>
                </a:cubicBezTo>
                <a:cubicBezTo>
                  <a:pt x="94" y="310"/>
                  <a:pt x="94" y="310"/>
                  <a:pt x="94" y="310"/>
                </a:cubicBezTo>
                <a:close/>
                <a:moveTo>
                  <a:pt x="93" y="302"/>
                </a:moveTo>
                <a:cubicBezTo>
                  <a:pt x="93" y="303"/>
                  <a:pt x="93" y="303"/>
                  <a:pt x="93" y="303"/>
                </a:cubicBezTo>
                <a:cubicBezTo>
                  <a:pt x="94" y="304"/>
                  <a:pt x="94" y="304"/>
                  <a:pt x="94" y="304"/>
                </a:cubicBezTo>
                <a:cubicBezTo>
                  <a:pt x="96" y="304"/>
                  <a:pt x="96" y="304"/>
                  <a:pt x="96" y="304"/>
                </a:cubicBezTo>
                <a:cubicBezTo>
                  <a:pt x="96" y="305"/>
                  <a:pt x="96" y="305"/>
                  <a:pt x="96" y="305"/>
                </a:cubicBezTo>
                <a:cubicBezTo>
                  <a:pt x="96" y="304"/>
                  <a:pt x="96" y="304"/>
                  <a:pt x="96" y="304"/>
                </a:cubicBezTo>
                <a:cubicBezTo>
                  <a:pt x="96" y="304"/>
                  <a:pt x="96" y="304"/>
                  <a:pt x="96" y="304"/>
                </a:cubicBezTo>
                <a:cubicBezTo>
                  <a:pt x="94" y="303"/>
                  <a:pt x="94" y="303"/>
                  <a:pt x="94" y="303"/>
                </a:cubicBezTo>
                <a:cubicBezTo>
                  <a:pt x="94" y="302"/>
                  <a:pt x="94" y="302"/>
                  <a:pt x="94" y="302"/>
                </a:cubicBezTo>
                <a:cubicBezTo>
                  <a:pt x="93" y="302"/>
                  <a:pt x="93" y="302"/>
                  <a:pt x="93" y="302"/>
                </a:cubicBezTo>
                <a:close/>
                <a:moveTo>
                  <a:pt x="101" y="288"/>
                </a:moveTo>
                <a:cubicBezTo>
                  <a:pt x="102" y="289"/>
                  <a:pt x="102" y="289"/>
                  <a:pt x="102" y="289"/>
                </a:cubicBezTo>
                <a:cubicBezTo>
                  <a:pt x="102" y="290"/>
                  <a:pt x="102" y="290"/>
                  <a:pt x="102" y="290"/>
                </a:cubicBezTo>
                <a:cubicBezTo>
                  <a:pt x="102" y="291"/>
                  <a:pt x="102" y="291"/>
                  <a:pt x="102" y="291"/>
                </a:cubicBezTo>
                <a:cubicBezTo>
                  <a:pt x="102" y="292"/>
                  <a:pt x="102" y="292"/>
                  <a:pt x="102" y="292"/>
                </a:cubicBezTo>
                <a:cubicBezTo>
                  <a:pt x="103" y="292"/>
                  <a:pt x="103" y="292"/>
                  <a:pt x="103" y="292"/>
                </a:cubicBezTo>
                <a:cubicBezTo>
                  <a:pt x="103" y="291"/>
                  <a:pt x="103" y="291"/>
                  <a:pt x="103" y="291"/>
                </a:cubicBezTo>
                <a:cubicBezTo>
                  <a:pt x="103" y="290"/>
                  <a:pt x="103" y="290"/>
                  <a:pt x="103" y="290"/>
                </a:cubicBezTo>
                <a:cubicBezTo>
                  <a:pt x="102" y="289"/>
                  <a:pt x="102" y="289"/>
                  <a:pt x="102" y="289"/>
                </a:cubicBezTo>
                <a:cubicBezTo>
                  <a:pt x="102" y="288"/>
                  <a:pt x="102" y="288"/>
                  <a:pt x="102" y="288"/>
                </a:cubicBezTo>
                <a:cubicBezTo>
                  <a:pt x="102" y="288"/>
                  <a:pt x="102" y="288"/>
                  <a:pt x="102" y="288"/>
                </a:cubicBezTo>
                <a:cubicBezTo>
                  <a:pt x="101" y="288"/>
                  <a:pt x="101" y="288"/>
                  <a:pt x="101" y="288"/>
                </a:cubicBezTo>
                <a:close/>
                <a:moveTo>
                  <a:pt x="107" y="284"/>
                </a:moveTo>
                <a:cubicBezTo>
                  <a:pt x="107" y="285"/>
                  <a:pt x="107" y="285"/>
                  <a:pt x="107" y="285"/>
                </a:cubicBezTo>
                <a:cubicBezTo>
                  <a:pt x="108" y="285"/>
                  <a:pt x="108" y="285"/>
                  <a:pt x="108" y="285"/>
                </a:cubicBezTo>
                <a:cubicBezTo>
                  <a:pt x="108" y="285"/>
                  <a:pt x="108" y="285"/>
                  <a:pt x="108" y="285"/>
                </a:cubicBezTo>
                <a:cubicBezTo>
                  <a:pt x="108" y="284"/>
                  <a:pt x="108" y="284"/>
                  <a:pt x="108" y="284"/>
                </a:cubicBezTo>
                <a:cubicBezTo>
                  <a:pt x="107" y="284"/>
                  <a:pt x="107" y="284"/>
                  <a:pt x="107" y="284"/>
                </a:cubicBezTo>
                <a:close/>
                <a:moveTo>
                  <a:pt x="109" y="283"/>
                </a:moveTo>
                <a:cubicBezTo>
                  <a:pt x="109" y="283"/>
                  <a:pt x="109" y="283"/>
                  <a:pt x="109" y="283"/>
                </a:cubicBezTo>
                <a:cubicBezTo>
                  <a:pt x="109" y="283"/>
                  <a:pt x="109" y="283"/>
                  <a:pt x="109" y="283"/>
                </a:cubicBezTo>
                <a:cubicBezTo>
                  <a:pt x="109" y="282"/>
                  <a:pt x="109" y="282"/>
                  <a:pt x="109" y="282"/>
                </a:cubicBezTo>
                <a:cubicBezTo>
                  <a:pt x="109" y="283"/>
                  <a:pt x="109" y="283"/>
                  <a:pt x="109" y="283"/>
                </a:cubicBezTo>
                <a:close/>
                <a:moveTo>
                  <a:pt x="119" y="282"/>
                </a:moveTo>
                <a:cubicBezTo>
                  <a:pt x="120" y="281"/>
                  <a:pt x="120" y="281"/>
                  <a:pt x="120" y="281"/>
                </a:cubicBezTo>
                <a:cubicBezTo>
                  <a:pt x="121" y="281"/>
                  <a:pt x="121" y="281"/>
                  <a:pt x="121" y="281"/>
                </a:cubicBezTo>
                <a:cubicBezTo>
                  <a:pt x="121" y="281"/>
                  <a:pt x="121" y="281"/>
                  <a:pt x="121" y="281"/>
                </a:cubicBezTo>
                <a:cubicBezTo>
                  <a:pt x="120" y="279"/>
                  <a:pt x="120" y="279"/>
                  <a:pt x="120" y="279"/>
                </a:cubicBezTo>
                <a:cubicBezTo>
                  <a:pt x="120" y="279"/>
                  <a:pt x="120" y="279"/>
                  <a:pt x="120" y="279"/>
                </a:cubicBezTo>
                <a:cubicBezTo>
                  <a:pt x="119" y="278"/>
                  <a:pt x="119" y="278"/>
                  <a:pt x="119" y="278"/>
                </a:cubicBezTo>
                <a:cubicBezTo>
                  <a:pt x="119" y="278"/>
                  <a:pt x="119" y="278"/>
                  <a:pt x="119" y="278"/>
                </a:cubicBezTo>
                <a:cubicBezTo>
                  <a:pt x="118" y="279"/>
                  <a:pt x="118" y="279"/>
                  <a:pt x="118" y="279"/>
                </a:cubicBezTo>
                <a:cubicBezTo>
                  <a:pt x="118" y="280"/>
                  <a:pt x="118" y="280"/>
                  <a:pt x="118" y="280"/>
                </a:cubicBezTo>
                <a:cubicBezTo>
                  <a:pt x="117" y="281"/>
                  <a:pt x="117" y="281"/>
                  <a:pt x="117" y="281"/>
                </a:cubicBezTo>
                <a:cubicBezTo>
                  <a:pt x="118" y="281"/>
                  <a:pt x="118" y="281"/>
                  <a:pt x="118" y="281"/>
                </a:cubicBezTo>
                <a:cubicBezTo>
                  <a:pt x="118" y="282"/>
                  <a:pt x="118" y="282"/>
                  <a:pt x="118" y="282"/>
                </a:cubicBezTo>
                <a:cubicBezTo>
                  <a:pt x="119" y="282"/>
                  <a:pt x="119" y="282"/>
                  <a:pt x="119" y="282"/>
                </a:cubicBezTo>
                <a:close/>
                <a:moveTo>
                  <a:pt x="123" y="281"/>
                </a:moveTo>
                <a:cubicBezTo>
                  <a:pt x="123" y="281"/>
                  <a:pt x="123" y="281"/>
                  <a:pt x="123" y="281"/>
                </a:cubicBezTo>
                <a:cubicBezTo>
                  <a:pt x="123" y="280"/>
                  <a:pt x="123" y="280"/>
                  <a:pt x="123" y="280"/>
                </a:cubicBezTo>
                <a:cubicBezTo>
                  <a:pt x="122" y="280"/>
                  <a:pt x="122" y="280"/>
                  <a:pt x="122" y="280"/>
                </a:cubicBezTo>
                <a:cubicBezTo>
                  <a:pt x="122" y="281"/>
                  <a:pt x="122" y="281"/>
                  <a:pt x="122" y="281"/>
                </a:cubicBezTo>
                <a:cubicBezTo>
                  <a:pt x="123" y="282"/>
                  <a:pt x="123" y="282"/>
                  <a:pt x="123" y="282"/>
                </a:cubicBezTo>
                <a:cubicBezTo>
                  <a:pt x="123" y="281"/>
                  <a:pt x="123" y="281"/>
                  <a:pt x="123" y="281"/>
                </a:cubicBezTo>
                <a:close/>
                <a:moveTo>
                  <a:pt x="197" y="240"/>
                </a:moveTo>
                <a:cubicBezTo>
                  <a:pt x="198" y="240"/>
                  <a:pt x="198" y="240"/>
                  <a:pt x="198" y="240"/>
                </a:cubicBezTo>
                <a:cubicBezTo>
                  <a:pt x="198" y="239"/>
                  <a:pt x="198" y="239"/>
                  <a:pt x="198" y="239"/>
                </a:cubicBezTo>
                <a:cubicBezTo>
                  <a:pt x="198" y="239"/>
                  <a:pt x="198" y="239"/>
                  <a:pt x="198" y="239"/>
                </a:cubicBezTo>
                <a:cubicBezTo>
                  <a:pt x="197" y="239"/>
                  <a:pt x="197" y="239"/>
                  <a:pt x="197" y="239"/>
                </a:cubicBezTo>
                <a:cubicBezTo>
                  <a:pt x="197" y="240"/>
                  <a:pt x="197" y="240"/>
                  <a:pt x="197" y="240"/>
                </a:cubicBezTo>
                <a:close/>
                <a:moveTo>
                  <a:pt x="184" y="229"/>
                </a:moveTo>
                <a:cubicBezTo>
                  <a:pt x="185" y="229"/>
                  <a:pt x="185" y="229"/>
                  <a:pt x="185" y="229"/>
                </a:cubicBezTo>
                <a:cubicBezTo>
                  <a:pt x="185" y="229"/>
                  <a:pt x="185" y="229"/>
                  <a:pt x="185" y="229"/>
                </a:cubicBezTo>
                <a:cubicBezTo>
                  <a:pt x="185" y="229"/>
                  <a:pt x="185" y="229"/>
                  <a:pt x="185" y="229"/>
                </a:cubicBezTo>
                <a:cubicBezTo>
                  <a:pt x="184" y="228"/>
                  <a:pt x="184" y="228"/>
                  <a:pt x="184" y="228"/>
                </a:cubicBezTo>
                <a:cubicBezTo>
                  <a:pt x="184" y="228"/>
                  <a:pt x="184" y="229"/>
                  <a:pt x="184" y="229"/>
                </a:cubicBezTo>
                <a:close/>
                <a:moveTo>
                  <a:pt x="178" y="224"/>
                </a:moveTo>
                <a:cubicBezTo>
                  <a:pt x="179" y="224"/>
                  <a:pt x="179" y="224"/>
                  <a:pt x="179" y="224"/>
                </a:cubicBezTo>
                <a:cubicBezTo>
                  <a:pt x="180" y="224"/>
                  <a:pt x="180" y="224"/>
                  <a:pt x="180" y="224"/>
                </a:cubicBezTo>
                <a:cubicBezTo>
                  <a:pt x="180" y="223"/>
                  <a:pt x="180" y="223"/>
                  <a:pt x="180" y="223"/>
                </a:cubicBezTo>
                <a:cubicBezTo>
                  <a:pt x="179" y="223"/>
                  <a:pt x="179" y="223"/>
                  <a:pt x="179" y="223"/>
                </a:cubicBezTo>
                <a:cubicBezTo>
                  <a:pt x="178" y="224"/>
                  <a:pt x="178" y="224"/>
                  <a:pt x="178" y="224"/>
                </a:cubicBezTo>
                <a:close/>
                <a:moveTo>
                  <a:pt x="190" y="221"/>
                </a:moveTo>
                <a:cubicBezTo>
                  <a:pt x="190" y="221"/>
                  <a:pt x="190" y="221"/>
                  <a:pt x="190" y="221"/>
                </a:cubicBezTo>
                <a:cubicBezTo>
                  <a:pt x="190" y="222"/>
                  <a:pt x="190" y="222"/>
                  <a:pt x="190" y="222"/>
                </a:cubicBezTo>
                <a:cubicBezTo>
                  <a:pt x="191" y="222"/>
                  <a:pt x="191" y="222"/>
                  <a:pt x="191" y="222"/>
                </a:cubicBezTo>
                <a:cubicBezTo>
                  <a:pt x="190" y="221"/>
                  <a:pt x="190" y="221"/>
                  <a:pt x="190" y="221"/>
                </a:cubicBezTo>
                <a:cubicBezTo>
                  <a:pt x="190" y="220"/>
                  <a:pt x="190" y="220"/>
                  <a:pt x="190" y="220"/>
                </a:cubicBezTo>
                <a:cubicBezTo>
                  <a:pt x="190" y="221"/>
                  <a:pt x="190" y="221"/>
                  <a:pt x="190" y="221"/>
                </a:cubicBezTo>
                <a:close/>
                <a:moveTo>
                  <a:pt x="197" y="197"/>
                </a:moveTo>
                <a:cubicBezTo>
                  <a:pt x="197" y="198"/>
                  <a:pt x="197" y="198"/>
                  <a:pt x="197" y="198"/>
                </a:cubicBezTo>
                <a:cubicBezTo>
                  <a:pt x="198" y="198"/>
                  <a:pt x="198" y="198"/>
                  <a:pt x="198" y="198"/>
                </a:cubicBezTo>
                <a:cubicBezTo>
                  <a:pt x="198" y="199"/>
                  <a:pt x="198" y="199"/>
                  <a:pt x="198" y="199"/>
                </a:cubicBezTo>
                <a:cubicBezTo>
                  <a:pt x="198" y="201"/>
                  <a:pt x="198" y="201"/>
                  <a:pt x="198" y="201"/>
                </a:cubicBezTo>
                <a:cubicBezTo>
                  <a:pt x="199" y="202"/>
                  <a:pt x="199" y="202"/>
                  <a:pt x="199" y="202"/>
                </a:cubicBezTo>
                <a:cubicBezTo>
                  <a:pt x="201" y="202"/>
                  <a:pt x="201" y="202"/>
                  <a:pt x="201" y="202"/>
                </a:cubicBezTo>
                <a:cubicBezTo>
                  <a:pt x="202" y="204"/>
                  <a:pt x="202" y="204"/>
                  <a:pt x="202" y="204"/>
                </a:cubicBezTo>
                <a:cubicBezTo>
                  <a:pt x="203" y="205"/>
                  <a:pt x="203" y="205"/>
                  <a:pt x="203" y="205"/>
                </a:cubicBezTo>
                <a:cubicBezTo>
                  <a:pt x="204" y="205"/>
                  <a:pt x="204" y="205"/>
                  <a:pt x="204" y="205"/>
                </a:cubicBezTo>
                <a:cubicBezTo>
                  <a:pt x="205" y="206"/>
                  <a:pt x="205" y="206"/>
                  <a:pt x="205" y="206"/>
                </a:cubicBezTo>
                <a:cubicBezTo>
                  <a:pt x="205" y="206"/>
                  <a:pt x="205" y="206"/>
                  <a:pt x="205" y="206"/>
                </a:cubicBezTo>
                <a:cubicBezTo>
                  <a:pt x="206" y="207"/>
                  <a:pt x="206" y="207"/>
                  <a:pt x="206" y="207"/>
                </a:cubicBezTo>
                <a:cubicBezTo>
                  <a:pt x="207" y="206"/>
                  <a:pt x="207" y="206"/>
                  <a:pt x="207" y="206"/>
                </a:cubicBezTo>
                <a:cubicBezTo>
                  <a:pt x="207" y="205"/>
                  <a:pt x="207" y="205"/>
                  <a:pt x="207" y="205"/>
                </a:cubicBezTo>
                <a:cubicBezTo>
                  <a:pt x="207" y="205"/>
                  <a:pt x="207" y="205"/>
                  <a:pt x="207" y="205"/>
                </a:cubicBezTo>
                <a:cubicBezTo>
                  <a:pt x="206" y="204"/>
                  <a:pt x="206" y="204"/>
                  <a:pt x="206" y="204"/>
                </a:cubicBezTo>
                <a:cubicBezTo>
                  <a:pt x="205" y="203"/>
                  <a:pt x="205" y="203"/>
                  <a:pt x="205" y="203"/>
                </a:cubicBezTo>
                <a:cubicBezTo>
                  <a:pt x="205" y="203"/>
                  <a:pt x="205" y="203"/>
                  <a:pt x="205" y="203"/>
                </a:cubicBezTo>
                <a:cubicBezTo>
                  <a:pt x="204" y="202"/>
                  <a:pt x="204" y="202"/>
                  <a:pt x="204" y="202"/>
                </a:cubicBezTo>
                <a:cubicBezTo>
                  <a:pt x="204" y="202"/>
                  <a:pt x="204" y="202"/>
                  <a:pt x="204" y="202"/>
                </a:cubicBezTo>
                <a:cubicBezTo>
                  <a:pt x="205" y="201"/>
                  <a:pt x="205" y="201"/>
                  <a:pt x="205" y="201"/>
                </a:cubicBezTo>
                <a:cubicBezTo>
                  <a:pt x="205" y="202"/>
                  <a:pt x="205" y="202"/>
                  <a:pt x="205" y="202"/>
                </a:cubicBezTo>
                <a:cubicBezTo>
                  <a:pt x="206" y="202"/>
                  <a:pt x="206" y="202"/>
                  <a:pt x="206" y="202"/>
                </a:cubicBezTo>
                <a:cubicBezTo>
                  <a:pt x="208" y="203"/>
                  <a:pt x="208" y="203"/>
                  <a:pt x="208" y="203"/>
                </a:cubicBezTo>
                <a:cubicBezTo>
                  <a:pt x="208" y="203"/>
                  <a:pt x="208" y="203"/>
                  <a:pt x="208" y="203"/>
                </a:cubicBezTo>
                <a:cubicBezTo>
                  <a:pt x="208" y="203"/>
                  <a:pt x="208" y="203"/>
                  <a:pt x="208" y="203"/>
                </a:cubicBezTo>
                <a:cubicBezTo>
                  <a:pt x="208" y="201"/>
                  <a:pt x="208" y="201"/>
                  <a:pt x="208" y="201"/>
                </a:cubicBezTo>
                <a:cubicBezTo>
                  <a:pt x="205" y="200"/>
                  <a:pt x="205" y="200"/>
                  <a:pt x="205" y="200"/>
                </a:cubicBezTo>
                <a:cubicBezTo>
                  <a:pt x="204" y="198"/>
                  <a:pt x="204" y="198"/>
                  <a:pt x="204" y="198"/>
                </a:cubicBezTo>
                <a:cubicBezTo>
                  <a:pt x="203" y="198"/>
                  <a:pt x="203" y="198"/>
                  <a:pt x="203" y="198"/>
                </a:cubicBezTo>
                <a:cubicBezTo>
                  <a:pt x="202" y="198"/>
                  <a:pt x="202" y="198"/>
                  <a:pt x="202" y="198"/>
                </a:cubicBezTo>
                <a:cubicBezTo>
                  <a:pt x="201" y="197"/>
                  <a:pt x="201" y="197"/>
                  <a:pt x="201" y="197"/>
                </a:cubicBezTo>
                <a:cubicBezTo>
                  <a:pt x="200" y="197"/>
                  <a:pt x="200" y="197"/>
                  <a:pt x="200" y="197"/>
                </a:cubicBezTo>
                <a:cubicBezTo>
                  <a:pt x="199" y="197"/>
                  <a:pt x="199" y="197"/>
                  <a:pt x="199" y="197"/>
                </a:cubicBezTo>
                <a:cubicBezTo>
                  <a:pt x="198" y="196"/>
                  <a:pt x="198" y="196"/>
                  <a:pt x="198" y="196"/>
                </a:cubicBezTo>
                <a:cubicBezTo>
                  <a:pt x="197" y="197"/>
                  <a:pt x="197" y="197"/>
                  <a:pt x="197" y="197"/>
                </a:cubicBezTo>
                <a:close/>
                <a:moveTo>
                  <a:pt x="194" y="198"/>
                </a:moveTo>
                <a:cubicBezTo>
                  <a:pt x="195" y="197"/>
                  <a:pt x="195" y="197"/>
                  <a:pt x="195" y="197"/>
                </a:cubicBezTo>
                <a:cubicBezTo>
                  <a:pt x="195" y="196"/>
                  <a:pt x="195" y="196"/>
                  <a:pt x="195" y="196"/>
                </a:cubicBezTo>
                <a:cubicBezTo>
                  <a:pt x="196" y="196"/>
                  <a:pt x="196" y="196"/>
                  <a:pt x="196" y="196"/>
                </a:cubicBezTo>
                <a:cubicBezTo>
                  <a:pt x="194" y="196"/>
                  <a:pt x="194" y="196"/>
                  <a:pt x="194" y="196"/>
                </a:cubicBezTo>
                <a:cubicBezTo>
                  <a:pt x="194" y="197"/>
                  <a:pt x="194" y="197"/>
                  <a:pt x="194" y="197"/>
                </a:cubicBezTo>
                <a:cubicBezTo>
                  <a:pt x="194" y="198"/>
                  <a:pt x="194" y="198"/>
                  <a:pt x="194" y="198"/>
                </a:cubicBezTo>
                <a:close/>
                <a:moveTo>
                  <a:pt x="197" y="195"/>
                </a:moveTo>
                <a:cubicBezTo>
                  <a:pt x="198" y="196"/>
                  <a:pt x="198" y="196"/>
                  <a:pt x="198" y="196"/>
                </a:cubicBezTo>
                <a:cubicBezTo>
                  <a:pt x="200" y="196"/>
                  <a:pt x="200" y="196"/>
                  <a:pt x="200" y="196"/>
                </a:cubicBezTo>
                <a:cubicBezTo>
                  <a:pt x="201" y="197"/>
                  <a:pt x="201" y="197"/>
                  <a:pt x="201" y="197"/>
                </a:cubicBezTo>
                <a:cubicBezTo>
                  <a:pt x="203" y="197"/>
                  <a:pt x="203" y="197"/>
                  <a:pt x="203" y="197"/>
                </a:cubicBezTo>
                <a:cubicBezTo>
                  <a:pt x="204" y="198"/>
                  <a:pt x="204" y="198"/>
                  <a:pt x="204" y="198"/>
                </a:cubicBezTo>
                <a:cubicBezTo>
                  <a:pt x="205" y="198"/>
                  <a:pt x="205" y="198"/>
                  <a:pt x="205" y="198"/>
                </a:cubicBezTo>
                <a:cubicBezTo>
                  <a:pt x="206" y="198"/>
                  <a:pt x="206" y="198"/>
                  <a:pt x="206" y="198"/>
                </a:cubicBezTo>
                <a:cubicBezTo>
                  <a:pt x="206" y="199"/>
                  <a:pt x="206" y="199"/>
                  <a:pt x="206" y="199"/>
                </a:cubicBezTo>
                <a:cubicBezTo>
                  <a:pt x="206" y="199"/>
                  <a:pt x="206" y="199"/>
                  <a:pt x="206" y="199"/>
                </a:cubicBezTo>
                <a:cubicBezTo>
                  <a:pt x="207" y="199"/>
                  <a:pt x="207" y="199"/>
                  <a:pt x="207" y="199"/>
                </a:cubicBezTo>
                <a:cubicBezTo>
                  <a:pt x="208" y="199"/>
                  <a:pt x="208" y="199"/>
                  <a:pt x="208" y="199"/>
                </a:cubicBezTo>
                <a:cubicBezTo>
                  <a:pt x="209" y="199"/>
                  <a:pt x="209" y="199"/>
                  <a:pt x="209" y="199"/>
                </a:cubicBezTo>
                <a:cubicBezTo>
                  <a:pt x="209" y="198"/>
                  <a:pt x="209" y="198"/>
                  <a:pt x="209" y="198"/>
                </a:cubicBezTo>
                <a:cubicBezTo>
                  <a:pt x="209" y="198"/>
                  <a:pt x="209" y="198"/>
                  <a:pt x="209" y="198"/>
                </a:cubicBezTo>
                <a:cubicBezTo>
                  <a:pt x="209" y="197"/>
                  <a:pt x="209" y="197"/>
                  <a:pt x="209" y="197"/>
                </a:cubicBezTo>
                <a:cubicBezTo>
                  <a:pt x="210" y="197"/>
                  <a:pt x="210" y="197"/>
                  <a:pt x="210" y="197"/>
                </a:cubicBezTo>
                <a:cubicBezTo>
                  <a:pt x="208" y="196"/>
                  <a:pt x="208" y="196"/>
                  <a:pt x="208" y="196"/>
                </a:cubicBezTo>
                <a:cubicBezTo>
                  <a:pt x="207" y="195"/>
                  <a:pt x="207" y="195"/>
                  <a:pt x="207" y="195"/>
                </a:cubicBezTo>
                <a:cubicBezTo>
                  <a:pt x="205" y="194"/>
                  <a:pt x="205" y="194"/>
                  <a:pt x="205" y="194"/>
                </a:cubicBezTo>
                <a:cubicBezTo>
                  <a:pt x="204" y="194"/>
                  <a:pt x="204" y="194"/>
                  <a:pt x="204" y="194"/>
                </a:cubicBezTo>
                <a:cubicBezTo>
                  <a:pt x="202" y="195"/>
                  <a:pt x="202" y="195"/>
                  <a:pt x="202" y="195"/>
                </a:cubicBezTo>
                <a:cubicBezTo>
                  <a:pt x="201" y="195"/>
                  <a:pt x="201" y="195"/>
                  <a:pt x="201" y="195"/>
                </a:cubicBezTo>
                <a:cubicBezTo>
                  <a:pt x="199" y="195"/>
                  <a:pt x="199" y="195"/>
                  <a:pt x="199" y="195"/>
                </a:cubicBezTo>
                <a:cubicBezTo>
                  <a:pt x="198" y="195"/>
                  <a:pt x="198" y="195"/>
                  <a:pt x="198" y="195"/>
                </a:cubicBezTo>
                <a:cubicBezTo>
                  <a:pt x="198" y="195"/>
                  <a:pt x="197" y="195"/>
                  <a:pt x="197" y="195"/>
                </a:cubicBezTo>
                <a:close/>
                <a:moveTo>
                  <a:pt x="192" y="191"/>
                </a:moveTo>
                <a:cubicBezTo>
                  <a:pt x="193" y="192"/>
                  <a:pt x="193" y="192"/>
                  <a:pt x="193" y="192"/>
                </a:cubicBezTo>
                <a:cubicBezTo>
                  <a:pt x="195" y="192"/>
                  <a:pt x="195" y="192"/>
                  <a:pt x="195" y="192"/>
                </a:cubicBezTo>
                <a:cubicBezTo>
                  <a:pt x="196" y="193"/>
                  <a:pt x="196" y="193"/>
                  <a:pt x="196" y="193"/>
                </a:cubicBezTo>
                <a:cubicBezTo>
                  <a:pt x="198" y="194"/>
                  <a:pt x="198" y="194"/>
                  <a:pt x="198" y="194"/>
                </a:cubicBezTo>
                <a:cubicBezTo>
                  <a:pt x="200" y="194"/>
                  <a:pt x="200" y="194"/>
                  <a:pt x="200" y="194"/>
                </a:cubicBezTo>
                <a:cubicBezTo>
                  <a:pt x="204" y="194"/>
                  <a:pt x="204" y="194"/>
                  <a:pt x="204" y="194"/>
                </a:cubicBezTo>
                <a:cubicBezTo>
                  <a:pt x="205" y="194"/>
                  <a:pt x="205" y="194"/>
                  <a:pt x="205" y="194"/>
                </a:cubicBezTo>
                <a:cubicBezTo>
                  <a:pt x="205" y="193"/>
                  <a:pt x="205" y="193"/>
                  <a:pt x="205" y="193"/>
                </a:cubicBezTo>
                <a:cubicBezTo>
                  <a:pt x="204" y="193"/>
                  <a:pt x="204" y="193"/>
                  <a:pt x="204" y="193"/>
                </a:cubicBezTo>
                <a:cubicBezTo>
                  <a:pt x="201" y="193"/>
                  <a:pt x="201" y="193"/>
                  <a:pt x="201" y="193"/>
                </a:cubicBezTo>
                <a:cubicBezTo>
                  <a:pt x="200" y="193"/>
                  <a:pt x="200" y="193"/>
                  <a:pt x="200" y="193"/>
                </a:cubicBezTo>
                <a:cubicBezTo>
                  <a:pt x="198" y="192"/>
                  <a:pt x="198" y="192"/>
                  <a:pt x="198" y="192"/>
                </a:cubicBezTo>
                <a:cubicBezTo>
                  <a:pt x="197" y="191"/>
                  <a:pt x="197" y="191"/>
                  <a:pt x="197" y="191"/>
                </a:cubicBezTo>
                <a:cubicBezTo>
                  <a:pt x="196" y="191"/>
                  <a:pt x="196" y="191"/>
                  <a:pt x="196" y="191"/>
                </a:cubicBezTo>
                <a:cubicBezTo>
                  <a:pt x="197" y="190"/>
                  <a:pt x="197" y="190"/>
                  <a:pt x="197" y="190"/>
                </a:cubicBezTo>
                <a:cubicBezTo>
                  <a:pt x="198" y="190"/>
                  <a:pt x="198" y="190"/>
                  <a:pt x="198" y="190"/>
                </a:cubicBezTo>
                <a:cubicBezTo>
                  <a:pt x="200" y="192"/>
                  <a:pt x="200" y="192"/>
                  <a:pt x="200" y="192"/>
                </a:cubicBezTo>
                <a:cubicBezTo>
                  <a:pt x="202" y="192"/>
                  <a:pt x="202" y="192"/>
                  <a:pt x="202" y="192"/>
                </a:cubicBezTo>
                <a:cubicBezTo>
                  <a:pt x="203" y="192"/>
                  <a:pt x="203" y="192"/>
                  <a:pt x="203" y="192"/>
                </a:cubicBezTo>
                <a:cubicBezTo>
                  <a:pt x="202" y="191"/>
                  <a:pt x="202" y="191"/>
                  <a:pt x="202" y="191"/>
                </a:cubicBezTo>
                <a:cubicBezTo>
                  <a:pt x="199" y="189"/>
                  <a:pt x="199" y="189"/>
                  <a:pt x="199" y="189"/>
                </a:cubicBezTo>
                <a:cubicBezTo>
                  <a:pt x="196" y="189"/>
                  <a:pt x="196" y="189"/>
                  <a:pt x="196" y="189"/>
                </a:cubicBezTo>
                <a:cubicBezTo>
                  <a:pt x="195" y="189"/>
                  <a:pt x="195" y="189"/>
                  <a:pt x="195" y="189"/>
                </a:cubicBezTo>
                <a:cubicBezTo>
                  <a:pt x="195" y="190"/>
                  <a:pt x="195" y="190"/>
                  <a:pt x="195" y="190"/>
                </a:cubicBezTo>
                <a:cubicBezTo>
                  <a:pt x="193" y="190"/>
                  <a:pt x="193" y="190"/>
                  <a:pt x="193" y="190"/>
                </a:cubicBezTo>
                <a:cubicBezTo>
                  <a:pt x="192" y="191"/>
                  <a:pt x="192" y="191"/>
                  <a:pt x="192" y="191"/>
                </a:cubicBezTo>
                <a:close/>
                <a:moveTo>
                  <a:pt x="211" y="194"/>
                </a:moveTo>
                <a:cubicBezTo>
                  <a:pt x="212" y="194"/>
                  <a:pt x="212" y="194"/>
                  <a:pt x="212" y="194"/>
                </a:cubicBezTo>
                <a:cubicBezTo>
                  <a:pt x="213" y="194"/>
                  <a:pt x="213" y="194"/>
                  <a:pt x="213" y="194"/>
                </a:cubicBezTo>
                <a:cubicBezTo>
                  <a:pt x="213" y="193"/>
                  <a:pt x="213" y="193"/>
                  <a:pt x="213" y="193"/>
                </a:cubicBezTo>
                <a:cubicBezTo>
                  <a:pt x="212" y="194"/>
                  <a:pt x="212" y="194"/>
                  <a:pt x="212" y="194"/>
                </a:cubicBezTo>
                <a:cubicBezTo>
                  <a:pt x="211" y="194"/>
                  <a:pt x="211" y="194"/>
                  <a:pt x="211" y="194"/>
                </a:cubicBezTo>
                <a:close/>
                <a:moveTo>
                  <a:pt x="213" y="175"/>
                </a:moveTo>
                <a:cubicBezTo>
                  <a:pt x="212" y="177"/>
                  <a:pt x="212" y="177"/>
                  <a:pt x="212" y="177"/>
                </a:cubicBezTo>
                <a:cubicBezTo>
                  <a:pt x="212" y="178"/>
                  <a:pt x="212" y="178"/>
                  <a:pt x="212" y="178"/>
                </a:cubicBezTo>
                <a:cubicBezTo>
                  <a:pt x="212" y="179"/>
                  <a:pt x="212" y="179"/>
                  <a:pt x="212" y="179"/>
                </a:cubicBezTo>
                <a:cubicBezTo>
                  <a:pt x="213" y="179"/>
                  <a:pt x="213" y="179"/>
                  <a:pt x="213" y="179"/>
                </a:cubicBezTo>
                <a:cubicBezTo>
                  <a:pt x="215" y="180"/>
                  <a:pt x="215" y="180"/>
                  <a:pt x="215" y="180"/>
                </a:cubicBezTo>
                <a:cubicBezTo>
                  <a:pt x="215" y="180"/>
                  <a:pt x="215" y="180"/>
                  <a:pt x="215" y="180"/>
                </a:cubicBezTo>
                <a:cubicBezTo>
                  <a:pt x="217" y="180"/>
                  <a:pt x="217" y="180"/>
                  <a:pt x="217" y="180"/>
                </a:cubicBezTo>
                <a:cubicBezTo>
                  <a:pt x="218" y="180"/>
                  <a:pt x="218" y="180"/>
                  <a:pt x="218" y="180"/>
                </a:cubicBezTo>
                <a:cubicBezTo>
                  <a:pt x="218" y="178"/>
                  <a:pt x="218" y="178"/>
                  <a:pt x="218" y="178"/>
                </a:cubicBezTo>
                <a:cubicBezTo>
                  <a:pt x="219" y="178"/>
                  <a:pt x="219" y="178"/>
                  <a:pt x="219" y="178"/>
                </a:cubicBezTo>
                <a:cubicBezTo>
                  <a:pt x="218" y="176"/>
                  <a:pt x="218" y="176"/>
                  <a:pt x="218" y="176"/>
                </a:cubicBezTo>
                <a:cubicBezTo>
                  <a:pt x="216" y="175"/>
                  <a:pt x="216" y="175"/>
                  <a:pt x="216" y="175"/>
                </a:cubicBezTo>
                <a:cubicBezTo>
                  <a:pt x="214" y="175"/>
                  <a:pt x="214" y="175"/>
                  <a:pt x="214" y="175"/>
                </a:cubicBezTo>
                <a:cubicBezTo>
                  <a:pt x="213" y="175"/>
                  <a:pt x="213" y="175"/>
                  <a:pt x="213" y="175"/>
                </a:cubicBezTo>
                <a:close/>
                <a:moveTo>
                  <a:pt x="224" y="174"/>
                </a:moveTo>
                <a:cubicBezTo>
                  <a:pt x="225" y="174"/>
                  <a:pt x="225" y="174"/>
                  <a:pt x="225" y="174"/>
                </a:cubicBezTo>
                <a:cubicBezTo>
                  <a:pt x="226" y="173"/>
                  <a:pt x="226" y="173"/>
                  <a:pt x="226" y="173"/>
                </a:cubicBezTo>
                <a:cubicBezTo>
                  <a:pt x="226" y="173"/>
                  <a:pt x="226" y="173"/>
                  <a:pt x="226" y="173"/>
                </a:cubicBezTo>
                <a:cubicBezTo>
                  <a:pt x="225" y="173"/>
                  <a:pt x="225" y="173"/>
                  <a:pt x="225" y="173"/>
                </a:cubicBezTo>
                <a:cubicBezTo>
                  <a:pt x="224" y="173"/>
                  <a:pt x="224" y="173"/>
                  <a:pt x="224" y="173"/>
                </a:cubicBezTo>
                <a:cubicBezTo>
                  <a:pt x="224" y="174"/>
                  <a:pt x="224" y="174"/>
                  <a:pt x="224" y="174"/>
                </a:cubicBezTo>
                <a:close/>
                <a:moveTo>
                  <a:pt x="219" y="167"/>
                </a:moveTo>
                <a:cubicBezTo>
                  <a:pt x="219" y="168"/>
                  <a:pt x="219" y="168"/>
                  <a:pt x="219" y="168"/>
                </a:cubicBezTo>
                <a:cubicBezTo>
                  <a:pt x="219" y="170"/>
                  <a:pt x="219" y="170"/>
                  <a:pt x="219" y="170"/>
                </a:cubicBezTo>
                <a:cubicBezTo>
                  <a:pt x="219" y="171"/>
                  <a:pt x="219" y="171"/>
                  <a:pt x="219" y="171"/>
                </a:cubicBezTo>
                <a:cubicBezTo>
                  <a:pt x="220" y="171"/>
                  <a:pt x="220" y="171"/>
                  <a:pt x="220" y="171"/>
                </a:cubicBezTo>
                <a:cubicBezTo>
                  <a:pt x="221" y="171"/>
                  <a:pt x="221" y="171"/>
                  <a:pt x="221" y="171"/>
                </a:cubicBezTo>
                <a:cubicBezTo>
                  <a:pt x="221" y="170"/>
                  <a:pt x="221" y="170"/>
                  <a:pt x="221" y="170"/>
                </a:cubicBezTo>
                <a:cubicBezTo>
                  <a:pt x="221" y="169"/>
                  <a:pt x="221" y="169"/>
                  <a:pt x="221" y="169"/>
                </a:cubicBezTo>
                <a:cubicBezTo>
                  <a:pt x="221" y="168"/>
                  <a:pt x="221" y="168"/>
                  <a:pt x="221" y="168"/>
                </a:cubicBezTo>
                <a:cubicBezTo>
                  <a:pt x="220" y="167"/>
                  <a:pt x="220" y="167"/>
                  <a:pt x="220" y="167"/>
                </a:cubicBezTo>
                <a:cubicBezTo>
                  <a:pt x="219" y="167"/>
                  <a:pt x="219" y="167"/>
                  <a:pt x="219" y="167"/>
                </a:cubicBezTo>
                <a:close/>
                <a:moveTo>
                  <a:pt x="227" y="162"/>
                </a:moveTo>
                <a:cubicBezTo>
                  <a:pt x="227" y="165"/>
                  <a:pt x="227" y="165"/>
                  <a:pt x="227" y="165"/>
                </a:cubicBezTo>
                <a:cubicBezTo>
                  <a:pt x="226" y="166"/>
                  <a:pt x="226" y="166"/>
                  <a:pt x="226" y="166"/>
                </a:cubicBezTo>
                <a:cubicBezTo>
                  <a:pt x="227" y="167"/>
                  <a:pt x="227" y="167"/>
                  <a:pt x="227" y="167"/>
                </a:cubicBezTo>
                <a:cubicBezTo>
                  <a:pt x="228" y="168"/>
                  <a:pt x="228" y="168"/>
                  <a:pt x="228" y="168"/>
                </a:cubicBezTo>
                <a:cubicBezTo>
                  <a:pt x="229" y="168"/>
                  <a:pt x="229" y="168"/>
                  <a:pt x="229" y="168"/>
                </a:cubicBezTo>
                <a:cubicBezTo>
                  <a:pt x="230" y="168"/>
                  <a:pt x="230" y="168"/>
                  <a:pt x="230" y="168"/>
                </a:cubicBezTo>
                <a:cubicBezTo>
                  <a:pt x="231" y="168"/>
                  <a:pt x="231" y="168"/>
                  <a:pt x="231" y="168"/>
                </a:cubicBezTo>
                <a:cubicBezTo>
                  <a:pt x="231" y="169"/>
                  <a:pt x="231" y="169"/>
                  <a:pt x="231" y="169"/>
                </a:cubicBezTo>
                <a:cubicBezTo>
                  <a:pt x="232" y="169"/>
                  <a:pt x="232" y="169"/>
                  <a:pt x="232" y="169"/>
                </a:cubicBezTo>
                <a:cubicBezTo>
                  <a:pt x="233" y="168"/>
                  <a:pt x="233" y="168"/>
                  <a:pt x="233" y="168"/>
                </a:cubicBezTo>
                <a:cubicBezTo>
                  <a:pt x="233" y="167"/>
                  <a:pt x="233" y="167"/>
                  <a:pt x="233" y="167"/>
                </a:cubicBezTo>
                <a:cubicBezTo>
                  <a:pt x="233" y="166"/>
                  <a:pt x="233" y="166"/>
                  <a:pt x="233" y="166"/>
                </a:cubicBezTo>
                <a:cubicBezTo>
                  <a:pt x="232" y="165"/>
                  <a:pt x="232" y="165"/>
                  <a:pt x="232" y="165"/>
                </a:cubicBezTo>
                <a:cubicBezTo>
                  <a:pt x="232" y="166"/>
                  <a:pt x="232" y="166"/>
                  <a:pt x="232" y="166"/>
                </a:cubicBezTo>
                <a:cubicBezTo>
                  <a:pt x="232" y="167"/>
                  <a:pt x="232" y="167"/>
                  <a:pt x="232" y="167"/>
                </a:cubicBezTo>
                <a:cubicBezTo>
                  <a:pt x="231" y="166"/>
                  <a:pt x="231" y="166"/>
                  <a:pt x="231" y="166"/>
                </a:cubicBezTo>
                <a:cubicBezTo>
                  <a:pt x="231" y="165"/>
                  <a:pt x="231" y="165"/>
                  <a:pt x="231" y="165"/>
                </a:cubicBezTo>
                <a:cubicBezTo>
                  <a:pt x="231" y="164"/>
                  <a:pt x="231" y="164"/>
                  <a:pt x="231" y="164"/>
                </a:cubicBezTo>
                <a:cubicBezTo>
                  <a:pt x="230" y="163"/>
                  <a:pt x="230" y="163"/>
                  <a:pt x="230" y="163"/>
                </a:cubicBezTo>
                <a:cubicBezTo>
                  <a:pt x="230" y="163"/>
                  <a:pt x="230" y="163"/>
                  <a:pt x="230" y="163"/>
                </a:cubicBezTo>
                <a:cubicBezTo>
                  <a:pt x="231" y="163"/>
                  <a:pt x="231" y="163"/>
                  <a:pt x="231" y="163"/>
                </a:cubicBezTo>
                <a:cubicBezTo>
                  <a:pt x="231" y="162"/>
                  <a:pt x="231" y="162"/>
                  <a:pt x="231" y="162"/>
                </a:cubicBezTo>
                <a:cubicBezTo>
                  <a:pt x="230" y="161"/>
                  <a:pt x="230" y="161"/>
                  <a:pt x="230" y="161"/>
                </a:cubicBezTo>
                <a:cubicBezTo>
                  <a:pt x="229" y="162"/>
                  <a:pt x="229" y="162"/>
                  <a:pt x="229" y="162"/>
                </a:cubicBezTo>
                <a:cubicBezTo>
                  <a:pt x="228" y="162"/>
                  <a:pt x="228" y="162"/>
                  <a:pt x="228" y="162"/>
                </a:cubicBezTo>
                <a:cubicBezTo>
                  <a:pt x="228" y="162"/>
                  <a:pt x="228" y="162"/>
                  <a:pt x="228" y="162"/>
                </a:cubicBezTo>
                <a:cubicBezTo>
                  <a:pt x="227" y="162"/>
                  <a:pt x="227" y="162"/>
                  <a:pt x="227" y="162"/>
                </a:cubicBezTo>
                <a:close/>
                <a:moveTo>
                  <a:pt x="228" y="142"/>
                </a:moveTo>
                <a:cubicBezTo>
                  <a:pt x="227" y="143"/>
                  <a:pt x="227" y="143"/>
                  <a:pt x="227" y="143"/>
                </a:cubicBezTo>
                <a:cubicBezTo>
                  <a:pt x="228" y="144"/>
                  <a:pt x="228" y="144"/>
                  <a:pt x="228" y="144"/>
                </a:cubicBezTo>
                <a:cubicBezTo>
                  <a:pt x="228" y="144"/>
                  <a:pt x="228" y="144"/>
                  <a:pt x="228" y="144"/>
                </a:cubicBezTo>
                <a:cubicBezTo>
                  <a:pt x="228" y="145"/>
                  <a:pt x="228" y="145"/>
                  <a:pt x="228" y="145"/>
                </a:cubicBezTo>
                <a:cubicBezTo>
                  <a:pt x="228" y="146"/>
                  <a:pt x="228" y="146"/>
                  <a:pt x="228" y="146"/>
                </a:cubicBezTo>
                <a:cubicBezTo>
                  <a:pt x="228" y="147"/>
                  <a:pt x="228" y="147"/>
                  <a:pt x="228" y="147"/>
                </a:cubicBezTo>
                <a:cubicBezTo>
                  <a:pt x="229" y="149"/>
                  <a:pt x="229" y="149"/>
                  <a:pt x="229" y="149"/>
                </a:cubicBezTo>
                <a:cubicBezTo>
                  <a:pt x="229" y="151"/>
                  <a:pt x="229" y="151"/>
                  <a:pt x="229" y="151"/>
                </a:cubicBezTo>
                <a:cubicBezTo>
                  <a:pt x="228" y="152"/>
                  <a:pt x="228" y="152"/>
                  <a:pt x="228" y="152"/>
                </a:cubicBezTo>
                <a:cubicBezTo>
                  <a:pt x="228" y="153"/>
                  <a:pt x="228" y="153"/>
                  <a:pt x="228" y="153"/>
                </a:cubicBezTo>
                <a:cubicBezTo>
                  <a:pt x="229" y="154"/>
                  <a:pt x="229" y="154"/>
                  <a:pt x="229" y="154"/>
                </a:cubicBezTo>
                <a:cubicBezTo>
                  <a:pt x="229" y="153"/>
                  <a:pt x="229" y="153"/>
                  <a:pt x="229" y="153"/>
                </a:cubicBezTo>
                <a:cubicBezTo>
                  <a:pt x="229" y="152"/>
                  <a:pt x="229" y="152"/>
                  <a:pt x="229" y="152"/>
                </a:cubicBezTo>
                <a:cubicBezTo>
                  <a:pt x="230" y="151"/>
                  <a:pt x="230" y="151"/>
                  <a:pt x="230" y="151"/>
                </a:cubicBezTo>
                <a:cubicBezTo>
                  <a:pt x="230" y="149"/>
                  <a:pt x="230" y="149"/>
                  <a:pt x="230" y="149"/>
                </a:cubicBezTo>
                <a:cubicBezTo>
                  <a:pt x="229" y="148"/>
                  <a:pt x="229" y="148"/>
                  <a:pt x="229" y="148"/>
                </a:cubicBezTo>
                <a:cubicBezTo>
                  <a:pt x="229" y="145"/>
                  <a:pt x="229" y="145"/>
                  <a:pt x="229" y="145"/>
                </a:cubicBezTo>
                <a:cubicBezTo>
                  <a:pt x="229" y="144"/>
                  <a:pt x="229" y="144"/>
                  <a:pt x="229" y="144"/>
                </a:cubicBezTo>
                <a:cubicBezTo>
                  <a:pt x="229" y="143"/>
                  <a:pt x="229" y="143"/>
                  <a:pt x="229" y="143"/>
                </a:cubicBezTo>
                <a:cubicBezTo>
                  <a:pt x="228" y="142"/>
                  <a:pt x="228" y="142"/>
                  <a:pt x="228" y="142"/>
                </a:cubicBezTo>
                <a:close/>
                <a:moveTo>
                  <a:pt x="219" y="146"/>
                </a:moveTo>
                <a:cubicBezTo>
                  <a:pt x="219" y="146"/>
                  <a:pt x="219" y="146"/>
                  <a:pt x="219" y="146"/>
                </a:cubicBezTo>
                <a:cubicBezTo>
                  <a:pt x="219" y="147"/>
                  <a:pt x="219" y="147"/>
                  <a:pt x="219" y="147"/>
                </a:cubicBezTo>
                <a:cubicBezTo>
                  <a:pt x="220" y="147"/>
                  <a:pt x="220" y="147"/>
                  <a:pt x="220" y="147"/>
                </a:cubicBezTo>
                <a:cubicBezTo>
                  <a:pt x="221" y="146"/>
                  <a:pt x="221" y="146"/>
                  <a:pt x="221" y="146"/>
                </a:cubicBezTo>
                <a:cubicBezTo>
                  <a:pt x="221" y="145"/>
                  <a:pt x="221" y="145"/>
                  <a:pt x="221" y="145"/>
                </a:cubicBezTo>
                <a:cubicBezTo>
                  <a:pt x="219" y="145"/>
                  <a:pt x="219" y="145"/>
                  <a:pt x="219" y="145"/>
                </a:cubicBezTo>
                <a:cubicBezTo>
                  <a:pt x="219" y="146"/>
                  <a:pt x="219" y="146"/>
                  <a:pt x="219" y="146"/>
                </a:cubicBezTo>
                <a:close/>
                <a:moveTo>
                  <a:pt x="217" y="143"/>
                </a:moveTo>
                <a:cubicBezTo>
                  <a:pt x="218" y="144"/>
                  <a:pt x="218" y="144"/>
                  <a:pt x="218" y="144"/>
                </a:cubicBezTo>
                <a:cubicBezTo>
                  <a:pt x="219" y="144"/>
                  <a:pt x="219" y="144"/>
                  <a:pt x="219" y="144"/>
                </a:cubicBezTo>
                <a:cubicBezTo>
                  <a:pt x="218" y="143"/>
                  <a:pt x="218" y="143"/>
                  <a:pt x="218" y="143"/>
                </a:cubicBezTo>
                <a:cubicBezTo>
                  <a:pt x="218" y="143"/>
                  <a:pt x="218" y="143"/>
                  <a:pt x="218" y="143"/>
                </a:cubicBezTo>
                <a:cubicBezTo>
                  <a:pt x="217" y="143"/>
                  <a:pt x="217" y="143"/>
                  <a:pt x="217" y="143"/>
                </a:cubicBezTo>
                <a:close/>
                <a:moveTo>
                  <a:pt x="226" y="123"/>
                </a:moveTo>
                <a:cubicBezTo>
                  <a:pt x="227" y="124"/>
                  <a:pt x="227" y="124"/>
                  <a:pt x="227" y="124"/>
                </a:cubicBezTo>
                <a:cubicBezTo>
                  <a:pt x="227" y="125"/>
                  <a:pt x="227" y="125"/>
                  <a:pt x="227" y="125"/>
                </a:cubicBezTo>
                <a:cubicBezTo>
                  <a:pt x="228" y="125"/>
                  <a:pt x="228" y="125"/>
                  <a:pt x="228" y="125"/>
                </a:cubicBezTo>
                <a:cubicBezTo>
                  <a:pt x="228" y="124"/>
                  <a:pt x="228" y="124"/>
                  <a:pt x="228" y="124"/>
                </a:cubicBezTo>
                <a:cubicBezTo>
                  <a:pt x="227" y="124"/>
                  <a:pt x="227" y="124"/>
                  <a:pt x="227" y="124"/>
                </a:cubicBezTo>
                <a:cubicBezTo>
                  <a:pt x="226" y="123"/>
                  <a:pt x="226" y="123"/>
                  <a:pt x="226" y="123"/>
                </a:cubicBezTo>
                <a:cubicBezTo>
                  <a:pt x="226" y="122"/>
                  <a:pt x="226" y="122"/>
                  <a:pt x="226" y="122"/>
                </a:cubicBezTo>
                <a:cubicBezTo>
                  <a:pt x="226" y="123"/>
                  <a:pt x="226" y="123"/>
                  <a:pt x="226" y="123"/>
                </a:cubicBezTo>
                <a:close/>
                <a:moveTo>
                  <a:pt x="234" y="128"/>
                </a:moveTo>
                <a:cubicBezTo>
                  <a:pt x="234" y="128"/>
                  <a:pt x="234" y="128"/>
                  <a:pt x="234" y="128"/>
                </a:cubicBezTo>
                <a:cubicBezTo>
                  <a:pt x="235" y="128"/>
                  <a:pt x="235" y="128"/>
                  <a:pt x="235" y="128"/>
                </a:cubicBezTo>
                <a:cubicBezTo>
                  <a:pt x="235" y="128"/>
                  <a:pt x="235" y="128"/>
                  <a:pt x="235" y="128"/>
                </a:cubicBezTo>
                <a:cubicBezTo>
                  <a:pt x="235" y="127"/>
                  <a:pt x="235" y="127"/>
                  <a:pt x="235" y="127"/>
                </a:cubicBezTo>
                <a:cubicBezTo>
                  <a:pt x="235" y="126"/>
                  <a:pt x="235" y="126"/>
                  <a:pt x="235" y="126"/>
                </a:cubicBezTo>
                <a:cubicBezTo>
                  <a:pt x="236" y="125"/>
                  <a:pt x="236" y="125"/>
                  <a:pt x="236" y="125"/>
                </a:cubicBezTo>
                <a:cubicBezTo>
                  <a:pt x="236" y="124"/>
                  <a:pt x="236" y="124"/>
                  <a:pt x="236" y="124"/>
                </a:cubicBezTo>
                <a:cubicBezTo>
                  <a:pt x="234" y="125"/>
                  <a:pt x="234" y="125"/>
                  <a:pt x="234" y="125"/>
                </a:cubicBezTo>
                <a:cubicBezTo>
                  <a:pt x="234" y="127"/>
                  <a:pt x="234" y="127"/>
                  <a:pt x="234" y="127"/>
                </a:cubicBezTo>
                <a:cubicBezTo>
                  <a:pt x="234" y="128"/>
                  <a:pt x="234" y="128"/>
                  <a:pt x="234" y="128"/>
                </a:cubicBezTo>
                <a:close/>
                <a:moveTo>
                  <a:pt x="230" y="120"/>
                </a:moveTo>
                <a:cubicBezTo>
                  <a:pt x="230" y="121"/>
                  <a:pt x="230" y="121"/>
                  <a:pt x="230" y="121"/>
                </a:cubicBezTo>
                <a:cubicBezTo>
                  <a:pt x="231" y="120"/>
                  <a:pt x="231" y="120"/>
                  <a:pt x="231" y="120"/>
                </a:cubicBezTo>
                <a:cubicBezTo>
                  <a:pt x="231" y="119"/>
                  <a:pt x="231" y="119"/>
                  <a:pt x="231" y="119"/>
                </a:cubicBezTo>
                <a:cubicBezTo>
                  <a:pt x="231" y="118"/>
                  <a:pt x="231" y="118"/>
                  <a:pt x="231" y="118"/>
                </a:cubicBezTo>
                <a:cubicBezTo>
                  <a:pt x="231" y="119"/>
                  <a:pt x="231" y="119"/>
                  <a:pt x="231" y="119"/>
                </a:cubicBezTo>
                <a:cubicBezTo>
                  <a:pt x="230" y="120"/>
                  <a:pt x="230" y="120"/>
                  <a:pt x="230" y="120"/>
                </a:cubicBezTo>
                <a:close/>
                <a:moveTo>
                  <a:pt x="231" y="116"/>
                </a:moveTo>
                <a:cubicBezTo>
                  <a:pt x="230" y="116"/>
                  <a:pt x="230" y="116"/>
                  <a:pt x="230" y="116"/>
                </a:cubicBezTo>
                <a:cubicBezTo>
                  <a:pt x="231" y="117"/>
                  <a:pt x="231" y="117"/>
                  <a:pt x="231" y="117"/>
                </a:cubicBezTo>
                <a:cubicBezTo>
                  <a:pt x="231" y="116"/>
                  <a:pt x="231" y="116"/>
                  <a:pt x="231" y="116"/>
                </a:cubicBezTo>
                <a:cubicBezTo>
                  <a:pt x="231" y="116"/>
                  <a:pt x="231" y="116"/>
                  <a:pt x="231" y="116"/>
                </a:cubicBezTo>
                <a:cubicBezTo>
                  <a:pt x="231" y="116"/>
                  <a:pt x="231" y="116"/>
                  <a:pt x="231" y="116"/>
                </a:cubicBezTo>
                <a:close/>
                <a:moveTo>
                  <a:pt x="236" y="102"/>
                </a:moveTo>
                <a:cubicBezTo>
                  <a:pt x="237" y="104"/>
                  <a:pt x="237" y="104"/>
                  <a:pt x="237" y="104"/>
                </a:cubicBezTo>
                <a:cubicBezTo>
                  <a:pt x="237" y="104"/>
                  <a:pt x="237" y="104"/>
                  <a:pt x="237" y="104"/>
                </a:cubicBezTo>
                <a:cubicBezTo>
                  <a:pt x="238" y="103"/>
                  <a:pt x="238" y="103"/>
                  <a:pt x="238" y="103"/>
                </a:cubicBezTo>
                <a:cubicBezTo>
                  <a:pt x="238" y="102"/>
                  <a:pt x="238" y="102"/>
                  <a:pt x="238" y="102"/>
                </a:cubicBezTo>
                <a:cubicBezTo>
                  <a:pt x="238" y="100"/>
                  <a:pt x="238" y="100"/>
                  <a:pt x="238" y="100"/>
                </a:cubicBezTo>
                <a:cubicBezTo>
                  <a:pt x="239" y="99"/>
                  <a:pt x="239" y="99"/>
                  <a:pt x="239" y="99"/>
                </a:cubicBezTo>
                <a:cubicBezTo>
                  <a:pt x="238" y="99"/>
                  <a:pt x="238" y="99"/>
                  <a:pt x="238" y="99"/>
                </a:cubicBezTo>
                <a:cubicBezTo>
                  <a:pt x="237" y="100"/>
                  <a:pt x="237" y="100"/>
                  <a:pt x="237" y="100"/>
                </a:cubicBezTo>
                <a:cubicBezTo>
                  <a:pt x="237" y="101"/>
                  <a:pt x="237" y="101"/>
                  <a:pt x="237" y="101"/>
                </a:cubicBezTo>
                <a:cubicBezTo>
                  <a:pt x="236" y="102"/>
                  <a:pt x="236" y="102"/>
                  <a:pt x="236" y="102"/>
                </a:cubicBezTo>
                <a:close/>
                <a:moveTo>
                  <a:pt x="233" y="84"/>
                </a:moveTo>
                <a:cubicBezTo>
                  <a:pt x="233" y="84"/>
                  <a:pt x="233" y="84"/>
                  <a:pt x="233" y="84"/>
                </a:cubicBezTo>
                <a:cubicBezTo>
                  <a:pt x="233" y="84"/>
                  <a:pt x="233" y="84"/>
                  <a:pt x="233" y="84"/>
                </a:cubicBezTo>
                <a:cubicBezTo>
                  <a:pt x="235" y="84"/>
                  <a:pt x="235" y="84"/>
                  <a:pt x="235" y="84"/>
                </a:cubicBezTo>
                <a:cubicBezTo>
                  <a:pt x="236" y="83"/>
                  <a:pt x="236" y="83"/>
                  <a:pt x="236" y="83"/>
                </a:cubicBezTo>
                <a:cubicBezTo>
                  <a:pt x="236" y="81"/>
                  <a:pt x="236" y="81"/>
                  <a:pt x="236" y="81"/>
                </a:cubicBezTo>
                <a:cubicBezTo>
                  <a:pt x="235" y="80"/>
                  <a:pt x="235" y="80"/>
                  <a:pt x="235" y="80"/>
                </a:cubicBezTo>
                <a:cubicBezTo>
                  <a:pt x="233" y="81"/>
                  <a:pt x="233" y="81"/>
                  <a:pt x="233" y="81"/>
                </a:cubicBezTo>
                <a:cubicBezTo>
                  <a:pt x="232" y="83"/>
                  <a:pt x="232" y="83"/>
                  <a:pt x="232" y="83"/>
                </a:cubicBezTo>
                <a:cubicBezTo>
                  <a:pt x="233" y="84"/>
                  <a:pt x="233" y="84"/>
                  <a:pt x="233" y="84"/>
                </a:cubicBezTo>
                <a:close/>
                <a:moveTo>
                  <a:pt x="245" y="49"/>
                </a:moveTo>
                <a:cubicBezTo>
                  <a:pt x="246" y="49"/>
                  <a:pt x="246" y="49"/>
                  <a:pt x="246" y="49"/>
                </a:cubicBezTo>
                <a:cubicBezTo>
                  <a:pt x="246" y="48"/>
                  <a:pt x="246" y="48"/>
                  <a:pt x="246" y="48"/>
                </a:cubicBezTo>
                <a:cubicBezTo>
                  <a:pt x="246" y="46"/>
                  <a:pt x="246" y="46"/>
                  <a:pt x="246" y="46"/>
                </a:cubicBezTo>
                <a:cubicBezTo>
                  <a:pt x="246" y="45"/>
                  <a:pt x="246" y="45"/>
                  <a:pt x="246" y="45"/>
                </a:cubicBezTo>
                <a:cubicBezTo>
                  <a:pt x="246" y="44"/>
                  <a:pt x="246" y="44"/>
                  <a:pt x="246" y="44"/>
                </a:cubicBezTo>
                <a:cubicBezTo>
                  <a:pt x="245" y="44"/>
                  <a:pt x="245" y="44"/>
                  <a:pt x="245" y="44"/>
                </a:cubicBezTo>
                <a:cubicBezTo>
                  <a:pt x="245" y="45"/>
                  <a:pt x="245" y="45"/>
                  <a:pt x="245" y="45"/>
                </a:cubicBezTo>
                <a:cubicBezTo>
                  <a:pt x="245" y="45"/>
                  <a:pt x="245" y="45"/>
                  <a:pt x="245" y="45"/>
                </a:cubicBezTo>
                <a:cubicBezTo>
                  <a:pt x="245" y="46"/>
                  <a:pt x="245" y="46"/>
                  <a:pt x="245" y="46"/>
                </a:cubicBezTo>
                <a:cubicBezTo>
                  <a:pt x="245" y="48"/>
                  <a:pt x="245" y="48"/>
                  <a:pt x="245" y="48"/>
                </a:cubicBezTo>
                <a:cubicBezTo>
                  <a:pt x="245" y="49"/>
                  <a:pt x="245" y="49"/>
                  <a:pt x="245" y="49"/>
                </a:cubicBezTo>
                <a:close/>
                <a:moveTo>
                  <a:pt x="242" y="53"/>
                </a:moveTo>
                <a:cubicBezTo>
                  <a:pt x="242" y="53"/>
                  <a:pt x="242" y="54"/>
                  <a:pt x="242" y="54"/>
                </a:cubicBezTo>
                <a:cubicBezTo>
                  <a:pt x="242" y="53"/>
                  <a:pt x="242" y="53"/>
                  <a:pt x="242" y="53"/>
                </a:cubicBezTo>
                <a:cubicBezTo>
                  <a:pt x="243" y="51"/>
                  <a:pt x="243" y="51"/>
                  <a:pt x="243" y="51"/>
                </a:cubicBezTo>
                <a:cubicBezTo>
                  <a:pt x="242" y="50"/>
                  <a:pt x="242" y="50"/>
                  <a:pt x="242" y="50"/>
                </a:cubicBezTo>
                <a:cubicBezTo>
                  <a:pt x="241" y="51"/>
                  <a:pt x="241" y="51"/>
                  <a:pt x="241" y="51"/>
                </a:cubicBezTo>
                <a:cubicBezTo>
                  <a:pt x="241" y="52"/>
                  <a:pt x="241" y="52"/>
                  <a:pt x="241" y="52"/>
                </a:cubicBezTo>
                <a:cubicBezTo>
                  <a:pt x="242" y="53"/>
                  <a:pt x="242" y="53"/>
                  <a:pt x="242" y="53"/>
                </a:cubicBezTo>
                <a:close/>
                <a:moveTo>
                  <a:pt x="239" y="50"/>
                </a:moveTo>
                <a:cubicBezTo>
                  <a:pt x="240" y="50"/>
                  <a:pt x="240" y="50"/>
                  <a:pt x="240" y="50"/>
                </a:cubicBezTo>
                <a:cubicBezTo>
                  <a:pt x="241" y="49"/>
                  <a:pt x="241" y="49"/>
                  <a:pt x="241" y="49"/>
                </a:cubicBezTo>
                <a:cubicBezTo>
                  <a:pt x="241" y="48"/>
                  <a:pt x="241" y="48"/>
                  <a:pt x="241" y="48"/>
                </a:cubicBezTo>
                <a:cubicBezTo>
                  <a:pt x="241" y="48"/>
                  <a:pt x="241" y="48"/>
                  <a:pt x="241" y="48"/>
                </a:cubicBezTo>
                <a:cubicBezTo>
                  <a:pt x="241" y="46"/>
                  <a:pt x="241" y="46"/>
                  <a:pt x="241" y="46"/>
                </a:cubicBezTo>
                <a:cubicBezTo>
                  <a:pt x="241" y="46"/>
                  <a:pt x="241" y="46"/>
                  <a:pt x="241" y="46"/>
                </a:cubicBezTo>
                <a:cubicBezTo>
                  <a:pt x="240" y="46"/>
                  <a:pt x="240" y="46"/>
                  <a:pt x="240" y="46"/>
                </a:cubicBezTo>
                <a:cubicBezTo>
                  <a:pt x="239" y="47"/>
                  <a:pt x="239" y="47"/>
                  <a:pt x="239" y="47"/>
                </a:cubicBezTo>
                <a:cubicBezTo>
                  <a:pt x="240" y="48"/>
                  <a:pt x="240" y="48"/>
                  <a:pt x="240" y="48"/>
                </a:cubicBezTo>
                <a:cubicBezTo>
                  <a:pt x="239" y="50"/>
                  <a:pt x="239" y="50"/>
                  <a:pt x="239" y="50"/>
                </a:cubicBezTo>
                <a:close/>
                <a:moveTo>
                  <a:pt x="174" y="4"/>
                </a:moveTo>
                <a:cubicBezTo>
                  <a:pt x="174" y="4"/>
                  <a:pt x="174" y="4"/>
                  <a:pt x="174" y="4"/>
                </a:cubicBezTo>
                <a:cubicBezTo>
                  <a:pt x="174" y="3"/>
                  <a:pt x="174" y="3"/>
                  <a:pt x="174" y="3"/>
                </a:cubicBezTo>
                <a:cubicBezTo>
                  <a:pt x="175" y="2"/>
                  <a:pt x="175" y="2"/>
                  <a:pt x="175" y="2"/>
                </a:cubicBezTo>
                <a:cubicBezTo>
                  <a:pt x="174" y="1"/>
                  <a:pt x="174" y="1"/>
                  <a:pt x="174" y="1"/>
                </a:cubicBezTo>
                <a:cubicBezTo>
                  <a:pt x="173" y="1"/>
                  <a:pt x="173" y="1"/>
                  <a:pt x="173" y="1"/>
                </a:cubicBezTo>
                <a:cubicBezTo>
                  <a:pt x="173" y="3"/>
                  <a:pt x="173" y="3"/>
                  <a:pt x="173" y="3"/>
                </a:cubicBezTo>
                <a:cubicBezTo>
                  <a:pt x="174" y="4"/>
                  <a:pt x="174" y="4"/>
                  <a:pt x="174" y="4"/>
                </a:cubicBezTo>
                <a:close/>
                <a:moveTo>
                  <a:pt x="174" y="6"/>
                </a:moveTo>
                <a:cubicBezTo>
                  <a:pt x="174" y="6"/>
                  <a:pt x="174" y="6"/>
                  <a:pt x="174" y="6"/>
                </a:cubicBezTo>
                <a:cubicBezTo>
                  <a:pt x="175" y="6"/>
                  <a:pt x="175" y="6"/>
                  <a:pt x="175" y="6"/>
                </a:cubicBezTo>
                <a:cubicBezTo>
                  <a:pt x="175" y="5"/>
                  <a:pt x="175" y="5"/>
                  <a:pt x="175" y="5"/>
                </a:cubicBezTo>
                <a:cubicBezTo>
                  <a:pt x="175" y="4"/>
                  <a:pt x="175" y="4"/>
                  <a:pt x="175" y="4"/>
                </a:cubicBezTo>
                <a:cubicBezTo>
                  <a:pt x="175" y="4"/>
                  <a:pt x="175" y="4"/>
                  <a:pt x="175" y="4"/>
                </a:cubicBezTo>
                <a:cubicBezTo>
                  <a:pt x="174" y="5"/>
                  <a:pt x="174" y="5"/>
                  <a:pt x="174" y="5"/>
                </a:cubicBezTo>
                <a:cubicBezTo>
                  <a:pt x="174" y="6"/>
                  <a:pt x="174" y="6"/>
                  <a:pt x="174" y="6"/>
                </a:cubicBezTo>
                <a:close/>
                <a:moveTo>
                  <a:pt x="168" y="6"/>
                </a:moveTo>
                <a:cubicBezTo>
                  <a:pt x="169" y="7"/>
                  <a:pt x="169" y="7"/>
                  <a:pt x="169" y="7"/>
                </a:cubicBezTo>
                <a:cubicBezTo>
                  <a:pt x="170" y="8"/>
                  <a:pt x="170" y="8"/>
                  <a:pt x="170" y="8"/>
                </a:cubicBezTo>
                <a:cubicBezTo>
                  <a:pt x="170" y="8"/>
                  <a:pt x="170" y="8"/>
                  <a:pt x="170" y="8"/>
                </a:cubicBezTo>
                <a:cubicBezTo>
                  <a:pt x="171" y="7"/>
                  <a:pt x="171" y="7"/>
                  <a:pt x="171" y="7"/>
                </a:cubicBezTo>
                <a:cubicBezTo>
                  <a:pt x="172" y="7"/>
                  <a:pt x="172" y="7"/>
                  <a:pt x="172" y="7"/>
                </a:cubicBezTo>
                <a:cubicBezTo>
                  <a:pt x="170" y="5"/>
                  <a:pt x="170" y="5"/>
                  <a:pt x="170" y="5"/>
                </a:cubicBezTo>
                <a:cubicBezTo>
                  <a:pt x="170" y="4"/>
                  <a:pt x="170" y="4"/>
                  <a:pt x="170" y="4"/>
                </a:cubicBezTo>
                <a:cubicBezTo>
                  <a:pt x="169" y="4"/>
                  <a:pt x="169" y="4"/>
                  <a:pt x="169" y="4"/>
                </a:cubicBezTo>
                <a:cubicBezTo>
                  <a:pt x="169" y="4"/>
                  <a:pt x="169" y="4"/>
                  <a:pt x="169" y="4"/>
                </a:cubicBezTo>
                <a:cubicBezTo>
                  <a:pt x="169" y="5"/>
                  <a:pt x="169" y="5"/>
                  <a:pt x="169" y="5"/>
                </a:cubicBezTo>
                <a:cubicBezTo>
                  <a:pt x="168" y="5"/>
                  <a:pt x="168" y="5"/>
                  <a:pt x="168" y="5"/>
                </a:cubicBezTo>
                <a:cubicBezTo>
                  <a:pt x="168" y="6"/>
                  <a:pt x="168" y="6"/>
                  <a:pt x="168" y="6"/>
                </a:cubicBezTo>
                <a:close/>
                <a:moveTo>
                  <a:pt x="165" y="7"/>
                </a:moveTo>
                <a:cubicBezTo>
                  <a:pt x="165" y="8"/>
                  <a:pt x="165" y="8"/>
                  <a:pt x="165" y="8"/>
                </a:cubicBezTo>
                <a:cubicBezTo>
                  <a:pt x="166" y="8"/>
                  <a:pt x="166" y="8"/>
                  <a:pt x="166" y="8"/>
                </a:cubicBezTo>
                <a:cubicBezTo>
                  <a:pt x="166" y="8"/>
                  <a:pt x="166" y="8"/>
                  <a:pt x="166" y="8"/>
                </a:cubicBezTo>
                <a:cubicBezTo>
                  <a:pt x="166" y="8"/>
                  <a:pt x="166" y="8"/>
                  <a:pt x="166" y="8"/>
                </a:cubicBezTo>
                <a:cubicBezTo>
                  <a:pt x="165" y="7"/>
                  <a:pt x="165" y="7"/>
                  <a:pt x="165" y="7"/>
                </a:cubicBezTo>
                <a:cubicBezTo>
                  <a:pt x="165" y="7"/>
                  <a:pt x="165" y="7"/>
                  <a:pt x="165" y="7"/>
                </a:cubicBezTo>
                <a:close/>
                <a:moveTo>
                  <a:pt x="146" y="12"/>
                </a:moveTo>
                <a:cubicBezTo>
                  <a:pt x="147" y="13"/>
                  <a:pt x="147" y="13"/>
                  <a:pt x="147" y="13"/>
                </a:cubicBezTo>
                <a:cubicBezTo>
                  <a:pt x="148" y="14"/>
                  <a:pt x="148" y="14"/>
                  <a:pt x="148" y="14"/>
                </a:cubicBezTo>
                <a:cubicBezTo>
                  <a:pt x="149" y="15"/>
                  <a:pt x="149" y="15"/>
                  <a:pt x="149" y="15"/>
                </a:cubicBezTo>
                <a:cubicBezTo>
                  <a:pt x="150" y="16"/>
                  <a:pt x="150" y="16"/>
                  <a:pt x="150" y="16"/>
                </a:cubicBezTo>
                <a:cubicBezTo>
                  <a:pt x="151" y="14"/>
                  <a:pt x="151" y="14"/>
                  <a:pt x="151" y="14"/>
                </a:cubicBezTo>
                <a:cubicBezTo>
                  <a:pt x="151" y="13"/>
                  <a:pt x="151" y="13"/>
                  <a:pt x="151" y="13"/>
                </a:cubicBezTo>
                <a:cubicBezTo>
                  <a:pt x="151" y="13"/>
                  <a:pt x="151" y="13"/>
                  <a:pt x="151" y="13"/>
                </a:cubicBezTo>
                <a:cubicBezTo>
                  <a:pt x="151" y="12"/>
                  <a:pt x="151" y="12"/>
                  <a:pt x="151" y="12"/>
                </a:cubicBezTo>
                <a:cubicBezTo>
                  <a:pt x="150" y="12"/>
                  <a:pt x="150" y="12"/>
                  <a:pt x="150" y="12"/>
                </a:cubicBezTo>
                <a:cubicBezTo>
                  <a:pt x="149" y="10"/>
                  <a:pt x="149" y="10"/>
                  <a:pt x="149" y="10"/>
                </a:cubicBezTo>
                <a:cubicBezTo>
                  <a:pt x="148" y="10"/>
                  <a:pt x="148" y="10"/>
                  <a:pt x="148" y="10"/>
                </a:cubicBezTo>
                <a:cubicBezTo>
                  <a:pt x="148" y="11"/>
                  <a:pt x="148" y="11"/>
                  <a:pt x="148" y="11"/>
                </a:cubicBezTo>
                <a:cubicBezTo>
                  <a:pt x="148" y="12"/>
                  <a:pt x="148" y="12"/>
                  <a:pt x="148" y="12"/>
                </a:cubicBezTo>
                <a:cubicBezTo>
                  <a:pt x="148" y="12"/>
                  <a:pt x="148" y="12"/>
                  <a:pt x="148" y="12"/>
                </a:cubicBezTo>
                <a:cubicBezTo>
                  <a:pt x="148" y="13"/>
                  <a:pt x="148" y="13"/>
                  <a:pt x="148" y="13"/>
                </a:cubicBezTo>
                <a:cubicBezTo>
                  <a:pt x="147" y="12"/>
                  <a:pt x="147" y="12"/>
                  <a:pt x="147" y="12"/>
                </a:cubicBezTo>
                <a:cubicBezTo>
                  <a:pt x="146" y="12"/>
                  <a:pt x="146" y="12"/>
                  <a:pt x="146" y="12"/>
                </a:cubicBezTo>
                <a:close/>
                <a:moveTo>
                  <a:pt x="145" y="13"/>
                </a:moveTo>
                <a:cubicBezTo>
                  <a:pt x="146" y="15"/>
                  <a:pt x="146" y="15"/>
                  <a:pt x="146" y="15"/>
                </a:cubicBezTo>
                <a:cubicBezTo>
                  <a:pt x="147" y="15"/>
                  <a:pt x="147" y="15"/>
                  <a:pt x="147" y="15"/>
                </a:cubicBezTo>
                <a:cubicBezTo>
                  <a:pt x="147" y="14"/>
                  <a:pt x="147" y="14"/>
                  <a:pt x="147" y="14"/>
                </a:cubicBezTo>
                <a:cubicBezTo>
                  <a:pt x="146" y="13"/>
                  <a:pt x="146" y="13"/>
                  <a:pt x="146" y="13"/>
                </a:cubicBezTo>
                <a:cubicBezTo>
                  <a:pt x="145" y="13"/>
                  <a:pt x="145" y="13"/>
                  <a:pt x="145" y="13"/>
                </a:cubicBezTo>
                <a:close/>
                <a:moveTo>
                  <a:pt x="139" y="13"/>
                </a:moveTo>
                <a:cubicBezTo>
                  <a:pt x="139" y="14"/>
                  <a:pt x="139" y="14"/>
                  <a:pt x="139" y="14"/>
                </a:cubicBezTo>
                <a:cubicBezTo>
                  <a:pt x="141" y="14"/>
                  <a:pt x="141" y="14"/>
                  <a:pt x="141" y="14"/>
                </a:cubicBezTo>
                <a:cubicBezTo>
                  <a:pt x="141" y="15"/>
                  <a:pt x="141" y="15"/>
                  <a:pt x="141" y="15"/>
                </a:cubicBezTo>
                <a:cubicBezTo>
                  <a:pt x="142" y="15"/>
                  <a:pt x="142" y="15"/>
                  <a:pt x="142" y="15"/>
                </a:cubicBezTo>
                <a:cubicBezTo>
                  <a:pt x="142" y="14"/>
                  <a:pt x="142" y="14"/>
                  <a:pt x="142" y="14"/>
                </a:cubicBezTo>
                <a:cubicBezTo>
                  <a:pt x="142" y="13"/>
                  <a:pt x="142" y="13"/>
                  <a:pt x="142" y="13"/>
                </a:cubicBezTo>
                <a:cubicBezTo>
                  <a:pt x="141" y="13"/>
                  <a:pt x="141" y="13"/>
                  <a:pt x="141" y="13"/>
                </a:cubicBezTo>
                <a:cubicBezTo>
                  <a:pt x="141" y="12"/>
                  <a:pt x="141" y="12"/>
                  <a:pt x="141" y="12"/>
                </a:cubicBezTo>
                <a:cubicBezTo>
                  <a:pt x="140" y="12"/>
                  <a:pt x="140" y="12"/>
                  <a:pt x="140" y="12"/>
                </a:cubicBezTo>
                <a:cubicBezTo>
                  <a:pt x="139" y="12"/>
                  <a:pt x="139" y="12"/>
                  <a:pt x="139" y="12"/>
                </a:cubicBezTo>
                <a:cubicBezTo>
                  <a:pt x="139" y="13"/>
                  <a:pt x="139" y="13"/>
                  <a:pt x="139" y="13"/>
                </a:cubicBezTo>
                <a:close/>
                <a:moveTo>
                  <a:pt x="135" y="25"/>
                </a:moveTo>
                <a:cubicBezTo>
                  <a:pt x="136" y="25"/>
                  <a:pt x="136" y="25"/>
                  <a:pt x="136" y="25"/>
                </a:cubicBezTo>
                <a:cubicBezTo>
                  <a:pt x="137" y="25"/>
                  <a:pt x="137" y="25"/>
                  <a:pt x="137" y="25"/>
                </a:cubicBezTo>
                <a:cubicBezTo>
                  <a:pt x="137" y="24"/>
                  <a:pt x="137" y="24"/>
                  <a:pt x="137" y="24"/>
                </a:cubicBezTo>
                <a:cubicBezTo>
                  <a:pt x="136" y="23"/>
                  <a:pt x="136" y="23"/>
                  <a:pt x="136" y="23"/>
                </a:cubicBezTo>
                <a:cubicBezTo>
                  <a:pt x="136" y="21"/>
                  <a:pt x="136" y="21"/>
                  <a:pt x="136" y="21"/>
                </a:cubicBezTo>
                <a:cubicBezTo>
                  <a:pt x="135" y="20"/>
                  <a:pt x="135" y="20"/>
                  <a:pt x="135" y="20"/>
                </a:cubicBezTo>
                <a:cubicBezTo>
                  <a:pt x="134" y="20"/>
                  <a:pt x="134" y="20"/>
                  <a:pt x="134" y="20"/>
                </a:cubicBezTo>
                <a:cubicBezTo>
                  <a:pt x="134" y="21"/>
                  <a:pt x="134" y="21"/>
                  <a:pt x="134" y="21"/>
                </a:cubicBezTo>
                <a:cubicBezTo>
                  <a:pt x="135" y="22"/>
                  <a:pt x="135" y="22"/>
                  <a:pt x="135" y="22"/>
                </a:cubicBezTo>
                <a:cubicBezTo>
                  <a:pt x="135" y="24"/>
                  <a:pt x="135" y="24"/>
                  <a:pt x="135" y="24"/>
                </a:cubicBezTo>
                <a:cubicBezTo>
                  <a:pt x="135" y="25"/>
                  <a:pt x="135" y="25"/>
                  <a:pt x="135" y="25"/>
                </a:cubicBezTo>
                <a:close/>
                <a:moveTo>
                  <a:pt x="137" y="37"/>
                </a:moveTo>
                <a:cubicBezTo>
                  <a:pt x="139" y="37"/>
                  <a:pt x="139" y="37"/>
                  <a:pt x="139" y="37"/>
                </a:cubicBezTo>
                <a:cubicBezTo>
                  <a:pt x="139" y="36"/>
                  <a:pt x="139" y="36"/>
                  <a:pt x="139" y="36"/>
                </a:cubicBezTo>
                <a:cubicBezTo>
                  <a:pt x="139" y="35"/>
                  <a:pt x="139" y="35"/>
                  <a:pt x="139" y="35"/>
                </a:cubicBezTo>
                <a:cubicBezTo>
                  <a:pt x="138" y="34"/>
                  <a:pt x="138" y="34"/>
                  <a:pt x="138" y="34"/>
                </a:cubicBezTo>
                <a:cubicBezTo>
                  <a:pt x="138" y="33"/>
                  <a:pt x="138" y="33"/>
                  <a:pt x="138" y="33"/>
                </a:cubicBezTo>
                <a:cubicBezTo>
                  <a:pt x="138" y="33"/>
                  <a:pt x="138" y="33"/>
                  <a:pt x="138" y="33"/>
                </a:cubicBezTo>
                <a:cubicBezTo>
                  <a:pt x="136" y="33"/>
                  <a:pt x="136" y="33"/>
                  <a:pt x="136" y="33"/>
                </a:cubicBezTo>
                <a:cubicBezTo>
                  <a:pt x="136" y="34"/>
                  <a:pt x="136" y="34"/>
                  <a:pt x="136" y="34"/>
                </a:cubicBezTo>
                <a:cubicBezTo>
                  <a:pt x="136" y="35"/>
                  <a:pt x="136" y="35"/>
                  <a:pt x="136" y="35"/>
                </a:cubicBezTo>
                <a:cubicBezTo>
                  <a:pt x="137" y="36"/>
                  <a:pt x="137" y="36"/>
                  <a:pt x="137" y="36"/>
                </a:cubicBezTo>
                <a:cubicBezTo>
                  <a:pt x="137" y="37"/>
                  <a:pt x="137" y="37"/>
                  <a:pt x="137" y="37"/>
                </a:cubicBezTo>
                <a:close/>
                <a:moveTo>
                  <a:pt x="137" y="38"/>
                </a:moveTo>
                <a:cubicBezTo>
                  <a:pt x="137" y="39"/>
                  <a:pt x="137" y="39"/>
                  <a:pt x="137" y="39"/>
                </a:cubicBezTo>
                <a:cubicBezTo>
                  <a:pt x="137" y="40"/>
                  <a:pt x="137" y="40"/>
                  <a:pt x="137" y="40"/>
                </a:cubicBezTo>
                <a:cubicBezTo>
                  <a:pt x="137" y="41"/>
                  <a:pt x="137" y="41"/>
                  <a:pt x="137" y="41"/>
                </a:cubicBezTo>
                <a:cubicBezTo>
                  <a:pt x="139" y="43"/>
                  <a:pt x="139" y="43"/>
                  <a:pt x="139" y="43"/>
                </a:cubicBezTo>
                <a:cubicBezTo>
                  <a:pt x="140" y="42"/>
                  <a:pt x="140" y="42"/>
                  <a:pt x="140" y="42"/>
                </a:cubicBezTo>
                <a:cubicBezTo>
                  <a:pt x="139" y="39"/>
                  <a:pt x="139" y="39"/>
                  <a:pt x="139" y="39"/>
                </a:cubicBezTo>
                <a:cubicBezTo>
                  <a:pt x="139" y="38"/>
                  <a:pt x="139" y="38"/>
                  <a:pt x="139" y="38"/>
                </a:cubicBezTo>
                <a:cubicBezTo>
                  <a:pt x="138" y="38"/>
                  <a:pt x="138" y="38"/>
                  <a:pt x="138" y="38"/>
                </a:cubicBezTo>
                <a:cubicBezTo>
                  <a:pt x="137" y="38"/>
                  <a:pt x="137" y="38"/>
                  <a:pt x="137" y="38"/>
                </a:cubicBezTo>
                <a:close/>
                <a:moveTo>
                  <a:pt x="120" y="26"/>
                </a:moveTo>
                <a:cubicBezTo>
                  <a:pt x="120" y="26"/>
                  <a:pt x="120" y="26"/>
                  <a:pt x="120" y="26"/>
                </a:cubicBezTo>
                <a:cubicBezTo>
                  <a:pt x="120" y="25"/>
                  <a:pt x="120" y="25"/>
                  <a:pt x="120" y="25"/>
                </a:cubicBezTo>
                <a:cubicBezTo>
                  <a:pt x="120" y="24"/>
                  <a:pt x="120" y="24"/>
                  <a:pt x="120" y="24"/>
                </a:cubicBezTo>
                <a:cubicBezTo>
                  <a:pt x="119" y="24"/>
                  <a:pt x="119" y="24"/>
                  <a:pt x="119" y="24"/>
                </a:cubicBezTo>
                <a:cubicBezTo>
                  <a:pt x="119" y="24"/>
                  <a:pt x="119" y="24"/>
                  <a:pt x="119" y="24"/>
                </a:cubicBezTo>
                <a:cubicBezTo>
                  <a:pt x="119" y="25"/>
                  <a:pt x="119" y="25"/>
                  <a:pt x="119" y="25"/>
                </a:cubicBezTo>
                <a:cubicBezTo>
                  <a:pt x="120" y="26"/>
                  <a:pt x="120" y="26"/>
                  <a:pt x="120" y="26"/>
                </a:cubicBezTo>
                <a:close/>
                <a:moveTo>
                  <a:pt x="117" y="34"/>
                </a:moveTo>
                <a:cubicBezTo>
                  <a:pt x="118" y="34"/>
                  <a:pt x="118" y="34"/>
                  <a:pt x="118" y="34"/>
                </a:cubicBezTo>
                <a:cubicBezTo>
                  <a:pt x="118" y="33"/>
                  <a:pt x="118" y="33"/>
                  <a:pt x="118" y="33"/>
                </a:cubicBezTo>
                <a:cubicBezTo>
                  <a:pt x="118" y="32"/>
                  <a:pt x="118" y="32"/>
                  <a:pt x="118" y="32"/>
                </a:cubicBezTo>
                <a:cubicBezTo>
                  <a:pt x="116" y="30"/>
                  <a:pt x="116" y="30"/>
                  <a:pt x="116" y="30"/>
                </a:cubicBezTo>
                <a:cubicBezTo>
                  <a:pt x="116" y="28"/>
                  <a:pt x="116" y="28"/>
                  <a:pt x="116" y="28"/>
                </a:cubicBezTo>
                <a:cubicBezTo>
                  <a:pt x="117" y="26"/>
                  <a:pt x="117" y="26"/>
                  <a:pt x="117" y="26"/>
                </a:cubicBezTo>
                <a:cubicBezTo>
                  <a:pt x="117" y="24"/>
                  <a:pt x="117" y="24"/>
                  <a:pt x="117" y="24"/>
                </a:cubicBezTo>
                <a:cubicBezTo>
                  <a:pt x="117" y="23"/>
                  <a:pt x="117" y="23"/>
                  <a:pt x="117" y="23"/>
                </a:cubicBezTo>
                <a:cubicBezTo>
                  <a:pt x="117" y="21"/>
                  <a:pt x="117" y="21"/>
                  <a:pt x="117" y="21"/>
                </a:cubicBezTo>
                <a:cubicBezTo>
                  <a:pt x="116" y="20"/>
                  <a:pt x="116" y="20"/>
                  <a:pt x="116" y="20"/>
                </a:cubicBezTo>
                <a:cubicBezTo>
                  <a:pt x="115" y="21"/>
                  <a:pt x="115" y="21"/>
                  <a:pt x="115" y="21"/>
                </a:cubicBezTo>
                <a:cubicBezTo>
                  <a:pt x="115" y="25"/>
                  <a:pt x="115" y="25"/>
                  <a:pt x="115" y="25"/>
                </a:cubicBezTo>
                <a:cubicBezTo>
                  <a:pt x="114" y="26"/>
                  <a:pt x="114" y="26"/>
                  <a:pt x="114" y="26"/>
                </a:cubicBezTo>
                <a:cubicBezTo>
                  <a:pt x="114" y="27"/>
                  <a:pt x="114" y="27"/>
                  <a:pt x="114" y="27"/>
                </a:cubicBezTo>
                <a:cubicBezTo>
                  <a:pt x="116" y="30"/>
                  <a:pt x="116" y="30"/>
                  <a:pt x="116" y="30"/>
                </a:cubicBezTo>
                <a:cubicBezTo>
                  <a:pt x="116" y="32"/>
                  <a:pt x="116" y="32"/>
                  <a:pt x="116" y="32"/>
                </a:cubicBezTo>
                <a:cubicBezTo>
                  <a:pt x="117" y="34"/>
                  <a:pt x="117" y="34"/>
                  <a:pt x="117" y="34"/>
                </a:cubicBezTo>
                <a:close/>
                <a:moveTo>
                  <a:pt x="49" y="44"/>
                </a:moveTo>
                <a:cubicBezTo>
                  <a:pt x="50" y="45"/>
                  <a:pt x="50" y="45"/>
                  <a:pt x="50" y="45"/>
                </a:cubicBezTo>
                <a:cubicBezTo>
                  <a:pt x="50" y="46"/>
                  <a:pt x="50" y="46"/>
                  <a:pt x="50" y="46"/>
                </a:cubicBezTo>
                <a:cubicBezTo>
                  <a:pt x="51" y="46"/>
                  <a:pt x="51" y="46"/>
                  <a:pt x="51" y="46"/>
                </a:cubicBezTo>
                <a:cubicBezTo>
                  <a:pt x="51" y="45"/>
                  <a:pt x="51" y="45"/>
                  <a:pt x="51" y="45"/>
                </a:cubicBezTo>
                <a:cubicBezTo>
                  <a:pt x="50" y="44"/>
                  <a:pt x="50" y="44"/>
                  <a:pt x="50" y="44"/>
                </a:cubicBezTo>
                <a:cubicBezTo>
                  <a:pt x="49" y="44"/>
                  <a:pt x="49" y="44"/>
                  <a:pt x="49" y="44"/>
                </a:cubicBezTo>
                <a:close/>
                <a:moveTo>
                  <a:pt x="6" y="99"/>
                </a:moveTo>
                <a:cubicBezTo>
                  <a:pt x="7" y="100"/>
                  <a:pt x="7" y="100"/>
                  <a:pt x="7" y="100"/>
                </a:cubicBezTo>
                <a:cubicBezTo>
                  <a:pt x="9" y="100"/>
                  <a:pt x="9" y="100"/>
                  <a:pt x="9" y="100"/>
                </a:cubicBezTo>
                <a:cubicBezTo>
                  <a:pt x="10" y="101"/>
                  <a:pt x="10" y="101"/>
                  <a:pt x="10" y="101"/>
                </a:cubicBezTo>
                <a:cubicBezTo>
                  <a:pt x="11" y="101"/>
                  <a:pt x="11" y="101"/>
                  <a:pt x="11" y="101"/>
                </a:cubicBezTo>
                <a:cubicBezTo>
                  <a:pt x="10" y="100"/>
                  <a:pt x="10" y="100"/>
                  <a:pt x="10" y="100"/>
                </a:cubicBezTo>
                <a:cubicBezTo>
                  <a:pt x="9" y="100"/>
                  <a:pt x="9" y="100"/>
                  <a:pt x="9" y="100"/>
                </a:cubicBezTo>
                <a:cubicBezTo>
                  <a:pt x="8" y="98"/>
                  <a:pt x="8" y="98"/>
                  <a:pt x="8" y="98"/>
                </a:cubicBezTo>
                <a:cubicBezTo>
                  <a:pt x="7" y="99"/>
                  <a:pt x="7" y="99"/>
                  <a:pt x="7" y="99"/>
                </a:cubicBezTo>
                <a:cubicBezTo>
                  <a:pt x="7" y="98"/>
                  <a:pt x="7" y="98"/>
                  <a:pt x="7" y="98"/>
                </a:cubicBezTo>
                <a:cubicBezTo>
                  <a:pt x="6" y="99"/>
                  <a:pt x="6" y="99"/>
                  <a:pt x="6" y="99"/>
                </a:cubicBezTo>
                <a:close/>
                <a:moveTo>
                  <a:pt x="0" y="99"/>
                </a:moveTo>
                <a:cubicBezTo>
                  <a:pt x="2" y="100"/>
                  <a:pt x="2" y="100"/>
                  <a:pt x="2" y="100"/>
                </a:cubicBezTo>
                <a:cubicBezTo>
                  <a:pt x="3" y="101"/>
                  <a:pt x="3" y="101"/>
                  <a:pt x="3" y="101"/>
                </a:cubicBezTo>
                <a:cubicBezTo>
                  <a:pt x="4" y="101"/>
                  <a:pt x="4" y="101"/>
                  <a:pt x="4" y="101"/>
                </a:cubicBezTo>
                <a:cubicBezTo>
                  <a:pt x="6" y="100"/>
                  <a:pt x="6" y="100"/>
                  <a:pt x="6" y="100"/>
                </a:cubicBezTo>
                <a:cubicBezTo>
                  <a:pt x="4" y="99"/>
                  <a:pt x="4" y="99"/>
                  <a:pt x="4" y="99"/>
                </a:cubicBezTo>
                <a:cubicBezTo>
                  <a:pt x="2" y="98"/>
                  <a:pt x="2" y="98"/>
                  <a:pt x="2" y="98"/>
                </a:cubicBezTo>
                <a:cubicBezTo>
                  <a:pt x="1" y="98"/>
                  <a:pt x="1" y="98"/>
                  <a:pt x="1" y="98"/>
                </a:cubicBezTo>
                <a:cubicBezTo>
                  <a:pt x="0" y="99"/>
                  <a:pt x="0" y="99"/>
                  <a:pt x="0" y="99"/>
                </a:cubicBezTo>
                <a:close/>
                <a:moveTo>
                  <a:pt x="48" y="151"/>
                </a:moveTo>
                <a:cubicBezTo>
                  <a:pt x="48" y="152"/>
                  <a:pt x="48" y="152"/>
                  <a:pt x="48" y="152"/>
                </a:cubicBezTo>
                <a:cubicBezTo>
                  <a:pt x="49" y="152"/>
                  <a:pt x="49" y="152"/>
                  <a:pt x="49" y="152"/>
                </a:cubicBezTo>
                <a:cubicBezTo>
                  <a:pt x="49" y="151"/>
                  <a:pt x="49" y="151"/>
                  <a:pt x="49" y="151"/>
                </a:cubicBezTo>
                <a:cubicBezTo>
                  <a:pt x="49" y="151"/>
                  <a:pt x="49" y="151"/>
                  <a:pt x="49" y="151"/>
                </a:cubicBezTo>
                <a:cubicBezTo>
                  <a:pt x="48" y="151"/>
                  <a:pt x="48" y="151"/>
                  <a:pt x="48" y="151"/>
                </a:cubicBezTo>
                <a:close/>
                <a:moveTo>
                  <a:pt x="49" y="157"/>
                </a:moveTo>
                <a:cubicBezTo>
                  <a:pt x="49" y="157"/>
                  <a:pt x="49" y="157"/>
                  <a:pt x="49" y="157"/>
                </a:cubicBezTo>
                <a:cubicBezTo>
                  <a:pt x="50" y="157"/>
                  <a:pt x="50" y="157"/>
                  <a:pt x="50" y="157"/>
                </a:cubicBezTo>
                <a:cubicBezTo>
                  <a:pt x="52" y="157"/>
                  <a:pt x="52" y="157"/>
                  <a:pt x="52" y="157"/>
                </a:cubicBezTo>
                <a:cubicBezTo>
                  <a:pt x="53" y="157"/>
                  <a:pt x="53" y="157"/>
                  <a:pt x="53" y="157"/>
                </a:cubicBezTo>
                <a:cubicBezTo>
                  <a:pt x="53" y="158"/>
                  <a:pt x="53" y="158"/>
                  <a:pt x="53" y="158"/>
                </a:cubicBezTo>
                <a:cubicBezTo>
                  <a:pt x="54" y="157"/>
                  <a:pt x="54" y="157"/>
                  <a:pt x="54" y="157"/>
                </a:cubicBezTo>
                <a:cubicBezTo>
                  <a:pt x="53" y="156"/>
                  <a:pt x="53" y="156"/>
                  <a:pt x="53" y="156"/>
                </a:cubicBezTo>
                <a:cubicBezTo>
                  <a:pt x="51" y="156"/>
                  <a:pt x="51" y="156"/>
                  <a:pt x="51" y="156"/>
                </a:cubicBezTo>
                <a:cubicBezTo>
                  <a:pt x="51" y="156"/>
                  <a:pt x="51" y="156"/>
                  <a:pt x="51" y="156"/>
                </a:cubicBezTo>
                <a:cubicBezTo>
                  <a:pt x="50" y="155"/>
                  <a:pt x="50" y="155"/>
                  <a:pt x="50" y="155"/>
                </a:cubicBezTo>
                <a:cubicBezTo>
                  <a:pt x="49" y="156"/>
                  <a:pt x="49" y="156"/>
                  <a:pt x="49" y="156"/>
                </a:cubicBezTo>
                <a:cubicBezTo>
                  <a:pt x="48" y="156"/>
                  <a:pt x="48" y="156"/>
                  <a:pt x="48" y="156"/>
                </a:cubicBezTo>
                <a:cubicBezTo>
                  <a:pt x="49" y="157"/>
                  <a:pt x="49" y="157"/>
                  <a:pt x="49" y="157"/>
                </a:cubicBezTo>
                <a:close/>
                <a:moveTo>
                  <a:pt x="50" y="158"/>
                </a:moveTo>
                <a:cubicBezTo>
                  <a:pt x="50" y="159"/>
                  <a:pt x="50" y="159"/>
                  <a:pt x="50" y="159"/>
                </a:cubicBezTo>
                <a:cubicBezTo>
                  <a:pt x="51" y="159"/>
                  <a:pt x="51" y="159"/>
                  <a:pt x="51" y="159"/>
                </a:cubicBezTo>
                <a:cubicBezTo>
                  <a:pt x="51" y="158"/>
                  <a:pt x="51" y="158"/>
                  <a:pt x="51" y="158"/>
                </a:cubicBezTo>
                <a:cubicBezTo>
                  <a:pt x="50" y="158"/>
                  <a:pt x="50" y="158"/>
                  <a:pt x="50" y="158"/>
                </a:cubicBezTo>
                <a:close/>
                <a:moveTo>
                  <a:pt x="50" y="166"/>
                </a:moveTo>
                <a:cubicBezTo>
                  <a:pt x="51" y="167"/>
                  <a:pt x="51" y="167"/>
                  <a:pt x="51" y="167"/>
                </a:cubicBezTo>
                <a:cubicBezTo>
                  <a:pt x="52" y="167"/>
                  <a:pt x="52" y="167"/>
                  <a:pt x="52" y="167"/>
                </a:cubicBezTo>
                <a:cubicBezTo>
                  <a:pt x="52" y="168"/>
                  <a:pt x="52" y="168"/>
                  <a:pt x="52" y="168"/>
                </a:cubicBezTo>
                <a:cubicBezTo>
                  <a:pt x="53" y="167"/>
                  <a:pt x="53" y="167"/>
                  <a:pt x="53" y="167"/>
                </a:cubicBezTo>
                <a:cubicBezTo>
                  <a:pt x="53" y="167"/>
                  <a:pt x="53" y="167"/>
                  <a:pt x="53" y="167"/>
                </a:cubicBezTo>
                <a:cubicBezTo>
                  <a:pt x="51" y="166"/>
                  <a:pt x="51" y="166"/>
                  <a:pt x="51" y="166"/>
                </a:cubicBezTo>
                <a:cubicBezTo>
                  <a:pt x="51" y="166"/>
                  <a:pt x="51" y="166"/>
                  <a:pt x="51" y="166"/>
                </a:cubicBezTo>
                <a:cubicBezTo>
                  <a:pt x="50" y="166"/>
                  <a:pt x="50" y="166"/>
                  <a:pt x="50" y="166"/>
                </a:cubicBezTo>
                <a:close/>
                <a:moveTo>
                  <a:pt x="49" y="169"/>
                </a:moveTo>
                <a:cubicBezTo>
                  <a:pt x="50" y="170"/>
                  <a:pt x="50" y="170"/>
                  <a:pt x="50" y="170"/>
                </a:cubicBezTo>
                <a:cubicBezTo>
                  <a:pt x="50" y="170"/>
                  <a:pt x="50" y="170"/>
                  <a:pt x="50" y="170"/>
                </a:cubicBezTo>
                <a:cubicBezTo>
                  <a:pt x="51" y="170"/>
                  <a:pt x="51" y="170"/>
                  <a:pt x="51" y="170"/>
                </a:cubicBezTo>
                <a:cubicBezTo>
                  <a:pt x="50" y="169"/>
                  <a:pt x="50" y="169"/>
                  <a:pt x="50" y="169"/>
                </a:cubicBezTo>
                <a:cubicBezTo>
                  <a:pt x="50" y="169"/>
                  <a:pt x="50" y="169"/>
                  <a:pt x="50" y="169"/>
                </a:cubicBezTo>
                <a:cubicBezTo>
                  <a:pt x="49" y="169"/>
                  <a:pt x="49" y="169"/>
                  <a:pt x="49" y="169"/>
                </a:cubicBezTo>
                <a:close/>
                <a:moveTo>
                  <a:pt x="51" y="174"/>
                </a:moveTo>
                <a:cubicBezTo>
                  <a:pt x="51" y="175"/>
                  <a:pt x="51" y="175"/>
                  <a:pt x="51" y="175"/>
                </a:cubicBezTo>
                <a:cubicBezTo>
                  <a:pt x="52" y="174"/>
                  <a:pt x="52" y="174"/>
                  <a:pt x="52" y="174"/>
                </a:cubicBezTo>
                <a:cubicBezTo>
                  <a:pt x="51" y="173"/>
                  <a:pt x="51" y="173"/>
                  <a:pt x="51" y="173"/>
                </a:cubicBezTo>
                <a:cubicBezTo>
                  <a:pt x="51" y="173"/>
                  <a:pt x="51" y="173"/>
                  <a:pt x="51" y="173"/>
                </a:cubicBezTo>
                <a:cubicBezTo>
                  <a:pt x="51" y="173"/>
                  <a:pt x="51" y="173"/>
                  <a:pt x="51" y="173"/>
                </a:cubicBezTo>
                <a:cubicBezTo>
                  <a:pt x="51" y="174"/>
                  <a:pt x="51" y="174"/>
                  <a:pt x="51" y="174"/>
                </a:cubicBezTo>
                <a:close/>
                <a:moveTo>
                  <a:pt x="53" y="176"/>
                </a:moveTo>
                <a:cubicBezTo>
                  <a:pt x="53" y="176"/>
                  <a:pt x="53" y="176"/>
                  <a:pt x="53" y="176"/>
                </a:cubicBezTo>
                <a:cubicBezTo>
                  <a:pt x="53" y="176"/>
                  <a:pt x="53" y="176"/>
                  <a:pt x="53" y="176"/>
                </a:cubicBezTo>
                <a:cubicBezTo>
                  <a:pt x="53" y="176"/>
                  <a:pt x="53" y="176"/>
                  <a:pt x="53" y="176"/>
                </a:cubicBezTo>
                <a:cubicBezTo>
                  <a:pt x="53" y="176"/>
                  <a:pt x="53" y="176"/>
                  <a:pt x="53" y="176"/>
                </a:cubicBezTo>
                <a:close/>
                <a:moveTo>
                  <a:pt x="49" y="177"/>
                </a:moveTo>
                <a:cubicBezTo>
                  <a:pt x="49" y="176"/>
                  <a:pt x="49" y="176"/>
                  <a:pt x="49" y="176"/>
                </a:cubicBezTo>
                <a:cubicBezTo>
                  <a:pt x="49" y="176"/>
                  <a:pt x="49" y="176"/>
                  <a:pt x="49" y="176"/>
                </a:cubicBezTo>
                <a:cubicBezTo>
                  <a:pt x="49" y="176"/>
                  <a:pt x="49" y="176"/>
                  <a:pt x="49" y="176"/>
                </a:cubicBezTo>
                <a:cubicBezTo>
                  <a:pt x="49" y="177"/>
                  <a:pt x="49" y="177"/>
                  <a:pt x="49" y="177"/>
                </a:cubicBezTo>
                <a:close/>
                <a:moveTo>
                  <a:pt x="51" y="176"/>
                </a:moveTo>
                <a:cubicBezTo>
                  <a:pt x="51" y="176"/>
                  <a:pt x="51" y="176"/>
                  <a:pt x="51" y="176"/>
                </a:cubicBezTo>
                <a:cubicBezTo>
                  <a:pt x="51" y="176"/>
                  <a:pt x="51" y="176"/>
                  <a:pt x="51" y="176"/>
                </a:cubicBezTo>
                <a:cubicBezTo>
                  <a:pt x="51" y="176"/>
                  <a:pt x="51" y="176"/>
                  <a:pt x="51" y="176"/>
                </a:cubicBezTo>
                <a:cubicBezTo>
                  <a:pt x="51" y="176"/>
                  <a:pt x="51" y="176"/>
                  <a:pt x="51" y="176"/>
                </a:cubicBezTo>
                <a:close/>
                <a:moveTo>
                  <a:pt x="50" y="178"/>
                </a:moveTo>
                <a:cubicBezTo>
                  <a:pt x="51" y="178"/>
                  <a:pt x="51" y="178"/>
                  <a:pt x="51" y="178"/>
                </a:cubicBezTo>
                <a:cubicBezTo>
                  <a:pt x="51" y="177"/>
                  <a:pt x="51" y="177"/>
                  <a:pt x="51" y="177"/>
                </a:cubicBezTo>
                <a:cubicBezTo>
                  <a:pt x="50" y="177"/>
                  <a:pt x="50" y="177"/>
                  <a:pt x="50" y="177"/>
                </a:cubicBezTo>
                <a:cubicBezTo>
                  <a:pt x="50" y="178"/>
                  <a:pt x="50" y="178"/>
                  <a:pt x="50" y="178"/>
                </a:cubicBezTo>
                <a:close/>
                <a:moveTo>
                  <a:pt x="51" y="180"/>
                </a:moveTo>
                <a:cubicBezTo>
                  <a:pt x="51" y="180"/>
                  <a:pt x="51" y="180"/>
                  <a:pt x="51" y="180"/>
                </a:cubicBezTo>
                <a:cubicBezTo>
                  <a:pt x="51" y="180"/>
                  <a:pt x="51" y="180"/>
                  <a:pt x="51" y="180"/>
                </a:cubicBezTo>
                <a:cubicBezTo>
                  <a:pt x="50" y="180"/>
                  <a:pt x="50" y="180"/>
                  <a:pt x="50" y="180"/>
                </a:cubicBezTo>
                <a:cubicBezTo>
                  <a:pt x="50" y="180"/>
                  <a:pt x="50" y="180"/>
                  <a:pt x="50" y="180"/>
                </a:cubicBezTo>
                <a:cubicBezTo>
                  <a:pt x="51" y="180"/>
                  <a:pt x="51" y="180"/>
                  <a:pt x="51" y="180"/>
                </a:cubicBezTo>
                <a:close/>
                <a:moveTo>
                  <a:pt x="52" y="181"/>
                </a:moveTo>
                <a:cubicBezTo>
                  <a:pt x="52" y="181"/>
                  <a:pt x="52" y="181"/>
                  <a:pt x="52" y="181"/>
                </a:cubicBezTo>
                <a:cubicBezTo>
                  <a:pt x="53" y="180"/>
                  <a:pt x="53" y="180"/>
                  <a:pt x="53" y="180"/>
                </a:cubicBezTo>
                <a:cubicBezTo>
                  <a:pt x="52" y="180"/>
                  <a:pt x="52" y="180"/>
                  <a:pt x="52" y="180"/>
                </a:cubicBezTo>
                <a:cubicBezTo>
                  <a:pt x="51" y="181"/>
                  <a:pt x="51" y="181"/>
                  <a:pt x="51" y="181"/>
                </a:cubicBezTo>
                <a:cubicBezTo>
                  <a:pt x="51" y="181"/>
                  <a:pt x="52" y="181"/>
                  <a:pt x="52" y="181"/>
                </a:cubicBezTo>
                <a:close/>
                <a:moveTo>
                  <a:pt x="48" y="184"/>
                </a:moveTo>
                <a:cubicBezTo>
                  <a:pt x="49" y="184"/>
                  <a:pt x="49" y="184"/>
                  <a:pt x="49" y="184"/>
                </a:cubicBezTo>
                <a:cubicBezTo>
                  <a:pt x="49" y="184"/>
                  <a:pt x="49" y="184"/>
                  <a:pt x="49" y="184"/>
                </a:cubicBezTo>
                <a:cubicBezTo>
                  <a:pt x="49" y="183"/>
                  <a:pt x="49" y="183"/>
                  <a:pt x="49" y="183"/>
                </a:cubicBezTo>
                <a:cubicBezTo>
                  <a:pt x="48" y="183"/>
                  <a:pt x="48" y="183"/>
                  <a:pt x="48" y="183"/>
                </a:cubicBezTo>
                <a:cubicBezTo>
                  <a:pt x="48" y="184"/>
                  <a:pt x="48" y="184"/>
                  <a:pt x="48" y="184"/>
                </a:cubicBezTo>
                <a:cubicBezTo>
                  <a:pt x="48" y="184"/>
                  <a:pt x="48" y="184"/>
                  <a:pt x="48" y="184"/>
                </a:cubicBezTo>
                <a:close/>
                <a:moveTo>
                  <a:pt x="50" y="186"/>
                </a:moveTo>
                <a:cubicBezTo>
                  <a:pt x="52" y="185"/>
                  <a:pt x="52" y="185"/>
                  <a:pt x="52" y="185"/>
                </a:cubicBezTo>
                <a:cubicBezTo>
                  <a:pt x="53" y="184"/>
                  <a:pt x="53" y="184"/>
                  <a:pt x="53" y="184"/>
                </a:cubicBezTo>
                <a:cubicBezTo>
                  <a:pt x="53" y="183"/>
                  <a:pt x="53" y="183"/>
                  <a:pt x="53" y="183"/>
                </a:cubicBezTo>
                <a:cubicBezTo>
                  <a:pt x="52" y="183"/>
                  <a:pt x="52" y="183"/>
                  <a:pt x="52" y="183"/>
                </a:cubicBezTo>
                <a:cubicBezTo>
                  <a:pt x="51" y="184"/>
                  <a:pt x="51" y="184"/>
                  <a:pt x="51" y="184"/>
                </a:cubicBezTo>
                <a:cubicBezTo>
                  <a:pt x="50" y="184"/>
                  <a:pt x="50" y="184"/>
                  <a:pt x="50" y="184"/>
                </a:cubicBezTo>
                <a:cubicBezTo>
                  <a:pt x="50" y="185"/>
                  <a:pt x="50" y="185"/>
                  <a:pt x="50" y="185"/>
                </a:cubicBezTo>
                <a:cubicBezTo>
                  <a:pt x="49" y="185"/>
                  <a:pt x="49" y="185"/>
                  <a:pt x="49" y="185"/>
                </a:cubicBezTo>
                <a:cubicBezTo>
                  <a:pt x="49" y="186"/>
                  <a:pt x="49" y="186"/>
                  <a:pt x="49" y="186"/>
                </a:cubicBezTo>
                <a:cubicBezTo>
                  <a:pt x="49" y="186"/>
                  <a:pt x="49" y="186"/>
                  <a:pt x="49" y="186"/>
                </a:cubicBezTo>
                <a:cubicBezTo>
                  <a:pt x="50" y="186"/>
                  <a:pt x="50" y="186"/>
                  <a:pt x="50" y="186"/>
                </a:cubicBezTo>
                <a:cubicBezTo>
                  <a:pt x="50" y="186"/>
                  <a:pt x="50" y="186"/>
                  <a:pt x="50" y="186"/>
                </a:cubicBezTo>
                <a:close/>
                <a:moveTo>
                  <a:pt x="52" y="186"/>
                </a:moveTo>
                <a:cubicBezTo>
                  <a:pt x="52" y="186"/>
                  <a:pt x="52" y="186"/>
                  <a:pt x="52" y="186"/>
                </a:cubicBezTo>
                <a:cubicBezTo>
                  <a:pt x="53" y="186"/>
                  <a:pt x="53" y="186"/>
                  <a:pt x="53" y="186"/>
                </a:cubicBezTo>
                <a:cubicBezTo>
                  <a:pt x="53" y="185"/>
                  <a:pt x="53" y="185"/>
                  <a:pt x="53" y="185"/>
                </a:cubicBezTo>
                <a:cubicBezTo>
                  <a:pt x="52" y="186"/>
                  <a:pt x="52" y="186"/>
                  <a:pt x="52" y="186"/>
                </a:cubicBezTo>
                <a:close/>
                <a:moveTo>
                  <a:pt x="51" y="187"/>
                </a:moveTo>
                <a:cubicBezTo>
                  <a:pt x="52" y="187"/>
                  <a:pt x="52" y="187"/>
                  <a:pt x="52" y="187"/>
                </a:cubicBezTo>
                <a:cubicBezTo>
                  <a:pt x="52" y="186"/>
                  <a:pt x="52" y="186"/>
                  <a:pt x="52" y="186"/>
                </a:cubicBezTo>
                <a:cubicBezTo>
                  <a:pt x="51" y="187"/>
                  <a:pt x="51" y="187"/>
                  <a:pt x="51" y="187"/>
                </a:cubicBezTo>
                <a:cubicBezTo>
                  <a:pt x="51" y="187"/>
                  <a:pt x="51" y="187"/>
                  <a:pt x="51" y="187"/>
                </a:cubicBezTo>
                <a:close/>
                <a:moveTo>
                  <a:pt x="49" y="188"/>
                </a:moveTo>
                <a:cubicBezTo>
                  <a:pt x="50" y="187"/>
                  <a:pt x="50" y="187"/>
                  <a:pt x="50" y="187"/>
                </a:cubicBezTo>
                <a:cubicBezTo>
                  <a:pt x="50" y="187"/>
                  <a:pt x="50" y="187"/>
                  <a:pt x="50" y="187"/>
                </a:cubicBezTo>
                <a:cubicBezTo>
                  <a:pt x="49" y="187"/>
                  <a:pt x="49" y="187"/>
                  <a:pt x="49" y="187"/>
                </a:cubicBezTo>
                <a:cubicBezTo>
                  <a:pt x="49" y="188"/>
                  <a:pt x="49" y="188"/>
                  <a:pt x="49" y="188"/>
                </a:cubicBezTo>
                <a:cubicBezTo>
                  <a:pt x="49" y="188"/>
                  <a:pt x="49" y="188"/>
                  <a:pt x="49" y="188"/>
                </a:cubicBezTo>
                <a:close/>
                <a:moveTo>
                  <a:pt x="47" y="192"/>
                </a:moveTo>
                <a:cubicBezTo>
                  <a:pt x="47" y="193"/>
                  <a:pt x="47" y="193"/>
                  <a:pt x="47" y="193"/>
                </a:cubicBezTo>
                <a:cubicBezTo>
                  <a:pt x="48" y="193"/>
                  <a:pt x="48" y="193"/>
                  <a:pt x="48" y="193"/>
                </a:cubicBezTo>
                <a:cubicBezTo>
                  <a:pt x="49" y="192"/>
                  <a:pt x="49" y="192"/>
                  <a:pt x="49" y="192"/>
                </a:cubicBezTo>
                <a:cubicBezTo>
                  <a:pt x="50" y="191"/>
                  <a:pt x="50" y="191"/>
                  <a:pt x="50" y="191"/>
                </a:cubicBezTo>
                <a:cubicBezTo>
                  <a:pt x="51" y="191"/>
                  <a:pt x="51" y="191"/>
                  <a:pt x="51" y="191"/>
                </a:cubicBezTo>
                <a:cubicBezTo>
                  <a:pt x="50" y="190"/>
                  <a:pt x="50" y="190"/>
                  <a:pt x="50" y="190"/>
                </a:cubicBezTo>
                <a:cubicBezTo>
                  <a:pt x="49" y="191"/>
                  <a:pt x="49" y="191"/>
                  <a:pt x="49" y="191"/>
                </a:cubicBezTo>
                <a:cubicBezTo>
                  <a:pt x="48" y="191"/>
                  <a:pt x="48" y="191"/>
                  <a:pt x="48" y="191"/>
                </a:cubicBezTo>
                <a:cubicBezTo>
                  <a:pt x="48" y="192"/>
                  <a:pt x="48" y="192"/>
                  <a:pt x="48" y="192"/>
                </a:cubicBezTo>
                <a:cubicBezTo>
                  <a:pt x="48" y="192"/>
                  <a:pt x="47" y="192"/>
                  <a:pt x="47" y="192"/>
                </a:cubicBezTo>
                <a:close/>
                <a:moveTo>
                  <a:pt x="46" y="196"/>
                </a:moveTo>
                <a:cubicBezTo>
                  <a:pt x="47" y="197"/>
                  <a:pt x="47" y="197"/>
                  <a:pt x="47" y="197"/>
                </a:cubicBezTo>
                <a:cubicBezTo>
                  <a:pt x="47" y="197"/>
                  <a:pt x="47" y="197"/>
                  <a:pt x="47" y="197"/>
                </a:cubicBezTo>
                <a:cubicBezTo>
                  <a:pt x="48" y="196"/>
                  <a:pt x="48" y="196"/>
                  <a:pt x="48" y="196"/>
                </a:cubicBezTo>
                <a:cubicBezTo>
                  <a:pt x="47" y="196"/>
                  <a:pt x="47" y="196"/>
                  <a:pt x="47" y="196"/>
                </a:cubicBezTo>
                <a:cubicBezTo>
                  <a:pt x="46" y="196"/>
                  <a:pt x="46" y="196"/>
                  <a:pt x="46" y="196"/>
                </a:cubicBezTo>
                <a:close/>
                <a:moveTo>
                  <a:pt x="74" y="341"/>
                </a:moveTo>
                <a:cubicBezTo>
                  <a:pt x="75" y="340"/>
                  <a:pt x="75" y="340"/>
                  <a:pt x="75" y="340"/>
                </a:cubicBezTo>
                <a:cubicBezTo>
                  <a:pt x="76" y="340"/>
                  <a:pt x="76" y="340"/>
                  <a:pt x="76" y="340"/>
                </a:cubicBezTo>
                <a:cubicBezTo>
                  <a:pt x="76" y="340"/>
                  <a:pt x="76" y="340"/>
                  <a:pt x="76" y="340"/>
                </a:cubicBezTo>
                <a:cubicBezTo>
                  <a:pt x="76" y="341"/>
                  <a:pt x="76" y="341"/>
                  <a:pt x="76" y="341"/>
                </a:cubicBezTo>
                <a:cubicBezTo>
                  <a:pt x="75" y="341"/>
                  <a:pt x="75" y="341"/>
                  <a:pt x="75" y="341"/>
                </a:cubicBezTo>
                <a:cubicBezTo>
                  <a:pt x="74" y="341"/>
                  <a:pt x="74" y="341"/>
                  <a:pt x="74" y="341"/>
                </a:cubicBezTo>
                <a:cubicBezTo>
                  <a:pt x="74" y="341"/>
                  <a:pt x="74" y="341"/>
                  <a:pt x="74" y="341"/>
                </a:cubicBezTo>
                <a:close/>
                <a:moveTo>
                  <a:pt x="67" y="337"/>
                </a:moveTo>
                <a:cubicBezTo>
                  <a:pt x="68" y="337"/>
                  <a:pt x="68" y="337"/>
                  <a:pt x="68" y="337"/>
                </a:cubicBezTo>
                <a:cubicBezTo>
                  <a:pt x="68" y="336"/>
                  <a:pt x="68" y="336"/>
                  <a:pt x="68" y="336"/>
                </a:cubicBezTo>
                <a:cubicBezTo>
                  <a:pt x="69" y="336"/>
                  <a:pt x="69" y="336"/>
                  <a:pt x="69" y="336"/>
                </a:cubicBezTo>
                <a:cubicBezTo>
                  <a:pt x="68" y="335"/>
                  <a:pt x="68" y="335"/>
                  <a:pt x="68" y="335"/>
                </a:cubicBezTo>
                <a:cubicBezTo>
                  <a:pt x="68" y="335"/>
                  <a:pt x="68" y="335"/>
                  <a:pt x="68" y="335"/>
                </a:cubicBezTo>
                <a:cubicBezTo>
                  <a:pt x="68" y="335"/>
                  <a:pt x="68" y="335"/>
                  <a:pt x="68" y="335"/>
                </a:cubicBezTo>
                <a:cubicBezTo>
                  <a:pt x="67" y="336"/>
                  <a:pt x="67" y="336"/>
                  <a:pt x="67" y="336"/>
                </a:cubicBezTo>
                <a:cubicBezTo>
                  <a:pt x="67" y="337"/>
                  <a:pt x="67" y="337"/>
                  <a:pt x="67" y="337"/>
                </a:cubicBezTo>
                <a:close/>
                <a:moveTo>
                  <a:pt x="63" y="329"/>
                </a:moveTo>
                <a:cubicBezTo>
                  <a:pt x="63" y="329"/>
                  <a:pt x="63" y="329"/>
                  <a:pt x="63" y="329"/>
                </a:cubicBezTo>
                <a:cubicBezTo>
                  <a:pt x="64" y="329"/>
                  <a:pt x="64" y="329"/>
                  <a:pt x="64" y="329"/>
                </a:cubicBezTo>
                <a:cubicBezTo>
                  <a:pt x="64" y="328"/>
                  <a:pt x="64" y="328"/>
                  <a:pt x="64" y="328"/>
                </a:cubicBezTo>
                <a:cubicBezTo>
                  <a:pt x="64" y="328"/>
                  <a:pt x="64" y="328"/>
                  <a:pt x="64" y="328"/>
                </a:cubicBezTo>
                <a:cubicBezTo>
                  <a:pt x="63" y="328"/>
                  <a:pt x="63" y="328"/>
                  <a:pt x="63" y="328"/>
                </a:cubicBezTo>
                <a:cubicBezTo>
                  <a:pt x="63" y="329"/>
                  <a:pt x="63" y="329"/>
                  <a:pt x="63" y="329"/>
                </a:cubicBezTo>
                <a:close/>
                <a:moveTo>
                  <a:pt x="60" y="328"/>
                </a:moveTo>
                <a:cubicBezTo>
                  <a:pt x="60" y="329"/>
                  <a:pt x="60" y="329"/>
                  <a:pt x="60" y="329"/>
                </a:cubicBezTo>
                <a:cubicBezTo>
                  <a:pt x="61" y="329"/>
                  <a:pt x="61" y="329"/>
                  <a:pt x="61" y="329"/>
                </a:cubicBezTo>
                <a:cubicBezTo>
                  <a:pt x="61" y="328"/>
                  <a:pt x="61" y="328"/>
                  <a:pt x="61" y="328"/>
                </a:cubicBezTo>
                <a:cubicBezTo>
                  <a:pt x="61" y="328"/>
                  <a:pt x="61" y="328"/>
                  <a:pt x="61" y="328"/>
                </a:cubicBezTo>
                <a:cubicBezTo>
                  <a:pt x="60" y="328"/>
                  <a:pt x="60" y="328"/>
                  <a:pt x="60" y="328"/>
                </a:cubicBezTo>
                <a:close/>
                <a:moveTo>
                  <a:pt x="54" y="329"/>
                </a:moveTo>
                <a:cubicBezTo>
                  <a:pt x="54" y="330"/>
                  <a:pt x="54" y="330"/>
                  <a:pt x="54" y="330"/>
                </a:cubicBezTo>
                <a:cubicBezTo>
                  <a:pt x="54" y="330"/>
                  <a:pt x="54" y="330"/>
                  <a:pt x="54" y="330"/>
                </a:cubicBezTo>
                <a:cubicBezTo>
                  <a:pt x="54" y="330"/>
                  <a:pt x="54" y="330"/>
                  <a:pt x="54" y="330"/>
                </a:cubicBezTo>
                <a:cubicBezTo>
                  <a:pt x="55" y="330"/>
                  <a:pt x="55" y="330"/>
                  <a:pt x="55" y="330"/>
                </a:cubicBezTo>
                <a:cubicBezTo>
                  <a:pt x="55" y="329"/>
                  <a:pt x="55" y="329"/>
                  <a:pt x="55" y="329"/>
                </a:cubicBezTo>
                <a:cubicBezTo>
                  <a:pt x="54" y="329"/>
                  <a:pt x="54" y="329"/>
                  <a:pt x="54" y="329"/>
                </a:cubicBezTo>
                <a:cubicBezTo>
                  <a:pt x="54" y="329"/>
                  <a:pt x="54" y="329"/>
                  <a:pt x="54" y="329"/>
                </a:cubicBezTo>
                <a:close/>
                <a:moveTo>
                  <a:pt x="45" y="291"/>
                </a:moveTo>
                <a:cubicBezTo>
                  <a:pt x="45" y="291"/>
                  <a:pt x="45" y="291"/>
                  <a:pt x="45" y="291"/>
                </a:cubicBezTo>
                <a:cubicBezTo>
                  <a:pt x="46" y="290"/>
                  <a:pt x="46" y="290"/>
                  <a:pt x="46" y="290"/>
                </a:cubicBezTo>
                <a:cubicBezTo>
                  <a:pt x="47" y="289"/>
                  <a:pt x="47" y="289"/>
                  <a:pt x="47" y="289"/>
                </a:cubicBezTo>
                <a:cubicBezTo>
                  <a:pt x="47" y="289"/>
                  <a:pt x="47" y="289"/>
                  <a:pt x="47" y="289"/>
                </a:cubicBezTo>
                <a:cubicBezTo>
                  <a:pt x="46" y="289"/>
                  <a:pt x="46" y="289"/>
                  <a:pt x="46" y="289"/>
                </a:cubicBezTo>
                <a:cubicBezTo>
                  <a:pt x="45" y="291"/>
                  <a:pt x="45" y="291"/>
                  <a:pt x="45" y="291"/>
                </a:cubicBezTo>
                <a:close/>
                <a:moveTo>
                  <a:pt x="45" y="289"/>
                </a:moveTo>
                <a:cubicBezTo>
                  <a:pt x="45" y="289"/>
                  <a:pt x="45" y="290"/>
                  <a:pt x="45" y="290"/>
                </a:cubicBezTo>
                <a:cubicBezTo>
                  <a:pt x="45" y="290"/>
                  <a:pt x="45" y="290"/>
                  <a:pt x="45" y="290"/>
                </a:cubicBezTo>
                <a:cubicBezTo>
                  <a:pt x="46" y="289"/>
                  <a:pt x="46" y="289"/>
                  <a:pt x="46" y="289"/>
                </a:cubicBezTo>
                <a:cubicBezTo>
                  <a:pt x="46" y="288"/>
                  <a:pt x="46" y="288"/>
                  <a:pt x="46" y="288"/>
                </a:cubicBezTo>
                <a:cubicBezTo>
                  <a:pt x="46" y="288"/>
                  <a:pt x="46" y="288"/>
                  <a:pt x="46" y="288"/>
                </a:cubicBezTo>
                <a:cubicBezTo>
                  <a:pt x="45" y="289"/>
                  <a:pt x="45" y="289"/>
                  <a:pt x="45" y="289"/>
                </a:cubicBezTo>
                <a:close/>
                <a:moveTo>
                  <a:pt x="40" y="276"/>
                </a:moveTo>
                <a:cubicBezTo>
                  <a:pt x="39" y="277"/>
                  <a:pt x="39" y="277"/>
                  <a:pt x="39" y="277"/>
                </a:cubicBezTo>
                <a:cubicBezTo>
                  <a:pt x="39" y="277"/>
                  <a:pt x="39" y="277"/>
                  <a:pt x="39" y="277"/>
                </a:cubicBezTo>
                <a:cubicBezTo>
                  <a:pt x="40" y="277"/>
                  <a:pt x="40" y="277"/>
                  <a:pt x="40" y="277"/>
                </a:cubicBezTo>
                <a:cubicBezTo>
                  <a:pt x="40" y="276"/>
                  <a:pt x="40" y="276"/>
                  <a:pt x="40" y="276"/>
                </a:cubicBezTo>
                <a:cubicBezTo>
                  <a:pt x="40" y="276"/>
                  <a:pt x="40" y="276"/>
                  <a:pt x="40" y="276"/>
                </a:cubicBezTo>
                <a:cubicBezTo>
                  <a:pt x="40" y="276"/>
                  <a:pt x="40" y="276"/>
                  <a:pt x="40" y="276"/>
                </a:cubicBezTo>
                <a:close/>
                <a:moveTo>
                  <a:pt x="39" y="275"/>
                </a:moveTo>
                <a:cubicBezTo>
                  <a:pt x="39" y="276"/>
                  <a:pt x="39" y="276"/>
                  <a:pt x="39" y="276"/>
                </a:cubicBezTo>
                <a:cubicBezTo>
                  <a:pt x="40" y="276"/>
                  <a:pt x="40" y="276"/>
                  <a:pt x="40" y="276"/>
                </a:cubicBezTo>
                <a:cubicBezTo>
                  <a:pt x="40" y="275"/>
                  <a:pt x="40" y="275"/>
                  <a:pt x="40" y="275"/>
                </a:cubicBezTo>
                <a:cubicBezTo>
                  <a:pt x="40" y="275"/>
                  <a:pt x="40" y="275"/>
                  <a:pt x="40" y="275"/>
                </a:cubicBezTo>
                <a:cubicBezTo>
                  <a:pt x="39" y="275"/>
                  <a:pt x="39" y="275"/>
                  <a:pt x="39" y="275"/>
                </a:cubicBezTo>
                <a:close/>
                <a:moveTo>
                  <a:pt x="40" y="263"/>
                </a:moveTo>
                <a:cubicBezTo>
                  <a:pt x="41" y="263"/>
                  <a:pt x="41" y="263"/>
                  <a:pt x="41" y="263"/>
                </a:cubicBezTo>
                <a:cubicBezTo>
                  <a:pt x="41" y="262"/>
                  <a:pt x="41" y="262"/>
                  <a:pt x="41" y="262"/>
                </a:cubicBezTo>
                <a:cubicBezTo>
                  <a:pt x="41" y="262"/>
                  <a:pt x="41" y="262"/>
                  <a:pt x="41" y="262"/>
                </a:cubicBezTo>
                <a:cubicBezTo>
                  <a:pt x="40" y="263"/>
                  <a:pt x="40" y="263"/>
                  <a:pt x="40" y="263"/>
                </a:cubicBezTo>
                <a:close/>
                <a:moveTo>
                  <a:pt x="40" y="261"/>
                </a:moveTo>
                <a:cubicBezTo>
                  <a:pt x="41" y="262"/>
                  <a:pt x="41" y="262"/>
                  <a:pt x="41" y="262"/>
                </a:cubicBezTo>
                <a:cubicBezTo>
                  <a:pt x="42" y="262"/>
                  <a:pt x="42" y="262"/>
                  <a:pt x="42" y="262"/>
                </a:cubicBezTo>
                <a:cubicBezTo>
                  <a:pt x="42" y="261"/>
                  <a:pt x="42" y="261"/>
                  <a:pt x="42" y="261"/>
                </a:cubicBezTo>
                <a:cubicBezTo>
                  <a:pt x="41" y="261"/>
                  <a:pt x="41" y="261"/>
                  <a:pt x="41" y="261"/>
                </a:cubicBezTo>
                <a:cubicBezTo>
                  <a:pt x="40" y="261"/>
                  <a:pt x="40" y="261"/>
                  <a:pt x="40" y="261"/>
                </a:cubicBezTo>
                <a:cubicBezTo>
                  <a:pt x="40" y="261"/>
                  <a:pt x="40" y="261"/>
                  <a:pt x="40" y="261"/>
                </a:cubicBezTo>
                <a:close/>
                <a:moveTo>
                  <a:pt x="38" y="261"/>
                </a:moveTo>
                <a:cubicBezTo>
                  <a:pt x="38" y="262"/>
                  <a:pt x="38" y="262"/>
                  <a:pt x="38" y="262"/>
                </a:cubicBezTo>
                <a:cubicBezTo>
                  <a:pt x="39" y="261"/>
                  <a:pt x="39" y="261"/>
                  <a:pt x="39" y="261"/>
                </a:cubicBezTo>
                <a:cubicBezTo>
                  <a:pt x="39" y="261"/>
                  <a:pt x="39" y="261"/>
                  <a:pt x="39" y="261"/>
                </a:cubicBezTo>
                <a:cubicBezTo>
                  <a:pt x="38" y="261"/>
                  <a:pt x="38" y="261"/>
                  <a:pt x="38" y="261"/>
                </a:cubicBezTo>
                <a:cubicBezTo>
                  <a:pt x="38" y="261"/>
                  <a:pt x="38" y="261"/>
                  <a:pt x="38" y="261"/>
                </a:cubicBezTo>
                <a:close/>
                <a:moveTo>
                  <a:pt x="41" y="250"/>
                </a:moveTo>
                <a:cubicBezTo>
                  <a:pt x="41" y="251"/>
                  <a:pt x="41" y="251"/>
                  <a:pt x="41" y="251"/>
                </a:cubicBezTo>
                <a:cubicBezTo>
                  <a:pt x="41" y="251"/>
                  <a:pt x="41" y="251"/>
                  <a:pt x="41" y="251"/>
                </a:cubicBezTo>
                <a:cubicBezTo>
                  <a:pt x="42" y="251"/>
                  <a:pt x="42" y="251"/>
                  <a:pt x="42" y="251"/>
                </a:cubicBezTo>
                <a:cubicBezTo>
                  <a:pt x="43" y="250"/>
                  <a:pt x="43" y="250"/>
                  <a:pt x="43" y="250"/>
                </a:cubicBezTo>
                <a:cubicBezTo>
                  <a:pt x="43" y="249"/>
                  <a:pt x="43" y="249"/>
                  <a:pt x="43" y="249"/>
                </a:cubicBezTo>
                <a:cubicBezTo>
                  <a:pt x="42" y="249"/>
                  <a:pt x="42" y="249"/>
                  <a:pt x="42" y="249"/>
                </a:cubicBezTo>
                <a:cubicBezTo>
                  <a:pt x="41" y="250"/>
                  <a:pt x="41" y="250"/>
                  <a:pt x="41" y="250"/>
                </a:cubicBezTo>
                <a:close/>
                <a:moveTo>
                  <a:pt x="51" y="246"/>
                </a:moveTo>
                <a:cubicBezTo>
                  <a:pt x="52" y="246"/>
                  <a:pt x="52" y="246"/>
                  <a:pt x="52" y="246"/>
                </a:cubicBezTo>
                <a:cubicBezTo>
                  <a:pt x="54" y="246"/>
                  <a:pt x="54" y="246"/>
                  <a:pt x="54" y="246"/>
                </a:cubicBezTo>
                <a:cubicBezTo>
                  <a:pt x="54" y="245"/>
                  <a:pt x="54" y="245"/>
                  <a:pt x="54" y="245"/>
                </a:cubicBezTo>
                <a:cubicBezTo>
                  <a:pt x="52" y="245"/>
                  <a:pt x="52" y="245"/>
                  <a:pt x="52" y="245"/>
                </a:cubicBezTo>
                <a:cubicBezTo>
                  <a:pt x="51" y="245"/>
                  <a:pt x="51" y="245"/>
                  <a:pt x="51" y="245"/>
                </a:cubicBezTo>
                <a:cubicBezTo>
                  <a:pt x="51" y="246"/>
                  <a:pt x="51" y="246"/>
                  <a:pt x="51" y="246"/>
                </a:cubicBezTo>
                <a:close/>
                <a:moveTo>
                  <a:pt x="47" y="240"/>
                </a:moveTo>
                <a:cubicBezTo>
                  <a:pt x="47" y="241"/>
                  <a:pt x="47" y="241"/>
                  <a:pt x="47" y="241"/>
                </a:cubicBezTo>
                <a:cubicBezTo>
                  <a:pt x="48" y="241"/>
                  <a:pt x="48" y="241"/>
                  <a:pt x="48" y="241"/>
                </a:cubicBezTo>
                <a:cubicBezTo>
                  <a:pt x="49" y="241"/>
                  <a:pt x="49" y="241"/>
                  <a:pt x="49" y="241"/>
                </a:cubicBezTo>
                <a:cubicBezTo>
                  <a:pt x="49" y="240"/>
                  <a:pt x="49" y="240"/>
                  <a:pt x="49" y="240"/>
                </a:cubicBezTo>
                <a:cubicBezTo>
                  <a:pt x="48" y="240"/>
                  <a:pt x="48" y="240"/>
                  <a:pt x="48" y="240"/>
                </a:cubicBezTo>
                <a:cubicBezTo>
                  <a:pt x="47" y="240"/>
                  <a:pt x="47" y="240"/>
                  <a:pt x="47" y="240"/>
                </a:cubicBezTo>
                <a:close/>
                <a:moveTo>
                  <a:pt x="52" y="240"/>
                </a:moveTo>
                <a:cubicBezTo>
                  <a:pt x="53" y="240"/>
                  <a:pt x="53" y="240"/>
                  <a:pt x="53" y="240"/>
                </a:cubicBezTo>
                <a:cubicBezTo>
                  <a:pt x="54" y="240"/>
                  <a:pt x="54" y="240"/>
                  <a:pt x="54" y="240"/>
                </a:cubicBezTo>
                <a:cubicBezTo>
                  <a:pt x="54" y="240"/>
                  <a:pt x="54" y="240"/>
                  <a:pt x="54" y="240"/>
                </a:cubicBezTo>
                <a:cubicBezTo>
                  <a:pt x="53" y="239"/>
                  <a:pt x="53" y="239"/>
                  <a:pt x="53" y="239"/>
                </a:cubicBezTo>
                <a:cubicBezTo>
                  <a:pt x="52" y="240"/>
                  <a:pt x="52" y="240"/>
                  <a:pt x="52" y="240"/>
                </a:cubicBezTo>
                <a:close/>
                <a:moveTo>
                  <a:pt x="49" y="239"/>
                </a:moveTo>
                <a:cubicBezTo>
                  <a:pt x="51" y="240"/>
                  <a:pt x="51" y="240"/>
                  <a:pt x="51" y="240"/>
                </a:cubicBezTo>
                <a:cubicBezTo>
                  <a:pt x="52" y="239"/>
                  <a:pt x="52" y="239"/>
                  <a:pt x="52" y="239"/>
                </a:cubicBezTo>
                <a:cubicBezTo>
                  <a:pt x="53" y="239"/>
                  <a:pt x="53" y="239"/>
                  <a:pt x="53" y="239"/>
                </a:cubicBezTo>
                <a:cubicBezTo>
                  <a:pt x="52" y="238"/>
                  <a:pt x="52" y="238"/>
                  <a:pt x="52" y="238"/>
                </a:cubicBezTo>
                <a:cubicBezTo>
                  <a:pt x="51" y="238"/>
                  <a:pt x="51" y="238"/>
                  <a:pt x="51" y="238"/>
                </a:cubicBezTo>
                <a:cubicBezTo>
                  <a:pt x="50" y="238"/>
                  <a:pt x="50" y="238"/>
                  <a:pt x="50" y="238"/>
                </a:cubicBezTo>
                <a:cubicBezTo>
                  <a:pt x="49" y="239"/>
                  <a:pt x="49" y="239"/>
                  <a:pt x="49" y="239"/>
                </a:cubicBezTo>
                <a:close/>
                <a:moveTo>
                  <a:pt x="60" y="214"/>
                </a:moveTo>
                <a:cubicBezTo>
                  <a:pt x="61" y="215"/>
                  <a:pt x="61" y="215"/>
                  <a:pt x="61" y="215"/>
                </a:cubicBezTo>
                <a:cubicBezTo>
                  <a:pt x="61" y="216"/>
                  <a:pt x="61" y="216"/>
                  <a:pt x="61" y="216"/>
                </a:cubicBezTo>
                <a:cubicBezTo>
                  <a:pt x="62" y="215"/>
                  <a:pt x="62" y="215"/>
                  <a:pt x="62" y="215"/>
                </a:cubicBezTo>
                <a:cubicBezTo>
                  <a:pt x="61" y="215"/>
                  <a:pt x="61" y="215"/>
                  <a:pt x="61" y="215"/>
                </a:cubicBezTo>
                <a:cubicBezTo>
                  <a:pt x="60" y="214"/>
                  <a:pt x="60" y="214"/>
                  <a:pt x="60" y="214"/>
                </a:cubicBezTo>
                <a:close/>
                <a:moveTo>
                  <a:pt x="60" y="211"/>
                </a:moveTo>
                <a:cubicBezTo>
                  <a:pt x="59" y="212"/>
                  <a:pt x="59" y="212"/>
                  <a:pt x="59" y="212"/>
                </a:cubicBezTo>
                <a:cubicBezTo>
                  <a:pt x="61" y="213"/>
                  <a:pt x="61" y="213"/>
                  <a:pt x="61" y="213"/>
                </a:cubicBezTo>
                <a:cubicBezTo>
                  <a:pt x="61" y="213"/>
                  <a:pt x="61" y="213"/>
                  <a:pt x="61" y="213"/>
                </a:cubicBezTo>
                <a:cubicBezTo>
                  <a:pt x="61" y="212"/>
                  <a:pt x="61" y="212"/>
                  <a:pt x="61" y="212"/>
                </a:cubicBezTo>
                <a:cubicBezTo>
                  <a:pt x="61" y="212"/>
                  <a:pt x="60" y="211"/>
                  <a:pt x="60" y="211"/>
                </a:cubicBezTo>
                <a:close/>
                <a:moveTo>
                  <a:pt x="56" y="203"/>
                </a:moveTo>
                <a:cubicBezTo>
                  <a:pt x="57" y="203"/>
                  <a:pt x="57" y="203"/>
                  <a:pt x="57" y="203"/>
                </a:cubicBezTo>
                <a:cubicBezTo>
                  <a:pt x="58" y="202"/>
                  <a:pt x="58" y="202"/>
                  <a:pt x="58" y="202"/>
                </a:cubicBezTo>
                <a:cubicBezTo>
                  <a:pt x="59" y="202"/>
                  <a:pt x="59" y="202"/>
                  <a:pt x="59" y="202"/>
                </a:cubicBezTo>
                <a:cubicBezTo>
                  <a:pt x="59" y="201"/>
                  <a:pt x="59" y="201"/>
                  <a:pt x="59" y="201"/>
                </a:cubicBezTo>
                <a:cubicBezTo>
                  <a:pt x="58" y="201"/>
                  <a:pt x="58" y="201"/>
                  <a:pt x="58" y="201"/>
                </a:cubicBezTo>
                <a:cubicBezTo>
                  <a:pt x="57" y="201"/>
                  <a:pt x="57" y="201"/>
                  <a:pt x="57" y="201"/>
                </a:cubicBezTo>
                <a:cubicBezTo>
                  <a:pt x="56" y="201"/>
                  <a:pt x="56" y="201"/>
                  <a:pt x="56" y="201"/>
                </a:cubicBezTo>
                <a:cubicBezTo>
                  <a:pt x="56" y="202"/>
                  <a:pt x="56" y="202"/>
                  <a:pt x="56" y="202"/>
                </a:cubicBezTo>
                <a:cubicBezTo>
                  <a:pt x="56" y="203"/>
                  <a:pt x="56" y="203"/>
                  <a:pt x="56" y="203"/>
                </a:cubicBezTo>
                <a:close/>
                <a:moveTo>
                  <a:pt x="56" y="208"/>
                </a:moveTo>
                <a:cubicBezTo>
                  <a:pt x="57" y="208"/>
                  <a:pt x="57" y="208"/>
                  <a:pt x="57" y="208"/>
                </a:cubicBezTo>
                <a:cubicBezTo>
                  <a:pt x="58" y="208"/>
                  <a:pt x="58" y="208"/>
                  <a:pt x="58" y="208"/>
                </a:cubicBezTo>
                <a:cubicBezTo>
                  <a:pt x="59" y="207"/>
                  <a:pt x="59" y="207"/>
                  <a:pt x="59" y="207"/>
                </a:cubicBezTo>
                <a:cubicBezTo>
                  <a:pt x="59" y="206"/>
                  <a:pt x="59" y="206"/>
                  <a:pt x="59" y="206"/>
                </a:cubicBezTo>
                <a:cubicBezTo>
                  <a:pt x="58" y="205"/>
                  <a:pt x="58" y="205"/>
                  <a:pt x="58" y="205"/>
                </a:cubicBezTo>
                <a:cubicBezTo>
                  <a:pt x="57" y="206"/>
                  <a:pt x="57" y="206"/>
                  <a:pt x="57" y="206"/>
                </a:cubicBezTo>
                <a:cubicBezTo>
                  <a:pt x="56" y="208"/>
                  <a:pt x="56" y="208"/>
                  <a:pt x="56" y="208"/>
                </a:cubicBezTo>
                <a:close/>
                <a:moveTo>
                  <a:pt x="52" y="208"/>
                </a:moveTo>
                <a:cubicBezTo>
                  <a:pt x="53" y="209"/>
                  <a:pt x="53" y="209"/>
                  <a:pt x="53" y="209"/>
                </a:cubicBezTo>
                <a:cubicBezTo>
                  <a:pt x="54" y="208"/>
                  <a:pt x="54" y="208"/>
                  <a:pt x="54" y="208"/>
                </a:cubicBezTo>
                <a:cubicBezTo>
                  <a:pt x="54" y="207"/>
                  <a:pt x="54" y="207"/>
                  <a:pt x="54" y="207"/>
                </a:cubicBezTo>
                <a:cubicBezTo>
                  <a:pt x="54" y="205"/>
                  <a:pt x="54" y="205"/>
                  <a:pt x="54" y="205"/>
                </a:cubicBezTo>
                <a:cubicBezTo>
                  <a:pt x="53" y="206"/>
                  <a:pt x="53" y="206"/>
                  <a:pt x="53" y="206"/>
                </a:cubicBezTo>
                <a:cubicBezTo>
                  <a:pt x="52" y="207"/>
                  <a:pt x="52" y="207"/>
                  <a:pt x="52" y="207"/>
                </a:cubicBezTo>
                <a:cubicBezTo>
                  <a:pt x="52" y="208"/>
                  <a:pt x="52" y="208"/>
                  <a:pt x="52" y="208"/>
                </a:cubicBezTo>
                <a:close/>
                <a:moveTo>
                  <a:pt x="45" y="214"/>
                </a:moveTo>
                <a:cubicBezTo>
                  <a:pt x="44" y="215"/>
                  <a:pt x="44" y="215"/>
                  <a:pt x="44" y="215"/>
                </a:cubicBezTo>
                <a:cubicBezTo>
                  <a:pt x="45" y="216"/>
                  <a:pt x="45" y="216"/>
                  <a:pt x="45" y="216"/>
                </a:cubicBezTo>
                <a:cubicBezTo>
                  <a:pt x="46" y="216"/>
                  <a:pt x="46" y="216"/>
                  <a:pt x="46" y="216"/>
                </a:cubicBezTo>
                <a:cubicBezTo>
                  <a:pt x="46" y="215"/>
                  <a:pt x="46" y="215"/>
                  <a:pt x="46" y="215"/>
                </a:cubicBezTo>
                <a:cubicBezTo>
                  <a:pt x="45" y="214"/>
                  <a:pt x="45" y="214"/>
                  <a:pt x="45" y="214"/>
                </a:cubicBezTo>
                <a:cubicBezTo>
                  <a:pt x="45" y="214"/>
                  <a:pt x="45" y="214"/>
                  <a:pt x="45" y="214"/>
                </a:cubicBezTo>
                <a:close/>
                <a:moveTo>
                  <a:pt x="60" y="226"/>
                </a:moveTo>
                <a:cubicBezTo>
                  <a:pt x="60" y="226"/>
                  <a:pt x="60" y="226"/>
                  <a:pt x="60" y="226"/>
                </a:cubicBezTo>
                <a:cubicBezTo>
                  <a:pt x="60" y="226"/>
                  <a:pt x="60" y="226"/>
                  <a:pt x="60" y="226"/>
                </a:cubicBezTo>
                <a:cubicBezTo>
                  <a:pt x="60" y="227"/>
                  <a:pt x="60" y="227"/>
                  <a:pt x="60" y="227"/>
                </a:cubicBezTo>
                <a:cubicBezTo>
                  <a:pt x="60" y="228"/>
                  <a:pt x="60" y="228"/>
                  <a:pt x="60" y="228"/>
                </a:cubicBezTo>
                <a:cubicBezTo>
                  <a:pt x="60" y="229"/>
                  <a:pt x="60" y="229"/>
                  <a:pt x="60" y="229"/>
                </a:cubicBezTo>
                <a:cubicBezTo>
                  <a:pt x="61" y="228"/>
                  <a:pt x="61" y="228"/>
                  <a:pt x="61" y="228"/>
                </a:cubicBezTo>
                <a:cubicBezTo>
                  <a:pt x="62" y="226"/>
                  <a:pt x="62" y="226"/>
                  <a:pt x="62" y="226"/>
                </a:cubicBezTo>
                <a:cubicBezTo>
                  <a:pt x="63" y="226"/>
                  <a:pt x="63" y="226"/>
                  <a:pt x="63" y="226"/>
                </a:cubicBezTo>
                <a:cubicBezTo>
                  <a:pt x="62" y="225"/>
                  <a:pt x="62" y="225"/>
                  <a:pt x="62" y="225"/>
                </a:cubicBezTo>
                <a:cubicBezTo>
                  <a:pt x="62" y="225"/>
                  <a:pt x="62" y="225"/>
                  <a:pt x="62" y="225"/>
                </a:cubicBezTo>
                <a:cubicBezTo>
                  <a:pt x="60" y="225"/>
                  <a:pt x="60" y="225"/>
                  <a:pt x="60" y="225"/>
                </a:cubicBezTo>
                <a:cubicBezTo>
                  <a:pt x="60" y="226"/>
                  <a:pt x="60" y="226"/>
                  <a:pt x="60" y="226"/>
                </a:cubicBezTo>
                <a:close/>
                <a:moveTo>
                  <a:pt x="45" y="230"/>
                </a:moveTo>
                <a:cubicBezTo>
                  <a:pt x="45" y="231"/>
                  <a:pt x="45" y="231"/>
                  <a:pt x="45" y="231"/>
                </a:cubicBezTo>
                <a:cubicBezTo>
                  <a:pt x="47" y="231"/>
                  <a:pt x="47" y="231"/>
                  <a:pt x="47" y="231"/>
                </a:cubicBezTo>
                <a:cubicBezTo>
                  <a:pt x="48" y="232"/>
                  <a:pt x="48" y="232"/>
                  <a:pt x="48" y="232"/>
                </a:cubicBezTo>
                <a:cubicBezTo>
                  <a:pt x="49" y="232"/>
                  <a:pt x="49" y="232"/>
                  <a:pt x="49" y="232"/>
                </a:cubicBezTo>
                <a:cubicBezTo>
                  <a:pt x="49" y="231"/>
                  <a:pt x="49" y="231"/>
                  <a:pt x="49" y="231"/>
                </a:cubicBezTo>
                <a:cubicBezTo>
                  <a:pt x="53" y="231"/>
                  <a:pt x="53" y="231"/>
                  <a:pt x="53" y="231"/>
                </a:cubicBezTo>
                <a:cubicBezTo>
                  <a:pt x="55" y="231"/>
                  <a:pt x="55" y="231"/>
                  <a:pt x="55" y="231"/>
                </a:cubicBezTo>
                <a:cubicBezTo>
                  <a:pt x="57" y="229"/>
                  <a:pt x="57" y="229"/>
                  <a:pt x="57" y="229"/>
                </a:cubicBezTo>
                <a:cubicBezTo>
                  <a:pt x="56" y="227"/>
                  <a:pt x="56" y="227"/>
                  <a:pt x="56" y="227"/>
                </a:cubicBezTo>
                <a:cubicBezTo>
                  <a:pt x="56" y="225"/>
                  <a:pt x="56" y="225"/>
                  <a:pt x="56" y="225"/>
                </a:cubicBezTo>
                <a:cubicBezTo>
                  <a:pt x="55" y="225"/>
                  <a:pt x="55" y="225"/>
                  <a:pt x="55" y="225"/>
                </a:cubicBezTo>
                <a:cubicBezTo>
                  <a:pt x="53" y="225"/>
                  <a:pt x="53" y="225"/>
                  <a:pt x="53" y="225"/>
                </a:cubicBezTo>
                <a:cubicBezTo>
                  <a:pt x="53" y="222"/>
                  <a:pt x="53" y="222"/>
                  <a:pt x="53" y="222"/>
                </a:cubicBezTo>
                <a:cubicBezTo>
                  <a:pt x="51" y="220"/>
                  <a:pt x="51" y="220"/>
                  <a:pt x="51" y="220"/>
                </a:cubicBezTo>
                <a:cubicBezTo>
                  <a:pt x="49" y="219"/>
                  <a:pt x="49" y="219"/>
                  <a:pt x="49" y="219"/>
                </a:cubicBezTo>
                <a:cubicBezTo>
                  <a:pt x="48" y="218"/>
                  <a:pt x="48" y="218"/>
                  <a:pt x="48" y="218"/>
                </a:cubicBezTo>
                <a:cubicBezTo>
                  <a:pt x="46" y="218"/>
                  <a:pt x="46" y="218"/>
                  <a:pt x="46" y="218"/>
                </a:cubicBezTo>
                <a:cubicBezTo>
                  <a:pt x="45" y="217"/>
                  <a:pt x="45" y="217"/>
                  <a:pt x="45" y="217"/>
                </a:cubicBezTo>
                <a:cubicBezTo>
                  <a:pt x="45" y="218"/>
                  <a:pt x="45" y="218"/>
                  <a:pt x="45" y="218"/>
                </a:cubicBezTo>
                <a:cubicBezTo>
                  <a:pt x="44" y="219"/>
                  <a:pt x="44" y="219"/>
                  <a:pt x="44" y="219"/>
                </a:cubicBezTo>
                <a:cubicBezTo>
                  <a:pt x="44" y="221"/>
                  <a:pt x="44" y="221"/>
                  <a:pt x="44" y="221"/>
                </a:cubicBezTo>
                <a:cubicBezTo>
                  <a:pt x="45" y="222"/>
                  <a:pt x="45" y="222"/>
                  <a:pt x="45" y="222"/>
                </a:cubicBezTo>
                <a:cubicBezTo>
                  <a:pt x="45" y="223"/>
                  <a:pt x="45" y="223"/>
                  <a:pt x="45" y="223"/>
                </a:cubicBezTo>
                <a:cubicBezTo>
                  <a:pt x="44" y="222"/>
                  <a:pt x="44" y="222"/>
                  <a:pt x="44" y="222"/>
                </a:cubicBezTo>
                <a:cubicBezTo>
                  <a:pt x="43" y="223"/>
                  <a:pt x="43" y="223"/>
                  <a:pt x="43" y="223"/>
                </a:cubicBezTo>
                <a:cubicBezTo>
                  <a:pt x="43" y="224"/>
                  <a:pt x="43" y="224"/>
                  <a:pt x="43" y="224"/>
                </a:cubicBezTo>
                <a:cubicBezTo>
                  <a:pt x="43" y="225"/>
                  <a:pt x="43" y="225"/>
                  <a:pt x="43" y="225"/>
                </a:cubicBezTo>
                <a:cubicBezTo>
                  <a:pt x="44" y="225"/>
                  <a:pt x="44" y="225"/>
                  <a:pt x="44" y="225"/>
                </a:cubicBezTo>
                <a:cubicBezTo>
                  <a:pt x="43" y="226"/>
                  <a:pt x="43" y="226"/>
                  <a:pt x="43" y="226"/>
                </a:cubicBezTo>
                <a:cubicBezTo>
                  <a:pt x="43" y="226"/>
                  <a:pt x="43" y="226"/>
                  <a:pt x="43" y="226"/>
                </a:cubicBezTo>
                <a:cubicBezTo>
                  <a:pt x="44" y="227"/>
                  <a:pt x="44" y="227"/>
                  <a:pt x="44" y="227"/>
                </a:cubicBezTo>
                <a:cubicBezTo>
                  <a:pt x="46" y="228"/>
                  <a:pt x="46" y="228"/>
                  <a:pt x="46" y="228"/>
                </a:cubicBezTo>
                <a:cubicBezTo>
                  <a:pt x="47" y="229"/>
                  <a:pt x="47" y="229"/>
                  <a:pt x="47" y="229"/>
                </a:cubicBezTo>
                <a:cubicBezTo>
                  <a:pt x="48" y="229"/>
                  <a:pt x="48" y="229"/>
                  <a:pt x="48" y="229"/>
                </a:cubicBezTo>
                <a:cubicBezTo>
                  <a:pt x="50" y="228"/>
                  <a:pt x="50" y="228"/>
                  <a:pt x="50" y="228"/>
                </a:cubicBezTo>
                <a:cubicBezTo>
                  <a:pt x="48" y="229"/>
                  <a:pt x="48" y="229"/>
                  <a:pt x="48" y="229"/>
                </a:cubicBezTo>
                <a:cubicBezTo>
                  <a:pt x="47" y="229"/>
                  <a:pt x="47" y="229"/>
                  <a:pt x="47" y="229"/>
                </a:cubicBezTo>
                <a:cubicBezTo>
                  <a:pt x="46" y="229"/>
                  <a:pt x="46" y="229"/>
                  <a:pt x="46" y="229"/>
                </a:cubicBezTo>
                <a:cubicBezTo>
                  <a:pt x="45" y="229"/>
                  <a:pt x="45" y="229"/>
                  <a:pt x="45" y="229"/>
                </a:cubicBezTo>
                <a:lnTo>
                  <a:pt x="45" y="230"/>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1" name="Freeform 169">
            <a:extLst>
              <a:ext uri="{FF2B5EF4-FFF2-40B4-BE49-F238E27FC236}">
                <a16:creationId xmlns:a16="http://schemas.microsoft.com/office/drawing/2014/main" id="{C9243F8C-5BE6-D476-5C7C-74E2FBD47DAD}"/>
              </a:ext>
            </a:extLst>
          </p:cNvPr>
          <p:cNvSpPr>
            <a:spLocks noEditPoints="1"/>
          </p:cNvSpPr>
          <p:nvPr userDrawn="1"/>
        </p:nvSpPr>
        <p:spPr bwMode="auto">
          <a:xfrm>
            <a:off x="5527315" y="1440731"/>
            <a:ext cx="5419373" cy="5026026"/>
          </a:xfrm>
          <a:custGeom>
            <a:avLst/>
            <a:gdLst>
              <a:gd name="T0" fmla="*/ 399 w 546"/>
              <a:gd name="T1" fmla="*/ 36 h 506"/>
              <a:gd name="T2" fmla="*/ 400 w 546"/>
              <a:gd name="T3" fmla="*/ 86 h 506"/>
              <a:gd name="T4" fmla="*/ 399 w 546"/>
              <a:gd name="T5" fmla="*/ 95 h 506"/>
              <a:gd name="T6" fmla="*/ 426 w 546"/>
              <a:gd name="T7" fmla="*/ 59 h 506"/>
              <a:gd name="T8" fmla="*/ 427 w 546"/>
              <a:gd name="T9" fmla="*/ 34 h 506"/>
              <a:gd name="T10" fmla="*/ 461 w 546"/>
              <a:gd name="T11" fmla="*/ 15 h 506"/>
              <a:gd name="T12" fmla="*/ 537 w 546"/>
              <a:gd name="T13" fmla="*/ 20 h 506"/>
              <a:gd name="T14" fmla="*/ 468 w 546"/>
              <a:gd name="T15" fmla="*/ 73 h 506"/>
              <a:gd name="T16" fmla="*/ 420 w 546"/>
              <a:gd name="T17" fmla="*/ 106 h 506"/>
              <a:gd name="T18" fmla="*/ 436 w 546"/>
              <a:gd name="T19" fmla="*/ 236 h 506"/>
              <a:gd name="T20" fmla="*/ 382 w 546"/>
              <a:gd name="T21" fmla="*/ 98 h 506"/>
              <a:gd name="T22" fmla="*/ 341 w 546"/>
              <a:gd name="T23" fmla="*/ 68 h 506"/>
              <a:gd name="T24" fmla="*/ 285 w 546"/>
              <a:gd name="T25" fmla="*/ 62 h 506"/>
              <a:gd name="T26" fmla="*/ 372 w 546"/>
              <a:gd name="T27" fmla="*/ 112 h 506"/>
              <a:gd name="T28" fmla="*/ 387 w 546"/>
              <a:gd name="T29" fmla="*/ 154 h 506"/>
              <a:gd name="T30" fmla="*/ 235 w 546"/>
              <a:gd name="T31" fmla="*/ 82 h 506"/>
              <a:gd name="T32" fmla="*/ 339 w 546"/>
              <a:gd name="T33" fmla="*/ 127 h 506"/>
              <a:gd name="T34" fmla="*/ 315 w 546"/>
              <a:gd name="T35" fmla="*/ 112 h 506"/>
              <a:gd name="T36" fmla="*/ 303 w 546"/>
              <a:gd name="T37" fmla="*/ 116 h 506"/>
              <a:gd name="T38" fmla="*/ 285 w 546"/>
              <a:gd name="T39" fmla="*/ 99 h 506"/>
              <a:gd name="T40" fmla="*/ 206 w 546"/>
              <a:gd name="T41" fmla="*/ 110 h 506"/>
              <a:gd name="T42" fmla="*/ 293 w 546"/>
              <a:gd name="T43" fmla="*/ 158 h 506"/>
              <a:gd name="T44" fmla="*/ 314 w 546"/>
              <a:gd name="T45" fmla="*/ 166 h 506"/>
              <a:gd name="T46" fmla="*/ 393 w 546"/>
              <a:gd name="T47" fmla="*/ 176 h 506"/>
              <a:gd name="T48" fmla="*/ 377 w 546"/>
              <a:gd name="T49" fmla="*/ 228 h 506"/>
              <a:gd name="T50" fmla="*/ 271 w 546"/>
              <a:gd name="T51" fmla="*/ 231 h 506"/>
              <a:gd name="T52" fmla="*/ 267 w 546"/>
              <a:gd name="T53" fmla="*/ 171 h 506"/>
              <a:gd name="T54" fmla="*/ 229 w 546"/>
              <a:gd name="T55" fmla="*/ 137 h 506"/>
              <a:gd name="T56" fmla="*/ 201 w 546"/>
              <a:gd name="T57" fmla="*/ 203 h 506"/>
              <a:gd name="T58" fmla="*/ 258 w 546"/>
              <a:gd name="T59" fmla="*/ 218 h 506"/>
              <a:gd name="T60" fmla="*/ 392 w 546"/>
              <a:gd name="T61" fmla="*/ 305 h 506"/>
              <a:gd name="T62" fmla="*/ 398 w 546"/>
              <a:gd name="T63" fmla="*/ 241 h 506"/>
              <a:gd name="T64" fmla="*/ 343 w 546"/>
              <a:gd name="T65" fmla="*/ 212 h 506"/>
              <a:gd name="T66" fmla="*/ 366 w 546"/>
              <a:gd name="T67" fmla="*/ 188 h 506"/>
              <a:gd name="T68" fmla="*/ 407 w 546"/>
              <a:gd name="T69" fmla="*/ 188 h 506"/>
              <a:gd name="T70" fmla="*/ 420 w 546"/>
              <a:gd name="T71" fmla="*/ 224 h 506"/>
              <a:gd name="T72" fmla="*/ 432 w 546"/>
              <a:gd name="T73" fmla="*/ 247 h 506"/>
              <a:gd name="T74" fmla="*/ 453 w 546"/>
              <a:gd name="T75" fmla="*/ 277 h 506"/>
              <a:gd name="T76" fmla="*/ 434 w 546"/>
              <a:gd name="T77" fmla="*/ 279 h 506"/>
              <a:gd name="T78" fmla="*/ 422 w 546"/>
              <a:gd name="T79" fmla="*/ 317 h 506"/>
              <a:gd name="T80" fmla="*/ 342 w 546"/>
              <a:gd name="T81" fmla="*/ 290 h 506"/>
              <a:gd name="T82" fmla="*/ 401 w 546"/>
              <a:gd name="T83" fmla="*/ 345 h 506"/>
              <a:gd name="T84" fmla="*/ 325 w 546"/>
              <a:gd name="T85" fmla="*/ 383 h 506"/>
              <a:gd name="T86" fmla="*/ 432 w 546"/>
              <a:gd name="T87" fmla="*/ 465 h 506"/>
              <a:gd name="T88" fmla="*/ 462 w 546"/>
              <a:gd name="T89" fmla="*/ 465 h 506"/>
              <a:gd name="T90" fmla="*/ 450 w 546"/>
              <a:gd name="T91" fmla="*/ 435 h 506"/>
              <a:gd name="T92" fmla="*/ 50 w 546"/>
              <a:gd name="T93" fmla="*/ 419 h 506"/>
              <a:gd name="T94" fmla="*/ 29 w 546"/>
              <a:gd name="T95" fmla="*/ 376 h 506"/>
              <a:gd name="T96" fmla="*/ 93 w 546"/>
              <a:gd name="T97" fmla="*/ 175 h 506"/>
              <a:gd name="T98" fmla="*/ 39 w 546"/>
              <a:gd name="T99" fmla="*/ 383 h 506"/>
              <a:gd name="T100" fmla="*/ 96 w 546"/>
              <a:gd name="T101" fmla="*/ 181 h 506"/>
              <a:gd name="T102" fmla="*/ 159 w 546"/>
              <a:gd name="T103" fmla="*/ 183 h 506"/>
              <a:gd name="T104" fmla="*/ 240 w 546"/>
              <a:gd name="T105" fmla="*/ 215 h 506"/>
              <a:gd name="T106" fmla="*/ 285 w 546"/>
              <a:gd name="T107" fmla="*/ 245 h 506"/>
              <a:gd name="T108" fmla="*/ 319 w 546"/>
              <a:gd name="T109" fmla="*/ 207 h 506"/>
              <a:gd name="T110" fmla="*/ 366 w 546"/>
              <a:gd name="T111" fmla="*/ 232 h 506"/>
              <a:gd name="T112" fmla="*/ 306 w 546"/>
              <a:gd name="T113" fmla="*/ 289 h 506"/>
              <a:gd name="T114" fmla="*/ 253 w 546"/>
              <a:gd name="T115" fmla="*/ 367 h 506"/>
              <a:gd name="T116" fmla="*/ 349 w 546"/>
              <a:gd name="T117" fmla="*/ 347 h 506"/>
              <a:gd name="T118" fmla="*/ 416 w 546"/>
              <a:gd name="T119" fmla="*/ 351 h 506"/>
              <a:gd name="T120" fmla="*/ 443 w 546"/>
              <a:gd name="T121" fmla="*/ 404 h 506"/>
              <a:gd name="T122" fmla="*/ 389 w 546"/>
              <a:gd name="T123" fmla="*/ 441 h 506"/>
              <a:gd name="T124" fmla="*/ 398 w 546"/>
              <a:gd name="T125" fmla="*/ 483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506">
                <a:moveTo>
                  <a:pt x="395" y="89"/>
                </a:moveTo>
                <a:cubicBezTo>
                  <a:pt x="395" y="89"/>
                  <a:pt x="395" y="89"/>
                  <a:pt x="395" y="89"/>
                </a:cubicBezTo>
                <a:cubicBezTo>
                  <a:pt x="396" y="87"/>
                  <a:pt x="396" y="87"/>
                  <a:pt x="396" y="87"/>
                </a:cubicBezTo>
                <a:cubicBezTo>
                  <a:pt x="398" y="85"/>
                  <a:pt x="398" y="85"/>
                  <a:pt x="398" y="85"/>
                </a:cubicBezTo>
                <a:cubicBezTo>
                  <a:pt x="399" y="82"/>
                  <a:pt x="399" y="82"/>
                  <a:pt x="399" y="82"/>
                </a:cubicBezTo>
                <a:cubicBezTo>
                  <a:pt x="400" y="82"/>
                  <a:pt x="400" y="82"/>
                  <a:pt x="400" y="82"/>
                </a:cubicBezTo>
                <a:cubicBezTo>
                  <a:pt x="400" y="83"/>
                  <a:pt x="400" y="83"/>
                  <a:pt x="400" y="83"/>
                </a:cubicBezTo>
                <a:cubicBezTo>
                  <a:pt x="399" y="84"/>
                  <a:pt x="399" y="84"/>
                  <a:pt x="399" y="84"/>
                </a:cubicBezTo>
                <a:cubicBezTo>
                  <a:pt x="399" y="85"/>
                  <a:pt x="399" y="85"/>
                  <a:pt x="399" y="85"/>
                </a:cubicBezTo>
                <a:cubicBezTo>
                  <a:pt x="400" y="85"/>
                  <a:pt x="400" y="85"/>
                  <a:pt x="400" y="85"/>
                </a:cubicBezTo>
                <a:cubicBezTo>
                  <a:pt x="402" y="84"/>
                  <a:pt x="402" y="84"/>
                  <a:pt x="402" y="84"/>
                </a:cubicBezTo>
                <a:cubicBezTo>
                  <a:pt x="403" y="83"/>
                  <a:pt x="403" y="83"/>
                  <a:pt x="403" y="83"/>
                </a:cubicBezTo>
                <a:cubicBezTo>
                  <a:pt x="403" y="82"/>
                  <a:pt x="403" y="82"/>
                  <a:pt x="403" y="82"/>
                </a:cubicBezTo>
                <a:cubicBezTo>
                  <a:pt x="402" y="82"/>
                  <a:pt x="402" y="82"/>
                  <a:pt x="402" y="82"/>
                </a:cubicBezTo>
                <a:cubicBezTo>
                  <a:pt x="402" y="81"/>
                  <a:pt x="402" y="81"/>
                  <a:pt x="402" y="81"/>
                </a:cubicBezTo>
                <a:cubicBezTo>
                  <a:pt x="403" y="81"/>
                  <a:pt x="403" y="81"/>
                  <a:pt x="403" y="81"/>
                </a:cubicBezTo>
                <a:cubicBezTo>
                  <a:pt x="403" y="79"/>
                  <a:pt x="403" y="79"/>
                  <a:pt x="403" y="79"/>
                </a:cubicBezTo>
                <a:cubicBezTo>
                  <a:pt x="402" y="78"/>
                  <a:pt x="402" y="78"/>
                  <a:pt x="402" y="78"/>
                </a:cubicBezTo>
                <a:cubicBezTo>
                  <a:pt x="402" y="77"/>
                  <a:pt x="402" y="77"/>
                  <a:pt x="402" y="77"/>
                </a:cubicBezTo>
                <a:cubicBezTo>
                  <a:pt x="404" y="76"/>
                  <a:pt x="404" y="76"/>
                  <a:pt x="404" y="76"/>
                </a:cubicBezTo>
                <a:cubicBezTo>
                  <a:pt x="405" y="74"/>
                  <a:pt x="405" y="74"/>
                  <a:pt x="405" y="74"/>
                </a:cubicBezTo>
                <a:cubicBezTo>
                  <a:pt x="406" y="73"/>
                  <a:pt x="406" y="73"/>
                  <a:pt x="406" y="73"/>
                </a:cubicBezTo>
                <a:cubicBezTo>
                  <a:pt x="406" y="72"/>
                  <a:pt x="406" y="72"/>
                  <a:pt x="406" y="72"/>
                </a:cubicBezTo>
                <a:cubicBezTo>
                  <a:pt x="406" y="73"/>
                  <a:pt x="406" y="73"/>
                  <a:pt x="406" y="73"/>
                </a:cubicBezTo>
                <a:cubicBezTo>
                  <a:pt x="407" y="74"/>
                  <a:pt x="407" y="74"/>
                  <a:pt x="407" y="74"/>
                </a:cubicBezTo>
                <a:cubicBezTo>
                  <a:pt x="406" y="74"/>
                  <a:pt x="406" y="74"/>
                  <a:pt x="406" y="74"/>
                </a:cubicBezTo>
                <a:cubicBezTo>
                  <a:pt x="405" y="76"/>
                  <a:pt x="405" y="76"/>
                  <a:pt x="405" y="76"/>
                </a:cubicBezTo>
                <a:cubicBezTo>
                  <a:pt x="404" y="78"/>
                  <a:pt x="404" y="78"/>
                  <a:pt x="404" y="78"/>
                </a:cubicBezTo>
                <a:cubicBezTo>
                  <a:pt x="404" y="80"/>
                  <a:pt x="404" y="80"/>
                  <a:pt x="404" y="80"/>
                </a:cubicBezTo>
                <a:cubicBezTo>
                  <a:pt x="404" y="81"/>
                  <a:pt x="404" y="81"/>
                  <a:pt x="404" y="81"/>
                </a:cubicBezTo>
                <a:cubicBezTo>
                  <a:pt x="404" y="82"/>
                  <a:pt x="404" y="82"/>
                  <a:pt x="404" y="82"/>
                </a:cubicBezTo>
                <a:cubicBezTo>
                  <a:pt x="405" y="81"/>
                  <a:pt x="405" y="81"/>
                  <a:pt x="405" y="81"/>
                </a:cubicBezTo>
                <a:cubicBezTo>
                  <a:pt x="406" y="79"/>
                  <a:pt x="406" y="79"/>
                  <a:pt x="406" y="79"/>
                </a:cubicBezTo>
                <a:cubicBezTo>
                  <a:pt x="408" y="77"/>
                  <a:pt x="408" y="77"/>
                  <a:pt x="408" y="77"/>
                </a:cubicBezTo>
                <a:cubicBezTo>
                  <a:pt x="409" y="76"/>
                  <a:pt x="409" y="76"/>
                  <a:pt x="409" y="76"/>
                </a:cubicBezTo>
                <a:cubicBezTo>
                  <a:pt x="409" y="74"/>
                  <a:pt x="409" y="74"/>
                  <a:pt x="409" y="74"/>
                </a:cubicBezTo>
                <a:cubicBezTo>
                  <a:pt x="410" y="73"/>
                  <a:pt x="410" y="73"/>
                  <a:pt x="410" y="73"/>
                </a:cubicBezTo>
                <a:cubicBezTo>
                  <a:pt x="411" y="73"/>
                  <a:pt x="411" y="73"/>
                  <a:pt x="411" y="73"/>
                </a:cubicBezTo>
                <a:cubicBezTo>
                  <a:pt x="411" y="74"/>
                  <a:pt x="411" y="74"/>
                  <a:pt x="411" y="74"/>
                </a:cubicBezTo>
                <a:cubicBezTo>
                  <a:pt x="411" y="74"/>
                  <a:pt x="411" y="74"/>
                  <a:pt x="411" y="74"/>
                </a:cubicBezTo>
                <a:cubicBezTo>
                  <a:pt x="411" y="75"/>
                  <a:pt x="411" y="75"/>
                  <a:pt x="411" y="75"/>
                </a:cubicBezTo>
                <a:cubicBezTo>
                  <a:pt x="412" y="75"/>
                  <a:pt x="412" y="75"/>
                  <a:pt x="412" y="75"/>
                </a:cubicBezTo>
                <a:cubicBezTo>
                  <a:pt x="413" y="73"/>
                  <a:pt x="413" y="73"/>
                  <a:pt x="413" y="73"/>
                </a:cubicBezTo>
                <a:cubicBezTo>
                  <a:pt x="414" y="73"/>
                  <a:pt x="414" y="73"/>
                  <a:pt x="414" y="73"/>
                </a:cubicBezTo>
                <a:cubicBezTo>
                  <a:pt x="416" y="73"/>
                  <a:pt x="416" y="73"/>
                  <a:pt x="416" y="73"/>
                </a:cubicBezTo>
                <a:cubicBezTo>
                  <a:pt x="418" y="73"/>
                  <a:pt x="418" y="73"/>
                  <a:pt x="418" y="73"/>
                </a:cubicBezTo>
                <a:cubicBezTo>
                  <a:pt x="419" y="73"/>
                  <a:pt x="419" y="73"/>
                  <a:pt x="419" y="73"/>
                </a:cubicBezTo>
                <a:cubicBezTo>
                  <a:pt x="420" y="72"/>
                  <a:pt x="420" y="72"/>
                  <a:pt x="420" y="72"/>
                </a:cubicBezTo>
                <a:cubicBezTo>
                  <a:pt x="421" y="71"/>
                  <a:pt x="421" y="71"/>
                  <a:pt x="421" y="71"/>
                </a:cubicBezTo>
                <a:cubicBezTo>
                  <a:pt x="422" y="70"/>
                  <a:pt x="422" y="70"/>
                  <a:pt x="422" y="70"/>
                </a:cubicBezTo>
                <a:cubicBezTo>
                  <a:pt x="422" y="69"/>
                  <a:pt x="422" y="69"/>
                  <a:pt x="422" y="69"/>
                </a:cubicBezTo>
                <a:cubicBezTo>
                  <a:pt x="422" y="69"/>
                  <a:pt x="422" y="69"/>
                  <a:pt x="422" y="69"/>
                </a:cubicBezTo>
                <a:cubicBezTo>
                  <a:pt x="421" y="68"/>
                  <a:pt x="421" y="68"/>
                  <a:pt x="421" y="68"/>
                </a:cubicBezTo>
                <a:cubicBezTo>
                  <a:pt x="422" y="66"/>
                  <a:pt x="422" y="66"/>
                  <a:pt x="422" y="66"/>
                </a:cubicBezTo>
                <a:cubicBezTo>
                  <a:pt x="421" y="63"/>
                  <a:pt x="421" y="63"/>
                  <a:pt x="421" y="63"/>
                </a:cubicBezTo>
                <a:cubicBezTo>
                  <a:pt x="421" y="63"/>
                  <a:pt x="421" y="63"/>
                  <a:pt x="421" y="63"/>
                </a:cubicBezTo>
                <a:cubicBezTo>
                  <a:pt x="420" y="65"/>
                  <a:pt x="420" y="65"/>
                  <a:pt x="420" y="65"/>
                </a:cubicBezTo>
                <a:cubicBezTo>
                  <a:pt x="419" y="67"/>
                  <a:pt x="419" y="67"/>
                  <a:pt x="419" y="67"/>
                </a:cubicBezTo>
                <a:cubicBezTo>
                  <a:pt x="418" y="67"/>
                  <a:pt x="418" y="67"/>
                  <a:pt x="418" y="67"/>
                </a:cubicBezTo>
                <a:cubicBezTo>
                  <a:pt x="418" y="66"/>
                  <a:pt x="418" y="66"/>
                  <a:pt x="418" y="66"/>
                </a:cubicBezTo>
                <a:cubicBezTo>
                  <a:pt x="419" y="65"/>
                  <a:pt x="419" y="65"/>
                  <a:pt x="419" y="65"/>
                </a:cubicBezTo>
                <a:cubicBezTo>
                  <a:pt x="420" y="64"/>
                  <a:pt x="420" y="64"/>
                  <a:pt x="420" y="64"/>
                </a:cubicBezTo>
                <a:cubicBezTo>
                  <a:pt x="420" y="63"/>
                  <a:pt x="420" y="63"/>
                  <a:pt x="420" y="63"/>
                </a:cubicBezTo>
                <a:cubicBezTo>
                  <a:pt x="419" y="62"/>
                  <a:pt x="419" y="62"/>
                  <a:pt x="419" y="62"/>
                </a:cubicBezTo>
                <a:cubicBezTo>
                  <a:pt x="419" y="61"/>
                  <a:pt x="419" y="61"/>
                  <a:pt x="419" y="61"/>
                </a:cubicBezTo>
                <a:cubicBezTo>
                  <a:pt x="418" y="61"/>
                  <a:pt x="418" y="61"/>
                  <a:pt x="418" y="61"/>
                </a:cubicBezTo>
                <a:cubicBezTo>
                  <a:pt x="417" y="61"/>
                  <a:pt x="417" y="61"/>
                  <a:pt x="417" y="61"/>
                </a:cubicBezTo>
                <a:cubicBezTo>
                  <a:pt x="417" y="62"/>
                  <a:pt x="417" y="62"/>
                  <a:pt x="417" y="62"/>
                </a:cubicBezTo>
                <a:cubicBezTo>
                  <a:pt x="416" y="61"/>
                  <a:pt x="416" y="61"/>
                  <a:pt x="416" y="61"/>
                </a:cubicBezTo>
                <a:cubicBezTo>
                  <a:pt x="415" y="61"/>
                  <a:pt x="415" y="61"/>
                  <a:pt x="415" y="61"/>
                </a:cubicBezTo>
                <a:cubicBezTo>
                  <a:pt x="414" y="62"/>
                  <a:pt x="414" y="62"/>
                  <a:pt x="414" y="62"/>
                </a:cubicBezTo>
                <a:cubicBezTo>
                  <a:pt x="413" y="62"/>
                  <a:pt x="413" y="62"/>
                  <a:pt x="413" y="62"/>
                </a:cubicBezTo>
                <a:cubicBezTo>
                  <a:pt x="414" y="61"/>
                  <a:pt x="414" y="61"/>
                  <a:pt x="414" y="61"/>
                </a:cubicBezTo>
                <a:cubicBezTo>
                  <a:pt x="417" y="60"/>
                  <a:pt x="417" y="60"/>
                  <a:pt x="417" y="60"/>
                </a:cubicBezTo>
                <a:cubicBezTo>
                  <a:pt x="418" y="60"/>
                  <a:pt x="418" y="60"/>
                  <a:pt x="418" y="60"/>
                </a:cubicBezTo>
                <a:cubicBezTo>
                  <a:pt x="420" y="58"/>
                  <a:pt x="420" y="58"/>
                  <a:pt x="420" y="58"/>
                </a:cubicBezTo>
                <a:cubicBezTo>
                  <a:pt x="421" y="57"/>
                  <a:pt x="421" y="57"/>
                  <a:pt x="421" y="57"/>
                </a:cubicBezTo>
                <a:cubicBezTo>
                  <a:pt x="422" y="55"/>
                  <a:pt x="422" y="55"/>
                  <a:pt x="422" y="55"/>
                </a:cubicBezTo>
                <a:cubicBezTo>
                  <a:pt x="423" y="53"/>
                  <a:pt x="423" y="53"/>
                  <a:pt x="423" y="53"/>
                </a:cubicBezTo>
                <a:cubicBezTo>
                  <a:pt x="422" y="52"/>
                  <a:pt x="422" y="52"/>
                  <a:pt x="422" y="52"/>
                </a:cubicBezTo>
                <a:cubicBezTo>
                  <a:pt x="421" y="52"/>
                  <a:pt x="421" y="52"/>
                  <a:pt x="421" y="52"/>
                </a:cubicBezTo>
                <a:cubicBezTo>
                  <a:pt x="421" y="53"/>
                  <a:pt x="421" y="53"/>
                  <a:pt x="421" y="53"/>
                </a:cubicBezTo>
                <a:cubicBezTo>
                  <a:pt x="420" y="52"/>
                  <a:pt x="420" y="52"/>
                  <a:pt x="420" y="52"/>
                </a:cubicBezTo>
                <a:cubicBezTo>
                  <a:pt x="421" y="52"/>
                  <a:pt x="421" y="52"/>
                  <a:pt x="421" y="52"/>
                </a:cubicBezTo>
                <a:cubicBezTo>
                  <a:pt x="421" y="51"/>
                  <a:pt x="421" y="51"/>
                  <a:pt x="421" y="51"/>
                </a:cubicBezTo>
                <a:cubicBezTo>
                  <a:pt x="422" y="51"/>
                  <a:pt x="422" y="51"/>
                  <a:pt x="422" y="51"/>
                </a:cubicBezTo>
                <a:cubicBezTo>
                  <a:pt x="423" y="50"/>
                  <a:pt x="423" y="50"/>
                  <a:pt x="423" y="50"/>
                </a:cubicBezTo>
                <a:cubicBezTo>
                  <a:pt x="423" y="49"/>
                  <a:pt x="423" y="49"/>
                  <a:pt x="423" y="49"/>
                </a:cubicBezTo>
                <a:cubicBezTo>
                  <a:pt x="424" y="48"/>
                  <a:pt x="424" y="48"/>
                  <a:pt x="424" y="48"/>
                </a:cubicBezTo>
                <a:cubicBezTo>
                  <a:pt x="424" y="46"/>
                  <a:pt x="424" y="46"/>
                  <a:pt x="424" y="46"/>
                </a:cubicBezTo>
                <a:cubicBezTo>
                  <a:pt x="424" y="46"/>
                  <a:pt x="424" y="46"/>
                  <a:pt x="424" y="46"/>
                </a:cubicBezTo>
                <a:cubicBezTo>
                  <a:pt x="424" y="45"/>
                  <a:pt x="424" y="45"/>
                  <a:pt x="424" y="45"/>
                </a:cubicBezTo>
                <a:cubicBezTo>
                  <a:pt x="422" y="45"/>
                  <a:pt x="422" y="45"/>
                  <a:pt x="422" y="45"/>
                </a:cubicBezTo>
                <a:cubicBezTo>
                  <a:pt x="421" y="45"/>
                  <a:pt x="421" y="45"/>
                  <a:pt x="421" y="45"/>
                </a:cubicBezTo>
                <a:cubicBezTo>
                  <a:pt x="420" y="48"/>
                  <a:pt x="420" y="48"/>
                  <a:pt x="420" y="48"/>
                </a:cubicBezTo>
                <a:cubicBezTo>
                  <a:pt x="420" y="49"/>
                  <a:pt x="420" y="49"/>
                  <a:pt x="420" y="49"/>
                </a:cubicBezTo>
                <a:cubicBezTo>
                  <a:pt x="420" y="50"/>
                  <a:pt x="420" y="50"/>
                  <a:pt x="420" y="50"/>
                </a:cubicBezTo>
                <a:cubicBezTo>
                  <a:pt x="420" y="51"/>
                  <a:pt x="420" y="51"/>
                  <a:pt x="420" y="51"/>
                </a:cubicBezTo>
                <a:cubicBezTo>
                  <a:pt x="419" y="52"/>
                  <a:pt x="419" y="52"/>
                  <a:pt x="419" y="52"/>
                </a:cubicBezTo>
                <a:cubicBezTo>
                  <a:pt x="419" y="51"/>
                  <a:pt x="419" y="51"/>
                  <a:pt x="419" y="51"/>
                </a:cubicBezTo>
                <a:cubicBezTo>
                  <a:pt x="419" y="51"/>
                  <a:pt x="419" y="51"/>
                  <a:pt x="419" y="51"/>
                </a:cubicBezTo>
                <a:cubicBezTo>
                  <a:pt x="418" y="50"/>
                  <a:pt x="418" y="50"/>
                  <a:pt x="418" y="50"/>
                </a:cubicBezTo>
                <a:cubicBezTo>
                  <a:pt x="418" y="49"/>
                  <a:pt x="418" y="49"/>
                  <a:pt x="418" y="49"/>
                </a:cubicBezTo>
                <a:cubicBezTo>
                  <a:pt x="419" y="47"/>
                  <a:pt x="419" y="47"/>
                  <a:pt x="419" y="47"/>
                </a:cubicBezTo>
                <a:cubicBezTo>
                  <a:pt x="419" y="46"/>
                  <a:pt x="419" y="46"/>
                  <a:pt x="419" y="46"/>
                </a:cubicBezTo>
                <a:cubicBezTo>
                  <a:pt x="419" y="45"/>
                  <a:pt x="419" y="45"/>
                  <a:pt x="419" y="45"/>
                </a:cubicBezTo>
                <a:cubicBezTo>
                  <a:pt x="420" y="45"/>
                  <a:pt x="420" y="45"/>
                  <a:pt x="420" y="45"/>
                </a:cubicBezTo>
                <a:cubicBezTo>
                  <a:pt x="420" y="45"/>
                  <a:pt x="420" y="45"/>
                  <a:pt x="420" y="45"/>
                </a:cubicBezTo>
                <a:cubicBezTo>
                  <a:pt x="420" y="43"/>
                  <a:pt x="420" y="43"/>
                  <a:pt x="420" y="43"/>
                </a:cubicBezTo>
                <a:cubicBezTo>
                  <a:pt x="419" y="42"/>
                  <a:pt x="419" y="42"/>
                  <a:pt x="419" y="42"/>
                </a:cubicBezTo>
                <a:cubicBezTo>
                  <a:pt x="418" y="42"/>
                  <a:pt x="418" y="42"/>
                  <a:pt x="418" y="42"/>
                </a:cubicBezTo>
                <a:cubicBezTo>
                  <a:pt x="417" y="43"/>
                  <a:pt x="417" y="43"/>
                  <a:pt x="417" y="43"/>
                </a:cubicBezTo>
                <a:cubicBezTo>
                  <a:pt x="416" y="44"/>
                  <a:pt x="416" y="44"/>
                  <a:pt x="416" y="44"/>
                </a:cubicBezTo>
                <a:cubicBezTo>
                  <a:pt x="416" y="43"/>
                  <a:pt x="416" y="43"/>
                  <a:pt x="416" y="43"/>
                </a:cubicBezTo>
                <a:cubicBezTo>
                  <a:pt x="416" y="43"/>
                  <a:pt x="416" y="43"/>
                  <a:pt x="416" y="43"/>
                </a:cubicBezTo>
                <a:cubicBezTo>
                  <a:pt x="416" y="41"/>
                  <a:pt x="416" y="41"/>
                  <a:pt x="416" y="41"/>
                </a:cubicBezTo>
                <a:cubicBezTo>
                  <a:pt x="415" y="39"/>
                  <a:pt x="415" y="39"/>
                  <a:pt x="415" y="39"/>
                </a:cubicBezTo>
                <a:cubicBezTo>
                  <a:pt x="415" y="36"/>
                  <a:pt x="415" y="36"/>
                  <a:pt x="415" y="36"/>
                </a:cubicBezTo>
                <a:cubicBezTo>
                  <a:pt x="415" y="34"/>
                  <a:pt x="415" y="34"/>
                  <a:pt x="415" y="34"/>
                </a:cubicBezTo>
                <a:cubicBezTo>
                  <a:pt x="416" y="33"/>
                  <a:pt x="416" y="33"/>
                  <a:pt x="416" y="33"/>
                </a:cubicBezTo>
                <a:cubicBezTo>
                  <a:pt x="416" y="31"/>
                  <a:pt x="416" y="31"/>
                  <a:pt x="416" y="31"/>
                </a:cubicBezTo>
                <a:cubicBezTo>
                  <a:pt x="416" y="29"/>
                  <a:pt x="416" y="29"/>
                  <a:pt x="416" y="29"/>
                </a:cubicBezTo>
                <a:cubicBezTo>
                  <a:pt x="417" y="27"/>
                  <a:pt x="417" y="27"/>
                  <a:pt x="417" y="27"/>
                </a:cubicBezTo>
                <a:cubicBezTo>
                  <a:pt x="417" y="26"/>
                  <a:pt x="417" y="26"/>
                  <a:pt x="417" y="26"/>
                </a:cubicBezTo>
                <a:cubicBezTo>
                  <a:pt x="416" y="24"/>
                  <a:pt x="416" y="24"/>
                  <a:pt x="416" y="24"/>
                </a:cubicBezTo>
                <a:cubicBezTo>
                  <a:pt x="416" y="23"/>
                  <a:pt x="416" y="23"/>
                  <a:pt x="416" y="23"/>
                </a:cubicBezTo>
                <a:cubicBezTo>
                  <a:pt x="414" y="22"/>
                  <a:pt x="414" y="22"/>
                  <a:pt x="414" y="22"/>
                </a:cubicBezTo>
                <a:cubicBezTo>
                  <a:pt x="413" y="21"/>
                  <a:pt x="413" y="21"/>
                  <a:pt x="413" y="21"/>
                </a:cubicBezTo>
                <a:cubicBezTo>
                  <a:pt x="412" y="20"/>
                  <a:pt x="412" y="20"/>
                  <a:pt x="412" y="20"/>
                </a:cubicBezTo>
                <a:cubicBezTo>
                  <a:pt x="411" y="20"/>
                  <a:pt x="411" y="20"/>
                  <a:pt x="411" y="20"/>
                </a:cubicBezTo>
                <a:cubicBezTo>
                  <a:pt x="411" y="21"/>
                  <a:pt x="411" y="21"/>
                  <a:pt x="411" y="21"/>
                </a:cubicBezTo>
                <a:cubicBezTo>
                  <a:pt x="411" y="21"/>
                  <a:pt x="411" y="21"/>
                  <a:pt x="411" y="21"/>
                </a:cubicBezTo>
                <a:cubicBezTo>
                  <a:pt x="409" y="20"/>
                  <a:pt x="409" y="20"/>
                  <a:pt x="409" y="20"/>
                </a:cubicBezTo>
                <a:cubicBezTo>
                  <a:pt x="408" y="20"/>
                  <a:pt x="408" y="20"/>
                  <a:pt x="408" y="20"/>
                </a:cubicBezTo>
                <a:cubicBezTo>
                  <a:pt x="408" y="21"/>
                  <a:pt x="408" y="21"/>
                  <a:pt x="408" y="21"/>
                </a:cubicBezTo>
                <a:cubicBezTo>
                  <a:pt x="407" y="23"/>
                  <a:pt x="407" y="23"/>
                  <a:pt x="407" y="23"/>
                </a:cubicBezTo>
                <a:cubicBezTo>
                  <a:pt x="408" y="24"/>
                  <a:pt x="408" y="24"/>
                  <a:pt x="408" y="24"/>
                </a:cubicBezTo>
                <a:cubicBezTo>
                  <a:pt x="409" y="24"/>
                  <a:pt x="409" y="24"/>
                  <a:pt x="409" y="24"/>
                </a:cubicBezTo>
                <a:cubicBezTo>
                  <a:pt x="410" y="23"/>
                  <a:pt x="410" y="23"/>
                  <a:pt x="410" y="23"/>
                </a:cubicBezTo>
                <a:cubicBezTo>
                  <a:pt x="411" y="24"/>
                  <a:pt x="411" y="24"/>
                  <a:pt x="411" y="24"/>
                </a:cubicBezTo>
                <a:cubicBezTo>
                  <a:pt x="412" y="25"/>
                  <a:pt x="412" y="25"/>
                  <a:pt x="412" y="25"/>
                </a:cubicBezTo>
                <a:cubicBezTo>
                  <a:pt x="413" y="25"/>
                  <a:pt x="413" y="25"/>
                  <a:pt x="413" y="25"/>
                </a:cubicBezTo>
                <a:cubicBezTo>
                  <a:pt x="413" y="26"/>
                  <a:pt x="413" y="26"/>
                  <a:pt x="413" y="26"/>
                </a:cubicBezTo>
                <a:cubicBezTo>
                  <a:pt x="411" y="28"/>
                  <a:pt x="411" y="28"/>
                  <a:pt x="411" y="28"/>
                </a:cubicBezTo>
                <a:cubicBezTo>
                  <a:pt x="410" y="28"/>
                  <a:pt x="410" y="28"/>
                  <a:pt x="410" y="28"/>
                </a:cubicBezTo>
                <a:cubicBezTo>
                  <a:pt x="409" y="27"/>
                  <a:pt x="409" y="27"/>
                  <a:pt x="409" y="27"/>
                </a:cubicBezTo>
                <a:cubicBezTo>
                  <a:pt x="408" y="27"/>
                  <a:pt x="408" y="27"/>
                  <a:pt x="408" y="27"/>
                </a:cubicBezTo>
                <a:cubicBezTo>
                  <a:pt x="406" y="27"/>
                  <a:pt x="406" y="27"/>
                  <a:pt x="406" y="27"/>
                </a:cubicBezTo>
                <a:cubicBezTo>
                  <a:pt x="407" y="28"/>
                  <a:pt x="407" y="28"/>
                  <a:pt x="407" y="28"/>
                </a:cubicBezTo>
                <a:cubicBezTo>
                  <a:pt x="408" y="28"/>
                  <a:pt x="408" y="28"/>
                  <a:pt x="408" y="28"/>
                </a:cubicBezTo>
                <a:cubicBezTo>
                  <a:pt x="407" y="29"/>
                  <a:pt x="407" y="29"/>
                  <a:pt x="407" y="29"/>
                </a:cubicBezTo>
                <a:cubicBezTo>
                  <a:pt x="406" y="29"/>
                  <a:pt x="406" y="29"/>
                  <a:pt x="406" y="29"/>
                </a:cubicBezTo>
                <a:cubicBezTo>
                  <a:pt x="404" y="28"/>
                  <a:pt x="404" y="28"/>
                  <a:pt x="404" y="28"/>
                </a:cubicBezTo>
                <a:cubicBezTo>
                  <a:pt x="402" y="29"/>
                  <a:pt x="402" y="29"/>
                  <a:pt x="402" y="29"/>
                </a:cubicBezTo>
                <a:cubicBezTo>
                  <a:pt x="402" y="30"/>
                  <a:pt x="402" y="30"/>
                  <a:pt x="402" y="30"/>
                </a:cubicBezTo>
                <a:cubicBezTo>
                  <a:pt x="401" y="31"/>
                  <a:pt x="401" y="31"/>
                  <a:pt x="401" y="31"/>
                </a:cubicBezTo>
                <a:cubicBezTo>
                  <a:pt x="401" y="32"/>
                  <a:pt x="401" y="32"/>
                  <a:pt x="401" y="32"/>
                </a:cubicBezTo>
                <a:cubicBezTo>
                  <a:pt x="402" y="32"/>
                  <a:pt x="402" y="32"/>
                  <a:pt x="402" y="32"/>
                </a:cubicBezTo>
                <a:cubicBezTo>
                  <a:pt x="402" y="34"/>
                  <a:pt x="402" y="34"/>
                  <a:pt x="402" y="34"/>
                </a:cubicBezTo>
                <a:cubicBezTo>
                  <a:pt x="404" y="34"/>
                  <a:pt x="404" y="34"/>
                  <a:pt x="404" y="34"/>
                </a:cubicBezTo>
                <a:cubicBezTo>
                  <a:pt x="404" y="35"/>
                  <a:pt x="404" y="35"/>
                  <a:pt x="404" y="35"/>
                </a:cubicBezTo>
                <a:cubicBezTo>
                  <a:pt x="403" y="35"/>
                  <a:pt x="403" y="35"/>
                  <a:pt x="403" y="35"/>
                </a:cubicBezTo>
                <a:cubicBezTo>
                  <a:pt x="403" y="36"/>
                  <a:pt x="403" y="36"/>
                  <a:pt x="403" y="36"/>
                </a:cubicBezTo>
                <a:cubicBezTo>
                  <a:pt x="403" y="37"/>
                  <a:pt x="403" y="37"/>
                  <a:pt x="403" y="37"/>
                </a:cubicBezTo>
                <a:cubicBezTo>
                  <a:pt x="403" y="37"/>
                  <a:pt x="403" y="37"/>
                  <a:pt x="403" y="37"/>
                </a:cubicBezTo>
                <a:cubicBezTo>
                  <a:pt x="402" y="37"/>
                  <a:pt x="402" y="37"/>
                  <a:pt x="402" y="37"/>
                </a:cubicBezTo>
                <a:cubicBezTo>
                  <a:pt x="402" y="37"/>
                  <a:pt x="402" y="37"/>
                  <a:pt x="402" y="37"/>
                </a:cubicBezTo>
                <a:cubicBezTo>
                  <a:pt x="400" y="37"/>
                  <a:pt x="400" y="37"/>
                  <a:pt x="400" y="37"/>
                </a:cubicBezTo>
                <a:cubicBezTo>
                  <a:pt x="399" y="36"/>
                  <a:pt x="399" y="36"/>
                  <a:pt x="399" y="36"/>
                </a:cubicBezTo>
                <a:cubicBezTo>
                  <a:pt x="398" y="35"/>
                  <a:pt x="398" y="35"/>
                  <a:pt x="398" y="35"/>
                </a:cubicBezTo>
                <a:cubicBezTo>
                  <a:pt x="397" y="36"/>
                  <a:pt x="397" y="36"/>
                  <a:pt x="397" y="36"/>
                </a:cubicBezTo>
                <a:cubicBezTo>
                  <a:pt x="397" y="37"/>
                  <a:pt x="397" y="37"/>
                  <a:pt x="397" y="37"/>
                </a:cubicBezTo>
                <a:cubicBezTo>
                  <a:pt x="398" y="38"/>
                  <a:pt x="398" y="38"/>
                  <a:pt x="398" y="38"/>
                </a:cubicBezTo>
                <a:cubicBezTo>
                  <a:pt x="397" y="39"/>
                  <a:pt x="397" y="39"/>
                  <a:pt x="397" y="39"/>
                </a:cubicBezTo>
                <a:cubicBezTo>
                  <a:pt x="396" y="39"/>
                  <a:pt x="396" y="39"/>
                  <a:pt x="396" y="39"/>
                </a:cubicBezTo>
                <a:cubicBezTo>
                  <a:pt x="396" y="38"/>
                  <a:pt x="396" y="38"/>
                  <a:pt x="396" y="38"/>
                </a:cubicBezTo>
                <a:cubicBezTo>
                  <a:pt x="396" y="37"/>
                  <a:pt x="396" y="37"/>
                  <a:pt x="396" y="37"/>
                </a:cubicBezTo>
                <a:cubicBezTo>
                  <a:pt x="394" y="37"/>
                  <a:pt x="394" y="37"/>
                  <a:pt x="394" y="37"/>
                </a:cubicBezTo>
                <a:cubicBezTo>
                  <a:pt x="394" y="37"/>
                  <a:pt x="394" y="37"/>
                  <a:pt x="394" y="37"/>
                </a:cubicBezTo>
                <a:cubicBezTo>
                  <a:pt x="393" y="36"/>
                  <a:pt x="393" y="36"/>
                  <a:pt x="393" y="36"/>
                </a:cubicBezTo>
                <a:cubicBezTo>
                  <a:pt x="392" y="36"/>
                  <a:pt x="392" y="36"/>
                  <a:pt x="392" y="36"/>
                </a:cubicBezTo>
                <a:cubicBezTo>
                  <a:pt x="392" y="37"/>
                  <a:pt x="392" y="37"/>
                  <a:pt x="392" y="37"/>
                </a:cubicBezTo>
                <a:cubicBezTo>
                  <a:pt x="392" y="38"/>
                  <a:pt x="392" y="38"/>
                  <a:pt x="392" y="38"/>
                </a:cubicBezTo>
                <a:cubicBezTo>
                  <a:pt x="392" y="40"/>
                  <a:pt x="392" y="40"/>
                  <a:pt x="392" y="40"/>
                </a:cubicBezTo>
                <a:cubicBezTo>
                  <a:pt x="393" y="41"/>
                  <a:pt x="393" y="41"/>
                  <a:pt x="393" y="41"/>
                </a:cubicBezTo>
                <a:cubicBezTo>
                  <a:pt x="394" y="42"/>
                  <a:pt x="394" y="42"/>
                  <a:pt x="394" y="42"/>
                </a:cubicBezTo>
                <a:cubicBezTo>
                  <a:pt x="395" y="42"/>
                  <a:pt x="395" y="42"/>
                  <a:pt x="395" y="42"/>
                </a:cubicBezTo>
                <a:cubicBezTo>
                  <a:pt x="396" y="43"/>
                  <a:pt x="396" y="43"/>
                  <a:pt x="396" y="43"/>
                </a:cubicBezTo>
                <a:cubicBezTo>
                  <a:pt x="395" y="43"/>
                  <a:pt x="395" y="43"/>
                  <a:pt x="395" y="43"/>
                </a:cubicBezTo>
                <a:cubicBezTo>
                  <a:pt x="394" y="43"/>
                  <a:pt x="394" y="43"/>
                  <a:pt x="394" y="43"/>
                </a:cubicBezTo>
                <a:cubicBezTo>
                  <a:pt x="395" y="44"/>
                  <a:pt x="395" y="44"/>
                  <a:pt x="395" y="44"/>
                </a:cubicBezTo>
                <a:cubicBezTo>
                  <a:pt x="396" y="45"/>
                  <a:pt x="396" y="45"/>
                  <a:pt x="396" y="45"/>
                </a:cubicBezTo>
                <a:cubicBezTo>
                  <a:pt x="397" y="46"/>
                  <a:pt x="397" y="46"/>
                  <a:pt x="397" y="46"/>
                </a:cubicBezTo>
                <a:cubicBezTo>
                  <a:pt x="399" y="46"/>
                  <a:pt x="399" y="46"/>
                  <a:pt x="399" y="46"/>
                </a:cubicBezTo>
                <a:cubicBezTo>
                  <a:pt x="399" y="45"/>
                  <a:pt x="399" y="45"/>
                  <a:pt x="399" y="45"/>
                </a:cubicBezTo>
                <a:cubicBezTo>
                  <a:pt x="400" y="45"/>
                  <a:pt x="400" y="45"/>
                  <a:pt x="400" y="45"/>
                </a:cubicBezTo>
                <a:cubicBezTo>
                  <a:pt x="400" y="46"/>
                  <a:pt x="400" y="46"/>
                  <a:pt x="400" y="46"/>
                </a:cubicBezTo>
                <a:cubicBezTo>
                  <a:pt x="399" y="46"/>
                  <a:pt x="399" y="46"/>
                  <a:pt x="399" y="46"/>
                </a:cubicBezTo>
                <a:cubicBezTo>
                  <a:pt x="399" y="48"/>
                  <a:pt x="399" y="48"/>
                  <a:pt x="399" y="48"/>
                </a:cubicBezTo>
                <a:cubicBezTo>
                  <a:pt x="398" y="48"/>
                  <a:pt x="398" y="48"/>
                  <a:pt x="398" y="48"/>
                </a:cubicBezTo>
                <a:cubicBezTo>
                  <a:pt x="396" y="47"/>
                  <a:pt x="396" y="47"/>
                  <a:pt x="396" y="47"/>
                </a:cubicBezTo>
                <a:cubicBezTo>
                  <a:pt x="393" y="46"/>
                  <a:pt x="393" y="46"/>
                  <a:pt x="393" y="46"/>
                </a:cubicBezTo>
                <a:cubicBezTo>
                  <a:pt x="392" y="45"/>
                  <a:pt x="392" y="45"/>
                  <a:pt x="392" y="45"/>
                </a:cubicBezTo>
                <a:cubicBezTo>
                  <a:pt x="391" y="44"/>
                  <a:pt x="391" y="44"/>
                  <a:pt x="391" y="44"/>
                </a:cubicBezTo>
                <a:cubicBezTo>
                  <a:pt x="390" y="44"/>
                  <a:pt x="390" y="44"/>
                  <a:pt x="390" y="44"/>
                </a:cubicBezTo>
                <a:cubicBezTo>
                  <a:pt x="390" y="44"/>
                  <a:pt x="390" y="44"/>
                  <a:pt x="390" y="44"/>
                </a:cubicBezTo>
                <a:cubicBezTo>
                  <a:pt x="389" y="45"/>
                  <a:pt x="389" y="45"/>
                  <a:pt x="389" y="45"/>
                </a:cubicBezTo>
                <a:cubicBezTo>
                  <a:pt x="389" y="46"/>
                  <a:pt x="389" y="46"/>
                  <a:pt x="389" y="46"/>
                </a:cubicBezTo>
                <a:cubicBezTo>
                  <a:pt x="389" y="46"/>
                  <a:pt x="389" y="46"/>
                  <a:pt x="389" y="46"/>
                </a:cubicBezTo>
                <a:cubicBezTo>
                  <a:pt x="389" y="48"/>
                  <a:pt x="389" y="48"/>
                  <a:pt x="389" y="48"/>
                </a:cubicBezTo>
                <a:cubicBezTo>
                  <a:pt x="388" y="49"/>
                  <a:pt x="388" y="49"/>
                  <a:pt x="388" y="49"/>
                </a:cubicBezTo>
                <a:cubicBezTo>
                  <a:pt x="388" y="48"/>
                  <a:pt x="388" y="48"/>
                  <a:pt x="388" y="48"/>
                </a:cubicBezTo>
                <a:cubicBezTo>
                  <a:pt x="388" y="50"/>
                  <a:pt x="388" y="50"/>
                  <a:pt x="388" y="50"/>
                </a:cubicBezTo>
                <a:cubicBezTo>
                  <a:pt x="387" y="50"/>
                  <a:pt x="387" y="50"/>
                  <a:pt x="387" y="50"/>
                </a:cubicBezTo>
                <a:cubicBezTo>
                  <a:pt x="387" y="53"/>
                  <a:pt x="387" y="53"/>
                  <a:pt x="387" y="53"/>
                </a:cubicBezTo>
                <a:cubicBezTo>
                  <a:pt x="388" y="54"/>
                  <a:pt x="388" y="54"/>
                  <a:pt x="388" y="54"/>
                </a:cubicBezTo>
                <a:cubicBezTo>
                  <a:pt x="390" y="54"/>
                  <a:pt x="390" y="54"/>
                  <a:pt x="390" y="54"/>
                </a:cubicBezTo>
                <a:cubicBezTo>
                  <a:pt x="391" y="55"/>
                  <a:pt x="391" y="55"/>
                  <a:pt x="391" y="55"/>
                </a:cubicBezTo>
                <a:cubicBezTo>
                  <a:pt x="392" y="54"/>
                  <a:pt x="392" y="54"/>
                  <a:pt x="392" y="54"/>
                </a:cubicBezTo>
                <a:cubicBezTo>
                  <a:pt x="392" y="55"/>
                  <a:pt x="392" y="55"/>
                  <a:pt x="392" y="55"/>
                </a:cubicBezTo>
                <a:cubicBezTo>
                  <a:pt x="391" y="55"/>
                  <a:pt x="391" y="55"/>
                  <a:pt x="391" y="55"/>
                </a:cubicBezTo>
                <a:cubicBezTo>
                  <a:pt x="390" y="55"/>
                  <a:pt x="390" y="55"/>
                  <a:pt x="390" y="55"/>
                </a:cubicBezTo>
                <a:cubicBezTo>
                  <a:pt x="388" y="55"/>
                  <a:pt x="388" y="55"/>
                  <a:pt x="388" y="55"/>
                </a:cubicBezTo>
                <a:cubicBezTo>
                  <a:pt x="387" y="54"/>
                  <a:pt x="387" y="54"/>
                  <a:pt x="387" y="54"/>
                </a:cubicBezTo>
                <a:cubicBezTo>
                  <a:pt x="386" y="55"/>
                  <a:pt x="386" y="55"/>
                  <a:pt x="386" y="55"/>
                </a:cubicBezTo>
                <a:cubicBezTo>
                  <a:pt x="384" y="57"/>
                  <a:pt x="384" y="57"/>
                  <a:pt x="384" y="57"/>
                </a:cubicBezTo>
                <a:cubicBezTo>
                  <a:pt x="384" y="58"/>
                  <a:pt x="384" y="58"/>
                  <a:pt x="384" y="58"/>
                </a:cubicBezTo>
                <a:cubicBezTo>
                  <a:pt x="385" y="59"/>
                  <a:pt x="385" y="59"/>
                  <a:pt x="385" y="59"/>
                </a:cubicBezTo>
                <a:cubicBezTo>
                  <a:pt x="385" y="59"/>
                  <a:pt x="385" y="59"/>
                  <a:pt x="385" y="59"/>
                </a:cubicBezTo>
                <a:cubicBezTo>
                  <a:pt x="384" y="60"/>
                  <a:pt x="384" y="60"/>
                  <a:pt x="384" y="60"/>
                </a:cubicBezTo>
                <a:cubicBezTo>
                  <a:pt x="384" y="61"/>
                  <a:pt x="384" y="61"/>
                  <a:pt x="384" y="61"/>
                </a:cubicBezTo>
                <a:cubicBezTo>
                  <a:pt x="385" y="61"/>
                  <a:pt x="385" y="61"/>
                  <a:pt x="385" y="61"/>
                </a:cubicBezTo>
                <a:cubicBezTo>
                  <a:pt x="385" y="61"/>
                  <a:pt x="385" y="61"/>
                  <a:pt x="385" y="61"/>
                </a:cubicBezTo>
                <a:cubicBezTo>
                  <a:pt x="387" y="61"/>
                  <a:pt x="387" y="61"/>
                  <a:pt x="387" y="61"/>
                </a:cubicBezTo>
                <a:cubicBezTo>
                  <a:pt x="388" y="60"/>
                  <a:pt x="388" y="60"/>
                  <a:pt x="388" y="60"/>
                </a:cubicBezTo>
                <a:cubicBezTo>
                  <a:pt x="389" y="60"/>
                  <a:pt x="389" y="60"/>
                  <a:pt x="389" y="60"/>
                </a:cubicBezTo>
                <a:cubicBezTo>
                  <a:pt x="388" y="61"/>
                  <a:pt x="388" y="61"/>
                  <a:pt x="388" y="61"/>
                </a:cubicBezTo>
                <a:cubicBezTo>
                  <a:pt x="387" y="61"/>
                  <a:pt x="387" y="61"/>
                  <a:pt x="387" y="61"/>
                </a:cubicBezTo>
                <a:cubicBezTo>
                  <a:pt x="387" y="63"/>
                  <a:pt x="387" y="63"/>
                  <a:pt x="387" y="63"/>
                </a:cubicBezTo>
                <a:cubicBezTo>
                  <a:pt x="387" y="63"/>
                  <a:pt x="387" y="63"/>
                  <a:pt x="387" y="63"/>
                </a:cubicBezTo>
                <a:cubicBezTo>
                  <a:pt x="388" y="63"/>
                  <a:pt x="388" y="63"/>
                  <a:pt x="388" y="63"/>
                </a:cubicBezTo>
                <a:cubicBezTo>
                  <a:pt x="389" y="62"/>
                  <a:pt x="389" y="62"/>
                  <a:pt x="389" y="62"/>
                </a:cubicBezTo>
                <a:cubicBezTo>
                  <a:pt x="390" y="62"/>
                  <a:pt x="390" y="62"/>
                  <a:pt x="390" y="62"/>
                </a:cubicBezTo>
                <a:cubicBezTo>
                  <a:pt x="391" y="61"/>
                  <a:pt x="391" y="61"/>
                  <a:pt x="391" y="61"/>
                </a:cubicBezTo>
                <a:cubicBezTo>
                  <a:pt x="391" y="62"/>
                  <a:pt x="391" y="62"/>
                  <a:pt x="391" y="62"/>
                </a:cubicBezTo>
                <a:cubicBezTo>
                  <a:pt x="390" y="63"/>
                  <a:pt x="390" y="63"/>
                  <a:pt x="390" y="63"/>
                </a:cubicBezTo>
                <a:cubicBezTo>
                  <a:pt x="391" y="63"/>
                  <a:pt x="391" y="63"/>
                  <a:pt x="391" y="63"/>
                </a:cubicBezTo>
                <a:cubicBezTo>
                  <a:pt x="393" y="63"/>
                  <a:pt x="393" y="63"/>
                  <a:pt x="393" y="63"/>
                </a:cubicBezTo>
                <a:cubicBezTo>
                  <a:pt x="393" y="64"/>
                  <a:pt x="393" y="64"/>
                  <a:pt x="393" y="64"/>
                </a:cubicBezTo>
                <a:cubicBezTo>
                  <a:pt x="392" y="64"/>
                  <a:pt x="392" y="64"/>
                  <a:pt x="392" y="64"/>
                </a:cubicBezTo>
                <a:cubicBezTo>
                  <a:pt x="392" y="65"/>
                  <a:pt x="392" y="65"/>
                  <a:pt x="392" y="65"/>
                </a:cubicBezTo>
                <a:cubicBezTo>
                  <a:pt x="393" y="65"/>
                  <a:pt x="393" y="65"/>
                  <a:pt x="393" y="65"/>
                </a:cubicBezTo>
                <a:cubicBezTo>
                  <a:pt x="395" y="65"/>
                  <a:pt x="395" y="65"/>
                  <a:pt x="395" y="65"/>
                </a:cubicBezTo>
                <a:cubicBezTo>
                  <a:pt x="396" y="66"/>
                  <a:pt x="396" y="66"/>
                  <a:pt x="396" y="66"/>
                </a:cubicBezTo>
                <a:cubicBezTo>
                  <a:pt x="399" y="67"/>
                  <a:pt x="399" y="67"/>
                  <a:pt x="399" y="67"/>
                </a:cubicBezTo>
                <a:cubicBezTo>
                  <a:pt x="399" y="67"/>
                  <a:pt x="399" y="67"/>
                  <a:pt x="399" y="67"/>
                </a:cubicBezTo>
                <a:cubicBezTo>
                  <a:pt x="397" y="67"/>
                  <a:pt x="397" y="67"/>
                  <a:pt x="397" y="67"/>
                </a:cubicBezTo>
                <a:cubicBezTo>
                  <a:pt x="396" y="67"/>
                  <a:pt x="396" y="67"/>
                  <a:pt x="396" y="67"/>
                </a:cubicBezTo>
                <a:cubicBezTo>
                  <a:pt x="394" y="66"/>
                  <a:pt x="394" y="66"/>
                  <a:pt x="394" y="66"/>
                </a:cubicBezTo>
                <a:cubicBezTo>
                  <a:pt x="392" y="67"/>
                  <a:pt x="392" y="67"/>
                  <a:pt x="392" y="67"/>
                </a:cubicBezTo>
                <a:cubicBezTo>
                  <a:pt x="392" y="67"/>
                  <a:pt x="392" y="67"/>
                  <a:pt x="392" y="67"/>
                </a:cubicBezTo>
                <a:cubicBezTo>
                  <a:pt x="394" y="68"/>
                  <a:pt x="394" y="68"/>
                  <a:pt x="394" y="68"/>
                </a:cubicBezTo>
                <a:cubicBezTo>
                  <a:pt x="396" y="68"/>
                  <a:pt x="396" y="68"/>
                  <a:pt x="396" y="68"/>
                </a:cubicBezTo>
                <a:cubicBezTo>
                  <a:pt x="399" y="68"/>
                  <a:pt x="399" y="68"/>
                  <a:pt x="399" y="68"/>
                </a:cubicBezTo>
                <a:cubicBezTo>
                  <a:pt x="400" y="69"/>
                  <a:pt x="400" y="69"/>
                  <a:pt x="400" y="69"/>
                </a:cubicBezTo>
                <a:cubicBezTo>
                  <a:pt x="397" y="70"/>
                  <a:pt x="397" y="70"/>
                  <a:pt x="397" y="70"/>
                </a:cubicBezTo>
                <a:cubicBezTo>
                  <a:pt x="396" y="69"/>
                  <a:pt x="396" y="69"/>
                  <a:pt x="396" y="69"/>
                </a:cubicBezTo>
                <a:cubicBezTo>
                  <a:pt x="394" y="69"/>
                  <a:pt x="394" y="69"/>
                  <a:pt x="394" y="69"/>
                </a:cubicBezTo>
                <a:cubicBezTo>
                  <a:pt x="392" y="69"/>
                  <a:pt x="392" y="69"/>
                  <a:pt x="392" y="69"/>
                </a:cubicBezTo>
                <a:cubicBezTo>
                  <a:pt x="391" y="68"/>
                  <a:pt x="391" y="68"/>
                  <a:pt x="391" y="68"/>
                </a:cubicBezTo>
                <a:cubicBezTo>
                  <a:pt x="390" y="67"/>
                  <a:pt x="390" y="67"/>
                  <a:pt x="390" y="67"/>
                </a:cubicBezTo>
                <a:cubicBezTo>
                  <a:pt x="388" y="66"/>
                  <a:pt x="388" y="66"/>
                  <a:pt x="388" y="66"/>
                </a:cubicBezTo>
                <a:cubicBezTo>
                  <a:pt x="388" y="66"/>
                  <a:pt x="388" y="66"/>
                  <a:pt x="388" y="66"/>
                </a:cubicBezTo>
                <a:cubicBezTo>
                  <a:pt x="387" y="67"/>
                  <a:pt x="387" y="67"/>
                  <a:pt x="387" y="67"/>
                </a:cubicBezTo>
                <a:cubicBezTo>
                  <a:pt x="385" y="67"/>
                  <a:pt x="385" y="67"/>
                  <a:pt x="385" y="67"/>
                </a:cubicBezTo>
                <a:cubicBezTo>
                  <a:pt x="384" y="68"/>
                  <a:pt x="384" y="68"/>
                  <a:pt x="384" y="68"/>
                </a:cubicBezTo>
                <a:cubicBezTo>
                  <a:pt x="384" y="70"/>
                  <a:pt x="384" y="70"/>
                  <a:pt x="384" y="70"/>
                </a:cubicBezTo>
                <a:cubicBezTo>
                  <a:pt x="385" y="72"/>
                  <a:pt x="385" y="72"/>
                  <a:pt x="385" y="72"/>
                </a:cubicBezTo>
                <a:cubicBezTo>
                  <a:pt x="385" y="73"/>
                  <a:pt x="385" y="73"/>
                  <a:pt x="385" y="73"/>
                </a:cubicBezTo>
                <a:cubicBezTo>
                  <a:pt x="385" y="74"/>
                  <a:pt x="385" y="74"/>
                  <a:pt x="385" y="74"/>
                </a:cubicBezTo>
                <a:cubicBezTo>
                  <a:pt x="384" y="72"/>
                  <a:pt x="384" y="72"/>
                  <a:pt x="384" y="72"/>
                </a:cubicBezTo>
                <a:cubicBezTo>
                  <a:pt x="383" y="72"/>
                  <a:pt x="383" y="72"/>
                  <a:pt x="383" y="72"/>
                </a:cubicBezTo>
                <a:cubicBezTo>
                  <a:pt x="382" y="74"/>
                  <a:pt x="382" y="74"/>
                  <a:pt x="382" y="74"/>
                </a:cubicBezTo>
                <a:cubicBezTo>
                  <a:pt x="382" y="76"/>
                  <a:pt x="382" y="76"/>
                  <a:pt x="382" y="76"/>
                </a:cubicBezTo>
                <a:cubicBezTo>
                  <a:pt x="383" y="76"/>
                  <a:pt x="383" y="76"/>
                  <a:pt x="383" y="76"/>
                </a:cubicBezTo>
                <a:cubicBezTo>
                  <a:pt x="384" y="76"/>
                  <a:pt x="384" y="76"/>
                  <a:pt x="384" y="76"/>
                </a:cubicBezTo>
                <a:cubicBezTo>
                  <a:pt x="385" y="76"/>
                  <a:pt x="385" y="76"/>
                  <a:pt x="385" y="76"/>
                </a:cubicBezTo>
                <a:cubicBezTo>
                  <a:pt x="385" y="77"/>
                  <a:pt x="385" y="77"/>
                  <a:pt x="385" y="77"/>
                </a:cubicBezTo>
                <a:cubicBezTo>
                  <a:pt x="386" y="77"/>
                  <a:pt x="386" y="77"/>
                  <a:pt x="386" y="77"/>
                </a:cubicBezTo>
                <a:cubicBezTo>
                  <a:pt x="385" y="78"/>
                  <a:pt x="385" y="78"/>
                  <a:pt x="385" y="78"/>
                </a:cubicBezTo>
                <a:cubicBezTo>
                  <a:pt x="385" y="78"/>
                  <a:pt x="385" y="78"/>
                  <a:pt x="385" y="78"/>
                </a:cubicBezTo>
                <a:cubicBezTo>
                  <a:pt x="384" y="77"/>
                  <a:pt x="384" y="77"/>
                  <a:pt x="384" y="77"/>
                </a:cubicBezTo>
                <a:cubicBezTo>
                  <a:pt x="382" y="77"/>
                  <a:pt x="382" y="77"/>
                  <a:pt x="382" y="77"/>
                </a:cubicBezTo>
                <a:cubicBezTo>
                  <a:pt x="382" y="79"/>
                  <a:pt x="382" y="79"/>
                  <a:pt x="382" y="79"/>
                </a:cubicBezTo>
                <a:cubicBezTo>
                  <a:pt x="382" y="80"/>
                  <a:pt x="382" y="80"/>
                  <a:pt x="382" y="80"/>
                </a:cubicBezTo>
                <a:cubicBezTo>
                  <a:pt x="383" y="80"/>
                  <a:pt x="383" y="80"/>
                  <a:pt x="383" y="80"/>
                </a:cubicBezTo>
                <a:cubicBezTo>
                  <a:pt x="383" y="81"/>
                  <a:pt x="383" y="81"/>
                  <a:pt x="383" y="81"/>
                </a:cubicBezTo>
                <a:cubicBezTo>
                  <a:pt x="383" y="83"/>
                  <a:pt x="383" y="83"/>
                  <a:pt x="383" y="83"/>
                </a:cubicBezTo>
                <a:cubicBezTo>
                  <a:pt x="383" y="83"/>
                  <a:pt x="383" y="83"/>
                  <a:pt x="383" y="83"/>
                </a:cubicBezTo>
                <a:cubicBezTo>
                  <a:pt x="384" y="83"/>
                  <a:pt x="384" y="83"/>
                  <a:pt x="384" y="83"/>
                </a:cubicBezTo>
                <a:cubicBezTo>
                  <a:pt x="384" y="85"/>
                  <a:pt x="384" y="85"/>
                  <a:pt x="384" y="85"/>
                </a:cubicBezTo>
                <a:cubicBezTo>
                  <a:pt x="386" y="85"/>
                  <a:pt x="386" y="85"/>
                  <a:pt x="386" y="85"/>
                </a:cubicBezTo>
                <a:cubicBezTo>
                  <a:pt x="389" y="87"/>
                  <a:pt x="389" y="87"/>
                  <a:pt x="389" y="87"/>
                </a:cubicBezTo>
                <a:cubicBezTo>
                  <a:pt x="390" y="87"/>
                  <a:pt x="390" y="87"/>
                  <a:pt x="390" y="87"/>
                </a:cubicBezTo>
                <a:cubicBezTo>
                  <a:pt x="390" y="86"/>
                  <a:pt x="390" y="86"/>
                  <a:pt x="390" y="86"/>
                </a:cubicBezTo>
                <a:cubicBezTo>
                  <a:pt x="390" y="84"/>
                  <a:pt x="390" y="84"/>
                  <a:pt x="390" y="84"/>
                </a:cubicBezTo>
                <a:cubicBezTo>
                  <a:pt x="392" y="85"/>
                  <a:pt x="392" y="85"/>
                  <a:pt x="392" y="85"/>
                </a:cubicBezTo>
                <a:cubicBezTo>
                  <a:pt x="392" y="86"/>
                  <a:pt x="392" y="86"/>
                  <a:pt x="392" y="86"/>
                </a:cubicBezTo>
                <a:cubicBezTo>
                  <a:pt x="392" y="87"/>
                  <a:pt x="392" y="87"/>
                  <a:pt x="392" y="87"/>
                </a:cubicBezTo>
                <a:cubicBezTo>
                  <a:pt x="392" y="88"/>
                  <a:pt x="392" y="88"/>
                  <a:pt x="392" y="88"/>
                </a:cubicBezTo>
                <a:cubicBezTo>
                  <a:pt x="392" y="88"/>
                  <a:pt x="392" y="88"/>
                  <a:pt x="392" y="88"/>
                </a:cubicBezTo>
                <a:cubicBezTo>
                  <a:pt x="393" y="85"/>
                  <a:pt x="393" y="85"/>
                  <a:pt x="393" y="85"/>
                </a:cubicBezTo>
                <a:cubicBezTo>
                  <a:pt x="393" y="82"/>
                  <a:pt x="393" y="82"/>
                  <a:pt x="393" y="82"/>
                </a:cubicBezTo>
                <a:cubicBezTo>
                  <a:pt x="394" y="81"/>
                  <a:pt x="394" y="81"/>
                  <a:pt x="394" y="81"/>
                </a:cubicBezTo>
                <a:cubicBezTo>
                  <a:pt x="395" y="79"/>
                  <a:pt x="395" y="79"/>
                  <a:pt x="395" y="79"/>
                </a:cubicBezTo>
                <a:cubicBezTo>
                  <a:pt x="396" y="78"/>
                  <a:pt x="396" y="78"/>
                  <a:pt x="396" y="78"/>
                </a:cubicBezTo>
                <a:cubicBezTo>
                  <a:pt x="396" y="79"/>
                  <a:pt x="396" y="79"/>
                  <a:pt x="396" y="79"/>
                </a:cubicBezTo>
                <a:cubicBezTo>
                  <a:pt x="394" y="82"/>
                  <a:pt x="394" y="82"/>
                  <a:pt x="394" y="82"/>
                </a:cubicBezTo>
                <a:cubicBezTo>
                  <a:pt x="394" y="83"/>
                  <a:pt x="394" y="83"/>
                  <a:pt x="394" y="83"/>
                </a:cubicBezTo>
                <a:cubicBezTo>
                  <a:pt x="394" y="85"/>
                  <a:pt x="394" y="85"/>
                  <a:pt x="394" y="85"/>
                </a:cubicBezTo>
                <a:cubicBezTo>
                  <a:pt x="394" y="87"/>
                  <a:pt x="394" y="87"/>
                  <a:pt x="394" y="87"/>
                </a:cubicBezTo>
                <a:cubicBezTo>
                  <a:pt x="395" y="88"/>
                  <a:pt x="395" y="88"/>
                  <a:pt x="395" y="88"/>
                </a:cubicBezTo>
                <a:cubicBezTo>
                  <a:pt x="394" y="89"/>
                  <a:pt x="394" y="89"/>
                  <a:pt x="394" y="89"/>
                </a:cubicBezTo>
                <a:cubicBezTo>
                  <a:pt x="395" y="89"/>
                  <a:pt x="395" y="89"/>
                  <a:pt x="395" y="89"/>
                </a:cubicBezTo>
                <a:close/>
                <a:moveTo>
                  <a:pt x="398" y="34"/>
                </a:moveTo>
                <a:cubicBezTo>
                  <a:pt x="398" y="34"/>
                  <a:pt x="398" y="34"/>
                  <a:pt x="398" y="34"/>
                </a:cubicBezTo>
                <a:cubicBezTo>
                  <a:pt x="399" y="34"/>
                  <a:pt x="399" y="34"/>
                  <a:pt x="399" y="34"/>
                </a:cubicBezTo>
                <a:cubicBezTo>
                  <a:pt x="399" y="34"/>
                  <a:pt x="399" y="34"/>
                  <a:pt x="399" y="34"/>
                </a:cubicBezTo>
                <a:cubicBezTo>
                  <a:pt x="400" y="34"/>
                  <a:pt x="400" y="34"/>
                  <a:pt x="400" y="34"/>
                </a:cubicBezTo>
                <a:cubicBezTo>
                  <a:pt x="400" y="35"/>
                  <a:pt x="400" y="35"/>
                  <a:pt x="400" y="35"/>
                </a:cubicBezTo>
                <a:cubicBezTo>
                  <a:pt x="400" y="35"/>
                  <a:pt x="400" y="35"/>
                  <a:pt x="400" y="35"/>
                </a:cubicBezTo>
                <a:cubicBezTo>
                  <a:pt x="399" y="35"/>
                  <a:pt x="399" y="35"/>
                  <a:pt x="399" y="35"/>
                </a:cubicBezTo>
                <a:cubicBezTo>
                  <a:pt x="398" y="34"/>
                  <a:pt x="398" y="34"/>
                  <a:pt x="398" y="34"/>
                </a:cubicBezTo>
                <a:cubicBezTo>
                  <a:pt x="398" y="34"/>
                  <a:pt x="398" y="34"/>
                  <a:pt x="398" y="34"/>
                </a:cubicBezTo>
                <a:close/>
                <a:moveTo>
                  <a:pt x="399" y="89"/>
                </a:moveTo>
                <a:cubicBezTo>
                  <a:pt x="399" y="88"/>
                  <a:pt x="399" y="88"/>
                  <a:pt x="399" y="88"/>
                </a:cubicBezTo>
                <a:cubicBezTo>
                  <a:pt x="400" y="87"/>
                  <a:pt x="400" y="87"/>
                  <a:pt x="400" y="87"/>
                </a:cubicBezTo>
                <a:cubicBezTo>
                  <a:pt x="400" y="86"/>
                  <a:pt x="400" y="86"/>
                  <a:pt x="400" y="86"/>
                </a:cubicBezTo>
                <a:cubicBezTo>
                  <a:pt x="401" y="86"/>
                  <a:pt x="401" y="86"/>
                  <a:pt x="401" y="86"/>
                </a:cubicBezTo>
                <a:cubicBezTo>
                  <a:pt x="401" y="86"/>
                  <a:pt x="401" y="86"/>
                  <a:pt x="401" y="86"/>
                </a:cubicBezTo>
                <a:cubicBezTo>
                  <a:pt x="401" y="87"/>
                  <a:pt x="401" y="87"/>
                  <a:pt x="401" y="87"/>
                </a:cubicBezTo>
                <a:cubicBezTo>
                  <a:pt x="400" y="87"/>
                  <a:pt x="400" y="87"/>
                  <a:pt x="400" y="87"/>
                </a:cubicBezTo>
                <a:cubicBezTo>
                  <a:pt x="399" y="89"/>
                  <a:pt x="399" y="89"/>
                  <a:pt x="399" y="89"/>
                </a:cubicBezTo>
                <a:cubicBezTo>
                  <a:pt x="399" y="89"/>
                  <a:pt x="399" y="89"/>
                  <a:pt x="399" y="89"/>
                </a:cubicBezTo>
                <a:close/>
                <a:moveTo>
                  <a:pt x="412" y="77"/>
                </a:moveTo>
                <a:cubicBezTo>
                  <a:pt x="413" y="75"/>
                  <a:pt x="413" y="75"/>
                  <a:pt x="413" y="75"/>
                </a:cubicBezTo>
                <a:cubicBezTo>
                  <a:pt x="414" y="75"/>
                  <a:pt x="414" y="75"/>
                  <a:pt x="414" y="75"/>
                </a:cubicBezTo>
                <a:cubicBezTo>
                  <a:pt x="415" y="74"/>
                  <a:pt x="415" y="74"/>
                  <a:pt x="415" y="74"/>
                </a:cubicBezTo>
                <a:cubicBezTo>
                  <a:pt x="416" y="75"/>
                  <a:pt x="416" y="75"/>
                  <a:pt x="416" y="75"/>
                </a:cubicBezTo>
                <a:cubicBezTo>
                  <a:pt x="418" y="76"/>
                  <a:pt x="418" y="76"/>
                  <a:pt x="418" y="76"/>
                </a:cubicBezTo>
                <a:cubicBezTo>
                  <a:pt x="417" y="77"/>
                  <a:pt x="417" y="77"/>
                  <a:pt x="417" y="77"/>
                </a:cubicBezTo>
                <a:cubicBezTo>
                  <a:pt x="415" y="76"/>
                  <a:pt x="415" y="76"/>
                  <a:pt x="415" y="76"/>
                </a:cubicBezTo>
                <a:cubicBezTo>
                  <a:pt x="414" y="77"/>
                  <a:pt x="414" y="77"/>
                  <a:pt x="414" y="77"/>
                </a:cubicBezTo>
                <a:cubicBezTo>
                  <a:pt x="413" y="78"/>
                  <a:pt x="413" y="78"/>
                  <a:pt x="413" y="78"/>
                </a:cubicBezTo>
                <a:cubicBezTo>
                  <a:pt x="412" y="77"/>
                  <a:pt x="412" y="77"/>
                  <a:pt x="412" y="77"/>
                </a:cubicBezTo>
                <a:cubicBezTo>
                  <a:pt x="412" y="77"/>
                  <a:pt x="412" y="77"/>
                  <a:pt x="412" y="77"/>
                </a:cubicBezTo>
                <a:close/>
                <a:moveTo>
                  <a:pt x="506" y="3"/>
                </a:moveTo>
                <a:cubicBezTo>
                  <a:pt x="507" y="2"/>
                  <a:pt x="507" y="2"/>
                  <a:pt x="507" y="2"/>
                </a:cubicBezTo>
                <a:cubicBezTo>
                  <a:pt x="507" y="2"/>
                  <a:pt x="507" y="2"/>
                  <a:pt x="507" y="2"/>
                </a:cubicBezTo>
                <a:cubicBezTo>
                  <a:pt x="508" y="3"/>
                  <a:pt x="508" y="3"/>
                  <a:pt x="508" y="3"/>
                </a:cubicBezTo>
                <a:cubicBezTo>
                  <a:pt x="507" y="3"/>
                  <a:pt x="507" y="3"/>
                  <a:pt x="507" y="3"/>
                </a:cubicBezTo>
                <a:cubicBezTo>
                  <a:pt x="506" y="3"/>
                  <a:pt x="506" y="3"/>
                  <a:pt x="506" y="3"/>
                </a:cubicBezTo>
                <a:close/>
                <a:moveTo>
                  <a:pt x="461" y="91"/>
                </a:moveTo>
                <a:cubicBezTo>
                  <a:pt x="460" y="92"/>
                  <a:pt x="460" y="92"/>
                  <a:pt x="460" y="92"/>
                </a:cubicBezTo>
                <a:cubicBezTo>
                  <a:pt x="461" y="93"/>
                  <a:pt x="461" y="93"/>
                  <a:pt x="461" y="93"/>
                </a:cubicBezTo>
                <a:cubicBezTo>
                  <a:pt x="462" y="93"/>
                  <a:pt x="462" y="93"/>
                  <a:pt x="462" y="93"/>
                </a:cubicBezTo>
                <a:cubicBezTo>
                  <a:pt x="462" y="92"/>
                  <a:pt x="462" y="92"/>
                  <a:pt x="462" y="92"/>
                </a:cubicBezTo>
                <a:cubicBezTo>
                  <a:pt x="461" y="91"/>
                  <a:pt x="461" y="91"/>
                  <a:pt x="461" y="91"/>
                </a:cubicBezTo>
                <a:cubicBezTo>
                  <a:pt x="461" y="91"/>
                  <a:pt x="461" y="91"/>
                  <a:pt x="461" y="91"/>
                </a:cubicBezTo>
                <a:close/>
                <a:moveTo>
                  <a:pt x="438" y="105"/>
                </a:moveTo>
                <a:cubicBezTo>
                  <a:pt x="439" y="106"/>
                  <a:pt x="439" y="106"/>
                  <a:pt x="439" y="106"/>
                </a:cubicBezTo>
                <a:cubicBezTo>
                  <a:pt x="440" y="106"/>
                  <a:pt x="440" y="106"/>
                  <a:pt x="440" y="106"/>
                </a:cubicBezTo>
                <a:cubicBezTo>
                  <a:pt x="439" y="105"/>
                  <a:pt x="439" y="105"/>
                  <a:pt x="439" y="105"/>
                </a:cubicBezTo>
                <a:cubicBezTo>
                  <a:pt x="438" y="105"/>
                  <a:pt x="438" y="105"/>
                  <a:pt x="438" y="105"/>
                </a:cubicBezTo>
                <a:close/>
                <a:moveTo>
                  <a:pt x="406" y="105"/>
                </a:moveTo>
                <a:cubicBezTo>
                  <a:pt x="406" y="103"/>
                  <a:pt x="406" y="103"/>
                  <a:pt x="406" y="103"/>
                </a:cubicBezTo>
                <a:cubicBezTo>
                  <a:pt x="406" y="103"/>
                  <a:pt x="406" y="103"/>
                  <a:pt x="406" y="103"/>
                </a:cubicBezTo>
                <a:cubicBezTo>
                  <a:pt x="406" y="102"/>
                  <a:pt x="406" y="102"/>
                  <a:pt x="406" y="102"/>
                </a:cubicBezTo>
                <a:cubicBezTo>
                  <a:pt x="407" y="103"/>
                  <a:pt x="407" y="103"/>
                  <a:pt x="407" y="103"/>
                </a:cubicBezTo>
                <a:cubicBezTo>
                  <a:pt x="407" y="104"/>
                  <a:pt x="407" y="104"/>
                  <a:pt x="407" y="104"/>
                </a:cubicBezTo>
                <a:cubicBezTo>
                  <a:pt x="407" y="105"/>
                  <a:pt x="407" y="105"/>
                  <a:pt x="407" y="105"/>
                </a:cubicBezTo>
                <a:cubicBezTo>
                  <a:pt x="406" y="105"/>
                  <a:pt x="406" y="105"/>
                  <a:pt x="406" y="105"/>
                </a:cubicBezTo>
                <a:close/>
                <a:moveTo>
                  <a:pt x="397" y="124"/>
                </a:moveTo>
                <a:cubicBezTo>
                  <a:pt x="397" y="123"/>
                  <a:pt x="397" y="123"/>
                  <a:pt x="397" y="123"/>
                </a:cubicBezTo>
                <a:cubicBezTo>
                  <a:pt x="397" y="122"/>
                  <a:pt x="397" y="122"/>
                  <a:pt x="397" y="122"/>
                </a:cubicBezTo>
                <a:cubicBezTo>
                  <a:pt x="397" y="120"/>
                  <a:pt x="397" y="120"/>
                  <a:pt x="397" y="120"/>
                </a:cubicBezTo>
                <a:cubicBezTo>
                  <a:pt x="396" y="120"/>
                  <a:pt x="396" y="120"/>
                  <a:pt x="396" y="120"/>
                </a:cubicBezTo>
                <a:cubicBezTo>
                  <a:pt x="396" y="120"/>
                  <a:pt x="396" y="120"/>
                  <a:pt x="396" y="120"/>
                </a:cubicBezTo>
                <a:cubicBezTo>
                  <a:pt x="395" y="122"/>
                  <a:pt x="395" y="122"/>
                  <a:pt x="395" y="122"/>
                </a:cubicBezTo>
                <a:cubicBezTo>
                  <a:pt x="396" y="124"/>
                  <a:pt x="396" y="124"/>
                  <a:pt x="396" y="124"/>
                </a:cubicBezTo>
                <a:cubicBezTo>
                  <a:pt x="397" y="125"/>
                  <a:pt x="397" y="125"/>
                  <a:pt x="397" y="125"/>
                </a:cubicBezTo>
                <a:cubicBezTo>
                  <a:pt x="396" y="126"/>
                  <a:pt x="396" y="126"/>
                  <a:pt x="396" y="126"/>
                </a:cubicBezTo>
                <a:cubicBezTo>
                  <a:pt x="396" y="126"/>
                  <a:pt x="396" y="126"/>
                  <a:pt x="396" y="126"/>
                </a:cubicBezTo>
                <a:cubicBezTo>
                  <a:pt x="395" y="126"/>
                  <a:pt x="395" y="126"/>
                  <a:pt x="395" y="126"/>
                </a:cubicBezTo>
                <a:cubicBezTo>
                  <a:pt x="393" y="126"/>
                  <a:pt x="393" y="126"/>
                  <a:pt x="393" y="126"/>
                </a:cubicBezTo>
                <a:cubicBezTo>
                  <a:pt x="392" y="125"/>
                  <a:pt x="392" y="125"/>
                  <a:pt x="392" y="125"/>
                </a:cubicBezTo>
                <a:cubicBezTo>
                  <a:pt x="392" y="125"/>
                  <a:pt x="392" y="125"/>
                  <a:pt x="392" y="125"/>
                </a:cubicBezTo>
                <a:cubicBezTo>
                  <a:pt x="390" y="124"/>
                  <a:pt x="390" y="124"/>
                  <a:pt x="390" y="124"/>
                </a:cubicBezTo>
                <a:cubicBezTo>
                  <a:pt x="389" y="124"/>
                  <a:pt x="389" y="124"/>
                  <a:pt x="389" y="124"/>
                </a:cubicBezTo>
                <a:cubicBezTo>
                  <a:pt x="389" y="123"/>
                  <a:pt x="389" y="123"/>
                  <a:pt x="389" y="123"/>
                </a:cubicBezTo>
                <a:cubicBezTo>
                  <a:pt x="388" y="123"/>
                  <a:pt x="388" y="123"/>
                  <a:pt x="388" y="123"/>
                </a:cubicBezTo>
                <a:cubicBezTo>
                  <a:pt x="388" y="123"/>
                  <a:pt x="388" y="123"/>
                  <a:pt x="388" y="123"/>
                </a:cubicBezTo>
                <a:cubicBezTo>
                  <a:pt x="388" y="122"/>
                  <a:pt x="388" y="122"/>
                  <a:pt x="388" y="122"/>
                </a:cubicBezTo>
                <a:cubicBezTo>
                  <a:pt x="388" y="121"/>
                  <a:pt x="388" y="121"/>
                  <a:pt x="388" y="121"/>
                </a:cubicBezTo>
                <a:cubicBezTo>
                  <a:pt x="389" y="121"/>
                  <a:pt x="389" y="121"/>
                  <a:pt x="389" y="121"/>
                </a:cubicBezTo>
                <a:cubicBezTo>
                  <a:pt x="389" y="120"/>
                  <a:pt x="389" y="120"/>
                  <a:pt x="389" y="120"/>
                </a:cubicBezTo>
                <a:cubicBezTo>
                  <a:pt x="389" y="119"/>
                  <a:pt x="389" y="119"/>
                  <a:pt x="389" y="119"/>
                </a:cubicBezTo>
                <a:cubicBezTo>
                  <a:pt x="389" y="117"/>
                  <a:pt x="389" y="117"/>
                  <a:pt x="389" y="117"/>
                </a:cubicBezTo>
                <a:cubicBezTo>
                  <a:pt x="388" y="117"/>
                  <a:pt x="388" y="117"/>
                  <a:pt x="388" y="117"/>
                </a:cubicBezTo>
                <a:cubicBezTo>
                  <a:pt x="388" y="118"/>
                  <a:pt x="388" y="118"/>
                  <a:pt x="388" y="118"/>
                </a:cubicBezTo>
                <a:cubicBezTo>
                  <a:pt x="389" y="119"/>
                  <a:pt x="389" y="119"/>
                  <a:pt x="389" y="119"/>
                </a:cubicBezTo>
                <a:cubicBezTo>
                  <a:pt x="389" y="120"/>
                  <a:pt x="389" y="120"/>
                  <a:pt x="389" y="120"/>
                </a:cubicBezTo>
                <a:cubicBezTo>
                  <a:pt x="388" y="120"/>
                  <a:pt x="388" y="120"/>
                  <a:pt x="388" y="120"/>
                </a:cubicBezTo>
                <a:cubicBezTo>
                  <a:pt x="387" y="120"/>
                  <a:pt x="387" y="120"/>
                  <a:pt x="387" y="120"/>
                </a:cubicBezTo>
                <a:cubicBezTo>
                  <a:pt x="387" y="121"/>
                  <a:pt x="387" y="121"/>
                  <a:pt x="387" y="121"/>
                </a:cubicBezTo>
                <a:cubicBezTo>
                  <a:pt x="387" y="121"/>
                  <a:pt x="387" y="121"/>
                  <a:pt x="387" y="121"/>
                </a:cubicBezTo>
                <a:cubicBezTo>
                  <a:pt x="387" y="122"/>
                  <a:pt x="387" y="122"/>
                  <a:pt x="387" y="122"/>
                </a:cubicBezTo>
                <a:cubicBezTo>
                  <a:pt x="387" y="122"/>
                  <a:pt x="387" y="122"/>
                  <a:pt x="387" y="122"/>
                </a:cubicBezTo>
                <a:cubicBezTo>
                  <a:pt x="386" y="122"/>
                  <a:pt x="386" y="122"/>
                  <a:pt x="386" y="122"/>
                </a:cubicBezTo>
                <a:cubicBezTo>
                  <a:pt x="385" y="121"/>
                  <a:pt x="385" y="121"/>
                  <a:pt x="385" y="121"/>
                </a:cubicBezTo>
                <a:cubicBezTo>
                  <a:pt x="385" y="120"/>
                  <a:pt x="385" y="120"/>
                  <a:pt x="385" y="120"/>
                </a:cubicBezTo>
                <a:cubicBezTo>
                  <a:pt x="385" y="119"/>
                  <a:pt x="385" y="119"/>
                  <a:pt x="385" y="119"/>
                </a:cubicBezTo>
                <a:cubicBezTo>
                  <a:pt x="386" y="118"/>
                  <a:pt x="386" y="118"/>
                  <a:pt x="386" y="118"/>
                </a:cubicBezTo>
                <a:cubicBezTo>
                  <a:pt x="385" y="117"/>
                  <a:pt x="385" y="117"/>
                  <a:pt x="385" y="117"/>
                </a:cubicBezTo>
                <a:cubicBezTo>
                  <a:pt x="385" y="117"/>
                  <a:pt x="385" y="117"/>
                  <a:pt x="385" y="117"/>
                </a:cubicBezTo>
                <a:cubicBezTo>
                  <a:pt x="385" y="117"/>
                  <a:pt x="385" y="117"/>
                  <a:pt x="385" y="117"/>
                </a:cubicBezTo>
                <a:cubicBezTo>
                  <a:pt x="385" y="118"/>
                  <a:pt x="385" y="118"/>
                  <a:pt x="385" y="118"/>
                </a:cubicBezTo>
                <a:cubicBezTo>
                  <a:pt x="384" y="119"/>
                  <a:pt x="384" y="119"/>
                  <a:pt x="384" y="119"/>
                </a:cubicBezTo>
                <a:cubicBezTo>
                  <a:pt x="384" y="120"/>
                  <a:pt x="384" y="120"/>
                  <a:pt x="384" y="120"/>
                </a:cubicBezTo>
                <a:cubicBezTo>
                  <a:pt x="384" y="121"/>
                  <a:pt x="384" y="121"/>
                  <a:pt x="384" y="121"/>
                </a:cubicBezTo>
                <a:cubicBezTo>
                  <a:pt x="383" y="121"/>
                  <a:pt x="383" y="121"/>
                  <a:pt x="383" y="121"/>
                </a:cubicBezTo>
                <a:cubicBezTo>
                  <a:pt x="382" y="120"/>
                  <a:pt x="382" y="120"/>
                  <a:pt x="382" y="120"/>
                </a:cubicBezTo>
                <a:cubicBezTo>
                  <a:pt x="381" y="120"/>
                  <a:pt x="381" y="120"/>
                  <a:pt x="381" y="120"/>
                </a:cubicBezTo>
                <a:cubicBezTo>
                  <a:pt x="381" y="119"/>
                  <a:pt x="381" y="119"/>
                  <a:pt x="381" y="119"/>
                </a:cubicBezTo>
                <a:cubicBezTo>
                  <a:pt x="381" y="118"/>
                  <a:pt x="381" y="118"/>
                  <a:pt x="381" y="118"/>
                </a:cubicBezTo>
                <a:cubicBezTo>
                  <a:pt x="382" y="117"/>
                  <a:pt x="382" y="117"/>
                  <a:pt x="382" y="117"/>
                </a:cubicBezTo>
                <a:cubicBezTo>
                  <a:pt x="382" y="116"/>
                  <a:pt x="382" y="116"/>
                  <a:pt x="382" y="116"/>
                </a:cubicBezTo>
                <a:cubicBezTo>
                  <a:pt x="382" y="115"/>
                  <a:pt x="382" y="115"/>
                  <a:pt x="382" y="115"/>
                </a:cubicBezTo>
                <a:cubicBezTo>
                  <a:pt x="383" y="113"/>
                  <a:pt x="383" y="113"/>
                  <a:pt x="383" y="113"/>
                </a:cubicBezTo>
                <a:cubicBezTo>
                  <a:pt x="382" y="113"/>
                  <a:pt x="382" y="113"/>
                  <a:pt x="382" y="113"/>
                </a:cubicBezTo>
                <a:cubicBezTo>
                  <a:pt x="382" y="114"/>
                  <a:pt x="382" y="114"/>
                  <a:pt x="382" y="114"/>
                </a:cubicBezTo>
                <a:cubicBezTo>
                  <a:pt x="381" y="116"/>
                  <a:pt x="381" y="116"/>
                  <a:pt x="381" y="116"/>
                </a:cubicBezTo>
                <a:cubicBezTo>
                  <a:pt x="381" y="118"/>
                  <a:pt x="381" y="118"/>
                  <a:pt x="381" y="118"/>
                </a:cubicBezTo>
                <a:cubicBezTo>
                  <a:pt x="380" y="119"/>
                  <a:pt x="380" y="119"/>
                  <a:pt x="380" y="119"/>
                </a:cubicBezTo>
                <a:cubicBezTo>
                  <a:pt x="380" y="119"/>
                  <a:pt x="380" y="119"/>
                  <a:pt x="380" y="119"/>
                </a:cubicBezTo>
                <a:cubicBezTo>
                  <a:pt x="380" y="117"/>
                  <a:pt x="380" y="117"/>
                  <a:pt x="380" y="117"/>
                </a:cubicBezTo>
                <a:cubicBezTo>
                  <a:pt x="380" y="117"/>
                  <a:pt x="380" y="117"/>
                  <a:pt x="380" y="117"/>
                </a:cubicBezTo>
                <a:cubicBezTo>
                  <a:pt x="380" y="117"/>
                  <a:pt x="380" y="117"/>
                  <a:pt x="380" y="117"/>
                </a:cubicBezTo>
                <a:cubicBezTo>
                  <a:pt x="379" y="119"/>
                  <a:pt x="379" y="119"/>
                  <a:pt x="379" y="119"/>
                </a:cubicBezTo>
                <a:cubicBezTo>
                  <a:pt x="378" y="119"/>
                  <a:pt x="378" y="119"/>
                  <a:pt x="378" y="119"/>
                </a:cubicBezTo>
                <a:cubicBezTo>
                  <a:pt x="378" y="118"/>
                  <a:pt x="378" y="118"/>
                  <a:pt x="378" y="118"/>
                </a:cubicBezTo>
                <a:cubicBezTo>
                  <a:pt x="378" y="116"/>
                  <a:pt x="378" y="116"/>
                  <a:pt x="378" y="116"/>
                </a:cubicBezTo>
                <a:cubicBezTo>
                  <a:pt x="377" y="116"/>
                  <a:pt x="377" y="116"/>
                  <a:pt x="377" y="116"/>
                </a:cubicBezTo>
                <a:cubicBezTo>
                  <a:pt x="377" y="115"/>
                  <a:pt x="377" y="115"/>
                  <a:pt x="377" y="115"/>
                </a:cubicBezTo>
                <a:cubicBezTo>
                  <a:pt x="379" y="114"/>
                  <a:pt x="379" y="114"/>
                  <a:pt x="379" y="114"/>
                </a:cubicBezTo>
                <a:cubicBezTo>
                  <a:pt x="379" y="113"/>
                  <a:pt x="379" y="113"/>
                  <a:pt x="379" y="113"/>
                </a:cubicBezTo>
                <a:cubicBezTo>
                  <a:pt x="379" y="112"/>
                  <a:pt x="379" y="112"/>
                  <a:pt x="379" y="112"/>
                </a:cubicBezTo>
                <a:cubicBezTo>
                  <a:pt x="379" y="111"/>
                  <a:pt x="379" y="111"/>
                  <a:pt x="379" y="111"/>
                </a:cubicBezTo>
                <a:cubicBezTo>
                  <a:pt x="380" y="111"/>
                  <a:pt x="380" y="111"/>
                  <a:pt x="380" y="111"/>
                </a:cubicBezTo>
                <a:cubicBezTo>
                  <a:pt x="381" y="110"/>
                  <a:pt x="381" y="110"/>
                  <a:pt x="381" y="110"/>
                </a:cubicBezTo>
                <a:cubicBezTo>
                  <a:pt x="382" y="110"/>
                  <a:pt x="382" y="110"/>
                  <a:pt x="382" y="110"/>
                </a:cubicBezTo>
                <a:cubicBezTo>
                  <a:pt x="384" y="110"/>
                  <a:pt x="384" y="110"/>
                  <a:pt x="384" y="110"/>
                </a:cubicBezTo>
                <a:cubicBezTo>
                  <a:pt x="384" y="109"/>
                  <a:pt x="384" y="109"/>
                  <a:pt x="384" y="109"/>
                </a:cubicBezTo>
                <a:cubicBezTo>
                  <a:pt x="385" y="108"/>
                  <a:pt x="385" y="108"/>
                  <a:pt x="385" y="108"/>
                </a:cubicBezTo>
                <a:cubicBezTo>
                  <a:pt x="386" y="108"/>
                  <a:pt x="386" y="108"/>
                  <a:pt x="386" y="108"/>
                </a:cubicBezTo>
                <a:cubicBezTo>
                  <a:pt x="386" y="107"/>
                  <a:pt x="386" y="107"/>
                  <a:pt x="386" y="107"/>
                </a:cubicBezTo>
                <a:cubicBezTo>
                  <a:pt x="387" y="107"/>
                  <a:pt x="387" y="107"/>
                  <a:pt x="387" y="107"/>
                </a:cubicBezTo>
                <a:cubicBezTo>
                  <a:pt x="388" y="107"/>
                  <a:pt x="388" y="107"/>
                  <a:pt x="388" y="107"/>
                </a:cubicBezTo>
                <a:cubicBezTo>
                  <a:pt x="389" y="108"/>
                  <a:pt x="389" y="108"/>
                  <a:pt x="389" y="108"/>
                </a:cubicBezTo>
                <a:cubicBezTo>
                  <a:pt x="391" y="108"/>
                  <a:pt x="391" y="108"/>
                  <a:pt x="391" y="108"/>
                </a:cubicBezTo>
                <a:cubicBezTo>
                  <a:pt x="392" y="107"/>
                  <a:pt x="392" y="107"/>
                  <a:pt x="392" y="107"/>
                </a:cubicBezTo>
                <a:cubicBezTo>
                  <a:pt x="393" y="107"/>
                  <a:pt x="393" y="107"/>
                  <a:pt x="393" y="107"/>
                </a:cubicBezTo>
                <a:cubicBezTo>
                  <a:pt x="394" y="109"/>
                  <a:pt x="394" y="109"/>
                  <a:pt x="394" y="109"/>
                </a:cubicBezTo>
                <a:cubicBezTo>
                  <a:pt x="395" y="109"/>
                  <a:pt x="395" y="109"/>
                  <a:pt x="395" y="109"/>
                </a:cubicBezTo>
                <a:cubicBezTo>
                  <a:pt x="395" y="108"/>
                  <a:pt x="395" y="108"/>
                  <a:pt x="395" y="108"/>
                </a:cubicBezTo>
                <a:cubicBezTo>
                  <a:pt x="395" y="108"/>
                  <a:pt x="395" y="108"/>
                  <a:pt x="395" y="108"/>
                </a:cubicBezTo>
                <a:cubicBezTo>
                  <a:pt x="397" y="109"/>
                  <a:pt x="397" y="109"/>
                  <a:pt x="397" y="109"/>
                </a:cubicBezTo>
                <a:cubicBezTo>
                  <a:pt x="397" y="108"/>
                  <a:pt x="397" y="108"/>
                  <a:pt x="397" y="108"/>
                </a:cubicBezTo>
                <a:cubicBezTo>
                  <a:pt x="398" y="109"/>
                  <a:pt x="398" y="109"/>
                  <a:pt x="398" y="109"/>
                </a:cubicBezTo>
                <a:cubicBezTo>
                  <a:pt x="399" y="108"/>
                  <a:pt x="399" y="108"/>
                  <a:pt x="399" y="108"/>
                </a:cubicBezTo>
                <a:cubicBezTo>
                  <a:pt x="398" y="108"/>
                  <a:pt x="398" y="108"/>
                  <a:pt x="398" y="108"/>
                </a:cubicBezTo>
                <a:cubicBezTo>
                  <a:pt x="397" y="108"/>
                  <a:pt x="397" y="108"/>
                  <a:pt x="397" y="108"/>
                </a:cubicBezTo>
                <a:cubicBezTo>
                  <a:pt x="397" y="107"/>
                  <a:pt x="397" y="107"/>
                  <a:pt x="397" y="107"/>
                </a:cubicBezTo>
                <a:cubicBezTo>
                  <a:pt x="396" y="107"/>
                  <a:pt x="396" y="107"/>
                  <a:pt x="396" y="107"/>
                </a:cubicBezTo>
                <a:cubicBezTo>
                  <a:pt x="396" y="107"/>
                  <a:pt x="396" y="107"/>
                  <a:pt x="396" y="107"/>
                </a:cubicBezTo>
                <a:cubicBezTo>
                  <a:pt x="397" y="106"/>
                  <a:pt x="397" y="106"/>
                  <a:pt x="397" y="106"/>
                </a:cubicBezTo>
                <a:cubicBezTo>
                  <a:pt x="397" y="105"/>
                  <a:pt x="397" y="105"/>
                  <a:pt x="397" y="105"/>
                </a:cubicBezTo>
                <a:cubicBezTo>
                  <a:pt x="396" y="105"/>
                  <a:pt x="396" y="105"/>
                  <a:pt x="396" y="105"/>
                </a:cubicBezTo>
                <a:cubicBezTo>
                  <a:pt x="396" y="105"/>
                  <a:pt x="396" y="105"/>
                  <a:pt x="396" y="105"/>
                </a:cubicBezTo>
                <a:cubicBezTo>
                  <a:pt x="397" y="105"/>
                  <a:pt x="397" y="105"/>
                  <a:pt x="397" y="105"/>
                </a:cubicBezTo>
                <a:cubicBezTo>
                  <a:pt x="398" y="104"/>
                  <a:pt x="398" y="104"/>
                  <a:pt x="398" y="104"/>
                </a:cubicBezTo>
                <a:cubicBezTo>
                  <a:pt x="396" y="104"/>
                  <a:pt x="396" y="104"/>
                  <a:pt x="396" y="104"/>
                </a:cubicBezTo>
                <a:cubicBezTo>
                  <a:pt x="396" y="104"/>
                  <a:pt x="396" y="104"/>
                  <a:pt x="396" y="104"/>
                </a:cubicBezTo>
                <a:cubicBezTo>
                  <a:pt x="395" y="104"/>
                  <a:pt x="395" y="104"/>
                  <a:pt x="395" y="104"/>
                </a:cubicBezTo>
                <a:cubicBezTo>
                  <a:pt x="395" y="103"/>
                  <a:pt x="395" y="103"/>
                  <a:pt x="395" y="103"/>
                </a:cubicBezTo>
                <a:cubicBezTo>
                  <a:pt x="395" y="103"/>
                  <a:pt x="395" y="103"/>
                  <a:pt x="395" y="103"/>
                </a:cubicBezTo>
                <a:cubicBezTo>
                  <a:pt x="396" y="102"/>
                  <a:pt x="396" y="102"/>
                  <a:pt x="396" y="102"/>
                </a:cubicBezTo>
                <a:cubicBezTo>
                  <a:pt x="396" y="101"/>
                  <a:pt x="396" y="101"/>
                  <a:pt x="396" y="101"/>
                </a:cubicBezTo>
                <a:cubicBezTo>
                  <a:pt x="395" y="101"/>
                  <a:pt x="395" y="101"/>
                  <a:pt x="395" y="101"/>
                </a:cubicBezTo>
                <a:cubicBezTo>
                  <a:pt x="395" y="100"/>
                  <a:pt x="395" y="100"/>
                  <a:pt x="395" y="100"/>
                </a:cubicBezTo>
                <a:cubicBezTo>
                  <a:pt x="395" y="98"/>
                  <a:pt x="395" y="98"/>
                  <a:pt x="395" y="98"/>
                </a:cubicBezTo>
                <a:cubicBezTo>
                  <a:pt x="395" y="97"/>
                  <a:pt x="395" y="97"/>
                  <a:pt x="395" y="97"/>
                </a:cubicBezTo>
                <a:cubicBezTo>
                  <a:pt x="395" y="96"/>
                  <a:pt x="395" y="96"/>
                  <a:pt x="395" y="96"/>
                </a:cubicBezTo>
                <a:cubicBezTo>
                  <a:pt x="395" y="95"/>
                  <a:pt x="395" y="95"/>
                  <a:pt x="395" y="95"/>
                </a:cubicBezTo>
                <a:cubicBezTo>
                  <a:pt x="396" y="95"/>
                  <a:pt x="396" y="95"/>
                  <a:pt x="396" y="95"/>
                </a:cubicBezTo>
                <a:cubicBezTo>
                  <a:pt x="397" y="95"/>
                  <a:pt x="397" y="95"/>
                  <a:pt x="397" y="95"/>
                </a:cubicBezTo>
                <a:cubicBezTo>
                  <a:pt x="399" y="95"/>
                  <a:pt x="399" y="95"/>
                  <a:pt x="399" y="95"/>
                </a:cubicBezTo>
                <a:cubicBezTo>
                  <a:pt x="399" y="95"/>
                  <a:pt x="399" y="95"/>
                  <a:pt x="399" y="95"/>
                </a:cubicBezTo>
                <a:cubicBezTo>
                  <a:pt x="401" y="95"/>
                  <a:pt x="401" y="95"/>
                  <a:pt x="401" y="95"/>
                </a:cubicBezTo>
                <a:cubicBezTo>
                  <a:pt x="402" y="95"/>
                  <a:pt x="402" y="95"/>
                  <a:pt x="402" y="95"/>
                </a:cubicBezTo>
                <a:cubicBezTo>
                  <a:pt x="403" y="97"/>
                  <a:pt x="403" y="97"/>
                  <a:pt x="403" y="97"/>
                </a:cubicBezTo>
                <a:cubicBezTo>
                  <a:pt x="404" y="99"/>
                  <a:pt x="404" y="99"/>
                  <a:pt x="404" y="99"/>
                </a:cubicBezTo>
                <a:cubicBezTo>
                  <a:pt x="404" y="103"/>
                  <a:pt x="404" y="103"/>
                  <a:pt x="404" y="103"/>
                </a:cubicBezTo>
                <a:cubicBezTo>
                  <a:pt x="403" y="104"/>
                  <a:pt x="403" y="104"/>
                  <a:pt x="403" y="104"/>
                </a:cubicBezTo>
                <a:cubicBezTo>
                  <a:pt x="404" y="105"/>
                  <a:pt x="404" y="105"/>
                  <a:pt x="404" y="105"/>
                </a:cubicBezTo>
                <a:cubicBezTo>
                  <a:pt x="404" y="105"/>
                  <a:pt x="404" y="105"/>
                  <a:pt x="404" y="105"/>
                </a:cubicBezTo>
                <a:cubicBezTo>
                  <a:pt x="407" y="106"/>
                  <a:pt x="407" y="106"/>
                  <a:pt x="407" y="106"/>
                </a:cubicBezTo>
                <a:cubicBezTo>
                  <a:pt x="407" y="107"/>
                  <a:pt x="407" y="107"/>
                  <a:pt x="407" y="107"/>
                </a:cubicBezTo>
                <a:cubicBezTo>
                  <a:pt x="408" y="107"/>
                  <a:pt x="408" y="107"/>
                  <a:pt x="408" y="107"/>
                </a:cubicBezTo>
                <a:cubicBezTo>
                  <a:pt x="408" y="107"/>
                  <a:pt x="408" y="107"/>
                  <a:pt x="408" y="107"/>
                </a:cubicBezTo>
                <a:cubicBezTo>
                  <a:pt x="411" y="107"/>
                  <a:pt x="411" y="107"/>
                  <a:pt x="411" y="107"/>
                </a:cubicBezTo>
                <a:cubicBezTo>
                  <a:pt x="412" y="108"/>
                  <a:pt x="412" y="108"/>
                  <a:pt x="412" y="108"/>
                </a:cubicBezTo>
                <a:cubicBezTo>
                  <a:pt x="413" y="108"/>
                  <a:pt x="413" y="108"/>
                  <a:pt x="413" y="108"/>
                </a:cubicBezTo>
                <a:cubicBezTo>
                  <a:pt x="412" y="107"/>
                  <a:pt x="412" y="107"/>
                  <a:pt x="412" y="107"/>
                </a:cubicBezTo>
                <a:cubicBezTo>
                  <a:pt x="413" y="106"/>
                  <a:pt x="413" y="106"/>
                  <a:pt x="413" y="106"/>
                </a:cubicBezTo>
                <a:cubicBezTo>
                  <a:pt x="415" y="105"/>
                  <a:pt x="415" y="105"/>
                  <a:pt x="415" y="105"/>
                </a:cubicBezTo>
                <a:cubicBezTo>
                  <a:pt x="416" y="103"/>
                  <a:pt x="416" y="103"/>
                  <a:pt x="416" y="103"/>
                </a:cubicBezTo>
                <a:cubicBezTo>
                  <a:pt x="419" y="102"/>
                  <a:pt x="419" y="102"/>
                  <a:pt x="419" y="102"/>
                </a:cubicBezTo>
                <a:cubicBezTo>
                  <a:pt x="421" y="100"/>
                  <a:pt x="421" y="100"/>
                  <a:pt x="421" y="100"/>
                </a:cubicBezTo>
                <a:cubicBezTo>
                  <a:pt x="421" y="99"/>
                  <a:pt x="421" y="99"/>
                  <a:pt x="421" y="99"/>
                </a:cubicBezTo>
                <a:cubicBezTo>
                  <a:pt x="422" y="98"/>
                  <a:pt x="422" y="98"/>
                  <a:pt x="422" y="98"/>
                </a:cubicBezTo>
                <a:cubicBezTo>
                  <a:pt x="421" y="98"/>
                  <a:pt x="421" y="98"/>
                  <a:pt x="421" y="98"/>
                </a:cubicBezTo>
                <a:cubicBezTo>
                  <a:pt x="420" y="99"/>
                  <a:pt x="420" y="99"/>
                  <a:pt x="420" y="99"/>
                </a:cubicBezTo>
                <a:cubicBezTo>
                  <a:pt x="420" y="100"/>
                  <a:pt x="420" y="100"/>
                  <a:pt x="420" y="100"/>
                </a:cubicBezTo>
                <a:cubicBezTo>
                  <a:pt x="418" y="102"/>
                  <a:pt x="418" y="102"/>
                  <a:pt x="418" y="102"/>
                </a:cubicBezTo>
                <a:cubicBezTo>
                  <a:pt x="417" y="103"/>
                  <a:pt x="417" y="103"/>
                  <a:pt x="417" y="103"/>
                </a:cubicBezTo>
                <a:cubicBezTo>
                  <a:pt x="417" y="103"/>
                  <a:pt x="417" y="103"/>
                  <a:pt x="417" y="103"/>
                </a:cubicBezTo>
                <a:cubicBezTo>
                  <a:pt x="415" y="105"/>
                  <a:pt x="415" y="105"/>
                  <a:pt x="415" y="105"/>
                </a:cubicBezTo>
                <a:cubicBezTo>
                  <a:pt x="413" y="105"/>
                  <a:pt x="413" y="105"/>
                  <a:pt x="413" y="105"/>
                </a:cubicBezTo>
                <a:cubicBezTo>
                  <a:pt x="412" y="105"/>
                  <a:pt x="412" y="105"/>
                  <a:pt x="412" y="105"/>
                </a:cubicBezTo>
                <a:cubicBezTo>
                  <a:pt x="411" y="105"/>
                  <a:pt x="411" y="105"/>
                  <a:pt x="411" y="105"/>
                </a:cubicBezTo>
                <a:cubicBezTo>
                  <a:pt x="411" y="105"/>
                  <a:pt x="411" y="105"/>
                  <a:pt x="411" y="105"/>
                </a:cubicBezTo>
                <a:cubicBezTo>
                  <a:pt x="410" y="105"/>
                  <a:pt x="410" y="105"/>
                  <a:pt x="410" y="105"/>
                </a:cubicBezTo>
                <a:cubicBezTo>
                  <a:pt x="408" y="104"/>
                  <a:pt x="408" y="104"/>
                  <a:pt x="408" y="104"/>
                </a:cubicBezTo>
                <a:cubicBezTo>
                  <a:pt x="408" y="103"/>
                  <a:pt x="408" y="103"/>
                  <a:pt x="408" y="103"/>
                </a:cubicBezTo>
                <a:cubicBezTo>
                  <a:pt x="409" y="103"/>
                  <a:pt x="409" y="103"/>
                  <a:pt x="409" y="103"/>
                </a:cubicBezTo>
                <a:cubicBezTo>
                  <a:pt x="410" y="102"/>
                  <a:pt x="410" y="102"/>
                  <a:pt x="410" y="102"/>
                </a:cubicBezTo>
                <a:cubicBezTo>
                  <a:pt x="410" y="101"/>
                  <a:pt x="410" y="101"/>
                  <a:pt x="410" y="101"/>
                </a:cubicBezTo>
                <a:cubicBezTo>
                  <a:pt x="409" y="102"/>
                  <a:pt x="409" y="102"/>
                  <a:pt x="409" y="102"/>
                </a:cubicBezTo>
                <a:cubicBezTo>
                  <a:pt x="408" y="103"/>
                  <a:pt x="408" y="103"/>
                  <a:pt x="408" y="103"/>
                </a:cubicBezTo>
                <a:cubicBezTo>
                  <a:pt x="407" y="102"/>
                  <a:pt x="407" y="102"/>
                  <a:pt x="407" y="102"/>
                </a:cubicBezTo>
                <a:cubicBezTo>
                  <a:pt x="407" y="101"/>
                  <a:pt x="407" y="101"/>
                  <a:pt x="407" y="101"/>
                </a:cubicBezTo>
                <a:cubicBezTo>
                  <a:pt x="407" y="100"/>
                  <a:pt x="407" y="100"/>
                  <a:pt x="407" y="100"/>
                </a:cubicBezTo>
                <a:cubicBezTo>
                  <a:pt x="407" y="100"/>
                  <a:pt x="407" y="100"/>
                  <a:pt x="407" y="100"/>
                </a:cubicBezTo>
                <a:cubicBezTo>
                  <a:pt x="409" y="100"/>
                  <a:pt x="409" y="100"/>
                  <a:pt x="409" y="100"/>
                </a:cubicBezTo>
                <a:cubicBezTo>
                  <a:pt x="409" y="99"/>
                  <a:pt x="409" y="99"/>
                  <a:pt x="409" y="99"/>
                </a:cubicBezTo>
                <a:cubicBezTo>
                  <a:pt x="408" y="99"/>
                  <a:pt x="408" y="99"/>
                  <a:pt x="408" y="99"/>
                </a:cubicBezTo>
                <a:cubicBezTo>
                  <a:pt x="408" y="99"/>
                  <a:pt x="408" y="99"/>
                  <a:pt x="408" y="99"/>
                </a:cubicBezTo>
                <a:cubicBezTo>
                  <a:pt x="408" y="98"/>
                  <a:pt x="408" y="98"/>
                  <a:pt x="408" y="98"/>
                </a:cubicBezTo>
                <a:cubicBezTo>
                  <a:pt x="409" y="99"/>
                  <a:pt x="409" y="99"/>
                  <a:pt x="409" y="99"/>
                </a:cubicBezTo>
                <a:cubicBezTo>
                  <a:pt x="410" y="99"/>
                  <a:pt x="410" y="99"/>
                  <a:pt x="410" y="99"/>
                </a:cubicBezTo>
                <a:cubicBezTo>
                  <a:pt x="410" y="98"/>
                  <a:pt x="410" y="98"/>
                  <a:pt x="410" y="98"/>
                </a:cubicBezTo>
                <a:cubicBezTo>
                  <a:pt x="409" y="98"/>
                  <a:pt x="409" y="98"/>
                  <a:pt x="409" y="98"/>
                </a:cubicBezTo>
                <a:cubicBezTo>
                  <a:pt x="408" y="97"/>
                  <a:pt x="408" y="97"/>
                  <a:pt x="408" y="97"/>
                </a:cubicBezTo>
                <a:cubicBezTo>
                  <a:pt x="408" y="98"/>
                  <a:pt x="408" y="98"/>
                  <a:pt x="408" y="98"/>
                </a:cubicBezTo>
                <a:cubicBezTo>
                  <a:pt x="407" y="98"/>
                  <a:pt x="407" y="98"/>
                  <a:pt x="407" y="98"/>
                </a:cubicBezTo>
                <a:cubicBezTo>
                  <a:pt x="406" y="97"/>
                  <a:pt x="406" y="97"/>
                  <a:pt x="406" y="97"/>
                </a:cubicBezTo>
                <a:cubicBezTo>
                  <a:pt x="407" y="96"/>
                  <a:pt x="407" y="96"/>
                  <a:pt x="407" y="96"/>
                </a:cubicBezTo>
                <a:cubicBezTo>
                  <a:pt x="408" y="96"/>
                  <a:pt x="408" y="96"/>
                  <a:pt x="408" y="96"/>
                </a:cubicBezTo>
                <a:cubicBezTo>
                  <a:pt x="409" y="95"/>
                  <a:pt x="409" y="95"/>
                  <a:pt x="409" y="95"/>
                </a:cubicBezTo>
                <a:cubicBezTo>
                  <a:pt x="410" y="96"/>
                  <a:pt x="410" y="96"/>
                  <a:pt x="410" y="96"/>
                </a:cubicBezTo>
                <a:cubicBezTo>
                  <a:pt x="411" y="96"/>
                  <a:pt x="411" y="96"/>
                  <a:pt x="411" y="96"/>
                </a:cubicBezTo>
                <a:cubicBezTo>
                  <a:pt x="412" y="95"/>
                  <a:pt x="412" y="95"/>
                  <a:pt x="412" y="95"/>
                </a:cubicBezTo>
                <a:cubicBezTo>
                  <a:pt x="411" y="95"/>
                  <a:pt x="411" y="95"/>
                  <a:pt x="411" y="95"/>
                </a:cubicBezTo>
                <a:cubicBezTo>
                  <a:pt x="411" y="95"/>
                  <a:pt x="411" y="95"/>
                  <a:pt x="411" y="95"/>
                </a:cubicBezTo>
                <a:cubicBezTo>
                  <a:pt x="412" y="94"/>
                  <a:pt x="412" y="94"/>
                  <a:pt x="412" y="94"/>
                </a:cubicBezTo>
                <a:cubicBezTo>
                  <a:pt x="413" y="94"/>
                  <a:pt x="413" y="94"/>
                  <a:pt x="413" y="94"/>
                </a:cubicBezTo>
                <a:cubicBezTo>
                  <a:pt x="413" y="93"/>
                  <a:pt x="413" y="93"/>
                  <a:pt x="413" y="93"/>
                </a:cubicBezTo>
                <a:cubicBezTo>
                  <a:pt x="412" y="93"/>
                  <a:pt x="412" y="93"/>
                  <a:pt x="412" y="93"/>
                </a:cubicBezTo>
                <a:cubicBezTo>
                  <a:pt x="412" y="92"/>
                  <a:pt x="412" y="92"/>
                  <a:pt x="412" y="92"/>
                </a:cubicBezTo>
                <a:cubicBezTo>
                  <a:pt x="413" y="91"/>
                  <a:pt x="413" y="91"/>
                  <a:pt x="413" y="91"/>
                </a:cubicBezTo>
                <a:cubicBezTo>
                  <a:pt x="414" y="91"/>
                  <a:pt x="414" y="91"/>
                  <a:pt x="414" y="91"/>
                </a:cubicBezTo>
                <a:cubicBezTo>
                  <a:pt x="413" y="90"/>
                  <a:pt x="413" y="90"/>
                  <a:pt x="413" y="90"/>
                </a:cubicBezTo>
                <a:cubicBezTo>
                  <a:pt x="415" y="88"/>
                  <a:pt x="415" y="88"/>
                  <a:pt x="415" y="88"/>
                </a:cubicBezTo>
                <a:cubicBezTo>
                  <a:pt x="416" y="87"/>
                  <a:pt x="416" y="87"/>
                  <a:pt x="416" y="87"/>
                </a:cubicBezTo>
                <a:cubicBezTo>
                  <a:pt x="416" y="86"/>
                  <a:pt x="416" y="86"/>
                  <a:pt x="416" y="86"/>
                </a:cubicBezTo>
                <a:cubicBezTo>
                  <a:pt x="415" y="87"/>
                  <a:pt x="415" y="87"/>
                  <a:pt x="415" y="87"/>
                </a:cubicBezTo>
                <a:cubicBezTo>
                  <a:pt x="413" y="89"/>
                  <a:pt x="413" y="89"/>
                  <a:pt x="413" y="89"/>
                </a:cubicBezTo>
                <a:cubicBezTo>
                  <a:pt x="412" y="91"/>
                  <a:pt x="412" y="91"/>
                  <a:pt x="412" y="91"/>
                </a:cubicBezTo>
                <a:cubicBezTo>
                  <a:pt x="410" y="93"/>
                  <a:pt x="410" y="93"/>
                  <a:pt x="410" y="93"/>
                </a:cubicBezTo>
                <a:cubicBezTo>
                  <a:pt x="409" y="94"/>
                  <a:pt x="409" y="94"/>
                  <a:pt x="409" y="94"/>
                </a:cubicBezTo>
                <a:cubicBezTo>
                  <a:pt x="408" y="94"/>
                  <a:pt x="408" y="94"/>
                  <a:pt x="408" y="94"/>
                </a:cubicBezTo>
                <a:cubicBezTo>
                  <a:pt x="406" y="94"/>
                  <a:pt x="406" y="94"/>
                  <a:pt x="406" y="94"/>
                </a:cubicBezTo>
                <a:cubicBezTo>
                  <a:pt x="406" y="93"/>
                  <a:pt x="406" y="93"/>
                  <a:pt x="406" y="93"/>
                </a:cubicBezTo>
                <a:cubicBezTo>
                  <a:pt x="407" y="92"/>
                  <a:pt x="407" y="92"/>
                  <a:pt x="407" y="92"/>
                </a:cubicBezTo>
                <a:cubicBezTo>
                  <a:pt x="408" y="91"/>
                  <a:pt x="408" y="91"/>
                  <a:pt x="408" y="91"/>
                </a:cubicBezTo>
                <a:cubicBezTo>
                  <a:pt x="408" y="90"/>
                  <a:pt x="408" y="90"/>
                  <a:pt x="408" y="90"/>
                </a:cubicBezTo>
                <a:cubicBezTo>
                  <a:pt x="406" y="91"/>
                  <a:pt x="406" y="91"/>
                  <a:pt x="406" y="91"/>
                </a:cubicBezTo>
                <a:cubicBezTo>
                  <a:pt x="405" y="91"/>
                  <a:pt x="405" y="91"/>
                  <a:pt x="405" y="91"/>
                </a:cubicBezTo>
                <a:cubicBezTo>
                  <a:pt x="405" y="92"/>
                  <a:pt x="405" y="92"/>
                  <a:pt x="405" y="92"/>
                </a:cubicBezTo>
                <a:cubicBezTo>
                  <a:pt x="404" y="93"/>
                  <a:pt x="404" y="93"/>
                  <a:pt x="404" y="93"/>
                </a:cubicBezTo>
                <a:cubicBezTo>
                  <a:pt x="402" y="93"/>
                  <a:pt x="402" y="93"/>
                  <a:pt x="402" y="93"/>
                </a:cubicBezTo>
                <a:cubicBezTo>
                  <a:pt x="400" y="91"/>
                  <a:pt x="400" y="91"/>
                  <a:pt x="400" y="91"/>
                </a:cubicBezTo>
                <a:cubicBezTo>
                  <a:pt x="401" y="91"/>
                  <a:pt x="401" y="91"/>
                  <a:pt x="401" y="91"/>
                </a:cubicBezTo>
                <a:cubicBezTo>
                  <a:pt x="402" y="90"/>
                  <a:pt x="402" y="90"/>
                  <a:pt x="402" y="90"/>
                </a:cubicBezTo>
                <a:cubicBezTo>
                  <a:pt x="402" y="90"/>
                  <a:pt x="402" y="90"/>
                  <a:pt x="402" y="90"/>
                </a:cubicBezTo>
                <a:cubicBezTo>
                  <a:pt x="401" y="90"/>
                  <a:pt x="401" y="90"/>
                  <a:pt x="401" y="90"/>
                </a:cubicBezTo>
                <a:cubicBezTo>
                  <a:pt x="401" y="88"/>
                  <a:pt x="401" y="88"/>
                  <a:pt x="401" y="88"/>
                </a:cubicBezTo>
                <a:cubicBezTo>
                  <a:pt x="403" y="87"/>
                  <a:pt x="403" y="87"/>
                  <a:pt x="403" y="87"/>
                </a:cubicBezTo>
                <a:cubicBezTo>
                  <a:pt x="403" y="86"/>
                  <a:pt x="403" y="86"/>
                  <a:pt x="403" y="86"/>
                </a:cubicBezTo>
                <a:cubicBezTo>
                  <a:pt x="404" y="86"/>
                  <a:pt x="404" y="86"/>
                  <a:pt x="404" y="86"/>
                </a:cubicBezTo>
                <a:cubicBezTo>
                  <a:pt x="406" y="85"/>
                  <a:pt x="406" y="85"/>
                  <a:pt x="406" y="85"/>
                </a:cubicBezTo>
                <a:cubicBezTo>
                  <a:pt x="407" y="85"/>
                  <a:pt x="407" y="85"/>
                  <a:pt x="407" y="85"/>
                </a:cubicBezTo>
                <a:cubicBezTo>
                  <a:pt x="407" y="83"/>
                  <a:pt x="407" y="83"/>
                  <a:pt x="407" y="83"/>
                </a:cubicBezTo>
                <a:cubicBezTo>
                  <a:pt x="408" y="82"/>
                  <a:pt x="408" y="82"/>
                  <a:pt x="408" y="82"/>
                </a:cubicBezTo>
                <a:cubicBezTo>
                  <a:pt x="409" y="80"/>
                  <a:pt x="409" y="80"/>
                  <a:pt x="409" y="80"/>
                </a:cubicBezTo>
                <a:cubicBezTo>
                  <a:pt x="410" y="80"/>
                  <a:pt x="410" y="80"/>
                  <a:pt x="410" y="80"/>
                </a:cubicBezTo>
                <a:cubicBezTo>
                  <a:pt x="413" y="79"/>
                  <a:pt x="413" y="79"/>
                  <a:pt x="413" y="79"/>
                </a:cubicBezTo>
                <a:cubicBezTo>
                  <a:pt x="415" y="80"/>
                  <a:pt x="415" y="80"/>
                  <a:pt x="415" y="80"/>
                </a:cubicBezTo>
                <a:cubicBezTo>
                  <a:pt x="416" y="79"/>
                  <a:pt x="416" y="79"/>
                  <a:pt x="416" y="79"/>
                </a:cubicBezTo>
                <a:cubicBezTo>
                  <a:pt x="417" y="79"/>
                  <a:pt x="417" y="79"/>
                  <a:pt x="417" y="79"/>
                </a:cubicBezTo>
                <a:cubicBezTo>
                  <a:pt x="418" y="78"/>
                  <a:pt x="418" y="78"/>
                  <a:pt x="418" y="78"/>
                </a:cubicBezTo>
                <a:cubicBezTo>
                  <a:pt x="419" y="78"/>
                  <a:pt x="419" y="78"/>
                  <a:pt x="419" y="78"/>
                </a:cubicBezTo>
                <a:cubicBezTo>
                  <a:pt x="419" y="79"/>
                  <a:pt x="419" y="79"/>
                  <a:pt x="419" y="79"/>
                </a:cubicBezTo>
                <a:cubicBezTo>
                  <a:pt x="421" y="80"/>
                  <a:pt x="421" y="80"/>
                  <a:pt x="421" y="80"/>
                </a:cubicBezTo>
                <a:cubicBezTo>
                  <a:pt x="421" y="80"/>
                  <a:pt x="421" y="80"/>
                  <a:pt x="421" y="80"/>
                </a:cubicBezTo>
                <a:cubicBezTo>
                  <a:pt x="424" y="82"/>
                  <a:pt x="424" y="82"/>
                  <a:pt x="424" y="82"/>
                </a:cubicBezTo>
                <a:cubicBezTo>
                  <a:pt x="425" y="83"/>
                  <a:pt x="425" y="83"/>
                  <a:pt x="425" y="83"/>
                </a:cubicBezTo>
                <a:cubicBezTo>
                  <a:pt x="425" y="84"/>
                  <a:pt x="425" y="84"/>
                  <a:pt x="425" y="84"/>
                </a:cubicBezTo>
                <a:cubicBezTo>
                  <a:pt x="426" y="84"/>
                  <a:pt x="426" y="84"/>
                  <a:pt x="426" y="84"/>
                </a:cubicBezTo>
                <a:cubicBezTo>
                  <a:pt x="428" y="87"/>
                  <a:pt x="428" y="87"/>
                  <a:pt x="428" y="87"/>
                </a:cubicBezTo>
                <a:cubicBezTo>
                  <a:pt x="428" y="85"/>
                  <a:pt x="428" y="85"/>
                  <a:pt x="428" y="85"/>
                </a:cubicBezTo>
                <a:cubicBezTo>
                  <a:pt x="429" y="85"/>
                  <a:pt x="429" y="85"/>
                  <a:pt x="429" y="85"/>
                </a:cubicBezTo>
                <a:cubicBezTo>
                  <a:pt x="429" y="84"/>
                  <a:pt x="429" y="84"/>
                  <a:pt x="429" y="84"/>
                </a:cubicBezTo>
                <a:cubicBezTo>
                  <a:pt x="427" y="84"/>
                  <a:pt x="427" y="84"/>
                  <a:pt x="427" y="84"/>
                </a:cubicBezTo>
                <a:cubicBezTo>
                  <a:pt x="427" y="84"/>
                  <a:pt x="427" y="84"/>
                  <a:pt x="427" y="84"/>
                </a:cubicBezTo>
                <a:cubicBezTo>
                  <a:pt x="427" y="83"/>
                  <a:pt x="427" y="83"/>
                  <a:pt x="427" y="83"/>
                </a:cubicBezTo>
                <a:cubicBezTo>
                  <a:pt x="428" y="82"/>
                  <a:pt x="428" y="82"/>
                  <a:pt x="428" y="82"/>
                </a:cubicBezTo>
                <a:cubicBezTo>
                  <a:pt x="430" y="82"/>
                  <a:pt x="430" y="82"/>
                  <a:pt x="430" y="82"/>
                </a:cubicBezTo>
                <a:cubicBezTo>
                  <a:pt x="432" y="83"/>
                  <a:pt x="432" y="83"/>
                  <a:pt x="432" y="83"/>
                </a:cubicBezTo>
                <a:cubicBezTo>
                  <a:pt x="432" y="82"/>
                  <a:pt x="432" y="82"/>
                  <a:pt x="432" y="82"/>
                </a:cubicBezTo>
                <a:cubicBezTo>
                  <a:pt x="432" y="81"/>
                  <a:pt x="432" y="81"/>
                  <a:pt x="432" y="81"/>
                </a:cubicBezTo>
                <a:cubicBezTo>
                  <a:pt x="433" y="80"/>
                  <a:pt x="433" y="80"/>
                  <a:pt x="433" y="80"/>
                </a:cubicBezTo>
                <a:cubicBezTo>
                  <a:pt x="433" y="79"/>
                  <a:pt x="433" y="79"/>
                  <a:pt x="433" y="79"/>
                </a:cubicBezTo>
                <a:cubicBezTo>
                  <a:pt x="432" y="79"/>
                  <a:pt x="432" y="79"/>
                  <a:pt x="432" y="79"/>
                </a:cubicBezTo>
                <a:cubicBezTo>
                  <a:pt x="432" y="80"/>
                  <a:pt x="432" y="80"/>
                  <a:pt x="432" y="80"/>
                </a:cubicBezTo>
                <a:cubicBezTo>
                  <a:pt x="430" y="81"/>
                  <a:pt x="430" y="81"/>
                  <a:pt x="430" y="81"/>
                </a:cubicBezTo>
                <a:cubicBezTo>
                  <a:pt x="430" y="82"/>
                  <a:pt x="430" y="82"/>
                  <a:pt x="430" y="82"/>
                </a:cubicBezTo>
                <a:cubicBezTo>
                  <a:pt x="427" y="81"/>
                  <a:pt x="427" y="81"/>
                  <a:pt x="427" y="81"/>
                </a:cubicBezTo>
                <a:cubicBezTo>
                  <a:pt x="425" y="81"/>
                  <a:pt x="425" y="81"/>
                  <a:pt x="425" y="81"/>
                </a:cubicBezTo>
                <a:cubicBezTo>
                  <a:pt x="425" y="80"/>
                  <a:pt x="425" y="80"/>
                  <a:pt x="425" y="80"/>
                </a:cubicBezTo>
                <a:cubicBezTo>
                  <a:pt x="424" y="80"/>
                  <a:pt x="424" y="80"/>
                  <a:pt x="424" y="80"/>
                </a:cubicBezTo>
                <a:cubicBezTo>
                  <a:pt x="422" y="80"/>
                  <a:pt x="422" y="80"/>
                  <a:pt x="422" y="80"/>
                </a:cubicBezTo>
                <a:cubicBezTo>
                  <a:pt x="420" y="77"/>
                  <a:pt x="420" y="77"/>
                  <a:pt x="420" y="77"/>
                </a:cubicBezTo>
                <a:cubicBezTo>
                  <a:pt x="420" y="75"/>
                  <a:pt x="420" y="75"/>
                  <a:pt x="420" y="75"/>
                </a:cubicBezTo>
                <a:cubicBezTo>
                  <a:pt x="421" y="74"/>
                  <a:pt x="421" y="74"/>
                  <a:pt x="421" y="74"/>
                </a:cubicBezTo>
                <a:cubicBezTo>
                  <a:pt x="422" y="75"/>
                  <a:pt x="422" y="75"/>
                  <a:pt x="422" y="75"/>
                </a:cubicBezTo>
                <a:cubicBezTo>
                  <a:pt x="422" y="76"/>
                  <a:pt x="422" y="76"/>
                  <a:pt x="422" y="76"/>
                </a:cubicBezTo>
                <a:cubicBezTo>
                  <a:pt x="423" y="77"/>
                  <a:pt x="423" y="77"/>
                  <a:pt x="423" y="77"/>
                </a:cubicBezTo>
                <a:cubicBezTo>
                  <a:pt x="424" y="75"/>
                  <a:pt x="424" y="75"/>
                  <a:pt x="424" y="75"/>
                </a:cubicBezTo>
                <a:cubicBezTo>
                  <a:pt x="424" y="74"/>
                  <a:pt x="424" y="74"/>
                  <a:pt x="424" y="74"/>
                </a:cubicBezTo>
                <a:cubicBezTo>
                  <a:pt x="423" y="74"/>
                  <a:pt x="423" y="74"/>
                  <a:pt x="423" y="74"/>
                </a:cubicBezTo>
                <a:cubicBezTo>
                  <a:pt x="423" y="74"/>
                  <a:pt x="423" y="74"/>
                  <a:pt x="423" y="74"/>
                </a:cubicBezTo>
                <a:cubicBezTo>
                  <a:pt x="423" y="72"/>
                  <a:pt x="423" y="72"/>
                  <a:pt x="423" y="72"/>
                </a:cubicBezTo>
                <a:cubicBezTo>
                  <a:pt x="424" y="70"/>
                  <a:pt x="424" y="70"/>
                  <a:pt x="424" y="70"/>
                </a:cubicBezTo>
                <a:cubicBezTo>
                  <a:pt x="424" y="69"/>
                  <a:pt x="424" y="69"/>
                  <a:pt x="424" y="69"/>
                </a:cubicBezTo>
                <a:cubicBezTo>
                  <a:pt x="425" y="67"/>
                  <a:pt x="425" y="67"/>
                  <a:pt x="425" y="67"/>
                </a:cubicBezTo>
                <a:cubicBezTo>
                  <a:pt x="424" y="63"/>
                  <a:pt x="424" y="63"/>
                  <a:pt x="424" y="63"/>
                </a:cubicBezTo>
                <a:cubicBezTo>
                  <a:pt x="424" y="62"/>
                  <a:pt x="424" y="62"/>
                  <a:pt x="424" y="62"/>
                </a:cubicBezTo>
                <a:cubicBezTo>
                  <a:pt x="423" y="61"/>
                  <a:pt x="423" y="61"/>
                  <a:pt x="423" y="61"/>
                </a:cubicBezTo>
                <a:cubicBezTo>
                  <a:pt x="423" y="60"/>
                  <a:pt x="423" y="60"/>
                  <a:pt x="423" y="60"/>
                </a:cubicBezTo>
                <a:cubicBezTo>
                  <a:pt x="423" y="59"/>
                  <a:pt x="423" y="59"/>
                  <a:pt x="423" y="59"/>
                </a:cubicBezTo>
                <a:cubicBezTo>
                  <a:pt x="424" y="59"/>
                  <a:pt x="424" y="59"/>
                  <a:pt x="424" y="59"/>
                </a:cubicBezTo>
                <a:cubicBezTo>
                  <a:pt x="424" y="58"/>
                  <a:pt x="424" y="58"/>
                  <a:pt x="424" y="58"/>
                </a:cubicBezTo>
                <a:cubicBezTo>
                  <a:pt x="425" y="59"/>
                  <a:pt x="425" y="59"/>
                  <a:pt x="425" y="59"/>
                </a:cubicBezTo>
                <a:cubicBezTo>
                  <a:pt x="426" y="59"/>
                  <a:pt x="426" y="59"/>
                  <a:pt x="426" y="59"/>
                </a:cubicBezTo>
                <a:cubicBezTo>
                  <a:pt x="427" y="61"/>
                  <a:pt x="427" y="61"/>
                  <a:pt x="427" y="61"/>
                </a:cubicBezTo>
                <a:cubicBezTo>
                  <a:pt x="427" y="60"/>
                  <a:pt x="427" y="60"/>
                  <a:pt x="427" y="60"/>
                </a:cubicBezTo>
                <a:cubicBezTo>
                  <a:pt x="427" y="59"/>
                  <a:pt x="427" y="59"/>
                  <a:pt x="427" y="59"/>
                </a:cubicBezTo>
                <a:cubicBezTo>
                  <a:pt x="426" y="58"/>
                  <a:pt x="426" y="58"/>
                  <a:pt x="426" y="58"/>
                </a:cubicBezTo>
                <a:cubicBezTo>
                  <a:pt x="425" y="58"/>
                  <a:pt x="425" y="58"/>
                  <a:pt x="425" y="58"/>
                </a:cubicBezTo>
                <a:cubicBezTo>
                  <a:pt x="424" y="57"/>
                  <a:pt x="424" y="57"/>
                  <a:pt x="424" y="57"/>
                </a:cubicBezTo>
                <a:cubicBezTo>
                  <a:pt x="424" y="56"/>
                  <a:pt x="424" y="56"/>
                  <a:pt x="424" y="56"/>
                </a:cubicBezTo>
                <a:cubicBezTo>
                  <a:pt x="425" y="54"/>
                  <a:pt x="425" y="54"/>
                  <a:pt x="425" y="54"/>
                </a:cubicBezTo>
                <a:cubicBezTo>
                  <a:pt x="429" y="50"/>
                  <a:pt x="429" y="50"/>
                  <a:pt x="429" y="50"/>
                </a:cubicBezTo>
                <a:cubicBezTo>
                  <a:pt x="430" y="50"/>
                  <a:pt x="430" y="50"/>
                  <a:pt x="430" y="50"/>
                </a:cubicBezTo>
                <a:cubicBezTo>
                  <a:pt x="431" y="50"/>
                  <a:pt x="431" y="50"/>
                  <a:pt x="431" y="50"/>
                </a:cubicBezTo>
                <a:cubicBezTo>
                  <a:pt x="432" y="51"/>
                  <a:pt x="432" y="51"/>
                  <a:pt x="432" y="51"/>
                </a:cubicBezTo>
                <a:cubicBezTo>
                  <a:pt x="433" y="53"/>
                  <a:pt x="433" y="53"/>
                  <a:pt x="433" y="53"/>
                </a:cubicBezTo>
                <a:cubicBezTo>
                  <a:pt x="434" y="53"/>
                  <a:pt x="434" y="53"/>
                  <a:pt x="434" y="53"/>
                </a:cubicBezTo>
                <a:cubicBezTo>
                  <a:pt x="437" y="54"/>
                  <a:pt x="437" y="54"/>
                  <a:pt x="437" y="54"/>
                </a:cubicBezTo>
                <a:cubicBezTo>
                  <a:pt x="437" y="56"/>
                  <a:pt x="437" y="56"/>
                  <a:pt x="437" y="56"/>
                </a:cubicBezTo>
                <a:cubicBezTo>
                  <a:pt x="439" y="57"/>
                  <a:pt x="439" y="57"/>
                  <a:pt x="439" y="57"/>
                </a:cubicBezTo>
                <a:cubicBezTo>
                  <a:pt x="439" y="60"/>
                  <a:pt x="439" y="60"/>
                  <a:pt x="439" y="60"/>
                </a:cubicBezTo>
                <a:cubicBezTo>
                  <a:pt x="439" y="63"/>
                  <a:pt x="439" y="63"/>
                  <a:pt x="439" y="63"/>
                </a:cubicBezTo>
                <a:cubicBezTo>
                  <a:pt x="439" y="65"/>
                  <a:pt x="439" y="65"/>
                  <a:pt x="439" y="65"/>
                </a:cubicBezTo>
                <a:cubicBezTo>
                  <a:pt x="440" y="66"/>
                  <a:pt x="440" y="66"/>
                  <a:pt x="440" y="66"/>
                </a:cubicBezTo>
                <a:cubicBezTo>
                  <a:pt x="441" y="65"/>
                  <a:pt x="441" y="65"/>
                  <a:pt x="441" y="65"/>
                </a:cubicBezTo>
                <a:cubicBezTo>
                  <a:pt x="441" y="65"/>
                  <a:pt x="441" y="65"/>
                  <a:pt x="441" y="65"/>
                </a:cubicBezTo>
                <a:cubicBezTo>
                  <a:pt x="442" y="66"/>
                  <a:pt x="442" y="66"/>
                  <a:pt x="442" y="66"/>
                </a:cubicBezTo>
                <a:cubicBezTo>
                  <a:pt x="443" y="67"/>
                  <a:pt x="443" y="67"/>
                  <a:pt x="443" y="67"/>
                </a:cubicBezTo>
                <a:cubicBezTo>
                  <a:pt x="443" y="67"/>
                  <a:pt x="443" y="67"/>
                  <a:pt x="443" y="67"/>
                </a:cubicBezTo>
                <a:cubicBezTo>
                  <a:pt x="444" y="66"/>
                  <a:pt x="444" y="66"/>
                  <a:pt x="444" y="66"/>
                </a:cubicBezTo>
                <a:cubicBezTo>
                  <a:pt x="445" y="66"/>
                  <a:pt x="445" y="66"/>
                  <a:pt x="445" y="66"/>
                </a:cubicBezTo>
                <a:cubicBezTo>
                  <a:pt x="444" y="66"/>
                  <a:pt x="444" y="66"/>
                  <a:pt x="444" y="66"/>
                </a:cubicBezTo>
                <a:cubicBezTo>
                  <a:pt x="443" y="65"/>
                  <a:pt x="443" y="65"/>
                  <a:pt x="443" y="65"/>
                </a:cubicBezTo>
                <a:cubicBezTo>
                  <a:pt x="442" y="64"/>
                  <a:pt x="442" y="64"/>
                  <a:pt x="442" y="64"/>
                </a:cubicBezTo>
                <a:cubicBezTo>
                  <a:pt x="441" y="64"/>
                  <a:pt x="441" y="64"/>
                  <a:pt x="441" y="64"/>
                </a:cubicBezTo>
                <a:cubicBezTo>
                  <a:pt x="441" y="63"/>
                  <a:pt x="441" y="63"/>
                  <a:pt x="441" y="63"/>
                </a:cubicBezTo>
                <a:cubicBezTo>
                  <a:pt x="442" y="62"/>
                  <a:pt x="442" y="62"/>
                  <a:pt x="442" y="62"/>
                </a:cubicBezTo>
                <a:cubicBezTo>
                  <a:pt x="442" y="61"/>
                  <a:pt x="442" y="61"/>
                  <a:pt x="442" y="61"/>
                </a:cubicBezTo>
                <a:cubicBezTo>
                  <a:pt x="442" y="56"/>
                  <a:pt x="442" y="56"/>
                  <a:pt x="442" y="56"/>
                </a:cubicBezTo>
                <a:cubicBezTo>
                  <a:pt x="441" y="55"/>
                  <a:pt x="441" y="55"/>
                  <a:pt x="441" y="55"/>
                </a:cubicBezTo>
                <a:cubicBezTo>
                  <a:pt x="442" y="54"/>
                  <a:pt x="442" y="54"/>
                  <a:pt x="442" y="54"/>
                </a:cubicBezTo>
                <a:cubicBezTo>
                  <a:pt x="444" y="54"/>
                  <a:pt x="444" y="54"/>
                  <a:pt x="444" y="54"/>
                </a:cubicBezTo>
                <a:cubicBezTo>
                  <a:pt x="445" y="54"/>
                  <a:pt x="445" y="54"/>
                  <a:pt x="445" y="54"/>
                </a:cubicBezTo>
                <a:cubicBezTo>
                  <a:pt x="447" y="55"/>
                  <a:pt x="447" y="55"/>
                  <a:pt x="447" y="55"/>
                </a:cubicBezTo>
                <a:cubicBezTo>
                  <a:pt x="448" y="55"/>
                  <a:pt x="448" y="55"/>
                  <a:pt x="448" y="55"/>
                </a:cubicBezTo>
                <a:cubicBezTo>
                  <a:pt x="450" y="55"/>
                  <a:pt x="450" y="55"/>
                  <a:pt x="450" y="55"/>
                </a:cubicBezTo>
                <a:cubicBezTo>
                  <a:pt x="453" y="55"/>
                  <a:pt x="453" y="55"/>
                  <a:pt x="453" y="55"/>
                </a:cubicBezTo>
                <a:cubicBezTo>
                  <a:pt x="455" y="54"/>
                  <a:pt x="455" y="54"/>
                  <a:pt x="455" y="54"/>
                </a:cubicBezTo>
                <a:cubicBezTo>
                  <a:pt x="456" y="55"/>
                  <a:pt x="456" y="55"/>
                  <a:pt x="456" y="55"/>
                </a:cubicBezTo>
                <a:cubicBezTo>
                  <a:pt x="457" y="56"/>
                  <a:pt x="457" y="56"/>
                  <a:pt x="457" y="56"/>
                </a:cubicBezTo>
                <a:cubicBezTo>
                  <a:pt x="460" y="56"/>
                  <a:pt x="460" y="56"/>
                  <a:pt x="460" y="56"/>
                </a:cubicBezTo>
                <a:cubicBezTo>
                  <a:pt x="461" y="57"/>
                  <a:pt x="461" y="57"/>
                  <a:pt x="461" y="57"/>
                </a:cubicBezTo>
                <a:cubicBezTo>
                  <a:pt x="462" y="56"/>
                  <a:pt x="462" y="56"/>
                  <a:pt x="462" y="56"/>
                </a:cubicBezTo>
                <a:cubicBezTo>
                  <a:pt x="462" y="56"/>
                  <a:pt x="462" y="56"/>
                  <a:pt x="462" y="56"/>
                </a:cubicBezTo>
                <a:cubicBezTo>
                  <a:pt x="461" y="55"/>
                  <a:pt x="461" y="55"/>
                  <a:pt x="461" y="55"/>
                </a:cubicBezTo>
                <a:cubicBezTo>
                  <a:pt x="459" y="55"/>
                  <a:pt x="459" y="55"/>
                  <a:pt x="459" y="55"/>
                </a:cubicBezTo>
                <a:cubicBezTo>
                  <a:pt x="457" y="54"/>
                  <a:pt x="457" y="54"/>
                  <a:pt x="457" y="54"/>
                </a:cubicBezTo>
                <a:cubicBezTo>
                  <a:pt x="457" y="54"/>
                  <a:pt x="457" y="54"/>
                  <a:pt x="457" y="54"/>
                </a:cubicBezTo>
                <a:cubicBezTo>
                  <a:pt x="457" y="53"/>
                  <a:pt x="457" y="53"/>
                  <a:pt x="457" y="53"/>
                </a:cubicBezTo>
                <a:cubicBezTo>
                  <a:pt x="458" y="53"/>
                  <a:pt x="458" y="53"/>
                  <a:pt x="458" y="53"/>
                </a:cubicBezTo>
                <a:cubicBezTo>
                  <a:pt x="460" y="53"/>
                  <a:pt x="460" y="53"/>
                  <a:pt x="460" y="53"/>
                </a:cubicBezTo>
                <a:cubicBezTo>
                  <a:pt x="464" y="52"/>
                  <a:pt x="464" y="52"/>
                  <a:pt x="464" y="52"/>
                </a:cubicBezTo>
                <a:cubicBezTo>
                  <a:pt x="467" y="52"/>
                  <a:pt x="467" y="52"/>
                  <a:pt x="467" y="52"/>
                </a:cubicBezTo>
                <a:cubicBezTo>
                  <a:pt x="469" y="53"/>
                  <a:pt x="469" y="53"/>
                  <a:pt x="469" y="53"/>
                </a:cubicBezTo>
                <a:cubicBezTo>
                  <a:pt x="471" y="54"/>
                  <a:pt x="471" y="54"/>
                  <a:pt x="471" y="54"/>
                </a:cubicBezTo>
                <a:cubicBezTo>
                  <a:pt x="472" y="53"/>
                  <a:pt x="472" y="53"/>
                  <a:pt x="472" y="53"/>
                </a:cubicBezTo>
                <a:cubicBezTo>
                  <a:pt x="473" y="53"/>
                  <a:pt x="473" y="53"/>
                  <a:pt x="473" y="53"/>
                </a:cubicBezTo>
                <a:cubicBezTo>
                  <a:pt x="472" y="52"/>
                  <a:pt x="472" y="52"/>
                  <a:pt x="472" y="52"/>
                </a:cubicBezTo>
                <a:cubicBezTo>
                  <a:pt x="472" y="52"/>
                  <a:pt x="472" y="52"/>
                  <a:pt x="472" y="52"/>
                </a:cubicBezTo>
                <a:cubicBezTo>
                  <a:pt x="471" y="52"/>
                  <a:pt x="471" y="52"/>
                  <a:pt x="471" y="52"/>
                </a:cubicBezTo>
                <a:cubicBezTo>
                  <a:pt x="471" y="51"/>
                  <a:pt x="471" y="51"/>
                  <a:pt x="471" y="51"/>
                </a:cubicBezTo>
                <a:cubicBezTo>
                  <a:pt x="470" y="50"/>
                  <a:pt x="470" y="50"/>
                  <a:pt x="470" y="50"/>
                </a:cubicBezTo>
                <a:cubicBezTo>
                  <a:pt x="468" y="50"/>
                  <a:pt x="468" y="50"/>
                  <a:pt x="468" y="50"/>
                </a:cubicBezTo>
                <a:cubicBezTo>
                  <a:pt x="467" y="50"/>
                  <a:pt x="467" y="50"/>
                  <a:pt x="467" y="50"/>
                </a:cubicBezTo>
                <a:cubicBezTo>
                  <a:pt x="464" y="50"/>
                  <a:pt x="464" y="50"/>
                  <a:pt x="464" y="50"/>
                </a:cubicBezTo>
                <a:cubicBezTo>
                  <a:pt x="464" y="50"/>
                  <a:pt x="464" y="50"/>
                  <a:pt x="464" y="50"/>
                </a:cubicBezTo>
                <a:cubicBezTo>
                  <a:pt x="465" y="49"/>
                  <a:pt x="465" y="49"/>
                  <a:pt x="465" y="49"/>
                </a:cubicBezTo>
                <a:cubicBezTo>
                  <a:pt x="465" y="47"/>
                  <a:pt x="465" y="47"/>
                  <a:pt x="465" y="47"/>
                </a:cubicBezTo>
                <a:cubicBezTo>
                  <a:pt x="467" y="47"/>
                  <a:pt x="467" y="47"/>
                  <a:pt x="467" y="47"/>
                </a:cubicBezTo>
                <a:cubicBezTo>
                  <a:pt x="468" y="46"/>
                  <a:pt x="468" y="46"/>
                  <a:pt x="468" y="46"/>
                </a:cubicBezTo>
                <a:cubicBezTo>
                  <a:pt x="469" y="44"/>
                  <a:pt x="469" y="44"/>
                  <a:pt x="469" y="44"/>
                </a:cubicBezTo>
                <a:cubicBezTo>
                  <a:pt x="472" y="42"/>
                  <a:pt x="472" y="42"/>
                  <a:pt x="472" y="42"/>
                </a:cubicBezTo>
                <a:cubicBezTo>
                  <a:pt x="474" y="42"/>
                  <a:pt x="474" y="42"/>
                  <a:pt x="474" y="42"/>
                </a:cubicBezTo>
                <a:cubicBezTo>
                  <a:pt x="477" y="41"/>
                  <a:pt x="477" y="41"/>
                  <a:pt x="477" y="41"/>
                </a:cubicBezTo>
                <a:cubicBezTo>
                  <a:pt x="477" y="40"/>
                  <a:pt x="477" y="40"/>
                  <a:pt x="477" y="40"/>
                </a:cubicBezTo>
                <a:cubicBezTo>
                  <a:pt x="473" y="42"/>
                  <a:pt x="473" y="42"/>
                  <a:pt x="473" y="42"/>
                </a:cubicBezTo>
                <a:cubicBezTo>
                  <a:pt x="471" y="42"/>
                  <a:pt x="471" y="42"/>
                  <a:pt x="471" y="42"/>
                </a:cubicBezTo>
                <a:cubicBezTo>
                  <a:pt x="468" y="44"/>
                  <a:pt x="468" y="44"/>
                  <a:pt x="468" y="44"/>
                </a:cubicBezTo>
                <a:cubicBezTo>
                  <a:pt x="467" y="46"/>
                  <a:pt x="467" y="46"/>
                  <a:pt x="467" y="46"/>
                </a:cubicBezTo>
                <a:cubicBezTo>
                  <a:pt x="467" y="46"/>
                  <a:pt x="467" y="46"/>
                  <a:pt x="467" y="46"/>
                </a:cubicBezTo>
                <a:cubicBezTo>
                  <a:pt x="466" y="44"/>
                  <a:pt x="466" y="44"/>
                  <a:pt x="466" y="44"/>
                </a:cubicBezTo>
                <a:cubicBezTo>
                  <a:pt x="466" y="44"/>
                  <a:pt x="466" y="44"/>
                  <a:pt x="466" y="44"/>
                </a:cubicBezTo>
                <a:cubicBezTo>
                  <a:pt x="465" y="45"/>
                  <a:pt x="465" y="45"/>
                  <a:pt x="465" y="45"/>
                </a:cubicBezTo>
                <a:cubicBezTo>
                  <a:pt x="464" y="46"/>
                  <a:pt x="464" y="46"/>
                  <a:pt x="464" y="46"/>
                </a:cubicBezTo>
                <a:cubicBezTo>
                  <a:pt x="462" y="48"/>
                  <a:pt x="462" y="48"/>
                  <a:pt x="462" y="48"/>
                </a:cubicBezTo>
                <a:cubicBezTo>
                  <a:pt x="463" y="48"/>
                  <a:pt x="463" y="48"/>
                  <a:pt x="463" y="48"/>
                </a:cubicBezTo>
                <a:cubicBezTo>
                  <a:pt x="463" y="48"/>
                  <a:pt x="463" y="48"/>
                  <a:pt x="463" y="48"/>
                </a:cubicBezTo>
                <a:cubicBezTo>
                  <a:pt x="461" y="50"/>
                  <a:pt x="461" y="50"/>
                  <a:pt x="461" y="50"/>
                </a:cubicBezTo>
                <a:cubicBezTo>
                  <a:pt x="460" y="50"/>
                  <a:pt x="460" y="50"/>
                  <a:pt x="460" y="50"/>
                </a:cubicBezTo>
                <a:cubicBezTo>
                  <a:pt x="455" y="52"/>
                  <a:pt x="455" y="52"/>
                  <a:pt x="455" y="52"/>
                </a:cubicBezTo>
                <a:cubicBezTo>
                  <a:pt x="454" y="52"/>
                  <a:pt x="454" y="52"/>
                  <a:pt x="454" y="52"/>
                </a:cubicBezTo>
                <a:cubicBezTo>
                  <a:pt x="453" y="52"/>
                  <a:pt x="453" y="52"/>
                  <a:pt x="453" y="52"/>
                </a:cubicBezTo>
                <a:cubicBezTo>
                  <a:pt x="449" y="52"/>
                  <a:pt x="449" y="52"/>
                  <a:pt x="449" y="52"/>
                </a:cubicBezTo>
                <a:cubicBezTo>
                  <a:pt x="447" y="50"/>
                  <a:pt x="447" y="50"/>
                  <a:pt x="447" y="50"/>
                </a:cubicBezTo>
                <a:cubicBezTo>
                  <a:pt x="446" y="51"/>
                  <a:pt x="446" y="51"/>
                  <a:pt x="446" y="51"/>
                </a:cubicBezTo>
                <a:cubicBezTo>
                  <a:pt x="445" y="51"/>
                  <a:pt x="445" y="51"/>
                  <a:pt x="445" y="51"/>
                </a:cubicBezTo>
                <a:cubicBezTo>
                  <a:pt x="444" y="49"/>
                  <a:pt x="444" y="49"/>
                  <a:pt x="444" y="49"/>
                </a:cubicBezTo>
                <a:cubicBezTo>
                  <a:pt x="446" y="48"/>
                  <a:pt x="446" y="48"/>
                  <a:pt x="446" y="48"/>
                </a:cubicBezTo>
                <a:cubicBezTo>
                  <a:pt x="448" y="48"/>
                  <a:pt x="448" y="48"/>
                  <a:pt x="448" y="48"/>
                </a:cubicBezTo>
                <a:cubicBezTo>
                  <a:pt x="449" y="47"/>
                  <a:pt x="449" y="47"/>
                  <a:pt x="449" y="47"/>
                </a:cubicBezTo>
                <a:cubicBezTo>
                  <a:pt x="451" y="47"/>
                  <a:pt x="451" y="47"/>
                  <a:pt x="451" y="47"/>
                </a:cubicBezTo>
                <a:cubicBezTo>
                  <a:pt x="452" y="46"/>
                  <a:pt x="452" y="46"/>
                  <a:pt x="452" y="46"/>
                </a:cubicBezTo>
                <a:cubicBezTo>
                  <a:pt x="451" y="46"/>
                  <a:pt x="451" y="46"/>
                  <a:pt x="451" y="46"/>
                </a:cubicBezTo>
                <a:cubicBezTo>
                  <a:pt x="450" y="47"/>
                  <a:pt x="450" y="47"/>
                  <a:pt x="450" y="47"/>
                </a:cubicBezTo>
                <a:cubicBezTo>
                  <a:pt x="448" y="46"/>
                  <a:pt x="448" y="46"/>
                  <a:pt x="448" y="46"/>
                </a:cubicBezTo>
                <a:cubicBezTo>
                  <a:pt x="447" y="47"/>
                  <a:pt x="447" y="47"/>
                  <a:pt x="447" y="47"/>
                </a:cubicBezTo>
                <a:cubicBezTo>
                  <a:pt x="446" y="47"/>
                  <a:pt x="446" y="47"/>
                  <a:pt x="446" y="47"/>
                </a:cubicBezTo>
                <a:cubicBezTo>
                  <a:pt x="446" y="46"/>
                  <a:pt x="446" y="46"/>
                  <a:pt x="446" y="46"/>
                </a:cubicBezTo>
                <a:cubicBezTo>
                  <a:pt x="447" y="45"/>
                  <a:pt x="447" y="45"/>
                  <a:pt x="447" y="45"/>
                </a:cubicBezTo>
                <a:cubicBezTo>
                  <a:pt x="446" y="45"/>
                  <a:pt x="446" y="45"/>
                  <a:pt x="446" y="45"/>
                </a:cubicBezTo>
                <a:cubicBezTo>
                  <a:pt x="444" y="45"/>
                  <a:pt x="444" y="45"/>
                  <a:pt x="444" y="45"/>
                </a:cubicBezTo>
                <a:cubicBezTo>
                  <a:pt x="444" y="47"/>
                  <a:pt x="444" y="47"/>
                  <a:pt x="444" y="47"/>
                </a:cubicBezTo>
                <a:cubicBezTo>
                  <a:pt x="442" y="49"/>
                  <a:pt x="442" y="49"/>
                  <a:pt x="442" y="49"/>
                </a:cubicBezTo>
                <a:cubicBezTo>
                  <a:pt x="440" y="49"/>
                  <a:pt x="440" y="49"/>
                  <a:pt x="440" y="49"/>
                </a:cubicBezTo>
                <a:cubicBezTo>
                  <a:pt x="437" y="48"/>
                  <a:pt x="437" y="48"/>
                  <a:pt x="437" y="48"/>
                </a:cubicBezTo>
                <a:cubicBezTo>
                  <a:pt x="435" y="48"/>
                  <a:pt x="435" y="48"/>
                  <a:pt x="435" y="48"/>
                </a:cubicBezTo>
                <a:cubicBezTo>
                  <a:pt x="434" y="47"/>
                  <a:pt x="434" y="47"/>
                  <a:pt x="434" y="47"/>
                </a:cubicBezTo>
                <a:cubicBezTo>
                  <a:pt x="434" y="46"/>
                  <a:pt x="434" y="46"/>
                  <a:pt x="434" y="46"/>
                </a:cubicBezTo>
                <a:cubicBezTo>
                  <a:pt x="432" y="46"/>
                  <a:pt x="432" y="46"/>
                  <a:pt x="432" y="46"/>
                </a:cubicBezTo>
                <a:cubicBezTo>
                  <a:pt x="431" y="45"/>
                  <a:pt x="431" y="45"/>
                  <a:pt x="431" y="45"/>
                </a:cubicBezTo>
                <a:cubicBezTo>
                  <a:pt x="431" y="44"/>
                  <a:pt x="431" y="44"/>
                  <a:pt x="431" y="44"/>
                </a:cubicBezTo>
                <a:cubicBezTo>
                  <a:pt x="432" y="43"/>
                  <a:pt x="432" y="43"/>
                  <a:pt x="432" y="43"/>
                </a:cubicBezTo>
                <a:cubicBezTo>
                  <a:pt x="433" y="42"/>
                  <a:pt x="433" y="42"/>
                  <a:pt x="433" y="42"/>
                </a:cubicBezTo>
                <a:cubicBezTo>
                  <a:pt x="435" y="41"/>
                  <a:pt x="435" y="41"/>
                  <a:pt x="435" y="41"/>
                </a:cubicBezTo>
                <a:cubicBezTo>
                  <a:pt x="436" y="39"/>
                  <a:pt x="436" y="39"/>
                  <a:pt x="436" y="39"/>
                </a:cubicBezTo>
                <a:cubicBezTo>
                  <a:pt x="438" y="38"/>
                  <a:pt x="438" y="38"/>
                  <a:pt x="438" y="38"/>
                </a:cubicBezTo>
                <a:cubicBezTo>
                  <a:pt x="438" y="38"/>
                  <a:pt x="438" y="38"/>
                  <a:pt x="438" y="38"/>
                </a:cubicBezTo>
                <a:cubicBezTo>
                  <a:pt x="440" y="38"/>
                  <a:pt x="440" y="38"/>
                  <a:pt x="440" y="38"/>
                </a:cubicBezTo>
                <a:cubicBezTo>
                  <a:pt x="442" y="38"/>
                  <a:pt x="442" y="38"/>
                  <a:pt x="442" y="38"/>
                </a:cubicBezTo>
                <a:cubicBezTo>
                  <a:pt x="443" y="38"/>
                  <a:pt x="443" y="38"/>
                  <a:pt x="443" y="38"/>
                </a:cubicBezTo>
                <a:cubicBezTo>
                  <a:pt x="444" y="38"/>
                  <a:pt x="444" y="38"/>
                  <a:pt x="444" y="38"/>
                </a:cubicBezTo>
                <a:cubicBezTo>
                  <a:pt x="447" y="39"/>
                  <a:pt x="447" y="39"/>
                  <a:pt x="447" y="39"/>
                </a:cubicBezTo>
                <a:cubicBezTo>
                  <a:pt x="449" y="39"/>
                  <a:pt x="449" y="39"/>
                  <a:pt x="449" y="39"/>
                </a:cubicBezTo>
                <a:cubicBezTo>
                  <a:pt x="450" y="40"/>
                  <a:pt x="450" y="40"/>
                  <a:pt x="450" y="40"/>
                </a:cubicBezTo>
                <a:cubicBezTo>
                  <a:pt x="452" y="39"/>
                  <a:pt x="452" y="39"/>
                  <a:pt x="452" y="39"/>
                </a:cubicBezTo>
                <a:cubicBezTo>
                  <a:pt x="452" y="39"/>
                  <a:pt x="452" y="39"/>
                  <a:pt x="452" y="39"/>
                </a:cubicBezTo>
                <a:cubicBezTo>
                  <a:pt x="451" y="38"/>
                  <a:pt x="451" y="38"/>
                  <a:pt x="451" y="38"/>
                </a:cubicBezTo>
                <a:cubicBezTo>
                  <a:pt x="449" y="39"/>
                  <a:pt x="449" y="39"/>
                  <a:pt x="449" y="39"/>
                </a:cubicBezTo>
                <a:cubicBezTo>
                  <a:pt x="446" y="38"/>
                  <a:pt x="446" y="38"/>
                  <a:pt x="446" y="38"/>
                </a:cubicBezTo>
                <a:cubicBezTo>
                  <a:pt x="445" y="37"/>
                  <a:pt x="445" y="37"/>
                  <a:pt x="445" y="37"/>
                </a:cubicBezTo>
                <a:cubicBezTo>
                  <a:pt x="443" y="37"/>
                  <a:pt x="443" y="37"/>
                  <a:pt x="443" y="37"/>
                </a:cubicBezTo>
                <a:cubicBezTo>
                  <a:pt x="441" y="37"/>
                  <a:pt x="441" y="37"/>
                  <a:pt x="441" y="37"/>
                </a:cubicBezTo>
                <a:cubicBezTo>
                  <a:pt x="438" y="37"/>
                  <a:pt x="438" y="37"/>
                  <a:pt x="438" y="37"/>
                </a:cubicBezTo>
                <a:cubicBezTo>
                  <a:pt x="437" y="37"/>
                  <a:pt x="437" y="37"/>
                  <a:pt x="437" y="37"/>
                </a:cubicBezTo>
                <a:cubicBezTo>
                  <a:pt x="437" y="37"/>
                  <a:pt x="437" y="37"/>
                  <a:pt x="437" y="37"/>
                </a:cubicBezTo>
                <a:cubicBezTo>
                  <a:pt x="435" y="39"/>
                  <a:pt x="435" y="39"/>
                  <a:pt x="435" y="39"/>
                </a:cubicBezTo>
                <a:cubicBezTo>
                  <a:pt x="433" y="40"/>
                  <a:pt x="433" y="40"/>
                  <a:pt x="433" y="40"/>
                </a:cubicBezTo>
                <a:cubicBezTo>
                  <a:pt x="431" y="41"/>
                  <a:pt x="431" y="41"/>
                  <a:pt x="431" y="41"/>
                </a:cubicBezTo>
                <a:cubicBezTo>
                  <a:pt x="429" y="43"/>
                  <a:pt x="429" y="43"/>
                  <a:pt x="429" y="43"/>
                </a:cubicBezTo>
                <a:cubicBezTo>
                  <a:pt x="429" y="43"/>
                  <a:pt x="429" y="43"/>
                  <a:pt x="429" y="43"/>
                </a:cubicBezTo>
                <a:cubicBezTo>
                  <a:pt x="428" y="43"/>
                  <a:pt x="428" y="43"/>
                  <a:pt x="428" y="43"/>
                </a:cubicBezTo>
                <a:cubicBezTo>
                  <a:pt x="426" y="41"/>
                  <a:pt x="426" y="41"/>
                  <a:pt x="426" y="41"/>
                </a:cubicBezTo>
                <a:cubicBezTo>
                  <a:pt x="425" y="41"/>
                  <a:pt x="425" y="41"/>
                  <a:pt x="425" y="41"/>
                </a:cubicBezTo>
                <a:cubicBezTo>
                  <a:pt x="425" y="40"/>
                  <a:pt x="425" y="40"/>
                  <a:pt x="425" y="40"/>
                </a:cubicBezTo>
                <a:cubicBezTo>
                  <a:pt x="424" y="38"/>
                  <a:pt x="424" y="38"/>
                  <a:pt x="424" y="38"/>
                </a:cubicBezTo>
                <a:cubicBezTo>
                  <a:pt x="424" y="37"/>
                  <a:pt x="424" y="37"/>
                  <a:pt x="424" y="37"/>
                </a:cubicBezTo>
                <a:cubicBezTo>
                  <a:pt x="423" y="36"/>
                  <a:pt x="423" y="36"/>
                  <a:pt x="423" y="36"/>
                </a:cubicBezTo>
                <a:cubicBezTo>
                  <a:pt x="423" y="34"/>
                  <a:pt x="423" y="34"/>
                  <a:pt x="423" y="34"/>
                </a:cubicBezTo>
                <a:cubicBezTo>
                  <a:pt x="424" y="34"/>
                  <a:pt x="424" y="34"/>
                  <a:pt x="424" y="34"/>
                </a:cubicBezTo>
                <a:cubicBezTo>
                  <a:pt x="425" y="34"/>
                  <a:pt x="425" y="34"/>
                  <a:pt x="425" y="34"/>
                </a:cubicBezTo>
                <a:cubicBezTo>
                  <a:pt x="426" y="34"/>
                  <a:pt x="426" y="34"/>
                  <a:pt x="426" y="34"/>
                </a:cubicBezTo>
                <a:cubicBezTo>
                  <a:pt x="427" y="34"/>
                  <a:pt x="427" y="34"/>
                  <a:pt x="427" y="34"/>
                </a:cubicBezTo>
                <a:cubicBezTo>
                  <a:pt x="431" y="34"/>
                  <a:pt x="431" y="34"/>
                  <a:pt x="431" y="34"/>
                </a:cubicBezTo>
                <a:cubicBezTo>
                  <a:pt x="433" y="35"/>
                  <a:pt x="433" y="35"/>
                  <a:pt x="433" y="35"/>
                </a:cubicBezTo>
                <a:cubicBezTo>
                  <a:pt x="434" y="35"/>
                  <a:pt x="434" y="35"/>
                  <a:pt x="434" y="35"/>
                </a:cubicBezTo>
                <a:cubicBezTo>
                  <a:pt x="434" y="36"/>
                  <a:pt x="434" y="36"/>
                  <a:pt x="434" y="36"/>
                </a:cubicBezTo>
                <a:cubicBezTo>
                  <a:pt x="436" y="36"/>
                  <a:pt x="436" y="36"/>
                  <a:pt x="436" y="36"/>
                </a:cubicBezTo>
                <a:cubicBezTo>
                  <a:pt x="437" y="35"/>
                  <a:pt x="437" y="35"/>
                  <a:pt x="437" y="35"/>
                </a:cubicBezTo>
                <a:cubicBezTo>
                  <a:pt x="439" y="36"/>
                  <a:pt x="439" y="36"/>
                  <a:pt x="439" y="36"/>
                </a:cubicBezTo>
                <a:cubicBezTo>
                  <a:pt x="439" y="35"/>
                  <a:pt x="439" y="35"/>
                  <a:pt x="439" y="35"/>
                </a:cubicBezTo>
                <a:cubicBezTo>
                  <a:pt x="440" y="35"/>
                  <a:pt x="440" y="35"/>
                  <a:pt x="440" y="35"/>
                </a:cubicBezTo>
                <a:cubicBezTo>
                  <a:pt x="441" y="34"/>
                  <a:pt x="441" y="34"/>
                  <a:pt x="441" y="34"/>
                </a:cubicBezTo>
                <a:cubicBezTo>
                  <a:pt x="443" y="34"/>
                  <a:pt x="443" y="34"/>
                  <a:pt x="443" y="34"/>
                </a:cubicBezTo>
                <a:cubicBezTo>
                  <a:pt x="446" y="34"/>
                  <a:pt x="446" y="34"/>
                  <a:pt x="446" y="34"/>
                </a:cubicBezTo>
                <a:cubicBezTo>
                  <a:pt x="446" y="33"/>
                  <a:pt x="446" y="33"/>
                  <a:pt x="446" y="33"/>
                </a:cubicBezTo>
                <a:cubicBezTo>
                  <a:pt x="446" y="32"/>
                  <a:pt x="446" y="32"/>
                  <a:pt x="446" y="32"/>
                </a:cubicBezTo>
                <a:cubicBezTo>
                  <a:pt x="445" y="32"/>
                  <a:pt x="445" y="32"/>
                  <a:pt x="445" y="32"/>
                </a:cubicBezTo>
                <a:cubicBezTo>
                  <a:pt x="445" y="33"/>
                  <a:pt x="445" y="33"/>
                  <a:pt x="445" y="33"/>
                </a:cubicBezTo>
                <a:cubicBezTo>
                  <a:pt x="444" y="33"/>
                  <a:pt x="444" y="33"/>
                  <a:pt x="444" y="33"/>
                </a:cubicBezTo>
                <a:cubicBezTo>
                  <a:pt x="442" y="33"/>
                  <a:pt x="442" y="33"/>
                  <a:pt x="442" y="33"/>
                </a:cubicBezTo>
                <a:cubicBezTo>
                  <a:pt x="440" y="33"/>
                  <a:pt x="440" y="33"/>
                  <a:pt x="440" y="33"/>
                </a:cubicBezTo>
                <a:cubicBezTo>
                  <a:pt x="438" y="34"/>
                  <a:pt x="438" y="34"/>
                  <a:pt x="438" y="34"/>
                </a:cubicBezTo>
                <a:cubicBezTo>
                  <a:pt x="437" y="35"/>
                  <a:pt x="437" y="35"/>
                  <a:pt x="437" y="35"/>
                </a:cubicBezTo>
                <a:cubicBezTo>
                  <a:pt x="435" y="34"/>
                  <a:pt x="435" y="34"/>
                  <a:pt x="435" y="34"/>
                </a:cubicBezTo>
                <a:cubicBezTo>
                  <a:pt x="434" y="35"/>
                  <a:pt x="434" y="35"/>
                  <a:pt x="434" y="35"/>
                </a:cubicBezTo>
                <a:cubicBezTo>
                  <a:pt x="433" y="35"/>
                  <a:pt x="433" y="35"/>
                  <a:pt x="433" y="35"/>
                </a:cubicBezTo>
                <a:cubicBezTo>
                  <a:pt x="432" y="33"/>
                  <a:pt x="432" y="33"/>
                  <a:pt x="432" y="33"/>
                </a:cubicBezTo>
                <a:cubicBezTo>
                  <a:pt x="431" y="33"/>
                  <a:pt x="431" y="33"/>
                  <a:pt x="431" y="33"/>
                </a:cubicBezTo>
                <a:cubicBezTo>
                  <a:pt x="431" y="33"/>
                  <a:pt x="431" y="33"/>
                  <a:pt x="431" y="33"/>
                </a:cubicBezTo>
                <a:cubicBezTo>
                  <a:pt x="429" y="33"/>
                  <a:pt x="429" y="33"/>
                  <a:pt x="429" y="33"/>
                </a:cubicBezTo>
                <a:cubicBezTo>
                  <a:pt x="427" y="32"/>
                  <a:pt x="427" y="32"/>
                  <a:pt x="427" y="32"/>
                </a:cubicBezTo>
                <a:cubicBezTo>
                  <a:pt x="426" y="32"/>
                  <a:pt x="426" y="32"/>
                  <a:pt x="426" y="32"/>
                </a:cubicBezTo>
                <a:cubicBezTo>
                  <a:pt x="424" y="32"/>
                  <a:pt x="424" y="32"/>
                  <a:pt x="424" y="32"/>
                </a:cubicBezTo>
                <a:cubicBezTo>
                  <a:pt x="424" y="31"/>
                  <a:pt x="424" y="31"/>
                  <a:pt x="424" y="31"/>
                </a:cubicBezTo>
                <a:cubicBezTo>
                  <a:pt x="425" y="30"/>
                  <a:pt x="425" y="30"/>
                  <a:pt x="425" y="30"/>
                </a:cubicBezTo>
                <a:cubicBezTo>
                  <a:pt x="425" y="29"/>
                  <a:pt x="425" y="29"/>
                  <a:pt x="425" y="29"/>
                </a:cubicBezTo>
                <a:cubicBezTo>
                  <a:pt x="425" y="28"/>
                  <a:pt x="425" y="28"/>
                  <a:pt x="425" y="28"/>
                </a:cubicBezTo>
                <a:cubicBezTo>
                  <a:pt x="426" y="28"/>
                  <a:pt x="426" y="28"/>
                  <a:pt x="426" y="28"/>
                </a:cubicBezTo>
                <a:cubicBezTo>
                  <a:pt x="427" y="29"/>
                  <a:pt x="427" y="29"/>
                  <a:pt x="427" y="29"/>
                </a:cubicBezTo>
                <a:cubicBezTo>
                  <a:pt x="429" y="29"/>
                  <a:pt x="429" y="29"/>
                  <a:pt x="429" y="29"/>
                </a:cubicBezTo>
                <a:cubicBezTo>
                  <a:pt x="430" y="29"/>
                  <a:pt x="430" y="29"/>
                  <a:pt x="430" y="29"/>
                </a:cubicBezTo>
                <a:cubicBezTo>
                  <a:pt x="429" y="28"/>
                  <a:pt x="429" y="28"/>
                  <a:pt x="429" y="28"/>
                </a:cubicBezTo>
                <a:cubicBezTo>
                  <a:pt x="428" y="28"/>
                  <a:pt x="428" y="28"/>
                  <a:pt x="428" y="28"/>
                </a:cubicBezTo>
                <a:cubicBezTo>
                  <a:pt x="427" y="27"/>
                  <a:pt x="427" y="27"/>
                  <a:pt x="427" y="27"/>
                </a:cubicBezTo>
                <a:cubicBezTo>
                  <a:pt x="427" y="26"/>
                  <a:pt x="427" y="26"/>
                  <a:pt x="427" y="26"/>
                </a:cubicBezTo>
                <a:cubicBezTo>
                  <a:pt x="429" y="26"/>
                  <a:pt x="429" y="26"/>
                  <a:pt x="429" y="26"/>
                </a:cubicBezTo>
                <a:cubicBezTo>
                  <a:pt x="430" y="25"/>
                  <a:pt x="430" y="25"/>
                  <a:pt x="430" y="25"/>
                </a:cubicBezTo>
                <a:cubicBezTo>
                  <a:pt x="433" y="25"/>
                  <a:pt x="433" y="25"/>
                  <a:pt x="433" y="25"/>
                </a:cubicBezTo>
                <a:cubicBezTo>
                  <a:pt x="433" y="24"/>
                  <a:pt x="433" y="24"/>
                  <a:pt x="433" y="24"/>
                </a:cubicBezTo>
                <a:cubicBezTo>
                  <a:pt x="435" y="24"/>
                  <a:pt x="435" y="24"/>
                  <a:pt x="435" y="24"/>
                </a:cubicBezTo>
                <a:cubicBezTo>
                  <a:pt x="435" y="24"/>
                  <a:pt x="435" y="24"/>
                  <a:pt x="435" y="24"/>
                </a:cubicBezTo>
                <a:cubicBezTo>
                  <a:pt x="436" y="24"/>
                  <a:pt x="436" y="24"/>
                  <a:pt x="436" y="24"/>
                </a:cubicBezTo>
                <a:cubicBezTo>
                  <a:pt x="436" y="23"/>
                  <a:pt x="436" y="23"/>
                  <a:pt x="436" y="23"/>
                </a:cubicBezTo>
                <a:cubicBezTo>
                  <a:pt x="436" y="23"/>
                  <a:pt x="436" y="23"/>
                  <a:pt x="436" y="23"/>
                </a:cubicBezTo>
                <a:cubicBezTo>
                  <a:pt x="433" y="23"/>
                  <a:pt x="433" y="23"/>
                  <a:pt x="433" y="23"/>
                </a:cubicBezTo>
                <a:cubicBezTo>
                  <a:pt x="431" y="24"/>
                  <a:pt x="431" y="24"/>
                  <a:pt x="431" y="24"/>
                </a:cubicBezTo>
                <a:cubicBezTo>
                  <a:pt x="429" y="24"/>
                  <a:pt x="429" y="24"/>
                  <a:pt x="429" y="24"/>
                </a:cubicBezTo>
                <a:cubicBezTo>
                  <a:pt x="428" y="24"/>
                  <a:pt x="428" y="24"/>
                  <a:pt x="428" y="24"/>
                </a:cubicBezTo>
                <a:cubicBezTo>
                  <a:pt x="427" y="25"/>
                  <a:pt x="427" y="25"/>
                  <a:pt x="427" y="25"/>
                </a:cubicBezTo>
                <a:cubicBezTo>
                  <a:pt x="426" y="25"/>
                  <a:pt x="426" y="25"/>
                  <a:pt x="426" y="25"/>
                </a:cubicBezTo>
                <a:cubicBezTo>
                  <a:pt x="426" y="24"/>
                  <a:pt x="426" y="24"/>
                  <a:pt x="426" y="24"/>
                </a:cubicBezTo>
                <a:cubicBezTo>
                  <a:pt x="426" y="23"/>
                  <a:pt x="426" y="23"/>
                  <a:pt x="426" y="23"/>
                </a:cubicBezTo>
                <a:cubicBezTo>
                  <a:pt x="428" y="22"/>
                  <a:pt x="428" y="22"/>
                  <a:pt x="428" y="22"/>
                </a:cubicBezTo>
                <a:cubicBezTo>
                  <a:pt x="429" y="21"/>
                  <a:pt x="429" y="21"/>
                  <a:pt x="429" y="21"/>
                </a:cubicBezTo>
                <a:cubicBezTo>
                  <a:pt x="431" y="21"/>
                  <a:pt x="431" y="21"/>
                  <a:pt x="431" y="21"/>
                </a:cubicBezTo>
                <a:cubicBezTo>
                  <a:pt x="432" y="20"/>
                  <a:pt x="432" y="20"/>
                  <a:pt x="432" y="20"/>
                </a:cubicBezTo>
                <a:cubicBezTo>
                  <a:pt x="431" y="20"/>
                  <a:pt x="431" y="20"/>
                  <a:pt x="431" y="20"/>
                </a:cubicBezTo>
                <a:cubicBezTo>
                  <a:pt x="430" y="20"/>
                  <a:pt x="430" y="20"/>
                  <a:pt x="430" y="20"/>
                </a:cubicBezTo>
                <a:cubicBezTo>
                  <a:pt x="431" y="18"/>
                  <a:pt x="431" y="18"/>
                  <a:pt x="431" y="18"/>
                </a:cubicBezTo>
                <a:cubicBezTo>
                  <a:pt x="430" y="18"/>
                  <a:pt x="430" y="18"/>
                  <a:pt x="430" y="18"/>
                </a:cubicBezTo>
                <a:cubicBezTo>
                  <a:pt x="430" y="19"/>
                  <a:pt x="430" y="19"/>
                  <a:pt x="430" y="19"/>
                </a:cubicBezTo>
                <a:cubicBezTo>
                  <a:pt x="429" y="20"/>
                  <a:pt x="429" y="20"/>
                  <a:pt x="429" y="20"/>
                </a:cubicBezTo>
                <a:cubicBezTo>
                  <a:pt x="429" y="19"/>
                  <a:pt x="429" y="19"/>
                  <a:pt x="429" y="19"/>
                </a:cubicBezTo>
                <a:cubicBezTo>
                  <a:pt x="428" y="19"/>
                  <a:pt x="428" y="19"/>
                  <a:pt x="428" y="19"/>
                </a:cubicBezTo>
                <a:cubicBezTo>
                  <a:pt x="427" y="19"/>
                  <a:pt x="427" y="19"/>
                  <a:pt x="427" y="19"/>
                </a:cubicBezTo>
                <a:cubicBezTo>
                  <a:pt x="426" y="20"/>
                  <a:pt x="426" y="20"/>
                  <a:pt x="426" y="20"/>
                </a:cubicBezTo>
                <a:cubicBezTo>
                  <a:pt x="426" y="21"/>
                  <a:pt x="426" y="21"/>
                  <a:pt x="426" y="21"/>
                </a:cubicBezTo>
                <a:cubicBezTo>
                  <a:pt x="426" y="21"/>
                  <a:pt x="426" y="21"/>
                  <a:pt x="426" y="21"/>
                </a:cubicBezTo>
                <a:cubicBezTo>
                  <a:pt x="424" y="22"/>
                  <a:pt x="424" y="22"/>
                  <a:pt x="424" y="22"/>
                </a:cubicBezTo>
                <a:cubicBezTo>
                  <a:pt x="424" y="21"/>
                  <a:pt x="424" y="21"/>
                  <a:pt x="424" y="21"/>
                </a:cubicBezTo>
                <a:cubicBezTo>
                  <a:pt x="424" y="19"/>
                  <a:pt x="424" y="19"/>
                  <a:pt x="424" y="19"/>
                </a:cubicBezTo>
                <a:cubicBezTo>
                  <a:pt x="424" y="19"/>
                  <a:pt x="424" y="19"/>
                  <a:pt x="424" y="19"/>
                </a:cubicBezTo>
                <a:cubicBezTo>
                  <a:pt x="423" y="18"/>
                  <a:pt x="423" y="18"/>
                  <a:pt x="423" y="18"/>
                </a:cubicBezTo>
                <a:cubicBezTo>
                  <a:pt x="424" y="18"/>
                  <a:pt x="424" y="18"/>
                  <a:pt x="424" y="18"/>
                </a:cubicBezTo>
                <a:cubicBezTo>
                  <a:pt x="425" y="18"/>
                  <a:pt x="425" y="18"/>
                  <a:pt x="425" y="18"/>
                </a:cubicBezTo>
                <a:cubicBezTo>
                  <a:pt x="425" y="17"/>
                  <a:pt x="425" y="17"/>
                  <a:pt x="425" y="17"/>
                </a:cubicBezTo>
                <a:cubicBezTo>
                  <a:pt x="426" y="16"/>
                  <a:pt x="426" y="16"/>
                  <a:pt x="426" y="16"/>
                </a:cubicBezTo>
                <a:cubicBezTo>
                  <a:pt x="427" y="16"/>
                  <a:pt x="427" y="16"/>
                  <a:pt x="427" y="16"/>
                </a:cubicBezTo>
                <a:cubicBezTo>
                  <a:pt x="428" y="15"/>
                  <a:pt x="428" y="15"/>
                  <a:pt x="428" y="15"/>
                </a:cubicBezTo>
                <a:cubicBezTo>
                  <a:pt x="429" y="14"/>
                  <a:pt x="429" y="14"/>
                  <a:pt x="429" y="14"/>
                </a:cubicBezTo>
                <a:cubicBezTo>
                  <a:pt x="430" y="15"/>
                  <a:pt x="430" y="15"/>
                  <a:pt x="430" y="15"/>
                </a:cubicBezTo>
                <a:cubicBezTo>
                  <a:pt x="432" y="14"/>
                  <a:pt x="432" y="14"/>
                  <a:pt x="432" y="14"/>
                </a:cubicBezTo>
                <a:cubicBezTo>
                  <a:pt x="435" y="13"/>
                  <a:pt x="435" y="13"/>
                  <a:pt x="435" y="13"/>
                </a:cubicBezTo>
                <a:cubicBezTo>
                  <a:pt x="435" y="13"/>
                  <a:pt x="435" y="13"/>
                  <a:pt x="435" y="13"/>
                </a:cubicBezTo>
                <a:cubicBezTo>
                  <a:pt x="436" y="13"/>
                  <a:pt x="436" y="13"/>
                  <a:pt x="436" y="13"/>
                </a:cubicBezTo>
                <a:cubicBezTo>
                  <a:pt x="436" y="14"/>
                  <a:pt x="436" y="14"/>
                  <a:pt x="436" y="14"/>
                </a:cubicBezTo>
                <a:cubicBezTo>
                  <a:pt x="436" y="15"/>
                  <a:pt x="436" y="15"/>
                  <a:pt x="436" y="15"/>
                </a:cubicBezTo>
                <a:cubicBezTo>
                  <a:pt x="436" y="18"/>
                  <a:pt x="436" y="18"/>
                  <a:pt x="436" y="18"/>
                </a:cubicBezTo>
                <a:cubicBezTo>
                  <a:pt x="437" y="17"/>
                  <a:pt x="437" y="17"/>
                  <a:pt x="437" y="17"/>
                </a:cubicBezTo>
                <a:cubicBezTo>
                  <a:pt x="437" y="16"/>
                  <a:pt x="437" y="16"/>
                  <a:pt x="437" y="16"/>
                </a:cubicBezTo>
                <a:cubicBezTo>
                  <a:pt x="438" y="15"/>
                  <a:pt x="438" y="15"/>
                  <a:pt x="438" y="15"/>
                </a:cubicBezTo>
                <a:cubicBezTo>
                  <a:pt x="439" y="15"/>
                  <a:pt x="439" y="15"/>
                  <a:pt x="439" y="15"/>
                </a:cubicBezTo>
                <a:cubicBezTo>
                  <a:pt x="438" y="16"/>
                  <a:pt x="438" y="16"/>
                  <a:pt x="438" y="16"/>
                </a:cubicBezTo>
                <a:cubicBezTo>
                  <a:pt x="438" y="17"/>
                  <a:pt x="438" y="17"/>
                  <a:pt x="438" y="17"/>
                </a:cubicBezTo>
                <a:cubicBezTo>
                  <a:pt x="439" y="16"/>
                  <a:pt x="439" y="16"/>
                  <a:pt x="439" y="16"/>
                </a:cubicBezTo>
                <a:cubicBezTo>
                  <a:pt x="439" y="15"/>
                  <a:pt x="439" y="15"/>
                  <a:pt x="439" y="15"/>
                </a:cubicBezTo>
                <a:cubicBezTo>
                  <a:pt x="440" y="15"/>
                  <a:pt x="440" y="15"/>
                  <a:pt x="440" y="15"/>
                </a:cubicBezTo>
                <a:cubicBezTo>
                  <a:pt x="439" y="14"/>
                  <a:pt x="439" y="14"/>
                  <a:pt x="439" y="14"/>
                </a:cubicBezTo>
                <a:cubicBezTo>
                  <a:pt x="440" y="12"/>
                  <a:pt x="440" y="12"/>
                  <a:pt x="440" y="12"/>
                </a:cubicBezTo>
                <a:cubicBezTo>
                  <a:pt x="440" y="12"/>
                  <a:pt x="440" y="12"/>
                  <a:pt x="440" y="12"/>
                </a:cubicBezTo>
                <a:cubicBezTo>
                  <a:pt x="442" y="11"/>
                  <a:pt x="442" y="11"/>
                  <a:pt x="442" y="11"/>
                </a:cubicBezTo>
                <a:cubicBezTo>
                  <a:pt x="443" y="11"/>
                  <a:pt x="443" y="11"/>
                  <a:pt x="443" y="11"/>
                </a:cubicBezTo>
                <a:cubicBezTo>
                  <a:pt x="443" y="12"/>
                  <a:pt x="443" y="12"/>
                  <a:pt x="443" y="12"/>
                </a:cubicBezTo>
                <a:cubicBezTo>
                  <a:pt x="443" y="14"/>
                  <a:pt x="443" y="14"/>
                  <a:pt x="443" y="14"/>
                </a:cubicBezTo>
                <a:cubicBezTo>
                  <a:pt x="444" y="14"/>
                  <a:pt x="444" y="14"/>
                  <a:pt x="444" y="14"/>
                </a:cubicBezTo>
                <a:cubicBezTo>
                  <a:pt x="444" y="16"/>
                  <a:pt x="444" y="16"/>
                  <a:pt x="444" y="16"/>
                </a:cubicBezTo>
                <a:cubicBezTo>
                  <a:pt x="444" y="17"/>
                  <a:pt x="444" y="17"/>
                  <a:pt x="444" y="17"/>
                </a:cubicBezTo>
                <a:cubicBezTo>
                  <a:pt x="444" y="18"/>
                  <a:pt x="444" y="18"/>
                  <a:pt x="444" y="18"/>
                </a:cubicBezTo>
                <a:cubicBezTo>
                  <a:pt x="444" y="19"/>
                  <a:pt x="444" y="19"/>
                  <a:pt x="444" y="19"/>
                </a:cubicBezTo>
                <a:cubicBezTo>
                  <a:pt x="445" y="19"/>
                  <a:pt x="445" y="19"/>
                  <a:pt x="445" y="19"/>
                </a:cubicBezTo>
                <a:cubicBezTo>
                  <a:pt x="445" y="19"/>
                  <a:pt x="445" y="19"/>
                  <a:pt x="445" y="19"/>
                </a:cubicBezTo>
                <a:cubicBezTo>
                  <a:pt x="445" y="18"/>
                  <a:pt x="445" y="18"/>
                  <a:pt x="445" y="18"/>
                </a:cubicBezTo>
                <a:cubicBezTo>
                  <a:pt x="445" y="17"/>
                  <a:pt x="445" y="17"/>
                  <a:pt x="445" y="17"/>
                </a:cubicBezTo>
                <a:cubicBezTo>
                  <a:pt x="446" y="16"/>
                  <a:pt x="446" y="16"/>
                  <a:pt x="446" y="16"/>
                </a:cubicBezTo>
                <a:cubicBezTo>
                  <a:pt x="447" y="14"/>
                  <a:pt x="447" y="14"/>
                  <a:pt x="447" y="14"/>
                </a:cubicBezTo>
                <a:cubicBezTo>
                  <a:pt x="448" y="14"/>
                  <a:pt x="448" y="14"/>
                  <a:pt x="448" y="14"/>
                </a:cubicBezTo>
                <a:cubicBezTo>
                  <a:pt x="449" y="16"/>
                  <a:pt x="449" y="16"/>
                  <a:pt x="449" y="16"/>
                </a:cubicBezTo>
                <a:cubicBezTo>
                  <a:pt x="449" y="17"/>
                  <a:pt x="449" y="17"/>
                  <a:pt x="449" y="17"/>
                </a:cubicBezTo>
                <a:cubicBezTo>
                  <a:pt x="448" y="19"/>
                  <a:pt x="448" y="19"/>
                  <a:pt x="448" y="19"/>
                </a:cubicBezTo>
                <a:cubicBezTo>
                  <a:pt x="449" y="19"/>
                  <a:pt x="449" y="19"/>
                  <a:pt x="449" y="19"/>
                </a:cubicBezTo>
                <a:cubicBezTo>
                  <a:pt x="449" y="20"/>
                  <a:pt x="449" y="20"/>
                  <a:pt x="449" y="20"/>
                </a:cubicBezTo>
                <a:cubicBezTo>
                  <a:pt x="450" y="19"/>
                  <a:pt x="450" y="19"/>
                  <a:pt x="450" y="19"/>
                </a:cubicBezTo>
                <a:cubicBezTo>
                  <a:pt x="450" y="18"/>
                  <a:pt x="450" y="18"/>
                  <a:pt x="450" y="18"/>
                </a:cubicBezTo>
                <a:cubicBezTo>
                  <a:pt x="451" y="18"/>
                  <a:pt x="451" y="18"/>
                  <a:pt x="451" y="18"/>
                </a:cubicBezTo>
                <a:cubicBezTo>
                  <a:pt x="451" y="17"/>
                  <a:pt x="451" y="17"/>
                  <a:pt x="451" y="17"/>
                </a:cubicBezTo>
                <a:cubicBezTo>
                  <a:pt x="452" y="18"/>
                  <a:pt x="452" y="18"/>
                  <a:pt x="452" y="18"/>
                </a:cubicBezTo>
                <a:cubicBezTo>
                  <a:pt x="451" y="18"/>
                  <a:pt x="451" y="18"/>
                  <a:pt x="451" y="18"/>
                </a:cubicBezTo>
                <a:cubicBezTo>
                  <a:pt x="451" y="19"/>
                  <a:pt x="451" y="19"/>
                  <a:pt x="451" y="19"/>
                </a:cubicBezTo>
                <a:cubicBezTo>
                  <a:pt x="452" y="20"/>
                  <a:pt x="452" y="20"/>
                  <a:pt x="452" y="20"/>
                </a:cubicBezTo>
                <a:cubicBezTo>
                  <a:pt x="453" y="19"/>
                  <a:pt x="453" y="19"/>
                  <a:pt x="453" y="19"/>
                </a:cubicBezTo>
                <a:cubicBezTo>
                  <a:pt x="453" y="19"/>
                  <a:pt x="453" y="19"/>
                  <a:pt x="453" y="19"/>
                </a:cubicBezTo>
                <a:cubicBezTo>
                  <a:pt x="453" y="20"/>
                  <a:pt x="453" y="20"/>
                  <a:pt x="453" y="20"/>
                </a:cubicBezTo>
                <a:cubicBezTo>
                  <a:pt x="454" y="20"/>
                  <a:pt x="454" y="20"/>
                  <a:pt x="454" y="20"/>
                </a:cubicBezTo>
                <a:cubicBezTo>
                  <a:pt x="454" y="18"/>
                  <a:pt x="454" y="18"/>
                  <a:pt x="454" y="18"/>
                </a:cubicBezTo>
                <a:cubicBezTo>
                  <a:pt x="453" y="16"/>
                  <a:pt x="453" y="16"/>
                  <a:pt x="453" y="16"/>
                </a:cubicBezTo>
                <a:cubicBezTo>
                  <a:pt x="452" y="16"/>
                  <a:pt x="452" y="16"/>
                  <a:pt x="452" y="16"/>
                </a:cubicBezTo>
                <a:cubicBezTo>
                  <a:pt x="452" y="15"/>
                  <a:pt x="452" y="15"/>
                  <a:pt x="452" y="15"/>
                </a:cubicBezTo>
                <a:cubicBezTo>
                  <a:pt x="452" y="14"/>
                  <a:pt x="452" y="14"/>
                  <a:pt x="452" y="14"/>
                </a:cubicBezTo>
                <a:cubicBezTo>
                  <a:pt x="451" y="13"/>
                  <a:pt x="451" y="13"/>
                  <a:pt x="451" y="13"/>
                </a:cubicBezTo>
                <a:cubicBezTo>
                  <a:pt x="450" y="12"/>
                  <a:pt x="450" y="12"/>
                  <a:pt x="450" y="12"/>
                </a:cubicBezTo>
                <a:cubicBezTo>
                  <a:pt x="450" y="11"/>
                  <a:pt x="450" y="11"/>
                  <a:pt x="450" y="11"/>
                </a:cubicBezTo>
                <a:cubicBezTo>
                  <a:pt x="450" y="10"/>
                  <a:pt x="450" y="10"/>
                  <a:pt x="450" y="10"/>
                </a:cubicBezTo>
                <a:cubicBezTo>
                  <a:pt x="451" y="10"/>
                  <a:pt x="451" y="10"/>
                  <a:pt x="451" y="10"/>
                </a:cubicBezTo>
                <a:cubicBezTo>
                  <a:pt x="452" y="11"/>
                  <a:pt x="452" y="11"/>
                  <a:pt x="452" y="11"/>
                </a:cubicBezTo>
                <a:cubicBezTo>
                  <a:pt x="453" y="10"/>
                  <a:pt x="453" y="10"/>
                  <a:pt x="453" y="10"/>
                </a:cubicBezTo>
                <a:cubicBezTo>
                  <a:pt x="454" y="11"/>
                  <a:pt x="454" y="11"/>
                  <a:pt x="454" y="11"/>
                </a:cubicBezTo>
                <a:cubicBezTo>
                  <a:pt x="455" y="10"/>
                  <a:pt x="455" y="10"/>
                  <a:pt x="455" y="10"/>
                </a:cubicBezTo>
                <a:cubicBezTo>
                  <a:pt x="455" y="8"/>
                  <a:pt x="455" y="8"/>
                  <a:pt x="455" y="8"/>
                </a:cubicBezTo>
                <a:cubicBezTo>
                  <a:pt x="454" y="7"/>
                  <a:pt x="454" y="7"/>
                  <a:pt x="454" y="7"/>
                </a:cubicBezTo>
                <a:cubicBezTo>
                  <a:pt x="454" y="6"/>
                  <a:pt x="454" y="6"/>
                  <a:pt x="454" y="6"/>
                </a:cubicBezTo>
                <a:cubicBezTo>
                  <a:pt x="456" y="6"/>
                  <a:pt x="456" y="6"/>
                  <a:pt x="456" y="6"/>
                </a:cubicBezTo>
                <a:cubicBezTo>
                  <a:pt x="456" y="6"/>
                  <a:pt x="456" y="6"/>
                  <a:pt x="456" y="6"/>
                </a:cubicBezTo>
                <a:cubicBezTo>
                  <a:pt x="459" y="6"/>
                  <a:pt x="459" y="6"/>
                  <a:pt x="459" y="6"/>
                </a:cubicBezTo>
                <a:cubicBezTo>
                  <a:pt x="460" y="7"/>
                  <a:pt x="460" y="7"/>
                  <a:pt x="460" y="7"/>
                </a:cubicBezTo>
                <a:cubicBezTo>
                  <a:pt x="460" y="8"/>
                  <a:pt x="460" y="8"/>
                  <a:pt x="460" y="8"/>
                </a:cubicBezTo>
                <a:cubicBezTo>
                  <a:pt x="459" y="9"/>
                  <a:pt x="459" y="9"/>
                  <a:pt x="459" y="9"/>
                </a:cubicBezTo>
                <a:cubicBezTo>
                  <a:pt x="459" y="9"/>
                  <a:pt x="459" y="9"/>
                  <a:pt x="459" y="9"/>
                </a:cubicBezTo>
                <a:cubicBezTo>
                  <a:pt x="461" y="10"/>
                  <a:pt x="461" y="10"/>
                  <a:pt x="461" y="10"/>
                </a:cubicBezTo>
                <a:cubicBezTo>
                  <a:pt x="461" y="11"/>
                  <a:pt x="461" y="11"/>
                  <a:pt x="461" y="11"/>
                </a:cubicBezTo>
                <a:cubicBezTo>
                  <a:pt x="461" y="13"/>
                  <a:pt x="461" y="13"/>
                  <a:pt x="461" y="13"/>
                </a:cubicBezTo>
                <a:cubicBezTo>
                  <a:pt x="461" y="15"/>
                  <a:pt x="461" y="15"/>
                  <a:pt x="461" y="15"/>
                </a:cubicBezTo>
                <a:cubicBezTo>
                  <a:pt x="462" y="15"/>
                  <a:pt x="462" y="15"/>
                  <a:pt x="462" y="15"/>
                </a:cubicBezTo>
                <a:cubicBezTo>
                  <a:pt x="463" y="13"/>
                  <a:pt x="463" y="13"/>
                  <a:pt x="463" y="13"/>
                </a:cubicBezTo>
                <a:cubicBezTo>
                  <a:pt x="463" y="14"/>
                  <a:pt x="463" y="14"/>
                  <a:pt x="463" y="14"/>
                </a:cubicBezTo>
                <a:cubicBezTo>
                  <a:pt x="463" y="15"/>
                  <a:pt x="463" y="15"/>
                  <a:pt x="463" y="15"/>
                </a:cubicBezTo>
                <a:cubicBezTo>
                  <a:pt x="464" y="15"/>
                  <a:pt x="464" y="15"/>
                  <a:pt x="464" y="15"/>
                </a:cubicBezTo>
                <a:cubicBezTo>
                  <a:pt x="465" y="15"/>
                  <a:pt x="465" y="15"/>
                  <a:pt x="465" y="15"/>
                </a:cubicBezTo>
                <a:cubicBezTo>
                  <a:pt x="465" y="14"/>
                  <a:pt x="465" y="14"/>
                  <a:pt x="465" y="14"/>
                </a:cubicBezTo>
                <a:cubicBezTo>
                  <a:pt x="467" y="13"/>
                  <a:pt x="467" y="13"/>
                  <a:pt x="467" y="13"/>
                </a:cubicBezTo>
                <a:cubicBezTo>
                  <a:pt x="467" y="13"/>
                  <a:pt x="467" y="13"/>
                  <a:pt x="467" y="13"/>
                </a:cubicBezTo>
                <a:cubicBezTo>
                  <a:pt x="466" y="10"/>
                  <a:pt x="466" y="10"/>
                  <a:pt x="466" y="10"/>
                </a:cubicBezTo>
                <a:cubicBezTo>
                  <a:pt x="467" y="9"/>
                  <a:pt x="467" y="9"/>
                  <a:pt x="467" y="9"/>
                </a:cubicBezTo>
                <a:cubicBezTo>
                  <a:pt x="468" y="9"/>
                  <a:pt x="468" y="9"/>
                  <a:pt x="468" y="9"/>
                </a:cubicBezTo>
                <a:cubicBezTo>
                  <a:pt x="469" y="10"/>
                  <a:pt x="469" y="10"/>
                  <a:pt x="469" y="10"/>
                </a:cubicBezTo>
                <a:cubicBezTo>
                  <a:pt x="471" y="10"/>
                  <a:pt x="471" y="10"/>
                  <a:pt x="471" y="10"/>
                </a:cubicBezTo>
                <a:cubicBezTo>
                  <a:pt x="471" y="9"/>
                  <a:pt x="471" y="9"/>
                  <a:pt x="471" y="9"/>
                </a:cubicBezTo>
                <a:cubicBezTo>
                  <a:pt x="469" y="8"/>
                  <a:pt x="469" y="8"/>
                  <a:pt x="469" y="8"/>
                </a:cubicBezTo>
                <a:cubicBezTo>
                  <a:pt x="468" y="6"/>
                  <a:pt x="468" y="6"/>
                  <a:pt x="468" y="6"/>
                </a:cubicBezTo>
                <a:cubicBezTo>
                  <a:pt x="469" y="5"/>
                  <a:pt x="469" y="5"/>
                  <a:pt x="469" y="5"/>
                </a:cubicBezTo>
                <a:cubicBezTo>
                  <a:pt x="469" y="4"/>
                  <a:pt x="469" y="4"/>
                  <a:pt x="469" y="4"/>
                </a:cubicBezTo>
                <a:cubicBezTo>
                  <a:pt x="470" y="4"/>
                  <a:pt x="470" y="4"/>
                  <a:pt x="470" y="4"/>
                </a:cubicBezTo>
                <a:cubicBezTo>
                  <a:pt x="472" y="5"/>
                  <a:pt x="472" y="5"/>
                  <a:pt x="472" y="5"/>
                </a:cubicBezTo>
                <a:cubicBezTo>
                  <a:pt x="472" y="7"/>
                  <a:pt x="472" y="7"/>
                  <a:pt x="472" y="7"/>
                </a:cubicBezTo>
                <a:cubicBezTo>
                  <a:pt x="473" y="8"/>
                  <a:pt x="473" y="8"/>
                  <a:pt x="473" y="8"/>
                </a:cubicBezTo>
                <a:cubicBezTo>
                  <a:pt x="473" y="10"/>
                  <a:pt x="473" y="10"/>
                  <a:pt x="473" y="10"/>
                </a:cubicBezTo>
                <a:cubicBezTo>
                  <a:pt x="473" y="11"/>
                  <a:pt x="473" y="11"/>
                  <a:pt x="473" y="11"/>
                </a:cubicBezTo>
                <a:cubicBezTo>
                  <a:pt x="473" y="13"/>
                  <a:pt x="473" y="13"/>
                  <a:pt x="473" y="13"/>
                </a:cubicBezTo>
                <a:cubicBezTo>
                  <a:pt x="474" y="14"/>
                  <a:pt x="474" y="14"/>
                  <a:pt x="474" y="14"/>
                </a:cubicBezTo>
                <a:cubicBezTo>
                  <a:pt x="475" y="13"/>
                  <a:pt x="475" y="13"/>
                  <a:pt x="475" y="13"/>
                </a:cubicBezTo>
                <a:cubicBezTo>
                  <a:pt x="475" y="12"/>
                  <a:pt x="475" y="12"/>
                  <a:pt x="475" y="12"/>
                </a:cubicBezTo>
                <a:cubicBezTo>
                  <a:pt x="474" y="11"/>
                  <a:pt x="474" y="11"/>
                  <a:pt x="474" y="11"/>
                </a:cubicBezTo>
                <a:cubicBezTo>
                  <a:pt x="474" y="9"/>
                  <a:pt x="474" y="9"/>
                  <a:pt x="474" y="9"/>
                </a:cubicBezTo>
                <a:cubicBezTo>
                  <a:pt x="474" y="7"/>
                  <a:pt x="474" y="7"/>
                  <a:pt x="474" y="7"/>
                </a:cubicBezTo>
                <a:cubicBezTo>
                  <a:pt x="474" y="5"/>
                  <a:pt x="474" y="5"/>
                  <a:pt x="474" y="5"/>
                </a:cubicBezTo>
                <a:cubicBezTo>
                  <a:pt x="474" y="3"/>
                  <a:pt x="474" y="3"/>
                  <a:pt x="474" y="3"/>
                </a:cubicBezTo>
                <a:cubicBezTo>
                  <a:pt x="474" y="2"/>
                  <a:pt x="474" y="2"/>
                  <a:pt x="474" y="2"/>
                </a:cubicBezTo>
                <a:cubicBezTo>
                  <a:pt x="475" y="2"/>
                  <a:pt x="475" y="2"/>
                  <a:pt x="475" y="2"/>
                </a:cubicBezTo>
                <a:cubicBezTo>
                  <a:pt x="476" y="3"/>
                  <a:pt x="476" y="3"/>
                  <a:pt x="476" y="3"/>
                </a:cubicBezTo>
                <a:cubicBezTo>
                  <a:pt x="477" y="3"/>
                  <a:pt x="477" y="3"/>
                  <a:pt x="477" y="3"/>
                </a:cubicBezTo>
                <a:cubicBezTo>
                  <a:pt x="477" y="3"/>
                  <a:pt x="477" y="3"/>
                  <a:pt x="477" y="3"/>
                </a:cubicBezTo>
                <a:cubicBezTo>
                  <a:pt x="477" y="5"/>
                  <a:pt x="477" y="5"/>
                  <a:pt x="477" y="5"/>
                </a:cubicBezTo>
                <a:cubicBezTo>
                  <a:pt x="478" y="6"/>
                  <a:pt x="478" y="6"/>
                  <a:pt x="478" y="6"/>
                </a:cubicBezTo>
                <a:cubicBezTo>
                  <a:pt x="478" y="8"/>
                  <a:pt x="478" y="8"/>
                  <a:pt x="478" y="8"/>
                </a:cubicBezTo>
                <a:cubicBezTo>
                  <a:pt x="478" y="10"/>
                  <a:pt x="478" y="10"/>
                  <a:pt x="478" y="10"/>
                </a:cubicBezTo>
                <a:cubicBezTo>
                  <a:pt x="479" y="10"/>
                  <a:pt x="479" y="10"/>
                  <a:pt x="479" y="10"/>
                </a:cubicBezTo>
                <a:cubicBezTo>
                  <a:pt x="479" y="9"/>
                  <a:pt x="479" y="9"/>
                  <a:pt x="479" y="9"/>
                </a:cubicBezTo>
                <a:cubicBezTo>
                  <a:pt x="479" y="8"/>
                  <a:pt x="479" y="8"/>
                  <a:pt x="479" y="8"/>
                </a:cubicBezTo>
                <a:cubicBezTo>
                  <a:pt x="480" y="8"/>
                  <a:pt x="480" y="8"/>
                  <a:pt x="480" y="8"/>
                </a:cubicBezTo>
                <a:cubicBezTo>
                  <a:pt x="482" y="10"/>
                  <a:pt x="482" y="10"/>
                  <a:pt x="482" y="10"/>
                </a:cubicBezTo>
                <a:cubicBezTo>
                  <a:pt x="482" y="10"/>
                  <a:pt x="482" y="10"/>
                  <a:pt x="482" y="10"/>
                </a:cubicBezTo>
                <a:cubicBezTo>
                  <a:pt x="483" y="10"/>
                  <a:pt x="483" y="10"/>
                  <a:pt x="483" y="10"/>
                </a:cubicBezTo>
                <a:cubicBezTo>
                  <a:pt x="483" y="9"/>
                  <a:pt x="483" y="9"/>
                  <a:pt x="483" y="9"/>
                </a:cubicBezTo>
                <a:cubicBezTo>
                  <a:pt x="482" y="9"/>
                  <a:pt x="482" y="9"/>
                  <a:pt x="482" y="9"/>
                </a:cubicBezTo>
                <a:cubicBezTo>
                  <a:pt x="481" y="8"/>
                  <a:pt x="481" y="8"/>
                  <a:pt x="481" y="8"/>
                </a:cubicBezTo>
                <a:cubicBezTo>
                  <a:pt x="482" y="7"/>
                  <a:pt x="482" y="7"/>
                  <a:pt x="482" y="7"/>
                </a:cubicBezTo>
                <a:cubicBezTo>
                  <a:pt x="482" y="6"/>
                  <a:pt x="482" y="6"/>
                  <a:pt x="482" y="6"/>
                </a:cubicBezTo>
                <a:cubicBezTo>
                  <a:pt x="480" y="5"/>
                  <a:pt x="480" y="5"/>
                  <a:pt x="480" y="5"/>
                </a:cubicBezTo>
                <a:cubicBezTo>
                  <a:pt x="480" y="4"/>
                  <a:pt x="480" y="4"/>
                  <a:pt x="480" y="4"/>
                </a:cubicBezTo>
                <a:cubicBezTo>
                  <a:pt x="480" y="4"/>
                  <a:pt x="480" y="4"/>
                  <a:pt x="480" y="4"/>
                </a:cubicBezTo>
                <a:cubicBezTo>
                  <a:pt x="482" y="4"/>
                  <a:pt x="482" y="4"/>
                  <a:pt x="482" y="4"/>
                </a:cubicBezTo>
                <a:cubicBezTo>
                  <a:pt x="481" y="3"/>
                  <a:pt x="481" y="3"/>
                  <a:pt x="481" y="3"/>
                </a:cubicBezTo>
                <a:cubicBezTo>
                  <a:pt x="480" y="3"/>
                  <a:pt x="480" y="3"/>
                  <a:pt x="480" y="3"/>
                </a:cubicBezTo>
                <a:cubicBezTo>
                  <a:pt x="479" y="2"/>
                  <a:pt x="479" y="2"/>
                  <a:pt x="479" y="2"/>
                </a:cubicBezTo>
                <a:cubicBezTo>
                  <a:pt x="480" y="2"/>
                  <a:pt x="480" y="2"/>
                  <a:pt x="480" y="2"/>
                </a:cubicBezTo>
                <a:cubicBezTo>
                  <a:pt x="481" y="2"/>
                  <a:pt x="481" y="2"/>
                  <a:pt x="481" y="2"/>
                </a:cubicBezTo>
                <a:cubicBezTo>
                  <a:pt x="482" y="0"/>
                  <a:pt x="482" y="0"/>
                  <a:pt x="482" y="0"/>
                </a:cubicBezTo>
                <a:cubicBezTo>
                  <a:pt x="485" y="1"/>
                  <a:pt x="485" y="1"/>
                  <a:pt x="485" y="1"/>
                </a:cubicBezTo>
                <a:cubicBezTo>
                  <a:pt x="485" y="1"/>
                  <a:pt x="485" y="1"/>
                  <a:pt x="485" y="1"/>
                </a:cubicBezTo>
                <a:cubicBezTo>
                  <a:pt x="485" y="3"/>
                  <a:pt x="485" y="3"/>
                  <a:pt x="485" y="3"/>
                </a:cubicBezTo>
                <a:cubicBezTo>
                  <a:pt x="485" y="4"/>
                  <a:pt x="485" y="4"/>
                  <a:pt x="485" y="4"/>
                </a:cubicBezTo>
                <a:cubicBezTo>
                  <a:pt x="485" y="5"/>
                  <a:pt x="485" y="5"/>
                  <a:pt x="485" y="5"/>
                </a:cubicBezTo>
                <a:cubicBezTo>
                  <a:pt x="486" y="4"/>
                  <a:pt x="486" y="4"/>
                  <a:pt x="486" y="4"/>
                </a:cubicBezTo>
                <a:cubicBezTo>
                  <a:pt x="487" y="3"/>
                  <a:pt x="487" y="3"/>
                  <a:pt x="487" y="3"/>
                </a:cubicBezTo>
                <a:cubicBezTo>
                  <a:pt x="487" y="2"/>
                  <a:pt x="487" y="2"/>
                  <a:pt x="487" y="2"/>
                </a:cubicBezTo>
                <a:cubicBezTo>
                  <a:pt x="488" y="3"/>
                  <a:pt x="488" y="3"/>
                  <a:pt x="488" y="3"/>
                </a:cubicBezTo>
                <a:cubicBezTo>
                  <a:pt x="487" y="5"/>
                  <a:pt x="487" y="5"/>
                  <a:pt x="487" y="5"/>
                </a:cubicBezTo>
                <a:cubicBezTo>
                  <a:pt x="488" y="5"/>
                  <a:pt x="488" y="5"/>
                  <a:pt x="488" y="5"/>
                </a:cubicBezTo>
                <a:cubicBezTo>
                  <a:pt x="489" y="5"/>
                  <a:pt x="489" y="5"/>
                  <a:pt x="489" y="5"/>
                </a:cubicBezTo>
                <a:cubicBezTo>
                  <a:pt x="489" y="5"/>
                  <a:pt x="489" y="5"/>
                  <a:pt x="489" y="5"/>
                </a:cubicBezTo>
                <a:cubicBezTo>
                  <a:pt x="490" y="3"/>
                  <a:pt x="490" y="3"/>
                  <a:pt x="490" y="3"/>
                </a:cubicBezTo>
                <a:cubicBezTo>
                  <a:pt x="491" y="4"/>
                  <a:pt x="491" y="4"/>
                  <a:pt x="491" y="4"/>
                </a:cubicBezTo>
                <a:cubicBezTo>
                  <a:pt x="491" y="5"/>
                  <a:pt x="491" y="5"/>
                  <a:pt x="491" y="5"/>
                </a:cubicBezTo>
                <a:cubicBezTo>
                  <a:pt x="490" y="6"/>
                  <a:pt x="490" y="6"/>
                  <a:pt x="490" y="6"/>
                </a:cubicBezTo>
                <a:cubicBezTo>
                  <a:pt x="491" y="8"/>
                  <a:pt x="491" y="8"/>
                  <a:pt x="491" y="8"/>
                </a:cubicBezTo>
                <a:cubicBezTo>
                  <a:pt x="490" y="9"/>
                  <a:pt x="490" y="9"/>
                  <a:pt x="490" y="9"/>
                </a:cubicBezTo>
                <a:cubicBezTo>
                  <a:pt x="491" y="10"/>
                  <a:pt x="491" y="10"/>
                  <a:pt x="491" y="10"/>
                </a:cubicBezTo>
                <a:cubicBezTo>
                  <a:pt x="492" y="9"/>
                  <a:pt x="492" y="9"/>
                  <a:pt x="492" y="9"/>
                </a:cubicBezTo>
                <a:cubicBezTo>
                  <a:pt x="493" y="10"/>
                  <a:pt x="493" y="10"/>
                  <a:pt x="493" y="10"/>
                </a:cubicBezTo>
                <a:cubicBezTo>
                  <a:pt x="493" y="9"/>
                  <a:pt x="493" y="9"/>
                  <a:pt x="493" y="9"/>
                </a:cubicBezTo>
                <a:cubicBezTo>
                  <a:pt x="493" y="7"/>
                  <a:pt x="493" y="7"/>
                  <a:pt x="493" y="7"/>
                </a:cubicBezTo>
                <a:cubicBezTo>
                  <a:pt x="494" y="5"/>
                  <a:pt x="494" y="5"/>
                  <a:pt x="494" y="5"/>
                </a:cubicBezTo>
                <a:cubicBezTo>
                  <a:pt x="493" y="2"/>
                  <a:pt x="493" y="2"/>
                  <a:pt x="493" y="2"/>
                </a:cubicBezTo>
                <a:cubicBezTo>
                  <a:pt x="493" y="1"/>
                  <a:pt x="493" y="1"/>
                  <a:pt x="493" y="1"/>
                </a:cubicBezTo>
                <a:cubicBezTo>
                  <a:pt x="494" y="0"/>
                  <a:pt x="494" y="0"/>
                  <a:pt x="494" y="0"/>
                </a:cubicBezTo>
                <a:cubicBezTo>
                  <a:pt x="495" y="1"/>
                  <a:pt x="495" y="1"/>
                  <a:pt x="495" y="1"/>
                </a:cubicBezTo>
                <a:cubicBezTo>
                  <a:pt x="496" y="1"/>
                  <a:pt x="496" y="1"/>
                  <a:pt x="496" y="1"/>
                </a:cubicBezTo>
                <a:cubicBezTo>
                  <a:pt x="497" y="1"/>
                  <a:pt x="497" y="1"/>
                  <a:pt x="497" y="1"/>
                </a:cubicBezTo>
                <a:cubicBezTo>
                  <a:pt x="499" y="1"/>
                  <a:pt x="499" y="1"/>
                  <a:pt x="499" y="1"/>
                </a:cubicBezTo>
                <a:cubicBezTo>
                  <a:pt x="500" y="1"/>
                  <a:pt x="500" y="1"/>
                  <a:pt x="500" y="1"/>
                </a:cubicBezTo>
                <a:cubicBezTo>
                  <a:pt x="501" y="2"/>
                  <a:pt x="501" y="2"/>
                  <a:pt x="501" y="2"/>
                </a:cubicBezTo>
                <a:cubicBezTo>
                  <a:pt x="502" y="3"/>
                  <a:pt x="502" y="3"/>
                  <a:pt x="502" y="3"/>
                </a:cubicBezTo>
                <a:cubicBezTo>
                  <a:pt x="504" y="2"/>
                  <a:pt x="504" y="2"/>
                  <a:pt x="504" y="2"/>
                </a:cubicBezTo>
                <a:cubicBezTo>
                  <a:pt x="505" y="3"/>
                  <a:pt x="505" y="3"/>
                  <a:pt x="505" y="3"/>
                </a:cubicBezTo>
                <a:cubicBezTo>
                  <a:pt x="506" y="4"/>
                  <a:pt x="506" y="4"/>
                  <a:pt x="506" y="4"/>
                </a:cubicBezTo>
                <a:cubicBezTo>
                  <a:pt x="506" y="5"/>
                  <a:pt x="506" y="5"/>
                  <a:pt x="506" y="5"/>
                </a:cubicBezTo>
                <a:cubicBezTo>
                  <a:pt x="506" y="6"/>
                  <a:pt x="506" y="6"/>
                  <a:pt x="506" y="6"/>
                </a:cubicBezTo>
                <a:cubicBezTo>
                  <a:pt x="506" y="8"/>
                  <a:pt x="506" y="8"/>
                  <a:pt x="506" y="8"/>
                </a:cubicBezTo>
                <a:cubicBezTo>
                  <a:pt x="506" y="9"/>
                  <a:pt x="506" y="9"/>
                  <a:pt x="506" y="9"/>
                </a:cubicBezTo>
                <a:cubicBezTo>
                  <a:pt x="507" y="8"/>
                  <a:pt x="507" y="8"/>
                  <a:pt x="507" y="8"/>
                </a:cubicBezTo>
                <a:cubicBezTo>
                  <a:pt x="508" y="7"/>
                  <a:pt x="508" y="7"/>
                  <a:pt x="508" y="7"/>
                </a:cubicBezTo>
                <a:cubicBezTo>
                  <a:pt x="510" y="5"/>
                  <a:pt x="510" y="5"/>
                  <a:pt x="510" y="5"/>
                </a:cubicBezTo>
                <a:cubicBezTo>
                  <a:pt x="511" y="4"/>
                  <a:pt x="511" y="4"/>
                  <a:pt x="511" y="4"/>
                </a:cubicBezTo>
                <a:cubicBezTo>
                  <a:pt x="512" y="4"/>
                  <a:pt x="512" y="4"/>
                  <a:pt x="512" y="4"/>
                </a:cubicBezTo>
                <a:cubicBezTo>
                  <a:pt x="514" y="5"/>
                  <a:pt x="514" y="5"/>
                  <a:pt x="514" y="5"/>
                </a:cubicBezTo>
                <a:cubicBezTo>
                  <a:pt x="515" y="5"/>
                  <a:pt x="515" y="5"/>
                  <a:pt x="515" y="5"/>
                </a:cubicBezTo>
                <a:cubicBezTo>
                  <a:pt x="515" y="6"/>
                  <a:pt x="515" y="6"/>
                  <a:pt x="515" y="6"/>
                </a:cubicBezTo>
                <a:cubicBezTo>
                  <a:pt x="514" y="7"/>
                  <a:pt x="514" y="7"/>
                  <a:pt x="514" y="7"/>
                </a:cubicBezTo>
                <a:cubicBezTo>
                  <a:pt x="514" y="9"/>
                  <a:pt x="514" y="9"/>
                  <a:pt x="514" y="9"/>
                </a:cubicBezTo>
                <a:cubicBezTo>
                  <a:pt x="515" y="8"/>
                  <a:pt x="515" y="8"/>
                  <a:pt x="515" y="8"/>
                </a:cubicBezTo>
                <a:cubicBezTo>
                  <a:pt x="515" y="7"/>
                  <a:pt x="515" y="7"/>
                  <a:pt x="515" y="7"/>
                </a:cubicBezTo>
                <a:cubicBezTo>
                  <a:pt x="517" y="6"/>
                  <a:pt x="517" y="6"/>
                  <a:pt x="517" y="6"/>
                </a:cubicBezTo>
                <a:cubicBezTo>
                  <a:pt x="518" y="6"/>
                  <a:pt x="518" y="6"/>
                  <a:pt x="518" y="6"/>
                </a:cubicBezTo>
                <a:cubicBezTo>
                  <a:pt x="520" y="6"/>
                  <a:pt x="520" y="6"/>
                  <a:pt x="520" y="6"/>
                </a:cubicBezTo>
                <a:cubicBezTo>
                  <a:pt x="522" y="7"/>
                  <a:pt x="522" y="7"/>
                  <a:pt x="522" y="7"/>
                </a:cubicBezTo>
                <a:cubicBezTo>
                  <a:pt x="523" y="8"/>
                  <a:pt x="523" y="8"/>
                  <a:pt x="523" y="8"/>
                </a:cubicBezTo>
                <a:cubicBezTo>
                  <a:pt x="522" y="8"/>
                  <a:pt x="522" y="8"/>
                  <a:pt x="522" y="8"/>
                </a:cubicBezTo>
                <a:cubicBezTo>
                  <a:pt x="522" y="9"/>
                  <a:pt x="522" y="9"/>
                  <a:pt x="522" y="9"/>
                </a:cubicBezTo>
                <a:cubicBezTo>
                  <a:pt x="522" y="9"/>
                  <a:pt x="522" y="9"/>
                  <a:pt x="522" y="9"/>
                </a:cubicBezTo>
                <a:cubicBezTo>
                  <a:pt x="521" y="10"/>
                  <a:pt x="521" y="10"/>
                  <a:pt x="521" y="10"/>
                </a:cubicBezTo>
                <a:cubicBezTo>
                  <a:pt x="522" y="11"/>
                  <a:pt x="522" y="11"/>
                  <a:pt x="522" y="11"/>
                </a:cubicBezTo>
                <a:cubicBezTo>
                  <a:pt x="523" y="10"/>
                  <a:pt x="523" y="10"/>
                  <a:pt x="523" y="10"/>
                </a:cubicBezTo>
                <a:cubicBezTo>
                  <a:pt x="524" y="10"/>
                  <a:pt x="524" y="10"/>
                  <a:pt x="524" y="10"/>
                </a:cubicBezTo>
                <a:cubicBezTo>
                  <a:pt x="524" y="11"/>
                  <a:pt x="524" y="11"/>
                  <a:pt x="524" y="11"/>
                </a:cubicBezTo>
                <a:cubicBezTo>
                  <a:pt x="525" y="12"/>
                  <a:pt x="525" y="12"/>
                  <a:pt x="525" y="12"/>
                </a:cubicBezTo>
                <a:cubicBezTo>
                  <a:pt x="525" y="11"/>
                  <a:pt x="525" y="11"/>
                  <a:pt x="525" y="11"/>
                </a:cubicBezTo>
                <a:cubicBezTo>
                  <a:pt x="527" y="10"/>
                  <a:pt x="527" y="10"/>
                  <a:pt x="527" y="10"/>
                </a:cubicBezTo>
                <a:cubicBezTo>
                  <a:pt x="527" y="11"/>
                  <a:pt x="527" y="11"/>
                  <a:pt x="527" y="11"/>
                </a:cubicBezTo>
                <a:cubicBezTo>
                  <a:pt x="527" y="12"/>
                  <a:pt x="527" y="12"/>
                  <a:pt x="527" y="12"/>
                </a:cubicBezTo>
                <a:cubicBezTo>
                  <a:pt x="527" y="13"/>
                  <a:pt x="527" y="13"/>
                  <a:pt x="527" y="13"/>
                </a:cubicBezTo>
                <a:cubicBezTo>
                  <a:pt x="528" y="13"/>
                  <a:pt x="528" y="13"/>
                  <a:pt x="528" y="13"/>
                </a:cubicBezTo>
                <a:cubicBezTo>
                  <a:pt x="528" y="13"/>
                  <a:pt x="528" y="13"/>
                  <a:pt x="528" y="13"/>
                </a:cubicBezTo>
                <a:cubicBezTo>
                  <a:pt x="529" y="12"/>
                  <a:pt x="529" y="12"/>
                  <a:pt x="529" y="12"/>
                </a:cubicBezTo>
                <a:cubicBezTo>
                  <a:pt x="530" y="12"/>
                  <a:pt x="530" y="12"/>
                  <a:pt x="530" y="12"/>
                </a:cubicBezTo>
                <a:cubicBezTo>
                  <a:pt x="530" y="13"/>
                  <a:pt x="530" y="13"/>
                  <a:pt x="530" y="13"/>
                </a:cubicBezTo>
                <a:cubicBezTo>
                  <a:pt x="533" y="14"/>
                  <a:pt x="533" y="14"/>
                  <a:pt x="533" y="14"/>
                </a:cubicBezTo>
                <a:cubicBezTo>
                  <a:pt x="534" y="14"/>
                  <a:pt x="534" y="14"/>
                  <a:pt x="534" y="14"/>
                </a:cubicBezTo>
                <a:cubicBezTo>
                  <a:pt x="534" y="15"/>
                  <a:pt x="534" y="15"/>
                  <a:pt x="534" y="15"/>
                </a:cubicBezTo>
                <a:cubicBezTo>
                  <a:pt x="534" y="15"/>
                  <a:pt x="534" y="15"/>
                  <a:pt x="534" y="15"/>
                </a:cubicBezTo>
                <a:cubicBezTo>
                  <a:pt x="531" y="16"/>
                  <a:pt x="531" y="16"/>
                  <a:pt x="531" y="16"/>
                </a:cubicBezTo>
                <a:cubicBezTo>
                  <a:pt x="530" y="18"/>
                  <a:pt x="530" y="18"/>
                  <a:pt x="530" y="18"/>
                </a:cubicBezTo>
                <a:cubicBezTo>
                  <a:pt x="529" y="18"/>
                  <a:pt x="529" y="18"/>
                  <a:pt x="529" y="18"/>
                </a:cubicBezTo>
                <a:cubicBezTo>
                  <a:pt x="527" y="19"/>
                  <a:pt x="527" y="19"/>
                  <a:pt x="527" y="19"/>
                </a:cubicBezTo>
                <a:cubicBezTo>
                  <a:pt x="526" y="19"/>
                  <a:pt x="526" y="19"/>
                  <a:pt x="526" y="19"/>
                </a:cubicBezTo>
                <a:cubicBezTo>
                  <a:pt x="525" y="19"/>
                  <a:pt x="525" y="19"/>
                  <a:pt x="525" y="19"/>
                </a:cubicBezTo>
                <a:cubicBezTo>
                  <a:pt x="524" y="19"/>
                  <a:pt x="524" y="19"/>
                  <a:pt x="524" y="19"/>
                </a:cubicBezTo>
                <a:cubicBezTo>
                  <a:pt x="523" y="20"/>
                  <a:pt x="523" y="20"/>
                  <a:pt x="523" y="20"/>
                </a:cubicBezTo>
                <a:cubicBezTo>
                  <a:pt x="525" y="20"/>
                  <a:pt x="525" y="20"/>
                  <a:pt x="525" y="20"/>
                </a:cubicBezTo>
                <a:cubicBezTo>
                  <a:pt x="528" y="20"/>
                  <a:pt x="528" y="20"/>
                  <a:pt x="528" y="20"/>
                </a:cubicBezTo>
                <a:cubicBezTo>
                  <a:pt x="529" y="21"/>
                  <a:pt x="529" y="21"/>
                  <a:pt x="529" y="21"/>
                </a:cubicBezTo>
                <a:cubicBezTo>
                  <a:pt x="529" y="21"/>
                  <a:pt x="529" y="21"/>
                  <a:pt x="529" y="21"/>
                </a:cubicBezTo>
                <a:cubicBezTo>
                  <a:pt x="530" y="20"/>
                  <a:pt x="530" y="20"/>
                  <a:pt x="530" y="20"/>
                </a:cubicBezTo>
                <a:cubicBezTo>
                  <a:pt x="531" y="19"/>
                  <a:pt x="531" y="19"/>
                  <a:pt x="531" y="19"/>
                </a:cubicBezTo>
                <a:cubicBezTo>
                  <a:pt x="532" y="19"/>
                  <a:pt x="532" y="19"/>
                  <a:pt x="532" y="19"/>
                </a:cubicBezTo>
                <a:cubicBezTo>
                  <a:pt x="533" y="18"/>
                  <a:pt x="533" y="18"/>
                  <a:pt x="533" y="18"/>
                </a:cubicBezTo>
                <a:cubicBezTo>
                  <a:pt x="534" y="17"/>
                  <a:pt x="534" y="17"/>
                  <a:pt x="534" y="17"/>
                </a:cubicBezTo>
                <a:cubicBezTo>
                  <a:pt x="536" y="17"/>
                  <a:pt x="536" y="17"/>
                  <a:pt x="536" y="17"/>
                </a:cubicBezTo>
                <a:cubicBezTo>
                  <a:pt x="536" y="18"/>
                  <a:pt x="536" y="18"/>
                  <a:pt x="536" y="18"/>
                </a:cubicBezTo>
                <a:cubicBezTo>
                  <a:pt x="536" y="19"/>
                  <a:pt x="536" y="19"/>
                  <a:pt x="536" y="19"/>
                </a:cubicBezTo>
                <a:cubicBezTo>
                  <a:pt x="536" y="20"/>
                  <a:pt x="536" y="20"/>
                  <a:pt x="536" y="20"/>
                </a:cubicBezTo>
                <a:cubicBezTo>
                  <a:pt x="537" y="20"/>
                  <a:pt x="537" y="20"/>
                  <a:pt x="537" y="20"/>
                </a:cubicBezTo>
                <a:cubicBezTo>
                  <a:pt x="537" y="18"/>
                  <a:pt x="537" y="18"/>
                  <a:pt x="537" y="18"/>
                </a:cubicBezTo>
                <a:cubicBezTo>
                  <a:pt x="539" y="17"/>
                  <a:pt x="539" y="17"/>
                  <a:pt x="539" y="17"/>
                </a:cubicBezTo>
                <a:cubicBezTo>
                  <a:pt x="539" y="18"/>
                  <a:pt x="539" y="18"/>
                  <a:pt x="539" y="18"/>
                </a:cubicBezTo>
                <a:cubicBezTo>
                  <a:pt x="538" y="19"/>
                  <a:pt x="538" y="19"/>
                  <a:pt x="538" y="19"/>
                </a:cubicBezTo>
                <a:cubicBezTo>
                  <a:pt x="538" y="20"/>
                  <a:pt x="538" y="20"/>
                  <a:pt x="538" y="20"/>
                </a:cubicBezTo>
                <a:cubicBezTo>
                  <a:pt x="538" y="20"/>
                  <a:pt x="538" y="20"/>
                  <a:pt x="538" y="20"/>
                </a:cubicBezTo>
                <a:cubicBezTo>
                  <a:pt x="538" y="21"/>
                  <a:pt x="538" y="21"/>
                  <a:pt x="538" y="21"/>
                </a:cubicBezTo>
                <a:cubicBezTo>
                  <a:pt x="539" y="21"/>
                  <a:pt x="539" y="21"/>
                  <a:pt x="539" y="21"/>
                </a:cubicBezTo>
                <a:cubicBezTo>
                  <a:pt x="540" y="20"/>
                  <a:pt x="540" y="20"/>
                  <a:pt x="540" y="20"/>
                </a:cubicBezTo>
                <a:cubicBezTo>
                  <a:pt x="540" y="19"/>
                  <a:pt x="540" y="19"/>
                  <a:pt x="540" y="19"/>
                </a:cubicBezTo>
                <a:cubicBezTo>
                  <a:pt x="541" y="19"/>
                  <a:pt x="541" y="19"/>
                  <a:pt x="541" y="19"/>
                </a:cubicBezTo>
                <a:cubicBezTo>
                  <a:pt x="543" y="19"/>
                  <a:pt x="543" y="19"/>
                  <a:pt x="543" y="19"/>
                </a:cubicBezTo>
                <a:cubicBezTo>
                  <a:pt x="542" y="22"/>
                  <a:pt x="542" y="22"/>
                  <a:pt x="542" y="22"/>
                </a:cubicBezTo>
                <a:cubicBezTo>
                  <a:pt x="541" y="22"/>
                  <a:pt x="541" y="22"/>
                  <a:pt x="541" y="22"/>
                </a:cubicBezTo>
                <a:cubicBezTo>
                  <a:pt x="542" y="22"/>
                  <a:pt x="542" y="22"/>
                  <a:pt x="542" y="22"/>
                </a:cubicBezTo>
                <a:cubicBezTo>
                  <a:pt x="542" y="24"/>
                  <a:pt x="542" y="24"/>
                  <a:pt x="542" y="24"/>
                </a:cubicBezTo>
                <a:cubicBezTo>
                  <a:pt x="542" y="25"/>
                  <a:pt x="542" y="25"/>
                  <a:pt x="542" y="25"/>
                </a:cubicBezTo>
                <a:cubicBezTo>
                  <a:pt x="541" y="26"/>
                  <a:pt x="541" y="26"/>
                  <a:pt x="541" y="26"/>
                </a:cubicBezTo>
                <a:cubicBezTo>
                  <a:pt x="540" y="27"/>
                  <a:pt x="540" y="27"/>
                  <a:pt x="540" y="27"/>
                </a:cubicBezTo>
                <a:cubicBezTo>
                  <a:pt x="539" y="29"/>
                  <a:pt x="539" y="29"/>
                  <a:pt x="539" y="29"/>
                </a:cubicBezTo>
                <a:cubicBezTo>
                  <a:pt x="539" y="30"/>
                  <a:pt x="539" y="30"/>
                  <a:pt x="539" y="30"/>
                </a:cubicBezTo>
                <a:cubicBezTo>
                  <a:pt x="540" y="29"/>
                  <a:pt x="540" y="29"/>
                  <a:pt x="540" y="29"/>
                </a:cubicBezTo>
                <a:cubicBezTo>
                  <a:pt x="541" y="28"/>
                  <a:pt x="541" y="28"/>
                  <a:pt x="541" y="28"/>
                </a:cubicBezTo>
                <a:cubicBezTo>
                  <a:pt x="542" y="28"/>
                  <a:pt x="542" y="28"/>
                  <a:pt x="542" y="28"/>
                </a:cubicBezTo>
                <a:cubicBezTo>
                  <a:pt x="542" y="28"/>
                  <a:pt x="542" y="28"/>
                  <a:pt x="542" y="28"/>
                </a:cubicBezTo>
                <a:cubicBezTo>
                  <a:pt x="543" y="28"/>
                  <a:pt x="543" y="28"/>
                  <a:pt x="543" y="28"/>
                </a:cubicBezTo>
                <a:cubicBezTo>
                  <a:pt x="545" y="29"/>
                  <a:pt x="545" y="29"/>
                  <a:pt x="545" y="29"/>
                </a:cubicBezTo>
                <a:cubicBezTo>
                  <a:pt x="545" y="30"/>
                  <a:pt x="545" y="30"/>
                  <a:pt x="545" y="30"/>
                </a:cubicBezTo>
                <a:cubicBezTo>
                  <a:pt x="546" y="32"/>
                  <a:pt x="546" y="32"/>
                  <a:pt x="546" y="32"/>
                </a:cubicBezTo>
                <a:cubicBezTo>
                  <a:pt x="545" y="35"/>
                  <a:pt x="545" y="35"/>
                  <a:pt x="545" y="35"/>
                </a:cubicBezTo>
                <a:cubicBezTo>
                  <a:pt x="544" y="38"/>
                  <a:pt x="544" y="38"/>
                  <a:pt x="544" y="38"/>
                </a:cubicBezTo>
                <a:cubicBezTo>
                  <a:pt x="541" y="39"/>
                  <a:pt x="541" y="39"/>
                  <a:pt x="541" y="39"/>
                </a:cubicBezTo>
                <a:cubicBezTo>
                  <a:pt x="541" y="40"/>
                  <a:pt x="541" y="40"/>
                  <a:pt x="541" y="40"/>
                </a:cubicBezTo>
                <a:cubicBezTo>
                  <a:pt x="540" y="39"/>
                  <a:pt x="540" y="39"/>
                  <a:pt x="540" y="39"/>
                </a:cubicBezTo>
                <a:cubicBezTo>
                  <a:pt x="538" y="40"/>
                  <a:pt x="538" y="40"/>
                  <a:pt x="538" y="40"/>
                </a:cubicBezTo>
                <a:cubicBezTo>
                  <a:pt x="538" y="40"/>
                  <a:pt x="538" y="40"/>
                  <a:pt x="538" y="40"/>
                </a:cubicBezTo>
                <a:cubicBezTo>
                  <a:pt x="538" y="41"/>
                  <a:pt x="538" y="41"/>
                  <a:pt x="538" y="41"/>
                </a:cubicBezTo>
                <a:cubicBezTo>
                  <a:pt x="534" y="43"/>
                  <a:pt x="534" y="43"/>
                  <a:pt x="534" y="43"/>
                </a:cubicBezTo>
                <a:cubicBezTo>
                  <a:pt x="532" y="44"/>
                  <a:pt x="532" y="44"/>
                  <a:pt x="532" y="44"/>
                </a:cubicBezTo>
                <a:cubicBezTo>
                  <a:pt x="531" y="44"/>
                  <a:pt x="531" y="44"/>
                  <a:pt x="531" y="44"/>
                </a:cubicBezTo>
                <a:cubicBezTo>
                  <a:pt x="530" y="45"/>
                  <a:pt x="530" y="45"/>
                  <a:pt x="530" y="45"/>
                </a:cubicBezTo>
                <a:cubicBezTo>
                  <a:pt x="528" y="45"/>
                  <a:pt x="528" y="45"/>
                  <a:pt x="528" y="45"/>
                </a:cubicBezTo>
                <a:cubicBezTo>
                  <a:pt x="527" y="44"/>
                  <a:pt x="527" y="44"/>
                  <a:pt x="527" y="44"/>
                </a:cubicBezTo>
                <a:cubicBezTo>
                  <a:pt x="526" y="45"/>
                  <a:pt x="526" y="45"/>
                  <a:pt x="526" y="45"/>
                </a:cubicBezTo>
                <a:cubicBezTo>
                  <a:pt x="526" y="46"/>
                  <a:pt x="526" y="46"/>
                  <a:pt x="526" y="46"/>
                </a:cubicBezTo>
                <a:cubicBezTo>
                  <a:pt x="524" y="45"/>
                  <a:pt x="524" y="45"/>
                  <a:pt x="524" y="45"/>
                </a:cubicBezTo>
                <a:cubicBezTo>
                  <a:pt x="523" y="44"/>
                  <a:pt x="523" y="44"/>
                  <a:pt x="523" y="44"/>
                </a:cubicBezTo>
                <a:cubicBezTo>
                  <a:pt x="521" y="44"/>
                  <a:pt x="521" y="44"/>
                  <a:pt x="521" y="44"/>
                </a:cubicBezTo>
                <a:cubicBezTo>
                  <a:pt x="521" y="44"/>
                  <a:pt x="521" y="44"/>
                  <a:pt x="521" y="44"/>
                </a:cubicBezTo>
                <a:cubicBezTo>
                  <a:pt x="522" y="45"/>
                  <a:pt x="522" y="45"/>
                  <a:pt x="522" y="45"/>
                </a:cubicBezTo>
                <a:cubicBezTo>
                  <a:pt x="523" y="45"/>
                  <a:pt x="523" y="45"/>
                  <a:pt x="523" y="45"/>
                </a:cubicBezTo>
                <a:cubicBezTo>
                  <a:pt x="522" y="46"/>
                  <a:pt x="522" y="46"/>
                  <a:pt x="522" y="46"/>
                </a:cubicBezTo>
                <a:cubicBezTo>
                  <a:pt x="520" y="45"/>
                  <a:pt x="520" y="45"/>
                  <a:pt x="520" y="45"/>
                </a:cubicBezTo>
                <a:cubicBezTo>
                  <a:pt x="520" y="45"/>
                  <a:pt x="520" y="45"/>
                  <a:pt x="520" y="45"/>
                </a:cubicBezTo>
                <a:cubicBezTo>
                  <a:pt x="519" y="45"/>
                  <a:pt x="519" y="45"/>
                  <a:pt x="519" y="45"/>
                </a:cubicBezTo>
                <a:cubicBezTo>
                  <a:pt x="517" y="45"/>
                  <a:pt x="517" y="45"/>
                  <a:pt x="517" y="45"/>
                </a:cubicBezTo>
                <a:cubicBezTo>
                  <a:pt x="516" y="44"/>
                  <a:pt x="516" y="44"/>
                  <a:pt x="516" y="44"/>
                </a:cubicBezTo>
                <a:cubicBezTo>
                  <a:pt x="515" y="44"/>
                  <a:pt x="515" y="44"/>
                  <a:pt x="515" y="44"/>
                </a:cubicBezTo>
                <a:cubicBezTo>
                  <a:pt x="514" y="44"/>
                  <a:pt x="514" y="44"/>
                  <a:pt x="514" y="44"/>
                </a:cubicBezTo>
                <a:cubicBezTo>
                  <a:pt x="513" y="42"/>
                  <a:pt x="513" y="42"/>
                  <a:pt x="513" y="42"/>
                </a:cubicBezTo>
                <a:cubicBezTo>
                  <a:pt x="511" y="41"/>
                  <a:pt x="511" y="41"/>
                  <a:pt x="511" y="41"/>
                </a:cubicBezTo>
                <a:cubicBezTo>
                  <a:pt x="512" y="42"/>
                  <a:pt x="512" y="42"/>
                  <a:pt x="512" y="42"/>
                </a:cubicBezTo>
                <a:cubicBezTo>
                  <a:pt x="513" y="44"/>
                  <a:pt x="513" y="44"/>
                  <a:pt x="513" y="44"/>
                </a:cubicBezTo>
                <a:cubicBezTo>
                  <a:pt x="513" y="44"/>
                  <a:pt x="513" y="44"/>
                  <a:pt x="513" y="44"/>
                </a:cubicBezTo>
                <a:cubicBezTo>
                  <a:pt x="512" y="44"/>
                  <a:pt x="512" y="44"/>
                  <a:pt x="512" y="44"/>
                </a:cubicBezTo>
                <a:cubicBezTo>
                  <a:pt x="510" y="44"/>
                  <a:pt x="510" y="44"/>
                  <a:pt x="510" y="44"/>
                </a:cubicBezTo>
                <a:cubicBezTo>
                  <a:pt x="511" y="45"/>
                  <a:pt x="511" y="45"/>
                  <a:pt x="511" y="45"/>
                </a:cubicBezTo>
                <a:cubicBezTo>
                  <a:pt x="515" y="45"/>
                  <a:pt x="515" y="45"/>
                  <a:pt x="515" y="45"/>
                </a:cubicBezTo>
                <a:cubicBezTo>
                  <a:pt x="517" y="46"/>
                  <a:pt x="517" y="46"/>
                  <a:pt x="517" y="46"/>
                </a:cubicBezTo>
                <a:cubicBezTo>
                  <a:pt x="518" y="47"/>
                  <a:pt x="518" y="47"/>
                  <a:pt x="518" y="47"/>
                </a:cubicBezTo>
                <a:cubicBezTo>
                  <a:pt x="517" y="47"/>
                  <a:pt x="517" y="47"/>
                  <a:pt x="517" y="47"/>
                </a:cubicBezTo>
                <a:cubicBezTo>
                  <a:pt x="512" y="50"/>
                  <a:pt x="512" y="50"/>
                  <a:pt x="512" y="50"/>
                </a:cubicBezTo>
                <a:cubicBezTo>
                  <a:pt x="508" y="50"/>
                  <a:pt x="508" y="50"/>
                  <a:pt x="508" y="50"/>
                </a:cubicBezTo>
                <a:cubicBezTo>
                  <a:pt x="507" y="50"/>
                  <a:pt x="507" y="50"/>
                  <a:pt x="507" y="50"/>
                </a:cubicBezTo>
                <a:cubicBezTo>
                  <a:pt x="505" y="51"/>
                  <a:pt x="505" y="51"/>
                  <a:pt x="505" y="51"/>
                </a:cubicBezTo>
                <a:cubicBezTo>
                  <a:pt x="503" y="50"/>
                  <a:pt x="503" y="50"/>
                  <a:pt x="503" y="50"/>
                </a:cubicBezTo>
                <a:cubicBezTo>
                  <a:pt x="503" y="50"/>
                  <a:pt x="503" y="50"/>
                  <a:pt x="503" y="50"/>
                </a:cubicBezTo>
                <a:cubicBezTo>
                  <a:pt x="502" y="50"/>
                  <a:pt x="502" y="50"/>
                  <a:pt x="502" y="50"/>
                </a:cubicBezTo>
                <a:cubicBezTo>
                  <a:pt x="501" y="50"/>
                  <a:pt x="501" y="50"/>
                  <a:pt x="501" y="50"/>
                </a:cubicBezTo>
                <a:cubicBezTo>
                  <a:pt x="500" y="50"/>
                  <a:pt x="500" y="50"/>
                  <a:pt x="500" y="50"/>
                </a:cubicBezTo>
                <a:cubicBezTo>
                  <a:pt x="499" y="51"/>
                  <a:pt x="499" y="51"/>
                  <a:pt x="499" y="51"/>
                </a:cubicBezTo>
                <a:cubicBezTo>
                  <a:pt x="500" y="51"/>
                  <a:pt x="500" y="51"/>
                  <a:pt x="500" y="51"/>
                </a:cubicBezTo>
                <a:cubicBezTo>
                  <a:pt x="501" y="52"/>
                  <a:pt x="501" y="52"/>
                  <a:pt x="501" y="52"/>
                </a:cubicBezTo>
                <a:cubicBezTo>
                  <a:pt x="502" y="51"/>
                  <a:pt x="502" y="51"/>
                  <a:pt x="502" y="51"/>
                </a:cubicBezTo>
                <a:cubicBezTo>
                  <a:pt x="506" y="51"/>
                  <a:pt x="506" y="51"/>
                  <a:pt x="506" y="51"/>
                </a:cubicBezTo>
                <a:cubicBezTo>
                  <a:pt x="507" y="51"/>
                  <a:pt x="507" y="51"/>
                  <a:pt x="507" y="51"/>
                </a:cubicBezTo>
                <a:cubicBezTo>
                  <a:pt x="512" y="51"/>
                  <a:pt x="512" y="51"/>
                  <a:pt x="512" y="51"/>
                </a:cubicBezTo>
                <a:cubicBezTo>
                  <a:pt x="515" y="51"/>
                  <a:pt x="515" y="51"/>
                  <a:pt x="515" y="51"/>
                </a:cubicBezTo>
                <a:cubicBezTo>
                  <a:pt x="517" y="49"/>
                  <a:pt x="517" y="49"/>
                  <a:pt x="517" y="49"/>
                </a:cubicBezTo>
                <a:cubicBezTo>
                  <a:pt x="519" y="49"/>
                  <a:pt x="519" y="49"/>
                  <a:pt x="519" y="49"/>
                </a:cubicBezTo>
                <a:cubicBezTo>
                  <a:pt x="520" y="49"/>
                  <a:pt x="520" y="49"/>
                  <a:pt x="520" y="49"/>
                </a:cubicBezTo>
                <a:cubicBezTo>
                  <a:pt x="521" y="49"/>
                  <a:pt x="521" y="49"/>
                  <a:pt x="521" y="49"/>
                </a:cubicBezTo>
                <a:cubicBezTo>
                  <a:pt x="523" y="49"/>
                  <a:pt x="523" y="49"/>
                  <a:pt x="523" y="49"/>
                </a:cubicBezTo>
                <a:cubicBezTo>
                  <a:pt x="522" y="50"/>
                  <a:pt x="522" y="50"/>
                  <a:pt x="522" y="50"/>
                </a:cubicBezTo>
                <a:cubicBezTo>
                  <a:pt x="521" y="52"/>
                  <a:pt x="521" y="52"/>
                  <a:pt x="521" y="52"/>
                </a:cubicBezTo>
                <a:cubicBezTo>
                  <a:pt x="519" y="53"/>
                  <a:pt x="519" y="53"/>
                  <a:pt x="519" y="53"/>
                </a:cubicBezTo>
                <a:cubicBezTo>
                  <a:pt x="519" y="54"/>
                  <a:pt x="519" y="54"/>
                  <a:pt x="519" y="54"/>
                </a:cubicBezTo>
                <a:cubicBezTo>
                  <a:pt x="516" y="54"/>
                  <a:pt x="516" y="54"/>
                  <a:pt x="516" y="54"/>
                </a:cubicBezTo>
                <a:cubicBezTo>
                  <a:pt x="515" y="56"/>
                  <a:pt x="515" y="56"/>
                  <a:pt x="515" y="56"/>
                </a:cubicBezTo>
                <a:cubicBezTo>
                  <a:pt x="514" y="56"/>
                  <a:pt x="514" y="56"/>
                  <a:pt x="514" y="56"/>
                </a:cubicBezTo>
                <a:cubicBezTo>
                  <a:pt x="513" y="57"/>
                  <a:pt x="513" y="57"/>
                  <a:pt x="513" y="57"/>
                </a:cubicBezTo>
                <a:cubicBezTo>
                  <a:pt x="511" y="58"/>
                  <a:pt x="511" y="58"/>
                  <a:pt x="511" y="58"/>
                </a:cubicBezTo>
                <a:cubicBezTo>
                  <a:pt x="510" y="58"/>
                  <a:pt x="510" y="58"/>
                  <a:pt x="510" y="58"/>
                </a:cubicBezTo>
                <a:cubicBezTo>
                  <a:pt x="509" y="58"/>
                  <a:pt x="509" y="58"/>
                  <a:pt x="509" y="58"/>
                </a:cubicBezTo>
                <a:cubicBezTo>
                  <a:pt x="507" y="58"/>
                  <a:pt x="507" y="58"/>
                  <a:pt x="507" y="58"/>
                </a:cubicBezTo>
                <a:cubicBezTo>
                  <a:pt x="506" y="59"/>
                  <a:pt x="506" y="59"/>
                  <a:pt x="506" y="59"/>
                </a:cubicBezTo>
                <a:cubicBezTo>
                  <a:pt x="504" y="60"/>
                  <a:pt x="504" y="60"/>
                  <a:pt x="504" y="60"/>
                </a:cubicBezTo>
                <a:cubicBezTo>
                  <a:pt x="503" y="61"/>
                  <a:pt x="503" y="61"/>
                  <a:pt x="503" y="61"/>
                </a:cubicBezTo>
                <a:cubicBezTo>
                  <a:pt x="501" y="62"/>
                  <a:pt x="501" y="62"/>
                  <a:pt x="501" y="62"/>
                </a:cubicBezTo>
                <a:cubicBezTo>
                  <a:pt x="500" y="62"/>
                  <a:pt x="500" y="62"/>
                  <a:pt x="500" y="62"/>
                </a:cubicBezTo>
                <a:cubicBezTo>
                  <a:pt x="499" y="62"/>
                  <a:pt x="499" y="62"/>
                  <a:pt x="499" y="62"/>
                </a:cubicBezTo>
                <a:cubicBezTo>
                  <a:pt x="498" y="63"/>
                  <a:pt x="498" y="63"/>
                  <a:pt x="498" y="63"/>
                </a:cubicBezTo>
                <a:cubicBezTo>
                  <a:pt x="496" y="63"/>
                  <a:pt x="496" y="63"/>
                  <a:pt x="496" y="63"/>
                </a:cubicBezTo>
                <a:cubicBezTo>
                  <a:pt x="496" y="63"/>
                  <a:pt x="496" y="63"/>
                  <a:pt x="496" y="63"/>
                </a:cubicBezTo>
                <a:cubicBezTo>
                  <a:pt x="496" y="65"/>
                  <a:pt x="496" y="65"/>
                  <a:pt x="496" y="65"/>
                </a:cubicBezTo>
                <a:cubicBezTo>
                  <a:pt x="495" y="66"/>
                  <a:pt x="495" y="66"/>
                  <a:pt x="495" y="66"/>
                </a:cubicBezTo>
                <a:cubicBezTo>
                  <a:pt x="494" y="67"/>
                  <a:pt x="494" y="67"/>
                  <a:pt x="494" y="67"/>
                </a:cubicBezTo>
                <a:cubicBezTo>
                  <a:pt x="491" y="67"/>
                  <a:pt x="491" y="67"/>
                  <a:pt x="491" y="67"/>
                </a:cubicBezTo>
                <a:cubicBezTo>
                  <a:pt x="490" y="67"/>
                  <a:pt x="490" y="67"/>
                  <a:pt x="490" y="67"/>
                </a:cubicBezTo>
                <a:cubicBezTo>
                  <a:pt x="489" y="67"/>
                  <a:pt x="489" y="67"/>
                  <a:pt x="489" y="67"/>
                </a:cubicBezTo>
                <a:cubicBezTo>
                  <a:pt x="489" y="66"/>
                  <a:pt x="489" y="66"/>
                  <a:pt x="489" y="66"/>
                </a:cubicBezTo>
                <a:cubicBezTo>
                  <a:pt x="490" y="66"/>
                  <a:pt x="490" y="66"/>
                  <a:pt x="490" y="66"/>
                </a:cubicBezTo>
                <a:cubicBezTo>
                  <a:pt x="490" y="65"/>
                  <a:pt x="490" y="65"/>
                  <a:pt x="490" y="65"/>
                </a:cubicBezTo>
                <a:cubicBezTo>
                  <a:pt x="489" y="64"/>
                  <a:pt x="489" y="64"/>
                  <a:pt x="489" y="64"/>
                </a:cubicBezTo>
                <a:cubicBezTo>
                  <a:pt x="489" y="66"/>
                  <a:pt x="489" y="66"/>
                  <a:pt x="489" y="66"/>
                </a:cubicBezTo>
                <a:cubicBezTo>
                  <a:pt x="488" y="66"/>
                  <a:pt x="488" y="66"/>
                  <a:pt x="488" y="66"/>
                </a:cubicBezTo>
                <a:cubicBezTo>
                  <a:pt x="488" y="67"/>
                  <a:pt x="488" y="67"/>
                  <a:pt x="488" y="67"/>
                </a:cubicBezTo>
                <a:cubicBezTo>
                  <a:pt x="489" y="68"/>
                  <a:pt x="489" y="68"/>
                  <a:pt x="489" y="68"/>
                </a:cubicBezTo>
                <a:cubicBezTo>
                  <a:pt x="490" y="69"/>
                  <a:pt x="490" y="69"/>
                  <a:pt x="490" y="69"/>
                </a:cubicBezTo>
                <a:cubicBezTo>
                  <a:pt x="489" y="70"/>
                  <a:pt x="489" y="70"/>
                  <a:pt x="489" y="70"/>
                </a:cubicBezTo>
                <a:cubicBezTo>
                  <a:pt x="488" y="70"/>
                  <a:pt x="488" y="70"/>
                  <a:pt x="488" y="70"/>
                </a:cubicBezTo>
                <a:cubicBezTo>
                  <a:pt x="487" y="69"/>
                  <a:pt x="487" y="69"/>
                  <a:pt x="487" y="69"/>
                </a:cubicBezTo>
                <a:cubicBezTo>
                  <a:pt x="486" y="70"/>
                  <a:pt x="486" y="70"/>
                  <a:pt x="486" y="70"/>
                </a:cubicBezTo>
                <a:cubicBezTo>
                  <a:pt x="484" y="69"/>
                  <a:pt x="484" y="69"/>
                  <a:pt x="484" y="69"/>
                </a:cubicBezTo>
                <a:cubicBezTo>
                  <a:pt x="483" y="70"/>
                  <a:pt x="483" y="70"/>
                  <a:pt x="483" y="70"/>
                </a:cubicBezTo>
                <a:cubicBezTo>
                  <a:pt x="482" y="70"/>
                  <a:pt x="482" y="70"/>
                  <a:pt x="482" y="70"/>
                </a:cubicBezTo>
                <a:cubicBezTo>
                  <a:pt x="482" y="69"/>
                  <a:pt x="482" y="69"/>
                  <a:pt x="482" y="69"/>
                </a:cubicBezTo>
                <a:cubicBezTo>
                  <a:pt x="482" y="68"/>
                  <a:pt x="482" y="68"/>
                  <a:pt x="482" y="68"/>
                </a:cubicBezTo>
                <a:cubicBezTo>
                  <a:pt x="481" y="69"/>
                  <a:pt x="481" y="69"/>
                  <a:pt x="481" y="69"/>
                </a:cubicBezTo>
                <a:cubicBezTo>
                  <a:pt x="480" y="70"/>
                  <a:pt x="480" y="70"/>
                  <a:pt x="480" y="70"/>
                </a:cubicBezTo>
                <a:cubicBezTo>
                  <a:pt x="480" y="70"/>
                  <a:pt x="480" y="70"/>
                  <a:pt x="480" y="70"/>
                </a:cubicBezTo>
                <a:cubicBezTo>
                  <a:pt x="482" y="71"/>
                  <a:pt x="482" y="71"/>
                  <a:pt x="482" y="71"/>
                </a:cubicBezTo>
                <a:cubicBezTo>
                  <a:pt x="485" y="71"/>
                  <a:pt x="485" y="71"/>
                  <a:pt x="485" y="71"/>
                </a:cubicBezTo>
                <a:cubicBezTo>
                  <a:pt x="486" y="72"/>
                  <a:pt x="486" y="72"/>
                  <a:pt x="486" y="72"/>
                </a:cubicBezTo>
                <a:cubicBezTo>
                  <a:pt x="486" y="73"/>
                  <a:pt x="486" y="73"/>
                  <a:pt x="486" y="73"/>
                </a:cubicBezTo>
                <a:cubicBezTo>
                  <a:pt x="485" y="74"/>
                  <a:pt x="485" y="74"/>
                  <a:pt x="485" y="74"/>
                </a:cubicBezTo>
                <a:cubicBezTo>
                  <a:pt x="483" y="73"/>
                  <a:pt x="483" y="73"/>
                  <a:pt x="483" y="73"/>
                </a:cubicBezTo>
                <a:cubicBezTo>
                  <a:pt x="481" y="74"/>
                  <a:pt x="481" y="74"/>
                  <a:pt x="481" y="74"/>
                </a:cubicBezTo>
                <a:cubicBezTo>
                  <a:pt x="481" y="74"/>
                  <a:pt x="481" y="74"/>
                  <a:pt x="481" y="74"/>
                </a:cubicBezTo>
                <a:cubicBezTo>
                  <a:pt x="482" y="75"/>
                  <a:pt x="482" y="75"/>
                  <a:pt x="482" y="75"/>
                </a:cubicBezTo>
                <a:cubicBezTo>
                  <a:pt x="482" y="74"/>
                  <a:pt x="482" y="74"/>
                  <a:pt x="482" y="74"/>
                </a:cubicBezTo>
                <a:cubicBezTo>
                  <a:pt x="483" y="75"/>
                  <a:pt x="483" y="75"/>
                  <a:pt x="483" y="75"/>
                </a:cubicBezTo>
                <a:cubicBezTo>
                  <a:pt x="483" y="76"/>
                  <a:pt x="483" y="76"/>
                  <a:pt x="483" y="76"/>
                </a:cubicBezTo>
                <a:cubicBezTo>
                  <a:pt x="481" y="78"/>
                  <a:pt x="481" y="78"/>
                  <a:pt x="481" y="78"/>
                </a:cubicBezTo>
                <a:cubicBezTo>
                  <a:pt x="479" y="78"/>
                  <a:pt x="479" y="78"/>
                  <a:pt x="479" y="78"/>
                </a:cubicBezTo>
                <a:cubicBezTo>
                  <a:pt x="476" y="78"/>
                  <a:pt x="476" y="78"/>
                  <a:pt x="476" y="78"/>
                </a:cubicBezTo>
                <a:cubicBezTo>
                  <a:pt x="476" y="77"/>
                  <a:pt x="476" y="77"/>
                  <a:pt x="476" y="77"/>
                </a:cubicBezTo>
                <a:cubicBezTo>
                  <a:pt x="474" y="77"/>
                  <a:pt x="474" y="77"/>
                  <a:pt x="474" y="77"/>
                </a:cubicBezTo>
                <a:cubicBezTo>
                  <a:pt x="474" y="76"/>
                  <a:pt x="474" y="76"/>
                  <a:pt x="474" y="76"/>
                </a:cubicBezTo>
                <a:cubicBezTo>
                  <a:pt x="474" y="74"/>
                  <a:pt x="474" y="74"/>
                  <a:pt x="474" y="74"/>
                </a:cubicBezTo>
                <a:cubicBezTo>
                  <a:pt x="472" y="74"/>
                  <a:pt x="472" y="74"/>
                  <a:pt x="472" y="74"/>
                </a:cubicBezTo>
                <a:cubicBezTo>
                  <a:pt x="471" y="73"/>
                  <a:pt x="471" y="73"/>
                  <a:pt x="471" y="73"/>
                </a:cubicBezTo>
                <a:cubicBezTo>
                  <a:pt x="471" y="72"/>
                  <a:pt x="471" y="72"/>
                  <a:pt x="471" y="72"/>
                </a:cubicBezTo>
                <a:cubicBezTo>
                  <a:pt x="471" y="71"/>
                  <a:pt x="471" y="71"/>
                  <a:pt x="471" y="71"/>
                </a:cubicBezTo>
                <a:cubicBezTo>
                  <a:pt x="470" y="72"/>
                  <a:pt x="470" y="72"/>
                  <a:pt x="470" y="72"/>
                </a:cubicBezTo>
                <a:cubicBezTo>
                  <a:pt x="469" y="71"/>
                  <a:pt x="469" y="71"/>
                  <a:pt x="469" y="71"/>
                </a:cubicBezTo>
                <a:cubicBezTo>
                  <a:pt x="467" y="72"/>
                  <a:pt x="467" y="72"/>
                  <a:pt x="467" y="72"/>
                </a:cubicBezTo>
                <a:cubicBezTo>
                  <a:pt x="467" y="72"/>
                  <a:pt x="467" y="72"/>
                  <a:pt x="467" y="72"/>
                </a:cubicBezTo>
                <a:cubicBezTo>
                  <a:pt x="468" y="73"/>
                  <a:pt x="468" y="73"/>
                  <a:pt x="468" y="73"/>
                </a:cubicBezTo>
                <a:cubicBezTo>
                  <a:pt x="468" y="72"/>
                  <a:pt x="468" y="72"/>
                  <a:pt x="468" y="72"/>
                </a:cubicBezTo>
                <a:cubicBezTo>
                  <a:pt x="469" y="72"/>
                  <a:pt x="469" y="72"/>
                  <a:pt x="469" y="72"/>
                </a:cubicBezTo>
                <a:cubicBezTo>
                  <a:pt x="472" y="75"/>
                  <a:pt x="472" y="75"/>
                  <a:pt x="472" y="75"/>
                </a:cubicBezTo>
                <a:cubicBezTo>
                  <a:pt x="472" y="79"/>
                  <a:pt x="472" y="79"/>
                  <a:pt x="472" y="79"/>
                </a:cubicBezTo>
                <a:cubicBezTo>
                  <a:pt x="471" y="79"/>
                  <a:pt x="471" y="79"/>
                  <a:pt x="471" y="79"/>
                </a:cubicBezTo>
                <a:cubicBezTo>
                  <a:pt x="470" y="79"/>
                  <a:pt x="470" y="79"/>
                  <a:pt x="470" y="79"/>
                </a:cubicBezTo>
                <a:cubicBezTo>
                  <a:pt x="469" y="78"/>
                  <a:pt x="469" y="78"/>
                  <a:pt x="469" y="78"/>
                </a:cubicBezTo>
                <a:cubicBezTo>
                  <a:pt x="468" y="78"/>
                  <a:pt x="468" y="78"/>
                  <a:pt x="468" y="78"/>
                </a:cubicBezTo>
                <a:cubicBezTo>
                  <a:pt x="468" y="79"/>
                  <a:pt x="468" y="79"/>
                  <a:pt x="468" y="79"/>
                </a:cubicBezTo>
                <a:cubicBezTo>
                  <a:pt x="468" y="80"/>
                  <a:pt x="468" y="80"/>
                  <a:pt x="468" y="80"/>
                </a:cubicBezTo>
                <a:cubicBezTo>
                  <a:pt x="467" y="78"/>
                  <a:pt x="467" y="78"/>
                  <a:pt x="467" y="78"/>
                </a:cubicBezTo>
                <a:cubicBezTo>
                  <a:pt x="466" y="78"/>
                  <a:pt x="466" y="78"/>
                  <a:pt x="466" y="78"/>
                </a:cubicBezTo>
                <a:cubicBezTo>
                  <a:pt x="465" y="79"/>
                  <a:pt x="465" y="79"/>
                  <a:pt x="465" y="79"/>
                </a:cubicBezTo>
                <a:cubicBezTo>
                  <a:pt x="464" y="79"/>
                  <a:pt x="464" y="79"/>
                  <a:pt x="464" y="79"/>
                </a:cubicBezTo>
                <a:cubicBezTo>
                  <a:pt x="464" y="79"/>
                  <a:pt x="464" y="79"/>
                  <a:pt x="464" y="79"/>
                </a:cubicBezTo>
                <a:cubicBezTo>
                  <a:pt x="462" y="78"/>
                  <a:pt x="462" y="78"/>
                  <a:pt x="462" y="78"/>
                </a:cubicBezTo>
                <a:cubicBezTo>
                  <a:pt x="461" y="77"/>
                  <a:pt x="461" y="77"/>
                  <a:pt x="461" y="77"/>
                </a:cubicBezTo>
                <a:cubicBezTo>
                  <a:pt x="461" y="77"/>
                  <a:pt x="461" y="77"/>
                  <a:pt x="461" y="77"/>
                </a:cubicBezTo>
                <a:cubicBezTo>
                  <a:pt x="460" y="76"/>
                  <a:pt x="460" y="76"/>
                  <a:pt x="460" y="76"/>
                </a:cubicBezTo>
                <a:cubicBezTo>
                  <a:pt x="460" y="76"/>
                  <a:pt x="460" y="76"/>
                  <a:pt x="460" y="76"/>
                </a:cubicBezTo>
                <a:cubicBezTo>
                  <a:pt x="458" y="75"/>
                  <a:pt x="458" y="75"/>
                  <a:pt x="458" y="75"/>
                </a:cubicBezTo>
                <a:cubicBezTo>
                  <a:pt x="457" y="74"/>
                  <a:pt x="457" y="74"/>
                  <a:pt x="457" y="74"/>
                </a:cubicBezTo>
                <a:cubicBezTo>
                  <a:pt x="457" y="75"/>
                  <a:pt x="457" y="75"/>
                  <a:pt x="457" y="75"/>
                </a:cubicBezTo>
                <a:cubicBezTo>
                  <a:pt x="457" y="76"/>
                  <a:pt x="457" y="76"/>
                  <a:pt x="457" y="76"/>
                </a:cubicBezTo>
                <a:cubicBezTo>
                  <a:pt x="458" y="76"/>
                  <a:pt x="458" y="76"/>
                  <a:pt x="458" y="76"/>
                </a:cubicBezTo>
                <a:cubicBezTo>
                  <a:pt x="460" y="77"/>
                  <a:pt x="460" y="77"/>
                  <a:pt x="460" y="77"/>
                </a:cubicBezTo>
                <a:cubicBezTo>
                  <a:pt x="461" y="79"/>
                  <a:pt x="461" y="79"/>
                  <a:pt x="461" y="79"/>
                </a:cubicBezTo>
                <a:cubicBezTo>
                  <a:pt x="460" y="80"/>
                  <a:pt x="460" y="80"/>
                  <a:pt x="460" y="80"/>
                </a:cubicBezTo>
                <a:cubicBezTo>
                  <a:pt x="457" y="79"/>
                  <a:pt x="457" y="79"/>
                  <a:pt x="457" y="79"/>
                </a:cubicBezTo>
                <a:cubicBezTo>
                  <a:pt x="456" y="78"/>
                  <a:pt x="456" y="78"/>
                  <a:pt x="456" y="78"/>
                </a:cubicBezTo>
                <a:cubicBezTo>
                  <a:pt x="456" y="77"/>
                  <a:pt x="456" y="77"/>
                  <a:pt x="456" y="77"/>
                </a:cubicBezTo>
                <a:cubicBezTo>
                  <a:pt x="455" y="76"/>
                  <a:pt x="455" y="76"/>
                  <a:pt x="455" y="76"/>
                </a:cubicBezTo>
                <a:cubicBezTo>
                  <a:pt x="455" y="77"/>
                  <a:pt x="455" y="77"/>
                  <a:pt x="455" y="77"/>
                </a:cubicBezTo>
                <a:cubicBezTo>
                  <a:pt x="455" y="77"/>
                  <a:pt x="455" y="77"/>
                  <a:pt x="455" y="77"/>
                </a:cubicBezTo>
                <a:cubicBezTo>
                  <a:pt x="455" y="78"/>
                  <a:pt x="455" y="78"/>
                  <a:pt x="455" y="78"/>
                </a:cubicBezTo>
                <a:cubicBezTo>
                  <a:pt x="454" y="78"/>
                  <a:pt x="454" y="78"/>
                  <a:pt x="454" y="78"/>
                </a:cubicBezTo>
                <a:cubicBezTo>
                  <a:pt x="453" y="77"/>
                  <a:pt x="453" y="77"/>
                  <a:pt x="453" y="77"/>
                </a:cubicBezTo>
                <a:cubicBezTo>
                  <a:pt x="452" y="77"/>
                  <a:pt x="452" y="77"/>
                  <a:pt x="452" y="77"/>
                </a:cubicBezTo>
                <a:cubicBezTo>
                  <a:pt x="452" y="78"/>
                  <a:pt x="452" y="78"/>
                  <a:pt x="452" y="78"/>
                </a:cubicBezTo>
                <a:cubicBezTo>
                  <a:pt x="454" y="79"/>
                  <a:pt x="454" y="79"/>
                  <a:pt x="454" y="79"/>
                </a:cubicBezTo>
                <a:cubicBezTo>
                  <a:pt x="454" y="80"/>
                  <a:pt x="454" y="80"/>
                  <a:pt x="454" y="80"/>
                </a:cubicBezTo>
                <a:cubicBezTo>
                  <a:pt x="454" y="80"/>
                  <a:pt x="454" y="80"/>
                  <a:pt x="454" y="80"/>
                </a:cubicBezTo>
                <a:cubicBezTo>
                  <a:pt x="455" y="80"/>
                  <a:pt x="455" y="80"/>
                  <a:pt x="455" y="80"/>
                </a:cubicBezTo>
                <a:cubicBezTo>
                  <a:pt x="456" y="80"/>
                  <a:pt x="456" y="80"/>
                  <a:pt x="456" y="80"/>
                </a:cubicBezTo>
                <a:cubicBezTo>
                  <a:pt x="457" y="80"/>
                  <a:pt x="457" y="80"/>
                  <a:pt x="457" y="80"/>
                </a:cubicBezTo>
                <a:cubicBezTo>
                  <a:pt x="458" y="81"/>
                  <a:pt x="458" y="81"/>
                  <a:pt x="458" y="81"/>
                </a:cubicBezTo>
                <a:cubicBezTo>
                  <a:pt x="459" y="82"/>
                  <a:pt x="459" y="82"/>
                  <a:pt x="459" y="82"/>
                </a:cubicBezTo>
                <a:cubicBezTo>
                  <a:pt x="460" y="82"/>
                  <a:pt x="460" y="82"/>
                  <a:pt x="460" y="82"/>
                </a:cubicBezTo>
                <a:cubicBezTo>
                  <a:pt x="461" y="82"/>
                  <a:pt x="461" y="82"/>
                  <a:pt x="461" y="82"/>
                </a:cubicBezTo>
                <a:cubicBezTo>
                  <a:pt x="464" y="82"/>
                  <a:pt x="464" y="82"/>
                  <a:pt x="464" y="82"/>
                </a:cubicBezTo>
                <a:cubicBezTo>
                  <a:pt x="465" y="83"/>
                  <a:pt x="465" y="83"/>
                  <a:pt x="465" y="83"/>
                </a:cubicBezTo>
                <a:cubicBezTo>
                  <a:pt x="464" y="84"/>
                  <a:pt x="464" y="84"/>
                  <a:pt x="464" y="84"/>
                </a:cubicBezTo>
                <a:cubicBezTo>
                  <a:pt x="464" y="85"/>
                  <a:pt x="464" y="85"/>
                  <a:pt x="464" y="85"/>
                </a:cubicBezTo>
                <a:cubicBezTo>
                  <a:pt x="464" y="86"/>
                  <a:pt x="464" y="86"/>
                  <a:pt x="464" y="86"/>
                </a:cubicBezTo>
                <a:cubicBezTo>
                  <a:pt x="464" y="87"/>
                  <a:pt x="464" y="87"/>
                  <a:pt x="464" y="87"/>
                </a:cubicBezTo>
                <a:cubicBezTo>
                  <a:pt x="464" y="88"/>
                  <a:pt x="464" y="88"/>
                  <a:pt x="464" y="88"/>
                </a:cubicBezTo>
                <a:cubicBezTo>
                  <a:pt x="463" y="88"/>
                  <a:pt x="463" y="88"/>
                  <a:pt x="463" y="88"/>
                </a:cubicBezTo>
                <a:cubicBezTo>
                  <a:pt x="462" y="87"/>
                  <a:pt x="462" y="87"/>
                  <a:pt x="462" y="87"/>
                </a:cubicBezTo>
                <a:cubicBezTo>
                  <a:pt x="461" y="86"/>
                  <a:pt x="461" y="86"/>
                  <a:pt x="461" y="86"/>
                </a:cubicBezTo>
                <a:cubicBezTo>
                  <a:pt x="459" y="85"/>
                  <a:pt x="459" y="85"/>
                  <a:pt x="459" y="85"/>
                </a:cubicBezTo>
                <a:cubicBezTo>
                  <a:pt x="458" y="84"/>
                  <a:pt x="458" y="84"/>
                  <a:pt x="458" y="84"/>
                </a:cubicBezTo>
                <a:cubicBezTo>
                  <a:pt x="459" y="83"/>
                  <a:pt x="459" y="83"/>
                  <a:pt x="459" y="83"/>
                </a:cubicBezTo>
                <a:cubicBezTo>
                  <a:pt x="458" y="82"/>
                  <a:pt x="458" y="82"/>
                  <a:pt x="458" y="82"/>
                </a:cubicBezTo>
                <a:cubicBezTo>
                  <a:pt x="456" y="82"/>
                  <a:pt x="456" y="82"/>
                  <a:pt x="456" y="82"/>
                </a:cubicBezTo>
                <a:cubicBezTo>
                  <a:pt x="453" y="81"/>
                  <a:pt x="453" y="81"/>
                  <a:pt x="453" y="81"/>
                </a:cubicBezTo>
                <a:cubicBezTo>
                  <a:pt x="452" y="80"/>
                  <a:pt x="452" y="80"/>
                  <a:pt x="452" y="80"/>
                </a:cubicBezTo>
                <a:cubicBezTo>
                  <a:pt x="451" y="81"/>
                  <a:pt x="451" y="81"/>
                  <a:pt x="451" y="81"/>
                </a:cubicBezTo>
                <a:cubicBezTo>
                  <a:pt x="451" y="81"/>
                  <a:pt x="451" y="81"/>
                  <a:pt x="451" y="81"/>
                </a:cubicBezTo>
                <a:cubicBezTo>
                  <a:pt x="453" y="82"/>
                  <a:pt x="453" y="82"/>
                  <a:pt x="453" y="82"/>
                </a:cubicBezTo>
                <a:cubicBezTo>
                  <a:pt x="455" y="82"/>
                  <a:pt x="455" y="82"/>
                  <a:pt x="455" y="82"/>
                </a:cubicBezTo>
                <a:cubicBezTo>
                  <a:pt x="458" y="83"/>
                  <a:pt x="458" y="83"/>
                  <a:pt x="458" y="83"/>
                </a:cubicBezTo>
                <a:cubicBezTo>
                  <a:pt x="458" y="84"/>
                  <a:pt x="458" y="84"/>
                  <a:pt x="458" y="84"/>
                </a:cubicBezTo>
                <a:cubicBezTo>
                  <a:pt x="457" y="84"/>
                  <a:pt x="457" y="84"/>
                  <a:pt x="457" y="84"/>
                </a:cubicBezTo>
                <a:cubicBezTo>
                  <a:pt x="456" y="84"/>
                  <a:pt x="456" y="84"/>
                  <a:pt x="456" y="84"/>
                </a:cubicBezTo>
                <a:cubicBezTo>
                  <a:pt x="453" y="83"/>
                  <a:pt x="453" y="83"/>
                  <a:pt x="453" y="83"/>
                </a:cubicBezTo>
                <a:cubicBezTo>
                  <a:pt x="452" y="84"/>
                  <a:pt x="452" y="84"/>
                  <a:pt x="452" y="84"/>
                </a:cubicBezTo>
                <a:cubicBezTo>
                  <a:pt x="452" y="83"/>
                  <a:pt x="452" y="83"/>
                  <a:pt x="452" y="83"/>
                </a:cubicBezTo>
                <a:cubicBezTo>
                  <a:pt x="451" y="83"/>
                  <a:pt x="451" y="83"/>
                  <a:pt x="451" y="83"/>
                </a:cubicBezTo>
                <a:cubicBezTo>
                  <a:pt x="449" y="82"/>
                  <a:pt x="449" y="82"/>
                  <a:pt x="449" y="82"/>
                </a:cubicBezTo>
                <a:cubicBezTo>
                  <a:pt x="448" y="82"/>
                  <a:pt x="448" y="82"/>
                  <a:pt x="448" y="82"/>
                </a:cubicBezTo>
                <a:cubicBezTo>
                  <a:pt x="448" y="82"/>
                  <a:pt x="448" y="82"/>
                  <a:pt x="448" y="82"/>
                </a:cubicBezTo>
                <a:cubicBezTo>
                  <a:pt x="450" y="83"/>
                  <a:pt x="450" y="83"/>
                  <a:pt x="450" y="83"/>
                </a:cubicBezTo>
                <a:cubicBezTo>
                  <a:pt x="450" y="84"/>
                  <a:pt x="450" y="84"/>
                  <a:pt x="450" y="84"/>
                </a:cubicBezTo>
                <a:cubicBezTo>
                  <a:pt x="450" y="85"/>
                  <a:pt x="450" y="85"/>
                  <a:pt x="450" y="85"/>
                </a:cubicBezTo>
                <a:cubicBezTo>
                  <a:pt x="451" y="85"/>
                  <a:pt x="451" y="85"/>
                  <a:pt x="451" y="85"/>
                </a:cubicBezTo>
                <a:cubicBezTo>
                  <a:pt x="451" y="85"/>
                  <a:pt x="451" y="85"/>
                  <a:pt x="451" y="85"/>
                </a:cubicBezTo>
                <a:cubicBezTo>
                  <a:pt x="452" y="85"/>
                  <a:pt x="452" y="85"/>
                  <a:pt x="452" y="85"/>
                </a:cubicBezTo>
                <a:cubicBezTo>
                  <a:pt x="453" y="85"/>
                  <a:pt x="453" y="85"/>
                  <a:pt x="453" y="85"/>
                </a:cubicBezTo>
                <a:cubicBezTo>
                  <a:pt x="453" y="84"/>
                  <a:pt x="453" y="84"/>
                  <a:pt x="453" y="84"/>
                </a:cubicBezTo>
                <a:cubicBezTo>
                  <a:pt x="454" y="85"/>
                  <a:pt x="454" y="85"/>
                  <a:pt x="454" y="85"/>
                </a:cubicBezTo>
                <a:cubicBezTo>
                  <a:pt x="455" y="85"/>
                  <a:pt x="455" y="85"/>
                  <a:pt x="455" y="85"/>
                </a:cubicBezTo>
                <a:cubicBezTo>
                  <a:pt x="456" y="85"/>
                  <a:pt x="456" y="85"/>
                  <a:pt x="456" y="85"/>
                </a:cubicBezTo>
                <a:cubicBezTo>
                  <a:pt x="458" y="87"/>
                  <a:pt x="458" y="87"/>
                  <a:pt x="458" y="87"/>
                </a:cubicBezTo>
                <a:cubicBezTo>
                  <a:pt x="458" y="87"/>
                  <a:pt x="458" y="87"/>
                  <a:pt x="458" y="87"/>
                </a:cubicBezTo>
                <a:cubicBezTo>
                  <a:pt x="456" y="87"/>
                  <a:pt x="456" y="87"/>
                  <a:pt x="456" y="87"/>
                </a:cubicBezTo>
                <a:cubicBezTo>
                  <a:pt x="455" y="88"/>
                  <a:pt x="455" y="88"/>
                  <a:pt x="455" y="88"/>
                </a:cubicBezTo>
                <a:cubicBezTo>
                  <a:pt x="455" y="88"/>
                  <a:pt x="455" y="88"/>
                  <a:pt x="455" y="88"/>
                </a:cubicBezTo>
                <a:cubicBezTo>
                  <a:pt x="456" y="88"/>
                  <a:pt x="456" y="88"/>
                  <a:pt x="456" y="88"/>
                </a:cubicBezTo>
                <a:cubicBezTo>
                  <a:pt x="457" y="88"/>
                  <a:pt x="457" y="88"/>
                  <a:pt x="457" y="88"/>
                </a:cubicBezTo>
                <a:cubicBezTo>
                  <a:pt x="458" y="88"/>
                  <a:pt x="458" y="88"/>
                  <a:pt x="458" y="88"/>
                </a:cubicBezTo>
                <a:cubicBezTo>
                  <a:pt x="459" y="89"/>
                  <a:pt x="459" y="89"/>
                  <a:pt x="459" y="89"/>
                </a:cubicBezTo>
                <a:cubicBezTo>
                  <a:pt x="460" y="90"/>
                  <a:pt x="460" y="90"/>
                  <a:pt x="460" y="90"/>
                </a:cubicBezTo>
                <a:cubicBezTo>
                  <a:pt x="460" y="91"/>
                  <a:pt x="460" y="91"/>
                  <a:pt x="460" y="91"/>
                </a:cubicBezTo>
                <a:cubicBezTo>
                  <a:pt x="459" y="93"/>
                  <a:pt x="459" y="93"/>
                  <a:pt x="459" y="93"/>
                </a:cubicBezTo>
                <a:cubicBezTo>
                  <a:pt x="458" y="95"/>
                  <a:pt x="458" y="95"/>
                  <a:pt x="458" y="95"/>
                </a:cubicBezTo>
                <a:cubicBezTo>
                  <a:pt x="458" y="95"/>
                  <a:pt x="458" y="95"/>
                  <a:pt x="458" y="95"/>
                </a:cubicBezTo>
                <a:cubicBezTo>
                  <a:pt x="456" y="97"/>
                  <a:pt x="456" y="97"/>
                  <a:pt x="456" y="97"/>
                </a:cubicBezTo>
                <a:cubicBezTo>
                  <a:pt x="455" y="96"/>
                  <a:pt x="455" y="96"/>
                  <a:pt x="455" y="96"/>
                </a:cubicBezTo>
                <a:cubicBezTo>
                  <a:pt x="454" y="96"/>
                  <a:pt x="454" y="96"/>
                  <a:pt x="454" y="96"/>
                </a:cubicBezTo>
                <a:cubicBezTo>
                  <a:pt x="453" y="96"/>
                  <a:pt x="453" y="96"/>
                  <a:pt x="453" y="96"/>
                </a:cubicBezTo>
                <a:cubicBezTo>
                  <a:pt x="453" y="95"/>
                  <a:pt x="453" y="95"/>
                  <a:pt x="453" y="95"/>
                </a:cubicBezTo>
                <a:cubicBezTo>
                  <a:pt x="452" y="94"/>
                  <a:pt x="452" y="94"/>
                  <a:pt x="452" y="94"/>
                </a:cubicBezTo>
                <a:cubicBezTo>
                  <a:pt x="450" y="94"/>
                  <a:pt x="450" y="94"/>
                  <a:pt x="450" y="94"/>
                </a:cubicBezTo>
                <a:cubicBezTo>
                  <a:pt x="451" y="95"/>
                  <a:pt x="451" y="95"/>
                  <a:pt x="451" y="95"/>
                </a:cubicBezTo>
                <a:cubicBezTo>
                  <a:pt x="452" y="96"/>
                  <a:pt x="452" y="96"/>
                  <a:pt x="452" y="96"/>
                </a:cubicBezTo>
                <a:cubicBezTo>
                  <a:pt x="452" y="96"/>
                  <a:pt x="452" y="96"/>
                  <a:pt x="452" y="96"/>
                </a:cubicBezTo>
                <a:cubicBezTo>
                  <a:pt x="453" y="96"/>
                  <a:pt x="453" y="96"/>
                  <a:pt x="453" y="96"/>
                </a:cubicBezTo>
                <a:cubicBezTo>
                  <a:pt x="455" y="97"/>
                  <a:pt x="455" y="97"/>
                  <a:pt x="455" y="97"/>
                </a:cubicBezTo>
                <a:cubicBezTo>
                  <a:pt x="455" y="99"/>
                  <a:pt x="455" y="99"/>
                  <a:pt x="455" y="99"/>
                </a:cubicBezTo>
                <a:cubicBezTo>
                  <a:pt x="454" y="100"/>
                  <a:pt x="454" y="100"/>
                  <a:pt x="454" y="100"/>
                </a:cubicBezTo>
                <a:cubicBezTo>
                  <a:pt x="453" y="100"/>
                  <a:pt x="453" y="100"/>
                  <a:pt x="453" y="100"/>
                </a:cubicBezTo>
                <a:cubicBezTo>
                  <a:pt x="452" y="101"/>
                  <a:pt x="452" y="101"/>
                  <a:pt x="452" y="101"/>
                </a:cubicBezTo>
                <a:cubicBezTo>
                  <a:pt x="451" y="101"/>
                  <a:pt x="451" y="101"/>
                  <a:pt x="451" y="101"/>
                </a:cubicBezTo>
                <a:cubicBezTo>
                  <a:pt x="449" y="100"/>
                  <a:pt x="449" y="100"/>
                  <a:pt x="449" y="100"/>
                </a:cubicBezTo>
                <a:cubicBezTo>
                  <a:pt x="448" y="100"/>
                  <a:pt x="448" y="100"/>
                  <a:pt x="448" y="100"/>
                </a:cubicBezTo>
                <a:cubicBezTo>
                  <a:pt x="448" y="99"/>
                  <a:pt x="448" y="99"/>
                  <a:pt x="448" y="99"/>
                </a:cubicBezTo>
                <a:cubicBezTo>
                  <a:pt x="446" y="99"/>
                  <a:pt x="446" y="99"/>
                  <a:pt x="446" y="99"/>
                </a:cubicBezTo>
                <a:cubicBezTo>
                  <a:pt x="446" y="100"/>
                  <a:pt x="446" y="100"/>
                  <a:pt x="446" y="100"/>
                </a:cubicBezTo>
                <a:cubicBezTo>
                  <a:pt x="446" y="101"/>
                  <a:pt x="446" y="101"/>
                  <a:pt x="446" y="101"/>
                </a:cubicBezTo>
                <a:cubicBezTo>
                  <a:pt x="450" y="103"/>
                  <a:pt x="450" y="103"/>
                  <a:pt x="450" y="103"/>
                </a:cubicBezTo>
                <a:cubicBezTo>
                  <a:pt x="451" y="103"/>
                  <a:pt x="451" y="103"/>
                  <a:pt x="451" y="103"/>
                </a:cubicBezTo>
                <a:cubicBezTo>
                  <a:pt x="451" y="103"/>
                  <a:pt x="451" y="103"/>
                  <a:pt x="451" y="103"/>
                </a:cubicBezTo>
                <a:cubicBezTo>
                  <a:pt x="450" y="104"/>
                  <a:pt x="450" y="104"/>
                  <a:pt x="450" y="104"/>
                </a:cubicBezTo>
                <a:cubicBezTo>
                  <a:pt x="449" y="105"/>
                  <a:pt x="449" y="105"/>
                  <a:pt x="449" y="105"/>
                </a:cubicBezTo>
                <a:cubicBezTo>
                  <a:pt x="448" y="105"/>
                  <a:pt x="448" y="105"/>
                  <a:pt x="448" y="105"/>
                </a:cubicBezTo>
                <a:cubicBezTo>
                  <a:pt x="447" y="104"/>
                  <a:pt x="447" y="104"/>
                  <a:pt x="447" y="104"/>
                </a:cubicBezTo>
                <a:cubicBezTo>
                  <a:pt x="446" y="104"/>
                  <a:pt x="446" y="104"/>
                  <a:pt x="446" y="104"/>
                </a:cubicBezTo>
                <a:cubicBezTo>
                  <a:pt x="445" y="105"/>
                  <a:pt x="445" y="105"/>
                  <a:pt x="445" y="105"/>
                </a:cubicBezTo>
                <a:cubicBezTo>
                  <a:pt x="443" y="105"/>
                  <a:pt x="443" y="105"/>
                  <a:pt x="443" y="105"/>
                </a:cubicBezTo>
                <a:cubicBezTo>
                  <a:pt x="442" y="104"/>
                  <a:pt x="442" y="104"/>
                  <a:pt x="442" y="104"/>
                </a:cubicBezTo>
                <a:cubicBezTo>
                  <a:pt x="439" y="104"/>
                  <a:pt x="439" y="104"/>
                  <a:pt x="439" y="104"/>
                </a:cubicBezTo>
                <a:cubicBezTo>
                  <a:pt x="438" y="104"/>
                  <a:pt x="438" y="104"/>
                  <a:pt x="438" y="104"/>
                </a:cubicBezTo>
                <a:cubicBezTo>
                  <a:pt x="438" y="106"/>
                  <a:pt x="438" y="106"/>
                  <a:pt x="438" y="106"/>
                </a:cubicBezTo>
                <a:cubicBezTo>
                  <a:pt x="436" y="107"/>
                  <a:pt x="436" y="107"/>
                  <a:pt x="436" y="107"/>
                </a:cubicBezTo>
                <a:cubicBezTo>
                  <a:pt x="437" y="107"/>
                  <a:pt x="437" y="107"/>
                  <a:pt x="437" y="107"/>
                </a:cubicBezTo>
                <a:cubicBezTo>
                  <a:pt x="438" y="108"/>
                  <a:pt x="438" y="108"/>
                  <a:pt x="438" y="108"/>
                </a:cubicBezTo>
                <a:cubicBezTo>
                  <a:pt x="438" y="109"/>
                  <a:pt x="438" y="109"/>
                  <a:pt x="438" y="109"/>
                </a:cubicBezTo>
                <a:cubicBezTo>
                  <a:pt x="436" y="110"/>
                  <a:pt x="436" y="110"/>
                  <a:pt x="436" y="110"/>
                </a:cubicBezTo>
                <a:cubicBezTo>
                  <a:pt x="436" y="111"/>
                  <a:pt x="436" y="111"/>
                  <a:pt x="436" y="111"/>
                </a:cubicBezTo>
                <a:cubicBezTo>
                  <a:pt x="435" y="112"/>
                  <a:pt x="435" y="112"/>
                  <a:pt x="435" y="112"/>
                </a:cubicBezTo>
                <a:cubicBezTo>
                  <a:pt x="434" y="112"/>
                  <a:pt x="434" y="112"/>
                  <a:pt x="434" y="112"/>
                </a:cubicBezTo>
                <a:cubicBezTo>
                  <a:pt x="434" y="112"/>
                  <a:pt x="434" y="112"/>
                  <a:pt x="434" y="112"/>
                </a:cubicBezTo>
                <a:cubicBezTo>
                  <a:pt x="434" y="113"/>
                  <a:pt x="434" y="113"/>
                  <a:pt x="434" y="113"/>
                </a:cubicBezTo>
                <a:cubicBezTo>
                  <a:pt x="432" y="113"/>
                  <a:pt x="432" y="113"/>
                  <a:pt x="432" y="113"/>
                </a:cubicBezTo>
                <a:cubicBezTo>
                  <a:pt x="431" y="113"/>
                  <a:pt x="431" y="113"/>
                  <a:pt x="431" y="113"/>
                </a:cubicBezTo>
                <a:cubicBezTo>
                  <a:pt x="432" y="112"/>
                  <a:pt x="432" y="112"/>
                  <a:pt x="432" y="112"/>
                </a:cubicBezTo>
                <a:cubicBezTo>
                  <a:pt x="431" y="112"/>
                  <a:pt x="431" y="112"/>
                  <a:pt x="431" y="112"/>
                </a:cubicBezTo>
                <a:cubicBezTo>
                  <a:pt x="431" y="113"/>
                  <a:pt x="431" y="113"/>
                  <a:pt x="431" y="113"/>
                </a:cubicBezTo>
                <a:cubicBezTo>
                  <a:pt x="430" y="115"/>
                  <a:pt x="430" y="115"/>
                  <a:pt x="430" y="115"/>
                </a:cubicBezTo>
                <a:cubicBezTo>
                  <a:pt x="429" y="115"/>
                  <a:pt x="429" y="115"/>
                  <a:pt x="429" y="115"/>
                </a:cubicBezTo>
                <a:cubicBezTo>
                  <a:pt x="426" y="114"/>
                  <a:pt x="426" y="114"/>
                  <a:pt x="426" y="114"/>
                </a:cubicBezTo>
                <a:cubicBezTo>
                  <a:pt x="425" y="114"/>
                  <a:pt x="425" y="114"/>
                  <a:pt x="425" y="114"/>
                </a:cubicBezTo>
                <a:cubicBezTo>
                  <a:pt x="424" y="114"/>
                  <a:pt x="424" y="114"/>
                  <a:pt x="424" y="114"/>
                </a:cubicBezTo>
                <a:cubicBezTo>
                  <a:pt x="423" y="114"/>
                  <a:pt x="423" y="114"/>
                  <a:pt x="423" y="114"/>
                </a:cubicBezTo>
                <a:cubicBezTo>
                  <a:pt x="420" y="111"/>
                  <a:pt x="420" y="111"/>
                  <a:pt x="420" y="111"/>
                </a:cubicBezTo>
                <a:cubicBezTo>
                  <a:pt x="420" y="108"/>
                  <a:pt x="420" y="108"/>
                  <a:pt x="420" y="108"/>
                </a:cubicBezTo>
                <a:cubicBezTo>
                  <a:pt x="420" y="107"/>
                  <a:pt x="420" y="107"/>
                  <a:pt x="420" y="107"/>
                </a:cubicBezTo>
                <a:cubicBezTo>
                  <a:pt x="420" y="106"/>
                  <a:pt x="420" y="106"/>
                  <a:pt x="420" y="106"/>
                </a:cubicBezTo>
                <a:cubicBezTo>
                  <a:pt x="420" y="106"/>
                  <a:pt x="420" y="106"/>
                  <a:pt x="420" y="106"/>
                </a:cubicBezTo>
                <a:cubicBezTo>
                  <a:pt x="420" y="105"/>
                  <a:pt x="420" y="105"/>
                  <a:pt x="420" y="105"/>
                </a:cubicBezTo>
                <a:cubicBezTo>
                  <a:pt x="419" y="106"/>
                  <a:pt x="419" y="106"/>
                  <a:pt x="419" y="106"/>
                </a:cubicBezTo>
                <a:cubicBezTo>
                  <a:pt x="419" y="107"/>
                  <a:pt x="419" y="107"/>
                  <a:pt x="419" y="107"/>
                </a:cubicBezTo>
                <a:cubicBezTo>
                  <a:pt x="419" y="109"/>
                  <a:pt x="419" y="109"/>
                  <a:pt x="419" y="109"/>
                </a:cubicBezTo>
                <a:cubicBezTo>
                  <a:pt x="418" y="110"/>
                  <a:pt x="418" y="110"/>
                  <a:pt x="418" y="110"/>
                </a:cubicBezTo>
                <a:cubicBezTo>
                  <a:pt x="419" y="111"/>
                  <a:pt x="419" y="111"/>
                  <a:pt x="419" y="111"/>
                </a:cubicBezTo>
                <a:cubicBezTo>
                  <a:pt x="419" y="112"/>
                  <a:pt x="419" y="112"/>
                  <a:pt x="419" y="112"/>
                </a:cubicBezTo>
                <a:cubicBezTo>
                  <a:pt x="418" y="112"/>
                  <a:pt x="418" y="112"/>
                  <a:pt x="418" y="112"/>
                </a:cubicBezTo>
                <a:cubicBezTo>
                  <a:pt x="416" y="112"/>
                  <a:pt x="416" y="112"/>
                  <a:pt x="416" y="112"/>
                </a:cubicBezTo>
                <a:cubicBezTo>
                  <a:pt x="416" y="112"/>
                  <a:pt x="416" y="112"/>
                  <a:pt x="416" y="112"/>
                </a:cubicBezTo>
                <a:cubicBezTo>
                  <a:pt x="415" y="112"/>
                  <a:pt x="415" y="112"/>
                  <a:pt x="415" y="112"/>
                </a:cubicBezTo>
                <a:cubicBezTo>
                  <a:pt x="416" y="113"/>
                  <a:pt x="416" y="113"/>
                  <a:pt x="416" y="113"/>
                </a:cubicBezTo>
                <a:cubicBezTo>
                  <a:pt x="415" y="115"/>
                  <a:pt x="415" y="115"/>
                  <a:pt x="415" y="115"/>
                </a:cubicBezTo>
                <a:cubicBezTo>
                  <a:pt x="416" y="115"/>
                  <a:pt x="416" y="115"/>
                  <a:pt x="416" y="115"/>
                </a:cubicBezTo>
                <a:cubicBezTo>
                  <a:pt x="418" y="113"/>
                  <a:pt x="418" y="113"/>
                  <a:pt x="418" y="113"/>
                </a:cubicBezTo>
                <a:cubicBezTo>
                  <a:pt x="418" y="113"/>
                  <a:pt x="418" y="113"/>
                  <a:pt x="418" y="113"/>
                </a:cubicBezTo>
                <a:cubicBezTo>
                  <a:pt x="419" y="113"/>
                  <a:pt x="419" y="113"/>
                  <a:pt x="419" y="113"/>
                </a:cubicBezTo>
                <a:cubicBezTo>
                  <a:pt x="420" y="112"/>
                  <a:pt x="420" y="112"/>
                  <a:pt x="420" y="112"/>
                </a:cubicBezTo>
                <a:cubicBezTo>
                  <a:pt x="421" y="113"/>
                  <a:pt x="421" y="113"/>
                  <a:pt x="421" y="113"/>
                </a:cubicBezTo>
                <a:cubicBezTo>
                  <a:pt x="422" y="115"/>
                  <a:pt x="422" y="115"/>
                  <a:pt x="422" y="115"/>
                </a:cubicBezTo>
                <a:cubicBezTo>
                  <a:pt x="422" y="116"/>
                  <a:pt x="422" y="116"/>
                  <a:pt x="422" y="116"/>
                </a:cubicBezTo>
                <a:cubicBezTo>
                  <a:pt x="423" y="115"/>
                  <a:pt x="423" y="115"/>
                  <a:pt x="423" y="115"/>
                </a:cubicBezTo>
                <a:cubicBezTo>
                  <a:pt x="425" y="114"/>
                  <a:pt x="425" y="114"/>
                  <a:pt x="425" y="114"/>
                </a:cubicBezTo>
                <a:cubicBezTo>
                  <a:pt x="427" y="115"/>
                  <a:pt x="427" y="115"/>
                  <a:pt x="427" y="115"/>
                </a:cubicBezTo>
                <a:cubicBezTo>
                  <a:pt x="427" y="116"/>
                  <a:pt x="427" y="116"/>
                  <a:pt x="427" y="116"/>
                </a:cubicBezTo>
                <a:cubicBezTo>
                  <a:pt x="426" y="117"/>
                  <a:pt x="426" y="117"/>
                  <a:pt x="426" y="117"/>
                </a:cubicBezTo>
                <a:cubicBezTo>
                  <a:pt x="426" y="119"/>
                  <a:pt x="426" y="119"/>
                  <a:pt x="426" y="119"/>
                </a:cubicBezTo>
                <a:cubicBezTo>
                  <a:pt x="425" y="119"/>
                  <a:pt x="425" y="119"/>
                  <a:pt x="425" y="119"/>
                </a:cubicBezTo>
                <a:cubicBezTo>
                  <a:pt x="425" y="120"/>
                  <a:pt x="425" y="120"/>
                  <a:pt x="425" y="120"/>
                </a:cubicBezTo>
                <a:cubicBezTo>
                  <a:pt x="425" y="120"/>
                  <a:pt x="425" y="120"/>
                  <a:pt x="425" y="120"/>
                </a:cubicBezTo>
                <a:cubicBezTo>
                  <a:pt x="426" y="120"/>
                  <a:pt x="426" y="120"/>
                  <a:pt x="426" y="120"/>
                </a:cubicBezTo>
                <a:cubicBezTo>
                  <a:pt x="426" y="121"/>
                  <a:pt x="426" y="121"/>
                  <a:pt x="426" y="121"/>
                </a:cubicBezTo>
                <a:cubicBezTo>
                  <a:pt x="425" y="122"/>
                  <a:pt x="425" y="122"/>
                  <a:pt x="425" y="122"/>
                </a:cubicBezTo>
                <a:cubicBezTo>
                  <a:pt x="426" y="122"/>
                  <a:pt x="426" y="122"/>
                  <a:pt x="426" y="122"/>
                </a:cubicBezTo>
                <a:cubicBezTo>
                  <a:pt x="427" y="121"/>
                  <a:pt x="427" y="121"/>
                  <a:pt x="427" y="121"/>
                </a:cubicBezTo>
                <a:cubicBezTo>
                  <a:pt x="428" y="121"/>
                  <a:pt x="428" y="121"/>
                  <a:pt x="428" y="121"/>
                </a:cubicBezTo>
                <a:cubicBezTo>
                  <a:pt x="429" y="120"/>
                  <a:pt x="429" y="120"/>
                  <a:pt x="429" y="120"/>
                </a:cubicBezTo>
                <a:cubicBezTo>
                  <a:pt x="430" y="120"/>
                  <a:pt x="430" y="120"/>
                  <a:pt x="430" y="120"/>
                </a:cubicBezTo>
                <a:cubicBezTo>
                  <a:pt x="430" y="121"/>
                  <a:pt x="430" y="121"/>
                  <a:pt x="430" y="121"/>
                </a:cubicBezTo>
                <a:cubicBezTo>
                  <a:pt x="430" y="122"/>
                  <a:pt x="430" y="122"/>
                  <a:pt x="430" y="122"/>
                </a:cubicBezTo>
                <a:cubicBezTo>
                  <a:pt x="430" y="123"/>
                  <a:pt x="430" y="123"/>
                  <a:pt x="430" y="123"/>
                </a:cubicBezTo>
                <a:cubicBezTo>
                  <a:pt x="430" y="125"/>
                  <a:pt x="430" y="125"/>
                  <a:pt x="430" y="125"/>
                </a:cubicBezTo>
                <a:cubicBezTo>
                  <a:pt x="429" y="127"/>
                  <a:pt x="429" y="127"/>
                  <a:pt x="429" y="127"/>
                </a:cubicBezTo>
                <a:cubicBezTo>
                  <a:pt x="427" y="127"/>
                  <a:pt x="427" y="127"/>
                  <a:pt x="427" y="127"/>
                </a:cubicBezTo>
                <a:cubicBezTo>
                  <a:pt x="426" y="128"/>
                  <a:pt x="426" y="128"/>
                  <a:pt x="426" y="128"/>
                </a:cubicBezTo>
                <a:cubicBezTo>
                  <a:pt x="425" y="129"/>
                  <a:pt x="425" y="129"/>
                  <a:pt x="425" y="129"/>
                </a:cubicBezTo>
                <a:cubicBezTo>
                  <a:pt x="424" y="130"/>
                  <a:pt x="424" y="130"/>
                  <a:pt x="424" y="130"/>
                </a:cubicBezTo>
                <a:cubicBezTo>
                  <a:pt x="424" y="130"/>
                  <a:pt x="424" y="130"/>
                  <a:pt x="424" y="130"/>
                </a:cubicBezTo>
                <a:cubicBezTo>
                  <a:pt x="424" y="128"/>
                  <a:pt x="424" y="128"/>
                  <a:pt x="424" y="128"/>
                </a:cubicBezTo>
                <a:cubicBezTo>
                  <a:pt x="424" y="127"/>
                  <a:pt x="424" y="127"/>
                  <a:pt x="424" y="127"/>
                </a:cubicBezTo>
                <a:cubicBezTo>
                  <a:pt x="424" y="127"/>
                  <a:pt x="424" y="127"/>
                  <a:pt x="424" y="127"/>
                </a:cubicBezTo>
                <a:cubicBezTo>
                  <a:pt x="423" y="127"/>
                  <a:pt x="423" y="127"/>
                  <a:pt x="423" y="127"/>
                </a:cubicBezTo>
                <a:cubicBezTo>
                  <a:pt x="422" y="129"/>
                  <a:pt x="422" y="129"/>
                  <a:pt x="422" y="129"/>
                </a:cubicBezTo>
                <a:cubicBezTo>
                  <a:pt x="421" y="129"/>
                  <a:pt x="421" y="129"/>
                  <a:pt x="421" y="129"/>
                </a:cubicBezTo>
                <a:cubicBezTo>
                  <a:pt x="419" y="131"/>
                  <a:pt x="419" y="131"/>
                  <a:pt x="419" y="131"/>
                </a:cubicBezTo>
                <a:cubicBezTo>
                  <a:pt x="419" y="130"/>
                  <a:pt x="419" y="130"/>
                  <a:pt x="419" y="130"/>
                </a:cubicBezTo>
                <a:cubicBezTo>
                  <a:pt x="418" y="130"/>
                  <a:pt x="418" y="130"/>
                  <a:pt x="418" y="130"/>
                </a:cubicBezTo>
                <a:cubicBezTo>
                  <a:pt x="416" y="132"/>
                  <a:pt x="416" y="132"/>
                  <a:pt x="416" y="132"/>
                </a:cubicBezTo>
                <a:cubicBezTo>
                  <a:pt x="415" y="132"/>
                  <a:pt x="415" y="132"/>
                  <a:pt x="415" y="132"/>
                </a:cubicBezTo>
                <a:cubicBezTo>
                  <a:pt x="414" y="132"/>
                  <a:pt x="414" y="132"/>
                  <a:pt x="414" y="132"/>
                </a:cubicBezTo>
                <a:cubicBezTo>
                  <a:pt x="413" y="132"/>
                  <a:pt x="413" y="132"/>
                  <a:pt x="413" y="132"/>
                </a:cubicBezTo>
                <a:cubicBezTo>
                  <a:pt x="413" y="131"/>
                  <a:pt x="413" y="131"/>
                  <a:pt x="413" y="131"/>
                </a:cubicBezTo>
                <a:cubicBezTo>
                  <a:pt x="412" y="131"/>
                  <a:pt x="412" y="131"/>
                  <a:pt x="412" y="131"/>
                </a:cubicBezTo>
                <a:cubicBezTo>
                  <a:pt x="413" y="130"/>
                  <a:pt x="413" y="130"/>
                  <a:pt x="413" y="130"/>
                </a:cubicBezTo>
                <a:cubicBezTo>
                  <a:pt x="414" y="129"/>
                  <a:pt x="414" y="129"/>
                  <a:pt x="414" y="129"/>
                </a:cubicBezTo>
                <a:cubicBezTo>
                  <a:pt x="414" y="128"/>
                  <a:pt x="414" y="128"/>
                  <a:pt x="414" y="128"/>
                </a:cubicBezTo>
                <a:cubicBezTo>
                  <a:pt x="413" y="126"/>
                  <a:pt x="413" y="126"/>
                  <a:pt x="413" y="126"/>
                </a:cubicBezTo>
                <a:cubicBezTo>
                  <a:pt x="412" y="127"/>
                  <a:pt x="412" y="127"/>
                  <a:pt x="412" y="127"/>
                </a:cubicBezTo>
                <a:cubicBezTo>
                  <a:pt x="410" y="126"/>
                  <a:pt x="410" y="126"/>
                  <a:pt x="410" y="126"/>
                </a:cubicBezTo>
                <a:cubicBezTo>
                  <a:pt x="410" y="125"/>
                  <a:pt x="410" y="125"/>
                  <a:pt x="410" y="125"/>
                </a:cubicBezTo>
                <a:cubicBezTo>
                  <a:pt x="410" y="124"/>
                  <a:pt x="410" y="124"/>
                  <a:pt x="410" y="124"/>
                </a:cubicBezTo>
                <a:cubicBezTo>
                  <a:pt x="411" y="123"/>
                  <a:pt x="411" y="123"/>
                  <a:pt x="411" y="123"/>
                </a:cubicBezTo>
                <a:cubicBezTo>
                  <a:pt x="411" y="123"/>
                  <a:pt x="411" y="123"/>
                  <a:pt x="411" y="123"/>
                </a:cubicBezTo>
                <a:cubicBezTo>
                  <a:pt x="410" y="123"/>
                  <a:pt x="410" y="123"/>
                  <a:pt x="410" y="123"/>
                </a:cubicBezTo>
                <a:cubicBezTo>
                  <a:pt x="409" y="121"/>
                  <a:pt x="409" y="121"/>
                  <a:pt x="409" y="121"/>
                </a:cubicBezTo>
                <a:cubicBezTo>
                  <a:pt x="409" y="120"/>
                  <a:pt x="409" y="120"/>
                  <a:pt x="409" y="120"/>
                </a:cubicBezTo>
                <a:cubicBezTo>
                  <a:pt x="409" y="119"/>
                  <a:pt x="409" y="119"/>
                  <a:pt x="409" y="119"/>
                </a:cubicBezTo>
                <a:cubicBezTo>
                  <a:pt x="409" y="118"/>
                  <a:pt x="409" y="118"/>
                  <a:pt x="409" y="118"/>
                </a:cubicBezTo>
                <a:cubicBezTo>
                  <a:pt x="409" y="119"/>
                  <a:pt x="409" y="119"/>
                  <a:pt x="409" y="119"/>
                </a:cubicBezTo>
                <a:cubicBezTo>
                  <a:pt x="408" y="121"/>
                  <a:pt x="408" y="121"/>
                  <a:pt x="408" y="121"/>
                </a:cubicBezTo>
                <a:cubicBezTo>
                  <a:pt x="409" y="123"/>
                  <a:pt x="409" y="123"/>
                  <a:pt x="409" y="123"/>
                </a:cubicBezTo>
                <a:cubicBezTo>
                  <a:pt x="409" y="124"/>
                  <a:pt x="409" y="124"/>
                  <a:pt x="409" y="124"/>
                </a:cubicBezTo>
                <a:cubicBezTo>
                  <a:pt x="409" y="125"/>
                  <a:pt x="409" y="125"/>
                  <a:pt x="409" y="125"/>
                </a:cubicBezTo>
                <a:cubicBezTo>
                  <a:pt x="409" y="126"/>
                  <a:pt x="409" y="126"/>
                  <a:pt x="409" y="126"/>
                </a:cubicBezTo>
                <a:cubicBezTo>
                  <a:pt x="408" y="127"/>
                  <a:pt x="408" y="127"/>
                  <a:pt x="408" y="127"/>
                </a:cubicBezTo>
                <a:cubicBezTo>
                  <a:pt x="407" y="126"/>
                  <a:pt x="407" y="126"/>
                  <a:pt x="407" y="126"/>
                </a:cubicBezTo>
                <a:cubicBezTo>
                  <a:pt x="406" y="127"/>
                  <a:pt x="406" y="127"/>
                  <a:pt x="406" y="127"/>
                </a:cubicBezTo>
                <a:cubicBezTo>
                  <a:pt x="405" y="126"/>
                  <a:pt x="405" y="126"/>
                  <a:pt x="405" y="126"/>
                </a:cubicBezTo>
                <a:cubicBezTo>
                  <a:pt x="405" y="125"/>
                  <a:pt x="405" y="125"/>
                  <a:pt x="405" y="125"/>
                </a:cubicBezTo>
                <a:cubicBezTo>
                  <a:pt x="405" y="123"/>
                  <a:pt x="405" y="123"/>
                  <a:pt x="405" y="123"/>
                </a:cubicBezTo>
                <a:cubicBezTo>
                  <a:pt x="405" y="121"/>
                  <a:pt x="405" y="121"/>
                  <a:pt x="405" y="121"/>
                </a:cubicBezTo>
                <a:cubicBezTo>
                  <a:pt x="405" y="120"/>
                  <a:pt x="405" y="120"/>
                  <a:pt x="405" y="120"/>
                </a:cubicBezTo>
                <a:cubicBezTo>
                  <a:pt x="406" y="119"/>
                  <a:pt x="406" y="119"/>
                  <a:pt x="406" y="119"/>
                </a:cubicBezTo>
                <a:cubicBezTo>
                  <a:pt x="405" y="119"/>
                  <a:pt x="405" y="119"/>
                  <a:pt x="405" y="119"/>
                </a:cubicBezTo>
                <a:cubicBezTo>
                  <a:pt x="404" y="120"/>
                  <a:pt x="404" y="120"/>
                  <a:pt x="404" y="120"/>
                </a:cubicBezTo>
                <a:cubicBezTo>
                  <a:pt x="404" y="122"/>
                  <a:pt x="404" y="122"/>
                  <a:pt x="404" y="122"/>
                </a:cubicBezTo>
                <a:cubicBezTo>
                  <a:pt x="404" y="123"/>
                  <a:pt x="404" y="123"/>
                  <a:pt x="404" y="123"/>
                </a:cubicBezTo>
                <a:cubicBezTo>
                  <a:pt x="403" y="125"/>
                  <a:pt x="403" y="125"/>
                  <a:pt x="403" y="125"/>
                </a:cubicBezTo>
                <a:cubicBezTo>
                  <a:pt x="402" y="125"/>
                  <a:pt x="402" y="125"/>
                  <a:pt x="402" y="125"/>
                </a:cubicBezTo>
                <a:cubicBezTo>
                  <a:pt x="401" y="125"/>
                  <a:pt x="401" y="125"/>
                  <a:pt x="401" y="125"/>
                </a:cubicBezTo>
                <a:cubicBezTo>
                  <a:pt x="401" y="124"/>
                  <a:pt x="401" y="124"/>
                  <a:pt x="401" y="124"/>
                </a:cubicBezTo>
                <a:cubicBezTo>
                  <a:pt x="401" y="123"/>
                  <a:pt x="401" y="123"/>
                  <a:pt x="401" y="123"/>
                </a:cubicBezTo>
                <a:cubicBezTo>
                  <a:pt x="401" y="122"/>
                  <a:pt x="401" y="122"/>
                  <a:pt x="401" y="122"/>
                </a:cubicBezTo>
                <a:cubicBezTo>
                  <a:pt x="402" y="121"/>
                  <a:pt x="402" y="121"/>
                  <a:pt x="402" y="121"/>
                </a:cubicBezTo>
                <a:cubicBezTo>
                  <a:pt x="402" y="121"/>
                  <a:pt x="402" y="121"/>
                  <a:pt x="402" y="121"/>
                </a:cubicBezTo>
                <a:cubicBezTo>
                  <a:pt x="401" y="119"/>
                  <a:pt x="401" y="119"/>
                  <a:pt x="401" y="119"/>
                </a:cubicBezTo>
                <a:cubicBezTo>
                  <a:pt x="401" y="119"/>
                  <a:pt x="401" y="119"/>
                  <a:pt x="401" y="119"/>
                </a:cubicBezTo>
                <a:cubicBezTo>
                  <a:pt x="401" y="120"/>
                  <a:pt x="401" y="120"/>
                  <a:pt x="401" y="120"/>
                </a:cubicBezTo>
                <a:cubicBezTo>
                  <a:pt x="401" y="121"/>
                  <a:pt x="401" y="121"/>
                  <a:pt x="401" y="121"/>
                </a:cubicBezTo>
                <a:cubicBezTo>
                  <a:pt x="400" y="122"/>
                  <a:pt x="400" y="122"/>
                  <a:pt x="400" y="122"/>
                </a:cubicBezTo>
                <a:cubicBezTo>
                  <a:pt x="400" y="123"/>
                  <a:pt x="400" y="123"/>
                  <a:pt x="400" y="123"/>
                </a:cubicBezTo>
                <a:cubicBezTo>
                  <a:pt x="399" y="123"/>
                  <a:pt x="399" y="123"/>
                  <a:pt x="399" y="123"/>
                </a:cubicBezTo>
                <a:cubicBezTo>
                  <a:pt x="398" y="123"/>
                  <a:pt x="398" y="123"/>
                  <a:pt x="398" y="123"/>
                </a:cubicBezTo>
                <a:cubicBezTo>
                  <a:pt x="398" y="124"/>
                  <a:pt x="398" y="124"/>
                  <a:pt x="398" y="124"/>
                </a:cubicBezTo>
                <a:cubicBezTo>
                  <a:pt x="397" y="124"/>
                  <a:pt x="397" y="124"/>
                  <a:pt x="397" y="124"/>
                </a:cubicBezTo>
                <a:close/>
                <a:moveTo>
                  <a:pt x="431" y="310"/>
                </a:moveTo>
                <a:cubicBezTo>
                  <a:pt x="431" y="312"/>
                  <a:pt x="431" y="312"/>
                  <a:pt x="431" y="312"/>
                </a:cubicBezTo>
                <a:cubicBezTo>
                  <a:pt x="431" y="313"/>
                  <a:pt x="431" y="313"/>
                  <a:pt x="431" y="313"/>
                </a:cubicBezTo>
                <a:cubicBezTo>
                  <a:pt x="431" y="314"/>
                  <a:pt x="431" y="314"/>
                  <a:pt x="431" y="314"/>
                </a:cubicBezTo>
                <a:cubicBezTo>
                  <a:pt x="432" y="314"/>
                  <a:pt x="432" y="314"/>
                  <a:pt x="432" y="314"/>
                </a:cubicBezTo>
                <a:cubicBezTo>
                  <a:pt x="431" y="313"/>
                  <a:pt x="431" y="313"/>
                  <a:pt x="431" y="313"/>
                </a:cubicBezTo>
                <a:cubicBezTo>
                  <a:pt x="432" y="312"/>
                  <a:pt x="432" y="312"/>
                  <a:pt x="432" y="312"/>
                </a:cubicBezTo>
                <a:cubicBezTo>
                  <a:pt x="432" y="310"/>
                  <a:pt x="432" y="310"/>
                  <a:pt x="432" y="310"/>
                </a:cubicBezTo>
                <a:cubicBezTo>
                  <a:pt x="431" y="310"/>
                  <a:pt x="431" y="310"/>
                  <a:pt x="431" y="310"/>
                </a:cubicBezTo>
                <a:close/>
                <a:moveTo>
                  <a:pt x="430" y="303"/>
                </a:moveTo>
                <a:cubicBezTo>
                  <a:pt x="430" y="303"/>
                  <a:pt x="430" y="303"/>
                  <a:pt x="430" y="303"/>
                </a:cubicBezTo>
                <a:cubicBezTo>
                  <a:pt x="430" y="302"/>
                  <a:pt x="430" y="302"/>
                  <a:pt x="430" y="302"/>
                </a:cubicBezTo>
                <a:cubicBezTo>
                  <a:pt x="431" y="303"/>
                  <a:pt x="431" y="303"/>
                  <a:pt x="431" y="303"/>
                </a:cubicBezTo>
                <a:cubicBezTo>
                  <a:pt x="431" y="303"/>
                  <a:pt x="431" y="303"/>
                  <a:pt x="431" y="303"/>
                </a:cubicBezTo>
                <a:cubicBezTo>
                  <a:pt x="430" y="303"/>
                  <a:pt x="430" y="303"/>
                  <a:pt x="430" y="303"/>
                </a:cubicBezTo>
                <a:close/>
                <a:moveTo>
                  <a:pt x="428" y="299"/>
                </a:moveTo>
                <a:cubicBezTo>
                  <a:pt x="429" y="298"/>
                  <a:pt x="429" y="298"/>
                  <a:pt x="429" y="298"/>
                </a:cubicBezTo>
                <a:cubicBezTo>
                  <a:pt x="430" y="298"/>
                  <a:pt x="430" y="298"/>
                  <a:pt x="430" y="298"/>
                </a:cubicBezTo>
                <a:cubicBezTo>
                  <a:pt x="430" y="298"/>
                  <a:pt x="430" y="298"/>
                  <a:pt x="430" y="298"/>
                </a:cubicBezTo>
                <a:cubicBezTo>
                  <a:pt x="429" y="299"/>
                  <a:pt x="429" y="299"/>
                  <a:pt x="429" y="299"/>
                </a:cubicBezTo>
                <a:cubicBezTo>
                  <a:pt x="429" y="299"/>
                  <a:pt x="429" y="299"/>
                  <a:pt x="429" y="299"/>
                </a:cubicBezTo>
                <a:cubicBezTo>
                  <a:pt x="428" y="299"/>
                  <a:pt x="428" y="299"/>
                  <a:pt x="428" y="299"/>
                </a:cubicBezTo>
                <a:close/>
                <a:moveTo>
                  <a:pt x="418" y="206"/>
                </a:moveTo>
                <a:cubicBezTo>
                  <a:pt x="418" y="205"/>
                  <a:pt x="418" y="205"/>
                  <a:pt x="418" y="205"/>
                </a:cubicBezTo>
                <a:cubicBezTo>
                  <a:pt x="419" y="204"/>
                  <a:pt x="419" y="204"/>
                  <a:pt x="419" y="204"/>
                </a:cubicBezTo>
                <a:cubicBezTo>
                  <a:pt x="419" y="205"/>
                  <a:pt x="419" y="205"/>
                  <a:pt x="419" y="205"/>
                </a:cubicBezTo>
                <a:cubicBezTo>
                  <a:pt x="418" y="206"/>
                  <a:pt x="418" y="206"/>
                  <a:pt x="418" y="206"/>
                </a:cubicBezTo>
                <a:close/>
                <a:moveTo>
                  <a:pt x="420" y="207"/>
                </a:moveTo>
                <a:cubicBezTo>
                  <a:pt x="420" y="206"/>
                  <a:pt x="420" y="206"/>
                  <a:pt x="420" y="206"/>
                </a:cubicBezTo>
                <a:cubicBezTo>
                  <a:pt x="420" y="205"/>
                  <a:pt x="420" y="205"/>
                  <a:pt x="420" y="205"/>
                </a:cubicBezTo>
                <a:cubicBezTo>
                  <a:pt x="420" y="205"/>
                  <a:pt x="420" y="205"/>
                  <a:pt x="420" y="205"/>
                </a:cubicBezTo>
                <a:cubicBezTo>
                  <a:pt x="421" y="206"/>
                  <a:pt x="421" y="206"/>
                  <a:pt x="421" y="206"/>
                </a:cubicBezTo>
                <a:cubicBezTo>
                  <a:pt x="421" y="207"/>
                  <a:pt x="421" y="207"/>
                  <a:pt x="421" y="207"/>
                </a:cubicBezTo>
                <a:cubicBezTo>
                  <a:pt x="420" y="207"/>
                  <a:pt x="420" y="207"/>
                  <a:pt x="420" y="207"/>
                </a:cubicBezTo>
                <a:close/>
                <a:moveTo>
                  <a:pt x="418" y="210"/>
                </a:moveTo>
                <a:cubicBezTo>
                  <a:pt x="417" y="209"/>
                  <a:pt x="417" y="209"/>
                  <a:pt x="417" y="209"/>
                </a:cubicBezTo>
                <a:cubicBezTo>
                  <a:pt x="418" y="208"/>
                  <a:pt x="418" y="208"/>
                  <a:pt x="418" y="208"/>
                </a:cubicBezTo>
                <a:cubicBezTo>
                  <a:pt x="418" y="207"/>
                  <a:pt x="418" y="207"/>
                  <a:pt x="418" y="207"/>
                </a:cubicBezTo>
                <a:cubicBezTo>
                  <a:pt x="418" y="207"/>
                  <a:pt x="418" y="207"/>
                  <a:pt x="418" y="207"/>
                </a:cubicBezTo>
                <a:cubicBezTo>
                  <a:pt x="419" y="208"/>
                  <a:pt x="419" y="208"/>
                  <a:pt x="419" y="208"/>
                </a:cubicBezTo>
                <a:cubicBezTo>
                  <a:pt x="419" y="207"/>
                  <a:pt x="419" y="207"/>
                  <a:pt x="419" y="207"/>
                </a:cubicBezTo>
                <a:cubicBezTo>
                  <a:pt x="420" y="208"/>
                  <a:pt x="420" y="208"/>
                  <a:pt x="420" y="208"/>
                </a:cubicBezTo>
                <a:cubicBezTo>
                  <a:pt x="419" y="209"/>
                  <a:pt x="419" y="209"/>
                  <a:pt x="419" y="209"/>
                </a:cubicBezTo>
                <a:cubicBezTo>
                  <a:pt x="418" y="210"/>
                  <a:pt x="418" y="210"/>
                  <a:pt x="418" y="210"/>
                </a:cubicBezTo>
                <a:cubicBezTo>
                  <a:pt x="418" y="210"/>
                  <a:pt x="418" y="210"/>
                  <a:pt x="418" y="210"/>
                </a:cubicBezTo>
                <a:close/>
                <a:moveTo>
                  <a:pt x="437" y="238"/>
                </a:moveTo>
                <a:cubicBezTo>
                  <a:pt x="437" y="237"/>
                  <a:pt x="437" y="237"/>
                  <a:pt x="437" y="237"/>
                </a:cubicBezTo>
                <a:cubicBezTo>
                  <a:pt x="438" y="237"/>
                  <a:pt x="438" y="237"/>
                  <a:pt x="438" y="237"/>
                </a:cubicBezTo>
                <a:cubicBezTo>
                  <a:pt x="438" y="238"/>
                  <a:pt x="438" y="238"/>
                  <a:pt x="438" y="238"/>
                </a:cubicBezTo>
                <a:cubicBezTo>
                  <a:pt x="437" y="238"/>
                  <a:pt x="437" y="238"/>
                  <a:pt x="437" y="238"/>
                </a:cubicBezTo>
                <a:cubicBezTo>
                  <a:pt x="437" y="238"/>
                  <a:pt x="437" y="238"/>
                  <a:pt x="437" y="238"/>
                </a:cubicBezTo>
                <a:close/>
                <a:moveTo>
                  <a:pt x="435" y="237"/>
                </a:moveTo>
                <a:cubicBezTo>
                  <a:pt x="435" y="237"/>
                  <a:pt x="435" y="237"/>
                  <a:pt x="435" y="237"/>
                </a:cubicBezTo>
                <a:cubicBezTo>
                  <a:pt x="436" y="236"/>
                  <a:pt x="436" y="236"/>
                  <a:pt x="436" y="236"/>
                </a:cubicBezTo>
                <a:cubicBezTo>
                  <a:pt x="436" y="236"/>
                  <a:pt x="436" y="236"/>
                  <a:pt x="436" y="236"/>
                </a:cubicBezTo>
                <a:cubicBezTo>
                  <a:pt x="437" y="237"/>
                  <a:pt x="437" y="237"/>
                  <a:pt x="437" y="237"/>
                </a:cubicBezTo>
                <a:cubicBezTo>
                  <a:pt x="436" y="238"/>
                  <a:pt x="436" y="238"/>
                  <a:pt x="436" y="238"/>
                </a:cubicBezTo>
                <a:cubicBezTo>
                  <a:pt x="435" y="238"/>
                  <a:pt x="435" y="238"/>
                  <a:pt x="435" y="238"/>
                </a:cubicBezTo>
                <a:cubicBezTo>
                  <a:pt x="435" y="237"/>
                  <a:pt x="435" y="237"/>
                  <a:pt x="435" y="237"/>
                </a:cubicBezTo>
                <a:close/>
                <a:moveTo>
                  <a:pt x="431" y="250"/>
                </a:moveTo>
                <a:cubicBezTo>
                  <a:pt x="432" y="251"/>
                  <a:pt x="432" y="251"/>
                  <a:pt x="432" y="251"/>
                </a:cubicBezTo>
                <a:cubicBezTo>
                  <a:pt x="432" y="251"/>
                  <a:pt x="432" y="251"/>
                  <a:pt x="432" y="251"/>
                </a:cubicBezTo>
                <a:cubicBezTo>
                  <a:pt x="432" y="250"/>
                  <a:pt x="432" y="250"/>
                  <a:pt x="432" y="250"/>
                </a:cubicBezTo>
                <a:cubicBezTo>
                  <a:pt x="431" y="250"/>
                  <a:pt x="431" y="250"/>
                  <a:pt x="431" y="250"/>
                </a:cubicBezTo>
                <a:close/>
                <a:moveTo>
                  <a:pt x="436" y="256"/>
                </a:moveTo>
                <a:cubicBezTo>
                  <a:pt x="437" y="257"/>
                  <a:pt x="437" y="257"/>
                  <a:pt x="437" y="257"/>
                </a:cubicBezTo>
                <a:cubicBezTo>
                  <a:pt x="438" y="256"/>
                  <a:pt x="438" y="256"/>
                  <a:pt x="438" y="256"/>
                </a:cubicBezTo>
                <a:cubicBezTo>
                  <a:pt x="437" y="256"/>
                  <a:pt x="437" y="256"/>
                  <a:pt x="437" y="256"/>
                </a:cubicBezTo>
                <a:cubicBezTo>
                  <a:pt x="437" y="256"/>
                  <a:pt x="437" y="256"/>
                  <a:pt x="437" y="256"/>
                </a:cubicBezTo>
                <a:cubicBezTo>
                  <a:pt x="437" y="256"/>
                  <a:pt x="436" y="256"/>
                  <a:pt x="436" y="256"/>
                </a:cubicBezTo>
                <a:close/>
                <a:moveTo>
                  <a:pt x="446" y="266"/>
                </a:moveTo>
                <a:cubicBezTo>
                  <a:pt x="445" y="264"/>
                  <a:pt x="445" y="264"/>
                  <a:pt x="445" y="264"/>
                </a:cubicBezTo>
                <a:cubicBezTo>
                  <a:pt x="446" y="263"/>
                  <a:pt x="446" y="263"/>
                  <a:pt x="446" y="263"/>
                </a:cubicBezTo>
                <a:cubicBezTo>
                  <a:pt x="447" y="264"/>
                  <a:pt x="447" y="264"/>
                  <a:pt x="447" y="264"/>
                </a:cubicBezTo>
                <a:cubicBezTo>
                  <a:pt x="447" y="265"/>
                  <a:pt x="447" y="265"/>
                  <a:pt x="447" y="265"/>
                </a:cubicBezTo>
                <a:cubicBezTo>
                  <a:pt x="446" y="266"/>
                  <a:pt x="446" y="266"/>
                  <a:pt x="446" y="266"/>
                </a:cubicBezTo>
                <a:cubicBezTo>
                  <a:pt x="446" y="266"/>
                  <a:pt x="446" y="266"/>
                  <a:pt x="446" y="266"/>
                </a:cubicBezTo>
                <a:close/>
                <a:moveTo>
                  <a:pt x="451" y="272"/>
                </a:moveTo>
                <a:cubicBezTo>
                  <a:pt x="451" y="270"/>
                  <a:pt x="451" y="270"/>
                  <a:pt x="451" y="270"/>
                </a:cubicBezTo>
                <a:cubicBezTo>
                  <a:pt x="452" y="270"/>
                  <a:pt x="452" y="270"/>
                  <a:pt x="452" y="270"/>
                </a:cubicBezTo>
                <a:cubicBezTo>
                  <a:pt x="452" y="270"/>
                  <a:pt x="452" y="270"/>
                  <a:pt x="452" y="270"/>
                </a:cubicBezTo>
                <a:cubicBezTo>
                  <a:pt x="453" y="270"/>
                  <a:pt x="453" y="270"/>
                  <a:pt x="453" y="270"/>
                </a:cubicBezTo>
                <a:cubicBezTo>
                  <a:pt x="452" y="271"/>
                  <a:pt x="452" y="271"/>
                  <a:pt x="452" y="271"/>
                </a:cubicBezTo>
                <a:cubicBezTo>
                  <a:pt x="451" y="271"/>
                  <a:pt x="451" y="271"/>
                  <a:pt x="451" y="271"/>
                </a:cubicBezTo>
                <a:cubicBezTo>
                  <a:pt x="451" y="271"/>
                  <a:pt x="451" y="272"/>
                  <a:pt x="451" y="272"/>
                </a:cubicBezTo>
                <a:close/>
                <a:moveTo>
                  <a:pt x="416" y="138"/>
                </a:moveTo>
                <a:cubicBezTo>
                  <a:pt x="416" y="136"/>
                  <a:pt x="416" y="136"/>
                  <a:pt x="416" y="136"/>
                </a:cubicBezTo>
                <a:cubicBezTo>
                  <a:pt x="416" y="136"/>
                  <a:pt x="416" y="136"/>
                  <a:pt x="416" y="136"/>
                </a:cubicBezTo>
                <a:cubicBezTo>
                  <a:pt x="417" y="135"/>
                  <a:pt x="417" y="135"/>
                  <a:pt x="417" y="135"/>
                </a:cubicBezTo>
                <a:cubicBezTo>
                  <a:pt x="420" y="133"/>
                  <a:pt x="420" y="133"/>
                  <a:pt x="420" y="133"/>
                </a:cubicBezTo>
                <a:cubicBezTo>
                  <a:pt x="421" y="133"/>
                  <a:pt x="421" y="133"/>
                  <a:pt x="421" y="133"/>
                </a:cubicBezTo>
                <a:cubicBezTo>
                  <a:pt x="420" y="134"/>
                  <a:pt x="420" y="134"/>
                  <a:pt x="420" y="134"/>
                </a:cubicBezTo>
                <a:cubicBezTo>
                  <a:pt x="419" y="135"/>
                  <a:pt x="419" y="135"/>
                  <a:pt x="419" y="135"/>
                </a:cubicBezTo>
                <a:cubicBezTo>
                  <a:pt x="418" y="136"/>
                  <a:pt x="418" y="136"/>
                  <a:pt x="418" y="136"/>
                </a:cubicBezTo>
                <a:cubicBezTo>
                  <a:pt x="419" y="137"/>
                  <a:pt x="419" y="137"/>
                  <a:pt x="419" y="137"/>
                </a:cubicBezTo>
                <a:cubicBezTo>
                  <a:pt x="419" y="138"/>
                  <a:pt x="419" y="138"/>
                  <a:pt x="419" y="138"/>
                </a:cubicBezTo>
                <a:cubicBezTo>
                  <a:pt x="418" y="137"/>
                  <a:pt x="418" y="137"/>
                  <a:pt x="418" y="137"/>
                </a:cubicBezTo>
                <a:cubicBezTo>
                  <a:pt x="417" y="137"/>
                  <a:pt x="417" y="137"/>
                  <a:pt x="417" y="137"/>
                </a:cubicBezTo>
                <a:cubicBezTo>
                  <a:pt x="417" y="137"/>
                  <a:pt x="417" y="137"/>
                  <a:pt x="417" y="137"/>
                </a:cubicBezTo>
                <a:cubicBezTo>
                  <a:pt x="416" y="138"/>
                  <a:pt x="416" y="138"/>
                  <a:pt x="416" y="138"/>
                </a:cubicBezTo>
                <a:cubicBezTo>
                  <a:pt x="416" y="138"/>
                  <a:pt x="416" y="138"/>
                  <a:pt x="416" y="138"/>
                </a:cubicBezTo>
                <a:close/>
                <a:moveTo>
                  <a:pt x="410" y="132"/>
                </a:moveTo>
                <a:cubicBezTo>
                  <a:pt x="410" y="132"/>
                  <a:pt x="410" y="132"/>
                  <a:pt x="410" y="132"/>
                </a:cubicBezTo>
                <a:cubicBezTo>
                  <a:pt x="411" y="132"/>
                  <a:pt x="411" y="132"/>
                  <a:pt x="411" y="132"/>
                </a:cubicBezTo>
                <a:cubicBezTo>
                  <a:pt x="411" y="132"/>
                  <a:pt x="411" y="132"/>
                  <a:pt x="411" y="132"/>
                </a:cubicBezTo>
                <a:cubicBezTo>
                  <a:pt x="411" y="131"/>
                  <a:pt x="411" y="131"/>
                  <a:pt x="411" y="131"/>
                </a:cubicBezTo>
                <a:cubicBezTo>
                  <a:pt x="410" y="132"/>
                  <a:pt x="410" y="132"/>
                  <a:pt x="410" y="132"/>
                </a:cubicBezTo>
                <a:close/>
                <a:moveTo>
                  <a:pt x="376" y="117"/>
                </a:moveTo>
                <a:cubicBezTo>
                  <a:pt x="374" y="116"/>
                  <a:pt x="374" y="116"/>
                  <a:pt x="374" y="116"/>
                </a:cubicBezTo>
                <a:cubicBezTo>
                  <a:pt x="374" y="115"/>
                  <a:pt x="374" y="115"/>
                  <a:pt x="374" y="115"/>
                </a:cubicBezTo>
                <a:cubicBezTo>
                  <a:pt x="374" y="113"/>
                  <a:pt x="374" y="113"/>
                  <a:pt x="374" y="113"/>
                </a:cubicBezTo>
                <a:cubicBezTo>
                  <a:pt x="374" y="112"/>
                  <a:pt x="374" y="112"/>
                  <a:pt x="374" y="112"/>
                </a:cubicBezTo>
                <a:cubicBezTo>
                  <a:pt x="374" y="111"/>
                  <a:pt x="374" y="111"/>
                  <a:pt x="374" y="111"/>
                </a:cubicBezTo>
                <a:cubicBezTo>
                  <a:pt x="374" y="110"/>
                  <a:pt x="374" y="110"/>
                  <a:pt x="374" y="110"/>
                </a:cubicBezTo>
                <a:cubicBezTo>
                  <a:pt x="375" y="110"/>
                  <a:pt x="375" y="110"/>
                  <a:pt x="375" y="110"/>
                </a:cubicBezTo>
                <a:cubicBezTo>
                  <a:pt x="377" y="110"/>
                  <a:pt x="377" y="110"/>
                  <a:pt x="377" y="110"/>
                </a:cubicBezTo>
                <a:cubicBezTo>
                  <a:pt x="377" y="112"/>
                  <a:pt x="377" y="112"/>
                  <a:pt x="377" y="112"/>
                </a:cubicBezTo>
                <a:cubicBezTo>
                  <a:pt x="376" y="114"/>
                  <a:pt x="376" y="114"/>
                  <a:pt x="376" y="114"/>
                </a:cubicBezTo>
                <a:cubicBezTo>
                  <a:pt x="376" y="115"/>
                  <a:pt x="376" y="115"/>
                  <a:pt x="376" y="115"/>
                </a:cubicBezTo>
                <a:cubicBezTo>
                  <a:pt x="376" y="116"/>
                  <a:pt x="376" y="116"/>
                  <a:pt x="376" y="116"/>
                </a:cubicBezTo>
                <a:cubicBezTo>
                  <a:pt x="376" y="117"/>
                  <a:pt x="376" y="117"/>
                  <a:pt x="376" y="117"/>
                </a:cubicBezTo>
                <a:cubicBezTo>
                  <a:pt x="376" y="117"/>
                  <a:pt x="376" y="117"/>
                  <a:pt x="376" y="117"/>
                </a:cubicBezTo>
                <a:close/>
                <a:moveTo>
                  <a:pt x="375" y="47"/>
                </a:moveTo>
                <a:cubicBezTo>
                  <a:pt x="377" y="46"/>
                  <a:pt x="377" y="46"/>
                  <a:pt x="377" y="46"/>
                </a:cubicBezTo>
                <a:cubicBezTo>
                  <a:pt x="378" y="44"/>
                  <a:pt x="378" y="44"/>
                  <a:pt x="378" y="44"/>
                </a:cubicBezTo>
                <a:cubicBezTo>
                  <a:pt x="378" y="43"/>
                  <a:pt x="378" y="43"/>
                  <a:pt x="378" y="43"/>
                </a:cubicBezTo>
                <a:cubicBezTo>
                  <a:pt x="379" y="42"/>
                  <a:pt x="379" y="42"/>
                  <a:pt x="379" y="42"/>
                </a:cubicBezTo>
                <a:cubicBezTo>
                  <a:pt x="380" y="40"/>
                  <a:pt x="380" y="40"/>
                  <a:pt x="380" y="40"/>
                </a:cubicBezTo>
                <a:cubicBezTo>
                  <a:pt x="380" y="39"/>
                  <a:pt x="380" y="39"/>
                  <a:pt x="380" y="39"/>
                </a:cubicBezTo>
                <a:cubicBezTo>
                  <a:pt x="378" y="39"/>
                  <a:pt x="378" y="39"/>
                  <a:pt x="378" y="39"/>
                </a:cubicBezTo>
                <a:cubicBezTo>
                  <a:pt x="377" y="39"/>
                  <a:pt x="377" y="39"/>
                  <a:pt x="377" y="39"/>
                </a:cubicBezTo>
                <a:cubicBezTo>
                  <a:pt x="378" y="38"/>
                  <a:pt x="378" y="38"/>
                  <a:pt x="378" y="38"/>
                </a:cubicBezTo>
                <a:cubicBezTo>
                  <a:pt x="377" y="38"/>
                  <a:pt x="377" y="38"/>
                  <a:pt x="377" y="38"/>
                </a:cubicBezTo>
                <a:cubicBezTo>
                  <a:pt x="376" y="39"/>
                  <a:pt x="376" y="39"/>
                  <a:pt x="376" y="39"/>
                </a:cubicBezTo>
                <a:cubicBezTo>
                  <a:pt x="374" y="40"/>
                  <a:pt x="374" y="40"/>
                  <a:pt x="374" y="40"/>
                </a:cubicBezTo>
                <a:cubicBezTo>
                  <a:pt x="374" y="41"/>
                  <a:pt x="374" y="41"/>
                  <a:pt x="374" y="41"/>
                </a:cubicBezTo>
                <a:cubicBezTo>
                  <a:pt x="373" y="41"/>
                  <a:pt x="373" y="41"/>
                  <a:pt x="373" y="41"/>
                </a:cubicBezTo>
                <a:cubicBezTo>
                  <a:pt x="373" y="42"/>
                  <a:pt x="373" y="42"/>
                  <a:pt x="373" y="42"/>
                </a:cubicBezTo>
                <a:cubicBezTo>
                  <a:pt x="375" y="43"/>
                  <a:pt x="375" y="43"/>
                  <a:pt x="375" y="43"/>
                </a:cubicBezTo>
                <a:cubicBezTo>
                  <a:pt x="376" y="42"/>
                  <a:pt x="376" y="42"/>
                  <a:pt x="376" y="42"/>
                </a:cubicBezTo>
                <a:cubicBezTo>
                  <a:pt x="376" y="44"/>
                  <a:pt x="376" y="44"/>
                  <a:pt x="376" y="44"/>
                </a:cubicBezTo>
                <a:cubicBezTo>
                  <a:pt x="375" y="45"/>
                  <a:pt x="375" y="45"/>
                  <a:pt x="375" y="45"/>
                </a:cubicBezTo>
                <a:cubicBezTo>
                  <a:pt x="375" y="46"/>
                  <a:pt x="375" y="46"/>
                  <a:pt x="375" y="46"/>
                </a:cubicBezTo>
                <a:cubicBezTo>
                  <a:pt x="375" y="46"/>
                  <a:pt x="375" y="46"/>
                  <a:pt x="375" y="46"/>
                </a:cubicBezTo>
                <a:cubicBezTo>
                  <a:pt x="375" y="47"/>
                  <a:pt x="375" y="47"/>
                  <a:pt x="375" y="47"/>
                </a:cubicBezTo>
                <a:close/>
                <a:moveTo>
                  <a:pt x="359" y="85"/>
                </a:moveTo>
                <a:cubicBezTo>
                  <a:pt x="359" y="83"/>
                  <a:pt x="359" y="83"/>
                  <a:pt x="359" y="83"/>
                </a:cubicBezTo>
                <a:cubicBezTo>
                  <a:pt x="360" y="82"/>
                  <a:pt x="360" y="82"/>
                  <a:pt x="360" y="82"/>
                </a:cubicBezTo>
                <a:cubicBezTo>
                  <a:pt x="359" y="82"/>
                  <a:pt x="359" y="82"/>
                  <a:pt x="359" y="82"/>
                </a:cubicBezTo>
                <a:cubicBezTo>
                  <a:pt x="359" y="80"/>
                  <a:pt x="359" y="80"/>
                  <a:pt x="359" y="80"/>
                </a:cubicBezTo>
                <a:cubicBezTo>
                  <a:pt x="358" y="80"/>
                  <a:pt x="358" y="80"/>
                  <a:pt x="358" y="80"/>
                </a:cubicBezTo>
                <a:cubicBezTo>
                  <a:pt x="359" y="79"/>
                  <a:pt x="359" y="79"/>
                  <a:pt x="359" y="79"/>
                </a:cubicBezTo>
                <a:cubicBezTo>
                  <a:pt x="359" y="78"/>
                  <a:pt x="359" y="78"/>
                  <a:pt x="359" y="78"/>
                </a:cubicBezTo>
                <a:cubicBezTo>
                  <a:pt x="360" y="78"/>
                  <a:pt x="360" y="78"/>
                  <a:pt x="360" y="78"/>
                </a:cubicBezTo>
                <a:cubicBezTo>
                  <a:pt x="362" y="79"/>
                  <a:pt x="362" y="79"/>
                  <a:pt x="362" y="79"/>
                </a:cubicBezTo>
                <a:cubicBezTo>
                  <a:pt x="362" y="79"/>
                  <a:pt x="362" y="79"/>
                  <a:pt x="362" y="79"/>
                </a:cubicBezTo>
                <a:cubicBezTo>
                  <a:pt x="362" y="78"/>
                  <a:pt x="362" y="78"/>
                  <a:pt x="362" y="78"/>
                </a:cubicBezTo>
                <a:cubicBezTo>
                  <a:pt x="361" y="76"/>
                  <a:pt x="361" y="76"/>
                  <a:pt x="361" y="76"/>
                </a:cubicBezTo>
                <a:cubicBezTo>
                  <a:pt x="360" y="76"/>
                  <a:pt x="360" y="76"/>
                  <a:pt x="360" y="76"/>
                </a:cubicBezTo>
                <a:cubicBezTo>
                  <a:pt x="360" y="75"/>
                  <a:pt x="360" y="75"/>
                  <a:pt x="360" y="75"/>
                </a:cubicBezTo>
                <a:cubicBezTo>
                  <a:pt x="361" y="75"/>
                  <a:pt x="361" y="75"/>
                  <a:pt x="361" y="75"/>
                </a:cubicBezTo>
                <a:cubicBezTo>
                  <a:pt x="360" y="74"/>
                  <a:pt x="360" y="74"/>
                  <a:pt x="360" y="74"/>
                </a:cubicBezTo>
                <a:cubicBezTo>
                  <a:pt x="361" y="72"/>
                  <a:pt x="361" y="72"/>
                  <a:pt x="361" y="72"/>
                </a:cubicBezTo>
                <a:cubicBezTo>
                  <a:pt x="361" y="70"/>
                  <a:pt x="361" y="70"/>
                  <a:pt x="361" y="70"/>
                </a:cubicBezTo>
                <a:cubicBezTo>
                  <a:pt x="362" y="69"/>
                  <a:pt x="362" y="69"/>
                  <a:pt x="362" y="69"/>
                </a:cubicBezTo>
                <a:cubicBezTo>
                  <a:pt x="362" y="69"/>
                  <a:pt x="362" y="69"/>
                  <a:pt x="362" y="69"/>
                </a:cubicBezTo>
                <a:cubicBezTo>
                  <a:pt x="363" y="68"/>
                  <a:pt x="363" y="68"/>
                  <a:pt x="363" y="68"/>
                </a:cubicBezTo>
                <a:cubicBezTo>
                  <a:pt x="363" y="66"/>
                  <a:pt x="363" y="66"/>
                  <a:pt x="363" y="66"/>
                </a:cubicBezTo>
                <a:cubicBezTo>
                  <a:pt x="364" y="66"/>
                  <a:pt x="364" y="66"/>
                  <a:pt x="364" y="66"/>
                </a:cubicBezTo>
                <a:cubicBezTo>
                  <a:pt x="366" y="64"/>
                  <a:pt x="366" y="64"/>
                  <a:pt x="366" y="64"/>
                </a:cubicBezTo>
                <a:cubicBezTo>
                  <a:pt x="367" y="64"/>
                  <a:pt x="367" y="64"/>
                  <a:pt x="367" y="64"/>
                </a:cubicBezTo>
                <a:cubicBezTo>
                  <a:pt x="369" y="66"/>
                  <a:pt x="369" y="66"/>
                  <a:pt x="369" y="66"/>
                </a:cubicBezTo>
                <a:cubicBezTo>
                  <a:pt x="369" y="68"/>
                  <a:pt x="369" y="68"/>
                  <a:pt x="369" y="68"/>
                </a:cubicBezTo>
                <a:cubicBezTo>
                  <a:pt x="369" y="69"/>
                  <a:pt x="369" y="69"/>
                  <a:pt x="369" y="69"/>
                </a:cubicBezTo>
                <a:cubicBezTo>
                  <a:pt x="369" y="69"/>
                  <a:pt x="369" y="69"/>
                  <a:pt x="369" y="69"/>
                </a:cubicBezTo>
                <a:cubicBezTo>
                  <a:pt x="370" y="70"/>
                  <a:pt x="370" y="70"/>
                  <a:pt x="370" y="70"/>
                </a:cubicBezTo>
                <a:cubicBezTo>
                  <a:pt x="370" y="71"/>
                  <a:pt x="370" y="71"/>
                  <a:pt x="370" y="71"/>
                </a:cubicBezTo>
                <a:cubicBezTo>
                  <a:pt x="371" y="71"/>
                  <a:pt x="371" y="71"/>
                  <a:pt x="371" y="71"/>
                </a:cubicBezTo>
                <a:cubicBezTo>
                  <a:pt x="371" y="72"/>
                  <a:pt x="371" y="72"/>
                  <a:pt x="371" y="72"/>
                </a:cubicBezTo>
                <a:cubicBezTo>
                  <a:pt x="372" y="73"/>
                  <a:pt x="372" y="73"/>
                  <a:pt x="372" y="73"/>
                </a:cubicBezTo>
                <a:cubicBezTo>
                  <a:pt x="373" y="74"/>
                  <a:pt x="373" y="74"/>
                  <a:pt x="373" y="74"/>
                </a:cubicBezTo>
                <a:cubicBezTo>
                  <a:pt x="373" y="74"/>
                  <a:pt x="373" y="74"/>
                  <a:pt x="373" y="74"/>
                </a:cubicBezTo>
                <a:cubicBezTo>
                  <a:pt x="373" y="75"/>
                  <a:pt x="373" y="75"/>
                  <a:pt x="373" y="75"/>
                </a:cubicBezTo>
                <a:cubicBezTo>
                  <a:pt x="374" y="78"/>
                  <a:pt x="374" y="78"/>
                  <a:pt x="374" y="78"/>
                </a:cubicBezTo>
                <a:cubicBezTo>
                  <a:pt x="373" y="79"/>
                  <a:pt x="373" y="79"/>
                  <a:pt x="373" y="79"/>
                </a:cubicBezTo>
                <a:cubicBezTo>
                  <a:pt x="372" y="79"/>
                  <a:pt x="372" y="79"/>
                  <a:pt x="372" y="79"/>
                </a:cubicBezTo>
                <a:cubicBezTo>
                  <a:pt x="371" y="79"/>
                  <a:pt x="371" y="79"/>
                  <a:pt x="371" y="79"/>
                </a:cubicBezTo>
                <a:cubicBezTo>
                  <a:pt x="370" y="80"/>
                  <a:pt x="370" y="80"/>
                  <a:pt x="370" y="80"/>
                </a:cubicBezTo>
                <a:cubicBezTo>
                  <a:pt x="371" y="80"/>
                  <a:pt x="371" y="80"/>
                  <a:pt x="371" y="80"/>
                </a:cubicBezTo>
                <a:cubicBezTo>
                  <a:pt x="371" y="80"/>
                  <a:pt x="371" y="80"/>
                  <a:pt x="371" y="80"/>
                </a:cubicBezTo>
                <a:cubicBezTo>
                  <a:pt x="372" y="82"/>
                  <a:pt x="372" y="82"/>
                  <a:pt x="372" y="82"/>
                </a:cubicBezTo>
                <a:cubicBezTo>
                  <a:pt x="371" y="83"/>
                  <a:pt x="371" y="83"/>
                  <a:pt x="371" y="83"/>
                </a:cubicBezTo>
                <a:cubicBezTo>
                  <a:pt x="369" y="85"/>
                  <a:pt x="369" y="85"/>
                  <a:pt x="369" y="85"/>
                </a:cubicBezTo>
                <a:cubicBezTo>
                  <a:pt x="369" y="85"/>
                  <a:pt x="369" y="85"/>
                  <a:pt x="369" y="85"/>
                </a:cubicBezTo>
                <a:cubicBezTo>
                  <a:pt x="368" y="85"/>
                  <a:pt x="368" y="85"/>
                  <a:pt x="368" y="85"/>
                </a:cubicBezTo>
                <a:cubicBezTo>
                  <a:pt x="368" y="84"/>
                  <a:pt x="368" y="84"/>
                  <a:pt x="368" y="84"/>
                </a:cubicBezTo>
                <a:cubicBezTo>
                  <a:pt x="367" y="84"/>
                  <a:pt x="367" y="84"/>
                  <a:pt x="367" y="84"/>
                </a:cubicBezTo>
                <a:cubicBezTo>
                  <a:pt x="366" y="85"/>
                  <a:pt x="366" y="85"/>
                  <a:pt x="366" y="85"/>
                </a:cubicBezTo>
                <a:cubicBezTo>
                  <a:pt x="365" y="84"/>
                  <a:pt x="365" y="84"/>
                  <a:pt x="365" y="84"/>
                </a:cubicBezTo>
                <a:cubicBezTo>
                  <a:pt x="363" y="85"/>
                  <a:pt x="363" y="85"/>
                  <a:pt x="363" y="85"/>
                </a:cubicBezTo>
                <a:cubicBezTo>
                  <a:pt x="362" y="85"/>
                  <a:pt x="362" y="85"/>
                  <a:pt x="362" y="85"/>
                </a:cubicBezTo>
                <a:cubicBezTo>
                  <a:pt x="362" y="84"/>
                  <a:pt x="362" y="84"/>
                  <a:pt x="362" y="84"/>
                </a:cubicBezTo>
                <a:cubicBezTo>
                  <a:pt x="361" y="83"/>
                  <a:pt x="361" y="83"/>
                  <a:pt x="361" y="83"/>
                </a:cubicBezTo>
                <a:cubicBezTo>
                  <a:pt x="361" y="84"/>
                  <a:pt x="361" y="84"/>
                  <a:pt x="361" y="84"/>
                </a:cubicBezTo>
                <a:cubicBezTo>
                  <a:pt x="359" y="85"/>
                  <a:pt x="359" y="85"/>
                  <a:pt x="359" y="85"/>
                </a:cubicBezTo>
                <a:close/>
                <a:moveTo>
                  <a:pt x="374" y="83"/>
                </a:moveTo>
                <a:cubicBezTo>
                  <a:pt x="374" y="83"/>
                  <a:pt x="374" y="83"/>
                  <a:pt x="374" y="83"/>
                </a:cubicBezTo>
                <a:cubicBezTo>
                  <a:pt x="375" y="82"/>
                  <a:pt x="375" y="82"/>
                  <a:pt x="375" y="82"/>
                </a:cubicBezTo>
                <a:cubicBezTo>
                  <a:pt x="374" y="80"/>
                  <a:pt x="374" y="80"/>
                  <a:pt x="374" y="80"/>
                </a:cubicBezTo>
                <a:cubicBezTo>
                  <a:pt x="374" y="80"/>
                  <a:pt x="374" y="80"/>
                  <a:pt x="374" y="80"/>
                </a:cubicBezTo>
                <a:cubicBezTo>
                  <a:pt x="373" y="80"/>
                  <a:pt x="373" y="80"/>
                  <a:pt x="373" y="80"/>
                </a:cubicBezTo>
                <a:cubicBezTo>
                  <a:pt x="373" y="82"/>
                  <a:pt x="373" y="82"/>
                  <a:pt x="373" y="82"/>
                </a:cubicBezTo>
                <a:cubicBezTo>
                  <a:pt x="374" y="83"/>
                  <a:pt x="374" y="83"/>
                  <a:pt x="374" y="83"/>
                </a:cubicBezTo>
                <a:close/>
                <a:moveTo>
                  <a:pt x="378" y="102"/>
                </a:moveTo>
                <a:cubicBezTo>
                  <a:pt x="378" y="103"/>
                  <a:pt x="378" y="103"/>
                  <a:pt x="378" y="103"/>
                </a:cubicBezTo>
                <a:cubicBezTo>
                  <a:pt x="379" y="104"/>
                  <a:pt x="379" y="104"/>
                  <a:pt x="379" y="104"/>
                </a:cubicBezTo>
                <a:cubicBezTo>
                  <a:pt x="381" y="104"/>
                  <a:pt x="381" y="104"/>
                  <a:pt x="381" y="104"/>
                </a:cubicBezTo>
                <a:cubicBezTo>
                  <a:pt x="382" y="103"/>
                  <a:pt x="382" y="103"/>
                  <a:pt x="382" y="103"/>
                </a:cubicBezTo>
                <a:cubicBezTo>
                  <a:pt x="383" y="101"/>
                  <a:pt x="383" y="101"/>
                  <a:pt x="383" y="101"/>
                </a:cubicBezTo>
                <a:cubicBezTo>
                  <a:pt x="383" y="100"/>
                  <a:pt x="383" y="100"/>
                  <a:pt x="383" y="100"/>
                </a:cubicBezTo>
                <a:cubicBezTo>
                  <a:pt x="383" y="100"/>
                  <a:pt x="383" y="100"/>
                  <a:pt x="383" y="100"/>
                </a:cubicBezTo>
                <a:cubicBezTo>
                  <a:pt x="383" y="99"/>
                  <a:pt x="383" y="99"/>
                  <a:pt x="383" y="99"/>
                </a:cubicBezTo>
                <a:cubicBezTo>
                  <a:pt x="382" y="98"/>
                  <a:pt x="382" y="98"/>
                  <a:pt x="382" y="98"/>
                </a:cubicBezTo>
                <a:cubicBezTo>
                  <a:pt x="381" y="98"/>
                  <a:pt x="381" y="98"/>
                  <a:pt x="381" y="98"/>
                </a:cubicBezTo>
                <a:cubicBezTo>
                  <a:pt x="381" y="97"/>
                  <a:pt x="381" y="97"/>
                  <a:pt x="381" y="97"/>
                </a:cubicBezTo>
                <a:cubicBezTo>
                  <a:pt x="380" y="97"/>
                  <a:pt x="380" y="97"/>
                  <a:pt x="380" y="97"/>
                </a:cubicBezTo>
                <a:cubicBezTo>
                  <a:pt x="379" y="98"/>
                  <a:pt x="379" y="98"/>
                  <a:pt x="379" y="98"/>
                </a:cubicBezTo>
                <a:cubicBezTo>
                  <a:pt x="378" y="99"/>
                  <a:pt x="378" y="99"/>
                  <a:pt x="378" y="99"/>
                </a:cubicBezTo>
                <a:cubicBezTo>
                  <a:pt x="378" y="101"/>
                  <a:pt x="378" y="101"/>
                  <a:pt x="378" y="101"/>
                </a:cubicBezTo>
                <a:cubicBezTo>
                  <a:pt x="378" y="102"/>
                  <a:pt x="378" y="102"/>
                  <a:pt x="378" y="102"/>
                </a:cubicBezTo>
                <a:close/>
                <a:moveTo>
                  <a:pt x="377" y="102"/>
                </a:moveTo>
                <a:cubicBezTo>
                  <a:pt x="377" y="103"/>
                  <a:pt x="377" y="103"/>
                  <a:pt x="377" y="103"/>
                </a:cubicBezTo>
                <a:cubicBezTo>
                  <a:pt x="377" y="104"/>
                  <a:pt x="377" y="104"/>
                  <a:pt x="377" y="104"/>
                </a:cubicBezTo>
                <a:cubicBezTo>
                  <a:pt x="377" y="105"/>
                  <a:pt x="377" y="105"/>
                  <a:pt x="377" y="105"/>
                </a:cubicBezTo>
                <a:cubicBezTo>
                  <a:pt x="378" y="104"/>
                  <a:pt x="378" y="104"/>
                  <a:pt x="378" y="104"/>
                </a:cubicBezTo>
                <a:cubicBezTo>
                  <a:pt x="378" y="103"/>
                  <a:pt x="378" y="103"/>
                  <a:pt x="378" y="103"/>
                </a:cubicBezTo>
                <a:cubicBezTo>
                  <a:pt x="377" y="103"/>
                  <a:pt x="377" y="103"/>
                  <a:pt x="377" y="103"/>
                </a:cubicBezTo>
                <a:cubicBezTo>
                  <a:pt x="377" y="102"/>
                  <a:pt x="377" y="102"/>
                  <a:pt x="377" y="102"/>
                </a:cubicBezTo>
                <a:cubicBezTo>
                  <a:pt x="377" y="102"/>
                  <a:pt x="377" y="102"/>
                  <a:pt x="377" y="102"/>
                </a:cubicBezTo>
                <a:close/>
                <a:moveTo>
                  <a:pt x="358" y="93"/>
                </a:moveTo>
                <a:cubicBezTo>
                  <a:pt x="358" y="91"/>
                  <a:pt x="358" y="91"/>
                  <a:pt x="358" y="91"/>
                </a:cubicBezTo>
                <a:cubicBezTo>
                  <a:pt x="359" y="89"/>
                  <a:pt x="359" y="89"/>
                  <a:pt x="359" y="89"/>
                </a:cubicBezTo>
                <a:cubicBezTo>
                  <a:pt x="360" y="88"/>
                  <a:pt x="360" y="88"/>
                  <a:pt x="360" y="88"/>
                </a:cubicBezTo>
                <a:cubicBezTo>
                  <a:pt x="361" y="88"/>
                  <a:pt x="361" y="88"/>
                  <a:pt x="361" y="88"/>
                </a:cubicBezTo>
                <a:cubicBezTo>
                  <a:pt x="362" y="88"/>
                  <a:pt x="362" y="88"/>
                  <a:pt x="362" y="88"/>
                </a:cubicBezTo>
                <a:cubicBezTo>
                  <a:pt x="363" y="88"/>
                  <a:pt x="363" y="88"/>
                  <a:pt x="363" y="88"/>
                </a:cubicBezTo>
                <a:cubicBezTo>
                  <a:pt x="364" y="88"/>
                  <a:pt x="364" y="88"/>
                  <a:pt x="364" y="88"/>
                </a:cubicBezTo>
                <a:cubicBezTo>
                  <a:pt x="364" y="88"/>
                  <a:pt x="364" y="88"/>
                  <a:pt x="364" y="88"/>
                </a:cubicBezTo>
                <a:cubicBezTo>
                  <a:pt x="365" y="89"/>
                  <a:pt x="365" y="89"/>
                  <a:pt x="365" y="89"/>
                </a:cubicBezTo>
                <a:cubicBezTo>
                  <a:pt x="366" y="89"/>
                  <a:pt x="366" y="89"/>
                  <a:pt x="366" y="89"/>
                </a:cubicBezTo>
                <a:cubicBezTo>
                  <a:pt x="366" y="88"/>
                  <a:pt x="366" y="88"/>
                  <a:pt x="366" y="88"/>
                </a:cubicBezTo>
                <a:cubicBezTo>
                  <a:pt x="367" y="89"/>
                  <a:pt x="367" y="89"/>
                  <a:pt x="367" y="89"/>
                </a:cubicBezTo>
                <a:cubicBezTo>
                  <a:pt x="368" y="89"/>
                  <a:pt x="368" y="89"/>
                  <a:pt x="368" y="89"/>
                </a:cubicBezTo>
                <a:cubicBezTo>
                  <a:pt x="369" y="91"/>
                  <a:pt x="369" y="91"/>
                  <a:pt x="369" y="91"/>
                </a:cubicBezTo>
                <a:cubicBezTo>
                  <a:pt x="370" y="91"/>
                  <a:pt x="370" y="91"/>
                  <a:pt x="370" y="91"/>
                </a:cubicBezTo>
                <a:cubicBezTo>
                  <a:pt x="370" y="92"/>
                  <a:pt x="370" y="92"/>
                  <a:pt x="370" y="92"/>
                </a:cubicBezTo>
                <a:cubicBezTo>
                  <a:pt x="370" y="92"/>
                  <a:pt x="370" y="92"/>
                  <a:pt x="370" y="92"/>
                </a:cubicBezTo>
                <a:cubicBezTo>
                  <a:pt x="371" y="92"/>
                  <a:pt x="371" y="92"/>
                  <a:pt x="371" y="92"/>
                </a:cubicBezTo>
                <a:cubicBezTo>
                  <a:pt x="372" y="92"/>
                  <a:pt x="372" y="92"/>
                  <a:pt x="372" y="92"/>
                </a:cubicBezTo>
                <a:cubicBezTo>
                  <a:pt x="373" y="93"/>
                  <a:pt x="373" y="93"/>
                  <a:pt x="373" y="93"/>
                </a:cubicBezTo>
                <a:cubicBezTo>
                  <a:pt x="373" y="93"/>
                  <a:pt x="373" y="93"/>
                  <a:pt x="373" y="93"/>
                </a:cubicBezTo>
                <a:cubicBezTo>
                  <a:pt x="373" y="94"/>
                  <a:pt x="373" y="94"/>
                  <a:pt x="373" y="94"/>
                </a:cubicBezTo>
                <a:cubicBezTo>
                  <a:pt x="373" y="95"/>
                  <a:pt x="373" y="95"/>
                  <a:pt x="373" y="95"/>
                </a:cubicBezTo>
                <a:cubicBezTo>
                  <a:pt x="373" y="95"/>
                  <a:pt x="373" y="95"/>
                  <a:pt x="373" y="95"/>
                </a:cubicBezTo>
                <a:cubicBezTo>
                  <a:pt x="372" y="95"/>
                  <a:pt x="372" y="95"/>
                  <a:pt x="372" y="95"/>
                </a:cubicBezTo>
                <a:cubicBezTo>
                  <a:pt x="370" y="96"/>
                  <a:pt x="370" y="96"/>
                  <a:pt x="370" y="96"/>
                </a:cubicBezTo>
                <a:cubicBezTo>
                  <a:pt x="369" y="97"/>
                  <a:pt x="369" y="97"/>
                  <a:pt x="369" y="97"/>
                </a:cubicBezTo>
                <a:cubicBezTo>
                  <a:pt x="367" y="96"/>
                  <a:pt x="367" y="96"/>
                  <a:pt x="367" y="96"/>
                </a:cubicBezTo>
                <a:cubicBezTo>
                  <a:pt x="365" y="96"/>
                  <a:pt x="365" y="96"/>
                  <a:pt x="365" y="96"/>
                </a:cubicBezTo>
                <a:cubicBezTo>
                  <a:pt x="364" y="94"/>
                  <a:pt x="364" y="94"/>
                  <a:pt x="364" y="94"/>
                </a:cubicBezTo>
                <a:cubicBezTo>
                  <a:pt x="362" y="94"/>
                  <a:pt x="362" y="94"/>
                  <a:pt x="362" y="94"/>
                </a:cubicBezTo>
                <a:cubicBezTo>
                  <a:pt x="361" y="94"/>
                  <a:pt x="361" y="94"/>
                  <a:pt x="361" y="94"/>
                </a:cubicBezTo>
                <a:cubicBezTo>
                  <a:pt x="360" y="93"/>
                  <a:pt x="360" y="93"/>
                  <a:pt x="360" y="93"/>
                </a:cubicBezTo>
                <a:cubicBezTo>
                  <a:pt x="359" y="93"/>
                  <a:pt x="359" y="93"/>
                  <a:pt x="359" y="93"/>
                </a:cubicBezTo>
                <a:cubicBezTo>
                  <a:pt x="358" y="93"/>
                  <a:pt x="358" y="93"/>
                  <a:pt x="358" y="93"/>
                </a:cubicBezTo>
                <a:close/>
                <a:moveTo>
                  <a:pt x="343" y="72"/>
                </a:moveTo>
                <a:cubicBezTo>
                  <a:pt x="343" y="71"/>
                  <a:pt x="343" y="71"/>
                  <a:pt x="343" y="71"/>
                </a:cubicBezTo>
                <a:cubicBezTo>
                  <a:pt x="344" y="71"/>
                  <a:pt x="344" y="71"/>
                  <a:pt x="344" y="71"/>
                </a:cubicBezTo>
                <a:cubicBezTo>
                  <a:pt x="344" y="71"/>
                  <a:pt x="344" y="71"/>
                  <a:pt x="344" y="71"/>
                </a:cubicBezTo>
                <a:cubicBezTo>
                  <a:pt x="344" y="72"/>
                  <a:pt x="344" y="72"/>
                  <a:pt x="344" y="72"/>
                </a:cubicBezTo>
                <a:cubicBezTo>
                  <a:pt x="343" y="72"/>
                  <a:pt x="343" y="72"/>
                  <a:pt x="343" y="72"/>
                </a:cubicBezTo>
                <a:cubicBezTo>
                  <a:pt x="343" y="72"/>
                  <a:pt x="343" y="72"/>
                  <a:pt x="343" y="72"/>
                </a:cubicBezTo>
                <a:close/>
                <a:moveTo>
                  <a:pt x="344" y="79"/>
                </a:moveTo>
                <a:cubicBezTo>
                  <a:pt x="345" y="81"/>
                  <a:pt x="345" y="81"/>
                  <a:pt x="345" y="81"/>
                </a:cubicBezTo>
                <a:cubicBezTo>
                  <a:pt x="345" y="82"/>
                  <a:pt x="345" y="82"/>
                  <a:pt x="345" y="82"/>
                </a:cubicBezTo>
                <a:cubicBezTo>
                  <a:pt x="346" y="82"/>
                  <a:pt x="346" y="82"/>
                  <a:pt x="346" y="82"/>
                </a:cubicBezTo>
                <a:cubicBezTo>
                  <a:pt x="347" y="82"/>
                  <a:pt x="347" y="82"/>
                  <a:pt x="347" y="82"/>
                </a:cubicBezTo>
                <a:cubicBezTo>
                  <a:pt x="348" y="82"/>
                  <a:pt x="348" y="82"/>
                  <a:pt x="348" y="82"/>
                </a:cubicBezTo>
                <a:cubicBezTo>
                  <a:pt x="349" y="82"/>
                  <a:pt x="349" y="82"/>
                  <a:pt x="349" y="82"/>
                </a:cubicBezTo>
                <a:cubicBezTo>
                  <a:pt x="350" y="81"/>
                  <a:pt x="350" y="81"/>
                  <a:pt x="350" y="81"/>
                </a:cubicBezTo>
                <a:cubicBezTo>
                  <a:pt x="350" y="80"/>
                  <a:pt x="350" y="80"/>
                  <a:pt x="350" y="80"/>
                </a:cubicBezTo>
                <a:cubicBezTo>
                  <a:pt x="351" y="80"/>
                  <a:pt x="351" y="80"/>
                  <a:pt x="351" y="80"/>
                </a:cubicBezTo>
                <a:cubicBezTo>
                  <a:pt x="352" y="78"/>
                  <a:pt x="352" y="78"/>
                  <a:pt x="352" y="78"/>
                </a:cubicBezTo>
                <a:cubicBezTo>
                  <a:pt x="352" y="77"/>
                  <a:pt x="352" y="77"/>
                  <a:pt x="352" y="77"/>
                </a:cubicBezTo>
                <a:cubicBezTo>
                  <a:pt x="353" y="75"/>
                  <a:pt x="353" y="75"/>
                  <a:pt x="353" y="75"/>
                </a:cubicBezTo>
                <a:cubicBezTo>
                  <a:pt x="354" y="73"/>
                  <a:pt x="354" y="73"/>
                  <a:pt x="354" y="73"/>
                </a:cubicBezTo>
                <a:cubicBezTo>
                  <a:pt x="353" y="73"/>
                  <a:pt x="353" y="73"/>
                  <a:pt x="353" y="73"/>
                </a:cubicBezTo>
                <a:cubicBezTo>
                  <a:pt x="353" y="72"/>
                  <a:pt x="353" y="72"/>
                  <a:pt x="353" y="72"/>
                </a:cubicBezTo>
                <a:cubicBezTo>
                  <a:pt x="354" y="72"/>
                  <a:pt x="354" y="72"/>
                  <a:pt x="354" y="72"/>
                </a:cubicBezTo>
                <a:cubicBezTo>
                  <a:pt x="355" y="70"/>
                  <a:pt x="355" y="70"/>
                  <a:pt x="355" y="70"/>
                </a:cubicBezTo>
                <a:cubicBezTo>
                  <a:pt x="356" y="70"/>
                  <a:pt x="356" y="70"/>
                  <a:pt x="356" y="70"/>
                </a:cubicBezTo>
                <a:cubicBezTo>
                  <a:pt x="357" y="69"/>
                  <a:pt x="357" y="69"/>
                  <a:pt x="357" y="69"/>
                </a:cubicBezTo>
                <a:cubicBezTo>
                  <a:pt x="358" y="68"/>
                  <a:pt x="358" y="68"/>
                  <a:pt x="358" y="68"/>
                </a:cubicBezTo>
                <a:cubicBezTo>
                  <a:pt x="358" y="66"/>
                  <a:pt x="358" y="66"/>
                  <a:pt x="358" y="66"/>
                </a:cubicBezTo>
                <a:cubicBezTo>
                  <a:pt x="358" y="65"/>
                  <a:pt x="358" y="65"/>
                  <a:pt x="358" y="65"/>
                </a:cubicBezTo>
                <a:cubicBezTo>
                  <a:pt x="359" y="64"/>
                  <a:pt x="359" y="64"/>
                  <a:pt x="359" y="64"/>
                </a:cubicBezTo>
                <a:cubicBezTo>
                  <a:pt x="359" y="63"/>
                  <a:pt x="359" y="63"/>
                  <a:pt x="359" y="63"/>
                </a:cubicBezTo>
                <a:cubicBezTo>
                  <a:pt x="359" y="62"/>
                  <a:pt x="359" y="62"/>
                  <a:pt x="359" y="62"/>
                </a:cubicBezTo>
                <a:cubicBezTo>
                  <a:pt x="359" y="61"/>
                  <a:pt x="359" y="61"/>
                  <a:pt x="359" y="61"/>
                </a:cubicBezTo>
                <a:cubicBezTo>
                  <a:pt x="358" y="61"/>
                  <a:pt x="358" y="61"/>
                  <a:pt x="358" y="61"/>
                </a:cubicBezTo>
                <a:cubicBezTo>
                  <a:pt x="357" y="60"/>
                  <a:pt x="357" y="60"/>
                  <a:pt x="357" y="60"/>
                </a:cubicBezTo>
                <a:cubicBezTo>
                  <a:pt x="355" y="60"/>
                  <a:pt x="355" y="60"/>
                  <a:pt x="355" y="60"/>
                </a:cubicBezTo>
                <a:cubicBezTo>
                  <a:pt x="355" y="60"/>
                  <a:pt x="355" y="60"/>
                  <a:pt x="355" y="60"/>
                </a:cubicBezTo>
                <a:cubicBezTo>
                  <a:pt x="356" y="59"/>
                  <a:pt x="356" y="59"/>
                  <a:pt x="356" y="59"/>
                </a:cubicBezTo>
                <a:cubicBezTo>
                  <a:pt x="357" y="58"/>
                  <a:pt x="357" y="58"/>
                  <a:pt x="357" y="58"/>
                </a:cubicBezTo>
                <a:cubicBezTo>
                  <a:pt x="357" y="57"/>
                  <a:pt x="357" y="57"/>
                  <a:pt x="357" y="57"/>
                </a:cubicBezTo>
                <a:cubicBezTo>
                  <a:pt x="357" y="56"/>
                  <a:pt x="357" y="56"/>
                  <a:pt x="357" y="56"/>
                </a:cubicBezTo>
                <a:cubicBezTo>
                  <a:pt x="357" y="55"/>
                  <a:pt x="357" y="55"/>
                  <a:pt x="357" y="55"/>
                </a:cubicBezTo>
                <a:cubicBezTo>
                  <a:pt x="357" y="54"/>
                  <a:pt x="357" y="54"/>
                  <a:pt x="357" y="54"/>
                </a:cubicBezTo>
                <a:cubicBezTo>
                  <a:pt x="356" y="52"/>
                  <a:pt x="356" y="52"/>
                  <a:pt x="356" y="52"/>
                </a:cubicBezTo>
                <a:cubicBezTo>
                  <a:pt x="355" y="52"/>
                  <a:pt x="355" y="52"/>
                  <a:pt x="355" y="52"/>
                </a:cubicBezTo>
                <a:cubicBezTo>
                  <a:pt x="354" y="53"/>
                  <a:pt x="354" y="53"/>
                  <a:pt x="354" y="53"/>
                </a:cubicBezTo>
                <a:cubicBezTo>
                  <a:pt x="352" y="54"/>
                  <a:pt x="352" y="54"/>
                  <a:pt x="352" y="54"/>
                </a:cubicBezTo>
                <a:cubicBezTo>
                  <a:pt x="352" y="55"/>
                  <a:pt x="352" y="55"/>
                  <a:pt x="352" y="55"/>
                </a:cubicBezTo>
                <a:cubicBezTo>
                  <a:pt x="351" y="56"/>
                  <a:pt x="351" y="56"/>
                  <a:pt x="351" y="56"/>
                </a:cubicBezTo>
                <a:cubicBezTo>
                  <a:pt x="350" y="56"/>
                  <a:pt x="350" y="56"/>
                  <a:pt x="350" y="56"/>
                </a:cubicBezTo>
                <a:cubicBezTo>
                  <a:pt x="350" y="54"/>
                  <a:pt x="350" y="54"/>
                  <a:pt x="350" y="54"/>
                </a:cubicBezTo>
                <a:cubicBezTo>
                  <a:pt x="351" y="54"/>
                  <a:pt x="351" y="54"/>
                  <a:pt x="351" y="54"/>
                </a:cubicBezTo>
                <a:cubicBezTo>
                  <a:pt x="351" y="53"/>
                  <a:pt x="351" y="53"/>
                  <a:pt x="351" y="53"/>
                </a:cubicBezTo>
                <a:cubicBezTo>
                  <a:pt x="351" y="51"/>
                  <a:pt x="351" y="51"/>
                  <a:pt x="351" y="51"/>
                </a:cubicBezTo>
                <a:cubicBezTo>
                  <a:pt x="352" y="49"/>
                  <a:pt x="352" y="49"/>
                  <a:pt x="352" y="49"/>
                </a:cubicBezTo>
                <a:cubicBezTo>
                  <a:pt x="352" y="48"/>
                  <a:pt x="352" y="48"/>
                  <a:pt x="352" y="48"/>
                </a:cubicBezTo>
                <a:cubicBezTo>
                  <a:pt x="351" y="47"/>
                  <a:pt x="351" y="47"/>
                  <a:pt x="351" y="47"/>
                </a:cubicBezTo>
                <a:cubicBezTo>
                  <a:pt x="350" y="46"/>
                  <a:pt x="350" y="46"/>
                  <a:pt x="350" y="46"/>
                </a:cubicBezTo>
                <a:cubicBezTo>
                  <a:pt x="349" y="45"/>
                  <a:pt x="349" y="45"/>
                  <a:pt x="349" y="45"/>
                </a:cubicBezTo>
                <a:cubicBezTo>
                  <a:pt x="348" y="45"/>
                  <a:pt x="348" y="45"/>
                  <a:pt x="348" y="45"/>
                </a:cubicBezTo>
                <a:cubicBezTo>
                  <a:pt x="346" y="45"/>
                  <a:pt x="346" y="45"/>
                  <a:pt x="346" y="45"/>
                </a:cubicBezTo>
                <a:cubicBezTo>
                  <a:pt x="345" y="46"/>
                  <a:pt x="345" y="46"/>
                  <a:pt x="345" y="46"/>
                </a:cubicBezTo>
                <a:cubicBezTo>
                  <a:pt x="344" y="46"/>
                  <a:pt x="344" y="46"/>
                  <a:pt x="344" y="46"/>
                </a:cubicBezTo>
                <a:cubicBezTo>
                  <a:pt x="344" y="44"/>
                  <a:pt x="344" y="44"/>
                  <a:pt x="344" y="44"/>
                </a:cubicBezTo>
                <a:cubicBezTo>
                  <a:pt x="343" y="44"/>
                  <a:pt x="343" y="44"/>
                  <a:pt x="343" y="44"/>
                </a:cubicBezTo>
                <a:cubicBezTo>
                  <a:pt x="342" y="45"/>
                  <a:pt x="342" y="45"/>
                  <a:pt x="342" y="45"/>
                </a:cubicBezTo>
                <a:cubicBezTo>
                  <a:pt x="342" y="46"/>
                  <a:pt x="342" y="46"/>
                  <a:pt x="342" y="46"/>
                </a:cubicBezTo>
                <a:cubicBezTo>
                  <a:pt x="341" y="46"/>
                  <a:pt x="341" y="46"/>
                  <a:pt x="341" y="46"/>
                </a:cubicBezTo>
                <a:cubicBezTo>
                  <a:pt x="340" y="48"/>
                  <a:pt x="340" y="48"/>
                  <a:pt x="340" y="48"/>
                </a:cubicBezTo>
                <a:cubicBezTo>
                  <a:pt x="339" y="49"/>
                  <a:pt x="339" y="49"/>
                  <a:pt x="339" y="49"/>
                </a:cubicBezTo>
                <a:cubicBezTo>
                  <a:pt x="339" y="50"/>
                  <a:pt x="339" y="50"/>
                  <a:pt x="339" y="50"/>
                </a:cubicBezTo>
                <a:cubicBezTo>
                  <a:pt x="340" y="51"/>
                  <a:pt x="340" y="51"/>
                  <a:pt x="340" y="51"/>
                </a:cubicBezTo>
                <a:cubicBezTo>
                  <a:pt x="341" y="51"/>
                  <a:pt x="341" y="51"/>
                  <a:pt x="341" y="51"/>
                </a:cubicBezTo>
                <a:cubicBezTo>
                  <a:pt x="342" y="50"/>
                  <a:pt x="342" y="50"/>
                  <a:pt x="342" y="50"/>
                </a:cubicBezTo>
                <a:cubicBezTo>
                  <a:pt x="342" y="51"/>
                  <a:pt x="342" y="51"/>
                  <a:pt x="342" y="51"/>
                </a:cubicBezTo>
                <a:cubicBezTo>
                  <a:pt x="341" y="52"/>
                  <a:pt x="341" y="52"/>
                  <a:pt x="341" y="52"/>
                </a:cubicBezTo>
                <a:cubicBezTo>
                  <a:pt x="339" y="53"/>
                  <a:pt x="339" y="53"/>
                  <a:pt x="339" y="53"/>
                </a:cubicBezTo>
                <a:cubicBezTo>
                  <a:pt x="338" y="55"/>
                  <a:pt x="338" y="55"/>
                  <a:pt x="338" y="55"/>
                </a:cubicBezTo>
                <a:cubicBezTo>
                  <a:pt x="338" y="55"/>
                  <a:pt x="338" y="55"/>
                  <a:pt x="338" y="55"/>
                </a:cubicBezTo>
                <a:cubicBezTo>
                  <a:pt x="340" y="54"/>
                  <a:pt x="340" y="54"/>
                  <a:pt x="340" y="54"/>
                </a:cubicBezTo>
                <a:cubicBezTo>
                  <a:pt x="342" y="53"/>
                  <a:pt x="342" y="53"/>
                  <a:pt x="342" y="53"/>
                </a:cubicBezTo>
                <a:cubicBezTo>
                  <a:pt x="342" y="53"/>
                  <a:pt x="342" y="53"/>
                  <a:pt x="342" y="53"/>
                </a:cubicBezTo>
                <a:cubicBezTo>
                  <a:pt x="343" y="52"/>
                  <a:pt x="343" y="52"/>
                  <a:pt x="343" y="52"/>
                </a:cubicBezTo>
                <a:cubicBezTo>
                  <a:pt x="344" y="53"/>
                  <a:pt x="344" y="53"/>
                  <a:pt x="344" y="53"/>
                </a:cubicBezTo>
                <a:cubicBezTo>
                  <a:pt x="344" y="55"/>
                  <a:pt x="344" y="55"/>
                  <a:pt x="344" y="55"/>
                </a:cubicBezTo>
                <a:cubicBezTo>
                  <a:pt x="343" y="55"/>
                  <a:pt x="343" y="55"/>
                  <a:pt x="343" y="55"/>
                </a:cubicBezTo>
                <a:cubicBezTo>
                  <a:pt x="341" y="56"/>
                  <a:pt x="341" y="56"/>
                  <a:pt x="341" y="56"/>
                </a:cubicBezTo>
                <a:cubicBezTo>
                  <a:pt x="341" y="57"/>
                  <a:pt x="341" y="57"/>
                  <a:pt x="341" y="57"/>
                </a:cubicBezTo>
                <a:cubicBezTo>
                  <a:pt x="342" y="58"/>
                  <a:pt x="342" y="58"/>
                  <a:pt x="342" y="58"/>
                </a:cubicBezTo>
                <a:cubicBezTo>
                  <a:pt x="343" y="58"/>
                  <a:pt x="343" y="58"/>
                  <a:pt x="343" y="58"/>
                </a:cubicBezTo>
                <a:cubicBezTo>
                  <a:pt x="344" y="58"/>
                  <a:pt x="344" y="58"/>
                  <a:pt x="344" y="58"/>
                </a:cubicBezTo>
                <a:cubicBezTo>
                  <a:pt x="343" y="59"/>
                  <a:pt x="343" y="59"/>
                  <a:pt x="343" y="59"/>
                </a:cubicBezTo>
                <a:cubicBezTo>
                  <a:pt x="341" y="60"/>
                  <a:pt x="341" y="60"/>
                  <a:pt x="341" y="60"/>
                </a:cubicBezTo>
                <a:cubicBezTo>
                  <a:pt x="340" y="59"/>
                  <a:pt x="340" y="59"/>
                  <a:pt x="340" y="59"/>
                </a:cubicBezTo>
                <a:cubicBezTo>
                  <a:pt x="340" y="60"/>
                  <a:pt x="340" y="60"/>
                  <a:pt x="340" y="60"/>
                </a:cubicBezTo>
                <a:cubicBezTo>
                  <a:pt x="341" y="61"/>
                  <a:pt x="341" y="61"/>
                  <a:pt x="341" y="61"/>
                </a:cubicBezTo>
                <a:cubicBezTo>
                  <a:pt x="341" y="61"/>
                  <a:pt x="341" y="61"/>
                  <a:pt x="341" y="61"/>
                </a:cubicBezTo>
                <a:cubicBezTo>
                  <a:pt x="339" y="63"/>
                  <a:pt x="339" y="63"/>
                  <a:pt x="339" y="63"/>
                </a:cubicBezTo>
                <a:cubicBezTo>
                  <a:pt x="339" y="63"/>
                  <a:pt x="339" y="63"/>
                  <a:pt x="339" y="63"/>
                </a:cubicBezTo>
                <a:cubicBezTo>
                  <a:pt x="338" y="61"/>
                  <a:pt x="338" y="61"/>
                  <a:pt x="338" y="61"/>
                </a:cubicBezTo>
                <a:cubicBezTo>
                  <a:pt x="337" y="61"/>
                  <a:pt x="337" y="61"/>
                  <a:pt x="337" y="61"/>
                </a:cubicBezTo>
                <a:cubicBezTo>
                  <a:pt x="336" y="59"/>
                  <a:pt x="336" y="59"/>
                  <a:pt x="336" y="59"/>
                </a:cubicBezTo>
                <a:cubicBezTo>
                  <a:pt x="334" y="61"/>
                  <a:pt x="334" y="61"/>
                  <a:pt x="334" y="61"/>
                </a:cubicBezTo>
                <a:cubicBezTo>
                  <a:pt x="334" y="61"/>
                  <a:pt x="334" y="61"/>
                  <a:pt x="334" y="61"/>
                </a:cubicBezTo>
                <a:cubicBezTo>
                  <a:pt x="332" y="63"/>
                  <a:pt x="332" y="63"/>
                  <a:pt x="332" y="63"/>
                </a:cubicBezTo>
                <a:cubicBezTo>
                  <a:pt x="334" y="65"/>
                  <a:pt x="334" y="65"/>
                  <a:pt x="334" y="65"/>
                </a:cubicBezTo>
                <a:cubicBezTo>
                  <a:pt x="334" y="66"/>
                  <a:pt x="334" y="66"/>
                  <a:pt x="334" y="66"/>
                </a:cubicBezTo>
                <a:cubicBezTo>
                  <a:pt x="334" y="67"/>
                  <a:pt x="334" y="67"/>
                  <a:pt x="334" y="67"/>
                </a:cubicBezTo>
                <a:cubicBezTo>
                  <a:pt x="335" y="66"/>
                  <a:pt x="335" y="66"/>
                  <a:pt x="335" y="66"/>
                </a:cubicBezTo>
                <a:cubicBezTo>
                  <a:pt x="336" y="66"/>
                  <a:pt x="336" y="66"/>
                  <a:pt x="336" y="66"/>
                </a:cubicBezTo>
                <a:cubicBezTo>
                  <a:pt x="338" y="66"/>
                  <a:pt x="338" y="66"/>
                  <a:pt x="338" y="66"/>
                </a:cubicBezTo>
                <a:cubicBezTo>
                  <a:pt x="340" y="66"/>
                  <a:pt x="340" y="66"/>
                  <a:pt x="340" y="66"/>
                </a:cubicBezTo>
                <a:cubicBezTo>
                  <a:pt x="341" y="67"/>
                  <a:pt x="341" y="67"/>
                  <a:pt x="341" y="67"/>
                </a:cubicBezTo>
                <a:cubicBezTo>
                  <a:pt x="343" y="66"/>
                  <a:pt x="343" y="66"/>
                  <a:pt x="343" y="66"/>
                </a:cubicBezTo>
                <a:cubicBezTo>
                  <a:pt x="343" y="67"/>
                  <a:pt x="343" y="67"/>
                  <a:pt x="343" y="67"/>
                </a:cubicBezTo>
                <a:cubicBezTo>
                  <a:pt x="341" y="68"/>
                  <a:pt x="341" y="68"/>
                  <a:pt x="341" y="68"/>
                </a:cubicBezTo>
                <a:cubicBezTo>
                  <a:pt x="341" y="68"/>
                  <a:pt x="341" y="68"/>
                  <a:pt x="341" y="68"/>
                </a:cubicBezTo>
                <a:cubicBezTo>
                  <a:pt x="341" y="70"/>
                  <a:pt x="341" y="70"/>
                  <a:pt x="341" y="70"/>
                </a:cubicBezTo>
                <a:cubicBezTo>
                  <a:pt x="343" y="69"/>
                  <a:pt x="343" y="69"/>
                  <a:pt x="343" y="69"/>
                </a:cubicBezTo>
                <a:cubicBezTo>
                  <a:pt x="344" y="70"/>
                  <a:pt x="344" y="70"/>
                  <a:pt x="344" y="70"/>
                </a:cubicBezTo>
                <a:cubicBezTo>
                  <a:pt x="345" y="72"/>
                  <a:pt x="345" y="72"/>
                  <a:pt x="345" y="72"/>
                </a:cubicBezTo>
                <a:cubicBezTo>
                  <a:pt x="346" y="72"/>
                  <a:pt x="346" y="72"/>
                  <a:pt x="346" y="72"/>
                </a:cubicBezTo>
                <a:cubicBezTo>
                  <a:pt x="347" y="73"/>
                  <a:pt x="347" y="73"/>
                  <a:pt x="347" y="73"/>
                </a:cubicBezTo>
                <a:cubicBezTo>
                  <a:pt x="346" y="74"/>
                  <a:pt x="346" y="74"/>
                  <a:pt x="346" y="74"/>
                </a:cubicBezTo>
                <a:cubicBezTo>
                  <a:pt x="346" y="75"/>
                  <a:pt x="346" y="75"/>
                  <a:pt x="346" y="75"/>
                </a:cubicBezTo>
                <a:cubicBezTo>
                  <a:pt x="344" y="79"/>
                  <a:pt x="344" y="79"/>
                  <a:pt x="344" y="79"/>
                </a:cubicBezTo>
                <a:close/>
                <a:moveTo>
                  <a:pt x="337" y="70"/>
                </a:moveTo>
                <a:cubicBezTo>
                  <a:pt x="338" y="69"/>
                  <a:pt x="338" y="69"/>
                  <a:pt x="338" y="69"/>
                </a:cubicBezTo>
                <a:cubicBezTo>
                  <a:pt x="339" y="68"/>
                  <a:pt x="339" y="68"/>
                  <a:pt x="339" y="68"/>
                </a:cubicBezTo>
                <a:cubicBezTo>
                  <a:pt x="340" y="68"/>
                  <a:pt x="340" y="68"/>
                  <a:pt x="340" y="68"/>
                </a:cubicBezTo>
                <a:cubicBezTo>
                  <a:pt x="340" y="68"/>
                  <a:pt x="340" y="68"/>
                  <a:pt x="340" y="68"/>
                </a:cubicBezTo>
                <a:cubicBezTo>
                  <a:pt x="339" y="69"/>
                  <a:pt x="339" y="69"/>
                  <a:pt x="339" y="69"/>
                </a:cubicBezTo>
                <a:cubicBezTo>
                  <a:pt x="338" y="70"/>
                  <a:pt x="338" y="70"/>
                  <a:pt x="338" y="70"/>
                </a:cubicBezTo>
                <a:cubicBezTo>
                  <a:pt x="337" y="70"/>
                  <a:pt x="337" y="70"/>
                  <a:pt x="337" y="70"/>
                </a:cubicBezTo>
                <a:close/>
                <a:moveTo>
                  <a:pt x="335" y="77"/>
                </a:moveTo>
                <a:cubicBezTo>
                  <a:pt x="335" y="75"/>
                  <a:pt x="335" y="75"/>
                  <a:pt x="335" y="75"/>
                </a:cubicBezTo>
                <a:cubicBezTo>
                  <a:pt x="337" y="75"/>
                  <a:pt x="337" y="75"/>
                  <a:pt x="337" y="75"/>
                </a:cubicBezTo>
                <a:cubicBezTo>
                  <a:pt x="339" y="76"/>
                  <a:pt x="339" y="76"/>
                  <a:pt x="339" y="76"/>
                </a:cubicBezTo>
                <a:cubicBezTo>
                  <a:pt x="341" y="78"/>
                  <a:pt x="341" y="78"/>
                  <a:pt x="341" y="78"/>
                </a:cubicBezTo>
                <a:cubicBezTo>
                  <a:pt x="341" y="79"/>
                  <a:pt x="341" y="79"/>
                  <a:pt x="341" y="79"/>
                </a:cubicBezTo>
                <a:cubicBezTo>
                  <a:pt x="341" y="81"/>
                  <a:pt x="341" y="81"/>
                  <a:pt x="341" y="81"/>
                </a:cubicBezTo>
                <a:cubicBezTo>
                  <a:pt x="340" y="81"/>
                  <a:pt x="340" y="81"/>
                  <a:pt x="340" y="81"/>
                </a:cubicBezTo>
                <a:cubicBezTo>
                  <a:pt x="339" y="81"/>
                  <a:pt x="339" y="81"/>
                  <a:pt x="339" y="81"/>
                </a:cubicBezTo>
                <a:cubicBezTo>
                  <a:pt x="338" y="81"/>
                  <a:pt x="338" y="81"/>
                  <a:pt x="338" y="81"/>
                </a:cubicBezTo>
                <a:cubicBezTo>
                  <a:pt x="337" y="81"/>
                  <a:pt x="337" y="81"/>
                  <a:pt x="337" y="81"/>
                </a:cubicBezTo>
                <a:cubicBezTo>
                  <a:pt x="336" y="80"/>
                  <a:pt x="336" y="80"/>
                  <a:pt x="336" y="80"/>
                </a:cubicBezTo>
                <a:cubicBezTo>
                  <a:pt x="335" y="78"/>
                  <a:pt x="335" y="78"/>
                  <a:pt x="335" y="78"/>
                </a:cubicBezTo>
                <a:cubicBezTo>
                  <a:pt x="335" y="77"/>
                  <a:pt x="335" y="77"/>
                  <a:pt x="335" y="77"/>
                </a:cubicBezTo>
                <a:close/>
                <a:moveTo>
                  <a:pt x="319" y="87"/>
                </a:moveTo>
                <a:cubicBezTo>
                  <a:pt x="320" y="87"/>
                  <a:pt x="320" y="87"/>
                  <a:pt x="320" y="87"/>
                </a:cubicBezTo>
                <a:cubicBezTo>
                  <a:pt x="322" y="87"/>
                  <a:pt x="322" y="87"/>
                  <a:pt x="322" y="87"/>
                </a:cubicBezTo>
                <a:cubicBezTo>
                  <a:pt x="321" y="88"/>
                  <a:pt x="321" y="88"/>
                  <a:pt x="321" y="88"/>
                </a:cubicBezTo>
                <a:cubicBezTo>
                  <a:pt x="320" y="88"/>
                  <a:pt x="320" y="88"/>
                  <a:pt x="320" y="88"/>
                </a:cubicBezTo>
                <a:cubicBezTo>
                  <a:pt x="319" y="87"/>
                  <a:pt x="319" y="87"/>
                  <a:pt x="319" y="87"/>
                </a:cubicBezTo>
                <a:close/>
                <a:moveTo>
                  <a:pt x="318" y="86"/>
                </a:moveTo>
                <a:cubicBezTo>
                  <a:pt x="317" y="84"/>
                  <a:pt x="317" y="84"/>
                  <a:pt x="317" y="84"/>
                </a:cubicBezTo>
                <a:cubicBezTo>
                  <a:pt x="318" y="83"/>
                  <a:pt x="318" y="83"/>
                  <a:pt x="318" y="83"/>
                </a:cubicBezTo>
                <a:cubicBezTo>
                  <a:pt x="318" y="81"/>
                  <a:pt x="318" y="81"/>
                  <a:pt x="318" y="81"/>
                </a:cubicBezTo>
                <a:cubicBezTo>
                  <a:pt x="318" y="80"/>
                  <a:pt x="318" y="80"/>
                  <a:pt x="318" y="80"/>
                </a:cubicBezTo>
                <a:cubicBezTo>
                  <a:pt x="320" y="79"/>
                  <a:pt x="320" y="79"/>
                  <a:pt x="320" y="79"/>
                </a:cubicBezTo>
                <a:cubicBezTo>
                  <a:pt x="320" y="78"/>
                  <a:pt x="320" y="78"/>
                  <a:pt x="320" y="78"/>
                </a:cubicBezTo>
                <a:cubicBezTo>
                  <a:pt x="320" y="78"/>
                  <a:pt x="320" y="78"/>
                  <a:pt x="320" y="78"/>
                </a:cubicBezTo>
                <a:cubicBezTo>
                  <a:pt x="320" y="77"/>
                  <a:pt x="320" y="77"/>
                  <a:pt x="320" y="77"/>
                </a:cubicBezTo>
                <a:cubicBezTo>
                  <a:pt x="321" y="75"/>
                  <a:pt x="321" y="75"/>
                  <a:pt x="321" y="75"/>
                </a:cubicBezTo>
                <a:cubicBezTo>
                  <a:pt x="321" y="74"/>
                  <a:pt x="321" y="74"/>
                  <a:pt x="321" y="74"/>
                </a:cubicBezTo>
                <a:cubicBezTo>
                  <a:pt x="322" y="73"/>
                  <a:pt x="322" y="73"/>
                  <a:pt x="322" y="73"/>
                </a:cubicBezTo>
                <a:cubicBezTo>
                  <a:pt x="322" y="74"/>
                  <a:pt x="322" y="74"/>
                  <a:pt x="322" y="74"/>
                </a:cubicBezTo>
                <a:cubicBezTo>
                  <a:pt x="323" y="76"/>
                  <a:pt x="323" y="76"/>
                  <a:pt x="323" y="76"/>
                </a:cubicBezTo>
                <a:cubicBezTo>
                  <a:pt x="323" y="76"/>
                  <a:pt x="323" y="76"/>
                  <a:pt x="323" y="76"/>
                </a:cubicBezTo>
                <a:cubicBezTo>
                  <a:pt x="322" y="79"/>
                  <a:pt x="322" y="79"/>
                  <a:pt x="322" y="79"/>
                </a:cubicBezTo>
                <a:cubicBezTo>
                  <a:pt x="322" y="80"/>
                  <a:pt x="322" y="80"/>
                  <a:pt x="322" y="80"/>
                </a:cubicBezTo>
                <a:cubicBezTo>
                  <a:pt x="321" y="81"/>
                  <a:pt x="321" y="81"/>
                  <a:pt x="321" y="81"/>
                </a:cubicBezTo>
                <a:cubicBezTo>
                  <a:pt x="322" y="82"/>
                  <a:pt x="322" y="82"/>
                  <a:pt x="322" y="82"/>
                </a:cubicBezTo>
                <a:cubicBezTo>
                  <a:pt x="321" y="85"/>
                  <a:pt x="321" y="85"/>
                  <a:pt x="321" y="85"/>
                </a:cubicBezTo>
                <a:cubicBezTo>
                  <a:pt x="320" y="86"/>
                  <a:pt x="320" y="86"/>
                  <a:pt x="320" y="86"/>
                </a:cubicBezTo>
                <a:cubicBezTo>
                  <a:pt x="318" y="86"/>
                  <a:pt x="318" y="86"/>
                  <a:pt x="318" y="86"/>
                </a:cubicBezTo>
                <a:close/>
                <a:moveTo>
                  <a:pt x="304" y="57"/>
                </a:moveTo>
                <a:cubicBezTo>
                  <a:pt x="303" y="56"/>
                  <a:pt x="303" y="56"/>
                  <a:pt x="303" y="56"/>
                </a:cubicBezTo>
                <a:cubicBezTo>
                  <a:pt x="303" y="54"/>
                  <a:pt x="303" y="54"/>
                  <a:pt x="303" y="54"/>
                </a:cubicBezTo>
                <a:cubicBezTo>
                  <a:pt x="303" y="54"/>
                  <a:pt x="303" y="54"/>
                  <a:pt x="303" y="54"/>
                </a:cubicBezTo>
                <a:cubicBezTo>
                  <a:pt x="302" y="53"/>
                  <a:pt x="302" y="53"/>
                  <a:pt x="302" y="53"/>
                </a:cubicBezTo>
                <a:cubicBezTo>
                  <a:pt x="301" y="53"/>
                  <a:pt x="301" y="53"/>
                  <a:pt x="301" y="53"/>
                </a:cubicBezTo>
                <a:cubicBezTo>
                  <a:pt x="300" y="53"/>
                  <a:pt x="300" y="53"/>
                  <a:pt x="300" y="53"/>
                </a:cubicBezTo>
                <a:cubicBezTo>
                  <a:pt x="300" y="53"/>
                  <a:pt x="300" y="53"/>
                  <a:pt x="300" y="53"/>
                </a:cubicBezTo>
                <a:cubicBezTo>
                  <a:pt x="298" y="53"/>
                  <a:pt x="298" y="53"/>
                  <a:pt x="298" y="53"/>
                </a:cubicBezTo>
                <a:cubicBezTo>
                  <a:pt x="297" y="53"/>
                  <a:pt x="297" y="53"/>
                  <a:pt x="297" y="53"/>
                </a:cubicBezTo>
                <a:cubicBezTo>
                  <a:pt x="297" y="52"/>
                  <a:pt x="297" y="52"/>
                  <a:pt x="297" y="52"/>
                </a:cubicBezTo>
                <a:cubicBezTo>
                  <a:pt x="298" y="51"/>
                  <a:pt x="298" y="51"/>
                  <a:pt x="298" y="51"/>
                </a:cubicBezTo>
                <a:cubicBezTo>
                  <a:pt x="298" y="50"/>
                  <a:pt x="298" y="50"/>
                  <a:pt x="298" y="50"/>
                </a:cubicBezTo>
                <a:cubicBezTo>
                  <a:pt x="300" y="50"/>
                  <a:pt x="300" y="50"/>
                  <a:pt x="300" y="50"/>
                </a:cubicBezTo>
                <a:cubicBezTo>
                  <a:pt x="301" y="50"/>
                  <a:pt x="301" y="50"/>
                  <a:pt x="301" y="50"/>
                </a:cubicBezTo>
                <a:cubicBezTo>
                  <a:pt x="305" y="49"/>
                  <a:pt x="305" y="49"/>
                  <a:pt x="305" y="49"/>
                </a:cubicBezTo>
                <a:cubicBezTo>
                  <a:pt x="306" y="49"/>
                  <a:pt x="306" y="49"/>
                  <a:pt x="306" y="49"/>
                </a:cubicBezTo>
                <a:cubicBezTo>
                  <a:pt x="307" y="50"/>
                  <a:pt x="307" y="50"/>
                  <a:pt x="307" y="50"/>
                </a:cubicBezTo>
                <a:cubicBezTo>
                  <a:pt x="308" y="50"/>
                  <a:pt x="308" y="50"/>
                  <a:pt x="308" y="50"/>
                </a:cubicBezTo>
                <a:cubicBezTo>
                  <a:pt x="309" y="50"/>
                  <a:pt x="309" y="50"/>
                  <a:pt x="309" y="50"/>
                </a:cubicBezTo>
                <a:cubicBezTo>
                  <a:pt x="311" y="49"/>
                  <a:pt x="311" y="49"/>
                  <a:pt x="311" y="49"/>
                </a:cubicBezTo>
                <a:cubicBezTo>
                  <a:pt x="313" y="49"/>
                  <a:pt x="313" y="49"/>
                  <a:pt x="313" y="49"/>
                </a:cubicBezTo>
                <a:cubicBezTo>
                  <a:pt x="313" y="49"/>
                  <a:pt x="313" y="49"/>
                  <a:pt x="313" y="49"/>
                </a:cubicBezTo>
                <a:cubicBezTo>
                  <a:pt x="314" y="48"/>
                  <a:pt x="314" y="48"/>
                  <a:pt x="314" y="48"/>
                </a:cubicBezTo>
                <a:cubicBezTo>
                  <a:pt x="315" y="49"/>
                  <a:pt x="315" y="49"/>
                  <a:pt x="315" y="49"/>
                </a:cubicBezTo>
                <a:cubicBezTo>
                  <a:pt x="315" y="49"/>
                  <a:pt x="315" y="49"/>
                  <a:pt x="315" y="49"/>
                </a:cubicBezTo>
                <a:cubicBezTo>
                  <a:pt x="316" y="51"/>
                  <a:pt x="316" y="51"/>
                  <a:pt x="316" y="51"/>
                </a:cubicBezTo>
                <a:cubicBezTo>
                  <a:pt x="316" y="52"/>
                  <a:pt x="316" y="52"/>
                  <a:pt x="316" y="52"/>
                </a:cubicBezTo>
                <a:cubicBezTo>
                  <a:pt x="314" y="54"/>
                  <a:pt x="314" y="54"/>
                  <a:pt x="314" y="54"/>
                </a:cubicBezTo>
                <a:cubicBezTo>
                  <a:pt x="315" y="55"/>
                  <a:pt x="315" y="55"/>
                  <a:pt x="315" y="55"/>
                </a:cubicBezTo>
                <a:cubicBezTo>
                  <a:pt x="314" y="58"/>
                  <a:pt x="314" y="58"/>
                  <a:pt x="314" y="58"/>
                </a:cubicBezTo>
                <a:cubicBezTo>
                  <a:pt x="313" y="58"/>
                  <a:pt x="313" y="58"/>
                  <a:pt x="313" y="58"/>
                </a:cubicBezTo>
                <a:cubicBezTo>
                  <a:pt x="312" y="60"/>
                  <a:pt x="312" y="60"/>
                  <a:pt x="312" y="60"/>
                </a:cubicBezTo>
                <a:cubicBezTo>
                  <a:pt x="311" y="59"/>
                  <a:pt x="311" y="59"/>
                  <a:pt x="311" y="59"/>
                </a:cubicBezTo>
                <a:cubicBezTo>
                  <a:pt x="310" y="59"/>
                  <a:pt x="310" y="59"/>
                  <a:pt x="310" y="59"/>
                </a:cubicBezTo>
                <a:cubicBezTo>
                  <a:pt x="309" y="59"/>
                  <a:pt x="309" y="59"/>
                  <a:pt x="309" y="59"/>
                </a:cubicBezTo>
                <a:cubicBezTo>
                  <a:pt x="308" y="59"/>
                  <a:pt x="308" y="59"/>
                  <a:pt x="308" y="59"/>
                </a:cubicBezTo>
                <a:cubicBezTo>
                  <a:pt x="306" y="57"/>
                  <a:pt x="306" y="57"/>
                  <a:pt x="306" y="57"/>
                </a:cubicBezTo>
                <a:cubicBezTo>
                  <a:pt x="306" y="56"/>
                  <a:pt x="306" y="56"/>
                  <a:pt x="306" y="56"/>
                </a:cubicBezTo>
                <a:cubicBezTo>
                  <a:pt x="305" y="54"/>
                  <a:pt x="305" y="54"/>
                  <a:pt x="305" y="54"/>
                </a:cubicBezTo>
                <a:cubicBezTo>
                  <a:pt x="305" y="55"/>
                  <a:pt x="305" y="55"/>
                  <a:pt x="305" y="55"/>
                </a:cubicBezTo>
                <a:cubicBezTo>
                  <a:pt x="305" y="56"/>
                  <a:pt x="305" y="56"/>
                  <a:pt x="305" y="56"/>
                </a:cubicBezTo>
                <a:cubicBezTo>
                  <a:pt x="304" y="57"/>
                  <a:pt x="304" y="57"/>
                  <a:pt x="304" y="57"/>
                </a:cubicBezTo>
                <a:close/>
                <a:moveTo>
                  <a:pt x="286" y="67"/>
                </a:moveTo>
                <a:cubicBezTo>
                  <a:pt x="287" y="65"/>
                  <a:pt x="287" y="65"/>
                  <a:pt x="287" y="65"/>
                </a:cubicBezTo>
                <a:cubicBezTo>
                  <a:pt x="287" y="64"/>
                  <a:pt x="287" y="64"/>
                  <a:pt x="287" y="64"/>
                </a:cubicBezTo>
                <a:cubicBezTo>
                  <a:pt x="289" y="63"/>
                  <a:pt x="289" y="63"/>
                  <a:pt x="289" y="63"/>
                </a:cubicBezTo>
                <a:cubicBezTo>
                  <a:pt x="289" y="62"/>
                  <a:pt x="289" y="62"/>
                  <a:pt x="289" y="62"/>
                </a:cubicBezTo>
                <a:cubicBezTo>
                  <a:pt x="290" y="61"/>
                  <a:pt x="290" y="61"/>
                  <a:pt x="290" y="61"/>
                </a:cubicBezTo>
                <a:cubicBezTo>
                  <a:pt x="291" y="60"/>
                  <a:pt x="291" y="60"/>
                  <a:pt x="291" y="60"/>
                </a:cubicBezTo>
                <a:cubicBezTo>
                  <a:pt x="292" y="60"/>
                  <a:pt x="292" y="60"/>
                  <a:pt x="292" y="60"/>
                </a:cubicBezTo>
                <a:cubicBezTo>
                  <a:pt x="295" y="60"/>
                  <a:pt x="295" y="60"/>
                  <a:pt x="295" y="60"/>
                </a:cubicBezTo>
                <a:cubicBezTo>
                  <a:pt x="296" y="60"/>
                  <a:pt x="296" y="60"/>
                  <a:pt x="296" y="60"/>
                </a:cubicBezTo>
                <a:cubicBezTo>
                  <a:pt x="297" y="60"/>
                  <a:pt x="297" y="60"/>
                  <a:pt x="297" y="60"/>
                </a:cubicBezTo>
                <a:cubicBezTo>
                  <a:pt x="298" y="61"/>
                  <a:pt x="298" y="61"/>
                  <a:pt x="298" y="61"/>
                </a:cubicBezTo>
                <a:cubicBezTo>
                  <a:pt x="299" y="61"/>
                  <a:pt x="299" y="61"/>
                  <a:pt x="299" y="61"/>
                </a:cubicBezTo>
                <a:cubicBezTo>
                  <a:pt x="300" y="60"/>
                  <a:pt x="300" y="60"/>
                  <a:pt x="300" y="60"/>
                </a:cubicBezTo>
                <a:cubicBezTo>
                  <a:pt x="302" y="61"/>
                  <a:pt x="302" y="61"/>
                  <a:pt x="302" y="61"/>
                </a:cubicBezTo>
                <a:cubicBezTo>
                  <a:pt x="302" y="61"/>
                  <a:pt x="302" y="61"/>
                  <a:pt x="302" y="61"/>
                </a:cubicBezTo>
                <a:cubicBezTo>
                  <a:pt x="304" y="61"/>
                  <a:pt x="304" y="61"/>
                  <a:pt x="304" y="61"/>
                </a:cubicBezTo>
                <a:cubicBezTo>
                  <a:pt x="305" y="62"/>
                  <a:pt x="305" y="62"/>
                  <a:pt x="305" y="62"/>
                </a:cubicBezTo>
                <a:cubicBezTo>
                  <a:pt x="306" y="62"/>
                  <a:pt x="306" y="62"/>
                  <a:pt x="306" y="62"/>
                </a:cubicBezTo>
                <a:cubicBezTo>
                  <a:pt x="307" y="62"/>
                  <a:pt x="307" y="62"/>
                  <a:pt x="307" y="62"/>
                </a:cubicBezTo>
                <a:cubicBezTo>
                  <a:pt x="308" y="63"/>
                  <a:pt x="308" y="63"/>
                  <a:pt x="308" y="63"/>
                </a:cubicBezTo>
                <a:cubicBezTo>
                  <a:pt x="306" y="65"/>
                  <a:pt x="306" y="65"/>
                  <a:pt x="306" y="65"/>
                </a:cubicBezTo>
                <a:cubicBezTo>
                  <a:pt x="305" y="65"/>
                  <a:pt x="305" y="65"/>
                  <a:pt x="305" y="65"/>
                </a:cubicBezTo>
                <a:cubicBezTo>
                  <a:pt x="302" y="66"/>
                  <a:pt x="302" y="66"/>
                  <a:pt x="302" y="66"/>
                </a:cubicBezTo>
                <a:cubicBezTo>
                  <a:pt x="301" y="66"/>
                  <a:pt x="301" y="66"/>
                  <a:pt x="301" y="66"/>
                </a:cubicBezTo>
                <a:cubicBezTo>
                  <a:pt x="300" y="67"/>
                  <a:pt x="300" y="67"/>
                  <a:pt x="300" y="67"/>
                </a:cubicBezTo>
                <a:cubicBezTo>
                  <a:pt x="300" y="68"/>
                  <a:pt x="300" y="68"/>
                  <a:pt x="300" y="68"/>
                </a:cubicBezTo>
                <a:cubicBezTo>
                  <a:pt x="301" y="68"/>
                  <a:pt x="301" y="68"/>
                  <a:pt x="301" y="68"/>
                </a:cubicBezTo>
                <a:cubicBezTo>
                  <a:pt x="302" y="68"/>
                  <a:pt x="302" y="68"/>
                  <a:pt x="302" y="68"/>
                </a:cubicBezTo>
                <a:cubicBezTo>
                  <a:pt x="302" y="69"/>
                  <a:pt x="302" y="69"/>
                  <a:pt x="302" y="69"/>
                </a:cubicBezTo>
                <a:cubicBezTo>
                  <a:pt x="300" y="71"/>
                  <a:pt x="300" y="71"/>
                  <a:pt x="300" y="71"/>
                </a:cubicBezTo>
                <a:cubicBezTo>
                  <a:pt x="300" y="71"/>
                  <a:pt x="300" y="71"/>
                  <a:pt x="300" y="71"/>
                </a:cubicBezTo>
                <a:cubicBezTo>
                  <a:pt x="299" y="72"/>
                  <a:pt x="299" y="72"/>
                  <a:pt x="299" y="72"/>
                </a:cubicBezTo>
                <a:cubicBezTo>
                  <a:pt x="299" y="72"/>
                  <a:pt x="299" y="72"/>
                  <a:pt x="299" y="72"/>
                </a:cubicBezTo>
                <a:cubicBezTo>
                  <a:pt x="298" y="73"/>
                  <a:pt x="298" y="73"/>
                  <a:pt x="298" y="73"/>
                </a:cubicBezTo>
                <a:cubicBezTo>
                  <a:pt x="297" y="73"/>
                  <a:pt x="297" y="73"/>
                  <a:pt x="297" y="73"/>
                </a:cubicBezTo>
                <a:cubicBezTo>
                  <a:pt x="295" y="74"/>
                  <a:pt x="295" y="74"/>
                  <a:pt x="295" y="74"/>
                </a:cubicBezTo>
                <a:cubicBezTo>
                  <a:pt x="294" y="74"/>
                  <a:pt x="294" y="74"/>
                  <a:pt x="294" y="74"/>
                </a:cubicBezTo>
                <a:cubicBezTo>
                  <a:pt x="293" y="73"/>
                  <a:pt x="293" y="73"/>
                  <a:pt x="293" y="73"/>
                </a:cubicBezTo>
                <a:cubicBezTo>
                  <a:pt x="292" y="73"/>
                  <a:pt x="292" y="73"/>
                  <a:pt x="292" y="73"/>
                </a:cubicBezTo>
                <a:cubicBezTo>
                  <a:pt x="291" y="73"/>
                  <a:pt x="291" y="73"/>
                  <a:pt x="291" y="73"/>
                </a:cubicBezTo>
                <a:cubicBezTo>
                  <a:pt x="289" y="73"/>
                  <a:pt x="289" y="73"/>
                  <a:pt x="289" y="73"/>
                </a:cubicBezTo>
                <a:cubicBezTo>
                  <a:pt x="289" y="73"/>
                  <a:pt x="289" y="73"/>
                  <a:pt x="289" y="73"/>
                </a:cubicBezTo>
                <a:cubicBezTo>
                  <a:pt x="290" y="72"/>
                  <a:pt x="290" y="72"/>
                  <a:pt x="290" y="72"/>
                </a:cubicBezTo>
                <a:cubicBezTo>
                  <a:pt x="289" y="71"/>
                  <a:pt x="289" y="71"/>
                  <a:pt x="289" y="71"/>
                </a:cubicBezTo>
                <a:cubicBezTo>
                  <a:pt x="288" y="70"/>
                  <a:pt x="288" y="70"/>
                  <a:pt x="288" y="70"/>
                </a:cubicBezTo>
                <a:cubicBezTo>
                  <a:pt x="287" y="70"/>
                  <a:pt x="287" y="70"/>
                  <a:pt x="287" y="70"/>
                </a:cubicBezTo>
                <a:cubicBezTo>
                  <a:pt x="287" y="68"/>
                  <a:pt x="287" y="68"/>
                  <a:pt x="287" y="68"/>
                </a:cubicBezTo>
                <a:cubicBezTo>
                  <a:pt x="286" y="67"/>
                  <a:pt x="286" y="67"/>
                  <a:pt x="286" y="67"/>
                </a:cubicBezTo>
                <a:close/>
                <a:moveTo>
                  <a:pt x="285" y="62"/>
                </a:moveTo>
                <a:cubicBezTo>
                  <a:pt x="286" y="63"/>
                  <a:pt x="286" y="63"/>
                  <a:pt x="286" y="63"/>
                </a:cubicBezTo>
                <a:cubicBezTo>
                  <a:pt x="287" y="62"/>
                  <a:pt x="287" y="62"/>
                  <a:pt x="287" y="62"/>
                </a:cubicBezTo>
                <a:cubicBezTo>
                  <a:pt x="288" y="61"/>
                  <a:pt x="288" y="61"/>
                  <a:pt x="288" y="61"/>
                </a:cubicBezTo>
                <a:cubicBezTo>
                  <a:pt x="288" y="59"/>
                  <a:pt x="288" y="59"/>
                  <a:pt x="288" y="59"/>
                </a:cubicBezTo>
                <a:cubicBezTo>
                  <a:pt x="289" y="58"/>
                  <a:pt x="289" y="58"/>
                  <a:pt x="289" y="58"/>
                </a:cubicBezTo>
                <a:cubicBezTo>
                  <a:pt x="288" y="57"/>
                  <a:pt x="288" y="57"/>
                  <a:pt x="288" y="57"/>
                </a:cubicBezTo>
                <a:cubicBezTo>
                  <a:pt x="289" y="56"/>
                  <a:pt x="289" y="56"/>
                  <a:pt x="289" y="56"/>
                </a:cubicBezTo>
                <a:cubicBezTo>
                  <a:pt x="288" y="56"/>
                  <a:pt x="288" y="56"/>
                  <a:pt x="288" y="56"/>
                </a:cubicBezTo>
                <a:cubicBezTo>
                  <a:pt x="287" y="56"/>
                  <a:pt x="287" y="56"/>
                  <a:pt x="287" y="56"/>
                </a:cubicBezTo>
                <a:cubicBezTo>
                  <a:pt x="286" y="56"/>
                  <a:pt x="286" y="56"/>
                  <a:pt x="286" y="56"/>
                </a:cubicBezTo>
                <a:cubicBezTo>
                  <a:pt x="285" y="56"/>
                  <a:pt x="285" y="56"/>
                  <a:pt x="285" y="56"/>
                </a:cubicBezTo>
                <a:cubicBezTo>
                  <a:pt x="285" y="56"/>
                  <a:pt x="285" y="56"/>
                  <a:pt x="285" y="56"/>
                </a:cubicBezTo>
                <a:cubicBezTo>
                  <a:pt x="284" y="58"/>
                  <a:pt x="284" y="58"/>
                  <a:pt x="284" y="58"/>
                </a:cubicBezTo>
                <a:cubicBezTo>
                  <a:pt x="284" y="59"/>
                  <a:pt x="284" y="59"/>
                  <a:pt x="284" y="59"/>
                </a:cubicBezTo>
                <a:cubicBezTo>
                  <a:pt x="284" y="60"/>
                  <a:pt x="284" y="60"/>
                  <a:pt x="284" y="60"/>
                </a:cubicBezTo>
                <a:cubicBezTo>
                  <a:pt x="285" y="62"/>
                  <a:pt x="285" y="62"/>
                  <a:pt x="285" y="62"/>
                </a:cubicBezTo>
                <a:close/>
                <a:moveTo>
                  <a:pt x="391" y="155"/>
                </a:moveTo>
                <a:cubicBezTo>
                  <a:pt x="391" y="155"/>
                  <a:pt x="392" y="155"/>
                  <a:pt x="392" y="155"/>
                </a:cubicBezTo>
                <a:cubicBezTo>
                  <a:pt x="393" y="155"/>
                  <a:pt x="393" y="155"/>
                  <a:pt x="393" y="155"/>
                </a:cubicBezTo>
                <a:cubicBezTo>
                  <a:pt x="393" y="156"/>
                  <a:pt x="393" y="156"/>
                  <a:pt x="393" y="156"/>
                </a:cubicBezTo>
                <a:cubicBezTo>
                  <a:pt x="395" y="156"/>
                  <a:pt x="395" y="156"/>
                  <a:pt x="395" y="156"/>
                </a:cubicBezTo>
                <a:cubicBezTo>
                  <a:pt x="395" y="156"/>
                  <a:pt x="395" y="156"/>
                  <a:pt x="395" y="156"/>
                </a:cubicBezTo>
                <a:cubicBezTo>
                  <a:pt x="396" y="156"/>
                  <a:pt x="396" y="156"/>
                  <a:pt x="396" y="156"/>
                </a:cubicBezTo>
                <a:cubicBezTo>
                  <a:pt x="398" y="155"/>
                  <a:pt x="398" y="155"/>
                  <a:pt x="398" y="155"/>
                </a:cubicBezTo>
                <a:cubicBezTo>
                  <a:pt x="399" y="155"/>
                  <a:pt x="399" y="155"/>
                  <a:pt x="399" y="155"/>
                </a:cubicBezTo>
                <a:cubicBezTo>
                  <a:pt x="401" y="156"/>
                  <a:pt x="401" y="156"/>
                  <a:pt x="401" y="156"/>
                </a:cubicBezTo>
                <a:cubicBezTo>
                  <a:pt x="402" y="156"/>
                  <a:pt x="402" y="156"/>
                  <a:pt x="402" y="156"/>
                </a:cubicBezTo>
                <a:cubicBezTo>
                  <a:pt x="403" y="156"/>
                  <a:pt x="403" y="156"/>
                  <a:pt x="403" y="156"/>
                </a:cubicBezTo>
                <a:cubicBezTo>
                  <a:pt x="404" y="155"/>
                  <a:pt x="404" y="155"/>
                  <a:pt x="404" y="155"/>
                </a:cubicBezTo>
                <a:cubicBezTo>
                  <a:pt x="404" y="155"/>
                  <a:pt x="404" y="155"/>
                  <a:pt x="404" y="155"/>
                </a:cubicBezTo>
                <a:cubicBezTo>
                  <a:pt x="404" y="153"/>
                  <a:pt x="404" y="153"/>
                  <a:pt x="404" y="153"/>
                </a:cubicBezTo>
                <a:cubicBezTo>
                  <a:pt x="405" y="153"/>
                  <a:pt x="405" y="153"/>
                  <a:pt x="405" y="153"/>
                </a:cubicBezTo>
                <a:cubicBezTo>
                  <a:pt x="405" y="152"/>
                  <a:pt x="405" y="152"/>
                  <a:pt x="405" y="152"/>
                </a:cubicBezTo>
                <a:cubicBezTo>
                  <a:pt x="405" y="151"/>
                  <a:pt x="405" y="151"/>
                  <a:pt x="405" y="151"/>
                </a:cubicBezTo>
                <a:cubicBezTo>
                  <a:pt x="405" y="150"/>
                  <a:pt x="405" y="150"/>
                  <a:pt x="405" y="150"/>
                </a:cubicBezTo>
                <a:cubicBezTo>
                  <a:pt x="405" y="150"/>
                  <a:pt x="405" y="150"/>
                  <a:pt x="405" y="150"/>
                </a:cubicBezTo>
                <a:cubicBezTo>
                  <a:pt x="405" y="151"/>
                  <a:pt x="405" y="151"/>
                  <a:pt x="405" y="151"/>
                </a:cubicBezTo>
                <a:cubicBezTo>
                  <a:pt x="406" y="153"/>
                  <a:pt x="406" y="153"/>
                  <a:pt x="406" y="153"/>
                </a:cubicBezTo>
                <a:cubicBezTo>
                  <a:pt x="407" y="152"/>
                  <a:pt x="407" y="152"/>
                  <a:pt x="407" y="152"/>
                </a:cubicBezTo>
                <a:cubicBezTo>
                  <a:pt x="408" y="152"/>
                  <a:pt x="408" y="152"/>
                  <a:pt x="408" y="152"/>
                </a:cubicBezTo>
                <a:cubicBezTo>
                  <a:pt x="408" y="152"/>
                  <a:pt x="408" y="152"/>
                  <a:pt x="408" y="152"/>
                </a:cubicBezTo>
                <a:cubicBezTo>
                  <a:pt x="409" y="152"/>
                  <a:pt x="409" y="152"/>
                  <a:pt x="409" y="152"/>
                </a:cubicBezTo>
                <a:cubicBezTo>
                  <a:pt x="409" y="151"/>
                  <a:pt x="409" y="151"/>
                  <a:pt x="409" y="151"/>
                </a:cubicBezTo>
                <a:cubicBezTo>
                  <a:pt x="409" y="150"/>
                  <a:pt x="409" y="150"/>
                  <a:pt x="409" y="150"/>
                </a:cubicBezTo>
                <a:cubicBezTo>
                  <a:pt x="409" y="149"/>
                  <a:pt x="409" y="149"/>
                  <a:pt x="409" y="149"/>
                </a:cubicBezTo>
                <a:cubicBezTo>
                  <a:pt x="408" y="149"/>
                  <a:pt x="408" y="149"/>
                  <a:pt x="408" y="149"/>
                </a:cubicBezTo>
                <a:cubicBezTo>
                  <a:pt x="407" y="149"/>
                  <a:pt x="407" y="149"/>
                  <a:pt x="407" y="149"/>
                </a:cubicBezTo>
                <a:cubicBezTo>
                  <a:pt x="406" y="149"/>
                  <a:pt x="406" y="149"/>
                  <a:pt x="406" y="149"/>
                </a:cubicBezTo>
                <a:cubicBezTo>
                  <a:pt x="405" y="148"/>
                  <a:pt x="405" y="148"/>
                  <a:pt x="405" y="148"/>
                </a:cubicBezTo>
                <a:cubicBezTo>
                  <a:pt x="406" y="148"/>
                  <a:pt x="406" y="148"/>
                  <a:pt x="406" y="148"/>
                </a:cubicBezTo>
                <a:cubicBezTo>
                  <a:pt x="407" y="148"/>
                  <a:pt x="407" y="148"/>
                  <a:pt x="407" y="148"/>
                </a:cubicBezTo>
                <a:cubicBezTo>
                  <a:pt x="408" y="148"/>
                  <a:pt x="408" y="148"/>
                  <a:pt x="408" y="148"/>
                </a:cubicBezTo>
                <a:cubicBezTo>
                  <a:pt x="409" y="147"/>
                  <a:pt x="409" y="147"/>
                  <a:pt x="409" y="147"/>
                </a:cubicBezTo>
                <a:cubicBezTo>
                  <a:pt x="409" y="147"/>
                  <a:pt x="409" y="147"/>
                  <a:pt x="409" y="147"/>
                </a:cubicBezTo>
                <a:cubicBezTo>
                  <a:pt x="410" y="147"/>
                  <a:pt x="410" y="147"/>
                  <a:pt x="410" y="147"/>
                </a:cubicBezTo>
                <a:cubicBezTo>
                  <a:pt x="411" y="146"/>
                  <a:pt x="411" y="146"/>
                  <a:pt x="411" y="146"/>
                </a:cubicBezTo>
                <a:cubicBezTo>
                  <a:pt x="411" y="145"/>
                  <a:pt x="411" y="145"/>
                  <a:pt x="411" y="145"/>
                </a:cubicBezTo>
                <a:cubicBezTo>
                  <a:pt x="411" y="144"/>
                  <a:pt x="411" y="144"/>
                  <a:pt x="411" y="144"/>
                </a:cubicBezTo>
                <a:cubicBezTo>
                  <a:pt x="411" y="143"/>
                  <a:pt x="411" y="143"/>
                  <a:pt x="411" y="143"/>
                </a:cubicBezTo>
                <a:cubicBezTo>
                  <a:pt x="412" y="143"/>
                  <a:pt x="412" y="143"/>
                  <a:pt x="412" y="143"/>
                </a:cubicBezTo>
                <a:cubicBezTo>
                  <a:pt x="412" y="142"/>
                  <a:pt x="412" y="142"/>
                  <a:pt x="412" y="142"/>
                </a:cubicBezTo>
                <a:cubicBezTo>
                  <a:pt x="410" y="142"/>
                  <a:pt x="410" y="142"/>
                  <a:pt x="410" y="142"/>
                </a:cubicBezTo>
                <a:cubicBezTo>
                  <a:pt x="409" y="142"/>
                  <a:pt x="409" y="142"/>
                  <a:pt x="409" y="142"/>
                </a:cubicBezTo>
                <a:cubicBezTo>
                  <a:pt x="410" y="141"/>
                  <a:pt x="410" y="141"/>
                  <a:pt x="410" y="141"/>
                </a:cubicBezTo>
                <a:cubicBezTo>
                  <a:pt x="410" y="141"/>
                  <a:pt x="410" y="141"/>
                  <a:pt x="410" y="141"/>
                </a:cubicBezTo>
                <a:cubicBezTo>
                  <a:pt x="410" y="140"/>
                  <a:pt x="410" y="140"/>
                  <a:pt x="410" y="140"/>
                </a:cubicBezTo>
                <a:cubicBezTo>
                  <a:pt x="409" y="139"/>
                  <a:pt x="409" y="139"/>
                  <a:pt x="409" y="139"/>
                </a:cubicBezTo>
                <a:cubicBezTo>
                  <a:pt x="407" y="139"/>
                  <a:pt x="407" y="139"/>
                  <a:pt x="407" y="139"/>
                </a:cubicBezTo>
                <a:cubicBezTo>
                  <a:pt x="406" y="138"/>
                  <a:pt x="406" y="138"/>
                  <a:pt x="406" y="138"/>
                </a:cubicBezTo>
                <a:cubicBezTo>
                  <a:pt x="407" y="138"/>
                  <a:pt x="407" y="138"/>
                  <a:pt x="407" y="138"/>
                </a:cubicBezTo>
                <a:cubicBezTo>
                  <a:pt x="407" y="137"/>
                  <a:pt x="407" y="137"/>
                  <a:pt x="407" y="137"/>
                </a:cubicBezTo>
                <a:cubicBezTo>
                  <a:pt x="407" y="136"/>
                  <a:pt x="407" y="136"/>
                  <a:pt x="407" y="136"/>
                </a:cubicBezTo>
                <a:cubicBezTo>
                  <a:pt x="405" y="135"/>
                  <a:pt x="405" y="135"/>
                  <a:pt x="405" y="135"/>
                </a:cubicBezTo>
                <a:cubicBezTo>
                  <a:pt x="404" y="135"/>
                  <a:pt x="404" y="135"/>
                  <a:pt x="404" y="135"/>
                </a:cubicBezTo>
                <a:cubicBezTo>
                  <a:pt x="403" y="135"/>
                  <a:pt x="403" y="135"/>
                  <a:pt x="403" y="135"/>
                </a:cubicBezTo>
                <a:cubicBezTo>
                  <a:pt x="401" y="135"/>
                  <a:pt x="401" y="135"/>
                  <a:pt x="401" y="135"/>
                </a:cubicBezTo>
                <a:cubicBezTo>
                  <a:pt x="399" y="136"/>
                  <a:pt x="399" y="136"/>
                  <a:pt x="399" y="136"/>
                </a:cubicBezTo>
                <a:cubicBezTo>
                  <a:pt x="397" y="134"/>
                  <a:pt x="397" y="134"/>
                  <a:pt x="397" y="134"/>
                </a:cubicBezTo>
                <a:cubicBezTo>
                  <a:pt x="397" y="133"/>
                  <a:pt x="397" y="133"/>
                  <a:pt x="397" y="133"/>
                </a:cubicBezTo>
                <a:cubicBezTo>
                  <a:pt x="396" y="133"/>
                  <a:pt x="396" y="133"/>
                  <a:pt x="396" y="133"/>
                </a:cubicBezTo>
                <a:cubicBezTo>
                  <a:pt x="395" y="134"/>
                  <a:pt x="395" y="134"/>
                  <a:pt x="395" y="134"/>
                </a:cubicBezTo>
                <a:cubicBezTo>
                  <a:pt x="394" y="134"/>
                  <a:pt x="394" y="134"/>
                  <a:pt x="394" y="134"/>
                </a:cubicBezTo>
                <a:cubicBezTo>
                  <a:pt x="393" y="134"/>
                  <a:pt x="393" y="134"/>
                  <a:pt x="393" y="134"/>
                </a:cubicBezTo>
                <a:cubicBezTo>
                  <a:pt x="392" y="134"/>
                  <a:pt x="392" y="134"/>
                  <a:pt x="392" y="134"/>
                </a:cubicBezTo>
                <a:cubicBezTo>
                  <a:pt x="392" y="135"/>
                  <a:pt x="392" y="135"/>
                  <a:pt x="392" y="135"/>
                </a:cubicBezTo>
                <a:cubicBezTo>
                  <a:pt x="391" y="134"/>
                  <a:pt x="391" y="134"/>
                  <a:pt x="391" y="134"/>
                </a:cubicBezTo>
                <a:cubicBezTo>
                  <a:pt x="390" y="134"/>
                  <a:pt x="390" y="134"/>
                  <a:pt x="390" y="134"/>
                </a:cubicBezTo>
                <a:cubicBezTo>
                  <a:pt x="389" y="134"/>
                  <a:pt x="389" y="134"/>
                  <a:pt x="389" y="134"/>
                </a:cubicBezTo>
                <a:cubicBezTo>
                  <a:pt x="387" y="134"/>
                  <a:pt x="387" y="134"/>
                  <a:pt x="387" y="134"/>
                </a:cubicBezTo>
                <a:cubicBezTo>
                  <a:pt x="387" y="135"/>
                  <a:pt x="387" y="135"/>
                  <a:pt x="387" y="135"/>
                </a:cubicBezTo>
                <a:cubicBezTo>
                  <a:pt x="387" y="136"/>
                  <a:pt x="387" y="136"/>
                  <a:pt x="387" y="136"/>
                </a:cubicBezTo>
                <a:cubicBezTo>
                  <a:pt x="387" y="135"/>
                  <a:pt x="387" y="135"/>
                  <a:pt x="387" y="135"/>
                </a:cubicBezTo>
                <a:cubicBezTo>
                  <a:pt x="386" y="134"/>
                  <a:pt x="386" y="134"/>
                  <a:pt x="386" y="134"/>
                </a:cubicBezTo>
                <a:cubicBezTo>
                  <a:pt x="385" y="135"/>
                  <a:pt x="385" y="135"/>
                  <a:pt x="385" y="135"/>
                </a:cubicBezTo>
                <a:cubicBezTo>
                  <a:pt x="382" y="134"/>
                  <a:pt x="382" y="134"/>
                  <a:pt x="382" y="134"/>
                </a:cubicBezTo>
                <a:cubicBezTo>
                  <a:pt x="382" y="135"/>
                  <a:pt x="382" y="135"/>
                  <a:pt x="382" y="135"/>
                </a:cubicBezTo>
                <a:cubicBezTo>
                  <a:pt x="383" y="135"/>
                  <a:pt x="383" y="135"/>
                  <a:pt x="383" y="135"/>
                </a:cubicBezTo>
                <a:cubicBezTo>
                  <a:pt x="383" y="136"/>
                  <a:pt x="383" y="136"/>
                  <a:pt x="383" y="136"/>
                </a:cubicBezTo>
                <a:cubicBezTo>
                  <a:pt x="384" y="137"/>
                  <a:pt x="384" y="137"/>
                  <a:pt x="384" y="137"/>
                </a:cubicBezTo>
                <a:cubicBezTo>
                  <a:pt x="383" y="137"/>
                  <a:pt x="383" y="137"/>
                  <a:pt x="383" y="137"/>
                </a:cubicBezTo>
                <a:cubicBezTo>
                  <a:pt x="382" y="136"/>
                  <a:pt x="382" y="136"/>
                  <a:pt x="382" y="136"/>
                </a:cubicBezTo>
                <a:cubicBezTo>
                  <a:pt x="381" y="136"/>
                  <a:pt x="381" y="136"/>
                  <a:pt x="381" y="136"/>
                </a:cubicBezTo>
                <a:cubicBezTo>
                  <a:pt x="380" y="136"/>
                  <a:pt x="380" y="136"/>
                  <a:pt x="380" y="136"/>
                </a:cubicBezTo>
                <a:cubicBezTo>
                  <a:pt x="379" y="136"/>
                  <a:pt x="379" y="136"/>
                  <a:pt x="379" y="136"/>
                </a:cubicBezTo>
                <a:cubicBezTo>
                  <a:pt x="380" y="135"/>
                  <a:pt x="380" y="135"/>
                  <a:pt x="380" y="135"/>
                </a:cubicBezTo>
                <a:cubicBezTo>
                  <a:pt x="380" y="134"/>
                  <a:pt x="380" y="134"/>
                  <a:pt x="380" y="134"/>
                </a:cubicBezTo>
                <a:cubicBezTo>
                  <a:pt x="379" y="133"/>
                  <a:pt x="379" y="133"/>
                  <a:pt x="379" y="133"/>
                </a:cubicBezTo>
                <a:cubicBezTo>
                  <a:pt x="379" y="132"/>
                  <a:pt x="379" y="132"/>
                  <a:pt x="379" y="132"/>
                </a:cubicBezTo>
                <a:cubicBezTo>
                  <a:pt x="379" y="132"/>
                  <a:pt x="379" y="132"/>
                  <a:pt x="379" y="132"/>
                </a:cubicBezTo>
                <a:cubicBezTo>
                  <a:pt x="377" y="132"/>
                  <a:pt x="377" y="132"/>
                  <a:pt x="377" y="132"/>
                </a:cubicBezTo>
                <a:cubicBezTo>
                  <a:pt x="377" y="133"/>
                  <a:pt x="377" y="133"/>
                  <a:pt x="377" y="133"/>
                </a:cubicBezTo>
                <a:cubicBezTo>
                  <a:pt x="377" y="134"/>
                  <a:pt x="377" y="134"/>
                  <a:pt x="377" y="134"/>
                </a:cubicBezTo>
                <a:cubicBezTo>
                  <a:pt x="376" y="134"/>
                  <a:pt x="376" y="134"/>
                  <a:pt x="376" y="134"/>
                </a:cubicBezTo>
                <a:cubicBezTo>
                  <a:pt x="377" y="133"/>
                  <a:pt x="377" y="133"/>
                  <a:pt x="377" y="133"/>
                </a:cubicBezTo>
                <a:cubicBezTo>
                  <a:pt x="376" y="132"/>
                  <a:pt x="376" y="132"/>
                  <a:pt x="376" y="132"/>
                </a:cubicBezTo>
                <a:cubicBezTo>
                  <a:pt x="375" y="132"/>
                  <a:pt x="375" y="132"/>
                  <a:pt x="375" y="132"/>
                </a:cubicBezTo>
                <a:cubicBezTo>
                  <a:pt x="374" y="132"/>
                  <a:pt x="374" y="132"/>
                  <a:pt x="374" y="132"/>
                </a:cubicBezTo>
                <a:cubicBezTo>
                  <a:pt x="374" y="132"/>
                  <a:pt x="374" y="132"/>
                  <a:pt x="374" y="132"/>
                </a:cubicBezTo>
                <a:cubicBezTo>
                  <a:pt x="374" y="131"/>
                  <a:pt x="374" y="131"/>
                  <a:pt x="374" y="131"/>
                </a:cubicBezTo>
                <a:cubicBezTo>
                  <a:pt x="374" y="131"/>
                  <a:pt x="374" y="131"/>
                  <a:pt x="374" y="131"/>
                </a:cubicBezTo>
                <a:cubicBezTo>
                  <a:pt x="374" y="129"/>
                  <a:pt x="374" y="129"/>
                  <a:pt x="374" y="129"/>
                </a:cubicBezTo>
                <a:cubicBezTo>
                  <a:pt x="372" y="130"/>
                  <a:pt x="372" y="130"/>
                  <a:pt x="372" y="130"/>
                </a:cubicBezTo>
                <a:cubicBezTo>
                  <a:pt x="371" y="131"/>
                  <a:pt x="371" y="131"/>
                  <a:pt x="371" y="131"/>
                </a:cubicBezTo>
                <a:cubicBezTo>
                  <a:pt x="371" y="133"/>
                  <a:pt x="371" y="133"/>
                  <a:pt x="371" y="133"/>
                </a:cubicBezTo>
                <a:cubicBezTo>
                  <a:pt x="370" y="133"/>
                  <a:pt x="370" y="133"/>
                  <a:pt x="370" y="133"/>
                </a:cubicBezTo>
                <a:cubicBezTo>
                  <a:pt x="370" y="131"/>
                  <a:pt x="370" y="131"/>
                  <a:pt x="370" y="131"/>
                </a:cubicBezTo>
                <a:cubicBezTo>
                  <a:pt x="370" y="130"/>
                  <a:pt x="370" y="130"/>
                  <a:pt x="370" y="130"/>
                </a:cubicBezTo>
                <a:cubicBezTo>
                  <a:pt x="370" y="130"/>
                  <a:pt x="370" y="130"/>
                  <a:pt x="370" y="130"/>
                </a:cubicBezTo>
                <a:cubicBezTo>
                  <a:pt x="371" y="128"/>
                  <a:pt x="371" y="128"/>
                  <a:pt x="371" y="128"/>
                </a:cubicBezTo>
                <a:cubicBezTo>
                  <a:pt x="370" y="127"/>
                  <a:pt x="370" y="127"/>
                  <a:pt x="370" y="127"/>
                </a:cubicBezTo>
                <a:cubicBezTo>
                  <a:pt x="369" y="127"/>
                  <a:pt x="369" y="127"/>
                  <a:pt x="369" y="127"/>
                </a:cubicBezTo>
                <a:cubicBezTo>
                  <a:pt x="369" y="127"/>
                  <a:pt x="369" y="127"/>
                  <a:pt x="369" y="127"/>
                </a:cubicBezTo>
                <a:cubicBezTo>
                  <a:pt x="370" y="126"/>
                  <a:pt x="370" y="126"/>
                  <a:pt x="370" y="126"/>
                </a:cubicBezTo>
                <a:cubicBezTo>
                  <a:pt x="370" y="125"/>
                  <a:pt x="370" y="125"/>
                  <a:pt x="370" y="125"/>
                </a:cubicBezTo>
                <a:cubicBezTo>
                  <a:pt x="370" y="124"/>
                  <a:pt x="370" y="124"/>
                  <a:pt x="370" y="124"/>
                </a:cubicBezTo>
                <a:cubicBezTo>
                  <a:pt x="369" y="124"/>
                  <a:pt x="369" y="124"/>
                  <a:pt x="369" y="124"/>
                </a:cubicBezTo>
                <a:cubicBezTo>
                  <a:pt x="368" y="124"/>
                  <a:pt x="368" y="124"/>
                  <a:pt x="368" y="124"/>
                </a:cubicBezTo>
                <a:cubicBezTo>
                  <a:pt x="368" y="124"/>
                  <a:pt x="368" y="124"/>
                  <a:pt x="368" y="124"/>
                </a:cubicBezTo>
                <a:cubicBezTo>
                  <a:pt x="367" y="124"/>
                  <a:pt x="367" y="124"/>
                  <a:pt x="367" y="124"/>
                </a:cubicBezTo>
                <a:cubicBezTo>
                  <a:pt x="368" y="124"/>
                  <a:pt x="368" y="124"/>
                  <a:pt x="368" y="124"/>
                </a:cubicBezTo>
                <a:cubicBezTo>
                  <a:pt x="367" y="123"/>
                  <a:pt x="367" y="123"/>
                  <a:pt x="367" y="123"/>
                </a:cubicBezTo>
                <a:cubicBezTo>
                  <a:pt x="366" y="123"/>
                  <a:pt x="366" y="123"/>
                  <a:pt x="366" y="123"/>
                </a:cubicBezTo>
                <a:cubicBezTo>
                  <a:pt x="366" y="124"/>
                  <a:pt x="366" y="124"/>
                  <a:pt x="366" y="124"/>
                </a:cubicBezTo>
                <a:cubicBezTo>
                  <a:pt x="364" y="124"/>
                  <a:pt x="364" y="124"/>
                  <a:pt x="364" y="124"/>
                </a:cubicBezTo>
                <a:cubicBezTo>
                  <a:pt x="364" y="124"/>
                  <a:pt x="364" y="124"/>
                  <a:pt x="364" y="124"/>
                </a:cubicBezTo>
                <a:cubicBezTo>
                  <a:pt x="365" y="123"/>
                  <a:pt x="365" y="123"/>
                  <a:pt x="365" y="123"/>
                </a:cubicBezTo>
                <a:cubicBezTo>
                  <a:pt x="365" y="122"/>
                  <a:pt x="365" y="122"/>
                  <a:pt x="365" y="122"/>
                </a:cubicBezTo>
                <a:cubicBezTo>
                  <a:pt x="366" y="121"/>
                  <a:pt x="366" y="121"/>
                  <a:pt x="366" y="121"/>
                </a:cubicBezTo>
                <a:cubicBezTo>
                  <a:pt x="367" y="121"/>
                  <a:pt x="367" y="121"/>
                  <a:pt x="367" y="121"/>
                </a:cubicBezTo>
                <a:cubicBezTo>
                  <a:pt x="368" y="123"/>
                  <a:pt x="368" y="123"/>
                  <a:pt x="368" y="123"/>
                </a:cubicBezTo>
                <a:cubicBezTo>
                  <a:pt x="369" y="123"/>
                  <a:pt x="369" y="123"/>
                  <a:pt x="369" y="123"/>
                </a:cubicBezTo>
                <a:cubicBezTo>
                  <a:pt x="369" y="122"/>
                  <a:pt x="369" y="122"/>
                  <a:pt x="369" y="122"/>
                </a:cubicBezTo>
                <a:cubicBezTo>
                  <a:pt x="368" y="121"/>
                  <a:pt x="368" y="121"/>
                  <a:pt x="368" y="121"/>
                </a:cubicBezTo>
                <a:cubicBezTo>
                  <a:pt x="367" y="120"/>
                  <a:pt x="367" y="120"/>
                  <a:pt x="367" y="120"/>
                </a:cubicBezTo>
                <a:cubicBezTo>
                  <a:pt x="368" y="120"/>
                  <a:pt x="368" y="120"/>
                  <a:pt x="368" y="120"/>
                </a:cubicBezTo>
                <a:cubicBezTo>
                  <a:pt x="366" y="119"/>
                  <a:pt x="366" y="119"/>
                  <a:pt x="366" y="119"/>
                </a:cubicBezTo>
                <a:cubicBezTo>
                  <a:pt x="365" y="118"/>
                  <a:pt x="365" y="118"/>
                  <a:pt x="365" y="118"/>
                </a:cubicBezTo>
                <a:cubicBezTo>
                  <a:pt x="366" y="118"/>
                  <a:pt x="366" y="118"/>
                  <a:pt x="366" y="118"/>
                </a:cubicBezTo>
                <a:cubicBezTo>
                  <a:pt x="366" y="117"/>
                  <a:pt x="366" y="117"/>
                  <a:pt x="366" y="117"/>
                </a:cubicBezTo>
                <a:cubicBezTo>
                  <a:pt x="366" y="117"/>
                  <a:pt x="366" y="117"/>
                  <a:pt x="366" y="117"/>
                </a:cubicBezTo>
                <a:cubicBezTo>
                  <a:pt x="367" y="118"/>
                  <a:pt x="367" y="118"/>
                  <a:pt x="367" y="118"/>
                </a:cubicBezTo>
                <a:cubicBezTo>
                  <a:pt x="368" y="119"/>
                  <a:pt x="368" y="119"/>
                  <a:pt x="368" y="119"/>
                </a:cubicBezTo>
                <a:cubicBezTo>
                  <a:pt x="370" y="120"/>
                  <a:pt x="370" y="120"/>
                  <a:pt x="370" y="120"/>
                </a:cubicBezTo>
                <a:cubicBezTo>
                  <a:pt x="371" y="121"/>
                  <a:pt x="371" y="121"/>
                  <a:pt x="371" y="121"/>
                </a:cubicBezTo>
                <a:cubicBezTo>
                  <a:pt x="371" y="120"/>
                  <a:pt x="371" y="120"/>
                  <a:pt x="371" y="120"/>
                </a:cubicBezTo>
                <a:cubicBezTo>
                  <a:pt x="372" y="121"/>
                  <a:pt x="372" y="121"/>
                  <a:pt x="372" y="121"/>
                </a:cubicBezTo>
                <a:cubicBezTo>
                  <a:pt x="374" y="121"/>
                  <a:pt x="374" y="121"/>
                  <a:pt x="374" y="121"/>
                </a:cubicBezTo>
                <a:cubicBezTo>
                  <a:pt x="375" y="121"/>
                  <a:pt x="375" y="121"/>
                  <a:pt x="375" y="121"/>
                </a:cubicBezTo>
                <a:cubicBezTo>
                  <a:pt x="376" y="120"/>
                  <a:pt x="376" y="120"/>
                  <a:pt x="376" y="120"/>
                </a:cubicBezTo>
                <a:cubicBezTo>
                  <a:pt x="375" y="119"/>
                  <a:pt x="375" y="119"/>
                  <a:pt x="375" y="119"/>
                </a:cubicBezTo>
                <a:cubicBezTo>
                  <a:pt x="373" y="117"/>
                  <a:pt x="373" y="117"/>
                  <a:pt x="373" y="117"/>
                </a:cubicBezTo>
                <a:cubicBezTo>
                  <a:pt x="372" y="116"/>
                  <a:pt x="372" y="116"/>
                  <a:pt x="372" y="116"/>
                </a:cubicBezTo>
                <a:cubicBezTo>
                  <a:pt x="371" y="116"/>
                  <a:pt x="371" y="116"/>
                  <a:pt x="371" y="116"/>
                </a:cubicBezTo>
                <a:cubicBezTo>
                  <a:pt x="371" y="115"/>
                  <a:pt x="371" y="115"/>
                  <a:pt x="371" y="115"/>
                </a:cubicBezTo>
                <a:cubicBezTo>
                  <a:pt x="369" y="114"/>
                  <a:pt x="369" y="114"/>
                  <a:pt x="369" y="114"/>
                </a:cubicBezTo>
                <a:cubicBezTo>
                  <a:pt x="369" y="114"/>
                  <a:pt x="369" y="114"/>
                  <a:pt x="369" y="114"/>
                </a:cubicBezTo>
                <a:cubicBezTo>
                  <a:pt x="368" y="113"/>
                  <a:pt x="368" y="113"/>
                  <a:pt x="368" y="113"/>
                </a:cubicBezTo>
                <a:cubicBezTo>
                  <a:pt x="369" y="112"/>
                  <a:pt x="369" y="112"/>
                  <a:pt x="369" y="112"/>
                </a:cubicBezTo>
                <a:cubicBezTo>
                  <a:pt x="370" y="113"/>
                  <a:pt x="370" y="113"/>
                  <a:pt x="370" y="113"/>
                </a:cubicBezTo>
                <a:cubicBezTo>
                  <a:pt x="371" y="114"/>
                  <a:pt x="371" y="114"/>
                  <a:pt x="371" y="114"/>
                </a:cubicBezTo>
                <a:cubicBezTo>
                  <a:pt x="371" y="114"/>
                  <a:pt x="371" y="114"/>
                  <a:pt x="371" y="114"/>
                </a:cubicBezTo>
                <a:cubicBezTo>
                  <a:pt x="372" y="115"/>
                  <a:pt x="372" y="115"/>
                  <a:pt x="372" y="115"/>
                </a:cubicBezTo>
                <a:cubicBezTo>
                  <a:pt x="372" y="115"/>
                  <a:pt x="372" y="115"/>
                  <a:pt x="372" y="115"/>
                </a:cubicBezTo>
                <a:cubicBezTo>
                  <a:pt x="373" y="114"/>
                  <a:pt x="373" y="114"/>
                  <a:pt x="373" y="114"/>
                </a:cubicBezTo>
                <a:cubicBezTo>
                  <a:pt x="372" y="112"/>
                  <a:pt x="372" y="112"/>
                  <a:pt x="372" y="112"/>
                </a:cubicBezTo>
                <a:cubicBezTo>
                  <a:pt x="371" y="110"/>
                  <a:pt x="371" y="110"/>
                  <a:pt x="371" y="110"/>
                </a:cubicBezTo>
                <a:cubicBezTo>
                  <a:pt x="370" y="110"/>
                  <a:pt x="370" y="110"/>
                  <a:pt x="370" y="110"/>
                </a:cubicBezTo>
                <a:cubicBezTo>
                  <a:pt x="370" y="110"/>
                  <a:pt x="370" y="110"/>
                  <a:pt x="370" y="110"/>
                </a:cubicBezTo>
                <a:cubicBezTo>
                  <a:pt x="368" y="110"/>
                  <a:pt x="368" y="110"/>
                  <a:pt x="368" y="110"/>
                </a:cubicBezTo>
                <a:cubicBezTo>
                  <a:pt x="367" y="111"/>
                  <a:pt x="367" y="111"/>
                  <a:pt x="367" y="111"/>
                </a:cubicBezTo>
                <a:cubicBezTo>
                  <a:pt x="366" y="111"/>
                  <a:pt x="366" y="111"/>
                  <a:pt x="366" y="111"/>
                </a:cubicBezTo>
                <a:cubicBezTo>
                  <a:pt x="365" y="110"/>
                  <a:pt x="365" y="110"/>
                  <a:pt x="365" y="110"/>
                </a:cubicBezTo>
                <a:cubicBezTo>
                  <a:pt x="364" y="110"/>
                  <a:pt x="364" y="110"/>
                  <a:pt x="364" y="110"/>
                </a:cubicBezTo>
                <a:cubicBezTo>
                  <a:pt x="363" y="109"/>
                  <a:pt x="363" y="109"/>
                  <a:pt x="363" y="109"/>
                </a:cubicBezTo>
                <a:cubicBezTo>
                  <a:pt x="362" y="111"/>
                  <a:pt x="362" y="111"/>
                  <a:pt x="362" y="111"/>
                </a:cubicBezTo>
                <a:cubicBezTo>
                  <a:pt x="360" y="112"/>
                  <a:pt x="360" y="112"/>
                  <a:pt x="360" y="112"/>
                </a:cubicBezTo>
                <a:cubicBezTo>
                  <a:pt x="360" y="113"/>
                  <a:pt x="360" y="113"/>
                  <a:pt x="360" y="113"/>
                </a:cubicBezTo>
                <a:cubicBezTo>
                  <a:pt x="359" y="114"/>
                  <a:pt x="359" y="114"/>
                  <a:pt x="359" y="114"/>
                </a:cubicBezTo>
                <a:cubicBezTo>
                  <a:pt x="359" y="113"/>
                  <a:pt x="359" y="113"/>
                  <a:pt x="359" y="113"/>
                </a:cubicBezTo>
                <a:cubicBezTo>
                  <a:pt x="360" y="112"/>
                  <a:pt x="360" y="112"/>
                  <a:pt x="360" y="112"/>
                </a:cubicBezTo>
                <a:cubicBezTo>
                  <a:pt x="360" y="111"/>
                  <a:pt x="360" y="111"/>
                  <a:pt x="360" y="111"/>
                </a:cubicBezTo>
                <a:cubicBezTo>
                  <a:pt x="363" y="109"/>
                  <a:pt x="363" y="109"/>
                  <a:pt x="363" y="109"/>
                </a:cubicBezTo>
                <a:cubicBezTo>
                  <a:pt x="363" y="108"/>
                  <a:pt x="363" y="108"/>
                  <a:pt x="363" y="108"/>
                </a:cubicBezTo>
                <a:cubicBezTo>
                  <a:pt x="363" y="107"/>
                  <a:pt x="363" y="107"/>
                  <a:pt x="363" y="107"/>
                </a:cubicBezTo>
                <a:cubicBezTo>
                  <a:pt x="363" y="104"/>
                  <a:pt x="363" y="104"/>
                  <a:pt x="363" y="104"/>
                </a:cubicBezTo>
                <a:cubicBezTo>
                  <a:pt x="363" y="104"/>
                  <a:pt x="363" y="104"/>
                  <a:pt x="363" y="104"/>
                </a:cubicBezTo>
                <a:cubicBezTo>
                  <a:pt x="362" y="103"/>
                  <a:pt x="362" y="103"/>
                  <a:pt x="362" y="103"/>
                </a:cubicBezTo>
                <a:cubicBezTo>
                  <a:pt x="362" y="103"/>
                  <a:pt x="362" y="103"/>
                  <a:pt x="362" y="103"/>
                </a:cubicBezTo>
                <a:cubicBezTo>
                  <a:pt x="360" y="103"/>
                  <a:pt x="360" y="103"/>
                  <a:pt x="360" y="103"/>
                </a:cubicBezTo>
                <a:cubicBezTo>
                  <a:pt x="360" y="103"/>
                  <a:pt x="360" y="103"/>
                  <a:pt x="360" y="103"/>
                </a:cubicBezTo>
                <a:cubicBezTo>
                  <a:pt x="360" y="101"/>
                  <a:pt x="360" y="101"/>
                  <a:pt x="360" y="101"/>
                </a:cubicBezTo>
                <a:cubicBezTo>
                  <a:pt x="359" y="101"/>
                  <a:pt x="359" y="101"/>
                  <a:pt x="359" y="101"/>
                </a:cubicBezTo>
                <a:cubicBezTo>
                  <a:pt x="357" y="100"/>
                  <a:pt x="357" y="100"/>
                  <a:pt x="357" y="100"/>
                </a:cubicBezTo>
                <a:cubicBezTo>
                  <a:pt x="356" y="99"/>
                  <a:pt x="356" y="99"/>
                  <a:pt x="356" y="99"/>
                </a:cubicBezTo>
                <a:cubicBezTo>
                  <a:pt x="355" y="99"/>
                  <a:pt x="355" y="99"/>
                  <a:pt x="355" y="99"/>
                </a:cubicBezTo>
                <a:cubicBezTo>
                  <a:pt x="354" y="98"/>
                  <a:pt x="354" y="98"/>
                  <a:pt x="354" y="98"/>
                </a:cubicBezTo>
                <a:cubicBezTo>
                  <a:pt x="353" y="99"/>
                  <a:pt x="353" y="99"/>
                  <a:pt x="353" y="99"/>
                </a:cubicBezTo>
                <a:cubicBezTo>
                  <a:pt x="351" y="99"/>
                  <a:pt x="351" y="99"/>
                  <a:pt x="351" y="99"/>
                </a:cubicBezTo>
                <a:cubicBezTo>
                  <a:pt x="351" y="99"/>
                  <a:pt x="351" y="99"/>
                  <a:pt x="351" y="99"/>
                </a:cubicBezTo>
                <a:cubicBezTo>
                  <a:pt x="350" y="100"/>
                  <a:pt x="350" y="100"/>
                  <a:pt x="350" y="100"/>
                </a:cubicBezTo>
                <a:cubicBezTo>
                  <a:pt x="349" y="101"/>
                  <a:pt x="349" y="101"/>
                  <a:pt x="349" y="101"/>
                </a:cubicBezTo>
                <a:cubicBezTo>
                  <a:pt x="350" y="102"/>
                  <a:pt x="350" y="102"/>
                  <a:pt x="350" y="102"/>
                </a:cubicBezTo>
                <a:cubicBezTo>
                  <a:pt x="351" y="103"/>
                  <a:pt x="351" y="103"/>
                  <a:pt x="351" y="103"/>
                </a:cubicBezTo>
                <a:cubicBezTo>
                  <a:pt x="350" y="103"/>
                  <a:pt x="350" y="103"/>
                  <a:pt x="350" y="103"/>
                </a:cubicBezTo>
                <a:cubicBezTo>
                  <a:pt x="349" y="101"/>
                  <a:pt x="349" y="101"/>
                  <a:pt x="349" y="101"/>
                </a:cubicBezTo>
                <a:cubicBezTo>
                  <a:pt x="348" y="102"/>
                  <a:pt x="348" y="102"/>
                  <a:pt x="348" y="102"/>
                </a:cubicBezTo>
                <a:cubicBezTo>
                  <a:pt x="349" y="103"/>
                  <a:pt x="349" y="103"/>
                  <a:pt x="349" y="103"/>
                </a:cubicBezTo>
                <a:cubicBezTo>
                  <a:pt x="350" y="104"/>
                  <a:pt x="350" y="104"/>
                  <a:pt x="350" y="104"/>
                </a:cubicBezTo>
                <a:cubicBezTo>
                  <a:pt x="351" y="106"/>
                  <a:pt x="351" y="106"/>
                  <a:pt x="351" y="106"/>
                </a:cubicBezTo>
                <a:cubicBezTo>
                  <a:pt x="352" y="106"/>
                  <a:pt x="352" y="106"/>
                  <a:pt x="352" y="106"/>
                </a:cubicBezTo>
                <a:cubicBezTo>
                  <a:pt x="352" y="107"/>
                  <a:pt x="352" y="107"/>
                  <a:pt x="352" y="107"/>
                </a:cubicBezTo>
                <a:cubicBezTo>
                  <a:pt x="350" y="107"/>
                  <a:pt x="350" y="107"/>
                  <a:pt x="350" y="107"/>
                </a:cubicBezTo>
                <a:cubicBezTo>
                  <a:pt x="350" y="108"/>
                  <a:pt x="350" y="108"/>
                  <a:pt x="350" y="108"/>
                </a:cubicBezTo>
                <a:cubicBezTo>
                  <a:pt x="352" y="110"/>
                  <a:pt x="352" y="110"/>
                  <a:pt x="352" y="110"/>
                </a:cubicBezTo>
                <a:cubicBezTo>
                  <a:pt x="353" y="110"/>
                  <a:pt x="353" y="110"/>
                  <a:pt x="353" y="110"/>
                </a:cubicBezTo>
                <a:cubicBezTo>
                  <a:pt x="353" y="111"/>
                  <a:pt x="353" y="111"/>
                  <a:pt x="353" y="111"/>
                </a:cubicBezTo>
                <a:cubicBezTo>
                  <a:pt x="353" y="111"/>
                  <a:pt x="353" y="111"/>
                  <a:pt x="353" y="111"/>
                </a:cubicBezTo>
                <a:cubicBezTo>
                  <a:pt x="351" y="111"/>
                  <a:pt x="351" y="111"/>
                  <a:pt x="351" y="111"/>
                </a:cubicBezTo>
                <a:cubicBezTo>
                  <a:pt x="351" y="111"/>
                  <a:pt x="351" y="111"/>
                  <a:pt x="351" y="111"/>
                </a:cubicBezTo>
                <a:cubicBezTo>
                  <a:pt x="350" y="112"/>
                  <a:pt x="350" y="112"/>
                  <a:pt x="350" y="112"/>
                </a:cubicBezTo>
                <a:cubicBezTo>
                  <a:pt x="350" y="113"/>
                  <a:pt x="350" y="113"/>
                  <a:pt x="350" y="113"/>
                </a:cubicBezTo>
                <a:cubicBezTo>
                  <a:pt x="351" y="112"/>
                  <a:pt x="351" y="112"/>
                  <a:pt x="351" y="112"/>
                </a:cubicBezTo>
                <a:cubicBezTo>
                  <a:pt x="352" y="113"/>
                  <a:pt x="352" y="113"/>
                  <a:pt x="352" y="113"/>
                </a:cubicBezTo>
                <a:cubicBezTo>
                  <a:pt x="354" y="112"/>
                  <a:pt x="354" y="112"/>
                  <a:pt x="354" y="112"/>
                </a:cubicBezTo>
                <a:cubicBezTo>
                  <a:pt x="354" y="113"/>
                  <a:pt x="354" y="113"/>
                  <a:pt x="354" y="113"/>
                </a:cubicBezTo>
                <a:cubicBezTo>
                  <a:pt x="356" y="113"/>
                  <a:pt x="356" y="113"/>
                  <a:pt x="356" y="113"/>
                </a:cubicBezTo>
                <a:cubicBezTo>
                  <a:pt x="356" y="114"/>
                  <a:pt x="356" y="114"/>
                  <a:pt x="356" y="114"/>
                </a:cubicBezTo>
                <a:cubicBezTo>
                  <a:pt x="357" y="115"/>
                  <a:pt x="357" y="115"/>
                  <a:pt x="357" y="115"/>
                </a:cubicBezTo>
                <a:cubicBezTo>
                  <a:pt x="358" y="115"/>
                  <a:pt x="358" y="115"/>
                  <a:pt x="358" y="115"/>
                </a:cubicBezTo>
                <a:cubicBezTo>
                  <a:pt x="358" y="114"/>
                  <a:pt x="358" y="114"/>
                  <a:pt x="358" y="114"/>
                </a:cubicBezTo>
                <a:cubicBezTo>
                  <a:pt x="359" y="115"/>
                  <a:pt x="359" y="115"/>
                  <a:pt x="359" y="115"/>
                </a:cubicBezTo>
                <a:cubicBezTo>
                  <a:pt x="360" y="114"/>
                  <a:pt x="360" y="114"/>
                  <a:pt x="360" y="114"/>
                </a:cubicBezTo>
                <a:cubicBezTo>
                  <a:pt x="361" y="114"/>
                  <a:pt x="361" y="114"/>
                  <a:pt x="361" y="114"/>
                </a:cubicBezTo>
                <a:cubicBezTo>
                  <a:pt x="361" y="115"/>
                  <a:pt x="361" y="115"/>
                  <a:pt x="361" y="115"/>
                </a:cubicBezTo>
                <a:cubicBezTo>
                  <a:pt x="360" y="116"/>
                  <a:pt x="360" y="116"/>
                  <a:pt x="360" y="116"/>
                </a:cubicBezTo>
                <a:cubicBezTo>
                  <a:pt x="360" y="119"/>
                  <a:pt x="360" y="119"/>
                  <a:pt x="360" y="119"/>
                </a:cubicBezTo>
                <a:cubicBezTo>
                  <a:pt x="360" y="120"/>
                  <a:pt x="360" y="120"/>
                  <a:pt x="360" y="120"/>
                </a:cubicBezTo>
                <a:cubicBezTo>
                  <a:pt x="360" y="121"/>
                  <a:pt x="360" y="121"/>
                  <a:pt x="360" y="121"/>
                </a:cubicBezTo>
                <a:cubicBezTo>
                  <a:pt x="361" y="122"/>
                  <a:pt x="361" y="122"/>
                  <a:pt x="361" y="122"/>
                </a:cubicBezTo>
                <a:cubicBezTo>
                  <a:pt x="360" y="124"/>
                  <a:pt x="360" y="124"/>
                  <a:pt x="360" y="124"/>
                </a:cubicBezTo>
                <a:cubicBezTo>
                  <a:pt x="360" y="125"/>
                  <a:pt x="360" y="125"/>
                  <a:pt x="360" y="125"/>
                </a:cubicBezTo>
                <a:cubicBezTo>
                  <a:pt x="360" y="126"/>
                  <a:pt x="360" y="126"/>
                  <a:pt x="360" y="126"/>
                </a:cubicBezTo>
                <a:cubicBezTo>
                  <a:pt x="358" y="127"/>
                  <a:pt x="358" y="127"/>
                  <a:pt x="358" y="127"/>
                </a:cubicBezTo>
                <a:cubicBezTo>
                  <a:pt x="357" y="128"/>
                  <a:pt x="357" y="128"/>
                  <a:pt x="357" y="128"/>
                </a:cubicBezTo>
                <a:cubicBezTo>
                  <a:pt x="356" y="129"/>
                  <a:pt x="356" y="129"/>
                  <a:pt x="356" y="129"/>
                </a:cubicBezTo>
                <a:cubicBezTo>
                  <a:pt x="355" y="130"/>
                  <a:pt x="355" y="130"/>
                  <a:pt x="355" y="130"/>
                </a:cubicBezTo>
                <a:cubicBezTo>
                  <a:pt x="355" y="131"/>
                  <a:pt x="355" y="131"/>
                  <a:pt x="355" y="131"/>
                </a:cubicBezTo>
                <a:cubicBezTo>
                  <a:pt x="354" y="132"/>
                  <a:pt x="354" y="132"/>
                  <a:pt x="354" y="132"/>
                </a:cubicBezTo>
                <a:cubicBezTo>
                  <a:pt x="353" y="133"/>
                  <a:pt x="353" y="133"/>
                  <a:pt x="353" y="133"/>
                </a:cubicBezTo>
                <a:cubicBezTo>
                  <a:pt x="353" y="134"/>
                  <a:pt x="353" y="134"/>
                  <a:pt x="353" y="134"/>
                </a:cubicBezTo>
                <a:cubicBezTo>
                  <a:pt x="354" y="135"/>
                  <a:pt x="354" y="135"/>
                  <a:pt x="354" y="135"/>
                </a:cubicBezTo>
                <a:cubicBezTo>
                  <a:pt x="354" y="136"/>
                  <a:pt x="354" y="136"/>
                  <a:pt x="354" y="136"/>
                </a:cubicBezTo>
                <a:cubicBezTo>
                  <a:pt x="353" y="136"/>
                  <a:pt x="353" y="136"/>
                  <a:pt x="353" y="136"/>
                </a:cubicBezTo>
                <a:cubicBezTo>
                  <a:pt x="353" y="137"/>
                  <a:pt x="353" y="137"/>
                  <a:pt x="353" y="137"/>
                </a:cubicBezTo>
                <a:cubicBezTo>
                  <a:pt x="354" y="138"/>
                  <a:pt x="354" y="138"/>
                  <a:pt x="354" y="138"/>
                </a:cubicBezTo>
                <a:cubicBezTo>
                  <a:pt x="353" y="139"/>
                  <a:pt x="353" y="139"/>
                  <a:pt x="353" y="139"/>
                </a:cubicBezTo>
                <a:cubicBezTo>
                  <a:pt x="352" y="140"/>
                  <a:pt x="352" y="140"/>
                  <a:pt x="352" y="140"/>
                </a:cubicBezTo>
                <a:cubicBezTo>
                  <a:pt x="353" y="141"/>
                  <a:pt x="353" y="141"/>
                  <a:pt x="353" y="141"/>
                </a:cubicBezTo>
                <a:cubicBezTo>
                  <a:pt x="354" y="141"/>
                  <a:pt x="354" y="141"/>
                  <a:pt x="354" y="141"/>
                </a:cubicBezTo>
                <a:cubicBezTo>
                  <a:pt x="354" y="142"/>
                  <a:pt x="354" y="142"/>
                  <a:pt x="354" y="142"/>
                </a:cubicBezTo>
                <a:cubicBezTo>
                  <a:pt x="355" y="143"/>
                  <a:pt x="355" y="143"/>
                  <a:pt x="355" y="143"/>
                </a:cubicBezTo>
                <a:cubicBezTo>
                  <a:pt x="355" y="143"/>
                  <a:pt x="355" y="143"/>
                  <a:pt x="355" y="143"/>
                </a:cubicBezTo>
                <a:cubicBezTo>
                  <a:pt x="355" y="142"/>
                  <a:pt x="355" y="142"/>
                  <a:pt x="355" y="142"/>
                </a:cubicBezTo>
                <a:cubicBezTo>
                  <a:pt x="356" y="141"/>
                  <a:pt x="356" y="141"/>
                  <a:pt x="356" y="141"/>
                </a:cubicBezTo>
                <a:cubicBezTo>
                  <a:pt x="356" y="142"/>
                  <a:pt x="356" y="142"/>
                  <a:pt x="356" y="142"/>
                </a:cubicBezTo>
                <a:cubicBezTo>
                  <a:pt x="357" y="142"/>
                  <a:pt x="357" y="142"/>
                  <a:pt x="357" y="142"/>
                </a:cubicBezTo>
                <a:cubicBezTo>
                  <a:pt x="358" y="140"/>
                  <a:pt x="358" y="140"/>
                  <a:pt x="358" y="140"/>
                </a:cubicBezTo>
                <a:cubicBezTo>
                  <a:pt x="359" y="141"/>
                  <a:pt x="359" y="141"/>
                  <a:pt x="359" y="141"/>
                </a:cubicBezTo>
                <a:cubicBezTo>
                  <a:pt x="358" y="142"/>
                  <a:pt x="358" y="142"/>
                  <a:pt x="358" y="142"/>
                </a:cubicBezTo>
                <a:cubicBezTo>
                  <a:pt x="357" y="142"/>
                  <a:pt x="357" y="142"/>
                  <a:pt x="357" y="142"/>
                </a:cubicBezTo>
                <a:cubicBezTo>
                  <a:pt x="357" y="143"/>
                  <a:pt x="357" y="143"/>
                  <a:pt x="357" y="143"/>
                </a:cubicBezTo>
                <a:cubicBezTo>
                  <a:pt x="357" y="144"/>
                  <a:pt x="357" y="144"/>
                  <a:pt x="357" y="144"/>
                </a:cubicBezTo>
                <a:cubicBezTo>
                  <a:pt x="357" y="144"/>
                  <a:pt x="357" y="144"/>
                  <a:pt x="357" y="144"/>
                </a:cubicBezTo>
                <a:cubicBezTo>
                  <a:pt x="358" y="146"/>
                  <a:pt x="358" y="146"/>
                  <a:pt x="358" y="146"/>
                </a:cubicBezTo>
                <a:cubicBezTo>
                  <a:pt x="360" y="145"/>
                  <a:pt x="360" y="145"/>
                  <a:pt x="360" y="145"/>
                </a:cubicBezTo>
                <a:cubicBezTo>
                  <a:pt x="360" y="146"/>
                  <a:pt x="360" y="146"/>
                  <a:pt x="360" y="146"/>
                </a:cubicBezTo>
                <a:cubicBezTo>
                  <a:pt x="361" y="146"/>
                  <a:pt x="361" y="146"/>
                  <a:pt x="361" y="146"/>
                </a:cubicBezTo>
                <a:cubicBezTo>
                  <a:pt x="362" y="145"/>
                  <a:pt x="362" y="145"/>
                  <a:pt x="362" y="145"/>
                </a:cubicBezTo>
                <a:cubicBezTo>
                  <a:pt x="364" y="145"/>
                  <a:pt x="364" y="145"/>
                  <a:pt x="364" y="145"/>
                </a:cubicBezTo>
                <a:cubicBezTo>
                  <a:pt x="363" y="143"/>
                  <a:pt x="363" y="143"/>
                  <a:pt x="363" y="143"/>
                </a:cubicBezTo>
                <a:cubicBezTo>
                  <a:pt x="364" y="143"/>
                  <a:pt x="364" y="143"/>
                  <a:pt x="364" y="143"/>
                </a:cubicBezTo>
                <a:cubicBezTo>
                  <a:pt x="365" y="143"/>
                  <a:pt x="365" y="143"/>
                  <a:pt x="365" y="143"/>
                </a:cubicBezTo>
                <a:cubicBezTo>
                  <a:pt x="365" y="144"/>
                  <a:pt x="365" y="144"/>
                  <a:pt x="365" y="144"/>
                </a:cubicBezTo>
                <a:cubicBezTo>
                  <a:pt x="365" y="144"/>
                  <a:pt x="365" y="144"/>
                  <a:pt x="365" y="144"/>
                </a:cubicBezTo>
                <a:cubicBezTo>
                  <a:pt x="365" y="145"/>
                  <a:pt x="365" y="145"/>
                  <a:pt x="365" y="145"/>
                </a:cubicBezTo>
                <a:cubicBezTo>
                  <a:pt x="365" y="145"/>
                  <a:pt x="365" y="145"/>
                  <a:pt x="365" y="145"/>
                </a:cubicBezTo>
                <a:cubicBezTo>
                  <a:pt x="366" y="143"/>
                  <a:pt x="366" y="143"/>
                  <a:pt x="366" y="143"/>
                </a:cubicBezTo>
                <a:cubicBezTo>
                  <a:pt x="367" y="143"/>
                  <a:pt x="367" y="143"/>
                  <a:pt x="367" y="143"/>
                </a:cubicBezTo>
                <a:cubicBezTo>
                  <a:pt x="367" y="143"/>
                  <a:pt x="367" y="143"/>
                  <a:pt x="367" y="143"/>
                </a:cubicBezTo>
                <a:cubicBezTo>
                  <a:pt x="367" y="145"/>
                  <a:pt x="367" y="145"/>
                  <a:pt x="367" y="145"/>
                </a:cubicBezTo>
                <a:cubicBezTo>
                  <a:pt x="365" y="147"/>
                  <a:pt x="365" y="147"/>
                  <a:pt x="365" y="147"/>
                </a:cubicBezTo>
                <a:cubicBezTo>
                  <a:pt x="365" y="147"/>
                  <a:pt x="365" y="147"/>
                  <a:pt x="365" y="147"/>
                </a:cubicBezTo>
                <a:cubicBezTo>
                  <a:pt x="365" y="148"/>
                  <a:pt x="365" y="148"/>
                  <a:pt x="365" y="148"/>
                </a:cubicBezTo>
                <a:cubicBezTo>
                  <a:pt x="366" y="149"/>
                  <a:pt x="366" y="149"/>
                  <a:pt x="366" y="149"/>
                </a:cubicBezTo>
                <a:cubicBezTo>
                  <a:pt x="367" y="150"/>
                  <a:pt x="367" y="150"/>
                  <a:pt x="367" y="150"/>
                </a:cubicBezTo>
                <a:cubicBezTo>
                  <a:pt x="368" y="150"/>
                  <a:pt x="368" y="150"/>
                  <a:pt x="368" y="150"/>
                </a:cubicBezTo>
                <a:cubicBezTo>
                  <a:pt x="368" y="150"/>
                  <a:pt x="368" y="150"/>
                  <a:pt x="368" y="150"/>
                </a:cubicBezTo>
                <a:cubicBezTo>
                  <a:pt x="370" y="150"/>
                  <a:pt x="370" y="150"/>
                  <a:pt x="370" y="150"/>
                </a:cubicBezTo>
                <a:cubicBezTo>
                  <a:pt x="370" y="149"/>
                  <a:pt x="370" y="149"/>
                  <a:pt x="370" y="149"/>
                </a:cubicBezTo>
                <a:cubicBezTo>
                  <a:pt x="371" y="149"/>
                  <a:pt x="371" y="149"/>
                  <a:pt x="371" y="149"/>
                </a:cubicBezTo>
                <a:cubicBezTo>
                  <a:pt x="371" y="150"/>
                  <a:pt x="371" y="150"/>
                  <a:pt x="371" y="150"/>
                </a:cubicBezTo>
                <a:cubicBezTo>
                  <a:pt x="371" y="151"/>
                  <a:pt x="371" y="151"/>
                  <a:pt x="371" y="151"/>
                </a:cubicBezTo>
                <a:cubicBezTo>
                  <a:pt x="372" y="151"/>
                  <a:pt x="372" y="151"/>
                  <a:pt x="372" y="151"/>
                </a:cubicBezTo>
                <a:cubicBezTo>
                  <a:pt x="373" y="151"/>
                  <a:pt x="373" y="151"/>
                  <a:pt x="373" y="151"/>
                </a:cubicBezTo>
                <a:cubicBezTo>
                  <a:pt x="374" y="151"/>
                  <a:pt x="374" y="151"/>
                  <a:pt x="374" y="151"/>
                </a:cubicBezTo>
                <a:cubicBezTo>
                  <a:pt x="373" y="150"/>
                  <a:pt x="373" y="150"/>
                  <a:pt x="373" y="150"/>
                </a:cubicBezTo>
                <a:cubicBezTo>
                  <a:pt x="373" y="149"/>
                  <a:pt x="373" y="149"/>
                  <a:pt x="373" y="149"/>
                </a:cubicBezTo>
                <a:cubicBezTo>
                  <a:pt x="374" y="148"/>
                  <a:pt x="374" y="148"/>
                  <a:pt x="374" y="148"/>
                </a:cubicBezTo>
                <a:cubicBezTo>
                  <a:pt x="374" y="149"/>
                  <a:pt x="374" y="149"/>
                  <a:pt x="374" y="149"/>
                </a:cubicBezTo>
                <a:cubicBezTo>
                  <a:pt x="374" y="150"/>
                  <a:pt x="374" y="150"/>
                  <a:pt x="374" y="150"/>
                </a:cubicBezTo>
                <a:cubicBezTo>
                  <a:pt x="374" y="151"/>
                  <a:pt x="374" y="151"/>
                  <a:pt x="374" y="151"/>
                </a:cubicBezTo>
                <a:cubicBezTo>
                  <a:pt x="375" y="151"/>
                  <a:pt x="375" y="151"/>
                  <a:pt x="375" y="151"/>
                </a:cubicBezTo>
                <a:cubicBezTo>
                  <a:pt x="375" y="150"/>
                  <a:pt x="375" y="150"/>
                  <a:pt x="375" y="150"/>
                </a:cubicBezTo>
                <a:cubicBezTo>
                  <a:pt x="376" y="150"/>
                  <a:pt x="376" y="150"/>
                  <a:pt x="376" y="150"/>
                </a:cubicBezTo>
                <a:cubicBezTo>
                  <a:pt x="377" y="149"/>
                  <a:pt x="377" y="149"/>
                  <a:pt x="377" y="149"/>
                </a:cubicBezTo>
                <a:cubicBezTo>
                  <a:pt x="377" y="150"/>
                  <a:pt x="377" y="150"/>
                  <a:pt x="377" y="150"/>
                </a:cubicBezTo>
                <a:cubicBezTo>
                  <a:pt x="376" y="151"/>
                  <a:pt x="376" y="151"/>
                  <a:pt x="376" y="151"/>
                </a:cubicBezTo>
                <a:cubicBezTo>
                  <a:pt x="376" y="152"/>
                  <a:pt x="376" y="152"/>
                  <a:pt x="376" y="152"/>
                </a:cubicBezTo>
                <a:cubicBezTo>
                  <a:pt x="378" y="152"/>
                  <a:pt x="378" y="152"/>
                  <a:pt x="378" y="152"/>
                </a:cubicBezTo>
                <a:cubicBezTo>
                  <a:pt x="379" y="151"/>
                  <a:pt x="379" y="151"/>
                  <a:pt x="379" y="151"/>
                </a:cubicBezTo>
                <a:cubicBezTo>
                  <a:pt x="380" y="149"/>
                  <a:pt x="380" y="149"/>
                  <a:pt x="380" y="149"/>
                </a:cubicBezTo>
                <a:cubicBezTo>
                  <a:pt x="380" y="150"/>
                  <a:pt x="380" y="150"/>
                  <a:pt x="380" y="150"/>
                </a:cubicBezTo>
                <a:cubicBezTo>
                  <a:pt x="379" y="151"/>
                  <a:pt x="379" y="151"/>
                  <a:pt x="379" y="151"/>
                </a:cubicBezTo>
                <a:cubicBezTo>
                  <a:pt x="379" y="152"/>
                  <a:pt x="379" y="152"/>
                  <a:pt x="379" y="152"/>
                </a:cubicBezTo>
                <a:cubicBezTo>
                  <a:pt x="381" y="151"/>
                  <a:pt x="381" y="151"/>
                  <a:pt x="381" y="151"/>
                </a:cubicBezTo>
                <a:cubicBezTo>
                  <a:pt x="381" y="150"/>
                  <a:pt x="381" y="150"/>
                  <a:pt x="381" y="150"/>
                </a:cubicBezTo>
                <a:cubicBezTo>
                  <a:pt x="382" y="149"/>
                  <a:pt x="382" y="149"/>
                  <a:pt x="382" y="149"/>
                </a:cubicBezTo>
                <a:cubicBezTo>
                  <a:pt x="381" y="152"/>
                  <a:pt x="381" y="152"/>
                  <a:pt x="381" y="152"/>
                </a:cubicBezTo>
                <a:cubicBezTo>
                  <a:pt x="382" y="152"/>
                  <a:pt x="382" y="152"/>
                  <a:pt x="382" y="152"/>
                </a:cubicBezTo>
                <a:cubicBezTo>
                  <a:pt x="383" y="153"/>
                  <a:pt x="383" y="153"/>
                  <a:pt x="383" y="153"/>
                </a:cubicBezTo>
                <a:cubicBezTo>
                  <a:pt x="385" y="154"/>
                  <a:pt x="385" y="154"/>
                  <a:pt x="385" y="154"/>
                </a:cubicBezTo>
                <a:cubicBezTo>
                  <a:pt x="386" y="153"/>
                  <a:pt x="386" y="153"/>
                  <a:pt x="386" y="153"/>
                </a:cubicBezTo>
                <a:cubicBezTo>
                  <a:pt x="386" y="153"/>
                  <a:pt x="386" y="153"/>
                  <a:pt x="386" y="153"/>
                </a:cubicBezTo>
                <a:cubicBezTo>
                  <a:pt x="387" y="154"/>
                  <a:pt x="387" y="154"/>
                  <a:pt x="387" y="154"/>
                </a:cubicBezTo>
                <a:cubicBezTo>
                  <a:pt x="388" y="153"/>
                  <a:pt x="388" y="153"/>
                  <a:pt x="388" y="153"/>
                </a:cubicBezTo>
                <a:cubicBezTo>
                  <a:pt x="389" y="153"/>
                  <a:pt x="389" y="153"/>
                  <a:pt x="389" y="153"/>
                </a:cubicBezTo>
                <a:cubicBezTo>
                  <a:pt x="389" y="151"/>
                  <a:pt x="389" y="151"/>
                  <a:pt x="389" y="151"/>
                </a:cubicBezTo>
                <a:cubicBezTo>
                  <a:pt x="390" y="150"/>
                  <a:pt x="390" y="150"/>
                  <a:pt x="390" y="150"/>
                </a:cubicBezTo>
                <a:cubicBezTo>
                  <a:pt x="391" y="149"/>
                  <a:pt x="391" y="149"/>
                  <a:pt x="391" y="149"/>
                </a:cubicBezTo>
                <a:cubicBezTo>
                  <a:pt x="390" y="148"/>
                  <a:pt x="390" y="148"/>
                  <a:pt x="390" y="148"/>
                </a:cubicBezTo>
                <a:cubicBezTo>
                  <a:pt x="391" y="147"/>
                  <a:pt x="391" y="147"/>
                  <a:pt x="391" y="147"/>
                </a:cubicBezTo>
                <a:cubicBezTo>
                  <a:pt x="391" y="147"/>
                  <a:pt x="391" y="147"/>
                  <a:pt x="391" y="147"/>
                </a:cubicBezTo>
                <a:cubicBezTo>
                  <a:pt x="391" y="149"/>
                  <a:pt x="391" y="149"/>
                  <a:pt x="391" y="149"/>
                </a:cubicBezTo>
                <a:cubicBezTo>
                  <a:pt x="392" y="149"/>
                  <a:pt x="392" y="149"/>
                  <a:pt x="392" y="149"/>
                </a:cubicBezTo>
                <a:cubicBezTo>
                  <a:pt x="392" y="150"/>
                  <a:pt x="392" y="150"/>
                  <a:pt x="392" y="150"/>
                </a:cubicBezTo>
                <a:cubicBezTo>
                  <a:pt x="391" y="150"/>
                  <a:pt x="391" y="150"/>
                  <a:pt x="391" y="150"/>
                </a:cubicBezTo>
                <a:cubicBezTo>
                  <a:pt x="390" y="152"/>
                  <a:pt x="390" y="152"/>
                  <a:pt x="390" y="152"/>
                </a:cubicBezTo>
                <a:cubicBezTo>
                  <a:pt x="391" y="155"/>
                  <a:pt x="391" y="155"/>
                  <a:pt x="391" y="155"/>
                </a:cubicBezTo>
                <a:close/>
                <a:moveTo>
                  <a:pt x="348" y="98"/>
                </a:moveTo>
                <a:cubicBezTo>
                  <a:pt x="349" y="98"/>
                  <a:pt x="349" y="98"/>
                  <a:pt x="349" y="98"/>
                </a:cubicBezTo>
                <a:cubicBezTo>
                  <a:pt x="349" y="97"/>
                  <a:pt x="349" y="97"/>
                  <a:pt x="349" y="97"/>
                </a:cubicBezTo>
                <a:cubicBezTo>
                  <a:pt x="348" y="97"/>
                  <a:pt x="348" y="97"/>
                  <a:pt x="348" y="97"/>
                </a:cubicBezTo>
                <a:cubicBezTo>
                  <a:pt x="347" y="97"/>
                  <a:pt x="347" y="97"/>
                  <a:pt x="347" y="97"/>
                </a:cubicBezTo>
                <a:cubicBezTo>
                  <a:pt x="348" y="98"/>
                  <a:pt x="348" y="98"/>
                  <a:pt x="348" y="98"/>
                </a:cubicBezTo>
                <a:close/>
                <a:moveTo>
                  <a:pt x="345" y="106"/>
                </a:moveTo>
                <a:cubicBezTo>
                  <a:pt x="346" y="105"/>
                  <a:pt x="346" y="105"/>
                  <a:pt x="346" y="105"/>
                </a:cubicBezTo>
                <a:cubicBezTo>
                  <a:pt x="347" y="104"/>
                  <a:pt x="347" y="104"/>
                  <a:pt x="347" y="104"/>
                </a:cubicBezTo>
                <a:cubicBezTo>
                  <a:pt x="347" y="105"/>
                  <a:pt x="347" y="105"/>
                  <a:pt x="347" y="105"/>
                </a:cubicBezTo>
                <a:cubicBezTo>
                  <a:pt x="346" y="105"/>
                  <a:pt x="346" y="105"/>
                  <a:pt x="346" y="105"/>
                </a:cubicBezTo>
                <a:cubicBezTo>
                  <a:pt x="345" y="106"/>
                  <a:pt x="345" y="106"/>
                  <a:pt x="345" y="106"/>
                </a:cubicBezTo>
                <a:close/>
                <a:moveTo>
                  <a:pt x="315" y="116"/>
                </a:moveTo>
                <a:cubicBezTo>
                  <a:pt x="315" y="117"/>
                  <a:pt x="315" y="117"/>
                  <a:pt x="315" y="117"/>
                </a:cubicBezTo>
                <a:cubicBezTo>
                  <a:pt x="315" y="118"/>
                  <a:pt x="315" y="118"/>
                  <a:pt x="315" y="118"/>
                </a:cubicBezTo>
                <a:cubicBezTo>
                  <a:pt x="316" y="117"/>
                  <a:pt x="316" y="117"/>
                  <a:pt x="316" y="117"/>
                </a:cubicBezTo>
                <a:cubicBezTo>
                  <a:pt x="315" y="116"/>
                  <a:pt x="315" y="116"/>
                  <a:pt x="315" y="116"/>
                </a:cubicBezTo>
                <a:close/>
                <a:moveTo>
                  <a:pt x="335" y="97"/>
                </a:moveTo>
                <a:cubicBezTo>
                  <a:pt x="335" y="98"/>
                  <a:pt x="335" y="98"/>
                  <a:pt x="335" y="98"/>
                </a:cubicBezTo>
                <a:cubicBezTo>
                  <a:pt x="336" y="99"/>
                  <a:pt x="336" y="99"/>
                  <a:pt x="336" y="99"/>
                </a:cubicBezTo>
                <a:cubicBezTo>
                  <a:pt x="336" y="100"/>
                  <a:pt x="336" y="100"/>
                  <a:pt x="336" y="100"/>
                </a:cubicBezTo>
                <a:cubicBezTo>
                  <a:pt x="336" y="99"/>
                  <a:pt x="336" y="99"/>
                  <a:pt x="336" y="99"/>
                </a:cubicBezTo>
                <a:cubicBezTo>
                  <a:pt x="336" y="98"/>
                  <a:pt x="336" y="98"/>
                  <a:pt x="336" y="98"/>
                </a:cubicBezTo>
                <a:cubicBezTo>
                  <a:pt x="335" y="97"/>
                  <a:pt x="335" y="97"/>
                  <a:pt x="335" y="97"/>
                </a:cubicBezTo>
                <a:cubicBezTo>
                  <a:pt x="335" y="97"/>
                  <a:pt x="335" y="97"/>
                  <a:pt x="335" y="97"/>
                </a:cubicBezTo>
                <a:close/>
                <a:moveTo>
                  <a:pt x="325" y="98"/>
                </a:moveTo>
                <a:cubicBezTo>
                  <a:pt x="325" y="99"/>
                  <a:pt x="325" y="99"/>
                  <a:pt x="325" y="99"/>
                </a:cubicBezTo>
                <a:cubicBezTo>
                  <a:pt x="326" y="99"/>
                  <a:pt x="326" y="99"/>
                  <a:pt x="326" y="99"/>
                </a:cubicBezTo>
                <a:cubicBezTo>
                  <a:pt x="327" y="99"/>
                  <a:pt x="327" y="99"/>
                  <a:pt x="327" y="99"/>
                </a:cubicBezTo>
                <a:cubicBezTo>
                  <a:pt x="328" y="98"/>
                  <a:pt x="328" y="98"/>
                  <a:pt x="328" y="98"/>
                </a:cubicBezTo>
                <a:cubicBezTo>
                  <a:pt x="329" y="99"/>
                  <a:pt x="329" y="99"/>
                  <a:pt x="329" y="99"/>
                </a:cubicBezTo>
                <a:cubicBezTo>
                  <a:pt x="331" y="97"/>
                  <a:pt x="331" y="97"/>
                  <a:pt x="331" y="97"/>
                </a:cubicBezTo>
                <a:cubicBezTo>
                  <a:pt x="332" y="97"/>
                  <a:pt x="332" y="97"/>
                  <a:pt x="332" y="97"/>
                </a:cubicBezTo>
                <a:cubicBezTo>
                  <a:pt x="333" y="97"/>
                  <a:pt x="333" y="97"/>
                  <a:pt x="333" y="97"/>
                </a:cubicBezTo>
                <a:cubicBezTo>
                  <a:pt x="333" y="97"/>
                  <a:pt x="333" y="97"/>
                  <a:pt x="333" y="97"/>
                </a:cubicBezTo>
                <a:cubicBezTo>
                  <a:pt x="331" y="96"/>
                  <a:pt x="331" y="96"/>
                  <a:pt x="331" y="96"/>
                </a:cubicBezTo>
                <a:cubicBezTo>
                  <a:pt x="329" y="97"/>
                  <a:pt x="329" y="97"/>
                  <a:pt x="329" y="97"/>
                </a:cubicBezTo>
                <a:cubicBezTo>
                  <a:pt x="329" y="97"/>
                  <a:pt x="328" y="97"/>
                  <a:pt x="328" y="97"/>
                </a:cubicBezTo>
                <a:cubicBezTo>
                  <a:pt x="328" y="97"/>
                  <a:pt x="327" y="97"/>
                  <a:pt x="327" y="97"/>
                </a:cubicBezTo>
                <a:cubicBezTo>
                  <a:pt x="326" y="97"/>
                  <a:pt x="326" y="97"/>
                  <a:pt x="326" y="97"/>
                </a:cubicBezTo>
                <a:cubicBezTo>
                  <a:pt x="325" y="98"/>
                  <a:pt x="325" y="98"/>
                  <a:pt x="325" y="98"/>
                </a:cubicBezTo>
                <a:close/>
                <a:moveTo>
                  <a:pt x="316" y="101"/>
                </a:moveTo>
                <a:cubicBezTo>
                  <a:pt x="315" y="100"/>
                  <a:pt x="315" y="100"/>
                  <a:pt x="315" y="100"/>
                </a:cubicBezTo>
                <a:cubicBezTo>
                  <a:pt x="313" y="100"/>
                  <a:pt x="313" y="100"/>
                  <a:pt x="313" y="100"/>
                </a:cubicBezTo>
                <a:cubicBezTo>
                  <a:pt x="312" y="100"/>
                  <a:pt x="312" y="100"/>
                  <a:pt x="312" y="100"/>
                </a:cubicBezTo>
                <a:cubicBezTo>
                  <a:pt x="312" y="98"/>
                  <a:pt x="312" y="98"/>
                  <a:pt x="312" y="98"/>
                </a:cubicBezTo>
                <a:cubicBezTo>
                  <a:pt x="313" y="97"/>
                  <a:pt x="313" y="97"/>
                  <a:pt x="313" y="97"/>
                </a:cubicBezTo>
                <a:cubicBezTo>
                  <a:pt x="313" y="96"/>
                  <a:pt x="313" y="96"/>
                  <a:pt x="313" y="96"/>
                </a:cubicBezTo>
                <a:cubicBezTo>
                  <a:pt x="313" y="96"/>
                  <a:pt x="313" y="96"/>
                  <a:pt x="313" y="96"/>
                </a:cubicBezTo>
                <a:cubicBezTo>
                  <a:pt x="313" y="95"/>
                  <a:pt x="313" y="95"/>
                  <a:pt x="313" y="95"/>
                </a:cubicBezTo>
                <a:cubicBezTo>
                  <a:pt x="314" y="94"/>
                  <a:pt x="314" y="94"/>
                  <a:pt x="314" y="94"/>
                </a:cubicBezTo>
                <a:cubicBezTo>
                  <a:pt x="315" y="94"/>
                  <a:pt x="315" y="94"/>
                  <a:pt x="315" y="94"/>
                </a:cubicBezTo>
                <a:cubicBezTo>
                  <a:pt x="316" y="94"/>
                  <a:pt x="316" y="94"/>
                  <a:pt x="316" y="94"/>
                </a:cubicBezTo>
                <a:cubicBezTo>
                  <a:pt x="316" y="95"/>
                  <a:pt x="316" y="95"/>
                  <a:pt x="316" y="95"/>
                </a:cubicBezTo>
                <a:cubicBezTo>
                  <a:pt x="316" y="95"/>
                  <a:pt x="316" y="95"/>
                  <a:pt x="316" y="95"/>
                </a:cubicBezTo>
                <a:cubicBezTo>
                  <a:pt x="316" y="96"/>
                  <a:pt x="316" y="96"/>
                  <a:pt x="316" y="96"/>
                </a:cubicBezTo>
                <a:cubicBezTo>
                  <a:pt x="315" y="96"/>
                  <a:pt x="315" y="96"/>
                  <a:pt x="315" y="96"/>
                </a:cubicBezTo>
                <a:cubicBezTo>
                  <a:pt x="316" y="96"/>
                  <a:pt x="316" y="96"/>
                  <a:pt x="316" y="96"/>
                </a:cubicBezTo>
                <a:cubicBezTo>
                  <a:pt x="317" y="96"/>
                  <a:pt x="317" y="96"/>
                  <a:pt x="317" y="96"/>
                </a:cubicBezTo>
                <a:cubicBezTo>
                  <a:pt x="317" y="97"/>
                  <a:pt x="317" y="97"/>
                  <a:pt x="317" y="97"/>
                </a:cubicBezTo>
                <a:cubicBezTo>
                  <a:pt x="317" y="98"/>
                  <a:pt x="317" y="98"/>
                  <a:pt x="317" y="98"/>
                </a:cubicBezTo>
                <a:cubicBezTo>
                  <a:pt x="317" y="99"/>
                  <a:pt x="317" y="99"/>
                  <a:pt x="317" y="99"/>
                </a:cubicBezTo>
                <a:cubicBezTo>
                  <a:pt x="317" y="100"/>
                  <a:pt x="317" y="100"/>
                  <a:pt x="317" y="100"/>
                </a:cubicBezTo>
                <a:cubicBezTo>
                  <a:pt x="317" y="101"/>
                  <a:pt x="317" y="101"/>
                  <a:pt x="317" y="101"/>
                </a:cubicBezTo>
                <a:cubicBezTo>
                  <a:pt x="316" y="101"/>
                  <a:pt x="316" y="101"/>
                  <a:pt x="316" y="101"/>
                </a:cubicBezTo>
                <a:close/>
                <a:moveTo>
                  <a:pt x="314" y="106"/>
                </a:moveTo>
                <a:cubicBezTo>
                  <a:pt x="317" y="106"/>
                  <a:pt x="317" y="106"/>
                  <a:pt x="317" y="106"/>
                </a:cubicBezTo>
                <a:cubicBezTo>
                  <a:pt x="317" y="105"/>
                  <a:pt x="317" y="105"/>
                  <a:pt x="317" y="105"/>
                </a:cubicBezTo>
                <a:cubicBezTo>
                  <a:pt x="318" y="103"/>
                  <a:pt x="318" y="103"/>
                  <a:pt x="318" y="103"/>
                </a:cubicBezTo>
                <a:cubicBezTo>
                  <a:pt x="317" y="102"/>
                  <a:pt x="317" y="102"/>
                  <a:pt x="317" y="102"/>
                </a:cubicBezTo>
                <a:cubicBezTo>
                  <a:pt x="316" y="103"/>
                  <a:pt x="316" y="103"/>
                  <a:pt x="316" y="103"/>
                </a:cubicBezTo>
                <a:cubicBezTo>
                  <a:pt x="315" y="102"/>
                  <a:pt x="315" y="102"/>
                  <a:pt x="315" y="102"/>
                </a:cubicBezTo>
                <a:cubicBezTo>
                  <a:pt x="313" y="102"/>
                  <a:pt x="313" y="102"/>
                  <a:pt x="313" y="102"/>
                </a:cubicBezTo>
                <a:cubicBezTo>
                  <a:pt x="312" y="102"/>
                  <a:pt x="312" y="102"/>
                  <a:pt x="312" y="102"/>
                </a:cubicBezTo>
                <a:cubicBezTo>
                  <a:pt x="311" y="102"/>
                  <a:pt x="311" y="102"/>
                  <a:pt x="311" y="102"/>
                </a:cubicBezTo>
                <a:cubicBezTo>
                  <a:pt x="311" y="102"/>
                  <a:pt x="311" y="102"/>
                  <a:pt x="311" y="102"/>
                </a:cubicBezTo>
                <a:cubicBezTo>
                  <a:pt x="310" y="103"/>
                  <a:pt x="310" y="103"/>
                  <a:pt x="310" y="103"/>
                </a:cubicBezTo>
                <a:cubicBezTo>
                  <a:pt x="310" y="103"/>
                  <a:pt x="310" y="103"/>
                  <a:pt x="310" y="103"/>
                </a:cubicBezTo>
                <a:cubicBezTo>
                  <a:pt x="310" y="104"/>
                  <a:pt x="310" y="104"/>
                  <a:pt x="310" y="104"/>
                </a:cubicBezTo>
                <a:cubicBezTo>
                  <a:pt x="310" y="104"/>
                  <a:pt x="310" y="104"/>
                  <a:pt x="310" y="104"/>
                </a:cubicBezTo>
                <a:cubicBezTo>
                  <a:pt x="311" y="105"/>
                  <a:pt x="311" y="105"/>
                  <a:pt x="311" y="105"/>
                </a:cubicBezTo>
                <a:cubicBezTo>
                  <a:pt x="312" y="105"/>
                  <a:pt x="312" y="105"/>
                  <a:pt x="312" y="105"/>
                </a:cubicBezTo>
                <a:cubicBezTo>
                  <a:pt x="313" y="106"/>
                  <a:pt x="313" y="106"/>
                  <a:pt x="313" y="106"/>
                </a:cubicBezTo>
                <a:cubicBezTo>
                  <a:pt x="314" y="106"/>
                  <a:pt x="314" y="106"/>
                  <a:pt x="314" y="106"/>
                </a:cubicBezTo>
                <a:close/>
                <a:moveTo>
                  <a:pt x="310" y="108"/>
                </a:moveTo>
                <a:cubicBezTo>
                  <a:pt x="312" y="108"/>
                  <a:pt x="312" y="108"/>
                  <a:pt x="312" y="108"/>
                </a:cubicBezTo>
                <a:cubicBezTo>
                  <a:pt x="314" y="108"/>
                  <a:pt x="314" y="108"/>
                  <a:pt x="314" y="108"/>
                </a:cubicBezTo>
                <a:cubicBezTo>
                  <a:pt x="315" y="108"/>
                  <a:pt x="315" y="108"/>
                  <a:pt x="315" y="108"/>
                </a:cubicBezTo>
                <a:cubicBezTo>
                  <a:pt x="315" y="108"/>
                  <a:pt x="315" y="108"/>
                  <a:pt x="315" y="108"/>
                </a:cubicBezTo>
                <a:cubicBezTo>
                  <a:pt x="316" y="108"/>
                  <a:pt x="316" y="108"/>
                  <a:pt x="316" y="108"/>
                </a:cubicBezTo>
                <a:cubicBezTo>
                  <a:pt x="317" y="108"/>
                  <a:pt x="317" y="108"/>
                  <a:pt x="317" y="108"/>
                </a:cubicBezTo>
                <a:cubicBezTo>
                  <a:pt x="317" y="107"/>
                  <a:pt x="317" y="107"/>
                  <a:pt x="317" y="107"/>
                </a:cubicBezTo>
                <a:cubicBezTo>
                  <a:pt x="316" y="107"/>
                  <a:pt x="316" y="107"/>
                  <a:pt x="316" y="107"/>
                </a:cubicBezTo>
                <a:cubicBezTo>
                  <a:pt x="313" y="107"/>
                  <a:pt x="313" y="107"/>
                  <a:pt x="313" y="107"/>
                </a:cubicBezTo>
                <a:cubicBezTo>
                  <a:pt x="312" y="107"/>
                  <a:pt x="312" y="107"/>
                  <a:pt x="312" y="107"/>
                </a:cubicBezTo>
                <a:cubicBezTo>
                  <a:pt x="312" y="107"/>
                  <a:pt x="312" y="107"/>
                  <a:pt x="312" y="107"/>
                </a:cubicBezTo>
                <a:cubicBezTo>
                  <a:pt x="310" y="107"/>
                  <a:pt x="310" y="107"/>
                  <a:pt x="310" y="107"/>
                </a:cubicBezTo>
                <a:cubicBezTo>
                  <a:pt x="309" y="107"/>
                  <a:pt x="309" y="107"/>
                  <a:pt x="309" y="107"/>
                </a:cubicBezTo>
                <a:cubicBezTo>
                  <a:pt x="310" y="108"/>
                  <a:pt x="310" y="108"/>
                  <a:pt x="310" y="108"/>
                </a:cubicBezTo>
                <a:close/>
                <a:moveTo>
                  <a:pt x="309" y="111"/>
                </a:moveTo>
                <a:cubicBezTo>
                  <a:pt x="310" y="110"/>
                  <a:pt x="310" y="110"/>
                  <a:pt x="310" y="110"/>
                </a:cubicBezTo>
                <a:cubicBezTo>
                  <a:pt x="311" y="110"/>
                  <a:pt x="311" y="110"/>
                  <a:pt x="311" y="110"/>
                </a:cubicBezTo>
                <a:cubicBezTo>
                  <a:pt x="312" y="109"/>
                  <a:pt x="312" y="109"/>
                  <a:pt x="312" y="109"/>
                </a:cubicBezTo>
                <a:cubicBezTo>
                  <a:pt x="315" y="109"/>
                  <a:pt x="315" y="109"/>
                  <a:pt x="315" y="109"/>
                </a:cubicBezTo>
                <a:cubicBezTo>
                  <a:pt x="316" y="109"/>
                  <a:pt x="316" y="109"/>
                  <a:pt x="316" y="109"/>
                </a:cubicBezTo>
                <a:cubicBezTo>
                  <a:pt x="316" y="109"/>
                  <a:pt x="316" y="109"/>
                  <a:pt x="316" y="109"/>
                </a:cubicBezTo>
                <a:cubicBezTo>
                  <a:pt x="317" y="109"/>
                  <a:pt x="317" y="109"/>
                  <a:pt x="317" y="109"/>
                </a:cubicBezTo>
                <a:cubicBezTo>
                  <a:pt x="317" y="109"/>
                  <a:pt x="317" y="109"/>
                  <a:pt x="317" y="109"/>
                </a:cubicBezTo>
                <a:cubicBezTo>
                  <a:pt x="316" y="110"/>
                  <a:pt x="316" y="110"/>
                  <a:pt x="316" y="110"/>
                </a:cubicBezTo>
                <a:cubicBezTo>
                  <a:pt x="315" y="110"/>
                  <a:pt x="315" y="110"/>
                  <a:pt x="315" y="110"/>
                </a:cubicBezTo>
                <a:cubicBezTo>
                  <a:pt x="314" y="110"/>
                  <a:pt x="314" y="110"/>
                  <a:pt x="314" y="110"/>
                </a:cubicBezTo>
                <a:cubicBezTo>
                  <a:pt x="314" y="111"/>
                  <a:pt x="314" y="111"/>
                  <a:pt x="314" y="111"/>
                </a:cubicBezTo>
                <a:cubicBezTo>
                  <a:pt x="312" y="112"/>
                  <a:pt x="312" y="112"/>
                  <a:pt x="312" y="112"/>
                </a:cubicBezTo>
                <a:cubicBezTo>
                  <a:pt x="311" y="111"/>
                  <a:pt x="311" y="111"/>
                  <a:pt x="311" y="111"/>
                </a:cubicBezTo>
                <a:cubicBezTo>
                  <a:pt x="310" y="111"/>
                  <a:pt x="310" y="111"/>
                  <a:pt x="310" y="111"/>
                </a:cubicBezTo>
                <a:cubicBezTo>
                  <a:pt x="309" y="112"/>
                  <a:pt x="309" y="112"/>
                  <a:pt x="309" y="112"/>
                </a:cubicBezTo>
                <a:cubicBezTo>
                  <a:pt x="309" y="111"/>
                  <a:pt x="309" y="111"/>
                  <a:pt x="309" y="111"/>
                </a:cubicBezTo>
                <a:cubicBezTo>
                  <a:pt x="309" y="111"/>
                  <a:pt x="309" y="111"/>
                  <a:pt x="309" y="111"/>
                </a:cubicBezTo>
                <a:close/>
                <a:moveTo>
                  <a:pt x="280" y="73"/>
                </a:moveTo>
                <a:cubicBezTo>
                  <a:pt x="279" y="73"/>
                  <a:pt x="279" y="73"/>
                  <a:pt x="279" y="73"/>
                </a:cubicBezTo>
                <a:cubicBezTo>
                  <a:pt x="279" y="72"/>
                  <a:pt x="279" y="72"/>
                  <a:pt x="279" y="72"/>
                </a:cubicBezTo>
                <a:cubicBezTo>
                  <a:pt x="281" y="72"/>
                  <a:pt x="281" y="72"/>
                  <a:pt x="281" y="72"/>
                </a:cubicBezTo>
                <a:cubicBezTo>
                  <a:pt x="280" y="73"/>
                  <a:pt x="280" y="73"/>
                  <a:pt x="280" y="73"/>
                </a:cubicBezTo>
                <a:cubicBezTo>
                  <a:pt x="280" y="73"/>
                  <a:pt x="280" y="73"/>
                  <a:pt x="280" y="73"/>
                </a:cubicBezTo>
                <a:close/>
                <a:moveTo>
                  <a:pt x="271" y="77"/>
                </a:moveTo>
                <a:cubicBezTo>
                  <a:pt x="272" y="76"/>
                  <a:pt x="272" y="76"/>
                  <a:pt x="272" y="76"/>
                </a:cubicBezTo>
                <a:cubicBezTo>
                  <a:pt x="273" y="76"/>
                  <a:pt x="273" y="76"/>
                  <a:pt x="273" y="76"/>
                </a:cubicBezTo>
                <a:cubicBezTo>
                  <a:pt x="275" y="77"/>
                  <a:pt x="275" y="77"/>
                  <a:pt x="275" y="77"/>
                </a:cubicBezTo>
                <a:cubicBezTo>
                  <a:pt x="276" y="77"/>
                  <a:pt x="276" y="77"/>
                  <a:pt x="276" y="77"/>
                </a:cubicBezTo>
                <a:cubicBezTo>
                  <a:pt x="276" y="77"/>
                  <a:pt x="276" y="77"/>
                  <a:pt x="276" y="77"/>
                </a:cubicBezTo>
                <a:cubicBezTo>
                  <a:pt x="277" y="78"/>
                  <a:pt x="277" y="78"/>
                  <a:pt x="277" y="78"/>
                </a:cubicBezTo>
                <a:cubicBezTo>
                  <a:pt x="277" y="78"/>
                  <a:pt x="277" y="78"/>
                  <a:pt x="277" y="78"/>
                </a:cubicBezTo>
                <a:cubicBezTo>
                  <a:pt x="276" y="79"/>
                  <a:pt x="276" y="79"/>
                  <a:pt x="276" y="79"/>
                </a:cubicBezTo>
                <a:cubicBezTo>
                  <a:pt x="275" y="80"/>
                  <a:pt x="275" y="80"/>
                  <a:pt x="275" y="80"/>
                </a:cubicBezTo>
                <a:cubicBezTo>
                  <a:pt x="274" y="80"/>
                  <a:pt x="274" y="80"/>
                  <a:pt x="274" y="80"/>
                </a:cubicBezTo>
                <a:cubicBezTo>
                  <a:pt x="273" y="79"/>
                  <a:pt x="273" y="79"/>
                  <a:pt x="273" y="79"/>
                </a:cubicBezTo>
                <a:cubicBezTo>
                  <a:pt x="273" y="78"/>
                  <a:pt x="273" y="78"/>
                  <a:pt x="273" y="78"/>
                </a:cubicBezTo>
                <a:cubicBezTo>
                  <a:pt x="272" y="77"/>
                  <a:pt x="272" y="77"/>
                  <a:pt x="272" y="77"/>
                </a:cubicBezTo>
                <a:cubicBezTo>
                  <a:pt x="271" y="77"/>
                  <a:pt x="271" y="77"/>
                  <a:pt x="271" y="77"/>
                </a:cubicBezTo>
                <a:cubicBezTo>
                  <a:pt x="271" y="77"/>
                  <a:pt x="271" y="77"/>
                  <a:pt x="271" y="77"/>
                </a:cubicBezTo>
                <a:close/>
                <a:moveTo>
                  <a:pt x="227" y="79"/>
                </a:moveTo>
                <a:cubicBezTo>
                  <a:pt x="226" y="79"/>
                  <a:pt x="226" y="79"/>
                  <a:pt x="226" y="79"/>
                </a:cubicBezTo>
                <a:cubicBezTo>
                  <a:pt x="226" y="78"/>
                  <a:pt x="226" y="78"/>
                  <a:pt x="226" y="78"/>
                </a:cubicBezTo>
                <a:cubicBezTo>
                  <a:pt x="226" y="78"/>
                  <a:pt x="226" y="78"/>
                  <a:pt x="226" y="78"/>
                </a:cubicBezTo>
                <a:cubicBezTo>
                  <a:pt x="227" y="78"/>
                  <a:pt x="227" y="78"/>
                  <a:pt x="227" y="78"/>
                </a:cubicBezTo>
                <a:cubicBezTo>
                  <a:pt x="228" y="79"/>
                  <a:pt x="228" y="79"/>
                  <a:pt x="228" y="79"/>
                </a:cubicBezTo>
                <a:cubicBezTo>
                  <a:pt x="227" y="79"/>
                  <a:pt x="227" y="79"/>
                  <a:pt x="227" y="79"/>
                </a:cubicBezTo>
                <a:close/>
                <a:moveTo>
                  <a:pt x="232" y="85"/>
                </a:moveTo>
                <a:cubicBezTo>
                  <a:pt x="233" y="84"/>
                  <a:pt x="233" y="84"/>
                  <a:pt x="233" y="84"/>
                </a:cubicBezTo>
                <a:cubicBezTo>
                  <a:pt x="233" y="85"/>
                  <a:pt x="233" y="85"/>
                  <a:pt x="233" y="85"/>
                </a:cubicBezTo>
                <a:cubicBezTo>
                  <a:pt x="232" y="86"/>
                  <a:pt x="232" y="86"/>
                  <a:pt x="232" y="86"/>
                </a:cubicBezTo>
                <a:cubicBezTo>
                  <a:pt x="232" y="86"/>
                  <a:pt x="232" y="85"/>
                  <a:pt x="232" y="85"/>
                </a:cubicBezTo>
                <a:close/>
                <a:moveTo>
                  <a:pt x="234" y="83"/>
                </a:moveTo>
                <a:cubicBezTo>
                  <a:pt x="235" y="83"/>
                  <a:pt x="235" y="83"/>
                  <a:pt x="235" y="83"/>
                </a:cubicBezTo>
                <a:cubicBezTo>
                  <a:pt x="235" y="82"/>
                  <a:pt x="235" y="82"/>
                  <a:pt x="235" y="82"/>
                </a:cubicBezTo>
                <a:cubicBezTo>
                  <a:pt x="235" y="82"/>
                  <a:pt x="235" y="82"/>
                  <a:pt x="235" y="82"/>
                </a:cubicBezTo>
                <a:cubicBezTo>
                  <a:pt x="235" y="80"/>
                  <a:pt x="235" y="80"/>
                  <a:pt x="235" y="80"/>
                </a:cubicBezTo>
                <a:cubicBezTo>
                  <a:pt x="236" y="80"/>
                  <a:pt x="236" y="80"/>
                  <a:pt x="236" y="80"/>
                </a:cubicBezTo>
                <a:cubicBezTo>
                  <a:pt x="238" y="79"/>
                  <a:pt x="238" y="79"/>
                  <a:pt x="238" y="79"/>
                </a:cubicBezTo>
                <a:cubicBezTo>
                  <a:pt x="238" y="79"/>
                  <a:pt x="238" y="79"/>
                  <a:pt x="238" y="79"/>
                </a:cubicBezTo>
                <a:cubicBezTo>
                  <a:pt x="238" y="80"/>
                  <a:pt x="238" y="80"/>
                  <a:pt x="238" y="80"/>
                </a:cubicBezTo>
                <a:cubicBezTo>
                  <a:pt x="237" y="81"/>
                  <a:pt x="237" y="81"/>
                  <a:pt x="237" y="81"/>
                </a:cubicBezTo>
                <a:cubicBezTo>
                  <a:pt x="236" y="83"/>
                  <a:pt x="236" y="83"/>
                  <a:pt x="236" y="83"/>
                </a:cubicBezTo>
                <a:cubicBezTo>
                  <a:pt x="237" y="83"/>
                  <a:pt x="237" y="83"/>
                  <a:pt x="237" y="83"/>
                </a:cubicBezTo>
                <a:cubicBezTo>
                  <a:pt x="236" y="84"/>
                  <a:pt x="236" y="84"/>
                  <a:pt x="236" y="84"/>
                </a:cubicBezTo>
                <a:cubicBezTo>
                  <a:pt x="236" y="85"/>
                  <a:pt x="236" y="85"/>
                  <a:pt x="236" y="85"/>
                </a:cubicBezTo>
                <a:cubicBezTo>
                  <a:pt x="236" y="86"/>
                  <a:pt x="236" y="86"/>
                  <a:pt x="236" y="86"/>
                </a:cubicBezTo>
                <a:cubicBezTo>
                  <a:pt x="237" y="85"/>
                  <a:pt x="237" y="85"/>
                  <a:pt x="237" y="85"/>
                </a:cubicBezTo>
                <a:cubicBezTo>
                  <a:pt x="238" y="85"/>
                  <a:pt x="238" y="85"/>
                  <a:pt x="238" y="85"/>
                </a:cubicBezTo>
                <a:cubicBezTo>
                  <a:pt x="238" y="86"/>
                  <a:pt x="238" y="86"/>
                  <a:pt x="238" y="86"/>
                </a:cubicBezTo>
                <a:cubicBezTo>
                  <a:pt x="238" y="86"/>
                  <a:pt x="238" y="86"/>
                  <a:pt x="238" y="86"/>
                </a:cubicBezTo>
                <a:cubicBezTo>
                  <a:pt x="240" y="85"/>
                  <a:pt x="240" y="85"/>
                  <a:pt x="240" y="85"/>
                </a:cubicBezTo>
                <a:cubicBezTo>
                  <a:pt x="241" y="84"/>
                  <a:pt x="241" y="84"/>
                  <a:pt x="241" y="84"/>
                </a:cubicBezTo>
                <a:cubicBezTo>
                  <a:pt x="242" y="84"/>
                  <a:pt x="242" y="84"/>
                  <a:pt x="242" y="84"/>
                </a:cubicBezTo>
                <a:cubicBezTo>
                  <a:pt x="242" y="83"/>
                  <a:pt x="242" y="83"/>
                  <a:pt x="242" y="83"/>
                </a:cubicBezTo>
                <a:cubicBezTo>
                  <a:pt x="242" y="82"/>
                  <a:pt x="242" y="82"/>
                  <a:pt x="242" y="82"/>
                </a:cubicBezTo>
                <a:cubicBezTo>
                  <a:pt x="243" y="82"/>
                  <a:pt x="243" y="82"/>
                  <a:pt x="243" y="82"/>
                </a:cubicBezTo>
                <a:cubicBezTo>
                  <a:pt x="244" y="81"/>
                  <a:pt x="244" y="81"/>
                  <a:pt x="244" y="81"/>
                </a:cubicBezTo>
                <a:cubicBezTo>
                  <a:pt x="244" y="79"/>
                  <a:pt x="244" y="79"/>
                  <a:pt x="244" y="79"/>
                </a:cubicBezTo>
                <a:cubicBezTo>
                  <a:pt x="245" y="79"/>
                  <a:pt x="245" y="79"/>
                  <a:pt x="245" y="79"/>
                </a:cubicBezTo>
                <a:cubicBezTo>
                  <a:pt x="245" y="79"/>
                  <a:pt x="245" y="79"/>
                  <a:pt x="245" y="79"/>
                </a:cubicBezTo>
                <a:cubicBezTo>
                  <a:pt x="245" y="80"/>
                  <a:pt x="245" y="80"/>
                  <a:pt x="245" y="80"/>
                </a:cubicBezTo>
                <a:cubicBezTo>
                  <a:pt x="245" y="81"/>
                  <a:pt x="245" y="81"/>
                  <a:pt x="245" y="81"/>
                </a:cubicBezTo>
                <a:cubicBezTo>
                  <a:pt x="245" y="82"/>
                  <a:pt x="245" y="82"/>
                  <a:pt x="245" y="82"/>
                </a:cubicBezTo>
                <a:cubicBezTo>
                  <a:pt x="245" y="84"/>
                  <a:pt x="245" y="84"/>
                  <a:pt x="245" y="84"/>
                </a:cubicBezTo>
                <a:cubicBezTo>
                  <a:pt x="246" y="84"/>
                  <a:pt x="246" y="84"/>
                  <a:pt x="246" y="84"/>
                </a:cubicBezTo>
                <a:cubicBezTo>
                  <a:pt x="247" y="82"/>
                  <a:pt x="247" y="82"/>
                  <a:pt x="247" y="82"/>
                </a:cubicBezTo>
                <a:cubicBezTo>
                  <a:pt x="247" y="81"/>
                  <a:pt x="247" y="81"/>
                  <a:pt x="247" y="81"/>
                </a:cubicBezTo>
                <a:cubicBezTo>
                  <a:pt x="247" y="80"/>
                  <a:pt x="247" y="80"/>
                  <a:pt x="247" y="80"/>
                </a:cubicBezTo>
                <a:cubicBezTo>
                  <a:pt x="248" y="80"/>
                  <a:pt x="248" y="80"/>
                  <a:pt x="248" y="80"/>
                </a:cubicBezTo>
                <a:cubicBezTo>
                  <a:pt x="249" y="78"/>
                  <a:pt x="249" y="78"/>
                  <a:pt x="249" y="78"/>
                </a:cubicBezTo>
                <a:cubicBezTo>
                  <a:pt x="250" y="77"/>
                  <a:pt x="250" y="77"/>
                  <a:pt x="250" y="77"/>
                </a:cubicBezTo>
                <a:cubicBezTo>
                  <a:pt x="249" y="76"/>
                  <a:pt x="249" y="76"/>
                  <a:pt x="249" y="76"/>
                </a:cubicBezTo>
                <a:cubicBezTo>
                  <a:pt x="250" y="75"/>
                  <a:pt x="250" y="75"/>
                  <a:pt x="250" y="75"/>
                </a:cubicBezTo>
                <a:cubicBezTo>
                  <a:pt x="251" y="76"/>
                  <a:pt x="251" y="76"/>
                  <a:pt x="251" y="76"/>
                </a:cubicBezTo>
                <a:cubicBezTo>
                  <a:pt x="253" y="75"/>
                  <a:pt x="253" y="75"/>
                  <a:pt x="253" y="75"/>
                </a:cubicBezTo>
                <a:cubicBezTo>
                  <a:pt x="254" y="73"/>
                  <a:pt x="254" y="73"/>
                  <a:pt x="254" y="73"/>
                </a:cubicBezTo>
                <a:cubicBezTo>
                  <a:pt x="254" y="72"/>
                  <a:pt x="254" y="72"/>
                  <a:pt x="254" y="72"/>
                </a:cubicBezTo>
                <a:cubicBezTo>
                  <a:pt x="255" y="72"/>
                  <a:pt x="255" y="72"/>
                  <a:pt x="255" y="72"/>
                </a:cubicBezTo>
                <a:cubicBezTo>
                  <a:pt x="255" y="71"/>
                  <a:pt x="255" y="71"/>
                  <a:pt x="255" y="71"/>
                </a:cubicBezTo>
                <a:cubicBezTo>
                  <a:pt x="256" y="72"/>
                  <a:pt x="256" y="72"/>
                  <a:pt x="256" y="72"/>
                </a:cubicBezTo>
                <a:cubicBezTo>
                  <a:pt x="257" y="71"/>
                  <a:pt x="257" y="71"/>
                  <a:pt x="257" y="71"/>
                </a:cubicBezTo>
                <a:cubicBezTo>
                  <a:pt x="258" y="71"/>
                  <a:pt x="258" y="71"/>
                  <a:pt x="258" y="71"/>
                </a:cubicBezTo>
                <a:cubicBezTo>
                  <a:pt x="257" y="73"/>
                  <a:pt x="257" y="73"/>
                  <a:pt x="257" y="73"/>
                </a:cubicBezTo>
                <a:cubicBezTo>
                  <a:pt x="256" y="75"/>
                  <a:pt x="256" y="75"/>
                  <a:pt x="256" y="75"/>
                </a:cubicBezTo>
                <a:cubicBezTo>
                  <a:pt x="255" y="76"/>
                  <a:pt x="255" y="76"/>
                  <a:pt x="255" y="76"/>
                </a:cubicBezTo>
                <a:cubicBezTo>
                  <a:pt x="255" y="77"/>
                  <a:pt x="255" y="77"/>
                  <a:pt x="255" y="77"/>
                </a:cubicBezTo>
                <a:cubicBezTo>
                  <a:pt x="255" y="78"/>
                  <a:pt x="255" y="78"/>
                  <a:pt x="255" y="78"/>
                </a:cubicBezTo>
                <a:cubicBezTo>
                  <a:pt x="254" y="78"/>
                  <a:pt x="254" y="78"/>
                  <a:pt x="254" y="78"/>
                </a:cubicBezTo>
                <a:cubicBezTo>
                  <a:pt x="252" y="81"/>
                  <a:pt x="252" y="81"/>
                  <a:pt x="252" y="81"/>
                </a:cubicBezTo>
                <a:cubicBezTo>
                  <a:pt x="252" y="82"/>
                  <a:pt x="252" y="82"/>
                  <a:pt x="252" y="82"/>
                </a:cubicBezTo>
                <a:cubicBezTo>
                  <a:pt x="252" y="83"/>
                  <a:pt x="252" y="83"/>
                  <a:pt x="252" y="83"/>
                </a:cubicBezTo>
                <a:cubicBezTo>
                  <a:pt x="252" y="84"/>
                  <a:pt x="252" y="84"/>
                  <a:pt x="252" y="84"/>
                </a:cubicBezTo>
                <a:cubicBezTo>
                  <a:pt x="253" y="84"/>
                  <a:pt x="253" y="84"/>
                  <a:pt x="253" y="84"/>
                </a:cubicBezTo>
                <a:cubicBezTo>
                  <a:pt x="254" y="84"/>
                  <a:pt x="254" y="84"/>
                  <a:pt x="254" y="84"/>
                </a:cubicBezTo>
                <a:cubicBezTo>
                  <a:pt x="255" y="84"/>
                  <a:pt x="255" y="84"/>
                  <a:pt x="255" y="84"/>
                </a:cubicBezTo>
                <a:cubicBezTo>
                  <a:pt x="256" y="83"/>
                  <a:pt x="256" y="83"/>
                  <a:pt x="256" y="83"/>
                </a:cubicBezTo>
                <a:cubicBezTo>
                  <a:pt x="257" y="82"/>
                  <a:pt x="257" y="82"/>
                  <a:pt x="257" y="82"/>
                </a:cubicBezTo>
                <a:cubicBezTo>
                  <a:pt x="256" y="81"/>
                  <a:pt x="256" y="81"/>
                  <a:pt x="256" y="81"/>
                </a:cubicBezTo>
                <a:cubicBezTo>
                  <a:pt x="257" y="80"/>
                  <a:pt x="257" y="80"/>
                  <a:pt x="257" y="80"/>
                </a:cubicBezTo>
                <a:cubicBezTo>
                  <a:pt x="258" y="79"/>
                  <a:pt x="258" y="79"/>
                  <a:pt x="258" y="79"/>
                </a:cubicBezTo>
                <a:cubicBezTo>
                  <a:pt x="259" y="79"/>
                  <a:pt x="259" y="79"/>
                  <a:pt x="259" y="79"/>
                </a:cubicBezTo>
                <a:cubicBezTo>
                  <a:pt x="260" y="79"/>
                  <a:pt x="260" y="79"/>
                  <a:pt x="260" y="79"/>
                </a:cubicBezTo>
                <a:cubicBezTo>
                  <a:pt x="260" y="79"/>
                  <a:pt x="260" y="79"/>
                  <a:pt x="260" y="79"/>
                </a:cubicBezTo>
                <a:cubicBezTo>
                  <a:pt x="261" y="79"/>
                  <a:pt x="261" y="79"/>
                  <a:pt x="261" y="79"/>
                </a:cubicBezTo>
                <a:cubicBezTo>
                  <a:pt x="262" y="79"/>
                  <a:pt x="262" y="79"/>
                  <a:pt x="262" y="79"/>
                </a:cubicBezTo>
                <a:cubicBezTo>
                  <a:pt x="264" y="79"/>
                  <a:pt x="264" y="79"/>
                  <a:pt x="264" y="79"/>
                </a:cubicBezTo>
                <a:cubicBezTo>
                  <a:pt x="265" y="77"/>
                  <a:pt x="265" y="77"/>
                  <a:pt x="265" y="77"/>
                </a:cubicBezTo>
                <a:cubicBezTo>
                  <a:pt x="265" y="75"/>
                  <a:pt x="265" y="75"/>
                  <a:pt x="265" y="75"/>
                </a:cubicBezTo>
                <a:cubicBezTo>
                  <a:pt x="266" y="73"/>
                  <a:pt x="266" y="73"/>
                  <a:pt x="266" y="73"/>
                </a:cubicBezTo>
                <a:cubicBezTo>
                  <a:pt x="267" y="72"/>
                  <a:pt x="267" y="72"/>
                  <a:pt x="267" y="72"/>
                </a:cubicBezTo>
                <a:cubicBezTo>
                  <a:pt x="267" y="72"/>
                  <a:pt x="267" y="72"/>
                  <a:pt x="267" y="72"/>
                </a:cubicBezTo>
                <a:cubicBezTo>
                  <a:pt x="268" y="73"/>
                  <a:pt x="268" y="73"/>
                  <a:pt x="268" y="73"/>
                </a:cubicBezTo>
                <a:cubicBezTo>
                  <a:pt x="269" y="73"/>
                  <a:pt x="269" y="73"/>
                  <a:pt x="269" y="73"/>
                </a:cubicBezTo>
                <a:cubicBezTo>
                  <a:pt x="269" y="73"/>
                  <a:pt x="269" y="73"/>
                  <a:pt x="269" y="73"/>
                </a:cubicBezTo>
                <a:cubicBezTo>
                  <a:pt x="269" y="72"/>
                  <a:pt x="269" y="72"/>
                  <a:pt x="269" y="72"/>
                </a:cubicBezTo>
                <a:cubicBezTo>
                  <a:pt x="268" y="70"/>
                  <a:pt x="268" y="70"/>
                  <a:pt x="268" y="70"/>
                </a:cubicBezTo>
                <a:cubicBezTo>
                  <a:pt x="268" y="69"/>
                  <a:pt x="268" y="69"/>
                  <a:pt x="268" y="69"/>
                </a:cubicBezTo>
                <a:cubicBezTo>
                  <a:pt x="269" y="68"/>
                  <a:pt x="269" y="68"/>
                  <a:pt x="269" y="68"/>
                </a:cubicBezTo>
                <a:cubicBezTo>
                  <a:pt x="271" y="68"/>
                  <a:pt x="271" y="68"/>
                  <a:pt x="271" y="68"/>
                </a:cubicBezTo>
                <a:cubicBezTo>
                  <a:pt x="272" y="67"/>
                  <a:pt x="272" y="67"/>
                  <a:pt x="272" y="67"/>
                </a:cubicBezTo>
                <a:cubicBezTo>
                  <a:pt x="273" y="68"/>
                  <a:pt x="273" y="68"/>
                  <a:pt x="273" y="68"/>
                </a:cubicBezTo>
                <a:cubicBezTo>
                  <a:pt x="273" y="68"/>
                  <a:pt x="273" y="68"/>
                  <a:pt x="273" y="68"/>
                </a:cubicBezTo>
                <a:cubicBezTo>
                  <a:pt x="274" y="66"/>
                  <a:pt x="274" y="66"/>
                  <a:pt x="274" y="66"/>
                </a:cubicBezTo>
                <a:cubicBezTo>
                  <a:pt x="274" y="65"/>
                  <a:pt x="274" y="65"/>
                  <a:pt x="274" y="65"/>
                </a:cubicBezTo>
                <a:cubicBezTo>
                  <a:pt x="274" y="63"/>
                  <a:pt x="274" y="63"/>
                  <a:pt x="274" y="63"/>
                </a:cubicBezTo>
                <a:cubicBezTo>
                  <a:pt x="274" y="62"/>
                  <a:pt x="274" y="62"/>
                  <a:pt x="274" y="62"/>
                </a:cubicBezTo>
                <a:cubicBezTo>
                  <a:pt x="274" y="62"/>
                  <a:pt x="274" y="62"/>
                  <a:pt x="274" y="62"/>
                </a:cubicBezTo>
                <a:cubicBezTo>
                  <a:pt x="274" y="60"/>
                  <a:pt x="274" y="60"/>
                  <a:pt x="274" y="60"/>
                </a:cubicBezTo>
                <a:cubicBezTo>
                  <a:pt x="273" y="60"/>
                  <a:pt x="273" y="60"/>
                  <a:pt x="273" y="60"/>
                </a:cubicBezTo>
                <a:cubicBezTo>
                  <a:pt x="272" y="60"/>
                  <a:pt x="272" y="60"/>
                  <a:pt x="272" y="60"/>
                </a:cubicBezTo>
                <a:cubicBezTo>
                  <a:pt x="271" y="61"/>
                  <a:pt x="271" y="61"/>
                  <a:pt x="271" y="61"/>
                </a:cubicBezTo>
                <a:cubicBezTo>
                  <a:pt x="271" y="63"/>
                  <a:pt x="271" y="63"/>
                  <a:pt x="271" y="63"/>
                </a:cubicBezTo>
                <a:cubicBezTo>
                  <a:pt x="271" y="63"/>
                  <a:pt x="271" y="63"/>
                  <a:pt x="271" y="63"/>
                </a:cubicBezTo>
                <a:cubicBezTo>
                  <a:pt x="271" y="64"/>
                  <a:pt x="271" y="64"/>
                  <a:pt x="271" y="64"/>
                </a:cubicBezTo>
                <a:cubicBezTo>
                  <a:pt x="270" y="64"/>
                  <a:pt x="270" y="64"/>
                  <a:pt x="270" y="64"/>
                </a:cubicBezTo>
                <a:cubicBezTo>
                  <a:pt x="269" y="63"/>
                  <a:pt x="269" y="63"/>
                  <a:pt x="269" y="63"/>
                </a:cubicBezTo>
                <a:cubicBezTo>
                  <a:pt x="269" y="63"/>
                  <a:pt x="269" y="63"/>
                  <a:pt x="269" y="63"/>
                </a:cubicBezTo>
                <a:cubicBezTo>
                  <a:pt x="269" y="64"/>
                  <a:pt x="269" y="64"/>
                  <a:pt x="269" y="64"/>
                </a:cubicBezTo>
                <a:cubicBezTo>
                  <a:pt x="268" y="65"/>
                  <a:pt x="268" y="65"/>
                  <a:pt x="268" y="65"/>
                </a:cubicBezTo>
                <a:cubicBezTo>
                  <a:pt x="268" y="64"/>
                  <a:pt x="268" y="64"/>
                  <a:pt x="268" y="64"/>
                </a:cubicBezTo>
                <a:cubicBezTo>
                  <a:pt x="268" y="62"/>
                  <a:pt x="268" y="62"/>
                  <a:pt x="268" y="62"/>
                </a:cubicBezTo>
                <a:cubicBezTo>
                  <a:pt x="266" y="61"/>
                  <a:pt x="266" y="61"/>
                  <a:pt x="266" y="61"/>
                </a:cubicBezTo>
                <a:cubicBezTo>
                  <a:pt x="266" y="61"/>
                  <a:pt x="266" y="61"/>
                  <a:pt x="266" y="61"/>
                </a:cubicBezTo>
                <a:cubicBezTo>
                  <a:pt x="265" y="61"/>
                  <a:pt x="265" y="61"/>
                  <a:pt x="265" y="61"/>
                </a:cubicBezTo>
                <a:cubicBezTo>
                  <a:pt x="264" y="61"/>
                  <a:pt x="264" y="61"/>
                  <a:pt x="264" y="61"/>
                </a:cubicBezTo>
                <a:cubicBezTo>
                  <a:pt x="263" y="61"/>
                  <a:pt x="263" y="61"/>
                  <a:pt x="263" y="61"/>
                </a:cubicBezTo>
                <a:cubicBezTo>
                  <a:pt x="262" y="61"/>
                  <a:pt x="262" y="61"/>
                  <a:pt x="262" y="61"/>
                </a:cubicBezTo>
                <a:cubicBezTo>
                  <a:pt x="259" y="61"/>
                  <a:pt x="259" y="61"/>
                  <a:pt x="259" y="61"/>
                </a:cubicBezTo>
                <a:cubicBezTo>
                  <a:pt x="258" y="61"/>
                  <a:pt x="258" y="61"/>
                  <a:pt x="258" y="61"/>
                </a:cubicBezTo>
                <a:cubicBezTo>
                  <a:pt x="257" y="62"/>
                  <a:pt x="257" y="62"/>
                  <a:pt x="257" y="62"/>
                </a:cubicBezTo>
                <a:cubicBezTo>
                  <a:pt x="257" y="63"/>
                  <a:pt x="257" y="63"/>
                  <a:pt x="257" y="63"/>
                </a:cubicBezTo>
                <a:cubicBezTo>
                  <a:pt x="256" y="63"/>
                  <a:pt x="256" y="63"/>
                  <a:pt x="256" y="63"/>
                </a:cubicBezTo>
                <a:cubicBezTo>
                  <a:pt x="255" y="63"/>
                  <a:pt x="255" y="63"/>
                  <a:pt x="255" y="63"/>
                </a:cubicBezTo>
                <a:cubicBezTo>
                  <a:pt x="252" y="65"/>
                  <a:pt x="252" y="65"/>
                  <a:pt x="252" y="65"/>
                </a:cubicBezTo>
                <a:cubicBezTo>
                  <a:pt x="252" y="66"/>
                  <a:pt x="252" y="66"/>
                  <a:pt x="252" y="66"/>
                </a:cubicBezTo>
                <a:cubicBezTo>
                  <a:pt x="250" y="66"/>
                  <a:pt x="250" y="66"/>
                  <a:pt x="250" y="66"/>
                </a:cubicBezTo>
                <a:cubicBezTo>
                  <a:pt x="249" y="67"/>
                  <a:pt x="249" y="67"/>
                  <a:pt x="249" y="67"/>
                </a:cubicBezTo>
                <a:cubicBezTo>
                  <a:pt x="248" y="67"/>
                  <a:pt x="248" y="67"/>
                  <a:pt x="248" y="67"/>
                </a:cubicBezTo>
                <a:cubicBezTo>
                  <a:pt x="247" y="68"/>
                  <a:pt x="247" y="68"/>
                  <a:pt x="247" y="68"/>
                </a:cubicBezTo>
                <a:cubicBezTo>
                  <a:pt x="247" y="69"/>
                  <a:pt x="247" y="69"/>
                  <a:pt x="247" y="69"/>
                </a:cubicBezTo>
                <a:cubicBezTo>
                  <a:pt x="245" y="69"/>
                  <a:pt x="245" y="69"/>
                  <a:pt x="245" y="69"/>
                </a:cubicBezTo>
                <a:cubicBezTo>
                  <a:pt x="244" y="70"/>
                  <a:pt x="244" y="70"/>
                  <a:pt x="244" y="70"/>
                </a:cubicBezTo>
                <a:cubicBezTo>
                  <a:pt x="243" y="69"/>
                  <a:pt x="243" y="69"/>
                  <a:pt x="243" y="69"/>
                </a:cubicBezTo>
                <a:cubicBezTo>
                  <a:pt x="242" y="70"/>
                  <a:pt x="242" y="70"/>
                  <a:pt x="242" y="70"/>
                </a:cubicBezTo>
                <a:cubicBezTo>
                  <a:pt x="241" y="70"/>
                  <a:pt x="241" y="70"/>
                  <a:pt x="241" y="70"/>
                </a:cubicBezTo>
                <a:cubicBezTo>
                  <a:pt x="239" y="72"/>
                  <a:pt x="239" y="72"/>
                  <a:pt x="239" y="72"/>
                </a:cubicBezTo>
                <a:cubicBezTo>
                  <a:pt x="238" y="72"/>
                  <a:pt x="238" y="72"/>
                  <a:pt x="238" y="72"/>
                </a:cubicBezTo>
                <a:cubicBezTo>
                  <a:pt x="236" y="72"/>
                  <a:pt x="236" y="72"/>
                  <a:pt x="236" y="72"/>
                </a:cubicBezTo>
                <a:cubicBezTo>
                  <a:pt x="235" y="72"/>
                  <a:pt x="235" y="72"/>
                  <a:pt x="235" y="72"/>
                </a:cubicBezTo>
                <a:cubicBezTo>
                  <a:pt x="232" y="73"/>
                  <a:pt x="232" y="73"/>
                  <a:pt x="232" y="73"/>
                </a:cubicBezTo>
                <a:cubicBezTo>
                  <a:pt x="231" y="75"/>
                  <a:pt x="231" y="75"/>
                  <a:pt x="231" y="75"/>
                </a:cubicBezTo>
                <a:cubicBezTo>
                  <a:pt x="230" y="75"/>
                  <a:pt x="230" y="75"/>
                  <a:pt x="230" y="75"/>
                </a:cubicBezTo>
                <a:cubicBezTo>
                  <a:pt x="228" y="75"/>
                  <a:pt x="228" y="75"/>
                  <a:pt x="228" y="75"/>
                </a:cubicBezTo>
                <a:cubicBezTo>
                  <a:pt x="228" y="77"/>
                  <a:pt x="228" y="77"/>
                  <a:pt x="228" y="77"/>
                </a:cubicBezTo>
                <a:cubicBezTo>
                  <a:pt x="229" y="77"/>
                  <a:pt x="229" y="77"/>
                  <a:pt x="229" y="77"/>
                </a:cubicBezTo>
                <a:cubicBezTo>
                  <a:pt x="229" y="77"/>
                  <a:pt x="229" y="77"/>
                  <a:pt x="229" y="77"/>
                </a:cubicBezTo>
                <a:cubicBezTo>
                  <a:pt x="228" y="77"/>
                  <a:pt x="228" y="77"/>
                  <a:pt x="228" y="77"/>
                </a:cubicBezTo>
                <a:cubicBezTo>
                  <a:pt x="228" y="78"/>
                  <a:pt x="228" y="78"/>
                  <a:pt x="228" y="78"/>
                </a:cubicBezTo>
                <a:cubicBezTo>
                  <a:pt x="229" y="79"/>
                  <a:pt x="229" y="79"/>
                  <a:pt x="229" y="79"/>
                </a:cubicBezTo>
                <a:cubicBezTo>
                  <a:pt x="229" y="79"/>
                  <a:pt x="229" y="79"/>
                  <a:pt x="229" y="79"/>
                </a:cubicBezTo>
                <a:cubicBezTo>
                  <a:pt x="227" y="80"/>
                  <a:pt x="227" y="80"/>
                  <a:pt x="227" y="80"/>
                </a:cubicBezTo>
                <a:cubicBezTo>
                  <a:pt x="227" y="81"/>
                  <a:pt x="227" y="81"/>
                  <a:pt x="227" y="81"/>
                </a:cubicBezTo>
                <a:cubicBezTo>
                  <a:pt x="228" y="81"/>
                  <a:pt x="228" y="81"/>
                  <a:pt x="228" y="81"/>
                </a:cubicBezTo>
                <a:cubicBezTo>
                  <a:pt x="229" y="81"/>
                  <a:pt x="229" y="81"/>
                  <a:pt x="229" y="81"/>
                </a:cubicBezTo>
                <a:cubicBezTo>
                  <a:pt x="230" y="80"/>
                  <a:pt x="230" y="80"/>
                  <a:pt x="230" y="80"/>
                </a:cubicBezTo>
                <a:cubicBezTo>
                  <a:pt x="231" y="79"/>
                  <a:pt x="231" y="79"/>
                  <a:pt x="231" y="79"/>
                </a:cubicBezTo>
                <a:cubicBezTo>
                  <a:pt x="232" y="80"/>
                  <a:pt x="232" y="80"/>
                  <a:pt x="232" y="80"/>
                </a:cubicBezTo>
                <a:cubicBezTo>
                  <a:pt x="233" y="82"/>
                  <a:pt x="233" y="82"/>
                  <a:pt x="233" y="82"/>
                </a:cubicBezTo>
                <a:cubicBezTo>
                  <a:pt x="233" y="83"/>
                  <a:pt x="233" y="83"/>
                  <a:pt x="233" y="83"/>
                </a:cubicBezTo>
                <a:cubicBezTo>
                  <a:pt x="234" y="83"/>
                  <a:pt x="234" y="83"/>
                  <a:pt x="234" y="83"/>
                </a:cubicBezTo>
                <a:close/>
                <a:moveTo>
                  <a:pt x="354" y="154"/>
                </a:moveTo>
                <a:cubicBezTo>
                  <a:pt x="354" y="153"/>
                  <a:pt x="354" y="153"/>
                  <a:pt x="354" y="153"/>
                </a:cubicBezTo>
                <a:cubicBezTo>
                  <a:pt x="356" y="154"/>
                  <a:pt x="356" y="154"/>
                  <a:pt x="356" y="154"/>
                </a:cubicBezTo>
                <a:cubicBezTo>
                  <a:pt x="356" y="154"/>
                  <a:pt x="356" y="154"/>
                  <a:pt x="356" y="154"/>
                </a:cubicBezTo>
                <a:cubicBezTo>
                  <a:pt x="355" y="155"/>
                  <a:pt x="355" y="155"/>
                  <a:pt x="355" y="155"/>
                </a:cubicBezTo>
                <a:cubicBezTo>
                  <a:pt x="354" y="155"/>
                  <a:pt x="354" y="155"/>
                  <a:pt x="354" y="155"/>
                </a:cubicBezTo>
                <a:cubicBezTo>
                  <a:pt x="354" y="154"/>
                  <a:pt x="354" y="154"/>
                  <a:pt x="354" y="154"/>
                </a:cubicBezTo>
                <a:close/>
                <a:moveTo>
                  <a:pt x="340" y="126"/>
                </a:moveTo>
                <a:cubicBezTo>
                  <a:pt x="339" y="126"/>
                  <a:pt x="339" y="126"/>
                  <a:pt x="339" y="126"/>
                </a:cubicBezTo>
                <a:cubicBezTo>
                  <a:pt x="338" y="125"/>
                  <a:pt x="338" y="125"/>
                  <a:pt x="338" y="125"/>
                </a:cubicBezTo>
                <a:cubicBezTo>
                  <a:pt x="337" y="126"/>
                  <a:pt x="337" y="126"/>
                  <a:pt x="337" y="126"/>
                </a:cubicBezTo>
                <a:cubicBezTo>
                  <a:pt x="338" y="126"/>
                  <a:pt x="338" y="126"/>
                  <a:pt x="338" y="126"/>
                </a:cubicBezTo>
                <a:cubicBezTo>
                  <a:pt x="339" y="127"/>
                  <a:pt x="339" y="127"/>
                  <a:pt x="339" y="127"/>
                </a:cubicBezTo>
                <a:cubicBezTo>
                  <a:pt x="339" y="127"/>
                  <a:pt x="339" y="127"/>
                  <a:pt x="339" y="127"/>
                </a:cubicBezTo>
                <a:cubicBezTo>
                  <a:pt x="337" y="127"/>
                  <a:pt x="337" y="127"/>
                  <a:pt x="337" y="127"/>
                </a:cubicBezTo>
                <a:cubicBezTo>
                  <a:pt x="337" y="128"/>
                  <a:pt x="337" y="128"/>
                  <a:pt x="337" y="128"/>
                </a:cubicBezTo>
                <a:cubicBezTo>
                  <a:pt x="337" y="129"/>
                  <a:pt x="337" y="129"/>
                  <a:pt x="337" y="129"/>
                </a:cubicBezTo>
                <a:cubicBezTo>
                  <a:pt x="337" y="129"/>
                  <a:pt x="337" y="129"/>
                  <a:pt x="337" y="129"/>
                </a:cubicBezTo>
                <a:cubicBezTo>
                  <a:pt x="337" y="129"/>
                  <a:pt x="337" y="129"/>
                  <a:pt x="337" y="129"/>
                </a:cubicBezTo>
                <a:cubicBezTo>
                  <a:pt x="336" y="129"/>
                  <a:pt x="336" y="129"/>
                  <a:pt x="336" y="129"/>
                </a:cubicBezTo>
                <a:cubicBezTo>
                  <a:pt x="335" y="129"/>
                  <a:pt x="335" y="129"/>
                  <a:pt x="335" y="129"/>
                </a:cubicBezTo>
                <a:cubicBezTo>
                  <a:pt x="334" y="130"/>
                  <a:pt x="334" y="130"/>
                  <a:pt x="334" y="130"/>
                </a:cubicBezTo>
                <a:cubicBezTo>
                  <a:pt x="333" y="131"/>
                  <a:pt x="333" y="131"/>
                  <a:pt x="333" y="131"/>
                </a:cubicBezTo>
                <a:cubicBezTo>
                  <a:pt x="333" y="132"/>
                  <a:pt x="333" y="132"/>
                  <a:pt x="333" y="132"/>
                </a:cubicBezTo>
                <a:cubicBezTo>
                  <a:pt x="333" y="132"/>
                  <a:pt x="333" y="132"/>
                  <a:pt x="333" y="132"/>
                </a:cubicBezTo>
                <a:cubicBezTo>
                  <a:pt x="334" y="132"/>
                  <a:pt x="334" y="132"/>
                  <a:pt x="334" y="132"/>
                </a:cubicBezTo>
                <a:cubicBezTo>
                  <a:pt x="333" y="133"/>
                  <a:pt x="333" y="133"/>
                  <a:pt x="333" y="133"/>
                </a:cubicBezTo>
                <a:cubicBezTo>
                  <a:pt x="333" y="134"/>
                  <a:pt x="333" y="134"/>
                  <a:pt x="333" y="134"/>
                </a:cubicBezTo>
                <a:cubicBezTo>
                  <a:pt x="334" y="134"/>
                  <a:pt x="334" y="134"/>
                  <a:pt x="334" y="134"/>
                </a:cubicBezTo>
                <a:cubicBezTo>
                  <a:pt x="334" y="133"/>
                  <a:pt x="334" y="133"/>
                  <a:pt x="334" y="133"/>
                </a:cubicBezTo>
                <a:cubicBezTo>
                  <a:pt x="335" y="133"/>
                  <a:pt x="335" y="133"/>
                  <a:pt x="335" y="133"/>
                </a:cubicBezTo>
                <a:cubicBezTo>
                  <a:pt x="334" y="134"/>
                  <a:pt x="334" y="134"/>
                  <a:pt x="334" y="134"/>
                </a:cubicBezTo>
                <a:cubicBezTo>
                  <a:pt x="334" y="135"/>
                  <a:pt x="334" y="135"/>
                  <a:pt x="334" y="135"/>
                </a:cubicBezTo>
                <a:cubicBezTo>
                  <a:pt x="335" y="135"/>
                  <a:pt x="335" y="135"/>
                  <a:pt x="335" y="135"/>
                </a:cubicBezTo>
                <a:cubicBezTo>
                  <a:pt x="336" y="135"/>
                  <a:pt x="336" y="135"/>
                  <a:pt x="336" y="135"/>
                </a:cubicBezTo>
                <a:cubicBezTo>
                  <a:pt x="336" y="136"/>
                  <a:pt x="336" y="136"/>
                  <a:pt x="336" y="136"/>
                </a:cubicBezTo>
                <a:cubicBezTo>
                  <a:pt x="336" y="137"/>
                  <a:pt x="336" y="137"/>
                  <a:pt x="336" y="137"/>
                </a:cubicBezTo>
                <a:cubicBezTo>
                  <a:pt x="337" y="137"/>
                  <a:pt x="337" y="137"/>
                  <a:pt x="337" y="137"/>
                </a:cubicBezTo>
                <a:cubicBezTo>
                  <a:pt x="337" y="136"/>
                  <a:pt x="337" y="136"/>
                  <a:pt x="337" y="136"/>
                </a:cubicBezTo>
                <a:cubicBezTo>
                  <a:pt x="338" y="136"/>
                  <a:pt x="338" y="136"/>
                  <a:pt x="338" y="136"/>
                </a:cubicBezTo>
                <a:cubicBezTo>
                  <a:pt x="338" y="138"/>
                  <a:pt x="338" y="138"/>
                  <a:pt x="338" y="138"/>
                </a:cubicBezTo>
                <a:cubicBezTo>
                  <a:pt x="338" y="138"/>
                  <a:pt x="338" y="138"/>
                  <a:pt x="338" y="138"/>
                </a:cubicBezTo>
                <a:cubicBezTo>
                  <a:pt x="339" y="138"/>
                  <a:pt x="339" y="138"/>
                  <a:pt x="339" y="138"/>
                </a:cubicBezTo>
                <a:cubicBezTo>
                  <a:pt x="339" y="139"/>
                  <a:pt x="339" y="139"/>
                  <a:pt x="339" y="139"/>
                </a:cubicBezTo>
                <a:cubicBezTo>
                  <a:pt x="341" y="139"/>
                  <a:pt x="341" y="139"/>
                  <a:pt x="341" y="139"/>
                </a:cubicBezTo>
                <a:cubicBezTo>
                  <a:pt x="342" y="140"/>
                  <a:pt x="342" y="140"/>
                  <a:pt x="342" y="140"/>
                </a:cubicBezTo>
                <a:cubicBezTo>
                  <a:pt x="343" y="140"/>
                  <a:pt x="343" y="140"/>
                  <a:pt x="343" y="140"/>
                </a:cubicBezTo>
                <a:cubicBezTo>
                  <a:pt x="344" y="141"/>
                  <a:pt x="344" y="141"/>
                  <a:pt x="344" y="141"/>
                </a:cubicBezTo>
                <a:cubicBezTo>
                  <a:pt x="344" y="140"/>
                  <a:pt x="344" y="140"/>
                  <a:pt x="344" y="140"/>
                </a:cubicBezTo>
                <a:cubicBezTo>
                  <a:pt x="344" y="139"/>
                  <a:pt x="344" y="139"/>
                  <a:pt x="344" y="139"/>
                </a:cubicBezTo>
                <a:cubicBezTo>
                  <a:pt x="345" y="139"/>
                  <a:pt x="345" y="139"/>
                  <a:pt x="345" y="139"/>
                </a:cubicBezTo>
                <a:cubicBezTo>
                  <a:pt x="345" y="137"/>
                  <a:pt x="345" y="137"/>
                  <a:pt x="345" y="137"/>
                </a:cubicBezTo>
                <a:cubicBezTo>
                  <a:pt x="345" y="136"/>
                  <a:pt x="345" y="136"/>
                  <a:pt x="345" y="136"/>
                </a:cubicBezTo>
                <a:cubicBezTo>
                  <a:pt x="346" y="134"/>
                  <a:pt x="346" y="134"/>
                  <a:pt x="346" y="134"/>
                </a:cubicBezTo>
                <a:cubicBezTo>
                  <a:pt x="346" y="134"/>
                  <a:pt x="346" y="134"/>
                  <a:pt x="346" y="134"/>
                </a:cubicBezTo>
                <a:cubicBezTo>
                  <a:pt x="347" y="132"/>
                  <a:pt x="347" y="132"/>
                  <a:pt x="347" y="132"/>
                </a:cubicBezTo>
                <a:cubicBezTo>
                  <a:pt x="347" y="130"/>
                  <a:pt x="347" y="130"/>
                  <a:pt x="347" y="130"/>
                </a:cubicBezTo>
                <a:cubicBezTo>
                  <a:pt x="348" y="130"/>
                  <a:pt x="348" y="130"/>
                  <a:pt x="348" y="130"/>
                </a:cubicBezTo>
                <a:cubicBezTo>
                  <a:pt x="347" y="128"/>
                  <a:pt x="347" y="128"/>
                  <a:pt x="347" y="128"/>
                </a:cubicBezTo>
                <a:cubicBezTo>
                  <a:pt x="346" y="128"/>
                  <a:pt x="346" y="128"/>
                  <a:pt x="346" y="128"/>
                </a:cubicBezTo>
                <a:cubicBezTo>
                  <a:pt x="346" y="126"/>
                  <a:pt x="346" y="126"/>
                  <a:pt x="346" y="126"/>
                </a:cubicBezTo>
                <a:cubicBezTo>
                  <a:pt x="346" y="126"/>
                  <a:pt x="346" y="126"/>
                  <a:pt x="346" y="126"/>
                </a:cubicBezTo>
                <a:cubicBezTo>
                  <a:pt x="345" y="125"/>
                  <a:pt x="345" y="125"/>
                  <a:pt x="345" y="125"/>
                </a:cubicBezTo>
                <a:cubicBezTo>
                  <a:pt x="344" y="124"/>
                  <a:pt x="344" y="124"/>
                  <a:pt x="344" y="124"/>
                </a:cubicBezTo>
                <a:cubicBezTo>
                  <a:pt x="343" y="124"/>
                  <a:pt x="343" y="124"/>
                  <a:pt x="343" y="124"/>
                </a:cubicBezTo>
                <a:cubicBezTo>
                  <a:pt x="341" y="124"/>
                  <a:pt x="341" y="124"/>
                  <a:pt x="341" y="124"/>
                </a:cubicBezTo>
                <a:cubicBezTo>
                  <a:pt x="340" y="124"/>
                  <a:pt x="340" y="124"/>
                  <a:pt x="340" y="124"/>
                </a:cubicBezTo>
                <a:cubicBezTo>
                  <a:pt x="340" y="125"/>
                  <a:pt x="340" y="125"/>
                  <a:pt x="340" y="125"/>
                </a:cubicBezTo>
                <a:cubicBezTo>
                  <a:pt x="340" y="126"/>
                  <a:pt x="340" y="126"/>
                  <a:pt x="340" y="126"/>
                </a:cubicBezTo>
                <a:cubicBezTo>
                  <a:pt x="340" y="126"/>
                  <a:pt x="340" y="126"/>
                  <a:pt x="340" y="126"/>
                </a:cubicBezTo>
                <a:cubicBezTo>
                  <a:pt x="340" y="126"/>
                  <a:pt x="340" y="126"/>
                  <a:pt x="340" y="126"/>
                </a:cubicBezTo>
                <a:close/>
                <a:moveTo>
                  <a:pt x="348" y="116"/>
                </a:moveTo>
                <a:cubicBezTo>
                  <a:pt x="347" y="116"/>
                  <a:pt x="347" y="116"/>
                  <a:pt x="347" y="116"/>
                </a:cubicBezTo>
                <a:cubicBezTo>
                  <a:pt x="347" y="115"/>
                  <a:pt x="347" y="115"/>
                  <a:pt x="347" y="115"/>
                </a:cubicBezTo>
                <a:cubicBezTo>
                  <a:pt x="348" y="115"/>
                  <a:pt x="348" y="115"/>
                  <a:pt x="348" y="115"/>
                </a:cubicBezTo>
                <a:cubicBezTo>
                  <a:pt x="348" y="115"/>
                  <a:pt x="348" y="116"/>
                  <a:pt x="348" y="116"/>
                </a:cubicBezTo>
                <a:close/>
                <a:moveTo>
                  <a:pt x="346" y="123"/>
                </a:moveTo>
                <a:cubicBezTo>
                  <a:pt x="346" y="122"/>
                  <a:pt x="346" y="122"/>
                  <a:pt x="346" y="122"/>
                </a:cubicBezTo>
                <a:cubicBezTo>
                  <a:pt x="346" y="122"/>
                  <a:pt x="346" y="122"/>
                  <a:pt x="346" y="122"/>
                </a:cubicBezTo>
                <a:cubicBezTo>
                  <a:pt x="346" y="121"/>
                  <a:pt x="346" y="121"/>
                  <a:pt x="346" y="121"/>
                </a:cubicBezTo>
                <a:cubicBezTo>
                  <a:pt x="346" y="120"/>
                  <a:pt x="346" y="120"/>
                  <a:pt x="346" y="120"/>
                </a:cubicBezTo>
                <a:cubicBezTo>
                  <a:pt x="346" y="119"/>
                  <a:pt x="346" y="119"/>
                  <a:pt x="346" y="119"/>
                </a:cubicBezTo>
                <a:cubicBezTo>
                  <a:pt x="347" y="119"/>
                  <a:pt x="347" y="119"/>
                  <a:pt x="347" y="119"/>
                </a:cubicBezTo>
                <a:cubicBezTo>
                  <a:pt x="348" y="119"/>
                  <a:pt x="348" y="119"/>
                  <a:pt x="348" y="119"/>
                </a:cubicBezTo>
                <a:cubicBezTo>
                  <a:pt x="347" y="121"/>
                  <a:pt x="347" y="121"/>
                  <a:pt x="347" y="121"/>
                </a:cubicBezTo>
                <a:cubicBezTo>
                  <a:pt x="347" y="122"/>
                  <a:pt x="347" y="122"/>
                  <a:pt x="347" y="122"/>
                </a:cubicBezTo>
                <a:cubicBezTo>
                  <a:pt x="347" y="122"/>
                  <a:pt x="346" y="123"/>
                  <a:pt x="346" y="123"/>
                </a:cubicBezTo>
                <a:close/>
                <a:moveTo>
                  <a:pt x="338" y="120"/>
                </a:moveTo>
                <a:cubicBezTo>
                  <a:pt x="337" y="120"/>
                  <a:pt x="337" y="120"/>
                  <a:pt x="337" y="120"/>
                </a:cubicBezTo>
                <a:cubicBezTo>
                  <a:pt x="338" y="119"/>
                  <a:pt x="338" y="119"/>
                  <a:pt x="338" y="119"/>
                </a:cubicBezTo>
                <a:cubicBezTo>
                  <a:pt x="339" y="119"/>
                  <a:pt x="339" y="119"/>
                  <a:pt x="339" y="119"/>
                </a:cubicBezTo>
                <a:cubicBezTo>
                  <a:pt x="339" y="119"/>
                  <a:pt x="339" y="119"/>
                  <a:pt x="339" y="119"/>
                </a:cubicBezTo>
                <a:cubicBezTo>
                  <a:pt x="339" y="119"/>
                  <a:pt x="339" y="119"/>
                  <a:pt x="339" y="119"/>
                </a:cubicBezTo>
                <a:cubicBezTo>
                  <a:pt x="338" y="120"/>
                  <a:pt x="338" y="120"/>
                  <a:pt x="338" y="120"/>
                </a:cubicBezTo>
                <a:cubicBezTo>
                  <a:pt x="338" y="120"/>
                  <a:pt x="338" y="120"/>
                  <a:pt x="338" y="120"/>
                </a:cubicBezTo>
                <a:close/>
                <a:moveTo>
                  <a:pt x="336" y="122"/>
                </a:moveTo>
                <a:cubicBezTo>
                  <a:pt x="335" y="121"/>
                  <a:pt x="335" y="121"/>
                  <a:pt x="335" y="121"/>
                </a:cubicBezTo>
                <a:cubicBezTo>
                  <a:pt x="336" y="121"/>
                  <a:pt x="336" y="121"/>
                  <a:pt x="336" y="121"/>
                </a:cubicBezTo>
                <a:cubicBezTo>
                  <a:pt x="337" y="121"/>
                  <a:pt x="337" y="121"/>
                  <a:pt x="337" y="121"/>
                </a:cubicBezTo>
                <a:cubicBezTo>
                  <a:pt x="336" y="121"/>
                  <a:pt x="336" y="121"/>
                  <a:pt x="336" y="121"/>
                </a:cubicBezTo>
                <a:cubicBezTo>
                  <a:pt x="336" y="122"/>
                  <a:pt x="336" y="122"/>
                  <a:pt x="336" y="122"/>
                </a:cubicBezTo>
                <a:close/>
                <a:moveTo>
                  <a:pt x="337" y="124"/>
                </a:moveTo>
                <a:cubicBezTo>
                  <a:pt x="337" y="124"/>
                  <a:pt x="337" y="124"/>
                  <a:pt x="337" y="124"/>
                </a:cubicBezTo>
                <a:cubicBezTo>
                  <a:pt x="337" y="123"/>
                  <a:pt x="337" y="123"/>
                  <a:pt x="337" y="123"/>
                </a:cubicBezTo>
                <a:cubicBezTo>
                  <a:pt x="337" y="122"/>
                  <a:pt x="337" y="122"/>
                  <a:pt x="337" y="122"/>
                </a:cubicBezTo>
                <a:cubicBezTo>
                  <a:pt x="338" y="122"/>
                  <a:pt x="338" y="122"/>
                  <a:pt x="338" y="122"/>
                </a:cubicBezTo>
                <a:cubicBezTo>
                  <a:pt x="338" y="123"/>
                  <a:pt x="338" y="123"/>
                  <a:pt x="338" y="123"/>
                </a:cubicBezTo>
                <a:cubicBezTo>
                  <a:pt x="339" y="123"/>
                  <a:pt x="339" y="123"/>
                  <a:pt x="339" y="123"/>
                </a:cubicBezTo>
                <a:cubicBezTo>
                  <a:pt x="338" y="124"/>
                  <a:pt x="338" y="124"/>
                  <a:pt x="338" y="124"/>
                </a:cubicBezTo>
                <a:cubicBezTo>
                  <a:pt x="337" y="124"/>
                  <a:pt x="337" y="124"/>
                  <a:pt x="337" y="124"/>
                </a:cubicBezTo>
                <a:close/>
                <a:moveTo>
                  <a:pt x="335" y="126"/>
                </a:moveTo>
                <a:cubicBezTo>
                  <a:pt x="334" y="125"/>
                  <a:pt x="334" y="125"/>
                  <a:pt x="334" y="125"/>
                </a:cubicBezTo>
                <a:cubicBezTo>
                  <a:pt x="334" y="123"/>
                  <a:pt x="334" y="123"/>
                  <a:pt x="334" y="123"/>
                </a:cubicBezTo>
                <a:cubicBezTo>
                  <a:pt x="334" y="123"/>
                  <a:pt x="334" y="123"/>
                  <a:pt x="334" y="123"/>
                </a:cubicBezTo>
                <a:cubicBezTo>
                  <a:pt x="335" y="123"/>
                  <a:pt x="335" y="123"/>
                  <a:pt x="335" y="123"/>
                </a:cubicBezTo>
                <a:cubicBezTo>
                  <a:pt x="336" y="123"/>
                  <a:pt x="336" y="123"/>
                  <a:pt x="336" y="123"/>
                </a:cubicBezTo>
                <a:cubicBezTo>
                  <a:pt x="336" y="123"/>
                  <a:pt x="336" y="123"/>
                  <a:pt x="336" y="123"/>
                </a:cubicBezTo>
                <a:cubicBezTo>
                  <a:pt x="337" y="123"/>
                  <a:pt x="337" y="123"/>
                  <a:pt x="337" y="123"/>
                </a:cubicBezTo>
                <a:cubicBezTo>
                  <a:pt x="336" y="124"/>
                  <a:pt x="336" y="124"/>
                  <a:pt x="336" y="124"/>
                </a:cubicBezTo>
                <a:cubicBezTo>
                  <a:pt x="336" y="125"/>
                  <a:pt x="336" y="125"/>
                  <a:pt x="336" y="125"/>
                </a:cubicBezTo>
                <a:cubicBezTo>
                  <a:pt x="336" y="125"/>
                  <a:pt x="336" y="125"/>
                  <a:pt x="336" y="125"/>
                </a:cubicBezTo>
                <a:cubicBezTo>
                  <a:pt x="335" y="125"/>
                  <a:pt x="335" y="125"/>
                  <a:pt x="335" y="125"/>
                </a:cubicBezTo>
                <a:cubicBezTo>
                  <a:pt x="335" y="126"/>
                  <a:pt x="335" y="126"/>
                  <a:pt x="335" y="126"/>
                </a:cubicBezTo>
                <a:close/>
                <a:moveTo>
                  <a:pt x="331" y="126"/>
                </a:moveTo>
                <a:cubicBezTo>
                  <a:pt x="331" y="125"/>
                  <a:pt x="331" y="125"/>
                  <a:pt x="331" y="125"/>
                </a:cubicBezTo>
                <a:cubicBezTo>
                  <a:pt x="332" y="125"/>
                  <a:pt x="332" y="125"/>
                  <a:pt x="332" y="125"/>
                </a:cubicBezTo>
                <a:cubicBezTo>
                  <a:pt x="332" y="125"/>
                  <a:pt x="332" y="125"/>
                  <a:pt x="332" y="125"/>
                </a:cubicBezTo>
                <a:cubicBezTo>
                  <a:pt x="332" y="126"/>
                  <a:pt x="332" y="126"/>
                  <a:pt x="332" y="126"/>
                </a:cubicBezTo>
                <a:cubicBezTo>
                  <a:pt x="331" y="126"/>
                  <a:pt x="331" y="126"/>
                  <a:pt x="331" y="126"/>
                </a:cubicBezTo>
                <a:close/>
                <a:moveTo>
                  <a:pt x="319" y="128"/>
                </a:moveTo>
                <a:cubicBezTo>
                  <a:pt x="318" y="127"/>
                  <a:pt x="318" y="127"/>
                  <a:pt x="318" y="127"/>
                </a:cubicBezTo>
                <a:cubicBezTo>
                  <a:pt x="317" y="127"/>
                  <a:pt x="317" y="127"/>
                  <a:pt x="317" y="127"/>
                </a:cubicBezTo>
                <a:cubicBezTo>
                  <a:pt x="316" y="127"/>
                  <a:pt x="316" y="127"/>
                  <a:pt x="316" y="127"/>
                </a:cubicBezTo>
                <a:cubicBezTo>
                  <a:pt x="316" y="125"/>
                  <a:pt x="316" y="125"/>
                  <a:pt x="316" y="125"/>
                </a:cubicBezTo>
                <a:cubicBezTo>
                  <a:pt x="316" y="125"/>
                  <a:pt x="316" y="125"/>
                  <a:pt x="316" y="125"/>
                </a:cubicBezTo>
                <a:cubicBezTo>
                  <a:pt x="316" y="124"/>
                  <a:pt x="316" y="124"/>
                  <a:pt x="316" y="124"/>
                </a:cubicBezTo>
                <a:cubicBezTo>
                  <a:pt x="317" y="123"/>
                  <a:pt x="317" y="123"/>
                  <a:pt x="317" y="123"/>
                </a:cubicBezTo>
                <a:cubicBezTo>
                  <a:pt x="317" y="123"/>
                  <a:pt x="317" y="123"/>
                  <a:pt x="317" y="123"/>
                </a:cubicBezTo>
                <a:cubicBezTo>
                  <a:pt x="318" y="124"/>
                  <a:pt x="318" y="124"/>
                  <a:pt x="318" y="124"/>
                </a:cubicBezTo>
                <a:cubicBezTo>
                  <a:pt x="318" y="124"/>
                  <a:pt x="318" y="124"/>
                  <a:pt x="318" y="124"/>
                </a:cubicBezTo>
                <a:cubicBezTo>
                  <a:pt x="318" y="123"/>
                  <a:pt x="318" y="123"/>
                  <a:pt x="318" y="123"/>
                </a:cubicBezTo>
                <a:cubicBezTo>
                  <a:pt x="318" y="122"/>
                  <a:pt x="318" y="122"/>
                  <a:pt x="318" y="122"/>
                </a:cubicBezTo>
                <a:cubicBezTo>
                  <a:pt x="317" y="122"/>
                  <a:pt x="317" y="122"/>
                  <a:pt x="317" y="122"/>
                </a:cubicBezTo>
                <a:cubicBezTo>
                  <a:pt x="316" y="121"/>
                  <a:pt x="316" y="121"/>
                  <a:pt x="316" y="121"/>
                </a:cubicBezTo>
                <a:cubicBezTo>
                  <a:pt x="316" y="121"/>
                  <a:pt x="316" y="121"/>
                  <a:pt x="316" y="121"/>
                </a:cubicBezTo>
                <a:cubicBezTo>
                  <a:pt x="316" y="120"/>
                  <a:pt x="316" y="120"/>
                  <a:pt x="316" y="120"/>
                </a:cubicBezTo>
                <a:cubicBezTo>
                  <a:pt x="317" y="120"/>
                  <a:pt x="317" y="120"/>
                  <a:pt x="317" y="120"/>
                </a:cubicBezTo>
                <a:cubicBezTo>
                  <a:pt x="317" y="121"/>
                  <a:pt x="317" y="121"/>
                  <a:pt x="317" y="121"/>
                </a:cubicBezTo>
                <a:cubicBezTo>
                  <a:pt x="318" y="120"/>
                  <a:pt x="318" y="120"/>
                  <a:pt x="318" y="120"/>
                </a:cubicBezTo>
                <a:cubicBezTo>
                  <a:pt x="318" y="120"/>
                  <a:pt x="318" y="120"/>
                  <a:pt x="318" y="120"/>
                </a:cubicBezTo>
                <a:cubicBezTo>
                  <a:pt x="318" y="119"/>
                  <a:pt x="318" y="119"/>
                  <a:pt x="318" y="119"/>
                </a:cubicBezTo>
                <a:cubicBezTo>
                  <a:pt x="319" y="120"/>
                  <a:pt x="319" y="120"/>
                  <a:pt x="319" y="120"/>
                </a:cubicBezTo>
                <a:cubicBezTo>
                  <a:pt x="321" y="120"/>
                  <a:pt x="321" y="120"/>
                  <a:pt x="321" y="120"/>
                </a:cubicBezTo>
                <a:cubicBezTo>
                  <a:pt x="322" y="120"/>
                  <a:pt x="322" y="120"/>
                  <a:pt x="322" y="120"/>
                </a:cubicBezTo>
                <a:cubicBezTo>
                  <a:pt x="321" y="119"/>
                  <a:pt x="321" y="119"/>
                  <a:pt x="321" y="119"/>
                </a:cubicBezTo>
                <a:cubicBezTo>
                  <a:pt x="320" y="119"/>
                  <a:pt x="320" y="119"/>
                  <a:pt x="320" y="119"/>
                </a:cubicBezTo>
                <a:cubicBezTo>
                  <a:pt x="321" y="119"/>
                  <a:pt x="321" y="119"/>
                  <a:pt x="321" y="119"/>
                </a:cubicBezTo>
                <a:cubicBezTo>
                  <a:pt x="323" y="119"/>
                  <a:pt x="323" y="119"/>
                  <a:pt x="323" y="119"/>
                </a:cubicBezTo>
                <a:cubicBezTo>
                  <a:pt x="324" y="118"/>
                  <a:pt x="324" y="118"/>
                  <a:pt x="324" y="118"/>
                </a:cubicBezTo>
                <a:cubicBezTo>
                  <a:pt x="325" y="118"/>
                  <a:pt x="325" y="118"/>
                  <a:pt x="325" y="118"/>
                </a:cubicBezTo>
                <a:cubicBezTo>
                  <a:pt x="327" y="118"/>
                  <a:pt x="327" y="118"/>
                  <a:pt x="327" y="118"/>
                </a:cubicBezTo>
                <a:cubicBezTo>
                  <a:pt x="328" y="118"/>
                  <a:pt x="328" y="118"/>
                  <a:pt x="328" y="118"/>
                </a:cubicBezTo>
                <a:cubicBezTo>
                  <a:pt x="327" y="117"/>
                  <a:pt x="327" y="117"/>
                  <a:pt x="327" y="117"/>
                </a:cubicBezTo>
                <a:cubicBezTo>
                  <a:pt x="322" y="116"/>
                  <a:pt x="322" y="116"/>
                  <a:pt x="322" y="116"/>
                </a:cubicBezTo>
                <a:cubicBezTo>
                  <a:pt x="321" y="116"/>
                  <a:pt x="321" y="116"/>
                  <a:pt x="321" y="116"/>
                </a:cubicBezTo>
                <a:cubicBezTo>
                  <a:pt x="320" y="116"/>
                  <a:pt x="320" y="116"/>
                  <a:pt x="320" y="116"/>
                </a:cubicBezTo>
                <a:cubicBezTo>
                  <a:pt x="318" y="116"/>
                  <a:pt x="318" y="116"/>
                  <a:pt x="318" y="116"/>
                </a:cubicBezTo>
                <a:cubicBezTo>
                  <a:pt x="317" y="115"/>
                  <a:pt x="317" y="115"/>
                  <a:pt x="317" y="115"/>
                </a:cubicBezTo>
                <a:cubicBezTo>
                  <a:pt x="316" y="116"/>
                  <a:pt x="316" y="116"/>
                  <a:pt x="316" y="116"/>
                </a:cubicBezTo>
                <a:cubicBezTo>
                  <a:pt x="315" y="115"/>
                  <a:pt x="315" y="115"/>
                  <a:pt x="315" y="115"/>
                </a:cubicBezTo>
                <a:cubicBezTo>
                  <a:pt x="314" y="115"/>
                  <a:pt x="314" y="115"/>
                  <a:pt x="314" y="115"/>
                </a:cubicBezTo>
                <a:cubicBezTo>
                  <a:pt x="313" y="116"/>
                  <a:pt x="313" y="116"/>
                  <a:pt x="313" y="116"/>
                </a:cubicBezTo>
                <a:cubicBezTo>
                  <a:pt x="313" y="115"/>
                  <a:pt x="313" y="115"/>
                  <a:pt x="313" y="115"/>
                </a:cubicBezTo>
                <a:cubicBezTo>
                  <a:pt x="312" y="115"/>
                  <a:pt x="312" y="115"/>
                  <a:pt x="312" y="115"/>
                </a:cubicBezTo>
                <a:cubicBezTo>
                  <a:pt x="312" y="115"/>
                  <a:pt x="312" y="115"/>
                  <a:pt x="312" y="115"/>
                </a:cubicBezTo>
                <a:cubicBezTo>
                  <a:pt x="312" y="114"/>
                  <a:pt x="312" y="114"/>
                  <a:pt x="312" y="114"/>
                </a:cubicBezTo>
                <a:cubicBezTo>
                  <a:pt x="313" y="114"/>
                  <a:pt x="313" y="114"/>
                  <a:pt x="313" y="114"/>
                </a:cubicBezTo>
                <a:cubicBezTo>
                  <a:pt x="313" y="113"/>
                  <a:pt x="313" y="113"/>
                  <a:pt x="313" y="113"/>
                </a:cubicBezTo>
                <a:cubicBezTo>
                  <a:pt x="314" y="113"/>
                  <a:pt x="314" y="113"/>
                  <a:pt x="314" y="113"/>
                </a:cubicBezTo>
                <a:cubicBezTo>
                  <a:pt x="315" y="113"/>
                  <a:pt x="315" y="113"/>
                  <a:pt x="315" y="113"/>
                </a:cubicBezTo>
                <a:cubicBezTo>
                  <a:pt x="314" y="113"/>
                  <a:pt x="314" y="113"/>
                  <a:pt x="314" y="113"/>
                </a:cubicBezTo>
                <a:cubicBezTo>
                  <a:pt x="315" y="112"/>
                  <a:pt x="315" y="112"/>
                  <a:pt x="315" y="112"/>
                </a:cubicBezTo>
                <a:cubicBezTo>
                  <a:pt x="315" y="111"/>
                  <a:pt x="315" y="111"/>
                  <a:pt x="315" y="111"/>
                </a:cubicBezTo>
                <a:cubicBezTo>
                  <a:pt x="316" y="111"/>
                  <a:pt x="316" y="111"/>
                  <a:pt x="316" y="111"/>
                </a:cubicBezTo>
                <a:cubicBezTo>
                  <a:pt x="317" y="111"/>
                  <a:pt x="317" y="111"/>
                  <a:pt x="317" y="111"/>
                </a:cubicBezTo>
                <a:cubicBezTo>
                  <a:pt x="317" y="112"/>
                  <a:pt x="317" y="112"/>
                  <a:pt x="317" y="112"/>
                </a:cubicBezTo>
                <a:cubicBezTo>
                  <a:pt x="318" y="112"/>
                  <a:pt x="318" y="112"/>
                  <a:pt x="318" y="112"/>
                </a:cubicBezTo>
                <a:cubicBezTo>
                  <a:pt x="318" y="114"/>
                  <a:pt x="318" y="114"/>
                  <a:pt x="318" y="114"/>
                </a:cubicBezTo>
                <a:cubicBezTo>
                  <a:pt x="318" y="114"/>
                  <a:pt x="318" y="114"/>
                  <a:pt x="318" y="114"/>
                </a:cubicBezTo>
                <a:cubicBezTo>
                  <a:pt x="319" y="114"/>
                  <a:pt x="319" y="114"/>
                  <a:pt x="319" y="114"/>
                </a:cubicBezTo>
                <a:cubicBezTo>
                  <a:pt x="319" y="112"/>
                  <a:pt x="319" y="112"/>
                  <a:pt x="319" y="112"/>
                </a:cubicBezTo>
                <a:cubicBezTo>
                  <a:pt x="318" y="112"/>
                  <a:pt x="318" y="112"/>
                  <a:pt x="318" y="112"/>
                </a:cubicBezTo>
                <a:cubicBezTo>
                  <a:pt x="318" y="111"/>
                  <a:pt x="318" y="111"/>
                  <a:pt x="318" y="111"/>
                </a:cubicBezTo>
                <a:cubicBezTo>
                  <a:pt x="320" y="110"/>
                  <a:pt x="320" y="110"/>
                  <a:pt x="320" y="110"/>
                </a:cubicBezTo>
                <a:cubicBezTo>
                  <a:pt x="320" y="109"/>
                  <a:pt x="320" y="109"/>
                  <a:pt x="320" y="109"/>
                </a:cubicBezTo>
                <a:cubicBezTo>
                  <a:pt x="319" y="109"/>
                  <a:pt x="319" y="109"/>
                  <a:pt x="319" y="109"/>
                </a:cubicBezTo>
                <a:cubicBezTo>
                  <a:pt x="319" y="107"/>
                  <a:pt x="319" y="107"/>
                  <a:pt x="319" y="107"/>
                </a:cubicBezTo>
                <a:cubicBezTo>
                  <a:pt x="320" y="107"/>
                  <a:pt x="320" y="107"/>
                  <a:pt x="320" y="107"/>
                </a:cubicBezTo>
                <a:cubicBezTo>
                  <a:pt x="321" y="106"/>
                  <a:pt x="321" y="106"/>
                  <a:pt x="321" y="106"/>
                </a:cubicBezTo>
                <a:cubicBezTo>
                  <a:pt x="322" y="106"/>
                  <a:pt x="322" y="106"/>
                  <a:pt x="322" y="106"/>
                </a:cubicBezTo>
                <a:cubicBezTo>
                  <a:pt x="321" y="105"/>
                  <a:pt x="321" y="105"/>
                  <a:pt x="321" y="105"/>
                </a:cubicBezTo>
                <a:cubicBezTo>
                  <a:pt x="321" y="105"/>
                  <a:pt x="321" y="105"/>
                  <a:pt x="321" y="105"/>
                </a:cubicBezTo>
                <a:cubicBezTo>
                  <a:pt x="320" y="105"/>
                  <a:pt x="320" y="105"/>
                  <a:pt x="320" y="105"/>
                </a:cubicBezTo>
                <a:cubicBezTo>
                  <a:pt x="320" y="104"/>
                  <a:pt x="320" y="104"/>
                  <a:pt x="320" y="104"/>
                </a:cubicBezTo>
                <a:cubicBezTo>
                  <a:pt x="321" y="103"/>
                  <a:pt x="321" y="103"/>
                  <a:pt x="321" y="103"/>
                </a:cubicBezTo>
                <a:cubicBezTo>
                  <a:pt x="322" y="102"/>
                  <a:pt x="322" y="102"/>
                  <a:pt x="322" y="102"/>
                </a:cubicBezTo>
                <a:cubicBezTo>
                  <a:pt x="323" y="102"/>
                  <a:pt x="323" y="102"/>
                  <a:pt x="323" y="102"/>
                </a:cubicBezTo>
                <a:cubicBezTo>
                  <a:pt x="323" y="102"/>
                  <a:pt x="323" y="102"/>
                  <a:pt x="323" y="102"/>
                </a:cubicBezTo>
                <a:cubicBezTo>
                  <a:pt x="324" y="103"/>
                  <a:pt x="324" y="103"/>
                  <a:pt x="324" y="103"/>
                </a:cubicBezTo>
                <a:cubicBezTo>
                  <a:pt x="324" y="104"/>
                  <a:pt x="324" y="104"/>
                  <a:pt x="324" y="104"/>
                </a:cubicBezTo>
                <a:cubicBezTo>
                  <a:pt x="324" y="105"/>
                  <a:pt x="324" y="105"/>
                  <a:pt x="324" y="105"/>
                </a:cubicBezTo>
                <a:cubicBezTo>
                  <a:pt x="324" y="105"/>
                  <a:pt x="324" y="105"/>
                  <a:pt x="324" y="105"/>
                </a:cubicBezTo>
                <a:cubicBezTo>
                  <a:pt x="324" y="106"/>
                  <a:pt x="324" y="106"/>
                  <a:pt x="324" y="106"/>
                </a:cubicBezTo>
                <a:cubicBezTo>
                  <a:pt x="325" y="107"/>
                  <a:pt x="325" y="107"/>
                  <a:pt x="325" y="107"/>
                </a:cubicBezTo>
                <a:cubicBezTo>
                  <a:pt x="325" y="111"/>
                  <a:pt x="325" y="111"/>
                  <a:pt x="325" y="111"/>
                </a:cubicBezTo>
                <a:cubicBezTo>
                  <a:pt x="325" y="112"/>
                  <a:pt x="325" y="112"/>
                  <a:pt x="325" y="112"/>
                </a:cubicBezTo>
                <a:cubicBezTo>
                  <a:pt x="325" y="112"/>
                  <a:pt x="325" y="112"/>
                  <a:pt x="325" y="112"/>
                </a:cubicBezTo>
                <a:cubicBezTo>
                  <a:pt x="326" y="113"/>
                  <a:pt x="326" y="113"/>
                  <a:pt x="326" y="113"/>
                </a:cubicBezTo>
                <a:cubicBezTo>
                  <a:pt x="328" y="112"/>
                  <a:pt x="328" y="112"/>
                  <a:pt x="328" y="112"/>
                </a:cubicBezTo>
                <a:cubicBezTo>
                  <a:pt x="327" y="111"/>
                  <a:pt x="327" y="111"/>
                  <a:pt x="327" y="111"/>
                </a:cubicBezTo>
                <a:cubicBezTo>
                  <a:pt x="327" y="109"/>
                  <a:pt x="327" y="109"/>
                  <a:pt x="327" y="109"/>
                </a:cubicBezTo>
                <a:cubicBezTo>
                  <a:pt x="328" y="109"/>
                  <a:pt x="328" y="109"/>
                  <a:pt x="328" y="109"/>
                </a:cubicBezTo>
                <a:cubicBezTo>
                  <a:pt x="328" y="108"/>
                  <a:pt x="328" y="108"/>
                  <a:pt x="328" y="108"/>
                </a:cubicBezTo>
                <a:cubicBezTo>
                  <a:pt x="326" y="107"/>
                  <a:pt x="326" y="107"/>
                  <a:pt x="326" y="107"/>
                </a:cubicBezTo>
                <a:cubicBezTo>
                  <a:pt x="327" y="106"/>
                  <a:pt x="327" y="106"/>
                  <a:pt x="327" y="106"/>
                </a:cubicBezTo>
                <a:cubicBezTo>
                  <a:pt x="328" y="106"/>
                  <a:pt x="328" y="106"/>
                  <a:pt x="328" y="106"/>
                </a:cubicBezTo>
                <a:cubicBezTo>
                  <a:pt x="329" y="107"/>
                  <a:pt x="329" y="107"/>
                  <a:pt x="329" y="107"/>
                </a:cubicBezTo>
                <a:cubicBezTo>
                  <a:pt x="329" y="106"/>
                  <a:pt x="329" y="106"/>
                  <a:pt x="329" y="106"/>
                </a:cubicBezTo>
                <a:cubicBezTo>
                  <a:pt x="327" y="105"/>
                  <a:pt x="327" y="105"/>
                  <a:pt x="327" y="105"/>
                </a:cubicBezTo>
                <a:cubicBezTo>
                  <a:pt x="327" y="103"/>
                  <a:pt x="327" y="103"/>
                  <a:pt x="327" y="103"/>
                </a:cubicBezTo>
                <a:cubicBezTo>
                  <a:pt x="327" y="103"/>
                  <a:pt x="327" y="103"/>
                  <a:pt x="327" y="103"/>
                </a:cubicBezTo>
                <a:cubicBezTo>
                  <a:pt x="327" y="101"/>
                  <a:pt x="327" y="101"/>
                  <a:pt x="327" y="101"/>
                </a:cubicBezTo>
                <a:cubicBezTo>
                  <a:pt x="328" y="101"/>
                  <a:pt x="328" y="101"/>
                  <a:pt x="328" y="101"/>
                </a:cubicBezTo>
                <a:cubicBezTo>
                  <a:pt x="329" y="100"/>
                  <a:pt x="329" y="100"/>
                  <a:pt x="329" y="100"/>
                </a:cubicBezTo>
                <a:cubicBezTo>
                  <a:pt x="330" y="100"/>
                  <a:pt x="330" y="100"/>
                  <a:pt x="330" y="100"/>
                </a:cubicBezTo>
                <a:cubicBezTo>
                  <a:pt x="331" y="100"/>
                  <a:pt x="331" y="100"/>
                  <a:pt x="331" y="100"/>
                </a:cubicBezTo>
                <a:cubicBezTo>
                  <a:pt x="331" y="100"/>
                  <a:pt x="332" y="99"/>
                  <a:pt x="332" y="99"/>
                </a:cubicBezTo>
                <a:cubicBezTo>
                  <a:pt x="332" y="99"/>
                  <a:pt x="333" y="99"/>
                  <a:pt x="333" y="99"/>
                </a:cubicBezTo>
                <a:cubicBezTo>
                  <a:pt x="333" y="100"/>
                  <a:pt x="333" y="100"/>
                  <a:pt x="333" y="100"/>
                </a:cubicBezTo>
                <a:cubicBezTo>
                  <a:pt x="334" y="101"/>
                  <a:pt x="334" y="101"/>
                  <a:pt x="334" y="101"/>
                </a:cubicBezTo>
                <a:cubicBezTo>
                  <a:pt x="335" y="100"/>
                  <a:pt x="335" y="100"/>
                  <a:pt x="335" y="100"/>
                </a:cubicBezTo>
                <a:cubicBezTo>
                  <a:pt x="336" y="101"/>
                  <a:pt x="336" y="101"/>
                  <a:pt x="336" y="101"/>
                </a:cubicBezTo>
                <a:cubicBezTo>
                  <a:pt x="335" y="103"/>
                  <a:pt x="335" y="103"/>
                  <a:pt x="335" y="103"/>
                </a:cubicBezTo>
                <a:cubicBezTo>
                  <a:pt x="334" y="104"/>
                  <a:pt x="334" y="104"/>
                  <a:pt x="334" y="104"/>
                </a:cubicBezTo>
                <a:cubicBezTo>
                  <a:pt x="335" y="105"/>
                  <a:pt x="335" y="105"/>
                  <a:pt x="335" y="105"/>
                </a:cubicBezTo>
                <a:cubicBezTo>
                  <a:pt x="335" y="105"/>
                  <a:pt x="335" y="105"/>
                  <a:pt x="335" y="105"/>
                </a:cubicBezTo>
                <a:cubicBezTo>
                  <a:pt x="336" y="105"/>
                  <a:pt x="336" y="105"/>
                  <a:pt x="336" y="105"/>
                </a:cubicBezTo>
                <a:cubicBezTo>
                  <a:pt x="336" y="105"/>
                  <a:pt x="336" y="105"/>
                  <a:pt x="336" y="105"/>
                </a:cubicBezTo>
                <a:cubicBezTo>
                  <a:pt x="337" y="104"/>
                  <a:pt x="337" y="104"/>
                  <a:pt x="337" y="104"/>
                </a:cubicBezTo>
                <a:cubicBezTo>
                  <a:pt x="337" y="102"/>
                  <a:pt x="337" y="102"/>
                  <a:pt x="337" y="102"/>
                </a:cubicBezTo>
                <a:cubicBezTo>
                  <a:pt x="338" y="101"/>
                  <a:pt x="338" y="101"/>
                  <a:pt x="338" y="101"/>
                </a:cubicBezTo>
                <a:cubicBezTo>
                  <a:pt x="339" y="102"/>
                  <a:pt x="339" y="102"/>
                  <a:pt x="339" y="102"/>
                </a:cubicBezTo>
                <a:cubicBezTo>
                  <a:pt x="340" y="102"/>
                  <a:pt x="340" y="102"/>
                  <a:pt x="340" y="102"/>
                </a:cubicBezTo>
                <a:cubicBezTo>
                  <a:pt x="340" y="101"/>
                  <a:pt x="340" y="101"/>
                  <a:pt x="340" y="101"/>
                </a:cubicBezTo>
                <a:cubicBezTo>
                  <a:pt x="339" y="100"/>
                  <a:pt x="339" y="100"/>
                  <a:pt x="339" y="100"/>
                </a:cubicBezTo>
                <a:cubicBezTo>
                  <a:pt x="340" y="100"/>
                  <a:pt x="340" y="100"/>
                  <a:pt x="340" y="100"/>
                </a:cubicBezTo>
                <a:cubicBezTo>
                  <a:pt x="341" y="101"/>
                  <a:pt x="341" y="101"/>
                  <a:pt x="341" y="101"/>
                </a:cubicBezTo>
                <a:cubicBezTo>
                  <a:pt x="341" y="102"/>
                  <a:pt x="341" y="102"/>
                  <a:pt x="341" y="102"/>
                </a:cubicBezTo>
                <a:cubicBezTo>
                  <a:pt x="341" y="103"/>
                  <a:pt x="341" y="103"/>
                  <a:pt x="341" y="103"/>
                </a:cubicBezTo>
                <a:cubicBezTo>
                  <a:pt x="340" y="103"/>
                  <a:pt x="340" y="103"/>
                  <a:pt x="340" y="103"/>
                </a:cubicBezTo>
                <a:cubicBezTo>
                  <a:pt x="340" y="103"/>
                  <a:pt x="340" y="103"/>
                  <a:pt x="340" y="103"/>
                </a:cubicBezTo>
                <a:cubicBezTo>
                  <a:pt x="340" y="104"/>
                  <a:pt x="340" y="104"/>
                  <a:pt x="340" y="104"/>
                </a:cubicBezTo>
                <a:cubicBezTo>
                  <a:pt x="342" y="105"/>
                  <a:pt x="342" y="105"/>
                  <a:pt x="342" y="105"/>
                </a:cubicBezTo>
                <a:cubicBezTo>
                  <a:pt x="342" y="106"/>
                  <a:pt x="342" y="106"/>
                  <a:pt x="342" y="106"/>
                </a:cubicBezTo>
                <a:cubicBezTo>
                  <a:pt x="342" y="107"/>
                  <a:pt x="342" y="107"/>
                  <a:pt x="342" y="107"/>
                </a:cubicBezTo>
                <a:cubicBezTo>
                  <a:pt x="341" y="108"/>
                  <a:pt x="341" y="108"/>
                  <a:pt x="341" y="108"/>
                </a:cubicBezTo>
                <a:cubicBezTo>
                  <a:pt x="340" y="110"/>
                  <a:pt x="340" y="110"/>
                  <a:pt x="340" y="110"/>
                </a:cubicBezTo>
                <a:cubicBezTo>
                  <a:pt x="340" y="111"/>
                  <a:pt x="340" y="111"/>
                  <a:pt x="340" y="111"/>
                </a:cubicBezTo>
                <a:cubicBezTo>
                  <a:pt x="339" y="112"/>
                  <a:pt x="339" y="112"/>
                  <a:pt x="339" y="112"/>
                </a:cubicBezTo>
                <a:cubicBezTo>
                  <a:pt x="338" y="113"/>
                  <a:pt x="338" y="113"/>
                  <a:pt x="338" y="113"/>
                </a:cubicBezTo>
                <a:cubicBezTo>
                  <a:pt x="337" y="114"/>
                  <a:pt x="337" y="114"/>
                  <a:pt x="337" y="114"/>
                </a:cubicBezTo>
                <a:cubicBezTo>
                  <a:pt x="336" y="115"/>
                  <a:pt x="336" y="115"/>
                  <a:pt x="336" y="115"/>
                </a:cubicBezTo>
                <a:cubicBezTo>
                  <a:pt x="335" y="116"/>
                  <a:pt x="335" y="116"/>
                  <a:pt x="335" y="116"/>
                </a:cubicBezTo>
                <a:cubicBezTo>
                  <a:pt x="335" y="117"/>
                  <a:pt x="335" y="117"/>
                  <a:pt x="335" y="117"/>
                </a:cubicBezTo>
                <a:cubicBezTo>
                  <a:pt x="335" y="118"/>
                  <a:pt x="335" y="118"/>
                  <a:pt x="335" y="118"/>
                </a:cubicBezTo>
                <a:cubicBezTo>
                  <a:pt x="334" y="118"/>
                  <a:pt x="334" y="118"/>
                  <a:pt x="334" y="118"/>
                </a:cubicBezTo>
                <a:cubicBezTo>
                  <a:pt x="333" y="118"/>
                  <a:pt x="333" y="118"/>
                  <a:pt x="333" y="118"/>
                </a:cubicBezTo>
                <a:cubicBezTo>
                  <a:pt x="333" y="118"/>
                  <a:pt x="333" y="118"/>
                  <a:pt x="333" y="118"/>
                </a:cubicBezTo>
                <a:cubicBezTo>
                  <a:pt x="333" y="119"/>
                  <a:pt x="333" y="119"/>
                  <a:pt x="333" y="119"/>
                </a:cubicBezTo>
                <a:cubicBezTo>
                  <a:pt x="334" y="119"/>
                  <a:pt x="334" y="119"/>
                  <a:pt x="334" y="119"/>
                </a:cubicBezTo>
                <a:cubicBezTo>
                  <a:pt x="334" y="120"/>
                  <a:pt x="334" y="120"/>
                  <a:pt x="334" y="120"/>
                </a:cubicBezTo>
                <a:cubicBezTo>
                  <a:pt x="333" y="122"/>
                  <a:pt x="333" y="122"/>
                  <a:pt x="333" y="122"/>
                </a:cubicBezTo>
                <a:cubicBezTo>
                  <a:pt x="332" y="123"/>
                  <a:pt x="332" y="123"/>
                  <a:pt x="332" y="123"/>
                </a:cubicBezTo>
                <a:cubicBezTo>
                  <a:pt x="332" y="122"/>
                  <a:pt x="332" y="122"/>
                  <a:pt x="332" y="122"/>
                </a:cubicBezTo>
                <a:cubicBezTo>
                  <a:pt x="332" y="121"/>
                  <a:pt x="332" y="121"/>
                  <a:pt x="332" y="121"/>
                </a:cubicBezTo>
                <a:cubicBezTo>
                  <a:pt x="331" y="121"/>
                  <a:pt x="331" y="121"/>
                  <a:pt x="331" y="121"/>
                </a:cubicBezTo>
                <a:cubicBezTo>
                  <a:pt x="331" y="121"/>
                  <a:pt x="331" y="121"/>
                  <a:pt x="331" y="121"/>
                </a:cubicBezTo>
                <a:cubicBezTo>
                  <a:pt x="331" y="122"/>
                  <a:pt x="331" y="122"/>
                  <a:pt x="331" y="122"/>
                </a:cubicBezTo>
                <a:cubicBezTo>
                  <a:pt x="330" y="123"/>
                  <a:pt x="330" y="123"/>
                  <a:pt x="330" y="123"/>
                </a:cubicBezTo>
                <a:cubicBezTo>
                  <a:pt x="329" y="123"/>
                  <a:pt x="329" y="123"/>
                  <a:pt x="329" y="123"/>
                </a:cubicBezTo>
                <a:cubicBezTo>
                  <a:pt x="328" y="124"/>
                  <a:pt x="328" y="124"/>
                  <a:pt x="328" y="124"/>
                </a:cubicBezTo>
                <a:cubicBezTo>
                  <a:pt x="328" y="125"/>
                  <a:pt x="328" y="125"/>
                  <a:pt x="328" y="125"/>
                </a:cubicBezTo>
                <a:cubicBezTo>
                  <a:pt x="328" y="125"/>
                  <a:pt x="328" y="125"/>
                  <a:pt x="328" y="125"/>
                </a:cubicBezTo>
                <a:cubicBezTo>
                  <a:pt x="329" y="125"/>
                  <a:pt x="329" y="125"/>
                  <a:pt x="329" y="125"/>
                </a:cubicBezTo>
                <a:cubicBezTo>
                  <a:pt x="329" y="126"/>
                  <a:pt x="329" y="126"/>
                  <a:pt x="329" y="126"/>
                </a:cubicBezTo>
                <a:cubicBezTo>
                  <a:pt x="329" y="126"/>
                  <a:pt x="329" y="126"/>
                  <a:pt x="329" y="126"/>
                </a:cubicBezTo>
                <a:cubicBezTo>
                  <a:pt x="329" y="127"/>
                  <a:pt x="329" y="127"/>
                  <a:pt x="329" y="127"/>
                </a:cubicBezTo>
                <a:cubicBezTo>
                  <a:pt x="329" y="128"/>
                  <a:pt x="329" y="128"/>
                  <a:pt x="329" y="128"/>
                </a:cubicBezTo>
                <a:cubicBezTo>
                  <a:pt x="328" y="129"/>
                  <a:pt x="328" y="129"/>
                  <a:pt x="328" y="129"/>
                </a:cubicBezTo>
                <a:cubicBezTo>
                  <a:pt x="328" y="127"/>
                  <a:pt x="328" y="127"/>
                  <a:pt x="328" y="127"/>
                </a:cubicBezTo>
                <a:cubicBezTo>
                  <a:pt x="327" y="126"/>
                  <a:pt x="327" y="126"/>
                  <a:pt x="327" y="126"/>
                </a:cubicBezTo>
                <a:cubicBezTo>
                  <a:pt x="327" y="125"/>
                  <a:pt x="327" y="125"/>
                  <a:pt x="327" y="125"/>
                </a:cubicBezTo>
                <a:cubicBezTo>
                  <a:pt x="327" y="126"/>
                  <a:pt x="327" y="126"/>
                  <a:pt x="327" y="126"/>
                </a:cubicBezTo>
                <a:cubicBezTo>
                  <a:pt x="327" y="127"/>
                  <a:pt x="327" y="127"/>
                  <a:pt x="327" y="127"/>
                </a:cubicBezTo>
                <a:cubicBezTo>
                  <a:pt x="327" y="128"/>
                  <a:pt x="327" y="128"/>
                  <a:pt x="327" y="128"/>
                </a:cubicBezTo>
                <a:cubicBezTo>
                  <a:pt x="326" y="129"/>
                  <a:pt x="326" y="129"/>
                  <a:pt x="326" y="129"/>
                </a:cubicBezTo>
                <a:cubicBezTo>
                  <a:pt x="323" y="129"/>
                  <a:pt x="323" y="129"/>
                  <a:pt x="323" y="129"/>
                </a:cubicBezTo>
                <a:cubicBezTo>
                  <a:pt x="322" y="128"/>
                  <a:pt x="322" y="128"/>
                  <a:pt x="322" y="128"/>
                </a:cubicBezTo>
                <a:cubicBezTo>
                  <a:pt x="322" y="127"/>
                  <a:pt x="322" y="127"/>
                  <a:pt x="322" y="127"/>
                </a:cubicBezTo>
                <a:cubicBezTo>
                  <a:pt x="321" y="128"/>
                  <a:pt x="321" y="128"/>
                  <a:pt x="321" y="128"/>
                </a:cubicBezTo>
                <a:cubicBezTo>
                  <a:pt x="320" y="128"/>
                  <a:pt x="320" y="128"/>
                  <a:pt x="320" y="128"/>
                </a:cubicBezTo>
                <a:cubicBezTo>
                  <a:pt x="320" y="127"/>
                  <a:pt x="320" y="127"/>
                  <a:pt x="320" y="127"/>
                </a:cubicBezTo>
                <a:cubicBezTo>
                  <a:pt x="321" y="126"/>
                  <a:pt x="321" y="126"/>
                  <a:pt x="321" y="126"/>
                </a:cubicBezTo>
                <a:cubicBezTo>
                  <a:pt x="320" y="127"/>
                  <a:pt x="320" y="127"/>
                  <a:pt x="320" y="127"/>
                </a:cubicBezTo>
                <a:cubicBezTo>
                  <a:pt x="319" y="128"/>
                  <a:pt x="319" y="128"/>
                  <a:pt x="319" y="128"/>
                </a:cubicBezTo>
                <a:cubicBezTo>
                  <a:pt x="319" y="128"/>
                  <a:pt x="319" y="128"/>
                  <a:pt x="319" y="128"/>
                </a:cubicBezTo>
                <a:close/>
                <a:moveTo>
                  <a:pt x="237" y="93"/>
                </a:moveTo>
                <a:cubicBezTo>
                  <a:pt x="236" y="93"/>
                  <a:pt x="236" y="93"/>
                  <a:pt x="236" y="93"/>
                </a:cubicBezTo>
                <a:cubicBezTo>
                  <a:pt x="237" y="92"/>
                  <a:pt x="237" y="92"/>
                  <a:pt x="237" y="92"/>
                </a:cubicBezTo>
                <a:cubicBezTo>
                  <a:pt x="240" y="90"/>
                  <a:pt x="240" y="90"/>
                  <a:pt x="240" y="90"/>
                </a:cubicBezTo>
                <a:cubicBezTo>
                  <a:pt x="241" y="89"/>
                  <a:pt x="241" y="89"/>
                  <a:pt x="241" y="89"/>
                </a:cubicBezTo>
                <a:cubicBezTo>
                  <a:pt x="242" y="88"/>
                  <a:pt x="242" y="88"/>
                  <a:pt x="242" y="88"/>
                </a:cubicBezTo>
                <a:cubicBezTo>
                  <a:pt x="243" y="88"/>
                  <a:pt x="243" y="88"/>
                  <a:pt x="243" y="88"/>
                </a:cubicBezTo>
                <a:cubicBezTo>
                  <a:pt x="245" y="87"/>
                  <a:pt x="245" y="87"/>
                  <a:pt x="245" y="87"/>
                </a:cubicBezTo>
                <a:cubicBezTo>
                  <a:pt x="247" y="87"/>
                  <a:pt x="247" y="87"/>
                  <a:pt x="247" y="87"/>
                </a:cubicBezTo>
                <a:cubicBezTo>
                  <a:pt x="248" y="86"/>
                  <a:pt x="248" y="86"/>
                  <a:pt x="248" y="86"/>
                </a:cubicBezTo>
                <a:cubicBezTo>
                  <a:pt x="248" y="86"/>
                  <a:pt x="248" y="86"/>
                  <a:pt x="248" y="86"/>
                </a:cubicBezTo>
                <a:cubicBezTo>
                  <a:pt x="250" y="86"/>
                  <a:pt x="250" y="86"/>
                  <a:pt x="250" y="86"/>
                </a:cubicBezTo>
                <a:cubicBezTo>
                  <a:pt x="251" y="86"/>
                  <a:pt x="251" y="86"/>
                  <a:pt x="251" y="86"/>
                </a:cubicBezTo>
                <a:cubicBezTo>
                  <a:pt x="250" y="87"/>
                  <a:pt x="250" y="87"/>
                  <a:pt x="250" y="87"/>
                </a:cubicBezTo>
                <a:cubicBezTo>
                  <a:pt x="249" y="88"/>
                  <a:pt x="249" y="88"/>
                  <a:pt x="249" y="88"/>
                </a:cubicBezTo>
                <a:cubicBezTo>
                  <a:pt x="247" y="89"/>
                  <a:pt x="247" y="89"/>
                  <a:pt x="247" y="89"/>
                </a:cubicBezTo>
                <a:cubicBezTo>
                  <a:pt x="243" y="92"/>
                  <a:pt x="243" y="92"/>
                  <a:pt x="243" y="92"/>
                </a:cubicBezTo>
                <a:cubicBezTo>
                  <a:pt x="242" y="94"/>
                  <a:pt x="242" y="94"/>
                  <a:pt x="242" y="94"/>
                </a:cubicBezTo>
                <a:cubicBezTo>
                  <a:pt x="241" y="94"/>
                  <a:pt x="241" y="94"/>
                  <a:pt x="241" y="94"/>
                </a:cubicBezTo>
                <a:cubicBezTo>
                  <a:pt x="240" y="94"/>
                  <a:pt x="240" y="94"/>
                  <a:pt x="240" y="94"/>
                </a:cubicBezTo>
                <a:cubicBezTo>
                  <a:pt x="239" y="95"/>
                  <a:pt x="239" y="95"/>
                  <a:pt x="239" y="95"/>
                </a:cubicBezTo>
                <a:cubicBezTo>
                  <a:pt x="239" y="95"/>
                  <a:pt x="239" y="95"/>
                  <a:pt x="239" y="95"/>
                </a:cubicBezTo>
                <a:cubicBezTo>
                  <a:pt x="238" y="94"/>
                  <a:pt x="238" y="94"/>
                  <a:pt x="238" y="94"/>
                </a:cubicBezTo>
                <a:cubicBezTo>
                  <a:pt x="238" y="93"/>
                  <a:pt x="238" y="93"/>
                  <a:pt x="238" y="93"/>
                </a:cubicBezTo>
                <a:cubicBezTo>
                  <a:pt x="237" y="93"/>
                  <a:pt x="237" y="93"/>
                  <a:pt x="237" y="93"/>
                </a:cubicBezTo>
                <a:close/>
                <a:moveTo>
                  <a:pt x="297" y="119"/>
                </a:moveTo>
                <a:cubicBezTo>
                  <a:pt x="297" y="119"/>
                  <a:pt x="297" y="119"/>
                  <a:pt x="297" y="119"/>
                </a:cubicBezTo>
                <a:cubicBezTo>
                  <a:pt x="297" y="118"/>
                  <a:pt x="297" y="118"/>
                  <a:pt x="297" y="118"/>
                </a:cubicBezTo>
                <a:cubicBezTo>
                  <a:pt x="299" y="118"/>
                  <a:pt x="299" y="118"/>
                  <a:pt x="299" y="118"/>
                </a:cubicBezTo>
                <a:cubicBezTo>
                  <a:pt x="299" y="117"/>
                  <a:pt x="299" y="117"/>
                  <a:pt x="299" y="117"/>
                </a:cubicBezTo>
                <a:cubicBezTo>
                  <a:pt x="299" y="116"/>
                  <a:pt x="299" y="116"/>
                  <a:pt x="299" y="116"/>
                </a:cubicBezTo>
                <a:cubicBezTo>
                  <a:pt x="301" y="115"/>
                  <a:pt x="301" y="115"/>
                  <a:pt x="301" y="115"/>
                </a:cubicBezTo>
                <a:cubicBezTo>
                  <a:pt x="301" y="115"/>
                  <a:pt x="301" y="115"/>
                  <a:pt x="301" y="115"/>
                </a:cubicBezTo>
                <a:cubicBezTo>
                  <a:pt x="303" y="115"/>
                  <a:pt x="303" y="115"/>
                  <a:pt x="303" y="115"/>
                </a:cubicBezTo>
                <a:cubicBezTo>
                  <a:pt x="303" y="116"/>
                  <a:pt x="303" y="116"/>
                  <a:pt x="303" y="116"/>
                </a:cubicBezTo>
                <a:cubicBezTo>
                  <a:pt x="303" y="117"/>
                  <a:pt x="303" y="117"/>
                  <a:pt x="303" y="117"/>
                </a:cubicBezTo>
                <a:cubicBezTo>
                  <a:pt x="303" y="118"/>
                  <a:pt x="303" y="118"/>
                  <a:pt x="303" y="118"/>
                </a:cubicBezTo>
                <a:cubicBezTo>
                  <a:pt x="302" y="119"/>
                  <a:pt x="302" y="119"/>
                  <a:pt x="302" y="119"/>
                </a:cubicBezTo>
                <a:cubicBezTo>
                  <a:pt x="301" y="120"/>
                  <a:pt x="301" y="120"/>
                  <a:pt x="301" y="120"/>
                </a:cubicBezTo>
                <a:cubicBezTo>
                  <a:pt x="300" y="120"/>
                  <a:pt x="300" y="120"/>
                  <a:pt x="300" y="120"/>
                </a:cubicBezTo>
                <a:cubicBezTo>
                  <a:pt x="300" y="121"/>
                  <a:pt x="300" y="121"/>
                  <a:pt x="300" y="121"/>
                </a:cubicBezTo>
                <a:cubicBezTo>
                  <a:pt x="299" y="121"/>
                  <a:pt x="299" y="121"/>
                  <a:pt x="299" y="121"/>
                </a:cubicBezTo>
                <a:cubicBezTo>
                  <a:pt x="298" y="120"/>
                  <a:pt x="298" y="120"/>
                  <a:pt x="298" y="120"/>
                </a:cubicBezTo>
                <a:cubicBezTo>
                  <a:pt x="297" y="119"/>
                  <a:pt x="297" y="119"/>
                  <a:pt x="297" y="119"/>
                </a:cubicBezTo>
                <a:close/>
                <a:moveTo>
                  <a:pt x="249" y="117"/>
                </a:moveTo>
                <a:cubicBezTo>
                  <a:pt x="249" y="116"/>
                  <a:pt x="249" y="116"/>
                  <a:pt x="249" y="116"/>
                </a:cubicBezTo>
                <a:cubicBezTo>
                  <a:pt x="249" y="115"/>
                  <a:pt x="249" y="115"/>
                  <a:pt x="249" y="115"/>
                </a:cubicBezTo>
                <a:cubicBezTo>
                  <a:pt x="249" y="113"/>
                  <a:pt x="249" y="113"/>
                  <a:pt x="249" y="113"/>
                </a:cubicBezTo>
                <a:cubicBezTo>
                  <a:pt x="251" y="113"/>
                  <a:pt x="251" y="113"/>
                  <a:pt x="251" y="113"/>
                </a:cubicBezTo>
                <a:cubicBezTo>
                  <a:pt x="253" y="113"/>
                  <a:pt x="253" y="113"/>
                  <a:pt x="253" y="113"/>
                </a:cubicBezTo>
                <a:cubicBezTo>
                  <a:pt x="254" y="113"/>
                  <a:pt x="254" y="113"/>
                  <a:pt x="254" y="113"/>
                </a:cubicBezTo>
                <a:cubicBezTo>
                  <a:pt x="256" y="113"/>
                  <a:pt x="256" y="113"/>
                  <a:pt x="256" y="113"/>
                </a:cubicBezTo>
                <a:cubicBezTo>
                  <a:pt x="257" y="113"/>
                  <a:pt x="257" y="113"/>
                  <a:pt x="257" y="113"/>
                </a:cubicBezTo>
                <a:cubicBezTo>
                  <a:pt x="258" y="112"/>
                  <a:pt x="258" y="112"/>
                  <a:pt x="258" y="112"/>
                </a:cubicBezTo>
                <a:cubicBezTo>
                  <a:pt x="260" y="112"/>
                  <a:pt x="260" y="112"/>
                  <a:pt x="260" y="112"/>
                </a:cubicBezTo>
                <a:cubicBezTo>
                  <a:pt x="262" y="113"/>
                  <a:pt x="262" y="113"/>
                  <a:pt x="262" y="113"/>
                </a:cubicBezTo>
                <a:cubicBezTo>
                  <a:pt x="264" y="113"/>
                  <a:pt x="264" y="113"/>
                  <a:pt x="264" y="113"/>
                </a:cubicBezTo>
                <a:cubicBezTo>
                  <a:pt x="265" y="113"/>
                  <a:pt x="265" y="113"/>
                  <a:pt x="265" y="113"/>
                </a:cubicBezTo>
                <a:cubicBezTo>
                  <a:pt x="266" y="112"/>
                  <a:pt x="266" y="112"/>
                  <a:pt x="266" y="112"/>
                </a:cubicBezTo>
                <a:cubicBezTo>
                  <a:pt x="269" y="112"/>
                  <a:pt x="269" y="112"/>
                  <a:pt x="269" y="112"/>
                </a:cubicBezTo>
                <a:cubicBezTo>
                  <a:pt x="269" y="111"/>
                  <a:pt x="269" y="111"/>
                  <a:pt x="269" y="111"/>
                </a:cubicBezTo>
                <a:cubicBezTo>
                  <a:pt x="270" y="111"/>
                  <a:pt x="270" y="111"/>
                  <a:pt x="270" y="111"/>
                </a:cubicBezTo>
                <a:cubicBezTo>
                  <a:pt x="269" y="110"/>
                  <a:pt x="269" y="110"/>
                  <a:pt x="269" y="110"/>
                </a:cubicBezTo>
                <a:cubicBezTo>
                  <a:pt x="268" y="111"/>
                  <a:pt x="268" y="111"/>
                  <a:pt x="268" y="111"/>
                </a:cubicBezTo>
                <a:cubicBezTo>
                  <a:pt x="267" y="111"/>
                  <a:pt x="267" y="111"/>
                  <a:pt x="267" y="111"/>
                </a:cubicBezTo>
                <a:cubicBezTo>
                  <a:pt x="267" y="110"/>
                  <a:pt x="267" y="110"/>
                  <a:pt x="267" y="110"/>
                </a:cubicBezTo>
                <a:cubicBezTo>
                  <a:pt x="265" y="111"/>
                  <a:pt x="265" y="111"/>
                  <a:pt x="265" y="111"/>
                </a:cubicBezTo>
                <a:cubicBezTo>
                  <a:pt x="263" y="111"/>
                  <a:pt x="263" y="111"/>
                  <a:pt x="263" y="111"/>
                </a:cubicBezTo>
                <a:cubicBezTo>
                  <a:pt x="263" y="110"/>
                  <a:pt x="263" y="110"/>
                  <a:pt x="263" y="110"/>
                </a:cubicBezTo>
                <a:cubicBezTo>
                  <a:pt x="262" y="109"/>
                  <a:pt x="262" y="109"/>
                  <a:pt x="262" y="109"/>
                </a:cubicBezTo>
                <a:cubicBezTo>
                  <a:pt x="261" y="110"/>
                  <a:pt x="261" y="110"/>
                  <a:pt x="261" y="110"/>
                </a:cubicBezTo>
                <a:cubicBezTo>
                  <a:pt x="260" y="110"/>
                  <a:pt x="260" y="110"/>
                  <a:pt x="260" y="110"/>
                </a:cubicBezTo>
                <a:cubicBezTo>
                  <a:pt x="259" y="110"/>
                  <a:pt x="259" y="110"/>
                  <a:pt x="259" y="110"/>
                </a:cubicBezTo>
                <a:cubicBezTo>
                  <a:pt x="259" y="110"/>
                  <a:pt x="259" y="110"/>
                  <a:pt x="259" y="110"/>
                </a:cubicBezTo>
                <a:cubicBezTo>
                  <a:pt x="257" y="110"/>
                  <a:pt x="257" y="110"/>
                  <a:pt x="257" y="110"/>
                </a:cubicBezTo>
                <a:cubicBezTo>
                  <a:pt x="256" y="110"/>
                  <a:pt x="256" y="110"/>
                  <a:pt x="256" y="110"/>
                </a:cubicBezTo>
                <a:cubicBezTo>
                  <a:pt x="256" y="109"/>
                  <a:pt x="256" y="109"/>
                  <a:pt x="256" y="109"/>
                </a:cubicBezTo>
                <a:cubicBezTo>
                  <a:pt x="257" y="108"/>
                  <a:pt x="257" y="108"/>
                  <a:pt x="257" y="108"/>
                </a:cubicBezTo>
                <a:cubicBezTo>
                  <a:pt x="259" y="107"/>
                  <a:pt x="259" y="107"/>
                  <a:pt x="259" y="107"/>
                </a:cubicBezTo>
                <a:cubicBezTo>
                  <a:pt x="258" y="107"/>
                  <a:pt x="258" y="107"/>
                  <a:pt x="258" y="107"/>
                </a:cubicBezTo>
                <a:cubicBezTo>
                  <a:pt x="256" y="107"/>
                  <a:pt x="256" y="107"/>
                  <a:pt x="256" y="107"/>
                </a:cubicBezTo>
                <a:cubicBezTo>
                  <a:pt x="256" y="108"/>
                  <a:pt x="256" y="108"/>
                  <a:pt x="256" y="108"/>
                </a:cubicBezTo>
                <a:cubicBezTo>
                  <a:pt x="255" y="106"/>
                  <a:pt x="255" y="106"/>
                  <a:pt x="255" y="106"/>
                </a:cubicBezTo>
                <a:cubicBezTo>
                  <a:pt x="255" y="107"/>
                  <a:pt x="255" y="107"/>
                  <a:pt x="255" y="107"/>
                </a:cubicBezTo>
                <a:cubicBezTo>
                  <a:pt x="254" y="108"/>
                  <a:pt x="254" y="108"/>
                  <a:pt x="254" y="108"/>
                </a:cubicBezTo>
                <a:cubicBezTo>
                  <a:pt x="252" y="109"/>
                  <a:pt x="252" y="109"/>
                  <a:pt x="252" y="109"/>
                </a:cubicBezTo>
                <a:cubicBezTo>
                  <a:pt x="252" y="110"/>
                  <a:pt x="252" y="110"/>
                  <a:pt x="252" y="110"/>
                </a:cubicBezTo>
                <a:cubicBezTo>
                  <a:pt x="251" y="110"/>
                  <a:pt x="251" y="110"/>
                  <a:pt x="251" y="110"/>
                </a:cubicBezTo>
                <a:cubicBezTo>
                  <a:pt x="249" y="109"/>
                  <a:pt x="249" y="109"/>
                  <a:pt x="249" y="109"/>
                </a:cubicBezTo>
                <a:cubicBezTo>
                  <a:pt x="249" y="108"/>
                  <a:pt x="249" y="108"/>
                  <a:pt x="249" y="108"/>
                </a:cubicBezTo>
                <a:cubicBezTo>
                  <a:pt x="250" y="107"/>
                  <a:pt x="250" y="107"/>
                  <a:pt x="250" y="107"/>
                </a:cubicBezTo>
                <a:cubicBezTo>
                  <a:pt x="249" y="108"/>
                  <a:pt x="249" y="108"/>
                  <a:pt x="249" y="108"/>
                </a:cubicBezTo>
                <a:cubicBezTo>
                  <a:pt x="248" y="107"/>
                  <a:pt x="248" y="107"/>
                  <a:pt x="248" y="107"/>
                </a:cubicBezTo>
                <a:cubicBezTo>
                  <a:pt x="248" y="109"/>
                  <a:pt x="248" y="109"/>
                  <a:pt x="248" y="109"/>
                </a:cubicBezTo>
                <a:cubicBezTo>
                  <a:pt x="247" y="109"/>
                  <a:pt x="247" y="109"/>
                  <a:pt x="247" y="109"/>
                </a:cubicBezTo>
                <a:cubicBezTo>
                  <a:pt x="246" y="109"/>
                  <a:pt x="246" y="109"/>
                  <a:pt x="246" y="109"/>
                </a:cubicBezTo>
                <a:cubicBezTo>
                  <a:pt x="246" y="107"/>
                  <a:pt x="246" y="107"/>
                  <a:pt x="246" y="107"/>
                </a:cubicBezTo>
                <a:cubicBezTo>
                  <a:pt x="245" y="106"/>
                  <a:pt x="245" y="106"/>
                  <a:pt x="245" y="106"/>
                </a:cubicBezTo>
                <a:cubicBezTo>
                  <a:pt x="245" y="105"/>
                  <a:pt x="245" y="105"/>
                  <a:pt x="245" y="105"/>
                </a:cubicBezTo>
                <a:cubicBezTo>
                  <a:pt x="245" y="105"/>
                  <a:pt x="245" y="105"/>
                  <a:pt x="245" y="105"/>
                </a:cubicBezTo>
                <a:cubicBezTo>
                  <a:pt x="244" y="106"/>
                  <a:pt x="244" y="106"/>
                  <a:pt x="244" y="106"/>
                </a:cubicBezTo>
                <a:cubicBezTo>
                  <a:pt x="244" y="106"/>
                  <a:pt x="244" y="106"/>
                  <a:pt x="244" y="106"/>
                </a:cubicBezTo>
                <a:cubicBezTo>
                  <a:pt x="242" y="104"/>
                  <a:pt x="242" y="104"/>
                  <a:pt x="242" y="104"/>
                </a:cubicBezTo>
                <a:cubicBezTo>
                  <a:pt x="240" y="103"/>
                  <a:pt x="240" y="103"/>
                  <a:pt x="240" y="103"/>
                </a:cubicBezTo>
                <a:cubicBezTo>
                  <a:pt x="240" y="103"/>
                  <a:pt x="240" y="103"/>
                  <a:pt x="240" y="103"/>
                </a:cubicBezTo>
                <a:cubicBezTo>
                  <a:pt x="242" y="102"/>
                  <a:pt x="242" y="102"/>
                  <a:pt x="242" y="102"/>
                </a:cubicBezTo>
                <a:cubicBezTo>
                  <a:pt x="242" y="101"/>
                  <a:pt x="242" y="101"/>
                  <a:pt x="242" y="101"/>
                </a:cubicBezTo>
                <a:cubicBezTo>
                  <a:pt x="241" y="100"/>
                  <a:pt x="241" y="100"/>
                  <a:pt x="241" y="100"/>
                </a:cubicBezTo>
                <a:cubicBezTo>
                  <a:pt x="244" y="99"/>
                  <a:pt x="244" y="99"/>
                  <a:pt x="244" y="99"/>
                </a:cubicBezTo>
                <a:cubicBezTo>
                  <a:pt x="245" y="98"/>
                  <a:pt x="245" y="98"/>
                  <a:pt x="245" y="98"/>
                </a:cubicBezTo>
                <a:cubicBezTo>
                  <a:pt x="246" y="99"/>
                  <a:pt x="246" y="99"/>
                  <a:pt x="246" y="99"/>
                </a:cubicBezTo>
                <a:cubicBezTo>
                  <a:pt x="248" y="99"/>
                  <a:pt x="248" y="99"/>
                  <a:pt x="248" y="99"/>
                </a:cubicBezTo>
                <a:cubicBezTo>
                  <a:pt x="249" y="100"/>
                  <a:pt x="249" y="100"/>
                  <a:pt x="249" y="100"/>
                </a:cubicBezTo>
                <a:cubicBezTo>
                  <a:pt x="251" y="100"/>
                  <a:pt x="251" y="100"/>
                  <a:pt x="251" y="100"/>
                </a:cubicBezTo>
                <a:cubicBezTo>
                  <a:pt x="252" y="99"/>
                  <a:pt x="252" y="99"/>
                  <a:pt x="252" y="99"/>
                </a:cubicBezTo>
                <a:cubicBezTo>
                  <a:pt x="253" y="99"/>
                  <a:pt x="253" y="99"/>
                  <a:pt x="253" y="99"/>
                </a:cubicBezTo>
                <a:cubicBezTo>
                  <a:pt x="255" y="98"/>
                  <a:pt x="255" y="98"/>
                  <a:pt x="255" y="98"/>
                </a:cubicBezTo>
                <a:cubicBezTo>
                  <a:pt x="254" y="97"/>
                  <a:pt x="254" y="97"/>
                  <a:pt x="254" y="97"/>
                </a:cubicBezTo>
                <a:cubicBezTo>
                  <a:pt x="253" y="97"/>
                  <a:pt x="253" y="97"/>
                  <a:pt x="253" y="97"/>
                </a:cubicBezTo>
                <a:cubicBezTo>
                  <a:pt x="252" y="97"/>
                  <a:pt x="252" y="97"/>
                  <a:pt x="252" y="97"/>
                </a:cubicBezTo>
                <a:cubicBezTo>
                  <a:pt x="251" y="97"/>
                  <a:pt x="251" y="97"/>
                  <a:pt x="251" y="97"/>
                </a:cubicBezTo>
                <a:cubicBezTo>
                  <a:pt x="249" y="96"/>
                  <a:pt x="249" y="96"/>
                  <a:pt x="249" y="96"/>
                </a:cubicBezTo>
                <a:cubicBezTo>
                  <a:pt x="247" y="96"/>
                  <a:pt x="247" y="96"/>
                  <a:pt x="247" y="96"/>
                </a:cubicBezTo>
                <a:cubicBezTo>
                  <a:pt x="247" y="96"/>
                  <a:pt x="247" y="96"/>
                  <a:pt x="247" y="96"/>
                </a:cubicBezTo>
                <a:cubicBezTo>
                  <a:pt x="249" y="94"/>
                  <a:pt x="249" y="94"/>
                  <a:pt x="249" y="94"/>
                </a:cubicBezTo>
                <a:cubicBezTo>
                  <a:pt x="250" y="93"/>
                  <a:pt x="250" y="93"/>
                  <a:pt x="250" y="93"/>
                </a:cubicBezTo>
                <a:cubicBezTo>
                  <a:pt x="251" y="92"/>
                  <a:pt x="251" y="92"/>
                  <a:pt x="251" y="92"/>
                </a:cubicBezTo>
                <a:cubicBezTo>
                  <a:pt x="252" y="93"/>
                  <a:pt x="252" y="93"/>
                  <a:pt x="252" y="93"/>
                </a:cubicBezTo>
                <a:cubicBezTo>
                  <a:pt x="255" y="92"/>
                  <a:pt x="255" y="92"/>
                  <a:pt x="255" y="92"/>
                </a:cubicBezTo>
                <a:cubicBezTo>
                  <a:pt x="257" y="92"/>
                  <a:pt x="257" y="92"/>
                  <a:pt x="257" y="92"/>
                </a:cubicBezTo>
                <a:cubicBezTo>
                  <a:pt x="259" y="93"/>
                  <a:pt x="259" y="93"/>
                  <a:pt x="259" y="93"/>
                </a:cubicBezTo>
                <a:cubicBezTo>
                  <a:pt x="260" y="93"/>
                  <a:pt x="260" y="93"/>
                  <a:pt x="260" y="93"/>
                </a:cubicBezTo>
                <a:cubicBezTo>
                  <a:pt x="259" y="92"/>
                  <a:pt x="259" y="92"/>
                  <a:pt x="259" y="92"/>
                </a:cubicBezTo>
                <a:cubicBezTo>
                  <a:pt x="258" y="92"/>
                  <a:pt x="258" y="92"/>
                  <a:pt x="258" y="92"/>
                </a:cubicBezTo>
                <a:cubicBezTo>
                  <a:pt x="257" y="91"/>
                  <a:pt x="257" y="91"/>
                  <a:pt x="257" y="91"/>
                </a:cubicBezTo>
                <a:cubicBezTo>
                  <a:pt x="256" y="91"/>
                  <a:pt x="256" y="91"/>
                  <a:pt x="256" y="91"/>
                </a:cubicBezTo>
                <a:cubicBezTo>
                  <a:pt x="253" y="91"/>
                  <a:pt x="253" y="91"/>
                  <a:pt x="253" y="91"/>
                </a:cubicBezTo>
                <a:cubicBezTo>
                  <a:pt x="253" y="89"/>
                  <a:pt x="253" y="89"/>
                  <a:pt x="253" y="89"/>
                </a:cubicBezTo>
                <a:cubicBezTo>
                  <a:pt x="254" y="88"/>
                  <a:pt x="254" y="88"/>
                  <a:pt x="254" y="88"/>
                </a:cubicBezTo>
                <a:cubicBezTo>
                  <a:pt x="255" y="87"/>
                  <a:pt x="255" y="87"/>
                  <a:pt x="255" y="87"/>
                </a:cubicBezTo>
                <a:cubicBezTo>
                  <a:pt x="256" y="87"/>
                  <a:pt x="256" y="87"/>
                  <a:pt x="256" y="87"/>
                </a:cubicBezTo>
                <a:cubicBezTo>
                  <a:pt x="256" y="87"/>
                  <a:pt x="256" y="87"/>
                  <a:pt x="256" y="87"/>
                </a:cubicBezTo>
                <a:cubicBezTo>
                  <a:pt x="258" y="86"/>
                  <a:pt x="258" y="86"/>
                  <a:pt x="258" y="86"/>
                </a:cubicBezTo>
                <a:cubicBezTo>
                  <a:pt x="259" y="86"/>
                  <a:pt x="259" y="86"/>
                  <a:pt x="259" y="86"/>
                </a:cubicBezTo>
                <a:cubicBezTo>
                  <a:pt x="259" y="87"/>
                  <a:pt x="259" y="87"/>
                  <a:pt x="259" y="87"/>
                </a:cubicBezTo>
                <a:cubicBezTo>
                  <a:pt x="260" y="87"/>
                  <a:pt x="260" y="87"/>
                  <a:pt x="260" y="87"/>
                </a:cubicBezTo>
                <a:cubicBezTo>
                  <a:pt x="262" y="88"/>
                  <a:pt x="262" y="88"/>
                  <a:pt x="262" y="88"/>
                </a:cubicBezTo>
                <a:cubicBezTo>
                  <a:pt x="263" y="88"/>
                  <a:pt x="263" y="88"/>
                  <a:pt x="263" y="88"/>
                </a:cubicBezTo>
                <a:cubicBezTo>
                  <a:pt x="262" y="87"/>
                  <a:pt x="262" y="87"/>
                  <a:pt x="262" y="87"/>
                </a:cubicBezTo>
                <a:cubicBezTo>
                  <a:pt x="261" y="86"/>
                  <a:pt x="261" y="86"/>
                  <a:pt x="261" y="86"/>
                </a:cubicBezTo>
                <a:cubicBezTo>
                  <a:pt x="260" y="85"/>
                  <a:pt x="260" y="85"/>
                  <a:pt x="260" y="85"/>
                </a:cubicBezTo>
                <a:cubicBezTo>
                  <a:pt x="260" y="84"/>
                  <a:pt x="260" y="84"/>
                  <a:pt x="260" y="84"/>
                </a:cubicBezTo>
                <a:cubicBezTo>
                  <a:pt x="261" y="84"/>
                  <a:pt x="261" y="84"/>
                  <a:pt x="261" y="84"/>
                </a:cubicBezTo>
                <a:cubicBezTo>
                  <a:pt x="264" y="83"/>
                  <a:pt x="264" y="83"/>
                  <a:pt x="264" y="83"/>
                </a:cubicBezTo>
                <a:cubicBezTo>
                  <a:pt x="265" y="83"/>
                  <a:pt x="265" y="83"/>
                  <a:pt x="265" y="83"/>
                </a:cubicBezTo>
                <a:cubicBezTo>
                  <a:pt x="267" y="83"/>
                  <a:pt x="267" y="83"/>
                  <a:pt x="267" y="83"/>
                </a:cubicBezTo>
                <a:cubicBezTo>
                  <a:pt x="268" y="84"/>
                  <a:pt x="268" y="84"/>
                  <a:pt x="268" y="84"/>
                </a:cubicBezTo>
                <a:cubicBezTo>
                  <a:pt x="269" y="86"/>
                  <a:pt x="269" y="86"/>
                  <a:pt x="269" y="86"/>
                </a:cubicBezTo>
                <a:cubicBezTo>
                  <a:pt x="268" y="87"/>
                  <a:pt x="268" y="87"/>
                  <a:pt x="268" y="87"/>
                </a:cubicBezTo>
                <a:cubicBezTo>
                  <a:pt x="267" y="88"/>
                  <a:pt x="267" y="88"/>
                  <a:pt x="267" y="88"/>
                </a:cubicBezTo>
                <a:cubicBezTo>
                  <a:pt x="267" y="89"/>
                  <a:pt x="267" y="89"/>
                  <a:pt x="267" y="89"/>
                </a:cubicBezTo>
                <a:cubicBezTo>
                  <a:pt x="270" y="89"/>
                  <a:pt x="270" y="89"/>
                  <a:pt x="270" y="89"/>
                </a:cubicBezTo>
                <a:cubicBezTo>
                  <a:pt x="270" y="89"/>
                  <a:pt x="270" y="89"/>
                  <a:pt x="270" y="89"/>
                </a:cubicBezTo>
                <a:cubicBezTo>
                  <a:pt x="271" y="89"/>
                  <a:pt x="271" y="89"/>
                  <a:pt x="271" y="89"/>
                </a:cubicBezTo>
                <a:cubicBezTo>
                  <a:pt x="272" y="89"/>
                  <a:pt x="272" y="89"/>
                  <a:pt x="272" y="89"/>
                </a:cubicBezTo>
                <a:cubicBezTo>
                  <a:pt x="272" y="90"/>
                  <a:pt x="272" y="90"/>
                  <a:pt x="272" y="90"/>
                </a:cubicBezTo>
                <a:cubicBezTo>
                  <a:pt x="273" y="91"/>
                  <a:pt x="273" y="91"/>
                  <a:pt x="273" y="91"/>
                </a:cubicBezTo>
                <a:cubicBezTo>
                  <a:pt x="273" y="91"/>
                  <a:pt x="273" y="91"/>
                  <a:pt x="273" y="91"/>
                </a:cubicBezTo>
                <a:cubicBezTo>
                  <a:pt x="273" y="92"/>
                  <a:pt x="273" y="92"/>
                  <a:pt x="273" y="92"/>
                </a:cubicBezTo>
                <a:cubicBezTo>
                  <a:pt x="272" y="93"/>
                  <a:pt x="272" y="93"/>
                  <a:pt x="272" y="93"/>
                </a:cubicBezTo>
                <a:cubicBezTo>
                  <a:pt x="272" y="94"/>
                  <a:pt x="272" y="94"/>
                  <a:pt x="272" y="94"/>
                </a:cubicBezTo>
                <a:cubicBezTo>
                  <a:pt x="273" y="95"/>
                  <a:pt x="273" y="95"/>
                  <a:pt x="273" y="95"/>
                </a:cubicBezTo>
                <a:cubicBezTo>
                  <a:pt x="273" y="98"/>
                  <a:pt x="273" y="98"/>
                  <a:pt x="273" y="98"/>
                </a:cubicBezTo>
                <a:cubicBezTo>
                  <a:pt x="273" y="98"/>
                  <a:pt x="273" y="98"/>
                  <a:pt x="273" y="98"/>
                </a:cubicBezTo>
                <a:cubicBezTo>
                  <a:pt x="272" y="98"/>
                  <a:pt x="272" y="98"/>
                  <a:pt x="272" y="98"/>
                </a:cubicBezTo>
                <a:cubicBezTo>
                  <a:pt x="270" y="98"/>
                  <a:pt x="270" y="98"/>
                  <a:pt x="270" y="98"/>
                </a:cubicBezTo>
                <a:cubicBezTo>
                  <a:pt x="271" y="99"/>
                  <a:pt x="271" y="99"/>
                  <a:pt x="271" y="99"/>
                </a:cubicBezTo>
                <a:cubicBezTo>
                  <a:pt x="272" y="99"/>
                  <a:pt x="272" y="99"/>
                  <a:pt x="272" y="99"/>
                </a:cubicBezTo>
                <a:cubicBezTo>
                  <a:pt x="273" y="100"/>
                  <a:pt x="273" y="100"/>
                  <a:pt x="273" y="100"/>
                </a:cubicBezTo>
                <a:cubicBezTo>
                  <a:pt x="274" y="100"/>
                  <a:pt x="274" y="100"/>
                  <a:pt x="274" y="100"/>
                </a:cubicBezTo>
                <a:cubicBezTo>
                  <a:pt x="273" y="102"/>
                  <a:pt x="273" y="102"/>
                  <a:pt x="273" y="102"/>
                </a:cubicBezTo>
                <a:cubicBezTo>
                  <a:pt x="272" y="103"/>
                  <a:pt x="272" y="103"/>
                  <a:pt x="272" y="103"/>
                </a:cubicBezTo>
                <a:cubicBezTo>
                  <a:pt x="272" y="105"/>
                  <a:pt x="272" y="105"/>
                  <a:pt x="272" y="105"/>
                </a:cubicBezTo>
                <a:cubicBezTo>
                  <a:pt x="273" y="106"/>
                  <a:pt x="273" y="106"/>
                  <a:pt x="273" y="106"/>
                </a:cubicBezTo>
                <a:cubicBezTo>
                  <a:pt x="274" y="105"/>
                  <a:pt x="274" y="105"/>
                  <a:pt x="274" y="105"/>
                </a:cubicBezTo>
                <a:cubicBezTo>
                  <a:pt x="275" y="104"/>
                  <a:pt x="275" y="104"/>
                  <a:pt x="275" y="104"/>
                </a:cubicBezTo>
                <a:cubicBezTo>
                  <a:pt x="276" y="105"/>
                  <a:pt x="276" y="105"/>
                  <a:pt x="276" y="105"/>
                </a:cubicBezTo>
                <a:cubicBezTo>
                  <a:pt x="276" y="106"/>
                  <a:pt x="276" y="106"/>
                  <a:pt x="276" y="106"/>
                </a:cubicBezTo>
                <a:cubicBezTo>
                  <a:pt x="277" y="106"/>
                  <a:pt x="277" y="106"/>
                  <a:pt x="277" y="106"/>
                </a:cubicBezTo>
                <a:cubicBezTo>
                  <a:pt x="278" y="106"/>
                  <a:pt x="278" y="106"/>
                  <a:pt x="278" y="106"/>
                </a:cubicBezTo>
                <a:cubicBezTo>
                  <a:pt x="280" y="106"/>
                  <a:pt x="280" y="106"/>
                  <a:pt x="280" y="106"/>
                </a:cubicBezTo>
                <a:cubicBezTo>
                  <a:pt x="281" y="108"/>
                  <a:pt x="281" y="108"/>
                  <a:pt x="281" y="108"/>
                </a:cubicBezTo>
                <a:cubicBezTo>
                  <a:pt x="282" y="108"/>
                  <a:pt x="282" y="108"/>
                  <a:pt x="282" y="108"/>
                </a:cubicBezTo>
                <a:cubicBezTo>
                  <a:pt x="282" y="107"/>
                  <a:pt x="282" y="107"/>
                  <a:pt x="282" y="107"/>
                </a:cubicBezTo>
                <a:cubicBezTo>
                  <a:pt x="281" y="106"/>
                  <a:pt x="281" y="106"/>
                  <a:pt x="281" y="106"/>
                </a:cubicBezTo>
                <a:cubicBezTo>
                  <a:pt x="283" y="105"/>
                  <a:pt x="283" y="105"/>
                  <a:pt x="283" y="105"/>
                </a:cubicBezTo>
                <a:cubicBezTo>
                  <a:pt x="283" y="103"/>
                  <a:pt x="283" y="103"/>
                  <a:pt x="283" y="103"/>
                </a:cubicBezTo>
                <a:cubicBezTo>
                  <a:pt x="282" y="102"/>
                  <a:pt x="282" y="102"/>
                  <a:pt x="282" y="102"/>
                </a:cubicBezTo>
                <a:cubicBezTo>
                  <a:pt x="282" y="101"/>
                  <a:pt x="282" y="101"/>
                  <a:pt x="282" y="101"/>
                </a:cubicBezTo>
                <a:cubicBezTo>
                  <a:pt x="281" y="100"/>
                  <a:pt x="281" y="100"/>
                  <a:pt x="281" y="100"/>
                </a:cubicBezTo>
                <a:cubicBezTo>
                  <a:pt x="282" y="99"/>
                  <a:pt x="282" y="99"/>
                  <a:pt x="282" y="99"/>
                </a:cubicBezTo>
                <a:cubicBezTo>
                  <a:pt x="282" y="99"/>
                  <a:pt x="282" y="99"/>
                  <a:pt x="282" y="99"/>
                </a:cubicBezTo>
                <a:cubicBezTo>
                  <a:pt x="284" y="99"/>
                  <a:pt x="284" y="99"/>
                  <a:pt x="284" y="99"/>
                </a:cubicBezTo>
                <a:cubicBezTo>
                  <a:pt x="285" y="99"/>
                  <a:pt x="285" y="99"/>
                  <a:pt x="285" y="99"/>
                </a:cubicBezTo>
                <a:cubicBezTo>
                  <a:pt x="286" y="97"/>
                  <a:pt x="286" y="97"/>
                  <a:pt x="286" y="97"/>
                </a:cubicBezTo>
                <a:cubicBezTo>
                  <a:pt x="285" y="95"/>
                  <a:pt x="285" y="95"/>
                  <a:pt x="285" y="95"/>
                </a:cubicBezTo>
                <a:cubicBezTo>
                  <a:pt x="285" y="95"/>
                  <a:pt x="285" y="95"/>
                  <a:pt x="285" y="95"/>
                </a:cubicBezTo>
                <a:cubicBezTo>
                  <a:pt x="285" y="93"/>
                  <a:pt x="285" y="93"/>
                  <a:pt x="285" y="93"/>
                </a:cubicBezTo>
                <a:cubicBezTo>
                  <a:pt x="284" y="92"/>
                  <a:pt x="284" y="92"/>
                  <a:pt x="284" y="92"/>
                </a:cubicBezTo>
                <a:cubicBezTo>
                  <a:pt x="285" y="90"/>
                  <a:pt x="285" y="90"/>
                  <a:pt x="285" y="90"/>
                </a:cubicBezTo>
                <a:cubicBezTo>
                  <a:pt x="286" y="90"/>
                  <a:pt x="286" y="90"/>
                  <a:pt x="286" y="90"/>
                </a:cubicBezTo>
                <a:cubicBezTo>
                  <a:pt x="287" y="90"/>
                  <a:pt x="287" y="90"/>
                  <a:pt x="287" y="90"/>
                </a:cubicBezTo>
                <a:cubicBezTo>
                  <a:pt x="288" y="90"/>
                  <a:pt x="288" y="90"/>
                  <a:pt x="288" y="90"/>
                </a:cubicBezTo>
                <a:cubicBezTo>
                  <a:pt x="288" y="89"/>
                  <a:pt x="288" y="89"/>
                  <a:pt x="288" y="89"/>
                </a:cubicBezTo>
                <a:cubicBezTo>
                  <a:pt x="288" y="88"/>
                  <a:pt x="288" y="88"/>
                  <a:pt x="288" y="88"/>
                </a:cubicBezTo>
                <a:cubicBezTo>
                  <a:pt x="290" y="87"/>
                  <a:pt x="290" y="87"/>
                  <a:pt x="290" y="87"/>
                </a:cubicBezTo>
                <a:cubicBezTo>
                  <a:pt x="293" y="85"/>
                  <a:pt x="293" y="85"/>
                  <a:pt x="293" y="85"/>
                </a:cubicBezTo>
                <a:cubicBezTo>
                  <a:pt x="294" y="85"/>
                  <a:pt x="294" y="85"/>
                  <a:pt x="294" y="85"/>
                </a:cubicBezTo>
                <a:cubicBezTo>
                  <a:pt x="295" y="86"/>
                  <a:pt x="295" y="86"/>
                  <a:pt x="295" y="86"/>
                </a:cubicBezTo>
                <a:cubicBezTo>
                  <a:pt x="295" y="87"/>
                  <a:pt x="295" y="87"/>
                  <a:pt x="295" y="87"/>
                </a:cubicBezTo>
                <a:cubicBezTo>
                  <a:pt x="296" y="88"/>
                  <a:pt x="296" y="88"/>
                  <a:pt x="296" y="88"/>
                </a:cubicBezTo>
                <a:cubicBezTo>
                  <a:pt x="295" y="88"/>
                  <a:pt x="295" y="88"/>
                  <a:pt x="295" y="88"/>
                </a:cubicBezTo>
                <a:cubicBezTo>
                  <a:pt x="294" y="88"/>
                  <a:pt x="294" y="88"/>
                  <a:pt x="294" y="88"/>
                </a:cubicBezTo>
                <a:cubicBezTo>
                  <a:pt x="293" y="89"/>
                  <a:pt x="293" y="89"/>
                  <a:pt x="293" y="89"/>
                </a:cubicBezTo>
                <a:cubicBezTo>
                  <a:pt x="293" y="90"/>
                  <a:pt x="293" y="90"/>
                  <a:pt x="293" y="90"/>
                </a:cubicBezTo>
                <a:cubicBezTo>
                  <a:pt x="293" y="91"/>
                  <a:pt x="293" y="91"/>
                  <a:pt x="293" y="91"/>
                </a:cubicBezTo>
                <a:cubicBezTo>
                  <a:pt x="293" y="93"/>
                  <a:pt x="293" y="93"/>
                  <a:pt x="293" y="93"/>
                </a:cubicBezTo>
                <a:cubicBezTo>
                  <a:pt x="293" y="93"/>
                  <a:pt x="293" y="93"/>
                  <a:pt x="293" y="93"/>
                </a:cubicBezTo>
                <a:cubicBezTo>
                  <a:pt x="293" y="96"/>
                  <a:pt x="293" y="96"/>
                  <a:pt x="293" y="96"/>
                </a:cubicBezTo>
                <a:cubicBezTo>
                  <a:pt x="293" y="97"/>
                  <a:pt x="293" y="97"/>
                  <a:pt x="293" y="97"/>
                </a:cubicBezTo>
                <a:cubicBezTo>
                  <a:pt x="292" y="97"/>
                  <a:pt x="292" y="97"/>
                  <a:pt x="292" y="97"/>
                </a:cubicBezTo>
                <a:cubicBezTo>
                  <a:pt x="290" y="98"/>
                  <a:pt x="290" y="98"/>
                  <a:pt x="290" y="98"/>
                </a:cubicBezTo>
                <a:cubicBezTo>
                  <a:pt x="289" y="99"/>
                  <a:pt x="289" y="99"/>
                  <a:pt x="289" y="99"/>
                </a:cubicBezTo>
                <a:cubicBezTo>
                  <a:pt x="289" y="100"/>
                  <a:pt x="289" y="100"/>
                  <a:pt x="289" y="100"/>
                </a:cubicBezTo>
                <a:cubicBezTo>
                  <a:pt x="290" y="100"/>
                  <a:pt x="290" y="100"/>
                  <a:pt x="290" y="100"/>
                </a:cubicBezTo>
                <a:cubicBezTo>
                  <a:pt x="291" y="99"/>
                  <a:pt x="291" y="99"/>
                  <a:pt x="291" y="99"/>
                </a:cubicBezTo>
                <a:cubicBezTo>
                  <a:pt x="293" y="99"/>
                  <a:pt x="293" y="99"/>
                  <a:pt x="293" y="99"/>
                </a:cubicBezTo>
                <a:cubicBezTo>
                  <a:pt x="293" y="100"/>
                  <a:pt x="293" y="100"/>
                  <a:pt x="293" y="100"/>
                </a:cubicBezTo>
                <a:cubicBezTo>
                  <a:pt x="292" y="101"/>
                  <a:pt x="292" y="101"/>
                  <a:pt x="292" y="101"/>
                </a:cubicBezTo>
                <a:cubicBezTo>
                  <a:pt x="290" y="103"/>
                  <a:pt x="290" y="103"/>
                  <a:pt x="290" y="103"/>
                </a:cubicBezTo>
                <a:cubicBezTo>
                  <a:pt x="289" y="104"/>
                  <a:pt x="289" y="104"/>
                  <a:pt x="289" y="104"/>
                </a:cubicBezTo>
                <a:cubicBezTo>
                  <a:pt x="288" y="105"/>
                  <a:pt x="288" y="105"/>
                  <a:pt x="288" y="105"/>
                </a:cubicBezTo>
                <a:cubicBezTo>
                  <a:pt x="289" y="106"/>
                  <a:pt x="289" y="106"/>
                  <a:pt x="289" y="106"/>
                </a:cubicBezTo>
                <a:cubicBezTo>
                  <a:pt x="289" y="105"/>
                  <a:pt x="289" y="105"/>
                  <a:pt x="289" y="105"/>
                </a:cubicBezTo>
                <a:cubicBezTo>
                  <a:pt x="291" y="104"/>
                  <a:pt x="291" y="104"/>
                  <a:pt x="291" y="104"/>
                </a:cubicBezTo>
                <a:cubicBezTo>
                  <a:pt x="292" y="103"/>
                  <a:pt x="292" y="103"/>
                  <a:pt x="292" y="103"/>
                </a:cubicBezTo>
                <a:cubicBezTo>
                  <a:pt x="293" y="103"/>
                  <a:pt x="293" y="103"/>
                  <a:pt x="293" y="103"/>
                </a:cubicBezTo>
                <a:cubicBezTo>
                  <a:pt x="295" y="103"/>
                  <a:pt x="295" y="103"/>
                  <a:pt x="295" y="103"/>
                </a:cubicBezTo>
                <a:cubicBezTo>
                  <a:pt x="294" y="105"/>
                  <a:pt x="294" y="105"/>
                  <a:pt x="294" y="105"/>
                </a:cubicBezTo>
                <a:cubicBezTo>
                  <a:pt x="294" y="107"/>
                  <a:pt x="294" y="107"/>
                  <a:pt x="294" y="107"/>
                </a:cubicBezTo>
                <a:cubicBezTo>
                  <a:pt x="294" y="107"/>
                  <a:pt x="294" y="107"/>
                  <a:pt x="294" y="107"/>
                </a:cubicBezTo>
                <a:cubicBezTo>
                  <a:pt x="295" y="106"/>
                  <a:pt x="295" y="106"/>
                  <a:pt x="295" y="106"/>
                </a:cubicBezTo>
                <a:cubicBezTo>
                  <a:pt x="296" y="106"/>
                  <a:pt x="296" y="106"/>
                  <a:pt x="296" y="106"/>
                </a:cubicBezTo>
                <a:cubicBezTo>
                  <a:pt x="296" y="106"/>
                  <a:pt x="296" y="106"/>
                  <a:pt x="296" y="106"/>
                </a:cubicBezTo>
                <a:cubicBezTo>
                  <a:pt x="296" y="105"/>
                  <a:pt x="296" y="105"/>
                  <a:pt x="296" y="105"/>
                </a:cubicBezTo>
                <a:cubicBezTo>
                  <a:pt x="297" y="104"/>
                  <a:pt x="297" y="104"/>
                  <a:pt x="297" y="104"/>
                </a:cubicBezTo>
                <a:cubicBezTo>
                  <a:pt x="297" y="103"/>
                  <a:pt x="297" y="103"/>
                  <a:pt x="297" y="103"/>
                </a:cubicBezTo>
                <a:cubicBezTo>
                  <a:pt x="299" y="101"/>
                  <a:pt x="299" y="101"/>
                  <a:pt x="299" y="101"/>
                </a:cubicBezTo>
                <a:cubicBezTo>
                  <a:pt x="300" y="101"/>
                  <a:pt x="300" y="101"/>
                  <a:pt x="300" y="101"/>
                </a:cubicBezTo>
                <a:cubicBezTo>
                  <a:pt x="301" y="102"/>
                  <a:pt x="301" y="102"/>
                  <a:pt x="301" y="102"/>
                </a:cubicBezTo>
                <a:cubicBezTo>
                  <a:pt x="302" y="104"/>
                  <a:pt x="302" y="104"/>
                  <a:pt x="302" y="104"/>
                </a:cubicBezTo>
                <a:cubicBezTo>
                  <a:pt x="302" y="105"/>
                  <a:pt x="302" y="105"/>
                  <a:pt x="302" y="105"/>
                </a:cubicBezTo>
                <a:cubicBezTo>
                  <a:pt x="302" y="107"/>
                  <a:pt x="302" y="107"/>
                  <a:pt x="302" y="107"/>
                </a:cubicBezTo>
                <a:cubicBezTo>
                  <a:pt x="300" y="110"/>
                  <a:pt x="300" y="110"/>
                  <a:pt x="300" y="110"/>
                </a:cubicBezTo>
                <a:cubicBezTo>
                  <a:pt x="299" y="111"/>
                  <a:pt x="299" y="111"/>
                  <a:pt x="299" y="111"/>
                </a:cubicBezTo>
                <a:cubicBezTo>
                  <a:pt x="298" y="112"/>
                  <a:pt x="298" y="112"/>
                  <a:pt x="298" y="112"/>
                </a:cubicBezTo>
                <a:cubicBezTo>
                  <a:pt x="297" y="112"/>
                  <a:pt x="297" y="112"/>
                  <a:pt x="297" y="112"/>
                </a:cubicBezTo>
                <a:cubicBezTo>
                  <a:pt x="297" y="112"/>
                  <a:pt x="297" y="112"/>
                  <a:pt x="297" y="112"/>
                </a:cubicBezTo>
                <a:cubicBezTo>
                  <a:pt x="297" y="113"/>
                  <a:pt x="297" y="113"/>
                  <a:pt x="297" y="113"/>
                </a:cubicBezTo>
                <a:cubicBezTo>
                  <a:pt x="295" y="115"/>
                  <a:pt x="295" y="115"/>
                  <a:pt x="295" y="115"/>
                </a:cubicBezTo>
                <a:cubicBezTo>
                  <a:pt x="294" y="115"/>
                  <a:pt x="294" y="115"/>
                  <a:pt x="294" y="115"/>
                </a:cubicBezTo>
                <a:cubicBezTo>
                  <a:pt x="293" y="116"/>
                  <a:pt x="293" y="116"/>
                  <a:pt x="293" y="116"/>
                </a:cubicBezTo>
                <a:cubicBezTo>
                  <a:pt x="293" y="117"/>
                  <a:pt x="293" y="117"/>
                  <a:pt x="293" y="117"/>
                </a:cubicBezTo>
                <a:cubicBezTo>
                  <a:pt x="293" y="118"/>
                  <a:pt x="293" y="118"/>
                  <a:pt x="293" y="118"/>
                </a:cubicBezTo>
                <a:cubicBezTo>
                  <a:pt x="292" y="118"/>
                  <a:pt x="292" y="118"/>
                  <a:pt x="292" y="118"/>
                </a:cubicBezTo>
                <a:cubicBezTo>
                  <a:pt x="292" y="118"/>
                  <a:pt x="292" y="118"/>
                  <a:pt x="292" y="118"/>
                </a:cubicBezTo>
                <a:cubicBezTo>
                  <a:pt x="292" y="119"/>
                  <a:pt x="292" y="119"/>
                  <a:pt x="292" y="119"/>
                </a:cubicBezTo>
                <a:cubicBezTo>
                  <a:pt x="291" y="119"/>
                  <a:pt x="291" y="119"/>
                  <a:pt x="291" y="119"/>
                </a:cubicBezTo>
                <a:cubicBezTo>
                  <a:pt x="290" y="118"/>
                  <a:pt x="290" y="118"/>
                  <a:pt x="290" y="118"/>
                </a:cubicBezTo>
                <a:cubicBezTo>
                  <a:pt x="289" y="119"/>
                  <a:pt x="289" y="119"/>
                  <a:pt x="289" y="119"/>
                </a:cubicBezTo>
                <a:cubicBezTo>
                  <a:pt x="288" y="119"/>
                  <a:pt x="288" y="119"/>
                  <a:pt x="288" y="119"/>
                </a:cubicBezTo>
                <a:cubicBezTo>
                  <a:pt x="286" y="120"/>
                  <a:pt x="286" y="120"/>
                  <a:pt x="286" y="120"/>
                </a:cubicBezTo>
                <a:cubicBezTo>
                  <a:pt x="284" y="120"/>
                  <a:pt x="284" y="120"/>
                  <a:pt x="284" y="120"/>
                </a:cubicBezTo>
                <a:cubicBezTo>
                  <a:pt x="283" y="119"/>
                  <a:pt x="283" y="119"/>
                  <a:pt x="283" y="119"/>
                </a:cubicBezTo>
                <a:cubicBezTo>
                  <a:pt x="282" y="119"/>
                  <a:pt x="282" y="119"/>
                  <a:pt x="282" y="119"/>
                </a:cubicBezTo>
                <a:cubicBezTo>
                  <a:pt x="283" y="118"/>
                  <a:pt x="283" y="118"/>
                  <a:pt x="283" y="118"/>
                </a:cubicBezTo>
                <a:cubicBezTo>
                  <a:pt x="283" y="117"/>
                  <a:pt x="283" y="117"/>
                  <a:pt x="283" y="117"/>
                </a:cubicBezTo>
                <a:cubicBezTo>
                  <a:pt x="283" y="117"/>
                  <a:pt x="283" y="117"/>
                  <a:pt x="283" y="117"/>
                </a:cubicBezTo>
                <a:cubicBezTo>
                  <a:pt x="281" y="117"/>
                  <a:pt x="281" y="117"/>
                  <a:pt x="281" y="117"/>
                </a:cubicBezTo>
                <a:cubicBezTo>
                  <a:pt x="281" y="118"/>
                  <a:pt x="281" y="118"/>
                  <a:pt x="281" y="118"/>
                </a:cubicBezTo>
                <a:cubicBezTo>
                  <a:pt x="280" y="118"/>
                  <a:pt x="280" y="118"/>
                  <a:pt x="280" y="118"/>
                </a:cubicBezTo>
                <a:cubicBezTo>
                  <a:pt x="279" y="118"/>
                  <a:pt x="279" y="118"/>
                  <a:pt x="279" y="118"/>
                </a:cubicBezTo>
                <a:cubicBezTo>
                  <a:pt x="279" y="117"/>
                  <a:pt x="279" y="117"/>
                  <a:pt x="279" y="117"/>
                </a:cubicBezTo>
                <a:cubicBezTo>
                  <a:pt x="279" y="117"/>
                  <a:pt x="279" y="117"/>
                  <a:pt x="279" y="117"/>
                </a:cubicBezTo>
                <a:cubicBezTo>
                  <a:pt x="279" y="116"/>
                  <a:pt x="279" y="116"/>
                  <a:pt x="279" y="116"/>
                </a:cubicBezTo>
                <a:cubicBezTo>
                  <a:pt x="278" y="115"/>
                  <a:pt x="278" y="115"/>
                  <a:pt x="278" y="115"/>
                </a:cubicBezTo>
                <a:cubicBezTo>
                  <a:pt x="278" y="116"/>
                  <a:pt x="278" y="116"/>
                  <a:pt x="278" y="116"/>
                </a:cubicBezTo>
                <a:cubicBezTo>
                  <a:pt x="277" y="117"/>
                  <a:pt x="277" y="117"/>
                  <a:pt x="277" y="117"/>
                </a:cubicBezTo>
                <a:cubicBezTo>
                  <a:pt x="276" y="117"/>
                  <a:pt x="276" y="117"/>
                  <a:pt x="276" y="117"/>
                </a:cubicBezTo>
                <a:cubicBezTo>
                  <a:pt x="274" y="117"/>
                  <a:pt x="274" y="117"/>
                  <a:pt x="274" y="117"/>
                </a:cubicBezTo>
                <a:cubicBezTo>
                  <a:pt x="274" y="118"/>
                  <a:pt x="274" y="118"/>
                  <a:pt x="274" y="118"/>
                </a:cubicBezTo>
                <a:cubicBezTo>
                  <a:pt x="272" y="118"/>
                  <a:pt x="272" y="118"/>
                  <a:pt x="272" y="118"/>
                </a:cubicBezTo>
                <a:cubicBezTo>
                  <a:pt x="272" y="118"/>
                  <a:pt x="272" y="118"/>
                  <a:pt x="272" y="118"/>
                </a:cubicBezTo>
                <a:cubicBezTo>
                  <a:pt x="270" y="118"/>
                  <a:pt x="270" y="118"/>
                  <a:pt x="270" y="118"/>
                </a:cubicBezTo>
                <a:cubicBezTo>
                  <a:pt x="269" y="117"/>
                  <a:pt x="269" y="117"/>
                  <a:pt x="269" y="117"/>
                </a:cubicBezTo>
                <a:cubicBezTo>
                  <a:pt x="269" y="118"/>
                  <a:pt x="269" y="118"/>
                  <a:pt x="269" y="118"/>
                </a:cubicBezTo>
                <a:cubicBezTo>
                  <a:pt x="268" y="118"/>
                  <a:pt x="268" y="118"/>
                  <a:pt x="268" y="118"/>
                </a:cubicBezTo>
                <a:cubicBezTo>
                  <a:pt x="267" y="118"/>
                  <a:pt x="267" y="118"/>
                  <a:pt x="267" y="118"/>
                </a:cubicBezTo>
                <a:cubicBezTo>
                  <a:pt x="267" y="119"/>
                  <a:pt x="267" y="119"/>
                  <a:pt x="267" y="119"/>
                </a:cubicBezTo>
                <a:cubicBezTo>
                  <a:pt x="266" y="120"/>
                  <a:pt x="266" y="120"/>
                  <a:pt x="266" y="120"/>
                </a:cubicBezTo>
                <a:cubicBezTo>
                  <a:pt x="265" y="120"/>
                  <a:pt x="265" y="120"/>
                  <a:pt x="265" y="120"/>
                </a:cubicBezTo>
                <a:cubicBezTo>
                  <a:pt x="265" y="120"/>
                  <a:pt x="265" y="120"/>
                  <a:pt x="265" y="120"/>
                </a:cubicBezTo>
                <a:cubicBezTo>
                  <a:pt x="263" y="121"/>
                  <a:pt x="263" y="121"/>
                  <a:pt x="263" y="121"/>
                </a:cubicBezTo>
                <a:cubicBezTo>
                  <a:pt x="263" y="121"/>
                  <a:pt x="263" y="121"/>
                  <a:pt x="263" y="121"/>
                </a:cubicBezTo>
                <a:cubicBezTo>
                  <a:pt x="262" y="121"/>
                  <a:pt x="262" y="121"/>
                  <a:pt x="262" y="121"/>
                </a:cubicBezTo>
                <a:cubicBezTo>
                  <a:pt x="260" y="121"/>
                  <a:pt x="260" y="121"/>
                  <a:pt x="260" y="121"/>
                </a:cubicBezTo>
                <a:cubicBezTo>
                  <a:pt x="260" y="121"/>
                  <a:pt x="260" y="121"/>
                  <a:pt x="260" y="121"/>
                </a:cubicBezTo>
                <a:cubicBezTo>
                  <a:pt x="258" y="121"/>
                  <a:pt x="258" y="121"/>
                  <a:pt x="258" y="121"/>
                </a:cubicBezTo>
                <a:cubicBezTo>
                  <a:pt x="256" y="121"/>
                  <a:pt x="256" y="121"/>
                  <a:pt x="256" y="121"/>
                </a:cubicBezTo>
                <a:cubicBezTo>
                  <a:pt x="254" y="121"/>
                  <a:pt x="254" y="121"/>
                  <a:pt x="254" y="121"/>
                </a:cubicBezTo>
                <a:cubicBezTo>
                  <a:pt x="253" y="120"/>
                  <a:pt x="253" y="120"/>
                  <a:pt x="253" y="120"/>
                </a:cubicBezTo>
                <a:cubicBezTo>
                  <a:pt x="251" y="120"/>
                  <a:pt x="251" y="120"/>
                  <a:pt x="251" y="120"/>
                </a:cubicBezTo>
                <a:cubicBezTo>
                  <a:pt x="250" y="119"/>
                  <a:pt x="250" y="119"/>
                  <a:pt x="250" y="119"/>
                </a:cubicBezTo>
                <a:cubicBezTo>
                  <a:pt x="249" y="117"/>
                  <a:pt x="249" y="117"/>
                  <a:pt x="249" y="117"/>
                </a:cubicBezTo>
                <a:close/>
                <a:moveTo>
                  <a:pt x="174" y="157"/>
                </a:moveTo>
                <a:cubicBezTo>
                  <a:pt x="174" y="154"/>
                  <a:pt x="174" y="154"/>
                  <a:pt x="174" y="154"/>
                </a:cubicBezTo>
                <a:cubicBezTo>
                  <a:pt x="175" y="152"/>
                  <a:pt x="175" y="152"/>
                  <a:pt x="175" y="152"/>
                </a:cubicBezTo>
                <a:cubicBezTo>
                  <a:pt x="175" y="151"/>
                  <a:pt x="175" y="151"/>
                  <a:pt x="175" y="151"/>
                </a:cubicBezTo>
                <a:cubicBezTo>
                  <a:pt x="175" y="149"/>
                  <a:pt x="175" y="149"/>
                  <a:pt x="175" y="149"/>
                </a:cubicBezTo>
                <a:cubicBezTo>
                  <a:pt x="175" y="148"/>
                  <a:pt x="175" y="148"/>
                  <a:pt x="175" y="148"/>
                </a:cubicBezTo>
                <a:cubicBezTo>
                  <a:pt x="175" y="147"/>
                  <a:pt x="175" y="147"/>
                  <a:pt x="175" y="147"/>
                </a:cubicBezTo>
                <a:cubicBezTo>
                  <a:pt x="174" y="143"/>
                  <a:pt x="174" y="143"/>
                  <a:pt x="174" y="143"/>
                </a:cubicBezTo>
                <a:cubicBezTo>
                  <a:pt x="175" y="144"/>
                  <a:pt x="175" y="144"/>
                  <a:pt x="175" y="144"/>
                </a:cubicBezTo>
                <a:cubicBezTo>
                  <a:pt x="175" y="143"/>
                  <a:pt x="175" y="143"/>
                  <a:pt x="175" y="143"/>
                </a:cubicBezTo>
                <a:cubicBezTo>
                  <a:pt x="173" y="143"/>
                  <a:pt x="173" y="143"/>
                  <a:pt x="173" y="143"/>
                </a:cubicBezTo>
                <a:cubicBezTo>
                  <a:pt x="171" y="142"/>
                  <a:pt x="171" y="142"/>
                  <a:pt x="171" y="142"/>
                </a:cubicBezTo>
                <a:cubicBezTo>
                  <a:pt x="171" y="141"/>
                  <a:pt x="171" y="141"/>
                  <a:pt x="171" y="141"/>
                </a:cubicBezTo>
                <a:cubicBezTo>
                  <a:pt x="172" y="141"/>
                  <a:pt x="172" y="141"/>
                  <a:pt x="172" y="141"/>
                </a:cubicBezTo>
                <a:cubicBezTo>
                  <a:pt x="173" y="140"/>
                  <a:pt x="173" y="140"/>
                  <a:pt x="173" y="140"/>
                </a:cubicBezTo>
                <a:cubicBezTo>
                  <a:pt x="175" y="140"/>
                  <a:pt x="175" y="140"/>
                  <a:pt x="175" y="140"/>
                </a:cubicBezTo>
                <a:cubicBezTo>
                  <a:pt x="175" y="139"/>
                  <a:pt x="175" y="139"/>
                  <a:pt x="175" y="139"/>
                </a:cubicBezTo>
                <a:cubicBezTo>
                  <a:pt x="176" y="139"/>
                  <a:pt x="176" y="139"/>
                  <a:pt x="176" y="139"/>
                </a:cubicBezTo>
                <a:cubicBezTo>
                  <a:pt x="177" y="137"/>
                  <a:pt x="177" y="137"/>
                  <a:pt x="177" y="137"/>
                </a:cubicBezTo>
                <a:cubicBezTo>
                  <a:pt x="178" y="137"/>
                  <a:pt x="178" y="137"/>
                  <a:pt x="178" y="137"/>
                </a:cubicBezTo>
                <a:cubicBezTo>
                  <a:pt x="178" y="135"/>
                  <a:pt x="178" y="135"/>
                  <a:pt x="178" y="135"/>
                </a:cubicBezTo>
                <a:cubicBezTo>
                  <a:pt x="181" y="135"/>
                  <a:pt x="181" y="135"/>
                  <a:pt x="181" y="135"/>
                </a:cubicBezTo>
                <a:cubicBezTo>
                  <a:pt x="181" y="134"/>
                  <a:pt x="181" y="134"/>
                  <a:pt x="181" y="134"/>
                </a:cubicBezTo>
                <a:cubicBezTo>
                  <a:pt x="182" y="134"/>
                  <a:pt x="182" y="134"/>
                  <a:pt x="182" y="134"/>
                </a:cubicBezTo>
                <a:cubicBezTo>
                  <a:pt x="183" y="132"/>
                  <a:pt x="183" y="132"/>
                  <a:pt x="183" y="132"/>
                </a:cubicBezTo>
                <a:cubicBezTo>
                  <a:pt x="183" y="130"/>
                  <a:pt x="183" y="130"/>
                  <a:pt x="183" y="130"/>
                </a:cubicBezTo>
                <a:cubicBezTo>
                  <a:pt x="183" y="131"/>
                  <a:pt x="183" y="131"/>
                  <a:pt x="183" y="131"/>
                </a:cubicBezTo>
                <a:cubicBezTo>
                  <a:pt x="187" y="131"/>
                  <a:pt x="187" y="131"/>
                  <a:pt x="187" y="131"/>
                </a:cubicBezTo>
                <a:cubicBezTo>
                  <a:pt x="187" y="130"/>
                  <a:pt x="187" y="130"/>
                  <a:pt x="187" y="130"/>
                </a:cubicBezTo>
                <a:cubicBezTo>
                  <a:pt x="186" y="128"/>
                  <a:pt x="186" y="128"/>
                  <a:pt x="186" y="128"/>
                </a:cubicBezTo>
                <a:cubicBezTo>
                  <a:pt x="186" y="127"/>
                  <a:pt x="186" y="127"/>
                  <a:pt x="186" y="127"/>
                </a:cubicBezTo>
                <a:cubicBezTo>
                  <a:pt x="187" y="127"/>
                  <a:pt x="187" y="127"/>
                  <a:pt x="187" y="127"/>
                </a:cubicBezTo>
                <a:cubicBezTo>
                  <a:pt x="190" y="124"/>
                  <a:pt x="190" y="124"/>
                  <a:pt x="190" y="124"/>
                </a:cubicBezTo>
                <a:cubicBezTo>
                  <a:pt x="191" y="123"/>
                  <a:pt x="191" y="123"/>
                  <a:pt x="191" y="123"/>
                </a:cubicBezTo>
                <a:cubicBezTo>
                  <a:pt x="194" y="122"/>
                  <a:pt x="194" y="122"/>
                  <a:pt x="194" y="122"/>
                </a:cubicBezTo>
                <a:cubicBezTo>
                  <a:pt x="194" y="121"/>
                  <a:pt x="194" y="121"/>
                  <a:pt x="194" y="121"/>
                </a:cubicBezTo>
                <a:cubicBezTo>
                  <a:pt x="196" y="119"/>
                  <a:pt x="196" y="119"/>
                  <a:pt x="196" y="119"/>
                </a:cubicBezTo>
                <a:cubicBezTo>
                  <a:pt x="198" y="119"/>
                  <a:pt x="198" y="119"/>
                  <a:pt x="198" y="119"/>
                </a:cubicBezTo>
                <a:cubicBezTo>
                  <a:pt x="198" y="118"/>
                  <a:pt x="198" y="118"/>
                  <a:pt x="198" y="118"/>
                </a:cubicBezTo>
                <a:cubicBezTo>
                  <a:pt x="197" y="117"/>
                  <a:pt x="197" y="117"/>
                  <a:pt x="197" y="117"/>
                </a:cubicBezTo>
                <a:cubicBezTo>
                  <a:pt x="198" y="114"/>
                  <a:pt x="198" y="114"/>
                  <a:pt x="198" y="114"/>
                </a:cubicBezTo>
                <a:cubicBezTo>
                  <a:pt x="198" y="113"/>
                  <a:pt x="198" y="113"/>
                  <a:pt x="198" y="113"/>
                </a:cubicBezTo>
                <a:cubicBezTo>
                  <a:pt x="198" y="111"/>
                  <a:pt x="198" y="111"/>
                  <a:pt x="198" y="111"/>
                </a:cubicBezTo>
                <a:cubicBezTo>
                  <a:pt x="198" y="111"/>
                  <a:pt x="198" y="111"/>
                  <a:pt x="198" y="111"/>
                </a:cubicBezTo>
                <a:cubicBezTo>
                  <a:pt x="198" y="110"/>
                  <a:pt x="198" y="110"/>
                  <a:pt x="198" y="110"/>
                </a:cubicBezTo>
                <a:cubicBezTo>
                  <a:pt x="200" y="109"/>
                  <a:pt x="200" y="109"/>
                  <a:pt x="200" y="109"/>
                </a:cubicBezTo>
                <a:cubicBezTo>
                  <a:pt x="201" y="110"/>
                  <a:pt x="201" y="110"/>
                  <a:pt x="201" y="110"/>
                </a:cubicBezTo>
                <a:cubicBezTo>
                  <a:pt x="205" y="109"/>
                  <a:pt x="205" y="109"/>
                  <a:pt x="205" y="109"/>
                </a:cubicBezTo>
                <a:cubicBezTo>
                  <a:pt x="206" y="110"/>
                  <a:pt x="206" y="110"/>
                  <a:pt x="206" y="110"/>
                </a:cubicBezTo>
                <a:cubicBezTo>
                  <a:pt x="210" y="110"/>
                  <a:pt x="210" y="110"/>
                  <a:pt x="210" y="110"/>
                </a:cubicBezTo>
                <a:cubicBezTo>
                  <a:pt x="213" y="109"/>
                  <a:pt x="213" y="109"/>
                  <a:pt x="213" y="109"/>
                </a:cubicBezTo>
                <a:cubicBezTo>
                  <a:pt x="216" y="110"/>
                  <a:pt x="216" y="110"/>
                  <a:pt x="216" y="110"/>
                </a:cubicBezTo>
                <a:cubicBezTo>
                  <a:pt x="216" y="111"/>
                  <a:pt x="216" y="111"/>
                  <a:pt x="216" y="111"/>
                </a:cubicBezTo>
                <a:cubicBezTo>
                  <a:pt x="217" y="112"/>
                  <a:pt x="217" y="112"/>
                  <a:pt x="217" y="112"/>
                </a:cubicBezTo>
                <a:cubicBezTo>
                  <a:pt x="218" y="113"/>
                  <a:pt x="218" y="113"/>
                  <a:pt x="218" y="113"/>
                </a:cubicBezTo>
                <a:cubicBezTo>
                  <a:pt x="221" y="115"/>
                  <a:pt x="221" y="115"/>
                  <a:pt x="221" y="115"/>
                </a:cubicBezTo>
                <a:cubicBezTo>
                  <a:pt x="221" y="116"/>
                  <a:pt x="221" y="116"/>
                  <a:pt x="221" y="116"/>
                </a:cubicBezTo>
                <a:cubicBezTo>
                  <a:pt x="220" y="116"/>
                  <a:pt x="220" y="116"/>
                  <a:pt x="220" y="116"/>
                </a:cubicBezTo>
                <a:cubicBezTo>
                  <a:pt x="221" y="116"/>
                  <a:pt x="221" y="116"/>
                  <a:pt x="221" y="116"/>
                </a:cubicBezTo>
                <a:cubicBezTo>
                  <a:pt x="222" y="116"/>
                  <a:pt x="222" y="116"/>
                  <a:pt x="222" y="116"/>
                </a:cubicBezTo>
                <a:cubicBezTo>
                  <a:pt x="224" y="116"/>
                  <a:pt x="224" y="116"/>
                  <a:pt x="224" y="116"/>
                </a:cubicBezTo>
                <a:cubicBezTo>
                  <a:pt x="223" y="118"/>
                  <a:pt x="223" y="118"/>
                  <a:pt x="223" y="118"/>
                </a:cubicBezTo>
                <a:cubicBezTo>
                  <a:pt x="222" y="120"/>
                  <a:pt x="222" y="120"/>
                  <a:pt x="222" y="120"/>
                </a:cubicBezTo>
                <a:cubicBezTo>
                  <a:pt x="222" y="121"/>
                  <a:pt x="222" y="121"/>
                  <a:pt x="222" y="121"/>
                </a:cubicBezTo>
                <a:cubicBezTo>
                  <a:pt x="224" y="119"/>
                  <a:pt x="224" y="119"/>
                  <a:pt x="224" y="119"/>
                </a:cubicBezTo>
                <a:cubicBezTo>
                  <a:pt x="224" y="118"/>
                  <a:pt x="224" y="118"/>
                  <a:pt x="224" y="118"/>
                </a:cubicBezTo>
                <a:cubicBezTo>
                  <a:pt x="225" y="117"/>
                  <a:pt x="225" y="117"/>
                  <a:pt x="225" y="117"/>
                </a:cubicBezTo>
                <a:cubicBezTo>
                  <a:pt x="227" y="117"/>
                  <a:pt x="227" y="117"/>
                  <a:pt x="227" y="117"/>
                </a:cubicBezTo>
                <a:cubicBezTo>
                  <a:pt x="228" y="116"/>
                  <a:pt x="228" y="116"/>
                  <a:pt x="228" y="116"/>
                </a:cubicBezTo>
                <a:cubicBezTo>
                  <a:pt x="229" y="117"/>
                  <a:pt x="229" y="117"/>
                  <a:pt x="229" y="117"/>
                </a:cubicBezTo>
                <a:cubicBezTo>
                  <a:pt x="229" y="118"/>
                  <a:pt x="229" y="118"/>
                  <a:pt x="229" y="118"/>
                </a:cubicBezTo>
                <a:cubicBezTo>
                  <a:pt x="232" y="120"/>
                  <a:pt x="232" y="120"/>
                  <a:pt x="232" y="120"/>
                </a:cubicBezTo>
                <a:cubicBezTo>
                  <a:pt x="232" y="123"/>
                  <a:pt x="232" y="123"/>
                  <a:pt x="232" y="123"/>
                </a:cubicBezTo>
                <a:cubicBezTo>
                  <a:pt x="232" y="125"/>
                  <a:pt x="232" y="125"/>
                  <a:pt x="232" y="125"/>
                </a:cubicBezTo>
                <a:cubicBezTo>
                  <a:pt x="232" y="127"/>
                  <a:pt x="232" y="127"/>
                  <a:pt x="232" y="127"/>
                </a:cubicBezTo>
                <a:cubicBezTo>
                  <a:pt x="232" y="128"/>
                  <a:pt x="232" y="128"/>
                  <a:pt x="232" y="128"/>
                </a:cubicBezTo>
                <a:cubicBezTo>
                  <a:pt x="232" y="129"/>
                  <a:pt x="232" y="129"/>
                  <a:pt x="232" y="129"/>
                </a:cubicBezTo>
                <a:cubicBezTo>
                  <a:pt x="233" y="130"/>
                  <a:pt x="233" y="130"/>
                  <a:pt x="233" y="130"/>
                </a:cubicBezTo>
                <a:cubicBezTo>
                  <a:pt x="233" y="131"/>
                  <a:pt x="233" y="131"/>
                  <a:pt x="233" y="131"/>
                </a:cubicBezTo>
                <a:cubicBezTo>
                  <a:pt x="233" y="132"/>
                  <a:pt x="233" y="132"/>
                  <a:pt x="233" y="132"/>
                </a:cubicBezTo>
                <a:cubicBezTo>
                  <a:pt x="232" y="134"/>
                  <a:pt x="232" y="134"/>
                  <a:pt x="232" y="134"/>
                </a:cubicBezTo>
                <a:cubicBezTo>
                  <a:pt x="229" y="134"/>
                  <a:pt x="229" y="134"/>
                  <a:pt x="229" y="134"/>
                </a:cubicBezTo>
                <a:cubicBezTo>
                  <a:pt x="228" y="135"/>
                  <a:pt x="228" y="135"/>
                  <a:pt x="228" y="135"/>
                </a:cubicBezTo>
                <a:cubicBezTo>
                  <a:pt x="226" y="135"/>
                  <a:pt x="226" y="135"/>
                  <a:pt x="226" y="135"/>
                </a:cubicBezTo>
                <a:cubicBezTo>
                  <a:pt x="224" y="135"/>
                  <a:pt x="224" y="135"/>
                  <a:pt x="224" y="135"/>
                </a:cubicBezTo>
                <a:cubicBezTo>
                  <a:pt x="220" y="137"/>
                  <a:pt x="220" y="137"/>
                  <a:pt x="220" y="137"/>
                </a:cubicBezTo>
                <a:cubicBezTo>
                  <a:pt x="218" y="137"/>
                  <a:pt x="218" y="137"/>
                  <a:pt x="218" y="137"/>
                </a:cubicBezTo>
                <a:cubicBezTo>
                  <a:pt x="216" y="138"/>
                  <a:pt x="216" y="138"/>
                  <a:pt x="216" y="138"/>
                </a:cubicBezTo>
                <a:cubicBezTo>
                  <a:pt x="214" y="138"/>
                  <a:pt x="214" y="138"/>
                  <a:pt x="214" y="138"/>
                </a:cubicBezTo>
                <a:cubicBezTo>
                  <a:pt x="213" y="139"/>
                  <a:pt x="213" y="139"/>
                  <a:pt x="213" y="139"/>
                </a:cubicBezTo>
                <a:cubicBezTo>
                  <a:pt x="211" y="139"/>
                  <a:pt x="211" y="139"/>
                  <a:pt x="211" y="139"/>
                </a:cubicBezTo>
                <a:cubicBezTo>
                  <a:pt x="210" y="140"/>
                  <a:pt x="210" y="140"/>
                  <a:pt x="210" y="140"/>
                </a:cubicBezTo>
                <a:cubicBezTo>
                  <a:pt x="209" y="139"/>
                  <a:pt x="209" y="139"/>
                  <a:pt x="209" y="139"/>
                </a:cubicBezTo>
                <a:cubicBezTo>
                  <a:pt x="209" y="139"/>
                  <a:pt x="209" y="139"/>
                  <a:pt x="209" y="139"/>
                </a:cubicBezTo>
                <a:cubicBezTo>
                  <a:pt x="207" y="140"/>
                  <a:pt x="207" y="140"/>
                  <a:pt x="207" y="140"/>
                </a:cubicBezTo>
                <a:cubicBezTo>
                  <a:pt x="206" y="141"/>
                  <a:pt x="206" y="141"/>
                  <a:pt x="206" y="141"/>
                </a:cubicBezTo>
                <a:cubicBezTo>
                  <a:pt x="205" y="143"/>
                  <a:pt x="205" y="143"/>
                  <a:pt x="205" y="143"/>
                </a:cubicBezTo>
                <a:cubicBezTo>
                  <a:pt x="204" y="143"/>
                  <a:pt x="204" y="143"/>
                  <a:pt x="204" y="143"/>
                </a:cubicBezTo>
                <a:cubicBezTo>
                  <a:pt x="204" y="145"/>
                  <a:pt x="204" y="145"/>
                  <a:pt x="204" y="145"/>
                </a:cubicBezTo>
                <a:cubicBezTo>
                  <a:pt x="202" y="145"/>
                  <a:pt x="202" y="145"/>
                  <a:pt x="202" y="145"/>
                </a:cubicBezTo>
                <a:cubicBezTo>
                  <a:pt x="201" y="146"/>
                  <a:pt x="201" y="146"/>
                  <a:pt x="201" y="146"/>
                </a:cubicBezTo>
                <a:cubicBezTo>
                  <a:pt x="199" y="146"/>
                  <a:pt x="199" y="146"/>
                  <a:pt x="199" y="146"/>
                </a:cubicBezTo>
                <a:cubicBezTo>
                  <a:pt x="198" y="144"/>
                  <a:pt x="198" y="144"/>
                  <a:pt x="198" y="144"/>
                </a:cubicBezTo>
                <a:cubicBezTo>
                  <a:pt x="197" y="146"/>
                  <a:pt x="197" y="146"/>
                  <a:pt x="197" y="146"/>
                </a:cubicBezTo>
                <a:cubicBezTo>
                  <a:pt x="197" y="147"/>
                  <a:pt x="197" y="147"/>
                  <a:pt x="197" y="147"/>
                </a:cubicBezTo>
                <a:cubicBezTo>
                  <a:pt x="195" y="148"/>
                  <a:pt x="195" y="148"/>
                  <a:pt x="195" y="148"/>
                </a:cubicBezTo>
                <a:cubicBezTo>
                  <a:pt x="194" y="149"/>
                  <a:pt x="194" y="149"/>
                  <a:pt x="194" y="149"/>
                </a:cubicBezTo>
                <a:cubicBezTo>
                  <a:pt x="194" y="150"/>
                  <a:pt x="194" y="150"/>
                  <a:pt x="194" y="150"/>
                </a:cubicBezTo>
                <a:cubicBezTo>
                  <a:pt x="192" y="152"/>
                  <a:pt x="192" y="152"/>
                  <a:pt x="192" y="152"/>
                </a:cubicBezTo>
                <a:cubicBezTo>
                  <a:pt x="192" y="153"/>
                  <a:pt x="192" y="153"/>
                  <a:pt x="192" y="153"/>
                </a:cubicBezTo>
                <a:cubicBezTo>
                  <a:pt x="191" y="155"/>
                  <a:pt x="191" y="155"/>
                  <a:pt x="191" y="155"/>
                </a:cubicBezTo>
                <a:cubicBezTo>
                  <a:pt x="189" y="156"/>
                  <a:pt x="189" y="156"/>
                  <a:pt x="189" y="156"/>
                </a:cubicBezTo>
                <a:cubicBezTo>
                  <a:pt x="188" y="156"/>
                  <a:pt x="188" y="156"/>
                  <a:pt x="188" y="156"/>
                </a:cubicBezTo>
                <a:cubicBezTo>
                  <a:pt x="186" y="157"/>
                  <a:pt x="186" y="157"/>
                  <a:pt x="186" y="157"/>
                </a:cubicBezTo>
                <a:cubicBezTo>
                  <a:pt x="185" y="157"/>
                  <a:pt x="185" y="157"/>
                  <a:pt x="185" y="157"/>
                </a:cubicBezTo>
                <a:cubicBezTo>
                  <a:pt x="184" y="155"/>
                  <a:pt x="184" y="155"/>
                  <a:pt x="184" y="155"/>
                </a:cubicBezTo>
                <a:cubicBezTo>
                  <a:pt x="185" y="155"/>
                  <a:pt x="185" y="155"/>
                  <a:pt x="185" y="155"/>
                </a:cubicBezTo>
                <a:cubicBezTo>
                  <a:pt x="185" y="153"/>
                  <a:pt x="185" y="153"/>
                  <a:pt x="185" y="153"/>
                </a:cubicBezTo>
                <a:cubicBezTo>
                  <a:pt x="184" y="152"/>
                  <a:pt x="184" y="152"/>
                  <a:pt x="184" y="152"/>
                </a:cubicBezTo>
                <a:cubicBezTo>
                  <a:pt x="183" y="153"/>
                  <a:pt x="183" y="153"/>
                  <a:pt x="183" y="153"/>
                </a:cubicBezTo>
                <a:cubicBezTo>
                  <a:pt x="183" y="154"/>
                  <a:pt x="183" y="154"/>
                  <a:pt x="183" y="154"/>
                </a:cubicBezTo>
                <a:cubicBezTo>
                  <a:pt x="183" y="154"/>
                  <a:pt x="183" y="154"/>
                  <a:pt x="183" y="154"/>
                </a:cubicBezTo>
                <a:cubicBezTo>
                  <a:pt x="181" y="156"/>
                  <a:pt x="181" y="156"/>
                  <a:pt x="181" y="156"/>
                </a:cubicBezTo>
                <a:cubicBezTo>
                  <a:pt x="179" y="156"/>
                  <a:pt x="179" y="156"/>
                  <a:pt x="179" y="156"/>
                </a:cubicBezTo>
                <a:cubicBezTo>
                  <a:pt x="178" y="156"/>
                  <a:pt x="178" y="156"/>
                  <a:pt x="178" y="156"/>
                </a:cubicBezTo>
                <a:cubicBezTo>
                  <a:pt x="177" y="157"/>
                  <a:pt x="177" y="157"/>
                  <a:pt x="177" y="157"/>
                </a:cubicBezTo>
                <a:cubicBezTo>
                  <a:pt x="176" y="157"/>
                  <a:pt x="176" y="157"/>
                  <a:pt x="176" y="157"/>
                </a:cubicBezTo>
                <a:cubicBezTo>
                  <a:pt x="175" y="157"/>
                  <a:pt x="175" y="157"/>
                  <a:pt x="175" y="157"/>
                </a:cubicBezTo>
                <a:cubicBezTo>
                  <a:pt x="174" y="157"/>
                  <a:pt x="174" y="157"/>
                  <a:pt x="174" y="157"/>
                </a:cubicBezTo>
                <a:cubicBezTo>
                  <a:pt x="174" y="157"/>
                  <a:pt x="174" y="157"/>
                  <a:pt x="174" y="157"/>
                </a:cubicBezTo>
                <a:close/>
                <a:moveTo>
                  <a:pt x="334" y="138"/>
                </a:moveTo>
                <a:cubicBezTo>
                  <a:pt x="335" y="138"/>
                  <a:pt x="335" y="138"/>
                  <a:pt x="335" y="138"/>
                </a:cubicBezTo>
                <a:cubicBezTo>
                  <a:pt x="335" y="139"/>
                  <a:pt x="335" y="139"/>
                  <a:pt x="335" y="139"/>
                </a:cubicBezTo>
                <a:cubicBezTo>
                  <a:pt x="335" y="140"/>
                  <a:pt x="335" y="140"/>
                  <a:pt x="335" y="140"/>
                </a:cubicBezTo>
                <a:cubicBezTo>
                  <a:pt x="334" y="140"/>
                  <a:pt x="334" y="140"/>
                  <a:pt x="334" y="140"/>
                </a:cubicBezTo>
                <a:cubicBezTo>
                  <a:pt x="334" y="140"/>
                  <a:pt x="334" y="140"/>
                  <a:pt x="334" y="140"/>
                </a:cubicBezTo>
                <a:cubicBezTo>
                  <a:pt x="333" y="138"/>
                  <a:pt x="333" y="138"/>
                  <a:pt x="333" y="138"/>
                </a:cubicBezTo>
                <a:cubicBezTo>
                  <a:pt x="334" y="138"/>
                  <a:pt x="334" y="138"/>
                  <a:pt x="334" y="138"/>
                </a:cubicBezTo>
                <a:close/>
                <a:moveTo>
                  <a:pt x="322" y="138"/>
                </a:moveTo>
                <a:cubicBezTo>
                  <a:pt x="322" y="137"/>
                  <a:pt x="322" y="137"/>
                  <a:pt x="322" y="137"/>
                </a:cubicBezTo>
                <a:cubicBezTo>
                  <a:pt x="324" y="136"/>
                  <a:pt x="324" y="136"/>
                  <a:pt x="324" y="136"/>
                </a:cubicBezTo>
                <a:cubicBezTo>
                  <a:pt x="325" y="137"/>
                  <a:pt x="325" y="137"/>
                  <a:pt x="325" y="137"/>
                </a:cubicBezTo>
                <a:cubicBezTo>
                  <a:pt x="324" y="137"/>
                  <a:pt x="324" y="137"/>
                  <a:pt x="324" y="137"/>
                </a:cubicBezTo>
                <a:cubicBezTo>
                  <a:pt x="324" y="137"/>
                  <a:pt x="324" y="137"/>
                  <a:pt x="324" y="137"/>
                </a:cubicBezTo>
                <a:cubicBezTo>
                  <a:pt x="323" y="138"/>
                  <a:pt x="323" y="138"/>
                  <a:pt x="323" y="138"/>
                </a:cubicBezTo>
                <a:cubicBezTo>
                  <a:pt x="322" y="138"/>
                  <a:pt x="322" y="138"/>
                  <a:pt x="322" y="138"/>
                </a:cubicBezTo>
                <a:close/>
                <a:moveTo>
                  <a:pt x="310" y="145"/>
                </a:moveTo>
                <a:cubicBezTo>
                  <a:pt x="310" y="146"/>
                  <a:pt x="310" y="146"/>
                  <a:pt x="310" y="146"/>
                </a:cubicBezTo>
                <a:cubicBezTo>
                  <a:pt x="312" y="146"/>
                  <a:pt x="312" y="146"/>
                  <a:pt x="312" y="146"/>
                </a:cubicBezTo>
                <a:cubicBezTo>
                  <a:pt x="313" y="147"/>
                  <a:pt x="313" y="147"/>
                  <a:pt x="313" y="147"/>
                </a:cubicBezTo>
                <a:cubicBezTo>
                  <a:pt x="314" y="147"/>
                  <a:pt x="314" y="147"/>
                  <a:pt x="314" y="147"/>
                </a:cubicBezTo>
                <a:cubicBezTo>
                  <a:pt x="315" y="147"/>
                  <a:pt x="315" y="147"/>
                  <a:pt x="315" y="147"/>
                </a:cubicBezTo>
                <a:cubicBezTo>
                  <a:pt x="317" y="146"/>
                  <a:pt x="317" y="146"/>
                  <a:pt x="317" y="146"/>
                </a:cubicBezTo>
                <a:cubicBezTo>
                  <a:pt x="318" y="147"/>
                  <a:pt x="318" y="147"/>
                  <a:pt x="318" y="147"/>
                </a:cubicBezTo>
                <a:cubicBezTo>
                  <a:pt x="318" y="146"/>
                  <a:pt x="318" y="146"/>
                  <a:pt x="318" y="146"/>
                </a:cubicBezTo>
                <a:cubicBezTo>
                  <a:pt x="319" y="146"/>
                  <a:pt x="319" y="146"/>
                  <a:pt x="319" y="146"/>
                </a:cubicBezTo>
                <a:cubicBezTo>
                  <a:pt x="321" y="146"/>
                  <a:pt x="321" y="146"/>
                  <a:pt x="321" y="146"/>
                </a:cubicBezTo>
                <a:cubicBezTo>
                  <a:pt x="321" y="145"/>
                  <a:pt x="321" y="145"/>
                  <a:pt x="321" y="145"/>
                </a:cubicBezTo>
                <a:cubicBezTo>
                  <a:pt x="319" y="144"/>
                  <a:pt x="319" y="144"/>
                  <a:pt x="319" y="144"/>
                </a:cubicBezTo>
                <a:cubicBezTo>
                  <a:pt x="318" y="144"/>
                  <a:pt x="318" y="144"/>
                  <a:pt x="318" y="144"/>
                </a:cubicBezTo>
                <a:cubicBezTo>
                  <a:pt x="316" y="144"/>
                  <a:pt x="316" y="144"/>
                  <a:pt x="316" y="144"/>
                </a:cubicBezTo>
                <a:cubicBezTo>
                  <a:pt x="316" y="144"/>
                  <a:pt x="316" y="144"/>
                  <a:pt x="316" y="144"/>
                </a:cubicBezTo>
                <a:cubicBezTo>
                  <a:pt x="315" y="145"/>
                  <a:pt x="315" y="145"/>
                  <a:pt x="315" y="145"/>
                </a:cubicBezTo>
                <a:cubicBezTo>
                  <a:pt x="313" y="144"/>
                  <a:pt x="313" y="144"/>
                  <a:pt x="313" y="144"/>
                </a:cubicBezTo>
                <a:cubicBezTo>
                  <a:pt x="312" y="145"/>
                  <a:pt x="312" y="145"/>
                  <a:pt x="312" y="145"/>
                </a:cubicBezTo>
                <a:cubicBezTo>
                  <a:pt x="310" y="145"/>
                  <a:pt x="310" y="145"/>
                  <a:pt x="310" y="145"/>
                </a:cubicBezTo>
                <a:cubicBezTo>
                  <a:pt x="310" y="145"/>
                  <a:pt x="310" y="145"/>
                  <a:pt x="310" y="145"/>
                </a:cubicBezTo>
                <a:close/>
                <a:moveTo>
                  <a:pt x="303" y="189"/>
                </a:moveTo>
                <a:cubicBezTo>
                  <a:pt x="302" y="188"/>
                  <a:pt x="302" y="188"/>
                  <a:pt x="302" y="188"/>
                </a:cubicBezTo>
                <a:cubicBezTo>
                  <a:pt x="303" y="188"/>
                  <a:pt x="303" y="188"/>
                  <a:pt x="303" y="188"/>
                </a:cubicBezTo>
                <a:cubicBezTo>
                  <a:pt x="303" y="187"/>
                  <a:pt x="303" y="187"/>
                  <a:pt x="303" y="187"/>
                </a:cubicBezTo>
                <a:cubicBezTo>
                  <a:pt x="303" y="188"/>
                  <a:pt x="303" y="188"/>
                  <a:pt x="303" y="188"/>
                </a:cubicBezTo>
                <a:cubicBezTo>
                  <a:pt x="303" y="189"/>
                  <a:pt x="303" y="189"/>
                  <a:pt x="303" y="189"/>
                </a:cubicBezTo>
                <a:close/>
                <a:moveTo>
                  <a:pt x="295" y="187"/>
                </a:moveTo>
                <a:cubicBezTo>
                  <a:pt x="294" y="187"/>
                  <a:pt x="294" y="187"/>
                  <a:pt x="294" y="187"/>
                </a:cubicBezTo>
                <a:cubicBezTo>
                  <a:pt x="294" y="185"/>
                  <a:pt x="294" y="185"/>
                  <a:pt x="294" y="185"/>
                </a:cubicBezTo>
                <a:cubicBezTo>
                  <a:pt x="294" y="185"/>
                  <a:pt x="294" y="185"/>
                  <a:pt x="294" y="185"/>
                </a:cubicBezTo>
                <a:cubicBezTo>
                  <a:pt x="293" y="186"/>
                  <a:pt x="293" y="186"/>
                  <a:pt x="293" y="186"/>
                </a:cubicBezTo>
                <a:cubicBezTo>
                  <a:pt x="293" y="185"/>
                  <a:pt x="293" y="185"/>
                  <a:pt x="293" y="185"/>
                </a:cubicBezTo>
                <a:cubicBezTo>
                  <a:pt x="293" y="184"/>
                  <a:pt x="293" y="184"/>
                  <a:pt x="293" y="184"/>
                </a:cubicBezTo>
                <a:cubicBezTo>
                  <a:pt x="293" y="182"/>
                  <a:pt x="293" y="182"/>
                  <a:pt x="293" y="182"/>
                </a:cubicBezTo>
                <a:cubicBezTo>
                  <a:pt x="292" y="181"/>
                  <a:pt x="292" y="181"/>
                  <a:pt x="292" y="181"/>
                </a:cubicBezTo>
                <a:cubicBezTo>
                  <a:pt x="293" y="180"/>
                  <a:pt x="293" y="180"/>
                  <a:pt x="293" y="180"/>
                </a:cubicBezTo>
                <a:cubicBezTo>
                  <a:pt x="293" y="178"/>
                  <a:pt x="293" y="178"/>
                  <a:pt x="293" y="178"/>
                </a:cubicBezTo>
                <a:cubicBezTo>
                  <a:pt x="293" y="177"/>
                  <a:pt x="293" y="177"/>
                  <a:pt x="293" y="177"/>
                </a:cubicBezTo>
                <a:cubicBezTo>
                  <a:pt x="292" y="177"/>
                  <a:pt x="292" y="177"/>
                  <a:pt x="292" y="177"/>
                </a:cubicBezTo>
                <a:cubicBezTo>
                  <a:pt x="292" y="176"/>
                  <a:pt x="292" y="176"/>
                  <a:pt x="292" y="176"/>
                </a:cubicBezTo>
                <a:cubicBezTo>
                  <a:pt x="292" y="175"/>
                  <a:pt x="292" y="175"/>
                  <a:pt x="292" y="175"/>
                </a:cubicBezTo>
                <a:cubicBezTo>
                  <a:pt x="290" y="174"/>
                  <a:pt x="290" y="174"/>
                  <a:pt x="290" y="174"/>
                </a:cubicBezTo>
                <a:cubicBezTo>
                  <a:pt x="291" y="172"/>
                  <a:pt x="291" y="172"/>
                  <a:pt x="291" y="172"/>
                </a:cubicBezTo>
                <a:cubicBezTo>
                  <a:pt x="290" y="170"/>
                  <a:pt x="290" y="170"/>
                  <a:pt x="290" y="170"/>
                </a:cubicBezTo>
                <a:cubicBezTo>
                  <a:pt x="289" y="170"/>
                  <a:pt x="289" y="170"/>
                  <a:pt x="289" y="170"/>
                </a:cubicBezTo>
                <a:cubicBezTo>
                  <a:pt x="289" y="170"/>
                  <a:pt x="289" y="170"/>
                  <a:pt x="289" y="170"/>
                </a:cubicBezTo>
                <a:cubicBezTo>
                  <a:pt x="289" y="168"/>
                  <a:pt x="289" y="168"/>
                  <a:pt x="289" y="168"/>
                </a:cubicBezTo>
                <a:cubicBezTo>
                  <a:pt x="288" y="168"/>
                  <a:pt x="288" y="168"/>
                  <a:pt x="288" y="168"/>
                </a:cubicBezTo>
                <a:cubicBezTo>
                  <a:pt x="287" y="168"/>
                  <a:pt x="287" y="168"/>
                  <a:pt x="287" y="168"/>
                </a:cubicBezTo>
                <a:cubicBezTo>
                  <a:pt x="287" y="168"/>
                  <a:pt x="287" y="168"/>
                  <a:pt x="287" y="168"/>
                </a:cubicBezTo>
                <a:cubicBezTo>
                  <a:pt x="286" y="168"/>
                  <a:pt x="286" y="168"/>
                  <a:pt x="286" y="168"/>
                </a:cubicBezTo>
                <a:cubicBezTo>
                  <a:pt x="285" y="168"/>
                  <a:pt x="285" y="168"/>
                  <a:pt x="285" y="168"/>
                </a:cubicBezTo>
                <a:cubicBezTo>
                  <a:pt x="285" y="166"/>
                  <a:pt x="285" y="166"/>
                  <a:pt x="285" y="166"/>
                </a:cubicBezTo>
                <a:cubicBezTo>
                  <a:pt x="286" y="165"/>
                  <a:pt x="286" y="165"/>
                  <a:pt x="286" y="165"/>
                </a:cubicBezTo>
                <a:cubicBezTo>
                  <a:pt x="287" y="164"/>
                  <a:pt x="287" y="164"/>
                  <a:pt x="287" y="164"/>
                </a:cubicBezTo>
                <a:cubicBezTo>
                  <a:pt x="286" y="163"/>
                  <a:pt x="286" y="163"/>
                  <a:pt x="286" y="163"/>
                </a:cubicBezTo>
                <a:cubicBezTo>
                  <a:pt x="286" y="162"/>
                  <a:pt x="286" y="162"/>
                  <a:pt x="286" y="162"/>
                </a:cubicBezTo>
                <a:cubicBezTo>
                  <a:pt x="286" y="160"/>
                  <a:pt x="286" y="160"/>
                  <a:pt x="286" y="160"/>
                </a:cubicBezTo>
                <a:cubicBezTo>
                  <a:pt x="286" y="159"/>
                  <a:pt x="286" y="159"/>
                  <a:pt x="286" y="159"/>
                </a:cubicBezTo>
                <a:cubicBezTo>
                  <a:pt x="287" y="157"/>
                  <a:pt x="287" y="157"/>
                  <a:pt x="287" y="157"/>
                </a:cubicBezTo>
                <a:cubicBezTo>
                  <a:pt x="289" y="157"/>
                  <a:pt x="289" y="157"/>
                  <a:pt x="289" y="157"/>
                </a:cubicBezTo>
                <a:cubicBezTo>
                  <a:pt x="289" y="156"/>
                  <a:pt x="289" y="156"/>
                  <a:pt x="289" y="156"/>
                </a:cubicBezTo>
                <a:cubicBezTo>
                  <a:pt x="290" y="156"/>
                  <a:pt x="290" y="156"/>
                  <a:pt x="290" y="156"/>
                </a:cubicBezTo>
                <a:cubicBezTo>
                  <a:pt x="290" y="156"/>
                  <a:pt x="290" y="156"/>
                  <a:pt x="290" y="156"/>
                </a:cubicBezTo>
                <a:cubicBezTo>
                  <a:pt x="292" y="156"/>
                  <a:pt x="292" y="156"/>
                  <a:pt x="292" y="156"/>
                </a:cubicBezTo>
                <a:cubicBezTo>
                  <a:pt x="293" y="156"/>
                  <a:pt x="293" y="156"/>
                  <a:pt x="293" y="156"/>
                </a:cubicBezTo>
                <a:cubicBezTo>
                  <a:pt x="294" y="157"/>
                  <a:pt x="294" y="157"/>
                  <a:pt x="294" y="157"/>
                </a:cubicBezTo>
                <a:cubicBezTo>
                  <a:pt x="293" y="157"/>
                  <a:pt x="293" y="157"/>
                  <a:pt x="293" y="157"/>
                </a:cubicBezTo>
                <a:cubicBezTo>
                  <a:pt x="293" y="158"/>
                  <a:pt x="293" y="158"/>
                  <a:pt x="293" y="158"/>
                </a:cubicBezTo>
                <a:cubicBezTo>
                  <a:pt x="292" y="158"/>
                  <a:pt x="292" y="158"/>
                  <a:pt x="292" y="158"/>
                </a:cubicBezTo>
                <a:cubicBezTo>
                  <a:pt x="293" y="158"/>
                  <a:pt x="293" y="158"/>
                  <a:pt x="293" y="158"/>
                </a:cubicBezTo>
                <a:cubicBezTo>
                  <a:pt x="294" y="159"/>
                  <a:pt x="294" y="159"/>
                  <a:pt x="294" y="159"/>
                </a:cubicBezTo>
                <a:cubicBezTo>
                  <a:pt x="294" y="160"/>
                  <a:pt x="294" y="160"/>
                  <a:pt x="294" y="160"/>
                </a:cubicBezTo>
                <a:cubicBezTo>
                  <a:pt x="295" y="162"/>
                  <a:pt x="295" y="162"/>
                  <a:pt x="295" y="162"/>
                </a:cubicBezTo>
                <a:cubicBezTo>
                  <a:pt x="295" y="163"/>
                  <a:pt x="295" y="163"/>
                  <a:pt x="295" y="163"/>
                </a:cubicBezTo>
                <a:cubicBezTo>
                  <a:pt x="296" y="164"/>
                  <a:pt x="296" y="164"/>
                  <a:pt x="296" y="164"/>
                </a:cubicBezTo>
                <a:cubicBezTo>
                  <a:pt x="297" y="164"/>
                  <a:pt x="297" y="164"/>
                  <a:pt x="297" y="164"/>
                </a:cubicBezTo>
                <a:cubicBezTo>
                  <a:pt x="298" y="164"/>
                  <a:pt x="298" y="164"/>
                  <a:pt x="298" y="164"/>
                </a:cubicBezTo>
                <a:cubicBezTo>
                  <a:pt x="297" y="163"/>
                  <a:pt x="297" y="163"/>
                  <a:pt x="297" y="163"/>
                </a:cubicBezTo>
                <a:cubicBezTo>
                  <a:pt x="298" y="162"/>
                  <a:pt x="298" y="162"/>
                  <a:pt x="298" y="162"/>
                </a:cubicBezTo>
                <a:cubicBezTo>
                  <a:pt x="299" y="161"/>
                  <a:pt x="299" y="161"/>
                  <a:pt x="299" y="161"/>
                </a:cubicBezTo>
                <a:cubicBezTo>
                  <a:pt x="299" y="160"/>
                  <a:pt x="299" y="160"/>
                  <a:pt x="299" y="160"/>
                </a:cubicBezTo>
                <a:cubicBezTo>
                  <a:pt x="300" y="159"/>
                  <a:pt x="300" y="159"/>
                  <a:pt x="300" y="159"/>
                </a:cubicBezTo>
                <a:cubicBezTo>
                  <a:pt x="300" y="158"/>
                  <a:pt x="300" y="158"/>
                  <a:pt x="300" y="158"/>
                </a:cubicBezTo>
                <a:cubicBezTo>
                  <a:pt x="299" y="157"/>
                  <a:pt x="299" y="157"/>
                  <a:pt x="299" y="157"/>
                </a:cubicBezTo>
                <a:cubicBezTo>
                  <a:pt x="300" y="157"/>
                  <a:pt x="300" y="157"/>
                  <a:pt x="300" y="157"/>
                </a:cubicBezTo>
                <a:cubicBezTo>
                  <a:pt x="301" y="156"/>
                  <a:pt x="301" y="156"/>
                  <a:pt x="301" y="156"/>
                </a:cubicBezTo>
                <a:cubicBezTo>
                  <a:pt x="302" y="157"/>
                  <a:pt x="302" y="157"/>
                  <a:pt x="302" y="157"/>
                </a:cubicBezTo>
                <a:cubicBezTo>
                  <a:pt x="302" y="158"/>
                  <a:pt x="302" y="158"/>
                  <a:pt x="302" y="158"/>
                </a:cubicBezTo>
                <a:cubicBezTo>
                  <a:pt x="303" y="158"/>
                  <a:pt x="303" y="158"/>
                  <a:pt x="303" y="158"/>
                </a:cubicBezTo>
                <a:cubicBezTo>
                  <a:pt x="303" y="157"/>
                  <a:pt x="303" y="157"/>
                  <a:pt x="303" y="157"/>
                </a:cubicBezTo>
                <a:cubicBezTo>
                  <a:pt x="302" y="156"/>
                  <a:pt x="302" y="156"/>
                  <a:pt x="302" y="156"/>
                </a:cubicBezTo>
                <a:cubicBezTo>
                  <a:pt x="302" y="155"/>
                  <a:pt x="302" y="155"/>
                  <a:pt x="302" y="155"/>
                </a:cubicBezTo>
                <a:cubicBezTo>
                  <a:pt x="301" y="155"/>
                  <a:pt x="301" y="155"/>
                  <a:pt x="301" y="155"/>
                </a:cubicBezTo>
                <a:cubicBezTo>
                  <a:pt x="301" y="156"/>
                  <a:pt x="301" y="156"/>
                  <a:pt x="301" y="156"/>
                </a:cubicBezTo>
                <a:cubicBezTo>
                  <a:pt x="299" y="156"/>
                  <a:pt x="299" y="156"/>
                  <a:pt x="299" y="156"/>
                </a:cubicBezTo>
                <a:cubicBezTo>
                  <a:pt x="298" y="154"/>
                  <a:pt x="298" y="154"/>
                  <a:pt x="298" y="154"/>
                </a:cubicBezTo>
                <a:cubicBezTo>
                  <a:pt x="298" y="154"/>
                  <a:pt x="298" y="154"/>
                  <a:pt x="298" y="154"/>
                </a:cubicBezTo>
                <a:cubicBezTo>
                  <a:pt x="297" y="152"/>
                  <a:pt x="297" y="152"/>
                  <a:pt x="297" y="152"/>
                </a:cubicBezTo>
                <a:cubicBezTo>
                  <a:pt x="297" y="151"/>
                  <a:pt x="297" y="151"/>
                  <a:pt x="297" y="151"/>
                </a:cubicBezTo>
                <a:cubicBezTo>
                  <a:pt x="298" y="150"/>
                  <a:pt x="298" y="150"/>
                  <a:pt x="298" y="150"/>
                </a:cubicBezTo>
                <a:cubicBezTo>
                  <a:pt x="299" y="150"/>
                  <a:pt x="299" y="150"/>
                  <a:pt x="299" y="150"/>
                </a:cubicBezTo>
                <a:cubicBezTo>
                  <a:pt x="299" y="149"/>
                  <a:pt x="299" y="149"/>
                  <a:pt x="299" y="149"/>
                </a:cubicBezTo>
                <a:cubicBezTo>
                  <a:pt x="300" y="150"/>
                  <a:pt x="300" y="150"/>
                  <a:pt x="300" y="150"/>
                </a:cubicBezTo>
                <a:cubicBezTo>
                  <a:pt x="301" y="151"/>
                  <a:pt x="301" y="151"/>
                  <a:pt x="301" y="151"/>
                </a:cubicBezTo>
                <a:cubicBezTo>
                  <a:pt x="301" y="153"/>
                  <a:pt x="301" y="153"/>
                  <a:pt x="301" y="153"/>
                </a:cubicBezTo>
                <a:cubicBezTo>
                  <a:pt x="302" y="153"/>
                  <a:pt x="302" y="153"/>
                  <a:pt x="302" y="153"/>
                </a:cubicBezTo>
                <a:cubicBezTo>
                  <a:pt x="302" y="152"/>
                  <a:pt x="302" y="152"/>
                  <a:pt x="302" y="152"/>
                </a:cubicBezTo>
                <a:cubicBezTo>
                  <a:pt x="302" y="151"/>
                  <a:pt x="302" y="151"/>
                  <a:pt x="302" y="151"/>
                </a:cubicBezTo>
                <a:cubicBezTo>
                  <a:pt x="302" y="150"/>
                  <a:pt x="302" y="150"/>
                  <a:pt x="302" y="150"/>
                </a:cubicBezTo>
                <a:cubicBezTo>
                  <a:pt x="301" y="150"/>
                  <a:pt x="301" y="150"/>
                  <a:pt x="301" y="150"/>
                </a:cubicBezTo>
                <a:cubicBezTo>
                  <a:pt x="301" y="148"/>
                  <a:pt x="301" y="148"/>
                  <a:pt x="301" y="148"/>
                </a:cubicBezTo>
                <a:cubicBezTo>
                  <a:pt x="301" y="147"/>
                  <a:pt x="301" y="147"/>
                  <a:pt x="301" y="147"/>
                </a:cubicBezTo>
                <a:cubicBezTo>
                  <a:pt x="301" y="147"/>
                  <a:pt x="301" y="147"/>
                  <a:pt x="301" y="147"/>
                </a:cubicBezTo>
                <a:cubicBezTo>
                  <a:pt x="302" y="146"/>
                  <a:pt x="302" y="146"/>
                  <a:pt x="302" y="146"/>
                </a:cubicBezTo>
                <a:cubicBezTo>
                  <a:pt x="303" y="145"/>
                  <a:pt x="303" y="145"/>
                  <a:pt x="303" y="145"/>
                </a:cubicBezTo>
                <a:cubicBezTo>
                  <a:pt x="304" y="145"/>
                  <a:pt x="304" y="145"/>
                  <a:pt x="304" y="145"/>
                </a:cubicBezTo>
                <a:cubicBezTo>
                  <a:pt x="304" y="145"/>
                  <a:pt x="304" y="145"/>
                  <a:pt x="304" y="145"/>
                </a:cubicBezTo>
                <a:cubicBezTo>
                  <a:pt x="305" y="147"/>
                  <a:pt x="305" y="147"/>
                  <a:pt x="305" y="147"/>
                </a:cubicBezTo>
                <a:cubicBezTo>
                  <a:pt x="307" y="147"/>
                  <a:pt x="307" y="147"/>
                  <a:pt x="307" y="147"/>
                </a:cubicBezTo>
                <a:cubicBezTo>
                  <a:pt x="307" y="146"/>
                  <a:pt x="307" y="146"/>
                  <a:pt x="307" y="146"/>
                </a:cubicBezTo>
                <a:cubicBezTo>
                  <a:pt x="306" y="146"/>
                  <a:pt x="306" y="146"/>
                  <a:pt x="306" y="146"/>
                </a:cubicBezTo>
                <a:cubicBezTo>
                  <a:pt x="305" y="145"/>
                  <a:pt x="305" y="145"/>
                  <a:pt x="305" y="145"/>
                </a:cubicBezTo>
                <a:cubicBezTo>
                  <a:pt x="306" y="145"/>
                  <a:pt x="306" y="145"/>
                  <a:pt x="306" y="145"/>
                </a:cubicBezTo>
                <a:cubicBezTo>
                  <a:pt x="307" y="144"/>
                  <a:pt x="307" y="144"/>
                  <a:pt x="307" y="144"/>
                </a:cubicBezTo>
                <a:cubicBezTo>
                  <a:pt x="309" y="145"/>
                  <a:pt x="309" y="145"/>
                  <a:pt x="309" y="145"/>
                </a:cubicBezTo>
                <a:cubicBezTo>
                  <a:pt x="309" y="145"/>
                  <a:pt x="309" y="145"/>
                  <a:pt x="309" y="145"/>
                </a:cubicBezTo>
                <a:cubicBezTo>
                  <a:pt x="308" y="146"/>
                  <a:pt x="308" y="146"/>
                  <a:pt x="308" y="146"/>
                </a:cubicBezTo>
                <a:cubicBezTo>
                  <a:pt x="308" y="146"/>
                  <a:pt x="308" y="146"/>
                  <a:pt x="308" y="146"/>
                </a:cubicBezTo>
                <a:cubicBezTo>
                  <a:pt x="309" y="147"/>
                  <a:pt x="309" y="147"/>
                  <a:pt x="309" y="147"/>
                </a:cubicBezTo>
                <a:cubicBezTo>
                  <a:pt x="310" y="148"/>
                  <a:pt x="310" y="148"/>
                  <a:pt x="310" y="148"/>
                </a:cubicBezTo>
                <a:cubicBezTo>
                  <a:pt x="311" y="148"/>
                  <a:pt x="311" y="148"/>
                  <a:pt x="311" y="148"/>
                </a:cubicBezTo>
                <a:cubicBezTo>
                  <a:pt x="312" y="148"/>
                  <a:pt x="312" y="148"/>
                  <a:pt x="312" y="148"/>
                </a:cubicBezTo>
                <a:cubicBezTo>
                  <a:pt x="314" y="148"/>
                  <a:pt x="314" y="148"/>
                  <a:pt x="314" y="148"/>
                </a:cubicBezTo>
                <a:cubicBezTo>
                  <a:pt x="315" y="148"/>
                  <a:pt x="315" y="148"/>
                  <a:pt x="315" y="148"/>
                </a:cubicBezTo>
                <a:cubicBezTo>
                  <a:pt x="315" y="148"/>
                  <a:pt x="315" y="148"/>
                  <a:pt x="315" y="148"/>
                </a:cubicBezTo>
                <a:cubicBezTo>
                  <a:pt x="318" y="148"/>
                  <a:pt x="318" y="148"/>
                  <a:pt x="318" y="148"/>
                </a:cubicBezTo>
                <a:cubicBezTo>
                  <a:pt x="319" y="149"/>
                  <a:pt x="319" y="149"/>
                  <a:pt x="319" y="149"/>
                </a:cubicBezTo>
                <a:cubicBezTo>
                  <a:pt x="320" y="149"/>
                  <a:pt x="320" y="149"/>
                  <a:pt x="320" y="149"/>
                </a:cubicBezTo>
                <a:cubicBezTo>
                  <a:pt x="320" y="150"/>
                  <a:pt x="320" y="150"/>
                  <a:pt x="320" y="150"/>
                </a:cubicBezTo>
                <a:cubicBezTo>
                  <a:pt x="320" y="150"/>
                  <a:pt x="320" y="150"/>
                  <a:pt x="320" y="150"/>
                </a:cubicBezTo>
                <a:cubicBezTo>
                  <a:pt x="321" y="151"/>
                  <a:pt x="321" y="151"/>
                  <a:pt x="321" y="151"/>
                </a:cubicBezTo>
                <a:cubicBezTo>
                  <a:pt x="320" y="152"/>
                  <a:pt x="320" y="152"/>
                  <a:pt x="320" y="152"/>
                </a:cubicBezTo>
                <a:cubicBezTo>
                  <a:pt x="318" y="153"/>
                  <a:pt x="318" y="153"/>
                  <a:pt x="318" y="153"/>
                </a:cubicBezTo>
                <a:cubicBezTo>
                  <a:pt x="317" y="153"/>
                  <a:pt x="317" y="153"/>
                  <a:pt x="317" y="153"/>
                </a:cubicBezTo>
                <a:cubicBezTo>
                  <a:pt x="317" y="152"/>
                  <a:pt x="317" y="152"/>
                  <a:pt x="317" y="152"/>
                </a:cubicBezTo>
                <a:cubicBezTo>
                  <a:pt x="317" y="153"/>
                  <a:pt x="317" y="153"/>
                  <a:pt x="317" y="153"/>
                </a:cubicBezTo>
                <a:cubicBezTo>
                  <a:pt x="316" y="153"/>
                  <a:pt x="316" y="153"/>
                  <a:pt x="316" y="153"/>
                </a:cubicBezTo>
                <a:cubicBezTo>
                  <a:pt x="316" y="154"/>
                  <a:pt x="316" y="154"/>
                  <a:pt x="316" y="154"/>
                </a:cubicBezTo>
                <a:cubicBezTo>
                  <a:pt x="317" y="155"/>
                  <a:pt x="317" y="155"/>
                  <a:pt x="317" y="155"/>
                </a:cubicBezTo>
                <a:cubicBezTo>
                  <a:pt x="317" y="155"/>
                  <a:pt x="317" y="155"/>
                  <a:pt x="317" y="155"/>
                </a:cubicBezTo>
                <a:cubicBezTo>
                  <a:pt x="317" y="157"/>
                  <a:pt x="317" y="157"/>
                  <a:pt x="317" y="157"/>
                </a:cubicBezTo>
                <a:cubicBezTo>
                  <a:pt x="316" y="157"/>
                  <a:pt x="316" y="157"/>
                  <a:pt x="316" y="157"/>
                </a:cubicBezTo>
                <a:cubicBezTo>
                  <a:pt x="316" y="157"/>
                  <a:pt x="316" y="157"/>
                  <a:pt x="316" y="157"/>
                </a:cubicBezTo>
                <a:cubicBezTo>
                  <a:pt x="315" y="157"/>
                  <a:pt x="315" y="157"/>
                  <a:pt x="315" y="157"/>
                </a:cubicBezTo>
                <a:cubicBezTo>
                  <a:pt x="313" y="157"/>
                  <a:pt x="313" y="157"/>
                  <a:pt x="313" y="157"/>
                </a:cubicBezTo>
                <a:cubicBezTo>
                  <a:pt x="313" y="158"/>
                  <a:pt x="313" y="158"/>
                  <a:pt x="313" y="158"/>
                </a:cubicBezTo>
                <a:cubicBezTo>
                  <a:pt x="311" y="159"/>
                  <a:pt x="311" y="159"/>
                  <a:pt x="311" y="159"/>
                </a:cubicBezTo>
                <a:cubicBezTo>
                  <a:pt x="309" y="160"/>
                  <a:pt x="309" y="160"/>
                  <a:pt x="309" y="160"/>
                </a:cubicBezTo>
                <a:cubicBezTo>
                  <a:pt x="308" y="160"/>
                  <a:pt x="308" y="160"/>
                  <a:pt x="308" y="160"/>
                </a:cubicBezTo>
                <a:cubicBezTo>
                  <a:pt x="307" y="161"/>
                  <a:pt x="307" y="161"/>
                  <a:pt x="307" y="161"/>
                </a:cubicBezTo>
                <a:cubicBezTo>
                  <a:pt x="307" y="162"/>
                  <a:pt x="307" y="162"/>
                  <a:pt x="307" y="162"/>
                </a:cubicBezTo>
                <a:cubicBezTo>
                  <a:pt x="308" y="162"/>
                  <a:pt x="308" y="162"/>
                  <a:pt x="308" y="162"/>
                </a:cubicBezTo>
                <a:cubicBezTo>
                  <a:pt x="309" y="161"/>
                  <a:pt x="309" y="161"/>
                  <a:pt x="309" y="161"/>
                </a:cubicBezTo>
                <a:cubicBezTo>
                  <a:pt x="310" y="161"/>
                  <a:pt x="310" y="161"/>
                  <a:pt x="310" y="161"/>
                </a:cubicBezTo>
                <a:cubicBezTo>
                  <a:pt x="311" y="161"/>
                  <a:pt x="311" y="161"/>
                  <a:pt x="311" y="161"/>
                </a:cubicBezTo>
                <a:cubicBezTo>
                  <a:pt x="313" y="162"/>
                  <a:pt x="313" y="162"/>
                  <a:pt x="313" y="162"/>
                </a:cubicBezTo>
                <a:cubicBezTo>
                  <a:pt x="313" y="163"/>
                  <a:pt x="313" y="163"/>
                  <a:pt x="313" y="163"/>
                </a:cubicBezTo>
                <a:cubicBezTo>
                  <a:pt x="313" y="164"/>
                  <a:pt x="313" y="164"/>
                  <a:pt x="313" y="164"/>
                </a:cubicBezTo>
                <a:cubicBezTo>
                  <a:pt x="312" y="164"/>
                  <a:pt x="312" y="164"/>
                  <a:pt x="312" y="164"/>
                </a:cubicBezTo>
                <a:cubicBezTo>
                  <a:pt x="313" y="164"/>
                  <a:pt x="313" y="164"/>
                  <a:pt x="313" y="164"/>
                </a:cubicBezTo>
                <a:cubicBezTo>
                  <a:pt x="313" y="165"/>
                  <a:pt x="313" y="165"/>
                  <a:pt x="313" y="165"/>
                </a:cubicBezTo>
                <a:cubicBezTo>
                  <a:pt x="313" y="166"/>
                  <a:pt x="313" y="166"/>
                  <a:pt x="313" y="166"/>
                </a:cubicBezTo>
                <a:cubicBezTo>
                  <a:pt x="312" y="167"/>
                  <a:pt x="312" y="167"/>
                  <a:pt x="312" y="167"/>
                </a:cubicBezTo>
                <a:cubicBezTo>
                  <a:pt x="312" y="168"/>
                  <a:pt x="312" y="168"/>
                  <a:pt x="312" y="168"/>
                </a:cubicBezTo>
                <a:cubicBezTo>
                  <a:pt x="312" y="169"/>
                  <a:pt x="312" y="169"/>
                  <a:pt x="312" y="169"/>
                </a:cubicBezTo>
                <a:cubicBezTo>
                  <a:pt x="313" y="167"/>
                  <a:pt x="313" y="167"/>
                  <a:pt x="313" y="167"/>
                </a:cubicBezTo>
                <a:cubicBezTo>
                  <a:pt x="315" y="167"/>
                  <a:pt x="315" y="167"/>
                  <a:pt x="315" y="167"/>
                </a:cubicBezTo>
                <a:cubicBezTo>
                  <a:pt x="315" y="166"/>
                  <a:pt x="315" y="166"/>
                  <a:pt x="315" y="166"/>
                </a:cubicBezTo>
                <a:cubicBezTo>
                  <a:pt x="316" y="166"/>
                  <a:pt x="316" y="166"/>
                  <a:pt x="316" y="166"/>
                </a:cubicBezTo>
                <a:cubicBezTo>
                  <a:pt x="315" y="167"/>
                  <a:pt x="315" y="167"/>
                  <a:pt x="315" y="167"/>
                </a:cubicBezTo>
                <a:cubicBezTo>
                  <a:pt x="315" y="169"/>
                  <a:pt x="315" y="169"/>
                  <a:pt x="315" y="169"/>
                </a:cubicBezTo>
                <a:cubicBezTo>
                  <a:pt x="314" y="171"/>
                  <a:pt x="314" y="171"/>
                  <a:pt x="314" y="171"/>
                </a:cubicBezTo>
                <a:cubicBezTo>
                  <a:pt x="314" y="172"/>
                  <a:pt x="314" y="172"/>
                  <a:pt x="314" y="172"/>
                </a:cubicBezTo>
                <a:cubicBezTo>
                  <a:pt x="312" y="173"/>
                  <a:pt x="312" y="173"/>
                  <a:pt x="312" y="173"/>
                </a:cubicBezTo>
                <a:cubicBezTo>
                  <a:pt x="311" y="173"/>
                  <a:pt x="311" y="173"/>
                  <a:pt x="311" y="173"/>
                </a:cubicBezTo>
                <a:cubicBezTo>
                  <a:pt x="311" y="174"/>
                  <a:pt x="311" y="174"/>
                  <a:pt x="311" y="174"/>
                </a:cubicBezTo>
                <a:cubicBezTo>
                  <a:pt x="311" y="174"/>
                  <a:pt x="311" y="174"/>
                  <a:pt x="311" y="174"/>
                </a:cubicBezTo>
                <a:cubicBezTo>
                  <a:pt x="311" y="176"/>
                  <a:pt x="311" y="176"/>
                  <a:pt x="311" y="176"/>
                </a:cubicBezTo>
                <a:cubicBezTo>
                  <a:pt x="310" y="176"/>
                  <a:pt x="310" y="176"/>
                  <a:pt x="310" y="176"/>
                </a:cubicBezTo>
                <a:cubicBezTo>
                  <a:pt x="310" y="176"/>
                  <a:pt x="310" y="176"/>
                  <a:pt x="310" y="176"/>
                </a:cubicBezTo>
                <a:cubicBezTo>
                  <a:pt x="309" y="176"/>
                  <a:pt x="309" y="176"/>
                  <a:pt x="309" y="176"/>
                </a:cubicBezTo>
                <a:cubicBezTo>
                  <a:pt x="309" y="177"/>
                  <a:pt x="309" y="177"/>
                  <a:pt x="309" y="177"/>
                </a:cubicBezTo>
                <a:cubicBezTo>
                  <a:pt x="311" y="178"/>
                  <a:pt x="311" y="178"/>
                  <a:pt x="311" y="178"/>
                </a:cubicBezTo>
                <a:cubicBezTo>
                  <a:pt x="310" y="178"/>
                  <a:pt x="310" y="178"/>
                  <a:pt x="310" y="178"/>
                </a:cubicBezTo>
                <a:cubicBezTo>
                  <a:pt x="309" y="178"/>
                  <a:pt x="309" y="178"/>
                  <a:pt x="309" y="178"/>
                </a:cubicBezTo>
                <a:cubicBezTo>
                  <a:pt x="310" y="179"/>
                  <a:pt x="310" y="179"/>
                  <a:pt x="310" y="179"/>
                </a:cubicBezTo>
                <a:cubicBezTo>
                  <a:pt x="309" y="181"/>
                  <a:pt x="309" y="181"/>
                  <a:pt x="309" y="181"/>
                </a:cubicBezTo>
                <a:cubicBezTo>
                  <a:pt x="308" y="180"/>
                  <a:pt x="308" y="180"/>
                  <a:pt x="308" y="180"/>
                </a:cubicBezTo>
                <a:cubicBezTo>
                  <a:pt x="307" y="181"/>
                  <a:pt x="307" y="181"/>
                  <a:pt x="307" y="181"/>
                </a:cubicBezTo>
                <a:cubicBezTo>
                  <a:pt x="306" y="181"/>
                  <a:pt x="306" y="181"/>
                  <a:pt x="306" y="181"/>
                </a:cubicBezTo>
                <a:cubicBezTo>
                  <a:pt x="305" y="181"/>
                  <a:pt x="305" y="181"/>
                  <a:pt x="305" y="181"/>
                </a:cubicBezTo>
                <a:cubicBezTo>
                  <a:pt x="305" y="182"/>
                  <a:pt x="305" y="182"/>
                  <a:pt x="305" y="182"/>
                </a:cubicBezTo>
                <a:cubicBezTo>
                  <a:pt x="303" y="183"/>
                  <a:pt x="303" y="183"/>
                  <a:pt x="303" y="183"/>
                </a:cubicBezTo>
                <a:cubicBezTo>
                  <a:pt x="301" y="182"/>
                  <a:pt x="301" y="182"/>
                  <a:pt x="301" y="182"/>
                </a:cubicBezTo>
                <a:cubicBezTo>
                  <a:pt x="300" y="183"/>
                  <a:pt x="300" y="183"/>
                  <a:pt x="300" y="183"/>
                </a:cubicBezTo>
                <a:cubicBezTo>
                  <a:pt x="299" y="182"/>
                  <a:pt x="299" y="182"/>
                  <a:pt x="299" y="182"/>
                </a:cubicBezTo>
                <a:cubicBezTo>
                  <a:pt x="299" y="180"/>
                  <a:pt x="299" y="180"/>
                  <a:pt x="299" y="180"/>
                </a:cubicBezTo>
                <a:cubicBezTo>
                  <a:pt x="300" y="178"/>
                  <a:pt x="300" y="178"/>
                  <a:pt x="300" y="178"/>
                </a:cubicBezTo>
                <a:cubicBezTo>
                  <a:pt x="300" y="177"/>
                  <a:pt x="300" y="177"/>
                  <a:pt x="300" y="177"/>
                </a:cubicBezTo>
                <a:cubicBezTo>
                  <a:pt x="298" y="179"/>
                  <a:pt x="298" y="179"/>
                  <a:pt x="298" y="179"/>
                </a:cubicBezTo>
                <a:cubicBezTo>
                  <a:pt x="298" y="181"/>
                  <a:pt x="298" y="181"/>
                  <a:pt x="298" y="181"/>
                </a:cubicBezTo>
                <a:cubicBezTo>
                  <a:pt x="299" y="183"/>
                  <a:pt x="299" y="183"/>
                  <a:pt x="299" y="183"/>
                </a:cubicBezTo>
                <a:cubicBezTo>
                  <a:pt x="299" y="184"/>
                  <a:pt x="299" y="184"/>
                  <a:pt x="299" y="184"/>
                </a:cubicBezTo>
                <a:cubicBezTo>
                  <a:pt x="299" y="185"/>
                  <a:pt x="299" y="185"/>
                  <a:pt x="299" y="185"/>
                </a:cubicBezTo>
                <a:cubicBezTo>
                  <a:pt x="298" y="186"/>
                  <a:pt x="298" y="186"/>
                  <a:pt x="298" y="186"/>
                </a:cubicBezTo>
                <a:cubicBezTo>
                  <a:pt x="297" y="187"/>
                  <a:pt x="297" y="187"/>
                  <a:pt x="297" y="187"/>
                </a:cubicBezTo>
                <a:cubicBezTo>
                  <a:pt x="297" y="187"/>
                  <a:pt x="295" y="187"/>
                  <a:pt x="295" y="187"/>
                </a:cubicBezTo>
                <a:close/>
                <a:moveTo>
                  <a:pt x="316" y="158"/>
                </a:moveTo>
                <a:cubicBezTo>
                  <a:pt x="316" y="159"/>
                  <a:pt x="316" y="159"/>
                  <a:pt x="316" y="159"/>
                </a:cubicBezTo>
                <a:cubicBezTo>
                  <a:pt x="317" y="159"/>
                  <a:pt x="317" y="159"/>
                  <a:pt x="317" y="159"/>
                </a:cubicBezTo>
                <a:cubicBezTo>
                  <a:pt x="317" y="158"/>
                  <a:pt x="317" y="158"/>
                  <a:pt x="317" y="158"/>
                </a:cubicBezTo>
                <a:cubicBezTo>
                  <a:pt x="316" y="158"/>
                  <a:pt x="316" y="158"/>
                  <a:pt x="316" y="158"/>
                </a:cubicBezTo>
                <a:close/>
                <a:moveTo>
                  <a:pt x="315" y="163"/>
                </a:moveTo>
                <a:cubicBezTo>
                  <a:pt x="316" y="163"/>
                  <a:pt x="316" y="163"/>
                  <a:pt x="316" y="163"/>
                </a:cubicBezTo>
                <a:cubicBezTo>
                  <a:pt x="317" y="162"/>
                  <a:pt x="317" y="162"/>
                  <a:pt x="317" y="162"/>
                </a:cubicBezTo>
                <a:cubicBezTo>
                  <a:pt x="317" y="161"/>
                  <a:pt x="317" y="161"/>
                  <a:pt x="317" y="161"/>
                </a:cubicBezTo>
                <a:cubicBezTo>
                  <a:pt x="317" y="160"/>
                  <a:pt x="317" y="160"/>
                  <a:pt x="317" y="160"/>
                </a:cubicBezTo>
                <a:cubicBezTo>
                  <a:pt x="316" y="159"/>
                  <a:pt x="316" y="159"/>
                  <a:pt x="316" y="159"/>
                </a:cubicBezTo>
                <a:cubicBezTo>
                  <a:pt x="316" y="160"/>
                  <a:pt x="316" y="160"/>
                  <a:pt x="316" y="160"/>
                </a:cubicBezTo>
                <a:cubicBezTo>
                  <a:pt x="315" y="161"/>
                  <a:pt x="315" y="161"/>
                  <a:pt x="315" y="161"/>
                </a:cubicBezTo>
                <a:cubicBezTo>
                  <a:pt x="315" y="161"/>
                  <a:pt x="315" y="161"/>
                  <a:pt x="315" y="161"/>
                </a:cubicBezTo>
                <a:cubicBezTo>
                  <a:pt x="315" y="163"/>
                  <a:pt x="315" y="163"/>
                  <a:pt x="315" y="163"/>
                </a:cubicBezTo>
                <a:cubicBezTo>
                  <a:pt x="315" y="163"/>
                  <a:pt x="315" y="163"/>
                  <a:pt x="315" y="163"/>
                </a:cubicBezTo>
                <a:close/>
                <a:moveTo>
                  <a:pt x="315" y="166"/>
                </a:moveTo>
                <a:cubicBezTo>
                  <a:pt x="315" y="166"/>
                  <a:pt x="315" y="166"/>
                  <a:pt x="315" y="166"/>
                </a:cubicBezTo>
                <a:cubicBezTo>
                  <a:pt x="316" y="164"/>
                  <a:pt x="316" y="164"/>
                  <a:pt x="316" y="164"/>
                </a:cubicBezTo>
                <a:cubicBezTo>
                  <a:pt x="315" y="164"/>
                  <a:pt x="315" y="164"/>
                  <a:pt x="315" y="164"/>
                </a:cubicBezTo>
                <a:cubicBezTo>
                  <a:pt x="314" y="165"/>
                  <a:pt x="314" y="165"/>
                  <a:pt x="314" y="165"/>
                </a:cubicBezTo>
                <a:cubicBezTo>
                  <a:pt x="314" y="166"/>
                  <a:pt x="314" y="166"/>
                  <a:pt x="314" y="166"/>
                </a:cubicBezTo>
                <a:cubicBezTo>
                  <a:pt x="315" y="166"/>
                  <a:pt x="315" y="166"/>
                  <a:pt x="315" y="166"/>
                </a:cubicBezTo>
                <a:close/>
                <a:moveTo>
                  <a:pt x="267" y="139"/>
                </a:moveTo>
                <a:cubicBezTo>
                  <a:pt x="267" y="140"/>
                  <a:pt x="267" y="140"/>
                  <a:pt x="267" y="140"/>
                </a:cubicBezTo>
                <a:cubicBezTo>
                  <a:pt x="267" y="140"/>
                  <a:pt x="267" y="140"/>
                  <a:pt x="267" y="140"/>
                </a:cubicBezTo>
                <a:cubicBezTo>
                  <a:pt x="268" y="140"/>
                  <a:pt x="268" y="140"/>
                  <a:pt x="268" y="140"/>
                </a:cubicBezTo>
                <a:cubicBezTo>
                  <a:pt x="269" y="140"/>
                  <a:pt x="269" y="140"/>
                  <a:pt x="269" y="140"/>
                </a:cubicBezTo>
                <a:cubicBezTo>
                  <a:pt x="269" y="140"/>
                  <a:pt x="269" y="140"/>
                  <a:pt x="269" y="140"/>
                </a:cubicBezTo>
                <a:cubicBezTo>
                  <a:pt x="269" y="139"/>
                  <a:pt x="269" y="139"/>
                  <a:pt x="269" y="139"/>
                </a:cubicBezTo>
                <a:cubicBezTo>
                  <a:pt x="267" y="139"/>
                  <a:pt x="267" y="139"/>
                  <a:pt x="267" y="139"/>
                </a:cubicBezTo>
                <a:cubicBezTo>
                  <a:pt x="267" y="139"/>
                  <a:pt x="267" y="139"/>
                  <a:pt x="267" y="139"/>
                </a:cubicBezTo>
                <a:close/>
                <a:moveTo>
                  <a:pt x="275" y="155"/>
                </a:moveTo>
                <a:cubicBezTo>
                  <a:pt x="274" y="154"/>
                  <a:pt x="274" y="154"/>
                  <a:pt x="274" y="154"/>
                </a:cubicBezTo>
                <a:cubicBezTo>
                  <a:pt x="274" y="151"/>
                  <a:pt x="274" y="151"/>
                  <a:pt x="274" y="151"/>
                </a:cubicBezTo>
                <a:cubicBezTo>
                  <a:pt x="273" y="150"/>
                  <a:pt x="273" y="150"/>
                  <a:pt x="273" y="150"/>
                </a:cubicBezTo>
                <a:cubicBezTo>
                  <a:pt x="273" y="149"/>
                  <a:pt x="273" y="149"/>
                  <a:pt x="273" y="149"/>
                </a:cubicBezTo>
                <a:cubicBezTo>
                  <a:pt x="273" y="148"/>
                  <a:pt x="273" y="148"/>
                  <a:pt x="273" y="148"/>
                </a:cubicBezTo>
                <a:cubicBezTo>
                  <a:pt x="273" y="147"/>
                  <a:pt x="273" y="147"/>
                  <a:pt x="273" y="147"/>
                </a:cubicBezTo>
                <a:cubicBezTo>
                  <a:pt x="273" y="145"/>
                  <a:pt x="273" y="145"/>
                  <a:pt x="273" y="145"/>
                </a:cubicBezTo>
                <a:cubicBezTo>
                  <a:pt x="272" y="144"/>
                  <a:pt x="272" y="144"/>
                  <a:pt x="272" y="144"/>
                </a:cubicBezTo>
                <a:cubicBezTo>
                  <a:pt x="271" y="143"/>
                  <a:pt x="271" y="143"/>
                  <a:pt x="271" y="143"/>
                </a:cubicBezTo>
                <a:cubicBezTo>
                  <a:pt x="271" y="142"/>
                  <a:pt x="271" y="142"/>
                  <a:pt x="271" y="142"/>
                </a:cubicBezTo>
                <a:cubicBezTo>
                  <a:pt x="273" y="141"/>
                  <a:pt x="273" y="141"/>
                  <a:pt x="273" y="141"/>
                </a:cubicBezTo>
                <a:cubicBezTo>
                  <a:pt x="274" y="140"/>
                  <a:pt x="274" y="140"/>
                  <a:pt x="274" y="140"/>
                </a:cubicBezTo>
                <a:cubicBezTo>
                  <a:pt x="275" y="139"/>
                  <a:pt x="275" y="139"/>
                  <a:pt x="275" y="139"/>
                </a:cubicBezTo>
                <a:cubicBezTo>
                  <a:pt x="277" y="139"/>
                  <a:pt x="277" y="139"/>
                  <a:pt x="277" y="139"/>
                </a:cubicBezTo>
                <a:cubicBezTo>
                  <a:pt x="278" y="140"/>
                  <a:pt x="278" y="140"/>
                  <a:pt x="278" y="140"/>
                </a:cubicBezTo>
                <a:cubicBezTo>
                  <a:pt x="278" y="140"/>
                  <a:pt x="278" y="140"/>
                  <a:pt x="278" y="140"/>
                </a:cubicBezTo>
                <a:cubicBezTo>
                  <a:pt x="279" y="141"/>
                  <a:pt x="279" y="141"/>
                  <a:pt x="279" y="141"/>
                </a:cubicBezTo>
                <a:cubicBezTo>
                  <a:pt x="280" y="140"/>
                  <a:pt x="280" y="140"/>
                  <a:pt x="280" y="140"/>
                </a:cubicBezTo>
                <a:cubicBezTo>
                  <a:pt x="281" y="141"/>
                  <a:pt x="281" y="141"/>
                  <a:pt x="281" y="141"/>
                </a:cubicBezTo>
                <a:cubicBezTo>
                  <a:pt x="282" y="141"/>
                  <a:pt x="282" y="141"/>
                  <a:pt x="282" y="141"/>
                </a:cubicBezTo>
                <a:cubicBezTo>
                  <a:pt x="283" y="141"/>
                  <a:pt x="283" y="141"/>
                  <a:pt x="283" y="141"/>
                </a:cubicBezTo>
                <a:cubicBezTo>
                  <a:pt x="284" y="142"/>
                  <a:pt x="284" y="142"/>
                  <a:pt x="284" y="142"/>
                </a:cubicBezTo>
                <a:cubicBezTo>
                  <a:pt x="284" y="143"/>
                  <a:pt x="284" y="143"/>
                  <a:pt x="284" y="143"/>
                </a:cubicBezTo>
                <a:cubicBezTo>
                  <a:pt x="284" y="144"/>
                  <a:pt x="284" y="144"/>
                  <a:pt x="284" y="144"/>
                </a:cubicBezTo>
                <a:cubicBezTo>
                  <a:pt x="285" y="145"/>
                  <a:pt x="285" y="145"/>
                  <a:pt x="285" y="145"/>
                </a:cubicBezTo>
                <a:cubicBezTo>
                  <a:pt x="285" y="146"/>
                  <a:pt x="285" y="146"/>
                  <a:pt x="285" y="146"/>
                </a:cubicBezTo>
                <a:cubicBezTo>
                  <a:pt x="284" y="146"/>
                  <a:pt x="284" y="146"/>
                  <a:pt x="284" y="146"/>
                </a:cubicBezTo>
                <a:cubicBezTo>
                  <a:pt x="284" y="147"/>
                  <a:pt x="284" y="147"/>
                  <a:pt x="284" y="147"/>
                </a:cubicBezTo>
                <a:cubicBezTo>
                  <a:pt x="283" y="149"/>
                  <a:pt x="283" y="149"/>
                  <a:pt x="283" y="149"/>
                </a:cubicBezTo>
                <a:cubicBezTo>
                  <a:pt x="282" y="149"/>
                  <a:pt x="282" y="149"/>
                  <a:pt x="282" y="149"/>
                </a:cubicBezTo>
                <a:cubicBezTo>
                  <a:pt x="280" y="150"/>
                  <a:pt x="280" y="150"/>
                  <a:pt x="280" y="150"/>
                </a:cubicBezTo>
                <a:cubicBezTo>
                  <a:pt x="279" y="151"/>
                  <a:pt x="279" y="151"/>
                  <a:pt x="279" y="151"/>
                </a:cubicBezTo>
                <a:cubicBezTo>
                  <a:pt x="277" y="153"/>
                  <a:pt x="277" y="153"/>
                  <a:pt x="277" y="153"/>
                </a:cubicBezTo>
                <a:cubicBezTo>
                  <a:pt x="276" y="153"/>
                  <a:pt x="276" y="153"/>
                  <a:pt x="276" y="153"/>
                </a:cubicBezTo>
                <a:cubicBezTo>
                  <a:pt x="275" y="154"/>
                  <a:pt x="275" y="154"/>
                  <a:pt x="275" y="154"/>
                </a:cubicBezTo>
                <a:cubicBezTo>
                  <a:pt x="275" y="155"/>
                  <a:pt x="275" y="155"/>
                  <a:pt x="275" y="155"/>
                </a:cubicBezTo>
                <a:cubicBezTo>
                  <a:pt x="275" y="155"/>
                  <a:pt x="275" y="155"/>
                  <a:pt x="275" y="155"/>
                </a:cubicBezTo>
                <a:close/>
                <a:moveTo>
                  <a:pt x="320" y="181"/>
                </a:moveTo>
                <a:cubicBezTo>
                  <a:pt x="318" y="179"/>
                  <a:pt x="318" y="179"/>
                  <a:pt x="318" y="179"/>
                </a:cubicBezTo>
                <a:cubicBezTo>
                  <a:pt x="317" y="179"/>
                  <a:pt x="317" y="179"/>
                  <a:pt x="317" y="179"/>
                </a:cubicBezTo>
                <a:cubicBezTo>
                  <a:pt x="315" y="179"/>
                  <a:pt x="315" y="179"/>
                  <a:pt x="315" y="179"/>
                </a:cubicBezTo>
                <a:cubicBezTo>
                  <a:pt x="316" y="178"/>
                  <a:pt x="316" y="178"/>
                  <a:pt x="316" y="178"/>
                </a:cubicBezTo>
                <a:cubicBezTo>
                  <a:pt x="317" y="177"/>
                  <a:pt x="317" y="177"/>
                  <a:pt x="317" y="177"/>
                </a:cubicBezTo>
                <a:cubicBezTo>
                  <a:pt x="317" y="178"/>
                  <a:pt x="317" y="178"/>
                  <a:pt x="317" y="178"/>
                </a:cubicBezTo>
                <a:cubicBezTo>
                  <a:pt x="318" y="177"/>
                  <a:pt x="318" y="177"/>
                  <a:pt x="318" y="177"/>
                </a:cubicBezTo>
                <a:cubicBezTo>
                  <a:pt x="318" y="177"/>
                  <a:pt x="318" y="177"/>
                  <a:pt x="318" y="177"/>
                </a:cubicBezTo>
                <a:cubicBezTo>
                  <a:pt x="317" y="177"/>
                  <a:pt x="317" y="177"/>
                  <a:pt x="317" y="177"/>
                </a:cubicBezTo>
                <a:cubicBezTo>
                  <a:pt x="316" y="176"/>
                  <a:pt x="316" y="176"/>
                  <a:pt x="316" y="176"/>
                </a:cubicBezTo>
                <a:cubicBezTo>
                  <a:pt x="318" y="174"/>
                  <a:pt x="318" y="174"/>
                  <a:pt x="318" y="174"/>
                </a:cubicBezTo>
                <a:cubicBezTo>
                  <a:pt x="318" y="172"/>
                  <a:pt x="318" y="172"/>
                  <a:pt x="318" y="172"/>
                </a:cubicBezTo>
                <a:cubicBezTo>
                  <a:pt x="318" y="171"/>
                  <a:pt x="318" y="171"/>
                  <a:pt x="318" y="171"/>
                </a:cubicBezTo>
                <a:cubicBezTo>
                  <a:pt x="319" y="171"/>
                  <a:pt x="319" y="171"/>
                  <a:pt x="319" y="171"/>
                </a:cubicBezTo>
                <a:cubicBezTo>
                  <a:pt x="319" y="170"/>
                  <a:pt x="319" y="170"/>
                  <a:pt x="319" y="170"/>
                </a:cubicBezTo>
                <a:cubicBezTo>
                  <a:pt x="318" y="169"/>
                  <a:pt x="318" y="169"/>
                  <a:pt x="318" y="169"/>
                </a:cubicBezTo>
                <a:cubicBezTo>
                  <a:pt x="319" y="168"/>
                  <a:pt x="319" y="168"/>
                  <a:pt x="319" y="168"/>
                </a:cubicBezTo>
                <a:cubicBezTo>
                  <a:pt x="319" y="167"/>
                  <a:pt x="319" y="167"/>
                  <a:pt x="319" y="167"/>
                </a:cubicBezTo>
                <a:cubicBezTo>
                  <a:pt x="320" y="164"/>
                  <a:pt x="320" y="164"/>
                  <a:pt x="320" y="164"/>
                </a:cubicBezTo>
                <a:cubicBezTo>
                  <a:pt x="321" y="164"/>
                  <a:pt x="321" y="164"/>
                  <a:pt x="321" y="164"/>
                </a:cubicBezTo>
                <a:cubicBezTo>
                  <a:pt x="321" y="163"/>
                  <a:pt x="321" y="163"/>
                  <a:pt x="321" y="163"/>
                </a:cubicBezTo>
                <a:cubicBezTo>
                  <a:pt x="322" y="162"/>
                  <a:pt x="322" y="162"/>
                  <a:pt x="322" y="162"/>
                </a:cubicBezTo>
                <a:cubicBezTo>
                  <a:pt x="322" y="160"/>
                  <a:pt x="322" y="160"/>
                  <a:pt x="322" y="160"/>
                </a:cubicBezTo>
                <a:cubicBezTo>
                  <a:pt x="323" y="160"/>
                  <a:pt x="323" y="160"/>
                  <a:pt x="323" y="160"/>
                </a:cubicBezTo>
                <a:cubicBezTo>
                  <a:pt x="323" y="158"/>
                  <a:pt x="323" y="158"/>
                  <a:pt x="323" y="158"/>
                </a:cubicBezTo>
                <a:cubicBezTo>
                  <a:pt x="325" y="157"/>
                  <a:pt x="325" y="157"/>
                  <a:pt x="325" y="157"/>
                </a:cubicBezTo>
                <a:cubicBezTo>
                  <a:pt x="325" y="155"/>
                  <a:pt x="325" y="155"/>
                  <a:pt x="325" y="155"/>
                </a:cubicBezTo>
                <a:cubicBezTo>
                  <a:pt x="326" y="155"/>
                  <a:pt x="326" y="155"/>
                  <a:pt x="326" y="155"/>
                </a:cubicBezTo>
                <a:cubicBezTo>
                  <a:pt x="326" y="154"/>
                  <a:pt x="326" y="154"/>
                  <a:pt x="326" y="154"/>
                </a:cubicBezTo>
                <a:cubicBezTo>
                  <a:pt x="326" y="153"/>
                  <a:pt x="326" y="153"/>
                  <a:pt x="326" y="153"/>
                </a:cubicBezTo>
                <a:cubicBezTo>
                  <a:pt x="327" y="152"/>
                  <a:pt x="327" y="152"/>
                  <a:pt x="327" y="152"/>
                </a:cubicBezTo>
                <a:cubicBezTo>
                  <a:pt x="327" y="152"/>
                  <a:pt x="327" y="152"/>
                  <a:pt x="327" y="152"/>
                </a:cubicBezTo>
                <a:cubicBezTo>
                  <a:pt x="328" y="154"/>
                  <a:pt x="328" y="154"/>
                  <a:pt x="328" y="154"/>
                </a:cubicBezTo>
                <a:cubicBezTo>
                  <a:pt x="329" y="155"/>
                  <a:pt x="329" y="155"/>
                  <a:pt x="329" y="155"/>
                </a:cubicBezTo>
                <a:cubicBezTo>
                  <a:pt x="330" y="155"/>
                  <a:pt x="330" y="155"/>
                  <a:pt x="330" y="155"/>
                </a:cubicBezTo>
                <a:cubicBezTo>
                  <a:pt x="330" y="154"/>
                  <a:pt x="330" y="154"/>
                  <a:pt x="330" y="154"/>
                </a:cubicBezTo>
                <a:cubicBezTo>
                  <a:pt x="329" y="152"/>
                  <a:pt x="329" y="152"/>
                  <a:pt x="329" y="152"/>
                </a:cubicBezTo>
                <a:cubicBezTo>
                  <a:pt x="329" y="152"/>
                  <a:pt x="329" y="152"/>
                  <a:pt x="329" y="152"/>
                </a:cubicBezTo>
                <a:cubicBezTo>
                  <a:pt x="330" y="152"/>
                  <a:pt x="330" y="152"/>
                  <a:pt x="330" y="152"/>
                </a:cubicBezTo>
                <a:cubicBezTo>
                  <a:pt x="329" y="150"/>
                  <a:pt x="329" y="150"/>
                  <a:pt x="329" y="150"/>
                </a:cubicBezTo>
                <a:cubicBezTo>
                  <a:pt x="330" y="149"/>
                  <a:pt x="330" y="149"/>
                  <a:pt x="330" y="149"/>
                </a:cubicBezTo>
                <a:cubicBezTo>
                  <a:pt x="333" y="148"/>
                  <a:pt x="333" y="148"/>
                  <a:pt x="333" y="148"/>
                </a:cubicBezTo>
                <a:cubicBezTo>
                  <a:pt x="335" y="148"/>
                  <a:pt x="335" y="148"/>
                  <a:pt x="335" y="148"/>
                </a:cubicBezTo>
                <a:cubicBezTo>
                  <a:pt x="336" y="148"/>
                  <a:pt x="336" y="148"/>
                  <a:pt x="336" y="148"/>
                </a:cubicBezTo>
                <a:cubicBezTo>
                  <a:pt x="336" y="148"/>
                  <a:pt x="336" y="148"/>
                  <a:pt x="336" y="148"/>
                </a:cubicBezTo>
                <a:cubicBezTo>
                  <a:pt x="337" y="148"/>
                  <a:pt x="337" y="148"/>
                  <a:pt x="337" y="148"/>
                </a:cubicBezTo>
                <a:cubicBezTo>
                  <a:pt x="338" y="149"/>
                  <a:pt x="338" y="149"/>
                  <a:pt x="338" y="149"/>
                </a:cubicBezTo>
                <a:cubicBezTo>
                  <a:pt x="339" y="148"/>
                  <a:pt x="339" y="148"/>
                  <a:pt x="339" y="148"/>
                </a:cubicBezTo>
                <a:cubicBezTo>
                  <a:pt x="340" y="148"/>
                  <a:pt x="340" y="148"/>
                  <a:pt x="340" y="148"/>
                </a:cubicBezTo>
                <a:cubicBezTo>
                  <a:pt x="341" y="150"/>
                  <a:pt x="341" y="150"/>
                  <a:pt x="341" y="150"/>
                </a:cubicBezTo>
                <a:cubicBezTo>
                  <a:pt x="342" y="150"/>
                  <a:pt x="342" y="150"/>
                  <a:pt x="342" y="150"/>
                </a:cubicBezTo>
                <a:cubicBezTo>
                  <a:pt x="342" y="150"/>
                  <a:pt x="342" y="150"/>
                  <a:pt x="342" y="150"/>
                </a:cubicBezTo>
                <a:cubicBezTo>
                  <a:pt x="343" y="150"/>
                  <a:pt x="343" y="150"/>
                  <a:pt x="343" y="150"/>
                </a:cubicBezTo>
                <a:cubicBezTo>
                  <a:pt x="344" y="152"/>
                  <a:pt x="344" y="152"/>
                  <a:pt x="344" y="152"/>
                </a:cubicBezTo>
                <a:cubicBezTo>
                  <a:pt x="344" y="153"/>
                  <a:pt x="344" y="153"/>
                  <a:pt x="344" y="153"/>
                </a:cubicBezTo>
                <a:cubicBezTo>
                  <a:pt x="344" y="153"/>
                  <a:pt x="344" y="153"/>
                  <a:pt x="344" y="153"/>
                </a:cubicBezTo>
                <a:cubicBezTo>
                  <a:pt x="345" y="153"/>
                  <a:pt x="345" y="153"/>
                  <a:pt x="345" y="153"/>
                </a:cubicBezTo>
                <a:cubicBezTo>
                  <a:pt x="347" y="153"/>
                  <a:pt x="347" y="153"/>
                  <a:pt x="347" y="153"/>
                </a:cubicBezTo>
                <a:cubicBezTo>
                  <a:pt x="350" y="153"/>
                  <a:pt x="350" y="153"/>
                  <a:pt x="350" y="153"/>
                </a:cubicBezTo>
                <a:cubicBezTo>
                  <a:pt x="351" y="154"/>
                  <a:pt x="351" y="154"/>
                  <a:pt x="351" y="154"/>
                </a:cubicBezTo>
                <a:cubicBezTo>
                  <a:pt x="351" y="155"/>
                  <a:pt x="351" y="155"/>
                  <a:pt x="351" y="155"/>
                </a:cubicBezTo>
                <a:cubicBezTo>
                  <a:pt x="352" y="156"/>
                  <a:pt x="352" y="156"/>
                  <a:pt x="352" y="156"/>
                </a:cubicBezTo>
                <a:cubicBezTo>
                  <a:pt x="352" y="157"/>
                  <a:pt x="352" y="157"/>
                  <a:pt x="352" y="157"/>
                </a:cubicBezTo>
                <a:cubicBezTo>
                  <a:pt x="352" y="156"/>
                  <a:pt x="352" y="156"/>
                  <a:pt x="352" y="156"/>
                </a:cubicBezTo>
                <a:cubicBezTo>
                  <a:pt x="351" y="156"/>
                  <a:pt x="351" y="156"/>
                  <a:pt x="351" y="156"/>
                </a:cubicBezTo>
                <a:cubicBezTo>
                  <a:pt x="351" y="158"/>
                  <a:pt x="351" y="158"/>
                  <a:pt x="351" y="158"/>
                </a:cubicBezTo>
                <a:cubicBezTo>
                  <a:pt x="349" y="159"/>
                  <a:pt x="349" y="159"/>
                  <a:pt x="349" y="159"/>
                </a:cubicBezTo>
                <a:cubicBezTo>
                  <a:pt x="348" y="161"/>
                  <a:pt x="348" y="161"/>
                  <a:pt x="348" y="161"/>
                </a:cubicBezTo>
                <a:cubicBezTo>
                  <a:pt x="347" y="161"/>
                  <a:pt x="347" y="161"/>
                  <a:pt x="347" y="161"/>
                </a:cubicBezTo>
                <a:cubicBezTo>
                  <a:pt x="347" y="162"/>
                  <a:pt x="347" y="162"/>
                  <a:pt x="347" y="162"/>
                </a:cubicBezTo>
                <a:cubicBezTo>
                  <a:pt x="344" y="164"/>
                  <a:pt x="344" y="164"/>
                  <a:pt x="344" y="164"/>
                </a:cubicBezTo>
                <a:cubicBezTo>
                  <a:pt x="343" y="165"/>
                  <a:pt x="343" y="165"/>
                  <a:pt x="343" y="165"/>
                </a:cubicBezTo>
                <a:cubicBezTo>
                  <a:pt x="342" y="165"/>
                  <a:pt x="342" y="165"/>
                  <a:pt x="342" y="165"/>
                </a:cubicBezTo>
                <a:cubicBezTo>
                  <a:pt x="341" y="166"/>
                  <a:pt x="341" y="166"/>
                  <a:pt x="341" y="166"/>
                </a:cubicBezTo>
                <a:cubicBezTo>
                  <a:pt x="342" y="166"/>
                  <a:pt x="342" y="166"/>
                  <a:pt x="342" y="166"/>
                </a:cubicBezTo>
                <a:cubicBezTo>
                  <a:pt x="341" y="167"/>
                  <a:pt x="341" y="167"/>
                  <a:pt x="341" y="167"/>
                </a:cubicBezTo>
                <a:cubicBezTo>
                  <a:pt x="339" y="169"/>
                  <a:pt x="339" y="169"/>
                  <a:pt x="339" y="169"/>
                </a:cubicBezTo>
                <a:cubicBezTo>
                  <a:pt x="338" y="170"/>
                  <a:pt x="338" y="170"/>
                  <a:pt x="338" y="170"/>
                </a:cubicBezTo>
                <a:cubicBezTo>
                  <a:pt x="336" y="172"/>
                  <a:pt x="336" y="172"/>
                  <a:pt x="336" y="172"/>
                </a:cubicBezTo>
                <a:cubicBezTo>
                  <a:pt x="334" y="173"/>
                  <a:pt x="334" y="173"/>
                  <a:pt x="334" y="173"/>
                </a:cubicBezTo>
                <a:cubicBezTo>
                  <a:pt x="333" y="172"/>
                  <a:pt x="333" y="172"/>
                  <a:pt x="333" y="172"/>
                </a:cubicBezTo>
                <a:cubicBezTo>
                  <a:pt x="333" y="172"/>
                  <a:pt x="333" y="172"/>
                  <a:pt x="333" y="172"/>
                </a:cubicBezTo>
                <a:cubicBezTo>
                  <a:pt x="332" y="172"/>
                  <a:pt x="332" y="172"/>
                  <a:pt x="332" y="172"/>
                </a:cubicBezTo>
                <a:cubicBezTo>
                  <a:pt x="331" y="170"/>
                  <a:pt x="331" y="170"/>
                  <a:pt x="331" y="170"/>
                </a:cubicBezTo>
                <a:cubicBezTo>
                  <a:pt x="330" y="169"/>
                  <a:pt x="330" y="169"/>
                  <a:pt x="330" y="169"/>
                </a:cubicBezTo>
                <a:cubicBezTo>
                  <a:pt x="330" y="169"/>
                  <a:pt x="330" y="169"/>
                  <a:pt x="330" y="169"/>
                </a:cubicBezTo>
                <a:cubicBezTo>
                  <a:pt x="329" y="169"/>
                  <a:pt x="329" y="169"/>
                  <a:pt x="329" y="169"/>
                </a:cubicBezTo>
                <a:cubicBezTo>
                  <a:pt x="328" y="169"/>
                  <a:pt x="328" y="169"/>
                  <a:pt x="328" y="169"/>
                </a:cubicBezTo>
                <a:cubicBezTo>
                  <a:pt x="326" y="169"/>
                  <a:pt x="326" y="169"/>
                  <a:pt x="326" y="169"/>
                </a:cubicBezTo>
                <a:cubicBezTo>
                  <a:pt x="326" y="169"/>
                  <a:pt x="326" y="169"/>
                  <a:pt x="326" y="169"/>
                </a:cubicBezTo>
                <a:cubicBezTo>
                  <a:pt x="325" y="169"/>
                  <a:pt x="325" y="169"/>
                  <a:pt x="325" y="169"/>
                </a:cubicBezTo>
                <a:cubicBezTo>
                  <a:pt x="324" y="169"/>
                  <a:pt x="324" y="169"/>
                  <a:pt x="324" y="169"/>
                </a:cubicBezTo>
                <a:cubicBezTo>
                  <a:pt x="325" y="170"/>
                  <a:pt x="325" y="170"/>
                  <a:pt x="325" y="170"/>
                </a:cubicBezTo>
                <a:cubicBezTo>
                  <a:pt x="327" y="170"/>
                  <a:pt x="327" y="170"/>
                  <a:pt x="327" y="170"/>
                </a:cubicBezTo>
                <a:cubicBezTo>
                  <a:pt x="327" y="171"/>
                  <a:pt x="327" y="171"/>
                  <a:pt x="327" y="171"/>
                </a:cubicBezTo>
                <a:cubicBezTo>
                  <a:pt x="326" y="172"/>
                  <a:pt x="326" y="172"/>
                  <a:pt x="326" y="172"/>
                </a:cubicBezTo>
                <a:cubicBezTo>
                  <a:pt x="327" y="173"/>
                  <a:pt x="327" y="173"/>
                  <a:pt x="327" y="173"/>
                </a:cubicBezTo>
                <a:cubicBezTo>
                  <a:pt x="327" y="174"/>
                  <a:pt x="327" y="174"/>
                  <a:pt x="327" y="174"/>
                </a:cubicBezTo>
                <a:cubicBezTo>
                  <a:pt x="326" y="175"/>
                  <a:pt x="326" y="175"/>
                  <a:pt x="326" y="175"/>
                </a:cubicBezTo>
                <a:cubicBezTo>
                  <a:pt x="325" y="176"/>
                  <a:pt x="325" y="176"/>
                  <a:pt x="325" y="176"/>
                </a:cubicBezTo>
                <a:cubicBezTo>
                  <a:pt x="325" y="176"/>
                  <a:pt x="325" y="176"/>
                  <a:pt x="325" y="176"/>
                </a:cubicBezTo>
                <a:cubicBezTo>
                  <a:pt x="323" y="176"/>
                  <a:pt x="323" y="176"/>
                  <a:pt x="323" y="176"/>
                </a:cubicBezTo>
                <a:cubicBezTo>
                  <a:pt x="323" y="177"/>
                  <a:pt x="323" y="177"/>
                  <a:pt x="323" y="177"/>
                </a:cubicBezTo>
                <a:cubicBezTo>
                  <a:pt x="322" y="178"/>
                  <a:pt x="322" y="178"/>
                  <a:pt x="322" y="178"/>
                </a:cubicBezTo>
                <a:cubicBezTo>
                  <a:pt x="321" y="179"/>
                  <a:pt x="321" y="179"/>
                  <a:pt x="321" y="179"/>
                </a:cubicBezTo>
                <a:cubicBezTo>
                  <a:pt x="320" y="179"/>
                  <a:pt x="320" y="179"/>
                  <a:pt x="320" y="179"/>
                </a:cubicBezTo>
                <a:cubicBezTo>
                  <a:pt x="320" y="180"/>
                  <a:pt x="320" y="180"/>
                  <a:pt x="320" y="180"/>
                </a:cubicBezTo>
                <a:cubicBezTo>
                  <a:pt x="320" y="180"/>
                  <a:pt x="320" y="181"/>
                  <a:pt x="320" y="181"/>
                </a:cubicBezTo>
                <a:close/>
                <a:moveTo>
                  <a:pt x="397" y="186"/>
                </a:moveTo>
                <a:cubicBezTo>
                  <a:pt x="395" y="185"/>
                  <a:pt x="395" y="185"/>
                  <a:pt x="395" y="185"/>
                </a:cubicBezTo>
                <a:cubicBezTo>
                  <a:pt x="394" y="185"/>
                  <a:pt x="394" y="185"/>
                  <a:pt x="394" y="185"/>
                </a:cubicBezTo>
                <a:cubicBezTo>
                  <a:pt x="394" y="183"/>
                  <a:pt x="394" y="183"/>
                  <a:pt x="394" y="183"/>
                </a:cubicBezTo>
                <a:cubicBezTo>
                  <a:pt x="393" y="183"/>
                  <a:pt x="393" y="183"/>
                  <a:pt x="393" y="183"/>
                </a:cubicBezTo>
                <a:cubicBezTo>
                  <a:pt x="392" y="182"/>
                  <a:pt x="392" y="182"/>
                  <a:pt x="392" y="182"/>
                </a:cubicBezTo>
                <a:cubicBezTo>
                  <a:pt x="393" y="180"/>
                  <a:pt x="393" y="180"/>
                  <a:pt x="393" y="180"/>
                </a:cubicBezTo>
                <a:cubicBezTo>
                  <a:pt x="394" y="179"/>
                  <a:pt x="394" y="179"/>
                  <a:pt x="394" y="179"/>
                </a:cubicBezTo>
                <a:cubicBezTo>
                  <a:pt x="394" y="178"/>
                  <a:pt x="394" y="178"/>
                  <a:pt x="394" y="178"/>
                </a:cubicBezTo>
                <a:cubicBezTo>
                  <a:pt x="394" y="177"/>
                  <a:pt x="394" y="177"/>
                  <a:pt x="394" y="177"/>
                </a:cubicBezTo>
                <a:cubicBezTo>
                  <a:pt x="394" y="176"/>
                  <a:pt x="394" y="176"/>
                  <a:pt x="394" y="176"/>
                </a:cubicBezTo>
                <a:cubicBezTo>
                  <a:pt x="393" y="176"/>
                  <a:pt x="393" y="176"/>
                  <a:pt x="393" y="176"/>
                </a:cubicBezTo>
                <a:cubicBezTo>
                  <a:pt x="392" y="175"/>
                  <a:pt x="392" y="175"/>
                  <a:pt x="392" y="175"/>
                </a:cubicBezTo>
                <a:cubicBezTo>
                  <a:pt x="393" y="173"/>
                  <a:pt x="393" y="173"/>
                  <a:pt x="393" y="173"/>
                </a:cubicBezTo>
                <a:cubicBezTo>
                  <a:pt x="394" y="173"/>
                  <a:pt x="394" y="173"/>
                  <a:pt x="394" y="173"/>
                </a:cubicBezTo>
                <a:cubicBezTo>
                  <a:pt x="394" y="172"/>
                  <a:pt x="394" y="172"/>
                  <a:pt x="394" y="172"/>
                </a:cubicBezTo>
                <a:cubicBezTo>
                  <a:pt x="394" y="171"/>
                  <a:pt x="394" y="171"/>
                  <a:pt x="394" y="171"/>
                </a:cubicBezTo>
                <a:cubicBezTo>
                  <a:pt x="395" y="170"/>
                  <a:pt x="395" y="170"/>
                  <a:pt x="395" y="170"/>
                </a:cubicBezTo>
                <a:cubicBezTo>
                  <a:pt x="395" y="168"/>
                  <a:pt x="395" y="168"/>
                  <a:pt x="395" y="168"/>
                </a:cubicBezTo>
                <a:cubicBezTo>
                  <a:pt x="396" y="168"/>
                  <a:pt x="396" y="168"/>
                  <a:pt x="396" y="168"/>
                </a:cubicBezTo>
                <a:cubicBezTo>
                  <a:pt x="397" y="169"/>
                  <a:pt x="397" y="169"/>
                  <a:pt x="397" y="169"/>
                </a:cubicBezTo>
                <a:cubicBezTo>
                  <a:pt x="397" y="170"/>
                  <a:pt x="397" y="170"/>
                  <a:pt x="397" y="170"/>
                </a:cubicBezTo>
                <a:cubicBezTo>
                  <a:pt x="400" y="170"/>
                  <a:pt x="400" y="170"/>
                  <a:pt x="400" y="170"/>
                </a:cubicBezTo>
                <a:cubicBezTo>
                  <a:pt x="401" y="171"/>
                  <a:pt x="401" y="171"/>
                  <a:pt x="401" y="171"/>
                </a:cubicBezTo>
                <a:cubicBezTo>
                  <a:pt x="402" y="172"/>
                  <a:pt x="402" y="172"/>
                  <a:pt x="402" y="172"/>
                </a:cubicBezTo>
                <a:cubicBezTo>
                  <a:pt x="403" y="171"/>
                  <a:pt x="403" y="171"/>
                  <a:pt x="403" y="171"/>
                </a:cubicBezTo>
                <a:cubicBezTo>
                  <a:pt x="405" y="172"/>
                  <a:pt x="405" y="172"/>
                  <a:pt x="405" y="172"/>
                </a:cubicBezTo>
                <a:cubicBezTo>
                  <a:pt x="407" y="172"/>
                  <a:pt x="407" y="172"/>
                  <a:pt x="407" y="172"/>
                </a:cubicBezTo>
                <a:cubicBezTo>
                  <a:pt x="407" y="173"/>
                  <a:pt x="407" y="173"/>
                  <a:pt x="407" y="173"/>
                </a:cubicBezTo>
                <a:cubicBezTo>
                  <a:pt x="408" y="174"/>
                  <a:pt x="408" y="174"/>
                  <a:pt x="408" y="174"/>
                </a:cubicBezTo>
                <a:cubicBezTo>
                  <a:pt x="410" y="175"/>
                  <a:pt x="410" y="175"/>
                  <a:pt x="410" y="175"/>
                </a:cubicBezTo>
                <a:cubicBezTo>
                  <a:pt x="410" y="176"/>
                  <a:pt x="410" y="176"/>
                  <a:pt x="410" y="176"/>
                </a:cubicBezTo>
                <a:cubicBezTo>
                  <a:pt x="410" y="177"/>
                  <a:pt x="410" y="177"/>
                  <a:pt x="410" y="177"/>
                </a:cubicBezTo>
                <a:cubicBezTo>
                  <a:pt x="410" y="178"/>
                  <a:pt x="410" y="178"/>
                  <a:pt x="410" y="178"/>
                </a:cubicBezTo>
                <a:cubicBezTo>
                  <a:pt x="411" y="179"/>
                  <a:pt x="411" y="179"/>
                  <a:pt x="411" y="179"/>
                </a:cubicBezTo>
                <a:cubicBezTo>
                  <a:pt x="410" y="180"/>
                  <a:pt x="410" y="180"/>
                  <a:pt x="410" y="180"/>
                </a:cubicBezTo>
                <a:cubicBezTo>
                  <a:pt x="411" y="181"/>
                  <a:pt x="411" y="181"/>
                  <a:pt x="411" y="181"/>
                </a:cubicBezTo>
                <a:cubicBezTo>
                  <a:pt x="411" y="182"/>
                  <a:pt x="411" y="182"/>
                  <a:pt x="411" y="182"/>
                </a:cubicBezTo>
                <a:cubicBezTo>
                  <a:pt x="411" y="183"/>
                  <a:pt x="411" y="183"/>
                  <a:pt x="411" y="183"/>
                </a:cubicBezTo>
                <a:cubicBezTo>
                  <a:pt x="411" y="184"/>
                  <a:pt x="411" y="184"/>
                  <a:pt x="411" y="184"/>
                </a:cubicBezTo>
                <a:cubicBezTo>
                  <a:pt x="410" y="185"/>
                  <a:pt x="410" y="185"/>
                  <a:pt x="410" y="185"/>
                </a:cubicBezTo>
                <a:cubicBezTo>
                  <a:pt x="412" y="185"/>
                  <a:pt x="412" y="185"/>
                  <a:pt x="412" y="185"/>
                </a:cubicBezTo>
                <a:cubicBezTo>
                  <a:pt x="412" y="186"/>
                  <a:pt x="412" y="186"/>
                  <a:pt x="412" y="186"/>
                </a:cubicBezTo>
                <a:cubicBezTo>
                  <a:pt x="411" y="186"/>
                  <a:pt x="411" y="186"/>
                  <a:pt x="411" y="186"/>
                </a:cubicBezTo>
                <a:cubicBezTo>
                  <a:pt x="411" y="187"/>
                  <a:pt x="411" y="187"/>
                  <a:pt x="411" y="187"/>
                </a:cubicBezTo>
                <a:cubicBezTo>
                  <a:pt x="408" y="187"/>
                  <a:pt x="408" y="187"/>
                  <a:pt x="408" y="187"/>
                </a:cubicBezTo>
                <a:cubicBezTo>
                  <a:pt x="408" y="186"/>
                  <a:pt x="408" y="186"/>
                  <a:pt x="408" y="186"/>
                </a:cubicBezTo>
                <a:cubicBezTo>
                  <a:pt x="406" y="186"/>
                  <a:pt x="406" y="186"/>
                  <a:pt x="406" y="186"/>
                </a:cubicBezTo>
                <a:cubicBezTo>
                  <a:pt x="405" y="185"/>
                  <a:pt x="405" y="185"/>
                  <a:pt x="405" y="185"/>
                </a:cubicBezTo>
                <a:cubicBezTo>
                  <a:pt x="403" y="185"/>
                  <a:pt x="403" y="185"/>
                  <a:pt x="403" y="185"/>
                </a:cubicBezTo>
                <a:cubicBezTo>
                  <a:pt x="403" y="185"/>
                  <a:pt x="403" y="185"/>
                  <a:pt x="403" y="185"/>
                </a:cubicBezTo>
                <a:cubicBezTo>
                  <a:pt x="402" y="184"/>
                  <a:pt x="402" y="184"/>
                  <a:pt x="402" y="184"/>
                </a:cubicBezTo>
                <a:cubicBezTo>
                  <a:pt x="400" y="185"/>
                  <a:pt x="400" y="185"/>
                  <a:pt x="400" y="185"/>
                </a:cubicBezTo>
                <a:cubicBezTo>
                  <a:pt x="399" y="185"/>
                  <a:pt x="399" y="185"/>
                  <a:pt x="399" y="185"/>
                </a:cubicBezTo>
                <a:cubicBezTo>
                  <a:pt x="398" y="186"/>
                  <a:pt x="398" y="186"/>
                  <a:pt x="398" y="186"/>
                </a:cubicBezTo>
                <a:cubicBezTo>
                  <a:pt x="397" y="186"/>
                  <a:pt x="397" y="186"/>
                  <a:pt x="397" y="186"/>
                </a:cubicBezTo>
                <a:close/>
                <a:moveTo>
                  <a:pt x="390" y="188"/>
                </a:moveTo>
                <a:cubicBezTo>
                  <a:pt x="390" y="187"/>
                  <a:pt x="390" y="187"/>
                  <a:pt x="390" y="187"/>
                </a:cubicBezTo>
                <a:cubicBezTo>
                  <a:pt x="390" y="186"/>
                  <a:pt x="390" y="186"/>
                  <a:pt x="390" y="186"/>
                </a:cubicBezTo>
                <a:cubicBezTo>
                  <a:pt x="391" y="186"/>
                  <a:pt x="391" y="186"/>
                  <a:pt x="391" y="186"/>
                </a:cubicBezTo>
                <a:cubicBezTo>
                  <a:pt x="391" y="187"/>
                  <a:pt x="391" y="187"/>
                  <a:pt x="391" y="187"/>
                </a:cubicBezTo>
                <a:cubicBezTo>
                  <a:pt x="390" y="188"/>
                  <a:pt x="390" y="188"/>
                  <a:pt x="390" y="188"/>
                </a:cubicBezTo>
                <a:close/>
                <a:moveTo>
                  <a:pt x="392" y="189"/>
                </a:moveTo>
                <a:cubicBezTo>
                  <a:pt x="391" y="188"/>
                  <a:pt x="391" y="188"/>
                  <a:pt x="391" y="188"/>
                </a:cubicBezTo>
                <a:cubicBezTo>
                  <a:pt x="392" y="188"/>
                  <a:pt x="392" y="188"/>
                  <a:pt x="392" y="188"/>
                </a:cubicBezTo>
                <a:cubicBezTo>
                  <a:pt x="392" y="188"/>
                  <a:pt x="392" y="188"/>
                  <a:pt x="392" y="188"/>
                </a:cubicBezTo>
                <a:cubicBezTo>
                  <a:pt x="392" y="189"/>
                  <a:pt x="392" y="189"/>
                  <a:pt x="392" y="189"/>
                </a:cubicBezTo>
                <a:cubicBezTo>
                  <a:pt x="392" y="189"/>
                  <a:pt x="392" y="189"/>
                  <a:pt x="392" y="189"/>
                </a:cubicBezTo>
                <a:close/>
                <a:moveTo>
                  <a:pt x="395" y="189"/>
                </a:moveTo>
                <a:cubicBezTo>
                  <a:pt x="394" y="189"/>
                  <a:pt x="394" y="189"/>
                  <a:pt x="394" y="189"/>
                </a:cubicBezTo>
                <a:cubicBezTo>
                  <a:pt x="394" y="188"/>
                  <a:pt x="394" y="188"/>
                  <a:pt x="394" y="188"/>
                </a:cubicBezTo>
                <a:cubicBezTo>
                  <a:pt x="395" y="188"/>
                  <a:pt x="395" y="188"/>
                  <a:pt x="395" y="188"/>
                </a:cubicBezTo>
                <a:cubicBezTo>
                  <a:pt x="395" y="189"/>
                  <a:pt x="395" y="189"/>
                  <a:pt x="395" y="189"/>
                </a:cubicBezTo>
                <a:cubicBezTo>
                  <a:pt x="395" y="189"/>
                  <a:pt x="395" y="189"/>
                  <a:pt x="395" y="189"/>
                </a:cubicBezTo>
                <a:close/>
                <a:moveTo>
                  <a:pt x="317" y="216"/>
                </a:moveTo>
                <a:cubicBezTo>
                  <a:pt x="317" y="215"/>
                  <a:pt x="317" y="215"/>
                  <a:pt x="317" y="215"/>
                </a:cubicBezTo>
                <a:cubicBezTo>
                  <a:pt x="317" y="214"/>
                  <a:pt x="317" y="214"/>
                  <a:pt x="317" y="214"/>
                </a:cubicBezTo>
                <a:cubicBezTo>
                  <a:pt x="318" y="214"/>
                  <a:pt x="318" y="214"/>
                  <a:pt x="318" y="214"/>
                </a:cubicBezTo>
                <a:cubicBezTo>
                  <a:pt x="319" y="215"/>
                  <a:pt x="319" y="215"/>
                  <a:pt x="319" y="215"/>
                </a:cubicBezTo>
                <a:cubicBezTo>
                  <a:pt x="318" y="215"/>
                  <a:pt x="318" y="215"/>
                  <a:pt x="318" y="215"/>
                </a:cubicBezTo>
                <a:cubicBezTo>
                  <a:pt x="318" y="215"/>
                  <a:pt x="318" y="215"/>
                  <a:pt x="318" y="215"/>
                </a:cubicBezTo>
                <a:cubicBezTo>
                  <a:pt x="317" y="216"/>
                  <a:pt x="317" y="216"/>
                  <a:pt x="317" y="216"/>
                </a:cubicBezTo>
                <a:close/>
                <a:moveTo>
                  <a:pt x="321" y="222"/>
                </a:moveTo>
                <a:cubicBezTo>
                  <a:pt x="321" y="223"/>
                  <a:pt x="321" y="223"/>
                  <a:pt x="321" y="223"/>
                </a:cubicBezTo>
                <a:cubicBezTo>
                  <a:pt x="322" y="223"/>
                  <a:pt x="322" y="223"/>
                  <a:pt x="322" y="223"/>
                </a:cubicBezTo>
                <a:cubicBezTo>
                  <a:pt x="322" y="223"/>
                  <a:pt x="322" y="223"/>
                  <a:pt x="322" y="223"/>
                </a:cubicBezTo>
                <a:cubicBezTo>
                  <a:pt x="322" y="222"/>
                  <a:pt x="322" y="222"/>
                  <a:pt x="322" y="222"/>
                </a:cubicBezTo>
                <a:cubicBezTo>
                  <a:pt x="322" y="221"/>
                  <a:pt x="322" y="221"/>
                  <a:pt x="322" y="221"/>
                </a:cubicBezTo>
                <a:cubicBezTo>
                  <a:pt x="321" y="222"/>
                  <a:pt x="321" y="222"/>
                  <a:pt x="321" y="222"/>
                </a:cubicBezTo>
                <a:close/>
                <a:moveTo>
                  <a:pt x="320" y="222"/>
                </a:moveTo>
                <a:cubicBezTo>
                  <a:pt x="319" y="223"/>
                  <a:pt x="319" y="223"/>
                  <a:pt x="319" y="223"/>
                </a:cubicBezTo>
                <a:cubicBezTo>
                  <a:pt x="320" y="223"/>
                  <a:pt x="320" y="223"/>
                  <a:pt x="320" y="223"/>
                </a:cubicBezTo>
                <a:cubicBezTo>
                  <a:pt x="320" y="224"/>
                  <a:pt x="320" y="224"/>
                  <a:pt x="320" y="224"/>
                </a:cubicBezTo>
                <a:cubicBezTo>
                  <a:pt x="320" y="224"/>
                  <a:pt x="320" y="224"/>
                  <a:pt x="320" y="224"/>
                </a:cubicBezTo>
                <a:cubicBezTo>
                  <a:pt x="321" y="224"/>
                  <a:pt x="321" y="224"/>
                  <a:pt x="321" y="224"/>
                </a:cubicBezTo>
                <a:cubicBezTo>
                  <a:pt x="320" y="222"/>
                  <a:pt x="320" y="222"/>
                  <a:pt x="320" y="222"/>
                </a:cubicBezTo>
                <a:cubicBezTo>
                  <a:pt x="320" y="222"/>
                  <a:pt x="320" y="222"/>
                  <a:pt x="320" y="222"/>
                </a:cubicBezTo>
                <a:cubicBezTo>
                  <a:pt x="320" y="222"/>
                  <a:pt x="320" y="222"/>
                  <a:pt x="320" y="222"/>
                </a:cubicBezTo>
                <a:close/>
                <a:moveTo>
                  <a:pt x="344" y="218"/>
                </a:moveTo>
                <a:cubicBezTo>
                  <a:pt x="344" y="217"/>
                  <a:pt x="344" y="217"/>
                  <a:pt x="344" y="217"/>
                </a:cubicBezTo>
                <a:cubicBezTo>
                  <a:pt x="343" y="217"/>
                  <a:pt x="343" y="217"/>
                  <a:pt x="343" y="217"/>
                </a:cubicBezTo>
                <a:cubicBezTo>
                  <a:pt x="342" y="216"/>
                  <a:pt x="342" y="216"/>
                  <a:pt x="342" y="216"/>
                </a:cubicBezTo>
                <a:cubicBezTo>
                  <a:pt x="342" y="217"/>
                  <a:pt x="342" y="217"/>
                  <a:pt x="342" y="217"/>
                </a:cubicBezTo>
                <a:cubicBezTo>
                  <a:pt x="341" y="217"/>
                  <a:pt x="341" y="217"/>
                  <a:pt x="341" y="217"/>
                </a:cubicBezTo>
                <a:cubicBezTo>
                  <a:pt x="341" y="216"/>
                  <a:pt x="341" y="216"/>
                  <a:pt x="341" y="216"/>
                </a:cubicBezTo>
                <a:cubicBezTo>
                  <a:pt x="340" y="215"/>
                  <a:pt x="340" y="215"/>
                  <a:pt x="340" y="215"/>
                </a:cubicBezTo>
                <a:cubicBezTo>
                  <a:pt x="342" y="215"/>
                  <a:pt x="342" y="215"/>
                  <a:pt x="342" y="215"/>
                </a:cubicBezTo>
                <a:cubicBezTo>
                  <a:pt x="342" y="214"/>
                  <a:pt x="342" y="214"/>
                  <a:pt x="342" y="214"/>
                </a:cubicBezTo>
                <a:cubicBezTo>
                  <a:pt x="343" y="215"/>
                  <a:pt x="343" y="215"/>
                  <a:pt x="343" y="215"/>
                </a:cubicBezTo>
                <a:cubicBezTo>
                  <a:pt x="344" y="215"/>
                  <a:pt x="344" y="215"/>
                  <a:pt x="344" y="215"/>
                </a:cubicBezTo>
                <a:cubicBezTo>
                  <a:pt x="345" y="216"/>
                  <a:pt x="345" y="216"/>
                  <a:pt x="345" y="216"/>
                </a:cubicBezTo>
                <a:cubicBezTo>
                  <a:pt x="345" y="217"/>
                  <a:pt x="345" y="217"/>
                  <a:pt x="345" y="217"/>
                </a:cubicBezTo>
                <a:cubicBezTo>
                  <a:pt x="345" y="217"/>
                  <a:pt x="345" y="217"/>
                  <a:pt x="345" y="217"/>
                </a:cubicBezTo>
                <a:cubicBezTo>
                  <a:pt x="345" y="217"/>
                  <a:pt x="344" y="218"/>
                  <a:pt x="344" y="218"/>
                </a:cubicBezTo>
                <a:close/>
                <a:moveTo>
                  <a:pt x="358" y="223"/>
                </a:moveTo>
                <a:cubicBezTo>
                  <a:pt x="357" y="223"/>
                  <a:pt x="357" y="223"/>
                  <a:pt x="357" y="223"/>
                </a:cubicBezTo>
                <a:cubicBezTo>
                  <a:pt x="356" y="222"/>
                  <a:pt x="356" y="222"/>
                  <a:pt x="356" y="222"/>
                </a:cubicBezTo>
                <a:cubicBezTo>
                  <a:pt x="357" y="222"/>
                  <a:pt x="357" y="222"/>
                  <a:pt x="357" y="222"/>
                </a:cubicBezTo>
                <a:cubicBezTo>
                  <a:pt x="358" y="222"/>
                  <a:pt x="358" y="222"/>
                  <a:pt x="358" y="222"/>
                </a:cubicBezTo>
                <a:cubicBezTo>
                  <a:pt x="358" y="223"/>
                  <a:pt x="358" y="223"/>
                  <a:pt x="358" y="223"/>
                </a:cubicBezTo>
                <a:cubicBezTo>
                  <a:pt x="358" y="223"/>
                  <a:pt x="358" y="223"/>
                  <a:pt x="358" y="223"/>
                </a:cubicBezTo>
                <a:close/>
                <a:moveTo>
                  <a:pt x="359" y="223"/>
                </a:moveTo>
                <a:cubicBezTo>
                  <a:pt x="360" y="224"/>
                  <a:pt x="360" y="224"/>
                  <a:pt x="360" y="224"/>
                </a:cubicBezTo>
                <a:cubicBezTo>
                  <a:pt x="360" y="223"/>
                  <a:pt x="360" y="223"/>
                  <a:pt x="360" y="223"/>
                </a:cubicBezTo>
                <a:cubicBezTo>
                  <a:pt x="359" y="223"/>
                  <a:pt x="359" y="223"/>
                  <a:pt x="359" y="223"/>
                </a:cubicBezTo>
                <a:close/>
                <a:moveTo>
                  <a:pt x="361" y="224"/>
                </a:moveTo>
                <a:cubicBezTo>
                  <a:pt x="362" y="224"/>
                  <a:pt x="362" y="224"/>
                  <a:pt x="362" y="224"/>
                </a:cubicBezTo>
                <a:cubicBezTo>
                  <a:pt x="362" y="225"/>
                  <a:pt x="362" y="225"/>
                  <a:pt x="362" y="225"/>
                </a:cubicBezTo>
                <a:cubicBezTo>
                  <a:pt x="363" y="224"/>
                  <a:pt x="363" y="224"/>
                  <a:pt x="363" y="224"/>
                </a:cubicBezTo>
                <a:cubicBezTo>
                  <a:pt x="363" y="224"/>
                  <a:pt x="363" y="224"/>
                  <a:pt x="363" y="224"/>
                </a:cubicBezTo>
                <a:cubicBezTo>
                  <a:pt x="362" y="223"/>
                  <a:pt x="362" y="223"/>
                  <a:pt x="362" y="223"/>
                </a:cubicBezTo>
                <a:cubicBezTo>
                  <a:pt x="362" y="223"/>
                  <a:pt x="362" y="223"/>
                  <a:pt x="362" y="223"/>
                </a:cubicBezTo>
                <a:cubicBezTo>
                  <a:pt x="361" y="223"/>
                  <a:pt x="361" y="223"/>
                  <a:pt x="361" y="223"/>
                </a:cubicBezTo>
                <a:cubicBezTo>
                  <a:pt x="361" y="224"/>
                  <a:pt x="361" y="224"/>
                  <a:pt x="361" y="224"/>
                </a:cubicBezTo>
                <a:cubicBezTo>
                  <a:pt x="361" y="224"/>
                  <a:pt x="361" y="224"/>
                  <a:pt x="361" y="224"/>
                </a:cubicBezTo>
                <a:close/>
                <a:moveTo>
                  <a:pt x="376" y="244"/>
                </a:moveTo>
                <a:cubicBezTo>
                  <a:pt x="376" y="243"/>
                  <a:pt x="376" y="243"/>
                  <a:pt x="376" y="243"/>
                </a:cubicBezTo>
                <a:cubicBezTo>
                  <a:pt x="376" y="242"/>
                  <a:pt x="376" y="242"/>
                  <a:pt x="376" y="242"/>
                </a:cubicBezTo>
                <a:cubicBezTo>
                  <a:pt x="376" y="241"/>
                  <a:pt x="376" y="241"/>
                  <a:pt x="376" y="241"/>
                </a:cubicBezTo>
                <a:cubicBezTo>
                  <a:pt x="376" y="241"/>
                  <a:pt x="376" y="241"/>
                  <a:pt x="376" y="241"/>
                </a:cubicBezTo>
                <a:cubicBezTo>
                  <a:pt x="377" y="242"/>
                  <a:pt x="377" y="242"/>
                  <a:pt x="377" y="242"/>
                </a:cubicBezTo>
                <a:cubicBezTo>
                  <a:pt x="377" y="243"/>
                  <a:pt x="377" y="243"/>
                  <a:pt x="377" y="243"/>
                </a:cubicBezTo>
                <a:cubicBezTo>
                  <a:pt x="377" y="243"/>
                  <a:pt x="377" y="243"/>
                  <a:pt x="377" y="243"/>
                </a:cubicBezTo>
                <a:cubicBezTo>
                  <a:pt x="376" y="244"/>
                  <a:pt x="376" y="244"/>
                  <a:pt x="376" y="244"/>
                </a:cubicBezTo>
                <a:close/>
                <a:moveTo>
                  <a:pt x="374" y="247"/>
                </a:moveTo>
                <a:cubicBezTo>
                  <a:pt x="374" y="246"/>
                  <a:pt x="374" y="246"/>
                  <a:pt x="374" y="246"/>
                </a:cubicBezTo>
                <a:cubicBezTo>
                  <a:pt x="374" y="245"/>
                  <a:pt x="374" y="245"/>
                  <a:pt x="374" y="245"/>
                </a:cubicBezTo>
                <a:cubicBezTo>
                  <a:pt x="375" y="245"/>
                  <a:pt x="375" y="245"/>
                  <a:pt x="375" y="245"/>
                </a:cubicBezTo>
                <a:cubicBezTo>
                  <a:pt x="376" y="245"/>
                  <a:pt x="376" y="245"/>
                  <a:pt x="376" y="245"/>
                </a:cubicBezTo>
                <a:cubicBezTo>
                  <a:pt x="376" y="246"/>
                  <a:pt x="376" y="246"/>
                  <a:pt x="376" y="246"/>
                </a:cubicBezTo>
                <a:cubicBezTo>
                  <a:pt x="375" y="246"/>
                  <a:pt x="375" y="246"/>
                  <a:pt x="375" y="246"/>
                </a:cubicBezTo>
                <a:cubicBezTo>
                  <a:pt x="375" y="247"/>
                  <a:pt x="375" y="247"/>
                  <a:pt x="375" y="247"/>
                </a:cubicBezTo>
                <a:cubicBezTo>
                  <a:pt x="374" y="247"/>
                  <a:pt x="374" y="247"/>
                  <a:pt x="374" y="247"/>
                </a:cubicBezTo>
                <a:close/>
                <a:moveTo>
                  <a:pt x="366" y="228"/>
                </a:moveTo>
                <a:cubicBezTo>
                  <a:pt x="365" y="228"/>
                  <a:pt x="365" y="228"/>
                  <a:pt x="365" y="228"/>
                </a:cubicBezTo>
                <a:cubicBezTo>
                  <a:pt x="366" y="228"/>
                  <a:pt x="366" y="228"/>
                  <a:pt x="366" y="228"/>
                </a:cubicBezTo>
                <a:cubicBezTo>
                  <a:pt x="366" y="228"/>
                  <a:pt x="366" y="228"/>
                  <a:pt x="366" y="228"/>
                </a:cubicBezTo>
                <a:close/>
                <a:moveTo>
                  <a:pt x="364" y="229"/>
                </a:moveTo>
                <a:cubicBezTo>
                  <a:pt x="363" y="227"/>
                  <a:pt x="363" y="227"/>
                  <a:pt x="363" y="227"/>
                </a:cubicBezTo>
                <a:cubicBezTo>
                  <a:pt x="364" y="228"/>
                  <a:pt x="364" y="228"/>
                  <a:pt x="364" y="228"/>
                </a:cubicBezTo>
                <a:cubicBezTo>
                  <a:pt x="364" y="228"/>
                  <a:pt x="364" y="228"/>
                  <a:pt x="364" y="228"/>
                </a:cubicBezTo>
                <a:cubicBezTo>
                  <a:pt x="364" y="229"/>
                  <a:pt x="364" y="229"/>
                  <a:pt x="364" y="229"/>
                </a:cubicBezTo>
                <a:close/>
                <a:moveTo>
                  <a:pt x="364" y="229"/>
                </a:moveTo>
                <a:cubicBezTo>
                  <a:pt x="365" y="230"/>
                  <a:pt x="365" y="230"/>
                  <a:pt x="365" y="230"/>
                </a:cubicBezTo>
                <a:cubicBezTo>
                  <a:pt x="365" y="230"/>
                  <a:pt x="365" y="230"/>
                  <a:pt x="365" y="230"/>
                </a:cubicBezTo>
                <a:cubicBezTo>
                  <a:pt x="366" y="230"/>
                  <a:pt x="366" y="230"/>
                  <a:pt x="366" y="230"/>
                </a:cubicBezTo>
                <a:cubicBezTo>
                  <a:pt x="366" y="230"/>
                  <a:pt x="366" y="230"/>
                  <a:pt x="366" y="230"/>
                </a:cubicBezTo>
                <a:cubicBezTo>
                  <a:pt x="366" y="229"/>
                  <a:pt x="366" y="229"/>
                  <a:pt x="366" y="229"/>
                </a:cubicBezTo>
                <a:cubicBezTo>
                  <a:pt x="365" y="229"/>
                  <a:pt x="365" y="229"/>
                  <a:pt x="365" y="229"/>
                </a:cubicBezTo>
                <a:cubicBezTo>
                  <a:pt x="364" y="229"/>
                  <a:pt x="364" y="229"/>
                  <a:pt x="364" y="229"/>
                </a:cubicBezTo>
                <a:close/>
                <a:moveTo>
                  <a:pt x="372" y="226"/>
                </a:moveTo>
                <a:cubicBezTo>
                  <a:pt x="373" y="226"/>
                  <a:pt x="373" y="226"/>
                  <a:pt x="373" y="226"/>
                </a:cubicBezTo>
                <a:cubicBezTo>
                  <a:pt x="374" y="227"/>
                  <a:pt x="374" y="227"/>
                  <a:pt x="374" y="227"/>
                </a:cubicBezTo>
                <a:cubicBezTo>
                  <a:pt x="374" y="227"/>
                  <a:pt x="374" y="227"/>
                  <a:pt x="374" y="227"/>
                </a:cubicBezTo>
                <a:cubicBezTo>
                  <a:pt x="374" y="228"/>
                  <a:pt x="374" y="228"/>
                  <a:pt x="374" y="228"/>
                </a:cubicBezTo>
                <a:cubicBezTo>
                  <a:pt x="374" y="229"/>
                  <a:pt x="374" y="229"/>
                  <a:pt x="374" y="229"/>
                </a:cubicBezTo>
                <a:cubicBezTo>
                  <a:pt x="375" y="228"/>
                  <a:pt x="375" y="228"/>
                  <a:pt x="375" y="228"/>
                </a:cubicBezTo>
                <a:cubicBezTo>
                  <a:pt x="375" y="227"/>
                  <a:pt x="375" y="227"/>
                  <a:pt x="375" y="227"/>
                </a:cubicBezTo>
                <a:cubicBezTo>
                  <a:pt x="376" y="228"/>
                  <a:pt x="376" y="228"/>
                  <a:pt x="376" y="228"/>
                </a:cubicBezTo>
                <a:cubicBezTo>
                  <a:pt x="377" y="227"/>
                  <a:pt x="377" y="227"/>
                  <a:pt x="377" y="227"/>
                </a:cubicBezTo>
                <a:cubicBezTo>
                  <a:pt x="377" y="228"/>
                  <a:pt x="377" y="228"/>
                  <a:pt x="377" y="228"/>
                </a:cubicBezTo>
                <a:cubicBezTo>
                  <a:pt x="378" y="227"/>
                  <a:pt x="378" y="227"/>
                  <a:pt x="378" y="227"/>
                </a:cubicBezTo>
                <a:cubicBezTo>
                  <a:pt x="377" y="226"/>
                  <a:pt x="377" y="226"/>
                  <a:pt x="377" y="226"/>
                </a:cubicBezTo>
                <a:cubicBezTo>
                  <a:pt x="376" y="226"/>
                  <a:pt x="376" y="226"/>
                  <a:pt x="376" y="226"/>
                </a:cubicBezTo>
                <a:cubicBezTo>
                  <a:pt x="375" y="225"/>
                  <a:pt x="375" y="225"/>
                  <a:pt x="375" y="225"/>
                </a:cubicBezTo>
                <a:cubicBezTo>
                  <a:pt x="373" y="225"/>
                  <a:pt x="373" y="225"/>
                  <a:pt x="373" y="225"/>
                </a:cubicBezTo>
                <a:cubicBezTo>
                  <a:pt x="373" y="225"/>
                  <a:pt x="373" y="225"/>
                  <a:pt x="373" y="225"/>
                </a:cubicBezTo>
                <a:cubicBezTo>
                  <a:pt x="373" y="225"/>
                  <a:pt x="372" y="226"/>
                  <a:pt x="372" y="226"/>
                </a:cubicBezTo>
                <a:close/>
                <a:moveTo>
                  <a:pt x="387" y="225"/>
                </a:moveTo>
                <a:cubicBezTo>
                  <a:pt x="387" y="224"/>
                  <a:pt x="387" y="224"/>
                  <a:pt x="387" y="224"/>
                </a:cubicBezTo>
                <a:cubicBezTo>
                  <a:pt x="387" y="224"/>
                  <a:pt x="387" y="224"/>
                  <a:pt x="387" y="224"/>
                </a:cubicBezTo>
                <a:cubicBezTo>
                  <a:pt x="387" y="225"/>
                  <a:pt x="387" y="225"/>
                  <a:pt x="387" y="225"/>
                </a:cubicBezTo>
                <a:cubicBezTo>
                  <a:pt x="387" y="225"/>
                  <a:pt x="387" y="225"/>
                  <a:pt x="387" y="225"/>
                </a:cubicBezTo>
                <a:close/>
                <a:moveTo>
                  <a:pt x="382" y="231"/>
                </a:moveTo>
                <a:cubicBezTo>
                  <a:pt x="382" y="230"/>
                  <a:pt x="382" y="230"/>
                  <a:pt x="382" y="230"/>
                </a:cubicBezTo>
                <a:cubicBezTo>
                  <a:pt x="383" y="229"/>
                  <a:pt x="383" y="229"/>
                  <a:pt x="383" y="229"/>
                </a:cubicBezTo>
                <a:cubicBezTo>
                  <a:pt x="384" y="229"/>
                  <a:pt x="384" y="229"/>
                  <a:pt x="384" y="229"/>
                </a:cubicBezTo>
                <a:cubicBezTo>
                  <a:pt x="384" y="228"/>
                  <a:pt x="384" y="228"/>
                  <a:pt x="384" y="228"/>
                </a:cubicBezTo>
                <a:cubicBezTo>
                  <a:pt x="385" y="228"/>
                  <a:pt x="385" y="228"/>
                  <a:pt x="385" y="228"/>
                </a:cubicBezTo>
                <a:cubicBezTo>
                  <a:pt x="385" y="229"/>
                  <a:pt x="385" y="229"/>
                  <a:pt x="385" y="229"/>
                </a:cubicBezTo>
                <a:cubicBezTo>
                  <a:pt x="385" y="229"/>
                  <a:pt x="385" y="229"/>
                  <a:pt x="385" y="229"/>
                </a:cubicBezTo>
                <a:cubicBezTo>
                  <a:pt x="384" y="230"/>
                  <a:pt x="384" y="230"/>
                  <a:pt x="384" y="230"/>
                </a:cubicBezTo>
                <a:cubicBezTo>
                  <a:pt x="383" y="231"/>
                  <a:pt x="383" y="231"/>
                  <a:pt x="383" y="231"/>
                </a:cubicBezTo>
                <a:cubicBezTo>
                  <a:pt x="382" y="231"/>
                  <a:pt x="382" y="231"/>
                  <a:pt x="382" y="231"/>
                </a:cubicBezTo>
                <a:cubicBezTo>
                  <a:pt x="382" y="231"/>
                  <a:pt x="382" y="231"/>
                  <a:pt x="382" y="231"/>
                </a:cubicBezTo>
                <a:close/>
                <a:moveTo>
                  <a:pt x="377" y="239"/>
                </a:moveTo>
                <a:cubicBezTo>
                  <a:pt x="379" y="237"/>
                  <a:pt x="379" y="237"/>
                  <a:pt x="379" y="237"/>
                </a:cubicBezTo>
                <a:cubicBezTo>
                  <a:pt x="380" y="236"/>
                  <a:pt x="380" y="236"/>
                  <a:pt x="380" y="236"/>
                </a:cubicBezTo>
                <a:cubicBezTo>
                  <a:pt x="380" y="236"/>
                  <a:pt x="380" y="236"/>
                  <a:pt x="380" y="236"/>
                </a:cubicBezTo>
                <a:cubicBezTo>
                  <a:pt x="382" y="235"/>
                  <a:pt x="382" y="235"/>
                  <a:pt x="382" y="235"/>
                </a:cubicBezTo>
                <a:cubicBezTo>
                  <a:pt x="383" y="234"/>
                  <a:pt x="383" y="234"/>
                  <a:pt x="383" y="234"/>
                </a:cubicBezTo>
                <a:cubicBezTo>
                  <a:pt x="382" y="233"/>
                  <a:pt x="382" y="233"/>
                  <a:pt x="382" y="233"/>
                </a:cubicBezTo>
                <a:cubicBezTo>
                  <a:pt x="382" y="232"/>
                  <a:pt x="382" y="232"/>
                  <a:pt x="382" y="232"/>
                </a:cubicBezTo>
                <a:cubicBezTo>
                  <a:pt x="381" y="233"/>
                  <a:pt x="381" y="233"/>
                  <a:pt x="381" y="233"/>
                </a:cubicBezTo>
                <a:cubicBezTo>
                  <a:pt x="381" y="234"/>
                  <a:pt x="381" y="234"/>
                  <a:pt x="381" y="234"/>
                </a:cubicBezTo>
                <a:cubicBezTo>
                  <a:pt x="380" y="234"/>
                  <a:pt x="380" y="234"/>
                  <a:pt x="380" y="234"/>
                </a:cubicBezTo>
                <a:cubicBezTo>
                  <a:pt x="379" y="235"/>
                  <a:pt x="379" y="235"/>
                  <a:pt x="379" y="235"/>
                </a:cubicBezTo>
                <a:cubicBezTo>
                  <a:pt x="378" y="235"/>
                  <a:pt x="378" y="235"/>
                  <a:pt x="378" y="235"/>
                </a:cubicBezTo>
                <a:cubicBezTo>
                  <a:pt x="376" y="235"/>
                  <a:pt x="376" y="235"/>
                  <a:pt x="376" y="235"/>
                </a:cubicBezTo>
                <a:cubicBezTo>
                  <a:pt x="376" y="236"/>
                  <a:pt x="376" y="236"/>
                  <a:pt x="376" y="236"/>
                </a:cubicBezTo>
                <a:cubicBezTo>
                  <a:pt x="375" y="237"/>
                  <a:pt x="375" y="237"/>
                  <a:pt x="375" y="237"/>
                </a:cubicBezTo>
                <a:cubicBezTo>
                  <a:pt x="374" y="237"/>
                  <a:pt x="374" y="237"/>
                  <a:pt x="374" y="237"/>
                </a:cubicBezTo>
                <a:cubicBezTo>
                  <a:pt x="375" y="239"/>
                  <a:pt x="375" y="239"/>
                  <a:pt x="375" y="239"/>
                </a:cubicBezTo>
                <a:cubicBezTo>
                  <a:pt x="375" y="238"/>
                  <a:pt x="375" y="238"/>
                  <a:pt x="375" y="238"/>
                </a:cubicBezTo>
                <a:cubicBezTo>
                  <a:pt x="376" y="239"/>
                  <a:pt x="376" y="239"/>
                  <a:pt x="376" y="239"/>
                </a:cubicBezTo>
                <a:cubicBezTo>
                  <a:pt x="377" y="239"/>
                  <a:pt x="377" y="239"/>
                  <a:pt x="377" y="239"/>
                </a:cubicBezTo>
                <a:close/>
                <a:moveTo>
                  <a:pt x="387" y="237"/>
                </a:moveTo>
                <a:cubicBezTo>
                  <a:pt x="387" y="236"/>
                  <a:pt x="387" y="236"/>
                  <a:pt x="387" y="236"/>
                </a:cubicBezTo>
                <a:cubicBezTo>
                  <a:pt x="387" y="235"/>
                  <a:pt x="387" y="235"/>
                  <a:pt x="387" y="235"/>
                </a:cubicBezTo>
                <a:cubicBezTo>
                  <a:pt x="388" y="234"/>
                  <a:pt x="388" y="234"/>
                  <a:pt x="388" y="234"/>
                </a:cubicBezTo>
                <a:cubicBezTo>
                  <a:pt x="389" y="234"/>
                  <a:pt x="389" y="234"/>
                  <a:pt x="389" y="234"/>
                </a:cubicBezTo>
                <a:cubicBezTo>
                  <a:pt x="390" y="234"/>
                  <a:pt x="390" y="234"/>
                  <a:pt x="390" y="234"/>
                </a:cubicBezTo>
                <a:cubicBezTo>
                  <a:pt x="390" y="235"/>
                  <a:pt x="390" y="235"/>
                  <a:pt x="390" y="235"/>
                </a:cubicBezTo>
                <a:cubicBezTo>
                  <a:pt x="390" y="236"/>
                  <a:pt x="390" y="236"/>
                  <a:pt x="390" y="236"/>
                </a:cubicBezTo>
                <a:cubicBezTo>
                  <a:pt x="389" y="237"/>
                  <a:pt x="389" y="237"/>
                  <a:pt x="389" y="237"/>
                </a:cubicBezTo>
                <a:cubicBezTo>
                  <a:pt x="388" y="238"/>
                  <a:pt x="388" y="238"/>
                  <a:pt x="388" y="238"/>
                </a:cubicBezTo>
                <a:cubicBezTo>
                  <a:pt x="387" y="237"/>
                  <a:pt x="387" y="237"/>
                  <a:pt x="387" y="237"/>
                </a:cubicBezTo>
                <a:close/>
                <a:moveTo>
                  <a:pt x="395" y="248"/>
                </a:moveTo>
                <a:cubicBezTo>
                  <a:pt x="395" y="246"/>
                  <a:pt x="395" y="246"/>
                  <a:pt x="395" y="246"/>
                </a:cubicBezTo>
                <a:cubicBezTo>
                  <a:pt x="395" y="244"/>
                  <a:pt x="395" y="244"/>
                  <a:pt x="395" y="244"/>
                </a:cubicBezTo>
                <a:cubicBezTo>
                  <a:pt x="395" y="243"/>
                  <a:pt x="395" y="243"/>
                  <a:pt x="395" y="243"/>
                </a:cubicBezTo>
                <a:cubicBezTo>
                  <a:pt x="394" y="243"/>
                  <a:pt x="394" y="243"/>
                  <a:pt x="394" y="243"/>
                </a:cubicBezTo>
                <a:cubicBezTo>
                  <a:pt x="394" y="244"/>
                  <a:pt x="394" y="244"/>
                  <a:pt x="394" y="244"/>
                </a:cubicBezTo>
                <a:cubicBezTo>
                  <a:pt x="393" y="246"/>
                  <a:pt x="393" y="246"/>
                  <a:pt x="393" y="246"/>
                </a:cubicBezTo>
                <a:cubicBezTo>
                  <a:pt x="394" y="247"/>
                  <a:pt x="394" y="247"/>
                  <a:pt x="394" y="247"/>
                </a:cubicBezTo>
                <a:cubicBezTo>
                  <a:pt x="394" y="247"/>
                  <a:pt x="394" y="247"/>
                  <a:pt x="394" y="247"/>
                </a:cubicBezTo>
                <a:cubicBezTo>
                  <a:pt x="394" y="248"/>
                  <a:pt x="394" y="248"/>
                  <a:pt x="394" y="248"/>
                </a:cubicBezTo>
                <a:cubicBezTo>
                  <a:pt x="395" y="248"/>
                  <a:pt x="395" y="248"/>
                  <a:pt x="395" y="248"/>
                </a:cubicBezTo>
                <a:cubicBezTo>
                  <a:pt x="395" y="248"/>
                  <a:pt x="395" y="248"/>
                  <a:pt x="395" y="248"/>
                </a:cubicBezTo>
                <a:close/>
                <a:moveTo>
                  <a:pt x="396" y="247"/>
                </a:moveTo>
                <a:cubicBezTo>
                  <a:pt x="396" y="246"/>
                  <a:pt x="396" y="246"/>
                  <a:pt x="396" y="246"/>
                </a:cubicBezTo>
                <a:cubicBezTo>
                  <a:pt x="396" y="244"/>
                  <a:pt x="396" y="244"/>
                  <a:pt x="396" y="244"/>
                </a:cubicBezTo>
                <a:cubicBezTo>
                  <a:pt x="397" y="246"/>
                  <a:pt x="397" y="246"/>
                  <a:pt x="397" y="246"/>
                </a:cubicBezTo>
                <a:cubicBezTo>
                  <a:pt x="397" y="246"/>
                  <a:pt x="397" y="246"/>
                  <a:pt x="397" y="246"/>
                </a:cubicBezTo>
                <a:cubicBezTo>
                  <a:pt x="397" y="247"/>
                  <a:pt x="397" y="247"/>
                  <a:pt x="397" y="247"/>
                </a:cubicBezTo>
                <a:cubicBezTo>
                  <a:pt x="396" y="247"/>
                  <a:pt x="396" y="247"/>
                  <a:pt x="396" y="247"/>
                </a:cubicBezTo>
                <a:close/>
                <a:moveTo>
                  <a:pt x="398" y="249"/>
                </a:moveTo>
                <a:cubicBezTo>
                  <a:pt x="398" y="249"/>
                  <a:pt x="398" y="249"/>
                  <a:pt x="398" y="249"/>
                </a:cubicBezTo>
                <a:cubicBezTo>
                  <a:pt x="398" y="248"/>
                  <a:pt x="398" y="248"/>
                  <a:pt x="398" y="248"/>
                </a:cubicBezTo>
                <a:cubicBezTo>
                  <a:pt x="398" y="248"/>
                  <a:pt x="398" y="248"/>
                  <a:pt x="398" y="248"/>
                </a:cubicBezTo>
                <a:cubicBezTo>
                  <a:pt x="398" y="249"/>
                  <a:pt x="398" y="249"/>
                  <a:pt x="398" y="249"/>
                </a:cubicBezTo>
                <a:cubicBezTo>
                  <a:pt x="398" y="249"/>
                  <a:pt x="398" y="249"/>
                  <a:pt x="398" y="249"/>
                </a:cubicBezTo>
                <a:close/>
                <a:moveTo>
                  <a:pt x="394" y="252"/>
                </a:moveTo>
                <a:cubicBezTo>
                  <a:pt x="394" y="252"/>
                  <a:pt x="394" y="252"/>
                  <a:pt x="394" y="252"/>
                </a:cubicBezTo>
                <a:cubicBezTo>
                  <a:pt x="394" y="254"/>
                  <a:pt x="394" y="254"/>
                  <a:pt x="394" y="254"/>
                </a:cubicBezTo>
                <a:cubicBezTo>
                  <a:pt x="394" y="255"/>
                  <a:pt x="394" y="255"/>
                  <a:pt x="394" y="255"/>
                </a:cubicBezTo>
                <a:cubicBezTo>
                  <a:pt x="395" y="255"/>
                  <a:pt x="395" y="255"/>
                  <a:pt x="395" y="255"/>
                </a:cubicBezTo>
                <a:cubicBezTo>
                  <a:pt x="395" y="255"/>
                  <a:pt x="395" y="255"/>
                  <a:pt x="395" y="255"/>
                </a:cubicBezTo>
                <a:cubicBezTo>
                  <a:pt x="397" y="255"/>
                  <a:pt x="397" y="255"/>
                  <a:pt x="397" y="255"/>
                </a:cubicBezTo>
                <a:cubicBezTo>
                  <a:pt x="397" y="256"/>
                  <a:pt x="397" y="256"/>
                  <a:pt x="397" y="256"/>
                </a:cubicBezTo>
                <a:cubicBezTo>
                  <a:pt x="398" y="256"/>
                  <a:pt x="398" y="256"/>
                  <a:pt x="398" y="256"/>
                </a:cubicBezTo>
                <a:cubicBezTo>
                  <a:pt x="399" y="256"/>
                  <a:pt x="399" y="256"/>
                  <a:pt x="399" y="256"/>
                </a:cubicBezTo>
                <a:cubicBezTo>
                  <a:pt x="400" y="255"/>
                  <a:pt x="400" y="255"/>
                  <a:pt x="400" y="255"/>
                </a:cubicBezTo>
                <a:cubicBezTo>
                  <a:pt x="399" y="254"/>
                  <a:pt x="399" y="254"/>
                  <a:pt x="399" y="254"/>
                </a:cubicBezTo>
                <a:cubicBezTo>
                  <a:pt x="399" y="253"/>
                  <a:pt x="399" y="253"/>
                  <a:pt x="399" y="253"/>
                </a:cubicBezTo>
                <a:cubicBezTo>
                  <a:pt x="398" y="253"/>
                  <a:pt x="398" y="253"/>
                  <a:pt x="398" y="253"/>
                </a:cubicBezTo>
                <a:cubicBezTo>
                  <a:pt x="398" y="252"/>
                  <a:pt x="398" y="252"/>
                  <a:pt x="398" y="252"/>
                </a:cubicBezTo>
                <a:cubicBezTo>
                  <a:pt x="397" y="252"/>
                  <a:pt x="397" y="252"/>
                  <a:pt x="397" y="252"/>
                </a:cubicBezTo>
                <a:cubicBezTo>
                  <a:pt x="396" y="252"/>
                  <a:pt x="396" y="252"/>
                  <a:pt x="396" y="252"/>
                </a:cubicBezTo>
                <a:cubicBezTo>
                  <a:pt x="396" y="252"/>
                  <a:pt x="396" y="252"/>
                  <a:pt x="396" y="252"/>
                </a:cubicBezTo>
                <a:cubicBezTo>
                  <a:pt x="396" y="251"/>
                  <a:pt x="396" y="251"/>
                  <a:pt x="396" y="251"/>
                </a:cubicBezTo>
                <a:cubicBezTo>
                  <a:pt x="396" y="251"/>
                  <a:pt x="396" y="251"/>
                  <a:pt x="396" y="251"/>
                </a:cubicBezTo>
                <a:cubicBezTo>
                  <a:pt x="395" y="252"/>
                  <a:pt x="395" y="252"/>
                  <a:pt x="395" y="252"/>
                </a:cubicBezTo>
                <a:cubicBezTo>
                  <a:pt x="395" y="252"/>
                  <a:pt x="395" y="252"/>
                  <a:pt x="395" y="252"/>
                </a:cubicBezTo>
                <a:cubicBezTo>
                  <a:pt x="394" y="252"/>
                  <a:pt x="394" y="252"/>
                  <a:pt x="394" y="252"/>
                </a:cubicBezTo>
                <a:close/>
                <a:moveTo>
                  <a:pt x="361" y="298"/>
                </a:moveTo>
                <a:cubicBezTo>
                  <a:pt x="362" y="298"/>
                  <a:pt x="362" y="298"/>
                  <a:pt x="362" y="298"/>
                </a:cubicBezTo>
                <a:cubicBezTo>
                  <a:pt x="363" y="298"/>
                  <a:pt x="363" y="298"/>
                  <a:pt x="363" y="298"/>
                </a:cubicBezTo>
                <a:cubicBezTo>
                  <a:pt x="362" y="297"/>
                  <a:pt x="362" y="297"/>
                  <a:pt x="362" y="297"/>
                </a:cubicBezTo>
                <a:cubicBezTo>
                  <a:pt x="361" y="297"/>
                  <a:pt x="361" y="297"/>
                  <a:pt x="361" y="297"/>
                </a:cubicBezTo>
                <a:cubicBezTo>
                  <a:pt x="361" y="298"/>
                  <a:pt x="361" y="298"/>
                  <a:pt x="361" y="298"/>
                </a:cubicBezTo>
                <a:close/>
                <a:moveTo>
                  <a:pt x="343" y="267"/>
                </a:moveTo>
                <a:cubicBezTo>
                  <a:pt x="343" y="268"/>
                  <a:pt x="343" y="268"/>
                  <a:pt x="343" y="268"/>
                </a:cubicBezTo>
                <a:cubicBezTo>
                  <a:pt x="344" y="268"/>
                  <a:pt x="344" y="268"/>
                  <a:pt x="344" y="268"/>
                </a:cubicBezTo>
                <a:cubicBezTo>
                  <a:pt x="344" y="268"/>
                  <a:pt x="344" y="268"/>
                  <a:pt x="344" y="268"/>
                </a:cubicBezTo>
                <a:cubicBezTo>
                  <a:pt x="343" y="267"/>
                  <a:pt x="343" y="267"/>
                  <a:pt x="343" y="267"/>
                </a:cubicBezTo>
                <a:cubicBezTo>
                  <a:pt x="343" y="267"/>
                  <a:pt x="343" y="267"/>
                  <a:pt x="343" y="267"/>
                </a:cubicBezTo>
                <a:cubicBezTo>
                  <a:pt x="343" y="267"/>
                  <a:pt x="343" y="267"/>
                  <a:pt x="343" y="267"/>
                </a:cubicBezTo>
                <a:close/>
                <a:moveTo>
                  <a:pt x="338" y="274"/>
                </a:moveTo>
                <a:cubicBezTo>
                  <a:pt x="338" y="274"/>
                  <a:pt x="338" y="274"/>
                  <a:pt x="338" y="274"/>
                </a:cubicBezTo>
                <a:cubicBezTo>
                  <a:pt x="338" y="273"/>
                  <a:pt x="338" y="273"/>
                  <a:pt x="338" y="273"/>
                </a:cubicBezTo>
                <a:cubicBezTo>
                  <a:pt x="337" y="272"/>
                  <a:pt x="337" y="272"/>
                  <a:pt x="337" y="272"/>
                </a:cubicBezTo>
                <a:cubicBezTo>
                  <a:pt x="337" y="271"/>
                  <a:pt x="337" y="271"/>
                  <a:pt x="337" y="271"/>
                </a:cubicBezTo>
                <a:cubicBezTo>
                  <a:pt x="336" y="270"/>
                  <a:pt x="336" y="270"/>
                  <a:pt x="336" y="270"/>
                </a:cubicBezTo>
                <a:cubicBezTo>
                  <a:pt x="336" y="270"/>
                  <a:pt x="336" y="270"/>
                  <a:pt x="336" y="270"/>
                </a:cubicBezTo>
                <a:cubicBezTo>
                  <a:pt x="336" y="268"/>
                  <a:pt x="336" y="268"/>
                  <a:pt x="336" y="268"/>
                </a:cubicBezTo>
                <a:cubicBezTo>
                  <a:pt x="336" y="268"/>
                  <a:pt x="336" y="268"/>
                  <a:pt x="336" y="268"/>
                </a:cubicBezTo>
                <a:cubicBezTo>
                  <a:pt x="336" y="269"/>
                  <a:pt x="336" y="269"/>
                  <a:pt x="336" y="269"/>
                </a:cubicBezTo>
                <a:cubicBezTo>
                  <a:pt x="338" y="269"/>
                  <a:pt x="338" y="269"/>
                  <a:pt x="338" y="269"/>
                </a:cubicBezTo>
                <a:cubicBezTo>
                  <a:pt x="338" y="270"/>
                  <a:pt x="338" y="270"/>
                  <a:pt x="338" y="270"/>
                </a:cubicBezTo>
                <a:cubicBezTo>
                  <a:pt x="339" y="271"/>
                  <a:pt x="339" y="271"/>
                  <a:pt x="339" y="271"/>
                </a:cubicBezTo>
                <a:cubicBezTo>
                  <a:pt x="339" y="273"/>
                  <a:pt x="339" y="273"/>
                  <a:pt x="339" y="273"/>
                </a:cubicBezTo>
                <a:cubicBezTo>
                  <a:pt x="340" y="273"/>
                  <a:pt x="340" y="273"/>
                  <a:pt x="340" y="273"/>
                </a:cubicBezTo>
                <a:cubicBezTo>
                  <a:pt x="341" y="273"/>
                  <a:pt x="341" y="273"/>
                  <a:pt x="341" y="273"/>
                </a:cubicBezTo>
                <a:cubicBezTo>
                  <a:pt x="341" y="274"/>
                  <a:pt x="341" y="274"/>
                  <a:pt x="341" y="274"/>
                </a:cubicBezTo>
                <a:cubicBezTo>
                  <a:pt x="339" y="274"/>
                  <a:pt x="339" y="274"/>
                  <a:pt x="339" y="274"/>
                </a:cubicBezTo>
                <a:cubicBezTo>
                  <a:pt x="338" y="274"/>
                  <a:pt x="338" y="274"/>
                  <a:pt x="338" y="274"/>
                </a:cubicBezTo>
                <a:close/>
                <a:moveTo>
                  <a:pt x="331" y="274"/>
                </a:moveTo>
                <a:cubicBezTo>
                  <a:pt x="331" y="273"/>
                  <a:pt x="331" y="273"/>
                  <a:pt x="331" y="273"/>
                </a:cubicBezTo>
                <a:cubicBezTo>
                  <a:pt x="331" y="272"/>
                  <a:pt x="331" y="272"/>
                  <a:pt x="331" y="272"/>
                </a:cubicBezTo>
                <a:cubicBezTo>
                  <a:pt x="331" y="271"/>
                  <a:pt x="331" y="271"/>
                  <a:pt x="331" y="271"/>
                </a:cubicBezTo>
                <a:cubicBezTo>
                  <a:pt x="331" y="270"/>
                  <a:pt x="331" y="270"/>
                  <a:pt x="331" y="270"/>
                </a:cubicBezTo>
                <a:cubicBezTo>
                  <a:pt x="332" y="269"/>
                  <a:pt x="332" y="269"/>
                  <a:pt x="332" y="269"/>
                </a:cubicBezTo>
                <a:cubicBezTo>
                  <a:pt x="332" y="269"/>
                  <a:pt x="332" y="269"/>
                  <a:pt x="332" y="269"/>
                </a:cubicBezTo>
                <a:cubicBezTo>
                  <a:pt x="333" y="270"/>
                  <a:pt x="333" y="270"/>
                  <a:pt x="333" y="270"/>
                </a:cubicBezTo>
                <a:cubicBezTo>
                  <a:pt x="332" y="270"/>
                  <a:pt x="332" y="270"/>
                  <a:pt x="332" y="270"/>
                </a:cubicBezTo>
                <a:cubicBezTo>
                  <a:pt x="332" y="271"/>
                  <a:pt x="332" y="271"/>
                  <a:pt x="332" y="271"/>
                </a:cubicBezTo>
                <a:cubicBezTo>
                  <a:pt x="333" y="272"/>
                  <a:pt x="333" y="272"/>
                  <a:pt x="333" y="272"/>
                </a:cubicBezTo>
                <a:cubicBezTo>
                  <a:pt x="332" y="274"/>
                  <a:pt x="332" y="274"/>
                  <a:pt x="332" y="274"/>
                </a:cubicBezTo>
                <a:cubicBezTo>
                  <a:pt x="331" y="274"/>
                  <a:pt x="331" y="274"/>
                  <a:pt x="331" y="274"/>
                </a:cubicBezTo>
                <a:close/>
                <a:moveTo>
                  <a:pt x="331" y="244"/>
                </a:moveTo>
                <a:cubicBezTo>
                  <a:pt x="331" y="245"/>
                  <a:pt x="331" y="245"/>
                  <a:pt x="331" y="245"/>
                </a:cubicBezTo>
                <a:cubicBezTo>
                  <a:pt x="331" y="246"/>
                  <a:pt x="331" y="246"/>
                  <a:pt x="331" y="246"/>
                </a:cubicBezTo>
                <a:cubicBezTo>
                  <a:pt x="332" y="246"/>
                  <a:pt x="332" y="246"/>
                  <a:pt x="332" y="246"/>
                </a:cubicBezTo>
                <a:cubicBezTo>
                  <a:pt x="333" y="245"/>
                  <a:pt x="333" y="245"/>
                  <a:pt x="333" y="245"/>
                </a:cubicBezTo>
                <a:cubicBezTo>
                  <a:pt x="333" y="244"/>
                  <a:pt x="333" y="244"/>
                  <a:pt x="333" y="244"/>
                </a:cubicBezTo>
                <a:cubicBezTo>
                  <a:pt x="332" y="244"/>
                  <a:pt x="332" y="244"/>
                  <a:pt x="332" y="244"/>
                </a:cubicBezTo>
                <a:cubicBezTo>
                  <a:pt x="331" y="244"/>
                  <a:pt x="331" y="244"/>
                  <a:pt x="331" y="244"/>
                </a:cubicBezTo>
                <a:close/>
                <a:moveTo>
                  <a:pt x="331" y="244"/>
                </a:moveTo>
                <a:cubicBezTo>
                  <a:pt x="331" y="243"/>
                  <a:pt x="331" y="243"/>
                  <a:pt x="331" y="243"/>
                </a:cubicBezTo>
                <a:cubicBezTo>
                  <a:pt x="331" y="241"/>
                  <a:pt x="331" y="241"/>
                  <a:pt x="331" y="241"/>
                </a:cubicBezTo>
                <a:cubicBezTo>
                  <a:pt x="333" y="240"/>
                  <a:pt x="333" y="240"/>
                  <a:pt x="333" y="240"/>
                </a:cubicBezTo>
                <a:cubicBezTo>
                  <a:pt x="334" y="239"/>
                  <a:pt x="334" y="239"/>
                  <a:pt x="334" y="239"/>
                </a:cubicBezTo>
                <a:cubicBezTo>
                  <a:pt x="334" y="240"/>
                  <a:pt x="334" y="240"/>
                  <a:pt x="334" y="240"/>
                </a:cubicBezTo>
                <a:cubicBezTo>
                  <a:pt x="334" y="241"/>
                  <a:pt x="334" y="241"/>
                  <a:pt x="334" y="241"/>
                </a:cubicBezTo>
                <a:cubicBezTo>
                  <a:pt x="334" y="242"/>
                  <a:pt x="334" y="242"/>
                  <a:pt x="334" y="242"/>
                </a:cubicBezTo>
                <a:cubicBezTo>
                  <a:pt x="334" y="244"/>
                  <a:pt x="334" y="244"/>
                  <a:pt x="334" y="244"/>
                </a:cubicBezTo>
                <a:cubicBezTo>
                  <a:pt x="333" y="244"/>
                  <a:pt x="333" y="244"/>
                  <a:pt x="333" y="244"/>
                </a:cubicBezTo>
                <a:cubicBezTo>
                  <a:pt x="331" y="244"/>
                  <a:pt x="331" y="244"/>
                  <a:pt x="331" y="244"/>
                </a:cubicBezTo>
                <a:close/>
                <a:moveTo>
                  <a:pt x="271" y="231"/>
                </a:moveTo>
                <a:cubicBezTo>
                  <a:pt x="271" y="231"/>
                  <a:pt x="271" y="231"/>
                  <a:pt x="271" y="231"/>
                </a:cubicBezTo>
                <a:cubicBezTo>
                  <a:pt x="271" y="230"/>
                  <a:pt x="271" y="230"/>
                  <a:pt x="271" y="230"/>
                </a:cubicBezTo>
                <a:cubicBezTo>
                  <a:pt x="270" y="230"/>
                  <a:pt x="270" y="230"/>
                  <a:pt x="270" y="230"/>
                </a:cubicBezTo>
                <a:cubicBezTo>
                  <a:pt x="270" y="231"/>
                  <a:pt x="270" y="231"/>
                  <a:pt x="270" y="231"/>
                </a:cubicBezTo>
                <a:cubicBezTo>
                  <a:pt x="271" y="231"/>
                  <a:pt x="271" y="231"/>
                  <a:pt x="271" y="231"/>
                </a:cubicBezTo>
                <a:close/>
                <a:moveTo>
                  <a:pt x="219" y="217"/>
                </a:moveTo>
                <a:cubicBezTo>
                  <a:pt x="220" y="216"/>
                  <a:pt x="220" y="216"/>
                  <a:pt x="220" y="216"/>
                </a:cubicBezTo>
                <a:cubicBezTo>
                  <a:pt x="221" y="216"/>
                  <a:pt x="221" y="216"/>
                  <a:pt x="221" y="216"/>
                </a:cubicBezTo>
                <a:cubicBezTo>
                  <a:pt x="220" y="217"/>
                  <a:pt x="220" y="217"/>
                  <a:pt x="220" y="217"/>
                </a:cubicBezTo>
                <a:cubicBezTo>
                  <a:pt x="220" y="217"/>
                  <a:pt x="219" y="217"/>
                  <a:pt x="219" y="217"/>
                </a:cubicBezTo>
                <a:close/>
                <a:moveTo>
                  <a:pt x="215" y="219"/>
                </a:moveTo>
                <a:cubicBezTo>
                  <a:pt x="216" y="219"/>
                  <a:pt x="216" y="219"/>
                  <a:pt x="216" y="219"/>
                </a:cubicBezTo>
                <a:cubicBezTo>
                  <a:pt x="216" y="218"/>
                  <a:pt x="216" y="218"/>
                  <a:pt x="216" y="218"/>
                </a:cubicBezTo>
                <a:cubicBezTo>
                  <a:pt x="215" y="218"/>
                  <a:pt x="215" y="218"/>
                  <a:pt x="215" y="218"/>
                </a:cubicBezTo>
                <a:cubicBezTo>
                  <a:pt x="215" y="219"/>
                  <a:pt x="215" y="219"/>
                  <a:pt x="215" y="219"/>
                </a:cubicBezTo>
                <a:close/>
                <a:moveTo>
                  <a:pt x="217" y="223"/>
                </a:moveTo>
                <a:cubicBezTo>
                  <a:pt x="217" y="223"/>
                  <a:pt x="217" y="223"/>
                  <a:pt x="217" y="223"/>
                </a:cubicBezTo>
                <a:cubicBezTo>
                  <a:pt x="217" y="222"/>
                  <a:pt x="217" y="222"/>
                  <a:pt x="217" y="222"/>
                </a:cubicBezTo>
                <a:cubicBezTo>
                  <a:pt x="217" y="223"/>
                  <a:pt x="217" y="223"/>
                  <a:pt x="217" y="223"/>
                </a:cubicBezTo>
                <a:cubicBezTo>
                  <a:pt x="217" y="223"/>
                  <a:pt x="217" y="223"/>
                  <a:pt x="217" y="223"/>
                </a:cubicBezTo>
                <a:close/>
                <a:moveTo>
                  <a:pt x="217" y="224"/>
                </a:moveTo>
                <a:cubicBezTo>
                  <a:pt x="216" y="222"/>
                  <a:pt x="216" y="222"/>
                  <a:pt x="216" y="222"/>
                </a:cubicBezTo>
                <a:cubicBezTo>
                  <a:pt x="216" y="223"/>
                  <a:pt x="216" y="223"/>
                  <a:pt x="216" y="223"/>
                </a:cubicBezTo>
                <a:cubicBezTo>
                  <a:pt x="216" y="223"/>
                  <a:pt x="216" y="223"/>
                  <a:pt x="216" y="223"/>
                </a:cubicBezTo>
                <a:cubicBezTo>
                  <a:pt x="217" y="224"/>
                  <a:pt x="217" y="224"/>
                  <a:pt x="217" y="224"/>
                </a:cubicBezTo>
                <a:close/>
                <a:moveTo>
                  <a:pt x="219" y="227"/>
                </a:moveTo>
                <a:cubicBezTo>
                  <a:pt x="219" y="228"/>
                  <a:pt x="219" y="228"/>
                  <a:pt x="219" y="228"/>
                </a:cubicBezTo>
                <a:cubicBezTo>
                  <a:pt x="220" y="228"/>
                  <a:pt x="220" y="228"/>
                  <a:pt x="220" y="228"/>
                </a:cubicBezTo>
                <a:cubicBezTo>
                  <a:pt x="221" y="227"/>
                  <a:pt x="221" y="227"/>
                  <a:pt x="221" y="227"/>
                </a:cubicBezTo>
                <a:cubicBezTo>
                  <a:pt x="220" y="227"/>
                  <a:pt x="220" y="227"/>
                  <a:pt x="220" y="227"/>
                </a:cubicBezTo>
                <a:cubicBezTo>
                  <a:pt x="221" y="226"/>
                  <a:pt x="221" y="226"/>
                  <a:pt x="221" y="226"/>
                </a:cubicBezTo>
                <a:cubicBezTo>
                  <a:pt x="220" y="226"/>
                  <a:pt x="220" y="226"/>
                  <a:pt x="220" y="226"/>
                </a:cubicBezTo>
                <a:cubicBezTo>
                  <a:pt x="220" y="227"/>
                  <a:pt x="220" y="227"/>
                  <a:pt x="220" y="227"/>
                </a:cubicBezTo>
                <a:cubicBezTo>
                  <a:pt x="220" y="226"/>
                  <a:pt x="220" y="226"/>
                  <a:pt x="220" y="226"/>
                </a:cubicBezTo>
                <a:cubicBezTo>
                  <a:pt x="219" y="227"/>
                  <a:pt x="219" y="227"/>
                  <a:pt x="219" y="227"/>
                </a:cubicBezTo>
                <a:close/>
                <a:moveTo>
                  <a:pt x="217" y="234"/>
                </a:moveTo>
                <a:cubicBezTo>
                  <a:pt x="217" y="232"/>
                  <a:pt x="217" y="232"/>
                  <a:pt x="217" y="232"/>
                </a:cubicBezTo>
                <a:cubicBezTo>
                  <a:pt x="217" y="232"/>
                  <a:pt x="217" y="232"/>
                  <a:pt x="217" y="232"/>
                </a:cubicBezTo>
                <a:cubicBezTo>
                  <a:pt x="217" y="231"/>
                  <a:pt x="217" y="231"/>
                  <a:pt x="217" y="231"/>
                </a:cubicBezTo>
                <a:cubicBezTo>
                  <a:pt x="218" y="229"/>
                  <a:pt x="218" y="229"/>
                  <a:pt x="218" y="229"/>
                </a:cubicBezTo>
                <a:cubicBezTo>
                  <a:pt x="219" y="230"/>
                  <a:pt x="219" y="230"/>
                  <a:pt x="219" y="230"/>
                </a:cubicBezTo>
                <a:cubicBezTo>
                  <a:pt x="218" y="231"/>
                  <a:pt x="218" y="231"/>
                  <a:pt x="218" y="231"/>
                </a:cubicBezTo>
                <a:cubicBezTo>
                  <a:pt x="219" y="231"/>
                  <a:pt x="219" y="231"/>
                  <a:pt x="219" y="231"/>
                </a:cubicBezTo>
                <a:cubicBezTo>
                  <a:pt x="219" y="232"/>
                  <a:pt x="219" y="232"/>
                  <a:pt x="219" y="232"/>
                </a:cubicBezTo>
                <a:cubicBezTo>
                  <a:pt x="219" y="233"/>
                  <a:pt x="219" y="233"/>
                  <a:pt x="219" y="233"/>
                </a:cubicBezTo>
                <a:cubicBezTo>
                  <a:pt x="218" y="233"/>
                  <a:pt x="218" y="233"/>
                  <a:pt x="218" y="233"/>
                </a:cubicBezTo>
                <a:cubicBezTo>
                  <a:pt x="218" y="234"/>
                  <a:pt x="218" y="234"/>
                  <a:pt x="218" y="234"/>
                </a:cubicBezTo>
                <a:cubicBezTo>
                  <a:pt x="217" y="234"/>
                  <a:pt x="217" y="234"/>
                  <a:pt x="217" y="234"/>
                </a:cubicBezTo>
                <a:close/>
                <a:moveTo>
                  <a:pt x="264" y="206"/>
                </a:moveTo>
                <a:cubicBezTo>
                  <a:pt x="264" y="205"/>
                  <a:pt x="264" y="205"/>
                  <a:pt x="264" y="205"/>
                </a:cubicBezTo>
                <a:cubicBezTo>
                  <a:pt x="264" y="205"/>
                  <a:pt x="264" y="205"/>
                  <a:pt x="264" y="205"/>
                </a:cubicBezTo>
                <a:cubicBezTo>
                  <a:pt x="264" y="205"/>
                  <a:pt x="264" y="205"/>
                  <a:pt x="264" y="205"/>
                </a:cubicBezTo>
                <a:cubicBezTo>
                  <a:pt x="264" y="206"/>
                  <a:pt x="264" y="206"/>
                  <a:pt x="264" y="206"/>
                </a:cubicBezTo>
                <a:cubicBezTo>
                  <a:pt x="264" y="206"/>
                  <a:pt x="264" y="206"/>
                  <a:pt x="264" y="206"/>
                </a:cubicBezTo>
                <a:close/>
                <a:moveTo>
                  <a:pt x="279" y="196"/>
                </a:moveTo>
                <a:cubicBezTo>
                  <a:pt x="279" y="195"/>
                  <a:pt x="279" y="195"/>
                  <a:pt x="279" y="195"/>
                </a:cubicBezTo>
                <a:cubicBezTo>
                  <a:pt x="279" y="194"/>
                  <a:pt x="279" y="194"/>
                  <a:pt x="279" y="194"/>
                </a:cubicBezTo>
                <a:cubicBezTo>
                  <a:pt x="279" y="193"/>
                  <a:pt x="279" y="193"/>
                  <a:pt x="279" y="193"/>
                </a:cubicBezTo>
                <a:cubicBezTo>
                  <a:pt x="280" y="192"/>
                  <a:pt x="280" y="192"/>
                  <a:pt x="280" y="192"/>
                </a:cubicBezTo>
                <a:cubicBezTo>
                  <a:pt x="280" y="193"/>
                  <a:pt x="280" y="193"/>
                  <a:pt x="280" y="193"/>
                </a:cubicBezTo>
                <a:cubicBezTo>
                  <a:pt x="280" y="193"/>
                  <a:pt x="280" y="193"/>
                  <a:pt x="280" y="193"/>
                </a:cubicBezTo>
                <a:cubicBezTo>
                  <a:pt x="281" y="194"/>
                  <a:pt x="281" y="194"/>
                  <a:pt x="281" y="194"/>
                </a:cubicBezTo>
                <a:cubicBezTo>
                  <a:pt x="280" y="195"/>
                  <a:pt x="280" y="195"/>
                  <a:pt x="280" y="195"/>
                </a:cubicBezTo>
                <a:cubicBezTo>
                  <a:pt x="280" y="196"/>
                  <a:pt x="280" y="196"/>
                  <a:pt x="280" y="196"/>
                </a:cubicBezTo>
                <a:cubicBezTo>
                  <a:pt x="279" y="196"/>
                  <a:pt x="279" y="196"/>
                  <a:pt x="279" y="196"/>
                </a:cubicBezTo>
                <a:close/>
                <a:moveTo>
                  <a:pt x="262" y="215"/>
                </a:moveTo>
                <a:cubicBezTo>
                  <a:pt x="262" y="215"/>
                  <a:pt x="262" y="215"/>
                  <a:pt x="262" y="215"/>
                </a:cubicBezTo>
                <a:cubicBezTo>
                  <a:pt x="262" y="214"/>
                  <a:pt x="262" y="214"/>
                  <a:pt x="262" y="214"/>
                </a:cubicBezTo>
                <a:cubicBezTo>
                  <a:pt x="263" y="213"/>
                  <a:pt x="263" y="213"/>
                  <a:pt x="263" y="213"/>
                </a:cubicBezTo>
                <a:cubicBezTo>
                  <a:pt x="263" y="213"/>
                  <a:pt x="263" y="213"/>
                  <a:pt x="263" y="213"/>
                </a:cubicBezTo>
                <a:cubicBezTo>
                  <a:pt x="263" y="212"/>
                  <a:pt x="263" y="212"/>
                  <a:pt x="263" y="212"/>
                </a:cubicBezTo>
                <a:cubicBezTo>
                  <a:pt x="263" y="211"/>
                  <a:pt x="263" y="211"/>
                  <a:pt x="263" y="211"/>
                </a:cubicBezTo>
                <a:cubicBezTo>
                  <a:pt x="262" y="211"/>
                  <a:pt x="262" y="211"/>
                  <a:pt x="262" y="211"/>
                </a:cubicBezTo>
                <a:cubicBezTo>
                  <a:pt x="262" y="210"/>
                  <a:pt x="262" y="210"/>
                  <a:pt x="262" y="210"/>
                </a:cubicBezTo>
                <a:cubicBezTo>
                  <a:pt x="262" y="209"/>
                  <a:pt x="262" y="209"/>
                  <a:pt x="262" y="209"/>
                </a:cubicBezTo>
                <a:cubicBezTo>
                  <a:pt x="263" y="209"/>
                  <a:pt x="263" y="209"/>
                  <a:pt x="263" y="209"/>
                </a:cubicBezTo>
                <a:cubicBezTo>
                  <a:pt x="263" y="208"/>
                  <a:pt x="263" y="208"/>
                  <a:pt x="263" y="208"/>
                </a:cubicBezTo>
                <a:cubicBezTo>
                  <a:pt x="262" y="207"/>
                  <a:pt x="262" y="207"/>
                  <a:pt x="262" y="207"/>
                </a:cubicBezTo>
                <a:cubicBezTo>
                  <a:pt x="261" y="207"/>
                  <a:pt x="261" y="207"/>
                  <a:pt x="261" y="207"/>
                </a:cubicBezTo>
                <a:cubicBezTo>
                  <a:pt x="261" y="208"/>
                  <a:pt x="261" y="208"/>
                  <a:pt x="261" y="208"/>
                </a:cubicBezTo>
                <a:cubicBezTo>
                  <a:pt x="261" y="209"/>
                  <a:pt x="261" y="209"/>
                  <a:pt x="261" y="209"/>
                </a:cubicBezTo>
                <a:cubicBezTo>
                  <a:pt x="260" y="208"/>
                  <a:pt x="260" y="208"/>
                  <a:pt x="260" y="208"/>
                </a:cubicBezTo>
                <a:cubicBezTo>
                  <a:pt x="259" y="208"/>
                  <a:pt x="259" y="208"/>
                  <a:pt x="259" y="208"/>
                </a:cubicBezTo>
                <a:cubicBezTo>
                  <a:pt x="257" y="210"/>
                  <a:pt x="257" y="210"/>
                  <a:pt x="257" y="210"/>
                </a:cubicBezTo>
                <a:cubicBezTo>
                  <a:pt x="256" y="210"/>
                  <a:pt x="256" y="210"/>
                  <a:pt x="256" y="210"/>
                </a:cubicBezTo>
                <a:cubicBezTo>
                  <a:pt x="256" y="210"/>
                  <a:pt x="256" y="210"/>
                  <a:pt x="256" y="210"/>
                </a:cubicBezTo>
                <a:cubicBezTo>
                  <a:pt x="257" y="209"/>
                  <a:pt x="257" y="209"/>
                  <a:pt x="257" y="209"/>
                </a:cubicBezTo>
                <a:cubicBezTo>
                  <a:pt x="258" y="208"/>
                  <a:pt x="258" y="208"/>
                  <a:pt x="258" y="208"/>
                </a:cubicBezTo>
                <a:cubicBezTo>
                  <a:pt x="258" y="207"/>
                  <a:pt x="258" y="207"/>
                  <a:pt x="258" y="207"/>
                </a:cubicBezTo>
                <a:cubicBezTo>
                  <a:pt x="257" y="208"/>
                  <a:pt x="257" y="208"/>
                  <a:pt x="257" y="208"/>
                </a:cubicBezTo>
                <a:cubicBezTo>
                  <a:pt x="257" y="207"/>
                  <a:pt x="257" y="207"/>
                  <a:pt x="257" y="207"/>
                </a:cubicBezTo>
                <a:cubicBezTo>
                  <a:pt x="257" y="206"/>
                  <a:pt x="257" y="206"/>
                  <a:pt x="257" y="206"/>
                </a:cubicBezTo>
                <a:cubicBezTo>
                  <a:pt x="258" y="206"/>
                  <a:pt x="258" y="206"/>
                  <a:pt x="258" y="206"/>
                </a:cubicBezTo>
                <a:cubicBezTo>
                  <a:pt x="257" y="204"/>
                  <a:pt x="257" y="204"/>
                  <a:pt x="257" y="204"/>
                </a:cubicBezTo>
                <a:cubicBezTo>
                  <a:pt x="258" y="203"/>
                  <a:pt x="258" y="203"/>
                  <a:pt x="258" y="203"/>
                </a:cubicBezTo>
                <a:cubicBezTo>
                  <a:pt x="259" y="203"/>
                  <a:pt x="259" y="203"/>
                  <a:pt x="259" y="203"/>
                </a:cubicBezTo>
                <a:cubicBezTo>
                  <a:pt x="258" y="204"/>
                  <a:pt x="258" y="204"/>
                  <a:pt x="258" y="204"/>
                </a:cubicBezTo>
                <a:cubicBezTo>
                  <a:pt x="259" y="205"/>
                  <a:pt x="259" y="205"/>
                  <a:pt x="259" y="205"/>
                </a:cubicBezTo>
                <a:cubicBezTo>
                  <a:pt x="260" y="206"/>
                  <a:pt x="260" y="206"/>
                  <a:pt x="260" y="206"/>
                </a:cubicBezTo>
                <a:cubicBezTo>
                  <a:pt x="260" y="206"/>
                  <a:pt x="260" y="206"/>
                  <a:pt x="260" y="206"/>
                </a:cubicBezTo>
                <a:cubicBezTo>
                  <a:pt x="262" y="206"/>
                  <a:pt x="262" y="206"/>
                  <a:pt x="262" y="206"/>
                </a:cubicBezTo>
                <a:cubicBezTo>
                  <a:pt x="262" y="205"/>
                  <a:pt x="262" y="205"/>
                  <a:pt x="262" y="205"/>
                </a:cubicBezTo>
                <a:cubicBezTo>
                  <a:pt x="262" y="204"/>
                  <a:pt x="262" y="204"/>
                  <a:pt x="262" y="204"/>
                </a:cubicBezTo>
                <a:cubicBezTo>
                  <a:pt x="262" y="203"/>
                  <a:pt x="262" y="203"/>
                  <a:pt x="262" y="203"/>
                </a:cubicBezTo>
                <a:cubicBezTo>
                  <a:pt x="262" y="203"/>
                  <a:pt x="262" y="203"/>
                  <a:pt x="262" y="203"/>
                </a:cubicBezTo>
                <a:cubicBezTo>
                  <a:pt x="263" y="204"/>
                  <a:pt x="263" y="204"/>
                  <a:pt x="263" y="204"/>
                </a:cubicBezTo>
                <a:cubicBezTo>
                  <a:pt x="264" y="204"/>
                  <a:pt x="264" y="204"/>
                  <a:pt x="264" y="204"/>
                </a:cubicBezTo>
                <a:cubicBezTo>
                  <a:pt x="264" y="203"/>
                  <a:pt x="264" y="203"/>
                  <a:pt x="264" y="203"/>
                </a:cubicBezTo>
                <a:cubicBezTo>
                  <a:pt x="265" y="201"/>
                  <a:pt x="265" y="201"/>
                  <a:pt x="265" y="201"/>
                </a:cubicBezTo>
                <a:cubicBezTo>
                  <a:pt x="265" y="203"/>
                  <a:pt x="265" y="203"/>
                  <a:pt x="265" y="203"/>
                </a:cubicBezTo>
                <a:cubicBezTo>
                  <a:pt x="266" y="203"/>
                  <a:pt x="266" y="203"/>
                  <a:pt x="266" y="203"/>
                </a:cubicBezTo>
                <a:cubicBezTo>
                  <a:pt x="267" y="202"/>
                  <a:pt x="267" y="202"/>
                  <a:pt x="267" y="202"/>
                </a:cubicBezTo>
                <a:cubicBezTo>
                  <a:pt x="266" y="204"/>
                  <a:pt x="266" y="204"/>
                  <a:pt x="266" y="204"/>
                </a:cubicBezTo>
                <a:cubicBezTo>
                  <a:pt x="266" y="205"/>
                  <a:pt x="266" y="205"/>
                  <a:pt x="266" y="205"/>
                </a:cubicBezTo>
                <a:cubicBezTo>
                  <a:pt x="266" y="205"/>
                  <a:pt x="266" y="205"/>
                  <a:pt x="266" y="205"/>
                </a:cubicBezTo>
                <a:cubicBezTo>
                  <a:pt x="267" y="205"/>
                  <a:pt x="267" y="205"/>
                  <a:pt x="267" y="205"/>
                </a:cubicBezTo>
                <a:cubicBezTo>
                  <a:pt x="266" y="206"/>
                  <a:pt x="266" y="206"/>
                  <a:pt x="266" y="206"/>
                </a:cubicBezTo>
                <a:cubicBezTo>
                  <a:pt x="267" y="206"/>
                  <a:pt x="267" y="206"/>
                  <a:pt x="267" y="206"/>
                </a:cubicBezTo>
                <a:cubicBezTo>
                  <a:pt x="268" y="205"/>
                  <a:pt x="268" y="205"/>
                  <a:pt x="268" y="205"/>
                </a:cubicBezTo>
                <a:cubicBezTo>
                  <a:pt x="268" y="204"/>
                  <a:pt x="268" y="204"/>
                  <a:pt x="268" y="204"/>
                </a:cubicBezTo>
                <a:cubicBezTo>
                  <a:pt x="269" y="203"/>
                  <a:pt x="269" y="203"/>
                  <a:pt x="269" y="203"/>
                </a:cubicBezTo>
                <a:cubicBezTo>
                  <a:pt x="270" y="202"/>
                  <a:pt x="270" y="202"/>
                  <a:pt x="270" y="202"/>
                </a:cubicBezTo>
                <a:cubicBezTo>
                  <a:pt x="270" y="204"/>
                  <a:pt x="270" y="204"/>
                  <a:pt x="270" y="204"/>
                </a:cubicBezTo>
                <a:cubicBezTo>
                  <a:pt x="269" y="205"/>
                  <a:pt x="269" y="205"/>
                  <a:pt x="269" y="205"/>
                </a:cubicBezTo>
                <a:cubicBezTo>
                  <a:pt x="269" y="207"/>
                  <a:pt x="269" y="207"/>
                  <a:pt x="269" y="207"/>
                </a:cubicBezTo>
                <a:cubicBezTo>
                  <a:pt x="270" y="207"/>
                  <a:pt x="270" y="207"/>
                  <a:pt x="270" y="207"/>
                </a:cubicBezTo>
                <a:cubicBezTo>
                  <a:pt x="271" y="207"/>
                  <a:pt x="271" y="207"/>
                  <a:pt x="271" y="207"/>
                </a:cubicBezTo>
                <a:cubicBezTo>
                  <a:pt x="271" y="206"/>
                  <a:pt x="271" y="206"/>
                  <a:pt x="271" y="206"/>
                </a:cubicBezTo>
                <a:cubicBezTo>
                  <a:pt x="273" y="205"/>
                  <a:pt x="273" y="205"/>
                  <a:pt x="273" y="205"/>
                </a:cubicBezTo>
                <a:cubicBezTo>
                  <a:pt x="273" y="203"/>
                  <a:pt x="273" y="203"/>
                  <a:pt x="273" y="203"/>
                </a:cubicBezTo>
                <a:cubicBezTo>
                  <a:pt x="274" y="202"/>
                  <a:pt x="274" y="202"/>
                  <a:pt x="274" y="202"/>
                </a:cubicBezTo>
                <a:cubicBezTo>
                  <a:pt x="273" y="201"/>
                  <a:pt x="273" y="201"/>
                  <a:pt x="273" y="201"/>
                </a:cubicBezTo>
                <a:cubicBezTo>
                  <a:pt x="274" y="200"/>
                  <a:pt x="274" y="200"/>
                  <a:pt x="274" y="200"/>
                </a:cubicBezTo>
                <a:cubicBezTo>
                  <a:pt x="274" y="199"/>
                  <a:pt x="274" y="199"/>
                  <a:pt x="274" y="199"/>
                </a:cubicBezTo>
                <a:cubicBezTo>
                  <a:pt x="273" y="200"/>
                  <a:pt x="273" y="200"/>
                  <a:pt x="273" y="200"/>
                </a:cubicBezTo>
                <a:cubicBezTo>
                  <a:pt x="272" y="199"/>
                  <a:pt x="272" y="199"/>
                  <a:pt x="272" y="199"/>
                </a:cubicBezTo>
                <a:cubicBezTo>
                  <a:pt x="271" y="200"/>
                  <a:pt x="271" y="200"/>
                  <a:pt x="271" y="200"/>
                </a:cubicBezTo>
                <a:cubicBezTo>
                  <a:pt x="271" y="198"/>
                  <a:pt x="271" y="198"/>
                  <a:pt x="271" y="198"/>
                </a:cubicBezTo>
                <a:cubicBezTo>
                  <a:pt x="272" y="198"/>
                  <a:pt x="272" y="198"/>
                  <a:pt x="272" y="198"/>
                </a:cubicBezTo>
                <a:cubicBezTo>
                  <a:pt x="272" y="197"/>
                  <a:pt x="272" y="197"/>
                  <a:pt x="272" y="197"/>
                </a:cubicBezTo>
                <a:cubicBezTo>
                  <a:pt x="270" y="198"/>
                  <a:pt x="270" y="198"/>
                  <a:pt x="270" y="198"/>
                </a:cubicBezTo>
                <a:cubicBezTo>
                  <a:pt x="270" y="197"/>
                  <a:pt x="270" y="197"/>
                  <a:pt x="270" y="197"/>
                </a:cubicBezTo>
                <a:cubicBezTo>
                  <a:pt x="269" y="196"/>
                  <a:pt x="269" y="196"/>
                  <a:pt x="269" y="196"/>
                </a:cubicBezTo>
                <a:cubicBezTo>
                  <a:pt x="269" y="195"/>
                  <a:pt x="269" y="195"/>
                  <a:pt x="269" y="195"/>
                </a:cubicBezTo>
                <a:cubicBezTo>
                  <a:pt x="268" y="193"/>
                  <a:pt x="268" y="193"/>
                  <a:pt x="268" y="193"/>
                </a:cubicBezTo>
                <a:cubicBezTo>
                  <a:pt x="268" y="192"/>
                  <a:pt x="268" y="192"/>
                  <a:pt x="268" y="192"/>
                </a:cubicBezTo>
                <a:cubicBezTo>
                  <a:pt x="269" y="190"/>
                  <a:pt x="269" y="190"/>
                  <a:pt x="269" y="190"/>
                </a:cubicBezTo>
                <a:cubicBezTo>
                  <a:pt x="268" y="189"/>
                  <a:pt x="268" y="189"/>
                  <a:pt x="268" y="189"/>
                </a:cubicBezTo>
                <a:cubicBezTo>
                  <a:pt x="267" y="190"/>
                  <a:pt x="267" y="190"/>
                  <a:pt x="267" y="190"/>
                </a:cubicBezTo>
                <a:cubicBezTo>
                  <a:pt x="267" y="191"/>
                  <a:pt x="267" y="191"/>
                  <a:pt x="267" y="191"/>
                </a:cubicBezTo>
                <a:cubicBezTo>
                  <a:pt x="267" y="190"/>
                  <a:pt x="267" y="190"/>
                  <a:pt x="267" y="190"/>
                </a:cubicBezTo>
                <a:cubicBezTo>
                  <a:pt x="265" y="189"/>
                  <a:pt x="265" y="189"/>
                  <a:pt x="265" y="189"/>
                </a:cubicBezTo>
                <a:cubicBezTo>
                  <a:pt x="265" y="187"/>
                  <a:pt x="265" y="187"/>
                  <a:pt x="265" y="187"/>
                </a:cubicBezTo>
                <a:cubicBezTo>
                  <a:pt x="264" y="186"/>
                  <a:pt x="264" y="186"/>
                  <a:pt x="264" y="186"/>
                </a:cubicBezTo>
                <a:cubicBezTo>
                  <a:pt x="264" y="184"/>
                  <a:pt x="264" y="184"/>
                  <a:pt x="264" y="184"/>
                </a:cubicBezTo>
                <a:cubicBezTo>
                  <a:pt x="263" y="183"/>
                  <a:pt x="263" y="183"/>
                  <a:pt x="263" y="183"/>
                </a:cubicBezTo>
                <a:cubicBezTo>
                  <a:pt x="263" y="182"/>
                  <a:pt x="263" y="182"/>
                  <a:pt x="263" y="182"/>
                </a:cubicBezTo>
                <a:cubicBezTo>
                  <a:pt x="263" y="181"/>
                  <a:pt x="263" y="181"/>
                  <a:pt x="263" y="181"/>
                </a:cubicBezTo>
                <a:cubicBezTo>
                  <a:pt x="263" y="180"/>
                  <a:pt x="263" y="180"/>
                  <a:pt x="263" y="180"/>
                </a:cubicBezTo>
                <a:cubicBezTo>
                  <a:pt x="264" y="180"/>
                  <a:pt x="264" y="180"/>
                  <a:pt x="264" y="180"/>
                </a:cubicBezTo>
                <a:cubicBezTo>
                  <a:pt x="264" y="179"/>
                  <a:pt x="264" y="179"/>
                  <a:pt x="264" y="179"/>
                </a:cubicBezTo>
                <a:cubicBezTo>
                  <a:pt x="265" y="179"/>
                  <a:pt x="265" y="179"/>
                  <a:pt x="265" y="179"/>
                </a:cubicBezTo>
                <a:cubicBezTo>
                  <a:pt x="265" y="179"/>
                  <a:pt x="265" y="179"/>
                  <a:pt x="265" y="179"/>
                </a:cubicBezTo>
                <a:cubicBezTo>
                  <a:pt x="266" y="178"/>
                  <a:pt x="266" y="178"/>
                  <a:pt x="266" y="178"/>
                </a:cubicBezTo>
                <a:cubicBezTo>
                  <a:pt x="266" y="177"/>
                  <a:pt x="266" y="177"/>
                  <a:pt x="266" y="177"/>
                </a:cubicBezTo>
                <a:cubicBezTo>
                  <a:pt x="267" y="175"/>
                  <a:pt x="267" y="175"/>
                  <a:pt x="267" y="175"/>
                </a:cubicBezTo>
                <a:cubicBezTo>
                  <a:pt x="267" y="173"/>
                  <a:pt x="267" y="173"/>
                  <a:pt x="267" y="173"/>
                </a:cubicBezTo>
                <a:cubicBezTo>
                  <a:pt x="267" y="173"/>
                  <a:pt x="267" y="173"/>
                  <a:pt x="267" y="173"/>
                </a:cubicBezTo>
                <a:cubicBezTo>
                  <a:pt x="267" y="171"/>
                  <a:pt x="267" y="171"/>
                  <a:pt x="267" y="171"/>
                </a:cubicBezTo>
                <a:cubicBezTo>
                  <a:pt x="267" y="169"/>
                  <a:pt x="267" y="169"/>
                  <a:pt x="267" y="169"/>
                </a:cubicBezTo>
                <a:cubicBezTo>
                  <a:pt x="268" y="169"/>
                  <a:pt x="268" y="169"/>
                  <a:pt x="268" y="169"/>
                </a:cubicBezTo>
                <a:cubicBezTo>
                  <a:pt x="268" y="167"/>
                  <a:pt x="268" y="167"/>
                  <a:pt x="268" y="167"/>
                </a:cubicBezTo>
                <a:cubicBezTo>
                  <a:pt x="269" y="166"/>
                  <a:pt x="269" y="166"/>
                  <a:pt x="269" y="166"/>
                </a:cubicBezTo>
                <a:cubicBezTo>
                  <a:pt x="269" y="164"/>
                  <a:pt x="269" y="164"/>
                  <a:pt x="269" y="164"/>
                </a:cubicBezTo>
                <a:cubicBezTo>
                  <a:pt x="270" y="164"/>
                  <a:pt x="270" y="164"/>
                  <a:pt x="270" y="164"/>
                </a:cubicBezTo>
                <a:cubicBezTo>
                  <a:pt x="270" y="161"/>
                  <a:pt x="270" y="161"/>
                  <a:pt x="270" y="161"/>
                </a:cubicBezTo>
                <a:cubicBezTo>
                  <a:pt x="271" y="161"/>
                  <a:pt x="271" y="161"/>
                  <a:pt x="271" y="161"/>
                </a:cubicBezTo>
                <a:cubicBezTo>
                  <a:pt x="271" y="160"/>
                  <a:pt x="271" y="160"/>
                  <a:pt x="271" y="160"/>
                </a:cubicBezTo>
                <a:cubicBezTo>
                  <a:pt x="272" y="158"/>
                  <a:pt x="272" y="158"/>
                  <a:pt x="272" y="158"/>
                </a:cubicBezTo>
                <a:cubicBezTo>
                  <a:pt x="272" y="157"/>
                  <a:pt x="272" y="157"/>
                  <a:pt x="272" y="157"/>
                </a:cubicBezTo>
                <a:cubicBezTo>
                  <a:pt x="272" y="156"/>
                  <a:pt x="272" y="156"/>
                  <a:pt x="272" y="156"/>
                </a:cubicBezTo>
                <a:cubicBezTo>
                  <a:pt x="273" y="156"/>
                  <a:pt x="273" y="156"/>
                  <a:pt x="273" y="156"/>
                </a:cubicBezTo>
                <a:cubicBezTo>
                  <a:pt x="273" y="155"/>
                  <a:pt x="273" y="155"/>
                  <a:pt x="273" y="155"/>
                </a:cubicBezTo>
                <a:cubicBezTo>
                  <a:pt x="272" y="153"/>
                  <a:pt x="272" y="153"/>
                  <a:pt x="272" y="153"/>
                </a:cubicBezTo>
                <a:cubicBezTo>
                  <a:pt x="273" y="152"/>
                  <a:pt x="273" y="152"/>
                  <a:pt x="273" y="152"/>
                </a:cubicBezTo>
                <a:cubicBezTo>
                  <a:pt x="273" y="152"/>
                  <a:pt x="273" y="152"/>
                  <a:pt x="273" y="152"/>
                </a:cubicBezTo>
                <a:cubicBezTo>
                  <a:pt x="271" y="151"/>
                  <a:pt x="271" y="151"/>
                  <a:pt x="271" y="151"/>
                </a:cubicBezTo>
                <a:cubicBezTo>
                  <a:pt x="271" y="149"/>
                  <a:pt x="271" y="149"/>
                  <a:pt x="271" y="149"/>
                </a:cubicBezTo>
                <a:cubicBezTo>
                  <a:pt x="271" y="149"/>
                  <a:pt x="271" y="149"/>
                  <a:pt x="271" y="149"/>
                </a:cubicBezTo>
                <a:cubicBezTo>
                  <a:pt x="270" y="146"/>
                  <a:pt x="270" y="146"/>
                  <a:pt x="270" y="146"/>
                </a:cubicBezTo>
                <a:cubicBezTo>
                  <a:pt x="269" y="146"/>
                  <a:pt x="269" y="146"/>
                  <a:pt x="269" y="146"/>
                </a:cubicBezTo>
                <a:cubicBezTo>
                  <a:pt x="269" y="146"/>
                  <a:pt x="269" y="146"/>
                  <a:pt x="269" y="146"/>
                </a:cubicBezTo>
                <a:cubicBezTo>
                  <a:pt x="268" y="146"/>
                  <a:pt x="268" y="146"/>
                  <a:pt x="268" y="146"/>
                </a:cubicBezTo>
                <a:cubicBezTo>
                  <a:pt x="268" y="147"/>
                  <a:pt x="268" y="147"/>
                  <a:pt x="268" y="147"/>
                </a:cubicBezTo>
                <a:cubicBezTo>
                  <a:pt x="268" y="147"/>
                  <a:pt x="268" y="147"/>
                  <a:pt x="268" y="147"/>
                </a:cubicBezTo>
                <a:cubicBezTo>
                  <a:pt x="266" y="145"/>
                  <a:pt x="266" y="145"/>
                  <a:pt x="266" y="145"/>
                </a:cubicBezTo>
                <a:cubicBezTo>
                  <a:pt x="265" y="145"/>
                  <a:pt x="265" y="145"/>
                  <a:pt x="265" y="145"/>
                </a:cubicBezTo>
                <a:cubicBezTo>
                  <a:pt x="265" y="144"/>
                  <a:pt x="265" y="144"/>
                  <a:pt x="265" y="144"/>
                </a:cubicBezTo>
                <a:cubicBezTo>
                  <a:pt x="264" y="144"/>
                  <a:pt x="264" y="144"/>
                  <a:pt x="264" y="144"/>
                </a:cubicBezTo>
                <a:cubicBezTo>
                  <a:pt x="264" y="146"/>
                  <a:pt x="264" y="146"/>
                  <a:pt x="264" y="146"/>
                </a:cubicBezTo>
                <a:cubicBezTo>
                  <a:pt x="264" y="146"/>
                  <a:pt x="264" y="146"/>
                  <a:pt x="264" y="146"/>
                </a:cubicBezTo>
                <a:cubicBezTo>
                  <a:pt x="263" y="146"/>
                  <a:pt x="263" y="146"/>
                  <a:pt x="263" y="146"/>
                </a:cubicBezTo>
                <a:cubicBezTo>
                  <a:pt x="262" y="147"/>
                  <a:pt x="262" y="147"/>
                  <a:pt x="262" y="147"/>
                </a:cubicBezTo>
                <a:cubicBezTo>
                  <a:pt x="262" y="148"/>
                  <a:pt x="262" y="148"/>
                  <a:pt x="262" y="148"/>
                </a:cubicBezTo>
                <a:cubicBezTo>
                  <a:pt x="261" y="149"/>
                  <a:pt x="261" y="149"/>
                  <a:pt x="261" y="149"/>
                </a:cubicBezTo>
                <a:cubicBezTo>
                  <a:pt x="260" y="152"/>
                  <a:pt x="260" y="152"/>
                  <a:pt x="260" y="152"/>
                </a:cubicBezTo>
                <a:cubicBezTo>
                  <a:pt x="260" y="153"/>
                  <a:pt x="260" y="153"/>
                  <a:pt x="260" y="153"/>
                </a:cubicBezTo>
                <a:cubicBezTo>
                  <a:pt x="260" y="154"/>
                  <a:pt x="260" y="154"/>
                  <a:pt x="260" y="154"/>
                </a:cubicBezTo>
                <a:cubicBezTo>
                  <a:pt x="259" y="155"/>
                  <a:pt x="259" y="155"/>
                  <a:pt x="259" y="155"/>
                </a:cubicBezTo>
                <a:cubicBezTo>
                  <a:pt x="259" y="156"/>
                  <a:pt x="259" y="156"/>
                  <a:pt x="259" y="156"/>
                </a:cubicBezTo>
                <a:cubicBezTo>
                  <a:pt x="259" y="157"/>
                  <a:pt x="259" y="157"/>
                  <a:pt x="259" y="157"/>
                </a:cubicBezTo>
                <a:cubicBezTo>
                  <a:pt x="258" y="157"/>
                  <a:pt x="258" y="157"/>
                  <a:pt x="258" y="157"/>
                </a:cubicBezTo>
                <a:cubicBezTo>
                  <a:pt x="258" y="160"/>
                  <a:pt x="258" y="160"/>
                  <a:pt x="258" y="160"/>
                </a:cubicBezTo>
                <a:cubicBezTo>
                  <a:pt x="257" y="161"/>
                  <a:pt x="257" y="161"/>
                  <a:pt x="257" y="161"/>
                </a:cubicBezTo>
                <a:cubicBezTo>
                  <a:pt x="256" y="160"/>
                  <a:pt x="256" y="160"/>
                  <a:pt x="256" y="160"/>
                </a:cubicBezTo>
                <a:cubicBezTo>
                  <a:pt x="256" y="162"/>
                  <a:pt x="256" y="162"/>
                  <a:pt x="256" y="162"/>
                </a:cubicBezTo>
                <a:cubicBezTo>
                  <a:pt x="256" y="163"/>
                  <a:pt x="256" y="163"/>
                  <a:pt x="256" y="163"/>
                </a:cubicBezTo>
                <a:cubicBezTo>
                  <a:pt x="256" y="164"/>
                  <a:pt x="256" y="164"/>
                  <a:pt x="256" y="164"/>
                </a:cubicBezTo>
                <a:cubicBezTo>
                  <a:pt x="255" y="166"/>
                  <a:pt x="255" y="166"/>
                  <a:pt x="255" y="166"/>
                </a:cubicBezTo>
                <a:cubicBezTo>
                  <a:pt x="255" y="167"/>
                  <a:pt x="255" y="167"/>
                  <a:pt x="255" y="167"/>
                </a:cubicBezTo>
                <a:cubicBezTo>
                  <a:pt x="255" y="168"/>
                  <a:pt x="255" y="168"/>
                  <a:pt x="255" y="168"/>
                </a:cubicBezTo>
                <a:cubicBezTo>
                  <a:pt x="255" y="169"/>
                  <a:pt x="255" y="169"/>
                  <a:pt x="255" y="169"/>
                </a:cubicBezTo>
                <a:cubicBezTo>
                  <a:pt x="254" y="169"/>
                  <a:pt x="254" y="169"/>
                  <a:pt x="254" y="169"/>
                </a:cubicBezTo>
                <a:cubicBezTo>
                  <a:pt x="254" y="169"/>
                  <a:pt x="254" y="169"/>
                  <a:pt x="254" y="169"/>
                </a:cubicBezTo>
                <a:cubicBezTo>
                  <a:pt x="255" y="170"/>
                  <a:pt x="255" y="170"/>
                  <a:pt x="255" y="170"/>
                </a:cubicBezTo>
                <a:cubicBezTo>
                  <a:pt x="255" y="171"/>
                  <a:pt x="255" y="171"/>
                  <a:pt x="255" y="171"/>
                </a:cubicBezTo>
                <a:cubicBezTo>
                  <a:pt x="255" y="170"/>
                  <a:pt x="255" y="170"/>
                  <a:pt x="255" y="170"/>
                </a:cubicBezTo>
                <a:cubicBezTo>
                  <a:pt x="254" y="171"/>
                  <a:pt x="254" y="171"/>
                  <a:pt x="254" y="171"/>
                </a:cubicBezTo>
                <a:cubicBezTo>
                  <a:pt x="253" y="171"/>
                  <a:pt x="253" y="171"/>
                  <a:pt x="253" y="171"/>
                </a:cubicBezTo>
                <a:cubicBezTo>
                  <a:pt x="252" y="171"/>
                  <a:pt x="252" y="171"/>
                  <a:pt x="252" y="171"/>
                </a:cubicBezTo>
                <a:cubicBezTo>
                  <a:pt x="251" y="172"/>
                  <a:pt x="251" y="172"/>
                  <a:pt x="251" y="172"/>
                </a:cubicBezTo>
                <a:cubicBezTo>
                  <a:pt x="252" y="173"/>
                  <a:pt x="252" y="173"/>
                  <a:pt x="252" y="173"/>
                </a:cubicBezTo>
                <a:cubicBezTo>
                  <a:pt x="251" y="173"/>
                  <a:pt x="251" y="173"/>
                  <a:pt x="251" y="173"/>
                </a:cubicBezTo>
                <a:cubicBezTo>
                  <a:pt x="250" y="173"/>
                  <a:pt x="250" y="173"/>
                  <a:pt x="250" y="173"/>
                </a:cubicBezTo>
                <a:cubicBezTo>
                  <a:pt x="250" y="172"/>
                  <a:pt x="250" y="172"/>
                  <a:pt x="250" y="172"/>
                </a:cubicBezTo>
                <a:cubicBezTo>
                  <a:pt x="250" y="171"/>
                  <a:pt x="250" y="171"/>
                  <a:pt x="250" y="171"/>
                </a:cubicBezTo>
                <a:cubicBezTo>
                  <a:pt x="250" y="170"/>
                  <a:pt x="250" y="170"/>
                  <a:pt x="250" y="170"/>
                </a:cubicBezTo>
                <a:cubicBezTo>
                  <a:pt x="250" y="168"/>
                  <a:pt x="250" y="168"/>
                  <a:pt x="250" y="168"/>
                </a:cubicBezTo>
                <a:cubicBezTo>
                  <a:pt x="251" y="166"/>
                  <a:pt x="251" y="166"/>
                  <a:pt x="251" y="166"/>
                </a:cubicBezTo>
                <a:cubicBezTo>
                  <a:pt x="251" y="165"/>
                  <a:pt x="251" y="165"/>
                  <a:pt x="251" y="165"/>
                </a:cubicBezTo>
                <a:cubicBezTo>
                  <a:pt x="252" y="164"/>
                  <a:pt x="252" y="164"/>
                  <a:pt x="252" y="164"/>
                </a:cubicBezTo>
                <a:cubicBezTo>
                  <a:pt x="252" y="163"/>
                  <a:pt x="252" y="163"/>
                  <a:pt x="252" y="163"/>
                </a:cubicBezTo>
                <a:cubicBezTo>
                  <a:pt x="252" y="162"/>
                  <a:pt x="252" y="162"/>
                  <a:pt x="252" y="162"/>
                </a:cubicBezTo>
                <a:cubicBezTo>
                  <a:pt x="253" y="159"/>
                  <a:pt x="253" y="159"/>
                  <a:pt x="253" y="159"/>
                </a:cubicBezTo>
                <a:cubicBezTo>
                  <a:pt x="254" y="158"/>
                  <a:pt x="254" y="158"/>
                  <a:pt x="254" y="158"/>
                </a:cubicBezTo>
                <a:cubicBezTo>
                  <a:pt x="254" y="157"/>
                  <a:pt x="254" y="157"/>
                  <a:pt x="254" y="157"/>
                </a:cubicBezTo>
                <a:cubicBezTo>
                  <a:pt x="254" y="157"/>
                  <a:pt x="254" y="157"/>
                  <a:pt x="254" y="157"/>
                </a:cubicBezTo>
                <a:cubicBezTo>
                  <a:pt x="253" y="157"/>
                  <a:pt x="253" y="157"/>
                  <a:pt x="253" y="157"/>
                </a:cubicBezTo>
                <a:cubicBezTo>
                  <a:pt x="253" y="156"/>
                  <a:pt x="253" y="156"/>
                  <a:pt x="253" y="156"/>
                </a:cubicBezTo>
                <a:cubicBezTo>
                  <a:pt x="254" y="155"/>
                  <a:pt x="254" y="155"/>
                  <a:pt x="254" y="155"/>
                </a:cubicBezTo>
                <a:cubicBezTo>
                  <a:pt x="254" y="153"/>
                  <a:pt x="254" y="153"/>
                  <a:pt x="254" y="153"/>
                </a:cubicBezTo>
                <a:cubicBezTo>
                  <a:pt x="253" y="152"/>
                  <a:pt x="253" y="152"/>
                  <a:pt x="253" y="152"/>
                </a:cubicBezTo>
                <a:cubicBezTo>
                  <a:pt x="253" y="151"/>
                  <a:pt x="253" y="151"/>
                  <a:pt x="253" y="151"/>
                </a:cubicBezTo>
                <a:cubicBezTo>
                  <a:pt x="253" y="150"/>
                  <a:pt x="253" y="150"/>
                  <a:pt x="253" y="150"/>
                </a:cubicBezTo>
                <a:cubicBezTo>
                  <a:pt x="253" y="149"/>
                  <a:pt x="253" y="149"/>
                  <a:pt x="253" y="149"/>
                </a:cubicBezTo>
                <a:cubicBezTo>
                  <a:pt x="252" y="149"/>
                  <a:pt x="252" y="149"/>
                  <a:pt x="252" y="149"/>
                </a:cubicBezTo>
                <a:cubicBezTo>
                  <a:pt x="251" y="147"/>
                  <a:pt x="251" y="147"/>
                  <a:pt x="251" y="147"/>
                </a:cubicBezTo>
                <a:cubicBezTo>
                  <a:pt x="250" y="148"/>
                  <a:pt x="250" y="148"/>
                  <a:pt x="250" y="148"/>
                </a:cubicBezTo>
                <a:cubicBezTo>
                  <a:pt x="249" y="149"/>
                  <a:pt x="249" y="149"/>
                  <a:pt x="249" y="149"/>
                </a:cubicBezTo>
                <a:cubicBezTo>
                  <a:pt x="250" y="150"/>
                  <a:pt x="250" y="150"/>
                  <a:pt x="250" y="150"/>
                </a:cubicBezTo>
                <a:cubicBezTo>
                  <a:pt x="250" y="151"/>
                  <a:pt x="250" y="151"/>
                  <a:pt x="250" y="151"/>
                </a:cubicBezTo>
                <a:cubicBezTo>
                  <a:pt x="251" y="152"/>
                  <a:pt x="251" y="152"/>
                  <a:pt x="251" y="152"/>
                </a:cubicBezTo>
                <a:cubicBezTo>
                  <a:pt x="251" y="153"/>
                  <a:pt x="251" y="153"/>
                  <a:pt x="251" y="153"/>
                </a:cubicBezTo>
                <a:cubicBezTo>
                  <a:pt x="250" y="153"/>
                  <a:pt x="250" y="153"/>
                  <a:pt x="250" y="153"/>
                </a:cubicBezTo>
                <a:cubicBezTo>
                  <a:pt x="250" y="151"/>
                  <a:pt x="250" y="151"/>
                  <a:pt x="250" y="151"/>
                </a:cubicBezTo>
                <a:cubicBezTo>
                  <a:pt x="249" y="151"/>
                  <a:pt x="249" y="151"/>
                  <a:pt x="249" y="151"/>
                </a:cubicBezTo>
                <a:cubicBezTo>
                  <a:pt x="248" y="153"/>
                  <a:pt x="248" y="153"/>
                  <a:pt x="248" y="153"/>
                </a:cubicBezTo>
                <a:cubicBezTo>
                  <a:pt x="249" y="153"/>
                  <a:pt x="249" y="153"/>
                  <a:pt x="249" y="153"/>
                </a:cubicBezTo>
                <a:cubicBezTo>
                  <a:pt x="249" y="154"/>
                  <a:pt x="249" y="154"/>
                  <a:pt x="249" y="154"/>
                </a:cubicBezTo>
                <a:cubicBezTo>
                  <a:pt x="250" y="156"/>
                  <a:pt x="250" y="156"/>
                  <a:pt x="250" y="156"/>
                </a:cubicBezTo>
                <a:cubicBezTo>
                  <a:pt x="249" y="156"/>
                  <a:pt x="249" y="156"/>
                  <a:pt x="249" y="156"/>
                </a:cubicBezTo>
                <a:cubicBezTo>
                  <a:pt x="249" y="156"/>
                  <a:pt x="249" y="156"/>
                  <a:pt x="249" y="156"/>
                </a:cubicBezTo>
                <a:cubicBezTo>
                  <a:pt x="248" y="155"/>
                  <a:pt x="248" y="155"/>
                  <a:pt x="248" y="155"/>
                </a:cubicBezTo>
                <a:cubicBezTo>
                  <a:pt x="248" y="157"/>
                  <a:pt x="248" y="157"/>
                  <a:pt x="248" y="157"/>
                </a:cubicBezTo>
                <a:cubicBezTo>
                  <a:pt x="247" y="156"/>
                  <a:pt x="247" y="156"/>
                  <a:pt x="247" y="156"/>
                </a:cubicBezTo>
                <a:cubicBezTo>
                  <a:pt x="247" y="155"/>
                  <a:pt x="247" y="155"/>
                  <a:pt x="247" y="155"/>
                </a:cubicBezTo>
                <a:cubicBezTo>
                  <a:pt x="246" y="155"/>
                  <a:pt x="246" y="155"/>
                  <a:pt x="246" y="155"/>
                </a:cubicBezTo>
                <a:cubicBezTo>
                  <a:pt x="246" y="156"/>
                  <a:pt x="246" y="156"/>
                  <a:pt x="246" y="156"/>
                </a:cubicBezTo>
                <a:cubicBezTo>
                  <a:pt x="245" y="156"/>
                  <a:pt x="245" y="156"/>
                  <a:pt x="245" y="156"/>
                </a:cubicBezTo>
                <a:cubicBezTo>
                  <a:pt x="245" y="155"/>
                  <a:pt x="245" y="155"/>
                  <a:pt x="245" y="155"/>
                </a:cubicBezTo>
                <a:cubicBezTo>
                  <a:pt x="246" y="154"/>
                  <a:pt x="246" y="154"/>
                  <a:pt x="246" y="154"/>
                </a:cubicBezTo>
                <a:cubicBezTo>
                  <a:pt x="245" y="154"/>
                  <a:pt x="245" y="154"/>
                  <a:pt x="245" y="154"/>
                </a:cubicBezTo>
                <a:cubicBezTo>
                  <a:pt x="244" y="154"/>
                  <a:pt x="244" y="154"/>
                  <a:pt x="244" y="154"/>
                </a:cubicBezTo>
                <a:cubicBezTo>
                  <a:pt x="242" y="156"/>
                  <a:pt x="242" y="156"/>
                  <a:pt x="242" y="156"/>
                </a:cubicBezTo>
                <a:cubicBezTo>
                  <a:pt x="242" y="154"/>
                  <a:pt x="242" y="154"/>
                  <a:pt x="242" y="154"/>
                </a:cubicBezTo>
                <a:cubicBezTo>
                  <a:pt x="241" y="154"/>
                  <a:pt x="241" y="154"/>
                  <a:pt x="241" y="154"/>
                </a:cubicBezTo>
                <a:cubicBezTo>
                  <a:pt x="240" y="155"/>
                  <a:pt x="240" y="155"/>
                  <a:pt x="240" y="155"/>
                </a:cubicBezTo>
                <a:cubicBezTo>
                  <a:pt x="239" y="155"/>
                  <a:pt x="239" y="155"/>
                  <a:pt x="239" y="155"/>
                </a:cubicBezTo>
                <a:cubicBezTo>
                  <a:pt x="238" y="154"/>
                  <a:pt x="238" y="154"/>
                  <a:pt x="238" y="154"/>
                </a:cubicBezTo>
                <a:cubicBezTo>
                  <a:pt x="237" y="154"/>
                  <a:pt x="237" y="154"/>
                  <a:pt x="237" y="154"/>
                </a:cubicBezTo>
                <a:cubicBezTo>
                  <a:pt x="236" y="154"/>
                  <a:pt x="236" y="154"/>
                  <a:pt x="236" y="154"/>
                </a:cubicBezTo>
                <a:cubicBezTo>
                  <a:pt x="237" y="153"/>
                  <a:pt x="237" y="153"/>
                  <a:pt x="237" y="153"/>
                </a:cubicBezTo>
                <a:cubicBezTo>
                  <a:pt x="239" y="153"/>
                  <a:pt x="239" y="153"/>
                  <a:pt x="239" y="153"/>
                </a:cubicBezTo>
                <a:cubicBezTo>
                  <a:pt x="240" y="153"/>
                  <a:pt x="240" y="153"/>
                  <a:pt x="240" y="153"/>
                </a:cubicBezTo>
                <a:cubicBezTo>
                  <a:pt x="241" y="153"/>
                  <a:pt x="241" y="153"/>
                  <a:pt x="241" y="153"/>
                </a:cubicBezTo>
                <a:cubicBezTo>
                  <a:pt x="241" y="152"/>
                  <a:pt x="241" y="152"/>
                  <a:pt x="241" y="152"/>
                </a:cubicBezTo>
                <a:cubicBezTo>
                  <a:pt x="242" y="152"/>
                  <a:pt x="242" y="152"/>
                  <a:pt x="242" y="152"/>
                </a:cubicBezTo>
                <a:cubicBezTo>
                  <a:pt x="243" y="152"/>
                  <a:pt x="243" y="152"/>
                  <a:pt x="243" y="152"/>
                </a:cubicBezTo>
                <a:cubicBezTo>
                  <a:pt x="244" y="151"/>
                  <a:pt x="244" y="151"/>
                  <a:pt x="244" y="151"/>
                </a:cubicBezTo>
                <a:cubicBezTo>
                  <a:pt x="244" y="150"/>
                  <a:pt x="244" y="150"/>
                  <a:pt x="244" y="150"/>
                </a:cubicBezTo>
                <a:cubicBezTo>
                  <a:pt x="244" y="149"/>
                  <a:pt x="244" y="149"/>
                  <a:pt x="244" y="149"/>
                </a:cubicBezTo>
                <a:cubicBezTo>
                  <a:pt x="244" y="148"/>
                  <a:pt x="244" y="148"/>
                  <a:pt x="244" y="148"/>
                </a:cubicBezTo>
                <a:cubicBezTo>
                  <a:pt x="242" y="146"/>
                  <a:pt x="242" y="146"/>
                  <a:pt x="242" y="146"/>
                </a:cubicBezTo>
                <a:cubicBezTo>
                  <a:pt x="241" y="146"/>
                  <a:pt x="241" y="146"/>
                  <a:pt x="241" y="146"/>
                </a:cubicBezTo>
                <a:cubicBezTo>
                  <a:pt x="241" y="145"/>
                  <a:pt x="241" y="145"/>
                  <a:pt x="241" y="145"/>
                </a:cubicBezTo>
                <a:cubicBezTo>
                  <a:pt x="239" y="143"/>
                  <a:pt x="239" y="143"/>
                  <a:pt x="239" y="143"/>
                </a:cubicBezTo>
                <a:cubicBezTo>
                  <a:pt x="239" y="143"/>
                  <a:pt x="239" y="143"/>
                  <a:pt x="239" y="143"/>
                </a:cubicBezTo>
                <a:cubicBezTo>
                  <a:pt x="238" y="143"/>
                  <a:pt x="238" y="143"/>
                  <a:pt x="238" y="143"/>
                </a:cubicBezTo>
                <a:cubicBezTo>
                  <a:pt x="236" y="144"/>
                  <a:pt x="236" y="144"/>
                  <a:pt x="236" y="144"/>
                </a:cubicBezTo>
                <a:cubicBezTo>
                  <a:pt x="236" y="144"/>
                  <a:pt x="236" y="144"/>
                  <a:pt x="236" y="144"/>
                </a:cubicBezTo>
                <a:cubicBezTo>
                  <a:pt x="234" y="146"/>
                  <a:pt x="234" y="146"/>
                  <a:pt x="234" y="146"/>
                </a:cubicBezTo>
                <a:cubicBezTo>
                  <a:pt x="234" y="146"/>
                  <a:pt x="234" y="146"/>
                  <a:pt x="234" y="146"/>
                </a:cubicBezTo>
                <a:cubicBezTo>
                  <a:pt x="234" y="147"/>
                  <a:pt x="234" y="147"/>
                  <a:pt x="234" y="147"/>
                </a:cubicBezTo>
                <a:cubicBezTo>
                  <a:pt x="233" y="147"/>
                  <a:pt x="233" y="147"/>
                  <a:pt x="233" y="147"/>
                </a:cubicBezTo>
                <a:cubicBezTo>
                  <a:pt x="232" y="148"/>
                  <a:pt x="232" y="148"/>
                  <a:pt x="232" y="148"/>
                </a:cubicBezTo>
                <a:cubicBezTo>
                  <a:pt x="232" y="147"/>
                  <a:pt x="232" y="147"/>
                  <a:pt x="232" y="147"/>
                </a:cubicBezTo>
                <a:cubicBezTo>
                  <a:pt x="231" y="147"/>
                  <a:pt x="231" y="147"/>
                  <a:pt x="231" y="147"/>
                </a:cubicBezTo>
                <a:cubicBezTo>
                  <a:pt x="230" y="147"/>
                  <a:pt x="230" y="147"/>
                  <a:pt x="230" y="147"/>
                </a:cubicBezTo>
                <a:cubicBezTo>
                  <a:pt x="229" y="147"/>
                  <a:pt x="229" y="147"/>
                  <a:pt x="229" y="147"/>
                </a:cubicBezTo>
                <a:cubicBezTo>
                  <a:pt x="229" y="147"/>
                  <a:pt x="229" y="147"/>
                  <a:pt x="229" y="147"/>
                </a:cubicBezTo>
                <a:cubicBezTo>
                  <a:pt x="227" y="147"/>
                  <a:pt x="227" y="147"/>
                  <a:pt x="227" y="147"/>
                </a:cubicBezTo>
                <a:cubicBezTo>
                  <a:pt x="227" y="147"/>
                  <a:pt x="227" y="147"/>
                  <a:pt x="227" y="147"/>
                </a:cubicBezTo>
                <a:cubicBezTo>
                  <a:pt x="227" y="146"/>
                  <a:pt x="227" y="146"/>
                  <a:pt x="227" y="146"/>
                </a:cubicBezTo>
                <a:cubicBezTo>
                  <a:pt x="229" y="146"/>
                  <a:pt x="229" y="146"/>
                  <a:pt x="229" y="146"/>
                </a:cubicBezTo>
                <a:cubicBezTo>
                  <a:pt x="230" y="145"/>
                  <a:pt x="230" y="145"/>
                  <a:pt x="230" y="145"/>
                </a:cubicBezTo>
                <a:cubicBezTo>
                  <a:pt x="231" y="144"/>
                  <a:pt x="231" y="144"/>
                  <a:pt x="231" y="144"/>
                </a:cubicBezTo>
                <a:cubicBezTo>
                  <a:pt x="231" y="145"/>
                  <a:pt x="231" y="145"/>
                  <a:pt x="231" y="145"/>
                </a:cubicBezTo>
                <a:cubicBezTo>
                  <a:pt x="232" y="143"/>
                  <a:pt x="232" y="143"/>
                  <a:pt x="232" y="143"/>
                </a:cubicBezTo>
                <a:cubicBezTo>
                  <a:pt x="232" y="142"/>
                  <a:pt x="232" y="142"/>
                  <a:pt x="232" y="142"/>
                </a:cubicBezTo>
                <a:cubicBezTo>
                  <a:pt x="233" y="141"/>
                  <a:pt x="233" y="141"/>
                  <a:pt x="233" y="141"/>
                </a:cubicBezTo>
                <a:cubicBezTo>
                  <a:pt x="234" y="141"/>
                  <a:pt x="234" y="141"/>
                  <a:pt x="234" y="141"/>
                </a:cubicBezTo>
                <a:cubicBezTo>
                  <a:pt x="235" y="139"/>
                  <a:pt x="235" y="139"/>
                  <a:pt x="235" y="139"/>
                </a:cubicBezTo>
                <a:cubicBezTo>
                  <a:pt x="235" y="138"/>
                  <a:pt x="235" y="138"/>
                  <a:pt x="235" y="138"/>
                </a:cubicBezTo>
                <a:cubicBezTo>
                  <a:pt x="235" y="137"/>
                  <a:pt x="235" y="137"/>
                  <a:pt x="235" y="137"/>
                </a:cubicBezTo>
                <a:cubicBezTo>
                  <a:pt x="235" y="135"/>
                  <a:pt x="235" y="135"/>
                  <a:pt x="235" y="135"/>
                </a:cubicBezTo>
                <a:cubicBezTo>
                  <a:pt x="234" y="135"/>
                  <a:pt x="234" y="135"/>
                  <a:pt x="234" y="135"/>
                </a:cubicBezTo>
                <a:cubicBezTo>
                  <a:pt x="232" y="136"/>
                  <a:pt x="232" y="136"/>
                  <a:pt x="232" y="136"/>
                </a:cubicBezTo>
                <a:cubicBezTo>
                  <a:pt x="229" y="137"/>
                  <a:pt x="229" y="137"/>
                  <a:pt x="229" y="137"/>
                </a:cubicBezTo>
                <a:cubicBezTo>
                  <a:pt x="227" y="137"/>
                  <a:pt x="227" y="137"/>
                  <a:pt x="227" y="137"/>
                </a:cubicBezTo>
                <a:cubicBezTo>
                  <a:pt x="222" y="138"/>
                  <a:pt x="222" y="138"/>
                  <a:pt x="222" y="138"/>
                </a:cubicBezTo>
                <a:cubicBezTo>
                  <a:pt x="217" y="140"/>
                  <a:pt x="217" y="140"/>
                  <a:pt x="217" y="140"/>
                </a:cubicBezTo>
                <a:cubicBezTo>
                  <a:pt x="215" y="142"/>
                  <a:pt x="215" y="142"/>
                  <a:pt x="215" y="142"/>
                </a:cubicBezTo>
                <a:cubicBezTo>
                  <a:pt x="212" y="142"/>
                  <a:pt x="212" y="142"/>
                  <a:pt x="212" y="142"/>
                </a:cubicBezTo>
                <a:cubicBezTo>
                  <a:pt x="207" y="145"/>
                  <a:pt x="207" y="145"/>
                  <a:pt x="207" y="145"/>
                </a:cubicBezTo>
                <a:cubicBezTo>
                  <a:pt x="206" y="146"/>
                  <a:pt x="206" y="146"/>
                  <a:pt x="206" y="146"/>
                </a:cubicBezTo>
                <a:cubicBezTo>
                  <a:pt x="206" y="147"/>
                  <a:pt x="206" y="147"/>
                  <a:pt x="206" y="147"/>
                </a:cubicBezTo>
                <a:cubicBezTo>
                  <a:pt x="207" y="147"/>
                  <a:pt x="207" y="147"/>
                  <a:pt x="207" y="147"/>
                </a:cubicBezTo>
                <a:cubicBezTo>
                  <a:pt x="207" y="148"/>
                  <a:pt x="207" y="148"/>
                  <a:pt x="207" y="148"/>
                </a:cubicBezTo>
                <a:cubicBezTo>
                  <a:pt x="206" y="148"/>
                  <a:pt x="206" y="148"/>
                  <a:pt x="206" y="148"/>
                </a:cubicBezTo>
                <a:cubicBezTo>
                  <a:pt x="205" y="148"/>
                  <a:pt x="205" y="148"/>
                  <a:pt x="205" y="148"/>
                </a:cubicBezTo>
                <a:cubicBezTo>
                  <a:pt x="203" y="150"/>
                  <a:pt x="203" y="150"/>
                  <a:pt x="203" y="150"/>
                </a:cubicBezTo>
                <a:cubicBezTo>
                  <a:pt x="201" y="150"/>
                  <a:pt x="201" y="150"/>
                  <a:pt x="201" y="150"/>
                </a:cubicBezTo>
                <a:cubicBezTo>
                  <a:pt x="200" y="151"/>
                  <a:pt x="200" y="151"/>
                  <a:pt x="200" y="151"/>
                </a:cubicBezTo>
                <a:cubicBezTo>
                  <a:pt x="200" y="152"/>
                  <a:pt x="200" y="152"/>
                  <a:pt x="200" y="152"/>
                </a:cubicBezTo>
                <a:cubicBezTo>
                  <a:pt x="198" y="153"/>
                  <a:pt x="198" y="153"/>
                  <a:pt x="198" y="153"/>
                </a:cubicBezTo>
                <a:cubicBezTo>
                  <a:pt x="198" y="154"/>
                  <a:pt x="198" y="154"/>
                  <a:pt x="198" y="154"/>
                </a:cubicBezTo>
                <a:cubicBezTo>
                  <a:pt x="198" y="156"/>
                  <a:pt x="198" y="156"/>
                  <a:pt x="198" y="156"/>
                </a:cubicBezTo>
                <a:cubicBezTo>
                  <a:pt x="198" y="156"/>
                  <a:pt x="198" y="156"/>
                  <a:pt x="198" y="156"/>
                </a:cubicBezTo>
                <a:cubicBezTo>
                  <a:pt x="199" y="156"/>
                  <a:pt x="199" y="156"/>
                  <a:pt x="199" y="156"/>
                </a:cubicBezTo>
                <a:cubicBezTo>
                  <a:pt x="199" y="157"/>
                  <a:pt x="199" y="157"/>
                  <a:pt x="199" y="157"/>
                </a:cubicBezTo>
                <a:cubicBezTo>
                  <a:pt x="199" y="157"/>
                  <a:pt x="199" y="157"/>
                  <a:pt x="199" y="157"/>
                </a:cubicBezTo>
                <a:cubicBezTo>
                  <a:pt x="200" y="157"/>
                  <a:pt x="200" y="157"/>
                  <a:pt x="200" y="157"/>
                </a:cubicBezTo>
                <a:cubicBezTo>
                  <a:pt x="201" y="157"/>
                  <a:pt x="201" y="157"/>
                  <a:pt x="201" y="157"/>
                </a:cubicBezTo>
                <a:cubicBezTo>
                  <a:pt x="202" y="157"/>
                  <a:pt x="202" y="157"/>
                  <a:pt x="202" y="157"/>
                </a:cubicBezTo>
                <a:cubicBezTo>
                  <a:pt x="203" y="157"/>
                  <a:pt x="203" y="157"/>
                  <a:pt x="203" y="157"/>
                </a:cubicBezTo>
                <a:cubicBezTo>
                  <a:pt x="203" y="158"/>
                  <a:pt x="203" y="158"/>
                  <a:pt x="203" y="158"/>
                </a:cubicBezTo>
                <a:cubicBezTo>
                  <a:pt x="201" y="159"/>
                  <a:pt x="201" y="159"/>
                  <a:pt x="201" y="159"/>
                </a:cubicBezTo>
                <a:cubicBezTo>
                  <a:pt x="200" y="158"/>
                  <a:pt x="200" y="158"/>
                  <a:pt x="200" y="158"/>
                </a:cubicBezTo>
                <a:cubicBezTo>
                  <a:pt x="199" y="159"/>
                  <a:pt x="199" y="159"/>
                  <a:pt x="199" y="159"/>
                </a:cubicBezTo>
                <a:cubicBezTo>
                  <a:pt x="199" y="160"/>
                  <a:pt x="199" y="160"/>
                  <a:pt x="199" y="160"/>
                </a:cubicBezTo>
                <a:cubicBezTo>
                  <a:pt x="201" y="161"/>
                  <a:pt x="201" y="161"/>
                  <a:pt x="201" y="161"/>
                </a:cubicBezTo>
                <a:cubicBezTo>
                  <a:pt x="202" y="160"/>
                  <a:pt x="202" y="160"/>
                  <a:pt x="202" y="160"/>
                </a:cubicBezTo>
                <a:cubicBezTo>
                  <a:pt x="202" y="159"/>
                  <a:pt x="202" y="159"/>
                  <a:pt x="202" y="159"/>
                </a:cubicBezTo>
                <a:cubicBezTo>
                  <a:pt x="203" y="159"/>
                  <a:pt x="203" y="159"/>
                  <a:pt x="203" y="159"/>
                </a:cubicBezTo>
                <a:cubicBezTo>
                  <a:pt x="204" y="160"/>
                  <a:pt x="204" y="160"/>
                  <a:pt x="204" y="160"/>
                </a:cubicBezTo>
                <a:cubicBezTo>
                  <a:pt x="203" y="161"/>
                  <a:pt x="203" y="161"/>
                  <a:pt x="203" y="161"/>
                </a:cubicBezTo>
                <a:cubicBezTo>
                  <a:pt x="204" y="161"/>
                  <a:pt x="204" y="161"/>
                  <a:pt x="204" y="161"/>
                </a:cubicBezTo>
                <a:cubicBezTo>
                  <a:pt x="206" y="161"/>
                  <a:pt x="206" y="161"/>
                  <a:pt x="206" y="161"/>
                </a:cubicBezTo>
                <a:cubicBezTo>
                  <a:pt x="208" y="161"/>
                  <a:pt x="208" y="161"/>
                  <a:pt x="208" y="161"/>
                </a:cubicBezTo>
                <a:cubicBezTo>
                  <a:pt x="209" y="161"/>
                  <a:pt x="209" y="161"/>
                  <a:pt x="209" y="161"/>
                </a:cubicBezTo>
                <a:cubicBezTo>
                  <a:pt x="211" y="161"/>
                  <a:pt x="211" y="161"/>
                  <a:pt x="211" y="161"/>
                </a:cubicBezTo>
                <a:cubicBezTo>
                  <a:pt x="212" y="161"/>
                  <a:pt x="212" y="161"/>
                  <a:pt x="212" y="161"/>
                </a:cubicBezTo>
                <a:cubicBezTo>
                  <a:pt x="214" y="162"/>
                  <a:pt x="214" y="162"/>
                  <a:pt x="214" y="162"/>
                </a:cubicBezTo>
                <a:cubicBezTo>
                  <a:pt x="214" y="163"/>
                  <a:pt x="214" y="163"/>
                  <a:pt x="214" y="163"/>
                </a:cubicBezTo>
                <a:cubicBezTo>
                  <a:pt x="215" y="163"/>
                  <a:pt x="215" y="163"/>
                  <a:pt x="215" y="163"/>
                </a:cubicBezTo>
                <a:cubicBezTo>
                  <a:pt x="215" y="163"/>
                  <a:pt x="215" y="163"/>
                  <a:pt x="215" y="163"/>
                </a:cubicBezTo>
                <a:cubicBezTo>
                  <a:pt x="214" y="163"/>
                  <a:pt x="214" y="163"/>
                  <a:pt x="214" y="163"/>
                </a:cubicBezTo>
                <a:cubicBezTo>
                  <a:pt x="212" y="162"/>
                  <a:pt x="212" y="162"/>
                  <a:pt x="212" y="162"/>
                </a:cubicBezTo>
                <a:cubicBezTo>
                  <a:pt x="210" y="162"/>
                  <a:pt x="210" y="162"/>
                  <a:pt x="210" y="162"/>
                </a:cubicBezTo>
                <a:cubicBezTo>
                  <a:pt x="209" y="163"/>
                  <a:pt x="209" y="163"/>
                  <a:pt x="209" y="163"/>
                </a:cubicBezTo>
                <a:cubicBezTo>
                  <a:pt x="211" y="163"/>
                  <a:pt x="211" y="163"/>
                  <a:pt x="211" y="163"/>
                </a:cubicBezTo>
                <a:cubicBezTo>
                  <a:pt x="211" y="164"/>
                  <a:pt x="211" y="164"/>
                  <a:pt x="211" y="164"/>
                </a:cubicBezTo>
                <a:cubicBezTo>
                  <a:pt x="209" y="164"/>
                  <a:pt x="209" y="164"/>
                  <a:pt x="209" y="164"/>
                </a:cubicBezTo>
                <a:cubicBezTo>
                  <a:pt x="208" y="163"/>
                  <a:pt x="208" y="163"/>
                  <a:pt x="208" y="163"/>
                </a:cubicBezTo>
                <a:cubicBezTo>
                  <a:pt x="206" y="164"/>
                  <a:pt x="206" y="164"/>
                  <a:pt x="206" y="164"/>
                </a:cubicBezTo>
                <a:cubicBezTo>
                  <a:pt x="205" y="164"/>
                  <a:pt x="205" y="164"/>
                  <a:pt x="205" y="164"/>
                </a:cubicBezTo>
                <a:cubicBezTo>
                  <a:pt x="204" y="164"/>
                  <a:pt x="204" y="164"/>
                  <a:pt x="204" y="164"/>
                </a:cubicBezTo>
                <a:cubicBezTo>
                  <a:pt x="203" y="164"/>
                  <a:pt x="203" y="164"/>
                  <a:pt x="203" y="164"/>
                </a:cubicBezTo>
                <a:cubicBezTo>
                  <a:pt x="202" y="164"/>
                  <a:pt x="202" y="164"/>
                  <a:pt x="202" y="164"/>
                </a:cubicBezTo>
                <a:cubicBezTo>
                  <a:pt x="201" y="164"/>
                  <a:pt x="201" y="164"/>
                  <a:pt x="201" y="164"/>
                </a:cubicBezTo>
                <a:cubicBezTo>
                  <a:pt x="198" y="164"/>
                  <a:pt x="198" y="164"/>
                  <a:pt x="198" y="164"/>
                </a:cubicBezTo>
                <a:cubicBezTo>
                  <a:pt x="198" y="164"/>
                  <a:pt x="198" y="164"/>
                  <a:pt x="198" y="164"/>
                </a:cubicBezTo>
                <a:cubicBezTo>
                  <a:pt x="196" y="165"/>
                  <a:pt x="196" y="165"/>
                  <a:pt x="196" y="165"/>
                </a:cubicBezTo>
                <a:cubicBezTo>
                  <a:pt x="195" y="166"/>
                  <a:pt x="195" y="166"/>
                  <a:pt x="195" y="166"/>
                </a:cubicBezTo>
                <a:cubicBezTo>
                  <a:pt x="196" y="170"/>
                  <a:pt x="196" y="170"/>
                  <a:pt x="196" y="170"/>
                </a:cubicBezTo>
                <a:cubicBezTo>
                  <a:pt x="196" y="170"/>
                  <a:pt x="196" y="170"/>
                  <a:pt x="196" y="170"/>
                </a:cubicBezTo>
                <a:cubicBezTo>
                  <a:pt x="196" y="172"/>
                  <a:pt x="196" y="172"/>
                  <a:pt x="196" y="172"/>
                </a:cubicBezTo>
                <a:cubicBezTo>
                  <a:pt x="195" y="172"/>
                  <a:pt x="195" y="172"/>
                  <a:pt x="195" y="172"/>
                </a:cubicBezTo>
                <a:cubicBezTo>
                  <a:pt x="195" y="173"/>
                  <a:pt x="195" y="173"/>
                  <a:pt x="195" y="173"/>
                </a:cubicBezTo>
                <a:cubicBezTo>
                  <a:pt x="196" y="173"/>
                  <a:pt x="196" y="173"/>
                  <a:pt x="196" y="173"/>
                </a:cubicBezTo>
                <a:cubicBezTo>
                  <a:pt x="197" y="173"/>
                  <a:pt x="197" y="173"/>
                  <a:pt x="197" y="173"/>
                </a:cubicBezTo>
                <a:cubicBezTo>
                  <a:pt x="198" y="173"/>
                  <a:pt x="198" y="173"/>
                  <a:pt x="198" y="173"/>
                </a:cubicBezTo>
                <a:cubicBezTo>
                  <a:pt x="198" y="174"/>
                  <a:pt x="198" y="174"/>
                  <a:pt x="198" y="174"/>
                </a:cubicBezTo>
                <a:cubicBezTo>
                  <a:pt x="200" y="174"/>
                  <a:pt x="200" y="174"/>
                  <a:pt x="200" y="174"/>
                </a:cubicBezTo>
                <a:cubicBezTo>
                  <a:pt x="200" y="173"/>
                  <a:pt x="200" y="173"/>
                  <a:pt x="200" y="173"/>
                </a:cubicBezTo>
                <a:cubicBezTo>
                  <a:pt x="200" y="173"/>
                  <a:pt x="200" y="173"/>
                  <a:pt x="200" y="173"/>
                </a:cubicBezTo>
                <a:cubicBezTo>
                  <a:pt x="201" y="174"/>
                  <a:pt x="201" y="174"/>
                  <a:pt x="201" y="174"/>
                </a:cubicBezTo>
                <a:cubicBezTo>
                  <a:pt x="201" y="174"/>
                  <a:pt x="201" y="174"/>
                  <a:pt x="201" y="174"/>
                </a:cubicBezTo>
                <a:cubicBezTo>
                  <a:pt x="202" y="174"/>
                  <a:pt x="202" y="174"/>
                  <a:pt x="202" y="174"/>
                </a:cubicBezTo>
                <a:cubicBezTo>
                  <a:pt x="203" y="174"/>
                  <a:pt x="203" y="174"/>
                  <a:pt x="203" y="174"/>
                </a:cubicBezTo>
                <a:cubicBezTo>
                  <a:pt x="203" y="175"/>
                  <a:pt x="203" y="175"/>
                  <a:pt x="203" y="175"/>
                </a:cubicBezTo>
                <a:cubicBezTo>
                  <a:pt x="204" y="175"/>
                  <a:pt x="204" y="175"/>
                  <a:pt x="204" y="175"/>
                </a:cubicBezTo>
                <a:cubicBezTo>
                  <a:pt x="205" y="175"/>
                  <a:pt x="205" y="175"/>
                  <a:pt x="205" y="175"/>
                </a:cubicBezTo>
                <a:cubicBezTo>
                  <a:pt x="205" y="175"/>
                  <a:pt x="205" y="175"/>
                  <a:pt x="205" y="175"/>
                </a:cubicBezTo>
                <a:cubicBezTo>
                  <a:pt x="206" y="176"/>
                  <a:pt x="206" y="176"/>
                  <a:pt x="206" y="176"/>
                </a:cubicBezTo>
                <a:cubicBezTo>
                  <a:pt x="207" y="176"/>
                  <a:pt x="207" y="176"/>
                  <a:pt x="207" y="176"/>
                </a:cubicBezTo>
                <a:cubicBezTo>
                  <a:pt x="208" y="176"/>
                  <a:pt x="208" y="176"/>
                  <a:pt x="208" y="176"/>
                </a:cubicBezTo>
                <a:cubicBezTo>
                  <a:pt x="209" y="176"/>
                  <a:pt x="209" y="176"/>
                  <a:pt x="209" y="176"/>
                </a:cubicBezTo>
                <a:cubicBezTo>
                  <a:pt x="210" y="175"/>
                  <a:pt x="210" y="175"/>
                  <a:pt x="210" y="175"/>
                </a:cubicBezTo>
                <a:cubicBezTo>
                  <a:pt x="211" y="176"/>
                  <a:pt x="211" y="176"/>
                  <a:pt x="211" y="176"/>
                </a:cubicBezTo>
                <a:cubicBezTo>
                  <a:pt x="213" y="176"/>
                  <a:pt x="213" y="176"/>
                  <a:pt x="213" y="176"/>
                </a:cubicBezTo>
                <a:cubicBezTo>
                  <a:pt x="214" y="176"/>
                  <a:pt x="214" y="176"/>
                  <a:pt x="214" y="176"/>
                </a:cubicBezTo>
                <a:cubicBezTo>
                  <a:pt x="215" y="176"/>
                  <a:pt x="215" y="176"/>
                  <a:pt x="215" y="176"/>
                </a:cubicBezTo>
                <a:cubicBezTo>
                  <a:pt x="215" y="177"/>
                  <a:pt x="215" y="177"/>
                  <a:pt x="215" y="177"/>
                </a:cubicBezTo>
                <a:cubicBezTo>
                  <a:pt x="216" y="176"/>
                  <a:pt x="216" y="176"/>
                  <a:pt x="216" y="176"/>
                </a:cubicBezTo>
                <a:cubicBezTo>
                  <a:pt x="216" y="177"/>
                  <a:pt x="216" y="177"/>
                  <a:pt x="216" y="177"/>
                </a:cubicBezTo>
                <a:cubicBezTo>
                  <a:pt x="217" y="178"/>
                  <a:pt x="217" y="178"/>
                  <a:pt x="217" y="178"/>
                </a:cubicBezTo>
                <a:cubicBezTo>
                  <a:pt x="217" y="179"/>
                  <a:pt x="217" y="179"/>
                  <a:pt x="217" y="179"/>
                </a:cubicBezTo>
                <a:cubicBezTo>
                  <a:pt x="218" y="179"/>
                  <a:pt x="218" y="179"/>
                  <a:pt x="218" y="179"/>
                </a:cubicBezTo>
                <a:cubicBezTo>
                  <a:pt x="219" y="179"/>
                  <a:pt x="219" y="179"/>
                  <a:pt x="219" y="179"/>
                </a:cubicBezTo>
                <a:cubicBezTo>
                  <a:pt x="220" y="180"/>
                  <a:pt x="220" y="180"/>
                  <a:pt x="220" y="180"/>
                </a:cubicBezTo>
                <a:cubicBezTo>
                  <a:pt x="220" y="181"/>
                  <a:pt x="220" y="181"/>
                  <a:pt x="220" y="181"/>
                </a:cubicBezTo>
                <a:cubicBezTo>
                  <a:pt x="221" y="181"/>
                  <a:pt x="221" y="181"/>
                  <a:pt x="221" y="181"/>
                </a:cubicBezTo>
                <a:cubicBezTo>
                  <a:pt x="221" y="182"/>
                  <a:pt x="221" y="182"/>
                  <a:pt x="221" y="182"/>
                </a:cubicBezTo>
                <a:cubicBezTo>
                  <a:pt x="221" y="182"/>
                  <a:pt x="221" y="182"/>
                  <a:pt x="221" y="182"/>
                </a:cubicBezTo>
                <a:cubicBezTo>
                  <a:pt x="221" y="183"/>
                  <a:pt x="221" y="183"/>
                  <a:pt x="221" y="183"/>
                </a:cubicBezTo>
                <a:cubicBezTo>
                  <a:pt x="222" y="184"/>
                  <a:pt x="222" y="184"/>
                  <a:pt x="222" y="184"/>
                </a:cubicBezTo>
                <a:cubicBezTo>
                  <a:pt x="224" y="185"/>
                  <a:pt x="224" y="185"/>
                  <a:pt x="224" y="185"/>
                </a:cubicBezTo>
                <a:cubicBezTo>
                  <a:pt x="224" y="186"/>
                  <a:pt x="224" y="186"/>
                  <a:pt x="224" y="186"/>
                </a:cubicBezTo>
                <a:cubicBezTo>
                  <a:pt x="223" y="186"/>
                  <a:pt x="223" y="186"/>
                  <a:pt x="223" y="186"/>
                </a:cubicBezTo>
                <a:cubicBezTo>
                  <a:pt x="224" y="187"/>
                  <a:pt x="224" y="187"/>
                  <a:pt x="224" y="187"/>
                </a:cubicBezTo>
                <a:cubicBezTo>
                  <a:pt x="223" y="187"/>
                  <a:pt x="223" y="187"/>
                  <a:pt x="223" y="187"/>
                </a:cubicBezTo>
                <a:cubicBezTo>
                  <a:pt x="221" y="186"/>
                  <a:pt x="221" y="186"/>
                  <a:pt x="221" y="186"/>
                </a:cubicBezTo>
                <a:cubicBezTo>
                  <a:pt x="219" y="185"/>
                  <a:pt x="219" y="185"/>
                  <a:pt x="219" y="185"/>
                </a:cubicBezTo>
                <a:cubicBezTo>
                  <a:pt x="218" y="186"/>
                  <a:pt x="218" y="186"/>
                  <a:pt x="218" y="186"/>
                </a:cubicBezTo>
                <a:cubicBezTo>
                  <a:pt x="217" y="185"/>
                  <a:pt x="217" y="185"/>
                  <a:pt x="217" y="185"/>
                </a:cubicBezTo>
                <a:cubicBezTo>
                  <a:pt x="217" y="186"/>
                  <a:pt x="217" y="186"/>
                  <a:pt x="217" y="186"/>
                </a:cubicBezTo>
                <a:cubicBezTo>
                  <a:pt x="216" y="186"/>
                  <a:pt x="216" y="186"/>
                  <a:pt x="216" y="186"/>
                </a:cubicBezTo>
                <a:cubicBezTo>
                  <a:pt x="215" y="185"/>
                  <a:pt x="215" y="185"/>
                  <a:pt x="215" y="185"/>
                </a:cubicBezTo>
                <a:cubicBezTo>
                  <a:pt x="214" y="185"/>
                  <a:pt x="214" y="185"/>
                  <a:pt x="214" y="185"/>
                </a:cubicBezTo>
                <a:cubicBezTo>
                  <a:pt x="214" y="184"/>
                  <a:pt x="214" y="184"/>
                  <a:pt x="214" y="184"/>
                </a:cubicBezTo>
                <a:cubicBezTo>
                  <a:pt x="213" y="183"/>
                  <a:pt x="213" y="183"/>
                  <a:pt x="213" y="183"/>
                </a:cubicBezTo>
                <a:cubicBezTo>
                  <a:pt x="212" y="184"/>
                  <a:pt x="212" y="184"/>
                  <a:pt x="212" y="184"/>
                </a:cubicBezTo>
                <a:cubicBezTo>
                  <a:pt x="211" y="183"/>
                  <a:pt x="211" y="183"/>
                  <a:pt x="211" y="183"/>
                </a:cubicBezTo>
                <a:cubicBezTo>
                  <a:pt x="210" y="183"/>
                  <a:pt x="210" y="183"/>
                  <a:pt x="210" y="183"/>
                </a:cubicBezTo>
                <a:cubicBezTo>
                  <a:pt x="209" y="182"/>
                  <a:pt x="209" y="182"/>
                  <a:pt x="209" y="182"/>
                </a:cubicBezTo>
                <a:cubicBezTo>
                  <a:pt x="209" y="181"/>
                  <a:pt x="209" y="181"/>
                  <a:pt x="209" y="181"/>
                </a:cubicBezTo>
                <a:cubicBezTo>
                  <a:pt x="208" y="181"/>
                  <a:pt x="208" y="181"/>
                  <a:pt x="208" y="181"/>
                </a:cubicBezTo>
                <a:cubicBezTo>
                  <a:pt x="208" y="181"/>
                  <a:pt x="208" y="181"/>
                  <a:pt x="208" y="181"/>
                </a:cubicBezTo>
                <a:cubicBezTo>
                  <a:pt x="206" y="181"/>
                  <a:pt x="206" y="181"/>
                  <a:pt x="206" y="181"/>
                </a:cubicBezTo>
                <a:cubicBezTo>
                  <a:pt x="206" y="181"/>
                  <a:pt x="206" y="181"/>
                  <a:pt x="206" y="181"/>
                </a:cubicBezTo>
                <a:cubicBezTo>
                  <a:pt x="203" y="181"/>
                  <a:pt x="203" y="181"/>
                  <a:pt x="203" y="181"/>
                </a:cubicBezTo>
                <a:cubicBezTo>
                  <a:pt x="201" y="181"/>
                  <a:pt x="201" y="181"/>
                  <a:pt x="201" y="181"/>
                </a:cubicBezTo>
                <a:cubicBezTo>
                  <a:pt x="200" y="180"/>
                  <a:pt x="200" y="180"/>
                  <a:pt x="200" y="180"/>
                </a:cubicBezTo>
                <a:cubicBezTo>
                  <a:pt x="195" y="180"/>
                  <a:pt x="195" y="180"/>
                  <a:pt x="195" y="180"/>
                </a:cubicBezTo>
                <a:cubicBezTo>
                  <a:pt x="194" y="181"/>
                  <a:pt x="194" y="181"/>
                  <a:pt x="194" y="181"/>
                </a:cubicBezTo>
                <a:cubicBezTo>
                  <a:pt x="193" y="181"/>
                  <a:pt x="193" y="181"/>
                  <a:pt x="193" y="181"/>
                </a:cubicBezTo>
                <a:cubicBezTo>
                  <a:pt x="192" y="182"/>
                  <a:pt x="192" y="182"/>
                  <a:pt x="192" y="182"/>
                </a:cubicBezTo>
                <a:cubicBezTo>
                  <a:pt x="192" y="184"/>
                  <a:pt x="192" y="184"/>
                  <a:pt x="192" y="184"/>
                </a:cubicBezTo>
                <a:cubicBezTo>
                  <a:pt x="191" y="186"/>
                  <a:pt x="191" y="186"/>
                  <a:pt x="191" y="186"/>
                </a:cubicBezTo>
                <a:cubicBezTo>
                  <a:pt x="191" y="188"/>
                  <a:pt x="191" y="188"/>
                  <a:pt x="191" y="188"/>
                </a:cubicBezTo>
                <a:cubicBezTo>
                  <a:pt x="191" y="188"/>
                  <a:pt x="191" y="188"/>
                  <a:pt x="191" y="188"/>
                </a:cubicBezTo>
                <a:cubicBezTo>
                  <a:pt x="191" y="189"/>
                  <a:pt x="191" y="189"/>
                  <a:pt x="191" y="189"/>
                </a:cubicBezTo>
                <a:cubicBezTo>
                  <a:pt x="192" y="189"/>
                  <a:pt x="192" y="189"/>
                  <a:pt x="192" y="189"/>
                </a:cubicBezTo>
                <a:cubicBezTo>
                  <a:pt x="192" y="190"/>
                  <a:pt x="192" y="190"/>
                  <a:pt x="192" y="190"/>
                </a:cubicBezTo>
                <a:cubicBezTo>
                  <a:pt x="191" y="190"/>
                  <a:pt x="191" y="190"/>
                  <a:pt x="191" y="190"/>
                </a:cubicBezTo>
                <a:cubicBezTo>
                  <a:pt x="192" y="193"/>
                  <a:pt x="192" y="193"/>
                  <a:pt x="192" y="193"/>
                </a:cubicBezTo>
                <a:cubicBezTo>
                  <a:pt x="193" y="194"/>
                  <a:pt x="193" y="194"/>
                  <a:pt x="193" y="194"/>
                </a:cubicBezTo>
                <a:cubicBezTo>
                  <a:pt x="194" y="194"/>
                  <a:pt x="194" y="194"/>
                  <a:pt x="194" y="194"/>
                </a:cubicBezTo>
                <a:cubicBezTo>
                  <a:pt x="195" y="195"/>
                  <a:pt x="195" y="195"/>
                  <a:pt x="195" y="195"/>
                </a:cubicBezTo>
                <a:cubicBezTo>
                  <a:pt x="196" y="196"/>
                  <a:pt x="196" y="196"/>
                  <a:pt x="196" y="196"/>
                </a:cubicBezTo>
                <a:cubicBezTo>
                  <a:pt x="197" y="196"/>
                  <a:pt x="197" y="196"/>
                  <a:pt x="197" y="196"/>
                </a:cubicBezTo>
                <a:cubicBezTo>
                  <a:pt x="198" y="196"/>
                  <a:pt x="198" y="196"/>
                  <a:pt x="198" y="196"/>
                </a:cubicBezTo>
                <a:cubicBezTo>
                  <a:pt x="198" y="197"/>
                  <a:pt x="198" y="197"/>
                  <a:pt x="198" y="197"/>
                </a:cubicBezTo>
                <a:cubicBezTo>
                  <a:pt x="200" y="196"/>
                  <a:pt x="200" y="196"/>
                  <a:pt x="200" y="196"/>
                </a:cubicBezTo>
                <a:cubicBezTo>
                  <a:pt x="200" y="196"/>
                  <a:pt x="200" y="196"/>
                  <a:pt x="200" y="196"/>
                </a:cubicBezTo>
                <a:cubicBezTo>
                  <a:pt x="201" y="197"/>
                  <a:pt x="201" y="197"/>
                  <a:pt x="201" y="197"/>
                </a:cubicBezTo>
                <a:cubicBezTo>
                  <a:pt x="203" y="197"/>
                  <a:pt x="203" y="197"/>
                  <a:pt x="203" y="197"/>
                </a:cubicBezTo>
                <a:cubicBezTo>
                  <a:pt x="203" y="198"/>
                  <a:pt x="203" y="198"/>
                  <a:pt x="203" y="198"/>
                </a:cubicBezTo>
                <a:cubicBezTo>
                  <a:pt x="204" y="199"/>
                  <a:pt x="204" y="199"/>
                  <a:pt x="204" y="199"/>
                </a:cubicBezTo>
                <a:cubicBezTo>
                  <a:pt x="204" y="199"/>
                  <a:pt x="204" y="199"/>
                  <a:pt x="204" y="199"/>
                </a:cubicBezTo>
                <a:cubicBezTo>
                  <a:pt x="203" y="200"/>
                  <a:pt x="203" y="200"/>
                  <a:pt x="203" y="200"/>
                </a:cubicBezTo>
                <a:cubicBezTo>
                  <a:pt x="203" y="201"/>
                  <a:pt x="203" y="201"/>
                  <a:pt x="203" y="201"/>
                </a:cubicBezTo>
                <a:cubicBezTo>
                  <a:pt x="203" y="201"/>
                  <a:pt x="203" y="201"/>
                  <a:pt x="203" y="201"/>
                </a:cubicBezTo>
                <a:cubicBezTo>
                  <a:pt x="203" y="202"/>
                  <a:pt x="203" y="202"/>
                  <a:pt x="203" y="202"/>
                </a:cubicBezTo>
                <a:cubicBezTo>
                  <a:pt x="202" y="203"/>
                  <a:pt x="202" y="203"/>
                  <a:pt x="202" y="203"/>
                </a:cubicBezTo>
                <a:cubicBezTo>
                  <a:pt x="201" y="203"/>
                  <a:pt x="201" y="203"/>
                  <a:pt x="201" y="203"/>
                </a:cubicBezTo>
                <a:cubicBezTo>
                  <a:pt x="201" y="204"/>
                  <a:pt x="201" y="204"/>
                  <a:pt x="201" y="204"/>
                </a:cubicBezTo>
                <a:cubicBezTo>
                  <a:pt x="200" y="205"/>
                  <a:pt x="200" y="205"/>
                  <a:pt x="200" y="205"/>
                </a:cubicBezTo>
                <a:cubicBezTo>
                  <a:pt x="201" y="205"/>
                  <a:pt x="201" y="205"/>
                  <a:pt x="201" y="205"/>
                </a:cubicBezTo>
                <a:cubicBezTo>
                  <a:pt x="201" y="207"/>
                  <a:pt x="201" y="207"/>
                  <a:pt x="201" y="207"/>
                </a:cubicBezTo>
                <a:cubicBezTo>
                  <a:pt x="202" y="208"/>
                  <a:pt x="202" y="208"/>
                  <a:pt x="202" y="208"/>
                </a:cubicBezTo>
                <a:cubicBezTo>
                  <a:pt x="202" y="209"/>
                  <a:pt x="202" y="209"/>
                  <a:pt x="202" y="209"/>
                </a:cubicBezTo>
                <a:cubicBezTo>
                  <a:pt x="200" y="209"/>
                  <a:pt x="200" y="209"/>
                  <a:pt x="200" y="209"/>
                </a:cubicBezTo>
                <a:cubicBezTo>
                  <a:pt x="201" y="210"/>
                  <a:pt x="201" y="210"/>
                  <a:pt x="201" y="210"/>
                </a:cubicBezTo>
                <a:cubicBezTo>
                  <a:pt x="203" y="210"/>
                  <a:pt x="203" y="210"/>
                  <a:pt x="203" y="210"/>
                </a:cubicBezTo>
                <a:cubicBezTo>
                  <a:pt x="204" y="210"/>
                  <a:pt x="204" y="210"/>
                  <a:pt x="204" y="210"/>
                </a:cubicBezTo>
                <a:cubicBezTo>
                  <a:pt x="204" y="210"/>
                  <a:pt x="204" y="210"/>
                  <a:pt x="204" y="210"/>
                </a:cubicBezTo>
                <a:cubicBezTo>
                  <a:pt x="205" y="211"/>
                  <a:pt x="205" y="211"/>
                  <a:pt x="205" y="211"/>
                </a:cubicBezTo>
                <a:cubicBezTo>
                  <a:pt x="205" y="210"/>
                  <a:pt x="205" y="210"/>
                  <a:pt x="205" y="210"/>
                </a:cubicBezTo>
                <a:cubicBezTo>
                  <a:pt x="206" y="210"/>
                  <a:pt x="206" y="210"/>
                  <a:pt x="206" y="210"/>
                </a:cubicBezTo>
                <a:cubicBezTo>
                  <a:pt x="206" y="210"/>
                  <a:pt x="206" y="210"/>
                  <a:pt x="206" y="210"/>
                </a:cubicBezTo>
                <a:cubicBezTo>
                  <a:pt x="208" y="210"/>
                  <a:pt x="208" y="210"/>
                  <a:pt x="208" y="210"/>
                </a:cubicBezTo>
                <a:cubicBezTo>
                  <a:pt x="210" y="211"/>
                  <a:pt x="210" y="211"/>
                  <a:pt x="210" y="211"/>
                </a:cubicBezTo>
                <a:cubicBezTo>
                  <a:pt x="211" y="210"/>
                  <a:pt x="211" y="210"/>
                  <a:pt x="211" y="210"/>
                </a:cubicBezTo>
                <a:cubicBezTo>
                  <a:pt x="212" y="210"/>
                  <a:pt x="212" y="210"/>
                  <a:pt x="212" y="210"/>
                </a:cubicBezTo>
                <a:cubicBezTo>
                  <a:pt x="213" y="211"/>
                  <a:pt x="213" y="211"/>
                  <a:pt x="213" y="211"/>
                </a:cubicBezTo>
                <a:cubicBezTo>
                  <a:pt x="213" y="211"/>
                  <a:pt x="213" y="211"/>
                  <a:pt x="213" y="211"/>
                </a:cubicBezTo>
                <a:cubicBezTo>
                  <a:pt x="213" y="211"/>
                  <a:pt x="213" y="211"/>
                  <a:pt x="213" y="211"/>
                </a:cubicBezTo>
                <a:cubicBezTo>
                  <a:pt x="214" y="210"/>
                  <a:pt x="214" y="210"/>
                  <a:pt x="214" y="210"/>
                </a:cubicBezTo>
                <a:cubicBezTo>
                  <a:pt x="215" y="211"/>
                  <a:pt x="215" y="211"/>
                  <a:pt x="215" y="211"/>
                </a:cubicBezTo>
                <a:cubicBezTo>
                  <a:pt x="215" y="211"/>
                  <a:pt x="215" y="211"/>
                  <a:pt x="215" y="211"/>
                </a:cubicBezTo>
                <a:cubicBezTo>
                  <a:pt x="216" y="211"/>
                  <a:pt x="216" y="211"/>
                  <a:pt x="216" y="211"/>
                </a:cubicBezTo>
                <a:cubicBezTo>
                  <a:pt x="216" y="211"/>
                  <a:pt x="216" y="211"/>
                  <a:pt x="216" y="211"/>
                </a:cubicBezTo>
                <a:cubicBezTo>
                  <a:pt x="217" y="211"/>
                  <a:pt x="217" y="211"/>
                  <a:pt x="217" y="211"/>
                </a:cubicBezTo>
                <a:cubicBezTo>
                  <a:pt x="217" y="212"/>
                  <a:pt x="217" y="212"/>
                  <a:pt x="217" y="212"/>
                </a:cubicBezTo>
                <a:cubicBezTo>
                  <a:pt x="218" y="212"/>
                  <a:pt x="218" y="212"/>
                  <a:pt x="218" y="212"/>
                </a:cubicBezTo>
                <a:cubicBezTo>
                  <a:pt x="218" y="212"/>
                  <a:pt x="218" y="212"/>
                  <a:pt x="218" y="212"/>
                </a:cubicBezTo>
                <a:cubicBezTo>
                  <a:pt x="220" y="212"/>
                  <a:pt x="220" y="212"/>
                  <a:pt x="220" y="212"/>
                </a:cubicBezTo>
                <a:cubicBezTo>
                  <a:pt x="220" y="211"/>
                  <a:pt x="220" y="211"/>
                  <a:pt x="220" y="211"/>
                </a:cubicBezTo>
                <a:cubicBezTo>
                  <a:pt x="222" y="210"/>
                  <a:pt x="222" y="210"/>
                  <a:pt x="222" y="210"/>
                </a:cubicBezTo>
                <a:cubicBezTo>
                  <a:pt x="222" y="210"/>
                  <a:pt x="222" y="210"/>
                  <a:pt x="222" y="210"/>
                </a:cubicBezTo>
                <a:cubicBezTo>
                  <a:pt x="224" y="209"/>
                  <a:pt x="224" y="209"/>
                  <a:pt x="224" y="209"/>
                </a:cubicBezTo>
                <a:cubicBezTo>
                  <a:pt x="225" y="209"/>
                  <a:pt x="225" y="209"/>
                  <a:pt x="225" y="209"/>
                </a:cubicBezTo>
                <a:cubicBezTo>
                  <a:pt x="226" y="208"/>
                  <a:pt x="226" y="208"/>
                  <a:pt x="226" y="208"/>
                </a:cubicBezTo>
                <a:cubicBezTo>
                  <a:pt x="227" y="208"/>
                  <a:pt x="227" y="208"/>
                  <a:pt x="227" y="208"/>
                </a:cubicBezTo>
                <a:cubicBezTo>
                  <a:pt x="227" y="208"/>
                  <a:pt x="227" y="208"/>
                  <a:pt x="227" y="208"/>
                </a:cubicBezTo>
                <a:cubicBezTo>
                  <a:pt x="229" y="208"/>
                  <a:pt x="229" y="208"/>
                  <a:pt x="229" y="208"/>
                </a:cubicBezTo>
                <a:cubicBezTo>
                  <a:pt x="229" y="208"/>
                  <a:pt x="229" y="208"/>
                  <a:pt x="229" y="208"/>
                </a:cubicBezTo>
                <a:cubicBezTo>
                  <a:pt x="230" y="208"/>
                  <a:pt x="230" y="208"/>
                  <a:pt x="230" y="208"/>
                </a:cubicBezTo>
                <a:cubicBezTo>
                  <a:pt x="233" y="208"/>
                  <a:pt x="233" y="208"/>
                  <a:pt x="233" y="208"/>
                </a:cubicBezTo>
                <a:cubicBezTo>
                  <a:pt x="235" y="207"/>
                  <a:pt x="235" y="207"/>
                  <a:pt x="235" y="207"/>
                </a:cubicBezTo>
                <a:cubicBezTo>
                  <a:pt x="236" y="206"/>
                  <a:pt x="236" y="206"/>
                  <a:pt x="236" y="206"/>
                </a:cubicBezTo>
                <a:cubicBezTo>
                  <a:pt x="236" y="206"/>
                  <a:pt x="236" y="206"/>
                  <a:pt x="236" y="206"/>
                </a:cubicBezTo>
                <a:cubicBezTo>
                  <a:pt x="236" y="206"/>
                  <a:pt x="236" y="206"/>
                  <a:pt x="236" y="206"/>
                </a:cubicBezTo>
                <a:cubicBezTo>
                  <a:pt x="237" y="206"/>
                  <a:pt x="237" y="206"/>
                  <a:pt x="237" y="206"/>
                </a:cubicBezTo>
                <a:cubicBezTo>
                  <a:pt x="238" y="205"/>
                  <a:pt x="238" y="205"/>
                  <a:pt x="238" y="205"/>
                </a:cubicBezTo>
                <a:cubicBezTo>
                  <a:pt x="238" y="204"/>
                  <a:pt x="238" y="204"/>
                  <a:pt x="238" y="204"/>
                </a:cubicBezTo>
                <a:cubicBezTo>
                  <a:pt x="238" y="204"/>
                  <a:pt x="238" y="204"/>
                  <a:pt x="238" y="204"/>
                </a:cubicBezTo>
                <a:cubicBezTo>
                  <a:pt x="239" y="204"/>
                  <a:pt x="239" y="204"/>
                  <a:pt x="239" y="204"/>
                </a:cubicBezTo>
                <a:cubicBezTo>
                  <a:pt x="239" y="204"/>
                  <a:pt x="239" y="204"/>
                  <a:pt x="239" y="204"/>
                </a:cubicBezTo>
                <a:cubicBezTo>
                  <a:pt x="240" y="203"/>
                  <a:pt x="240" y="203"/>
                  <a:pt x="240" y="203"/>
                </a:cubicBezTo>
                <a:cubicBezTo>
                  <a:pt x="240" y="203"/>
                  <a:pt x="240" y="203"/>
                  <a:pt x="240" y="203"/>
                </a:cubicBezTo>
                <a:cubicBezTo>
                  <a:pt x="240" y="203"/>
                  <a:pt x="240" y="203"/>
                  <a:pt x="240" y="203"/>
                </a:cubicBezTo>
                <a:cubicBezTo>
                  <a:pt x="241" y="203"/>
                  <a:pt x="241" y="203"/>
                  <a:pt x="241" y="203"/>
                </a:cubicBezTo>
                <a:cubicBezTo>
                  <a:pt x="241" y="203"/>
                  <a:pt x="241" y="203"/>
                  <a:pt x="241" y="203"/>
                </a:cubicBezTo>
                <a:cubicBezTo>
                  <a:pt x="241" y="204"/>
                  <a:pt x="241" y="204"/>
                  <a:pt x="241" y="204"/>
                </a:cubicBezTo>
                <a:cubicBezTo>
                  <a:pt x="242" y="205"/>
                  <a:pt x="242" y="205"/>
                  <a:pt x="242" y="205"/>
                </a:cubicBezTo>
                <a:cubicBezTo>
                  <a:pt x="241" y="205"/>
                  <a:pt x="241" y="205"/>
                  <a:pt x="241" y="205"/>
                </a:cubicBezTo>
                <a:cubicBezTo>
                  <a:pt x="241" y="206"/>
                  <a:pt x="241" y="206"/>
                  <a:pt x="241" y="206"/>
                </a:cubicBezTo>
                <a:cubicBezTo>
                  <a:pt x="240" y="207"/>
                  <a:pt x="240" y="207"/>
                  <a:pt x="240" y="207"/>
                </a:cubicBezTo>
                <a:cubicBezTo>
                  <a:pt x="240" y="207"/>
                  <a:pt x="240" y="207"/>
                  <a:pt x="240" y="207"/>
                </a:cubicBezTo>
                <a:cubicBezTo>
                  <a:pt x="240" y="208"/>
                  <a:pt x="240" y="208"/>
                  <a:pt x="240" y="208"/>
                </a:cubicBezTo>
                <a:cubicBezTo>
                  <a:pt x="240" y="208"/>
                  <a:pt x="240" y="208"/>
                  <a:pt x="240" y="208"/>
                </a:cubicBezTo>
                <a:cubicBezTo>
                  <a:pt x="241" y="209"/>
                  <a:pt x="241" y="209"/>
                  <a:pt x="241" y="209"/>
                </a:cubicBezTo>
                <a:cubicBezTo>
                  <a:pt x="242" y="208"/>
                  <a:pt x="242" y="208"/>
                  <a:pt x="242" y="208"/>
                </a:cubicBezTo>
                <a:cubicBezTo>
                  <a:pt x="243" y="208"/>
                  <a:pt x="243" y="208"/>
                  <a:pt x="243" y="208"/>
                </a:cubicBezTo>
                <a:cubicBezTo>
                  <a:pt x="244" y="209"/>
                  <a:pt x="244" y="209"/>
                  <a:pt x="244" y="209"/>
                </a:cubicBezTo>
                <a:cubicBezTo>
                  <a:pt x="244" y="210"/>
                  <a:pt x="244" y="210"/>
                  <a:pt x="244" y="210"/>
                </a:cubicBezTo>
                <a:cubicBezTo>
                  <a:pt x="244" y="210"/>
                  <a:pt x="244" y="210"/>
                  <a:pt x="244" y="210"/>
                </a:cubicBezTo>
                <a:cubicBezTo>
                  <a:pt x="245" y="210"/>
                  <a:pt x="245" y="210"/>
                  <a:pt x="245" y="210"/>
                </a:cubicBezTo>
                <a:cubicBezTo>
                  <a:pt x="245" y="209"/>
                  <a:pt x="245" y="209"/>
                  <a:pt x="245" y="209"/>
                </a:cubicBezTo>
                <a:cubicBezTo>
                  <a:pt x="246" y="210"/>
                  <a:pt x="246" y="210"/>
                  <a:pt x="246" y="210"/>
                </a:cubicBezTo>
                <a:cubicBezTo>
                  <a:pt x="246" y="211"/>
                  <a:pt x="246" y="211"/>
                  <a:pt x="246" y="211"/>
                </a:cubicBezTo>
                <a:cubicBezTo>
                  <a:pt x="245" y="211"/>
                  <a:pt x="245" y="211"/>
                  <a:pt x="245" y="211"/>
                </a:cubicBezTo>
                <a:cubicBezTo>
                  <a:pt x="244" y="211"/>
                  <a:pt x="244" y="211"/>
                  <a:pt x="244" y="211"/>
                </a:cubicBezTo>
                <a:cubicBezTo>
                  <a:pt x="243" y="212"/>
                  <a:pt x="243" y="212"/>
                  <a:pt x="243" y="212"/>
                </a:cubicBezTo>
                <a:cubicBezTo>
                  <a:pt x="243" y="213"/>
                  <a:pt x="243" y="213"/>
                  <a:pt x="243" y="213"/>
                </a:cubicBezTo>
                <a:cubicBezTo>
                  <a:pt x="244" y="213"/>
                  <a:pt x="244" y="213"/>
                  <a:pt x="244" y="213"/>
                </a:cubicBezTo>
                <a:cubicBezTo>
                  <a:pt x="245" y="213"/>
                  <a:pt x="245" y="213"/>
                  <a:pt x="245" y="213"/>
                </a:cubicBezTo>
                <a:cubicBezTo>
                  <a:pt x="246" y="214"/>
                  <a:pt x="246" y="214"/>
                  <a:pt x="246" y="214"/>
                </a:cubicBezTo>
                <a:cubicBezTo>
                  <a:pt x="247" y="213"/>
                  <a:pt x="247" y="213"/>
                  <a:pt x="247" y="213"/>
                </a:cubicBezTo>
                <a:cubicBezTo>
                  <a:pt x="248" y="212"/>
                  <a:pt x="248" y="212"/>
                  <a:pt x="248" y="212"/>
                </a:cubicBezTo>
                <a:cubicBezTo>
                  <a:pt x="248" y="212"/>
                  <a:pt x="248" y="212"/>
                  <a:pt x="248" y="212"/>
                </a:cubicBezTo>
                <a:cubicBezTo>
                  <a:pt x="248" y="213"/>
                  <a:pt x="248" y="213"/>
                  <a:pt x="248" y="213"/>
                </a:cubicBezTo>
                <a:cubicBezTo>
                  <a:pt x="249" y="214"/>
                  <a:pt x="249" y="214"/>
                  <a:pt x="249" y="214"/>
                </a:cubicBezTo>
                <a:cubicBezTo>
                  <a:pt x="249" y="215"/>
                  <a:pt x="249" y="215"/>
                  <a:pt x="249" y="215"/>
                </a:cubicBezTo>
                <a:cubicBezTo>
                  <a:pt x="250" y="214"/>
                  <a:pt x="250" y="214"/>
                  <a:pt x="250" y="214"/>
                </a:cubicBezTo>
                <a:cubicBezTo>
                  <a:pt x="251" y="214"/>
                  <a:pt x="251" y="214"/>
                  <a:pt x="251" y="214"/>
                </a:cubicBezTo>
                <a:cubicBezTo>
                  <a:pt x="251" y="215"/>
                  <a:pt x="251" y="215"/>
                  <a:pt x="251" y="215"/>
                </a:cubicBezTo>
                <a:cubicBezTo>
                  <a:pt x="252" y="215"/>
                  <a:pt x="252" y="215"/>
                  <a:pt x="252" y="215"/>
                </a:cubicBezTo>
                <a:cubicBezTo>
                  <a:pt x="253" y="216"/>
                  <a:pt x="253" y="216"/>
                  <a:pt x="253" y="216"/>
                </a:cubicBezTo>
                <a:cubicBezTo>
                  <a:pt x="253" y="216"/>
                  <a:pt x="253" y="216"/>
                  <a:pt x="253" y="216"/>
                </a:cubicBezTo>
                <a:cubicBezTo>
                  <a:pt x="253" y="215"/>
                  <a:pt x="253" y="215"/>
                  <a:pt x="253" y="215"/>
                </a:cubicBezTo>
                <a:cubicBezTo>
                  <a:pt x="254" y="215"/>
                  <a:pt x="254" y="215"/>
                  <a:pt x="254" y="215"/>
                </a:cubicBezTo>
                <a:cubicBezTo>
                  <a:pt x="255" y="215"/>
                  <a:pt x="255" y="215"/>
                  <a:pt x="255" y="215"/>
                </a:cubicBezTo>
                <a:cubicBezTo>
                  <a:pt x="255" y="215"/>
                  <a:pt x="255" y="215"/>
                  <a:pt x="255" y="215"/>
                </a:cubicBezTo>
                <a:cubicBezTo>
                  <a:pt x="255" y="216"/>
                  <a:pt x="255" y="216"/>
                  <a:pt x="255" y="216"/>
                </a:cubicBezTo>
                <a:cubicBezTo>
                  <a:pt x="256" y="216"/>
                  <a:pt x="256" y="216"/>
                  <a:pt x="256" y="216"/>
                </a:cubicBezTo>
                <a:cubicBezTo>
                  <a:pt x="257" y="216"/>
                  <a:pt x="257" y="216"/>
                  <a:pt x="257" y="216"/>
                </a:cubicBezTo>
                <a:cubicBezTo>
                  <a:pt x="257" y="215"/>
                  <a:pt x="257" y="215"/>
                  <a:pt x="257" y="215"/>
                </a:cubicBezTo>
                <a:cubicBezTo>
                  <a:pt x="258" y="215"/>
                  <a:pt x="258" y="215"/>
                  <a:pt x="258" y="215"/>
                </a:cubicBezTo>
                <a:cubicBezTo>
                  <a:pt x="258" y="216"/>
                  <a:pt x="258" y="216"/>
                  <a:pt x="258" y="216"/>
                </a:cubicBezTo>
                <a:cubicBezTo>
                  <a:pt x="258" y="216"/>
                  <a:pt x="258" y="216"/>
                  <a:pt x="258" y="216"/>
                </a:cubicBezTo>
                <a:cubicBezTo>
                  <a:pt x="259" y="215"/>
                  <a:pt x="259" y="215"/>
                  <a:pt x="259" y="215"/>
                </a:cubicBezTo>
                <a:cubicBezTo>
                  <a:pt x="259" y="215"/>
                  <a:pt x="259" y="215"/>
                  <a:pt x="259" y="215"/>
                </a:cubicBezTo>
                <a:cubicBezTo>
                  <a:pt x="260" y="215"/>
                  <a:pt x="260" y="215"/>
                  <a:pt x="260" y="215"/>
                </a:cubicBezTo>
                <a:cubicBezTo>
                  <a:pt x="261" y="215"/>
                  <a:pt x="261" y="215"/>
                  <a:pt x="261" y="215"/>
                </a:cubicBezTo>
                <a:cubicBezTo>
                  <a:pt x="261" y="215"/>
                  <a:pt x="261" y="215"/>
                  <a:pt x="261" y="215"/>
                </a:cubicBezTo>
                <a:cubicBezTo>
                  <a:pt x="261" y="215"/>
                  <a:pt x="261" y="215"/>
                  <a:pt x="261" y="215"/>
                </a:cubicBezTo>
                <a:cubicBezTo>
                  <a:pt x="262" y="215"/>
                  <a:pt x="262" y="215"/>
                  <a:pt x="262" y="215"/>
                </a:cubicBezTo>
                <a:close/>
                <a:moveTo>
                  <a:pt x="379" y="259"/>
                </a:moveTo>
                <a:cubicBezTo>
                  <a:pt x="380" y="258"/>
                  <a:pt x="380" y="258"/>
                  <a:pt x="380" y="258"/>
                </a:cubicBezTo>
                <a:cubicBezTo>
                  <a:pt x="379" y="257"/>
                  <a:pt x="379" y="257"/>
                  <a:pt x="379" y="257"/>
                </a:cubicBezTo>
                <a:cubicBezTo>
                  <a:pt x="379" y="256"/>
                  <a:pt x="379" y="256"/>
                  <a:pt x="379" y="256"/>
                </a:cubicBezTo>
                <a:cubicBezTo>
                  <a:pt x="379" y="255"/>
                  <a:pt x="379" y="255"/>
                  <a:pt x="379" y="255"/>
                </a:cubicBezTo>
                <a:cubicBezTo>
                  <a:pt x="381" y="253"/>
                  <a:pt x="381" y="253"/>
                  <a:pt x="381" y="253"/>
                </a:cubicBezTo>
                <a:cubicBezTo>
                  <a:pt x="382" y="252"/>
                  <a:pt x="382" y="252"/>
                  <a:pt x="382" y="252"/>
                </a:cubicBezTo>
                <a:cubicBezTo>
                  <a:pt x="383" y="251"/>
                  <a:pt x="383" y="251"/>
                  <a:pt x="383" y="251"/>
                </a:cubicBezTo>
                <a:cubicBezTo>
                  <a:pt x="385" y="248"/>
                  <a:pt x="385" y="248"/>
                  <a:pt x="385" y="248"/>
                </a:cubicBezTo>
                <a:cubicBezTo>
                  <a:pt x="386" y="248"/>
                  <a:pt x="386" y="248"/>
                  <a:pt x="386" y="248"/>
                </a:cubicBezTo>
                <a:cubicBezTo>
                  <a:pt x="386" y="248"/>
                  <a:pt x="386" y="248"/>
                  <a:pt x="386" y="248"/>
                </a:cubicBezTo>
                <a:cubicBezTo>
                  <a:pt x="387" y="247"/>
                  <a:pt x="387" y="247"/>
                  <a:pt x="387" y="247"/>
                </a:cubicBezTo>
                <a:cubicBezTo>
                  <a:pt x="388" y="247"/>
                  <a:pt x="388" y="247"/>
                  <a:pt x="388" y="247"/>
                </a:cubicBezTo>
                <a:cubicBezTo>
                  <a:pt x="389" y="247"/>
                  <a:pt x="389" y="247"/>
                  <a:pt x="389" y="247"/>
                </a:cubicBezTo>
                <a:cubicBezTo>
                  <a:pt x="390" y="247"/>
                  <a:pt x="390" y="247"/>
                  <a:pt x="390" y="247"/>
                </a:cubicBezTo>
                <a:cubicBezTo>
                  <a:pt x="391" y="248"/>
                  <a:pt x="391" y="248"/>
                  <a:pt x="391" y="248"/>
                </a:cubicBezTo>
                <a:cubicBezTo>
                  <a:pt x="391" y="248"/>
                  <a:pt x="391" y="248"/>
                  <a:pt x="391" y="248"/>
                </a:cubicBezTo>
                <a:cubicBezTo>
                  <a:pt x="392" y="249"/>
                  <a:pt x="392" y="249"/>
                  <a:pt x="392" y="249"/>
                </a:cubicBezTo>
                <a:cubicBezTo>
                  <a:pt x="393" y="250"/>
                  <a:pt x="393" y="250"/>
                  <a:pt x="393" y="250"/>
                </a:cubicBezTo>
                <a:cubicBezTo>
                  <a:pt x="393" y="251"/>
                  <a:pt x="393" y="251"/>
                  <a:pt x="393" y="251"/>
                </a:cubicBezTo>
                <a:cubicBezTo>
                  <a:pt x="392" y="252"/>
                  <a:pt x="392" y="252"/>
                  <a:pt x="392" y="252"/>
                </a:cubicBezTo>
                <a:cubicBezTo>
                  <a:pt x="391" y="253"/>
                  <a:pt x="391" y="253"/>
                  <a:pt x="391" y="253"/>
                </a:cubicBezTo>
                <a:cubicBezTo>
                  <a:pt x="391" y="254"/>
                  <a:pt x="391" y="254"/>
                  <a:pt x="391" y="254"/>
                </a:cubicBezTo>
                <a:cubicBezTo>
                  <a:pt x="389" y="257"/>
                  <a:pt x="389" y="257"/>
                  <a:pt x="389" y="257"/>
                </a:cubicBezTo>
                <a:cubicBezTo>
                  <a:pt x="389" y="258"/>
                  <a:pt x="389" y="258"/>
                  <a:pt x="389" y="258"/>
                </a:cubicBezTo>
                <a:cubicBezTo>
                  <a:pt x="388" y="258"/>
                  <a:pt x="388" y="258"/>
                  <a:pt x="388" y="258"/>
                </a:cubicBezTo>
                <a:cubicBezTo>
                  <a:pt x="386" y="259"/>
                  <a:pt x="386" y="259"/>
                  <a:pt x="386" y="259"/>
                </a:cubicBezTo>
                <a:cubicBezTo>
                  <a:pt x="386" y="259"/>
                  <a:pt x="386" y="259"/>
                  <a:pt x="386" y="259"/>
                </a:cubicBezTo>
                <a:cubicBezTo>
                  <a:pt x="385" y="260"/>
                  <a:pt x="385" y="260"/>
                  <a:pt x="385" y="260"/>
                </a:cubicBezTo>
                <a:cubicBezTo>
                  <a:pt x="384" y="260"/>
                  <a:pt x="384" y="260"/>
                  <a:pt x="384" y="260"/>
                </a:cubicBezTo>
                <a:cubicBezTo>
                  <a:pt x="383" y="260"/>
                  <a:pt x="383" y="260"/>
                  <a:pt x="383" y="260"/>
                </a:cubicBezTo>
                <a:cubicBezTo>
                  <a:pt x="381" y="260"/>
                  <a:pt x="381" y="260"/>
                  <a:pt x="381" y="260"/>
                </a:cubicBezTo>
                <a:cubicBezTo>
                  <a:pt x="380" y="260"/>
                  <a:pt x="380" y="260"/>
                  <a:pt x="380" y="260"/>
                </a:cubicBezTo>
                <a:cubicBezTo>
                  <a:pt x="379" y="260"/>
                  <a:pt x="379" y="260"/>
                  <a:pt x="379" y="260"/>
                </a:cubicBezTo>
                <a:cubicBezTo>
                  <a:pt x="379" y="259"/>
                  <a:pt x="379" y="259"/>
                  <a:pt x="379" y="259"/>
                </a:cubicBezTo>
                <a:close/>
                <a:moveTo>
                  <a:pt x="268" y="211"/>
                </a:moveTo>
                <a:cubicBezTo>
                  <a:pt x="268" y="211"/>
                  <a:pt x="268" y="211"/>
                  <a:pt x="268" y="211"/>
                </a:cubicBezTo>
                <a:cubicBezTo>
                  <a:pt x="268" y="210"/>
                  <a:pt x="268" y="210"/>
                  <a:pt x="268" y="210"/>
                </a:cubicBezTo>
                <a:cubicBezTo>
                  <a:pt x="269" y="210"/>
                  <a:pt x="269" y="210"/>
                  <a:pt x="269" y="210"/>
                </a:cubicBezTo>
                <a:cubicBezTo>
                  <a:pt x="268" y="209"/>
                  <a:pt x="268" y="209"/>
                  <a:pt x="268" y="209"/>
                </a:cubicBezTo>
                <a:cubicBezTo>
                  <a:pt x="268" y="208"/>
                  <a:pt x="268" y="208"/>
                  <a:pt x="268" y="208"/>
                </a:cubicBezTo>
                <a:cubicBezTo>
                  <a:pt x="269" y="208"/>
                  <a:pt x="269" y="208"/>
                  <a:pt x="269" y="208"/>
                </a:cubicBezTo>
                <a:cubicBezTo>
                  <a:pt x="269" y="209"/>
                  <a:pt x="269" y="209"/>
                  <a:pt x="269" y="209"/>
                </a:cubicBezTo>
                <a:cubicBezTo>
                  <a:pt x="270" y="209"/>
                  <a:pt x="270" y="209"/>
                  <a:pt x="270" y="209"/>
                </a:cubicBezTo>
                <a:cubicBezTo>
                  <a:pt x="270" y="210"/>
                  <a:pt x="270" y="210"/>
                  <a:pt x="270" y="210"/>
                </a:cubicBezTo>
                <a:cubicBezTo>
                  <a:pt x="269" y="211"/>
                  <a:pt x="269" y="211"/>
                  <a:pt x="269" y="211"/>
                </a:cubicBezTo>
                <a:cubicBezTo>
                  <a:pt x="269" y="211"/>
                  <a:pt x="269" y="211"/>
                  <a:pt x="269" y="211"/>
                </a:cubicBezTo>
                <a:cubicBezTo>
                  <a:pt x="268" y="211"/>
                  <a:pt x="268" y="211"/>
                  <a:pt x="268" y="211"/>
                </a:cubicBezTo>
                <a:cubicBezTo>
                  <a:pt x="268" y="211"/>
                  <a:pt x="268" y="211"/>
                  <a:pt x="268" y="211"/>
                </a:cubicBezTo>
                <a:close/>
                <a:moveTo>
                  <a:pt x="257" y="221"/>
                </a:moveTo>
                <a:cubicBezTo>
                  <a:pt x="258" y="220"/>
                  <a:pt x="258" y="220"/>
                  <a:pt x="258" y="220"/>
                </a:cubicBezTo>
                <a:cubicBezTo>
                  <a:pt x="258" y="220"/>
                  <a:pt x="258" y="220"/>
                  <a:pt x="258" y="220"/>
                </a:cubicBezTo>
                <a:cubicBezTo>
                  <a:pt x="258" y="219"/>
                  <a:pt x="258" y="219"/>
                  <a:pt x="258" y="219"/>
                </a:cubicBezTo>
                <a:cubicBezTo>
                  <a:pt x="259" y="218"/>
                  <a:pt x="259" y="218"/>
                  <a:pt x="259" y="218"/>
                </a:cubicBezTo>
                <a:cubicBezTo>
                  <a:pt x="258" y="218"/>
                  <a:pt x="258" y="218"/>
                  <a:pt x="258" y="218"/>
                </a:cubicBezTo>
                <a:cubicBezTo>
                  <a:pt x="257" y="219"/>
                  <a:pt x="257" y="219"/>
                  <a:pt x="257" y="219"/>
                </a:cubicBezTo>
                <a:cubicBezTo>
                  <a:pt x="257" y="219"/>
                  <a:pt x="257" y="219"/>
                  <a:pt x="257" y="219"/>
                </a:cubicBezTo>
                <a:cubicBezTo>
                  <a:pt x="256" y="219"/>
                  <a:pt x="256" y="219"/>
                  <a:pt x="256" y="219"/>
                </a:cubicBezTo>
                <a:cubicBezTo>
                  <a:pt x="256" y="219"/>
                  <a:pt x="256" y="219"/>
                  <a:pt x="256" y="219"/>
                </a:cubicBezTo>
                <a:cubicBezTo>
                  <a:pt x="257" y="221"/>
                  <a:pt x="257" y="221"/>
                  <a:pt x="257" y="221"/>
                </a:cubicBezTo>
                <a:cubicBezTo>
                  <a:pt x="257" y="221"/>
                  <a:pt x="257" y="221"/>
                  <a:pt x="257" y="221"/>
                </a:cubicBezTo>
                <a:close/>
                <a:moveTo>
                  <a:pt x="270" y="219"/>
                </a:moveTo>
                <a:cubicBezTo>
                  <a:pt x="269" y="219"/>
                  <a:pt x="269" y="219"/>
                  <a:pt x="269" y="219"/>
                </a:cubicBezTo>
                <a:cubicBezTo>
                  <a:pt x="268" y="220"/>
                  <a:pt x="268" y="220"/>
                  <a:pt x="268" y="220"/>
                </a:cubicBezTo>
                <a:cubicBezTo>
                  <a:pt x="268" y="221"/>
                  <a:pt x="268" y="221"/>
                  <a:pt x="268" y="221"/>
                </a:cubicBezTo>
                <a:cubicBezTo>
                  <a:pt x="267" y="220"/>
                  <a:pt x="267" y="220"/>
                  <a:pt x="267" y="220"/>
                </a:cubicBezTo>
                <a:cubicBezTo>
                  <a:pt x="267" y="219"/>
                  <a:pt x="267" y="219"/>
                  <a:pt x="267" y="219"/>
                </a:cubicBezTo>
                <a:cubicBezTo>
                  <a:pt x="268" y="217"/>
                  <a:pt x="268" y="217"/>
                  <a:pt x="268" y="217"/>
                </a:cubicBezTo>
                <a:cubicBezTo>
                  <a:pt x="268" y="216"/>
                  <a:pt x="268" y="216"/>
                  <a:pt x="268" y="216"/>
                </a:cubicBezTo>
                <a:cubicBezTo>
                  <a:pt x="269" y="216"/>
                  <a:pt x="269" y="216"/>
                  <a:pt x="269" y="216"/>
                </a:cubicBezTo>
                <a:cubicBezTo>
                  <a:pt x="270" y="216"/>
                  <a:pt x="270" y="216"/>
                  <a:pt x="270" y="216"/>
                </a:cubicBezTo>
                <a:cubicBezTo>
                  <a:pt x="270" y="216"/>
                  <a:pt x="270" y="216"/>
                  <a:pt x="270" y="216"/>
                </a:cubicBezTo>
                <a:cubicBezTo>
                  <a:pt x="270" y="217"/>
                  <a:pt x="270" y="217"/>
                  <a:pt x="270" y="217"/>
                </a:cubicBezTo>
                <a:cubicBezTo>
                  <a:pt x="270" y="219"/>
                  <a:pt x="270" y="219"/>
                  <a:pt x="270" y="219"/>
                </a:cubicBezTo>
                <a:close/>
                <a:moveTo>
                  <a:pt x="271" y="217"/>
                </a:moveTo>
                <a:cubicBezTo>
                  <a:pt x="271" y="216"/>
                  <a:pt x="271" y="216"/>
                  <a:pt x="271" y="216"/>
                </a:cubicBezTo>
                <a:cubicBezTo>
                  <a:pt x="271" y="216"/>
                  <a:pt x="271" y="216"/>
                  <a:pt x="271" y="216"/>
                </a:cubicBezTo>
                <a:cubicBezTo>
                  <a:pt x="271" y="214"/>
                  <a:pt x="271" y="214"/>
                  <a:pt x="271" y="214"/>
                </a:cubicBezTo>
                <a:cubicBezTo>
                  <a:pt x="272" y="214"/>
                  <a:pt x="272" y="214"/>
                  <a:pt x="272" y="214"/>
                </a:cubicBezTo>
                <a:cubicBezTo>
                  <a:pt x="273" y="215"/>
                  <a:pt x="273" y="215"/>
                  <a:pt x="273" y="215"/>
                </a:cubicBezTo>
                <a:cubicBezTo>
                  <a:pt x="272" y="216"/>
                  <a:pt x="272" y="216"/>
                  <a:pt x="272" y="216"/>
                </a:cubicBezTo>
                <a:cubicBezTo>
                  <a:pt x="272" y="217"/>
                  <a:pt x="272" y="217"/>
                  <a:pt x="272" y="217"/>
                </a:cubicBezTo>
                <a:cubicBezTo>
                  <a:pt x="272" y="217"/>
                  <a:pt x="271" y="217"/>
                  <a:pt x="271" y="217"/>
                </a:cubicBezTo>
                <a:close/>
                <a:moveTo>
                  <a:pt x="294" y="217"/>
                </a:moveTo>
                <a:cubicBezTo>
                  <a:pt x="295" y="215"/>
                  <a:pt x="295" y="215"/>
                  <a:pt x="295" y="215"/>
                </a:cubicBezTo>
                <a:cubicBezTo>
                  <a:pt x="296" y="214"/>
                  <a:pt x="296" y="214"/>
                  <a:pt x="296" y="214"/>
                </a:cubicBezTo>
                <a:cubicBezTo>
                  <a:pt x="298" y="215"/>
                  <a:pt x="298" y="215"/>
                  <a:pt x="298" y="215"/>
                </a:cubicBezTo>
                <a:cubicBezTo>
                  <a:pt x="298" y="216"/>
                  <a:pt x="298" y="216"/>
                  <a:pt x="298" y="216"/>
                </a:cubicBezTo>
                <a:cubicBezTo>
                  <a:pt x="297" y="218"/>
                  <a:pt x="297" y="218"/>
                  <a:pt x="297" y="218"/>
                </a:cubicBezTo>
                <a:cubicBezTo>
                  <a:pt x="296" y="218"/>
                  <a:pt x="296" y="218"/>
                  <a:pt x="296" y="218"/>
                </a:cubicBezTo>
                <a:cubicBezTo>
                  <a:pt x="296" y="217"/>
                  <a:pt x="296" y="217"/>
                  <a:pt x="296" y="217"/>
                </a:cubicBezTo>
                <a:cubicBezTo>
                  <a:pt x="296" y="216"/>
                  <a:pt x="296" y="216"/>
                  <a:pt x="296" y="216"/>
                </a:cubicBezTo>
                <a:cubicBezTo>
                  <a:pt x="295" y="217"/>
                  <a:pt x="295" y="217"/>
                  <a:pt x="295" y="217"/>
                </a:cubicBezTo>
                <a:cubicBezTo>
                  <a:pt x="295" y="217"/>
                  <a:pt x="295" y="217"/>
                  <a:pt x="295" y="217"/>
                </a:cubicBezTo>
                <a:cubicBezTo>
                  <a:pt x="295" y="217"/>
                  <a:pt x="294" y="217"/>
                  <a:pt x="294" y="217"/>
                </a:cubicBezTo>
                <a:close/>
                <a:moveTo>
                  <a:pt x="293" y="216"/>
                </a:moveTo>
                <a:cubicBezTo>
                  <a:pt x="294" y="216"/>
                  <a:pt x="294" y="216"/>
                  <a:pt x="294" y="216"/>
                </a:cubicBezTo>
                <a:cubicBezTo>
                  <a:pt x="295" y="215"/>
                  <a:pt x="295" y="215"/>
                  <a:pt x="295" y="215"/>
                </a:cubicBezTo>
                <a:cubicBezTo>
                  <a:pt x="294" y="213"/>
                  <a:pt x="294" y="213"/>
                  <a:pt x="294" y="213"/>
                </a:cubicBezTo>
                <a:cubicBezTo>
                  <a:pt x="293" y="214"/>
                  <a:pt x="293" y="214"/>
                  <a:pt x="293" y="214"/>
                </a:cubicBezTo>
                <a:cubicBezTo>
                  <a:pt x="293" y="216"/>
                  <a:pt x="293" y="216"/>
                  <a:pt x="293" y="216"/>
                </a:cubicBezTo>
                <a:close/>
                <a:moveTo>
                  <a:pt x="293" y="227"/>
                </a:moveTo>
                <a:cubicBezTo>
                  <a:pt x="293" y="226"/>
                  <a:pt x="293" y="226"/>
                  <a:pt x="293" y="226"/>
                </a:cubicBezTo>
                <a:cubicBezTo>
                  <a:pt x="295" y="225"/>
                  <a:pt x="295" y="225"/>
                  <a:pt x="295" y="225"/>
                </a:cubicBezTo>
                <a:cubicBezTo>
                  <a:pt x="295" y="224"/>
                  <a:pt x="295" y="224"/>
                  <a:pt x="295" y="224"/>
                </a:cubicBezTo>
                <a:cubicBezTo>
                  <a:pt x="293" y="225"/>
                  <a:pt x="293" y="225"/>
                  <a:pt x="293" y="225"/>
                </a:cubicBezTo>
                <a:cubicBezTo>
                  <a:pt x="293" y="224"/>
                  <a:pt x="293" y="224"/>
                  <a:pt x="293" y="224"/>
                </a:cubicBezTo>
                <a:cubicBezTo>
                  <a:pt x="294" y="221"/>
                  <a:pt x="294" y="221"/>
                  <a:pt x="294" y="221"/>
                </a:cubicBezTo>
                <a:cubicBezTo>
                  <a:pt x="294" y="220"/>
                  <a:pt x="294" y="220"/>
                  <a:pt x="294" y="220"/>
                </a:cubicBezTo>
                <a:cubicBezTo>
                  <a:pt x="293" y="221"/>
                  <a:pt x="293" y="221"/>
                  <a:pt x="293" y="221"/>
                </a:cubicBezTo>
                <a:cubicBezTo>
                  <a:pt x="292" y="222"/>
                  <a:pt x="292" y="222"/>
                  <a:pt x="292" y="222"/>
                </a:cubicBezTo>
                <a:cubicBezTo>
                  <a:pt x="292" y="221"/>
                  <a:pt x="292" y="221"/>
                  <a:pt x="292" y="221"/>
                </a:cubicBezTo>
                <a:cubicBezTo>
                  <a:pt x="293" y="218"/>
                  <a:pt x="293" y="218"/>
                  <a:pt x="293" y="218"/>
                </a:cubicBezTo>
                <a:cubicBezTo>
                  <a:pt x="292" y="214"/>
                  <a:pt x="292" y="214"/>
                  <a:pt x="292" y="214"/>
                </a:cubicBezTo>
                <a:cubicBezTo>
                  <a:pt x="291" y="213"/>
                  <a:pt x="291" y="213"/>
                  <a:pt x="291" y="213"/>
                </a:cubicBezTo>
                <a:cubicBezTo>
                  <a:pt x="291" y="212"/>
                  <a:pt x="291" y="212"/>
                  <a:pt x="291" y="212"/>
                </a:cubicBezTo>
                <a:cubicBezTo>
                  <a:pt x="290" y="212"/>
                  <a:pt x="290" y="212"/>
                  <a:pt x="290" y="212"/>
                </a:cubicBezTo>
                <a:cubicBezTo>
                  <a:pt x="289" y="213"/>
                  <a:pt x="289" y="213"/>
                  <a:pt x="289" y="213"/>
                </a:cubicBezTo>
                <a:cubicBezTo>
                  <a:pt x="289" y="211"/>
                  <a:pt x="289" y="211"/>
                  <a:pt x="289" y="211"/>
                </a:cubicBezTo>
                <a:cubicBezTo>
                  <a:pt x="290" y="211"/>
                  <a:pt x="290" y="211"/>
                  <a:pt x="290" y="211"/>
                </a:cubicBezTo>
                <a:cubicBezTo>
                  <a:pt x="289" y="209"/>
                  <a:pt x="289" y="209"/>
                  <a:pt x="289" y="209"/>
                </a:cubicBezTo>
                <a:cubicBezTo>
                  <a:pt x="289" y="208"/>
                  <a:pt x="289" y="208"/>
                  <a:pt x="289" y="208"/>
                </a:cubicBezTo>
                <a:cubicBezTo>
                  <a:pt x="289" y="207"/>
                  <a:pt x="289" y="207"/>
                  <a:pt x="289" y="207"/>
                </a:cubicBezTo>
                <a:cubicBezTo>
                  <a:pt x="288" y="208"/>
                  <a:pt x="288" y="208"/>
                  <a:pt x="288" y="208"/>
                </a:cubicBezTo>
                <a:cubicBezTo>
                  <a:pt x="286" y="209"/>
                  <a:pt x="286" y="209"/>
                  <a:pt x="286" y="209"/>
                </a:cubicBezTo>
                <a:cubicBezTo>
                  <a:pt x="285" y="211"/>
                  <a:pt x="285" y="211"/>
                  <a:pt x="285" y="211"/>
                </a:cubicBezTo>
                <a:cubicBezTo>
                  <a:pt x="285" y="213"/>
                  <a:pt x="285" y="213"/>
                  <a:pt x="285" y="213"/>
                </a:cubicBezTo>
                <a:cubicBezTo>
                  <a:pt x="284" y="213"/>
                  <a:pt x="284" y="213"/>
                  <a:pt x="284" y="213"/>
                </a:cubicBezTo>
                <a:cubicBezTo>
                  <a:pt x="284" y="211"/>
                  <a:pt x="284" y="211"/>
                  <a:pt x="284" y="211"/>
                </a:cubicBezTo>
                <a:cubicBezTo>
                  <a:pt x="283" y="211"/>
                  <a:pt x="283" y="211"/>
                  <a:pt x="283" y="211"/>
                </a:cubicBezTo>
                <a:cubicBezTo>
                  <a:pt x="283" y="213"/>
                  <a:pt x="283" y="213"/>
                  <a:pt x="283" y="213"/>
                </a:cubicBezTo>
                <a:cubicBezTo>
                  <a:pt x="282" y="213"/>
                  <a:pt x="282" y="213"/>
                  <a:pt x="282" y="213"/>
                </a:cubicBezTo>
                <a:cubicBezTo>
                  <a:pt x="283" y="214"/>
                  <a:pt x="283" y="214"/>
                  <a:pt x="283" y="214"/>
                </a:cubicBezTo>
                <a:cubicBezTo>
                  <a:pt x="282" y="215"/>
                  <a:pt x="282" y="215"/>
                  <a:pt x="282" y="215"/>
                </a:cubicBezTo>
                <a:cubicBezTo>
                  <a:pt x="281" y="215"/>
                  <a:pt x="281" y="215"/>
                  <a:pt x="281" y="215"/>
                </a:cubicBezTo>
                <a:cubicBezTo>
                  <a:pt x="280" y="216"/>
                  <a:pt x="280" y="216"/>
                  <a:pt x="280" y="216"/>
                </a:cubicBezTo>
                <a:cubicBezTo>
                  <a:pt x="278" y="216"/>
                  <a:pt x="278" y="216"/>
                  <a:pt x="278" y="216"/>
                </a:cubicBezTo>
                <a:cubicBezTo>
                  <a:pt x="278" y="216"/>
                  <a:pt x="278" y="216"/>
                  <a:pt x="278" y="216"/>
                </a:cubicBezTo>
                <a:cubicBezTo>
                  <a:pt x="277" y="216"/>
                  <a:pt x="277" y="216"/>
                  <a:pt x="277" y="216"/>
                </a:cubicBezTo>
                <a:cubicBezTo>
                  <a:pt x="274" y="218"/>
                  <a:pt x="274" y="218"/>
                  <a:pt x="274" y="218"/>
                </a:cubicBezTo>
                <a:cubicBezTo>
                  <a:pt x="274" y="219"/>
                  <a:pt x="274" y="219"/>
                  <a:pt x="274" y="219"/>
                </a:cubicBezTo>
                <a:cubicBezTo>
                  <a:pt x="276" y="221"/>
                  <a:pt x="276" y="221"/>
                  <a:pt x="276" y="221"/>
                </a:cubicBezTo>
                <a:cubicBezTo>
                  <a:pt x="277" y="220"/>
                  <a:pt x="277" y="220"/>
                  <a:pt x="277" y="220"/>
                </a:cubicBezTo>
                <a:cubicBezTo>
                  <a:pt x="276" y="219"/>
                  <a:pt x="276" y="219"/>
                  <a:pt x="276" y="219"/>
                </a:cubicBezTo>
                <a:cubicBezTo>
                  <a:pt x="277" y="218"/>
                  <a:pt x="277" y="218"/>
                  <a:pt x="277" y="218"/>
                </a:cubicBezTo>
                <a:cubicBezTo>
                  <a:pt x="278" y="219"/>
                  <a:pt x="278" y="219"/>
                  <a:pt x="278" y="219"/>
                </a:cubicBezTo>
                <a:cubicBezTo>
                  <a:pt x="277" y="221"/>
                  <a:pt x="277" y="221"/>
                  <a:pt x="277" y="221"/>
                </a:cubicBezTo>
                <a:cubicBezTo>
                  <a:pt x="279" y="222"/>
                  <a:pt x="279" y="222"/>
                  <a:pt x="279" y="222"/>
                </a:cubicBezTo>
                <a:cubicBezTo>
                  <a:pt x="280" y="221"/>
                  <a:pt x="280" y="221"/>
                  <a:pt x="280" y="221"/>
                </a:cubicBezTo>
                <a:cubicBezTo>
                  <a:pt x="280" y="222"/>
                  <a:pt x="280" y="222"/>
                  <a:pt x="280" y="222"/>
                </a:cubicBezTo>
                <a:cubicBezTo>
                  <a:pt x="280" y="223"/>
                  <a:pt x="280" y="223"/>
                  <a:pt x="280" y="223"/>
                </a:cubicBezTo>
                <a:cubicBezTo>
                  <a:pt x="281" y="224"/>
                  <a:pt x="281" y="224"/>
                  <a:pt x="281" y="224"/>
                </a:cubicBezTo>
                <a:cubicBezTo>
                  <a:pt x="282" y="225"/>
                  <a:pt x="282" y="225"/>
                  <a:pt x="282" y="225"/>
                </a:cubicBezTo>
                <a:cubicBezTo>
                  <a:pt x="283" y="226"/>
                  <a:pt x="283" y="226"/>
                  <a:pt x="283" y="226"/>
                </a:cubicBezTo>
                <a:cubicBezTo>
                  <a:pt x="284" y="227"/>
                  <a:pt x="284" y="227"/>
                  <a:pt x="284" y="227"/>
                </a:cubicBezTo>
                <a:cubicBezTo>
                  <a:pt x="285" y="226"/>
                  <a:pt x="285" y="226"/>
                  <a:pt x="285" y="226"/>
                </a:cubicBezTo>
                <a:cubicBezTo>
                  <a:pt x="285" y="227"/>
                  <a:pt x="285" y="227"/>
                  <a:pt x="285" y="227"/>
                </a:cubicBezTo>
                <a:cubicBezTo>
                  <a:pt x="286" y="228"/>
                  <a:pt x="286" y="228"/>
                  <a:pt x="286" y="228"/>
                </a:cubicBezTo>
                <a:cubicBezTo>
                  <a:pt x="287" y="228"/>
                  <a:pt x="287" y="228"/>
                  <a:pt x="287" y="228"/>
                </a:cubicBezTo>
                <a:cubicBezTo>
                  <a:pt x="288" y="228"/>
                  <a:pt x="288" y="228"/>
                  <a:pt x="288" y="228"/>
                </a:cubicBezTo>
                <a:cubicBezTo>
                  <a:pt x="290" y="227"/>
                  <a:pt x="290" y="227"/>
                  <a:pt x="290" y="227"/>
                </a:cubicBezTo>
                <a:cubicBezTo>
                  <a:pt x="291" y="227"/>
                  <a:pt x="291" y="227"/>
                  <a:pt x="291" y="227"/>
                </a:cubicBezTo>
                <a:cubicBezTo>
                  <a:pt x="292" y="226"/>
                  <a:pt x="292" y="226"/>
                  <a:pt x="292" y="226"/>
                </a:cubicBezTo>
                <a:cubicBezTo>
                  <a:pt x="293" y="227"/>
                  <a:pt x="293" y="227"/>
                  <a:pt x="293" y="227"/>
                </a:cubicBezTo>
                <a:close/>
                <a:moveTo>
                  <a:pt x="421" y="218"/>
                </a:moveTo>
                <a:cubicBezTo>
                  <a:pt x="421" y="217"/>
                  <a:pt x="421" y="217"/>
                  <a:pt x="421" y="217"/>
                </a:cubicBezTo>
                <a:cubicBezTo>
                  <a:pt x="420" y="216"/>
                  <a:pt x="420" y="216"/>
                  <a:pt x="420" y="216"/>
                </a:cubicBezTo>
                <a:cubicBezTo>
                  <a:pt x="421" y="215"/>
                  <a:pt x="421" y="215"/>
                  <a:pt x="421" y="215"/>
                </a:cubicBezTo>
                <a:cubicBezTo>
                  <a:pt x="422" y="215"/>
                  <a:pt x="422" y="215"/>
                  <a:pt x="422" y="215"/>
                </a:cubicBezTo>
                <a:cubicBezTo>
                  <a:pt x="423" y="215"/>
                  <a:pt x="423" y="215"/>
                  <a:pt x="423" y="215"/>
                </a:cubicBezTo>
                <a:cubicBezTo>
                  <a:pt x="423" y="216"/>
                  <a:pt x="423" y="216"/>
                  <a:pt x="423" y="216"/>
                </a:cubicBezTo>
                <a:cubicBezTo>
                  <a:pt x="424" y="216"/>
                  <a:pt x="424" y="216"/>
                  <a:pt x="424" y="216"/>
                </a:cubicBezTo>
                <a:cubicBezTo>
                  <a:pt x="425" y="216"/>
                  <a:pt x="425" y="216"/>
                  <a:pt x="425" y="216"/>
                </a:cubicBezTo>
                <a:cubicBezTo>
                  <a:pt x="424" y="217"/>
                  <a:pt x="424" y="217"/>
                  <a:pt x="424" y="217"/>
                </a:cubicBezTo>
                <a:cubicBezTo>
                  <a:pt x="423" y="218"/>
                  <a:pt x="423" y="218"/>
                  <a:pt x="423" y="218"/>
                </a:cubicBezTo>
                <a:cubicBezTo>
                  <a:pt x="422" y="217"/>
                  <a:pt x="422" y="217"/>
                  <a:pt x="422" y="217"/>
                </a:cubicBezTo>
                <a:cubicBezTo>
                  <a:pt x="422" y="218"/>
                  <a:pt x="422" y="218"/>
                  <a:pt x="422" y="218"/>
                </a:cubicBezTo>
                <a:cubicBezTo>
                  <a:pt x="421" y="218"/>
                  <a:pt x="421" y="218"/>
                  <a:pt x="421" y="218"/>
                </a:cubicBezTo>
                <a:cubicBezTo>
                  <a:pt x="421" y="218"/>
                  <a:pt x="421" y="218"/>
                  <a:pt x="421" y="218"/>
                </a:cubicBezTo>
                <a:close/>
                <a:moveTo>
                  <a:pt x="418" y="328"/>
                </a:moveTo>
                <a:cubicBezTo>
                  <a:pt x="417" y="328"/>
                  <a:pt x="417" y="328"/>
                  <a:pt x="417" y="328"/>
                </a:cubicBezTo>
                <a:cubicBezTo>
                  <a:pt x="416" y="327"/>
                  <a:pt x="416" y="327"/>
                  <a:pt x="416" y="327"/>
                </a:cubicBezTo>
                <a:cubicBezTo>
                  <a:pt x="414" y="327"/>
                  <a:pt x="414" y="327"/>
                  <a:pt x="414" y="327"/>
                </a:cubicBezTo>
                <a:cubicBezTo>
                  <a:pt x="413" y="326"/>
                  <a:pt x="413" y="326"/>
                  <a:pt x="413" y="326"/>
                </a:cubicBezTo>
                <a:cubicBezTo>
                  <a:pt x="412" y="326"/>
                  <a:pt x="412" y="326"/>
                  <a:pt x="412" y="326"/>
                </a:cubicBezTo>
                <a:cubicBezTo>
                  <a:pt x="411" y="325"/>
                  <a:pt x="411" y="325"/>
                  <a:pt x="411" y="325"/>
                </a:cubicBezTo>
                <a:cubicBezTo>
                  <a:pt x="410" y="324"/>
                  <a:pt x="410" y="324"/>
                  <a:pt x="410" y="324"/>
                </a:cubicBezTo>
                <a:cubicBezTo>
                  <a:pt x="409" y="323"/>
                  <a:pt x="409" y="323"/>
                  <a:pt x="409" y="323"/>
                </a:cubicBezTo>
                <a:cubicBezTo>
                  <a:pt x="409" y="323"/>
                  <a:pt x="409" y="323"/>
                  <a:pt x="409" y="323"/>
                </a:cubicBezTo>
                <a:cubicBezTo>
                  <a:pt x="408" y="323"/>
                  <a:pt x="408" y="323"/>
                  <a:pt x="408" y="323"/>
                </a:cubicBezTo>
                <a:cubicBezTo>
                  <a:pt x="407" y="323"/>
                  <a:pt x="407" y="323"/>
                  <a:pt x="407" y="323"/>
                </a:cubicBezTo>
                <a:cubicBezTo>
                  <a:pt x="406" y="323"/>
                  <a:pt x="406" y="323"/>
                  <a:pt x="406" y="323"/>
                </a:cubicBezTo>
                <a:cubicBezTo>
                  <a:pt x="405" y="322"/>
                  <a:pt x="405" y="322"/>
                  <a:pt x="405" y="322"/>
                </a:cubicBezTo>
                <a:cubicBezTo>
                  <a:pt x="405" y="321"/>
                  <a:pt x="405" y="321"/>
                  <a:pt x="405" y="321"/>
                </a:cubicBezTo>
                <a:cubicBezTo>
                  <a:pt x="404" y="321"/>
                  <a:pt x="404" y="321"/>
                  <a:pt x="404" y="321"/>
                </a:cubicBezTo>
                <a:cubicBezTo>
                  <a:pt x="402" y="320"/>
                  <a:pt x="402" y="320"/>
                  <a:pt x="402" y="320"/>
                </a:cubicBezTo>
                <a:cubicBezTo>
                  <a:pt x="403" y="319"/>
                  <a:pt x="403" y="319"/>
                  <a:pt x="403" y="319"/>
                </a:cubicBezTo>
                <a:cubicBezTo>
                  <a:pt x="402" y="319"/>
                  <a:pt x="402" y="319"/>
                  <a:pt x="402" y="319"/>
                </a:cubicBezTo>
                <a:cubicBezTo>
                  <a:pt x="401" y="319"/>
                  <a:pt x="401" y="319"/>
                  <a:pt x="401" y="319"/>
                </a:cubicBezTo>
                <a:cubicBezTo>
                  <a:pt x="401" y="318"/>
                  <a:pt x="401" y="318"/>
                  <a:pt x="401" y="318"/>
                </a:cubicBezTo>
                <a:cubicBezTo>
                  <a:pt x="401" y="317"/>
                  <a:pt x="401" y="317"/>
                  <a:pt x="401" y="317"/>
                </a:cubicBezTo>
                <a:cubicBezTo>
                  <a:pt x="402" y="317"/>
                  <a:pt x="402" y="317"/>
                  <a:pt x="402" y="317"/>
                </a:cubicBezTo>
                <a:cubicBezTo>
                  <a:pt x="401" y="316"/>
                  <a:pt x="401" y="316"/>
                  <a:pt x="401" y="316"/>
                </a:cubicBezTo>
                <a:cubicBezTo>
                  <a:pt x="400" y="316"/>
                  <a:pt x="400" y="316"/>
                  <a:pt x="400" y="316"/>
                </a:cubicBezTo>
                <a:cubicBezTo>
                  <a:pt x="400" y="317"/>
                  <a:pt x="400" y="317"/>
                  <a:pt x="400" y="317"/>
                </a:cubicBezTo>
                <a:cubicBezTo>
                  <a:pt x="399" y="316"/>
                  <a:pt x="399" y="316"/>
                  <a:pt x="399" y="316"/>
                </a:cubicBezTo>
                <a:cubicBezTo>
                  <a:pt x="399" y="316"/>
                  <a:pt x="399" y="316"/>
                  <a:pt x="399" y="316"/>
                </a:cubicBezTo>
                <a:cubicBezTo>
                  <a:pt x="398" y="316"/>
                  <a:pt x="398" y="316"/>
                  <a:pt x="398" y="316"/>
                </a:cubicBezTo>
                <a:cubicBezTo>
                  <a:pt x="396" y="315"/>
                  <a:pt x="396" y="315"/>
                  <a:pt x="396" y="315"/>
                </a:cubicBezTo>
                <a:cubicBezTo>
                  <a:pt x="396" y="315"/>
                  <a:pt x="396" y="315"/>
                  <a:pt x="396" y="315"/>
                </a:cubicBezTo>
                <a:cubicBezTo>
                  <a:pt x="395" y="314"/>
                  <a:pt x="395" y="314"/>
                  <a:pt x="395" y="314"/>
                </a:cubicBezTo>
                <a:cubicBezTo>
                  <a:pt x="394" y="313"/>
                  <a:pt x="394" y="313"/>
                  <a:pt x="394" y="313"/>
                </a:cubicBezTo>
                <a:cubicBezTo>
                  <a:pt x="394" y="312"/>
                  <a:pt x="394" y="312"/>
                  <a:pt x="394" y="312"/>
                </a:cubicBezTo>
                <a:cubicBezTo>
                  <a:pt x="393" y="312"/>
                  <a:pt x="393" y="312"/>
                  <a:pt x="393" y="312"/>
                </a:cubicBezTo>
                <a:cubicBezTo>
                  <a:pt x="392" y="311"/>
                  <a:pt x="392" y="311"/>
                  <a:pt x="392" y="311"/>
                </a:cubicBezTo>
                <a:cubicBezTo>
                  <a:pt x="392" y="310"/>
                  <a:pt x="392" y="310"/>
                  <a:pt x="392" y="310"/>
                </a:cubicBezTo>
                <a:cubicBezTo>
                  <a:pt x="391" y="309"/>
                  <a:pt x="391" y="309"/>
                  <a:pt x="391" y="309"/>
                </a:cubicBezTo>
                <a:cubicBezTo>
                  <a:pt x="390" y="308"/>
                  <a:pt x="390" y="308"/>
                  <a:pt x="390" y="308"/>
                </a:cubicBezTo>
                <a:cubicBezTo>
                  <a:pt x="391" y="308"/>
                  <a:pt x="391" y="308"/>
                  <a:pt x="391" y="308"/>
                </a:cubicBezTo>
                <a:cubicBezTo>
                  <a:pt x="392" y="308"/>
                  <a:pt x="392" y="308"/>
                  <a:pt x="392" y="308"/>
                </a:cubicBezTo>
                <a:cubicBezTo>
                  <a:pt x="395" y="306"/>
                  <a:pt x="395" y="306"/>
                  <a:pt x="395" y="306"/>
                </a:cubicBezTo>
                <a:cubicBezTo>
                  <a:pt x="395" y="306"/>
                  <a:pt x="395" y="306"/>
                  <a:pt x="395" y="306"/>
                </a:cubicBezTo>
                <a:cubicBezTo>
                  <a:pt x="393" y="306"/>
                  <a:pt x="393" y="306"/>
                  <a:pt x="393" y="306"/>
                </a:cubicBezTo>
                <a:cubicBezTo>
                  <a:pt x="392" y="305"/>
                  <a:pt x="392" y="305"/>
                  <a:pt x="392" y="305"/>
                </a:cubicBezTo>
                <a:cubicBezTo>
                  <a:pt x="392" y="303"/>
                  <a:pt x="392" y="303"/>
                  <a:pt x="392" y="303"/>
                </a:cubicBezTo>
                <a:cubicBezTo>
                  <a:pt x="392" y="303"/>
                  <a:pt x="392" y="303"/>
                  <a:pt x="392" y="303"/>
                </a:cubicBezTo>
                <a:cubicBezTo>
                  <a:pt x="392" y="303"/>
                  <a:pt x="392" y="303"/>
                  <a:pt x="392" y="303"/>
                </a:cubicBezTo>
                <a:cubicBezTo>
                  <a:pt x="391" y="304"/>
                  <a:pt x="391" y="304"/>
                  <a:pt x="391" y="304"/>
                </a:cubicBezTo>
                <a:cubicBezTo>
                  <a:pt x="391" y="305"/>
                  <a:pt x="391" y="305"/>
                  <a:pt x="391" y="305"/>
                </a:cubicBezTo>
                <a:cubicBezTo>
                  <a:pt x="390" y="304"/>
                  <a:pt x="390" y="304"/>
                  <a:pt x="390" y="304"/>
                </a:cubicBezTo>
                <a:cubicBezTo>
                  <a:pt x="391" y="303"/>
                  <a:pt x="391" y="303"/>
                  <a:pt x="391" y="303"/>
                </a:cubicBezTo>
                <a:cubicBezTo>
                  <a:pt x="391" y="301"/>
                  <a:pt x="391" y="301"/>
                  <a:pt x="391" y="301"/>
                </a:cubicBezTo>
                <a:cubicBezTo>
                  <a:pt x="390" y="303"/>
                  <a:pt x="390" y="303"/>
                  <a:pt x="390" y="303"/>
                </a:cubicBezTo>
                <a:cubicBezTo>
                  <a:pt x="389" y="302"/>
                  <a:pt x="389" y="302"/>
                  <a:pt x="389" y="302"/>
                </a:cubicBezTo>
                <a:cubicBezTo>
                  <a:pt x="389" y="301"/>
                  <a:pt x="389" y="301"/>
                  <a:pt x="389" y="301"/>
                </a:cubicBezTo>
                <a:cubicBezTo>
                  <a:pt x="388" y="301"/>
                  <a:pt x="388" y="301"/>
                  <a:pt x="388" y="301"/>
                </a:cubicBezTo>
                <a:cubicBezTo>
                  <a:pt x="388" y="300"/>
                  <a:pt x="388" y="300"/>
                  <a:pt x="388" y="300"/>
                </a:cubicBezTo>
                <a:cubicBezTo>
                  <a:pt x="388" y="299"/>
                  <a:pt x="388" y="299"/>
                  <a:pt x="388" y="299"/>
                </a:cubicBezTo>
                <a:cubicBezTo>
                  <a:pt x="388" y="297"/>
                  <a:pt x="388" y="297"/>
                  <a:pt x="388" y="297"/>
                </a:cubicBezTo>
                <a:cubicBezTo>
                  <a:pt x="387" y="297"/>
                  <a:pt x="387" y="297"/>
                  <a:pt x="387" y="297"/>
                </a:cubicBezTo>
                <a:cubicBezTo>
                  <a:pt x="387" y="296"/>
                  <a:pt x="387" y="296"/>
                  <a:pt x="387" y="296"/>
                </a:cubicBezTo>
                <a:cubicBezTo>
                  <a:pt x="388" y="294"/>
                  <a:pt x="388" y="294"/>
                  <a:pt x="388" y="294"/>
                </a:cubicBezTo>
                <a:cubicBezTo>
                  <a:pt x="388" y="294"/>
                  <a:pt x="388" y="294"/>
                  <a:pt x="388" y="294"/>
                </a:cubicBezTo>
                <a:cubicBezTo>
                  <a:pt x="386" y="296"/>
                  <a:pt x="386" y="296"/>
                  <a:pt x="386" y="296"/>
                </a:cubicBezTo>
                <a:cubicBezTo>
                  <a:pt x="386" y="297"/>
                  <a:pt x="386" y="297"/>
                  <a:pt x="386" y="297"/>
                </a:cubicBezTo>
                <a:cubicBezTo>
                  <a:pt x="385" y="296"/>
                  <a:pt x="385" y="296"/>
                  <a:pt x="385" y="296"/>
                </a:cubicBezTo>
                <a:cubicBezTo>
                  <a:pt x="386" y="294"/>
                  <a:pt x="386" y="294"/>
                  <a:pt x="386" y="294"/>
                </a:cubicBezTo>
                <a:cubicBezTo>
                  <a:pt x="385" y="294"/>
                  <a:pt x="385" y="294"/>
                  <a:pt x="385" y="294"/>
                </a:cubicBezTo>
                <a:cubicBezTo>
                  <a:pt x="384" y="294"/>
                  <a:pt x="384" y="294"/>
                  <a:pt x="384" y="294"/>
                </a:cubicBezTo>
                <a:cubicBezTo>
                  <a:pt x="384" y="294"/>
                  <a:pt x="384" y="294"/>
                  <a:pt x="384" y="294"/>
                </a:cubicBezTo>
                <a:cubicBezTo>
                  <a:pt x="383" y="296"/>
                  <a:pt x="383" y="296"/>
                  <a:pt x="383" y="296"/>
                </a:cubicBezTo>
                <a:cubicBezTo>
                  <a:pt x="382" y="297"/>
                  <a:pt x="382" y="297"/>
                  <a:pt x="382" y="297"/>
                </a:cubicBezTo>
                <a:cubicBezTo>
                  <a:pt x="382" y="295"/>
                  <a:pt x="382" y="295"/>
                  <a:pt x="382" y="295"/>
                </a:cubicBezTo>
                <a:cubicBezTo>
                  <a:pt x="383" y="294"/>
                  <a:pt x="383" y="294"/>
                  <a:pt x="383" y="294"/>
                </a:cubicBezTo>
                <a:cubicBezTo>
                  <a:pt x="383" y="293"/>
                  <a:pt x="383" y="293"/>
                  <a:pt x="383" y="293"/>
                </a:cubicBezTo>
                <a:cubicBezTo>
                  <a:pt x="383" y="292"/>
                  <a:pt x="383" y="292"/>
                  <a:pt x="383" y="292"/>
                </a:cubicBezTo>
                <a:cubicBezTo>
                  <a:pt x="382" y="293"/>
                  <a:pt x="382" y="293"/>
                  <a:pt x="382" y="293"/>
                </a:cubicBezTo>
                <a:cubicBezTo>
                  <a:pt x="381" y="294"/>
                  <a:pt x="381" y="294"/>
                  <a:pt x="381" y="294"/>
                </a:cubicBezTo>
                <a:cubicBezTo>
                  <a:pt x="381" y="294"/>
                  <a:pt x="381" y="294"/>
                  <a:pt x="381" y="294"/>
                </a:cubicBezTo>
                <a:cubicBezTo>
                  <a:pt x="380" y="295"/>
                  <a:pt x="380" y="295"/>
                  <a:pt x="380" y="295"/>
                </a:cubicBezTo>
                <a:cubicBezTo>
                  <a:pt x="380" y="296"/>
                  <a:pt x="380" y="296"/>
                  <a:pt x="380" y="296"/>
                </a:cubicBezTo>
                <a:cubicBezTo>
                  <a:pt x="378" y="295"/>
                  <a:pt x="378" y="295"/>
                  <a:pt x="378" y="295"/>
                </a:cubicBezTo>
                <a:cubicBezTo>
                  <a:pt x="377" y="294"/>
                  <a:pt x="377" y="294"/>
                  <a:pt x="377" y="294"/>
                </a:cubicBezTo>
                <a:cubicBezTo>
                  <a:pt x="376" y="294"/>
                  <a:pt x="376" y="294"/>
                  <a:pt x="376" y="294"/>
                </a:cubicBezTo>
                <a:cubicBezTo>
                  <a:pt x="375" y="292"/>
                  <a:pt x="375" y="292"/>
                  <a:pt x="375" y="292"/>
                </a:cubicBezTo>
                <a:cubicBezTo>
                  <a:pt x="375" y="292"/>
                  <a:pt x="375" y="292"/>
                  <a:pt x="375" y="292"/>
                </a:cubicBezTo>
                <a:cubicBezTo>
                  <a:pt x="374" y="293"/>
                  <a:pt x="374" y="293"/>
                  <a:pt x="374" y="293"/>
                </a:cubicBezTo>
                <a:cubicBezTo>
                  <a:pt x="374" y="294"/>
                  <a:pt x="374" y="294"/>
                  <a:pt x="374" y="294"/>
                </a:cubicBezTo>
                <a:cubicBezTo>
                  <a:pt x="374" y="295"/>
                  <a:pt x="374" y="295"/>
                  <a:pt x="374" y="295"/>
                </a:cubicBezTo>
                <a:cubicBezTo>
                  <a:pt x="373" y="295"/>
                  <a:pt x="373" y="295"/>
                  <a:pt x="373" y="295"/>
                </a:cubicBezTo>
                <a:cubicBezTo>
                  <a:pt x="372" y="295"/>
                  <a:pt x="372" y="295"/>
                  <a:pt x="372" y="295"/>
                </a:cubicBezTo>
                <a:cubicBezTo>
                  <a:pt x="371" y="295"/>
                  <a:pt x="371" y="295"/>
                  <a:pt x="371" y="295"/>
                </a:cubicBezTo>
                <a:cubicBezTo>
                  <a:pt x="370" y="296"/>
                  <a:pt x="370" y="296"/>
                  <a:pt x="370" y="296"/>
                </a:cubicBezTo>
                <a:cubicBezTo>
                  <a:pt x="369" y="295"/>
                  <a:pt x="369" y="295"/>
                  <a:pt x="369" y="295"/>
                </a:cubicBezTo>
                <a:cubicBezTo>
                  <a:pt x="368" y="296"/>
                  <a:pt x="368" y="296"/>
                  <a:pt x="368" y="296"/>
                </a:cubicBezTo>
                <a:cubicBezTo>
                  <a:pt x="367" y="296"/>
                  <a:pt x="367" y="296"/>
                  <a:pt x="367" y="296"/>
                </a:cubicBezTo>
                <a:cubicBezTo>
                  <a:pt x="365" y="296"/>
                  <a:pt x="365" y="296"/>
                  <a:pt x="365" y="296"/>
                </a:cubicBezTo>
                <a:cubicBezTo>
                  <a:pt x="366" y="295"/>
                  <a:pt x="366" y="295"/>
                  <a:pt x="366" y="295"/>
                </a:cubicBezTo>
                <a:cubicBezTo>
                  <a:pt x="364" y="293"/>
                  <a:pt x="364" y="293"/>
                  <a:pt x="364" y="293"/>
                </a:cubicBezTo>
                <a:cubicBezTo>
                  <a:pt x="364" y="294"/>
                  <a:pt x="364" y="294"/>
                  <a:pt x="364" y="294"/>
                </a:cubicBezTo>
                <a:cubicBezTo>
                  <a:pt x="363" y="293"/>
                  <a:pt x="363" y="293"/>
                  <a:pt x="363" y="293"/>
                </a:cubicBezTo>
                <a:cubicBezTo>
                  <a:pt x="362" y="290"/>
                  <a:pt x="362" y="290"/>
                  <a:pt x="362" y="290"/>
                </a:cubicBezTo>
                <a:cubicBezTo>
                  <a:pt x="362" y="289"/>
                  <a:pt x="362" y="289"/>
                  <a:pt x="362" y="289"/>
                </a:cubicBezTo>
                <a:cubicBezTo>
                  <a:pt x="363" y="288"/>
                  <a:pt x="363" y="288"/>
                  <a:pt x="363" y="288"/>
                </a:cubicBezTo>
                <a:cubicBezTo>
                  <a:pt x="363" y="287"/>
                  <a:pt x="363" y="287"/>
                  <a:pt x="363" y="287"/>
                </a:cubicBezTo>
                <a:cubicBezTo>
                  <a:pt x="364" y="286"/>
                  <a:pt x="364" y="286"/>
                  <a:pt x="364" y="286"/>
                </a:cubicBezTo>
                <a:cubicBezTo>
                  <a:pt x="366" y="286"/>
                  <a:pt x="366" y="286"/>
                  <a:pt x="366" y="286"/>
                </a:cubicBezTo>
                <a:cubicBezTo>
                  <a:pt x="366" y="285"/>
                  <a:pt x="366" y="285"/>
                  <a:pt x="366" y="285"/>
                </a:cubicBezTo>
                <a:cubicBezTo>
                  <a:pt x="367" y="285"/>
                  <a:pt x="367" y="285"/>
                  <a:pt x="367" y="285"/>
                </a:cubicBezTo>
                <a:cubicBezTo>
                  <a:pt x="368" y="285"/>
                  <a:pt x="368" y="285"/>
                  <a:pt x="368" y="285"/>
                </a:cubicBezTo>
                <a:cubicBezTo>
                  <a:pt x="368" y="284"/>
                  <a:pt x="368" y="284"/>
                  <a:pt x="368" y="284"/>
                </a:cubicBezTo>
                <a:cubicBezTo>
                  <a:pt x="368" y="283"/>
                  <a:pt x="368" y="283"/>
                  <a:pt x="368" y="283"/>
                </a:cubicBezTo>
                <a:cubicBezTo>
                  <a:pt x="368" y="282"/>
                  <a:pt x="368" y="282"/>
                  <a:pt x="368" y="282"/>
                </a:cubicBezTo>
                <a:cubicBezTo>
                  <a:pt x="368" y="282"/>
                  <a:pt x="368" y="282"/>
                  <a:pt x="368" y="282"/>
                </a:cubicBezTo>
                <a:cubicBezTo>
                  <a:pt x="369" y="282"/>
                  <a:pt x="369" y="282"/>
                  <a:pt x="369" y="282"/>
                </a:cubicBezTo>
                <a:cubicBezTo>
                  <a:pt x="369" y="282"/>
                  <a:pt x="369" y="282"/>
                  <a:pt x="369" y="282"/>
                </a:cubicBezTo>
                <a:cubicBezTo>
                  <a:pt x="369" y="281"/>
                  <a:pt x="369" y="281"/>
                  <a:pt x="369" y="281"/>
                </a:cubicBezTo>
                <a:cubicBezTo>
                  <a:pt x="369" y="281"/>
                  <a:pt x="369" y="281"/>
                  <a:pt x="369" y="281"/>
                </a:cubicBezTo>
                <a:cubicBezTo>
                  <a:pt x="370" y="283"/>
                  <a:pt x="370" y="283"/>
                  <a:pt x="370" y="283"/>
                </a:cubicBezTo>
                <a:cubicBezTo>
                  <a:pt x="372" y="283"/>
                  <a:pt x="372" y="283"/>
                  <a:pt x="372" y="283"/>
                </a:cubicBezTo>
                <a:cubicBezTo>
                  <a:pt x="373" y="284"/>
                  <a:pt x="373" y="284"/>
                  <a:pt x="373" y="284"/>
                </a:cubicBezTo>
                <a:cubicBezTo>
                  <a:pt x="374" y="285"/>
                  <a:pt x="374" y="285"/>
                  <a:pt x="374" y="285"/>
                </a:cubicBezTo>
                <a:cubicBezTo>
                  <a:pt x="375" y="285"/>
                  <a:pt x="375" y="285"/>
                  <a:pt x="375" y="285"/>
                </a:cubicBezTo>
                <a:cubicBezTo>
                  <a:pt x="376" y="286"/>
                  <a:pt x="376" y="286"/>
                  <a:pt x="376" y="286"/>
                </a:cubicBezTo>
                <a:cubicBezTo>
                  <a:pt x="377" y="285"/>
                  <a:pt x="377" y="285"/>
                  <a:pt x="377" y="285"/>
                </a:cubicBezTo>
                <a:cubicBezTo>
                  <a:pt x="378" y="285"/>
                  <a:pt x="378" y="285"/>
                  <a:pt x="378" y="285"/>
                </a:cubicBezTo>
                <a:cubicBezTo>
                  <a:pt x="378" y="286"/>
                  <a:pt x="378" y="286"/>
                  <a:pt x="378" y="286"/>
                </a:cubicBezTo>
                <a:cubicBezTo>
                  <a:pt x="379" y="286"/>
                  <a:pt x="379" y="286"/>
                  <a:pt x="379" y="286"/>
                </a:cubicBezTo>
                <a:cubicBezTo>
                  <a:pt x="380" y="286"/>
                  <a:pt x="380" y="286"/>
                  <a:pt x="380" y="286"/>
                </a:cubicBezTo>
                <a:cubicBezTo>
                  <a:pt x="381" y="285"/>
                  <a:pt x="381" y="285"/>
                  <a:pt x="381" y="285"/>
                </a:cubicBezTo>
                <a:cubicBezTo>
                  <a:pt x="382" y="284"/>
                  <a:pt x="382" y="284"/>
                  <a:pt x="382" y="284"/>
                </a:cubicBezTo>
                <a:cubicBezTo>
                  <a:pt x="383" y="284"/>
                  <a:pt x="383" y="284"/>
                  <a:pt x="383" y="284"/>
                </a:cubicBezTo>
                <a:cubicBezTo>
                  <a:pt x="383" y="284"/>
                  <a:pt x="383" y="284"/>
                  <a:pt x="383" y="284"/>
                </a:cubicBezTo>
                <a:cubicBezTo>
                  <a:pt x="383" y="285"/>
                  <a:pt x="383" y="285"/>
                  <a:pt x="383" y="285"/>
                </a:cubicBezTo>
                <a:cubicBezTo>
                  <a:pt x="384" y="285"/>
                  <a:pt x="384" y="285"/>
                  <a:pt x="384" y="285"/>
                </a:cubicBezTo>
                <a:cubicBezTo>
                  <a:pt x="385" y="284"/>
                  <a:pt x="385" y="284"/>
                  <a:pt x="385" y="284"/>
                </a:cubicBezTo>
                <a:cubicBezTo>
                  <a:pt x="386" y="283"/>
                  <a:pt x="386" y="283"/>
                  <a:pt x="386" y="283"/>
                </a:cubicBezTo>
                <a:cubicBezTo>
                  <a:pt x="387" y="283"/>
                  <a:pt x="387" y="283"/>
                  <a:pt x="387" y="283"/>
                </a:cubicBezTo>
                <a:cubicBezTo>
                  <a:pt x="387" y="283"/>
                  <a:pt x="387" y="283"/>
                  <a:pt x="387" y="283"/>
                </a:cubicBezTo>
                <a:cubicBezTo>
                  <a:pt x="387" y="285"/>
                  <a:pt x="387" y="285"/>
                  <a:pt x="387" y="285"/>
                </a:cubicBezTo>
                <a:cubicBezTo>
                  <a:pt x="388" y="286"/>
                  <a:pt x="388" y="286"/>
                  <a:pt x="388" y="286"/>
                </a:cubicBezTo>
                <a:cubicBezTo>
                  <a:pt x="388" y="285"/>
                  <a:pt x="388" y="285"/>
                  <a:pt x="388" y="285"/>
                </a:cubicBezTo>
                <a:cubicBezTo>
                  <a:pt x="388" y="284"/>
                  <a:pt x="388" y="284"/>
                  <a:pt x="388" y="284"/>
                </a:cubicBezTo>
                <a:cubicBezTo>
                  <a:pt x="389" y="284"/>
                  <a:pt x="389" y="284"/>
                  <a:pt x="389" y="284"/>
                </a:cubicBezTo>
                <a:cubicBezTo>
                  <a:pt x="390" y="284"/>
                  <a:pt x="390" y="284"/>
                  <a:pt x="390" y="284"/>
                </a:cubicBezTo>
                <a:cubicBezTo>
                  <a:pt x="389" y="281"/>
                  <a:pt x="389" y="281"/>
                  <a:pt x="389" y="281"/>
                </a:cubicBezTo>
                <a:cubicBezTo>
                  <a:pt x="388" y="279"/>
                  <a:pt x="388" y="279"/>
                  <a:pt x="388" y="279"/>
                </a:cubicBezTo>
                <a:cubicBezTo>
                  <a:pt x="388" y="278"/>
                  <a:pt x="388" y="278"/>
                  <a:pt x="388" y="278"/>
                </a:cubicBezTo>
                <a:cubicBezTo>
                  <a:pt x="387" y="277"/>
                  <a:pt x="387" y="277"/>
                  <a:pt x="387" y="277"/>
                </a:cubicBezTo>
                <a:cubicBezTo>
                  <a:pt x="388" y="276"/>
                  <a:pt x="388" y="276"/>
                  <a:pt x="388" y="276"/>
                </a:cubicBezTo>
                <a:cubicBezTo>
                  <a:pt x="388" y="275"/>
                  <a:pt x="388" y="275"/>
                  <a:pt x="388" y="275"/>
                </a:cubicBezTo>
                <a:cubicBezTo>
                  <a:pt x="389" y="275"/>
                  <a:pt x="389" y="275"/>
                  <a:pt x="389" y="275"/>
                </a:cubicBezTo>
                <a:cubicBezTo>
                  <a:pt x="391" y="273"/>
                  <a:pt x="391" y="273"/>
                  <a:pt x="391" y="273"/>
                </a:cubicBezTo>
                <a:cubicBezTo>
                  <a:pt x="393" y="272"/>
                  <a:pt x="393" y="272"/>
                  <a:pt x="393" y="272"/>
                </a:cubicBezTo>
                <a:cubicBezTo>
                  <a:pt x="394" y="272"/>
                  <a:pt x="394" y="272"/>
                  <a:pt x="394" y="272"/>
                </a:cubicBezTo>
                <a:cubicBezTo>
                  <a:pt x="395" y="270"/>
                  <a:pt x="395" y="270"/>
                  <a:pt x="395" y="270"/>
                </a:cubicBezTo>
                <a:cubicBezTo>
                  <a:pt x="396" y="270"/>
                  <a:pt x="396" y="270"/>
                  <a:pt x="396" y="270"/>
                </a:cubicBezTo>
                <a:cubicBezTo>
                  <a:pt x="397" y="271"/>
                  <a:pt x="397" y="271"/>
                  <a:pt x="397" y="271"/>
                </a:cubicBezTo>
                <a:cubicBezTo>
                  <a:pt x="398" y="270"/>
                  <a:pt x="398" y="270"/>
                  <a:pt x="398" y="270"/>
                </a:cubicBezTo>
                <a:cubicBezTo>
                  <a:pt x="398" y="270"/>
                  <a:pt x="398" y="270"/>
                  <a:pt x="398" y="270"/>
                </a:cubicBezTo>
                <a:cubicBezTo>
                  <a:pt x="397" y="269"/>
                  <a:pt x="397" y="269"/>
                  <a:pt x="397" y="269"/>
                </a:cubicBezTo>
                <a:cubicBezTo>
                  <a:pt x="397" y="268"/>
                  <a:pt x="397" y="268"/>
                  <a:pt x="397" y="268"/>
                </a:cubicBezTo>
                <a:cubicBezTo>
                  <a:pt x="399" y="267"/>
                  <a:pt x="399" y="267"/>
                  <a:pt x="399" y="267"/>
                </a:cubicBezTo>
                <a:cubicBezTo>
                  <a:pt x="399" y="266"/>
                  <a:pt x="399" y="266"/>
                  <a:pt x="399" y="266"/>
                </a:cubicBezTo>
                <a:cubicBezTo>
                  <a:pt x="400" y="265"/>
                  <a:pt x="400" y="265"/>
                  <a:pt x="400" y="265"/>
                </a:cubicBezTo>
                <a:cubicBezTo>
                  <a:pt x="402" y="266"/>
                  <a:pt x="402" y="266"/>
                  <a:pt x="402" y="266"/>
                </a:cubicBezTo>
                <a:cubicBezTo>
                  <a:pt x="403" y="265"/>
                  <a:pt x="403" y="265"/>
                  <a:pt x="403" y="265"/>
                </a:cubicBezTo>
                <a:cubicBezTo>
                  <a:pt x="404" y="264"/>
                  <a:pt x="404" y="264"/>
                  <a:pt x="404" y="264"/>
                </a:cubicBezTo>
                <a:cubicBezTo>
                  <a:pt x="403" y="263"/>
                  <a:pt x="403" y="263"/>
                  <a:pt x="403" y="263"/>
                </a:cubicBezTo>
                <a:cubicBezTo>
                  <a:pt x="404" y="262"/>
                  <a:pt x="404" y="262"/>
                  <a:pt x="404" y="262"/>
                </a:cubicBezTo>
                <a:cubicBezTo>
                  <a:pt x="404" y="260"/>
                  <a:pt x="404" y="260"/>
                  <a:pt x="404" y="260"/>
                </a:cubicBezTo>
                <a:cubicBezTo>
                  <a:pt x="404" y="260"/>
                  <a:pt x="404" y="260"/>
                  <a:pt x="404" y="260"/>
                </a:cubicBezTo>
                <a:cubicBezTo>
                  <a:pt x="404" y="259"/>
                  <a:pt x="404" y="259"/>
                  <a:pt x="404" y="259"/>
                </a:cubicBezTo>
                <a:cubicBezTo>
                  <a:pt x="404" y="258"/>
                  <a:pt x="404" y="258"/>
                  <a:pt x="404" y="258"/>
                </a:cubicBezTo>
                <a:cubicBezTo>
                  <a:pt x="404" y="257"/>
                  <a:pt x="404" y="257"/>
                  <a:pt x="404" y="257"/>
                </a:cubicBezTo>
                <a:cubicBezTo>
                  <a:pt x="404" y="256"/>
                  <a:pt x="404" y="256"/>
                  <a:pt x="404" y="256"/>
                </a:cubicBezTo>
                <a:cubicBezTo>
                  <a:pt x="403" y="256"/>
                  <a:pt x="403" y="256"/>
                  <a:pt x="403" y="256"/>
                </a:cubicBezTo>
                <a:cubicBezTo>
                  <a:pt x="403" y="255"/>
                  <a:pt x="403" y="255"/>
                  <a:pt x="403" y="255"/>
                </a:cubicBezTo>
                <a:cubicBezTo>
                  <a:pt x="404" y="253"/>
                  <a:pt x="404" y="253"/>
                  <a:pt x="404" y="253"/>
                </a:cubicBezTo>
                <a:cubicBezTo>
                  <a:pt x="405" y="253"/>
                  <a:pt x="405" y="253"/>
                  <a:pt x="405" y="253"/>
                </a:cubicBezTo>
                <a:cubicBezTo>
                  <a:pt x="405" y="252"/>
                  <a:pt x="405" y="252"/>
                  <a:pt x="405" y="252"/>
                </a:cubicBezTo>
                <a:cubicBezTo>
                  <a:pt x="406" y="251"/>
                  <a:pt x="406" y="251"/>
                  <a:pt x="406" y="251"/>
                </a:cubicBezTo>
                <a:cubicBezTo>
                  <a:pt x="405" y="251"/>
                  <a:pt x="405" y="251"/>
                  <a:pt x="405" y="251"/>
                </a:cubicBezTo>
                <a:cubicBezTo>
                  <a:pt x="405" y="251"/>
                  <a:pt x="405" y="251"/>
                  <a:pt x="405" y="251"/>
                </a:cubicBezTo>
                <a:cubicBezTo>
                  <a:pt x="404" y="251"/>
                  <a:pt x="404" y="251"/>
                  <a:pt x="404" y="251"/>
                </a:cubicBezTo>
                <a:cubicBezTo>
                  <a:pt x="404" y="252"/>
                  <a:pt x="404" y="252"/>
                  <a:pt x="404" y="252"/>
                </a:cubicBezTo>
                <a:cubicBezTo>
                  <a:pt x="404" y="252"/>
                  <a:pt x="404" y="252"/>
                  <a:pt x="404" y="252"/>
                </a:cubicBezTo>
                <a:cubicBezTo>
                  <a:pt x="404" y="252"/>
                  <a:pt x="404" y="252"/>
                  <a:pt x="404" y="252"/>
                </a:cubicBezTo>
                <a:cubicBezTo>
                  <a:pt x="404" y="250"/>
                  <a:pt x="404" y="250"/>
                  <a:pt x="404" y="250"/>
                </a:cubicBezTo>
                <a:cubicBezTo>
                  <a:pt x="403" y="250"/>
                  <a:pt x="403" y="250"/>
                  <a:pt x="403" y="250"/>
                </a:cubicBezTo>
                <a:cubicBezTo>
                  <a:pt x="401" y="250"/>
                  <a:pt x="401" y="250"/>
                  <a:pt x="401" y="250"/>
                </a:cubicBezTo>
                <a:cubicBezTo>
                  <a:pt x="400" y="249"/>
                  <a:pt x="400" y="249"/>
                  <a:pt x="400" y="249"/>
                </a:cubicBezTo>
                <a:cubicBezTo>
                  <a:pt x="400" y="249"/>
                  <a:pt x="400" y="249"/>
                  <a:pt x="400" y="249"/>
                </a:cubicBezTo>
                <a:cubicBezTo>
                  <a:pt x="402" y="248"/>
                  <a:pt x="402" y="248"/>
                  <a:pt x="402" y="248"/>
                </a:cubicBezTo>
                <a:cubicBezTo>
                  <a:pt x="402" y="247"/>
                  <a:pt x="402" y="247"/>
                  <a:pt x="402" y="247"/>
                </a:cubicBezTo>
                <a:cubicBezTo>
                  <a:pt x="401" y="247"/>
                  <a:pt x="401" y="247"/>
                  <a:pt x="401" y="247"/>
                </a:cubicBezTo>
                <a:cubicBezTo>
                  <a:pt x="401" y="246"/>
                  <a:pt x="401" y="246"/>
                  <a:pt x="401" y="246"/>
                </a:cubicBezTo>
                <a:cubicBezTo>
                  <a:pt x="401" y="245"/>
                  <a:pt x="401" y="245"/>
                  <a:pt x="401" y="245"/>
                </a:cubicBezTo>
                <a:cubicBezTo>
                  <a:pt x="400" y="244"/>
                  <a:pt x="400" y="244"/>
                  <a:pt x="400" y="244"/>
                </a:cubicBezTo>
                <a:cubicBezTo>
                  <a:pt x="400" y="244"/>
                  <a:pt x="400" y="244"/>
                  <a:pt x="400" y="244"/>
                </a:cubicBezTo>
                <a:cubicBezTo>
                  <a:pt x="400" y="245"/>
                  <a:pt x="400" y="245"/>
                  <a:pt x="400" y="245"/>
                </a:cubicBezTo>
                <a:cubicBezTo>
                  <a:pt x="400" y="246"/>
                  <a:pt x="400" y="246"/>
                  <a:pt x="400" y="246"/>
                </a:cubicBezTo>
                <a:cubicBezTo>
                  <a:pt x="400" y="246"/>
                  <a:pt x="400" y="246"/>
                  <a:pt x="400" y="246"/>
                </a:cubicBezTo>
                <a:cubicBezTo>
                  <a:pt x="398" y="247"/>
                  <a:pt x="398" y="247"/>
                  <a:pt x="398" y="247"/>
                </a:cubicBezTo>
                <a:cubicBezTo>
                  <a:pt x="398" y="246"/>
                  <a:pt x="398" y="246"/>
                  <a:pt x="398" y="246"/>
                </a:cubicBezTo>
                <a:cubicBezTo>
                  <a:pt x="397" y="245"/>
                  <a:pt x="397" y="245"/>
                  <a:pt x="397" y="245"/>
                </a:cubicBezTo>
                <a:cubicBezTo>
                  <a:pt x="397" y="244"/>
                  <a:pt x="397" y="244"/>
                  <a:pt x="397" y="244"/>
                </a:cubicBezTo>
                <a:cubicBezTo>
                  <a:pt x="398" y="243"/>
                  <a:pt x="398" y="243"/>
                  <a:pt x="398" y="243"/>
                </a:cubicBezTo>
                <a:cubicBezTo>
                  <a:pt x="398" y="242"/>
                  <a:pt x="398" y="242"/>
                  <a:pt x="398" y="242"/>
                </a:cubicBezTo>
                <a:cubicBezTo>
                  <a:pt x="396" y="242"/>
                  <a:pt x="396" y="242"/>
                  <a:pt x="396" y="242"/>
                </a:cubicBezTo>
                <a:cubicBezTo>
                  <a:pt x="396" y="242"/>
                  <a:pt x="396" y="242"/>
                  <a:pt x="396" y="242"/>
                </a:cubicBezTo>
                <a:cubicBezTo>
                  <a:pt x="397" y="242"/>
                  <a:pt x="397" y="242"/>
                  <a:pt x="397" y="242"/>
                </a:cubicBezTo>
                <a:cubicBezTo>
                  <a:pt x="398" y="241"/>
                  <a:pt x="398" y="241"/>
                  <a:pt x="398" y="241"/>
                </a:cubicBezTo>
                <a:cubicBezTo>
                  <a:pt x="397" y="241"/>
                  <a:pt x="397" y="241"/>
                  <a:pt x="397" y="241"/>
                </a:cubicBezTo>
                <a:cubicBezTo>
                  <a:pt x="397" y="240"/>
                  <a:pt x="397" y="240"/>
                  <a:pt x="397" y="240"/>
                </a:cubicBezTo>
                <a:cubicBezTo>
                  <a:pt x="398" y="240"/>
                  <a:pt x="398" y="240"/>
                  <a:pt x="398" y="240"/>
                </a:cubicBezTo>
                <a:cubicBezTo>
                  <a:pt x="398" y="239"/>
                  <a:pt x="398" y="239"/>
                  <a:pt x="398" y="239"/>
                </a:cubicBezTo>
                <a:cubicBezTo>
                  <a:pt x="398" y="239"/>
                  <a:pt x="398" y="239"/>
                  <a:pt x="398" y="239"/>
                </a:cubicBezTo>
                <a:cubicBezTo>
                  <a:pt x="397" y="240"/>
                  <a:pt x="397" y="240"/>
                  <a:pt x="397" y="240"/>
                </a:cubicBezTo>
                <a:cubicBezTo>
                  <a:pt x="396" y="241"/>
                  <a:pt x="396" y="241"/>
                  <a:pt x="396" y="241"/>
                </a:cubicBezTo>
                <a:cubicBezTo>
                  <a:pt x="395" y="241"/>
                  <a:pt x="395" y="241"/>
                  <a:pt x="395" y="241"/>
                </a:cubicBezTo>
                <a:cubicBezTo>
                  <a:pt x="395" y="241"/>
                  <a:pt x="395" y="241"/>
                  <a:pt x="395" y="241"/>
                </a:cubicBezTo>
                <a:cubicBezTo>
                  <a:pt x="394" y="240"/>
                  <a:pt x="394" y="240"/>
                  <a:pt x="394" y="240"/>
                </a:cubicBezTo>
                <a:cubicBezTo>
                  <a:pt x="394" y="240"/>
                  <a:pt x="394" y="240"/>
                  <a:pt x="394" y="240"/>
                </a:cubicBezTo>
                <a:cubicBezTo>
                  <a:pt x="393" y="241"/>
                  <a:pt x="393" y="241"/>
                  <a:pt x="393" y="241"/>
                </a:cubicBezTo>
                <a:cubicBezTo>
                  <a:pt x="392" y="241"/>
                  <a:pt x="392" y="241"/>
                  <a:pt x="392" y="241"/>
                </a:cubicBezTo>
                <a:cubicBezTo>
                  <a:pt x="391" y="242"/>
                  <a:pt x="391" y="242"/>
                  <a:pt x="391" y="242"/>
                </a:cubicBezTo>
                <a:cubicBezTo>
                  <a:pt x="390" y="242"/>
                  <a:pt x="390" y="242"/>
                  <a:pt x="390" y="242"/>
                </a:cubicBezTo>
                <a:cubicBezTo>
                  <a:pt x="390" y="242"/>
                  <a:pt x="390" y="242"/>
                  <a:pt x="390" y="242"/>
                </a:cubicBezTo>
                <a:cubicBezTo>
                  <a:pt x="389" y="242"/>
                  <a:pt x="389" y="242"/>
                  <a:pt x="389" y="242"/>
                </a:cubicBezTo>
                <a:cubicBezTo>
                  <a:pt x="389" y="242"/>
                  <a:pt x="389" y="242"/>
                  <a:pt x="389" y="242"/>
                </a:cubicBezTo>
                <a:cubicBezTo>
                  <a:pt x="389" y="242"/>
                  <a:pt x="389" y="242"/>
                  <a:pt x="389" y="242"/>
                </a:cubicBezTo>
                <a:cubicBezTo>
                  <a:pt x="389" y="241"/>
                  <a:pt x="389" y="241"/>
                  <a:pt x="389" y="241"/>
                </a:cubicBezTo>
                <a:cubicBezTo>
                  <a:pt x="389" y="240"/>
                  <a:pt x="389" y="240"/>
                  <a:pt x="389" y="240"/>
                </a:cubicBezTo>
                <a:cubicBezTo>
                  <a:pt x="389" y="240"/>
                  <a:pt x="389" y="240"/>
                  <a:pt x="389" y="240"/>
                </a:cubicBezTo>
                <a:cubicBezTo>
                  <a:pt x="390" y="239"/>
                  <a:pt x="390" y="239"/>
                  <a:pt x="390" y="239"/>
                </a:cubicBezTo>
                <a:cubicBezTo>
                  <a:pt x="390" y="239"/>
                  <a:pt x="390" y="239"/>
                  <a:pt x="390" y="239"/>
                </a:cubicBezTo>
                <a:cubicBezTo>
                  <a:pt x="391" y="239"/>
                  <a:pt x="391" y="239"/>
                  <a:pt x="391" y="239"/>
                </a:cubicBezTo>
                <a:cubicBezTo>
                  <a:pt x="392" y="239"/>
                  <a:pt x="392" y="239"/>
                  <a:pt x="392" y="239"/>
                </a:cubicBezTo>
                <a:cubicBezTo>
                  <a:pt x="392" y="239"/>
                  <a:pt x="392" y="239"/>
                  <a:pt x="392" y="239"/>
                </a:cubicBezTo>
                <a:cubicBezTo>
                  <a:pt x="393" y="239"/>
                  <a:pt x="393" y="239"/>
                  <a:pt x="393" y="239"/>
                </a:cubicBezTo>
                <a:cubicBezTo>
                  <a:pt x="394" y="238"/>
                  <a:pt x="394" y="238"/>
                  <a:pt x="394" y="238"/>
                </a:cubicBezTo>
                <a:cubicBezTo>
                  <a:pt x="394" y="237"/>
                  <a:pt x="394" y="237"/>
                  <a:pt x="394" y="237"/>
                </a:cubicBezTo>
                <a:cubicBezTo>
                  <a:pt x="394" y="236"/>
                  <a:pt x="394" y="236"/>
                  <a:pt x="394" y="236"/>
                </a:cubicBezTo>
                <a:cubicBezTo>
                  <a:pt x="393" y="235"/>
                  <a:pt x="393" y="235"/>
                  <a:pt x="393" y="235"/>
                </a:cubicBezTo>
                <a:cubicBezTo>
                  <a:pt x="392" y="235"/>
                  <a:pt x="392" y="235"/>
                  <a:pt x="392" y="235"/>
                </a:cubicBezTo>
                <a:cubicBezTo>
                  <a:pt x="391" y="234"/>
                  <a:pt x="391" y="234"/>
                  <a:pt x="391" y="234"/>
                </a:cubicBezTo>
                <a:cubicBezTo>
                  <a:pt x="391" y="233"/>
                  <a:pt x="391" y="233"/>
                  <a:pt x="391" y="233"/>
                </a:cubicBezTo>
                <a:cubicBezTo>
                  <a:pt x="391" y="233"/>
                  <a:pt x="391" y="233"/>
                  <a:pt x="391" y="233"/>
                </a:cubicBezTo>
                <a:cubicBezTo>
                  <a:pt x="391" y="232"/>
                  <a:pt x="391" y="232"/>
                  <a:pt x="391" y="232"/>
                </a:cubicBezTo>
                <a:cubicBezTo>
                  <a:pt x="390" y="232"/>
                  <a:pt x="390" y="232"/>
                  <a:pt x="390" y="232"/>
                </a:cubicBezTo>
                <a:cubicBezTo>
                  <a:pt x="390" y="232"/>
                  <a:pt x="390" y="232"/>
                  <a:pt x="390" y="232"/>
                </a:cubicBezTo>
                <a:cubicBezTo>
                  <a:pt x="389" y="231"/>
                  <a:pt x="389" y="231"/>
                  <a:pt x="389" y="231"/>
                </a:cubicBezTo>
                <a:cubicBezTo>
                  <a:pt x="389" y="230"/>
                  <a:pt x="389" y="230"/>
                  <a:pt x="389" y="230"/>
                </a:cubicBezTo>
                <a:cubicBezTo>
                  <a:pt x="390" y="230"/>
                  <a:pt x="390" y="230"/>
                  <a:pt x="390" y="230"/>
                </a:cubicBezTo>
                <a:cubicBezTo>
                  <a:pt x="390" y="231"/>
                  <a:pt x="390" y="231"/>
                  <a:pt x="390" y="231"/>
                </a:cubicBezTo>
                <a:cubicBezTo>
                  <a:pt x="391" y="230"/>
                  <a:pt x="391" y="230"/>
                  <a:pt x="391" y="230"/>
                </a:cubicBezTo>
                <a:cubicBezTo>
                  <a:pt x="391" y="230"/>
                  <a:pt x="391" y="230"/>
                  <a:pt x="391" y="230"/>
                </a:cubicBezTo>
                <a:cubicBezTo>
                  <a:pt x="392" y="229"/>
                  <a:pt x="392" y="229"/>
                  <a:pt x="392" y="229"/>
                </a:cubicBezTo>
                <a:cubicBezTo>
                  <a:pt x="390" y="229"/>
                  <a:pt x="390" y="229"/>
                  <a:pt x="390" y="229"/>
                </a:cubicBezTo>
                <a:cubicBezTo>
                  <a:pt x="390" y="228"/>
                  <a:pt x="390" y="228"/>
                  <a:pt x="390" y="228"/>
                </a:cubicBezTo>
                <a:cubicBezTo>
                  <a:pt x="389" y="228"/>
                  <a:pt x="389" y="228"/>
                  <a:pt x="389" y="228"/>
                </a:cubicBezTo>
                <a:cubicBezTo>
                  <a:pt x="389" y="228"/>
                  <a:pt x="389" y="228"/>
                  <a:pt x="389" y="228"/>
                </a:cubicBezTo>
                <a:cubicBezTo>
                  <a:pt x="388" y="227"/>
                  <a:pt x="388" y="227"/>
                  <a:pt x="388" y="227"/>
                </a:cubicBezTo>
                <a:cubicBezTo>
                  <a:pt x="387" y="228"/>
                  <a:pt x="387" y="228"/>
                  <a:pt x="387" y="228"/>
                </a:cubicBezTo>
                <a:cubicBezTo>
                  <a:pt x="387" y="228"/>
                  <a:pt x="387" y="228"/>
                  <a:pt x="387" y="228"/>
                </a:cubicBezTo>
                <a:cubicBezTo>
                  <a:pt x="387" y="228"/>
                  <a:pt x="387" y="228"/>
                  <a:pt x="387" y="228"/>
                </a:cubicBezTo>
                <a:cubicBezTo>
                  <a:pt x="388" y="226"/>
                  <a:pt x="388" y="226"/>
                  <a:pt x="388" y="226"/>
                </a:cubicBezTo>
                <a:cubicBezTo>
                  <a:pt x="389" y="224"/>
                  <a:pt x="389" y="224"/>
                  <a:pt x="389" y="224"/>
                </a:cubicBezTo>
                <a:cubicBezTo>
                  <a:pt x="389" y="224"/>
                  <a:pt x="389" y="224"/>
                  <a:pt x="389" y="224"/>
                </a:cubicBezTo>
                <a:cubicBezTo>
                  <a:pt x="389" y="222"/>
                  <a:pt x="389" y="222"/>
                  <a:pt x="389" y="222"/>
                </a:cubicBezTo>
                <a:cubicBezTo>
                  <a:pt x="389" y="221"/>
                  <a:pt x="389" y="221"/>
                  <a:pt x="389" y="221"/>
                </a:cubicBezTo>
                <a:cubicBezTo>
                  <a:pt x="390" y="220"/>
                  <a:pt x="390" y="220"/>
                  <a:pt x="390" y="220"/>
                </a:cubicBezTo>
                <a:cubicBezTo>
                  <a:pt x="389" y="219"/>
                  <a:pt x="389" y="219"/>
                  <a:pt x="389" y="219"/>
                </a:cubicBezTo>
                <a:cubicBezTo>
                  <a:pt x="388" y="220"/>
                  <a:pt x="388" y="220"/>
                  <a:pt x="388" y="220"/>
                </a:cubicBezTo>
                <a:cubicBezTo>
                  <a:pt x="388" y="220"/>
                  <a:pt x="388" y="220"/>
                  <a:pt x="388" y="220"/>
                </a:cubicBezTo>
                <a:cubicBezTo>
                  <a:pt x="387" y="220"/>
                  <a:pt x="387" y="220"/>
                  <a:pt x="387" y="220"/>
                </a:cubicBezTo>
                <a:cubicBezTo>
                  <a:pt x="387" y="221"/>
                  <a:pt x="387" y="221"/>
                  <a:pt x="387" y="221"/>
                </a:cubicBezTo>
                <a:cubicBezTo>
                  <a:pt x="386" y="220"/>
                  <a:pt x="386" y="220"/>
                  <a:pt x="386" y="220"/>
                </a:cubicBezTo>
                <a:cubicBezTo>
                  <a:pt x="385" y="219"/>
                  <a:pt x="385" y="219"/>
                  <a:pt x="385" y="219"/>
                </a:cubicBezTo>
                <a:cubicBezTo>
                  <a:pt x="385" y="218"/>
                  <a:pt x="385" y="218"/>
                  <a:pt x="385" y="218"/>
                </a:cubicBezTo>
                <a:cubicBezTo>
                  <a:pt x="384" y="217"/>
                  <a:pt x="384" y="217"/>
                  <a:pt x="384" y="217"/>
                </a:cubicBezTo>
                <a:cubicBezTo>
                  <a:pt x="384" y="217"/>
                  <a:pt x="384" y="217"/>
                  <a:pt x="384" y="217"/>
                </a:cubicBezTo>
                <a:cubicBezTo>
                  <a:pt x="384" y="215"/>
                  <a:pt x="384" y="215"/>
                  <a:pt x="384" y="215"/>
                </a:cubicBezTo>
                <a:cubicBezTo>
                  <a:pt x="385" y="215"/>
                  <a:pt x="385" y="215"/>
                  <a:pt x="385" y="215"/>
                </a:cubicBezTo>
                <a:cubicBezTo>
                  <a:pt x="385" y="214"/>
                  <a:pt x="385" y="214"/>
                  <a:pt x="385" y="214"/>
                </a:cubicBezTo>
                <a:cubicBezTo>
                  <a:pt x="385" y="214"/>
                  <a:pt x="385" y="214"/>
                  <a:pt x="385" y="214"/>
                </a:cubicBezTo>
                <a:cubicBezTo>
                  <a:pt x="385" y="212"/>
                  <a:pt x="385" y="212"/>
                  <a:pt x="385" y="212"/>
                </a:cubicBezTo>
                <a:cubicBezTo>
                  <a:pt x="384" y="213"/>
                  <a:pt x="384" y="213"/>
                  <a:pt x="384" y="213"/>
                </a:cubicBezTo>
                <a:cubicBezTo>
                  <a:pt x="384" y="213"/>
                  <a:pt x="384" y="213"/>
                  <a:pt x="384" y="213"/>
                </a:cubicBezTo>
                <a:cubicBezTo>
                  <a:pt x="383" y="215"/>
                  <a:pt x="383" y="215"/>
                  <a:pt x="383" y="215"/>
                </a:cubicBezTo>
                <a:cubicBezTo>
                  <a:pt x="383" y="216"/>
                  <a:pt x="383" y="216"/>
                  <a:pt x="383" y="216"/>
                </a:cubicBezTo>
                <a:cubicBezTo>
                  <a:pt x="382" y="215"/>
                  <a:pt x="382" y="215"/>
                  <a:pt x="382" y="215"/>
                </a:cubicBezTo>
                <a:cubicBezTo>
                  <a:pt x="382" y="215"/>
                  <a:pt x="382" y="215"/>
                  <a:pt x="382" y="215"/>
                </a:cubicBezTo>
                <a:cubicBezTo>
                  <a:pt x="382" y="215"/>
                  <a:pt x="382" y="215"/>
                  <a:pt x="382" y="215"/>
                </a:cubicBezTo>
                <a:cubicBezTo>
                  <a:pt x="381" y="216"/>
                  <a:pt x="381" y="216"/>
                  <a:pt x="381" y="216"/>
                </a:cubicBezTo>
                <a:cubicBezTo>
                  <a:pt x="381" y="216"/>
                  <a:pt x="381" y="216"/>
                  <a:pt x="381" y="216"/>
                </a:cubicBezTo>
                <a:cubicBezTo>
                  <a:pt x="381" y="217"/>
                  <a:pt x="381" y="217"/>
                  <a:pt x="381" y="217"/>
                </a:cubicBezTo>
                <a:cubicBezTo>
                  <a:pt x="382" y="218"/>
                  <a:pt x="382" y="218"/>
                  <a:pt x="382" y="218"/>
                </a:cubicBezTo>
                <a:cubicBezTo>
                  <a:pt x="382" y="218"/>
                  <a:pt x="382" y="218"/>
                  <a:pt x="382" y="218"/>
                </a:cubicBezTo>
                <a:cubicBezTo>
                  <a:pt x="383" y="221"/>
                  <a:pt x="383" y="221"/>
                  <a:pt x="383" y="221"/>
                </a:cubicBezTo>
                <a:cubicBezTo>
                  <a:pt x="384" y="221"/>
                  <a:pt x="384" y="221"/>
                  <a:pt x="384" y="221"/>
                </a:cubicBezTo>
                <a:cubicBezTo>
                  <a:pt x="384" y="222"/>
                  <a:pt x="384" y="222"/>
                  <a:pt x="384" y="222"/>
                </a:cubicBezTo>
                <a:cubicBezTo>
                  <a:pt x="384" y="223"/>
                  <a:pt x="384" y="223"/>
                  <a:pt x="384" y="223"/>
                </a:cubicBezTo>
                <a:cubicBezTo>
                  <a:pt x="383" y="225"/>
                  <a:pt x="383" y="225"/>
                  <a:pt x="383" y="225"/>
                </a:cubicBezTo>
                <a:cubicBezTo>
                  <a:pt x="382" y="225"/>
                  <a:pt x="382" y="225"/>
                  <a:pt x="382" y="225"/>
                </a:cubicBezTo>
                <a:cubicBezTo>
                  <a:pt x="379" y="225"/>
                  <a:pt x="379" y="225"/>
                  <a:pt x="379" y="225"/>
                </a:cubicBezTo>
                <a:cubicBezTo>
                  <a:pt x="379" y="225"/>
                  <a:pt x="379" y="225"/>
                  <a:pt x="379" y="225"/>
                </a:cubicBezTo>
                <a:cubicBezTo>
                  <a:pt x="378" y="225"/>
                  <a:pt x="378" y="225"/>
                  <a:pt x="378" y="225"/>
                </a:cubicBezTo>
                <a:cubicBezTo>
                  <a:pt x="376" y="224"/>
                  <a:pt x="376" y="224"/>
                  <a:pt x="376" y="224"/>
                </a:cubicBezTo>
                <a:cubicBezTo>
                  <a:pt x="377" y="224"/>
                  <a:pt x="377" y="224"/>
                  <a:pt x="377" y="224"/>
                </a:cubicBezTo>
                <a:cubicBezTo>
                  <a:pt x="377" y="223"/>
                  <a:pt x="377" y="223"/>
                  <a:pt x="377" y="223"/>
                </a:cubicBezTo>
                <a:cubicBezTo>
                  <a:pt x="375" y="223"/>
                  <a:pt x="375" y="223"/>
                  <a:pt x="375" y="223"/>
                </a:cubicBezTo>
                <a:cubicBezTo>
                  <a:pt x="373" y="222"/>
                  <a:pt x="373" y="222"/>
                  <a:pt x="373" y="222"/>
                </a:cubicBezTo>
                <a:cubicBezTo>
                  <a:pt x="371" y="221"/>
                  <a:pt x="371" y="221"/>
                  <a:pt x="371" y="221"/>
                </a:cubicBezTo>
                <a:cubicBezTo>
                  <a:pt x="372" y="224"/>
                  <a:pt x="372" y="224"/>
                  <a:pt x="372" y="224"/>
                </a:cubicBezTo>
                <a:cubicBezTo>
                  <a:pt x="372" y="225"/>
                  <a:pt x="372" y="225"/>
                  <a:pt x="372" y="225"/>
                </a:cubicBezTo>
                <a:cubicBezTo>
                  <a:pt x="372" y="225"/>
                  <a:pt x="372" y="225"/>
                  <a:pt x="372" y="225"/>
                </a:cubicBezTo>
                <a:cubicBezTo>
                  <a:pt x="371" y="225"/>
                  <a:pt x="371" y="225"/>
                  <a:pt x="371" y="225"/>
                </a:cubicBezTo>
                <a:cubicBezTo>
                  <a:pt x="370" y="224"/>
                  <a:pt x="370" y="224"/>
                  <a:pt x="370" y="224"/>
                </a:cubicBezTo>
                <a:cubicBezTo>
                  <a:pt x="369" y="223"/>
                  <a:pt x="369" y="223"/>
                  <a:pt x="369" y="223"/>
                </a:cubicBezTo>
                <a:cubicBezTo>
                  <a:pt x="369" y="223"/>
                  <a:pt x="369" y="223"/>
                  <a:pt x="369" y="223"/>
                </a:cubicBezTo>
                <a:cubicBezTo>
                  <a:pt x="369" y="222"/>
                  <a:pt x="369" y="222"/>
                  <a:pt x="369" y="222"/>
                </a:cubicBezTo>
                <a:cubicBezTo>
                  <a:pt x="368" y="221"/>
                  <a:pt x="368" y="221"/>
                  <a:pt x="368" y="221"/>
                </a:cubicBezTo>
                <a:cubicBezTo>
                  <a:pt x="367" y="220"/>
                  <a:pt x="367" y="220"/>
                  <a:pt x="367" y="220"/>
                </a:cubicBezTo>
                <a:cubicBezTo>
                  <a:pt x="366" y="219"/>
                  <a:pt x="366" y="219"/>
                  <a:pt x="366" y="219"/>
                </a:cubicBezTo>
                <a:cubicBezTo>
                  <a:pt x="366" y="219"/>
                  <a:pt x="366" y="219"/>
                  <a:pt x="366" y="219"/>
                </a:cubicBezTo>
                <a:cubicBezTo>
                  <a:pt x="365" y="217"/>
                  <a:pt x="365" y="217"/>
                  <a:pt x="365" y="217"/>
                </a:cubicBezTo>
                <a:cubicBezTo>
                  <a:pt x="364" y="217"/>
                  <a:pt x="364" y="217"/>
                  <a:pt x="364" y="217"/>
                </a:cubicBezTo>
                <a:cubicBezTo>
                  <a:pt x="363" y="217"/>
                  <a:pt x="363" y="217"/>
                  <a:pt x="363" y="217"/>
                </a:cubicBezTo>
                <a:cubicBezTo>
                  <a:pt x="362" y="216"/>
                  <a:pt x="362" y="216"/>
                  <a:pt x="362" y="216"/>
                </a:cubicBezTo>
                <a:cubicBezTo>
                  <a:pt x="363" y="217"/>
                  <a:pt x="363" y="217"/>
                  <a:pt x="363" y="217"/>
                </a:cubicBezTo>
                <a:cubicBezTo>
                  <a:pt x="365" y="219"/>
                  <a:pt x="365" y="219"/>
                  <a:pt x="365" y="219"/>
                </a:cubicBezTo>
                <a:cubicBezTo>
                  <a:pt x="366" y="220"/>
                  <a:pt x="366" y="220"/>
                  <a:pt x="366" y="220"/>
                </a:cubicBezTo>
                <a:cubicBezTo>
                  <a:pt x="366" y="221"/>
                  <a:pt x="366" y="221"/>
                  <a:pt x="366" y="221"/>
                </a:cubicBezTo>
                <a:cubicBezTo>
                  <a:pt x="367" y="222"/>
                  <a:pt x="367" y="222"/>
                  <a:pt x="367" y="222"/>
                </a:cubicBezTo>
                <a:cubicBezTo>
                  <a:pt x="368" y="222"/>
                  <a:pt x="368" y="222"/>
                  <a:pt x="368" y="222"/>
                </a:cubicBezTo>
                <a:cubicBezTo>
                  <a:pt x="367" y="223"/>
                  <a:pt x="367" y="223"/>
                  <a:pt x="367" y="223"/>
                </a:cubicBezTo>
                <a:cubicBezTo>
                  <a:pt x="367" y="223"/>
                  <a:pt x="367" y="223"/>
                  <a:pt x="367" y="223"/>
                </a:cubicBezTo>
                <a:cubicBezTo>
                  <a:pt x="366" y="223"/>
                  <a:pt x="366" y="223"/>
                  <a:pt x="366" y="223"/>
                </a:cubicBezTo>
                <a:cubicBezTo>
                  <a:pt x="364" y="222"/>
                  <a:pt x="364" y="222"/>
                  <a:pt x="364" y="222"/>
                </a:cubicBezTo>
                <a:cubicBezTo>
                  <a:pt x="364" y="223"/>
                  <a:pt x="364" y="223"/>
                  <a:pt x="364" y="223"/>
                </a:cubicBezTo>
                <a:cubicBezTo>
                  <a:pt x="363" y="222"/>
                  <a:pt x="363" y="222"/>
                  <a:pt x="363" y="222"/>
                </a:cubicBezTo>
                <a:cubicBezTo>
                  <a:pt x="362" y="221"/>
                  <a:pt x="362" y="221"/>
                  <a:pt x="362" y="221"/>
                </a:cubicBezTo>
                <a:cubicBezTo>
                  <a:pt x="361" y="220"/>
                  <a:pt x="361" y="220"/>
                  <a:pt x="361" y="220"/>
                </a:cubicBezTo>
                <a:cubicBezTo>
                  <a:pt x="359" y="220"/>
                  <a:pt x="359" y="220"/>
                  <a:pt x="359" y="220"/>
                </a:cubicBezTo>
                <a:cubicBezTo>
                  <a:pt x="358" y="221"/>
                  <a:pt x="358" y="221"/>
                  <a:pt x="358" y="221"/>
                </a:cubicBezTo>
                <a:cubicBezTo>
                  <a:pt x="357" y="220"/>
                  <a:pt x="357" y="220"/>
                  <a:pt x="357" y="220"/>
                </a:cubicBezTo>
                <a:cubicBezTo>
                  <a:pt x="356" y="220"/>
                  <a:pt x="356" y="220"/>
                  <a:pt x="356" y="220"/>
                </a:cubicBezTo>
                <a:cubicBezTo>
                  <a:pt x="355" y="220"/>
                  <a:pt x="355" y="220"/>
                  <a:pt x="355" y="220"/>
                </a:cubicBezTo>
                <a:cubicBezTo>
                  <a:pt x="354" y="219"/>
                  <a:pt x="354" y="219"/>
                  <a:pt x="354" y="219"/>
                </a:cubicBezTo>
                <a:cubicBezTo>
                  <a:pt x="353" y="218"/>
                  <a:pt x="353" y="218"/>
                  <a:pt x="353" y="218"/>
                </a:cubicBezTo>
                <a:cubicBezTo>
                  <a:pt x="353" y="217"/>
                  <a:pt x="353" y="217"/>
                  <a:pt x="353" y="217"/>
                </a:cubicBezTo>
                <a:cubicBezTo>
                  <a:pt x="355" y="216"/>
                  <a:pt x="355" y="216"/>
                  <a:pt x="355" y="216"/>
                </a:cubicBezTo>
                <a:cubicBezTo>
                  <a:pt x="355" y="215"/>
                  <a:pt x="355" y="215"/>
                  <a:pt x="355" y="215"/>
                </a:cubicBezTo>
                <a:cubicBezTo>
                  <a:pt x="355" y="215"/>
                  <a:pt x="355" y="215"/>
                  <a:pt x="355" y="215"/>
                </a:cubicBezTo>
                <a:cubicBezTo>
                  <a:pt x="354" y="215"/>
                  <a:pt x="354" y="215"/>
                  <a:pt x="354" y="215"/>
                </a:cubicBezTo>
                <a:cubicBezTo>
                  <a:pt x="353" y="216"/>
                  <a:pt x="353" y="216"/>
                  <a:pt x="353" y="216"/>
                </a:cubicBezTo>
                <a:cubicBezTo>
                  <a:pt x="352" y="217"/>
                  <a:pt x="352" y="217"/>
                  <a:pt x="352" y="217"/>
                </a:cubicBezTo>
                <a:cubicBezTo>
                  <a:pt x="352" y="217"/>
                  <a:pt x="352" y="217"/>
                  <a:pt x="352" y="217"/>
                </a:cubicBezTo>
                <a:cubicBezTo>
                  <a:pt x="351" y="217"/>
                  <a:pt x="351" y="217"/>
                  <a:pt x="351" y="217"/>
                </a:cubicBezTo>
                <a:cubicBezTo>
                  <a:pt x="350" y="216"/>
                  <a:pt x="350" y="216"/>
                  <a:pt x="350" y="216"/>
                </a:cubicBezTo>
                <a:cubicBezTo>
                  <a:pt x="349" y="216"/>
                  <a:pt x="349" y="216"/>
                  <a:pt x="349" y="216"/>
                </a:cubicBezTo>
                <a:cubicBezTo>
                  <a:pt x="350" y="217"/>
                  <a:pt x="350" y="217"/>
                  <a:pt x="350" y="217"/>
                </a:cubicBezTo>
                <a:cubicBezTo>
                  <a:pt x="350" y="218"/>
                  <a:pt x="350" y="218"/>
                  <a:pt x="350" y="218"/>
                </a:cubicBezTo>
                <a:cubicBezTo>
                  <a:pt x="348" y="218"/>
                  <a:pt x="348" y="218"/>
                  <a:pt x="348" y="218"/>
                </a:cubicBezTo>
                <a:cubicBezTo>
                  <a:pt x="346" y="216"/>
                  <a:pt x="346" y="216"/>
                  <a:pt x="346" y="216"/>
                </a:cubicBezTo>
                <a:cubicBezTo>
                  <a:pt x="346" y="215"/>
                  <a:pt x="346" y="215"/>
                  <a:pt x="346" y="215"/>
                </a:cubicBezTo>
                <a:cubicBezTo>
                  <a:pt x="345" y="214"/>
                  <a:pt x="345" y="214"/>
                  <a:pt x="345" y="214"/>
                </a:cubicBezTo>
                <a:cubicBezTo>
                  <a:pt x="345" y="213"/>
                  <a:pt x="345" y="213"/>
                  <a:pt x="345" y="213"/>
                </a:cubicBezTo>
                <a:cubicBezTo>
                  <a:pt x="347" y="212"/>
                  <a:pt x="347" y="212"/>
                  <a:pt x="347" y="212"/>
                </a:cubicBezTo>
                <a:cubicBezTo>
                  <a:pt x="348" y="211"/>
                  <a:pt x="348" y="211"/>
                  <a:pt x="348" y="211"/>
                </a:cubicBezTo>
                <a:cubicBezTo>
                  <a:pt x="348" y="211"/>
                  <a:pt x="348" y="211"/>
                  <a:pt x="348" y="211"/>
                </a:cubicBezTo>
                <a:cubicBezTo>
                  <a:pt x="347" y="211"/>
                  <a:pt x="347" y="211"/>
                  <a:pt x="347" y="211"/>
                </a:cubicBezTo>
                <a:cubicBezTo>
                  <a:pt x="345" y="212"/>
                  <a:pt x="345" y="212"/>
                  <a:pt x="345" y="212"/>
                </a:cubicBezTo>
                <a:cubicBezTo>
                  <a:pt x="345" y="213"/>
                  <a:pt x="345" y="213"/>
                  <a:pt x="345" y="213"/>
                </a:cubicBezTo>
                <a:cubicBezTo>
                  <a:pt x="344" y="213"/>
                  <a:pt x="344" y="213"/>
                  <a:pt x="344" y="213"/>
                </a:cubicBezTo>
                <a:cubicBezTo>
                  <a:pt x="344" y="212"/>
                  <a:pt x="344" y="212"/>
                  <a:pt x="344" y="212"/>
                </a:cubicBezTo>
                <a:cubicBezTo>
                  <a:pt x="344" y="211"/>
                  <a:pt x="344" y="211"/>
                  <a:pt x="344" y="211"/>
                </a:cubicBezTo>
                <a:cubicBezTo>
                  <a:pt x="343" y="211"/>
                  <a:pt x="343" y="211"/>
                  <a:pt x="343" y="211"/>
                </a:cubicBezTo>
                <a:cubicBezTo>
                  <a:pt x="343" y="211"/>
                  <a:pt x="343" y="211"/>
                  <a:pt x="343" y="211"/>
                </a:cubicBezTo>
                <a:cubicBezTo>
                  <a:pt x="343" y="212"/>
                  <a:pt x="343" y="212"/>
                  <a:pt x="343" y="212"/>
                </a:cubicBezTo>
                <a:cubicBezTo>
                  <a:pt x="343" y="212"/>
                  <a:pt x="343" y="212"/>
                  <a:pt x="343" y="212"/>
                </a:cubicBezTo>
                <a:cubicBezTo>
                  <a:pt x="343" y="213"/>
                  <a:pt x="343" y="213"/>
                  <a:pt x="343" y="213"/>
                </a:cubicBezTo>
                <a:cubicBezTo>
                  <a:pt x="342" y="213"/>
                  <a:pt x="342" y="213"/>
                  <a:pt x="342" y="213"/>
                </a:cubicBezTo>
                <a:cubicBezTo>
                  <a:pt x="341" y="212"/>
                  <a:pt x="341" y="212"/>
                  <a:pt x="341" y="212"/>
                </a:cubicBezTo>
                <a:cubicBezTo>
                  <a:pt x="340" y="212"/>
                  <a:pt x="340" y="212"/>
                  <a:pt x="340" y="212"/>
                </a:cubicBezTo>
                <a:cubicBezTo>
                  <a:pt x="339" y="212"/>
                  <a:pt x="339" y="212"/>
                  <a:pt x="339" y="212"/>
                </a:cubicBezTo>
                <a:cubicBezTo>
                  <a:pt x="339" y="213"/>
                  <a:pt x="339" y="213"/>
                  <a:pt x="339" y="213"/>
                </a:cubicBezTo>
                <a:cubicBezTo>
                  <a:pt x="338" y="213"/>
                  <a:pt x="338" y="213"/>
                  <a:pt x="338" y="213"/>
                </a:cubicBezTo>
                <a:cubicBezTo>
                  <a:pt x="337" y="212"/>
                  <a:pt x="337" y="212"/>
                  <a:pt x="337" y="212"/>
                </a:cubicBezTo>
                <a:cubicBezTo>
                  <a:pt x="337" y="211"/>
                  <a:pt x="337" y="211"/>
                  <a:pt x="337" y="211"/>
                </a:cubicBezTo>
                <a:cubicBezTo>
                  <a:pt x="337" y="211"/>
                  <a:pt x="337" y="211"/>
                  <a:pt x="337" y="211"/>
                </a:cubicBezTo>
                <a:cubicBezTo>
                  <a:pt x="338" y="211"/>
                  <a:pt x="338" y="211"/>
                  <a:pt x="338" y="211"/>
                </a:cubicBezTo>
                <a:cubicBezTo>
                  <a:pt x="338" y="211"/>
                  <a:pt x="338" y="211"/>
                  <a:pt x="338" y="211"/>
                </a:cubicBezTo>
                <a:cubicBezTo>
                  <a:pt x="337" y="210"/>
                  <a:pt x="337" y="210"/>
                  <a:pt x="337" y="210"/>
                </a:cubicBezTo>
                <a:cubicBezTo>
                  <a:pt x="335" y="209"/>
                  <a:pt x="335" y="209"/>
                  <a:pt x="335" y="209"/>
                </a:cubicBezTo>
                <a:cubicBezTo>
                  <a:pt x="335" y="208"/>
                  <a:pt x="335" y="208"/>
                  <a:pt x="335" y="208"/>
                </a:cubicBezTo>
                <a:cubicBezTo>
                  <a:pt x="335" y="206"/>
                  <a:pt x="335" y="206"/>
                  <a:pt x="335" y="206"/>
                </a:cubicBezTo>
                <a:cubicBezTo>
                  <a:pt x="335" y="205"/>
                  <a:pt x="335" y="205"/>
                  <a:pt x="335" y="205"/>
                </a:cubicBezTo>
                <a:cubicBezTo>
                  <a:pt x="335" y="203"/>
                  <a:pt x="335" y="203"/>
                  <a:pt x="335" y="203"/>
                </a:cubicBezTo>
                <a:cubicBezTo>
                  <a:pt x="335" y="202"/>
                  <a:pt x="335" y="202"/>
                  <a:pt x="335" y="202"/>
                </a:cubicBezTo>
                <a:cubicBezTo>
                  <a:pt x="336" y="202"/>
                  <a:pt x="336" y="202"/>
                  <a:pt x="336" y="202"/>
                </a:cubicBezTo>
                <a:cubicBezTo>
                  <a:pt x="336" y="201"/>
                  <a:pt x="336" y="201"/>
                  <a:pt x="336" y="201"/>
                </a:cubicBezTo>
                <a:cubicBezTo>
                  <a:pt x="335" y="200"/>
                  <a:pt x="335" y="200"/>
                  <a:pt x="335" y="200"/>
                </a:cubicBezTo>
                <a:cubicBezTo>
                  <a:pt x="336" y="199"/>
                  <a:pt x="336" y="199"/>
                  <a:pt x="336" y="199"/>
                </a:cubicBezTo>
                <a:cubicBezTo>
                  <a:pt x="337" y="200"/>
                  <a:pt x="337" y="200"/>
                  <a:pt x="337" y="200"/>
                </a:cubicBezTo>
                <a:cubicBezTo>
                  <a:pt x="337" y="200"/>
                  <a:pt x="337" y="200"/>
                  <a:pt x="337" y="200"/>
                </a:cubicBezTo>
                <a:cubicBezTo>
                  <a:pt x="339" y="200"/>
                  <a:pt x="339" y="200"/>
                  <a:pt x="339" y="200"/>
                </a:cubicBezTo>
                <a:cubicBezTo>
                  <a:pt x="340" y="201"/>
                  <a:pt x="340" y="201"/>
                  <a:pt x="340" y="201"/>
                </a:cubicBezTo>
                <a:cubicBezTo>
                  <a:pt x="341" y="202"/>
                  <a:pt x="341" y="202"/>
                  <a:pt x="341" y="202"/>
                </a:cubicBezTo>
                <a:cubicBezTo>
                  <a:pt x="343" y="203"/>
                  <a:pt x="343" y="203"/>
                  <a:pt x="343" y="203"/>
                </a:cubicBezTo>
                <a:cubicBezTo>
                  <a:pt x="345" y="203"/>
                  <a:pt x="345" y="203"/>
                  <a:pt x="345" y="203"/>
                </a:cubicBezTo>
                <a:cubicBezTo>
                  <a:pt x="345" y="203"/>
                  <a:pt x="345" y="203"/>
                  <a:pt x="345" y="203"/>
                </a:cubicBezTo>
                <a:cubicBezTo>
                  <a:pt x="347" y="203"/>
                  <a:pt x="347" y="203"/>
                  <a:pt x="347" y="203"/>
                </a:cubicBezTo>
                <a:cubicBezTo>
                  <a:pt x="346" y="202"/>
                  <a:pt x="346" y="202"/>
                  <a:pt x="346" y="202"/>
                </a:cubicBezTo>
                <a:cubicBezTo>
                  <a:pt x="346" y="201"/>
                  <a:pt x="346" y="201"/>
                  <a:pt x="346" y="201"/>
                </a:cubicBezTo>
                <a:cubicBezTo>
                  <a:pt x="345" y="200"/>
                  <a:pt x="345" y="200"/>
                  <a:pt x="345" y="200"/>
                </a:cubicBezTo>
                <a:cubicBezTo>
                  <a:pt x="344" y="199"/>
                  <a:pt x="344" y="199"/>
                  <a:pt x="344" y="199"/>
                </a:cubicBezTo>
                <a:cubicBezTo>
                  <a:pt x="343" y="199"/>
                  <a:pt x="343" y="199"/>
                  <a:pt x="343" y="199"/>
                </a:cubicBezTo>
                <a:cubicBezTo>
                  <a:pt x="341" y="198"/>
                  <a:pt x="341" y="198"/>
                  <a:pt x="341" y="198"/>
                </a:cubicBezTo>
                <a:cubicBezTo>
                  <a:pt x="341" y="198"/>
                  <a:pt x="341" y="198"/>
                  <a:pt x="341" y="198"/>
                </a:cubicBezTo>
                <a:cubicBezTo>
                  <a:pt x="339" y="197"/>
                  <a:pt x="339" y="197"/>
                  <a:pt x="339" y="197"/>
                </a:cubicBezTo>
                <a:cubicBezTo>
                  <a:pt x="338" y="197"/>
                  <a:pt x="338" y="197"/>
                  <a:pt x="338" y="197"/>
                </a:cubicBezTo>
                <a:cubicBezTo>
                  <a:pt x="336" y="196"/>
                  <a:pt x="336" y="196"/>
                  <a:pt x="336" y="196"/>
                </a:cubicBezTo>
                <a:cubicBezTo>
                  <a:pt x="335" y="195"/>
                  <a:pt x="335" y="195"/>
                  <a:pt x="335" y="195"/>
                </a:cubicBezTo>
                <a:cubicBezTo>
                  <a:pt x="335" y="193"/>
                  <a:pt x="335" y="193"/>
                  <a:pt x="335" y="193"/>
                </a:cubicBezTo>
                <a:cubicBezTo>
                  <a:pt x="337" y="192"/>
                  <a:pt x="337" y="192"/>
                  <a:pt x="337" y="192"/>
                </a:cubicBezTo>
                <a:cubicBezTo>
                  <a:pt x="336" y="191"/>
                  <a:pt x="336" y="191"/>
                  <a:pt x="336" y="191"/>
                </a:cubicBezTo>
                <a:cubicBezTo>
                  <a:pt x="337" y="190"/>
                  <a:pt x="337" y="190"/>
                  <a:pt x="337" y="190"/>
                </a:cubicBezTo>
                <a:cubicBezTo>
                  <a:pt x="338" y="190"/>
                  <a:pt x="338" y="190"/>
                  <a:pt x="338" y="190"/>
                </a:cubicBezTo>
                <a:cubicBezTo>
                  <a:pt x="338" y="188"/>
                  <a:pt x="338" y="188"/>
                  <a:pt x="338" y="188"/>
                </a:cubicBezTo>
                <a:cubicBezTo>
                  <a:pt x="338" y="186"/>
                  <a:pt x="338" y="186"/>
                  <a:pt x="338" y="186"/>
                </a:cubicBezTo>
                <a:cubicBezTo>
                  <a:pt x="339" y="185"/>
                  <a:pt x="339" y="185"/>
                  <a:pt x="339" y="185"/>
                </a:cubicBezTo>
                <a:cubicBezTo>
                  <a:pt x="340" y="185"/>
                  <a:pt x="340" y="185"/>
                  <a:pt x="340" y="185"/>
                </a:cubicBezTo>
                <a:cubicBezTo>
                  <a:pt x="340" y="184"/>
                  <a:pt x="340" y="184"/>
                  <a:pt x="340" y="184"/>
                </a:cubicBezTo>
                <a:cubicBezTo>
                  <a:pt x="342" y="183"/>
                  <a:pt x="342" y="183"/>
                  <a:pt x="342" y="183"/>
                </a:cubicBezTo>
                <a:cubicBezTo>
                  <a:pt x="343" y="183"/>
                  <a:pt x="343" y="183"/>
                  <a:pt x="343" y="183"/>
                </a:cubicBezTo>
                <a:cubicBezTo>
                  <a:pt x="343" y="182"/>
                  <a:pt x="343" y="182"/>
                  <a:pt x="343" y="182"/>
                </a:cubicBezTo>
                <a:cubicBezTo>
                  <a:pt x="343" y="182"/>
                  <a:pt x="343" y="182"/>
                  <a:pt x="343" y="182"/>
                </a:cubicBezTo>
                <a:cubicBezTo>
                  <a:pt x="342" y="182"/>
                  <a:pt x="342" y="182"/>
                  <a:pt x="342" y="182"/>
                </a:cubicBezTo>
                <a:cubicBezTo>
                  <a:pt x="342" y="181"/>
                  <a:pt x="342" y="181"/>
                  <a:pt x="342" y="181"/>
                </a:cubicBezTo>
                <a:cubicBezTo>
                  <a:pt x="343" y="179"/>
                  <a:pt x="343" y="179"/>
                  <a:pt x="343" y="179"/>
                </a:cubicBezTo>
                <a:cubicBezTo>
                  <a:pt x="344" y="178"/>
                  <a:pt x="344" y="178"/>
                  <a:pt x="344" y="178"/>
                </a:cubicBezTo>
                <a:cubicBezTo>
                  <a:pt x="345" y="177"/>
                  <a:pt x="345" y="177"/>
                  <a:pt x="345" y="177"/>
                </a:cubicBezTo>
                <a:cubicBezTo>
                  <a:pt x="346" y="176"/>
                  <a:pt x="346" y="176"/>
                  <a:pt x="346" y="176"/>
                </a:cubicBezTo>
                <a:cubicBezTo>
                  <a:pt x="346" y="176"/>
                  <a:pt x="346" y="176"/>
                  <a:pt x="346" y="176"/>
                </a:cubicBezTo>
                <a:cubicBezTo>
                  <a:pt x="347" y="176"/>
                  <a:pt x="347" y="176"/>
                  <a:pt x="347" y="176"/>
                </a:cubicBezTo>
                <a:cubicBezTo>
                  <a:pt x="347" y="174"/>
                  <a:pt x="347" y="174"/>
                  <a:pt x="347" y="174"/>
                </a:cubicBezTo>
                <a:cubicBezTo>
                  <a:pt x="348" y="174"/>
                  <a:pt x="348" y="174"/>
                  <a:pt x="348" y="174"/>
                </a:cubicBezTo>
                <a:cubicBezTo>
                  <a:pt x="348" y="175"/>
                  <a:pt x="348" y="175"/>
                  <a:pt x="348" y="175"/>
                </a:cubicBezTo>
                <a:cubicBezTo>
                  <a:pt x="349" y="174"/>
                  <a:pt x="349" y="174"/>
                  <a:pt x="349" y="174"/>
                </a:cubicBezTo>
                <a:cubicBezTo>
                  <a:pt x="349" y="173"/>
                  <a:pt x="349" y="173"/>
                  <a:pt x="349" y="173"/>
                </a:cubicBezTo>
                <a:cubicBezTo>
                  <a:pt x="350" y="171"/>
                  <a:pt x="350" y="171"/>
                  <a:pt x="350" y="171"/>
                </a:cubicBezTo>
                <a:cubicBezTo>
                  <a:pt x="351" y="171"/>
                  <a:pt x="351" y="171"/>
                  <a:pt x="351" y="171"/>
                </a:cubicBezTo>
                <a:cubicBezTo>
                  <a:pt x="351" y="170"/>
                  <a:pt x="351" y="170"/>
                  <a:pt x="351" y="170"/>
                </a:cubicBezTo>
                <a:cubicBezTo>
                  <a:pt x="352" y="169"/>
                  <a:pt x="352" y="169"/>
                  <a:pt x="352" y="169"/>
                </a:cubicBezTo>
                <a:cubicBezTo>
                  <a:pt x="353" y="169"/>
                  <a:pt x="353" y="169"/>
                  <a:pt x="353" y="169"/>
                </a:cubicBezTo>
                <a:cubicBezTo>
                  <a:pt x="354" y="168"/>
                  <a:pt x="354" y="168"/>
                  <a:pt x="354" y="168"/>
                </a:cubicBezTo>
                <a:cubicBezTo>
                  <a:pt x="355" y="168"/>
                  <a:pt x="355" y="168"/>
                  <a:pt x="355" y="168"/>
                </a:cubicBezTo>
                <a:cubicBezTo>
                  <a:pt x="356" y="168"/>
                  <a:pt x="356" y="168"/>
                  <a:pt x="356" y="168"/>
                </a:cubicBezTo>
                <a:cubicBezTo>
                  <a:pt x="355" y="167"/>
                  <a:pt x="355" y="167"/>
                  <a:pt x="355" y="167"/>
                </a:cubicBezTo>
                <a:cubicBezTo>
                  <a:pt x="356" y="166"/>
                  <a:pt x="356" y="166"/>
                  <a:pt x="356" y="166"/>
                </a:cubicBezTo>
                <a:cubicBezTo>
                  <a:pt x="358" y="165"/>
                  <a:pt x="358" y="165"/>
                  <a:pt x="358" y="165"/>
                </a:cubicBezTo>
                <a:cubicBezTo>
                  <a:pt x="360" y="163"/>
                  <a:pt x="360" y="163"/>
                  <a:pt x="360" y="163"/>
                </a:cubicBezTo>
                <a:cubicBezTo>
                  <a:pt x="363" y="162"/>
                  <a:pt x="363" y="162"/>
                  <a:pt x="363" y="162"/>
                </a:cubicBezTo>
                <a:cubicBezTo>
                  <a:pt x="366" y="162"/>
                  <a:pt x="366" y="162"/>
                  <a:pt x="366" y="162"/>
                </a:cubicBezTo>
                <a:cubicBezTo>
                  <a:pt x="367" y="161"/>
                  <a:pt x="367" y="161"/>
                  <a:pt x="367" y="161"/>
                </a:cubicBezTo>
                <a:cubicBezTo>
                  <a:pt x="368" y="161"/>
                  <a:pt x="368" y="161"/>
                  <a:pt x="368" y="161"/>
                </a:cubicBezTo>
                <a:cubicBezTo>
                  <a:pt x="369" y="161"/>
                  <a:pt x="369" y="161"/>
                  <a:pt x="369" y="161"/>
                </a:cubicBezTo>
                <a:cubicBezTo>
                  <a:pt x="370" y="161"/>
                  <a:pt x="370" y="161"/>
                  <a:pt x="370" y="161"/>
                </a:cubicBezTo>
                <a:cubicBezTo>
                  <a:pt x="372" y="161"/>
                  <a:pt x="372" y="161"/>
                  <a:pt x="372" y="161"/>
                </a:cubicBezTo>
                <a:cubicBezTo>
                  <a:pt x="373" y="162"/>
                  <a:pt x="373" y="162"/>
                  <a:pt x="373" y="162"/>
                </a:cubicBezTo>
                <a:cubicBezTo>
                  <a:pt x="376" y="164"/>
                  <a:pt x="376" y="164"/>
                  <a:pt x="376" y="164"/>
                </a:cubicBezTo>
                <a:cubicBezTo>
                  <a:pt x="376" y="164"/>
                  <a:pt x="376" y="164"/>
                  <a:pt x="376" y="164"/>
                </a:cubicBezTo>
                <a:cubicBezTo>
                  <a:pt x="376" y="165"/>
                  <a:pt x="376" y="165"/>
                  <a:pt x="376" y="165"/>
                </a:cubicBezTo>
                <a:cubicBezTo>
                  <a:pt x="374" y="166"/>
                  <a:pt x="374" y="166"/>
                  <a:pt x="374" y="166"/>
                </a:cubicBezTo>
                <a:cubicBezTo>
                  <a:pt x="372" y="167"/>
                  <a:pt x="372" y="167"/>
                  <a:pt x="372" y="167"/>
                </a:cubicBezTo>
                <a:cubicBezTo>
                  <a:pt x="371" y="167"/>
                  <a:pt x="371" y="167"/>
                  <a:pt x="371" y="167"/>
                </a:cubicBezTo>
                <a:cubicBezTo>
                  <a:pt x="370" y="168"/>
                  <a:pt x="370" y="168"/>
                  <a:pt x="370" y="168"/>
                </a:cubicBezTo>
                <a:cubicBezTo>
                  <a:pt x="369" y="169"/>
                  <a:pt x="369" y="169"/>
                  <a:pt x="369" y="169"/>
                </a:cubicBezTo>
                <a:cubicBezTo>
                  <a:pt x="368" y="169"/>
                  <a:pt x="368" y="169"/>
                  <a:pt x="368" y="169"/>
                </a:cubicBezTo>
                <a:cubicBezTo>
                  <a:pt x="366" y="172"/>
                  <a:pt x="366" y="172"/>
                  <a:pt x="366" y="172"/>
                </a:cubicBezTo>
                <a:cubicBezTo>
                  <a:pt x="363" y="174"/>
                  <a:pt x="363" y="174"/>
                  <a:pt x="363" y="174"/>
                </a:cubicBezTo>
                <a:cubicBezTo>
                  <a:pt x="362" y="176"/>
                  <a:pt x="362" y="176"/>
                  <a:pt x="362" y="176"/>
                </a:cubicBezTo>
                <a:cubicBezTo>
                  <a:pt x="361" y="176"/>
                  <a:pt x="361" y="176"/>
                  <a:pt x="361" y="176"/>
                </a:cubicBezTo>
                <a:cubicBezTo>
                  <a:pt x="360" y="178"/>
                  <a:pt x="360" y="178"/>
                  <a:pt x="360" y="178"/>
                </a:cubicBezTo>
                <a:cubicBezTo>
                  <a:pt x="359" y="180"/>
                  <a:pt x="359" y="180"/>
                  <a:pt x="359" y="180"/>
                </a:cubicBezTo>
                <a:cubicBezTo>
                  <a:pt x="360" y="181"/>
                  <a:pt x="360" y="181"/>
                  <a:pt x="360" y="181"/>
                </a:cubicBezTo>
                <a:cubicBezTo>
                  <a:pt x="361" y="182"/>
                  <a:pt x="361" y="182"/>
                  <a:pt x="361" y="182"/>
                </a:cubicBezTo>
                <a:cubicBezTo>
                  <a:pt x="361" y="183"/>
                  <a:pt x="361" y="183"/>
                  <a:pt x="361" y="183"/>
                </a:cubicBezTo>
                <a:cubicBezTo>
                  <a:pt x="360" y="184"/>
                  <a:pt x="360" y="184"/>
                  <a:pt x="360" y="184"/>
                </a:cubicBezTo>
                <a:cubicBezTo>
                  <a:pt x="359" y="185"/>
                  <a:pt x="359" y="185"/>
                  <a:pt x="359" y="185"/>
                </a:cubicBezTo>
                <a:cubicBezTo>
                  <a:pt x="358" y="186"/>
                  <a:pt x="358" y="186"/>
                  <a:pt x="358" y="186"/>
                </a:cubicBezTo>
                <a:cubicBezTo>
                  <a:pt x="357" y="187"/>
                  <a:pt x="357" y="187"/>
                  <a:pt x="357" y="187"/>
                </a:cubicBezTo>
                <a:cubicBezTo>
                  <a:pt x="357" y="189"/>
                  <a:pt x="357" y="189"/>
                  <a:pt x="357" y="189"/>
                </a:cubicBezTo>
                <a:cubicBezTo>
                  <a:pt x="356" y="189"/>
                  <a:pt x="356" y="189"/>
                  <a:pt x="356" y="189"/>
                </a:cubicBezTo>
                <a:cubicBezTo>
                  <a:pt x="356" y="190"/>
                  <a:pt x="356" y="190"/>
                  <a:pt x="356" y="190"/>
                </a:cubicBezTo>
                <a:cubicBezTo>
                  <a:pt x="357" y="191"/>
                  <a:pt x="357" y="191"/>
                  <a:pt x="357" y="191"/>
                </a:cubicBezTo>
                <a:cubicBezTo>
                  <a:pt x="357" y="193"/>
                  <a:pt x="357" y="193"/>
                  <a:pt x="357" y="193"/>
                </a:cubicBezTo>
                <a:cubicBezTo>
                  <a:pt x="357" y="194"/>
                  <a:pt x="357" y="194"/>
                  <a:pt x="357" y="194"/>
                </a:cubicBezTo>
                <a:cubicBezTo>
                  <a:pt x="357" y="196"/>
                  <a:pt x="357" y="196"/>
                  <a:pt x="357" y="196"/>
                </a:cubicBezTo>
                <a:cubicBezTo>
                  <a:pt x="358" y="197"/>
                  <a:pt x="358" y="197"/>
                  <a:pt x="358" y="197"/>
                </a:cubicBezTo>
                <a:cubicBezTo>
                  <a:pt x="359" y="198"/>
                  <a:pt x="359" y="198"/>
                  <a:pt x="359" y="198"/>
                </a:cubicBezTo>
                <a:cubicBezTo>
                  <a:pt x="360" y="198"/>
                  <a:pt x="360" y="198"/>
                  <a:pt x="360" y="198"/>
                </a:cubicBezTo>
                <a:cubicBezTo>
                  <a:pt x="360" y="200"/>
                  <a:pt x="360" y="200"/>
                  <a:pt x="360" y="200"/>
                </a:cubicBezTo>
                <a:cubicBezTo>
                  <a:pt x="359" y="201"/>
                  <a:pt x="359" y="201"/>
                  <a:pt x="359" y="201"/>
                </a:cubicBezTo>
                <a:cubicBezTo>
                  <a:pt x="359" y="200"/>
                  <a:pt x="359" y="200"/>
                  <a:pt x="359" y="200"/>
                </a:cubicBezTo>
                <a:cubicBezTo>
                  <a:pt x="358" y="200"/>
                  <a:pt x="358" y="200"/>
                  <a:pt x="358" y="200"/>
                </a:cubicBezTo>
                <a:cubicBezTo>
                  <a:pt x="358" y="200"/>
                  <a:pt x="358" y="200"/>
                  <a:pt x="358" y="200"/>
                </a:cubicBezTo>
                <a:cubicBezTo>
                  <a:pt x="357" y="200"/>
                  <a:pt x="357" y="200"/>
                  <a:pt x="357" y="200"/>
                </a:cubicBezTo>
                <a:cubicBezTo>
                  <a:pt x="357" y="201"/>
                  <a:pt x="357" y="201"/>
                  <a:pt x="357" y="201"/>
                </a:cubicBezTo>
                <a:cubicBezTo>
                  <a:pt x="356" y="201"/>
                  <a:pt x="356" y="201"/>
                  <a:pt x="356" y="201"/>
                </a:cubicBezTo>
                <a:cubicBezTo>
                  <a:pt x="356" y="201"/>
                  <a:pt x="356" y="201"/>
                  <a:pt x="356" y="201"/>
                </a:cubicBezTo>
                <a:cubicBezTo>
                  <a:pt x="357" y="202"/>
                  <a:pt x="357" y="202"/>
                  <a:pt x="357" y="202"/>
                </a:cubicBezTo>
                <a:cubicBezTo>
                  <a:pt x="358" y="202"/>
                  <a:pt x="358" y="202"/>
                  <a:pt x="358" y="202"/>
                </a:cubicBezTo>
                <a:cubicBezTo>
                  <a:pt x="358" y="202"/>
                  <a:pt x="358" y="202"/>
                  <a:pt x="358" y="202"/>
                </a:cubicBezTo>
                <a:cubicBezTo>
                  <a:pt x="359" y="202"/>
                  <a:pt x="359" y="202"/>
                  <a:pt x="359" y="202"/>
                </a:cubicBezTo>
                <a:cubicBezTo>
                  <a:pt x="358" y="203"/>
                  <a:pt x="358" y="203"/>
                  <a:pt x="358" y="203"/>
                </a:cubicBezTo>
                <a:cubicBezTo>
                  <a:pt x="357" y="205"/>
                  <a:pt x="357" y="205"/>
                  <a:pt x="357" y="205"/>
                </a:cubicBezTo>
                <a:cubicBezTo>
                  <a:pt x="357" y="206"/>
                  <a:pt x="357" y="206"/>
                  <a:pt x="357" y="206"/>
                </a:cubicBezTo>
                <a:cubicBezTo>
                  <a:pt x="357" y="207"/>
                  <a:pt x="357" y="207"/>
                  <a:pt x="357" y="207"/>
                </a:cubicBezTo>
                <a:cubicBezTo>
                  <a:pt x="359" y="205"/>
                  <a:pt x="359" y="205"/>
                  <a:pt x="359" y="205"/>
                </a:cubicBezTo>
                <a:cubicBezTo>
                  <a:pt x="359" y="205"/>
                  <a:pt x="359" y="205"/>
                  <a:pt x="359" y="205"/>
                </a:cubicBezTo>
                <a:cubicBezTo>
                  <a:pt x="360" y="202"/>
                  <a:pt x="360" y="202"/>
                  <a:pt x="360" y="202"/>
                </a:cubicBezTo>
                <a:cubicBezTo>
                  <a:pt x="360" y="202"/>
                  <a:pt x="360" y="202"/>
                  <a:pt x="360" y="202"/>
                </a:cubicBezTo>
                <a:cubicBezTo>
                  <a:pt x="361" y="199"/>
                  <a:pt x="361" y="199"/>
                  <a:pt x="361" y="199"/>
                </a:cubicBezTo>
                <a:cubicBezTo>
                  <a:pt x="361" y="199"/>
                  <a:pt x="361" y="199"/>
                  <a:pt x="361" y="199"/>
                </a:cubicBezTo>
                <a:cubicBezTo>
                  <a:pt x="362" y="198"/>
                  <a:pt x="362" y="198"/>
                  <a:pt x="362" y="198"/>
                </a:cubicBezTo>
                <a:cubicBezTo>
                  <a:pt x="362" y="197"/>
                  <a:pt x="362" y="197"/>
                  <a:pt x="362" y="197"/>
                </a:cubicBezTo>
                <a:cubicBezTo>
                  <a:pt x="362" y="196"/>
                  <a:pt x="362" y="196"/>
                  <a:pt x="362" y="196"/>
                </a:cubicBezTo>
                <a:cubicBezTo>
                  <a:pt x="362" y="195"/>
                  <a:pt x="362" y="195"/>
                  <a:pt x="362" y="195"/>
                </a:cubicBezTo>
                <a:cubicBezTo>
                  <a:pt x="361" y="195"/>
                  <a:pt x="361" y="195"/>
                  <a:pt x="361" y="195"/>
                </a:cubicBezTo>
                <a:cubicBezTo>
                  <a:pt x="361" y="194"/>
                  <a:pt x="361" y="194"/>
                  <a:pt x="361" y="194"/>
                </a:cubicBezTo>
                <a:cubicBezTo>
                  <a:pt x="361" y="193"/>
                  <a:pt x="361" y="193"/>
                  <a:pt x="361" y="193"/>
                </a:cubicBezTo>
                <a:cubicBezTo>
                  <a:pt x="360" y="193"/>
                  <a:pt x="360" y="193"/>
                  <a:pt x="360" y="193"/>
                </a:cubicBezTo>
                <a:cubicBezTo>
                  <a:pt x="360" y="191"/>
                  <a:pt x="360" y="191"/>
                  <a:pt x="360" y="191"/>
                </a:cubicBezTo>
                <a:cubicBezTo>
                  <a:pt x="360" y="190"/>
                  <a:pt x="360" y="190"/>
                  <a:pt x="360" y="190"/>
                </a:cubicBezTo>
                <a:cubicBezTo>
                  <a:pt x="359" y="188"/>
                  <a:pt x="359" y="188"/>
                  <a:pt x="359" y="188"/>
                </a:cubicBezTo>
                <a:cubicBezTo>
                  <a:pt x="360" y="188"/>
                  <a:pt x="360" y="188"/>
                  <a:pt x="360" y="188"/>
                </a:cubicBezTo>
                <a:cubicBezTo>
                  <a:pt x="360" y="189"/>
                  <a:pt x="360" y="189"/>
                  <a:pt x="360" y="189"/>
                </a:cubicBezTo>
                <a:cubicBezTo>
                  <a:pt x="361" y="189"/>
                  <a:pt x="361" y="189"/>
                  <a:pt x="361" y="189"/>
                </a:cubicBezTo>
                <a:cubicBezTo>
                  <a:pt x="362" y="188"/>
                  <a:pt x="362" y="188"/>
                  <a:pt x="362" y="188"/>
                </a:cubicBezTo>
                <a:cubicBezTo>
                  <a:pt x="363" y="187"/>
                  <a:pt x="363" y="187"/>
                  <a:pt x="363" y="187"/>
                </a:cubicBezTo>
                <a:cubicBezTo>
                  <a:pt x="363" y="186"/>
                  <a:pt x="363" y="186"/>
                  <a:pt x="363" y="186"/>
                </a:cubicBezTo>
                <a:cubicBezTo>
                  <a:pt x="363" y="185"/>
                  <a:pt x="363" y="185"/>
                  <a:pt x="363" y="185"/>
                </a:cubicBezTo>
                <a:cubicBezTo>
                  <a:pt x="364" y="186"/>
                  <a:pt x="364" y="186"/>
                  <a:pt x="364" y="186"/>
                </a:cubicBezTo>
                <a:cubicBezTo>
                  <a:pt x="365" y="187"/>
                  <a:pt x="365" y="187"/>
                  <a:pt x="365" y="187"/>
                </a:cubicBezTo>
                <a:cubicBezTo>
                  <a:pt x="365" y="188"/>
                  <a:pt x="365" y="188"/>
                  <a:pt x="365" y="188"/>
                </a:cubicBezTo>
                <a:cubicBezTo>
                  <a:pt x="365" y="189"/>
                  <a:pt x="365" y="189"/>
                  <a:pt x="365" y="189"/>
                </a:cubicBezTo>
                <a:cubicBezTo>
                  <a:pt x="366" y="188"/>
                  <a:pt x="366" y="188"/>
                  <a:pt x="366" y="188"/>
                </a:cubicBezTo>
                <a:cubicBezTo>
                  <a:pt x="366" y="186"/>
                  <a:pt x="366" y="186"/>
                  <a:pt x="366" y="186"/>
                </a:cubicBezTo>
                <a:cubicBezTo>
                  <a:pt x="367" y="185"/>
                  <a:pt x="367" y="185"/>
                  <a:pt x="367" y="185"/>
                </a:cubicBezTo>
                <a:cubicBezTo>
                  <a:pt x="368" y="185"/>
                  <a:pt x="368" y="185"/>
                  <a:pt x="368" y="185"/>
                </a:cubicBezTo>
                <a:cubicBezTo>
                  <a:pt x="368" y="185"/>
                  <a:pt x="368" y="185"/>
                  <a:pt x="368" y="185"/>
                </a:cubicBezTo>
                <a:cubicBezTo>
                  <a:pt x="368" y="184"/>
                  <a:pt x="368" y="184"/>
                  <a:pt x="368" y="184"/>
                </a:cubicBezTo>
                <a:cubicBezTo>
                  <a:pt x="369" y="184"/>
                  <a:pt x="369" y="184"/>
                  <a:pt x="369" y="184"/>
                </a:cubicBezTo>
                <a:cubicBezTo>
                  <a:pt x="369" y="183"/>
                  <a:pt x="369" y="183"/>
                  <a:pt x="369" y="183"/>
                </a:cubicBezTo>
                <a:cubicBezTo>
                  <a:pt x="368" y="183"/>
                  <a:pt x="368" y="183"/>
                  <a:pt x="368" y="183"/>
                </a:cubicBezTo>
                <a:cubicBezTo>
                  <a:pt x="366" y="185"/>
                  <a:pt x="366" y="185"/>
                  <a:pt x="366" y="185"/>
                </a:cubicBezTo>
                <a:cubicBezTo>
                  <a:pt x="365" y="185"/>
                  <a:pt x="365" y="185"/>
                  <a:pt x="365" y="185"/>
                </a:cubicBezTo>
                <a:cubicBezTo>
                  <a:pt x="365" y="183"/>
                  <a:pt x="365" y="183"/>
                  <a:pt x="365" y="183"/>
                </a:cubicBezTo>
                <a:cubicBezTo>
                  <a:pt x="364" y="183"/>
                  <a:pt x="364" y="183"/>
                  <a:pt x="364" y="183"/>
                </a:cubicBezTo>
                <a:cubicBezTo>
                  <a:pt x="364" y="182"/>
                  <a:pt x="364" y="182"/>
                  <a:pt x="364" y="182"/>
                </a:cubicBezTo>
                <a:cubicBezTo>
                  <a:pt x="366" y="181"/>
                  <a:pt x="366" y="181"/>
                  <a:pt x="366" y="181"/>
                </a:cubicBezTo>
                <a:cubicBezTo>
                  <a:pt x="365" y="180"/>
                  <a:pt x="365" y="180"/>
                  <a:pt x="365" y="180"/>
                </a:cubicBezTo>
                <a:cubicBezTo>
                  <a:pt x="365" y="179"/>
                  <a:pt x="365" y="179"/>
                  <a:pt x="365" y="179"/>
                </a:cubicBezTo>
                <a:cubicBezTo>
                  <a:pt x="366" y="177"/>
                  <a:pt x="366" y="177"/>
                  <a:pt x="366" y="177"/>
                </a:cubicBezTo>
                <a:cubicBezTo>
                  <a:pt x="366" y="176"/>
                  <a:pt x="366" y="176"/>
                  <a:pt x="366" y="176"/>
                </a:cubicBezTo>
                <a:cubicBezTo>
                  <a:pt x="367" y="175"/>
                  <a:pt x="367" y="175"/>
                  <a:pt x="367" y="175"/>
                </a:cubicBezTo>
                <a:cubicBezTo>
                  <a:pt x="369" y="175"/>
                  <a:pt x="369" y="175"/>
                  <a:pt x="369" y="175"/>
                </a:cubicBezTo>
                <a:cubicBezTo>
                  <a:pt x="370" y="176"/>
                  <a:pt x="370" y="176"/>
                  <a:pt x="370" y="176"/>
                </a:cubicBezTo>
                <a:cubicBezTo>
                  <a:pt x="370" y="177"/>
                  <a:pt x="370" y="177"/>
                  <a:pt x="370" y="177"/>
                </a:cubicBezTo>
                <a:cubicBezTo>
                  <a:pt x="372" y="178"/>
                  <a:pt x="372" y="178"/>
                  <a:pt x="372" y="178"/>
                </a:cubicBezTo>
                <a:cubicBezTo>
                  <a:pt x="372" y="179"/>
                  <a:pt x="372" y="179"/>
                  <a:pt x="372" y="179"/>
                </a:cubicBezTo>
                <a:cubicBezTo>
                  <a:pt x="373" y="179"/>
                  <a:pt x="373" y="179"/>
                  <a:pt x="373" y="179"/>
                </a:cubicBezTo>
                <a:cubicBezTo>
                  <a:pt x="373" y="179"/>
                  <a:pt x="373" y="179"/>
                  <a:pt x="373" y="179"/>
                </a:cubicBezTo>
                <a:cubicBezTo>
                  <a:pt x="372" y="178"/>
                  <a:pt x="372" y="178"/>
                  <a:pt x="372" y="178"/>
                </a:cubicBezTo>
                <a:cubicBezTo>
                  <a:pt x="371" y="177"/>
                  <a:pt x="371" y="177"/>
                  <a:pt x="371" y="177"/>
                </a:cubicBezTo>
                <a:cubicBezTo>
                  <a:pt x="370" y="175"/>
                  <a:pt x="370" y="175"/>
                  <a:pt x="370" y="175"/>
                </a:cubicBezTo>
                <a:cubicBezTo>
                  <a:pt x="370" y="175"/>
                  <a:pt x="370" y="175"/>
                  <a:pt x="370" y="175"/>
                </a:cubicBezTo>
                <a:cubicBezTo>
                  <a:pt x="369" y="175"/>
                  <a:pt x="369" y="175"/>
                  <a:pt x="369" y="175"/>
                </a:cubicBezTo>
                <a:cubicBezTo>
                  <a:pt x="368" y="174"/>
                  <a:pt x="368" y="174"/>
                  <a:pt x="368" y="174"/>
                </a:cubicBezTo>
                <a:cubicBezTo>
                  <a:pt x="368" y="174"/>
                  <a:pt x="368" y="174"/>
                  <a:pt x="368" y="174"/>
                </a:cubicBezTo>
                <a:cubicBezTo>
                  <a:pt x="371" y="174"/>
                  <a:pt x="371" y="174"/>
                  <a:pt x="371" y="174"/>
                </a:cubicBezTo>
                <a:cubicBezTo>
                  <a:pt x="371" y="173"/>
                  <a:pt x="371" y="173"/>
                  <a:pt x="371" y="173"/>
                </a:cubicBezTo>
                <a:cubicBezTo>
                  <a:pt x="371" y="173"/>
                  <a:pt x="371" y="173"/>
                  <a:pt x="371" y="173"/>
                </a:cubicBezTo>
                <a:cubicBezTo>
                  <a:pt x="373" y="175"/>
                  <a:pt x="373" y="175"/>
                  <a:pt x="373" y="175"/>
                </a:cubicBezTo>
                <a:cubicBezTo>
                  <a:pt x="375" y="176"/>
                  <a:pt x="375" y="176"/>
                  <a:pt x="375" y="176"/>
                </a:cubicBezTo>
                <a:cubicBezTo>
                  <a:pt x="376" y="176"/>
                  <a:pt x="376" y="176"/>
                  <a:pt x="376" y="176"/>
                </a:cubicBezTo>
                <a:cubicBezTo>
                  <a:pt x="374" y="175"/>
                  <a:pt x="374" y="175"/>
                  <a:pt x="374" y="175"/>
                </a:cubicBezTo>
                <a:cubicBezTo>
                  <a:pt x="373" y="173"/>
                  <a:pt x="373" y="173"/>
                  <a:pt x="373" y="173"/>
                </a:cubicBezTo>
                <a:cubicBezTo>
                  <a:pt x="372" y="172"/>
                  <a:pt x="372" y="172"/>
                  <a:pt x="372" y="172"/>
                </a:cubicBezTo>
                <a:cubicBezTo>
                  <a:pt x="372" y="172"/>
                  <a:pt x="372" y="172"/>
                  <a:pt x="372" y="172"/>
                </a:cubicBezTo>
                <a:cubicBezTo>
                  <a:pt x="372" y="170"/>
                  <a:pt x="372" y="170"/>
                  <a:pt x="372" y="170"/>
                </a:cubicBezTo>
                <a:cubicBezTo>
                  <a:pt x="374" y="170"/>
                  <a:pt x="374" y="170"/>
                  <a:pt x="374" y="170"/>
                </a:cubicBezTo>
                <a:cubicBezTo>
                  <a:pt x="375" y="170"/>
                  <a:pt x="375" y="170"/>
                  <a:pt x="375" y="170"/>
                </a:cubicBezTo>
                <a:cubicBezTo>
                  <a:pt x="374" y="171"/>
                  <a:pt x="374" y="171"/>
                  <a:pt x="374" y="171"/>
                </a:cubicBezTo>
                <a:cubicBezTo>
                  <a:pt x="375" y="172"/>
                  <a:pt x="375" y="172"/>
                  <a:pt x="375" y="172"/>
                </a:cubicBezTo>
                <a:cubicBezTo>
                  <a:pt x="375" y="172"/>
                  <a:pt x="375" y="172"/>
                  <a:pt x="375" y="172"/>
                </a:cubicBezTo>
                <a:cubicBezTo>
                  <a:pt x="375" y="171"/>
                  <a:pt x="375" y="171"/>
                  <a:pt x="375" y="171"/>
                </a:cubicBezTo>
                <a:cubicBezTo>
                  <a:pt x="376" y="170"/>
                  <a:pt x="376" y="170"/>
                  <a:pt x="376" y="170"/>
                </a:cubicBezTo>
                <a:cubicBezTo>
                  <a:pt x="377" y="170"/>
                  <a:pt x="377" y="170"/>
                  <a:pt x="377" y="170"/>
                </a:cubicBezTo>
                <a:cubicBezTo>
                  <a:pt x="378" y="171"/>
                  <a:pt x="378" y="171"/>
                  <a:pt x="378" y="171"/>
                </a:cubicBezTo>
                <a:cubicBezTo>
                  <a:pt x="378" y="172"/>
                  <a:pt x="378" y="172"/>
                  <a:pt x="378" y="172"/>
                </a:cubicBezTo>
                <a:cubicBezTo>
                  <a:pt x="379" y="173"/>
                  <a:pt x="379" y="173"/>
                  <a:pt x="379" y="173"/>
                </a:cubicBezTo>
                <a:cubicBezTo>
                  <a:pt x="379" y="173"/>
                  <a:pt x="379" y="173"/>
                  <a:pt x="379" y="173"/>
                </a:cubicBezTo>
                <a:cubicBezTo>
                  <a:pt x="379" y="172"/>
                  <a:pt x="379" y="172"/>
                  <a:pt x="379" y="172"/>
                </a:cubicBezTo>
                <a:cubicBezTo>
                  <a:pt x="378" y="170"/>
                  <a:pt x="378" y="170"/>
                  <a:pt x="378" y="170"/>
                </a:cubicBezTo>
                <a:cubicBezTo>
                  <a:pt x="379" y="170"/>
                  <a:pt x="379" y="170"/>
                  <a:pt x="379" y="170"/>
                </a:cubicBezTo>
                <a:cubicBezTo>
                  <a:pt x="382" y="169"/>
                  <a:pt x="382" y="169"/>
                  <a:pt x="382" y="169"/>
                </a:cubicBezTo>
                <a:cubicBezTo>
                  <a:pt x="384" y="168"/>
                  <a:pt x="384" y="168"/>
                  <a:pt x="384" y="168"/>
                </a:cubicBezTo>
                <a:cubicBezTo>
                  <a:pt x="385" y="168"/>
                  <a:pt x="385" y="168"/>
                  <a:pt x="385" y="168"/>
                </a:cubicBezTo>
                <a:cubicBezTo>
                  <a:pt x="386" y="167"/>
                  <a:pt x="386" y="167"/>
                  <a:pt x="386" y="167"/>
                </a:cubicBezTo>
                <a:cubicBezTo>
                  <a:pt x="388" y="168"/>
                  <a:pt x="388" y="168"/>
                  <a:pt x="388" y="168"/>
                </a:cubicBezTo>
                <a:cubicBezTo>
                  <a:pt x="390" y="168"/>
                  <a:pt x="390" y="168"/>
                  <a:pt x="390" y="168"/>
                </a:cubicBezTo>
                <a:cubicBezTo>
                  <a:pt x="392" y="168"/>
                  <a:pt x="392" y="168"/>
                  <a:pt x="392" y="168"/>
                </a:cubicBezTo>
                <a:cubicBezTo>
                  <a:pt x="392" y="169"/>
                  <a:pt x="392" y="169"/>
                  <a:pt x="392" y="169"/>
                </a:cubicBezTo>
                <a:cubicBezTo>
                  <a:pt x="392" y="169"/>
                  <a:pt x="392" y="169"/>
                  <a:pt x="392" y="169"/>
                </a:cubicBezTo>
                <a:cubicBezTo>
                  <a:pt x="392" y="172"/>
                  <a:pt x="392" y="172"/>
                  <a:pt x="392" y="172"/>
                </a:cubicBezTo>
                <a:cubicBezTo>
                  <a:pt x="391" y="173"/>
                  <a:pt x="391" y="173"/>
                  <a:pt x="391" y="173"/>
                </a:cubicBezTo>
                <a:cubicBezTo>
                  <a:pt x="391" y="174"/>
                  <a:pt x="391" y="174"/>
                  <a:pt x="391" y="174"/>
                </a:cubicBezTo>
                <a:cubicBezTo>
                  <a:pt x="390" y="175"/>
                  <a:pt x="390" y="175"/>
                  <a:pt x="390" y="175"/>
                </a:cubicBezTo>
                <a:cubicBezTo>
                  <a:pt x="390" y="176"/>
                  <a:pt x="390" y="176"/>
                  <a:pt x="390" y="176"/>
                </a:cubicBezTo>
                <a:cubicBezTo>
                  <a:pt x="391" y="177"/>
                  <a:pt x="391" y="177"/>
                  <a:pt x="391" y="177"/>
                </a:cubicBezTo>
                <a:cubicBezTo>
                  <a:pt x="392" y="178"/>
                  <a:pt x="392" y="178"/>
                  <a:pt x="392" y="178"/>
                </a:cubicBezTo>
                <a:cubicBezTo>
                  <a:pt x="391" y="178"/>
                  <a:pt x="391" y="178"/>
                  <a:pt x="391" y="178"/>
                </a:cubicBezTo>
                <a:cubicBezTo>
                  <a:pt x="390" y="180"/>
                  <a:pt x="390" y="180"/>
                  <a:pt x="390" y="180"/>
                </a:cubicBezTo>
                <a:cubicBezTo>
                  <a:pt x="389" y="181"/>
                  <a:pt x="389" y="181"/>
                  <a:pt x="389" y="181"/>
                </a:cubicBezTo>
                <a:cubicBezTo>
                  <a:pt x="389" y="182"/>
                  <a:pt x="389" y="182"/>
                  <a:pt x="389" y="182"/>
                </a:cubicBezTo>
                <a:cubicBezTo>
                  <a:pt x="390" y="183"/>
                  <a:pt x="390" y="183"/>
                  <a:pt x="390" y="183"/>
                </a:cubicBezTo>
                <a:cubicBezTo>
                  <a:pt x="390" y="184"/>
                  <a:pt x="390" y="184"/>
                  <a:pt x="390" y="184"/>
                </a:cubicBezTo>
                <a:cubicBezTo>
                  <a:pt x="389" y="185"/>
                  <a:pt x="389" y="185"/>
                  <a:pt x="389" y="185"/>
                </a:cubicBezTo>
                <a:cubicBezTo>
                  <a:pt x="388" y="185"/>
                  <a:pt x="388" y="185"/>
                  <a:pt x="388" y="185"/>
                </a:cubicBezTo>
                <a:cubicBezTo>
                  <a:pt x="388" y="186"/>
                  <a:pt x="388" y="186"/>
                  <a:pt x="388" y="186"/>
                </a:cubicBezTo>
                <a:cubicBezTo>
                  <a:pt x="387" y="186"/>
                  <a:pt x="387" y="186"/>
                  <a:pt x="387" y="186"/>
                </a:cubicBezTo>
                <a:cubicBezTo>
                  <a:pt x="386" y="187"/>
                  <a:pt x="386" y="187"/>
                  <a:pt x="386" y="187"/>
                </a:cubicBezTo>
                <a:cubicBezTo>
                  <a:pt x="385" y="188"/>
                  <a:pt x="385" y="188"/>
                  <a:pt x="385" y="188"/>
                </a:cubicBezTo>
                <a:cubicBezTo>
                  <a:pt x="384" y="189"/>
                  <a:pt x="384" y="189"/>
                  <a:pt x="384" y="189"/>
                </a:cubicBezTo>
                <a:cubicBezTo>
                  <a:pt x="385" y="189"/>
                  <a:pt x="385" y="189"/>
                  <a:pt x="385" y="189"/>
                </a:cubicBezTo>
                <a:cubicBezTo>
                  <a:pt x="386" y="188"/>
                  <a:pt x="386" y="188"/>
                  <a:pt x="386" y="188"/>
                </a:cubicBezTo>
                <a:cubicBezTo>
                  <a:pt x="388" y="187"/>
                  <a:pt x="388" y="187"/>
                  <a:pt x="388" y="187"/>
                </a:cubicBezTo>
                <a:cubicBezTo>
                  <a:pt x="388" y="187"/>
                  <a:pt x="388" y="187"/>
                  <a:pt x="388" y="187"/>
                </a:cubicBezTo>
                <a:cubicBezTo>
                  <a:pt x="389" y="186"/>
                  <a:pt x="389" y="186"/>
                  <a:pt x="389" y="186"/>
                </a:cubicBezTo>
                <a:cubicBezTo>
                  <a:pt x="388" y="187"/>
                  <a:pt x="388" y="187"/>
                  <a:pt x="388" y="187"/>
                </a:cubicBezTo>
                <a:cubicBezTo>
                  <a:pt x="388" y="188"/>
                  <a:pt x="388" y="188"/>
                  <a:pt x="388" y="188"/>
                </a:cubicBezTo>
                <a:cubicBezTo>
                  <a:pt x="386" y="190"/>
                  <a:pt x="386" y="190"/>
                  <a:pt x="386" y="190"/>
                </a:cubicBezTo>
                <a:cubicBezTo>
                  <a:pt x="385" y="190"/>
                  <a:pt x="385" y="190"/>
                  <a:pt x="385" y="190"/>
                </a:cubicBezTo>
                <a:cubicBezTo>
                  <a:pt x="385" y="191"/>
                  <a:pt x="385" y="191"/>
                  <a:pt x="385" y="191"/>
                </a:cubicBezTo>
                <a:cubicBezTo>
                  <a:pt x="385" y="192"/>
                  <a:pt x="385" y="192"/>
                  <a:pt x="385" y="192"/>
                </a:cubicBezTo>
                <a:cubicBezTo>
                  <a:pt x="385" y="192"/>
                  <a:pt x="385" y="192"/>
                  <a:pt x="385" y="192"/>
                </a:cubicBezTo>
                <a:cubicBezTo>
                  <a:pt x="384" y="192"/>
                  <a:pt x="384" y="192"/>
                  <a:pt x="384" y="192"/>
                </a:cubicBezTo>
                <a:cubicBezTo>
                  <a:pt x="383" y="192"/>
                  <a:pt x="383" y="192"/>
                  <a:pt x="383" y="192"/>
                </a:cubicBezTo>
                <a:cubicBezTo>
                  <a:pt x="383" y="193"/>
                  <a:pt x="383" y="193"/>
                  <a:pt x="383" y="193"/>
                </a:cubicBezTo>
                <a:cubicBezTo>
                  <a:pt x="384" y="193"/>
                  <a:pt x="384" y="193"/>
                  <a:pt x="384" y="193"/>
                </a:cubicBezTo>
                <a:cubicBezTo>
                  <a:pt x="384" y="193"/>
                  <a:pt x="384" y="193"/>
                  <a:pt x="384" y="193"/>
                </a:cubicBezTo>
                <a:cubicBezTo>
                  <a:pt x="384" y="194"/>
                  <a:pt x="384" y="194"/>
                  <a:pt x="384" y="194"/>
                </a:cubicBezTo>
                <a:cubicBezTo>
                  <a:pt x="383" y="195"/>
                  <a:pt x="383" y="195"/>
                  <a:pt x="383" y="195"/>
                </a:cubicBezTo>
                <a:cubicBezTo>
                  <a:pt x="384" y="195"/>
                  <a:pt x="384" y="195"/>
                  <a:pt x="384" y="195"/>
                </a:cubicBezTo>
                <a:cubicBezTo>
                  <a:pt x="385" y="194"/>
                  <a:pt x="385" y="194"/>
                  <a:pt x="385" y="194"/>
                </a:cubicBezTo>
                <a:cubicBezTo>
                  <a:pt x="386" y="194"/>
                  <a:pt x="386" y="194"/>
                  <a:pt x="386" y="194"/>
                </a:cubicBezTo>
                <a:cubicBezTo>
                  <a:pt x="387" y="193"/>
                  <a:pt x="387" y="193"/>
                  <a:pt x="387" y="193"/>
                </a:cubicBezTo>
                <a:cubicBezTo>
                  <a:pt x="387" y="192"/>
                  <a:pt x="387" y="192"/>
                  <a:pt x="387" y="192"/>
                </a:cubicBezTo>
                <a:cubicBezTo>
                  <a:pt x="388" y="191"/>
                  <a:pt x="388" y="191"/>
                  <a:pt x="388" y="191"/>
                </a:cubicBezTo>
                <a:cubicBezTo>
                  <a:pt x="388" y="190"/>
                  <a:pt x="388" y="190"/>
                  <a:pt x="388" y="190"/>
                </a:cubicBezTo>
                <a:cubicBezTo>
                  <a:pt x="389" y="191"/>
                  <a:pt x="389" y="191"/>
                  <a:pt x="389" y="191"/>
                </a:cubicBezTo>
                <a:cubicBezTo>
                  <a:pt x="389" y="192"/>
                  <a:pt x="389" y="192"/>
                  <a:pt x="389" y="192"/>
                </a:cubicBezTo>
                <a:cubicBezTo>
                  <a:pt x="389" y="193"/>
                  <a:pt x="389" y="193"/>
                  <a:pt x="389" y="193"/>
                </a:cubicBezTo>
                <a:cubicBezTo>
                  <a:pt x="389" y="191"/>
                  <a:pt x="389" y="191"/>
                  <a:pt x="389" y="191"/>
                </a:cubicBezTo>
                <a:cubicBezTo>
                  <a:pt x="389" y="190"/>
                  <a:pt x="389" y="190"/>
                  <a:pt x="389" y="190"/>
                </a:cubicBezTo>
                <a:cubicBezTo>
                  <a:pt x="389" y="189"/>
                  <a:pt x="389" y="189"/>
                  <a:pt x="389" y="189"/>
                </a:cubicBezTo>
                <a:cubicBezTo>
                  <a:pt x="390" y="189"/>
                  <a:pt x="390" y="189"/>
                  <a:pt x="390" y="189"/>
                </a:cubicBezTo>
                <a:cubicBezTo>
                  <a:pt x="391" y="189"/>
                  <a:pt x="391" y="189"/>
                  <a:pt x="391" y="189"/>
                </a:cubicBezTo>
                <a:cubicBezTo>
                  <a:pt x="391" y="190"/>
                  <a:pt x="391" y="190"/>
                  <a:pt x="391" y="190"/>
                </a:cubicBezTo>
                <a:cubicBezTo>
                  <a:pt x="391" y="191"/>
                  <a:pt x="391" y="191"/>
                  <a:pt x="391" y="191"/>
                </a:cubicBezTo>
                <a:cubicBezTo>
                  <a:pt x="392" y="190"/>
                  <a:pt x="392" y="190"/>
                  <a:pt x="392" y="190"/>
                </a:cubicBezTo>
                <a:cubicBezTo>
                  <a:pt x="393" y="189"/>
                  <a:pt x="393" y="189"/>
                  <a:pt x="393" y="189"/>
                </a:cubicBezTo>
                <a:cubicBezTo>
                  <a:pt x="393" y="190"/>
                  <a:pt x="393" y="190"/>
                  <a:pt x="393" y="190"/>
                </a:cubicBezTo>
                <a:cubicBezTo>
                  <a:pt x="394" y="191"/>
                  <a:pt x="394" y="191"/>
                  <a:pt x="394" y="191"/>
                </a:cubicBezTo>
                <a:cubicBezTo>
                  <a:pt x="394" y="192"/>
                  <a:pt x="394" y="192"/>
                  <a:pt x="394" y="192"/>
                </a:cubicBezTo>
                <a:cubicBezTo>
                  <a:pt x="392" y="194"/>
                  <a:pt x="392" y="194"/>
                  <a:pt x="392" y="194"/>
                </a:cubicBezTo>
                <a:cubicBezTo>
                  <a:pt x="391" y="195"/>
                  <a:pt x="391" y="195"/>
                  <a:pt x="391" y="195"/>
                </a:cubicBezTo>
                <a:cubicBezTo>
                  <a:pt x="391" y="196"/>
                  <a:pt x="391" y="196"/>
                  <a:pt x="391" y="196"/>
                </a:cubicBezTo>
                <a:cubicBezTo>
                  <a:pt x="392" y="196"/>
                  <a:pt x="392" y="196"/>
                  <a:pt x="392" y="196"/>
                </a:cubicBezTo>
                <a:cubicBezTo>
                  <a:pt x="393" y="197"/>
                  <a:pt x="393" y="197"/>
                  <a:pt x="393" y="197"/>
                </a:cubicBezTo>
                <a:cubicBezTo>
                  <a:pt x="394" y="196"/>
                  <a:pt x="394" y="196"/>
                  <a:pt x="394" y="196"/>
                </a:cubicBezTo>
                <a:cubicBezTo>
                  <a:pt x="393" y="195"/>
                  <a:pt x="393" y="195"/>
                  <a:pt x="393" y="195"/>
                </a:cubicBezTo>
                <a:cubicBezTo>
                  <a:pt x="394" y="194"/>
                  <a:pt x="394" y="194"/>
                  <a:pt x="394" y="194"/>
                </a:cubicBezTo>
                <a:cubicBezTo>
                  <a:pt x="395" y="193"/>
                  <a:pt x="395" y="193"/>
                  <a:pt x="395" y="193"/>
                </a:cubicBezTo>
                <a:cubicBezTo>
                  <a:pt x="395" y="195"/>
                  <a:pt x="395" y="195"/>
                  <a:pt x="395" y="195"/>
                </a:cubicBezTo>
                <a:cubicBezTo>
                  <a:pt x="395" y="196"/>
                  <a:pt x="395" y="196"/>
                  <a:pt x="395" y="196"/>
                </a:cubicBezTo>
                <a:cubicBezTo>
                  <a:pt x="396" y="195"/>
                  <a:pt x="396" y="195"/>
                  <a:pt x="396" y="195"/>
                </a:cubicBezTo>
                <a:cubicBezTo>
                  <a:pt x="396" y="193"/>
                  <a:pt x="396" y="193"/>
                  <a:pt x="396" y="193"/>
                </a:cubicBezTo>
                <a:cubicBezTo>
                  <a:pt x="395" y="192"/>
                  <a:pt x="395" y="192"/>
                  <a:pt x="395" y="192"/>
                </a:cubicBezTo>
                <a:cubicBezTo>
                  <a:pt x="395" y="190"/>
                  <a:pt x="395" y="190"/>
                  <a:pt x="395" y="190"/>
                </a:cubicBezTo>
                <a:cubicBezTo>
                  <a:pt x="395" y="190"/>
                  <a:pt x="395" y="190"/>
                  <a:pt x="395" y="190"/>
                </a:cubicBezTo>
                <a:cubicBezTo>
                  <a:pt x="397" y="190"/>
                  <a:pt x="397" y="190"/>
                  <a:pt x="397" y="190"/>
                </a:cubicBezTo>
                <a:cubicBezTo>
                  <a:pt x="396" y="191"/>
                  <a:pt x="396" y="191"/>
                  <a:pt x="396" y="191"/>
                </a:cubicBezTo>
                <a:cubicBezTo>
                  <a:pt x="396" y="192"/>
                  <a:pt x="396" y="192"/>
                  <a:pt x="396" y="192"/>
                </a:cubicBezTo>
                <a:cubicBezTo>
                  <a:pt x="397" y="192"/>
                  <a:pt x="397" y="192"/>
                  <a:pt x="397" y="192"/>
                </a:cubicBezTo>
                <a:cubicBezTo>
                  <a:pt x="398" y="192"/>
                  <a:pt x="398" y="192"/>
                  <a:pt x="398" y="192"/>
                </a:cubicBezTo>
                <a:cubicBezTo>
                  <a:pt x="400" y="194"/>
                  <a:pt x="400" y="194"/>
                  <a:pt x="400" y="194"/>
                </a:cubicBezTo>
                <a:cubicBezTo>
                  <a:pt x="400" y="195"/>
                  <a:pt x="400" y="195"/>
                  <a:pt x="400" y="195"/>
                </a:cubicBezTo>
                <a:cubicBezTo>
                  <a:pt x="401" y="195"/>
                  <a:pt x="401" y="195"/>
                  <a:pt x="401" y="195"/>
                </a:cubicBezTo>
                <a:cubicBezTo>
                  <a:pt x="402" y="195"/>
                  <a:pt x="402" y="195"/>
                  <a:pt x="402" y="195"/>
                </a:cubicBezTo>
                <a:cubicBezTo>
                  <a:pt x="403" y="195"/>
                  <a:pt x="403" y="195"/>
                  <a:pt x="403" y="195"/>
                </a:cubicBezTo>
                <a:cubicBezTo>
                  <a:pt x="402" y="194"/>
                  <a:pt x="402" y="194"/>
                  <a:pt x="402" y="194"/>
                </a:cubicBezTo>
                <a:cubicBezTo>
                  <a:pt x="401" y="194"/>
                  <a:pt x="401" y="194"/>
                  <a:pt x="401" y="194"/>
                </a:cubicBezTo>
                <a:cubicBezTo>
                  <a:pt x="401" y="193"/>
                  <a:pt x="401" y="193"/>
                  <a:pt x="401" y="193"/>
                </a:cubicBezTo>
                <a:cubicBezTo>
                  <a:pt x="399" y="191"/>
                  <a:pt x="399" y="191"/>
                  <a:pt x="399" y="191"/>
                </a:cubicBezTo>
                <a:cubicBezTo>
                  <a:pt x="398" y="191"/>
                  <a:pt x="398" y="191"/>
                  <a:pt x="398" y="191"/>
                </a:cubicBezTo>
                <a:cubicBezTo>
                  <a:pt x="397" y="190"/>
                  <a:pt x="397" y="190"/>
                  <a:pt x="397" y="190"/>
                </a:cubicBezTo>
                <a:cubicBezTo>
                  <a:pt x="399" y="188"/>
                  <a:pt x="399" y="188"/>
                  <a:pt x="399" y="188"/>
                </a:cubicBezTo>
                <a:cubicBezTo>
                  <a:pt x="400" y="188"/>
                  <a:pt x="400" y="188"/>
                  <a:pt x="400" y="188"/>
                </a:cubicBezTo>
                <a:cubicBezTo>
                  <a:pt x="401" y="187"/>
                  <a:pt x="401" y="187"/>
                  <a:pt x="401" y="187"/>
                </a:cubicBezTo>
                <a:cubicBezTo>
                  <a:pt x="403" y="187"/>
                  <a:pt x="403" y="187"/>
                  <a:pt x="403" y="187"/>
                </a:cubicBezTo>
                <a:cubicBezTo>
                  <a:pt x="405" y="187"/>
                  <a:pt x="405" y="187"/>
                  <a:pt x="405" y="187"/>
                </a:cubicBezTo>
                <a:cubicBezTo>
                  <a:pt x="405" y="188"/>
                  <a:pt x="405" y="188"/>
                  <a:pt x="405" y="188"/>
                </a:cubicBezTo>
                <a:cubicBezTo>
                  <a:pt x="406" y="188"/>
                  <a:pt x="406" y="188"/>
                  <a:pt x="406" y="188"/>
                </a:cubicBezTo>
                <a:cubicBezTo>
                  <a:pt x="407" y="188"/>
                  <a:pt x="407" y="188"/>
                  <a:pt x="407" y="188"/>
                </a:cubicBezTo>
                <a:cubicBezTo>
                  <a:pt x="407" y="189"/>
                  <a:pt x="407" y="189"/>
                  <a:pt x="407" y="189"/>
                </a:cubicBezTo>
                <a:cubicBezTo>
                  <a:pt x="408" y="190"/>
                  <a:pt x="408" y="190"/>
                  <a:pt x="408" y="190"/>
                </a:cubicBezTo>
                <a:cubicBezTo>
                  <a:pt x="409" y="190"/>
                  <a:pt x="409" y="190"/>
                  <a:pt x="409" y="190"/>
                </a:cubicBezTo>
                <a:cubicBezTo>
                  <a:pt x="409" y="191"/>
                  <a:pt x="409" y="191"/>
                  <a:pt x="409" y="191"/>
                </a:cubicBezTo>
                <a:cubicBezTo>
                  <a:pt x="410" y="191"/>
                  <a:pt x="410" y="191"/>
                  <a:pt x="410" y="191"/>
                </a:cubicBezTo>
                <a:cubicBezTo>
                  <a:pt x="410" y="191"/>
                  <a:pt x="410" y="191"/>
                  <a:pt x="410" y="191"/>
                </a:cubicBezTo>
                <a:cubicBezTo>
                  <a:pt x="411" y="191"/>
                  <a:pt x="411" y="191"/>
                  <a:pt x="411" y="191"/>
                </a:cubicBezTo>
                <a:cubicBezTo>
                  <a:pt x="412" y="192"/>
                  <a:pt x="412" y="192"/>
                  <a:pt x="412" y="192"/>
                </a:cubicBezTo>
                <a:cubicBezTo>
                  <a:pt x="413" y="193"/>
                  <a:pt x="413" y="193"/>
                  <a:pt x="413" y="193"/>
                </a:cubicBezTo>
                <a:cubicBezTo>
                  <a:pt x="413" y="193"/>
                  <a:pt x="413" y="193"/>
                  <a:pt x="413" y="193"/>
                </a:cubicBezTo>
                <a:cubicBezTo>
                  <a:pt x="413" y="194"/>
                  <a:pt x="413" y="194"/>
                  <a:pt x="413" y="194"/>
                </a:cubicBezTo>
                <a:cubicBezTo>
                  <a:pt x="413" y="195"/>
                  <a:pt x="413" y="195"/>
                  <a:pt x="413" y="195"/>
                </a:cubicBezTo>
                <a:cubicBezTo>
                  <a:pt x="413" y="196"/>
                  <a:pt x="413" y="196"/>
                  <a:pt x="413" y="196"/>
                </a:cubicBezTo>
                <a:cubicBezTo>
                  <a:pt x="412" y="197"/>
                  <a:pt x="412" y="197"/>
                  <a:pt x="412" y="197"/>
                </a:cubicBezTo>
                <a:cubicBezTo>
                  <a:pt x="411" y="197"/>
                  <a:pt x="411" y="197"/>
                  <a:pt x="411" y="197"/>
                </a:cubicBezTo>
                <a:cubicBezTo>
                  <a:pt x="410" y="197"/>
                  <a:pt x="410" y="197"/>
                  <a:pt x="410" y="197"/>
                </a:cubicBezTo>
                <a:cubicBezTo>
                  <a:pt x="408" y="197"/>
                  <a:pt x="408" y="197"/>
                  <a:pt x="408" y="197"/>
                </a:cubicBezTo>
                <a:cubicBezTo>
                  <a:pt x="407" y="199"/>
                  <a:pt x="407" y="199"/>
                  <a:pt x="407" y="199"/>
                </a:cubicBezTo>
                <a:cubicBezTo>
                  <a:pt x="409" y="197"/>
                  <a:pt x="409" y="197"/>
                  <a:pt x="409" y="197"/>
                </a:cubicBezTo>
                <a:cubicBezTo>
                  <a:pt x="411" y="197"/>
                  <a:pt x="411" y="197"/>
                  <a:pt x="411" y="197"/>
                </a:cubicBezTo>
                <a:cubicBezTo>
                  <a:pt x="411" y="198"/>
                  <a:pt x="411" y="198"/>
                  <a:pt x="411" y="198"/>
                </a:cubicBezTo>
                <a:cubicBezTo>
                  <a:pt x="410" y="199"/>
                  <a:pt x="410" y="199"/>
                  <a:pt x="410" y="199"/>
                </a:cubicBezTo>
                <a:cubicBezTo>
                  <a:pt x="409" y="200"/>
                  <a:pt x="409" y="200"/>
                  <a:pt x="409" y="200"/>
                </a:cubicBezTo>
                <a:cubicBezTo>
                  <a:pt x="408" y="202"/>
                  <a:pt x="408" y="202"/>
                  <a:pt x="408" y="202"/>
                </a:cubicBezTo>
                <a:cubicBezTo>
                  <a:pt x="407" y="202"/>
                  <a:pt x="407" y="202"/>
                  <a:pt x="407" y="202"/>
                </a:cubicBezTo>
                <a:cubicBezTo>
                  <a:pt x="406" y="203"/>
                  <a:pt x="406" y="203"/>
                  <a:pt x="406" y="203"/>
                </a:cubicBezTo>
                <a:cubicBezTo>
                  <a:pt x="406" y="203"/>
                  <a:pt x="406" y="203"/>
                  <a:pt x="406" y="203"/>
                </a:cubicBezTo>
                <a:cubicBezTo>
                  <a:pt x="406" y="204"/>
                  <a:pt x="406" y="204"/>
                  <a:pt x="406" y="204"/>
                </a:cubicBezTo>
                <a:cubicBezTo>
                  <a:pt x="409" y="201"/>
                  <a:pt x="409" y="201"/>
                  <a:pt x="409" y="201"/>
                </a:cubicBezTo>
                <a:cubicBezTo>
                  <a:pt x="410" y="200"/>
                  <a:pt x="410" y="200"/>
                  <a:pt x="410" y="200"/>
                </a:cubicBezTo>
                <a:cubicBezTo>
                  <a:pt x="411" y="199"/>
                  <a:pt x="411" y="199"/>
                  <a:pt x="411" y="199"/>
                </a:cubicBezTo>
                <a:cubicBezTo>
                  <a:pt x="412" y="198"/>
                  <a:pt x="412" y="198"/>
                  <a:pt x="412" y="198"/>
                </a:cubicBezTo>
                <a:cubicBezTo>
                  <a:pt x="414" y="198"/>
                  <a:pt x="414" y="198"/>
                  <a:pt x="414" y="198"/>
                </a:cubicBezTo>
                <a:cubicBezTo>
                  <a:pt x="414" y="199"/>
                  <a:pt x="414" y="199"/>
                  <a:pt x="414" y="199"/>
                </a:cubicBezTo>
                <a:cubicBezTo>
                  <a:pt x="415" y="199"/>
                  <a:pt x="415" y="199"/>
                  <a:pt x="415" y="199"/>
                </a:cubicBezTo>
                <a:cubicBezTo>
                  <a:pt x="415" y="200"/>
                  <a:pt x="415" y="200"/>
                  <a:pt x="415" y="200"/>
                </a:cubicBezTo>
                <a:cubicBezTo>
                  <a:pt x="415" y="201"/>
                  <a:pt x="415" y="201"/>
                  <a:pt x="415" y="201"/>
                </a:cubicBezTo>
                <a:cubicBezTo>
                  <a:pt x="415" y="202"/>
                  <a:pt x="415" y="202"/>
                  <a:pt x="415" y="202"/>
                </a:cubicBezTo>
                <a:cubicBezTo>
                  <a:pt x="413" y="202"/>
                  <a:pt x="413" y="202"/>
                  <a:pt x="413" y="202"/>
                </a:cubicBezTo>
                <a:cubicBezTo>
                  <a:pt x="413" y="203"/>
                  <a:pt x="413" y="203"/>
                  <a:pt x="413" y="203"/>
                </a:cubicBezTo>
                <a:cubicBezTo>
                  <a:pt x="411" y="204"/>
                  <a:pt x="411" y="204"/>
                  <a:pt x="411" y="204"/>
                </a:cubicBezTo>
                <a:cubicBezTo>
                  <a:pt x="411" y="203"/>
                  <a:pt x="411" y="203"/>
                  <a:pt x="411" y="203"/>
                </a:cubicBezTo>
                <a:cubicBezTo>
                  <a:pt x="410" y="203"/>
                  <a:pt x="410" y="203"/>
                  <a:pt x="410" y="203"/>
                </a:cubicBezTo>
                <a:cubicBezTo>
                  <a:pt x="409" y="204"/>
                  <a:pt x="409" y="204"/>
                  <a:pt x="409" y="204"/>
                </a:cubicBezTo>
                <a:cubicBezTo>
                  <a:pt x="410" y="204"/>
                  <a:pt x="410" y="204"/>
                  <a:pt x="410" y="204"/>
                </a:cubicBezTo>
                <a:cubicBezTo>
                  <a:pt x="411" y="205"/>
                  <a:pt x="411" y="205"/>
                  <a:pt x="411" y="205"/>
                </a:cubicBezTo>
                <a:cubicBezTo>
                  <a:pt x="408" y="206"/>
                  <a:pt x="408" y="206"/>
                  <a:pt x="408" y="206"/>
                </a:cubicBezTo>
                <a:cubicBezTo>
                  <a:pt x="409" y="206"/>
                  <a:pt x="409" y="206"/>
                  <a:pt x="409" y="206"/>
                </a:cubicBezTo>
                <a:cubicBezTo>
                  <a:pt x="410" y="205"/>
                  <a:pt x="410" y="205"/>
                  <a:pt x="410" y="205"/>
                </a:cubicBezTo>
                <a:cubicBezTo>
                  <a:pt x="411" y="205"/>
                  <a:pt x="411" y="205"/>
                  <a:pt x="411" y="205"/>
                </a:cubicBezTo>
                <a:cubicBezTo>
                  <a:pt x="412" y="204"/>
                  <a:pt x="412" y="204"/>
                  <a:pt x="412" y="204"/>
                </a:cubicBezTo>
                <a:cubicBezTo>
                  <a:pt x="412" y="205"/>
                  <a:pt x="412" y="205"/>
                  <a:pt x="412" y="205"/>
                </a:cubicBezTo>
                <a:cubicBezTo>
                  <a:pt x="412" y="206"/>
                  <a:pt x="412" y="206"/>
                  <a:pt x="412" y="206"/>
                </a:cubicBezTo>
                <a:cubicBezTo>
                  <a:pt x="410" y="206"/>
                  <a:pt x="410" y="206"/>
                  <a:pt x="410" y="206"/>
                </a:cubicBezTo>
                <a:cubicBezTo>
                  <a:pt x="409" y="207"/>
                  <a:pt x="409" y="207"/>
                  <a:pt x="409" y="207"/>
                </a:cubicBezTo>
                <a:cubicBezTo>
                  <a:pt x="410" y="207"/>
                  <a:pt x="410" y="207"/>
                  <a:pt x="410" y="207"/>
                </a:cubicBezTo>
                <a:cubicBezTo>
                  <a:pt x="411" y="207"/>
                  <a:pt x="411" y="207"/>
                  <a:pt x="411" y="207"/>
                </a:cubicBezTo>
                <a:cubicBezTo>
                  <a:pt x="410" y="208"/>
                  <a:pt x="410" y="208"/>
                  <a:pt x="410" y="208"/>
                </a:cubicBezTo>
                <a:cubicBezTo>
                  <a:pt x="409" y="209"/>
                  <a:pt x="409" y="209"/>
                  <a:pt x="409" y="209"/>
                </a:cubicBezTo>
                <a:cubicBezTo>
                  <a:pt x="408" y="210"/>
                  <a:pt x="408" y="210"/>
                  <a:pt x="408" y="210"/>
                </a:cubicBezTo>
                <a:cubicBezTo>
                  <a:pt x="408" y="210"/>
                  <a:pt x="408" y="210"/>
                  <a:pt x="408" y="210"/>
                </a:cubicBezTo>
                <a:cubicBezTo>
                  <a:pt x="410" y="209"/>
                  <a:pt x="410" y="209"/>
                  <a:pt x="410" y="209"/>
                </a:cubicBezTo>
                <a:cubicBezTo>
                  <a:pt x="411" y="207"/>
                  <a:pt x="411" y="207"/>
                  <a:pt x="411" y="207"/>
                </a:cubicBezTo>
                <a:cubicBezTo>
                  <a:pt x="412" y="206"/>
                  <a:pt x="412" y="206"/>
                  <a:pt x="412" y="206"/>
                </a:cubicBezTo>
                <a:cubicBezTo>
                  <a:pt x="414" y="205"/>
                  <a:pt x="414" y="205"/>
                  <a:pt x="414" y="205"/>
                </a:cubicBezTo>
                <a:cubicBezTo>
                  <a:pt x="414" y="205"/>
                  <a:pt x="414" y="205"/>
                  <a:pt x="414" y="205"/>
                </a:cubicBezTo>
                <a:cubicBezTo>
                  <a:pt x="414" y="206"/>
                  <a:pt x="414" y="206"/>
                  <a:pt x="414" y="206"/>
                </a:cubicBezTo>
                <a:cubicBezTo>
                  <a:pt x="415" y="205"/>
                  <a:pt x="415" y="205"/>
                  <a:pt x="415" y="205"/>
                </a:cubicBezTo>
                <a:cubicBezTo>
                  <a:pt x="415" y="205"/>
                  <a:pt x="415" y="205"/>
                  <a:pt x="415" y="205"/>
                </a:cubicBezTo>
                <a:cubicBezTo>
                  <a:pt x="417" y="204"/>
                  <a:pt x="417" y="204"/>
                  <a:pt x="417" y="204"/>
                </a:cubicBezTo>
                <a:cubicBezTo>
                  <a:pt x="417" y="204"/>
                  <a:pt x="417" y="204"/>
                  <a:pt x="417" y="204"/>
                </a:cubicBezTo>
                <a:cubicBezTo>
                  <a:pt x="417" y="204"/>
                  <a:pt x="417" y="204"/>
                  <a:pt x="417" y="204"/>
                </a:cubicBezTo>
                <a:cubicBezTo>
                  <a:pt x="416" y="206"/>
                  <a:pt x="416" y="206"/>
                  <a:pt x="416" y="206"/>
                </a:cubicBezTo>
                <a:cubicBezTo>
                  <a:pt x="413" y="207"/>
                  <a:pt x="413" y="207"/>
                  <a:pt x="413" y="207"/>
                </a:cubicBezTo>
                <a:cubicBezTo>
                  <a:pt x="413" y="208"/>
                  <a:pt x="413" y="208"/>
                  <a:pt x="413" y="208"/>
                </a:cubicBezTo>
                <a:cubicBezTo>
                  <a:pt x="413" y="208"/>
                  <a:pt x="413" y="208"/>
                  <a:pt x="413" y="208"/>
                </a:cubicBezTo>
                <a:cubicBezTo>
                  <a:pt x="413" y="209"/>
                  <a:pt x="413" y="209"/>
                  <a:pt x="413" y="209"/>
                </a:cubicBezTo>
                <a:cubicBezTo>
                  <a:pt x="412" y="210"/>
                  <a:pt x="412" y="210"/>
                  <a:pt x="412" y="210"/>
                </a:cubicBezTo>
                <a:cubicBezTo>
                  <a:pt x="412" y="211"/>
                  <a:pt x="412" y="211"/>
                  <a:pt x="412" y="211"/>
                </a:cubicBezTo>
                <a:cubicBezTo>
                  <a:pt x="413" y="211"/>
                  <a:pt x="413" y="211"/>
                  <a:pt x="413" y="211"/>
                </a:cubicBezTo>
                <a:cubicBezTo>
                  <a:pt x="413" y="210"/>
                  <a:pt x="413" y="210"/>
                  <a:pt x="413" y="210"/>
                </a:cubicBezTo>
                <a:cubicBezTo>
                  <a:pt x="414" y="209"/>
                  <a:pt x="414" y="209"/>
                  <a:pt x="414" y="209"/>
                </a:cubicBezTo>
                <a:cubicBezTo>
                  <a:pt x="415" y="207"/>
                  <a:pt x="415" y="207"/>
                  <a:pt x="415" y="207"/>
                </a:cubicBezTo>
                <a:cubicBezTo>
                  <a:pt x="417" y="207"/>
                  <a:pt x="417" y="207"/>
                  <a:pt x="417" y="207"/>
                </a:cubicBezTo>
                <a:cubicBezTo>
                  <a:pt x="417" y="207"/>
                  <a:pt x="417" y="207"/>
                  <a:pt x="417" y="207"/>
                </a:cubicBezTo>
                <a:cubicBezTo>
                  <a:pt x="417" y="208"/>
                  <a:pt x="417" y="208"/>
                  <a:pt x="417" y="208"/>
                </a:cubicBezTo>
                <a:cubicBezTo>
                  <a:pt x="416" y="209"/>
                  <a:pt x="416" y="209"/>
                  <a:pt x="416" y="209"/>
                </a:cubicBezTo>
                <a:cubicBezTo>
                  <a:pt x="415" y="210"/>
                  <a:pt x="415" y="210"/>
                  <a:pt x="415" y="210"/>
                </a:cubicBezTo>
                <a:cubicBezTo>
                  <a:pt x="414" y="211"/>
                  <a:pt x="414" y="211"/>
                  <a:pt x="414" y="211"/>
                </a:cubicBezTo>
                <a:cubicBezTo>
                  <a:pt x="413" y="213"/>
                  <a:pt x="413" y="213"/>
                  <a:pt x="413" y="213"/>
                </a:cubicBezTo>
                <a:cubicBezTo>
                  <a:pt x="413" y="213"/>
                  <a:pt x="413" y="213"/>
                  <a:pt x="413" y="213"/>
                </a:cubicBezTo>
                <a:cubicBezTo>
                  <a:pt x="413" y="214"/>
                  <a:pt x="413" y="214"/>
                  <a:pt x="413" y="214"/>
                </a:cubicBezTo>
                <a:cubicBezTo>
                  <a:pt x="414" y="213"/>
                  <a:pt x="414" y="213"/>
                  <a:pt x="414" y="213"/>
                </a:cubicBezTo>
                <a:cubicBezTo>
                  <a:pt x="414" y="212"/>
                  <a:pt x="414" y="212"/>
                  <a:pt x="414" y="212"/>
                </a:cubicBezTo>
                <a:cubicBezTo>
                  <a:pt x="416" y="210"/>
                  <a:pt x="416" y="210"/>
                  <a:pt x="416" y="210"/>
                </a:cubicBezTo>
                <a:cubicBezTo>
                  <a:pt x="417" y="210"/>
                  <a:pt x="417" y="210"/>
                  <a:pt x="417" y="210"/>
                </a:cubicBezTo>
                <a:cubicBezTo>
                  <a:pt x="417" y="211"/>
                  <a:pt x="417" y="211"/>
                  <a:pt x="417" y="211"/>
                </a:cubicBezTo>
                <a:cubicBezTo>
                  <a:pt x="418" y="211"/>
                  <a:pt x="418" y="211"/>
                  <a:pt x="418" y="211"/>
                </a:cubicBezTo>
                <a:cubicBezTo>
                  <a:pt x="418" y="212"/>
                  <a:pt x="418" y="212"/>
                  <a:pt x="418" y="212"/>
                </a:cubicBezTo>
                <a:cubicBezTo>
                  <a:pt x="417" y="212"/>
                  <a:pt x="417" y="212"/>
                  <a:pt x="417" y="212"/>
                </a:cubicBezTo>
                <a:cubicBezTo>
                  <a:pt x="416" y="214"/>
                  <a:pt x="416" y="214"/>
                  <a:pt x="416" y="214"/>
                </a:cubicBezTo>
                <a:cubicBezTo>
                  <a:pt x="415" y="215"/>
                  <a:pt x="415" y="215"/>
                  <a:pt x="415" y="215"/>
                </a:cubicBezTo>
                <a:cubicBezTo>
                  <a:pt x="416" y="215"/>
                  <a:pt x="416" y="215"/>
                  <a:pt x="416" y="215"/>
                </a:cubicBezTo>
                <a:cubicBezTo>
                  <a:pt x="416" y="214"/>
                  <a:pt x="416" y="214"/>
                  <a:pt x="416" y="214"/>
                </a:cubicBezTo>
                <a:cubicBezTo>
                  <a:pt x="417" y="213"/>
                  <a:pt x="417" y="213"/>
                  <a:pt x="417" y="213"/>
                </a:cubicBezTo>
                <a:cubicBezTo>
                  <a:pt x="417" y="212"/>
                  <a:pt x="417" y="212"/>
                  <a:pt x="417" y="212"/>
                </a:cubicBezTo>
                <a:cubicBezTo>
                  <a:pt x="419" y="212"/>
                  <a:pt x="419" y="212"/>
                  <a:pt x="419" y="212"/>
                </a:cubicBezTo>
                <a:cubicBezTo>
                  <a:pt x="419" y="210"/>
                  <a:pt x="419" y="210"/>
                  <a:pt x="419" y="210"/>
                </a:cubicBezTo>
                <a:cubicBezTo>
                  <a:pt x="419" y="210"/>
                  <a:pt x="419" y="210"/>
                  <a:pt x="419" y="210"/>
                </a:cubicBezTo>
                <a:cubicBezTo>
                  <a:pt x="420" y="209"/>
                  <a:pt x="420" y="209"/>
                  <a:pt x="420" y="209"/>
                </a:cubicBezTo>
                <a:cubicBezTo>
                  <a:pt x="420" y="208"/>
                  <a:pt x="420" y="208"/>
                  <a:pt x="420" y="208"/>
                </a:cubicBezTo>
                <a:cubicBezTo>
                  <a:pt x="421" y="207"/>
                  <a:pt x="421" y="207"/>
                  <a:pt x="421" y="207"/>
                </a:cubicBezTo>
                <a:cubicBezTo>
                  <a:pt x="421" y="207"/>
                  <a:pt x="421" y="207"/>
                  <a:pt x="421" y="207"/>
                </a:cubicBezTo>
                <a:cubicBezTo>
                  <a:pt x="422" y="206"/>
                  <a:pt x="422" y="206"/>
                  <a:pt x="422" y="206"/>
                </a:cubicBezTo>
                <a:cubicBezTo>
                  <a:pt x="422" y="205"/>
                  <a:pt x="422" y="205"/>
                  <a:pt x="422" y="205"/>
                </a:cubicBezTo>
                <a:cubicBezTo>
                  <a:pt x="422" y="205"/>
                  <a:pt x="422" y="205"/>
                  <a:pt x="422" y="205"/>
                </a:cubicBezTo>
                <a:cubicBezTo>
                  <a:pt x="423" y="207"/>
                  <a:pt x="423" y="207"/>
                  <a:pt x="423" y="207"/>
                </a:cubicBezTo>
                <a:cubicBezTo>
                  <a:pt x="424" y="208"/>
                  <a:pt x="424" y="208"/>
                  <a:pt x="424" y="208"/>
                </a:cubicBezTo>
                <a:cubicBezTo>
                  <a:pt x="425" y="209"/>
                  <a:pt x="425" y="209"/>
                  <a:pt x="425" y="209"/>
                </a:cubicBezTo>
                <a:cubicBezTo>
                  <a:pt x="426" y="210"/>
                  <a:pt x="426" y="210"/>
                  <a:pt x="426" y="210"/>
                </a:cubicBezTo>
                <a:cubicBezTo>
                  <a:pt x="426" y="211"/>
                  <a:pt x="426" y="211"/>
                  <a:pt x="426" y="211"/>
                </a:cubicBezTo>
                <a:cubicBezTo>
                  <a:pt x="427" y="212"/>
                  <a:pt x="427" y="212"/>
                  <a:pt x="427" y="212"/>
                </a:cubicBezTo>
                <a:cubicBezTo>
                  <a:pt x="427" y="213"/>
                  <a:pt x="427" y="213"/>
                  <a:pt x="427" y="213"/>
                </a:cubicBezTo>
                <a:cubicBezTo>
                  <a:pt x="426" y="214"/>
                  <a:pt x="426" y="214"/>
                  <a:pt x="426" y="214"/>
                </a:cubicBezTo>
                <a:cubicBezTo>
                  <a:pt x="425" y="215"/>
                  <a:pt x="425" y="215"/>
                  <a:pt x="425" y="215"/>
                </a:cubicBezTo>
                <a:cubicBezTo>
                  <a:pt x="424" y="215"/>
                  <a:pt x="424" y="215"/>
                  <a:pt x="424" y="215"/>
                </a:cubicBezTo>
                <a:cubicBezTo>
                  <a:pt x="424" y="215"/>
                  <a:pt x="424" y="215"/>
                  <a:pt x="424" y="215"/>
                </a:cubicBezTo>
                <a:cubicBezTo>
                  <a:pt x="422" y="214"/>
                  <a:pt x="422" y="214"/>
                  <a:pt x="422" y="214"/>
                </a:cubicBezTo>
                <a:cubicBezTo>
                  <a:pt x="422" y="214"/>
                  <a:pt x="422" y="214"/>
                  <a:pt x="422" y="214"/>
                </a:cubicBezTo>
                <a:cubicBezTo>
                  <a:pt x="421" y="214"/>
                  <a:pt x="421" y="214"/>
                  <a:pt x="421" y="214"/>
                </a:cubicBezTo>
                <a:cubicBezTo>
                  <a:pt x="421" y="215"/>
                  <a:pt x="421" y="215"/>
                  <a:pt x="421" y="215"/>
                </a:cubicBezTo>
                <a:cubicBezTo>
                  <a:pt x="420" y="216"/>
                  <a:pt x="420" y="216"/>
                  <a:pt x="420" y="216"/>
                </a:cubicBezTo>
                <a:cubicBezTo>
                  <a:pt x="419" y="216"/>
                  <a:pt x="419" y="216"/>
                  <a:pt x="419" y="216"/>
                </a:cubicBezTo>
                <a:cubicBezTo>
                  <a:pt x="418" y="216"/>
                  <a:pt x="418" y="216"/>
                  <a:pt x="418" y="216"/>
                </a:cubicBezTo>
                <a:cubicBezTo>
                  <a:pt x="418" y="217"/>
                  <a:pt x="418" y="217"/>
                  <a:pt x="418" y="217"/>
                </a:cubicBezTo>
                <a:cubicBezTo>
                  <a:pt x="419" y="217"/>
                  <a:pt x="419" y="217"/>
                  <a:pt x="419" y="217"/>
                </a:cubicBezTo>
                <a:cubicBezTo>
                  <a:pt x="420" y="217"/>
                  <a:pt x="420" y="217"/>
                  <a:pt x="420" y="217"/>
                </a:cubicBezTo>
                <a:cubicBezTo>
                  <a:pt x="420" y="218"/>
                  <a:pt x="420" y="218"/>
                  <a:pt x="420" y="218"/>
                </a:cubicBezTo>
                <a:cubicBezTo>
                  <a:pt x="419" y="219"/>
                  <a:pt x="419" y="219"/>
                  <a:pt x="419" y="219"/>
                </a:cubicBezTo>
                <a:cubicBezTo>
                  <a:pt x="418" y="219"/>
                  <a:pt x="418" y="219"/>
                  <a:pt x="418" y="219"/>
                </a:cubicBezTo>
                <a:cubicBezTo>
                  <a:pt x="417" y="220"/>
                  <a:pt x="417" y="220"/>
                  <a:pt x="417" y="220"/>
                </a:cubicBezTo>
                <a:cubicBezTo>
                  <a:pt x="418" y="220"/>
                  <a:pt x="418" y="220"/>
                  <a:pt x="418" y="220"/>
                </a:cubicBezTo>
                <a:cubicBezTo>
                  <a:pt x="419" y="219"/>
                  <a:pt x="419" y="219"/>
                  <a:pt x="419" y="219"/>
                </a:cubicBezTo>
                <a:cubicBezTo>
                  <a:pt x="421" y="219"/>
                  <a:pt x="421" y="219"/>
                  <a:pt x="421" y="219"/>
                </a:cubicBezTo>
                <a:cubicBezTo>
                  <a:pt x="422" y="219"/>
                  <a:pt x="422" y="219"/>
                  <a:pt x="422" y="219"/>
                </a:cubicBezTo>
                <a:cubicBezTo>
                  <a:pt x="423" y="218"/>
                  <a:pt x="423" y="218"/>
                  <a:pt x="423" y="218"/>
                </a:cubicBezTo>
                <a:cubicBezTo>
                  <a:pt x="424" y="218"/>
                  <a:pt x="424" y="218"/>
                  <a:pt x="424" y="218"/>
                </a:cubicBezTo>
                <a:cubicBezTo>
                  <a:pt x="425" y="219"/>
                  <a:pt x="425" y="219"/>
                  <a:pt x="425" y="219"/>
                </a:cubicBezTo>
                <a:cubicBezTo>
                  <a:pt x="425" y="219"/>
                  <a:pt x="425" y="219"/>
                  <a:pt x="425" y="219"/>
                </a:cubicBezTo>
                <a:cubicBezTo>
                  <a:pt x="425" y="220"/>
                  <a:pt x="425" y="220"/>
                  <a:pt x="425" y="220"/>
                </a:cubicBezTo>
                <a:cubicBezTo>
                  <a:pt x="425" y="219"/>
                  <a:pt x="425" y="219"/>
                  <a:pt x="425" y="219"/>
                </a:cubicBezTo>
                <a:cubicBezTo>
                  <a:pt x="425" y="218"/>
                  <a:pt x="425" y="218"/>
                  <a:pt x="425" y="218"/>
                </a:cubicBezTo>
                <a:cubicBezTo>
                  <a:pt x="425" y="217"/>
                  <a:pt x="425" y="217"/>
                  <a:pt x="425" y="217"/>
                </a:cubicBezTo>
                <a:cubicBezTo>
                  <a:pt x="426" y="216"/>
                  <a:pt x="426" y="216"/>
                  <a:pt x="426" y="216"/>
                </a:cubicBezTo>
                <a:cubicBezTo>
                  <a:pt x="428" y="215"/>
                  <a:pt x="428" y="215"/>
                  <a:pt x="428" y="215"/>
                </a:cubicBezTo>
                <a:cubicBezTo>
                  <a:pt x="428" y="216"/>
                  <a:pt x="428" y="216"/>
                  <a:pt x="428" y="216"/>
                </a:cubicBezTo>
                <a:cubicBezTo>
                  <a:pt x="428" y="216"/>
                  <a:pt x="428" y="216"/>
                  <a:pt x="428" y="216"/>
                </a:cubicBezTo>
                <a:cubicBezTo>
                  <a:pt x="428" y="217"/>
                  <a:pt x="428" y="217"/>
                  <a:pt x="428" y="217"/>
                </a:cubicBezTo>
                <a:cubicBezTo>
                  <a:pt x="428" y="218"/>
                  <a:pt x="428" y="218"/>
                  <a:pt x="428" y="218"/>
                </a:cubicBezTo>
                <a:cubicBezTo>
                  <a:pt x="427" y="220"/>
                  <a:pt x="427" y="220"/>
                  <a:pt x="427" y="220"/>
                </a:cubicBezTo>
                <a:cubicBezTo>
                  <a:pt x="425" y="220"/>
                  <a:pt x="425" y="220"/>
                  <a:pt x="425" y="220"/>
                </a:cubicBezTo>
                <a:cubicBezTo>
                  <a:pt x="425" y="221"/>
                  <a:pt x="425" y="221"/>
                  <a:pt x="425" y="221"/>
                </a:cubicBezTo>
                <a:cubicBezTo>
                  <a:pt x="424" y="222"/>
                  <a:pt x="424" y="222"/>
                  <a:pt x="424" y="222"/>
                </a:cubicBezTo>
                <a:cubicBezTo>
                  <a:pt x="423" y="222"/>
                  <a:pt x="423" y="222"/>
                  <a:pt x="423" y="222"/>
                </a:cubicBezTo>
                <a:cubicBezTo>
                  <a:pt x="422" y="221"/>
                  <a:pt x="422" y="221"/>
                  <a:pt x="422" y="221"/>
                </a:cubicBezTo>
                <a:cubicBezTo>
                  <a:pt x="422" y="221"/>
                  <a:pt x="422" y="221"/>
                  <a:pt x="422" y="221"/>
                </a:cubicBezTo>
                <a:cubicBezTo>
                  <a:pt x="421" y="222"/>
                  <a:pt x="421" y="222"/>
                  <a:pt x="421" y="222"/>
                </a:cubicBezTo>
                <a:cubicBezTo>
                  <a:pt x="421" y="223"/>
                  <a:pt x="421" y="223"/>
                  <a:pt x="421" y="223"/>
                </a:cubicBezTo>
                <a:cubicBezTo>
                  <a:pt x="420" y="224"/>
                  <a:pt x="420" y="224"/>
                  <a:pt x="420" y="224"/>
                </a:cubicBezTo>
                <a:cubicBezTo>
                  <a:pt x="420" y="225"/>
                  <a:pt x="420" y="225"/>
                  <a:pt x="420" y="225"/>
                </a:cubicBezTo>
                <a:cubicBezTo>
                  <a:pt x="419" y="226"/>
                  <a:pt x="419" y="226"/>
                  <a:pt x="419" y="226"/>
                </a:cubicBezTo>
                <a:cubicBezTo>
                  <a:pt x="420" y="226"/>
                  <a:pt x="420" y="226"/>
                  <a:pt x="420" y="226"/>
                </a:cubicBezTo>
                <a:cubicBezTo>
                  <a:pt x="421" y="224"/>
                  <a:pt x="421" y="224"/>
                  <a:pt x="421" y="224"/>
                </a:cubicBezTo>
                <a:cubicBezTo>
                  <a:pt x="422" y="222"/>
                  <a:pt x="422" y="222"/>
                  <a:pt x="422" y="222"/>
                </a:cubicBezTo>
                <a:cubicBezTo>
                  <a:pt x="423" y="222"/>
                  <a:pt x="423" y="222"/>
                  <a:pt x="423" y="222"/>
                </a:cubicBezTo>
                <a:cubicBezTo>
                  <a:pt x="423" y="222"/>
                  <a:pt x="423" y="222"/>
                  <a:pt x="423" y="222"/>
                </a:cubicBezTo>
                <a:cubicBezTo>
                  <a:pt x="424" y="223"/>
                  <a:pt x="424" y="223"/>
                  <a:pt x="424" y="223"/>
                </a:cubicBezTo>
                <a:cubicBezTo>
                  <a:pt x="424" y="223"/>
                  <a:pt x="424" y="223"/>
                  <a:pt x="424" y="223"/>
                </a:cubicBezTo>
                <a:cubicBezTo>
                  <a:pt x="423" y="224"/>
                  <a:pt x="423" y="224"/>
                  <a:pt x="423" y="224"/>
                </a:cubicBezTo>
                <a:cubicBezTo>
                  <a:pt x="423" y="225"/>
                  <a:pt x="423" y="225"/>
                  <a:pt x="423" y="225"/>
                </a:cubicBezTo>
                <a:cubicBezTo>
                  <a:pt x="421" y="227"/>
                  <a:pt x="421" y="227"/>
                  <a:pt x="421" y="227"/>
                </a:cubicBezTo>
                <a:cubicBezTo>
                  <a:pt x="420" y="227"/>
                  <a:pt x="420" y="227"/>
                  <a:pt x="420" y="227"/>
                </a:cubicBezTo>
                <a:cubicBezTo>
                  <a:pt x="420" y="228"/>
                  <a:pt x="420" y="228"/>
                  <a:pt x="420" y="228"/>
                </a:cubicBezTo>
                <a:cubicBezTo>
                  <a:pt x="422" y="227"/>
                  <a:pt x="422" y="227"/>
                  <a:pt x="422" y="227"/>
                </a:cubicBezTo>
                <a:cubicBezTo>
                  <a:pt x="424" y="224"/>
                  <a:pt x="424" y="224"/>
                  <a:pt x="424" y="224"/>
                </a:cubicBezTo>
                <a:cubicBezTo>
                  <a:pt x="425" y="222"/>
                  <a:pt x="425" y="222"/>
                  <a:pt x="425" y="222"/>
                </a:cubicBezTo>
                <a:cubicBezTo>
                  <a:pt x="425" y="222"/>
                  <a:pt x="425" y="222"/>
                  <a:pt x="425" y="222"/>
                </a:cubicBezTo>
                <a:cubicBezTo>
                  <a:pt x="426" y="221"/>
                  <a:pt x="426" y="221"/>
                  <a:pt x="426" y="221"/>
                </a:cubicBezTo>
                <a:cubicBezTo>
                  <a:pt x="426" y="221"/>
                  <a:pt x="426" y="221"/>
                  <a:pt x="426" y="221"/>
                </a:cubicBezTo>
                <a:cubicBezTo>
                  <a:pt x="428" y="220"/>
                  <a:pt x="428" y="220"/>
                  <a:pt x="428" y="220"/>
                </a:cubicBezTo>
                <a:cubicBezTo>
                  <a:pt x="430" y="219"/>
                  <a:pt x="430" y="219"/>
                  <a:pt x="430" y="219"/>
                </a:cubicBezTo>
                <a:cubicBezTo>
                  <a:pt x="431" y="219"/>
                  <a:pt x="431" y="219"/>
                  <a:pt x="431" y="219"/>
                </a:cubicBezTo>
                <a:cubicBezTo>
                  <a:pt x="431" y="219"/>
                  <a:pt x="431" y="219"/>
                  <a:pt x="431" y="219"/>
                </a:cubicBezTo>
                <a:cubicBezTo>
                  <a:pt x="430" y="220"/>
                  <a:pt x="430" y="220"/>
                  <a:pt x="430" y="220"/>
                </a:cubicBezTo>
                <a:cubicBezTo>
                  <a:pt x="429" y="221"/>
                  <a:pt x="429" y="221"/>
                  <a:pt x="429" y="221"/>
                </a:cubicBezTo>
                <a:cubicBezTo>
                  <a:pt x="428" y="221"/>
                  <a:pt x="428" y="221"/>
                  <a:pt x="428" y="221"/>
                </a:cubicBezTo>
                <a:cubicBezTo>
                  <a:pt x="427" y="222"/>
                  <a:pt x="427" y="222"/>
                  <a:pt x="427" y="222"/>
                </a:cubicBezTo>
                <a:cubicBezTo>
                  <a:pt x="427" y="223"/>
                  <a:pt x="427" y="223"/>
                  <a:pt x="427" y="223"/>
                </a:cubicBezTo>
                <a:cubicBezTo>
                  <a:pt x="427" y="223"/>
                  <a:pt x="427" y="223"/>
                  <a:pt x="427" y="223"/>
                </a:cubicBezTo>
                <a:cubicBezTo>
                  <a:pt x="428" y="222"/>
                  <a:pt x="428" y="222"/>
                  <a:pt x="428" y="222"/>
                </a:cubicBezTo>
                <a:cubicBezTo>
                  <a:pt x="429" y="222"/>
                  <a:pt x="429" y="222"/>
                  <a:pt x="429" y="222"/>
                </a:cubicBezTo>
                <a:cubicBezTo>
                  <a:pt x="430" y="221"/>
                  <a:pt x="430" y="221"/>
                  <a:pt x="430" y="221"/>
                </a:cubicBezTo>
                <a:cubicBezTo>
                  <a:pt x="431" y="221"/>
                  <a:pt x="431" y="221"/>
                  <a:pt x="431" y="221"/>
                </a:cubicBezTo>
                <a:cubicBezTo>
                  <a:pt x="432" y="220"/>
                  <a:pt x="432" y="220"/>
                  <a:pt x="432" y="220"/>
                </a:cubicBezTo>
                <a:cubicBezTo>
                  <a:pt x="433" y="220"/>
                  <a:pt x="433" y="220"/>
                  <a:pt x="433" y="220"/>
                </a:cubicBezTo>
                <a:cubicBezTo>
                  <a:pt x="434" y="220"/>
                  <a:pt x="434" y="220"/>
                  <a:pt x="434" y="220"/>
                </a:cubicBezTo>
                <a:cubicBezTo>
                  <a:pt x="434" y="221"/>
                  <a:pt x="434" y="221"/>
                  <a:pt x="434" y="221"/>
                </a:cubicBezTo>
                <a:cubicBezTo>
                  <a:pt x="435" y="223"/>
                  <a:pt x="435" y="223"/>
                  <a:pt x="435" y="223"/>
                </a:cubicBezTo>
                <a:cubicBezTo>
                  <a:pt x="436" y="224"/>
                  <a:pt x="436" y="224"/>
                  <a:pt x="436" y="224"/>
                </a:cubicBezTo>
                <a:cubicBezTo>
                  <a:pt x="437" y="224"/>
                  <a:pt x="437" y="224"/>
                  <a:pt x="437" y="224"/>
                </a:cubicBezTo>
                <a:cubicBezTo>
                  <a:pt x="437" y="225"/>
                  <a:pt x="437" y="225"/>
                  <a:pt x="437" y="225"/>
                </a:cubicBezTo>
                <a:cubicBezTo>
                  <a:pt x="437" y="226"/>
                  <a:pt x="437" y="226"/>
                  <a:pt x="437" y="226"/>
                </a:cubicBezTo>
                <a:cubicBezTo>
                  <a:pt x="436" y="227"/>
                  <a:pt x="436" y="227"/>
                  <a:pt x="436" y="227"/>
                </a:cubicBezTo>
                <a:cubicBezTo>
                  <a:pt x="435" y="227"/>
                  <a:pt x="435" y="227"/>
                  <a:pt x="435" y="227"/>
                </a:cubicBezTo>
                <a:cubicBezTo>
                  <a:pt x="436" y="226"/>
                  <a:pt x="436" y="226"/>
                  <a:pt x="436" y="226"/>
                </a:cubicBezTo>
                <a:cubicBezTo>
                  <a:pt x="435" y="226"/>
                  <a:pt x="435" y="226"/>
                  <a:pt x="435" y="226"/>
                </a:cubicBezTo>
                <a:cubicBezTo>
                  <a:pt x="435" y="226"/>
                  <a:pt x="435" y="226"/>
                  <a:pt x="435" y="226"/>
                </a:cubicBezTo>
                <a:cubicBezTo>
                  <a:pt x="434" y="227"/>
                  <a:pt x="434" y="227"/>
                  <a:pt x="434" y="227"/>
                </a:cubicBezTo>
                <a:cubicBezTo>
                  <a:pt x="433" y="228"/>
                  <a:pt x="433" y="228"/>
                  <a:pt x="433" y="228"/>
                </a:cubicBezTo>
                <a:cubicBezTo>
                  <a:pt x="431" y="228"/>
                  <a:pt x="431" y="228"/>
                  <a:pt x="431" y="228"/>
                </a:cubicBezTo>
                <a:cubicBezTo>
                  <a:pt x="430" y="228"/>
                  <a:pt x="430" y="228"/>
                  <a:pt x="430" y="228"/>
                </a:cubicBezTo>
                <a:cubicBezTo>
                  <a:pt x="429" y="228"/>
                  <a:pt x="429" y="228"/>
                  <a:pt x="429" y="228"/>
                </a:cubicBezTo>
                <a:cubicBezTo>
                  <a:pt x="427" y="229"/>
                  <a:pt x="427" y="229"/>
                  <a:pt x="427" y="229"/>
                </a:cubicBezTo>
                <a:cubicBezTo>
                  <a:pt x="426" y="230"/>
                  <a:pt x="426" y="230"/>
                  <a:pt x="426" y="230"/>
                </a:cubicBezTo>
                <a:cubicBezTo>
                  <a:pt x="425" y="230"/>
                  <a:pt x="425" y="230"/>
                  <a:pt x="425" y="230"/>
                </a:cubicBezTo>
                <a:cubicBezTo>
                  <a:pt x="426" y="230"/>
                  <a:pt x="426" y="230"/>
                  <a:pt x="426" y="230"/>
                </a:cubicBezTo>
                <a:cubicBezTo>
                  <a:pt x="426" y="231"/>
                  <a:pt x="426" y="231"/>
                  <a:pt x="426" y="231"/>
                </a:cubicBezTo>
                <a:cubicBezTo>
                  <a:pt x="426" y="231"/>
                  <a:pt x="426" y="231"/>
                  <a:pt x="426" y="231"/>
                </a:cubicBezTo>
                <a:cubicBezTo>
                  <a:pt x="424" y="232"/>
                  <a:pt x="424" y="232"/>
                  <a:pt x="424" y="232"/>
                </a:cubicBezTo>
                <a:cubicBezTo>
                  <a:pt x="424" y="232"/>
                  <a:pt x="424" y="232"/>
                  <a:pt x="424" y="232"/>
                </a:cubicBezTo>
                <a:cubicBezTo>
                  <a:pt x="426" y="232"/>
                  <a:pt x="426" y="232"/>
                  <a:pt x="426" y="232"/>
                </a:cubicBezTo>
                <a:cubicBezTo>
                  <a:pt x="427" y="231"/>
                  <a:pt x="427" y="231"/>
                  <a:pt x="427" y="231"/>
                </a:cubicBezTo>
                <a:cubicBezTo>
                  <a:pt x="429" y="229"/>
                  <a:pt x="429" y="229"/>
                  <a:pt x="429" y="229"/>
                </a:cubicBezTo>
                <a:cubicBezTo>
                  <a:pt x="430" y="229"/>
                  <a:pt x="430" y="229"/>
                  <a:pt x="430" y="229"/>
                </a:cubicBezTo>
                <a:cubicBezTo>
                  <a:pt x="431" y="229"/>
                  <a:pt x="431" y="229"/>
                  <a:pt x="431" y="229"/>
                </a:cubicBezTo>
                <a:cubicBezTo>
                  <a:pt x="432" y="229"/>
                  <a:pt x="432" y="229"/>
                  <a:pt x="432" y="229"/>
                </a:cubicBezTo>
                <a:cubicBezTo>
                  <a:pt x="433" y="229"/>
                  <a:pt x="433" y="229"/>
                  <a:pt x="433" y="229"/>
                </a:cubicBezTo>
                <a:cubicBezTo>
                  <a:pt x="433" y="230"/>
                  <a:pt x="433" y="230"/>
                  <a:pt x="433" y="230"/>
                </a:cubicBezTo>
                <a:cubicBezTo>
                  <a:pt x="433" y="231"/>
                  <a:pt x="433" y="231"/>
                  <a:pt x="433" y="231"/>
                </a:cubicBezTo>
                <a:cubicBezTo>
                  <a:pt x="432" y="231"/>
                  <a:pt x="432" y="231"/>
                  <a:pt x="432" y="231"/>
                </a:cubicBezTo>
                <a:cubicBezTo>
                  <a:pt x="431" y="232"/>
                  <a:pt x="431" y="232"/>
                  <a:pt x="431" y="232"/>
                </a:cubicBezTo>
                <a:cubicBezTo>
                  <a:pt x="430" y="232"/>
                  <a:pt x="430" y="232"/>
                  <a:pt x="430" y="232"/>
                </a:cubicBezTo>
                <a:cubicBezTo>
                  <a:pt x="429" y="232"/>
                  <a:pt x="429" y="232"/>
                  <a:pt x="429" y="232"/>
                </a:cubicBezTo>
                <a:cubicBezTo>
                  <a:pt x="429" y="234"/>
                  <a:pt x="429" y="234"/>
                  <a:pt x="429" y="234"/>
                </a:cubicBezTo>
                <a:cubicBezTo>
                  <a:pt x="428" y="234"/>
                  <a:pt x="428" y="234"/>
                  <a:pt x="428" y="234"/>
                </a:cubicBezTo>
                <a:cubicBezTo>
                  <a:pt x="427" y="233"/>
                  <a:pt x="427" y="233"/>
                  <a:pt x="427" y="233"/>
                </a:cubicBezTo>
                <a:cubicBezTo>
                  <a:pt x="426" y="234"/>
                  <a:pt x="426" y="234"/>
                  <a:pt x="426" y="234"/>
                </a:cubicBezTo>
                <a:cubicBezTo>
                  <a:pt x="425" y="235"/>
                  <a:pt x="425" y="235"/>
                  <a:pt x="425" y="235"/>
                </a:cubicBezTo>
                <a:cubicBezTo>
                  <a:pt x="426" y="235"/>
                  <a:pt x="426" y="235"/>
                  <a:pt x="426" y="235"/>
                </a:cubicBezTo>
                <a:cubicBezTo>
                  <a:pt x="427" y="234"/>
                  <a:pt x="427" y="234"/>
                  <a:pt x="427" y="234"/>
                </a:cubicBezTo>
                <a:cubicBezTo>
                  <a:pt x="428" y="234"/>
                  <a:pt x="428" y="234"/>
                  <a:pt x="428" y="234"/>
                </a:cubicBezTo>
                <a:cubicBezTo>
                  <a:pt x="428" y="235"/>
                  <a:pt x="428" y="235"/>
                  <a:pt x="428" y="235"/>
                </a:cubicBezTo>
                <a:cubicBezTo>
                  <a:pt x="429" y="234"/>
                  <a:pt x="429" y="234"/>
                  <a:pt x="429" y="234"/>
                </a:cubicBezTo>
                <a:cubicBezTo>
                  <a:pt x="430" y="233"/>
                  <a:pt x="430" y="233"/>
                  <a:pt x="430" y="233"/>
                </a:cubicBezTo>
                <a:cubicBezTo>
                  <a:pt x="431" y="232"/>
                  <a:pt x="431" y="232"/>
                  <a:pt x="431" y="232"/>
                </a:cubicBezTo>
                <a:cubicBezTo>
                  <a:pt x="432" y="233"/>
                  <a:pt x="432" y="233"/>
                  <a:pt x="432" y="233"/>
                </a:cubicBezTo>
                <a:cubicBezTo>
                  <a:pt x="433" y="233"/>
                  <a:pt x="433" y="233"/>
                  <a:pt x="433" y="233"/>
                </a:cubicBezTo>
                <a:cubicBezTo>
                  <a:pt x="434" y="232"/>
                  <a:pt x="434" y="232"/>
                  <a:pt x="434" y="232"/>
                </a:cubicBezTo>
                <a:cubicBezTo>
                  <a:pt x="435" y="231"/>
                  <a:pt x="435" y="231"/>
                  <a:pt x="435" y="231"/>
                </a:cubicBezTo>
                <a:cubicBezTo>
                  <a:pt x="436" y="231"/>
                  <a:pt x="436" y="231"/>
                  <a:pt x="436" y="231"/>
                </a:cubicBezTo>
                <a:cubicBezTo>
                  <a:pt x="436" y="230"/>
                  <a:pt x="436" y="230"/>
                  <a:pt x="436" y="230"/>
                </a:cubicBezTo>
                <a:cubicBezTo>
                  <a:pt x="435" y="230"/>
                  <a:pt x="435" y="230"/>
                  <a:pt x="435" y="230"/>
                </a:cubicBezTo>
                <a:cubicBezTo>
                  <a:pt x="436" y="229"/>
                  <a:pt x="436" y="229"/>
                  <a:pt x="436" y="229"/>
                </a:cubicBezTo>
                <a:cubicBezTo>
                  <a:pt x="436" y="228"/>
                  <a:pt x="436" y="228"/>
                  <a:pt x="436" y="228"/>
                </a:cubicBezTo>
                <a:cubicBezTo>
                  <a:pt x="437" y="228"/>
                  <a:pt x="437" y="228"/>
                  <a:pt x="437" y="228"/>
                </a:cubicBezTo>
                <a:cubicBezTo>
                  <a:pt x="437" y="228"/>
                  <a:pt x="437" y="228"/>
                  <a:pt x="437" y="228"/>
                </a:cubicBezTo>
                <a:cubicBezTo>
                  <a:pt x="438" y="228"/>
                  <a:pt x="438" y="228"/>
                  <a:pt x="438" y="228"/>
                </a:cubicBezTo>
                <a:cubicBezTo>
                  <a:pt x="438" y="229"/>
                  <a:pt x="438" y="229"/>
                  <a:pt x="438" y="229"/>
                </a:cubicBezTo>
                <a:cubicBezTo>
                  <a:pt x="439" y="232"/>
                  <a:pt x="439" y="232"/>
                  <a:pt x="439" y="232"/>
                </a:cubicBezTo>
                <a:cubicBezTo>
                  <a:pt x="439" y="233"/>
                  <a:pt x="439" y="233"/>
                  <a:pt x="439" y="233"/>
                </a:cubicBezTo>
                <a:cubicBezTo>
                  <a:pt x="440" y="234"/>
                  <a:pt x="440" y="234"/>
                  <a:pt x="440" y="234"/>
                </a:cubicBezTo>
                <a:cubicBezTo>
                  <a:pt x="440" y="235"/>
                  <a:pt x="440" y="235"/>
                  <a:pt x="440" y="235"/>
                </a:cubicBezTo>
                <a:cubicBezTo>
                  <a:pt x="439" y="236"/>
                  <a:pt x="439" y="236"/>
                  <a:pt x="439" y="236"/>
                </a:cubicBezTo>
                <a:cubicBezTo>
                  <a:pt x="438" y="236"/>
                  <a:pt x="438" y="236"/>
                  <a:pt x="438" y="236"/>
                </a:cubicBezTo>
                <a:cubicBezTo>
                  <a:pt x="437" y="235"/>
                  <a:pt x="437" y="235"/>
                  <a:pt x="437" y="235"/>
                </a:cubicBezTo>
                <a:cubicBezTo>
                  <a:pt x="435" y="235"/>
                  <a:pt x="435" y="235"/>
                  <a:pt x="435" y="235"/>
                </a:cubicBezTo>
                <a:cubicBezTo>
                  <a:pt x="434" y="236"/>
                  <a:pt x="434" y="236"/>
                  <a:pt x="434" y="236"/>
                </a:cubicBezTo>
                <a:cubicBezTo>
                  <a:pt x="434" y="236"/>
                  <a:pt x="434" y="236"/>
                  <a:pt x="434" y="236"/>
                </a:cubicBezTo>
                <a:cubicBezTo>
                  <a:pt x="433" y="236"/>
                  <a:pt x="433" y="236"/>
                  <a:pt x="433" y="236"/>
                </a:cubicBezTo>
                <a:cubicBezTo>
                  <a:pt x="432" y="236"/>
                  <a:pt x="432" y="236"/>
                  <a:pt x="432" y="236"/>
                </a:cubicBezTo>
                <a:cubicBezTo>
                  <a:pt x="431" y="236"/>
                  <a:pt x="431" y="236"/>
                  <a:pt x="431" y="236"/>
                </a:cubicBezTo>
                <a:cubicBezTo>
                  <a:pt x="431" y="237"/>
                  <a:pt x="431" y="237"/>
                  <a:pt x="431" y="237"/>
                </a:cubicBezTo>
                <a:cubicBezTo>
                  <a:pt x="429" y="237"/>
                  <a:pt x="429" y="237"/>
                  <a:pt x="429" y="237"/>
                </a:cubicBezTo>
                <a:cubicBezTo>
                  <a:pt x="430" y="238"/>
                  <a:pt x="430" y="238"/>
                  <a:pt x="430" y="238"/>
                </a:cubicBezTo>
                <a:cubicBezTo>
                  <a:pt x="432" y="237"/>
                  <a:pt x="432" y="237"/>
                  <a:pt x="432" y="237"/>
                </a:cubicBezTo>
                <a:cubicBezTo>
                  <a:pt x="433" y="238"/>
                  <a:pt x="433" y="238"/>
                  <a:pt x="433" y="238"/>
                </a:cubicBezTo>
                <a:cubicBezTo>
                  <a:pt x="435" y="239"/>
                  <a:pt x="435" y="239"/>
                  <a:pt x="435" y="239"/>
                </a:cubicBezTo>
                <a:cubicBezTo>
                  <a:pt x="435" y="240"/>
                  <a:pt x="435" y="240"/>
                  <a:pt x="435" y="240"/>
                </a:cubicBezTo>
                <a:cubicBezTo>
                  <a:pt x="436" y="239"/>
                  <a:pt x="436" y="239"/>
                  <a:pt x="436" y="239"/>
                </a:cubicBezTo>
                <a:cubicBezTo>
                  <a:pt x="437" y="239"/>
                  <a:pt x="437" y="239"/>
                  <a:pt x="437" y="239"/>
                </a:cubicBezTo>
                <a:cubicBezTo>
                  <a:pt x="437" y="240"/>
                  <a:pt x="437" y="240"/>
                  <a:pt x="437" y="240"/>
                </a:cubicBezTo>
                <a:cubicBezTo>
                  <a:pt x="438" y="240"/>
                  <a:pt x="438" y="240"/>
                  <a:pt x="438" y="240"/>
                </a:cubicBezTo>
                <a:cubicBezTo>
                  <a:pt x="440" y="241"/>
                  <a:pt x="440" y="241"/>
                  <a:pt x="440" y="241"/>
                </a:cubicBezTo>
                <a:cubicBezTo>
                  <a:pt x="440" y="242"/>
                  <a:pt x="440" y="242"/>
                  <a:pt x="440" y="242"/>
                </a:cubicBezTo>
                <a:cubicBezTo>
                  <a:pt x="440" y="243"/>
                  <a:pt x="440" y="243"/>
                  <a:pt x="440" y="243"/>
                </a:cubicBezTo>
                <a:cubicBezTo>
                  <a:pt x="440" y="244"/>
                  <a:pt x="440" y="244"/>
                  <a:pt x="440" y="244"/>
                </a:cubicBezTo>
                <a:cubicBezTo>
                  <a:pt x="440" y="244"/>
                  <a:pt x="440" y="244"/>
                  <a:pt x="440" y="244"/>
                </a:cubicBezTo>
                <a:cubicBezTo>
                  <a:pt x="439" y="244"/>
                  <a:pt x="439" y="244"/>
                  <a:pt x="439" y="244"/>
                </a:cubicBezTo>
                <a:cubicBezTo>
                  <a:pt x="438" y="243"/>
                  <a:pt x="438" y="243"/>
                  <a:pt x="438" y="243"/>
                </a:cubicBezTo>
                <a:cubicBezTo>
                  <a:pt x="438" y="243"/>
                  <a:pt x="438" y="243"/>
                  <a:pt x="438" y="243"/>
                </a:cubicBezTo>
                <a:cubicBezTo>
                  <a:pt x="437" y="244"/>
                  <a:pt x="437" y="244"/>
                  <a:pt x="437" y="244"/>
                </a:cubicBezTo>
                <a:cubicBezTo>
                  <a:pt x="437" y="244"/>
                  <a:pt x="437" y="244"/>
                  <a:pt x="437" y="244"/>
                </a:cubicBezTo>
                <a:cubicBezTo>
                  <a:pt x="436" y="243"/>
                  <a:pt x="436" y="243"/>
                  <a:pt x="436" y="243"/>
                </a:cubicBezTo>
                <a:cubicBezTo>
                  <a:pt x="436" y="243"/>
                  <a:pt x="436" y="243"/>
                  <a:pt x="436" y="243"/>
                </a:cubicBezTo>
                <a:cubicBezTo>
                  <a:pt x="435" y="243"/>
                  <a:pt x="435" y="243"/>
                  <a:pt x="435" y="243"/>
                </a:cubicBezTo>
                <a:cubicBezTo>
                  <a:pt x="434" y="242"/>
                  <a:pt x="434" y="242"/>
                  <a:pt x="434" y="242"/>
                </a:cubicBezTo>
                <a:cubicBezTo>
                  <a:pt x="433" y="241"/>
                  <a:pt x="433" y="241"/>
                  <a:pt x="433" y="241"/>
                </a:cubicBezTo>
                <a:cubicBezTo>
                  <a:pt x="432" y="241"/>
                  <a:pt x="432" y="241"/>
                  <a:pt x="432" y="241"/>
                </a:cubicBezTo>
                <a:cubicBezTo>
                  <a:pt x="431" y="242"/>
                  <a:pt x="431" y="242"/>
                  <a:pt x="431" y="242"/>
                </a:cubicBezTo>
                <a:cubicBezTo>
                  <a:pt x="430" y="241"/>
                  <a:pt x="430" y="241"/>
                  <a:pt x="430" y="241"/>
                </a:cubicBezTo>
                <a:cubicBezTo>
                  <a:pt x="431" y="242"/>
                  <a:pt x="431" y="242"/>
                  <a:pt x="431" y="242"/>
                </a:cubicBezTo>
                <a:cubicBezTo>
                  <a:pt x="432" y="242"/>
                  <a:pt x="432" y="242"/>
                  <a:pt x="432" y="242"/>
                </a:cubicBezTo>
                <a:cubicBezTo>
                  <a:pt x="433" y="242"/>
                  <a:pt x="433" y="242"/>
                  <a:pt x="433" y="242"/>
                </a:cubicBezTo>
                <a:cubicBezTo>
                  <a:pt x="432" y="243"/>
                  <a:pt x="432" y="243"/>
                  <a:pt x="432" y="243"/>
                </a:cubicBezTo>
                <a:cubicBezTo>
                  <a:pt x="431" y="243"/>
                  <a:pt x="431" y="243"/>
                  <a:pt x="431" y="243"/>
                </a:cubicBezTo>
                <a:cubicBezTo>
                  <a:pt x="430" y="243"/>
                  <a:pt x="430" y="243"/>
                  <a:pt x="430" y="243"/>
                </a:cubicBezTo>
                <a:cubicBezTo>
                  <a:pt x="429" y="243"/>
                  <a:pt x="429" y="243"/>
                  <a:pt x="429" y="243"/>
                </a:cubicBezTo>
                <a:cubicBezTo>
                  <a:pt x="428" y="244"/>
                  <a:pt x="428" y="244"/>
                  <a:pt x="428" y="244"/>
                </a:cubicBezTo>
                <a:cubicBezTo>
                  <a:pt x="428" y="245"/>
                  <a:pt x="428" y="245"/>
                  <a:pt x="428" y="245"/>
                </a:cubicBezTo>
                <a:cubicBezTo>
                  <a:pt x="429" y="245"/>
                  <a:pt x="429" y="245"/>
                  <a:pt x="429" y="245"/>
                </a:cubicBezTo>
                <a:cubicBezTo>
                  <a:pt x="429" y="244"/>
                  <a:pt x="429" y="244"/>
                  <a:pt x="429" y="244"/>
                </a:cubicBezTo>
                <a:cubicBezTo>
                  <a:pt x="431" y="244"/>
                  <a:pt x="431" y="244"/>
                  <a:pt x="431" y="244"/>
                </a:cubicBezTo>
                <a:cubicBezTo>
                  <a:pt x="432" y="243"/>
                  <a:pt x="432" y="243"/>
                  <a:pt x="432" y="243"/>
                </a:cubicBezTo>
                <a:cubicBezTo>
                  <a:pt x="432" y="243"/>
                  <a:pt x="432" y="243"/>
                  <a:pt x="432" y="243"/>
                </a:cubicBezTo>
                <a:cubicBezTo>
                  <a:pt x="433" y="244"/>
                  <a:pt x="433" y="244"/>
                  <a:pt x="433" y="244"/>
                </a:cubicBezTo>
                <a:cubicBezTo>
                  <a:pt x="433" y="245"/>
                  <a:pt x="433" y="245"/>
                  <a:pt x="433" y="245"/>
                </a:cubicBezTo>
                <a:cubicBezTo>
                  <a:pt x="434" y="245"/>
                  <a:pt x="434" y="245"/>
                  <a:pt x="434" y="245"/>
                </a:cubicBezTo>
                <a:cubicBezTo>
                  <a:pt x="434" y="245"/>
                  <a:pt x="434" y="245"/>
                  <a:pt x="434" y="245"/>
                </a:cubicBezTo>
                <a:cubicBezTo>
                  <a:pt x="434" y="246"/>
                  <a:pt x="434" y="246"/>
                  <a:pt x="434" y="246"/>
                </a:cubicBezTo>
                <a:cubicBezTo>
                  <a:pt x="433" y="246"/>
                  <a:pt x="433" y="246"/>
                  <a:pt x="433" y="246"/>
                </a:cubicBezTo>
                <a:cubicBezTo>
                  <a:pt x="432" y="246"/>
                  <a:pt x="432" y="246"/>
                  <a:pt x="432" y="246"/>
                </a:cubicBezTo>
                <a:cubicBezTo>
                  <a:pt x="431" y="246"/>
                  <a:pt x="431" y="246"/>
                  <a:pt x="431" y="246"/>
                </a:cubicBezTo>
                <a:cubicBezTo>
                  <a:pt x="431" y="245"/>
                  <a:pt x="431" y="245"/>
                  <a:pt x="431" y="245"/>
                </a:cubicBezTo>
                <a:cubicBezTo>
                  <a:pt x="430" y="245"/>
                  <a:pt x="430" y="245"/>
                  <a:pt x="430" y="245"/>
                </a:cubicBezTo>
                <a:cubicBezTo>
                  <a:pt x="430" y="246"/>
                  <a:pt x="430" y="246"/>
                  <a:pt x="430" y="246"/>
                </a:cubicBezTo>
                <a:cubicBezTo>
                  <a:pt x="431" y="246"/>
                  <a:pt x="431" y="246"/>
                  <a:pt x="431" y="246"/>
                </a:cubicBezTo>
                <a:cubicBezTo>
                  <a:pt x="432" y="247"/>
                  <a:pt x="432" y="247"/>
                  <a:pt x="432" y="247"/>
                </a:cubicBezTo>
                <a:cubicBezTo>
                  <a:pt x="432" y="247"/>
                  <a:pt x="432" y="247"/>
                  <a:pt x="432" y="247"/>
                </a:cubicBezTo>
                <a:cubicBezTo>
                  <a:pt x="432" y="248"/>
                  <a:pt x="432" y="248"/>
                  <a:pt x="432" y="248"/>
                </a:cubicBezTo>
                <a:cubicBezTo>
                  <a:pt x="433" y="248"/>
                  <a:pt x="433" y="248"/>
                  <a:pt x="433" y="248"/>
                </a:cubicBezTo>
                <a:cubicBezTo>
                  <a:pt x="432" y="249"/>
                  <a:pt x="432" y="249"/>
                  <a:pt x="432" y="249"/>
                </a:cubicBezTo>
                <a:cubicBezTo>
                  <a:pt x="430" y="248"/>
                  <a:pt x="430" y="248"/>
                  <a:pt x="430" y="248"/>
                </a:cubicBezTo>
                <a:cubicBezTo>
                  <a:pt x="428" y="248"/>
                  <a:pt x="428" y="248"/>
                  <a:pt x="428" y="248"/>
                </a:cubicBezTo>
                <a:cubicBezTo>
                  <a:pt x="426" y="247"/>
                  <a:pt x="426" y="247"/>
                  <a:pt x="426" y="247"/>
                </a:cubicBezTo>
                <a:cubicBezTo>
                  <a:pt x="425" y="247"/>
                  <a:pt x="425" y="247"/>
                  <a:pt x="425" y="247"/>
                </a:cubicBezTo>
                <a:cubicBezTo>
                  <a:pt x="425" y="247"/>
                  <a:pt x="425" y="247"/>
                  <a:pt x="425" y="247"/>
                </a:cubicBezTo>
                <a:cubicBezTo>
                  <a:pt x="427" y="248"/>
                  <a:pt x="427" y="248"/>
                  <a:pt x="427" y="248"/>
                </a:cubicBezTo>
                <a:cubicBezTo>
                  <a:pt x="430" y="249"/>
                  <a:pt x="430" y="249"/>
                  <a:pt x="430" y="249"/>
                </a:cubicBezTo>
                <a:cubicBezTo>
                  <a:pt x="430" y="250"/>
                  <a:pt x="430" y="250"/>
                  <a:pt x="430" y="250"/>
                </a:cubicBezTo>
                <a:cubicBezTo>
                  <a:pt x="430" y="250"/>
                  <a:pt x="430" y="250"/>
                  <a:pt x="430" y="250"/>
                </a:cubicBezTo>
                <a:cubicBezTo>
                  <a:pt x="428" y="249"/>
                  <a:pt x="428" y="249"/>
                  <a:pt x="428" y="249"/>
                </a:cubicBezTo>
                <a:cubicBezTo>
                  <a:pt x="427" y="249"/>
                  <a:pt x="427" y="249"/>
                  <a:pt x="427" y="249"/>
                </a:cubicBezTo>
                <a:cubicBezTo>
                  <a:pt x="426" y="250"/>
                  <a:pt x="426" y="250"/>
                  <a:pt x="426" y="250"/>
                </a:cubicBezTo>
                <a:cubicBezTo>
                  <a:pt x="427" y="250"/>
                  <a:pt x="427" y="250"/>
                  <a:pt x="427" y="250"/>
                </a:cubicBezTo>
                <a:cubicBezTo>
                  <a:pt x="428" y="250"/>
                  <a:pt x="428" y="250"/>
                  <a:pt x="428" y="250"/>
                </a:cubicBezTo>
                <a:cubicBezTo>
                  <a:pt x="428" y="251"/>
                  <a:pt x="428" y="251"/>
                  <a:pt x="428" y="251"/>
                </a:cubicBezTo>
                <a:cubicBezTo>
                  <a:pt x="429" y="251"/>
                  <a:pt x="429" y="251"/>
                  <a:pt x="429" y="251"/>
                </a:cubicBezTo>
                <a:cubicBezTo>
                  <a:pt x="429" y="251"/>
                  <a:pt x="429" y="251"/>
                  <a:pt x="429" y="251"/>
                </a:cubicBezTo>
                <a:cubicBezTo>
                  <a:pt x="429" y="252"/>
                  <a:pt x="429" y="252"/>
                  <a:pt x="429" y="252"/>
                </a:cubicBezTo>
                <a:cubicBezTo>
                  <a:pt x="430" y="253"/>
                  <a:pt x="430" y="253"/>
                  <a:pt x="430" y="253"/>
                </a:cubicBezTo>
                <a:cubicBezTo>
                  <a:pt x="430" y="252"/>
                  <a:pt x="430" y="252"/>
                  <a:pt x="430" y="252"/>
                </a:cubicBezTo>
                <a:cubicBezTo>
                  <a:pt x="430" y="252"/>
                  <a:pt x="430" y="252"/>
                  <a:pt x="430" y="252"/>
                </a:cubicBezTo>
                <a:cubicBezTo>
                  <a:pt x="431" y="252"/>
                  <a:pt x="431" y="252"/>
                  <a:pt x="431" y="252"/>
                </a:cubicBezTo>
                <a:cubicBezTo>
                  <a:pt x="431" y="252"/>
                  <a:pt x="431" y="252"/>
                  <a:pt x="431" y="252"/>
                </a:cubicBezTo>
                <a:cubicBezTo>
                  <a:pt x="431" y="253"/>
                  <a:pt x="431" y="253"/>
                  <a:pt x="431" y="253"/>
                </a:cubicBezTo>
                <a:cubicBezTo>
                  <a:pt x="431" y="253"/>
                  <a:pt x="431" y="253"/>
                  <a:pt x="431" y="253"/>
                </a:cubicBezTo>
                <a:cubicBezTo>
                  <a:pt x="432" y="253"/>
                  <a:pt x="432" y="253"/>
                  <a:pt x="432" y="253"/>
                </a:cubicBezTo>
                <a:cubicBezTo>
                  <a:pt x="432" y="252"/>
                  <a:pt x="432" y="252"/>
                  <a:pt x="432" y="252"/>
                </a:cubicBezTo>
                <a:cubicBezTo>
                  <a:pt x="433" y="252"/>
                  <a:pt x="433" y="252"/>
                  <a:pt x="433" y="252"/>
                </a:cubicBezTo>
                <a:cubicBezTo>
                  <a:pt x="434" y="253"/>
                  <a:pt x="434" y="253"/>
                  <a:pt x="434" y="253"/>
                </a:cubicBezTo>
                <a:cubicBezTo>
                  <a:pt x="435" y="253"/>
                  <a:pt x="435" y="253"/>
                  <a:pt x="435" y="253"/>
                </a:cubicBezTo>
                <a:cubicBezTo>
                  <a:pt x="436" y="253"/>
                  <a:pt x="436" y="253"/>
                  <a:pt x="436" y="253"/>
                </a:cubicBezTo>
                <a:cubicBezTo>
                  <a:pt x="435" y="254"/>
                  <a:pt x="435" y="254"/>
                  <a:pt x="435" y="254"/>
                </a:cubicBezTo>
                <a:cubicBezTo>
                  <a:pt x="435" y="255"/>
                  <a:pt x="435" y="255"/>
                  <a:pt x="435" y="255"/>
                </a:cubicBezTo>
                <a:cubicBezTo>
                  <a:pt x="434" y="254"/>
                  <a:pt x="434" y="254"/>
                  <a:pt x="434" y="254"/>
                </a:cubicBezTo>
                <a:cubicBezTo>
                  <a:pt x="434" y="254"/>
                  <a:pt x="434" y="254"/>
                  <a:pt x="434" y="254"/>
                </a:cubicBezTo>
                <a:cubicBezTo>
                  <a:pt x="432" y="254"/>
                  <a:pt x="432" y="254"/>
                  <a:pt x="432" y="254"/>
                </a:cubicBezTo>
                <a:cubicBezTo>
                  <a:pt x="430" y="255"/>
                  <a:pt x="430" y="255"/>
                  <a:pt x="430" y="255"/>
                </a:cubicBezTo>
                <a:cubicBezTo>
                  <a:pt x="430" y="256"/>
                  <a:pt x="430" y="256"/>
                  <a:pt x="430" y="256"/>
                </a:cubicBezTo>
                <a:cubicBezTo>
                  <a:pt x="431" y="255"/>
                  <a:pt x="431" y="255"/>
                  <a:pt x="431" y="255"/>
                </a:cubicBezTo>
                <a:cubicBezTo>
                  <a:pt x="432" y="255"/>
                  <a:pt x="432" y="255"/>
                  <a:pt x="432" y="255"/>
                </a:cubicBezTo>
                <a:cubicBezTo>
                  <a:pt x="434" y="255"/>
                  <a:pt x="434" y="255"/>
                  <a:pt x="434" y="255"/>
                </a:cubicBezTo>
                <a:cubicBezTo>
                  <a:pt x="433" y="255"/>
                  <a:pt x="433" y="255"/>
                  <a:pt x="433" y="255"/>
                </a:cubicBezTo>
                <a:cubicBezTo>
                  <a:pt x="432" y="256"/>
                  <a:pt x="432" y="256"/>
                  <a:pt x="432" y="256"/>
                </a:cubicBezTo>
                <a:cubicBezTo>
                  <a:pt x="433" y="256"/>
                  <a:pt x="433" y="256"/>
                  <a:pt x="433" y="256"/>
                </a:cubicBezTo>
                <a:cubicBezTo>
                  <a:pt x="435" y="256"/>
                  <a:pt x="435" y="256"/>
                  <a:pt x="435" y="256"/>
                </a:cubicBezTo>
                <a:cubicBezTo>
                  <a:pt x="435" y="256"/>
                  <a:pt x="435" y="256"/>
                  <a:pt x="435" y="256"/>
                </a:cubicBezTo>
                <a:cubicBezTo>
                  <a:pt x="435" y="257"/>
                  <a:pt x="435" y="257"/>
                  <a:pt x="435" y="257"/>
                </a:cubicBezTo>
                <a:cubicBezTo>
                  <a:pt x="436" y="257"/>
                  <a:pt x="436" y="257"/>
                  <a:pt x="436" y="257"/>
                </a:cubicBezTo>
                <a:cubicBezTo>
                  <a:pt x="436" y="258"/>
                  <a:pt x="436" y="258"/>
                  <a:pt x="436" y="258"/>
                </a:cubicBezTo>
                <a:cubicBezTo>
                  <a:pt x="436" y="259"/>
                  <a:pt x="436" y="259"/>
                  <a:pt x="436" y="259"/>
                </a:cubicBezTo>
                <a:cubicBezTo>
                  <a:pt x="435" y="260"/>
                  <a:pt x="435" y="260"/>
                  <a:pt x="435" y="260"/>
                </a:cubicBezTo>
                <a:cubicBezTo>
                  <a:pt x="435" y="261"/>
                  <a:pt x="435" y="261"/>
                  <a:pt x="435" y="261"/>
                </a:cubicBezTo>
                <a:cubicBezTo>
                  <a:pt x="436" y="260"/>
                  <a:pt x="436" y="260"/>
                  <a:pt x="436" y="260"/>
                </a:cubicBezTo>
                <a:cubicBezTo>
                  <a:pt x="436" y="260"/>
                  <a:pt x="436" y="260"/>
                  <a:pt x="436" y="260"/>
                </a:cubicBezTo>
                <a:cubicBezTo>
                  <a:pt x="437" y="259"/>
                  <a:pt x="437" y="259"/>
                  <a:pt x="437" y="259"/>
                </a:cubicBezTo>
                <a:cubicBezTo>
                  <a:pt x="438" y="259"/>
                  <a:pt x="438" y="259"/>
                  <a:pt x="438" y="259"/>
                </a:cubicBezTo>
                <a:cubicBezTo>
                  <a:pt x="438" y="260"/>
                  <a:pt x="438" y="260"/>
                  <a:pt x="438" y="260"/>
                </a:cubicBezTo>
                <a:cubicBezTo>
                  <a:pt x="437" y="260"/>
                  <a:pt x="437" y="260"/>
                  <a:pt x="437" y="260"/>
                </a:cubicBezTo>
                <a:cubicBezTo>
                  <a:pt x="436" y="262"/>
                  <a:pt x="436" y="262"/>
                  <a:pt x="436" y="262"/>
                </a:cubicBezTo>
                <a:cubicBezTo>
                  <a:pt x="436" y="263"/>
                  <a:pt x="436" y="263"/>
                  <a:pt x="436" y="263"/>
                </a:cubicBezTo>
                <a:cubicBezTo>
                  <a:pt x="436" y="264"/>
                  <a:pt x="436" y="264"/>
                  <a:pt x="436" y="264"/>
                </a:cubicBezTo>
                <a:cubicBezTo>
                  <a:pt x="436" y="264"/>
                  <a:pt x="436" y="264"/>
                  <a:pt x="436" y="264"/>
                </a:cubicBezTo>
                <a:cubicBezTo>
                  <a:pt x="437" y="262"/>
                  <a:pt x="437" y="262"/>
                  <a:pt x="437" y="262"/>
                </a:cubicBezTo>
                <a:cubicBezTo>
                  <a:pt x="437" y="262"/>
                  <a:pt x="437" y="262"/>
                  <a:pt x="437" y="262"/>
                </a:cubicBezTo>
                <a:cubicBezTo>
                  <a:pt x="438" y="261"/>
                  <a:pt x="438" y="261"/>
                  <a:pt x="438" y="261"/>
                </a:cubicBezTo>
                <a:cubicBezTo>
                  <a:pt x="439" y="260"/>
                  <a:pt x="439" y="260"/>
                  <a:pt x="439" y="260"/>
                </a:cubicBezTo>
                <a:cubicBezTo>
                  <a:pt x="439" y="260"/>
                  <a:pt x="439" y="260"/>
                  <a:pt x="439" y="260"/>
                </a:cubicBezTo>
                <a:cubicBezTo>
                  <a:pt x="439" y="259"/>
                  <a:pt x="439" y="259"/>
                  <a:pt x="439" y="259"/>
                </a:cubicBezTo>
                <a:cubicBezTo>
                  <a:pt x="440" y="259"/>
                  <a:pt x="440" y="259"/>
                  <a:pt x="440" y="259"/>
                </a:cubicBezTo>
                <a:cubicBezTo>
                  <a:pt x="440" y="259"/>
                  <a:pt x="440" y="259"/>
                  <a:pt x="440" y="259"/>
                </a:cubicBezTo>
                <a:cubicBezTo>
                  <a:pt x="440" y="260"/>
                  <a:pt x="440" y="260"/>
                  <a:pt x="440" y="260"/>
                </a:cubicBezTo>
                <a:cubicBezTo>
                  <a:pt x="439" y="261"/>
                  <a:pt x="439" y="261"/>
                  <a:pt x="439" y="261"/>
                </a:cubicBezTo>
                <a:cubicBezTo>
                  <a:pt x="438" y="262"/>
                  <a:pt x="438" y="262"/>
                  <a:pt x="438" y="262"/>
                </a:cubicBezTo>
                <a:cubicBezTo>
                  <a:pt x="438" y="263"/>
                  <a:pt x="438" y="263"/>
                  <a:pt x="438" y="263"/>
                </a:cubicBezTo>
                <a:cubicBezTo>
                  <a:pt x="439" y="264"/>
                  <a:pt x="439" y="264"/>
                  <a:pt x="439" y="264"/>
                </a:cubicBezTo>
                <a:cubicBezTo>
                  <a:pt x="439" y="264"/>
                  <a:pt x="439" y="264"/>
                  <a:pt x="439" y="264"/>
                </a:cubicBezTo>
                <a:cubicBezTo>
                  <a:pt x="439" y="263"/>
                  <a:pt x="439" y="263"/>
                  <a:pt x="439" y="263"/>
                </a:cubicBezTo>
                <a:cubicBezTo>
                  <a:pt x="439" y="262"/>
                  <a:pt x="439" y="262"/>
                  <a:pt x="439" y="262"/>
                </a:cubicBezTo>
                <a:cubicBezTo>
                  <a:pt x="440" y="261"/>
                  <a:pt x="440" y="261"/>
                  <a:pt x="440" y="261"/>
                </a:cubicBezTo>
                <a:cubicBezTo>
                  <a:pt x="441" y="261"/>
                  <a:pt x="441" y="261"/>
                  <a:pt x="441" y="261"/>
                </a:cubicBezTo>
                <a:cubicBezTo>
                  <a:pt x="442" y="259"/>
                  <a:pt x="442" y="259"/>
                  <a:pt x="442" y="259"/>
                </a:cubicBezTo>
                <a:cubicBezTo>
                  <a:pt x="443" y="259"/>
                  <a:pt x="443" y="259"/>
                  <a:pt x="443" y="259"/>
                </a:cubicBezTo>
                <a:cubicBezTo>
                  <a:pt x="443" y="259"/>
                  <a:pt x="443" y="259"/>
                  <a:pt x="443" y="259"/>
                </a:cubicBezTo>
                <a:cubicBezTo>
                  <a:pt x="443" y="260"/>
                  <a:pt x="443" y="260"/>
                  <a:pt x="443" y="260"/>
                </a:cubicBezTo>
                <a:cubicBezTo>
                  <a:pt x="443" y="261"/>
                  <a:pt x="443" y="261"/>
                  <a:pt x="443" y="261"/>
                </a:cubicBezTo>
                <a:cubicBezTo>
                  <a:pt x="441" y="261"/>
                  <a:pt x="441" y="261"/>
                  <a:pt x="441" y="261"/>
                </a:cubicBezTo>
                <a:cubicBezTo>
                  <a:pt x="441" y="262"/>
                  <a:pt x="441" y="262"/>
                  <a:pt x="441" y="262"/>
                </a:cubicBezTo>
                <a:cubicBezTo>
                  <a:pt x="441" y="263"/>
                  <a:pt x="441" y="263"/>
                  <a:pt x="441" y="263"/>
                </a:cubicBezTo>
                <a:cubicBezTo>
                  <a:pt x="441" y="264"/>
                  <a:pt x="441" y="264"/>
                  <a:pt x="441" y="264"/>
                </a:cubicBezTo>
                <a:cubicBezTo>
                  <a:pt x="441" y="263"/>
                  <a:pt x="441" y="263"/>
                  <a:pt x="441" y="263"/>
                </a:cubicBezTo>
                <a:cubicBezTo>
                  <a:pt x="442" y="264"/>
                  <a:pt x="442" y="264"/>
                  <a:pt x="442" y="264"/>
                </a:cubicBezTo>
                <a:cubicBezTo>
                  <a:pt x="443" y="263"/>
                  <a:pt x="443" y="263"/>
                  <a:pt x="443" y="263"/>
                </a:cubicBezTo>
                <a:cubicBezTo>
                  <a:pt x="444" y="263"/>
                  <a:pt x="444" y="263"/>
                  <a:pt x="444" y="263"/>
                </a:cubicBezTo>
                <a:cubicBezTo>
                  <a:pt x="444" y="263"/>
                  <a:pt x="444" y="263"/>
                  <a:pt x="444" y="263"/>
                </a:cubicBezTo>
                <a:cubicBezTo>
                  <a:pt x="445" y="265"/>
                  <a:pt x="445" y="265"/>
                  <a:pt x="445" y="265"/>
                </a:cubicBezTo>
                <a:cubicBezTo>
                  <a:pt x="445" y="265"/>
                  <a:pt x="445" y="265"/>
                  <a:pt x="445" y="265"/>
                </a:cubicBezTo>
                <a:cubicBezTo>
                  <a:pt x="444" y="266"/>
                  <a:pt x="444" y="266"/>
                  <a:pt x="444" y="266"/>
                </a:cubicBezTo>
                <a:cubicBezTo>
                  <a:pt x="444" y="266"/>
                  <a:pt x="444" y="266"/>
                  <a:pt x="444" y="266"/>
                </a:cubicBezTo>
                <a:cubicBezTo>
                  <a:pt x="444" y="266"/>
                  <a:pt x="444" y="266"/>
                  <a:pt x="444" y="266"/>
                </a:cubicBezTo>
                <a:cubicBezTo>
                  <a:pt x="445" y="267"/>
                  <a:pt x="445" y="267"/>
                  <a:pt x="445" y="267"/>
                </a:cubicBezTo>
                <a:cubicBezTo>
                  <a:pt x="444" y="268"/>
                  <a:pt x="444" y="268"/>
                  <a:pt x="444" y="268"/>
                </a:cubicBezTo>
                <a:cubicBezTo>
                  <a:pt x="443" y="268"/>
                  <a:pt x="443" y="268"/>
                  <a:pt x="443" y="268"/>
                </a:cubicBezTo>
                <a:cubicBezTo>
                  <a:pt x="444" y="268"/>
                  <a:pt x="444" y="268"/>
                  <a:pt x="444" y="268"/>
                </a:cubicBezTo>
                <a:cubicBezTo>
                  <a:pt x="445" y="269"/>
                  <a:pt x="445" y="269"/>
                  <a:pt x="445" y="269"/>
                </a:cubicBezTo>
                <a:cubicBezTo>
                  <a:pt x="443" y="269"/>
                  <a:pt x="443" y="269"/>
                  <a:pt x="443" y="269"/>
                </a:cubicBezTo>
                <a:cubicBezTo>
                  <a:pt x="442" y="269"/>
                  <a:pt x="442" y="269"/>
                  <a:pt x="442" y="269"/>
                </a:cubicBezTo>
                <a:cubicBezTo>
                  <a:pt x="442" y="270"/>
                  <a:pt x="442" y="270"/>
                  <a:pt x="442" y="270"/>
                </a:cubicBezTo>
                <a:cubicBezTo>
                  <a:pt x="443" y="269"/>
                  <a:pt x="443" y="269"/>
                  <a:pt x="443" y="269"/>
                </a:cubicBezTo>
                <a:cubicBezTo>
                  <a:pt x="445" y="270"/>
                  <a:pt x="445" y="270"/>
                  <a:pt x="445" y="270"/>
                </a:cubicBezTo>
                <a:cubicBezTo>
                  <a:pt x="445" y="269"/>
                  <a:pt x="445" y="269"/>
                  <a:pt x="445" y="269"/>
                </a:cubicBezTo>
                <a:cubicBezTo>
                  <a:pt x="447" y="269"/>
                  <a:pt x="447" y="269"/>
                  <a:pt x="447" y="269"/>
                </a:cubicBezTo>
                <a:cubicBezTo>
                  <a:pt x="447" y="269"/>
                  <a:pt x="447" y="269"/>
                  <a:pt x="447" y="269"/>
                </a:cubicBezTo>
                <a:cubicBezTo>
                  <a:pt x="446" y="270"/>
                  <a:pt x="446" y="270"/>
                  <a:pt x="446" y="270"/>
                </a:cubicBezTo>
                <a:cubicBezTo>
                  <a:pt x="445" y="272"/>
                  <a:pt x="445" y="272"/>
                  <a:pt x="445" y="272"/>
                </a:cubicBezTo>
                <a:cubicBezTo>
                  <a:pt x="447" y="271"/>
                  <a:pt x="447" y="271"/>
                  <a:pt x="447" y="271"/>
                </a:cubicBezTo>
                <a:cubicBezTo>
                  <a:pt x="447" y="270"/>
                  <a:pt x="447" y="270"/>
                  <a:pt x="447" y="270"/>
                </a:cubicBezTo>
                <a:cubicBezTo>
                  <a:pt x="448" y="269"/>
                  <a:pt x="448" y="269"/>
                  <a:pt x="448" y="269"/>
                </a:cubicBezTo>
                <a:cubicBezTo>
                  <a:pt x="449" y="269"/>
                  <a:pt x="449" y="269"/>
                  <a:pt x="449" y="269"/>
                </a:cubicBezTo>
                <a:cubicBezTo>
                  <a:pt x="450" y="269"/>
                  <a:pt x="450" y="269"/>
                  <a:pt x="450" y="269"/>
                </a:cubicBezTo>
                <a:cubicBezTo>
                  <a:pt x="450" y="269"/>
                  <a:pt x="450" y="269"/>
                  <a:pt x="450" y="269"/>
                </a:cubicBezTo>
                <a:cubicBezTo>
                  <a:pt x="449" y="270"/>
                  <a:pt x="449" y="270"/>
                  <a:pt x="449" y="270"/>
                </a:cubicBezTo>
                <a:cubicBezTo>
                  <a:pt x="449" y="270"/>
                  <a:pt x="449" y="270"/>
                  <a:pt x="449" y="270"/>
                </a:cubicBezTo>
                <a:cubicBezTo>
                  <a:pt x="448" y="271"/>
                  <a:pt x="448" y="271"/>
                  <a:pt x="448" y="271"/>
                </a:cubicBezTo>
                <a:cubicBezTo>
                  <a:pt x="448" y="272"/>
                  <a:pt x="448" y="272"/>
                  <a:pt x="448" y="272"/>
                </a:cubicBezTo>
                <a:cubicBezTo>
                  <a:pt x="446" y="273"/>
                  <a:pt x="446" y="273"/>
                  <a:pt x="446" y="273"/>
                </a:cubicBezTo>
                <a:cubicBezTo>
                  <a:pt x="446" y="274"/>
                  <a:pt x="446" y="274"/>
                  <a:pt x="446" y="274"/>
                </a:cubicBezTo>
                <a:cubicBezTo>
                  <a:pt x="446" y="275"/>
                  <a:pt x="446" y="275"/>
                  <a:pt x="446" y="275"/>
                </a:cubicBezTo>
                <a:cubicBezTo>
                  <a:pt x="447" y="275"/>
                  <a:pt x="447" y="275"/>
                  <a:pt x="447" y="275"/>
                </a:cubicBezTo>
                <a:cubicBezTo>
                  <a:pt x="447" y="274"/>
                  <a:pt x="447" y="274"/>
                  <a:pt x="447" y="274"/>
                </a:cubicBezTo>
                <a:cubicBezTo>
                  <a:pt x="447" y="273"/>
                  <a:pt x="447" y="273"/>
                  <a:pt x="447" y="273"/>
                </a:cubicBezTo>
                <a:cubicBezTo>
                  <a:pt x="449" y="272"/>
                  <a:pt x="449" y="272"/>
                  <a:pt x="449" y="272"/>
                </a:cubicBezTo>
                <a:cubicBezTo>
                  <a:pt x="450" y="272"/>
                  <a:pt x="450" y="272"/>
                  <a:pt x="450" y="272"/>
                </a:cubicBezTo>
                <a:cubicBezTo>
                  <a:pt x="450" y="272"/>
                  <a:pt x="450" y="272"/>
                  <a:pt x="450" y="272"/>
                </a:cubicBezTo>
                <a:cubicBezTo>
                  <a:pt x="449" y="274"/>
                  <a:pt x="449" y="274"/>
                  <a:pt x="449" y="274"/>
                </a:cubicBezTo>
                <a:cubicBezTo>
                  <a:pt x="449" y="275"/>
                  <a:pt x="449" y="275"/>
                  <a:pt x="449" y="275"/>
                </a:cubicBezTo>
                <a:cubicBezTo>
                  <a:pt x="448" y="276"/>
                  <a:pt x="448" y="276"/>
                  <a:pt x="448" y="276"/>
                </a:cubicBezTo>
                <a:cubicBezTo>
                  <a:pt x="449" y="275"/>
                  <a:pt x="449" y="275"/>
                  <a:pt x="449" y="275"/>
                </a:cubicBezTo>
                <a:cubicBezTo>
                  <a:pt x="450" y="274"/>
                  <a:pt x="450" y="274"/>
                  <a:pt x="450" y="274"/>
                </a:cubicBezTo>
                <a:cubicBezTo>
                  <a:pt x="450" y="273"/>
                  <a:pt x="450" y="273"/>
                  <a:pt x="450" y="273"/>
                </a:cubicBezTo>
                <a:cubicBezTo>
                  <a:pt x="450" y="273"/>
                  <a:pt x="450" y="273"/>
                  <a:pt x="450" y="273"/>
                </a:cubicBezTo>
                <a:cubicBezTo>
                  <a:pt x="451" y="273"/>
                  <a:pt x="451" y="273"/>
                  <a:pt x="451" y="273"/>
                </a:cubicBezTo>
                <a:cubicBezTo>
                  <a:pt x="451" y="275"/>
                  <a:pt x="451" y="275"/>
                  <a:pt x="451" y="275"/>
                </a:cubicBezTo>
                <a:cubicBezTo>
                  <a:pt x="452" y="275"/>
                  <a:pt x="452" y="275"/>
                  <a:pt x="452" y="275"/>
                </a:cubicBezTo>
                <a:cubicBezTo>
                  <a:pt x="452" y="275"/>
                  <a:pt x="452" y="275"/>
                  <a:pt x="452" y="275"/>
                </a:cubicBezTo>
                <a:cubicBezTo>
                  <a:pt x="452" y="274"/>
                  <a:pt x="452" y="274"/>
                  <a:pt x="452" y="274"/>
                </a:cubicBezTo>
                <a:cubicBezTo>
                  <a:pt x="452" y="273"/>
                  <a:pt x="452" y="273"/>
                  <a:pt x="452" y="273"/>
                </a:cubicBezTo>
                <a:cubicBezTo>
                  <a:pt x="454" y="273"/>
                  <a:pt x="454" y="273"/>
                  <a:pt x="454" y="273"/>
                </a:cubicBezTo>
                <a:cubicBezTo>
                  <a:pt x="454" y="273"/>
                  <a:pt x="454" y="273"/>
                  <a:pt x="454" y="273"/>
                </a:cubicBezTo>
                <a:cubicBezTo>
                  <a:pt x="454" y="274"/>
                  <a:pt x="454" y="274"/>
                  <a:pt x="454" y="274"/>
                </a:cubicBezTo>
                <a:cubicBezTo>
                  <a:pt x="454" y="274"/>
                  <a:pt x="454" y="274"/>
                  <a:pt x="454" y="274"/>
                </a:cubicBezTo>
                <a:cubicBezTo>
                  <a:pt x="455" y="274"/>
                  <a:pt x="455" y="274"/>
                  <a:pt x="455" y="274"/>
                </a:cubicBezTo>
                <a:cubicBezTo>
                  <a:pt x="455" y="274"/>
                  <a:pt x="455" y="274"/>
                  <a:pt x="455" y="274"/>
                </a:cubicBezTo>
                <a:cubicBezTo>
                  <a:pt x="455" y="276"/>
                  <a:pt x="455" y="276"/>
                  <a:pt x="455" y="276"/>
                </a:cubicBezTo>
                <a:cubicBezTo>
                  <a:pt x="456" y="276"/>
                  <a:pt x="456" y="276"/>
                  <a:pt x="456" y="276"/>
                </a:cubicBezTo>
                <a:cubicBezTo>
                  <a:pt x="456" y="276"/>
                  <a:pt x="456" y="276"/>
                  <a:pt x="456" y="276"/>
                </a:cubicBezTo>
                <a:cubicBezTo>
                  <a:pt x="457" y="277"/>
                  <a:pt x="457" y="277"/>
                  <a:pt x="457" y="277"/>
                </a:cubicBezTo>
                <a:cubicBezTo>
                  <a:pt x="457" y="278"/>
                  <a:pt x="457" y="278"/>
                  <a:pt x="457" y="278"/>
                </a:cubicBezTo>
                <a:cubicBezTo>
                  <a:pt x="457" y="278"/>
                  <a:pt x="457" y="278"/>
                  <a:pt x="457" y="278"/>
                </a:cubicBezTo>
                <a:cubicBezTo>
                  <a:pt x="457" y="279"/>
                  <a:pt x="457" y="279"/>
                  <a:pt x="457" y="279"/>
                </a:cubicBezTo>
                <a:cubicBezTo>
                  <a:pt x="457" y="279"/>
                  <a:pt x="457" y="279"/>
                  <a:pt x="457" y="279"/>
                </a:cubicBezTo>
                <a:cubicBezTo>
                  <a:pt x="455" y="279"/>
                  <a:pt x="455" y="279"/>
                  <a:pt x="455" y="279"/>
                </a:cubicBezTo>
                <a:cubicBezTo>
                  <a:pt x="455" y="278"/>
                  <a:pt x="455" y="278"/>
                  <a:pt x="455" y="278"/>
                </a:cubicBezTo>
                <a:cubicBezTo>
                  <a:pt x="455" y="278"/>
                  <a:pt x="455" y="278"/>
                  <a:pt x="455" y="278"/>
                </a:cubicBezTo>
                <a:cubicBezTo>
                  <a:pt x="454" y="277"/>
                  <a:pt x="454" y="277"/>
                  <a:pt x="454" y="277"/>
                </a:cubicBezTo>
                <a:cubicBezTo>
                  <a:pt x="454" y="277"/>
                  <a:pt x="454" y="277"/>
                  <a:pt x="454" y="277"/>
                </a:cubicBezTo>
                <a:cubicBezTo>
                  <a:pt x="453" y="277"/>
                  <a:pt x="453" y="277"/>
                  <a:pt x="453" y="277"/>
                </a:cubicBezTo>
                <a:cubicBezTo>
                  <a:pt x="453" y="278"/>
                  <a:pt x="453" y="278"/>
                  <a:pt x="453" y="278"/>
                </a:cubicBezTo>
                <a:cubicBezTo>
                  <a:pt x="453" y="278"/>
                  <a:pt x="453" y="278"/>
                  <a:pt x="453" y="278"/>
                </a:cubicBezTo>
                <a:cubicBezTo>
                  <a:pt x="454" y="278"/>
                  <a:pt x="454" y="278"/>
                  <a:pt x="454" y="278"/>
                </a:cubicBezTo>
                <a:cubicBezTo>
                  <a:pt x="454" y="279"/>
                  <a:pt x="454" y="279"/>
                  <a:pt x="454" y="279"/>
                </a:cubicBezTo>
                <a:cubicBezTo>
                  <a:pt x="454" y="279"/>
                  <a:pt x="454" y="279"/>
                  <a:pt x="454" y="279"/>
                </a:cubicBezTo>
                <a:cubicBezTo>
                  <a:pt x="455" y="279"/>
                  <a:pt x="455" y="279"/>
                  <a:pt x="455" y="279"/>
                </a:cubicBezTo>
                <a:cubicBezTo>
                  <a:pt x="455" y="280"/>
                  <a:pt x="455" y="280"/>
                  <a:pt x="455" y="280"/>
                </a:cubicBezTo>
                <a:cubicBezTo>
                  <a:pt x="454" y="280"/>
                  <a:pt x="454" y="280"/>
                  <a:pt x="454" y="280"/>
                </a:cubicBezTo>
                <a:cubicBezTo>
                  <a:pt x="453" y="280"/>
                  <a:pt x="453" y="280"/>
                  <a:pt x="453" y="280"/>
                </a:cubicBezTo>
                <a:cubicBezTo>
                  <a:pt x="453" y="280"/>
                  <a:pt x="453" y="280"/>
                  <a:pt x="453" y="280"/>
                </a:cubicBezTo>
                <a:cubicBezTo>
                  <a:pt x="453" y="281"/>
                  <a:pt x="453" y="281"/>
                  <a:pt x="453" y="281"/>
                </a:cubicBezTo>
                <a:cubicBezTo>
                  <a:pt x="455" y="281"/>
                  <a:pt x="455" y="281"/>
                  <a:pt x="455" y="281"/>
                </a:cubicBezTo>
                <a:cubicBezTo>
                  <a:pt x="455" y="281"/>
                  <a:pt x="455" y="281"/>
                  <a:pt x="455" y="281"/>
                </a:cubicBezTo>
                <a:cubicBezTo>
                  <a:pt x="455" y="281"/>
                  <a:pt x="455" y="281"/>
                  <a:pt x="455" y="281"/>
                </a:cubicBezTo>
                <a:cubicBezTo>
                  <a:pt x="455" y="282"/>
                  <a:pt x="455" y="282"/>
                  <a:pt x="455" y="282"/>
                </a:cubicBezTo>
                <a:cubicBezTo>
                  <a:pt x="454" y="282"/>
                  <a:pt x="454" y="282"/>
                  <a:pt x="454" y="282"/>
                </a:cubicBezTo>
                <a:cubicBezTo>
                  <a:pt x="453" y="282"/>
                  <a:pt x="453" y="282"/>
                  <a:pt x="453" y="282"/>
                </a:cubicBezTo>
                <a:cubicBezTo>
                  <a:pt x="452" y="282"/>
                  <a:pt x="452" y="282"/>
                  <a:pt x="452" y="282"/>
                </a:cubicBezTo>
                <a:cubicBezTo>
                  <a:pt x="451" y="282"/>
                  <a:pt x="451" y="282"/>
                  <a:pt x="451" y="282"/>
                </a:cubicBezTo>
                <a:cubicBezTo>
                  <a:pt x="451" y="281"/>
                  <a:pt x="451" y="281"/>
                  <a:pt x="451" y="281"/>
                </a:cubicBezTo>
                <a:cubicBezTo>
                  <a:pt x="451" y="280"/>
                  <a:pt x="451" y="280"/>
                  <a:pt x="451" y="280"/>
                </a:cubicBezTo>
                <a:cubicBezTo>
                  <a:pt x="450" y="280"/>
                  <a:pt x="450" y="280"/>
                  <a:pt x="450" y="280"/>
                </a:cubicBezTo>
                <a:cubicBezTo>
                  <a:pt x="450" y="279"/>
                  <a:pt x="450" y="279"/>
                  <a:pt x="450" y="279"/>
                </a:cubicBezTo>
                <a:cubicBezTo>
                  <a:pt x="449" y="279"/>
                  <a:pt x="449" y="279"/>
                  <a:pt x="449" y="279"/>
                </a:cubicBezTo>
                <a:cubicBezTo>
                  <a:pt x="449" y="280"/>
                  <a:pt x="449" y="280"/>
                  <a:pt x="449" y="280"/>
                </a:cubicBezTo>
                <a:cubicBezTo>
                  <a:pt x="450" y="281"/>
                  <a:pt x="450" y="281"/>
                  <a:pt x="450" y="281"/>
                </a:cubicBezTo>
                <a:cubicBezTo>
                  <a:pt x="450" y="281"/>
                  <a:pt x="450" y="281"/>
                  <a:pt x="450" y="281"/>
                </a:cubicBezTo>
                <a:cubicBezTo>
                  <a:pt x="450" y="282"/>
                  <a:pt x="450" y="282"/>
                  <a:pt x="450" y="282"/>
                </a:cubicBezTo>
                <a:cubicBezTo>
                  <a:pt x="449" y="282"/>
                  <a:pt x="449" y="282"/>
                  <a:pt x="449" y="282"/>
                </a:cubicBezTo>
                <a:cubicBezTo>
                  <a:pt x="448" y="281"/>
                  <a:pt x="448" y="281"/>
                  <a:pt x="448" y="281"/>
                </a:cubicBezTo>
                <a:cubicBezTo>
                  <a:pt x="448" y="281"/>
                  <a:pt x="448" y="281"/>
                  <a:pt x="448" y="281"/>
                </a:cubicBezTo>
                <a:cubicBezTo>
                  <a:pt x="448" y="282"/>
                  <a:pt x="448" y="282"/>
                  <a:pt x="448" y="282"/>
                </a:cubicBezTo>
                <a:cubicBezTo>
                  <a:pt x="449" y="283"/>
                  <a:pt x="449" y="283"/>
                  <a:pt x="449" y="283"/>
                </a:cubicBezTo>
                <a:cubicBezTo>
                  <a:pt x="450" y="283"/>
                  <a:pt x="450" y="283"/>
                  <a:pt x="450" y="283"/>
                </a:cubicBezTo>
                <a:cubicBezTo>
                  <a:pt x="450" y="283"/>
                  <a:pt x="450" y="283"/>
                  <a:pt x="450" y="283"/>
                </a:cubicBezTo>
                <a:cubicBezTo>
                  <a:pt x="451" y="283"/>
                  <a:pt x="451" y="283"/>
                  <a:pt x="451" y="283"/>
                </a:cubicBezTo>
                <a:cubicBezTo>
                  <a:pt x="451" y="284"/>
                  <a:pt x="451" y="284"/>
                  <a:pt x="451" y="284"/>
                </a:cubicBezTo>
                <a:cubicBezTo>
                  <a:pt x="451" y="285"/>
                  <a:pt x="451" y="285"/>
                  <a:pt x="451" y="285"/>
                </a:cubicBezTo>
                <a:cubicBezTo>
                  <a:pt x="449" y="285"/>
                  <a:pt x="449" y="285"/>
                  <a:pt x="449" y="285"/>
                </a:cubicBezTo>
                <a:cubicBezTo>
                  <a:pt x="449" y="284"/>
                  <a:pt x="449" y="284"/>
                  <a:pt x="449" y="284"/>
                </a:cubicBezTo>
                <a:cubicBezTo>
                  <a:pt x="448" y="283"/>
                  <a:pt x="448" y="283"/>
                  <a:pt x="448" y="283"/>
                </a:cubicBezTo>
                <a:cubicBezTo>
                  <a:pt x="447" y="283"/>
                  <a:pt x="447" y="283"/>
                  <a:pt x="447" y="283"/>
                </a:cubicBezTo>
                <a:cubicBezTo>
                  <a:pt x="447" y="283"/>
                  <a:pt x="447" y="283"/>
                  <a:pt x="447" y="283"/>
                </a:cubicBezTo>
                <a:cubicBezTo>
                  <a:pt x="447" y="283"/>
                  <a:pt x="447" y="283"/>
                  <a:pt x="447" y="283"/>
                </a:cubicBezTo>
                <a:cubicBezTo>
                  <a:pt x="448" y="284"/>
                  <a:pt x="448" y="284"/>
                  <a:pt x="448" y="284"/>
                </a:cubicBezTo>
                <a:cubicBezTo>
                  <a:pt x="449" y="285"/>
                  <a:pt x="449" y="285"/>
                  <a:pt x="449" y="285"/>
                </a:cubicBezTo>
                <a:cubicBezTo>
                  <a:pt x="449" y="287"/>
                  <a:pt x="449" y="287"/>
                  <a:pt x="449" y="287"/>
                </a:cubicBezTo>
                <a:cubicBezTo>
                  <a:pt x="448" y="287"/>
                  <a:pt x="448" y="287"/>
                  <a:pt x="448" y="287"/>
                </a:cubicBezTo>
                <a:cubicBezTo>
                  <a:pt x="448" y="287"/>
                  <a:pt x="448" y="287"/>
                  <a:pt x="448" y="287"/>
                </a:cubicBezTo>
                <a:cubicBezTo>
                  <a:pt x="447" y="286"/>
                  <a:pt x="447" y="286"/>
                  <a:pt x="447" y="286"/>
                </a:cubicBezTo>
                <a:cubicBezTo>
                  <a:pt x="447" y="286"/>
                  <a:pt x="447" y="286"/>
                  <a:pt x="447" y="286"/>
                </a:cubicBezTo>
                <a:cubicBezTo>
                  <a:pt x="446" y="286"/>
                  <a:pt x="446" y="286"/>
                  <a:pt x="446" y="286"/>
                </a:cubicBezTo>
                <a:cubicBezTo>
                  <a:pt x="446" y="286"/>
                  <a:pt x="446" y="286"/>
                  <a:pt x="446" y="286"/>
                </a:cubicBezTo>
                <a:cubicBezTo>
                  <a:pt x="446" y="286"/>
                  <a:pt x="446" y="286"/>
                  <a:pt x="446" y="286"/>
                </a:cubicBezTo>
                <a:cubicBezTo>
                  <a:pt x="446" y="287"/>
                  <a:pt x="446" y="287"/>
                  <a:pt x="446" y="287"/>
                </a:cubicBezTo>
                <a:cubicBezTo>
                  <a:pt x="446" y="289"/>
                  <a:pt x="446" y="289"/>
                  <a:pt x="446" y="289"/>
                </a:cubicBezTo>
                <a:cubicBezTo>
                  <a:pt x="446" y="289"/>
                  <a:pt x="446" y="289"/>
                  <a:pt x="446" y="289"/>
                </a:cubicBezTo>
                <a:cubicBezTo>
                  <a:pt x="445" y="289"/>
                  <a:pt x="445" y="289"/>
                  <a:pt x="445" y="289"/>
                </a:cubicBezTo>
                <a:cubicBezTo>
                  <a:pt x="445" y="289"/>
                  <a:pt x="445" y="289"/>
                  <a:pt x="445" y="289"/>
                </a:cubicBezTo>
                <a:cubicBezTo>
                  <a:pt x="445" y="288"/>
                  <a:pt x="445" y="288"/>
                  <a:pt x="445" y="288"/>
                </a:cubicBezTo>
                <a:cubicBezTo>
                  <a:pt x="445" y="288"/>
                  <a:pt x="445" y="288"/>
                  <a:pt x="445" y="288"/>
                </a:cubicBezTo>
                <a:cubicBezTo>
                  <a:pt x="444" y="288"/>
                  <a:pt x="444" y="288"/>
                  <a:pt x="444" y="288"/>
                </a:cubicBezTo>
                <a:cubicBezTo>
                  <a:pt x="444" y="289"/>
                  <a:pt x="444" y="289"/>
                  <a:pt x="444" y="289"/>
                </a:cubicBezTo>
                <a:cubicBezTo>
                  <a:pt x="443" y="288"/>
                  <a:pt x="443" y="288"/>
                  <a:pt x="443" y="288"/>
                </a:cubicBezTo>
                <a:cubicBezTo>
                  <a:pt x="443" y="288"/>
                  <a:pt x="443" y="288"/>
                  <a:pt x="443" y="288"/>
                </a:cubicBezTo>
                <a:cubicBezTo>
                  <a:pt x="443" y="287"/>
                  <a:pt x="443" y="287"/>
                  <a:pt x="443" y="287"/>
                </a:cubicBezTo>
                <a:cubicBezTo>
                  <a:pt x="443" y="286"/>
                  <a:pt x="443" y="286"/>
                  <a:pt x="443" y="286"/>
                </a:cubicBezTo>
                <a:cubicBezTo>
                  <a:pt x="443" y="285"/>
                  <a:pt x="443" y="285"/>
                  <a:pt x="443" y="285"/>
                </a:cubicBezTo>
                <a:cubicBezTo>
                  <a:pt x="442" y="286"/>
                  <a:pt x="442" y="286"/>
                  <a:pt x="442" y="286"/>
                </a:cubicBezTo>
                <a:cubicBezTo>
                  <a:pt x="442" y="288"/>
                  <a:pt x="442" y="288"/>
                  <a:pt x="442" y="288"/>
                </a:cubicBezTo>
                <a:cubicBezTo>
                  <a:pt x="442" y="288"/>
                  <a:pt x="442" y="288"/>
                  <a:pt x="442" y="288"/>
                </a:cubicBezTo>
                <a:cubicBezTo>
                  <a:pt x="441" y="288"/>
                  <a:pt x="441" y="288"/>
                  <a:pt x="441" y="288"/>
                </a:cubicBezTo>
                <a:cubicBezTo>
                  <a:pt x="441" y="288"/>
                  <a:pt x="441" y="288"/>
                  <a:pt x="441" y="288"/>
                </a:cubicBezTo>
                <a:cubicBezTo>
                  <a:pt x="442" y="289"/>
                  <a:pt x="442" y="289"/>
                  <a:pt x="442" y="289"/>
                </a:cubicBezTo>
                <a:cubicBezTo>
                  <a:pt x="442" y="289"/>
                  <a:pt x="442" y="289"/>
                  <a:pt x="442" y="289"/>
                </a:cubicBezTo>
                <a:cubicBezTo>
                  <a:pt x="442" y="290"/>
                  <a:pt x="442" y="290"/>
                  <a:pt x="442" y="290"/>
                </a:cubicBezTo>
                <a:cubicBezTo>
                  <a:pt x="441" y="290"/>
                  <a:pt x="441" y="290"/>
                  <a:pt x="441" y="290"/>
                </a:cubicBezTo>
                <a:cubicBezTo>
                  <a:pt x="441" y="289"/>
                  <a:pt x="441" y="289"/>
                  <a:pt x="441" y="289"/>
                </a:cubicBezTo>
                <a:cubicBezTo>
                  <a:pt x="440" y="290"/>
                  <a:pt x="440" y="290"/>
                  <a:pt x="440" y="290"/>
                </a:cubicBezTo>
                <a:cubicBezTo>
                  <a:pt x="441" y="290"/>
                  <a:pt x="441" y="290"/>
                  <a:pt x="441" y="290"/>
                </a:cubicBezTo>
                <a:cubicBezTo>
                  <a:pt x="442" y="290"/>
                  <a:pt x="442" y="290"/>
                  <a:pt x="442" y="290"/>
                </a:cubicBezTo>
                <a:cubicBezTo>
                  <a:pt x="442" y="291"/>
                  <a:pt x="442" y="291"/>
                  <a:pt x="442" y="291"/>
                </a:cubicBezTo>
                <a:cubicBezTo>
                  <a:pt x="442" y="292"/>
                  <a:pt x="442" y="292"/>
                  <a:pt x="442" y="292"/>
                </a:cubicBezTo>
                <a:cubicBezTo>
                  <a:pt x="441" y="292"/>
                  <a:pt x="441" y="292"/>
                  <a:pt x="441" y="292"/>
                </a:cubicBezTo>
                <a:cubicBezTo>
                  <a:pt x="441" y="292"/>
                  <a:pt x="441" y="292"/>
                  <a:pt x="441" y="292"/>
                </a:cubicBezTo>
                <a:cubicBezTo>
                  <a:pt x="441" y="293"/>
                  <a:pt x="441" y="293"/>
                  <a:pt x="441" y="293"/>
                </a:cubicBezTo>
                <a:cubicBezTo>
                  <a:pt x="441" y="294"/>
                  <a:pt x="441" y="294"/>
                  <a:pt x="441" y="294"/>
                </a:cubicBezTo>
                <a:cubicBezTo>
                  <a:pt x="441" y="294"/>
                  <a:pt x="441" y="294"/>
                  <a:pt x="441" y="294"/>
                </a:cubicBezTo>
                <a:cubicBezTo>
                  <a:pt x="441" y="293"/>
                  <a:pt x="441" y="293"/>
                  <a:pt x="441" y="293"/>
                </a:cubicBezTo>
                <a:cubicBezTo>
                  <a:pt x="440" y="294"/>
                  <a:pt x="440" y="294"/>
                  <a:pt x="440" y="294"/>
                </a:cubicBezTo>
                <a:cubicBezTo>
                  <a:pt x="441" y="294"/>
                  <a:pt x="441" y="294"/>
                  <a:pt x="441" y="294"/>
                </a:cubicBezTo>
                <a:cubicBezTo>
                  <a:pt x="441" y="295"/>
                  <a:pt x="441" y="295"/>
                  <a:pt x="441" y="295"/>
                </a:cubicBezTo>
                <a:cubicBezTo>
                  <a:pt x="441" y="296"/>
                  <a:pt x="441" y="296"/>
                  <a:pt x="441" y="296"/>
                </a:cubicBezTo>
                <a:cubicBezTo>
                  <a:pt x="440" y="296"/>
                  <a:pt x="440" y="296"/>
                  <a:pt x="440" y="296"/>
                </a:cubicBezTo>
                <a:cubicBezTo>
                  <a:pt x="440" y="297"/>
                  <a:pt x="440" y="297"/>
                  <a:pt x="440" y="297"/>
                </a:cubicBezTo>
                <a:cubicBezTo>
                  <a:pt x="439" y="297"/>
                  <a:pt x="439" y="297"/>
                  <a:pt x="439" y="297"/>
                </a:cubicBezTo>
                <a:cubicBezTo>
                  <a:pt x="439" y="296"/>
                  <a:pt x="439" y="296"/>
                  <a:pt x="439" y="296"/>
                </a:cubicBezTo>
                <a:cubicBezTo>
                  <a:pt x="439" y="296"/>
                  <a:pt x="439" y="296"/>
                  <a:pt x="439" y="296"/>
                </a:cubicBezTo>
                <a:cubicBezTo>
                  <a:pt x="439" y="295"/>
                  <a:pt x="439" y="295"/>
                  <a:pt x="439" y="295"/>
                </a:cubicBezTo>
                <a:cubicBezTo>
                  <a:pt x="438" y="295"/>
                  <a:pt x="438" y="295"/>
                  <a:pt x="438" y="295"/>
                </a:cubicBezTo>
                <a:cubicBezTo>
                  <a:pt x="438" y="295"/>
                  <a:pt x="438" y="295"/>
                  <a:pt x="438" y="295"/>
                </a:cubicBezTo>
                <a:cubicBezTo>
                  <a:pt x="438" y="294"/>
                  <a:pt x="438" y="294"/>
                  <a:pt x="438" y="294"/>
                </a:cubicBezTo>
                <a:cubicBezTo>
                  <a:pt x="438" y="294"/>
                  <a:pt x="438" y="294"/>
                  <a:pt x="438" y="294"/>
                </a:cubicBezTo>
                <a:cubicBezTo>
                  <a:pt x="438" y="294"/>
                  <a:pt x="438" y="294"/>
                  <a:pt x="438" y="294"/>
                </a:cubicBezTo>
                <a:cubicBezTo>
                  <a:pt x="437" y="294"/>
                  <a:pt x="437" y="294"/>
                  <a:pt x="437" y="294"/>
                </a:cubicBezTo>
                <a:cubicBezTo>
                  <a:pt x="437" y="295"/>
                  <a:pt x="437" y="295"/>
                  <a:pt x="437" y="295"/>
                </a:cubicBezTo>
                <a:cubicBezTo>
                  <a:pt x="436" y="295"/>
                  <a:pt x="436" y="295"/>
                  <a:pt x="436" y="295"/>
                </a:cubicBezTo>
                <a:cubicBezTo>
                  <a:pt x="436" y="294"/>
                  <a:pt x="436" y="294"/>
                  <a:pt x="436" y="294"/>
                </a:cubicBezTo>
                <a:cubicBezTo>
                  <a:pt x="436" y="293"/>
                  <a:pt x="436" y="293"/>
                  <a:pt x="436" y="293"/>
                </a:cubicBezTo>
                <a:cubicBezTo>
                  <a:pt x="436" y="293"/>
                  <a:pt x="436" y="293"/>
                  <a:pt x="436" y="293"/>
                </a:cubicBezTo>
                <a:cubicBezTo>
                  <a:pt x="436" y="292"/>
                  <a:pt x="436" y="292"/>
                  <a:pt x="436" y="292"/>
                </a:cubicBezTo>
                <a:cubicBezTo>
                  <a:pt x="436" y="292"/>
                  <a:pt x="436" y="292"/>
                  <a:pt x="436" y="292"/>
                </a:cubicBezTo>
                <a:cubicBezTo>
                  <a:pt x="436" y="292"/>
                  <a:pt x="436" y="292"/>
                  <a:pt x="436" y="292"/>
                </a:cubicBezTo>
                <a:cubicBezTo>
                  <a:pt x="436" y="291"/>
                  <a:pt x="436" y="291"/>
                  <a:pt x="436" y="291"/>
                </a:cubicBezTo>
                <a:cubicBezTo>
                  <a:pt x="436" y="291"/>
                  <a:pt x="436" y="291"/>
                  <a:pt x="436" y="291"/>
                </a:cubicBezTo>
                <a:cubicBezTo>
                  <a:pt x="436" y="292"/>
                  <a:pt x="436" y="292"/>
                  <a:pt x="436" y="292"/>
                </a:cubicBezTo>
                <a:cubicBezTo>
                  <a:pt x="435" y="293"/>
                  <a:pt x="435" y="293"/>
                  <a:pt x="435" y="293"/>
                </a:cubicBezTo>
                <a:cubicBezTo>
                  <a:pt x="434" y="294"/>
                  <a:pt x="434" y="294"/>
                  <a:pt x="434" y="294"/>
                </a:cubicBezTo>
                <a:cubicBezTo>
                  <a:pt x="434" y="293"/>
                  <a:pt x="434" y="293"/>
                  <a:pt x="434" y="293"/>
                </a:cubicBezTo>
                <a:cubicBezTo>
                  <a:pt x="434" y="293"/>
                  <a:pt x="434" y="293"/>
                  <a:pt x="434" y="293"/>
                </a:cubicBezTo>
                <a:cubicBezTo>
                  <a:pt x="434" y="292"/>
                  <a:pt x="434" y="292"/>
                  <a:pt x="434" y="292"/>
                </a:cubicBezTo>
                <a:cubicBezTo>
                  <a:pt x="434" y="291"/>
                  <a:pt x="434" y="291"/>
                  <a:pt x="434" y="291"/>
                </a:cubicBezTo>
                <a:cubicBezTo>
                  <a:pt x="434" y="291"/>
                  <a:pt x="434" y="291"/>
                  <a:pt x="434" y="291"/>
                </a:cubicBezTo>
                <a:cubicBezTo>
                  <a:pt x="435" y="290"/>
                  <a:pt x="435" y="290"/>
                  <a:pt x="435" y="290"/>
                </a:cubicBezTo>
                <a:cubicBezTo>
                  <a:pt x="435" y="290"/>
                  <a:pt x="435" y="290"/>
                  <a:pt x="435" y="290"/>
                </a:cubicBezTo>
                <a:cubicBezTo>
                  <a:pt x="436" y="290"/>
                  <a:pt x="436" y="290"/>
                  <a:pt x="436" y="290"/>
                </a:cubicBezTo>
                <a:cubicBezTo>
                  <a:pt x="435" y="289"/>
                  <a:pt x="435" y="289"/>
                  <a:pt x="435" y="289"/>
                </a:cubicBezTo>
                <a:cubicBezTo>
                  <a:pt x="435" y="289"/>
                  <a:pt x="435" y="289"/>
                  <a:pt x="435" y="289"/>
                </a:cubicBezTo>
                <a:cubicBezTo>
                  <a:pt x="434" y="289"/>
                  <a:pt x="434" y="289"/>
                  <a:pt x="434" y="289"/>
                </a:cubicBezTo>
                <a:cubicBezTo>
                  <a:pt x="433" y="289"/>
                  <a:pt x="433" y="289"/>
                  <a:pt x="433" y="289"/>
                </a:cubicBezTo>
                <a:cubicBezTo>
                  <a:pt x="433" y="289"/>
                  <a:pt x="433" y="289"/>
                  <a:pt x="433" y="289"/>
                </a:cubicBezTo>
                <a:cubicBezTo>
                  <a:pt x="433" y="288"/>
                  <a:pt x="433" y="288"/>
                  <a:pt x="433" y="288"/>
                </a:cubicBezTo>
                <a:cubicBezTo>
                  <a:pt x="434" y="288"/>
                  <a:pt x="434" y="288"/>
                  <a:pt x="434" y="288"/>
                </a:cubicBezTo>
                <a:cubicBezTo>
                  <a:pt x="435" y="287"/>
                  <a:pt x="435" y="287"/>
                  <a:pt x="435" y="287"/>
                </a:cubicBezTo>
                <a:cubicBezTo>
                  <a:pt x="434" y="287"/>
                  <a:pt x="434" y="287"/>
                  <a:pt x="434" y="287"/>
                </a:cubicBezTo>
                <a:cubicBezTo>
                  <a:pt x="434" y="287"/>
                  <a:pt x="434" y="287"/>
                  <a:pt x="434" y="287"/>
                </a:cubicBezTo>
                <a:cubicBezTo>
                  <a:pt x="433" y="287"/>
                  <a:pt x="433" y="287"/>
                  <a:pt x="433" y="287"/>
                </a:cubicBezTo>
                <a:cubicBezTo>
                  <a:pt x="433" y="287"/>
                  <a:pt x="433" y="287"/>
                  <a:pt x="433" y="287"/>
                </a:cubicBezTo>
                <a:cubicBezTo>
                  <a:pt x="434" y="286"/>
                  <a:pt x="434" y="286"/>
                  <a:pt x="434" y="286"/>
                </a:cubicBezTo>
                <a:cubicBezTo>
                  <a:pt x="434" y="286"/>
                  <a:pt x="434" y="286"/>
                  <a:pt x="434" y="286"/>
                </a:cubicBezTo>
                <a:cubicBezTo>
                  <a:pt x="435" y="286"/>
                  <a:pt x="435" y="286"/>
                  <a:pt x="435" y="286"/>
                </a:cubicBezTo>
                <a:cubicBezTo>
                  <a:pt x="434" y="285"/>
                  <a:pt x="434" y="285"/>
                  <a:pt x="434" y="285"/>
                </a:cubicBezTo>
                <a:cubicBezTo>
                  <a:pt x="434" y="285"/>
                  <a:pt x="434" y="285"/>
                  <a:pt x="434" y="285"/>
                </a:cubicBezTo>
                <a:cubicBezTo>
                  <a:pt x="433" y="286"/>
                  <a:pt x="433" y="286"/>
                  <a:pt x="433" y="286"/>
                </a:cubicBezTo>
                <a:cubicBezTo>
                  <a:pt x="433" y="286"/>
                  <a:pt x="433" y="286"/>
                  <a:pt x="433" y="286"/>
                </a:cubicBezTo>
                <a:cubicBezTo>
                  <a:pt x="433" y="285"/>
                  <a:pt x="433" y="285"/>
                  <a:pt x="433" y="285"/>
                </a:cubicBezTo>
                <a:cubicBezTo>
                  <a:pt x="434" y="284"/>
                  <a:pt x="434" y="284"/>
                  <a:pt x="434" y="284"/>
                </a:cubicBezTo>
                <a:cubicBezTo>
                  <a:pt x="434" y="283"/>
                  <a:pt x="434" y="283"/>
                  <a:pt x="434" y="283"/>
                </a:cubicBezTo>
                <a:cubicBezTo>
                  <a:pt x="435" y="283"/>
                  <a:pt x="435" y="283"/>
                  <a:pt x="435" y="283"/>
                </a:cubicBezTo>
                <a:cubicBezTo>
                  <a:pt x="436" y="282"/>
                  <a:pt x="436" y="282"/>
                  <a:pt x="436" y="282"/>
                </a:cubicBezTo>
                <a:cubicBezTo>
                  <a:pt x="437" y="282"/>
                  <a:pt x="437" y="282"/>
                  <a:pt x="437" y="282"/>
                </a:cubicBezTo>
                <a:cubicBezTo>
                  <a:pt x="438" y="281"/>
                  <a:pt x="438" y="281"/>
                  <a:pt x="438" y="281"/>
                </a:cubicBezTo>
                <a:cubicBezTo>
                  <a:pt x="439" y="280"/>
                  <a:pt x="439" y="280"/>
                  <a:pt x="439" y="280"/>
                </a:cubicBezTo>
                <a:cubicBezTo>
                  <a:pt x="439" y="280"/>
                  <a:pt x="439" y="280"/>
                  <a:pt x="439" y="280"/>
                </a:cubicBezTo>
                <a:cubicBezTo>
                  <a:pt x="439" y="279"/>
                  <a:pt x="439" y="279"/>
                  <a:pt x="439" y="279"/>
                </a:cubicBezTo>
                <a:cubicBezTo>
                  <a:pt x="438" y="279"/>
                  <a:pt x="438" y="279"/>
                  <a:pt x="438" y="279"/>
                </a:cubicBezTo>
                <a:cubicBezTo>
                  <a:pt x="437" y="280"/>
                  <a:pt x="437" y="280"/>
                  <a:pt x="437" y="280"/>
                </a:cubicBezTo>
                <a:cubicBezTo>
                  <a:pt x="437" y="280"/>
                  <a:pt x="437" y="280"/>
                  <a:pt x="437" y="280"/>
                </a:cubicBezTo>
                <a:cubicBezTo>
                  <a:pt x="436" y="281"/>
                  <a:pt x="436" y="281"/>
                  <a:pt x="436" y="281"/>
                </a:cubicBezTo>
                <a:cubicBezTo>
                  <a:pt x="435" y="282"/>
                  <a:pt x="435" y="282"/>
                  <a:pt x="435" y="282"/>
                </a:cubicBezTo>
                <a:cubicBezTo>
                  <a:pt x="434" y="282"/>
                  <a:pt x="434" y="282"/>
                  <a:pt x="434" y="282"/>
                </a:cubicBezTo>
                <a:cubicBezTo>
                  <a:pt x="432" y="283"/>
                  <a:pt x="432" y="283"/>
                  <a:pt x="432" y="283"/>
                </a:cubicBezTo>
                <a:cubicBezTo>
                  <a:pt x="431" y="283"/>
                  <a:pt x="431" y="283"/>
                  <a:pt x="431" y="283"/>
                </a:cubicBezTo>
                <a:cubicBezTo>
                  <a:pt x="430" y="283"/>
                  <a:pt x="430" y="283"/>
                  <a:pt x="430" y="283"/>
                </a:cubicBezTo>
                <a:cubicBezTo>
                  <a:pt x="430" y="283"/>
                  <a:pt x="430" y="283"/>
                  <a:pt x="430" y="283"/>
                </a:cubicBezTo>
                <a:cubicBezTo>
                  <a:pt x="432" y="281"/>
                  <a:pt x="432" y="281"/>
                  <a:pt x="432" y="281"/>
                </a:cubicBezTo>
                <a:cubicBezTo>
                  <a:pt x="433" y="280"/>
                  <a:pt x="433" y="280"/>
                  <a:pt x="433" y="280"/>
                </a:cubicBezTo>
                <a:cubicBezTo>
                  <a:pt x="434" y="280"/>
                  <a:pt x="434" y="280"/>
                  <a:pt x="434" y="280"/>
                </a:cubicBezTo>
                <a:cubicBezTo>
                  <a:pt x="434" y="279"/>
                  <a:pt x="434" y="279"/>
                  <a:pt x="434" y="279"/>
                </a:cubicBezTo>
                <a:cubicBezTo>
                  <a:pt x="434" y="278"/>
                  <a:pt x="434" y="278"/>
                  <a:pt x="434" y="278"/>
                </a:cubicBezTo>
                <a:cubicBezTo>
                  <a:pt x="433" y="279"/>
                  <a:pt x="433" y="279"/>
                  <a:pt x="433" y="279"/>
                </a:cubicBezTo>
                <a:cubicBezTo>
                  <a:pt x="431" y="281"/>
                  <a:pt x="431" y="281"/>
                  <a:pt x="431" y="281"/>
                </a:cubicBezTo>
                <a:cubicBezTo>
                  <a:pt x="430" y="281"/>
                  <a:pt x="430" y="281"/>
                  <a:pt x="430" y="281"/>
                </a:cubicBezTo>
                <a:cubicBezTo>
                  <a:pt x="429" y="281"/>
                  <a:pt x="429" y="281"/>
                  <a:pt x="429" y="281"/>
                </a:cubicBezTo>
                <a:cubicBezTo>
                  <a:pt x="429" y="281"/>
                  <a:pt x="429" y="281"/>
                  <a:pt x="429" y="281"/>
                </a:cubicBezTo>
                <a:cubicBezTo>
                  <a:pt x="429" y="280"/>
                  <a:pt x="429" y="280"/>
                  <a:pt x="429" y="280"/>
                </a:cubicBezTo>
                <a:cubicBezTo>
                  <a:pt x="429" y="279"/>
                  <a:pt x="429" y="279"/>
                  <a:pt x="429" y="279"/>
                </a:cubicBezTo>
                <a:cubicBezTo>
                  <a:pt x="428" y="280"/>
                  <a:pt x="428" y="280"/>
                  <a:pt x="428" y="280"/>
                </a:cubicBezTo>
                <a:cubicBezTo>
                  <a:pt x="428" y="279"/>
                  <a:pt x="428" y="279"/>
                  <a:pt x="428" y="279"/>
                </a:cubicBezTo>
                <a:cubicBezTo>
                  <a:pt x="428" y="279"/>
                  <a:pt x="428" y="279"/>
                  <a:pt x="428" y="279"/>
                </a:cubicBezTo>
                <a:cubicBezTo>
                  <a:pt x="429" y="279"/>
                  <a:pt x="429" y="279"/>
                  <a:pt x="429" y="279"/>
                </a:cubicBezTo>
                <a:cubicBezTo>
                  <a:pt x="429" y="278"/>
                  <a:pt x="429" y="278"/>
                  <a:pt x="429" y="278"/>
                </a:cubicBezTo>
                <a:cubicBezTo>
                  <a:pt x="428" y="278"/>
                  <a:pt x="428" y="278"/>
                  <a:pt x="428" y="278"/>
                </a:cubicBezTo>
                <a:cubicBezTo>
                  <a:pt x="428" y="278"/>
                  <a:pt x="428" y="278"/>
                  <a:pt x="428" y="278"/>
                </a:cubicBezTo>
                <a:cubicBezTo>
                  <a:pt x="427" y="277"/>
                  <a:pt x="427" y="277"/>
                  <a:pt x="427" y="277"/>
                </a:cubicBezTo>
                <a:cubicBezTo>
                  <a:pt x="428" y="276"/>
                  <a:pt x="428" y="276"/>
                  <a:pt x="428" y="276"/>
                </a:cubicBezTo>
                <a:cubicBezTo>
                  <a:pt x="428" y="276"/>
                  <a:pt x="428" y="276"/>
                  <a:pt x="428" y="276"/>
                </a:cubicBezTo>
                <a:cubicBezTo>
                  <a:pt x="428" y="275"/>
                  <a:pt x="428" y="275"/>
                  <a:pt x="428" y="275"/>
                </a:cubicBezTo>
                <a:cubicBezTo>
                  <a:pt x="427" y="275"/>
                  <a:pt x="427" y="275"/>
                  <a:pt x="427" y="275"/>
                </a:cubicBezTo>
                <a:cubicBezTo>
                  <a:pt x="427" y="274"/>
                  <a:pt x="427" y="274"/>
                  <a:pt x="427" y="274"/>
                </a:cubicBezTo>
                <a:cubicBezTo>
                  <a:pt x="427" y="274"/>
                  <a:pt x="427" y="274"/>
                  <a:pt x="427" y="274"/>
                </a:cubicBezTo>
                <a:cubicBezTo>
                  <a:pt x="427" y="275"/>
                  <a:pt x="427" y="275"/>
                  <a:pt x="427" y="275"/>
                </a:cubicBezTo>
                <a:cubicBezTo>
                  <a:pt x="427" y="276"/>
                  <a:pt x="427" y="276"/>
                  <a:pt x="427" y="276"/>
                </a:cubicBezTo>
                <a:cubicBezTo>
                  <a:pt x="426" y="276"/>
                  <a:pt x="426" y="276"/>
                  <a:pt x="426" y="276"/>
                </a:cubicBezTo>
                <a:cubicBezTo>
                  <a:pt x="425" y="276"/>
                  <a:pt x="425" y="276"/>
                  <a:pt x="425" y="276"/>
                </a:cubicBezTo>
                <a:cubicBezTo>
                  <a:pt x="425" y="275"/>
                  <a:pt x="425" y="275"/>
                  <a:pt x="425" y="275"/>
                </a:cubicBezTo>
                <a:cubicBezTo>
                  <a:pt x="424" y="275"/>
                  <a:pt x="424" y="275"/>
                  <a:pt x="424" y="275"/>
                </a:cubicBezTo>
                <a:cubicBezTo>
                  <a:pt x="425" y="276"/>
                  <a:pt x="425" y="276"/>
                  <a:pt x="425" y="276"/>
                </a:cubicBezTo>
                <a:cubicBezTo>
                  <a:pt x="426" y="277"/>
                  <a:pt x="426" y="277"/>
                  <a:pt x="426" y="277"/>
                </a:cubicBezTo>
                <a:cubicBezTo>
                  <a:pt x="426" y="278"/>
                  <a:pt x="426" y="278"/>
                  <a:pt x="426" y="278"/>
                </a:cubicBezTo>
                <a:cubicBezTo>
                  <a:pt x="425" y="278"/>
                  <a:pt x="425" y="278"/>
                  <a:pt x="425" y="278"/>
                </a:cubicBezTo>
                <a:cubicBezTo>
                  <a:pt x="425" y="278"/>
                  <a:pt x="425" y="278"/>
                  <a:pt x="425" y="278"/>
                </a:cubicBezTo>
                <a:cubicBezTo>
                  <a:pt x="425" y="278"/>
                  <a:pt x="425" y="278"/>
                  <a:pt x="425" y="278"/>
                </a:cubicBezTo>
                <a:cubicBezTo>
                  <a:pt x="424" y="279"/>
                  <a:pt x="424" y="279"/>
                  <a:pt x="424" y="279"/>
                </a:cubicBezTo>
                <a:cubicBezTo>
                  <a:pt x="423" y="278"/>
                  <a:pt x="423" y="278"/>
                  <a:pt x="423" y="278"/>
                </a:cubicBezTo>
                <a:cubicBezTo>
                  <a:pt x="423" y="277"/>
                  <a:pt x="423" y="277"/>
                  <a:pt x="423" y="277"/>
                </a:cubicBezTo>
                <a:cubicBezTo>
                  <a:pt x="423" y="276"/>
                  <a:pt x="423" y="276"/>
                  <a:pt x="423" y="276"/>
                </a:cubicBezTo>
                <a:cubicBezTo>
                  <a:pt x="422" y="277"/>
                  <a:pt x="422" y="277"/>
                  <a:pt x="422" y="277"/>
                </a:cubicBezTo>
                <a:cubicBezTo>
                  <a:pt x="423" y="277"/>
                  <a:pt x="423" y="277"/>
                  <a:pt x="423" y="277"/>
                </a:cubicBezTo>
                <a:cubicBezTo>
                  <a:pt x="423" y="278"/>
                  <a:pt x="423" y="278"/>
                  <a:pt x="423" y="278"/>
                </a:cubicBezTo>
                <a:cubicBezTo>
                  <a:pt x="423" y="279"/>
                  <a:pt x="423" y="279"/>
                  <a:pt x="423" y="279"/>
                </a:cubicBezTo>
                <a:cubicBezTo>
                  <a:pt x="423" y="279"/>
                  <a:pt x="423" y="279"/>
                  <a:pt x="423" y="279"/>
                </a:cubicBezTo>
                <a:cubicBezTo>
                  <a:pt x="424" y="280"/>
                  <a:pt x="424" y="280"/>
                  <a:pt x="424" y="280"/>
                </a:cubicBezTo>
                <a:cubicBezTo>
                  <a:pt x="425" y="281"/>
                  <a:pt x="425" y="281"/>
                  <a:pt x="425" y="281"/>
                </a:cubicBezTo>
                <a:cubicBezTo>
                  <a:pt x="424" y="282"/>
                  <a:pt x="424" y="282"/>
                  <a:pt x="424" y="282"/>
                </a:cubicBezTo>
                <a:cubicBezTo>
                  <a:pt x="425" y="282"/>
                  <a:pt x="425" y="282"/>
                  <a:pt x="425" y="282"/>
                </a:cubicBezTo>
                <a:cubicBezTo>
                  <a:pt x="425" y="283"/>
                  <a:pt x="425" y="283"/>
                  <a:pt x="425" y="283"/>
                </a:cubicBezTo>
                <a:cubicBezTo>
                  <a:pt x="424" y="283"/>
                  <a:pt x="424" y="283"/>
                  <a:pt x="424" y="283"/>
                </a:cubicBezTo>
                <a:cubicBezTo>
                  <a:pt x="423" y="283"/>
                  <a:pt x="423" y="283"/>
                  <a:pt x="423" y="283"/>
                </a:cubicBezTo>
                <a:cubicBezTo>
                  <a:pt x="422" y="282"/>
                  <a:pt x="422" y="282"/>
                  <a:pt x="422" y="282"/>
                </a:cubicBezTo>
                <a:cubicBezTo>
                  <a:pt x="422" y="283"/>
                  <a:pt x="422" y="283"/>
                  <a:pt x="422" y="283"/>
                </a:cubicBezTo>
                <a:cubicBezTo>
                  <a:pt x="422" y="283"/>
                  <a:pt x="422" y="283"/>
                  <a:pt x="422" y="283"/>
                </a:cubicBezTo>
                <a:cubicBezTo>
                  <a:pt x="420" y="282"/>
                  <a:pt x="420" y="282"/>
                  <a:pt x="420" y="282"/>
                </a:cubicBezTo>
                <a:cubicBezTo>
                  <a:pt x="420" y="281"/>
                  <a:pt x="420" y="281"/>
                  <a:pt x="420" y="281"/>
                </a:cubicBezTo>
                <a:cubicBezTo>
                  <a:pt x="421" y="280"/>
                  <a:pt x="421" y="280"/>
                  <a:pt x="421" y="280"/>
                </a:cubicBezTo>
                <a:cubicBezTo>
                  <a:pt x="420" y="279"/>
                  <a:pt x="420" y="279"/>
                  <a:pt x="420" y="279"/>
                </a:cubicBezTo>
                <a:cubicBezTo>
                  <a:pt x="419" y="279"/>
                  <a:pt x="419" y="279"/>
                  <a:pt x="419" y="279"/>
                </a:cubicBezTo>
                <a:cubicBezTo>
                  <a:pt x="418" y="279"/>
                  <a:pt x="418" y="279"/>
                  <a:pt x="418" y="279"/>
                </a:cubicBezTo>
                <a:cubicBezTo>
                  <a:pt x="418" y="278"/>
                  <a:pt x="418" y="278"/>
                  <a:pt x="418" y="278"/>
                </a:cubicBezTo>
                <a:cubicBezTo>
                  <a:pt x="418" y="277"/>
                  <a:pt x="418" y="277"/>
                  <a:pt x="418" y="277"/>
                </a:cubicBezTo>
                <a:cubicBezTo>
                  <a:pt x="417" y="278"/>
                  <a:pt x="417" y="278"/>
                  <a:pt x="417" y="278"/>
                </a:cubicBezTo>
                <a:cubicBezTo>
                  <a:pt x="416" y="278"/>
                  <a:pt x="416" y="278"/>
                  <a:pt x="416" y="278"/>
                </a:cubicBezTo>
                <a:cubicBezTo>
                  <a:pt x="415" y="278"/>
                  <a:pt x="415" y="278"/>
                  <a:pt x="415" y="278"/>
                </a:cubicBezTo>
                <a:cubicBezTo>
                  <a:pt x="415" y="279"/>
                  <a:pt x="415" y="279"/>
                  <a:pt x="415" y="279"/>
                </a:cubicBezTo>
                <a:cubicBezTo>
                  <a:pt x="417" y="279"/>
                  <a:pt x="417" y="279"/>
                  <a:pt x="417" y="279"/>
                </a:cubicBezTo>
                <a:cubicBezTo>
                  <a:pt x="418" y="279"/>
                  <a:pt x="418" y="279"/>
                  <a:pt x="418" y="279"/>
                </a:cubicBezTo>
                <a:cubicBezTo>
                  <a:pt x="419" y="280"/>
                  <a:pt x="419" y="280"/>
                  <a:pt x="419" y="280"/>
                </a:cubicBezTo>
                <a:cubicBezTo>
                  <a:pt x="419" y="281"/>
                  <a:pt x="419" y="281"/>
                  <a:pt x="419" y="281"/>
                </a:cubicBezTo>
                <a:cubicBezTo>
                  <a:pt x="418" y="282"/>
                  <a:pt x="418" y="282"/>
                  <a:pt x="418" y="282"/>
                </a:cubicBezTo>
                <a:cubicBezTo>
                  <a:pt x="418" y="282"/>
                  <a:pt x="418" y="282"/>
                  <a:pt x="418" y="282"/>
                </a:cubicBezTo>
                <a:cubicBezTo>
                  <a:pt x="419" y="282"/>
                  <a:pt x="419" y="282"/>
                  <a:pt x="419" y="282"/>
                </a:cubicBezTo>
                <a:cubicBezTo>
                  <a:pt x="419" y="283"/>
                  <a:pt x="419" y="283"/>
                  <a:pt x="419" y="283"/>
                </a:cubicBezTo>
                <a:cubicBezTo>
                  <a:pt x="419" y="283"/>
                  <a:pt x="419" y="283"/>
                  <a:pt x="419" y="283"/>
                </a:cubicBezTo>
                <a:cubicBezTo>
                  <a:pt x="419" y="284"/>
                  <a:pt x="419" y="284"/>
                  <a:pt x="419" y="284"/>
                </a:cubicBezTo>
                <a:cubicBezTo>
                  <a:pt x="421" y="284"/>
                  <a:pt x="421" y="284"/>
                  <a:pt x="421" y="284"/>
                </a:cubicBezTo>
                <a:cubicBezTo>
                  <a:pt x="421" y="284"/>
                  <a:pt x="421" y="284"/>
                  <a:pt x="421" y="284"/>
                </a:cubicBezTo>
                <a:cubicBezTo>
                  <a:pt x="420" y="285"/>
                  <a:pt x="420" y="285"/>
                  <a:pt x="420" y="285"/>
                </a:cubicBezTo>
                <a:cubicBezTo>
                  <a:pt x="418" y="287"/>
                  <a:pt x="418" y="287"/>
                  <a:pt x="418" y="287"/>
                </a:cubicBezTo>
                <a:cubicBezTo>
                  <a:pt x="417" y="288"/>
                  <a:pt x="417" y="288"/>
                  <a:pt x="417" y="288"/>
                </a:cubicBezTo>
                <a:cubicBezTo>
                  <a:pt x="419" y="287"/>
                  <a:pt x="419" y="287"/>
                  <a:pt x="419" y="287"/>
                </a:cubicBezTo>
                <a:cubicBezTo>
                  <a:pt x="420" y="286"/>
                  <a:pt x="420" y="286"/>
                  <a:pt x="420" y="286"/>
                </a:cubicBezTo>
                <a:cubicBezTo>
                  <a:pt x="420" y="286"/>
                  <a:pt x="420" y="286"/>
                  <a:pt x="420" y="286"/>
                </a:cubicBezTo>
                <a:cubicBezTo>
                  <a:pt x="422" y="286"/>
                  <a:pt x="422" y="286"/>
                  <a:pt x="422" y="286"/>
                </a:cubicBezTo>
                <a:cubicBezTo>
                  <a:pt x="423" y="286"/>
                  <a:pt x="423" y="286"/>
                  <a:pt x="423" y="286"/>
                </a:cubicBezTo>
                <a:cubicBezTo>
                  <a:pt x="423" y="287"/>
                  <a:pt x="423" y="287"/>
                  <a:pt x="423" y="287"/>
                </a:cubicBezTo>
                <a:cubicBezTo>
                  <a:pt x="422" y="287"/>
                  <a:pt x="422" y="287"/>
                  <a:pt x="422" y="287"/>
                </a:cubicBezTo>
                <a:cubicBezTo>
                  <a:pt x="421" y="288"/>
                  <a:pt x="421" y="288"/>
                  <a:pt x="421" y="288"/>
                </a:cubicBezTo>
                <a:cubicBezTo>
                  <a:pt x="421" y="288"/>
                  <a:pt x="421" y="288"/>
                  <a:pt x="421" y="288"/>
                </a:cubicBezTo>
                <a:cubicBezTo>
                  <a:pt x="422" y="289"/>
                  <a:pt x="422" y="289"/>
                  <a:pt x="422" y="289"/>
                </a:cubicBezTo>
                <a:cubicBezTo>
                  <a:pt x="423" y="289"/>
                  <a:pt x="423" y="289"/>
                  <a:pt x="423" y="289"/>
                </a:cubicBezTo>
                <a:cubicBezTo>
                  <a:pt x="423" y="290"/>
                  <a:pt x="423" y="290"/>
                  <a:pt x="423" y="290"/>
                </a:cubicBezTo>
                <a:cubicBezTo>
                  <a:pt x="421" y="290"/>
                  <a:pt x="421" y="290"/>
                  <a:pt x="421" y="290"/>
                </a:cubicBezTo>
                <a:cubicBezTo>
                  <a:pt x="421" y="290"/>
                  <a:pt x="421" y="290"/>
                  <a:pt x="421" y="290"/>
                </a:cubicBezTo>
                <a:cubicBezTo>
                  <a:pt x="422" y="291"/>
                  <a:pt x="422" y="291"/>
                  <a:pt x="422" y="291"/>
                </a:cubicBezTo>
                <a:cubicBezTo>
                  <a:pt x="422" y="291"/>
                  <a:pt x="422" y="291"/>
                  <a:pt x="422" y="291"/>
                </a:cubicBezTo>
                <a:cubicBezTo>
                  <a:pt x="422" y="291"/>
                  <a:pt x="422" y="291"/>
                  <a:pt x="422" y="291"/>
                </a:cubicBezTo>
                <a:cubicBezTo>
                  <a:pt x="422" y="292"/>
                  <a:pt x="422" y="292"/>
                  <a:pt x="422" y="292"/>
                </a:cubicBezTo>
                <a:cubicBezTo>
                  <a:pt x="422" y="292"/>
                  <a:pt x="422" y="292"/>
                  <a:pt x="422" y="292"/>
                </a:cubicBezTo>
                <a:cubicBezTo>
                  <a:pt x="422" y="293"/>
                  <a:pt x="422" y="293"/>
                  <a:pt x="422" y="293"/>
                </a:cubicBezTo>
                <a:cubicBezTo>
                  <a:pt x="423" y="293"/>
                  <a:pt x="423" y="293"/>
                  <a:pt x="423" y="293"/>
                </a:cubicBezTo>
                <a:cubicBezTo>
                  <a:pt x="423" y="294"/>
                  <a:pt x="423" y="294"/>
                  <a:pt x="423" y="294"/>
                </a:cubicBezTo>
                <a:cubicBezTo>
                  <a:pt x="423" y="295"/>
                  <a:pt x="423" y="295"/>
                  <a:pt x="423" y="295"/>
                </a:cubicBezTo>
                <a:cubicBezTo>
                  <a:pt x="423" y="295"/>
                  <a:pt x="423" y="295"/>
                  <a:pt x="423" y="295"/>
                </a:cubicBezTo>
                <a:cubicBezTo>
                  <a:pt x="424" y="295"/>
                  <a:pt x="424" y="295"/>
                  <a:pt x="424" y="295"/>
                </a:cubicBezTo>
                <a:cubicBezTo>
                  <a:pt x="424" y="294"/>
                  <a:pt x="424" y="294"/>
                  <a:pt x="424" y="294"/>
                </a:cubicBezTo>
                <a:cubicBezTo>
                  <a:pt x="424" y="293"/>
                  <a:pt x="424" y="293"/>
                  <a:pt x="424" y="293"/>
                </a:cubicBezTo>
                <a:cubicBezTo>
                  <a:pt x="425" y="294"/>
                  <a:pt x="425" y="294"/>
                  <a:pt x="425" y="294"/>
                </a:cubicBezTo>
                <a:cubicBezTo>
                  <a:pt x="425" y="295"/>
                  <a:pt x="425" y="295"/>
                  <a:pt x="425" y="295"/>
                </a:cubicBezTo>
                <a:cubicBezTo>
                  <a:pt x="426" y="296"/>
                  <a:pt x="426" y="296"/>
                  <a:pt x="426" y="296"/>
                </a:cubicBezTo>
                <a:cubicBezTo>
                  <a:pt x="425" y="296"/>
                  <a:pt x="425" y="296"/>
                  <a:pt x="425" y="296"/>
                </a:cubicBezTo>
                <a:cubicBezTo>
                  <a:pt x="425" y="297"/>
                  <a:pt x="425" y="297"/>
                  <a:pt x="425" y="297"/>
                </a:cubicBezTo>
                <a:cubicBezTo>
                  <a:pt x="425" y="297"/>
                  <a:pt x="425" y="297"/>
                  <a:pt x="425" y="297"/>
                </a:cubicBezTo>
                <a:cubicBezTo>
                  <a:pt x="426" y="297"/>
                  <a:pt x="426" y="297"/>
                  <a:pt x="426" y="297"/>
                </a:cubicBezTo>
                <a:cubicBezTo>
                  <a:pt x="427" y="297"/>
                  <a:pt x="427" y="297"/>
                  <a:pt x="427" y="297"/>
                </a:cubicBezTo>
                <a:cubicBezTo>
                  <a:pt x="427" y="298"/>
                  <a:pt x="427" y="298"/>
                  <a:pt x="427" y="298"/>
                </a:cubicBezTo>
                <a:cubicBezTo>
                  <a:pt x="427" y="297"/>
                  <a:pt x="427" y="297"/>
                  <a:pt x="427" y="297"/>
                </a:cubicBezTo>
                <a:cubicBezTo>
                  <a:pt x="427" y="296"/>
                  <a:pt x="427" y="296"/>
                  <a:pt x="427" y="296"/>
                </a:cubicBezTo>
                <a:cubicBezTo>
                  <a:pt x="428" y="296"/>
                  <a:pt x="428" y="296"/>
                  <a:pt x="428" y="296"/>
                </a:cubicBezTo>
                <a:cubicBezTo>
                  <a:pt x="428" y="297"/>
                  <a:pt x="428" y="297"/>
                  <a:pt x="428" y="297"/>
                </a:cubicBezTo>
                <a:cubicBezTo>
                  <a:pt x="428" y="298"/>
                  <a:pt x="428" y="298"/>
                  <a:pt x="428" y="298"/>
                </a:cubicBezTo>
                <a:cubicBezTo>
                  <a:pt x="427" y="299"/>
                  <a:pt x="427" y="299"/>
                  <a:pt x="427" y="299"/>
                </a:cubicBezTo>
                <a:cubicBezTo>
                  <a:pt x="427" y="300"/>
                  <a:pt x="427" y="300"/>
                  <a:pt x="427" y="300"/>
                </a:cubicBezTo>
                <a:cubicBezTo>
                  <a:pt x="427" y="300"/>
                  <a:pt x="427" y="300"/>
                  <a:pt x="427" y="300"/>
                </a:cubicBezTo>
                <a:cubicBezTo>
                  <a:pt x="428" y="301"/>
                  <a:pt x="428" y="301"/>
                  <a:pt x="428" y="301"/>
                </a:cubicBezTo>
                <a:cubicBezTo>
                  <a:pt x="429" y="300"/>
                  <a:pt x="429" y="300"/>
                  <a:pt x="429" y="300"/>
                </a:cubicBezTo>
                <a:cubicBezTo>
                  <a:pt x="430" y="300"/>
                  <a:pt x="430" y="300"/>
                  <a:pt x="430" y="300"/>
                </a:cubicBezTo>
                <a:cubicBezTo>
                  <a:pt x="430" y="300"/>
                  <a:pt x="430" y="300"/>
                  <a:pt x="430" y="300"/>
                </a:cubicBezTo>
                <a:cubicBezTo>
                  <a:pt x="429" y="301"/>
                  <a:pt x="429" y="301"/>
                  <a:pt x="429" y="301"/>
                </a:cubicBezTo>
                <a:cubicBezTo>
                  <a:pt x="429" y="302"/>
                  <a:pt x="429" y="302"/>
                  <a:pt x="429" y="302"/>
                </a:cubicBezTo>
                <a:cubicBezTo>
                  <a:pt x="428" y="302"/>
                  <a:pt x="428" y="302"/>
                  <a:pt x="428" y="302"/>
                </a:cubicBezTo>
                <a:cubicBezTo>
                  <a:pt x="428" y="303"/>
                  <a:pt x="428" y="303"/>
                  <a:pt x="428" y="303"/>
                </a:cubicBezTo>
                <a:cubicBezTo>
                  <a:pt x="429" y="304"/>
                  <a:pt x="429" y="304"/>
                  <a:pt x="429" y="304"/>
                </a:cubicBezTo>
                <a:cubicBezTo>
                  <a:pt x="429" y="305"/>
                  <a:pt x="429" y="305"/>
                  <a:pt x="429" y="305"/>
                </a:cubicBezTo>
                <a:cubicBezTo>
                  <a:pt x="430" y="305"/>
                  <a:pt x="430" y="305"/>
                  <a:pt x="430" y="305"/>
                </a:cubicBezTo>
                <a:cubicBezTo>
                  <a:pt x="430" y="307"/>
                  <a:pt x="430" y="307"/>
                  <a:pt x="430" y="307"/>
                </a:cubicBezTo>
                <a:cubicBezTo>
                  <a:pt x="431" y="309"/>
                  <a:pt x="431" y="309"/>
                  <a:pt x="431" y="309"/>
                </a:cubicBezTo>
                <a:cubicBezTo>
                  <a:pt x="432" y="309"/>
                  <a:pt x="432" y="309"/>
                  <a:pt x="432" y="309"/>
                </a:cubicBezTo>
                <a:cubicBezTo>
                  <a:pt x="431" y="310"/>
                  <a:pt x="431" y="310"/>
                  <a:pt x="431" y="310"/>
                </a:cubicBezTo>
                <a:cubicBezTo>
                  <a:pt x="431" y="311"/>
                  <a:pt x="431" y="311"/>
                  <a:pt x="431" y="311"/>
                </a:cubicBezTo>
                <a:cubicBezTo>
                  <a:pt x="430" y="313"/>
                  <a:pt x="430" y="313"/>
                  <a:pt x="430" y="313"/>
                </a:cubicBezTo>
                <a:cubicBezTo>
                  <a:pt x="430" y="314"/>
                  <a:pt x="430" y="314"/>
                  <a:pt x="430" y="314"/>
                </a:cubicBezTo>
                <a:cubicBezTo>
                  <a:pt x="430" y="314"/>
                  <a:pt x="430" y="314"/>
                  <a:pt x="430" y="314"/>
                </a:cubicBezTo>
                <a:cubicBezTo>
                  <a:pt x="428" y="312"/>
                  <a:pt x="428" y="312"/>
                  <a:pt x="428" y="312"/>
                </a:cubicBezTo>
                <a:cubicBezTo>
                  <a:pt x="428" y="311"/>
                  <a:pt x="428" y="311"/>
                  <a:pt x="428" y="311"/>
                </a:cubicBezTo>
                <a:cubicBezTo>
                  <a:pt x="428" y="310"/>
                  <a:pt x="428" y="310"/>
                  <a:pt x="428" y="310"/>
                </a:cubicBezTo>
                <a:cubicBezTo>
                  <a:pt x="428" y="308"/>
                  <a:pt x="428" y="308"/>
                  <a:pt x="428" y="308"/>
                </a:cubicBezTo>
                <a:cubicBezTo>
                  <a:pt x="428" y="310"/>
                  <a:pt x="428" y="310"/>
                  <a:pt x="428" y="310"/>
                </a:cubicBezTo>
                <a:cubicBezTo>
                  <a:pt x="427" y="311"/>
                  <a:pt x="427" y="311"/>
                  <a:pt x="427" y="311"/>
                </a:cubicBezTo>
                <a:cubicBezTo>
                  <a:pt x="428" y="313"/>
                  <a:pt x="428" y="313"/>
                  <a:pt x="428" y="313"/>
                </a:cubicBezTo>
                <a:cubicBezTo>
                  <a:pt x="428" y="315"/>
                  <a:pt x="428" y="315"/>
                  <a:pt x="428" y="315"/>
                </a:cubicBezTo>
                <a:cubicBezTo>
                  <a:pt x="428" y="316"/>
                  <a:pt x="428" y="316"/>
                  <a:pt x="428" y="316"/>
                </a:cubicBezTo>
                <a:cubicBezTo>
                  <a:pt x="428" y="318"/>
                  <a:pt x="428" y="318"/>
                  <a:pt x="428" y="318"/>
                </a:cubicBezTo>
                <a:cubicBezTo>
                  <a:pt x="428" y="318"/>
                  <a:pt x="428" y="318"/>
                  <a:pt x="428" y="318"/>
                </a:cubicBezTo>
                <a:cubicBezTo>
                  <a:pt x="427" y="318"/>
                  <a:pt x="427" y="318"/>
                  <a:pt x="427" y="318"/>
                </a:cubicBezTo>
                <a:cubicBezTo>
                  <a:pt x="426" y="317"/>
                  <a:pt x="426" y="317"/>
                  <a:pt x="426" y="317"/>
                </a:cubicBezTo>
                <a:cubicBezTo>
                  <a:pt x="425" y="317"/>
                  <a:pt x="425" y="317"/>
                  <a:pt x="425" y="317"/>
                </a:cubicBezTo>
                <a:cubicBezTo>
                  <a:pt x="426" y="319"/>
                  <a:pt x="426" y="319"/>
                  <a:pt x="426" y="319"/>
                </a:cubicBezTo>
                <a:cubicBezTo>
                  <a:pt x="426" y="321"/>
                  <a:pt x="426" y="321"/>
                  <a:pt x="426" y="321"/>
                </a:cubicBezTo>
                <a:cubicBezTo>
                  <a:pt x="426" y="321"/>
                  <a:pt x="426" y="321"/>
                  <a:pt x="426" y="321"/>
                </a:cubicBezTo>
                <a:cubicBezTo>
                  <a:pt x="426" y="322"/>
                  <a:pt x="426" y="322"/>
                  <a:pt x="426" y="322"/>
                </a:cubicBezTo>
                <a:cubicBezTo>
                  <a:pt x="425" y="322"/>
                  <a:pt x="425" y="322"/>
                  <a:pt x="425" y="322"/>
                </a:cubicBezTo>
                <a:cubicBezTo>
                  <a:pt x="424" y="321"/>
                  <a:pt x="424" y="321"/>
                  <a:pt x="424" y="321"/>
                </a:cubicBezTo>
                <a:cubicBezTo>
                  <a:pt x="424" y="319"/>
                  <a:pt x="424" y="319"/>
                  <a:pt x="424" y="319"/>
                </a:cubicBezTo>
                <a:cubicBezTo>
                  <a:pt x="424" y="318"/>
                  <a:pt x="424" y="318"/>
                  <a:pt x="424" y="318"/>
                </a:cubicBezTo>
                <a:cubicBezTo>
                  <a:pt x="424" y="317"/>
                  <a:pt x="424" y="317"/>
                  <a:pt x="424" y="317"/>
                </a:cubicBezTo>
                <a:cubicBezTo>
                  <a:pt x="424" y="318"/>
                  <a:pt x="424" y="318"/>
                  <a:pt x="424" y="318"/>
                </a:cubicBezTo>
                <a:cubicBezTo>
                  <a:pt x="423" y="318"/>
                  <a:pt x="423" y="318"/>
                  <a:pt x="423" y="318"/>
                </a:cubicBezTo>
                <a:cubicBezTo>
                  <a:pt x="422" y="317"/>
                  <a:pt x="422" y="317"/>
                  <a:pt x="422" y="317"/>
                </a:cubicBezTo>
                <a:cubicBezTo>
                  <a:pt x="422" y="315"/>
                  <a:pt x="422" y="315"/>
                  <a:pt x="422" y="315"/>
                </a:cubicBezTo>
                <a:cubicBezTo>
                  <a:pt x="422" y="316"/>
                  <a:pt x="422" y="316"/>
                  <a:pt x="422" y="316"/>
                </a:cubicBezTo>
                <a:cubicBezTo>
                  <a:pt x="422" y="317"/>
                  <a:pt x="422" y="317"/>
                  <a:pt x="422" y="317"/>
                </a:cubicBezTo>
                <a:cubicBezTo>
                  <a:pt x="421" y="316"/>
                  <a:pt x="421" y="316"/>
                  <a:pt x="421" y="316"/>
                </a:cubicBezTo>
                <a:cubicBezTo>
                  <a:pt x="421" y="316"/>
                  <a:pt x="421" y="316"/>
                  <a:pt x="421" y="316"/>
                </a:cubicBezTo>
                <a:cubicBezTo>
                  <a:pt x="421" y="314"/>
                  <a:pt x="421" y="314"/>
                  <a:pt x="421" y="314"/>
                </a:cubicBezTo>
                <a:cubicBezTo>
                  <a:pt x="420" y="314"/>
                  <a:pt x="420" y="314"/>
                  <a:pt x="420" y="314"/>
                </a:cubicBezTo>
                <a:cubicBezTo>
                  <a:pt x="420" y="315"/>
                  <a:pt x="420" y="315"/>
                  <a:pt x="420" y="315"/>
                </a:cubicBezTo>
                <a:cubicBezTo>
                  <a:pt x="421" y="315"/>
                  <a:pt x="421" y="315"/>
                  <a:pt x="421" y="315"/>
                </a:cubicBezTo>
                <a:cubicBezTo>
                  <a:pt x="420" y="316"/>
                  <a:pt x="420" y="316"/>
                  <a:pt x="420" y="316"/>
                </a:cubicBezTo>
                <a:cubicBezTo>
                  <a:pt x="420" y="316"/>
                  <a:pt x="420" y="316"/>
                  <a:pt x="420" y="316"/>
                </a:cubicBezTo>
                <a:cubicBezTo>
                  <a:pt x="419" y="315"/>
                  <a:pt x="419" y="315"/>
                  <a:pt x="419" y="315"/>
                </a:cubicBezTo>
                <a:cubicBezTo>
                  <a:pt x="419" y="314"/>
                  <a:pt x="419" y="314"/>
                  <a:pt x="419" y="314"/>
                </a:cubicBezTo>
                <a:cubicBezTo>
                  <a:pt x="419" y="313"/>
                  <a:pt x="419" y="313"/>
                  <a:pt x="419" y="313"/>
                </a:cubicBezTo>
                <a:cubicBezTo>
                  <a:pt x="418" y="311"/>
                  <a:pt x="418" y="311"/>
                  <a:pt x="418" y="311"/>
                </a:cubicBezTo>
                <a:cubicBezTo>
                  <a:pt x="418" y="311"/>
                  <a:pt x="418" y="311"/>
                  <a:pt x="418" y="311"/>
                </a:cubicBezTo>
                <a:cubicBezTo>
                  <a:pt x="418" y="312"/>
                  <a:pt x="418" y="312"/>
                  <a:pt x="418" y="312"/>
                </a:cubicBezTo>
                <a:cubicBezTo>
                  <a:pt x="418" y="314"/>
                  <a:pt x="418" y="314"/>
                  <a:pt x="418" y="314"/>
                </a:cubicBezTo>
                <a:cubicBezTo>
                  <a:pt x="418" y="315"/>
                  <a:pt x="418" y="315"/>
                  <a:pt x="418" y="315"/>
                </a:cubicBezTo>
                <a:cubicBezTo>
                  <a:pt x="418" y="315"/>
                  <a:pt x="418" y="315"/>
                  <a:pt x="418" y="315"/>
                </a:cubicBezTo>
                <a:cubicBezTo>
                  <a:pt x="417" y="313"/>
                  <a:pt x="417" y="313"/>
                  <a:pt x="417" y="313"/>
                </a:cubicBezTo>
                <a:cubicBezTo>
                  <a:pt x="416" y="313"/>
                  <a:pt x="416" y="313"/>
                  <a:pt x="416" y="313"/>
                </a:cubicBezTo>
                <a:cubicBezTo>
                  <a:pt x="416" y="312"/>
                  <a:pt x="416" y="312"/>
                  <a:pt x="416" y="312"/>
                </a:cubicBezTo>
                <a:cubicBezTo>
                  <a:pt x="415" y="312"/>
                  <a:pt x="415" y="312"/>
                  <a:pt x="415" y="312"/>
                </a:cubicBezTo>
                <a:cubicBezTo>
                  <a:pt x="415" y="310"/>
                  <a:pt x="415" y="310"/>
                  <a:pt x="415" y="310"/>
                </a:cubicBezTo>
                <a:cubicBezTo>
                  <a:pt x="414" y="309"/>
                  <a:pt x="414" y="309"/>
                  <a:pt x="414" y="309"/>
                </a:cubicBezTo>
                <a:cubicBezTo>
                  <a:pt x="414" y="309"/>
                  <a:pt x="414" y="309"/>
                  <a:pt x="414" y="309"/>
                </a:cubicBezTo>
                <a:cubicBezTo>
                  <a:pt x="414" y="308"/>
                  <a:pt x="414" y="308"/>
                  <a:pt x="414" y="308"/>
                </a:cubicBezTo>
                <a:cubicBezTo>
                  <a:pt x="413" y="308"/>
                  <a:pt x="413" y="308"/>
                  <a:pt x="413" y="308"/>
                </a:cubicBezTo>
                <a:cubicBezTo>
                  <a:pt x="413" y="309"/>
                  <a:pt x="413" y="309"/>
                  <a:pt x="413" y="309"/>
                </a:cubicBezTo>
                <a:cubicBezTo>
                  <a:pt x="413" y="310"/>
                  <a:pt x="413" y="310"/>
                  <a:pt x="413" y="310"/>
                </a:cubicBezTo>
                <a:cubicBezTo>
                  <a:pt x="413" y="311"/>
                  <a:pt x="413" y="311"/>
                  <a:pt x="413" y="311"/>
                </a:cubicBezTo>
                <a:cubicBezTo>
                  <a:pt x="413" y="311"/>
                  <a:pt x="413" y="311"/>
                  <a:pt x="413" y="311"/>
                </a:cubicBezTo>
                <a:cubicBezTo>
                  <a:pt x="413" y="310"/>
                  <a:pt x="413" y="310"/>
                  <a:pt x="413" y="310"/>
                </a:cubicBezTo>
                <a:cubicBezTo>
                  <a:pt x="412" y="309"/>
                  <a:pt x="412" y="309"/>
                  <a:pt x="412" y="309"/>
                </a:cubicBezTo>
                <a:cubicBezTo>
                  <a:pt x="411" y="309"/>
                  <a:pt x="411" y="309"/>
                  <a:pt x="411" y="309"/>
                </a:cubicBezTo>
                <a:cubicBezTo>
                  <a:pt x="410" y="307"/>
                  <a:pt x="410" y="307"/>
                  <a:pt x="410" y="307"/>
                </a:cubicBezTo>
                <a:cubicBezTo>
                  <a:pt x="410" y="306"/>
                  <a:pt x="410" y="306"/>
                  <a:pt x="410" y="306"/>
                </a:cubicBezTo>
                <a:cubicBezTo>
                  <a:pt x="409" y="306"/>
                  <a:pt x="409" y="306"/>
                  <a:pt x="409" y="306"/>
                </a:cubicBezTo>
                <a:cubicBezTo>
                  <a:pt x="408" y="306"/>
                  <a:pt x="408" y="306"/>
                  <a:pt x="408" y="306"/>
                </a:cubicBezTo>
                <a:cubicBezTo>
                  <a:pt x="407" y="306"/>
                  <a:pt x="407" y="306"/>
                  <a:pt x="407" y="306"/>
                </a:cubicBezTo>
                <a:cubicBezTo>
                  <a:pt x="407" y="307"/>
                  <a:pt x="407" y="307"/>
                  <a:pt x="407" y="307"/>
                </a:cubicBezTo>
                <a:cubicBezTo>
                  <a:pt x="408" y="309"/>
                  <a:pt x="408" y="309"/>
                  <a:pt x="408" y="309"/>
                </a:cubicBezTo>
                <a:cubicBezTo>
                  <a:pt x="409" y="310"/>
                  <a:pt x="409" y="310"/>
                  <a:pt x="409" y="310"/>
                </a:cubicBezTo>
                <a:cubicBezTo>
                  <a:pt x="409" y="311"/>
                  <a:pt x="409" y="311"/>
                  <a:pt x="409" y="311"/>
                </a:cubicBezTo>
                <a:cubicBezTo>
                  <a:pt x="409" y="311"/>
                  <a:pt x="409" y="311"/>
                  <a:pt x="409" y="311"/>
                </a:cubicBezTo>
                <a:cubicBezTo>
                  <a:pt x="410" y="313"/>
                  <a:pt x="410" y="313"/>
                  <a:pt x="410" y="313"/>
                </a:cubicBezTo>
                <a:cubicBezTo>
                  <a:pt x="410" y="313"/>
                  <a:pt x="410" y="313"/>
                  <a:pt x="410" y="313"/>
                </a:cubicBezTo>
                <a:cubicBezTo>
                  <a:pt x="412" y="313"/>
                  <a:pt x="412" y="313"/>
                  <a:pt x="412" y="313"/>
                </a:cubicBezTo>
                <a:cubicBezTo>
                  <a:pt x="412" y="314"/>
                  <a:pt x="412" y="314"/>
                  <a:pt x="412" y="314"/>
                </a:cubicBezTo>
                <a:cubicBezTo>
                  <a:pt x="412" y="315"/>
                  <a:pt x="412" y="315"/>
                  <a:pt x="412" y="315"/>
                </a:cubicBezTo>
                <a:cubicBezTo>
                  <a:pt x="413" y="315"/>
                  <a:pt x="413" y="315"/>
                  <a:pt x="413" y="315"/>
                </a:cubicBezTo>
                <a:cubicBezTo>
                  <a:pt x="413" y="315"/>
                  <a:pt x="413" y="315"/>
                  <a:pt x="413" y="315"/>
                </a:cubicBezTo>
                <a:cubicBezTo>
                  <a:pt x="413" y="316"/>
                  <a:pt x="413" y="316"/>
                  <a:pt x="413" y="316"/>
                </a:cubicBezTo>
                <a:cubicBezTo>
                  <a:pt x="414" y="316"/>
                  <a:pt x="414" y="316"/>
                  <a:pt x="414" y="316"/>
                </a:cubicBezTo>
                <a:cubicBezTo>
                  <a:pt x="414" y="317"/>
                  <a:pt x="414" y="317"/>
                  <a:pt x="414" y="317"/>
                </a:cubicBezTo>
                <a:cubicBezTo>
                  <a:pt x="415" y="318"/>
                  <a:pt x="415" y="318"/>
                  <a:pt x="415" y="318"/>
                </a:cubicBezTo>
                <a:cubicBezTo>
                  <a:pt x="415" y="319"/>
                  <a:pt x="415" y="319"/>
                  <a:pt x="415" y="319"/>
                </a:cubicBezTo>
                <a:cubicBezTo>
                  <a:pt x="416" y="319"/>
                  <a:pt x="416" y="319"/>
                  <a:pt x="416" y="319"/>
                </a:cubicBezTo>
                <a:cubicBezTo>
                  <a:pt x="416" y="319"/>
                  <a:pt x="416" y="319"/>
                  <a:pt x="416" y="319"/>
                </a:cubicBezTo>
                <a:cubicBezTo>
                  <a:pt x="417" y="320"/>
                  <a:pt x="417" y="320"/>
                  <a:pt x="417" y="320"/>
                </a:cubicBezTo>
                <a:cubicBezTo>
                  <a:pt x="416" y="322"/>
                  <a:pt x="416" y="322"/>
                  <a:pt x="416" y="322"/>
                </a:cubicBezTo>
                <a:cubicBezTo>
                  <a:pt x="416" y="322"/>
                  <a:pt x="416" y="322"/>
                  <a:pt x="416" y="322"/>
                </a:cubicBezTo>
                <a:cubicBezTo>
                  <a:pt x="417" y="322"/>
                  <a:pt x="417" y="322"/>
                  <a:pt x="417" y="322"/>
                </a:cubicBezTo>
                <a:cubicBezTo>
                  <a:pt x="417" y="323"/>
                  <a:pt x="417" y="323"/>
                  <a:pt x="417" y="323"/>
                </a:cubicBezTo>
                <a:cubicBezTo>
                  <a:pt x="418" y="322"/>
                  <a:pt x="418" y="322"/>
                  <a:pt x="418" y="322"/>
                </a:cubicBezTo>
                <a:cubicBezTo>
                  <a:pt x="418" y="322"/>
                  <a:pt x="418" y="322"/>
                  <a:pt x="418" y="322"/>
                </a:cubicBezTo>
                <a:cubicBezTo>
                  <a:pt x="418" y="324"/>
                  <a:pt x="418" y="324"/>
                  <a:pt x="418" y="324"/>
                </a:cubicBezTo>
                <a:cubicBezTo>
                  <a:pt x="418" y="324"/>
                  <a:pt x="418" y="324"/>
                  <a:pt x="418" y="324"/>
                </a:cubicBezTo>
                <a:cubicBezTo>
                  <a:pt x="419" y="324"/>
                  <a:pt x="419" y="324"/>
                  <a:pt x="419" y="324"/>
                </a:cubicBezTo>
                <a:cubicBezTo>
                  <a:pt x="419" y="324"/>
                  <a:pt x="419" y="324"/>
                  <a:pt x="419" y="324"/>
                </a:cubicBezTo>
                <a:cubicBezTo>
                  <a:pt x="419" y="325"/>
                  <a:pt x="419" y="325"/>
                  <a:pt x="419" y="325"/>
                </a:cubicBezTo>
                <a:cubicBezTo>
                  <a:pt x="418" y="325"/>
                  <a:pt x="418" y="325"/>
                  <a:pt x="418" y="325"/>
                </a:cubicBezTo>
                <a:cubicBezTo>
                  <a:pt x="417" y="325"/>
                  <a:pt x="417" y="325"/>
                  <a:pt x="417" y="325"/>
                </a:cubicBezTo>
                <a:cubicBezTo>
                  <a:pt x="418" y="326"/>
                  <a:pt x="418" y="326"/>
                  <a:pt x="418" y="326"/>
                </a:cubicBezTo>
                <a:cubicBezTo>
                  <a:pt x="418" y="327"/>
                  <a:pt x="418" y="327"/>
                  <a:pt x="418" y="327"/>
                </a:cubicBezTo>
                <a:cubicBezTo>
                  <a:pt x="418" y="328"/>
                  <a:pt x="418" y="328"/>
                  <a:pt x="418" y="328"/>
                </a:cubicBezTo>
                <a:cubicBezTo>
                  <a:pt x="418" y="328"/>
                  <a:pt x="418" y="328"/>
                  <a:pt x="418" y="328"/>
                </a:cubicBezTo>
                <a:close/>
                <a:moveTo>
                  <a:pt x="313" y="297"/>
                </a:moveTo>
                <a:cubicBezTo>
                  <a:pt x="313" y="297"/>
                  <a:pt x="314" y="297"/>
                  <a:pt x="314" y="297"/>
                </a:cubicBezTo>
                <a:cubicBezTo>
                  <a:pt x="314" y="296"/>
                  <a:pt x="314" y="296"/>
                  <a:pt x="314" y="296"/>
                </a:cubicBezTo>
                <a:cubicBezTo>
                  <a:pt x="315" y="296"/>
                  <a:pt x="315" y="296"/>
                  <a:pt x="315" y="296"/>
                </a:cubicBezTo>
                <a:cubicBezTo>
                  <a:pt x="315" y="296"/>
                  <a:pt x="315" y="296"/>
                  <a:pt x="315" y="296"/>
                </a:cubicBezTo>
                <a:cubicBezTo>
                  <a:pt x="316" y="297"/>
                  <a:pt x="316" y="297"/>
                  <a:pt x="316" y="297"/>
                </a:cubicBezTo>
                <a:cubicBezTo>
                  <a:pt x="317" y="297"/>
                  <a:pt x="317" y="297"/>
                  <a:pt x="317" y="297"/>
                </a:cubicBezTo>
                <a:cubicBezTo>
                  <a:pt x="317" y="296"/>
                  <a:pt x="317" y="296"/>
                  <a:pt x="317" y="296"/>
                </a:cubicBezTo>
                <a:cubicBezTo>
                  <a:pt x="318" y="296"/>
                  <a:pt x="318" y="296"/>
                  <a:pt x="318" y="296"/>
                </a:cubicBezTo>
                <a:cubicBezTo>
                  <a:pt x="319" y="297"/>
                  <a:pt x="319" y="297"/>
                  <a:pt x="319" y="297"/>
                </a:cubicBezTo>
                <a:cubicBezTo>
                  <a:pt x="319" y="298"/>
                  <a:pt x="319" y="298"/>
                  <a:pt x="319" y="298"/>
                </a:cubicBezTo>
                <a:cubicBezTo>
                  <a:pt x="318" y="299"/>
                  <a:pt x="318" y="299"/>
                  <a:pt x="318" y="299"/>
                </a:cubicBezTo>
                <a:cubicBezTo>
                  <a:pt x="318" y="300"/>
                  <a:pt x="318" y="300"/>
                  <a:pt x="318" y="300"/>
                </a:cubicBezTo>
                <a:cubicBezTo>
                  <a:pt x="317" y="301"/>
                  <a:pt x="317" y="301"/>
                  <a:pt x="317" y="301"/>
                </a:cubicBezTo>
                <a:cubicBezTo>
                  <a:pt x="317" y="302"/>
                  <a:pt x="317" y="302"/>
                  <a:pt x="317" y="302"/>
                </a:cubicBezTo>
                <a:cubicBezTo>
                  <a:pt x="318" y="303"/>
                  <a:pt x="318" y="303"/>
                  <a:pt x="318" y="303"/>
                </a:cubicBezTo>
                <a:cubicBezTo>
                  <a:pt x="318" y="303"/>
                  <a:pt x="318" y="303"/>
                  <a:pt x="318" y="303"/>
                </a:cubicBezTo>
                <a:cubicBezTo>
                  <a:pt x="319" y="303"/>
                  <a:pt x="319" y="303"/>
                  <a:pt x="319" y="303"/>
                </a:cubicBezTo>
                <a:cubicBezTo>
                  <a:pt x="320" y="303"/>
                  <a:pt x="320" y="303"/>
                  <a:pt x="320" y="303"/>
                </a:cubicBezTo>
                <a:cubicBezTo>
                  <a:pt x="320" y="302"/>
                  <a:pt x="320" y="302"/>
                  <a:pt x="320" y="302"/>
                </a:cubicBezTo>
                <a:cubicBezTo>
                  <a:pt x="321" y="303"/>
                  <a:pt x="321" y="303"/>
                  <a:pt x="321" y="303"/>
                </a:cubicBezTo>
                <a:cubicBezTo>
                  <a:pt x="322" y="302"/>
                  <a:pt x="322" y="302"/>
                  <a:pt x="322" y="302"/>
                </a:cubicBezTo>
                <a:cubicBezTo>
                  <a:pt x="323" y="301"/>
                  <a:pt x="323" y="301"/>
                  <a:pt x="323" y="301"/>
                </a:cubicBezTo>
                <a:cubicBezTo>
                  <a:pt x="323" y="302"/>
                  <a:pt x="323" y="302"/>
                  <a:pt x="323" y="302"/>
                </a:cubicBezTo>
                <a:cubicBezTo>
                  <a:pt x="324" y="301"/>
                  <a:pt x="324" y="301"/>
                  <a:pt x="324" y="301"/>
                </a:cubicBezTo>
                <a:cubicBezTo>
                  <a:pt x="325" y="299"/>
                  <a:pt x="325" y="299"/>
                  <a:pt x="325" y="299"/>
                </a:cubicBezTo>
                <a:cubicBezTo>
                  <a:pt x="326" y="298"/>
                  <a:pt x="326" y="298"/>
                  <a:pt x="326" y="298"/>
                </a:cubicBezTo>
                <a:cubicBezTo>
                  <a:pt x="326" y="298"/>
                  <a:pt x="326" y="298"/>
                  <a:pt x="326" y="298"/>
                </a:cubicBezTo>
                <a:cubicBezTo>
                  <a:pt x="327" y="298"/>
                  <a:pt x="327" y="298"/>
                  <a:pt x="327" y="298"/>
                </a:cubicBezTo>
                <a:cubicBezTo>
                  <a:pt x="327" y="298"/>
                  <a:pt x="327" y="298"/>
                  <a:pt x="327" y="298"/>
                </a:cubicBezTo>
                <a:cubicBezTo>
                  <a:pt x="328" y="297"/>
                  <a:pt x="328" y="297"/>
                  <a:pt x="328" y="297"/>
                </a:cubicBezTo>
                <a:cubicBezTo>
                  <a:pt x="329" y="297"/>
                  <a:pt x="329" y="297"/>
                  <a:pt x="329" y="297"/>
                </a:cubicBezTo>
                <a:cubicBezTo>
                  <a:pt x="330" y="297"/>
                  <a:pt x="330" y="297"/>
                  <a:pt x="330" y="297"/>
                </a:cubicBezTo>
                <a:cubicBezTo>
                  <a:pt x="330" y="296"/>
                  <a:pt x="330" y="296"/>
                  <a:pt x="330" y="296"/>
                </a:cubicBezTo>
                <a:cubicBezTo>
                  <a:pt x="330" y="294"/>
                  <a:pt x="330" y="294"/>
                  <a:pt x="330" y="294"/>
                </a:cubicBezTo>
                <a:cubicBezTo>
                  <a:pt x="331" y="293"/>
                  <a:pt x="331" y="293"/>
                  <a:pt x="331" y="293"/>
                </a:cubicBezTo>
                <a:cubicBezTo>
                  <a:pt x="331" y="292"/>
                  <a:pt x="331" y="292"/>
                  <a:pt x="331" y="292"/>
                </a:cubicBezTo>
                <a:cubicBezTo>
                  <a:pt x="332" y="292"/>
                  <a:pt x="332" y="292"/>
                  <a:pt x="332" y="292"/>
                </a:cubicBezTo>
                <a:cubicBezTo>
                  <a:pt x="333" y="293"/>
                  <a:pt x="333" y="293"/>
                  <a:pt x="333" y="293"/>
                </a:cubicBezTo>
                <a:cubicBezTo>
                  <a:pt x="333" y="292"/>
                  <a:pt x="333" y="292"/>
                  <a:pt x="333" y="292"/>
                </a:cubicBezTo>
                <a:cubicBezTo>
                  <a:pt x="334" y="292"/>
                  <a:pt x="334" y="292"/>
                  <a:pt x="334" y="292"/>
                </a:cubicBezTo>
                <a:cubicBezTo>
                  <a:pt x="335" y="292"/>
                  <a:pt x="335" y="292"/>
                  <a:pt x="335" y="292"/>
                </a:cubicBezTo>
                <a:cubicBezTo>
                  <a:pt x="335" y="293"/>
                  <a:pt x="335" y="293"/>
                  <a:pt x="335" y="293"/>
                </a:cubicBezTo>
                <a:cubicBezTo>
                  <a:pt x="334" y="294"/>
                  <a:pt x="334" y="294"/>
                  <a:pt x="334" y="294"/>
                </a:cubicBezTo>
                <a:cubicBezTo>
                  <a:pt x="333" y="295"/>
                  <a:pt x="333" y="295"/>
                  <a:pt x="333" y="295"/>
                </a:cubicBezTo>
                <a:cubicBezTo>
                  <a:pt x="334" y="295"/>
                  <a:pt x="334" y="295"/>
                  <a:pt x="334" y="295"/>
                </a:cubicBezTo>
                <a:cubicBezTo>
                  <a:pt x="336" y="295"/>
                  <a:pt x="336" y="295"/>
                  <a:pt x="336" y="295"/>
                </a:cubicBezTo>
                <a:cubicBezTo>
                  <a:pt x="337" y="296"/>
                  <a:pt x="337" y="296"/>
                  <a:pt x="337" y="296"/>
                </a:cubicBezTo>
                <a:cubicBezTo>
                  <a:pt x="337" y="297"/>
                  <a:pt x="337" y="297"/>
                  <a:pt x="337" y="297"/>
                </a:cubicBezTo>
                <a:cubicBezTo>
                  <a:pt x="337" y="298"/>
                  <a:pt x="337" y="298"/>
                  <a:pt x="337" y="298"/>
                </a:cubicBezTo>
                <a:cubicBezTo>
                  <a:pt x="336" y="298"/>
                  <a:pt x="336" y="298"/>
                  <a:pt x="336" y="298"/>
                </a:cubicBezTo>
                <a:cubicBezTo>
                  <a:pt x="336" y="299"/>
                  <a:pt x="336" y="299"/>
                  <a:pt x="336" y="299"/>
                </a:cubicBezTo>
                <a:cubicBezTo>
                  <a:pt x="336" y="300"/>
                  <a:pt x="336" y="300"/>
                  <a:pt x="336" y="300"/>
                </a:cubicBezTo>
                <a:cubicBezTo>
                  <a:pt x="337" y="299"/>
                  <a:pt x="337" y="299"/>
                  <a:pt x="337" y="299"/>
                </a:cubicBezTo>
                <a:cubicBezTo>
                  <a:pt x="338" y="299"/>
                  <a:pt x="338" y="299"/>
                  <a:pt x="338" y="299"/>
                </a:cubicBezTo>
                <a:cubicBezTo>
                  <a:pt x="338" y="300"/>
                  <a:pt x="338" y="300"/>
                  <a:pt x="338" y="300"/>
                </a:cubicBezTo>
                <a:cubicBezTo>
                  <a:pt x="339" y="300"/>
                  <a:pt x="339" y="300"/>
                  <a:pt x="339" y="300"/>
                </a:cubicBezTo>
                <a:cubicBezTo>
                  <a:pt x="339" y="300"/>
                  <a:pt x="339" y="300"/>
                  <a:pt x="339" y="300"/>
                </a:cubicBezTo>
                <a:cubicBezTo>
                  <a:pt x="340" y="300"/>
                  <a:pt x="340" y="300"/>
                  <a:pt x="340" y="300"/>
                </a:cubicBezTo>
                <a:cubicBezTo>
                  <a:pt x="341" y="301"/>
                  <a:pt x="341" y="301"/>
                  <a:pt x="341" y="301"/>
                </a:cubicBezTo>
                <a:cubicBezTo>
                  <a:pt x="342" y="301"/>
                  <a:pt x="342" y="301"/>
                  <a:pt x="342" y="301"/>
                </a:cubicBezTo>
                <a:cubicBezTo>
                  <a:pt x="343" y="302"/>
                  <a:pt x="343" y="302"/>
                  <a:pt x="343" y="302"/>
                </a:cubicBezTo>
                <a:cubicBezTo>
                  <a:pt x="344" y="302"/>
                  <a:pt x="344" y="302"/>
                  <a:pt x="344" y="302"/>
                </a:cubicBezTo>
                <a:cubicBezTo>
                  <a:pt x="345" y="300"/>
                  <a:pt x="345" y="300"/>
                  <a:pt x="345" y="300"/>
                </a:cubicBezTo>
                <a:cubicBezTo>
                  <a:pt x="345" y="300"/>
                  <a:pt x="345" y="300"/>
                  <a:pt x="345" y="300"/>
                </a:cubicBezTo>
                <a:cubicBezTo>
                  <a:pt x="346" y="299"/>
                  <a:pt x="346" y="299"/>
                  <a:pt x="346" y="299"/>
                </a:cubicBezTo>
                <a:cubicBezTo>
                  <a:pt x="347" y="299"/>
                  <a:pt x="347" y="299"/>
                  <a:pt x="347" y="299"/>
                </a:cubicBezTo>
                <a:cubicBezTo>
                  <a:pt x="348" y="298"/>
                  <a:pt x="348" y="298"/>
                  <a:pt x="348" y="298"/>
                </a:cubicBezTo>
                <a:cubicBezTo>
                  <a:pt x="347" y="298"/>
                  <a:pt x="347" y="298"/>
                  <a:pt x="347" y="298"/>
                </a:cubicBezTo>
                <a:cubicBezTo>
                  <a:pt x="346" y="297"/>
                  <a:pt x="346" y="297"/>
                  <a:pt x="346" y="297"/>
                </a:cubicBezTo>
                <a:cubicBezTo>
                  <a:pt x="347" y="297"/>
                  <a:pt x="347" y="297"/>
                  <a:pt x="347" y="297"/>
                </a:cubicBezTo>
                <a:cubicBezTo>
                  <a:pt x="347" y="296"/>
                  <a:pt x="347" y="296"/>
                  <a:pt x="347" y="296"/>
                </a:cubicBezTo>
                <a:cubicBezTo>
                  <a:pt x="347" y="296"/>
                  <a:pt x="347" y="296"/>
                  <a:pt x="347" y="296"/>
                </a:cubicBezTo>
                <a:cubicBezTo>
                  <a:pt x="346" y="295"/>
                  <a:pt x="346" y="295"/>
                  <a:pt x="346" y="295"/>
                </a:cubicBezTo>
                <a:cubicBezTo>
                  <a:pt x="346" y="295"/>
                  <a:pt x="346" y="295"/>
                  <a:pt x="346" y="295"/>
                </a:cubicBezTo>
                <a:cubicBezTo>
                  <a:pt x="346" y="296"/>
                  <a:pt x="346" y="296"/>
                  <a:pt x="346" y="296"/>
                </a:cubicBezTo>
                <a:cubicBezTo>
                  <a:pt x="345" y="296"/>
                  <a:pt x="345" y="296"/>
                  <a:pt x="345" y="296"/>
                </a:cubicBezTo>
                <a:cubicBezTo>
                  <a:pt x="345" y="296"/>
                  <a:pt x="345" y="296"/>
                  <a:pt x="345" y="296"/>
                </a:cubicBezTo>
                <a:cubicBezTo>
                  <a:pt x="344" y="295"/>
                  <a:pt x="344" y="295"/>
                  <a:pt x="344" y="295"/>
                </a:cubicBezTo>
                <a:cubicBezTo>
                  <a:pt x="344" y="295"/>
                  <a:pt x="344" y="295"/>
                  <a:pt x="344" y="295"/>
                </a:cubicBezTo>
                <a:cubicBezTo>
                  <a:pt x="343" y="295"/>
                  <a:pt x="343" y="295"/>
                  <a:pt x="343" y="295"/>
                </a:cubicBezTo>
                <a:cubicBezTo>
                  <a:pt x="342" y="296"/>
                  <a:pt x="342" y="296"/>
                  <a:pt x="342" y="296"/>
                </a:cubicBezTo>
                <a:cubicBezTo>
                  <a:pt x="340" y="296"/>
                  <a:pt x="340" y="296"/>
                  <a:pt x="340" y="296"/>
                </a:cubicBezTo>
                <a:cubicBezTo>
                  <a:pt x="340" y="295"/>
                  <a:pt x="340" y="295"/>
                  <a:pt x="340" y="295"/>
                </a:cubicBezTo>
                <a:cubicBezTo>
                  <a:pt x="341" y="294"/>
                  <a:pt x="341" y="294"/>
                  <a:pt x="341" y="294"/>
                </a:cubicBezTo>
                <a:cubicBezTo>
                  <a:pt x="341" y="294"/>
                  <a:pt x="341" y="294"/>
                  <a:pt x="341" y="294"/>
                </a:cubicBezTo>
                <a:cubicBezTo>
                  <a:pt x="342" y="294"/>
                  <a:pt x="342" y="294"/>
                  <a:pt x="342" y="294"/>
                </a:cubicBezTo>
                <a:cubicBezTo>
                  <a:pt x="342" y="293"/>
                  <a:pt x="342" y="293"/>
                  <a:pt x="342" y="293"/>
                </a:cubicBezTo>
                <a:cubicBezTo>
                  <a:pt x="342" y="292"/>
                  <a:pt x="342" y="292"/>
                  <a:pt x="342" y="292"/>
                </a:cubicBezTo>
                <a:cubicBezTo>
                  <a:pt x="342" y="291"/>
                  <a:pt x="342" y="291"/>
                  <a:pt x="342" y="291"/>
                </a:cubicBezTo>
                <a:cubicBezTo>
                  <a:pt x="342" y="290"/>
                  <a:pt x="342" y="290"/>
                  <a:pt x="342" y="290"/>
                </a:cubicBezTo>
                <a:cubicBezTo>
                  <a:pt x="342" y="290"/>
                  <a:pt x="342" y="290"/>
                  <a:pt x="342" y="290"/>
                </a:cubicBezTo>
                <a:cubicBezTo>
                  <a:pt x="342" y="289"/>
                  <a:pt x="342" y="289"/>
                  <a:pt x="342" y="289"/>
                </a:cubicBezTo>
                <a:cubicBezTo>
                  <a:pt x="342" y="288"/>
                  <a:pt x="342" y="288"/>
                  <a:pt x="342" y="288"/>
                </a:cubicBezTo>
                <a:cubicBezTo>
                  <a:pt x="340" y="286"/>
                  <a:pt x="340" y="286"/>
                  <a:pt x="340" y="286"/>
                </a:cubicBezTo>
                <a:cubicBezTo>
                  <a:pt x="338" y="286"/>
                  <a:pt x="338" y="286"/>
                  <a:pt x="338" y="286"/>
                </a:cubicBezTo>
                <a:cubicBezTo>
                  <a:pt x="338" y="285"/>
                  <a:pt x="338" y="285"/>
                  <a:pt x="338" y="285"/>
                </a:cubicBezTo>
                <a:cubicBezTo>
                  <a:pt x="338" y="284"/>
                  <a:pt x="338" y="284"/>
                  <a:pt x="338" y="284"/>
                </a:cubicBezTo>
                <a:cubicBezTo>
                  <a:pt x="337" y="284"/>
                  <a:pt x="337" y="284"/>
                  <a:pt x="337" y="284"/>
                </a:cubicBezTo>
                <a:cubicBezTo>
                  <a:pt x="337" y="283"/>
                  <a:pt x="337" y="283"/>
                  <a:pt x="337" y="283"/>
                </a:cubicBezTo>
                <a:cubicBezTo>
                  <a:pt x="337" y="282"/>
                  <a:pt x="337" y="282"/>
                  <a:pt x="337" y="282"/>
                </a:cubicBezTo>
                <a:cubicBezTo>
                  <a:pt x="337" y="281"/>
                  <a:pt x="337" y="281"/>
                  <a:pt x="337" y="281"/>
                </a:cubicBezTo>
                <a:cubicBezTo>
                  <a:pt x="335" y="281"/>
                  <a:pt x="335" y="281"/>
                  <a:pt x="335" y="281"/>
                </a:cubicBezTo>
                <a:cubicBezTo>
                  <a:pt x="333" y="280"/>
                  <a:pt x="333" y="280"/>
                  <a:pt x="333" y="280"/>
                </a:cubicBezTo>
                <a:cubicBezTo>
                  <a:pt x="332" y="279"/>
                  <a:pt x="332" y="279"/>
                  <a:pt x="332" y="279"/>
                </a:cubicBezTo>
                <a:cubicBezTo>
                  <a:pt x="333" y="278"/>
                  <a:pt x="333" y="278"/>
                  <a:pt x="333" y="278"/>
                </a:cubicBezTo>
                <a:cubicBezTo>
                  <a:pt x="333" y="277"/>
                  <a:pt x="333" y="277"/>
                  <a:pt x="333" y="277"/>
                </a:cubicBezTo>
                <a:cubicBezTo>
                  <a:pt x="332" y="277"/>
                  <a:pt x="332" y="277"/>
                  <a:pt x="332" y="277"/>
                </a:cubicBezTo>
                <a:cubicBezTo>
                  <a:pt x="332" y="276"/>
                  <a:pt x="332" y="276"/>
                  <a:pt x="332" y="276"/>
                </a:cubicBezTo>
                <a:cubicBezTo>
                  <a:pt x="331" y="276"/>
                  <a:pt x="331" y="276"/>
                  <a:pt x="331" y="276"/>
                </a:cubicBezTo>
                <a:cubicBezTo>
                  <a:pt x="330" y="277"/>
                  <a:pt x="330" y="277"/>
                  <a:pt x="330" y="277"/>
                </a:cubicBezTo>
                <a:cubicBezTo>
                  <a:pt x="330" y="278"/>
                  <a:pt x="330" y="278"/>
                  <a:pt x="330" y="278"/>
                </a:cubicBezTo>
                <a:cubicBezTo>
                  <a:pt x="329" y="279"/>
                  <a:pt x="329" y="279"/>
                  <a:pt x="329" y="279"/>
                </a:cubicBezTo>
                <a:cubicBezTo>
                  <a:pt x="329" y="278"/>
                  <a:pt x="329" y="278"/>
                  <a:pt x="329" y="278"/>
                </a:cubicBezTo>
                <a:cubicBezTo>
                  <a:pt x="329" y="277"/>
                  <a:pt x="329" y="277"/>
                  <a:pt x="329" y="277"/>
                </a:cubicBezTo>
                <a:cubicBezTo>
                  <a:pt x="328" y="276"/>
                  <a:pt x="328" y="276"/>
                  <a:pt x="328" y="276"/>
                </a:cubicBezTo>
                <a:cubicBezTo>
                  <a:pt x="328" y="275"/>
                  <a:pt x="328" y="275"/>
                  <a:pt x="328" y="275"/>
                </a:cubicBezTo>
                <a:cubicBezTo>
                  <a:pt x="329" y="275"/>
                  <a:pt x="329" y="275"/>
                  <a:pt x="329" y="275"/>
                </a:cubicBezTo>
                <a:cubicBezTo>
                  <a:pt x="330" y="275"/>
                  <a:pt x="330" y="275"/>
                  <a:pt x="330" y="275"/>
                </a:cubicBezTo>
                <a:cubicBezTo>
                  <a:pt x="330" y="274"/>
                  <a:pt x="330" y="274"/>
                  <a:pt x="330" y="274"/>
                </a:cubicBezTo>
                <a:cubicBezTo>
                  <a:pt x="330" y="273"/>
                  <a:pt x="330" y="273"/>
                  <a:pt x="330" y="273"/>
                </a:cubicBezTo>
                <a:cubicBezTo>
                  <a:pt x="330" y="272"/>
                  <a:pt x="330" y="272"/>
                  <a:pt x="330" y="272"/>
                </a:cubicBezTo>
                <a:cubicBezTo>
                  <a:pt x="328" y="272"/>
                  <a:pt x="328" y="272"/>
                  <a:pt x="328" y="272"/>
                </a:cubicBezTo>
                <a:cubicBezTo>
                  <a:pt x="328" y="271"/>
                  <a:pt x="328" y="271"/>
                  <a:pt x="328" y="271"/>
                </a:cubicBezTo>
                <a:cubicBezTo>
                  <a:pt x="329" y="270"/>
                  <a:pt x="329" y="270"/>
                  <a:pt x="329" y="270"/>
                </a:cubicBezTo>
                <a:cubicBezTo>
                  <a:pt x="329" y="270"/>
                  <a:pt x="329" y="270"/>
                  <a:pt x="329" y="270"/>
                </a:cubicBezTo>
                <a:cubicBezTo>
                  <a:pt x="326" y="271"/>
                  <a:pt x="326" y="271"/>
                  <a:pt x="326" y="271"/>
                </a:cubicBezTo>
                <a:cubicBezTo>
                  <a:pt x="325" y="272"/>
                  <a:pt x="325" y="272"/>
                  <a:pt x="325" y="272"/>
                </a:cubicBezTo>
                <a:cubicBezTo>
                  <a:pt x="324" y="274"/>
                  <a:pt x="324" y="274"/>
                  <a:pt x="324" y="274"/>
                </a:cubicBezTo>
                <a:cubicBezTo>
                  <a:pt x="323" y="276"/>
                  <a:pt x="323" y="276"/>
                  <a:pt x="323" y="276"/>
                </a:cubicBezTo>
                <a:cubicBezTo>
                  <a:pt x="323" y="277"/>
                  <a:pt x="323" y="277"/>
                  <a:pt x="323" y="277"/>
                </a:cubicBezTo>
                <a:cubicBezTo>
                  <a:pt x="322" y="278"/>
                  <a:pt x="322" y="278"/>
                  <a:pt x="322" y="278"/>
                </a:cubicBezTo>
                <a:cubicBezTo>
                  <a:pt x="322" y="279"/>
                  <a:pt x="322" y="279"/>
                  <a:pt x="322" y="279"/>
                </a:cubicBezTo>
                <a:cubicBezTo>
                  <a:pt x="321" y="281"/>
                  <a:pt x="321" y="281"/>
                  <a:pt x="321" y="281"/>
                </a:cubicBezTo>
                <a:cubicBezTo>
                  <a:pt x="321" y="282"/>
                  <a:pt x="321" y="282"/>
                  <a:pt x="321" y="282"/>
                </a:cubicBezTo>
                <a:cubicBezTo>
                  <a:pt x="321" y="282"/>
                  <a:pt x="321" y="282"/>
                  <a:pt x="321" y="282"/>
                </a:cubicBezTo>
                <a:cubicBezTo>
                  <a:pt x="320" y="283"/>
                  <a:pt x="320" y="283"/>
                  <a:pt x="320" y="283"/>
                </a:cubicBezTo>
                <a:cubicBezTo>
                  <a:pt x="320" y="284"/>
                  <a:pt x="320" y="284"/>
                  <a:pt x="320" y="284"/>
                </a:cubicBezTo>
                <a:cubicBezTo>
                  <a:pt x="319" y="286"/>
                  <a:pt x="319" y="286"/>
                  <a:pt x="319" y="286"/>
                </a:cubicBezTo>
                <a:cubicBezTo>
                  <a:pt x="318" y="287"/>
                  <a:pt x="318" y="287"/>
                  <a:pt x="318" y="287"/>
                </a:cubicBezTo>
                <a:cubicBezTo>
                  <a:pt x="318" y="288"/>
                  <a:pt x="318" y="288"/>
                  <a:pt x="318" y="288"/>
                </a:cubicBezTo>
                <a:cubicBezTo>
                  <a:pt x="318" y="289"/>
                  <a:pt x="318" y="289"/>
                  <a:pt x="318" y="289"/>
                </a:cubicBezTo>
                <a:cubicBezTo>
                  <a:pt x="318" y="291"/>
                  <a:pt x="318" y="291"/>
                  <a:pt x="318" y="291"/>
                </a:cubicBezTo>
                <a:cubicBezTo>
                  <a:pt x="317" y="292"/>
                  <a:pt x="317" y="292"/>
                  <a:pt x="317" y="292"/>
                </a:cubicBezTo>
                <a:cubicBezTo>
                  <a:pt x="316" y="292"/>
                  <a:pt x="316" y="292"/>
                  <a:pt x="316" y="292"/>
                </a:cubicBezTo>
                <a:cubicBezTo>
                  <a:pt x="314" y="293"/>
                  <a:pt x="314" y="293"/>
                  <a:pt x="314" y="293"/>
                </a:cubicBezTo>
                <a:cubicBezTo>
                  <a:pt x="314" y="294"/>
                  <a:pt x="314" y="294"/>
                  <a:pt x="314" y="294"/>
                </a:cubicBezTo>
                <a:cubicBezTo>
                  <a:pt x="313" y="296"/>
                  <a:pt x="313" y="296"/>
                  <a:pt x="313" y="296"/>
                </a:cubicBezTo>
                <a:cubicBezTo>
                  <a:pt x="313" y="297"/>
                  <a:pt x="313" y="297"/>
                  <a:pt x="313" y="297"/>
                </a:cubicBezTo>
                <a:close/>
                <a:moveTo>
                  <a:pt x="323" y="315"/>
                </a:moveTo>
                <a:cubicBezTo>
                  <a:pt x="323" y="315"/>
                  <a:pt x="324" y="316"/>
                  <a:pt x="324" y="316"/>
                </a:cubicBezTo>
                <a:cubicBezTo>
                  <a:pt x="324" y="316"/>
                  <a:pt x="324" y="316"/>
                  <a:pt x="324" y="316"/>
                </a:cubicBezTo>
                <a:cubicBezTo>
                  <a:pt x="325" y="314"/>
                  <a:pt x="325" y="314"/>
                  <a:pt x="325" y="314"/>
                </a:cubicBezTo>
                <a:cubicBezTo>
                  <a:pt x="326" y="314"/>
                  <a:pt x="326" y="314"/>
                  <a:pt x="326" y="314"/>
                </a:cubicBezTo>
                <a:cubicBezTo>
                  <a:pt x="327" y="314"/>
                  <a:pt x="327" y="314"/>
                  <a:pt x="327" y="314"/>
                </a:cubicBezTo>
                <a:cubicBezTo>
                  <a:pt x="327" y="315"/>
                  <a:pt x="327" y="315"/>
                  <a:pt x="327" y="315"/>
                </a:cubicBezTo>
                <a:cubicBezTo>
                  <a:pt x="328" y="315"/>
                  <a:pt x="328" y="315"/>
                  <a:pt x="328" y="315"/>
                </a:cubicBezTo>
                <a:cubicBezTo>
                  <a:pt x="329" y="313"/>
                  <a:pt x="329" y="313"/>
                  <a:pt x="329" y="313"/>
                </a:cubicBezTo>
                <a:cubicBezTo>
                  <a:pt x="330" y="313"/>
                  <a:pt x="330" y="313"/>
                  <a:pt x="330" y="313"/>
                </a:cubicBezTo>
                <a:cubicBezTo>
                  <a:pt x="331" y="312"/>
                  <a:pt x="331" y="312"/>
                  <a:pt x="331" y="312"/>
                </a:cubicBezTo>
                <a:cubicBezTo>
                  <a:pt x="332" y="311"/>
                  <a:pt x="332" y="311"/>
                  <a:pt x="332" y="311"/>
                </a:cubicBezTo>
                <a:cubicBezTo>
                  <a:pt x="333" y="311"/>
                  <a:pt x="333" y="311"/>
                  <a:pt x="333" y="311"/>
                </a:cubicBezTo>
                <a:cubicBezTo>
                  <a:pt x="335" y="310"/>
                  <a:pt x="335" y="310"/>
                  <a:pt x="335" y="310"/>
                </a:cubicBezTo>
                <a:cubicBezTo>
                  <a:pt x="335" y="309"/>
                  <a:pt x="335" y="309"/>
                  <a:pt x="335" y="309"/>
                </a:cubicBezTo>
                <a:cubicBezTo>
                  <a:pt x="336" y="308"/>
                  <a:pt x="336" y="308"/>
                  <a:pt x="336" y="308"/>
                </a:cubicBezTo>
                <a:cubicBezTo>
                  <a:pt x="336" y="308"/>
                  <a:pt x="336" y="308"/>
                  <a:pt x="336" y="308"/>
                </a:cubicBezTo>
                <a:cubicBezTo>
                  <a:pt x="334" y="308"/>
                  <a:pt x="334" y="308"/>
                  <a:pt x="334" y="308"/>
                </a:cubicBezTo>
                <a:cubicBezTo>
                  <a:pt x="334" y="307"/>
                  <a:pt x="334" y="307"/>
                  <a:pt x="334" y="307"/>
                </a:cubicBezTo>
                <a:cubicBezTo>
                  <a:pt x="333" y="307"/>
                  <a:pt x="333" y="307"/>
                  <a:pt x="333" y="307"/>
                </a:cubicBezTo>
                <a:cubicBezTo>
                  <a:pt x="332" y="308"/>
                  <a:pt x="332" y="308"/>
                  <a:pt x="332" y="308"/>
                </a:cubicBezTo>
                <a:cubicBezTo>
                  <a:pt x="332" y="307"/>
                  <a:pt x="332" y="307"/>
                  <a:pt x="332" y="307"/>
                </a:cubicBezTo>
                <a:cubicBezTo>
                  <a:pt x="331" y="308"/>
                  <a:pt x="331" y="308"/>
                  <a:pt x="331" y="308"/>
                </a:cubicBezTo>
                <a:cubicBezTo>
                  <a:pt x="330" y="308"/>
                  <a:pt x="330" y="308"/>
                  <a:pt x="330" y="308"/>
                </a:cubicBezTo>
                <a:cubicBezTo>
                  <a:pt x="329" y="308"/>
                  <a:pt x="329" y="308"/>
                  <a:pt x="329" y="308"/>
                </a:cubicBezTo>
                <a:cubicBezTo>
                  <a:pt x="329" y="307"/>
                  <a:pt x="329" y="307"/>
                  <a:pt x="329" y="307"/>
                </a:cubicBezTo>
                <a:cubicBezTo>
                  <a:pt x="328" y="307"/>
                  <a:pt x="328" y="307"/>
                  <a:pt x="328" y="307"/>
                </a:cubicBezTo>
                <a:cubicBezTo>
                  <a:pt x="327" y="307"/>
                  <a:pt x="327" y="307"/>
                  <a:pt x="327" y="307"/>
                </a:cubicBezTo>
                <a:cubicBezTo>
                  <a:pt x="326" y="309"/>
                  <a:pt x="326" y="309"/>
                  <a:pt x="326" y="309"/>
                </a:cubicBezTo>
                <a:cubicBezTo>
                  <a:pt x="326" y="310"/>
                  <a:pt x="326" y="310"/>
                  <a:pt x="326" y="310"/>
                </a:cubicBezTo>
                <a:cubicBezTo>
                  <a:pt x="325" y="310"/>
                  <a:pt x="325" y="310"/>
                  <a:pt x="325" y="310"/>
                </a:cubicBezTo>
                <a:cubicBezTo>
                  <a:pt x="323" y="311"/>
                  <a:pt x="323" y="311"/>
                  <a:pt x="323" y="311"/>
                </a:cubicBezTo>
                <a:cubicBezTo>
                  <a:pt x="323" y="312"/>
                  <a:pt x="323" y="312"/>
                  <a:pt x="323" y="312"/>
                </a:cubicBezTo>
                <a:cubicBezTo>
                  <a:pt x="323" y="312"/>
                  <a:pt x="323" y="312"/>
                  <a:pt x="323" y="312"/>
                </a:cubicBezTo>
                <a:cubicBezTo>
                  <a:pt x="324" y="313"/>
                  <a:pt x="324" y="313"/>
                  <a:pt x="324" y="313"/>
                </a:cubicBezTo>
                <a:cubicBezTo>
                  <a:pt x="323" y="314"/>
                  <a:pt x="323" y="314"/>
                  <a:pt x="323" y="314"/>
                </a:cubicBezTo>
                <a:cubicBezTo>
                  <a:pt x="323" y="315"/>
                  <a:pt x="323" y="315"/>
                  <a:pt x="323" y="315"/>
                </a:cubicBezTo>
                <a:close/>
                <a:moveTo>
                  <a:pt x="425" y="324"/>
                </a:moveTo>
                <a:cubicBezTo>
                  <a:pt x="425" y="324"/>
                  <a:pt x="425" y="324"/>
                  <a:pt x="425" y="324"/>
                </a:cubicBezTo>
                <a:cubicBezTo>
                  <a:pt x="426" y="324"/>
                  <a:pt x="426" y="324"/>
                  <a:pt x="426" y="324"/>
                </a:cubicBezTo>
                <a:cubicBezTo>
                  <a:pt x="427" y="325"/>
                  <a:pt x="427" y="325"/>
                  <a:pt x="427" y="325"/>
                </a:cubicBezTo>
                <a:cubicBezTo>
                  <a:pt x="428" y="324"/>
                  <a:pt x="428" y="324"/>
                  <a:pt x="428" y="324"/>
                </a:cubicBezTo>
                <a:cubicBezTo>
                  <a:pt x="428" y="324"/>
                  <a:pt x="428" y="324"/>
                  <a:pt x="428" y="324"/>
                </a:cubicBezTo>
                <a:cubicBezTo>
                  <a:pt x="428" y="323"/>
                  <a:pt x="428" y="323"/>
                  <a:pt x="428" y="323"/>
                </a:cubicBezTo>
                <a:cubicBezTo>
                  <a:pt x="428" y="323"/>
                  <a:pt x="428" y="323"/>
                  <a:pt x="428" y="323"/>
                </a:cubicBezTo>
                <a:cubicBezTo>
                  <a:pt x="428" y="322"/>
                  <a:pt x="428" y="322"/>
                  <a:pt x="428" y="322"/>
                </a:cubicBezTo>
                <a:cubicBezTo>
                  <a:pt x="427" y="323"/>
                  <a:pt x="427" y="323"/>
                  <a:pt x="427" y="323"/>
                </a:cubicBezTo>
                <a:cubicBezTo>
                  <a:pt x="426" y="323"/>
                  <a:pt x="426" y="323"/>
                  <a:pt x="426" y="323"/>
                </a:cubicBezTo>
                <a:cubicBezTo>
                  <a:pt x="425" y="324"/>
                  <a:pt x="425" y="324"/>
                  <a:pt x="425" y="324"/>
                </a:cubicBezTo>
                <a:close/>
                <a:moveTo>
                  <a:pt x="393" y="315"/>
                </a:moveTo>
                <a:cubicBezTo>
                  <a:pt x="393" y="316"/>
                  <a:pt x="393" y="316"/>
                  <a:pt x="393" y="316"/>
                </a:cubicBezTo>
                <a:cubicBezTo>
                  <a:pt x="395" y="316"/>
                  <a:pt x="395" y="316"/>
                  <a:pt x="395" y="316"/>
                </a:cubicBezTo>
                <a:cubicBezTo>
                  <a:pt x="395" y="317"/>
                  <a:pt x="395" y="317"/>
                  <a:pt x="395" y="317"/>
                </a:cubicBezTo>
                <a:cubicBezTo>
                  <a:pt x="395" y="317"/>
                  <a:pt x="395" y="317"/>
                  <a:pt x="395" y="317"/>
                </a:cubicBezTo>
                <a:cubicBezTo>
                  <a:pt x="395" y="318"/>
                  <a:pt x="395" y="318"/>
                  <a:pt x="395" y="318"/>
                </a:cubicBezTo>
                <a:cubicBezTo>
                  <a:pt x="396" y="318"/>
                  <a:pt x="396" y="318"/>
                  <a:pt x="396" y="318"/>
                </a:cubicBezTo>
                <a:cubicBezTo>
                  <a:pt x="396" y="318"/>
                  <a:pt x="396" y="318"/>
                  <a:pt x="396" y="318"/>
                </a:cubicBezTo>
                <a:cubicBezTo>
                  <a:pt x="397" y="318"/>
                  <a:pt x="397" y="318"/>
                  <a:pt x="397" y="318"/>
                </a:cubicBezTo>
                <a:cubicBezTo>
                  <a:pt x="397" y="318"/>
                  <a:pt x="397" y="318"/>
                  <a:pt x="397" y="318"/>
                </a:cubicBezTo>
                <a:cubicBezTo>
                  <a:pt x="397" y="318"/>
                  <a:pt x="397" y="318"/>
                  <a:pt x="397" y="318"/>
                </a:cubicBezTo>
                <a:cubicBezTo>
                  <a:pt x="397" y="317"/>
                  <a:pt x="397" y="317"/>
                  <a:pt x="397" y="317"/>
                </a:cubicBezTo>
                <a:cubicBezTo>
                  <a:pt x="396" y="316"/>
                  <a:pt x="396" y="316"/>
                  <a:pt x="396" y="316"/>
                </a:cubicBezTo>
                <a:cubicBezTo>
                  <a:pt x="396" y="316"/>
                  <a:pt x="396" y="316"/>
                  <a:pt x="396" y="316"/>
                </a:cubicBezTo>
                <a:cubicBezTo>
                  <a:pt x="395" y="316"/>
                  <a:pt x="395" y="316"/>
                  <a:pt x="395" y="316"/>
                </a:cubicBezTo>
                <a:cubicBezTo>
                  <a:pt x="394" y="315"/>
                  <a:pt x="394" y="315"/>
                  <a:pt x="394" y="315"/>
                </a:cubicBezTo>
                <a:cubicBezTo>
                  <a:pt x="393" y="315"/>
                  <a:pt x="393" y="315"/>
                  <a:pt x="393" y="315"/>
                </a:cubicBezTo>
                <a:cubicBezTo>
                  <a:pt x="393" y="315"/>
                  <a:pt x="393" y="315"/>
                  <a:pt x="393" y="315"/>
                </a:cubicBezTo>
                <a:close/>
                <a:moveTo>
                  <a:pt x="423" y="332"/>
                </a:moveTo>
                <a:cubicBezTo>
                  <a:pt x="422" y="331"/>
                  <a:pt x="422" y="331"/>
                  <a:pt x="422" y="331"/>
                </a:cubicBezTo>
                <a:cubicBezTo>
                  <a:pt x="422" y="330"/>
                  <a:pt x="422" y="330"/>
                  <a:pt x="422" y="330"/>
                </a:cubicBezTo>
                <a:cubicBezTo>
                  <a:pt x="422" y="330"/>
                  <a:pt x="422" y="330"/>
                  <a:pt x="422" y="330"/>
                </a:cubicBezTo>
                <a:cubicBezTo>
                  <a:pt x="422" y="329"/>
                  <a:pt x="422" y="329"/>
                  <a:pt x="422" y="329"/>
                </a:cubicBezTo>
                <a:cubicBezTo>
                  <a:pt x="422" y="328"/>
                  <a:pt x="422" y="328"/>
                  <a:pt x="422" y="328"/>
                </a:cubicBezTo>
                <a:cubicBezTo>
                  <a:pt x="423" y="329"/>
                  <a:pt x="423" y="329"/>
                  <a:pt x="423" y="329"/>
                </a:cubicBezTo>
                <a:cubicBezTo>
                  <a:pt x="423" y="330"/>
                  <a:pt x="423" y="330"/>
                  <a:pt x="423" y="330"/>
                </a:cubicBezTo>
                <a:cubicBezTo>
                  <a:pt x="424" y="330"/>
                  <a:pt x="424" y="330"/>
                  <a:pt x="424" y="330"/>
                </a:cubicBezTo>
                <a:cubicBezTo>
                  <a:pt x="424" y="331"/>
                  <a:pt x="424" y="331"/>
                  <a:pt x="424" y="331"/>
                </a:cubicBezTo>
                <a:cubicBezTo>
                  <a:pt x="423" y="332"/>
                  <a:pt x="423" y="332"/>
                  <a:pt x="423" y="332"/>
                </a:cubicBezTo>
                <a:close/>
                <a:moveTo>
                  <a:pt x="422" y="335"/>
                </a:moveTo>
                <a:cubicBezTo>
                  <a:pt x="422" y="335"/>
                  <a:pt x="422" y="335"/>
                  <a:pt x="422" y="335"/>
                </a:cubicBezTo>
                <a:cubicBezTo>
                  <a:pt x="422" y="334"/>
                  <a:pt x="422" y="334"/>
                  <a:pt x="422" y="334"/>
                </a:cubicBezTo>
                <a:cubicBezTo>
                  <a:pt x="421" y="334"/>
                  <a:pt x="421" y="334"/>
                  <a:pt x="421" y="334"/>
                </a:cubicBezTo>
                <a:cubicBezTo>
                  <a:pt x="420" y="334"/>
                  <a:pt x="420" y="334"/>
                  <a:pt x="420" y="334"/>
                </a:cubicBezTo>
                <a:cubicBezTo>
                  <a:pt x="420" y="333"/>
                  <a:pt x="420" y="333"/>
                  <a:pt x="420" y="333"/>
                </a:cubicBezTo>
                <a:cubicBezTo>
                  <a:pt x="420" y="332"/>
                  <a:pt x="420" y="332"/>
                  <a:pt x="420" y="332"/>
                </a:cubicBezTo>
                <a:cubicBezTo>
                  <a:pt x="420" y="332"/>
                  <a:pt x="420" y="332"/>
                  <a:pt x="420" y="332"/>
                </a:cubicBezTo>
                <a:cubicBezTo>
                  <a:pt x="421" y="332"/>
                  <a:pt x="421" y="332"/>
                  <a:pt x="421" y="332"/>
                </a:cubicBezTo>
                <a:cubicBezTo>
                  <a:pt x="423" y="332"/>
                  <a:pt x="423" y="332"/>
                  <a:pt x="423" y="332"/>
                </a:cubicBezTo>
                <a:cubicBezTo>
                  <a:pt x="424" y="333"/>
                  <a:pt x="424" y="333"/>
                  <a:pt x="424" y="333"/>
                </a:cubicBezTo>
                <a:cubicBezTo>
                  <a:pt x="424" y="333"/>
                  <a:pt x="424" y="333"/>
                  <a:pt x="424" y="333"/>
                </a:cubicBezTo>
                <a:cubicBezTo>
                  <a:pt x="423" y="334"/>
                  <a:pt x="423" y="334"/>
                  <a:pt x="423" y="334"/>
                </a:cubicBezTo>
                <a:cubicBezTo>
                  <a:pt x="423" y="334"/>
                  <a:pt x="423" y="334"/>
                  <a:pt x="423" y="334"/>
                </a:cubicBezTo>
                <a:cubicBezTo>
                  <a:pt x="423" y="335"/>
                  <a:pt x="423" y="335"/>
                  <a:pt x="423" y="335"/>
                </a:cubicBezTo>
                <a:cubicBezTo>
                  <a:pt x="423" y="335"/>
                  <a:pt x="423" y="335"/>
                  <a:pt x="423" y="335"/>
                </a:cubicBezTo>
                <a:cubicBezTo>
                  <a:pt x="422" y="335"/>
                  <a:pt x="422" y="335"/>
                  <a:pt x="422" y="335"/>
                </a:cubicBezTo>
                <a:close/>
                <a:moveTo>
                  <a:pt x="391" y="354"/>
                </a:moveTo>
                <a:cubicBezTo>
                  <a:pt x="391" y="355"/>
                  <a:pt x="391" y="355"/>
                  <a:pt x="391" y="355"/>
                </a:cubicBezTo>
                <a:cubicBezTo>
                  <a:pt x="391" y="355"/>
                  <a:pt x="391" y="355"/>
                  <a:pt x="391" y="355"/>
                </a:cubicBezTo>
                <a:cubicBezTo>
                  <a:pt x="391" y="354"/>
                  <a:pt x="391" y="354"/>
                  <a:pt x="391" y="354"/>
                </a:cubicBezTo>
                <a:close/>
                <a:moveTo>
                  <a:pt x="392" y="355"/>
                </a:moveTo>
                <a:cubicBezTo>
                  <a:pt x="391" y="355"/>
                  <a:pt x="391" y="355"/>
                  <a:pt x="391" y="355"/>
                </a:cubicBezTo>
                <a:cubicBezTo>
                  <a:pt x="392" y="355"/>
                  <a:pt x="392" y="355"/>
                  <a:pt x="392" y="355"/>
                </a:cubicBezTo>
                <a:cubicBezTo>
                  <a:pt x="392" y="355"/>
                  <a:pt x="392" y="355"/>
                  <a:pt x="392" y="355"/>
                </a:cubicBezTo>
                <a:close/>
                <a:moveTo>
                  <a:pt x="392" y="354"/>
                </a:moveTo>
                <a:cubicBezTo>
                  <a:pt x="392" y="355"/>
                  <a:pt x="392" y="355"/>
                  <a:pt x="392" y="355"/>
                </a:cubicBezTo>
                <a:cubicBezTo>
                  <a:pt x="392" y="356"/>
                  <a:pt x="392" y="356"/>
                  <a:pt x="392" y="356"/>
                </a:cubicBezTo>
                <a:cubicBezTo>
                  <a:pt x="392" y="357"/>
                  <a:pt x="392" y="357"/>
                  <a:pt x="392" y="357"/>
                </a:cubicBezTo>
                <a:cubicBezTo>
                  <a:pt x="393" y="356"/>
                  <a:pt x="393" y="356"/>
                  <a:pt x="393" y="356"/>
                </a:cubicBezTo>
                <a:cubicBezTo>
                  <a:pt x="393" y="355"/>
                  <a:pt x="393" y="355"/>
                  <a:pt x="393" y="355"/>
                </a:cubicBezTo>
                <a:cubicBezTo>
                  <a:pt x="392" y="354"/>
                  <a:pt x="392" y="354"/>
                  <a:pt x="392" y="354"/>
                </a:cubicBezTo>
                <a:close/>
                <a:moveTo>
                  <a:pt x="401" y="345"/>
                </a:moveTo>
                <a:cubicBezTo>
                  <a:pt x="401" y="344"/>
                  <a:pt x="401" y="344"/>
                  <a:pt x="401" y="344"/>
                </a:cubicBezTo>
                <a:cubicBezTo>
                  <a:pt x="401" y="343"/>
                  <a:pt x="401" y="343"/>
                  <a:pt x="401" y="343"/>
                </a:cubicBezTo>
                <a:cubicBezTo>
                  <a:pt x="401" y="343"/>
                  <a:pt x="401" y="343"/>
                  <a:pt x="401" y="343"/>
                </a:cubicBezTo>
                <a:cubicBezTo>
                  <a:pt x="402" y="342"/>
                  <a:pt x="402" y="342"/>
                  <a:pt x="402" y="342"/>
                </a:cubicBezTo>
                <a:cubicBezTo>
                  <a:pt x="403" y="341"/>
                  <a:pt x="403" y="341"/>
                  <a:pt x="403" y="341"/>
                </a:cubicBezTo>
                <a:cubicBezTo>
                  <a:pt x="404" y="341"/>
                  <a:pt x="404" y="341"/>
                  <a:pt x="404" y="341"/>
                </a:cubicBezTo>
                <a:cubicBezTo>
                  <a:pt x="404" y="341"/>
                  <a:pt x="404" y="341"/>
                  <a:pt x="404" y="341"/>
                </a:cubicBezTo>
                <a:cubicBezTo>
                  <a:pt x="404" y="342"/>
                  <a:pt x="404" y="342"/>
                  <a:pt x="404" y="342"/>
                </a:cubicBezTo>
                <a:cubicBezTo>
                  <a:pt x="405" y="342"/>
                  <a:pt x="405" y="342"/>
                  <a:pt x="405" y="342"/>
                </a:cubicBezTo>
                <a:cubicBezTo>
                  <a:pt x="405" y="343"/>
                  <a:pt x="405" y="343"/>
                  <a:pt x="405" y="343"/>
                </a:cubicBezTo>
                <a:cubicBezTo>
                  <a:pt x="404" y="343"/>
                  <a:pt x="404" y="343"/>
                  <a:pt x="404" y="343"/>
                </a:cubicBezTo>
                <a:cubicBezTo>
                  <a:pt x="403" y="344"/>
                  <a:pt x="403" y="344"/>
                  <a:pt x="403" y="344"/>
                </a:cubicBezTo>
                <a:cubicBezTo>
                  <a:pt x="402" y="344"/>
                  <a:pt x="402" y="344"/>
                  <a:pt x="402" y="344"/>
                </a:cubicBezTo>
                <a:cubicBezTo>
                  <a:pt x="401" y="345"/>
                  <a:pt x="401" y="345"/>
                  <a:pt x="401" y="345"/>
                </a:cubicBezTo>
                <a:cubicBezTo>
                  <a:pt x="401" y="345"/>
                  <a:pt x="401" y="345"/>
                  <a:pt x="401" y="345"/>
                </a:cubicBezTo>
                <a:close/>
                <a:moveTo>
                  <a:pt x="373" y="314"/>
                </a:moveTo>
                <a:cubicBezTo>
                  <a:pt x="374" y="315"/>
                  <a:pt x="374" y="315"/>
                  <a:pt x="374" y="315"/>
                </a:cubicBezTo>
                <a:cubicBezTo>
                  <a:pt x="375" y="316"/>
                  <a:pt x="375" y="316"/>
                  <a:pt x="375" y="316"/>
                </a:cubicBezTo>
                <a:cubicBezTo>
                  <a:pt x="376" y="316"/>
                  <a:pt x="376" y="316"/>
                  <a:pt x="376" y="316"/>
                </a:cubicBezTo>
                <a:cubicBezTo>
                  <a:pt x="377" y="316"/>
                  <a:pt x="377" y="316"/>
                  <a:pt x="377" y="316"/>
                </a:cubicBezTo>
                <a:cubicBezTo>
                  <a:pt x="377" y="316"/>
                  <a:pt x="377" y="316"/>
                  <a:pt x="377" y="316"/>
                </a:cubicBezTo>
                <a:cubicBezTo>
                  <a:pt x="376" y="315"/>
                  <a:pt x="376" y="315"/>
                  <a:pt x="376" y="315"/>
                </a:cubicBezTo>
                <a:cubicBezTo>
                  <a:pt x="375" y="314"/>
                  <a:pt x="375" y="314"/>
                  <a:pt x="375" y="314"/>
                </a:cubicBezTo>
                <a:cubicBezTo>
                  <a:pt x="374" y="314"/>
                  <a:pt x="374" y="314"/>
                  <a:pt x="374" y="314"/>
                </a:cubicBezTo>
                <a:cubicBezTo>
                  <a:pt x="373" y="314"/>
                  <a:pt x="373" y="314"/>
                  <a:pt x="373" y="314"/>
                </a:cubicBezTo>
                <a:close/>
                <a:moveTo>
                  <a:pt x="364" y="305"/>
                </a:moveTo>
                <a:cubicBezTo>
                  <a:pt x="364" y="306"/>
                  <a:pt x="364" y="306"/>
                  <a:pt x="364" y="306"/>
                </a:cubicBezTo>
                <a:cubicBezTo>
                  <a:pt x="365" y="306"/>
                  <a:pt x="365" y="306"/>
                  <a:pt x="365" y="306"/>
                </a:cubicBezTo>
                <a:cubicBezTo>
                  <a:pt x="365" y="306"/>
                  <a:pt x="365" y="306"/>
                  <a:pt x="365" y="306"/>
                </a:cubicBezTo>
                <a:cubicBezTo>
                  <a:pt x="366" y="306"/>
                  <a:pt x="366" y="306"/>
                  <a:pt x="366" y="306"/>
                </a:cubicBezTo>
                <a:cubicBezTo>
                  <a:pt x="366" y="305"/>
                  <a:pt x="366" y="305"/>
                  <a:pt x="366" y="305"/>
                </a:cubicBezTo>
                <a:cubicBezTo>
                  <a:pt x="366" y="305"/>
                  <a:pt x="366" y="305"/>
                  <a:pt x="366" y="305"/>
                </a:cubicBezTo>
                <a:cubicBezTo>
                  <a:pt x="367" y="305"/>
                  <a:pt x="367" y="305"/>
                  <a:pt x="367" y="305"/>
                </a:cubicBezTo>
                <a:cubicBezTo>
                  <a:pt x="366" y="304"/>
                  <a:pt x="366" y="304"/>
                  <a:pt x="366" y="304"/>
                </a:cubicBezTo>
                <a:cubicBezTo>
                  <a:pt x="366" y="304"/>
                  <a:pt x="366" y="304"/>
                  <a:pt x="366" y="304"/>
                </a:cubicBezTo>
                <a:cubicBezTo>
                  <a:pt x="366" y="304"/>
                  <a:pt x="366" y="304"/>
                  <a:pt x="366" y="304"/>
                </a:cubicBezTo>
                <a:cubicBezTo>
                  <a:pt x="365" y="303"/>
                  <a:pt x="365" y="303"/>
                  <a:pt x="365" y="303"/>
                </a:cubicBezTo>
                <a:cubicBezTo>
                  <a:pt x="364" y="303"/>
                  <a:pt x="364" y="303"/>
                  <a:pt x="364" y="303"/>
                </a:cubicBezTo>
                <a:cubicBezTo>
                  <a:pt x="364" y="302"/>
                  <a:pt x="364" y="302"/>
                  <a:pt x="364" y="302"/>
                </a:cubicBezTo>
                <a:cubicBezTo>
                  <a:pt x="364" y="302"/>
                  <a:pt x="364" y="302"/>
                  <a:pt x="364" y="302"/>
                </a:cubicBezTo>
                <a:cubicBezTo>
                  <a:pt x="363" y="302"/>
                  <a:pt x="363" y="302"/>
                  <a:pt x="363" y="302"/>
                </a:cubicBezTo>
                <a:cubicBezTo>
                  <a:pt x="363" y="302"/>
                  <a:pt x="363" y="302"/>
                  <a:pt x="363" y="302"/>
                </a:cubicBezTo>
                <a:cubicBezTo>
                  <a:pt x="362" y="302"/>
                  <a:pt x="362" y="302"/>
                  <a:pt x="362" y="302"/>
                </a:cubicBezTo>
                <a:cubicBezTo>
                  <a:pt x="362" y="302"/>
                  <a:pt x="362" y="302"/>
                  <a:pt x="362" y="302"/>
                </a:cubicBezTo>
                <a:cubicBezTo>
                  <a:pt x="362" y="303"/>
                  <a:pt x="362" y="303"/>
                  <a:pt x="362" y="303"/>
                </a:cubicBezTo>
                <a:cubicBezTo>
                  <a:pt x="362" y="303"/>
                  <a:pt x="362" y="303"/>
                  <a:pt x="362" y="303"/>
                </a:cubicBezTo>
                <a:cubicBezTo>
                  <a:pt x="363" y="303"/>
                  <a:pt x="363" y="303"/>
                  <a:pt x="363" y="303"/>
                </a:cubicBezTo>
                <a:cubicBezTo>
                  <a:pt x="363" y="304"/>
                  <a:pt x="363" y="304"/>
                  <a:pt x="363" y="304"/>
                </a:cubicBezTo>
                <a:cubicBezTo>
                  <a:pt x="364" y="305"/>
                  <a:pt x="364" y="305"/>
                  <a:pt x="364" y="305"/>
                </a:cubicBezTo>
                <a:cubicBezTo>
                  <a:pt x="364" y="305"/>
                  <a:pt x="364" y="305"/>
                  <a:pt x="364" y="305"/>
                </a:cubicBezTo>
                <a:close/>
                <a:moveTo>
                  <a:pt x="357" y="309"/>
                </a:moveTo>
                <a:cubicBezTo>
                  <a:pt x="358" y="308"/>
                  <a:pt x="358" y="308"/>
                  <a:pt x="358" y="308"/>
                </a:cubicBezTo>
                <a:cubicBezTo>
                  <a:pt x="359" y="308"/>
                  <a:pt x="359" y="308"/>
                  <a:pt x="359" y="308"/>
                </a:cubicBezTo>
                <a:cubicBezTo>
                  <a:pt x="360" y="308"/>
                  <a:pt x="360" y="308"/>
                  <a:pt x="360" y="308"/>
                </a:cubicBezTo>
                <a:cubicBezTo>
                  <a:pt x="360" y="307"/>
                  <a:pt x="360" y="307"/>
                  <a:pt x="360" y="307"/>
                </a:cubicBezTo>
                <a:cubicBezTo>
                  <a:pt x="360" y="307"/>
                  <a:pt x="360" y="307"/>
                  <a:pt x="360" y="307"/>
                </a:cubicBezTo>
                <a:cubicBezTo>
                  <a:pt x="360" y="306"/>
                  <a:pt x="360" y="306"/>
                  <a:pt x="360" y="306"/>
                </a:cubicBezTo>
                <a:cubicBezTo>
                  <a:pt x="360" y="305"/>
                  <a:pt x="360" y="305"/>
                  <a:pt x="360" y="305"/>
                </a:cubicBezTo>
                <a:cubicBezTo>
                  <a:pt x="360" y="304"/>
                  <a:pt x="360" y="304"/>
                  <a:pt x="360" y="304"/>
                </a:cubicBezTo>
                <a:cubicBezTo>
                  <a:pt x="358" y="304"/>
                  <a:pt x="358" y="304"/>
                  <a:pt x="358" y="304"/>
                </a:cubicBezTo>
                <a:cubicBezTo>
                  <a:pt x="358" y="304"/>
                  <a:pt x="358" y="304"/>
                  <a:pt x="358" y="304"/>
                </a:cubicBezTo>
                <a:cubicBezTo>
                  <a:pt x="357" y="303"/>
                  <a:pt x="357" y="303"/>
                  <a:pt x="357" y="303"/>
                </a:cubicBezTo>
                <a:cubicBezTo>
                  <a:pt x="357" y="303"/>
                  <a:pt x="357" y="303"/>
                  <a:pt x="357" y="303"/>
                </a:cubicBezTo>
                <a:cubicBezTo>
                  <a:pt x="355" y="303"/>
                  <a:pt x="355" y="303"/>
                  <a:pt x="355" y="303"/>
                </a:cubicBezTo>
                <a:cubicBezTo>
                  <a:pt x="355" y="303"/>
                  <a:pt x="355" y="303"/>
                  <a:pt x="355" y="303"/>
                </a:cubicBezTo>
                <a:cubicBezTo>
                  <a:pt x="355" y="304"/>
                  <a:pt x="355" y="304"/>
                  <a:pt x="355" y="304"/>
                </a:cubicBezTo>
                <a:cubicBezTo>
                  <a:pt x="355" y="305"/>
                  <a:pt x="355" y="305"/>
                  <a:pt x="355" y="305"/>
                </a:cubicBezTo>
                <a:cubicBezTo>
                  <a:pt x="356" y="306"/>
                  <a:pt x="356" y="306"/>
                  <a:pt x="356" y="306"/>
                </a:cubicBezTo>
                <a:cubicBezTo>
                  <a:pt x="356" y="307"/>
                  <a:pt x="356" y="307"/>
                  <a:pt x="356" y="307"/>
                </a:cubicBezTo>
                <a:cubicBezTo>
                  <a:pt x="357" y="307"/>
                  <a:pt x="357" y="307"/>
                  <a:pt x="357" y="307"/>
                </a:cubicBezTo>
                <a:cubicBezTo>
                  <a:pt x="357" y="308"/>
                  <a:pt x="357" y="308"/>
                  <a:pt x="357" y="308"/>
                </a:cubicBezTo>
                <a:cubicBezTo>
                  <a:pt x="357" y="309"/>
                  <a:pt x="357" y="309"/>
                  <a:pt x="357" y="309"/>
                </a:cubicBezTo>
                <a:close/>
                <a:moveTo>
                  <a:pt x="356" y="314"/>
                </a:moveTo>
                <a:cubicBezTo>
                  <a:pt x="356" y="314"/>
                  <a:pt x="357" y="314"/>
                  <a:pt x="357" y="314"/>
                </a:cubicBezTo>
                <a:cubicBezTo>
                  <a:pt x="355" y="313"/>
                  <a:pt x="355" y="313"/>
                  <a:pt x="355" y="313"/>
                </a:cubicBezTo>
                <a:cubicBezTo>
                  <a:pt x="355" y="313"/>
                  <a:pt x="355" y="313"/>
                  <a:pt x="355" y="313"/>
                </a:cubicBezTo>
                <a:cubicBezTo>
                  <a:pt x="355" y="314"/>
                  <a:pt x="355" y="314"/>
                  <a:pt x="355" y="314"/>
                </a:cubicBezTo>
                <a:cubicBezTo>
                  <a:pt x="356" y="314"/>
                  <a:pt x="356" y="314"/>
                  <a:pt x="356" y="314"/>
                </a:cubicBezTo>
                <a:close/>
                <a:moveTo>
                  <a:pt x="342" y="324"/>
                </a:moveTo>
                <a:cubicBezTo>
                  <a:pt x="343" y="324"/>
                  <a:pt x="343" y="324"/>
                  <a:pt x="343" y="324"/>
                </a:cubicBezTo>
                <a:cubicBezTo>
                  <a:pt x="343" y="323"/>
                  <a:pt x="343" y="323"/>
                  <a:pt x="343" y="323"/>
                </a:cubicBezTo>
                <a:cubicBezTo>
                  <a:pt x="343" y="323"/>
                  <a:pt x="343" y="323"/>
                  <a:pt x="343" y="323"/>
                </a:cubicBezTo>
                <a:cubicBezTo>
                  <a:pt x="344" y="322"/>
                  <a:pt x="344" y="322"/>
                  <a:pt x="344" y="322"/>
                </a:cubicBezTo>
                <a:cubicBezTo>
                  <a:pt x="344" y="322"/>
                  <a:pt x="344" y="322"/>
                  <a:pt x="344" y="322"/>
                </a:cubicBezTo>
                <a:cubicBezTo>
                  <a:pt x="344" y="321"/>
                  <a:pt x="344" y="321"/>
                  <a:pt x="344" y="321"/>
                </a:cubicBezTo>
                <a:cubicBezTo>
                  <a:pt x="344" y="321"/>
                  <a:pt x="344" y="321"/>
                  <a:pt x="344" y="321"/>
                </a:cubicBezTo>
                <a:cubicBezTo>
                  <a:pt x="345" y="320"/>
                  <a:pt x="345" y="320"/>
                  <a:pt x="345" y="320"/>
                </a:cubicBezTo>
                <a:cubicBezTo>
                  <a:pt x="346" y="319"/>
                  <a:pt x="346" y="319"/>
                  <a:pt x="346" y="319"/>
                </a:cubicBezTo>
                <a:cubicBezTo>
                  <a:pt x="346" y="319"/>
                  <a:pt x="346" y="319"/>
                  <a:pt x="346" y="319"/>
                </a:cubicBezTo>
                <a:cubicBezTo>
                  <a:pt x="346" y="318"/>
                  <a:pt x="346" y="318"/>
                  <a:pt x="346" y="318"/>
                </a:cubicBezTo>
                <a:cubicBezTo>
                  <a:pt x="346" y="318"/>
                  <a:pt x="346" y="318"/>
                  <a:pt x="346" y="318"/>
                </a:cubicBezTo>
                <a:cubicBezTo>
                  <a:pt x="346" y="317"/>
                  <a:pt x="346" y="317"/>
                  <a:pt x="346" y="317"/>
                </a:cubicBezTo>
                <a:cubicBezTo>
                  <a:pt x="347" y="317"/>
                  <a:pt x="347" y="317"/>
                  <a:pt x="347" y="317"/>
                </a:cubicBezTo>
                <a:cubicBezTo>
                  <a:pt x="347" y="316"/>
                  <a:pt x="347" y="316"/>
                  <a:pt x="347" y="316"/>
                </a:cubicBezTo>
                <a:cubicBezTo>
                  <a:pt x="347" y="315"/>
                  <a:pt x="347" y="315"/>
                  <a:pt x="347" y="315"/>
                </a:cubicBezTo>
                <a:cubicBezTo>
                  <a:pt x="347" y="314"/>
                  <a:pt x="347" y="314"/>
                  <a:pt x="347" y="314"/>
                </a:cubicBezTo>
                <a:cubicBezTo>
                  <a:pt x="347" y="314"/>
                  <a:pt x="347" y="314"/>
                  <a:pt x="347" y="314"/>
                </a:cubicBezTo>
                <a:cubicBezTo>
                  <a:pt x="346" y="314"/>
                  <a:pt x="346" y="314"/>
                  <a:pt x="346" y="314"/>
                </a:cubicBezTo>
                <a:cubicBezTo>
                  <a:pt x="346" y="314"/>
                  <a:pt x="346" y="314"/>
                  <a:pt x="346" y="314"/>
                </a:cubicBezTo>
                <a:cubicBezTo>
                  <a:pt x="345" y="314"/>
                  <a:pt x="345" y="314"/>
                  <a:pt x="345" y="314"/>
                </a:cubicBezTo>
                <a:cubicBezTo>
                  <a:pt x="345" y="313"/>
                  <a:pt x="345" y="313"/>
                  <a:pt x="345" y="313"/>
                </a:cubicBezTo>
                <a:cubicBezTo>
                  <a:pt x="344" y="314"/>
                  <a:pt x="344" y="314"/>
                  <a:pt x="344" y="314"/>
                </a:cubicBezTo>
                <a:cubicBezTo>
                  <a:pt x="343" y="315"/>
                  <a:pt x="343" y="315"/>
                  <a:pt x="343" y="315"/>
                </a:cubicBezTo>
                <a:cubicBezTo>
                  <a:pt x="342" y="315"/>
                  <a:pt x="342" y="315"/>
                  <a:pt x="342" y="315"/>
                </a:cubicBezTo>
                <a:cubicBezTo>
                  <a:pt x="342" y="316"/>
                  <a:pt x="342" y="316"/>
                  <a:pt x="342" y="316"/>
                </a:cubicBezTo>
                <a:cubicBezTo>
                  <a:pt x="341" y="317"/>
                  <a:pt x="341" y="317"/>
                  <a:pt x="341" y="317"/>
                </a:cubicBezTo>
                <a:cubicBezTo>
                  <a:pt x="342" y="318"/>
                  <a:pt x="342" y="318"/>
                  <a:pt x="342" y="318"/>
                </a:cubicBezTo>
                <a:cubicBezTo>
                  <a:pt x="341" y="318"/>
                  <a:pt x="341" y="318"/>
                  <a:pt x="341" y="318"/>
                </a:cubicBezTo>
                <a:cubicBezTo>
                  <a:pt x="341" y="319"/>
                  <a:pt x="341" y="319"/>
                  <a:pt x="341" y="319"/>
                </a:cubicBezTo>
                <a:cubicBezTo>
                  <a:pt x="341" y="320"/>
                  <a:pt x="341" y="320"/>
                  <a:pt x="341" y="320"/>
                </a:cubicBezTo>
                <a:cubicBezTo>
                  <a:pt x="340" y="321"/>
                  <a:pt x="340" y="321"/>
                  <a:pt x="340" y="321"/>
                </a:cubicBezTo>
                <a:cubicBezTo>
                  <a:pt x="341" y="321"/>
                  <a:pt x="341" y="321"/>
                  <a:pt x="341" y="321"/>
                </a:cubicBezTo>
                <a:cubicBezTo>
                  <a:pt x="341" y="322"/>
                  <a:pt x="341" y="322"/>
                  <a:pt x="341" y="322"/>
                </a:cubicBezTo>
                <a:cubicBezTo>
                  <a:pt x="342" y="322"/>
                  <a:pt x="342" y="322"/>
                  <a:pt x="342" y="322"/>
                </a:cubicBezTo>
                <a:cubicBezTo>
                  <a:pt x="342" y="323"/>
                  <a:pt x="342" y="323"/>
                  <a:pt x="342" y="323"/>
                </a:cubicBezTo>
                <a:cubicBezTo>
                  <a:pt x="342" y="324"/>
                  <a:pt x="342" y="324"/>
                  <a:pt x="342" y="324"/>
                </a:cubicBezTo>
                <a:close/>
                <a:moveTo>
                  <a:pt x="330" y="376"/>
                </a:moveTo>
                <a:cubicBezTo>
                  <a:pt x="330" y="377"/>
                  <a:pt x="330" y="377"/>
                  <a:pt x="330" y="377"/>
                </a:cubicBezTo>
                <a:cubicBezTo>
                  <a:pt x="330" y="376"/>
                  <a:pt x="330" y="376"/>
                  <a:pt x="330" y="376"/>
                </a:cubicBezTo>
                <a:cubicBezTo>
                  <a:pt x="330" y="376"/>
                  <a:pt x="330" y="376"/>
                  <a:pt x="330" y="376"/>
                </a:cubicBezTo>
                <a:cubicBezTo>
                  <a:pt x="330" y="376"/>
                  <a:pt x="330" y="376"/>
                  <a:pt x="330" y="376"/>
                </a:cubicBezTo>
                <a:close/>
                <a:moveTo>
                  <a:pt x="331" y="381"/>
                </a:moveTo>
                <a:cubicBezTo>
                  <a:pt x="331" y="380"/>
                  <a:pt x="331" y="380"/>
                  <a:pt x="331" y="380"/>
                </a:cubicBezTo>
                <a:cubicBezTo>
                  <a:pt x="332" y="379"/>
                  <a:pt x="332" y="379"/>
                  <a:pt x="332" y="379"/>
                </a:cubicBezTo>
                <a:cubicBezTo>
                  <a:pt x="332" y="379"/>
                  <a:pt x="332" y="379"/>
                  <a:pt x="332" y="379"/>
                </a:cubicBezTo>
                <a:cubicBezTo>
                  <a:pt x="332" y="381"/>
                  <a:pt x="332" y="381"/>
                  <a:pt x="332" y="381"/>
                </a:cubicBezTo>
                <a:cubicBezTo>
                  <a:pt x="331" y="382"/>
                  <a:pt x="331" y="382"/>
                  <a:pt x="331" y="382"/>
                </a:cubicBezTo>
                <a:cubicBezTo>
                  <a:pt x="331" y="382"/>
                  <a:pt x="331" y="382"/>
                  <a:pt x="331" y="381"/>
                </a:cubicBezTo>
                <a:close/>
                <a:moveTo>
                  <a:pt x="323" y="380"/>
                </a:moveTo>
                <a:cubicBezTo>
                  <a:pt x="324" y="379"/>
                  <a:pt x="324" y="379"/>
                  <a:pt x="324" y="379"/>
                </a:cubicBezTo>
                <a:cubicBezTo>
                  <a:pt x="325" y="379"/>
                  <a:pt x="325" y="379"/>
                  <a:pt x="325" y="379"/>
                </a:cubicBezTo>
                <a:cubicBezTo>
                  <a:pt x="325" y="378"/>
                  <a:pt x="325" y="378"/>
                  <a:pt x="325" y="378"/>
                </a:cubicBezTo>
                <a:cubicBezTo>
                  <a:pt x="325" y="378"/>
                  <a:pt x="325" y="378"/>
                  <a:pt x="325" y="378"/>
                </a:cubicBezTo>
                <a:cubicBezTo>
                  <a:pt x="326" y="378"/>
                  <a:pt x="326" y="378"/>
                  <a:pt x="326" y="378"/>
                </a:cubicBezTo>
                <a:cubicBezTo>
                  <a:pt x="327" y="377"/>
                  <a:pt x="327" y="377"/>
                  <a:pt x="327" y="377"/>
                </a:cubicBezTo>
                <a:cubicBezTo>
                  <a:pt x="326" y="379"/>
                  <a:pt x="326" y="379"/>
                  <a:pt x="326" y="379"/>
                </a:cubicBezTo>
                <a:cubicBezTo>
                  <a:pt x="325" y="380"/>
                  <a:pt x="325" y="380"/>
                  <a:pt x="325" y="380"/>
                </a:cubicBezTo>
                <a:cubicBezTo>
                  <a:pt x="324" y="380"/>
                  <a:pt x="324" y="380"/>
                  <a:pt x="324" y="380"/>
                </a:cubicBezTo>
                <a:cubicBezTo>
                  <a:pt x="323" y="380"/>
                  <a:pt x="323" y="380"/>
                  <a:pt x="323" y="380"/>
                </a:cubicBezTo>
                <a:close/>
                <a:moveTo>
                  <a:pt x="328" y="382"/>
                </a:moveTo>
                <a:cubicBezTo>
                  <a:pt x="330" y="380"/>
                  <a:pt x="330" y="380"/>
                  <a:pt x="330" y="380"/>
                </a:cubicBezTo>
                <a:cubicBezTo>
                  <a:pt x="330" y="379"/>
                  <a:pt x="330" y="379"/>
                  <a:pt x="330" y="379"/>
                </a:cubicBezTo>
                <a:cubicBezTo>
                  <a:pt x="330" y="379"/>
                  <a:pt x="330" y="379"/>
                  <a:pt x="330" y="379"/>
                </a:cubicBezTo>
                <a:cubicBezTo>
                  <a:pt x="330" y="380"/>
                  <a:pt x="330" y="380"/>
                  <a:pt x="330" y="380"/>
                </a:cubicBezTo>
                <a:cubicBezTo>
                  <a:pt x="329" y="382"/>
                  <a:pt x="329" y="382"/>
                  <a:pt x="329" y="382"/>
                </a:cubicBezTo>
                <a:cubicBezTo>
                  <a:pt x="328" y="383"/>
                  <a:pt x="328" y="383"/>
                  <a:pt x="328" y="383"/>
                </a:cubicBezTo>
                <a:cubicBezTo>
                  <a:pt x="329" y="382"/>
                  <a:pt x="329" y="382"/>
                  <a:pt x="329" y="382"/>
                </a:cubicBezTo>
                <a:cubicBezTo>
                  <a:pt x="331" y="381"/>
                  <a:pt x="331" y="381"/>
                  <a:pt x="331" y="381"/>
                </a:cubicBezTo>
                <a:cubicBezTo>
                  <a:pt x="331" y="380"/>
                  <a:pt x="331" y="380"/>
                  <a:pt x="331" y="380"/>
                </a:cubicBezTo>
                <a:cubicBezTo>
                  <a:pt x="331" y="379"/>
                  <a:pt x="331" y="379"/>
                  <a:pt x="331" y="379"/>
                </a:cubicBezTo>
                <a:cubicBezTo>
                  <a:pt x="331" y="378"/>
                  <a:pt x="331" y="378"/>
                  <a:pt x="331" y="378"/>
                </a:cubicBezTo>
                <a:cubicBezTo>
                  <a:pt x="330" y="378"/>
                  <a:pt x="330" y="378"/>
                  <a:pt x="330" y="378"/>
                </a:cubicBezTo>
                <a:cubicBezTo>
                  <a:pt x="330" y="377"/>
                  <a:pt x="330" y="377"/>
                  <a:pt x="330" y="377"/>
                </a:cubicBezTo>
                <a:cubicBezTo>
                  <a:pt x="329" y="377"/>
                  <a:pt x="329" y="377"/>
                  <a:pt x="329" y="377"/>
                </a:cubicBezTo>
                <a:cubicBezTo>
                  <a:pt x="329" y="377"/>
                  <a:pt x="329" y="377"/>
                  <a:pt x="329" y="377"/>
                </a:cubicBezTo>
                <a:cubicBezTo>
                  <a:pt x="329" y="379"/>
                  <a:pt x="329" y="379"/>
                  <a:pt x="329" y="379"/>
                </a:cubicBezTo>
                <a:cubicBezTo>
                  <a:pt x="328" y="380"/>
                  <a:pt x="328" y="380"/>
                  <a:pt x="328" y="380"/>
                </a:cubicBezTo>
                <a:cubicBezTo>
                  <a:pt x="327" y="381"/>
                  <a:pt x="327" y="381"/>
                  <a:pt x="327" y="381"/>
                </a:cubicBezTo>
                <a:cubicBezTo>
                  <a:pt x="327" y="380"/>
                  <a:pt x="327" y="380"/>
                  <a:pt x="327" y="380"/>
                </a:cubicBezTo>
                <a:cubicBezTo>
                  <a:pt x="328" y="379"/>
                  <a:pt x="328" y="379"/>
                  <a:pt x="328" y="379"/>
                </a:cubicBezTo>
                <a:cubicBezTo>
                  <a:pt x="328" y="378"/>
                  <a:pt x="328" y="378"/>
                  <a:pt x="328" y="378"/>
                </a:cubicBezTo>
                <a:cubicBezTo>
                  <a:pt x="328" y="378"/>
                  <a:pt x="328" y="378"/>
                  <a:pt x="328" y="378"/>
                </a:cubicBezTo>
                <a:cubicBezTo>
                  <a:pt x="327" y="378"/>
                  <a:pt x="327" y="378"/>
                  <a:pt x="327" y="378"/>
                </a:cubicBezTo>
                <a:cubicBezTo>
                  <a:pt x="326" y="380"/>
                  <a:pt x="326" y="380"/>
                  <a:pt x="326" y="380"/>
                </a:cubicBezTo>
                <a:cubicBezTo>
                  <a:pt x="325" y="381"/>
                  <a:pt x="325" y="381"/>
                  <a:pt x="325" y="381"/>
                </a:cubicBezTo>
                <a:cubicBezTo>
                  <a:pt x="325" y="382"/>
                  <a:pt x="325" y="382"/>
                  <a:pt x="325" y="382"/>
                </a:cubicBezTo>
                <a:cubicBezTo>
                  <a:pt x="324" y="383"/>
                  <a:pt x="324" y="383"/>
                  <a:pt x="324" y="383"/>
                </a:cubicBezTo>
                <a:cubicBezTo>
                  <a:pt x="324" y="384"/>
                  <a:pt x="324" y="384"/>
                  <a:pt x="324" y="384"/>
                </a:cubicBezTo>
                <a:cubicBezTo>
                  <a:pt x="325" y="383"/>
                  <a:pt x="325" y="383"/>
                  <a:pt x="325" y="383"/>
                </a:cubicBezTo>
                <a:cubicBezTo>
                  <a:pt x="326" y="382"/>
                  <a:pt x="326" y="382"/>
                  <a:pt x="326" y="382"/>
                </a:cubicBezTo>
                <a:cubicBezTo>
                  <a:pt x="327" y="382"/>
                  <a:pt x="327" y="382"/>
                  <a:pt x="327" y="382"/>
                </a:cubicBezTo>
                <a:cubicBezTo>
                  <a:pt x="326" y="382"/>
                  <a:pt x="326" y="382"/>
                  <a:pt x="326" y="382"/>
                </a:cubicBezTo>
                <a:cubicBezTo>
                  <a:pt x="325" y="384"/>
                  <a:pt x="325" y="384"/>
                  <a:pt x="325" y="384"/>
                </a:cubicBezTo>
                <a:cubicBezTo>
                  <a:pt x="326" y="384"/>
                  <a:pt x="326" y="384"/>
                  <a:pt x="326" y="384"/>
                </a:cubicBezTo>
                <a:cubicBezTo>
                  <a:pt x="327" y="383"/>
                  <a:pt x="327" y="383"/>
                  <a:pt x="327" y="383"/>
                </a:cubicBezTo>
                <a:cubicBezTo>
                  <a:pt x="327" y="383"/>
                  <a:pt x="327" y="383"/>
                  <a:pt x="327" y="383"/>
                </a:cubicBezTo>
                <a:cubicBezTo>
                  <a:pt x="327" y="383"/>
                  <a:pt x="328" y="382"/>
                  <a:pt x="328" y="382"/>
                </a:cubicBezTo>
                <a:close/>
                <a:moveTo>
                  <a:pt x="327" y="382"/>
                </a:moveTo>
                <a:cubicBezTo>
                  <a:pt x="327" y="381"/>
                  <a:pt x="327" y="381"/>
                  <a:pt x="327" y="381"/>
                </a:cubicBezTo>
                <a:cubicBezTo>
                  <a:pt x="329" y="380"/>
                  <a:pt x="329" y="380"/>
                  <a:pt x="329" y="380"/>
                </a:cubicBezTo>
                <a:cubicBezTo>
                  <a:pt x="328" y="381"/>
                  <a:pt x="328" y="381"/>
                  <a:pt x="328" y="381"/>
                </a:cubicBezTo>
                <a:cubicBezTo>
                  <a:pt x="328" y="382"/>
                  <a:pt x="328" y="382"/>
                  <a:pt x="328" y="382"/>
                </a:cubicBezTo>
                <a:cubicBezTo>
                  <a:pt x="327" y="382"/>
                  <a:pt x="327" y="382"/>
                  <a:pt x="327" y="382"/>
                </a:cubicBezTo>
                <a:close/>
                <a:moveTo>
                  <a:pt x="412" y="468"/>
                </a:moveTo>
                <a:cubicBezTo>
                  <a:pt x="411" y="468"/>
                  <a:pt x="411" y="468"/>
                  <a:pt x="411" y="468"/>
                </a:cubicBezTo>
                <a:cubicBezTo>
                  <a:pt x="411" y="468"/>
                  <a:pt x="411" y="468"/>
                  <a:pt x="411" y="468"/>
                </a:cubicBezTo>
                <a:cubicBezTo>
                  <a:pt x="411" y="467"/>
                  <a:pt x="411" y="467"/>
                  <a:pt x="411" y="467"/>
                </a:cubicBezTo>
                <a:cubicBezTo>
                  <a:pt x="412" y="467"/>
                  <a:pt x="412" y="467"/>
                  <a:pt x="412" y="467"/>
                </a:cubicBezTo>
                <a:cubicBezTo>
                  <a:pt x="413" y="466"/>
                  <a:pt x="413" y="466"/>
                  <a:pt x="413" y="466"/>
                </a:cubicBezTo>
                <a:cubicBezTo>
                  <a:pt x="413" y="466"/>
                  <a:pt x="413" y="466"/>
                  <a:pt x="413" y="466"/>
                </a:cubicBezTo>
                <a:cubicBezTo>
                  <a:pt x="413" y="466"/>
                  <a:pt x="413" y="466"/>
                  <a:pt x="413" y="466"/>
                </a:cubicBezTo>
                <a:cubicBezTo>
                  <a:pt x="413" y="466"/>
                  <a:pt x="413" y="466"/>
                  <a:pt x="413" y="466"/>
                </a:cubicBezTo>
                <a:cubicBezTo>
                  <a:pt x="411" y="467"/>
                  <a:pt x="411" y="467"/>
                  <a:pt x="411" y="467"/>
                </a:cubicBezTo>
                <a:cubicBezTo>
                  <a:pt x="411" y="468"/>
                  <a:pt x="411" y="468"/>
                  <a:pt x="411" y="468"/>
                </a:cubicBezTo>
                <a:cubicBezTo>
                  <a:pt x="411" y="468"/>
                  <a:pt x="411" y="468"/>
                  <a:pt x="411" y="468"/>
                </a:cubicBezTo>
                <a:cubicBezTo>
                  <a:pt x="412" y="468"/>
                  <a:pt x="412" y="468"/>
                  <a:pt x="412" y="468"/>
                </a:cubicBezTo>
                <a:cubicBezTo>
                  <a:pt x="412" y="468"/>
                  <a:pt x="412" y="468"/>
                  <a:pt x="412" y="468"/>
                </a:cubicBezTo>
                <a:close/>
                <a:moveTo>
                  <a:pt x="443" y="474"/>
                </a:moveTo>
                <a:cubicBezTo>
                  <a:pt x="442" y="473"/>
                  <a:pt x="442" y="473"/>
                  <a:pt x="442" y="473"/>
                </a:cubicBezTo>
                <a:cubicBezTo>
                  <a:pt x="443" y="472"/>
                  <a:pt x="443" y="472"/>
                  <a:pt x="443" y="472"/>
                </a:cubicBezTo>
                <a:cubicBezTo>
                  <a:pt x="443" y="471"/>
                  <a:pt x="443" y="471"/>
                  <a:pt x="443" y="471"/>
                </a:cubicBezTo>
                <a:cubicBezTo>
                  <a:pt x="442" y="470"/>
                  <a:pt x="442" y="470"/>
                  <a:pt x="442" y="470"/>
                </a:cubicBezTo>
                <a:cubicBezTo>
                  <a:pt x="443" y="470"/>
                  <a:pt x="443" y="470"/>
                  <a:pt x="443" y="470"/>
                </a:cubicBezTo>
                <a:cubicBezTo>
                  <a:pt x="443" y="469"/>
                  <a:pt x="443" y="469"/>
                  <a:pt x="443" y="469"/>
                </a:cubicBezTo>
                <a:cubicBezTo>
                  <a:pt x="443" y="470"/>
                  <a:pt x="443" y="470"/>
                  <a:pt x="443" y="470"/>
                </a:cubicBezTo>
                <a:cubicBezTo>
                  <a:pt x="443" y="470"/>
                  <a:pt x="443" y="470"/>
                  <a:pt x="443" y="470"/>
                </a:cubicBezTo>
                <a:cubicBezTo>
                  <a:pt x="443" y="471"/>
                  <a:pt x="443" y="471"/>
                  <a:pt x="443" y="471"/>
                </a:cubicBezTo>
                <a:cubicBezTo>
                  <a:pt x="443" y="472"/>
                  <a:pt x="443" y="472"/>
                  <a:pt x="443" y="472"/>
                </a:cubicBezTo>
                <a:cubicBezTo>
                  <a:pt x="443" y="472"/>
                  <a:pt x="443" y="472"/>
                  <a:pt x="443" y="472"/>
                </a:cubicBezTo>
                <a:cubicBezTo>
                  <a:pt x="443" y="472"/>
                  <a:pt x="443" y="472"/>
                  <a:pt x="443" y="472"/>
                </a:cubicBezTo>
                <a:cubicBezTo>
                  <a:pt x="443" y="473"/>
                  <a:pt x="443" y="473"/>
                  <a:pt x="443" y="473"/>
                </a:cubicBezTo>
                <a:cubicBezTo>
                  <a:pt x="443" y="474"/>
                  <a:pt x="443" y="474"/>
                  <a:pt x="443" y="474"/>
                </a:cubicBezTo>
                <a:cubicBezTo>
                  <a:pt x="443" y="474"/>
                  <a:pt x="443" y="474"/>
                  <a:pt x="443" y="474"/>
                </a:cubicBezTo>
                <a:close/>
                <a:moveTo>
                  <a:pt x="444" y="474"/>
                </a:moveTo>
                <a:cubicBezTo>
                  <a:pt x="444" y="474"/>
                  <a:pt x="444" y="474"/>
                  <a:pt x="444" y="474"/>
                </a:cubicBezTo>
                <a:cubicBezTo>
                  <a:pt x="444" y="474"/>
                  <a:pt x="444" y="474"/>
                  <a:pt x="444" y="474"/>
                </a:cubicBezTo>
                <a:cubicBezTo>
                  <a:pt x="445" y="474"/>
                  <a:pt x="445" y="474"/>
                  <a:pt x="445" y="474"/>
                </a:cubicBezTo>
                <a:cubicBezTo>
                  <a:pt x="444" y="475"/>
                  <a:pt x="444" y="475"/>
                  <a:pt x="444" y="475"/>
                </a:cubicBezTo>
                <a:cubicBezTo>
                  <a:pt x="444" y="474"/>
                  <a:pt x="444" y="474"/>
                  <a:pt x="444" y="474"/>
                </a:cubicBezTo>
                <a:close/>
                <a:moveTo>
                  <a:pt x="456" y="430"/>
                </a:moveTo>
                <a:cubicBezTo>
                  <a:pt x="457" y="429"/>
                  <a:pt x="457" y="429"/>
                  <a:pt x="457" y="429"/>
                </a:cubicBezTo>
                <a:cubicBezTo>
                  <a:pt x="457" y="429"/>
                  <a:pt x="457" y="429"/>
                  <a:pt x="457" y="429"/>
                </a:cubicBezTo>
                <a:cubicBezTo>
                  <a:pt x="457" y="429"/>
                  <a:pt x="457" y="429"/>
                  <a:pt x="457" y="429"/>
                </a:cubicBezTo>
                <a:cubicBezTo>
                  <a:pt x="457" y="430"/>
                  <a:pt x="457" y="430"/>
                  <a:pt x="457" y="430"/>
                </a:cubicBezTo>
                <a:cubicBezTo>
                  <a:pt x="456" y="431"/>
                  <a:pt x="456" y="431"/>
                  <a:pt x="456" y="431"/>
                </a:cubicBezTo>
                <a:cubicBezTo>
                  <a:pt x="456" y="431"/>
                  <a:pt x="456" y="430"/>
                  <a:pt x="456" y="430"/>
                </a:cubicBezTo>
                <a:close/>
                <a:moveTo>
                  <a:pt x="452" y="439"/>
                </a:moveTo>
                <a:cubicBezTo>
                  <a:pt x="452" y="440"/>
                  <a:pt x="452" y="440"/>
                  <a:pt x="452" y="440"/>
                </a:cubicBezTo>
                <a:cubicBezTo>
                  <a:pt x="453" y="440"/>
                  <a:pt x="453" y="440"/>
                  <a:pt x="453" y="440"/>
                </a:cubicBezTo>
                <a:cubicBezTo>
                  <a:pt x="453" y="440"/>
                  <a:pt x="453" y="440"/>
                  <a:pt x="453" y="440"/>
                </a:cubicBezTo>
                <a:cubicBezTo>
                  <a:pt x="453" y="440"/>
                  <a:pt x="453" y="440"/>
                  <a:pt x="453" y="440"/>
                </a:cubicBezTo>
                <a:cubicBezTo>
                  <a:pt x="453" y="439"/>
                  <a:pt x="453" y="439"/>
                  <a:pt x="453" y="439"/>
                </a:cubicBezTo>
                <a:cubicBezTo>
                  <a:pt x="453" y="439"/>
                  <a:pt x="453" y="439"/>
                  <a:pt x="453" y="439"/>
                </a:cubicBezTo>
                <a:cubicBezTo>
                  <a:pt x="452" y="439"/>
                  <a:pt x="452" y="439"/>
                  <a:pt x="452" y="439"/>
                </a:cubicBezTo>
                <a:close/>
                <a:moveTo>
                  <a:pt x="459" y="450"/>
                </a:moveTo>
                <a:cubicBezTo>
                  <a:pt x="459" y="449"/>
                  <a:pt x="459" y="449"/>
                  <a:pt x="459" y="449"/>
                </a:cubicBezTo>
                <a:cubicBezTo>
                  <a:pt x="459" y="448"/>
                  <a:pt x="459" y="448"/>
                  <a:pt x="459" y="448"/>
                </a:cubicBezTo>
                <a:cubicBezTo>
                  <a:pt x="459" y="448"/>
                  <a:pt x="459" y="448"/>
                  <a:pt x="459" y="448"/>
                </a:cubicBezTo>
                <a:cubicBezTo>
                  <a:pt x="459" y="449"/>
                  <a:pt x="459" y="449"/>
                  <a:pt x="459" y="449"/>
                </a:cubicBezTo>
                <a:cubicBezTo>
                  <a:pt x="460" y="449"/>
                  <a:pt x="460" y="449"/>
                  <a:pt x="460" y="449"/>
                </a:cubicBezTo>
                <a:cubicBezTo>
                  <a:pt x="460" y="449"/>
                  <a:pt x="460" y="449"/>
                  <a:pt x="460" y="449"/>
                </a:cubicBezTo>
                <a:cubicBezTo>
                  <a:pt x="460" y="450"/>
                  <a:pt x="460" y="450"/>
                  <a:pt x="460" y="450"/>
                </a:cubicBezTo>
                <a:cubicBezTo>
                  <a:pt x="459" y="450"/>
                  <a:pt x="459" y="450"/>
                  <a:pt x="459" y="450"/>
                </a:cubicBezTo>
                <a:cubicBezTo>
                  <a:pt x="459" y="450"/>
                  <a:pt x="459" y="450"/>
                  <a:pt x="459" y="450"/>
                </a:cubicBezTo>
                <a:close/>
                <a:moveTo>
                  <a:pt x="456" y="450"/>
                </a:moveTo>
                <a:cubicBezTo>
                  <a:pt x="456" y="450"/>
                  <a:pt x="456" y="450"/>
                  <a:pt x="456" y="450"/>
                </a:cubicBezTo>
                <a:cubicBezTo>
                  <a:pt x="457" y="450"/>
                  <a:pt x="457" y="450"/>
                  <a:pt x="457" y="450"/>
                </a:cubicBezTo>
                <a:cubicBezTo>
                  <a:pt x="457" y="449"/>
                  <a:pt x="457" y="449"/>
                  <a:pt x="457" y="449"/>
                </a:cubicBezTo>
                <a:cubicBezTo>
                  <a:pt x="457" y="449"/>
                  <a:pt x="457" y="449"/>
                  <a:pt x="457" y="449"/>
                </a:cubicBezTo>
                <a:cubicBezTo>
                  <a:pt x="457" y="449"/>
                  <a:pt x="457" y="449"/>
                  <a:pt x="457" y="449"/>
                </a:cubicBezTo>
                <a:cubicBezTo>
                  <a:pt x="457" y="450"/>
                  <a:pt x="457" y="450"/>
                  <a:pt x="457" y="450"/>
                </a:cubicBezTo>
                <a:cubicBezTo>
                  <a:pt x="457" y="450"/>
                  <a:pt x="457" y="450"/>
                  <a:pt x="457" y="450"/>
                </a:cubicBezTo>
                <a:cubicBezTo>
                  <a:pt x="456" y="451"/>
                  <a:pt x="456" y="451"/>
                  <a:pt x="456" y="451"/>
                </a:cubicBezTo>
                <a:cubicBezTo>
                  <a:pt x="455" y="451"/>
                  <a:pt x="455" y="451"/>
                  <a:pt x="455" y="451"/>
                </a:cubicBezTo>
                <a:cubicBezTo>
                  <a:pt x="456" y="450"/>
                  <a:pt x="456" y="450"/>
                  <a:pt x="456" y="450"/>
                </a:cubicBezTo>
                <a:cubicBezTo>
                  <a:pt x="456" y="450"/>
                  <a:pt x="456" y="450"/>
                  <a:pt x="456" y="450"/>
                </a:cubicBezTo>
                <a:close/>
                <a:moveTo>
                  <a:pt x="446" y="466"/>
                </a:moveTo>
                <a:cubicBezTo>
                  <a:pt x="446" y="465"/>
                  <a:pt x="446" y="465"/>
                  <a:pt x="446" y="465"/>
                </a:cubicBezTo>
                <a:cubicBezTo>
                  <a:pt x="446" y="466"/>
                  <a:pt x="446" y="466"/>
                  <a:pt x="446" y="466"/>
                </a:cubicBezTo>
                <a:cubicBezTo>
                  <a:pt x="446" y="466"/>
                  <a:pt x="446" y="466"/>
                  <a:pt x="446" y="466"/>
                </a:cubicBezTo>
                <a:cubicBezTo>
                  <a:pt x="446" y="466"/>
                  <a:pt x="446" y="466"/>
                  <a:pt x="446" y="466"/>
                </a:cubicBezTo>
                <a:close/>
                <a:moveTo>
                  <a:pt x="459" y="462"/>
                </a:moveTo>
                <a:cubicBezTo>
                  <a:pt x="459" y="463"/>
                  <a:pt x="459" y="463"/>
                  <a:pt x="459" y="463"/>
                </a:cubicBezTo>
                <a:cubicBezTo>
                  <a:pt x="460" y="463"/>
                  <a:pt x="460" y="463"/>
                  <a:pt x="460" y="463"/>
                </a:cubicBezTo>
                <a:cubicBezTo>
                  <a:pt x="460" y="463"/>
                  <a:pt x="460" y="463"/>
                  <a:pt x="460" y="463"/>
                </a:cubicBezTo>
                <a:cubicBezTo>
                  <a:pt x="461" y="463"/>
                  <a:pt x="461" y="463"/>
                  <a:pt x="461" y="463"/>
                </a:cubicBezTo>
                <a:cubicBezTo>
                  <a:pt x="459" y="462"/>
                  <a:pt x="459" y="462"/>
                  <a:pt x="459" y="462"/>
                </a:cubicBezTo>
                <a:cubicBezTo>
                  <a:pt x="459" y="462"/>
                  <a:pt x="459" y="462"/>
                  <a:pt x="459" y="462"/>
                </a:cubicBezTo>
                <a:close/>
                <a:moveTo>
                  <a:pt x="445" y="438"/>
                </a:moveTo>
                <a:cubicBezTo>
                  <a:pt x="444" y="439"/>
                  <a:pt x="444" y="439"/>
                  <a:pt x="444" y="439"/>
                </a:cubicBezTo>
                <a:cubicBezTo>
                  <a:pt x="443" y="440"/>
                  <a:pt x="443" y="440"/>
                  <a:pt x="443" y="440"/>
                </a:cubicBezTo>
                <a:cubicBezTo>
                  <a:pt x="443" y="440"/>
                  <a:pt x="443" y="440"/>
                  <a:pt x="443" y="440"/>
                </a:cubicBezTo>
                <a:cubicBezTo>
                  <a:pt x="443" y="440"/>
                  <a:pt x="443" y="440"/>
                  <a:pt x="443" y="440"/>
                </a:cubicBezTo>
                <a:cubicBezTo>
                  <a:pt x="442" y="441"/>
                  <a:pt x="442" y="441"/>
                  <a:pt x="442" y="441"/>
                </a:cubicBezTo>
                <a:cubicBezTo>
                  <a:pt x="442" y="441"/>
                  <a:pt x="442" y="441"/>
                  <a:pt x="442" y="441"/>
                </a:cubicBezTo>
                <a:cubicBezTo>
                  <a:pt x="442" y="442"/>
                  <a:pt x="442" y="442"/>
                  <a:pt x="442" y="442"/>
                </a:cubicBezTo>
                <a:cubicBezTo>
                  <a:pt x="442" y="442"/>
                  <a:pt x="442" y="442"/>
                  <a:pt x="442" y="442"/>
                </a:cubicBezTo>
                <a:cubicBezTo>
                  <a:pt x="442" y="442"/>
                  <a:pt x="442" y="442"/>
                  <a:pt x="442" y="442"/>
                </a:cubicBezTo>
                <a:cubicBezTo>
                  <a:pt x="441" y="442"/>
                  <a:pt x="441" y="442"/>
                  <a:pt x="441" y="442"/>
                </a:cubicBezTo>
                <a:cubicBezTo>
                  <a:pt x="441" y="443"/>
                  <a:pt x="441" y="443"/>
                  <a:pt x="441" y="443"/>
                </a:cubicBezTo>
                <a:cubicBezTo>
                  <a:pt x="440" y="444"/>
                  <a:pt x="440" y="444"/>
                  <a:pt x="440" y="444"/>
                </a:cubicBezTo>
                <a:cubicBezTo>
                  <a:pt x="441" y="444"/>
                  <a:pt x="441" y="444"/>
                  <a:pt x="441" y="444"/>
                </a:cubicBezTo>
                <a:cubicBezTo>
                  <a:pt x="441" y="444"/>
                  <a:pt x="441" y="444"/>
                  <a:pt x="441" y="444"/>
                </a:cubicBezTo>
                <a:cubicBezTo>
                  <a:pt x="441" y="444"/>
                  <a:pt x="441" y="444"/>
                  <a:pt x="441" y="444"/>
                </a:cubicBezTo>
                <a:cubicBezTo>
                  <a:pt x="440" y="444"/>
                  <a:pt x="440" y="444"/>
                  <a:pt x="440" y="444"/>
                </a:cubicBezTo>
                <a:cubicBezTo>
                  <a:pt x="439" y="446"/>
                  <a:pt x="439" y="446"/>
                  <a:pt x="439" y="446"/>
                </a:cubicBezTo>
                <a:cubicBezTo>
                  <a:pt x="439" y="446"/>
                  <a:pt x="439" y="446"/>
                  <a:pt x="439" y="446"/>
                </a:cubicBezTo>
                <a:cubicBezTo>
                  <a:pt x="438" y="448"/>
                  <a:pt x="438" y="448"/>
                  <a:pt x="438" y="448"/>
                </a:cubicBezTo>
                <a:cubicBezTo>
                  <a:pt x="438" y="449"/>
                  <a:pt x="438" y="449"/>
                  <a:pt x="438" y="449"/>
                </a:cubicBezTo>
                <a:cubicBezTo>
                  <a:pt x="438" y="449"/>
                  <a:pt x="438" y="449"/>
                  <a:pt x="438" y="449"/>
                </a:cubicBezTo>
                <a:cubicBezTo>
                  <a:pt x="438" y="450"/>
                  <a:pt x="438" y="450"/>
                  <a:pt x="438" y="450"/>
                </a:cubicBezTo>
                <a:cubicBezTo>
                  <a:pt x="438" y="450"/>
                  <a:pt x="438" y="450"/>
                  <a:pt x="438" y="450"/>
                </a:cubicBezTo>
                <a:cubicBezTo>
                  <a:pt x="437" y="450"/>
                  <a:pt x="437" y="450"/>
                  <a:pt x="437" y="450"/>
                </a:cubicBezTo>
                <a:cubicBezTo>
                  <a:pt x="437" y="450"/>
                  <a:pt x="437" y="450"/>
                  <a:pt x="437" y="450"/>
                </a:cubicBezTo>
                <a:cubicBezTo>
                  <a:pt x="436" y="450"/>
                  <a:pt x="436" y="450"/>
                  <a:pt x="436" y="450"/>
                </a:cubicBezTo>
                <a:cubicBezTo>
                  <a:pt x="436" y="451"/>
                  <a:pt x="436" y="451"/>
                  <a:pt x="436" y="451"/>
                </a:cubicBezTo>
                <a:cubicBezTo>
                  <a:pt x="436" y="452"/>
                  <a:pt x="436" y="452"/>
                  <a:pt x="436" y="452"/>
                </a:cubicBezTo>
                <a:cubicBezTo>
                  <a:pt x="436" y="452"/>
                  <a:pt x="436" y="452"/>
                  <a:pt x="436" y="452"/>
                </a:cubicBezTo>
                <a:cubicBezTo>
                  <a:pt x="437" y="452"/>
                  <a:pt x="437" y="452"/>
                  <a:pt x="437" y="452"/>
                </a:cubicBezTo>
                <a:cubicBezTo>
                  <a:pt x="436" y="452"/>
                  <a:pt x="436" y="452"/>
                  <a:pt x="436" y="452"/>
                </a:cubicBezTo>
                <a:cubicBezTo>
                  <a:pt x="436" y="453"/>
                  <a:pt x="436" y="453"/>
                  <a:pt x="436" y="453"/>
                </a:cubicBezTo>
                <a:cubicBezTo>
                  <a:pt x="435" y="454"/>
                  <a:pt x="435" y="454"/>
                  <a:pt x="435" y="454"/>
                </a:cubicBezTo>
                <a:cubicBezTo>
                  <a:pt x="434" y="453"/>
                  <a:pt x="434" y="453"/>
                  <a:pt x="434" y="453"/>
                </a:cubicBezTo>
                <a:cubicBezTo>
                  <a:pt x="434" y="454"/>
                  <a:pt x="434" y="454"/>
                  <a:pt x="434" y="454"/>
                </a:cubicBezTo>
                <a:cubicBezTo>
                  <a:pt x="434" y="454"/>
                  <a:pt x="434" y="454"/>
                  <a:pt x="434" y="454"/>
                </a:cubicBezTo>
                <a:cubicBezTo>
                  <a:pt x="433" y="455"/>
                  <a:pt x="433" y="455"/>
                  <a:pt x="433" y="455"/>
                </a:cubicBezTo>
                <a:cubicBezTo>
                  <a:pt x="432" y="456"/>
                  <a:pt x="432" y="456"/>
                  <a:pt x="432" y="456"/>
                </a:cubicBezTo>
                <a:cubicBezTo>
                  <a:pt x="432" y="457"/>
                  <a:pt x="432" y="457"/>
                  <a:pt x="432" y="457"/>
                </a:cubicBezTo>
                <a:cubicBezTo>
                  <a:pt x="431" y="457"/>
                  <a:pt x="431" y="457"/>
                  <a:pt x="431" y="457"/>
                </a:cubicBezTo>
                <a:cubicBezTo>
                  <a:pt x="431" y="456"/>
                  <a:pt x="431" y="456"/>
                  <a:pt x="431" y="456"/>
                </a:cubicBezTo>
                <a:cubicBezTo>
                  <a:pt x="431" y="457"/>
                  <a:pt x="431" y="457"/>
                  <a:pt x="431" y="457"/>
                </a:cubicBezTo>
                <a:cubicBezTo>
                  <a:pt x="430" y="456"/>
                  <a:pt x="430" y="456"/>
                  <a:pt x="430" y="456"/>
                </a:cubicBezTo>
                <a:cubicBezTo>
                  <a:pt x="431" y="456"/>
                  <a:pt x="431" y="456"/>
                  <a:pt x="431" y="456"/>
                </a:cubicBezTo>
                <a:cubicBezTo>
                  <a:pt x="431" y="455"/>
                  <a:pt x="431" y="455"/>
                  <a:pt x="431" y="455"/>
                </a:cubicBezTo>
                <a:cubicBezTo>
                  <a:pt x="432" y="455"/>
                  <a:pt x="432" y="455"/>
                  <a:pt x="432" y="455"/>
                </a:cubicBezTo>
                <a:cubicBezTo>
                  <a:pt x="431" y="455"/>
                  <a:pt x="431" y="455"/>
                  <a:pt x="431" y="455"/>
                </a:cubicBezTo>
                <a:cubicBezTo>
                  <a:pt x="430" y="456"/>
                  <a:pt x="430" y="456"/>
                  <a:pt x="430" y="456"/>
                </a:cubicBezTo>
                <a:cubicBezTo>
                  <a:pt x="429" y="456"/>
                  <a:pt x="429" y="456"/>
                  <a:pt x="429" y="456"/>
                </a:cubicBezTo>
                <a:cubicBezTo>
                  <a:pt x="428" y="458"/>
                  <a:pt x="428" y="458"/>
                  <a:pt x="428" y="458"/>
                </a:cubicBezTo>
                <a:cubicBezTo>
                  <a:pt x="429" y="458"/>
                  <a:pt x="429" y="458"/>
                  <a:pt x="429" y="458"/>
                </a:cubicBezTo>
                <a:cubicBezTo>
                  <a:pt x="430" y="458"/>
                  <a:pt x="430" y="458"/>
                  <a:pt x="430" y="458"/>
                </a:cubicBezTo>
                <a:cubicBezTo>
                  <a:pt x="431" y="457"/>
                  <a:pt x="431" y="457"/>
                  <a:pt x="431" y="457"/>
                </a:cubicBezTo>
                <a:cubicBezTo>
                  <a:pt x="433" y="457"/>
                  <a:pt x="433" y="457"/>
                  <a:pt x="433" y="457"/>
                </a:cubicBezTo>
                <a:cubicBezTo>
                  <a:pt x="432" y="458"/>
                  <a:pt x="432" y="458"/>
                  <a:pt x="432" y="458"/>
                </a:cubicBezTo>
                <a:cubicBezTo>
                  <a:pt x="431" y="460"/>
                  <a:pt x="431" y="460"/>
                  <a:pt x="431" y="460"/>
                </a:cubicBezTo>
                <a:cubicBezTo>
                  <a:pt x="430" y="461"/>
                  <a:pt x="430" y="461"/>
                  <a:pt x="430" y="461"/>
                </a:cubicBezTo>
                <a:cubicBezTo>
                  <a:pt x="429" y="462"/>
                  <a:pt x="429" y="462"/>
                  <a:pt x="429" y="462"/>
                </a:cubicBezTo>
                <a:cubicBezTo>
                  <a:pt x="427" y="463"/>
                  <a:pt x="427" y="463"/>
                  <a:pt x="427" y="463"/>
                </a:cubicBezTo>
                <a:cubicBezTo>
                  <a:pt x="427" y="463"/>
                  <a:pt x="427" y="463"/>
                  <a:pt x="427" y="463"/>
                </a:cubicBezTo>
                <a:cubicBezTo>
                  <a:pt x="427" y="463"/>
                  <a:pt x="427" y="463"/>
                  <a:pt x="427" y="463"/>
                </a:cubicBezTo>
                <a:cubicBezTo>
                  <a:pt x="427" y="464"/>
                  <a:pt x="427" y="464"/>
                  <a:pt x="427" y="464"/>
                </a:cubicBezTo>
                <a:cubicBezTo>
                  <a:pt x="427" y="465"/>
                  <a:pt x="427" y="465"/>
                  <a:pt x="427" y="465"/>
                </a:cubicBezTo>
                <a:cubicBezTo>
                  <a:pt x="427" y="465"/>
                  <a:pt x="427" y="465"/>
                  <a:pt x="427" y="465"/>
                </a:cubicBezTo>
                <a:cubicBezTo>
                  <a:pt x="427" y="465"/>
                  <a:pt x="427" y="465"/>
                  <a:pt x="427" y="465"/>
                </a:cubicBezTo>
                <a:cubicBezTo>
                  <a:pt x="429" y="466"/>
                  <a:pt x="429" y="466"/>
                  <a:pt x="429" y="466"/>
                </a:cubicBezTo>
                <a:cubicBezTo>
                  <a:pt x="430" y="466"/>
                  <a:pt x="430" y="466"/>
                  <a:pt x="430" y="466"/>
                </a:cubicBezTo>
                <a:cubicBezTo>
                  <a:pt x="431" y="465"/>
                  <a:pt x="431" y="465"/>
                  <a:pt x="431" y="465"/>
                </a:cubicBezTo>
                <a:cubicBezTo>
                  <a:pt x="432" y="465"/>
                  <a:pt x="432" y="465"/>
                  <a:pt x="432" y="465"/>
                </a:cubicBezTo>
                <a:cubicBezTo>
                  <a:pt x="433" y="464"/>
                  <a:pt x="433" y="464"/>
                  <a:pt x="433" y="464"/>
                </a:cubicBezTo>
                <a:cubicBezTo>
                  <a:pt x="433" y="464"/>
                  <a:pt x="433" y="464"/>
                  <a:pt x="433" y="464"/>
                </a:cubicBezTo>
                <a:cubicBezTo>
                  <a:pt x="433" y="464"/>
                  <a:pt x="433" y="464"/>
                  <a:pt x="433" y="464"/>
                </a:cubicBezTo>
                <a:cubicBezTo>
                  <a:pt x="432" y="465"/>
                  <a:pt x="432" y="465"/>
                  <a:pt x="432" y="465"/>
                </a:cubicBezTo>
                <a:cubicBezTo>
                  <a:pt x="434" y="465"/>
                  <a:pt x="434" y="465"/>
                  <a:pt x="434" y="465"/>
                </a:cubicBezTo>
                <a:cubicBezTo>
                  <a:pt x="435" y="465"/>
                  <a:pt x="435" y="465"/>
                  <a:pt x="435" y="465"/>
                </a:cubicBezTo>
                <a:cubicBezTo>
                  <a:pt x="435" y="465"/>
                  <a:pt x="435" y="465"/>
                  <a:pt x="435" y="465"/>
                </a:cubicBezTo>
                <a:cubicBezTo>
                  <a:pt x="437" y="465"/>
                  <a:pt x="437" y="465"/>
                  <a:pt x="437" y="465"/>
                </a:cubicBezTo>
                <a:cubicBezTo>
                  <a:pt x="438" y="465"/>
                  <a:pt x="438" y="465"/>
                  <a:pt x="438" y="465"/>
                </a:cubicBezTo>
                <a:cubicBezTo>
                  <a:pt x="438" y="466"/>
                  <a:pt x="438" y="466"/>
                  <a:pt x="438" y="466"/>
                </a:cubicBezTo>
                <a:cubicBezTo>
                  <a:pt x="438" y="466"/>
                  <a:pt x="438" y="466"/>
                  <a:pt x="438" y="466"/>
                </a:cubicBezTo>
                <a:cubicBezTo>
                  <a:pt x="440" y="466"/>
                  <a:pt x="440" y="466"/>
                  <a:pt x="440" y="466"/>
                </a:cubicBezTo>
                <a:cubicBezTo>
                  <a:pt x="440" y="466"/>
                  <a:pt x="440" y="466"/>
                  <a:pt x="440" y="466"/>
                </a:cubicBezTo>
                <a:cubicBezTo>
                  <a:pt x="440" y="466"/>
                  <a:pt x="440" y="466"/>
                  <a:pt x="440" y="466"/>
                </a:cubicBezTo>
                <a:cubicBezTo>
                  <a:pt x="441" y="466"/>
                  <a:pt x="441" y="466"/>
                  <a:pt x="441" y="466"/>
                </a:cubicBezTo>
                <a:cubicBezTo>
                  <a:pt x="441" y="466"/>
                  <a:pt x="441" y="466"/>
                  <a:pt x="441" y="466"/>
                </a:cubicBezTo>
                <a:cubicBezTo>
                  <a:pt x="441" y="466"/>
                  <a:pt x="441" y="466"/>
                  <a:pt x="441" y="466"/>
                </a:cubicBezTo>
                <a:cubicBezTo>
                  <a:pt x="442" y="466"/>
                  <a:pt x="442" y="466"/>
                  <a:pt x="442" y="466"/>
                </a:cubicBezTo>
                <a:cubicBezTo>
                  <a:pt x="443" y="466"/>
                  <a:pt x="443" y="466"/>
                  <a:pt x="443" y="466"/>
                </a:cubicBezTo>
                <a:cubicBezTo>
                  <a:pt x="443" y="466"/>
                  <a:pt x="443" y="466"/>
                  <a:pt x="443" y="466"/>
                </a:cubicBezTo>
                <a:cubicBezTo>
                  <a:pt x="444" y="466"/>
                  <a:pt x="444" y="466"/>
                  <a:pt x="444" y="466"/>
                </a:cubicBezTo>
                <a:cubicBezTo>
                  <a:pt x="444" y="466"/>
                  <a:pt x="444" y="466"/>
                  <a:pt x="444" y="466"/>
                </a:cubicBezTo>
                <a:cubicBezTo>
                  <a:pt x="445" y="466"/>
                  <a:pt x="445" y="466"/>
                  <a:pt x="445" y="466"/>
                </a:cubicBezTo>
                <a:cubicBezTo>
                  <a:pt x="445" y="465"/>
                  <a:pt x="445" y="465"/>
                  <a:pt x="445" y="465"/>
                </a:cubicBezTo>
                <a:cubicBezTo>
                  <a:pt x="445" y="465"/>
                  <a:pt x="445" y="465"/>
                  <a:pt x="445" y="465"/>
                </a:cubicBezTo>
                <a:cubicBezTo>
                  <a:pt x="445" y="464"/>
                  <a:pt x="445" y="464"/>
                  <a:pt x="445" y="464"/>
                </a:cubicBezTo>
                <a:cubicBezTo>
                  <a:pt x="445" y="464"/>
                  <a:pt x="445" y="464"/>
                  <a:pt x="445" y="464"/>
                </a:cubicBezTo>
                <a:cubicBezTo>
                  <a:pt x="446" y="463"/>
                  <a:pt x="446" y="463"/>
                  <a:pt x="446" y="463"/>
                </a:cubicBezTo>
                <a:cubicBezTo>
                  <a:pt x="446" y="463"/>
                  <a:pt x="446" y="463"/>
                  <a:pt x="446" y="463"/>
                </a:cubicBezTo>
                <a:cubicBezTo>
                  <a:pt x="446" y="464"/>
                  <a:pt x="446" y="464"/>
                  <a:pt x="446" y="464"/>
                </a:cubicBezTo>
                <a:cubicBezTo>
                  <a:pt x="446" y="465"/>
                  <a:pt x="446" y="465"/>
                  <a:pt x="446" y="465"/>
                </a:cubicBezTo>
                <a:cubicBezTo>
                  <a:pt x="446" y="465"/>
                  <a:pt x="446" y="465"/>
                  <a:pt x="446" y="465"/>
                </a:cubicBezTo>
                <a:cubicBezTo>
                  <a:pt x="446" y="464"/>
                  <a:pt x="446" y="464"/>
                  <a:pt x="446" y="464"/>
                </a:cubicBezTo>
                <a:cubicBezTo>
                  <a:pt x="447" y="464"/>
                  <a:pt x="447" y="464"/>
                  <a:pt x="447" y="464"/>
                </a:cubicBezTo>
                <a:cubicBezTo>
                  <a:pt x="447" y="464"/>
                  <a:pt x="447" y="464"/>
                  <a:pt x="447" y="464"/>
                </a:cubicBezTo>
                <a:cubicBezTo>
                  <a:pt x="447" y="464"/>
                  <a:pt x="447" y="464"/>
                  <a:pt x="447" y="464"/>
                </a:cubicBezTo>
                <a:cubicBezTo>
                  <a:pt x="447" y="465"/>
                  <a:pt x="447" y="465"/>
                  <a:pt x="447" y="465"/>
                </a:cubicBezTo>
                <a:cubicBezTo>
                  <a:pt x="447" y="466"/>
                  <a:pt x="447" y="466"/>
                  <a:pt x="447" y="466"/>
                </a:cubicBezTo>
                <a:cubicBezTo>
                  <a:pt x="447" y="465"/>
                  <a:pt x="447" y="465"/>
                  <a:pt x="447" y="465"/>
                </a:cubicBezTo>
                <a:cubicBezTo>
                  <a:pt x="448" y="465"/>
                  <a:pt x="448" y="465"/>
                  <a:pt x="448" y="465"/>
                </a:cubicBezTo>
                <a:cubicBezTo>
                  <a:pt x="448" y="466"/>
                  <a:pt x="448" y="466"/>
                  <a:pt x="448" y="466"/>
                </a:cubicBezTo>
                <a:cubicBezTo>
                  <a:pt x="446" y="466"/>
                  <a:pt x="446" y="466"/>
                  <a:pt x="446" y="466"/>
                </a:cubicBezTo>
                <a:cubicBezTo>
                  <a:pt x="445" y="467"/>
                  <a:pt x="445" y="467"/>
                  <a:pt x="445" y="467"/>
                </a:cubicBezTo>
                <a:cubicBezTo>
                  <a:pt x="446" y="467"/>
                  <a:pt x="446" y="467"/>
                  <a:pt x="446" y="467"/>
                </a:cubicBezTo>
                <a:cubicBezTo>
                  <a:pt x="446" y="467"/>
                  <a:pt x="446" y="467"/>
                  <a:pt x="446" y="467"/>
                </a:cubicBezTo>
                <a:cubicBezTo>
                  <a:pt x="447" y="467"/>
                  <a:pt x="447" y="467"/>
                  <a:pt x="447" y="467"/>
                </a:cubicBezTo>
                <a:cubicBezTo>
                  <a:pt x="447" y="467"/>
                  <a:pt x="447" y="467"/>
                  <a:pt x="447" y="467"/>
                </a:cubicBezTo>
                <a:cubicBezTo>
                  <a:pt x="448" y="467"/>
                  <a:pt x="448" y="467"/>
                  <a:pt x="448" y="467"/>
                </a:cubicBezTo>
                <a:cubicBezTo>
                  <a:pt x="448" y="468"/>
                  <a:pt x="448" y="468"/>
                  <a:pt x="448" y="468"/>
                </a:cubicBezTo>
                <a:cubicBezTo>
                  <a:pt x="448" y="467"/>
                  <a:pt x="448" y="467"/>
                  <a:pt x="448" y="467"/>
                </a:cubicBezTo>
                <a:cubicBezTo>
                  <a:pt x="449" y="467"/>
                  <a:pt x="449" y="467"/>
                  <a:pt x="449" y="467"/>
                </a:cubicBezTo>
                <a:cubicBezTo>
                  <a:pt x="449" y="466"/>
                  <a:pt x="449" y="466"/>
                  <a:pt x="449" y="466"/>
                </a:cubicBezTo>
                <a:cubicBezTo>
                  <a:pt x="449" y="466"/>
                  <a:pt x="449" y="466"/>
                  <a:pt x="449" y="466"/>
                </a:cubicBezTo>
                <a:cubicBezTo>
                  <a:pt x="450" y="466"/>
                  <a:pt x="450" y="466"/>
                  <a:pt x="450" y="466"/>
                </a:cubicBezTo>
                <a:cubicBezTo>
                  <a:pt x="451" y="466"/>
                  <a:pt x="451" y="466"/>
                  <a:pt x="451" y="466"/>
                </a:cubicBezTo>
                <a:cubicBezTo>
                  <a:pt x="451" y="467"/>
                  <a:pt x="451" y="467"/>
                  <a:pt x="451" y="467"/>
                </a:cubicBezTo>
                <a:cubicBezTo>
                  <a:pt x="452" y="466"/>
                  <a:pt x="452" y="466"/>
                  <a:pt x="452" y="466"/>
                </a:cubicBezTo>
                <a:cubicBezTo>
                  <a:pt x="453" y="466"/>
                  <a:pt x="453" y="466"/>
                  <a:pt x="453" y="466"/>
                </a:cubicBezTo>
                <a:cubicBezTo>
                  <a:pt x="453" y="466"/>
                  <a:pt x="453" y="466"/>
                  <a:pt x="453" y="466"/>
                </a:cubicBezTo>
                <a:cubicBezTo>
                  <a:pt x="453" y="467"/>
                  <a:pt x="453" y="467"/>
                  <a:pt x="453" y="467"/>
                </a:cubicBezTo>
                <a:cubicBezTo>
                  <a:pt x="453" y="467"/>
                  <a:pt x="453" y="467"/>
                  <a:pt x="453" y="467"/>
                </a:cubicBezTo>
                <a:cubicBezTo>
                  <a:pt x="452" y="467"/>
                  <a:pt x="452" y="467"/>
                  <a:pt x="452" y="467"/>
                </a:cubicBezTo>
                <a:cubicBezTo>
                  <a:pt x="451" y="468"/>
                  <a:pt x="451" y="468"/>
                  <a:pt x="451" y="468"/>
                </a:cubicBezTo>
                <a:cubicBezTo>
                  <a:pt x="450" y="468"/>
                  <a:pt x="450" y="468"/>
                  <a:pt x="450" y="468"/>
                </a:cubicBezTo>
                <a:cubicBezTo>
                  <a:pt x="450" y="469"/>
                  <a:pt x="450" y="469"/>
                  <a:pt x="450" y="469"/>
                </a:cubicBezTo>
                <a:cubicBezTo>
                  <a:pt x="450" y="469"/>
                  <a:pt x="450" y="469"/>
                  <a:pt x="450" y="469"/>
                </a:cubicBezTo>
                <a:cubicBezTo>
                  <a:pt x="449" y="469"/>
                  <a:pt x="449" y="469"/>
                  <a:pt x="449" y="469"/>
                </a:cubicBezTo>
                <a:cubicBezTo>
                  <a:pt x="449" y="469"/>
                  <a:pt x="449" y="469"/>
                  <a:pt x="449" y="469"/>
                </a:cubicBezTo>
                <a:cubicBezTo>
                  <a:pt x="448" y="470"/>
                  <a:pt x="448" y="470"/>
                  <a:pt x="448" y="470"/>
                </a:cubicBezTo>
                <a:cubicBezTo>
                  <a:pt x="448" y="470"/>
                  <a:pt x="448" y="470"/>
                  <a:pt x="448" y="470"/>
                </a:cubicBezTo>
                <a:cubicBezTo>
                  <a:pt x="447" y="470"/>
                  <a:pt x="447" y="470"/>
                  <a:pt x="447" y="470"/>
                </a:cubicBezTo>
                <a:cubicBezTo>
                  <a:pt x="446" y="471"/>
                  <a:pt x="446" y="471"/>
                  <a:pt x="446" y="471"/>
                </a:cubicBezTo>
                <a:cubicBezTo>
                  <a:pt x="445" y="471"/>
                  <a:pt x="445" y="471"/>
                  <a:pt x="445" y="471"/>
                </a:cubicBezTo>
                <a:cubicBezTo>
                  <a:pt x="445" y="472"/>
                  <a:pt x="445" y="472"/>
                  <a:pt x="445" y="472"/>
                </a:cubicBezTo>
                <a:cubicBezTo>
                  <a:pt x="446" y="472"/>
                  <a:pt x="446" y="472"/>
                  <a:pt x="446" y="472"/>
                </a:cubicBezTo>
                <a:cubicBezTo>
                  <a:pt x="446" y="473"/>
                  <a:pt x="446" y="473"/>
                  <a:pt x="446" y="473"/>
                </a:cubicBezTo>
                <a:cubicBezTo>
                  <a:pt x="447" y="473"/>
                  <a:pt x="447" y="473"/>
                  <a:pt x="447" y="473"/>
                </a:cubicBezTo>
                <a:cubicBezTo>
                  <a:pt x="447" y="472"/>
                  <a:pt x="447" y="472"/>
                  <a:pt x="447" y="472"/>
                </a:cubicBezTo>
                <a:cubicBezTo>
                  <a:pt x="447" y="472"/>
                  <a:pt x="447" y="472"/>
                  <a:pt x="447" y="472"/>
                </a:cubicBezTo>
                <a:cubicBezTo>
                  <a:pt x="448" y="472"/>
                  <a:pt x="448" y="472"/>
                  <a:pt x="448" y="472"/>
                </a:cubicBezTo>
                <a:cubicBezTo>
                  <a:pt x="448" y="472"/>
                  <a:pt x="448" y="472"/>
                  <a:pt x="448" y="472"/>
                </a:cubicBezTo>
                <a:cubicBezTo>
                  <a:pt x="448" y="473"/>
                  <a:pt x="448" y="473"/>
                  <a:pt x="448" y="473"/>
                </a:cubicBezTo>
                <a:cubicBezTo>
                  <a:pt x="449" y="472"/>
                  <a:pt x="449" y="472"/>
                  <a:pt x="449" y="472"/>
                </a:cubicBezTo>
                <a:cubicBezTo>
                  <a:pt x="450" y="472"/>
                  <a:pt x="450" y="472"/>
                  <a:pt x="450" y="472"/>
                </a:cubicBezTo>
                <a:cubicBezTo>
                  <a:pt x="450" y="471"/>
                  <a:pt x="450" y="471"/>
                  <a:pt x="450" y="471"/>
                </a:cubicBezTo>
                <a:cubicBezTo>
                  <a:pt x="450" y="471"/>
                  <a:pt x="450" y="471"/>
                  <a:pt x="450" y="471"/>
                </a:cubicBezTo>
                <a:cubicBezTo>
                  <a:pt x="451" y="470"/>
                  <a:pt x="451" y="470"/>
                  <a:pt x="451" y="470"/>
                </a:cubicBezTo>
                <a:cubicBezTo>
                  <a:pt x="451" y="470"/>
                  <a:pt x="451" y="470"/>
                  <a:pt x="451" y="470"/>
                </a:cubicBezTo>
                <a:cubicBezTo>
                  <a:pt x="451" y="469"/>
                  <a:pt x="451" y="469"/>
                  <a:pt x="451" y="469"/>
                </a:cubicBezTo>
                <a:cubicBezTo>
                  <a:pt x="452" y="468"/>
                  <a:pt x="452" y="468"/>
                  <a:pt x="452" y="468"/>
                </a:cubicBezTo>
                <a:cubicBezTo>
                  <a:pt x="453" y="468"/>
                  <a:pt x="453" y="468"/>
                  <a:pt x="453" y="468"/>
                </a:cubicBezTo>
                <a:cubicBezTo>
                  <a:pt x="453" y="468"/>
                  <a:pt x="453" y="468"/>
                  <a:pt x="453" y="468"/>
                </a:cubicBezTo>
                <a:cubicBezTo>
                  <a:pt x="454" y="468"/>
                  <a:pt x="454" y="468"/>
                  <a:pt x="454" y="468"/>
                </a:cubicBezTo>
                <a:cubicBezTo>
                  <a:pt x="453" y="469"/>
                  <a:pt x="453" y="469"/>
                  <a:pt x="453" y="469"/>
                </a:cubicBezTo>
                <a:cubicBezTo>
                  <a:pt x="454" y="469"/>
                  <a:pt x="454" y="469"/>
                  <a:pt x="454" y="469"/>
                </a:cubicBezTo>
                <a:cubicBezTo>
                  <a:pt x="455" y="468"/>
                  <a:pt x="455" y="468"/>
                  <a:pt x="455" y="468"/>
                </a:cubicBezTo>
                <a:cubicBezTo>
                  <a:pt x="455" y="467"/>
                  <a:pt x="455" y="467"/>
                  <a:pt x="455" y="467"/>
                </a:cubicBezTo>
                <a:cubicBezTo>
                  <a:pt x="456" y="466"/>
                  <a:pt x="456" y="466"/>
                  <a:pt x="456" y="466"/>
                </a:cubicBezTo>
                <a:cubicBezTo>
                  <a:pt x="456" y="464"/>
                  <a:pt x="456" y="464"/>
                  <a:pt x="456" y="464"/>
                </a:cubicBezTo>
                <a:cubicBezTo>
                  <a:pt x="456" y="464"/>
                  <a:pt x="456" y="464"/>
                  <a:pt x="456" y="464"/>
                </a:cubicBezTo>
                <a:cubicBezTo>
                  <a:pt x="456" y="464"/>
                  <a:pt x="456" y="464"/>
                  <a:pt x="456" y="464"/>
                </a:cubicBezTo>
                <a:cubicBezTo>
                  <a:pt x="457" y="464"/>
                  <a:pt x="457" y="464"/>
                  <a:pt x="457" y="464"/>
                </a:cubicBezTo>
                <a:cubicBezTo>
                  <a:pt x="457" y="465"/>
                  <a:pt x="457" y="465"/>
                  <a:pt x="457" y="465"/>
                </a:cubicBezTo>
                <a:cubicBezTo>
                  <a:pt x="458" y="465"/>
                  <a:pt x="458" y="465"/>
                  <a:pt x="458" y="465"/>
                </a:cubicBezTo>
                <a:cubicBezTo>
                  <a:pt x="458" y="466"/>
                  <a:pt x="458" y="466"/>
                  <a:pt x="458" y="466"/>
                </a:cubicBezTo>
                <a:cubicBezTo>
                  <a:pt x="458" y="467"/>
                  <a:pt x="458" y="467"/>
                  <a:pt x="458" y="467"/>
                </a:cubicBezTo>
                <a:cubicBezTo>
                  <a:pt x="457" y="468"/>
                  <a:pt x="457" y="468"/>
                  <a:pt x="457" y="468"/>
                </a:cubicBezTo>
                <a:cubicBezTo>
                  <a:pt x="458" y="468"/>
                  <a:pt x="458" y="468"/>
                  <a:pt x="458" y="468"/>
                </a:cubicBezTo>
                <a:cubicBezTo>
                  <a:pt x="457" y="469"/>
                  <a:pt x="457" y="469"/>
                  <a:pt x="457" y="469"/>
                </a:cubicBezTo>
                <a:cubicBezTo>
                  <a:pt x="456" y="470"/>
                  <a:pt x="456" y="470"/>
                  <a:pt x="456" y="470"/>
                </a:cubicBezTo>
                <a:cubicBezTo>
                  <a:pt x="456" y="472"/>
                  <a:pt x="456" y="472"/>
                  <a:pt x="456" y="472"/>
                </a:cubicBezTo>
                <a:cubicBezTo>
                  <a:pt x="456" y="472"/>
                  <a:pt x="456" y="472"/>
                  <a:pt x="456" y="472"/>
                </a:cubicBezTo>
                <a:cubicBezTo>
                  <a:pt x="455" y="473"/>
                  <a:pt x="455" y="473"/>
                  <a:pt x="455" y="473"/>
                </a:cubicBezTo>
                <a:cubicBezTo>
                  <a:pt x="455" y="474"/>
                  <a:pt x="455" y="474"/>
                  <a:pt x="455" y="474"/>
                </a:cubicBezTo>
                <a:cubicBezTo>
                  <a:pt x="456" y="474"/>
                  <a:pt x="456" y="474"/>
                  <a:pt x="456" y="474"/>
                </a:cubicBezTo>
                <a:cubicBezTo>
                  <a:pt x="457" y="473"/>
                  <a:pt x="457" y="473"/>
                  <a:pt x="457" y="473"/>
                </a:cubicBezTo>
                <a:cubicBezTo>
                  <a:pt x="458" y="472"/>
                  <a:pt x="458" y="472"/>
                  <a:pt x="458" y="472"/>
                </a:cubicBezTo>
                <a:cubicBezTo>
                  <a:pt x="458" y="472"/>
                  <a:pt x="458" y="472"/>
                  <a:pt x="458" y="472"/>
                </a:cubicBezTo>
                <a:cubicBezTo>
                  <a:pt x="459" y="470"/>
                  <a:pt x="459" y="470"/>
                  <a:pt x="459" y="470"/>
                </a:cubicBezTo>
                <a:cubicBezTo>
                  <a:pt x="460" y="470"/>
                  <a:pt x="460" y="470"/>
                  <a:pt x="460" y="470"/>
                </a:cubicBezTo>
                <a:cubicBezTo>
                  <a:pt x="460" y="470"/>
                  <a:pt x="460" y="470"/>
                  <a:pt x="460" y="470"/>
                </a:cubicBezTo>
                <a:cubicBezTo>
                  <a:pt x="461" y="470"/>
                  <a:pt x="461" y="470"/>
                  <a:pt x="461" y="470"/>
                </a:cubicBezTo>
                <a:cubicBezTo>
                  <a:pt x="461" y="471"/>
                  <a:pt x="461" y="471"/>
                  <a:pt x="461" y="471"/>
                </a:cubicBezTo>
                <a:cubicBezTo>
                  <a:pt x="460" y="471"/>
                  <a:pt x="460" y="471"/>
                  <a:pt x="460" y="471"/>
                </a:cubicBezTo>
                <a:cubicBezTo>
                  <a:pt x="459" y="472"/>
                  <a:pt x="459" y="472"/>
                  <a:pt x="459" y="472"/>
                </a:cubicBezTo>
                <a:cubicBezTo>
                  <a:pt x="459" y="473"/>
                  <a:pt x="459" y="473"/>
                  <a:pt x="459" y="473"/>
                </a:cubicBezTo>
                <a:cubicBezTo>
                  <a:pt x="459" y="473"/>
                  <a:pt x="459" y="473"/>
                  <a:pt x="459" y="473"/>
                </a:cubicBezTo>
                <a:cubicBezTo>
                  <a:pt x="459" y="474"/>
                  <a:pt x="459" y="474"/>
                  <a:pt x="459" y="474"/>
                </a:cubicBezTo>
                <a:cubicBezTo>
                  <a:pt x="459" y="475"/>
                  <a:pt x="459" y="475"/>
                  <a:pt x="459" y="475"/>
                </a:cubicBezTo>
                <a:cubicBezTo>
                  <a:pt x="460" y="476"/>
                  <a:pt x="460" y="476"/>
                  <a:pt x="460" y="476"/>
                </a:cubicBezTo>
                <a:cubicBezTo>
                  <a:pt x="460" y="475"/>
                  <a:pt x="460" y="475"/>
                  <a:pt x="460" y="475"/>
                </a:cubicBezTo>
                <a:cubicBezTo>
                  <a:pt x="460" y="474"/>
                  <a:pt x="460" y="474"/>
                  <a:pt x="460" y="474"/>
                </a:cubicBezTo>
                <a:cubicBezTo>
                  <a:pt x="460" y="474"/>
                  <a:pt x="461" y="474"/>
                  <a:pt x="461" y="474"/>
                </a:cubicBezTo>
                <a:cubicBezTo>
                  <a:pt x="461" y="474"/>
                  <a:pt x="462" y="475"/>
                  <a:pt x="462" y="475"/>
                </a:cubicBezTo>
                <a:cubicBezTo>
                  <a:pt x="462" y="475"/>
                  <a:pt x="462" y="475"/>
                  <a:pt x="462" y="475"/>
                </a:cubicBezTo>
                <a:cubicBezTo>
                  <a:pt x="463" y="475"/>
                  <a:pt x="463" y="475"/>
                  <a:pt x="463" y="475"/>
                </a:cubicBezTo>
                <a:cubicBezTo>
                  <a:pt x="463" y="474"/>
                  <a:pt x="463" y="474"/>
                  <a:pt x="463" y="474"/>
                </a:cubicBezTo>
                <a:cubicBezTo>
                  <a:pt x="463" y="474"/>
                  <a:pt x="463" y="474"/>
                  <a:pt x="463" y="474"/>
                </a:cubicBezTo>
                <a:cubicBezTo>
                  <a:pt x="463" y="473"/>
                  <a:pt x="463" y="473"/>
                  <a:pt x="463" y="473"/>
                </a:cubicBezTo>
                <a:cubicBezTo>
                  <a:pt x="463" y="472"/>
                  <a:pt x="463" y="472"/>
                  <a:pt x="463" y="472"/>
                </a:cubicBezTo>
                <a:cubicBezTo>
                  <a:pt x="464" y="472"/>
                  <a:pt x="464" y="472"/>
                  <a:pt x="464" y="472"/>
                </a:cubicBezTo>
                <a:cubicBezTo>
                  <a:pt x="464" y="472"/>
                  <a:pt x="464" y="472"/>
                  <a:pt x="464" y="472"/>
                </a:cubicBezTo>
                <a:cubicBezTo>
                  <a:pt x="464" y="471"/>
                  <a:pt x="464" y="471"/>
                  <a:pt x="464" y="471"/>
                </a:cubicBezTo>
                <a:cubicBezTo>
                  <a:pt x="464" y="470"/>
                  <a:pt x="464" y="470"/>
                  <a:pt x="464" y="470"/>
                </a:cubicBezTo>
                <a:cubicBezTo>
                  <a:pt x="465" y="469"/>
                  <a:pt x="465" y="469"/>
                  <a:pt x="465" y="469"/>
                </a:cubicBezTo>
                <a:cubicBezTo>
                  <a:pt x="466" y="468"/>
                  <a:pt x="466" y="468"/>
                  <a:pt x="466" y="468"/>
                </a:cubicBezTo>
                <a:cubicBezTo>
                  <a:pt x="465" y="466"/>
                  <a:pt x="465" y="466"/>
                  <a:pt x="465" y="466"/>
                </a:cubicBezTo>
                <a:cubicBezTo>
                  <a:pt x="465" y="465"/>
                  <a:pt x="465" y="465"/>
                  <a:pt x="465" y="465"/>
                </a:cubicBezTo>
                <a:cubicBezTo>
                  <a:pt x="465" y="465"/>
                  <a:pt x="465" y="465"/>
                  <a:pt x="465" y="465"/>
                </a:cubicBezTo>
                <a:cubicBezTo>
                  <a:pt x="465" y="466"/>
                  <a:pt x="465" y="466"/>
                  <a:pt x="465" y="466"/>
                </a:cubicBezTo>
                <a:cubicBezTo>
                  <a:pt x="465" y="467"/>
                  <a:pt x="465" y="467"/>
                  <a:pt x="465" y="467"/>
                </a:cubicBezTo>
                <a:cubicBezTo>
                  <a:pt x="464" y="467"/>
                  <a:pt x="464" y="467"/>
                  <a:pt x="464" y="467"/>
                </a:cubicBezTo>
                <a:cubicBezTo>
                  <a:pt x="463" y="468"/>
                  <a:pt x="463" y="468"/>
                  <a:pt x="463" y="468"/>
                </a:cubicBezTo>
                <a:cubicBezTo>
                  <a:pt x="462" y="468"/>
                  <a:pt x="462" y="468"/>
                  <a:pt x="462" y="468"/>
                </a:cubicBezTo>
                <a:cubicBezTo>
                  <a:pt x="462" y="467"/>
                  <a:pt x="462" y="467"/>
                  <a:pt x="462" y="467"/>
                </a:cubicBezTo>
                <a:cubicBezTo>
                  <a:pt x="462" y="467"/>
                  <a:pt x="462" y="467"/>
                  <a:pt x="462" y="467"/>
                </a:cubicBezTo>
                <a:cubicBezTo>
                  <a:pt x="462" y="466"/>
                  <a:pt x="462" y="466"/>
                  <a:pt x="462" y="466"/>
                </a:cubicBezTo>
                <a:cubicBezTo>
                  <a:pt x="463" y="465"/>
                  <a:pt x="463" y="465"/>
                  <a:pt x="463" y="465"/>
                </a:cubicBezTo>
                <a:cubicBezTo>
                  <a:pt x="464" y="464"/>
                  <a:pt x="464" y="464"/>
                  <a:pt x="464" y="464"/>
                </a:cubicBezTo>
                <a:cubicBezTo>
                  <a:pt x="464" y="464"/>
                  <a:pt x="464" y="464"/>
                  <a:pt x="464" y="464"/>
                </a:cubicBezTo>
                <a:cubicBezTo>
                  <a:pt x="465" y="464"/>
                  <a:pt x="465" y="464"/>
                  <a:pt x="465" y="464"/>
                </a:cubicBezTo>
                <a:cubicBezTo>
                  <a:pt x="465" y="463"/>
                  <a:pt x="465" y="463"/>
                  <a:pt x="465" y="463"/>
                </a:cubicBezTo>
                <a:cubicBezTo>
                  <a:pt x="465" y="463"/>
                  <a:pt x="465" y="463"/>
                  <a:pt x="465" y="463"/>
                </a:cubicBezTo>
                <a:cubicBezTo>
                  <a:pt x="464" y="463"/>
                  <a:pt x="464" y="463"/>
                  <a:pt x="464" y="463"/>
                </a:cubicBezTo>
                <a:cubicBezTo>
                  <a:pt x="464" y="463"/>
                  <a:pt x="464" y="463"/>
                  <a:pt x="464" y="463"/>
                </a:cubicBezTo>
                <a:cubicBezTo>
                  <a:pt x="463" y="464"/>
                  <a:pt x="463" y="464"/>
                  <a:pt x="463" y="464"/>
                </a:cubicBezTo>
                <a:cubicBezTo>
                  <a:pt x="463" y="464"/>
                  <a:pt x="463" y="464"/>
                  <a:pt x="463" y="464"/>
                </a:cubicBezTo>
                <a:cubicBezTo>
                  <a:pt x="462" y="464"/>
                  <a:pt x="462" y="464"/>
                  <a:pt x="462" y="464"/>
                </a:cubicBezTo>
                <a:cubicBezTo>
                  <a:pt x="462" y="465"/>
                  <a:pt x="462" y="465"/>
                  <a:pt x="462" y="465"/>
                </a:cubicBezTo>
                <a:cubicBezTo>
                  <a:pt x="460" y="466"/>
                  <a:pt x="460" y="466"/>
                  <a:pt x="460" y="466"/>
                </a:cubicBezTo>
                <a:cubicBezTo>
                  <a:pt x="460" y="467"/>
                  <a:pt x="460" y="467"/>
                  <a:pt x="460" y="467"/>
                </a:cubicBezTo>
                <a:cubicBezTo>
                  <a:pt x="460" y="467"/>
                  <a:pt x="460" y="467"/>
                  <a:pt x="460" y="467"/>
                </a:cubicBezTo>
                <a:cubicBezTo>
                  <a:pt x="459" y="466"/>
                  <a:pt x="459" y="466"/>
                  <a:pt x="459" y="466"/>
                </a:cubicBezTo>
                <a:cubicBezTo>
                  <a:pt x="459" y="466"/>
                  <a:pt x="459" y="466"/>
                  <a:pt x="459" y="466"/>
                </a:cubicBezTo>
                <a:cubicBezTo>
                  <a:pt x="458" y="465"/>
                  <a:pt x="458" y="465"/>
                  <a:pt x="458" y="465"/>
                </a:cubicBezTo>
                <a:cubicBezTo>
                  <a:pt x="458" y="464"/>
                  <a:pt x="458" y="464"/>
                  <a:pt x="458" y="464"/>
                </a:cubicBezTo>
                <a:cubicBezTo>
                  <a:pt x="459" y="465"/>
                  <a:pt x="459" y="465"/>
                  <a:pt x="459" y="465"/>
                </a:cubicBezTo>
                <a:cubicBezTo>
                  <a:pt x="459" y="465"/>
                  <a:pt x="459" y="465"/>
                  <a:pt x="459" y="465"/>
                </a:cubicBezTo>
                <a:cubicBezTo>
                  <a:pt x="460" y="464"/>
                  <a:pt x="460" y="464"/>
                  <a:pt x="460" y="464"/>
                </a:cubicBezTo>
                <a:cubicBezTo>
                  <a:pt x="459" y="464"/>
                  <a:pt x="459" y="464"/>
                  <a:pt x="459" y="464"/>
                </a:cubicBezTo>
                <a:cubicBezTo>
                  <a:pt x="458" y="463"/>
                  <a:pt x="458" y="463"/>
                  <a:pt x="458" y="463"/>
                </a:cubicBezTo>
                <a:cubicBezTo>
                  <a:pt x="459" y="463"/>
                  <a:pt x="459" y="463"/>
                  <a:pt x="459" y="463"/>
                </a:cubicBezTo>
                <a:cubicBezTo>
                  <a:pt x="460" y="463"/>
                  <a:pt x="460" y="463"/>
                  <a:pt x="460" y="463"/>
                </a:cubicBezTo>
                <a:cubicBezTo>
                  <a:pt x="459" y="463"/>
                  <a:pt x="459" y="463"/>
                  <a:pt x="459" y="463"/>
                </a:cubicBezTo>
                <a:cubicBezTo>
                  <a:pt x="459" y="463"/>
                  <a:pt x="459" y="463"/>
                  <a:pt x="459" y="463"/>
                </a:cubicBezTo>
                <a:cubicBezTo>
                  <a:pt x="459" y="462"/>
                  <a:pt x="459" y="462"/>
                  <a:pt x="459" y="462"/>
                </a:cubicBezTo>
                <a:cubicBezTo>
                  <a:pt x="459" y="462"/>
                  <a:pt x="459" y="462"/>
                  <a:pt x="459" y="462"/>
                </a:cubicBezTo>
                <a:cubicBezTo>
                  <a:pt x="460" y="462"/>
                  <a:pt x="460" y="462"/>
                  <a:pt x="460" y="462"/>
                </a:cubicBezTo>
                <a:cubicBezTo>
                  <a:pt x="460" y="462"/>
                  <a:pt x="460" y="462"/>
                  <a:pt x="460" y="462"/>
                </a:cubicBezTo>
                <a:cubicBezTo>
                  <a:pt x="461" y="461"/>
                  <a:pt x="461" y="461"/>
                  <a:pt x="461" y="461"/>
                </a:cubicBezTo>
                <a:cubicBezTo>
                  <a:pt x="462" y="460"/>
                  <a:pt x="462" y="460"/>
                  <a:pt x="462" y="460"/>
                </a:cubicBezTo>
                <a:cubicBezTo>
                  <a:pt x="463" y="460"/>
                  <a:pt x="463" y="460"/>
                  <a:pt x="463" y="460"/>
                </a:cubicBezTo>
                <a:cubicBezTo>
                  <a:pt x="463" y="460"/>
                  <a:pt x="463" y="460"/>
                  <a:pt x="463" y="460"/>
                </a:cubicBezTo>
                <a:cubicBezTo>
                  <a:pt x="464" y="459"/>
                  <a:pt x="464" y="459"/>
                  <a:pt x="464" y="459"/>
                </a:cubicBezTo>
                <a:cubicBezTo>
                  <a:pt x="464" y="459"/>
                  <a:pt x="464" y="459"/>
                  <a:pt x="464" y="459"/>
                </a:cubicBezTo>
                <a:cubicBezTo>
                  <a:pt x="464" y="458"/>
                  <a:pt x="464" y="458"/>
                  <a:pt x="464" y="458"/>
                </a:cubicBezTo>
                <a:cubicBezTo>
                  <a:pt x="464" y="457"/>
                  <a:pt x="464" y="457"/>
                  <a:pt x="464" y="457"/>
                </a:cubicBezTo>
                <a:cubicBezTo>
                  <a:pt x="463" y="458"/>
                  <a:pt x="463" y="458"/>
                  <a:pt x="463" y="458"/>
                </a:cubicBezTo>
                <a:cubicBezTo>
                  <a:pt x="463" y="458"/>
                  <a:pt x="463" y="458"/>
                  <a:pt x="463" y="458"/>
                </a:cubicBezTo>
                <a:cubicBezTo>
                  <a:pt x="462" y="458"/>
                  <a:pt x="462" y="458"/>
                  <a:pt x="462" y="458"/>
                </a:cubicBezTo>
                <a:cubicBezTo>
                  <a:pt x="462" y="458"/>
                  <a:pt x="462" y="458"/>
                  <a:pt x="462" y="458"/>
                </a:cubicBezTo>
                <a:cubicBezTo>
                  <a:pt x="462" y="458"/>
                  <a:pt x="462" y="458"/>
                  <a:pt x="462" y="458"/>
                </a:cubicBezTo>
                <a:cubicBezTo>
                  <a:pt x="462" y="459"/>
                  <a:pt x="462" y="459"/>
                  <a:pt x="462" y="459"/>
                </a:cubicBezTo>
                <a:cubicBezTo>
                  <a:pt x="461" y="459"/>
                  <a:pt x="461" y="459"/>
                  <a:pt x="461" y="459"/>
                </a:cubicBezTo>
                <a:cubicBezTo>
                  <a:pt x="461" y="459"/>
                  <a:pt x="461" y="459"/>
                  <a:pt x="461" y="459"/>
                </a:cubicBezTo>
                <a:cubicBezTo>
                  <a:pt x="460" y="460"/>
                  <a:pt x="460" y="460"/>
                  <a:pt x="460" y="460"/>
                </a:cubicBezTo>
                <a:cubicBezTo>
                  <a:pt x="459" y="460"/>
                  <a:pt x="459" y="460"/>
                  <a:pt x="459" y="460"/>
                </a:cubicBezTo>
                <a:cubicBezTo>
                  <a:pt x="459" y="461"/>
                  <a:pt x="459" y="461"/>
                  <a:pt x="459" y="461"/>
                </a:cubicBezTo>
                <a:cubicBezTo>
                  <a:pt x="459" y="461"/>
                  <a:pt x="459" y="461"/>
                  <a:pt x="459" y="461"/>
                </a:cubicBezTo>
                <a:cubicBezTo>
                  <a:pt x="459" y="461"/>
                  <a:pt x="459" y="461"/>
                  <a:pt x="459" y="461"/>
                </a:cubicBezTo>
                <a:cubicBezTo>
                  <a:pt x="459" y="460"/>
                  <a:pt x="459" y="460"/>
                  <a:pt x="459" y="460"/>
                </a:cubicBezTo>
                <a:cubicBezTo>
                  <a:pt x="459" y="460"/>
                  <a:pt x="459" y="460"/>
                  <a:pt x="459" y="460"/>
                </a:cubicBezTo>
                <a:cubicBezTo>
                  <a:pt x="458" y="460"/>
                  <a:pt x="458" y="460"/>
                  <a:pt x="458" y="460"/>
                </a:cubicBezTo>
                <a:cubicBezTo>
                  <a:pt x="459" y="460"/>
                  <a:pt x="459" y="460"/>
                  <a:pt x="459" y="460"/>
                </a:cubicBezTo>
                <a:cubicBezTo>
                  <a:pt x="459" y="459"/>
                  <a:pt x="459" y="459"/>
                  <a:pt x="459" y="459"/>
                </a:cubicBezTo>
                <a:cubicBezTo>
                  <a:pt x="460" y="459"/>
                  <a:pt x="460" y="459"/>
                  <a:pt x="460" y="459"/>
                </a:cubicBezTo>
                <a:cubicBezTo>
                  <a:pt x="459" y="459"/>
                  <a:pt x="459" y="459"/>
                  <a:pt x="459" y="459"/>
                </a:cubicBezTo>
                <a:cubicBezTo>
                  <a:pt x="460" y="458"/>
                  <a:pt x="460" y="458"/>
                  <a:pt x="460" y="458"/>
                </a:cubicBezTo>
                <a:cubicBezTo>
                  <a:pt x="460" y="457"/>
                  <a:pt x="460" y="457"/>
                  <a:pt x="460" y="457"/>
                </a:cubicBezTo>
                <a:cubicBezTo>
                  <a:pt x="460" y="457"/>
                  <a:pt x="460" y="457"/>
                  <a:pt x="460" y="457"/>
                </a:cubicBezTo>
                <a:cubicBezTo>
                  <a:pt x="459" y="458"/>
                  <a:pt x="459" y="458"/>
                  <a:pt x="459" y="458"/>
                </a:cubicBezTo>
                <a:cubicBezTo>
                  <a:pt x="459" y="457"/>
                  <a:pt x="459" y="457"/>
                  <a:pt x="459" y="457"/>
                </a:cubicBezTo>
                <a:cubicBezTo>
                  <a:pt x="459" y="456"/>
                  <a:pt x="459" y="456"/>
                  <a:pt x="459" y="456"/>
                </a:cubicBezTo>
                <a:cubicBezTo>
                  <a:pt x="459" y="456"/>
                  <a:pt x="459" y="456"/>
                  <a:pt x="459" y="456"/>
                </a:cubicBezTo>
                <a:cubicBezTo>
                  <a:pt x="458" y="456"/>
                  <a:pt x="458" y="456"/>
                  <a:pt x="458" y="456"/>
                </a:cubicBezTo>
                <a:cubicBezTo>
                  <a:pt x="457" y="456"/>
                  <a:pt x="457" y="456"/>
                  <a:pt x="457" y="456"/>
                </a:cubicBezTo>
                <a:cubicBezTo>
                  <a:pt x="458" y="456"/>
                  <a:pt x="458" y="456"/>
                  <a:pt x="458" y="456"/>
                </a:cubicBezTo>
                <a:cubicBezTo>
                  <a:pt x="459" y="456"/>
                  <a:pt x="459" y="456"/>
                  <a:pt x="459" y="456"/>
                </a:cubicBezTo>
                <a:cubicBezTo>
                  <a:pt x="460" y="456"/>
                  <a:pt x="460" y="456"/>
                  <a:pt x="460" y="456"/>
                </a:cubicBezTo>
                <a:cubicBezTo>
                  <a:pt x="460" y="455"/>
                  <a:pt x="460" y="455"/>
                  <a:pt x="460" y="455"/>
                </a:cubicBezTo>
                <a:cubicBezTo>
                  <a:pt x="461" y="455"/>
                  <a:pt x="461" y="455"/>
                  <a:pt x="461" y="455"/>
                </a:cubicBezTo>
                <a:cubicBezTo>
                  <a:pt x="461" y="455"/>
                  <a:pt x="461" y="455"/>
                  <a:pt x="461" y="455"/>
                </a:cubicBezTo>
                <a:cubicBezTo>
                  <a:pt x="462" y="454"/>
                  <a:pt x="462" y="454"/>
                  <a:pt x="462" y="454"/>
                </a:cubicBezTo>
                <a:cubicBezTo>
                  <a:pt x="462" y="454"/>
                  <a:pt x="462" y="454"/>
                  <a:pt x="462" y="454"/>
                </a:cubicBezTo>
                <a:cubicBezTo>
                  <a:pt x="463" y="453"/>
                  <a:pt x="463" y="453"/>
                  <a:pt x="463" y="453"/>
                </a:cubicBezTo>
                <a:cubicBezTo>
                  <a:pt x="463" y="452"/>
                  <a:pt x="463" y="452"/>
                  <a:pt x="463" y="452"/>
                </a:cubicBezTo>
                <a:cubicBezTo>
                  <a:pt x="462" y="452"/>
                  <a:pt x="462" y="452"/>
                  <a:pt x="462" y="452"/>
                </a:cubicBezTo>
                <a:cubicBezTo>
                  <a:pt x="461" y="451"/>
                  <a:pt x="461" y="451"/>
                  <a:pt x="461" y="451"/>
                </a:cubicBezTo>
                <a:cubicBezTo>
                  <a:pt x="460" y="451"/>
                  <a:pt x="460" y="451"/>
                  <a:pt x="460" y="451"/>
                </a:cubicBezTo>
                <a:cubicBezTo>
                  <a:pt x="459" y="451"/>
                  <a:pt x="459" y="451"/>
                  <a:pt x="459" y="451"/>
                </a:cubicBezTo>
                <a:cubicBezTo>
                  <a:pt x="458" y="451"/>
                  <a:pt x="458" y="451"/>
                  <a:pt x="458" y="451"/>
                </a:cubicBezTo>
                <a:cubicBezTo>
                  <a:pt x="458" y="452"/>
                  <a:pt x="458" y="452"/>
                  <a:pt x="458" y="452"/>
                </a:cubicBezTo>
                <a:cubicBezTo>
                  <a:pt x="458" y="453"/>
                  <a:pt x="458" y="453"/>
                  <a:pt x="458" y="453"/>
                </a:cubicBezTo>
                <a:cubicBezTo>
                  <a:pt x="458" y="454"/>
                  <a:pt x="458" y="454"/>
                  <a:pt x="458" y="454"/>
                </a:cubicBezTo>
                <a:cubicBezTo>
                  <a:pt x="457" y="454"/>
                  <a:pt x="457" y="454"/>
                  <a:pt x="457" y="454"/>
                </a:cubicBezTo>
                <a:cubicBezTo>
                  <a:pt x="457" y="454"/>
                  <a:pt x="457" y="454"/>
                  <a:pt x="457" y="454"/>
                </a:cubicBezTo>
                <a:cubicBezTo>
                  <a:pt x="458" y="453"/>
                  <a:pt x="458" y="453"/>
                  <a:pt x="458" y="453"/>
                </a:cubicBezTo>
                <a:cubicBezTo>
                  <a:pt x="457" y="452"/>
                  <a:pt x="457" y="452"/>
                  <a:pt x="457" y="452"/>
                </a:cubicBezTo>
                <a:cubicBezTo>
                  <a:pt x="458" y="452"/>
                  <a:pt x="458" y="452"/>
                  <a:pt x="458" y="452"/>
                </a:cubicBezTo>
                <a:cubicBezTo>
                  <a:pt x="458" y="451"/>
                  <a:pt x="458" y="451"/>
                  <a:pt x="458" y="451"/>
                </a:cubicBezTo>
                <a:cubicBezTo>
                  <a:pt x="458" y="451"/>
                  <a:pt x="458" y="451"/>
                  <a:pt x="458" y="451"/>
                </a:cubicBezTo>
                <a:cubicBezTo>
                  <a:pt x="457" y="451"/>
                  <a:pt x="457" y="451"/>
                  <a:pt x="457" y="451"/>
                </a:cubicBezTo>
                <a:cubicBezTo>
                  <a:pt x="456" y="452"/>
                  <a:pt x="456" y="452"/>
                  <a:pt x="456" y="452"/>
                </a:cubicBezTo>
                <a:cubicBezTo>
                  <a:pt x="456" y="452"/>
                  <a:pt x="456" y="452"/>
                  <a:pt x="456" y="452"/>
                </a:cubicBezTo>
                <a:cubicBezTo>
                  <a:pt x="455" y="452"/>
                  <a:pt x="455" y="452"/>
                  <a:pt x="455" y="452"/>
                </a:cubicBezTo>
                <a:cubicBezTo>
                  <a:pt x="455" y="452"/>
                  <a:pt x="455" y="452"/>
                  <a:pt x="455" y="452"/>
                </a:cubicBezTo>
                <a:cubicBezTo>
                  <a:pt x="454" y="453"/>
                  <a:pt x="454" y="453"/>
                  <a:pt x="454" y="453"/>
                </a:cubicBezTo>
                <a:cubicBezTo>
                  <a:pt x="454" y="452"/>
                  <a:pt x="454" y="452"/>
                  <a:pt x="454" y="452"/>
                </a:cubicBezTo>
                <a:cubicBezTo>
                  <a:pt x="453" y="453"/>
                  <a:pt x="453" y="453"/>
                  <a:pt x="453" y="453"/>
                </a:cubicBezTo>
                <a:cubicBezTo>
                  <a:pt x="453" y="454"/>
                  <a:pt x="453" y="454"/>
                  <a:pt x="453" y="454"/>
                </a:cubicBezTo>
                <a:cubicBezTo>
                  <a:pt x="452" y="455"/>
                  <a:pt x="452" y="455"/>
                  <a:pt x="452" y="455"/>
                </a:cubicBezTo>
                <a:cubicBezTo>
                  <a:pt x="453" y="454"/>
                  <a:pt x="453" y="454"/>
                  <a:pt x="453" y="454"/>
                </a:cubicBezTo>
                <a:cubicBezTo>
                  <a:pt x="453" y="452"/>
                  <a:pt x="453" y="452"/>
                  <a:pt x="453" y="452"/>
                </a:cubicBezTo>
                <a:cubicBezTo>
                  <a:pt x="454" y="451"/>
                  <a:pt x="454" y="451"/>
                  <a:pt x="454" y="451"/>
                </a:cubicBezTo>
                <a:cubicBezTo>
                  <a:pt x="453" y="451"/>
                  <a:pt x="453" y="451"/>
                  <a:pt x="453" y="451"/>
                </a:cubicBezTo>
                <a:cubicBezTo>
                  <a:pt x="453" y="451"/>
                  <a:pt x="453" y="451"/>
                  <a:pt x="453" y="451"/>
                </a:cubicBezTo>
                <a:cubicBezTo>
                  <a:pt x="452" y="452"/>
                  <a:pt x="452" y="452"/>
                  <a:pt x="452" y="452"/>
                </a:cubicBezTo>
                <a:cubicBezTo>
                  <a:pt x="452" y="453"/>
                  <a:pt x="452" y="453"/>
                  <a:pt x="452" y="453"/>
                </a:cubicBezTo>
                <a:cubicBezTo>
                  <a:pt x="451" y="452"/>
                  <a:pt x="451" y="452"/>
                  <a:pt x="451" y="452"/>
                </a:cubicBezTo>
                <a:cubicBezTo>
                  <a:pt x="452" y="452"/>
                  <a:pt x="452" y="452"/>
                  <a:pt x="452" y="452"/>
                </a:cubicBezTo>
                <a:cubicBezTo>
                  <a:pt x="452" y="451"/>
                  <a:pt x="452" y="451"/>
                  <a:pt x="452" y="451"/>
                </a:cubicBezTo>
                <a:cubicBezTo>
                  <a:pt x="452" y="451"/>
                  <a:pt x="452" y="451"/>
                  <a:pt x="452" y="451"/>
                </a:cubicBezTo>
                <a:cubicBezTo>
                  <a:pt x="451" y="451"/>
                  <a:pt x="451" y="451"/>
                  <a:pt x="451" y="451"/>
                </a:cubicBezTo>
                <a:cubicBezTo>
                  <a:pt x="450" y="452"/>
                  <a:pt x="450" y="452"/>
                  <a:pt x="450" y="452"/>
                </a:cubicBezTo>
                <a:cubicBezTo>
                  <a:pt x="450" y="452"/>
                  <a:pt x="450" y="452"/>
                  <a:pt x="450" y="452"/>
                </a:cubicBezTo>
                <a:cubicBezTo>
                  <a:pt x="449" y="451"/>
                  <a:pt x="449" y="451"/>
                  <a:pt x="449" y="451"/>
                </a:cubicBezTo>
                <a:cubicBezTo>
                  <a:pt x="449" y="451"/>
                  <a:pt x="449" y="451"/>
                  <a:pt x="449" y="451"/>
                </a:cubicBezTo>
                <a:cubicBezTo>
                  <a:pt x="448" y="452"/>
                  <a:pt x="448" y="452"/>
                  <a:pt x="448" y="452"/>
                </a:cubicBezTo>
                <a:cubicBezTo>
                  <a:pt x="448" y="452"/>
                  <a:pt x="448" y="452"/>
                  <a:pt x="448" y="452"/>
                </a:cubicBezTo>
                <a:cubicBezTo>
                  <a:pt x="448" y="451"/>
                  <a:pt x="448" y="451"/>
                  <a:pt x="448" y="451"/>
                </a:cubicBezTo>
                <a:cubicBezTo>
                  <a:pt x="449" y="451"/>
                  <a:pt x="449" y="451"/>
                  <a:pt x="449" y="451"/>
                </a:cubicBezTo>
                <a:cubicBezTo>
                  <a:pt x="449" y="450"/>
                  <a:pt x="449" y="450"/>
                  <a:pt x="449" y="450"/>
                </a:cubicBezTo>
                <a:cubicBezTo>
                  <a:pt x="449" y="449"/>
                  <a:pt x="449" y="449"/>
                  <a:pt x="449" y="449"/>
                </a:cubicBezTo>
                <a:cubicBezTo>
                  <a:pt x="449" y="449"/>
                  <a:pt x="449" y="449"/>
                  <a:pt x="449" y="449"/>
                </a:cubicBezTo>
                <a:cubicBezTo>
                  <a:pt x="449" y="449"/>
                  <a:pt x="449" y="449"/>
                  <a:pt x="449" y="449"/>
                </a:cubicBezTo>
                <a:cubicBezTo>
                  <a:pt x="448" y="450"/>
                  <a:pt x="448" y="450"/>
                  <a:pt x="448" y="450"/>
                </a:cubicBezTo>
                <a:cubicBezTo>
                  <a:pt x="448" y="449"/>
                  <a:pt x="448" y="449"/>
                  <a:pt x="448" y="449"/>
                </a:cubicBezTo>
                <a:cubicBezTo>
                  <a:pt x="449" y="448"/>
                  <a:pt x="449" y="448"/>
                  <a:pt x="449" y="448"/>
                </a:cubicBezTo>
                <a:cubicBezTo>
                  <a:pt x="450" y="448"/>
                  <a:pt x="450" y="448"/>
                  <a:pt x="450" y="448"/>
                </a:cubicBezTo>
                <a:cubicBezTo>
                  <a:pt x="451" y="448"/>
                  <a:pt x="451" y="448"/>
                  <a:pt x="451" y="448"/>
                </a:cubicBezTo>
                <a:cubicBezTo>
                  <a:pt x="452" y="447"/>
                  <a:pt x="452" y="447"/>
                  <a:pt x="452" y="447"/>
                </a:cubicBezTo>
                <a:cubicBezTo>
                  <a:pt x="452" y="447"/>
                  <a:pt x="452" y="447"/>
                  <a:pt x="452" y="447"/>
                </a:cubicBezTo>
                <a:cubicBezTo>
                  <a:pt x="452" y="446"/>
                  <a:pt x="452" y="446"/>
                  <a:pt x="452" y="446"/>
                </a:cubicBezTo>
                <a:cubicBezTo>
                  <a:pt x="452" y="446"/>
                  <a:pt x="452" y="446"/>
                  <a:pt x="452" y="446"/>
                </a:cubicBezTo>
                <a:cubicBezTo>
                  <a:pt x="451" y="447"/>
                  <a:pt x="451" y="447"/>
                  <a:pt x="451" y="447"/>
                </a:cubicBezTo>
                <a:cubicBezTo>
                  <a:pt x="450" y="447"/>
                  <a:pt x="450" y="447"/>
                  <a:pt x="450" y="447"/>
                </a:cubicBezTo>
                <a:cubicBezTo>
                  <a:pt x="449" y="446"/>
                  <a:pt x="449" y="446"/>
                  <a:pt x="449" y="446"/>
                </a:cubicBezTo>
                <a:cubicBezTo>
                  <a:pt x="449" y="446"/>
                  <a:pt x="449" y="446"/>
                  <a:pt x="449" y="446"/>
                </a:cubicBezTo>
                <a:cubicBezTo>
                  <a:pt x="448" y="446"/>
                  <a:pt x="448" y="446"/>
                  <a:pt x="448" y="446"/>
                </a:cubicBezTo>
                <a:cubicBezTo>
                  <a:pt x="449" y="445"/>
                  <a:pt x="449" y="445"/>
                  <a:pt x="449" y="445"/>
                </a:cubicBezTo>
                <a:cubicBezTo>
                  <a:pt x="449" y="445"/>
                  <a:pt x="449" y="445"/>
                  <a:pt x="449" y="445"/>
                </a:cubicBezTo>
                <a:cubicBezTo>
                  <a:pt x="449" y="445"/>
                  <a:pt x="449" y="445"/>
                  <a:pt x="449" y="445"/>
                </a:cubicBezTo>
                <a:cubicBezTo>
                  <a:pt x="448" y="445"/>
                  <a:pt x="448" y="445"/>
                  <a:pt x="448" y="445"/>
                </a:cubicBezTo>
                <a:cubicBezTo>
                  <a:pt x="447" y="445"/>
                  <a:pt x="447" y="445"/>
                  <a:pt x="447" y="445"/>
                </a:cubicBezTo>
                <a:cubicBezTo>
                  <a:pt x="447" y="446"/>
                  <a:pt x="447" y="446"/>
                  <a:pt x="447" y="446"/>
                </a:cubicBezTo>
                <a:cubicBezTo>
                  <a:pt x="446" y="447"/>
                  <a:pt x="446" y="447"/>
                  <a:pt x="446" y="447"/>
                </a:cubicBezTo>
                <a:cubicBezTo>
                  <a:pt x="446" y="447"/>
                  <a:pt x="446" y="447"/>
                  <a:pt x="446" y="447"/>
                </a:cubicBezTo>
                <a:cubicBezTo>
                  <a:pt x="445" y="448"/>
                  <a:pt x="445" y="448"/>
                  <a:pt x="445" y="448"/>
                </a:cubicBezTo>
                <a:cubicBezTo>
                  <a:pt x="444" y="449"/>
                  <a:pt x="444" y="449"/>
                  <a:pt x="444" y="449"/>
                </a:cubicBezTo>
                <a:cubicBezTo>
                  <a:pt x="444" y="449"/>
                  <a:pt x="444" y="449"/>
                  <a:pt x="444" y="449"/>
                </a:cubicBezTo>
                <a:cubicBezTo>
                  <a:pt x="444" y="448"/>
                  <a:pt x="444" y="448"/>
                  <a:pt x="444" y="448"/>
                </a:cubicBezTo>
                <a:cubicBezTo>
                  <a:pt x="444" y="448"/>
                  <a:pt x="444" y="448"/>
                  <a:pt x="444" y="448"/>
                </a:cubicBezTo>
                <a:cubicBezTo>
                  <a:pt x="445" y="447"/>
                  <a:pt x="445" y="447"/>
                  <a:pt x="445" y="447"/>
                </a:cubicBezTo>
                <a:cubicBezTo>
                  <a:pt x="445" y="446"/>
                  <a:pt x="445" y="446"/>
                  <a:pt x="445" y="446"/>
                </a:cubicBezTo>
                <a:cubicBezTo>
                  <a:pt x="445" y="445"/>
                  <a:pt x="445" y="445"/>
                  <a:pt x="445" y="445"/>
                </a:cubicBezTo>
                <a:cubicBezTo>
                  <a:pt x="446" y="444"/>
                  <a:pt x="446" y="444"/>
                  <a:pt x="446" y="444"/>
                </a:cubicBezTo>
                <a:cubicBezTo>
                  <a:pt x="446" y="444"/>
                  <a:pt x="446" y="444"/>
                  <a:pt x="446" y="444"/>
                </a:cubicBezTo>
                <a:cubicBezTo>
                  <a:pt x="447" y="443"/>
                  <a:pt x="447" y="443"/>
                  <a:pt x="447" y="443"/>
                </a:cubicBezTo>
                <a:cubicBezTo>
                  <a:pt x="447" y="443"/>
                  <a:pt x="447" y="443"/>
                  <a:pt x="447" y="443"/>
                </a:cubicBezTo>
                <a:cubicBezTo>
                  <a:pt x="447" y="442"/>
                  <a:pt x="447" y="442"/>
                  <a:pt x="447" y="442"/>
                </a:cubicBezTo>
                <a:cubicBezTo>
                  <a:pt x="448" y="441"/>
                  <a:pt x="448" y="441"/>
                  <a:pt x="448" y="441"/>
                </a:cubicBezTo>
                <a:cubicBezTo>
                  <a:pt x="449" y="441"/>
                  <a:pt x="449" y="441"/>
                  <a:pt x="449" y="441"/>
                </a:cubicBezTo>
                <a:cubicBezTo>
                  <a:pt x="449" y="440"/>
                  <a:pt x="449" y="440"/>
                  <a:pt x="449" y="440"/>
                </a:cubicBezTo>
                <a:cubicBezTo>
                  <a:pt x="449" y="440"/>
                  <a:pt x="449" y="440"/>
                  <a:pt x="449" y="440"/>
                </a:cubicBezTo>
                <a:cubicBezTo>
                  <a:pt x="449" y="439"/>
                  <a:pt x="449" y="439"/>
                  <a:pt x="449" y="439"/>
                </a:cubicBezTo>
                <a:cubicBezTo>
                  <a:pt x="450" y="439"/>
                  <a:pt x="450" y="439"/>
                  <a:pt x="450" y="439"/>
                </a:cubicBezTo>
                <a:cubicBezTo>
                  <a:pt x="450" y="438"/>
                  <a:pt x="450" y="438"/>
                  <a:pt x="450" y="438"/>
                </a:cubicBezTo>
                <a:cubicBezTo>
                  <a:pt x="450" y="439"/>
                  <a:pt x="450" y="439"/>
                  <a:pt x="450" y="439"/>
                </a:cubicBezTo>
                <a:cubicBezTo>
                  <a:pt x="450" y="439"/>
                  <a:pt x="450" y="439"/>
                  <a:pt x="450" y="439"/>
                </a:cubicBezTo>
                <a:cubicBezTo>
                  <a:pt x="450" y="440"/>
                  <a:pt x="450" y="440"/>
                  <a:pt x="450" y="440"/>
                </a:cubicBezTo>
                <a:cubicBezTo>
                  <a:pt x="451" y="439"/>
                  <a:pt x="451" y="439"/>
                  <a:pt x="451" y="439"/>
                </a:cubicBezTo>
                <a:cubicBezTo>
                  <a:pt x="452" y="437"/>
                  <a:pt x="452" y="437"/>
                  <a:pt x="452" y="437"/>
                </a:cubicBezTo>
                <a:cubicBezTo>
                  <a:pt x="452" y="437"/>
                  <a:pt x="452" y="437"/>
                  <a:pt x="452" y="437"/>
                </a:cubicBezTo>
                <a:cubicBezTo>
                  <a:pt x="452" y="436"/>
                  <a:pt x="452" y="436"/>
                  <a:pt x="452" y="436"/>
                </a:cubicBezTo>
                <a:cubicBezTo>
                  <a:pt x="452" y="436"/>
                  <a:pt x="452" y="436"/>
                  <a:pt x="452" y="436"/>
                </a:cubicBezTo>
                <a:cubicBezTo>
                  <a:pt x="451" y="437"/>
                  <a:pt x="451" y="437"/>
                  <a:pt x="451" y="437"/>
                </a:cubicBezTo>
                <a:cubicBezTo>
                  <a:pt x="451" y="436"/>
                  <a:pt x="451" y="436"/>
                  <a:pt x="451" y="436"/>
                </a:cubicBezTo>
                <a:cubicBezTo>
                  <a:pt x="450" y="435"/>
                  <a:pt x="450" y="435"/>
                  <a:pt x="450" y="435"/>
                </a:cubicBezTo>
                <a:cubicBezTo>
                  <a:pt x="451" y="435"/>
                  <a:pt x="451" y="435"/>
                  <a:pt x="451" y="435"/>
                </a:cubicBezTo>
                <a:cubicBezTo>
                  <a:pt x="451" y="435"/>
                  <a:pt x="451" y="435"/>
                  <a:pt x="451" y="435"/>
                </a:cubicBezTo>
                <a:cubicBezTo>
                  <a:pt x="452" y="435"/>
                  <a:pt x="452" y="435"/>
                  <a:pt x="452" y="435"/>
                </a:cubicBezTo>
                <a:cubicBezTo>
                  <a:pt x="453" y="435"/>
                  <a:pt x="453" y="435"/>
                  <a:pt x="453" y="435"/>
                </a:cubicBezTo>
                <a:cubicBezTo>
                  <a:pt x="454" y="435"/>
                  <a:pt x="454" y="435"/>
                  <a:pt x="454" y="435"/>
                </a:cubicBezTo>
                <a:cubicBezTo>
                  <a:pt x="454" y="434"/>
                  <a:pt x="454" y="434"/>
                  <a:pt x="454" y="434"/>
                </a:cubicBezTo>
                <a:cubicBezTo>
                  <a:pt x="454" y="433"/>
                  <a:pt x="454" y="433"/>
                  <a:pt x="454" y="433"/>
                </a:cubicBezTo>
                <a:cubicBezTo>
                  <a:pt x="453" y="433"/>
                  <a:pt x="453" y="433"/>
                  <a:pt x="453" y="433"/>
                </a:cubicBezTo>
                <a:cubicBezTo>
                  <a:pt x="453" y="433"/>
                  <a:pt x="453" y="433"/>
                  <a:pt x="453" y="433"/>
                </a:cubicBezTo>
                <a:cubicBezTo>
                  <a:pt x="453" y="434"/>
                  <a:pt x="453" y="434"/>
                  <a:pt x="453" y="434"/>
                </a:cubicBezTo>
                <a:cubicBezTo>
                  <a:pt x="452" y="434"/>
                  <a:pt x="452" y="434"/>
                  <a:pt x="452" y="434"/>
                </a:cubicBezTo>
                <a:cubicBezTo>
                  <a:pt x="452" y="433"/>
                  <a:pt x="452" y="433"/>
                  <a:pt x="452" y="433"/>
                </a:cubicBezTo>
                <a:cubicBezTo>
                  <a:pt x="452" y="433"/>
                  <a:pt x="452" y="433"/>
                  <a:pt x="452" y="433"/>
                </a:cubicBezTo>
                <a:cubicBezTo>
                  <a:pt x="452" y="433"/>
                  <a:pt x="452" y="433"/>
                  <a:pt x="452" y="433"/>
                </a:cubicBezTo>
                <a:cubicBezTo>
                  <a:pt x="451" y="434"/>
                  <a:pt x="451" y="434"/>
                  <a:pt x="451" y="434"/>
                </a:cubicBezTo>
                <a:cubicBezTo>
                  <a:pt x="450" y="434"/>
                  <a:pt x="450" y="434"/>
                  <a:pt x="450" y="434"/>
                </a:cubicBezTo>
                <a:cubicBezTo>
                  <a:pt x="450" y="434"/>
                  <a:pt x="450" y="434"/>
                  <a:pt x="450" y="434"/>
                </a:cubicBezTo>
                <a:cubicBezTo>
                  <a:pt x="449" y="435"/>
                  <a:pt x="449" y="435"/>
                  <a:pt x="449" y="435"/>
                </a:cubicBezTo>
                <a:cubicBezTo>
                  <a:pt x="448" y="435"/>
                  <a:pt x="448" y="435"/>
                  <a:pt x="448" y="435"/>
                </a:cubicBezTo>
                <a:cubicBezTo>
                  <a:pt x="447" y="435"/>
                  <a:pt x="447" y="435"/>
                  <a:pt x="447" y="435"/>
                </a:cubicBezTo>
                <a:cubicBezTo>
                  <a:pt x="446" y="436"/>
                  <a:pt x="446" y="436"/>
                  <a:pt x="446" y="436"/>
                </a:cubicBezTo>
                <a:cubicBezTo>
                  <a:pt x="446" y="437"/>
                  <a:pt x="446" y="437"/>
                  <a:pt x="446" y="437"/>
                </a:cubicBezTo>
                <a:cubicBezTo>
                  <a:pt x="445" y="437"/>
                  <a:pt x="445" y="437"/>
                  <a:pt x="445" y="437"/>
                </a:cubicBezTo>
                <a:cubicBezTo>
                  <a:pt x="445" y="437"/>
                  <a:pt x="445" y="437"/>
                  <a:pt x="445" y="437"/>
                </a:cubicBezTo>
                <a:cubicBezTo>
                  <a:pt x="445" y="437"/>
                  <a:pt x="445" y="437"/>
                  <a:pt x="445" y="437"/>
                </a:cubicBezTo>
                <a:cubicBezTo>
                  <a:pt x="445" y="438"/>
                  <a:pt x="445" y="438"/>
                  <a:pt x="445" y="438"/>
                </a:cubicBezTo>
                <a:cubicBezTo>
                  <a:pt x="445" y="438"/>
                  <a:pt x="445" y="438"/>
                  <a:pt x="445" y="438"/>
                </a:cubicBezTo>
                <a:close/>
                <a:moveTo>
                  <a:pt x="405" y="450"/>
                </a:moveTo>
                <a:cubicBezTo>
                  <a:pt x="405" y="450"/>
                  <a:pt x="405" y="450"/>
                  <a:pt x="405" y="450"/>
                </a:cubicBezTo>
                <a:cubicBezTo>
                  <a:pt x="408" y="452"/>
                  <a:pt x="408" y="452"/>
                  <a:pt x="408" y="452"/>
                </a:cubicBezTo>
                <a:cubicBezTo>
                  <a:pt x="409" y="452"/>
                  <a:pt x="409" y="452"/>
                  <a:pt x="409" y="452"/>
                </a:cubicBezTo>
                <a:cubicBezTo>
                  <a:pt x="411" y="452"/>
                  <a:pt x="411" y="452"/>
                  <a:pt x="411" y="452"/>
                </a:cubicBezTo>
                <a:cubicBezTo>
                  <a:pt x="412" y="453"/>
                  <a:pt x="412" y="453"/>
                  <a:pt x="412" y="453"/>
                </a:cubicBezTo>
                <a:cubicBezTo>
                  <a:pt x="412" y="453"/>
                  <a:pt x="412" y="453"/>
                  <a:pt x="412" y="453"/>
                </a:cubicBezTo>
                <a:cubicBezTo>
                  <a:pt x="414" y="453"/>
                  <a:pt x="414" y="453"/>
                  <a:pt x="414" y="453"/>
                </a:cubicBezTo>
                <a:cubicBezTo>
                  <a:pt x="415" y="453"/>
                  <a:pt x="415" y="453"/>
                  <a:pt x="415" y="453"/>
                </a:cubicBezTo>
                <a:cubicBezTo>
                  <a:pt x="415" y="452"/>
                  <a:pt x="415" y="452"/>
                  <a:pt x="415" y="452"/>
                </a:cubicBezTo>
                <a:cubicBezTo>
                  <a:pt x="414" y="451"/>
                  <a:pt x="414" y="451"/>
                  <a:pt x="414" y="451"/>
                </a:cubicBezTo>
                <a:cubicBezTo>
                  <a:pt x="414" y="451"/>
                  <a:pt x="414" y="451"/>
                  <a:pt x="414" y="451"/>
                </a:cubicBezTo>
                <a:cubicBezTo>
                  <a:pt x="414" y="450"/>
                  <a:pt x="414" y="450"/>
                  <a:pt x="414" y="450"/>
                </a:cubicBezTo>
                <a:cubicBezTo>
                  <a:pt x="413" y="450"/>
                  <a:pt x="413" y="450"/>
                  <a:pt x="413" y="450"/>
                </a:cubicBezTo>
                <a:cubicBezTo>
                  <a:pt x="412" y="449"/>
                  <a:pt x="412" y="449"/>
                  <a:pt x="412" y="449"/>
                </a:cubicBezTo>
                <a:cubicBezTo>
                  <a:pt x="410" y="448"/>
                  <a:pt x="410" y="448"/>
                  <a:pt x="410" y="448"/>
                </a:cubicBezTo>
                <a:cubicBezTo>
                  <a:pt x="410" y="448"/>
                  <a:pt x="410" y="448"/>
                  <a:pt x="410" y="448"/>
                </a:cubicBezTo>
                <a:cubicBezTo>
                  <a:pt x="409" y="446"/>
                  <a:pt x="409" y="446"/>
                  <a:pt x="409" y="446"/>
                </a:cubicBezTo>
                <a:cubicBezTo>
                  <a:pt x="407" y="446"/>
                  <a:pt x="407" y="446"/>
                  <a:pt x="407" y="446"/>
                </a:cubicBezTo>
                <a:cubicBezTo>
                  <a:pt x="405" y="446"/>
                  <a:pt x="405" y="446"/>
                  <a:pt x="405" y="446"/>
                </a:cubicBezTo>
                <a:cubicBezTo>
                  <a:pt x="402" y="445"/>
                  <a:pt x="402" y="445"/>
                  <a:pt x="402" y="445"/>
                </a:cubicBezTo>
                <a:cubicBezTo>
                  <a:pt x="401" y="444"/>
                  <a:pt x="401" y="444"/>
                  <a:pt x="401" y="444"/>
                </a:cubicBezTo>
                <a:cubicBezTo>
                  <a:pt x="400" y="445"/>
                  <a:pt x="400" y="445"/>
                  <a:pt x="400" y="445"/>
                </a:cubicBezTo>
                <a:cubicBezTo>
                  <a:pt x="401" y="446"/>
                  <a:pt x="401" y="446"/>
                  <a:pt x="401" y="446"/>
                </a:cubicBezTo>
                <a:cubicBezTo>
                  <a:pt x="402" y="447"/>
                  <a:pt x="402" y="447"/>
                  <a:pt x="402" y="447"/>
                </a:cubicBezTo>
                <a:cubicBezTo>
                  <a:pt x="404" y="448"/>
                  <a:pt x="404" y="448"/>
                  <a:pt x="404" y="448"/>
                </a:cubicBezTo>
                <a:cubicBezTo>
                  <a:pt x="404" y="449"/>
                  <a:pt x="404" y="449"/>
                  <a:pt x="404" y="449"/>
                </a:cubicBezTo>
                <a:cubicBezTo>
                  <a:pt x="405" y="450"/>
                  <a:pt x="405" y="450"/>
                  <a:pt x="405" y="450"/>
                </a:cubicBezTo>
                <a:close/>
                <a:moveTo>
                  <a:pt x="405" y="479"/>
                </a:moveTo>
                <a:cubicBezTo>
                  <a:pt x="404" y="478"/>
                  <a:pt x="404" y="478"/>
                  <a:pt x="404" y="478"/>
                </a:cubicBezTo>
                <a:cubicBezTo>
                  <a:pt x="403" y="477"/>
                  <a:pt x="403" y="477"/>
                  <a:pt x="403" y="477"/>
                </a:cubicBezTo>
                <a:cubicBezTo>
                  <a:pt x="400" y="476"/>
                  <a:pt x="400" y="476"/>
                  <a:pt x="400" y="476"/>
                </a:cubicBezTo>
                <a:cubicBezTo>
                  <a:pt x="400" y="476"/>
                  <a:pt x="400" y="476"/>
                  <a:pt x="400" y="476"/>
                </a:cubicBezTo>
                <a:cubicBezTo>
                  <a:pt x="399" y="475"/>
                  <a:pt x="399" y="475"/>
                  <a:pt x="399" y="475"/>
                </a:cubicBezTo>
                <a:cubicBezTo>
                  <a:pt x="399" y="474"/>
                  <a:pt x="399" y="474"/>
                  <a:pt x="399" y="474"/>
                </a:cubicBezTo>
                <a:cubicBezTo>
                  <a:pt x="398" y="474"/>
                  <a:pt x="398" y="474"/>
                  <a:pt x="398" y="474"/>
                </a:cubicBezTo>
                <a:cubicBezTo>
                  <a:pt x="398" y="474"/>
                  <a:pt x="398" y="474"/>
                  <a:pt x="398" y="474"/>
                </a:cubicBezTo>
                <a:cubicBezTo>
                  <a:pt x="397" y="473"/>
                  <a:pt x="397" y="473"/>
                  <a:pt x="397" y="473"/>
                </a:cubicBezTo>
                <a:cubicBezTo>
                  <a:pt x="397" y="472"/>
                  <a:pt x="397" y="472"/>
                  <a:pt x="397" y="472"/>
                </a:cubicBezTo>
                <a:cubicBezTo>
                  <a:pt x="397" y="472"/>
                  <a:pt x="397" y="472"/>
                  <a:pt x="397" y="472"/>
                </a:cubicBezTo>
                <a:cubicBezTo>
                  <a:pt x="396" y="472"/>
                  <a:pt x="396" y="472"/>
                  <a:pt x="396" y="472"/>
                </a:cubicBezTo>
                <a:cubicBezTo>
                  <a:pt x="396" y="472"/>
                  <a:pt x="396" y="472"/>
                  <a:pt x="396" y="472"/>
                </a:cubicBezTo>
                <a:cubicBezTo>
                  <a:pt x="396" y="471"/>
                  <a:pt x="396" y="471"/>
                  <a:pt x="396" y="471"/>
                </a:cubicBezTo>
                <a:cubicBezTo>
                  <a:pt x="398" y="469"/>
                  <a:pt x="398" y="469"/>
                  <a:pt x="398" y="469"/>
                </a:cubicBezTo>
                <a:cubicBezTo>
                  <a:pt x="399" y="470"/>
                  <a:pt x="399" y="470"/>
                  <a:pt x="399" y="470"/>
                </a:cubicBezTo>
                <a:cubicBezTo>
                  <a:pt x="398" y="471"/>
                  <a:pt x="398" y="471"/>
                  <a:pt x="398" y="471"/>
                </a:cubicBezTo>
                <a:cubicBezTo>
                  <a:pt x="398" y="471"/>
                  <a:pt x="398" y="471"/>
                  <a:pt x="398" y="471"/>
                </a:cubicBezTo>
                <a:cubicBezTo>
                  <a:pt x="398" y="472"/>
                  <a:pt x="398" y="472"/>
                  <a:pt x="398" y="472"/>
                </a:cubicBezTo>
                <a:cubicBezTo>
                  <a:pt x="398" y="473"/>
                  <a:pt x="398" y="473"/>
                  <a:pt x="398" y="473"/>
                </a:cubicBezTo>
                <a:cubicBezTo>
                  <a:pt x="399" y="474"/>
                  <a:pt x="399" y="474"/>
                  <a:pt x="399" y="474"/>
                </a:cubicBezTo>
                <a:cubicBezTo>
                  <a:pt x="400" y="473"/>
                  <a:pt x="400" y="473"/>
                  <a:pt x="400" y="473"/>
                </a:cubicBezTo>
                <a:cubicBezTo>
                  <a:pt x="400" y="473"/>
                  <a:pt x="400" y="473"/>
                  <a:pt x="400" y="473"/>
                </a:cubicBezTo>
                <a:cubicBezTo>
                  <a:pt x="402" y="474"/>
                  <a:pt x="402" y="474"/>
                  <a:pt x="402" y="474"/>
                </a:cubicBezTo>
                <a:cubicBezTo>
                  <a:pt x="403" y="474"/>
                  <a:pt x="403" y="474"/>
                  <a:pt x="403" y="474"/>
                </a:cubicBezTo>
                <a:cubicBezTo>
                  <a:pt x="403" y="475"/>
                  <a:pt x="403" y="475"/>
                  <a:pt x="403" y="475"/>
                </a:cubicBezTo>
                <a:cubicBezTo>
                  <a:pt x="405" y="475"/>
                  <a:pt x="405" y="475"/>
                  <a:pt x="405" y="475"/>
                </a:cubicBezTo>
                <a:cubicBezTo>
                  <a:pt x="406" y="474"/>
                  <a:pt x="406" y="474"/>
                  <a:pt x="406" y="474"/>
                </a:cubicBezTo>
                <a:cubicBezTo>
                  <a:pt x="407" y="474"/>
                  <a:pt x="407" y="474"/>
                  <a:pt x="407" y="474"/>
                </a:cubicBezTo>
                <a:cubicBezTo>
                  <a:pt x="408" y="474"/>
                  <a:pt x="408" y="474"/>
                  <a:pt x="408" y="474"/>
                </a:cubicBezTo>
                <a:cubicBezTo>
                  <a:pt x="408" y="475"/>
                  <a:pt x="408" y="475"/>
                  <a:pt x="408" y="475"/>
                </a:cubicBezTo>
                <a:cubicBezTo>
                  <a:pt x="407" y="475"/>
                  <a:pt x="407" y="475"/>
                  <a:pt x="407" y="475"/>
                </a:cubicBezTo>
                <a:cubicBezTo>
                  <a:pt x="406" y="476"/>
                  <a:pt x="406" y="476"/>
                  <a:pt x="406" y="476"/>
                </a:cubicBezTo>
                <a:cubicBezTo>
                  <a:pt x="406" y="477"/>
                  <a:pt x="406" y="477"/>
                  <a:pt x="406" y="477"/>
                </a:cubicBezTo>
                <a:cubicBezTo>
                  <a:pt x="406" y="478"/>
                  <a:pt x="406" y="478"/>
                  <a:pt x="406" y="478"/>
                </a:cubicBezTo>
                <a:cubicBezTo>
                  <a:pt x="405" y="479"/>
                  <a:pt x="405" y="479"/>
                  <a:pt x="405" y="479"/>
                </a:cubicBezTo>
                <a:close/>
                <a:moveTo>
                  <a:pt x="414" y="483"/>
                </a:moveTo>
                <a:cubicBezTo>
                  <a:pt x="414" y="482"/>
                  <a:pt x="414" y="482"/>
                  <a:pt x="414" y="482"/>
                </a:cubicBezTo>
                <a:cubicBezTo>
                  <a:pt x="412" y="481"/>
                  <a:pt x="412" y="481"/>
                  <a:pt x="412" y="481"/>
                </a:cubicBezTo>
                <a:cubicBezTo>
                  <a:pt x="412" y="479"/>
                  <a:pt x="412" y="479"/>
                  <a:pt x="412" y="479"/>
                </a:cubicBezTo>
                <a:cubicBezTo>
                  <a:pt x="411" y="478"/>
                  <a:pt x="411" y="478"/>
                  <a:pt x="411" y="478"/>
                </a:cubicBezTo>
                <a:cubicBezTo>
                  <a:pt x="412" y="478"/>
                  <a:pt x="412" y="478"/>
                  <a:pt x="412" y="478"/>
                </a:cubicBezTo>
                <a:cubicBezTo>
                  <a:pt x="413" y="477"/>
                  <a:pt x="413" y="477"/>
                  <a:pt x="413" y="477"/>
                </a:cubicBezTo>
                <a:cubicBezTo>
                  <a:pt x="415" y="475"/>
                  <a:pt x="415" y="475"/>
                  <a:pt x="415" y="475"/>
                </a:cubicBezTo>
                <a:cubicBezTo>
                  <a:pt x="415" y="474"/>
                  <a:pt x="415" y="474"/>
                  <a:pt x="415" y="474"/>
                </a:cubicBezTo>
                <a:cubicBezTo>
                  <a:pt x="416" y="473"/>
                  <a:pt x="416" y="473"/>
                  <a:pt x="416" y="473"/>
                </a:cubicBezTo>
                <a:cubicBezTo>
                  <a:pt x="417" y="471"/>
                  <a:pt x="417" y="471"/>
                  <a:pt x="417" y="471"/>
                </a:cubicBezTo>
                <a:cubicBezTo>
                  <a:pt x="418" y="470"/>
                  <a:pt x="418" y="470"/>
                  <a:pt x="418" y="470"/>
                </a:cubicBezTo>
                <a:cubicBezTo>
                  <a:pt x="419" y="470"/>
                  <a:pt x="419" y="470"/>
                  <a:pt x="419" y="470"/>
                </a:cubicBezTo>
                <a:cubicBezTo>
                  <a:pt x="419" y="471"/>
                  <a:pt x="419" y="471"/>
                  <a:pt x="419" y="471"/>
                </a:cubicBezTo>
                <a:cubicBezTo>
                  <a:pt x="418" y="472"/>
                  <a:pt x="418" y="472"/>
                  <a:pt x="418" y="472"/>
                </a:cubicBezTo>
                <a:cubicBezTo>
                  <a:pt x="419" y="472"/>
                  <a:pt x="419" y="472"/>
                  <a:pt x="419" y="472"/>
                </a:cubicBezTo>
                <a:cubicBezTo>
                  <a:pt x="419" y="473"/>
                  <a:pt x="419" y="473"/>
                  <a:pt x="419" y="473"/>
                </a:cubicBezTo>
                <a:cubicBezTo>
                  <a:pt x="418" y="475"/>
                  <a:pt x="418" y="475"/>
                  <a:pt x="418" y="475"/>
                </a:cubicBezTo>
                <a:cubicBezTo>
                  <a:pt x="417" y="476"/>
                  <a:pt x="417" y="476"/>
                  <a:pt x="417" y="476"/>
                </a:cubicBezTo>
                <a:cubicBezTo>
                  <a:pt x="419" y="476"/>
                  <a:pt x="419" y="476"/>
                  <a:pt x="419" y="476"/>
                </a:cubicBezTo>
                <a:cubicBezTo>
                  <a:pt x="419" y="477"/>
                  <a:pt x="419" y="477"/>
                  <a:pt x="419" y="477"/>
                </a:cubicBezTo>
                <a:cubicBezTo>
                  <a:pt x="419" y="478"/>
                  <a:pt x="419" y="478"/>
                  <a:pt x="419" y="478"/>
                </a:cubicBezTo>
                <a:cubicBezTo>
                  <a:pt x="419" y="478"/>
                  <a:pt x="419" y="478"/>
                  <a:pt x="419" y="478"/>
                </a:cubicBezTo>
                <a:cubicBezTo>
                  <a:pt x="420" y="478"/>
                  <a:pt x="420" y="478"/>
                  <a:pt x="420" y="478"/>
                </a:cubicBezTo>
                <a:cubicBezTo>
                  <a:pt x="420" y="477"/>
                  <a:pt x="420" y="477"/>
                  <a:pt x="420" y="477"/>
                </a:cubicBezTo>
                <a:cubicBezTo>
                  <a:pt x="420" y="477"/>
                  <a:pt x="420" y="477"/>
                  <a:pt x="420" y="477"/>
                </a:cubicBezTo>
                <a:cubicBezTo>
                  <a:pt x="422" y="477"/>
                  <a:pt x="422" y="477"/>
                  <a:pt x="422" y="477"/>
                </a:cubicBezTo>
                <a:cubicBezTo>
                  <a:pt x="422" y="479"/>
                  <a:pt x="422" y="479"/>
                  <a:pt x="422" y="479"/>
                </a:cubicBezTo>
                <a:cubicBezTo>
                  <a:pt x="422" y="479"/>
                  <a:pt x="422" y="479"/>
                  <a:pt x="422" y="479"/>
                </a:cubicBezTo>
                <a:cubicBezTo>
                  <a:pt x="421" y="480"/>
                  <a:pt x="421" y="480"/>
                  <a:pt x="421" y="480"/>
                </a:cubicBezTo>
                <a:cubicBezTo>
                  <a:pt x="420" y="480"/>
                  <a:pt x="420" y="480"/>
                  <a:pt x="420" y="480"/>
                </a:cubicBezTo>
                <a:cubicBezTo>
                  <a:pt x="419" y="480"/>
                  <a:pt x="419" y="480"/>
                  <a:pt x="419" y="480"/>
                </a:cubicBezTo>
                <a:cubicBezTo>
                  <a:pt x="417" y="482"/>
                  <a:pt x="417" y="482"/>
                  <a:pt x="417" y="482"/>
                </a:cubicBezTo>
                <a:cubicBezTo>
                  <a:pt x="416" y="482"/>
                  <a:pt x="416" y="482"/>
                  <a:pt x="416" y="482"/>
                </a:cubicBezTo>
                <a:cubicBezTo>
                  <a:pt x="415" y="481"/>
                  <a:pt x="415" y="481"/>
                  <a:pt x="415" y="481"/>
                </a:cubicBezTo>
                <a:cubicBezTo>
                  <a:pt x="415" y="481"/>
                  <a:pt x="415" y="481"/>
                  <a:pt x="415" y="481"/>
                </a:cubicBezTo>
                <a:cubicBezTo>
                  <a:pt x="414" y="482"/>
                  <a:pt x="414" y="482"/>
                  <a:pt x="414" y="482"/>
                </a:cubicBezTo>
                <a:cubicBezTo>
                  <a:pt x="414" y="483"/>
                  <a:pt x="414" y="483"/>
                  <a:pt x="414" y="483"/>
                </a:cubicBezTo>
                <a:close/>
                <a:moveTo>
                  <a:pt x="317" y="407"/>
                </a:moveTo>
                <a:cubicBezTo>
                  <a:pt x="317" y="408"/>
                  <a:pt x="317" y="408"/>
                  <a:pt x="317" y="408"/>
                </a:cubicBezTo>
                <a:cubicBezTo>
                  <a:pt x="317" y="409"/>
                  <a:pt x="317" y="409"/>
                  <a:pt x="317" y="409"/>
                </a:cubicBezTo>
                <a:cubicBezTo>
                  <a:pt x="318" y="408"/>
                  <a:pt x="318" y="408"/>
                  <a:pt x="318" y="408"/>
                </a:cubicBezTo>
                <a:cubicBezTo>
                  <a:pt x="318" y="407"/>
                  <a:pt x="318" y="407"/>
                  <a:pt x="318" y="407"/>
                </a:cubicBezTo>
                <a:cubicBezTo>
                  <a:pt x="317" y="407"/>
                  <a:pt x="317" y="407"/>
                  <a:pt x="317" y="407"/>
                </a:cubicBezTo>
                <a:cubicBezTo>
                  <a:pt x="317" y="407"/>
                  <a:pt x="317" y="407"/>
                  <a:pt x="317" y="407"/>
                </a:cubicBezTo>
                <a:close/>
                <a:moveTo>
                  <a:pt x="317" y="421"/>
                </a:moveTo>
                <a:cubicBezTo>
                  <a:pt x="317" y="420"/>
                  <a:pt x="317" y="420"/>
                  <a:pt x="317" y="420"/>
                </a:cubicBezTo>
                <a:cubicBezTo>
                  <a:pt x="318" y="420"/>
                  <a:pt x="318" y="420"/>
                  <a:pt x="318" y="420"/>
                </a:cubicBezTo>
                <a:cubicBezTo>
                  <a:pt x="318" y="419"/>
                  <a:pt x="318" y="419"/>
                  <a:pt x="318" y="419"/>
                </a:cubicBezTo>
                <a:cubicBezTo>
                  <a:pt x="319" y="420"/>
                  <a:pt x="319" y="420"/>
                  <a:pt x="319" y="420"/>
                </a:cubicBezTo>
                <a:cubicBezTo>
                  <a:pt x="317" y="421"/>
                  <a:pt x="317" y="421"/>
                  <a:pt x="317" y="421"/>
                </a:cubicBezTo>
                <a:cubicBezTo>
                  <a:pt x="317" y="421"/>
                  <a:pt x="317" y="421"/>
                  <a:pt x="317" y="421"/>
                </a:cubicBezTo>
                <a:close/>
                <a:moveTo>
                  <a:pt x="305" y="411"/>
                </a:moveTo>
                <a:cubicBezTo>
                  <a:pt x="306" y="410"/>
                  <a:pt x="306" y="410"/>
                  <a:pt x="306" y="410"/>
                </a:cubicBezTo>
                <a:cubicBezTo>
                  <a:pt x="307" y="410"/>
                  <a:pt x="307" y="410"/>
                  <a:pt x="307" y="410"/>
                </a:cubicBezTo>
                <a:cubicBezTo>
                  <a:pt x="307" y="409"/>
                  <a:pt x="307" y="409"/>
                  <a:pt x="307" y="409"/>
                </a:cubicBezTo>
                <a:cubicBezTo>
                  <a:pt x="308" y="408"/>
                  <a:pt x="308" y="408"/>
                  <a:pt x="308" y="408"/>
                </a:cubicBezTo>
                <a:cubicBezTo>
                  <a:pt x="309" y="408"/>
                  <a:pt x="309" y="408"/>
                  <a:pt x="309" y="408"/>
                </a:cubicBezTo>
                <a:cubicBezTo>
                  <a:pt x="309" y="409"/>
                  <a:pt x="309" y="409"/>
                  <a:pt x="309" y="409"/>
                </a:cubicBezTo>
                <a:cubicBezTo>
                  <a:pt x="311" y="409"/>
                  <a:pt x="311" y="409"/>
                  <a:pt x="311" y="409"/>
                </a:cubicBezTo>
                <a:cubicBezTo>
                  <a:pt x="312" y="410"/>
                  <a:pt x="312" y="410"/>
                  <a:pt x="312" y="410"/>
                </a:cubicBezTo>
                <a:cubicBezTo>
                  <a:pt x="312" y="411"/>
                  <a:pt x="312" y="411"/>
                  <a:pt x="312" y="411"/>
                </a:cubicBezTo>
                <a:cubicBezTo>
                  <a:pt x="313" y="412"/>
                  <a:pt x="313" y="412"/>
                  <a:pt x="313" y="412"/>
                </a:cubicBezTo>
                <a:cubicBezTo>
                  <a:pt x="312" y="413"/>
                  <a:pt x="312" y="413"/>
                  <a:pt x="312" y="413"/>
                </a:cubicBezTo>
                <a:cubicBezTo>
                  <a:pt x="309" y="412"/>
                  <a:pt x="309" y="412"/>
                  <a:pt x="309" y="412"/>
                </a:cubicBezTo>
                <a:cubicBezTo>
                  <a:pt x="308" y="412"/>
                  <a:pt x="308" y="412"/>
                  <a:pt x="308" y="412"/>
                </a:cubicBezTo>
                <a:cubicBezTo>
                  <a:pt x="307" y="411"/>
                  <a:pt x="307" y="411"/>
                  <a:pt x="307" y="411"/>
                </a:cubicBezTo>
                <a:cubicBezTo>
                  <a:pt x="307" y="412"/>
                  <a:pt x="307" y="412"/>
                  <a:pt x="307" y="412"/>
                </a:cubicBezTo>
                <a:cubicBezTo>
                  <a:pt x="307" y="413"/>
                  <a:pt x="307" y="413"/>
                  <a:pt x="307" y="413"/>
                </a:cubicBezTo>
                <a:cubicBezTo>
                  <a:pt x="307" y="412"/>
                  <a:pt x="307" y="412"/>
                  <a:pt x="307" y="412"/>
                </a:cubicBezTo>
                <a:cubicBezTo>
                  <a:pt x="306" y="411"/>
                  <a:pt x="306" y="411"/>
                  <a:pt x="306" y="411"/>
                </a:cubicBezTo>
                <a:cubicBezTo>
                  <a:pt x="305" y="412"/>
                  <a:pt x="305" y="412"/>
                  <a:pt x="305" y="412"/>
                </a:cubicBezTo>
                <a:cubicBezTo>
                  <a:pt x="305" y="411"/>
                  <a:pt x="305" y="411"/>
                  <a:pt x="305" y="411"/>
                </a:cubicBezTo>
                <a:close/>
                <a:moveTo>
                  <a:pt x="48" y="416"/>
                </a:moveTo>
                <a:cubicBezTo>
                  <a:pt x="49" y="417"/>
                  <a:pt x="49" y="417"/>
                  <a:pt x="49" y="417"/>
                </a:cubicBezTo>
                <a:cubicBezTo>
                  <a:pt x="51" y="419"/>
                  <a:pt x="51" y="419"/>
                  <a:pt x="51" y="419"/>
                </a:cubicBezTo>
                <a:cubicBezTo>
                  <a:pt x="50" y="419"/>
                  <a:pt x="50" y="419"/>
                  <a:pt x="50" y="419"/>
                </a:cubicBezTo>
                <a:cubicBezTo>
                  <a:pt x="48" y="418"/>
                  <a:pt x="48" y="418"/>
                  <a:pt x="48" y="418"/>
                </a:cubicBezTo>
                <a:cubicBezTo>
                  <a:pt x="48" y="416"/>
                  <a:pt x="48" y="416"/>
                  <a:pt x="48" y="416"/>
                </a:cubicBezTo>
                <a:close/>
                <a:moveTo>
                  <a:pt x="46" y="413"/>
                </a:moveTo>
                <a:cubicBezTo>
                  <a:pt x="45" y="411"/>
                  <a:pt x="45" y="411"/>
                  <a:pt x="45" y="411"/>
                </a:cubicBezTo>
                <a:cubicBezTo>
                  <a:pt x="46" y="411"/>
                  <a:pt x="46" y="411"/>
                  <a:pt x="46" y="411"/>
                </a:cubicBezTo>
                <a:cubicBezTo>
                  <a:pt x="46" y="413"/>
                  <a:pt x="46" y="413"/>
                  <a:pt x="46" y="413"/>
                </a:cubicBezTo>
                <a:close/>
                <a:moveTo>
                  <a:pt x="39" y="407"/>
                </a:moveTo>
                <a:cubicBezTo>
                  <a:pt x="41" y="408"/>
                  <a:pt x="41" y="408"/>
                  <a:pt x="41" y="408"/>
                </a:cubicBezTo>
                <a:cubicBezTo>
                  <a:pt x="41" y="407"/>
                  <a:pt x="41" y="407"/>
                  <a:pt x="41" y="407"/>
                </a:cubicBezTo>
                <a:cubicBezTo>
                  <a:pt x="39" y="407"/>
                  <a:pt x="39" y="407"/>
                  <a:pt x="39" y="407"/>
                </a:cubicBezTo>
                <a:close/>
                <a:moveTo>
                  <a:pt x="28" y="403"/>
                </a:moveTo>
                <a:cubicBezTo>
                  <a:pt x="29" y="404"/>
                  <a:pt x="29" y="404"/>
                  <a:pt x="29" y="404"/>
                </a:cubicBezTo>
                <a:cubicBezTo>
                  <a:pt x="29" y="405"/>
                  <a:pt x="29" y="405"/>
                  <a:pt x="29" y="405"/>
                </a:cubicBezTo>
                <a:cubicBezTo>
                  <a:pt x="30" y="406"/>
                  <a:pt x="30" y="406"/>
                  <a:pt x="30" y="406"/>
                </a:cubicBezTo>
                <a:cubicBezTo>
                  <a:pt x="33" y="406"/>
                  <a:pt x="33" y="406"/>
                  <a:pt x="33" y="406"/>
                </a:cubicBezTo>
                <a:cubicBezTo>
                  <a:pt x="32" y="407"/>
                  <a:pt x="32" y="407"/>
                  <a:pt x="32" y="407"/>
                </a:cubicBezTo>
                <a:cubicBezTo>
                  <a:pt x="30" y="407"/>
                  <a:pt x="30" y="407"/>
                  <a:pt x="30" y="407"/>
                </a:cubicBezTo>
                <a:cubicBezTo>
                  <a:pt x="29" y="408"/>
                  <a:pt x="29" y="408"/>
                  <a:pt x="29" y="408"/>
                </a:cubicBezTo>
                <a:cubicBezTo>
                  <a:pt x="30" y="409"/>
                  <a:pt x="30" y="409"/>
                  <a:pt x="30" y="409"/>
                </a:cubicBezTo>
                <a:cubicBezTo>
                  <a:pt x="29" y="410"/>
                  <a:pt x="29" y="410"/>
                  <a:pt x="29" y="410"/>
                </a:cubicBezTo>
                <a:cubicBezTo>
                  <a:pt x="30" y="411"/>
                  <a:pt x="30" y="411"/>
                  <a:pt x="30" y="411"/>
                </a:cubicBezTo>
                <a:cubicBezTo>
                  <a:pt x="31" y="410"/>
                  <a:pt x="31" y="410"/>
                  <a:pt x="31" y="410"/>
                </a:cubicBezTo>
                <a:cubicBezTo>
                  <a:pt x="31" y="411"/>
                  <a:pt x="31" y="411"/>
                  <a:pt x="31" y="411"/>
                </a:cubicBezTo>
                <a:cubicBezTo>
                  <a:pt x="33" y="411"/>
                  <a:pt x="33" y="411"/>
                  <a:pt x="33" y="411"/>
                </a:cubicBezTo>
                <a:cubicBezTo>
                  <a:pt x="33" y="413"/>
                  <a:pt x="33" y="413"/>
                  <a:pt x="33" y="413"/>
                </a:cubicBezTo>
                <a:cubicBezTo>
                  <a:pt x="34" y="413"/>
                  <a:pt x="34" y="413"/>
                  <a:pt x="34" y="413"/>
                </a:cubicBezTo>
                <a:cubicBezTo>
                  <a:pt x="35" y="413"/>
                  <a:pt x="35" y="413"/>
                  <a:pt x="35" y="413"/>
                </a:cubicBezTo>
                <a:cubicBezTo>
                  <a:pt x="34" y="415"/>
                  <a:pt x="34" y="415"/>
                  <a:pt x="34" y="415"/>
                </a:cubicBezTo>
                <a:cubicBezTo>
                  <a:pt x="34" y="416"/>
                  <a:pt x="34" y="416"/>
                  <a:pt x="34" y="416"/>
                </a:cubicBezTo>
                <a:cubicBezTo>
                  <a:pt x="35" y="416"/>
                  <a:pt x="35" y="416"/>
                  <a:pt x="35" y="416"/>
                </a:cubicBezTo>
                <a:cubicBezTo>
                  <a:pt x="35" y="415"/>
                  <a:pt x="35" y="415"/>
                  <a:pt x="35" y="415"/>
                </a:cubicBezTo>
                <a:cubicBezTo>
                  <a:pt x="37" y="414"/>
                  <a:pt x="37" y="414"/>
                  <a:pt x="37" y="414"/>
                </a:cubicBezTo>
                <a:cubicBezTo>
                  <a:pt x="37" y="416"/>
                  <a:pt x="37" y="416"/>
                  <a:pt x="37" y="416"/>
                </a:cubicBezTo>
                <a:cubicBezTo>
                  <a:pt x="36" y="417"/>
                  <a:pt x="36" y="417"/>
                  <a:pt x="36" y="417"/>
                </a:cubicBezTo>
                <a:cubicBezTo>
                  <a:pt x="36" y="418"/>
                  <a:pt x="36" y="418"/>
                  <a:pt x="36" y="418"/>
                </a:cubicBezTo>
                <a:cubicBezTo>
                  <a:pt x="36" y="418"/>
                  <a:pt x="36" y="418"/>
                  <a:pt x="36" y="418"/>
                </a:cubicBezTo>
                <a:cubicBezTo>
                  <a:pt x="37" y="419"/>
                  <a:pt x="37" y="419"/>
                  <a:pt x="37" y="419"/>
                </a:cubicBezTo>
                <a:cubicBezTo>
                  <a:pt x="39" y="419"/>
                  <a:pt x="39" y="419"/>
                  <a:pt x="39" y="419"/>
                </a:cubicBezTo>
                <a:cubicBezTo>
                  <a:pt x="39" y="420"/>
                  <a:pt x="39" y="420"/>
                  <a:pt x="39" y="420"/>
                </a:cubicBezTo>
                <a:cubicBezTo>
                  <a:pt x="40" y="420"/>
                  <a:pt x="40" y="420"/>
                  <a:pt x="40" y="420"/>
                </a:cubicBezTo>
                <a:cubicBezTo>
                  <a:pt x="40" y="421"/>
                  <a:pt x="40" y="421"/>
                  <a:pt x="40" y="421"/>
                </a:cubicBezTo>
                <a:cubicBezTo>
                  <a:pt x="40" y="422"/>
                  <a:pt x="40" y="422"/>
                  <a:pt x="40" y="422"/>
                </a:cubicBezTo>
                <a:cubicBezTo>
                  <a:pt x="41" y="424"/>
                  <a:pt x="41" y="424"/>
                  <a:pt x="41" y="424"/>
                </a:cubicBezTo>
                <a:cubicBezTo>
                  <a:pt x="42" y="423"/>
                  <a:pt x="42" y="423"/>
                  <a:pt x="42" y="423"/>
                </a:cubicBezTo>
                <a:cubicBezTo>
                  <a:pt x="43" y="423"/>
                  <a:pt x="43" y="423"/>
                  <a:pt x="43" y="423"/>
                </a:cubicBezTo>
                <a:cubicBezTo>
                  <a:pt x="44" y="423"/>
                  <a:pt x="44" y="423"/>
                  <a:pt x="44" y="423"/>
                </a:cubicBezTo>
                <a:cubicBezTo>
                  <a:pt x="42" y="425"/>
                  <a:pt x="42" y="425"/>
                  <a:pt x="42" y="425"/>
                </a:cubicBezTo>
                <a:cubicBezTo>
                  <a:pt x="44" y="428"/>
                  <a:pt x="44" y="428"/>
                  <a:pt x="44" y="428"/>
                </a:cubicBezTo>
                <a:cubicBezTo>
                  <a:pt x="45" y="428"/>
                  <a:pt x="45" y="428"/>
                  <a:pt x="45" y="428"/>
                </a:cubicBezTo>
                <a:cubicBezTo>
                  <a:pt x="46" y="429"/>
                  <a:pt x="46" y="429"/>
                  <a:pt x="46" y="429"/>
                </a:cubicBezTo>
                <a:cubicBezTo>
                  <a:pt x="49" y="431"/>
                  <a:pt x="49" y="431"/>
                  <a:pt x="49" y="431"/>
                </a:cubicBezTo>
                <a:cubicBezTo>
                  <a:pt x="50" y="431"/>
                  <a:pt x="50" y="431"/>
                  <a:pt x="50" y="431"/>
                </a:cubicBezTo>
                <a:cubicBezTo>
                  <a:pt x="51" y="431"/>
                  <a:pt x="51" y="431"/>
                  <a:pt x="51" y="431"/>
                </a:cubicBezTo>
                <a:cubicBezTo>
                  <a:pt x="50" y="427"/>
                  <a:pt x="50" y="427"/>
                  <a:pt x="50" y="427"/>
                </a:cubicBezTo>
                <a:cubicBezTo>
                  <a:pt x="51" y="426"/>
                  <a:pt x="51" y="426"/>
                  <a:pt x="51" y="426"/>
                </a:cubicBezTo>
                <a:cubicBezTo>
                  <a:pt x="50" y="425"/>
                  <a:pt x="50" y="425"/>
                  <a:pt x="50" y="425"/>
                </a:cubicBezTo>
                <a:cubicBezTo>
                  <a:pt x="50" y="422"/>
                  <a:pt x="50" y="422"/>
                  <a:pt x="50" y="422"/>
                </a:cubicBezTo>
                <a:cubicBezTo>
                  <a:pt x="49" y="421"/>
                  <a:pt x="49" y="421"/>
                  <a:pt x="49" y="421"/>
                </a:cubicBezTo>
                <a:cubicBezTo>
                  <a:pt x="47" y="419"/>
                  <a:pt x="47" y="419"/>
                  <a:pt x="47" y="419"/>
                </a:cubicBezTo>
                <a:cubicBezTo>
                  <a:pt x="46" y="415"/>
                  <a:pt x="46" y="415"/>
                  <a:pt x="46" y="415"/>
                </a:cubicBezTo>
                <a:cubicBezTo>
                  <a:pt x="45" y="413"/>
                  <a:pt x="45" y="413"/>
                  <a:pt x="45" y="413"/>
                </a:cubicBezTo>
                <a:cubicBezTo>
                  <a:pt x="45" y="411"/>
                  <a:pt x="45" y="411"/>
                  <a:pt x="45" y="411"/>
                </a:cubicBezTo>
                <a:cubicBezTo>
                  <a:pt x="44" y="410"/>
                  <a:pt x="44" y="410"/>
                  <a:pt x="44" y="410"/>
                </a:cubicBezTo>
                <a:cubicBezTo>
                  <a:pt x="43" y="410"/>
                  <a:pt x="43" y="410"/>
                  <a:pt x="43" y="410"/>
                </a:cubicBezTo>
                <a:cubicBezTo>
                  <a:pt x="41" y="409"/>
                  <a:pt x="41" y="409"/>
                  <a:pt x="41" y="409"/>
                </a:cubicBezTo>
                <a:cubicBezTo>
                  <a:pt x="39" y="409"/>
                  <a:pt x="39" y="409"/>
                  <a:pt x="39" y="409"/>
                </a:cubicBezTo>
                <a:cubicBezTo>
                  <a:pt x="38" y="408"/>
                  <a:pt x="38" y="408"/>
                  <a:pt x="38" y="408"/>
                </a:cubicBezTo>
                <a:cubicBezTo>
                  <a:pt x="37" y="407"/>
                  <a:pt x="37" y="407"/>
                  <a:pt x="37" y="407"/>
                </a:cubicBezTo>
                <a:cubicBezTo>
                  <a:pt x="35" y="406"/>
                  <a:pt x="35" y="406"/>
                  <a:pt x="35" y="406"/>
                </a:cubicBezTo>
                <a:cubicBezTo>
                  <a:pt x="34" y="405"/>
                  <a:pt x="34" y="405"/>
                  <a:pt x="34" y="405"/>
                </a:cubicBezTo>
                <a:cubicBezTo>
                  <a:pt x="34" y="404"/>
                  <a:pt x="34" y="404"/>
                  <a:pt x="34" y="404"/>
                </a:cubicBezTo>
                <a:cubicBezTo>
                  <a:pt x="33" y="404"/>
                  <a:pt x="33" y="404"/>
                  <a:pt x="33" y="404"/>
                </a:cubicBezTo>
                <a:cubicBezTo>
                  <a:pt x="32" y="403"/>
                  <a:pt x="32" y="403"/>
                  <a:pt x="32" y="403"/>
                </a:cubicBezTo>
                <a:cubicBezTo>
                  <a:pt x="31" y="402"/>
                  <a:pt x="31" y="402"/>
                  <a:pt x="31" y="402"/>
                </a:cubicBezTo>
                <a:cubicBezTo>
                  <a:pt x="30" y="403"/>
                  <a:pt x="30" y="403"/>
                  <a:pt x="30" y="403"/>
                </a:cubicBezTo>
                <a:cubicBezTo>
                  <a:pt x="28" y="403"/>
                  <a:pt x="28" y="403"/>
                  <a:pt x="28" y="403"/>
                </a:cubicBezTo>
                <a:close/>
                <a:moveTo>
                  <a:pt x="40" y="405"/>
                </a:moveTo>
                <a:cubicBezTo>
                  <a:pt x="41" y="405"/>
                  <a:pt x="41" y="405"/>
                  <a:pt x="41" y="405"/>
                </a:cubicBezTo>
                <a:cubicBezTo>
                  <a:pt x="41" y="405"/>
                  <a:pt x="41" y="405"/>
                  <a:pt x="41" y="405"/>
                </a:cubicBezTo>
                <a:cubicBezTo>
                  <a:pt x="42" y="405"/>
                  <a:pt x="42" y="405"/>
                  <a:pt x="42" y="405"/>
                </a:cubicBezTo>
                <a:cubicBezTo>
                  <a:pt x="41" y="406"/>
                  <a:pt x="41" y="406"/>
                  <a:pt x="41" y="406"/>
                </a:cubicBezTo>
                <a:cubicBezTo>
                  <a:pt x="40" y="406"/>
                  <a:pt x="40" y="406"/>
                  <a:pt x="40" y="406"/>
                </a:cubicBezTo>
                <a:cubicBezTo>
                  <a:pt x="40" y="405"/>
                  <a:pt x="40" y="405"/>
                  <a:pt x="40" y="405"/>
                </a:cubicBezTo>
                <a:close/>
                <a:moveTo>
                  <a:pt x="39" y="404"/>
                </a:moveTo>
                <a:cubicBezTo>
                  <a:pt x="39" y="404"/>
                  <a:pt x="39" y="404"/>
                  <a:pt x="39" y="404"/>
                </a:cubicBezTo>
                <a:cubicBezTo>
                  <a:pt x="40" y="405"/>
                  <a:pt x="40" y="405"/>
                  <a:pt x="40" y="405"/>
                </a:cubicBezTo>
                <a:cubicBezTo>
                  <a:pt x="39" y="404"/>
                  <a:pt x="39" y="404"/>
                  <a:pt x="39" y="404"/>
                </a:cubicBezTo>
                <a:close/>
                <a:moveTo>
                  <a:pt x="31" y="377"/>
                </a:moveTo>
                <a:cubicBezTo>
                  <a:pt x="31" y="378"/>
                  <a:pt x="31" y="378"/>
                  <a:pt x="31" y="378"/>
                </a:cubicBezTo>
                <a:cubicBezTo>
                  <a:pt x="32" y="378"/>
                  <a:pt x="32" y="378"/>
                  <a:pt x="32" y="378"/>
                </a:cubicBezTo>
                <a:cubicBezTo>
                  <a:pt x="31" y="377"/>
                  <a:pt x="31" y="377"/>
                  <a:pt x="31" y="377"/>
                </a:cubicBezTo>
                <a:close/>
                <a:moveTo>
                  <a:pt x="35" y="390"/>
                </a:moveTo>
                <a:cubicBezTo>
                  <a:pt x="35" y="389"/>
                  <a:pt x="35" y="389"/>
                  <a:pt x="35" y="389"/>
                </a:cubicBezTo>
                <a:cubicBezTo>
                  <a:pt x="35" y="388"/>
                  <a:pt x="35" y="388"/>
                  <a:pt x="35" y="388"/>
                </a:cubicBezTo>
                <a:cubicBezTo>
                  <a:pt x="36" y="389"/>
                  <a:pt x="36" y="389"/>
                  <a:pt x="36" y="389"/>
                </a:cubicBezTo>
                <a:cubicBezTo>
                  <a:pt x="35" y="390"/>
                  <a:pt x="35" y="390"/>
                  <a:pt x="35" y="390"/>
                </a:cubicBezTo>
                <a:cubicBezTo>
                  <a:pt x="35" y="390"/>
                  <a:pt x="35" y="390"/>
                  <a:pt x="35" y="390"/>
                </a:cubicBezTo>
                <a:close/>
                <a:moveTo>
                  <a:pt x="34" y="394"/>
                </a:moveTo>
                <a:cubicBezTo>
                  <a:pt x="34" y="395"/>
                  <a:pt x="34" y="395"/>
                  <a:pt x="34" y="395"/>
                </a:cubicBezTo>
                <a:cubicBezTo>
                  <a:pt x="34" y="396"/>
                  <a:pt x="34" y="396"/>
                  <a:pt x="34" y="396"/>
                </a:cubicBezTo>
                <a:cubicBezTo>
                  <a:pt x="34" y="396"/>
                  <a:pt x="34" y="396"/>
                  <a:pt x="34" y="396"/>
                </a:cubicBezTo>
                <a:cubicBezTo>
                  <a:pt x="35" y="395"/>
                  <a:pt x="35" y="395"/>
                  <a:pt x="35" y="395"/>
                </a:cubicBezTo>
                <a:cubicBezTo>
                  <a:pt x="34" y="394"/>
                  <a:pt x="34" y="394"/>
                  <a:pt x="34" y="394"/>
                </a:cubicBezTo>
                <a:close/>
                <a:moveTo>
                  <a:pt x="35" y="392"/>
                </a:moveTo>
                <a:cubicBezTo>
                  <a:pt x="36" y="391"/>
                  <a:pt x="36" y="391"/>
                  <a:pt x="36" y="391"/>
                </a:cubicBezTo>
                <a:cubicBezTo>
                  <a:pt x="36" y="390"/>
                  <a:pt x="36" y="390"/>
                  <a:pt x="36" y="390"/>
                </a:cubicBezTo>
                <a:cubicBezTo>
                  <a:pt x="34" y="391"/>
                  <a:pt x="34" y="391"/>
                  <a:pt x="34" y="391"/>
                </a:cubicBezTo>
                <a:cubicBezTo>
                  <a:pt x="34" y="392"/>
                  <a:pt x="34" y="392"/>
                  <a:pt x="34" y="392"/>
                </a:cubicBezTo>
                <a:cubicBezTo>
                  <a:pt x="35" y="392"/>
                  <a:pt x="35" y="392"/>
                  <a:pt x="35" y="392"/>
                </a:cubicBezTo>
                <a:cubicBezTo>
                  <a:pt x="35" y="392"/>
                  <a:pt x="35" y="392"/>
                  <a:pt x="35" y="392"/>
                </a:cubicBezTo>
                <a:close/>
                <a:moveTo>
                  <a:pt x="37" y="391"/>
                </a:moveTo>
                <a:cubicBezTo>
                  <a:pt x="38" y="389"/>
                  <a:pt x="38" y="389"/>
                  <a:pt x="38" y="389"/>
                </a:cubicBezTo>
                <a:cubicBezTo>
                  <a:pt x="39" y="389"/>
                  <a:pt x="39" y="389"/>
                  <a:pt x="39" y="389"/>
                </a:cubicBezTo>
                <a:cubicBezTo>
                  <a:pt x="40" y="388"/>
                  <a:pt x="40" y="388"/>
                  <a:pt x="40" y="388"/>
                </a:cubicBezTo>
                <a:cubicBezTo>
                  <a:pt x="42" y="387"/>
                  <a:pt x="42" y="387"/>
                  <a:pt x="42" y="387"/>
                </a:cubicBezTo>
                <a:cubicBezTo>
                  <a:pt x="42" y="388"/>
                  <a:pt x="42" y="388"/>
                  <a:pt x="42" y="388"/>
                </a:cubicBezTo>
                <a:cubicBezTo>
                  <a:pt x="40" y="389"/>
                  <a:pt x="40" y="389"/>
                  <a:pt x="40" y="389"/>
                </a:cubicBezTo>
                <a:cubicBezTo>
                  <a:pt x="39" y="390"/>
                  <a:pt x="39" y="390"/>
                  <a:pt x="39" y="390"/>
                </a:cubicBezTo>
                <a:cubicBezTo>
                  <a:pt x="37" y="391"/>
                  <a:pt x="37" y="391"/>
                  <a:pt x="37" y="391"/>
                </a:cubicBezTo>
                <a:cubicBezTo>
                  <a:pt x="37" y="391"/>
                  <a:pt x="37" y="391"/>
                  <a:pt x="37" y="391"/>
                </a:cubicBezTo>
                <a:close/>
                <a:moveTo>
                  <a:pt x="36" y="384"/>
                </a:moveTo>
                <a:cubicBezTo>
                  <a:pt x="36" y="383"/>
                  <a:pt x="36" y="383"/>
                  <a:pt x="36" y="383"/>
                </a:cubicBezTo>
                <a:cubicBezTo>
                  <a:pt x="36" y="382"/>
                  <a:pt x="36" y="382"/>
                  <a:pt x="36" y="382"/>
                </a:cubicBezTo>
                <a:cubicBezTo>
                  <a:pt x="37" y="383"/>
                  <a:pt x="37" y="383"/>
                  <a:pt x="37" y="383"/>
                </a:cubicBezTo>
                <a:cubicBezTo>
                  <a:pt x="36" y="383"/>
                  <a:pt x="36" y="383"/>
                  <a:pt x="36" y="383"/>
                </a:cubicBezTo>
                <a:cubicBezTo>
                  <a:pt x="36" y="384"/>
                  <a:pt x="36" y="384"/>
                  <a:pt x="36" y="384"/>
                </a:cubicBezTo>
                <a:cubicBezTo>
                  <a:pt x="36" y="384"/>
                  <a:pt x="36" y="384"/>
                  <a:pt x="36" y="384"/>
                </a:cubicBezTo>
                <a:close/>
                <a:moveTo>
                  <a:pt x="33" y="384"/>
                </a:moveTo>
                <a:cubicBezTo>
                  <a:pt x="34" y="385"/>
                  <a:pt x="34" y="385"/>
                  <a:pt x="34" y="385"/>
                </a:cubicBezTo>
                <a:cubicBezTo>
                  <a:pt x="35" y="384"/>
                  <a:pt x="35" y="384"/>
                  <a:pt x="35" y="384"/>
                </a:cubicBezTo>
                <a:cubicBezTo>
                  <a:pt x="35" y="383"/>
                  <a:pt x="35" y="383"/>
                  <a:pt x="35" y="383"/>
                </a:cubicBezTo>
                <a:cubicBezTo>
                  <a:pt x="33" y="384"/>
                  <a:pt x="33" y="384"/>
                  <a:pt x="33" y="384"/>
                </a:cubicBezTo>
                <a:close/>
                <a:moveTo>
                  <a:pt x="31" y="380"/>
                </a:moveTo>
                <a:cubicBezTo>
                  <a:pt x="31" y="382"/>
                  <a:pt x="31" y="382"/>
                  <a:pt x="31" y="382"/>
                </a:cubicBezTo>
                <a:cubicBezTo>
                  <a:pt x="32" y="383"/>
                  <a:pt x="32" y="383"/>
                  <a:pt x="32" y="383"/>
                </a:cubicBezTo>
                <a:cubicBezTo>
                  <a:pt x="32" y="384"/>
                  <a:pt x="32" y="384"/>
                  <a:pt x="32" y="384"/>
                </a:cubicBezTo>
                <a:cubicBezTo>
                  <a:pt x="33" y="383"/>
                  <a:pt x="33" y="383"/>
                  <a:pt x="33" y="383"/>
                </a:cubicBezTo>
                <a:cubicBezTo>
                  <a:pt x="32" y="381"/>
                  <a:pt x="32" y="381"/>
                  <a:pt x="32" y="381"/>
                </a:cubicBezTo>
                <a:cubicBezTo>
                  <a:pt x="31" y="380"/>
                  <a:pt x="31" y="380"/>
                  <a:pt x="31" y="380"/>
                </a:cubicBezTo>
                <a:close/>
                <a:moveTo>
                  <a:pt x="32" y="379"/>
                </a:moveTo>
                <a:cubicBezTo>
                  <a:pt x="33" y="379"/>
                  <a:pt x="33" y="379"/>
                  <a:pt x="33" y="379"/>
                </a:cubicBezTo>
                <a:cubicBezTo>
                  <a:pt x="33" y="380"/>
                  <a:pt x="33" y="380"/>
                  <a:pt x="33" y="380"/>
                </a:cubicBezTo>
                <a:cubicBezTo>
                  <a:pt x="33" y="381"/>
                  <a:pt x="33" y="381"/>
                  <a:pt x="33" y="381"/>
                </a:cubicBezTo>
                <a:cubicBezTo>
                  <a:pt x="34" y="381"/>
                  <a:pt x="34" y="381"/>
                  <a:pt x="34" y="381"/>
                </a:cubicBezTo>
                <a:cubicBezTo>
                  <a:pt x="35" y="380"/>
                  <a:pt x="35" y="380"/>
                  <a:pt x="35" y="380"/>
                </a:cubicBezTo>
                <a:cubicBezTo>
                  <a:pt x="34" y="381"/>
                  <a:pt x="34" y="381"/>
                  <a:pt x="34" y="381"/>
                </a:cubicBezTo>
                <a:cubicBezTo>
                  <a:pt x="35" y="383"/>
                  <a:pt x="35" y="383"/>
                  <a:pt x="35" y="383"/>
                </a:cubicBezTo>
                <a:cubicBezTo>
                  <a:pt x="36" y="381"/>
                  <a:pt x="36" y="381"/>
                  <a:pt x="36" y="381"/>
                </a:cubicBezTo>
                <a:cubicBezTo>
                  <a:pt x="36" y="378"/>
                  <a:pt x="36" y="378"/>
                  <a:pt x="36" y="378"/>
                </a:cubicBezTo>
                <a:cubicBezTo>
                  <a:pt x="35" y="377"/>
                  <a:pt x="35" y="377"/>
                  <a:pt x="35" y="377"/>
                </a:cubicBezTo>
                <a:cubicBezTo>
                  <a:pt x="33" y="378"/>
                  <a:pt x="33" y="378"/>
                  <a:pt x="33" y="378"/>
                </a:cubicBezTo>
                <a:cubicBezTo>
                  <a:pt x="32" y="379"/>
                  <a:pt x="32" y="379"/>
                  <a:pt x="32" y="379"/>
                </a:cubicBezTo>
                <a:close/>
                <a:moveTo>
                  <a:pt x="32" y="376"/>
                </a:moveTo>
                <a:cubicBezTo>
                  <a:pt x="33" y="377"/>
                  <a:pt x="33" y="377"/>
                  <a:pt x="33" y="377"/>
                </a:cubicBezTo>
                <a:cubicBezTo>
                  <a:pt x="33" y="376"/>
                  <a:pt x="33" y="376"/>
                  <a:pt x="33" y="376"/>
                </a:cubicBezTo>
                <a:cubicBezTo>
                  <a:pt x="33" y="376"/>
                  <a:pt x="33" y="376"/>
                  <a:pt x="33" y="376"/>
                </a:cubicBezTo>
                <a:cubicBezTo>
                  <a:pt x="32" y="376"/>
                  <a:pt x="32" y="376"/>
                  <a:pt x="32" y="376"/>
                </a:cubicBezTo>
                <a:close/>
                <a:moveTo>
                  <a:pt x="35" y="374"/>
                </a:moveTo>
                <a:cubicBezTo>
                  <a:pt x="35" y="373"/>
                  <a:pt x="35" y="373"/>
                  <a:pt x="35" y="373"/>
                </a:cubicBezTo>
                <a:cubicBezTo>
                  <a:pt x="36" y="372"/>
                  <a:pt x="36" y="372"/>
                  <a:pt x="36" y="372"/>
                </a:cubicBezTo>
                <a:cubicBezTo>
                  <a:pt x="37" y="372"/>
                  <a:pt x="37" y="372"/>
                  <a:pt x="37" y="372"/>
                </a:cubicBezTo>
                <a:cubicBezTo>
                  <a:pt x="37" y="373"/>
                  <a:pt x="37" y="373"/>
                  <a:pt x="37" y="373"/>
                </a:cubicBezTo>
                <a:cubicBezTo>
                  <a:pt x="35" y="374"/>
                  <a:pt x="35" y="374"/>
                  <a:pt x="35" y="374"/>
                </a:cubicBezTo>
                <a:cubicBezTo>
                  <a:pt x="35" y="374"/>
                  <a:pt x="35" y="374"/>
                  <a:pt x="35" y="374"/>
                </a:cubicBezTo>
                <a:close/>
                <a:moveTo>
                  <a:pt x="27" y="371"/>
                </a:moveTo>
                <a:cubicBezTo>
                  <a:pt x="30" y="374"/>
                  <a:pt x="30" y="374"/>
                  <a:pt x="30" y="374"/>
                </a:cubicBezTo>
                <a:cubicBezTo>
                  <a:pt x="30" y="375"/>
                  <a:pt x="30" y="375"/>
                  <a:pt x="30" y="375"/>
                </a:cubicBezTo>
                <a:cubicBezTo>
                  <a:pt x="30" y="376"/>
                  <a:pt x="30" y="376"/>
                  <a:pt x="30" y="376"/>
                </a:cubicBezTo>
                <a:cubicBezTo>
                  <a:pt x="29" y="376"/>
                  <a:pt x="29" y="376"/>
                  <a:pt x="29" y="376"/>
                </a:cubicBezTo>
                <a:cubicBezTo>
                  <a:pt x="29" y="375"/>
                  <a:pt x="29" y="375"/>
                  <a:pt x="29" y="375"/>
                </a:cubicBezTo>
                <a:cubicBezTo>
                  <a:pt x="27" y="373"/>
                  <a:pt x="27" y="373"/>
                  <a:pt x="27" y="373"/>
                </a:cubicBezTo>
                <a:cubicBezTo>
                  <a:pt x="27" y="371"/>
                  <a:pt x="27" y="371"/>
                  <a:pt x="27" y="371"/>
                </a:cubicBezTo>
                <a:cubicBezTo>
                  <a:pt x="27" y="371"/>
                  <a:pt x="27" y="370"/>
                  <a:pt x="27" y="371"/>
                </a:cubicBezTo>
                <a:close/>
                <a:moveTo>
                  <a:pt x="29" y="369"/>
                </a:moveTo>
                <a:cubicBezTo>
                  <a:pt x="30" y="371"/>
                  <a:pt x="30" y="371"/>
                  <a:pt x="30" y="371"/>
                </a:cubicBezTo>
                <a:cubicBezTo>
                  <a:pt x="30" y="372"/>
                  <a:pt x="30" y="372"/>
                  <a:pt x="30" y="372"/>
                </a:cubicBezTo>
                <a:cubicBezTo>
                  <a:pt x="31" y="374"/>
                  <a:pt x="31" y="374"/>
                  <a:pt x="31" y="374"/>
                </a:cubicBezTo>
                <a:cubicBezTo>
                  <a:pt x="32" y="375"/>
                  <a:pt x="32" y="375"/>
                  <a:pt x="32" y="375"/>
                </a:cubicBezTo>
                <a:cubicBezTo>
                  <a:pt x="32" y="373"/>
                  <a:pt x="32" y="373"/>
                  <a:pt x="32" y="373"/>
                </a:cubicBezTo>
                <a:cubicBezTo>
                  <a:pt x="31" y="371"/>
                  <a:pt x="31" y="371"/>
                  <a:pt x="31" y="371"/>
                </a:cubicBezTo>
                <a:cubicBezTo>
                  <a:pt x="30" y="369"/>
                  <a:pt x="30" y="369"/>
                  <a:pt x="30" y="369"/>
                </a:cubicBezTo>
                <a:cubicBezTo>
                  <a:pt x="30" y="369"/>
                  <a:pt x="30" y="369"/>
                  <a:pt x="30" y="369"/>
                </a:cubicBezTo>
                <a:cubicBezTo>
                  <a:pt x="29" y="369"/>
                  <a:pt x="29" y="369"/>
                  <a:pt x="29" y="369"/>
                </a:cubicBezTo>
                <a:close/>
                <a:moveTo>
                  <a:pt x="27" y="368"/>
                </a:moveTo>
                <a:cubicBezTo>
                  <a:pt x="29" y="368"/>
                  <a:pt x="29" y="368"/>
                  <a:pt x="29" y="368"/>
                </a:cubicBezTo>
                <a:cubicBezTo>
                  <a:pt x="29" y="368"/>
                  <a:pt x="29" y="368"/>
                  <a:pt x="29" y="368"/>
                </a:cubicBezTo>
                <a:cubicBezTo>
                  <a:pt x="30" y="368"/>
                  <a:pt x="30" y="368"/>
                  <a:pt x="30" y="368"/>
                </a:cubicBezTo>
                <a:cubicBezTo>
                  <a:pt x="31" y="367"/>
                  <a:pt x="31" y="367"/>
                  <a:pt x="31" y="367"/>
                </a:cubicBezTo>
                <a:cubicBezTo>
                  <a:pt x="29" y="366"/>
                  <a:pt x="29" y="366"/>
                  <a:pt x="29" y="366"/>
                </a:cubicBezTo>
                <a:cubicBezTo>
                  <a:pt x="28" y="367"/>
                  <a:pt x="28" y="367"/>
                  <a:pt x="28" y="367"/>
                </a:cubicBezTo>
                <a:cubicBezTo>
                  <a:pt x="27" y="368"/>
                  <a:pt x="27" y="368"/>
                  <a:pt x="27" y="368"/>
                </a:cubicBezTo>
                <a:close/>
                <a:moveTo>
                  <a:pt x="14" y="368"/>
                </a:moveTo>
                <a:cubicBezTo>
                  <a:pt x="14" y="366"/>
                  <a:pt x="14" y="366"/>
                  <a:pt x="14" y="366"/>
                </a:cubicBezTo>
                <a:cubicBezTo>
                  <a:pt x="16" y="363"/>
                  <a:pt x="16" y="363"/>
                  <a:pt x="16" y="363"/>
                </a:cubicBezTo>
                <a:cubicBezTo>
                  <a:pt x="18" y="363"/>
                  <a:pt x="18" y="363"/>
                  <a:pt x="18" y="363"/>
                </a:cubicBezTo>
                <a:cubicBezTo>
                  <a:pt x="17" y="365"/>
                  <a:pt x="17" y="365"/>
                  <a:pt x="17" y="365"/>
                </a:cubicBezTo>
                <a:cubicBezTo>
                  <a:pt x="18" y="365"/>
                  <a:pt x="18" y="365"/>
                  <a:pt x="18" y="365"/>
                </a:cubicBezTo>
                <a:cubicBezTo>
                  <a:pt x="19" y="364"/>
                  <a:pt x="19" y="364"/>
                  <a:pt x="19" y="364"/>
                </a:cubicBezTo>
                <a:cubicBezTo>
                  <a:pt x="20" y="364"/>
                  <a:pt x="20" y="364"/>
                  <a:pt x="20" y="364"/>
                </a:cubicBezTo>
                <a:cubicBezTo>
                  <a:pt x="20" y="365"/>
                  <a:pt x="20" y="365"/>
                  <a:pt x="20" y="365"/>
                </a:cubicBezTo>
                <a:cubicBezTo>
                  <a:pt x="20" y="367"/>
                  <a:pt x="20" y="367"/>
                  <a:pt x="20" y="367"/>
                </a:cubicBezTo>
                <a:cubicBezTo>
                  <a:pt x="18" y="368"/>
                  <a:pt x="18" y="368"/>
                  <a:pt x="18" y="368"/>
                </a:cubicBezTo>
                <a:cubicBezTo>
                  <a:pt x="16" y="369"/>
                  <a:pt x="16" y="369"/>
                  <a:pt x="16" y="369"/>
                </a:cubicBezTo>
                <a:cubicBezTo>
                  <a:pt x="17" y="369"/>
                  <a:pt x="17" y="369"/>
                  <a:pt x="17" y="369"/>
                </a:cubicBezTo>
                <a:cubicBezTo>
                  <a:pt x="17" y="370"/>
                  <a:pt x="17" y="370"/>
                  <a:pt x="17" y="370"/>
                </a:cubicBezTo>
                <a:cubicBezTo>
                  <a:pt x="18" y="369"/>
                  <a:pt x="18" y="369"/>
                  <a:pt x="18" y="369"/>
                </a:cubicBezTo>
                <a:cubicBezTo>
                  <a:pt x="19" y="368"/>
                  <a:pt x="19" y="368"/>
                  <a:pt x="19" y="368"/>
                </a:cubicBezTo>
                <a:cubicBezTo>
                  <a:pt x="21" y="366"/>
                  <a:pt x="21" y="366"/>
                  <a:pt x="21" y="366"/>
                </a:cubicBezTo>
                <a:cubicBezTo>
                  <a:pt x="23" y="365"/>
                  <a:pt x="23" y="365"/>
                  <a:pt x="23" y="365"/>
                </a:cubicBezTo>
                <a:cubicBezTo>
                  <a:pt x="23" y="365"/>
                  <a:pt x="23" y="365"/>
                  <a:pt x="23" y="365"/>
                </a:cubicBezTo>
                <a:cubicBezTo>
                  <a:pt x="21" y="367"/>
                  <a:pt x="21" y="367"/>
                  <a:pt x="21" y="367"/>
                </a:cubicBezTo>
                <a:cubicBezTo>
                  <a:pt x="21" y="369"/>
                  <a:pt x="21" y="369"/>
                  <a:pt x="21" y="369"/>
                </a:cubicBezTo>
                <a:cubicBezTo>
                  <a:pt x="19" y="371"/>
                  <a:pt x="19" y="371"/>
                  <a:pt x="19" y="371"/>
                </a:cubicBezTo>
                <a:cubicBezTo>
                  <a:pt x="19" y="373"/>
                  <a:pt x="19" y="373"/>
                  <a:pt x="19" y="373"/>
                </a:cubicBezTo>
                <a:cubicBezTo>
                  <a:pt x="18" y="374"/>
                  <a:pt x="18" y="374"/>
                  <a:pt x="18" y="374"/>
                </a:cubicBezTo>
                <a:cubicBezTo>
                  <a:pt x="17" y="374"/>
                  <a:pt x="17" y="374"/>
                  <a:pt x="17" y="374"/>
                </a:cubicBezTo>
                <a:cubicBezTo>
                  <a:pt x="16" y="375"/>
                  <a:pt x="16" y="375"/>
                  <a:pt x="16" y="375"/>
                </a:cubicBezTo>
                <a:cubicBezTo>
                  <a:pt x="17" y="375"/>
                  <a:pt x="17" y="375"/>
                  <a:pt x="17" y="375"/>
                </a:cubicBezTo>
                <a:cubicBezTo>
                  <a:pt x="18" y="375"/>
                  <a:pt x="18" y="375"/>
                  <a:pt x="18" y="375"/>
                </a:cubicBezTo>
                <a:cubicBezTo>
                  <a:pt x="19" y="375"/>
                  <a:pt x="19" y="375"/>
                  <a:pt x="19" y="375"/>
                </a:cubicBezTo>
                <a:cubicBezTo>
                  <a:pt x="19" y="376"/>
                  <a:pt x="19" y="376"/>
                  <a:pt x="19" y="376"/>
                </a:cubicBezTo>
                <a:cubicBezTo>
                  <a:pt x="18" y="376"/>
                  <a:pt x="18" y="376"/>
                  <a:pt x="18" y="376"/>
                </a:cubicBezTo>
                <a:cubicBezTo>
                  <a:pt x="17" y="378"/>
                  <a:pt x="17" y="378"/>
                  <a:pt x="17" y="378"/>
                </a:cubicBezTo>
                <a:cubicBezTo>
                  <a:pt x="17" y="379"/>
                  <a:pt x="17" y="379"/>
                  <a:pt x="17" y="379"/>
                </a:cubicBezTo>
                <a:cubicBezTo>
                  <a:pt x="17" y="381"/>
                  <a:pt x="17" y="381"/>
                  <a:pt x="17" y="381"/>
                </a:cubicBezTo>
                <a:cubicBezTo>
                  <a:pt x="18" y="383"/>
                  <a:pt x="18" y="383"/>
                  <a:pt x="18" y="383"/>
                </a:cubicBezTo>
                <a:cubicBezTo>
                  <a:pt x="18" y="385"/>
                  <a:pt x="18" y="385"/>
                  <a:pt x="18" y="385"/>
                </a:cubicBezTo>
                <a:cubicBezTo>
                  <a:pt x="19" y="384"/>
                  <a:pt x="19" y="384"/>
                  <a:pt x="19" y="384"/>
                </a:cubicBezTo>
                <a:cubicBezTo>
                  <a:pt x="19" y="385"/>
                  <a:pt x="19" y="385"/>
                  <a:pt x="19" y="385"/>
                </a:cubicBezTo>
                <a:cubicBezTo>
                  <a:pt x="19" y="386"/>
                  <a:pt x="19" y="386"/>
                  <a:pt x="19" y="386"/>
                </a:cubicBezTo>
                <a:cubicBezTo>
                  <a:pt x="17" y="386"/>
                  <a:pt x="17" y="386"/>
                  <a:pt x="17" y="386"/>
                </a:cubicBezTo>
                <a:cubicBezTo>
                  <a:pt x="15" y="382"/>
                  <a:pt x="15" y="382"/>
                  <a:pt x="15" y="382"/>
                </a:cubicBezTo>
                <a:cubicBezTo>
                  <a:pt x="15" y="380"/>
                  <a:pt x="15" y="380"/>
                  <a:pt x="15" y="380"/>
                </a:cubicBezTo>
                <a:cubicBezTo>
                  <a:pt x="15" y="379"/>
                  <a:pt x="15" y="379"/>
                  <a:pt x="15" y="379"/>
                </a:cubicBezTo>
                <a:cubicBezTo>
                  <a:pt x="14" y="379"/>
                  <a:pt x="14" y="379"/>
                  <a:pt x="14" y="379"/>
                </a:cubicBezTo>
                <a:cubicBezTo>
                  <a:pt x="14" y="378"/>
                  <a:pt x="14" y="378"/>
                  <a:pt x="14" y="378"/>
                </a:cubicBezTo>
                <a:cubicBezTo>
                  <a:pt x="14" y="377"/>
                  <a:pt x="14" y="377"/>
                  <a:pt x="14" y="377"/>
                </a:cubicBezTo>
                <a:cubicBezTo>
                  <a:pt x="16" y="377"/>
                  <a:pt x="16" y="377"/>
                  <a:pt x="16" y="377"/>
                </a:cubicBezTo>
                <a:cubicBezTo>
                  <a:pt x="14" y="376"/>
                  <a:pt x="14" y="376"/>
                  <a:pt x="14" y="376"/>
                </a:cubicBezTo>
                <a:cubicBezTo>
                  <a:pt x="14" y="376"/>
                  <a:pt x="14" y="376"/>
                  <a:pt x="14" y="376"/>
                </a:cubicBezTo>
                <a:cubicBezTo>
                  <a:pt x="14" y="374"/>
                  <a:pt x="14" y="374"/>
                  <a:pt x="14" y="374"/>
                </a:cubicBezTo>
                <a:cubicBezTo>
                  <a:pt x="13" y="373"/>
                  <a:pt x="13" y="373"/>
                  <a:pt x="13" y="373"/>
                </a:cubicBezTo>
                <a:cubicBezTo>
                  <a:pt x="14" y="372"/>
                  <a:pt x="14" y="372"/>
                  <a:pt x="14" y="372"/>
                </a:cubicBezTo>
                <a:cubicBezTo>
                  <a:pt x="15" y="373"/>
                  <a:pt x="15" y="373"/>
                  <a:pt x="15" y="373"/>
                </a:cubicBezTo>
                <a:cubicBezTo>
                  <a:pt x="15" y="373"/>
                  <a:pt x="15" y="373"/>
                  <a:pt x="15" y="373"/>
                </a:cubicBezTo>
                <a:cubicBezTo>
                  <a:pt x="15" y="372"/>
                  <a:pt x="15" y="372"/>
                  <a:pt x="15" y="372"/>
                </a:cubicBezTo>
                <a:cubicBezTo>
                  <a:pt x="14" y="371"/>
                  <a:pt x="14" y="371"/>
                  <a:pt x="14" y="371"/>
                </a:cubicBezTo>
                <a:cubicBezTo>
                  <a:pt x="13" y="371"/>
                  <a:pt x="13" y="371"/>
                  <a:pt x="13" y="371"/>
                </a:cubicBezTo>
                <a:cubicBezTo>
                  <a:pt x="13" y="370"/>
                  <a:pt x="13" y="370"/>
                  <a:pt x="13" y="370"/>
                </a:cubicBezTo>
                <a:cubicBezTo>
                  <a:pt x="14" y="368"/>
                  <a:pt x="14" y="368"/>
                  <a:pt x="14" y="368"/>
                </a:cubicBezTo>
                <a:close/>
                <a:moveTo>
                  <a:pt x="29" y="362"/>
                </a:moveTo>
                <a:cubicBezTo>
                  <a:pt x="29" y="361"/>
                  <a:pt x="29" y="361"/>
                  <a:pt x="29" y="361"/>
                </a:cubicBezTo>
                <a:cubicBezTo>
                  <a:pt x="30" y="360"/>
                  <a:pt x="30" y="360"/>
                  <a:pt x="30" y="360"/>
                </a:cubicBezTo>
                <a:cubicBezTo>
                  <a:pt x="30" y="361"/>
                  <a:pt x="30" y="361"/>
                  <a:pt x="30" y="361"/>
                </a:cubicBezTo>
                <a:cubicBezTo>
                  <a:pt x="29" y="362"/>
                  <a:pt x="29" y="362"/>
                  <a:pt x="29" y="362"/>
                </a:cubicBezTo>
                <a:close/>
                <a:moveTo>
                  <a:pt x="157" y="170"/>
                </a:moveTo>
                <a:cubicBezTo>
                  <a:pt x="158" y="171"/>
                  <a:pt x="158" y="171"/>
                  <a:pt x="158" y="171"/>
                </a:cubicBezTo>
                <a:cubicBezTo>
                  <a:pt x="158" y="171"/>
                  <a:pt x="158" y="171"/>
                  <a:pt x="158" y="171"/>
                </a:cubicBezTo>
                <a:cubicBezTo>
                  <a:pt x="158" y="170"/>
                  <a:pt x="158" y="170"/>
                  <a:pt x="158" y="170"/>
                </a:cubicBezTo>
                <a:cubicBezTo>
                  <a:pt x="159" y="170"/>
                  <a:pt x="159" y="170"/>
                  <a:pt x="159" y="170"/>
                </a:cubicBezTo>
                <a:cubicBezTo>
                  <a:pt x="157" y="170"/>
                  <a:pt x="157" y="170"/>
                  <a:pt x="157" y="170"/>
                </a:cubicBezTo>
                <a:cubicBezTo>
                  <a:pt x="157" y="170"/>
                  <a:pt x="157" y="170"/>
                  <a:pt x="157" y="170"/>
                </a:cubicBezTo>
                <a:close/>
                <a:moveTo>
                  <a:pt x="145" y="158"/>
                </a:moveTo>
                <a:cubicBezTo>
                  <a:pt x="146" y="159"/>
                  <a:pt x="146" y="159"/>
                  <a:pt x="146" y="159"/>
                </a:cubicBezTo>
                <a:cubicBezTo>
                  <a:pt x="147" y="158"/>
                  <a:pt x="147" y="158"/>
                  <a:pt x="147" y="158"/>
                </a:cubicBezTo>
                <a:cubicBezTo>
                  <a:pt x="147" y="157"/>
                  <a:pt x="147" y="157"/>
                  <a:pt x="147" y="157"/>
                </a:cubicBezTo>
                <a:cubicBezTo>
                  <a:pt x="145" y="157"/>
                  <a:pt x="145" y="157"/>
                  <a:pt x="145" y="157"/>
                </a:cubicBezTo>
                <a:cubicBezTo>
                  <a:pt x="145" y="158"/>
                  <a:pt x="145" y="158"/>
                  <a:pt x="145" y="158"/>
                </a:cubicBezTo>
                <a:close/>
                <a:moveTo>
                  <a:pt x="101" y="162"/>
                </a:moveTo>
                <a:cubicBezTo>
                  <a:pt x="101" y="162"/>
                  <a:pt x="101" y="162"/>
                  <a:pt x="101" y="162"/>
                </a:cubicBezTo>
                <a:cubicBezTo>
                  <a:pt x="102" y="161"/>
                  <a:pt x="102" y="161"/>
                  <a:pt x="102" y="161"/>
                </a:cubicBezTo>
                <a:cubicBezTo>
                  <a:pt x="101" y="161"/>
                  <a:pt x="101" y="161"/>
                  <a:pt x="101" y="161"/>
                </a:cubicBezTo>
                <a:cubicBezTo>
                  <a:pt x="101" y="161"/>
                  <a:pt x="101" y="162"/>
                  <a:pt x="101" y="162"/>
                </a:cubicBezTo>
                <a:close/>
                <a:moveTo>
                  <a:pt x="100" y="164"/>
                </a:moveTo>
                <a:cubicBezTo>
                  <a:pt x="100" y="164"/>
                  <a:pt x="100" y="164"/>
                  <a:pt x="100" y="164"/>
                </a:cubicBezTo>
                <a:cubicBezTo>
                  <a:pt x="101" y="163"/>
                  <a:pt x="101" y="163"/>
                  <a:pt x="101" y="163"/>
                </a:cubicBezTo>
                <a:cubicBezTo>
                  <a:pt x="101" y="164"/>
                  <a:pt x="101" y="164"/>
                  <a:pt x="101" y="164"/>
                </a:cubicBezTo>
                <a:cubicBezTo>
                  <a:pt x="100" y="164"/>
                  <a:pt x="100" y="164"/>
                  <a:pt x="100" y="164"/>
                </a:cubicBezTo>
                <a:close/>
                <a:moveTo>
                  <a:pt x="98" y="168"/>
                </a:moveTo>
                <a:cubicBezTo>
                  <a:pt x="98" y="170"/>
                  <a:pt x="98" y="170"/>
                  <a:pt x="98" y="170"/>
                </a:cubicBezTo>
                <a:cubicBezTo>
                  <a:pt x="98" y="171"/>
                  <a:pt x="98" y="171"/>
                  <a:pt x="98" y="171"/>
                </a:cubicBezTo>
                <a:cubicBezTo>
                  <a:pt x="98" y="172"/>
                  <a:pt x="98" y="172"/>
                  <a:pt x="98" y="172"/>
                </a:cubicBezTo>
                <a:cubicBezTo>
                  <a:pt x="99" y="172"/>
                  <a:pt x="99" y="172"/>
                  <a:pt x="99" y="172"/>
                </a:cubicBezTo>
                <a:cubicBezTo>
                  <a:pt x="100" y="171"/>
                  <a:pt x="100" y="171"/>
                  <a:pt x="100" y="171"/>
                </a:cubicBezTo>
                <a:cubicBezTo>
                  <a:pt x="101" y="171"/>
                  <a:pt x="101" y="171"/>
                  <a:pt x="101" y="171"/>
                </a:cubicBezTo>
                <a:cubicBezTo>
                  <a:pt x="105" y="168"/>
                  <a:pt x="105" y="168"/>
                  <a:pt x="105" y="168"/>
                </a:cubicBezTo>
                <a:cubicBezTo>
                  <a:pt x="107" y="167"/>
                  <a:pt x="107" y="167"/>
                  <a:pt x="107" y="167"/>
                </a:cubicBezTo>
                <a:cubicBezTo>
                  <a:pt x="108" y="165"/>
                  <a:pt x="108" y="165"/>
                  <a:pt x="108" y="165"/>
                </a:cubicBezTo>
                <a:cubicBezTo>
                  <a:pt x="107" y="166"/>
                  <a:pt x="107" y="166"/>
                  <a:pt x="107" y="166"/>
                </a:cubicBezTo>
                <a:cubicBezTo>
                  <a:pt x="106" y="165"/>
                  <a:pt x="106" y="165"/>
                  <a:pt x="106" y="165"/>
                </a:cubicBezTo>
                <a:cubicBezTo>
                  <a:pt x="106" y="163"/>
                  <a:pt x="106" y="163"/>
                  <a:pt x="106" y="163"/>
                </a:cubicBezTo>
                <a:cubicBezTo>
                  <a:pt x="105" y="163"/>
                  <a:pt x="105" y="163"/>
                  <a:pt x="105" y="163"/>
                </a:cubicBezTo>
                <a:cubicBezTo>
                  <a:pt x="104" y="165"/>
                  <a:pt x="104" y="165"/>
                  <a:pt x="104" y="165"/>
                </a:cubicBezTo>
                <a:cubicBezTo>
                  <a:pt x="103" y="165"/>
                  <a:pt x="103" y="165"/>
                  <a:pt x="103" y="165"/>
                </a:cubicBezTo>
                <a:cubicBezTo>
                  <a:pt x="103" y="166"/>
                  <a:pt x="103" y="166"/>
                  <a:pt x="103" y="166"/>
                </a:cubicBezTo>
                <a:cubicBezTo>
                  <a:pt x="102" y="166"/>
                  <a:pt x="102" y="166"/>
                  <a:pt x="102" y="166"/>
                </a:cubicBezTo>
                <a:cubicBezTo>
                  <a:pt x="102" y="167"/>
                  <a:pt x="102" y="167"/>
                  <a:pt x="102" y="167"/>
                </a:cubicBezTo>
                <a:cubicBezTo>
                  <a:pt x="102" y="168"/>
                  <a:pt x="102" y="168"/>
                  <a:pt x="102" y="168"/>
                </a:cubicBezTo>
                <a:cubicBezTo>
                  <a:pt x="101" y="167"/>
                  <a:pt x="101" y="167"/>
                  <a:pt x="101" y="167"/>
                </a:cubicBezTo>
                <a:cubicBezTo>
                  <a:pt x="101" y="166"/>
                  <a:pt x="101" y="166"/>
                  <a:pt x="101" y="166"/>
                </a:cubicBezTo>
                <a:cubicBezTo>
                  <a:pt x="101" y="165"/>
                  <a:pt x="101" y="165"/>
                  <a:pt x="101" y="165"/>
                </a:cubicBezTo>
                <a:cubicBezTo>
                  <a:pt x="100" y="166"/>
                  <a:pt x="100" y="166"/>
                  <a:pt x="100" y="166"/>
                </a:cubicBezTo>
                <a:cubicBezTo>
                  <a:pt x="99" y="166"/>
                  <a:pt x="99" y="166"/>
                  <a:pt x="99" y="166"/>
                </a:cubicBezTo>
                <a:cubicBezTo>
                  <a:pt x="99" y="167"/>
                  <a:pt x="99" y="167"/>
                  <a:pt x="99" y="167"/>
                </a:cubicBezTo>
                <a:cubicBezTo>
                  <a:pt x="98" y="168"/>
                  <a:pt x="98" y="168"/>
                  <a:pt x="98" y="168"/>
                </a:cubicBezTo>
                <a:close/>
                <a:moveTo>
                  <a:pt x="94" y="172"/>
                </a:moveTo>
                <a:cubicBezTo>
                  <a:pt x="94" y="171"/>
                  <a:pt x="94" y="171"/>
                  <a:pt x="94" y="171"/>
                </a:cubicBezTo>
                <a:cubicBezTo>
                  <a:pt x="94" y="168"/>
                  <a:pt x="94" y="168"/>
                  <a:pt x="94" y="168"/>
                </a:cubicBezTo>
                <a:cubicBezTo>
                  <a:pt x="93" y="169"/>
                  <a:pt x="93" y="169"/>
                  <a:pt x="93" y="169"/>
                </a:cubicBezTo>
                <a:cubicBezTo>
                  <a:pt x="93" y="171"/>
                  <a:pt x="93" y="171"/>
                  <a:pt x="93" y="171"/>
                </a:cubicBezTo>
                <a:cubicBezTo>
                  <a:pt x="92" y="171"/>
                  <a:pt x="92" y="171"/>
                  <a:pt x="92" y="171"/>
                </a:cubicBezTo>
                <a:cubicBezTo>
                  <a:pt x="93" y="171"/>
                  <a:pt x="93" y="171"/>
                  <a:pt x="93" y="171"/>
                </a:cubicBezTo>
                <a:cubicBezTo>
                  <a:pt x="93" y="171"/>
                  <a:pt x="94" y="172"/>
                  <a:pt x="94" y="172"/>
                </a:cubicBezTo>
                <a:close/>
                <a:moveTo>
                  <a:pt x="94" y="173"/>
                </a:moveTo>
                <a:cubicBezTo>
                  <a:pt x="95" y="172"/>
                  <a:pt x="95" y="172"/>
                  <a:pt x="95" y="172"/>
                </a:cubicBezTo>
                <a:cubicBezTo>
                  <a:pt x="95" y="171"/>
                  <a:pt x="95" y="171"/>
                  <a:pt x="95" y="171"/>
                </a:cubicBezTo>
                <a:cubicBezTo>
                  <a:pt x="95" y="170"/>
                  <a:pt x="95" y="170"/>
                  <a:pt x="95" y="170"/>
                </a:cubicBezTo>
                <a:cubicBezTo>
                  <a:pt x="95" y="168"/>
                  <a:pt x="95" y="168"/>
                  <a:pt x="95" y="168"/>
                </a:cubicBezTo>
                <a:cubicBezTo>
                  <a:pt x="95" y="167"/>
                  <a:pt x="95" y="167"/>
                  <a:pt x="95" y="167"/>
                </a:cubicBezTo>
                <a:cubicBezTo>
                  <a:pt x="96" y="167"/>
                  <a:pt x="96" y="167"/>
                  <a:pt x="96" y="167"/>
                </a:cubicBezTo>
                <a:cubicBezTo>
                  <a:pt x="96" y="167"/>
                  <a:pt x="96" y="167"/>
                  <a:pt x="96" y="167"/>
                </a:cubicBezTo>
                <a:cubicBezTo>
                  <a:pt x="97" y="166"/>
                  <a:pt x="97" y="166"/>
                  <a:pt x="97" y="166"/>
                </a:cubicBezTo>
                <a:cubicBezTo>
                  <a:pt x="97" y="168"/>
                  <a:pt x="97" y="168"/>
                  <a:pt x="97" y="168"/>
                </a:cubicBezTo>
                <a:cubicBezTo>
                  <a:pt x="97" y="171"/>
                  <a:pt x="97" y="171"/>
                  <a:pt x="97" y="171"/>
                </a:cubicBezTo>
                <a:cubicBezTo>
                  <a:pt x="97" y="172"/>
                  <a:pt x="97" y="172"/>
                  <a:pt x="97" y="172"/>
                </a:cubicBezTo>
                <a:cubicBezTo>
                  <a:pt x="97" y="173"/>
                  <a:pt x="97" y="173"/>
                  <a:pt x="97" y="173"/>
                </a:cubicBezTo>
                <a:cubicBezTo>
                  <a:pt x="96" y="174"/>
                  <a:pt x="96" y="174"/>
                  <a:pt x="96" y="174"/>
                </a:cubicBezTo>
                <a:cubicBezTo>
                  <a:pt x="94" y="173"/>
                  <a:pt x="94" y="173"/>
                  <a:pt x="94" y="173"/>
                </a:cubicBezTo>
                <a:close/>
                <a:moveTo>
                  <a:pt x="96" y="179"/>
                </a:moveTo>
                <a:cubicBezTo>
                  <a:pt x="97" y="178"/>
                  <a:pt x="97" y="178"/>
                  <a:pt x="97" y="178"/>
                </a:cubicBezTo>
                <a:cubicBezTo>
                  <a:pt x="96" y="176"/>
                  <a:pt x="96" y="176"/>
                  <a:pt x="96" y="176"/>
                </a:cubicBezTo>
                <a:cubicBezTo>
                  <a:pt x="96" y="174"/>
                  <a:pt x="96" y="174"/>
                  <a:pt x="96" y="174"/>
                </a:cubicBezTo>
                <a:cubicBezTo>
                  <a:pt x="95" y="174"/>
                  <a:pt x="95" y="174"/>
                  <a:pt x="95" y="174"/>
                </a:cubicBezTo>
                <a:cubicBezTo>
                  <a:pt x="93" y="172"/>
                  <a:pt x="93" y="172"/>
                  <a:pt x="93" y="172"/>
                </a:cubicBezTo>
                <a:cubicBezTo>
                  <a:pt x="92" y="173"/>
                  <a:pt x="92" y="173"/>
                  <a:pt x="92" y="173"/>
                </a:cubicBezTo>
                <a:cubicBezTo>
                  <a:pt x="92" y="173"/>
                  <a:pt x="92" y="173"/>
                  <a:pt x="92" y="173"/>
                </a:cubicBezTo>
                <a:cubicBezTo>
                  <a:pt x="94" y="175"/>
                  <a:pt x="94" y="175"/>
                  <a:pt x="94" y="175"/>
                </a:cubicBezTo>
                <a:cubicBezTo>
                  <a:pt x="93" y="175"/>
                  <a:pt x="93" y="175"/>
                  <a:pt x="93" y="175"/>
                </a:cubicBezTo>
                <a:cubicBezTo>
                  <a:pt x="93" y="176"/>
                  <a:pt x="93" y="176"/>
                  <a:pt x="93" y="176"/>
                </a:cubicBezTo>
                <a:cubicBezTo>
                  <a:pt x="94" y="177"/>
                  <a:pt x="94" y="177"/>
                  <a:pt x="94" y="177"/>
                </a:cubicBezTo>
                <a:cubicBezTo>
                  <a:pt x="96" y="179"/>
                  <a:pt x="96" y="179"/>
                  <a:pt x="96" y="179"/>
                </a:cubicBezTo>
                <a:close/>
                <a:moveTo>
                  <a:pt x="82" y="156"/>
                </a:moveTo>
                <a:cubicBezTo>
                  <a:pt x="83" y="158"/>
                  <a:pt x="83" y="158"/>
                  <a:pt x="83" y="158"/>
                </a:cubicBezTo>
                <a:cubicBezTo>
                  <a:pt x="84" y="158"/>
                  <a:pt x="84" y="158"/>
                  <a:pt x="84" y="158"/>
                </a:cubicBezTo>
                <a:cubicBezTo>
                  <a:pt x="85" y="158"/>
                  <a:pt x="85" y="158"/>
                  <a:pt x="85" y="158"/>
                </a:cubicBezTo>
                <a:cubicBezTo>
                  <a:pt x="85" y="158"/>
                  <a:pt x="85" y="158"/>
                  <a:pt x="85" y="158"/>
                </a:cubicBezTo>
                <a:cubicBezTo>
                  <a:pt x="84" y="156"/>
                  <a:pt x="84" y="156"/>
                  <a:pt x="84" y="156"/>
                </a:cubicBezTo>
                <a:cubicBezTo>
                  <a:pt x="83" y="156"/>
                  <a:pt x="83" y="156"/>
                  <a:pt x="83" y="156"/>
                </a:cubicBezTo>
                <a:cubicBezTo>
                  <a:pt x="82" y="156"/>
                  <a:pt x="82" y="156"/>
                  <a:pt x="82" y="156"/>
                </a:cubicBezTo>
                <a:close/>
                <a:moveTo>
                  <a:pt x="56" y="425"/>
                </a:moveTo>
                <a:cubicBezTo>
                  <a:pt x="56" y="425"/>
                  <a:pt x="56" y="425"/>
                  <a:pt x="56" y="425"/>
                </a:cubicBezTo>
                <a:cubicBezTo>
                  <a:pt x="55" y="424"/>
                  <a:pt x="55" y="424"/>
                  <a:pt x="55" y="424"/>
                </a:cubicBezTo>
                <a:cubicBezTo>
                  <a:pt x="54" y="422"/>
                  <a:pt x="54" y="422"/>
                  <a:pt x="54" y="422"/>
                </a:cubicBezTo>
                <a:cubicBezTo>
                  <a:pt x="56" y="420"/>
                  <a:pt x="56" y="420"/>
                  <a:pt x="56" y="420"/>
                </a:cubicBezTo>
                <a:cubicBezTo>
                  <a:pt x="56" y="418"/>
                  <a:pt x="56" y="418"/>
                  <a:pt x="56" y="418"/>
                </a:cubicBezTo>
                <a:cubicBezTo>
                  <a:pt x="55" y="419"/>
                  <a:pt x="55" y="419"/>
                  <a:pt x="55" y="419"/>
                </a:cubicBezTo>
                <a:cubicBezTo>
                  <a:pt x="54" y="419"/>
                  <a:pt x="54" y="419"/>
                  <a:pt x="54" y="419"/>
                </a:cubicBezTo>
                <a:cubicBezTo>
                  <a:pt x="52" y="420"/>
                  <a:pt x="52" y="420"/>
                  <a:pt x="52" y="420"/>
                </a:cubicBezTo>
                <a:cubicBezTo>
                  <a:pt x="51" y="419"/>
                  <a:pt x="51" y="419"/>
                  <a:pt x="51" y="419"/>
                </a:cubicBezTo>
                <a:cubicBezTo>
                  <a:pt x="51" y="417"/>
                  <a:pt x="51" y="417"/>
                  <a:pt x="51" y="417"/>
                </a:cubicBezTo>
                <a:cubicBezTo>
                  <a:pt x="52" y="417"/>
                  <a:pt x="52" y="417"/>
                  <a:pt x="52" y="417"/>
                </a:cubicBezTo>
                <a:cubicBezTo>
                  <a:pt x="52" y="418"/>
                  <a:pt x="52" y="418"/>
                  <a:pt x="52" y="418"/>
                </a:cubicBezTo>
                <a:cubicBezTo>
                  <a:pt x="53" y="419"/>
                  <a:pt x="53" y="419"/>
                  <a:pt x="53" y="419"/>
                </a:cubicBezTo>
                <a:cubicBezTo>
                  <a:pt x="53" y="418"/>
                  <a:pt x="53" y="418"/>
                  <a:pt x="53" y="418"/>
                </a:cubicBezTo>
                <a:cubicBezTo>
                  <a:pt x="52" y="417"/>
                  <a:pt x="52" y="417"/>
                  <a:pt x="52" y="417"/>
                </a:cubicBezTo>
                <a:cubicBezTo>
                  <a:pt x="52" y="416"/>
                  <a:pt x="52" y="416"/>
                  <a:pt x="52" y="416"/>
                </a:cubicBezTo>
                <a:cubicBezTo>
                  <a:pt x="51" y="416"/>
                  <a:pt x="51" y="416"/>
                  <a:pt x="51" y="416"/>
                </a:cubicBezTo>
                <a:cubicBezTo>
                  <a:pt x="50" y="416"/>
                  <a:pt x="50" y="416"/>
                  <a:pt x="50" y="416"/>
                </a:cubicBezTo>
                <a:cubicBezTo>
                  <a:pt x="49" y="416"/>
                  <a:pt x="49" y="416"/>
                  <a:pt x="49" y="416"/>
                </a:cubicBezTo>
                <a:cubicBezTo>
                  <a:pt x="48" y="414"/>
                  <a:pt x="48" y="414"/>
                  <a:pt x="48" y="414"/>
                </a:cubicBezTo>
                <a:cubicBezTo>
                  <a:pt x="48" y="413"/>
                  <a:pt x="48" y="413"/>
                  <a:pt x="48" y="413"/>
                </a:cubicBezTo>
                <a:cubicBezTo>
                  <a:pt x="50" y="412"/>
                  <a:pt x="50" y="412"/>
                  <a:pt x="50" y="412"/>
                </a:cubicBezTo>
                <a:cubicBezTo>
                  <a:pt x="50" y="411"/>
                  <a:pt x="50" y="411"/>
                  <a:pt x="50" y="411"/>
                </a:cubicBezTo>
                <a:cubicBezTo>
                  <a:pt x="51" y="410"/>
                  <a:pt x="51" y="410"/>
                  <a:pt x="51" y="410"/>
                </a:cubicBezTo>
                <a:cubicBezTo>
                  <a:pt x="51" y="410"/>
                  <a:pt x="51" y="410"/>
                  <a:pt x="51" y="410"/>
                </a:cubicBezTo>
                <a:cubicBezTo>
                  <a:pt x="50" y="410"/>
                  <a:pt x="50" y="410"/>
                  <a:pt x="50" y="410"/>
                </a:cubicBezTo>
                <a:cubicBezTo>
                  <a:pt x="48" y="410"/>
                  <a:pt x="48" y="410"/>
                  <a:pt x="48" y="410"/>
                </a:cubicBezTo>
                <a:cubicBezTo>
                  <a:pt x="48" y="410"/>
                  <a:pt x="48" y="410"/>
                  <a:pt x="48" y="410"/>
                </a:cubicBezTo>
                <a:cubicBezTo>
                  <a:pt x="49" y="409"/>
                  <a:pt x="49" y="409"/>
                  <a:pt x="49" y="409"/>
                </a:cubicBezTo>
                <a:cubicBezTo>
                  <a:pt x="50" y="407"/>
                  <a:pt x="50" y="407"/>
                  <a:pt x="50" y="407"/>
                </a:cubicBezTo>
                <a:cubicBezTo>
                  <a:pt x="50" y="405"/>
                  <a:pt x="50" y="405"/>
                  <a:pt x="50" y="405"/>
                </a:cubicBezTo>
                <a:cubicBezTo>
                  <a:pt x="50" y="405"/>
                  <a:pt x="50" y="405"/>
                  <a:pt x="50" y="405"/>
                </a:cubicBezTo>
                <a:cubicBezTo>
                  <a:pt x="50" y="404"/>
                  <a:pt x="50" y="404"/>
                  <a:pt x="50" y="404"/>
                </a:cubicBezTo>
                <a:cubicBezTo>
                  <a:pt x="50" y="404"/>
                  <a:pt x="50" y="404"/>
                  <a:pt x="50" y="404"/>
                </a:cubicBezTo>
                <a:cubicBezTo>
                  <a:pt x="49" y="405"/>
                  <a:pt x="49" y="405"/>
                  <a:pt x="49" y="405"/>
                </a:cubicBezTo>
                <a:cubicBezTo>
                  <a:pt x="49" y="407"/>
                  <a:pt x="49" y="407"/>
                  <a:pt x="49" y="407"/>
                </a:cubicBezTo>
                <a:cubicBezTo>
                  <a:pt x="48" y="409"/>
                  <a:pt x="48" y="409"/>
                  <a:pt x="48" y="409"/>
                </a:cubicBezTo>
                <a:cubicBezTo>
                  <a:pt x="47" y="409"/>
                  <a:pt x="47" y="409"/>
                  <a:pt x="47" y="409"/>
                </a:cubicBezTo>
                <a:cubicBezTo>
                  <a:pt x="46" y="409"/>
                  <a:pt x="46" y="409"/>
                  <a:pt x="46" y="409"/>
                </a:cubicBezTo>
                <a:cubicBezTo>
                  <a:pt x="45" y="409"/>
                  <a:pt x="45" y="409"/>
                  <a:pt x="45" y="409"/>
                </a:cubicBezTo>
                <a:cubicBezTo>
                  <a:pt x="45" y="408"/>
                  <a:pt x="45" y="408"/>
                  <a:pt x="45" y="408"/>
                </a:cubicBezTo>
                <a:cubicBezTo>
                  <a:pt x="46" y="407"/>
                  <a:pt x="46" y="407"/>
                  <a:pt x="46" y="407"/>
                </a:cubicBezTo>
                <a:cubicBezTo>
                  <a:pt x="46" y="407"/>
                  <a:pt x="46" y="407"/>
                  <a:pt x="46" y="407"/>
                </a:cubicBezTo>
                <a:cubicBezTo>
                  <a:pt x="45" y="407"/>
                  <a:pt x="45" y="407"/>
                  <a:pt x="45" y="407"/>
                </a:cubicBezTo>
                <a:cubicBezTo>
                  <a:pt x="44" y="408"/>
                  <a:pt x="44" y="408"/>
                  <a:pt x="44" y="408"/>
                </a:cubicBezTo>
                <a:cubicBezTo>
                  <a:pt x="44" y="408"/>
                  <a:pt x="44" y="408"/>
                  <a:pt x="44" y="408"/>
                </a:cubicBezTo>
                <a:cubicBezTo>
                  <a:pt x="44" y="408"/>
                  <a:pt x="44" y="408"/>
                  <a:pt x="44" y="408"/>
                </a:cubicBezTo>
                <a:cubicBezTo>
                  <a:pt x="43" y="408"/>
                  <a:pt x="43" y="408"/>
                  <a:pt x="43" y="408"/>
                </a:cubicBezTo>
                <a:cubicBezTo>
                  <a:pt x="42" y="408"/>
                  <a:pt x="42" y="408"/>
                  <a:pt x="42" y="408"/>
                </a:cubicBezTo>
                <a:cubicBezTo>
                  <a:pt x="41" y="408"/>
                  <a:pt x="41" y="408"/>
                  <a:pt x="41" y="408"/>
                </a:cubicBezTo>
                <a:cubicBezTo>
                  <a:pt x="41" y="407"/>
                  <a:pt x="41" y="407"/>
                  <a:pt x="41" y="407"/>
                </a:cubicBezTo>
                <a:cubicBezTo>
                  <a:pt x="42" y="406"/>
                  <a:pt x="42" y="406"/>
                  <a:pt x="42" y="406"/>
                </a:cubicBezTo>
                <a:cubicBezTo>
                  <a:pt x="43" y="406"/>
                  <a:pt x="43" y="406"/>
                  <a:pt x="43" y="406"/>
                </a:cubicBezTo>
                <a:cubicBezTo>
                  <a:pt x="45" y="406"/>
                  <a:pt x="45" y="406"/>
                  <a:pt x="45" y="406"/>
                </a:cubicBezTo>
                <a:cubicBezTo>
                  <a:pt x="46" y="405"/>
                  <a:pt x="46" y="405"/>
                  <a:pt x="46" y="405"/>
                </a:cubicBezTo>
                <a:cubicBezTo>
                  <a:pt x="47" y="404"/>
                  <a:pt x="47" y="404"/>
                  <a:pt x="47" y="404"/>
                </a:cubicBezTo>
                <a:cubicBezTo>
                  <a:pt x="47" y="402"/>
                  <a:pt x="47" y="402"/>
                  <a:pt x="47" y="402"/>
                </a:cubicBezTo>
                <a:cubicBezTo>
                  <a:pt x="47" y="403"/>
                  <a:pt x="47" y="403"/>
                  <a:pt x="47" y="403"/>
                </a:cubicBezTo>
                <a:cubicBezTo>
                  <a:pt x="46" y="404"/>
                  <a:pt x="46" y="404"/>
                  <a:pt x="46" y="404"/>
                </a:cubicBezTo>
                <a:cubicBezTo>
                  <a:pt x="45" y="405"/>
                  <a:pt x="45" y="405"/>
                  <a:pt x="45" y="405"/>
                </a:cubicBezTo>
                <a:cubicBezTo>
                  <a:pt x="44" y="406"/>
                  <a:pt x="44" y="406"/>
                  <a:pt x="44" y="406"/>
                </a:cubicBezTo>
                <a:cubicBezTo>
                  <a:pt x="42" y="405"/>
                  <a:pt x="42" y="405"/>
                  <a:pt x="42" y="405"/>
                </a:cubicBezTo>
                <a:cubicBezTo>
                  <a:pt x="42" y="404"/>
                  <a:pt x="42" y="404"/>
                  <a:pt x="42" y="404"/>
                </a:cubicBezTo>
                <a:cubicBezTo>
                  <a:pt x="41" y="404"/>
                  <a:pt x="41" y="404"/>
                  <a:pt x="41" y="404"/>
                </a:cubicBezTo>
                <a:cubicBezTo>
                  <a:pt x="41" y="404"/>
                  <a:pt x="41" y="404"/>
                  <a:pt x="41" y="404"/>
                </a:cubicBezTo>
                <a:cubicBezTo>
                  <a:pt x="42" y="403"/>
                  <a:pt x="42" y="403"/>
                  <a:pt x="42" y="403"/>
                </a:cubicBezTo>
                <a:cubicBezTo>
                  <a:pt x="41" y="403"/>
                  <a:pt x="41" y="403"/>
                  <a:pt x="41" y="403"/>
                </a:cubicBezTo>
                <a:cubicBezTo>
                  <a:pt x="40" y="403"/>
                  <a:pt x="40" y="403"/>
                  <a:pt x="40" y="403"/>
                </a:cubicBezTo>
                <a:cubicBezTo>
                  <a:pt x="39" y="403"/>
                  <a:pt x="39" y="403"/>
                  <a:pt x="39" y="403"/>
                </a:cubicBezTo>
                <a:cubicBezTo>
                  <a:pt x="38" y="403"/>
                  <a:pt x="38" y="403"/>
                  <a:pt x="38" y="403"/>
                </a:cubicBezTo>
                <a:cubicBezTo>
                  <a:pt x="38" y="404"/>
                  <a:pt x="38" y="404"/>
                  <a:pt x="38" y="404"/>
                </a:cubicBezTo>
                <a:cubicBezTo>
                  <a:pt x="36" y="403"/>
                  <a:pt x="36" y="403"/>
                  <a:pt x="36" y="403"/>
                </a:cubicBezTo>
                <a:cubicBezTo>
                  <a:pt x="36" y="402"/>
                  <a:pt x="36" y="402"/>
                  <a:pt x="36" y="402"/>
                </a:cubicBezTo>
                <a:cubicBezTo>
                  <a:pt x="36" y="401"/>
                  <a:pt x="36" y="401"/>
                  <a:pt x="36" y="401"/>
                </a:cubicBezTo>
                <a:cubicBezTo>
                  <a:pt x="37" y="402"/>
                  <a:pt x="37" y="402"/>
                  <a:pt x="37" y="402"/>
                </a:cubicBezTo>
                <a:cubicBezTo>
                  <a:pt x="38" y="402"/>
                  <a:pt x="38" y="402"/>
                  <a:pt x="38" y="402"/>
                </a:cubicBezTo>
                <a:cubicBezTo>
                  <a:pt x="40" y="402"/>
                  <a:pt x="40" y="402"/>
                  <a:pt x="40" y="402"/>
                </a:cubicBezTo>
                <a:cubicBezTo>
                  <a:pt x="40" y="401"/>
                  <a:pt x="40" y="401"/>
                  <a:pt x="40" y="401"/>
                </a:cubicBezTo>
                <a:cubicBezTo>
                  <a:pt x="39" y="401"/>
                  <a:pt x="39" y="401"/>
                  <a:pt x="39" y="401"/>
                </a:cubicBezTo>
                <a:cubicBezTo>
                  <a:pt x="38" y="401"/>
                  <a:pt x="38" y="401"/>
                  <a:pt x="38" y="401"/>
                </a:cubicBezTo>
                <a:cubicBezTo>
                  <a:pt x="37" y="401"/>
                  <a:pt x="37" y="401"/>
                  <a:pt x="37" y="401"/>
                </a:cubicBezTo>
                <a:cubicBezTo>
                  <a:pt x="37" y="401"/>
                  <a:pt x="37" y="401"/>
                  <a:pt x="37" y="401"/>
                </a:cubicBezTo>
                <a:cubicBezTo>
                  <a:pt x="39" y="401"/>
                  <a:pt x="39" y="401"/>
                  <a:pt x="39" y="401"/>
                </a:cubicBezTo>
                <a:cubicBezTo>
                  <a:pt x="40" y="401"/>
                  <a:pt x="40" y="401"/>
                  <a:pt x="40" y="401"/>
                </a:cubicBezTo>
                <a:cubicBezTo>
                  <a:pt x="40" y="400"/>
                  <a:pt x="40" y="400"/>
                  <a:pt x="40" y="400"/>
                </a:cubicBezTo>
                <a:cubicBezTo>
                  <a:pt x="38" y="400"/>
                  <a:pt x="38" y="400"/>
                  <a:pt x="38" y="400"/>
                </a:cubicBezTo>
                <a:cubicBezTo>
                  <a:pt x="38" y="400"/>
                  <a:pt x="38" y="400"/>
                  <a:pt x="38" y="400"/>
                </a:cubicBezTo>
                <a:cubicBezTo>
                  <a:pt x="36" y="400"/>
                  <a:pt x="36" y="400"/>
                  <a:pt x="36" y="400"/>
                </a:cubicBezTo>
                <a:cubicBezTo>
                  <a:pt x="35" y="400"/>
                  <a:pt x="35" y="400"/>
                  <a:pt x="35" y="400"/>
                </a:cubicBezTo>
                <a:cubicBezTo>
                  <a:pt x="35" y="399"/>
                  <a:pt x="35" y="399"/>
                  <a:pt x="35" y="399"/>
                </a:cubicBezTo>
                <a:cubicBezTo>
                  <a:pt x="35" y="398"/>
                  <a:pt x="35" y="398"/>
                  <a:pt x="35" y="398"/>
                </a:cubicBezTo>
                <a:cubicBezTo>
                  <a:pt x="36" y="398"/>
                  <a:pt x="36" y="398"/>
                  <a:pt x="36" y="398"/>
                </a:cubicBezTo>
                <a:cubicBezTo>
                  <a:pt x="37" y="399"/>
                  <a:pt x="37" y="399"/>
                  <a:pt x="37" y="399"/>
                </a:cubicBezTo>
                <a:cubicBezTo>
                  <a:pt x="38" y="399"/>
                  <a:pt x="38" y="399"/>
                  <a:pt x="38" y="399"/>
                </a:cubicBezTo>
                <a:cubicBezTo>
                  <a:pt x="39" y="398"/>
                  <a:pt x="39" y="398"/>
                  <a:pt x="39" y="398"/>
                </a:cubicBezTo>
                <a:cubicBezTo>
                  <a:pt x="38" y="398"/>
                  <a:pt x="38" y="398"/>
                  <a:pt x="38" y="398"/>
                </a:cubicBezTo>
                <a:cubicBezTo>
                  <a:pt x="37" y="398"/>
                  <a:pt x="37" y="398"/>
                  <a:pt x="37" y="398"/>
                </a:cubicBezTo>
                <a:cubicBezTo>
                  <a:pt x="35" y="397"/>
                  <a:pt x="35" y="397"/>
                  <a:pt x="35" y="397"/>
                </a:cubicBezTo>
                <a:cubicBezTo>
                  <a:pt x="35" y="397"/>
                  <a:pt x="35" y="397"/>
                  <a:pt x="35" y="397"/>
                </a:cubicBezTo>
                <a:cubicBezTo>
                  <a:pt x="37" y="397"/>
                  <a:pt x="37" y="397"/>
                  <a:pt x="37" y="397"/>
                </a:cubicBezTo>
                <a:cubicBezTo>
                  <a:pt x="38" y="397"/>
                  <a:pt x="38" y="397"/>
                  <a:pt x="38" y="397"/>
                </a:cubicBezTo>
                <a:cubicBezTo>
                  <a:pt x="39" y="397"/>
                  <a:pt x="39" y="397"/>
                  <a:pt x="39" y="397"/>
                </a:cubicBezTo>
                <a:cubicBezTo>
                  <a:pt x="38" y="396"/>
                  <a:pt x="38" y="396"/>
                  <a:pt x="38" y="396"/>
                </a:cubicBezTo>
                <a:cubicBezTo>
                  <a:pt x="38" y="395"/>
                  <a:pt x="38" y="395"/>
                  <a:pt x="38" y="395"/>
                </a:cubicBezTo>
                <a:cubicBezTo>
                  <a:pt x="39" y="395"/>
                  <a:pt x="39" y="395"/>
                  <a:pt x="39" y="395"/>
                </a:cubicBezTo>
                <a:cubicBezTo>
                  <a:pt x="41" y="395"/>
                  <a:pt x="41" y="395"/>
                  <a:pt x="41" y="395"/>
                </a:cubicBezTo>
                <a:cubicBezTo>
                  <a:pt x="42" y="395"/>
                  <a:pt x="42" y="395"/>
                  <a:pt x="42" y="395"/>
                </a:cubicBezTo>
                <a:cubicBezTo>
                  <a:pt x="42" y="395"/>
                  <a:pt x="42" y="395"/>
                  <a:pt x="42" y="395"/>
                </a:cubicBezTo>
                <a:cubicBezTo>
                  <a:pt x="40" y="394"/>
                  <a:pt x="40" y="394"/>
                  <a:pt x="40" y="394"/>
                </a:cubicBezTo>
                <a:cubicBezTo>
                  <a:pt x="40" y="394"/>
                  <a:pt x="40" y="394"/>
                  <a:pt x="40" y="394"/>
                </a:cubicBezTo>
                <a:cubicBezTo>
                  <a:pt x="39" y="394"/>
                  <a:pt x="39" y="394"/>
                  <a:pt x="39" y="394"/>
                </a:cubicBezTo>
                <a:cubicBezTo>
                  <a:pt x="38" y="395"/>
                  <a:pt x="38" y="395"/>
                  <a:pt x="38" y="395"/>
                </a:cubicBezTo>
                <a:cubicBezTo>
                  <a:pt x="37" y="395"/>
                  <a:pt x="37" y="395"/>
                  <a:pt x="37" y="395"/>
                </a:cubicBezTo>
                <a:cubicBezTo>
                  <a:pt x="36" y="396"/>
                  <a:pt x="36" y="396"/>
                  <a:pt x="36" y="396"/>
                </a:cubicBezTo>
                <a:cubicBezTo>
                  <a:pt x="36" y="395"/>
                  <a:pt x="36" y="395"/>
                  <a:pt x="36" y="395"/>
                </a:cubicBezTo>
                <a:cubicBezTo>
                  <a:pt x="36" y="394"/>
                  <a:pt x="36" y="394"/>
                  <a:pt x="36" y="394"/>
                </a:cubicBezTo>
                <a:cubicBezTo>
                  <a:pt x="36" y="394"/>
                  <a:pt x="36" y="394"/>
                  <a:pt x="36" y="394"/>
                </a:cubicBezTo>
                <a:cubicBezTo>
                  <a:pt x="36" y="393"/>
                  <a:pt x="36" y="393"/>
                  <a:pt x="36" y="393"/>
                </a:cubicBezTo>
                <a:cubicBezTo>
                  <a:pt x="38" y="392"/>
                  <a:pt x="38" y="392"/>
                  <a:pt x="38" y="392"/>
                </a:cubicBezTo>
                <a:cubicBezTo>
                  <a:pt x="39" y="391"/>
                  <a:pt x="39" y="391"/>
                  <a:pt x="39" y="391"/>
                </a:cubicBezTo>
                <a:cubicBezTo>
                  <a:pt x="42" y="389"/>
                  <a:pt x="42" y="389"/>
                  <a:pt x="42" y="389"/>
                </a:cubicBezTo>
                <a:cubicBezTo>
                  <a:pt x="42" y="388"/>
                  <a:pt x="42" y="388"/>
                  <a:pt x="42" y="388"/>
                </a:cubicBezTo>
                <a:cubicBezTo>
                  <a:pt x="43" y="389"/>
                  <a:pt x="43" y="389"/>
                  <a:pt x="43" y="389"/>
                </a:cubicBezTo>
                <a:cubicBezTo>
                  <a:pt x="43" y="391"/>
                  <a:pt x="43" y="391"/>
                  <a:pt x="43" y="391"/>
                </a:cubicBezTo>
                <a:cubicBezTo>
                  <a:pt x="44" y="392"/>
                  <a:pt x="44" y="392"/>
                  <a:pt x="44" y="392"/>
                </a:cubicBezTo>
                <a:cubicBezTo>
                  <a:pt x="44" y="391"/>
                  <a:pt x="44" y="391"/>
                  <a:pt x="44" y="391"/>
                </a:cubicBezTo>
                <a:cubicBezTo>
                  <a:pt x="44" y="390"/>
                  <a:pt x="44" y="390"/>
                  <a:pt x="44" y="390"/>
                </a:cubicBezTo>
                <a:cubicBezTo>
                  <a:pt x="44" y="388"/>
                  <a:pt x="44" y="388"/>
                  <a:pt x="44" y="388"/>
                </a:cubicBezTo>
                <a:cubicBezTo>
                  <a:pt x="45" y="388"/>
                  <a:pt x="45" y="388"/>
                  <a:pt x="45" y="388"/>
                </a:cubicBezTo>
                <a:cubicBezTo>
                  <a:pt x="46" y="388"/>
                  <a:pt x="46" y="388"/>
                  <a:pt x="46" y="388"/>
                </a:cubicBezTo>
                <a:cubicBezTo>
                  <a:pt x="45" y="387"/>
                  <a:pt x="45" y="387"/>
                  <a:pt x="45" y="387"/>
                </a:cubicBezTo>
                <a:cubicBezTo>
                  <a:pt x="44" y="387"/>
                  <a:pt x="44" y="387"/>
                  <a:pt x="44" y="387"/>
                </a:cubicBezTo>
                <a:cubicBezTo>
                  <a:pt x="43" y="388"/>
                  <a:pt x="43" y="388"/>
                  <a:pt x="43" y="388"/>
                </a:cubicBezTo>
                <a:cubicBezTo>
                  <a:pt x="42" y="387"/>
                  <a:pt x="42" y="387"/>
                  <a:pt x="42" y="387"/>
                </a:cubicBezTo>
                <a:cubicBezTo>
                  <a:pt x="42" y="386"/>
                  <a:pt x="42" y="386"/>
                  <a:pt x="42" y="386"/>
                </a:cubicBezTo>
                <a:cubicBezTo>
                  <a:pt x="44" y="385"/>
                  <a:pt x="44" y="385"/>
                  <a:pt x="44" y="385"/>
                </a:cubicBezTo>
                <a:cubicBezTo>
                  <a:pt x="45" y="385"/>
                  <a:pt x="45" y="385"/>
                  <a:pt x="45" y="385"/>
                </a:cubicBezTo>
                <a:cubicBezTo>
                  <a:pt x="46" y="383"/>
                  <a:pt x="46" y="383"/>
                  <a:pt x="46" y="383"/>
                </a:cubicBezTo>
                <a:cubicBezTo>
                  <a:pt x="46" y="382"/>
                  <a:pt x="46" y="382"/>
                  <a:pt x="46" y="382"/>
                </a:cubicBezTo>
                <a:cubicBezTo>
                  <a:pt x="45" y="382"/>
                  <a:pt x="45" y="382"/>
                  <a:pt x="45" y="382"/>
                </a:cubicBezTo>
                <a:cubicBezTo>
                  <a:pt x="45" y="383"/>
                  <a:pt x="45" y="383"/>
                  <a:pt x="45" y="383"/>
                </a:cubicBezTo>
                <a:cubicBezTo>
                  <a:pt x="44" y="384"/>
                  <a:pt x="44" y="384"/>
                  <a:pt x="44" y="384"/>
                </a:cubicBezTo>
                <a:cubicBezTo>
                  <a:pt x="43" y="384"/>
                  <a:pt x="43" y="384"/>
                  <a:pt x="43" y="384"/>
                </a:cubicBezTo>
                <a:cubicBezTo>
                  <a:pt x="41" y="386"/>
                  <a:pt x="41" y="386"/>
                  <a:pt x="41" y="386"/>
                </a:cubicBezTo>
                <a:cubicBezTo>
                  <a:pt x="40" y="387"/>
                  <a:pt x="40" y="387"/>
                  <a:pt x="40" y="387"/>
                </a:cubicBezTo>
                <a:cubicBezTo>
                  <a:pt x="38" y="388"/>
                  <a:pt x="38" y="388"/>
                  <a:pt x="38" y="388"/>
                </a:cubicBezTo>
                <a:cubicBezTo>
                  <a:pt x="37" y="387"/>
                  <a:pt x="37" y="387"/>
                  <a:pt x="37" y="387"/>
                </a:cubicBezTo>
                <a:cubicBezTo>
                  <a:pt x="37" y="386"/>
                  <a:pt x="37" y="386"/>
                  <a:pt x="37" y="386"/>
                </a:cubicBezTo>
                <a:cubicBezTo>
                  <a:pt x="38" y="386"/>
                  <a:pt x="38" y="386"/>
                  <a:pt x="38" y="386"/>
                </a:cubicBezTo>
                <a:cubicBezTo>
                  <a:pt x="37" y="386"/>
                  <a:pt x="37" y="386"/>
                  <a:pt x="37" y="386"/>
                </a:cubicBezTo>
                <a:cubicBezTo>
                  <a:pt x="36" y="386"/>
                  <a:pt x="36" y="386"/>
                  <a:pt x="36" y="386"/>
                </a:cubicBezTo>
                <a:cubicBezTo>
                  <a:pt x="35" y="386"/>
                  <a:pt x="35" y="386"/>
                  <a:pt x="35" y="386"/>
                </a:cubicBezTo>
                <a:cubicBezTo>
                  <a:pt x="35" y="385"/>
                  <a:pt x="35" y="385"/>
                  <a:pt x="35" y="385"/>
                </a:cubicBezTo>
                <a:cubicBezTo>
                  <a:pt x="37" y="384"/>
                  <a:pt x="37" y="384"/>
                  <a:pt x="37" y="384"/>
                </a:cubicBezTo>
                <a:cubicBezTo>
                  <a:pt x="38" y="384"/>
                  <a:pt x="38" y="384"/>
                  <a:pt x="38" y="384"/>
                </a:cubicBezTo>
                <a:cubicBezTo>
                  <a:pt x="39" y="384"/>
                  <a:pt x="39" y="384"/>
                  <a:pt x="39" y="384"/>
                </a:cubicBezTo>
                <a:cubicBezTo>
                  <a:pt x="39" y="383"/>
                  <a:pt x="39" y="383"/>
                  <a:pt x="39" y="383"/>
                </a:cubicBezTo>
                <a:cubicBezTo>
                  <a:pt x="39" y="383"/>
                  <a:pt x="39" y="383"/>
                  <a:pt x="39" y="383"/>
                </a:cubicBezTo>
                <a:cubicBezTo>
                  <a:pt x="39" y="382"/>
                  <a:pt x="39" y="382"/>
                  <a:pt x="39" y="382"/>
                </a:cubicBezTo>
                <a:cubicBezTo>
                  <a:pt x="39" y="382"/>
                  <a:pt x="39" y="382"/>
                  <a:pt x="39" y="382"/>
                </a:cubicBezTo>
                <a:cubicBezTo>
                  <a:pt x="39" y="381"/>
                  <a:pt x="39" y="381"/>
                  <a:pt x="39" y="381"/>
                </a:cubicBezTo>
                <a:cubicBezTo>
                  <a:pt x="39" y="381"/>
                  <a:pt x="39" y="381"/>
                  <a:pt x="39" y="381"/>
                </a:cubicBezTo>
                <a:cubicBezTo>
                  <a:pt x="38" y="381"/>
                  <a:pt x="38" y="381"/>
                  <a:pt x="38" y="381"/>
                </a:cubicBezTo>
                <a:cubicBezTo>
                  <a:pt x="37" y="381"/>
                  <a:pt x="37" y="381"/>
                  <a:pt x="37" y="381"/>
                </a:cubicBezTo>
                <a:cubicBezTo>
                  <a:pt x="37" y="380"/>
                  <a:pt x="37" y="380"/>
                  <a:pt x="37" y="380"/>
                </a:cubicBezTo>
                <a:cubicBezTo>
                  <a:pt x="37" y="378"/>
                  <a:pt x="37" y="378"/>
                  <a:pt x="37" y="378"/>
                </a:cubicBezTo>
                <a:cubicBezTo>
                  <a:pt x="36" y="377"/>
                  <a:pt x="36" y="377"/>
                  <a:pt x="36" y="377"/>
                </a:cubicBezTo>
                <a:cubicBezTo>
                  <a:pt x="36" y="376"/>
                  <a:pt x="36" y="376"/>
                  <a:pt x="36" y="376"/>
                </a:cubicBezTo>
                <a:cubicBezTo>
                  <a:pt x="36" y="375"/>
                  <a:pt x="36" y="375"/>
                  <a:pt x="36" y="375"/>
                </a:cubicBezTo>
                <a:cubicBezTo>
                  <a:pt x="38" y="375"/>
                  <a:pt x="38" y="375"/>
                  <a:pt x="38" y="375"/>
                </a:cubicBezTo>
                <a:cubicBezTo>
                  <a:pt x="39" y="376"/>
                  <a:pt x="39" y="376"/>
                  <a:pt x="39" y="376"/>
                </a:cubicBezTo>
                <a:cubicBezTo>
                  <a:pt x="41" y="375"/>
                  <a:pt x="41" y="375"/>
                  <a:pt x="41" y="375"/>
                </a:cubicBezTo>
                <a:cubicBezTo>
                  <a:pt x="42" y="376"/>
                  <a:pt x="42" y="376"/>
                  <a:pt x="42" y="376"/>
                </a:cubicBezTo>
                <a:cubicBezTo>
                  <a:pt x="42" y="375"/>
                  <a:pt x="42" y="375"/>
                  <a:pt x="42" y="375"/>
                </a:cubicBezTo>
                <a:cubicBezTo>
                  <a:pt x="41" y="375"/>
                  <a:pt x="41" y="375"/>
                  <a:pt x="41" y="375"/>
                </a:cubicBezTo>
                <a:cubicBezTo>
                  <a:pt x="40" y="375"/>
                  <a:pt x="40" y="375"/>
                  <a:pt x="40" y="375"/>
                </a:cubicBezTo>
                <a:cubicBezTo>
                  <a:pt x="39" y="374"/>
                  <a:pt x="39" y="374"/>
                  <a:pt x="39" y="374"/>
                </a:cubicBezTo>
                <a:cubicBezTo>
                  <a:pt x="38" y="373"/>
                  <a:pt x="38" y="373"/>
                  <a:pt x="38" y="373"/>
                </a:cubicBezTo>
                <a:cubicBezTo>
                  <a:pt x="38" y="373"/>
                  <a:pt x="38" y="373"/>
                  <a:pt x="38" y="373"/>
                </a:cubicBezTo>
                <a:cubicBezTo>
                  <a:pt x="38" y="372"/>
                  <a:pt x="38" y="372"/>
                  <a:pt x="38" y="372"/>
                </a:cubicBezTo>
                <a:cubicBezTo>
                  <a:pt x="39" y="371"/>
                  <a:pt x="39" y="371"/>
                  <a:pt x="39" y="371"/>
                </a:cubicBezTo>
                <a:cubicBezTo>
                  <a:pt x="40" y="370"/>
                  <a:pt x="40" y="370"/>
                  <a:pt x="40" y="370"/>
                </a:cubicBezTo>
                <a:cubicBezTo>
                  <a:pt x="40" y="369"/>
                  <a:pt x="40" y="369"/>
                  <a:pt x="40" y="369"/>
                </a:cubicBezTo>
                <a:cubicBezTo>
                  <a:pt x="39" y="369"/>
                  <a:pt x="39" y="369"/>
                  <a:pt x="39" y="369"/>
                </a:cubicBezTo>
                <a:cubicBezTo>
                  <a:pt x="38" y="370"/>
                  <a:pt x="38" y="370"/>
                  <a:pt x="38" y="370"/>
                </a:cubicBezTo>
                <a:cubicBezTo>
                  <a:pt x="37" y="371"/>
                  <a:pt x="37" y="371"/>
                  <a:pt x="37" y="371"/>
                </a:cubicBezTo>
                <a:cubicBezTo>
                  <a:pt x="35" y="372"/>
                  <a:pt x="35" y="372"/>
                  <a:pt x="35" y="372"/>
                </a:cubicBezTo>
                <a:cubicBezTo>
                  <a:pt x="34" y="373"/>
                  <a:pt x="34" y="373"/>
                  <a:pt x="34" y="373"/>
                </a:cubicBezTo>
                <a:cubicBezTo>
                  <a:pt x="34" y="374"/>
                  <a:pt x="34" y="374"/>
                  <a:pt x="34" y="374"/>
                </a:cubicBezTo>
                <a:cubicBezTo>
                  <a:pt x="33" y="374"/>
                  <a:pt x="33" y="374"/>
                  <a:pt x="33" y="374"/>
                </a:cubicBezTo>
                <a:cubicBezTo>
                  <a:pt x="32" y="372"/>
                  <a:pt x="32" y="372"/>
                  <a:pt x="32" y="372"/>
                </a:cubicBezTo>
                <a:cubicBezTo>
                  <a:pt x="32" y="370"/>
                  <a:pt x="32" y="370"/>
                  <a:pt x="32" y="370"/>
                </a:cubicBezTo>
                <a:cubicBezTo>
                  <a:pt x="32" y="367"/>
                  <a:pt x="32" y="367"/>
                  <a:pt x="32" y="367"/>
                </a:cubicBezTo>
                <a:cubicBezTo>
                  <a:pt x="32" y="365"/>
                  <a:pt x="32" y="365"/>
                  <a:pt x="32" y="365"/>
                </a:cubicBezTo>
                <a:cubicBezTo>
                  <a:pt x="32" y="364"/>
                  <a:pt x="32" y="364"/>
                  <a:pt x="32" y="364"/>
                </a:cubicBezTo>
                <a:cubicBezTo>
                  <a:pt x="31" y="364"/>
                  <a:pt x="31" y="364"/>
                  <a:pt x="31" y="364"/>
                </a:cubicBezTo>
                <a:cubicBezTo>
                  <a:pt x="31" y="362"/>
                  <a:pt x="31" y="362"/>
                  <a:pt x="31" y="362"/>
                </a:cubicBezTo>
                <a:cubicBezTo>
                  <a:pt x="32" y="361"/>
                  <a:pt x="32" y="361"/>
                  <a:pt x="32" y="361"/>
                </a:cubicBezTo>
                <a:cubicBezTo>
                  <a:pt x="32" y="362"/>
                  <a:pt x="32" y="362"/>
                  <a:pt x="32" y="362"/>
                </a:cubicBezTo>
                <a:cubicBezTo>
                  <a:pt x="33" y="362"/>
                  <a:pt x="33" y="362"/>
                  <a:pt x="33" y="362"/>
                </a:cubicBezTo>
                <a:cubicBezTo>
                  <a:pt x="33" y="361"/>
                  <a:pt x="33" y="361"/>
                  <a:pt x="33" y="361"/>
                </a:cubicBezTo>
                <a:cubicBezTo>
                  <a:pt x="34" y="360"/>
                  <a:pt x="34" y="360"/>
                  <a:pt x="34" y="360"/>
                </a:cubicBezTo>
                <a:cubicBezTo>
                  <a:pt x="35" y="358"/>
                  <a:pt x="35" y="358"/>
                  <a:pt x="35" y="358"/>
                </a:cubicBezTo>
                <a:cubicBezTo>
                  <a:pt x="36" y="358"/>
                  <a:pt x="36" y="358"/>
                  <a:pt x="36" y="358"/>
                </a:cubicBezTo>
                <a:cubicBezTo>
                  <a:pt x="37" y="358"/>
                  <a:pt x="37" y="358"/>
                  <a:pt x="37" y="358"/>
                </a:cubicBezTo>
                <a:cubicBezTo>
                  <a:pt x="38" y="358"/>
                  <a:pt x="38" y="358"/>
                  <a:pt x="38" y="358"/>
                </a:cubicBezTo>
                <a:cubicBezTo>
                  <a:pt x="37" y="357"/>
                  <a:pt x="37" y="357"/>
                  <a:pt x="37" y="357"/>
                </a:cubicBezTo>
                <a:cubicBezTo>
                  <a:pt x="37" y="357"/>
                  <a:pt x="37" y="357"/>
                  <a:pt x="37" y="357"/>
                </a:cubicBezTo>
                <a:cubicBezTo>
                  <a:pt x="39" y="355"/>
                  <a:pt x="39" y="355"/>
                  <a:pt x="39" y="355"/>
                </a:cubicBezTo>
                <a:cubicBezTo>
                  <a:pt x="39" y="354"/>
                  <a:pt x="39" y="354"/>
                  <a:pt x="39" y="354"/>
                </a:cubicBezTo>
                <a:cubicBezTo>
                  <a:pt x="41" y="353"/>
                  <a:pt x="41" y="353"/>
                  <a:pt x="41" y="353"/>
                </a:cubicBezTo>
                <a:cubicBezTo>
                  <a:pt x="41" y="352"/>
                  <a:pt x="41" y="352"/>
                  <a:pt x="41" y="352"/>
                </a:cubicBezTo>
                <a:cubicBezTo>
                  <a:pt x="40" y="352"/>
                  <a:pt x="40" y="352"/>
                  <a:pt x="40" y="352"/>
                </a:cubicBezTo>
                <a:cubicBezTo>
                  <a:pt x="40" y="352"/>
                  <a:pt x="40" y="352"/>
                  <a:pt x="40" y="352"/>
                </a:cubicBezTo>
                <a:cubicBezTo>
                  <a:pt x="38" y="353"/>
                  <a:pt x="38" y="353"/>
                  <a:pt x="38" y="353"/>
                </a:cubicBezTo>
                <a:cubicBezTo>
                  <a:pt x="38" y="354"/>
                  <a:pt x="38" y="354"/>
                  <a:pt x="38" y="354"/>
                </a:cubicBezTo>
                <a:cubicBezTo>
                  <a:pt x="36" y="357"/>
                  <a:pt x="36" y="357"/>
                  <a:pt x="36" y="357"/>
                </a:cubicBezTo>
                <a:cubicBezTo>
                  <a:pt x="36" y="357"/>
                  <a:pt x="36" y="357"/>
                  <a:pt x="36" y="357"/>
                </a:cubicBezTo>
                <a:cubicBezTo>
                  <a:pt x="36" y="356"/>
                  <a:pt x="36" y="356"/>
                  <a:pt x="36" y="356"/>
                </a:cubicBezTo>
                <a:cubicBezTo>
                  <a:pt x="37" y="354"/>
                  <a:pt x="37" y="354"/>
                  <a:pt x="37" y="354"/>
                </a:cubicBezTo>
                <a:cubicBezTo>
                  <a:pt x="37" y="352"/>
                  <a:pt x="37" y="352"/>
                  <a:pt x="37" y="352"/>
                </a:cubicBezTo>
                <a:cubicBezTo>
                  <a:pt x="39" y="349"/>
                  <a:pt x="39" y="349"/>
                  <a:pt x="39" y="349"/>
                </a:cubicBezTo>
                <a:cubicBezTo>
                  <a:pt x="40" y="347"/>
                  <a:pt x="40" y="347"/>
                  <a:pt x="40" y="347"/>
                </a:cubicBezTo>
                <a:cubicBezTo>
                  <a:pt x="39" y="347"/>
                  <a:pt x="39" y="347"/>
                  <a:pt x="39" y="347"/>
                </a:cubicBezTo>
                <a:cubicBezTo>
                  <a:pt x="39" y="347"/>
                  <a:pt x="39" y="347"/>
                  <a:pt x="39" y="347"/>
                </a:cubicBezTo>
                <a:cubicBezTo>
                  <a:pt x="39" y="346"/>
                  <a:pt x="39" y="346"/>
                  <a:pt x="39" y="346"/>
                </a:cubicBezTo>
                <a:cubicBezTo>
                  <a:pt x="40" y="346"/>
                  <a:pt x="40" y="346"/>
                  <a:pt x="40" y="346"/>
                </a:cubicBezTo>
                <a:cubicBezTo>
                  <a:pt x="40" y="345"/>
                  <a:pt x="40" y="345"/>
                  <a:pt x="40" y="345"/>
                </a:cubicBezTo>
                <a:cubicBezTo>
                  <a:pt x="40" y="345"/>
                  <a:pt x="40" y="345"/>
                  <a:pt x="40" y="345"/>
                </a:cubicBezTo>
                <a:cubicBezTo>
                  <a:pt x="40" y="344"/>
                  <a:pt x="40" y="344"/>
                  <a:pt x="40" y="344"/>
                </a:cubicBezTo>
                <a:cubicBezTo>
                  <a:pt x="39" y="344"/>
                  <a:pt x="39" y="344"/>
                  <a:pt x="39" y="344"/>
                </a:cubicBezTo>
                <a:cubicBezTo>
                  <a:pt x="39" y="342"/>
                  <a:pt x="39" y="342"/>
                  <a:pt x="39" y="342"/>
                </a:cubicBezTo>
                <a:cubicBezTo>
                  <a:pt x="38" y="341"/>
                  <a:pt x="38" y="341"/>
                  <a:pt x="38" y="341"/>
                </a:cubicBezTo>
                <a:cubicBezTo>
                  <a:pt x="37" y="340"/>
                  <a:pt x="37" y="340"/>
                  <a:pt x="37" y="340"/>
                </a:cubicBezTo>
                <a:cubicBezTo>
                  <a:pt x="36" y="340"/>
                  <a:pt x="36" y="340"/>
                  <a:pt x="36" y="340"/>
                </a:cubicBezTo>
                <a:cubicBezTo>
                  <a:pt x="36" y="339"/>
                  <a:pt x="36" y="339"/>
                  <a:pt x="36" y="339"/>
                </a:cubicBezTo>
                <a:cubicBezTo>
                  <a:pt x="35" y="337"/>
                  <a:pt x="35" y="337"/>
                  <a:pt x="35" y="337"/>
                </a:cubicBezTo>
                <a:cubicBezTo>
                  <a:pt x="34" y="337"/>
                  <a:pt x="34" y="337"/>
                  <a:pt x="34" y="337"/>
                </a:cubicBezTo>
                <a:cubicBezTo>
                  <a:pt x="33" y="337"/>
                  <a:pt x="33" y="337"/>
                  <a:pt x="33" y="337"/>
                </a:cubicBezTo>
                <a:cubicBezTo>
                  <a:pt x="33" y="336"/>
                  <a:pt x="33" y="336"/>
                  <a:pt x="33" y="336"/>
                </a:cubicBezTo>
                <a:cubicBezTo>
                  <a:pt x="33" y="336"/>
                  <a:pt x="33" y="336"/>
                  <a:pt x="33" y="336"/>
                </a:cubicBezTo>
                <a:cubicBezTo>
                  <a:pt x="33" y="335"/>
                  <a:pt x="33" y="335"/>
                  <a:pt x="33" y="335"/>
                </a:cubicBezTo>
                <a:cubicBezTo>
                  <a:pt x="33" y="334"/>
                  <a:pt x="33" y="334"/>
                  <a:pt x="33" y="334"/>
                </a:cubicBezTo>
                <a:cubicBezTo>
                  <a:pt x="32" y="334"/>
                  <a:pt x="32" y="334"/>
                  <a:pt x="32" y="334"/>
                </a:cubicBezTo>
                <a:cubicBezTo>
                  <a:pt x="33" y="333"/>
                  <a:pt x="33" y="333"/>
                  <a:pt x="33" y="333"/>
                </a:cubicBezTo>
                <a:cubicBezTo>
                  <a:pt x="33" y="333"/>
                  <a:pt x="33" y="333"/>
                  <a:pt x="33" y="333"/>
                </a:cubicBezTo>
                <a:cubicBezTo>
                  <a:pt x="33" y="332"/>
                  <a:pt x="33" y="332"/>
                  <a:pt x="33" y="332"/>
                </a:cubicBezTo>
                <a:cubicBezTo>
                  <a:pt x="32" y="332"/>
                  <a:pt x="32" y="332"/>
                  <a:pt x="32" y="332"/>
                </a:cubicBezTo>
                <a:cubicBezTo>
                  <a:pt x="32" y="332"/>
                  <a:pt x="32" y="332"/>
                  <a:pt x="32" y="332"/>
                </a:cubicBezTo>
                <a:cubicBezTo>
                  <a:pt x="32" y="331"/>
                  <a:pt x="32" y="331"/>
                  <a:pt x="32" y="331"/>
                </a:cubicBezTo>
                <a:cubicBezTo>
                  <a:pt x="33" y="330"/>
                  <a:pt x="33" y="330"/>
                  <a:pt x="33" y="330"/>
                </a:cubicBezTo>
                <a:cubicBezTo>
                  <a:pt x="33" y="326"/>
                  <a:pt x="33" y="326"/>
                  <a:pt x="33" y="326"/>
                </a:cubicBezTo>
                <a:cubicBezTo>
                  <a:pt x="33" y="321"/>
                  <a:pt x="33" y="321"/>
                  <a:pt x="33" y="321"/>
                </a:cubicBezTo>
                <a:cubicBezTo>
                  <a:pt x="33" y="318"/>
                  <a:pt x="33" y="318"/>
                  <a:pt x="33" y="318"/>
                </a:cubicBezTo>
                <a:cubicBezTo>
                  <a:pt x="33" y="317"/>
                  <a:pt x="33" y="317"/>
                  <a:pt x="33" y="317"/>
                </a:cubicBezTo>
                <a:cubicBezTo>
                  <a:pt x="33" y="316"/>
                  <a:pt x="33" y="316"/>
                  <a:pt x="33" y="316"/>
                </a:cubicBezTo>
                <a:cubicBezTo>
                  <a:pt x="33" y="314"/>
                  <a:pt x="33" y="314"/>
                  <a:pt x="33" y="314"/>
                </a:cubicBezTo>
                <a:cubicBezTo>
                  <a:pt x="33" y="313"/>
                  <a:pt x="33" y="313"/>
                  <a:pt x="33" y="313"/>
                </a:cubicBezTo>
                <a:cubicBezTo>
                  <a:pt x="32" y="312"/>
                  <a:pt x="32" y="312"/>
                  <a:pt x="32" y="312"/>
                </a:cubicBezTo>
                <a:cubicBezTo>
                  <a:pt x="32" y="310"/>
                  <a:pt x="32" y="310"/>
                  <a:pt x="32" y="310"/>
                </a:cubicBezTo>
                <a:cubicBezTo>
                  <a:pt x="31" y="308"/>
                  <a:pt x="31" y="308"/>
                  <a:pt x="31" y="308"/>
                </a:cubicBezTo>
                <a:cubicBezTo>
                  <a:pt x="30" y="306"/>
                  <a:pt x="30" y="306"/>
                  <a:pt x="30" y="306"/>
                </a:cubicBezTo>
                <a:cubicBezTo>
                  <a:pt x="31" y="305"/>
                  <a:pt x="31" y="305"/>
                  <a:pt x="31" y="305"/>
                </a:cubicBezTo>
                <a:cubicBezTo>
                  <a:pt x="29" y="301"/>
                  <a:pt x="29" y="301"/>
                  <a:pt x="29" y="301"/>
                </a:cubicBezTo>
                <a:cubicBezTo>
                  <a:pt x="30" y="301"/>
                  <a:pt x="30" y="301"/>
                  <a:pt x="30" y="301"/>
                </a:cubicBezTo>
                <a:cubicBezTo>
                  <a:pt x="31" y="299"/>
                  <a:pt x="31" y="299"/>
                  <a:pt x="31" y="299"/>
                </a:cubicBezTo>
                <a:cubicBezTo>
                  <a:pt x="30" y="298"/>
                  <a:pt x="30" y="298"/>
                  <a:pt x="30" y="298"/>
                </a:cubicBezTo>
                <a:cubicBezTo>
                  <a:pt x="30" y="297"/>
                  <a:pt x="30" y="297"/>
                  <a:pt x="30" y="297"/>
                </a:cubicBezTo>
                <a:cubicBezTo>
                  <a:pt x="29" y="296"/>
                  <a:pt x="29" y="296"/>
                  <a:pt x="29" y="296"/>
                </a:cubicBezTo>
                <a:cubicBezTo>
                  <a:pt x="27" y="296"/>
                  <a:pt x="27" y="296"/>
                  <a:pt x="27" y="296"/>
                </a:cubicBezTo>
                <a:cubicBezTo>
                  <a:pt x="25" y="296"/>
                  <a:pt x="25" y="296"/>
                  <a:pt x="25" y="296"/>
                </a:cubicBezTo>
                <a:cubicBezTo>
                  <a:pt x="24" y="297"/>
                  <a:pt x="24" y="297"/>
                  <a:pt x="24" y="297"/>
                </a:cubicBezTo>
                <a:cubicBezTo>
                  <a:pt x="22" y="297"/>
                  <a:pt x="22" y="297"/>
                  <a:pt x="22" y="297"/>
                </a:cubicBezTo>
                <a:cubicBezTo>
                  <a:pt x="21" y="299"/>
                  <a:pt x="21" y="299"/>
                  <a:pt x="21" y="299"/>
                </a:cubicBezTo>
                <a:cubicBezTo>
                  <a:pt x="19" y="301"/>
                  <a:pt x="19" y="301"/>
                  <a:pt x="19" y="301"/>
                </a:cubicBezTo>
                <a:cubicBezTo>
                  <a:pt x="17" y="302"/>
                  <a:pt x="17" y="302"/>
                  <a:pt x="17" y="302"/>
                </a:cubicBezTo>
                <a:cubicBezTo>
                  <a:pt x="15" y="303"/>
                  <a:pt x="15" y="303"/>
                  <a:pt x="15" y="303"/>
                </a:cubicBezTo>
                <a:cubicBezTo>
                  <a:pt x="13" y="303"/>
                  <a:pt x="13" y="303"/>
                  <a:pt x="13" y="303"/>
                </a:cubicBezTo>
                <a:cubicBezTo>
                  <a:pt x="13" y="303"/>
                  <a:pt x="13" y="303"/>
                  <a:pt x="13" y="303"/>
                </a:cubicBezTo>
                <a:cubicBezTo>
                  <a:pt x="13" y="302"/>
                  <a:pt x="13" y="302"/>
                  <a:pt x="13" y="302"/>
                </a:cubicBezTo>
                <a:cubicBezTo>
                  <a:pt x="14" y="300"/>
                  <a:pt x="14" y="300"/>
                  <a:pt x="14" y="300"/>
                </a:cubicBezTo>
                <a:cubicBezTo>
                  <a:pt x="13" y="299"/>
                  <a:pt x="13" y="299"/>
                  <a:pt x="13" y="299"/>
                </a:cubicBezTo>
                <a:cubicBezTo>
                  <a:pt x="11" y="292"/>
                  <a:pt x="11" y="292"/>
                  <a:pt x="11" y="292"/>
                </a:cubicBezTo>
                <a:cubicBezTo>
                  <a:pt x="10" y="288"/>
                  <a:pt x="10" y="288"/>
                  <a:pt x="10" y="288"/>
                </a:cubicBezTo>
                <a:cubicBezTo>
                  <a:pt x="10" y="287"/>
                  <a:pt x="10" y="287"/>
                  <a:pt x="10" y="287"/>
                </a:cubicBezTo>
                <a:cubicBezTo>
                  <a:pt x="11" y="284"/>
                  <a:pt x="11" y="284"/>
                  <a:pt x="11" y="284"/>
                </a:cubicBezTo>
                <a:cubicBezTo>
                  <a:pt x="8" y="284"/>
                  <a:pt x="8" y="284"/>
                  <a:pt x="8" y="284"/>
                </a:cubicBezTo>
                <a:cubicBezTo>
                  <a:pt x="5" y="285"/>
                  <a:pt x="5" y="285"/>
                  <a:pt x="5" y="285"/>
                </a:cubicBezTo>
                <a:cubicBezTo>
                  <a:pt x="4" y="284"/>
                  <a:pt x="4" y="284"/>
                  <a:pt x="4" y="284"/>
                </a:cubicBezTo>
                <a:cubicBezTo>
                  <a:pt x="0" y="284"/>
                  <a:pt x="0" y="284"/>
                  <a:pt x="0" y="284"/>
                </a:cubicBezTo>
                <a:cubicBezTo>
                  <a:pt x="73" y="151"/>
                  <a:pt x="73" y="151"/>
                  <a:pt x="73" y="151"/>
                </a:cubicBezTo>
                <a:cubicBezTo>
                  <a:pt x="73" y="152"/>
                  <a:pt x="73" y="152"/>
                  <a:pt x="73" y="152"/>
                </a:cubicBezTo>
                <a:cubicBezTo>
                  <a:pt x="74" y="152"/>
                  <a:pt x="74" y="152"/>
                  <a:pt x="74" y="152"/>
                </a:cubicBezTo>
                <a:cubicBezTo>
                  <a:pt x="77" y="155"/>
                  <a:pt x="77" y="155"/>
                  <a:pt x="77" y="155"/>
                </a:cubicBezTo>
                <a:cubicBezTo>
                  <a:pt x="78" y="155"/>
                  <a:pt x="78" y="155"/>
                  <a:pt x="78" y="155"/>
                </a:cubicBezTo>
                <a:cubicBezTo>
                  <a:pt x="80" y="156"/>
                  <a:pt x="80" y="156"/>
                  <a:pt x="80" y="156"/>
                </a:cubicBezTo>
                <a:cubicBezTo>
                  <a:pt x="80" y="157"/>
                  <a:pt x="80" y="157"/>
                  <a:pt x="80" y="157"/>
                </a:cubicBezTo>
                <a:cubicBezTo>
                  <a:pt x="80" y="157"/>
                  <a:pt x="80" y="157"/>
                  <a:pt x="80" y="157"/>
                </a:cubicBezTo>
                <a:cubicBezTo>
                  <a:pt x="82" y="158"/>
                  <a:pt x="82" y="158"/>
                  <a:pt x="82" y="158"/>
                </a:cubicBezTo>
                <a:cubicBezTo>
                  <a:pt x="82" y="159"/>
                  <a:pt x="82" y="159"/>
                  <a:pt x="82" y="159"/>
                </a:cubicBezTo>
                <a:cubicBezTo>
                  <a:pt x="83" y="160"/>
                  <a:pt x="83" y="160"/>
                  <a:pt x="83" y="160"/>
                </a:cubicBezTo>
                <a:cubicBezTo>
                  <a:pt x="83" y="161"/>
                  <a:pt x="83" y="161"/>
                  <a:pt x="83" y="161"/>
                </a:cubicBezTo>
                <a:cubicBezTo>
                  <a:pt x="83" y="161"/>
                  <a:pt x="83" y="161"/>
                  <a:pt x="83" y="161"/>
                </a:cubicBezTo>
                <a:cubicBezTo>
                  <a:pt x="82" y="163"/>
                  <a:pt x="82" y="163"/>
                  <a:pt x="82" y="163"/>
                </a:cubicBezTo>
                <a:cubicBezTo>
                  <a:pt x="83" y="164"/>
                  <a:pt x="83" y="164"/>
                  <a:pt x="83" y="164"/>
                </a:cubicBezTo>
                <a:cubicBezTo>
                  <a:pt x="83" y="164"/>
                  <a:pt x="83" y="164"/>
                  <a:pt x="83" y="164"/>
                </a:cubicBezTo>
                <a:cubicBezTo>
                  <a:pt x="84" y="164"/>
                  <a:pt x="84" y="164"/>
                  <a:pt x="84" y="164"/>
                </a:cubicBezTo>
                <a:cubicBezTo>
                  <a:pt x="84" y="164"/>
                  <a:pt x="84" y="164"/>
                  <a:pt x="84" y="164"/>
                </a:cubicBezTo>
                <a:cubicBezTo>
                  <a:pt x="84" y="166"/>
                  <a:pt x="84" y="166"/>
                  <a:pt x="84" y="166"/>
                </a:cubicBezTo>
                <a:cubicBezTo>
                  <a:pt x="85" y="168"/>
                  <a:pt x="85" y="168"/>
                  <a:pt x="85" y="168"/>
                </a:cubicBezTo>
                <a:cubicBezTo>
                  <a:pt x="87" y="170"/>
                  <a:pt x="87" y="170"/>
                  <a:pt x="87" y="170"/>
                </a:cubicBezTo>
                <a:cubicBezTo>
                  <a:pt x="88" y="171"/>
                  <a:pt x="88" y="171"/>
                  <a:pt x="88" y="171"/>
                </a:cubicBezTo>
                <a:cubicBezTo>
                  <a:pt x="88" y="171"/>
                  <a:pt x="88" y="171"/>
                  <a:pt x="88" y="171"/>
                </a:cubicBezTo>
                <a:cubicBezTo>
                  <a:pt x="89" y="171"/>
                  <a:pt x="89" y="171"/>
                  <a:pt x="89" y="171"/>
                </a:cubicBezTo>
                <a:cubicBezTo>
                  <a:pt x="89" y="172"/>
                  <a:pt x="89" y="172"/>
                  <a:pt x="89" y="172"/>
                </a:cubicBezTo>
                <a:cubicBezTo>
                  <a:pt x="90" y="172"/>
                  <a:pt x="90" y="172"/>
                  <a:pt x="90" y="172"/>
                </a:cubicBezTo>
                <a:cubicBezTo>
                  <a:pt x="91" y="172"/>
                  <a:pt x="91" y="172"/>
                  <a:pt x="91" y="172"/>
                </a:cubicBezTo>
                <a:cubicBezTo>
                  <a:pt x="92" y="174"/>
                  <a:pt x="92" y="174"/>
                  <a:pt x="92" y="174"/>
                </a:cubicBezTo>
                <a:cubicBezTo>
                  <a:pt x="92" y="176"/>
                  <a:pt x="92" y="176"/>
                  <a:pt x="92" y="176"/>
                </a:cubicBezTo>
                <a:cubicBezTo>
                  <a:pt x="93" y="176"/>
                  <a:pt x="93" y="176"/>
                  <a:pt x="93" y="176"/>
                </a:cubicBezTo>
                <a:cubicBezTo>
                  <a:pt x="93" y="177"/>
                  <a:pt x="93" y="177"/>
                  <a:pt x="93" y="177"/>
                </a:cubicBezTo>
                <a:cubicBezTo>
                  <a:pt x="94" y="177"/>
                  <a:pt x="94" y="177"/>
                  <a:pt x="94" y="177"/>
                </a:cubicBezTo>
                <a:cubicBezTo>
                  <a:pt x="96" y="179"/>
                  <a:pt x="96" y="179"/>
                  <a:pt x="96" y="179"/>
                </a:cubicBezTo>
                <a:cubicBezTo>
                  <a:pt x="96" y="180"/>
                  <a:pt x="96" y="180"/>
                  <a:pt x="96" y="180"/>
                </a:cubicBezTo>
                <a:cubicBezTo>
                  <a:pt x="96" y="180"/>
                  <a:pt x="96" y="180"/>
                  <a:pt x="96" y="180"/>
                </a:cubicBezTo>
                <a:cubicBezTo>
                  <a:pt x="96" y="181"/>
                  <a:pt x="96" y="181"/>
                  <a:pt x="96" y="181"/>
                </a:cubicBezTo>
                <a:cubicBezTo>
                  <a:pt x="95" y="183"/>
                  <a:pt x="95" y="183"/>
                  <a:pt x="95" y="183"/>
                </a:cubicBezTo>
                <a:cubicBezTo>
                  <a:pt x="94" y="184"/>
                  <a:pt x="94" y="184"/>
                  <a:pt x="94" y="184"/>
                </a:cubicBezTo>
                <a:cubicBezTo>
                  <a:pt x="97" y="182"/>
                  <a:pt x="97" y="182"/>
                  <a:pt x="97" y="182"/>
                </a:cubicBezTo>
                <a:cubicBezTo>
                  <a:pt x="98" y="181"/>
                  <a:pt x="98" y="181"/>
                  <a:pt x="98" y="181"/>
                </a:cubicBezTo>
                <a:cubicBezTo>
                  <a:pt x="98" y="181"/>
                  <a:pt x="98" y="181"/>
                  <a:pt x="98" y="181"/>
                </a:cubicBezTo>
                <a:cubicBezTo>
                  <a:pt x="98" y="180"/>
                  <a:pt x="98" y="180"/>
                  <a:pt x="98" y="180"/>
                </a:cubicBezTo>
                <a:cubicBezTo>
                  <a:pt x="98" y="176"/>
                  <a:pt x="98" y="176"/>
                  <a:pt x="98" y="176"/>
                </a:cubicBezTo>
                <a:cubicBezTo>
                  <a:pt x="98" y="174"/>
                  <a:pt x="98" y="174"/>
                  <a:pt x="98" y="174"/>
                </a:cubicBezTo>
                <a:cubicBezTo>
                  <a:pt x="99" y="173"/>
                  <a:pt x="99" y="173"/>
                  <a:pt x="99" y="173"/>
                </a:cubicBezTo>
                <a:cubicBezTo>
                  <a:pt x="101" y="172"/>
                  <a:pt x="101" y="172"/>
                  <a:pt x="101" y="172"/>
                </a:cubicBezTo>
                <a:cubicBezTo>
                  <a:pt x="103" y="171"/>
                  <a:pt x="103" y="171"/>
                  <a:pt x="103" y="171"/>
                </a:cubicBezTo>
                <a:cubicBezTo>
                  <a:pt x="104" y="170"/>
                  <a:pt x="104" y="170"/>
                  <a:pt x="104" y="170"/>
                </a:cubicBezTo>
                <a:cubicBezTo>
                  <a:pt x="105" y="170"/>
                  <a:pt x="105" y="170"/>
                  <a:pt x="105" y="170"/>
                </a:cubicBezTo>
                <a:cubicBezTo>
                  <a:pt x="106" y="169"/>
                  <a:pt x="106" y="169"/>
                  <a:pt x="106" y="169"/>
                </a:cubicBezTo>
                <a:cubicBezTo>
                  <a:pt x="106" y="169"/>
                  <a:pt x="106" y="169"/>
                  <a:pt x="106" y="169"/>
                </a:cubicBezTo>
                <a:cubicBezTo>
                  <a:pt x="107" y="169"/>
                  <a:pt x="107" y="169"/>
                  <a:pt x="107" y="169"/>
                </a:cubicBezTo>
                <a:cubicBezTo>
                  <a:pt x="109" y="169"/>
                  <a:pt x="109" y="169"/>
                  <a:pt x="109" y="169"/>
                </a:cubicBezTo>
                <a:cubicBezTo>
                  <a:pt x="109" y="169"/>
                  <a:pt x="109" y="169"/>
                  <a:pt x="109" y="169"/>
                </a:cubicBezTo>
                <a:cubicBezTo>
                  <a:pt x="110" y="169"/>
                  <a:pt x="110" y="169"/>
                  <a:pt x="110" y="169"/>
                </a:cubicBezTo>
                <a:cubicBezTo>
                  <a:pt x="111" y="169"/>
                  <a:pt x="111" y="169"/>
                  <a:pt x="111" y="169"/>
                </a:cubicBezTo>
                <a:cubicBezTo>
                  <a:pt x="112" y="168"/>
                  <a:pt x="112" y="168"/>
                  <a:pt x="112" y="168"/>
                </a:cubicBezTo>
                <a:cubicBezTo>
                  <a:pt x="113" y="166"/>
                  <a:pt x="113" y="166"/>
                  <a:pt x="113" y="166"/>
                </a:cubicBezTo>
                <a:cubicBezTo>
                  <a:pt x="114" y="166"/>
                  <a:pt x="114" y="166"/>
                  <a:pt x="114" y="166"/>
                </a:cubicBezTo>
                <a:cubicBezTo>
                  <a:pt x="115" y="166"/>
                  <a:pt x="115" y="166"/>
                  <a:pt x="115" y="166"/>
                </a:cubicBezTo>
                <a:cubicBezTo>
                  <a:pt x="116" y="166"/>
                  <a:pt x="116" y="166"/>
                  <a:pt x="116" y="166"/>
                </a:cubicBezTo>
                <a:cubicBezTo>
                  <a:pt x="115" y="165"/>
                  <a:pt x="115" y="165"/>
                  <a:pt x="115" y="165"/>
                </a:cubicBezTo>
                <a:cubicBezTo>
                  <a:pt x="116" y="165"/>
                  <a:pt x="116" y="165"/>
                  <a:pt x="116" y="165"/>
                </a:cubicBezTo>
                <a:cubicBezTo>
                  <a:pt x="117" y="166"/>
                  <a:pt x="117" y="166"/>
                  <a:pt x="117" y="166"/>
                </a:cubicBezTo>
                <a:cubicBezTo>
                  <a:pt x="120" y="166"/>
                  <a:pt x="120" y="166"/>
                  <a:pt x="120" y="166"/>
                </a:cubicBezTo>
                <a:cubicBezTo>
                  <a:pt x="123" y="165"/>
                  <a:pt x="123" y="165"/>
                  <a:pt x="123" y="165"/>
                </a:cubicBezTo>
                <a:cubicBezTo>
                  <a:pt x="125" y="164"/>
                  <a:pt x="125" y="164"/>
                  <a:pt x="125" y="164"/>
                </a:cubicBezTo>
                <a:cubicBezTo>
                  <a:pt x="125" y="164"/>
                  <a:pt x="125" y="164"/>
                  <a:pt x="125" y="164"/>
                </a:cubicBezTo>
                <a:cubicBezTo>
                  <a:pt x="126" y="165"/>
                  <a:pt x="126" y="165"/>
                  <a:pt x="126" y="165"/>
                </a:cubicBezTo>
                <a:cubicBezTo>
                  <a:pt x="127" y="165"/>
                  <a:pt x="127" y="165"/>
                  <a:pt x="127" y="165"/>
                </a:cubicBezTo>
                <a:cubicBezTo>
                  <a:pt x="127" y="163"/>
                  <a:pt x="127" y="163"/>
                  <a:pt x="127" y="163"/>
                </a:cubicBezTo>
                <a:cubicBezTo>
                  <a:pt x="129" y="162"/>
                  <a:pt x="129" y="162"/>
                  <a:pt x="129" y="162"/>
                </a:cubicBezTo>
                <a:cubicBezTo>
                  <a:pt x="130" y="162"/>
                  <a:pt x="130" y="162"/>
                  <a:pt x="130" y="162"/>
                </a:cubicBezTo>
                <a:cubicBezTo>
                  <a:pt x="131" y="163"/>
                  <a:pt x="131" y="163"/>
                  <a:pt x="131" y="163"/>
                </a:cubicBezTo>
                <a:cubicBezTo>
                  <a:pt x="131" y="163"/>
                  <a:pt x="131" y="163"/>
                  <a:pt x="131" y="163"/>
                </a:cubicBezTo>
                <a:cubicBezTo>
                  <a:pt x="132" y="164"/>
                  <a:pt x="132" y="164"/>
                  <a:pt x="132" y="164"/>
                </a:cubicBezTo>
                <a:cubicBezTo>
                  <a:pt x="133" y="163"/>
                  <a:pt x="133" y="163"/>
                  <a:pt x="133" y="163"/>
                </a:cubicBezTo>
                <a:cubicBezTo>
                  <a:pt x="133" y="162"/>
                  <a:pt x="133" y="162"/>
                  <a:pt x="133" y="162"/>
                </a:cubicBezTo>
                <a:cubicBezTo>
                  <a:pt x="133" y="162"/>
                  <a:pt x="133" y="162"/>
                  <a:pt x="133" y="162"/>
                </a:cubicBezTo>
                <a:cubicBezTo>
                  <a:pt x="134" y="162"/>
                  <a:pt x="134" y="162"/>
                  <a:pt x="134" y="162"/>
                </a:cubicBezTo>
                <a:cubicBezTo>
                  <a:pt x="134" y="164"/>
                  <a:pt x="134" y="164"/>
                  <a:pt x="134" y="164"/>
                </a:cubicBezTo>
                <a:cubicBezTo>
                  <a:pt x="135" y="164"/>
                  <a:pt x="135" y="164"/>
                  <a:pt x="135" y="164"/>
                </a:cubicBezTo>
                <a:cubicBezTo>
                  <a:pt x="134" y="165"/>
                  <a:pt x="134" y="165"/>
                  <a:pt x="134" y="165"/>
                </a:cubicBezTo>
                <a:cubicBezTo>
                  <a:pt x="134" y="165"/>
                  <a:pt x="134" y="165"/>
                  <a:pt x="134" y="165"/>
                </a:cubicBezTo>
                <a:cubicBezTo>
                  <a:pt x="133" y="166"/>
                  <a:pt x="133" y="166"/>
                  <a:pt x="133" y="166"/>
                </a:cubicBezTo>
                <a:cubicBezTo>
                  <a:pt x="131" y="167"/>
                  <a:pt x="131" y="167"/>
                  <a:pt x="131" y="167"/>
                </a:cubicBezTo>
                <a:cubicBezTo>
                  <a:pt x="128" y="167"/>
                  <a:pt x="128" y="167"/>
                  <a:pt x="128" y="167"/>
                </a:cubicBezTo>
                <a:cubicBezTo>
                  <a:pt x="127" y="168"/>
                  <a:pt x="127" y="168"/>
                  <a:pt x="127" y="168"/>
                </a:cubicBezTo>
                <a:cubicBezTo>
                  <a:pt x="126" y="169"/>
                  <a:pt x="126" y="169"/>
                  <a:pt x="126" y="169"/>
                </a:cubicBezTo>
                <a:cubicBezTo>
                  <a:pt x="125" y="169"/>
                  <a:pt x="125" y="169"/>
                  <a:pt x="125" y="169"/>
                </a:cubicBezTo>
                <a:cubicBezTo>
                  <a:pt x="124" y="169"/>
                  <a:pt x="124" y="169"/>
                  <a:pt x="124" y="169"/>
                </a:cubicBezTo>
                <a:cubicBezTo>
                  <a:pt x="123" y="169"/>
                  <a:pt x="123" y="169"/>
                  <a:pt x="123" y="169"/>
                </a:cubicBezTo>
                <a:cubicBezTo>
                  <a:pt x="123" y="169"/>
                  <a:pt x="123" y="169"/>
                  <a:pt x="123" y="169"/>
                </a:cubicBezTo>
                <a:cubicBezTo>
                  <a:pt x="121" y="169"/>
                  <a:pt x="121" y="169"/>
                  <a:pt x="121" y="169"/>
                </a:cubicBezTo>
                <a:cubicBezTo>
                  <a:pt x="119" y="169"/>
                  <a:pt x="119" y="169"/>
                  <a:pt x="119" y="169"/>
                </a:cubicBezTo>
                <a:cubicBezTo>
                  <a:pt x="119" y="170"/>
                  <a:pt x="119" y="170"/>
                  <a:pt x="119" y="170"/>
                </a:cubicBezTo>
                <a:cubicBezTo>
                  <a:pt x="116" y="170"/>
                  <a:pt x="116" y="170"/>
                  <a:pt x="116" y="170"/>
                </a:cubicBezTo>
                <a:cubicBezTo>
                  <a:pt x="115" y="170"/>
                  <a:pt x="115" y="170"/>
                  <a:pt x="115" y="170"/>
                </a:cubicBezTo>
                <a:cubicBezTo>
                  <a:pt x="114" y="172"/>
                  <a:pt x="114" y="172"/>
                  <a:pt x="114" y="172"/>
                </a:cubicBezTo>
                <a:cubicBezTo>
                  <a:pt x="111" y="173"/>
                  <a:pt x="111" y="173"/>
                  <a:pt x="111" y="173"/>
                </a:cubicBezTo>
                <a:cubicBezTo>
                  <a:pt x="111" y="172"/>
                  <a:pt x="111" y="172"/>
                  <a:pt x="111" y="172"/>
                </a:cubicBezTo>
                <a:cubicBezTo>
                  <a:pt x="109" y="173"/>
                  <a:pt x="109" y="173"/>
                  <a:pt x="109" y="173"/>
                </a:cubicBezTo>
                <a:cubicBezTo>
                  <a:pt x="109" y="174"/>
                  <a:pt x="109" y="174"/>
                  <a:pt x="109" y="174"/>
                </a:cubicBezTo>
                <a:cubicBezTo>
                  <a:pt x="108" y="175"/>
                  <a:pt x="108" y="175"/>
                  <a:pt x="108" y="175"/>
                </a:cubicBezTo>
                <a:cubicBezTo>
                  <a:pt x="108" y="174"/>
                  <a:pt x="108" y="174"/>
                  <a:pt x="108" y="174"/>
                </a:cubicBezTo>
                <a:cubicBezTo>
                  <a:pt x="107" y="175"/>
                  <a:pt x="107" y="175"/>
                  <a:pt x="107" y="175"/>
                </a:cubicBezTo>
                <a:cubicBezTo>
                  <a:pt x="106" y="176"/>
                  <a:pt x="106" y="176"/>
                  <a:pt x="106" y="176"/>
                </a:cubicBezTo>
                <a:cubicBezTo>
                  <a:pt x="105" y="176"/>
                  <a:pt x="105" y="176"/>
                  <a:pt x="105" y="176"/>
                </a:cubicBezTo>
                <a:cubicBezTo>
                  <a:pt x="104" y="177"/>
                  <a:pt x="104" y="177"/>
                  <a:pt x="104" y="177"/>
                </a:cubicBezTo>
                <a:cubicBezTo>
                  <a:pt x="105" y="179"/>
                  <a:pt x="105" y="179"/>
                  <a:pt x="105" y="179"/>
                </a:cubicBezTo>
                <a:cubicBezTo>
                  <a:pt x="107" y="180"/>
                  <a:pt x="107" y="180"/>
                  <a:pt x="107" y="180"/>
                </a:cubicBezTo>
                <a:cubicBezTo>
                  <a:pt x="105" y="178"/>
                  <a:pt x="105" y="178"/>
                  <a:pt x="105" y="178"/>
                </a:cubicBezTo>
                <a:cubicBezTo>
                  <a:pt x="105" y="178"/>
                  <a:pt x="105" y="178"/>
                  <a:pt x="105" y="178"/>
                </a:cubicBezTo>
                <a:cubicBezTo>
                  <a:pt x="107" y="178"/>
                  <a:pt x="107" y="178"/>
                  <a:pt x="107" y="178"/>
                </a:cubicBezTo>
                <a:cubicBezTo>
                  <a:pt x="107" y="178"/>
                  <a:pt x="107" y="178"/>
                  <a:pt x="107" y="178"/>
                </a:cubicBezTo>
                <a:cubicBezTo>
                  <a:pt x="108" y="178"/>
                  <a:pt x="108" y="178"/>
                  <a:pt x="108" y="178"/>
                </a:cubicBezTo>
                <a:cubicBezTo>
                  <a:pt x="108" y="177"/>
                  <a:pt x="108" y="177"/>
                  <a:pt x="108" y="177"/>
                </a:cubicBezTo>
                <a:cubicBezTo>
                  <a:pt x="109" y="175"/>
                  <a:pt x="109" y="175"/>
                  <a:pt x="109" y="175"/>
                </a:cubicBezTo>
                <a:cubicBezTo>
                  <a:pt x="112" y="175"/>
                  <a:pt x="112" y="175"/>
                  <a:pt x="112" y="175"/>
                </a:cubicBezTo>
                <a:cubicBezTo>
                  <a:pt x="113" y="175"/>
                  <a:pt x="113" y="175"/>
                  <a:pt x="113" y="175"/>
                </a:cubicBezTo>
                <a:cubicBezTo>
                  <a:pt x="116" y="173"/>
                  <a:pt x="116" y="173"/>
                  <a:pt x="116" y="173"/>
                </a:cubicBezTo>
                <a:cubicBezTo>
                  <a:pt x="116" y="172"/>
                  <a:pt x="116" y="172"/>
                  <a:pt x="116" y="172"/>
                </a:cubicBezTo>
                <a:cubicBezTo>
                  <a:pt x="117" y="171"/>
                  <a:pt x="117" y="171"/>
                  <a:pt x="117" y="171"/>
                </a:cubicBezTo>
                <a:cubicBezTo>
                  <a:pt x="118" y="172"/>
                  <a:pt x="118" y="172"/>
                  <a:pt x="118" y="172"/>
                </a:cubicBezTo>
                <a:cubicBezTo>
                  <a:pt x="119" y="172"/>
                  <a:pt x="119" y="172"/>
                  <a:pt x="119" y="172"/>
                </a:cubicBezTo>
                <a:cubicBezTo>
                  <a:pt x="120" y="171"/>
                  <a:pt x="120" y="171"/>
                  <a:pt x="120" y="171"/>
                </a:cubicBezTo>
                <a:cubicBezTo>
                  <a:pt x="120" y="172"/>
                  <a:pt x="120" y="172"/>
                  <a:pt x="120" y="172"/>
                </a:cubicBezTo>
                <a:cubicBezTo>
                  <a:pt x="122" y="171"/>
                  <a:pt x="122" y="171"/>
                  <a:pt x="122" y="171"/>
                </a:cubicBezTo>
                <a:cubicBezTo>
                  <a:pt x="122" y="171"/>
                  <a:pt x="122" y="171"/>
                  <a:pt x="122" y="171"/>
                </a:cubicBezTo>
                <a:cubicBezTo>
                  <a:pt x="121" y="173"/>
                  <a:pt x="121" y="173"/>
                  <a:pt x="121" y="173"/>
                </a:cubicBezTo>
                <a:cubicBezTo>
                  <a:pt x="121" y="174"/>
                  <a:pt x="121" y="174"/>
                  <a:pt x="121" y="174"/>
                </a:cubicBezTo>
                <a:cubicBezTo>
                  <a:pt x="122" y="172"/>
                  <a:pt x="122" y="172"/>
                  <a:pt x="122" y="172"/>
                </a:cubicBezTo>
                <a:cubicBezTo>
                  <a:pt x="124" y="172"/>
                  <a:pt x="124" y="172"/>
                  <a:pt x="124" y="172"/>
                </a:cubicBezTo>
                <a:cubicBezTo>
                  <a:pt x="128" y="169"/>
                  <a:pt x="128" y="169"/>
                  <a:pt x="128" y="169"/>
                </a:cubicBezTo>
                <a:cubicBezTo>
                  <a:pt x="130" y="169"/>
                  <a:pt x="130" y="169"/>
                  <a:pt x="130" y="169"/>
                </a:cubicBezTo>
                <a:cubicBezTo>
                  <a:pt x="131" y="168"/>
                  <a:pt x="131" y="168"/>
                  <a:pt x="131" y="168"/>
                </a:cubicBezTo>
                <a:cubicBezTo>
                  <a:pt x="134" y="168"/>
                  <a:pt x="134" y="168"/>
                  <a:pt x="134" y="168"/>
                </a:cubicBezTo>
                <a:cubicBezTo>
                  <a:pt x="135" y="167"/>
                  <a:pt x="135" y="167"/>
                  <a:pt x="135" y="167"/>
                </a:cubicBezTo>
                <a:cubicBezTo>
                  <a:pt x="136" y="167"/>
                  <a:pt x="136" y="167"/>
                  <a:pt x="136" y="167"/>
                </a:cubicBezTo>
                <a:cubicBezTo>
                  <a:pt x="135" y="169"/>
                  <a:pt x="135" y="169"/>
                  <a:pt x="135" y="169"/>
                </a:cubicBezTo>
                <a:cubicBezTo>
                  <a:pt x="134" y="169"/>
                  <a:pt x="134" y="169"/>
                  <a:pt x="134" y="169"/>
                </a:cubicBezTo>
                <a:cubicBezTo>
                  <a:pt x="134" y="170"/>
                  <a:pt x="134" y="170"/>
                  <a:pt x="134" y="170"/>
                </a:cubicBezTo>
                <a:cubicBezTo>
                  <a:pt x="135" y="171"/>
                  <a:pt x="135" y="171"/>
                  <a:pt x="135" y="171"/>
                </a:cubicBezTo>
                <a:cubicBezTo>
                  <a:pt x="136" y="169"/>
                  <a:pt x="136" y="169"/>
                  <a:pt x="136" y="169"/>
                </a:cubicBezTo>
                <a:cubicBezTo>
                  <a:pt x="139" y="168"/>
                  <a:pt x="139" y="168"/>
                  <a:pt x="139" y="168"/>
                </a:cubicBezTo>
                <a:cubicBezTo>
                  <a:pt x="140" y="168"/>
                  <a:pt x="140" y="168"/>
                  <a:pt x="140" y="168"/>
                </a:cubicBezTo>
                <a:cubicBezTo>
                  <a:pt x="140" y="167"/>
                  <a:pt x="140" y="167"/>
                  <a:pt x="140" y="167"/>
                </a:cubicBezTo>
                <a:cubicBezTo>
                  <a:pt x="141" y="166"/>
                  <a:pt x="141" y="166"/>
                  <a:pt x="141" y="166"/>
                </a:cubicBezTo>
                <a:cubicBezTo>
                  <a:pt x="142" y="167"/>
                  <a:pt x="142" y="167"/>
                  <a:pt x="142" y="167"/>
                </a:cubicBezTo>
                <a:cubicBezTo>
                  <a:pt x="142" y="166"/>
                  <a:pt x="142" y="166"/>
                  <a:pt x="142" y="166"/>
                </a:cubicBezTo>
                <a:cubicBezTo>
                  <a:pt x="142" y="165"/>
                  <a:pt x="142" y="165"/>
                  <a:pt x="142" y="165"/>
                </a:cubicBezTo>
                <a:cubicBezTo>
                  <a:pt x="143" y="166"/>
                  <a:pt x="143" y="166"/>
                  <a:pt x="143" y="166"/>
                </a:cubicBezTo>
                <a:cubicBezTo>
                  <a:pt x="144" y="166"/>
                  <a:pt x="144" y="166"/>
                  <a:pt x="144" y="166"/>
                </a:cubicBezTo>
                <a:cubicBezTo>
                  <a:pt x="144" y="164"/>
                  <a:pt x="144" y="164"/>
                  <a:pt x="144" y="164"/>
                </a:cubicBezTo>
                <a:cubicBezTo>
                  <a:pt x="144" y="163"/>
                  <a:pt x="144" y="163"/>
                  <a:pt x="144" y="163"/>
                </a:cubicBezTo>
                <a:cubicBezTo>
                  <a:pt x="145" y="162"/>
                  <a:pt x="145" y="162"/>
                  <a:pt x="145" y="162"/>
                </a:cubicBezTo>
                <a:cubicBezTo>
                  <a:pt x="144" y="161"/>
                  <a:pt x="144" y="161"/>
                  <a:pt x="144" y="161"/>
                </a:cubicBezTo>
                <a:cubicBezTo>
                  <a:pt x="145" y="160"/>
                  <a:pt x="145" y="160"/>
                  <a:pt x="145" y="160"/>
                </a:cubicBezTo>
                <a:cubicBezTo>
                  <a:pt x="147" y="159"/>
                  <a:pt x="147" y="159"/>
                  <a:pt x="147" y="159"/>
                </a:cubicBezTo>
                <a:cubicBezTo>
                  <a:pt x="147" y="160"/>
                  <a:pt x="147" y="160"/>
                  <a:pt x="147" y="160"/>
                </a:cubicBezTo>
                <a:cubicBezTo>
                  <a:pt x="147" y="165"/>
                  <a:pt x="147" y="165"/>
                  <a:pt x="147" y="165"/>
                </a:cubicBezTo>
                <a:cubicBezTo>
                  <a:pt x="146" y="167"/>
                  <a:pt x="146" y="167"/>
                  <a:pt x="146" y="167"/>
                </a:cubicBezTo>
                <a:cubicBezTo>
                  <a:pt x="147" y="171"/>
                  <a:pt x="147" y="171"/>
                  <a:pt x="147" y="171"/>
                </a:cubicBezTo>
                <a:cubicBezTo>
                  <a:pt x="145" y="173"/>
                  <a:pt x="145" y="173"/>
                  <a:pt x="145" y="173"/>
                </a:cubicBezTo>
                <a:cubicBezTo>
                  <a:pt x="145" y="178"/>
                  <a:pt x="145" y="178"/>
                  <a:pt x="145" y="178"/>
                </a:cubicBezTo>
                <a:cubicBezTo>
                  <a:pt x="146" y="180"/>
                  <a:pt x="146" y="180"/>
                  <a:pt x="146" y="180"/>
                </a:cubicBezTo>
                <a:cubicBezTo>
                  <a:pt x="147" y="180"/>
                  <a:pt x="147" y="180"/>
                  <a:pt x="147" y="180"/>
                </a:cubicBezTo>
                <a:cubicBezTo>
                  <a:pt x="148" y="182"/>
                  <a:pt x="148" y="182"/>
                  <a:pt x="148" y="182"/>
                </a:cubicBezTo>
                <a:cubicBezTo>
                  <a:pt x="150" y="181"/>
                  <a:pt x="150" y="181"/>
                  <a:pt x="150" y="181"/>
                </a:cubicBezTo>
                <a:cubicBezTo>
                  <a:pt x="149" y="180"/>
                  <a:pt x="149" y="180"/>
                  <a:pt x="149" y="180"/>
                </a:cubicBezTo>
                <a:cubicBezTo>
                  <a:pt x="148" y="180"/>
                  <a:pt x="148" y="180"/>
                  <a:pt x="148" y="180"/>
                </a:cubicBezTo>
                <a:cubicBezTo>
                  <a:pt x="148" y="179"/>
                  <a:pt x="148" y="179"/>
                  <a:pt x="148" y="179"/>
                </a:cubicBezTo>
                <a:cubicBezTo>
                  <a:pt x="149" y="179"/>
                  <a:pt x="149" y="179"/>
                  <a:pt x="149" y="179"/>
                </a:cubicBezTo>
                <a:cubicBezTo>
                  <a:pt x="150" y="179"/>
                  <a:pt x="150" y="179"/>
                  <a:pt x="150" y="179"/>
                </a:cubicBezTo>
                <a:cubicBezTo>
                  <a:pt x="151" y="178"/>
                  <a:pt x="151" y="178"/>
                  <a:pt x="151" y="178"/>
                </a:cubicBezTo>
                <a:cubicBezTo>
                  <a:pt x="150" y="178"/>
                  <a:pt x="150" y="178"/>
                  <a:pt x="150" y="178"/>
                </a:cubicBezTo>
                <a:cubicBezTo>
                  <a:pt x="151" y="176"/>
                  <a:pt x="151" y="176"/>
                  <a:pt x="151" y="176"/>
                </a:cubicBezTo>
                <a:cubicBezTo>
                  <a:pt x="153" y="177"/>
                  <a:pt x="153" y="177"/>
                  <a:pt x="153" y="177"/>
                </a:cubicBezTo>
                <a:cubicBezTo>
                  <a:pt x="153" y="178"/>
                  <a:pt x="153" y="178"/>
                  <a:pt x="153" y="178"/>
                </a:cubicBezTo>
                <a:cubicBezTo>
                  <a:pt x="154" y="177"/>
                  <a:pt x="154" y="177"/>
                  <a:pt x="154" y="177"/>
                </a:cubicBezTo>
                <a:cubicBezTo>
                  <a:pt x="153" y="174"/>
                  <a:pt x="153" y="174"/>
                  <a:pt x="153" y="174"/>
                </a:cubicBezTo>
                <a:cubicBezTo>
                  <a:pt x="154" y="174"/>
                  <a:pt x="154" y="174"/>
                  <a:pt x="154" y="174"/>
                </a:cubicBezTo>
                <a:cubicBezTo>
                  <a:pt x="156" y="173"/>
                  <a:pt x="156" y="173"/>
                  <a:pt x="156" y="173"/>
                </a:cubicBezTo>
                <a:cubicBezTo>
                  <a:pt x="156" y="172"/>
                  <a:pt x="156" y="172"/>
                  <a:pt x="156" y="172"/>
                </a:cubicBezTo>
                <a:cubicBezTo>
                  <a:pt x="158" y="172"/>
                  <a:pt x="158" y="172"/>
                  <a:pt x="158" y="172"/>
                </a:cubicBezTo>
                <a:cubicBezTo>
                  <a:pt x="158" y="173"/>
                  <a:pt x="158" y="173"/>
                  <a:pt x="158" y="173"/>
                </a:cubicBezTo>
                <a:cubicBezTo>
                  <a:pt x="158" y="174"/>
                  <a:pt x="158" y="174"/>
                  <a:pt x="158" y="174"/>
                </a:cubicBezTo>
                <a:cubicBezTo>
                  <a:pt x="157" y="175"/>
                  <a:pt x="157" y="175"/>
                  <a:pt x="157" y="175"/>
                </a:cubicBezTo>
                <a:cubicBezTo>
                  <a:pt x="157" y="176"/>
                  <a:pt x="157" y="176"/>
                  <a:pt x="157" y="176"/>
                </a:cubicBezTo>
                <a:cubicBezTo>
                  <a:pt x="156" y="177"/>
                  <a:pt x="156" y="177"/>
                  <a:pt x="156" y="177"/>
                </a:cubicBezTo>
                <a:cubicBezTo>
                  <a:pt x="156" y="178"/>
                  <a:pt x="156" y="178"/>
                  <a:pt x="156" y="178"/>
                </a:cubicBezTo>
                <a:cubicBezTo>
                  <a:pt x="156" y="178"/>
                  <a:pt x="156" y="178"/>
                  <a:pt x="156" y="178"/>
                </a:cubicBezTo>
                <a:cubicBezTo>
                  <a:pt x="157" y="178"/>
                  <a:pt x="157" y="178"/>
                  <a:pt x="157" y="178"/>
                </a:cubicBezTo>
                <a:cubicBezTo>
                  <a:pt x="157" y="178"/>
                  <a:pt x="157" y="178"/>
                  <a:pt x="157" y="178"/>
                </a:cubicBezTo>
                <a:cubicBezTo>
                  <a:pt x="157" y="179"/>
                  <a:pt x="157" y="179"/>
                  <a:pt x="157" y="179"/>
                </a:cubicBezTo>
                <a:cubicBezTo>
                  <a:pt x="156" y="179"/>
                  <a:pt x="156" y="179"/>
                  <a:pt x="156" y="179"/>
                </a:cubicBezTo>
                <a:cubicBezTo>
                  <a:pt x="155" y="181"/>
                  <a:pt x="155" y="181"/>
                  <a:pt x="155" y="181"/>
                </a:cubicBezTo>
                <a:cubicBezTo>
                  <a:pt x="154" y="180"/>
                  <a:pt x="154" y="180"/>
                  <a:pt x="154" y="180"/>
                </a:cubicBezTo>
                <a:cubicBezTo>
                  <a:pt x="154" y="181"/>
                  <a:pt x="154" y="181"/>
                  <a:pt x="154" y="181"/>
                </a:cubicBezTo>
                <a:cubicBezTo>
                  <a:pt x="153" y="182"/>
                  <a:pt x="153" y="182"/>
                  <a:pt x="153" y="182"/>
                </a:cubicBezTo>
                <a:cubicBezTo>
                  <a:pt x="154" y="183"/>
                  <a:pt x="154" y="183"/>
                  <a:pt x="154" y="183"/>
                </a:cubicBezTo>
                <a:cubicBezTo>
                  <a:pt x="155" y="183"/>
                  <a:pt x="155" y="183"/>
                  <a:pt x="155" y="183"/>
                </a:cubicBezTo>
                <a:cubicBezTo>
                  <a:pt x="156" y="184"/>
                  <a:pt x="156" y="184"/>
                  <a:pt x="156" y="184"/>
                </a:cubicBezTo>
                <a:cubicBezTo>
                  <a:pt x="157" y="184"/>
                  <a:pt x="157" y="184"/>
                  <a:pt x="157" y="184"/>
                </a:cubicBezTo>
                <a:cubicBezTo>
                  <a:pt x="159" y="183"/>
                  <a:pt x="159" y="183"/>
                  <a:pt x="159" y="183"/>
                </a:cubicBezTo>
                <a:cubicBezTo>
                  <a:pt x="160" y="183"/>
                  <a:pt x="160" y="183"/>
                  <a:pt x="160" y="183"/>
                </a:cubicBezTo>
                <a:cubicBezTo>
                  <a:pt x="161" y="180"/>
                  <a:pt x="161" y="180"/>
                  <a:pt x="161" y="180"/>
                </a:cubicBezTo>
                <a:cubicBezTo>
                  <a:pt x="163" y="179"/>
                  <a:pt x="163" y="179"/>
                  <a:pt x="163" y="179"/>
                </a:cubicBezTo>
                <a:cubicBezTo>
                  <a:pt x="164" y="178"/>
                  <a:pt x="164" y="178"/>
                  <a:pt x="164" y="178"/>
                </a:cubicBezTo>
                <a:cubicBezTo>
                  <a:pt x="165" y="179"/>
                  <a:pt x="165" y="179"/>
                  <a:pt x="165" y="179"/>
                </a:cubicBezTo>
                <a:cubicBezTo>
                  <a:pt x="166" y="179"/>
                  <a:pt x="166" y="179"/>
                  <a:pt x="166" y="179"/>
                </a:cubicBezTo>
                <a:cubicBezTo>
                  <a:pt x="167" y="180"/>
                  <a:pt x="167" y="180"/>
                  <a:pt x="167" y="180"/>
                </a:cubicBezTo>
                <a:cubicBezTo>
                  <a:pt x="168" y="180"/>
                  <a:pt x="168" y="180"/>
                  <a:pt x="168" y="180"/>
                </a:cubicBezTo>
                <a:cubicBezTo>
                  <a:pt x="170" y="181"/>
                  <a:pt x="170" y="181"/>
                  <a:pt x="170" y="181"/>
                </a:cubicBezTo>
                <a:cubicBezTo>
                  <a:pt x="171" y="181"/>
                  <a:pt x="171" y="181"/>
                  <a:pt x="171" y="181"/>
                </a:cubicBezTo>
                <a:cubicBezTo>
                  <a:pt x="171" y="183"/>
                  <a:pt x="171" y="183"/>
                  <a:pt x="171" y="183"/>
                </a:cubicBezTo>
                <a:cubicBezTo>
                  <a:pt x="172" y="186"/>
                  <a:pt x="172" y="186"/>
                  <a:pt x="172" y="186"/>
                </a:cubicBezTo>
                <a:cubicBezTo>
                  <a:pt x="172" y="187"/>
                  <a:pt x="172" y="187"/>
                  <a:pt x="172" y="187"/>
                </a:cubicBezTo>
                <a:cubicBezTo>
                  <a:pt x="173" y="189"/>
                  <a:pt x="173" y="189"/>
                  <a:pt x="173" y="189"/>
                </a:cubicBezTo>
                <a:cubicBezTo>
                  <a:pt x="178" y="193"/>
                  <a:pt x="178" y="193"/>
                  <a:pt x="178" y="193"/>
                </a:cubicBezTo>
                <a:cubicBezTo>
                  <a:pt x="179" y="194"/>
                  <a:pt x="179" y="194"/>
                  <a:pt x="179" y="194"/>
                </a:cubicBezTo>
                <a:cubicBezTo>
                  <a:pt x="180" y="195"/>
                  <a:pt x="180" y="195"/>
                  <a:pt x="180" y="195"/>
                </a:cubicBezTo>
                <a:cubicBezTo>
                  <a:pt x="182" y="197"/>
                  <a:pt x="182" y="197"/>
                  <a:pt x="182" y="197"/>
                </a:cubicBezTo>
                <a:cubicBezTo>
                  <a:pt x="183" y="197"/>
                  <a:pt x="183" y="197"/>
                  <a:pt x="183" y="197"/>
                </a:cubicBezTo>
                <a:cubicBezTo>
                  <a:pt x="184" y="197"/>
                  <a:pt x="184" y="197"/>
                  <a:pt x="184" y="197"/>
                </a:cubicBezTo>
                <a:cubicBezTo>
                  <a:pt x="185" y="199"/>
                  <a:pt x="185" y="199"/>
                  <a:pt x="185" y="199"/>
                </a:cubicBezTo>
                <a:cubicBezTo>
                  <a:pt x="185" y="199"/>
                  <a:pt x="185" y="199"/>
                  <a:pt x="185" y="199"/>
                </a:cubicBezTo>
                <a:cubicBezTo>
                  <a:pt x="186" y="198"/>
                  <a:pt x="186" y="198"/>
                  <a:pt x="186" y="198"/>
                </a:cubicBezTo>
                <a:cubicBezTo>
                  <a:pt x="186" y="199"/>
                  <a:pt x="186" y="199"/>
                  <a:pt x="186" y="199"/>
                </a:cubicBezTo>
                <a:cubicBezTo>
                  <a:pt x="188" y="200"/>
                  <a:pt x="188" y="200"/>
                  <a:pt x="188" y="200"/>
                </a:cubicBezTo>
                <a:cubicBezTo>
                  <a:pt x="189" y="200"/>
                  <a:pt x="189" y="200"/>
                  <a:pt x="189" y="200"/>
                </a:cubicBezTo>
                <a:cubicBezTo>
                  <a:pt x="189" y="202"/>
                  <a:pt x="189" y="202"/>
                  <a:pt x="189" y="202"/>
                </a:cubicBezTo>
                <a:cubicBezTo>
                  <a:pt x="190" y="203"/>
                  <a:pt x="190" y="203"/>
                  <a:pt x="190" y="203"/>
                </a:cubicBezTo>
                <a:cubicBezTo>
                  <a:pt x="191" y="202"/>
                  <a:pt x="191" y="202"/>
                  <a:pt x="191" y="202"/>
                </a:cubicBezTo>
                <a:cubicBezTo>
                  <a:pt x="190" y="201"/>
                  <a:pt x="190" y="201"/>
                  <a:pt x="190" y="201"/>
                </a:cubicBezTo>
                <a:cubicBezTo>
                  <a:pt x="190" y="200"/>
                  <a:pt x="190" y="200"/>
                  <a:pt x="190" y="200"/>
                </a:cubicBezTo>
                <a:cubicBezTo>
                  <a:pt x="189" y="199"/>
                  <a:pt x="189" y="199"/>
                  <a:pt x="189" y="199"/>
                </a:cubicBezTo>
                <a:cubicBezTo>
                  <a:pt x="189" y="199"/>
                  <a:pt x="189" y="199"/>
                  <a:pt x="189" y="199"/>
                </a:cubicBezTo>
                <a:cubicBezTo>
                  <a:pt x="191" y="200"/>
                  <a:pt x="191" y="200"/>
                  <a:pt x="191" y="200"/>
                </a:cubicBezTo>
                <a:cubicBezTo>
                  <a:pt x="191" y="200"/>
                  <a:pt x="191" y="200"/>
                  <a:pt x="191" y="200"/>
                </a:cubicBezTo>
                <a:cubicBezTo>
                  <a:pt x="192" y="200"/>
                  <a:pt x="192" y="200"/>
                  <a:pt x="192" y="200"/>
                </a:cubicBezTo>
                <a:cubicBezTo>
                  <a:pt x="192" y="199"/>
                  <a:pt x="192" y="199"/>
                  <a:pt x="192" y="199"/>
                </a:cubicBezTo>
                <a:cubicBezTo>
                  <a:pt x="193" y="199"/>
                  <a:pt x="193" y="199"/>
                  <a:pt x="193" y="199"/>
                </a:cubicBezTo>
                <a:cubicBezTo>
                  <a:pt x="195" y="201"/>
                  <a:pt x="195" y="201"/>
                  <a:pt x="195" y="201"/>
                </a:cubicBezTo>
                <a:cubicBezTo>
                  <a:pt x="195" y="202"/>
                  <a:pt x="195" y="202"/>
                  <a:pt x="195" y="202"/>
                </a:cubicBezTo>
                <a:cubicBezTo>
                  <a:pt x="196" y="202"/>
                  <a:pt x="196" y="202"/>
                  <a:pt x="196" y="202"/>
                </a:cubicBezTo>
                <a:cubicBezTo>
                  <a:pt x="196" y="204"/>
                  <a:pt x="196" y="204"/>
                  <a:pt x="196" y="204"/>
                </a:cubicBezTo>
                <a:cubicBezTo>
                  <a:pt x="197" y="205"/>
                  <a:pt x="197" y="205"/>
                  <a:pt x="197" y="205"/>
                </a:cubicBezTo>
                <a:cubicBezTo>
                  <a:pt x="197" y="206"/>
                  <a:pt x="197" y="206"/>
                  <a:pt x="197" y="206"/>
                </a:cubicBezTo>
                <a:cubicBezTo>
                  <a:pt x="198" y="208"/>
                  <a:pt x="198" y="208"/>
                  <a:pt x="198" y="208"/>
                </a:cubicBezTo>
                <a:cubicBezTo>
                  <a:pt x="197" y="209"/>
                  <a:pt x="197" y="209"/>
                  <a:pt x="197" y="209"/>
                </a:cubicBezTo>
                <a:cubicBezTo>
                  <a:pt x="197" y="210"/>
                  <a:pt x="197" y="210"/>
                  <a:pt x="197" y="210"/>
                </a:cubicBezTo>
                <a:cubicBezTo>
                  <a:pt x="196" y="212"/>
                  <a:pt x="196" y="212"/>
                  <a:pt x="196" y="212"/>
                </a:cubicBezTo>
                <a:cubicBezTo>
                  <a:pt x="193" y="211"/>
                  <a:pt x="193" y="211"/>
                  <a:pt x="193" y="211"/>
                </a:cubicBezTo>
                <a:cubicBezTo>
                  <a:pt x="192" y="211"/>
                  <a:pt x="192" y="211"/>
                  <a:pt x="192" y="211"/>
                </a:cubicBezTo>
                <a:cubicBezTo>
                  <a:pt x="192" y="211"/>
                  <a:pt x="192" y="211"/>
                  <a:pt x="192" y="211"/>
                </a:cubicBezTo>
                <a:cubicBezTo>
                  <a:pt x="191" y="212"/>
                  <a:pt x="191" y="212"/>
                  <a:pt x="191" y="212"/>
                </a:cubicBezTo>
                <a:cubicBezTo>
                  <a:pt x="189" y="211"/>
                  <a:pt x="189" y="211"/>
                  <a:pt x="189" y="211"/>
                </a:cubicBezTo>
                <a:cubicBezTo>
                  <a:pt x="188" y="211"/>
                  <a:pt x="188" y="211"/>
                  <a:pt x="188" y="211"/>
                </a:cubicBezTo>
                <a:cubicBezTo>
                  <a:pt x="189" y="212"/>
                  <a:pt x="189" y="212"/>
                  <a:pt x="189" y="212"/>
                </a:cubicBezTo>
                <a:cubicBezTo>
                  <a:pt x="188" y="213"/>
                  <a:pt x="188" y="213"/>
                  <a:pt x="188" y="213"/>
                </a:cubicBezTo>
                <a:cubicBezTo>
                  <a:pt x="188" y="214"/>
                  <a:pt x="188" y="214"/>
                  <a:pt x="188" y="214"/>
                </a:cubicBezTo>
                <a:cubicBezTo>
                  <a:pt x="186" y="214"/>
                  <a:pt x="186" y="214"/>
                  <a:pt x="186" y="214"/>
                </a:cubicBezTo>
                <a:cubicBezTo>
                  <a:pt x="185" y="214"/>
                  <a:pt x="185" y="214"/>
                  <a:pt x="185" y="214"/>
                </a:cubicBezTo>
                <a:cubicBezTo>
                  <a:pt x="186" y="215"/>
                  <a:pt x="186" y="215"/>
                  <a:pt x="186" y="215"/>
                </a:cubicBezTo>
                <a:cubicBezTo>
                  <a:pt x="187" y="215"/>
                  <a:pt x="187" y="215"/>
                  <a:pt x="187" y="215"/>
                </a:cubicBezTo>
                <a:cubicBezTo>
                  <a:pt x="187" y="217"/>
                  <a:pt x="187" y="217"/>
                  <a:pt x="187" y="217"/>
                </a:cubicBezTo>
                <a:cubicBezTo>
                  <a:pt x="188" y="218"/>
                  <a:pt x="188" y="218"/>
                  <a:pt x="188" y="218"/>
                </a:cubicBezTo>
                <a:cubicBezTo>
                  <a:pt x="189" y="217"/>
                  <a:pt x="189" y="217"/>
                  <a:pt x="189" y="217"/>
                </a:cubicBezTo>
                <a:cubicBezTo>
                  <a:pt x="190" y="218"/>
                  <a:pt x="190" y="218"/>
                  <a:pt x="190" y="218"/>
                </a:cubicBezTo>
                <a:cubicBezTo>
                  <a:pt x="190" y="219"/>
                  <a:pt x="190" y="219"/>
                  <a:pt x="190" y="219"/>
                </a:cubicBezTo>
                <a:cubicBezTo>
                  <a:pt x="192" y="219"/>
                  <a:pt x="192" y="219"/>
                  <a:pt x="192" y="219"/>
                </a:cubicBezTo>
                <a:cubicBezTo>
                  <a:pt x="194" y="220"/>
                  <a:pt x="194" y="220"/>
                  <a:pt x="194" y="220"/>
                </a:cubicBezTo>
                <a:cubicBezTo>
                  <a:pt x="196" y="221"/>
                  <a:pt x="196" y="221"/>
                  <a:pt x="196" y="221"/>
                </a:cubicBezTo>
                <a:cubicBezTo>
                  <a:pt x="199" y="222"/>
                  <a:pt x="199" y="222"/>
                  <a:pt x="199" y="222"/>
                </a:cubicBezTo>
                <a:cubicBezTo>
                  <a:pt x="200" y="222"/>
                  <a:pt x="200" y="222"/>
                  <a:pt x="200" y="222"/>
                </a:cubicBezTo>
                <a:cubicBezTo>
                  <a:pt x="200" y="221"/>
                  <a:pt x="200" y="221"/>
                  <a:pt x="200" y="221"/>
                </a:cubicBezTo>
                <a:cubicBezTo>
                  <a:pt x="201" y="221"/>
                  <a:pt x="201" y="221"/>
                  <a:pt x="201" y="221"/>
                </a:cubicBezTo>
                <a:cubicBezTo>
                  <a:pt x="202" y="222"/>
                  <a:pt x="202" y="222"/>
                  <a:pt x="202" y="222"/>
                </a:cubicBezTo>
                <a:cubicBezTo>
                  <a:pt x="202" y="223"/>
                  <a:pt x="202" y="223"/>
                  <a:pt x="202" y="223"/>
                </a:cubicBezTo>
                <a:cubicBezTo>
                  <a:pt x="204" y="221"/>
                  <a:pt x="204" y="221"/>
                  <a:pt x="204" y="221"/>
                </a:cubicBezTo>
                <a:cubicBezTo>
                  <a:pt x="205" y="222"/>
                  <a:pt x="205" y="222"/>
                  <a:pt x="205" y="222"/>
                </a:cubicBezTo>
                <a:cubicBezTo>
                  <a:pt x="205" y="222"/>
                  <a:pt x="205" y="222"/>
                  <a:pt x="205" y="222"/>
                </a:cubicBezTo>
                <a:cubicBezTo>
                  <a:pt x="206" y="221"/>
                  <a:pt x="206" y="221"/>
                  <a:pt x="206" y="221"/>
                </a:cubicBezTo>
                <a:cubicBezTo>
                  <a:pt x="207" y="221"/>
                  <a:pt x="207" y="221"/>
                  <a:pt x="207" y="221"/>
                </a:cubicBezTo>
                <a:cubicBezTo>
                  <a:pt x="207" y="222"/>
                  <a:pt x="207" y="222"/>
                  <a:pt x="207" y="222"/>
                </a:cubicBezTo>
                <a:cubicBezTo>
                  <a:pt x="207" y="222"/>
                  <a:pt x="207" y="222"/>
                  <a:pt x="207" y="222"/>
                </a:cubicBezTo>
                <a:cubicBezTo>
                  <a:pt x="209" y="221"/>
                  <a:pt x="209" y="221"/>
                  <a:pt x="209" y="221"/>
                </a:cubicBezTo>
                <a:cubicBezTo>
                  <a:pt x="213" y="220"/>
                  <a:pt x="213" y="220"/>
                  <a:pt x="213" y="220"/>
                </a:cubicBezTo>
                <a:cubicBezTo>
                  <a:pt x="214" y="219"/>
                  <a:pt x="214" y="219"/>
                  <a:pt x="214" y="219"/>
                </a:cubicBezTo>
                <a:cubicBezTo>
                  <a:pt x="214" y="220"/>
                  <a:pt x="214" y="220"/>
                  <a:pt x="214" y="220"/>
                </a:cubicBezTo>
                <a:cubicBezTo>
                  <a:pt x="213" y="221"/>
                  <a:pt x="213" y="221"/>
                  <a:pt x="213" y="221"/>
                </a:cubicBezTo>
                <a:cubicBezTo>
                  <a:pt x="213" y="222"/>
                  <a:pt x="213" y="222"/>
                  <a:pt x="213" y="222"/>
                </a:cubicBezTo>
                <a:cubicBezTo>
                  <a:pt x="214" y="222"/>
                  <a:pt x="214" y="222"/>
                  <a:pt x="214" y="222"/>
                </a:cubicBezTo>
                <a:cubicBezTo>
                  <a:pt x="214" y="223"/>
                  <a:pt x="214" y="223"/>
                  <a:pt x="214" y="223"/>
                </a:cubicBezTo>
                <a:cubicBezTo>
                  <a:pt x="214" y="224"/>
                  <a:pt x="214" y="224"/>
                  <a:pt x="214" y="224"/>
                </a:cubicBezTo>
                <a:cubicBezTo>
                  <a:pt x="214" y="225"/>
                  <a:pt x="214" y="225"/>
                  <a:pt x="214" y="225"/>
                </a:cubicBezTo>
                <a:cubicBezTo>
                  <a:pt x="215" y="225"/>
                  <a:pt x="215" y="225"/>
                  <a:pt x="215" y="225"/>
                </a:cubicBezTo>
                <a:cubicBezTo>
                  <a:pt x="215" y="224"/>
                  <a:pt x="215" y="224"/>
                  <a:pt x="215" y="224"/>
                </a:cubicBezTo>
                <a:cubicBezTo>
                  <a:pt x="216" y="225"/>
                  <a:pt x="216" y="225"/>
                  <a:pt x="216" y="225"/>
                </a:cubicBezTo>
                <a:cubicBezTo>
                  <a:pt x="216" y="226"/>
                  <a:pt x="216" y="226"/>
                  <a:pt x="216" y="226"/>
                </a:cubicBezTo>
                <a:cubicBezTo>
                  <a:pt x="215" y="228"/>
                  <a:pt x="215" y="228"/>
                  <a:pt x="215" y="228"/>
                </a:cubicBezTo>
                <a:cubicBezTo>
                  <a:pt x="215" y="229"/>
                  <a:pt x="215" y="229"/>
                  <a:pt x="215" y="229"/>
                </a:cubicBezTo>
                <a:cubicBezTo>
                  <a:pt x="216" y="229"/>
                  <a:pt x="216" y="229"/>
                  <a:pt x="216" y="229"/>
                </a:cubicBezTo>
                <a:cubicBezTo>
                  <a:pt x="217" y="228"/>
                  <a:pt x="217" y="228"/>
                  <a:pt x="217" y="228"/>
                </a:cubicBezTo>
                <a:cubicBezTo>
                  <a:pt x="217" y="227"/>
                  <a:pt x="217" y="227"/>
                  <a:pt x="217" y="227"/>
                </a:cubicBezTo>
                <a:cubicBezTo>
                  <a:pt x="217" y="226"/>
                  <a:pt x="217" y="226"/>
                  <a:pt x="217" y="226"/>
                </a:cubicBezTo>
                <a:cubicBezTo>
                  <a:pt x="218" y="226"/>
                  <a:pt x="218" y="226"/>
                  <a:pt x="218" y="226"/>
                </a:cubicBezTo>
                <a:cubicBezTo>
                  <a:pt x="218" y="228"/>
                  <a:pt x="218" y="228"/>
                  <a:pt x="218" y="228"/>
                </a:cubicBezTo>
                <a:cubicBezTo>
                  <a:pt x="217" y="230"/>
                  <a:pt x="217" y="230"/>
                  <a:pt x="217" y="230"/>
                </a:cubicBezTo>
                <a:cubicBezTo>
                  <a:pt x="216" y="231"/>
                  <a:pt x="216" y="231"/>
                  <a:pt x="216" y="231"/>
                </a:cubicBezTo>
                <a:cubicBezTo>
                  <a:pt x="216" y="233"/>
                  <a:pt x="216" y="233"/>
                  <a:pt x="216" y="233"/>
                </a:cubicBezTo>
                <a:cubicBezTo>
                  <a:pt x="217" y="235"/>
                  <a:pt x="217" y="235"/>
                  <a:pt x="217" y="235"/>
                </a:cubicBezTo>
                <a:cubicBezTo>
                  <a:pt x="217" y="237"/>
                  <a:pt x="217" y="237"/>
                  <a:pt x="217" y="237"/>
                </a:cubicBezTo>
                <a:cubicBezTo>
                  <a:pt x="216" y="239"/>
                  <a:pt x="216" y="239"/>
                  <a:pt x="216" y="239"/>
                </a:cubicBezTo>
                <a:cubicBezTo>
                  <a:pt x="217" y="239"/>
                  <a:pt x="217" y="239"/>
                  <a:pt x="217" y="239"/>
                </a:cubicBezTo>
                <a:cubicBezTo>
                  <a:pt x="217" y="240"/>
                  <a:pt x="217" y="240"/>
                  <a:pt x="217" y="240"/>
                </a:cubicBezTo>
                <a:cubicBezTo>
                  <a:pt x="217" y="241"/>
                  <a:pt x="217" y="241"/>
                  <a:pt x="217" y="241"/>
                </a:cubicBezTo>
                <a:cubicBezTo>
                  <a:pt x="217" y="242"/>
                  <a:pt x="217" y="242"/>
                  <a:pt x="217" y="242"/>
                </a:cubicBezTo>
                <a:cubicBezTo>
                  <a:pt x="218" y="244"/>
                  <a:pt x="218" y="244"/>
                  <a:pt x="218" y="244"/>
                </a:cubicBezTo>
                <a:cubicBezTo>
                  <a:pt x="218" y="248"/>
                  <a:pt x="218" y="248"/>
                  <a:pt x="218" y="248"/>
                </a:cubicBezTo>
                <a:cubicBezTo>
                  <a:pt x="218" y="244"/>
                  <a:pt x="218" y="244"/>
                  <a:pt x="218" y="244"/>
                </a:cubicBezTo>
                <a:cubicBezTo>
                  <a:pt x="218" y="241"/>
                  <a:pt x="218" y="241"/>
                  <a:pt x="218" y="241"/>
                </a:cubicBezTo>
                <a:cubicBezTo>
                  <a:pt x="218" y="238"/>
                  <a:pt x="218" y="238"/>
                  <a:pt x="218" y="238"/>
                </a:cubicBezTo>
                <a:cubicBezTo>
                  <a:pt x="220" y="235"/>
                  <a:pt x="220" y="235"/>
                  <a:pt x="220" y="235"/>
                </a:cubicBezTo>
                <a:cubicBezTo>
                  <a:pt x="220" y="235"/>
                  <a:pt x="220" y="235"/>
                  <a:pt x="220" y="235"/>
                </a:cubicBezTo>
                <a:cubicBezTo>
                  <a:pt x="220" y="237"/>
                  <a:pt x="220" y="237"/>
                  <a:pt x="220" y="237"/>
                </a:cubicBezTo>
                <a:cubicBezTo>
                  <a:pt x="220" y="237"/>
                  <a:pt x="220" y="237"/>
                  <a:pt x="220" y="237"/>
                </a:cubicBezTo>
                <a:cubicBezTo>
                  <a:pt x="220" y="238"/>
                  <a:pt x="220" y="238"/>
                  <a:pt x="220" y="238"/>
                </a:cubicBezTo>
                <a:cubicBezTo>
                  <a:pt x="220" y="238"/>
                  <a:pt x="220" y="238"/>
                  <a:pt x="220" y="238"/>
                </a:cubicBezTo>
                <a:cubicBezTo>
                  <a:pt x="221" y="237"/>
                  <a:pt x="221" y="237"/>
                  <a:pt x="221" y="237"/>
                </a:cubicBezTo>
                <a:cubicBezTo>
                  <a:pt x="221" y="238"/>
                  <a:pt x="221" y="238"/>
                  <a:pt x="221" y="238"/>
                </a:cubicBezTo>
                <a:cubicBezTo>
                  <a:pt x="222" y="237"/>
                  <a:pt x="222" y="237"/>
                  <a:pt x="222" y="237"/>
                </a:cubicBezTo>
                <a:cubicBezTo>
                  <a:pt x="222" y="236"/>
                  <a:pt x="222" y="236"/>
                  <a:pt x="222" y="236"/>
                </a:cubicBezTo>
                <a:cubicBezTo>
                  <a:pt x="221" y="235"/>
                  <a:pt x="221" y="235"/>
                  <a:pt x="221" y="235"/>
                </a:cubicBezTo>
                <a:cubicBezTo>
                  <a:pt x="221" y="234"/>
                  <a:pt x="221" y="234"/>
                  <a:pt x="221" y="234"/>
                </a:cubicBezTo>
                <a:cubicBezTo>
                  <a:pt x="222" y="234"/>
                  <a:pt x="222" y="234"/>
                  <a:pt x="222" y="234"/>
                </a:cubicBezTo>
                <a:cubicBezTo>
                  <a:pt x="223" y="233"/>
                  <a:pt x="223" y="233"/>
                  <a:pt x="223" y="233"/>
                </a:cubicBezTo>
                <a:cubicBezTo>
                  <a:pt x="222" y="232"/>
                  <a:pt x="222" y="232"/>
                  <a:pt x="222" y="232"/>
                </a:cubicBezTo>
                <a:cubicBezTo>
                  <a:pt x="222" y="232"/>
                  <a:pt x="222" y="232"/>
                  <a:pt x="222" y="232"/>
                </a:cubicBezTo>
                <a:cubicBezTo>
                  <a:pt x="222" y="229"/>
                  <a:pt x="222" y="229"/>
                  <a:pt x="222" y="229"/>
                </a:cubicBezTo>
                <a:cubicBezTo>
                  <a:pt x="223" y="226"/>
                  <a:pt x="223" y="226"/>
                  <a:pt x="223" y="226"/>
                </a:cubicBezTo>
                <a:cubicBezTo>
                  <a:pt x="223" y="225"/>
                  <a:pt x="223" y="225"/>
                  <a:pt x="223" y="225"/>
                </a:cubicBezTo>
                <a:cubicBezTo>
                  <a:pt x="223" y="224"/>
                  <a:pt x="223" y="224"/>
                  <a:pt x="223" y="224"/>
                </a:cubicBezTo>
                <a:cubicBezTo>
                  <a:pt x="224" y="223"/>
                  <a:pt x="224" y="223"/>
                  <a:pt x="224" y="223"/>
                </a:cubicBezTo>
                <a:cubicBezTo>
                  <a:pt x="226" y="223"/>
                  <a:pt x="226" y="223"/>
                  <a:pt x="226" y="223"/>
                </a:cubicBezTo>
                <a:cubicBezTo>
                  <a:pt x="226" y="223"/>
                  <a:pt x="226" y="223"/>
                  <a:pt x="226" y="223"/>
                </a:cubicBezTo>
                <a:cubicBezTo>
                  <a:pt x="226" y="222"/>
                  <a:pt x="226" y="222"/>
                  <a:pt x="226" y="222"/>
                </a:cubicBezTo>
                <a:cubicBezTo>
                  <a:pt x="227" y="222"/>
                  <a:pt x="227" y="222"/>
                  <a:pt x="227" y="222"/>
                </a:cubicBezTo>
                <a:cubicBezTo>
                  <a:pt x="228" y="223"/>
                  <a:pt x="228" y="223"/>
                  <a:pt x="228" y="223"/>
                </a:cubicBezTo>
                <a:cubicBezTo>
                  <a:pt x="229" y="222"/>
                  <a:pt x="229" y="222"/>
                  <a:pt x="229" y="222"/>
                </a:cubicBezTo>
                <a:cubicBezTo>
                  <a:pt x="229" y="221"/>
                  <a:pt x="229" y="221"/>
                  <a:pt x="229" y="221"/>
                </a:cubicBezTo>
                <a:cubicBezTo>
                  <a:pt x="230" y="221"/>
                  <a:pt x="230" y="221"/>
                  <a:pt x="230" y="221"/>
                </a:cubicBezTo>
                <a:cubicBezTo>
                  <a:pt x="230" y="222"/>
                  <a:pt x="230" y="222"/>
                  <a:pt x="230" y="222"/>
                </a:cubicBezTo>
                <a:cubicBezTo>
                  <a:pt x="231" y="222"/>
                  <a:pt x="231" y="222"/>
                  <a:pt x="231" y="222"/>
                </a:cubicBezTo>
                <a:cubicBezTo>
                  <a:pt x="232" y="221"/>
                  <a:pt x="232" y="221"/>
                  <a:pt x="232" y="221"/>
                </a:cubicBezTo>
                <a:cubicBezTo>
                  <a:pt x="233" y="220"/>
                  <a:pt x="233" y="220"/>
                  <a:pt x="233" y="220"/>
                </a:cubicBezTo>
                <a:cubicBezTo>
                  <a:pt x="233" y="220"/>
                  <a:pt x="233" y="220"/>
                  <a:pt x="233" y="220"/>
                </a:cubicBezTo>
                <a:cubicBezTo>
                  <a:pt x="234" y="221"/>
                  <a:pt x="234" y="221"/>
                  <a:pt x="234" y="221"/>
                </a:cubicBezTo>
                <a:cubicBezTo>
                  <a:pt x="234" y="221"/>
                  <a:pt x="234" y="221"/>
                  <a:pt x="234" y="221"/>
                </a:cubicBezTo>
                <a:cubicBezTo>
                  <a:pt x="235" y="223"/>
                  <a:pt x="235" y="223"/>
                  <a:pt x="235" y="223"/>
                </a:cubicBezTo>
                <a:cubicBezTo>
                  <a:pt x="235" y="221"/>
                  <a:pt x="235" y="221"/>
                  <a:pt x="235" y="221"/>
                </a:cubicBezTo>
                <a:cubicBezTo>
                  <a:pt x="234" y="220"/>
                  <a:pt x="234" y="220"/>
                  <a:pt x="234" y="220"/>
                </a:cubicBezTo>
                <a:cubicBezTo>
                  <a:pt x="235" y="218"/>
                  <a:pt x="235" y="218"/>
                  <a:pt x="235" y="218"/>
                </a:cubicBezTo>
                <a:cubicBezTo>
                  <a:pt x="236" y="218"/>
                  <a:pt x="236" y="218"/>
                  <a:pt x="236" y="218"/>
                </a:cubicBezTo>
                <a:cubicBezTo>
                  <a:pt x="237" y="218"/>
                  <a:pt x="237" y="218"/>
                  <a:pt x="237" y="218"/>
                </a:cubicBezTo>
                <a:cubicBezTo>
                  <a:pt x="238" y="218"/>
                  <a:pt x="238" y="218"/>
                  <a:pt x="238" y="218"/>
                </a:cubicBezTo>
                <a:cubicBezTo>
                  <a:pt x="238" y="218"/>
                  <a:pt x="238" y="218"/>
                  <a:pt x="238" y="218"/>
                </a:cubicBezTo>
                <a:cubicBezTo>
                  <a:pt x="239" y="218"/>
                  <a:pt x="239" y="218"/>
                  <a:pt x="239" y="218"/>
                </a:cubicBezTo>
                <a:cubicBezTo>
                  <a:pt x="240" y="217"/>
                  <a:pt x="240" y="217"/>
                  <a:pt x="240" y="217"/>
                </a:cubicBezTo>
                <a:cubicBezTo>
                  <a:pt x="240" y="216"/>
                  <a:pt x="240" y="216"/>
                  <a:pt x="240" y="216"/>
                </a:cubicBezTo>
                <a:cubicBezTo>
                  <a:pt x="241" y="215"/>
                  <a:pt x="241" y="215"/>
                  <a:pt x="241" y="215"/>
                </a:cubicBezTo>
                <a:cubicBezTo>
                  <a:pt x="240" y="215"/>
                  <a:pt x="240" y="215"/>
                  <a:pt x="240" y="215"/>
                </a:cubicBezTo>
                <a:cubicBezTo>
                  <a:pt x="240" y="215"/>
                  <a:pt x="240" y="215"/>
                  <a:pt x="240" y="215"/>
                </a:cubicBezTo>
                <a:cubicBezTo>
                  <a:pt x="239" y="215"/>
                  <a:pt x="239" y="215"/>
                  <a:pt x="239" y="215"/>
                </a:cubicBezTo>
                <a:cubicBezTo>
                  <a:pt x="236" y="216"/>
                  <a:pt x="236" y="216"/>
                  <a:pt x="236" y="216"/>
                </a:cubicBezTo>
                <a:cubicBezTo>
                  <a:pt x="235" y="216"/>
                  <a:pt x="235" y="216"/>
                  <a:pt x="235" y="216"/>
                </a:cubicBezTo>
                <a:cubicBezTo>
                  <a:pt x="235" y="217"/>
                  <a:pt x="235" y="217"/>
                  <a:pt x="235" y="217"/>
                </a:cubicBezTo>
                <a:cubicBezTo>
                  <a:pt x="234" y="217"/>
                  <a:pt x="234" y="217"/>
                  <a:pt x="234" y="217"/>
                </a:cubicBezTo>
                <a:cubicBezTo>
                  <a:pt x="234" y="217"/>
                  <a:pt x="234" y="217"/>
                  <a:pt x="234" y="217"/>
                </a:cubicBezTo>
                <a:cubicBezTo>
                  <a:pt x="234" y="218"/>
                  <a:pt x="234" y="218"/>
                  <a:pt x="234" y="218"/>
                </a:cubicBezTo>
                <a:cubicBezTo>
                  <a:pt x="233" y="217"/>
                  <a:pt x="233" y="217"/>
                  <a:pt x="233" y="217"/>
                </a:cubicBezTo>
                <a:cubicBezTo>
                  <a:pt x="233" y="216"/>
                  <a:pt x="233" y="216"/>
                  <a:pt x="233" y="216"/>
                </a:cubicBezTo>
                <a:cubicBezTo>
                  <a:pt x="232" y="216"/>
                  <a:pt x="232" y="216"/>
                  <a:pt x="232" y="216"/>
                </a:cubicBezTo>
                <a:cubicBezTo>
                  <a:pt x="232" y="217"/>
                  <a:pt x="232" y="217"/>
                  <a:pt x="232" y="217"/>
                </a:cubicBezTo>
                <a:cubicBezTo>
                  <a:pt x="231" y="218"/>
                  <a:pt x="231" y="218"/>
                  <a:pt x="231" y="218"/>
                </a:cubicBezTo>
                <a:cubicBezTo>
                  <a:pt x="230" y="217"/>
                  <a:pt x="230" y="217"/>
                  <a:pt x="230" y="217"/>
                </a:cubicBezTo>
                <a:cubicBezTo>
                  <a:pt x="229" y="217"/>
                  <a:pt x="229" y="217"/>
                  <a:pt x="229" y="217"/>
                </a:cubicBezTo>
                <a:cubicBezTo>
                  <a:pt x="229" y="216"/>
                  <a:pt x="229" y="216"/>
                  <a:pt x="229" y="216"/>
                </a:cubicBezTo>
                <a:cubicBezTo>
                  <a:pt x="228" y="217"/>
                  <a:pt x="228" y="217"/>
                  <a:pt x="228" y="217"/>
                </a:cubicBezTo>
                <a:cubicBezTo>
                  <a:pt x="228" y="217"/>
                  <a:pt x="228" y="217"/>
                  <a:pt x="228" y="217"/>
                </a:cubicBezTo>
                <a:cubicBezTo>
                  <a:pt x="228" y="218"/>
                  <a:pt x="228" y="218"/>
                  <a:pt x="228" y="218"/>
                </a:cubicBezTo>
                <a:cubicBezTo>
                  <a:pt x="228" y="219"/>
                  <a:pt x="228" y="219"/>
                  <a:pt x="228" y="219"/>
                </a:cubicBezTo>
                <a:cubicBezTo>
                  <a:pt x="227" y="219"/>
                  <a:pt x="227" y="219"/>
                  <a:pt x="227" y="219"/>
                </a:cubicBezTo>
                <a:cubicBezTo>
                  <a:pt x="227" y="219"/>
                  <a:pt x="227" y="219"/>
                  <a:pt x="227" y="219"/>
                </a:cubicBezTo>
                <a:cubicBezTo>
                  <a:pt x="225" y="219"/>
                  <a:pt x="225" y="219"/>
                  <a:pt x="225" y="219"/>
                </a:cubicBezTo>
                <a:cubicBezTo>
                  <a:pt x="225" y="218"/>
                  <a:pt x="225" y="218"/>
                  <a:pt x="225" y="218"/>
                </a:cubicBezTo>
                <a:cubicBezTo>
                  <a:pt x="226" y="217"/>
                  <a:pt x="226" y="217"/>
                  <a:pt x="226" y="217"/>
                </a:cubicBezTo>
                <a:cubicBezTo>
                  <a:pt x="226" y="216"/>
                  <a:pt x="226" y="216"/>
                  <a:pt x="226" y="216"/>
                </a:cubicBezTo>
                <a:cubicBezTo>
                  <a:pt x="226" y="216"/>
                  <a:pt x="226" y="216"/>
                  <a:pt x="226" y="216"/>
                </a:cubicBezTo>
                <a:cubicBezTo>
                  <a:pt x="225" y="217"/>
                  <a:pt x="225" y="217"/>
                  <a:pt x="225" y="217"/>
                </a:cubicBezTo>
                <a:cubicBezTo>
                  <a:pt x="224" y="216"/>
                  <a:pt x="224" y="216"/>
                  <a:pt x="224" y="216"/>
                </a:cubicBezTo>
                <a:cubicBezTo>
                  <a:pt x="224" y="215"/>
                  <a:pt x="224" y="215"/>
                  <a:pt x="224" y="215"/>
                </a:cubicBezTo>
                <a:cubicBezTo>
                  <a:pt x="225" y="214"/>
                  <a:pt x="225" y="214"/>
                  <a:pt x="225" y="214"/>
                </a:cubicBezTo>
                <a:cubicBezTo>
                  <a:pt x="227" y="212"/>
                  <a:pt x="227" y="212"/>
                  <a:pt x="227" y="212"/>
                </a:cubicBezTo>
                <a:cubicBezTo>
                  <a:pt x="228" y="212"/>
                  <a:pt x="228" y="212"/>
                  <a:pt x="228" y="212"/>
                </a:cubicBezTo>
                <a:cubicBezTo>
                  <a:pt x="230" y="212"/>
                  <a:pt x="230" y="212"/>
                  <a:pt x="230" y="212"/>
                </a:cubicBezTo>
                <a:cubicBezTo>
                  <a:pt x="234" y="212"/>
                  <a:pt x="234" y="212"/>
                  <a:pt x="234" y="212"/>
                </a:cubicBezTo>
                <a:cubicBezTo>
                  <a:pt x="237" y="211"/>
                  <a:pt x="237" y="211"/>
                  <a:pt x="237" y="211"/>
                </a:cubicBezTo>
                <a:cubicBezTo>
                  <a:pt x="238" y="211"/>
                  <a:pt x="238" y="211"/>
                  <a:pt x="238" y="211"/>
                </a:cubicBezTo>
                <a:cubicBezTo>
                  <a:pt x="240" y="211"/>
                  <a:pt x="240" y="211"/>
                  <a:pt x="240" y="211"/>
                </a:cubicBezTo>
                <a:cubicBezTo>
                  <a:pt x="240" y="212"/>
                  <a:pt x="240" y="212"/>
                  <a:pt x="240" y="212"/>
                </a:cubicBezTo>
                <a:cubicBezTo>
                  <a:pt x="241" y="213"/>
                  <a:pt x="241" y="213"/>
                  <a:pt x="241" y="213"/>
                </a:cubicBezTo>
                <a:cubicBezTo>
                  <a:pt x="242" y="213"/>
                  <a:pt x="242" y="213"/>
                  <a:pt x="242" y="213"/>
                </a:cubicBezTo>
                <a:cubicBezTo>
                  <a:pt x="242" y="214"/>
                  <a:pt x="242" y="214"/>
                  <a:pt x="242" y="214"/>
                </a:cubicBezTo>
                <a:cubicBezTo>
                  <a:pt x="242" y="216"/>
                  <a:pt x="242" y="216"/>
                  <a:pt x="242" y="216"/>
                </a:cubicBezTo>
                <a:cubicBezTo>
                  <a:pt x="242" y="217"/>
                  <a:pt x="242" y="217"/>
                  <a:pt x="242" y="217"/>
                </a:cubicBezTo>
                <a:cubicBezTo>
                  <a:pt x="242" y="217"/>
                  <a:pt x="242" y="217"/>
                  <a:pt x="242" y="217"/>
                </a:cubicBezTo>
                <a:cubicBezTo>
                  <a:pt x="242" y="218"/>
                  <a:pt x="242" y="218"/>
                  <a:pt x="242" y="218"/>
                </a:cubicBezTo>
                <a:cubicBezTo>
                  <a:pt x="241" y="218"/>
                  <a:pt x="241" y="218"/>
                  <a:pt x="241" y="218"/>
                </a:cubicBezTo>
                <a:cubicBezTo>
                  <a:pt x="241" y="219"/>
                  <a:pt x="241" y="219"/>
                  <a:pt x="241" y="219"/>
                </a:cubicBezTo>
                <a:cubicBezTo>
                  <a:pt x="242" y="219"/>
                  <a:pt x="242" y="219"/>
                  <a:pt x="242" y="219"/>
                </a:cubicBezTo>
                <a:cubicBezTo>
                  <a:pt x="242" y="222"/>
                  <a:pt x="242" y="222"/>
                  <a:pt x="242" y="222"/>
                </a:cubicBezTo>
                <a:cubicBezTo>
                  <a:pt x="243" y="222"/>
                  <a:pt x="243" y="222"/>
                  <a:pt x="243" y="222"/>
                </a:cubicBezTo>
                <a:cubicBezTo>
                  <a:pt x="244" y="222"/>
                  <a:pt x="244" y="222"/>
                  <a:pt x="244" y="222"/>
                </a:cubicBezTo>
                <a:cubicBezTo>
                  <a:pt x="244" y="223"/>
                  <a:pt x="244" y="223"/>
                  <a:pt x="244" y="223"/>
                </a:cubicBezTo>
                <a:cubicBezTo>
                  <a:pt x="243" y="223"/>
                  <a:pt x="243" y="223"/>
                  <a:pt x="243" y="223"/>
                </a:cubicBezTo>
                <a:cubicBezTo>
                  <a:pt x="242" y="224"/>
                  <a:pt x="242" y="224"/>
                  <a:pt x="242" y="224"/>
                </a:cubicBezTo>
                <a:cubicBezTo>
                  <a:pt x="242" y="225"/>
                  <a:pt x="242" y="225"/>
                  <a:pt x="242" y="225"/>
                </a:cubicBezTo>
                <a:cubicBezTo>
                  <a:pt x="243" y="225"/>
                  <a:pt x="243" y="225"/>
                  <a:pt x="243" y="225"/>
                </a:cubicBezTo>
                <a:cubicBezTo>
                  <a:pt x="244" y="226"/>
                  <a:pt x="244" y="226"/>
                  <a:pt x="244" y="226"/>
                </a:cubicBezTo>
                <a:cubicBezTo>
                  <a:pt x="245" y="226"/>
                  <a:pt x="245" y="226"/>
                  <a:pt x="245" y="226"/>
                </a:cubicBezTo>
                <a:cubicBezTo>
                  <a:pt x="245" y="226"/>
                  <a:pt x="245" y="226"/>
                  <a:pt x="245" y="226"/>
                </a:cubicBezTo>
                <a:cubicBezTo>
                  <a:pt x="246" y="227"/>
                  <a:pt x="246" y="227"/>
                  <a:pt x="246" y="227"/>
                </a:cubicBezTo>
                <a:cubicBezTo>
                  <a:pt x="247" y="227"/>
                  <a:pt x="247" y="227"/>
                  <a:pt x="247" y="227"/>
                </a:cubicBezTo>
                <a:cubicBezTo>
                  <a:pt x="248" y="226"/>
                  <a:pt x="248" y="226"/>
                  <a:pt x="248" y="226"/>
                </a:cubicBezTo>
                <a:cubicBezTo>
                  <a:pt x="249" y="227"/>
                  <a:pt x="249" y="227"/>
                  <a:pt x="249" y="227"/>
                </a:cubicBezTo>
                <a:cubicBezTo>
                  <a:pt x="249" y="227"/>
                  <a:pt x="249" y="227"/>
                  <a:pt x="249" y="227"/>
                </a:cubicBezTo>
                <a:cubicBezTo>
                  <a:pt x="249" y="228"/>
                  <a:pt x="249" y="228"/>
                  <a:pt x="249" y="228"/>
                </a:cubicBezTo>
                <a:cubicBezTo>
                  <a:pt x="250" y="228"/>
                  <a:pt x="250" y="228"/>
                  <a:pt x="250" y="228"/>
                </a:cubicBezTo>
                <a:cubicBezTo>
                  <a:pt x="250" y="228"/>
                  <a:pt x="250" y="228"/>
                  <a:pt x="250" y="228"/>
                </a:cubicBezTo>
                <a:cubicBezTo>
                  <a:pt x="250" y="229"/>
                  <a:pt x="250" y="229"/>
                  <a:pt x="250" y="229"/>
                </a:cubicBezTo>
                <a:cubicBezTo>
                  <a:pt x="250" y="230"/>
                  <a:pt x="250" y="230"/>
                  <a:pt x="250" y="230"/>
                </a:cubicBezTo>
                <a:cubicBezTo>
                  <a:pt x="250" y="230"/>
                  <a:pt x="250" y="230"/>
                  <a:pt x="250" y="230"/>
                </a:cubicBezTo>
                <a:cubicBezTo>
                  <a:pt x="251" y="231"/>
                  <a:pt x="251" y="231"/>
                  <a:pt x="251" y="231"/>
                </a:cubicBezTo>
                <a:cubicBezTo>
                  <a:pt x="252" y="232"/>
                  <a:pt x="252" y="232"/>
                  <a:pt x="252" y="232"/>
                </a:cubicBezTo>
                <a:cubicBezTo>
                  <a:pt x="252" y="233"/>
                  <a:pt x="252" y="233"/>
                  <a:pt x="252" y="233"/>
                </a:cubicBezTo>
                <a:cubicBezTo>
                  <a:pt x="254" y="232"/>
                  <a:pt x="254" y="232"/>
                  <a:pt x="254" y="232"/>
                </a:cubicBezTo>
                <a:cubicBezTo>
                  <a:pt x="254" y="233"/>
                  <a:pt x="254" y="233"/>
                  <a:pt x="254" y="233"/>
                </a:cubicBezTo>
                <a:cubicBezTo>
                  <a:pt x="254" y="234"/>
                  <a:pt x="254" y="234"/>
                  <a:pt x="254" y="234"/>
                </a:cubicBezTo>
                <a:cubicBezTo>
                  <a:pt x="255" y="234"/>
                  <a:pt x="255" y="234"/>
                  <a:pt x="255" y="234"/>
                </a:cubicBezTo>
                <a:cubicBezTo>
                  <a:pt x="256" y="235"/>
                  <a:pt x="256" y="235"/>
                  <a:pt x="256" y="235"/>
                </a:cubicBezTo>
                <a:cubicBezTo>
                  <a:pt x="257" y="234"/>
                  <a:pt x="257" y="234"/>
                  <a:pt x="257" y="234"/>
                </a:cubicBezTo>
                <a:cubicBezTo>
                  <a:pt x="260" y="234"/>
                  <a:pt x="260" y="234"/>
                  <a:pt x="260" y="234"/>
                </a:cubicBezTo>
                <a:cubicBezTo>
                  <a:pt x="260" y="233"/>
                  <a:pt x="260" y="233"/>
                  <a:pt x="260" y="233"/>
                </a:cubicBezTo>
                <a:cubicBezTo>
                  <a:pt x="262" y="232"/>
                  <a:pt x="262" y="232"/>
                  <a:pt x="262" y="232"/>
                </a:cubicBezTo>
                <a:cubicBezTo>
                  <a:pt x="262" y="232"/>
                  <a:pt x="262" y="232"/>
                  <a:pt x="262" y="232"/>
                </a:cubicBezTo>
                <a:cubicBezTo>
                  <a:pt x="263" y="233"/>
                  <a:pt x="263" y="233"/>
                  <a:pt x="263" y="233"/>
                </a:cubicBezTo>
                <a:cubicBezTo>
                  <a:pt x="265" y="233"/>
                  <a:pt x="265" y="233"/>
                  <a:pt x="265" y="233"/>
                </a:cubicBezTo>
                <a:cubicBezTo>
                  <a:pt x="267" y="235"/>
                  <a:pt x="267" y="235"/>
                  <a:pt x="267" y="235"/>
                </a:cubicBezTo>
                <a:cubicBezTo>
                  <a:pt x="268" y="235"/>
                  <a:pt x="268" y="235"/>
                  <a:pt x="268" y="235"/>
                </a:cubicBezTo>
                <a:cubicBezTo>
                  <a:pt x="269" y="236"/>
                  <a:pt x="269" y="236"/>
                  <a:pt x="269" y="236"/>
                </a:cubicBezTo>
                <a:cubicBezTo>
                  <a:pt x="270" y="235"/>
                  <a:pt x="270" y="235"/>
                  <a:pt x="270" y="235"/>
                </a:cubicBezTo>
                <a:cubicBezTo>
                  <a:pt x="272" y="235"/>
                  <a:pt x="272" y="235"/>
                  <a:pt x="272" y="235"/>
                </a:cubicBezTo>
                <a:cubicBezTo>
                  <a:pt x="273" y="236"/>
                  <a:pt x="273" y="236"/>
                  <a:pt x="273" y="236"/>
                </a:cubicBezTo>
                <a:cubicBezTo>
                  <a:pt x="273" y="236"/>
                  <a:pt x="273" y="236"/>
                  <a:pt x="273" y="236"/>
                </a:cubicBezTo>
                <a:cubicBezTo>
                  <a:pt x="273" y="234"/>
                  <a:pt x="273" y="234"/>
                  <a:pt x="273" y="234"/>
                </a:cubicBezTo>
                <a:cubicBezTo>
                  <a:pt x="272" y="233"/>
                  <a:pt x="272" y="233"/>
                  <a:pt x="272" y="233"/>
                </a:cubicBezTo>
                <a:cubicBezTo>
                  <a:pt x="272" y="231"/>
                  <a:pt x="272" y="231"/>
                  <a:pt x="272" y="231"/>
                </a:cubicBezTo>
                <a:cubicBezTo>
                  <a:pt x="272" y="231"/>
                  <a:pt x="272" y="231"/>
                  <a:pt x="272" y="231"/>
                </a:cubicBezTo>
                <a:cubicBezTo>
                  <a:pt x="273" y="231"/>
                  <a:pt x="273" y="231"/>
                  <a:pt x="273" y="231"/>
                </a:cubicBezTo>
                <a:cubicBezTo>
                  <a:pt x="274" y="233"/>
                  <a:pt x="274" y="233"/>
                  <a:pt x="274" y="233"/>
                </a:cubicBezTo>
                <a:cubicBezTo>
                  <a:pt x="274" y="235"/>
                  <a:pt x="274" y="235"/>
                  <a:pt x="274" y="235"/>
                </a:cubicBezTo>
                <a:cubicBezTo>
                  <a:pt x="276" y="237"/>
                  <a:pt x="276" y="237"/>
                  <a:pt x="276" y="237"/>
                </a:cubicBezTo>
                <a:cubicBezTo>
                  <a:pt x="276" y="237"/>
                  <a:pt x="276" y="237"/>
                  <a:pt x="276" y="237"/>
                </a:cubicBezTo>
                <a:cubicBezTo>
                  <a:pt x="277" y="239"/>
                  <a:pt x="277" y="239"/>
                  <a:pt x="277" y="239"/>
                </a:cubicBezTo>
                <a:cubicBezTo>
                  <a:pt x="277" y="236"/>
                  <a:pt x="277" y="236"/>
                  <a:pt x="277" y="236"/>
                </a:cubicBezTo>
                <a:cubicBezTo>
                  <a:pt x="276" y="235"/>
                  <a:pt x="276" y="235"/>
                  <a:pt x="276" y="235"/>
                </a:cubicBezTo>
                <a:cubicBezTo>
                  <a:pt x="275" y="235"/>
                  <a:pt x="275" y="235"/>
                  <a:pt x="275" y="235"/>
                </a:cubicBezTo>
                <a:cubicBezTo>
                  <a:pt x="274" y="233"/>
                  <a:pt x="274" y="233"/>
                  <a:pt x="274" y="233"/>
                </a:cubicBezTo>
                <a:cubicBezTo>
                  <a:pt x="274" y="230"/>
                  <a:pt x="274" y="230"/>
                  <a:pt x="274" y="230"/>
                </a:cubicBezTo>
                <a:cubicBezTo>
                  <a:pt x="274" y="229"/>
                  <a:pt x="274" y="229"/>
                  <a:pt x="274" y="229"/>
                </a:cubicBezTo>
                <a:cubicBezTo>
                  <a:pt x="274" y="230"/>
                  <a:pt x="274" y="230"/>
                  <a:pt x="274" y="230"/>
                </a:cubicBezTo>
                <a:cubicBezTo>
                  <a:pt x="274" y="230"/>
                  <a:pt x="274" y="230"/>
                  <a:pt x="274" y="230"/>
                </a:cubicBezTo>
                <a:cubicBezTo>
                  <a:pt x="275" y="231"/>
                  <a:pt x="275" y="231"/>
                  <a:pt x="275" y="231"/>
                </a:cubicBezTo>
                <a:cubicBezTo>
                  <a:pt x="276" y="230"/>
                  <a:pt x="276" y="230"/>
                  <a:pt x="276" y="230"/>
                </a:cubicBezTo>
                <a:cubicBezTo>
                  <a:pt x="276" y="230"/>
                  <a:pt x="276" y="230"/>
                  <a:pt x="276" y="230"/>
                </a:cubicBezTo>
                <a:cubicBezTo>
                  <a:pt x="275" y="228"/>
                  <a:pt x="275" y="228"/>
                  <a:pt x="275" y="228"/>
                </a:cubicBezTo>
                <a:cubicBezTo>
                  <a:pt x="275" y="228"/>
                  <a:pt x="275" y="228"/>
                  <a:pt x="275" y="228"/>
                </a:cubicBezTo>
                <a:cubicBezTo>
                  <a:pt x="275" y="227"/>
                  <a:pt x="275" y="227"/>
                  <a:pt x="275" y="227"/>
                </a:cubicBezTo>
                <a:cubicBezTo>
                  <a:pt x="275" y="226"/>
                  <a:pt x="275" y="226"/>
                  <a:pt x="275" y="226"/>
                </a:cubicBezTo>
                <a:cubicBezTo>
                  <a:pt x="276" y="226"/>
                  <a:pt x="276" y="226"/>
                  <a:pt x="276" y="226"/>
                </a:cubicBezTo>
                <a:cubicBezTo>
                  <a:pt x="277" y="227"/>
                  <a:pt x="277" y="227"/>
                  <a:pt x="277" y="227"/>
                </a:cubicBezTo>
                <a:cubicBezTo>
                  <a:pt x="277" y="228"/>
                  <a:pt x="277" y="228"/>
                  <a:pt x="277" y="228"/>
                </a:cubicBezTo>
                <a:cubicBezTo>
                  <a:pt x="277" y="228"/>
                  <a:pt x="277" y="228"/>
                  <a:pt x="277" y="228"/>
                </a:cubicBezTo>
                <a:cubicBezTo>
                  <a:pt x="278" y="228"/>
                  <a:pt x="278" y="228"/>
                  <a:pt x="278" y="228"/>
                </a:cubicBezTo>
                <a:cubicBezTo>
                  <a:pt x="279" y="227"/>
                  <a:pt x="279" y="227"/>
                  <a:pt x="279" y="227"/>
                </a:cubicBezTo>
                <a:cubicBezTo>
                  <a:pt x="279" y="226"/>
                  <a:pt x="279" y="226"/>
                  <a:pt x="279" y="226"/>
                </a:cubicBezTo>
                <a:cubicBezTo>
                  <a:pt x="280" y="226"/>
                  <a:pt x="280" y="226"/>
                  <a:pt x="280" y="226"/>
                </a:cubicBezTo>
                <a:cubicBezTo>
                  <a:pt x="281" y="227"/>
                  <a:pt x="281" y="227"/>
                  <a:pt x="281" y="227"/>
                </a:cubicBezTo>
                <a:cubicBezTo>
                  <a:pt x="281" y="228"/>
                  <a:pt x="281" y="228"/>
                  <a:pt x="281" y="228"/>
                </a:cubicBezTo>
                <a:cubicBezTo>
                  <a:pt x="281" y="228"/>
                  <a:pt x="281" y="228"/>
                  <a:pt x="281" y="228"/>
                </a:cubicBezTo>
                <a:cubicBezTo>
                  <a:pt x="281" y="228"/>
                  <a:pt x="281" y="228"/>
                  <a:pt x="281" y="228"/>
                </a:cubicBezTo>
                <a:cubicBezTo>
                  <a:pt x="282" y="227"/>
                  <a:pt x="282" y="227"/>
                  <a:pt x="282" y="227"/>
                </a:cubicBezTo>
                <a:cubicBezTo>
                  <a:pt x="283" y="228"/>
                  <a:pt x="283" y="228"/>
                  <a:pt x="283" y="228"/>
                </a:cubicBezTo>
                <a:cubicBezTo>
                  <a:pt x="282" y="230"/>
                  <a:pt x="282" y="230"/>
                  <a:pt x="282" y="230"/>
                </a:cubicBezTo>
                <a:cubicBezTo>
                  <a:pt x="282" y="231"/>
                  <a:pt x="282" y="231"/>
                  <a:pt x="282" y="231"/>
                </a:cubicBezTo>
                <a:cubicBezTo>
                  <a:pt x="283" y="231"/>
                  <a:pt x="283" y="231"/>
                  <a:pt x="283" y="231"/>
                </a:cubicBezTo>
                <a:cubicBezTo>
                  <a:pt x="284" y="231"/>
                  <a:pt x="284" y="231"/>
                  <a:pt x="284" y="231"/>
                </a:cubicBezTo>
                <a:cubicBezTo>
                  <a:pt x="285" y="232"/>
                  <a:pt x="285" y="232"/>
                  <a:pt x="285" y="232"/>
                </a:cubicBezTo>
                <a:cubicBezTo>
                  <a:pt x="284" y="233"/>
                  <a:pt x="284" y="233"/>
                  <a:pt x="284" y="233"/>
                </a:cubicBezTo>
                <a:cubicBezTo>
                  <a:pt x="283" y="233"/>
                  <a:pt x="283" y="233"/>
                  <a:pt x="283" y="233"/>
                </a:cubicBezTo>
                <a:cubicBezTo>
                  <a:pt x="283" y="234"/>
                  <a:pt x="283" y="234"/>
                  <a:pt x="283" y="234"/>
                </a:cubicBezTo>
                <a:cubicBezTo>
                  <a:pt x="283" y="234"/>
                  <a:pt x="283" y="234"/>
                  <a:pt x="283" y="234"/>
                </a:cubicBezTo>
                <a:cubicBezTo>
                  <a:pt x="285" y="233"/>
                  <a:pt x="285" y="233"/>
                  <a:pt x="285" y="233"/>
                </a:cubicBezTo>
                <a:cubicBezTo>
                  <a:pt x="286" y="232"/>
                  <a:pt x="286" y="232"/>
                  <a:pt x="286" y="232"/>
                </a:cubicBezTo>
                <a:cubicBezTo>
                  <a:pt x="287" y="231"/>
                  <a:pt x="287" y="231"/>
                  <a:pt x="287" y="231"/>
                </a:cubicBezTo>
                <a:cubicBezTo>
                  <a:pt x="288" y="232"/>
                  <a:pt x="288" y="232"/>
                  <a:pt x="288" y="232"/>
                </a:cubicBezTo>
                <a:cubicBezTo>
                  <a:pt x="288" y="232"/>
                  <a:pt x="288" y="232"/>
                  <a:pt x="288" y="232"/>
                </a:cubicBezTo>
                <a:cubicBezTo>
                  <a:pt x="287" y="232"/>
                  <a:pt x="287" y="232"/>
                  <a:pt x="287" y="232"/>
                </a:cubicBezTo>
                <a:cubicBezTo>
                  <a:pt x="287" y="233"/>
                  <a:pt x="287" y="233"/>
                  <a:pt x="287" y="233"/>
                </a:cubicBezTo>
                <a:cubicBezTo>
                  <a:pt x="287" y="234"/>
                  <a:pt x="287" y="234"/>
                  <a:pt x="287" y="234"/>
                </a:cubicBezTo>
                <a:cubicBezTo>
                  <a:pt x="285" y="236"/>
                  <a:pt x="285" y="236"/>
                  <a:pt x="285" y="236"/>
                </a:cubicBezTo>
                <a:cubicBezTo>
                  <a:pt x="285" y="236"/>
                  <a:pt x="285" y="236"/>
                  <a:pt x="285" y="236"/>
                </a:cubicBezTo>
                <a:cubicBezTo>
                  <a:pt x="283" y="238"/>
                  <a:pt x="283" y="238"/>
                  <a:pt x="283" y="238"/>
                </a:cubicBezTo>
                <a:cubicBezTo>
                  <a:pt x="283" y="239"/>
                  <a:pt x="283" y="239"/>
                  <a:pt x="283" y="239"/>
                </a:cubicBezTo>
                <a:cubicBezTo>
                  <a:pt x="282" y="240"/>
                  <a:pt x="282" y="240"/>
                  <a:pt x="282" y="240"/>
                </a:cubicBezTo>
                <a:cubicBezTo>
                  <a:pt x="282" y="238"/>
                  <a:pt x="282" y="238"/>
                  <a:pt x="282" y="238"/>
                </a:cubicBezTo>
                <a:cubicBezTo>
                  <a:pt x="281" y="240"/>
                  <a:pt x="281" y="240"/>
                  <a:pt x="281" y="240"/>
                </a:cubicBezTo>
                <a:cubicBezTo>
                  <a:pt x="281" y="242"/>
                  <a:pt x="281" y="242"/>
                  <a:pt x="281" y="242"/>
                </a:cubicBezTo>
                <a:cubicBezTo>
                  <a:pt x="281" y="242"/>
                  <a:pt x="281" y="242"/>
                  <a:pt x="281" y="242"/>
                </a:cubicBezTo>
                <a:cubicBezTo>
                  <a:pt x="282" y="242"/>
                  <a:pt x="282" y="242"/>
                  <a:pt x="282" y="242"/>
                </a:cubicBezTo>
                <a:cubicBezTo>
                  <a:pt x="283" y="242"/>
                  <a:pt x="283" y="242"/>
                  <a:pt x="283" y="242"/>
                </a:cubicBezTo>
                <a:cubicBezTo>
                  <a:pt x="283" y="243"/>
                  <a:pt x="283" y="243"/>
                  <a:pt x="283" y="243"/>
                </a:cubicBezTo>
                <a:cubicBezTo>
                  <a:pt x="281" y="244"/>
                  <a:pt x="281" y="244"/>
                  <a:pt x="281" y="244"/>
                </a:cubicBezTo>
                <a:cubicBezTo>
                  <a:pt x="281" y="245"/>
                  <a:pt x="281" y="245"/>
                  <a:pt x="281" y="245"/>
                </a:cubicBezTo>
                <a:cubicBezTo>
                  <a:pt x="283" y="244"/>
                  <a:pt x="283" y="244"/>
                  <a:pt x="283" y="244"/>
                </a:cubicBezTo>
                <a:cubicBezTo>
                  <a:pt x="284" y="243"/>
                  <a:pt x="284" y="243"/>
                  <a:pt x="284" y="243"/>
                </a:cubicBezTo>
                <a:cubicBezTo>
                  <a:pt x="285" y="243"/>
                  <a:pt x="285" y="243"/>
                  <a:pt x="285" y="243"/>
                </a:cubicBezTo>
                <a:cubicBezTo>
                  <a:pt x="284" y="245"/>
                  <a:pt x="284" y="245"/>
                  <a:pt x="284" y="245"/>
                </a:cubicBezTo>
                <a:cubicBezTo>
                  <a:pt x="283" y="245"/>
                  <a:pt x="283" y="245"/>
                  <a:pt x="283" y="245"/>
                </a:cubicBezTo>
                <a:cubicBezTo>
                  <a:pt x="284" y="246"/>
                  <a:pt x="284" y="246"/>
                  <a:pt x="284" y="246"/>
                </a:cubicBezTo>
                <a:cubicBezTo>
                  <a:pt x="285" y="245"/>
                  <a:pt x="285" y="245"/>
                  <a:pt x="285" y="245"/>
                </a:cubicBezTo>
                <a:cubicBezTo>
                  <a:pt x="284" y="247"/>
                  <a:pt x="284" y="247"/>
                  <a:pt x="284" y="247"/>
                </a:cubicBezTo>
                <a:cubicBezTo>
                  <a:pt x="284" y="248"/>
                  <a:pt x="284" y="248"/>
                  <a:pt x="284" y="248"/>
                </a:cubicBezTo>
                <a:cubicBezTo>
                  <a:pt x="283" y="248"/>
                  <a:pt x="283" y="248"/>
                  <a:pt x="283" y="248"/>
                </a:cubicBezTo>
                <a:cubicBezTo>
                  <a:pt x="282" y="248"/>
                  <a:pt x="282" y="248"/>
                  <a:pt x="282" y="248"/>
                </a:cubicBezTo>
                <a:cubicBezTo>
                  <a:pt x="281" y="247"/>
                  <a:pt x="281" y="247"/>
                  <a:pt x="281" y="247"/>
                </a:cubicBezTo>
                <a:cubicBezTo>
                  <a:pt x="280" y="248"/>
                  <a:pt x="280" y="248"/>
                  <a:pt x="280" y="248"/>
                </a:cubicBezTo>
                <a:cubicBezTo>
                  <a:pt x="279" y="246"/>
                  <a:pt x="279" y="246"/>
                  <a:pt x="279" y="246"/>
                </a:cubicBezTo>
                <a:cubicBezTo>
                  <a:pt x="279" y="246"/>
                  <a:pt x="279" y="246"/>
                  <a:pt x="279" y="246"/>
                </a:cubicBezTo>
                <a:cubicBezTo>
                  <a:pt x="278" y="248"/>
                  <a:pt x="278" y="248"/>
                  <a:pt x="278" y="248"/>
                </a:cubicBezTo>
                <a:cubicBezTo>
                  <a:pt x="279" y="249"/>
                  <a:pt x="279" y="249"/>
                  <a:pt x="279" y="249"/>
                </a:cubicBezTo>
                <a:cubicBezTo>
                  <a:pt x="280" y="250"/>
                  <a:pt x="280" y="250"/>
                  <a:pt x="280" y="250"/>
                </a:cubicBezTo>
                <a:cubicBezTo>
                  <a:pt x="279" y="253"/>
                  <a:pt x="279" y="253"/>
                  <a:pt x="279" y="253"/>
                </a:cubicBezTo>
                <a:cubicBezTo>
                  <a:pt x="280" y="251"/>
                  <a:pt x="280" y="251"/>
                  <a:pt x="280" y="251"/>
                </a:cubicBezTo>
                <a:cubicBezTo>
                  <a:pt x="280" y="249"/>
                  <a:pt x="280" y="249"/>
                  <a:pt x="280" y="249"/>
                </a:cubicBezTo>
                <a:cubicBezTo>
                  <a:pt x="281" y="248"/>
                  <a:pt x="281" y="248"/>
                  <a:pt x="281" y="248"/>
                </a:cubicBezTo>
                <a:cubicBezTo>
                  <a:pt x="281" y="249"/>
                  <a:pt x="281" y="249"/>
                  <a:pt x="281" y="249"/>
                </a:cubicBezTo>
                <a:cubicBezTo>
                  <a:pt x="283" y="249"/>
                  <a:pt x="283" y="249"/>
                  <a:pt x="283" y="249"/>
                </a:cubicBezTo>
                <a:cubicBezTo>
                  <a:pt x="284" y="250"/>
                  <a:pt x="284" y="250"/>
                  <a:pt x="284" y="250"/>
                </a:cubicBezTo>
                <a:cubicBezTo>
                  <a:pt x="285" y="249"/>
                  <a:pt x="285" y="249"/>
                  <a:pt x="285" y="249"/>
                </a:cubicBezTo>
                <a:cubicBezTo>
                  <a:pt x="285" y="248"/>
                  <a:pt x="285" y="248"/>
                  <a:pt x="285" y="248"/>
                </a:cubicBezTo>
                <a:cubicBezTo>
                  <a:pt x="286" y="247"/>
                  <a:pt x="286" y="247"/>
                  <a:pt x="286" y="247"/>
                </a:cubicBezTo>
                <a:cubicBezTo>
                  <a:pt x="287" y="246"/>
                  <a:pt x="287" y="246"/>
                  <a:pt x="287" y="246"/>
                </a:cubicBezTo>
                <a:cubicBezTo>
                  <a:pt x="289" y="246"/>
                  <a:pt x="289" y="246"/>
                  <a:pt x="289" y="246"/>
                </a:cubicBezTo>
                <a:cubicBezTo>
                  <a:pt x="290" y="245"/>
                  <a:pt x="290" y="245"/>
                  <a:pt x="290" y="245"/>
                </a:cubicBezTo>
                <a:cubicBezTo>
                  <a:pt x="289" y="245"/>
                  <a:pt x="289" y="245"/>
                  <a:pt x="289" y="245"/>
                </a:cubicBezTo>
                <a:cubicBezTo>
                  <a:pt x="287" y="245"/>
                  <a:pt x="287" y="245"/>
                  <a:pt x="287" y="245"/>
                </a:cubicBezTo>
                <a:cubicBezTo>
                  <a:pt x="287" y="246"/>
                  <a:pt x="287" y="246"/>
                  <a:pt x="287" y="246"/>
                </a:cubicBezTo>
                <a:cubicBezTo>
                  <a:pt x="286" y="246"/>
                  <a:pt x="286" y="246"/>
                  <a:pt x="286" y="246"/>
                </a:cubicBezTo>
                <a:cubicBezTo>
                  <a:pt x="285" y="246"/>
                  <a:pt x="285" y="246"/>
                  <a:pt x="285" y="246"/>
                </a:cubicBezTo>
                <a:cubicBezTo>
                  <a:pt x="286" y="245"/>
                  <a:pt x="286" y="245"/>
                  <a:pt x="286" y="245"/>
                </a:cubicBezTo>
                <a:cubicBezTo>
                  <a:pt x="287" y="244"/>
                  <a:pt x="287" y="244"/>
                  <a:pt x="287" y="244"/>
                </a:cubicBezTo>
                <a:cubicBezTo>
                  <a:pt x="286" y="244"/>
                  <a:pt x="286" y="244"/>
                  <a:pt x="286" y="244"/>
                </a:cubicBezTo>
                <a:cubicBezTo>
                  <a:pt x="286" y="243"/>
                  <a:pt x="286" y="243"/>
                  <a:pt x="286" y="243"/>
                </a:cubicBezTo>
                <a:cubicBezTo>
                  <a:pt x="287" y="241"/>
                  <a:pt x="287" y="241"/>
                  <a:pt x="287" y="241"/>
                </a:cubicBezTo>
                <a:cubicBezTo>
                  <a:pt x="287" y="240"/>
                  <a:pt x="287" y="240"/>
                  <a:pt x="287" y="240"/>
                </a:cubicBezTo>
                <a:cubicBezTo>
                  <a:pt x="286" y="239"/>
                  <a:pt x="286" y="239"/>
                  <a:pt x="286" y="239"/>
                </a:cubicBezTo>
                <a:cubicBezTo>
                  <a:pt x="287" y="239"/>
                  <a:pt x="287" y="239"/>
                  <a:pt x="287" y="239"/>
                </a:cubicBezTo>
                <a:cubicBezTo>
                  <a:pt x="288" y="237"/>
                  <a:pt x="288" y="237"/>
                  <a:pt x="288" y="237"/>
                </a:cubicBezTo>
                <a:cubicBezTo>
                  <a:pt x="288" y="236"/>
                  <a:pt x="288" y="236"/>
                  <a:pt x="288" y="236"/>
                </a:cubicBezTo>
                <a:cubicBezTo>
                  <a:pt x="290" y="235"/>
                  <a:pt x="290" y="235"/>
                  <a:pt x="290" y="235"/>
                </a:cubicBezTo>
                <a:cubicBezTo>
                  <a:pt x="290" y="235"/>
                  <a:pt x="290" y="235"/>
                  <a:pt x="290" y="235"/>
                </a:cubicBezTo>
                <a:cubicBezTo>
                  <a:pt x="290" y="236"/>
                  <a:pt x="290" y="236"/>
                  <a:pt x="290" y="236"/>
                </a:cubicBezTo>
                <a:cubicBezTo>
                  <a:pt x="290" y="235"/>
                  <a:pt x="290" y="235"/>
                  <a:pt x="290" y="235"/>
                </a:cubicBezTo>
                <a:cubicBezTo>
                  <a:pt x="291" y="234"/>
                  <a:pt x="291" y="234"/>
                  <a:pt x="291" y="234"/>
                </a:cubicBezTo>
                <a:cubicBezTo>
                  <a:pt x="291" y="235"/>
                  <a:pt x="291" y="235"/>
                  <a:pt x="291" y="235"/>
                </a:cubicBezTo>
                <a:cubicBezTo>
                  <a:pt x="292" y="235"/>
                  <a:pt x="292" y="235"/>
                  <a:pt x="292" y="235"/>
                </a:cubicBezTo>
                <a:cubicBezTo>
                  <a:pt x="292" y="236"/>
                  <a:pt x="292" y="236"/>
                  <a:pt x="292" y="236"/>
                </a:cubicBezTo>
                <a:cubicBezTo>
                  <a:pt x="293" y="235"/>
                  <a:pt x="293" y="235"/>
                  <a:pt x="293" y="235"/>
                </a:cubicBezTo>
                <a:cubicBezTo>
                  <a:pt x="294" y="234"/>
                  <a:pt x="294" y="234"/>
                  <a:pt x="294" y="234"/>
                </a:cubicBezTo>
                <a:cubicBezTo>
                  <a:pt x="297" y="233"/>
                  <a:pt x="297" y="233"/>
                  <a:pt x="297" y="233"/>
                </a:cubicBezTo>
                <a:cubicBezTo>
                  <a:pt x="298" y="232"/>
                  <a:pt x="298" y="232"/>
                  <a:pt x="298" y="232"/>
                </a:cubicBezTo>
                <a:cubicBezTo>
                  <a:pt x="297" y="232"/>
                  <a:pt x="297" y="232"/>
                  <a:pt x="297" y="232"/>
                </a:cubicBezTo>
                <a:cubicBezTo>
                  <a:pt x="298" y="231"/>
                  <a:pt x="298" y="231"/>
                  <a:pt x="298" y="231"/>
                </a:cubicBezTo>
                <a:cubicBezTo>
                  <a:pt x="299" y="230"/>
                  <a:pt x="299" y="230"/>
                  <a:pt x="299" y="230"/>
                </a:cubicBezTo>
                <a:cubicBezTo>
                  <a:pt x="301" y="230"/>
                  <a:pt x="301" y="230"/>
                  <a:pt x="301" y="230"/>
                </a:cubicBezTo>
                <a:cubicBezTo>
                  <a:pt x="302" y="229"/>
                  <a:pt x="302" y="229"/>
                  <a:pt x="302" y="229"/>
                </a:cubicBezTo>
                <a:cubicBezTo>
                  <a:pt x="302" y="228"/>
                  <a:pt x="302" y="228"/>
                  <a:pt x="302" y="228"/>
                </a:cubicBezTo>
                <a:cubicBezTo>
                  <a:pt x="302" y="226"/>
                  <a:pt x="302" y="226"/>
                  <a:pt x="302" y="226"/>
                </a:cubicBezTo>
                <a:cubicBezTo>
                  <a:pt x="303" y="225"/>
                  <a:pt x="303" y="225"/>
                  <a:pt x="303" y="225"/>
                </a:cubicBezTo>
                <a:cubicBezTo>
                  <a:pt x="303" y="224"/>
                  <a:pt x="303" y="224"/>
                  <a:pt x="303" y="224"/>
                </a:cubicBezTo>
                <a:cubicBezTo>
                  <a:pt x="303" y="223"/>
                  <a:pt x="303" y="223"/>
                  <a:pt x="303" y="223"/>
                </a:cubicBezTo>
                <a:cubicBezTo>
                  <a:pt x="302" y="224"/>
                  <a:pt x="302" y="224"/>
                  <a:pt x="302" y="224"/>
                </a:cubicBezTo>
                <a:cubicBezTo>
                  <a:pt x="301" y="224"/>
                  <a:pt x="301" y="224"/>
                  <a:pt x="301" y="224"/>
                </a:cubicBezTo>
                <a:cubicBezTo>
                  <a:pt x="301" y="224"/>
                  <a:pt x="301" y="224"/>
                  <a:pt x="301" y="224"/>
                </a:cubicBezTo>
                <a:cubicBezTo>
                  <a:pt x="301" y="225"/>
                  <a:pt x="301" y="225"/>
                  <a:pt x="301" y="225"/>
                </a:cubicBezTo>
                <a:cubicBezTo>
                  <a:pt x="300" y="226"/>
                  <a:pt x="300" y="226"/>
                  <a:pt x="300" y="226"/>
                </a:cubicBezTo>
                <a:cubicBezTo>
                  <a:pt x="299" y="225"/>
                  <a:pt x="299" y="225"/>
                  <a:pt x="299" y="225"/>
                </a:cubicBezTo>
                <a:cubicBezTo>
                  <a:pt x="298" y="225"/>
                  <a:pt x="298" y="225"/>
                  <a:pt x="298" y="225"/>
                </a:cubicBezTo>
                <a:cubicBezTo>
                  <a:pt x="298" y="225"/>
                  <a:pt x="298" y="225"/>
                  <a:pt x="298" y="225"/>
                </a:cubicBezTo>
                <a:cubicBezTo>
                  <a:pt x="299" y="223"/>
                  <a:pt x="299" y="223"/>
                  <a:pt x="299" y="223"/>
                </a:cubicBezTo>
                <a:cubicBezTo>
                  <a:pt x="300" y="223"/>
                  <a:pt x="300" y="223"/>
                  <a:pt x="300" y="223"/>
                </a:cubicBezTo>
                <a:cubicBezTo>
                  <a:pt x="300" y="222"/>
                  <a:pt x="300" y="222"/>
                  <a:pt x="300" y="222"/>
                </a:cubicBezTo>
                <a:cubicBezTo>
                  <a:pt x="302" y="222"/>
                  <a:pt x="302" y="222"/>
                  <a:pt x="302" y="222"/>
                </a:cubicBezTo>
                <a:cubicBezTo>
                  <a:pt x="302" y="221"/>
                  <a:pt x="302" y="221"/>
                  <a:pt x="302" y="221"/>
                </a:cubicBezTo>
                <a:cubicBezTo>
                  <a:pt x="301" y="220"/>
                  <a:pt x="301" y="220"/>
                  <a:pt x="301" y="220"/>
                </a:cubicBezTo>
                <a:cubicBezTo>
                  <a:pt x="302" y="219"/>
                  <a:pt x="302" y="219"/>
                  <a:pt x="302" y="219"/>
                </a:cubicBezTo>
                <a:cubicBezTo>
                  <a:pt x="304" y="218"/>
                  <a:pt x="304" y="218"/>
                  <a:pt x="304" y="218"/>
                </a:cubicBezTo>
                <a:cubicBezTo>
                  <a:pt x="305" y="219"/>
                  <a:pt x="305" y="219"/>
                  <a:pt x="305" y="219"/>
                </a:cubicBezTo>
                <a:cubicBezTo>
                  <a:pt x="304" y="220"/>
                  <a:pt x="304" y="220"/>
                  <a:pt x="304" y="220"/>
                </a:cubicBezTo>
                <a:cubicBezTo>
                  <a:pt x="304" y="221"/>
                  <a:pt x="304" y="221"/>
                  <a:pt x="304" y="221"/>
                </a:cubicBezTo>
                <a:cubicBezTo>
                  <a:pt x="304" y="221"/>
                  <a:pt x="304" y="221"/>
                  <a:pt x="304" y="221"/>
                </a:cubicBezTo>
                <a:cubicBezTo>
                  <a:pt x="306" y="220"/>
                  <a:pt x="306" y="220"/>
                  <a:pt x="306" y="220"/>
                </a:cubicBezTo>
                <a:cubicBezTo>
                  <a:pt x="307" y="218"/>
                  <a:pt x="307" y="218"/>
                  <a:pt x="307" y="218"/>
                </a:cubicBezTo>
                <a:cubicBezTo>
                  <a:pt x="307" y="217"/>
                  <a:pt x="307" y="217"/>
                  <a:pt x="307" y="217"/>
                </a:cubicBezTo>
                <a:cubicBezTo>
                  <a:pt x="305" y="217"/>
                  <a:pt x="305" y="217"/>
                  <a:pt x="305" y="217"/>
                </a:cubicBezTo>
                <a:cubicBezTo>
                  <a:pt x="304" y="217"/>
                  <a:pt x="304" y="217"/>
                  <a:pt x="304" y="217"/>
                </a:cubicBezTo>
                <a:cubicBezTo>
                  <a:pt x="304" y="216"/>
                  <a:pt x="304" y="216"/>
                  <a:pt x="304" y="216"/>
                </a:cubicBezTo>
                <a:cubicBezTo>
                  <a:pt x="302" y="216"/>
                  <a:pt x="302" y="216"/>
                  <a:pt x="302" y="216"/>
                </a:cubicBezTo>
                <a:cubicBezTo>
                  <a:pt x="301" y="214"/>
                  <a:pt x="301" y="214"/>
                  <a:pt x="301" y="214"/>
                </a:cubicBezTo>
                <a:cubicBezTo>
                  <a:pt x="301" y="213"/>
                  <a:pt x="301" y="213"/>
                  <a:pt x="301" y="213"/>
                </a:cubicBezTo>
                <a:cubicBezTo>
                  <a:pt x="301" y="214"/>
                  <a:pt x="301" y="214"/>
                  <a:pt x="301" y="214"/>
                </a:cubicBezTo>
                <a:cubicBezTo>
                  <a:pt x="300" y="214"/>
                  <a:pt x="300" y="214"/>
                  <a:pt x="300" y="214"/>
                </a:cubicBezTo>
                <a:cubicBezTo>
                  <a:pt x="299" y="213"/>
                  <a:pt x="299" y="213"/>
                  <a:pt x="299" y="213"/>
                </a:cubicBezTo>
                <a:cubicBezTo>
                  <a:pt x="298" y="212"/>
                  <a:pt x="298" y="212"/>
                  <a:pt x="298" y="212"/>
                </a:cubicBezTo>
                <a:cubicBezTo>
                  <a:pt x="298" y="211"/>
                  <a:pt x="298" y="211"/>
                  <a:pt x="298" y="211"/>
                </a:cubicBezTo>
                <a:cubicBezTo>
                  <a:pt x="297" y="211"/>
                  <a:pt x="297" y="211"/>
                  <a:pt x="297" y="211"/>
                </a:cubicBezTo>
                <a:cubicBezTo>
                  <a:pt x="296" y="211"/>
                  <a:pt x="296" y="211"/>
                  <a:pt x="296" y="211"/>
                </a:cubicBezTo>
                <a:cubicBezTo>
                  <a:pt x="296" y="210"/>
                  <a:pt x="296" y="210"/>
                  <a:pt x="296" y="210"/>
                </a:cubicBezTo>
                <a:cubicBezTo>
                  <a:pt x="296" y="209"/>
                  <a:pt x="296" y="209"/>
                  <a:pt x="296" y="209"/>
                </a:cubicBezTo>
                <a:cubicBezTo>
                  <a:pt x="296" y="208"/>
                  <a:pt x="296" y="208"/>
                  <a:pt x="296" y="208"/>
                </a:cubicBezTo>
                <a:cubicBezTo>
                  <a:pt x="296" y="207"/>
                  <a:pt x="296" y="207"/>
                  <a:pt x="296" y="207"/>
                </a:cubicBezTo>
                <a:cubicBezTo>
                  <a:pt x="296" y="206"/>
                  <a:pt x="296" y="206"/>
                  <a:pt x="296" y="206"/>
                </a:cubicBezTo>
                <a:cubicBezTo>
                  <a:pt x="296" y="203"/>
                  <a:pt x="296" y="203"/>
                  <a:pt x="296" y="203"/>
                </a:cubicBezTo>
                <a:cubicBezTo>
                  <a:pt x="297" y="202"/>
                  <a:pt x="297" y="202"/>
                  <a:pt x="297" y="202"/>
                </a:cubicBezTo>
                <a:cubicBezTo>
                  <a:pt x="299" y="200"/>
                  <a:pt x="299" y="200"/>
                  <a:pt x="299" y="200"/>
                </a:cubicBezTo>
                <a:cubicBezTo>
                  <a:pt x="300" y="200"/>
                  <a:pt x="300" y="200"/>
                  <a:pt x="300" y="200"/>
                </a:cubicBezTo>
                <a:cubicBezTo>
                  <a:pt x="301" y="200"/>
                  <a:pt x="301" y="200"/>
                  <a:pt x="301" y="200"/>
                </a:cubicBezTo>
                <a:cubicBezTo>
                  <a:pt x="301" y="199"/>
                  <a:pt x="301" y="199"/>
                  <a:pt x="301" y="199"/>
                </a:cubicBezTo>
                <a:cubicBezTo>
                  <a:pt x="302" y="198"/>
                  <a:pt x="302" y="198"/>
                  <a:pt x="302" y="198"/>
                </a:cubicBezTo>
                <a:cubicBezTo>
                  <a:pt x="302" y="198"/>
                  <a:pt x="302" y="198"/>
                  <a:pt x="302" y="198"/>
                </a:cubicBezTo>
                <a:cubicBezTo>
                  <a:pt x="302" y="198"/>
                  <a:pt x="302" y="198"/>
                  <a:pt x="302" y="198"/>
                </a:cubicBezTo>
                <a:cubicBezTo>
                  <a:pt x="301" y="198"/>
                  <a:pt x="301" y="198"/>
                  <a:pt x="301" y="198"/>
                </a:cubicBezTo>
                <a:cubicBezTo>
                  <a:pt x="300" y="198"/>
                  <a:pt x="300" y="198"/>
                  <a:pt x="300" y="198"/>
                </a:cubicBezTo>
                <a:cubicBezTo>
                  <a:pt x="300" y="197"/>
                  <a:pt x="300" y="197"/>
                  <a:pt x="300" y="197"/>
                </a:cubicBezTo>
                <a:cubicBezTo>
                  <a:pt x="300" y="196"/>
                  <a:pt x="300" y="196"/>
                  <a:pt x="300" y="196"/>
                </a:cubicBezTo>
                <a:cubicBezTo>
                  <a:pt x="300" y="194"/>
                  <a:pt x="300" y="194"/>
                  <a:pt x="300" y="194"/>
                </a:cubicBezTo>
                <a:cubicBezTo>
                  <a:pt x="301" y="193"/>
                  <a:pt x="301" y="193"/>
                  <a:pt x="301" y="193"/>
                </a:cubicBezTo>
                <a:cubicBezTo>
                  <a:pt x="302" y="191"/>
                  <a:pt x="302" y="191"/>
                  <a:pt x="302" y="191"/>
                </a:cubicBezTo>
                <a:cubicBezTo>
                  <a:pt x="303" y="190"/>
                  <a:pt x="303" y="190"/>
                  <a:pt x="303" y="190"/>
                </a:cubicBezTo>
                <a:cubicBezTo>
                  <a:pt x="304" y="189"/>
                  <a:pt x="304" y="189"/>
                  <a:pt x="304" y="189"/>
                </a:cubicBezTo>
                <a:cubicBezTo>
                  <a:pt x="305" y="189"/>
                  <a:pt x="305" y="189"/>
                  <a:pt x="305" y="189"/>
                </a:cubicBezTo>
                <a:cubicBezTo>
                  <a:pt x="306" y="187"/>
                  <a:pt x="306" y="187"/>
                  <a:pt x="306" y="187"/>
                </a:cubicBezTo>
                <a:cubicBezTo>
                  <a:pt x="307" y="186"/>
                  <a:pt x="307" y="186"/>
                  <a:pt x="307" y="186"/>
                </a:cubicBezTo>
                <a:cubicBezTo>
                  <a:pt x="308" y="187"/>
                  <a:pt x="308" y="187"/>
                  <a:pt x="308" y="187"/>
                </a:cubicBezTo>
                <a:cubicBezTo>
                  <a:pt x="308" y="189"/>
                  <a:pt x="308" y="189"/>
                  <a:pt x="308" y="189"/>
                </a:cubicBezTo>
                <a:cubicBezTo>
                  <a:pt x="308" y="189"/>
                  <a:pt x="308" y="189"/>
                  <a:pt x="308" y="189"/>
                </a:cubicBezTo>
                <a:cubicBezTo>
                  <a:pt x="308" y="190"/>
                  <a:pt x="308" y="190"/>
                  <a:pt x="308" y="190"/>
                </a:cubicBezTo>
                <a:cubicBezTo>
                  <a:pt x="309" y="189"/>
                  <a:pt x="309" y="189"/>
                  <a:pt x="309" y="189"/>
                </a:cubicBezTo>
                <a:cubicBezTo>
                  <a:pt x="309" y="189"/>
                  <a:pt x="309" y="189"/>
                  <a:pt x="309" y="189"/>
                </a:cubicBezTo>
                <a:cubicBezTo>
                  <a:pt x="311" y="186"/>
                  <a:pt x="311" y="186"/>
                  <a:pt x="311" y="186"/>
                </a:cubicBezTo>
                <a:cubicBezTo>
                  <a:pt x="311" y="186"/>
                  <a:pt x="311" y="186"/>
                  <a:pt x="311" y="186"/>
                </a:cubicBezTo>
                <a:cubicBezTo>
                  <a:pt x="310" y="186"/>
                  <a:pt x="310" y="186"/>
                  <a:pt x="310" y="186"/>
                </a:cubicBezTo>
                <a:cubicBezTo>
                  <a:pt x="309" y="185"/>
                  <a:pt x="309" y="185"/>
                  <a:pt x="309" y="185"/>
                </a:cubicBezTo>
                <a:cubicBezTo>
                  <a:pt x="308" y="184"/>
                  <a:pt x="308" y="184"/>
                  <a:pt x="308" y="184"/>
                </a:cubicBezTo>
                <a:cubicBezTo>
                  <a:pt x="309" y="183"/>
                  <a:pt x="309" y="183"/>
                  <a:pt x="309" y="183"/>
                </a:cubicBezTo>
                <a:cubicBezTo>
                  <a:pt x="311" y="183"/>
                  <a:pt x="311" y="183"/>
                  <a:pt x="311" y="183"/>
                </a:cubicBezTo>
                <a:cubicBezTo>
                  <a:pt x="311" y="183"/>
                  <a:pt x="311" y="183"/>
                  <a:pt x="311" y="183"/>
                </a:cubicBezTo>
                <a:cubicBezTo>
                  <a:pt x="313" y="181"/>
                  <a:pt x="313" y="181"/>
                  <a:pt x="313" y="181"/>
                </a:cubicBezTo>
                <a:cubicBezTo>
                  <a:pt x="313" y="180"/>
                  <a:pt x="313" y="180"/>
                  <a:pt x="313" y="180"/>
                </a:cubicBezTo>
                <a:cubicBezTo>
                  <a:pt x="314" y="180"/>
                  <a:pt x="314" y="180"/>
                  <a:pt x="314" y="180"/>
                </a:cubicBezTo>
                <a:cubicBezTo>
                  <a:pt x="315" y="180"/>
                  <a:pt x="315" y="180"/>
                  <a:pt x="315" y="180"/>
                </a:cubicBezTo>
                <a:cubicBezTo>
                  <a:pt x="317" y="181"/>
                  <a:pt x="317" y="181"/>
                  <a:pt x="317" y="181"/>
                </a:cubicBezTo>
                <a:cubicBezTo>
                  <a:pt x="317" y="182"/>
                  <a:pt x="317" y="182"/>
                  <a:pt x="317" y="182"/>
                </a:cubicBezTo>
                <a:cubicBezTo>
                  <a:pt x="317" y="183"/>
                  <a:pt x="317" y="183"/>
                  <a:pt x="317" y="183"/>
                </a:cubicBezTo>
                <a:cubicBezTo>
                  <a:pt x="318" y="183"/>
                  <a:pt x="318" y="183"/>
                  <a:pt x="318" y="183"/>
                </a:cubicBezTo>
                <a:cubicBezTo>
                  <a:pt x="319" y="184"/>
                  <a:pt x="319" y="184"/>
                  <a:pt x="319" y="184"/>
                </a:cubicBezTo>
                <a:cubicBezTo>
                  <a:pt x="320" y="184"/>
                  <a:pt x="320" y="184"/>
                  <a:pt x="320" y="184"/>
                </a:cubicBezTo>
                <a:cubicBezTo>
                  <a:pt x="319" y="186"/>
                  <a:pt x="319" y="186"/>
                  <a:pt x="319" y="186"/>
                </a:cubicBezTo>
                <a:cubicBezTo>
                  <a:pt x="319" y="186"/>
                  <a:pt x="319" y="186"/>
                  <a:pt x="319" y="186"/>
                </a:cubicBezTo>
                <a:cubicBezTo>
                  <a:pt x="319" y="187"/>
                  <a:pt x="319" y="187"/>
                  <a:pt x="319" y="187"/>
                </a:cubicBezTo>
                <a:cubicBezTo>
                  <a:pt x="319" y="188"/>
                  <a:pt x="319" y="188"/>
                  <a:pt x="319" y="188"/>
                </a:cubicBezTo>
                <a:cubicBezTo>
                  <a:pt x="320" y="189"/>
                  <a:pt x="320" y="189"/>
                  <a:pt x="320" y="189"/>
                </a:cubicBezTo>
                <a:cubicBezTo>
                  <a:pt x="320" y="190"/>
                  <a:pt x="320" y="190"/>
                  <a:pt x="320" y="190"/>
                </a:cubicBezTo>
                <a:cubicBezTo>
                  <a:pt x="320" y="192"/>
                  <a:pt x="320" y="192"/>
                  <a:pt x="320" y="192"/>
                </a:cubicBezTo>
                <a:cubicBezTo>
                  <a:pt x="321" y="193"/>
                  <a:pt x="321" y="193"/>
                  <a:pt x="321" y="193"/>
                </a:cubicBezTo>
                <a:cubicBezTo>
                  <a:pt x="321" y="193"/>
                  <a:pt x="321" y="193"/>
                  <a:pt x="321" y="193"/>
                </a:cubicBezTo>
                <a:cubicBezTo>
                  <a:pt x="320" y="195"/>
                  <a:pt x="320" y="195"/>
                  <a:pt x="320" y="195"/>
                </a:cubicBezTo>
                <a:cubicBezTo>
                  <a:pt x="320" y="195"/>
                  <a:pt x="320" y="195"/>
                  <a:pt x="320" y="195"/>
                </a:cubicBezTo>
                <a:cubicBezTo>
                  <a:pt x="319" y="197"/>
                  <a:pt x="319" y="197"/>
                  <a:pt x="319" y="197"/>
                </a:cubicBezTo>
                <a:cubicBezTo>
                  <a:pt x="319" y="199"/>
                  <a:pt x="319" y="199"/>
                  <a:pt x="319" y="199"/>
                </a:cubicBezTo>
                <a:cubicBezTo>
                  <a:pt x="318" y="199"/>
                  <a:pt x="318" y="199"/>
                  <a:pt x="318" y="199"/>
                </a:cubicBezTo>
                <a:cubicBezTo>
                  <a:pt x="319" y="200"/>
                  <a:pt x="319" y="200"/>
                  <a:pt x="319" y="200"/>
                </a:cubicBezTo>
                <a:cubicBezTo>
                  <a:pt x="318" y="201"/>
                  <a:pt x="318" y="201"/>
                  <a:pt x="318" y="201"/>
                </a:cubicBezTo>
                <a:cubicBezTo>
                  <a:pt x="320" y="203"/>
                  <a:pt x="320" y="203"/>
                  <a:pt x="320" y="203"/>
                </a:cubicBezTo>
                <a:cubicBezTo>
                  <a:pt x="320" y="204"/>
                  <a:pt x="320" y="204"/>
                  <a:pt x="320" y="204"/>
                </a:cubicBezTo>
                <a:cubicBezTo>
                  <a:pt x="319" y="204"/>
                  <a:pt x="319" y="204"/>
                  <a:pt x="319" y="204"/>
                </a:cubicBezTo>
                <a:cubicBezTo>
                  <a:pt x="320" y="205"/>
                  <a:pt x="320" y="205"/>
                  <a:pt x="320" y="205"/>
                </a:cubicBezTo>
                <a:cubicBezTo>
                  <a:pt x="319" y="206"/>
                  <a:pt x="319" y="206"/>
                  <a:pt x="319" y="206"/>
                </a:cubicBezTo>
                <a:cubicBezTo>
                  <a:pt x="319" y="207"/>
                  <a:pt x="319" y="207"/>
                  <a:pt x="319" y="207"/>
                </a:cubicBezTo>
                <a:cubicBezTo>
                  <a:pt x="320" y="208"/>
                  <a:pt x="320" y="208"/>
                  <a:pt x="320" y="208"/>
                </a:cubicBezTo>
                <a:cubicBezTo>
                  <a:pt x="321" y="209"/>
                  <a:pt x="321" y="209"/>
                  <a:pt x="321" y="209"/>
                </a:cubicBezTo>
                <a:cubicBezTo>
                  <a:pt x="321" y="210"/>
                  <a:pt x="321" y="210"/>
                  <a:pt x="321" y="210"/>
                </a:cubicBezTo>
                <a:cubicBezTo>
                  <a:pt x="320" y="211"/>
                  <a:pt x="320" y="211"/>
                  <a:pt x="320" y="211"/>
                </a:cubicBezTo>
                <a:cubicBezTo>
                  <a:pt x="319" y="210"/>
                  <a:pt x="319" y="210"/>
                  <a:pt x="319" y="210"/>
                </a:cubicBezTo>
                <a:cubicBezTo>
                  <a:pt x="318" y="210"/>
                  <a:pt x="318" y="210"/>
                  <a:pt x="318" y="210"/>
                </a:cubicBezTo>
                <a:cubicBezTo>
                  <a:pt x="317" y="209"/>
                  <a:pt x="317" y="209"/>
                  <a:pt x="317" y="209"/>
                </a:cubicBezTo>
                <a:cubicBezTo>
                  <a:pt x="318" y="208"/>
                  <a:pt x="318" y="208"/>
                  <a:pt x="318" y="208"/>
                </a:cubicBezTo>
                <a:cubicBezTo>
                  <a:pt x="316" y="208"/>
                  <a:pt x="316" y="208"/>
                  <a:pt x="316" y="208"/>
                </a:cubicBezTo>
                <a:cubicBezTo>
                  <a:pt x="316" y="210"/>
                  <a:pt x="316" y="210"/>
                  <a:pt x="316" y="210"/>
                </a:cubicBezTo>
                <a:cubicBezTo>
                  <a:pt x="315" y="210"/>
                  <a:pt x="315" y="210"/>
                  <a:pt x="315" y="210"/>
                </a:cubicBezTo>
                <a:cubicBezTo>
                  <a:pt x="315" y="211"/>
                  <a:pt x="315" y="211"/>
                  <a:pt x="315" y="211"/>
                </a:cubicBezTo>
                <a:cubicBezTo>
                  <a:pt x="316" y="210"/>
                  <a:pt x="316" y="210"/>
                  <a:pt x="316" y="210"/>
                </a:cubicBezTo>
                <a:cubicBezTo>
                  <a:pt x="317" y="211"/>
                  <a:pt x="317" y="211"/>
                  <a:pt x="317" y="211"/>
                </a:cubicBezTo>
                <a:cubicBezTo>
                  <a:pt x="317" y="212"/>
                  <a:pt x="317" y="212"/>
                  <a:pt x="317" y="212"/>
                </a:cubicBezTo>
                <a:cubicBezTo>
                  <a:pt x="314" y="214"/>
                  <a:pt x="314" y="214"/>
                  <a:pt x="314" y="214"/>
                </a:cubicBezTo>
                <a:cubicBezTo>
                  <a:pt x="313" y="214"/>
                  <a:pt x="313" y="214"/>
                  <a:pt x="313" y="214"/>
                </a:cubicBezTo>
                <a:cubicBezTo>
                  <a:pt x="312" y="215"/>
                  <a:pt x="312" y="215"/>
                  <a:pt x="312" y="215"/>
                </a:cubicBezTo>
                <a:cubicBezTo>
                  <a:pt x="312" y="215"/>
                  <a:pt x="312" y="215"/>
                  <a:pt x="312" y="215"/>
                </a:cubicBezTo>
                <a:cubicBezTo>
                  <a:pt x="311" y="217"/>
                  <a:pt x="311" y="217"/>
                  <a:pt x="311" y="217"/>
                </a:cubicBezTo>
                <a:cubicBezTo>
                  <a:pt x="312" y="217"/>
                  <a:pt x="312" y="217"/>
                  <a:pt x="312" y="217"/>
                </a:cubicBezTo>
                <a:cubicBezTo>
                  <a:pt x="313" y="217"/>
                  <a:pt x="313" y="217"/>
                  <a:pt x="313" y="217"/>
                </a:cubicBezTo>
                <a:cubicBezTo>
                  <a:pt x="314" y="217"/>
                  <a:pt x="314" y="217"/>
                  <a:pt x="314" y="217"/>
                </a:cubicBezTo>
                <a:cubicBezTo>
                  <a:pt x="314" y="218"/>
                  <a:pt x="314" y="218"/>
                  <a:pt x="314" y="218"/>
                </a:cubicBezTo>
                <a:cubicBezTo>
                  <a:pt x="315" y="219"/>
                  <a:pt x="315" y="219"/>
                  <a:pt x="315" y="219"/>
                </a:cubicBezTo>
                <a:cubicBezTo>
                  <a:pt x="317" y="219"/>
                  <a:pt x="317" y="219"/>
                  <a:pt x="317" y="219"/>
                </a:cubicBezTo>
                <a:cubicBezTo>
                  <a:pt x="317" y="218"/>
                  <a:pt x="317" y="218"/>
                  <a:pt x="317" y="218"/>
                </a:cubicBezTo>
                <a:cubicBezTo>
                  <a:pt x="318" y="218"/>
                  <a:pt x="318" y="218"/>
                  <a:pt x="318" y="218"/>
                </a:cubicBezTo>
                <a:cubicBezTo>
                  <a:pt x="318" y="218"/>
                  <a:pt x="318" y="218"/>
                  <a:pt x="318" y="218"/>
                </a:cubicBezTo>
                <a:cubicBezTo>
                  <a:pt x="318" y="219"/>
                  <a:pt x="318" y="219"/>
                  <a:pt x="318" y="219"/>
                </a:cubicBezTo>
                <a:cubicBezTo>
                  <a:pt x="318" y="219"/>
                  <a:pt x="318" y="219"/>
                  <a:pt x="318" y="219"/>
                </a:cubicBezTo>
                <a:cubicBezTo>
                  <a:pt x="319" y="220"/>
                  <a:pt x="319" y="220"/>
                  <a:pt x="319" y="220"/>
                </a:cubicBezTo>
                <a:cubicBezTo>
                  <a:pt x="320" y="220"/>
                  <a:pt x="320" y="220"/>
                  <a:pt x="320" y="220"/>
                </a:cubicBezTo>
                <a:cubicBezTo>
                  <a:pt x="321" y="220"/>
                  <a:pt x="321" y="220"/>
                  <a:pt x="321" y="220"/>
                </a:cubicBezTo>
                <a:cubicBezTo>
                  <a:pt x="322" y="220"/>
                  <a:pt x="322" y="220"/>
                  <a:pt x="322" y="220"/>
                </a:cubicBezTo>
                <a:cubicBezTo>
                  <a:pt x="321" y="221"/>
                  <a:pt x="321" y="221"/>
                  <a:pt x="321" y="221"/>
                </a:cubicBezTo>
                <a:cubicBezTo>
                  <a:pt x="320" y="221"/>
                  <a:pt x="320" y="221"/>
                  <a:pt x="320" y="221"/>
                </a:cubicBezTo>
                <a:cubicBezTo>
                  <a:pt x="318" y="222"/>
                  <a:pt x="318" y="222"/>
                  <a:pt x="318" y="222"/>
                </a:cubicBezTo>
                <a:cubicBezTo>
                  <a:pt x="318" y="223"/>
                  <a:pt x="318" y="223"/>
                  <a:pt x="318" y="223"/>
                </a:cubicBezTo>
                <a:cubicBezTo>
                  <a:pt x="318" y="221"/>
                  <a:pt x="318" y="221"/>
                  <a:pt x="318" y="221"/>
                </a:cubicBezTo>
                <a:cubicBezTo>
                  <a:pt x="317" y="221"/>
                  <a:pt x="317" y="221"/>
                  <a:pt x="317" y="221"/>
                </a:cubicBezTo>
                <a:cubicBezTo>
                  <a:pt x="317" y="221"/>
                  <a:pt x="317" y="221"/>
                  <a:pt x="317" y="221"/>
                </a:cubicBezTo>
                <a:cubicBezTo>
                  <a:pt x="317" y="222"/>
                  <a:pt x="317" y="222"/>
                  <a:pt x="317" y="222"/>
                </a:cubicBezTo>
                <a:cubicBezTo>
                  <a:pt x="317" y="223"/>
                  <a:pt x="317" y="223"/>
                  <a:pt x="317" y="223"/>
                </a:cubicBezTo>
                <a:cubicBezTo>
                  <a:pt x="317" y="224"/>
                  <a:pt x="317" y="224"/>
                  <a:pt x="317" y="224"/>
                </a:cubicBezTo>
                <a:cubicBezTo>
                  <a:pt x="318" y="226"/>
                  <a:pt x="318" y="226"/>
                  <a:pt x="318" y="226"/>
                </a:cubicBezTo>
                <a:cubicBezTo>
                  <a:pt x="318" y="227"/>
                  <a:pt x="318" y="227"/>
                  <a:pt x="318" y="227"/>
                </a:cubicBezTo>
                <a:cubicBezTo>
                  <a:pt x="319" y="227"/>
                  <a:pt x="319" y="227"/>
                  <a:pt x="319" y="227"/>
                </a:cubicBezTo>
                <a:cubicBezTo>
                  <a:pt x="318" y="229"/>
                  <a:pt x="318" y="229"/>
                  <a:pt x="318" y="229"/>
                </a:cubicBezTo>
                <a:cubicBezTo>
                  <a:pt x="318" y="229"/>
                  <a:pt x="318" y="229"/>
                  <a:pt x="318" y="229"/>
                </a:cubicBezTo>
                <a:cubicBezTo>
                  <a:pt x="317" y="230"/>
                  <a:pt x="317" y="230"/>
                  <a:pt x="317" y="230"/>
                </a:cubicBezTo>
                <a:cubicBezTo>
                  <a:pt x="317" y="232"/>
                  <a:pt x="317" y="232"/>
                  <a:pt x="317" y="232"/>
                </a:cubicBezTo>
                <a:cubicBezTo>
                  <a:pt x="316" y="233"/>
                  <a:pt x="316" y="233"/>
                  <a:pt x="316" y="233"/>
                </a:cubicBezTo>
                <a:cubicBezTo>
                  <a:pt x="316" y="234"/>
                  <a:pt x="316" y="234"/>
                  <a:pt x="316" y="234"/>
                </a:cubicBezTo>
                <a:cubicBezTo>
                  <a:pt x="316" y="235"/>
                  <a:pt x="316" y="235"/>
                  <a:pt x="316" y="235"/>
                </a:cubicBezTo>
                <a:cubicBezTo>
                  <a:pt x="316" y="236"/>
                  <a:pt x="316" y="236"/>
                  <a:pt x="316" y="236"/>
                </a:cubicBezTo>
                <a:cubicBezTo>
                  <a:pt x="316" y="236"/>
                  <a:pt x="316" y="236"/>
                  <a:pt x="316" y="236"/>
                </a:cubicBezTo>
                <a:cubicBezTo>
                  <a:pt x="317" y="236"/>
                  <a:pt x="317" y="236"/>
                  <a:pt x="317" y="236"/>
                </a:cubicBezTo>
                <a:cubicBezTo>
                  <a:pt x="318" y="235"/>
                  <a:pt x="318" y="235"/>
                  <a:pt x="318" y="235"/>
                </a:cubicBezTo>
                <a:cubicBezTo>
                  <a:pt x="318" y="234"/>
                  <a:pt x="318" y="234"/>
                  <a:pt x="318" y="234"/>
                </a:cubicBezTo>
                <a:cubicBezTo>
                  <a:pt x="320" y="234"/>
                  <a:pt x="320" y="234"/>
                  <a:pt x="320" y="234"/>
                </a:cubicBezTo>
                <a:cubicBezTo>
                  <a:pt x="320" y="233"/>
                  <a:pt x="320" y="233"/>
                  <a:pt x="320" y="233"/>
                </a:cubicBezTo>
                <a:cubicBezTo>
                  <a:pt x="320" y="233"/>
                  <a:pt x="320" y="233"/>
                  <a:pt x="320" y="233"/>
                </a:cubicBezTo>
                <a:cubicBezTo>
                  <a:pt x="320" y="232"/>
                  <a:pt x="320" y="232"/>
                  <a:pt x="320" y="232"/>
                </a:cubicBezTo>
                <a:cubicBezTo>
                  <a:pt x="321" y="232"/>
                  <a:pt x="321" y="232"/>
                  <a:pt x="321" y="232"/>
                </a:cubicBezTo>
                <a:cubicBezTo>
                  <a:pt x="322" y="232"/>
                  <a:pt x="322" y="232"/>
                  <a:pt x="322" y="232"/>
                </a:cubicBezTo>
                <a:cubicBezTo>
                  <a:pt x="322" y="230"/>
                  <a:pt x="322" y="230"/>
                  <a:pt x="322" y="230"/>
                </a:cubicBezTo>
                <a:cubicBezTo>
                  <a:pt x="322" y="228"/>
                  <a:pt x="322" y="228"/>
                  <a:pt x="322" y="228"/>
                </a:cubicBezTo>
                <a:cubicBezTo>
                  <a:pt x="324" y="227"/>
                  <a:pt x="324" y="227"/>
                  <a:pt x="324" y="227"/>
                </a:cubicBezTo>
                <a:cubicBezTo>
                  <a:pt x="325" y="225"/>
                  <a:pt x="325" y="225"/>
                  <a:pt x="325" y="225"/>
                </a:cubicBezTo>
                <a:cubicBezTo>
                  <a:pt x="325" y="224"/>
                  <a:pt x="325" y="224"/>
                  <a:pt x="325" y="224"/>
                </a:cubicBezTo>
                <a:cubicBezTo>
                  <a:pt x="326" y="223"/>
                  <a:pt x="326" y="223"/>
                  <a:pt x="326" y="223"/>
                </a:cubicBezTo>
                <a:cubicBezTo>
                  <a:pt x="327" y="224"/>
                  <a:pt x="327" y="224"/>
                  <a:pt x="327" y="224"/>
                </a:cubicBezTo>
                <a:cubicBezTo>
                  <a:pt x="327" y="225"/>
                  <a:pt x="327" y="225"/>
                  <a:pt x="327" y="225"/>
                </a:cubicBezTo>
                <a:cubicBezTo>
                  <a:pt x="328" y="227"/>
                  <a:pt x="328" y="227"/>
                  <a:pt x="328" y="227"/>
                </a:cubicBezTo>
                <a:cubicBezTo>
                  <a:pt x="328" y="229"/>
                  <a:pt x="328" y="229"/>
                  <a:pt x="328" y="229"/>
                </a:cubicBezTo>
                <a:cubicBezTo>
                  <a:pt x="329" y="230"/>
                  <a:pt x="329" y="230"/>
                  <a:pt x="329" y="230"/>
                </a:cubicBezTo>
                <a:cubicBezTo>
                  <a:pt x="329" y="232"/>
                  <a:pt x="329" y="232"/>
                  <a:pt x="329" y="232"/>
                </a:cubicBezTo>
                <a:cubicBezTo>
                  <a:pt x="329" y="233"/>
                  <a:pt x="329" y="233"/>
                  <a:pt x="329" y="233"/>
                </a:cubicBezTo>
                <a:cubicBezTo>
                  <a:pt x="329" y="235"/>
                  <a:pt x="329" y="235"/>
                  <a:pt x="329" y="235"/>
                </a:cubicBezTo>
                <a:cubicBezTo>
                  <a:pt x="328" y="237"/>
                  <a:pt x="328" y="237"/>
                  <a:pt x="328" y="237"/>
                </a:cubicBezTo>
                <a:cubicBezTo>
                  <a:pt x="327" y="237"/>
                  <a:pt x="327" y="237"/>
                  <a:pt x="327" y="237"/>
                </a:cubicBezTo>
                <a:cubicBezTo>
                  <a:pt x="327" y="236"/>
                  <a:pt x="327" y="236"/>
                  <a:pt x="327" y="236"/>
                </a:cubicBezTo>
                <a:cubicBezTo>
                  <a:pt x="326" y="237"/>
                  <a:pt x="326" y="237"/>
                  <a:pt x="326" y="237"/>
                </a:cubicBezTo>
                <a:cubicBezTo>
                  <a:pt x="325" y="238"/>
                  <a:pt x="325" y="238"/>
                  <a:pt x="325" y="238"/>
                </a:cubicBezTo>
                <a:cubicBezTo>
                  <a:pt x="326" y="239"/>
                  <a:pt x="326" y="239"/>
                  <a:pt x="326" y="239"/>
                </a:cubicBezTo>
                <a:cubicBezTo>
                  <a:pt x="325" y="241"/>
                  <a:pt x="325" y="241"/>
                  <a:pt x="325" y="241"/>
                </a:cubicBezTo>
                <a:cubicBezTo>
                  <a:pt x="324" y="242"/>
                  <a:pt x="324" y="242"/>
                  <a:pt x="324" y="242"/>
                </a:cubicBezTo>
                <a:cubicBezTo>
                  <a:pt x="325" y="243"/>
                  <a:pt x="325" y="243"/>
                  <a:pt x="325" y="243"/>
                </a:cubicBezTo>
                <a:cubicBezTo>
                  <a:pt x="325" y="245"/>
                  <a:pt x="325" y="245"/>
                  <a:pt x="325" y="245"/>
                </a:cubicBezTo>
                <a:cubicBezTo>
                  <a:pt x="326" y="249"/>
                  <a:pt x="326" y="249"/>
                  <a:pt x="326" y="249"/>
                </a:cubicBezTo>
                <a:cubicBezTo>
                  <a:pt x="327" y="251"/>
                  <a:pt x="327" y="251"/>
                  <a:pt x="327" y="251"/>
                </a:cubicBezTo>
                <a:cubicBezTo>
                  <a:pt x="326" y="252"/>
                  <a:pt x="326" y="252"/>
                  <a:pt x="326" y="252"/>
                </a:cubicBezTo>
                <a:cubicBezTo>
                  <a:pt x="327" y="253"/>
                  <a:pt x="327" y="253"/>
                  <a:pt x="327" y="253"/>
                </a:cubicBezTo>
                <a:cubicBezTo>
                  <a:pt x="328" y="253"/>
                  <a:pt x="328" y="253"/>
                  <a:pt x="328" y="253"/>
                </a:cubicBezTo>
                <a:cubicBezTo>
                  <a:pt x="328" y="252"/>
                  <a:pt x="328" y="252"/>
                  <a:pt x="328" y="252"/>
                </a:cubicBezTo>
                <a:cubicBezTo>
                  <a:pt x="327" y="251"/>
                  <a:pt x="327" y="251"/>
                  <a:pt x="327" y="251"/>
                </a:cubicBezTo>
                <a:cubicBezTo>
                  <a:pt x="328" y="250"/>
                  <a:pt x="328" y="250"/>
                  <a:pt x="328" y="250"/>
                </a:cubicBezTo>
                <a:cubicBezTo>
                  <a:pt x="329" y="250"/>
                  <a:pt x="329" y="250"/>
                  <a:pt x="329" y="250"/>
                </a:cubicBezTo>
                <a:cubicBezTo>
                  <a:pt x="330" y="252"/>
                  <a:pt x="330" y="252"/>
                  <a:pt x="330" y="252"/>
                </a:cubicBezTo>
                <a:cubicBezTo>
                  <a:pt x="330" y="252"/>
                  <a:pt x="330" y="252"/>
                  <a:pt x="330" y="252"/>
                </a:cubicBezTo>
                <a:cubicBezTo>
                  <a:pt x="331" y="250"/>
                  <a:pt x="331" y="250"/>
                  <a:pt x="331" y="250"/>
                </a:cubicBezTo>
                <a:cubicBezTo>
                  <a:pt x="332" y="249"/>
                  <a:pt x="332" y="249"/>
                  <a:pt x="332" y="249"/>
                </a:cubicBezTo>
                <a:cubicBezTo>
                  <a:pt x="332" y="247"/>
                  <a:pt x="332" y="247"/>
                  <a:pt x="332" y="247"/>
                </a:cubicBezTo>
                <a:cubicBezTo>
                  <a:pt x="333" y="247"/>
                  <a:pt x="333" y="247"/>
                  <a:pt x="333" y="247"/>
                </a:cubicBezTo>
                <a:cubicBezTo>
                  <a:pt x="334" y="245"/>
                  <a:pt x="334" y="245"/>
                  <a:pt x="334" y="245"/>
                </a:cubicBezTo>
                <a:cubicBezTo>
                  <a:pt x="334" y="245"/>
                  <a:pt x="334" y="245"/>
                  <a:pt x="334" y="245"/>
                </a:cubicBezTo>
                <a:cubicBezTo>
                  <a:pt x="335" y="244"/>
                  <a:pt x="335" y="244"/>
                  <a:pt x="335" y="244"/>
                </a:cubicBezTo>
                <a:cubicBezTo>
                  <a:pt x="337" y="242"/>
                  <a:pt x="337" y="242"/>
                  <a:pt x="337" y="242"/>
                </a:cubicBezTo>
                <a:cubicBezTo>
                  <a:pt x="339" y="240"/>
                  <a:pt x="339" y="240"/>
                  <a:pt x="339" y="240"/>
                </a:cubicBezTo>
                <a:cubicBezTo>
                  <a:pt x="340" y="237"/>
                  <a:pt x="340" y="237"/>
                  <a:pt x="340" y="237"/>
                </a:cubicBezTo>
                <a:cubicBezTo>
                  <a:pt x="341" y="235"/>
                  <a:pt x="341" y="235"/>
                  <a:pt x="341" y="235"/>
                </a:cubicBezTo>
                <a:cubicBezTo>
                  <a:pt x="342" y="234"/>
                  <a:pt x="342" y="234"/>
                  <a:pt x="342" y="234"/>
                </a:cubicBezTo>
                <a:cubicBezTo>
                  <a:pt x="343" y="236"/>
                  <a:pt x="343" y="236"/>
                  <a:pt x="343" y="236"/>
                </a:cubicBezTo>
                <a:cubicBezTo>
                  <a:pt x="344" y="235"/>
                  <a:pt x="344" y="235"/>
                  <a:pt x="344" y="235"/>
                </a:cubicBezTo>
                <a:cubicBezTo>
                  <a:pt x="344" y="235"/>
                  <a:pt x="344" y="235"/>
                  <a:pt x="344" y="235"/>
                </a:cubicBezTo>
                <a:cubicBezTo>
                  <a:pt x="346" y="235"/>
                  <a:pt x="346" y="235"/>
                  <a:pt x="346" y="235"/>
                </a:cubicBezTo>
                <a:cubicBezTo>
                  <a:pt x="346" y="234"/>
                  <a:pt x="346" y="234"/>
                  <a:pt x="346" y="234"/>
                </a:cubicBezTo>
                <a:cubicBezTo>
                  <a:pt x="345" y="234"/>
                  <a:pt x="345" y="234"/>
                  <a:pt x="345" y="234"/>
                </a:cubicBezTo>
                <a:cubicBezTo>
                  <a:pt x="344" y="233"/>
                  <a:pt x="344" y="233"/>
                  <a:pt x="344" y="233"/>
                </a:cubicBezTo>
                <a:cubicBezTo>
                  <a:pt x="344" y="233"/>
                  <a:pt x="344" y="233"/>
                  <a:pt x="344" y="233"/>
                </a:cubicBezTo>
                <a:cubicBezTo>
                  <a:pt x="346" y="232"/>
                  <a:pt x="346" y="232"/>
                  <a:pt x="346" y="232"/>
                </a:cubicBezTo>
                <a:cubicBezTo>
                  <a:pt x="346" y="233"/>
                  <a:pt x="346" y="233"/>
                  <a:pt x="346" y="233"/>
                </a:cubicBezTo>
                <a:cubicBezTo>
                  <a:pt x="347" y="233"/>
                  <a:pt x="347" y="233"/>
                  <a:pt x="347" y="233"/>
                </a:cubicBezTo>
                <a:cubicBezTo>
                  <a:pt x="348" y="233"/>
                  <a:pt x="348" y="233"/>
                  <a:pt x="348" y="233"/>
                </a:cubicBezTo>
                <a:cubicBezTo>
                  <a:pt x="348" y="232"/>
                  <a:pt x="348" y="232"/>
                  <a:pt x="348" y="232"/>
                </a:cubicBezTo>
                <a:cubicBezTo>
                  <a:pt x="348" y="231"/>
                  <a:pt x="348" y="231"/>
                  <a:pt x="348" y="231"/>
                </a:cubicBezTo>
                <a:cubicBezTo>
                  <a:pt x="347" y="231"/>
                  <a:pt x="347" y="231"/>
                  <a:pt x="347" y="231"/>
                </a:cubicBezTo>
                <a:cubicBezTo>
                  <a:pt x="347" y="230"/>
                  <a:pt x="347" y="230"/>
                  <a:pt x="347" y="230"/>
                </a:cubicBezTo>
                <a:cubicBezTo>
                  <a:pt x="346" y="230"/>
                  <a:pt x="346" y="230"/>
                  <a:pt x="346" y="230"/>
                </a:cubicBezTo>
                <a:cubicBezTo>
                  <a:pt x="346" y="228"/>
                  <a:pt x="346" y="228"/>
                  <a:pt x="346" y="228"/>
                </a:cubicBezTo>
                <a:cubicBezTo>
                  <a:pt x="347" y="227"/>
                  <a:pt x="347" y="227"/>
                  <a:pt x="347" y="227"/>
                </a:cubicBezTo>
                <a:cubicBezTo>
                  <a:pt x="347" y="226"/>
                  <a:pt x="347" y="226"/>
                  <a:pt x="347" y="226"/>
                </a:cubicBezTo>
                <a:cubicBezTo>
                  <a:pt x="348" y="226"/>
                  <a:pt x="348" y="226"/>
                  <a:pt x="348" y="226"/>
                </a:cubicBezTo>
                <a:cubicBezTo>
                  <a:pt x="347" y="225"/>
                  <a:pt x="347" y="225"/>
                  <a:pt x="347" y="225"/>
                </a:cubicBezTo>
                <a:cubicBezTo>
                  <a:pt x="347" y="224"/>
                  <a:pt x="347" y="224"/>
                  <a:pt x="347" y="224"/>
                </a:cubicBezTo>
                <a:cubicBezTo>
                  <a:pt x="348" y="223"/>
                  <a:pt x="348" y="223"/>
                  <a:pt x="348" y="223"/>
                </a:cubicBezTo>
                <a:cubicBezTo>
                  <a:pt x="348" y="223"/>
                  <a:pt x="348" y="223"/>
                  <a:pt x="348" y="223"/>
                </a:cubicBezTo>
                <a:cubicBezTo>
                  <a:pt x="348" y="222"/>
                  <a:pt x="348" y="222"/>
                  <a:pt x="348" y="222"/>
                </a:cubicBezTo>
                <a:cubicBezTo>
                  <a:pt x="349" y="222"/>
                  <a:pt x="349" y="222"/>
                  <a:pt x="349" y="222"/>
                </a:cubicBezTo>
                <a:cubicBezTo>
                  <a:pt x="349" y="221"/>
                  <a:pt x="349" y="221"/>
                  <a:pt x="349" y="221"/>
                </a:cubicBezTo>
                <a:cubicBezTo>
                  <a:pt x="348" y="221"/>
                  <a:pt x="348" y="221"/>
                  <a:pt x="348" y="221"/>
                </a:cubicBezTo>
                <a:cubicBezTo>
                  <a:pt x="348" y="220"/>
                  <a:pt x="348" y="220"/>
                  <a:pt x="348" y="220"/>
                </a:cubicBezTo>
                <a:cubicBezTo>
                  <a:pt x="349" y="220"/>
                  <a:pt x="349" y="220"/>
                  <a:pt x="349" y="220"/>
                </a:cubicBezTo>
                <a:cubicBezTo>
                  <a:pt x="350" y="221"/>
                  <a:pt x="350" y="221"/>
                  <a:pt x="350" y="221"/>
                </a:cubicBezTo>
                <a:cubicBezTo>
                  <a:pt x="351" y="221"/>
                  <a:pt x="351" y="221"/>
                  <a:pt x="351" y="221"/>
                </a:cubicBezTo>
                <a:cubicBezTo>
                  <a:pt x="352" y="221"/>
                  <a:pt x="352" y="221"/>
                  <a:pt x="352" y="221"/>
                </a:cubicBezTo>
                <a:cubicBezTo>
                  <a:pt x="354" y="221"/>
                  <a:pt x="354" y="221"/>
                  <a:pt x="354" y="221"/>
                </a:cubicBezTo>
                <a:cubicBezTo>
                  <a:pt x="355" y="222"/>
                  <a:pt x="355" y="222"/>
                  <a:pt x="355" y="222"/>
                </a:cubicBezTo>
                <a:cubicBezTo>
                  <a:pt x="355" y="223"/>
                  <a:pt x="355" y="223"/>
                  <a:pt x="355" y="223"/>
                </a:cubicBezTo>
                <a:cubicBezTo>
                  <a:pt x="356" y="224"/>
                  <a:pt x="356" y="224"/>
                  <a:pt x="356" y="224"/>
                </a:cubicBezTo>
                <a:cubicBezTo>
                  <a:pt x="358" y="225"/>
                  <a:pt x="358" y="225"/>
                  <a:pt x="358" y="225"/>
                </a:cubicBezTo>
                <a:cubicBezTo>
                  <a:pt x="359" y="224"/>
                  <a:pt x="359" y="224"/>
                  <a:pt x="359" y="224"/>
                </a:cubicBezTo>
                <a:cubicBezTo>
                  <a:pt x="361" y="225"/>
                  <a:pt x="361" y="225"/>
                  <a:pt x="361" y="225"/>
                </a:cubicBezTo>
                <a:cubicBezTo>
                  <a:pt x="362" y="226"/>
                  <a:pt x="362" y="226"/>
                  <a:pt x="362" y="226"/>
                </a:cubicBezTo>
                <a:cubicBezTo>
                  <a:pt x="362" y="226"/>
                  <a:pt x="362" y="226"/>
                  <a:pt x="362" y="226"/>
                </a:cubicBezTo>
                <a:cubicBezTo>
                  <a:pt x="362" y="227"/>
                  <a:pt x="362" y="227"/>
                  <a:pt x="362" y="227"/>
                </a:cubicBezTo>
                <a:cubicBezTo>
                  <a:pt x="362" y="227"/>
                  <a:pt x="362" y="227"/>
                  <a:pt x="362" y="227"/>
                </a:cubicBezTo>
                <a:cubicBezTo>
                  <a:pt x="361" y="228"/>
                  <a:pt x="361" y="228"/>
                  <a:pt x="361" y="228"/>
                </a:cubicBezTo>
                <a:cubicBezTo>
                  <a:pt x="361" y="227"/>
                  <a:pt x="361" y="227"/>
                  <a:pt x="361" y="227"/>
                </a:cubicBezTo>
                <a:cubicBezTo>
                  <a:pt x="360" y="227"/>
                  <a:pt x="360" y="227"/>
                  <a:pt x="360" y="227"/>
                </a:cubicBezTo>
                <a:cubicBezTo>
                  <a:pt x="360" y="228"/>
                  <a:pt x="360" y="228"/>
                  <a:pt x="360" y="228"/>
                </a:cubicBezTo>
                <a:cubicBezTo>
                  <a:pt x="363" y="229"/>
                  <a:pt x="363" y="229"/>
                  <a:pt x="363" y="229"/>
                </a:cubicBezTo>
                <a:cubicBezTo>
                  <a:pt x="363" y="231"/>
                  <a:pt x="363" y="231"/>
                  <a:pt x="363" y="231"/>
                </a:cubicBezTo>
                <a:cubicBezTo>
                  <a:pt x="362" y="231"/>
                  <a:pt x="362" y="231"/>
                  <a:pt x="362" y="231"/>
                </a:cubicBezTo>
                <a:cubicBezTo>
                  <a:pt x="362" y="231"/>
                  <a:pt x="362" y="231"/>
                  <a:pt x="362" y="231"/>
                </a:cubicBezTo>
                <a:cubicBezTo>
                  <a:pt x="363" y="231"/>
                  <a:pt x="363" y="231"/>
                  <a:pt x="363" y="231"/>
                </a:cubicBezTo>
                <a:cubicBezTo>
                  <a:pt x="365" y="231"/>
                  <a:pt x="365" y="231"/>
                  <a:pt x="365" y="231"/>
                </a:cubicBezTo>
                <a:cubicBezTo>
                  <a:pt x="366" y="232"/>
                  <a:pt x="366" y="232"/>
                  <a:pt x="366" y="232"/>
                </a:cubicBezTo>
                <a:cubicBezTo>
                  <a:pt x="366" y="232"/>
                  <a:pt x="366" y="232"/>
                  <a:pt x="366" y="232"/>
                </a:cubicBezTo>
                <a:cubicBezTo>
                  <a:pt x="366" y="233"/>
                  <a:pt x="366" y="233"/>
                  <a:pt x="366" y="233"/>
                </a:cubicBezTo>
                <a:cubicBezTo>
                  <a:pt x="366" y="234"/>
                  <a:pt x="366" y="234"/>
                  <a:pt x="366" y="234"/>
                </a:cubicBezTo>
                <a:cubicBezTo>
                  <a:pt x="364" y="236"/>
                  <a:pt x="364" y="236"/>
                  <a:pt x="364" y="236"/>
                </a:cubicBezTo>
                <a:cubicBezTo>
                  <a:pt x="363" y="236"/>
                  <a:pt x="363" y="236"/>
                  <a:pt x="363" y="236"/>
                </a:cubicBezTo>
                <a:cubicBezTo>
                  <a:pt x="362" y="236"/>
                  <a:pt x="362" y="236"/>
                  <a:pt x="362" y="236"/>
                </a:cubicBezTo>
                <a:cubicBezTo>
                  <a:pt x="363" y="236"/>
                  <a:pt x="363" y="236"/>
                  <a:pt x="363" y="236"/>
                </a:cubicBezTo>
                <a:cubicBezTo>
                  <a:pt x="364" y="237"/>
                  <a:pt x="364" y="237"/>
                  <a:pt x="364" y="237"/>
                </a:cubicBezTo>
                <a:cubicBezTo>
                  <a:pt x="364" y="238"/>
                  <a:pt x="364" y="238"/>
                  <a:pt x="364" y="238"/>
                </a:cubicBezTo>
                <a:cubicBezTo>
                  <a:pt x="365" y="238"/>
                  <a:pt x="365" y="238"/>
                  <a:pt x="365" y="238"/>
                </a:cubicBezTo>
                <a:cubicBezTo>
                  <a:pt x="365" y="238"/>
                  <a:pt x="365" y="238"/>
                  <a:pt x="365" y="238"/>
                </a:cubicBezTo>
                <a:cubicBezTo>
                  <a:pt x="364" y="239"/>
                  <a:pt x="364" y="239"/>
                  <a:pt x="364" y="239"/>
                </a:cubicBezTo>
                <a:cubicBezTo>
                  <a:pt x="365" y="240"/>
                  <a:pt x="365" y="240"/>
                  <a:pt x="365" y="240"/>
                </a:cubicBezTo>
                <a:cubicBezTo>
                  <a:pt x="363" y="241"/>
                  <a:pt x="363" y="241"/>
                  <a:pt x="363" y="241"/>
                </a:cubicBezTo>
                <a:cubicBezTo>
                  <a:pt x="361" y="241"/>
                  <a:pt x="361" y="241"/>
                  <a:pt x="361" y="241"/>
                </a:cubicBezTo>
                <a:cubicBezTo>
                  <a:pt x="361" y="241"/>
                  <a:pt x="361" y="241"/>
                  <a:pt x="361" y="241"/>
                </a:cubicBezTo>
                <a:cubicBezTo>
                  <a:pt x="360" y="242"/>
                  <a:pt x="360" y="242"/>
                  <a:pt x="360" y="242"/>
                </a:cubicBezTo>
                <a:cubicBezTo>
                  <a:pt x="359" y="242"/>
                  <a:pt x="359" y="242"/>
                  <a:pt x="359" y="242"/>
                </a:cubicBezTo>
                <a:cubicBezTo>
                  <a:pt x="358" y="240"/>
                  <a:pt x="358" y="240"/>
                  <a:pt x="358" y="240"/>
                </a:cubicBezTo>
                <a:cubicBezTo>
                  <a:pt x="357" y="240"/>
                  <a:pt x="357" y="240"/>
                  <a:pt x="357" y="240"/>
                </a:cubicBezTo>
                <a:cubicBezTo>
                  <a:pt x="357" y="240"/>
                  <a:pt x="357" y="240"/>
                  <a:pt x="357" y="240"/>
                </a:cubicBezTo>
                <a:cubicBezTo>
                  <a:pt x="356" y="240"/>
                  <a:pt x="356" y="240"/>
                  <a:pt x="356" y="240"/>
                </a:cubicBezTo>
                <a:cubicBezTo>
                  <a:pt x="356" y="241"/>
                  <a:pt x="356" y="241"/>
                  <a:pt x="356" y="241"/>
                </a:cubicBezTo>
                <a:cubicBezTo>
                  <a:pt x="355" y="241"/>
                  <a:pt x="355" y="241"/>
                  <a:pt x="355" y="241"/>
                </a:cubicBezTo>
                <a:cubicBezTo>
                  <a:pt x="356" y="241"/>
                  <a:pt x="356" y="241"/>
                  <a:pt x="356" y="241"/>
                </a:cubicBezTo>
                <a:cubicBezTo>
                  <a:pt x="357" y="242"/>
                  <a:pt x="357" y="242"/>
                  <a:pt x="357" y="242"/>
                </a:cubicBezTo>
                <a:cubicBezTo>
                  <a:pt x="357" y="243"/>
                  <a:pt x="357" y="243"/>
                  <a:pt x="357" y="243"/>
                </a:cubicBezTo>
                <a:cubicBezTo>
                  <a:pt x="356" y="244"/>
                  <a:pt x="356" y="244"/>
                  <a:pt x="356" y="244"/>
                </a:cubicBezTo>
                <a:cubicBezTo>
                  <a:pt x="357" y="244"/>
                  <a:pt x="357" y="244"/>
                  <a:pt x="357" y="244"/>
                </a:cubicBezTo>
                <a:cubicBezTo>
                  <a:pt x="356" y="245"/>
                  <a:pt x="356" y="245"/>
                  <a:pt x="356" y="245"/>
                </a:cubicBezTo>
                <a:cubicBezTo>
                  <a:pt x="356" y="246"/>
                  <a:pt x="356" y="246"/>
                  <a:pt x="356" y="246"/>
                </a:cubicBezTo>
                <a:cubicBezTo>
                  <a:pt x="357" y="246"/>
                  <a:pt x="357" y="246"/>
                  <a:pt x="357" y="246"/>
                </a:cubicBezTo>
                <a:cubicBezTo>
                  <a:pt x="357" y="245"/>
                  <a:pt x="357" y="245"/>
                  <a:pt x="357" y="245"/>
                </a:cubicBezTo>
                <a:cubicBezTo>
                  <a:pt x="358" y="245"/>
                  <a:pt x="358" y="245"/>
                  <a:pt x="358" y="245"/>
                </a:cubicBezTo>
                <a:cubicBezTo>
                  <a:pt x="358" y="246"/>
                  <a:pt x="358" y="246"/>
                  <a:pt x="358" y="246"/>
                </a:cubicBezTo>
                <a:cubicBezTo>
                  <a:pt x="356" y="246"/>
                  <a:pt x="356" y="246"/>
                  <a:pt x="356" y="246"/>
                </a:cubicBezTo>
                <a:cubicBezTo>
                  <a:pt x="356" y="248"/>
                  <a:pt x="356" y="248"/>
                  <a:pt x="356" y="248"/>
                </a:cubicBezTo>
                <a:cubicBezTo>
                  <a:pt x="356" y="249"/>
                  <a:pt x="356" y="249"/>
                  <a:pt x="356" y="249"/>
                </a:cubicBezTo>
                <a:cubicBezTo>
                  <a:pt x="357" y="250"/>
                  <a:pt x="357" y="250"/>
                  <a:pt x="357" y="250"/>
                </a:cubicBezTo>
                <a:cubicBezTo>
                  <a:pt x="357" y="251"/>
                  <a:pt x="357" y="251"/>
                  <a:pt x="357" y="251"/>
                </a:cubicBezTo>
                <a:cubicBezTo>
                  <a:pt x="358" y="254"/>
                  <a:pt x="358" y="254"/>
                  <a:pt x="358" y="254"/>
                </a:cubicBezTo>
                <a:cubicBezTo>
                  <a:pt x="358" y="255"/>
                  <a:pt x="358" y="255"/>
                  <a:pt x="358" y="255"/>
                </a:cubicBezTo>
                <a:cubicBezTo>
                  <a:pt x="358" y="255"/>
                  <a:pt x="358" y="255"/>
                  <a:pt x="358" y="255"/>
                </a:cubicBezTo>
                <a:cubicBezTo>
                  <a:pt x="358" y="256"/>
                  <a:pt x="358" y="256"/>
                  <a:pt x="358" y="256"/>
                </a:cubicBezTo>
                <a:cubicBezTo>
                  <a:pt x="356" y="258"/>
                  <a:pt x="356" y="258"/>
                  <a:pt x="356" y="258"/>
                </a:cubicBezTo>
                <a:cubicBezTo>
                  <a:pt x="356" y="259"/>
                  <a:pt x="356" y="259"/>
                  <a:pt x="356" y="259"/>
                </a:cubicBezTo>
                <a:cubicBezTo>
                  <a:pt x="356" y="260"/>
                  <a:pt x="356" y="260"/>
                  <a:pt x="356" y="260"/>
                </a:cubicBezTo>
                <a:cubicBezTo>
                  <a:pt x="355" y="259"/>
                  <a:pt x="355" y="259"/>
                  <a:pt x="355" y="259"/>
                </a:cubicBezTo>
                <a:cubicBezTo>
                  <a:pt x="353" y="259"/>
                  <a:pt x="353" y="259"/>
                  <a:pt x="353" y="259"/>
                </a:cubicBezTo>
                <a:cubicBezTo>
                  <a:pt x="352" y="260"/>
                  <a:pt x="352" y="260"/>
                  <a:pt x="352" y="260"/>
                </a:cubicBezTo>
                <a:cubicBezTo>
                  <a:pt x="351" y="261"/>
                  <a:pt x="351" y="261"/>
                  <a:pt x="351" y="261"/>
                </a:cubicBezTo>
                <a:cubicBezTo>
                  <a:pt x="350" y="262"/>
                  <a:pt x="350" y="262"/>
                  <a:pt x="350" y="262"/>
                </a:cubicBezTo>
                <a:cubicBezTo>
                  <a:pt x="350" y="263"/>
                  <a:pt x="350" y="263"/>
                  <a:pt x="350" y="263"/>
                </a:cubicBezTo>
                <a:cubicBezTo>
                  <a:pt x="349" y="263"/>
                  <a:pt x="349" y="263"/>
                  <a:pt x="349" y="263"/>
                </a:cubicBezTo>
                <a:cubicBezTo>
                  <a:pt x="347" y="265"/>
                  <a:pt x="347" y="265"/>
                  <a:pt x="347" y="265"/>
                </a:cubicBezTo>
                <a:cubicBezTo>
                  <a:pt x="346" y="265"/>
                  <a:pt x="346" y="265"/>
                  <a:pt x="346" y="265"/>
                </a:cubicBezTo>
                <a:cubicBezTo>
                  <a:pt x="345" y="265"/>
                  <a:pt x="345" y="265"/>
                  <a:pt x="345" y="265"/>
                </a:cubicBezTo>
                <a:cubicBezTo>
                  <a:pt x="345" y="266"/>
                  <a:pt x="345" y="266"/>
                  <a:pt x="345" y="266"/>
                </a:cubicBezTo>
                <a:cubicBezTo>
                  <a:pt x="341" y="267"/>
                  <a:pt x="341" y="267"/>
                  <a:pt x="341" y="267"/>
                </a:cubicBezTo>
                <a:cubicBezTo>
                  <a:pt x="341" y="266"/>
                  <a:pt x="341" y="266"/>
                  <a:pt x="341" y="266"/>
                </a:cubicBezTo>
                <a:cubicBezTo>
                  <a:pt x="341" y="265"/>
                  <a:pt x="341" y="265"/>
                  <a:pt x="341" y="265"/>
                </a:cubicBezTo>
                <a:cubicBezTo>
                  <a:pt x="341" y="264"/>
                  <a:pt x="341" y="264"/>
                  <a:pt x="341" y="264"/>
                </a:cubicBezTo>
                <a:cubicBezTo>
                  <a:pt x="340" y="263"/>
                  <a:pt x="340" y="263"/>
                  <a:pt x="340" y="263"/>
                </a:cubicBezTo>
                <a:cubicBezTo>
                  <a:pt x="340" y="262"/>
                  <a:pt x="340" y="262"/>
                  <a:pt x="340" y="262"/>
                </a:cubicBezTo>
                <a:cubicBezTo>
                  <a:pt x="341" y="262"/>
                  <a:pt x="341" y="262"/>
                  <a:pt x="341" y="262"/>
                </a:cubicBezTo>
                <a:cubicBezTo>
                  <a:pt x="341" y="261"/>
                  <a:pt x="341" y="261"/>
                  <a:pt x="341" y="261"/>
                </a:cubicBezTo>
                <a:cubicBezTo>
                  <a:pt x="342" y="259"/>
                  <a:pt x="342" y="259"/>
                  <a:pt x="342" y="259"/>
                </a:cubicBezTo>
                <a:cubicBezTo>
                  <a:pt x="341" y="261"/>
                  <a:pt x="341" y="261"/>
                  <a:pt x="341" y="261"/>
                </a:cubicBezTo>
                <a:cubicBezTo>
                  <a:pt x="340" y="261"/>
                  <a:pt x="340" y="261"/>
                  <a:pt x="340" y="261"/>
                </a:cubicBezTo>
                <a:cubicBezTo>
                  <a:pt x="340" y="258"/>
                  <a:pt x="340" y="258"/>
                  <a:pt x="340" y="258"/>
                </a:cubicBezTo>
                <a:cubicBezTo>
                  <a:pt x="339" y="258"/>
                  <a:pt x="339" y="258"/>
                  <a:pt x="339" y="258"/>
                </a:cubicBezTo>
                <a:cubicBezTo>
                  <a:pt x="339" y="257"/>
                  <a:pt x="339" y="257"/>
                  <a:pt x="339" y="257"/>
                </a:cubicBezTo>
                <a:cubicBezTo>
                  <a:pt x="337" y="257"/>
                  <a:pt x="337" y="257"/>
                  <a:pt x="337" y="257"/>
                </a:cubicBezTo>
                <a:cubicBezTo>
                  <a:pt x="337" y="257"/>
                  <a:pt x="337" y="257"/>
                  <a:pt x="337" y="257"/>
                </a:cubicBezTo>
                <a:cubicBezTo>
                  <a:pt x="336" y="257"/>
                  <a:pt x="336" y="257"/>
                  <a:pt x="336" y="257"/>
                </a:cubicBezTo>
                <a:cubicBezTo>
                  <a:pt x="335" y="259"/>
                  <a:pt x="335" y="259"/>
                  <a:pt x="335" y="259"/>
                </a:cubicBezTo>
                <a:cubicBezTo>
                  <a:pt x="335" y="259"/>
                  <a:pt x="335" y="259"/>
                  <a:pt x="335" y="259"/>
                </a:cubicBezTo>
                <a:cubicBezTo>
                  <a:pt x="337" y="258"/>
                  <a:pt x="337" y="258"/>
                  <a:pt x="337" y="258"/>
                </a:cubicBezTo>
                <a:cubicBezTo>
                  <a:pt x="338" y="258"/>
                  <a:pt x="338" y="258"/>
                  <a:pt x="338" y="258"/>
                </a:cubicBezTo>
                <a:cubicBezTo>
                  <a:pt x="338" y="259"/>
                  <a:pt x="338" y="259"/>
                  <a:pt x="338" y="259"/>
                </a:cubicBezTo>
                <a:cubicBezTo>
                  <a:pt x="339" y="260"/>
                  <a:pt x="339" y="260"/>
                  <a:pt x="339" y="260"/>
                </a:cubicBezTo>
                <a:cubicBezTo>
                  <a:pt x="339" y="262"/>
                  <a:pt x="339" y="262"/>
                  <a:pt x="339" y="262"/>
                </a:cubicBezTo>
                <a:cubicBezTo>
                  <a:pt x="339" y="263"/>
                  <a:pt x="339" y="263"/>
                  <a:pt x="339" y="263"/>
                </a:cubicBezTo>
                <a:cubicBezTo>
                  <a:pt x="340" y="264"/>
                  <a:pt x="340" y="264"/>
                  <a:pt x="340" y="264"/>
                </a:cubicBezTo>
                <a:cubicBezTo>
                  <a:pt x="340" y="266"/>
                  <a:pt x="340" y="266"/>
                  <a:pt x="340" y="266"/>
                </a:cubicBezTo>
                <a:cubicBezTo>
                  <a:pt x="339" y="266"/>
                  <a:pt x="339" y="266"/>
                  <a:pt x="339" y="266"/>
                </a:cubicBezTo>
                <a:cubicBezTo>
                  <a:pt x="340" y="267"/>
                  <a:pt x="340" y="267"/>
                  <a:pt x="340" y="267"/>
                </a:cubicBezTo>
                <a:cubicBezTo>
                  <a:pt x="340" y="268"/>
                  <a:pt x="340" y="268"/>
                  <a:pt x="340" y="268"/>
                </a:cubicBezTo>
                <a:cubicBezTo>
                  <a:pt x="339" y="268"/>
                  <a:pt x="339" y="268"/>
                  <a:pt x="339" y="268"/>
                </a:cubicBezTo>
                <a:cubicBezTo>
                  <a:pt x="337" y="266"/>
                  <a:pt x="337" y="266"/>
                  <a:pt x="337" y="266"/>
                </a:cubicBezTo>
                <a:cubicBezTo>
                  <a:pt x="337" y="265"/>
                  <a:pt x="337" y="265"/>
                  <a:pt x="337" y="265"/>
                </a:cubicBezTo>
                <a:cubicBezTo>
                  <a:pt x="336" y="265"/>
                  <a:pt x="336" y="265"/>
                  <a:pt x="336" y="265"/>
                </a:cubicBezTo>
                <a:cubicBezTo>
                  <a:pt x="336" y="264"/>
                  <a:pt x="336" y="264"/>
                  <a:pt x="336" y="264"/>
                </a:cubicBezTo>
                <a:cubicBezTo>
                  <a:pt x="335" y="265"/>
                  <a:pt x="335" y="265"/>
                  <a:pt x="335" y="265"/>
                </a:cubicBezTo>
                <a:cubicBezTo>
                  <a:pt x="336" y="266"/>
                  <a:pt x="336" y="266"/>
                  <a:pt x="336" y="266"/>
                </a:cubicBezTo>
                <a:cubicBezTo>
                  <a:pt x="336" y="267"/>
                  <a:pt x="336" y="267"/>
                  <a:pt x="336" y="267"/>
                </a:cubicBezTo>
                <a:cubicBezTo>
                  <a:pt x="335" y="266"/>
                  <a:pt x="335" y="266"/>
                  <a:pt x="335" y="266"/>
                </a:cubicBezTo>
                <a:cubicBezTo>
                  <a:pt x="334" y="266"/>
                  <a:pt x="334" y="266"/>
                  <a:pt x="334" y="266"/>
                </a:cubicBezTo>
                <a:cubicBezTo>
                  <a:pt x="333" y="265"/>
                  <a:pt x="333" y="265"/>
                  <a:pt x="333" y="265"/>
                </a:cubicBezTo>
                <a:cubicBezTo>
                  <a:pt x="333" y="266"/>
                  <a:pt x="333" y="266"/>
                  <a:pt x="333" y="266"/>
                </a:cubicBezTo>
                <a:cubicBezTo>
                  <a:pt x="333" y="265"/>
                  <a:pt x="333" y="265"/>
                  <a:pt x="333" y="265"/>
                </a:cubicBezTo>
                <a:cubicBezTo>
                  <a:pt x="333" y="263"/>
                  <a:pt x="333" y="263"/>
                  <a:pt x="333" y="263"/>
                </a:cubicBezTo>
                <a:cubicBezTo>
                  <a:pt x="333" y="263"/>
                  <a:pt x="333" y="263"/>
                  <a:pt x="333" y="263"/>
                </a:cubicBezTo>
                <a:cubicBezTo>
                  <a:pt x="333" y="262"/>
                  <a:pt x="333" y="262"/>
                  <a:pt x="333" y="262"/>
                </a:cubicBezTo>
                <a:cubicBezTo>
                  <a:pt x="333" y="262"/>
                  <a:pt x="333" y="262"/>
                  <a:pt x="333" y="262"/>
                </a:cubicBezTo>
                <a:cubicBezTo>
                  <a:pt x="331" y="262"/>
                  <a:pt x="331" y="262"/>
                  <a:pt x="331" y="262"/>
                </a:cubicBezTo>
                <a:cubicBezTo>
                  <a:pt x="329" y="262"/>
                  <a:pt x="329" y="262"/>
                  <a:pt x="329" y="262"/>
                </a:cubicBezTo>
                <a:cubicBezTo>
                  <a:pt x="328" y="262"/>
                  <a:pt x="328" y="262"/>
                  <a:pt x="328" y="262"/>
                </a:cubicBezTo>
                <a:cubicBezTo>
                  <a:pt x="327" y="262"/>
                  <a:pt x="327" y="262"/>
                  <a:pt x="327" y="262"/>
                </a:cubicBezTo>
                <a:cubicBezTo>
                  <a:pt x="326" y="261"/>
                  <a:pt x="326" y="261"/>
                  <a:pt x="326" y="261"/>
                </a:cubicBezTo>
                <a:cubicBezTo>
                  <a:pt x="326" y="262"/>
                  <a:pt x="326" y="262"/>
                  <a:pt x="326" y="262"/>
                </a:cubicBezTo>
                <a:cubicBezTo>
                  <a:pt x="326" y="263"/>
                  <a:pt x="326" y="263"/>
                  <a:pt x="326" y="263"/>
                </a:cubicBezTo>
                <a:cubicBezTo>
                  <a:pt x="326" y="263"/>
                  <a:pt x="326" y="263"/>
                  <a:pt x="326" y="263"/>
                </a:cubicBezTo>
                <a:cubicBezTo>
                  <a:pt x="326" y="264"/>
                  <a:pt x="326" y="264"/>
                  <a:pt x="326" y="264"/>
                </a:cubicBezTo>
                <a:cubicBezTo>
                  <a:pt x="326" y="265"/>
                  <a:pt x="326" y="265"/>
                  <a:pt x="326" y="265"/>
                </a:cubicBezTo>
                <a:cubicBezTo>
                  <a:pt x="328" y="266"/>
                  <a:pt x="328" y="266"/>
                  <a:pt x="328" y="266"/>
                </a:cubicBezTo>
                <a:cubicBezTo>
                  <a:pt x="328" y="267"/>
                  <a:pt x="328" y="267"/>
                  <a:pt x="328" y="267"/>
                </a:cubicBezTo>
                <a:cubicBezTo>
                  <a:pt x="327" y="268"/>
                  <a:pt x="327" y="268"/>
                  <a:pt x="327" y="268"/>
                </a:cubicBezTo>
                <a:cubicBezTo>
                  <a:pt x="327" y="269"/>
                  <a:pt x="327" y="269"/>
                  <a:pt x="327" y="269"/>
                </a:cubicBezTo>
                <a:cubicBezTo>
                  <a:pt x="324" y="271"/>
                  <a:pt x="324" y="271"/>
                  <a:pt x="324" y="271"/>
                </a:cubicBezTo>
                <a:cubicBezTo>
                  <a:pt x="322" y="272"/>
                  <a:pt x="322" y="272"/>
                  <a:pt x="322" y="272"/>
                </a:cubicBezTo>
                <a:cubicBezTo>
                  <a:pt x="321" y="274"/>
                  <a:pt x="321" y="274"/>
                  <a:pt x="321" y="274"/>
                </a:cubicBezTo>
                <a:cubicBezTo>
                  <a:pt x="320" y="274"/>
                  <a:pt x="320" y="274"/>
                  <a:pt x="320" y="274"/>
                </a:cubicBezTo>
                <a:cubicBezTo>
                  <a:pt x="319" y="274"/>
                  <a:pt x="319" y="274"/>
                  <a:pt x="319" y="274"/>
                </a:cubicBezTo>
                <a:cubicBezTo>
                  <a:pt x="319" y="276"/>
                  <a:pt x="319" y="276"/>
                  <a:pt x="319" y="276"/>
                </a:cubicBezTo>
                <a:cubicBezTo>
                  <a:pt x="317" y="276"/>
                  <a:pt x="317" y="276"/>
                  <a:pt x="317" y="276"/>
                </a:cubicBezTo>
                <a:cubicBezTo>
                  <a:pt x="314" y="276"/>
                  <a:pt x="314" y="276"/>
                  <a:pt x="314" y="276"/>
                </a:cubicBezTo>
                <a:cubicBezTo>
                  <a:pt x="313" y="274"/>
                  <a:pt x="313" y="274"/>
                  <a:pt x="313" y="274"/>
                </a:cubicBezTo>
                <a:cubicBezTo>
                  <a:pt x="312" y="273"/>
                  <a:pt x="312" y="273"/>
                  <a:pt x="312" y="273"/>
                </a:cubicBezTo>
                <a:cubicBezTo>
                  <a:pt x="310" y="272"/>
                  <a:pt x="310" y="272"/>
                  <a:pt x="310" y="272"/>
                </a:cubicBezTo>
                <a:cubicBezTo>
                  <a:pt x="310" y="272"/>
                  <a:pt x="310" y="272"/>
                  <a:pt x="310" y="272"/>
                </a:cubicBezTo>
                <a:cubicBezTo>
                  <a:pt x="311" y="271"/>
                  <a:pt x="311" y="271"/>
                  <a:pt x="311" y="271"/>
                </a:cubicBezTo>
                <a:cubicBezTo>
                  <a:pt x="311" y="271"/>
                  <a:pt x="311" y="271"/>
                  <a:pt x="311" y="271"/>
                </a:cubicBezTo>
                <a:cubicBezTo>
                  <a:pt x="311" y="270"/>
                  <a:pt x="311" y="270"/>
                  <a:pt x="311" y="270"/>
                </a:cubicBezTo>
                <a:cubicBezTo>
                  <a:pt x="310" y="270"/>
                  <a:pt x="310" y="270"/>
                  <a:pt x="310" y="270"/>
                </a:cubicBezTo>
                <a:cubicBezTo>
                  <a:pt x="308" y="268"/>
                  <a:pt x="308" y="268"/>
                  <a:pt x="308" y="268"/>
                </a:cubicBezTo>
                <a:cubicBezTo>
                  <a:pt x="307" y="266"/>
                  <a:pt x="307" y="266"/>
                  <a:pt x="307" y="266"/>
                </a:cubicBezTo>
                <a:cubicBezTo>
                  <a:pt x="304" y="266"/>
                  <a:pt x="304" y="266"/>
                  <a:pt x="304" y="266"/>
                </a:cubicBezTo>
                <a:cubicBezTo>
                  <a:pt x="302" y="265"/>
                  <a:pt x="302" y="265"/>
                  <a:pt x="302" y="265"/>
                </a:cubicBezTo>
                <a:cubicBezTo>
                  <a:pt x="299" y="265"/>
                  <a:pt x="299" y="265"/>
                  <a:pt x="299" y="265"/>
                </a:cubicBezTo>
                <a:cubicBezTo>
                  <a:pt x="298" y="265"/>
                  <a:pt x="298" y="265"/>
                  <a:pt x="298" y="265"/>
                </a:cubicBezTo>
                <a:cubicBezTo>
                  <a:pt x="298" y="266"/>
                  <a:pt x="298" y="266"/>
                  <a:pt x="298" y="266"/>
                </a:cubicBezTo>
                <a:cubicBezTo>
                  <a:pt x="299" y="266"/>
                  <a:pt x="299" y="266"/>
                  <a:pt x="299" y="266"/>
                </a:cubicBezTo>
                <a:cubicBezTo>
                  <a:pt x="299" y="266"/>
                  <a:pt x="299" y="266"/>
                  <a:pt x="299" y="266"/>
                </a:cubicBezTo>
                <a:cubicBezTo>
                  <a:pt x="300" y="266"/>
                  <a:pt x="300" y="266"/>
                  <a:pt x="300" y="266"/>
                </a:cubicBezTo>
                <a:cubicBezTo>
                  <a:pt x="303" y="267"/>
                  <a:pt x="303" y="267"/>
                  <a:pt x="303" y="267"/>
                </a:cubicBezTo>
                <a:cubicBezTo>
                  <a:pt x="306" y="267"/>
                  <a:pt x="306" y="267"/>
                  <a:pt x="306" y="267"/>
                </a:cubicBezTo>
                <a:cubicBezTo>
                  <a:pt x="306" y="267"/>
                  <a:pt x="306" y="267"/>
                  <a:pt x="306" y="267"/>
                </a:cubicBezTo>
                <a:cubicBezTo>
                  <a:pt x="306" y="268"/>
                  <a:pt x="306" y="268"/>
                  <a:pt x="306" y="268"/>
                </a:cubicBezTo>
                <a:cubicBezTo>
                  <a:pt x="306" y="268"/>
                  <a:pt x="306" y="268"/>
                  <a:pt x="306" y="268"/>
                </a:cubicBezTo>
                <a:cubicBezTo>
                  <a:pt x="305" y="268"/>
                  <a:pt x="305" y="268"/>
                  <a:pt x="305" y="268"/>
                </a:cubicBezTo>
                <a:cubicBezTo>
                  <a:pt x="306" y="269"/>
                  <a:pt x="306" y="269"/>
                  <a:pt x="306" y="269"/>
                </a:cubicBezTo>
                <a:cubicBezTo>
                  <a:pt x="306" y="271"/>
                  <a:pt x="306" y="271"/>
                  <a:pt x="306" y="271"/>
                </a:cubicBezTo>
                <a:cubicBezTo>
                  <a:pt x="306" y="271"/>
                  <a:pt x="306" y="271"/>
                  <a:pt x="306" y="271"/>
                </a:cubicBezTo>
                <a:cubicBezTo>
                  <a:pt x="308" y="274"/>
                  <a:pt x="308" y="274"/>
                  <a:pt x="308" y="274"/>
                </a:cubicBezTo>
                <a:cubicBezTo>
                  <a:pt x="309" y="275"/>
                  <a:pt x="309" y="275"/>
                  <a:pt x="309" y="275"/>
                </a:cubicBezTo>
                <a:cubicBezTo>
                  <a:pt x="311" y="276"/>
                  <a:pt x="311" y="276"/>
                  <a:pt x="311" y="276"/>
                </a:cubicBezTo>
                <a:cubicBezTo>
                  <a:pt x="313" y="277"/>
                  <a:pt x="313" y="277"/>
                  <a:pt x="313" y="277"/>
                </a:cubicBezTo>
                <a:cubicBezTo>
                  <a:pt x="318" y="278"/>
                  <a:pt x="318" y="278"/>
                  <a:pt x="318" y="278"/>
                </a:cubicBezTo>
                <a:cubicBezTo>
                  <a:pt x="318" y="279"/>
                  <a:pt x="318" y="279"/>
                  <a:pt x="318" y="279"/>
                </a:cubicBezTo>
                <a:cubicBezTo>
                  <a:pt x="317" y="280"/>
                  <a:pt x="317" y="280"/>
                  <a:pt x="317" y="280"/>
                </a:cubicBezTo>
                <a:cubicBezTo>
                  <a:pt x="316" y="281"/>
                  <a:pt x="316" y="281"/>
                  <a:pt x="316" y="281"/>
                </a:cubicBezTo>
                <a:cubicBezTo>
                  <a:pt x="315" y="281"/>
                  <a:pt x="315" y="281"/>
                  <a:pt x="315" y="281"/>
                </a:cubicBezTo>
                <a:cubicBezTo>
                  <a:pt x="313" y="284"/>
                  <a:pt x="313" y="284"/>
                  <a:pt x="313" y="284"/>
                </a:cubicBezTo>
                <a:cubicBezTo>
                  <a:pt x="313" y="283"/>
                  <a:pt x="313" y="283"/>
                  <a:pt x="313" y="283"/>
                </a:cubicBezTo>
                <a:cubicBezTo>
                  <a:pt x="312" y="284"/>
                  <a:pt x="312" y="284"/>
                  <a:pt x="312" y="284"/>
                </a:cubicBezTo>
                <a:cubicBezTo>
                  <a:pt x="312" y="284"/>
                  <a:pt x="312" y="284"/>
                  <a:pt x="312" y="284"/>
                </a:cubicBezTo>
                <a:cubicBezTo>
                  <a:pt x="308" y="289"/>
                  <a:pt x="308" y="289"/>
                  <a:pt x="308" y="289"/>
                </a:cubicBezTo>
                <a:cubicBezTo>
                  <a:pt x="306" y="289"/>
                  <a:pt x="306" y="289"/>
                  <a:pt x="306" y="289"/>
                </a:cubicBezTo>
                <a:cubicBezTo>
                  <a:pt x="305" y="291"/>
                  <a:pt x="305" y="291"/>
                  <a:pt x="305" y="291"/>
                </a:cubicBezTo>
                <a:cubicBezTo>
                  <a:pt x="304" y="291"/>
                  <a:pt x="304" y="291"/>
                  <a:pt x="304" y="291"/>
                </a:cubicBezTo>
                <a:cubicBezTo>
                  <a:pt x="304" y="291"/>
                  <a:pt x="304" y="291"/>
                  <a:pt x="304" y="291"/>
                </a:cubicBezTo>
                <a:cubicBezTo>
                  <a:pt x="303" y="291"/>
                  <a:pt x="303" y="291"/>
                  <a:pt x="303" y="291"/>
                </a:cubicBezTo>
                <a:cubicBezTo>
                  <a:pt x="303" y="292"/>
                  <a:pt x="303" y="292"/>
                  <a:pt x="303" y="292"/>
                </a:cubicBezTo>
                <a:cubicBezTo>
                  <a:pt x="301" y="290"/>
                  <a:pt x="301" y="290"/>
                  <a:pt x="301" y="290"/>
                </a:cubicBezTo>
                <a:cubicBezTo>
                  <a:pt x="300" y="289"/>
                  <a:pt x="300" y="289"/>
                  <a:pt x="300" y="289"/>
                </a:cubicBezTo>
                <a:cubicBezTo>
                  <a:pt x="299" y="290"/>
                  <a:pt x="299" y="290"/>
                  <a:pt x="299" y="290"/>
                </a:cubicBezTo>
                <a:cubicBezTo>
                  <a:pt x="299" y="289"/>
                  <a:pt x="299" y="289"/>
                  <a:pt x="299" y="289"/>
                </a:cubicBezTo>
                <a:cubicBezTo>
                  <a:pt x="299" y="289"/>
                  <a:pt x="299" y="289"/>
                  <a:pt x="299" y="289"/>
                </a:cubicBezTo>
                <a:cubicBezTo>
                  <a:pt x="300" y="288"/>
                  <a:pt x="300" y="288"/>
                  <a:pt x="300" y="288"/>
                </a:cubicBezTo>
                <a:cubicBezTo>
                  <a:pt x="299" y="288"/>
                  <a:pt x="299" y="288"/>
                  <a:pt x="299" y="288"/>
                </a:cubicBezTo>
                <a:cubicBezTo>
                  <a:pt x="299" y="287"/>
                  <a:pt x="299" y="287"/>
                  <a:pt x="299" y="287"/>
                </a:cubicBezTo>
                <a:cubicBezTo>
                  <a:pt x="298" y="288"/>
                  <a:pt x="298" y="288"/>
                  <a:pt x="298" y="288"/>
                </a:cubicBezTo>
                <a:cubicBezTo>
                  <a:pt x="297" y="290"/>
                  <a:pt x="297" y="290"/>
                  <a:pt x="297" y="290"/>
                </a:cubicBezTo>
                <a:cubicBezTo>
                  <a:pt x="297" y="289"/>
                  <a:pt x="297" y="289"/>
                  <a:pt x="297" y="289"/>
                </a:cubicBezTo>
                <a:cubicBezTo>
                  <a:pt x="296" y="287"/>
                  <a:pt x="296" y="287"/>
                  <a:pt x="296" y="287"/>
                </a:cubicBezTo>
                <a:cubicBezTo>
                  <a:pt x="295" y="289"/>
                  <a:pt x="295" y="289"/>
                  <a:pt x="295" y="289"/>
                </a:cubicBezTo>
                <a:cubicBezTo>
                  <a:pt x="296" y="290"/>
                  <a:pt x="296" y="290"/>
                  <a:pt x="296" y="290"/>
                </a:cubicBezTo>
                <a:cubicBezTo>
                  <a:pt x="296" y="292"/>
                  <a:pt x="296" y="292"/>
                  <a:pt x="296" y="292"/>
                </a:cubicBezTo>
                <a:cubicBezTo>
                  <a:pt x="294" y="294"/>
                  <a:pt x="294" y="294"/>
                  <a:pt x="294" y="294"/>
                </a:cubicBezTo>
                <a:cubicBezTo>
                  <a:pt x="294" y="294"/>
                  <a:pt x="294" y="294"/>
                  <a:pt x="294" y="294"/>
                </a:cubicBezTo>
                <a:cubicBezTo>
                  <a:pt x="293" y="293"/>
                  <a:pt x="293" y="293"/>
                  <a:pt x="293" y="293"/>
                </a:cubicBezTo>
                <a:cubicBezTo>
                  <a:pt x="292" y="292"/>
                  <a:pt x="292" y="292"/>
                  <a:pt x="292" y="292"/>
                </a:cubicBezTo>
                <a:cubicBezTo>
                  <a:pt x="292" y="293"/>
                  <a:pt x="292" y="293"/>
                  <a:pt x="292" y="293"/>
                </a:cubicBezTo>
                <a:cubicBezTo>
                  <a:pt x="293" y="293"/>
                  <a:pt x="293" y="293"/>
                  <a:pt x="293" y="293"/>
                </a:cubicBezTo>
                <a:cubicBezTo>
                  <a:pt x="292" y="294"/>
                  <a:pt x="292" y="294"/>
                  <a:pt x="292" y="294"/>
                </a:cubicBezTo>
                <a:cubicBezTo>
                  <a:pt x="292" y="295"/>
                  <a:pt x="292" y="295"/>
                  <a:pt x="292" y="295"/>
                </a:cubicBezTo>
                <a:cubicBezTo>
                  <a:pt x="291" y="295"/>
                  <a:pt x="291" y="295"/>
                  <a:pt x="291" y="295"/>
                </a:cubicBezTo>
                <a:cubicBezTo>
                  <a:pt x="290" y="295"/>
                  <a:pt x="290" y="295"/>
                  <a:pt x="290" y="295"/>
                </a:cubicBezTo>
                <a:cubicBezTo>
                  <a:pt x="290" y="294"/>
                  <a:pt x="290" y="294"/>
                  <a:pt x="290" y="294"/>
                </a:cubicBezTo>
                <a:cubicBezTo>
                  <a:pt x="289" y="293"/>
                  <a:pt x="289" y="293"/>
                  <a:pt x="289" y="293"/>
                </a:cubicBezTo>
                <a:cubicBezTo>
                  <a:pt x="287" y="291"/>
                  <a:pt x="287" y="291"/>
                  <a:pt x="287" y="291"/>
                </a:cubicBezTo>
                <a:cubicBezTo>
                  <a:pt x="285" y="290"/>
                  <a:pt x="285" y="290"/>
                  <a:pt x="285" y="290"/>
                </a:cubicBezTo>
                <a:cubicBezTo>
                  <a:pt x="282" y="289"/>
                  <a:pt x="282" y="289"/>
                  <a:pt x="282" y="289"/>
                </a:cubicBezTo>
                <a:cubicBezTo>
                  <a:pt x="282" y="287"/>
                  <a:pt x="282" y="287"/>
                  <a:pt x="282" y="287"/>
                </a:cubicBezTo>
                <a:cubicBezTo>
                  <a:pt x="281" y="287"/>
                  <a:pt x="281" y="287"/>
                  <a:pt x="281" y="287"/>
                </a:cubicBezTo>
                <a:cubicBezTo>
                  <a:pt x="279" y="286"/>
                  <a:pt x="279" y="286"/>
                  <a:pt x="279" y="286"/>
                </a:cubicBezTo>
                <a:cubicBezTo>
                  <a:pt x="278" y="285"/>
                  <a:pt x="278" y="285"/>
                  <a:pt x="278" y="285"/>
                </a:cubicBezTo>
                <a:cubicBezTo>
                  <a:pt x="278" y="286"/>
                  <a:pt x="278" y="286"/>
                  <a:pt x="278" y="286"/>
                </a:cubicBezTo>
                <a:cubicBezTo>
                  <a:pt x="277" y="286"/>
                  <a:pt x="277" y="286"/>
                  <a:pt x="277" y="286"/>
                </a:cubicBezTo>
                <a:cubicBezTo>
                  <a:pt x="278" y="288"/>
                  <a:pt x="278" y="288"/>
                  <a:pt x="278" y="288"/>
                </a:cubicBezTo>
                <a:cubicBezTo>
                  <a:pt x="279" y="289"/>
                  <a:pt x="279" y="289"/>
                  <a:pt x="279" y="289"/>
                </a:cubicBezTo>
                <a:cubicBezTo>
                  <a:pt x="279" y="288"/>
                  <a:pt x="279" y="288"/>
                  <a:pt x="279" y="288"/>
                </a:cubicBezTo>
                <a:cubicBezTo>
                  <a:pt x="279" y="288"/>
                  <a:pt x="279" y="288"/>
                  <a:pt x="279" y="288"/>
                </a:cubicBezTo>
                <a:cubicBezTo>
                  <a:pt x="279" y="287"/>
                  <a:pt x="279" y="287"/>
                  <a:pt x="279" y="287"/>
                </a:cubicBezTo>
                <a:cubicBezTo>
                  <a:pt x="280" y="287"/>
                  <a:pt x="280" y="287"/>
                  <a:pt x="280" y="287"/>
                </a:cubicBezTo>
                <a:cubicBezTo>
                  <a:pt x="282" y="290"/>
                  <a:pt x="282" y="290"/>
                  <a:pt x="282" y="290"/>
                </a:cubicBezTo>
                <a:cubicBezTo>
                  <a:pt x="284" y="291"/>
                  <a:pt x="284" y="291"/>
                  <a:pt x="284" y="291"/>
                </a:cubicBezTo>
                <a:cubicBezTo>
                  <a:pt x="285" y="292"/>
                  <a:pt x="285" y="292"/>
                  <a:pt x="285" y="292"/>
                </a:cubicBezTo>
                <a:cubicBezTo>
                  <a:pt x="283" y="293"/>
                  <a:pt x="283" y="293"/>
                  <a:pt x="283" y="293"/>
                </a:cubicBezTo>
                <a:cubicBezTo>
                  <a:pt x="282" y="293"/>
                  <a:pt x="282" y="293"/>
                  <a:pt x="282" y="293"/>
                </a:cubicBezTo>
                <a:cubicBezTo>
                  <a:pt x="281" y="293"/>
                  <a:pt x="281" y="293"/>
                  <a:pt x="281" y="293"/>
                </a:cubicBezTo>
                <a:cubicBezTo>
                  <a:pt x="281" y="293"/>
                  <a:pt x="281" y="293"/>
                  <a:pt x="281" y="293"/>
                </a:cubicBezTo>
                <a:cubicBezTo>
                  <a:pt x="281" y="294"/>
                  <a:pt x="281" y="294"/>
                  <a:pt x="281" y="294"/>
                </a:cubicBezTo>
                <a:cubicBezTo>
                  <a:pt x="282" y="293"/>
                  <a:pt x="282" y="293"/>
                  <a:pt x="282" y="293"/>
                </a:cubicBezTo>
                <a:cubicBezTo>
                  <a:pt x="284" y="293"/>
                  <a:pt x="284" y="293"/>
                  <a:pt x="284" y="293"/>
                </a:cubicBezTo>
                <a:cubicBezTo>
                  <a:pt x="286" y="292"/>
                  <a:pt x="286" y="292"/>
                  <a:pt x="286" y="292"/>
                </a:cubicBezTo>
                <a:cubicBezTo>
                  <a:pt x="286" y="292"/>
                  <a:pt x="286" y="292"/>
                  <a:pt x="286" y="292"/>
                </a:cubicBezTo>
                <a:cubicBezTo>
                  <a:pt x="287" y="293"/>
                  <a:pt x="287" y="293"/>
                  <a:pt x="287" y="293"/>
                </a:cubicBezTo>
                <a:cubicBezTo>
                  <a:pt x="287" y="294"/>
                  <a:pt x="287" y="294"/>
                  <a:pt x="287" y="294"/>
                </a:cubicBezTo>
                <a:cubicBezTo>
                  <a:pt x="290" y="297"/>
                  <a:pt x="290" y="297"/>
                  <a:pt x="290" y="297"/>
                </a:cubicBezTo>
                <a:cubicBezTo>
                  <a:pt x="289" y="300"/>
                  <a:pt x="289" y="300"/>
                  <a:pt x="289" y="300"/>
                </a:cubicBezTo>
                <a:cubicBezTo>
                  <a:pt x="288" y="302"/>
                  <a:pt x="288" y="302"/>
                  <a:pt x="288" y="302"/>
                </a:cubicBezTo>
                <a:cubicBezTo>
                  <a:pt x="287" y="302"/>
                  <a:pt x="287" y="302"/>
                  <a:pt x="287" y="302"/>
                </a:cubicBezTo>
                <a:cubicBezTo>
                  <a:pt x="286" y="302"/>
                  <a:pt x="286" y="302"/>
                  <a:pt x="286" y="302"/>
                </a:cubicBezTo>
                <a:cubicBezTo>
                  <a:pt x="284" y="302"/>
                  <a:pt x="284" y="302"/>
                  <a:pt x="284" y="302"/>
                </a:cubicBezTo>
                <a:cubicBezTo>
                  <a:pt x="283" y="301"/>
                  <a:pt x="283" y="301"/>
                  <a:pt x="283" y="301"/>
                </a:cubicBezTo>
                <a:cubicBezTo>
                  <a:pt x="281" y="301"/>
                  <a:pt x="281" y="301"/>
                  <a:pt x="281" y="301"/>
                </a:cubicBezTo>
                <a:cubicBezTo>
                  <a:pt x="279" y="299"/>
                  <a:pt x="279" y="299"/>
                  <a:pt x="279" y="299"/>
                </a:cubicBezTo>
                <a:cubicBezTo>
                  <a:pt x="278" y="297"/>
                  <a:pt x="278" y="297"/>
                  <a:pt x="278" y="297"/>
                </a:cubicBezTo>
                <a:cubicBezTo>
                  <a:pt x="277" y="296"/>
                  <a:pt x="277" y="296"/>
                  <a:pt x="277" y="296"/>
                </a:cubicBezTo>
                <a:cubicBezTo>
                  <a:pt x="277" y="296"/>
                  <a:pt x="277" y="296"/>
                  <a:pt x="277" y="296"/>
                </a:cubicBezTo>
                <a:cubicBezTo>
                  <a:pt x="277" y="297"/>
                  <a:pt x="277" y="297"/>
                  <a:pt x="277" y="297"/>
                </a:cubicBezTo>
                <a:cubicBezTo>
                  <a:pt x="277" y="298"/>
                  <a:pt x="277" y="298"/>
                  <a:pt x="277" y="298"/>
                </a:cubicBezTo>
                <a:cubicBezTo>
                  <a:pt x="278" y="300"/>
                  <a:pt x="278" y="300"/>
                  <a:pt x="278" y="300"/>
                </a:cubicBezTo>
                <a:cubicBezTo>
                  <a:pt x="279" y="302"/>
                  <a:pt x="279" y="302"/>
                  <a:pt x="279" y="302"/>
                </a:cubicBezTo>
                <a:cubicBezTo>
                  <a:pt x="281" y="305"/>
                  <a:pt x="281" y="305"/>
                  <a:pt x="281" y="305"/>
                </a:cubicBezTo>
                <a:cubicBezTo>
                  <a:pt x="280" y="305"/>
                  <a:pt x="280" y="305"/>
                  <a:pt x="280" y="305"/>
                </a:cubicBezTo>
                <a:cubicBezTo>
                  <a:pt x="279" y="305"/>
                  <a:pt x="279" y="305"/>
                  <a:pt x="279" y="305"/>
                </a:cubicBezTo>
                <a:cubicBezTo>
                  <a:pt x="278" y="305"/>
                  <a:pt x="278" y="305"/>
                  <a:pt x="278" y="305"/>
                </a:cubicBezTo>
                <a:cubicBezTo>
                  <a:pt x="278" y="303"/>
                  <a:pt x="278" y="303"/>
                  <a:pt x="278" y="303"/>
                </a:cubicBezTo>
                <a:cubicBezTo>
                  <a:pt x="277" y="304"/>
                  <a:pt x="277" y="304"/>
                  <a:pt x="277" y="304"/>
                </a:cubicBezTo>
                <a:cubicBezTo>
                  <a:pt x="277" y="305"/>
                  <a:pt x="277" y="305"/>
                  <a:pt x="277" y="305"/>
                </a:cubicBezTo>
                <a:cubicBezTo>
                  <a:pt x="277" y="305"/>
                  <a:pt x="277" y="305"/>
                  <a:pt x="277" y="305"/>
                </a:cubicBezTo>
                <a:cubicBezTo>
                  <a:pt x="278" y="306"/>
                  <a:pt x="278" y="306"/>
                  <a:pt x="278" y="306"/>
                </a:cubicBezTo>
                <a:cubicBezTo>
                  <a:pt x="279" y="307"/>
                  <a:pt x="279" y="307"/>
                  <a:pt x="279" y="307"/>
                </a:cubicBezTo>
                <a:cubicBezTo>
                  <a:pt x="276" y="306"/>
                  <a:pt x="276" y="306"/>
                  <a:pt x="276" y="306"/>
                </a:cubicBezTo>
                <a:cubicBezTo>
                  <a:pt x="276" y="306"/>
                  <a:pt x="276" y="306"/>
                  <a:pt x="276" y="306"/>
                </a:cubicBezTo>
                <a:cubicBezTo>
                  <a:pt x="276" y="307"/>
                  <a:pt x="276" y="307"/>
                  <a:pt x="276" y="307"/>
                </a:cubicBezTo>
                <a:cubicBezTo>
                  <a:pt x="276" y="307"/>
                  <a:pt x="276" y="307"/>
                  <a:pt x="276" y="307"/>
                </a:cubicBezTo>
                <a:cubicBezTo>
                  <a:pt x="276" y="308"/>
                  <a:pt x="276" y="308"/>
                  <a:pt x="276" y="308"/>
                </a:cubicBezTo>
                <a:cubicBezTo>
                  <a:pt x="276" y="309"/>
                  <a:pt x="276" y="309"/>
                  <a:pt x="276" y="309"/>
                </a:cubicBezTo>
                <a:cubicBezTo>
                  <a:pt x="275" y="308"/>
                  <a:pt x="275" y="308"/>
                  <a:pt x="275" y="308"/>
                </a:cubicBezTo>
                <a:cubicBezTo>
                  <a:pt x="275" y="308"/>
                  <a:pt x="275" y="308"/>
                  <a:pt x="275" y="308"/>
                </a:cubicBezTo>
                <a:cubicBezTo>
                  <a:pt x="275" y="308"/>
                  <a:pt x="275" y="308"/>
                  <a:pt x="275" y="308"/>
                </a:cubicBezTo>
                <a:cubicBezTo>
                  <a:pt x="275" y="309"/>
                  <a:pt x="275" y="309"/>
                  <a:pt x="275" y="309"/>
                </a:cubicBezTo>
                <a:cubicBezTo>
                  <a:pt x="274" y="309"/>
                  <a:pt x="274" y="309"/>
                  <a:pt x="274" y="309"/>
                </a:cubicBezTo>
                <a:cubicBezTo>
                  <a:pt x="273" y="309"/>
                  <a:pt x="273" y="309"/>
                  <a:pt x="273" y="309"/>
                </a:cubicBezTo>
                <a:cubicBezTo>
                  <a:pt x="272" y="310"/>
                  <a:pt x="272" y="310"/>
                  <a:pt x="272" y="310"/>
                </a:cubicBezTo>
                <a:cubicBezTo>
                  <a:pt x="270" y="310"/>
                  <a:pt x="270" y="310"/>
                  <a:pt x="270" y="310"/>
                </a:cubicBezTo>
                <a:cubicBezTo>
                  <a:pt x="271" y="311"/>
                  <a:pt x="271" y="311"/>
                  <a:pt x="271" y="311"/>
                </a:cubicBezTo>
                <a:cubicBezTo>
                  <a:pt x="272" y="312"/>
                  <a:pt x="272" y="312"/>
                  <a:pt x="272" y="312"/>
                </a:cubicBezTo>
                <a:cubicBezTo>
                  <a:pt x="271" y="312"/>
                  <a:pt x="271" y="312"/>
                  <a:pt x="271" y="312"/>
                </a:cubicBezTo>
                <a:cubicBezTo>
                  <a:pt x="271" y="312"/>
                  <a:pt x="271" y="312"/>
                  <a:pt x="271" y="312"/>
                </a:cubicBezTo>
                <a:cubicBezTo>
                  <a:pt x="269" y="311"/>
                  <a:pt x="269" y="311"/>
                  <a:pt x="269" y="311"/>
                </a:cubicBezTo>
                <a:cubicBezTo>
                  <a:pt x="268" y="310"/>
                  <a:pt x="268" y="310"/>
                  <a:pt x="268" y="310"/>
                </a:cubicBezTo>
                <a:cubicBezTo>
                  <a:pt x="268" y="311"/>
                  <a:pt x="268" y="311"/>
                  <a:pt x="268" y="311"/>
                </a:cubicBezTo>
                <a:cubicBezTo>
                  <a:pt x="268" y="312"/>
                  <a:pt x="268" y="312"/>
                  <a:pt x="268" y="312"/>
                </a:cubicBezTo>
                <a:cubicBezTo>
                  <a:pt x="269" y="313"/>
                  <a:pt x="269" y="313"/>
                  <a:pt x="269" y="313"/>
                </a:cubicBezTo>
                <a:cubicBezTo>
                  <a:pt x="269" y="313"/>
                  <a:pt x="269" y="313"/>
                  <a:pt x="269" y="313"/>
                </a:cubicBezTo>
                <a:cubicBezTo>
                  <a:pt x="269" y="314"/>
                  <a:pt x="269" y="314"/>
                  <a:pt x="269" y="314"/>
                </a:cubicBezTo>
                <a:cubicBezTo>
                  <a:pt x="267" y="314"/>
                  <a:pt x="267" y="314"/>
                  <a:pt x="267" y="314"/>
                </a:cubicBezTo>
                <a:cubicBezTo>
                  <a:pt x="266" y="316"/>
                  <a:pt x="266" y="316"/>
                  <a:pt x="266" y="316"/>
                </a:cubicBezTo>
                <a:cubicBezTo>
                  <a:pt x="265" y="316"/>
                  <a:pt x="265" y="316"/>
                  <a:pt x="265" y="316"/>
                </a:cubicBezTo>
                <a:cubicBezTo>
                  <a:pt x="266" y="317"/>
                  <a:pt x="266" y="317"/>
                  <a:pt x="266" y="317"/>
                </a:cubicBezTo>
                <a:cubicBezTo>
                  <a:pt x="265" y="318"/>
                  <a:pt x="265" y="318"/>
                  <a:pt x="265" y="318"/>
                </a:cubicBezTo>
                <a:cubicBezTo>
                  <a:pt x="264" y="318"/>
                  <a:pt x="264" y="318"/>
                  <a:pt x="264" y="318"/>
                </a:cubicBezTo>
                <a:cubicBezTo>
                  <a:pt x="264" y="319"/>
                  <a:pt x="264" y="319"/>
                  <a:pt x="264" y="319"/>
                </a:cubicBezTo>
                <a:cubicBezTo>
                  <a:pt x="264" y="320"/>
                  <a:pt x="264" y="320"/>
                  <a:pt x="264" y="320"/>
                </a:cubicBezTo>
                <a:cubicBezTo>
                  <a:pt x="263" y="320"/>
                  <a:pt x="263" y="320"/>
                  <a:pt x="263" y="320"/>
                </a:cubicBezTo>
                <a:cubicBezTo>
                  <a:pt x="261" y="323"/>
                  <a:pt x="261" y="323"/>
                  <a:pt x="261" y="323"/>
                </a:cubicBezTo>
                <a:cubicBezTo>
                  <a:pt x="260" y="323"/>
                  <a:pt x="260" y="323"/>
                  <a:pt x="260" y="323"/>
                </a:cubicBezTo>
                <a:cubicBezTo>
                  <a:pt x="260" y="324"/>
                  <a:pt x="260" y="324"/>
                  <a:pt x="260" y="324"/>
                </a:cubicBezTo>
                <a:cubicBezTo>
                  <a:pt x="258" y="325"/>
                  <a:pt x="258" y="325"/>
                  <a:pt x="258" y="325"/>
                </a:cubicBezTo>
                <a:cubicBezTo>
                  <a:pt x="257" y="324"/>
                  <a:pt x="257" y="324"/>
                  <a:pt x="257" y="324"/>
                </a:cubicBezTo>
                <a:cubicBezTo>
                  <a:pt x="257" y="325"/>
                  <a:pt x="257" y="325"/>
                  <a:pt x="257" y="325"/>
                </a:cubicBezTo>
                <a:cubicBezTo>
                  <a:pt x="257" y="326"/>
                  <a:pt x="257" y="326"/>
                  <a:pt x="257" y="326"/>
                </a:cubicBezTo>
                <a:cubicBezTo>
                  <a:pt x="256" y="328"/>
                  <a:pt x="256" y="328"/>
                  <a:pt x="256" y="328"/>
                </a:cubicBezTo>
                <a:cubicBezTo>
                  <a:pt x="256" y="330"/>
                  <a:pt x="256" y="330"/>
                  <a:pt x="256" y="330"/>
                </a:cubicBezTo>
                <a:cubicBezTo>
                  <a:pt x="255" y="331"/>
                  <a:pt x="255" y="331"/>
                  <a:pt x="255" y="331"/>
                </a:cubicBezTo>
                <a:cubicBezTo>
                  <a:pt x="255" y="333"/>
                  <a:pt x="255" y="333"/>
                  <a:pt x="255" y="333"/>
                </a:cubicBezTo>
                <a:cubicBezTo>
                  <a:pt x="254" y="333"/>
                  <a:pt x="254" y="333"/>
                  <a:pt x="254" y="333"/>
                </a:cubicBezTo>
                <a:cubicBezTo>
                  <a:pt x="253" y="336"/>
                  <a:pt x="253" y="336"/>
                  <a:pt x="253" y="336"/>
                </a:cubicBezTo>
                <a:cubicBezTo>
                  <a:pt x="253" y="336"/>
                  <a:pt x="253" y="336"/>
                  <a:pt x="253" y="336"/>
                </a:cubicBezTo>
                <a:cubicBezTo>
                  <a:pt x="253" y="338"/>
                  <a:pt x="253" y="338"/>
                  <a:pt x="253" y="338"/>
                </a:cubicBezTo>
                <a:cubicBezTo>
                  <a:pt x="252" y="340"/>
                  <a:pt x="252" y="340"/>
                  <a:pt x="252" y="340"/>
                </a:cubicBezTo>
                <a:cubicBezTo>
                  <a:pt x="252" y="341"/>
                  <a:pt x="252" y="341"/>
                  <a:pt x="252" y="341"/>
                </a:cubicBezTo>
                <a:cubicBezTo>
                  <a:pt x="250" y="341"/>
                  <a:pt x="250" y="341"/>
                  <a:pt x="250" y="341"/>
                </a:cubicBezTo>
                <a:cubicBezTo>
                  <a:pt x="250" y="342"/>
                  <a:pt x="250" y="342"/>
                  <a:pt x="250" y="342"/>
                </a:cubicBezTo>
                <a:cubicBezTo>
                  <a:pt x="251" y="342"/>
                  <a:pt x="251" y="342"/>
                  <a:pt x="251" y="342"/>
                </a:cubicBezTo>
                <a:cubicBezTo>
                  <a:pt x="252" y="343"/>
                  <a:pt x="252" y="343"/>
                  <a:pt x="252" y="343"/>
                </a:cubicBezTo>
                <a:cubicBezTo>
                  <a:pt x="251" y="344"/>
                  <a:pt x="251" y="344"/>
                  <a:pt x="251" y="344"/>
                </a:cubicBezTo>
                <a:cubicBezTo>
                  <a:pt x="252" y="345"/>
                  <a:pt x="252" y="345"/>
                  <a:pt x="252" y="345"/>
                </a:cubicBezTo>
                <a:cubicBezTo>
                  <a:pt x="252" y="347"/>
                  <a:pt x="252" y="347"/>
                  <a:pt x="252" y="347"/>
                </a:cubicBezTo>
                <a:cubicBezTo>
                  <a:pt x="252" y="347"/>
                  <a:pt x="252" y="347"/>
                  <a:pt x="252" y="347"/>
                </a:cubicBezTo>
                <a:cubicBezTo>
                  <a:pt x="251" y="350"/>
                  <a:pt x="251" y="350"/>
                  <a:pt x="251" y="350"/>
                </a:cubicBezTo>
                <a:cubicBezTo>
                  <a:pt x="249" y="352"/>
                  <a:pt x="249" y="352"/>
                  <a:pt x="249" y="352"/>
                </a:cubicBezTo>
                <a:cubicBezTo>
                  <a:pt x="246" y="352"/>
                  <a:pt x="246" y="352"/>
                  <a:pt x="246" y="352"/>
                </a:cubicBezTo>
                <a:cubicBezTo>
                  <a:pt x="246" y="354"/>
                  <a:pt x="246" y="354"/>
                  <a:pt x="246" y="354"/>
                </a:cubicBezTo>
                <a:cubicBezTo>
                  <a:pt x="247" y="352"/>
                  <a:pt x="247" y="352"/>
                  <a:pt x="247" y="352"/>
                </a:cubicBezTo>
                <a:cubicBezTo>
                  <a:pt x="250" y="352"/>
                  <a:pt x="250" y="352"/>
                  <a:pt x="250" y="352"/>
                </a:cubicBezTo>
                <a:cubicBezTo>
                  <a:pt x="252" y="349"/>
                  <a:pt x="252" y="349"/>
                  <a:pt x="252" y="349"/>
                </a:cubicBezTo>
                <a:cubicBezTo>
                  <a:pt x="254" y="346"/>
                  <a:pt x="254" y="346"/>
                  <a:pt x="254" y="346"/>
                </a:cubicBezTo>
                <a:cubicBezTo>
                  <a:pt x="258" y="346"/>
                  <a:pt x="258" y="346"/>
                  <a:pt x="258" y="346"/>
                </a:cubicBezTo>
                <a:cubicBezTo>
                  <a:pt x="259" y="346"/>
                  <a:pt x="259" y="346"/>
                  <a:pt x="259" y="346"/>
                </a:cubicBezTo>
                <a:cubicBezTo>
                  <a:pt x="259" y="348"/>
                  <a:pt x="259" y="348"/>
                  <a:pt x="259" y="348"/>
                </a:cubicBezTo>
                <a:cubicBezTo>
                  <a:pt x="258" y="349"/>
                  <a:pt x="258" y="349"/>
                  <a:pt x="258" y="349"/>
                </a:cubicBezTo>
                <a:cubicBezTo>
                  <a:pt x="258" y="350"/>
                  <a:pt x="258" y="350"/>
                  <a:pt x="258" y="350"/>
                </a:cubicBezTo>
                <a:cubicBezTo>
                  <a:pt x="259" y="352"/>
                  <a:pt x="259" y="352"/>
                  <a:pt x="259" y="352"/>
                </a:cubicBezTo>
                <a:cubicBezTo>
                  <a:pt x="259" y="355"/>
                  <a:pt x="259" y="355"/>
                  <a:pt x="259" y="355"/>
                </a:cubicBezTo>
                <a:cubicBezTo>
                  <a:pt x="258" y="357"/>
                  <a:pt x="258" y="357"/>
                  <a:pt x="258" y="357"/>
                </a:cubicBezTo>
                <a:cubicBezTo>
                  <a:pt x="259" y="358"/>
                  <a:pt x="259" y="358"/>
                  <a:pt x="259" y="358"/>
                </a:cubicBezTo>
                <a:cubicBezTo>
                  <a:pt x="259" y="361"/>
                  <a:pt x="259" y="361"/>
                  <a:pt x="259" y="361"/>
                </a:cubicBezTo>
                <a:cubicBezTo>
                  <a:pt x="259" y="362"/>
                  <a:pt x="259" y="362"/>
                  <a:pt x="259" y="362"/>
                </a:cubicBezTo>
                <a:cubicBezTo>
                  <a:pt x="255" y="366"/>
                  <a:pt x="255" y="366"/>
                  <a:pt x="255" y="366"/>
                </a:cubicBezTo>
                <a:cubicBezTo>
                  <a:pt x="253" y="366"/>
                  <a:pt x="253" y="366"/>
                  <a:pt x="253" y="366"/>
                </a:cubicBezTo>
                <a:cubicBezTo>
                  <a:pt x="252" y="366"/>
                  <a:pt x="252" y="366"/>
                  <a:pt x="252" y="366"/>
                </a:cubicBezTo>
                <a:cubicBezTo>
                  <a:pt x="253" y="367"/>
                  <a:pt x="253" y="367"/>
                  <a:pt x="253" y="367"/>
                </a:cubicBezTo>
                <a:cubicBezTo>
                  <a:pt x="255" y="367"/>
                  <a:pt x="255" y="367"/>
                  <a:pt x="255" y="367"/>
                </a:cubicBezTo>
                <a:cubicBezTo>
                  <a:pt x="259" y="365"/>
                  <a:pt x="259" y="365"/>
                  <a:pt x="259" y="365"/>
                </a:cubicBezTo>
                <a:cubicBezTo>
                  <a:pt x="264" y="364"/>
                  <a:pt x="264" y="364"/>
                  <a:pt x="264" y="364"/>
                </a:cubicBezTo>
                <a:cubicBezTo>
                  <a:pt x="266" y="363"/>
                  <a:pt x="266" y="363"/>
                  <a:pt x="266" y="363"/>
                </a:cubicBezTo>
                <a:cubicBezTo>
                  <a:pt x="269" y="365"/>
                  <a:pt x="269" y="365"/>
                  <a:pt x="269" y="365"/>
                </a:cubicBezTo>
                <a:cubicBezTo>
                  <a:pt x="271" y="367"/>
                  <a:pt x="271" y="367"/>
                  <a:pt x="271" y="367"/>
                </a:cubicBezTo>
                <a:cubicBezTo>
                  <a:pt x="273" y="368"/>
                  <a:pt x="273" y="368"/>
                  <a:pt x="273" y="368"/>
                </a:cubicBezTo>
                <a:cubicBezTo>
                  <a:pt x="274" y="368"/>
                  <a:pt x="274" y="368"/>
                  <a:pt x="274" y="368"/>
                </a:cubicBezTo>
                <a:cubicBezTo>
                  <a:pt x="275" y="369"/>
                  <a:pt x="275" y="369"/>
                  <a:pt x="275" y="369"/>
                </a:cubicBezTo>
                <a:cubicBezTo>
                  <a:pt x="277" y="371"/>
                  <a:pt x="277" y="371"/>
                  <a:pt x="277" y="371"/>
                </a:cubicBezTo>
                <a:cubicBezTo>
                  <a:pt x="278" y="371"/>
                  <a:pt x="278" y="371"/>
                  <a:pt x="278" y="371"/>
                </a:cubicBezTo>
                <a:cubicBezTo>
                  <a:pt x="279" y="373"/>
                  <a:pt x="279" y="373"/>
                  <a:pt x="279" y="373"/>
                </a:cubicBezTo>
                <a:cubicBezTo>
                  <a:pt x="280" y="374"/>
                  <a:pt x="280" y="374"/>
                  <a:pt x="280" y="374"/>
                </a:cubicBezTo>
                <a:cubicBezTo>
                  <a:pt x="280" y="375"/>
                  <a:pt x="280" y="375"/>
                  <a:pt x="280" y="375"/>
                </a:cubicBezTo>
                <a:cubicBezTo>
                  <a:pt x="281" y="376"/>
                  <a:pt x="281" y="376"/>
                  <a:pt x="281" y="376"/>
                </a:cubicBezTo>
                <a:cubicBezTo>
                  <a:pt x="282" y="378"/>
                  <a:pt x="282" y="378"/>
                  <a:pt x="282" y="378"/>
                </a:cubicBezTo>
                <a:cubicBezTo>
                  <a:pt x="282" y="378"/>
                  <a:pt x="282" y="378"/>
                  <a:pt x="282" y="378"/>
                </a:cubicBezTo>
                <a:cubicBezTo>
                  <a:pt x="283" y="378"/>
                  <a:pt x="283" y="378"/>
                  <a:pt x="283" y="378"/>
                </a:cubicBezTo>
                <a:cubicBezTo>
                  <a:pt x="283" y="379"/>
                  <a:pt x="283" y="379"/>
                  <a:pt x="283" y="379"/>
                </a:cubicBezTo>
                <a:cubicBezTo>
                  <a:pt x="286" y="380"/>
                  <a:pt x="286" y="380"/>
                  <a:pt x="286" y="380"/>
                </a:cubicBezTo>
                <a:cubicBezTo>
                  <a:pt x="287" y="381"/>
                  <a:pt x="287" y="381"/>
                  <a:pt x="287" y="381"/>
                </a:cubicBezTo>
                <a:cubicBezTo>
                  <a:pt x="289" y="382"/>
                  <a:pt x="289" y="382"/>
                  <a:pt x="289" y="382"/>
                </a:cubicBezTo>
                <a:cubicBezTo>
                  <a:pt x="290" y="382"/>
                  <a:pt x="290" y="382"/>
                  <a:pt x="290" y="382"/>
                </a:cubicBezTo>
                <a:cubicBezTo>
                  <a:pt x="292" y="384"/>
                  <a:pt x="292" y="384"/>
                  <a:pt x="292" y="384"/>
                </a:cubicBezTo>
                <a:cubicBezTo>
                  <a:pt x="292" y="385"/>
                  <a:pt x="292" y="385"/>
                  <a:pt x="292" y="385"/>
                </a:cubicBezTo>
                <a:cubicBezTo>
                  <a:pt x="294" y="387"/>
                  <a:pt x="294" y="387"/>
                  <a:pt x="294" y="387"/>
                </a:cubicBezTo>
                <a:cubicBezTo>
                  <a:pt x="293" y="387"/>
                  <a:pt x="293" y="387"/>
                  <a:pt x="293" y="387"/>
                </a:cubicBezTo>
                <a:cubicBezTo>
                  <a:pt x="294" y="388"/>
                  <a:pt x="294" y="388"/>
                  <a:pt x="294" y="388"/>
                </a:cubicBezTo>
                <a:cubicBezTo>
                  <a:pt x="296" y="388"/>
                  <a:pt x="296" y="388"/>
                  <a:pt x="296" y="388"/>
                </a:cubicBezTo>
                <a:cubicBezTo>
                  <a:pt x="296" y="388"/>
                  <a:pt x="296" y="388"/>
                  <a:pt x="296" y="388"/>
                </a:cubicBezTo>
                <a:cubicBezTo>
                  <a:pt x="298" y="388"/>
                  <a:pt x="298" y="388"/>
                  <a:pt x="298" y="388"/>
                </a:cubicBezTo>
                <a:cubicBezTo>
                  <a:pt x="301" y="388"/>
                  <a:pt x="301" y="388"/>
                  <a:pt x="301" y="388"/>
                </a:cubicBezTo>
                <a:cubicBezTo>
                  <a:pt x="301" y="388"/>
                  <a:pt x="301" y="388"/>
                  <a:pt x="301" y="388"/>
                </a:cubicBezTo>
                <a:cubicBezTo>
                  <a:pt x="302" y="388"/>
                  <a:pt x="302" y="388"/>
                  <a:pt x="302" y="388"/>
                </a:cubicBezTo>
                <a:cubicBezTo>
                  <a:pt x="304" y="389"/>
                  <a:pt x="304" y="389"/>
                  <a:pt x="304" y="389"/>
                </a:cubicBezTo>
                <a:cubicBezTo>
                  <a:pt x="306" y="389"/>
                  <a:pt x="306" y="389"/>
                  <a:pt x="306" y="389"/>
                </a:cubicBezTo>
                <a:cubicBezTo>
                  <a:pt x="307" y="389"/>
                  <a:pt x="307" y="389"/>
                  <a:pt x="307" y="389"/>
                </a:cubicBezTo>
                <a:cubicBezTo>
                  <a:pt x="308" y="389"/>
                  <a:pt x="308" y="389"/>
                  <a:pt x="308" y="389"/>
                </a:cubicBezTo>
                <a:cubicBezTo>
                  <a:pt x="308" y="389"/>
                  <a:pt x="308" y="389"/>
                  <a:pt x="308" y="389"/>
                </a:cubicBezTo>
                <a:cubicBezTo>
                  <a:pt x="309" y="389"/>
                  <a:pt x="309" y="389"/>
                  <a:pt x="309" y="389"/>
                </a:cubicBezTo>
                <a:cubicBezTo>
                  <a:pt x="309" y="389"/>
                  <a:pt x="309" y="389"/>
                  <a:pt x="309" y="389"/>
                </a:cubicBezTo>
                <a:cubicBezTo>
                  <a:pt x="309" y="391"/>
                  <a:pt x="309" y="391"/>
                  <a:pt x="309" y="391"/>
                </a:cubicBezTo>
                <a:cubicBezTo>
                  <a:pt x="308" y="394"/>
                  <a:pt x="308" y="394"/>
                  <a:pt x="308" y="394"/>
                </a:cubicBezTo>
                <a:cubicBezTo>
                  <a:pt x="308" y="395"/>
                  <a:pt x="308" y="395"/>
                  <a:pt x="308" y="395"/>
                </a:cubicBezTo>
                <a:cubicBezTo>
                  <a:pt x="307" y="396"/>
                  <a:pt x="307" y="396"/>
                  <a:pt x="307" y="396"/>
                </a:cubicBezTo>
                <a:cubicBezTo>
                  <a:pt x="306" y="398"/>
                  <a:pt x="306" y="398"/>
                  <a:pt x="306" y="398"/>
                </a:cubicBezTo>
                <a:cubicBezTo>
                  <a:pt x="306" y="399"/>
                  <a:pt x="306" y="399"/>
                  <a:pt x="306" y="399"/>
                </a:cubicBezTo>
                <a:cubicBezTo>
                  <a:pt x="307" y="400"/>
                  <a:pt x="307" y="400"/>
                  <a:pt x="307" y="400"/>
                </a:cubicBezTo>
                <a:cubicBezTo>
                  <a:pt x="307" y="402"/>
                  <a:pt x="307" y="402"/>
                  <a:pt x="307" y="402"/>
                </a:cubicBezTo>
                <a:cubicBezTo>
                  <a:pt x="305" y="405"/>
                  <a:pt x="305" y="405"/>
                  <a:pt x="305" y="405"/>
                </a:cubicBezTo>
                <a:cubicBezTo>
                  <a:pt x="305" y="406"/>
                  <a:pt x="305" y="406"/>
                  <a:pt x="305" y="406"/>
                </a:cubicBezTo>
                <a:cubicBezTo>
                  <a:pt x="305" y="408"/>
                  <a:pt x="305" y="408"/>
                  <a:pt x="305" y="408"/>
                </a:cubicBezTo>
                <a:cubicBezTo>
                  <a:pt x="303" y="409"/>
                  <a:pt x="303" y="409"/>
                  <a:pt x="303" y="409"/>
                </a:cubicBezTo>
                <a:cubicBezTo>
                  <a:pt x="303" y="411"/>
                  <a:pt x="303" y="411"/>
                  <a:pt x="303" y="411"/>
                </a:cubicBezTo>
                <a:cubicBezTo>
                  <a:pt x="303" y="412"/>
                  <a:pt x="303" y="412"/>
                  <a:pt x="303" y="412"/>
                </a:cubicBezTo>
                <a:cubicBezTo>
                  <a:pt x="304" y="413"/>
                  <a:pt x="304" y="413"/>
                  <a:pt x="304" y="413"/>
                </a:cubicBezTo>
                <a:cubicBezTo>
                  <a:pt x="304" y="415"/>
                  <a:pt x="304" y="415"/>
                  <a:pt x="304" y="415"/>
                </a:cubicBezTo>
                <a:cubicBezTo>
                  <a:pt x="305" y="415"/>
                  <a:pt x="305" y="415"/>
                  <a:pt x="305" y="415"/>
                </a:cubicBezTo>
                <a:cubicBezTo>
                  <a:pt x="306" y="416"/>
                  <a:pt x="306" y="416"/>
                  <a:pt x="306" y="416"/>
                </a:cubicBezTo>
                <a:cubicBezTo>
                  <a:pt x="306" y="417"/>
                  <a:pt x="306" y="417"/>
                  <a:pt x="306" y="417"/>
                </a:cubicBezTo>
                <a:cubicBezTo>
                  <a:pt x="306" y="418"/>
                  <a:pt x="306" y="418"/>
                  <a:pt x="306" y="418"/>
                </a:cubicBezTo>
                <a:cubicBezTo>
                  <a:pt x="306" y="419"/>
                  <a:pt x="306" y="419"/>
                  <a:pt x="306" y="419"/>
                </a:cubicBezTo>
                <a:cubicBezTo>
                  <a:pt x="307" y="419"/>
                  <a:pt x="307" y="419"/>
                  <a:pt x="307" y="419"/>
                </a:cubicBezTo>
                <a:cubicBezTo>
                  <a:pt x="309" y="420"/>
                  <a:pt x="309" y="420"/>
                  <a:pt x="309" y="420"/>
                </a:cubicBezTo>
                <a:cubicBezTo>
                  <a:pt x="309" y="420"/>
                  <a:pt x="309" y="420"/>
                  <a:pt x="309" y="420"/>
                </a:cubicBezTo>
                <a:cubicBezTo>
                  <a:pt x="309" y="421"/>
                  <a:pt x="309" y="421"/>
                  <a:pt x="309" y="421"/>
                </a:cubicBezTo>
                <a:cubicBezTo>
                  <a:pt x="310" y="422"/>
                  <a:pt x="310" y="422"/>
                  <a:pt x="310" y="422"/>
                </a:cubicBezTo>
                <a:cubicBezTo>
                  <a:pt x="310" y="424"/>
                  <a:pt x="310" y="424"/>
                  <a:pt x="310" y="424"/>
                </a:cubicBezTo>
                <a:cubicBezTo>
                  <a:pt x="310" y="425"/>
                  <a:pt x="310" y="425"/>
                  <a:pt x="310" y="425"/>
                </a:cubicBezTo>
                <a:cubicBezTo>
                  <a:pt x="310" y="426"/>
                  <a:pt x="310" y="426"/>
                  <a:pt x="310" y="426"/>
                </a:cubicBezTo>
                <a:cubicBezTo>
                  <a:pt x="308" y="429"/>
                  <a:pt x="308" y="429"/>
                  <a:pt x="308" y="429"/>
                </a:cubicBezTo>
                <a:cubicBezTo>
                  <a:pt x="309" y="428"/>
                  <a:pt x="309" y="428"/>
                  <a:pt x="309" y="428"/>
                </a:cubicBezTo>
                <a:cubicBezTo>
                  <a:pt x="311" y="427"/>
                  <a:pt x="311" y="427"/>
                  <a:pt x="311" y="427"/>
                </a:cubicBezTo>
                <a:cubicBezTo>
                  <a:pt x="313" y="427"/>
                  <a:pt x="313" y="427"/>
                  <a:pt x="313" y="427"/>
                </a:cubicBezTo>
                <a:cubicBezTo>
                  <a:pt x="314" y="428"/>
                  <a:pt x="314" y="428"/>
                  <a:pt x="314" y="428"/>
                </a:cubicBezTo>
                <a:cubicBezTo>
                  <a:pt x="315" y="428"/>
                  <a:pt x="315" y="428"/>
                  <a:pt x="315" y="428"/>
                </a:cubicBezTo>
                <a:cubicBezTo>
                  <a:pt x="315" y="427"/>
                  <a:pt x="315" y="427"/>
                  <a:pt x="315" y="427"/>
                </a:cubicBezTo>
                <a:cubicBezTo>
                  <a:pt x="315" y="426"/>
                  <a:pt x="315" y="426"/>
                  <a:pt x="315" y="426"/>
                </a:cubicBezTo>
                <a:cubicBezTo>
                  <a:pt x="317" y="423"/>
                  <a:pt x="317" y="423"/>
                  <a:pt x="317" y="423"/>
                </a:cubicBezTo>
                <a:cubicBezTo>
                  <a:pt x="318" y="423"/>
                  <a:pt x="318" y="423"/>
                  <a:pt x="318" y="423"/>
                </a:cubicBezTo>
                <a:cubicBezTo>
                  <a:pt x="317" y="424"/>
                  <a:pt x="317" y="424"/>
                  <a:pt x="317" y="424"/>
                </a:cubicBezTo>
                <a:cubicBezTo>
                  <a:pt x="318" y="425"/>
                  <a:pt x="318" y="425"/>
                  <a:pt x="318" y="425"/>
                </a:cubicBezTo>
                <a:cubicBezTo>
                  <a:pt x="318" y="425"/>
                  <a:pt x="318" y="425"/>
                  <a:pt x="318" y="425"/>
                </a:cubicBezTo>
                <a:cubicBezTo>
                  <a:pt x="319" y="428"/>
                  <a:pt x="319" y="428"/>
                  <a:pt x="319" y="428"/>
                </a:cubicBezTo>
                <a:cubicBezTo>
                  <a:pt x="318" y="429"/>
                  <a:pt x="318" y="429"/>
                  <a:pt x="318" y="429"/>
                </a:cubicBezTo>
                <a:cubicBezTo>
                  <a:pt x="320" y="430"/>
                  <a:pt x="320" y="430"/>
                  <a:pt x="320" y="430"/>
                </a:cubicBezTo>
                <a:cubicBezTo>
                  <a:pt x="322" y="431"/>
                  <a:pt x="322" y="431"/>
                  <a:pt x="322" y="431"/>
                </a:cubicBezTo>
                <a:cubicBezTo>
                  <a:pt x="321" y="430"/>
                  <a:pt x="321" y="430"/>
                  <a:pt x="321" y="430"/>
                </a:cubicBezTo>
                <a:cubicBezTo>
                  <a:pt x="320" y="429"/>
                  <a:pt x="320" y="429"/>
                  <a:pt x="320" y="429"/>
                </a:cubicBezTo>
                <a:cubicBezTo>
                  <a:pt x="319" y="427"/>
                  <a:pt x="319" y="427"/>
                  <a:pt x="319" y="427"/>
                </a:cubicBezTo>
                <a:cubicBezTo>
                  <a:pt x="320" y="425"/>
                  <a:pt x="320" y="425"/>
                  <a:pt x="320" y="425"/>
                </a:cubicBezTo>
                <a:cubicBezTo>
                  <a:pt x="320" y="424"/>
                  <a:pt x="320" y="424"/>
                  <a:pt x="320" y="424"/>
                </a:cubicBezTo>
                <a:cubicBezTo>
                  <a:pt x="320" y="424"/>
                  <a:pt x="320" y="424"/>
                  <a:pt x="320" y="424"/>
                </a:cubicBezTo>
                <a:cubicBezTo>
                  <a:pt x="320" y="422"/>
                  <a:pt x="320" y="422"/>
                  <a:pt x="320" y="422"/>
                </a:cubicBezTo>
                <a:cubicBezTo>
                  <a:pt x="320" y="423"/>
                  <a:pt x="320" y="423"/>
                  <a:pt x="320" y="423"/>
                </a:cubicBezTo>
                <a:cubicBezTo>
                  <a:pt x="321" y="423"/>
                  <a:pt x="321" y="423"/>
                  <a:pt x="321" y="423"/>
                </a:cubicBezTo>
                <a:cubicBezTo>
                  <a:pt x="321" y="421"/>
                  <a:pt x="321" y="421"/>
                  <a:pt x="321" y="421"/>
                </a:cubicBezTo>
                <a:cubicBezTo>
                  <a:pt x="323" y="419"/>
                  <a:pt x="323" y="419"/>
                  <a:pt x="323" y="419"/>
                </a:cubicBezTo>
                <a:cubicBezTo>
                  <a:pt x="322" y="419"/>
                  <a:pt x="322" y="419"/>
                  <a:pt x="322" y="419"/>
                </a:cubicBezTo>
                <a:cubicBezTo>
                  <a:pt x="322" y="417"/>
                  <a:pt x="322" y="417"/>
                  <a:pt x="322" y="417"/>
                </a:cubicBezTo>
                <a:cubicBezTo>
                  <a:pt x="322" y="416"/>
                  <a:pt x="322" y="416"/>
                  <a:pt x="322" y="416"/>
                </a:cubicBezTo>
                <a:cubicBezTo>
                  <a:pt x="322" y="415"/>
                  <a:pt x="322" y="415"/>
                  <a:pt x="322" y="415"/>
                </a:cubicBezTo>
                <a:cubicBezTo>
                  <a:pt x="323" y="414"/>
                  <a:pt x="323" y="414"/>
                  <a:pt x="323" y="414"/>
                </a:cubicBezTo>
                <a:cubicBezTo>
                  <a:pt x="322" y="413"/>
                  <a:pt x="322" y="413"/>
                  <a:pt x="322" y="413"/>
                </a:cubicBezTo>
                <a:cubicBezTo>
                  <a:pt x="322" y="412"/>
                  <a:pt x="322" y="412"/>
                  <a:pt x="322" y="412"/>
                </a:cubicBezTo>
                <a:cubicBezTo>
                  <a:pt x="322" y="412"/>
                  <a:pt x="322" y="412"/>
                  <a:pt x="322" y="412"/>
                </a:cubicBezTo>
                <a:cubicBezTo>
                  <a:pt x="321" y="411"/>
                  <a:pt x="321" y="411"/>
                  <a:pt x="321" y="411"/>
                </a:cubicBezTo>
                <a:cubicBezTo>
                  <a:pt x="322" y="408"/>
                  <a:pt x="322" y="408"/>
                  <a:pt x="322" y="408"/>
                </a:cubicBezTo>
                <a:cubicBezTo>
                  <a:pt x="322" y="407"/>
                  <a:pt x="322" y="407"/>
                  <a:pt x="322" y="407"/>
                </a:cubicBezTo>
                <a:cubicBezTo>
                  <a:pt x="322" y="405"/>
                  <a:pt x="322" y="405"/>
                  <a:pt x="322" y="405"/>
                </a:cubicBezTo>
                <a:cubicBezTo>
                  <a:pt x="323" y="404"/>
                  <a:pt x="323" y="404"/>
                  <a:pt x="323" y="404"/>
                </a:cubicBezTo>
                <a:cubicBezTo>
                  <a:pt x="323" y="403"/>
                  <a:pt x="323" y="403"/>
                  <a:pt x="323" y="403"/>
                </a:cubicBezTo>
                <a:cubicBezTo>
                  <a:pt x="323" y="403"/>
                  <a:pt x="323" y="403"/>
                  <a:pt x="323" y="403"/>
                </a:cubicBezTo>
                <a:cubicBezTo>
                  <a:pt x="323" y="402"/>
                  <a:pt x="323" y="402"/>
                  <a:pt x="323" y="402"/>
                </a:cubicBezTo>
                <a:cubicBezTo>
                  <a:pt x="324" y="401"/>
                  <a:pt x="324" y="401"/>
                  <a:pt x="324" y="401"/>
                </a:cubicBezTo>
                <a:cubicBezTo>
                  <a:pt x="323" y="401"/>
                  <a:pt x="323" y="401"/>
                  <a:pt x="323" y="401"/>
                </a:cubicBezTo>
                <a:cubicBezTo>
                  <a:pt x="323" y="400"/>
                  <a:pt x="323" y="400"/>
                  <a:pt x="323" y="400"/>
                </a:cubicBezTo>
                <a:cubicBezTo>
                  <a:pt x="323" y="400"/>
                  <a:pt x="323" y="400"/>
                  <a:pt x="323" y="400"/>
                </a:cubicBezTo>
                <a:cubicBezTo>
                  <a:pt x="323" y="399"/>
                  <a:pt x="323" y="399"/>
                  <a:pt x="323" y="399"/>
                </a:cubicBezTo>
                <a:cubicBezTo>
                  <a:pt x="323" y="398"/>
                  <a:pt x="323" y="398"/>
                  <a:pt x="323" y="398"/>
                </a:cubicBezTo>
                <a:cubicBezTo>
                  <a:pt x="322" y="397"/>
                  <a:pt x="322" y="397"/>
                  <a:pt x="322" y="397"/>
                </a:cubicBezTo>
                <a:cubicBezTo>
                  <a:pt x="322" y="395"/>
                  <a:pt x="322" y="395"/>
                  <a:pt x="322" y="395"/>
                </a:cubicBezTo>
                <a:cubicBezTo>
                  <a:pt x="322" y="395"/>
                  <a:pt x="322" y="395"/>
                  <a:pt x="322" y="395"/>
                </a:cubicBezTo>
                <a:cubicBezTo>
                  <a:pt x="323" y="394"/>
                  <a:pt x="323" y="394"/>
                  <a:pt x="323" y="394"/>
                </a:cubicBezTo>
                <a:cubicBezTo>
                  <a:pt x="326" y="394"/>
                  <a:pt x="326" y="394"/>
                  <a:pt x="326" y="394"/>
                </a:cubicBezTo>
                <a:cubicBezTo>
                  <a:pt x="327" y="393"/>
                  <a:pt x="327" y="393"/>
                  <a:pt x="327" y="393"/>
                </a:cubicBezTo>
                <a:cubicBezTo>
                  <a:pt x="329" y="393"/>
                  <a:pt x="329" y="393"/>
                  <a:pt x="329" y="393"/>
                </a:cubicBezTo>
                <a:cubicBezTo>
                  <a:pt x="329" y="392"/>
                  <a:pt x="329" y="392"/>
                  <a:pt x="329" y="392"/>
                </a:cubicBezTo>
                <a:cubicBezTo>
                  <a:pt x="332" y="391"/>
                  <a:pt x="332" y="391"/>
                  <a:pt x="332" y="391"/>
                </a:cubicBezTo>
                <a:cubicBezTo>
                  <a:pt x="336" y="389"/>
                  <a:pt x="336" y="389"/>
                  <a:pt x="336" y="389"/>
                </a:cubicBezTo>
                <a:cubicBezTo>
                  <a:pt x="336" y="389"/>
                  <a:pt x="336" y="389"/>
                  <a:pt x="336" y="389"/>
                </a:cubicBezTo>
                <a:cubicBezTo>
                  <a:pt x="336" y="388"/>
                  <a:pt x="336" y="388"/>
                  <a:pt x="336" y="388"/>
                </a:cubicBezTo>
                <a:cubicBezTo>
                  <a:pt x="339" y="387"/>
                  <a:pt x="339" y="387"/>
                  <a:pt x="339" y="387"/>
                </a:cubicBezTo>
                <a:cubicBezTo>
                  <a:pt x="340" y="386"/>
                  <a:pt x="340" y="386"/>
                  <a:pt x="340" y="386"/>
                </a:cubicBezTo>
                <a:cubicBezTo>
                  <a:pt x="341" y="385"/>
                  <a:pt x="341" y="385"/>
                  <a:pt x="341" y="385"/>
                </a:cubicBezTo>
                <a:cubicBezTo>
                  <a:pt x="343" y="382"/>
                  <a:pt x="343" y="382"/>
                  <a:pt x="343" y="382"/>
                </a:cubicBezTo>
                <a:cubicBezTo>
                  <a:pt x="344" y="383"/>
                  <a:pt x="344" y="383"/>
                  <a:pt x="344" y="383"/>
                </a:cubicBezTo>
                <a:cubicBezTo>
                  <a:pt x="344" y="383"/>
                  <a:pt x="344" y="383"/>
                  <a:pt x="344" y="383"/>
                </a:cubicBezTo>
                <a:cubicBezTo>
                  <a:pt x="345" y="383"/>
                  <a:pt x="345" y="383"/>
                  <a:pt x="345" y="383"/>
                </a:cubicBezTo>
                <a:cubicBezTo>
                  <a:pt x="346" y="382"/>
                  <a:pt x="346" y="382"/>
                  <a:pt x="346" y="382"/>
                </a:cubicBezTo>
                <a:cubicBezTo>
                  <a:pt x="345" y="381"/>
                  <a:pt x="345" y="381"/>
                  <a:pt x="345" y="381"/>
                </a:cubicBezTo>
                <a:cubicBezTo>
                  <a:pt x="345" y="379"/>
                  <a:pt x="345" y="379"/>
                  <a:pt x="345" y="379"/>
                </a:cubicBezTo>
                <a:cubicBezTo>
                  <a:pt x="344" y="380"/>
                  <a:pt x="344" y="380"/>
                  <a:pt x="344" y="380"/>
                </a:cubicBezTo>
                <a:cubicBezTo>
                  <a:pt x="344" y="381"/>
                  <a:pt x="344" y="381"/>
                  <a:pt x="344" y="381"/>
                </a:cubicBezTo>
                <a:cubicBezTo>
                  <a:pt x="344" y="381"/>
                  <a:pt x="344" y="381"/>
                  <a:pt x="344" y="381"/>
                </a:cubicBezTo>
                <a:cubicBezTo>
                  <a:pt x="344" y="379"/>
                  <a:pt x="344" y="379"/>
                  <a:pt x="344" y="379"/>
                </a:cubicBezTo>
                <a:cubicBezTo>
                  <a:pt x="345" y="376"/>
                  <a:pt x="345" y="376"/>
                  <a:pt x="345" y="376"/>
                </a:cubicBezTo>
                <a:cubicBezTo>
                  <a:pt x="346" y="376"/>
                  <a:pt x="346" y="376"/>
                  <a:pt x="346" y="376"/>
                </a:cubicBezTo>
                <a:cubicBezTo>
                  <a:pt x="346" y="374"/>
                  <a:pt x="346" y="374"/>
                  <a:pt x="346" y="374"/>
                </a:cubicBezTo>
                <a:cubicBezTo>
                  <a:pt x="346" y="372"/>
                  <a:pt x="346" y="372"/>
                  <a:pt x="346" y="372"/>
                </a:cubicBezTo>
                <a:cubicBezTo>
                  <a:pt x="345" y="370"/>
                  <a:pt x="345" y="370"/>
                  <a:pt x="345" y="370"/>
                </a:cubicBezTo>
                <a:cubicBezTo>
                  <a:pt x="345" y="366"/>
                  <a:pt x="345" y="366"/>
                  <a:pt x="345" y="366"/>
                </a:cubicBezTo>
                <a:cubicBezTo>
                  <a:pt x="345" y="363"/>
                  <a:pt x="345" y="363"/>
                  <a:pt x="345" y="363"/>
                </a:cubicBezTo>
                <a:cubicBezTo>
                  <a:pt x="343" y="360"/>
                  <a:pt x="343" y="360"/>
                  <a:pt x="343" y="360"/>
                </a:cubicBezTo>
                <a:cubicBezTo>
                  <a:pt x="341" y="359"/>
                  <a:pt x="341" y="359"/>
                  <a:pt x="341" y="359"/>
                </a:cubicBezTo>
                <a:cubicBezTo>
                  <a:pt x="341" y="358"/>
                  <a:pt x="341" y="358"/>
                  <a:pt x="341" y="358"/>
                </a:cubicBezTo>
                <a:cubicBezTo>
                  <a:pt x="340" y="358"/>
                  <a:pt x="340" y="358"/>
                  <a:pt x="340" y="358"/>
                </a:cubicBezTo>
                <a:cubicBezTo>
                  <a:pt x="339" y="357"/>
                  <a:pt x="339" y="357"/>
                  <a:pt x="339" y="357"/>
                </a:cubicBezTo>
                <a:cubicBezTo>
                  <a:pt x="340" y="354"/>
                  <a:pt x="340" y="354"/>
                  <a:pt x="340" y="354"/>
                </a:cubicBezTo>
                <a:cubicBezTo>
                  <a:pt x="341" y="354"/>
                  <a:pt x="341" y="354"/>
                  <a:pt x="341" y="354"/>
                </a:cubicBezTo>
                <a:cubicBezTo>
                  <a:pt x="345" y="350"/>
                  <a:pt x="345" y="350"/>
                  <a:pt x="345" y="350"/>
                </a:cubicBezTo>
                <a:cubicBezTo>
                  <a:pt x="346" y="350"/>
                  <a:pt x="346" y="350"/>
                  <a:pt x="346" y="350"/>
                </a:cubicBezTo>
                <a:cubicBezTo>
                  <a:pt x="346" y="349"/>
                  <a:pt x="346" y="349"/>
                  <a:pt x="346" y="349"/>
                </a:cubicBezTo>
                <a:cubicBezTo>
                  <a:pt x="346" y="348"/>
                  <a:pt x="346" y="348"/>
                  <a:pt x="346" y="348"/>
                </a:cubicBezTo>
                <a:cubicBezTo>
                  <a:pt x="346" y="348"/>
                  <a:pt x="346" y="348"/>
                  <a:pt x="346" y="348"/>
                </a:cubicBezTo>
                <a:cubicBezTo>
                  <a:pt x="346" y="347"/>
                  <a:pt x="346" y="347"/>
                  <a:pt x="346" y="347"/>
                </a:cubicBezTo>
                <a:cubicBezTo>
                  <a:pt x="347" y="346"/>
                  <a:pt x="347" y="346"/>
                  <a:pt x="347" y="346"/>
                </a:cubicBezTo>
                <a:cubicBezTo>
                  <a:pt x="348" y="346"/>
                  <a:pt x="348" y="346"/>
                  <a:pt x="348" y="346"/>
                </a:cubicBezTo>
                <a:cubicBezTo>
                  <a:pt x="349" y="347"/>
                  <a:pt x="349" y="347"/>
                  <a:pt x="349" y="347"/>
                </a:cubicBezTo>
                <a:cubicBezTo>
                  <a:pt x="349" y="348"/>
                  <a:pt x="349" y="348"/>
                  <a:pt x="349" y="348"/>
                </a:cubicBezTo>
                <a:cubicBezTo>
                  <a:pt x="349" y="347"/>
                  <a:pt x="349" y="347"/>
                  <a:pt x="349" y="347"/>
                </a:cubicBezTo>
                <a:cubicBezTo>
                  <a:pt x="349" y="346"/>
                  <a:pt x="349" y="346"/>
                  <a:pt x="349" y="346"/>
                </a:cubicBezTo>
                <a:cubicBezTo>
                  <a:pt x="350" y="345"/>
                  <a:pt x="350" y="345"/>
                  <a:pt x="350" y="345"/>
                </a:cubicBezTo>
                <a:cubicBezTo>
                  <a:pt x="352" y="343"/>
                  <a:pt x="352" y="343"/>
                  <a:pt x="352" y="343"/>
                </a:cubicBezTo>
                <a:cubicBezTo>
                  <a:pt x="351" y="342"/>
                  <a:pt x="351" y="342"/>
                  <a:pt x="351" y="342"/>
                </a:cubicBezTo>
                <a:cubicBezTo>
                  <a:pt x="350" y="342"/>
                  <a:pt x="350" y="342"/>
                  <a:pt x="350" y="342"/>
                </a:cubicBezTo>
                <a:cubicBezTo>
                  <a:pt x="350" y="341"/>
                  <a:pt x="350" y="341"/>
                  <a:pt x="350" y="341"/>
                </a:cubicBezTo>
                <a:cubicBezTo>
                  <a:pt x="351" y="340"/>
                  <a:pt x="351" y="340"/>
                  <a:pt x="351" y="340"/>
                </a:cubicBezTo>
                <a:cubicBezTo>
                  <a:pt x="350" y="339"/>
                  <a:pt x="350" y="339"/>
                  <a:pt x="350" y="339"/>
                </a:cubicBezTo>
                <a:cubicBezTo>
                  <a:pt x="350" y="338"/>
                  <a:pt x="350" y="338"/>
                  <a:pt x="350" y="338"/>
                </a:cubicBezTo>
                <a:cubicBezTo>
                  <a:pt x="351" y="337"/>
                  <a:pt x="351" y="337"/>
                  <a:pt x="351" y="337"/>
                </a:cubicBezTo>
                <a:cubicBezTo>
                  <a:pt x="352" y="337"/>
                  <a:pt x="352" y="337"/>
                  <a:pt x="352" y="337"/>
                </a:cubicBezTo>
                <a:cubicBezTo>
                  <a:pt x="350" y="337"/>
                  <a:pt x="350" y="337"/>
                  <a:pt x="350" y="337"/>
                </a:cubicBezTo>
                <a:cubicBezTo>
                  <a:pt x="350" y="336"/>
                  <a:pt x="350" y="336"/>
                  <a:pt x="350" y="336"/>
                </a:cubicBezTo>
                <a:cubicBezTo>
                  <a:pt x="351" y="334"/>
                  <a:pt x="351" y="334"/>
                  <a:pt x="351" y="334"/>
                </a:cubicBezTo>
                <a:cubicBezTo>
                  <a:pt x="352" y="334"/>
                  <a:pt x="352" y="334"/>
                  <a:pt x="352" y="334"/>
                </a:cubicBezTo>
                <a:cubicBezTo>
                  <a:pt x="351" y="333"/>
                  <a:pt x="351" y="333"/>
                  <a:pt x="351" y="333"/>
                </a:cubicBezTo>
                <a:cubicBezTo>
                  <a:pt x="349" y="334"/>
                  <a:pt x="349" y="334"/>
                  <a:pt x="349" y="334"/>
                </a:cubicBezTo>
                <a:cubicBezTo>
                  <a:pt x="348" y="333"/>
                  <a:pt x="348" y="333"/>
                  <a:pt x="348" y="333"/>
                </a:cubicBezTo>
                <a:cubicBezTo>
                  <a:pt x="348" y="332"/>
                  <a:pt x="348" y="332"/>
                  <a:pt x="348" y="332"/>
                </a:cubicBezTo>
                <a:cubicBezTo>
                  <a:pt x="351" y="330"/>
                  <a:pt x="351" y="330"/>
                  <a:pt x="351" y="330"/>
                </a:cubicBezTo>
                <a:cubicBezTo>
                  <a:pt x="353" y="328"/>
                  <a:pt x="353" y="328"/>
                  <a:pt x="353" y="328"/>
                </a:cubicBezTo>
                <a:cubicBezTo>
                  <a:pt x="353" y="326"/>
                  <a:pt x="353" y="326"/>
                  <a:pt x="353" y="326"/>
                </a:cubicBezTo>
                <a:cubicBezTo>
                  <a:pt x="354" y="327"/>
                  <a:pt x="354" y="327"/>
                  <a:pt x="354" y="327"/>
                </a:cubicBezTo>
                <a:cubicBezTo>
                  <a:pt x="354" y="326"/>
                  <a:pt x="354" y="326"/>
                  <a:pt x="354" y="326"/>
                </a:cubicBezTo>
                <a:cubicBezTo>
                  <a:pt x="354" y="324"/>
                  <a:pt x="354" y="324"/>
                  <a:pt x="354" y="324"/>
                </a:cubicBezTo>
                <a:cubicBezTo>
                  <a:pt x="354" y="324"/>
                  <a:pt x="354" y="324"/>
                  <a:pt x="354" y="324"/>
                </a:cubicBezTo>
                <a:cubicBezTo>
                  <a:pt x="354" y="324"/>
                  <a:pt x="354" y="324"/>
                  <a:pt x="354" y="324"/>
                </a:cubicBezTo>
                <a:cubicBezTo>
                  <a:pt x="353" y="324"/>
                  <a:pt x="353" y="324"/>
                  <a:pt x="353" y="324"/>
                </a:cubicBezTo>
                <a:cubicBezTo>
                  <a:pt x="352" y="322"/>
                  <a:pt x="352" y="322"/>
                  <a:pt x="352" y="322"/>
                </a:cubicBezTo>
                <a:cubicBezTo>
                  <a:pt x="352" y="320"/>
                  <a:pt x="352" y="320"/>
                  <a:pt x="352" y="320"/>
                </a:cubicBezTo>
                <a:cubicBezTo>
                  <a:pt x="353" y="318"/>
                  <a:pt x="353" y="318"/>
                  <a:pt x="353" y="318"/>
                </a:cubicBezTo>
                <a:cubicBezTo>
                  <a:pt x="353" y="316"/>
                  <a:pt x="353" y="316"/>
                  <a:pt x="353" y="316"/>
                </a:cubicBezTo>
                <a:cubicBezTo>
                  <a:pt x="354" y="316"/>
                  <a:pt x="354" y="316"/>
                  <a:pt x="354" y="316"/>
                </a:cubicBezTo>
                <a:cubicBezTo>
                  <a:pt x="355" y="316"/>
                  <a:pt x="355" y="316"/>
                  <a:pt x="355" y="316"/>
                </a:cubicBezTo>
                <a:cubicBezTo>
                  <a:pt x="355" y="316"/>
                  <a:pt x="355" y="316"/>
                  <a:pt x="355" y="316"/>
                </a:cubicBezTo>
                <a:cubicBezTo>
                  <a:pt x="355" y="315"/>
                  <a:pt x="355" y="315"/>
                  <a:pt x="355" y="315"/>
                </a:cubicBezTo>
                <a:cubicBezTo>
                  <a:pt x="356" y="315"/>
                  <a:pt x="356" y="315"/>
                  <a:pt x="356" y="315"/>
                </a:cubicBezTo>
                <a:cubicBezTo>
                  <a:pt x="357" y="315"/>
                  <a:pt x="357" y="315"/>
                  <a:pt x="357" y="315"/>
                </a:cubicBezTo>
                <a:cubicBezTo>
                  <a:pt x="358" y="314"/>
                  <a:pt x="358" y="314"/>
                  <a:pt x="358" y="314"/>
                </a:cubicBezTo>
                <a:cubicBezTo>
                  <a:pt x="359" y="315"/>
                  <a:pt x="359" y="315"/>
                  <a:pt x="359" y="315"/>
                </a:cubicBezTo>
                <a:cubicBezTo>
                  <a:pt x="361" y="315"/>
                  <a:pt x="361" y="315"/>
                  <a:pt x="361" y="315"/>
                </a:cubicBezTo>
                <a:cubicBezTo>
                  <a:pt x="363" y="316"/>
                  <a:pt x="363" y="316"/>
                  <a:pt x="363" y="316"/>
                </a:cubicBezTo>
                <a:cubicBezTo>
                  <a:pt x="366" y="318"/>
                  <a:pt x="366" y="318"/>
                  <a:pt x="366" y="318"/>
                </a:cubicBezTo>
                <a:cubicBezTo>
                  <a:pt x="367" y="318"/>
                  <a:pt x="367" y="318"/>
                  <a:pt x="367" y="318"/>
                </a:cubicBezTo>
                <a:cubicBezTo>
                  <a:pt x="367" y="319"/>
                  <a:pt x="367" y="319"/>
                  <a:pt x="367" y="319"/>
                </a:cubicBezTo>
                <a:cubicBezTo>
                  <a:pt x="365" y="319"/>
                  <a:pt x="365" y="319"/>
                  <a:pt x="365" y="319"/>
                </a:cubicBezTo>
                <a:cubicBezTo>
                  <a:pt x="367" y="319"/>
                  <a:pt x="367" y="319"/>
                  <a:pt x="367" y="319"/>
                </a:cubicBezTo>
                <a:cubicBezTo>
                  <a:pt x="369" y="318"/>
                  <a:pt x="369" y="318"/>
                  <a:pt x="369" y="318"/>
                </a:cubicBezTo>
                <a:cubicBezTo>
                  <a:pt x="370" y="318"/>
                  <a:pt x="370" y="318"/>
                  <a:pt x="370" y="318"/>
                </a:cubicBezTo>
                <a:cubicBezTo>
                  <a:pt x="371" y="319"/>
                  <a:pt x="371" y="319"/>
                  <a:pt x="371" y="319"/>
                </a:cubicBezTo>
                <a:cubicBezTo>
                  <a:pt x="372" y="319"/>
                  <a:pt x="372" y="319"/>
                  <a:pt x="372" y="319"/>
                </a:cubicBezTo>
                <a:cubicBezTo>
                  <a:pt x="373" y="320"/>
                  <a:pt x="373" y="320"/>
                  <a:pt x="373" y="320"/>
                </a:cubicBezTo>
                <a:cubicBezTo>
                  <a:pt x="373" y="319"/>
                  <a:pt x="373" y="319"/>
                  <a:pt x="373" y="319"/>
                </a:cubicBezTo>
                <a:cubicBezTo>
                  <a:pt x="374" y="319"/>
                  <a:pt x="374" y="319"/>
                  <a:pt x="374" y="319"/>
                </a:cubicBezTo>
                <a:cubicBezTo>
                  <a:pt x="375" y="319"/>
                  <a:pt x="375" y="319"/>
                  <a:pt x="375" y="319"/>
                </a:cubicBezTo>
                <a:cubicBezTo>
                  <a:pt x="376" y="319"/>
                  <a:pt x="376" y="319"/>
                  <a:pt x="376" y="319"/>
                </a:cubicBezTo>
                <a:cubicBezTo>
                  <a:pt x="377" y="318"/>
                  <a:pt x="377" y="318"/>
                  <a:pt x="377" y="318"/>
                </a:cubicBezTo>
                <a:cubicBezTo>
                  <a:pt x="379" y="319"/>
                  <a:pt x="379" y="319"/>
                  <a:pt x="379" y="319"/>
                </a:cubicBezTo>
                <a:cubicBezTo>
                  <a:pt x="379" y="321"/>
                  <a:pt x="379" y="321"/>
                  <a:pt x="379" y="321"/>
                </a:cubicBezTo>
                <a:cubicBezTo>
                  <a:pt x="381" y="322"/>
                  <a:pt x="381" y="322"/>
                  <a:pt x="381" y="322"/>
                </a:cubicBezTo>
                <a:cubicBezTo>
                  <a:pt x="382" y="322"/>
                  <a:pt x="382" y="322"/>
                  <a:pt x="382" y="322"/>
                </a:cubicBezTo>
                <a:cubicBezTo>
                  <a:pt x="382" y="324"/>
                  <a:pt x="382" y="324"/>
                  <a:pt x="382" y="324"/>
                </a:cubicBezTo>
                <a:cubicBezTo>
                  <a:pt x="381" y="325"/>
                  <a:pt x="381" y="325"/>
                  <a:pt x="381" y="325"/>
                </a:cubicBezTo>
                <a:cubicBezTo>
                  <a:pt x="381" y="326"/>
                  <a:pt x="381" y="326"/>
                  <a:pt x="381" y="326"/>
                </a:cubicBezTo>
                <a:cubicBezTo>
                  <a:pt x="382" y="325"/>
                  <a:pt x="382" y="325"/>
                  <a:pt x="382" y="325"/>
                </a:cubicBezTo>
                <a:cubicBezTo>
                  <a:pt x="383" y="326"/>
                  <a:pt x="383" y="326"/>
                  <a:pt x="383" y="326"/>
                </a:cubicBezTo>
                <a:cubicBezTo>
                  <a:pt x="384" y="328"/>
                  <a:pt x="384" y="328"/>
                  <a:pt x="384" y="328"/>
                </a:cubicBezTo>
                <a:cubicBezTo>
                  <a:pt x="383" y="328"/>
                  <a:pt x="383" y="328"/>
                  <a:pt x="383" y="328"/>
                </a:cubicBezTo>
                <a:cubicBezTo>
                  <a:pt x="384" y="329"/>
                  <a:pt x="384" y="329"/>
                  <a:pt x="384" y="329"/>
                </a:cubicBezTo>
                <a:cubicBezTo>
                  <a:pt x="385" y="328"/>
                  <a:pt x="385" y="328"/>
                  <a:pt x="385" y="328"/>
                </a:cubicBezTo>
                <a:cubicBezTo>
                  <a:pt x="386" y="329"/>
                  <a:pt x="386" y="329"/>
                  <a:pt x="386" y="329"/>
                </a:cubicBezTo>
                <a:cubicBezTo>
                  <a:pt x="386" y="330"/>
                  <a:pt x="386" y="330"/>
                  <a:pt x="386" y="330"/>
                </a:cubicBezTo>
                <a:cubicBezTo>
                  <a:pt x="385" y="329"/>
                  <a:pt x="385" y="329"/>
                  <a:pt x="385" y="329"/>
                </a:cubicBezTo>
                <a:cubicBezTo>
                  <a:pt x="384" y="331"/>
                  <a:pt x="384" y="331"/>
                  <a:pt x="384" y="331"/>
                </a:cubicBezTo>
                <a:cubicBezTo>
                  <a:pt x="383" y="331"/>
                  <a:pt x="383" y="331"/>
                  <a:pt x="383" y="331"/>
                </a:cubicBezTo>
                <a:cubicBezTo>
                  <a:pt x="385" y="332"/>
                  <a:pt x="385" y="332"/>
                  <a:pt x="385" y="332"/>
                </a:cubicBezTo>
                <a:cubicBezTo>
                  <a:pt x="385" y="333"/>
                  <a:pt x="385" y="333"/>
                  <a:pt x="385" y="333"/>
                </a:cubicBezTo>
                <a:cubicBezTo>
                  <a:pt x="386" y="332"/>
                  <a:pt x="386" y="332"/>
                  <a:pt x="386" y="332"/>
                </a:cubicBezTo>
                <a:cubicBezTo>
                  <a:pt x="386" y="333"/>
                  <a:pt x="386" y="333"/>
                  <a:pt x="386" y="333"/>
                </a:cubicBezTo>
                <a:cubicBezTo>
                  <a:pt x="387" y="333"/>
                  <a:pt x="387" y="333"/>
                  <a:pt x="387" y="333"/>
                </a:cubicBezTo>
                <a:cubicBezTo>
                  <a:pt x="389" y="334"/>
                  <a:pt x="389" y="334"/>
                  <a:pt x="389" y="334"/>
                </a:cubicBezTo>
                <a:cubicBezTo>
                  <a:pt x="390" y="334"/>
                  <a:pt x="390" y="334"/>
                  <a:pt x="390" y="334"/>
                </a:cubicBezTo>
                <a:cubicBezTo>
                  <a:pt x="390" y="335"/>
                  <a:pt x="390" y="335"/>
                  <a:pt x="390" y="335"/>
                </a:cubicBezTo>
                <a:cubicBezTo>
                  <a:pt x="391" y="334"/>
                  <a:pt x="391" y="334"/>
                  <a:pt x="391" y="334"/>
                </a:cubicBezTo>
                <a:cubicBezTo>
                  <a:pt x="393" y="335"/>
                  <a:pt x="393" y="335"/>
                  <a:pt x="393" y="335"/>
                </a:cubicBezTo>
                <a:cubicBezTo>
                  <a:pt x="393" y="337"/>
                  <a:pt x="393" y="337"/>
                  <a:pt x="393" y="337"/>
                </a:cubicBezTo>
                <a:cubicBezTo>
                  <a:pt x="393" y="338"/>
                  <a:pt x="393" y="338"/>
                  <a:pt x="393" y="338"/>
                </a:cubicBezTo>
                <a:cubicBezTo>
                  <a:pt x="395" y="337"/>
                  <a:pt x="395" y="337"/>
                  <a:pt x="395" y="337"/>
                </a:cubicBezTo>
                <a:cubicBezTo>
                  <a:pt x="395" y="335"/>
                  <a:pt x="395" y="335"/>
                  <a:pt x="395" y="335"/>
                </a:cubicBezTo>
                <a:cubicBezTo>
                  <a:pt x="396" y="335"/>
                  <a:pt x="396" y="335"/>
                  <a:pt x="396" y="335"/>
                </a:cubicBezTo>
                <a:cubicBezTo>
                  <a:pt x="396" y="337"/>
                  <a:pt x="396" y="337"/>
                  <a:pt x="396" y="337"/>
                </a:cubicBezTo>
                <a:cubicBezTo>
                  <a:pt x="396" y="339"/>
                  <a:pt x="396" y="339"/>
                  <a:pt x="396" y="339"/>
                </a:cubicBezTo>
                <a:cubicBezTo>
                  <a:pt x="394" y="339"/>
                  <a:pt x="394" y="339"/>
                  <a:pt x="394" y="339"/>
                </a:cubicBezTo>
                <a:cubicBezTo>
                  <a:pt x="393" y="341"/>
                  <a:pt x="393" y="341"/>
                  <a:pt x="393" y="341"/>
                </a:cubicBezTo>
                <a:cubicBezTo>
                  <a:pt x="393" y="344"/>
                  <a:pt x="393" y="344"/>
                  <a:pt x="393" y="344"/>
                </a:cubicBezTo>
                <a:cubicBezTo>
                  <a:pt x="393" y="345"/>
                  <a:pt x="393" y="345"/>
                  <a:pt x="393" y="345"/>
                </a:cubicBezTo>
                <a:cubicBezTo>
                  <a:pt x="393" y="344"/>
                  <a:pt x="393" y="344"/>
                  <a:pt x="393" y="344"/>
                </a:cubicBezTo>
                <a:cubicBezTo>
                  <a:pt x="392" y="345"/>
                  <a:pt x="392" y="345"/>
                  <a:pt x="392" y="345"/>
                </a:cubicBezTo>
                <a:cubicBezTo>
                  <a:pt x="392" y="346"/>
                  <a:pt x="392" y="346"/>
                  <a:pt x="392" y="346"/>
                </a:cubicBezTo>
                <a:cubicBezTo>
                  <a:pt x="389" y="346"/>
                  <a:pt x="389" y="346"/>
                  <a:pt x="389" y="346"/>
                </a:cubicBezTo>
                <a:cubicBezTo>
                  <a:pt x="386" y="345"/>
                  <a:pt x="386" y="345"/>
                  <a:pt x="386" y="345"/>
                </a:cubicBezTo>
                <a:cubicBezTo>
                  <a:pt x="389" y="347"/>
                  <a:pt x="389" y="347"/>
                  <a:pt x="389" y="347"/>
                </a:cubicBezTo>
                <a:cubicBezTo>
                  <a:pt x="391" y="347"/>
                  <a:pt x="391" y="347"/>
                  <a:pt x="391" y="347"/>
                </a:cubicBezTo>
                <a:cubicBezTo>
                  <a:pt x="393" y="348"/>
                  <a:pt x="393" y="348"/>
                  <a:pt x="393" y="348"/>
                </a:cubicBezTo>
                <a:cubicBezTo>
                  <a:pt x="392" y="351"/>
                  <a:pt x="392" y="351"/>
                  <a:pt x="392" y="351"/>
                </a:cubicBezTo>
                <a:cubicBezTo>
                  <a:pt x="391" y="352"/>
                  <a:pt x="391" y="352"/>
                  <a:pt x="391" y="352"/>
                </a:cubicBezTo>
                <a:cubicBezTo>
                  <a:pt x="391" y="353"/>
                  <a:pt x="391" y="353"/>
                  <a:pt x="391" y="353"/>
                </a:cubicBezTo>
                <a:cubicBezTo>
                  <a:pt x="390" y="355"/>
                  <a:pt x="390" y="355"/>
                  <a:pt x="390" y="355"/>
                </a:cubicBezTo>
                <a:cubicBezTo>
                  <a:pt x="390" y="355"/>
                  <a:pt x="390" y="355"/>
                  <a:pt x="390" y="355"/>
                </a:cubicBezTo>
                <a:cubicBezTo>
                  <a:pt x="392" y="357"/>
                  <a:pt x="392" y="357"/>
                  <a:pt x="392" y="357"/>
                </a:cubicBezTo>
                <a:cubicBezTo>
                  <a:pt x="393" y="358"/>
                  <a:pt x="393" y="358"/>
                  <a:pt x="393" y="358"/>
                </a:cubicBezTo>
                <a:cubicBezTo>
                  <a:pt x="392" y="358"/>
                  <a:pt x="392" y="358"/>
                  <a:pt x="392" y="358"/>
                </a:cubicBezTo>
                <a:cubicBezTo>
                  <a:pt x="390" y="357"/>
                  <a:pt x="390" y="357"/>
                  <a:pt x="390" y="357"/>
                </a:cubicBezTo>
                <a:cubicBezTo>
                  <a:pt x="391" y="359"/>
                  <a:pt x="391" y="359"/>
                  <a:pt x="391" y="359"/>
                </a:cubicBezTo>
                <a:cubicBezTo>
                  <a:pt x="393" y="360"/>
                  <a:pt x="393" y="360"/>
                  <a:pt x="393" y="360"/>
                </a:cubicBezTo>
                <a:cubicBezTo>
                  <a:pt x="393" y="360"/>
                  <a:pt x="393" y="360"/>
                  <a:pt x="393" y="360"/>
                </a:cubicBezTo>
                <a:cubicBezTo>
                  <a:pt x="393" y="358"/>
                  <a:pt x="393" y="358"/>
                  <a:pt x="393" y="358"/>
                </a:cubicBezTo>
                <a:cubicBezTo>
                  <a:pt x="394" y="358"/>
                  <a:pt x="394" y="358"/>
                  <a:pt x="394" y="358"/>
                </a:cubicBezTo>
                <a:cubicBezTo>
                  <a:pt x="395" y="360"/>
                  <a:pt x="395" y="360"/>
                  <a:pt x="395" y="360"/>
                </a:cubicBezTo>
                <a:cubicBezTo>
                  <a:pt x="396" y="361"/>
                  <a:pt x="396" y="361"/>
                  <a:pt x="396" y="361"/>
                </a:cubicBezTo>
                <a:cubicBezTo>
                  <a:pt x="395" y="362"/>
                  <a:pt x="395" y="362"/>
                  <a:pt x="395" y="362"/>
                </a:cubicBezTo>
                <a:cubicBezTo>
                  <a:pt x="395" y="364"/>
                  <a:pt x="395" y="364"/>
                  <a:pt x="395" y="364"/>
                </a:cubicBezTo>
                <a:cubicBezTo>
                  <a:pt x="394" y="366"/>
                  <a:pt x="394" y="366"/>
                  <a:pt x="394" y="366"/>
                </a:cubicBezTo>
                <a:cubicBezTo>
                  <a:pt x="394" y="367"/>
                  <a:pt x="394" y="367"/>
                  <a:pt x="394" y="367"/>
                </a:cubicBezTo>
                <a:cubicBezTo>
                  <a:pt x="393" y="368"/>
                  <a:pt x="393" y="368"/>
                  <a:pt x="393" y="368"/>
                </a:cubicBezTo>
                <a:cubicBezTo>
                  <a:pt x="394" y="368"/>
                  <a:pt x="394" y="368"/>
                  <a:pt x="394" y="368"/>
                </a:cubicBezTo>
                <a:cubicBezTo>
                  <a:pt x="396" y="364"/>
                  <a:pt x="396" y="364"/>
                  <a:pt x="396" y="364"/>
                </a:cubicBezTo>
                <a:cubicBezTo>
                  <a:pt x="398" y="363"/>
                  <a:pt x="398" y="363"/>
                  <a:pt x="398" y="363"/>
                </a:cubicBezTo>
                <a:cubicBezTo>
                  <a:pt x="398" y="363"/>
                  <a:pt x="398" y="363"/>
                  <a:pt x="398" y="363"/>
                </a:cubicBezTo>
                <a:cubicBezTo>
                  <a:pt x="398" y="364"/>
                  <a:pt x="398" y="364"/>
                  <a:pt x="398" y="364"/>
                </a:cubicBezTo>
                <a:cubicBezTo>
                  <a:pt x="398" y="366"/>
                  <a:pt x="398" y="366"/>
                  <a:pt x="398" y="366"/>
                </a:cubicBezTo>
                <a:cubicBezTo>
                  <a:pt x="397" y="367"/>
                  <a:pt x="397" y="367"/>
                  <a:pt x="397" y="367"/>
                </a:cubicBezTo>
                <a:cubicBezTo>
                  <a:pt x="398" y="368"/>
                  <a:pt x="398" y="368"/>
                  <a:pt x="398" y="368"/>
                </a:cubicBezTo>
                <a:cubicBezTo>
                  <a:pt x="397" y="369"/>
                  <a:pt x="397" y="369"/>
                  <a:pt x="397" y="369"/>
                </a:cubicBezTo>
                <a:cubicBezTo>
                  <a:pt x="398" y="368"/>
                  <a:pt x="398" y="368"/>
                  <a:pt x="398" y="368"/>
                </a:cubicBezTo>
                <a:cubicBezTo>
                  <a:pt x="399" y="366"/>
                  <a:pt x="399" y="366"/>
                  <a:pt x="399" y="366"/>
                </a:cubicBezTo>
                <a:cubicBezTo>
                  <a:pt x="400" y="365"/>
                  <a:pt x="400" y="365"/>
                  <a:pt x="400" y="365"/>
                </a:cubicBezTo>
                <a:cubicBezTo>
                  <a:pt x="401" y="365"/>
                  <a:pt x="401" y="365"/>
                  <a:pt x="401" y="365"/>
                </a:cubicBezTo>
                <a:cubicBezTo>
                  <a:pt x="402" y="364"/>
                  <a:pt x="402" y="364"/>
                  <a:pt x="402" y="364"/>
                </a:cubicBezTo>
                <a:cubicBezTo>
                  <a:pt x="403" y="364"/>
                  <a:pt x="403" y="364"/>
                  <a:pt x="403" y="364"/>
                </a:cubicBezTo>
                <a:cubicBezTo>
                  <a:pt x="403" y="365"/>
                  <a:pt x="403" y="365"/>
                  <a:pt x="403" y="365"/>
                </a:cubicBezTo>
                <a:cubicBezTo>
                  <a:pt x="404" y="364"/>
                  <a:pt x="404" y="364"/>
                  <a:pt x="404" y="364"/>
                </a:cubicBezTo>
                <a:cubicBezTo>
                  <a:pt x="405" y="364"/>
                  <a:pt x="405" y="364"/>
                  <a:pt x="405" y="364"/>
                </a:cubicBezTo>
                <a:cubicBezTo>
                  <a:pt x="405" y="363"/>
                  <a:pt x="405" y="363"/>
                  <a:pt x="405" y="363"/>
                </a:cubicBezTo>
                <a:cubicBezTo>
                  <a:pt x="406" y="362"/>
                  <a:pt x="406" y="362"/>
                  <a:pt x="406" y="362"/>
                </a:cubicBezTo>
                <a:cubicBezTo>
                  <a:pt x="408" y="360"/>
                  <a:pt x="408" y="360"/>
                  <a:pt x="408" y="360"/>
                </a:cubicBezTo>
                <a:cubicBezTo>
                  <a:pt x="408" y="361"/>
                  <a:pt x="408" y="361"/>
                  <a:pt x="408" y="361"/>
                </a:cubicBezTo>
                <a:cubicBezTo>
                  <a:pt x="409" y="363"/>
                  <a:pt x="409" y="363"/>
                  <a:pt x="409" y="363"/>
                </a:cubicBezTo>
                <a:cubicBezTo>
                  <a:pt x="409" y="364"/>
                  <a:pt x="409" y="364"/>
                  <a:pt x="409" y="364"/>
                </a:cubicBezTo>
                <a:cubicBezTo>
                  <a:pt x="409" y="362"/>
                  <a:pt x="409" y="362"/>
                  <a:pt x="409" y="362"/>
                </a:cubicBezTo>
                <a:cubicBezTo>
                  <a:pt x="409" y="361"/>
                  <a:pt x="409" y="361"/>
                  <a:pt x="409" y="361"/>
                </a:cubicBezTo>
                <a:cubicBezTo>
                  <a:pt x="410" y="360"/>
                  <a:pt x="410" y="360"/>
                  <a:pt x="410" y="360"/>
                </a:cubicBezTo>
                <a:cubicBezTo>
                  <a:pt x="410" y="360"/>
                  <a:pt x="410" y="360"/>
                  <a:pt x="410" y="360"/>
                </a:cubicBezTo>
                <a:cubicBezTo>
                  <a:pt x="411" y="359"/>
                  <a:pt x="411" y="359"/>
                  <a:pt x="411" y="359"/>
                </a:cubicBezTo>
                <a:cubicBezTo>
                  <a:pt x="412" y="358"/>
                  <a:pt x="412" y="358"/>
                  <a:pt x="412" y="358"/>
                </a:cubicBezTo>
                <a:cubicBezTo>
                  <a:pt x="412" y="357"/>
                  <a:pt x="412" y="357"/>
                  <a:pt x="412" y="357"/>
                </a:cubicBezTo>
                <a:cubicBezTo>
                  <a:pt x="413" y="356"/>
                  <a:pt x="413" y="356"/>
                  <a:pt x="413" y="356"/>
                </a:cubicBezTo>
                <a:cubicBezTo>
                  <a:pt x="414" y="355"/>
                  <a:pt x="414" y="355"/>
                  <a:pt x="414" y="355"/>
                </a:cubicBezTo>
                <a:cubicBezTo>
                  <a:pt x="414" y="354"/>
                  <a:pt x="414" y="354"/>
                  <a:pt x="414" y="354"/>
                </a:cubicBezTo>
                <a:cubicBezTo>
                  <a:pt x="415" y="354"/>
                  <a:pt x="415" y="354"/>
                  <a:pt x="415" y="354"/>
                </a:cubicBezTo>
                <a:cubicBezTo>
                  <a:pt x="416" y="355"/>
                  <a:pt x="416" y="355"/>
                  <a:pt x="416" y="355"/>
                </a:cubicBezTo>
                <a:cubicBezTo>
                  <a:pt x="416" y="355"/>
                  <a:pt x="416" y="355"/>
                  <a:pt x="416" y="355"/>
                </a:cubicBezTo>
                <a:cubicBezTo>
                  <a:pt x="415" y="354"/>
                  <a:pt x="415" y="354"/>
                  <a:pt x="415" y="354"/>
                </a:cubicBezTo>
                <a:cubicBezTo>
                  <a:pt x="414" y="354"/>
                  <a:pt x="414" y="354"/>
                  <a:pt x="414" y="354"/>
                </a:cubicBezTo>
                <a:cubicBezTo>
                  <a:pt x="414" y="353"/>
                  <a:pt x="414" y="353"/>
                  <a:pt x="414" y="353"/>
                </a:cubicBezTo>
                <a:cubicBezTo>
                  <a:pt x="415" y="351"/>
                  <a:pt x="415" y="351"/>
                  <a:pt x="415" y="351"/>
                </a:cubicBezTo>
                <a:cubicBezTo>
                  <a:pt x="416" y="351"/>
                  <a:pt x="416" y="351"/>
                  <a:pt x="416" y="351"/>
                </a:cubicBezTo>
                <a:cubicBezTo>
                  <a:pt x="416" y="351"/>
                  <a:pt x="416" y="351"/>
                  <a:pt x="416" y="351"/>
                </a:cubicBezTo>
                <a:cubicBezTo>
                  <a:pt x="416" y="350"/>
                  <a:pt x="416" y="350"/>
                  <a:pt x="416" y="350"/>
                </a:cubicBezTo>
                <a:cubicBezTo>
                  <a:pt x="417" y="350"/>
                  <a:pt x="417" y="350"/>
                  <a:pt x="417" y="350"/>
                </a:cubicBezTo>
                <a:cubicBezTo>
                  <a:pt x="417" y="349"/>
                  <a:pt x="417" y="349"/>
                  <a:pt x="417" y="349"/>
                </a:cubicBezTo>
                <a:cubicBezTo>
                  <a:pt x="418" y="347"/>
                  <a:pt x="418" y="347"/>
                  <a:pt x="418" y="347"/>
                </a:cubicBezTo>
                <a:cubicBezTo>
                  <a:pt x="419" y="346"/>
                  <a:pt x="419" y="346"/>
                  <a:pt x="419" y="346"/>
                </a:cubicBezTo>
                <a:cubicBezTo>
                  <a:pt x="419" y="345"/>
                  <a:pt x="419" y="345"/>
                  <a:pt x="419" y="345"/>
                </a:cubicBezTo>
                <a:cubicBezTo>
                  <a:pt x="420" y="344"/>
                  <a:pt x="420" y="344"/>
                  <a:pt x="420" y="344"/>
                </a:cubicBezTo>
                <a:cubicBezTo>
                  <a:pt x="421" y="343"/>
                  <a:pt x="421" y="343"/>
                  <a:pt x="421" y="343"/>
                </a:cubicBezTo>
                <a:cubicBezTo>
                  <a:pt x="422" y="344"/>
                  <a:pt x="422" y="344"/>
                  <a:pt x="422" y="344"/>
                </a:cubicBezTo>
                <a:cubicBezTo>
                  <a:pt x="421" y="345"/>
                  <a:pt x="421" y="345"/>
                  <a:pt x="421" y="345"/>
                </a:cubicBezTo>
                <a:cubicBezTo>
                  <a:pt x="422" y="344"/>
                  <a:pt x="422" y="344"/>
                  <a:pt x="422" y="344"/>
                </a:cubicBezTo>
                <a:cubicBezTo>
                  <a:pt x="422" y="345"/>
                  <a:pt x="422" y="345"/>
                  <a:pt x="422" y="345"/>
                </a:cubicBezTo>
                <a:cubicBezTo>
                  <a:pt x="421" y="345"/>
                  <a:pt x="421" y="345"/>
                  <a:pt x="421" y="345"/>
                </a:cubicBezTo>
                <a:cubicBezTo>
                  <a:pt x="421" y="346"/>
                  <a:pt x="421" y="346"/>
                  <a:pt x="421" y="346"/>
                </a:cubicBezTo>
                <a:cubicBezTo>
                  <a:pt x="422" y="347"/>
                  <a:pt x="422" y="347"/>
                  <a:pt x="422" y="347"/>
                </a:cubicBezTo>
                <a:cubicBezTo>
                  <a:pt x="421" y="348"/>
                  <a:pt x="421" y="348"/>
                  <a:pt x="421" y="348"/>
                </a:cubicBezTo>
                <a:cubicBezTo>
                  <a:pt x="421" y="348"/>
                  <a:pt x="421" y="348"/>
                  <a:pt x="421" y="348"/>
                </a:cubicBezTo>
                <a:cubicBezTo>
                  <a:pt x="421" y="348"/>
                  <a:pt x="421" y="348"/>
                  <a:pt x="421" y="348"/>
                </a:cubicBezTo>
                <a:cubicBezTo>
                  <a:pt x="421" y="348"/>
                  <a:pt x="421" y="348"/>
                  <a:pt x="421" y="348"/>
                </a:cubicBezTo>
                <a:cubicBezTo>
                  <a:pt x="422" y="348"/>
                  <a:pt x="422" y="348"/>
                  <a:pt x="422" y="348"/>
                </a:cubicBezTo>
                <a:cubicBezTo>
                  <a:pt x="422" y="350"/>
                  <a:pt x="422" y="350"/>
                  <a:pt x="422" y="350"/>
                </a:cubicBezTo>
                <a:cubicBezTo>
                  <a:pt x="421" y="350"/>
                  <a:pt x="421" y="350"/>
                  <a:pt x="421" y="350"/>
                </a:cubicBezTo>
                <a:cubicBezTo>
                  <a:pt x="422" y="350"/>
                  <a:pt x="422" y="350"/>
                  <a:pt x="422" y="350"/>
                </a:cubicBezTo>
                <a:cubicBezTo>
                  <a:pt x="422" y="351"/>
                  <a:pt x="422" y="351"/>
                  <a:pt x="422" y="351"/>
                </a:cubicBezTo>
                <a:cubicBezTo>
                  <a:pt x="422" y="352"/>
                  <a:pt x="422" y="352"/>
                  <a:pt x="422" y="352"/>
                </a:cubicBezTo>
                <a:cubicBezTo>
                  <a:pt x="422" y="353"/>
                  <a:pt x="422" y="353"/>
                  <a:pt x="422" y="353"/>
                </a:cubicBezTo>
                <a:cubicBezTo>
                  <a:pt x="423" y="354"/>
                  <a:pt x="423" y="354"/>
                  <a:pt x="423" y="354"/>
                </a:cubicBezTo>
                <a:cubicBezTo>
                  <a:pt x="423" y="355"/>
                  <a:pt x="423" y="355"/>
                  <a:pt x="423" y="355"/>
                </a:cubicBezTo>
                <a:cubicBezTo>
                  <a:pt x="423" y="356"/>
                  <a:pt x="423" y="356"/>
                  <a:pt x="423" y="356"/>
                </a:cubicBezTo>
                <a:cubicBezTo>
                  <a:pt x="422" y="355"/>
                  <a:pt x="422" y="355"/>
                  <a:pt x="422" y="355"/>
                </a:cubicBezTo>
                <a:cubicBezTo>
                  <a:pt x="421" y="356"/>
                  <a:pt x="421" y="356"/>
                  <a:pt x="421" y="356"/>
                </a:cubicBezTo>
                <a:cubicBezTo>
                  <a:pt x="422" y="357"/>
                  <a:pt x="422" y="357"/>
                  <a:pt x="422" y="357"/>
                </a:cubicBezTo>
                <a:cubicBezTo>
                  <a:pt x="422" y="357"/>
                  <a:pt x="422" y="357"/>
                  <a:pt x="422" y="357"/>
                </a:cubicBezTo>
                <a:cubicBezTo>
                  <a:pt x="423" y="357"/>
                  <a:pt x="423" y="357"/>
                  <a:pt x="423" y="357"/>
                </a:cubicBezTo>
                <a:cubicBezTo>
                  <a:pt x="424" y="356"/>
                  <a:pt x="424" y="356"/>
                  <a:pt x="424" y="356"/>
                </a:cubicBezTo>
                <a:cubicBezTo>
                  <a:pt x="424" y="357"/>
                  <a:pt x="424" y="357"/>
                  <a:pt x="424" y="357"/>
                </a:cubicBezTo>
                <a:cubicBezTo>
                  <a:pt x="425" y="358"/>
                  <a:pt x="425" y="358"/>
                  <a:pt x="425" y="358"/>
                </a:cubicBezTo>
                <a:cubicBezTo>
                  <a:pt x="424" y="359"/>
                  <a:pt x="424" y="359"/>
                  <a:pt x="424" y="359"/>
                </a:cubicBezTo>
                <a:cubicBezTo>
                  <a:pt x="423" y="360"/>
                  <a:pt x="423" y="360"/>
                  <a:pt x="423" y="360"/>
                </a:cubicBezTo>
                <a:cubicBezTo>
                  <a:pt x="421" y="359"/>
                  <a:pt x="421" y="359"/>
                  <a:pt x="421" y="359"/>
                </a:cubicBezTo>
                <a:cubicBezTo>
                  <a:pt x="421" y="360"/>
                  <a:pt x="421" y="360"/>
                  <a:pt x="421" y="360"/>
                </a:cubicBezTo>
                <a:cubicBezTo>
                  <a:pt x="422" y="361"/>
                  <a:pt x="422" y="361"/>
                  <a:pt x="422" y="361"/>
                </a:cubicBezTo>
                <a:cubicBezTo>
                  <a:pt x="424" y="360"/>
                  <a:pt x="424" y="360"/>
                  <a:pt x="424" y="360"/>
                </a:cubicBezTo>
                <a:cubicBezTo>
                  <a:pt x="425" y="360"/>
                  <a:pt x="425" y="360"/>
                  <a:pt x="425" y="360"/>
                </a:cubicBezTo>
                <a:cubicBezTo>
                  <a:pt x="425" y="361"/>
                  <a:pt x="425" y="361"/>
                  <a:pt x="425" y="361"/>
                </a:cubicBezTo>
                <a:cubicBezTo>
                  <a:pt x="424" y="363"/>
                  <a:pt x="424" y="363"/>
                  <a:pt x="424" y="363"/>
                </a:cubicBezTo>
                <a:cubicBezTo>
                  <a:pt x="425" y="363"/>
                  <a:pt x="425" y="363"/>
                  <a:pt x="425" y="363"/>
                </a:cubicBezTo>
                <a:cubicBezTo>
                  <a:pt x="426" y="362"/>
                  <a:pt x="426" y="362"/>
                  <a:pt x="426" y="362"/>
                </a:cubicBezTo>
                <a:cubicBezTo>
                  <a:pt x="426" y="364"/>
                  <a:pt x="426" y="364"/>
                  <a:pt x="426" y="364"/>
                </a:cubicBezTo>
                <a:cubicBezTo>
                  <a:pt x="425" y="365"/>
                  <a:pt x="425" y="365"/>
                  <a:pt x="425" y="365"/>
                </a:cubicBezTo>
                <a:cubicBezTo>
                  <a:pt x="423" y="365"/>
                  <a:pt x="423" y="365"/>
                  <a:pt x="423" y="365"/>
                </a:cubicBezTo>
                <a:cubicBezTo>
                  <a:pt x="422" y="365"/>
                  <a:pt x="422" y="365"/>
                  <a:pt x="422" y="365"/>
                </a:cubicBezTo>
                <a:cubicBezTo>
                  <a:pt x="422" y="365"/>
                  <a:pt x="422" y="365"/>
                  <a:pt x="422" y="365"/>
                </a:cubicBezTo>
                <a:cubicBezTo>
                  <a:pt x="422" y="366"/>
                  <a:pt x="422" y="366"/>
                  <a:pt x="422" y="366"/>
                </a:cubicBezTo>
                <a:cubicBezTo>
                  <a:pt x="421" y="367"/>
                  <a:pt x="421" y="367"/>
                  <a:pt x="421" y="367"/>
                </a:cubicBezTo>
                <a:cubicBezTo>
                  <a:pt x="423" y="367"/>
                  <a:pt x="423" y="367"/>
                  <a:pt x="423" y="367"/>
                </a:cubicBezTo>
                <a:cubicBezTo>
                  <a:pt x="425" y="367"/>
                  <a:pt x="425" y="367"/>
                  <a:pt x="425" y="367"/>
                </a:cubicBezTo>
                <a:cubicBezTo>
                  <a:pt x="426" y="366"/>
                  <a:pt x="426" y="366"/>
                  <a:pt x="426" y="366"/>
                </a:cubicBezTo>
                <a:cubicBezTo>
                  <a:pt x="427" y="366"/>
                  <a:pt x="427" y="366"/>
                  <a:pt x="427" y="366"/>
                </a:cubicBezTo>
                <a:cubicBezTo>
                  <a:pt x="426" y="367"/>
                  <a:pt x="426" y="367"/>
                  <a:pt x="426" y="367"/>
                </a:cubicBezTo>
                <a:cubicBezTo>
                  <a:pt x="426" y="368"/>
                  <a:pt x="426" y="368"/>
                  <a:pt x="426" y="368"/>
                </a:cubicBezTo>
                <a:cubicBezTo>
                  <a:pt x="425" y="368"/>
                  <a:pt x="425" y="368"/>
                  <a:pt x="425" y="368"/>
                </a:cubicBezTo>
                <a:cubicBezTo>
                  <a:pt x="424" y="368"/>
                  <a:pt x="424" y="368"/>
                  <a:pt x="424" y="368"/>
                </a:cubicBezTo>
                <a:cubicBezTo>
                  <a:pt x="422" y="371"/>
                  <a:pt x="422" y="371"/>
                  <a:pt x="422" y="371"/>
                </a:cubicBezTo>
                <a:cubicBezTo>
                  <a:pt x="424" y="370"/>
                  <a:pt x="424" y="370"/>
                  <a:pt x="424" y="370"/>
                </a:cubicBezTo>
                <a:cubicBezTo>
                  <a:pt x="425" y="370"/>
                  <a:pt x="425" y="370"/>
                  <a:pt x="425" y="370"/>
                </a:cubicBezTo>
                <a:cubicBezTo>
                  <a:pt x="426" y="369"/>
                  <a:pt x="426" y="369"/>
                  <a:pt x="426" y="369"/>
                </a:cubicBezTo>
                <a:cubicBezTo>
                  <a:pt x="427" y="370"/>
                  <a:pt x="427" y="370"/>
                  <a:pt x="427" y="370"/>
                </a:cubicBezTo>
                <a:cubicBezTo>
                  <a:pt x="427" y="371"/>
                  <a:pt x="427" y="371"/>
                  <a:pt x="427" y="371"/>
                </a:cubicBezTo>
                <a:cubicBezTo>
                  <a:pt x="426" y="371"/>
                  <a:pt x="426" y="371"/>
                  <a:pt x="426" y="371"/>
                </a:cubicBezTo>
                <a:cubicBezTo>
                  <a:pt x="425" y="372"/>
                  <a:pt x="425" y="372"/>
                  <a:pt x="425" y="372"/>
                </a:cubicBezTo>
                <a:cubicBezTo>
                  <a:pt x="425" y="373"/>
                  <a:pt x="425" y="373"/>
                  <a:pt x="425" y="373"/>
                </a:cubicBezTo>
                <a:cubicBezTo>
                  <a:pt x="425" y="372"/>
                  <a:pt x="425" y="372"/>
                  <a:pt x="425" y="372"/>
                </a:cubicBezTo>
                <a:cubicBezTo>
                  <a:pt x="427" y="373"/>
                  <a:pt x="427" y="373"/>
                  <a:pt x="427" y="373"/>
                </a:cubicBezTo>
                <a:cubicBezTo>
                  <a:pt x="427" y="372"/>
                  <a:pt x="427" y="372"/>
                  <a:pt x="427" y="372"/>
                </a:cubicBezTo>
                <a:cubicBezTo>
                  <a:pt x="428" y="373"/>
                  <a:pt x="428" y="373"/>
                  <a:pt x="428" y="373"/>
                </a:cubicBezTo>
                <a:cubicBezTo>
                  <a:pt x="429" y="375"/>
                  <a:pt x="429" y="375"/>
                  <a:pt x="429" y="375"/>
                </a:cubicBezTo>
                <a:cubicBezTo>
                  <a:pt x="428" y="376"/>
                  <a:pt x="428" y="376"/>
                  <a:pt x="428" y="376"/>
                </a:cubicBezTo>
                <a:cubicBezTo>
                  <a:pt x="427" y="376"/>
                  <a:pt x="427" y="376"/>
                  <a:pt x="427" y="376"/>
                </a:cubicBezTo>
                <a:cubicBezTo>
                  <a:pt x="426" y="376"/>
                  <a:pt x="426" y="376"/>
                  <a:pt x="426" y="376"/>
                </a:cubicBezTo>
                <a:cubicBezTo>
                  <a:pt x="425" y="376"/>
                  <a:pt x="425" y="376"/>
                  <a:pt x="425" y="376"/>
                </a:cubicBezTo>
                <a:cubicBezTo>
                  <a:pt x="426" y="377"/>
                  <a:pt x="426" y="377"/>
                  <a:pt x="426" y="377"/>
                </a:cubicBezTo>
                <a:cubicBezTo>
                  <a:pt x="427" y="377"/>
                  <a:pt x="427" y="377"/>
                  <a:pt x="427" y="377"/>
                </a:cubicBezTo>
                <a:cubicBezTo>
                  <a:pt x="427" y="377"/>
                  <a:pt x="427" y="377"/>
                  <a:pt x="427" y="377"/>
                </a:cubicBezTo>
                <a:cubicBezTo>
                  <a:pt x="429" y="377"/>
                  <a:pt x="429" y="377"/>
                  <a:pt x="429" y="377"/>
                </a:cubicBezTo>
                <a:cubicBezTo>
                  <a:pt x="429" y="378"/>
                  <a:pt x="429" y="378"/>
                  <a:pt x="429" y="378"/>
                </a:cubicBezTo>
                <a:cubicBezTo>
                  <a:pt x="429" y="379"/>
                  <a:pt x="429" y="379"/>
                  <a:pt x="429" y="379"/>
                </a:cubicBezTo>
                <a:cubicBezTo>
                  <a:pt x="428" y="379"/>
                  <a:pt x="428" y="379"/>
                  <a:pt x="428" y="379"/>
                </a:cubicBezTo>
                <a:cubicBezTo>
                  <a:pt x="429" y="380"/>
                  <a:pt x="429" y="380"/>
                  <a:pt x="429" y="380"/>
                </a:cubicBezTo>
                <a:cubicBezTo>
                  <a:pt x="430" y="380"/>
                  <a:pt x="430" y="380"/>
                  <a:pt x="430" y="380"/>
                </a:cubicBezTo>
                <a:cubicBezTo>
                  <a:pt x="431" y="381"/>
                  <a:pt x="431" y="381"/>
                  <a:pt x="431" y="381"/>
                </a:cubicBezTo>
                <a:cubicBezTo>
                  <a:pt x="431" y="382"/>
                  <a:pt x="431" y="382"/>
                  <a:pt x="431" y="382"/>
                </a:cubicBezTo>
                <a:cubicBezTo>
                  <a:pt x="430" y="382"/>
                  <a:pt x="430" y="382"/>
                  <a:pt x="430" y="382"/>
                </a:cubicBezTo>
                <a:cubicBezTo>
                  <a:pt x="428" y="384"/>
                  <a:pt x="428" y="384"/>
                  <a:pt x="428" y="384"/>
                </a:cubicBezTo>
                <a:cubicBezTo>
                  <a:pt x="428" y="383"/>
                  <a:pt x="428" y="383"/>
                  <a:pt x="428" y="383"/>
                </a:cubicBezTo>
                <a:cubicBezTo>
                  <a:pt x="427" y="384"/>
                  <a:pt x="427" y="384"/>
                  <a:pt x="427" y="384"/>
                </a:cubicBezTo>
                <a:cubicBezTo>
                  <a:pt x="428" y="384"/>
                  <a:pt x="428" y="384"/>
                  <a:pt x="428" y="384"/>
                </a:cubicBezTo>
                <a:cubicBezTo>
                  <a:pt x="428" y="385"/>
                  <a:pt x="428" y="385"/>
                  <a:pt x="428" y="385"/>
                </a:cubicBezTo>
                <a:cubicBezTo>
                  <a:pt x="427" y="385"/>
                  <a:pt x="427" y="385"/>
                  <a:pt x="427" y="385"/>
                </a:cubicBezTo>
                <a:cubicBezTo>
                  <a:pt x="425" y="384"/>
                  <a:pt x="425" y="384"/>
                  <a:pt x="425" y="384"/>
                </a:cubicBezTo>
                <a:cubicBezTo>
                  <a:pt x="424" y="384"/>
                  <a:pt x="424" y="384"/>
                  <a:pt x="424" y="384"/>
                </a:cubicBezTo>
                <a:cubicBezTo>
                  <a:pt x="425" y="385"/>
                  <a:pt x="425" y="385"/>
                  <a:pt x="425" y="385"/>
                </a:cubicBezTo>
                <a:cubicBezTo>
                  <a:pt x="425" y="386"/>
                  <a:pt x="425" y="386"/>
                  <a:pt x="425" y="386"/>
                </a:cubicBezTo>
                <a:cubicBezTo>
                  <a:pt x="427" y="387"/>
                  <a:pt x="427" y="387"/>
                  <a:pt x="427" y="387"/>
                </a:cubicBezTo>
                <a:cubicBezTo>
                  <a:pt x="427" y="388"/>
                  <a:pt x="427" y="388"/>
                  <a:pt x="427" y="388"/>
                </a:cubicBezTo>
                <a:cubicBezTo>
                  <a:pt x="427" y="389"/>
                  <a:pt x="427" y="389"/>
                  <a:pt x="427" y="389"/>
                </a:cubicBezTo>
                <a:cubicBezTo>
                  <a:pt x="426" y="389"/>
                  <a:pt x="426" y="389"/>
                  <a:pt x="426" y="389"/>
                </a:cubicBezTo>
                <a:cubicBezTo>
                  <a:pt x="425" y="390"/>
                  <a:pt x="425" y="390"/>
                  <a:pt x="425" y="390"/>
                </a:cubicBezTo>
                <a:cubicBezTo>
                  <a:pt x="423" y="390"/>
                  <a:pt x="423" y="390"/>
                  <a:pt x="423" y="390"/>
                </a:cubicBezTo>
                <a:cubicBezTo>
                  <a:pt x="426" y="390"/>
                  <a:pt x="426" y="390"/>
                  <a:pt x="426" y="390"/>
                </a:cubicBezTo>
                <a:cubicBezTo>
                  <a:pt x="426" y="390"/>
                  <a:pt x="426" y="390"/>
                  <a:pt x="426" y="390"/>
                </a:cubicBezTo>
                <a:cubicBezTo>
                  <a:pt x="427" y="390"/>
                  <a:pt x="427" y="390"/>
                  <a:pt x="427" y="390"/>
                </a:cubicBezTo>
                <a:cubicBezTo>
                  <a:pt x="428" y="389"/>
                  <a:pt x="428" y="389"/>
                  <a:pt x="428" y="389"/>
                </a:cubicBezTo>
                <a:cubicBezTo>
                  <a:pt x="429" y="389"/>
                  <a:pt x="429" y="389"/>
                  <a:pt x="429" y="389"/>
                </a:cubicBezTo>
                <a:cubicBezTo>
                  <a:pt x="429" y="390"/>
                  <a:pt x="429" y="390"/>
                  <a:pt x="429" y="390"/>
                </a:cubicBezTo>
                <a:cubicBezTo>
                  <a:pt x="429" y="391"/>
                  <a:pt x="429" y="391"/>
                  <a:pt x="429" y="391"/>
                </a:cubicBezTo>
                <a:cubicBezTo>
                  <a:pt x="429" y="391"/>
                  <a:pt x="429" y="391"/>
                  <a:pt x="429" y="391"/>
                </a:cubicBezTo>
                <a:cubicBezTo>
                  <a:pt x="430" y="391"/>
                  <a:pt x="430" y="391"/>
                  <a:pt x="430" y="391"/>
                </a:cubicBezTo>
                <a:cubicBezTo>
                  <a:pt x="430" y="392"/>
                  <a:pt x="430" y="392"/>
                  <a:pt x="430" y="392"/>
                </a:cubicBezTo>
                <a:cubicBezTo>
                  <a:pt x="430" y="393"/>
                  <a:pt x="430" y="393"/>
                  <a:pt x="430" y="393"/>
                </a:cubicBezTo>
                <a:cubicBezTo>
                  <a:pt x="430" y="393"/>
                  <a:pt x="430" y="393"/>
                  <a:pt x="430" y="393"/>
                </a:cubicBezTo>
                <a:cubicBezTo>
                  <a:pt x="431" y="392"/>
                  <a:pt x="431" y="392"/>
                  <a:pt x="431" y="392"/>
                </a:cubicBezTo>
                <a:cubicBezTo>
                  <a:pt x="432" y="393"/>
                  <a:pt x="432" y="393"/>
                  <a:pt x="432" y="393"/>
                </a:cubicBezTo>
                <a:cubicBezTo>
                  <a:pt x="432" y="393"/>
                  <a:pt x="432" y="393"/>
                  <a:pt x="432" y="393"/>
                </a:cubicBezTo>
                <a:cubicBezTo>
                  <a:pt x="432" y="394"/>
                  <a:pt x="432" y="394"/>
                  <a:pt x="432" y="394"/>
                </a:cubicBezTo>
                <a:cubicBezTo>
                  <a:pt x="432" y="395"/>
                  <a:pt x="432" y="395"/>
                  <a:pt x="432" y="395"/>
                </a:cubicBezTo>
                <a:cubicBezTo>
                  <a:pt x="432" y="396"/>
                  <a:pt x="432" y="396"/>
                  <a:pt x="432" y="396"/>
                </a:cubicBezTo>
                <a:cubicBezTo>
                  <a:pt x="432" y="396"/>
                  <a:pt x="432" y="396"/>
                  <a:pt x="432" y="396"/>
                </a:cubicBezTo>
                <a:cubicBezTo>
                  <a:pt x="434" y="394"/>
                  <a:pt x="434" y="394"/>
                  <a:pt x="434" y="394"/>
                </a:cubicBezTo>
                <a:cubicBezTo>
                  <a:pt x="434" y="394"/>
                  <a:pt x="434" y="394"/>
                  <a:pt x="434" y="394"/>
                </a:cubicBezTo>
                <a:cubicBezTo>
                  <a:pt x="434" y="395"/>
                  <a:pt x="434" y="395"/>
                  <a:pt x="434" y="395"/>
                </a:cubicBezTo>
                <a:cubicBezTo>
                  <a:pt x="434" y="396"/>
                  <a:pt x="434" y="396"/>
                  <a:pt x="434" y="396"/>
                </a:cubicBezTo>
                <a:cubicBezTo>
                  <a:pt x="433" y="397"/>
                  <a:pt x="433" y="397"/>
                  <a:pt x="433" y="397"/>
                </a:cubicBezTo>
                <a:cubicBezTo>
                  <a:pt x="431" y="399"/>
                  <a:pt x="431" y="399"/>
                  <a:pt x="431" y="399"/>
                </a:cubicBezTo>
                <a:cubicBezTo>
                  <a:pt x="430" y="400"/>
                  <a:pt x="430" y="400"/>
                  <a:pt x="430" y="400"/>
                </a:cubicBezTo>
                <a:cubicBezTo>
                  <a:pt x="429" y="400"/>
                  <a:pt x="429" y="400"/>
                  <a:pt x="429" y="400"/>
                </a:cubicBezTo>
                <a:cubicBezTo>
                  <a:pt x="430" y="401"/>
                  <a:pt x="430" y="401"/>
                  <a:pt x="430" y="401"/>
                </a:cubicBezTo>
                <a:cubicBezTo>
                  <a:pt x="431" y="400"/>
                  <a:pt x="431" y="400"/>
                  <a:pt x="431" y="400"/>
                </a:cubicBezTo>
                <a:cubicBezTo>
                  <a:pt x="433" y="398"/>
                  <a:pt x="433" y="398"/>
                  <a:pt x="433" y="398"/>
                </a:cubicBezTo>
                <a:cubicBezTo>
                  <a:pt x="434" y="398"/>
                  <a:pt x="434" y="398"/>
                  <a:pt x="434" y="398"/>
                </a:cubicBezTo>
                <a:cubicBezTo>
                  <a:pt x="434" y="399"/>
                  <a:pt x="434" y="399"/>
                  <a:pt x="434" y="399"/>
                </a:cubicBezTo>
                <a:cubicBezTo>
                  <a:pt x="433" y="400"/>
                  <a:pt x="433" y="400"/>
                  <a:pt x="433" y="400"/>
                </a:cubicBezTo>
                <a:cubicBezTo>
                  <a:pt x="433" y="401"/>
                  <a:pt x="433" y="401"/>
                  <a:pt x="433" y="401"/>
                </a:cubicBezTo>
                <a:cubicBezTo>
                  <a:pt x="433" y="401"/>
                  <a:pt x="433" y="401"/>
                  <a:pt x="433" y="401"/>
                </a:cubicBezTo>
                <a:cubicBezTo>
                  <a:pt x="434" y="400"/>
                  <a:pt x="434" y="400"/>
                  <a:pt x="434" y="400"/>
                </a:cubicBezTo>
                <a:cubicBezTo>
                  <a:pt x="436" y="398"/>
                  <a:pt x="436" y="398"/>
                  <a:pt x="436" y="398"/>
                </a:cubicBezTo>
                <a:cubicBezTo>
                  <a:pt x="437" y="398"/>
                  <a:pt x="437" y="398"/>
                  <a:pt x="437" y="398"/>
                </a:cubicBezTo>
                <a:cubicBezTo>
                  <a:pt x="437" y="399"/>
                  <a:pt x="437" y="399"/>
                  <a:pt x="437" y="399"/>
                </a:cubicBezTo>
                <a:cubicBezTo>
                  <a:pt x="436" y="399"/>
                  <a:pt x="436" y="399"/>
                  <a:pt x="436" y="399"/>
                </a:cubicBezTo>
                <a:cubicBezTo>
                  <a:pt x="435" y="400"/>
                  <a:pt x="435" y="400"/>
                  <a:pt x="435" y="400"/>
                </a:cubicBezTo>
                <a:cubicBezTo>
                  <a:pt x="436" y="400"/>
                  <a:pt x="436" y="400"/>
                  <a:pt x="436" y="400"/>
                </a:cubicBezTo>
                <a:cubicBezTo>
                  <a:pt x="438" y="399"/>
                  <a:pt x="438" y="399"/>
                  <a:pt x="438" y="399"/>
                </a:cubicBezTo>
                <a:cubicBezTo>
                  <a:pt x="438" y="400"/>
                  <a:pt x="438" y="400"/>
                  <a:pt x="438" y="400"/>
                </a:cubicBezTo>
                <a:cubicBezTo>
                  <a:pt x="436" y="401"/>
                  <a:pt x="436" y="401"/>
                  <a:pt x="436" y="401"/>
                </a:cubicBezTo>
                <a:cubicBezTo>
                  <a:pt x="435" y="402"/>
                  <a:pt x="435" y="402"/>
                  <a:pt x="435" y="402"/>
                </a:cubicBezTo>
                <a:cubicBezTo>
                  <a:pt x="436" y="402"/>
                  <a:pt x="436" y="402"/>
                  <a:pt x="436" y="402"/>
                </a:cubicBezTo>
                <a:cubicBezTo>
                  <a:pt x="437" y="401"/>
                  <a:pt x="437" y="401"/>
                  <a:pt x="437" y="401"/>
                </a:cubicBezTo>
                <a:cubicBezTo>
                  <a:pt x="439" y="399"/>
                  <a:pt x="439" y="399"/>
                  <a:pt x="439" y="399"/>
                </a:cubicBezTo>
                <a:cubicBezTo>
                  <a:pt x="440" y="399"/>
                  <a:pt x="440" y="399"/>
                  <a:pt x="440" y="399"/>
                </a:cubicBezTo>
                <a:cubicBezTo>
                  <a:pt x="439" y="400"/>
                  <a:pt x="439" y="400"/>
                  <a:pt x="439" y="400"/>
                </a:cubicBezTo>
                <a:cubicBezTo>
                  <a:pt x="439" y="401"/>
                  <a:pt x="439" y="401"/>
                  <a:pt x="439" y="401"/>
                </a:cubicBezTo>
                <a:cubicBezTo>
                  <a:pt x="441" y="399"/>
                  <a:pt x="441" y="399"/>
                  <a:pt x="441" y="399"/>
                </a:cubicBezTo>
                <a:cubicBezTo>
                  <a:pt x="441" y="400"/>
                  <a:pt x="441" y="400"/>
                  <a:pt x="441" y="400"/>
                </a:cubicBezTo>
                <a:cubicBezTo>
                  <a:pt x="441" y="402"/>
                  <a:pt x="441" y="402"/>
                  <a:pt x="441" y="402"/>
                </a:cubicBezTo>
                <a:cubicBezTo>
                  <a:pt x="440" y="402"/>
                  <a:pt x="440" y="402"/>
                  <a:pt x="440" y="402"/>
                </a:cubicBezTo>
                <a:cubicBezTo>
                  <a:pt x="440" y="403"/>
                  <a:pt x="440" y="403"/>
                  <a:pt x="440" y="403"/>
                </a:cubicBezTo>
                <a:cubicBezTo>
                  <a:pt x="441" y="403"/>
                  <a:pt x="441" y="403"/>
                  <a:pt x="441" y="403"/>
                </a:cubicBezTo>
                <a:cubicBezTo>
                  <a:pt x="443" y="404"/>
                  <a:pt x="443" y="404"/>
                  <a:pt x="443" y="404"/>
                </a:cubicBezTo>
                <a:cubicBezTo>
                  <a:pt x="444" y="403"/>
                  <a:pt x="444" y="403"/>
                  <a:pt x="444" y="403"/>
                </a:cubicBezTo>
                <a:cubicBezTo>
                  <a:pt x="446" y="402"/>
                  <a:pt x="446" y="402"/>
                  <a:pt x="446" y="402"/>
                </a:cubicBezTo>
                <a:cubicBezTo>
                  <a:pt x="446" y="403"/>
                  <a:pt x="446" y="403"/>
                  <a:pt x="446" y="403"/>
                </a:cubicBezTo>
                <a:cubicBezTo>
                  <a:pt x="446" y="404"/>
                  <a:pt x="446" y="404"/>
                  <a:pt x="446" y="404"/>
                </a:cubicBezTo>
                <a:cubicBezTo>
                  <a:pt x="445" y="404"/>
                  <a:pt x="445" y="404"/>
                  <a:pt x="445" y="404"/>
                </a:cubicBezTo>
                <a:cubicBezTo>
                  <a:pt x="445" y="404"/>
                  <a:pt x="445" y="404"/>
                  <a:pt x="445" y="404"/>
                </a:cubicBezTo>
                <a:cubicBezTo>
                  <a:pt x="448" y="405"/>
                  <a:pt x="448" y="405"/>
                  <a:pt x="448" y="405"/>
                </a:cubicBezTo>
                <a:cubicBezTo>
                  <a:pt x="449" y="406"/>
                  <a:pt x="449" y="406"/>
                  <a:pt x="449" y="406"/>
                </a:cubicBezTo>
                <a:cubicBezTo>
                  <a:pt x="447" y="406"/>
                  <a:pt x="447" y="406"/>
                  <a:pt x="447" y="406"/>
                </a:cubicBezTo>
                <a:cubicBezTo>
                  <a:pt x="447" y="407"/>
                  <a:pt x="447" y="407"/>
                  <a:pt x="447" y="407"/>
                </a:cubicBezTo>
                <a:cubicBezTo>
                  <a:pt x="444" y="407"/>
                  <a:pt x="444" y="407"/>
                  <a:pt x="444" y="407"/>
                </a:cubicBezTo>
                <a:cubicBezTo>
                  <a:pt x="444" y="407"/>
                  <a:pt x="444" y="407"/>
                  <a:pt x="444" y="407"/>
                </a:cubicBezTo>
                <a:cubicBezTo>
                  <a:pt x="442" y="408"/>
                  <a:pt x="442" y="408"/>
                  <a:pt x="442" y="408"/>
                </a:cubicBezTo>
                <a:cubicBezTo>
                  <a:pt x="441" y="409"/>
                  <a:pt x="441" y="409"/>
                  <a:pt x="441" y="409"/>
                </a:cubicBezTo>
                <a:cubicBezTo>
                  <a:pt x="438" y="409"/>
                  <a:pt x="438" y="409"/>
                  <a:pt x="438" y="409"/>
                </a:cubicBezTo>
                <a:cubicBezTo>
                  <a:pt x="435" y="409"/>
                  <a:pt x="435" y="409"/>
                  <a:pt x="435" y="409"/>
                </a:cubicBezTo>
                <a:cubicBezTo>
                  <a:pt x="435" y="410"/>
                  <a:pt x="435" y="410"/>
                  <a:pt x="435" y="410"/>
                </a:cubicBezTo>
                <a:cubicBezTo>
                  <a:pt x="437" y="410"/>
                  <a:pt x="437" y="410"/>
                  <a:pt x="437" y="410"/>
                </a:cubicBezTo>
                <a:cubicBezTo>
                  <a:pt x="440" y="409"/>
                  <a:pt x="440" y="409"/>
                  <a:pt x="440" y="409"/>
                </a:cubicBezTo>
                <a:cubicBezTo>
                  <a:pt x="441" y="409"/>
                  <a:pt x="441" y="409"/>
                  <a:pt x="441" y="409"/>
                </a:cubicBezTo>
                <a:cubicBezTo>
                  <a:pt x="441" y="410"/>
                  <a:pt x="441" y="410"/>
                  <a:pt x="441" y="410"/>
                </a:cubicBezTo>
                <a:cubicBezTo>
                  <a:pt x="438" y="410"/>
                  <a:pt x="438" y="410"/>
                  <a:pt x="438" y="410"/>
                </a:cubicBezTo>
                <a:cubicBezTo>
                  <a:pt x="436" y="411"/>
                  <a:pt x="436" y="411"/>
                  <a:pt x="436" y="411"/>
                </a:cubicBezTo>
                <a:cubicBezTo>
                  <a:pt x="434" y="412"/>
                  <a:pt x="434" y="412"/>
                  <a:pt x="434" y="412"/>
                </a:cubicBezTo>
                <a:cubicBezTo>
                  <a:pt x="433" y="412"/>
                  <a:pt x="433" y="412"/>
                  <a:pt x="433" y="412"/>
                </a:cubicBezTo>
                <a:cubicBezTo>
                  <a:pt x="432" y="412"/>
                  <a:pt x="432" y="412"/>
                  <a:pt x="432" y="412"/>
                </a:cubicBezTo>
                <a:cubicBezTo>
                  <a:pt x="432" y="414"/>
                  <a:pt x="432" y="414"/>
                  <a:pt x="432" y="414"/>
                </a:cubicBezTo>
                <a:cubicBezTo>
                  <a:pt x="431" y="414"/>
                  <a:pt x="431" y="414"/>
                  <a:pt x="431" y="414"/>
                </a:cubicBezTo>
                <a:cubicBezTo>
                  <a:pt x="429" y="413"/>
                  <a:pt x="429" y="413"/>
                  <a:pt x="429" y="413"/>
                </a:cubicBezTo>
                <a:cubicBezTo>
                  <a:pt x="428" y="410"/>
                  <a:pt x="428" y="410"/>
                  <a:pt x="428" y="410"/>
                </a:cubicBezTo>
                <a:cubicBezTo>
                  <a:pt x="428" y="412"/>
                  <a:pt x="428" y="412"/>
                  <a:pt x="428" y="412"/>
                </a:cubicBezTo>
                <a:cubicBezTo>
                  <a:pt x="427" y="412"/>
                  <a:pt x="427" y="412"/>
                  <a:pt x="427" y="412"/>
                </a:cubicBezTo>
                <a:cubicBezTo>
                  <a:pt x="428" y="413"/>
                  <a:pt x="428" y="413"/>
                  <a:pt x="428" y="413"/>
                </a:cubicBezTo>
                <a:cubicBezTo>
                  <a:pt x="428" y="413"/>
                  <a:pt x="428" y="413"/>
                  <a:pt x="428" y="413"/>
                </a:cubicBezTo>
                <a:cubicBezTo>
                  <a:pt x="431" y="415"/>
                  <a:pt x="431" y="415"/>
                  <a:pt x="431" y="415"/>
                </a:cubicBezTo>
                <a:cubicBezTo>
                  <a:pt x="431" y="416"/>
                  <a:pt x="431" y="416"/>
                  <a:pt x="431" y="416"/>
                </a:cubicBezTo>
                <a:cubicBezTo>
                  <a:pt x="430" y="416"/>
                  <a:pt x="430" y="416"/>
                  <a:pt x="430" y="416"/>
                </a:cubicBezTo>
                <a:cubicBezTo>
                  <a:pt x="429" y="416"/>
                  <a:pt x="429" y="416"/>
                  <a:pt x="429" y="416"/>
                </a:cubicBezTo>
                <a:cubicBezTo>
                  <a:pt x="430" y="417"/>
                  <a:pt x="430" y="417"/>
                  <a:pt x="430" y="417"/>
                </a:cubicBezTo>
                <a:cubicBezTo>
                  <a:pt x="430" y="418"/>
                  <a:pt x="430" y="418"/>
                  <a:pt x="430" y="418"/>
                </a:cubicBezTo>
                <a:cubicBezTo>
                  <a:pt x="431" y="417"/>
                  <a:pt x="431" y="417"/>
                  <a:pt x="431" y="417"/>
                </a:cubicBezTo>
                <a:cubicBezTo>
                  <a:pt x="431" y="417"/>
                  <a:pt x="431" y="417"/>
                  <a:pt x="431" y="417"/>
                </a:cubicBezTo>
                <a:cubicBezTo>
                  <a:pt x="432" y="415"/>
                  <a:pt x="432" y="415"/>
                  <a:pt x="432" y="415"/>
                </a:cubicBezTo>
                <a:cubicBezTo>
                  <a:pt x="434" y="415"/>
                  <a:pt x="434" y="415"/>
                  <a:pt x="434" y="415"/>
                </a:cubicBezTo>
                <a:cubicBezTo>
                  <a:pt x="436" y="414"/>
                  <a:pt x="436" y="414"/>
                  <a:pt x="436" y="414"/>
                </a:cubicBezTo>
                <a:cubicBezTo>
                  <a:pt x="437" y="414"/>
                  <a:pt x="437" y="414"/>
                  <a:pt x="437" y="414"/>
                </a:cubicBezTo>
                <a:cubicBezTo>
                  <a:pt x="437" y="413"/>
                  <a:pt x="437" y="413"/>
                  <a:pt x="437" y="413"/>
                </a:cubicBezTo>
                <a:cubicBezTo>
                  <a:pt x="438" y="411"/>
                  <a:pt x="438" y="411"/>
                  <a:pt x="438" y="411"/>
                </a:cubicBezTo>
                <a:cubicBezTo>
                  <a:pt x="440" y="411"/>
                  <a:pt x="440" y="411"/>
                  <a:pt x="440" y="411"/>
                </a:cubicBezTo>
                <a:cubicBezTo>
                  <a:pt x="442" y="410"/>
                  <a:pt x="442" y="410"/>
                  <a:pt x="442" y="410"/>
                </a:cubicBezTo>
                <a:cubicBezTo>
                  <a:pt x="443" y="410"/>
                  <a:pt x="443" y="410"/>
                  <a:pt x="443" y="410"/>
                </a:cubicBezTo>
                <a:cubicBezTo>
                  <a:pt x="445" y="410"/>
                  <a:pt x="445" y="410"/>
                  <a:pt x="445" y="410"/>
                </a:cubicBezTo>
                <a:cubicBezTo>
                  <a:pt x="444" y="410"/>
                  <a:pt x="444" y="410"/>
                  <a:pt x="444" y="410"/>
                </a:cubicBezTo>
                <a:cubicBezTo>
                  <a:pt x="443" y="410"/>
                  <a:pt x="443" y="410"/>
                  <a:pt x="443" y="410"/>
                </a:cubicBezTo>
                <a:cubicBezTo>
                  <a:pt x="442" y="410"/>
                  <a:pt x="442" y="410"/>
                  <a:pt x="442" y="410"/>
                </a:cubicBezTo>
                <a:cubicBezTo>
                  <a:pt x="443" y="409"/>
                  <a:pt x="443" y="409"/>
                  <a:pt x="443" y="409"/>
                </a:cubicBezTo>
                <a:cubicBezTo>
                  <a:pt x="446" y="409"/>
                  <a:pt x="446" y="409"/>
                  <a:pt x="446" y="409"/>
                </a:cubicBezTo>
                <a:cubicBezTo>
                  <a:pt x="448" y="409"/>
                  <a:pt x="448" y="409"/>
                  <a:pt x="448" y="409"/>
                </a:cubicBezTo>
                <a:cubicBezTo>
                  <a:pt x="449" y="411"/>
                  <a:pt x="449" y="411"/>
                  <a:pt x="449" y="411"/>
                </a:cubicBezTo>
                <a:cubicBezTo>
                  <a:pt x="449" y="413"/>
                  <a:pt x="449" y="413"/>
                  <a:pt x="449" y="413"/>
                </a:cubicBezTo>
                <a:cubicBezTo>
                  <a:pt x="447" y="414"/>
                  <a:pt x="447" y="414"/>
                  <a:pt x="447" y="414"/>
                </a:cubicBezTo>
                <a:cubicBezTo>
                  <a:pt x="447" y="414"/>
                  <a:pt x="447" y="414"/>
                  <a:pt x="447" y="414"/>
                </a:cubicBezTo>
                <a:cubicBezTo>
                  <a:pt x="446" y="415"/>
                  <a:pt x="446" y="415"/>
                  <a:pt x="446" y="415"/>
                </a:cubicBezTo>
                <a:cubicBezTo>
                  <a:pt x="447" y="415"/>
                  <a:pt x="447" y="415"/>
                  <a:pt x="447" y="415"/>
                </a:cubicBezTo>
                <a:cubicBezTo>
                  <a:pt x="448" y="416"/>
                  <a:pt x="448" y="416"/>
                  <a:pt x="448" y="416"/>
                </a:cubicBezTo>
                <a:cubicBezTo>
                  <a:pt x="448" y="415"/>
                  <a:pt x="448" y="415"/>
                  <a:pt x="448" y="415"/>
                </a:cubicBezTo>
                <a:cubicBezTo>
                  <a:pt x="449" y="414"/>
                  <a:pt x="449" y="414"/>
                  <a:pt x="449" y="414"/>
                </a:cubicBezTo>
                <a:cubicBezTo>
                  <a:pt x="451" y="413"/>
                  <a:pt x="451" y="413"/>
                  <a:pt x="451" y="413"/>
                </a:cubicBezTo>
                <a:cubicBezTo>
                  <a:pt x="452" y="413"/>
                  <a:pt x="452" y="413"/>
                  <a:pt x="452" y="413"/>
                </a:cubicBezTo>
                <a:cubicBezTo>
                  <a:pt x="452" y="414"/>
                  <a:pt x="452" y="414"/>
                  <a:pt x="452" y="414"/>
                </a:cubicBezTo>
                <a:cubicBezTo>
                  <a:pt x="452" y="414"/>
                  <a:pt x="452" y="414"/>
                  <a:pt x="452" y="414"/>
                </a:cubicBezTo>
                <a:cubicBezTo>
                  <a:pt x="452" y="415"/>
                  <a:pt x="452" y="415"/>
                  <a:pt x="452" y="415"/>
                </a:cubicBezTo>
                <a:cubicBezTo>
                  <a:pt x="453" y="415"/>
                  <a:pt x="453" y="415"/>
                  <a:pt x="453" y="415"/>
                </a:cubicBezTo>
                <a:cubicBezTo>
                  <a:pt x="455" y="416"/>
                  <a:pt x="455" y="416"/>
                  <a:pt x="455" y="416"/>
                </a:cubicBezTo>
                <a:cubicBezTo>
                  <a:pt x="455" y="416"/>
                  <a:pt x="455" y="416"/>
                  <a:pt x="455" y="416"/>
                </a:cubicBezTo>
                <a:cubicBezTo>
                  <a:pt x="454" y="416"/>
                  <a:pt x="454" y="416"/>
                  <a:pt x="454" y="416"/>
                </a:cubicBezTo>
                <a:cubicBezTo>
                  <a:pt x="453" y="416"/>
                  <a:pt x="453" y="416"/>
                  <a:pt x="453" y="416"/>
                </a:cubicBezTo>
                <a:cubicBezTo>
                  <a:pt x="454" y="417"/>
                  <a:pt x="454" y="417"/>
                  <a:pt x="454" y="417"/>
                </a:cubicBezTo>
                <a:cubicBezTo>
                  <a:pt x="455" y="418"/>
                  <a:pt x="455" y="418"/>
                  <a:pt x="455" y="418"/>
                </a:cubicBezTo>
                <a:cubicBezTo>
                  <a:pt x="456" y="419"/>
                  <a:pt x="456" y="419"/>
                  <a:pt x="456" y="419"/>
                </a:cubicBezTo>
                <a:cubicBezTo>
                  <a:pt x="455" y="419"/>
                  <a:pt x="455" y="419"/>
                  <a:pt x="455" y="419"/>
                </a:cubicBezTo>
                <a:cubicBezTo>
                  <a:pt x="454" y="419"/>
                  <a:pt x="454" y="419"/>
                  <a:pt x="454" y="419"/>
                </a:cubicBezTo>
                <a:cubicBezTo>
                  <a:pt x="453" y="420"/>
                  <a:pt x="453" y="420"/>
                  <a:pt x="453" y="420"/>
                </a:cubicBezTo>
                <a:cubicBezTo>
                  <a:pt x="455" y="421"/>
                  <a:pt x="455" y="421"/>
                  <a:pt x="455" y="421"/>
                </a:cubicBezTo>
                <a:cubicBezTo>
                  <a:pt x="454" y="422"/>
                  <a:pt x="454" y="422"/>
                  <a:pt x="454" y="422"/>
                </a:cubicBezTo>
                <a:cubicBezTo>
                  <a:pt x="453" y="422"/>
                  <a:pt x="453" y="422"/>
                  <a:pt x="453" y="422"/>
                </a:cubicBezTo>
                <a:cubicBezTo>
                  <a:pt x="453" y="423"/>
                  <a:pt x="453" y="423"/>
                  <a:pt x="453" y="423"/>
                </a:cubicBezTo>
                <a:cubicBezTo>
                  <a:pt x="452" y="424"/>
                  <a:pt x="452" y="424"/>
                  <a:pt x="452" y="424"/>
                </a:cubicBezTo>
                <a:cubicBezTo>
                  <a:pt x="450" y="423"/>
                  <a:pt x="450" y="423"/>
                  <a:pt x="450" y="423"/>
                </a:cubicBezTo>
                <a:cubicBezTo>
                  <a:pt x="451" y="424"/>
                  <a:pt x="451" y="424"/>
                  <a:pt x="451" y="424"/>
                </a:cubicBezTo>
                <a:cubicBezTo>
                  <a:pt x="453" y="425"/>
                  <a:pt x="453" y="425"/>
                  <a:pt x="453" y="425"/>
                </a:cubicBezTo>
                <a:cubicBezTo>
                  <a:pt x="454" y="424"/>
                  <a:pt x="454" y="424"/>
                  <a:pt x="454" y="424"/>
                </a:cubicBezTo>
                <a:cubicBezTo>
                  <a:pt x="455" y="425"/>
                  <a:pt x="455" y="425"/>
                  <a:pt x="455" y="425"/>
                </a:cubicBezTo>
                <a:cubicBezTo>
                  <a:pt x="454" y="426"/>
                  <a:pt x="454" y="426"/>
                  <a:pt x="454" y="426"/>
                </a:cubicBezTo>
                <a:cubicBezTo>
                  <a:pt x="453" y="426"/>
                  <a:pt x="453" y="426"/>
                  <a:pt x="453" y="426"/>
                </a:cubicBezTo>
                <a:cubicBezTo>
                  <a:pt x="452" y="426"/>
                  <a:pt x="452" y="426"/>
                  <a:pt x="452" y="426"/>
                </a:cubicBezTo>
                <a:cubicBezTo>
                  <a:pt x="453" y="426"/>
                  <a:pt x="453" y="426"/>
                  <a:pt x="453" y="426"/>
                </a:cubicBezTo>
                <a:cubicBezTo>
                  <a:pt x="454" y="426"/>
                  <a:pt x="454" y="426"/>
                  <a:pt x="454" y="426"/>
                </a:cubicBezTo>
                <a:cubicBezTo>
                  <a:pt x="455" y="426"/>
                  <a:pt x="455" y="426"/>
                  <a:pt x="455" y="426"/>
                </a:cubicBezTo>
                <a:cubicBezTo>
                  <a:pt x="454" y="428"/>
                  <a:pt x="454" y="428"/>
                  <a:pt x="454" y="428"/>
                </a:cubicBezTo>
                <a:cubicBezTo>
                  <a:pt x="454" y="429"/>
                  <a:pt x="454" y="429"/>
                  <a:pt x="454" y="429"/>
                </a:cubicBezTo>
                <a:cubicBezTo>
                  <a:pt x="453" y="429"/>
                  <a:pt x="453" y="429"/>
                  <a:pt x="453" y="429"/>
                </a:cubicBezTo>
                <a:cubicBezTo>
                  <a:pt x="452" y="430"/>
                  <a:pt x="452" y="430"/>
                  <a:pt x="452" y="430"/>
                </a:cubicBezTo>
                <a:cubicBezTo>
                  <a:pt x="451" y="431"/>
                  <a:pt x="451" y="431"/>
                  <a:pt x="451" y="431"/>
                </a:cubicBezTo>
                <a:cubicBezTo>
                  <a:pt x="449" y="431"/>
                  <a:pt x="449" y="431"/>
                  <a:pt x="449" y="431"/>
                </a:cubicBezTo>
                <a:cubicBezTo>
                  <a:pt x="448" y="432"/>
                  <a:pt x="448" y="432"/>
                  <a:pt x="448" y="432"/>
                </a:cubicBezTo>
                <a:cubicBezTo>
                  <a:pt x="448" y="432"/>
                  <a:pt x="448" y="432"/>
                  <a:pt x="448" y="432"/>
                </a:cubicBezTo>
                <a:cubicBezTo>
                  <a:pt x="447" y="433"/>
                  <a:pt x="447" y="433"/>
                  <a:pt x="447" y="433"/>
                </a:cubicBezTo>
                <a:cubicBezTo>
                  <a:pt x="446" y="433"/>
                  <a:pt x="446" y="433"/>
                  <a:pt x="446" y="433"/>
                </a:cubicBezTo>
                <a:cubicBezTo>
                  <a:pt x="446" y="434"/>
                  <a:pt x="446" y="434"/>
                  <a:pt x="446" y="434"/>
                </a:cubicBezTo>
                <a:cubicBezTo>
                  <a:pt x="445" y="434"/>
                  <a:pt x="445" y="434"/>
                  <a:pt x="445" y="434"/>
                </a:cubicBezTo>
                <a:cubicBezTo>
                  <a:pt x="444" y="433"/>
                  <a:pt x="444" y="433"/>
                  <a:pt x="444" y="433"/>
                </a:cubicBezTo>
                <a:cubicBezTo>
                  <a:pt x="443" y="434"/>
                  <a:pt x="443" y="434"/>
                  <a:pt x="443" y="434"/>
                </a:cubicBezTo>
                <a:cubicBezTo>
                  <a:pt x="442" y="434"/>
                  <a:pt x="442" y="434"/>
                  <a:pt x="442" y="434"/>
                </a:cubicBezTo>
                <a:cubicBezTo>
                  <a:pt x="442" y="433"/>
                  <a:pt x="442" y="433"/>
                  <a:pt x="442" y="433"/>
                </a:cubicBezTo>
                <a:cubicBezTo>
                  <a:pt x="440" y="434"/>
                  <a:pt x="440" y="434"/>
                  <a:pt x="440" y="434"/>
                </a:cubicBezTo>
                <a:cubicBezTo>
                  <a:pt x="439" y="434"/>
                  <a:pt x="439" y="434"/>
                  <a:pt x="439" y="434"/>
                </a:cubicBezTo>
                <a:cubicBezTo>
                  <a:pt x="438" y="433"/>
                  <a:pt x="438" y="433"/>
                  <a:pt x="438" y="433"/>
                </a:cubicBezTo>
                <a:cubicBezTo>
                  <a:pt x="438" y="433"/>
                  <a:pt x="438" y="433"/>
                  <a:pt x="438" y="433"/>
                </a:cubicBezTo>
                <a:cubicBezTo>
                  <a:pt x="438" y="434"/>
                  <a:pt x="438" y="434"/>
                  <a:pt x="438" y="434"/>
                </a:cubicBezTo>
                <a:cubicBezTo>
                  <a:pt x="437" y="435"/>
                  <a:pt x="437" y="435"/>
                  <a:pt x="437" y="435"/>
                </a:cubicBezTo>
                <a:cubicBezTo>
                  <a:pt x="436" y="434"/>
                  <a:pt x="436" y="434"/>
                  <a:pt x="436" y="434"/>
                </a:cubicBezTo>
                <a:cubicBezTo>
                  <a:pt x="435" y="435"/>
                  <a:pt x="435" y="435"/>
                  <a:pt x="435" y="435"/>
                </a:cubicBezTo>
                <a:cubicBezTo>
                  <a:pt x="436" y="435"/>
                  <a:pt x="436" y="435"/>
                  <a:pt x="436" y="435"/>
                </a:cubicBezTo>
                <a:cubicBezTo>
                  <a:pt x="436" y="436"/>
                  <a:pt x="436" y="436"/>
                  <a:pt x="436" y="436"/>
                </a:cubicBezTo>
                <a:cubicBezTo>
                  <a:pt x="435" y="437"/>
                  <a:pt x="435" y="437"/>
                  <a:pt x="435" y="437"/>
                </a:cubicBezTo>
                <a:cubicBezTo>
                  <a:pt x="434" y="437"/>
                  <a:pt x="434" y="437"/>
                  <a:pt x="434" y="437"/>
                </a:cubicBezTo>
                <a:cubicBezTo>
                  <a:pt x="434" y="438"/>
                  <a:pt x="434" y="438"/>
                  <a:pt x="434" y="438"/>
                </a:cubicBezTo>
                <a:cubicBezTo>
                  <a:pt x="433" y="439"/>
                  <a:pt x="433" y="439"/>
                  <a:pt x="433" y="439"/>
                </a:cubicBezTo>
                <a:cubicBezTo>
                  <a:pt x="432" y="439"/>
                  <a:pt x="432" y="439"/>
                  <a:pt x="432" y="439"/>
                </a:cubicBezTo>
                <a:cubicBezTo>
                  <a:pt x="432" y="440"/>
                  <a:pt x="432" y="440"/>
                  <a:pt x="432" y="440"/>
                </a:cubicBezTo>
                <a:cubicBezTo>
                  <a:pt x="431" y="440"/>
                  <a:pt x="431" y="440"/>
                  <a:pt x="431" y="440"/>
                </a:cubicBezTo>
                <a:cubicBezTo>
                  <a:pt x="430" y="442"/>
                  <a:pt x="430" y="442"/>
                  <a:pt x="430" y="442"/>
                </a:cubicBezTo>
                <a:cubicBezTo>
                  <a:pt x="429" y="441"/>
                  <a:pt x="429" y="441"/>
                  <a:pt x="429" y="441"/>
                </a:cubicBezTo>
                <a:cubicBezTo>
                  <a:pt x="429" y="442"/>
                  <a:pt x="429" y="442"/>
                  <a:pt x="429" y="442"/>
                </a:cubicBezTo>
                <a:cubicBezTo>
                  <a:pt x="427" y="442"/>
                  <a:pt x="427" y="442"/>
                  <a:pt x="427" y="442"/>
                </a:cubicBezTo>
                <a:cubicBezTo>
                  <a:pt x="427" y="443"/>
                  <a:pt x="427" y="443"/>
                  <a:pt x="427" y="443"/>
                </a:cubicBezTo>
                <a:cubicBezTo>
                  <a:pt x="426" y="443"/>
                  <a:pt x="426" y="443"/>
                  <a:pt x="426" y="443"/>
                </a:cubicBezTo>
                <a:cubicBezTo>
                  <a:pt x="425" y="443"/>
                  <a:pt x="425" y="443"/>
                  <a:pt x="425" y="443"/>
                </a:cubicBezTo>
                <a:cubicBezTo>
                  <a:pt x="423" y="443"/>
                  <a:pt x="423" y="443"/>
                  <a:pt x="423" y="443"/>
                </a:cubicBezTo>
                <a:cubicBezTo>
                  <a:pt x="423" y="442"/>
                  <a:pt x="423" y="442"/>
                  <a:pt x="423" y="442"/>
                </a:cubicBezTo>
                <a:cubicBezTo>
                  <a:pt x="421" y="443"/>
                  <a:pt x="421" y="443"/>
                  <a:pt x="421" y="443"/>
                </a:cubicBezTo>
                <a:cubicBezTo>
                  <a:pt x="420" y="443"/>
                  <a:pt x="420" y="443"/>
                  <a:pt x="420" y="443"/>
                </a:cubicBezTo>
                <a:cubicBezTo>
                  <a:pt x="418" y="444"/>
                  <a:pt x="418" y="444"/>
                  <a:pt x="418" y="444"/>
                </a:cubicBezTo>
                <a:cubicBezTo>
                  <a:pt x="416" y="443"/>
                  <a:pt x="416" y="443"/>
                  <a:pt x="416" y="443"/>
                </a:cubicBezTo>
                <a:cubicBezTo>
                  <a:pt x="417" y="443"/>
                  <a:pt x="417" y="443"/>
                  <a:pt x="417" y="443"/>
                </a:cubicBezTo>
                <a:cubicBezTo>
                  <a:pt x="416" y="442"/>
                  <a:pt x="416" y="442"/>
                  <a:pt x="416" y="442"/>
                </a:cubicBezTo>
                <a:cubicBezTo>
                  <a:pt x="415" y="443"/>
                  <a:pt x="415" y="443"/>
                  <a:pt x="415" y="443"/>
                </a:cubicBezTo>
                <a:cubicBezTo>
                  <a:pt x="414" y="443"/>
                  <a:pt x="414" y="443"/>
                  <a:pt x="414" y="443"/>
                </a:cubicBezTo>
                <a:cubicBezTo>
                  <a:pt x="412" y="442"/>
                  <a:pt x="412" y="442"/>
                  <a:pt x="412" y="442"/>
                </a:cubicBezTo>
                <a:cubicBezTo>
                  <a:pt x="411" y="442"/>
                  <a:pt x="411" y="442"/>
                  <a:pt x="411" y="442"/>
                </a:cubicBezTo>
                <a:cubicBezTo>
                  <a:pt x="410" y="442"/>
                  <a:pt x="410" y="442"/>
                  <a:pt x="410" y="442"/>
                </a:cubicBezTo>
                <a:cubicBezTo>
                  <a:pt x="409" y="441"/>
                  <a:pt x="409" y="441"/>
                  <a:pt x="409" y="441"/>
                </a:cubicBezTo>
                <a:cubicBezTo>
                  <a:pt x="408" y="441"/>
                  <a:pt x="408" y="441"/>
                  <a:pt x="408" y="441"/>
                </a:cubicBezTo>
                <a:cubicBezTo>
                  <a:pt x="407" y="442"/>
                  <a:pt x="407" y="442"/>
                  <a:pt x="407" y="442"/>
                </a:cubicBezTo>
                <a:cubicBezTo>
                  <a:pt x="405" y="442"/>
                  <a:pt x="405" y="442"/>
                  <a:pt x="405" y="442"/>
                </a:cubicBezTo>
                <a:cubicBezTo>
                  <a:pt x="404" y="441"/>
                  <a:pt x="404" y="441"/>
                  <a:pt x="404" y="441"/>
                </a:cubicBezTo>
                <a:cubicBezTo>
                  <a:pt x="403" y="442"/>
                  <a:pt x="403" y="442"/>
                  <a:pt x="403" y="442"/>
                </a:cubicBezTo>
                <a:cubicBezTo>
                  <a:pt x="402" y="442"/>
                  <a:pt x="402" y="442"/>
                  <a:pt x="402" y="442"/>
                </a:cubicBezTo>
                <a:cubicBezTo>
                  <a:pt x="401" y="441"/>
                  <a:pt x="401" y="441"/>
                  <a:pt x="401" y="441"/>
                </a:cubicBezTo>
                <a:cubicBezTo>
                  <a:pt x="400" y="442"/>
                  <a:pt x="400" y="442"/>
                  <a:pt x="400" y="442"/>
                </a:cubicBezTo>
                <a:cubicBezTo>
                  <a:pt x="399" y="441"/>
                  <a:pt x="399" y="441"/>
                  <a:pt x="399" y="441"/>
                </a:cubicBezTo>
                <a:cubicBezTo>
                  <a:pt x="398" y="441"/>
                  <a:pt x="398" y="441"/>
                  <a:pt x="398" y="441"/>
                </a:cubicBezTo>
                <a:cubicBezTo>
                  <a:pt x="396" y="441"/>
                  <a:pt x="396" y="441"/>
                  <a:pt x="396" y="441"/>
                </a:cubicBezTo>
                <a:cubicBezTo>
                  <a:pt x="394" y="441"/>
                  <a:pt x="394" y="441"/>
                  <a:pt x="394" y="441"/>
                </a:cubicBezTo>
                <a:cubicBezTo>
                  <a:pt x="392" y="441"/>
                  <a:pt x="392" y="441"/>
                  <a:pt x="392" y="441"/>
                </a:cubicBezTo>
                <a:cubicBezTo>
                  <a:pt x="391" y="439"/>
                  <a:pt x="391" y="439"/>
                  <a:pt x="391" y="439"/>
                </a:cubicBezTo>
                <a:cubicBezTo>
                  <a:pt x="390" y="440"/>
                  <a:pt x="390" y="440"/>
                  <a:pt x="390" y="440"/>
                </a:cubicBezTo>
                <a:cubicBezTo>
                  <a:pt x="389" y="441"/>
                  <a:pt x="389" y="441"/>
                  <a:pt x="389" y="441"/>
                </a:cubicBezTo>
                <a:cubicBezTo>
                  <a:pt x="390" y="441"/>
                  <a:pt x="390" y="441"/>
                  <a:pt x="390" y="441"/>
                </a:cubicBezTo>
                <a:cubicBezTo>
                  <a:pt x="389" y="442"/>
                  <a:pt x="389" y="442"/>
                  <a:pt x="389" y="442"/>
                </a:cubicBezTo>
                <a:cubicBezTo>
                  <a:pt x="388" y="442"/>
                  <a:pt x="388" y="442"/>
                  <a:pt x="388" y="442"/>
                </a:cubicBezTo>
                <a:cubicBezTo>
                  <a:pt x="386" y="444"/>
                  <a:pt x="386" y="444"/>
                  <a:pt x="386" y="444"/>
                </a:cubicBezTo>
                <a:cubicBezTo>
                  <a:pt x="384" y="445"/>
                  <a:pt x="384" y="445"/>
                  <a:pt x="384" y="445"/>
                </a:cubicBezTo>
                <a:cubicBezTo>
                  <a:pt x="384" y="446"/>
                  <a:pt x="384" y="446"/>
                  <a:pt x="384" y="446"/>
                </a:cubicBezTo>
                <a:cubicBezTo>
                  <a:pt x="384" y="446"/>
                  <a:pt x="384" y="446"/>
                  <a:pt x="384" y="446"/>
                </a:cubicBezTo>
                <a:cubicBezTo>
                  <a:pt x="384" y="448"/>
                  <a:pt x="384" y="448"/>
                  <a:pt x="384" y="448"/>
                </a:cubicBezTo>
                <a:cubicBezTo>
                  <a:pt x="383" y="449"/>
                  <a:pt x="383" y="449"/>
                  <a:pt x="383" y="449"/>
                </a:cubicBezTo>
                <a:cubicBezTo>
                  <a:pt x="381" y="449"/>
                  <a:pt x="381" y="449"/>
                  <a:pt x="381" y="449"/>
                </a:cubicBezTo>
                <a:cubicBezTo>
                  <a:pt x="380" y="449"/>
                  <a:pt x="380" y="449"/>
                  <a:pt x="380" y="449"/>
                </a:cubicBezTo>
                <a:cubicBezTo>
                  <a:pt x="378" y="450"/>
                  <a:pt x="378" y="450"/>
                  <a:pt x="378" y="450"/>
                </a:cubicBezTo>
                <a:cubicBezTo>
                  <a:pt x="377" y="451"/>
                  <a:pt x="377" y="451"/>
                  <a:pt x="377" y="451"/>
                </a:cubicBezTo>
                <a:cubicBezTo>
                  <a:pt x="376" y="451"/>
                  <a:pt x="376" y="451"/>
                  <a:pt x="376" y="451"/>
                </a:cubicBezTo>
                <a:cubicBezTo>
                  <a:pt x="376" y="451"/>
                  <a:pt x="376" y="451"/>
                  <a:pt x="376" y="451"/>
                </a:cubicBezTo>
                <a:cubicBezTo>
                  <a:pt x="375" y="451"/>
                  <a:pt x="375" y="451"/>
                  <a:pt x="375" y="451"/>
                </a:cubicBezTo>
                <a:cubicBezTo>
                  <a:pt x="374" y="453"/>
                  <a:pt x="374" y="453"/>
                  <a:pt x="374" y="453"/>
                </a:cubicBezTo>
                <a:cubicBezTo>
                  <a:pt x="373" y="453"/>
                  <a:pt x="373" y="453"/>
                  <a:pt x="373" y="453"/>
                </a:cubicBezTo>
                <a:cubicBezTo>
                  <a:pt x="371" y="454"/>
                  <a:pt x="371" y="454"/>
                  <a:pt x="371" y="454"/>
                </a:cubicBezTo>
                <a:cubicBezTo>
                  <a:pt x="371" y="454"/>
                  <a:pt x="371" y="454"/>
                  <a:pt x="371" y="454"/>
                </a:cubicBezTo>
                <a:cubicBezTo>
                  <a:pt x="370" y="455"/>
                  <a:pt x="370" y="455"/>
                  <a:pt x="370" y="455"/>
                </a:cubicBezTo>
                <a:cubicBezTo>
                  <a:pt x="369" y="457"/>
                  <a:pt x="369" y="457"/>
                  <a:pt x="369" y="457"/>
                </a:cubicBezTo>
                <a:cubicBezTo>
                  <a:pt x="366" y="458"/>
                  <a:pt x="366" y="458"/>
                  <a:pt x="366" y="458"/>
                </a:cubicBezTo>
                <a:cubicBezTo>
                  <a:pt x="366" y="460"/>
                  <a:pt x="366" y="460"/>
                  <a:pt x="366" y="460"/>
                </a:cubicBezTo>
                <a:cubicBezTo>
                  <a:pt x="364" y="461"/>
                  <a:pt x="364" y="461"/>
                  <a:pt x="364" y="461"/>
                </a:cubicBezTo>
                <a:cubicBezTo>
                  <a:pt x="363" y="463"/>
                  <a:pt x="363" y="463"/>
                  <a:pt x="363" y="463"/>
                </a:cubicBezTo>
                <a:cubicBezTo>
                  <a:pt x="362" y="463"/>
                  <a:pt x="362" y="463"/>
                  <a:pt x="362" y="463"/>
                </a:cubicBezTo>
                <a:cubicBezTo>
                  <a:pt x="361" y="465"/>
                  <a:pt x="361" y="465"/>
                  <a:pt x="361" y="465"/>
                </a:cubicBezTo>
                <a:cubicBezTo>
                  <a:pt x="360" y="466"/>
                  <a:pt x="360" y="466"/>
                  <a:pt x="360" y="466"/>
                </a:cubicBezTo>
                <a:cubicBezTo>
                  <a:pt x="357" y="468"/>
                  <a:pt x="357" y="468"/>
                  <a:pt x="357" y="468"/>
                </a:cubicBezTo>
                <a:cubicBezTo>
                  <a:pt x="357" y="469"/>
                  <a:pt x="357" y="469"/>
                  <a:pt x="357" y="469"/>
                </a:cubicBezTo>
                <a:cubicBezTo>
                  <a:pt x="354" y="470"/>
                  <a:pt x="354" y="470"/>
                  <a:pt x="354" y="470"/>
                </a:cubicBezTo>
                <a:cubicBezTo>
                  <a:pt x="352" y="470"/>
                  <a:pt x="352" y="470"/>
                  <a:pt x="352" y="470"/>
                </a:cubicBezTo>
                <a:cubicBezTo>
                  <a:pt x="353" y="471"/>
                  <a:pt x="353" y="471"/>
                  <a:pt x="353" y="471"/>
                </a:cubicBezTo>
                <a:cubicBezTo>
                  <a:pt x="357" y="469"/>
                  <a:pt x="357" y="469"/>
                  <a:pt x="357" y="469"/>
                </a:cubicBezTo>
                <a:cubicBezTo>
                  <a:pt x="359" y="468"/>
                  <a:pt x="359" y="468"/>
                  <a:pt x="359" y="468"/>
                </a:cubicBezTo>
                <a:cubicBezTo>
                  <a:pt x="362" y="466"/>
                  <a:pt x="362" y="466"/>
                  <a:pt x="362" y="466"/>
                </a:cubicBezTo>
                <a:cubicBezTo>
                  <a:pt x="363" y="464"/>
                  <a:pt x="363" y="464"/>
                  <a:pt x="363" y="464"/>
                </a:cubicBezTo>
                <a:cubicBezTo>
                  <a:pt x="365" y="463"/>
                  <a:pt x="365" y="463"/>
                  <a:pt x="365" y="463"/>
                </a:cubicBezTo>
                <a:cubicBezTo>
                  <a:pt x="366" y="462"/>
                  <a:pt x="366" y="462"/>
                  <a:pt x="366" y="462"/>
                </a:cubicBezTo>
                <a:cubicBezTo>
                  <a:pt x="369" y="459"/>
                  <a:pt x="369" y="459"/>
                  <a:pt x="369" y="459"/>
                </a:cubicBezTo>
                <a:cubicBezTo>
                  <a:pt x="373" y="457"/>
                  <a:pt x="373" y="457"/>
                  <a:pt x="373" y="457"/>
                </a:cubicBezTo>
                <a:cubicBezTo>
                  <a:pt x="376" y="455"/>
                  <a:pt x="376" y="455"/>
                  <a:pt x="376" y="455"/>
                </a:cubicBezTo>
                <a:cubicBezTo>
                  <a:pt x="378" y="454"/>
                  <a:pt x="378" y="454"/>
                  <a:pt x="378" y="454"/>
                </a:cubicBezTo>
                <a:cubicBezTo>
                  <a:pt x="379" y="454"/>
                  <a:pt x="379" y="454"/>
                  <a:pt x="379" y="454"/>
                </a:cubicBezTo>
                <a:cubicBezTo>
                  <a:pt x="383" y="453"/>
                  <a:pt x="383" y="453"/>
                  <a:pt x="383" y="453"/>
                </a:cubicBezTo>
                <a:cubicBezTo>
                  <a:pt x="386" y="452"/>
                  <a:pt x="386" y="452"/>
                  <a:pt x="386" y="452"/>
                </a:cubicBezTo>
                <a:cubicBezTo>
                  <a:pt x="388" y="452"/>
                  <a:pt x="388" y="452"/>
                  <a:pt x="388" y="452"/>
                </a:cubicBezTo>
                <a:cubicBezTo>
                  <a:pt x="389" y="451"/>
                  <a:pt x="389" y="451"/>
                  <a:pt x="389" y="451"/>
                </a:cubicBezTo>
                <a:cubicBezTo>
                  <a:pt x="393" y="451"/>
                  <a:pt x="393" y="451"/>
                  <a:pt x="393" y="451"/>
                </a:cubicBezTo>
                <a:cubicBezTo>
                  <a:pt x="396" y="452"/>
                  <a:pt x="396" y="452"/>
                  <a:pt x="396" y="452"/>
                </a:cubicBezTo>
                <a:cubicBezTo>
                  <a:pt x="398" y="453"/>
                  <a:pt x="398" y="453"/>
                  <a:pt x="398" y="453"/>
                </a:cubicBezTo>
                <a:cubicBezTo>
                  <a:pt x="398" y="454"/>
                  <a:pt x="398" y="454"/>
                  <a:pt x="398" y="454"/>
                </a:cubicBezTo>
                <a:cubicBezTo>
                  <a:pt x="396" y="454"/>
                  <a:pt x="396" y="454"/>
                  <a:pt x="396" y="454"/>
                </a:cubicBezTo>
                <a:cubicBezTo>
                  <a:pt x="396" y="454"/>
                  <a:pt x="396" y="454"/>
                  <a:pt x="396" y="454"/>
                </a:cubicBezTo>
                <a:cubicBezTo>
                  <a:pt x="396" y="454"/>
                  <a:pt x="396" y="454"/>
                  <a:pt x="396" y="454"/>
                </a:cubicBezTo>
                <a:cubicBezTo>
                  <a:pt x="397" y="454"/>
                  <a:pt x="397" y="454"/>
                  <a:pt x="397" y="454"/>
                </a:cubicBezTo>
                <a:cubicBezTo>
                  <a:pt x="398" y="455"/>
                  <a:pt x="398" y="455"/>
                  <a:pt x="398" y="455"/>
                </a:cubicBezTo>
                <a:cubicBezTo>
                  <a:pt x="399" y="455"/>
                  <a:pt x="399" y="455"/>
                  <a:pt x="399" y="455"/>
                </a:cubicBezTo>
                <a:cubicBezTo>
                  <a:pt x="398" y="456"/>
                  <a:pt x="398" y="456"/>
                  <a:pt x="398" y="456"/>
                </a:cubicBezTo>
                <a:cubicBezTo>
                  <a:pt x="399" y="456"/>
                  <a:pt x="399" y="456"/>
                  <a:pt x="399" y="456"/>
                </a:cubicBezTo>
                <a:cubicBezTo>
                  <a:pt x="398" y="458"/>
                  <a:pt x="398" y="458"/>
                  <a:pt x="398" y="458"/>
                </a:cubicBezTo>
                <a:cubicBezTo>
                  <a:pt x="396" y="459"/>
                  <a:pt x="396" y="459"/>
                  <a:pt x="396" y="459"/>
                </a:cubicBezTo>
                <a:cubicBezTo>
                  <a:pt x="395" y="460"/>
                  <a:pt x="395" y="460"/>
                  <a:pt x="395" y="460"/>
                </a:cubicBezTo>
                <a:cubicBezTo>
                  <a:pt x="394" y="460"/>
                  <a:pt x="394" y="460"/>
                  <a:pt x="394" y="460"/>
                </a:cubicBezTo>
                <a:cubicBezTo>
                  <a:pt x="393" y="461"/>
                  <a:pt x="393" y="461"/>
                  <a:pt x="393" y="461"/>
                </a:cubicBezTo>
                <a:cubicBezTo>
                  <a:pt x="391" y="461"/>
                  <a:pt x="391" y="461"/>
                  <a:pt x="391" y="461"/>
                </a:cubicBezTo>
                <a:cubicBezTo>
                  <a:pt x="390" y="460"/>
                  <a:pt x="390" y="460"/>
                  <a:pt x="390" y="460"/>
                </a:cubicBezTo>
                <a:cubicBezTo>
                  <a:pt x="389" y="460"/>
                  <a:pt x="389" y="460"/>
                  <a:pt x="389" y="460"/>
                </a:cubicBezTo>
                <a:cubicBezTo>
                  <a:pt x="388" y="460"/>
                  <a:pt x="388" y="460"/>
                  <a:pt x="388" y="460"/>
                </a:cubicBezTo>
                <a:cubicBezTo>
                  <a:pt x="386" y="461"/>
                  <a:pt x="386" y="461"/>
                  <a:pt x="386" y="461"/>
                </a:cubicBezTo>
                <a:cubicBezTo>
                  <a:pt x="385" y="460"/>
                  <a:pt x="385" y="460"/>
                  <a:pt x="385" y="460"/>
                </a:cubicBezTo>
                <a:cubicBezTo>
                  <a:pt x="383" y="461"/>
                  <a:pt x="383" y="461"/>
                  <a:pt x="383" y="461"/>
                </a:cubicBezTo>
                <a:cubicBezTo>
                  <a:pt x="385" y="461"/>
                  <a:pt x="385" y="461"/>
                  <a:pt x="385" y="461"/>
                </a:cubicBezTo>
                <a:cubicBezTo>
                  <a:pt x="387" y="461"/>
                  <a:pt x="387" y="461"/>
                  <a:pt x="387" y="461"/>
                </a:cubicBezTo>
                <a:cubicBezTo>
                  <a:pt x="389" y="462"/>
                  <a:pt x="389" y="462"/>
                  <a:pt x="389" y="462"/>
                </a:cubicBezTo>
                <a:cubicBezTo>
                  <a:pt x="390" y="463"/>
                  <a:pt x="390" y="463"/>
                  <a:pt x="390" y="463"/>
                </a:cubicBezTo>
                <a:cubicBezTo>
                  <a:pt x="390" y="464"/>
                  <a:pt x="390" y="464"/>
                  <a:pt x="390" y="464"/>
                </a:cubicBezTo>
                <a:cubicBezTo>
                  <a:pt x="392" y="463"/>
                  <a:pt x="392" y="463"/>
                  <a:pt x="392" y="463"/>
                </a:cubicBezTo>
                <a:cubicBezTo>
                  <a:pt x="393" y="462"/>
                  <a:pt x="393" y="462"/>
                  <a:pt x="393" y="462"/>
                </a:cubicBezTo>
                <a:cubicBezTo>
                  <a:pt x="394" y="462"/>
                  <a:pt x="394" y="462"/>
                  <a:pt x="394" y="462"/>
                </a:cubicBezTo>
                <a:cubicBezTo>
                  <a:pt x="394" y="463"/>
                  <a:pt x="394" y="463"/>
                  <a:pt x="394" y="463"/>
                </a:cubicBezTo>
                <a:cubicBezTo>
                  <a:pt x="395" y="463"/>
                  <a:pt x="395" y="463"/>
                  <a:pt x="395" y="463"/>
                </a:cubicBezTo>
                <a:cubicBezTo>
                  <a:pt x="396" y="463"/>
                  <a:pt x="396" y="463"/>
                  <a:pt x="396" y="463"/>
                </a:cubicBezTo>
                <a:cubicBezTo>
                  <a:pt x="394" y="464"/>
                  <a:pt x="394" y="464"/>
                  <a:pt x="394" y="464"/>
                </a:cubicBezTo>
                <a:cubicBezTo>
                  <a:pt x="393" y="468"/>
                  <a:pt x="393" y="468"/>
                  <a:pt x="393" y="468"/>
                </a:cubicBezTo>
                <a:cubicBezTo>
                  <a:pt x="392" y="468"/>
                  <a:pt x="392" y="468"/>
                  <a:pt x="392" y="468"/>
                </a:cubicBezTo>
                <a:cubicBezTo>
                  <a:pt x="391" y="469"/>
                  <a:pt x="391" y="469"/>
                  <a:pt x="391" y="469"/>
                </a:cubicBezTo>
                <a:cubicBezTo>
                  <a:pt x="394" y="469"/>
                  <a:pt x="394" y="469"/>
                  <a:pt x="394" y="469"/>
                </a:cubicBezTo>
                <a:cubicBezTo>
                  <a:pt x="394" y="469"/>
                  <a:pt x="394" y="469"/>
                  <a:pt x="394" y="469"/>
                </a:cubicBezTo>
                <a:cubicBezTo>
                  <a:pt x="393" y="470"/>
                  <a:pt x="393" y="470"/>
                  <a:pt x="393" y="470"/>
                </a:cubicBezTo>
                <a:cubicBezTo>
                  <a:pt x="394" y="471"/>
                  <a:pt x="394" y="471"/>
                  <a:pt x="394" y="471"/>
                </a:cubicBezTo>
                <a:cubicBezTo>
                  <a:pt x="394" y="472"/>
                  <a:pt x="394" y="472"/>
                  <a:pt x="394" y="472"/>
                </a:cubicBezTo>
                <a:cubicBezTo>
                  <a:pt x="394" y="474"/>
                  <a:pt x="394" y="474"/>
                  <a:pt x="394" y="474"/>
                </a:cubicBezTo>
                <a:cubicBezTo>
                  <a:pt x="394" y="474"/>
                  <a:pt x="394" y="474"/>
                  <a:pt x="394" y="474"/>
                </a:cubicBezTo>
                <a:cubicBezTo>
                  <a:pt x="395" y="476"/>
                  <a:pt x="395" y="476"/>
                  <a:pt x="395" y="476"/>
                </a:cubicBezTo>
                <a:cubicBezTo>
                  <a:pt x="396" y="476"/>
                  <a:pt x="396" y="476"/>
                  <a:pt x="396" y="476"/>
                </a:cubicBezTo>
                <a:cubicBezTo>
                  <a:pt x="397" y="477"/>
                  <a:pt x="397" y="477"/>
                  <a:pt x="397" y="477"/>
                </a:cubicBezTo>
                <a:cubicBezTo>
                  <a:pt x="399" y="477"/>
                  <a:pt x="399" y="477"/>
                  <a:pt x="399" y="477"/>
                </a:cubicBezTo>
                <a:cubicBezTo>
                  <a:pt x="398" y="478"/>
                  <a:pt x="398" y="478"/>
                  <a:pt x="398" y="478"/>
                </a:cubicBezTo>
                <a:cubicBezTo>
                  <a:pt x="397" y="478"/>
                  <a:pt x="397" y="478"/>
                  <a:pt x="397" y="478"/>
                </a:cubicBezTo>
                <a:cubicBezTo>
                  <a:pt x="399" y="479"/>
                  <a:pt x="399" y="479"/>
                  <a:pt x="399" y="479"/>
                </a:cubicBezTo>
                <a:cubicBezTo>
                  <a:pt x="401" y="479"/>
                  <a:pt x="401" y="479"/>
                  <a:pt x="401" y="479"/>
                </a:cubicBezTo>
                <a:cubicBezTo>
                  <a:pt x="402" y="480"/>
                  <a:pt x="402" y="480"/>
                  <a:pt x="402" y="480"/>
                </a:cubicBezTo>
                <a:cubicBezTo>
                  <a:pt x="402" y="479"/>
                  <a:pt x="402" y="479"/>
                  <a:pt x="402" y="479"/>
                </a:cubicBezTo>
                <a:cubicBezTo>
                  <a:pt x="404" y="480"/>
                  <a:pt x="404" y="480"/>
                  <a:pt x="404" y="480"/>
                </a:cubicBezTo>
                <a:cubicBezTo>
                  <a:pt x="404" y="481"/>
                  <a:pt x="404" y="481"/>
                  <a:pt x="404" y="481"/>
                </a:cubicBezTo>
                <a:cubicBezTo>
                  <a:pt x="406" y="481"/>
                  <a:pt x="406" y="481"/>
                  <a:pt x="406" y="481"/>
                </a:cubicBezTo>
                <a:cubicBezTo>
                  <a:pt x="407" y="480"/>
                  <a:pt x="407" y="480"/>
                  <a:pt x="407" y="480"/>
                </a:cubicBezTo>
                <a:cubicBezTo>
                  <a:pt x="409" y="479"/>
                  <a:pt x="409" y="479"/>
                  <a:pt x="409" y="479"/>
                </a:cubicBezTo>
                <a:cubicBezTo>
                  <a:pt x="409" y="480"/>
                  <a:pt x="409" y="480"/>
                  <a:pt x="409" y="480"/>
                </a:cubicBezTo>
                <a:cubicBezTo>
                  <a:pt x="408" y="481"/>
                  <a:pt x="408" y="481"/>
                  <a:pt x="408" y="481"/>
                </a:cubicBezTo>
                <a:cubicBezTo>
                  <a:pt x="410" y="481"/>
                  <a:pt x="410" y="481"/>
                  <a:pt x="410" y="481"/>
                </a:cubicBezTo>
                <a:cubicBezTo>
                  <a:pt x="412" y="482"/>
                  <a:pt x="412" y="482"/>
                  <a:pt x="412" y="482"/>
                </a:cubicBezTo>
                <a:cubicBezTo>
                  <a:pt x="412" y="483"/>
                  <a:pt x="412" y="483"/>
                  <a:pt x="412" y="483"/>
                </a:cubicBezTo>
                <a:cubicBezTo>
                  <a:pt x="411" y="483"/>
                  <a:pt x="411" y="483"/>
                  <a:pt x="411" y="483"/>
                </a:cubicBezTo>
                <a:cubicBezTo>
                  <a:pt x="411" y="483"/>
                  <a:pt x="411" y="483"/>
                  <a:pt x="411" y="483"/>
                </a:cubicBezTo>
                <a:cubicBezTo>
                  <a:pt x="412" y="484"/>
                  <a:pt x="412" y="484"/>
                  <a:pt x="412" y="484"/>
                </a:cubicBezTo>
                <a:cubicBezTo>
                  <a:pt x="413" y="484"/>
                  <a:pt x="413" y="484"/>
                  <a:pt x="413" y="484"/>
                </a:cubicBezTo>
                <a:cubicBezTo>
                  <a:pt x="414" y="484"/>
                  <a:pt x="414" y="484"/>
                  <a:pt x="414" y="484"/>
                </a:cubicBezTo>
                <a:cubicBezTo>
                  <a:pt x="413" y="485"/>
                  <a:pt x="413" y="485"/>
                  <a:pt x="413" y="485"/>
                </a:cubicBezTo>
                <a:cubicBezTo>
                  <a:pt x="412" y="484"/>
                  <a:pt x="412" y="484"/>
                  <a:pt x="412" y="484"/>
                </a:cubicBezTo>
                <a:cubicBezTo>
                  <a:pt x="411" y="485"/>
                  <a:pt x="411" y="485"/>
                  <a:pt x="411" y="485"/>
                </a:cubicBezTo>
                <a:cubicBezTo>
                  <a:pt x="409" y="485"/>
                  <a:pt x="409" y="485"/>
                  <a:pt x="409" y="485"/>
                </a:cubicBezTo>
                <a:cubicBezTo>
                  <a:pt x="406" y="487"/>
                  <a:pt x="406" y="487"/>
                  <a:pt x="406" y="487"/>
                </a:cubicBezTo>
                <a:cubicBezTo>
                  <a:pt x="405" y="487"/>
                  <a:pt x="405" y="487"/>
                  <a:pt x="405" y="487"/>
                </a:cubicBezTo>
                <a:cubicBezTo>
                  <a:pt x="403" y="487"/>
                  <a:pt x="403" y="487"/>
                  <a:pt x="403" y="487"/>
                </a:cubicBezTo>
                <a:cubicBezTo>
                  <a:pt x="401" y="488"/>
                  <a:pt x="401" y="488"/>
                  <a:pt x="401" y="488"/>
                </a:cubicBezTo>
                <a:cubicBezTo>
                  <a:pt x="399" y="489"/>
                  <a:pt x="399" y="489"/>
                  <a:pt x="399" y="489"/>
                </a:cubicBezTo>
                <a:cubicBezTo>
                  <a:pt x="398" y="489"/>
                  <a:pt x="398" y="489"/>
                  <a:pt x="398" y="489"/>
                </a:cubicBezTo>
                <a:cubicBezTo>
                  <a:pt x="398" y="489"/>
                  <a:pt x="398" y="489"/>
                  <a:pt x="398" y="489"/>
                </a:cubicBezTo>
                <a:cubicBezTo>
                  <a:pt x="396" y="489"/>
                  <a:pt x="396" y="489"/>
                  <a:pt x="396" y="489"/>
                </a:cubicBezTo>
                <a:cubicBezTo>
                  <a:pt x="396" y="488"/>
                  <a:pt x="396" y="488"/>
                  <a:pt x="396" y="488"/>
                </a:cubicBezTo>
                <a:cubicBezTo>
                  <a:pt x="395" y="488"/>
                  <a:pt x="395" y="488"/>
                  <a:pt x="395" y="488"/>
                </a:cubicBezTo>
                <a:cubicBezTo>
                  <a:pt x="395" y="489"/>
                  <a:pt x="395" y="489"/>
                  <a:pt x="395" y="489"/>
                </a:cubicBezTo>
                <a:cubicBezTo>
                  <a:pt x="394" y="488"/>
                  <a:pt x="394" y="488"/>
                  <a:pt x="394" y="488"/>
                </a:cubicBezTo>
                <a:cubicBezTo>
                  <a:pt x="393" y="490"/>
                  <a:pt x="393" y="490"/>
                  <a:pt x="393" y="490"/>
                </a:cubicBezTo>
                <a:cubicBezTo>
                  <a:pt x="394" y="491"/>
                  <a:pt x="394" y="491"/>
                  <a:pt x="394" y="491"/>
                </a:cubicBezTo>
                <a:cubicBezTo>
                  <a:pt x="392" y="492"/>
                  <a:pt x="392" y="492"/>
                  <a:pt x="392" y="492"/>
                </a:cubicBezTo>
                <a:cubicBezTo>
                  <a:pt x="390" y="494"/>
                  <a:pt x="390" y="494"/>
                  <a:pt x="390" y="494"/>
                </a:cubicBezTo>
                <a:cubicBezTo>
                  <a:pt x="389" y="495"/>
                  <a:pt x="389" y="495"/>
                  <a:pt x="389" y="495"/>
                </a:cubicBezTo>
                <a:cubicBezTo>
                  <a:pt x="387" y="496"/>
                  <a:pt x="387" y="496"/>
                  <a:pt x="387" y="496"/>
                </a:cubicBezTo>
                <a:cubicBezTo>
                  <a:pt x="387" y="496"/>
                  <a:pt x="387" y="496"/>
                  <a:pt x="387" y="496"/>
                </a:cubicBezTo>
                <a:cubicBezTo>
                  <a:pt x="386" y="496"/>
                  <a:pt x="386" y="496"/>
                  <a:pt x="386" y="496"/>
                </a:cubicBezTo>
                <a:cubicBezTo>
                  <a:pt x="386" y="497"/>
                  <a:pt x="386" y="497"/>
                  <a:pt x="386" y="497"/>
                </a:cubicBezTo>
                <a:cubicBezTo>
                  <a:pt x="386" y="497"/>
                  <a:pt x="386" y="497"/>
                  <a:pt x="386" y="497"/>
                </a:cubicBezTo>
                <a:cubicBezTo>
                  <a:pt x="385" y="497"/>
                  <a:pt x="385" y="497"/>
                  <a:pt x="385" y="497"/>
                </a:cubicBezTo>
                <a:cubicBezTo>
                  <a:pt x="384" y="497"/>
                  <a:pt x="384" y="497"/>
                  <a:pt x="384" y="497"/>
                </a:cubicBezTo>
                <a:cubicBezTo>
                  <a:pt x="383" y="497"/>
                  <a:pt x="383" y="497"/>
                  <a:pt x="383" y="497"/>
                </a:cubicBezTo>
                <a:cubicBezTo>
                  <a:pt x="383" y="495"/>
                  <a:pt x="383" y="495"/>
                  <a:pt x="383" y="495"/>
                </a:cubicBezTo>
                <a:cubicBezTo>
                  <a:pt x="382" y="495"/>
                  <a:pt x="382" y="495"/>
                  <a:pt x="382" y="495"/>
                </a:cubicBezTo>
                <a:cubicBezTo>
                  <a:pt x="382" y="495"/>
                  <a:pt x="382" y="495"/>
                  <a:pt x="382" y="495"/>
                </a:cubicBezTo>
                <a:cubicBezTo>
                  <a:pt x="382" y="494"/>
                  <a:pt x="382" y="494"/>
                  <a:pt x="382" y="494"/>
                </a:cubicBezTo>
                <a:cubicBezTo>
                  <a:pt x="381" y="493"/>
                  <a:pt x="381" y="493"/>
                  <a:pt x="381" y="493"/>
                </a:cubicBezTo>
                <a:cubicBezTo>
                  <a:pt x="381" y="491"/>
                  <a:pt x="381" y="491"/>
                  <a:pt x="381" y="491"/>
                </a:cubicBezTo>
                <a:cubicBezTo>
                  <a:pt x="382" y="489"/>
                  <a:pt x="382" y="489"/>
                  <a:pt x="382" y="489"/>
                </a:cubicBezTo>
                <a:cubicBezTo>
                  <a:pt x="384" y="488"/>
                  <a:pt x="384" y="488"/>
                  <a:pt x="384" y="488"/>
                </a:cubicBezTo>
                <a:cubicBezTo>
                  <a:pt x="384" y="487"/>
                  <a:pt x="384" y="487"/>
                  <a:pt x="384" y="487"/>
                </a:cubicBezTo>
                <a:cubicBezTo>
                  <a:pt x="386" y="486"/>
                  <a:pt x="386" y="486"/>
                  <a:pt x="386" y="486"/>
                </a:cubicBezTo>
                <a:cubicBezTo>
                  <a:pt x="389" y="485"/>
                  <a:pt x="389" y="485"/>
                  <a:pt x="389" y="485"/>
                </a:cubicBezTo>
                <a:cubicBezTo>
                  <a:pt x="391" y="484"/>
                  <a:pt x="391" y="484"/>
                  <a:pt x="391" y="484"/>
                </a:cubicBezTo>
                <a:cubicBezTo>
                  <a:pt x="393" y="483"/>
                  <a:pt x="393" y="483"/>
                  <a:pt x="393" y="483"/>
                </a:cubicBezTo>
                <a:cubicBezTo>
                  <a:pt x="394" y="484"/>
                  <a:pt x="394" y="484"/>
                  <a:pt x="394" y="484"/>
                </a:cubicBezTo>
                <a:cubicBezTo>
                  <a:pt x="394" y="485"/>
                  <a:pt x="394" y="485"/>
                  <a:pt x="394" y="485"/>
                </a:cubicBezTo>
                <a:cubicBezTo>
                  <a:pt x="395" y="485"/>
                  <a:pt x="395" y="485"/>
                  <a:pt x="395" y="485"/>
                </a:cubicBezTo>
                <a:cubicBezTo>
                  <a:pt x="395" y="485"/>
                  <a:pt x="395" y="485"/>
                  <a:pt x="395" y="485"/>
                </a:cubicBezTo>
                <a:cubicBezTo>
                  <a:pt x="395" y="484"/>
                  <a:pt x="395" y="484"/>
                  <a:pt x="395" y="484"/>
                </a:cubicBezTo>
                <a:cubicBezTo>
                  <a:pt x="396" y="484"/>
                  <a:pt x="396" y="484"/>
                  <a:pt x="396" y="484"/>
                </a:cubicBezTo>
                <a:cubicBezTo>
                  <a:pt x="398" y="483"/>
                  <a:pt x="398" y="483"/>
                  <a:pt x="398" y="483"/>
                </a:cubicBezTo>
                <a:cubicBezTo>
                  <a:pt x="399" y="483"/>
                  <a:pt x="399" y="483"/>
                  <a:pt x="399" y="483"/>
                </a:cubicBezTo>
                <a:cubicBezTo>
                  <a:pt x="397" y="483"/>
                  <a:pt x="397" y="483"/>
                  <a:pt x="397" y="483"/>
                </a:cubicBezTo>
                <a:cubicBezTo>
                  <a:pt x="395" y="483"/>
                  <a:pt x="395" y="483"/>
                  <a:pt x="395" y="483"/>
                </a:cubicBezTo>
                <a:cubicBezTo>
                  <a:pt x="394" y="482"/>
                  <a:pt x="394" y="482"/>
                  <a:pt x="394" y="482"/>
                </a:cubicBezTo>
                <a:cubicBezTo>
                  <a:pt x="393" y="482"/>
                  <a:pt x="393" y="482"/>
                  <a:pt x="393" y="482"/>
                </a:cubicBezTo>
                <a:cubicBezTo>
                  <a:pt x="392" y="483"/>
                  <a:pt x="392" y="483"/>
                  <a:pt x="392" y="483"/>
                </a:cubicBezTo>
                <a:cubicBezTo>
                  <a:pt x="390" y="483"/>
                  <a:pt x="390" y="483"/>
                  <a:pt x="390" y="483"/>
                </a:cubicBezTo>
                <a:cubicBezTo>
                  <a:pt x="392" y="481"/>
                  <a:pt x="392" y="481"/>
                  <a:pt x="392" y="481"/>
                </a:cubicBezTo>
                <a:cubicBezTo>
                  <a:pt x="393" y="481"/>
                  <a:pt x="393" y="481"/>
                  <a:pt x="393" y="481"/>
                </a:cubicBezTo>
                <a:cubicBezTo>
                  <a:pt x="394" y="480"/>
                  <a:pt x="394" y="480"/>
                  <a:pt x="394" y="480"/>
                </a:cubicBezTo>
                <a:cubicBezTo>
                  <a:pt x="394" y="479"/>
                  <a:pt x="394" y="479"/>
                  <a:pt x="394" y="479"/>
                </a:cubicBezTo>
                <a:cubicBezTo>
                  <a:pt x="393" y="479"/>
                  <a:pt x="393" y="479"/>
                  <a:pt x="393" y="479"/>
                </a:cubicBezTo>
                <a:cubicBezTo>
                  <a:pt x="393" y="479"/>
                  <a:pt x="393" y="479"/>
                  <a:pt x="393" y="479"/>
                </a:cubicBezTo>
                <a:cubicBezTo>
                  <a:pt x="392" y="480"/>
                  <a:pt x="392" y="480"/>
                  <a:pt x="392" y="480"/>
                </a:cubicBezTo>
                <a:cubicBezTo>
                  <a:pt x="391" y="481"/>
                  <a:pt x="391" y="481"/>
                  <a:pt x="391" y="481"/>
                </a:cubicBezTo>
                <a:cubicBezTo>
                  <a:pt x="390" y="482"/>
                  <a:pt x="390" y="482"/>
                  <a:pt x="390" y="482"/>
                </a:cubicBezTo>
                <a:cubicBezTo>
                  <a:pt x="388" y="482"/>
                  <a:pt x="388" y="482"/>
                  <a:pt x="388" y="482"/>
                </a:cubicBezTo>
                <a:cubicBezTo>
                  <a:pt x="388" y="483"/>
                  <a:pt x="388" y="483"/>
                  <a:pt x="388" y="483"/>
                </a:cubicBezTo>
                <a:cubicBezTo>
                  <a:pt x="385" y="484"/>
                  <a:pt x="385" y="484"/>
                  <a:pt x="385" y="484"/>
                </a:cubicBezTo>
                <a:cubicBezTo>
                  <a:pt x="384" y="483"/>
                  <a:pt x="384" y="483"/>
                  <a:pt x="384" y="483"/>
                </a:cubicBezTo>
                <a:cubicBezTo>
                  <a:pt x="385" y="483"/>
                  <a:pt x="385" y="483"/>
                  <a:pt x="385" y="483"/>
                </a:cubicBezTo>
                <a:cubicBezTo>
                  <a:pt x="384" y="483"/>
                  <a:pt x="384" y="483"/>
                  <a:pt x="384" y="483"/>
                </a:cubicBezTo>
                <a:cubicBezTo>
                  <a:pt x="385" y="481"/>
                  <a:pt x="385" y="481"/>
                  <a:pt x="385" y="481"/>
                </a:cubicBezTo>
                <a:cubicBezTo>
                  <a:pt x="384" y="483"/>
                  <a:pt x="384" y="483"/>
                  <a:pt x="384" y="483"/>
                </a:cubicBezTo>
                <a:cubicBezTo>
                  <a:pt x="383" y="484"/>
                  <a:pt x="383" y="484"/>
                  <a:pt x="383" y="484"/>
                </a:cubicBezTo>
                <a:cubicBezTo>
                  <a:pt x="382" y="484"/>
                  <a:pt x="382" y="484"/>
                  <a:pt x="382" y="484"/>
                </a:cubicBezTo>
                <a:cubicBezTo>
                  <a:pt x="381" y="484"/>
                  <a:pt x="381" y="484"/>
                  <a:pt x="381" y="484"/>
                </a:cubicBezTo>
                <a:cubicBezTo>
                  <a:pt x="380" y="485"/>
                  <a:pt x="380" y="485"/>
                  <a:pt x="380" y="485"/>
                </a:cubicBezTo>
                <a:cubicBezTo>
                  <a:pt x="379" y="484"/>
                  <a:pt x="379" y="484"/>
                  <a:pt x="379" y="484"/>
                </a:cubicBezTo>
                <a:cubicBezTo>
                  <a:pt x="379" y="483"/>
                  <a:pt x="379" y="483"/>
                  <a:pt x="379" y="483"/>
                </a:cubicBezTo>
                <a:cubicBezTo>
                  <a:pt x="378" y="484"/>
                  <a:pt x="378" y="484"/>
                  <a:pt x="378" y="484"/>
                </a:cubicBezTo>
                <a:cubicBezTo>
                  <a:pt x="376" y="483"/>
                  <a:pt x="376" y="483"/>
                  <a:pt x="376" y="483"/>
                </a:cubicBezTo>
                <a:cubicBezTo>
                  <a:pt x="376" y="483"/>
                  <a:pt x="376" y="483"/>
                  <a:pt x="376" y="483"/>
                </a:cubicBezTo>
                <a:cubicBezTo>
                  <a:pt x="375" y="483"/>
                  <a:pt x="375" y="483"/>
                  <a:pt x="375" y="483"/>
                </a:cubicBezTo>
                <a:cubicBezTo>
                  <a:pt x="376" y="482"/>
                  <a:pt x="376" y="482"/>
                  <a:pt x="376" y="482"/>
                </a:cubicBezTo>
                <a:cubicBezTo>
                  <a:pt x="376" y="482"/>
                  <a:pt x="376" y="482"/>
                  <a:pt x="376" y="482"/>
                </a:cubicBezTo>
                <a:cubicBezTo>
                  <a:pt x="376" y="481"/>
                  <a:pt x="376" y="481"/>
                  <a:pt x="376" y="481"/>
                </a:cubicBezTo>
                <a:cubicBezTo>
                  <a:pt x="376" y="480"/>
                  <a:pt x="376" y="480"/>
                  <a:pt x="376" y="480"/>
                </a:cubicBezTo>
                <a:cubicBezTo>
                  <a:pt x="375" y="479"/>
                  <a:pt x="375" y="479"/>
                  <a:pt x="375" y="479"/>
                </a:cubicBezTo>
                <a:cubicBezTo>
                  <a:pt x="375" y="479"/>
                  <a:pt x="375" y="479"/>
                  <a:pt x="375" y="479"/>
                </a:cubicBezTo>
                <a:cubicBezTo>
                  <a:pt x="374" y="478"/>
                  <a:pt x="374" y="478"/>
                  <a:pt x="374" y="478"/>
                </a:cubicBezTo>
                <a:cubicBezTo>
                  <a:pt x="375" y="478"/>
                  <a:pt x="375" y="478"/>
                  <a:pt x="375" y="478"/>
                </a:cubicBezTo>
                <a:cubicBezTo>
                  <a:pt x="376" y="470"/>
                  <a:pt x="376" y="470"/>
                  <a:pt x="376" y="470"/>
                </a:cubicBezTo>
                <a:cubicBezTo>
                  <a:pt x="376" y="468"/>
                  <a:pt x="376" y="468"/>
                  <a:pt x="376" y="468"/>
                </a:cubicBezTo>
                <a:cubicBezTo>
                  <a:pt x="373" y="465"/>
                  <a:pt x="373" y="465"/>
                  <a:pt x="373" y="465"/>
                </a:cubicBezTo>
                <a:cubicBezTo>
                  <a:pt x="373" y="466"/>
                  <a:pt x="373" y="466"/>
                  <a:pt x="373" y="466"/>
                </a:cubicBezTo>
                <a:cubicBezTo>
                  <a:pt x="371" y="465"/>
                  <a:pt x="371" y="465"/>
                  <a:pt x="371" y="465"/>
                </a:cubicBezTo>
                <a:cubicBezTo>
                  <a:pt x="370" y="466"/>
                  <a:pt x="370" y="466"/>
                  <a:pt x="370" y="466"/>
                </a:cubicBezTo>
                <a:cubicBezTo>
                  <a:pt x="369" y="465"/>
                  <a:pt x="369" y="465"/>
                  <a:pt x="369" y="465"/>
                </a:cubicBezTo>
                <a:cubicBezTo>
                  <a:pt x="368" y="464"/>
                  <a:pt x="368" y="464"/>
                  <a:pt x="368" y="464"/>
                </a:cubicBezTo>
                <a:cubicBezTo>
                  <a:pt x="368" y="464"/>
                  <a:pt x="368" y="464"/>
                  <a:pt x="368" y="464"/>
                </a:cubicBezTo>
                <a:cubicBezTo>
                  <a:pt x="367" y="465"/>
                  <a:pt x="367" y="465"/>
                  <a:pt x="367" y="465"/>
                </a:cubicBezTo>
                <a:cubicBezTo>
                  <a:pt x="366" y="466"/>
                  <a:pt x="366" y="466"/>
                  <a:pt x="366" y="466"/>
                </a:cubicBezTo>
                <a:cubicBezTo>
                  <a:pt x="364" y="469"/>
                  <a:pt x="364" y="469"/>
                  <a:pt x="364" y="469"/>
                </a:cubicBezTo>
                <a:cubicBezTo>
                  <a:pt x="363" y="470"/>
                  <a:pt x="363" y="470"/>
                  <a:pt x="363" y="470"/>
                </a:cubicBezTo>
                <a:cubicBezTo>
                  <a:pt x="363" y="471"/>
                  <a:pt x="363" y="471"/>
                  <a:pt x="363" y="471"/>
                </a:cubicBezTo>
                <a:cubicBezTo>
                  <a:pt x="362" y="472"/>
                  <a:pt x="362" y="472"/>
                  <a:pt x="362" y="472"/>
                </a:cubicBezTo>
                <a:cubicBezTo>
                  <a:pt x="361" y="474"/>
                  <a:pt x="361" y="474"/>
                  <a:pt x="361" y="474"/>
                </a:cubicBezTo>
                <a:cubicBezTo>
                  <a:pt x="361" y="475"/>
                  <a:pt x="361" y="475"/>
                  <a:pt x="361" y="475"/>
                </a:cubicBezTo>
                <a:cubicBezTo>
                  <a:pt x="359" y="477"/>
                  <a:pt x="359" y="477"/>
                  <a:pt x="359" y="477"/>
                </a:cubicBezTo>
                <a:cubicBezTo>
                  <a:pt x="358" y="477"/>
                  <a:pt x="358" y="477"/>
                  <a:pt x="358" y="477"/>
                </a:cubicBezTo>
                <a:cubicBezTo>
                  <a:pt x="356" y="480"/>
                  <a:pt x="356" y="480"/>
                  <a:pt x="356" y="480"/>
                </a:cubicBezTo>
                <a:cubicBezTo>
                  <a:pt x="356" y="480"/>
                  <a:pt x="356" y="480"/>
                  <a:pt x="356" y="480"/>
                </a:cubicBezTo>
                <a:cubicBezTo>
                  <a:pt x="355" y="481"/>
                  <a:pt x="355" y="481"/>
                  <a:pt x="355" y="481"/>
                </a:cubicBezTo>
                <a:cubicBezTo>
                  <a:pt x="354" y="481"/>
                  <a:pt x="354" y="481"/>
                  <a:pt x="354" y="481"/>
                </a:cubicBezTo>
                <a:cubicBezTo>
                  <a:pt x="353" y="481"/>
                  <a:pt x="353" y="481"/>
                  <a:pt x="353" y="481"/>
                </a:cubicBezTo>
                <a:cubicBezTo>
                  <a:pt x="353" y="481"/>
                  <a:pt x="353" y="481"/>
                  <a:pt x="353" y="481"/>
                </a:cubicBezTo>
                <a:cubicBezTo>
                  <a:pt x="352" y="481"/>
                  <a:pt x="352" y="481"/>
                  <a:pt x="352" y="481"/>
                </a:cubicBezTo>
                <a:cubicBezTo>
                  <a:pt x="351" y="483"/>
                  <a:pt x="351" y="483"/>
                  <a:pt x="351" y="483"/>
                </a:cubicBezTo>
                <a:cubicBezTo>
                  <a:pt x="333" y="482"/>
                  <a:pt x="333" y="482"/>
                  <a:pt x="333" y="482"/>
                </a:cubicBezTo>
                <a:cubicBezTo>
                  <a:pt x="330" y="483"/>
                  <a:pt x="330" y="483"/>
                  <a:pt x="330" y="483"/>
                </a:cubicBezTo>
                <a:cubicBezTo>
                  <a:pt x="329" y="484"/>
                  <a:pt x="329" y="484"/>
                  <a:pt x="329" y="484"/>
                </a:cubicBezTo>
                <a:cubicBezTo>
                  <a:pt x="328" y="484"/>
                  <a:pt x="328" y="484"/>
                  <a:pt x="328" y="484"/>
                </a:cubicBezTo>
                <a:cubicBezTo>
                  <a:pt x="326" y="485"/>
                  <a:pt x="326" y="485"/>
                  <a:pt x="326" y="485"/>
                </a:cubicBezTo>
                <a:cubicBezTo>
                  <a:pt x="324" y="488"/>
                  <a:pt x="324" y="488"/>
                  <a:pt x="324" y="488"/>
                </a:cubicBezTo>
                <a:cubicBezTo>
                  <a:pt x="322" y="488"/>
                  <a:pt x="322" y="488"/>
                  <a:pt x="322" y="488"/>
                </a:cubicBezTo>
                <a:cubicBezTo>
                  <a:pt x="321" y="489"/>
                  <a:pt x="321" y="489"/>
                  <a:pt x="321" y="489"/>
                </a:cubicBezTo>
                <a:cubicBezTo>
                  <a:pt x="316" y="493"/>
                  <a:pt x="316" y="493"/>
                  <a:pt x="316" y="493"/>
                </a:cubicBezTo>
                <a:cubicBezTo>
                  <a:pt x="304" y="497"/>
                  <a:pt x="304" y="497"/>
                  <a:pt x="304" y="497"/>
                </a:cubicBezTo>
                <a:cubicBezTo>
                  <a:pt x="303" y="500"/>
                  <a:pt x="303" y="500"/>
                  <a:pt x="303" y="500"/>
                </a:cubicBezTo>
                <a:cubicBezTo>
                  <a:pt x="300" y="501"/>
                  <a:pt x="300" y="501"/>
                  <a:pt x="300" y="501"/>
                </a:cubicBezTo>
                <a:cubicBezTo>
                  <a:pt x="279" y="506"/>
                  <a:pt x="279" y="506"/>
                  <a:pt x="279" y="506"/>
                </a:cubicBezTo>
                <a:cubicBezTo>
                  <a:pt x="278" y="504"/>
                  <a:pt x="278" y="504"/>
                  <a:pt x="278" y="504"/>
                </a:cubicBezTo>
                <a:cubicBezTo>
                  <a:pt x="279" y="503"/>
                  <a:pt x="279" y="503"/>
                  <a:pt x="279" y="503"/>
                </a:cubicBezTo>
                <a:cubicBezTo>
                  <a:pt x="281" y="502"/>
                  <a:pt x="281" y="502"/>
                  <a:pt x="281" y="502"/>
                </a:cubicBezTo>
                <a:cubicBezTo>
                  <a:pt x="282" y="500"/>
                  <a:pt x="282" y="500"/>
                  <a:pt x="282" y="500"/>
                </a:cubicBezTo>
                <a:cubicBezTo>
                  <a:pt x="283" y="499"/>
                  <a:pt x="283" y="499"/>
                  <a:pt x="283" y="499"/>
                </a:cubicBezTo>
                <a:cubicBezTo>
                  <a:pt x="284" y="498"/>
                  <a:pt x="284" y="498"/>
                  <a:pt x="284" y="498"/>
                </a:cubicBezTo>
                <a:cubicBezTo>
                  <a:pt x="284" y="489"/>
                  <a:pt x="284" y="489"/>
                  <a:pt x="284" y="489"/>
                </a:cubicBezTo>
                <a:cubicBezTo>
                  <a:pt x="280" y="470"/>
                  <a:pt x="280" y="470"/>
                  <a:pt x="280" y="470"/>
                </a:cubicBezTo>
                <a:cubicBezTo>
                  <a:pt x="276" y="467"/>
                  <a:pt x="276" y="467"/>
                  <a:pt x="276" y="467"/>
                </a:cubicBezTo>
                <a:cubicBezTo>
                  <a:pt x="275" y="465"/>
                  <a:pt x="275" y="465"/>
                  <a:pt x="275" y="465"/>
                </a:cubicBezTo>
                <a:cubicBezTo>
                  <a:pt x="250" y="453"/>
                  <a:pt x="250" y="453"/>
                  <a:pt x="250" y="453"/>
                </a:cubicBezTo>
                <a:cubicBezTo>
                  <a:pt x="249" y="452"/>
                  <a:pt x="249" y="452"/>
                  <a:pt x="249" y="452"/>
                </a:cubicBezTo>
                <a:cubicBezTo>
                  <a:pt x="247" y="452"/>
                  <a:pt x="247" y="452"/>
                  <a:pt x="247" y="452"/>
                </a:cubicBezTo>
                <a:cubicBezTo>
                  <a:pt x="247" y="451"/>
                  <a:pt x="247" y="451"/>
                  <a:pt x="247" y="451"/>
                </a:cubicBezTo>
                <a:cubicBezTo>
                  <a:pt x="244" y="451"/>
                  <a:pt x="244" y="451"/>
                  <a:pt x="244" y="451"/>
                </a:cubicBezTo>
                <a:cubicBezTo>
                  <a:pt x="243" y="450"/>
                  <a:pt x="243" y="450"/>
                  <a:pt x="243" y="450"/>
                </a:cubicBezTo>
                <a:cubicBezTo>
                  <a:pt x="242" y="450"/>
                  <a:pt x="242" y="450"/>
                  <a:pt x="242" y="450"/>
                </a:cubicBezTo>
                <a:cubicBezTo>
                  <a:pt x="241" y="450"/>
                  <a:pt x="241" y="450"/>
                  <a:pt x="241" y="450"/>
                </a:cubicBezTo>
                <a:cubicBezTo>
                  <a:pt x="239" y="450"/>
                  <a:pt x="239" y="450"/>
                  <a:pt x="239" y="450"/>
                </a:cubicBezTo>
                <a:cubicBezTo>
                  <a:pt x="238" y="450"/>
                  <a:pt x="238" y="450"/>
                  <a:pt x="238" y="450"/>
                </a:cubicBezTo>
                <a:cubicBezTo>
                  <a:pt x="238" y="449"/>
                  <a:pt x="238" y="449"/>
                  <a:pt x="238" y="449"/>
                </a:cubicBezTo>
                <a:cubicBezTo>
                  <a:pt x="236" y="449"/>
                  <a:pt x="236" y="449"/>
                  <a:pt x="236" y="449"/>
                </a:cubicBezTo>
                <a:cubicBezTo>
                  <a:pt x="234" y="448"/>
                  <a:pt x="234" y="448"/>
                  <a:pt x="234" y="448"/>
                </a:cubicBezTo>
                <a:cubicBezTo>
                  <a:pt x="234" y="446"/>
                  <a:pt x="234" y="446"/>
                  <a:pt x="234" y="446"/>
                </a:cubicBezTo>
                <a:cubicBezTo>
                  <a:pt x="233" y="446"/>
                  <a:pt x="233" y="446"/>
                  <a:pt x="233" y="446"/>
                </a:cubicBezTo>
                <a:cubicBezTo>
                  <a:pt x="231" y="445"/>
                  <a:pt x="231" y="445"/>
                  <a:pt x="231" y="445"/>
                </a:cubicBezTo>
                <a:cubicBezTo>
                  <a:pt x="230" y="445"/>
                  <a:pt x="230" y="445"/>
                  <a:pt x="230" y="445"/>
                </a:cubicBezTo>
                <a:cubicBezTo>
                  <a:pt x="229" y="445"/>
                  <a:pt x="229" y="445"/>
                  <a:pt x="229" y="445"/>
                </a:cubicBezTo>
                <a:cubicBezTo>
                  <a:pt x="228" y="445"/>
                  <a:pt x="228" y="445"/>
                  <a:pt x="228" y="445"/>
                </a:cubicBezTo>
                <a:cubicBezTo>
                  <a:pt x="227" y="446"/>
                  <a:pt x="227" y="446"/>
                  <a:pt x="227" y="446"/>
                </a:cubicBezTo>
                <a:cubicBezTo>
                  <a:pt x="227" y="445"/>
                  <a:pt x="227" y="445"/>
                  <a:pt x="227" y="445"/>
                </a:cubicBezTo>
                <a:cubicBezTo>
                  <a:pt x="225" y="444"/>
                  <a:pt x="225" y="444"/>
                  <a:pt x="225" y="444"/>
                </a:cubicBezTo>
                <a:cubicBezTo>
                  <a:pt x="225" y="444"/>
                  <a:pt x="225" y="444"/>
                  <a:pt x="225" y="444"/>
                </a:cubicBezTo>
                <a:cubicBezTo>
                  <a:pt x="224" y="444"/>
                  <a:pt x="224" y="444"/>
                  <a:pt x="224" y="444"/>
                </a:cubicBezTo>
                <a:cubicBezTo>
                  <a:pt x="224" y="443"/>
                  <a:pt x="224" y="443"/>
                  <a:pt x="224" y="443"/>
                </a:cubicBezTo>
                <a:cubicBezTo>
                  <a:pt x="223" y="443"/>
                  <a:pt x="223" y="443"/>
                  <a:pt x="223" y="443"/>
                </a:cubicBezTo>
                <a:cubicBezTo>
                  <a:pt x="223" y="442"/>
                  <a:pt x="223" y="442"/>
                  <a:pt x="223" y="442"/>
                </a:cubicBezTo>
                <a:cubicBezTo>
                  <a:pt x="221" y="441"/>
                  <a:pt x="221" y="441"/>
                  <a:pt x="221" y="441"/>
                </a:cubicBezTo>
                <a:cubicBezTo>
                  <a:pt x="220" y="441"/>
                  <a:pt x="220" y="441"/>
                  <a:pt x="220" y="441"/>
                </a:cubicBezTo>
                <a:cubicBezTo>
                  <a:pt x="219" y="441"/>
                  <a:pt x="219" y="441"/>
                  <a:pt x="219" y="441"/>
                </a:cubicBezTo>
                <a:lnTo>
                  <a:pt x="56" y="425"/>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2" name="Freeform 170">
            <a:extLst>
              <a:ext uri="{FF2B5EF4-FFF2-40B4-BE49-F238E27FC236}">
                <a16:creationId xmlns:a16="http://schemas.microsoft.com/office/drawing/2014/main" id="{626C8DC7-A7DB-26E2-5246-0096D74C27AA}"/>
              </a:ext>
            </a:extLst>
          </p:cNvPr>
          <p:cNvSpPr>
            <a:spLocks noEditPoints="1"/>
          </p:cNvSpPr>
          <p:nvPr userDrawn="1"/>
        </p:nvSpPr>
        <p:spPr bwMode="auto">
          <a:xfrm>
            <a:off x="2898581" y="2444035"/>
            <a:ext cx="3352582" cy="2562226"/>
          </a:xfrm>
          <a:custGeom>
            <a:avLst/>
            <a:gdLst>
              <a:gd name="T0" fmla="*/ 296 w 338"/>
              <a:gd name="T1" fmla="*/ 207 h 258"/>
              <a:gd name="T2" fmla="*/ 332 w 338"/>
              <a:gd name="T3" fmla="*/ 43 h 258"/>
              <a:gd name="T4" fmla="*/ 311 w 338"/>
              <a:gd name="T5" fmla="*/ 33 h 258"/>
              <a:gd name="T6" fmla="*/ 296 w 338"/>
              <a:gd name="T7" fmla="*/ 16 h 258"/>
              <a:gd name="T8" fmla="*/ 280 w 338"/>
              <a:gd name="T9" fmla="*/ 10 h 258"/>
              <a:gd name="T10" fmla="*/ 265 w 338"/>
              <a:gd name="T11" fmla="*/ 3 h 258"/>
              <a:gd name="T12" fmla="*/ 238 w 338"/>
              <a:gd name="T13" fmla="*/ 13 h 258"/>
              <a:gd name="T14" fmla="*/ 206 w 338"/>
              <a:gd name="T15" fmla="*/ 57 h 258"/>
              <a:gd name="T16" fmla="*/ 202 w 338"/>
              <a:gd name="T17" fmla="*/ 69 h 258"/>
              <a:gd name="T18" fmla="*/ 192 w 338"/>
              <a:gd name="T19" fmla="*/ 62 h 258"/>
              <a:gd name="T20" fmla="*/ 170 w 338"/>
              <a:gd name="T21" fmla="*/ 79 h 258"/>
              <a:gd name="T22" fmla="*/ 180 w 338"/>
              <a:gd name="T23" fmla="*/ 93 h 258"/>
              <a:gd name="T24" fmla="*/ 184 w 338"/>
              <a:gd name="T25" fmla="*/ 110 h 258"/>
              <a:gd name="T26" fmla="*/ 148 w 338"/>
              <a:gd name="T27" fmla="*/ 122 h 258"/>
              <a:gd name="T28" fmla="*/ 148 w 338"/>
              <a:gd name="T29" fmla="*/ 139 h 258"/>
              <a:gd name="T30" fmla="*/ 143 w 338"/>
              <a:gd name="T31" fmla="*/ 158 h 258"/>
              <a:gd name="T32" fmla="*/ 147 w 338"/>
              <a:gd name="T33" fmla="*/ 171 h 258"/>
              <a:gd name="T34" fmla="*/ 159 w 338"/>
              <a:gd name="T35" fmla="*/ 177 h 258"/>
              <a:gd name="T36" fmla="*/ 156 w 338"/>
              <a:gd name="T37" fmla="*/ 195 h 258"/>
              <a:gd name="T38" fmla="*/ 127 w 338"/>
              <a:gd name="T39" fmla="*/ 211 h 258"/>
              <a:gd name="T40" fmla="*/ 120 w 338"/>
              <a:gd name="T41" fmla="*/ 220 h 258"/>
              <a:gd name="T42" fmla="*/ 138 w 338"/>
              <a:gd name="T43" fmla="*/ 214 h 258"/>
              <a:gd name="T44" fmla="*/ 157 w 338"/>
              <a:gd name="T45" fmla="*/ 205 h 258"/>
              <a:gd name="T46" fmla="*/ 180 w 338"/>
              <a:gd name="T47" fmla="*/ 191 h 258"/>
              <a:gd name="T48" fmla="*/ 196 w 338"/>
              <a:gd name="T49" fmla="*/ 174 h 258"/>
              <a:gd name="T50" fmla="*/ 226 w 338"/>
              <a:gd name="T51" fmla="*/ 156 h 258"/>
              <a:gd name="T52" fmla="*/ 203 w 338"/>
              <a:gd name="T53" fmla="*/ 179 h 258"/>
              <a:gd name="T54" fmla="*/ 218 w 338"/>
              <a:gd name="T55" fmla="*/ 176 h 258"/>
              <a:gd name="T56" fmla="*/ 233 w 338"/>
              <a:gd name="T57" fmla="*/ 168 h 258"/>
              <a:gd name="T58" fmla="*/ 240 w 338"/>
              <a:gd name="T59" fmla="*/ 173 h 258"/>
              <a:gd name="T60" fmla="*/ 261 w 338"/>
              <a:gd name="T61" fmla="*/ 185 h 258"/>
              <a:gd name="T62" fmla="*/ 276 w 338"/>
              <a:gd name="T63" fmla="*/ 197 h 258"/>
              <a:gd name="T64" fmla="*/ 282 w 338"/>
              <a:gd name="T65" fmla="*/ 203 h 258"/>
              <a:gd name="T66" fmla="*/ 291 w 338"/>
              <a:gd name="T67" fmla="*/ 206 h 258"/>
              <a:gd name="T68" fmla="*/ 293 w 338"/>
              <a:gd name="T69" fmla="*/ 229 h 258"/>
              <a:gd name="T70" fmla="*/ 299 w 338"/>
              <a:gd name="T71" fmla="*/ 244 h 258"/>
              <a:gd name="T72" fmla="*/ 286 w 338"/>
              <a:gd name="T73" fmla="*/ 253 h 258"/>
              <a:gd name="T74" fmla="*/ 283 w 338"/>
              <a:gd name="T75" fmla="*/ 253 h 258"/>
              <a:gd name="T76" fmla="*/ 286 w 338"/>
              <a:gd name="T77" fmla="*/ 241 h 258"/>
              <a:gd name="T78" fmla="*/ 287 w 338"/>
              <a:gd name="T79" fmla="*/ 256 h 258"/>
              <a:gd name="T80" fmla="*/ 293 w 338"/>
              <a:gd name="T81" fmla="*/ 243 h 258"/>
              <a:gd name="T82" fmla="*/ 291 w 338"/>
              <a:gd name="T83" fmla="*/ 235 h 258"/>
              <a:gd name="T84" fmla="*/ 285 w 338"/>
              <a:gd name="T85" fmla="*/ 236 h 258"/>
              <a:gd name="T86" fmla="*/ 282 w 338"/>
              <a:gd name="T87" fmla="*/ 226 h 258"/>
              <a:gd name="T88" fmla="*/ 289 w 338"/>
              <a:gd name="T89" fmla="*/ 225 h 258"/>
              <a:gd name="T90" fmla="*/ 279 w 338"/>
              <a:gd name="T91" fmla="*/ 222 h 258"/>
              <a:gd name="T92" fmla="*/ 156 w 338"/>
              <a:gd name="T93" fmla="*/ 117 h 258"/>
              <a:gd name="T94" fmla="*/ 245 w 338"/>
              <a:gd name="T95" fmla="*/ 182 h 258"/>
              <a:gd name="T96" fmla="*/ 227 w 338"/>
              <a:gd name="T97" fmla="*/ 180 h 258"/>
              <a:gd name="T98" fmla="*/ 128 w 338"/>
              <a:gd name="T99" fmla="*/ 97 h 258"/>
              <a:gd name="T100" fmla="*/ 130 w 338"/>
              <a:gd name="T101" fmla="*/ 148 h 258"/>
              <a:gd name="T102" fmla="*/ 190 w 338"/>
              <a:gd name="T103" fmla="*/ 189 h 258"/>
              <a:gd name="T104" fmla="*/ 180 w 338"/>
              <a:gd name="T105" fmla="*/ 197 h 258"/>
              <a:gd name="T106" fmla="*/ 184 w 338"/>
              <a:gd name="T107" fmla="*/ 200 h 258"/>
              <a:gd name="T108" fmla="*/ 171 w 338"/>
              <a:gd name="T109" fmla="*/ 211 h 258"/>
              <a:gd name="T110" fmla="*/ 132 w 338"/>
              <a:gd name="T111" fmla="*/ 222 h 258"/>
              <a:gd name="T112" fmla="*/ 4 w 338"/>
              <a:gd name="T113" fmla="*/ 243 h 258"/>
              <a:gd name="T114" fmla="*/ 31 w 338"/>
              <a:gd name="T115" fmla="*/ 243 h 258"/>
              <a:gd name="T116" fmla="*/ 59 w 338"/>
              <a:gd name="T117" fmla="*/ 241 h 258"/>
              <a:gd name="T118" fmla="*/ 85 w 338"/>
              <a:gd name="T119" fmla="*/ 232 h 258"/>
              <a:gd name="T120" fmla="*/ 97 w 338"/>
              <a:gd name="T121" fmla="*/ 230 h 258"/>
              <a:gd name="T122" fmla="*/ 102 w 338"/>
              <a:gd name="T123" fmla="*/ 22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8" h="258">
                <a:moveTo>
                  <a:pt x="304" y="246"/>
                </a:moveTo>
                <a:cubicBezTo>
                  <a:pt x="304" y="246"/>
                  <a:pt x="304" y="246"/>
                  <a:pt x="304" y="246"/>
                </a:cubicBezTo>
                <a:cubicBezTo>
                  <a:pt x="304" y="245"/>
                  <a:pt x="304" y="245"/>
                  <a:pt x="304" y="245"/>
                </a:cubicBezTo>
                <a:cubicBezTo>
                  <a:pt x="305" y="245"/>
                  <a:pt x="305" y="245"/>
                  <a:pt x="305" y="245"/>
                </a:cubicBezTo>
                <a:cubicBezTo>
                  <a:pt x="305" y="244"/>
                  <a:pt x="305" y="244"/>
                  <a:pt x="305" y="244"/>
                </a:cubicBezTo>
                <a:cubicBezTo>
                  <a:pt x="305" y="244"/>
                  <a:pt x="305" y="244"/>
                  <a:pt x="305" y="244"/>
                </a:cubicBezTo>
                <a:cubicBezTo>
                  <a:pt x="305" y="243"/>
                  <a:pt x="305" y="243"/>
                  <a:pt x="305" y="243"/>
                </a:cubicBezTo>
                <a:cubicBezTo>
                  <a:pt x="304" y="243"/>
                  <a:pt x="304" y="243"/>
                  <a:pt x="304" y="243"/>
                </a:cubicBezTo>
                <a:cubicBezTo>
                  <a:pt x="304" y="241"/>
                  <a:pt x="304" y="241"/>
                  <a:pt x="304" y="241"/>
                </a:cubicBezTo>
                <a:cubicBezTo>
                  <a:pt x="303" y="240"/>
                  <a:pt x="303" y="240"/>
                  <a:pt x="303" y="240"/>
                </a:cubicBezTo>
                <a:cubicBezTo>
                  <a:pt x="302" y="239"/>
                  <a:pt x="302" y="239"/>
                  <a:pt x="302" y="239"/>
                </a:cubicBezTo>
                <a:cubicBezTo>
                  <a:pt x="301" y="239"/>
                  <a:pt x="301" y="239"/>
                  <a:pt x="301" y="239"/>
                </a:cubicBezTo>
                <a:cubicBezTo>
                  <a:pt x="301" y="238"/>
                  <a:pt x="301" y="238"/>
                  <a:pt x="301" y="238"/>
                </a:cubicBezTo>
                <a:cubicBezTo>
                  <a:pt x="300" y="236"/>
                  <a:pt x="300" y="236"/>
                  <a:pt x="300" y="236"/>
                </a:cubicBezTo>
                <a:cubicBezTo>
                  <a:pt x="299" y="236"/>
                  <a:pt x="299" y="236"/>
                  <a:pt x="299" y="236"/>
                </a:cubicBezTo>
                <a:cubicBezTo>
                  <a:pt x="298" y="236"/>
                  <a:pt x="298" y="236"/>
                  <a:pt x="298" y="236"/>
                </a:cubicBezTo>
                <a:cubicBezTo>
                  <a:pt x="298" y="235"/>
                  <a:pt x="298" y="235"/>
                  <a:pt x="298" y="235"/>
                </a:cubicBezTo>
                <a:cubicBezTo>
                  <a:pt x="298" y="235"/>
                  <a:pt x="298" y="235"/>
                  <a:pt x="298" y="235"/>
                </a:cubicBezTo>
                <a:cubicBezTo>
                  <a:pt x="298" y="234"/>
                  <a:pt x="298" y="234"/>
                  <a:pt x="298" y="234"/>
                </a:cubicBezTo>
                <a:cubicBezTo>
                  <a:pt x="298" y="233"/>
                  <a:pt x="298" y="233"/>
                  <a:pt x="298" y="233"/>
                </a:cubicBezTo>
                <a:cubicBezTo>
                  <a:pt x="297" y="233"/>
                  <a:pt x="297" y="233"/>
                  <a:pt x="297" y="233"/>
                </a:cubicBezTo>
                <a:cubicBezTo>
                  <a:pt x="298" y="232"/>
                  <a:pt x="298" y="232"/>
                  <a:pt x="298" y="232"/>
                </a:cubicBezTo>
                <a:cubicBezTo>
                  <a:pt x="298" y="232"/>
                  <a:pt x="298" y="232"/>
                  <a:pt x="298" y="232"/>
                </a:cubicBezTo>
                <a:cubicBezTo>
                  <a:pt x="298" y="231"/>
                  <a:pt x="298" y="231"/>
                  <a:pt x="298" y="231"/>
                </a:cubicBezTo>
                <a:cubicBezTo>
                  <a:pt x="297" y="231"/>
                  <a:pt x="297" y="231"/>
                  <a:pt x="297" y="231"/>
                </a:cubicBezTo>
                <a:cubicBezTo>
                  <a:pt x="297" y="231"/>
                  <a:pt x="297" y="231"/>
                  <a:pt x="297" y="231"/>
                </a:cubicBezTo>
                <a:cubicBezTo>
                  <a:pt x="297" y="230"/>
                  <a:pt x="297" y="230"/>
                  <a:pt x="297" y="230"/>
                </a:cubicBezTo>
                <a:cubicBezTo>
                  <a:pt x="298" y="229"/>
                  <a:pt x="298" y="229"/>
                  <a:pt x="298" y="229"/>
                </a:cubicBezTo>
                <a:cubicBezTo>
                  <a:pt x="298" y="225"/>
                  <a:pt x="298" y="225"/>
                  <a:pt x="298" y="225"/>
                </a:cubicBezTo>
                <a:cubicBezTo>
                  <a:pt x="298" y="220"/>
                  <a:pt x="298" y="220"/>
                  <a:pt x="298" y="220"/>
                </a:cubicBezTo>
                <a:cubicBezTo>
                  <a:pt x="298" y="217"/>
                  <a:pt x="298" y="217"/>
                  <a:pt x="298" y="217"/>
                </a:cubicBezTo>
                <a:cubicBezTo>
                  <a:pt x="298" y="216"/>
                  <a:pt x="298" y="216"/>
                  <a:pt x="298" y="216"/>
                </a:cubicBezTo>
                <a:cubicBezTo>
                  <a:pt x="298" y="215"/>
                  <a:pt x="298" y="215"/>
                  <a:pt x="298" y="215"/>
                </a:cubicBezTo>
                <a:cubicBezTo>
                  <a:pt x="298" y="213"/>
                  <a:pt x="298" y="213"/>
                  <a:pt x="298" y="213"/>
                </a:cubicBezTo>
                <a:cubicBezTo>
                  <a:pt x="298" y="212"/>
                  <a:pt x="298" y="212"/>
                  <a:pt x="298" y="212"/>
                </a:cubicBezTo>
                <a:cubicBezTo>
                  <a:pt x="297" y="211"/>
                  <a:pt x="297" y="211"/>
                  <a:pt x="297" y="211"/>
                </a:cubicBezTo>
                <a:cubicBezTo>
                  <a:pt x="297" y="209"/>
                  <a:pt x="297" y="209"/>
                  <a:pt x="297" y="209"/>
                </a:cubicBezTo>
                <a:cubicBezTo>
                  <a:pt x="296" y="207"/>
                  <a:pt x="296" y="207"/>
                  <a:pt x="296" y="207"/>
                </a:cubicBezTo>
                <a:cubicBezTo>
                  <a:pt x="295" y="205"/>
                  <a:pt x="295" y="205"/>
                  <a:pt x="295" y="205"/>
                </a:cubicBezTo>
                <a:cubicBezTo>
                  <a:pt x="296" y="204"/>
                  <a:pt x="296" y="204"/>
                  <a:pt x="296" y="204"/>
                </a:cubicBezTo>
                <a:cubicBezTo>
                  <a:pt x="294" y="200"/>
                  <a:pt x="294" y="200"/>
                  <a:pt x="294" y="200"/>
                </a:cubicBezTo>
                <a:cubicBezTo>
                  <a:pt x="295" y="200"/>
                  <a:pt x="295" y="200"/>
                  <a:pt x="295" y="200"/>
                </a:cubicBezTo>
                <a:cubicBezTo>
                  <a:pt x="296" y="198"/>
                  <a:pt x="296" y="198"/>
                  <a:pt x="296" y="198"/>
                </a:cubicBezTo>
                <a:cubicBezTo>
                  <a:pt x="295" y="197"/>
                  <a:pt x="295" y="197"/>
                  <a:pt x="295" y="197"/>
                </a:cubicBezTo>
                <a:cubicBezTo>
                  <a:pt x="295" y="196"/>
                  <a:pt x="295" y="196"/>
                  <a:pt x="295" y="196"/>
                </a:cubicBezTo>
                <a:cubicBezTo>
                  <a:pt x="294" y="195"/>
                  <a:pt x="294" y="195"/>
                  <a:pt x="294" y="195"/>
                </a:cubicBezTo>
                <a:cubicBezTo>
                  <a:pt x="292" y="195"/>
                  <a:pt x="292" y="195"/>
                  <a:pt x="292" y="195"/>
                </a:cubicBezTo>
                <a:cubicBezTo>
                  <a:pt x="290" y="195"/>
                  <a:pt x="290" y="195"/>
                  <a:pt x="290" y="195"/>
                </a:cubicBezTo>
                <a:cubicBezTo>
                  <a:pt x="289" y="196"/>
                  <a:pt x="289" y="196"/>
                  <a:pt x="289" y="196"/>
                </a:cubicBezTo>
                <a:cubicBezTo>
                  <a:pt x="287" y="196"/>
                  <a:pt x="287" y="196"/>
                  <a:pt x="287" y="196"/>
                </a:cubicBezTo>
                <a:cubicBezTo>
                  <a:pt x="286" y="198"/>
                  <a:pt x="286" y="198"/>
                  <a:pt x="286" y="198"/>
                </a:cubicBezTo>
                <a:cubicBezTo>
                  <a:pt x="284" y="200"/>
                  <a:pt x="284" y="200"/>
                  <a:pt x="284" y="200"/>
                </a:cubicBezTo>
                <a:cubicBezTo>
                  <a:pt x="282" y="201"/>
                  <a:pt x="282" y="201"/>
                  <a:pt x="282" y="201"/>
                </a:cubicBezTo>
                <a:cubicBezTo>
                  <a:pt x="280" y="202"/>
                  <a:pt x="280" y="202"/>
                  <a:pt x="280" y="202"/>
                </a:cubicBezTo>
                <a:cubicBezTo>
                  <a:pt x="278" y="202"/>
                  <a:pt x="278" y="202"/>
                  <a:pt x="278" y="202"/>
                </a:cubicBezTo>
                <a:cubicBezTo>
                  <a:pt x="278" y="202"/>
                  <a:pt x="278" y="202"/>
                  <a:pt x="278" y="202"/>
                </a:cubicBezTo>
                <a:cubicBezTo>
                  <a:pt x="278" y="201"/>
                  <a:pt x="278" y="201"/>
                  <a:pt x="278" y="201"/>
                </a:cubicBezTo>
                <a:cubicBezTo>
                  <a:pt x="279" y="199"/>
                  <a:pt x="279" y="199"/>
                  <a:pt x="279" y="199"/>
                </a:cubicBezTo>
                <a:cubicBezTo>
                  <a:pt x="278" y="198"/>
                  <a:pt x="278" y="198"/>
                  <a:pt x="278" y="198"/>
                </a:cubicBezTo>
                <a:cubicBezTo>
                  <a:pt x="276" y="191"/>
                  <a:pt x="276" y="191"/>
                  <a:pt x="276" y="191"/>
                </a:cubicBezTo>
                <a:cubicBezTo>
                  <a:pt x="275" y="187"/>
                  <a:pt x="275" y="187"/>
                  <a:pt x="275" y="187"/>
                </a:cubicBezTo>
                <a:cubicBezTo>
                  <a:pt x="275" y="186"/>
                  <a:pt x="275" y="186"/>
                  <a:pt x="275" y="186"/>
                </a:cubicBezTo>
                <a:cubicBezTo>
                  <a:pt x="276" y="183"/>
                  <a:pt x="276" y="183"/>
                  <a:pt x="276" y="183"/>
                </a:cubicBezTo>
                <a:cubicBezTo>
                  <a:pt x="273" y="183"/>
                  <a:pt x="273" y="183"/>
                  <a:pt x="273" y="183"/>
                </a:cubicBezTo>
                <a:cubicBezTo>
                  <a:pt x="270" y="184"/>
                  <a:pt x="270" y="184"/>
                  <a:pt x="270" y="184"/>
                </a:cubicBezTo>
                <a:cubicBezTo>
                  <a:pt x="269" y="183"/>
                  <a:pt x="269" y="183"/>
                  <a:pt x="269" y="183"/>
                </a:cubicBezTo>
                <a:cubicBezTo>
                  <a:pt x="265" y="183"/>
                  <a:pt x="265" y="183"/>
                  <a:pt x="265" y="183"/>
                </a:cubicBezTo>
                <a:cubicBezTo>
                  <a:pt x="338" y="50"/>
                  <a:pt x="338" y="50"/>
                  <a:pt x="338" y="50"/>
                </a:cubicBezTo>
                <a:cubicBezTo>
                  <a:pt x="338" y="50"/>
                  <a:pt x="338" y="50"/>
                  <a:pt x="338" y="50"/>
                </a:cubicBezTo>
                <a:cubicBezTo>
                  <a:pt x="336" y="50"/>
                  <a:pt x="336" y="50"/>
                  <a:pt x="336" y="50"/>
                </a:cubicBezTo>
                <a:cubicBezTo>
                  <a:pt x="335" y="50"/>
                  <a:pt x="335" y="50"/>
                  <a:pt x="335" y="50"/>
                </a:cubicBezTo>
                <a:cubicBezTo>
                  <a:pt x="335" y="49"/>
                  <a:pt x="335" y="49"/>
                  <a:pt x="335" y="49"/>
                </a:cubicBezTo>
                <a:cubicBezTo>
                  <a:pt x="334" y="46"/>
                  <a:pt x="334" y="46"/>
                  <a:pt x="334" y="46"/>
                </a:cubicBezTo>
                <a:cubicBezTo>
                  <a:pt x="333" y="45"/>
                  <a:pt x="333" y="45"/>
                  <a:pt x="333" y="45"/>
                </a:cubicBezTo>
                <a:cubicBezTo>
                  <a:pt x="333" y="45"/>
                  <a:pt x="333" y="45"/>
                  <a:pt x="333" y="45"/>
                </a:cubicBezTo>
                <a:cubicBezTo>
                  <a:pt x="332" y="43"/>
                  <a:pt x="332" y="43"/>
                  <a:pt x="332" y="43"/>
                </a:cubicBezTo>
                <a:cubicBezTo>
                  <a:pt x="332" y="42"/>
                  <a:pt x="332" y="42"/>
                  <a:pt x="332" y="42"/>
                </a:cubicBezTo>
                <a:cubicBezTo>
                  <a:pt x="331" y="41"/>
                  <a:pt x="331" y="41"/>
                  <a:pt x="331" y="41"/>
                </a:cubicBezTo>
                <a:cubicBezTo>
                  <a:pt x="329" y="41"/>
                  <a:pt x="329" y="41"/>
                  <a:pt x="329" y="41"/>
                </a:cubicBezTo>
                <a:cubicBezTo>
                  <a:pt x="328" y="41"/>
                  <a:pt x="328" y="41"/>
                  <a:pt x="328" y="41"/>
                </a:cubicBezTo>
                <a:cubicBezTo>
                  <a:pt x="327" y="41"/>
                  <a:pt x="327" y="41"/>
                  <a:pt x="327" y="41"/>
                </a:cubicBezTo>
                <a:cubicBezTo>
                  <a:pt x="325" y="42"/>
                  <a:pt x="325" y="42"/>
                  <a:pt x="325" y="42"/>
                </a:cubicBezTo>
                <a:cubicBezTo>
                  <a:pt x="324" y="41"/>
                  <a:pt x="324" y="41"/>
                  <a:pt x="324" y="41"/>
                </a:cubicBezTo>
                <a:cubicBezTo>
                  <a:pt x="324" y="41"/>
                  <a:pt x="324" y="41"/>
                  <a:pt x="324" y="41"/>
                </a:cubicBezTo>
                <a:cubicBezTo>
                  <a:pt x="323" y="41"/>
                  <a:pt x="323" y="41"/>
                  <a:pt x="323" y="41"/>
                </a:cubicBezTo>
                <a:cubicBezTo>
                  <a:pt x="323" y="41"/>
                  <a:pt x="323" y="41"/>
                  <a:pt x="323" y="41"/>
                </a:cubicBezTo>
                <a:cubicBezTo>
                  <a:pt x="322" y="41"/>
                  <a:pt x="322" y="41"/>
                  <a:pt x="322" y="41"/>
                </a:cubicBezTo>
                <a:cubicBezTo>
                  <a:pt x="322" y="41"/>
                  <a:pt x="322" y="41"/>
                  <a:pt x="322" y="41"/>
                </a:cubicBezTo>
                <a:cubicBezTo>
                  <a:pt x="323" y="41"/>
                  <a:pt x="323" y="41"/>
                  <a:pt x="323" y="41"/>
                </a:cubicBezTo>
                <a:cubicBezTo>
                  <a:pt x="323" y="40"/>
                  <a:pt x="323" y="40"/>
                  <a:pt x="323" y="40"/>
                </a:cubicBezTo>
                <a:cubicBezTo>
                  <a:pt x="322" y="39"/>
                  <a:pt x="322" y="39"/>
                  <a:pt x="322" y="39"/>
                </a:cubicBezTo>
                <a:cubicBezTo>
                  <a:pt x="321" y="40"/>
                  <a:pt x="321" y="40"/>
                  <a:pt x="321" y="40"/>
                </a:cubicBezTo>
                <a:cubicBezTo>
                  <a:pt x="320" y="39"/>
                  <a:pt x="320" y="39"/>
                  <a:pt x="320" y="39"/>
                </a:cubicBezTo>
                <a:cubicBezTo>
                  <a:pt x="320" y="39"/>
                  <a:pt x="320" y="39"/>
                  <a:pt x="320" y="39"/>
                </a:cubicBezTo>
                <a:cubicBezTo>
                  <a:pt x="321" y="39"/>
                  <a:pt x="321" y="39"/>
                  <a:pt x="321" y="39"/>
                </a:cubicBezTo>
                <a:cubicBezTo>
                  <a:pt x="320" y="38"/>
                  <a:pt x="320" y="38"/>
                  <a:pt x="320" y="38"/>
                </a:cubicBezTo>
                <a:cubicBezTo>
                  <a:pt x="320" y="38"/>
                  <a:pt x="320" y="38"/>
                  <a:pt x="320" y="38"/>
                </a:cubicBezTo>
                <a:cubicBezTo>
                  <a:pt x="319" y="38"/>
                  <a:pt x="319" y="38"/>
                  <a:pt x="319" y="38"/>
                </a:cubicBezTo>
                <a:cubicBezTo>
                  <a:pt x="319" y="37"/>
                  <a:pt x="319" y="37"/>
                  <a:pt x="319" y="37"/>
                </a:cubicBezTo>
                <a:cubicBezTo>
                  <a:pt x="318" y="36"/>
                  <a:pt x="318" y="36"/>
                  <a:pt x="318" y="36"/>
                </a:cubicBezTo>
                <a:cubicBezTo>
                  <a:pt x="316" y="35"/>
                  <a:pt x="316" y="35"/>
                  <a:pt x="316" y="35"/>
                </a:cubicBezTo>
                <a:cubicBezTo>
                  <a:pt x="316" y="35"/>
                  <a:pt x="316" y="35"/>
                  <a:pt x="316" y="35"/>
                </a:cubicBezTo>
                <a:cubicBezTo>
                  <a:pt x="315" y="35"/>
                  <a:pt x="315" y="35"/>
                  <a:pt x="315" y="35"/>
                </a:cubicBezTo>
                <a:cubicBezTo>
                  <a:pt x="315" y="35"/>
                  <a:pt x="315" y="35"/>
                  <a:pt x="315" y="35"/>
                </a:cubicBezTo>
                <a:cubicBezTo>
                  <a:pt x="314" y="35"/>
                  <a:pt x="314" y="35"/>
                  <a:pt x="314" y="35"/>
                </a:cubicBezTo>
                <a:cubicBezTo>
                  <a:pt x="314" y="35"/>
                  <a:pt x="314" y="35"/>
                  <a:pt x="314" y="35"/>
                </a:cubicBezTo>
                <a:cubicBezTo>
                  <a:pt x="314" y="35"/>
                  <a:pt x="314" y="35"/>
                  <a:pt x="314" y="35"/>
                </a:cubicBezTo>
                <a:cubicBezTo>
                  <a:pt x="313" y="34"/>
                  <a:pt x="313" y="34"/>
                  <a:pt x="313" y="34"/>
                </a:cubicBezTo>
                <a:cubicBezTo>
                  <a:pt x="312" y="35"/>
                  <a:pt x="312" y="35"/>
                  <a:pt x="312" y="35"/>
                </a:cubicBezTo>
                <a:cubicBezTo>
                  <a:pt x="312" y="35"/>
                  <a:pt x="312" y="35"/>
                  <a:pt x="312" y="35"/>
                </a:cubicBezTo>
                <a:cubicBezTo>
                  <a:pt x="312" y="34"/>
                  <a:pt x="312" y="34"/>
                  <a:pt x="312" y="34"/>
                </a:cubicBezTo>
                <a:cubicBezTo>
                  <a:pt x="312" y="34"/>
                  <a:pt x="312" y="34"/>
                  <a:pt x="312" y="34"/>
                </a:cubicBezTo>
                <a:cubicBezTo>
                  <a:pt x="312" y="33"/>
                  <a:pt x="312" y="33"/>
                  <a:pt x="312" y="33"/>
                </a:cubicBezTo>
                <a:cubicBezTo>
                  <a:pt x="311" y="33"/>
                  <a:pt x="311" y="33"/>
                  <a:pt x="311" y="33"/>
                </a:cubicBezTo>
                <a:cubicBezTo>
                  <a:pt x="310" y="33"/>
                  <a:pt x="310" y="33"/>
                  <a:pt x="310" y="33"/>
                </a:cubicBezTo>
                <a:cubicBezTo>
                  <a:pt x="310" y="32"/>
                  <a:pt x="310" y="32"/>
                  <a:pt x="310" y="32"/>
                </a:cubicBezTo>
                <a:cubicBezTo>
                  <a:pt x="310" y="32"/>
                  <a:pt x="310" y="32"/>
                  <a:pt x="310" y="32"/>
                </a:cubicBezTo>
                <a:cubicBezTo>
                  <a:pt x="309" y="31"/>
                  <a:pt x="309" y="31"/>
                  <a:pt x="309" y="31"/>
                </a:cubicBezTo>
                <a:cubicBezTo>
                  <a:pt x="308" y="30"/>
                  <a:pt x="308" y="30"/>
                  <a:pt x="308" y="30"/>
                </a:cubicBezTo>
                <a:cubicBezTo>
                  <a:pt x="308" y="30"/>
                  <a:pt x="308" y="30"/>
                  <a:pt x="308" y="30"/>
                </a:cubicBezTo>
                <a:cubicBezTo>
                  <a:pt x="308" y="29"/>
                  <a:pt x="308" y="29"/>
                  <a:pt x="308" y="29"/>
                </a:cubicBezTo>
                <a:cubicBezTo>
                  <a:pt x="307" y="29"/>
                  <a:pt x="307" y="29"/>
                  <a:pt x="307" y="29"/>
                </a:cubicBezTo>
                <a:cubicBezTo>
                  <a:pt x="307" y="30"/>
                  <a:pt x="307" y="30"/>
                  <a:pt x="307" y="30"/>
                </a:cubicBezTo>
                <a:cubicBezTo>
                  <a:pt x="304" y="32"/>
                  <a:pt x="304" y="32"/>
                  <a:pt x="304" y="32"/>
                </a:cubicBezTo>
                <a:cubicBezTo>
                  <a:pt x="302" y="33"/>
                  <a:pt x="302" y="33"/>
                  <a:pt x="302" y="33"/>
                </a:cubicBezTo>
                <a:cubicBezTo>
                  <a:pt x="304" y="32"/>
                  <a:pt x="304" y="32"/>
                  <a:pt x="304" y="32"/>
                </a:cubicBezTo>
                <a:cubicBezTo>
                  <a:pt x="305" y="29"/>
                  <a:pt x="305" y="29"/>
                  <a:pt x="305" y="29"/>
                </a:cubicBezTo>
                <a:cubicBezTo>
                  <a:pt x="307" y="28"/>
                  <a:pt x="307" y="28"/>
                  <a:pt x="307" y="28"/>
                </a:cubicBezTo>
                <a:cubicBezTo>
                  <a:pt x="307" y="26"/>
                  <a:pt x="307" y="26"/>
                  <a:pt x="307" y="26"/>
                </a:cubicBezTo>
                <a:cubicBezTo>
                  <a:pt x="306" y="26"/>
                  <a:pt x="306" y="26"/>
                  <a:pt x="306" y="26"/>
                </a:cubicBezTo>
                <a:cubicBezTo>
                  <a:pt x="305" y="25"/>
                  <a:pt x="305" y="25"/>
                  <a:pt x="305" y="25"/>
                </a:cubicBezTo>
                <a:cubicBezTo>
                  <a:pt x="303" y="25"/>
                  <a:pt x="303" y="25"/>
                  <a:pt x="303" y="25"/>
                </a:cubicBezTo>
                <a:cubicBezTo>
                  <a:pt x="301" y="25"/>
                  <a:pt x="301" y="25"/>
                  <a:pt x="301" y="25"/>
                </a:cubicBezTo>
                <a:cubicBezTo>
                  <a:pt x="300" y="25"/>
                  <a:pt x="300" y="25"/>
                  <a:pt x="300" y="25"/>
                </a:cubicBezTo>
                <a:cubicBezTo>
                  <a:pt x="300" y="26"/>
                  <a:pt x="300" y="26"/>
                  <a:pt x="300" y="26"/>
                </a:cubicBezTo>
                <a:cubicBezTo>
                  <a:pt x="298" y="26"/>
                  <a:pt x="298" y="26"/>
                  <a:pt x="298" y="26"/>
                </a:cubicBezTo>
                <a:cubicBezTo>
                  <a:pt x="297" y="28"/>
                  <a:pt x="297" y="28"/>
                  <a:pt x="297" y="28"/>
                </a:cubicBezTo>
                <a:cubicBezTo>
                  <a:pt x="295" y="29"/>
                  <a:pt x="295" y="29"/>
                  <a:pt x="295" y="29"/>
                </a:cubicBezTo>
                <a:cubicBezTo>
                  <a:pt x="296" y="28"/>
                  <a:pt x="296" y="28"/>
                  <a:pt x="296" y="28"/>
                </a:cubicBezTo>
                <a:cubicBezTo>
                  <a:pt x="296" y="26"/>
                  <a:pt x="296" y="26"/>
                  <a:pt x="296" y="26"/>
                </a:cubicBezTo>
                <a:cubicBezTo>
                  <a:pt x="296" y="24"/>
                  <a:pt x="296" y="24"/>
                  <a:pt x="296" y="24"/>
                </a:cubicBezTo>
                <a:cubicBezTo>
                  <a:pt x="296" y="23"/>
                  <a:pt x="296" y="23"/>
                  <a:pt x="296" y="23"/>
                </a:cubicBezTo>
                <a:cubicBezTo>
                  <a:pt x="294" y="22"/>
                  <a:pt x="294" y="22"/>
                  <a:pt x="294" y="22"/>
                </a:cubicBezTo>
                <a:cubicBezTo>
                  <a:pt x="294" y="22"/>
                  <a:pt x="294" y="22"/>
                  <a:pt x="294" y="22"/>
                </a:cubicBezTo>
                <a:cubicBezTo>
                  <a:pt x="295" y="21"/>
                  <a:pt x="295" y="21"/>
                  <a:pt x="295" y="21"/>
                </a:cubicBezTo>
                <a:cubicBezTo>
                  <a:pt x="296" y="21"/>
                  <a:pt x="296" y="21"/>
                  <a:pt x="296" y="21"/>
                </a:cubicBezTo>
                <a:cubicBezTo>
                  <a:pt x="296" y="21"/>
                  <a:pt x="296" y="21"/>
                  <a:pt x="296" y="21"/>
                </a:cubicBezTo>
                <a:cubicBezTo>
                  <a:pt x="293" y="19"/>
                  <a:pt x="293" y="19"/>
                  <a:pt x="293" y="19"/>
                </a:cubicBezTo>
                <a:cubicBezTo>
                  <a:pt x="293" y="18"/>
                  <a:pt x="293" y="18"/>
                  <a:pt x="293" y="18"/>
                </a:cubicBezTo>
                <a:cubicBezTo>
                  <a:pt x="294" y="17"/>
                  <a:pt x="294" y="17"/>
                  <a:pt x="294" y="17"/>
                </a:cubicBezTo>
                <a:cubicBezTo>
                  <a:pt x="295" y="16"/>
                  <a:pt x="295" y="16"/>
                  <a:pt x="295" y="16"/>
                </a:cubicBezTo>
                <a:cubicBezTo>
                  <a:pt x="296" y="16"/>
                  <a:pt x="296" y="16"/>
                  <a:pt x="296" y="16"/>
                </a:cubicBezTo>
                <a:cubicBezTo>
                  <a:pt x="296" y="15"/>
                  <a:pt x="296" y="15"/>
                  <a:pt x="296" y="15"/>
                </a:cubicBezTo>
                <a:cubicBezTo>
                  <a:pt x="295" y="13"/>
                  <a:pt x="295" y="13"/>
                  <a:pt x="295" y="13"/>
                </a:cubicBezTo>
                <a:cubicBezTo>
                  <a:pt x="294" y="13"/>
                  <a:pt x="294" y="13"/>
                  <a:pt x="294" y="13"/>
                </a:cubicBezTo>
                <a:cubicBezTo>
                  <a:pt x="294" y="14"/>
                  <a:pt x="294" y="14"/>
                  <a:pt x="294" y="14"/>
                </a:cubicBezTo>
                <a:cubicBezTo>
                  <a:pt x="293" y="13"/>
                  <a:pt x="293" y="13"/>
                  <a:pt x="293" y="13"/>
                </a:cubicBezTo>
                <a:cubicBezTo>
                  <a:pt x="292" y="12"/>
                  <a:pt x="292" y="12"/>
                  <a:pt x="292" y="12"/>
                </a:cubicBezTo>
                <a:cubicBezTo>
                  <a:pt x="291" y="13"/>
                  <a:pt x="291" y="13"/>
                  <a:pt x="291" y="13"/>
                </a:cubicBezTo>
                <a:cubicBezTo>
                  <a:pt x="290" y="12"/>
                  <a:pt x="290" y="12"/>
                  <a:pt x="290" y="12"/>
                </a:cubicBezTo>
                <a:cubicBezTo>
                  <a:pt x="289" y="12"/>
                  <a:pt x="289" y="12"/>
                  <a:pt x="289" y="12"/>
                </a:cubicBezTo>
                <a:cubicBezTo>
                  <a:pt x="288" y="12"/>
                  <a:pt x="288" y="12"/>
                  <a:pt x="288" y="12"/>
                </a:cubicBezTo>
                <a:cubicBezTo>
                  <a:pt x="287" y="12"/>
                  <a:pt x="287" y="12"/>
                  <a:pt x="287" y="12"/>
                </a:cubicBezTo>
                <a:cubicBezTo>
                  <a:pt x="286" y="13"/>
                  <a:pt x="286" y="13"/>
                  <a:pt x="286" y="13"/>
                </a:cubicBezTo>
                <a:cubicBezTo>
                  <a:pt x="286" y="14"/>
                  <a:pt x="286" y="14"/>
                  <a:pt x="286" y="14"/>
                </a:cubicBezTo>
                <a:cubicBezTo>
                  <a:pt x="285" y="13"/>
                  <a:pt x="285" y="13"/>
                  <a:pt x="285" y="13"/>
                </a:cubicBezTo>
                <a:cubicBezTo>
                  <a:pt x="286" y="12"/>
                  <a:pt x="286" y="12"/>
                  <a:pt x="286" y="12"/>
                </a:cubicBezTo>
                <a:cubicBezTo>
                  <a:pt x="286" y="11"/>
                  <a:pt x="286" y="11"/>
                  <a:pt x="286" y="11"/>
                </a:cubicBezTo>
                <a:cubicBezTo>
                  <a:pt x="286" y="10"/>
                  <a:pt x="286" y="10"/>
                  <a:pt x="286" y="10"/>
                </a:cubicBezTo>
                <a:cubicBezTo>
                  <a:pt x="286" y="9"/>
                  <a:pt x="286" y="9"/>
                  <a:pt x="286" y="9"/>
                </a:cubicBezTo>
                <a:cubicBezTo>
                  <a:pt x="287" y="9"/>
                  <a:pt x="287" y="9"/>
                  <a:pt x="287" y="9"/>
                </a:cubicBezTo>
                <a:cubicBezTo>
                  <a:pt x="287" y="8"/>
                  <a:pt x="287" y="8"/>
                  <a:pt x="287" y="8"/>
                </a:cubicBezTo>
                <a:cubicBezTo>
                  <a:pt x="288" y="7"/>
                  <a:pt x="288" y="7"/>
                  <a:pt x="288" y="7"/>
                </a:cubicBezTo>
                <a:cubicBezTo>
                  <a:pt x="287" y="6"/>
                  <a:pt x="287" y="6"/>
                  <a:pt x="287" y="6"/>
                </a:cubicBezTo>
                <a:cubicBezTo>
                  <a:pt x="287" y="6"/>
                  <a:pt x="287" y="6"/>
                  <a:pt x="287" y="6"/>
                </a:cubicBezTo>
                <a:cubicBezTo>
                  <a:pt x="285" y="7"/>
                  <a:pt x="285" y="7"/>
                  <a:pt x="285" y="7"/>
                </a:cubicBezTo>
                <a:cubicBezTo>
                  <a:pt x="285" y="8"/>
                  <a:pt x="285" y="8"/>
                  <a:pt x="285" y="8"/>
                </a:cubicBezTo>
                <a:cubicBezTo>
                  <a:pt x="285" y="8"/>
                  <a:pt x="285" y="8"/>
                  <a:pt x="285" y="8"/>
                </a:cubicBezTo>
                <a:cubicBezTo>
                  <a:pt x="284" y="8"/>
                  <a:pt x="284" y="8"/>
                  <a:pt x="284" y="8"/>
                </a:cubicBezTo>
                <a:cubicBezTo>
                  <a:pt x="283" y="8"/>
                  <a:pt x="283" y="8"/>
                  <a:pt x="283" y="8"/>
                </a:cubicBezTo>
                <a:cubicBezTo>
                  <a:pt x="282" y="9"/>
                  <a:pt x="282" y="9"/>
                  <a:pt x="282" y="9"/>
                </a:cubicBezTo>
                <a:cubicBezTo>
                  <a:pt x="283" y="10"/>
                  <a:pt x="283" y="10"/>
                  <a:pt x="283" y="10"/>
                </a:cubicBezTo>
                <a:cubicBezTo>
                  <a:pt x="282" y="11"/>
                  <a:pt x="282" y="11"/>
                  <a:pt x="282" y="11"/>
                </a:cubicBezTo>
                <a:cubicBezTo>
                  <a:pt x="281" y="11"/>
                  <a:pt x="281" y="11"/>
                  <a:pt x="281" y="11"/>
                </a:cubicBezTo>
                <a:cubicBezTo>
                  <a:pt x="281" y="11"/>
                  <a:pt x="281" y="11"/>
                  <a:pt x="281" y="11"/>
                </a:cubicBezTo>
                <a:cubicBezTo>
                  <a:pt x="280" y="12"/>
                  <a:pt x="280" y="12"/>
                  <a:pt x="280" y="12"/>
                </a:cubicBezTo>
                <a:cubicBezTo>
                  <a:pt x="280" y="13"/>
                  <a:pt x="280" y="13"/>
                  <a:pt x="280" y="13"/>
                </a:cubicBezTo>
                <a:cubicBezTo>
                  <a:pt x="280" y="12"/>
                  <a:pt x="280" y="12"/>
                  <a:pt x="280" y="12"/>
                </a:cubicBezTo>
                <a:cubicBezTo>
                  <a:pt x="280" y="11"/>
                  <a:pt x="280" y="11"/>
                  <a:pt x="280" y="11"/>
                </a:cubicBezTo>
                <a:cubicBezTo>
                  <a:pt x="280" y="10"/>
                  <a:pt x="280" y="10"/>
                  <a:pt x="280" y="10"/>
                </a:cubicBezTo>
                <a:cubicBezTo>
                  <a:pt x="280" y="10"/>
                  <a:pt x="280" y="10"/>
                  <a:pt x="280" y="10"/>
                </a:cubicBezTo>
                <a:cubicBezTo>
                  <a:pt x="279" y="11"/>
                  <a:pt x="279" y="11"/>
                  <a:pt x="279" y="11"/>
                </a:cubicBezTo>
                <a:cubicBezTo>
                  <a:pt x="279" y="11"/>
                  <a:pt x="279" y="11"/>
                  <a:pt x="279" y="11"/>
                </a:cubicBezTo>
                <a:cubicBezTo>
                  <a:pt x="278" y="12"/>
                  <a:pt x="278" y="12"/>
                  <a:pt x="278" y="12"/>
                </a:cubicBezTo>
                <a:cubicBezTo>
                  <a:pt x="278" y="10"/>
                  <a:pt x="278" y="10"/>
                  <a:pt x="278" y="10"/>
                </a:cubicBezTo>
                <a:cubicBezTo>
                  <a:pt x="278" y="9"/>
                  <a:pt x="278" y="9"/>
                  <a:pt x="278" y="9"/>
                </a:cubicBezTo>
                <a:cubicBezTo>
                  <a:pt x="276" y="9"/>
                  <a:pt x="276" y="9"/>
                  <a:pt x="276" y="9"/>
                </a:cubicBezTo>
                <a:cubicBezTo>
                  <a:pt x="277" y="8"/>
                  <a:pt x="277" y="8"/>
                  <a:pt x="277" y="8"/>
                </a:cubicBezTo>
                <a:cubicBezTo>
                  <a:pt x="278" y="7"/>
                  <a:pt x="278" y="7"/>
                  <a:pt x="278" y="7"/>
                </a:cubicBezTo>
                <a:cubicBezTo>
                  <a:pt x="279" y="6"/>
                  <a:pt x="279" y="6"/>
                  <a:pt x="279" y="6"/>
                </a:cubicBezTo>
                <a:cubicBezTo>
                  <a:pt x="281" y="7"/>
                  <a:pt x="281" y="7"/>
                  <a:pt x="281" y="7"/>
                </a:cubicBezTo>
                <a:cubicBezTo>
                  <a:pt x="282" y="7"/>
                  <a:pt x="282" y="7"/>
                  <a:pt x="282" y="7"/>
                </a:cubicBezTo>
                <a:cubicBezTo>
                  <a:pt x="284" y="6"/>
                  <a:pt x="284" y="6"/>
                  <a:pt x="284" y="6"/>
                </a:cubicBezTo>
                <a:cubicBezTo>
                  <a:pt x="285" y="5"/>
                  <a:pt x="285" y="5"/>
                  <a:pt x="285" y="5"/>
                </a:cubicBezTo>
                <a:cubicBezTo>
                  <a:pt x="285" y="5"/>
                  <a:pt x="285" y="5"/>
                  <a:pt x="285" y="5"/>
                </a:cubicBezTo>
                <a:cubicBezTo>
                  <a:pt x="285" y="4"/>
                  <a:pt x="285" y="4"/>
                  <a:pt x="285" y="4"/>
                </a:cubicBezTo>
                <a:cubicBezTo>
                  <a:pt x="285" y="4"/>
                  <a:pt x="285" y="4"/>
                  <a:pt x="285" y="4"/>
                </a:cubicBezTo>
                <a:cubicBezTo>
                  <a:pt x="284" y="3"/>
                  <a:pt x="284" y="3"/>
                  <a:pt x="284" y="3"/>
                </a:cubicBezTo>
                <a:cubicBezTo>
                  <a:pt x="283" y="3"/>
                  <a:pt x="283" y="3"/>
                  <a:pt x="283" y="3"/>
                </a:cubicBezTo>
                <a:cubicBezTo>
                  <a:pt x="283" y="2"/>
                  <a:pt x="283" y="2"/>
                  <a:pt x="283" y="2"/>
                </a:cubicBezTo>
                <a:cubicBezTo>
                  <a:pt x="282" y="1"/>
                  <a:pt x="282" y="1"/>
                  <a:pt x="282" y="1"/>
                </a:cubicBezTo>
                <a:cubicBezTo>
                  <a:pt x="282" y="1"/>
                  <a:pt x="282" y="1"/>
                  <a:pt x="282" y="1"/>
                </a:cubicBezTo>
                <a:cubicBezTo>
                  <a:pt x="282" y="1"/>
                  <a:pt x="282" y="1"/>
                  <a:pt x="282" y="1"/>
                </a:cubicBezTo>
                <a:cubicBezTo>
                  <a:pt x="283" y="0"/>
                  <a:pt x="283" y="0"/>
                  <a:pt x="283" y="0"/>
                </a:cubicBezTo>
                <a:cubicBezTo>
                  <a:pt x="283" y="0"/>
                  <a:pt x="283" y="0"/>
                  <a:pt x="283" y="0"/>
                </a:cubicBezTo>
                <a:cubicBezTo>
                  <a:pt x="283" y="0"/>
                  <a:pt x="283" y="0"/>
                  <a:pt x="283" y="0"/>
                </a:cubicBezTo>
                <a:cubicBezTo>
                  <a:pt x="280" y="1"/>
                  <a:pt x="280" y="1"/>
                  <a:pt x="280" y="1"/>
                </a:cubicBezTo>
                <a:cubicBezTo>
                  <a:pt x="280" y="2"/>
                  <a:pt x="280" y="2"/>
                  <a:pt x="280" y="2"/>
                </a:cubicBezTo>
                <a:cubicBezTo>
                  <a:pt x="278" y="2"/>
                  <a:pt x="278" y="2"/>
                  <a:pt x="278" y="2"/>
                </a:cubicBezTo>
                <a:cubicBezTo>
                  <a:pt x="277" y="2"/>
                  <a:pt x="277" y="2"/>
                  <a:pt x="277" y="2"/>
                </a:cubicBezTo>
                <a:cubicBezTo>
                  <a:pt x="274" y="5"/>
                  <a:pt x="274" y="5"/>
                  <a:pt x="274" y="5"/>
                </a:cubicBezTo>
                <a:cubicBezTo>
                  <a:pt x="272" y="5"/>
                  <a:pt x="272" y="5"/>
                  <a:pt x="272" y="5"/>
                </a:cubicBezTo>
                <a:cubicBezTo>
                  <a:pt x="270" y="5"/>
                  <a:pt x="270" y="5"/>
                  <a:pt x="270" y="5"/>
                </a:cubicBezTo>
                <a:cubicBezTo>
                  <a:pt x="268" y="4"/>
                  <a:pt x="268" y="4"/>
                  <a:pt x="268" y="4"/>
                </a:cubicBezTo>
                <a:cubicBezTo>
                  <a:pt x="267" y="4"/>
                  <a:pt x="267" y="4"/>
                  <a:pt x="267" y="4"/>
                </a:cubicBezTo>
                <a:cubicBezTo>
                  <a:pt x="267" y="4"/>
                  <a:pt x="267" y="4"/>
                  <a:pt x="267" y="4"/>
                </a:cubicBezTo>
                <a:cubicBezTo>
                  <a:pt x="266" y="4"/>
                  <a:pt x="266" y="4"/>
                  <a:pt x="266" y="4"/>
                </a:cubicBezTo>
                <a:cubicBezTo>
                  <a:pt x="265" y="3"/>
                  <a:pt x="265" y="3"/>
                  <a:pt x="265" y="3"/>
                </a:cubicBezTo>
                <a:cubicBezTo>
                  <a:pt x="264" y="4"/>
                  <a:pt x="264" y="4"/>
                  <a:pt x="264" y="4"/>
                </a:cubicBezTo>
                <a:cubicBezTo>
                  <a:pt x="264" y="5"/>
                  <a:pt x="264" y="5"/>
                  <a:pt x="264" y="5"/>
                </a:cubicBezTo>
                <a:cubicBezTo>
                  <a:pt x="263" y="5"/>
                  <a:pt x="263" y="5"/>
                  <a:pt x="263" y="5"/>
                </a:cubicBezTo>
                <a:cubicBezTo>
                  <a:pt x="263" y="4"/>
                  <a:pt x="263" y="4"/>
                  <a:pt x="263" y="4"/>
                </a:cubicBezTo>
                <a:cubicBezTo>
                  <a:pt x="263" y="3"/>
                  <a:pt x="263" y="3"/>
                  <a:pt x="263" y="3"/>
                </a:cubicBezTo>
                <a:cubicBezTo>
                  <a:pt x="264" y="3"/>
                  <a:pt x="264" y="3"/>
                  <a:pt x="264" y="3"/>
                </a:cubicBezTo>
                <a:cubicBezTo>
                  <a:pt x="263" y="2"/>
                  <a:pt x="263" y="2"/>
                  <a:pt x="263" y="2"/>
                </a:cubicBezTo>
                <a:cubicBezTo>
                  <a:pt x="262" y="3"/>
                  <a:pt x="262" y="3"/>
                  <a:pt x="262" y="3"/>
                </a:cubicBezTo>
                <a:cubicBezTo>
                  <a:pt x="259" y="4"/>
                  <a:pt x="259" y="4"/>
                  <a:pt x="259" y="4"/>
                </a:cubicBezTo>
                <a:cubicBezTo>
                  <a:pt x="258" y="5"/>
                  <a:pt x="258" y="5"/>
                  <a:pt x="258" y="5"/>
                </a:cubicBezTo>
                <a:cubicBezTo>
                  <a:pt x="257" y="6"/>
                  <a:pt x="257" y="6"/>
                  <a:pt x="257" y="6"/>
                </a:cubicBezTo>
                <a:cubicBezTo>
                  <a:pt x="257" y="7"/>
                  <a:pt x="257" y="7"/>
                  <a:pt x="257" y="7"/>
                </a:cubicBezTo>
                <a:cubicBezTo>
                  <a:pt x="259" y="7"/>
                  <a:pt x="259" y="7"/>
                  <a:pt x="259" y="7"/>
                </a:cubicBezTo>
                <a:cubicBezTo>
                  <a:pt x="258" y="8"/>
                  <a:pt x="258" y="8"/>
                  <a:pt x="258" y="8"/>
                </a:cubicBezTo>
                <a:cubicBezTo>
                  <a:pt x="256" y="8"/>
                  <a:pt x="256" y="8"/>
                  <a:pt x="256" y="8"/>
                </a:cubicBezTo>
                <a:cubicBezTo>
                  <a:pt x="255" y="9"/>
                  <a:pt x="255" y="9"/>
                  <a:pt x="255" y="9"/>
                </a:cubicBezTo>
                <a:cubicBezTo>
                  <a:pt x="254" y="12"/>
                  <a:pt x="254" y="12"/>
                  <a:pt x="254" y="12"/>
                </a:cubicBezTo>
                <a:cubicBezTo>
                  <a:pt x="253" y="14"/>
                  <a:pt x="253" y="14"/>
                  <a:pt x="253" y="14"/>
                </a:cubicBezTo>
                <a:cubicBezTo>
                  <a:pt x="252" y="14"/>
                  <a:pt x="252" y="14"/>
                  <a:pt x="252" y="14"/>
                </a:cubicBezTo>
                <a:cubicBezTo>
                  <a:pt x="252" y="14"/>
                  <a:pt x="252" y="14"/>
                  <a:pt x="252" y="14"/>
                </a:cubicBezTo>
                <a:cubicBezTo>
                  <a:pt x="252" y="12"/>
                  <a:pt x="252" y="12"/>
                  <a:pt x="252" y="12"/>
                </a:cubicBezTo>
                <a:cubicBezTo>
                  <a:pt x="254" y="9"/>
                  <a:pt x="254" y="9"/>
                  <a:pt x="254" y="9"/>
                </a:cubicBezTo>
                <a:cubicBezTo>
                  <a:pt x="254" y="8"/>
                  <a:pt x="254" y="8"/>
                  <a:pt x="254" y="8"/>
                </a:cubicBezTo>
                <a:cubicBezTo>
                  <a:pt x="254" y="8"/>
                  <a:pt x="254" y="8"/>
                  <a:pt x="254" y="8"/>
                </a:cubicBezTo>
                <a:cubicBezTo>
                  <a:pt x="251" y="10"/>
                  <a:pt x="251" y="10"/>
                  <a:pt x="251" y="10"/>
                </a:cubicBezTo>
                <a:cubicBezTo>
                  <a:pt x="249" y="10"/>
                  <a:pt x="249" y="10"/>
                  <a:pt x="249" y="10"/>
                </a:cubicBezTo>
                <a:cubicBezTo>
                  <a:pt x="249" y="9"/>
                  <a:pt x="249" y="9"/>
                  <a:pt x="249" y="9"/>
                </a:cubicBezTo>
                <a:cubicBezTo>
                  <a:pt x="248" y="8"/>
                  <a:pt x="248" y="8"/>
                  <a:pt x="248" y="8"/>
                </a:cubicBezTo>
                <a:cubicBezTo>
                  <a:pt x="246" y="8"/>
                  <a:pt x="246" y="8"/>
                  <a:pt x="246" y="8"/>
                </a:cubicBezTo>
                <a:cubicBezTo>
                  <a:pt x="245" y="8"/>
                  <a:pt x="245" y="8"/>
                  <a:pt x="245" y="8"/>
                </a:cubicBezTo>
                <a:cubicBezTo>
                  <a:pt x="245" y="8"/>
                  <a:pt x="245" y="8"/>
                  <a:pt x="245" y="8"/>
                </a:cubicBezTo>
                <a:cubicBezTo>
                  <a:pt x="247" y="9"/>
                  <a:pt x="247" y="9"/>
                  <a:pt x="247" y="9"/>
                </a:cubicBezTo>
                <a:cubicBezTo>
                  <a:pt x="248" y="10"/>
                  <a:pt x="248" y="10"/>
                  <a:pt x="248" y="10"/>
                </a:cubicBezTo>
                <a:cubicBezTo>
                  <a:pt x="247" y="10"/>
                  <a:pt x="247" y="10"/>
                  <a:pt x="247" y="10"/>
                </a:cubicBezTo>
                <a:cubicBezTo>
                  <a:pt x="246" y="10"/>
                  <a:pt x="246" y="10"/>
                  <a:pt x="246" y="10"/>
                </a:cubicBezTo>
                <a:cubicBezTo>
                  <a:pt x="243" y="9"/>
                  <a:pt x="243" y="9"/>
                  <a:pt x="243" y="9"/>
                </a:cubicBezTo>
                <a:cubicBezTo>
                  <a:pt x="241" y="11"/>
                  <a:pt x="241" y="11"/>
                  <a:pt x="241" y="11"/>
                </a:cubicBezTo>
                <a:cubicBezTo>
                  <a:pt x="238" y="13"/>
                  <a:pt x="238" y="13"/>
                  <a:pt x="238" y="13"/>
                </a:cubicBezTo>
                <a:cubicBezTo>
                  <a:pt x="234" y="15"/>
                  <a:pt x="234" y="15"/>
                  <a:pt x="234" y="15"/>
                </a:cubicBezTo>
                <a:cubicBezTo>
                  <a:pt x="231" y="17"/>
                  <a:pt x="231" y="17"/>
                  <a:pt x="231" y="17"/>
                </a:cubicBezTo>
                <a:cubicBezTo>
                  <a:pt x="229" y="19"/>
                  <a:pt x="229" y="19"/>
                  <a:pt x="229" y="19"/>
                </a:cubicBezTo>
                <a:cubicBezTo>
                  <a:pt x="226" y="22"/>
                  <a:pt x="226" y="22"/>
                  <a:pt x="226" y="22"/>
                </a:cubicBezTo>
                <a:cubicBezTo>
                  <a:pt x="224" y="23"/>
                  <a:pt x="224" y="23"/>
                  <a:pt x="224" y="23"/>
                </a:cubicBezTo>
                <a:cubicBezTo>
                  <a:pt x="222" y="23"/>
                  <a:pt x="222" y="23"/>
                  <a:pt x="222" y="23"/>
                </a:cubicBezTo>
                <a:cubicBezTo>
                  <a:pt x="221" y="24"/>
                  <a:pt x="221" y="24"/>
                  <a:pt x="221" y="24"/>
                </a:cubicBezTo>
                <a:cubicBezTo>
                  <a:pt x="219" y="24"/>
                  <a:pt x="219" y="24"/>
                  <a:pt x="219" y="24"/>
                </a:cubicBezTo>
                <a:cubicBezTo>
                  <a:pt x="217" y="26"/>
                  <a:pt x="217" y="26"/>
                  <a:pt x="217" y="26"/>
                </a:cubicBezTo>
                <a:cubicBezTo>
                  <a:pt x="215" y="26"/>
                  <a:pt x="215" y="26"/>
                  <a:pt x="215" y="26"/>
                </a:cubicBezTo>
                <a:cubicBezTo>
                  <a:pt x="214" y="25"/>
                  <a:pt x="214" y="25"/>
                  <a:pt x="214" y="25"/>
                </a:cubicBezTo>
                <a:cubicBezTo>
                  <a:pt x="213" y="25"/>
                  <a:pt x="213" y="25"/>
                  <a:pt x="213" y="25"/>
                </a:cubicBezTo>
                <a:cubicBezTo>
                  <a:pt x="211" y="24"/>
                  <a:pt x="211" y="24"/>
                  <a:pt x="211" y="24"/>
                </a:cubicBezTo>
                <a:cubicBezTo>
                  <a:pt x="210" y="23"/>
                  <a:pt x="210" y="23"/>
                  <a:pt x="210" y="23"/>
                </a:cubicBezTo>
                <a:cubicBezTo>
                  <a:pt x="208" y="22"/>
                  <a:pt x="208" y="22"/>
                  <a:pt x="208" y="22"/>
                </a:cubicBezTo>
                <a:cubicBezTo>
                  <a:pt x="207" y="22"/>
                  <a:pt x="207" y="22"/>
                  <a:pt x="207" y="22"/>
                </a:cubicBezTo>
                <a:cubicBezTo>
                  <a:pt x="205" y="24"/>
                  <a:pt x="205" y="24"/>
                  <a:pt x="205" y="24"/>
                </a:cubicBezTo>
                <a:cubicBezTo>
                  <a:pt x="203" y="26"/>
                  <a:pt x="203" y="26"/>
                  <a:pt x="203" y="26"/>
                </a:cubicBezTo>
                <a:cubicBezTo>
                  <a:pt x="203" y="27"/>
                  <a:pt x="203" y="27"/>
                  <a:pt x="203" y="27"/>
                </a:cubicBezTo>
                <a:cubicBezTo>
                  <a:pt x="201" y="29"/>
                  <a:pt x="201" y="29"/>
                  <a:pt x="201" y="29"/>
                </a:cubicBezTo>
                <a:cubicBezTo>
                  <a:pt x="201" y="30"/>
                  <a:pt x="201" y="30"/>
                  <a:pt x="201" y="30"/>
                </a:cubicBezTo>
                <a:cubicBezTo>
                  <a:pt x="200" y="30"/>
                  <a:pt x="200" y="30"/>
                  <a:pt x="200" y="30"/>
                </a:cubicBezTo>
                <a:cubicBezTo>
                  <a:pt x="199" y="29"/>
                  <a:pt x="199" y="29"/>
                  <a:pt x="199" y="29"/>
                </a:cubicBezTo>
                <a:cubicBezTo>
                  <a:pt x="198" y="30"/>
                  <a:pt x="198" y="30"/>
                  <a:pt x="198" y="30"/>
                </a:cubicBezTo>
                <a:cubicBezTo>
                  <a:pt x="199" y="33"/>
                  <a:pt x="199" y="33"/>
                  <a:pt x="199" y="33"/>
                </a:cubicBezTo>
                <a:cubicBezTo>
                  <a:pt x="201" y="38"/>
                  <a:pt x="201" y="38"/>
                  <a:pt x="201" y="38"/>
                </a:cubicBezTo>
                <a:cubicBezTo>
                  <a:pt x="202" y="42"/>
                  <a:pt x="202" y="42"/>
                  <a:pt x="202" y="42"/>
                </a:cubicBezTo>
                <a:cubicBezTo>
                  <a:pt x="203" y="46"/>
                  <a:pt x="203" y="46"/>
                  <a:pt x="203" y="46"/>
                </a:cubicBezTo>
                <a:cubicBezTo>
                  <a:pt x="203" y="50"/>
                  <a:pt x="203" y="50"/>
                  <a:pt x="203" y="50"/>
                </a:cubicBezTo>
                <a:cubicBezTo>
                  <a:pt x="201" y="52"/>
                  <a:pt x="201" y="52"/>
                  <a:pt x="201" y="52"/>
                </a:cubicBezTo>
                <a:cubicBezTo>
                  <a:pt x="200" y="54"/>
                  <a:pt x="200" y="54"/>
                  <a:pt x="200" y="54"/>
                </a:cubicBezTo>
                <a:cubicBezTo>
                  <a:pt x="200" y="54"/>
                  <a:pt x="200" y="54"/>
                  <a:pt x="200" y="54"/>
                </a:cubicBezTo>
                <a:cubicBezTo>
                  <a:pt x="203" y="57"/>
                  <a:pt x="203" y="57"/>
                  <a:pt x="203" y="57"/>
                </a:cubicBezTo>
                <a:cubicBezTo>
                  <a:pt x="204" y="58"/>
                  <a:pt x="204" y="58"/>
                  <a:pt x="204" y="58"/>
                </a:cubicBezTo>
                <a:cubicBezTo>
                  <a:pt x="204" y="57"/>
                  <a:pt x="204" y="57"/>
                  <a:pt x="204" y="57"/>
                </a:cubicBezTo>
                <a:cubicBezTo>
                  <a:pt x="204" y="57"/>
                  <a:pt x="204" y="57"/>
                  <a:pt x="204" y="57"/>
                </a:cubicBezTo>
                <a:cubicBezTo>
                  <a:pt x="205" y="57"/>
                  <a:pt x="205" y="57"/>
                  <a:pt x="205" y="57"/>
                </a:cubicBezTo>
                <a:cubicBezTo>
                  <a:pt x="206" y="57"/>
                  <a:pt x="206" y="57"/>
                  <a:pt x="206" y="57"/>
                </a:cubicBezTo>
                <a:cubicBezTo>
                  <a:pt x="205" y="57"/>
                  <a:pt x="205" y="57"/>
                  <a:pt x="205" y="57"/>
                </a:cubicBezTo>
                <a:cubicBezTo>
                  <a:pt x="205" y="58"/>
                  <a:pt x="205" y="58"/>
                  <a:pt x="205" y="58"/>
                </a:cubicBezTo>
                <a:cubicBezTo>
                  <a:pt x="208" y="61"/>
                  <a:pt x="208" y="61"/>
                  <a:pt x="208" y="61"/>
                </a:cubicBezTo>
                <a:cubicBezTo>
                  <a:pt x="208" y="61"/>
                  <a:pt x="208" y="61"/>
                  <a:pt x="208" y="61"/>
                </a:cubicBezTo>
                <a:cubicBezTo>
                  <a:pt x="206" y="61"/>
                  <a:pt x="206" y="61"/>
                  <a:pt x="206" y="61"/>
                </a:cubicBezTo>
                <a:cubicBezTo>
                  <a:pt x="206" y="62"/>
                  <a:pt x="206" y="62"/>
                  <a:pt x="206" y="62"/>
                </a:cubicBezTo>
                <a:cubicBezTo>
                  <a:pt x="206" y="65"/>
                  <a:pt x="206" y="65"/>
                  <a:pt x="206" y="65"/>
                </a:cubicBezTo>
                <a:cubicBezTo>
                  <a:pt x="206" y="66"/>
                  <a:pt x="206" y="66"/>
                  <a:pt x="206" y="66"/>
                </a:cubicBezTo>
                <a:cubicBezTo>
                  <a:pt x="207" y="67"/>
                  <a:pt x="207" y="67"/>
                  <a:pt x="207" y="67"/>
                </a:cubicBezTo>
                <a:cubicBezTo>
                  <a:pt x="208" y="66"/>
                  <a:pt x="208" y="66"/>
                  <a:pt x="208" y="66"/>
                </a:cubicBezTo>
                <a:cubicBezTo>
                  <a:pt x="209" y="66"/>
                  <a:pt x="209" y="66"/>
                  <a:pt x="209" y="66"/>
                </a:cubicBezTo>
                <a:cubicBezTo>
                  <a:pt x="210" y="66"/>
                  <a:pt x="210" y="66"/>
                  <a:pt x="210" y="66"/>
                </a:cubicBezTo>
                <a:cubicBezTo>
                  <a:pt x="210" y="67"/>
                  <a:pt x="210" y="67"/>
                  <a:pt x="210" y="67"/>
                </a:cubicBezTo>
                <a:cubicBezTo>
                  <a:pt x="212" y="67"/>
                  <a:pt x="212" y="67"/>
                  <a:pt x="212" y="67"/>
                </a:cubicBezTo>
                <a:cubicBezTo>
                  <a:pt x="214" y="67"/>
                  <a:pt x="214" y="67"/>
                  <a:pt x="214" y="67"/>
                </a:cubicBezTo>
                <a:cubicBezTo>
                  <a:pt x="216" y="68"/>
                  <a:pt x="216" y="68"/>
                  <a:pt x="216" y="68"/>
                </a:cubicBezTo>
                <a:cubicBezTo>
                  <a:pt x="214" y="69"/>
                  <a:pt x="214" y="69"/>
                  <a:pt x="214" y="69"/>
                </a:cubicBezTo>
                <a:cubicBezTo>
                  <a:pt x="214" y="70"/>
                  <a:pt x="214" y="70"/>
                  <a:pt x="214" y="70"/>
                </a:cubicBezTo>
                <a:cubicBezTo>
                  <a:pt x="214" y="72"/>
                  <a:pt x="214" y="72"/>
                  <a:pt x="214" y="72"/>
                </a:cubicBezTo>
                <a:cubicBezTo>
                  <a:pt x="212" y="72"/>
                  <a:pt x="212" y="72"/>
                  <a:pt x="212" y="72"/>
                </a:cubicBezTo>
                <a:cubicBezTo>
                  <a:pt x="212" y="71"/>
                  <a:pt x="212" y="71"/>
                  <a:pt x="212" y="71"/>
                </a:cubicBezTo>
                <a:cubicBezTo>
                  <a:pt x="211" y="70"/>
                  <a:pt x="211" y="70"/>
                  <a:pt x="211" y="70"/>
                </a:cubicBezTo>
                <a:cubicBezTo>
                  <a:pt x="210" y="71"/>
                  <a:pt x="210" y="71"/>
                  <a:pt x="210" y="71"/>
                </a:cubicBezTo>
                <a:cubicBezTo>
                  <a:pt x="208" y="71"/>
                  <a:pt x="208" y="71"/>
                  <a:pt x="208" y="71"/>
                </a:cubicBezTo>
                <a:cubicBezTo>
                  <a:pt x="208" y="70"/>
                  <a:pt x="208" y="70"/>
                  <a:pt x="208" y="70"/>
                </a:cubicBezTo>
                <a:cubicBezTo>
                  <a:pt x="207" y="68"/>
                  <a:pt x="207" y="68"/>
                  <a:pt x="207" y="68"/>
                </a:cubicBezTo>
                <a:cubicBezTo>
                  <a:pt x="206" y="68"/>
                  <a:pt x="206" y="68"/>
                  <a:pt x="206" y="68"/>
                </a:cubicBezTo>
                <a:cubicBezTo>
                  <a:pt x="205" y="68"/>
                  <a:pt x="205" y="68"/>
                  <a:pt x="205" y="68"/>
                </a:cubicBezTo>
                <a:cubicBezTo>
                  <a:pt x="204" y="67"/>
                  <a:pt x="204" y="67"/>
                  <a:pt x="204" y="67"/>
                </a:cubicBezTo>
                <a:cubicBezTo>
                  <a:pt x="204" y="65"/>
                  <a:pt x="204" y="65"/>
                  <a:pt x="204" y="65"/>
                </a:cubicBezTo>
                <a:cubicBezTo>
                  <a:pt x="206" y="61"/>
                  <a:pt x="206" y="61"/>
                  <a:pt x="206" y="61"/>
                </a:cubicBezTo>
                <a:cubicBezTo>
                  <a:pt x="205" y="60"/>
                  <a:pt x="205" y="60"/>
                  <a:pt x="205" y="60"/>
                </a:cubicBezTo>
                <a:cubicBezTo>
                  <a:pt x="205" y="60"/>
                  <a:pt x="205" y="60"/>
                  <a:pt x="205" y="60"/>
                </a:cubicBezTo>
                <a:cubicBezTo>
                  <a:pt x="204" y="61"/>
                  <a:pt x="204" y="61"/>
                  <a:pt x="204" y="61"/>
                </a:cubicBezTo>
                <a:cubicBezTo>
                  <a:pt x="204" y="65"/>
                  <a:pt x="204" y="65"/>
                  <a:pt x="204" y="65"/>
                </a:cubicBezTo>
                <a:cubicBezTo>
                  <a:pt x="203" y="67"/>
                  <a:pt x="203" y="67"/>
                  <a:pt x="203" y="67"/>
                </a:cubicBezTo>
                <a:cubicBezTo>
                  <a:pt x="202" y="68"/>
                  <a:pt x="202" y="68"/>
                  <a:pt x="202" y="68"/>
                </a:cubicBezTo>
                <a:cubicBezTo>
                  <a:pt x="202" y="69"/>
                  <a:pt x="202" y="69"/>
                  <a:pt x="202" y="69"/>
                </a:cubicBezTo>
                <a:cubicBezTo>
                  <a:pt x="203" y="68"/>
                  <a:pt x="203" y="68"/>
                  <a:pt x="203" y="68"/>
                </a:cubicBezTo>
                <a:cubicBezTo>
                  <a:pt x="204" y="68"/>
                  <a:pt x="204" y="68"/>
                  <a:pt x="204" y="68"/>
                </a:cubicBezTo>
                <a:cubicBezTo>
                  <a:pt x="204" y="69"/>
                  <a:pt x="204" y="69"/>
                  <a:pt x="204" y="69"/>
                </a:cubicBezTo>
                <a:cubicBezTo>
                  <a:pt x="206" y="69"/>
                  <a:pt x="206" y="69"/>
                  <a:pt x="206" y="69"/>
                </a:cubicBezTo>
                <a:cubicBezTo>
                  <a:pt x="206" y="70"/>
                  <a:pt x="206" y="70"/>
                  <a:pt x="206" y="70"/>
                </a:cubicBezTo>
                <a:cubicBezTo>
                  <a:pt x="206" y="72"/>
                  <a:pt x="206" y="72"/>
                  <a:pt x="206" y="72"/>
                </a:cubicBezTo>
                <a:cubicBezTo>
                  <a:pt x="205" y="74"/>
                  <a:pt x="205" y="74"/>
                  <a:pt x="205" y="74"/>
                </a:cubicBezTo>
                <a:cubicBezTo>
                  <a:pt x="203" y="74"/>
                  <a:pt x="203" y="74"/>
                  <a:pt x="203" y="74"/>
                </a:cubicBezTo>
                <a:cubicBezTo>
                  <a:pt x="205" y="72"/>
                  <a:pt x="205" y="72"/>
                  <a:pt x="205" y="72"/>
                </a:cubicBezTo>
                <a:cubicBezTo>
                  <a:pt x="205" y="71"/>
                  <a:pt x="205" y="71"/>
                  <a:pt x="205" y="71"/>
                </a:cubicBezTo>
                <a:cubicBezTo>
                  <a:pt x="204" y="71"/>
                  <a:pt x="204" y="71"/>
                  <a:pt x="204" y="71"/>
                </a:cubicBezTo>
                <a:cubicBezTo>
                  <a:pt x="203" y="71"/>
                  <a:pt x="203" y="71"/>
                  <a:pt x="203" y="71"/>
                </a:cubicBezTo>
                <a:cubicBezTo>
                  <a:pt x="203" y="71"/>
                  <a:pt x="203" y="71"/>
                  <a:pt x="203" y="71"/>
                </a:cubicBezTo>
                <a:cubicBezTo>
                  <a:pt x="201" y="73"/>
                  <a:pt x="201" y="73"/>
                  <a:pt x="201" y="73"/>
                </a:cubicBezTo>
                <a:cubicBezTo>
                  <a:pt x="201" y="74"/>
                  <a:pt x="201" y="74"/>
                  <a:pt x="201" y="74"/>
                </a:cubicBezTo>
                <a:cubicBezTo>
                  <a:pt x="200" y="74"/>
                  <a:pt x="200" y="74"/>
                  <a:pt x="200" y="74"/>
                </a:cubicBezTo>
                <a:cubicBezTo>
                  <a:pt x="198" y="75"/>
                  <a:pt x="198" y="75"/>
                  <a:pt x="198" y="75"/>
                </a:cubicBezTo>
                <a:cubicBezTo>
                  <a:pt x="198" y="74"/>
                  <a:pt x="198" y="74"/>
                  <a:pt x="198" y="74"/>
                </a:cubicBezTo>
                <a:cubicBezTo>
                  <a:pt x="198" y="73"/>
                  <a:pt x="198" y="73"/>
                  <a:pt x="198" y="73"/>
                </a:cubicBezTo>
                <a:cubicBezTo>
                  <a:pt x="196" y="73"/>
                  <a:pt x="196" y="73"/>
                  <a:pt x="196" y="73"/>
                </a:cubicBezTo>
                <a:cubicBezTo>
                  <a:pt x="195" y="73"/>
                  <a:pt x="195" y="73"/>
                  <a:pt x="195" y="73"/>
                </a:cubicBezTo>
                <a:cubicBezTo>
                  <a:pt x="195" y="72"/>
                  <a:pt x="195" y="72"/>
                  <a:pt x="195" y="72"/>
                </a:cubicBezTo>
                <a:cubicBezTo>
                  <a:pt x="194" y="72"/>
                  <a:pt x="194" y="72"/>
                  <a:pt x="194" y="72"/>
                </a:cubicBezTo>
                <a:cubicBezTo>
                  <a:pt x="193" y="72"/>
                  <a:pt x="193" y="72"/>
                  <a:pt x="193" y="72"/>
                </a:cubicBezTo>
                <a:cubicBezTo>
                  <a:pt x="192" y="72"/>
                  <a:pt x="192" y="72"/>
                  <a:pt x="192" y="72"/>
                </a:cubicBezTo>
                <a:cubicBezTo>
                  <a:pt x="192" y="71"/>
                  <a:pt x="192" y="71"/>
                  <a:pt x="192" y="71"/>
                </a:cubicBezTo>
                <a:cubicBezTo>
                  <a:pt x="191" y="70"/>
                  <a:pt x="191" y="70"/>
                  <a:pt x="191" y="70"/>
                </a:cubicBezTo>
                <a:cubicBezTo>
                  <a:pt x="191" y="71"/>
                  <a:pt x="191" y="71"/>
                  <a:pt x="191" y="71"/>
                </a:cubicBezTo>
                <a:cubicBezTo>
                  <a:pt x="190" y="71"/>
                  <a:pt x="190" y="71"/>
                  <a:pt x="190" y="71"/>
                </a:cubicBezTo>
                <a:cubicBezTo>
                  <a:pt x="190" y="69"/>
                  <a:pt x="190" y="69"/>
                  <a:pt x="190" y="69"/>
                </a:cubicBezTo>
                <a:cubicBezTo>
                  <a:pt x="189" y="68"/>
                  <a:pt x="189" y="68"/>
                  <a:pt x="189" y="68"/>
                </a:cubicBezTo>
                <a:cubicBezTo>
                  <a:pt x="189" y="67"/>
                  <a:pt x="189" y="67"/>
                  <a:pt x="189" y="67"/>
                </a:cubicBezTo>
                <a:cubicBezTo>
                  <a:pt x="191" y="67"/>
                  <a:pt x="191" y="67"/>
                  <a:pt x="191" y="67"/>
                </a:cubicBezTo>
                <a:cubicBezTo>
                  <a:pt x="192" y="65"/>
                  <a:pt x="192" y="65"/>
                  <a:pt x="192" y="65"/>
                </a:cubicBezTo>
                <a:cubicBezTo>
                  <a:pt x="193" y="65"/>
                  <a:pt x="193" y="65"/>
                  <a:pt x="193" y="65"/>
                </a:cubicBezTo>
                <a:cubicBezTo>
                  <a:pt x="193" y="64"/>
                  <a:pt x="193" y="64"/>
                  <a:pt x="193" y="64"/>
                </a:cubicBezTo>
                <a:cubicBezTo>
                  <a:pt x="193" y="63"/>
                  <a:pt x="193" y="63"/>
                  <a:pt x="193" y="63"/>
                </a:cubicBezTo>
                <a:cubicBezTo>
                  <a:pt x="192" y="62"/>
                  <a:pt x="192" y="62"/>
                  <a:pt x="192" y="62"/>
                </a:cubicBezTo>
                <a:cubicBezTo>
                  <a:pt x="191" y="61"/>
                  <a:pt x="191" y="61"/>
                  <a:pt x="191" y="61"/>
                </a:cubicBezTo>
                <a:cubicBezTo>
                  <a:pt x="189" y="61"/>
                  <a:pt x="189" y="61"/>
                  <a:pt x="189" y="61"/>
                </a:cubicBezTo>
                <a:cubicBezTo>
                  <a:pt x="187" y="62"/>
                  <a:pt x="187" y="62"/>
                  <a:pt x="187" y="62"/>
                </a:cubicBezTo>
                <a:cubicBezTo>
                  <a:pt x="186" y="62"/>
                  <a:pt x="186" y="62"/>
                  <a:pt x="186" y="62"/>
                </a:cubicBezTo>
                <a:cubicBezTo>
                  <a:pt x="185" y="62"/>
                  <a:pt x="185" y="62"/>
                  <a:pt x="185" y="62"/>
                </a:cubicBezTo>
                <a:cubicBezTo>
                  <a:pt x="184" y="62"/>
                  <a:pt x="184" y="62"/>
                  <a:pt x="184" y="62"/>
                </a:cubicBezTo>
                <a:cubicBezTo>
                  <a:pt x="180" y="63"/>
                  <a:pt x="180" y="63"/>
                  <a:pt x="180" y="63"/>
                </a:cubicBezTo>
                <a:cubicBezTo>
                  <a:pt x="180" y="64"/>
                  <a:pt x="180" y="64"/>
                  <a:pt x="180" y="64"/>
                </a:cubicBezTo>
                <a:cubicBezTo>
                  <a:pt x="181" y="64"/>
                  <a:pt x="181" y="64"/>
                  <a:pt x="181" y="64"/>
                </a:cubicBezTo>
                <a:cubicBezTo>
                  <a:pt x="182" y="66"/>
                  <a:pt x="182" y="66"/>
                  <a:pt x="182" y="66"/>
                </a:cubicBezTo>
                <a:cubicBezTo>
                  <a:pt x="182" y="66"/>
                  <a:pt x="182" y="66"/>
                  <a:pt x="182" y="66"/>
                </a:cubicBezTo>
                <a:cubicBezTo>
                  <a:pt x="181" y="66"/>
                  <a:pt x="181" y="66"/>
                  <a:pt x="181" y="66"/>
                </a:cubicBezTo>
                <a:cubicBezTo>
                  <a:pt x="180" y="66"/>
                  <a:pt x="180" y="66"/>
                  <a:pt x="180" y="66"/>
                </a:cubicBezTo>
                <a:cubicBezTo>
                  <a:pt x="179" y="65"/>
                  <a:pt x="179" y="65"/>
                  <a:pt x="179" y="65"/>
                </a:cubicBezTo>
                <a:cubicBezTo>
                  <a:pt x="178" y="65"/>
                  <a:pt x="178" y="65"/>
                  <a:pt x="178" y="65"/>
                </a:cubicBezTo>
                <a:cubicBezTo>
                  <a:pt x="176" y="64"/>
                  <a:pt x="176" y="64"/>
                  <a:pt x="176" y="64"/>
                </a:cubicBezTo>
                <a:cubicBezTo>
                  <a:pt x="174" y="65"/>
                  <a:pt x="174" y="65"/>
                  <a:pt x="174" y="65"/>
                </a:cubicBezTo>
                <a:cubicBezTo>
                  <a:pt x="173" y="66"/>
                  <a:pt x="173" y="66"/>
                  <a:pt x="173" y="66"/>
                </a:cubicBezTo>
                <a:cubicBezTo>
                  <a:pt x="173" y="66"/>
                  <a:pt x="173" y="66"/>
                  <a:pt x="173" y="66"/>
                </a:cubicBezTo>
                <a:cubicBezTo>
                  <a:pt x="171" y="66"/>
                  <a:pt x="171" y="66"/>
                  <a:pt x="171" y="66"/>
                </a:cubicBezTo>
                <a:cubicBezTo>
                  <a:pt x="171" y="66"/>
                  <a:pt x="171" y="66"/>
                  <a:pt x="171" y="66"/>
                </a:cubicBezTo>
                <a:cubicBezTo>
                  <a:pt x="170" y="66"/>
                  <a:pt x="170" y="66"/>
                  <a:pt x="170" y="66"/>
                </a:cubicBezTo>
                <a:cubicBezTo>
                  <a:pt x="168" y="67"/>
                  <a:pt x="168" y="67"/>
                  <a:pt x="168" y="67"/>
                </a:cubicBezTo>
                <a:cubicBezTo>
                  <a:pt x="168" y="68"/>
                  <a:pt x="168" y="68"/>
                  <a:pt x="168" y="68"/>
                </a:cubicBezTo>
                <a:cubicBezTo>
                  <a:pt x="167" y="68"/>
                  <a:pt x="167" y="68"/>
                  <a:pt x="167" y="68"/>
                </a:cubicBezTo>
                <a:cubicBezTo>
                  <a:pt x="166" y="69"/>
                  <a:pt x="166" y="69"/>
                  <a:pt x="166" y="69"/>
                </a:cubicBezTo>
                <a:cubicBezTo>
                  <a:pt x="164" y="70"/>
                  <a:pt x="164" y="70"/>
                  <a:pt x="164" y="70"/>
                </a:cubicBezTo>
                <a:cubicBezTo>
                  <a:pt x="163" y="70"/>
                  <a:pt x="163" y="70"/>
                  <a:pt x="163" y="70"/>
                </a:cubicBezTo>
                <a:cubicBezTo>
                  <a:pt x="164" y="69"/>
                  <a:pt x="164" y="69"/>
                  <a:pt x="164" y="69"/>
                </a:cubicBezTo>
                <a:cubicBezTo>
                  <a:pt x="164" y="69"/>
                  <a:pt x="164" y="69"/>
                  <a:pt x="164" y="69"/>
                </a:cubicBezTo>
                <a:cubicBezTo>
                  <a:pt x="163" y="69"/>
                  <a:pt x="163" y="69"/>
                  <a:pt x="163" y="69"/>
                </a:cubicBezTo>
                <a:cubicBezTo>
                  <a:pt x="162" y="70"/>
                  <a:pt x="162" y="70"/>
                  <a:pt x="162" y="70"/>
                </a:cubicBezTo>
                <a:cubicBezTo>
                  <a:pt x="162" y="71"/>
                  <a:pt x="162" y="71"/>
                  <a:pt x="162" y="71"/>
                </a:cubicBezTo>
                <a:cubicBezTo>
                  <a:pt x="164" y="73"/>
                  <a:pt x="164" y="73"/>
                  <a:pt x="164" y="73"/>
                </a:cubicBezTo>
                <a:cubicBezTo>
                  <a:pt x="165" y="76"/>
                  <a:pt x="165" y="76"/>
                  <a:pt x="165" y="76"/>
                </a:cubicBezTo>
                <a:cubicBezTo>
                  <a:pt x="167" y="76"/>
                  <a:pt x="167" y="76"/>
                  <a:pt x="167" y="76"/>
                </a:cubicBezTo>
                <a:cubicBezTo>
                  <a:pt x="168" y="78"/>
                  <a:pt x="168" y="78"/>
                  <a:pt x="168" y="78"/>
                </a:cubicBezTo>
                <a:cubicBezTo>
                  <a:pt x="170" y="79"/>
                  <a:pt x="170" y="79"/>
                  <a:pt x="170" y="79"/>
                </a:cubicBezTo>
                <a:cubicBezTo>
                  <a:pt x="170" y="80"/>
                  <a:pt x="170" y="80"/>
                  <a:pt x="170" y="80"/>
                </a:cubicBezTo>
                <a:cubicBezTo>
                  <a:pt x="172" y="80"/>
                  <a:pt x="172" y="80"/>
                  <a:pt x="172" y="80"/>
                </a:cubicBezTo>
                <a:cubicBezTo>
                  <a:pt x="173" y="81"/>
                  <a:pt x="173" y="81"/>
                  <a:pt x="173" y="81"/>
                </a:cubicBezTo>
                <a:cubicBezTo>
                  <a:pt x="173" y="82"/>
                  <a:pt x="173" y="82"/>
                  <a:pt x="173" y="82"/>
                </a:cubicBezTo>
                <a:cubicBezTo>
                  <a:pt x="170" y="82"/>
                  <a:pt x="170" y="82"/>
                  <a:pt x="170" y="82"/>
                </a:cubicBezTo>
                <a:cubicBezTo>
                  <a:pt x="170" y="80"/>
                  <a:pt x="170" y="80"/>
                  <a:pt x="170" y="80"/>
                </a:cubicBezTo>
                <a:cubicBezTo>
                  <a:pt x="169" y="79"/>
                  <a:pt x="169" y="79"/>
                  <a:pt x="169" y="79"/>
                </a:cubicBezTo>
                <a:cubicBezTo>
                  <a:pt x="168" y="79"/>
                  <a:pt x="168" y="79"/>
                  <a:pt x="168" y="79"/>
                </a:cubicBezTo>
                <a:cubicBezTo>
                  <a:pt x="167" y="79"/>
                  <a:pt x="167" y="79"/>
                  <a:pt x="167" y="79"/>
                </a:cubicBezTo>
                <a:cubicBezTo>
                  <a:pt x="166" y="80"/>
                  <a:pt x="166" y="80"/>
                  <a:pt x="166" y="80"/>
                </a:cubicBezTo>
                <a:cubicBezTo>
                  <a:pt x="165" y="80"/>
                  <a:pt x="165" y="80"/>
                  <a:pt x="165" y="80"/>
                </a:cubicBezTo>
                <a:cubicBezTo>
                  <a:pt x="164" y="79"/>
                  <a:pt x="164" y="79"/>
                  <a:pt x="164" y="79"/>
                </a:cubicBezTo>
                <a:cubicBezTo>
                  <a:pt x="165" y="78"/>
                  <a:pt x="165" y="78"/>
                  <a:pt x="165" y="78"/>
                </a:cubicBezTo>
                <a:cubicBezTo>
                  <a:pt x="165" y="77"/>
                  <a:pt x="165" y="77"/>
                  <a:pt x="165" y="77"/>
                </a:cubicBezTo>
                <a:cubicBezTo>
                  <a:pt x="164" y="77"/>
                  <a:pt x="164" y="77"/>
                  <a:pt x="164" y="77"/>
                </a:cubicBezTo>
                <a:cubicBezTo>
                  <a:pt x="163" y="79"/>
                  <a:pt x="163" y="79"/>
                  <a:pt x="163" y="79"/>
                </a:cubicBezTo>
                <a:cubicBezTo>
                  <a:pt x="164" y="81"/>
                  <a:pt x="164" y="81"/>
                  <a:pt x="164" y="81"/>
                </a:cubicBezTo>
                <a:cubicBezTo>
                  <a:pt x="164" y="82"/>
                  <a:pt x="164" y="82"/>
                  <a:pt x="164" y="82"/>
                </a:cubicBezTo>
                <a:cubicBezTo>
                  <a:pt x="164" y="83"/>
                  <a:pt x="164" y="83"/>
                  <a:pt x="164" y="83"/>
                </a:cubicBezTo>
                <a:cubicBezTo>
                  <a:pt x="163" y="84"/>
                  <a:pt x="163" y="84"/>
                  <a:pt x="163" y="84"/>
                </a:cubicBezTo>
                <a:cubicBezTo>
                  <a:pt x="162" y="85"/>
                  <a:pt x="162" y="85"/>
                  <a:pt x="162" y="85"/>
                </a:cubicBezTo>
                <a:cubicBezTo>
                  <a:pt x="161" y="87"/>
                  <a:pt x="161" y="87"/>
                  <a:pt x="161" y="87"/>
                </a:cubicBezTo>
                <a:cubicBezTo>
                  <a:pt x="162" y="89"/>
                  <a:pt x="162" y="89"/>
                  <a:pt x="162" y="89"/>
                </a:cubicBezTo>
                <a:cubicBezTo>
                  <a:pt x="164" y="91"/>
                  <a:pt x="164" y="91"/>
                  <a:pt x="164" y="91"/>
                </a:cubicBezTo>
                <a:cubicBezTo>
                  <a:pt x="166" y="92"/>
                  <a:pt x="166" y="92"/>
                  <a:pt x="166" y="92"/>
                </a:cubicBezTo>
                <a:cubicBezTo>
                  <a:pt x="167" y="94"/>
                  <a:pt x="167" y="94"/>
                  <a:pt x="167" y="94"/>
                </a:cubicBezTo>
                <a:cubicBezTo>
                  <a:pt x="168" y="94"/>
                  <a:pt x="168" y="94"/>
                  <a:pt x="168" y="94"/>
                </a:cubicBezTo>
                <a:cubicBezTo>
                  <a:pt x="170" y="93"/>
                  <a:pt x="170" y="93"/>
                  <a:pt x="170" y="93"/>
                </a:cubicBezTo>
                <a:cubicBezTo>
                  <a:pt x="171" y="92"/>
                  <a:pt x="171" y="92"/>
                  <a:pt x="171" y="92"/>
                </a:cubicBezTo>
                <a:cubicBezTo>
                  <a:pt x="173" y="93"/>
                  <a:pt x="173" y="93"/>
                  <a:pt x="173" y="93"/>
                </a:cubicBezTo>
                <a:cubicBezTo>
                  <a:pt x="176" y="93"/>
                  <a:pt x="176" y="93"/>
                  <a:pt x="176" y="93"/>
                </a:cubicBezTo>
                <a:cubicBezTo>
                  <a:pt x="177" y="94"/>
                  <a:pt x="177" y="94"/>
                  <a:pt x="177" y="94"/>
                </a:cubicBezTo>
                <a:cubicBezTo>
                  <a:pt x="177" y="95"/>
                  <a:pt x="177" y="95"/>
                  <a:pt x="177" y="95"/>
                </a:cubicBezTo>
                <a:cubicBezTo>
                  <a:pt x="178" y="96"/>
                  <a:pt x="178" y="96"/>
                  <a:pt x="178" y="96"/>
                </a:cubicBezTo>
                <a:cubicBezTo>
                  <a:pt x="178" y="95"/>
                  <a:pt x="178" y="95"/>
                  <a:pt x="178" y="95"/>
                </a:cubicBezTo>
                <a:cubicBezTo>
                  <a:pt x="178" y="93"/>
                  <a:pt x="178" y="93"/>
                  <a:pt x="178" y="93"/>
                </a:cubicBezTo>
                <a:cubicBezTo>
                  <a:pt x="179" y="93"/>
                  <a:pt x="179" y="93"/>
                  <a:pt x="179" y="93"/>
                </a:cubicBezTo>
                <a:cubicBezTo>
                  <a:pt x="180" y="93"/>
                  <a:pt x="180" y="93"/>
                  <a:pt x="180" y="93"/>
                </a:cubicBezTo>
                <a:cubicBezTo>
                  <a:pt x="180" y="94"/>
                  <a:pt x="180" y="94"/>
                  <a:pt x="180" y="94"/>
                </a:cubicBezTo>
                <a:cubicBezTo>
                  <a:pt x="179" y="95"/>
                  <a:pt x="179" y="95"/>
                  <a:pt x="179" y="95"/>
                </a:cubicBezTo>
                <a:cubicBezTo>
                  <a:pt x="179" y="97"/>
                  <a:pt x="179" y="97"/>
                  <a:pt x="179" y="97"/>
                </a:cubicBezTo>
                <a:cubicBezTo>
                  <a:pt x="179" y="97"/>
                  <a:pt x="179" y="97"/>
                  <a:pt x="179" y="97"/>
                </a:cubicBezTo>
                <a:cubicBezTo>
                  <a:pt x="181" y="95"/>
                  <a:pt x="181" y="95"/>
                  <a:pt x="181" y="95"/>
                </a:cubicBezTo>
                <a:cubicBezTo>
                  <a:pt x="181" y="95"/>
                  <a:pt x="181" y="95"/>
                  <a:pt x="181" y="95"/>
                </a:cubicBezTo>
                <a:cubicBezTo>
                  <a:pt x="183" y="94"/>
                  <a:pt x="183" y="94"/>
                  <a:pt x="183" y="94"/>
                </a:cubicBezTo>
                <a:cubicBezTo>
                  <a:pt x="186" y="93"/>
                  <a:pt x="186" y="93"/>
                  <a:pt x="186" y="93"/>
                </a:cubicBezTo>
                <a:cubicBezTo>
                  <a:pt x="188" y="92"/>
                  <a:pt x="188" y="92"/>
                  <a:pt x="188" y="92"/>
                </a:cubicBezTo>
                <a:cubicBezTo>
                  <a:pt x="189" y="91"/>
                  <a:pt x="189" y="91"/>
                  <a:pt x="189" y="91"/>
                </a:cubicBezTo>
                <a:cubicBezTo>
                  <a:pt x="189" y="91"/>
                  <a:pt x="189" y="91"/>
                  <a:pt x="189" y="91"/>
                </a:cubicBezTo>
                <a:cubicBezTo>
                  <a:pt x="189" y="92"/>
                  <a:pt x="189" y="92"/>
                  <a:pt x="189" y="92"/>
                </a:cubicBezTo>
                <a:cubicBezTo>
                  <a:pt x="190" y="92"/>
                  <a:pt x="190" y="92"/>
                  <a:pt x="190" y="92"/>
                </a:cubicBezTo>
                <a:cubicBezTo>
                  <a:pt x="192" y="91"/>
                  <a:pt x="192" y="91"/>
                  <a:pt x="192" y="91"/>
                </a:cubicBezTo>
                <a:cubicBezTo>
                  <a:pt x="194" y="91"/>
                  <a:pt x="194" y="91"/>
                  <a:pt x="194" y="91"/>
                </a:cubicBezTo>
                <a:cubicBezTo>
                  <a:pt x="194" y="90"/>
                  <a:pt x="194" y="90"/>
                  <a:pt x="194" y="90"/>
                </a:cubicBezTo>
                <a:cubicBezTo>
                  <a:pt x="194" y="91"/>
                  <a:pt x="194" y="91"/>
                  <a:pt x="194" y="91"/>
                </a:cubicBezTo>
                <a:cubicBezTo>
                  <a:pt x="192" y="92"/>
                  <a:pt x="192" y="92"/>
                  <a:pt x="192" y="92"/>
                </a:cubicBezTo>
                <a:cubicBezTo>
                  <a:pt x="193" y="93"/>
                  <a:pt x="193" y="93"/>
                  <a:pt x="193" y="93"/>
                </a:cubicBezTo>
                <a:cubicBezTo>
                  <a:pt x="193" y="93"/>
                  <a:pt x="193" y="93"/>
                  <a:pt x="193" y="93"/>
                </a:cubicBezTo>
                <a:cubicBezTo>
                  <a:pt x="192" y="95"/>
                  <a:pt x="192" y="95"/>
                  <a:pt x="192" y="95"/>
                </a:cubicBezTo>
                <a:cubicBezTo>
                  <a:pt x="190" y="95"/>
                  <a:pt x="190" y="95"/>
                  <a:pt x="190" y="95"/>
                </a:cubicBezTo>
                <a:cubicBezTo>
                  <a:pt x="190" y="95"/>
                  <a:pt x="190" y="95"/>
                  <a:pt x="190" y="95"/>
                </a:cubicBezTo>
                <a:cubicBezTo>
                  <a:pt x="189" y="95"/>
                  <a:pt x="189" y="95"/>
                  <a:pt x="189" y="95"/>
                </a:cubicBezTo>
                <a:cubicBezTo>
                  <a:pt x="187" y="96"/>
                  <a:pt x="187" y="96"/>
                  <a:pt x="187" y="96"/>
                </a:cubicBezTo>
                <a:cubicBezTo>
                  <a:pt x="187" y="96"/>
                  <a:pt x="187" y="96"/>
                  <a:pt x="187" y="96"/>
                </a:cubicBezTo>
                <a:cubicBezTo>
                  <a:pt x="189" y="96"/>
                  <a:pt x="189" y="96"/>
                  <a:pt x="189" y="96"/>
                </a:cubicBezTo>
                <a:cubicBezTo>
                  <a:pt x="190" y="97"/>
                  <a:pt x="190" y="97"/>
                  <a:pt x="190" y="97"/>
                </a:cubicBezTo>
                <a:cubicBezTo>
                  <a:pt x="189" y="99"/>
                  <a:pt x="189" y="99"/>
                  <a:pt x="189" y="99"/>
                </a:cubicBezTo>
                <a:cubicBezTo>
                  <a:pt x="187" y="101"/>
                  <a:pt x="187" y="101"/>
                  <a:pt x="187" y="101"/>
                </a:cubicBezTo>
                <a:cubicBezTo>
                  <a:pt x="187" y="103"/>
                  <a:pt x="187" y="103"/>
                  <a:pt x="187" y="103"/>
                </a:cubicBezTo>
                <a:cubicBezTo>
                  <a:pt x="186" y="104"/>
                  <a:pt x="186" y="104"/>
                  <a:pt x="186" y="104"/>
                </a:cubicBezTo>
                <a:cubicBezTo>
                  <a:pt x="186" y="104"/>
                  <a:pt x="186" y="104"/>
                  <a:pt x="186" y="104"/>
                </a:cubicBezTo>
                <a:cubicBezTo>
                  <a:pt x="186" y="105"/>
                  <a:pt x="186" y="105"/>
                  <a:pt x="186" y="105"/>
                </a:cubicBezTo>
                <a:cubicBezTo>
                  <a:pt x="187" y="106"/>
                  <a:pt x="187" y="106"/>
                  <a:pt x="187" y="106"/>
                </a:cubicBezTo>
                <a:cubicBezTo>
                  <a:pt x="186" y="107"/>
                  <a:pt x="186" y="107"/>
                  <a:pt x="186" y="107"/>
                </a:cubicBezTo>
                <a:cubicBezTo>
                  <a:pt x="185" y="109"/>
                  <a:pt x="185" y="109"/>
                  <a:pt x="185" y="109"/>
                </a:cubicBezTo>
                <a:cubicBezTo>
                  <a:pt x="184" y="110"/>
                  <a:pt x="184" y="110"/>
                  <a:pt x="184" y="110"/>
                </a:cubicBezTo>
                <a:cubicBezTo>
                  <a:pt x="183" y="109"/>
                  <a:pt x="183" y="109"/>
                  <a:pt x="183" y="109"/>
                </a:cubicBezTo>
                <a:cubicBezTo>
                  <a:pt x="182" y="110"/>
                  <a:pt x="182" y="110"/>
                  <a:pt x="182" y="110"/>
                </a:cubicBezTo>
                <a:cubicBezTo>
                  <a:pt x="181" y="111"/>
                  <a:pt x="181" y="111"/>
                  <a:pt x="181" y="111"/>
                </a:cubicBezTo>
                <a:cubicBezTo>
                  <a:pt x="180" y="111"/>
                  <a:pt x="180" y="111"/>
                  <a:pt x="180" y="111"/>
                </a:cubicBezTo>
                <a:cubicBezTo>
                  <a:pt x="178" y="111"/>
                  <a:pt x="178" y="111"/>
                  <a:pt x="178" y="111"/>
                </a:cubicBezTo>
                <a:cubicBezTo>
                  <a:pt x="177" y="110"/>
                  <a:pt x="177" y="110"/>
                  <a:pt x="177" y="110"/>
                </a:cubicBezTo>
                <a:cubicBezTo>
                  <a:pt x="176" y="110"/>
                  <a:pt x="176" y="110"/>
                  <a:pt x="176" y="110"/>
                </a:cubicBezTo>
                <a:cubicBezTo>
                  <a:pt x="176" y="110"/>
                  <a:pt x="176" y="110"/>
                  <a:pt x="176" y="110"/>
                </a:cubicBezTo>
                <a:cubicBezTo>
                  <a:pt x="175" y="109"/>
                  <a:pt x="175" y="109"/>
                  <a:pt x="175" y="109"/>
                </a:cubicBezTo>
                <a:cubicBezTo>
                  <a:pt x="174" y="109"/>
                  <a:pt x="174" y="109"/>
                  <a:pt x="174" y="109"/>
                </a:cubicBezTo>
                <a:cubicBezTo>
                  <a:pt x="173" y="110"/>
                  <a:pt x="173" y="110"/>
                  <a:pt x="173" y="110"/>
                </a:cubicBezTo>
                <a:cubicBezTo>
                  <a:pt x="172" y="111"/>
                  <a:pt x="172" y="111"/>
                  <a:pt x="172" y="111"/>
                </a:cubicBezTo>
                <a:cubicBezTo>
                  <a:pt x="171" y="113"/>
                  <a:pt x="171" y="113"/>
                  <a:pt x="171" y="113"/>
                </a:cubicBezTo>
                <a:cubicBezTo>
                  <a:pt x="168" y="113"/>
                  <a:pt x="168" y="113"/>
                  <a:pt x="168" y="113"/>
                </a:cubicBezTo>
                <a:cubicBezTo>
                  <a:pt x="167" y="114"/>
                  <a:pt x="167" y="114"/>
                  <a:pt x="167" y="114"/>
                </a:cubicBezTo>
                <a:cubicBezTo>
                  <a:pt x="166" y="114"/>
                  <a:pt x="166" y="114"/>
                  <a:pt x="166" y="114"/>
                </a:cubicBezTo>
                <a:cubicBezTo>
                  <a:pt x="165" y="114"/>
                  <a:pt x="165" y="114"/>
                  <a:pt x="165" y="114"/>
                </a:cubicBezTo>
                <a:cubicBezTo>
                  <a:pt x="163" y="114"/>
                  <a:pt x="163" y="114"/>
                  <a:pt x="163" y="114"/>
                </a:cubicBezTo>
                <a:cubicBezTo>
                  <a:pt x="162" y="115"/>
                  <a:pt x="162" y="115"/>
                  <a:pt x="162" y="115"/>
                </a:cubicBezTo>
                <a:cubicBezTo>
                  <a:pt x="160" y="115"/>
                  <a:pt x="160" y="115"/>
                  <a:pt x="160" y="115"/>
                </a:cubicBezTo>
                <a:cubicBezTo>
                  <a:pt x="159" y="116"/>
                  <a:pt x="159" y="116"/>
                  <a:pt x="159" y="116"/>
                </a:cubicBezTo>
                <a:cubicBezTo>
                  <a:pt x="159" y="117"/>
                  <a:pt x="159" y="117"/>
                  <a:pt x="159" y="117"/>
                </a:cubicBezTo>
                <a:cubicBezTo>
                  <a:pt x="158" y="119"/>
                  <a:pt x="158" y="119"/>
                  <a:pt x="158" y="119"/>
                </a:cubicBezTo>
                <a:cubicBezTo>
                  <a:pt x="158" y="120"/>
                  <a:pt x="158" y="120"/>
                  <a:pt x="158" y="120"/>
                </a:cubicBezTo>
                <a:cubicBezTo>
                  <a:pt x="157" y="120"/>
                  <a:pt x="157" y="120"/>
                  <a:pt x="157" y="120"/>
                </a:cubicBezTo>
                <a:cubicBezTo>
                  <a:pt x="156" y="118"/>
                  <a:pt x="156" y="118"/>
                  <a:pt x="156" y="118"/>
                </a:cubicBezTo>
                <a:cubicBezTo>
                  <a:pt x="154" y="118"/>
                  <a:pt x="154" y="118"/>
                  <a:pt x="154" y="118"/>
                </a:cubicBezTo>
                <a:cubicBezTo>
                  <a:pt x="153" y="118"/>
                  <a:pt x="153" y="118"/>
                  <a:pt x="153" y="118"/>
                </a:cubicBezTo>
                <a:cubicBezTo>
                  <a:pt x="154" y="119"/>
                  <a:pt x="154" y="119"/>
                  <a:pt x="154" y="119"/>
                </a:cubicBezTo>
                <a:cubicBezTo>
                  <a:pt x="154" y="120"/>
                  <a:pt x="154" y="120"/>
                  <a:pt x="154" y="120"/>
                </a:cubicBezTo>
                <a:cubicBezTo>
                  <a:pt x="154" y="121"/>
                  <a:pt x="154" y="121"/>
                  <a:pt x="154" y="121"/>
                </a:cubicBezTo>
                <a:cubicBezTo>
                  <a:pt x="153" y="121"/>
                  <a:pt x="153" y="121"/>
                  <a:pt x="153" y="121"/>
                </a:cubicBezTo>
                <a:cubicBezTo>
                  <a:pt x="153" y="120"/>
                  <a:pt x="153" y="120"/>
                  <a:pt x="153" y="120"/>
                </a:cubicBezTo>
                <a:cubicBezTo>
                  <a:pt x="152" y="118"/>
                  <a:pt x="152" y="118"/>
                  <a:pt x="152" y="118"/>
                </a:cubicBezTo>
                <a:cubicBezTo>
                  <a:pt x="151" y="119"/>
                  <a:pt x="151" y="119"/>
                  <a:pt x="151" y="119"/>
                </a:cubicBezTo>
                <a:cubicBezTo>
                  <a:pt x="149" y="120"/>
                  <a:pt x="149" y="120"/>
                  <a:pt x="149" y="120"/>
                </a:cubicBezTo>
                <a:cubicBezTo>
                  <a:pt x="149" y="122"/>
                  <a:pt x="149" y="122"/>
                  <a:pt x="149" y="122"/>
                </a:cubicBezTo>
                <a:cubicBezTo>
                  <a:pt x="148" y="122"/>
                  <a:pt x="148" y="122"/>
                  <a:pt x="148" y="122"/>
                </a:cubicBezTo>
                <a:cubicBezTo>
                  <a:pt x="147" y="122"/>
                  <a:pt x="147" y="122"/>
                  <a:pt x="147" y="122"/>
                </a:cubicBezTo>
                <a:cubicBezTo>
                  <a:pt x="144" y="125"/>
                  <a:pt x="144" y="125"/>
                  <a:pt x="144" y="125"/>
                </a:cubicBezTo>
                <a:cubicBezTo>
                  <a:pt x="144" y="127"/>
                  <a:pt x="144" y="127"/>
                  <a:pt x="144" y="127"/>
                </a:cubicBezTo>
                <a:cubicBezTo>
                  <a:pt x="143" y="127"/>
                  <a:pt x="143" y="127"/>
                  <a:pt x="143" y="127"/>
                </a:cubicBezTo>
                <a:cubicBezTo>
                  <a:pt x="142" y="127"/>
                  <a:pt x="142" y="127"/>
                  <a:pt x="142" y="127"/>
                </a:cubicBezTo>
                <a:cubicBezTo>
                  <a:pt x="141" y="127"/>
                  <a:pt x="141" y="127"/>
                  <a:pt x="141" y="127"/>
                </a:cubicBezTo>
                <a:cubicBezTo>
                  <a:pt x="140" y="127"/>
                  <a:pt x="140" y="127"/>
                  <a:pt x="140" y="127"/>
                </a:cubicBezTo>
                <a:cubicBezTo>
                  <a:pt x="142" y="129"/>
                  <a:pt x="142" y="129"/>
                  <a:pt x="142" y="129"/>
                </a:cubicBezTo>
                <a:cubicBezTo>
                  <a:pt x="141" y="130"/>
                  <a:pt x="141" y="130"/>
                  <a:pt x="141" y="130"/>
                </a:cubicBezTo>
                <a:cubicBezTo>
                  <a:pt x="141" y="130"/>
                  <a:pt x="141" y="130"/>
                  <a:pt x="141" y="130"/>
                </a:cubicBezTo>
                <a:cubicBezTo>
                  <a:pt x="140" y="129"/>
                  <a:pt x="140" y="129"/>
                  <a:pt x="140" y="129"/>
                </a:cubicBezTo>
                <a:cubicBezTo>
                  <a:pt x="139" y="129"/>
                  <a:pt x="139" y="129"/>
                  <a:pt x="139" y="129"/>
                </a:cubicBezTo>
                <a:cubicBezTo>
                  <a:pt x="139" y="130"/>
                  <a:pt x="139" y="130"/>
                  <a:pt x="139" y="130"/>
                </a:cubicBezTo>
                <a:cubicBezTo>
                  <a:pt x="137" y="132"/>
                  <a:pt x="137" y="132"/>
                  <a:pt x="137" y="132"/>
                </a:cubicBezTo>
                <a:cubicBezTo>
                  <a:pt x="137" y="132"/>
                  <a:pt x="137" y="132"/>
                  <a:pt x="137" y="132"/>
                </a:cubicBezTo>
                <a:cubicBezTo>
                  <a:pt x="138" y="134"/>
                  <a:pt x="138" y="134"/>
                  <a:pt x="138" y="134"/>
                </a:cubicBezTo>
                <a:cubicBezTo>
                  <a:pt x="139" y="136"/>
                  <a:pt x="139" y="136"/>
                  <a:pt x="139" y="136"/>
                </a:cubicBezTo>
                <a:cubicBezTo>
                  <a:pt x="138" y="137"/>
                  <a:pt x="138" y="137"/>
                  <a:pt x="138" y="137"/>
                </a:cubicBezTo>
                <a:cubicBezTo>
                  <a:pt x="138" y="138"/>
                  <a:pt x="138" y="138"/>
                  <a:pt x="138" y="138"/>
                </a:cubicBezTo>
                <a:cubicBezTo>
                  <a:pt x="138" y="139"/>
                  <a:pt x="138" y="139"/>
                  <a:pt x="138" y="139"/>
                </a:cubicBezTo>
                <a:cubicBezTo>
                  <a:pt x="139" y="139"/>
                  <a:pt x="139" y="139"/>
                  <a:pt x="139" y="139"/>
                </a:cubicBezTo>
                <a:cubicBezTo>
                  <a:pt x="140" y="138"/>
                  <a:pt x="140" y="138"/>
                  <a:pt x="140" y="138"/>
                </a:cubicBezTo>
                <a:cubicBezTo>
                  <a:pt x="140" y="138"/>
                  <a:pt x="140" y="138"/>
                  <a:pt x="140" y="138"/>
                </a:cubicBezTo>
                <a:cubicBezTo>
                  <a:pt x="140" y="140"/>
                  <a:pt x="140" y="140"/>
                  <a:pt x="140" y="140"/>
                </a:cubicBezTo>
                <a:cubicBezTo>
                  <a:pt x="139" y="140"/>
                  <a:pt x="139" y="140"/>
                  <a:pt x="139" y="140"/>
                </a:cubicBezTo>
                <a:cubicBezTo>
                  <a:pt x="139" y="141"/>
                  <a:pt x="139" y="141"/>
                  <a:pt x="139" y="141"/>
                </a:cubicBezTo>
                <a:cubicBezTo>
                  <a:pt x="139" y="141"/>
                  <a:pt x="139" y="141"/>
                  <a:pt x="139" y="141"/>
                </a:cubicBezTo>
                <a:cubicBezTo>
                  <a:pt x="140" y="141"/>
                  <a:pt x="140" y="141"/>
                  <a:pt x="140" y="141"/>
                </a:cubicBezTo>
                <a:cubicBezTo>
                  <a:pt x="141" y="141"/>
                  <a:pt x="141" y="141"/>
                  <a:pt x="141" y="141"/>
                </a:cubicBezTo>
                <a:cubicBezTo>
                  <a:pt x="142" y="141"/>
                  <a:pt x="142" y="141"/>
                  <a:pt x="142" y="141"/>
                </a:cubicBezTo>
                <a:cubicBezTo>
                  <a:pt x="142" y="141"/>
                  <a:pt x="142" y="141"/>
                  <a:pt x="142" y="141"/>
                </a:cubicBezTo>
                <a:cubicBezTo>
                  <a:pt x="142" y="142"/>
                  <a:pt x="142" y="142"/>
                  <a:pt x="142" y="142"/>
                </a:cubicBezTo>
                <a:cubicBezTo>
                  <a:pt x="143" y="142"/>
                  <a:pt x="143" y="142"/>
                  <a:pt x="143" y="142"/>
                </a:cubicBezTo>
                <a:cubicBezTo>
                  <a:pt x="144" y="143"/>
                  <a:pt x="144" y="143"/>
                  <a:pt x="144" y="143"/>
                </a:cubicBezTo>
                <a:cubicBezTo>
                  <a:pt x="146" y="143"/>
                  <a:pt x="146" y="143"/>
                  <a:pt x="146" y="143"/>
                </a:cubicBezTo>
                <a:cubicBezTo>
                  <a:pt x="147" y="142"/>
                  <a:pt x="147" y="142"/>
                  <a:pt x="147" y="142"/>
                </a:cubicBezTo>
                <a:cubicBezTo>
                  <a:pt x="147" y="140"/>
                  <a:pt x="147" y="140"/>
                  <a:pt x="147" y="140"/>
                </a:cubicBezTo>
                <a:cubicBezTo>
                  <a:pt x="148" y="139"/>
                  <a:pt x="148" y="139"/>
                  <a:pt x="148" y="139"/>
                </a:cubicBezTo>
                <a:cubicBezTo>
                  <a:pt x="150" y="139"/>
                  <a:pt x="150" y="139"/>
                  <a:pt x="150" y="139"/>
                </a:cubicBezTo>
                <a:cubicBezTo>
                  <a:pt x="151" y="138"/>
                  <a:pt x="151" y="138"/>
                  <a:pt x="151" y="138"/>
                </a:cubicBezTo>
                <a:cubicBezTo>
                  <a:pt x="150" y="139"/>
                  <a:pt x="150" y="139"/>
                  <a:pt x="150" y="139"/>
                </a:cubicBezTo>
                <a:cubicBezTo>
                  <a:pt x="149" y="139"/>
                  <a:pt x="149" y="139"/>
                  <a:pt x="149" y="139"/>
                </a:cubicBezTo>
                <a:cubicBezTo>
                  <a:pt x="147" y="141"/>
                  <a:pt x="147" y="141"/>
                  <a:pt x="147" y="141"/>
                </a:cubicBezTo>
                <a:cubicBezTo>
                  <a:pt x="147" y="143"/>
                  <a:pt x="147" y="143"/>
                  <a:pt x="147" y="143"/>
                </a:cubicBezTo>
                <a:cubicBezTo>
                  <a:pt x="146" y="143"/>
                  <a:pt x="146" y="143"/>
                  <a:pt x="146" y="143"/>
                </a:cubicBezTo>
                <a:cubicBezTo>
                  <a:pt x="147" y="145"/>
                  <a:pt x="147" y="145"/>
                  <a:pt x="147" y="145"/>
                </a:cubicBezTo>
                <a:cubicBezTo>
                  <a:pt x="147" y="146"/>
                  <a:pt x="147" y="146"/>
                  <a:pt x="147" y="146"/>
                </a:cubicBezTo>
                <a:cubicBezTo>
                  <a:pt x="146" y="146"/>
                  <a:pt x="146" y="146"/>
                  <a:pt x="146" y="146"/>
                </a:cubicBezTo>
                <a:cubicBezTo>
                  <a:pt x="145" y="145"/>
                  <a:pt x="145" y="145"/>
                  <a:pt x="145" y="145"/>
                </a:cubicBezTo>
                <a:cubicBezTo>
                  <a:pt x="145" y="145"/>
                  <a:pt x="145" y="145"/>
                  <a:pt x="145" y="145"/>
                </a:cubicBezTo>
                <a:cubicBezTo>
                  <a:pt x="145" y="144"/>
                  <a:pt x="145" y="144"/>
                  <a:pt x="145" y="144"/>
                </a:cubicBezTo>
                <a:cubicBezTo>
                  <a:pt x="144" y="144"/>
                  <a:pt x="144" y="144"/>
                  <a:pt x="144" y="144"/>
                </a:cubicBezTo>
                <a:cubicBezTo>
                  <a:pt x="143" y="143"/>
                  <a:pt x="143" y="143"/>
                  <a:pt x="143" y="143"/>
                </a:cubicBezTo>
                <a:cubicBezTo>
                  <a:pt x="141" y="143"/>
                  <a:pt x="141" y="143"/>
                  <a:pt x="141" y="143"/>
                </a:cubicBezTo>
                <a:cubicBezTo>
                  <a:pt x="141" y="142"/>
                  <a:pt x="141" y="142"/>
                  <a:pt x="141" y="142"/>
                </a:cubicBezTo>
                <a:cubicBezTo>
                  <a:pt x="140" y="143"/>
                  <a:pt x="140" y="143"/>
                  <a:pt x="140" y="143"/>
                </a:cubicBezTo>
                <a:cubicBezTo>
                  <a:pt x="139" y="143"/>
                  <a:pt x="139" y="143"/>
                  <a:pt x="139" y="143"/>
                </a:cubicBezTo>
                <a:cubicBezTo>
                  <a:pt x="138" y="144"/>
                  <a:pt x="138" y="144"/>
                  <a:pt x="138" y="144"/>
                </a:cubicBezTo>
                <a:cubicBezTo>
                  <a:pt x="137" y="145"/>
                  <a:pt x="137" y="145"/>
                  <a:pt x="137" y="145"/>
                </a:cubicBezTo>
                <a:cubicBezTo>
                  <a:pt x="136" y="144"/>
                  <a:pt x="136" y="144"/>
                  <a:pt x="136" y="144"/>
                </a:cubicBezTo>
                <a:cubicBezTo>
                  <a:pt x="136" y="145"/>
                  <a:pt x="136" y="145"/>
                  <a:pt x="136" y="145"/>
                </a:cubicBezTo>
                <a:cubicBezTo>
                  <a:pt x="136" y="146"/>
                  <a:pt x="136" y="146"/>
                  <a:pt x="136" y="146"/>
                </a:cubicBezTo>
                <a:cubicBezTo>
                  <a:pt x="137" y="146"/>
                  <a:pt x="137" y="146"/>
                  <a:pt x="137" y="146"/>
                </a:cubicBezTo>
                <a:cubicBezTo>
                  <a:pt x="136" y="147"/>
                  <a:pt x="136" y="147"/>
                  <a:pt x="136" y="147"/>
                </a:cubicBezTo>
                <a:cubicBezTo>
                  <a:pt x="136" y="149"/>
                  <a:pt x="136" y="149"/>
                  <a:pt x="136" y="149"/>
                </a:cubicBezTo>
                <a:cubicBezTo>
                  <a:pt x="136" y="150"/>
                  <a:pt x="136" y="150"/>
                  <a:pt x="136" y="150"/>
                </a:cubicBezTo>
                <a:cubicBezTo>
                  <a:pt x="137" y="150"/>
                  <a:pt x="137" y="150"/>
                  <a:pt x="137" y="150"/>
                </a:cubicBezTo>
                <a:cubicBezTo>
                  <a:pt x="137" y="152"/>
                  <a:pt x="137" y="152"/>
                  <a:pt x="137" y="152"/>
                </a:cubicBezTo>
                <a:cubicBezTo>
                  <a:pt x="138" y="153"/>
                  <a:pt x="138" y="153"/>
                  <a:pt x="138" y="153"/>
                </a:cubicBezTo>
                <a:cubicBezTo>
                  <a:pt x="138" y="154"/>
                  <a:pt x="138" y="154"/>
                  <a:pt x="138" y="154"/>
                </a:cubicBezTo>
                <a:cubicBezTo>
                  <a:pt x="139" y="155"/>
                  <a:pt x="139" y="155"/>
                  <a:pt x="139" y="155"/>
                </a:cubicBezTo>
                <a:cubicBezTo>
                  <a:pt x="139" y="155"/>
                  <a:pt x="139" y="155"/>
                  <a:pt x="139" y="155"/>
                </a:cubicBezTo>
                <a:cubicBezTo>
                  <a:pt x="137" y="155"/>
                  <a:pt x="137" y="155"/>
                  <a:pt x="137" y="155"/>
                </a:cubicBezTo>
                <a:cubicBezTo>
                  <a:pt x="137" y="156"/>
                  <a:pt x="137" y="156"/>
                  <a:pt x="137" y="156"/>
                </a:cubicBezTo>
                <a:cubicBezTo>
                  <a:pt x="141" y="158"/>
                  <a:pt x="141" y="158"/>
                  <a:pt x="141" y="158"/>
                </a:cubicBezTo>
                <a:cubicBezTo>
                  <a:pt x="143" y="158"/>
                  <a:pt x="143" y="158"/>
                  <a:pt x="143" y="158"/>
                </a:cubicBezTo>
                <a:cubicBezTo>
                  <a:pt x="145" y="157"/>
                  <a:pt x="145" y="157"/>
                  <a:pt x="145" y="157"/>
                </a:cubicBezTo>
                <a:cubicBezTo>
                  <a:pt x="146" y="157"/>
                  <a:pt x="146" y="157"/>
                  <a:pt x="146" y="157"/>
                </a:cubicBezTo>
                <a:cubicBezTo>
                  <a:pt x="146" y="157"/>
                  <a:pt x="146" y="157"/>
                  <a:pt x="146" y="157"/>
                </a:cubicBezTo>
                <a:cubicBezTo>
                  <a:pt x="147" y="157"/>
                  <a:pt x="147" y="157"/>
                  <a:pt x="147" y="157"/>
                </a:cubicBezTo>
                <a:cubicBezTo>
                  <a:pt x="149" y="155"/>
                  <a:pt x="149" y="155"/>
                  <a:pt x="149" y="155"/>
                </a:cubicBezTo>
                <a:cubicBezTo>
                  <a:pt x="149" y="154"/>
                  <a:pt x="149" y="154"/>
                  <a:pt x="149" y="154"/>
                </a:cubicBezTo>
                <a:cubicBezTo>
                  <a:pt x="148" y="153"/>
                  <a:pt x="148" y="153"/>
                  <a:pt x="148" y="153"/>
                </a:cubicBezTo>
                <a:cubicBezTo>
                  <a:pt x="148" y="152"/>
                  <a:pt x="148" y="152"/>
                  <a:pt x="148" y="152"/>
                </a:cubicBezTo>
                <a:cubicBezTo>
                  <a:pt x="150" y="152"/>
                  <a:pt x="150" y="152"/>
                  <a:pt x="150" y="152"/>
                </a:cubicBezTo>
                <a:cubicBezTo>
                  <a:pt x="152" y="150"/>
                  <a:pt x="152" y="150"/>
                  <a:pt x="152" y="150"/>
                </a:cubicBezTo>
                <a:cubicBezTo>
                  <a:pt x="154" y="148"/>
                  <a:pt x="154" y="148"/>
                  <a:pt x="154" y="148"/>
                </a:cubicBezTo>
                <a:cubicBezTo>
                  <a:pt x="155" y="149"/>
                  <a:pt x="155" y="149"/>
                  <a:pt x="155" y="149"/>
                </a:cubicBezTo>
                <a:cubicBezTo>
                  <a:pt x="154" y="149"/>
                  <a:pt x="154" y="149"/>
                  <a:pt x="154" y="149"/>
                </a:cubicBezTo>
                <a:cubicBezTo>
                  <a:pt x="152" y="151"/>
                  <a:pt x="152" y="151"/>
                  <a:pt x="152" y="151"/>
                </a:cubicBezTo>
                <a:cubicBezTo>
                  <a:pt x="150" y="152"/>
                  <a:pt x="150" y="152"/>
                  <a:pt x="150" y="152"/>
                </a:cubicBezTo>
                <a:cubicBezTo>
                  <a:pt x="150" y="153"/>
                  <a:pt x="150" y="153"/>
                  <a:pt x="150" y="153"/>
                </a:cubicBezTo>
                <a:cubicBezTo>
                  <a:pt x="151" y="154"/>
                  <a:pt x="151" y="154"/>
                  <a:pt x="151" y="154"/>
                </a:cubicBezTo>
                <a:cubicBezTo>
                  <a:pt x="151" y="155"/>
                  <a:pt x="151" y="155"/>
                  <a:pt x="151" y="155"/>
                </a:cubicBezTo>
                <a:cubicBezTo>
                  <a:pt x="150" y="156"/>
                  <a:pt x="150" y="156"/>
                  <a:pt x="150" y="156"/>
                </a:cubicBezTo>
                <a:cubicBezTo>
                  <a:pt x="149" y="157"/>
                  <a:pt x="149" y="157"/>
                  <a:pt x="149" y="157"/>
                </a:cubicBezTo>
                <a:cubicBezTo>
                  <a:pt x="148" y="159"/>
                  <a:pt x="148" y="159"/>
                  <a:pt x="148" y="159"/>
                </a:cubicBezTo>
                <a:cubicBezTo>
                  <a:pt x="149" y="160"/>
                  <a:pt x="149" y="160"/>
                  <a:pt x="149" y="160"/>
                </a:cubicBezTo>
                <a:cubicBezTo>
                  <a:pt x="148" y="161"/>
                  <a:pt x="148" y="161"/>
                  <a:pt x="148" y="161"/>
                </a:cubicBezTo>
                <a:cubicBezTo>
                  <a:pt x="148" y="162"/>
                  <a:pt x="148" y="162"/>
                  <a:pt x="148" y="162"/>
                </a:cubicBezTo>
                <a:cubicBezTo>
                  <a:pt x="148" y="163"/>
                  <a:pt x="148" y="163"/>
                  <a:pt x="148" y="163"/>
                </a:cubicBezTo>
                <a:cubicBezTo>
                  <a:pt x="148" y="164"/>
                  <a:pt x="148" y="164"/>
                  <a:pt x="148" y="164"/>
                </a:cubicBezTo>
                <a:cubicBezTo>
                  <a:pt x="147" y="165"/>
                  <a:pt x="147" y="165"/>
                  <a:pt x="147" y="165"/>
                </a:cubicBezTo>
                <a:cubicBezTo>
                  <a:pt x="146" y="166"/>
                  <a:pt x="146" y="166"/>
                  <a:pt x="146" y="166"/>
                </a:cubicBezTo>
                <a:cubicBezTo>
                  <a:pt x="146" y="167"/>
                  <a:pt x="146" y="167"/>
                  <a:pt x="146" y="167"/>
                </a:cubicBezTo>
                <a:cubicBezTo>
                  <a:pt x="145" y="166"/>
                  <a:pt x="145" y="166"/>
                  <a:pt x="145" y="166"/>
                </a:cubicBezTo>
                <a:cubicBezTo>
                  <a:pt x="145" y="167"/>
                  <a:pt x="145" y="167"/>
                  <a:pt x="145" y="167"/>
                </a:cubicBezTo>
                <a:cubicBezTo>
                  <a:pt x="145" y="168"/>
                  <a:pt x="145" y="168"/>
                  <a:pt x="145" y="168"/>
                </a:cubicBezTo>
                <a:cubicBezTo>
                  <a:pt x="145" y="169"/>
                  <a:pt x="145" y="169"/>
                  <a:pt x="145" y="169"/>
                </a:cubicBezTo>
                <a:cubicBezTo>
                  <a:pt x="146" y="170"/>
                  <a:pt x="146" y="170"/>
                  <a:pt x="146" y="170"/>
                </a:cubicBezTo>
                <a:cubicBezTo>
                  <a:pt x="147" y="169"/>
                  <a:pt x="147" y="169"/>
                  <a:pt x="147" y="169"/>
                </a:cubicBezTo>
                <a:cubicBezTo>
                  <a:pt x="148" y="169"/>
                  <a:pt x="148" y="169"/>
                  <a:pt x="148" y="169"/>
                </a:cubicBezTo>
                <a:cubicBezTo>
                  <a:pt x="148" y="170"/>
                  <a:pt x="148" y="170"/>
                  <a:pt x="148" y="170"/>
                </a:cubicBezTo>
                <a:cubicBezTo>
                  <a:pt x="147" y="171"/>
                  <a:pt x="147" y="171"/>
                  <a:pt x="147" y="171"/>
                </a:cubicBezTo>
                <a:cubicBezTo>
                  <a:pt x="146" y="171"/>
                  <a:pt x="146" y="171"/>
                  <a:pt x="146" y="171"/>
                </a:cubicBezTo>
                <a:cubicBezTo>
                  <a:pt x="145" y="171"/>
                  <a:pt x="145" y="171"/>
                  <a:pt x="145" y="171"/>
                </a:cubicBezTo>
                <a:cubicBezTo>
                  <a:pt x="146" y="172"/>
                  <a:pt x="146" y="172"/>
                  <a:pt x="146" y="172"/>
                </a:cubicBezTo>
                <a:cubicBezTo>
                  <a:pt x="145" y="172"/>
                  <a:pt x="145" y="172"/>
                  <a:pt x="145" y="172"/>
                </a:cubicBezTo>
                <a:cubicBezTo>
                  <a:pt x="146" y="173"/>
                  <a:pt x="146" y="173"/>
                  <a:pt x="146" y="173"/>
                </a:cubicBezTo>
                <a:cubicBezTo>
                  <a:pt x="145" y="174"/>
                  <a:pt x="145" y="174"/>
                  <a:pt x="145" y="174"/>
                </a:cubicBezTo>
                <a:cubicBezTo>
                  <a:pt x="144" y="174"/>
                  <a:pt x="144" y="174"/>
                  <a:pt x="144" y="174"/>
                </a:cubicBezTo>
                <a:cubicBezTo>
                  <a:pt x="143" y="175"/>
                  <a:pt x="143" y="175"/>
                  <a:pt x="143" y="175"/>
                </a:cubicBezTo>
                <a:cubicBezTo>
                  <a:pt x="142" y="174"/>
                  <a:pt x="142" y="174"/>
                  <a:pt x="142" y="174"/>
                </a:cubicBezTo>
                <a:cubicBezTo>
                  <a:pt x="142" y="175"/>
                  <a:pt x="142" y="175"/>
                  <a:pt x="142" y="175"/>
                </a:cubicBezTo>
                <a:cubicBezTo>
                  <a:pt x="142" y="175"/>
                  <a:pt x="142" y="175"/>
                  <a:pt x="142" y="175"/>
                </a:cubicBezTo>
                <a:cubicBezTo>
                  <a:pt x="144" y="175"/>
                  <a:pt x="144" y="175"/>
                  <a:pt x="144" y="175"/>
                </a:cubicBezTo>
                <a:cubicBezTo>
                  <a:pt x="144" y="176"/>
                  <a:pt x="144" y="176"/>
                  <a:pt x="144" y="176"/>
                </a:cubicBezTo>
                <a:cubicBezTo>
                  <a:pt x="146" y="175"/>
                  <a:pt x="146" y="175"/>
                  <a:pt x="146" y="175"/>
                </a:cubicBezTo>
                <a:cubicBezTo>
                  <a:pt x="148" y="173"/>
                  <a:pt x="148" y="173"/>
                  <a:pt x="148" y="173"/>
                </a:cubicBezTo>
                <a:cubicBezTo>
                  <a:pt x="149" y="173"/>
                  <a:pt x="149" y="173"/>
                  <a:pt x="149" y="173"/>
                </a:cubicBezTo>
                <a:cubicBezTo>
                  <a:pt x="150" y="173"/>
                  <a:pt x="150" y="173"/>
                  <a:pt x="150" y="173"/>
                </a:cubicBezTo>
                <a:cubicBezTo>
                  <a:pt x="151" y="172"/>
                  <a:pt x="151" y="172"/>
                  <a:pt x="151" y="172"/>
                </a:cubicBezTo>
                <a:cubicBezTo>
                  <a:pt x="153" y="172"/>
                  <a:pt x="153" y="172"/>
                  <a:pt x="153" y="172"/>
                </a:cubicBezTo>
                <a:cubicBezTo>
                  <a:pt x="152" y="173"/>
                  <a:pt x="152" y="173"/>
                  <a:pt x="152" y="173"/>
                </a:cubicBezTo>
                <a:cubicBezTo>
                  <a:pt x="151" y="173"/>
                  <a:pt x="151" y="173"/>
                  <a:pt x="151" y="173"/>
                </a:cubicBezTo>
                <a:cubicBezTo>
                  <a:pt x="151" y="174"/>
                  <a:pt x="151" y="174"/>
                  <a:pt x="151" y="174"/>
                </a:cubicBezTo>
                <a:cubicBezTo>
                  <a:pt x="152" y="174"/>
                  <a:pt x="152" y="174"/>
                  <a:pt x="152" y="174"/>
                </a:cubicBezTo>
                <a:cubicBezTo>
                  <a:pt x="153" y="175"/>
                  <a:pt x="153" y="175"/>
                  <a:pt x="153" y="175"/>
                </a:cubicBezTo>
                <a:cubicBezTo>
                  <a:pt x="152" y="176"/>
                  <a:pt x="152" y="176"/>
                  <a:pt x="152" y="176"/>
                </a:cubicBezTo>
                <a:cubicBezTo>
                  <a:pt x="153" y="176"/>
                  <a:pt x="153" y="176"/>
                  <a:pt x="153" y="176"/>
                </a:cubicBezTo>
                <a:cubicBezTo>
                  <a:pt x="154" y="176"/>
                  <a:pt x="154" y="176"/>
                  <a:pt x="154" y="176"/>
                </a:cubicBezTo>
                <a:cubicBezTo>
                  <a:pt x="155" y="175"/>
                  <a:pt x="155" y="175"/>
                  <a:pt x="155" y="175"/>
                </a:cubicBezTo>
                <a:cubicBezTo>
                  <a:pt x="155" y="175"/>
                  <a:pt x="155" y="175"/>
                  <a:pt x="155" y="175"/>
                </a:cubicBezTo>
                <a:cubicBezTo>
                  <a:pt x="155" y="176"/>
                  <a:pt x="155" y="176"/>
                  <a:pt x="155" y="176"/>
                </a:cubicBezTo>
                <a:cubicBezTo>
                  <a:pt x="156" y="177"/>
                  <a:pt x="156" y="177"/>
                  <a:pt x="156" y="177"/>
                </a:cubicBezTo>
                <a:cubicBezTo>
                  <a:pt x="156" y="179"/>
                  <a:pt x="156" y="179"/>
                  <a:pt x="156" y="179"/>
                </a:cubicBezTo>
                <a:cubicBezTo>
                  <a:pt x="156" y="180"/>
                  <a:pt x="156" y="180"/>
                  <a:pt x="156" y="180"/>
                </a:cubicBezTo>
                <a:cubicBezTo>
                  <a:pt x="157" y="182"/>
                  <a:pt x="157" y="182"/>
                  <a:pt x="157" y="182"/>
                </a:cubicBezTo>
                <a:cubicBezTo>
                  <a:pt x="157" y="182"/>
                  <a:pt x="157" y="182"/>
                  <a:pt x="157" y="182"/>
                </a:cubicBezTo>
                <a:cubicBezTo>
                  <a:pt x="158" y="181"/>
                  <a:pt x="158" y="181"/>
                  <a:pt x="158" y="181"/>
                </a:cubicBezTo>
                <a:cubicBezTo>
                  <a:pt x="158" y="179"/>
                  <a:pt x="158" y="179"/>
                  <a:pt x="158" y="179"/>
                </a:cubicBezTo>
                <a:cubicBezTo>
                  <a:pt x="159" y="177"/>
                  <a:pt x="159" y="177"/>
                  <a:pt x="159" y="177"/>
                </a:cubicBezTo>
                <a:cubicBezTo>
                  <a:pt x="159" y="176"/>
                  <a:pt x="159" y="176"/>
                  <a:pt x="159" y="176"/>
                </a:cubicBezTo>
                <a:cubicBezTo>
                  <a:pt x="160" y="175"/>
                  <a:pt x="160" y="175"/>
                  <a:pt x="160" y="175"/>
                </a:cubicBezTo>
                <a:cubicBezTo>
                  <a:pt x="161" y="175"/>
                  <a:pt x="161" y="175"/>
                  <a:pt x="161" y="175"/>
                </a:cubicBezTo>
                <a:cubicBezTo>
                  <a:pt x="162" y="174"/>
                  <a:pt x="162" y="174"/>
                  <a:pt x="162" y="174"/>
                </a:cubicBezTo>
                <a:cubicBezTo>
                  <a:pt x="164" y="174"/>
                  <a:pt x="164" y="174"/>
                  <a:pt x="164" y="174"/>
                </a:cubicBezTo>
                <a:cubicBezTo>
                  <a:pt x="162" y="175"/>
                  <a:pt x="162" y="175"/>
                  <a:pt x="162" y="175"/>
                </a:cubicBezTo>
                <a:cubicBezTo>
                  <a:pt x="161" y="177"/>
                  <a:pt x="161" y="177"/>
                  <a:pt x="161" y="177"/>
                </a:cubicBezTo>
                <a:cubicBezTo>
                  <a:pt x="160" y="178"/>
                  <a:pt x="160" y="178"/>
                  <a:pt x="160" y="178"/>
                </a:cubicBezTo>
                <a:cubicBezTo>
                  <a:pt x="162" y="179"/>
                  <a:pt x="162" y="179"/>
                  <a:pt x="162" y="179"/>
                </a:cubicBezTo>
                <a:cubicBezTo>
                  <a:pt x="163" y="180"/>
                  <a:pt x="163" y="180"/>
                  <a:pt x="163" y="180"/>
                </a:cubicBezTo>
                <a:cubicBezTo>
                  <a:pt x="165" y="179"/>
                  <a:pt x="165" y="179"/>
                  <a:pt x="165" y="179"/>
                </a:cubicBezTo>
                <a:cubicBezTo>
                  <a:pt x="167" y="178"/>
                  <a:pt x="167" y="178"/>
                  <a:pt x="167" y="178"/>
                </a:cubicBezTo>
                <a:cubicBezTo>
                  <a:pt x="168" y="177"/>
                  <a:pt x="168" y="177"/>
                  <a:pt x="168" y="177"/>
                </a:cubicBezTo>
                <a:cubicBezTo>
                  <a:pt x="169" y="177"/>
                  <a:pt x="169" y="177"/>
                  <a:pt x="169" y="177"/>
                </a:cubicBezTo>
                <a:cubicBezTo>
                  <a:pt x="171" y="176"/>
                  <a:pt x="171" y="176"/>
                  <a:pt x="171" y="176"/>
                </a:cubicBezTo>
                <a:cubicBezTo>
                  <a:pt x="172" y="176"/>
                  <a:pt x="172" y="176"/>
                  <a:pt x="172" y="176"/>
                </a:cubicBezTo>
                <a:cubicBezTo>
                  <a:pt x="171" y="177"/>
                  <a:pt x="171" y="177"/>
                  <a:pt x="171" y="177"/>
                </a:cubicBezTo>
                <a:cubicBezTo>
                  <a:pt x="170" y="178"/>
                  <a:pt x="170" y="178"/>
                  <a:pt x="170" y="178"/>
                </a:cubicBezTo>
                <a:cubicBezTo>
                  <a:pt x="170" y="179"/>
                  <a:pt x="170" y="179"/>
                  <a:pt x="170" y="179"/>
                </a:cubicBezTo>
                <a:cubicBezTo>
                  <a:pt x="169" y="180"/>
                  <a:pt x="169" y="180"/>
                  <a:pt x="169" y="180"/>
                </a:cubicBezTo>
                <a:cubicBezTo>
                  <a:pt x="165" y="182"/>
                  <a:pt x="165" y="182"/>
                  <a:pt x="165" y="182"/>
                </a:cubicBezTo>
                <a:cubicBezTo>
                  <a:pt x="164" y="183"/>
                  <a:pt x="164" y="183"/>
                  <a:pt x="164" y="183"/>
                </a:cubicBezTo>
                <a:cubicBezTo>
                  <a:pt x="163" y="185"/>
                  <a:pt x="163" y="185"/>
                  <a:pt x="163" y="185"/>
                </a:cubicBezTo>
                <a:cubicBezTo>
                  <a:pt x="163" y="186"/>
                  <a:pt x="163" y="186"/>
                  <a:pt x="163" y="186"/>
                </a:cubicBezTo>
                <a:cubicBezTo>
                  <a:pt x="163" y="187"/>
                  <a:pt x="163" y="187"/>
                  <a:pt x="163" y="187"/>
                </a:cubicBezTo>
                <a:cubicBezTo>
                  <a:pt x="164" y="188"/>
                  <a:pt x="164" y="188"/>
                  <a:pt x="164" y="188"/>
                </a:cubicBezTo>
                <a:cubicBezTo>
                  <a:pt x="162" y="188"/>
                  <a:pt x="162" y="188"/>
                  <a:pt x="162" y="188"/>
                </a:cubicBezTo>
                <a:cubicBezTo>
                  <a:pt x="161" y="188"/>
                  <a:pt x="161" y="188"/>
                  <a:pt x="161" y="188"/>
                </a:cubicBezTo>
                <a:cubicBezTo>
                  <a:pt x="160" y="189"/>
                  <a:pt x="160" y="189"/>
                  <a:pt x="160" y="189"/>
                </a:cubicBezTo>
                <a:cubicBezTo>
                  <a:pt x="160" y="191"/>
                  <a:pt x="160" y="191"/>
                  <a:pt x="160" y="191"/>
                </a:cubicBezTo>
                <a:cubicBezTo>
                  <a:pt x="158" y="193"/>
                  <a:pt x="158" y="193"/>
                  <a:pt x="158" y="193"/>
                </a:cubicBezTo>
                <a:cubicBezTo>
                  <a:pt x="158" y="194"/>
                  <a:pt x="158" y="194"/>
                  <a:pt x="158" y="194"/>
                </a:cubicBezTo>
                <a:cubicBezTo>
                  <a:pt x="158" y="194"/>
                  <a:pt x="158" y="194"/>
                  <a:pt x="158" y="194"/>
                </a:cubicBezTo>
                <a:cubicBezTo>
                  <a:pt x="158" y="195"/>
                  <a:pt x="158" y="195"/>
                  <a:pt x="158" y="195"/>
                </a:cubicBezTo>
                <a:cubicBezTo>
                  <a:pt x="158" y="196"/>
                  <a:pt x="158" y="196"/>
                  <a:pt x="158" y="196"/>
                </a:cubicBezTo>
                <a:cubicBezTo>
                  <a:pt x="157" y="196"/>
                  <a:pt x="157" y="196"/>
                  <a:pt x="157" y="196"/>
                </a:cubicBezTo>
                <a:cubicBezTo>
                  <a:pt x="157" y="195"/>
                  <a:pt x="157" y="195"/>
                  <a:pt x="157" y="195"/>
                </a:cubicBezTo>
                <a:cubicBezTo>
                  <a:pt x="156" y="195"/>
                  <a:pt x="156" y="195"/>
                  <a:pt x="156" y="195"/>
                </a:cubicBezTo>
                <a:cubicBezTo>
                  <a:pt x="155" y="196"/>
                  <a:pt x="155" y="196"/>
                  <a:pt x="155" y="196"/>
                </a:cubicBezTo>
                <a:cubicBezTo>
                  <a:pt x="154" y="197"/>
                  <a:pt x="154" y="197"/>
                  <a:pt x="154" y="197"/>
                </a:cubicBezTo>
                <a:cubicBezTo>
                  <a:pt x="154" y="198"/>
                  <a:pt x="154" y="198"/>
                  <a:pt x="154" y="198"/>
                </a:cubicBezTo>
                <a:cubicBezTo>
                  <a:pt x="154" y="198"/>
                  <a:pt x="154" y="198"/>
                  <a:pt x="154" y="198"/>
                </a:cubicBezTo>
                <a:cubicBezTo>
                  <a:pt x="153" y="198"/>
                  <a:pt x="153" y="198"/>
                  <a:pt x="153" y="198"/>
                </a:cubicBezTo>
                <a:cubicBezTo>
                  <a:pt x="152" y="198"/>
                  <a:pt x="152" y="198"/>
                  <a:pt x="152" y="198"/>
                </a:cubicBezTo>
                <a:cubicBezTo>
                  <a:pt x="152" y="198"/>
                  <a:pt x="152" y="198"/>
                  <a:pt x="152" y="198"/>
                </a:cubicBezTo>
                <a:cubicBezTo>
                  <a:pt x="149" y="200"/>
                  <a:pt x="149" y="200"/>
                  <a:pt x="149" y="200"/>
                </a:cubicBezTo>
                <a:cubicBezTo>
                  <a:pt x="148" y="202"/>
                  <a:pt x="148" y="202"/>
                  <a:pt x="148" y="202"/>
                </a:cubicBezTo>
                <a:cubicBezTo>
                  <a:pt x="148" y="202"/>
                  <a:pt x="148" y="202"/>
                  <a:pt x="148" y="202"/>
                </a:cubicBezTo>
                <a:cubicBezTo>
                  <a:pt x="148" y="203"/>
                  <a:pt x="148" y="203"/>
                  <a:pt x="148" y="203"/>
                </a:cubicBezTo>
                <a:cubicBezTo>
                  <a:pt x="147" y="202"/>
                  <a:pt x="147" y="202"/>
                  <a:pt x="147" y="202"/>
                </a:cubicBezTo>
                <a:cubicBezTo>
                  <a:pt x="147" y="201"/>
                  <a:pt x="147" y="201"/>
                  <a:pt x="147" y="201"/>
                </a:cubicBezTo>
                <a:cubicBezTo>
                  <a:pt x="145" y="202"/>
                  <a:pt x="145" y="202"/>
                  <a:pt x="145" y="202"/>
                </a:cubicBezTo>
                <a:cubicBezTo>
                  <a:pt x="144" y="203"/>
                  <a:pt x="144" y="203"/>
                  <a:pt x="144" y="203"/>
                </a:cubicBezTo>
                <a:cubicBezTo>
                  <a:pt x="143" y="203"/>
                  <a:pt x="143" y="203"/>
                  <a:pt x="143" y="203"/>
                </a:cubicBezTo>
                <a:cubicBezTo>
                  <a:pt x="143" y="204"/>
                  <a:pt x="143" y="204"/>
                  <a:pt x="143" y="204"/>
                </a:cubicBezTo>
                <a:cubicBezTo>
                  <a:pt x="141" y="205"/>
                  <a:pt x="141" y="205"/>
                  <a:pt x="141" y="205"/>
                </a:cubicBezTo>
                <a:cubicBezTo>
                  <a:pt x="140" y="205"/>
                  <a:pt x="140" y="205"/>
                  <a:pt x="140" y="205"/>
                </a:cubicBezTo>
                <a:cubicBezTo>
                  <a:pt x="138" y="206"/>
                  <a:pt x="138" y="206"/>
                  <a:pt x="138" y="206"/>
                </a:cubicBezTo>
                <a:cubicBezTo>
                  <a:pt x="135" y="207"/>
                  <a:pt x="135" y="207"/>
                  <a:pt x="135" y="207"/>
                </a:cubicBezTo>
                <a:cubicBezTo>
                  <a:pt x="133" y="209"/>
                  <a:pt x="133" y="209"/>
                  <a:pt x="133" y="209"/>
                </a:cubicBezTo>
                <a:cubicBezTo>
                  <a:pt x="132" y="211"/>
                  <a:pt x="132" y="211"/>
                  <a:pt x="132" y="211"/>
                </a:cubicBezTo>
                <a:cubicBezTo>
                  <a:pt x="132" y="211"/>
                  <a:pt x="132" y="211"/>
                  <a:pt x="132" y="211"/>
                </a:cubicBezTo>
                <a:cubicBezTo>
                  <a:pt x="133" y="212"/>
                  <a:pt x="133" y="212"/>
                  <a:pt x="133" y="212"/>
                </a:cubicBezTo>
                <a:cubicBezTo>
                  <a:pt x="133" y="213"/>
                  <a:pt x="133" y="213"/>
                  <a:pt x="133" y="213"/>
                </a:cubicBezTo>
                <a:cubicBezTo>
                  <a:pt x="132" y="214"/>
                  <a:pt x="132" y="214"/>
                  <a:pt x="132" y="214"/>
                </a:cubicBezTo>
                <a:cubicBezTo>
                  <a:pt x="132" y="213"/>
                  <a:pt x="132" y="213"/>
                  <a:pt x="132" y="213"/>
                </a:cubicBezTo>
                <a:cubicBezTo>
                  <a:pt x="131" y="213"/>
                  <a:pt x="131" y="213"/>
                  <a:pt x="131" y="213"/>
                </a:cubicBezTo>
                <a:cubicBezTo>
                  <a:pt x="131" y="213"/>
                  <a:pt x="131" y="213"/>
                  <a:pt x="131" y="213"/>
                </a:cubicBezTo>
                <a:cubicBezTo>
                  <a:pt x="131" y="214"/>
                  <a:pt x="131" y="214"/>
                  <a:pt x="131" y="214"/>
                </a:cubicBezTo>
                <a:cubicBezTo>
                  <a:pt x="130" y="214"/>
                  <a:pt x="130" y="214"/>
                  <a:pt x="130" y="214"/>
                </a:cubicBezTo>
                <a:cubicBezTo>
                  <a:pt x="130" y="214"/>
                  <a:pt x="130" y="214"/>
                  <a:pt x="130" y="214"/>
                </a:cubicBezTo>
                <a:cubicBezTo>
                  <a:pt x="130" y="212"/>
                  <a:pt x="130" y="212"/>
                  <a:pt x="130" y="212"/>
                </a:cubicBezTo>
                <a:cubicBezTo>
                  <a:pt x="130" y="212"/>
                  <a:pt x="130" y="212"/>
                  <a:pt x="130" y="212"/>
                </a:cubicBezTo>
                <a:cubicBezTo>
                  <a:pt x="129" y="211"/>
                  <a:pt x="129" y="211"/>
                  <a:pt x="129" y="211"/>
                </a:cubicBezTo>
                <a:cubicBezTo>
                  <a:pt x="128" y="211"/>
                  <a:pt x="128" y="211"/>
                  <a:pt x="128" y="211"/>
                </a:cubicBezTo>
                <a:cubicBezTo>
                  <a:pt x="127" y="211"/>
                  <a:pt x="127" y="211"/>
                  <a:pt x="127" y="211"/>
                </a:cubicBezTo>
                <a:cubicBezTo>
                  <a:pt x="126" y="211"/>
                  <a:pt x="126" y="211"/>
                  <a:pt x="126" y="211"/>
                </a:cubicBezTo>
                <a:cubicBezTo>
                  <a:pt x="124" y="212"/>
                  <a:pt x="124" y="212"/>
                  <a:pt x="124" y="212"/>
                </a:cubicBezTo>
                <a:cubicBezTo>
                  <a:pt x="123" y="212"/>
                  <a:pt x="123" y="212"/>
                  <a:pt x="123" y="212"/>
                </a:cubicBezTo>
                <a:cubicBezTo>
                  <a:pt x="122" y="213"/>
                  <a:pt x="122" y="213"/>
                  <a:pt x="122" y="213"/>
                </a:cubicBezTo>
                <a:cubicBezTo>
                  <a:pt x="121" y="214"/>
                  <a:pt x="121" y="214"/>
                  <a:pt x="121" y="214"/>
                </a:cubicBezTo>
                <a:cubicBezTo>
                  <a:pt x="119" y="215"/>
                  <a:pt x="119" y="215"/>
                  <a:pt x="119" y="215"/>
                </a:cubicBezTo>
                <a:cubicBezTo>
                  <a:pt x="118" y="216"/>
                  <a:pt x="118" y="216"/>
                  <a:pt x="118" y="216"/>
                </a:cubicBezTo>
                <a:cubicBezTo>
                  <a:pt x="118" y="217"/>
                  <a:pt x="118" y="217"/>
                  <a:pt x="118" y="217"/>
                </a:cubicBezTo>
                <a:cubicBezTo>
                  <a:pt x="118" y="217"/>
                  <a:pt x="118" y="217"/>
                  <a:pt x="118" y="217"/>
                </a:cubicBezTo>
                <a:cubicBezTo>
                  <a:pt x="117" y="217"/>
                  <a:pt x="117" y="217"/>
                  <a:pt x="117" y="217"/>
                </a:cubicBezTo>
                <a:cubicBezTo>
                  <a:pt x="115" y="218"/>
                  <a:pt x="115" y="218"/>
                  <a:pt x="115" y="218"/>
                </a:cubicBezTo>
                <a:cubicBezTo>
                  <a:pt x="115" y="218"/>
                  <a:pt x="115" y="218"/>
                  <a:pt x="115" y="218"/>
                </a:cubicBezTo>
                <a:cubicBezTo>
                  <a:pt x="114" y="219"/>
                  <a:pt x="114" y="219"/>
                  <a:pt x="114" y="219"/>
                </a:cubicBezTo>
                <a:cubicBezTo>
                  <a:pt x="114" y="219"/>
                  <a:pt x="114" y="219"/>
                  <a:pt x="114" y="219"/>
                </a:cubicBezTo>
                <a:cubicBezTo>
                  <a:pt x="113" y="219"/>
                  <a:pt x="113" y="219"/>
                  <a:pt x="113" y="219"/>
                </a:cubicBezTo>
                <a:cubicBezTo>
                  <a:pt x="112" y="219"/>
                  <a:pt x="112" y="219"/>
                  <a:pt x="112" y="219"/>
                </a:cubicBezTo>
                <a:cubicBezTo>
                  <a:pt x="111" y="220"/>
                  <a:pt x="111" y="220"/>
                  <a:pt x="111" y="220"/>
                </a:cubicBezTo>
                <a:cubicBezTo>
                  <a:pt x="111" y="221"/>
                  <a:pt x="111" y="221"/>
                  <a:pt x="111" y="221"/>
                </a:cubicBezTo>
                <a:cubicBezTo>
                  <a:pt x="111" y="222"/>
                  <a:pt x="111" y="222"/>
                  <a:pt x="111" y="222"/>
                </a:cubicBezTo>
                <a:cubicBezTo>
                  <a:pt x="112" y="222"/>
                  <a:pt x="112" y="222"/>
                  <a:pt x="112" y="222"/>
                </a:cubicBezTo>
                <a:cubicBezTo>
                  <a:pt x="112" y="221"/>
                  <a:pt x="112" y="221"/>
                  <a:pt x="112" y="221"/>
                </a:cubicBezTo>
                <a:cubicBezTo>
                  <a:pt x="112" y="220"/>
                  <a:pt x="112" y="220"/>
                  <a:pt x="112" y="220"/>
                </a:cubicBezTo>
                <a:cubicBezTo>
                  <a:pt x="113" y="220"/>
                  <a:pt x="113" y="220"/>
                  <a:pt x="113" y="220"/>
                </a:cubicBezTo>
                <a:cubicBezTo>
                  <a:pt x="113" y="220"/>
                  <a:pt x="113" y="220"/>
                  <a:pt x="113" y="220"/>
                </a:cubicBezTo>
                <a:cubicBezTo>
                  <a:pt x="113" y="221"/>
                  <a:pt x="113" y="221"/>
                  <a:pt x="113" y="221"/>
                </a:cubicBezTo>
                <a:cubicBezTo>
                  <a:pt x="113" y="222"/>
                  <a:pt x="113" y="222"/>
                  <a:pt x="113" y="222"/>
                </a:cubicBezTo>
                <a:cubicBezTo>
                  <a:pt x="115" y="222"/>
                  <a:pt x="115" y="222"/>
                  <a:pt x="115" y="222"/>
                </a:cubicBezTo>
                <a:cubicBezTo>
                  <a:pt x="116" y="220"/>
                  <a:pt x="116" y="220"/>
                  <a:pt x="116" y="220"/>
                </a:cubicBezTo>
                <a:cubicBezTo>
                  <a:pt x="116" y="219"/>
                  <a:pt x="116" y="219"/>
                  <a:pt x="116" y="219"/>
                </a:cubicBezTo>
                <a:cubicBezTo>
                  <a:pt x="117" y="220"/>
                  <a:pt x="117" y="220"/>
                  <a:pt x="117" y="220"/>
                </a:cubicBezTo>
                <a:cubicBezTo>
                  <a:pt x="116" y="221"/>
                  <a:pt x="116" y="221"/>
                  <a:pt x="116" y="221"/>
                </a:cubicBezTo>
                <a:cubicBezTo>
                  <a:pt x="117" y="221"/>
                  <a:pt x="117" y="221"/>
                  <a:pt x="117" y="221"/>
                </a:cubicBezTo>
                <a:cubicBezTo>
                  <a:pt x="118" y="221"/>
                  <a:pt x="118" y="221"/>
                  <a:pt x="118" y="221"/>
                </a:cubicBezTo>
                <a:cubicBezTo>
                  <a:pt x="118" y="220"/>
                  <a:pt x="118" y="220"/>
                  <a:pt x="118" y="220"/>
                </a:cubicBezTo>
                <a:cubicBezTo>
                  <a:pt x="119" y="221"/>
                  <a:pt x="119" y="221"/>
                  <a:pt x="119" y="221"/>
                </a:cubicBezTo>
                <a:cubicBezTo>
                  <a:pt x="119" y="221"/>
                  <a:pt x="119" y="221"/>
                  <a:pt x="119" y="221"/>
                </a:cubicBezTo>
                <a:cubicBezTo>
                  <a:pt x="119" y="220"/>
                  <a:pt x="119" y="220"/>
                  <a:pt x="119" y="220"/>
                </a:cubicBezTo>
                <a:cubicBezTo>
                  <a:pt x="120" y="220"/>
                  <a:pt x="120" y="220"/>
                  <a:pt x="120" y="220"/>
                </a:cubicBezTo>
                <a:cubicBezTo>
                  <a:pt x="121" y="220"/>
                  <a:pt x="121" y="220"/>
                  <a:pt x="121" y="220"/>
                </a:cubicBezTo>
                <a:cubicBezTo>
                  <a:pt x="122" y="219"/>
                  <a:pt x="122" y="219"/>
                  <a:pt x="122" y="219"/>
                </a:cubicBezTo>
                <a:cubicBezTo>
                  <a:pt x="123" y="218"/>
                  <a:pt x="123" y="218"/>
                  <a:pt x="123" y="218"/>
                </a:cubicBezTo>
                <a:cubicBezTo>
                  <a:pt x="123" y="217"/>
                  <a:pt x="123" y="217"/>
                  <a:pt x="123" y="217"/>
                </a:cubicBezTo>
                <a:cubicBezTo>
                  <a:pt x="124" y="216"/>
                  <a:pt x="124" y="216"/>
                  <a:pt x="124" y="216"/>
                </a:cubicBezTo>
                <a:cubicBezTo>
                  <a:pt x="125" y="215"/>
                  <a:pt x="125" y="215"/>
                  <a:pt x="125" y="215"/>
                </a:cubicBezTo>
                <a:cubicBezTo>
                  <a:pt x="125" y="215"/>
                  <a:pt x="125" y="215"/>
                  <a:pt x="125" y="215"/>
                </a:cubicBezTo>
                <a:cubicBezTo>
                  <a:pt x="127" y="216"/>
                  <a:pt x="127" y="216"/>
                  <a:pt x="127" y="216"/>
                </a:cubicBezTo>
                <a:cubicBezTo>
                  <a:pt x="126" y="216"/>
                  <a:pt x="126" y="216"/>
                  <a:pt x="126" y="216"/>
                </a:cubicBezTo>
                <a:cubicBezTo>
                  <a:pt x="125" y="216"/>
                  <a:pt x="125" y="216"/>
                  <a:pt x="125" y="216"/>
                </a:cubicBezTo>
                <a:cubicBezTo>
                  <a:pt x="125" y="217"/>
                  <a:pt x="125" y="217"/>
                  <a:pt x="125" y="217"/>
                </a:cubicBezTo>
                <a:cubicBezTo>
                  <a:pt x="125" y="219"/>
                  <a:pt x="125" y="219"/>
                  <a:pt x="125" y="219"/>
                </a:cubicBezTo>
                <a:cubicBezTo>
                  <a:pt x="125" y="219"/>
                  <a:pt x="125" y="219"/>
                  <a:pt x="125" y="219"/>
                </a:cubicBezTo>
                <a:cubicBezTo>
                  <a:pt x="127" y="218"/>
                  <a:pt x="127" y="218"/>
                  <a:pt x="127" y="218"/>
                </a:cubicBezTo>
                <a:cubicBezTo>
                  <a:pt x="127" y="217"/>
                  <a:pt x="127" y="217"/>
                  <a:pt x="127" y="217"/>
                </a:cubicBezTo>
                <a:cubicBezTo>
                  <a:pt x="128" y="216"/>
                  <a:pt x="128" y="216"/>
                  <a:pt x="128" y="216"/>
                </a:cubicBezTo>
                <a:cubicBezTo>
                  <a:pt x="128" y="217"/>
                  <a:pt x="128" y="217"/>
                  <a:pt x="128" y="217"/>
                </a:cubicBezTo>
                <a:cubicBezTo>
                  <a:pt x="129" y="216"/>
                  <a:pt x="129" y="216"/>
                  <a:pt x="129" y="216"/>
                </a:cubicBezTo>
                <a:cubicBezTo>
                  <a:pt x="129" y="216"/>
                  <a:pt x="129" y="216"/>
                  <a:pt x="129" y="216"/>
                </a:cubicBezTo>
                <a:cubicBezTo>
                  <a:pt x="129" y="217"/>
                  <a:pt x="129" y="217"/>
                  <a:pt x="129" y="217"/>
                </a:cubicBezTo>
                <a:cubicBezTo>
                  <a:pt x="129" y="218"/>
                  <a:pt x="129" y="218"/>
                  <a:pt x="129" y="218"/>
                </a:cubicBezTo>
                <a:cubicBezTo>
                  <a:pt x="129" y="218"/>
                  <a:pt x="129" y="218"/>
                  <a:pt x="129" y="218"/>
                </a:cubicBezTo>
                <a:cubicBezTo>
                  <a:pt x="130" y="217"/>
                  <a:pt x="130" y="217"/>
                  <a:pt x="130" y="217"/>
                </a:cubicBezTo>
                <a:cubicBezTo>
                  <a:pt x="131" y="217"/>
                  <a:pt x="131" y="217"/>
                  <a:pt x="131" y="217"/>
                </a:cubicBezTo>
                <a:cubicBezTo>
                  <a:pt x="132" y="216"/>
                  <a:pt x="132" y="216"/>
                  <a:pt x="132" y="216"/>
                </a:cubicBezTo>
                <a:cubicBezTo>
                  <a:pt x="133" y="216"/>
                  <a:pt x="133" y="216"/>
                  <a:pt x="133" y="216"/>
                </a:cubicBezTo>
                <a:cubicBezTo>
                  <a:pt x="135" y="214"/>
                  <a:pt x="135" y="214"/>
                  <a:pt x="135" y="214"/>
                </a:cubicBezTo>
                <a:cubicBezTo>
                  <a:pt x="136" y="214"/>
                  <a:pt x="136" y="214"/>
                  <a:pt x="136" y="214"/>
                </a:cubicBezTo>
                <a:cubicBezTo>
                  <a:pt x="136" y="214"/>
                  <a:pt x="136" y="214"/>
                  <a:pt x="136" y="214"/>
                </a:cubicBezTo>
                <a:cubicBezTo>
                  <a:pt x="136" y="215"/>
                  <a:pt x="136" y="215"/>
                  <a:pt x="136" y="215"/>
                </a:cubicBezTo>
                <a:cubicBezTo>
                  <a:pt x="136" y="216"/>
                  <a:pt x="136" y="216"/>
                  <a:pt x="136" y="216"/>
                </a:cubicBezTo>
                <a:cubicBezTo>
                  <a:pt x="135" y="217"/>
                  <a:pt x="135" y="217"/>
                  <a:pt x="135" y="217"/>
                </a:cubicBezTo>
                <a:cubicBezTo>
                  <a:pt x="135" y="218"/>
                  <a:pt x="135" y="218"/>
                  <a:pt x="135" y="218"/>
                </a:cubicBezTo>
                <a:cubicBezTo>
                  <a:pt x="135" y="218"/>
                  <a:pt x="135" y="218"/>
                  <a:pt x="135" y="218"/>
                </a:cubicBezTo>
                <a:cubicBezTo>
                  <a:pt x="137" y="216"/>
                  <a:pt x="137" y="216"/>
                  <a:pt x="137" y="216"/>
                </a:cubicBezTo>
                <a:cubicBezTo>
                  <a:pt x="137" y="214"/>
                  <a:pt x="137" y="214"/>
                  <a:pt x="137" y="214"/>
                </a:cubicBezTo>
                <a:cubicBezTo>
                  <a:pt x="137" y="214"/>
                  <a:pt x="137" y="214"/>
                  <a:pt x="137" y="214"/>
                </a:cubicBezTo>
                <a:cubicBezTo>
                  <a:pt x="138" y="214"/>
                  <a:pt x="138" y="214"/>
                  <a:pt x="138" y="214"/>
                </a:cubicBezTo>
                <a:cubicBezTo>
                  <a:pt x="139" y="214"/>
                  <a:pt x="139" y="214"/>
                  <a:pt x="139" y="214"/>
                </a:cubicBezTo>
                <a:cubicBezTo>
                  <a:pt x="140" y="214"/>
                  <a:pt x="140" y="214"/>
                  <a:pt x="140" y="214"/>
                </a:cubicBezTo>
                <a:cubicBezTo>
                  <a:pt x="141" y="214"/>
                  <a:pt x="141" y="214"/>
                  <a:pt x="141" y="214"/>
                </a:cubicBezTo>
                <a:cubicBezTo>
                  <a:pt x="142" y="213"/>
                  <a:pt x="142" y="213"/>
                  <a:pt x="142" y="213"/>
                </a:cubicBezTo>
                <a:cubicBezTo>
                  <a:pt x="143" y="213"/>
                  <a:pt x="143" y="213"/>
                  <a:pt x="143" y="213"/>
                </a:cubicBezTo>
                <a:cubicBezTo>
                  <a:pt x="143" y="213"/>
                  <a:pt x="143" y="213"/>
                  <a:pt x="143" y="213"/>
                </a:cubicBezTo>
                <a:cubicBezTo>
                  <a:pt x="144" y="212"/>
                  <a:pt x="144" y="212"/>
                  <a:pt x="144" y="212"/>
                </a:cubicBezTo>
                <a:cubicBezTo>
                  <a:pt x="144" y="211"/>
                  <a:pt x="144" y="211"/>
                  <a:pt x="144" y="211"/>
                </a:cubicBezTo>
                <a:cubicBezTo>
                  <a:pt x="144" y="211"/>
                  <a:pt x="144" y="211"/>
                  <a:pt x="144" y="211"/>
                </a:cubicBezTo>
                <a:cubicBezTo>
                  <a:pt x="144" y="212"/>
                  <a:pt x="144" y="212"/>
                  <a:pt x="144" y="212"/>
                </a:cubicBezTo>
                <a:cubicBezTo>
                  <a:pt x="144" y="213"/>
                  <a:pt x="144" y="213"/>
                  <a:pt x="144" y="213"/>
                </a:cubicBezTo>
                <a:cubicBezTo>
                  <a:pt x="145" y="213"/>
                  <a:pt x="145" y="213"/>
                  <a:pt x="145" y="213"/>
                </a:cubicBezTo>
                <a:cubicBezTo>
                  <a:pt x="146" y="212"/>
                  <a:pt x="146" y="212"/>
                  <a:pt x="146" y="212"/>
                </a:cubicBezTo>
                <a:cubicBezTo>
                  <a:pt x="145" y="212"/>
                  <a:pt x="145" y="212"/>
                  <a:pt x="145" y="212"/>
                </a:cubicBezTo>
                <a:cubicBezTo>
                  <a:pt x="146" y="211"/>
                  <a:pt x="146" y="211"/>
                  <a:pt x="146" y="211"/>
                </a:cubicBezTo>
                <a:cubicBezTo>
                  <a:pt x="146" y="210"/>
                  <a:pt x="146" y="210"/>
                  <a:pt x="146" y="210"/>
                </a:cubicBezTo>
                <a:cubicBezTo>
                  <a:pt x="144" y="210"/>
                  <a:pt x="144" y="210"/>
                  <a:pt x="144" y="210"/>
                </a:cubicBezTo>
                <a:cubicBezTo>
                  <a:pt x="144" y="210"/>
                  <a:pt x="144" y="210"/>
                  <a:pt x="144" y="210"/>
                </a:cubicBezTo>
                <a:cubicBezTo>
                  <a:pt x="146" y="210"/>
                  <a:pt x="146" y="210"/>
                  <a:pt x="146" y="210"/>
                </a:cubicBezTo>
                <a:cubicBezTo>
                  <a:pt x="148" y="209"/>
                  <a:pt x="148" y="209"/>
                  <a:pt x="148" y="209"/>
                </a:cubicBezTo>
                <a:cubicBezTo>
                  <a:pt x="150" y="209"/>
                  <a:pt x="150" y="209"/>
                  <a:pt x="150" y="209"/>
                </a:cubicBezTo>
                <a:cubicBezTo>
                  <a:pt x="151" y="208"/>
                  <a:pt x="151" y="208"/>
                  <a:pt x="151" y="208"/>
                </a:cubicBezTo>
                <a:cubicBezTo>
                  <a:pt x="150" y="207"/>
                  <a:pt x="150" y="207"/>
                  <a:pt x="150" y="207"/>
                </a:cubicBezTo>
                <a:cubicBezTo>
                  <a:pt x="150" y="207"/>
                  <a:pt x="150" y="207"/>
                  <a:pt x="150" y="207"/>
                </a:cubicBezTo>
                <a:cubicBezTo>
                  <a:pt x="151" y="207"/>
                  <a:pt x="151" y="207"/>
                  <a:pt x="151" y="207"/>
                </a:cubicBezTo>
                <a:cubicBezTo>
                  <a:pt x="151" y="207"/>
                  <a:pt x="151" y="207"/>
                  <a:pt x="151" y="207"/>
                </a:cubicBezTo>
                <a:cubicBezTo>
                  <a:pt x="152" y="206"/>
                  <a:pt x="152" y="206"/>
                  <a:pt x="152" y="206"/>
                </a:cubicBezTo>
                <a:cubicBezTo>
                  <a:pt x="153" y="206"/>
                  <a:pt x="153" y="206"/>
                  <a:pt x="153" y="206"/>
                </a:cubicBezTo>
                <a:cubicBezTo>
                  <a:pt x="153" y="207"/>
                  <a:pt x="153" y="207"/>
                  <a:pt x="153" y="207"/>
                </a:cubicBezTo>
                <a:cubicBezTo>
                  <a:pt x="154" y="207"/>
                  <a:pt x="154" y="207"/>
                  <a:pt x="154" y="207"/>
                </a:cubicBezTo>
                <a:cubicBezTo>
                  <a:pt x="154" y="206"/>
                  <a:pt x="154" y="206"/>
                  <a:pt x="154" y="206"/>
                </a:cubicBezTo>
                <a:cubicBezTo>
                  <a:pt x="154" y="206"/>
                  <a:pt x="154" y="206"/>
                  <a:pt x="154" y="206"/>
                </a:cubicBezTo>
                <a:cubicBezTo>
                  <a:pt x="155" y="205"/>
                  <a:pt x="155" y="205"/>
                  <a:pt x="155" y="205"/>
                </a:cubicBezTo>
                <a:cubicBezTo>
                  <a:pt x="155" y="204"/>
                  <a:pt x="155" y="204"/>
                  <a:pt x="155" y="204"/>
                </a:cubicBezTo>
                <a:cubicBezTo>
                  <a:pt x="155" y="204"/>
                  <a:pt x="155" y="204"/>
                  <a:pt x="155" y="204"/>
                </a:cubicBezTo>
                <a:cubicBezTo>
                  <a:pt x="156" y="204"/>
                  <a:pt x="156" y="204"/>
                  <a:pt x="156" y="204"/>
                </a:cubicBezTo>
                <a:cubicBezTo>
                  <a:pt x="156" y="205"/>
                  <a:pt x="156" y="205"/>
                  <a:pt x="156" y="205"/>
                </a:cubicBezTo>
                <a:cubicBezTo>
                  <a:pt x="157" y="205"/>
                  <a:pt x="157" y="205"/>
                  <a:pt x="157" y="205"/>
                </a:cubicBezTo>
                <a:cubicBezTo>
                  <a:pt x="158" y="204"/>
                  <a:pt x="158" y="204"/>
                  <a:pt x="158" y="204"/>
                </a:cubicBezTo>
                <a:cubicBezTo>
                  <a:pt x="159" y="203"/>
                  <a:pt x="159" y="203"/>
                  <a:pt x="159" y="203"/>
                </a:cubicBezTo>
                <a:cubicBezTo>
                  <a:pt x="160" y="204"/>
                  <a:pt x="160" y="204"/>
                  <a:pt x="160" y="204"/>
                </a:cubicBezTo>
                <a:cubicBezTo>
                  <a:pt x="160" y="202"/>
                  <a:pt x="160" y="202"/>
                  <a:pt x="160" y="202"/>
                </a:cubicBezTo>
                <a:cubicBezTo>
                  <a:pt x="161" y="202"/>
                  <a:pt x="161" y="202"/>
                  <a:pt x="161" y="202"/>
                </a:cubicBezTo>
                <a:cubicBezTo>
                  <a:pt x="161" y="203"/>
                  <a:pt x="161" y="203"/>
                  <a:pt x="161" y="203"/>
                </a:cubicBezTo>
                <a:cubicBezTo>
                  <a:pt x="162" y="203"/>
                  <a:pt x="162" y="203"/>
                  <a:pt x="162" y="203"/>
                </a:cubicBezTo>
                <a:cubicBezTo>
                  <a:pt x="164" y="201"/>
                  <a:pt x="164" y="201"/>
                  <a:pt x="164" y="201"/>
                </a:cubicBezTo>
                <a:cubicBezTo>
                  <a:pt x="164" y="200"/>
                  <a:pt x="164" y="200"/>
                  <a:pt x="164" y="200"/>
                </a:cubicBezTo>
                <a:cubicBezTo>
                  <a:pt x="163" y="200"/>
                  <a:pt x="163" y="200"/>
                  <a:pt x="163" y="200"/>
                </a:cubicBezTo>
                <a:cubicBezTo>
                  <a:pt x="162" y="200"/>
                  <a:pt x="162" y="200"/>
                  <a:pt x="162" y="200"/>
                </a:cubicBezTo>
                <a:cubicBezTo>
                  <a:pt x="162" y="200"/>
                  <a:pt x="162" y="200"/>
                  <a:pt x="162" y="200"/>
                </a:cubicBezTo>
                <a:cubicBezTo>
                  <a:pt x="164" y="199"/>
                  <a:pt x="164" y="199"/>
                  <a:pt x="164" y="199"/>
                </a:cubicBezTo>
                <a:cubicBezTo>
                  <a:pt x="165" y="198"/>
                  <a:pt x="165" y="198"/>
                  <a:pt x="165" y="198"/>
                </a:cubicBezTo>
                <a:cubicBezTo>
                  <a:pt x="166" y="197"/>
                  <a:pt x="166" y="197"/>
                  <a:pt x="166" y="197"/>
                </a:cubicBezTo>
                <a:cubicBezTo>
                  <a:pt x="166" y="197"/>
                  <a:pt x="166" y="197"/>
                  <a:pt x="166" y="197"/>
                </a:cubicBezTo>
                <a:cubicBezTo>
                  <a:pt x="167" y="198"/>
                  <a:pt x="167" y="198"/>
                  <a:pt x="167" y="198"/>
                </a:cubicBezTo>
                <a:cubicBezTo>
                  <a:pt x="168" y="196"/>
                  <a:pt x="168" y="196"/>
                  <a:pt x="168" y="196"/>
                </a:cubicBezTo>
                <a:cubicBezTo>
                  <a:pt x="169" y="196"/>
                  <a:pt x="169" y="196"/>
                  <a:pt x="169" y="196"/>
                </a:cubicBezTo>
                <a:cubicBezTo>
                  <a:pt x="170" y="195"/>
                  <a:pt x="170" y="195"/>
                  <a:pt x="170" y="195"/>
                </a:cubicBezTo>
                <a:cubicBezTo>
                  <a:pt x="170" y="195"/>
                  <a:pt x="170" y="195"/>
                  <a:pt x="170" y="195"/>
                </a:cubicBezTo>
                <a:cubicBezTo>
                  <a:pt x="171" y="194"/>
                  <a:pt x="171" y="194"/>
                  <a:pt x="171" y="194"/>
                </a:cubicBezTo>
                <a:cubicBezTo>
                  <a:pt x="172" y="194"/>
                  <a:pt x="172" y="194"/>
                  <a:pt x="172" y="194"/>
                </a:cubicBezTo>
                <a:cubicBezTo>
                  <a:pt x="172" y="195"/>
                  <a:pt x="172" y="195"/>
                  <a:pt x="172" y="195"/>
                </a:cubicBezTo>
                <a:cubicBezTo>
                  <a:pt x="173" y="195"/>
                  <a:pt x="173" y="195"/>
                  <a:pt x="173" y="195"/>
                </a:cubicBezTo>
                <a:cubicBezTo>
                  <a:pt x="173" y="194"/>
                  <a:pt x="173" y="194"/>
                  <a:pt x="173" y="194"/>
                </a:cubicBezTo>
                <a:cubicBezTo>
                  <a:pt x="174" y="194"/>
                  <a:pt x="174" y="194"/>
                  <a:pt x="174" y="194"/>
                </a:cubicBezTo>
                <a:cubicBezTo>
                  <a:pt x="174" y="194"/>
                  <a:pt x="174" y="194"/>
                  <a:pt x="174" y="194"/>
                </a:cubicBezTo>
                <a:cubicBezTo>
                  <a:pt x="174" y="193"/>
                  <a:pt x="174" y="193"/>
                  <a:pt x="174" y="193"/>
                </a:cubicBezTo>
                <a:cubicBezTo>
                  <a:pt x="175" y="193"/>
                  <a:pt x="175" y="193"/>
                  <a:pt x="175" y="193"/>
                </a:cubicBezTo>
                <a:cubicBezTo>
                  <a:pt x="176" y="192"/>
                  <a:pt x="176" y="192"/>
                  <a:pt x="176" y="192"/>
                </a:cubicBezTo>
                <a:cubicBezTo>
                  <a:pt x="176" y="192"/>
                  <a:pt x="176" y="192"/>
                  <a:pt x="176" y="192"/>
                </a:cubicBezTo>
                <a:cubicBezTo>
                  <a:pt x="178" y="193"/>
                  <a:pt x="178" y="193"/>
                  <a:pt x="178" y="193"/>
                </a:cubicBezTo>
                <a:cubicBezTo>
                  <a:pt x="178" y="191"/>
                  <a:pt x="178" y="191"/>
                  <a:pt x="178" y="191"/>
                </a:cubicBezTo>
                <a:cubicBezTo>
                  <a:pt x="179" y="191"/>
                  <a:pt x="179" y="191"/>
                  <a:pt x="179" y="191"/>
                </a:cubicBezTo>
                <a:cubicBezTo>
                  <a:pt x="179" y="192"/>
                  <a:pt x="179" y="192"/>
                  <a:pt x="179" y="192"/>
                </a:cubicBezTo>
                <a:cubicBezTo>
                  <a:pt x="179" y="192"/>
                  <a:pt x="179" y="192"/>
                  <a:pt x="179" y="192"/>
                </a:cubicBezTo>
                <a:cubicBezTo>
                  <a:pt x="180" y="191"/>
                  <a:pt x="180" y="191"/>
                  <a:pt x="180" y="191"/>
                </a:cubicBezTo>
                <a:cubicBezTo>
                  <a:pt x="181" y="192"/>
                  <a:pt x="181" y="192"/>
                  <a:pt x="181" y="192"/>
                </a:cubicBezTo>
                <a:cubicBezTo>
                  <a:pt x="181" y="192"/>
                  <a:pt x="181" y="192"/>
                  <a:pt x="181" y="192"/>
                </a:cubicBezTo>
                <a:cubicBezTo>
                  <a:pt x="182" y="190"/>
                  <a:pt x="182" y="190"/>
                  <a:pt x="182" y="190"/>
                </a:cubicBezTo>
                <a:cubicBezTo>
                  <a:pt x="181" y="190"/>
                  <a:pt x="181" y="190"/>
                  <a:pt x="181" y="190"/>
                </a:cubicBezTo>
                <a:cubicBezTo>
                  <a:pt x="180" y="190"/>
                  <a:pt x="180" y="190"/>
                  <a:pt x="180" y="190"/>
                </a:cubicBezTo>
                <a:cubicBezTo>
                  <a:pt x="181" y="189"/>
                  <a:pt x="181" y="189"/>
                  <a:pt x="181" y="189"/>
                </a:cubicBezTo>
                <a:cubicBezTo>
                  <a:pt x="182" y="188"/>
                  <a:pt x="182" y="188"/>
                  <a:pt x="182" y="188"/>
                </a:cubicBezTo>
                <a:cubicBezTo>
                  <a:pt x="183" y="188"/>
                  <a:pt x="183" y="188"/>
                  <a:pt x="183" y="188"/>
                </a:cubicBezTo>
                <a:cubicBezTo>
                  <a:pt x="183" y="189"/>
                  <a:pt x="183" y="189"/>
                  <a:pt x="183" y="189"/>
                </a:cubicBezTo>
                <a:cubicBezTo>
                  <a:pt x="183" y="188"/>
                  <a:pt x="183" y="188"/>
                  <a:pt x="183" y="188"/>
                </a:cubicBezTo>
                <a:cubicBezTo>
                  <a:pt x="183" y="188"/>
                  <a:pt x="183" y="188"/>
                  <a:pt x="183" y="188"/>
                </a:cubicBezTo>
                <a:cubicBezTo>
                  <a:pt x="182" y="187"/>
                  <a:pt x="182" y="187"/>
                  <a:pt x="182" y="187"/>
                </a:cubicBezTo>
                <a:cubicBezTo>
                  <a:pt x="183" y="187"/>
                  <a:pt x="183" y="187"/>
                  <a:pt x="183" y="187"/>
                </a:cubicBezTo>
                <a:cubicBezTo>
                  <a:pt x="184" y="187"/>
                  <a:pt x="184" y="187"/>
                  <a:pt x="184" y="187"/>
                </a:cubicBezTo>
                <a:cubicBezTo>
                  <a:pt x="185" y="186"/>
                  <a:pt x="185" y="186"/>
                  <a:pt x="185" y="186"/>
                </a:cubicBezTo>
                <a:cubicBezTo>
                  <a:pt x="187" y="186"/>
                  <a:pt x="187" y="186"/>
                  <a:pt x="187" y="186"/>
                </a:cubicBezTo>
                <a:cubicBezTo>
                  <a:pt x="188" y="185"/>
                  <a:pt x="188" y="185"/>
                  <a:pt x="188" y="185"/>
                </a:cubicBezTo>
                <a:cubicBezTo>
                  <a:pt x="189" y="185"/>
                  <a:pt x="189" y="185"/>
                  <a:pt x="189" y="185"/>
                </a:cubicBezTo>
                <a:cubicBezTo>
                  <a:pt x="190" y="183"/>
                  <a:pt x="190" y="183"/>
                  <a:pt x="190" y="183"/>
                </a:cubicBezTo>
                <a:cubicBezTo>
                  <a:pt x="190" y="181"/>
                  <a:pt x="190" y="181"/>
                  <a:pt x="190" y="181"/>
                </a:cubicBezTo>
                <a:cubicBezTo>
                  <a:pt x="190" y="181"/>
                  <a:pt x="190" y="181"/>
                  <a:pt x="190" y="181"/>
                </a:cubicBezTo>
                <a:cubicBezTo>
                  <a:pt x="190" y="181"/>
                  <a:pt x="190" y="181"/>
                  <a:pt x="190" y="181"/>
                </a:cubicBezTo>
                <a:cubicBezTo>
                  <a:pt x="189" y="180"/>
                  <a:pt x="189" y="180"/>
                  <a:pt x="189" y="180"/>
                </a:cubicBezTo>
                <a:cubicBezTo>
                  <a:pt x="188" y="179"/>
                  <a:pt x="188" y="179"/>
                  <a:pt x="188" y="179"/>
                </a:cubicBezTo>
                <a:cubicBezTo>
                  <a:pt x="187" y="179"/>
                  <a:pt x="187" y="179"/>
                  <a:pt x="187" y="179"/>
                </a:cubicBezTo>
                <a:cubicBezTo>
                  <a:pt x="187" y="178"/>
                  <a:pt x="187" y="178"/>
                  <a:pt x="187" y="178"/>
                </a:cubicBezTo>
                <a:cubicBezTo>
                  <a:pt x="187" y="177"/>
                  <a:pt x="187" y="177"/>
                  <a:pt x="187" y="177"/>
                </a:cubicBezTo>
                <a:cubicBezTo>
                  <a:pt x="189" y="176"/>
                  <a:pt x="189" y="176"/>
                  <a:pt x="189" y="176"/>
                </a:cubicBezTo>
                <a:cubicBezTo>
                  <a:pt x="189" y="176"/>
                  <a:pt x="189" y="176"/>
                  <a:pt x="189" y="176"/>
                </a:cubicBezTo>
                <a:cubicBezTo>
                  <a:pt x="190" y="175"/>
                  <a:pt x="190" y="175"/>
                  <a:pt x="190" y="175"/>
                </a:cubicBezTo>
                <a:cubicBezTo>
                  <a:pt x="190" y="175"/>
                  <a:pt x="190" y="175"/>
                  <a:pt x="190" y="175"/>
                </a:cubicBezTo>
                <a:cubicBezTo>
                  <a:pt x="190" y="175"/>
                  <a:pt x="190" y="175"/>
                  <a:pt x="190" y="175"/>
                </a:cubicBezTo>
                <a:cubicBezTo>
                  <a:pt x="190" y="174"/>
                  <a:pt x="190" y="174"/>
                  <a:pt x="190" y="174"/>
                </a:cubicBezTo>
                <a:cubicBezTo>
                  <a:pt x="192" y="174"/>
                  <a:pt x="192" y="174"/>
                  <a:pt x="192" y="174"/>
                </a:cubicBezTo>
                <a:cubicBezTo>
                  <a:pt x="193" y="173"/>
                  <a:pt x="193" y="173"/>
                  <a:pt x="193" y="173"/>
                </a:cubicBezTo>
                <a:cubicBezTo>
                  <a:pt x="194" y="174"/>
                  <a:pt x="194" y="174"/>
                  <a:pt x="194" y="174"/>
                </a:cubicBezTo>
                <a:cubicBezTo>
                  <a:pt x="196" y="173"/>
                  <a:pt x="196" y="173"/>
                  <a:pt x="196" y="173"/>
                </a:cubicBezTo>
                <a:cubicBezTo>
                  <a:pt x="196" y="174"/>
                  <a:pt x="196" y="174"/>
                  <a:pt x="196" y="174"/>
                </a:cubicBezTo>
                <a:cubicBezTo>
                  <a:pt x="196" y="175"/>
                  <a:pt x="196" y="175"/>
                  <a:pt x="196" y="175"/>
                </a:cubicBezTo>
                <a:cubicBezTo>
                  <a:pt x="197" y="175"/>
                  <a:pt x="197" y="175"/>
                  <a:pt x="197" y="175"/>
                </a:cubicBezTo>
                <a:cubicBezTo>
                  <a:pt x="198" y="173"/>
                  <a:pt x="198" y="173"/>
                  <a:pt x="198" y="173"/>
                </a:cubicBezTo>
                <a:cubicBezTo>
                  <a:pt x="198" y="173"/>
                  <a:pt x="198" y="173"/>
                  <a:pt x="198" y="173"/>
                </a:cubicBezTo>
                <a:cubicBezTo>
                  <a:pt x="197" y="173"/>
                  <a:pt x="197" y="173"/>
                  <a:pt x="197" y="173"/>
                </a:cubicBezTo>
                <a:cubicBezTo>
                  <a:pt x="197" y="172"/>
                  <a:pt x="197" y="172"/>
                  <a:pt x="197" y="172"/>
                </a:cubicBezTo>
                <a:cubicBezTo>
                  <a:pt x="198" y="172"/>
                  <a:pt x="198" y="172"/>
                  <a:pt x="198" y="172"/>
                </a:cubicBezTo>
                <a:cubicBezTo>
                  <a:pt x="199" y="172"/>
                  <a:pt x="199" y="172"/>
                  <a:pt x="199" y="172"/>
                </a:cubicBezTo>
                <a:cubicBezTo>
                  <a:pt x="201" y="172"/>
                  <a:pt x="201" y="172"/>
                  <a:pt x="201" y="172"/>
                </a:cubicBezTo>
                <a:cubicBezTo>
                  <a:pt x="201" y="170"/>
                  <a:pt x="201" y="170"/>
                  <a:pt x="201" y="170"/>
                </a:cubicBezTo>
                <a:cubicBezTo>
                  <a:pt x="201" y="168"/>
                  <a:pt x="201" y="168"/>
                  <a:pt x="201" y="168"/>
                </a:cubicBezTo>
                <a:cubicBezTo>
                  <a:pt x="199" y="167"/>
                  <a:pt x="199" y="167"/>
                  <a:pt x="199" y="167"/>
                </a:cubicBezTo>
                <a:cubicBezTo>
                  <a:pt x="198" y="167"/>
                  <a:pt x="198" y="167"/>
                  <a:pt x="198" y="167"/>
                </a:cubicBezTo>
                <a:cubicBezTo>
                  <a:pt x="198" y="168"/>
                  <a:pt x="198" y="168"/>
                  <a:pt x="198" y="168"/>
                </a:cubicBezTo>
                <a:cubicBezTo>
                  <a:pt x="198" y="168"/>
                  <a:pt x="198" y="168"/>
                  <a:pt x="198" y="168"/>
                </a:cubicBezTo>
                <a:cubicBezTo>
                  <a:pt x="199" y="167"/>
                  <a:pt x="199" y="167"/>
                  <a:pt x="199" y="167"/>
                </a:cubicBezTo>
                <a:cubicBezTo>
                  <a:pt x="200" y="167"/>
                  <a:pt x="200" y="167"/>
                  <a:pt x="200" y="167"/>
                </a:cubicBezTo>
                <a:cubicBezTo>
                  <a:pt x="201" y="168"/>
                  <a:pt x="201" y="168"/>
                  <a:pt x="201" y="168"/>
                </a:cubicBezTo>
                <a:cubicBezTo>
                  <a:pt x="203" y="167"/>
                  <a:pt x="203" y="167"/>
                  <a:pt x="203" y="167"/>
                </a:cubicBezTo>
                <a:cubicBezTo>
                  <a:pt x="204" y="166"/>
                  <a:pt x="204" y="166"/>
                  <a:pt x="204" y="166"/>
                </a:cubicBezTo>
                <a:cubicBezTo>
                  <a:pt x="204" y="166"/>
                  <a:pt x="204" y="166"/>
                  <a:pt x="204" y="166"/>
                </a:cubicBezTo>
                <a:cubicBezTo>
                  <a:pt x="207" y="164"/>
                  <a:pt x="207" y="164"/>
                  <a:pt x="207" y="164"/>
                </a:cubicBezTo>
                <a:cubicBezTo>
                  <a:pt x="208" y="163"/>
                  <a:pt x="208" y="163"/>
                  <a:pt x="208" y="163"/>
                </a:cubicBezTo>
                <a:cubicBezTo>
                  <a:pt x="210" y="163"/>
                  <a:pt x="210" y="163"/>
                  <a:pt x="210" y="163"/>
                </a:cubicBezTo>
                <a:cubicBezTo>
                  <a:pt x="210" y="162"/>
                  <a:pt x="210" y="162"/>
                  <a:pt x="210" y="162"/>
                </a:cubicBezTo>
                <a:cubicBezTo>
                  <a:pt x="210" y="161"/>
                  <a:pt x="210" y="161"/>
                  <a:pt x="210" y="161"/>
                </a:cubicBezTo>
                <a:cubicBezTo>
                  <a:pt x="213" y="159"/>
                  <a:pt x="213" y="159"/>
                  <a:pt x="213" y="159"/>
                </a:cubicBezTo>
                <a:cubicBezTo>
                  <a:pt x="215" y="159"/>
                  <a:pt x="215" y="159"/>
                  <a:pt x="215" y="159"/>
                </a:cubicBezTo>
                <a:cubicBezTo>
                  <a:pt x="218" y="157"/>
                  <a:pt x="218" y="157"/>
                  <a:pt x="218" y="157"/>
                </a:cubicBezTo>
                <a:cubicBezTo>
                  <a:pt x="220" y="157"/>
                  <a:pt x="220" y="157"/>
                  <a:pt x="220" y="157"/>
                </a:cubicBezTo>
                <a:cubicBezTo>
                  <a:pt x="222" y="154"/>
                  <a:pt x="222" y="154"/>
                  <a:pt x="222" y="154"/>
                </a:cubicBezTo>
                <a:cubicBezTo>
                  <a:pt x="221" y="156"/>
                  <a:pt x="221" y="156"/>
                  <a:pt x="221" y="156"/>
                </a:cubicBezTo>
                <a:cubicBezTo>
                  <a:pt x="221" y="157"/>
                  <a:pt x="221" y="157"/>
                  <a:pt x="221" y="157"/>
                </a:cubicBezTo>
                <a:cubicBezTo>
                  <a:pt x="222" y="157"/>
                  <a:pt x="222" y="157"/>
                  <a:pt x="222" y="157"/>
                </a:cubicBezTo>
                <a:cubicBezTo>
                  <a:pt x="223" y="158"/>
                  <a:pt x="223" y="158"/>
                  <a:pt x="223" y="158"/>
                </a:cubicBezTo>
                <a:cubicBezTo>
                  <a:pt x="223" y="158"/>
                  <a:pt x="223" y="158"/>
                  <a:pt x="223" y="158"/>
                </a:cubicBezTo>
                <a:cubicBezTo>
                  <a:pt x="225" y="156"/>
                  <a:pt x="225" y="156"/>
                  <a:pt x="225" y="156"/>
                </a:cubicBezTo>
                <a:cubicBezTo>
                  <a:pt x="226" y="156"/>
                  <a:pt x="226" y="156"/>
                  <a:pt x="226" y="156"/>
                </a:cubicBezTo>
                <a:cubicBezTo>
                  <a:pt x="228" y="155"/>
                  <a:pt x="228" y="155"/>
                  <a:pt x="228" y="155"/>
                </a:cubicBezTo>
                <a:cubicBezTo>
                  <a:pt x="229" y="154"/>
                  <a:pt x="229" y="154"/>
                  <a:pt x="229" y="154"/>
                </a:cubicBezTo>
                <a:cubicBezTo>
                  <a:pt x="229" y="156"/>
                  <a:pt x="229" y="156"/>
                  <a:pt x="229" y="156"/>
                </a:cubicBezTo>
                <a:cubicBezTo>
                  <a:pt x="227" y="157"/>
                  <a:pt x="227" y="157"/>
                  <a:pt x="227" y="157"/>
                </a:cubicBezTo>
                <a:cubicBezTo>
                  <a:pt x="225" y="157"/>
                  <a:pt x="225" y="157"/>
                  <a:pt x="225" y="157"/>
                </a:cubicBezTo>
                <a:cubicBezTo>
                  <a:pt x="222" y="160"/>
                  <a:pt x="222" y="160"/>
                  <a:pt x="222" y="160"/>
                </a:cubicBezTo>
                <a:cubicBezTo>
                  <a:pt x="222" y="161"/>
                  <a:pt x="222" y="161"/>
                  <a:pt x="222" y="161"/>
                </a:cubicBezTo>
                <a:cubicBezTo>
                  <a:pt x="224" y="163"/>
                  <a:pt x="224" y="163"/>
                  <a:pt x="224" y="163"/>
                </a:cubicBezTo>
                <a:cubicBezTo>
                  <a:pt x="224" y="164"/>
                  <a:pt x="224" y="164"/>
                  <a:pt x="224" y="164"/>
                </a:cubicBezTo>
                <a:cubicBezTo>
                  <a:pt x="223" y="163"/>
                  <a:pt x="223" y="163"/>
                  <a:pt x="223" y="163"/>
                </a:cubicBezTo>
                <a:cubicBezTo>
                  <a:pt x="222" y="163"/>
                  <a:pt x="222" y="163"/>
                  <a:pt x="222" y="163"/>
                </a:cubicBezTo>
                <a:cubicBezTo>
                  <a:pt x="221" y="163"/>
                  <a:pt x="221" y="163"/>
                  <a:pt x="221" y="163"/>
                </a:cubicBezTo>
                <a:cubicBezTo>
                  <a:pt x="220" y="163"/>
                  <a:pt x="220" y="163"/>
                  <a:pt x="220" y="163"/>
                </a:cubicBezTo>
                <a:cubicBezTo>
                  <a:pt x="219" y="162"/>
                  <a:pt x="219" y="162"/>
                  <a:pt x="219" y="162"/>
                </a:cubicBezTo>
                <a:cubicBezTo>
                  <a:pt x="219" y="161"/>
                  <a:pt x="219" y="161"/>
                  <a:pt x="219" y="161"/>
                </a:cubicBezTo>
                <a:cubicBezTo>
                  <a:pt x="217" y="162"/>
                  <a:pt x="217" y="162"/>
                  <a:pt x="217" y="162"/>
                </a:cubicBezTo>
                <a:cubicBezTo>
                  <a:pt x="216" y="162"/>
                  <a:pt x="216" y="162"/>
                  <a:pt x="216" y="162"/>
                </a:cubicBezTo>
                <a:cubicBezTo>
                  <a:pt x="214" y="163"/>
                  <a:pt x="214" y="163"/>
                  <a:pt x="214" y="163"/>
                </a:cubicBezTo>
                <a:cubicBezTo>
                  <a:pt x="212" y="163"/>
                  <a:pt x="212" y="163"/>
                  <a:pt x="212" y="163"/>
                </a:cubicBezTo>
                <a:cubicBezTo>
                  <a:pt x="211" y="164"/>
                  <a:pt x="211" y="164"/>
                  <a:pt x="211" y="164"/>
                </a:cubicBezTo>
                <a:cubicBezTo>
                  <a:pt x="211" y="166"/>
                  <a:pt x="211" y="166"/>
                  <a:pt x="211" y="166"/>
                </a:cubicBezTo>
                <a:cubicBezTo>
                  <a:pt x="211" y="166"/>
                  <a:pt x="211" y="166"/>
                  <a:pt x="211" y="166"/>
                </a:cubicBezTo>
                <a:cubicBezTo>
                  <a:pt x="210" y="168"/>
                  <a:pt x="210" y="168"/>
                  <a:pt x="210" y="168"/>
                </a:cubicBezTo>
                <a:cubicBezTo>
                  <a:pt x="209" y="169"/>
                  <a:pt x="209" y="169"/>
                  <a:pt x="209" y="169"/>
                </a:cubicBezTo>
                <a:cubicBezTo>
                  <a:pt x="208" y="171"/>
                  <a:pt x="208" y="171"/>
                  <a:pt x="208" y="171"/>
                </a:cubicBezTo>
                <a:cubicBezTo>
                  <a:pt x="204" y="174"/>
                  <a:pt x="204" y="174"/>
                  <a:pt x="204" y="174"/>
                </a:cubicBezTo>
                <a:cubicBezTo>
                  <a:pt x="203" y="175"/>
                  <a:pt x="203" y="175"/>
                  <a:pt x="203" y="175"/>
                </a:cubicBezTo>
                <a:cubicBezTo>
                  <a:pt x="203" y="176"/>
                  <a:pt x="203" y="176"/>
                  <a:pt x="203" y="176"/>
                </a:cubicBezTo>
                <a:cubicBezTo>
                  <a:pt x="205" y="178"/>
                  <a:pt x="205" y="178"/>
                  <a:pt x="205" y="178"/>
                </a:cubicBezTo>
                <a:cubicBezTo>
                  <a:pt x="205" y="177"/>
                  <a:pt x="205" y="177"/>
                  <a:pt x="205" y="177"/>
                </a:cubicBezTo>
                <a:cubicBezTo>
                  <a:pt x="206" y="177"/>
                  <a:pt x="206" y="177"/>
                  <a:pt x="206" y="177"/>
                </a:cubicBezTo>
                <a:cubicBezTo>
                  <a:pt x="207" y="176"/>
                  <a:pt x="207" y="176"/>
                  <a:pt x="207" y="176"/>
                </a:cubicBezTo>
                <a:cubicBezTo>
                  <a:pt x="208" y="176"/>
                  <a:pt x="208" y="176"/>
                  <a:pt x="208" y="176"/>
                </a:cubicBezTo>
                <a:cubicBezTo>
                  <a:pt x="208" y="177"/>
                  <a:pt x="208" y="177"/>
                  <a:pt x="208" y="177"/>
                </a:cubicBezTo>
                <a:cubicBezTo>
                  <a:pt x="206" y="178"/>
                  <a:pt x="206" y="178"/>
                  <a:pt x="206" y="178"/>
                </a:cubicBezTo>
                <a:cubicBezTo>
                  <a:pt x="205" y="179"/>
                  <a:pt x="205" y="179"/>
                  <a:pt x="205" y="179"/>
                </a:cubicBezTo>
                <a:cubicBezTo>
                  <a:pt x="204" y="180"/>
                  <a:pt x="204" y="180"/>
                  <a:pt x="204" y="180"/>
                </a:cubicBezTo>
                <a:cubicBezTo>
                  <a:pt x="203" y="179"/>
                  <a:pt x="203" y="179"/>
                  <a:pt x="203" y="179"/>
                </a:cubicBezTo>
                <a:cubicBezTo>
                  <a:pt x="202" y="179"/>
                  <a:pt x="202" y="179"/>
                  <a:pt x="202" y="179"/>
                </a:cubicBezTo>
                <a:cubicBezTo>
                  <a:pt x="201" y="180"/>
                  <a:pt x="201" y="180"/>
                  <a:pt x="201" y="180"/>
                </a:cubicBezTo>
                <a:cubicBezTo>
                  <a:pt x="201" y="181"/>
                  <a:pt x="201" y="181"/>
                  <a:pt x="201" y="181"/>
                </a:cubicBezTo>
                <a:cubicBezTo>
                  <a:pt x="200" y="180"/>
                  <a:pt x="200" y="180"/>
                  <a:pt x="200" y="180"/>
                </a:cubicBezTo>
                <a:cubicBezTo>
                  <a:pt x="199" y="181"/>
                  <a:pt x="199" y="181"/>
                  <a:pt x="199" y="181"/>
                </a:cubicBezTo>
                <a:cubicBezTo>
                  <a:pt x="200" y="182"/>
                  <a:pt x="200" y="182"/>
                  <a:pt x="200" y="182"/>
                </a:cubicBezTo>
                <a:cubicBezTo>
                  <a:pt x="201" y="184"/>
                  <a:pt x="201" y="184"/>
                  <a:pt x="201" y="184"/>
                </a:cubicBezTo>
                <a:cubicBezTo>
                  <a:pt x="202" y="184"/>
                  <a:pt x="202" y="184"/>
                  <a:pt x="202" y="184"/>
                </a:cubicBezTo>
                <a:cubicBezTo>
                  <a:pt x="202" y="183"/>
                  <a:pt x="202" y="183"/>
                  <a:pt x="202" y="183"/>
                </a:cubicBezTo>
                <a:cubicBezTo>
                  <a:pt x="203" y="184"/>
                  <a:pt x="203" y="184"/>
                  <a:pt x="203" y="184"/>
                </a:cubicBezTo>
                <a:cubicBezTo>
                  <a:pt x="203" y="182"/>
                  <a:pt x="203" y="182"/>
                  <a:pt x="203" y="182"/>
                </a:cubicBezTo>
                <a:cubicBezTo>
                  <a:pt x="204" y="182"/>
                  <a:pt x="204" y="182"/>
                  <a:pt x="204" y="182"/>
                </a:cubicBezTo>
                <a:cubicBezTo>
                  <a:pt x="204" y="183"/>
                  <a:pt x="204" y="183"/>
                  <a:pt x="204" y="183"/>
                </a:cubicBezTo>
                <a:cubicBezTo>
                  <a:pt x="205" y="183"/>
                  <a:pt x="205" y="183"/>
                  <a:pt x="205" y="183"/>
                </a:cubicBezTo>
                <a:cubicBezTo>
                  <a:pt x="205" y="182"/>
                  <a:pt x="205" y="182"/>
                  <a:pt x="205" y="182"/>
                </a:cubicBezTo>
                <a:cubicBezTo>
                  <a:pt x="206" y="182"/>
                  <a:pt x="206" y="182"/>
                  <a:pt x="206" y="182"/>
                </a:cubicBezTo>
                <a:cubicBezTo>
                  <a:pt x="208" y="181"/>
                  <a:pt x="208" y="181"/>
                  <a:pt x="208" y="181"/>
                </a:cubicBezTo>
                <a:cubicBezTo>
                  <a:pt x="208" y="179"/>
                  <a:pt x="208" y="179"/>
                  <a:pt x="208" y="179"/>
                </a:cubicBezTo>
                <a:cubicBezTo>
                  <a:pt x="209" y="179"/>
                  <a:pt x="209" y="179"/>
                  <a:pt x="209" y="179"/>
                </a:cubicBezTo>
                <a:cubicBezTo>
                  <a:pt x="209" y="179"/>
                  <a:pt x="209" y="179"/>
                  <a:pt x="209" y="179"/>
                </a:cubicBezTo>
                <a:cubicBezTo>
                  <a:pt x="208" y="180"/>
                  <a:pt x="208" y="180"/>
                  <a:pt x="208" y="180"/>
                </a:cubicBezTo>
                <a:cubicBezTo>
                  <a:pt x="209" y="181"/>
                  <a:pt x="209" y="181"/>
                  <a:pt x="209" y="181"/>
                </a:cubicBezTo>
                <a:cubicBezTo>
                  <a:pt x="210" y="181"/>
                  <a:pt x="210" y="181"/>
                  <a:pt x="210" y="181"/>
                </a:cubicBezTo>
                <a:cubicBezTo>
                  <a:pt x="212" y="179"/>
                  <a:pt x="212" y="179"/>
                  <a:pt x="212" y="179"/>
                </a:cubicBezTo>
                <a:cubicBezTo>
                  <a:pt x="213" y="179"/>
                  <a:pt x="213" y="179"/>
                  <a:pt x="213" y="179"/>
                </a:cubicBezTo>
                <a:cubicBezTo>
                  <a:pt x="214" y="180"/>
                  <a:pt x="214" y="180"/>
                  <a:pt x="214" y="180"/>
                </a:cubicBezTo>
                <a:cubicBezTo>
                  <a:pt x="214" y="179"/>
                  <a:pt x="214" y="179"/>
                  <a:pt x="214" y="179"/>
                </a:cubicBezTo>
                <a:cubicBezTo>
                  <a:pt x="215" y="177"/>
                  <a:pt x="215" y="177"/>
                  <a:pt x="215" y="177"/>
                </a:cubicBezTo>
                <a:cubicBezTo>
                  <a:pt x="216" y="176"/>
                  <a:pt x="216" y="176"/>
                  <a:pt x="216" y="176"/>
                </a:cubicBezTo>
                <a:cubicBezTo>
                  <a:pt x="217" y="176"/>
                  <a:pt x="217" y="176"/>
                  <a:pt x="217" y="176"/>
                </a:cubicBezTo>
                <a:cubicBezTo>
                  <a:pt x="216" y="178"/>
                  <a:pt x="216" y="178"/>
                  <a:pt x="216" y="178"/>
                </a:cubicBezTo>
                <a:cubicBezTo>
                  <a:pt x="216" y="179"/>
                  <a:pt x="216" y="179"/>
                  <a:pt x="216" y="179"/>
                </a:cubicBezTo>
                <a:cubicBezTo>
                  <a:pt x="216" y="178"/>
                  <a:pt x="216" y="178"/>
                  <a:pt x="216" y="178"/>
                </a:cubicBezTo>
                <a:cubicBezTo>
                  <a:pt x="218" y="176"/>
                  <a:pt x="218" y="176"/>
                  <a:pt x="218" y="176"/>
                </a:cubicBezTo>
                <a:cubicBezTo>
                  <a:pt x="218" y="174"/>
                  <a:pt x="218" y="174"/>
                  <a:pt x="218" y="174"/>
                </a:cubicBezTo>
                <a:cubicBezTo>
                  <a:pt x="219" y="174"/>
                  <a:pt x="219" y="174"/>
                  <a:pt x="219" y="174"/>
                </a:cubicBezTo>
                <a:cubicBezTo>
                  <a:pt x="219" y="175"/>
                  <a:pt x="219" y="175"/>
                  <a:pt x="219" y="175"/>
                </a:cubicBezTo>
                <a:cubicBezTo>
                  <a:pt x="218" y="176"/>
                  <a:pt x="218" y="176"/>
                  <a:pt x="218" y="176"/>
                </a:cubicBezTo>
                <a:cubicBezTo>
                  <a:pt x="219" y="177"/>
                  <a:pt x="219" y="177"/>
                  <a:pt x="219" y="177"/>
                </a:cubicBezTo>
                <a:cubicBezTo>
                  <a:pt x="220" y="175"/>
                  <a:pt x="220" y="175"/>
                  <a:pt x="220" y="175"/>
                </a:cubicBezTo>
                <a:cubicBezTo>
                  <a:pt x="221" y="176"/>
                  <a:pt x="221" y="176"/>
                  <a:pt x="221" y="176"/>
                </a:cubicBezTo>
                <a:cubicBezTo>
                  <a:pt x="221" y="177"/>
                  <a:pt x="221" y="177"/>
                  <a:pt x="221" y="177"/>
                </a:cubicBezTo>
                <a:cubicBezTo>
                  <a:pt x="222" y="177"/>
                  <a:pt x="222" y="177"/>
                  <a:pt x="222" y="177"/>
                </a:cubicBezTo>
                <a:cubicBezTo>
                  <a:pt x="222" y="177"/>
                  <a:pt x="222" y="177"/>
                  <a:pt x="222" y="177"/>
                </a:cubicBezTo>
                <a:cubicBezTo>
                  <a:pt x="223" y="177"/>
                  <a:pt x="223" y="177"/>
                  <a:pt x="223" y="177"/>
                </a:cubicBezTo>
                <a:cubicBezTo>
                  <a:pt x="224" y="175"/>
                  <a:pt x="224" y="175"/>
                  <a:pt x="224" y="175"/>
                </a:cubicBezTo>
                <a:cubicBezTo>
                  <a:pt x="226" y="175"/>
                  <a:pt x="226" y="175"/>
                  <a:pt x="226" y="175"/>
                </a:cubicBezTo>
                <a:cubicBezTo>
                  <a:pt x="227" y="174"/>
                  <a:pt x="227" y="174"/>
                  <a:pt x="227" y="174"/>
                </a:cubicBezTo>
                <a:cubicBezTo>
                  <a:pt x="226" y="174"/>
                  <a:pt x="226" y="174"/>
                  <a:pt x="226" y="174"/>
                </a:cubicBezTo>
                <a:cubicBezTo>
                  <a:pt x="226" y="173"/>
                  <a:pt x="226" y="173"/>
                  <a:pt x="226" y="173"/>
                </a:cubicBezTo>
                <a:cubicBezTo>
                  <a:pt x="229" y="172"/>
                  <a:pt x="229" y="172"/>
                  <a:pt x="229" y="172"/>
                </a:cubicBezTo>
                <a:cubicBezTo>
                  <a:pt x="229" y="171"/>
                  <a:pt x="229" y="171"/>
                  <a:pt x="229" y="171"/>
                </a:cubicBezTo>
                <a:cubicBezTo>
                  <a:pt x="229" y="170"/>
                  <a:pt x="229" y="170"/>
                  <a:pt x="229" y="170"/>
                </a:cubicBezTo>
                <a:cubicBezTo>
                  <a:pt x="228" y="170"/>
                  <a:pt x="228" y="170"/>
                  <a:pt x="228" y="170"/>
                </a:cubicBezTo>
                <a:cubicBezTo>
                  <a:pt x="227" y="169"/>
                  <a:pt x="227" y="169"/>
                  <a:pt x="227" y="169"/>
                </a:cubicBezTo>
                <a:cubicBezTo>
                  <a:pt x="226" y="169"/>
                  <a:pt x="226" y="169"/>
                  <a:pt x="226" y="169"/>
                </a:cubicBezTo>
                <a:cubicBezTo>
                  <a:pt x="226" y="168"/>
                  <a:pt x="226" y="168"/>
                  <a:pt x="226" y="168"/>
                </a:cubicBezTo>
                <a:cubicBezTo>
                  <a:pt x="227" y="168"/>
                  <a:pt x="227" y="168"/>
                  <a:pt x="227" y="168"/>
                </a:cubicBezTo>
                <a:cubicBezTo>
                  <a:pt x="228" y="169"/>
                  <a:pt x="228" y="169"/>
                  <a:pt x="228" y="169"/>
                </a:cubicBezTo>
                <a:cubicBezTo>
                  <a:pt x="229" y="168"/>
                  <a:pt x="229" y="168"/>
                  <a:pt x="229" y="168"/>
                </a:cubicBezTo>
                <a:cubicBezTo>
                  <a:pt x="229" y="167"/>
                  <a:pt x="229" y="167"/>
                  <a:pt x="229" y="167"/>
                </a:cubicBezTo>
                <a:cubicBezTo>
                  <a:pt x="228" y="167"/>
                  <a:pt x="228" y="167"/>
                  <a:pt x="228" y="167"/>
                </a:cubicBezTo>
                <a:cubicBezTo>
                  <a:pt x="226" y="166"/>
                  <a:pt x="226" y="166"/>
                  <a:pt x="226" y="166"/>
                </a:cubicBezTo>
                <a:cubicBezTo>
                  <a:pt x="226" y="165"/>
                  <a:pt x="226" y="165"/>
                  <a:pt x="226" y="165"/>
                </a:cubicBezTo>
                <a:cubicBezTo>
                  <a:pt x="228" y="165"/>
                  <a:pt x="228" y="165"/>
                  <a:pt x="228" y="165"/>
                </a:cubicBezTo>
                <a:cubicBezTo>
                  <a:pt x="229" y="165"/>
                  <a:pt x="229" y="165"/>
                  <a:pt x="229" y="165"/>
                </a:cubicBezTo>
                <a:cubicBezTo>
                  <a:pt x="229" y="165"/>
                  <a:pt x="229" y="165"/>
                  <a:pt x="229" y="165"/>
                </a:cubicBezTo>
                <a:cubicBezTo>
                  <a:pt x="229" y="165"/>
                  <a:pt x="229" y="165"/>
                  <a:pt x="229" y="165"/>
                </a:cubicBezTo>
                <a:cubicBezTo>
                  <a:pt x="229" y="163"/>
                  <a:pt x="229" y="163"/>
                  <a:pt x="229" y="163"/>
                </a:cubicBezTo>
                <a:cubicBezTo>
                  <a:pt x="231" y="162"/>
                  <a:pt x="231" y="162"/>
                  <a:pt x="231" y="162"/>
                </a:cubicBezTo>
                <a:cubicBezTo>
                  <a:pt x="232" y="163"/>
                  <a:pt x="232" y="163"/>
                  <a:pt x="232" y="163"/>
                </a:cubicBezTo>
                <a:cubicBezTo>
                  <a:pt x="233" y="163"/>
                  <a:pt x="233" y="163"/>
                  <a:pt x="233" y="163"/>
                </a:cubicBezTo>
                <a:cubicBezTo>
                  <a:pt x="235" y="163"/>
                  <a:pt x="235" y="163"/>
                  <a:pt x="235" y="163"/>
                </a:cubicBezTo>
                <a:cubicBezTo>
                  <a:pt x="232" y="164"/>
                  <a:pt x="232" y="164"/>
                  <a:pt x="232" y="164"/>
                </a:cubicBezTo>
                <a:cubicBezTo>
                  <a:pt x="232" y="165"/>
                  <a:pt x="232" y="165"/>
                  <a:pt x="232" y="165"/>
                </a:cubicBezTo>
                <a:cubicBezTo>
                  <a:pt x="233" y="168"/>
                  <a:pt x="233" y="168"/>
                  <a:pt x="233" y="168"/>
                </a:cubicBezTo>
                <a:cubicBezTo>
                  <a:pt x="233" y="167"/>
                  <a:pt x="233" y="167"/>
                  <a:pt x="233" y="167"/>
                </a:cubicBezTo>
                <a:cubicBezTo>
                  <a:pt x="234" y="165"/>
                  <a:pt x="234" y="165"/>
                  <a:pt x="234" y="165"/>
                </a:cubicBezTo>
                <a:cubicBezTo>
                  <a:pt x="235" y="164"/>
                  <a:pt x="235" y="164"/>
                  <a:pt x="235" y="164"/>
                </a:cubicBezTo>
                <a:cubicBezTo>
                  <a:pt x="236" y="164"/>
                  <a:pt x="236" y="164"/>
                  <a:pt x="236" y="164"/>
                </a:cubicBezTo>
                <a:cubicBezTo>
                  <a:pt x="235" y="165"/>
                  <a:pt x="235" y="165"/>
                  <a:pt x="235" y="165"/>
                </a:cubicBezTo>
                <a:cubicBezTo>
                  <a:pt x="235" y="166"/>
                  <a:pt x="235" y="166"/>
                  <a:pt x="235" y="166"/>
                </a:cubicBezTo>
                <a:cubicBezTo>
                  <a:pt x="235" y="167"/>
                  <a:pt x="235" y="167"/>
                  <a:pt x="235" y="167"/>
                </a:cubicBezTo>
                <a:cubicBezTo>
                  <a:pt x="236" y="166"/>
                  <a:pt x="236" y="166"/>
                  <a:pt x="236" y="166"/>
                </a:cubicBezTo>
                <a:cubicBezTo>
                  <a:pt x="237" y="165"/>
                  <a:pt x="237" y="165"/>
                  <a:pt x="237" y="165"/>
                </a:cubicBezTo>
                <a:cubicBezTo>
                  <a:pt x="238" y="166"/>
                  <a:pt x="238" y="166"/>
                  <a:pt x="238" y="166"/>
                </a:cubicBezTo>
                <a:cubicBezTo>
                  <a:pt x="239" y="165"/>
                  <a:pt x="239" y="165"/>
                  <a:pt x="239" y="165"/>
                </a:cubicBezTo>
                <a:cubicBezTo>
                  <a:pt x="239" y="165"/>
                  <a:pt x="239" y="165"/>
                  <a:pt x="239" y="165"/>
                </a:cubicBezTo>
                <a:cubicBezTo>
                  <a:pt x="241" y="164"/>
                  <a:pt x="241" y="164"/>
                  <a:pt x="241" y="164"/>
                </a:cubicBezTo>
                <a:cubicBezTo>
                  <a:pt x="242" y="164"/>
                  <a:pt x="242" y="164"/>
                  <a:pt x="242" y="164"/>
                </a:cubicBezTo>
                <a:cubicBezTo>
                  <a:pt x="243" y="164"/>
                  <a:pt x="243" y="164"/>
                  <a:pt x="243" y="164"/>
                </a:cubicBezTo>
                <a:cubicBezTo>
                  <a:pt x="243" y="165"/>
                  <a:pt x="243" y="165"/>
                  <a:pt x="243" y="165"/>
                </a:cubicBezTo>
                <a:cubicBezTo>
                  <a:pt x="241" y="165"/>
                  <a:pt x="241" y="165"/>
                  <a:pt x="241" y="165"/>
                </a:cubicBezTo>
                <a:cubicBezTo>
                  <a:pt x="240" y="166"/>
                  <a:pt x="240" y="166"/>
                  <a:pt x="240" y="166"/>
                </a:cubicBezTo>
                <a:cubicBezTo>
                  <a:pt x="239" y="166"/>
                  <a:pt x="239" y="166"/>
                  <a:pt x="239" y="166"/>
                </a:cubicBezTo>
                <a:cubicBezTo>
                  <a:pt x="239" y="167"/>
                  <a:pt x="239" y="167"/>
                  <a:pt x="239" y="167"/>
                </a:cubicBezTo>
                <a:cubicBezTo>
                  <a:pt x="239" y="168"/>
                  <a:pt x="239" y="168"/>
                  <a:pt x="239" y="168"/>
                </a:cubicBezTo>
                <a:cubicBezTo>
                  <a:pt x="242" y="168"/>
                  <a:pt x="242" y="168"/>
                  <a:pt x="242" y="168"/>
                </a:cubicBezTo>
                <a:cubicBezTo>
                  <a:pt x="242" y="169"/>
                  <a:pt x="242" y="169"/>
                  <a:pt x="242" y="169"/>
                </a:cubicBezTo>
                <a:cubicBezTo>
                  <a:pt x="242" y="169"/>
                  <a:pt x="242" y="169"/>
                  <a:pt x="242" y="169"/>
                </a:cubicBezTo>
                <a:cubicBezTo>
                  <a:pt x="241" y="168"/>
                  <a:pt x="241" y="168"/>
                  <a:pt x="241" y="168"/>
                </a:cubicBezTo>
                <a:cubicBezTo>
                  <a:pt x="239" y="168"/>
                  <a:pt x="239" y="168"/>
                  <a:pt x="239" y="168"/>
                </a:cubicBezTo>
                <a:cubicBezTo>
                  <a:pt x="238" y="169"/>
                  <a:pt x="238" y="169"/>
                  <a:pt x="238" y="169"/>
                </a:cubicBezTo>
                <a:cubicBezTo>
                  <a:pt x="238" y="170"/>
                  <a:pt x="238" y="170"/>
                  <a:pt x="238" y="170"/>
                </a:cubicBezTo>
                <a:cubicBezTo>
                  <a:pt x="239" y="170"/>
                  <a:pt x="239" y="170"/>
                  <a:pt x="239" y="170"/>
                </a:cubicBezTo>
                <a:cubicBezTo>
                  <a:pt x="240" y="169"/>
                  <a:pt x="240" y="169"/>
                  <a:pt x="240" y="169"/>
                </a:cubicBezTo>
                <a:cubicBezTo>
                  <a:pt x="241" y="170"/>
                  <a:pt x="241" y="170"/>
                  <a:pt x="241" y="170"/>
                </a:cubicBezTo>
                <a:cubicBezTo>
                  <a:pt x="240" y="170"/>
                  <a:pt x="240" y="170"/>
                  <a:pt x="240" y="170"/>
                </a:cubicBezTo>
                <a:cubicBezTo>
                  <a:pt x="239" y="170"/>
                  <a:pt x="239" y="170"/>
                  <a:pt x="239" y="170"/>
                </a:cubicBezTo>
                <a:cubicBezTo>
                  <a:pt x="239" y="171"/>
                  <a:pt x="239" y="171"/>
                  <a:pt x="239" y="171"/>
                </a:cubicBezTo>
                <a:cubicBezTo>
                  <a:pt x="241" y="172"/>
                  <a:pt x="241" y="172"/>
                  <a:pt x="241" y="172"/>
                </a:cubicBezTo>
                <a:cubicBezTo>
                  <a:pt x="241" y="173"/>
                  <a:pt x="241" y="173"/>
                  <a:pt x="241" y="173"/>
                </a:cubicBezTo>
                <a:cubicBezTo>
                  <a:pt x="241" y="173"/>
                  <a:pt x="241" y="173"/>
                  <a:pt x="241" y="173"/>
                </a:cubicBezTo>
                <a:cubicBezTo>
                  <a:pt x="240" y="173"/>
                  <a:pt x="240" y="173"/>
                  <a:pt x="240" y="173"/>
                </a:cubicBezTo>
                <a:cubicBezTo>
                  <a:pt x="240" y="174"/>
                  <a:pt x="240" y="174"/>
                  <a:pt x="240" y="174"/>
                </a:cubicBezTo>
                <a:cubicBezTo>
                  <a:pt x="241" y="174"/>
                  <a:pt x="241" y="174"/>
                  <a:pt x="241" y="174"/>
                </a:cubicBezTo>
                <a:cubicBezTo>
                  <a:pt x="242" y="173"/>
                  <a:pt x="242" y="173"/>
                  <a:pt x="242" y="173"/>
                </a:cubicBezTo>
                <a:cubicBezTo>
                  <a:pt x="243" y="174"/>
                  <a:pt x="243" y="174"/>
                  <a:pt x="243" y="174"/>
                </a:cubicBezTo>
                <a:cubicBezTo>
                  <a:pt x="244" y="175"/>
                  <a:pt x="244" y="175"/>
                  <a:pt x="244" y="175"/>
                </a:cubicBezTo>
                <a:cubicBezTo>
                  <a:pt x="246" y="174"/>
                  <a:pt x="246" y="174"/>
                  <a:pt x="246" y="174"/>
                </a:cubicBezTo>
                <a:cubicBezTo>
                  <a:pt x="247" y="175"/>
                  <a:pt x="247" y="175"/>
                  <a:pt x="247" y="175"/>
                </a:cubicBezTo>
                <a:cubicBezTo>
                  <a:pt x="247" y="176"/>
                  <a:pt x="247" y="176"/>
                  <a:pt x="247" y="176"/>
                </a:cubicBezTo>
                <a:cubicBezTo>
                  <a:pt x="246" y="176"/>
                  <a:pt x="246" y="176"/>
                  <a:pt x="246" y="176"/>
                </a:cubicBezTo>
                <a:cubicBezTo>
                  <a:pt x="246" y="177"/>
                  <a:pt x="246" y="177"/>
                  <a:pt x="246" y="177"/>
                </a:cubicBezTo>
                <a:cubicBezTo>
                  <a:pt x="247" y="177"/>
                  <a:pt x="247" y="177"/>
                  <a:pt x="247" y="177"/>
                </a:cubicBezTo>
                <a:cubicBezTo>
                  <a:pt x="247" y="178"/>
                  <a:pt x="247" y="178"/>
                  <a:pt x="247" y="178"/>
                </a:cubicBezTo>
                <a:cubicBezTo>
                  <a:pt x="248" y="178"/>
                  <a:pt x="248" y="178"/>
                  <a:pt x="248" y="178"/>
                </a:cubicBezTo>
                <a:cubicBezTo>
                  <a:pt x="249" y="177"/>
                  <a:pt x="249" y="177"/>
                  <a:pt x="249" y="177"/>
                </a:cubicBezTo>
                <a:cubicBezTo>
                  <a:pt x="248" y="176"/>
                  <a:pt x="248" y="176"/>
                  <a:pt x="248" y="176"/>
                </a:cubicBezTo>
                <a:cubicBezTo>
                  <a:pt x="249" y="176"/>
                  <a:pt x="249" y="176"/>
                  <a:pt x="249" y="176"/>
                </a:cubicBezTo>
                <a:cubicBezTo>
                  <a:pt x="250" y="176"/>
                  <a:pt x="250" y="176"/>
                  <a:pt x="250" y="176"/>
                </a:cubicBezTo>
                <a:cubicBezTo>
                  <a:pt x="249" y="177"/>
                  <a:pt x="249" y="177"/>
                  <a:pt x="249" y="177"/>
                </a:cubicBezTo>
                <a:cubicBezTo>
                  <a:pt x="249" y="178"/>
                  <a:pt x="249" y="178"/>
                  <a:pt x="249" y="178"/>
                </a:cubicBezTo>
                <a:cubicBezTo>
                  <a:pt x="248" y="179"/>
                  <a:pt x="248" y="179"/>
                  <a:pt x="248" y="179"/>
                </a:cubicBezTo>
                <a:cubicBezTo>
                  <a:pt x="249" y="181"/>
                  <a:pt x="249" y="181"/>
                  <a:pt x="249" y="181"/>
                </a:cubicBezTo>
                <a:cubicBezTo>
                  <a:pt x="248" y="181"/>
                  <a:pt x="248" y="181"/>
                  <a:pt x="248" y="181"/>
                </a:cubicBezTo>
                <a:cubicBezTo>
                  <a:pt x="248" y="181"/>
                  <a:pt x="248" y="181"/>
                  <a:pt x="248" y="181"/>
                </a:cubicBezTo>
                <a:cubicBezTo>
                  <a:pt x="247" y="181"/>
                  <a:pt x="247" y="181"/>
                  <a:pt x="247" y="181"/>
                </a:cubicBezTo>
                <a:cubicBezTo>
                  <a:pt x="247" y="182"/>
                  <a:pt x="247" y="182"/>
                  <a:pt x="247" y="182"/>
                </a:cubicBezTo>
                <a:cubicBezTo>
                  <a:pt x="250" y="182"/>
                  <a:pt x="250" y="182"/>
                  <a:pt x="250" y="182"/>
                </a:cubicBezTo>
                <a:cubicBezTo>
                  <a:pt x="251" y="182"/>
                  <a:pt x="251" y="182"/>
                  <a:pt x="251" y="182"/>
                </a:cubicBezTo>
                <a:cubicBezTo>
                  <a:pt x="252" y="182"/>
                  <a:pt x="252" y="182"/>
                  <a:pt x="252" y="182"/>
                </a:cubicBezTo>
                <a:cubicBezTo>
                  <a:pt x="253" y="182"/>
                  <a:pt x="253" y="182"/>
                  <a:pt x="253" y="182"/>
                </a:cubicBezTo>
                <a:cubicBezTo>
                  <a:pt x="255" y="182"/>
                  <a:pt x="255" y="182"/>
                  <a:pt x="255" y="182"/>
                </a:cubicBezTo>
                <a:cubicBezTo>
                  <a:pt x="256" y="182"/>
                  <a:pt x="256" y="182"/>
                  <a:pt x="256" y="182"/>
                </a:cubicBezTo>
                <a:cubicBezTo>
                  <a:pt x="257" y="182"/>
                  <a:pt x="257" y="182"/>
                  <a:pt x="257" y="182"/>
                </a:cubicBezTo>
                <a:cubicBezTo>
                  <a:pt x="257" y="183"/>
                  <a:pt x="257" y="183"/>
                  <a:pt x="257" y="183"/>
                </a:cubicBezTo>
                <a:cubicBezTo>
                  <a:pt x="258" y="183"/>
                  <a:pt x="258" y="183"/>
                  <a:pt x="258" y="183"/>
                </a:cubicBezTo>
                <a:cubicBezTo>
                  <a:pt x="259" y="184"/>
                  <a:pt x="259" y="184"/>
                  <a:pt x="259" y="184"/>
                </a:cubicBezTo>
                <a:cubicBezTo>
                  <a:pt x="259" y="185"/>
                  <a:pt x="259" y="185"/>
                  <a:pt x="259" y="185"/>
                </a:cubicBezTo>
                <a:cubicBezTo>
                  <a:pt x="260" y="185"/>
                  <a:pt x="260" y="185"/>
                  <a:pt x="260" y="185"/>
                </a:cubicBezTo>
                <a:cubicBezTo>
                  <a:pt x="261" y="185"/>
                  <a:pt x="261" y="185"/>
                  <a:pt x="261" y="185"/>
                </a:cubicBezTo>
                <a:cubicBezTo>
                  <a:pt x="263" y="185"/>
                  <a:pt x="263" y="185"/>
                  <a:pt x="263" y="185"/>
                </a:cubicBezTo>
                <a:cubicBezTo>
                  <a:pt x="263" y="184"/>
                  <a:pt x="263" y="184"/>
                  <a:pt x="263" y="184"/>
                </a:cubicBezTo>
                <a:cubicBezTo>
                  <a:pt x="264" y="184"/>
                  <a:pt x="264" y="184"/>
                  <a:pt x="264" y="184"/>
                </a:cubicBezTo>
                <a:cubicBezTo>
                  <a:pt x="263" y="185"/>
                  <a:pt x="263" y="185"/>
                  <a:pt x="263" y="185"/>
                </a:cubicBezTo>
                <a:cubicBezTo>
                  <a:pt x="263" y="186"/>
                  <a:pt x="263" y="186"/>
                  <a:pt x="263" y="186"/>
                </a:cubicBezTo>
                <a:cubicBezTo>
                  <a:pt x="261" y="186"/>
                  <a:pt x="261" y="186"/>
                  <a:pt x="261" y="186"/>
                </a:cubicBezTo>
                <a:cubicBezTo>
                  <a:pt x="262" y="187"/>
                  <a:pt x="262" y="187"/>
                  <a:pt x="262" y="187"/>
                </a:cubicBezTo>
                <a:cubicBezTo>
                  <a:pt x="263" y="188"/>
                  <a:pt x="263" y="188"/>
                  <a:pt x="263" y="188"/>
                </a:cubicBezTo>
                <a:cubicBezTo>
                  <a:pt x="264" y="189"/>
                  <a:pt x="264" y="189"/>
                  <a:pt x="264" y="189"/>
                </a:cubicBezTo>
                <a:cubicBezTo>
                  <a:pt x="265" y="189"/>
                  <a:pt x="265" y="189"/>
                  <a:pt x="265" y="189"/>
                </a:cubicBezTo>
                <a:cubicBezTo>
                  <a:pt x="266" y="190"/>
                  <a:pt x="266" y="190"/>
                  <a:pt x="266" y="190"/>
                </a:cubicBezTo>
                <a:cubicBezTo>
                  <a:pt x="269" y="189"/>
                  <a:pt x="269" y="189"/>
                  <a:pt x="269" y="189"/>
                </a:cubicBezTo>
                <a:cubicBezTo>
                  <a:pt x="270" y="189"/>
                  <a:pt x="270" y="189"/>
                  <a:pt x="270" y="189"/>
                </a:cubicBezTo>
                <a:cubicBezTo>
                  <a:pt x="270" y="190"/>
                  <a:pt x="270" y="190"/>
                  <a:pt x="270" y="190"/>
                </a:cubicBezTo>
                <a:cubicBezTo>
                  <a:pt x="271" y="189"/>
                  <a:pt x="271" y="189"/>
                  <a:pt x="271" y="189"/>
                </a:cubicBezTo>
                <a:cubicBezTo>
                  <a:pt x="272" y="188"/>
                  <a:pt x="272" y="188"/>
                  <a:pt x="272" y="188"/>
                </a:cubicBezTo>
                <a:cubicBezTo>
                  <a:pt x="273" y="188"/>
                  <a:pt x="273" y="188"/>
                  <a:pt x="273" y="188"/>
                </a:cubicBezTo>
                <a:cubicBezTo>
                  <a:pt x="272" y="188"/>
                  <a:pt x="272" y="188"/>
                  <a:pt x="272" y="188"/>
                </a:cubicBezTo>
                <a:cubicBezTo>
                  <a:pt x="271" y="189"/>
                  <a:pt x="271" y="189"/>
                  <a:pt x="271" y="189"/>
                </a:cubicBezTo>
                <a:cubicBezTo>
                  <a:pt x="271" y="191"/>
                  <a:pt x="271" y="191"/>
                  <a:pt x="271" y="191"/>
                </a:cubicBezTo>
                <a:cubicBezTo>
                  <a:pt x="271" y="193"/>
                  <a:pt x="271" y="193"/>
                  <a:pt x="271" y="193"/>
                </a:cubicBezTo>
                <a:cubicBezTo>
                  <a:pt x="270" y="193"/>
                  <a:pt x="270" y="193"/>
                  <a:pt x="270" y="193"/>
                </a:cubicBezTo>
                <a:cubicBezTo>
                  <a:pt x="268" y="192"/>
                  <a:pt x="268" y="192"/>
                  <a:pt x="268" y="192"/>
                </a:cubicBezTo>
                <a:cubicBezTo>
                  <a:pt x="268" y="192"/>
                  <a:pt x="268" y="192"/>
                  <a:pt x="268" y="192"/>
                </a:cubicBezTo>
                <a:cubicBezTo>
                  <a:pt x="269" y="194"/>
                  <a:pt x="269" y="194"/>
                  <a:pt x="269" y="194"/>
                </a:cubicBezTo>
                <a:cubicBezTo>
                  <a:pt x="269" y="195"/>
                  <a:pt x="269" y="195"/>
                  <a:pt x="269" y="195"/>
                </a:cubicBezTo>
                <a:cubicBezTo>
                  <a:pt x="270" y="196"/>
                  <a:pt x="270" y="196"/>
                  <a:pt x="270" y="196"/>
                </a:cubicBezTo>
                <a:cubicBezTo>
                  <a:pt x="271" y="195"/>
                  <a:pt x="271" y="195"/>
                  <a:pt x="271" y="195"/>
                </a:cubicBezTo>
                <a:cubicBezTo>
                  <a:pt x="272" y="196"/>
                  <a:pt x="272" y="196"/>
                  <a:pt x="272" y="196"/>
                </a:cubicBezTo>
                <a:cubicBezTo>
                  <a:pt x="271" y="197"/>
                  <a:pt x="271" y="197"/>
                  <a:pt x="271" y="197"/>
                </a:cubicBezTo>
                <a:cubicBezTo>
                  <a:pt x="271" y="197"/>
                  <a:pt x="271" y="197"/>
                  <a:pt x="271" y="197"/>
                </a:cubicBezTo>
                <a:cubicBezTo>
                  <a:pt x="271" y="197"/>
                  <a:pt x="271" y="197"/>
                  <a:pt x="271" y="197"/>
                </a:cubicBezTo>
                <a:cubicBezTo>
                  <a:pt x="272" y="199"/>
                  <a:pt x="272" y="199"/>
                  <a:pt x="272" y="199"/>
                </a:cubicBezTo>
                <a:cubicBezTo>
                  <a:pt x="273" y="198"/>
                  <a:pt x="273" y="198"/>
                  <a:pt x="273" y="198"/>
                </a:cubicBezTo>
                <a:cubicBezTo>
                  <a:pt x="274" y="199"/>
                  <a:pt x="274" y="199"/>
                  <a:pt x="274" y="199"/>
                </a:cubicBezTo>
                <a:cubicBezTo>
                  <a:pt x="275" y="197"/>
                  <a:pt x="275" y="197"/>
                  <a:pt x="275" y="197"/>
                </a:cubicBezTo>
                <a:cubicBezTo>
                  <a:pt x="276" y="195"/>
                  <a:pt x="276" y="195"/>
                  <a:pt x="276" y="195"/>
                </a:cubicBezTo>
                <a:cubicBezTo>
                  <a:pt x="276" y="197"/>
                  <a:pt x="276" y="197"/>
                  <a:pt x="276" y="197"/>
                </a:cubicBezTo>
                <a:cubicBezTo>
                  <a:pt x="276" y="198"/>
                  <a:pt x="276" y="198"/>
                  <a:pt x="276" y="198"/>
                </a:cubicBezTo>
                <a:cubicBezTo>
                  <a:pt x="275" y="199"/>
                  <a:pt x="275" y="199"/>
                  <a:pt x="275" y="199"/>
                </a:cubicBezTo>
                <a:cubicBezTo>
                  <a:pt x="275" y="199"/>
                  <a:pt x="275" y="199"/>
                  <a:pt x="275" y="199"/>
                </a:cubicBezTo>
                <a:cubicBezTo>
                  <a:pt x="274" y="200"/>
                  <a:pt x="274" y="200"/>
                  <a:pt x="274" y="200"/>
                </a:cubicBezTo>
                <a:cubicBezTo>
                  <a:pt x="274" y="201"/>
                  <a:pt x="274" y="201"/>
                  <a:pt x="274" y="201"/>
                </a:cubicBezTo>
                <a:cubicBezTo>
                  <a:pt x="275" y="202"/>
                  <a:pt x="275" y="202"/>
                  <a:pt x="275" y="202"/>
                </a:cubicBezTo>
                <a:cubicBezTo>
                  <a:pt x="275" y="202"/>
                  <a:pt x="275" y="202"/>
                  <a:pt x="275" y="202"/>
                </a:cubicBezTo>
                <a:cubicBezTo>
                  <a:pt x="275" y="205"/>
                  <a:pt x="275" y="205"/>
                  <a:pt x="275" y="205"/>
                </a:cubicBezTo>
                <a:cubicBezTo>
                  <a:pt x="275" y="206"/>
                  <a:pt x="275" y="206"/>
                  <a:pt x="275" y="206"/>
                </a:cubicBezTo>
                <a:cubicBezTo>
                  <a:pt x="276" y="206"/>
                  <a:pt x="276" y="206"/>
                  <a:pt x="276" y="206"/>
                </a:cubicBezTo>
                <a:cubicBezTo>
                  <a:pt x="276" y="207"/>
                  <a:pt x="276" y="207"/>
                  <a:pt x="276" y="207"/>
                </a:cubicBezTo>
                <a:cubicBezTo>
                  <a:pt x="276" y="208"/>
                  <a:pt x="276" y="208"/>
                  <a:pt x="276" y="208"/>
                </a:cubicBezTo>
                <a:cubicBezTo>
                  <a:pt x="278" y="210"/>
                  <a:pt x="278" y="210"/>
                  <a:pt x="278" y="210"/>
                </a:cubicBezTo>
                <a:cubicBezTo>
                  <a:pt x="279" y="211"/>
                  <a:pt x="279" y="211"/>
                  <a:pt x="279" y="211"/>
                </a:cubicBezTo>
                <a:cubicBezTo>
                  <a:pt x="279" y="211"/>
                  <a:pt x="279" y="211"/>
                  <a:pt x="279" y="211"/>
                </a:cubicBezTo>
                <a:cubicBezTo>
                  <a:pt x="279" y="211"/>
                  <a:pt x="279" y="211"/>
                  <a:pt x="279" y="211"/>
                </a:cubicBezTo>
                <a:cubicBezTo>
                  <a:pt x="280" y="212"/>
                  <a:pt x="280" y="212"/>
                  <a:pt x="280" y="212"/>
                </a:cubicBezTo>
                <a:cubicBezTo>
                  <a:pt x="281" y="211"/>
                  <a:pt x="281" y="211"/>
                  <a:pt x="281" y="211"/>
                </a:cubicBezTo>
                <a:cubicBezTo>
                  <a:pt x="281" y="211"/>
                  <a:pt x="281" y="211"/>
                  <a:pt x="281" y="211"/>
                </a:cubicBezTo>
                <a:cubicBezTo>
                  <a:pt x="281" y="210"/>
                  <a:pt x="281" y="210"/>
                  <a:pt x="281" y="210"/>
                </a:cubicBezTo>
                <a:cubicBezTo>
                  <a:pt x="281" y="211"/>
                  <a:pt x="281" y="211"/>
                  <a:pt x="281" y="211"/>
                </a:cubicBezTo>
                <a:cubicBezTo>
                  <a:pt x="282" y="211"/>
                  <a:pt x="282" y="211"/>
                  <a:pt x="282" y="211"/>
                </a:cubicBezTo>
                <a:cubicBezTo>
                  <a:pt x="283" y="210"/>
                  <a:pt x="283" y="210"/>
                  <a:pt x="283" y="210"/>
                </a:cubicBezTo>
                <a:cubicBezTo>
                  <a:pt x="282" y="208"/>
                  <a:pt x="282" y="208"/>
                  <a:pt x="282" y="208"/>
                </a:cubicBezTo>
                <a:cubicBezTo>
                  <a:pt x="281" y="208"/>
                  <a:pt x="281" y="208"/>
                  <a:pt x="281" y="208"/>
                </a:cubicBezTo>
                <a:cubicBezTo>
                  <a:pt x="281" y="208"/>
                  <a:pt x="281" y="208"/>
                  <a:pt x="281" y="208"/>
                </a:cubicBezTo>
                <a:cubicBezTo>
                  <a:pt x="280" y="208"/>
                  <a:pt x="280" y="208"/>
                  <a:pt x="280" y="208"/>
                </a:cubicBezTo>
                <a:cubicBezTo>
                  <a:pt x="281" y="207"/>
                  <a:pt x="281" y="207"/>
                  <a:pt x="281" y="207"/>
                </a:cubicBezTo>
                <a:cubicBezTo>
                  <a:pt x="281" y="206"/>
                  <a:pt x="281" y="206"/>
                  <a:pt x="281" y="206"/>
                </a:cubicBezTo>
                <a:cubicBezTo>
                  <a:pt x="281" y="205"/>
                  <a:pt x="281" y="205"/>
                  <a:pt x="281" y="205"/>
                </a:cubicBezTo>
                <a:cubicBezTo>
                  <a:pt x="280" y="205"/>
                  <a:pt x="280" y="205"/>
                  <a:pt x="280" y="205"/>
                </a:cubicBezTo>
                <a:cubicBezTo>
                  <a:pt x="280" y="204"/>
                  <a:pt x="280" y="204"/>
                  <a:pt x="280" y="204"/>
                </a:cubicBezTo>
                <a:cubicBezTo>
                  <a:pt x="280" y="204"/>
                  <a:pt x="280" y="204"/>
                  <a:pt x="280" y="204"/>
                </a:cubicBezTo>
                <a:cubicBezTo>
                  <a:pt x="280" y="202"/>
                  <a:pt x="280" y="202"/>
                  <a:pt x="280" y="202"/>
                </a:cubicBezTo>
                <a:cubicBezTo>
                  <a:pt x="281" y="202"/>
                  <a:pt x="281" y="202"/>
                  <a:pt x="281" y="202"/>
                </a:cubicBezTo>
                <a:cubicBezTo>
                  <a:pt x="281" y="204"/>
                  <a:pt x="281" y="204"/>
                  <a:pt x="281" y="204"/>
                </a:cubicBezTo>
                <a:cubicBezTo>
                  <a:pt x="282" y="204"/>
                  <a:pt x="282" y="204"/>
                  <a:pt x="282" y="204"/>
                </a:cubicBezTo>
                <a:cubicBezTo>
                  <a:pt x="282" y="203"/>
                  <a:pt x="282" y="203"/>
                  <a:pt x="282" y="203"/>
                </a:cubicBezTo>
                <a:cubicBezTo>
                  <a:pt x="283" y="204"/>
                  <a:pt x="283" y="204"/>
                  <a:pt x="283" y="204"/>
                </a:cubicBezTo>
                <a:cubicBezTo>
                  <a:pt x="283" y="205"/>
                  <a:pt x="283" y="205"/>
                  <a:pt x="283" y="205"/>
                </a:cubicBezTo>
                <a:cubicBezTo>
                  <a:pt x="283" y="206"/>
                  <a:pt x="283" y="206"/>
                  <a:pt x="283" y="206"/>
                </a:cubicBezTo>
                <a:cubicBezTo>
                  <a:pt x="283" y="207"/>
                  <a:pt x="283" y="207"/>
                  <a:pt x="283" y="207"/>
                </a:cubicBezTo>
                <a:cubicBezTo>
                  <a:pt x="284" y="207"/>
                  <a:pt x="284" y="207"/>
                  <a:pt x="284" y="207"/>
                </a:cubicBezTo>
                <a:cubicBezTo>
                  <a:pt x="285" y="206"/>
                  <a:pt x="285" y="206"/>
                  <a:pt x="285" y="206"/>
                </a:cubicBezTo>
                <a:cubicBezTo>
                  <a:pt x="285" y="206"/>
                  <a:pt x="285" y="206"/>
                  <a:pt x="285" y="206"/>
                </a:cubicBezTo>
                <a:cubicBezTo>
                  <a:pt x="285" y="207"/>
                  <a:pt x="285" y="207"/>
                  <a:pt x="285" y="207"/>
                </a:cubicBezTo>
                <a:cubicBezTo>
                  <a:pt x="284" y="208"/>
                  <a:pt x="284" y="208"/>
                  <a:pt x="284" y="208"/>
                </a:cubicBezTo>
                <a:cubicBezTo>
                  <a:pt x="284" y="209"/>
                  <a:pt x="284" y="209"/>
                  <a:pt x="284" y="209"/>
                </a:cubicBezTo>
                <a:cubicBezTo>
                  <a:pt x="284" y="210"/>
                  <a:pt x="284" y="210"/>
                  <a:pt x="284" y="210"/>
                </a:cubicBezTo>
                <a:cubicBezTo>
                  <a:pt x="284" y="211"/>
                  <a:pt x="284" y="211"/>
                  <a:pt x="284" y="211"/>
                </a:cubicBezTo>
                <a:cubicBezTo>
                  <a:pt x="284" y="212"/>
                  <a:pt x="284" y="212"/>
                  <a:pt x="284" y="212"/>
                </a:cubicBezTo>
                <a:cubicBezTo>
                  <a:pt x="286" y="212"/>
                  <a:pt x="286" y="212"/>
                  <a:pt x="286" y="212"/>
                </a:cubicBezTo>
                <a:cubicBezTo>
                  <a:pt x="286" y="212"/>
                  <a:pt x="286" y="212"/>
                  <a:pt x="286" y="212"/>
                </a:cubicBezTo>
                <a:cubicBezTo>
                  <a:pt x="287" y="211"/>
                  <a:pt x="287" y="211"/>
                  <a:pt x="287" y="211"/>
                </a:cubicBezTo>
                <a:cubicBezTo>
                  <a:pt x="287" y="212"/>
                  <a:pt x="287" y="212"/>
                  <a:pt x="287" y="212"/>
                </a:cubicBezTo>
                <a:cubicBezTo>
                  <a:pt x="286" y="212"/>
                  <a:pt x="286" y="212"/>
                  <a:pt x="286" y="212"/>
                </a:cubicBezTo>
                <a:cubicBezTo>
                  <a:pt x="287" y="214"/>
                  <a:pt x="287" y="214"/>
                  <a:pt x="287" y="214"/>
                </a:cubicBezTo>
                <a:cubicBezTo>
                  <a:pt x="287" y="214"/>
                  <a:pt x="287" y="214"/>
                  <a:pt x="287" y="214"/>
                </a:cubicBezTo>
                <a:cubicBezTo>
                  <a:pt x="289" y="212"/>
                  <a:pt x="289" y="212"/>
                  <a:pt x="289" y="212"/>
                </a:cubicBezTo>
                <a:cubicBezTo>
                  <a:pt x="289" y="211"/>
                  <a:pt x="289" y="211"/>
                  <a:pt x="289" y="211"/>
                </a:cubicBezTo>
                <a:cubicBezTo>
                  <a:pt x="289" y="210"/>
                  <a:pt x="289" y="210"/>
                  <a:pt x="289" y="210"/>
                </a:cubicBezTo>
                <a:cubicBezTo>
                  <a:pt x="289" y="207"/>
                  <a:pt x="289" y="207"/>
                  <a:pt x="289" y="207"/>
                </a:cubicBezTo>
                <a:cubicBezTo>
                  <a:pt x="290" y="204"/>
                  <a:pt x="290" y="204"/>
                  <a:pt x="290" y="204"/>
                </a:cubicBezTo>
                <a:cubicBezTo>
                  <a:pt x="290" y="201"/>
                  <a:pt x="290" y="201"/>
                  <a:pt x="290" y="201"/>
                </a:cubicBezTo>
                <a:cubicBezTo>
                  <a:pt x="290" y="200"/>
                  <a:pt x="290" y="200"/>
                  <a:pt x="290" y="200"/>
                </a:cubicBezTo>
                <a:cubicBezTo>
                  <a:pt x="290" y="199"/>
                  <a:pt x="290" y="199"/>
                  <a:pt x="290" y="199"/>
                </a:cubicBezTo>
                <a:cubicBezTo>
                  <a:pt x="290" y="198"/>
                  <a:pt x="290" y="198"/>
                  <a:pt x="290" y="198"/>
                </a:cubicBezTo>
                <a:cubicBezTo>
                  <a:pt x="290" y="199"/>
                  <a:pt x="290" y="199"/>
                  <a:pt x="290" y="199"/>
                </a:cubicBezTo>
                <a:cubicBezTo>
                  <a:pt x="291" y="200"/>
                  <a:pt x="291" y="200"/>
                  <a:pt x="291" y="200"/>
                </a:cubicBezTo>
                <a:cubicBezTo>
                  <a:pt x="291" y="200"/>
                  <a:pt x="291" y="200"/>
                  <a:pt x="291" y="200"/>
                </a:cubicBezTo>
                <a:cubicBezTo>
                  <a:pt x="292" y="199"/>
                  <a:pt x="292" y="199"/>
                  <a:pt x="292" y="199"/>
                </a:cubicBezTo>
                <a:cubicBezTo>
                  <a:pt x="293" y="198"/>
                  <a:pt x="293" y="198"/>
                  <a:pt x="293" y="198"/>
                </a:cubicBezTo>
                <a:cubicBezTo>
                  <a:pt x="292" y="200"/>
                  <a:pt x="292" y="200"/>
                  <a:pt x="292" y="200"/>
                </a:cubicBezTo>
                <a:cubicBezTo>
                  <a:pt x="292" y="202"/>
                  <a:pt x="292" y="202"/>
                  <a:pt x="292" y="202"/>
                </a:cubicBezTo>
                <a:cubicBezTo>
                  <a:pt x="292" y="204"/>
                  <a:pt x="292" y="204"/>
                  <a:pt x="292" y="204"/>
                </a:cubicBezTo>
                <a:cubicBezTo>
                  <a:pt x="291" y="206"/>
                  <a:pt x="291" y="206"/>
                  <a:pt x="291" y="206"/>
                </a:cubicBezTo>
                <a:cubicBezTo>
                  <a:pt x="291" y="207"/>
                  <a:pt x="291" y="207"/>
                  <a:pt x="291" y="207"/>
                </a:cubicBezTo>
                <a:cubicBezTo>
                  <a:pt x="291" y="208"/>
                  <a:pt x="291" y="208"/>
                  <a:pt x="291" y="208"/>
                </a:cubicBezTo>
                <a:cubicBezTo>
                  <a:pt x="291" y="209"/>
                  <a:pt x="291" y="209"/>
                  <a:pt x="291" y="209"/>
                </a:cubicBezTo>
                <a:cubicBezTo>
                  <a:pt x="290" y="211"/>
                  <a:pt x="290" y="211"/>
                  <a:pt x="290" y="211"/>
                </a:cubicBezTo>
                <a:cubicBezTo>
                  <a:pt x="291" y="212"/>
                  <a:pt x="291" y="212"/>
                  <a:pt x="291" y="212"/>
                </a:cubicBezTo>
                <a:cubicBezTo>
                  <a:pt x="291" y="213"/>
                  <a:pt x="291" y="213"/>
                  <a:pt x="291" y="213"/>
                </a:cubicBezTo>
                <a:cubicBezTo>
                  <a:pt x="292" y="214"/>
                  <a:pt x="292" y="214"/>
                  <a:pt x="292" y="214"/>
                </a:cubicBezTo>
                <a:cubicBezTo>
                  <a:pt x="292" y="216"/>
                  <a:pt x="292" y="216"/>
                  <a:pt x="292" y="216"/>
                </a:cubicBezTo>
                <a:cubicBezTo>
                  <a:pt x="293" y="216"/>
                  <a:pt x="293" y="216"/>
                  <a:pt x="293" y="216"/>
                </a:cubicBezTo>
                <a:cubicBezTo>
                  <a:pt x="293" y="217"/>
                  <a:pt x="293" y="217"/>
                  <a:pt x="293" y="217"/>
                </a:cubicBezTo>
                <a:cubicBezTo>
                  <a:pt x="294" y="218"/>
                  <a:pt x="294" y="218"/>
                  <a:pt x="294" y="218"/>
                </a:cubicBezTo>
                <a:cubicBezTo>
                  <a:pt x="295" y="217"/>
                  <a:pt x="295" y="217"/>
                  <a:pt x="295" y="217"/>
                </a:cubicBezTo>
                <a:cubicBezTo>
                  <a:pt x="295" y="218"/>
                  <a:pt x="295" y="218"/>
                  <a:pt x="295" y="218"/>
                </a:cubicBezTo>
                <a:cubicBezTo>
                  <a:pt x="296" y="217"/>
                  <a:pt x="296" y="217"/>
                  <a:pt x="296" y="217"/>
                </a:cubicBezTo>
                <a:cubicBezTo>
                  <a:pt x="298" y="217"/>
                  <a:pt x="298" y="217"/>
                  <a:pt x="298" y="217"/>
                </a:cubicBezTo>
                <a:cubicBezTo>
                  <a:pt x="298" y="217"/>
                  <a:pt x="298" y="217"/>
                  <a:pt x="298" y="217"/>
                </a:cubicBezTo>
                <a:cubicBezTo>
                  <a:pt x="296" y="218"/>
                  <a:pt x="296" y="218"/>
                  <a:pt x="296" y="218"/>
                </a:cubicBezTo>
                <a:cubicBezTo>
                  <a:pt x="295" y="219"/>
                  <a:pt x="295" y="219"/>
                  <a:pt x="295" y="219"/>
                </a:cubicBezTo>
                <a:cubicBezTo>
                  <a:pt x="295" y="219"/>
                  <a:pt x="295" y="219"/>
                  <a:pt x="295" y="219"/>
                </a:cubicBezTo>
                <a:cubicBezTo>
                  <a:pt x="296" y="220"/>
                  <a:pt x="296" y="220"/>
                  <a:pt x="296" y="220"/>
                </a:cubicBezTo>
                <a:cubicBezTo>
                  <a:pt x="296" y="220"/>
                  <a:pt x="296" y="220"/>
                  <a:pt x="296" y="220"/>
                </a:cubicBezTo>
                <a:cubicBezTo>
                  <a:pt x="295" y="221"/>
                  <a:pt x="295" y="221"/>
                  <a:pt x="295" y="221"/>
                </a:cubicBezTo>
                <a:cubicBezTo>
                  <a:pt x="295" y="221"/>
                  <a:pt x="295" y="221"/>
                  <a:pt x="295" y="221"/>
                </a:cubicBezTo>
                <a:cubicBezTo>
                  <a:pt x="296" y="223"/>
                  <a:pt x="296" y="223"/>
                  <a:pt x="296" y="223"/>
                </a:cubicBezTo>
                <a:cubicBezTo>
                  <a:pt x="296" y="224"/>
                  <a:pt x="296" y="224"/>
                  <a:pt x="296" y="224"/>
                </a:cubicBezTo>
                <a:cubicBezTo>
                  <a:pt x="295" y="224"/>
                  <a:pt x="295" y="224"/>
                  <a:pt x="295" y="224"/>
                </a:cubicBezTo>
                <a:cubicBezTo>
                  <a:pt x="294" y="223"/>
                  <a:pt x="294" y="223"/>
                  <a:pt x="294" y="223"/>
                </a:cubicBezTo>
                <a:cubicBezTo>
                  <a:pt x="294" y="222"/>
                  <a:pt x="294" y="222"/>
                  <a:pt x="294" y="222"/>
                </a:cubicBezTo>
                <a:cubicBezTo>
                  <a:pt x="293" y="223"/>
                  <a:pt x="293" y="223"/>
                  <a:pt x="293" y="223"/>
                </a:cubicBezTo>
                <a:cubicBezTo>
                  <a:pt x="294" y="224"/>
                  <a:pt x="294" y="224"/>
                  <a:pt x="294" y="224"/>
                </a:cubicBezTo>
                <a:cubicBezTo>
                  <a:pt x="293" y="225"/>
                  <a:pt x="293" y="225"/>
                  <a:pt x="293" y="225"/>
                </a:cubicBezTo>
                <a:cubicBezTo>
                  <a:pt x="293" y="226"/>
                  <a:pt x="293" y="226"/>
                  <a:pt x="293" y="226"/>
                </a:cubicBezTo>
                <a:cubicBezTo>
                  <a:pt x="294" y="226"/>
                  <a:pt x="294" y="226"/>
                  <a:pt x="294" y="226"/>
                </a:cubicBezTo>
                <a:cubicBezTo>
                  <a:pt x="293" y="227"/>
                  <a:pt x="293" y="227"/>
                  <a:pt x="293" y="227"/>
                </a:cubicBezTo>
                <a:cubicBezTo>
                  <a:pt x="292" y="227"/>
                  <a:pt x="292" y="227"/>
                  <a:pt x="292" y="227"/>
                </a:cubicBezTo>
                <a:cubicBezTo>
                  <a:pt x="292" y="228"/>
                  <a:pt x="292" y="228"/>
                  <a:pt x="292" y="228"/>
                </a:cubicBezTo>
                <a:cubicBezTo>
                  <a:pt x="292" y="229"/>
                  <a:pt x="292" y="229"/>
                  <a:pt x="292" y="229"/>
                </a:cubicBezTo>
                <a:cubicBezTo>
                  <a:pt x="293" y="229"/>
                  <a:pt x="293" y="229"/>
                  <a:pt x="293" y="229"/>
                </a:cubicBezTo>
                <a:cubicBezTo>
                  <a:pt x="293" y="229"/>
                  <a:pt x="293" y="229"/>
                  <a:pt x="293" y="229"/>
                </a:cubicBezTo>
                <a:cubicBezTo>
                  <a:pt x="294" y="230"/>
                  <a:pt x="294" y="230"/>
                  <a:pt x="294" y="230"/>
                </a:cubicBezTo>
                <a:cubicBezTo>
                  <a:pt x="295" y="230"/>
                  <a:pt x="295" y="230"/>
                  <a:pt x="295" y="230"/>
                </a:cubicBezTo>
                <a:cubicBezTo>
                  <a:pt x="295" y="230"/>
                  <a:pt x="295" y="230"/>
                  <a:pt x="295" y="230"/>
                </a:cubicBezTo>
                <a:cubicBezTo>
                  <a:pt x="296" y="231"/>
                  <a:pt x="296" y="231"/>
                  <a:pt x="296" y="231"/>
                </a:cubicBezTo>
                <a:cubicBezTo>
                  <a:pt x="296" y="231"/>
                  <a:pt x="296" y="231"/>
                  <a:pt x="296" y="231"/>
                </a:cubicBezTo>
                <a:cubicBezTo>
                  <a:pt x="295" y="231"/>
                  <a:pt x="295" y="231"/>
                  <a:pt x="295" y="231"/>
                </a:cubicBezTo>
                <a:cubicBezTo>
                  <a:pt x="294" y="231"/>
                  <a:pt x="294" y="231"/>
                  <a:pt x="294" y="231"/>
                </a:cubicBezTo>
                <a:cubicBezTo>
                  <a:pt x="295" y="232"/>
                  <a:pt x="295" y="232"/>
                  <a:pt x="295" y="232"/>
                </a:cubicBezTo>
                <a:cubicBezTo>
                  <a:pt x="296" y="233"/>
                  <a:pt x="296" y="233"/>
                  <a:pt x="296" y="233"/>
                </a:cubicBezTo>
                <a:cubicBezTo>
                  <a:pt x="296" y="234"/>
                  <a:pt x="296" y="234"/>
                  <a:pt x="296" y="234"/>
                </a:cubicBezTo>
                <a:cubicBezTo>
                  <a:pt x="297" y="235"/>
                  <a:pt x="297" y="235"/>
                  <a:pt x="297" y="235"/>
                </a:cubicBezTo>
                <a:cubicBezTo>
                  <a:pt x="298" y="235"/>
                  <a:pt x="298" y="235"/>
                  <a:pt x="298" y="235"/>
                </a:cubicBezTo>
                <a:cubicBezTo>
                  <a:pt x="297" y="235"/>
                  <a:pt x="297" y="235"/>
                  <a:pt x="297" y="235"/>
                </a:cubicBezTo>
                <a:cubicBezTo>
                  <a:pt x="296" y="235"/>
                  <a:pt x="296" y="235"/>
                  <a:pt x="296" y="235"/>
                </a:cubicBezTo>
                <a:cubicBezTo>
                  <a:pt x="295" y="236"/>
                  <a:pt x="295" y="236"/>
                  <a:pt x="295" y="236"/>
                </a:cubicBezTo>
                <a:cubicBezTo>
                  <a:pt x="296" y="237"/>
                  <a:pt x="296" y="237"/>
                  <a:pt x="296" y="237"/>
                </a:cubicBezTo>
                <a:cubicBezTo>
                  <a:pt x="297" y="239"/>
                  <a:pt x="297" y="239"/>
                  <a:pt x="297" y="239"/>
                </a:cubicBezTo>
                <a:cubicBezTo>
                  <a:pt x="298" y="240"/>
                  <a:pt x="298" y="240"/>
                  <a:pt x="298" y="240"/>
                </a:cubicBezTo>
                <a:cubicBezTo>
                  <a:pt x="299" y="240"/>
                  <a:pt x="299" y="240"/>
                  <a:pt x="299" y="240"/>
                </a:cubicBezTo>
                <a:cubicBezTo>
                  <a:pt x="300" y="240"/>
                  <a:pt x="300" y="240"/>
                  <a:pt x="300" y="240"/>
                </a:cubicBezTo>
                <a:cubicBezTo>
                  <a:pt x="298" y="241"/>
                  <a:pt x="298" y="241"/>
                  <a:pt x="298" y="241"/>
                </a:cubicBezTo>
                <a:cubicBezTo>
                  <a:pt x="297" y="241"/>
                  <a:pt x="297" y="241"/>
                  <a:pt x="297" y="241"/>
                </a:cubicBezTo>
                <a:cubicBezTo>
                  <a:pt x="296" y="241"/>
                  <a:pt x="296" y="241"/>
                  <a:pt x="296" y="241"/>
                </a:cubicBezTo>
                <a:cubicBezTo>
                  <a:pt x="295" y="242"/>
                  <a:pt x="295" y="242"/>
                  <a:pt x="295" y="242"/>
                </a:cubicBezTo>
                <a:cubicBezTo>
                  <a:pt x="293" y="245"/>
                  <a:pt x="293" y="245"/>
                  <a:pt x="293" y="245"/>
                </a:cubicBezTo>
                <a:cubicBezTo>
                  <a:pt x="292" y="246"/>
                  <a:pt x="292" y="246"/>
                  <a:pt x="292" y="246"/>
                </a:cubicBezTo>
                <a:cubicBezTo>
                  <a:pt x="292" y="247"/>
                  <a:pt x="292" y="247"/>
                  <a:pt x="292" y="247"/>
                </a:cubicBezTo>
                <a:cubicBezTo>
                  <a:pt x="293" y="248"/>
                  <a:pt x="293" y="248"/>
                  <a:pt x="293" y="248"/>
                </a:cubicBezTo>
                <a:cubicBezTo>
                  <a:pt x="294" y="247"/>
                  <a:pt x="294" y="247"/>
                  <a:pt x="294" y="247"/>
                </a:cubicBezTo>
                <a:cubicBezTo>
                  <a:pt x="295" y="245"/>
                  <a:pt x="295" y="245"/>
                  <a:pt x="295" y="245"/>
                </a:cubicBezTo>
                <a:cubicBezTo>
                  <a:pt x="295" y="245"/>
                  <a:pt x="295" y="245"/>
                  <a:pt x="295" y="245"/>
                </a:cubicBezTo>
                <a:cubicBezTo>
                  <a:pt x="296" y="244"/>
                  <a:pt x="296" y="244"/>
                  <a:pt x="296" y="244"/>
                </a:cubicBezTo>
                <a:cubicBezTo>
                  <a:pt x="297" y="243"/>
                  <a:pt x="297" y="243"/>
                  <a:pt x="297" y="243"/>
                </a:cubicBezTo>
                <a:cubicBezTo>
                  <a:pt x="297" y="243"/>
                  <a:pt x="297" y="243"/>
                  <a:pt x="297" y="243"/>
                </a:cubicBezTo>
                <a:cubicBezTo>
                  <a:pt x="298" y="243"/>
                  <a:pt x="298" y="243"/>
                  <a:pt x="298" y="243"/>
                </a:cubicBezTo>
                <a:cubicBezTo>
                  <a:pt x="300" y="243"/>
                  <a:pt x="300" y="243"/>
                  <a:pt x="300" y="243"/>
                </a:cubicBezTo>
                <a:cubicBezTo>
                  <a:pt x="299" y="244"/>
                  <a:pt x="299" y="244"/>
                  <a:pt x="299" y="244"/>
                </a:cubicBezTo>
                <a:cubicBezTo>
                  <a:pt x="299" y="245"/>
                  <a:pt x="299" y="245"/>
                  <a:pt x="299" y="245"/>
                </a:cubicBezTo>
                <a:cubicBezTo>
                  <a:pt x="301" y="245"/>
                  <a:pt x="301" y="245"/>
                  <a:pt x="301" y="245"/>
                </a:cubicBezTo>
                <a:cubicBezTo>
                  <a:pt x="301" y="245"/>
                  <a:pt x="301" y="245"/>
                  <a:pt x="301" y="245"/>
                </a:cubicBezTo>
                <a:cubicBezTo>
                  <a:pt x="299" y="246"/>
                  <a:pt x="299" y="246"/>
                  <a:pt x="299" y="246"/>
                </a:cubicBezTo>
                <a:cubicBezTo>
                  <a:pt x="299" y="247"/>
                  <a:pt x="299" y="247"/>
                  <a:pt x="299" y="247"/>
                </a:cubicBezTo>
                <a:cubicBezTo>
                  <a:pt x="300" y="248"/>
                  <a:pt x="300" y="248"/>
                  <a:pt x="300" y="248"/>
                </a:cubicBezTo>
                <a:cubicBezTo>
                  <a:pt x="299" y="250"/>
                  <a:pt x="299" y="250"/>
                  <a:pt x="299" y="250"/>
                </a:cubicBezTo>
                <a:cubicBezTo>
                  <a:pt x="298" y="251"/>
                  <a:pt x="298" y="251"/>
                  <a:pt x="298" y="251"/>
                </a:cubicBezTo>
                <a:cubicBezTo>
                  <a:pt x="299" y="251"/>
                  <a:pt x="299" y="251"/>
                  <a:pt x="299" y="251"/>
                </a:cubicBezTo>
                <a:cubicBezTo>
                  <a:pt x="299" y="252"/>
                  <a:pt x="299" y="252"/>
                  <a:pt x="299" y="252"/>
                </a:cubicBezTo>
                <a:cubicBezTo>
                  <a:pt x="298" y="252"/>
                  <a:pt x="298" y="252"/>
                  <a:pt x="298" y="252"/>
                </a:cubicBezTo>
                <a:cubicBezTo>
                  <a:pt x="297" y="252"/>
                  <a:pt x="297" y="252"/>
                  <a:pt x="297" y="252"/>
                </a:cubicBezTo>
                <a:cubicBezTo>
                  <a:pt x="296" y="253"/>
                  <a:pt x="296" y="253"/>
                  <a:pt x="296" y="253"/>
                </a:cubicBezTo>
                <a:cubicBezTo>
                  <a:pt x="296" y="253"/>
                  <a:pt x="296" y="253"/>
                  <a:pt x="296" y="253"/>
                </a:cubicBezTo>
                <a:cubicBezTo>
                  <a:pt x="297" y="253"/>
                  <a:pt x="297" y="253"/>
                  <a:pt x="297" y="253"/>
                </a:cubicBezTo>
                <a:cubicBezTo>
                  <a:pt x="298" y="253"/>
                  <a:pt x="298" y="253"/>
                  <a:pt x="298" y="253"/>
                </a:cubicBezTo>
                <a:cubicBezTo>
                  <a:pt x="299" y="253"/>
                  <a:pt x="299" y="253"/>
                  <a:pt x="299" y="253"/>
                </a:cubicBezTo>
                <a:cubicBezTo>
                  <a:pt x="299" y="254"/>
                  <a:pt x="299" y="254"/>
                  <a:pt x="299" y="254"/>
                </a:cubicBezTo>
                <a:cubicBezTo>
                  <a:pt x="298" y="254"/>
                  <a:pt x="298" y="254"/>
                  <a:pt x="298" y="254"/>
                </a:cubicBezTo>
                <a:cubicBezTo>
                  <a:pt x="297" y="254"/>
                  <a:pt x="297" y="254"/>
                  <a:pt x="297" y="254"/>
                </a:cubicBezTo>
                <a:cubicBezTo>
                  <a:pt x="296" y="254"/>
                  <a:pt x="296" y="254"/>
                  <a:pt x="296" y="254"/>
                </a:cubicBezTo>
                <a:cubicBezTo>
                  <a:pt x="296" y="255"/>
                  <a:pt x="296" y="255"/>
                  <a:pt x="296" y="255"/>
                </a:cubicBezTo>
                <a:cubicBezTo>
                  <a:pt x="295" y="256"/>
                  <a:pt x="295" y="256"/>
                  <a:pt x="295" y="256"/>
                </a:cubicBezTo>
                <a:cubicBezTo>
                  <a:pt x="296" y="258"/>
                  <a:pt x="296" y="258"/>
                  <a:pt x="296" y="258"/>
                </a:cubicBezTo>
                <a:cubicBezTo>
                  <a:pt x="297" y="257"/>
                  <a:pt x="297" y="257"/>
                  <a:pt x="297" y="257"/>
                </a:cubicBezTo>
                <a:cubicBezTo>
                  <a:pt x="297" y="256"/>
                  <a:pt x="297" y="256"/>
                  <a:pt x="297" y="256"/>
                </a:cubicBezTo>
                <a:cubicBezTo>
                  <a:pt x="298" y="256"/>
                  <a:pt x="298" y="256"/>
                  <a:pt x="298" y="256"/>
                </a:cubicBezTo>
                <a:cubicBezTo>
                  <a:pt x="299" y="256"/>
                  <a:pt x="299" y="256"/>
                  <a:pt x="299" y="256"/>
                </a:cubicBezTo>
                <a:cubicBezTo>
                  <a:pt x="301" y="254"/>
                  <a:pt x="301" y="254"/>
                  <a:pt x="301" y="254"/>
                </a:cubicBezTo>
                <a:cubicBezTo>
                  <a:pt x="302" y="252"/>
                  <a:pt x="302" y="252"/>
                  <a:pt x="302" y="252"/>
                </a:cubicBezTo>
                <a:cubicBezTo>
                  <a:pt x="302" y="250"/>
                  <a:pt x="302" y="250"/>
                  <a:pt x="302" y="250"/>
                </a:cubicBezTo>
                <a:cubicBezTo>
                  <a:pt x="304" y="247"/>
                  <a:pt x="304" y="247"/>
                  <a:pt x="304" y="247"/>
                </a:cubicBezTo>
                <a:cubicBezTo>
                  <a:pt x="304" y="246"/>
                  <a:pt x="304" y="246"/>
                  <a:pt x="304" y="246"/>
                </a:cubicBezTo>
                <a:cubicBezTo>
                  <a:pt x="304" y="246"/>
                  <a:pt x="304" y="246"/>
                  <a:pt x="304" y="246"/>
                </a:cubicBezTo>
                <a:close/>
                <a:moveTo>
                  <a:pt x="286" y="253"/>
                </a:moveTo>
                <a:cubicBezTo>
                  <a:pt x="285" y="253"/>
                  <a:pt x="285" y="253"/>
                  <a:pt x="285" y="253"/>
                </a:cubicBezTo>
                <a:cubicBezTo>
                  <a:pt x="286" y="252"/>
                  <a:pt x="286" y="252"/>
                  <a:pt x="286" y="252"/>
                </a:cubicBezTo>
                <a:cubicBezTo>
                  <a:pt x="286" y="253"/>
                  <a:pt x="286" y="253"/>
                  <a:pt x="286" y="253"/>
                </a:cubicBezTo>
                <a:cubicBezTo>
                  <a:pt x="286" y="253"/>
                  <a:pt x="286" y="253"/>
                  <a:pt x="286" y="253"/>
                </a:cubicBezTo>
                <a:close/>
                <a:moveTo>
                  <a:pt x="293" y="255"/>
                </a:moveTo>
                <a:cubicBezTo>
                  <a:pt x="294" y="255"/>
                  <a:pt x="294" y="255"/>
                  <a:pt x="294" y="255"/>
                </a:cubicBezTo>
                <a:cubicBezTo>
                  <a:pt x="295" y="255"/>
                  <a:pt x="295" y="255"/>
                  <a:pt x="295" y="255"/>
                </a:cubicBezTo>
                <a:cubicBezTo>
                  <a:pt x="294" y="256"/>
                  <a:pt x="294" y="256"/>
                  <a:pt x="294" y="256"/>
                </a:cubicBezTo>
                <a:cubicBezTo>
                  <a:pt x="293" y="255"/>
                  <a:pt x="293" y="255"/>
                  <a:pt x="293" y="255"/>
                </a:cubicBezTo>
                <a:close/>
                <a:moveTo>
                  <a:pt x="293" y="252"/>
                </a:moveTo>
                <a:cubicBezTo>
                  <a:pt x="294" y="252"/>
                  <a:pt x="294" y="252"/>
                  <a:pt x="294" y="252"/>
                </a:cubicBezTo>
                <a:cubicBezTo>
                  <a:pt x="295" y="253"/>
                  <a:pt x="295" y="253"/>
                  <a:pt x="295" y="253"/>
                </a:cubicBezTo>
                <a:cubicBezTo>
                  <a:pt x="294" y="254"/>
                  <a:pt x="294" y="254"/>
                  <a:pt x="294" y="254"/>
                </a:cubicBezTo>
                <a:cubicBezTo>
                  <a:pt x="293" y="254"/>
                  <a:pt x="293" y="254"/>
                  <a:pt x="293" y="254"/>
                </a:cubicBezTo>
                <a:cubicBezTo>
                  <a:pt x="293" y="253"/>
                  <a:pt x="293" y="253"/>
                  <a:pt x="293" y="253"/>
                </a:cubicBezTo>
                <a:cubicBezTo>
                  <a:pt x="293" y="252"/>
                  <a:pt x="293" y="252"/>
                  <a:pt x="293" y="252"/>
                </a:cubicBezTo>
                <a:close/>
                <a:moveTo>
                  <a:pt x="293" y="249"/>
                </a:moveTo>
                <a:cubicBezTo>
                  <a:pt x="294" y="251"/>
                  <a:pt x="294" y="251"/>
                  <a:pt x="294" y="251"/>
                </a:cubicBezTo>
                <a:cubicBezTo>
                  <a:pt x="293" y="252"/>
                  <a:pt x="293" y="252"/>
                  <a:pt x="293" y="252"/>
                </a:cubicBezTo>
                <a:cubicBezTo>
                  <a:pt x="293" y="251"/>
                  <a:pt x="293" y="251"/>
                  <a:pt x="293" y="251"/>
                </a:cubicBezTo>
                <a:cubicBezTo>
                  <a:pt x="292" y="250"/>
                  <a:pt x="292" y="250"/>
                  <a:pt x="292" y="250"/>
                </a:cubicBezTo>
                <a:cubicBezTo>
                  <a:pt x="293" y="249"/>
                  <a:pt x="293" y="249"/>
                  <a:pt x="293" y="249"/>
                </a:cubicBezTo>
                <a:close/>
                <a:moveTo>
                  <a:pt x="294" y="249"/>
                </a:moveTo>
                <a:cubicBezTo>
                  <a:pt x="295" y="248"/>
                  <a:pt x="295" y="248"/>
                  <a:pt x="295" y="248"/>
                </a:cubicBezTo>
                <a:cubicBezTo>
                  <a:pt x="295" y="247"/>
                  <a:pt x="295" y="247"/>
                  <a:pt x="295" y="247"/>
                </a:cubicBezTo>
                <a:cubicBezTo>
                  <a:pt x="296" y="246"/>
                  <a:pt x="296" y="246"/>
                  <a:pt x="296" y="246"/>
                </a:cubicBezTo>
                <a:cubicBezTo>
                  <a:pt x="297" y="245"/>
                  <a:pt x="297" y="245"/>
                  <a:pt x="297" y="245"/>
                </a:cubicBezTo>
                <a:cubicBezTo>
                  <a:pt x="297" y="245"/>
                  <a:pt x="297" y="245"/>
                  <a:pt x="297" y="245"/>
                </a:cubicBezTo>
                <a:cubicBezTo>
                  <a:pt x="298" y="245"/>
                  <a:pt x="298" y="245"/>
                  <a:pt x="298" y="245"/>
                </a:cubicBezTo>
                <a:cubicBezTo>
                  <a:pt x="299" y="246"/>
                  <a:pt x="299" y="246"/>
                  <a:pt x="299" y="246"/>
                </a:cubicBezTo>
                <a:cubicBezTo>
                  <a:pt x="298" y="247"/>
                  <a:pt x="298" y="247"/>
                  <a:pt x="298" y="247"/>
                </a:cubicBezTo>
                <a:cubicBezTo>
                  <a:pt x="299" y="248"/>
                  <a:pt x="299" y="248"/>
                  <a:pt x="299" y="248"/>
                </a:cubicBezTo>
                <a:cubicBezTo>
                  <a:pt x="297" y="251"/>
                  <a:pt x="297" y="251"/>
                  <a:pt x="297" y="251"/>
                </a:cubicBezTo>
                <a:cubicBezTo>
                  <a:pt x="295" y="252"/>
                  <a:pt x="295" y="252"/>
                  <a:pt x="295" y="252"/>
                </a:cubicBezTo>
                <a:cubicBezTo>
                  <a:pt x="295" y="252"/>
                  <a:pt x="295" y="252"/>
                  <a:pt x="295" y="252"/>
                </a:cubicBezTo>
                <a:cubicBezTo>
                  <a:pt x="295" y="250"/>
                  <a:pt x="295" y="250"/>
                  <a:pt x="295" y="250"/>
                </a:cubicBezTo>
                <a:cubicBezTo>
                  <a:pt x="297" y="249"/>
                  <a:pt x="297" y="249"/>
                  <a:pt x="297" y="249"/>
                </a:cubicBezTo>
                <a:cubicBezTo>
                  <a:pt x="297" y="249"/>
                  <a:pt x="297" y="249"/>
                  <a:pt x="297" y="249"/>
                </a:cubicBezTo>
                <a:cubicBezTo>
                  <a:pt x="294" y="250"/>
                  <a:pt x="294" y="250"/>
                  <a:pt x="294" y="250"/>
                </a:cubicBezTo>
                <a:cubicBezTo>
                  <a:pt x="294" y="249"/>
                  <a:pt x="294" y="249"/>
                  <a:pt x="294" y="249"/>
                </a:cubicBezTo>
                <a:close/>
                <a:moveTo>
                  <a:pt x="283" y="253"/>
                </a:moveTo>
                <a:cubicBezTo>
                  <a:pt x="283" y="253"/>
                  <a:pt x="283" y="253"/>
                  <a:pt x="283" y="253"/>
                </a:cubicBezTo>
                <a:cubicBezTo>
                  <a:pt x="284" y="253"/>
                  <a:pt x="284" y="253"/>
                  <a:pt x="284" y="253"/>
                </a:cubicBezTo>
                <a:cubicBezTo>
                  <a:pt x="284" y="254"/>
                  <a:pt x="284" y="254"/>
                  <a:pt x="284" y="254"/>
                </a:cubicBezTo>
                <a:cubicBezTo>
                  <a:pt x="285" y="256"/>
                  <a:pt x="285" y="256"/>
                  <a:pt x="285" y="256"/>
                </a:cubicBezTo>
                <a:cubicBezTo>
                  <a:pt x="284" y="257"/>
                  <a:pt x="284" y="257"/>
                  <a:pt x="284" y="257"/>
                </a:cubicBezTo>
                <a:cubicBezTo>
                  <a:pt x="284" y="257"/>
                  <a:pt x="284" y="257"/>
                  <a:pt x="284" y="257"/>
                </a:cubicBezTo>
                <a:cubicBezTo>
                  <a:pt x="283" y="255"/>
                  <a:pt x="283" y="255"/>
                  <a:pt x="283" y="255"/>
                </a:cubicBezTo>
                <a:cubicBezTo>
                  <a:pt x="283" y="254"/>
                  <a:pt x="283" y="254"/>
                  <a:pt x="283" y="254"/>
                </a:cubicBezTo>
                <a:cubicBezTo>
                  <a:pt x="283" y="253"/>
                  <a:pt x="283" y="253"/>
                  <a:pt x="283" y="253"/>
                </a:cubicBezTo>
                <a:close/>
                <a:moveTo>
                  <a:pt x="283" y="251"/>
                </a:moveTo>
                <a:cubicBezTo>
                  <a:pt x="284" y="251"/>
                  <a:pt x="284" y="251"/>
                  <a:pt x="284" y="251"/>
                </a:cubicBezTo>
                <a:cubicBezTo>
                  <a:pt x="284" y="251"/>
                  <a:pt x="284" y="251"/>
                  <a:pt x="284" y="251"/>
                </a:cubicBezTo>
                <a:cubicBezTo>
                  <a:pt x="285" y="252"/>
                  <a:pt x="285" y="252"/>
                  <a:pt x="285" y="252"/>
                </a:cubicBezTo>
                <a:cubicBezTo>
                  <a:pt x="284" y="252"/>
                  <a:pt x="284" y="252"/>
                  <a:pt x="284" y="252"/>
                </a:cubicBezTo>
                <a:cubicBezTo>
                  <a:pt x="283" y="251"/>
                  <a:pt x="283" y="251"/>
                  <a:pt x="283" y="251"/>
                </a:cubicBezTo>
                <a:close/>
                <a:moveTo>
                  <a:pt x="283" y="250"/>
                </a:moveTo>
                <a:cubicBezTo>
                  <a:pt x="283" y="249"/>
                  <a:pt x="283" y="249"/>
                  <a:pt x="283" y="249"/>
                </a:cubicBezTo>
                <a:cubicBezTo>
                  <a:pt x="283" y="250"/>
                  <a:pt x="283" y="250"/>
                  <a:pt x="283" y="250"/>
                </a:cubicBezTo>
                <a:cubicBezTo>
                  <a:pt x="283" y="250"/>
                  <a:pt x="283" y="250"/>
                  <a:pt x="283" y="250"/>
                </a:cubicBezTo>
                <a:close/>
                <a:moveTo>
                  <a:pt x="282" y="248"/>
                </a:moveTo>
                <a:cubicBezTo>
                  <a:pt x="283" y="248"/>
                  <a:pt x="283" y="248"/>
                  <a:pt x="283" y="248"/>
                </a:cubicBezTo>
                <a:cubicBezTo>
                  <a:pt x="281" y="250"/>
                  <a:pt x="281" y="250"/>
                  <a:pt x="281" y="250"/>
                </a:cubicBezTo>
                <a:cubicBezTo>
                  <a:pt x="282" y="248"/>
                  <a:pt x="282" y="248"/>
                  <a:pt x="282" y="248"/>
                </a:cubicBezTo>
                <a:close/>
                <a:moveTo>
                  <a:pt x="281" y="242"/>
                </a:moveTo>
                <a:cubicBezTo>
                  <a:pt x="281" y="241"/>
                  <a:pt x="281" y="241"/>
                  <a:pt x="281" y="241"/>
                </a:cubicBezTo>
                <a:cubicBezTo>
                  <a:pt x="282" y="242"/>
                  <a:pt x="282" y="242"/>
                  <a:pt x="282" y="242"/>
                </a:cubicBezTo>
                <a:cubicBezTo>
                  <a:pt x="281" y="242"/>
                  <a:pt x="281" y="242"/>
                  <a:pt x="281" y="242"/>
                </a:cubicBezTo>
                <a:close/>
                <a:moveTo>
                  <a:pt x="284" y="244"/>
                </a:moveTo>
                <a:cubicBezTo>
                  <a:pt x="285" y="243"/>
                  <a:pt x="285" y="243"/>
                  <a:pt x="285" y="243"/>
                </a:cubicBezTo>
                <a:cubicBezTo>
                  <a:pt x="285" y="244"/>
                  <a:pt x="285" y="244"/>
                  <a:pt x="285" y="244"/>
                </a:cubicBezTo>
                <a:cubicBezTo>
                  <a:pt x="285" y="245"/>
                  <a:pt x="285" y="245"/>
                  <a:pt x="285" y="245"/>
                </a:cubicBezTo>
                <a:cubicBezTo>
                  <a:pt x="284" y="244"/>
                  <a:pt x="284" y="244"/>
                  <a:pt x="284" y="244"/>
                </a:cubicBezTo>
                <a:close/>
                <a:moveTo>
                  <a:pt x="285" y="242"/>
                </a:moveTo>
                <a:cubicBezTo>
                  <a:pt x="285" y="240"/>
                  <a:pt x="285" y="240"/>
                  <a:pt x="285" y="240"/>
                </a:cubicBezTo>
                <a:cubicBezTo>
                  <a:pt x="287" y="240"/>
                  <a:pt x="287" y="240"/>
                  <a:pt x="287" y="240"/>
                </a:cubicBezTo>
                <a:cubicBezTo>
                  <a:pt x="287" y="241"/>
                  <a:pt x="287" y="241"/>
                  <a:pt x="287" y="241"/>
                </a:cubicBezTo>
                <a:cubicBezTo>
                  <a:pt x="287" y="241"/>
                  <a:pt x="287" y="241"/>
                  <a:pt x="287" y="241"/>
                </a:cubicBezTo>
                <a:cubicBezTo>
                  <a:pt x="286" y="241"/>
                  <a:pt x="286" y="241"/>
                  <a:pt x="286" y="241"/>
                </a:cubicBezTo>
                <a:cubicBezTo>
                  <a:pt x="285" y="242"/>
                  <a:pt x="285" y="242"/>
                  <a:pt x="285" y="242"/>
                </a:cubicBezTo>
                <a:cubicBezTo>
                  <a:pt x="285" y="242"/>
                  <a:pt x="285" y="242"/>
                  <a:pt x="285" y="242"/>
                </a:cubicBezTo>
                <a:close/>
                <a:moveTo>
                  <a:pt x="287" y="243"/>
                </a:moveTo>
                <a:cubicBezTo>
                  <a:pt x="288" y="241"/>
                  <a:pt x="288" y="241"/>
                  <a:pt x="288" y="241"/>
                </a:cubicBezTo>
                <a:cubicBezTo>
                  <a:pt x="288" y="240"/>
                  <a:pt x="288" y="240"/>
                  <a:pt x="288" y="240"/>
                </a:cubicBezTo>
                <a:cubicBezTo>
                  <a:pt x="287" y="239"/>
                  <a:pt x="287" y="239"/>
                  <a:pt x="287" y="239"/>
                </a:cubicBezTo>
                <a:cubicBezTo>
                  <a:pt x="287" y="238"/>
                  <a:pt x="287" y="238"/>
                  <a:pt x="287" y="238"/>
                </a:cubicBezTo>
                <a:cubicBezTo>
                  <a:pt x="289" y="238"/>
                  <a:pt x="289" y="238"/>
                  <a:pt x="289" y="238"/>
                </a:cubicBezTo>
                <a:cubicBezTo>
                  <a:pt x="289" y="240"/>
                  <a:pt x="289" y="240"/>
                  <a:pt x="289" y="240"/>
                </a:cubicBezTo>
                <a:cubicBezTo>
                  <a:pt x="289" y="241"/>
                  <a:pt x="289" y="241"/>
                  <a:pt x="289" y="241"/>
                </a:cubicBezTo>
                <a:cubicBezTo>
                  <a:pt x="288" y="242"/>
                  <a:pt x="288" y="242"/>
                  <a:pt x="288" y="242"/>
                </a:cubicBezTo>
                <a:cubicBezTo>
                  <a:pt x="289" y="242"/>
                  <a:pt x="289" y="242"/>
                  <a:pt x="289" y="242"/>
                </a:cubicBezTo>
                <a:cubicBezTo>
                  <a:pt x="289" y="242"/>
                  <a:pt x="289" y="242"/>
                  <a:pt x="289" y="242"/>
                </a:cubicBezTo>
                <a:cubicBezTo>
                  <a:pt x="291" y="243"/>
                  <a:pt x="291" y="243"/>
                  <a:pt x="291" y="243"/>
                </a:cubicBezTo>
                <a:cubicBezTo>
                  <a:pt x="291" y="245"/>
                  <a:pt x="291" y="245"/>
                  <a:pt x="291" y="245"/>
                </a:cubicBezTo>
                <a:cubicBezTo>
                  <a:pt x="290" y="245"/>
                  <a:pt x="290" y="245"/>
                  <a:pt x="290" y="245"/>
                </a:cubicBezTo>
                <a:cubicBezTo>
                  <a:pt x="291" y="246"/>
                  <a:pt x="291" y="246"/>
                  <a:pt x="291" y="246"/>
                </a:cubicBezTo>
                <a:cubicBezTo>
                  <a:pt x="291" y="247"/>
                  <a:pt x="291" y="247"/>
                  <a:pt x="291" y="247"/>
                </a:cubicBezTo>
                <a:cubicBezTo>
                  <a:pt x="290" y="247"/>
                  <a:pt x="290" y="247"/>
                  <a:pt x="290" y="247"/>
                </a:cubicBezTo>
                <a:cubicBezTo>
                  <a:pt x="290" y="247"/>
                  <a:pt x="290" y="247"/>
                  <a:pt x="290" y="247"/>
                </a:cubicBezTo>
                <a:cubicBezTo>
                  <a:pt x="289" y="248"/>
                  <a:pt x="289" y="248"/>
                  <a:pt x="289" y="248"/>
                </a:cubicBezTo>
                <a:cubicBezTo>
                  <a:pt x="291" y="249"/>
                  <a:pt x="291" y="249"/>
                  <a:pt x="291" y="249"/>
                </a:cubicBezTo>
                <a:cubicBezTo>
                  <a:pt x="291" y="250"/>
                  <a:pt x="291" y="250"/>
                  <a:pt x="291" y="250"/>
                </a:cubicBezTo>
                <a:cubicBezTo>
                  <a:pt x="290" y="251"/>
                  <a:pt x="290" y="251"/>
                  <a:pt x="290" y="251"/>
                </a:cubicBezTo>
                <a:cubicBezTo>
                  <a:pt x="290" y="251"/>
                  <a:pt x="290" y="251"/>
                  <a:pt x="290" y="251"/>
                </a:cubicBezTo>
                <a:cubicBezTo>
                  <a:pt x="291" y="251"/>
                  <a:pt x="291" y="251"/>
                  <a:pt x="291" y="251"/>
                </a:cubicBezTo>
                <a:cubicBezTo>
                  <a:pt x="291" y="251"/>
                  <a:pt x="291" y="251"/>
                  <a:pt x="291" y="251"/>
                </a:cubicBezTo>
                <a:cubicBezTo>
                  <a:pt x="291" y="252"/>
                  <a:pt x="291" y="252"/>
                  <a:pt x="291" y="252"/>
                </a:cubicBezTo>
                <a:cubicBezTo>
                  <a:pt x="290" y="253"/>
                  <a:pt x="290" y="253"/>
                  <a:pt x="290" y="253"/>
                </a:cubicBezTo>
                <a:cubicBezTo>
                  <a:pt x="289" y="253"/>
                  <a:pt x="289" y="253"/>
                  <a:pt x="289" y="253"/>
                </a:cubicBezTo>
                <a:cubicBezTo>
                  <a:pt x="289" y="254"/>
                  <a:pt x="289" y="254"/>
                  <a:pt x="289" y="254"/>
                </a:cubicBezTo>
                <a:cubicBezTo>
                  <a:pt x="289" y="254"/>
                  <a:pt x="289" y="254"/>
                  <a:pt x="289" y="254"/>
                </a:cubicBezTo>
                <a:cubicBezTo>
                  <a:pt x="290" y="255"/>
                  <a:pt x="290" y="255"/>
                  <a:pt x="290" y="255"/>
                </a:cubicBezTo>
                <a:cubicBezTo>
                  <a:pt x="289" y="255"/>
                  <a:pt x="289" y="255"/>
                  <a:pt x="289" y="255"/>
                </a:cubicBezTo>
                <a:cubicBezTo>
                  <a:pt x="290" y="256"/>
                  <a:pt x="290" y="256"/>
                  <a:pt x="290" y="256"/>
                </a:cubicBezTo>
                <a:cubicBezTo>
                  <a:pt x="289" y="257"/>
                  <a:pt x="289" y="257"/>
                  <a:pt x="289" y="257"/>
                </a:cubicBezTo>
                <a:cubicBezTo>
                  <a:pt x="288" y="257"/>
                  <a:pt x="288" y="257"/>
                  <a:pt x="288" y="257"/>
                </a:cubicBezTo>
                <a:cubicBezTo>
                  <a:pt x="287" y="256"/>
                  <a:pt x="287" y="256"/>
                  <a:pt x="287" y="256"/>
                </a:cubicBezTo>
                <a:cubicBezTo>
                  <a:pt x="288" y="255"/>
                  <a:pt x="288" y="255"/>
                  <a:pt x="288" y="255"/>
                </a:cubicBezTo>
                <a:cubicBezTo>
                  <a:pt x="287" y="254"/>
                  <a:pt x="287" y="254"/>
                  <a:pt x="287" y="254"/>
                </a:cubicBezTo>
                <a:cubicBezTo>
                  <a:pt x="287" y="254"/>
                  <a:pt x="287" y="254"/>
                  <a:pt x="287" y="254"/>
                </a:cubicBezTo>
                <a:cubicBezTo>
                  <a:pt x="288" y="253"/>
                  <a:pt x="288" y="253"/>
                  <a:pt x="288" y="253"/>
                </a:cubicBezTo>
                <a:cubicBezTo>
                  <a:pt x="287" y="252"/>
                  <a:pt x="287" y="252"/>
                  <a:pt x="287" y="252"/>
                </a:cubicBezTo>
                <a:cubicBezTo>
                  <a:pt x="287" y="251"/>
                  <a:pt x="287" y="251"/>
                  <a:pt x="287" y="251"/>
                </a:cubicBezTo>
                <a:cubicBezTo>
                  <a:pt x="288" y="251"/>
                  <a:pt x="288" y="251"/>
                  <a:pt x="288" y="251"/>
                </a:cubicBezTo>
                <a:cubicBezTo>
                  <a:pt x="288" y="250"/>
                  <a:pt x="288" y="250"/>
                  <a:pt x="288" y="250"/>
                </a:cubicBezTo>
                <a:cubicBezTo>
                  <a:pt x="287" y="250"/>
                  <a:pt x="287" y="250"/>
                  <a:pt x="287" y="250"/>
                </a:cubicBezTo>
                <a:cubicBezTo>
                  <a:pt x="286" y="251"/>
                  <a:pt x="286" y="251"/>
                  <a:pt x="286" y="251"/>
                </a:cubicBezTo>
                <a:cubicBezTo>
                  <a:pt x="286" y="250"/>
                  <a:pt x="286" y="250"/>
                  <a:pt x="286" y="250"/>
                </a:cubicBezTo>
                <a:cubicBezTo>
                  <a:pt x="285" y="250"/>
                  <a:pt x="285" y="250"/>
                  <a:pt x="285" y="250"/>
                </a:cubicBezTo>
                <a:cubicBezTo>
                  <a:pt x="285" y="250"/>
                  <a:pt x="285" y="250"/>
                  <a:pt x="285" y="250"/>
                </a:cubicBezTo>
                <a:cubicBezTo>
                  <a:pt x="285" y="249"/>
                  <a:pt x="285" y="249"/>
                  <a:pt x="285" y="249"/>
                </a:cubicBezTo>
                <a:cubicBezTo>
                  <a:pt x="286" y="249"/>
                  <a:pt x="286" y="249"/>
                  <a:pt x="286" y="249"/>
                </a:cubicBezTo>
                <a:cubicBezTo>
                  <a:pt x="286" y="248"/>
                  <a:pt x="286" y="248"/>
                  <a:pt x="286" y="248"/>
                </a:cubicBezTo>
                <a:cubicBezTo>
                  <a:pt x="286" y="248"/>
                  <a:pt x="286" y="248"/>
                  <a:pt x="286" y="248"/>
                </a:cubicBezTo>
                <a:cubicBezTo>
                  <a:pt x="287" y="247"/>
                  <a:pt x="287" y="247"/>
                  <a:pt x="287" y="247"/>
                </a:cubicBezTo>
                <a:cubicBezTo>
                  <a:pt x="287" y="246"/>
                  <a:pt x="287" y="246"/>
                  <a:pt x="287" y="246"/>
                </a:cubicBezTo>
                <a:cubicBezTo>
                  <a:pt x="287" y="246"/>
                  <a:pt x="287" y="246"/>
                  <a:pt x="287" y="246"/>
                </a:cubicBezTo>
                <a:cubicBezTo>
                  <a:pt x="286" y="246"/>
                  <a:pt x="286" y="246"/>
                  <a:pt x="286" y="246"/>
                </a:cubicBezTo>
                <a:cubicBezTo>
                  <a:pt x="286" y="246"/>
                  <a:pt x="286" y="246"/>
                  <a:pt x="286" y="246"/>
                </a:cubicBezTo>
                <a:cubicBezTo>
                  <a:pt x="286" y="245"/>
                  <a:pt x="286" y="245"/>
                  <a:pt x="286" y="245"/>
                </a:cubicBezTo>
                <a:cubicBezTo>
                  <a:pt x="287" y="245"/>
                  <a:pt x="287" y="245"/>
                  <a:pt x="287" y="245"/>
                </a:cubicBezTo>
                <a:cubicBezTo>
                  <a:pt x="287" y="244"/>
                  <a:pt x="287" y="244"/>
                  <a:pt x="287" y="244"/>
                </a:cubicBezTo>
                <a:cubicBezTo>
                  <a:pt x="287" y="243"/>
                  <a:pt x="287" y="243"/>
                  <a:pt x="287" y="243"/>
                </a:cubicBezTo>
                <a:close/>
                <a:moveTo>
                  <a:pt x="295" y="242"/>
                </a:moveTo>
                <a:cubicBezTo>
                  <a:pt x="294" y="241"/>
                  <a:pt x="294" y="241"/>
                  <a:pt x="294" y="241"/>
                </a:cubicBezTo>
                <a:cubicBezTo>
                  <a:pt x="295" y="240"/>
                  <a:pt x="295" y="240"/>
                  <a:pt x="295" y="240"/>
                </a:cubicBezTo>
                <a:cubicBezTo>
                  <a:pt x="295" y="239"/>
                  <a:pt x="295" y="239"/>
                  <a:pt x="295" y="239"/>
                </a:cubicBezTo>
                <a:cubicBezTo>
                  <a:pt x="296" y="239"/>
                  <a:pt x="296" y="239"/>
                  <a:pt x="296" y="239"/>
                </a:cubicBezTo>
                <a:cubicBezTo>
                  <a:pt x="296" y="241"/>
                  <a:pt x="296" y="241"/>
                  <a:pt x="296" y="241"/>
                </a:cubicBezTo>
                <a:cubicBezTo>
                  <a:pt x="295" y="242"/>
                  <a:pt x="295" y="242"/>
                  <a:pt x="295" y="242"/>
                </a:cubicBezTo>
                <a:close/>
                <a:moveTo>
                  <a:pt x="292" y="243"/>
                </a:moveTo>
                <a:cubicBezTo>
                  <a:pt x="293" y="241"/>
                  <a:pt x="293" y="241"/>
                  <a:pt x="293" y="241"/>
                </a:cubicBezTo>
                <a:cubicBezTo>
                  <a:pt x="294" y="241"/>
                  <a:pt x="294" y="241"/>
                  <a:pt x="294" y="241"/>
                </a:cubicBezTo>
                <a:cubicBezTo>
                  <a:pt x="294" y="243"/>
                  <a:pt x="294" y="243"/>
                  <a:pt x="294" y="243"/>
                </a:cubicBezTo>
                <a:cubicBezTo>
                  <a:pt x="293" y="243"/>
                  <a:pt x="293" y="243"/>
                  <a:pt x="293" y="243"/>
                </a:cubicBezTo>
                <a:cubicBezTo>
                  <a:pt x="292" y="243"/>
                  <a:pt x="292" y="243"/>
                  <a:pt x="292" y="243"/>
                </a:cubicBezTo>
                <a:close/>
                <a:moveTo>
                  <a:pt x="292" y="242"/>
                </a:moveTo>
                <a:cubicBezTo>
                  <a:pt x="292" y="241"/>
                  <a:pt x="292" y="241"/>
                  <a:pt x="292" y="241"/>
                </a:cubicBezTo>
                <a:cubicBezTo>
                  <a:pt x="294" y="239"/>
                  <a:pt x="294" y="239"/>
                  <a:pt x="294" y="239"/>
                </a:cubicBezTo>
                <a:cubicBezTo>
                  <a:pt x="294" y="240"/>
                  <a:pt x="294" y="240"/>
                  <a:pt x="294" y="240"/>
                </a:cubicBezTo>
                <a:cubicBezTo>
                  <a:pt x="293" y="241"/>
                  <a:pt x="293" y="241"/>
                  <a:pt x="293" y="241"/>
                </a:cubicBezTo>
                <a:cubicBezTo>
                  <a:pt x="292" y="242"/>
                  <a:pt x="292" y="242"/>
                  <a:pt x="292" y="242"/>
                </a:cubicBezTo>
                <a:cubicBezTo>
                  <a:pt x="292" y="242"/>
                  <a:pt x="292" y="242"/>
                  <a:pt x="292" y="242"/>
                </a:cubicBezTo>
                <a:close/>
                <a:moveTo>
                  <a:pt x="290" y="239"/>
                </a:moveTo>
                <a:cubicBezTo>
                  <a:pt x="291" y="238"/>
                  <a:pt x="291" y="238"/>
                  <a:pt x="291" y="238"/>
                </a:cubicBezTo>
                <a:cubicBezTo>
                  <a:pt x="293" y="238"/>
                  <a:pt x="293" y="238"/>
                  <a:pt x="293" y="238"/>
                </a:cubicBezTo>
                <a:cubicBezTo>
                  <a:pt x="293" y="239"/>
                  <a:pt x="293" y="239"/>
                  <a:pt x="293" y="239"/>
                </a:cubicBezTo>
                <a:cubicBezTo>
                  <a:pt x="292" y="240"/>
                  <a:pt x="292" y="240"/>
                  <a:pt x="292" y="240"/>
                </a:cubicBezTo>
                <a:cubicBezTo>
                  <a:pt x="291" y="240"/>
                  <a:pt x="291" y="240"/>
                  <a:pt x="291" y="240"/>
                </a:cubicBezTo>
                <a:cubicBezTo>
                  <a:pt x="290" y="239"/>
                  <a:pt x="290" y="239"/>
                  <a:pt x="290" y="239"/>
                </a:cubicBezTo>
                <a:close/>
                <a:moveTo>
                  <a:pt x="292" y="236"/>
                </a:moveTo>
                <a:cubicBezTo>
                  <a:pt x="293" y="234"/>
                  <a:pt x="293" y="234"/>
                  <a:pt x="293" y="234"/>
                </a:cubicBezTo>
                <a:cubicBezTo>
                  <a:pt x="294" y="233"/>
                  <a:pt x="294" y="233"/>
                  <a:pt x="294" y="233"/>
                </a:cubicBezTo>
                <a:cubicBezTo>
                  <a:pt x="295" y="235"/>
                  <a:pt x="295" y="235"/>
                  <a:pt x="295" y="235"/>
                </a:cubicBezTo>
                <a:cubicBezTo>
                  <a:pt x="294" y="236"/>
                  <a:pt x="294" y="236"/>
                  <a:pt x="294" y="236"/>
                </a:cubicBezTo>
                <a:cubicBezTo>
                  <a:pt x="292" y="237"/>
                  <a:pt x="292" y="237"/>
                  <a:pt x="292" y="237"/>
                </a:cubicBezTo>
                <a:cubicBezTo>
                  <a:pt x="292" y="236"/>
                  <a:pt x="292" y="236"/>
                  <a:pt x="292" y="236"/>
                </a:cubicBezTo>
                <a:cubicBezTo>
                  <a:pt x="292" y="236"/>
                  <a:pt x="292" y="236"/>
                  <a:pt x="292" y="236"/>
                </a:cubicBezTo>
                <a:close/>
                <a:moveTo>
                  <a:pt x="288" y="237"/>
                </a:moveTo>
                <a:cubicBezTo>
                  <a:pt x="288" y="236"/>
                  <a:pt x="288" y="236"/>
                  <a:pt x="288" y="236"/>
                </a:cubicBezTo>
                <a:cubicBezTo>
                  <a:pt x="289" y="233"/>
                  <a:pt x="289" y="233"/>
                  <a:pt x="289" y="233"/>
                </a:cubicBezTo>
                <a:cubicBezTo>
                  <a:pt x="289" y="232"/>
                  <a:pt x="289" y="232"/>
                  <a:pt x="289" y="232"/>
                </a:cubicBezTo>
                <a:cubicBezTo>
                  <a:pt x="288" y="231"/>
                  <a:pt x="288" y="231"/>
                  <a:pt x="288" y="231"/>
                </a:cubicBezTo>
                <a:cubicBezTo>
                  <a:pt x="288" y="230"/>
                  <a:pt x="288" y="230"/>
                  <a:pt x="288" y="230"/>
                </a:cubicBezTo>
                <a:cubicBezTo>
                  <a:pt x="288" y="230"/>
                  <a:pt x="288" y="230"/>
                  <a:pt x="288" y="230"/>
                </a:cubicBezTo>
                <a:cubicBezTo>
                  <a:pt x="288" y="229"/>
                  <a:pt x="288" y="229"/>
                  <a:pt x="288" y="229"/>
                </a:cubicBezTo>
                <a:cubicBezTo>
                  <a:pt x="290" y="229"/>
                  <a:pt x="290" y="229"/>
                  <a:pt x="290" y="229"/>
                </a:cubicBezTo>
                <a:cubicBezTo>
                  <a:pt x="291" y="230"/>
                  <a:pt x="291" y="230"/>
                  <a:pt x="291" y="230"/>
                </a:cubicBezTo>
                <a:cubicBezTo>
                  <a:pt x="292" y="230"/>
                  <a:pt x="292" y="230"/>
                  <a:pt x="292" y="230"/>
                </a:cubicBezTo>
                <a:cubicBezTo>
                  <a:pt x="293" y="231"/>
                  <a:pt x="293" y="231"/>
                  <a:pt x="293" y="231"/>
                </a:cubicBezTo>
                <a:cubicBezTo>
                  <a:pt x="293" y="233"/>
                  <a:pt x="293" y="233"/>
                  <a:pt x="293" y="233"/>
                </a:cubicBezTo>
                <a:cubicBezTo>
                  <a:pt x="292" y="235"/>
                  <a:pt x="292" y="235"/>
                  <a:pt x="292" y="235"/>
                </a:cubicBezTo>
                <a:cubicBezTo>
                  <a:pt x="291" y="235"/>
                  <a:pt x="291" y="235"/>
                  <a:pt x="291" y="235"/>
                </a:cubicBezTo>
                <a:cubicBezTo>
                  <a:pt x="291" y="233"/>
                  <a:pt x="291" y="233"/>
                  <a:pt x="291" y="233"/>
                </a:cubicBezTo>
                <a:cubicBezTo>
                  <a:pt x="291" y="233"/>
                  <a:pt x="291" y="233"/>
                  <a:pt x="291" y="233"/>
                </a:cubicBezTo>
                <a:cubicBezTo>
                  <a:pt x="291" y="235"/>
                  <a:pt x="291" y="235"/>
                  <a:pt x="291" y="235"/>
                </a:cubicBezTo>
                <a:cubicBezTo>
                  <a:pt x="290" y="235"/>
                  <a:pt x="290" y="235"/>
                  <a:pt x="290" y="235"/>
                </a:cubicBezTo>
                <a:cubicBezTo>
                  <a:pt x="291" y="236"/>
                  <a:pt x="291" y="236"/>
                  <a:pt x="291" y="236"/>
                </a:cubicBezTo>
                <a:cubicBezTo>
                  <a:pt x="290" y="237"/>
                  <a:pt x="290" y="237"/>
                  <a:pt x="290" y="237"/>
                </a:cubicBezTo>
                <a:cubicBezTo>
                  <a:pt x="289" y="236"/>
                  <a:pt x="289" y="236"/>
                  <a:pt x="289" y="236"/>
                </a:cubicBezTo>
                <a:cubicBezTo>
                  <a:pt x="289" y="237"/>
                  <a:pt x="289" y="237"/>
                  <a:pt x="289" y="237"/>
                </a:cubicBezTo>
                <a:cubicBezTo>
                  <a:pt x="288" y="237"/>
                  <a:pt x="288" y="237"/>
                  <a:pt x="288" y="237"/>
                </a:cubicBezTo>
                <a:close/>
                <a:moveTo>
                  <a:pt x="285" y="235"/>
                </a:moveTo>
                <a:cubicBezTo>
                  <a:pt x="284" y="235"/>
                  <a:pt x="284" y="235"/>
                  <a:pt x="284" y="235"/>
                </a:cubicBezTo>
                <a:cubicBezTo>
                  <a:pt x="285" y="233"/>
                  <a:pt x="285" y="233"/>
                  <a:pt x="285" y="233"/>
                </a:cubicBezTo>
                <a:cubicBezTo>
                  <a:pt x="284" y="233"/>
                  <a:pt x="284" y="233"/>
                  <a:pt x="284" y="233"/>
                </a:cubicBezTo>
                <a:cubicBezTo>
                  <a:pt x="284" y="232"/>
                  <a:pt x="284" y="232"/>
                  <a:pt x="284" y="232"/>
                </a:cubicBezTo>
                <a:cubicBezTo>
                  <a:pt x="285" y="231"/>
                  <a:pt x="285" y="231"/>
                  <a:pt x="285" y="231"/>
                </a:cubicBezTo>
                <a:cubicBezTo>
                  <a:pt x="286" y="231"/>
                  <a:pt x="286" y="231"/>
                  <a:pt x="286" y="231"/>
                </a:cubicBezTo>
                <a:cubicBezTo>
                  <a:pt x="286" y="230"/>
                  <a:pt x="286" y="230"/>
                  <a:pt x="286" y="230"/>
                </a:cubicBezTo>
                <a:cubicBezTo>
                  <a:pt x="286" y="230"/>
                  <a:pt x="286" y="230"/>
                  <a:pt x="286" y="230"/>
                </a:cubicBezTo>
                <a:cubicBezTo>
                  <a:pt x="287" y="231"/>
                  <a:pt x="287" y="231"/>
                  <a:pt x="287" y="231"/>
                </a:cubicBezTo>
                <a:cubicBezTo>
                  <a:pt x="287" y="232"/>
                  <a:pt x="287" y="232"/>
                  <a:pt x="287" y="232"/>
                </a:cubicBezTo>
                <a:cubicBezTo>
                  <a:pt x="287" y="233"/>
                  <a:pt x="287" y="233"/>
                  <a:pt x="287" y="233"/>
                </a:cubicBezTo>
                <a:cubicBezTo>
                  <a:pt x="288" y="233"/>
                  <a:pt x="288" y="233"/>
                  <a:pt x="288" y="233"/>
                </a:cubicBezTo>
                <a:cubicBezTo>
                  <a:pt x="288" y="233"/>
                  <a:pt x="288" y="233"/>
                  <a:pt x="288" y="233"/>
                </a:cubicBezTo>
                <a:cubicBezTo>
                  <a:pt x="287" y="236"/>
                  <a:pt x="287" y="236"/>
                  <a:pt x="287" y="236"/>
                </a:cubicBezTo>
                <a:cubicBezTo>
                  <a:pt x="285" y="238"/>
                  <a:pt x="285" y="238"/>
                  <a:pt x="285" y="238"/>
                </a:cubicBezTo>
                <a:cubicBezTo>
                  <a:pt x="285" y="239"/>
                  <a:pt x="285" y="239"/>
                  <a:pt x="285" y="239"/>
                </a:cubicBezTo>
                <a:cubicBezTo>
                  <a:pt x="285" y="240"/>
                  <a:pt x="285" y="240"/>
                  <a:pt x="285" y="240"/>
                </a:cubicBezTo>
                <a:cubicBezTo>
                  <a:pt x="283" y="240"/>
                  <a:pt x="283" y="240"/>
                  <a:pt x="283" y="240"/>
                </a:cubicBezTo>
                <a:cubicBezTo>
                  <a:pt x="284" y="239"/>
                  <a:pt x="284" y="239"/>
                  <a:pt x="284" y="239"/>
                </a:cubicBezTo>
                <a:cubicBezTo>
                  <a:pt x="283" y="238"/>
                  <a:pt x="283" y="238"/>
                  <a:pt x="283" y="238"/>
                </a:cubicBezTo>
                <a:cubicBezTo>
                  <a:pt x="283" y="240"/>
                  <a:pt x="283" y="240"/>
                  <a:pt x="283" y="240"/>
                </a:cubicBezTo>
                <a:cubicBezTo>
                  <a:pt x="282" y="240"/>
                  <a:pt x="282" y="240"/>
                  <a:pt x="282" y="240"/>
                </a:cubicBezTo>
                <a:cubicBezTo>
                  <a:pt x="282" y="239"/>
                  <a:pt x="282" y="239"/>
                  <a:pt x="282" y="239"/>
                </a:cubicBezTo>
                <a:cubicBezTo>
                  <a:pt x="283" y="238"/>
                  <a:pt x="283" y="238"/>
                  <a:pt x="283" y="238"/>
                </a:cubicBezTo>
                <a:cubicBezTo>
                  <a:pt x="283" y="237"/>
                  <a:pt x="283" y="237"/>
                  <a:pt x="283" y="237"/>
                </a:cubicBezTo>
                <a:cubicBezTo>
                  <a:pt x="283" y="236"/>
                  <a:pt x="283" y="236"/>
                  <a:pt x="283" y="236"/>
                </a:cubicBezTo>
                <a:cubicBezTo>
                  <a:pt x="284" y="237"/>
                  <a:pt x="284" y="237"/>
                  <a:pt x="284" y="237"/>
                </a:cubicBezTo>
                <a:cubicBezTo>
                  <a:pt x="285" y="236"/>
                  <a:pt x="285" y="236"/>
                  <a:pt x="285" y="236"/>
                </a:cubicBezTo>
                <a:cubicBezTo>
                  <a:pt x="285" y="235"/>
                  <a:pt x="285" y="235"/>
                  <a:pt x="285" y="235"/>
                </a:cubicBezTo>
                <a:close/>
                <a:moveTo>
                  <a:pt x="284" y="224"/>
                </a:moveTo>
                <a:cubicBezTo>
                  <a:pt x="285" y="225"/>
                  <a:pt x="285" y="225"/>
                  <a:pt x="285" y="225"/>
                </a:cubicBezTo>
                <a:cubicBezTo>
                  <a:pt x="284" y="225"/>
                  <a:pt x="284" y="225"/>
                  <a:pt x="284" y="225"/>
                </a:cubicBezTo>
                <a:cubicBezTo>
                  <a:pt x="284" y="224"/>
                  <a:pt x="284" y="224"/>
                  <a:pt x="284" y="224"/>
                </a:cubicBezTo>
                <a:close/>
                <a:moveTo>
                  <a:pt x="281" y="225"/>
                </a:moveTo>
                <a:cubicBezTo>
                  <a:pt x="282" y="224"/>
                  <a:pt x="282" y="224"/>
                  <a:pt x="282" y="224"/>
                </a:cubicBezTo>
                <a:cubicBezTo>
                  <a:pt x="283" y="224"/>
                  <a:pt x="283" y="224"/>
                  <a:pt x="283" y="224"/>
                </a:cubicBezTo>
                <a:cubicBezTo>
                  <a:pt x="283" y="224"/>
                  <a:pt x="283" y="224"/>
                  <a:pt x="283" y="224"/>
                </a:cubicBezTo>
                <a:cubicBezTo>
                  <a:pt x="284" y="226"/>
                  <a:pt x="284" y="226"/>
                  <a:pt x="284" y="226"/>
                </a:cubicBezTo>
                <a:cubicBezTo>
                  <a:pt x="284" y="228"/>
                  <a:pt x="284" y="228"/>
                  <a:pt x="284" y="228"/>
                </a:cubicBezTo>
                <a:cubicBezTo>
                  <a:pt x="283" y="230"/>
                  <a:pt x="283" y="230"/>
                  <a:pt x="283" y="230"/>
                </a:cubicBezTo>
                <a:cubicBezTo>
                  <a:pt x="283" y="230"/>
                  <a:pt x="283" y="230"/>
                  <a:pt x="283" y="230"/>
                </a:cubicBezTo>
                <a:cubicBezTo>
                  <a:pt x="283" y="233"/>
                  <a:pt x="283" y="233"/>
                  <a:pt x="283" y="233"/>
                </a:cubicBezTo>
                <a:cubicBezTo>
                  <a:pt x="282" y="233"/>
                  <a:pt x="282" y="233"/>
                  <a:pt x="282" y="233"/>
                </a:cubicBezTo>
                <a:cubicBezTo>
                  <a:pt x="281" y="235"/>
                  <a:pt x="281" y="235"/>
                  <a:pt x="281" y="235"/>
                </a:cubicBezTo>
                <a:cubicBezTo>
                  <a:pt x="281" y="237"/>
                  <a:pt x="281" y="237"/>
                  <a:pt x="281" y="237"/>
                </a:cubicBezTo>
                <a:cubicBezTo>
                  <a:pt x="281" y="238"/>
                  <a:pt x="281" y="238"/>
                  <a:pt x="281" y="238"/>
                </a:cubicBezTo>
                <a:cubicBezTo>
                  <a:pt x="280" y="238"/>
                  <a:pt x="280" y="238"/>
                  <a:pt x="280" y="238"/>
                </a:cubicBezTo>
                <a:cubicBezTo>
                  <a:pt x="280" y="237"/>
                  <a:pt x="280" y="237"/>
                  <a:pt x="280" y="237"/>
                </a:cubicBezTo>
                <a:cubicBezTo>
                  <a:pt x="280" y="236"/>
                  <a:pt x="280" y="236"/>
                  <a:pt x="280" y="236"/>
                </a:cubicBezTo>
                <a:cubicBezTo>
                  <a:pt x="280" y="236"/>
                  <a:pt x="280" y="236"/>
                  <a:pt x="280" y="236"/>
                </a:cubicBezTo>
                <a:cubicBezTo>
                  <a:pt x="279" y="234"/>
                  <a:pt x="279" y="234"/>
                  <a:pt x="279" y="234"/>
                </a:cubicBezTo>
                <a:cubicBezTo>
                  <a:pt x="280" y="233"/>
                  <a:pt x="280" y="233"/>
                  <a:pt x="280" y="233"/>
                </a:cubicBezTo>
                <a:cubicBezTo>
                  <a:pt x="281" y="233"/>
                  <a:pt x="281" y="233"/>
                  <a:pt x="281" y="233"/>
                </a:cubicBezTo>
                <a:cubicBezTo>
                  <a:pt x="281" y="232"/>
                  <a:pt x="281" y="232"/>
                  <a:pt x="281" y="232"/>
                </a:cubicBezTo>
                <a:cubicBezTo>
                  <a:pt x="281" y="232"/>
                  <a:pt x="281" y="232"/>
                  <a:pt x="281" y="232"/>
                </a:cubicBezTo>
                <a:cubicBezTo>
                  <a:pt x="281" y="232"/>
                  <a:pt x="281" y="232"/>
                  <a:pt x="281" y="232"/>
                </a:cubicBezTo>
                <a:cubicBezTo>
                  <a:pt x="280" y="232"/>
                  <a:pt x="280" y="232"/>
                  <a:pt x="280" y="232"/>
                </a:cubicBezTo>
                <a:cubicBezTo>
                  <a:pt x="280" y="231"/>
                  <a:pt x="280" y="231"/>
                  <a:pt x="280" y="231"/>
                </a:cubicBezTo>
                <a:cubicBezTo>
                  <a:pt x="280" y="231"/>
                  <a:pt x="280" y="231"/>
                  <a:pt x="280" y="231"/>
                </a:cubicBezTo>
                <a:cubicBezTo>
                  <a:pt x="281" y="230"/>
                  <a:pt x="281" y="230"/>
                  <a:pt x="281" y="230"/>
                </a:cubicBezTo>
                <a:cubicBezTo>
                  <a:pt x="279" y="230"/>
                  <a:pt x="279" y="230"/>
                  <a:pt x="279" y="230"/>
                </a:cubicBezTo>
                <a:cubicBezTo>
                  <a:pt x="279" y="229"/>
                  <a:pt x="279" y="229"/>
                  <a:pt x="279" y="229"/>
                </a:cubicBezTo>
                <a:cubicBezTo>
                  <a:pt x="280" y="229"/>
                  <a:pt x="280" y="229"/>
                  <a:pt x="280" y="229"/>
                </a:cubicBezTo>
                <a:cubicBezTo>
                  <a:pt x="281" y="228"/>
                  <a:pt x="281" y="228"/>
                  <a:pt x="281" y="228"/>
                </a:cubicBezTo>
                <a:cubicBezTo>
                  <a:pt x="281" y="227"/>
                  <a:pt x="281" y="227"/>
                  <a:pt x="281" y="227"/>
                </a:cubicBezTo>
                <a:cubicBezTo>
                  <a:pt x="282" y="226"/>
                  <a:pt x="282" y="226"/>
                  <a:pt x="282" y="226"/>
                </a:cubicBezTo>
                <a:cubicBezTo>
                  <a:pt x="281" y="226"/>
                  <a:pt x="281" y="226"/>
                  <a:pt x="281" y="226"/>
                </a:cubicBezTo>
                <a:cubicBezTo>
                  <a:pt x="281" y="225"/>
                  <a:pt x="281" y="225"/>
                  <a:pt x="281" y="225"/>
                </a:cubicBezTo>
                <a:close/>
                <a:moveTo>
                  <a:pt x="279" y="225"/>
                </a:moveTo>
                <a:cubicBezTo>
                  <a:pt x="279" y="224"/>
                  <a:pt x="279" y="224"/>
                  <a:pt x="279" y="224"/>
                </a:cubicBezTo>
                <a:cubicBezTo>
                  <a:pt x="280" y="225"/>
                  <a:pt x="280" y="225"/>
                  <a:pt x="280" y="225"/>
                </a:cubicBezTo>
                <a:cubicBezTo>
                  <a:pt x="279" y="226"/>
                  <a:pt x="279" y="226"/>
                  <a:pt x="279" y="226"/>
                </a:cubicBezTo>
                <a:cubicBezTo>
                  <a:pt x="279" y="228"/>
                  <a:pt x="279" y="228"/>
                  <a:pt x="279" y="228"/>
                </a:cubicBezTo>
                <a:cubicBezTo>
                  <a:pt x="278" y="228"/>
                  <a:pt x="278" y="228"/>
                  <a:pt x="278" y="228"/>
                </a:cubicBezTo>
                <a:cubicBezTo>
                  <a:pt x="278" y="227"/>
                  <a:pt x="278" y="227"/>
                  <a:pt x="278" y="227"/>
                </a:cubicBezTo>
                <a:cubicBezTo>
                  <a:pt x="279" y="226"/>
                  <a:pt x="279" y="226"/>
                  <a:pt x="279" y="226"/>
                </a:cubicBezTo>
                <a:cubicBezTo>
                  <a:pt x="278" y="226"/>
                  <a:pt x="278" y="226"/>
                  <a:pt x="278" y="226"/>
                </a:cubicBezTo>
                <a:cubicBezTo>
                  <a:pt x="279" y="225"/>
                  <a:pt x="279" y="225"/>
                  <a:pt x="279" y="225"/>
                </a:cubicBezTo>
                <a:close/>
                <a:moveTo>
                  <a:pt x="285" y="228"/>
                </a:moveTo>
                <a:cubicBezTo>
                  <a:pt x="285" y="227"/>
                  <a:pt x="285" y="227"/>
                  <a:pt x="285" y="227"/>
                </a:cubicBezTo>
                <a:cubicBezTo>
                  <a:pt x="285" y="225"/>
                  <a:pt x="285" y="225"/>
                  <a:pt x="285" y="225"/>
                </a:cubicBezTo>
                <a:cubicBezTo>
                  <a:pt x="286" y="225"/>
                  <a:pt x="286" y="225"/>
                  <a:pt x="286" y="225"/>
                </a:cubicBezTo>
                <a:cubicBezTo>
                  <a:pt x="288" y="225"/>
                  <a:pt x="288" y="225"/>
                  <a:pt x="288" y="225"/>
                </a:cubicBezTo>
                <a:cubicBezTo>
                  <a:pt x="287" y="224"/>
                  <a:pt x="287" y="224"/>
                  <a:pt x="287" y="224"/>
                </a:cubicBezTo>
                <a:cubicBezTo>
                  <a:pt x="288" y="223"/>
                  <a:pt x="288" y="223"/>
                  <a:pt x="288" y="223"/>
                </a:cubicBezTo>
                <a:cubicBezTo>
                  <a:pt x="287" y="222"/>
                  <a:pt x="287" y="222"/>
                  <a:pt x="287" y="222"/>
                </a:cubicBezTo>
                <a:cubicBezTo>
                  <a:pt x="287" y="220"/>
                  <a:pt x="287" y="220"/>
                  <a:pt x="287" y="220"/>
                </a:cubicBezTo>
                <a:cubicBezTo>
                  <a:pt x="288" y="219"/>
                  <a:pt x="288" y="219"/>
                  <a:pt x="288" y="219"/>
                </a:cubicBezTo>
                <a:cubicBezTo>
                  <a:pt x="288" y="215"/>
                  <a:pt x="288" y="215"/>
                  <a:pt x="288" y="215"/>
                </a:cubicBezTo>
                <a:cubicBezTo>
                  <a:pt x="289" y="213"/>
                  <a:pt x="289" y="213"/>
                  <a:pt x="289" y="213"/>
                </a:cubicBezTo>
                <a:cubicBezTo>
                  <a:pt x="290" y="214"/>
                  <a:pt x="290" y="214"/>
                  <a:pt x="290" y="214"/>
                </a:cubicBezTo>
                <a:cubicBezTo>
                  <a:pt x="290" y="215"/>
                  <a:pt x="290" y="215"/>
                  <a:pt x="290" y="215"/>
                </a:cubicBezTo>
                <a:cubicBezTo>
                  <a:pt x="291" y="216"/>
                  <a:pt x="291" y="216"/>
                  <a:pt x="291" y="216"/>
                </a:cubicBezTo>
                <a:cubicBezTo>
                  <a:pt x="292" y="217"/>
                  <a:pt x="292" y="217"/>
                  <a:pt x="292" y="217"/>
                </a:cubicBezTo>
                <a:cubicBezTo>
                  <a:pt x="292" y="222"/>
                  <a:pt x="292" y="222"/>
                  <a:pt x="292" y="222"/>
                </a:cubicBezTo>
                <a:cubicBezTo>
                  <a:pt x="292" y="223"/>
                  <a:pt x="292" y="223"/>
                  <a:pt x="292" y="223"/>
                </a:cubicBezTo>
                <a:cubicBezTo>
                  <a:pt x="291" y="223"/>
                  <a:pt x="291" y="223"/>
                  <a:pt x="291" y="223"/>
                </a:cubicBezTo>
                <a:cubicBezTo>
                  <a:pt x="291" y="220"/>
                  <a:pt x="291" y="220"/>
                  <a:pt x="291" y="220"/>
                </a:cubicBezTo>
                <a:cubicBezTo>
                  <a:pt x="291" y="218"/>
                  <a:pt x="291" y="218"/>
                  <a:pt x="291" y="218"/>
                </a:cubicBezTo>
                <a:cubicBezTo>
                  <a:pt x="290" y="219"/>
                  <a:pt x="290" y="219"/>
                  <a:pt x="290" y="219"/>
                </a:cubicBezTo>
                <a:cubicBezTo>
                  <a:pt x="290" y="223"/>
                  <a:pt x="290" y="223"/>
                  <a:pt x="290" y="223"/>
                </a:cubicBezTo>
                <a:cubicBezTo>
                  <a:pt x="290" y="224"/>
                  <a:pt x="290" y="224"/>
                  <a:pt x="290" y="224"/>
                </a:cubicBezTo>
                <a:cubicBezTo>
                  <a:pt x="290" y="225"/>
                  <a:pt x="290" y="225"/>
                  <a:pt x="290" y="225"/>
                </a:cubicBezTo>
                <a:cubicBezTo>
                  <a:pt x="289" y="225"/>
                  <a:pt x="289" y="225"/>
                  <a:pt x="289" y="225"/>
                </a:cubicBezTo>
                <a:cubicBezTo>
                  <a:pt x="288" y="225"/>
                  <a:pt x="288" y="225"/>
                  <a:pt x="288" y="225"/>
                </a:cubicBezTo>
                <a:cubicBezTo>
                  <a:pt x="288" y="227"/>
                  <a:pt x="288" y="227"/>
                  <a:pt x="288" y="227"/>
                </a:cubicBezTo>
                <a:cubicBezTo>
                  <a:pt x="286" y="228"/>
                  <a:pt x="286" y="228"/>
                  <a:pt x="286" y="228"/>
                </a:cubicBezTo>
                <a:cubicBezTo>
                  <a:pt x="285" y="229"/>
                  <a:pt x="285" y="229"/>
                  <a:pt x="285" y="229"/>
                </a:cubicBezTo>
                <a:cubicBezTo>
                  <a:pt x="285" y="228"/>
                  <a:pt x="285" y="228"/>
                  <a:pt x="285" y="228"/>
                </a:cubicBezTo>
                <a:close/>
                <a:moveTo>
                  <a:pt x="281" y="214"/>
                </a:moveTo>
                <a:cubicBezTo>
                  <a:pt x="283" y="213"/>
                  <a:pt x="283" y="213"/>
                  <a:pt x="283" y="213"/>
                </a:cubicBezTo>
                <a:cubicBezTo>
                  <a:pt x="284" y="214"/>
                  <a:pt x="284" y="214"/>
                  <a:pt x="284" y="214"/>
                </a:cubicBezTo>
                <a:cubicBezTo>
                  <a:pt x="284" y="215"/>
                  <a:pt x="284" y="215"/>
                  <a:pt x="284" y="215"/>
                </a:cubicBezTo>
                <a:cubicBezTo>
                  <a:pt x="284" y="216"/>
                  <a:pt x="284" y="216"/>
                  <a:pt x="284" y="216"/>
                </a:cubicBezTo>
                <a:cubicBezTo>
                  <a:pt x="284" y="217"/>
                  <a:pt x="284" y="217"/>
                  <a:pt x="284" y="217"/>
                </a:cubicBezTo>
                <a:cubicBezTo>
                  <a:pt x="285" y="216"/>
                  <a:pt x="285" y="216"/>
                  <a:pt x="285" y="216"/>
                </a:cubicBezTo>
                <a:cubicBezTo>
                  <a:pt x="286" y="215"/>
                  <a:pt x="286" y="215"/>
                  <a:pt x="286" y="215"/>
                </a:cubicBezTo>
                <a:cubicBezTo>
                  <a:pt x="287" y="217"/>
                  <a:pt x="287" y="217"/>
                  <a:pt x="287" y="217"/>
                </a:cubicBezTo>
                <a:cubicBezTo>
                  <a:pt x="287" y="217"/>
                  <a:pt x="287" y="217"/>
                  <a:pt x="287" y="217"/>
                </a:cubicBezTo>
                <a:cubicBezTo>
                  <a:pt x="286" y="218"/>
                  <a:pt x="286" y="218"/>
                  <a:pt x="286" y="218"/>
                </a:cubicBezTo>
                <a:cubicBezTo>
                  <a:pt x="286" y="219"/>
                  <a:pt x="286" y="219"/>
                  <a:pt x="286" y="219"/>
                </a:cubicBezTo>
                <a:cubicBezTo>
                  <a:pt x="286" y="219"/>
                  <a:pt x="286" y="219"/>
                  <a:pt x="286" y="219"/>
                </a:cubicBezTo>
                <a:cubicBezTo>
                  <a:pt x="285" y="219"/>
                  <a:pt x="285" y="219"/>
                  <a:pt x="285" y="219"/>
                </a:cubicBezTo>
                <a:cubicBezTo>
                  <a:pt x="284" y="218"/>
                  <a:pt x="284" y="218"/>
                  <a:pt x="284" y="218"/>
                </a:cubicBezTo>
                <a:cubicBezTo>
                  <a:pt x="282" y="216"/>
                  <a:pt x="282" y="216"/>
                  <a:pt x="282" y="216"/>
                </a:cubicBezTo>
                <a:cubicBezTo>
                  <a:pt x="282" y="217"/>
                  <a:pt x="282" y="217"/>
                  <a:pt x="282" y="217"/>
                </a:cubicBezTo>
                <a:cubicBezTo>
                  <a:pt x="284" y="219"/>
                  <a:pt x="284" y="219"/>
                  <a:pt x="284" y="219"/>
                </a:cubicBezTo>
                <a:cubicBezTo>
                  <a:pt x="284" y="220"/>
                  <a:pt x="284" y="220"/>
                  <a:pt x="284" y="220"/>
                </a:cubicBezTo>
                <a:cubicBezTo>
                  <a:pt x="285" y="220"/>
                  <a:pt x="285" y="220"/>
                  <a:pt x="285" y="220"/>
                </a:cubicBezTo>
                <a:cubicBezTo>
                  <a:pt x="286" y="221"/>
                  <a:pt x="286" y="221"/>
                  <a:pt x="286" y="221"/>
                </a:cubicBezTo>
                <a:cubicBezTo>
                  <a:pt x="285" y="222"/>
                  <a:pt x="285" y="222"/>
                  <a:pt x="285" y="222"/>
                </a:cubicBezTo>
                <a:cubicBezTo>
                  <a:pt x="285" y="224"/>
                  <a:pt x="285" y="224"/>
                  <a:pt x="285" y="224"/>
                </a:cubicBezTo>
                <a:cubicBezTo>
                  <a:pt x="284" y="224"/>
                  <a:pt x="284" y="224"/>
                  <a:pt x="284" y="224"/>
                </a:cubicBezTo>
                <a:cubicBezTo>
                  <a:pt x="283" y="222"/>
                  <a:pt x="283" y="222"/>
                  <a:pt x="283" y="222"/>
                </a:cubicBezTo>
                <a:cubicBezTo>
                  <a:pt x="283" y="221"/>
                  <a:pt x="283" y="221"/>
                  <a:pt x="283" y="221"/>
                </a:cubicBezTo>
                <a:cubicBezTo>
                  <a:pt x="281" y="218"/>
                  <a:pt x="281" y="218"/>
                  <a:pt x="281" y="218"/>
                </a:cubicBezTo>
                <a:cubicBezTo>
                  <a:pt x="281" y="220"/>
                  <a:pt x="281" y="220"/>
                  <a:pt x="281" y="220"/>
                </a:cubicBezTo>
                <a:cubicBezTo>
                  <a:pt x="282" y="221"/>
                  <a:pt x="282" y="221"/>
                  <a:pt x="282" y="221"/>
                </a:cubicBezTo>
                <a:cubicBezTo>
                  <a:pt x="282" y="223"/>
                  <a:pt x="282" y="223"/>
                  <a:pt x="282" y="223"/>
                </a:cubicBezTo>
                <a:cubicBezTo>
                  <a:pt x="281" y="224"/>
                  <a:pt x="281" y="224"/>
                  <a:pt x="281" y="224"/>
                </a:cubicBezTo>
                <a:cubicBezTo>
                  <a:pt x="280" y="224"/>
                  <a:pt x="280" y="224"/>
                  <a:pt x="280" y="224"/>
                </a:cubicBezTo>
                <a:cubicBezTo>
                  <a:pt x="279" y="222"/>
                  <a:pt x="279" y="222"/>
                  <a:pt x="279" y="222"/>
                </a:cubicBezTo>
                <a:cubicBezTo>
                  <a:pt x="280" y="221"/>
                  <a:pt x="280" y="221"/>
                  <a:pt x="280" y="221"/>
                </a:cubicBezTo>
                <a:cubicBezTo>
                  <a:pt x="279" y="221"/>
                  <a:pt x="279" y="221"/>
                  <a:pt x="279" y="221"/>
                </a:cubicBezTo>
                <a:cubicBezTo>
                  <a:pt x="279" y="220"/>
                  <a:pt x="279" y="220"/>
                  <a:pt x="279" y="220"/>
                </a:cubicBezTo>
                <a:cubicBezTo>
                  <a:pt x="278" y="218"/>
                  <a:pt x="278" y="218"/>
                  <a:pt x="278" y="218"/>
                </a:cubicBezTo>
                <a:cubicBezTo>
                  <a:pt x="279" y="217"/>
                  <a:pt x="279" y="217"/>
                  <a:pt x="279" y="217"/>
                </a:cubicBezTo>
                <a:cubicBezTo>
                  <a:pt x="280" y="217"/>
                  <a:pt x="280" y="217"/>
                  <a:pt x="280" y="217"/>
                </a:cubicBezTo>
                <a:cubicBezTo>
                  <a:pt x="280" y="217"/>
                  <a:pt x="280" y="217"/>
                  <a:pt x="280" y="217"/>
                </a:cubicBezTo>
                <a:cubicBezTo>
                  <a:pt x="280" y="216"/>
                  <a:pt x="280" y="216"/>
                  <a:pt x="280" y="216"/>
                </a:cubicBezTo>
                <a:cubicBezTo>
                  <a:pt x="279" y="215"/>
                  <a:pt x="279" y="215"/>
                  <a:pt x="279" y="215"/>
                </a:cubicBezTo>
                <a:cubicBezTo>
                  <a:pt x="280" y="213"/>
                  <a:pt x="280" y="213"/>
                  <a:pt x="280" y="213"/>
                </a:cubicBezTo>
                <a:cubicBezTo>
                  <a:pt x="281" y="215"/>
                  <a:pt x="281" y="215"/>
                  <a:pt x="281" y="215"/>
                </a:cubicBezTo>
                <a:cubicBezTo>
                  <a:pt x="281" y="214"/>
                  <a:pt x="281" y="214"/>
                  <a:pt x="281" y="214"/>
                </a:cubicBezTo>
                <a:cubicBezTo>
                  <a:pt x="281" y="214"/>
                  <a:pt x="281" y="214"/>
                  <a:pt x="281" y="214"/>
                </a:cubicBezTo>
                <a:close/>
                <a:moveTo>
                  <a:pt x="282" y="212"/>
                </a:moveTo>
                <a:cubicBezTo>
                  <a:pt x="283" y="211"/>
                  <a:pt x="283" y="211"/>
                  <a:pt x="283" y="211"/>
                </a:cubicBezTo>
                <a:cubicBezTo>
                  <a:pt x="283" y="212"/>
                  <a:pt x="283" y="212"/>
                  <a:pt x="283" y="212"/>
                </a:cubicBezTo>
                <a:cubicBezTo>
                  <a:pt x="282" y="213"/>
                  <a:pt x="282" y="213"/>
                  <a:pt x="282" y="213"/>
                </a:cubicBezTo>
                <a:cubicBezTo>
                  <a:pt x="282" y="212"/>
                  <a:pt x="282" y="212"/>
                  <a:pt x="282" y="212"/>
                </a:cubicBezTo>
                <a:close/>
                <a:moveTo>
                  <a:pt x="94" y="135"/>
                </a:moveTo>
                <a:cubicBezTo>
                  <a:pt x="94" y="134"/>
                  <a:pt x="94" y="134"/>
                  <a:pt x="94" y="134"/>
                </a:cubicBezTo>
                <a:cubicBezTo>
                  <a:pt x="94" y="134"/>
                  <a:pt x="94" y="134"/>
                  <a:pt x="94" y="134"/>
                </a:cubicBezTo>
                <a:cubicBezTo>
                  <a:pt x="95" y="135"/>
                  <a:pt x="95" y="135"/>
                  <a:pt x="95" y="135"/>
                </a:cubicBezTo>
                <a:cubicBezTo>
                  <a:pt x="94" y="135"/>
                  <a:pt x="94" y="135"/>
                  <a:pt x="94" y="135"/>
                </a:cubicBezTo>
                <a:close/>
                <a:moveTo>
                  <a:pt x="94" y="136"/>
                </a:moveTo>
                <a:cubicBezTo>
                  <a:pt x="94" y="136"/>
                  <a:pt x="94" y="136"/>
                  <a:pt x="94" y="136"/>
                </a:cubicBezTo>
                <a:cubicBezTo>
                  <a:pt x="94" y="137"/>
                  <a:pt x="94" y="137"/>
                  <a:pt x="94" y="137"/>
                </a:cubicBezTo>
                <a:cubicBezTo>
                  <a:pt x="96" y="139"/>
                  <a:pt x="96" y="139"/>
                  <a:pt x="96" y="139"/>
                </a:cubicBezTo>
                <a:cubicBezTo>
                  <a:pt x="96" y="140"/>
                  <a:pt x="96" y="140"/>
                  <a:pt x="96" y="140"/>
                </a:cubicBezTo>
                <a:cubicBezTo>
                  <a:pt x="94" y="138"/>
                  <a:pt x="94" y="138"/>
                  <a:pt x="94" y="138"/>
                </a:cubicBezTo>
                <a:cubicBezTo>
                  <a:pt x="93" y="137"/>
                  <a:pt x="93" y="137"/>
                  <a:pt x="93" y="137"/>
                </a:cubicBezTo>
                <a:cubicBezTo>
                  <a:pt x="93" y="136"/>
                  <a:pt x="93" y="136"/>
                  <a:pt x="93" y="136"/>
                </a:cubicBezTo>
                <a:cubicBezTo>
                  <a:pt x="93" y="136"/>
                  <a:pt x="94" y="136"/>
                  <a:pt x="94" y="136"/>
                </a:cubicBezTo>
                <a:close/>
                <a:moveTo>
                  <a:pt x="159" y="114"/>
                </a:moveTo>
                <a:cubicBezTo>
                  <a:pt x="158" y="116"/>
                  <a:pt x="158" y="116"/>
                  <a:pt x="158" y="116"/>
                </a:cubicBezTo>
                <a:cubicBezTo>
                  <a:pt x="158" y="119"/>
                  <a:pt x="158" y="119"/>
                  <a:pt x="158" y="119"/>
                </a:cubicBezTo>
                <a:cubicBezTo>
                  <a:pt x="157" y="118"/>
                  <a:pt x="157" y="118"/>
                  <a:pt x="157" y="118"/>
                </a:cubicBezTo>
                <a:cubicBezTo>
                  <a:pt x="157" y="117"/>
                  <a:pt x="157" y="117"/>
                  <a:pt x="157" y="117"/>
                </a:cubicBezTo>
                <a:cubicBezTo>
                  <a:pt x="156" y="117"/>
                  <a:pt x="156" y="117"/>
                  <a:pt x="156" y="117"/>
                </a:cubicBezTo>
                <a:cubicBezTo>
                  <a:pt x="155" y="117"/>
                  <a:pt x="155" y="117"/>
                  <a:pt x="155" y="117"/>
                </a:cubicBezTo>
                <a:cubicBezTo>
                  <a:pt x="154" y="116"/>
                  <a:pt x="154" y="116"/>
                  <a:pt x="154" y="116"/>
                </a:cubicBezTo>
                <a:cubicBezTo>
                  <a:pt x="154" y="116"/>
                  <a:pt x="154" y="116"/>
                  <a:pt x="154" y="116"/>
                </a:cubicBezTo>
                <a:cubicBezTo>
                  <a:pt x="157" y="112"/>
                  <a:pt x="157" y="112"/>
                  <a:pt x="157" y="112"/>
                </a:cubicBezTo>
                <a:cubicBezTo>
                  <a:pt x="158" y="111"/>
                  <a:pt x="158" y="111"/>
                  <a:pt x="158" y="111"/>
                </a:cubicBezTo>
                <a:cubicBezTo>
                  <a:pt x="159" y="112"/>
                  <a:pt x="159" y="112"/>
                  <a:pt x="159" y="112"/>
                </a:cubicBezTo>
                <a:cubicBezTo>
                  <a:pt x="159" y="114"/>
                  <a:pt x="159" y="114"/>
                  <a:pt x="159" y="114"/>
                </a:cubicBezTo>
                <a:close/>
                <a:moveTo>
                  <a:pt x="160" y="114"/>
                </a:moveTo>
                <a:cubicBezTo>
                  <a:pt x="160" y="114"/>
                  <a:pt x="161" y="114"/>
                  <a:pt x="161" y="114"/>
                </a:cubicBezTo>
                <a:cubicBezTo>
                  <a:pt x="161" y="113"/>
                  <a:pt x="161" y="113"/>
                  <a:pt x="161" y="113"/>
                </a:cubicBezTo>
                <a:cubicBezTo>
                  <a:pt x="160" y="112"/>
                  <a:pt x="160" y="112"/>
                  <a:pt x="160" y="112"/>
                </a:cubicBezTo>
                <a:cubicBezTo>
                  <a:pt x="160" y="111"/>
                  <a:pt x="160" y="111"/>
                  <a:pt x="160" y="111"/>
                </a:cubicBezTo>
                <a:cubicBezTo>
                  <a:pt x="159" y="110"/>
                  <a:pt x="159" y="110"/>
                  <a:pt x="159" y="110"/>
                </a:cubicBezTo>
                <a:cubicBezTo>
                  <a:pt x="160" y="110"/>
                  <a:pt x="160" y="110"/>
                  <a:pt x="160" y="110"/>
                </a:cubicBezTo>
                <a:cubicBezTo>
                  <a:pt x="162" y="110"/>
                  <a:pt x="162" y="110"/>
                  <a:pt x="162" y="110"/>
                </a:cubicBezTo>
                <a:cubicBezTo>
                  <a:pt x="165" y="111"/>
                  <a:pt x="165" y="111"/>
                  <a:pt x="165" y="111"/>
                </a:cubicBezTo>
                <a:cubicBezTo>
                  <a:pt x="165" y="112"/>
                  <a:pt x="165" y="112"/>
                  <a:pt x="165" y="112"/>
                </a:cubicBezTo>
                <a:cubicBezTo>
                  <a:pt x="163" y="112"/>
                  <a:pt x="163" y="112"/>
                  <a:pt x="163" y="112"/>
                </a:cubicBezTo>
                <a:cubicBezTo>
                  <a:pt x="161" y="115"/>
                  <a:pt x="161" y="115"/>
                  <a:pt x="161" y="115"/>
                </a:cubicBezTo>
                <a:cubicBezTo>
                  <a:pt x="160" y="114"/>
                  <a:pt x="160" y="114"/>
                  <a:pt x="160" y="114"/>
                </a:cubicBezTo>
                <a:close/>
                <a:moveTo>
                  <a:pt x="172" y="106"/>
                </a:moveTo>
                <a:cubicBezTo>
                  <a:pt x="173" y="106"/>
                  <a:pt x="173" y="106"/>
                  <a:pt x="173" y="106"/>
                </a:cubicBezTo>
                <a:cubicBezTo>
                  <a:pt x="174" y="106"/>
                  <a:pt x="174" y="106"/>
                  <a:pt x="174" y="106"/>
                </a:cubicBezTo>
                <a:cubicBezTo>
                  <a:pt x="175" y="107"/>
                  <a:pt x="175" y="107"/>
                  <a:pt x="175" y="107"/>
                </a:cubicBezTo>
                <a:cubicBezTo>
                  <a:pt x="174" y="108"/>
                  <a:pt x="174" y="108"/>
                  <a:pt x="174" y="108"/>
                </a:cubicBezTo>
                <a:cubicBezTo>
                  <a:pt x="174" y="108"/>
                  <a:pt x="174" y="108"/>
                  <a:pt x="174" y="108"/>
                </a:cubicBezTo>
                <a:cubicBezTo>
                  <a:pt x="172" y="106"/>
                  <a:pt x="172" y="106"/>
                  <a:pt x="172" y="106"/>
                </a:cubicBezTo>
                <a:close/>
                <a:moveTo>
                  <a:pt x="236" y="167"/>
                </a:moveTo>
                <a:cubicBezTo>
                  <a:pt x="237" y="166"/>
                  <a:pt x="237" y="166"/>
                  <a:pt x="237" y="166"/>
                </a:cubicBezTo>
                <a:cubicBezTo>
                  <a:pt x="238" y="167"/>
                  <a:pt x="238" y="167"/>
                  <a:pt x="238" y="167"/>
                </a:cubicBezTo>
                <a:cubicBezTo>
                  <a:pt x="237" y="167"/>
                  <a:pt x="237" y="167"/>
                  <a:pt x="237" y="167"/>
                </a:cubicBezTo>
                <a:cubicBezTo>
                  <a:pt x="236" y="167"/>
                  <a:pt x="236" y="167"/>
                  <a:pt x="236" y="167"/>
                </a:cubicBezTo>
                <a:close/>
                <a:moveTo>
                  <a:pt x="230" y="186"/>
                </a:moveTo>
                <a:cubicBezTo>
                  <a:pt x="231" y="185"/>
                  <a:pt x="231" y="185"/>
                  <a:pt x="231" y="185"/>
                </a:cubicBezTo>
                <a:cubicBezTo>
                  <a:pt x="232" y="186"/>
                  <a:pt x="232" y="186"/>
                  <a:pt x="232" y="186"/>
                </a:cubicBezTo>
                <a:cubicBezTo>
                  <a:pt x="230" y="186"/>
                  <a:pt x="230" y="186"/>
                  <a:pt x="230" y="186"/>
                </a:cubicBezTo>
                <a:close/>
                <a:moveTo>
                  <a:pt x="244" y="182"/>
                </a:moveTo>
                <a:cubicBezTo>
                  <a:pt x="245" y="182"/>
                  <a:pt x="245" y="182"/>
                  <a:pt x="245" y="182"/>
                </a:cubicBezTo>
                <a:cubicBezTo>
                  <a:pt x="246" y="182"/>
                  <a:pt x="246" y="182"/>
                  <a:pt x="246" y="182"/>
                </a:cubicBezTo>
                <a:cubicBezTo>
                  <a:pt x="245" y="183"/>
                  <a:pt x="245" y="183"/>
                  <a:pt x="245" y="183"/>
                </a:cubicBezTo>
                <a:cubicBezTo>
                  <a:pt x="244" y="183"/>
                  <a:pt x="244" y="183"/>
                  <a:pt x="244" y="183"/>
                </a:cubicBezTo>
                <a:cubicBezTo>
                  <a:pt x="244" y="182"/>
                  <a:pt x="244" y="182"/>
                  <a:pt x="244" y="182"/>
                </a:cubicBezTo>
                <a:close/>
                <a:moveTo>
                  <a:pt x="234" y="170"/>
                </a:moveTo>
                <a:cubicBezTo>
                  <a:pt x="234" y="169"/>
                  <a:pt x="234" y="169"/>
                  <a:pt x="234" y="169"/>
                </a:cubicBezTo>
                <a:cubicBezTo>
                  <a:pt x="235" y="169"/>
                  <a:pt x="235" y="169"/>
                  <a:pt x="235" y="169"/>
                </a:cubicBezTo>
                <a:cubicBezTo>
                  <a:pt x="235" y="170"/>
                  <a:pt x="235" y="170"/>
                  <a:pt x="235" y="170"/>
                </a:cubicBezTo>
                <a:cubicBezTo>
                  <a:pt x="234" y="170"/>
                  <a:pt x="234" y="170"/>
                  <a:pt x="234" y="170"/>
                </a:cubicBezTo>
                <a:close/>
                <a:moveTo>
                  <a:pt x="235" y="175"/>
                </a:moveTo>
                <a:cubicBezTo>
                  <a:pt x="235" y="173"/>
                  <a:pt x="235" y="173"/>
                  <a:pt x="235" y="173"/>
                </a:cubicBezTo>
                <a:cubicBezTo>
                  <a:pt x="236" y="172"/>
                  <a:pt x="236" y="172"/>
                  <a:pt x="236" y="172"/>
                </a:cubicBezTo>
                <a:cubicBezTo>
                  <a:pt x="237" y="172"/>
                  <a:pt x="237" y="172"/>
                  <a:pt x="237" y="172"/>
                </a:cubicBezTo>
                <a:cubicBezTo>
                  <a:pt x="237" y="174"/>
                  <a:pt x="237" y="174"/>
                  <a:pt x="237" y="174"/>
                </a:cubicBezTo>
                <a:cubicBezTo>
                  <a:pt x="238" y="174"/>
                  <a:pt x="238" y="174"/>
                  <a:pt x="238" y="174"/>
                </a:cubicBezTo>
                <a:cubicBezTo>
                  <a:pt x="238" y="174"/>
                  <a:pt x="238" y="174"/>
                  <a:pt x="238" y="174"/>
                </a:cubicBezTo>
                <a:cubicBezTo>
                  <a:pt x="237" y="175"/>
                  <a:pt x="237" y="175"/>
                  <a:pt x="237" y="175"/>
                </a:cubicBezTo>
                <a:cubicBezTo>
                  <a:pt x="235" y="175"/>
                  <a:pt x="235" y="175"/>
                  <a:pt x="235" y="175"/>
                </a:cubicBezTo>
                <a:close/>
                <a:moveTo>
                  <a:pt x="225" y="180"/>
                </a:moveTo>
                <a:cubicBezTo>
                  <a:pt x="226" y="179"/>
                  <a:pt x="226" y="179"/>
                  <a:pt x="226" y="179"/>
                </a:cubicBezTo>
                <a:cubicBezTo>
                  <a:pt x="227" y="179"/>
                  <a:pt x="227" y="179"/>
                  <a:pt x="227" y="179"/>
                </a:cubicBezTo>
                <a:cubicBezTo>
                  <a:pt x="227" y="178"/>
                  <a:pt x="227" y="178"/>
                  <a:pt x="227" y="178"/>
                </a:cubicBezTo>
                <a:cubicBezTo>
                  <a:pt x="229" y="177"/>
                  <a:pt x="229" y="177"/>
                  <a:pt x="229" y="177"/>
                </a:cubicBezTo>
                <a:cubicBezTo>
                  <a:pt x="230" y="176"/>
                  <a:pt x="230" y="176"/>
                  <a:pt x="230" y="176"/>
                </a:cubicBezTo>
                <a:cubicBezTo>
                  <a:pt x="232" y="175"/>
                  <a:pt x="232" y="175"/>
                  <a:pt x="232" y="175"/>
                </a:cubicBezTo>
                <a:cubicBezTo>
                  <a:pt x="232" y="175"/>
                  <a:pt x="232" y="175"/>
                  <a:pt x="232" y="175"/>
                </a:cubicBezTo>
                <a:cubicBezTo>
                  <a:pt x="233" y="173"/>
                  <a:pt x="233" y="173"/>
                  <a:pt x="233" y="173"/>
                </a:cubicBezTo>
                <a:cubicBezTo>
                  <a:pt x="234" y="174"/>
                  <a:pt x="234" y="174"/>
                  <a:pt x="234" y="174"/>
                </a:cubicBezTo>
                <a:cubicBezTo>
                  <a:pt x="233" y="174"/>
                  <a:pt x="233" y="174"/>
                  <a:pt x="233" y="174"/>
                </a:cubicBezTo>
                <a:cubicBezTo>
                  <a:pt x="234" y="175"/>
                  <a:pt x="234" y="175"/>
                  <a:pt x="234" y="175"/>
                </a:cubicBezTo>
                <a:cubicBezTo>
                  <a:pt x="233" y="176"/>
                  <a:pt x="233" y="176"/>
                  <a:pt x="233" y="176"/>
                </a:cubicBezTo>
                <a:cubicBezTo>
                  <a:pt x="232" y="176"/>
                  <a:pt x="232" y="176"/>
                  <a:pt x="232" y="176"/>
                </a:cubicBezTo>
                <a:cubicBezTo>
                  <a:pt x="230" y="178"/>
                  <a:pt x="230" y="178"/>
                  <a:pt x="230" y="178"/>
                </a:cubicBezTo>
                <a:cubicBezTo>
                  <a:pt x="229" y="179"/>
                  <a:pt x="229" y="179"/>
                  <a:pt x="229" y="179"/>
                </a:cubicBezTo>
                <a:cubicBezTo>
                  <a:pt x="229" y="179"/>
                  <a:pt x="229" y="179"/>
                  <a:pt x="229" y="179"/>
                </a:cubicBezTo>
                <a:cubicBezTo>
                  <a:pt x="229" y="180"/>
                  <a:pt x="229" y="180"/>
                  <a:pt x="229" y="180"/>
                </a:cubicBezTo>
                <a:cubicBezTo>
                  <a:pt x="227" y="180"/>
                  <a:pt x="227" y="180"/>
                  <a:pt x="227" y="180"/>
                </a:cubicBezTo>
                <a:cubicBezTo>
                  <a:pt x="227" y="180"/>
                  <a:pt x="227" y="180"/>
                  <a:pt x="227" y="180"/>
                </a:cubicBezTo>
                <a:cubicBezTo>
                  <a:pt x="225" y="180"/>
                  <a:pt x="225" y="180"/>
                  <a:pt x="225" y="180"/>
                </a:cubicBezTo>
                <a:cubicBezTo>
                  <a:pt x="225" y="180"/>
                  <a:pt x="225" y="180"/>
                  <a:pt x="225" y="180"/>
                </a:cubicBezTo>
                <a:close/>
                <a:moveTo>
                  <a:pt x="225" y="177"/>
                </a:moveTo>
                <a:cubicBezTo>
                  <a:pt x="227" y="176"/>
                  <a:pt x="227" y="176"/>
                  <a:pt x="227" y="176"/>
                </a:cubicBezTo>
                <a:cubicBezTo>
                  <a:pt x="227" y="177"/>
                  <a:pt x="227" y="177"/>
                  <a:pt x="227" y="177"/>
                </a:cubicBezTo>
                <a:cubicBezTo>
                  <a:pt x="226" y="178"/>
                  <a:pt x="226" y="178"/>
                  <a:pt x="226" y="178"/>
                </a:cubicBezTo>
                <a:cubicBezTo>
                  <a:pt x="226" y="178"/>
                  <a:pt x="225" y="177"/>
                  <a:pt x="225" y="177"/>
                </a:cubicBezTo>
                <a:close/>
                <a:moveTo>
                  <a:pt x="228" y="174"/>
                </a:moveTo>
                <a:cubicBezTo>
                  <a:pt x="230" y="173"/>
                  <a:pt x="230" y="173"/>
                  <a:pt x="230" y="173"/>
                </a:cubicBezTo>
                <a:cubicBezTo>
                  <a:pt x="230" y="172"/>
                  <a:pt x="230" y="172"/>
                  <a:pt x="230" y="172"/>
                </a:cubicBezTo>
                <a:cubicBezTo>
                  <a:pt x="231" y="171"/>
                  <a:pt x="231" y="171"/>
                  <a:pt x="231" y="171"/>
                </a:cubicBezTo>
                <a:cubicBezTo>
                  <a:pt x="232" y="171"/>
                  <a:pt x="232" y="171"/>
                  <a:pt x="232" y="171"/>
                </a:cubicBezTo>
                <a:cubicBezTo>
                  <a:pt x="232" y="171"/>
                  <a:pt x="232" y="171"/>
                  <a:pt x="232" y="171"/>
                </a:cubicBezTo>
                <a:cubicBezTo>
                  <a:pt x="231" y="172"/>
                  <a:pt x="231" y="172"/>
                  <a:pt x="231" y="172"/>
                </a:cubicBezTo>
                <a:cubicBezTo>
                  <a:pt x="230" y="173"/>
                  <a:pt x="230" y="173"/>
                  <a:pt x="230" y="173"/>
                </a:cubicBezTo>
                <a:cubicBezTo>
                  <a:pt x="229" y="174"/>
                  <a:pt x="229" y="174"/>
                  <a:pt x="229" y="174"/>
                </a:cubicBezTo>
                <a:cubicBezTo>
                  <a:pt x="229" y="175"/>
                  <a:pt x="229" y="175"/>
                  <a:pt x="229" y="175"/>
                </a:cubicBezTo>
                <a:cubicBezTo>
                  <a:pt x="228" y="175"/>
                  <a:pt x="228" y="175"/>
                  <a:pt x="228" y="175"/>
                </a:cubicBezTo>
                <a:cubicBezTo>
                  <a:pt x="228" y="174"/>
                  <a:pt x="228" y="174"/>
                  <a:pt x="228" y="174"/>
                </a:cubicBezTo>
                <a:close/>
                <a:moveTo>
                  <a:pt x="230" y="166"/>
                </a:moveTo>
                <a:cubicBezTo>
                  <a:pt x="231" y="165"/>
                  <a:pt x="231" y="165"/>
                  <a:pt x="231" y="165"/>
                </a:cubicBezTo>
                <a:cubicBezTo>
                  <a:pt x="232" y="166"/>
                  <a:pt x="232" y="166"/>
                  <a:pt x="232" y="166"/>
                </a:cubicBezTo>
                <a:cubicBezTo>
                  <a:pt x="231" y="166"/>
                  <a:pt x="231" y="166"/>
                  <a:pt x="231" y="166"/>
                </a:cubicBezTo>
                <a:cubicBezTo>
                  <a:pt x="232" y="167"/>
                  <a:pt x="232" y="167"/>
                  <a:pt x="232" y="167"/>
                </a:cubicBezTo>
                <a:cubicBezTo>
                  <a:pt x="231" y="168"/>
                  <a:pt x="231" y="168"/>
                  <a:pt x="231" y="168"/>
                </a:cubicBezTo>
                <a:cubicBezTo>
                  <a:pt x="230" y="166"/>
                  <a:pt x="230" y="166"/>
                  <a:pt x="230" y="166"/>
                </a:cubicBezTo>
                <a:close/>
                <a:moveTo>
                  <a:pt x="154" y="79"/>
                </a:moveTo>
                <a:cubicBezTo>
                  <a:pt x="154" y="79"/>
                  <a:pt x="155" y="79"/>
                  <a:pt x="155" y="79"/>
                </a:cubicBezTo>
                <a:cubicBezTo>
                  <a:pt x="156" y="79"/>
                  <a:pt x="156" y="79"/>
                  <a:pt x="156" y="79"/>
                </a:cubicBezTo>
                <a:cubicBezTo>
                  <a:pt x="155" y="80"/>
                  <a:pt x="155" y="80"/>
                  <a:pt x="155" y="80"/>
                </a:cubicBezTo>
                <a:cubicBezTo>
                  <a:pt x="154" y="79"/>
                  <a:pt x="154" y="79"/>
                  <a:pt x="154" y="79"/>
                </a:cubicBezTo>
                <a:close/>
                <a:moveTo>
                  <a:pt x="130" y="105"/>
                </a:moveTo>
                <a:cubicBezTo>
                  <a:pt x="131" y="103"/>
                  <a:pt x="131" y="103"/>
                  <a:pt x="131" y="103"/>
                </a:cubicBezTo>
                <a:cubicBezTo>
                  <a:pt x="131" y="102"/>
                  <a:pt x="131" y="102"/>
                  <a:pt x="131" y="102"/>
                </a:cubicBezTo>
                <a:cubicBezTo>
                  <a:pt x="129" y="101"/>
                  <a:pt x="129" y="101"/>
                  <a:pt x="129" y="101"/>
                </a:cubicBezTo>
                <a:cubicBezTo>
                  <a:pt x="130" y="100"/>
                  <a:pt x="130" y="100"/>
                  <a:pt x="130" y="100"/>
                </a:cubicBezTo>
                <a:cubicBezTo>
                  <a:pt x="129" y="98"/>
                  <a:pt x="129" y="98"/>
                  <a:pt x="129" y="98"/>
                </a:cubicBezTo>
                <a:cubicBezTo>
                  <a:pt x="128" y="97"/>
                  <a:pt x="128" y="97"/>
                  <a:pt x="128" y="97"/>
                </a:cubicBezTo>
                <a:cubicBezTo>
                  <a:pt x="126" y="96"/>
                  <a:pt x="126" y="96"/>
                  <a:pt x="126" y="96"/>
                </a:cubicBezTo>
                <a:cubicBezTo>
                  <a:pt x="125" y="98"/>
                  <a:pt x="125" y="98"/>
                  <a:pt x="125" y="98"/>
                </a:cubicBezTo>
                <a:cubicBezTo>
                  <a:pt x="124" y="98"/>
                  <a:pt x="124" y="98"/>
                  <a:pt x="124" y="98"/>
                </a:cubicBezTo>
                <a:cubicBezTo>
                  <a:pt x="123" y="96"/>
                  <a:pt x="123" y="96"/>
                  <a:pt x="123" y="96"/>
                </a:cubicBezTo>
                <a:cubicBezTo>
                  <a:pt x="123" y="94"/>
                  <a:pt x="123" y="94"/>
                  <a:pt x="123" y="94"/>
                </a:cubicBezTo>
                <a:cubicBezTo>
                  <a:pt x="126" y="92"/>
                  <a:pt x="126" y="92"/>
                  <a:pt x="126" y="92"/>
                </a:cubicBezTo>
                <a:cubicBezTo>
                  <a:pt x="127" y="89"/>
                  <a:pt x="127" y="89"/>
                  <a:pt x="127" y="89"/>
                </a:cubicBezTo>
                <a:cubicBezTo>
                  <a:pt x="127" y="89"/>
                  <a:pt x="127" y="89"/>
                  <a:pt x="127" y="89"/>
                </a:cubicBezTo>
                <a:cubicBezTo>
                  <a:pt x="127" y="92"/>
                  <a:pt x="127" y="92"/>
                  <a:pt x="127" y="92"/>
                </a:cubicBezTo>
                <a:cubicBezTo>
                  <a:pt x="127" y="93"/>
                  <a:pt x="127" y="93"/>
                  <a:pt x="127" y="93"/>
                </a:cubicBezTo>
                <a:cubicBezTo>
                  <a:pt x="129" y="93"/>
                  <a:pt x="129" y="93"/>
                  <a:pt x="129" y="93"/>
                </a:cubicBezTo>
                <a:cubicBezTo>
                  <a:pt x="129" y="94"/>
                  <a:pt x="129" y="94"/>
                  <a:pt x="129" y="94"/>
                </a:cubicBezTo>
                <a:cubicBezTo>
                  <a:pt x="130" y="94"/>
                  <a:pt x="130" y="94"/>
                  <a:pt x="130" y="94"/>
                </a:cubicBezTo>
                <a:cubicBezTo>
                  <a:pt x="131" y="94"/>
                  <a:pt x="131" y="94"/>
                  <a:pt x="131" y="94"/>
                </a:cubicBezTo>
                <a:cubicBezTo>
                  <a:pt x="133" y="94"/>
                  <a:pt x="133" y="94"/>
                  <a:pt x="133" y="94"/>
                </a:cubicBezTo>
                <a:cubicBezTo>
                  <a:pt x="134" y="95"/>
                  <a:pt x="134" y="95"/>
                  <a:pt x="134" y="95"/>
                </a:cubicBezTo>
                <a:cubicBezTo>
                  <a:pt x="134" y="96"/>
                  <a:pt x="134" y="96"/>
                  <a:pt x="134" y="96"/>
                </a:cubicBezTo>
                <a:cubicBezTo>
                  <a:pt x="133" y="96"/>
                  <a:pt x="133" y="96"/>
                  <a:pt x="133" y="96"/>
                </a:cubicBezTo>
                <a:cubicBezTo>
                  <a:pt x="134" y="98"/>
                  <a:pt x="134" y="98"/>
                  <a:pt x="134" y="98"/>
                </a:cubicBezTo>
                <a:cubicBezTo>
                  <a:pt x="135" y="99"/>
                  <a:pt x="135" y="99"/>
                  <a:pt x="135" y="99"/>
                </a:cubicBezTo>
                <a:cubicBezTo>
                  <a:pt x="135" y="100"/>
                  <a:pt x="135" y="100"/>
                  <a:pt x="135" y="100"/>
                </a:cubicBezTo>
                <a:cubicBezTo>
                  <a:pt x="138" y="102"/>
                  <a:pt x="138" y="102"/>
                  <a:pt x="138" y="102"/>
                </a:cubicBezTo>
                <a:cubicBezTo>
                  <a:pt x="138" y="104"/>
                  <a:pt x="138" y="104"/>
                  <a:pt x="138" y="104"/>
                </a:cubicBezTo>
                <a:cubicBezTo>
                  <a:pt x="137" y="104"/>
                  <a:pt x="137" y="104"/>
                  <a:pt x="137" y="104"/>
                </a:cubicBezTo>
                <a:cubicBezTo>
                  <a:pt x="135" y="103"/>
                  <a:pt x="135" y="103"/>
                  <a:pt x="135" y="103"/>
                </a:cubicBezTo>
                <a:cubicBezTo>
                  <a:pt x="135" y="103"/>
                  <a:pt x="135" y="103"/>
                  <a:pt x="135" y="103"/>
                </a:cubicBezTo>
                <a:cubicBezTo>
                  <a:pt x="134" y="104"/>
                  <a:pt x="134" y="104"/>
                  <a:pt x="134" y="104"/>
                </a:cubicBezTo>
                <a:cubicBezTo>
                  <a:pt x="133" y="104"/>
                  <a:pt x="133" y="104"/>
                  <a:pt x="133" y="104"/>
                </a:cubicBezTo>
                <a:cubicBezTo>
                  <a:pt x="131" y="106"/>
                  <a:pt x="131" y="106"/>
                  <a:pt x="131" y="106"/>
                </a:cubicBezTo>
                <a:cubicBezTo>
                  <a:pt x="130" y="105"/>
                  <a:pt x="130" y="105"/>
                  <a:pt x="130" y="105"/>
                </a:cubicBezTo>
                <a:close/>
                <a:moveTo>
                  <a:pt x="122" y="148"/>
                </a:moveTo>
                <a:cubicBezTo>
                  <a:pt x="123" y="148"/>
                  <a:pt x="123" y="148"/>
                  <a:pt x="123" y="148"/>
                </a:cubicBezTo>
                <a:cubicBezTo>
                  <a:pt x="125" y="148"/>
                  <a:pt x="125" y="148"/>
                  <a:pt x="125" y="148"/>
                </a:cubicBezTo>
                <a:cubicBezTo>
                  <a:pt x="126" y="148"/>
                  <a:pt x="126" y="148"/>
                  <a:pt x="126" y="148"/>
                </a:cubicBezTo>
                <a:cubicBezTo>
                  <a:pt x="127" y="148"/>
                  <a:pt x="127" y="148"/>
                  <a:pt x="127" y="148"/>
                </a:cubicBezTo>
                <a:cubicBezTo>
                  <a:pt x="128" y="147"/>
                  <a:pt x="128" y="147"/>
                  <a:pt x="128" y="147"/>
                </a:cubicBezTo>
                <a:cubicBezTo>
                  <a:pt x="130" y="147"/>
                  <a:pt x="130" y="147"/>
                  <a:pt x="130" y="147"/>
                </a:cubicBezTo>
                <a:cubicBezTo>
                  <a:pt x="130" y="148"/>
                  <a:pt x="130" y="148"/>
                  <a:pt x="130" y="148"/>
                </a:cubicBezTo>
                <a:cubicBezTo>
                  <a:pt x="131" y="149"/>
                  <a:pt x="131" y="149"/>
                  <a:pt x="131" y="149"/>
                </a:cubicBezTo>
                <a:cubicBezTo>
                  <a:pt x="131" y="150"/>
                  <a:pt x="131" y="150"/>
                  <a:pt x="131" y="150"/>
                </a:cubicBezTo>
                <a:cubicBezTo>
                  <a:pt x="130" y="152"/>
                  <a:pt x="130" y="152"/>
                  <a:pt x="130" y="152"/>
                </a:cubicBezTo>
                <a:cubicBezTo>
                  <a:pt x="130" y="153"/>
                  <a:pt x="130" y="153"/>
                  <a:pt x="130" y="153"/>
                </a:cubicBezTo>
                <a:cubicBezTo>
                  <a:pt x="128" y="153"/>
                  <a:pt x="128" y="153"/>
                  <a:pt x="128" y="153"/>
                </a:cubicBezTo>
                <a:cubicBezTo>
                  <a:pt x="127" y="153"/>
                  <a:pt x="127" y="153"/>
                  <a:pt x="127" y="153"/>
                </a:cubicBezTo>
                <a:cubicBezTo>
                  <a:pt x="126" y="153"/>
                  <a:pt x="126" y="153"/>
                  <a:pt x="126" y="153"/>
                </a:cubicBezTo>
                <a:cubicBezTo>
                  <a:pt x="125" y="153"/>
                  <a:pt x="125" y="153"/>
                  <a:pt x="125" y="153"/>
                </a:cubicBezTo>
                <a:cubicBezTo>
                  <a:pt x="124" y="152"/>
                  <a:pt x="124" y="152"/>
                  <a:pt x="124" y="152"/>
                </a:cubicBezTo>
                <a:cubicBezTo>
                  <a:pt x="122" y="150"/>
                  <a:pt x="122" y="150"/>
                  <a:pt x="122" y="150"/>
                </a:cubicBezTo>
                <a:cubicBezTo>
                  <a:pt x="122" y="148"/>
                  <a:pt x="122" y="148"/>
                  <a:pt x="122" y="148"/>
                </a:cubicBezTo>
                <a:close/>
                <a:moveTo>
                  <a:pt x="205" y="167"/>
                </a:moveTo>
                <a:cubicBezTo>
                  <a:pt x="207" y="165"/>
                  <a:pt x="207" y="165"/>
                  <a:pt x="207" y="165"/>
                </a:cubicBezTo>
                <a:cubicBezTo>
                  <a:pt x="208" y="165"/>
                  <a:pt x="208" y="165"/>
                  <a:pt x="208" y="165"/>
                </a:cubicBezTo>
                <a:cubicBezTo>
                  <a:pt x="208" y="166"/>
                  <a:pt x="208" y="166"/>
                  <a:pt x="208" y="166"/>
                </a:cubicBezTo>
                <a:cubicBezTo>
                  <a:pt x="206" y="167"/>
                  <a:pt x="206" y="167"/>
                  <a:pt x="206" y="167"/>
                </a:cubicBezTo>
                <a:cubicBezTo>
                  <a:pt x="205" y="167"/>
                  <a:pt x="205" y="167"/>
                  <a:pt x="205" y="167"/>
                </a:cubicBezTo>
                <a:close/>
                <a:moveTo>
                  <a:pt x="192" y="176"/>
                </a:moveTo>
                <a:cubicBezTo>
                  <a:pt x="193" y="176"/>
                  <a:pt x="193" y="176"/>
                  <a:pt x="193" y="176"/>
                </a:cubicBezTo>
                <a:cubicBezTo>
                  <a:pt x="194" y="176"/>
                  <a:pt x="194" y="176"/>
                  <a:pt x="194" y="176"/>
                </a:cubicBezTo>
                <a:cubicBezTo>
                  <a:pt x="193" y="177"/>
                  <a:pt x="193" y="177"/>
                  <a:pt x="193" y="177"/>
                </a:cubicBezTo>
                <a:cubicBezTo>
                  <a:pt x="192" y="176"/>
                  <a:pt x="192" y="176"/>
                  <a:pt x="192" y="176"/>
                </a:cubicBezTo>
                <a:close/>
                <a:moveTo>
                  <a:pt x="192" y="187"/>
                </a:moveTo>
                <a:cubicBezTo>
                  <a:pt x="192" y="186"/>
                  <a:pt x="192" y="186"/>
                  <a:pt x="192" y="186"/>
                </a:cubicBezTo>
                <a:cubicBezTo>
                  <a:pt x="193" y="187"/>
                  <a:pt x="193" y="187"/>
                  <a:pt x="193" y="187"/>
                </a:cubicBezTo>
                <a:cubicBezTo>
                  <a:pt x="193" y="188"/>
                  <a:pt x="193" y="188"/>
                  <a:pt x="193" y="188"/>
                </a:cubicBezTo>
                <a:cubicBezTo>
                  <a:pt x="192" y="188"/>
                  <a:pt x="192" y="188"/>
                  <a:pt x="192" y="188"/>
                </a:cubicBezTo>
                <a:cubicBezTo>
                  <a:pt x="191" y="188"/>
                  <a:pt x="191" y="188"/>
                  <a:pt x="191" y="188"/>
                </a:cubicBezTo>
                <a:cubicBezTo>
                  <a:pt x="192" y="187"/>
                  <a:pt x="192" y="187"/>
                  <a:pt x="192" y="187"/>
                </a:cubicBezTo>
                <a:close/>
                <a:moveTo>
                  <a:pt x="187" y="193"/>
                </a:moveTo>
                <a:cubicBezTo>
                  <a:pt x="186" y="192"/>
                  <a:pt x="186" y="192"/>
                  <a:pt x="186" y="192"/>
                </a:cubicBezTo>
                <a:cubicBezTo>
                  <a:pt x="187" y="192"/>
                  <a:pt x="187" y="192"/>
                  <a:pt x="187" y="192"/>
                </a:cubicBezTo>
                <a:cubicBezTo>
                  <a:pt x="188" y="192"/>
                  <a:pt x="188" y="192"/>
                  <a:pt x="188" y="192"/>
                </a:cubicBezTo>
                <a:cubicBezTo>
                  <a:pt x="188" y="191"/>
                  <a:pt x="188" y="191"/>
                  <a:pt x="188" y="191"/>
                </a:cubicBezTo>
                <a:cubicBezTo>
                  <a:pt x="189" y="192"/>
                  <a:pt x="189" y="192"/>
                  <a:pt x="189" y="192"/>
                </a:cubicBezTo>
                <a:cubicBezTo>
                  <a:pt x="190" y="191"/>
                  <a:pt x="190" y="191"/>
                  <a:pt x="190" y="191"/>
                </a:cubicBezTo>
                <a:cubicBezTo>
                  <a:pt x="189" y="190"/>
                  <a:pt x="189" y="190"/>
                  <a:pt x="189" y="190"/>
                </a:cubicBezTo>
                <a:cubicBezTo>
                  <a:pt x="190" y="189"/>
                  <a:pt x="190" y="189"/>
                  <a:pt x="190" y="189"/>
                </a:cubicBezTo>
                <a:cubicBezTo>
                  <a:pt x="191" y="189"/>
                  <a:pt x="191" y="189"/>
                  <a:pt x="191" y="189"/>
                </a:cubicBezTo>
                <a:cubicBezTo>
                  <a:pt x="192" y="189"/>
                  <a:pt x="192" y="189"/>
                  <a:pt x="192" y="189"/>
                </a:cubicBezTo>
                <a:cubicBezTo>
                  <a:pt x="191" y="190"/>
                  <a:pt x="191" y="190"/>
                  <a:pt x="191" y="190"/>
                </a:cubicBezTo>
                <a:cubicBezTo>
                  <a:pt x="192" y="190"/>
                  <a:pt x="192" y="190"/>
                  <a:pt x="192" y="190"/>
                </a:cubicBezTo>
                <a:cubicBezTo>
                  <a:pt x="192" y="190"/>
                  <a:pt x="192" y="190"/>
                  <a:pt x="192" y="190"/>
                </a:cubicBezTo>
                <a:cubicBezTo>
                  <a:pt x="193" y="190"/>
                  <a:pt x="193" y="190"/>
                  <a:pt x="193" y="190"/>
                </a:cubicBezTo>
                <a:cubicBezTo>
                  <a:pt x="194" y="191"/>
                  <a:pt x="194" y="191"/>
                  <a:pt x="194" y="191"/>
                </a:cubicBezTo>
                <a:cubicBezTo>
                  <a:pt x="193" y="191"/>
                  <a:pt x="193" y="191"/>
                  <a:pt x="193" y="191"/>
                </a:cubicBezTo>
                <a:cubicBezTo>
                  <a:pt x="193" y="192"/>
                  <a:pt x="193" y="192"/>
                  <a:pt x="193" y="192"/>
                </a:cubicBezTo>
                <a:cubicBezTo>
                  <a:pt x="193" y="192"/>
                  <a:pt x="193" y="192"/>
                  <a:pt x="193" y="192"/>
                </a:cubicBezTo>
                <a:cubicBezTo>
                  <a:pt x="194" y="193"/>
                  <a:pt x="194" y="193"/>
                  <a:pt x="194" y="193"/>
                </a:cubicBezTo>
                <a:cubicBezTo>
                  <a:pt x="193" y="193"/>
                  <a:pt x="193" y="193"/>
                  <a:pt x="193" y="193"/>
                </a:cubicBezTo>
                <a:cubicBezTo>
                  <a:pt x="192" y="193"/>
                  <a:pt x="192" y="193"/>
                  <a:pt x="192" y="193"/>
                </a:cubicBezTo>
                <a:cubicBezTo>
                  <a:pt x="191" y="194"/>
                  <a:pt x="191" y="194"/>
                  <a:pt x="191" y="194"/>
                </a:cubicBezTo>
                <a:cubicBezTo>
                  <a:pt x="190" y="194"/>
                  <a:pt x="190" y="194"/>
                  <a:pt x="190" y="194"/>
                </a:cubicBezTo>
                <a:cubicBezTo>
                  <a:pt x="190" y="193"/>
                  <a:pt x="190" y="193"/>
                  <a:pt x="190" y="193"/>
                </a:cubicBezTo>
                <a:cubicBezTo>
                  <a:pt x="189" y="194"/>
                  <a:pt x="189" y="194"/>
                  <a:pt x="189" y="194"/>
                </a:cubicBezTo>
                <a:cubicBezTo>
                  <a:pt x="188" y="194"/>
                  <a:pt x="188" y="194"/>
                  <a:pt x="188" y="194"/>
                </a:cubicBezTo>
                <a:cubicBezTo>
                  <a:pt x="187" y="193"/>
                  <a:pt x="187" y="193"/>
                  <a:pt x="187" y="193"/>
                </a:cubicBezTo>
                <a:close/>
                <a:moveTo>
                  <a:pt x="174" y="206"/>
                </a:moveTo>
                <a:cubicBezTo>
                  <a:pt x="173" y="206"/>
                  <a:pt x="173" y="206"/>
                  <a:pt x="173" y="206"/>
                </a:cubicBezTo>
                <a:cubicBezTo>
                  <a:pt x="173" y="207"/>
                  <a:pt x="173" y="207"/>
                  <a:pt x="173" y="207"/>
                </a:cubicBezTo>
                <a:cubicBezTo>
                  <a:pt x="172" y="206"/>
                  <a:pt x="172" y="206"/>
                  <a:pt x="172" y="206"/>
                </a:cubicBezTo>
                <a:cubicBezTo>
                  <a:pt x="172" y="205"/>
                  <a:pt x="172" y="205"/>
                  <a:pt x="172" y="205"/>
                </a:cubicBezTo>
                <a:cubicBezTo>
                  <a:pt x="172" y="204"/>
                  <a:pt x="172" y="204"/>
                  <a:pt x="172" y="204"/>
                </a:cubicBezTo>
                <a:cubicBezTo>
                  <a:pt x="173" y="203"/>
                  <a:pt x="173" y="203"/>
                  <a:pt x="173" y="203"/>
                </a:cubicBezTo>
                <a:cubicBezTo>
                  <a:pt x="173" y="201"/>
                  <a:pt x="173" y="201"/>
                  <a:pt x="173" y="201"/>
                </a:cubicBezTo>
                <a:cubicBezTo>
                  <a:pt x="172" y="201"/>
                  <a:pt x="172" y="201"/>
                  <a:pt x="172" y="201"/>
                </a:cubicBezTo>
                <a:cubicBezTo>
                  <a:pt x="172" y="200"/>
                  <a:pt x="172" y="200"/>
                  <a:pt x="172" y="200"/>
                </a:cubicBezTo>
                <a:cubicBezTo>
                  <a:pt x="174" y="199"/>
                  <a:pt x="174" y="199"/>
                  <a:pt x="174" y="199"/>
                </a:cubicBezTo>
                <a:cubicBezTo>
                  <a:pt x="177" y="197"/>
                  <a:pt x="177" y="197"/>
                  <a:pt x="177" y="197"/>
                </a:cubicBezTo>
                <a:cubicBezTo>
                  <a:pt x="178" y="197"/>
                  <a:pt x="178" y="197"/>
                  <a:pt x="178" y="197"/>
                </a:cubicBezTo>
                <a:cubicBezTo>
                  <a:pt x="179" y="197"/>
                  <a:pt x="179" y="197"/>
                  <a:pt x="179" y="197"/>
                </a:cubicBezTo>
                <a:cubicBezTo>
                  <a:pt x="179" y="200"/>
                  <a:pt x="179" y="200"/>
                  <a:pt x="179" y="200"/>
                </a:cubicBezTo>
                <a:cubicBezTo>
                  <a:pt x="179" y="200"/>
                  <a:pt x="179" y="200"/>
                  <a:pt x="179" y="200"/>
                </a:cubicBezTo>
                <a:cubicBezTo>
                  <a:pt x="180" y="199"/>
                  <a:pt x="180" y="199"/>
                  <a:pt x="180" y="199"/>
                </a:cubicBezTo>
                <a:cubicBezTo>
                  <a:pt x="180" y="198"/>
                  <a:pt x="180" y="198"/>
                  <a:pt x="180" y="198"/>
                </a:cubicBezTo>
                <a:cubicBezTo>
                  <a:pt x="180" y="197"/>
                  <a:pt x="180" y="197"/>
                  <a:pt x="180" y="197"/>
                </a:cubicBezTo>
                <a:cubicBezTo>
                  <a:pt x="181" y="198"/>
                  <a:pt x="181" y="198"/>
                  <a:pt x="181" y="198"/>
                </a:cubicBezTo>
                <a:cubicBezTo>
                  <a:pt x="182" y="197"/>
                  <a:pt x="182" y="197"/>
                  <a:pt x="182" y="197"/>
                </a:cubicBezTo>
                <a:cubicBezTo>
                  <a:pt x="180" y="196"/>
                  <a:pt x="180" y="196"/>
                  <a:pt x="180" y="196"/>
                </a:cubicBezTo>
                <a:cubicBezTo>
                  <a:pt x="180" y="196"/>
                  <a:pt x="180" y="196"/>
                  <a:pt x="180" y="196"/>
                </a:cubicBezTo>
                <a:cubicBezTo>
                  <a:pt x="181" y="194"/>
                  <a:pt x="181" y="194"/>
                  <a:pt x="181" y="194"/>
                </a:cubicBezTo>
                <a:cubicBezTo>
                  <a:pt x="182" y="194"/>
                  <a:pt x="182" y="194"/>
                  <a:pt x="182" y="194"/>
                </a:cubicBezTo>
                <a:cubicBezTo>
                  <a:pt x="183" y="195"/>
                  <a:pt x="183" y="195"/>
                  <a:pt x="183" y="195"/>
                </a:cubicBezTo>
                <a:cubicBezTo>
                  <a:pt x="183" y="196"/>
                  <a:pt x="183" y="196"/>
                  <a:pt x="183" y="196"/>
                </a:cubicBezTo>
                <a:cubicBezTo>
                  <a:pt x="182" y="197"/>
                  <a:pt x="182" y="197"/>
                  <a:pt x="182" y="197"/>
                </a:cubicBezTo>
                <a:cubicBezTo>
                  <a:pt x="182" y="198"/>
                  <a:pt x="182" y="198"/>
                  <a:pt x="182" y="198"/>
                </a:cubicBezTo>
                <a:cubicBezTo>
                  <a:pt x="183" y="197"/>
                  <a:pt x="183" y="197"/>
                  <a:pt x="183" y="197"/>
                </a:cubicBezTo>
                <a:cubicBezTo>
                  <a:pt x="184" y="196"/>
                  <a:pt x="184" y="196"/>
                  <a:pt x="184" y="196"/>
                </a:cubicBezTo>
                <a:cubicBezTo>
                  <a:pt x="184" y="196"/>
                  <a:pt x="184" y="196"/>
                  <a:pt x="184" y="196"/>
                </a:cubicBezTo>
                <a:cubicBezTo>
                  <a:pt x="185" y="197"/>
                  <a:pt x="185" y="197"/>
                  <a:pt x="185" y="197"/>
                </a:cubicBezTo>
                <a:cubicBezTo>
                  <a:pt x="185" y="195"/>
                  <a:pt x="185" y="195"/>
                  <a:pt x="185" y="195"/>
                </a:cubicBezTo>
                <a:cubicBezTo>
                  <a:pt x="185" y="195"/>
                  <a:pt x="185" y="195"/>
                  <a:pt x="185" y="195"/>
                </a:cubicBezTo>
                <a:cubicBezTo>
                  <a:pt x="185" y="194"/>
                  <a:pt x="185" y="194"/>
                  <a:pt x="185" y="194"/>
                </a:cubicBezTo>
                <a:cubicBezTo>
                  <a:pt x="186" y="195"/>
                  <a:pt x="186" y="195"/>
                  <a:pt x="186" y="195"/>
                </a:cubicBezTo>
                <a:cubicBezTo>
                  <a:pt x="186" y="196"/>
                  <a:pt x="186" y="196"/>
                  <a:pt x="186" y="196"/>
                </a:cubicBezTo>
                <a:cubicBezTo>
                  <a:pt x="186" y="196"/>
                  <a:pt x="186" y="196"/>
                  <a:pt x="186" y="196"/>
                </a:cubicBezTo>
                <a:cubicBezTo>
                  <a:pt x="186" y="197"/>
                  <a:pt x="186" y="197"/>
                  <a:pt x="186" y="197"/>
                </a:cubicBezTo>
                <a:cubicBezTo>
                  <a:pt x="187" y="197"/>
                  <a:pt x="187" y="197"/>
                  <a:pt x="187" y="197"/>
                </a:cubicBezTo>
                <a:cubicBezTo>
                  <a:pt x="188" y="196"/>
                  <a:pt x="188" y="196"/>
                  <a:pt x="188" y="196"/>
                </a:cubicBezTo>
                <a:cubicBezTo>
                  <a:pt x="189" y="195"/>
                  <a:pt x="189" y="195"/>
                  <a:pt x="189" y="195"/>
                </a:cubicBezTo>
                <a:cubicBezTo>
                  <a:pt x="190" y="196"/>
                  <a:pt x="190" y="196"/>
                  <a:pt x="190" y="196"/>
                </a:cubicBezTo>
                <a:cubicBezTo>
                  <a:pt x="190" y="197"/>
                  <a:pt x="190" y="197"/>
                  <a:pt x="190" y="197"/>
                </a:cubicBezTo>
                <a:cubicBezTo>
                  <a:pt x="189" y="197"/>
                  <a:pt x="189" y="197"/>
                  <a:pt x="189" y="197"/>
                </a:cubicBezTo>
                <a:cubicBezTo>
                  <a:pt x="188" y="197"/>
                  <a:pt x="188" y="197"/>
                  <a:pt x="188" y="197"/>
                </a:cubicBezTo>
                <a:cubicBezTo>
                  <a:pt x="188" y="198"/>
                  <a:pt x="188" y="198"/>
                  <a:pt x="188" y="198"/>
                </a:cubicBezTo>
                <a:cubicBezTo>
                  <a:pt x="189" y="198"/>
                  <a:pt x="189" y="198"/>
                  <a:pt x="189" y="198"/>
                </a:cubicBezTo>
                <a:cubicBezTo>
                  <a:pt x="189" y="199"/>
                  <a:pt x="189" y="199"/>
                  <a:pt x="189" y="199"/>
                </a:cubicBezTo>
                <a:cubicBezTo>
                  <a:pt x="188" y="201"/>
                  <a:pt x="188" y="201"/>
                  <a:pt x="188" y="201"/>
                </a:cubicBezTo>
                <a:cubicBezTo>
                  <a:pt x="187" y="200"/>
                  <a:pt x="187" y="200"/>
                  <a:pt x="187" y="200"/>
                </a:cubicBezTo>
                <a:cubicBezTo>
                  <a:pt x="187" y="200"/>
                  <a:pt x="187" y="200"/>
                  <a:pt x="187" y="200"/>
                </a:cubicBezTo>
                <a:cubicBezTo>
                  <a:pt x="186" y="200"/>
                  <a:pt x="186" y="200"/>
                  <a:pt x="186" y="200"/>
                </a:cubicBezTo>
                <a:cubicBezTo>
                  <a:pt x="185" y="200"/>
                  <a:pt x="185" y="200"/>
                  <a:pt x="185" y="200"/>
                </a:cubicBezTo>
                <a:cubicBezTo>
                  <a:pt x="184" y="200"/>
                  <a:pt x="184" y="200"/>
                  <a:pt x="184" y="200"/>
                </a:cubicBezTo>
                <a:cubicBezTo>
                  <a:pt x="184" y="200"/>
                  <a:pt x="184" y="200"/>
                  <a:pt x="184" y="200"/>
                </a:cubicBezTo>
                <a:cubicBezTo>
                  <a:pt x="185" y="201"/>
                  <a:pt x="185" y="201"/>
                  <a:pt x="185" y="201"/>
                </a:cubicBezTo>
                <a:cubicBezTo>
                  <a:pt x="185" y="202"/>
                  <a:pt x="185" y="202"/>
                  <a:pt x="185" y="202"/>
                </a:cubicBezTo>
                <a:cubicBezTo>
                  <a:pt x="185" y="203"/>
                  <a:pt x="185" y="203"/>
                  <a:pt x="185" y="203"/>
                </a:cubicBezTo>
                <a:cubicBezTo>
                  <a:pt x="184" y="203"/>
                  <a:pt x="184" y="203"/>
                  <a:pt x="184" y="203"/>
                </a:cubicBezTo>
                <a:cubicBezTo>
                  <a:pt x="183" y="202"/>
                  <a:pt x="183" y="202"/>
                  <a:pt x="183" y="202"/>
                </a:cubicBezTo>
                <a:cubicBezTo>
                  <a:pt x="181" y="202"/>
                  <a:pt x="181" y="202"/>
                  <a:pt x="181" y="202"/>
                </a:cubicBezTo>
                <a:cubicBezTo>
                  <a:pt x="181" y="202"/>
                  <a:pt x="181" y="202"/>
                  <a:pt x="181" y="202"/>
                </a:cubicBezTo>
                <a:cubicBezTo>
                  <a:pt x="182" y="203"/>
                  <a:pt x="182" y="203"/>
                  <a:pt x="182" y="203"/>
                </a:cubicBezTo>
                <a:cubicBezTo>
                  <a:pt x="182" y="203"/>
                  <a:pt x="182" y="203"/>
                  <a:pt x="182" y="203"/>
                </a:cubicBezTo>
                <a:cubicBezTo>
                  <a:pt x="181" y="204"/>
                  <a:pt x="181" y="204"/>
                  <a:pt x="181" y="204"/>
                </a:cubicBezTo>
                <a:cubicBezTo>
                  <a:pt x="180" y="204"/>
                  <a:pt x="180" y="204"/>
                  <a:pt x="180" y="204"/>
                </a:cubicBezTo>
                <a:cubicBezTo>
                  <a:pt x="179" y="204"/>
                  <a:pt x="179" y="204"/>
                  <a:pt x="179" y="204"/>
                </a:cubicBezTo>
                <a:cubicBezTo>
                  <a:pt x="179" y="204"/>
                  <a:pt x="179" y="204"/>
                  <a:pt x="179" y="204"/>
                </a:cubicBezTo>
                <a:cubicBezTo>
                  <a:pt x="178" y="205"/>
                  <a:pt x="178" y="205"/>
                  <a:pt x="178" y="205"/>
                </a:cubicBezTo>
                <a:cubicBezTo>
                  <a:pt x="177" y="205"/>
                  <a:pt x="177" y="205"/>
                  <a:pt x="177" y="205"/>
                </a:cubicBezTo>
                <a:cubicBezTo>
                  <a:pt x="177" y="206"/>
                  <a:pt x="177" y="206"/>
                  <a:pt x="177" y="206"/>
                </a:cubicBezTo>
                <a:cubicBezTo>
                  <a:pt x="177" y="206"/>
                  <a:pt x="177" y="206"/>
                  <a:pt x="177" y="206"/>
                </a:cubicBezTo>
                <a:cubicBezTo>
                  <a:pt x="176" y="207"/>
                  <a:pt x="176" y="207"/>
                  <a:pt x="176" y="207"/>
                </a:cubicBezTo>
                <a:cubicBezTo>
                  <a:pt x="176" y="208"/>
                  <a:pt x="176" y="208"/>
                  <a:pt x="176" y="208"/>
                </a:cubicBezTo>
                <a:cubicBezTo>
                  <a:pt x="175" y="209"/>
                  <a:pt x="175" y="209"/>
                  <a:pt x="175" y="209"/>
                </a:cubicBezTo>
                <a:cubicBezTo>
                  <a:pt x="174" y="209"/>
                  <a:pt x="174" y="209"/>
                  <a:pt x="174" y="209"/>
                </a:cubicBezTo>
                <a:cubicBezTo>
                  <a:pt x="173" y="209"/>
                  <a:pt x="173" y="209"/>
                  <a:pt x="173" y="209"/>
                </a:cubicBezTo>
                <a:cubicBezTo>
                  <a:pt x="173" y="208"/>
                  <a:pt x="173" y="208"/>
                  <a:pt x="173" y="208"/>
                </a:cubicBezTo>
                <a:cubicBezTo>
                  <a:pt x="176" y="207"/>
                  <a:pt x="176" y="207"/>
                  <a:pt x="176" y="207"/>
                </a:cubicBezTo>
                <a:cubicBezTo>
                  <a:pt x="176" y="206"/>
                  <a:pt x="176" y="206"/>
                  <a:pt x="176" y="206"/>
                </a:cubicBezTo>
                <a:cubicBezTo>
                  <a:pt x="176" y="205"/>
                  <a:pt x="176" y="205"/>
                  <a:pt x="176" y="205"/>
                </a:cubicBezTo>
                <a:cubicBezTo>
                  <a:pt x="176" y="205"/>
                  <a:pt x="176" y="205"/>
                  <a:pt x="176" y="205"/>
                </a:cubicBezTo>
                <a:cubicBezTo>
                  <a:pt x="175" y="206"/>
                  <a:pt x="175" y="206"/>
                  <a:pt x="175" y="206"/>
                </a:cubicBezTo>
                <a:cubicBezTo>
                  <a:pt x="174" y="205"/>
                  <a:pt x="174" y="205"/>
                  <a:pt x="174" y="205"/>
                </a:cubicBezTo>
                <a:cubicBezTo>
                  <a:pt x="175" y="205"/>
                  <a:pt x="175" y="205"/>
                  <a:pt x="175" y="205"/>
                </a:cubicBezTo>
                <a:cubicBezTo>
                  <a:pt x="173" y="205"/>
                  <a:pt x="173" y="205"/>
                  <a:pt x="173" y="205"/>
                </a:cubicBezTo>
                <a:cubicBezTo>
                  <a:pt x="173" y="205"/>
                  <a:pt x="173" y="205"/>
                  <a:pt x="173" y="205"/>
                </a:cubicBezTo>
                <a:cubicBezTo>
                  <a:pt x="173" y="205"/>
                  <a:pt x="173" y="205"/>
                  <a:pt x="173" y="205"/>
                </a:cubicBezTo>
                <a:cubicBezTo>
                  <a:pt x="174" y="206"/>
                  <a:pt x="174" y="206"/>
                  <a:pt x="174" y="206"/>
                </a:cubicBezTo>
                <a:close/>
                <a:moveTo>
                  <a:pt x="171" y="211"/>
                </a:moveTo>
                <a:cubicBezTo>
                  <a:pt x="172" y="210"/>
                  <a:pt x="172" y="210"/>
                  <a:pt x="172" y="210"/>
                </a:cubicBezTo>
                <a:cubicBezTo>
                  <a:pt x="172" y="211"/>
                  <a:pt x="172" y="211"/>
                  <a:pt x="172" y="211"/>
                </a:cubicBezTo>
                <a:cubicBezTo>
                  <a:pt x="171" y="211"/>
                  <a:pt x="171" y="211"/>
                  <a:pt x="171" y="211"/>
                </a:cubicBezTo>
                <a:close/>
                <a:moveTo>
                  <a:pt x="168" y="212"/>
                </a:moveTo>
                <a:cubicBezTo>
                  <a:pt x="169" y="210"/>
                  <a:pt x="169" y="210"/>
                  <a:pt x="169" y="210"/>
                </a:cubicBezTo>
                <a:cubicBezTo>
                  <a:pt x="171" y="209"/>
                  <a:pt x="171" y="209"/>
                  <a:pt x="171" y="209"/>
                </a:cubicBezTo>
                <a:cubicBezTo>
                  <a:pt x="169" y="212"/>
                  <a:pt x="169" y="212"/>
                  <a:pt x="169" y="212"/>
                </a:cubicBezTo>
                <a:cubicBezTo>
                  <a:pt x="168" y="212"/>
                  <a:pt x="168" y="212"/>
                  <a:pt x="168" y="212"/>
                </a:cubicBezTo>
                <a:close/>
                <a:moveTo>
                  <a:pt x="159" y="219"/>
                </a:moveTo>
                <a:cubicBezTo>
                  <a:pt x="159" y="219"/>
                  <a:pt x="159" y="219"/>
                  <a:pt x="159" y="219"/>
                </a:cubicBezTo>
                <a:cubicBezTo>
                  <a:pt x="159" y="218"/>
                  <a:pt x="159" y="218"/>
                  <a:pt x="159" y="218"/>
                </a:cubicBezTo>
                <a:cubicBezTo>
                  <a:pt x="160" y="218"/>
                  <a:pt x="160" y="218"/>
                  <a:pt x="160" y="218"/>
                </a:cubicBezTo>
                <a:cubicBezTo>
                  <a:pt x="160" y="219"/>
                  <a:pt x="160" y="219"/>
                  <a:pt x="160" y="219"/>
                </a:cubicBezTo>
                <a:cubicBezTo>
                  <a:pt x="159" y="219"/>
                  <a:pt x="159" y="219"/>
                  <a:pt x="159" y="219"/>
                </a:cubicBezTo>
                <a:close/>
                <a:moveTo>
                  <a:pt x="154" y="208"/>
                </a:moveTo>
                <a:cubicBezTo>
                  <a:pt x="156" y="208"/>
                  <a:pt x="156" y="208"/>
                  <a:pt x="156" y="208"/>
                </a:cubicBezTo>
                <a:cubicBezTo>
                  <a:pt x="156" y="209"/>
                  <a:pt x="156" y="209"/>
                  <a:pt x="156" y="209"/>
                </a:cubicBezTo>
                <a:cubicBezTo>
                  <a:pt x="155" y="209"/>
                  <a:pt x="155" y="209"/>
                  <a:pt x="155" y="209"/>
                </a:cubicBezTo>
                <a:cubicBezTo>
                  <a:pt x="154" y="208"/>
                  <a:pt x="154" y="208"/>
                  <a:pt x="154" y="208"/>
                </a:cubicBezTo>
                <a:close/>
                <a:moveTo>
                  <a:pt x="130" y="219"/>
                </a:moveTo>
                <a:cubicBezTo>
                  <a:pt x="130" y="219"/>
                  <a:pt x="131" y="219"/>
                  <a:pt x="131" y="219"/>
                </a:cubicBezTo>
                <a:cubicBezTo>
                  <a:pt x="131" y="219"/>
                  <a:pt x="131" y="219"/>
                  <a:pt x="131" y="219"/>
                </a:cubicBezTo>
                <a:cubicBezTo>
                  <a:pt x="130" y="219"/>
                  <a:pt x="130" y="219"/>
                  <a:pt x="130" y="219"/>
                </a:cubicBezTo>
                <a:close/>
                <a:moveTo>
                  <a:pt x="129" y="219"/>
                </a:moveTo>
                <a:cubicBezTo>
                  <a:pt x="129" y="220"/>
                  <a:pt x="129" y="220"/>
                  <a:pt x="129" y="220"/>
                </a:cubicBezTo>
                <a:cubicBezTo>
                  <a:pt x="129" y="220"/>
                  <a:pt x="129" y="220"/>
                  <a:pt x="129" y="220"/>
                </a:cubicBezTo>
                <a:cubicBezTo>
                  <a:pt x="129" y="219"/>
                  <a:pt x="129" y="219"/>
                  <a:pt x="129" y="219"/>
                </a:cubicBezTo>
                <a:close/>
                <a:moveTo>
                  <a:pt x="134" y="224"/>
                </a:moveTo>
                <a:cubicBezTo>
                  <a:pt x="134" y="225"/>
                  <a:pt x="134" y="225"/>
                  <a:pt x="134" y="225"/>
                </a:cubicBezTo>
                <a:cubicBezTo>
                  <a:pt x="134" y="225"/>
                  <a:pt x="134" y="225"/>
                  <a:pt x="134" y="225"/>
                </a:cubicBezTo>
                <a:cubicBezTo>
                  <a:pt x="134" y="225"/>
                  <a:pt x="134" y="225"/>
                  <a:pt x="134" y="225"/>
                </a:cubicBezTo>
                <a:cubicBezTo>
                  <a:pt x="134" y="224"/>
                  <a:pt x="134" y="224"/>
                  <a:pt x="134" y="224"/>
                </a:cubicBezTo>
                <a:close/>
                <a:moveTo>
                  <a:pt x="133" y="224"/>
                </a:moveTo>
                <a:cubicBezTo>
                  <a:pt x="134" y="222"/>
                  <a:pt x="134" y="222"/>
                  <a:pt x="134" y="222"/>
                </a:cubicBezTo>
                <a:cubicBezTo>
                  <a:pt x="134" y="223"/>
                  <a:pt x="134" y="223"/>
                  <a:pt x="134" y="223"/>
                </a:cubicBezTo>
                <a:cubicBezTo>
                  <a:pt x="134" y="223"/>
                  <a:pt x="133" y="224"/>
                  <a:pt x="133" y="224"/>
                </a:cubicBezTo>
                <a:close/>
                <a:moveTo>
                  <a:pt x="128" y="225"/>
                </a:moveTo>
                <a:cubicBezTo>
                  <a:pt x="129" y="223"/>
                  <a:pt x="129" y="223"/>
                  <a:pt x="129" y="223"/>
                </a:cubicBezTo>
                <a:cubicBezTo>
                  <a:pt x="130" y="222"/>
                  <a:pt x="130" y="222"/>
                  <a:pt x="130" y="222"/>
                </a:cubicBezTo>
                <a:cubicBezTo>
                  <a:pt x="130" y="222"/>
                  <a:pt x="130" y="222"/>
                  <a:pt x="130" y="222"/>
                </a:cubicBezTo>
                <a:cubicBezTo>
                  <a:pt x="132" y="222"/>
                  <a:pt x="132" y="222"/>
                  <a:pt x="132" y="222"/>
                </a:cubicBezTo>
                <a:cubicBezTo>
                  <a:pt x="131" y="223"/>
                  <a:pt x="131" y="223"/>
                  <a:pt x="131" y="223"/>
                </a:cubicBezTo>
                <a:cubicBezTo>
                  <a:pt x="131" y="223"/>
                  <a:pt x="131" y="223"/>
                  <a:pt x="131" y="223"/>
                </a:cubicBezTo>
                <a:cubicBezTo>
                  <a:pt x="129" y="224"/>
                  <a:pt x="129" y="224"/>
                  <a:pt x="129" y="224"/>
                </a:cubicBezTo>
                <a:cubicBezTo>
                  <a:pt x="128" y="225"/>
                  <a:pt x="128" y="225"/>
                  <a:pt x="128" y="225"/>
                </a:cubicBezTo>
                <a:close/>
                <a:moveTo>
                  <a:pt x="126" y="221"/>
                </a:moveTo>
                <a:cubicBezTo>
                  <a:pt x="126" y="221"/>
                  <a:pt x="126" y="221"/>
                  <a:pt x="126" y="221"/>
                </a:cubicBezTo>
                <a:cubicBezTo>
                  <a:pt x="126" y="219"/>
                  <a:pt x="126" y="219"/>
                  <a:pt x="126" y="219"/>
                </a:cubicBezTo>
                <a:cubicBezTo>
                  <a:pt x="127" y="219"/>
                  <a:pt x="127" y="219"/>
                  <a:pt x="127" y="219"/>
                </a:cubicBezTo>
                <a:cubicBezTo>
                  <a:pt x="128" y="220"/>
                  <a:pt x="128" y="220"/>
                  <a:pt x="128" y="220"/>
                </a:cubicBezTo>
                <a:cubicBezTo>
                  <a:pt x="127" y="221"/>
                  <a:pt x="127" y="221"/>
                  <a:pt x="127" y="221"/>
                </a:cubicBezTo>
                <a:cubicBezTo>
                  <a:pt x="127" y="221"/>
                  <a:pt x="127" y="221"/>
                  <a:pt x="127" y="221"/>
                </a:cubicBezTo>
                <a:cubicBezTo>
                  <a:pt x="126" y="221"/>
                  <a:pt x="126" y="221"/>
                  <a:pt x="126" y="221"/>
                </a:cubicBezTo>
                <a:close/>
                <a:moveTo>
                  <a:pt x="120" y="221"/>
                </a:moveTo>
                <a:cubicBezTo>
                  <a:pt x="121" y="220"/>
                  <a:pt x="121" y="220"/>
                  <a:pt x="121" y="220"/>
                </a:cubicBezTo>
                <a:cubicBezTo>
                  <a:pt x="121" y="221"/>
                  <a:pt x="121" y="221"/>
                  <a:pt x="121" y="221"/>
                </a:cubicBezTo>
                <a:cubicBezTo>
                  <a:pt x="121" y="222"/>
                  <a:pt x="121" y="222"/>
                  <a:pt x="121" y="222"/>
                </a:cubicBezTo>
                <a:cubicBezTo>
                  <a:pt x="120" y="221"/>
                  <a:pt x="120" y="221"/>
                  <a:pt x="120" y="221"/>
                </a:cubicBezTo>
                <a:close/>
                <a:moveTo>
                  <a:pt x="116" y="224"/>
                </a:moveTo>
                <a:cubicBezTo>
                  <a:pt x="116" y="223"/>
                  <a:pt x="116" y="223"/>
                  <a:pt x="116" y="223"/>
                </a:cubicBezTo>
                <a:cubicBezTo>
                  <a:pt x="117" y="222"/>
                  <a:pt x="117" y="222"/>
                  <a:pt x="117" y="222"/>
                </a:cubicBezTo>
                <a:cubicBezTo>
                  <a:pt x="117" y="223"/>
                  <a:pt x="117" y="223"/>
                  <a:pt x="117" y="223"/>
                </a:cubicBezTo>
                <a:cubicBezTo>
                  <a:pt x="116" y="224"/>
                  <a:pt x="116" y="224"/>
                  <a:pt x="116" y="224"/>
                </a:cubicBezTo>
                <a:close/>
                <a:moveTo>
                  <a:pt x="112" y="227"/>
                </a:moveTo>
                <a:cubicBezTo>
                  <a:pt x="113" y="228"/>
                  <a:pt x="113" y="228"/>
                  <a:pt x="113" y="228"/>
                </a:cubicBezTo>
                <a:cubicBezTo>
                  <a:pt x="112" y="228"/>
                  <a:pt x="112" y="228"/>
                  <a:pt x="112" y="228"/>
                </a:cubicBezTo>
                <a:cubicBezTo>
                  <a:pt x="111" y="227"/>
                  <a:pt x="111" y="227"/>
                  <a:pt x="111" y="227"/>
                </a:cubicBezTo>
                <a:cubicBezTo>
                  <a:pt x="112" y="227"/>
                  <a:pt x="112" y="227"/>
                  <a:pt x="112" y="227"/>
                </a:cubicBezTo>
                <a:close/>
                <a:moveTo>
                  <a:pt x="1" y="248"/>
                </a:moveTo>
                <a:cubicBezTo>
                  <a:pt x="0" y="249"/>
                  <a:pt x="0" y="249"/>
                  <a:pt x="0" y="249"/>
                </a:cubicBezTo>
                <a:cubicBezTo>
                  <a:pt x="1" y="249"/>
                  <a:pt x="1" y="249"/>
                  <a:pt x="1" y="249"/>
                </a:cubicBezTo>
                <a:cubicBezTo>
                  <a:pt x="1" y="248"/>
                  <a:pt x="1" y="248"/>
                  <a:pt x="1" y="248"/>
                </a:cubicBezTo>
                <a:close/>
                <a:moveTo>
                  <a:pt x="2" y="245"/>
                </a:moveTo>
                <a:cubicBezTo>
                  <a:pt x="1" y="246"/>
                  <a:pt x="1" y="246"/>
                  <a:pt x="1" y="246"/>
                </a:cubicBezTo>
                <a:cubicBezTo>
                  <a:pt x="2" y="247"/>
                  <a:pt x="2" y="247"/>
                  <a:pt x="2" y="247"/>
                </a:cubicBezTo>
                <a:cubicBezTo>
                  <a:pt x="3" y="246"/>
                  <a:pt x="3" y="246"/>
                  <a:pt x="3" y="246"/>
                </a:cubicBezTo>
                <a:cubicBezTo>
                  <a:pt x="2" y="245"/>
                  <a:pt x="2" y="245"/>
                  <a:pt x="2" y="245"/>
                </a:cubicBezTo>
                <a:close/>
                <a:moveTo>
                  <a:pt x="3" y="243"/>
                </a:moveTo>
                <a:cubicBezTo>
                  <a:pt x="4" y="243"/>
                  <a:pt x="4" y="243"/>
                  <a:pt x="4" y="243"/>
                </a:cubicBezTo>
                <a:cubicBezTo>
                  <a:pt x="4" y="242"/>
                  <a:pt x="4" y="242"/>
                  <a:pt x="4" y="242"/>
                </a:cubicBezTo>
                <a:cubicBezTo>
                  <a:pt x="3" y="243"/>
                  <a:pt x="3" y="243"/>
                  <a:pt x="3" y="243"/>
                </a:cubicBezTo>
                <a:close/>
                <a:moveTo>
                  <a:pt x="11" y="244"/>
                </a:moveTo>
                <a:cubicBezTo>
                  <a:pt x="10" y="242"/>
                  <a:pt x="10" y="242"/>
                  <a:pt x="10" y="242"/>
                </a:cubicBezTo>
                <a:cubicBezTo>
                  <a:pt x="9" y="242"/>
                  <a:pt x="9" y="242"/>
                  <a:pt x="9" y="242"/>
                </a:cubicBezTo>
                <a:cubicBezTo>
                  <a:pt x="8" y="243"/>
                  <a:pt x="8" y="243"/>
                  <a:pt x="8" y="243"/>
                </a:cubicBezTo>
                <a:cubicBezTo>
                  <a:pt x="8" y="243"/>
                  <a:pt x="8" y="243"/>
                  <a:pt x="8" y="243"/>
                </a:cubicBezTo>
                <a:cubicBezTo>
                  <a:pt x="9" y="244"/>
                  <a:pt x="9" y="244"/>
                  <a:pt x="9" y="244"/>
                </a:cubicBezTo>
                <a:cubicBezTo>
                  <a:pt x="8" y="244"/>
                  <a:pt x="8" y="244"/>
                  <a:pt x="8" y="244"/>
                </a:cubicBezTo>
                <a:cubicBezTo>
                  <a:pt x="9" y="245"/>
                  <a:pt x="9" y="245"/>
                  <a:pt x="9" y="245"/>
                </a:cubicBezTo>
                <a:cubicBezTo>
                  <a:pt x="10" y="245"/>
                  <a:pt x="10" y="245"/>
                  <a:pt x="10" y="245"/>
                </a:cubicBezTo>
                <a:cubicBezTo>
                  <a:pt x="10" y="244"/>
                  <a:pt x="10" y="244"/>
                  <a:pt x="10" y="244"/>
                </a:cubicBezTo>
                <a:cubicBezTo>
                  <a:pt x="11" y="244"/>
                  <a:pt x="11" y="244"/>
                  <a:pt x="11" y="244"/>
                </a:cubicBezTo>
                <a:close/>
                <a:moveTo>
                  <a:pt x="12" y="246"/>
                </a:moveTo>
                <a:cubicBezTo>
                  <a:pt x="13" y="246"/>
                  <a:pt x="13" y="246"/>
                  <a:pt x="13" y="246"/>
                </a:cubicBezTo>
                <a:cubicBezTo>
                  <a:pt x="14" y="245"/>
                  <a:pt x="14" y="245"/>
                  <a:pt x="14" y="245"/>
                </a:cubicBezTo>
                <a:cubicBezTo>
                  <a:pt x="14" y="244"/>
                  <a:pt x="14" y="244"/>
                  <a:pt x="14" y="244"/>
                </a:cubicBezTo>
                <a:cubicBezTo>
                  <a:pt x="15" y="243"/>
                  <a:pt x="15" y="243"/>
                  <a:pt x="15" y="243"/>
                </a:cubicBezTo>
                <a:cubicBezTo>
                  <a:pt x="14" y="243"/>
                  <a:pt x="14" y="243"/>
                  <a:pt x="14" y="243"/>
                </a:cubicBezTo>
                <a:cubicBezTo>
                  <a:pt x="13" y="244"/>
                  <a:pt x="13" y="244"/>
                  <a:pt x="13" y="244"/>
                </a:cubicBezTo>
                <a:cubicBezTo>
                  <a:pt x="13" y="245"/>
                  <a:pt x="13" y="245"/>
                  <a:pt x="13" y="245"/>
                </a:cubicBezTo>
                <a:cubicBezTo>
                  <a:pt x="12" y="246"/>
                  <a:pt x="12" y="246"/>
                  <a:pt x="12" y="246"/>
                </a:cubicBezTo>
                <a:close/>
                <a:moveTo>
                  <a:pt x="18" y="245"/>
                </a:moveTo>
                <a:cubicBezTo>
                  <a:pt x="18" y="243"/>
                  <a:pt x="18" y="243"/>
                  <a:pt x="18" y="243"/>
                </a:cubicBezTo>
                <a:cubicBezTo>
                  <a:pt x="17" y="243"/>
                  <a:pt x="17" y="243"/>
                  <a:pt x="17" y="243"/>
                </a:cubicBezTo>
                <a:cubicBezTo>
                  <a:pt x="17" y="245"/>
                  <a:pt x="17" y="245"/>
                  <a:pt x="17" y="245"/>
                </a:cubicBezTo>
                <a:cubicBezTo>
                  <a:pt x="16" y="245"/>
                  <a:pt x="16" y="245"/>
                  <a:pt x="16" y="245"/>
                </a:cubicBezTo>
                <a:cubicBezTo>
                  <a:pt x="16" y="246"/>
                  <a:pt x="16" y="246"/>
                  <a:pt x="16" y="246"/>
                </a:cubicBezTo>
                <a:cubicBezTo>
                  <a:pt x="17" y="246"/>
                  <a:pt x="17" y="246"/>
                  <a:pt x="17" y="246"/>
                </a:cubicBezTo>
                <a:cubicBezTo>
                  <a:pt x="18" y="245"/>
                  <a:pt x="18" y="245"/>
                  <a:pt x="18" y="245"/>
                </a:cubicBezTo>
                <a:close/>
                <a:moveTo>
                  <a:pt x="33" y="245"/>
                </a:moveTo>
                <a:cubicBezTo>
                  <a:pt x="33" y="244"/>
                  <a:pt x="33" y="244"/>
                  <a:pt x="33" y="244"/>
                </a:cubicBezTo>
                <a:cubicBezTo>
                  <a:pt x="34" y="243"/>
                  <a:pt x="34" y="243"/>
                  <a:pt x="34" y="243"/>
                </a:cubicBezTo>
                <a:cubicBezTo>
                  <a:pt x="34" y="242"/>
                  <a:pt x="34" y="242"/>
                  <a:pt x="34" y="242"/>
                </a:cubicBezTo>
                <a:cubicBezTo>
                  <a:pt x="33" y="241"/>
                  <a:pt x="33" y="241"/>
                  <a:pt x="33" y="241"/>
                </a:cubicBezTo>
                <a:cubicBezTo>
                  <a:pt x="32" y="242"/>
                  <a:pt x="32" y="242"/>
                  <a:pt x="32" y="242"/>
                </a:cubicBezTo>
                <a:cubicBezTo>
                  <a:pt x="32" y="243"/>
                  <a:pt x="32" y="243"/>
                  <a:pt x="32" y="243"/>
                </a:cubicBezTo>
                <a:cubicBezTo>
                  <a:pt x="31" y="243"/>
                  <a:pt x="31" y="243"/>
                  <a:pt x="31" y="243"/>
                </a:cubicBezTo>
                <a:cubicBezTo>
                  <a:pt x="31" y="243"/>
                  <a:pt x="31" y="243"/>
                  <a:pt x="31" y="243"/>
                </a:cubicBezTo>
                <a:cubicBezTo>
                  <a:pt x="30" y="244"/>
                  <a:pt x="30" y="244"/>
                  <a:pt x="30" y="244"/>
                </a:cubicBezTo>
                <a:cubicBezTo>
                  <a:pt x="29" y="244"/>
                  <a:pt x="29" y="244"/>
                  <a:pt x="29" y="244"/>
                </a:cubicBezTo>
                <a:cubicBezTo>
                  <a:pt x="28" y="244"/>
                  <a:pt x="28" y="244"/>
                  <a:pt x="28" y="244"/>
                </a:cubicBezTo>
                <a:cubicBezTo>
                  <a:pt x="28" y="244"/>
                  <a:pt x="28" y="244"/>
                  <a:pt x="28" y="244"/>
                </a:cubicBezTo>
                <a:cubicBezTo>
                  <a:pt x="28" y="245"/>
                  <a:pt x="28" y="245"/>
                  <a:pt x="28" y="245"/>
                </a:cubicBezTo>
                <a:cubicBezTo>
                  <a:pt x="29" y="245"/>
                  <a:pt x="29" y="245"/>
                  <a:pt x="29" y="245"/>
                </a:cubicBezTo>
                <a:cubicBezTo>
                  <a:pt x="30" y="245"/>
                  <a:pt x="30" y="245"/>
                  <a:pt x="30" y="245"/>
                </a:cubicBezTo>
                <a:cubicBezTo>
                  <a:pt x="32" y="244"/>
                  <a:pt x="32" y="244"/>
                  <a:pt x="32" y="244"/>
                </a:cubicBezTo>
                <a:cubicBezTo>
                  <a:pt x="33" y="245"/>
                  <a:pt x="33" y="245"/>
                  <a:pt x="33" y="245"/>
                </a:cubicBezTo>
                <a:close/>
                <a:moveTo>
                  <a:pt x="36" y="245"/>
                </a:moveTo>
                <a:cubicBezTo>
                  <a:pt x="39" y="246"/>
                  <a:pt x="39" y="246"/>
                  <a:pt x="39" y="246"/>
                </a:cubicBezTo>
                <a:cubicBezTo>
                  <a:pt x="39" y="245"/>
                  <a:pt x="39" y="245"/>
                  <a:pt x="39" y="245"/>
                </a:cubicBezTo>
                <a:cubicBezTo>
                  <a:pt x="40" y="246"/>
                  <a:pt x="40" y="246"/>
                  <a:pt x="40" y="246"/>
                </a:cubicBezTo>
                <a:cubicBezTo>
                  <a:pt x="39" y="247"/>
                  <a:pt x="39" y="247"/>
                  <a:pt x="39" y="247"/>
                </a:cubicBezTo>
                <a:cubicBezTo>
                  <a:pt x="36" y="246"/>
                  <a:pt x="36" y="246"/>
                  <a:pt x="36" y="246"/>
                </a:cubicBezTo>
                <a:cubicBezTo>
                  <a:pt x="35" y="246"/>
                  <a:pt x="35" y="246"/>
                  <a:pt x="35" y="246"/>
                </a:cubicBezTo>
                <a:cubicBezTo>
                  <a:pt x="34" y="245"/>
                  <a:pt x="34" y="245"/>
                  <a:pt x="34" y="245"/>
                </a:cubicBezTo>
                <a:cubicBezTo>
                  <a:pt x="34" y="245"/>
                  <a:pt x="36" y="245"/>
                  <a:pt x="36" y="245"/>
                </a:cubicBezTo>
                <a:close/>
                <a:moveTo>
                  <a:pt x="46" y="244"/>
                </a:moveTo>
                <a:cubicBezTo>
                  <a:pt x="45" y="243"/>
                  <a:pt x="45" y="243"/>
                  <a:pt x="45" y="243"/>
                </a:cubicBezTo>
                <a:cubicBezTo>
                  <a:pt x="43" y="243"/>
                  <a:pt x="43" y="243"/>
                  <a:pt x="43" y="243"/>
                </a:cubicBezTo>
                <a:cubicBezTo>
                  <a:pt x="43" y="244"/>
                  <a:pt x="43" y="244"/>
                  <a:pt x="43" y="244"/>
                </a:cubicBezTo>
                <a:cubicBezTo>
                  <a:pt x="45" y="244"/>
                  <a:pt x="45" y="244"/>
                  <a:pt x="45" y="244"/>
                </a:cubicBezTo>
                <a:cubicBezTo>
                  <a:pt x="46" y="244"/>
                  <a:pt x="46" y="244"/>
                  <a:pt x="46" y="244"/>
                </a:cubicBezTo>
                <a:close/>
                <a:moveTo>
                  <a:pt x="53" y="243"/>
                </a:moveTo>
                <a:cubicBezTo>
                  <a:pt x="52" y="241"/>
                  <a:pt x="52" y="241"/>
                  <a:pt x="52" y="241"/>
                </a:cubicBezTo>
                <a:cubicBezTo>
                  <a:pt x="52" y="243"/>
                  <a:pt x="52" y="243"/>
                  <a:pt x="52" y="243"/>
                </a:cubicBezTo>
                <a:cubicBezTo>
                  <a:pt x="53" y="243"/>
                  <a:pt x="53" y="243"/>
                  <a:pt x="53" y="243"/>
                </a:cubicBezTo>
                <a:close/>
                <a:moveTo>
                  <a:pt x="58" y="241"/>
                </a:moveTo>
                <a:cubicBezTo>
                  <a:pt x="56" y="240"/>
                  <a:pt x="56" y="240"/>
                  <a:pt x="56" y="240"/>
                </a:cubicBezTo>
                <a:cubicBezTo>
                  <a:pt x="55" y="241"/>
                  <a:pt x="55" y="241"/>
                  <a:pt x="55" y="241"/>
                </a:cubicBezTo>
                <a:cubicBezTo>
                  <a:pt x="55" y="242"/>
                  <a:pt x="55" y="242"/>
                  <a:pt x="55" y="242"/>
                </a:cubicBezTo>
                <a:cubicBezTo>
                  <a:pt x="57" y="241"/>
                  <a:pt x="57" y="241"/>
                  <a:pt x="57" y="241"/>
                </a:cubicBezTo>
                <a:cubicBezTo>
                  <a:pt x="58" y="241"/>
                  <a:pt x="58" y="241"/>
                  <a:pt x="58" y="241"/>
                </a:cubicBezTo>
                <a:close/>
                <a:moveTo>
                  <a:pt x="61" y="241"/>
                </a:moveTo>
                <a:cubicBezTo>
                  <a:pt x="60" y="240"/>
                  <a:pt x="60" y="240"/>
                  <a:pt x="60" y="240"/>
                </a:cubicBezTo>
                <a:cubicBezTo>
                  <a:pt x="59" y="241"/>
                  <a:pt x="59" y="241"/>
                  <a:pt x="59" y="241"/>
                </a:cubicBezTo>
                <a:cubicBezTo>
                  <a:pt x="60" y="241"/>
                  <a:pt x="60" y="241"/>
                  <a:pt x="60" y="241"/>
                </a:cubicBezTo>
                <a:cubicBezTo>
                  <a:pt x="61" y="241"/>
                  <a:pt x="61" y="241"/>
                  <a:pt x="61" y="241"/>
                </a:cubicBezTo>
                <a:close/>
                <a:moveTo>
                  <a:pt x="61" y="239"/>
                </a:moveTo>
                <a:cubicBezTo>
                  <a:pt x="61" y="238"/>
                  <a:pt x="61" y="238"/>
                  <a:pt x="61" y="238"/>
                </a:cubicBezTo>
                <a:cubicBezTo>
                  <a:pt x="60" y="239"/>
                  <a:pt x="60" y="239"/>
                  <a:pt x="60" y="239"/>
                </a:cubicBezTo>
                <a:cubicBezTo>
                  <a:pt x="61" y="239"/>
                  <a:pt x="61" y="239"/>
                  <a:pt x="61" y="239"/>
                </a:cubicBezTo>
                <a:close/>
                <a:moveTo>
                  <a:pt x="61" y="240"/>
                </a:moveTo>
                <a:cubicBezTo>
                  <a:pt x="62" y="240"/>
                  <a:pt x="62" y="240"/>
                  <a:pt x="62" y="240"/>
                </a:cubicBezTo>
                <a:cubicBezTo>
                  <a:pt x="63" y="240"/>
                  <a:pt x="63" y="240"/>
                  <a:pt x="63" y="240"/>
                </a:cubicBezTo>
                <a:cubicBezTo>
                  <a:pt x="63" y="239"/>
                  <a:pt x="63" y="239"/>
                  <a:pt x="63" y="239"/>
                </a:cubicBezTo>
                <a:cubicBezTo>
                  <a:pt x="61" y="240"/>
                  <a:pt x="61" y="240"/>
                  <a:pt x="61" y="240"/>
                </a:cubicBezTo>
                <a:close/>
                <a:moveTo>
                  <a:pt x="76" y="233"/>
                </a:moveTo>
                <a:cubicBezTo>
                  <a:pt x="76" y="234"/>
                  <a:pt x="76" y="234"/>
                  <a:pt x="76" y="234"/>
                </a:cubicBezTo>
                <a:cubicBezTo>
                  <a:pt x="77" y="234"/>
                  <a:pt x="77" y="234"/>
                  <a:pt x="77" y="234"/>
                </a:cubicBezTo>
                <a:cubicBezTo>
                  <a:pt x="76" y="235"/>
                  <a:pt x="76" y="235"/>
                  <a:pt x="76" y="235"/>
                </a:cubicBezTo>
                <a:cubicBezTo>
                  <a:pt x="75" y="236"/>
                  <a:pt x="75" y="236"/>
                  <a:pt x="75" y="236"/>
                </a:cubicBezTo>
                <a:cubicBezTo>
                  <a:pt x="74" y="237"/>
                  <a:pt x="74" y="237"/>
                  <a:pt x="74" y="237"/>
                </a:cubicBezTo>
                <a:cubicBezTo>
                  <a:pt x="72" y="239"/>
                  <a:pt x="72" y="239"/>
                  <a:pt x="72" y="239"/>
                </a:cubicBezTo>
                <a:cubicBezTo>
                  <a:pt x="70" y="239"/>
                  <a:pt x="70" y="239"/>
                  <a:pt x="70" y="239"/>
                </a:cubicBezTo>
                <a:cubicBezTo>
                  <a:pt x="69" y="241"/>
                  <a:pt x="69" y="241"/>
                  <a:pt x="69" y="241"/>
                </a:cubicBezTo>
                <a:cubicBezTo>
                  <a:pt x="66" y="241"/>
                  <a:pt x="66" y="241"/>
                  <a:pt x="66" y="241"/>
                </a:cubicBezTo>
                <a:cubicBezTo>
                  <a:pt x="67" y="240"/>
                  <a:pt x="67" y="240"/>
                  <a:pt x="67" y="240"/>
                </a:cubicBezTo>
                <a:cubicBezTo>
                  <a:pt x="68" y="240"/>
                  <a:pt x="68" y="240"/>
                  <a:pt x="68" y="240"/>
                </a:cubicBezTo>
                <a:cubicBezTo>
                  <a:pt x="69" y="238"/>
                  <a:pt x="69" y="238"/>
                  <a:pt x="69" y="238"/>
                </a:cubicBezTo>
                <a:cubicBezTo>
                  <a:pt x="70" y="238"/>
                  <a:pt x="70" y="238"/>
                  <a:pt x="70" y="238"/>
                </a:cubicBezTo>
                <a:cubicBezTo>
                  <a:pt x="70" y="237"/>
                  <a:pt x="70" y="237"/>
                  <a:pt x="70" y="237"/>
                </a:cubicBezTo>
                <a:cubicBezTo>
                  <a:pt x="71" y="236"/>
                  <a:pt x="71" y="236"/>
                  <a:pt x="71" y="236"/>
                </a:cubicBezTo>
                <a:cubicBezTo>
                  <a:pt x="73" y="236"/>
                  <a:pt x="73" y="236"/>
                  <a:pt x="73" y="236"/>
                </a:cubicBezTo>
                <a:cubicBezTo>
                  <a:pt x="73" y="234"/>
                  <a:pt x="73" y="234"/>
                  <a:pt x="73" y="234"/>
                </a:cubicBezTo>
                <a:cubicBezTo>
                  <a:pt x="73" y="234"/>
                  <a:pt x="73" y="234"/>
                  <a:pt x="73" y="234"/>
                </a:cubicBezTo>
                <a:cubicBezTo>
                  <a:pt x="75" y="234"/>
                  <a:pt x="75" y="234"/>
                  <a:pt x="75" y="234"/>
                </a:cubicBezTo>
                <a:cubicBezTo>
                  <a:pt x="75" y="234"/>
                  <a:pt x="76" y="233"/>
                  <a:pt x="76" y="233"/>
                </a:cubicBezTo>
                <a:close/>
                <a:moveTo>
                  <a:pt x="86" y="229"/>
                </a:moveTo>
                <a:cubicBezTo>
                  <a:pt x="85" y="229"/>
                  <a:pt x="85" y="229"/>
                  <a:pt x="85" y="229"/>
                </a:cubicBezTo>
                <a:cubicBezTo>
                  <a:pt x="84" y="230"/>
                  <a:pt x="84" y="230"/>
                  <a:pt x="84" y="230"/>
                </a:cubicBezTo>
                <a:cubicBezTo>
                  <a:pt x="84" y="231"/>
                  <a:pt x="84" y="231"/>
                  <a:pt x="84" y="231"/>
                </a:cubicBezTo>
                <a:cubicBezTo>
                  <a:pt x="85" y="232"/>
                  <a:pt x="85" y="232"/>
                  <a:pt x="85" y="232"/>
                </a:cubicBezTo>
                <a:cubicBezTo>
                  <a:pt x="85" y="232"/>
                  <a:pt x="85" y="232"/>
                  <a:pt x="85" y="232"/>
                </a:cubicBezTo>
                <a:cubicBezTo>
                  <a:pt x="83" y="232"/>
                  <a:pt x="83" y="232"/>
                  <a:pt x="83" y="232"/>
                </a:cubicBezTo>
                <a:cubicBezTo>
                  <a:pt x="82" y="232"/>
                  <a:pt x="82" y="232"/>
                  <a:pt x="82" y="232"/>
                </a:cubicBezTo>
                <a:cubicBezTo>
                  <a:pt x="82" y="233"/>
                  <a:pt x="82" y="233"/>
                  <a:pt x="82" y="233"/>
                </a:cubicBezTo>
                <a:cubicBezTo>
                  <a:pt x="82" y="233"/>
                  <a:pt x="82" y="233"/>
                  <a:pt x="82" y="233"/>
                </a:cubicBezTo>
                <a:cubicBezTo>
                  <a:pt x="81" y="235"/>
                  <a:pt x="81" y="235"/>
                  <a:pt x="81" y="235"/>
                </a:cubicBezTo>
                <a:cubicBezTo>
                  <a:pt x="80" y="235"/>
                  <a:pt x="80" y="235"/>
                  <a:pt x="80" y="235"/>
                </a:cubicBezTo>
                <a:cubicBezTo>
                  <a:pt x="78" y="236"/>
                  <a:pt x="78" y="236"/>
                  <a:pt x="78" y="236"/>
                </a:cubicBezTo>
                <a:cubicBezTo>
                  <a:pt x="77" y="236"/>
                  <a:pt x="77" y="236"/>
                  <a:pt x="77" y="236"/>
                </a:cubicBezTo>
                <a:cubicBezTo>
                  <a:pt x="77" y="236"/>
                  <a:pt x="77" y="236"/>
                  <a:pt x="77" y="236"/>
                </a:cubicBezTo>
                <a:cubicBezTo>
                  <a:pt x="77" y="237"/>
                  <a:pt x="77" y="237"/>
                  <a:pt x="77" y="237"/>
                </a:cubicBezTo>
                <a:cubicBezTo>
                  <a:pt x="79" y="237"/>
                  <a:pt x="79" y="237"/>
                  <a:pt x="79" y="237"/>
                </a:cubicBezTo>
                <a:cubicBezTo>
                  <a:pt x="81" y="236"/>
                  <a:pt x="81" y="236"/>
                  <a:pt x="81" y="236"/>
                </a:cubicBezTo>
                <a:cubicBezTo>
                  <a:pt x="82" y="235"/>
                  <a:pt x="82" y="235"/>
                  <a:pt x="82" y="235"/>
                </a:cubicBezTo>
                <a:cubicBezTo>
                  <a:pt x="83" y="236"/>
                  <a:pt x="83" y="236"/>
                  <a:pt x="83" y="236"/>
                </a:cubicBezTo>
                <a:cubicBezTo>
                  <a:pt x="83" y="236"/>
                  <a:pt x="83" y="236"/>
                  <a:pt x="83" y="236"/>
                </a:cubicBezTo>
                <a:cubicBezTo>
                  <a:pt x="84" y="235"/>
                  <a:pt x="84" y="235"/>
                  <a:pt x="84" y="235"/>
                </a:cubicBezTo>
                <a:cubicBezTo>
                  <a:pt x="84" y="234"/>
                  <a:pt x="84" y="234"/>
                  <a:pt x="84" y="234"/>
                </a:cubicBezTo>
                <a:cubicBezTo>
                  <a:pt x="85" y="234"/>
                  <a:pt x="85" y="234"/>
                  <a:pt x="85" y="234"/>
                </a:cubicBezTo>
                <a:cubicBezTo>
                  <a:pt x="85" y="235"/>
                  <a:pt x="85" y="235"/>
                  <a:pt x="85" y="235"/>
                </a:cubicBezTo>
                <a:cubicBezTo>
                  <a:pt x="86" y="235"/>
                  <a:pt x="86" y="235"/>
                  <a:pt x="86" y="235"/>
                </a:cubicBezTo>
                <a:cubicBezTo>
                  <a:pt x="87" y="233"/>
                  <a:pt x="87" y="233"/>
                  <a:pt x="87" y="233"/>
                </a:cubicBezTo>
                <a:cubicBezTo>
                  <a:pt x="88" y="233"/>
                  <a:pt x="88" y="233"/>
                  <a:pt x="88" y="233"/>
                </a:cubicBezTo>
                <a:cubicBezTo>
                  <a:pt x="88" y="232"/>
                  <a:pt x="88" y="232"/>
                  <a:pt x="88" y="232"/>
                </a:cubicBezTo>
                <a:cubicBezTo>
                  <a:pt x="87" y="232"/>
                  <a:pt x="87" y="232"/>
                  <a:pt x="87" y="232"/>
                </a:cubicBezTo>
                <a:cubicBezTo>
                  <a:pt x="89" y="231"/>
                  <a:pt x="89" y="231"/>
                  <a:pt x="89" y="231"/>
                </a:cubicBezTo>
                <a:cubicBezTo>
                  <a:pt x="88" y="230"/>
                  <a:pt x="88" y="230"/>
                  <a:pt x="88" y="230"/>
                </a:cubicBezTo>
                <a:cubicBezTo>
                  <a:pt x="87" y="229"/>
                  <a:pt x="87" y="229"/>
                  <a:pt x="87" y="229"/>
                </a:cubicBezTo>
                <a:cubicBezTo>
                  <a:pt x="86" y="229"/>
                  <a:pt x="86" y="229"/>
                  <a:pt x="86" y="229"/>
                </a:cubicBezTo>
                <a:close/>
                <a:moveTo>
                  <a:pt x="90" y="230"/>
                </a:moveTo>
                <a:cubicBezTo>
                  <a:pt x="90" y="230"/>
                  <a:pt x="90" y="230"/>
                  <a:pt x="90" y="230"/>
                </a:cubicBezTo>
                <a:cubicBezTo>
                  <a:pt x="89" y="229"/>
                  <a:pt x="89" y="229"/>
                  <a:pt x="89" y="229"/>
                </a:cubicBezTo>
                <a:cubicBezTo>
                  <a:pt x="89" y="230"/>
                  <a:pt x="89" y="230"/>
                  <a:pt x="89" y="230"/>
                </a:cubicBezTo>
                <a:cubicBezTo>
                  <a:pt x="90" y="230"/>
                  <a:pt x="90" y="230"/>
                  <a:pt x="90" y="230"/>
                </a:cubicBezTo>
                <a:close/>
                <a:moveTo>
                  <a:pt x="97" y="229"/>
                </a:moveTo>
                <a:cubicBezTo>
                  <a:pt x="97" y="229"/>
                  <a:pt x="97" y="229"/>
                  <a:pt x="97" y="229"/>
                </a:cubicBezTo>
                <a:cubicBezTo>
                  <a:pt x="98" y="229"/>
                  <a:pt x="98" y="229"/>
                  <a:pt x="98" y="229"/>
                </a:cubicBezTo>
                <a:cubicBezTo>
                  <a:pt x="98" y="230"/>
                  <a:pt x="98" y="230"/>
                  <a:pt x="98" y="230"/>
                </a:cubicBezTo>
                <a:cubicBezTo>
                  <a:pt x="97" y="230"/>
                  <a:pt x="97" y="230"/>
                  <a:pt x="97" y="230"/>
                </a:cubicBezTo>
                <a:cubicBezTo>
                  <a:pt x="97" y="229"/>
                  <a:pt x="97" y="229"/>
                  <a:pt x="97" y="229"/>
                </a:cubicBezTo>
                <a:close/>
                <a:moveTo>
                  <a:pt x="95" y="230"/>
                </a:moveTo>
                <a:cubicBezTo>
                  <a:pt x="95" y="229"/>
                  <a:pt x="95" y="229"/>
                  <a:pt x="95" y="229"/>
                </a:cubicBezTo>
                <a:cubicBezTo>
                  <a:pt x="96" y="230"/>
                  <a:pt x="96" y="230"/>
                  <a:pt x="96" y="230"/>
                </a:cubicBezTo>
                <a:cubicBezTo>
                  <a:pt x="95" y="230"/>
                  <a:pt x="95" y="230"/>
                  <a:pt x="95" y="230"/>
                </a:cubicBezTo>
                <a:close/>
                <a:moveTo>
                  <a:pt x="94" y="229"/>
                </a:moveTo>
                <a:cubicBezTo>
                  <a:pt x="94" y="228"/>
                  <a:pt x="94" y="228"/>
                  <a:pt x="94" y="228"/>
                </a:cubicBezTo>
                <a:cubicBezTo>
                  <a:pt x="94" y="227"/>
                  <a:pt x="94" y="227"/>
                  <a:pt x="94" y="227"/>
                </a:cubicBezTo>
                <a:cubicBezTo>
                  <a:pt x="95" y="227"/>
                  <a:pt x="95" y="227"/>
                  <a:pt x="95" y="227"/>
                </a:cubicBezTo>
                <a:cubicBezTo>
                  <a:pt x="95" y="228"/>
                  <a:pt x="95" y="228"/>
                  <a:pt x="95" y="228"/>
                </a:cubicBezTo>
                <a:cubicBezTo>
                  <a:pt x="94" y="229"/>
                  <a:pt x="94" y="229"/>
                  <a:pt x="94" y="229"/>
                </a:cubicBezTo>
                <a:close/>
                <a:moveTo>
                  <a:pt x="92" y="227"/>
                </a:moveTo>
                <a:cubicBezTo>
                  <a:pt x="91" y="228"/>
                  <a:pt x="91" y="228"/>
                  <a:pt x="91" y="228"/>
                </a:cubicBezTo>
                <a:cubicBezTo>
                  <a:pt x="91" y="229"/>
                  <a:pt x="91" y="229"/>
                  <a:pt x="91" y="229"/>
                </a:cubicBezTo>
                <a:cubicBezTo>
                  <a:pt x="92" y="230"/>
                  <a:pt x="92" y="230"/>
                  <a:pt x="92" y="230"/>
                </a:cubicBezTo>
                <a:cubicBezTo>
                  <a:pt x="93" y="229"/>
                  <a:pt x="93" y="229"/>
                  <a:pt x="93" y="229"/>
                </a:cubicBezTo>
                <a:cubicBezTo>
                  <a:pt x="93" y="228"/>
                  <a:pt x="93" y="228"/>
                  <a:pt x="93" y="228"/>
                </a:cubicBezTo>
                <a:cubicBezTo>
                  <a:pt x="92" y="228"/>
                  <a:pt x="92" y="228"/>
                  <a:pt x="92" y="228"/>
                </a:cubicBezTo>
                <a:cubicBezTo>
                  <a:pt x="92" y="227"/>
                  <a:pt x="92" y="227"/>
                  <a:pt x="92" y="227"/>
                </a:cubicBezTo>
                <a:close/>
                <a:moveTo>
                  <a:pt x="150" y="176"/>
                </a:moveTo>
                <a:cubicBezTo>
                  <a:pt x="149" y="176"/>
                  <a:pt x="149" y="176"/>
                  <a:pt x="149" y="176"/>
                </a:cubicBezTo>
                <a:cubicBezTo>
                  <a:pt x="151" y="175"/>
                  <a:pt x="151" y="175"/>
                  <a:pt x="151" y="175"/>
                </a:cubicBezTo>
                <a:cubicBezTo>
                  <a:pt x="150" y="176"/>
                  <a:pt x="150" y="176"/>
                  <a:pt x="150" y="176"/>
                </a:cubicBezTo>
                <a:cubicBezTo>
                  <a:pt x="150" y="176"/>
                  <a:pt x="150" y="176"/>
                  <a:pt x="150" y="176"/>
                </a:cubicBezTo>
                <a:close/>
                <a:moveTo>
                  <a:pt x="147" y="177"/>
                </a:moveTo>
                <a:cubicBezTo>
                  <a:pt x="147" y="177"/>
                  <a:pt x="147" y="177"/>
                  <a:pt x="147" y="177"/>
                </a:cubicBezTo>
                <a:cubicBezTo>
                  <a:pt x="147" y="176"/>
                  <a:pt x="147" y="176"/>
                  <a:pt x="147" y="176"/>
                </a:cubicBezTo>
                <a:cubicBezTo>
                  <a:pt x="148" y="175"/>
                  <a:pt x="148" y="175"/>
                  <a:pt x="148" y="175"/>
                </a:cubicBezTo>
                <a:cubicBezTo>
                  <a:pt x="149" y="174"/>
                  <a:pt x="149" y="174"/>
                  <a:pt x="149" y="174"/>
                </a:cubicBezTo>
                <a:cubicBezTo>
                  <a:pt x="149" y="175"/>
                  <a:pt x="149" y="175"/>
                  <a:pt x="149" y="175"/>
                </a:cubicBezTo>
                <a:cubicBezTo>
                  <a:pt x="148" y="176"/>
                  <a:pt x="148" y="176"/>
                  <a:pt x="148" y="176"/>
                </a:cubicBezTo>
                <a:cubicBezTo>
                  <a:pt x="147" y="177"/>
                  <a:pt x="147" y="177"/>
                  <a:pt x="147" y="177"/>
                </a:cubicBezTo>
                <a:close/>
                <a:moveTo>
                  <a:pt x="99" y="225"/>
                </a:moveTo>
                <a:cubicBezTo>
                  <a:pt x="100" y="223"/>
                  <a:pt x="100" y="223"/>
                  <a:pt x="100" y="223"/>
                </a:cubicBezTo>
                <a:cubicBezTo>
                  <a:pt x="100" y="223"/>
                  <a:pt x="100" y="223"/>
                  <a:pt x="100" y="223"/>
                </a:cubicBezTo>
                <a:cubicBezTo>
                  <a:pt x="101" y="223"/>
                  <a:pt x="101" y="223"/>
                  <a:pt x="101" y="223"/>
                </a:cubicBezTo>
                <a:cubicBezTo>
                  <a:pt x="102" y="222"/>
                  <a:pt x="102" y="222"/>
                  <a:pt x="102" y="222"/>
                </a:cubicBezTo>
                <a:cubicBezTo>
                  <a:pt x="102" y="222"/>
                  <a:pt x="102" y="222"/>
                  <a:pt x="102" y="222"/>
                </a:cubicBezTo>
                <a:cubicBezTo>
                  <a:pt x="103" y="220"/>
                  <a:pt x="103" y="220"/>
                  <a:pt x="103" y="220"/>
                </a:cubicBezTo>
                <a:cubicBezTo>
                  <a:pt x="104" y="220"/>
                  <a:pt x="104" y="220"/>
                  <a:pt x="104" y="220"/>
                </a:cubicBezTo>
                <a:cubicBezTo>
                  <a:pt x="105" y="221"/>
                  <a:pt x="105" y="221"/>
                  <a:pt x="105" y="221"/>
                </a:cubicBezTo>
                <a:cubicBezTo>
                  <a:pt x="105" y="220"/>
                  <a:pt x="105" y="220"/>
                  <a:pt x="105" y="220"/>
                </a:cubicBezTo>
                <a:cubicBezTo>
                  <a:pt x="107" y="221"/>
                  <a:pt x="107" y="221"/>
                  <a:pt x="107" y="221"/>
                </a:cubicBezTo>
                <a:cubicBezTo>
                  <a:pt x="108" y="220"/>
                  <a:pt x="108" y="220"/>
                  <a:pt x="108" y="220"/>
                </a:cubicBezTo>
                <a:cubicBezTo>
                  <a:pt x="108" y="220"/>
                  <a:pt x="108" y="220"/>
                  <a:pt x="108" y="220"/>
                </a:cubicBezTo>
                <a:cubicBezTo>
                  <a:pt x="110" y="220"/>
                  <a:pt x="110" y="220"/>
                  <a:pt x="110" y="220"/>
                </a:cubicBezTo>
                <a:cubicBezTo>
                  <a:pt x="110" y="221"/>
                  <a:pt x="110" y="221"/>
                  <a:pt x="110" y="221"/>
                </a:cubicBezTo>
                <a:cubicBezTo>
                  <a:pt x="110" y="222"/>
                  <a:pt x="110" y="222"/>
                  <a:pt x="110" y="222"/>
                </a:cubicBezTo>
                <a:cubicBezTo>
                  <a:pt x="112" y="223"/>
                  <a:pt x="112" y="223"/>
                  <a:pt x="112" y="223"/>
                </a:cubicBezTo>
                <a:cubicBezTo>
                  <a:pt x="112" y="224"/>
                  <a:pt x="112" y="224"/>
                  <a:pt x="112" y="224"/>
                </a:cubicBezTo>
                <a:cubicBezTo>
                  <a:pt x="110" y="224"/>
                  <a:pt x="110" y="224"/>
                  <a:pt x="110" y="224"/>
                </a:cubicBezTo>
                <a:cubicBezTo>
                  <a:pt x="109" y="225"/>
                  <a:pt x="109" y="225"/>
                  <a:pt x="109" y="225"/>
                </a:cubicBezTo>
                <a:cubicBezTo>
                  <a:pt x="107" y="225"/>
                  <a:pt x="107" y="225"/>
                  <a:pt x="107" y="225"/>
                </a:cubicBezTo>
                <a:cubicBezTo>
                  <a:pt x="106" y="224"/>
                  <a:pt x="106" y="224"/>
                  <a:pt x="106" y="224"/>
                </a:cubicBezTo>
                <a:cubicBezTo>
                  <a:pt x="103" y="224"/>
                  <a:pt x="103" y="224"/>
                  <a:pt x="103" y="224"/>
                </a:cubicBezTo>
                <a:cubicBezTo>
                  <a:pt x="102" y="226"/>
                  <a:pt x="102" y="226"/>
                  <a:pt x="102" y="226"/>
                </a:cubicBezTo>
                <a:cubicBezTo>
                  <a:pt x="102" y="226"/>
                  <a:pt x="102" y="226"/>
                  <a:pt x="102" y="226"/>
                </a:cubicBezTo>
                <a:cubicBezTo>
                  <a:pt x="101" y="226"/>
                  <a:pt x="101" y="226"/>
                  <a:pt x="101" y="226"/>
                </a:cubicBezTo>
                <a:cubicBezTo>
                  <a:pt x="100" y="226"/>
                  <a:pt x="100" y="226"/>
                  <a:pt x="100" y="226"/>
                </a:cubicBezTo>
                <a:lnTo>
                  <a:pt x="99" y="225"/>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3" name="Freeform 171">
            <a:extLst>
              <a:ext uri="{FF2B5EF4-FFF2-40B4-BE49-F238E27FC236}">
                <a16:creationId xmlns:a16="http://schemas.microsoft.com/office/drawing/2014/main" id="{6E1BCBA6-4DC1-3C57-70CD-9D13C7A8245A}"/>
              </a:ext>
            </a:extLst>
          </p:cNvPr>
          <p:cNvSpPr>
            <a:spLocks/>
          </p:cNvSpPr>
          <p:nvPr userDrawn="1"/>
        </p:nvSpPr>
        <p:spPr bwMode="auto">
          <a:xfrm>
            <a:off x="8168741" y="8133631"/>
            <a:ext cx="19049" cy="12702"/>
          </a:xfrm>
          <a:custGeom>
            <a:avLst/>
            <a:gdLst>
              <a:gd name="T0" fmla="*/ 6 w 6"/>
              <a:gd name="T1" fmla="*/ 0 h 4"/>
              <a:gd name="T2" fmla="*/ 3 w 6"/>
              <a:gd name="T3" fmla="*/ 0 h 4"/>
              <a:gd name="T4" fmla="*/ 0 w 6"/>
              <a:gd name="T5" fmla="*/ 4 h 4"/>
              <a:gd name="T6" fmla="*/ 3 w 6"/>
              <a:gd name="T7" fmla="*/ 4 h 4"/>
              <a:gd name="T8" fmla="*/ 6 w 6"/>
              <a:gd name="T9" fmla="*/ 0 h 4"/>
            </a:gdLst>
            <a:ahLst/>
            <a:cxnLst>
              <a:cxn ang="0">
                <a:pos x="T0" y="T1"/>
              </a:cxn>
              <a:cxn ang="0">
                <a:pos x="T2" y="T3"/>
              </a:cxn>
              <a:cxn ang="0">
                <a:pos x="T4" y="T5"/>
              </a:cxn>
              <a:cxn ang="0">
                <a:pos x="T6" y="T7"/>
              </a:cxn>
              <a:cxn ang="0">
                <a:pos x="T8" y="T9"/>
              </a:cxn>
            </a:cxnLst>
            <a:rect l="0" t="0" r="r" b="b"/>
            <a:pathLst>
              <a:path w="6" h="4">
                <a:moveTo>
                  <a:pt x="6" y="0"/>
                </a:moveTo>
                <a:lnTo>
                  <a:pt x="3" y="0"/>
                </a:lnTo>
                <a:lnTo>
                  <a:pt x="0" y="4"/>
                </a:lnTo>
                <a:lnTo>
                  <a:pt x="3" y="4"/>
                </a:lnTo>
                <a:lnTo>
                  <a:pt x="6"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4" name="Freeform 172">
            <a:extLst>
              <a:ext uri="{FF2B5EF4-FFF2-40B4-BE49-F238E27FC236}">
                <a16:creationId xmlns:a16="http://schemas.microsoft.com/office/drawing/2014/main" id="{B30FBD93-DEBC-EF1E-658A-A3FB3C890D7B}"/>
              </a:ext>
            </a:extLst>
          </p:cNvPr>
          <p:cNvSpPr>
            <a:spLocks/>
          </p:cNvSpPr>
          <p:nvPr userDrawn="1"/>
        </p:nvSpPr>
        <p:spPr bwMode="auto">
          <a:xfrm>
            <a:off x="8356051" y="8193957"/>
            <a:ext cx="139693" cy="60326"/>
          </a:xfrm>
          <a:custGeom>
            <a:avLst/>
            <a:gdLst>
              <a:gd name="T0" fmla="*/ 6 w 44"/>
              <a:gd name="T1" fmla="*/ 0 h 19"/>
              <a:gd name="T2" fmla="*/ 9 w 44"/>
              <a:gd name="T3" fmla="*/ 0 h 19"/>
              <a:gd name="T4" fmla="*/ 16 w 44"/>
              <a:gd name="T5" fmla="*/ 0 h 19"/>
              <a:gd name="T6" fmla="*/ 31 w 44"/>
              <a:gd name="T7" fmla="*/ 0 h 19"/>
              <a:gd name="T8" fmla="*/ 34 w 44"/>
              <a:gd name="T9" fmla="*/ 6 h 19"/>
              <a:gd name="T10" fmla="*/ 41 w 44"/>
              <a:gd name="T11" fmla="*/ 6 h 19"/>
              <a:gd name="T12" fmla="*/ 44 w 44"/>
              <a:gd name="T13" fmla="*/ 10 h 19"/>
              <a:gd name="T14" fmla="*/ 44 w 44"/>
              <a:gd name="T15" fmla="*/ 13 h 19"/>
              <a:gd name="T16" fmla="*/ 38 w 44"/>
              <a:gd name="T17" fmla="*/ 13 h 19"/>
              <a:gd name="T18" fmla="*/ 34 w 44"/>
              <a:gd name="T19" fmla="*/ 13 h 19"/>
              <a:gd name="T20" fmla="*/ 31 w 44"/>
              <a:gd name="T21" fmla="*/ 16 h 19"/>
              <a:gd name="T22" fmla="*/ 31 w 44"/>
              <a:gd name="T23" fmla="*/ 16 h 19"/>
              <a:gd name="T24" fmla="*/ 28 w 44"/>
              <a:gd name="T25" fmla="*/ 13 h 19"/>
              <a:gd name="T26" fmla="*/ 25 w 44"/>
              <a:gd name="T27" fmla="*/ 13 h 19"/>
              <a:gd name="T28" fmla="*/ 25 w 44"/>
              <a:gd name="T29" fmla="*/ 19 h 19"/>
              <a:gd name="T30" fmla="*/ 22 w 44"/>
              <a:gd name="T31" fmla="*/ 16 h 19"/>
              <a:gd name="T32" fmla="*/ 19 w 44"/>
              <a:gd name="T33" fmla="*/ 16 h 19"/>
              <a:gd name="T34" fmla="*/ 13 w 44"/>
              <a:gd name="T35" fmla="*/ 16 h 19"/>
              <a:gd name="T36" fmla="*/ 9 w 44"/>
              <a:gd name="T37" fmla="*/ 13 h 19"/>
              <a:gd name="T38" fmla="*/ 9 w 44"/>
              <a:gd name="T39" fmla="*/ 6 h 19"/>
              <a:gd name="T40" fmla="*/ 6 w 44"/>
              <a:gd name="T41" fmla="*/ 6 h 19"/>
              <a:gd name="T42" fmla="*/ 3 w 44"/>
              <a:gd name="T43" fmla="*/ 6 h 19"/>
              <a:gd name="T44" fmla="*/ 0 w 44"/>
              <a:gd name="T45" fmla="*/ 3 h 19"/>
              <a:gd name="T46" fmla="*/ 3 w 44"/>
              <a:gd name="T47" fmla="*/ 0 h 19"/>
              <a:gd name="T48" fmla="*/ 6 w 44"/>
              <a:gd name="T4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19">
                <a:moveTo>
                  <a:pt x="6" y="0"/>
                </a:moveTo>
                <a:lnTo>
                  <a:pt x="9" y="0"/>
                </a:lnTo>
                <a:lnTo>
                  <a:pt x="16" y="0"/>
                </a:lnTo>
                <a:lnTo>
                  <a:pt x="31" y="0"/>
                </a:lnTo>
                <a:lnTo>
                  <a:pt x="34" y="6"/>
                </a:lnTo>
                <a:lnTo>
                  <a:pt x="41" y="6"/>
                </a:lnTo>
                <a:lnTo>
                  <a:pt x="44" y="10"/>
                </a:lnTo>
                <a:lnTo>
                  <a:pt x="44" y="13"/>
                </a:lnTo>
                <a:lnTo>
                  <a:pt x="38" y="13"/>
                </a:lnTo>
                <a:lnTo>
                  <a:pt x="34" y="13"/>
                </a:lnTo>
                <a:lnTo>
                  <a:pt x="31" y="16"/>
                </a:lnTo>
                <a:lnTo>
                  <a:pt x="31" y="16"/>
                </a:lnTo>
                <a:lnTo>
                  <a:pt x="28" y="13"/>
                </a:lnTo>
                <a:lnTo>
                  <a:pt x="25" y="13"/>
                </a:lnTo>
                <a:lnTo>
                  <a:pt x="25" y="19"/>
                </a:lnTo>
                <a:lnTo>
                  <a:pt x="22" y="16"/>
                </a:lnTo>
                <a:lnTo>
                  <a:pt x="19" y="16"/>
                </a:lnTo>
                <a:lnTo>
                  <a:pt x="13" y="16"/>
                </a:lnTo>
                <a:lnTo>
                  <a:pt x="9" y="13"/>
                </a:lnTo>
                <a:lnTo>
                  <a:pt x="9" y="6"/>
                </a:lnTo>
                <a:lnTo>
                  <a:pt x="6" y="6"/>
                </a:lnTo>
                <a:lnTo>
                  <a:pt x="3" y="6"/>
                </a:lnTo>
                <a:lnTo>
                  <a:pt x="0" y="3"/>
                </a:lnTo>
                <a:lnTo>
                  <a:pt x="3" y="0"/>
                </a:lnTo>
                <a:lnTo>
                  <a:pt x="6"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5" name="Freeform 173">
            <a:extLst>
              <a:ext uri="{FF2B5EF4-FFF2-40B4-BE49-F238E27FC236}">
                <a16:creationId xmlns:a16="http://schemas.microsoft.com/office/drawing/2014/main" id="{583C1B08-E6C0-599B-A719-1F568E64D1BC}"/>
              </a:ext>
            </a:extLst>
          </p:cNvPr>
          <p:cNvSpPr>
            <a:spLocks noEditPoints="1"/>
          </p:cNvSpPr>
          <p:nvPr userDrawn="1"/>
        </p:nvSpPr>
        <p:spPr bwMode="auto">
          <a:xfrm>
            <a:off x="8603687" y="8086005"/>
            <a:ext cx="168267" cy="139702"/>
          </a:xfrm>
          <a:custGeom>
            <a:avLst/>
            <a:gdLst>
              <a:gd name="T0" fmla="*/ 15 w 17"/>
              <a:gd name="T1" fmla="*/ 13 h 14"/>
              <a:gd name="T2" fmla="*/ 16 w 17"/>
              <a:gd name="T3" fmla="*/ 10 h 14"/>
              <a:gd name="T4" fmla="*/ 16 w 17"/>
              <a:gd name="T5" fmla="*/ 8 h 14"/>
              <a:gd name="T6" fmla="*/ 17 w 17"/>
              <a:gd name="T7" fmla="*/ 7 h 14"/>
              <a:gd name="T8" fmla="*/ 17 w 17"/>
              <a:gd name="T9" fmla="*/ 5 h 14"/>
              <a:gd name="T10" fmla="*/ 17 w 17"/>
              <a:gd name="T11" fmla="*/ 3 h 14"/>
              <a:gd name="T12" fmla="*/ 16 w 17"/>
              <a:gd name="T13" fmla="*/ 3 h 14"/>
              <a:gd name="T14" fmla="*/ 14 w 17"/>
              <a:gd name="T15" fmla="*/ 2 h 14"/>
              <a:gd name="T16" fmla="*/ 10 w 17"/>
              <a:gd name="T17" fmla="*/ 2 h 14"/>
              <a:gd name="T18" fmla="*/ 7 w 17"/>
              <a:gd name="T19" fmla="*/ 2 h 14"/>
              <a:gd name="T20" fmla="*/ 8 w 17"/>
              <a:gd name="T21" fmla="*/ 3 h 14"/>
              <a:gd name="T22" fmla="*/ 11 w 17"/>
              <a:gd name="T23" fmla="*/ 5 h 14"/>
              <a:gd name="T24" fmla="*/ 11 w 17"/>
              <a:gd name="T25" fmla="*/ 7 h 14"/>
              <a:gd name="T26" fmla="*/ 13 w 17"/>
              <a:gd name="T27" fmla="*/ 9 h 14"/>
              <a:gd name="T28" fmla="*/ 14 w 17"/>
              <a:gd name="T29" fmla="*/ 11 h 14"/>
              <a:gd name="T30" fmla="*/ 11 w 17"/>
              <a:gd name="T31" fmla="*/ 11 h 14"/>
              <a:gd name="T32" fmla="*/ 8 w 17"/>
              <a:gd name="T33" fmla="*/ 11 h 14"/>
              <a:gd name="T34" fmla="*/ 5 w 17"/>
              <a:gd name="T35" fmla="*/ 11 h 14"/>
              <a:gd name="T36" fmla="*/ 5 w 17"/>
              <a:gd name="T37" fmla="*/ 10 h 14"/>
              <a:gd name="T38" fmla="*/ 2 w 17"/>
              <a:gd name="T39" fmla="*/ 10 h 14"/>
              <a:gd name="T40" fmla="*/ 0 w 17"/>
              <a:gd name="T41" fmla="*/ 11 h 14"/>
              <a:gd name="T42" fmla="*/ 2 w 17"/>
              <a:gd name="T43" fmla="*/ 12 h 14"/>
              <a:gd name="T44" fmla="*/ 4 w 17"/>
              <a:gd name="T45" fmla="*/ 14 h 14"/>
              <a:gd name="T46" fmla="*/ 5 w 17"/>
              <a:gd name="T47" fmla="*/ 13 h 14"/>
              <a:gd name="T48" fmla="*/ 9 w 17"/>
              <a:gd name="T49" fmla="*/ 13 h 14"/>
              <a:gd name="T50" fmla="*/ 13 w 17"/>
              <a:gd name="T51" fmla="*/ 13 h 14"/>
              <a:gd name="T52" fmla="*/ 15 w 17"/>
              <a:gd name="T53" fmla="*/ 14 h 14"/>
              <a:gd name="T54" fmla="*/ 11 w 17"/>
              <a:gd name="T55" fmla="*/ 0 h 14"/>
              <a:gd name="T56" fmla="*/ 11 w 17"/>
              <a:gd name="T57" fmla="*/ 1 h 14"/>
              <a:gd name="T58" fmla="*/ 7 w 17"/>
              <a:gd name="T59" fmla="*/ 8 h 14"/>
              <a:gd name="T60" fmla="*/ 10 w 17"/>
              <a:gd name="T61" fmla="*/ 8 h 14"/>
              <a:gd name="T62" fmla="*/ 8 w 17"/>
              <a:gd name="T63"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14">
                <a:moveTo>
                  <a:pt x="15" y="14"/>
                </a:moveTo>
                <a:cubicBezTo>
                  <a:pt x="15" y="13"/>
                  <a:pt x="15" y="13"/>
                  <a:pt x="15" y="13"/>
                </a:cubicBezTo>
                <a:cubicBezTo>
                  <a:pt x="16" y="11"/>
                  <a:pt x="16" y="11"/>
                  <a:pt x="16" y="11"/>
                </a:cubicBezTo>
                <a:cubicBezTo>
                  <a:pt x="16" y="10"/>
                  <a:pt x="16" y="10"/>
                  <a:pt x="16" y="10"/>
                </a:cubicBezTo>
                <a:cubicBezTo>
                  <a:pt x="16" y="9"/>
                  <a:pt x="16" y="9"/>
                  <a:pt x="16" y="9"/>
                </a:cubicBezTo>
                <a:cubicBezTo>
                  <a:pt x="16" y="8"/>
                  <a:pt x="16" y="8"/>
                  <a:pt x="16" y="8"/>
                </a:cubicBezTo>
                <a:cubicBezTo>
                  <a:pt x="16" y="8"/>
                  <a:pt x="16" y="8"/>
                  <a:pt x="16" y="8"/>
                </a:cubicBezTo>
                <a:cubicBezTo>
                  <a:pt x="17" y="7"/>
                  <a:pt x="17" y="7"/>
                  <a:pt x="17" y="7"/>
                </a:cubicBezTo>
                <a:cubicBezTo>
                  <a:pt x="17" y="6"/>
                  <a:pt x="17" y="6"/>
                  <a:pt x="17" y="6"/>
                </a:cubicBezTo>
                <a:cubicBezTo>
                  <a:pt x="17" y="5"/>
                  <a:pt x="17" y="5"/>
                  <a:pt x="17" y="5"/>
                </a:cubicBezTo>
                <a:cubicBezTo>
                  <a:pt x="17" y="4"/>
                  <a:pt x="17" y="4"/>
                  <a:pt x="17" y="4"/>
                </a:cubicBezTo>
                <a:cubicBezTo>
                  <a:pt x="17" y="3"/>
                  <a:pt x="17" y="3"/>
                  <a:pt x="17" y="3"/>
                </a:cubicBezTo>
                <a:cubicBezTo>
                  <a:pt x="17" y="3"/>
                  <a:pt x="17" y="3"/>
                  <a:pt x="17" y="3"/>
                </a:cubicBezTo>
                <a:cubicBezTo>
                  <a:pt x="16" y="3"/>
                  <a:pt x="16" y="3"/>
                  <a:pt x="16" y="3"/>
                </a:cubicBezTo>
                <a:cubicBezTo>
                  <a:pt x="15" y="3"/>
                  <a:pt x="15" y="3"/>
                  <a:pt x="15" y="3"/>
                </a:cubicBezTo>
                <a:cubicBezTo>
                  <a:pt x="14" y="2"/>
                  <a:pt x="14" y="2"/>
                  <a:pt x="14" y="2"/>
                </a:cubicBezTo>
                <a:cubicBezTo>
                  <a:pt x="11" y="2"/>
                  <a:pt x="11" y="2"/>
                  <a:pt x="11" y="2"/>
                </a:cubicBezTo>
                <a:cubicBezTo>
                  <a:pt x="10" y="2"/>
                  <a:pt x="10" y="2"/>
                  <a:pt x="10" y="2"/>
                </a:cubicBezTo>
                <a:cubicBezTo>
                  <a:pt x="9" y="2"/>
                  <a:pt x="9" y="2"/>
                  <a:pt x="9" y="2"/>
                </a:cubicBezTo>
                <a:cubicBezTo>
                  <a:pt x="7" y="2"/>
                  <a:pt x="7" y="2"/>
                  <a:pt x="7" y="2"/>
                </a:cubicBezTo>
                <a:cubicBezTo>
                  <a:pt x="7" y="2"/>
                  <a:pt x="7" y="2"/>
                  <a:pt x="7" y="2"/>
                </a:cubicBezTo>
                <a:cubicBezTo>
                  <a:pt x="7" y="2"/>
                  <a:pt x="8" y="3"/>
                  <a:pt x="8" y="3"/>
                </a:cubicBezTo>
                <a:cubicBezTo>
                  <a:pt x="11" y="4"/>
                  <a:pt x="11" y="4"/>
                  <a:pt x="11" y="4"/>
                </a:cubicBezTo>
                <a:cubicBezTo>
                  <a:pt x="11" y="5"/>
                  <a:pt x="11" y="5"/>
                  <a:pt x="11" y="5"/>
                </a:cubicBezTo>
                <a:cubicBezTo>
                  <a:pt x="11" y="6"/>
                  <a:pt x="11" y="6"/>
                  <a:pt x="11" y="6"/>
                </a:cubicBezTo>
                <a:cubicBezTo>
                  <a:pt x="11" y="7"/>
                  <a:pt x="11" y="7"/>
                  <a:pt x="11" y="7"/>
                </a:cubicBezTo>
                <a:cubicBezTo>
                  <a:pt x="11" y="8"/>
                  <a:pt x="11" y="8"/>
                  <a:pt x="11" y="8"/>
                </a:cubicBezTo>
                <a:cubicBezTo>
                  <a:pt x="13" y="9"/>
                  <a:pt x="13" y="9"/>
                  <a:pt x="13" y="9"/>
                </a:cubicBezTo>
                <a:cubicBezTo>
                  <a:pt x="14" y="10"/>
                  <a:pt x="14" y="10"/>
                  <a:pt x="14" y="10"/>
                </a:cubicBezTo>
                <a:cubicBezTo>
                  <a:pt x="14" y="11"/>
                  <a:pt x="14" y="11"/>
                  <a:pt x="14" y="11"/>
                </a:cubicBezTo>
                <a:cubicBezTo>
                  <a:pt x="11" y="11"/>
                  <a:pt x="11" y="11"/>
                  <a:pt x="11" y="11"/>
                </a:cubicBezTo>
                <a:cubicBezTo>
                  <a:pt x="11" y="11"/>
                  <a:pt x="11" y="11"/>
                  <a:pt x="11" y="11"/>
                </a:cubicBezTo>
                <a:cubicBezTo>
                  <a:pt x="9" y="11"/>
                  <a:pt x="9" y="11"/>
                  <a:pt x="9" y="11"/>
                </a:cubicBezTo>
                <a:cubicBezTo>
                  <a:pt x="8" y="11"/>
                  <a:pt x="8" y="11"/>
                  <a:pt x="8" y="11"/>
                </a:cubicBezTo>
                <a:cubicBezTo>
                  <a:pt x="7" y="10"/>
                  <a:pt x="7" y="10"/>
                  <a:pt x="7" y="10"/>
                </a:cubicBezTo>
                <a:cubicBezTo>
                  <a:pt x="5" y="11"/>
                  <a:pt x="5" y="11"/>
                  <a:pt x="5" y="11"/>
                </a:cubicBezTo>
                <a:cubicBezTo>
                  <a:pt x="5" y="10"/>
                  <a:pt x="5" y="10"/>
                  <a:pt x="5" y="10"/>
                </a:cubicBezTo>
                <a:cubicBezTo>
                  <a:pt x="5" y="10"/>
                  <a:pt x="5" y="10"/>
                  <a:pt x="5" y="10"/>
                </a:cubicBezTo>
                <a:cubicBezTo>
                  <a:pt x="3" y="11"/>
                  <a:pt x="3" y="11"/>
                  <a:pt x="3" y="11"/>
                </a:cubicBezTo>
                <a:cubicBezTo>
                  <a:pt x="2" y="10"/>
                  <a:pt x="2" y="10"/>
                  <a:pt x="2" y="10"/>
                </a:cubicBezTo>
                <a:cubicBezTo>
                  <a:pt x="0" y="10"/>
                  <a:pt x="0" y="10"/>
                  <a:pt x="0" y="10"/>
                </a:cubicBezTo>
                <a:cubicBezTo>
                  <a:pt x="0" y="11"/>
                  <a:pt x="0" y="11"/>
                  <a:pt x="0" y="11"/>
                </a:cubicBezTo>
                <a:cubicBezTo>
                  <a:pt x="0" y="12"/>
                  <a:pt x="0" y="12"/>
                  <a:pt x="0" y="12"/>
                </a:cubicBezTo>
                <a:cubicBezTo>
                  <a:pt x="2" y="12"/>
                  <a:pt x="2" y="12"/>
                  <a:pt x="2" y="12"/>
                </a:cubicBezTo>
                <a:cubicBezTo>
                  <a:pt x="3" y="14"/>
                  <a:pt x="3" y="14"/>
                  <a:pt x="3" y="14"/>
                </a:cubicBezTo>
                <a:cubicBezTo>
                  <a:pt x="4" y="14"/>
                  <a:pt x="4" y="14"/>
                  <a:pt x="4" y="14"/>
                </a:cubicBezTo>
                <a:cubicBezTo>
                  <a:pt x="4" y="13"/>
                  <a:pt x="4" y="13"/>
                  <a:pt x="4" y="13"/>
                </a:cubicBezTo>
                <a:cubicBezTo>
                  <a:pt x="5" y="13"/>
                  <a:pt x="5" y="13"/>
                  <a:pt x="5" y="13"/>
                </a:cubicBezTo>
                <a:cubicBezTo>
                  <a:pt x="7" y="13"/>
                  <a:pt x="7" y="13"/>
                  <a:pt x="7" y="13"/>
                </a:cubicBezTo>
                <a:cubicBezTo>
                  <a:pt x="9" y="13"/>
                  <a:pt x="9" y="13"/>
                  <a:pt x="9" y="13"/>
                </a:cubicBezTo>
                <a:cubicBezTo>
                  <a:pt x="12" y="13"/>
                  <a:pt x="12" y="13"/>
                  <a:pt x="12" y="13"/>
                </a:cubicBezTo>
                <a:cubicBezTo>
                  <a:pt x="13" y="13"/>
                  <a:pt x="13" y="13"/>
                  <a:pt x="13" y="13"/>
                </a:cubicBezTo>
                <a:cubicBezTo>
                  <a:pt x="14" y="13"/>
                  <a:pt x="14" y="13"/>
                  <a:pt x="14" y="13"/>
                </a:cubicBezTo>
                <a:cubicBezTo>
                  <a:pt x="15" y="14"/>
                  <a:pt x="15" y="14"/>
                  <a:pt x="15" y="14"/>
                </a:cubicBezTo>
                <a:close/>
                <a:moveTo>
                  <a:pt x="10" y="0"/>
                </a:moveTo>
                <a:cubicBezTo>
                  <a:pt x="11" y="0"/>
                  <a:pt x="11" y="0"/>
                  <a:pt x="11" y="0"/>
                </a:cubicBezTo>
                <a:cubicBezTo>
                  <a:pt x="13" y="1"/>
                  <a:pt x="13" y="1"/>
                  <a:pt x="13" y="1"/>
                </a:cubicBezTo>
                <a:cubicBezTo>
                  <a:pt x="11" y="1"/>
                  <a:pt x="11" y="1"/>
                  <a:pt x="11" y="1"/>
                </a:cubicBezTo>
                <a:cubicBezTo>
                  <a:pt x="10" y="0"/>
                  <a:pt x="10" y="0"/>
                  <a:pt x="10" y="0"/>
                </a:cubicBezTo>
                <a:close/>
                <a:moveTo>
                  <a:pt x="7" y="8"/>
                </a:moveTo>
                <a:cubicBezTo>
                  <a:pt x="9" y="7"/>
                  <a:pt x="9" y="7"/>
                  <a:pt x="9" y="7"/>
                </a:cubicBezTo>
                <a:cubicBezTo>
                  <a:pt x="10" y="8"/>
                  <a:pt x="10" y="8"/>
                  <a:pt x="10" y="8"/>
                </a:cubicBezTo>
                <a:cubicBezTo>
                  <a:pt x="10" y="9"/>
                  <a:pt x="10" y="9"/>
                  <a:pt x="10" y="9"/>
                </a:cubicBezTo>
                <a:cubicBezTo>
                  <a:pt x="8" y="9"/>
                  <a:pt x="8" y="9"/>
                  <a:pt x="8" y="9"/>
                </a:cubicBezTo>
                <a:lnTo>
                  <a:pt x="7" y="8"/>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6" name="Freeform 174">
            <a:extLst>
              <a:ext uri="{FF2B5EF4-FFF2-40B4-BE49-F238E27FC236}">
                <a16:creationId xmlns:a16="http://schemas.microsoft.com/office/drawing/2014/main" id="{68F24B00-3D21-7270-2EA8-68ACA1209A96}"/>
              </a:ext>
            </a:extLst>
          </p:cNvPr>
          <p:cNvSpPr>
            <a:spLocks noEditPoints="1"/>
          </p:cNvSpPr>
          <p:nvPr userDrawn="1"/>
        </p:nvSpPr>
        <p:spPr bwMode="auto">
          <a:xfrm>
            <a:off x="7959204" y="7876461"/>
            <a:ext cx="663533" cy="238126"/>
          </a:xfrm>
          <a:custGeom>
            <a:avLst/>
            <a:gdLst>
              <a:gd name="T0" fmla="*/ 44 w 209"/>
              <a:gd name="T1" fmla="*/ 28 h 75"/>
              <a:gd name="T2" fmla="*/ 44 w 209"/>
              <a:gd name="T3" fmla="*/ 38 h 75"/>
              <a:gd name="T4" fmla="*/ 41 w 209"/>
              <a:gd name="T5" fmla="*/ 34 h 75"/>
              <a:gd name="T6" fmla="*/ 41 w 209"/>
              <a:gd name="T7" fmla="*/ 31 h 75"/>
              <a:gd name="T8" fmla="*/ 13 w 209"/>
              <a:gd name="T9" fmla="*/ 19 h 75"/>
              <a:gd name="T10" fmla="*/ 9 w 209"/>
              <a:gd name="T11" fmla="*/ 22 h 75"/>
              <a:gd name="T12" fmla="*/ 0 w 209"/>
              <a:gd name="T13" fmla="*/ 28 h 75"/>
              <a:gd name="T14" fmla="*/ 9 w 209"/>
              <a:gd name="T15" fmla="*/ 25 h 75"/>
              <a:gd name="T16" fmla="*/ 19 w 209"/>
              <a:gd name="T17" fmla="*/ 25 h 75"/>
              <a:gd name="T18" fmla="*/ 28 w 209"/>
              <a:gd name="T19" fmla="*/ 19 h 75"/>
              <a:gd name="T20" fmla="*/ 41 w 209"/>
              <a:gd name="T21" fmla="*/ 13 h 75"/>
              <a:gd name="T22" fmla="*/ 53 w 209"/>
              <a:gd name="T23" fmla="*/ 13 h 75"/>
              <a:gd name="T24" fmla="*/ 69 w 209"/>
              <a:gd name="T25" fmla="*/ 16 h 75"/>
              <a:gd name="T26" fmla="*/ 56 w 209"/>
              <a:gd name="T27" fmla="*/ 19 h 75"/>
              <a:gd name="T28" fmla="*/ 75 w 209"/>
              <a:gd name="T29" fmla="*/ 22 h 75"/>
              <a:gd name="T30" fmla="*/ 88 w 209"/>
              <a:gd name="T31" fmla="*/ 25 h 75"/>
              <a:gd name="T32" fmla="*/ 94 w 209"/>
              <a:gd name="T33" fmla="*/ 25 h 75"/>
              <a:gd name="T34" fmla="*/ 106 w 209"/>
              <a:gd name="T35" fmla="*/ 31 h 75"/>
              <a:gd name="T36" fmla="*/ 116 w 209"/>
              <a:gd name="T37" fmla="*/ 34 h 75"/>
              <a:gd name="T38" fmla="*/ 125 w 209"/>
              <a:gd name="T39" fmla="*/ 34 h 75"/>
              <a:gd name="T40" fmla="*/ 138 w 209"/>
              <a:gd name="T41" fmla="*/ 53 h 75"/>
              <a:gd name="T42" fmla="*/ 150 w 209"/>
              <a:gd name="T43" fmla="*/ 53 h 75"/>
              <a:gd name="T44" fmla="*/ 153 w 209"/>
              <a:gd name="T45" fmla="*/ 63 h 75"/>
              <a:gd name="T46" fmla="*/ 144 w 209"/>
              <a:gd name="T47" fmla="*/ 72 h 75"/>
              <a:gd name="T48" fmla="*/ 156 w 209"/>
              <a:gd name="T49" fmla="*/ 72 h 75"/>
              <a:gd name="T50" fmla="*/ 178 w 209"/>
              <a:gd name="T51" fmla="*/ 75 h 75"/>
              <a:gd name="T52" fmla="*/ 194 w 209"/>
              <a:gd name="T53" fmla="*/ 69 h 75"/>
              <a:gd name="T54" fmla="*/ 206 w 209"/>
              <a:gd name="T55" fmla="*/ 66 h 75"/>
              <a:gd name="T56" fmla="*/ 203 w 209"/>
              <a:gd name="T57" fmla="*/ 60 h 75"/>
              <a:gd name="T58" fmla="*/ 184 w 209"/>
              <a:gd name="T59" fmla="*/ 53 h 75"/>
              <a:gd name="T60" fmla="*/ 184 w 209"/>
              <a:gd name="T61" fmla="*/ 44 h 75"/>
              <a:gd name="T62" fmla="*/ 175 w 209"/>
              <a:gd name="T63" fmla="*/ 44 h 75"/>
              <a:gd name="T64" fmla="*/ 163 w 209"/>
              <a:gd name="T65" fmla="*/ 38 h 75"/>
              <a:gd name="T66" fmla="*/ 153 w 209"/>
              <a:gd name="T67" fmla="*/ 34 h 75"/>
              <a:gd name="T68" fmla="*/ 150 w 209"/>
              <a:gd name="T69" fmla="*/ 34 h 75"/>
              <a:gd name="T70" fmla="*/ 134 w 209"/>
              <a:gd name="T71" fmla="*/ 25 h 75"/>
              <a:gd name="T72" fmla="*/ 116 w 209"/>
              <a:gd name="T73" fmla="*/ 19 h 75"/>
              <a:gd name="T74" fmla="*/ 106 w 209"/>
              <a:gd name="T75" fmla="*/ 6 h 75"/>
              <a:gd name="T76" fmla="*/ 84 w 209"/>
              <a:gd name="T77" fmla="*/ 3 h 75"/>
              <a:gd name="T78" fmla="*/ 72 w 209"/>
              <a:gd name="T79" fmla="*/ 0 h 75"/>
              <a:gd name="T80" fmla="*/ 50 w 209"/>
              <a:gd name="T81" fmla="*/ 3 h 75"/>
              <a:gd name="T82" fmla="*/ 28 w 209"/>
              <a:gd name="T83" fmla="*/ 6 h 75"/>
              <a:gd name="T84" fmla="*/ 13 w 209"/>
              <a:gd name="T85" fmla="*/ 1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9" h="75">
                <a:moveTo>
                  <a:pt x="41" y="28"/>
                </a:moveTo>
                <a:lnTo>
                  <a:pt x="41" y="25"/>
                </a:lnTo>
                <a:lnTo>
                  <a:pt x="44" y="28"/>
                </a:lnTo>
                <a:lnTo>
                  <a:pt x="50" y="31"/>
                </a:lnTo>
                <a:lnTo>
                  <a:pt x="47" y="34"/>
                </a:lnTo>
                <a:lnTo>
                  <a:pt x="44" y="38"/>
                </a:lnTo>
                <a:lnTo>
                  <a:pt x="38" y="34"/>
                </a:lnTo>
                <a:lnTo>
                  <a:pt x="38" y="31"/>
                </a:lnTo>
                <a:lnTo>
                  <a:pt x="41" y="34"/>
                </a:lnTo>
                <a:lnTo>
                  <a:pt x="41" y="34"/>
                </a:lnTo>
                <a:lnTo>
                  <a:pt x="44" y="31"/>
                </a:lnTo>
                <a:lnTo>
                  <a:pt x="41" y="31"/>
                </a:lnTo>
                <a:lnTo>
                  <a:pt x="41" y="28"/>
                </a:lnTo>
                <a:lnTo>
                  <a:pt x="41" y="28"/>
                </a:lnTo>
                <a:close/>
                <a:moveTo>
                  <a:pt x="13" y="19"/>
                </a:moveTo>
                <a:lnTo>
                  <a:pt x="16" y="22"/>
                </a:lnTo>
                <a:lnTo>
                  <a:pt x="13" y="25"/>
                </a:lnTo>
                <a:lnTo>
                  <a:pt x="9" y="22"/>
                </a:lnTo>
                <a:lnTo>
                  <a:pt x="3" y="28"/>
                </a:lnTo>
                <a:lnTo>
                  <a:pt x="0" y="25"/>
                </a:lnTo>
                <a:lnTo>
                  <a:pt x="0" y="28"/>
                </a:lnTo>
                <a:lnTo>
                  <a:pt x="3" y="31"/>
                </a:lnTo>
                <a:lnTo>
                  <a:pt x="9" y="25"/>
                </a:lnTo>
                <a:lnTo>
                  <a:pt x="9" y="25"/>
                </a:lnTo>
                <a:lnTo>
                  <a:pt x="9" y="28"/>
                </a:lnTo>
                <a:lnTo>
                  <a:pt x="16" y="28"/>
                </a:lnTo>
                <a:lnTo>
                  <a:pt x="19" y="25"/>
                </a:lnTo>
                <a:lnTo>
                  <a:pt x="22" y="22"/>
                </a:lnTo>
                <a:lnTo>
                  <a:pt x="28" y="22"/>
                </a:lnTo>
                <a:lnTo>
                  <a:pt x="28" y="19"/>
                </a:lnTo>
                <a:lnTo>
                  <a:pt x="31" y="22"/>
                </a:lnTo>
                <a:lnTo>
                  <a:pt x="34" y="22"/>
                </a:lnTo>
                <a:lnTo>
                  <a:pt x="41" y="13"/>
                </a:lnTo>
                <a:lnTo>
                  <a:pt x="44" y="13"/>
                </a:lnTo>
                <a:lnTo>
                  <a:pt x="47" y="9"/>
                </a:lnTo>
                <a:lnTo>
                  <a:pt x="53" y="13"/>
                </a:lnTo>
                <a:lnTo>
                  <a:pt x="56" y="13"/>
                </a:lnTo>
                <a:lnTo>
                  <a:pt x="66" y="13"/>
                </a:lnTo>
                <a:lnTo>
                  <a:pt x="69" y="16"/>
                </a:lnTo>
                <a:lnTo>
                  <a:pt x="66" y="16"/>
                </a:lnTo>
                <a:lnTo>
                  <a:pt x="59" y="16"/>
                </a:lnTo>
                <a:lnTo>
                  <a:pt x="56" y="19"/>
                </a:lnTo>
                <a:lnTo>
                  <a:pt x="59" y="22"/>
                </a:lnTo>
                <a:lnTo>
                  <a:pt x="72" y="22"/>
                </a:lnTo>
                <a:lnTo>
                  <a:pt x="75" y="22"/>
                </a:lnTo>
                <a:lnTo>
                  <a:pt x="78" y="22"/>
                </a:lnTo>
                <a:lnTo>
                  <a:pt x="81" y="25"/>
                </a:lnTo>
                <a:lnTo>
                  <a:pt x="88" y="25"/>
                </a:lnTo>
                <a:lnTo>
                  <a:pt x="91" y="25"/>
                </a:lnTo>
                <a:lnTo>
                  <a:pt x="91" y="22"/>
                </a:lnTo>
                <a:lnTo>
                  <a:pt x="94" y="25"/>
                </a:lnTo>
                <a:lnTo>
                  <a:pt x="94" y="25"/>
                </a:lnTo>
                <a:lnTo>
                  <a:pt x="100" y="31"/>
                </a:lnTo>
                <a:lnTo>
                  <a:pt x="106" y="31"/>
                </a:lnTo>
                <a:lnTo>
                  <a:pt x="106" y="31"/>
                </a:lnTo>
                <a:lnTo>
                  <a:pt x="109" y="34"/>
                </a:lnTo>
                <a:lnTo>
                  <a:pt x="116" y="34"/>
                </a:lnTo>
                <a:lnTo>
                  <a:pt x="119" y="34"/>
                </a:lnTo>
                <a:lnTo>
                  <a:pt x="122" y="31"/>
                </a:lnTo>
                <a:lnTo>
                  <a:pt x="125" y="34"/>
                </a:lnTo>
                <a:lnTo>
                  <a:pt x="128" y="44"/>
                </a:lnTo>
                <a:lnTo>
                  <a:pt x="134" y="53"/>
                </a:lnTo>
                <a:lnTo>
                  <a:pt x="138" y="53"/>
                </a:lnTo>
                <a:lnTo>
                  <a:pt x="141" y="50"/>
                </a:lnTo>
                <a:lnTo>
                  <a:pt x="144" y="53"/>
                </a:lnTo>
                <a:lnTo>
                  <a:pt x="150" y="53"/>
                </a:lnTo>
                <a:lnTo>
                  <a:pt x="153" y="56"/>
                </a:lnTo>
                <a:lnTo>
                  <a:pt x="156" y="56"/>
                </a:lnTo>
                <a:lnTo>
                  <a:pt x="153" y="63"/>
                </a:lnTo>
                <a:lnTo>
                  <a:pt x="150" y="63"/>
                </a:lnTo>
                <a:lnTo>
                  <a:pt x="144" y="69"/>
                </a:lnTo>
                <a:lnTo>
                  <a:pt x="144" y="72"/>
                </a:lnTo>
                <a:lnTo>
                  <a:pt x="150" y="72"/>
                </a:lnTo>
                <a:lnTo>
                  <a:pt x="153" y="72"/>
                </a:lnTo>
                <a:lnTo>
                  <a:pt x="156" y="72"/>
                </a:lnTo>
                <a:lnTo>
                  <a:pt x="166" y="69"/>
                </a:lnTo>
                <a:lnTo>
                  <a:pt x="172" y="72"/>
                </a:lnTo>
                <a:lnTo>
                  <a:pt x="178" y="75"/>
                </a:lnTo>
                <a:lnTo>
                  <a:pt x="191" y="72"/>
                </a:lnTo>
                <a:lnTo>
                  <a:pt x="191" y="69"/>
                </a:lnTo>
                <a:lnTo>
                  <a:pt x="194" y="69"/>
                </a:lnTo>
                <a:lnTo>
                  <a:pt x="197" y="66"/>
                </a:lnTo>
                <a:lnTo>
                  <a:pt x="203" y="69"/>
                </a:lnTo>
                <a:lnTo>
                  <a:pt x="206" y="66"/>
                </a:lnTo>
                <a:lnTo>
                  <a:pt x="209" y="63"/>
                </a:lnTo>
                <a:lnTo>
                  <a:pt x="209" y="60"/>
                </a:lnTo>
                <a:lnTo>
                  <a:pt x="203" y="60"/>
                </a:lnTo>
                <a:lnTo>
                  <a:pt x="203" y="56"/>
                </a:lnTo>
                <a:lnTo>
                  <a:pt x="194" y="53"/>
                </a:lnTo>
                <a:lnTo>
                  <a:pt x="184" y="53"/>
                </a:lnTo>
                <a:lnTo>
                  <a:pt x="181" y="50"/>
                </a:lnTo>
                <a:lnTo>
                  <a:pt x="181" y="50"/>
                </a:lnTo>
                <a:lnTo>
                  <a:pt x="184" y="44"/>
                </a:lnTo>
                <a:lnTo>
                  <a:pt x="181" y="44"/>
                </a:lnTo>
                <a:lnTo>
                  <a:pt x="178" y="44"/>
                </a:lnTo>
                <a:lnTo>
                  <a:pt x="175" y="44"/>
                </a:lnTo>
                <a:lnTo>
                  <a:pt x="169" y="38"/>
                </a:lnTo>
                <a:lnTo>
                  <a:pt x="166" y="41"/>
                </a:lnTo>
                <a:lnTo>
                  <a:pt x="163" y="38"/>
                </a:lnTo>
                <a:lnTo>
                  <a:pt x="156" y="34"/>
                </a:lnTo>
                <a:lnTo>
                  <a:pt x="153" y="38"/>
                </a:lnTo>
                <a:lnTo>
                  <a:pt x="153" y="34"/>
                </a:lnTo>
                <a:lnTo>
                  <a:pt x="153" y="31"/>
                </a:lnTo>
                <a:lnTo>
                  <a:pt x="150" y="31"/>
                </a:lnTo>
                <a:lnTo>
                  <a:pt x="150" y="34"/>
                </a:lnTo>
                <a:lnTo>
                  <a:pt x="147" y="31"/>
                </a:lnTo>
                <a:lnTo>
                  <a:pt x="141" y="31"/>
                </a:lnTo>
                <a:lnTo>
                  <a:pt x="134" y="25"/>
                </a:lnTo>
                <a:lnTo>
                  <a:pt x="131" y="22"/>
                </a:lnTo>
                <a:lnTo>
                  <a:pt x="125" y="19"/>
                </a:lnTo>
                <a:lnTo>
                  <a:pt x="116" y="19"/>
                </a:lnTo>
                <a:lnTo>
                  <a:pt x="113" y="16"/>
                </a:lnTo>
                <a:lnTo>
                  <a:pt x="109" y="13"/>
                </a:lnTo>
                <a:lnTo>
                  <a:pt x="106" y="6"/>
                </a:lnTo>
                <a:lnTo>
                  <a:pt x="100" y="9"/>
                </a:lnTo>
                <a:lnTo>
                  <a:pt x="100" y="6"/>
                </a:lnTo>
                <a:lnTo>
                  <a:pt x="84" y="3"/>
                </a:lnTo>
                <a:lnTo>
                  <a:pt x="81" y="6"/>
                </a:lnTo>
                <a:lnTo>
                  <a:pt x="75" y="3"/>
                </a:lnTo>
                <a:lnTo>
                  <a:pt x="72" y="0"/>
                </a:lnTo>
                <a:lnTo>
                  <a:pt x="63" y="0"/>
                </a:lnTo>
                <a:lnTo>
                  <a:pt x="53" y="0"/>
                </a:lnTo>
                <a:lnTo>
                  <a:pt x="50" y="3"/>
                </a:lnTo>
                <a:lnTo>
                  <a:pt x="38" y="3"/>
                </a:lnTo>
                <a:lnTo>
                  <a:pt x="31" y="3"/>
                </a:lnTo>
                <a:lnTo>
                  <a:pt x="28" y="6"/>
                </a:lnTo>
                <a:lnTo>
                  <a:pt x="19" y="9"/>
                </a:lnTo>
                <a:lnTo>
                  <a:pt x="16" y="13"/>
                </a:lnTo>
                <a:lnTo>
                  <a:pt x="13" y="16"/>
                </a:lnTo>
                <a:lnTo>
                  <a:pt x="13" y="1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7" name="Freeform 175">
            <a:extLst>
              <a:ext uri="{FF2B5EF4-FFF2-40B4-BE49-F238E27FC236}">
                <a16:creationId xmlns:a16="http://schemas.microsoft.com/office/drawing/2014/main" id="{F6F02A16-5D98-A7A9-926E-EDF41F9E6314}"/>
              </a:ext>
            </a:extLst>
          </p:cNvPr>
          <p:cNvSpPr>
            <a:spLocks noEditPoints="1"/>
          </p:cNvSpPr>
          <p:nvPr userDrawn="1"/>
        </p:nvSpPr>
        <p:spPr bwMode="auto">
          <a:xfrm>
            <a:off x="8365577" y="7619283"/>
            <a:ext cx="358753" cy="415926"/>
          </a:xfrm>
          <a:custGeom>
            <a:avLst/>
            <a:gdLst>
              <a:gd name="T0" fmla="*/ 106 w 113"/>
              <a:gd name="T1" fmla="*/ 115 h 131"/>
              <a:gd name="T2" fmla="*/ 91 w 113"/>
              <a:gd name="T3" fmla="*/ 131 h 131"/>
              <a:gd name="T4" fmla="*/ 106 w 113"/>
              <a:gd name="T5" fmla="*/ 122 h 131"/>
              <a:gd name="T6" fmla="*/ 97 w 113"/>
              <a:gd name="T7" fmla="*/ 122 h 131"/>
              <a:gd name="T8" fmla="*/ 91 w 113"/>
              <a:gd name="T9" fmla="*/ 131 h 131"/>
              <a:gd name="T10" fmla="*/ 113 w 113"/>
              <a:gd name="T11" fmla="*/ 100 h 131"/>
              <a:gd name="T12" fmla="*/ 106 w 113"/>
              <a:gd name="T13" fmla="*/ 100 h 131"/>
              <a:gd name="T14" fmla="*/ 94 w 113"/>
              <a:gd name="T15" fmla="*/ 90 h 131"/>
              <a:gd name="T16" fmla="*/ 85 w 113"/>
              <a:gd name="T17" fmla="*/ 97 h 131"/>
              <a:gd name="T18" fmla="*/ 85 w 113"/>
              <a:gd name="T19" fmla="*/ 100 h 131"/>
              <a:gd name="T20" fmla="*/ 94 w 113"/>
              <a:gd name="T21" fmla="*/ 90 h 131"/>
              <a:gd name="T22" fmla="*/ 85 w 113"/>
              <a:gd name="T23" fmla="*/ 87 h 131"/>
              <a:gd name="T24" fmla="*/ 81 w 113"/>
              <a:gd name="T25" fmla="*/ 87 h 131"/>
              <a:gd name="T26" fmla="*/ 66 w 113"/>
              <a:gd name="T27" fmla="*/ 72 h 131"/>
              <a:gd name="T28" fmla="*/ 75 w 113"/>
              <a:gd name="T29" fmla="*/ 87 h 131"/>
              <a:gd name="T30" fmla="*/ 66 w 113"/>
              <a:gd name="T31" fmla="*/ 78 h 131"/>
              <a:gd name="T32" fmla="*/ 66 w 113"/>
              <a:gd name="T33" fmla="*/ 72 h 131"/>
              <a:gd name="T34" fmla="*/ 50 w 113"/>
              <a:gd name="T35" fmla="*/ 72 h 131"/>
              <a:gd name="T36" fmla="*/ 53 w 113"/>
              <a:gd name="T37" fmla="*/ 69 h 131"/>
              <a:gd name="T38" fmla="*/ 81 w 113"/>
              <a:gd name="T39" fmla="*/ 65 h 131"/>
              <a:gd name="T40" fmla="*/ 81 w 113"/>
              <a:gd name="T41" fmla="*/ 59 h 131"/>
              <a:gd name="T42" fmla="*/ 63 w 113"/>
              <a:gd name="T43" fmla="*/ 56 h 131"/>
              <a:gd name="T44" fmla="*/ 66 w 113"/>
              <a:gd name="T45" fmla="*/ 65 h 131"/>
              <a:gd name="T46" fmla="*/ 66 w 113"/>
              <a:gd name="T47" fmla="*/ 56 h 131"/>
              <a:gd name="T48" fmla="*/ 63 w 113"/>
              <a:gd name="T49" fmla="*/ 50 h 131"/>
              <a:gd name="T50" fmla="*/ 53 w 113"/>
              <a:gd name="T51" fmla="*/ 40 h 131"/>
              <a:gd name="T52" fmla="*/ 50 w 113"/>
              <a:gd name="T53" fmla="*/ 47 h 131"/>
              <a:gd name="T54" fmla="*/ 50 w 113"/>
              <a:gd name="T55" fmla="*/ 37 h 131"/>
              <a:gd name="T56" fmla="*/ 44 w 113"/>
              <a:gd name="T57" fmla="*/ 34 h 131"/>
              <a:gd name="T58" fmla="*/ 38 w 113"/>
              <a:gd name="T59" fmla="*/ 3 h 131"/>
              <a:gd name="T60" fmla="*/ 41 w 113"/>
              <a:gd name="T61" fmla="*/ 15 h 131"/>
              <a:gd name="T62" fmla="*/ 35 w 113"/>
              <a:gd name="T63" fmla="*/ 22 h 131"/>
              <a:gd name="T64" fmla="*/ 35 w 113"/>
              <a:gd name="T65" fmla="*/ 9 h 131"/>
              <a:gd name="T66" fmla="*/ 25 w 113"/>
              <a:gd name="T67" fmla="*/ 0 h 131"/>
              <a:gd name="T68" fmla="*/ 6 w 113"/>
              <a:gd name="T69" fmla="*/ 3 h 131"/>
              <a:gd name="T70" fmla="*/ 19 w 113"/>
              <a:gd name="T71" fmla="*/ 0 h 131"/>
              <a:gd name="T72" fmla="*/ 19 w 113"/>
              <a:gd name="T73" fmla="*/ 3 h 131"/>
              <a:gd name="T74" fmla="*/ 0 w 113"/>
              <a:gd name="T75" fmla="*/ 3 h 131"/>
              <a:gd name="T76" fmla="*/ 31 w 113"/>
              <a:gd name="T77" fmla="*/ 37 h 131"/>
              <a:gd name="T78" fmla="*/ 28 w 113"/>
              <a:gd name="T79" fmla="*/ 40 h 131"/>
              <a:gd name="T80" fmla="*/ 19 w 113"/>
              <a:gd name="T81" fmla="*/ 59 h 131"/>
              <a:gd name="T82" fmla="*/ 19 w 113"/>
              <a:gd name="T83" fmla="*/ 59 h 131"/>
              <a:gd name="T84" fmla="*/ 19 w 113"/>
              <a:gd name="T85" fmla="*/ 59 h 131"/>
              <a:gd name="T86" fmla="*/ 16 w 113"/>
              <a:gd name="T87" fmla="*/ 59 h 131"/>
              <a:gd name="T88" fmla="*/ 19 w 113"/>
              <a:gd name="T89" fmla="*/ 47 h 131"/>
              <a:gd name="T90" fmla="*/ 13 w 113"/>
              <a:gd name="T91" fmla="*/ 44 h 131"/>
              <a:gd name="T92" fmla="*/ 16 w 113"/>
              <a:gd name="T93" fmla="*/ 50 h 131"/>
              <a:gd name="T94" fmla="*/ 22 w 113"/>
              <a:gd name="T95" fmla="*/ 59 h 131"/>
              <a:gd name="T96" fmla="*/ 19 w 113"/>
              <a:gd name="T97" fmla="*/ 72 h 131"/>
              <a:gd name="T98" fmla="*/ 25 w 113"/>
              <a:gd name="T99" fmla="*/ 6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 h="131">
                <a:moveTo>
                  <a:pt x="106" y="119"/>
                </a:moveTo>
                <a:lnTo>
                  <a:pt x="106" y="119"/>
                </a:lnTo>
                <a:lnTo>
                  <a:pt x="106" y="115"/>
                </a:lnTo>
                <a:lnTo>
                  <a:pt x="106" y="119"/>
                </a:lnTo>
                <a:lnTo>
                  <a:pt x="106" y="119"/>
                </a:lnTo>
                <a:close/>
                <a:moveTo>
                  <a:pt x="91" y="131"/>
                </a:moveTo>
                <a:lnTo>
                  <a:pt x="103" y="131"/>
                </a:lnTo>
                <a:lnTo>
                  <a:pt x="106" y="125"/>
                </a:lnTo>
                <a:lnTo>
                  <a:pt x="106" y="122"/>
                </a:lnTo>
                <a:lnTo>
                  <a:pt x="103" y="122"/>
                </a:lnTo>
                <a:lnTo>
                  <a:pt x="103" y="125"/>
                </a:lnTo>
                <a:lnTo>
                  <a:pt x="97" y="122"/>
                </a:lnTo>
                <a:lnTo>
                  <a:pt x="94" y="125"/>
                </a:lnTo>
                <a:lnTo>
                  <a:pt x="91" y="131"/>
                </a:lnTo>
                <a:lnTo>
                  <a:pt x="91" y="131"/>
                </a:lnTo>
                <a:close/>
                <a:moveTo>
                  <a:pt x="103" y="100"/>
                </a:moveTo>
                <a:lnTo>
                  <a:pt x="106" y="97"/>
                </a:lnTo>
                <a:lnTo>
                  <a:pt x="113" y="100"/>
                </a:lnTo>
                <a:lnTo>
                  <a:pt x="113" y="103"/>
                </a:lnTo>
                <a:lnTo>
                  <a:pt x="110" y="100"/>
                </a:lnTo>
                <a:lnTo>
                  <a:pt x="106" y="100"/>
                </a:lnTo>
                <a:lnTo>
                  <a:pt x="103" y="100"/>
                </a:lnTo>
                <a:lnTo>
                  <a:pt x="103" y="100"/>
                </a:lnTo>
                <a:close/>
                <a:moveTo>
                  <a:pt x="94" y="90"/>
                </a:moveTo>
                <a:lnTo>
                  <a:pt x="88" y="90"/>
                </a:lnTo>
                <a:lnTo>
                  <a:pt x="88" y="94"/>
                </a:lnTo>
                <a:lnTo>
                  <a:pt x="85" y="97"/>
                </a:lnTo>
                <a:lnTo>
                  <a:pt x="85" y="100"/>
                </a:lnTo>
                <a:lnTo>
                  <a:pt x="81" y="100"/>
                </a:lnTo>
                <a:lnTo>
                  <a:pt x="85" y="100"/>
                </a:lnTo>
                <a:lnTo>
                  <a:pt x="94" y="97"/>
                </a:lnTo>
                <a:lnTo>
                  <a:pt x="94" y="90"/>
                </a:lnTo>
                <a:lnTo>
                  <a:pt x="94" y="90"/>
                </a:lnTo>
                <a:lnTo>
                  <a:pt x="94" y="90"/>
                </a:lnTo>
                <a:close/>
                <a:moveTo>
                  <a:pt x="81" y="87"/>
                </a:moveTo>
                <a:lnTo>
                  <a:pt x="85" y="87"/>
                </a:lnTo>
                <a:lnTo>
                  <a:pt x="88" y="90"/>
                </a:lnTo>
                <a:lnTo>
                  <a:pt x="85" y="90"/>
                </a:lnTo>
                <a:lnTo>
                  <a:pt x="81" y="87"/>
                </a:lnTo>
                <a:lnTo>
                  <a:pt x="81" y="87"/>
                </a:lnTo>
                <a:lnTo>
                  <a:pt x="81" y="87"/>
                </a:lnTo>
                <a:close/>
                <a:moveTo>
                  <a:pt x="66" y="72"/>
                </a:moveTo>
                <a:lnTo>
                  <a:pt x="69" y="78"/>
                </a:lnTo>
                <a:lnTo>
                  <a:pt x="72" y="81"/>
                </a:lnTo>
                <a:lnTo>
                  <a:pt x="75" y="87"/>
                </a:lnTo>
                <a:lnTo>
                  <a:pt x="72" y="87"/>
                </a:lnTo>
                <a:lnTo>
                  <a:pt x="69" y="84"/>
                </a:lnTo>
                <a:lnTo>
                  <a:pt x="66" y="78"/>
                </a:lnTo>
                <a:lnTo>
                  <a:pt x="69" y="78"/>
                </a:lnTo>
                <a:lnTo>
                  <a:pt x="66" y="72"/>
                </a:lnTo>
                <a:lnTo>
                  <a:pt x="66" y="72"/>
                </a:lnTo>
                <a:lnTo>
                  <a:pt x="66" y="72"/>
                </a:lnTo>
                <a:close/>
                <a:moveTo>
                  <a:pt x="53" y="69"/>
                </a:moveTo>
                <a:lnTo>
                  <a:pt x="50" y="72"/>
                </a:lnTo>
                <a:lnTo>
                  <a:pt x="53" y="72"/>
                </a:lnTo>
                <a:lnTo>
                  <a:pt x="53" y="69"/>
                </a:lnTo>
                <a:lnTo>
                  <a:pt x="53" y="69"/>
                </a:lnTo>
                <a:close/>
                <a:moveTo>
                  <a:pt x="81" y="59"/>
                </a:moveTo>
                <a:lnTo>
                  <a:pt x="81" y="65"/>
                </a:lnTo>
                <a:lnTo>
                  <a:pt x="81" y="65"/>
                </a:lnTo>
                <a:lnTo>
                  <a:pt x="85" y="62"/>
                </a:lnTo>
                <a:lnTo>
                  <a:pt x="81" y="59"/>
                </a:lnTo>
                <a:lnTo>
                  <a:pt x="81" y="59"/>
                </a:lnTo>
                <a:close/>
                <a:moveTo>
                  <a:pt x="63" y="50"/>
                </a:moveTo>
                <a:lnTo>
                  <a:pt x="60" y="53"/>
                </a:lnTo>
                <a:lnTo>
                  <a:pt x="63" y="56"/>
                </a:lnTo>
                <a:lnTo>
                  <a:pt x="66" y="62"/>
                </a:lnTo>
                <a:lnTo>
                  <a:pt x="63" y="62"/>
                </a:lnTo>
                <a:lnTo>
                  <a:pt x="66" y="65"/>
                </a:lnTo>
                <a:lnTo>
                  <a:pt x="69" y="65"/>
                </a:lnTo>
                <a:lnTo>
                  <a:pt x="69" y="62"/>
                </a:lnTo>
                <a:lnTo>
                  <a:pt x="66" y="56"/>
                </a:lnTo>
                <a:lnTo>
                  <a:pt x="66" y="53"/>
                </a:lnTo>
                <a:lnTo>
                  <a:pt x="63" y="50"/>
                </a:lnTo>
                <a:lnTo>
                  <a:pt x="63" y="50"/>
                </a:lnTo>
                <a:close/>
                <a:moveTo>
                  <a:pt x="44" y="34"/>
                </a:moveTo>
                <a:lnTo>
                  <a:pt x="50" y="37"/>
                </a:lnTo>
                <a:lnTo>
                  <a:pt x="53" y="40"/>
                </a:lnTo>
                <a:lnTo>
                  <a:pt x="53" y="47"/>
                </a:lnTo>
                <a:lnTo>
                  <a:pt x="50" y="47"/>
                </a:lnTo>
                <a:lnTo>
                  <a:pt x="50" y="47"/>
                </a:lnTo>
                <a:lnTo>
                  <a:pt x="50" y="44"/>
                </a:lnTo>
                <a:lnTo>
                  <a:pt x="53" y="40"/>
                </a:lnTo>
                <a:lnTo>
                  <a:pt x="50" y="37"/>
                </a:lnTo>
                <a:lnTo>
                  <a:pt x="44" y="37"/>
                </a:lnTo>
                <a:lnTo>
                  <a:pt x="44" y="34"/>
                </a:lnTo>
                <a:lnTo>
                  <a:pt x="44" y="34"/>
                </a:lnTo>
                <a:close/>
                <a:moveTo>
                  <a:pt x="25" y="0"/>
                </a:moveTo>
                <a:lnTo>
                  <a:pt x="31" y="0"/>
                </a:lnTo>
                <a:lnTo>
                  <a:pt x="38" y="3"/>
                </a:lnTo>
                <a:lnTo>
                  <a:pt x="38" y="6"/>
                </a:lnTo>
                <a:lnTo>
                  <a:pt x="41" y="9"/>
                </a:lnTo>
                <a:lnTo>
                  <a:pt x="41" y="15"/>
                </a:lnTo>
                <a:lnTo>
                  <a:pt x="38" y="15"/>
                </a:lnTo>
                <a:lnTo>
                  <a:pt x="38" y="19"/>
                </a:lnTo>
                <a:lnTo>
                  <a:pt x="35" y="22"/>
                </a:lnTo>
                <a:lnTo>
                  <a:pt x="35" y="15"/>
                </a:lnTo>
                <a:lnTo>
                  <a:pt x="35" y="12"/>
                </a:lnTo>
                <a:lnTo>
                  <a:pt x="35" y="9"/>
                </a:lnTo>
                <a:lnTo>
                  <a:pt x="31" y="6"/>
                </a:lnTo>
                <a:lnTo>
                  <a:pt x="31" y="0"/>
                </a:lnTo>
                <a:lnTo>
                  <a:pt x="25" y="0"/>
                </a:lnTo>
                <a:lnTo>
                  <a:pt x="25" y="0"/>
                </a:lnTo>
                <a:close/>
                <a:moveTo>
                  <a:pt x="0" y="3"/>
                </a:moveTo>
                <a:lnTo>
                  <a:pt x="6" y="3"/>
                </a:lnTo>
                <a:lnTo>
                  <a:pt x="10" y="6"/>
                </a:lnTo>
                <a:lnTo>
                  <a:pt x="16" y="0"/>
                </a:lnTo>
                <a:lnTo>
                  <a:pt x="19" y="0"/>
                </a:lnTo>
                <a:lnTo>
                  <a:pt x="25" y="6"/>
                </a:lnTo>
                <a:lnTo>
                  <a:pt x="22" y="6"/>
                </a:lnTo>
                <a:lnTo>
                  <a:pt x="19" y="3"/>
                </a:lnTo>
                <a:lnTo>
                  <a:pt x="10" y="9"/>
                </a:lnTo>
                <a:lnTo>
                  <a:pt x="6" y="9"/>
                </a:lnTo>
                <a:lnTo>
                  <a:pt x="0" y="3"/>
                </a:lnTo>
                <a:lnTo>
                  <a:pt x="0" y="3"/>
                </a:lnTo>
                <a:close/>
                <a:moveTo>
                  <a:pt x="25" y="40"/>
                </a:moveTo>
                <a:lnTo>
                  <a:pt x="31" y="37"/>
                </a:lnTo>
                <a:lnTo>
                  <a:pt x="35" y="37"/>
                </a:lnTo>
                <a:lnTo>
                  <a:pt x="35" y="40"/>
                </a:lnTo>
                <a:lnTo>
                  <a:pt x="28" y="40"/>
                </a:lnTo>
                <a:lnTo>
                  <a:pt x="25" y="40"/>
                </a:lnTo>
                <a:lnTo>
                  <a:pt x="25" y="40"/>
                </a:lnTo>
                <a:close/>
                <a:moveTo>
                  <a:pt x="19" y="59"/>
                </a:moveTo>
                <a:lnTo>
                  <a:pt x="19" y="56"/>
                </a:lnTo>
                <a:lnTo>
                  <a:pt x="22" y="56"/>
                </a:lnTo>
                <a:lnTo>
                  <a:pt x="19" y="59"/>
                </a:lnTo>
                <a:lnTo>
                  <a:pt x="19" y="59"/>
                </a:lnTo>
                <a:close/>
                <a:moveTo>
                  <a:pt x="16" y="59"/>
                </a:moveTo>
                <a:lnTo>
                  <a:pt x="19" y="59"/>
                </a:lnTo>
                <a:lnTo>
                  <a:pt x="19" y="62"/>
                </a:lnTo>
                <a:lnTo>
                  <a:pt x="16" y="59"/>
                </a:lnTo>
                <a:lnTo>
                  <a:pt x="16" y="59"/>
                </a:lnTo>
                <a:close/>
                <a:moveTo>
                  <a:pt x="16" y="56"/>
                </a:moveTo>
                <a:lnTo>
                  <a:pt x="22" y="53"/>
                </a:lnTo>
                <a:lnTo>
                  <a:pt x="19" y="47"/>
                </a:lnTo>
                <a:lnTo>
                  <a:pt x="19" y="40"/>
                </a:lnTo>
                <a:lnTo>
                  <a:pt x="16" y="40"/>
                </a:lnTo>
                <a:lnTo>
                  <a:pt x="13" y="44"/>
                </a:lnTo>
                <a:lnTo>
                  <a:pt x="10" y="50"/>
                </a:lnTo>
                <a:lnTo>
                  <a:pt x="13" y="53"/>
                </a:lnTo>
                <a:lnTo>
                  <a:pt x="16" y="50"/>
                </a:lnTo>
                <a:lnTo>
                  <a:pt x="16" y="56"/>
                </a:lnTo>
                <a:lnTo>
                  <a:pt x="16" y="56"/>
                </a:lnTo>
                <a:close/>
                <a:moveTo>
                  <a:pt x="22" y="59"/>
                </a:moveTo>
                <a:lnTo>
                  <a:pt x="19" y="62"/>
                </a:lnTo>
                <a:lnTo>
                  <a:pt x="19" y="65"/>
                </a:lnTo>
                <a:lnTo>
                  <a:pt x="19" y="72"/>
                </a:lnTo>
                <a:lnTo>
                  <a:pt x="22" y="72"/>
                </a:lnTo>
                <a:lnTo>
                  <a:pt x="25" y="65"/>
                </a:lnTo>
                <a:lnTo>
                  <a:pt x="25" y="65"/>
                </a:lnTo>
                <a:lnTo>
                  <a:pt x="25" y="62"/>
                </a:lnTo>
                <a:lnTo>
                  <a:pt x="22" y="5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8" name="Freeform 176">
            <a:extLst>
              <a:ext uri="{FF2B5EF4-FFF2-40B4-BE49-F238E27FC236}">
                <a16:creationId xmlns:a16="http://schemas.microsoft.com/office/drawing/2014/main" id="{2B5C1226-5034-C0ED-C1B7-C042AA27001C}"/>
              </a:ext>
            </a:extLst>
          </p:cNvPr>
          <p:cNvSpPr>
            <a:spLocks noEditPoints="1"/>
          </p:cNvSpPr>
          <p:nvPr userDrawn="1"/>
        </p:nvSpPr>
        <p:spPr bwMode="auto">
          <a:xfrm>
            <a:off x="5774945" y="5660309"/>
            <a:ext cx="3524021" cy="2076450"/>
          </a:xfrm>
          <a:custGeom>
            <a:avLst/>
            <a:gdLst>
              <a:gd name="T0" fmla="*/ 206 w 355"/>
              <a:gd name="T1" fmla="*/ 20 h 209"/>
              <a:gd name="T2" fmla="*/ 250 w 355"/>
              <a:gd name="T3" fmla="*/ 40 h 209"/>
              <a:gd name="T4" fmla="*/ 297 w 355"/>
              <a:gd name="T5" fmla="*/ 63 h 209"/>
              <a:gd name="T6" fmla="*/ 334 w 355"/>
              <a:gd name="T7" fmla="*/ 52 h 209"/>
              <a:gd name="T8" fmla="*/ 351 w 355"/>
              <a:gd name="T9" fmla="*/ 43 h 209"/>
              <a:gd name="T10" fmla="*/ 354 w 355"/>
              <a:gd name="T11" fmla="*/ 62 h 209"/>
              <a:gd name="T12" fmla="*/ 342 w 355"/>
              <a:gd name="T13" fmla="*/ 65 h 209"/>
              <a:gd name="T14" fmla="*/ 332 w 355"/>
              <a:gd name="T15" fmla="*/ 71 h 209"/>
              <a:gd name="T16" fmla="*/ 330 w 355"/>
              <a:gd name="T17" fmla="*/ 83 h 209"/>
              <a:gd name="T18" fmla="*/ 323 w 355"/>
              <a:gd name="T19" fmla="*/ 89 h 209"/>
              <a:gd name="T20" fmla="*/ 305 w 355"/>
              <a:gd name="T21" fmla="*/ 96 h 209"/>
              <a:gd name="T22" fmla="*/ 298 w 355"/>
              <a:gd name="T23" fmla="*/ 107 h 209"/>
              <a:gd name="T24" fmla="*/ 296 w 355"/>
              <a:gd name="T25" fmla="*/ 110 h 209"/>
              <a:gd name="T26" fmla="*/ 290 w 355"/>
              <a:gd name="T27" fmla="*/ 117 h 209"/>
              <a:gd name="T28" fmla="*/ 289 w 355"/>
              <a:gd name="T29" fmla="*/ 105 h 209"/>
              <a:gd name="T30" fmla="*/ 287 w 355"/>
              <a:gd name="T31" fmla="*/ 114 h 209"/>
              <a:gd name="T32" fmla="*/ 287 w 355"/>
              <a:gd name="T33" fmla="*/ 118 h 209"/>
              <a:gd name="T34" fmla="*/ 284 w 355"/>
              <a:gd name="T35" fmla="*/ 122 h 209"/>
              <a:gd name="T36" fmla="*/ 285 w 355"/>
              <a:gd name="T37" fmla="*/ 130 h 209"/>
              <a:gd name="T38" fmla="*/ 289 w 355"/>
              <a:gd name="T39" fmla="*/ 134 h 209"/>
              <a:gd name="T40" fmla="*/ 284 w 355"/>
              <a:gd name="T41" fmla="*/ 138 h 209"/>
              <a:gd name="T42" fmla="*/ 273 w 355"/>
              <a:gd name="T43" fmla="*/ 147 h 209"/>
              <a:gd name="T44" fmla="*/ 258 w 355"/>
              <a:gd name="T45" fmla="*/ 156 h 209"/>
              <a:gd name="T46" fmla="*/ 249 w 355"/>
              <a:gd name="T47" fmla="*/ 173 h 209"/>
              <a:gd name="T48" fmla="*/ 254 w 355"/>
              <a:gd name="T49" fmla="*/ 200 h 209"/>
              <a:gd name="T50" fmla="*/ 244 w 355"/>
              <a:gd name="T51" fmla="*/ 204 h 209"/>
              <a:gd name="T52" fmla="*/ 239 w 355"/>
              <a:gd name="T53" fmla="*/ 195 h 209"/>
              <a:gd name="T54" fmla="*/ 238 w 355"/>
              <a:gd name="T55" fmla="*/ 181 h 209"/>
              <a:gd name="T56" fmla="*/ 227 w 355"/>
              <a:gd name="T57" fmla="*/ 176 h 209"/>
              <a:gd name="T58" fmla="*/ 221 w 355"/>
              <a:gd name="T59" fmla="*/ 172 h 209"/>
              <a:gd name="T60" fmla="*/ 210 w 355"/>
              <a:gd name="T61" fmla="*/ 171 h 209"/>
              <a:gd name="T62" fmla="*/ 196 w 355"/>
              <a:gd name="T63" fmla="*/ 175 h 209"/>
              <a:gd name="T64" fmla="*/ 197 w 355"/>
              <a:gd name="T65" fmla="*/ 181 h 209"/>
              <a:gd name="T66" fmla="*/ 187 w 355"/>
              <a:gd name="T67" fmla="*/ 179 h 209"/>
              <a:gd name="T68" fmla="*/ 177 w 355"/>
              <a:gd name="T69" fmla="*/ 176 h 209"/>
              <a:gd name="T70" fmla="*/ 164 w 355"/>
              <a:gd name="T71" fmla="*/ 177 h 209"/>
              <a:gd name="T72" fmla="*/ 153 w 355"/>
              <a:gd name="T73" fmla="*/ 184 h 209"/>
              <a:gd name="T74" fmla="*/ 146 w 355"/>
              <a:gd name="T75" fmla="*/ 202 h 209"/>
              <a:gd name="T76" fmla="*/ 135 w 355"/>
              <a:gd name="T77" fmla="*/ 193 h 209"/>
              <a:gd name="T78" fmla="*/ 128 w 355"/>
              <a:gd name="T79" fmla="*/ 176 h 209"/>
              <a:gd name="T80" fmla="*/ 116 w 355"/>
              <a:gd name="T81" fmla="*/ 177 h 209"/>
              <a:gd name="T82" fmla="*/ 108 w 355"/>
              <a:gd name="T83" fmla="*/ 176 h 209"/>
              <a:gd name="T84" fmla="*/ 103 w 355"/>
              <a:gd name="T85" fmla="*/ 168 h 209"/>
              <a:gd name="T86" fmla="*/ 95 w 355"/>
              <a:gd name="T87" fmla="*/ 158 h 209"/>
              <a:gd name="T88" fmla="*/ 25 w 355"/>
              <a:gd name="T89" fmla="*/ 138 h 209"/>
              <a:gd name="T90" fmla="*/ 13 w 355"/>
              <a:gd name="T91" fmla="*/ 129 h 209"/>
              <a:gd name="T92" fmla="*/ 8 w 355"/>
              <a:gd name="T93" fmla="*/ 112 h 209"/>
              <a:gd name="T94" fmla="*/ 8 w 355"/>
              <a:gd name="T95" fmla="*/ 104 h 209"/>
              <a:gd name="T96" fmla="*/ 6 w 355"/>
              <a:gd name="T97" fmla="*/ 103 h 209"/>
              <a:gd name="T98" fmla="*/ 1 w 355"/>
              <a:gd name="T99" fmla="*/ 82 h 209"/>
              <a:gd name="T100" fmla="*/ 4 w 355"/>
              <a:gd name="T101" fmla="*/ 60 h 209"/>
              <a:gd name="T102" fmla="*/ 15 w 355"/>
              <a:gd name="T103" fmla="*/ 30 h 209"/>
              <a:gd name="T104" fmla="*/ 16 w 355"/>
              <a:gd name="T105" fmla="*/ 25 h 209"/>
              <a:gd name="T106" fmla="*/ 18 w 355"/>
              <a:gd name="T107" fmla="*/ 11 h 209"/>
              <a:gd name="T108" fmla="*/ 26 w 355"/>
              <a:gd name="T109" fmla="*/ 12 h 209"/>
              <a:gd name="T110" fmla="*/ 27 w 355"/>
              <a:gd name="T111" fmla="*/ 18 h 209"/>
              <a:gd name="T112" fmla="*/ 32 w 355"/>
              <a:gd name="T113" fmla="*/ 4 h 209"/>
              <a:gd name="T114" fmla="*/ 308 w 355"/>
              <a:gd name="T115" fmla="*/ 94 h 209"/>
              <a:gd name="T116" fmla="*/ 315 w 355"/>
              <a:gd name="T117" fmla="*/ 91 h 209"/>
              <a:gd name="T118" fmla="*/ 31 w 355"/>
              <a:gd name="T119" fmla="*/ 6 h 209"/>
              <a:gd name="T120" fmla="*/ 148 w 355"/>
              <a:gd name="T121" fmla="*/ 193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5" h="209">
                <a:moveTo>
                  <a:pt x="31" y="0"/>
                </a:moveTo>
                <a:cubicBezTo>
                  <a:pt x="194" y="16"/>
                  <a:pt x="194" y="16"/>
                  <a:pt x="194" y="16"/>
                </a:cubicBezTo>
                <a:cubicBezTo>
                  <a:pt x="195" y="16"/>
                  <a:pt x="195" y="16"/>
                  <a:pt x="195" y="16"/>
                </a:cubicBezTo>
                <a:cubicBezTo>
                  <a:pt x="196" y="16"/>
                  <a:pt x="196" y="16"/>
                  <a:pt x="196" y="16"/>
                </a:cubicBezTo>
                <a:cubicBezTo>
                  <a:pt x="198" y="17"/>
                  <a:pt x="198" y="17"/>
                  <a:pt x="198" y="17"/>
                </a:cubicBezTo>
                <a:cubicBezTo>
                  <a:pt x="198" y="18"/>
                  <a:pt x="198" y="18"/>
                  <a:pt x="198" y="18"/>
                </a:cubicBezTo>
                <a:cubicBezTo>
                  <a:pt x="199" y="18"/>
                  <a:pt x="199" y="18"/>
                  <a:pt x="199" y="18"/>
                </a:cubicBezTo>
                <a:cubicBezTo>
                  <a:pt x="199" y="19"/>
                  <a:pt x="199" y="19"/>
                  <a:pt x="199" y="19"/>
                </a:cubicBezTo>
                <a:cubicBezTo>
                  <a:pt x="200" y="19"/>
                  <a:pt x="200" y="19"/>
                  <a:pt x="200" y="19"/>
                </a:cubicBezTo>
                <a:cubicBezTo>
                  <a:pt x="200" y="19"/>
                  <a:pt x="200" y="19"/>
                  <a:pt x="200" y="19"/>
                </a:cubicBezTo>
                <a:cubicBezTo>
                  <a:pt x="202" y="20"/>
                  <a:pt x="202" y="20"/>
                  <a:pt x="202" y="20"/>
                </a:cubicBezTo>
                <a:cubicBezTo>
                  <a:pt x="202" y="21"/>
                  <a:pt x="202" y="21"/>
                  <a:pt x="202" y="21"/>
                </a:cubicBezTo>
                <a:cubicBezTo>
                  <a:pt x="203" y="20"/>
                  <a:pt x="203" y="20"/>
                  <a:pt x="203" y="20"/>
                </a:cubicBezTo>
                <a:cubicBezTo>
                  <a:pt x="204" y="20"/>
                  <a:pt x="204" y="20"/>
                  <a:pt x="204" y="20"/>
                </a:cubicBezTo>
                <a:cubicBezTo>
                  <a:pt x="205" y="20"/>
                  <a:pt x="205" y="20"/>
                  <a:pt x="205" y="20"/>
                </a:cubicBezTo>
                <a:cubicBezTo>
                  <a:pt x="206" y="20"/>
                  <a:pt x="206" y="20"/>
                  <a:pt x="206" y="20"/>
                </a:cubicBezTo>
                <a:cubicBezTo>
                  <a:pt x="208" y="21"/>
                  <a:pt x="208" y="21"/>
                  <a:pt x="208" y="21"/>
                </a:cubicBezTo>
                <a:cubicBezTo>
                  <a:pt x="209" y="21"/>
                  <a:pt x="209" y="21"/>
                  <a:pt x="209" y="21"/>
                </a:cubicBezTo>
                <a:cubicBezTo>
                  <a:pt x="209" y="23"/>
                  <a:pt x="209" y="23"/>
                  <a:pt x="209" y="23"/>
                </a:cubicBezTo>
                <a:cubicBezTo>
                  <a:pt x="211" y="24"/>
                  <a:pt x="211" y="24"/>
                  <a:pt x="211" y="24"/>
                </a:cubicBezTo>
                <a:cubicBezTo>
                  <a:pt x="213" y="24"/>
                  <a:pt x="213" y="24"/>
                  <a:pt x="213" y="24"/>
                </a:cubicBezTo>
                <a:cubicBezTo>
                  <a:pt x="213" y="25"/>
                  <a:pt x="213" y="25"/>
                  <a:pt x="213" y="25"/>
                </a:cubicBezTo>
                <a:cubicBezTo>
                  <a:pt x="214" y="25"/>
                  <a:pt x="214" y="25"/>
                  <a:pt x="214" y="25"/>
                </a:cubicBezTo>
                <a:cubicBezTo>
                  <a:pt x="216" y="25"/>
                  <a:pt x="216" y="25"/>
                  <a:pt x="216" y="25"/>
                </a:cubicBezTo>
                <a:cubicBezTo>
                  <a:pt x="217" y="25"/>
                  <a:pt x="217" y="25"/>
                  <a:pt x="217" y="25"/>
                </a:cubicBezTo>
                <a:cubicBezTo>
                  <a:pt x="218" y="25"/>
                  <a:pt x="218" y="25"/>
                  <a:pt x="218" y="25"/>
                </a:cubicBezTo>
                <a:cubicBezTo>
                  <a:pt x="219" y="26"/>
                  <a:pt x="219" y="26"/>
                  <a:pt x="219" y="26"/>
                </a:cubicBezTo>
                <a:cubicBezTo>
                  <a:pt x="222" y="26"/>
                  <a:pt x="222" y="26"/>
                  <a:pt x="222" y="26"/>
                </a:cubicBezTo>
                <a:cubicBezTo>
                  <a:pt x="222" y="27"/>
                  <a:pt x="222" y="27"/>
                  <a:pt x="222" y="27"/>
                </a:cubicBezTo>
                <a:cubicBezTo>
                  <a:pt x="224" y="27"/>
                  <a:pt x="224" y="27"/>
                  <a:pt x="224" y="27"/>
                </a:cubicBezTo>
                <a:cubicBezTo>
                  <a:pt x="225" y="28"/>
                  <a:pt x="225" y="28"/>
                  <a:pt x="225" y="28"/>
                </a:cubicBezTo>
                <a:cubicBezTo>
                  <a:pt x="250" y="40"/>
                  <a:pt x="250" y="40"/>
                  <a:pt x="250" y="40"/>
                </a:cubicBezTo>
                <a:cubicBezTo>
                  <a:pt x="251" y="42"/>
                  <a:pt x="251" y="42"/>
                  <a:pt x="251" y="42"/>
                </a:cubicBezTo>
                <a:cubicBezTo>
                  <a:pt x="255" y="45"/>
                  <a:pt x="255" y="45"/>
                  <a:pt x="255" y="45"/>
                </a:cubicBezTo>
                <a:cubicBezTo>
                  <a:pt x="259" y="64"/>
                  <a:pt x="259" y="64"/>
                  <a:pt x="259" y="64"/>
                </a:cubicBezTo>
                <a:cubicBezTo>
                  <a:pt x="259" y="73"/>
                  <a:pt x="259" y="73"/>
                  <a:pt x="259" y="73"/>
                </a:cubicBezTo>
                <a:cubicBezTo>
                  <a:pt x="258" y="74"/>
                  <a:pt x="258" y="74"/>
                  <a:pt x="258" y="74"/>
                </a:cubicBezTo>
                <a:cubicBezTo>
                  <a:pt x="257" y="75"/>
                  <a:pt x="257" y="75"/>
                  <a:pt x="257" y="75"/>
                </a:cubicBezTo>
                <a:cubicBezTo>
                  <a:pt x="256" y="77"/>
                  <a:pt x="256" y="77"/>
                  <a:pt x="256" y="77"/>
                </a:cubicBezTo>
                <a:cubicBezTo>
                  <a:pt x="254" y="78"/>
                  <a:pt x="254" y="78"/>
                  <a:pt x="254" y="78"/>
                </a:cubicBezTo>
                <a:cubicBezTo>
                  <a:pt x="253" y="79"/>
                  <a:pt x="253" y="79"/>
                  <a:pt x="253" y="79"/>
                </a:cubicBezTo>
                <a:cubicBezTo>
                  <a:pt x="254" y="81"/>
                  <a:pt x="254" y="81"/>
                  <a:pt x="254" y="81"/>
                </a:cubicBezTo>
                <a:cubicBezTo>
                  <a:pt x="275" y="76"/>
                  <a:pt x="275" y="76"/>
                  <a:pt x="275" y="76"/>
                </a:cubicBezTo>
                <a:cubicBezTo>
                  <a:pt x="278" y="75"/>
                  <a:pt x="278" y="75"/>
                  <a:pt x="278" y="75"/>
                </a:cubicBezTo>
                <a:cubicBezTo>
                  <a:pt x="279" y="72"/>
                  <a:pt x="279" y="72"/>
                  <a:pt x="279" y="72"/>
                </a:cubicBezTo>
                <a:cubicBezTo>
                  <a:pt x="291" y="68"/>
                  <a:pt x="291" y="68"/>
                  <a:pt x="291" y="68"/>
                </a:cubicBezTo>
                <a:cubicBezTo>
                  <a:pt x="296" y="64"/>
                  <a:pt x="296" y="64"/>
                  <a:pt x="296" y="64"/>
                </a:cubicBezTo>
                <a:cubicBezTo>
                  <a:pt x="297" y="63"/>
                  <a:pt x="297" y="63"/>
                  <a:pt x="297" y="63"/>
                </a:cubicBezTo>
                <a:cubicBezTo>
                  <a:pt x="299" y="63"/>
                  <a:pt x="299" y="63"/>
                  <a:pt x="299" y="63"/>
                </a:cubicBezTo>
                <a:cubicBezTo>
                  <a:pt x="301" y="60"/>
                  <a:pt x="301" y="60"/>
                  <a:pt x="301" y="60"/>
                </a:cubicBezTo>
                <a:cubicBezTo>
                  <a:pt x="303" y="59"/>
                  <a:pt x="303" y="59"/>
                  <a:pt x="303" y="59"/>
                </a:cubicBezTo>
                <a:cubicBezTo>
                  <a:pt x="304" y="59"/>
                  <a:pt x="304" y="59"/>
                  <a:pt x="304" y="59"/>
                </a:cubicBezTo>
                <a:cubicBezTo>
                  <a:pt x="305" y="58"/>
                  <a:pt x="305" y="58"/>
                  <a:pt x="305" y="58"/>
                </a:cubicBezTo>
                <a:cubicBezTo>
                  <a:pt x="308" y="57"/>
                  <a:pt x="308" y="57"/>
                  <a:pt x="308" y="57"/>
                </a:cubicBezTo>
                <a:cubicBezTo>
                  <a:pt x="326" y="58"/>
                  <a:pt x="326" y="58"/>
                  <a:pt x="326" y="58"/>
                </a:cubicBezTo>
                <a:cubicBezTo>
                  <a:pt x="327" y="56"/>
                  <a:pt x="327" y="56"/>
                  <a:pt x="327" y="56"/>
                </a:cubicBezTo>
                <a:cubicBezTo>
                  <a:pt x="328" y="56"/>
                  <a:pt x="328" y="56"/>
                  <a:pt x="328" y="56"/>
                </a:cubicBezTo>
                <a:cubicBezTo>
                  <a:pt x="328" y="56"/>
                  <a:pt x="328" y="56"/>
                  <a:pt x="328" y="56"/>
                </a:cubicBezTo>
                <a:cubicBezTo>
                  <a:pt x="329" y="56"/>
                  <a:pt x="329" y="56"/>
                  <a:pt x="329" y="56"/>
                </a:cubicBezTo>
                <a:cubicBezTo>
                  <a:pt x="330" y="56"/>
                  <a:pt x="330" y="56"/>
                  <a:pt x="330" y="56"/>
                </a:cubicBezTo>
                <a:cubicBezTo>
                  <a:pt x="331" y="55"/>
                  <a:pt x="331" y="55"/>
                  <a:pt x="331" y="55"/>
                </a:cubicBezTo>
                <a:cubicBezTo>
                  <a:pt x="331" y="55"/>
                  <a:pt x="331" y="55"/>
                  <a:pt x="331" y="55"/>
                </a:cubicBezTo>
                <a:cubicBezTo>
                  <a:pt x="333" y="52"/>
                  <a:pt x="333" y="52"/>
                  <a:pt x="333" y="52"/>
                </a:cubicBezTo>
                <a:cubicBezTo>
                  <a:pt x="334" y="52"/>
                  <a:pt x="334" y="52"/>
                  <a:pt x="334" y="52"/>
                </a:cubicBezTo>
                <a:cubicBezTo>
                  <a:pt x="336" y="50"/>
                  <a:pt x="336" y="50"/>
                  <a:pt x="336" y="50"/>
                </a:cubicBezTo>
                <a:cubicBezTo>
                  <a:pt x="336" y="49"/>
                  <a:pt x="336" y="49"/>
                  <a:pt x="336" y="49"/>
                </a:cubicBezTo>
                <a:cubicBezTo>
                  <a:pt x="337" y="47"/>
                  <a:pt x="337" y="47"/>
                  <a:pt x="337" y="47"/>
                </a:cubicBezTo>
                <a:cubicBezTo>
                  <a:pt x="338" y="46"/>
                  <a:pt x="338" y="46"/>
                  <a:pt x="338" y="46"/>
                </a:cubicBezTo>
                <a:cubicBezTo>
                  <a:pt x="338" y="45"/>
                  <a:pt x="338" y="45"/>
                  <a:pt x="338" y="45"/>
                </a:cubicBezTo>
                <a:cubicBezTo>
                  <a:pt x="339" y="44"/>
                  <a:pt x="339" y="44"/>
                  <a:pt x="339" y="44"/>
                </a:cubicBezTo>
                <a:cubicBezTo>
                  <a:pt x="341" y="41"/>
                  <a:pt x="341" y="41"/>
                  <a:pt x="341" y="41"/>
                </a:cubicBezTo>
                <a:cubicBezTo>
                  <a:pt x="342" y="40"/>
                  <a:pt x="342" y="40"/>
                  <a:pt x="342" y="40"/>
                </a:cubicBezTo>
                <a:cubicBezTo>
                  <a:pt x="343" y="39"/>
                  <a:pt x="343" y="39"/>
                  <a:pt x="343" y="39"/>
                </a:cubicBezTo>
                <a:cubicBezTo>
                  <a:pt x="343" y="39"/>
                  <a:pt x="343" y="39"/>
                  <a:pt x="343" y="39"/>
                </a:cubicBezTo>
                <a:cubicBezTo>
                  <a:pt x="344" y="40"/>
                  <a:pt x="344" y="40"/>
                  <a:pt x="344" y="40"/>
                </a:cubicBezTo>
                <a:cubicBezTo>
                  <a:pt x="345" y="41"/>
                  <a:pt x="345" y="41"/>
                  <a:pt x="345" y="41"/>
                </a:cubicBezTo>
                <a:cubicBezTo>
                  <a:pt x="346" y="40"/>
                  <a:pt x="346" y="40"/>
                  <a:pt x="346" y="40"/>
                </a:cubicBezTo>
                <a:cubicBezTo>
                  <a:pt x="348" y="41"/>
                  <a:pt x="348" y="41"/>
                  <a:pt x="348" y="41"/>
                </a:cubicBezTo>
                <a:cubicBezTo>
                  <a:pt x="348" y="40"/>
                  <a:pt x="348" y="40"/>
                  <a:pt x="348" y="40"/>
                </a:cubicBezTo>
                <a:cubicBezTo>
                  <a:pt x="351" y="43"/>
                  <a:pt x="351" y="43"/>
                  <a:pt x="351" y="43"/>
                </a:cubicBezTo>
                <a:cubicBezTo>
                  <a:pt x="351" y="45"/>
                  <a:pt x="351" y="45"/>
                  <a:pt x="351" y="45"/>
                </a:cubicBezTo>
                <a:cubicBezTo>
                  <a:pt x="350" y="53"/>
                  <a:pt x="350" y="53"/>
                  <a:pt x="350" y="53"/>
                </a:cubicBezTo>
                <a:cubicBezTo>
                  <a:pt x="349" y="53"/>
                  <a:pt x="349" y="53"/>
                  <a:pt x="349" y="53"/>
                </a:cubicBezTo>
                <a:cubicBezTo>
                  <a:pt x="350" y="54"/>
                  <a:pt x="350" y="54"/>
                  <a:pt x="350" y="54"/>
                </a:cubicBezTo>
                <a:cubicBezTo>
                  <a:pt x="350" y="54"/>
                  <a:pt x="350" y="54"/>
                  <a:pt x="350" y="54"/>
                </a:cubicBezTo>
                <a:cubicBezTo>
                  <a:pt x="351" y="55"/>
                  <a:pt x="351" y="55"/>
                  <a:pt x="351" y="55"/>
                </a:cubicBezTo>
                <a:cubicBezTo>
                  <a:pt x="351" y="56"/>
                  <a:pt x="351" y="56"/>
                  <a:pt x="351" y="56"/>
                </a:cubicBezTo>
                <a:cubicBezTo>
                  <a:pt x="351" y="57"/>
                  <a:pt x="351" y="57"/>
                  <a:pt x="351" y="57"/>
                </a:cubicBezTo>
                <a:cubicBezTo>
                  <a:pt x="351" y="57"/>
                  <a:pt x="351" y="57"/>
                  <a:pt x="351" y="57"/>
                </a:cubicBezTo>
                <a:cubicBezTo>
                  <a:pt x="350" y="58"/>
                  <a:pt x="350" y="58"/>
                  <a:pt x="350" y="58"/>
                </a:cubicBezTo>
                <a:cubicBezTo>
                  <a:pt x="351" y="58"/>
                  <a:pt x="351" y="58"/>
                  <a:pt x="351" y="58"/>
                </a:cubicBezTo>
                <a:cubicBezTo>
                  <a:pt x="351" y="58"/>
                  <a:pt x="351" y="58"/>
                  <a:pt x="351" y="58"/>
                </a:cubicBezTo>
                <a:cubicBezTo>
                  <a:pt x="351" y="58"/>
                  <a:pt x="351" y="58"/>
                  <a:pt x="351" y="58"/>
                </a:cubicBezTo>
                <a:cubicBezTo>
                  <a:pt x="353" y="60"/>
                  <a:pt x="353" y="60"/>
                  <a:pt x="353" y="60"/>
                </a:cubicBezTo>
                <a:cubicBezTo>
                  <a:pt x="353" y="61"/>
                  <a:pt x="353" y="61"/>
                  <a:pt x="353" y="61"/>
                </a:cubicBezTo>
                <a:cubicBezTo>
                  <a:pt x="354" y="62"/>
                  <a:pt x="354" y="62"/>
                  <a:pt x="354" y="62"/>
                </a:cubicBezTo>
                <a:cubicBezTo>
                  <a:pt x="354" y="61"/>
                  <a:pt x="354" y="61"/>
                  <a:pt x="354" y="61"/>
                </a:cubicBezTo>
                <a:cubicBezTo>
                  <a:pt x="355" y="62"/>
                  <a:pt x="355" y="62"/>
                  <a:pt x="355" y="62"/>
                </a:cubicBezTo>
                <a:cubicBezTo>
                  <a:pt x="355" y="63"/>
                  <a:pt x="355" y="63"/>
                  <a:pt x="355" y="63"/>
                </a:cubicBezTo>
                <a:cubicBezTo>
                  <a:pt x="353" y="63"/>
                  <a:pt x="353" y="63"/>
                  <a:pt x="353" y="63"/>
                </a:cubicBezTo>
                <a:cubicBezTo>
                  <a:pt x="353" y="62"/>
                  <a:pt x="353" y="62"/>
                  <a:pt x="353" y="62"/>
                </a:cubicBezTo>
                <a:cubicBezTo>
                  <a:pt x="351" y="63"/>
                  <a:pt x="351" y="63"/>
                  <a:pt x="351" y="63"/>
                </a:cubicBezTo>
                <a:cubicBezTo>
                  <a:pt x="350" y="63"/>
                  <a:pt x="350" y="63"/>
                  <a:pt x="350" y="63"/>
                </a:cubicBezTo>
                <a:cubicBezTo>
                  <a:pt x="349" y="64"/>
                  <a:pt x="349" y="64"/>
                  <a:pt x="349" y="64"/>
                </a:cubicBezTo>
                <a:cubicBezTo>
                  <a:pt x="349" y="64"/>
                  <a:pt x="349" y="64"/>
                  <a:pt x="349" y="64"/>
                </a:cubicBezTo>
                <a:cubicBezTo>
                  <a:pt x="348" y="64"/>
                  <a:pt x="348" y="64"/>
                  <a:pt x="348" y="64"/>
                </a:cubicBezTo>
                <a:cubicBezTo>
                  <a:pt x="347" y="65"/>
                  <a:pt x="347" y="65"/>
                  <a:pt x="347" y="65"/>
                </a:cubicBezTo>
                <a:cubicBezTo>
                  <a:pt x="346" y="65"/>
                  <a:pt x="346" y="65"/>
                  <a:pt x="346" y="65"/>
                </a:cubicBezTo>
                <a:cubicBezTo>
                  <a:pt x="345" y="64"/>
                  <a:pt x="345" y="64"/>
                  <a:pt x="345" y="64"/>
                </a:cubicBezTo>
                <a:cubicBezTo>
                  <a:pt x="344" y="64"/>
                  <a:pt x="344" y="64"/>
                  <a:pt x="344" y="64"/>
                </a:cubicBezTo>
                <a:cubicBezTo>
                  <a:pt x="343" y="65"/>
                  <a:pt x="343" y="65"/>
                  <a:pt x="343" y="65"/>
                </a:cubicBezTo>
                <a:cubicBezTo>
                  <a:pt x="342" y="65"/>
                  <a:pt x="342" y="65"/>
                  <a:pt x="342" y="65"/>
                </a:cubicBezTo>
                <a:cubicBezTo>
                  <a:pt x="341" y="64"/>
                  <a:pt x="341" y="64"/>
                  <a:pt x="341" y="64"/>
                </a:cubicBezTo>
                <a:cubicBezTo>
                  <a:pt x="342" y="63"/>
                  <a:pt x="342" y="63"/>
                  <a:pt x="342" y="63"/>
                </a:cubicBezTo>
                <a:cubicBezTo>
                  <a:pt x="340" y="65"/>
                  <a:pt x="340" y="65"/>
                  <a:pt x="340" y="65"/>
                </a:cubicBezTo>
                <a:cubicBezTo>
                  <a:pt x="339" y="67"/>
                  <a:pt x="339" y="67"/>
                  <a:pt x="339" y="67"/>
                </a:cubicBezTo>
                <a:cubicBezTo>
                  <a:pt x="338" y="67"/>
                  <a:pt x="338" y="67"/>
                  <a:pt x="338" y="67"/>
                </a:cubicBezTo>
                <a:cubicBezTo>
                  <a:pt x="338" y="67"/>
                  <a:pt x="338" y="67"/>
                  <a:pt x="338" y="67"/>
                </a:cubicBezTo>
                <a:cubicBezTo>
                  <a:pt x="337" y="68"/>
                  <a:pt x="337" y="68"/>
                  <a:pt x="337" y="68"/>
                </a:cubicBezTo>
                <a:cubicBezTo>
                  <a:pt x="337" y="68"/>
                  <a:pt x="337" y="68"/>
                  <a:pt x="337" y="68"/>
                </a:cubicBezTo>
                <a:cubicBezTo>
                  <a:pt x="336" y="67"/>
                  <a:pt x="336" y="67"/>
                  <a:pt x="336" y="67"/>
                </a:cubicBezTo>
                <a:cubicBezTo>
                  <a:pt x="336" y="68"/>
                  <a:pt x="336" y="68"/>
                  <a:pt x="336" y="68"/>
                </a:cubicBezTo>
                <a:cubicBezTo>
                  <a:pt x="335" y="69"/>
                  <a:pt x="335" y="69"/>
                  <a:pt x="335" y="69"/>
                </a:cubicBezTo>
                <a:cubicBezTo>
                  <a:pt x="334" y="69"/>
                  <a:pt x="334" y="69"/>
                  <a:pt x="334" y="69"/>
                </a:cubicBezTo>
                <a:cubicBezTo>
                  <a:pt x="334" y="68"/>
                  <a:pt x="334" y="68"/>
                  <a:pt x="334" y="68"/>
                </a:cubicBezTo>
                <a:cubicBezTo>
                  <a:pt x="333" y="69"/>
                  <a:pt x="333" y="69"/>
                  <a:pt x="333" y="69"/>
                </a:cubicBezTo>
                <a:cubicBezTo>
                  <a:pt x="333" y="69"/>
                  <a:pt x="333" y="69"/>
                  <a:pt x="333" y="69"/>
                </a:cubicBezTo>
                <a:cubicBezTo>
                  <a:pt x="332" y="71"/>
                  <a:pt x="332" y="71"/>
                  <a:pt x="332" y="71"/>
                </a:cubicBezTo>
                <a:cubicBezTo>
                  <a:pt x="330" y="72"/>
                  <a:pt x="330" y="72"/>
                  <a:pt x="330" y="72"/>
                </a:cubicBezTo>
                <a:cubicBezTo>
                  <a:pt x="329" y="75"/>
                  <a:pt x="329" y="75"/>
                  <a:pt x="329" y="75"/>
                </a:cubicBezTo>
                <a:cubicBezTo>
                  <a:pt x="328" y="76"/>
                  <a:pt x="328" y="76"/>
                  <a:pt x="328" y="76"/>
                </a:cubicBezTo>
                <a:cubicBezTo>
                  <a:pt x="328" y="77"/>
                  <a:pt x="328" y="77"/>
                  <a:pt x="328" y="77"/>
                </a:cubicBezTo>
                <a:cubicBezTo>
                  <a:pt x="327" y="77"/>
                  <a:pt x="327" y="77"/>
                  <a:pt x="327" y="77"/>
                </a:cubicBezTo>
                <a:cubicBezTo>
                  <a:pt x="327" y="78"/>
                  <a:pt x="327" y="78"/>
                  <a:pt x="327" y="78"/>
                </a:cubicBezTo>
                <a:cubicBezTo>
                  <a:pt x="328" y="78"/>
                  <a:pt x="328" y="78"/>
                  <a:pt x="328" y="78"/>
                </a:cubicBezTo>
                <a:cubicBezTo>
                  <a:pt x="328" y="79"/>
                  <a:pt x="328" y="79"/>
                  <a:pt x="328" y="79"/>
                </a:cubicBezTo>
                <a:cubicBezTo>
                  <a:pt x="326" y="81"/>
                  <a:pt x="326" y="81"/>
                  <a:pt x="326" y="81"/>
                </a:cubicBezTo>
                <a:cubicBezTo>
                  <a:pt x="326" y="81"/>
                  <a:pt x="326" y="81"/>
                  <a:pt x="326" y="81"/>
                </a:cubicBezTo>
                <a:cubicBezTo>
                  <a:pt x="327" y="82"/>
                  <a:pt x="327" y="82"/>
                  <a:pt x="327" y="82"/>
                </a:cubicBezTo>
                <a:cubicBezTo>
                  <a:pt x="328" y="84"/>
                  <a:pt x="328" y="84"/>
                  <a:pt x="328" y="84"/>
                </a:cubicBezTo>
                <a:cubicBezTo>
                  <a:pt x="328" y="85"/>
                  <a:pt x="328" y="85"/>
                  <a:pt x="328" y="85"/>
                </a:cubicBezTo>
                <a:cubicBezTo>
                  <a:pt x="330" y="85"/>
                  <a:pt x="330" y="85"/>
                  <a:pt x="330" y="85"/>
                </a:cubicBezTo>
                <a:cubicBezTo>
                  <a:pt x="330" y="84"/>
                  <a:pt x="330" y="84"/>
                  <a:pt x="330" y="84"/>
                </a:cubicBezTo>
                <a:cubicBezTo>
                  <a:pt x="330" y="83"/>
                  <a:pt x="330" y="83"/>
                  <a:pt x="330" y="83"/>
                </a:cubicBezTo>
                <a:cubicBezTo>
                  <a:pt x="331" y="83"/>
                  <a:pt x="331" y="83"/>
                  <a:pt x="331" y="83"/>
                </a:cubicBezTo>
                <a:cubicBezTo>
                  <a:pt x="331" y="85"/>
                  <a:pt x="331" y="85"/>
                  <a:pt x="331" y="85"/>
                </a:cubicBezTo>
                <a:cubicBezTo>
                  <a:pt x="331" y="86"/>
                  <a:pt x="331" y="86"/>
                  <a:pt x="331" y="86"/>
                </a:cubicBezTo>
                <a:cubicBezTo>
                  <a:pt x="328" y="87"/>
                  <a:pt x="328" y="87"/>
                  <a:pt x="328" y="87"/>
                </a:cubicBezTo>
                <a:cubicBezTo>
                  <a:pt x="327" y="87"/>
                  <a:pt x="327" y="87"/>
                  <a:pt x="327" y="87"/>
                </a:cubicBezTo>
                <a:cubicBezTo>
                  <a:pt x="327" y="86"/>
                  <a:pt x="327" y="86"/>
                  <a:pt x="327" y="86"/>
                </a:cubicBezTo>
                <a:cubicBezTo>
                  <a:pt x="326" y="85"/>
                  <a:pt x="326" y="85"/>
                  <a:pt x="326" y="85"/>
                </a:cubicBezTo>
                <a:cubicBezTo>
                  <a:pt x="325" y="87"/>
                  <a:pt x="325" y="87"/>
                  <a:pt x="325" y="87"/>
                </a:cubicBezTo>
                <a:cubicBezTo>
                  <a:pt x="324" y="89"/>
                  <a:pt x="324" y="89"/>
                  <a:pt x="324" y="89"/>
                </a:cubicBezTo>
                <a:cubicBezTo>
                  <a:pt x="323" y="88"/>
                  <a:pt x="323" y="88"/>
                  <a:pt x="323" y="88"/>
                </a:cubicBezTo>
                <a:cubicBezTo>
                  <a:pt x="323" y="88"/>
                  <a:pt x="323" y="88"/>
                  <a:pt x="323" y="88"/>
                </a:cubicBezTo>
                <a:cubicBezTo>
                  <a:pt x="323" y="86"/>
                  <a:pt x="323" y="86"/>
                  <a:pt x="323" y="86"/>
                </a:cubicBezTo>
                <a:cubicBezTo>
                  <a:pt x="322" y="85"/>
                  <a:pt x="322" y="85"/>
                  <a:pt x="322" y="85"/>
                </a:cubicBezTo>
                <a:cubicBezTo>
                  <a:pt x="322" y="86"/>
                  <a:pt x="322" y="86"/>
                  <a:pt x="322" y="86"/>
                </a:cubicBezTo>
                <a:cubicBezTo>
                  <a:pt x="322" y="88"/>
                  <a:pt x="322" y="88"/>
                  <a:pt x="322" y="88"/>
                </a:cubicBezTo>
                <a:cubicBezTo>
                  <a:pt x="323" y="89"/>
                  <a:pt x="323" y="89"/>
                  <a:pt x="323" y="89"/>
                </a:cubicBezTo>
                <a:cubicBezTo>
                  <a:pt x="322" y="89"/>
                  <a:pt x="322" y="89"/>
                  <a:pt x="322" y="89"/>
                </a:cubicBezTo>
                <a:cubicBezTo>
                  <a:pt x="319" y="89"/>
                  <a:pt x="319" y="89"/>
                  <a:pt x="319" y="89"/>
                </a:cubicBezTo>
                <a:cubicBezTo>
                  <a:pt x="318" y="89"/>
                  <a:pt x="318" y="89"/>
                  <a:pt x="318" y="89"/>
                </a:cubicBezTo>
                <a:cubicBezTo>
                  <a:pt x="316" y="89"/>
                  <a:pt x="316" y="89"/>
                  <a:pt x="316" y="89"/>
                </a:cubicBezTo>
                <a:cubicBezTo>
                  <a:pt x="314" y="89"/>
                  <a:pt x="314" y="89"/>
                  <a:pt x="314" y="89"/>
                </a:cubicBezTo>
                <a:cubicBezTo>
                  <a:pt x="313" y="89"/>
                  <a:pt x="313" y="89"/>
                  <a:pt x="313" y="89"/>
                </a:cubicBezTo>
                <a:cubicBezTo>
                  <a:pt x="313" y="89"/>
                  <a:pt x="313" y="89"/>
                  <a:pt x="313" y="89"/>
                </a:cubicBezTo>
                <a:cubicBezTo>
                  <a:pt x="311" y="90"/>
                  <a:pt x="311" y="90"/>
                  <a:pt x="311" y="90"/>
                </a:cubicBezTo>
                <a:cubicBezTo>
                  <a:pt x="309" y="90"/>
                  <a:pt x="309" y="90"/>
                  <a:pt x="309" y="90"/>
                </a:cubicBezTo>
                <a:cubicBezTo>
                  <a:pt x="307" y="91"/>
                  <a:pt x="307" y="91"/>
                  <a:pt x="307" y="91"/>
                </a:cubicBezTo>
                <a:cubicBezTo>
                  <a:pt x="306" y="92"/>
                  <a:pt x="306" y="92"/>
                  <a:pt x="306" y="92"/>
                </a:cubicBezTo>
                <a:cubicBezTo>
                  <a:pt x="305" y="93"/>
                  <a:pt x="305" y="93"/>
                  <a:pt x="305" y="93"/>
                </a:cubicBezTo>
                <a:cubicBezTo>
                  <a:pt x="305" y="94"/>
                  <a:pt x="305" y="94"/>
                  <a:pt x="305" y="94"/>
                </a:cubicBezTo>
                <a:cubicBezTo>
                  <a:pt x="304" y="94"/>
                  <a:pt x="304" y="94"/>
                  <a:pt x="304" y="94"/>
                </a:cubicBezTo>
                <a:cubicBezTo>
                  <a:pt x="304" y="95"/>
                  <a:pt x="304" y="95"/>
                  <a:pt x="304" y="95"/>
                </a:cubicBezTo>
                <a:cubicBezTo>
                  <a:pt x="305" y="96"/>
                  <a:pt x="305" y="96"/>
                  <a:pt x="305" y="96"/>
                </a:cubicBezTo>
                <a:cubicBezTo>
                  <a:pt x="305" y="97"/>
                  <a:pt x="305" y="97"/>
                  <a:pt x="305" y="97"/>
                </a:cubicBezTo>
                <a:cubicBezTo>
                  <a:pt x="304" y="98"/>
                  <a:pt x="304" y="98"/>
                  <a:pt x="304" y="98"/>
                </a:cubicBezTo>
                <a:cubicBezTo>
                  <a:pt x="304" y="98"/>
                  <a:pt x="304" y="98"/>
                  <a:pt x="304" y="98"/>
                </a:cubicBezTo>
                <a:cubicBezTo>
                  <a:pt x="304" y="99"/>
                  <a:pt x="304" y="99"/>
                  <a:pt x="304" y="99"/>
                </a:cubicBezTo>
                <a:cubicBezTo>
                  <a:pt x="304" y="100"/>
                  <a:pt x="304" y="100"/>
                  <a:pt x="304" y="100"/>
                </a:cubicBezTo>
                <a:cubicBezTo>
                  <a:pt x="304" y="101"/>
                  <a:pt x="304" y="101"/>
                  <a:pt x="304" y="101"/>
                </a:cubicBezTo>
                <a:cubicBezTo>
                  <a:pt x="303" y="102"/>
                  <a:pt x="303" y="102"/>
                  <a:pt x="303" y="102"/>
                </a:cubicBezTo>
                <a:cubicBezTo>
                  <a:pt x="303" y="102"/>
                  <a:pt x="303" y="102"/>
                  <a:pt x="303" y="102"/>
                </a:cubicBezTo>
                <a:cubicBezTo>
                  <a:pt x="302" y="103"/>
                  <a:pt x="302" y="103"/>
                  <a:pt x="302" y="103"/>
                </a:cubicBezTo>
                <a:cubicBezTo>
                  <a:pt x="301" y="105"/>
                  <a:pt x="301" y="105"/>
                  <a:pt x="301" y="105"/>
                </a:cubicBezTo>
                <a:cubicBezTo>
                  <a:pt x="301" y="105"/>
                  <a:pt x="301" y="105"/>
                  <a:pt x="301" y="105"/>
                </a:cubicBezTo>
                <a:cubicBezTo>
                  <a:pt x="300" y="106"/>
                  <a:pt x="300" y="106"/>
                  <a:pt x="300" y="106"/>
                </a:cubicBezTo>
                <a:cubicBezTo>
                  <a:pt x="300" y="105"/>
                  <a:pt x="300" y="105"/>
                  <a:pt x="300" y="105"/>
                </a:cubicBezTo>
                <a:cubicBezTo>
                  <a:pt x="299" y="106"/>
                  <a:pt x="299" y="106"/>
                  <a:pt x="299" y="106"/>
                </a:cubicBezTo>
                <a:cubicBezTo>
                  <a:pt x="298" y="108"/>
                  <a:pt x="298" y="108"/>
                  <a:pt x="298" y="108"/>
                </a:cubicBezTo>
                <a:cubicBezTo>
                  <a:pt x="298" y="107"/>
                  <a:pt x="298" y="107"/>
                  <a:pt x="298" y="107"/>
                </a:cubicBezTo>
                <a:cubicBezTo>
                  <a:pt x="297" y="108"/>
                  <a:pt x="297" y="108"/>
                  <a:pt x="297" y="108"/>
                </a:cubicBezTo>
                <a:cubicBezTo>
                  <a:pt x="298" y="106"/>
                  <a:pt x="298" y="106"/>
                  <a:pt x="298" y="106"/>
                </a:cubicBezTo>
                <a:cubicBezTo>
                  <a:pt x="298" y="106"/>
                  <a:pt x="298" y="106"/>
                  <a:pt x="298" y="106"/>
                </a:cubicBezTo>
                <a:cubicBezTo>
                  <a:pt x="297" y="106"/>
                  <a:pt x="297" y="106"/>
                  <a:pt x="297" y="106"/>
                </a:cubicBezTo>
                <a:cubicBezTo>
                  <a:pt x="295" y="104"/>
                  <a:pt x="295" y="104"/>
                  <a:pt x="295" y="104"/>
                </a:cubicBezTo>
                <a:cubicBezTo>
                  <a:pt x="295" y="103"/>
                  <a:pt x="295" y="103"/>
                  <a:pt x="295" y="103"/>
                </a:cubicBezTo>
                <a:cubicBezTo>
                  <a:pt x="295" y="103"/>
                  <a:pt x="295" y="103"/>
                  <a:pt x="295" y="103"/>
                </a:cubicBezTo>
                <a:cubicBezTo>
                  <a:pt x="297" y="100"/>
                  <a:pt x="297" y="100"/>
                  <a:pt x="297" y="100"/>
                </a:cubicBezTo>
                <a:cubicBezTo>
                  <a:pt x="296" y="101"/>
                  <a:pt x="296" y="101"/>
                  <a:pt x="296" y="101"/>
                </a:cubicBezTo>
                <a:cubicBezTo>
                  <a:pt x="295" y="102"/>
                  <a:pt x="295" y="102"/>
                  <a:pt x="295" y="102"/>
                </a:cubicBezTo>
                <a:cubicBezTo>
                  <a:pt x="294" y="103"/>
                  <a:pt x="294" y="103"/>
                  <a:pt x="294" y="103"/>
                </a:cubicBezTo>
                <a:cubicBezTo>
                  <a:pt x="294" y="105"/>
                  <a:pt x="294" y="105"/>
                  <a:pt x="294" y="105"/>
                </a:cubicBezTo>
                <a:cubicBezTo>
                  <a:pt x="295" y="105"/>
                  <a:pt x="295" y="105"/>
                  <a:pt x="295" y="105"/>
                </a:cubicBezTo>
                <a:cubicBezTo>
                  <a:pt x="295" y="107"/>
                  <a:pt x="295" y="107"/>
                  <a:pt x="295" y="107"/>
                </a:cubicBezTo>
                <a:cubicBezTo>
                  <a:pt x="295" y="108"/>
                  <a:pt x="295" y="108"/>
                  <a:pt x="295" y="108"/>
                </a:cubicBezTo>
                <a:cubicBezTo>
                  <a:pt x="296" y="110"/>
                  <a:pt x="296" y="110"/>
                  <a:pt x="296" y="110"/>
                </a:cubicBezTo>
                <a:cubicBezTo>
                  <a:pt x="296" y="111"/>
                  <a:pt x="296" y="111"/>
                  <a:pt x="296" y="111"/>
                </a:cubicBezTo>
                <a:cubicBezTo>
                  <a:pt x="295" y="114"/>
                  <a:pt x="295" y="114"/>
                  <a:pt x="295" y="114"/>
                </a:cubicBezTo>
                <a:cubicBezTo>
                  <a:pt x="294" y="114"/>
                  <a:pt x="294" y="114"/>
                  <a:pt x="294" y="114"/>
                </a:cubicBezTo>
                <a:cubicBezTo>
                  <a:pt x="293" y="117"/>
                  <a:pt x="293" y="117"/>
                  <a:pt x="293" y="117"/>
                </a:cubicBezTo>
                <a:cubicBezTo>
                  <a:pt x="292" y="118"/>
                  <a:pt x="292" y="118"/>
                  <a:pt x="292" y="118"/>
                </a:cubicBezTo>
                <a:cubicBezTo>
                  <a:pt x="292" y="119"/>
                  <a:pt x="292" y="119"/>
                  <a:pt x="292" y="119"/>
                </a:cubicBezTo>
                <a:cubicBezTo>
                  <a:pt x="292" y="119"/>
                  <a:pt x="292" y="119"/>
                  <a:pt x="292" y="119"/>
                </a:cubicBezTo>
                <a:cubicBezTo>
                  <a:pt x="292" y="119"/>
                  <a:pt x="292" y="119"/>
                  <a:pt x="292" y="119"/>
                </a:cubicBezTo>
                <a:cubicBezTo>
                  <a:pt x="291" y="118"/>
                  <a:pt x="291" y="118"/>
                  <a:pt x="291" y="118"/>
                </a:cubicBezTo>
                <a:cubicBezTo>
                  <a:pt x="290" y="121"/>
                  <a:pt x="290" y="121"/>
                  <a:pt x="290" y="121"/>
                </a:cubicBezTo>
                <a:cubicBezTo>
                  <a:pt x="290" y="121"/>
                  <a:pt x="290" y="121"/>
                  <a:pt x="290" y="121"/>
                </a:cubicBezTo>
                <a:cubicBezTo>
                  <a:pt x="290" y="122"/>
                  <a:pt x="290" y="122"/>
                  <a:pt x="290" y="122"/>
                </a:cubicBezTo>
                <a:cubicBezTo>
                  <a:pt x="290" y="121"/>
                  <a:pt x="290" y="121"/>
                  <a:pt x="290" y="121"/>
                </a:cubicBezTo>
                <a:cubicBezTo>
                  <a:pt x="290" y="119"/>
                  <a:pt x="290" y="119"/>
                  <a:pt x="290" y="119"/>
                </a:cubicBezTo>
                <a:cubicBezTo>
                  <a:pt x="291" y="118"/>
                  <a:pt x="291" y="118"/>
                  <a:pt x="291" y="118"/>
                </a:cubicBezTo>
                <a:cubicBezTo>
                  <a:pt x="290" y="117"/>
                  <a:pt x="290" y="117"/>
                  <a:pt x="290" y="117"/>
                </a:cubicBezTo>
                <a:cubicBezTo>
                  <a:pt x="291" y="116"/>
                  <a:pt x="291" y="116"/>
                  <a:pt x="291" y="116"/>
                </a:cubicBezTo>
                <a:cubicBezTo>
                  <a:pt x="291" y="116"/>
                  <a:pt x="291" y="116"/>
                  <a:pt x="291" y="116"/>
                </a:cubicBezTo>
                <a:cubicBezTo>
                  <a:pt x="292" y="115"/>
                  <a:pt x="292" y="115"/>
                  <a:pt x="292" y="115"/>
                </a:cubicBezTo>
                <a:cubicBezTo>
                  <a:pt x="291" y="115"/>
                  <a:pt x="291" y="115"/>
                  <a:pt x="291" y="115"/>
                </a:cubicBezTo>
                <a:cubicBezTo>
                  <a:pt x="290" y="114"/>
                  <a:pt x="290" y="114"/>
                  <a:pt x="290" y="114"/>
                </a:cubicBezTo>
                <a:cubicBezTo>
                  <a:pt x="291" y="114"/>
                  <a:pt x="291" y="114"/>
                  <a:pt x="291" y="114"/>
                </a:cubicBezTo>
                <a:cubicBezTo>
                  <a:pt x="291" y="114"/>
                  <a:pt x="291" y="114"/>
                  <a:pt x="291" y="114"/>
                </a:cubicBezTo>
                <a:cubicBezTo>
                  <a:pt x="290" y="114"/>
                  <a:pt x="290" y="114"/>
                  <a:pt x="290" y="114"/>
                </a:cubicBezTo>
                <a:cubicBezTo>
                  <a:pt x="290" y="113"/>
                  <a:pt x="290" y="113"/>
                  <a:pt x="290" y="113"/>
                </a:cubicBezTo>
                <a:cubicBezTo>
                  <a:pt x="289" y="114"/>
                  <a:pt x="289" y="114"/>
                  <a:pt x="289" y="114"/>
                </a:cubicBezTo>
                <a:cubicBezTo>
                  <a:pt x="288" y="112"/>
                  <a:pt x="288" y="112"/>
                  <a:pt x="288" y="112"/>
                </a:cubicBezTo>
                <a:cubicBezTo>
                  <a:pt x="288" y="111"/>
                  <a:pt x="288" y="111"/>
                  <a:pt x="288" y="111"/>
                </a:cubicBezTo>
                <a:cubicBezTo>
                  <a:pt x="289" y="110"/>
                  <a:pt x="289" y="110"/>
                  <a:pt x="289" y="110"/>
                </a:cubicBezTo>
                <a:cubicBezTo>
                  <a:pt x="290" y="108"/>
                  <a:pt x="290" y="108"/>
                  <a:pt x="290" y="108"/>
                </a:cubicBezTo>
                <a:cubicBezTo>
                  <a:pt x="289" y="106"/>
                  <a:pt x="289" y="106"/>
                  <a:pt x="289" y="106"/>
                </a:cubicBezTo>
                <a:cubicBezTo>
                  <a:pt x="289" y="105"/>
                  <a:pt x="289" y="105"/>
                  <a:pt x="289" y="105"/>
                </a:cubicBezTo>
                <a:cubicBezTo>
                  <a:pt x="290" y="104"/>
                  <a:pt x="290" y="104"/>
                  <a:pt x="290" y="104"/>
                </a:cubicBezTo>
                <a:cubicBezTo>
                  <a:pt x="290" y="104"/>
                  <a:pt x="290" y="104"/>
                  <a:pt x="290" y="104"/>
                </a:cubicBezTo>
                <a:cubicBezTo>
                  <a:pt x="290" y="103"/>
                  <a:pt x="290" y="103"/>
                  <a:pt x="290" y="103"/>
                </a:cubicBezTo>
                <a:cubicBezTo>
                  <a:pt x="290" y="102"/>
                  <a:pt x="290" y="102"/>
                  <a:pt x="290" y="102"/>
                </a:cubicBezTo>
                <a:cubicBezTo>
                  <a:pt x="290" y="103"/>
                  <a:pt x="290" y="103"/>
                  <a:pt x="290" y="103"/>
                </a:cubicBezTo>
                <a:cubicBezTo>
                  <a:pt x="290" y="104"/>
                  <a:pt x="290" y="104"/>
                  <a:pt x="290" y="104"/>
                </a:cubicBezTo>
                <a:cubicBezTo>
                  <a:pt x="288" y="105"/>
                  <a:pt x="288" y="105"/>
                  <a:pt x="288" y="105"/>
                </a:cubicBezTo>
                <a:cubicBezTo>
                  <a:pt x="288" y="105"/>
                  <a:pt x="288" y="105"/>
                  <a:pt x="288" y="105"/>
                </a:cubicBezTo>
                <a:cubicBezTo>
                  <a:pt x="287" y="105"/>
                  <a:pt x="287" y="105"/>
                  <a:pt x="287" y="105"/>
                </a:cubicBezTo>
                <a:cubicBezTo>
                  <a:pt x="288" y="106"/>
                  <a:pt x="288" y="106"/>
                  <a:pt x="288" y="106"/>
                </a:cubicBezTo>
                <a:cubicBezTo>
                  <a:pt x="287" y="107"/>
                  <a:pt x="287" y="107"/>
                  <a:pt x="287" y="107"/>
                </a:cubicBezTo>
                <a:cubicBezTo>
                  <a:pt x="287" y="109"/>
                  <a:pt x="287" y="109"/>
                  <a:pt x="287" y="109"/>
                </a:cubicBezTo>
                <a:cubicBezTo>
                  <a:pt x="287" y="110"/>
                  <a:pt x="287" y="110"/>
                  <a:pt x="287" y="110"/>
                </a:cubicBezTo>
                <a:cubicBezTo>
                  <a:pt x="287" y="110"/>
                  <a:pt x="287" y="110"/>
                  <a:pt x="287" y="110"/>
                </a:cubicBezTo>
                <a:cubicBezTo>
                  <a:pt x="287" y="112"/>
                  <a:pt x="287" y="112"/>
                  <a:pt x="287" y="112"/>
                </a:cubicBezTo>
                <a:cubicBezTo>
                  <a:pt x="287" y="114"/>
                  <a:pt x="287" y="114"/>
                  <a:pt x="287" y="114"/>
                </a:cubicBezTo>
                <a:cubicBezTo>
                  <a:pt x="287" y="114"/>
                  <a:pt x="287" y="114"/>
                  <a:pt x="287" y="114"/>
                </a:cubicBezTo>
                <a:cubicBezTo>
                  <a:pt x="285" y="112"/>
                  <a:pt x="285" y="112"/>
                  <a:pt x="285" y="112"/>
                </a:cubicBezTo>
                <a:cubicBezTo>
                  <a:pt x="284" y="112"/>
                  <a:pt x="284" y="112"/>
                  <a:pt x="284" y="112"/>
                </a:cubicBezTo>
                <a:cubicBezTo>
                  <a:pt x="283" y="111"/>
                  <a:pt x="283" y="111"/>
                  <a:pt x="283" y="111"/>
                </a:cubicBezTo>
                <a:cubicBezTo>
                  <a:pt x="283" y="111"/>
                  <a:pt x="283" y="111"/>
                  <a:pt x="283" y="111"/>
                </a:cubicBezTo>
                <a:cubicBezTo>
                  <a:pt x="283" y="110"/>
                  <a:pt x="283" y="110"/>
                  <a:pt x="283" y="110"/>
                </a:cubicBezTo>
                <a:cubicBezTo>
                  <a:pt x="283" y="109"/>
                  <a:pt x="283" y="109"/>
                  <a:pt x="283" y="109"/>
                </a:cubicBezTo>
                <a:cubicBezTo>
                  <a:pt x="282" y="110"/>
                  <a:pt x="282" y="110"/>
                  <a:pt x="282" y="110"/>
                </a:cubicBezTo>
                <a:cubicBezTo>
                  <a:pt x="282" y="111"/>
                  <a:pt x="282" y="111"/>
                  <a:pt x="282" y="111"/>
                </a:cubicBezTo>
                <a:cubicBezTo>
                  <a:pt x="283" y="112"/>
                  <a:pt x="283" y="112"/>
                  <a:pt x="283" y="112"/>
                </a:cubicBezTo>
                <a:cubicBezTo>
                  <a:pt x="284" y="113"/>
                  <a:pt x="284" y="113"/>
                  <a:pt x="284" y="113"/>
                </a:cubicBezTo>
                <a:cubicBezTo>
                  <a:pt x="285" y="113"/>
                  <a:pt x="285" y="113"/>
                  <a:pt x="285" y="113"/>
                </a:cubicBezTo>
                <a:cubicBezTo>
                  <a:pt x="287" y="115"/>
                  <a:pt x="287" y="115"/>
                  <a:pt x="287" y="115"/>
                </a:cubicBezTo>
                <a:cubicBezTo>
                  <a:pt x="288" y="116"/>
                  <a:pt x="288" y="116"/>
                  <a:pt x="288" y="116"/>
                </a:cubicBezTo>
                <a:cubicBezTo>
                  <a:pt x="288" y="117"/>
                  <a:pt x="288" y="117"/>
                  <a:pt x="288" y="117"/>
                </a:cubicBezTo>
                <a:cubicBezTo>
                  <a:pt x="287" y="118"/>
                  <a:pt x="287" y="118"/>
                  <a:pt x="287" y="118"/>
                </a:cubicBezTo>
                <a:cubicBezTo>
                  <a:pt x="286" y="118"/>
                  <a:pt x="286" y="118"/>
                  <a:pt x="286" y="118"/>
                </a:cubicBezTo>
                <a:cubicBezTo>
                  <a:pt x="286" y="117"/>
                  <a:pt x="286" y="117"/>
                  <a:pt x="286" y="117"/>
                </a:cubicBezTo>
                <a:cubicBezTo>
                  <a:pt x="285" y="116"/>
                  <a:pt x="285" y="116"/>
                  <a:pt x="285" y="116"/>
                </a:cubicBezTo>
                <a:cubicBezTo>
                  <a:pt x="286" y="118"/>
                  <a:pt x="286" y="118"/>
                  <a:pt x="286" y="118"/>
                </a:cubicBezTo>
                <a:cubicBezTo>
                  <a:pt x="287" y="119"/>
                  <a:pt x="287" y="119"/>
                  <a:pt x="287" y="119"/>
                </a:cubicBezTo>
                <a:cubicBezTo>
                  <a:pt x="288" y="120"/>
                  <a:pt x="288" y="120"/>
                  <a:pt x="288" y="120"/>
                </a:cubicBezTo>
                <a:cubicBezTo>
                  <a:pt x="287" y="120"/>
                  <a:pt x="287" y="120"/>
                  <a:pt x="287" y="120"/>
                </a:cubicBezTo>
                <a:cubicBezTo>
                  <a:pt x="287" y="121"/>
                  <a:pt x="287" y="121"/>
                  <a:pt x="287" y="121"/>
                </a:cubicBezTo>
                <a:cubicBezTo>
                  <a:pt x="286" y="120"/>
                  <a:pt x="286" y="120"/>
                  <a:pt x="286" y="120"/>
                </a:cubicBezTo>
                <a:cubicBezTo>
                  <a:pt x="288" y="122"/>
                  <a:pt x="288" y="122"/>
                  <a:pt x="288" y="122"/>
                </a:cubicBezTo>
                <a:cubicBezTo>
                  <a:pt x="287" y="123"/>
                  <a:pt x="287" y="123"/>
                  <a:pt x="287" y="123"/>
                </a:cubicBezTo>
                <a:cubicBezTo>
                  <a:pt x="286" y="122"/>
                  <a:pt x="286" y="122"/>
                  <a:pt x="286" y="122"/>
                </a:cubicBezTo>
                <a:cubicBezTo>
                  <a:pt x="286" y="121"/>
                  <a:pt x="286" y="121"/>
                  <a:pt x="286" y="121"/>
                </a:cubicBezTo>
                <a:cubicBezTo>
                  <a:pt x="284" y="121"/>
                  <a:pt x="284" y="121"/>
                  <a:pt x="284" y="121"/>
                </a:cubicBezTo>
                <a:cubicBezTo>
                  <a:pt x="283" y="121"/>
                  <a:pt x="283" y="121"/>
                  <a:pt x="283" y="121"/>
                </a:cubicBezTo>
                <a:cubicBezTo>
                  <a:pt x="284" y="122"/>
                  <a:pt x="284" y="122"/>
                  <a:pt x="284" y="122"/>
                </a:cubicBezTo>
                <a:cubicBezTo>
                  <a:pt x="285" y="122"/>
                  <a:pt x="285" y="122"/>
                  <a:pt x="285" y="122"/>
                </a:cubicBezTo>
                <a:cubicBezTo>
                  <a:pt x="286" y="122"/>
                  <a:pt x="286" y="122"/>
                  <a:pt x="286" y="122"/>
                </a:cubicBezTo>
                <a:cubicBezTo>
                  <a:pt x="286" y="124"/>
                  <a:pt x="286" y="124"/>
                  <a:pt x="286" y="124"/>
                </a:cubicBezTo>
                <a:cubicBezTo>
                  <a:pt x="287" y="124"/>
                  <a:pt x="287" y="124"/>
                  <a:pt x="287" y="124"/>
                </a:cubicBezTo>
                <a:cubicBezTo>
                  <a:pt x="288" y="124"/>
                  <a:pt x="288" y="124"/>
                  <a:pt x="288" y="124"/>
                </a:cubicBezTo>
                <a:cubicBezTo>
                  <a:pt x="289" y="124"/>
                  <a:pt x="289" y="124"/>
                  <a:pt x="289" y="124"/>
                </a:cubicBezTo>
                <a:cubicBezTo>
                  <a:pt x="289" y="125"/>
                  <a:pt x="289" y="125"/>
                  <a:pt x="289" y="125"/>
                </a:cubicBezTo>
                <a:cubicBezTo>
                  <a:pt x="289" y="126"/>
                  <a:pt x="289" y="126"/>
                  <a:pt x="289" y="126"/>
                </a:cubicBezTo>
                <a:cubicBezTo>
                  <a:pt x="288" y="126"/>
                  <a:pt x="288" y="126"/>
                  <a:pt x="288" y="126"/>
                </a:cubicBezTo>
                <a:cubicBezTo>
                  <a:pt x="288" y="127"/>
                  <a:pt x="288" y="127"/>
                  <a:pt x="288" y="127"/>
                </a:cubicBezTo>
                <a:cubicBezTo>
                  <a:pt x="288" y="127"/>
                  <a:pt x="288" y="127"/>
                  <a:pt x="288" y="127"/>
                </a:cubicBezTo>
                <a:cubicBezTo>
                  <a:pt x="289" y="129"/>
                  <a:pt x="289" y="129"/>
                  <a:pt x="289" y="129"/>
                </a:cubicBezTo>
                <a:cubicBezTo>
                  <a:pt x="288" y="129"/>
                  <a:pt x="288" y="129"/>
                  <a:pt x="288" y="129"/>
                </a:cubicBezTo>
                <a:cubicBezTo>
                  <a:pt x="287" y="129"/>
                  <a:pt x="287" y="129"/>
                  <a:pt x="287" y="129"/>
                </a:cubicBezTo>
                <a:cubicBezTo>
                  <a:pt x="287" y="130"/>
                  <a:pt x="287" y="130"/>
                  <a:pt x="287" y="130"/>
                </a:cubicBezTo>
                <a:cubicBezTo>
                  <a:pt x="285" y="130"/>
                  <a:pt x="285" y="130"/>
                  <a:pt x="285" y="130"/>
                </a:cubicBezTo>
                <a:cubicBezTo>
                  <a:pt x="285" y="131"/>
                  <a:pt x="285" y="131"/>
                  <a:pt x="285" y="131"/>
                </a:cubicBezTo>
                <a:cubicBezTo>
                  <a:pt x="284" y="130"/>
                  <a:pt x="284" y="130"/>
                  <a:pt x="284" y="130"/>
                </a:cubicBezTo>
                <a:cubicBezTo>
                  <a:pt x="283" y="129"/>
                  <a:pt x="283" y="129"/>
                  <a:pt x="283" y="129"/>
                </a:cubicBezTo>
                <a:cubicBezTo>
                  <a:pt x="283" y="129"/>
                  <a:pt x="283" y="129"/>
                  <a:pt x="283" y="129"/>
                </a:cubicBezTo>
                <a:cubicBezTo>
                  <a:pt x="283" y="131"/>
                  <a:pt x="283" y="131"/>
                  <a:pt x="283" y="131"/>
                </a:cubicBezTo>
                <a:cubicBezTo>
                  <a:pt x="283" y="132"/>
                  <a:pt x="283" y="132"/>
                  <a:pt x="283" y="132"/>
                </a:cubicBezTo>
                <a:cubicBezTo>
                  <a:pt x="284" y="132"/>
                  <a:pt x="284" y="132"/>
                  <a:pt x="284" y="132"/>
                </a:cubicBezTo>
                <a:cubicBezTo>
                  <a:pt x="286" y="131"/>
                  <a:pt x="286" y="131"/>
                  <a:pt x="286" y="131"/>
                </a:cubicBezTo>
                <a:cubicBezTo>
                  <a:pt x="287" y="131"/>
                  <a:pt x="287" y="131"/>
                  <a:pt x="287" y="131"/>
                </a:cubicBezTo>
                <a:cubicBezTo>
                  <a:pt x="287" y="133"/>
                  <a:pt x="287" y="133"/>
                  <a:pt x="287" y="133"/>
                </a:cubicBezTo>
                <a:cubicBezTo>
                  <a:pt x="288" y="134"/>
                  <a:pt x="288" y="134"/>
                  <a:pt x="288" y="134"/>
                </a:cubicBezTo>
                <a:cubicBezTo>
                  <a:pt x="288" y="133"/>
                  <a:pt x="288" y="133"/>
                  <a:pt x="288" y="133"/>
                </a:cubicBezTo>
                <a:cubicBezTo>
                  <a:pt x="288" y="132"/>
                  <a:pt x="288" y="132"/>
                  <a:pt x="288" y="132"/>
                </a:cubicBezTo>
                <a:cubicBezTo>
                  <a:pt x="289" y="131"/>
                  <a:pt x="289" y="131"/>
                  <a:pt x="289" y="131"/>
                </a:cubicBezTo>
                <a:cubicBezTo>
                  <a:pt x="289" y="132"/>
                  <a:pt x="289" y="132"/>
                  <a:pt x="289" y="132"/>
                </a:cubicBezTo>
                <a:cubicBezTo>
                  <a:pt x="289" y="134"/>
                  <a:pt x="289" y="134"/>
                  <a:pt x="289" y="134"/>
                </a:cubicBezTo>
                <a:cubicBezTo>
                  <a:pt x="289" y="134"/>
                  <a:pt x="289" y="134"/>
                  <a:pt x="289" y="134"/>
                </a:cubicBezTo>
                <a:cubicBezTo>
                  <a:pt x="287" y="135"/>
                  <a:pt x="287" y="135"/>
                  <a:pt x="287" y="135"/>
                </a:cubicBezTo>
                <a:cubicBezTo>
                  <a:pt x="287" y="136"/>
                  <a:pt x="287" y="136"/>
                  <a:pt x="287" y="136"/>
                </a:cubicBezTo>
                <a:cubicBezTo>
                  <a:pt x="286" y="136"/>
                  <a:pt x="286" y="136"/>
                  <a:pt x="286" y="136"/>
                </a:cubicBezTo>
                <a:cubicBezTo>
                  <a:pt x="285" y="136"/>
                  <a:pt x="285" y="136"/>
                  <a:pt x="285" y="136"/>
                </a:cubicBezTo>
                <a:cubicBezTo>
                  <a:pt x="285" y="136"/>
                  <a:pt x="285" y="136"/>
                  <a:pt x="285" y="136"/>
                </a:cubicBezTo>
                <a:cubicBezTo>
                  <a:pt x="284" y="135"/>
                  <a:pt x="284" y="135"/>
                  <a:pt x="284" y="135"/>
                </a:cubicBezTo>
                <a:cubicBezTo>
                  <a:pt x="284" y="135"/>
                  <a:pt x="284" y="135"/>
                  <a:pt x="284" y="135"/>
                </a:cubicBezTo>
                <a:cubicBezTo>
                  <a:pt x="283" y="136"/>
                  <a:pt x="283" y="136"/>
                  <a:pt x="283" y="136"/>
                </a:cubicBezTo>
                <a:cubicBezTo>
                  <a:pt x="282" y="135"/>
                  <a:pt x="282" y="135"/>
                  <a:pt x="282" y="135"/>
                </a:cubicBezTo>
                <a:cubicBezTo>
                  <a:pt x="281" y="135"/>
                  <a:pt x="281" y="135"/>
                  <a:pt x="281" y="135"/>
                </a:cubicBezTo>
                <a:cubicBezTo>
                  <a:pt x="282" y="136"/>
                  <a:pt x="282" y="136"/>
                  <a:pt x="282" y="136"/>
                </a:cubicBezTo>
                <a:cubicBezTo>
                  <a:pt x="284" y="136"/>
                  <a:pt x="284" y="136"/>
                  <a:pt x="284" y="136"/>
                </a:cubicBezTo>
                <a:cubicBezTo>
                  <a:pt x="284" y="137"/>
                  <a:pt x="284" y="137"/>
                  <a:pt x="284" y="137"/>
                </a:cubicBezTo>
                <a:cubicBezTo>
                  <a:pt x="283" y="138"/>
                  <a:pt x="283" y="138"/>
                  <a:pt x="283" y="138"/>
                </a:cubicBezTo>
                <a:cubicBezTo>
                  <a:pt x="284" y="138"/>
                  <a:pt x="284" y="138"/>
                  <a:pt x="284" y="138"/>
                </a:cubicBezTo>
                <a:cubicBezTo>
                  <a:pt x="282" y="139"/>
                  <a:pt x="282" y="139"/>
                  <a:pt x="282" y="139"/>
                </a:cubicBezTo>
                <a:cubicBezTo>
                  <a:pt x="281" y="138"/>
                  <a:pt x="281" y="138"/>
                  <a:pt x="281" y="138"/>
                </a:cubicBezTo>
                <a:cubicBezTo>
                  <a:pt x="282" y="139"/>
                  <a:pt x="282" y="139"/>
                  <a:pt x="282" y="139"/>
                </a:cubicBezTo>
                <a:cubicBezTo>
                  <a:pt x="283" y="139"/>
                  <a:pt x="283" y="139"/>
                  <a:pt x="283" y="139"/>
                </a:cubicBezTo>
                <a:cubicBezTo>
                  <a:pt x="284" y="138"/>
                  <a:pt x="284" y="138"/>
                  <a:pt x="284" y="138"/>
                </a:cubicBezTo>
                <a:cubicBezTo>
                  <a:pt x="285" y="139"/>
                  <a:pt x="285" y="139"/>
                  <a:pt x="285" y="139"/>
                </a:cubicBezTo>
                <a:cubicBezTo>
                  <a:pt x="285" y="139"/>
                  <a:pt x="285" y="139"/>
                  <a:pt x="285" y="139"/>
                </a:cubicBezTo>
                <a:cubicBezTo>
                  <a:pt x="284" y="140"/>
                  <a:pt x="284" y="140"/>
                  <a:pt x="284" y="140"/>
                </a:cubicBezTo>
                <a:cubicBezTo>
                  <a:pt x="283" y="140"/>
                  <a:pt x="283" y="140"/>
                  <a:pt x="283" y="140"/>
                </a:cubicBezTo>
                <a:cubicBezTo>
                  <a:pt x="283" y="140"/>
                  <a:pt x="283" y="140"/>
                  <a:pt x="283" y="140"/>
                </a:cubicBezTo>
                <a:cubicBezTo>
                  <a:pt x="282" y="140"/>
                  <a:pt x="282" y="140"/>
                  <a:pt x="282" y="140"/>
                </a:cubicBezTo>
                <a:cubicBezTo>
                  <a:pt x="282" y="140"/>
                  <a:pt x="282" y="140"/>
                  <a:pt x="282" y="140"/>
                </a:cubicBezTo>
                <a:cubicBezTo>
                  <a:pt x="280" y="141"/>
                  <a:pt x="280" y="141"/>
                  <a:pt x="280" y="141"/>
                </a:cubicBezTo>
                <a:cubicBezTo>
                  <a:pt x="277" y="142"/>
                  <a:pt x="277" y="142"/>
                  <a:pt x="277" y="142"/>
                </a:cubicBezTo>
                <a:cubicBezTo>
                  <a:pt x="274" y="145"/>
                  <a:pt x="274" y="145"/>
                  <a:pt x="274" y="145"/>
                </a:cubicBezTo>
                <a:cubicBezTo>
                  <a:pt x="273" y="147"/>
                  <a:pt x="273" y="147"/>
                  <a:pt x="273" y="147"/>
                </a:cubicBezTo>
                <a:cubicBezTo>
                  <a:pt x="272" y="147"/>
                  <a:pt x="272" y="147"/>
                  <a:pt x="272" y="147"/>
                </a:cubicBezTo>
                <a:cubicBezTo>
                  <a:pt x="272" y="146"/>
                  <a:pt x="272" y="146"/>
                  <a:pt x="272" y="146"/>
                </a:cubicBezTo>
                <a:cubicBezTo>
                  <a:pt x="270" y="147"/>
                  <a:pt x="270" y="147"/>
                  <a:pt x="270" y="147"/>
                </a:cubicBezTo>
                <a:cubicBezTo>
                  <a:pt x="269" y="148"/>
                  <a:pt x="269" y="148"/>
                  <a:pt x="269" y="148"/>
                </a:cubicBezTo>
                <a:cubicBezTo>
                  <a:pt x="266" y="151"/>
                  <a:pt x="266" y="151"/>
                  <a:pt x="266" y="151"/>
                </a:cubicBezTo>
                <a:cubicBezTo>
                  <a:pt x="266" y="152"/>
                  <a:pt x="266" y="152"/>
                  <a:pt x="266" y="152"/>
                </a:cubicBezTo>
                <a:cubicBezTo>
                  <a:pt x="265" y="152"/>
                  <a:pt x="265" y="152"/>
                  <a:pt x="265" y="152"/>
                </a:cubicBezTo>
                <a:cubicBezTo>
                  <a:pt x="265" y="152"/>
                  <a:pt x="265" y="152"/>
                  <a:pt x="265" y="152"/>
                </a:cubicBezTo>
                <a:cubicBezTo>
                  <a:pt x="265" y="153"/>
                  <a:pt x="265" y="153"/>
                  <a:pt x="265" y="153"/>
                </a:cubicBezTo>
                <a:cubicBezTo>
                  <a:pt x="264" y="154"/>
                  <a:pt x="264" y="154"/>
                  <a:pt x="264" y="154"/>
                </a:cubicBezTo>
                <a:cubicBezTo>
                  <a:pt x="263" y="154"/>
                  <a:pt x="263" y="154"/>
                  <a:pt x="263" y="154"/>
                </a:cubicBezTo>
                <a:cubicBezTo>
                  <a:pt x="262" y="154"/>
                  <a:pt x="262" y="154"/>
                  <a:pt x="262" y="154"/>
                </a:cubicBezTo>
                <a:cubicBezTo>
                  <a:pt x="262" y="155"/>
                  <a:pt x="262" y="155"/>
                  <a:pt x="262" y="155"/>
                </a:cubicBezTo>
                <a:cubicBezTo>
                  <a:pt x="260" y="155"/>
                  <a:pt x="260" y="155"/>
                  <a:pt x="260" y="155"/>
                </a:cubicBezTo>
                <a:cubicBezTo>
                  <a:pt x="260" y="156"/>
                  <a:pt x="260" y="156"/>
                  <a:pt x="260" y="156"/>
                </a:cubicBezTo>
                <a:cubicBezTo>
                  <a:pt x="258" y="156"/>
                  <a:pt x="258" y="156"/>
                  <a:pt x="258" y="156"/>
                </a:cubicBezTo>
                <a:cubicBezTo>
                  <a:pt x="258" y="157"/>
                  <a:pt x="258" y="157"/>
                  <a:pt x="258" y="157"/>
                </a:cubicBezTo>
                <a:cubicBezTo>
                  <a:pt x="256" y="157"/>
                  <a:pt x="256" y="157"/>
                  <a:pt x="256" y="157"/>
                </a:cubicBezTo>
                <a:cubicBezTo>
                  <a:pt x="256" y="157"/>
                  <a:pt x="256" y="157"/>
                  <a:pt x="256" y="157"/>
                </a:cubicBezTo>
                <a:cubicBezTo>
                  <a:pt x="255" y="157"/>
                  <a:pt x="255" y="157"/>
                  <a:pt x="255" y="157"/>
                </a:cubicBezTo>
                <a:cubicBezTo>
                  <a:pt x="254" y="158"/>
                  <a:pt x="254" y="158"/>
                  <a:pt x="254" y="158"/>
                </a:cubicBezTo>
                <a:cubicBezTo>
                  <a:pt x="255" y="158"/>
                  <a:pt x="255" y="158"/>
                  <a:pt x="255" y="158"/>
                </a:cubicBezTo>
                <a:cubicBezTo>
                  <a:pt x="255" y="159"/>
                  <a:pt x="255" y="159"/>
                  <a:pt x="255" y="159"/>
                </a:cubicBezTo>
                <a:cubicBezTo>
                  <a:pt x="254" y="160"/>
                  <a:pt x="254" y="160"/>
                  <a:pt x="254" y="160"/>
                </a:cubicBezTo>
                <a:cubicBezTo>
                  <a:pt x="253" y="160"/>
                  <a:pt x="253" y="160"/>
                  <a:pt x="253" y="160"/>
                </a:cubicBezTo>
                <a:cubicBezTo>
                  <a:pt x="253" y="161"/>
                  <a:pt x="253" y="161"/>
                  <a:pt x="253" y="161"/>
                </a:cubicBezTo>
                <a:cubicBezTo>
                  <a:pt x="252" y="161"/>
                  <a:pt x="252" y="161"/>
                  <a:pt x="252" y="161"/>
                </a:cubicBezTo>
                <a:cubicBezTo>
                  <a:pt x="251" y="163"/>
                  <a:pt x="251" y="163"/>
                  <a:pt x="251" y="163"/>
                </a:cubicBezTo>
                <a:cubicBezTo>
                  <a:pt x="250" y="165"/>
                  <a:pt x="250" y="165"/>
                  <a:pt x="250" y="165"/>
                </a:cubicBezTo>
                <a:cubicBezTo>
                  <a:pt x="250" y="167"/>
                  <a:pt x="250" y="167"/>
                  <a:pt x="250" y="167"/>
                </a:cubicBezTo>
                <a:cubicBezTo>
                  <a:pt x="249" y="171"/>
                  <a:pt x="249" y="171"/>
                  <a:pt x="249" y="171"/>
                </a:cubicBezTo>
                <a:cubicBezTo>
                  <a:pt x="249" y="173"/>
                  <a:pt x="249" y="173"/>
                  <a:pt x="249" y="173"/>
                </a:cubicBezTo>
                <a:cubicBezTo>
                  <a:pt x="249" y="175"/>
                  <a:pt x="249" y="175"/>
                  <a:pt x="249" y="175"/>
                </a:cubicBezTo>
                <a:cubicBezTo>
                  <a:pt x="250" y="177"/>
                  <a:pt x="250" y="177"/>
                  <a:pt x="250" y="177"/>
                </a:cubicBezTo>
                <a:cubicBezTo>
                  <a:pt x="250" y="180"/>
                  <a:pt x="250" y="180"/>
                  <a:pt x="250" y="180"/>
                </a:cubicBezTo>
                <a:cubicBezTo>
                  <a:pt x="251" y="181"/>
                  <a:pt x="251" y="181"/>
                  <a:pt x="251" y="181"/>
                </a:cubicBezTo>
                <a:cubicBezTo>
                  <a:pt x="251" y="184"/>
                  <a:pt x="251" y="184"/>
                  <a:pt x="251" y="184"/>
                </a:cubicBezTo>
                <a:cubicBezTo>
                  <a:pt x="252" y="185"/>
                  <a:pt x="252" y="185"/>
                  <a:pt x="252" y="185"/>
                </a:cubicBezTo>
                <a:cubicBezTo>
                  <a:pt x="253" y="186"/>
                  <a:pt x="253" y="186"/>
                  <a:pt x="253" y="186"/>
                </a:cubicBezTo>
                <a:cubicBezTo>
                  <a:pt x="252" y="188"/>
                  <a:pt x="252" y="188"/>
                  <a:pt x="252" y="188"/>
                </a:cubicBezTo>
                <a:cubicBezTo>
                  <a:pt x="252" y="190"/>
                  <a:pt x="252" y="190"/>
                  <a:pt x="252" y="190"/>
                </a:cubicBezTo>
                <a:cubicBezTo>
                  <a:pt x="252" y="190"/>
                  <a:pt x="252" y="190"/>
                  <a:pt x="252" y="190"/>
                </a:cubicBezTo>
                <a:cubicBezTo>
                  <a:pt x="253" y="194"/>
                  <a:pt x="253" y="194"/>
                  <a:pt x="253" y="194"/>
                </a:cubicBezTo>
                <a:cubicBezTo>
                  <a:pt x="254" y="195"/>
                  <a:pt x="254" y="195"/>
                  <a:pt x="254" y="195"/>
                </a:cubicBezTo>
                <a:cubicBezTo>
                  <a:pt x="255" y="197"/>
                  <a:pt x="255" y="197"/>
                  <a:pt x="255" y="197"/>
                </a:cubicBezTo>
                <a:cubicBezTo>
                  <a:pt x="254" y="198"/>
                  <a:pt x="254" y="198"/>
                  <a:pt x="254" y="198"/>
                </a:cubicBezTo>
                <a:cubicBezTo>
                  <a:pt x="254" y="198"/>
                  <a:pt x="254" y="198"/>
                  <a:pt x="254" y="198"/>
                </a:cubicBezTo>
                <a:cubicBezTo>
                  <a:pt x="254" y="200"/>
                  <a:pt x="254" y="200"/>
                  <a:pt x="254" y="200"/>
                </a:cubicBezTo>
                <a:cubicBezTo>
                  <a:pt x="254" y="201"/>
                  <a:pt x="254" y="201"/>
                  <a:pt x="254" y="201"/>
                </a:cubicBezTo>
                <a:cubicBezTo>
                  <a:pt x="254" y="202"/>
                  <a:pt x="254" y="202"/>
                  <a:pt x="254" y="202"/>
                </a:cubicBezTo>
                <a:cubicBezTo>
                  <a:pt x="253" y="204"/>
                  <a:pt x="253" y="204"/>
                  <a:pt x="253" y="204"/>
                </a:cubicBezTo>
                <a:cubicBezTo>
                  <a:pt x="252" y="206"/>
                  <a:pt x="252" y="206"/>
                  <a:pt x="252" y="206"/>
                </a:cubicBezTo>
                <a:cubicBezTo>
                  <a:pt x="251" y="207"/>
                  <a:pt x="251" y="207"/>
                  <a:pt x="251" y="207"/>
                </a:cubicBezTo>
                <a:cubicBezTo>
                  <a:pt x="251" y="208"/>
                  <a:pt x="251" y="208"/>
                  <a:pt x="251" y="208"/>
                </a:cubicBezTo>
                <a:cubicBezTo>
                  <a:pt x="250" y="209"/>
                  <a:pt x="250" y="209"/>
                  <a:pt x="250" y="209"/>
                </a:cubicBezTo>
                <a:cubicBezTo>
                  <a:pt x="249" y="209"/>
                  <a:pt x="249" y="209"/>
                  <a:pt x="249" y="209"/>
                </a:cubicBezTo>
                <a:cubicBezTo>
                  <a:pt x="248" y="209"/>
                  <a:pt x="248" y="209"/>
                  <a:pt x="248" y="209"/>
                </a:cubicBezTo>
                <a:cubicBezTo>
                  <a:pt x="247" y="208"/>
                  <a:pt x="247" y="208"/>
                  <a:pt x="247" y="208"/>
                </a:cubicBezTo>
                <a:cubicBezTo>
                  <a:pt x="246" y="208"/>
                  <a:pt x="246" y="208"/>
                  <a:pt x="246" y="208"/>
                </a:cubicBezTo>
                <a:cubicBezTo>
                  <a:pt x="247" y="207"/>
                  <a:pt x="247" y="207"/>
                  <a:pt x="247" y="207"/>
                </a:cubicBezTo>
                <a:cubicBezTo>
                  <a:pt x="245" y="206"/>
                  <a:pt x="245" y="206"/>
                  <a:pt x="245" y="206"/>
                </a:cubicBezTo>
                <a:cubicBezTo>
                  <a:pt x="245" y="205"/>
                  <a:pt x="245" y="205"/>
                  <a:pt x="245" y="205"/>
                </a:cubicBezTo>
                <a:cubicBezTo>
                  <a:pt x="245" y="204"/>
                  <a:pt x="245" y="204"/>
                  <a:pt x="245" y="204"/>
                </a:cubicBezTo>
                <a:cubicBezTo>
                  <a:pt x="244" y="204"/>
                  <a:pt x="244" y="204"/>
                  <a:pt x="244" y="204"/>
                </a:cubicBezTo>
                <a:cubicBezTo>
                  <a:pt x="243" y="204"/>
                  <a:pt x="243" y="204"/>
                  <a:pt x="243" y="204"/>
                </a:cubicBezTo>
                <a:cubicBezTo>
                  <a:pt x="243" y="202"/>
                  <a:pt x="243" y="202"/>
                  <a:pt x="243" y="202"/>
                </a:cubicBezTo>
                <a:cubicBezTo>
                  <a:pt x="243" y="201"/>
                  <a:pt x="243" y="201"/>
                  <a:pt x="243" y="201"/>
                </a:cubicBezTo>
                <a:cubicBezTo>
                  <a:pt x="242" y="200"/>
                  <a:pt x="242" y="200"/>
                  <a:pt x="242" y="200"/>
                </a:cubicBezTo>
                <a:cubicBezTo>
                  <a:pt x="241" y="199"/>
                  <a:pt x="241" y="199"/>
                  <a:pt x="241" y="199"/>
                </a:cubicBezTo>
                <a:cubicBezTo>
                  <a:pt x="242" y="198"/>
                  <a:pt x="242" y="198"/>
                  <a:pt x="242" y="198"/>
                </a:cubicBezTo>
                <a:cubicBezTo>
                  <a:pt x="242" y="197"/>
                  <a:pt x="242" y="197"/>
                  <a:pt x="242" y="197"/>
                </a:cubicBezTo>
                <a:cubicBezTo>
                  <a:pt x="243" y="196"/>
                  <a:pt x="243" y="196"/>
                  <a:pt x="243" y="196"/>
                </a:cubicBezTo>
                <a:cubicBezTo>
                  <a:pt x="242" y="197"/>
                  <a:pt x="242" y="197"/>
                  <a:pt x="242" y="197"/>
                </a:cubicBezTo>
                <a:cubicBezTo>
                  <a:pt x="241" y="196"/>
                  <a:pt x="241" y="196"/>
                  <a:pt x="241" y="196"/>
                </a:cubicBezTo>
                <a:cubicBezTo>
                  <a:pt x="241" y="197"/>
                  <a:pt x="241" y="197"/>
                  <a:pt x="241" y="197"/>
                </a:cubicBezTo>
                <a:cubicBezTo>
                  <a:pt x="241" y="197"/>
                  <a:pt x="241" y="197"/>
                  <a:pt x="241" y="197"/>
                </a:cubicBezTo>
                <a:cubicBezTo>
                  <a:pt x="241" y="196"/>
                  <a:pt x="241" y="196"/>
                  <a:pt x="241" y="196"/>
                </a:cubicBezTo>
                <a:cubicBezTo>
                  <a:pt x="240" y="196"/>
                  <a:pt x="240" y="196"/>
                  <a:pt x="240" y="196"/>
                </a:cubicBezTo>
                <a:cubicBezTo>
                  <a:pt x="240" y="196"/>
                  <a:pt x="240" y="196"/>
                  <a:pt x="240" y="196"/>
                </a:cubicBezTo>
                <a:cubicBezTo>
                  <a:pt x="239" y="195"/>
                  <a:pt x="239" y="195"/>
                  <a:pt x="239" y="195"/>
                </a:cubicBezTo>
                <a:cubicBezTo>
                  <a:pt x="239" y="194"/>
                  <a:pt x="239" y="194"/>
                  <a:pt x="239" y="194"/>
                </a:cubicBezTo>
                <a:cubicBezTo>
                  <a:pt x="239" y="193"/>
                  <a:pt x="239" y="193"/>
                  <a:pt x="239" y="193"/>
                </a:cubicBezTo>
                <a:cubicBezTo>
                  <a:pt x="240" y="191"/>
                  <a:pt x="240" y="191"/>
                  <a:pt x="240" y="191"/>
                </a:cubicBezTo>
                <a:cubicBezTo>
                  <a:pt x="240" y="190"/>
                  <a:pt x="240" y="190"/>
                  <a:pt x="240" y="190"/>
                </a:cubicBezTo>
                <a:cubicBezTo>
                  <a:pt x="239" y="189"/>
                  <a:pt x="239" y="189"/>
                  <a:pt x="239" y="189"/>
                </a:cubicBezTo>
                <a:cubicBezTo>
                  <a:pt x="239" y="190"/>
                  <a:pt x="239" y="190"/>
                  <a:pt x="239" y="190"/>
                </a:cubicBezTo>
                <a:cubicBezTo>
                  <a:pt x="239" y="190"/>
                  <a:pt x="239" y="190"/>
                  <a:pt x="239" y="190"/>
                </a:cubicBezTo>
                <a:cubicBezTo>
                  <a:pt x="238" y="191"/>
                  <a:pt x="238" y="191"/>
                  <a:pt x="238" y="191"/>
                </a:cubicBezTo>
                <a:cubicBezTo>
                  <a:pt x="238" y="191"/>
                  <a:pt x="238" y="191"/>
                  <a:pt x="238" y="191"/>
                </a:cubicBezTo>
                <a:cubicBezTo>
                  <a:pt x="237" y="190"/>
                  <a:pt x="237" y="190"/>
                  <a:pt x="237" y="190"/>
                </a:cubicBezTo>
                <a:cubicBezTo>
                  <a:pt x="237" y="189"/>
                  <a:pt x="237" y="189"/>
                  <a:pt x="237" y="189"/>
                </a:cubicBezTo>
                <a:cubicBezTo>
                  <a:pt x="239" y="187"/>
                  <a:pt x="239" y="187"/>
                  <a:pt x="239" y="187"/>
                </a:cubicBezTo>
                <a:cubicBezTo>
                  <a:pt x="239" y="184"/>
                  <a:pt x="239" y="184"/>
                  <a:pt x="239" y="184"/>
                </a:cubicBezTo>
                <a:cubicBezTo>
                  <a:pt x="239" y="183"/>
                  <a:pt x="239" y="183"/>
                  <a:pt x="239" y="183"/>
                </a:cubicBezTo>
                <a:cubicBezTo>
                  <a:pt x="239" y="181"/>
                  <a:pt x="239" y="181"/>
                  <a:pt x="239" y="181"/>
                </a:cubicBezTo>
                <a:cubicBezTo>
                  <a:pt x="238" y="181"/>
                  <a:pt x="238" y="181"/>
                  <a:pt x="238" y="181"/>
                </a:cubicBezTo>
                <a:cubicBezTo>
                  <a:pt x="237" y="180"/>
                  <a:pt x="237" y="180"/>
                  <a:pt x="237" y="180"/>
                </a:cubicBezTo>
                <a:cubicBezTo>
                  <a:pt x="237" y="179"/>
                  <a:pt x="237" y="179"/>
                  <a:pt x="237" y="179"/>
                </a:cubicBezTo>
                <a:cubicBezTo>
                  <a:pt x="237" y="179"/>
                  <a:pt x="237" y="179"/>
                  <a:pt x="237" y="179"/>
                </a:cubicBezTo>
                <a:cubicBezTo>
                  <a:pt x="236" y="179"/>
                  <a:pt x="236" y="179"/>
                  <a:pt x="236" y="179"/>
                </a:cubicBezTo>
                <a:cubicBezTo>
                  <a:pt x="236" y="177"/>
                  <a:pt x="236" y="177"/>
                  <a:pt x="236" y="177"/>
                </a:cubicBezTo>
                <a:cubicBezTo>
                  <a:pt x="235" y="177"/>
                  <a:pt x="235" y="177"/>
                  <a:pt x="235" y="177"/>
                </a:cubicBezTo>
                <a:cubicBezTo>
                  <a:pt x="235" y="177"/>
                  <a:pt x="235" y="177"/>
                  <a:pt x="235" y="177"/>
                </a:cubicBezTo>
                <a:cubicBezTo>
                  <a:pt x="234" y="174"/>
                  <a:pt x="234" y="174"/>
                  <a:pt x="234" y="174"/>
                </a:cubicBezTo>
                <a:cubicBezTo>
                  <a:pt x="232" y="174"/>
                  <a:pt x="232" y="174"/>
                  <a:pt x="232" y="174"/>
                </a:cubicBezTo>
                <a:cubicBezTo>
                  <a:pt x="232" y="174"/>
                  <a:pt x="232" y="174"/>
                  <a:pt x="232" y="174"/>
                </a:cubicBezTo>
                <a:cubicBezTo>
                  <a:pt x="230" y="174"/>
                  <a:pt x="230" y="174"/>
                  <a:pt x="230" y="174"/>
                </a:cubicBezTo>
                <a:cubicBezTo>
                  <a:pt x="230" y="174"/>
                  <a:pt x="230" y="174"/>
                  <a:pt x="230" y="174"/>
                </a:cubicBezTo>
                <a:cubicBezTo>
                  <a:pt x="230" y="175"/>
                  <a:pt x="230" y="175"/>
                  <a:pt x="230" y="175"/>
                </a:cubicBezTo>
                <a:cubicBezTo>
                  <a:pt x="229" y="175"/>
                  <a:pt x="229" y="175"/>
                  <a:pt x="229" y="175"/>
                </a:cubicBezTo>
                <a:cubicBezTo>
                  <a:pt x="229" y="175"/>
                  <a:pt x="229" y="175"/>
                  <a:pt x="229" y="175"/>
                </a:cubicBezTo>
                <a:cubicBezTo>
                  <a:pt x="227" y="176"/>
                  <a:pt x="227" y="176"/>
                  <a:pt x="227" y="176"/>
                </a:cubicBezTo>
                <a:cubicBezTo>
                  <a:pt x="226" y="176"/>
                  <a:pt x="226" y="176"/>
                  <a:pt x="226" y="176"/>
                </a:cubicBezTo>
                <a:cubicBezTo>
                  <a:pt x="224" y="177"/>
                  <a:pt x="224" y="177"/>
                  <a:pt x="224" y="177"/>
                </a:cubicBezTo>
                <a:cubicBezTo>
                  <a:pt x="224" y="176"/>
                  <a:pt x="224" y="176"/>
                  <a:pt x="224" y="176"/>
                </a:cubicBezTo>
                <a:cubicBezTo>
                  <a:pt x="224" y="176"/>
                  <a:pt x="224" y="176"/>
                  <a:pt x="224" y="176"/>
                </a:cubicBezTo>
                <a:cubicBezTo>
                  <a:pt x="224" y="176"/>
                  <a:pt x="224" y="176"/>
                  <a:pt x="224" y="176"/>
                </a:cubicBezTo>
                <a:cubicBezTo>
                  <a:pt x="225" y="176"/>
                  <a:pt x="225" y="176"/>
                  <a:pt x="225" y="176"/>
                </a:cubicBezTo>
                <a:cubicBezTo>
                  <a:pt x="224" y="175"/>
                  <a:pt x="224" y="175"/>
                  <a:pt x="224" y="175"/>
                </a:cubicBezTo>
                <a:cubicBezTo>
                  <a:pt x="224" y="175"/>
                  <a:pt x="224" y="175"/>
                  <a:pt x="224" y="175"/>
                </a:cubicBezTo>
                <a:cubicBezTo>
                  <a:pt x="222" y="174"/>
                  <a:pt x="222" y="174"/>
                  <a:pt x="222" y="174"/>
                </a:cubicBezTo>
                <a:cubicBezTo>
                  <a:pt x="222" y="173"/>
                  <a:pt x="222" y="173"/>
                  <a:pt x="222" y="173"/>
                </a:cubicBezTo>
                <a:cubicBezTo>
                  <a:pt x="223" y="174"/>
                  <a:pt x="223" y="174"/>
                  <a:pt x="223" y="174"/>
                </a:cubicBezTo>
                <a:cubicBezTo>
                  <a:pt x="223" y="173"/>
                  <a:pt x="223" y="173"/>
                  <a:pt x="223" y="173"/>
                </a:cubicBezTo>
                <a:cubicBezTo>
                  <a:pt x="222" y="173"/>
                  <a:pt x="222" y="173"/>
                  <a:pt x="222" y="173"/>
                </a:cubicBezTo>
                <a:cubicBezTo>
                  <a:pt x="222" y="172"/>
                  <a:pt x="222" y="172"/>
                  <a:pt x="222" y="172"/>
                </a:cubicBezTo>
                <a:cubicBezTo>
                  <a:pt x="221" y="172"/>
                  <a:pt x="221" y="172"/>
                  <a:pt x="221" y="172"/>
                </a:cubicBezTo>
                <a:cubicBezTo>
                  <a:pt x="221" y="172"/>
                  <a:pt x="221" y="172"/>
                  <a:pt x="221" y="172"/>
                </a:cubicBezTo>
                <a:cubicBezTo>
                  <a:pt x="222" y="173"/>
                  <a:pt x="222" y="173"/>
                  <a:pt x="222" y="173"/>
                </a:cubicBezTo>
                <a:cubicBezTo>
                  <a:pt x="221" y="173"/>
                  <a:pt x="221" y="173"/>
                  <a:pt x="221" y="173"/>
                </a:cubicBezTo>
                <a:cubicBezTo>
                  <a:pt x="220" y="172"/>
                  <a:pt x="220" y="172"/>
                  <a:pt x="220" y="172"/>
                </a:cubicBezTo>
                <a:cubicBezTo>
                  <a:pt x="218" y="172"/>
                  <a:pt x="218" y="172"/>
                  <a:pt x="218" y="172"/>
                </a:cubicBezTo>
                <a:cubicBezTo>
                  <a:pt x="217" y="172"/>
                  <a:pt x="217" y="172"/>
                  <a:pt x="217" y="172"/>
                </a:cubicBezTo>
                <a:cubicBezTo>
                  <a:pt x="217" y="171"/>
                  <a:pt x="217" y="171"/>
                  <a:pt x="217" y="171"/>
                </a:cubicBezTo>
                <a:cubicBezTo>
                  <a:pt x="218" y="171"/>
                  <a:pt x="218" y="171"/>
                  <a:pt x="218" y="171"/>
                </a:cubicBezTo>
                <a:cubicBezTo>
                  <a:pt x="219" y="171"/>
                  <a:pt x="219" y="171"/>
                  <a:pt x="219" y="171"/>
                </a:cubicBezTo>
                <a:cubicBezTo>
                  <a:pt x="219" y="171"/>
                  <a:pt x="219" y="171"/>
                  <a:pt x="219" y="171"/>
                </a:cubicBezTo>
                <a:cubicBezTo>
                  <a:pt x="217" y="171"/>
                  <a:pt x="217" y="171"/>
                  <a:pt x="217" y="171"/>
                </a:cubicBezTo>
                <a:cubicBezTo>
                  <a:pt x="216" y="172"/>
                  <a:pt x="216" y="172"/>
                  <a:pt x="216" y="172"/>
                </a:cubicBezTo>
                <a:cubicBezTo>
                  <a:pt x="216" y="171"/>
                  <a:pt x="216" y="171"/>
                  <a:pt x="216" y="171"/>
                </a:cubicBezTo>
                <a:cubicBezTo>
                  <a:pt x="214" y="172"/>
                  <a:pt x="214" y="172"/>
                  <a:pt x="214" y="172"/>
                </a:cubicBezTo>
                <a:cubicBezTo>
                  <a:pt x="213" y="171"/>
                  <a:pt x="213" y="171"/>
                  <a:pt x="213" y="171"/>
                </a:cubicBezTo>
                <a:cubicBezTo>
                  <a:pt x="212" y="171"/>
                  <a:pt x="212" y="171"/>
                  <a:pt x="212" y="171"/>
                </a:cubicBezTo>
                <a:cubicBezTo>
                  <a:pt x="210" y="171"/>
                  <a:pt x="210" y="171"/>
                  <a:pt x="210" y="171"/>
                </a:cubicBezTo>
                <a:cubicBezTo>
                  <a:pt x="209" y="172"/>
                  <a:pt x="209" y="172"/>
                  <a:pt x="209" y="172"/>
                </a:cubicBezTo>
                <a:cubicBezTo>
                  <a:pt x="208" y="171"/>
                  <a:pt x="208" y="171"/>
                  <a:pt x="208" y="171"/>
                </a:cubicBezTo>
                <a:cubicBezTo>
                  <a:pt x="208" y="170"/>
                  <a:pt x="208" y="170"/>
                  <a:pt x="208" y="170"/>
                </a:cubicBezTo>
                <a:cubicBezTo>
                  <a:pt x="208" y="169"/>
                  <a:pt x="208" y="169"/>
                  <a:pt x="208" y="169"/>
                </a:cubicBezTo>
                <a:cubicBezTo>
                  <a:pt x="207" y="169"/>
                  <a:pt x="207" y="169"/>
                  <a:pt x="207" y="169"/>
                </a:cubicBezTo>
                <a:cubicBezTo>
                  <a:pt x="207" y="170"/>
                  <a:pt x="207" y="170"/>
                  <a:pt x="207" y="170"/>
                </a:cubicBezTo>
                <a:cubicBezTo>
                  <a:pt x="206" y="171"/>
                  <a:pt x="206" y="171"/>
                  <a:pt x="206" y="171"/>
                </a:cubicBezTo>
                <a:cubicBezTo>
                  <a:pt x="205" y="171"/>
                  <a:pt x="205" y="171"/>
                  <a:pt x="205" y="171"/>
                </a:cubicBezTo>
                <a:cubicBezTo>
                  <a:pt x="205" y="171"/>
                  <a:pt x="205" y="171"/>
                  <a:pt x="205" y="171"/>
                </a:cubicBezTo>
                <a:cubicBezTo>
                  <a:pt x="203" y="171"/>
                  <a:pt x="203" y="171"/>
                  <a:pt x="203" y="171"/>
                </a:cubicBezTo>
                <a:cubicBezTo>
                  <a:pt x="199" y="172"/>
                  <a:pt x="199" y="172"/>
                  <a:pt x="199" y="172"/>
                </a:cubicBezTo>
                <a:cubicBezTo>
                  <a:pt x="198" y="173"/>
                  <a:pt x="198" y="173"/>
                  <a:pt x="198" y="173"/>
                </a:cubicBezTo>
                <a:cubicBezTo>
                  <a:pt x="196" y="173"/>
                  <a:pt x="196" y="173"/>
                  <a:pt x="196" y="173"/>
                </a:cubicBezTo>
                <a:cubicBezTo>
                  <a:pt x="195" y="175"/>
                  <a:pt x="195" y="175"/>
                  <a:pt x="195" y="175"/>
                </a:cubicBezTo>
                <a:cubicBezTo>
                  <a:pt x="195" y="176"/>
                  <a:pt x="195" y="176"/>
                  <a:pt x="195" y="176"/>
                </a:cubicBezTo>
                <a:cubicBezTo>
                  <a:pt x="196" y="175"/>
                  <a:pt x="196" y="175"/>
                  <a:pt x="196" y="175"/>
                </a:cubicBezTo>
                <a:cubicBezTo>
                  <a:pt x="197" y="174"/>
                  <a:pt x="197" y="174"/>
                  <a:pt x="197" y="174"/>
                </a:cubicBezTo>
                <a:cubicBezTo>
                  <a:pt x="197" y="175"/>
                  <a:pt x="197" y="175"/>
                  <a:pt x="197" y="175"/>
                </a:cubicBezTo>
                <a:cubicBezTo>
                  <a:pt x="198" y="175"/>
                  <a:pt x="198" y="175"/>
                  <a:pt x="198" y="175"/>
                </a:cubicBezTo>
                <a:cubicBezTo>
                  <a:pt x="199" y="176"/>
                  <a:pt x="199" y="176"/>
                  <a:pt x="199" y="176"/>
                </a:cubicBezTo>
                <a:cubicBezTo>
                  <a:pt x="198" y="176"/>
                  <a:pt x="198" y="176"/>
                  <a:pt x="198" y="176"/>
                </a:cubicBezTo>
                <a:cubicBezTo>
                  <a:pt x="196" y="177"/>
                  <a:pt x="196" y="177"/>
                  <a:pt x="196" y="177"/>
                </a:cubicBezTo>
                <a:cubicBezTo>
                  <a:pt x="196" y="178"/>
                  <a:pt x="196" y="178"/>
                  <a:pt x="196" y="178"/>
                </a:cubicBezTo>
                <a:cubicBezTo>
                  <a:pt x="197" y="179"/>
                  <a:pt x="197" y="179"/>
                  <a:pt x="197" y="179"/>
                </a:cubicBezTo>
                <a:cubicBezTo>
                  <a:pt x="199" y="179"/>
                  <a:pt x="199" y="179"/>
                  <a:pt x="199" y="179"/>
                </a:cubicBezTo>
                <a:cubicBezTo>
                  <a:pt x="200" y="181"/>
                  <a:pt x="200" y="181"/>
                  <a:pt x="200" y="181"/>
                </a:cubicBezTo>
                <a:cubicBezTo>
                  <a:pt x="200" y="181"/>
                  <a:pt x="200" y="181"/>
                  <a:pt x="200" y="181"/>
                </a:cubicBezTo>
                <a:cubicBezTo>
                  <a:pt x="199" y="181"/>
                  <a:pt x="199" y="181"/>
                  <a:pt x="199" y="181"/>
                </a:cubicBezTo>
                <a:cubicBezTo>
                  <a:pt x="199" y="182"/>
                  <a:pt x="199" y="182"/>
                  <a:pt x="199" y="182"/>
                </a:cubicBezTo>
                <a:cubicBezTo>
                  <a:pt x="199" y="181"/>
                  <a:pt x="199" y="181"/>
                  <a:pt x="199" y="181"/>
                </a:cubicBezTo>
                <a:cubicBezTo>
                  <a:pt x="198" y="180"/>
                  <a:pt x="198" y="180"/>
                  <a:pt x="198" y="180"/>
                </a:cubicBezTo>
                <a:cubicBezTo>
                  <a:pt x="197" y="181"/>
                  <a:pt x="197" y="181"/>
                  <a:pt x="197" y="181"/>
                </a:cubicBezTo>
                <a:cubicBezTo>
                  <a:pt x="197" y="180"/>
                  <a:pt x="197" y="180"/>
                  <a:pt x="197" y="180"/>
                </a:cubicBezTo>
                <a:cubicBezTo>
                  <a:pt x="196" y="179"/>
                  <a:pt x="196" y="179"/>
                  <a:pt x="196" y="179"/>
                </a:cubicBezTo>
                <a:cubicBezTo>
                  <a:pt x="195" y="178"/>
                  <a:pt x="195" y="178"/>
                  <a:pt x="195" y="178"/>
                </a:cubicBezTo>
                <a:cubicBezTo>
                  <a:pt x="194" y="178"/>
                  <a:pt x="194" y="178"/>
                  <a:pt x="194" y="178"/>
                </a:cubicBezTo>
                <a:cubicBezTo>
                  <a:pt x="194" y="179"/>
                  <a:pt x="194" y="179"/>
                  <a:pt x="194" y="179"/>
                </a:cubicBezTo>
                <a:cubicBezTo>
                  <a:pt x="194" y="181"/>
                  <a:pt x="194" y="181"/>
                  <a:pt x="194" y="181"/>
                </a:cubicBezTo>
                <a:cubicBezTo>
                  <a:pt x="193" y="181"/>
                  <a:pt x="193" y="181"/>
                  <a:pt x="193" y="181"/>
                </a:cubicBezTo>
                <a:cubicBezTo>
                  <a:pt x="193" y="180"/>
                  <a:pt x="193" y="180"/>
                  <a:pt x="193" y="180"/>
                </a:cubicBezTo>
                <a:cubicBezTo>
                  <a:pt x="192" y="180"/>
                  <a:pt x="192" y="180"/>
                  <a:pt x="192" y="180"/>
                </a:cubicBezTo>
                <a:cubicBezTo>
                  <a:pt x="191" y="180"/>
                  <a:pt x="191" y="180"/>
                  <a:pt x="191" y="180"/>
                </a:cubicBezTo>
                <a:cubicBezTo>
                  <a:pt x="190" y="181"/>
                  <a:pt x="190" y="181"/>
                  <a:pt x="190" y="181"/>
                </a:cubicBezTo>
                <a:cubicBezTo>
                  <a:pt x="189" y="181"/>
                  <a:pt x="189" y="181"/>
                  <a:pt x="189" y="181"/>
                </a:cubicBezTo>
                <a:cubicBezTo>
                  <a:pt x="188" y="180"/>
                  <a:pt x="188" y="180"/>
                  <a:pt x="188" y="180"/>
                </a:cubicBezTo>
                <a:cubicBezTo>
                  <a:pt x="187" y="180"/>
                  <a:pt x="187" y="180"/>
                  <a:pt x="187" y="180"/>
                </a:cubicBezTo>
                <a:cubicBezTo>
                  <a:pt x="186" y="180"/>
                  <a:pt x="186" y="180"/>
                  <a:pt x="186" y="180"/>
                </a:cubicBezTo>
                <a:cubicBezTo>
                  <a:pt x="187" y="179"/>
                  <a:pt x="187" y="179"/>
                  <a:pt x="187" y="179"/>
                </a:cubicBezTo>
                <a:cubicBezTo>
                  <a:pt x="187" y="179"/>
                  <a:pt x="187" y="179"/>
                  <a:pt x="187" y="179"/>
                </a:cubicBezTo>
                <a:cubicBezTo>
                  <a:pt x="187" y="178"/>
                  <a:pt x="187" y="178"/>
                  <a:pt x="187" y="178"/>
                </a:cubicBezTo>
                <a:cubicBezTo>
                  <a:pt x="186" y="178"/>
                  <a:pt x="186" y="178"/>
                  <a:pt x="186" y="178"/>
                </a:cubicBezTo>
                <a:cubicBezTo>
                  <a:pt x="185" y="178"/>
                  <a:pt x="185" y="178"/>
                  <a:pt x="185" y="178"/>
                </a:cubicBezTo>
                <a:cubicBezTo>
                  <a:pt x="185" y="177"/>
                  <a:pt x="185" y="177"/>
                  <a:pt x="185" y="177"/>
                </a:cubicBezTo>
                <a:cubicBezTo>
                  <a:pt x="185" y="176"/>
                  <a:pt x="185" y="176"/>
                  <a:pt x="185" y="176"/>
                </a:cubicBezTo>
                <a:cubicBezTo>
                  <a:pt x="184" y="177"/>
                  <a:pt x="184" y="177"/>
                  <a:pt x="184" y="177"/>
                </a:cubicBezTo>
                <a:cubicBezTo>
                  <a:pt x="183" y="176"/>
                  <a:pt x="183" y="176"/>
                  <a:pt x="183" y="176"/>
                </a:cubicBezTo>
                <a:cubicBezTo>
                  <a:pt x="184" y="176"/>
                  <a:pt x="184" y="176"/>
                  <a:pt x="184" y="176"/>
                </a:cubicBezTo>
                <a:cubicBezTo>
                  <a:pt x="183" y="175"/>
                  <a:pt x="183" y="175"/>
                  <a:pt x="183" y="175"/>
                </a:cubicBezTo>
                <a:cubicBezTo>
                  <a:pt x="182" y="176"/>
                  <a:pt x="182" y="176"/>
                  <a:pt x="182" y="176"/>
                </a:cubicBezTo>
                <a:cubicBezTo>
                  <a:pt x="182" y="176"/>
                  <a:pt x="182" y="176"/>
                  <a:pt x="182" y="176"/>
                </a:cubicBezTo>
                <a:cubicBezTo>
                  <a:pt x="182" y="177"/>
                  <a:pt x="182" y="177"/>
                  <a:pt x="182" y="177"/>
                </a:cubicBezTo>
                <a:cubicBezTo>
                  <a:pt x="181" y="177"/>
                  <a:pt x="181" y="177"/>
                  <a:pt x="181" y="177"/>
                </a:cubicBezTo>
                <a:cubicBezTo>
                  <a:pt x="177" y="177"/>
                  <a:pt x="177" y="177"/>
                  <a:pt x="177" y="177"/>
                </a:cubicBezTo>
                <a:cubicBezTo>
                  <a:pt x="177" y="176"/>
                  <a:pt x="177" y="176"/>
                  <a:pt x="177" y="176"/>
                </a:cubicBezTo>
                <a:cubicBezTo>
                  <a:pt x="174" y="176"/>
                  <a:pt x="174" y="176"/>
                  <a:pt x="174" y="176"/>
                </a:cubicBezTo>
                <a:cubicBezTo>
                  <a:pt x="172" y="176"/>
                  <a:pt x="172" y="176"/>
                  <a:pt x="172" y="176"/>
                </a:cubicBezTo>
                <a:cubicBezTo>
                  <a:pt x="170" y="176"/>
                  <a:pt x="170" y="176"/>
                  <a:pt x="170" y="176"/>
                </a:cubicBezTo>
                <a:cubicBezTo>
                  <a:pt x="169" y="177"/>
                  <a:pt x="169" y="177"/>
                  <a:pt x="169" y="177"/>
                </a:cubicBezTo>
                <a:cubicBezTo>
                  <a:pt x="168" y="177"/>
                  <a:pt x="168" y="177"/>
                  <a:pt x="168" y="177"/>
                </a:cubicBezTo>
                <a:cubicBezTo>
                  <a:pt x="167" y="178"/>
                  <a:pt x="167" y="178"/>
                  <a:pt x="167" y="178"/>
                </a:cubicBezTo>
                <a:cubicBezTo>
                  <a:pt x="166" y="178"/>
                  <a:pt x="166" y="178"/>
                  <a:pt x="166" y="178"/>
                </a:cubicBezTo>
                <a:cubicBezTo>
                  <a:pt x="166" y="177"/>
                  <a:pt x="166" y="177"/>
                  <a:pt x="166" y="177"/>
                </a:cubicBezTo>
                <a:cubicBezTo>
                  <a:pt x="166" y="176"/>
                  <a:pt x="166" y="176"/>
                  <a:pt x="166" y="176"/>
                </a:cubicBezTo>
                <a:cubicBezTo>
                  <a:pt x="167" y="175"/>
                  <a:pt x="167" y="175"/>
                  <a:pt x="167" y="175"/>
                </a:cubicBezTo>
                <a:cubicBezTo>
                  <a:pt x="166" y="174"/>
                  <a:pt x="166" y="174"/>
                  <a:pt x="166" y="174"/>
                </a:cubicBezTo>
                <a:cubicBezTo>
                  <a:pt x="166" y="175"/>
                  <a:pt x="166" y="175"/>
                  <a:pt x="166" y="175"/>
                </a:cubicBezTo>
                <a:cubicBezTo>
                  <a:pt x="165" y="176"/>
                  <a:pt x="165" y="176"/>
                  <a:pt x="165" y="176"/>
                </a:cubicBezTo>
                <a:cubicBezTo>
                  <a:pt x="164" y="176"/>
                  <a:pt x="164" y="176"/>
                  <a:pt x="164" y="176"/>
                </a:cubicBezTo>
                <a:cubicBezTo>
                  <a:pt x="163" y="175"/>
                  <a:pt x="163" y="175"/>
                  <a:pt x="163" y="175"/>
                </a:cubicBezTo>
                <a:cubicBezTo>
                  <a:pt x="164" y="177"/>
                  <a:pt x="164" y="177"/>
                  <a:pt x="164" y="177"/>
                </a:cubicBezTo>
                <a:cubicBezTo>
                  <a:pt x="164" y="178"/>
                  <a:pt x="164" y="178"/>
                  <a:pt x="164" y="178"/>
                </a:cubicBezTo>
                <a:cubicBezTo>
                  <a:pt x="164" y="179"/>
                  <a:pt x="164" y="179"/>
                  <a:pt x="164" y="179"/>
                </a:cubicBezTo>
                <a:cubicBezTo>
                  <a:pt x="164" y="180"/>
                  <a:pt x="164" y="180"/>
                  <a:pt x="164" y="180"/>
                </a:cubicBezTo>
                <a:cubicBezTo>
                  <a:pt x="163" y="180"/>
                  <a:pt x="163" y="180"/>
                  <a:pt x="163" y="180"/>
                </a:cubicBezTo>
                <a:cubicBezTo>
                  <a:pt x="161" y="182"/>
                  <a:pt x="161" y="182"/>
                  <a:pt x="161" y="182"/>
                </a:cubicBezTo>
                <a:cubicBezTo>
                  <a:pt x="158" y="183"/>
                  <a:pt x="158" y="183"/>
                  <a:pt x="158" y="183"/>
                </a:cubicBezTo>
                <a:cubicBezTo>
                  <a:pt x="157" y="183"/>
                  <a:pt x="157" y="183"/>
                  <a:pt x="157" y="183"/>
                </a:cubicBezTo>
                <a:cubicBezTo>
                  <a:pt x="156" y="184"/>
                  <a:pt x="156" y="184"/>
                  <a:pt x="156" y="184"/>
                </a:cubicBezTo>
                <a:cubicBezTo>
                  <a:pt x="155" y="184"/>
                  <a:pt x="155" y="184"/>
                  <a:pt x="155" y="184"/>
                </a:cubicBezTo>
                <a:cubicBezTo>
                  <a:pt x="156" y="183"/>
                  <a:pt x="156" y="183"/>
                  <a:pt x="156" y="183"/>
                </a:cubicBezTo>
                <a:cubicBezTo>
                  <a:pt x="155" y="183"/>
                  <a:pt x="155" y="183"/>
                  <a:pt x="155" y="183"/>
                </a:cubicBezTo>
                <a:cubicBezTo>
                  <a:pt x="155" y="183"/>
                  <a:pt x="155" y="183"/>
                  <a:pt x="155" y="183"/>
                </a:cubicBezTo>
                <a:cubicBezTo>
                  <a:pt x="154" y="183"/>
                  <a:pt x="154" y="183"/>
                  <a:pt x="154" y="183"/>
                </a:cubicBezTo>
                <a:cubicBezTo>
                  <a:pt x="153" y="183"/>
                  <a:pt x="153" y="183"/>
                  <a:pt x="153" y="183"/>
                </a:cubicBezTo>
                <a:cubicBezTo>
                  <a:pt x="154" y="184"/>
                  <a:pt x="154" y="184"/>
                  <a:pt x="154" y="184"/>
                </a:cubicBezTo>
                <a:cubicBezTo>
                  <a:pt x="153" y="184"/>
                  <a:pt x="153" y="184"/>
                  <a:pt x="153" y="184"/>
                </a:cubicBezTo>
                <a:cubicBezTo>
                  <a:pt x="152" y="184"/>
                  <a:pt x="152" y="184"/>
                  <a:pt x="152" y="184"/>
                </a:cubicBezTo>
                <a:cubicBezTo>
                  <a:pt x="152" y="185"/>
                  <a:pt x="152" y="185"/>
                  <a:pt x="152" y="185"/>
                </a:cubicBezTo>
                <a:cubicBezTo>
                  <a:pt x="151" y="186"/>
                  <a:pt x="151" y="186"/>
                  <a:pt x="151" y="186"/>
                </a:cubicBezTo>
                <a:cubicBezTo>
                  <a:pt x="150" y="186"/>
                  <a:pt x="150" y="186"/>
                  <a:pt x="150" y="186"/>
                </a:cubicBezTo>
                <a:cubicBezTo>
                  <a:pt x="149" y="187"/>
                  <a:pt x="149" y="187"/>
                  <a:pt x="149" y="187"/>
                </a:cubicBezTo>
                <a:cubicBezTo>
                  <a:pt x="150" y="188"/>
                  <a:pt x="150" y="188"/>
                  <a:pt x="150" y="188"/>
                </a:cubicBezTo>
                <a:cubicBezTo>
                  <a:pt x="149" y="189"/>
                  <a:pt x="149" y="189"/>
                  <a:pt x="149" y="189"/>
                </a:cubicBezTo>
                <a:cubicBezTo>
                  <a:pt x="148" y="189"/>
                  <a:pt x="148" y="189"/>
                  <a:pt x="148" y="189"/>
                </a:cubicBezTo>
                <a:cubicBezTo>
                  <a:pt x="148" y="192"/>
                  <a:pt x="148" y="192"/>
                  <a:pt x="148" y="192"/>
                </a:cubicBezTo>
                <a:cubicBezTo>
                  <a:pt x="147" y="193"/>
                  <a:pt x="147" y="193"/>
                  <a:pt x="147" y="193"/>
                </a:cubicBezTo>
                <a:cubicBezTo>
                  <a:pt x="147" y="195"/>
                  <a:pt x="147" y="195"/>
                  <a:pt x="147" y="195"/>
                </a:cubicBezTo>
                <a:cubicBezTo>
                  <a:pt x="146" y="196"/>
                  <a:pt x="146" y="196"/>
                  <a:pt x="146" y="196"/>
                </a:cubicBezTo>
                <a:cubicBezTo>
                  <a:pt x="146" y="197"/>
                  <a:pt x="146" y="197"/>
                  <a:pt x="146" y="197"/>
                </a:cubicBezTo>
                <a:cubicBezTo>
                  <a:pt x="146" y="200"/>
                  <a:pt x="146" y="200"/>
                  <a:pt x="146" y="200"/>
                </a:cubicBezTo>
                <a:cubicBezTo>
                  <a:pt x="147" y="201"/>
                  <a:pt x="147" y="201"/>
                  <a:pt x="147" y="201"/>
                </a:cubicBezTo>
                <a:cubicBezTo>
                  <a:pt x="146" y="202"/>
                  <a:pt x="146" y="202"/>
                  <a:pt x="146" y="202"/>
                </a:cubicBezTo>
                <a:cubicBezTo>
                  <a:pt x="146" y="204"/>
                  <a:pt x="146" y="204"/>
                  <a:pt x="146" y="204"/>
                </a:cubicBezTo>
                <a:cubicBezTo>
                  <a:pt x="145" y="204"/>
                  <a:pt x="145" y="204"/>
                  <a:pt x="145" y="204"/>
                </a:cubicBezTo>
                <a:cubicBezTo>
                  <a:pt x="145" y="203"/>
                  <a:pt x="145" y="203"/>
                  <a:pt x="145" y="203"/>
                </a:cubicBezTo>
                <a:cubicBezTo>
                  <a:pt x="144" y="203"/>
                  <a:pt x="144" y="203"/>
                  <a:pt x="144" y="203"/>
                </a:cubicBezTo>
                <a:cubicBezTo>
                  <a:pt x="142" y="202"/>
                  <a:pt x="142" y="202"/>
                  <a:pt x="142" y="202"/>
                </a:cubicBezTo>
                <a:cubicBezTo>
                  <a:pt x="140" y="201"/>
                  <a:pt x="140" y="201"/>
                  <a:pt x="140" y="201"/>
                </a:cubicBezTo>
                <a:cubicBezTo>
                  <a:pt x="139" y="200"/>
                  <a:pt x="139" y="200"/>
                  <a:pt x="139" y="200"/>
                </a:cubicBezTo>
                <a:cubicBezTo>
                  <a:pt x="138" y="200"/>
                  <a:pt x="138" y="200"/>
                  <a:pt x="138" y="200"/>
                </a:cubicBezTo>
                <a:cubicBezTo>
                  <a:pt x="138" y="200"/>
                  <a:pt x="138" y="200"/>
                  <a:pt x="138" y="200"/>
                </a:cubicBezTo>
                <a:cubicBezTo>
                  <a:pt x="137" y="200"/>
                  <a:pt x="137" y="200"/>
                  <a:pt x="137" y="200"/>
                </a:cubicBezTo>
                <a:cubicBezTo>
                  <a:pt x="137" y="200"/>
                  <a:pt x="137" y="200"/>
                  <a:pt x="137" y="200"/>
                </a:cubicBezTo>
                <a:cubicBezTo>
                  <a:pt x="136" y="199"/>
                  <a:pt x="136" y="199"/>
                  <a:pt x="136" y="199"/>
                </a:cubicBezTo>
                <a:cubicBezTo>
                  <a:pt x="136" y="197"/>
                  <a:pt x="136" y="197"/>
                  <a:pt x="136" y="197"/>
                </a:cubicBezTo>
                <a:cubicBezTo>
                  <a:pt x="135" y="194"/>
                  <a:pt x="135" y="194"/>
                  <a:pt x="135" y="194"/>
                </a:cubicBezTo>
                <a:cubicBezTo>
                  <a:pt x="135" y="193"/>
                  <a:pt x="135" y="193"/>
                  <a:pt x="135" y="193"/>
                </a:cubicBezTo>
                <a:cubicBezTo>
                  <a:pt x="135" y="193"/>
                  <a:pt x="135" y="193"/>
                  <a:pt x="135" y="193"/>
                </a:cubicBezTo>
                <a:cubicBezTo>
                  <a:pt x="135" y="192"/>
                  <a:pt x="135" y="192"/>
                  <a:pt x="135" y="192"/>
                </a:cubicBezTo>
                <a:cubicBezTo>
                  <a:pt x="135" y="191"/>
                  <a:pt x="135" y="191"/>
                  <a:pt x="135" y="191"/>
                </a:cubicBezTo>
                <a:cubicBezTo>
                  <a:pt x="134" y="189"/>
                  <a:pt x="134" y="189"/>
                  <a:pt x="134" y="189"/>
                </a:cubicBezTo>
                <a:cubicBezTo>
                  <a:pt x="134" y="188"/>
                  <a:pt x="134" y="188"/>
                  <a:pt x="134" y="188"/>
                </a:cubicBezTo>
                <a:cubicBezTo>
                  <a:pt x="133" y="187"/>
                  <a:pt x="133" y="187"/>
                  <a:pt x="133" y="187"/>
                </a:cubicBezTo>
                <a:cubicBezTo>
                  <a:pt x="132" y="187"/>
                  <a:pt x="132" y="187"/>
                  <a:pt x="132" y="187"/>
                </a:cubicBezTo>
                <a:cubicBezTo>
                  <a:pt x="132" y="186"/>
                  <a:pt x="132" y="186"/>
                  <a:pt x="132" y="186"/>
                </a:cubicBezTo>
                <a:cubicBezTo>
                  <a:pt x="132" y="186"/>
                  <a:pt x="132" y="186"/>
                  <a:pt x="132" y="186"/>
                </a:cubicBezTo>
                <a:cubicBezTo>
                  <a:pt x="131" y="183"/>
                  <a:pt x="131" y="183"/>
                  <a:pt x="131" y="183"/>
                </a:cubicBezTo>
                <a:cubicBezTo>
                  <a:pt x="130" y="182"/>
                  <a:pt x="130" y="182"/>
                  <a:pt x="130" y="182"/>
                </a:cubicBezTo>
                <a:cubicBezTo>
                  <a:pt x="130" y="182"/>
                  <a:pt x="130" y="182"/>
                  <a:pt x="130" y="182"/>
                </a:cubicBezTo>
                <a:cubicBezTo>
                  <a:pt x="130" y="181"/>
                  <a:pt x="130" y="181"/>
                  <a:pt x="130" y="181"/>
                </a:cubicBezTo>
                <a:cubicBezTo>
                  <a:pt x="129" y="180"/>
                  <a:pt x="129" y="180"/>
                  <a:pt x="129" y="180"/>
                </a:cubicBezTo>
                <a:cubicBezTo>
                  <a:pt x="129" y="179"/>
                  <a:pt x="129" y="179"/>
                  <a:pt x="129" y="179"/>
                </a:cubicBezTo>
                <a:cubicBezTo>
                  <a:pt x="129" y="178"/>
                  <a:pt x="129" y="178"/>
                  <a:pt x="129" y="178"/>
                </a:cubicBezTo>
                <a:cubicBezTo>
                  <a:pt x="128" y="176"/>
                  <a:pt x="128" y="176"/>
                  <a:pt x="128" y="176"/>
                </a:cubicBezTo>
                <a:cubicBezTo>
                  <a:pt x="126" y="175"/>
                  <a:pt x="126" y="175"/>
                  <a:pt x="126" y="175"/>
                </a:cubicBezTo>
                <a:cubicBezTo>
                  <a:pt x="126" y="174"/>
                  <a:pt x="126" y="174"/>
                  <a:pt x="126" y="174"/>
                </a:cubicBezTo>
                <a:cubicBezTo>
                  <a:pt x="125" y="174"/>
                  <a:pt x="125" y="174"/>
                  <a:pt x="125" y="174"/>
                </a:cubicBezTo>
                <a:cubicBezTo>
                  <a:pt x="124" y="174"/>
                  <a:pt x="124" y="174"/>
                  <a:pt x="124" y="174"/>
                </a:cubicBezTo>
                <a:cubicBezTo>
                  <a:pt x="124" y="174"/>
                  <a:pt x="124" y="174"/>
                  <a:pt x="124" y="174"/>
                </a:cubicBezTo>
                <a:cubicBezTo>
                  <a:pt x="123" y="173"/>
                  <a:pt x="123" y="173"/>
                  <a:pt x="123" y="173"/>
                </a:cubicBezTo>
                <a:cubicBezTo>
                  <a:pt x="122" y="174"/>
                  <a:pt x="122" y="174"/>
                  <a:pt x="122" y="174"/>
                </a:cubicBezTo>
                <a:cubicBezTo>
                  <a:pt x="121" y="173"/>
                  <a:pt x="121" y="173"/>
                  <a:pt x="121" y="173"/>
                </a:cubicBezTo>
                <a:cubicBezTo>
                  <a:pt x="120" y="173"/>
                  <a:pt x="120" y="173"/>
                  <a:pt x="120" y="173"/>
                </a:cubicBezTo>
                <a:cubicBezTo>
                  <a:pt x="120" y="174"/>
                  <a:pt x="120" y="174"/>
                  <a:pt x="120" y="174"/>
                </a:cubicBezTo>
                <a:cubicBezTo>
                  <a:pt x="119" y="174"/>
                  <a:pt x="119" y="174"/>
                  <a:pt x="119" y="174"/>
                </a:cubicBezTo>
                <a:cubicBezTo>
                  <a:pt x="119" y="174"/>
                  <a:pt x="119" y="174"/>
                  <a:pt x="119" y="174"/>
                </a:cubicBezTo>
                <a:cubicBezTo>
                  <a:pt x="119" y="174"/>
                  <a:pt x="119" y="174"/>
                  <a:pt x="119" y="174"/>
                </a:cubicBezTo>
                <a:cubicBezTo>
                  <a:pt x="118" y="174"/>
                  <a:pt x="118" y="174"/>
                  <a:pt x="118" y="174"/>
                </a:cubicBezTo>
                <a:cubicBezTo>
                  <a:pt x="117" y="175"/>
                  <a:pt x="117" y="175"/>
                  <a:pt x="117" y="175"/>
                </a:cubicBezTo>
                <a:cubicBezTo>
                  <a:pt x="116" y="177"/>
                  <a:pt x="116" y="177"/>
                  <a:pt x="116" y="177"/>
                </a:cubicBezTo>
                <a:cubicBezTo>
                  <a:pt x="116" y="177"/>
                  <a:pt x="116" y="177"/>
                  <a:pt x="116" y="177"/>
                </a:cubicBezTo>
                <a:cubicBezTo>
                  <a:pt x="116" y="178"/>
                  <a:pt x="116" y="178"/>
                  <a:pt x="116" y="178"/>
                </a:cubicBezTo>
                <a:cubicBezTo>
                  <a:pt x="116" y="178"/>
                  <a:pt x="116" y="178"/>
                  <a:pt x="116" y="178"/>
                </a:cubicBezTo>
                <a:cubicBezTo>
                  <a:pt x="115" y="178"/>
                  <a:pt x="115" y="178"/>
                  <a:pt x="115" y="178"/>
                </a:cubicBezTo>
                <a:cubicBezTo>
                  <a:pt x="114" y="179"/>
                  <a:pt x="114" y="179"/>
                  <a:pt x="114" y="179"/>
                </a:cubicBezTo>
                <a:cubicBezTo>
                  <a:pt x="114" y="179"/>
                  <a:pt x="114" y="179"/>
                  <a:pt x="114" y="179"/>
                </a:cubicBezTo>
                <a:cubicBezTo>
                  <a:pt x="114" y="180"/>
                  <a:pt x="114" y="180"/>
                  <a:pt x="114" y="180"/>
                </a:cubicBezTo>
                <a:cubicBezTo>
                  <a:pt x="113" y="180"/>
                  <a:pt x="113" y="180"/>
                  <a:pt x="113" y="180"/>
                </a:cubicBezTo>
                <a:cubicBezTo>
                  <a:pt x="113" y="179"/>
                  <a:pt x="113" y="179"/>
                  <a:pt x="113" y="179"/>
                </a:cubicBezTo>
                <a:cubicBezTo>
                  <a:pt x="111" y="178"/>
                  <a:pt x="111" y="178"/>
                  <a:pt x="111" y="178"/>
                </a:cubicBezTo>
                <a:cubicBezTo>
                  <a:pt x="110" y="178"/>
                  <a:pt x="110" y="178"/>
                  <a:pt x="110" y="178"/>
                </a:cubicBezTo>
                <a:cubicBezTo>
                  <a:pt x="110" y="178"/>
                  <a:pt x="110" y="178"/>
                  <a:pt x="110" y="178"/>
                </a:cubicBezTo>
                <a:cubicBezTo>
                  <a:pt x="109" y="177"/>
                  <a:pt x="109" y="177"/>
                  <a:pt x="109" y="177"/>
                </a:cubicBezTo>
                <a:cubicBezTo>
                  <a:pt x="108" y="177"/>
                  <a:pt x="108" y="177"/>
                  <a:pt x="108" y="177"/>
                </a:cubicBezTo>
                <a:cubicBezTo>
                  <a:pt x="108" y="177"/>
                  <a:pt x="108" y="177"/>
                  <a:pt x="108" y="177"/>
                </a:cubicBezTo>
                <a:cubicBezTo>
                  <a:pt x="108" y="176"/>
                  <a:pt x="108" y="176"/>
                  <a:pt x="108" y="176"/>
                </a:cubicBezTo>
                <a:cubicBezTo>
                  <a:pt x="107" y="176"/>
                  <a:pt x="107" y="176"/>
                  <a:pt x="107" y="176"/>
                </a:cubicBezTo>
                <a:cubicBezTo>
                  <a:pt x="107" y="175"/>
                  <a:pt x="107" y="175"/>
                  <a:pt x="107" y="175"/>
                </a:cubicBezTo>
                <a:cubicBezTo>
                  <a:pt x="106" y="175"/>
                  <a:pt x="106" y="175"/>
                  <a:pt x="106" y="175"/>
                </a:cubicBezTo>
                <a:cubicBezTo>
                  <a:pt x="106" y="175"/>
                  <a:pt x="106" y="175"/>
                  <a:pt x="106" y="175"/>
                </a:cubicBezTo>
                <a:cubicBezTo>
                  <a:pt x="106" y="175"/>
                  <a:pt x="106" y="175"/>
                  <a:pt x="106" y="175"/>
                </a:cubicBezTo>
                <a:cubicBezTo>
                  <a:pt x="106" y="175"/>
                  <a:pt x="106" y="175"/>
                  <a:pt x="106" y="175"/>
                </a:cubicBezTo>
                <a:cubicBezTo>
                  <a:pt x="105" y="174"/>
                  <a:pt x="105" y="174"/>
                  <a:pt x="105" y="174"/>
                </a:cubicBezTo>
                <a:cubicBezTo>
                  <a:pt x="104" y="173"/>
                  <a:pt x="104" y="173"/>
                  <a:pt x="104" y="173"/>
                </a:cubicBezTo>
                <a:cubicBezTo>
                  <a:pt x="103" y="171"/>
                  <a:pt x="103" y="171"/>
                  <a:pt x="103" y="171"/>
                </a:cubicBezTo>
                <a:cubicBezTo>
                  <a:pt x="103" y="171"/>
                  <a:pt x="103" y="171"/>
                  <a:pt x="103" y="171"/>
                </a:cubicBezTo>
                <a:cubicBezTo>
                  <a:pt x="104" y="171"/>
                  <a:pt x="104" y="171"/>
                  <a:pt x="104" y="171"/>
                </a:cubicBezTo>
                <a:cubicBezTo>
                  <a:pt x="104" y="171"/>
                  <a:pt x="104" y="171"/>
                  <a:pt x="104" y="171"/>
                </a:cubicBezTo>
                <a:cubicBezTo>
                  <a:pt x="104" y="170"/>
                  <a:pt x="104" y="170"/>
                  <a:pt x="104" y="170"/>
                </a:cubicBezTo>
                <a:cubicBezTo>
                  <a:pt x="104" y="169"/>
                  <a:pt x="104" y="169"/>
                  <a:pt x="104" y="169"/>
                </a:cubicBezTo>
                <a:cubicBezTo>
                  <a:pt x="103" y="168"/>
                  <a:pt x="103" y="168"/>
                  <a:pt x="103" y="168"/>
                </a:cubicBezTo>
                <a:cubicBezTo>
                  <a:pt x="103" y="168"/>
                  <a:pt x="103" y="168"/>
                  <a:pt x="103" y="168"/>
                </a:cubicBezTo>
                <a:cubicBezTo>
                  <a:pt x="103" y="168"/>
                  <a:pt x="103" y="168"/>
                  <a:pt x="103" y="168"/>
                </a:cubicBezTo>
                <a:cubicBezTo>
                  <a:pt x="103" y="166"/>
                  <a:pt x="103" y="166"/>
                  <a:pt x="103" y="166"/>
                </a:cubicBezTo>
                <a:cubicBezTo>
                  <a:pt x="102" y="166"/>
                  <a:pt x="102" y="166"/>
                  <a:pt x="102" y="166"/>
                </a:cubicBezTo>
                <a:cubicBezTo>
                  <a:pt x="101" y="165"/>
                  <a:pt x="101" y="165"/>
                  <a:pt x="101" y="165"/>
                </a:cubicBezTo>
                <a:cubicBezTo>
                  <a:pt x="100" y="165"/>
                  <a:pt x="100" y="165"/>
                  <a:pt x="100" y="165"/>
                </a:cubicBezTo>
                <a:cubicBezTo>
                  <a:pt x="101" y="164"/>
                  <a:pt x="101" y="164"/>
                  <a:pt x="101" y="164"/>
                </a:cubicBezTo>
                <a:cubicBezTo>
                  <a:pt x="101" y="164"/>
                  <a:pt x="101" y="164"/>
                  <a:pt x="101" y="164"/>
                </a:cubicBezTo>
                <a:cubicBezTo>
                  <a:pt x="100" y="163"/>
                  <a:pt x="100" y="163"/>
                  <a:pt x="100" y="163"/>
                </a:cubicBezTo>
                <a:cubicBezTo>
                  <a:pt x="99" y="163"/>
                  <a:pt x="99" y="163"/>
                  <a:pt x="99" y="163"/>
                </a:cubicBezTo>
                <a:cubicBezTo>
                  <a:pt x="99" y="162"/>
                  <a:pt x="99" y="162"/>
                  <a:pt x="99" y="162"/>
                </a:cubicBezTo>
                <a:cubicBezTo>
                  <a:pt x="98" y="161"/>
                  <a:pt x="98" y="161"/>
                  <a:pt x="98" y="161"/>
                </a:cubicBezTo>
                <a:cubicBezTo>
                  <a:pt x="98" y="161"/>
                  <a:pt x="98" y="161"/>
                  <a:pt x="98" y="161"/>
                </a:cubicBezTo>
                <a:cubicBezTo>
                  <a:pt x="98" y="161"/>
                  <a:pt x="98" y="161"/>
                  <a:pt x="98" y="161"/>
                </a:cubicBezTo>
                <a:cubicBezTo>
                  <a:pt x="97" y="160"/>
                  <a:pt x="97" y="160"/>
                  <a:pt x="97" y="160"/>
                </a:cubicBezTo>
                <a:cubicBezTo>
                  <a:pt x="96" y="158"/>
                  <a:pt x="96" y="158"/>
                  <a:pt x="96" y="158"/>
                </a:cubicBezTo>
                <a:cubicBezTo>
                  <a:pt x="95" y="158"/>
                  <a:pt x="95" y="158"/>
                  <a:pt x="95" y="158"/>
                </a:cubicBezTo>
                <a:cubicBezTo>
                  <a:pt x="85" y="157"/>
                  <a:pt x="85" y="157"/>
                  <a:pt x="85" y="157"/>
                </a:cubicBezTo>
                <a:cubicBezTo>
                  <a:pt x="85" y="160"/>
                  <a:pt x="85" y="160"/>
                  <a:pt x="85" y="160"/>
                </a:cubicBezTo>
                <a:cubicBezTo>
                  <a:pt x="67" y="159"/>
                  <a:pt x="67" y="159"/>
                  <a:pt x="67" y="159"/>
                </a:cubicBezTo>
                <a:cubicBezTo>
                  <a:pt x="45" y="149"/>
                  <a:pt x="45" y="149"/>
                  <a:pt x="45" y="149"/>
                </a:cubicBezTo>
                <a:cubicBezTo>
                  <a:pt x="46" y="149"/>
                  <a:pt x="46" y="149"/>
                  <a:pt x="46" y="149"/>
                </a:cubicBezTo>
                <a:cubicBezTo>
                  <a:pt x="45" y="148"/>
                  <a:pt x="45" y="148"/>
                  <a:pt x="45" y="148"/>
                </a:cubicBezTo>
                <a:cubicBezTo>
                  <a:pt x="30" y="149"/>
                  <a:pt x="30" y="149"/>
                  <a:pt x="30" y="149"/>
                </a:cubicBezTo>
                <a:cubicBezTo>
                  <a:pt x="30" y="148"/>
                  <a:pt x="30" y="148"/>
                  <a:pt x="30" y="148"/>
                </a:cubicBezTo>
                <a:cubicBezTo>
                  <a:pt x="30" y="146"/>
                  <a:pt x="30" y="146"/>
                  <a:pt x="30" y="146"/>
                </a:cubicBezTo>
                <a:cubicBezTo>
                  <a:pt x="30" y="144"/>
                  <a:pt x="30" y="144"/>
                  <a:pt x="30" y="144"/>
                </a:cubicBezTo>
                <a:cubicBezTo>
                  <a:pt x="28" y="141"/>
                  <a:pt x="28" y="141"/>
                  <a:pt x="28" y="141"/>
                </a:cubicBezTo>
                <a:cubicBezTo>
                  <a:pt x="27" y="139"/>
                  <a:pt x="27" y="139"/>
                  <a:pt x="27" y="139"/>
                </a:cubicBezTo>
                <a:cubicBezTo>
                  <a:pt x="26" y="140"/>
                  <a:pt x="26" y="140"/>
                  <a:pt x="26" y="140"/>
                </a:cubicBezTo>
                <a:cubicBezTo>
                  <a:pt x="25" y="140"/>
                  <a:pt x="25" y="140"/>
                  <a:pt x="25" y="140"/>
                </a:cubicBezTo>
                <a:cubicBezTo>
                  <a:pt x="25" y="139"/>
                  <a:pt x="25" y="139"/>
                  <a:pt x="25" y="139"/>
                </a:cubicBezTo>
                <a:cubicBezTo>
                  <a:pt x="25" y="138"/>
                  <a:pt x="25" y="138"/>
                  <a:pt x="25" y="138"/>
                </a:cubicBezTo>
                <a:cubicBezTo>
                  <a:pt x="25" y="138"/>
                  <a:pt x="25" y="138"/>
                  <a:pt x="25" y="138"/>
                </a:cubicBezTo>
                <a:cubicBezTo>
                  <a:pt x="23" y="137"/>
                  <a:pt x="23" y="137"/>
                  <a:pt x="23" y="137"/>
                </a:cubicBezTo>
                <a:cubicBezTo>
                  <a:pt x="22" y="137"/>
                  <a:pt x="22" y="137"/>
                  <a:pt x="22" y="137"/>
                </a:cubicBezTo>
                <a:cubicBezTo>
                  <a:pt x="20" y="136"/>
                  <a:pt x="20" y="136"/>
                  <a:pt x="20" y="136"/>
                </a:cubicBezTo>
                <a:cubicBezTo>
                  <a:pt x="20" y="135"/>
                  <a:pt x="20" y="135"/>
                  <a:pt x="20" y="135"/>
                </a:cubicBezTo>
                <a:cubicBezTo>
                  <a:pt x="19" y="134"/>
                  <a:pt x="19" y="134"/>
                  <a:pt x="19" y="134"/>
                </a:cubicBezTo>
                <a:cubicBezTo>
                  <a:pt x="18" y="134"/>
                  <a:pt x="18" y="134"/>
                  <a:pt x="18" y="134"/>
                </a:cubicBezTo>
                <a:cubicBezTo>
                  <a:pt x="17" y="134"/>
                  <a:pt x="17" y="134"/>
                  <a:pt x="17" y="134"/>
                </a:cubicBezTo>
                <a:cubicBezTo>
                  <a:pt x="16" y="133"/>
                  <a:pt x="16" y="133"/>
                  <a:pt x="16" y="133"/>
                </a:cubicBezTo>
                <a:cubicBezTo>
                  <a:pt x="15" y="133"/>
                  <a:pt x="15" y="133"/>
                  <a:pt x="15" y="133"/>
                </a:cubicBezTo>
                <a:cubicBezTo>
                  <a:pt x="12" y="133"/>
                  <a:pt x="12" y="133"/>
                  <a:pt x="12" y="133"/>
                </a:cubicBezTo>
                <a:cubicBezTo>
                  <a:pt x="12" y="133"/>
                  <a:pt x="12" y="133"/>
                  <a:pt x="12" y="133"/>
                </a:cubicBezTo>
                <a:cubicBezTo>
                  <a:pt x="11" y="132"/>
                  <a:pt x="11" y="132"/>
                  <a:pt x="11" y="132"/>
                </a:cubicBezTo>
                <a:cubicBezTo>
                  <a:pt x="12" y="131"/>
                  <a:pt x="12" y="131"/>
                  <a:pt x="12" y="131"/>
                </a:cubicBezTo>
                <a:cubicBezTo>
                  <a:pt x="12" y="130"/>
                  <a:pt x="12" y="130"/>
                  <a:pt x="12" y="130"/>
                </a:cubicBezTo>
                <a:cubicBezTo>
                  <a:pt x="13" y="129"/>
                  <a:pt x="13" y="129"/>
                  <a:pt x="13" y="129"/>
                </a:cubicBezTo>
                <a:cubicBezTo>
                  <a:pt x="12" y="127"/>
                  <a:pt x="12" y="127"/>
                  <a:pt x="12" y="127"/>
                </a:cubicBezTo>
                <a:cubicBezTo>
                  <a:pt x="11" y="126"/>
                  <a:pt x="11" y="126"/>
                  <a:pt x="11" y="126"/>
                </a:cubicBezTo>
                <a:cubicBezTo>
                  <a:pt x="11" y="126"/>
                  <a:pt x="11" y="126"/>
                  <a:pt x="11" y="126"/>
                </a:cubicBezTo>
                <a:cubicBezTo>
                  <a:pt x="11" y="125"/>
                  <a:pt x="11" y="125"/>
                  <a:pt x="11" y="125"/>
                </a:cubicBezTo>
                <a:cubicBezTo>
                  <a:pt x="11" y="125"/>
                  <a:pt x="11" y="125"/>
                  <a:pt x="11" y="125"/>
                </a:cubicBezTo>
                <a:cubicBezTo>
                  <a:pt x="10" y="124"/>
                  <a:pt x="10" y="124"/>
                  <a:pt x="10" y="124"/>
                </a:cubicBezTo>
                <a:cubicBezTo>
                  <a:pt x="8" y="121"/>
                  <a:pt x="8" y="121"/>
                  <a:pt x="8" y="121"/>
                </a:cubicBezTo>
                <a:cubicBezTo>
                  <a:pt x="8" y="119"/>
                  <a:pt x="8" y="119"/>
                  <a:pt x="8" y="119"/>
                </a:cubicBezTo>
                <a:cubicBezTo>
                  <a:pt x="7" y="118"/>
                  <a:pt x="7" y="118"/>
                  <a:pt x="7" y="118"/>
                </a:cubicBezTo>
                <a:cubicBezTo>
                  <a:pt x="7" y="117"/>
                  <a:pt x="7" y="117"/>
                  <a:pt x="7" y="117"/>
                </a:cubicBezTo>
                <a:cubicBezTo>
                  <a:pt x="7" y="116"/>
                  <a:pt x="7" y="116"/>
                  <a:pt x="7" y="116"/>
                </a:cubicBezTo>
                <a:cubicBezTo>
                  <a:pt x="7" y="115"/>
                  <a:pt x="7" y="115"/>
                  <a:pt x="7" y="115"/>
                </a:cubicBezTo>
                <a:cubicBezTo>
                  <a:pt x="7" y="114"/>
                  <a:pt x="7" y="114"/>
                  <a:pt x="7" y="114"/>
                </a:cubicBezTo>
                <a:cubicBezTo>
                  <a:pt x="7" y="114"/>
                  <a:pt x="7" y="114"/>
                  <a:pt x="7" y="114"/>
                </a:cubicBezTo>
                <a:cubicBezTo>
                  <a:pt x="8" y="113"/>
                  <a:pt x="8" y="113"/>
                  <a:pt x="8" y="113"/>
                </a:cubicBezTo>
                <a:cubicBezTo>
                  <a:pt x="8" y="112"/>
                  <a:pt x="8" y="112"/>
                  <a:pt x="8" y="112"/>
                </a:cubicBezTo>
                <a:cubicBezTo>
                  <a:pt x="7" y="112"/>
                  <a:pt x="7" y="112"/>
                  <a:pt x="7" y="112"/>
                </a:cubicBezTo>
                <a:cubicBezTo>
                  <a:pt x="7" y="111"/>
                  <a:pt x="7" y="111"/>
                  <a:pt x="7" y="111"/>
                </a:cubicBezTo>
                <a:cubicBezTo>
                  <a:pt x="6" y="110"/>
                  <a:pt x="6" y="110"/>
                  <a:pt x="6" y="110"/>
                </a:cubicBezTo>
                <a:cubicBezTo>
                  <a:pt x="6" y="109"/>
                  <a:pt x="6" y="109"/>
                  <a:pt x="6" y="109"/>
                </a:cubicBezTo>
                <a:cubicBezTo>
                  <a:pt x="6" y="108"/>
                  <a:pt x="6" y="108"/>
                  <a:pt x="6" y="108"/>
                </a:cubicBezTo>
                <a:cubicBezTo>
                  <a:pt x="6" y="107"/>
                  <a:pt x="6" y="107"/>
                  <a:pt x="6" y="107"/>
                </a:cubicBezTo>
                <a:cubicBezTo>
                  <a:pt x="6" y="107"/>
                  <a:pt x="6" y="107"/>
                  <a:pt x="6" y="107"/>
                </a:cubicBezTo>
                <a:cubicBezTo>
                  <a:pt x="6" y="106"/>
                  <a:pt x="6" y="106"/>
                  <a:pt x="6" y="106"/>
                </a:cubicBezTo>
                <a:cubicBezTo>
                  <a:pt x="6" y="105"/>
                  <a:pt x="6" y="105"/>
                  <a:pt x="6" y="105"/>
                </a:cubicBezTo>
                <a:cubicBezTo>
                  <a:pt x="7" y="105"/>
                  <a:pt x="7" y="105"/>
                  <a:pt x="7" y="105"/>
                </a:cubicBezTo>
                <a:cubicBezTo>
                  <a:pt x="7" y="105"/>
                  <a:pt x="7" y="105"/>
                  <a:pt x="7" y="105"/>
                </a:cubicBezTo>
                <a:cubicBezTo>
                  <a:pt x="8" y="106"/>
                  <a:pt x="8" y="106"/>
                  <a:pt x="8" y="106"/>
                </a:cubicBezTo>
                <a:cubicBezTo>
                  <a:pt x="9" y="107"/>
                  <a:pt x="9" y="107"/>
                  <a:pt x="9" y="107"/>
                </a:cubicBezTo>
                <a:cubicBezTo>
                  <a:pt x="8" y="106"/>
                  <a:pt x="8" y="106"/>
                  <a:pt x="8" y="106"/>
                </a:cubicBezTo>
                <a:cubicBezTo>
                  <a:pt x="8" y="105"/>
                  <a:pt x="8" y="105"/>
                  <a:pt x="8" y="105"/>
                </a:cubicBezTo>
                <a:cubicBezTo>
                  <a:pt x="8" y="104"/>
                  <a:pt x="8" y="104"/>
                  <a:pt x="8" y="104"/>
                </a:cubicBezTo>
                <a:cubicBezTo>
                  <a:pt x="7" y="103"/>
                  <a:pt x="7" y="103"/>
                  <a:pt x="7" y="103"/>
                </a:cubicBezTo>
                <a:cubicBezTo>
                  <a:pt x="7" y="102"/>
                  <a:pt x="7" y="102"/>
                  <a:pt x="7" y="102"/>
                </a:cubicBezTo>
                <a:cubicBezTo>
                  <a:pt x="8" y="102"/>
                  <a:pt x="8" y="102"/>
                  <a:pt x="8" y="102"/>
                </a:cubicBezTo>
                <a:cubicBezTo>
                  <a:pt x="8" y="103"/>
                  <a:pt x="8" y="103"/>
                  <a:pt x="8" y="103"/>
                </a:cubicBezTo>
                <a:cubicBezTo>
                  <a:pt x="9" y="103"/>
                  <a:pt x="9" y="103"/>
                  <a:pt x="9" y="103"/>
                </a:cubicBezTo>
                <a:cubicBezTo>
                  <a:pt x="11" y="102"/>
                  <a:pt x="11" y="102"/>
                  <a:pt x="11" y="102"/>
                </a:cubicBezTo>
                <a:cubicBezTo>
                  <a:pt x="9" y="102"/>
                  <a:pt x="9" y="102"/>
                  <a:pt x="9" y="102"/>
                </a:cubicBezTo>
                <a:cubicBezTo>
                  <a:pt x="9" y="102"/>
                  <a:pt x="9" y="102"/>
                  <a:pt x="9" y="102"/>
                </a:cubicBezTo>
                <a:cubicBezTo>
                  <a:pt x="8" y="102"/>
                  <a:pt x="8" y="102"/>
                  <a:pt x="8" y="102"/>
                </a:cubicBezTo>
                <a:cubicBezTo>
                  <a:pt x="8" y="101"/>
                  <a:pt x="8" y="101"/>
                  <a:pt x="8" y="101"/>
                </a:cubicBezTo>
                <a:cubicBezTo>
                  <a:pt x="7" y="101"/>
                  <a:pt x="7" y="101"/>
                  <a:pt x="7" y="101"/>
                </a:cubicBezTo>
                <a:cubicBezTo>
                  <a:pt x="6" y="101"/>
                  <a:pt x="6" y="101"/>
                  <a:pt x="6" y="101"/>
                </a:cubicBezTo>
                <a:cubicBezTo>
                  <a:pt x="6" y="102"/>
                  <a:pt x="6" y="102"/>
                  <a:pt x="6" y="102"/>
                </a:cubicBezTo>
                <a:cubicBezTo>
                  <a:pt x="6" y="104"/>
                  <a:pt x="6" y="104"/>
                  <a:pt x="6" y="104"/>
                </a:cubicBezTo>
                <a:cubicBezTo>
                  <a:pt x="6" y="103"/>
                  <a:pt x="6" y="103"/>
                  <a:pt x="6" y="103"/>
                </a:cubicBezTo>
                <a:cubicBezTo>
                  <a:pt x="6" y="103"/>
                  <a:pt x="6" y="103"/>
                  <a:pt x="6" y="103"/>
                </a:cubicBezTo>
                <a:cubicBezTo>
                  <a:pt x="5" y="103"/>
                  <a:pt x="5" y="103"/>
                  <a:pt x="5" y="103"/>
                </a:cubicBezTo>
                <a:cubicBezTo>
                  <a:pt x="4" y="102"/>
                  <a:pt x="4" y="102"/>
                  <a:pt x="4" y="102"/>
                </a:cubicBezTo>
                <a:cubicBezTo>
                  <a:pt x="4" y="101"/>
                  <a:pt x="4" y="101"/>
                  <a:pt x="4" y="101"/>
                </a:cubicBezTo>
                <a:cubicBezTo>
                  <a:pt x="4" y="100"/>
                  <a:pt x="4" y="100"/>
                  <a:pt x="4" y="100"/>
                </a:cubicBezTo>
                <a:cubicBezTo>
                  <a:pt x="4" y="99"/>
                  <a:pt x="4" y="99"/>
                  <a:pt x="4" y="99"/>
                </a:cubicBezTo>
                <a:cubicBezTo>
                  <a:pt x="1" y="95"/>
                  <a:pt x="1" y="95"/>
                  <a:pt x="1" y="95"/>
                </a:cubicBezTo>
                <a:cubicBezTo>
                  <a:pt x="1" y="94"/>
                  <a:pt x="1" y="94"/>
                  <a:pt x="1" y="94"/>
                </a:cubicBezTo>
                <a:cubicBezTo>
                  <a:pt x="1" y="93"/>
                  <a:pt x="1" y="93"/>
                  <a:pt x="1" y="93"/>
                </a:cubicBezTo>
                <a:cubicBezTo>
                  <a:pt x="2" y="92"/>
                  <a:pt x="2" y="92"/>
                  <a:pt x="2" y="92"/>
                </a:cubicBezTo>
                <a:cubicBezTo>
                  <a:pt x="1" y="91"/>
                  <a:pt x="1" y="91"/>
                  <a:pt x="1" y="91"/>
                </a:cubicBezTo>
                <a:cubicBezTo>
                  <a:pt x="1" y="90"/>
                  <a:pt x="1" y="90"/>
                  <a:pt x="1" y="90"/>
                </a:cubicBezTo>
                <a:cubicBezTo>
                  <a:pt x="1" y="89"/>
                  <a:pt x="1" y="89"/>
                  <a:pt x="1" y="89"/>
                </a:cubicBezTo>
                <a:cubicBezTo>
                  <a:pt x="2" y="88"/>
                  <a:pt x="2" y="88"/>
                  <a:pt x="2" y="88"/>
                </a:cubicBezTo>
                <a:cubicBezTo>
                  <a:pt x="2" y="87"/>
                  <a:pt x="2" y="87"/>
                  <a:pt x="2" y="87"/>
                </a:cubicBezTo>
                <a:cubicBezTo>
                  <a:pt x="2" y="84"/>
                  <a:pt x="2" y="84"/>
                  <a:pt x="2" y="84"/>
                </a:cubicBezTo>
                <a:cubicBezTo>
                  <a:pt x="1" y="82"/>
                  <a:pt x="1" y="82"/>
                  <a:pt x="1" y="82"/>
                </a:cubicBezTo>
                <a:cubicBezTo>
                  <a:pt x="0" y="80"/>
                  <a:pt x="0" y="80"/>
                  <a:pt x="0" y="80"/>
                </a:cubicBezTo>
                <a:cubicBezTo>
                  <a:pt x="0" y="79"/>
                  <a:pt x="0" y="79"/>
                  <a:pt x="0" y="79"/>
                </a:cubicBezTo>
                <a:cubicBezTo>
                  <a:pt x="0" y="77"/>
                  <a:pt x="0" y="77"/>
                  <a:pt x="0" y="77"/>
                </a:cubicBezTo>
                <a:cubicBezTo>
                  <a:pt x="2" y="76"/>
                  <a:pt x="2" y="76"/>
                  <a:pt x="2" y="76"/>
                </a:cubicBezTo>
                <a:cubicBezTo>
                  <a:pt x="3" y="74"/>
                  <a:pt x="3" y="74"/>
                  <a:pt x="3" y="74"/>
                </a:cubicBezTo>
                <a:cubicBezTo>
                  <a:pt x="2" y="74"/>
                  <a:pt x="2" y="74"/>
                  <a:pt x="2" y="74"/>
                </a:cubicBezTo>
                <a:cubicBezTo>
                  <a:pt x="2" y="73"/>
                  <a:pt x="2" y="73"/>
                  <a:pt x="2" y="73"/>
                </a:cubicBezTo>
                <a:cubicBezTo>
                  <a:pt x="3" y="73"/>
                  <a:pt x="3" y="73"/>
                  <a:pt x="3" y="73"/>
                </a:cubicBezTo>
                <a:cubicBezTo>
                  <a:pt x="4" y="71"/>
                  <a:pt x="4" y="71"/>
                  <a:pt x="4" y="71"/>
                </a:cubicBezTo>
                <a:cubicBezTo>
                  <a:pt x="4" y="69"/>
                  <a:pt x="4" y="69"/>
                  <a:pt x="4" y="69"/>
                </a:cubicBezTo>
                <a:cubicBezTo>
                  <a:pt x="3" y="67"/>
                  <a:pt x="3" y="67"/>
                  <a:pt x="3" y="67"/>
                </a:cubicBezTo>
                <a:cubicBezTo>
                  <a:pt x="4" y="66"/>
                  <a:pt x="4" y="66"/>
                  <a:pt x="4" y="66"/>
                </a:cubicBezTo>
                <a:cubicBezTo>
                  <a:pt x="4" y="65"/>
                  <a:pt x="4" y="65"/>
                  <a:pt x="4" y="65"/>
                </a:cubicBezTo>
                <a:cubicBezTo>
                  <a:pt x="3" y="64"/>
                  <a:pt x="3" y="64"/>
                  <a:pt x="3" y="64"/>
                </a:cubicBezTo>
                <a:cubicBezTo>
                  <a:pt x="3" y="63"/>
                  <a:pt x="3" y="63"/>
                  <a:pt x="3" y="63"/>
                </a:cubicBezTo>
                <a:cubicBezTo>
                  <a:pt x="4" y="60"/>
                  <a:pt x="4" y="60"/>
                  <a:pt x="4" y="60"/>
                </a:cubicBezTo>
                <a:cubicBezTo>
                  <a:pt x="4" y="58"/>
                  <a:pt x="4" y="58"/>
                  <a:pt x="4" y="58"/>
                </a:cubicBezTo>
                <a:cubicBezTo>
                  <a:pt x="4" y="57"/>
                  <a:pt x="4" y="57"/>
                  <a:pt x="4" y="57"/>
                </a:cubicBezTo>
                <a:cubicBezTo>
                  <a:pt x="6" y="55"/>
                  <a:pt x="6" y="55"/>
                  <a:pt x="6" y="55"/>
                </a:cubicBezTo>
                <a:cubicBezTo>
                  <a:pt x="6" y="53"/>
                  <a:pt x="6" y="53"/>
                  <a:pt x="6" y="53"/>
                </a:cubicBezTo>
                <a:cubicBezTo>
                  <a:pt x="7" y="53"/>
                  <a:pt x="7" y="53"/>
                  <a:pt x="7" y="53"/>
                </a:cubicBezTo>
                <a:cubicBezTo>
                  <a:pt x="8" y="51"/>
                  <a:pt x="8" y="51"/>
                  <a:pt x="8" y="51"/>
                </a:cubicBezTo>
                <a:cubicBezTo>
                  <a:pt x="9" y="49"/>
                  <a:pt x="9" y="49"/>
                  <a:pt x="9" y="49"/>
                </a:cubicBezTo>
                <a:cubicBezTo>
                  <a:pt x="10" y="48"/>
                  <a:pt x="10" y="48"/>
                  <a:pt x="10" y="48"/>
                </a:cubicBezTo>
                <a:cubicBezTo>
                  <a:pt x="10" y="44"/>
                  <a:pt x="10" y="44"/>
                  <a:pt x="10" y="44"/>
                </a:cubicBezTo>
                <a:cubicBezTo>
                  <a:pt x="12" y="41"/>
                  <a:pt x="12" y="41"/>
                  <a:pt x="12" y="41"/>
                </a:cubicBezTo>
                <a:cubicBezTo>
                  <a:pt x="12" y="38"/>
                  <a:pt x="12" y="38"/>
                  <a:pt x="12" y="38"/>
                </a:cubicBezTo>
                <a:cubicBezTo>
                  <a:pt x="14" y="35"/>
                  <a:pt x="14" y="35"/>
                  <a:pt x="14" y="35"/>
                </a:cubicBezTo>
                <a:cubicBezTo>
                  <a:pt x="14" y="33"/>
                  <a:pt x="14" y="33"/>
                  <a:pt x="14" y="33"/>
                </a:cubicBezTo>
                <a:cubicBezTo>
                  <a:pt x="15" y="32"/>
                  <a:pt x="15" y="32"/>
                  <a:pt x="15" y="32"/>
                </a:cubicBezTo>
                <a:cubicBezTo>
                  <a:pt x="15" y="31"/>
                  <a:pt x="15" y="31"/>
                  <a:pt x="15" y="31"/>
                </a:cubicBezTo>
                <a:cubicBezTo>
                  <a:pt x="15" y="30"/>
                  <a:pt x="15" y="30"/>
                  <a:pt x="15" y="30"/>
                </a:cubicBezTo>
                <a:cubicBezTo>
                  <a:pt x="16" y="28"/>
                  <a:pt x="16" y="28"/>
                  <a:pt x="16" y="28"/>
                </a:cubicBezTo>
                <a:cubicBezTo>
                  <a:pt x="16" y="27"/>
                  <a:pt x="16" y="27"/>
                  <a:pt x="16" y="27"/>
                </a:cubicBezTo>
                <a:cubicBezTo>
                  <a:pt x="17" y="27"/>
                  <a:pt x="17" y="27"/>
                  <a:pt x="17" y="27"/>
                </a:cubicBezTo>
                <a:cubicBezTo>
                  <a:pt x="17" y="27"/>
                  <a:pt x="17" y="27"/>
                  <a:pt x="17" y="27"/>
                </a:cubicBezTo>
                <a:cubicBezTo>
                  <a:pt x="19" y="27"/>
                  <a:pt x="19" y="27"/>
                  <a:pt x="19" y="27"/>
                </a:cubicBezTo>
                <a:cubicBezTo>
                  <a:pt x="20" y="28"/>
                  <a:pt x="20" y="28"/>
                  <a:pt x="20" y="28"/>
                </a:cubicBezTo>
                <a:cubicBezTo>
                  <a:pt x="21" y="28"/>
                  <a:pt x="21" y="28"/>
                  <a:pt x="21" y="28"/>
                </a:cubicBezTo>
                <a:cubicBezTo>
                  <a:pt x="22" y="29"/>
                  <a:pt x="22" y="29"/>
                  <a:pt x="22" y="29"/>
                </a:cubicBezTo>
                <a:cubicBezTo>
                  <a:pt x="23" y="30"/>
                  <a:pt x="23" y="30"/>
                  <a:pt x="23" y="30"/>
                </a:cubicBezTo>
                <a:cubicBezTo>
                  <a:pt x="23" y="28"/>
                  <a:pt x="23" y="28"/>
                  <a:pt x="23" y="28"/>
                </a:cubicBezTo>
                <a:cubicBezTo>
                  <a:pt x="22" y="28"/>
                  <a:pt x="22" y="28"/>
                  <a:pt x="22" y="28"/>
                </a:cubicBezTo>
                <a:cubicBezTo>
                  <a:pt x="21" y="27"/>
                  <a:pt x="21" y="27"/>
                  <a:pt x="21" y="27"/>
                </a:cubicBezTo>
                <a:cubicBezTo>
                  <a:pt x="20" y="26"/>
                  <a:pt x="20" y="26"/>
                  <a:pt x="20" y="26"/>
                </a:cubicBezTo>
                <a:cubicBezTo>
                  <a:pt x="18" y="26"/>
                  <a:pt x="18" y="26"/>
                  <a:pt x="18" y="26"/>
                </a:cubicBezTo>
                <a:cubicBezTo>
                  <a:pt x="16" y="26"/>
                  <a:pt x="16" y="26"/>
                  <a:pt x="16" y="26"/>
                </a:cubicBezTo>
                <a:cubicBezTo>
                  <a:pt x="16" y="25"/>
                  <a:pt x="16" y="25"/>
                  <a:pt x="16" y="25"/>
                </a:cubicBezTo>
                <a:cubicBezTo>
                  <a:pt x="17" y="25"/>
                  <a:pt x="17" y="25"/>
                  <a:pt x="17" y="25"/>
                </a:cubicBezTo>
                <a:cubicBezTo>
                  <a:pt x="17" y="25"/>
                  <a:pt x="17" y="25"/>
                  <a:pt x="17" y="25"/>
                </a:cubicBezTo>
                <a:cubicBezTo>
                  <a:pt x="18" y="24"/>
                  <a:pt x="18" y="24"/>
                  <a:pt x="18" y="24"/>
                </a:cubicBezTo>
                <a:cubicBezTo>
                  <a:pt x="18" y="23"/>
                  <a:pt x="18" y="23"/>
                  <a:pt x="18" y="23"/>
                </a:cubicBezTo>
                <a:cubicBezTo>
                  <a:pt x="18" y="22"/>
                  <a:pt x="18" y="22"/>
                  <a:pt x="18" y="22"/>
                </a:cubicBezTo>
                <a:cubicBezTo>
                  <a:pt x="17" y="21"/>
                  <a:pt x="17" y="21"/>
                  <a:pt x="17" y="21"/>
                </a:cubicBezTo>
                <a:cubicBezTo>
                  <a:pt x="17" y="21"/>
                  <a:pt x="17" y="21"/>
                  <a:pt x="17" y="21"/>
                </a:cubicBezTo>
                <a:cubicBezTo>
                  <a:pt x="17" y="20"/>
                  <a:pt x="17" y="20"/>
                  <a:pt x="17" y="20"/>
                </a:cubicBezTo>
                <a:cubicBezTo>
                  <a:pt x="18" y="20"/>
                  <a:pt x="18" y="20"/>
                  <a:pt x="18" y="20"/>
                </a:cubicBezTo>
                <a:cubicBezTo>
                  <a:pt x="18" y="19"/>
                  <a:pt x="18" y="19"/>
                  <a:pt x="18" y="19"/>
                </a:cubicBezTo>
                <a:cubicBezTo>
                  <a:pt x="18" y="19"/>
                  <a:pt x="18" y="19"/>
                  <a:pt x="18" y="19"/>
                </a:cubicBezTo>
                <a:cubicBezTo>
                  <a:pt x="17" y="19"/>
                  <a:pt x="17" y="19"/>
                  <a:pt x="17" y="19"/>
                </a:cubicBezTo>
                <a:cubicBezTo>
                  <a:pt x="17" y="18"/>
                  <a:pt x="17" y="18"/>
                  <a:pt x="17" y="18"/>
                </a:cubicBezTo>
                <a:cubicBezTo>
                  <a:pt x="17" y="16"/>
                  <a:pt x="17" y="16"/>
                  <a:pt x="17" y="16"/>
                </a:cubicBezTo>
                <a:cubicBezTo>
                  <a:pt x="17" y="15"/>
                  <a:pt x="17" y="15"/>
                  <a:pt x="17" y="15"/>
                </a:cubicBezTo>
                <a:cubicBezTo>
                  <a:pt x="18" y="11"/>
                  <a:pt x="18" y="11"/>
                  <a:pt x="18" y="11"/>
                </a:cubicBezTo>
                <a:cubicBezTo>
                  <a:pt x="17" y="9"/>
                  <a:pt x="17" y="9"/>
                  <a:pt x="17" y="9"/>
                </a:cubicBezTo>
                <a:cubicBezTo>
                  <a:pt x="17" y="8"/>
                  <a:pt x="17" y="8"/>
                  <a:pt x="17" y="8"/>
                </a:cubicBezTo>
                <a:cubicBezTo>
                  <a:pt x="18" y="6"/>
                  <a:pt x="18" y="6"/>
                  <a:pt x="18" y="6"/>
                </a:cubicBezTo>
                <a:cubicBezTo>
                  <a:pt x="18" y="4"/>
                  <a:pt x="18" y="4"/>
                  <a:pt x="18" y="4"/>
                </a:cubicBezTo>
                <a:cubicBezTo>
                  <a:pt x="19" y="4"/>
                  <a:pt x="19" y="4"/>
                  <a:pt x="19" y="4"/>
                </a:cubicBezTo>
                <a:cubicBezTo>
                  <a:pt x="21" y="7"/>
                  <a:pt x="21" y="7"/>
                  <a:pt x="21" y="7"/>
                </a:cubicBezTo>
                <a:cubicBezTo>
                  <a:pt x="23" y="8"/>
                  <a:pt x="23" y="8"/>
                  <a:pt x="23" y="8"/>
                </a:cubicBezTo>
                <a:cubicBezTo>
                  <a:pt x="26" y="8"/>
                  <a:pt x="26" y="8"/>
                  <a:pt x="26" y="8"/>
                </a:cubicBezTo>
                <a:cubicBezTo>
                  <a:pt x="27" y="8"/>
                  <a:pt x="27" y="8"/>
                  <a:pt x="27" y="8"/>
                </a:cubicBezTo>
                <a:cubicBezTo>
                  <a:pt x="27" y="9"/>
                  <a:pt x="27" y="9"/>
                  <a:pt x="27" y="9"/>
                </a:cubicBezTo>
                <a:cubicBezTo>
                  <a:pt x="28" y="9"/>
                  <a:pt x="28" y="9"/>
                  <a:pt x="28" y="9"/>
                </a:cubicBezTo>
                <a:cubicBezTo>
                  <a:pt x="29" y="9"/>
                  <a:pt x="29" y="9"/>
                  <a:pt x="29" y="9"/>
                </a:cubicBezTo>
                <a:cubicBezTo>
                  <a:pt x="29" y="10"/>
                  <a:pt x="29" y="10"/>
                  <a:pt x="29" y="10"/>
                </a:cubicBezTo>
                <a:cubicBezTo>
                  <a:pt x="29" y="11"/>
                  <a:pt x="29" y="11"/>
                  <a:pt x="29" y="11"/>
                </a:cubicBezTo>
                <a:cubicBezTo>
                  <a:pt x="27" y="11"/>
                  <a:pt x="27" y="11"/>
                  <a:pt x="27" y="11"/>
                </a:cubicBezTo>
                <a:cubicBezTo>
                  <a:pt x="26" y="12"/>
                  <a:pt x="26" y="12"/>
                  <a:pt x="26" y="12"/>
                </a:cubicBezTo>
                <a:cubicBezTo>
                  <a:pt x="26" y="13"/>
                  <a:pt x="26" y="13"/>
                  <a:pt x="26" y="13"/>
                </a:cubicBezTo>
                <a:cubicBezTo>
                  <a:pt x="27" y="13"/>
                  <a:pt x="27" y="13"/>
                  <a:pt x="27" y="13"/>
                </a:cubicBezTo>
                <a:cubicBezTo>
                  <a:pt x="28" y="12"/>
                  <a:pt x="28" y="12"/>
                  <a:pt x="28" y="12"/>
                </a:cubicBezTo>
                <a:cubicBezTo>
                  <a:pt x="29" y="11"/>
                  <a:pt x="29" y="11"/>
                  <a:pt x="29" y="11"/>
                </a:cubicBezTo>
                <a:cubicBezTo>
                  <a:pt x="29" y="11"/>
                  <a:pt x="29" y="11"/>
                  <a:pt x="29" y="11"/>
                </a:cubicBezTo>
                <a:cubicBezTo>
                  <a:pt x="30" y="12"/>
                  <a:pt x="30" y="12"/>
                  <a:pt x="30" y="12"/>
                </a:cubicBezTo>
                <a:cubicBezTo>
                  <a:pt x="29" y="13"/>
                  <a:pt x="29" y="13"/>
                  <a:pt x="29" y="13"/>
                </a:cubicBezTo>
                <a:cubicBezTo>
                  <a:pt x="28" y="14"/>
                  <a:pt x="28" y="14"/>
                  <a:pt x="28" y="14"/>
                </a:cubicBezTo>
                <a:cubicBezTo>
                  <a:pt x="28" y="16"/>
                  <a:pt x="28" y="16"/>
                  <a:pt x="28" y="16"/>
                </a:cubicBezTo>
                <a:cubicBezTo>
                  <a:pt x="27" y="16"/>
                  <a:pt x="27" y="16"/>
                  <a:pt x="27" y="16"/>
                </a:cubicBezTo>
                <a:cubicBezTo>
                  <a:pt x="27" y="15"/>
                  <a:pt x="27" y="15"/>
                  <a:pt x="27" y="15"/>
                </a:cubicBezTo>
                <a:cubicBezTo>
                  <a:pt x="26" y="16"/>
                  <a:pt x="26" y="16"/>
                  <a:pt x="26" y="16"/>
                </a:cubicBezTo>
                <a:cubicBezTo>
                  <a:pt x="26" y="16"/>
                  <a:pt x="26" y="16"/>
                  <a:pt x="26" y="16"/>
                </a:cubicBezTo>
                <a:cubicBezTo>
                  <a:pt x="25" y="17"/>
                  <a:pt x="25" y="17"/>
                  <a:pt x="25" y="17"/>
                </a:cubicBezTo>
                <a:cubicBezTo>
                  <a:pt x="26" y="17"/>
                  <a:pt x="26" y="17"/>
                  <a:pt x="26" y="17"/>
                </a:cubicBezTo>
                <a:cubicBezTo>
                  <a:pt x="27" y="18"/>
                  <a:pt x="27" y="18"/>
                  <a:pt x="27" y="18"/>
                </a:cubicBezTo>
                <a:cubicBezTo>
                  <a:pt x="28" y="17"/>
                  <a:pt x="28" y="17"/>
                  <a:pt x="28" y="17"/>
                </a:cubicBezTo>
                <a:cubicBezTo>
                  <a:pt x="28" y="16"/>
                  <a:pt x="28" y="16"/>
                  <a:pt x="28" y="16"/>
                </a:cubicBezTo>
                <a:cubicBezTo>
                  <a:pt x="29" y="15"/>
                  <a:pt x="29" y="15"/>
                  <a:pt x="29" y="15"/>
                </a:cubicBezTo>
                <a:cubicBezTo>
                  <a:pt x="29" y="14"/>
                  <a:pt x="29" y="14"/>
                  <a:pt x="29" y="14"/>
                </a:cubicBezTo>
                <a:cubicBezTo>
                  <a:pt x="30" y="13"/>
                  <a:pt x="30" y="13"/>
                  <a:pt x="30" y="13"/>
                </a:cubicBezTo>
                <a:cubicBezTo>
                  <a:pt x="30" y="12"/>
                  <a:pt x="30" y="12"/>
                  <a:pt x="30" y="12"/>
                </a:cubicBezTo>
                <a:cubicBezTo>
                  <a:pt x="31" y="11"/>
                  <a:pt x="31" y="11"/>
                  <a:pt x="31" y="11"/>
                </a:cubicBezTo>
                <a:cubicBezTo>
                  <a:pt x="32" y="10"/>
                  <a:pt x="32" y="10"/>
                  <a:pt x="32" y="10"/>
                </a:cubicBezTo>
                <a:cubicBezTo>
                  <a:pt x="32" y="9"/>
                  <a:pt x="32" y="9"/>
                  <a:pt x="32" y="9"/>
                </a:cubicBezTo>
                <a:cubicBezTo>
                  <a:pt x="32" y="8"/>
                  <a:pt x="32" y="8"/>
                  <a:pt x="32" y="8"/>
                </a:cubicBezTo>
                <a:cubicBezTo>
                  <a:pt x="31" y="8"/>
                  <a:pt x="31" y="8"/>
                  <a:pt x="31" y="8"/>
                </a:cubicBezTo>
                <a:cubicBezTo>
                  <a:pt x="32" y="7"/>
                  <a:pt x="32" y="7"/>
                  <a:pt x="32" y="7"/>
                </a:cubicBezTo>
                <a:cubicBezTo>
                  <a:pt x="32" y="6"/>
                  <a:pt x="32" y="6"/>
                  <a:pt x="32" y="6"/>
                </a:cubicBezTo>
                <a:cubicBezTo>
                  <a:pt x="32" y="6"/>
                  <a:pt x="32" y="6"/>
                  <a:pt x="32" y="6"/>
                </a:cubicBezTo>
                <a:cubicBezTo>
                  <a:pt x="31" y="4"/>
                  <a:pt x="31" y="4"/>
                  <a:pt x="31" y="4"/>
                </a:cubicBezTo>
                <a:cubicBezTo>
                  <a:pt x="32" y="4"/>
                  <a:pt x="32" y="4"/>
                  <a:pt x="32" y="4"/>
                </a:cubicBezTo>
                <a:cubicBezTo>
                  <a:pt x="33" y="3"/>
                  <a:pt x="33" y="3"/>
                  <a:pt x="33" y="3"/>
                </a:cubicBezTo>
                <a:cubicBezTo>
                  <a:pt x="31" y="2"/>
                  <a:pt x="31" y="2"/>
                  <a:pt x="31" y="2"/>
                </a:cubicBezTo>
                <a:cubicBezTo>
                  <a:pt x="31" y="0"/>
                  <a:pt x="31" y="0"/>
                  <a:pt x="31" y="0"/>
                </a:cubicBezTo>
                <a:close/>
                <a:moveTo>
                  <a:pt x="326" y="89"/>
                </a:moveTo>
                <a:cubicBezTo>
                  <a:pt x="326" y="89"/>
                  <a:pt x="326" y="89"/>
                  <a:pt x="326" y="89"/>
                </a:cubicBezTo>
                <a:cubicBezTo>
                  <a:pt x="327" y="89"/>
                  <a:pt x="327" y="89"/>
                  <a:pt x="327" y="89"/>
                </a:cubicBezTo>
                <a:cubicBezTo>
                  <a:pt x="327" y="89"/>
                  <a:pt x="327" y="89"/>
                  <a:pt x="327" y="89"/>
                </a:cubicBezTo>
                <a:cubicBezTo>
                  <a:pt x="328" y="89"/>
                  <a:pt x="328" y="89"/>
                  <a:pt x="328" y="89"/>
                </a:cubicBezTo>
                <a:cubicBezTo>
                  <a:pt x="328" y="88"/>
                  <a:pt x="328" y="88"/>
                  <a:pt x="328" y="88"/>
                </a:cubicBezTo>
                <a:cubicBezTo>
                  <a:pt x="327" y="88"/>
                  <a:pt x="327" y="88"/>
                  <a:pt x="327" y="88"/>
                </a:cubicBezTo>
                <a:cubicBezTo>
                  <a:pt x="326" y="88"/>
                  <a:pt x="326" y="88"/>
                  <a:pt x="326" y="88"/>
                </a:cubicBezTo>
                <a:cubicBezTo>
                  <a:pt x="326" y="89"/>
                  <a:pt x="326" y="89"/>
                  <a:pt x="326" y="89"/>
                </a:cubicBezTo>
                <a:close/>
                <a:moveTo>
                  <a:pt x="307" y="94"/>
                </a:moveTo>
                <a:cubicBezTo>
                  <a:pt x="306" y="94"/>
                  <a:pt x="306" y="94"/>
                  <a:pt x="306" y="94"/>
                </a:cubicBezTo>
                <a:cubicBezTo>
                  <a:pt x="307" y="94"/>
                  <a:pt x="307" y="94"/>
                  <a:pt x="307" y="94"/>
                </a:cubicBezTo>
                <a:cubicBezTo>
                  <a:pt x="308" y="94"/>
                  <a:pt x="308" y="94"/>
                  <a:pt x="308" y="94"/>
                </a:cubicBezTo>
                <a:cubicBezTo>
                  <a:pt x="309" y="94"/>
                  <a:pt x="309" y="94"/>
                  <a:pt x="309" y="94"/>
                </a:cubicBezTo>
                <a:cubicBezTo>
                  <a:pt x="310" y="93"/>
                  <a:pt x="310" y="93"/>
                  <a:pt x="310" y="93"/>
                </a:cubicBezTo>
                <a:cubicBezTo>
                  <a:pt x="312" y="93"/>
                  <a:pt x="312" y="93"/>
                  <a:pt x="312" y="93"/>
                </a:cubicBezTo>
                <a:cubicBezTo>
                  <a:pt x="313" y="93"/>
                  <a:pt x="313" y="93"/>
                  <a:pt x="313" y="93"/>
                </a:cubicBezTo>
                <a:cubicBezTo>
                  <a:pt x="315" y="93"/>
                  <a:pt x="315" y="93"/>
                  <a:pt x="315" y="93"/>
                </a:cubicBezTo>
                <a:cubicBezTo>
                  <a:pt x="316" y="92"/>
                  <a:pt x="316" y="92"/>
                  <a:pt x="316" y="92"/>
                </a:cubicBezTo>
                <a:cubicBezTo>
                  <a:pt x="316" y="92"/>
                  <a:pt x="316" y="92"/>
                  <a:pt x="316" y="92"/>
                </a:cubicBezTo>
                <a:cubicBezTo>
                  <a:pt x="318" y="92"/>
                  <a:pt x="318" y="92"/>
                  <a:pt x="318" y="92"/>
                </a:cubicBezTo>
                <a:cubicBezTo>
                  <a:pt x="318" y="91"/>
                  <a:pt x="318" y="91"/>
                  <a:pt x="318" y="91"/>
                </a:cubicBezTo>
                <a:cubicBezTo>
                  <a:pt x="317" y="92"/>
                  <a:pt x="317" y="92"/>
                  <a:pt x="317" y="92"/>
                </a:cubicBezTo>
                <a:cubicBezTo>
                  <a:pt x="317" y="91"/>
                  <a:pt x="317" y="91"/>
                  <a:pt x="317" y="91"/>
                </a:cubicBezTo>
                <a:cubicBezTo>
                  <a:pt x="316" y="92"/>
                  <a:pt x="316" y="92"/>
                  <a:pt x="316" y="92"/>
                </a:cubicBezTo>
                <a:cubicBezTo>
                  <a:pt x="316" y="91"/>
                  <a:pt x="316" y="91"/>
                  <a:pt x="316" y="91"/>
                </a:cubicBezTo>
                <a:cubicBezTo>
                  <a:pt x="316" y="91"/>
                  <a:pt x="316" y="91"/>
                  <a:pt x="316" y="91"/>
                </a:cubicBezTo>
                <a:cubicBezTo>
                  <a:pt x="316" y="90"/>
                  <a:pt x="316" y="90"/>
                  <a:pt x="316" y="90"/>
                </a:cubicBezTo>
                <a:cubicBezTo>
                  <a:pt x="315" y="91"/>
                  <a:pt x="315" y="91"/>
                  <a:pt x="315" y="91"/>
                </a:cubicBezTo>
                <a:cubicBezTo>
                  <a:pt x="313" y="91"/>
                  <a:pt x="313" y="91"/>
                  <a:pt x="313" y="91"/>
                </a:cubicBezTo>
                <a:cubicBezTo>
                  <a:pt x="311" y="92"/>
                  <a:pt x="311" y="92"/>
                  <a:pt x="311" y="92"/>
                </a:cubicBezTo>
                <a:cubicBezTo>
                  <a:pt x="310" y="92"/>
                  <a:pt x="310" y="92"/>
                  <a:pt x="310" y="92"/>
                </a:cubicBezTo>
                <a:cubicBezTo>
                  <a:pt x="308" y="92"/>
                  <a:pt x="308" y="92"/>
                  <a:pt x="308" y="92"/>
                </a:cubicBezTo>
                <a:cubicBezTo>
                  <a:pt x="307" y="93"/>
                  <a:pt x="307" y="93"/>
                  <a:pt x="307" y="93"/>
                </a:cubicBezTo>
                <a:cubicBezTo>
                  <a:pt x="306" y="93"/>
                  <a:pt x="306" y="93"/>
                  <a:pt x="306" y="93"/>
                </a:cubicBezTo>
                <a:cubicBezTo>
                  <a:pt x="306" y="94"/>
                  <a:pt x="306" y="94"/>
                  <a:pt x="306" y="94"/>
                </a:cubicBezTo>
                <a:cubicBezTo>
                  <a:pt x="307" y="94"/>
                  <a:pt x="307" y="94"/>
                  <a:pt x="307" y="94"/>
                </a:cubicBezTo>
                <a:close/>
                <a:moveTo>
                  <a:pt x="31" y="6"/>
                </a:moveTo>
                <a:cubicBezTo>
                  <a:pt x="30" y="7"/>
                  <a:pt x="30" y="7"/>
                  <a:pt x="30" y="7"/>
                </a:cubicBezTo>
                <a:cubicBezTo>
                  <a:pt x="30" y="9"/>
                  <a:pt x="30" y="9"/>
                  <a:pt x="30" y="9"/>
                </a:cubicBezTo>
                <a:cubicBezTo>
                  <a:pt x="30" y="10"/>
                  <a:pt x="30" y="10"/>
                  <a:pt x="30" y="10"/>
                </a:cubicBezTo>
                <a:cubicBezTo>
                  <a:pt x="31" y="10"/>
                  <a:pt x="31" y="10"/>
                  <a:pt x="31" y="10"/>
                </a:cubicBezTo>
                <a:cubicBezTo>
                  <a:pt x="30" y="8"/>
                  <a:pt x="30" y="8"/>
                  <a:pt x="30" y="8"/>
                </a:cubicBezTo>
                <a:cubicBezTo>
                  <a:pt x="30" y="7"/>
                  <a:pt x="30" y="7"/>
                  <a:pt x="30" y="7"/>
                </a:cubicBezTo>
                <a:cubicBezTo>
                  <a:pt x="31" y="6"/>
                  <a:pt x="31" y="6"/>
                  <a:pt x="31" y="6"/>
                </a:cubicBezTo>
                <a:cubicBezTo>
                  <a:pt x="31" y="6"/>
                  <a:pt x="31" y="6"/>
                  <a:pt x="31" y="6"/>
                </a:cubicBezTo>
                <a:close/>
                <a:moveTo>
                  <a:pt x="150" y="189"/>
                </a:moveTo>
                <a:cubicBezTo>
                  <a:pt x="150" y="189"/>
                  <a:pt x="150" y="189"/>
                  <a:pt x="150" y="189"/>
                </a:cubicBezTo>
                <a:cubicBezTo>
                  <a:pt x="152" y="187"/>
                  <a:pt x="152" y="187"/>
                  <a:pt x="152" y="187"/>
                </a:cubicBezTo>
                <a:cubicBezTo>
                  <a:pt x="153" y="186"/>
                  <a:pt x="153" y="186"/>
                  <a:pt x="153" y="186"/>
                </a:cubicBezTo>
                <a:cubicBezTo>
                  <a:pt x="151" y="187"/>
                  <a:pt x="151" y="187"/>
                  <a:pt x="151" y="187"/>
                </a:cubicBezTo>
                <a:cubicBezTo>
                  <a:pt x="150" y="189"/>
                  <a:pt x="150" y="189"/>
                  <a:pt x="150" y="189"/>
                </a:cubicBezTo>
                <a:close/>
                <a:moveTo>
                  <a:pt x="148" y="192"/>
                </a:moveTo>
                <a:cubicBezTo>
                  <a:pt x="149" y="192"/>
                  <a:pt x="149" y="192"/>
                  <a:pt x="149" y="192"/>
                </a:cubicBezTo>
                <a:cubicBezTo>
                  <a:pt x="149" y="190"/>
                  <a:pt x="149" y="190"/>
                  <a:pt x="149" y="190"/>
                </a:cubicBezTo>
                <a:cubicBezTo>
                  <a:pt x="149" y="190"/>
                  <a:pt x="149" y="190"/>
                  <a:pt x="149" y="190"/>
                </a:cubicBezTo>
                <a:cubicBezTo>
                  <a:pt x="148" y="192"/>
                  <a:pt x="148" y="192"/>
                  <a:pt x="148" y="192"/>
                </a:cubicBezTo>
                <a:close/>
                <a:moveTo>
                  <a:pt x="148" y="201"/>
                </a:moveTo>
                <a:cubicBezTo>
                  <a:pt x="147" y="199"/>
                  <a:pt x="147" y="199"/>
                  <a:pt x="147" y="199"/>
                </a:cubicBezTo>
                <a:cubicBezTo>
                  <a:pt x="147" y="196"/>
                  <a:pt x="147" y="196"/>
                  <a:pt x="147" y="196"/>
                </a:cubicBezTo>
                <a:cubicBezTo>
                  <a:pt x="148" y="193"/>
                  <a:pt x="148" y="193"/>
                  <a:pt x="148" y="193"/>
                </a:cubicBezTo>
                <a:cubicBezTo>
                  <a:pt x="147" y="196"/>
                  <a:pt x="147" y="196"/>
                  <a:pt x="147" y="196"/>
                </a:cubicBezTo>
                <a:cubicBezTo>
                  <a:pt x="147" y="199"/>
                  <a:pt x="147" y="199"/>
                  <a:pt x="147" y="199"/>
                </a:cubicBezTo>
                <a:cubicBezTo>
                  <a:pt x="147" y="199"/>
                  <a:pt x="148" y="201"/>
                  <a:pt x="148" y="201"/>
                </a:cubicBez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9" name="Freeform 177">
            <a:extLst>
              <a:ext uri="{FF2B5EF4-FFF2-40B4-BE49-F238E27FC236}">
                <a16:creationId xmlns:a16="http://schemas.microsoft.com/office/drawing/2014/main" id="{CFF70BC5-D379-357D-B8DF-61A944CA94A3}"/>
              </a:ext>
            </a:extLst>
          </p:cNvPr>
          <p:cNvSpPr>
            <a:spLocks noEditPoints="1"/>
          </p:cNvSpPr>
          <p:nvPr userDrawn="1"/>
        </p:nvSpPr>
        <p:spPr bwMode="auto">
          <a:xfrm>
            <a:off x="9737087" y="13010433"/>
            <a:ext cx="1438184" cy="260350"/>
          </a:xfrm>
          <a:custGeom>
            <a:avLst/>
            <a:gdLst>
              <a:gd name="T0" fmla="*/ 142 w 145"/>
              <a:gd name="T1" fmla="*/ 24 h 26"/>
              <a:gd name="T2" fmla="*/ 141 w 145"/>
              <a:gd name="T3" fmla="*/ 22 h 26"/>
              <a:gd name="T4" fmla="*/ 139 w 145"/>
              <a:gd name="T5" fmla="*/ 21 h 26"/>
              <a:gd name="T6" fmla="*/ 138 w 145"/>
              <a:gd name="T7" fmla="*/ 20 h 26"/>
              <a:gd name="T8" fmla="*/ 141 w 145"/>
              <a:gd name="T9" fmla="*/ 21 h 26"/>
              <a:gd name="T10" fmla="*/ 141 w 145"/>
              <a:gd name="T11" fmla="*/ 21 h 26"/>
              <a:gd name="T12" fmla="*/ 143 w 145"/>
              <a:gd name="T13" fmla="*/ 23 h 26"/>
              <a:gd name="T14" fmla="*/ 144 w 145"/>
              <a:gd name="T15" fmla="*/ 24 h 26"/>
              <a:gd name="T16" fmla="*/ 145 w 145"/>
              <a:gd name="T17" fmla="*/ 25 h 26"/>
              <a:gd name="T18" fmla="*/ 143 w 145"/>
              <a:gd name="T19" fmla="*/ 26 h 26"/>
              <a:gd name="T20" fmla="*/ 142 w 145"/>
              <a:gd name="T21" fmla="*/ 25 h 26"/>
              <a:gd name="T22" fmla="*/ 8 w 145"/>
              <a:gd name="T23" fmla="*/ 0 h 26"/>
              <a:gd name="T24" fmla="*/ 7 w 145"/>
              <a:gd name="T25" fmla="*/ 0 h 26"/>
              <a:gd name="T26" fmla="*/ 5 w 145"/>
              <a:gd name="T27" fmla="*/ 1 h 26"/>
              <a:gd name="T28" fmla="*/ 5 w 145"/>
              <a:gd name="T29" fmla="*/ 0 h 26"/>
              <a:gd name="T30" fmla="*/ 1 w 145"/>
              <a:gd name="T31" fmla="*/ 5 h 26"/>
              <a:gd name="T32" fmla="*/ 2 w 145"/>
              <a:gd name="T33" fmla="*/ 6 h 26"/>
              <a:gd name="T34" fmla="*/ 0 w 145"/>
              <a:gd name="T35" fmla="*/ 6 h 26"/>
              <a:gd name="T36" fmla="*/ 10 w 145"/>
              <a:gd name="T37" fmla="*/ 8 h 26"/>
              <a:gd name="T38" fmla="*/ 12 w 145"/>
              <a:gd name="T39" fmla="*/ 9 h 26"/>
              <a:gd name="T40" fmla="*/ 11 w 145"/>
              <a:gd name="T41" fmla="*/ 8 h 26"/>
              <a:gd name="T42" fmla="*/ 13 w 145"/>
              <a:gd name="T43" fmla="*/ 8 h 26"/>
              <a:gd name="T44" fmla="*/ 13 w 145"/>
              <a:gd name="T45" fmla="*/ 7 h 26"/>
              <a:gd name="T46" fmla="*/ 14 w 145"/>
              <a:gd name="T47" fmla="*/ 7 h 26"/>
              <a:gd name="T48" fmla="*/ 15 w 145"/>
              <a:gd name="T49" fmla="*/ 6 h 26"/>
              <a:gd name="T50" fmla="*/ 13 w 145"/>
              <a:gd name="T51" fmla="*/ 6 h 26"/>
              <a:gd name="T52" fmla="*/ 15 w 145"/>
              <a:gd name="T53" fmla="*/ 5 h 26"/>
              <a:gd name="T54" fmla="*/ 18 w 145"/>
              <a:gd name="T55" fmla="*/ 4 h 26"/>
              <a:gd name="T56" fmla="*/ 19 w 145"/>
              <a:gd name="T57" fmla="*/ 3 h 26"/>
              <a:gd name="T58" fmla="*/ 18 w 145"/>
              <a:gd name="T59" fmla="*/ 3 h 26"/>
              <a:gd name="T60" fmla="*/ 19 w 145"/>
              <a:gd name="T61" fmla="*/ 2 h 26"/>
              <a:gd name="T62" fmla="*/ 17 w 145"/>
              <a:gd name="T63" fmla="*/ 1 h 26"/>
              <a:gd name="T64" fmla="*/ 17 w 145"/>
              <a:gd name="T65" fmla="*/ 2 h 26"/>
              <a:gd name="T66" fmla="*/ 15 w 145"/>
              <a:gd name="T67" fmla="*/ 1 h 26"/>
              <a:gd name="T68" fmla="*/ 13 w 145"/>
              <a:gd name="T69" fmla="*/ 0 h 26"/>
              <a:gd name="T70" fmla="*/ 12 w 145"/>
              <a:gd name="T71" fmla="*/ 1 h 26"/>
              <a:gd name="T72" fmla="*/ 12 w 145"/>
              <a:gd name="T73" fmla="*/ 3 h 26"/>
              <a:gd name="T74" fmla="*/ 13 w 145"/>
              <a:gd name="T75" fmla="*/ 5 h 26"/>
              <a:gd name="T76" fmla="*/ 11 w 145"/>
              <a:gd name="T77" fmla="*/ 5 h 26"/>
              <a:gd name="T78" fmla="*/ 8 w 145"/>
              <a:gd name="T79" fmla="*/ 1 h 26"/>
              <a:gd name="T80" fmla="*/ 9 w 145"/>
              <a:gd name="T81" fmla="*/ 2 h 26"/>
              <a:gd name="T82" fmla="*/ 10 w 145"/>
              <a:gd name="T83" fmla="*/ 1 h 26"/>
              <a:gd name="T84" fmla="*/ 10 w 145"/>
              <a:gd name="T85" fmla="*/ 3 h 26"/>
              <a:gd name="T86" fmla="*/ 9 w 145"/>
              <a:gd name="T87" fmla="*/ 6 h 26"/>
              <a:gd name="T88" fmla="*/ 6 w 145"/>
              <a:gd name="T89" fmla="*/ 6 h 26"/>
              <a:gd name="T90" fmla="*/ 6 w 145"/>
              <a:gd name="T91" fmla="*/ 8 h 26"/>
              <a:gd name="T92" fmla="*/ 4 w 145"/>
              <a:gd name="T93" fmla="*/ 8 h 26"/>
              <a:gd name="T94" fmla="*/ 2 w 145"/>
              <a:gd name="T95" fmla="*/ 8 h 26"/>
              <a:gd name="T96" fmla="*/ 3 w 145"/>
              <a:gd name="T97" fmla="*/ 7 h 26"/>
              <a:gd name="T98" fmla="*/ 4 w 145"/>
              <a:gd name="T99" fmla="*/ 5 h 26"/>
              <a:gd name="T100" fmla="*/ 6 w 145"/>
              <a:gd name="T101" fmla="*/ 5 h 26"/>
              <a:gd name="T102" fmla="*/ 5 w 145"/>
              <a:gd name="T103" fmla="*/ 4 h 26"/>
              <a:gd name="T104" fmla="*/ 4 w 145"/>
              <a:gd name="T105" fmla="*/ 2 h 26"/>
              <a:gd name="T106" fmla="*/ 6 w 145"/>
              <a:gd name="T107" fmla="*/ 3 h 26"/>
              <a:gd name="T108" fmla="*/ 8 w 145"/>
              <a:gd name="T109"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5" h="26">
                <a:moveTo>
                  <a:pt x="142" y="25"/>
                </a:moveTo>
                <a:cubicBezTo>
                  <a:pt x="142" y="24"/>
                  <a:pt x="142" y="24"/>
                  <a:pt x="142" y="24"/>
                </a:cubicBezTo>
                <a:cubicBezTo>
                  <a:pt x="141" y="23"/>
                  <a:pt x="141" y="23"/>
                  <a:pt x="141" y="23"/>
                </a:cubicBezTo>
                <a:cubicBezTo>
                  <a:pt x="141" y="22"/>
                  <a:pt x="141" y="22"/>
                  <a:pt x="141" y="22"/>
                </a:cubicBezTo>
                <a:cubicBezTo>
                  <a:pt x="140" y="22"/>
                  <a:pt x="140" y="22"/>
                  <a:pt x="140" y="22"/>
                </a:cubicBezTo>
                <a:cubicBezTo>
                  <a:pt x="139" y="21"/>
                  <a:pt x="139" y="21"/>
                  <a:pt x="139" y="21"/>
                </a:cubicBezTo>
                <a:cubicBezTo>
                  <a:pt x="138" y="21"/>
                  <a:pt x="138" y="21"/>
                  <a:pt x="138" y="21"/>
                </a:cubicBezTo>
                <a:cubicBezTo>
                  <a:pt x="138" y="20"/>
                  <a:pt x="138" y="20"/>
                  <a:pt x="138" y="20"/>
                </a:cubicBezTo>
                <a:cubicBezTo>
                  <a:pt x="139" y="20"/>
                  <a:pt x="139" y="20"/>
                  <a:pt x="139" y="20"/>
                </a:cubicBezTo>
                <a:cubicBezTo>
                  <a:pt x="141" y="21"/>
                  <a:pt x="141" y="21"/>
                  <a:pt x="141" y="21"/>
                </a:cubicBezTo>
                <a:cubicBezTo>
                  <a:pt x="141" y="21"/>
                  <a:pt x="141" y="21"/>
                  <a:pt x="141" y="21"/>
                </a:cubicBezTo>
                <a:cubicBezTo>
                  <a:pt x="141" y="21"/>
                  <a:pt x="141" y="21"/>
                  <a:pt x="141" y="21"/>
                </a:cubicBezTo>
                <a:cubicBezTo>
                  <a:pt x="142" y="22"/>
                  <a:pt x="143" y="22"/>
                  <a:pt x="143" y="22"/>
                </a:cubicBezTo>
                <a:cubicBezTo>
                  <a:pt x="143" y="23"/>
                  <a:pt x="143" y="23"/>
                  <a:pt x="143" y="23"/>
                </a:cubicBezTo>
                <a:cubicBezTo>
                  <a:pt x="143" y="24"/>
                  <a:pt x="143" y="24"/>
                  <a:pt x="143" y="24"/>
                </a:cubicBezTo>
                <a:cubicBezTo>
                  <a:pt x="144" y="24"/>
                  <a:pt x="144" y="24"/>
                  <a:pt x="144" y="24"/>
                </a:cubicBezTo>
                <a:cubicBezTo>
                  <a:pt x="145" y="24"/>
                  <a:pt x="145" y="24"/>
                  <a:pt x="145" y="24"/>
                </a:cubicBezTo>
                <a:cubicBezTo>
                  <a:pt x="145" y="25"/>
                  <a:pt x="145" y="25"/>
                  <a:pt x="145" y="25"/>
                </a:cubicBezTo>
                <a:cubicBezTo>
                  <a:pt x="144" y="25"/>
                  <a:pt x="144" y="25"/>
                  <a:pt x="144" y="25"/>
                </a:cubicBezTo>
                <a:cubicBezTo>
                  <a:pt x="143" y="26"/>
                  <a:pt x="143" y="26"/>
                  <a:pt x="143" y="26"/>
                </a:cubicBezTo>
                <a:cubicBezTo>
                  <a:pt x="142" y="26"/>
                  <a:pt x="142" y="26"/>
                  <a:pt x="142" y="26"/>
                </a:cubicBezTo>
                <a:cubicBezTo>
                  <a:pt x="142" y="25"/>
                  <a:pt x="142" y="25"/>
                  <a:pt x="142" y="25"/>
                </a:cubicBezTo>
                <a:close/>
                <a:moveTo>
                  <a:pt x="7" y="0"/>
                </a:moveTo>
                <a:cubicBezTo>
                  <a:pt x="8" y="0"/>
                  <a:pt x="8" y="0"/>
                  <a:pt x="8" y="0"/>
                </a:cubicBezTo>
                <a:cubicBezTo>
                  <a:pt x="9" y="0"/>
                  <a:pt x="9" y="0"/>
                  <a:pt x="9" y="0"/>
                </a:cubicBezTo>
                <a:cubicBezTo>
                  <a:pt x="7" y="0"/>
                  <a:pt x="7" y="0"/>
                  <a:pt x="7" y="0"/>
                </a:cubicBezTo>
                <a:close/>
                <a:moveTo>
                  <a:pt x="5" y="0"/>
                </a:moveTo>
                <a:cubicBezTo>
                  <a:pt x="5" y="1"/>
                  <a:pt x="5" y="1"/>
                  <a:pt x="5" y="1"/>
                </a:cubicBezTo>
                <a:cubicBezTo>
                  <a:pt x="6" y="1"/>
                  <a:pt x="6" y="1"/>
                  <a:pt x="6" y="1"/>
                </a:cubicBezTo>
                <a:cubicBezTo>
                  <a:pt x="5" y="0"/>
                  <a:pt x="5" y="0"/>
                  <a:pt x="5" y="0"/>
                </a:cubicBezTo>
                <a:close/>
                <a:moveTo>
                  <a:pt x="0" y="6"/>
                </a:moveTo>
                <a:cubicBezTo>
                  <a:pt x="1" y="5"/>
                  <a:pt x="1" y="5"/>
                  <a:pt x="1" y="5"/>
                </a:cubicBezTo>
                <a:cubicBezTo>
                  <a:pt x="2" y="6"/>
                  <a:pt x="2" y="6"/>
                  <a:pt x="2" y="6"/>
                </a:cubicBezTo>
                <a:cubicBezTo>
                  <a:pt x="2" y="6"/>
                  <a:pt x="2" y="6"/>
                  <a:pt x="2" y="6"/>
                </a:cubicBezTo>
                <a:cubicBezTo>
                  <a:pt x="1" y="6"/>
                  <a:pt x="1" y="6"/>
                  <a:pt x="1" y="6"/>
                </a:cubicBezTo>
                <a:cubicBezTo>
                  <a:pt x="0" y="6"/>
                  <a:pt x="0" y="6"/>
                  <a:pt x="0" y="6"/>
                </a:cubicBezTo>
                <a:close/>
                <a:moveTo>
                  <a:pt x="9" y="8"/>
                </a:moveTo>
                <a:cubicBezTo>
                  <a:pt x="10" y="8"/>
                  <a:pt x="10" y="8"/>
                  <a:pt x="10" y="8"/>
                </a:cubicBezTo>
                <a:cubicBezTo>
                  <a:pt x="11" y="9"/>
                  <a:pt x="11" y="9"/>
                  <a:pt x="11" y="9"/>
                </a:cubicBezTo>
                <a:cubicBezTo>
                  <a:pt x="12" y="9"/>
                  <a:pt x="12" y="9"/>
                  <a:pt x="12" y="9"/>
                </a:cubicBezTo>
                <a:cubicBezTo>
                  <a:pt x="12" y="9"/>
                  <a:pt x="12" y="9"/>
                  <a:pt x="12" y="9"/>
                </a:cubicBezTo>
                <a:cubicBezTo>
                  <a:pt x="11" y="8"/>
                  <a:pt x="11" y="8"/>
                  <a:pt x="11" y="8"/>
                </a:cubicBezTo>
                <a:cubicBezTo>
                  <a:pt x="12" y="7"/>
                  <a:pt x="12" y="7"/>
                  <a:pt x="12" y="7"/>
                </a:cubicBezTo>
                <a:cubicBezTo>
                  <a:pt x="13" y="8"/>
                  <a:pt x="13" y="8"/>
                  <a:pt x="13" y="8"/>
                </a:cubicBezTo>
                <a:cubicBezTo>
                  <a:pt x="13" y="8"/>
                  <a:pt x="13" y="8"/>
                  <a:pt x="13" y="8"/>
                </a:cubicBezTo>
                <a:cubicBezTo>
                  <a:pt x="13" y="7"/>
                  <a:pt x="13" y="7"/>
                  <a:pt x="13" y="7"/>
                </a:cubicBezTo>
                <a:cubicBezTo>
                  <a:pt x="13" y="6"/>
                  <a:pt x="13" y="6"/>
                  <a:pt x="13" y="6"/>
                </a:cubicBezTo>
                <a:cubicBezTo>
                  <a:pt x="14" y="7"/>
                  <a:pt x="14" y="7"/>
                  <a:pt x="14" y="7"/>
                </a:cubicBezTo>
                <a:cubicBezTo>
                  <a:pt x="15" y="6"/>
                  <a:pt x="15" y="6"/>
                  <a:pt x="15" y="6"/>
                </a:cubicBezTo>
                <a:cubicBezTo>
                  <a:pt x="15" y="6"/>
                  <a:pt x="15" y="6"/>
                  <a:pt x="15" y="6"/>
                </a:cubicBezTo>
                <a:cubicBezTo>
                  <a:pt x="14" y="6"/>
                  <a:pt x="14" y="6"/>
                  <a:pt x="14" y="6"/>
                </a:cubicBezTo>
                <a:cubicBezTo>
                  <a:pt x="13" y="6"/>
                  <a:pt x="13" y="6"/>
                  <a:pt x="13" y="6"/>
                </a:cubicBezTo>
                <a:cubicBezTo>
                  <a:pt x="14" y="5"/>
                  <a:pt x="14" y="5"/>
                  <a:pt x="14" y="5"/>
                </a:cubicBezTo>
                <a:cubicBezTo>
                  <a:pt x="15" y="5"/>
                  <a:pt x="15" y="5"/>
                  <a:pt x="15" y="5"/>
                </a:cubicBezTo>
                <a:cubicBezTo>
                  <a:pt x="17" y="5"/>
                  <a:pt x="17" y="5"/>
                  <a:pt x="17" y="5"/>
                </a:cubicBezTo>
                <a:cubicBezTo>
                  <a:pt x="18" y="4"/>
                  <a:pt x="18" y="4"/>
                  <a:pt x="18" y="4"/>
                </a:cubicBezTo>
                <a:cubicBezTo>
                  <a:pt x="19" y="4"/>
                  <a:pt x="19" y="4"/>
                  <a:pt x="19" y="4"/>
                </a:cubicBezTo>
                <a:cubicBezTo>
                  <a:pt x="19" y="3"/>
                  <a:pt x="19" y="3"/>
                  <a:pt x="19" y="3"/>
                </a:cubicBezTo>
                <a:cubicBezTo>
                  <a:pt x="18" y="3"/>
                  <a:pt x="18" y="3"/>
                  <a:pt x="18" y="3"/>
                </a:cubicBezTo>
                <a:cubicBezTo>
                  <a:pt x="18" y="3"/>
                  <a:pt x="18" y="3"/>
                  <a:pt x="18" y="3"/>
                </a:cubicBezTo>
                <a:cubicBezTo>
                  <a:pt x="18" y="2"/>
                  <a:pt x="18" y="2"/>
                  <a:pt x="18" y="2"/>
                </a:cubicBezTo>
                <a:cubicBezTo>
                  <a:pt x="19" y="2"/>
                  <a:pt x="19" y="2"/>
                  <a:pt x="19" y="2"/>
                </a:cubicBezTo>
                <a:cubicBezTo>
                  <a:pt x="19" y="2"/>
                  <a:pt x="19" y="2"/>
                  <a:pt x="19" y="2"/>
                </a:cubicBezTo>
                <a:cubicBezTo>
                  <a:pt x="17" y="1"/>
                  <a:pt x="17" y="1"/>
                  <a:pt x="17" y="1"/>
                </a:cubicBezTo>
                <a:cubicBezTo>
                  <a:pt x="16" y="1"/>
                  <a:pt x="16" y="1"/>
                  <a:pt x="16" y="1"/>
                </a:cubicBezTo>
                <a:cubicBezTo>
                  <a:pt x="17" y="2"/>
                  <a:pt x="17" y="2"/>
                  <a:pt x="17" y="2"/>
                </a:cubicBezTo>
                <a:cubicBezTo>
                  <a:pt x="16" y="3"/>
                  <a:pt x="16" y="3"/>
                  <a:pt x="16" y="3"/>
                </a:cubicBezTo>
                <a:cubicBezTo>
                  <a:pt x="15" y="1"/>
                  <a:pt x="15" y="1"/>
                  <a:pt x="15" y="1"/>
                </a:cubicBezTo>
                <a:cubicBezTo>
                  <a:pt x="15" y="0"/>
                  <a:pt x="15" y="0"/>
                  <a:pt x="15" y="0"/>
                </a:cubicBezTo>
                <a:cubicBezTo>
                  <a:pt x="13" y="0"/>
                  <a:pt x="13" y="0"/>
                  <a:pt x="13" y="0"/>
                </a:cubicBezTo>
                <a:cubicBezTo>
                  <a:pt x="13" y="1"/>
                  <a:pt x="13" y="1"/>
                  <a:pt x="13" y="1"/>
                </a:cubicBezTo>
                <a:cubicBezTo>
                  <a:pt x="12" y="1"/>
                  <a:pt x="12" y="1"/>
                  <a:pt x="12" y="1"/>
                </a:cubicBezTo>
                <a:cubicBezTo>
                  <a:pt x="12" y="2"/>
                  <a:pt x="12" y="2"/>
                  <a:pt x="12" y="2"/>
                </a:cubicBezTo>
                <a:cubicBezTo>
                  <a:pt x="12" y="3"/>
                  <a:pt x="12" y="3"/>
                  <a:pt x="12" y="3"/>
                </a:cubicBezTo>
                <a:cubicBezTo>
                  <a:pt x="13" y="4"/>
                  <a:pt x="13" y="4"/>
                  <a:pt x="13" y="4"/>
                </a:cubicBezTo>
                <a:cubicBezTo>
                  <a:pt x="13" y="5"/>
                  <a:pt x="13" y="5"/>
                  <a:pt x="13" y="5"/>
                </a:cubicBezTo>
                <a:cubicBezTo>
                  <a:pt x="12" y="4"/>
                  <a:pt x="12" y="4"/>
                  <a:pt x="12" y="4"/>
                </a:cubicBezTo>
                <a:cubicBezTo>
                  <a:pt x="11" y="5"/>
                  <a:pt x="11" y="5"/>
                  <a:pt x="11" y="5"/>
                </a:cubicBezTo>
                <a:cubicBezTo>
                  <a:pt x="9" y="8"/>
                  <a:pt x="9" y="8"/>
                  <a:pt x="9" y="8"/>
                </a:cubicBezTo>
                <a:close/>
                <a:moveTo>
                  <a:pt x="8" y="1"/>
                </a:moveTo>
                <a:cubicBezTo>
                  <a:pt x="9" y="2"/>
                  <a:pt x="9" y="2"/>
                  <a:pt x="9" y="2"/>
                </a:cubicBezTo>
                <a:cubicBezTo>
                  <a:pt x="9" y="2"/>
                  <a:pt x="9" y="2"/>
                  <a:pt x="9" y="2"/>
                </a:cubicBezTo>
                <a:cubicBezTo>
                  <a:pt x="10" y="1"/>
                  <a:pt x="10" y="1"/>
                  <a:pt x="10" y="1"/>
                </a:cubicBezTo>
                <a:cubicBezTo>
                  <a:pt x="10" y="1"/>
                  <a:pt x="10" y="1"/>
                  <a:pt x="10" y="1"/>
                </a:cubicBezTo>
                <a:cubicBezTo>
                  <a:pt x="11" y="2"/>
                  <a:pt x="11" y="2"/>
                  <a:pt x="11" y="2"/>
                </a:cubicBezTo>
                <a:cubicBezTo>
                  <a:pt x="10" y="3"/>
                  <a:pt x="10" y="3"/>
                  <a:pt x="10" y="3"/>
                </a:cubicBezTo>
                <a:cubicBezTo>
                  <a:pt x="9" y="5"/>
                  <a:pt x="9" y="5"/>
                  <a:pt x="9" y="5"/>
                </a:cubicBezTo>
                <a:cubicBezTo>
                  <a:pt x="9" y="6"/>
                  <a:pt x="9" y="6"/>
                  <a:pt x="9" y="6"/>
                </a:cubicBezTo>
                <a:cubicBezTo>
                  <a:pt x="7" y="7"/>
                  <a:pt x="7" y="7"/>
                  <a:pt x="7" y="7"/>
                </a:cubicBezTo>
                <a:cubicBezTo>
                  <a:pt x="6" y="6"/>
                  <a:pt x="6" y="6"/>
                  <a:pt x="6" y="6"/>
                </a:cubicBezTo>
                <a:cubicBezTo>
                  <a:pt x="5" y="7"/>
                  <a:pt x="5" y="7"/>
                  <a:pt x="5" y="7"/>
                </a:cubicBezTo>
                <a:cubicBezTo>
                  <a:pt x="6" y="8"/>
                  <a:pt x="6" y="8"/>
                  <a:pt x="6" y="8"/>
                </a:cubicBezTo>
                <a:cubicBezTo>
                  <a:pt x="5" y="9"/>
                  <a:pt x="5" y="9"/>
                  <a:pt x="5" y="9"/>
                </a:cubicBezTo>
                <a:cubicBezTo>
                  <a:pt x="4" y="8"/>
                  <a:pt x="4" y="8"/>
                  <a:pt x="4" y="8"/>
                </a:cubicBezTo>
                <a:cubicBezTo>
                  <a:pt x="3" y="9"/>
                  <a:pt x="3" y="9"/>
                  <a:pt x="3" y="9"/>
                </a:cubicBezTo>
                <a:cubicBezTo>
                  <a:pt x="2" y="8"/>
                  <a:pt x="2" y="8"/>
                  <a:pt x="2" y="8"/>
                </a:cubicBezTo>
                <a:cubicBezTo>
                  <a:pt x="2" y="7"/>
                  <a:pt x="2" y="7"/>
                  <a:pt x="2" y="7"/>
                </a:cubicBezTo>
                <a:cubicBezTo>
                  <a:pt x="3" y="7"/>
                  <a:pt x="3" y="7"/>
                  <a:pt x="3" y="7"/>
                </a:cubicBezTo>
                <a:cubicBezTo>
                  <a:pt x="4" y="6"/>
                  <a:pt x="4" y="6"/>
                  <a:pt x="4" y="6"/>
                </a:cubicBezTo>
                <a:cubicBezTo>
                  <a:pt x="4" y="5"/>
                  <a:pt x="4" y="5"/>
                  <a:pt x="4" y="5"/>
                </a:cubicBezTo>
                <a:cubicBezTo>
                  <a:pt x="5" y="5"/>
                  <a:pt x="5" y="5"/>
                  <a:pt x="5" y="5"/>
                </a:cubicBezTo>
                <a:cubicBezTo>
                  <a:pt x="6" y="5"/>
                  <a:pt x="6" y="5"/>
                  <a:pt x="6" y="5"/>
                </a:cubicBezTo>
                <a:cubicBezTo>
                  <a:pt x="6" y="4"/>
                  <a:pt x="6" y="4"/>
                  <a:pt x="6" y="4"/>
                </a:cubicBezTo>
                <a:cubicBezTo>
                  <a:pt x="5" y="4"/>
                  <a:pt x="5" y="4"/>
                  <a:pt x="5" y="4"/>
                </a:cubicBezTo>
                <a:cubicBezTo>
                  <a:pt x="3" y="2"/>
                  <a:pt x="3" y="2"/>
                  <a:pt x="3" y="2"/>
                </a:cubicBezTo>
                <a:cubicBezTo>
                  <a:pt x="4" y="2"/>
                  <a:pt x="4" y="2"/>
                  <a:pt x="4" y="2"/>
                </a:cubicBezTo>
                <a:cubicBezTo>
                  <a:pt x="5" y="3"/>
                  <a:pt x="5" y="3"/>
                  <a:pt x="5" y="3"/>
                </a:cubicBezTo>
                <a:cubicBezTo>
                  <a:pt x="6" y="3"/>
                  <a:pt x="6" y="3"/>
                  <a:pt x="6" y="3"/>
                </a:cubicBezTo>
                <a:cubicBezTo>
                  <a:pt x="7" y="1"/>
                  <a:pt x="7" y="1"/>
                  <a:pt x="7" y="1"/>
                </a:cubicBezTo>
                <a:lnTo>
                  <a:pt x="8" y="1"/>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0" name="Freeform 178">
            <a:extLst>
              <a:ext uri="{FF2B5EF4-FFF2-40B4-BE49-F238E27FC236}">
                <a16:creationId xmlns:a16="http://schemas.microsoft.com/office/drawing/2014/main" id="{C9036A10-C271-105B-72A7-E19633EBB030}"/>
              </a:ext>
            </a:extLst>
          </p:cNvPr>
          <p:cNvSpPr>
            <a:spLocks/>
          </p:cNvSpPr>
          <p:nvPr userDrawn="1"/>
        </p:nvSpPr>
        <p:spPr bwMode="auto">
          <a:xfrm>
            <a:off x="8048101" y="8771809"/>
            <a:ext cx="349227" cy="158750"/>
          </a:xfrm>
          <a:custGeom>
            <a:avLst/>
            <a:gdLst>
              <a:gd name="T0" fmla="*/ 94 w 110"/>
              <a:gd name="T1" fmla="*/ 43 h 50"/>
              <a:gd name="T2" fmla="*/ 88 w 110"/>
              <a:gd name="T3" fmla="*/ 31 h 50"/>
              <a:gd name="T4" fmla="*/ 94 w 110"/>
              <a:gd name="T5" fmla="*/ 25 h 50"/>
              <a:gd name="T6" fmla="*/ 97 w 110"/>
              <a:gd name="T7" fmla="*/ 25 h 50"/>
              <a:gd name="T8" fmla="*/ 94 w 110"/>
              <a:gd name="T9" fmla="*/ 22 h 50"/>
              <a:gd name="T10" fmla="*/ 91 w 110"/>
              <a:gd name="T11" fmla="*/ 25 h 50"/>
              <a:gd name="T12" fmla="*/ 88 w 110"/>
              <a:gd name="T13" fmla="*/ 18 h 50"/>
              <a:gd name="T14" fmla="*/ 81 w 110"/>
              <a:gd name="T15" fmla="*/ 15 h 50"/>
              <a:gd name="T16" fmla="*/ 75 w 110"/>
              <a:gd name="T17" fmla="*/ 9 h 50"/>
              <a:gd name="T18" fmla="*/ 66 w 110"/>
              <a:gd name="T19" fmla="*/ 12 h 50"/>
              <a:gd name="T20" fmla="*/ 66 w 110"/>
              <a:gd name="T21" fmla="*/ 18 h 50"/>
              <a:gd name="T22" fmla="*/ 60 w 110"/>
              <a:gd name="T23" fmla="*/ 25 h 50"/>
              <a:gd name="T24" fmla="*/ 50 w 110"/>
              <a:gd name="T25" fmla="*/ 28 h 50"/>
              <a:gd name="T26" fmla="*/ 50 w 110"/>
              <a:gd name="T27" fmla="*/ 34 h 50"/>
              <a:gd name="T28" fmla="*/ 56 w 110"/>
              <a:gd name="T29" fmla="*/ 37 h 50"/>
              <a:gd name="T30" fmla="*/ 56 w 110"/>
              <a:gd name="T31" fmla="*/ 43 h 50"/>
              <a:gd name="T32" fmla="*/ 50 w 110"/>
              <a:gd name="T33" fmla="*/ 47 h 50"/>
              <a:gd name="T34" fmla="*/ 41 w 110"/>
              <a:gd name="T35" fmla="*/ 47 h 50"/>
              <a:gd name="T36" fmla="*/ 41 w 110"/>
              <a:gd name="T37" fmla="*/ 43 h 50"/>
              <a:gd name="T38" fmla="*/ 41 w 110"/>
              <a:gd name="T39" fmla="*/ 37 h 50"/>
              <a:gd name="T40" fmla="*/ 38 w 110"/>
              <a:gd name="T41" fmla="*/ 34 h 50"/>
              <a:gd name="T42" fmla="*/ 38 w 110"/>
              <a:gd name="T43" fmla="*/ 37 h 50"/>
              <a:gd name="T44" fmla="*/ 31 w 110"/>
              <a:gd name="T45" fmla="*/ 40 h 50"/>
              <a:gd name="T46" fmla="*/ 25 w 110"/>
              <a:gd name="T47" fmla="*/ 34 h 50"/>
              <a:gd name="T48" fmla="*/ 19 w 110"/>
              <a:gd name="T49" fmla="*/ 28 h 50"/>
              <a:gd name="T50" fmla="*/ 16 w 110"/>
              <a:gd name="T51" fmla="*/ 25 h 50"/>
              <a:gd name="T52" fmla="*/ 13 w 110"/>
              <a:gd name="T53" fmla="*/ 25 h 50"/>
              <a:gd name="T54" fmla="*/ 6 w 110"/>
              <a:gd name="T55" fmla="*/ 25 h 50"/>
              <a:gd name="T56" fmla="*/ 3 w 110"/>
              <a:gd name="T57" fmla="*/ 25 h 50"/>
              <a:gd name="T58" fmla="*/ 3 w 110"/>
              <a:gd name="T59" fmla="*/ 18 h 50"/>
              <a:gd name="T60" fmla="*/ 3 w 110"/>
              <a:gd name="T61" fmla="*/ 12 h 50"/>
              <a:gd name="T62" fmla="*/ 3 w 110"/>
              <a:gd name="T63" fmla="*/ 9 h 50"/>
              <a:gd name="T64" fmla="*/ 3 w 110"/>
              <a:gd name="T65" fmla="*/ 3 h 50"/>
              <a:gd name="T66" fmla="*/ 10 w 110"/>
              <a:gd name="T67" fmla="*/ 3 h 50"/>
              <a:gd name="T68" fmla="*/ 13 w 110"/>
              <a:gd name="T69" fmla="*/ 6 h 50"/>
              <a:gd name="T70" fmla="*/ 16 w 110"/>
              <a:gd name="T71" fmla="*/ 6 h 50"/>
              <a:gd name="T72" fmla="*/ 16 w 110"/>
              <a:gd name="T73" fmla="*/ 9 h 50"/>
              <a:gd name="T74" fmla="*/ 16 w 110"/>
              <a:gd name="T75" fmla="*/ 12 h 50"/>
              <a:gd name="T76" fmla="*/ 22 w 110"/>
              <a:gd name="T77" fmla="*/ 12 h 50"/>
              <a:gd name="T78" fmla="*/ 19 w 110"/>
              <a:gd name="T79" fmla="*/ 9 h 50"/>
              <a:gd name="T80" fmla="*/ 25 w 110"/>
              <a:gd name="T81" fmla="*/ 9 h 50"/>
              <a:gd name="T82" fmla="*/ 38 w 110"/>
              <a:gd name="T83" fmla="*/ 15 h 50"/>
              <a:gd name="T84" fmla="*/ 47 w 110"/>
              <a:gd name="T85" fmla="*/ 12 h 50"/>
              <a:gd name="T86" fmla="*/ 63 w 110"/>
              <a:gd name="T87" fmla="*/ 3 h 50"/>
              <a:gd name="T88" fmla="*/ 72 w 110"/>
              <a:gd name="T89" fmla="*/ 0 h 50"/>
              <a:gd name="T90" fmla="*/ 75 w 110"/>
              <a:gd name="T91" fmla="*/ 3 h 50"/>
              <a:gd name="T92" fmla="*/ 88 w 110"/>
              <a:gd name="T93" fmla="*/ 3 h 50"/>
              <a:gd name="T94" fmla="*/ 100 w 110"/>
              <a:gd name="T95" fmla="*/ 9 h 50"/>
              <a:gd name="T96" fmla="*/ 103 w 110"/>
              <a:gd name="T97" fmla="*/ 15 h 50"/>
              <a:gd name="T98" fmla="*/ 110 w 110"/>
              <a:gd name="T99" fmla="*/ 18 h 50"/>
              <a:gd name="T100" fmla="*/ 110 w 110"/>
              <a:gd name="T101" fmla="*/ 25 h 50"/>
              <a:gd name="T102" fmla="*/ 106 w 110"/>
              <a:gd name="T103" fmla="*/ 34 h 50"/>
              <a:gd name="T104" fmla="*/ 103 w 110"/>
              <a:gd name="T105" fmla="*/ 40 h 50"/>
              <a:gd name="T106" fmla="*/ 100 w 110"/>
              <a:gd name="T107" fmla="*/ 4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 h="50">
                <a:moveTo>
                  <a:pt x="100" y="47"/>
                </a:moveTo>
                <a:lnTo>
                  <a:pt x="94" y="43"/>
                </a:lnTo>
                <a:lnTo>
                  <a:pt x="91" y="37"/>
                </a:lnTo>
                <a:lnTo>
                  <a:pt x="88" y="31"/>
                </a:lnTo>
                <a:lnTo>
                  <a:pt x="91" y="31"/>
                </a:lnTo>
                <a:lnTo>
                  <a:pt x="94" y="25"/>
                </a:lnTo>
                <a:lnTo>
                  <a:pt x="97" y="25"/>
                </a:lnTo>
                <a:lnTo>
                  <a:pt x="97" y="25"/>
                </a:lnTo>
                <a:lnTo>
                  <a:pt x="97" y="22"/>
                </a:lnTo>
                <a:lnTo>
                  <a:pt x="94" y="22"/>
                </a:lnTo>
                <a:lnTo>
                  <a:pt x="91" y="25"/>
                </a:lnTo>
                <a:lnTo>
                  <a:pt x="91" y="25"/>
                </a:lnTo>
                <a:lnTo>
                  <a:pt x="88" y="25"/>
                </a:lnTo>
                <a:lnTo>
                  <a:pt x="88" y="18"/>
                </a:lnTo>
                <a:lnTo>
                  <a:pt x="85" y="15"/>
                </a:lnTo>
                <a:lnTo>
                  <a:pt x="81" y="15"/>
                </a:lnTo>
                <a:lnTo>
                  <a:pt x="78" y="12"/>
                </a:lnTo>
                <a:lnTo>
                  <a:pt x="75" y="9"/>
                </a:lnTo>
                <a:lnTo>
                  <a:pt x="69" y="9"/>
                </a:lnTo>
                <a:lnTo>
                  <a:pt x="66" y="12"/>
                </a:lnTo>
                <a:lnTo>
                  <a:pt x="63" y="18"/>
                </a:lnTo>
                <a:lnTo>
                  <a:pt x="66" y="18"/>
                </a:lnTo>
                <a:lnTo>
                  <a:pt x="66" y="18"/>
                </a:lnTo>
                <a:lnTo>
                  <a:pt x="60" y="25"/>
                </a:lnTo>
                <a:lnTo>
                  <a:pt x="53" y="25"/>
                </a:lnTo>
                <a:lnTo>
                  <a:pt x="50" y="28"/>
                </a:lnTo>
                <a:lnTo>
                  <a:pt x="50" y="31"/>
                </a:lnTo>
                <a:lnTo>
                  <a:pt x="50" y="34"/>
                </a:lnTo>
                <a:lnTo>
                  <a:pt x="53" y="34"/>
                </a:lnTo>
                <a:lnTo>
                  <a:pt x="56" y="37"/>
                </a:lnTo>
                <a:lnTo>
                  <a:pt x="56" y="43"/>
                </a:lnTo>
                <a:lnTo>
                  <a:pt x="56" y="43"/>
                </a:lnTo>
                <a:lnTo>
                  <a:pt x="53" y="43"/>
                </a:lnTo>
                <a:lnTo>
                  <a:pt x="50" y="47"/>
                </a:lnTo>
                <a:lnTo>
                  <a:pt x="47" y="50"/>
                </a:lnTo>
                <a:lnTo>
                  <a:pt x="41" y="47"/>
                </a:lnTo>
                <a:lnTo>
                  <a:pt x="41" y="47"/>
                </a:lnTo>
                <a:lnTo>
                  <a:pt x="41" y="43"/>
                </a:lnTo>
                <a:lnTo>
                  <a:pt x="41" y="40"/>
                </a:lnTo>
                <a:lnTo>
                  <a:pt x="41" y="37"/>
                </a:lnTo>
                <a:lnTo>
                  <a:pt x="38" y="34"/>
                </a:lnTo>
                <a:lnTo>
                  <a:pt x="38" y="34"/>
                </a:lnTo>
                <a:lnTo>
                  <a:pt x="35" y="37"/>
                </a:lnTo>
                <a:lnTo>
                  <a:pt x="38" y="37"/>
                </a:lnTo>
                <a:lnTo>
                  <a:pt x="35" y="40"/>
                </a:lnTo>
                <a:lnTo>
                  <a:pt x="31" y="40"/>
                </a:lnTo>
                <a:lnTo>
                  <a:pt x="28" y="40"/>
                </a:lnTo>
                <a:lnTo>
                  <a:pt x="25" y="34"/>
                </a:lnTo>
                <a:lnTo>
                  <a:pt x="25" y="28"/>
                </a:lnTo>
                <a:lnTo>
                  <a:pt x="19" y="28"/>
                </a:lnTo>
                <a:lnTo>
                  <a:pt x="16" y="28"/>
                </a:lnTo>
                <a:lnTo>
                  <a:pt x="16" y="25"/>
                </a:lnTo>
                <a:lnTo>
                  <a:pt x="16" y="25"/>
                </a:lnTo>
                <a:lnTo>
                  <a:pt x="13" y="25"/>
                </a:lnTo>
                <a:lnTo>
                  <a:pt x="10" y="25"/>
                </a:lnTo>
                <a:lnTo>
                  <a:pt x="6" y="25"/>
                </a:lnTo>
                <a:lnTo>
                  <a:pt x="3" y="25"/>
                </a:lnTo>
                <a:lnTo>
                  <a:pt x="3" y="25"/>
                </a:lnTo>
                <a:lnTo>
                  <a:pt x="3" y="22"/>
                </a:lnTo>
                <a:lnTo>
                  <a:pt x="3" y="18"/>
                </a:lnTo>
                <a:lnTo>
                  <a:pt x="6" y="15"/>
                </a:lnTo>
                <a:lnTo>
                  <a:pt x="3" y="12"/>
                </a:lnTo>
                <a:lnTo>
                  <a:pt x="0" y="12"/>
                </a:lnTo>
                <a:lnTo>
                  <a:pt x="3" y="9"/>
                </a:lnTo>
                <a:lnTo>
                  <a:pt x="3" y="6"/>
                </a:lnTo>
                <a:lnTo>
                  <a:pt x="3" y="3"/>
                </a:lnTo>
                <a:lnTo>
                  <a:pt x="6" y="3"/>
                </a:lnTo>
                <a:lnTo>
                  <a:pt x="10" y="3"/>
                </a:lnTo>
                <a:lnTo>
                  <a:pt x="10" y="3"/>
                </a:lnTo>
                <a:lnTo>
                  <a:pt x="13" y="6"/>
                </a:lnTo>
                <a:lnTo>
                  <a:pt x="16" y="6"/>
                </a:lnTo>
                <a:lnTo>
                  <a:pt x="16" y="6"/>
                </a:lnTo>
                <a:lnTo>
                  <a:pt x="16" y="9"/>
                </a:lnTo>
                <a:lnTo>
                  <a:pt x="16" y="9"/>
                </a:lnTo>
                <a:lnTo>
                  <a:pt x="16" y="9"/>
                </a:lnTo>
                <a:lnTo>
                  <a:pt x="16" y="12"/>
                </a:lnTo>
                <a:lnTo>
                  <a:pt x="19" y="12"/>
                </a:lnTo>
                <a:lnTo>
                  <a:pt x="22" y="12"/>
                </a:lnTo>
                <a:lnTo>
                  <a:pt x="22" y="9"/>
                </a:lnTo>
                <a:lnTo>
                  <a:pt x="19" y="9"/>
                </a:lnTo>
                <a:lnTo>
                  <a:pt x="22" y="9"/>
                </a:lnTo>
                <a:lnTo>
                  <a:pt x="25" y="9"/>
                </a:lnTo>
                <a:lnTo>
                  <a:pt x="31" y="15"/>
                </a:lnTo>
                <a:lnTo>
                  <a:pt x="38" y="15"/>
                </a:lnTo>
                <a:lnTo>
                  <a:pt x="44" y="15"/>
                </a:lnTo>
                <a:lnTo>
                  <a:pt x="47" y="12"/>
                </a:lnTo>
                <a:lnTo>
                  <a:pt x="56" y="6"/>
                </a:lnTo>
                <a:lnTo>
                  <a:pt x="63" y="3"/>
                </a:lnTo>
                <a:lnTo>
                  <a:pt x="69" y="0"/>
                </a:lnTo>
                <a:lnTo>
                  <a:pt x="72" y="0"/>
                </a:lnTo>
                <a:lnTo>
                  <a:pt x="75" y="0"/>
                </a:lnTo>
                <a:lnTo>
                  <a:pt x="75" y="3"/>
                </a:lnTo>
                <a:lnTo>
                  <a:pt x="78" y="3"/>
                </a:lnTo>
                <a:lnTo>
                  <a:pt x="88" y="3"/>
                </a:lnTo>
                <a:lnTo>
                  <a:pt x="91" y="3"/>
                </a:lnTo>
                <a:lnTo>
                  <a:pt x="100" y="9"/>
                </a:lnTo>
                <a:lnTo>
                  <a:pt x="103" y="12"/>
                </a:lnTo>
                <a:lnTo>
                  <a:pt x="103" y="15"/>
                </a:lnTo>
                <a:lnTo>
                  <a:pt x="106" y="15"/>
                </a:lnTo>
                <a:lnTo>
                  <a:pt x="110" y="18"/>
                </a:lnTo>
                <a:lnTo>
                  <a:pt x="106" y="22"/>
                </a:lnTo>
                <a:lnTo>
                  <a:pt x="110" y="25"/>
                </a:lnTo>
                <a:lnTo>
                  <a:pt x="110" y="28"/>
                </a:lnTo>
                <a:lnTo>
                  <a:pt x="106" y="34"/>
                </a:lnTo>
                <a:lnTo>
                  <a:pt x="106" y="37"/>
                </a:lnTo>
                <a:lnTo>
                  <a:pt x="103" y="40"/>
                </a:lnTo>
                <a:lnTo>
                  <a:pt x="100" y="40"/>
                </a:lnTo>
                <a:lnTo>
                  <a:pt x="100" y="47"/>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1" name="Freeform 179">
            <a:extLst>
              <a:ext uri="{FF2B5EF4-FFF2-40B4-BE49-F238E27FC236}">
                <a16:creationId xmlns:a16="http://schemas.microsoft.com/office/drawing/2014/main" id="{0AF6BB0E-7B6A-5016-6E7B-AA9B7488B2CC}"/>
              </a:ext>
            </a:extLst>
          </p:cNvPr>
          <p:cNvSpPr>
            <a:spLocks/>
          </p:cNvSpPr>
          <p:nvPr userDrawn="1"/>
        </p:nvSpPr>
        <p:spPr bwMode="auto">
          <a:xfrm>
            <a:off x="7870311" y="8670209"/>
            <a:ext cx="209536" cy="200026"/>
          </a:xfrm>
          <a:custGeom>
            <a:avLst/>
            <a:gdLst>
              <a:gd name="T0" fmla="*/ 59 w 66"/>
              <a:gd name="T1" fmla="*/ 57 h 63"/>
              <a:gd name="T2" fmla="*/ 59 w 66"/>
              <a:gd name="T3" fmla="*/ 57 h 63"/>
              <a:gd name="T4" fmla="*/ 59 w 66"/>
              <a:gd name="T5" fmla="*/ 63 h 63"/>
              <a:gd name="T6" fmla="*/ 53 w 66"/>
              <a:gd name="T7" fmla="*/ 60 h 63"/>
              <a:gd name="T8" fmla="*/ 53 w 66"/>
              <a:gd name="T9" fmla="*/ 60 h 63"/>
              <a:gd name="T10" fmla="*/ 50 w 66"/>
              <a:gd name="T11" fmla="*/ 50 h 63"/>
              <a:gd name="T12" fmla="*/ 47 w 66"/>
              <a:gd name="T13" fmla="*/ 50 h 63"/>
              <a:gd name="T14" fmla="*/ 50 w 66"/>
              <a:gd name="T15" fmla="*/ 54 h 63"/>
              <a:gd name="T16" fmla="*/ 50 w 66"/>
              <a:gd name="T17" fmla="*/ 60 h 63"/>
              <a:gd name="T18" fmla="*/ 47 w 66"/>
              <a:gd name="T19" fmla="*/ 57 h 63"/>
              <a:gd name="T20" fmla="*/ 41 w 66"/>
              <a:gd name="T21" fmla="*/ 54 h 63"/>
              <a:gd name="T22" fmla="*/ 41 w 66"/>
              <a:gd name="T23" fmla="*/ 47 h 63"/>
              <a:gd name="T24" fmla="*/ 37 w 66"/>
              <a:gd name="T25" fmla="*/ 41 h 63"/>
              <a:gd name="T26" fmla="*/ 31 w 66"/>
              <a:gd name="T27" fmla="*/ 35 h 63"/>
              <a:gd name="T28" fmla="*/ 25 w 66"/>
              <a:gd name="T29" fmla="*/ 28 h 63"/>
              <a:gd name="T30" fmla="*/ 22 w 66"/>
              <a:gd name="T31" fmla="*/ 22 h 63"/>
              <a:gd name="T32" fmla="*/ 12 w 66"/>
              <a:gd name="T33" fmla="*/ 19 h 63"/>
              <a:gd name="T34" fmla="*/ 12 w 66"/>
              <a:gd name="T35" fmla="*/ 22 h 63"/>
              <a:gd name="T36" fmla="*/ 19 w 66"/>
              <a:gd name="T37" fmla="*/ 28 h 63"/>
              <a:gd name="T38" fmla="*/ 16 w 66"/>
              <a:gd name="T39" fmla="*/ 35 h 63"/>
              <a:gd name="T40" fmla="*/ 9 w 66"/>
              <a:gd name="T41" fmla="*/ 28 h 63"/>
              <a:gd name="T42" fmla="*/ 0 w 66"/>
              <a:gd name="T43" fmla="*/ 22 h 63"/>
              <a:gd name="T44" fmla="*/ 0 w 66"/>
              <a:gd name="T45" fmla="*/ 16 h 63"/>
              <a:gd name="T46" fmla="*/ 3 w 66"/>
              <a:gd name="T47" fmla="*/ 10 h 63"/>
              <a:gd name="T48" fmla="*/ 0 w 66"/>
              <a:gd name="T49" fmla="*/ 7 h 63"/>
              <a:gd name="T50" fmla="*/ 3 w 66"/>
              <a:gd name="T51" fmla="*/ 3 h 63"/>
              <a:gd name="T52" fmla="*/ 3 w 66"/>
              <a:gd name="T53" fmla="*/ 0 h 63"/>
              <a:gd name="T54" fmla="*/ 9 w 66"/>
              <a:gd name="T55" fmla="*/ 0 h 63"/>
              <a:gd name="T56" fmla="*/ 25 w 66"/>
              <a:gd name="T57" fmla="*/ 0 h 63"/>
              <a:gd name="T58" fmla="*/ 31 w 66"/>
              <a:gd name="T59" fmla="*/ 3 h 63"/>
              <a:gd name="T60" fmla="*/ 34 w 66"/>
              <a:gd name="T61" fmla="*/ 7 h 63"/>
              <a:gd name="T62" fmla="*/ 41 w 66"/>
              <a:gd name="T63" fmla="*/ 10 h 63"/>
              <a:gd name="T64" fmla="*/ 41 w 66"/>
              <a:gd name="T65" fmla="*/ 10 h 63"/>
              <a:gd name="T66" fmla="*/ 47 w 66"/>
              <a:gd name="T67" fmla="*/ 10 h 63"/>
              <a:gd name="T68" fmla="*/ 50 w 66"/>
              <a:gd name="T69" fmla="*/ 13 h 63"/>
              <a:gd name="T70" fmla="*/ 53 w 66"/>
              <a:gd name="T71" fmla="*/ 19 h 63"/>
              <a:gd name="T72" fmla="*/ 56 w 66"/>
              <a:gd name="T73" fmla="*/ 28 h 63"/>
              <a:gd name="T74" fmla="*/ 62 w 66"/>
              <a:gd name="T75" fmla="*/ 32 h 63"/>
              <a:gd name="T76" fmla="*/ 66 w 66"/>
              <a:gd name="T77" fmla="*/ 35 h 63"/>
              <a:gd name="T78" fmla="*/ 59 w 66"/>
              <a:gd name="T79" fmla="*/ 35 h 63"/>
              <a:gd name="T80" fmla="*/ 59 w 66"/>
              <a:gd name="T81" fmla="*/ 41 h 63"/>
              <a:gd name="T82" fmla="*/ 59 w 66"/>
              <a:gd name="T83" fmla="*/ 44 h 63"/>
              <a:gd name="T84" fmla="*/ 59 w 66"/>
              <a:gd name="T85" fmla="*/ 50 h 63"/>
              <a:gd name="T86" fmla="*/ 59 w 66"/>
              <a:gd name="T87" fmla="*/ 57 h 63"/>
              <a:gd name="T88" fmla="*/ 59 w 66"/>
              <a:gd name="T89" fmla="*/ 5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 h="63">
                <a:moveTo>
                  <a:pt x="59" y="57"/>
                </a:moveTo>
                <a:lnTo>
                  <a:pt x="59" y="57"/>
                </a:lnTo>
                <a:lnTo>
                  <a:pt x="59" y="57"/>
                </a:lnTo>
                <a:lnTo>
                  <a:pt x="59" y="57"/>
                </a:lnTo>
                <a:lnTo>
                  <a:pt x="59" y="60"/>
                </a:lnTo>
                <a:lnTo>
                  <a:pt x="59" y="63"/>
                </a:lnTo>
                <a:lnTo>
                  <a:pt x="56" y="63"/>
                </a:lnTo>
                <a:lnTo>
                  <a:pt x="53" y="60"/>
                </a:lnTo>
                <a:lnTo>
                  <a:pt x="53" y="60"/>
                </a:lnTo>
                <a:lnTo>
                  <a:pt x="53" y="60"/>
                </a:lnTo>
                <a:lnTo>
                  <a:pt x="53" y="57"/>
                </a:lnTo>
                <a:lnTo>
                  <a:pt x="50" y="50"/>
                </a:lnTo>
                <a:lnTo>
                  <a:pt x="47" y="50"/>
                </a:lnTo>
                <a:lnTo>
                  <a:pt x="47" y="50"/>
                </a:lnTo>
                <a:lnTo>
                  <a:pt x="47" y="50"/>
                </a:lnTo>
                <a:lnTo>
                  <a:pt x="50" y="54"/>
                </a:lnTo>
                <a:lnTo>
                  <a:pt x="50" y="57"/>
                </a:lnTo>
                <a:lnTo>
                  <a:pt x="50" y="60"/>
                </a:lnTo>
                <a:lnTo>
                  <a:pt x="50" y="60"/>
                </a:lnTo>
                <a:lnTo>
                  <a:pt x="47" y="57"/>
                </a:lnTo>
                <a:lnTo>
                  <a:pt x="41" y="57"/>
                </a:lnTo>
                <a:lnTo>
                  <a:pt x="41" y="54"/>
                </a:lnTo>
                <a:lnTo>
                  <a:pt x="41" y="50"/>
                </a:lnTo>
                <a:lnTo>
                  <a:pt x="41" y="47"/>
                </a:lnTo>
                <a:lnTo>
                  <a:pt x="41" y="44"/>
                </a:lnTo>
                <a:lnTo>
                  <a:pt x="37" y="41"/>
                </a:lnTo>
                <a:lnTo>
                  <a:pt x="34" y="38"/>
                </a:lnTo>
                <a:lnTo>
                  <a:pt x="31" y="35"/>
                </a:lnTo>
                <a:lnTo>
                  <a:pt x="25" y="32"/>
                </a:lnTo>
                <a:lnTo>
                  <a:pt x="25" y="28"/>
                </a:lnTo>
                <a:lnTo>
                  <a:pt x="22" y="25"/>
                </a:lnTo>
                <a:lnTo>
                  <a:pt x="22" y="22"/>
                </a:lnTo>
                <a:lnTo>
                  <a:pt x="19" y="22"/>
                </a:lnTo>
                <a:lnTo>
                  <a:pt x="12" y="19"/>
                </a:lnTo>
                <a:lnTo>
                  <a:pt x="12" y="19"/>
                </a:lnTo>
                <a:lnTo>
                  <a:pt x="12" y="22"/>
                </a:lnTo>
                <a:lnTo>
                  <a:pt x="19" y="25"/>
                </a:lnTo>
                <a:lnTo>
                  <a:pt x="19" y="28"/>
                </a:lnTo>
                <a:lnTo>
                  <a:pt x="19" y="35"/>
                </a:lnTo>
                <a:lnTo>
                  <a:pt x="16" y="35"/>
                </a:lnTo>
                <a:lnTo>
                  <a:pt x="12" y="32"/>
                </a:lnTo>
                <a:lnTo>
                  <a:pt x="9" y="28"/>
                </a:lnTo>
                <a:lnTo>
                  <a:pt x="6" y="28"/>
                </a:lnTo>
                <a:lnTo>
                  <a:pt x="0" y="22"/>
                </a:lnTo>
                <a:lnTo>
                  <a:pt x="0" y="19"/>
                </a:lnTo>
                <a:lnTo>
                  <a:pt x="0" y="16"/>
                </a:lnTo>
                <a:lnTo>
                  <a:pt x="3" y="13"/>
                </a:lnTo>
                <a:lnTo>
                  <a:pt x="3" y="10"/>
                </a:lnTo>
                <a:lnTo>
                  <a:pt x="0" y="10"/>
                </a:lnTo>
                <a:lnTo>
                  <a:pt x="0" y="7"/>
                </a:lnTo>
                <a:lnTo>
                  <a:pt x="0" y="7"/>
                </a:lnTo>
                <a:lnTo>
                  <a:pt x="3" y="3"/>
                </a:lnTo>
                <a:lnTo>
                  <a:pt x="0" y="0"/>
                </a:lnTo>
                <a:lnTo>
                  <a:pt x="3" y="0"/>
                </a:lnTo>
                <a:lnTo>
                  <a:pt x="3" y="0"/>
                </a:lnTo>
                <a:lnTo>
                  <a:pt x="9" y="0"/>
                </a:lnTo>
                <a:lnTo>
                  <a:pt x="19" y="3"/>
                </a:lnTo>
                <a:lnTo>
                  <a:pt x="25" y="0"/>
                </a:lnTo>
                <a:lnTo>
                  <a:pt x="28" y="0"/>
                </a:lnTo>
                <a:lnTo>
                  <a:pt x="31" y="3"/>
                </a:lnTo>
                <a:lnTo>
                  <a:pt x="34" y="7"/>
                </a:lnTo>
                <a:lnTo>
                  <a:pt x="34" y="7"/>
                </a:lnTo>
                <a:lnTo>
                  <a:pt x="37" y="10"/>
                </a:lnTo>
                <a:lnTo>
                  <a:pt x="41" y="10"/>
                </a:lnTo>
                <a:lnTo>
                  <a:pt x="41" y="10"/>
                </a:lnTo>
                <a:lnTo>
                  <a:pt x="41" y="10"/>
                </a:lnTo>
                <a:lnTo>
                  <a:pt x="44" y="10"/>
                </a:lnTo>
                <a:lnTo>
                  <a:pt x="47" y="10"/>
                </a:lnTo>
                <a:lnTo>
                  <a:pt x="47" y="10"/>
                </a:lnTo>
                <a:lnTo>
                  <a:pt x="50" y="13"/>
                </a:lnTo>
                <a:lnTo>
                  <a:pt x="50" y="16"/>
                </a:lnTo>
                <a:lnTo>
                  <a:pt x="53" y="19"/>
                </a:lnTo>
                <a:lnTo>
                  <a:pt x="56" y="25"/>
                </a:lnTo>
                <a:lnTo>
                  <a:pt x="56" y="28"/>
                </a:lnTo>
                <a:lnTo>
                  <a:pt x="59" y="28"/>
                </a:lnTo>
                <a:lnTo>
                  <a:pt x="62" y="32"/>
                </a:lnTo>
                <a:lnTo>
                  <a:pt x="66" y="32"/>
                </a:lnTo>
                <a:lnTo>
                  <a:pt x="66" y="35"/>
                </a:lnTo>
                <a:lnTo>
                  <a:pt x="62" y="35"/>
                </a:lnTo>
                <a:lnTo>
                  <a:pt x="59" y="35"/>
                </a:lnTo>
                <a:lnTo>
                  <a:pt x="59" y="38"/>
                </a:lnTo>
                <a:lnTo>
                  <a:pt x="59" y="41"/>
                </a:lnTo>
                <a:lnTo>
                  <a:pt x="56" y="44"/>
                </a:lnTo>
                <a:lnTo>
                  <a:pt x="59" y="44"/>
                </a:lnTo>
                <a:lnTo>
                  <a:pt x="62" y="47"/>
                </a:lnTo>
                <a:lnTo>
                  <a:pt x="59" y="50"/>
                </a:lnTo>
                <a:lnTo>
                  <a:pt x="59" y="54"/>
                </a:lnTo>
                <a:lnTo>
                  <a:pt x="59" y="57"/>
                </a:lnTo>
                <a:lnTo>
                  <a:pt x="59" y="57"/>
                </a:lnTo>
                <a:lnTo>
                  <a:pt x="59" y="57"/>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2" name="Freeform 180">
            <a:extLst>
              <a:ext uri="{FF2B5EF4-FFF2-40B4-BE49-F238E27FC236}">
                <a16:creationId xmlns:a16="http://schemas.microsoft.com/office/drawing/2014/main" id="{754DBB29-E5B2-DD9D-8970-4F521F668BAA}"/>
              </a:ext>
            </a:extLst>
          </p:cNvPr>
          <p:cNvSpPr>
            <a:spLocks/>
          </p:cNvSpPr>
          <p:nvPr userDrawn="1"/>
        </p:nvSpPr>
        <p:spPr bwMode="auto">
          <a:xfrm>
            <a:off x="7771893" y="8422558"/>
            <a:ext cx="285731" cy="279400"/>
          </a:xfrm>
          <a:custGeom>
            <a:avLst/>
            <a:gdLst>
              <a:gd name="T0" fmla="*/ 11 w 29"/>
              <a:gd name="T1" fmla="*/ 25 h 28"/>
              <a:gd name="T2" fmla="*/ 13 w 29"/>
              <a:gd name="T3" fmla="*/ 25 h 28"/>
              <a:gd name="T4" fmla="*/ 18 w 29"/>
              <a:gd name="T5" fmla="*/ 25 h 28"/>
              <a:gd name="T6" fmla="*/ 20 w 29"/>
              <a:gd name="T7" fmla="*/ 26 h 28"/>
              <a:gd name="T8" fmla="*/ 21 w 29"/>
              <a:gd name="T9" fmla="*/ 27 h 28"/>
              <a:gd name="T10" fmla="*/ 23 w 29"/>
              <a:gd name="T11" fmla="*/ 28 h 28"/>
              <a:gd name="T12" fmla="*/ 23 w 29"/>
              <a:gd name="T13" fmla="*/ 28 h 28"/>
              <a:gd name="T14" fmla="*/ 24 w 29"/>
              <a:gd name="T15" fmla="*/ 26 h 28"/>
              <a:gd name="T16" fmla="*/ 23 w 29"/>
              <a:gd name="T17" fmla="*/ 24 h 28"/>
              <a:gd name="T18" fmla="*/ 24 w 29"/>
              <a:gd name="T19" fmla="*/ 22 h 28"/>
              <a:gd name="T20" fmla="*/ 24 w 29"/>
              <a:gd name="T21" fmla="*/ 21 h 28"/>
              <a:gd name="T22" fmla="*/ 23 w 29"/>
              <a:gd name="T23" fmla="*/ 22 h 28"/>
              <a:gd name="T24" fmla="*/ 23 w 29"/>
              <a:gd name="T25" fmla="*/ 20 h 28"/>
              <a:gd name="T26" fmla="*/ 24 w 29"/>
              <a:gd name="T27" fmla="*/ 18 h 28"/>
              <a:gd name="T28" fmla="*/ 24 w 29"/>
              <a:gd name="T29" fmla="*/ 15 h 28"/>
              <a:gd name="T30" fmla="*/ 25 w 29"/>
              <a:gd name="T31" fmla="*/ 16 h 28"/>
              <a:gd name="T32" fmla="*/ 25 w 29"/>
              <a:gd name="T33" fmla="*/ 18 h 28"/>
              <a:gd name="T34" fmla="*/ 26 w 29"/>
              <a:gd name="T35" fmla="*/ 18 h 28"/>
              <a:gd name="T36" fmla="*/ 26 w 29"/>
              <a:gd name="T37" fmla="*/ 12 h 28"/>
              <a:gd name="T38" fmla="*/ 26 w 29"/>
              <a:gd name="T39" fmla="*/ 11 h 28"/>
              <a:gd name="T40" fmla="*/ 25 w 29"/>
              <a:gd name="T41" fmla="*/ 10 h 28"/>
              <a:gd name="T42" fmla="*/ 26 w 29"/>
              <a:gd name="T43" fmla="*/ 10 h 28"/>
              <a:gd name="T44" fmla="*/ 27 w 29"/>
              <a:gd name="T45" fmla="*/ 8 h 28"/>
              <a:gd name="T46" fmla="*/ 28 w 29"/>
              <a:gd name="T47" fmla="*/ 6 h 28"/>
              <a:gd name="T48" fmla="*/ 28 w 29"/>
              <a:gd name="T49" fmla="*/ 5 h 28"/>
              <a:gd name="T50" fmla="*/ 28 w 29"/>
              <a:gd name="T51" fmla="*/ 4 h 28"/>
              <a:gd name="T52" fmla="*/ 28 w 29"/>
              <a:gd name="T53" fmla="*/ 1 h 28"/>
              <a:gd name="T54" fmla="*/ 29 w 29"/>
              <a:gd name="T55" fmla="*/ 0 h 28"/>
              <a:gd name="T56" fmla="*/ 27 w 29"/>
              <a:gd name="T57" fmla="*/ 0 h 28"/>
              <a:gd name="T58" fmla="*/ 26 w 29"/>
              <a:gd name="T59" fmla="*/ 0 h 28"/>
              <a:gd name="T60" fmla="*/ 25 w 29"/>
              <a:gd name="T61" fmla="*/ 1 h 28"/>
              <a:gd name="T62" fmla="*/ 23 w 29"/>
              <a:gd name="T63" fmla="*/ 2 h 28"/>
              <a:gd name="T64" fmla="*/ 22 w 29"/>
              <a:gd name="T65" fmla="*/ 3 h 28"/>
              <a:gd name="T66" fmla="*/ 20 w 29"/>
              <a:gd name="T67" fmla="*/ 3 h 28"/>
              <a:gd name="T68" fmla="*/ 19 w 29"/>
              <a:gd name="T69" fmla="*/ 2 h 28"/>
              <a:gd name="T70" fmla="*/ 18 w 29"/>
              <a:gd name="T71" fmla="*/ 3 h 28"/>
              <a:gd name="T72" fmla="*/ 16 w 29"/>
              <a:gd name="T73" fmla="*/ 4 h 28"/>
              <a:gd name="T74" fmla="*/ 15 w 29"/>
              <a:gd name="T75" fmla="*/ 5 h 28"/>
              <a:gd name="T76" fmla="*/ 13 w 29"/>
              <a:gd name="T77" fmla="*/ 7 h 28"/>
              <a:gd name="T78" fmla="*/ 11 w 29"/>
              <a:gd name="T79" fmla="*/ 8 h 28"/>
              <a:gd name="T80" fmla="*/ 10 w 29"/>
              <a:gd name="T81" fmla="*/ 7 h 28"/>
              <a:gd name="T82" fmla="*/ 7 w 29"/>
              <a:gd name="T83" fmla="*/ 8 h 28"/>
              <a:gd name="T84" fmla="*/ 5 w 29"/>
              <a:gd name="T85" fmla="*/ 9 h 28"/>
              <a:gd name="T86" fmla="*/ 5 w 29"/>
              <a:gd name="T87" fmla="*/ 12 h 28"/>
              <a:gd name="T88" fmla="*/ 3 w 29"/>
              <a:gd name="T89" fmla="*/ 13 h 28"/>
              <a:gd name="T90" fmla="*/ 1 w 29"/>
              <a:gd name="T91" fmla="*/ 14 h 28"/>
              <a:gd name="T92" fmla="*/ 0 w 29"/>
              <a:gd name="T93" fmla="*/ 13 h 28"/>
              <a:gd name="T94" fmla="*/ 2 w 29"/>
              <a:gd name="T95" fmla="*/ 17 h 28"/>
              <a:gd name="T96" fmla="*/ 3 w 29"/>
              <a:gd name="T97" fmla="*/ 18 h 28"/>
              <a:gd name="T98" fmla="*/ 6 w 29"/>
              <a:gd name="T99" fmla="*/ 22 h 28"/>
              <a:gd name="T100" fmla="*/ 10 w 29"/>
              <a:gd name="T10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 h="28">
                <a:moveTo>
                  <a:pt x="10" y="25"/>
                </a:moveTo>
                <a:cubicBezTo>
                  <a:pt x="11" y="25"/>
                  <a:pt x="11" y="25"/>
                  <a:pt x="11" y="25"/>
                </a:cubicBezTo>
                <a:cubicBezTo>
                  <a:pt x="11" y="25"/>
                  <a:pt x="11" y="25"/>
                  <a:pt x="11" y="25"/>
                </a:cubicBezTo>
                <a:cubicBezTo>
                  <a:pt x="13" y="25"/>
                  <a:pt x="13" y="25"/>
                  <a:pt x="13" y="25"/>
                </a:cubicBezTo>
                <a:cubicBezTo>
                  <a:pt x="16" y="26"/>
                  <a:pt x="16" y="26"/>
                  <a:pt x="16" y="26"/>
                </a:cubicBezTo>
                <a:cubicBezTo>
                  <a:pt x="18" y="25"/>
                  <a:pt x="18" y="25"/>
                  <a:pt x="18" y="25"/>
                </a:cubicBezTo>
                <a:cubicBezTo>
                  <a:pt x="19" y="25"/>
                  <a:pt x="19" y="25"/>
                  <a:pt x="19" y="25"/>
                </a:cubicBezTo>
                <a:cubicBezTo>
                  <a:pt x="20" y="26"/>
                  <a:pt x="20" y="26"/>
                  <a:pt x="20" y="26"/>
                </a:cubicBezTo>
                <a:cubicBezTo>
                  <a:pt x="21" y="27"/>
                  <a:pt x="21" y="27"/>
                  <a:pt x="21" y="27"/>
                </a:cubicBezTo>
                <a:cubicBezTo>
                  <a:pt x="21" y="27"/>
                  <a:pt x="21" y="27"/>
                  <a:pt x="21" y="27"/>
                </a:cubicBezTo>
                <a:cubicBezTo>
                  <a:pt x="22" y="28"/>
                  <a:pt x="22" y="28"/>
                  <a:pt x="22" y="28"/>
                </a:cubicBezTo>
                <a:cubicBezTo>
                  <a:pt x="23" y="28"/>
                  <a:pt x="23" y="28"/>
                  <a:pt x="23" y="28"/>
                </a:cubicBezTo>
                <a:cubicBezTo>
                  <a:pt x="23" y="28"/>
                  <a:pt x="23" y="28"/>
                  <a:pt x="23" y="28"/>
                </a:cubicBezTo>
                <a:cubicBezTo>
                  <a:pt x="23" y="28"/>
                  <a:pt x="23" y="28"/>
                  <a:pt x="23" y="28"/>
                </a:cubicBezTo>
                <a:cubicBezTo>
                  <a:pt x="24" y="27"/>
                  <a:pt x="24" y="27"/>
                  <a:pt x="24" y="27"/>
                </a:cubicBezTo>
                <a:cubicBezTo>
                  <a:pt x="24" y="26"/>
                  <a:pt x="24" y="26"/>
                  <a:pt x="24" y="26"/>
                </a:cubicBezTo>
                <a:cubicBezTo>
                  <a:pt x="23" y="26"/>
                  <a:pt x="23" y="26"/>
                  <a:pt x="23" y="26"/>
                </a:cubicBezTo>
                <a:cubicBezTo>
                  <a:pt x="23" y="24"/>
                  <a:pt x="23" y="24"/>
                  <a:pt x="23" y="24"/>
                </a:cubicBezTo>
                <a:cubicBezTo>
                  <a:pt x="24" y="23"/>
                  <a:pt x="24" y="23"/>
                  <a:pt x="24" y="23"/>
                </a:cubicBezTo>
                <a:cubicBezTo>
                  <a:pt x="24" y="22"/>
                  <a:pt x="24" y="22"/>
                  <a:pt x="24" y="22"/>
                </a:cubicBezTo>
                <a:cubicBezTo>
                  <a:pt x="24" y="20"/>
                  <a:pt x="24" y="20"/>
                  <a:pt x="24" y="20"/>
                </a:cubicBezTo>
                <a:cubicBezTo>
                  <a:pt x="24" y="21"/>
                  <a:pt x="24" y="21"/>
                  <a:pt x="24" y="21"/>
                </a:cubicBezTo>
                <a:cubicBezTo>
                  <a:pt x="24" y="22"/>
                  <a:pt x="24" y="22"/>
                  <a:pt x="24" y="22"/>
                </a:cubicBezTo>
                <a:cubicBezTo>
                  <a:pt x="23" y="22"/>
                  <a:pt x="23" y="22"/>
                  <a:pt x="23" y="22"/>
                </a:cubicBezTo>
                <a:cubicBezTo>
                  <a:pt x="23" y="21"/>
                  <a:pt x="23" y="21"/>
                  <a:pt x="23" y="21"/>
                </a:cubicBezTo>
                <a:cubicBezTo>
                  <a:pt x="23" y="20"/>
                  <a:pt x="23" y="20"/>
                  <a:pt x="23" y="20"/>
                </a:cubicBezTo>
                <a:cubicBezTo>
                  <a:pt x="24" y="19"/>
                  <a:pt x="24" y="19"/>
                  <a:pt x="24" y="19"/>
                </a:cubicBezTo>
                <a:cubicBezTo>
                  <a:pt x="24" y="18"/>
                  <a:pt x="24" y="18"/>
                  <a:pt x="24" y="18"/>
                </a:cubicBezTo>
                <a:cubicBezTo>
                  <a:pt x="24" y="17"/>
                  <a:pt x="24" y="17"/>
                  <a:pt x="24" y="17"/>
                </a:cubicBezTo>
                <a:cubicBezTo>
                  <a:pt x="24" y="15"/>
                  <a:pt x="24" y="15"/>
                  <a:pt x="24" y="15"/>
                </a:cubicBezTo>
                <a:cubicBezTo>
                  <a:pt x="25" y="15"/>
                  <a:pt x="25" y="15"/>
                  <a:pt x="25" y="15"/>
                </a:cubicBezTo>
                <a:cubicBezTo>
                  <a:pt x="25" y="16"/>
                  <a:pt x="25" y="16"/>
                  <a:pt x="25" y="16"/>
                </a:cubicBezTo>
                <a:cubicBezTo>
                  <a:pt x="25" y="16"/>
                  <a:pt x="25" y="17"/>
                  <a:pt x="25" y="17"/>
                </a:cubicBezTo>
                <a:cubicBezTo>
                  <a:pt x="25" y="17"/>
                  <a:pt x="25" y="18"/>
                  <a:pt x="25" y="18"/>
                </a:cubicBezTo>
                <a:cubicBezTo>
                  <a:pt x="25" y="18"/>
                  <a:pt x="25" y="18"/>
                  <a:pt x="25" y="18"/>
                </a:cubicBezTo>
                <a:cubicBezTo>
                  <a:pt x="26" y="18"/>
                  <a:pt x="26" y="18"/>
                  <a:pt x="26" y="18"/>
                </a:cubicBezTo>
                <a:cubicBezTo>
                  <a:pt x="26" y="15"/>
                  <a:pt x="26" y="15"/>
                  <a:pt x="26" y="15"/>
                </a:cubicBezTo>
                <a:cubicBezTo>
                  <a:pt x="26" y="12"/>
                  <a:pt x="26" y="12"/>
                  <a:pt x="26" y="12"/>
                </a:cubicBezTo>
                <a:cubicBezTo>
                  <a:pt x="26" y="12"/>
                  <a:pt x="26" y="12"/>
                  <a:pt x="26" y="12"/>
                </a:cubicBezTo>
                <a:cubicBezTo>
                  <a:pt x="26" y="11"/>
                  <a:pt x="26" y="11"/>
                  <a:pt x="26" y="11"/>
                </a:cubicBezTo>
                <a:cubicBezTo>
                  <a:pt x="25" y="11"/>
                  <a:pt x="25" y="11"/>
                  <a:pt x="25" y="11"/>
                </a:cubicBezTo>
                <a:cubicBezTo>
                  <a:pt x="25" y="10"/>
                  <a:pt x="25" y="10"/>
                  <a:pt x="25" y="10"/>
                </a:cubicBezTo>
                <a:cubicBezTo>
                  <a:pt x="26" y="10"/>
                  <a:pt x="26" y="10"/>
                  <a:pt x="26" y="10"/>
                </a:cubicBezTo>
                <a:cubicBezTo>
                  <a:pt x="26" y="10"/>
                  <a:pt x="26" y="10"/>
                  <a:pt x="26" y="10"/>
                </a:cubicBezTo>
                <a:cubicBezTo>
                  <a:pt x="26" y="10"/>
                  <a:pt x="26" y="10"/>
                  <a:pt x="26" y="10"/>
                </a:cubicBezTo>
                <a:cubicBezTo>
                  <a:pt x="27" y="8"/>
                  <a:pt x="27" y="8"/>
                  <a:pt x="27" y="8"/>
                </a:cubicBezTo>
                <a:cubicBezTo>
                  <a:pt x="28" y="7"/>
                  <a:pt x="28" y="7"/>
                  <a:pt x="28" y="7"/>
                </a:cubicBezTo>
                <a:cubicBezTo>
                  <a:pt x="28" y="6"/>
                  <a:pt x="28" y="6"/>
                  <a:pt x="28" y="6"/>
                </a:cubicBezTo>
                <a:cubicBezTo>
                  <a:pt x="28" y="6"/>
                  <a:pt x="28" y="6"/>
                  <a:pt x="28" y="6"/>
                </a:cubicBezTo>
                <a:cubicBezTo>
                  <a:pt x="28" y="5"/>
                  <a:pt x="28" y="5"/>
                  <a:pt x="28" y="5"/>
                </a:cubicBezTo>
                <a:cubicBezTo>
                  <a:pt x="28" y="5"/>
                  <a:pt x="28" y="5"/>
                  <a:pt x="28" y="5"/>
                </a:cubicBezTo>
                <a:cubicBezTo>
                  <a:pt x="28" y="4"/>
                  <a:pt x="28" y="4"/>
                  <a:pt x="28" y="4"/>
                </a:cubicBezTo>
                <a:cubicBezTo>
                  <a:pt x="28" y="3"/>
                  <a:pt x="28" y="3"/>
                  <a:pt x="28" y="3"/>
                </a:cubicBezTo>
                <a:cubicBezTo>
                  <a:pt x="28" y="1"/>
                  <a:pt x="28" y="1"/>
                  <a:pt x="28" y="1"/>
                </a:cubicBezTo>
                <a:cubicBezTo>
                  <a:pt x="28" y="0"/>
                  <a:pt x="28" y="0"/>
                  <a:pt x="28" y="0"/>
                </a:cubicBezTo>
                <a:cubicBezTo>
                  <a:pt x="29" y="0"/>
                  <a:pt x="29" y="0"/>
                  <a:pt x="29" y="0"/>
                </a:cubicBezTo>
                <a:cubicBezTo>
                  <a:pt x="28" y="0"/>
                  <a:pt x="28" y="0"/>
                  <a:pt x="28" y="0"/>
                </a:cubicBezTo>
                <a:cubicBezTo>
                  <a:pt x="27" y="0"/>
                  <a:pt x="27" y="0"/>
                  <a:pt x="27" y="0"/>
                </a:cubicBezTo>
                <a:cubicBezTo>
                  <a:pt x="27" y="0"/>
                  <a:pt x="27" y="0"/>
                  <a:pt x="27" y="0"/>
                </a:cubicBezTo>
                <a:cubicBezTo>
                  <a:pt x="26" y="0"/>
                  <a:pt x="26" y="0"/>
                  <a:pt x="26" y="0"/>
                </a:cubicBezTo>
                <a:cubicBezTo>
                  <a:pt x="25" y="0"/>
                  <a:pt x="25" y="0"/>
                  <a:pt x="25" y="0"/>
                </a:cubicBezTo>
                <a:cubicBezTo>
                  <a:pt x="25" y="1"/>
                  <a:pt x="25" y="1"/>
                  <a:pt x="25" y="1"/>
                </a:cubicBezTo>
                <a:cubicBezTo>
                  <a:pt x="24" y="1"/>
                  <a:pt x="24" y="1"/>
                  <a:pt x="24" y="1"/>
                </a:cubicBezTo>
                <a:cubicBezTo>
                  <a:pt x="23" y="2"/>
                  <a:pt x="23" y="2"/>
                  <a:pt x="23" y="2"/>
                </a:cubicBezTo>
                <a:cubicBezTo>
                  <a:pt x="22" y="2"/>
                  <a:pt x="22" y="2"/>
                  <a:pt x="22" y="2"/>
                </a:cubicBezTo>
                <a:cubicBezTo>
                  <a:pt x="22" y="3"/>
                  <a:pt x="22" y="3"/>
                  <a:pt x="22" y="3"/>
                </a:cubicBezTo>
                <a:cubicBezTo>
                  <a:pt x="21" y="3"/>
                  <a:pt x="21" y="3"/>
                  <a:pt x="21" y="3"/>
                </a:cubicBezTo>
                <a:cubicBezTo>
                  <a:pt x="20" y="3"/>
                  <a:pt x="20" y="3"/>
                  <a:pt x="20" y="3"/>
                </a:cubicBezTo>
                <a:cubicBezTo>
                  <a:pt x="20" y="2"/>
                  <a:pt x="20" y="2"/>
                  <a:pt x="20" y="2"/>
                </a:cubicBezTo>
                <a:cubicBezTo>
                  <a:pt x="19" y="2"/>
                  <a:pt x="19" y="2"/>
                  <a:pt x="19" y="2"/>
                </a:cubicBezTo>
                <a:cubicBezTo>
                  <a:pt x="18" y="2"/>
                  <a:pt x="18" y="2"/>
                  <a:pt x="18" y="2"/>
                </a:cubicBezTo>
                <a:cubicBezTo>
                  <a:pt x="18" y="3"/>
                  <a:pt x="18" y="3"/>
                  <a:pt x="18" y="3"/>
                </a:cubicBezTo>
                <a:cubicBezTo>
                  <a:pt x="17" y="3"/>
                  <a:pt x="17" y="3"/>
                  <a:pt x="17" y="3"/>
                </a:cubicBezTo>
                <a:cubicBezTo>
                  <a:pt x="16" y="4"/>
                  <a:pt x="16" y="4"/>
                  <a:pt x="16" y="4"/>
                </a:cubicBezTo>
                <a:cubicBezTo>
                  <a:pt x="16" y="5"/>
                  <a:pt x="16" y="5"/>
                  <a:pt x="16" y="5"/>
                </a:cubicBezTo>
                <a:cubicBezTo>
                  <a:pt x="15" y="5"/>
                  <a:pt x="15" y="5"/>
                  <a:pt x="15" y="5"/>
                </a:cubicBezTo>
                <a:cubicBezTo>
                  <a:pt x="14" y="7"/>
                  <a:pt x="14" y="7"/>
                  <a:pt x="14" y="7"/>
                </a:cubicBezTo>
                <a:cubicBezTo>
                  <a:pt x="13" y="7"/>
                  <a:pt x="13" y="7"/>
                  <a:pt x="13" y="7"/>
                </a:cubicBezTo>
                <a:cubicBezTo>
                  <a:pt x="12" y="8"/>
                  <a:pt x="12" y="8"/>
                  <a:pt x="12" y="8"/>
                </a:cubicBezTo>
                <a:cubicBezTo>
                  <a:pt x="11" y="8"/>
                  <a:pt x="11" y="8"/>
                  <a:pt x="11" y="8"/>
                </a:cubicBezTo>
                <a:cubicBezTo>
                  <a:pt x="11" y="8"/>
                  <a:pt x="11" y="8"/>
                  <a:pt x="11" y="8"/>
                </a:cubicBezTo>
                <a:cubicBezTo>
                  <a:pt x="10" y="7"/>
                  <a:pt x="10" y="7"/>
                  <a:pt x="10" y="7"/>
                </a:cubicBezTo>
                <a:cubicBezTo>
                  <a:pt x="9" y="7"/>
                  <a:pt x="9" y="7"/>
                  <a:pt x="9" y="7"/>
                </a:cubicBezTo>
                <a:cubicBezTo>
                  <a:pt x="7" y="8"/>
                  <a:pt x="7" y="8"/>
                  <a:pt x="7" y="8"/>
                </a:cubicBezTo>
                <a:cubicBezTo>
                  <a:pt x="5" y="8"/>
                  <a:pt x="5" y="8"/>
                  <a:pt x="5" y="8"/>
                </a:cubicBezTo>
                <a:cubicBezTo>
                  <a:pt x="5" y="9"/>
                  <a:pt x="5" y="9"/>
                  <a:pt x="5" y="9"/>
                </a:cubicBezTo>
                <a:cubicBezTo>
                  <a:pt x="5" y="10"/>
                  <a:pt x="5" y="10"/>
                  <a:pt x="5" y="10"/>
                </a:cubicBezTo>
                <a:cubicBezTo>
                  <a:pt x="5" y="12"/>
                  <a:pt x="5" y="12"/>
                  <a:pt x="5" y="12"/>
                </a:cubicBezTo>
                <a:cubicBezTo>
                  <a:pt x="4" y="13"/>
                  <a:pt x="4" y="13"/>
                  <a:pt x="4" y="13"/>
                </a:cubicBezTo>
                <a:cubicBezTo>
                  <a:pt x="3" y="13"/>
                  <a:pt x="3" y="13"/>
                  <a:pt x="3" y="13"/>
                </a:cubicBezTo>
                <a:cubicBezTo>
                  <a:pt x="2" y="13"/>
                  <a:pt x="2" y="13"/>
                  <a:pt x="2" y="13"/>
                </a:cubicBezTo>
                <a:cubicBezTo>
                  <a:pt x="1" y="14"/>
                  <a:pt x="1" y="14"/>
                  <a:pt x="1" y="14"/>
                </a:cubicBezTo>
                <a:cubicBezTo>
                  <a:pt x="1" y="14"/>
                  <a:pt x="1" y="14"/>
                  <a:pt x="1" y="14"/>
                </a:cubicBezTo>
                <a:cubicBezTo>
                  <a:pt x="0" y="13"/>
                  <a:pt x="0" y="13"/>
                  <a:pt x="0" y="13"/>
                </a:cubicBezTo>
                <a:cubicBezTo>
                  <a:pt x="0" y="14"/>
                  <a:pt x="0" y="14"/>
                  <a:pt x="0" y="14"/>
                </a:cubicBezTo>
                <a:cubicBezTo>
                  <a:pt x="2" y="17"/>
                  <a:pt x="2" y="17"/>
                  <a:pt x="2" y="17"/>
                </a:cubicBezTo>
                <a:cubicBezTo>
                  <a:pt x="3" y="17"/>
                  <a:pt x="3" y="17"/>
                  <a:pt x="3" y="17"/>
                </a:cubicBezTo>
                <a:cubicBezTo>
                  <a:pt x="3" y="18"/>
                  <a:pt x="3" y="18"/>
                  <a:pt x="3" y="18"/>
                </a:cubicBezTo>
                <a:cubicBezTo>
                  <a:pt x="5" y="20"/>
                  <a:pt x="5" y="20"/>
                  <a:pt x="5" y="20"/>
                </a:cubicBezTo>
                <a:cubicBezTo>
                  <a:pt x="6" y="22"/>
                  <a:pt x="6" y="22"/>
                  <a:pt x="6" y="22"/>
                </a:cubicBezTo>
                <a:cubicBezTo>
                  <a:pt x="9" y="25"/>
                  <a:pt x="9" y="25"/>
                  <a:pt x="9" y="25"/>
                </a:cubicBezTo>
                <a:cubicBezTo>
                  <a:pt x="10" y="25"/>
                  <a:pt x="10" y="25"/>
                  <a:pt x="10" y="25"/>
                </a:cubicBez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3" name="Freeform 181">
            <a:extLst>
              <a:ext uri="{FF2B5EF4-FFF2-40B4-BE49-F238E27FC236}">
                <a16:creationId xmlns:a16="http://schemas.microsoft.com/office/drawing/2014/main" id="{F1C238C5-1AD8-4C15-E7A1-86C875AC8613}"/>
              </a:ext>
            </a:extLst>
          </p:cNvPr>
          <p:cNvSpPr>
            <a:spLocks/>
          </p:cNvSpPr>
          <p:nvPr userDrawn="1"/>
        </p:nvSpPr>
        <p:spPr bwMode="auto">
          <a:xfrm>
            <a:off x="7641726" y="8352707"/>
            <a:ext cx="415899" cy="200026"/>
          </a:xfrm>
          <a:custGeom>
            <a:avLst/>
            <a:gdLst>
              <a:gd name="T0" fmla="*/ 50 w 131"/>
              <a:gd name="T1" fmla="*/ 63 h 63"/>
              <a:gd name="T2" fmla="*/ 56 w 131"/>
              <a:gd name="T3" fmla="*/ 60 h 63"/>
              <a:gd name="T4" fmla="*/ 56 w 131"/>
              <a:gd name="T5" fmla="*/ 50 h 63"/>
              <a:gd name="T6" fmla="*/ 63 w 131"/>
              <a:gd name="T7" fmla="*/ 47 h 63"/>
              <a:gd name="T8" fmla="*/ 72 w 131"/>
              <a:gd name="T9" fmla="*/ 44 h 63"/>
              <a:gd name="T10" fmla="*/ 75 w 131"/>
              <a:gd name="T11" fmla="*/ 47 h 63"/>
              <a:gd name="T12" fmla="*/ 81 w 131"/>
              <a:gd name="T13" fmla="*/ 44 h 63"/>
              <a:gd name="T14" fmla="*/ 88 w 131"/>
              <a:gd name="T15" fmla="*/ 38 h 63"/>
              <a:gd name="T16" fmla="*/ 91 w 131"/>
              <a:gd name="T17" fmla="*/ 35 h 63"/>
              <a:gd name="T18" fmla="*/ 97 w 131"/>
              <a:gd name="T19" fmla="*/ 32 h 63"/>
              <a:gd name="T20" fmla="*/ 100 w 131"/>
              <a:gd name="T21" fmla="*/ 28 h 63"/>
              <a:gd name="T22" fmla="*/ 103 w 131"/>
              <a:gd name="T23" fmla="*/ 32 h 63"/>
              <a:gd name="T24" fmla="*/ 109 w 131"/>
              <a:gd name="T25" fmla="*/ 32 h 63"/>
              <a:gd name="T26" fmla="*/ 113 w 131"/>
              <a:gd name="T27" fmla="*/ 28 h 63"/>
              <a:gd name="T28" fmla="*/ 119 w 131"/>
              <a:gd name="T29" fmla="*/ 25 h 63"/>
              <a:gd name="T30" fmla="*/ 122 w 131"/>
              <a:gd name="T31" fmla="*/ 22 h 63"/>
              <a:gd name="T32" fmla="*/ 125 w 131"/>
              <a:gd name="T33" fmla="*/ 22 h 63"/>
              <a:gd name="T34" fmla="*/ 131 w 131"/>
              <a:gd name="T35" fmla="*/ 22 h 63"/>
              <a:gd name="T36" fmla="*/ 131 w 131"/>
              <a:gd name="T37" fmla="*/ 19 h 63"/>
              <a:gd name="T38" fmla="*/ 122 w 131"/>
              <a:gd name="T39" fmla="*/ 13 h 63"/>
              <a:gd name="T40" fmla="*/ 122 w 131"/>
              <a:gd name="T41" fmla="*/ 19 h 63"/>
              <a:gd name="T42" fmla="*/ 113 w 131"/>
              <a:gd name="T43" fmla="*/ 16 h 63"/>
              <a:gd name="T44" fmla="*/ 106 w 131"/>
              <a:gd name="T45" fmla="*/ 16 h 63"/>
              <a:gd name="T46" fmla="*/ 106 w 131"/>
              <a:gd name="T47" fmla="*/ 13 h 63"/>
              <a:gd name="T48" fmla="*/ 106 w 131"/>
              <a:gd name="T49" fmla="*/ 10 h 63"/>
              <a:gd name="T50" fmla="*/ 113 w 131"/>
              <a:gd name="T51" fmla="*/ 10 h 63"/>
              <a:gd name="T52" fmla="*/ 119 w 131"/>
              <a:gd name="T53" fmla="*/ 13 h 63"/>
              <a:gd name="T54" fmla="*/ 109 w 131"/>
              <a:gd name="T55" fmla="*/ 6 h 63"/>
              <a:gd name="T56" fmla="*/ 103 w 131"/>
              <a:gd name="T57" fmla="*/ 6 h 63"/>
              <a:gd name="T58" fmla="*/ 100 w 131"/>
              <a:gd name="T59" fmla="*/ 10 h 63"/>
              <a:gd name="T60" fmla="*/ 91 w 131"/>
              <a:gd name="T61" fmla="*/ 6 h 63"/>
              <a:gd name="T62" fmla="*/ 75 w 131"/>
              <a:gd name="T63" fmla="*/ 0 h 63"/>
              <a:gd name="T64" fmla="*/ 72 w 131"/>
              <a:gd name="T65" fmla="*/ 3 h 63"/>
              <a:gd name="T66" fmla="*/ 69 w 131"/>
              <a:gd name="T67" fmla="*/ 3 h 63"/>
              <a:gd name="T68" fmla="*/ 66 w 131"/>
              <a:gd name="T69" fmla="*/ 3 h 63"/>
              <a:gd name="T70" fmla="*/ 50 w 131"/>
              <a:gd name="T71" fmla="*/ 6 h 63"/>
              <a:gd name="T72" fmla="*/ 34 w 131"/>
              <a:gd name="T73" fmla="*/ 10 h 63"/>
              <a:gd name="T74" fmla="*/ 31 w 131"/>
              <a:gd name="T75" fmla="*/ 10 h 63"/>
              <a:gd name="T76" fmla="*/ 25 w 131"/>
              <a:gd name="T77" fmla="*/ 13 h 63"/>
              <a:gd name="T78" fmla="*/ 19 w 131"/>
              <a:gd name="T79" fmla="*/ 16 h 63"/>
              <a:gd name="T80" fmla="*/ 9 w 131"/>
              <a:gd name="T81" fmla="*/ 25 h 63"/>
              <a:gd name="T82" fmla="*/ 9 w 131"/>
              <a:gd name="T83" fmla="*/ 35 h 63"/>
              <a:gd name="T84" fmla="*/ 3 w 131"/>
              <a:gd name="T85" fmla="*/ 38 h 63"/>
              <a:gd name="T86" fmla="*/ 3 w 131"/>
              <a:gd name="T87" fmla="*/ 41 h 63"/>
              <a:gd name="T88" fmla="*/ 3 w 131"/>
              <a:gd name="T89" fmla="*/ 53 h 63"/>
              <a:gd name="T90" fmla="*/ 12 w 131"/>
              <a:gd name="T91" fmla="*/ 57 h 63"/>
              <a:gd name="T92" fmla="*/ 19 w 131"/>
              <a:gd name="T93" fmla="*/ 60 h 63"/>
              <a:gd name="T94" fmla="*/ 16 w 131"/>
              <a:gd name="T95" fmla="*/ 57 h 63"/>
              <a:gd name="T96" fmla="*/ 25 w 131"/>
              <a:gd name="T97" fmla="*/ 60 h 63"/>
              <a:gd name="T98" fmla="*/ 34 w 131"/>
              <a:gd name="T99" fmla="*/ 63 h 63"/>
              <a:gd name="T100" fmla="*/ 38 w 131"/>
              <a:gd name="T101" fmla="*/ 57 h 63"/>
              <a:gd name="T102" fmla="*/ 41 w 131"/>
              <a:gd name="T103" fmla="*/ 57 h 63"/>
              <a:gd name="T104" fmla="*/ 41 w 131"/>
              <a:gd name="T105" fmla="*/ 60 h 63"/>
              <a:gd name="T106" fmla="*/ 44 w 131"/>
              <a:gd name="T107" fmla="*/ 60 h 63"/>
              <a:gd name="T108" fmla="*/ 47 w 131"/>
              <a:gd name="T109"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1" h="63">
                <a:moveTo>
                  <a:pt x="47" y="63"/>
                </a:moveTo>
                <a:lnTo>
                  <a:pt x="50" y="63"/>
                </a:lnTo>
                <a:lnTo>
                  <a:pt x="53" y="63"/>
                </a:lnTo>
                <a:lnTo>
                  <a:pt x="56" y="60"/>
                </a:lnTo>
                <a:lnTo>
                  <a:pt x="56" y="53"/>
                </a:lnTo>
                <a:lnTo>
                  <a:pt x="56" y="50"/>
                </a:lnTo>
                <a:lnTo>
                  <a:pt x="56" y="47"/>
                </a:lnTo>
                <a:lnTo>
                  <a:pt x="63" y="47"/>
                </a:lnTo>
                <a:lnTo>
                  <a:pt x="69" y="44"/>
                </a:lnTo>
                <a:lnTo>
                  <a:pt x="72" y="44"/>
                </a:lnTo>
                <a:lnTo>
                  <a:pt x="75" y="47"/>
                </a:lnTo>
                <a:lnTo>
                  <a:pt x="75" y="47"/>
                </a:lnTo>
                <a:lnTo>
                  <a:pt x="78" y="47"/>
                </a:lnTo>
                <a:lnTo>
                  <a:pt x="81" y="44"/>
                </a:lnTo>
                <a:lnTo>
                  <a:pt x="84" y="44"/>
                </a:lnTo>
                <a:lnTo>
                  <a:pt x="88" y="38"/>
                </a:lnTo>
                <a:lnTo>
                  <a:pt x="91" y="38"/>
                </a:lnTo>
                <a:lnTo>
                  <a:pt x="91" y="35"/>
                </a:lnTo>
                <a:lnTo>
                  <a:pt x="94" y="32"/>
                </a:lnTo>
                <a:lnTo>
                  <a:pt x="97" y="32"/>
                </a:lnTo>
                <a:lnTo>
                  <a:pt x="97" y="28"/>
                </a:lnTo>
                <a:lnTo>
                  <a:pt x="100" y="28"/>
                </a:lnTo>
                <a:lnTo>
                  <a:pt x="103" y="28"/>
                </a:lnTo>
                <a:lnTo>
                  <a:pt x="103" y="32"/>
                </a:lnTo>
                <a:lnTo>
                  <a:pt x="106" y="32"/>
                </a:lnTo>
                <a:lnTo>
                  <a:pt x="109" y="32"/>
                </a:lnTo>
                <a:lnTo>
                  <a:pt x="109" y="28"/>
                </a:lnTo>
                <a:lnTo>
                  <a:pt x="113" y="28"/>
                </a:lnTo>
                <a:lnTo>
                  <a:pt x="116" y="25"/>
                </a:lnTo>
                <a:lnTo>
                  <a:pt x="119" y="25"/>
                </a:lnTo>
                <a:lnTo>
                  <a:pt x="119" y="22"/>
                </a:lnTo>
                <a:lnTo>
                  <a:pt x="122" y="22"/>
                </a:lnTo>
                <a:lnTo>
                  <a:pt x="125" y="22"/>
                </a:lnTo>
                <a:lnTo>
                  <a:pt x="125" y="22"/>
                </a:lnTo>
                <a:lnTo>
                  <a:pt x="128" y="22"/>
                </a:lnTo>
                <a:lnTo>
                  <a:pt x="131" y="22"/>
                </a:lnTo>
                <a:lnTo>
                  <a:pt x="131" y="22"/>
                </a:lnTo>
                <a:lnTo>
                  <a:pt x="131" y="19"/>
                </a:lnTo>
                <a:lnTo>
                  <a:pt x="125" y="16"/>
                </a:lnTo>
                <a:lnTo>
                  <a:pt x="122" y="13"/>
                </a:lnTo>
                <a:lnTo>
                  <a:pt x="122" y="13"/>
                </a:lnTo>
                <a:lnTo>
                  <a:pt x="122" y="19"/>
                </a:lnTo>
                <a:lnTo>
                  <a:pt x="119" y="16"/>
                </a:lnTo>
                <a:lnTo>
                  <a:pt x="113" y="16"/>
                </a:lnTo>
                <a:lnTo>
                  <a:pt x="113" y="16"/>
                </a:lnTo>
                <a:lnTo>
                  <a:pt x="106" y="16"/>
                </a:lnTo>
                <a:lnTo>
                  <a:pt x="103" y="16"/>
                </a:lnTo>
                <a:lnTo>
                  <a:pt x="106" y="13"/>
                </a:lnTo>
                <a:lnTo>
                  <a:pt x="106" y="13"/>
                </a:lnTo>
                <a:lnTo>
                  <a:pt x="106" y="10"/>
                </a:lnTo>
                <a:lnTo>
                  <a:pt x="109" y="10"/>
                </a:lnTo>
                <a:lnTo>
                  <a:pt x="113" y="10"/>
                </a:lnTo>
                <a:lnTo>
                  <a:pt x="119" y="13"/>
                </a:lnTo>
                <a:lnTo>
                  <a:pt x="119" y="13"/>
                </a:lnTo>
                <a:lnTo>
                  <a:pt x="116" y="10"/>
                </a:lnTo>
                <a:lnTo>
                  <a:pt x="109" y="6"/>
                </a:lnTo>
                <a:lnTo>
                  <a:pt x="106" y="6"/>
                </a:lnTo>
                <a:lnTo>
                  <a:pt x="103" y="6"/>
                </a:lnTo>
                <a:lnTo>
                  <a:pt x="100" y="6"/>
                </a:lnTo>
                <a:lnTo>
                  <a:pt x="100" y="10"/>
                </a:lnTo>
                <a:lnTo>
                  <a:pt x="97" y="6"/>
                </a:lnTo>
                <a:lnTo>
                  <a:pt x="91" y="6"/>
                </a:lnTo>
                <a:lnTo>
                  <a:pt x="81" y="6"/>
                </a:lnTo>
                <a:lnTo>
                  <a:pt x="75" y="0"/>
                </a:lnTo>
                <a:lnTo>
                  <a:pt x="72" y="0"/>
                </a:lnTo>
                <a:lnTo>
                  <a:pt x="72" y="3"/>
                </a:lnTo>
                <a:lnTo>
                  <a:pt x="72" y="3"/>
                </a:lnTo>
                <a:lnTo>
                  <a:pt x="69" y="3"/>
                </a:lnTo>
                <a:lnTo>
                  <a:pt x="69" y="6"/>
                </a:lnTo>
                <a:lnTo>
                  <a:pt x="66" y="3"/>
                </a:lnTo>
                <a:lnTo>
                  <a:pt x="59" y="6"/>
                </a:lnTo>
                <a:lnTo>
                  <a:pt x="50" y="6"/>
                </a:lnTo>
                <a:lnTo>
                  <a:pt x="38" y="6"/>
                </a:lnTo>
                <a:lnTo>
                  <a:pt x="34" y="10"/>
                </a:lnTo>
                <a:lnTo>
                  <a:pt x="31" y="6"/>
                </a:lnTo>
                <a:lnTo>
                  <a:pt x="31" y="10"/>
                </a:lnTo>
                <a:lnTo>
                  <a:pt x="28" y="10"/>
                </a:lnTo>
                <a:lnTo>
                  <a:pt x="25" y="13"/>
                </a:lnTo>
                <a:lnTo>
                  <a:pt x="22" y="16"/>
                </a:lnTo>
                <a:lnTo>
                  <a:pt x="19" y="16"/>
                </a:lnTo>
                <a:lnTo>
                  <a:pt x="12" y="22"/>
                </a:lnTo>
                <a:lnTo>
                  <a:pt x="9" y="25"/>
                </a:lnTo>
                <a:lnTo>
                  <a:pt x="9" y="28"/>
                </a:lnTo>
                <a:lnTo>
                  <a:pt x="9" y="35"/>
                </a:lnTo>
                <a:lnTo>
                  <a:pt x="3" y="38"/>
                </a:lnTo>
                <a:lnTo>
                  <a:pt x="3" y="38"/>
                </a:lnTo>
                <a:lnTo>
                  <a:pt x="3" y="41"/>
                </a:lnTo>
                <a:lnTo>
                  <a:pt x="3" y="41"/>
                </a:lnTo>
                <a:lnTo>
                  <a:pt x="0" y="50"/>
                </a:lnTo>
                <a:lnTo>
                  <a:pt x="3" y="53"/>
                </a:lnTo>
                <a:lnTo>
                  <a:pt x="3" y="53"/>
                </a:lnTo>
                <a:lnTo>
                  <a:pt x="12" y="57"/>
                </a:lnTo>
                <a:lnTo>
                  <a:pt x="19" y="60"/>
                </a:lnTo>
                <a:lnTo>
                  <a:pt x="19" y="60"/>
                </a:lnTo>
                <a:lnTo>
                  <a:pt x="16" y="57"/>
                </a:lnTo>
                <a:lnTo>
                  <a:pt x="16" y="57"/>
                </a:lnTo>
                <a:lnTo>
                  <a:pt x="22" y="57"/>
                </a:lnTo>
                <a:lnTo>
                  <a:pt x="25" y="60"/>
                </a:lnTo>
                <a:lnTo>
                  <a:pt x="25" y="63"/>
                </a:lnTo>
                <a:lnTo>
                  <a:pt x="34" y="63"/>
                </a:lnTo>
                <a:lnTo>
                  <a:pt x="38" y="60"/>
                </a:lnTo>
                <a:lnTo>
                  <a:pt x="38" y="57"/>
                </a:lnTo>
                <a:lnTo>
                  <a:pt x="38" y="57"/>
                </a:lnTo>
                <a:lnTo>
                  <a:pt x="41" y="57"/>
                </a:lnTo>
                <a:lnTo>
                  <a:pt x="41" y="60"/>
                </a:lnTo>
                <a:lnTo>
                  <a:pt x="41" y="60"/>
                </a:lnTo>
                <a:lnTo>
                  <a:pt x="44" y="57"/>
                </a:lnTo>
                <a:lnTo>
                  <a:pt x="44" y="60"/>
                </a:lnTo>
                <a:lnTo>
                  <a:pt x="44" y="60"/>
                </a:lnTo>
                <a:lnTo>
                  <a:pt x="47" y="63"/>
                </a:lnTo>
                <a:lnTo>
                  <a:pt x="47" y="63"/>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4" name="Freeform 182">
            <a:extLst>
              <a:ext uri="{FF2B5EF4-FFF2-40B4-BE49-F238E27FC236}">
                <a16:creationId xmlns:a16="http://schemas.microsoft.com/office/drawing/2014/main" id="{136970D4-DDC5-8DE8-F723-3FC854B763D5}"/>
              </a:ext>
            </a:extLst>
          </p:cNvPr>
          <p:cNvSpPr>
            <a:spLocks/>
          </p:cNvSpPr>
          <p:nvPr userDrawn="1"/>
        </p:nvSpPr>
        <p:spPr bwMode="auto">
          <a:xfrm>
            <a:off x="7613154" y="8463829"/>
            <a:ext cx="149216" cy="88902"/>
          </a:xfrm>
          <a:custGeom>
            <a:avLst/>
            <a:gdLst>
              <a:gd name="T0" fmla="*/ 15 w 47"/>
              <a:gd name="T1" fmla="*/ 0 h 28"/>
              <a:gd name="T2" fmla="*/ 18 w 47"/>
              <a:gd name="T3" fmla="*/ 0 h 28"/>
              <a:gd name="T4" fmla="*/ 21 w 47"/>
              <a:gd name="T5" fmla="*/ 0 h 28"/>
              <a:gd name="T6" fmla="*/ 21 w 47"/>
              <a:gd name="T7" fmla="*/ 3 h 28"/>
              <a:gd name="T8" fmla="*/ 25 w 47"/>
              <a:gd name="T9" fmla="*/ 3 h 28"/>
              <a:gd name="T10" fmla="*/ 28 w 47"/>
              <a:gd name="T11" fmla="*/ 3 h 28"/>
              <a:gd name="T12" fmla="*/ 31 w 47"/>
              <a:gd name="T13" fmla="*/ 3 h 28"/>
              <a:gd name="T14" fmla="*/ 34 w 47"/>
              <a:gd name="T15" fmla="*/ 6 h 28"/>
              <a:gd name="T16" fmla="*/ 34 w 47"/>
              <a:gd name="T17" fmla="*/ 9 h 28"/>
              <a:gd name="T18" fmla="*/ 37 w 47"/>
              <a:gd name="T19" fmla="*/ 12 h 28"/>
              <a:gd name="T20" fmla="*/ 37 w 47"/>
              <a:gd name="T21" fmla="*/ 9 h 28"/>
              <a:gd name="T22" fmla="*/ 40 w 47"/>
              <a:gd name="T23" fmla="*/ 6 h 28"/>
              <a:gd name="T24" fmla="*/ 43 w 47"/>
              <a:gd name="T25" fmla="*/ 6 h 28"/>
              <a:gd name="T26" fmla="*/ 43 w 47"/>
              <a:gd name="T27" fmla="*/ 6 h 28"/>
              <a:gd name="T28" fmla="*/ 47 w 47"/>
              <a:gd name="T29" fmla="*/ 9 h 28"/>
              <a:gd name="T30" fmla="*/ 47 w 47"/>
              <a:gd name="T31" fmla="*/ 12 h 28"/>
              <a:gd name="T32" fmla="*/ 47 w 47"/>
              <a:gd name="T33" fmla="*/ 15 h 28"/>
              <a:gd name="T34" fmla="*/ 47 w 47"/>
              <a:gd name="T35" fmla="*/ 15 h 28"/>
              <a:gd name="T36" fmla="*/ 47 w 47"/>
              <a:gd name="T37" fmla="*/ 18 h 28"/>
              <a:gd name="T38" fmla="*/ 47 w 47"/>
              <a:gd name="T39" fmla="*/ 22 h 28"/>
              <a:gd name="T40" fmla="*/ 47 w 47"/>
              <a:gd name="T41" fmla="*/ 22 h 28"/>
              <a:gd name="T42" fmla="*/ 47 w 47"/>
              <a:gd name="T43" fmla="*/ 25 h 28"/>
              <a:gd name="T44" fmla="*/ 43 w 47"/>
              <a:gd name="T45" fmla="*/ 28 h 28"/>
              <a:gd name="T46" fmla="*/ 34 w 47"/>
              <a:gd name="T47" fmla="*/ 28 h 28"/>
              <a:gd name="T48" fmla="*/ 34 w 47"/>
              <a:gd name="T49" fmla="*/ 25 h 28"/>
              <a:gd name="T50" fmla="*/ 31 w 47"/>
              <a:gd name="T51" fmla="*/ 22 h 28"/>
              <a:gd name="T52" fmla="*/ 25 w 47"/>
              <a:gd name="T53" fmla="*/ 22 h 28"/>
              <a:gd name="T54" fmla="*/ 25 w 47"/>
              <a:gd name="T55" fmla="*/ 22 h 28"/>
              <a:gd name="T56" fmla="*/ 28 w 47"/>
              <a:gd name="T57" fmla="*/ 25 h 28"/>
              <a:gd name="T58" fmla="*/ 28 w 47"/>
              <a:gd name="T59" fmla="*/ 25 h 28"/>
              <a:gd name="T60" fmla="*/ 21 w 47"/>
              <a:gd name="T61" fmla="*/ 22 h 28"/>
              <a:gd name="T62" fmla="*/ 12 w 47"/>
              <a:gd name="T63" fmla="*/ 18 h 28"/>
              <a:gd name="T64" fmla="*/ 12 w 47"/>
              <a:gd name="T65" fmla="*/ 18 h 28"/>
              <a:gd name="T66" fmla="*/ 6 w 47"/>
              <a:gd name="T67" fmla="*/ 18 h 28"/>
              <a:gd name="T68" fmla="*/ 3 w 47"/>
              <a:gd name="T69" fmla="*/ 15 h 28"/>
              <a:gd name="T70" fmla="*/ 0 w 47"/>
              <a:gd name="T71" fmla="*/ 15 h 28"/>
              <a:gd name="T72" fmla="*/ 0 w 47"/>
              <a:gd name="T73" fmla="*/ 15 h 28"/>
              <a:gd name="T74" fmla="*/ 0 w 47"/>
              <a:gd name="T75" fmla="*/ 12 h 28"/>
              <a:gd name="T76" fmla="*/ 0 w 47"/>
              <a:gd name="T77" fmla="*/ 12 h 28"/>
              <a:gd name="T78" fmla="*/ 3 w 47"/>
              <a:gd name="T79" fmla="*/ 6 h 28"/>
              <a:gd name="T80" fmla="*/ 9 w 47"/>
              <a:gd name="T81" fmla="*/ 6 h 28"/>
              <a:gd name="T82" fmla="*/ 12 w 47"/>
              <a:gd name="T83" fmla="*/ 6 h 28"/>
              <a:gd name="T84" fmla="*/ 12 w 47"/>
              <a:gd name="T85" fmla="*/ 3 h 28"/>
              <a:gd name="T86" fmla="*/ 15 w 47"/>
              <a:gd name="T8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 h="28">
                <a:moveTo>
                  <a:pt x="15" y="0"/>
                </a:moveTo>
                <a:lnTo>
                  <a:pt x="18" y="0"/>
                </a:lnTo>
                <a:lnTo>
                  <a:pt x="21" y="0"/>
                </a:lnTo>
                <a:lnTo>
                  <a:pt x="21" y="3"/>
                </a:lnTo>
                <a:lnTo>
                  <a:pt x="25" y="3"/>
                </a:lnTo>
                <a:lnTo>
                  <a:pt x="28" y="3"/>
                </a:lnTo>
                <a:lnTo>
                  <a:pt x="31" y="3"/>
                </a:lnTo>
                <a:lnTo>
                  <a:pt x="34" y="6"/>
                </a:lnTo>
                <a:lnTo>
                  <a:pt x="34" y="9"/>
                </a:lnTo>
                <a:lnTo>
                  <a:pt x="37" y="12"/>
                </a:lnTo>
                <a:lnTo>
                  <a:pt x="37" y="9"/>
                </a:lnTo>
                <a:lnTo>
                  <a:pt x="40" y="6"/>
                </a:lnTo>
                <a:lnTo>
                  <a:pt x="43" y="6"/>
                </a:lnTo>
                <a:lnTo>
                  <a:pt x="43" y="6"/>
                </a:lnTo>
                <a:lnTo>
                  <a:pt x="47" y="9"/>
                </a:lnTo>
                <a:lnTo>
                  <a:pt x="47" y="12"/>
                </a:lnTo>
                <a:lnTo>
                  <a:pt x="47" y="15"/>
                </a:lnTo>
                <a:lnTo>
                  <a:pt x="47" y="15"/>
                </a:lnTo>
                <a:lnTo>
                  <a:pt x="47" y="18"/>
                </a:lnTo>
                <a:lnTo>
                  <a:pt x="47" y="22"/>
                </a:lnTo>
                <a:lnTo>
                  <a:pt x="47" y="22"/>
                </a:lnTo>
                <a:lnTo>
                  <a:pt x="47" y="25"/>
                </a:lnTo>
                <a:lnTo>
                  <a:pt x="43" y="28"/>
                </a:lnTo>
                <a:lnTo>
                  <a:pt x="34" y="28"/>
                </a:lnTo>
                <a:lnTo>
                  <a:pt x="34" y="25"/>
                </a:lnTo>
                <a:lnTo>
                  <a:pt x="31" y="22"/>
                </a:lnTo>
                <a:lnTo>
                  <a:pt x="25" y="22"/>
                </a:lnTo>
                <a:lnTo>
                  <a:pt x="25" y="22"/>
                </a:lnTo>
                <a:lnTo>
                  <a:pt x="28" y="25"/>
                </a:lnTo>
                <a:lnTo>
                  <a:pt x="28" y="25"/>
                </a:lnTo>
                <a:lnTo>
                  <a:pt x="21" y="22"/>
                </a:lnTo>
                <a:lnTo>
                  <a:pt x="12" y="18"/>
                </a:lnTo>
                <a:lnTo>
                  <a:pt x="12" y="18"/>
                </a:lnTo>
                <a:lnTo>
                  <a:pt x="6" y="18"/>
                </a:lnTo>
                <a:lnTo>
                  <a:pt x="3" y="15"/>
                </a:lnTo>
                <a:lnTo>
                  <a:pt x="0" y="15"/>
                </a:lnTo>
                <a:lnTo>
                  <a:pt x="0" y="15"/>
                </a:lnTo>
                <a:lnTo>
                  <a:pt x="0" y="12"/>
                </a:lnTo>
                <a:lnTo>
                  <a:pt x="0" y="12"/>
                </a:lnTo>
                <a:lnTo>
                  <a:pt x="3" y="6"/>
                </a:lnTo>
                <a:lnTo>
                  <a:pt x="9" y="6"/>
                </a:lnTo>
                <a:lnTo>
                  <a:pt x="12" y="6"/>
                </a:lnTo>
                <a:lnTo>
                  <a:pt x="12" y="3"/>
                </a:lnTo>
                <a:lnTo>
                  <a:pt x="15"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5" name="Freeform 183">
            <a:extLst>
              <a:ext uri="{FF2B5EF4-FFF2-40B4-BE49-F238E27FC236}">
                <a16:creationId xmlns:a16="http://schemas.microsoft.com/office/drawing/2014/main" id="{842829A1-0C84-FE0B-C144-7F4FC36884E2}"/>
              </a:ext>
            </a:extLst>
          </p:cNvPr>
          <p:cNvSpPr>
            <a:spLocks/>
          </p:cNvSpPr>
          <p:nvPr userDrawn="1"/>
        </p:nvSpPr>
        <p:spPr bwMode="auto">
          <a:xfrm>
            <a:off x="7679821" y="8203485"/>
            <a:ext cx="69845" cy="158750"/>
          </a:xfrm>
          <a:custGeom>
            <a:avLst/>
            <a:gdLst>
              <a:gd name="T0" fmla="*/ 0 w 22"/>
              <a:gd name="T1" fmla="*/ 13 h 50"/>
              <a:gd name="T2" fmla="*/ 0 w 22"/>
              <a:gd name="T3" fmla="*/ 13 h 50"/>
              <a:gd name="T4" fmla="*/ 0 w 22"/>
              <a:gd name="T5" fmla="*/ 10 h 50"/>
              <a:gd name="T6" fmla="*/ 4 w 22"/>
              <a:gd name="T7" fmla="*/ 10 h 50"/>
              <a:gd name="T8" fmla="*/ 4 w 22"/>
              <a:gd name="T9" fmla="*/ 10 h 50"/>
              <a:gd name="T10" fmla="*/ 4 w 22"/>
              <a:gd name="T11" fmla="*/ 10 h 50"/>
              <a:gd name="T12" fmla="*/ 7 w 22"/>
              <a:gd name="T13" fmla="*/ 10 h 50"/>
              <a:gd name="T14" fmla="*/ 7 w 22"/>
              <a:gd name="T15" fmla="*/ 10 h 50"/>
              <a:gd name="T16" fmla="*/ 7 w 22"/>
              <a:gd name="T17" fmla="*/ 10 h 50"/>
              <a:gd name="T18" fmla="*/ 10 w 22"/>
              <a:gd name="T19" fmla="*/ 10 h 50"/>
              <a:gd name="T20" fmla="*/ 10 w 22"/>
              <a:gd name="T21" fmla="*/ 7 h 50"/>
              <a:gd name="T22" fmla="*/ 13 w 22"/>
              <a:gd name="T23" fmla="*/ 3 h 50"/>
              <a:gd name="T24" fmla="*/ 13 w 22"/>
              <a:gd name="T25" fmla="*/ 0 h 50"/>
              <a:gd name="T26" fmla="*/ 16 w 22"/>
              <a:gd name="T27" fmla="*/ 0 h 50"/>
              <a:gd name="T28" fmla="*/ 16 w 22"/>
              <a:gd name="T29" fmla="*/ 0 h 50"/>
              <a:gd name="T30" fmla="*/ 16 w 22"/>
              <a:gd name="T31" fmla="*/ 0 h 50"/>
              <a:gd name="T32" fmla="*/ 19 w 22"/>
              <a:gd name="T33" fmla="*/ 0 h 50"/>
              <a:gd name="T34" fmla="*/ 22 w 22"/>
              <a:gd name="T35" fmla="*/ 0 h 50"/>
              <a:gd name="T36" fmla="*/ 22 w 22"/>
              <a:gd name="T37" fmla="*/ 3 h 50"/>
              <a:gd name="T38" fmla="*/ 22 w 22"/>
              <a:gd name="T39" fmla="*/ 3 h 50"/>
              <a:gd name="T40" fmla="*/ 22 w 22"/>
              <a:gd name="T41" fmla="*/ 13 h 50"/>
              <a:gd name="T42" fmla="*/ 19 w 22"/>
              <a:gd name="T43" fmla="*/ 16 h 50"/>
              <a:gd name="T44" fmla="*/ 19 w 22"/>
              <a:gd name="T45" fmla="*/ 22 h 50"/>
              <a:gd name="T46" fmla="*/ 19 w 22"/>
              <a:gd name="T47" fmla="*/ 25 h 50"/>
              <a:gd name="T48" fmla="*/ 19 w 22"/>
              <a:gd name="T49" fmla="*/ 32 h 50"/>
              <a:gd name="T50" fmla="*/ 19 w 22"/>
              <a:gd name="T51" fmla="*/ 38 h 50"/>
              <a:gd name="T52" fmla="*/ 13 w 22"/>
              <a:gd name="T53" fmla="*/ 44 h 50"/>
              <a:gd name="T54" fmla="*/ 10 w 22"/>
              <a:gd name="T55" fmla="*/ 44 h 50"/>
              <a:gd name="T56" fmla="*/ 7 w 22"/>
              <a:gd name="T57" fmla="*/ 47 h 50"/>
              <a:gd name="T58" fmla="*/ 7 w 22"/>
              <a:gd name="T59" fmla="*/ 50 h 50"/>
              <a:gd name="T60" fmla="*/ 7 w 22"/>
              <a:gd name="T61" fmla="*/ 50 h 50"/>
              <a:gd name="T62" fmla="*/ 4 w 22"/>
              <a:gd name="T63" fmla="*/ 50 h 50"/>
              <a:gd name="T64" fmla="*/ 0 w 22"/>
              <a:gd name="T65" fmla="*/ 50 h 50"/>
              <a:gd name="T66" fmla="*/ 0 w 22"/>
              <a:gd name="T67" fmla="*/ 50 h 50"/>
              <a:gd name="T68" fmla="*/ 0 w 22"/>
              <a:gd name="T69" fmla="*/ 13 h 50"/>
              <a:gd name="T70" fmla="*/ 0 w 22"/>
              <a:gd name="T71" fmla="*/ 1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 h="50">
                <a:moveTo>
                  <a:pt x="0" y="13"/>
                </a:moveTo>
                <a:lnTo>
                  <a:pt x="0" y="13"/>
                </a:lnTo>
                <a:lnTo>
                  <a:pt x="0" y="10"/>
                </a:lnTo>
                <a:lnTo>
                  <a:pt x="4" y="10"/>
                </a:lnTo>
                <a:lnTo>
                  <a:pt x="4" y="10"/>
                </a:lnTo>
                <a:lnTo>
                  <a:pt x="4" y="10"/>
                </a:lnTo>
                <a:lnTo>
                  <a:pt x="7" y="10"/>
                </a:lnTo>
                <a:lnTo>
                  <a:pt x="7" y="10"/>
                </a:lnTo>
                <a:lnTo>
                  <a:pt x="7" y="10"/>
                </a:lnTo>
                <a:lnTo>
                  <a:pt x="10" y="10"/>
                </a:lnTo>
                <a:lnTo>
                  <a:pt x="10" y="7"/>
                </a:lnTo>
                <a:lnTo>
                  <a:pt x="13" y="3"/>
                </a:lnTo>
                <a:lnTo>
                  <a:pt x="13" y="0"/>
                </a:lnTo>
                <a:lnTo>
                  <a:pt x="16" y="0"/>
                </a:lnTo>
                <a:lnTo>
                  <a:pt x="16" y="0"/>
                </a:lnTo>
                <a:lnTo>
                  <a:pt x="16" y="0"/>
                </a:lnTo>
                <a:lnTo>
                  <a:pt x="19" y="0"/>
                </a:lnTo>
                <a:lnTo>
                  <a:pt x="22" y="0"/>
                </a:lnTo>
                <a:lnTo>
                  <a:pt x="22" y="3"/>
                </a:lnTo>
                <a:lnTo>
                  <a:pt x="22" y="3"/>
                </a:lnTo>
                <a:lnTo>
                  <a:pt x="22" y="13"/>
                </a:lnTo>
                <a:lnTo>
                  <a:pt x="19" y="16"/>
                </a:lnTo>
                <a:lnTo>
                  <a:pt x="19" y="22"/>
                </a:lnTo>
                <a:lnTo>
                  <a:pt x="19" y="25"/>
                </a:lnTo>
                <a:lnTo>
                  <a:pt x="19" y="32"/>
                </a:lnTo>
                <a:lnTo>
                  <a:pt x="19" y="38"/>
                </a:lnTo>
                <a:lnTo>
                  <a:pt x="13" y="44"/>
                </a:lnTo>
                <a:lnTo>
                  <a:pt x="10" y="44"/>
                </a:lnTo>
                <a:lnTo>
                  <a:pt x="7" y="47"/>
                </a:lnTo>
                <a:lnTo>
                  <a:pt x="7" y="50"/>
                </a:lnTo>
                <a:lnTo>
                  <a:pt x="7" y="50"/>
                </a:lnTo>
                <a:lnTo>
                  <a:pt x="4" y="50"/>
                </a:lnTo>
                <a:lnTo>
                  <a:pt x="0" y="50"/>
                </a:lnTo>
                <a:lnTo>
                  <a:pt x="0" y="50"/>
                </a:lnTo>
                <a:lnTo>
                  <a:pt x="0" y="13"/>
                </a:lnTo>
                <a:lnTo>
                  <a:pt x="0" y="13"/>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6" name="Freeform 184">
            <a:extLst>
              <a:ext uri="{FF2B5EF4-FFF2-40B4-BE49-F238E27FC236}">
                <a16:creationId xmlns:a16="http://schemas.microsoft.com/office/drawing/2014/main" id="{093E5B98-960C-44A8-A13C-9269B6DFAD16}"/>
              </a:ext>
            </a:extLst>
          </p:cNvPr>
          <p:cNvSpPr>
            <a:spLocks/>
          </p:cNvSpPr>
          <p:nvPr userDrawn="1"/>
        </p:nvSpPr>
        <p:spPr bwMode="auto">
          <a:xfrm>
            <a:off x="7482983" y="8244759"/>
            <a:ext cx="257159" cy="266702"/>
          </a:xfrm>
          <a:custGeom>
            <a:avLst/>
            <a:gdLst>
              <a:gd name="T0" fmla="*/ 41 w 81"/>
              <a:gd name="T1" fmla="*/ 84 h 84"/>
              <a:gd name="T2" fmla="*/ 41 w 81"/>
              <a:gd name="T3" fmla="*/ 81 h 84"/>
              <a:gd name="T4" fmla="*/ 41 w 81"/>
              <a:gd name="T5" fmla="*/ 81 h 84"/>
              <a:gd name="T6" fmla="*/ 44 w 81"/>
              <a:gd name="T7" fmla="*/ 75 h 84"/>
              <a:gd name="T8" fmla="*/ 50 w 81"/>
              <a:gd name="T9" fmla="*/ 75 h 84"/>
              <a:gd name="T10" fmla="*/ 53 w 81"/>
              <a:gd name="T11" fmla="*/ 75 h 84"/>
              <a:gd name="T12" fmla="*/ 53 w 81"/>
              <a:gd name="T13" fmla="*/ 72 h 84"/>
              <a:gd name="T14" fmla="*/ 59 w 81"/>
              <a:gd name="T15" fmla="*/ 69 h 84"/>
              <a:gd name="T16" fmla="*/ 59 w 81"/>
              <a:gd name="T17" fmla="*/ 62 h 84"/>
              <a:gd name="T18" fmla="*/ 59 w 81"/>
              <a:gd name="T19" fmla="*/ 59 h 84"/>
              <a:gd name="T20" fmla="*/ 62 w 81"/>
              <a:gd name="T21" fmla="*/ 56 h 84"/>
              <a:gd name="T22" fmla="*/ 69 w 81"/>
              <a:gd name="T23" fmla="*/ 50 h 84"/>
              <a:gd name="T24" fmla="*/ 72 w 81"/>
              <a:gd name="T25" fmla="*/ 50 h 84"/>
              <a:gd name="T26" fmla="*/ 75 w 81"/>
              <a:gd name="T27" fmla="*/ 47 h 84"/>
              <a:gd name="T28" fmla="*/ 78 w 81"/>
              <a:gd name="T29" fmla="*/ 44 h 84"/>
              <a:gd name="T30" fmla="*/ 81 w 81"/>
              <a:gd name="T31" fmla="*/ 44 h 84"/>
              <a:gd name="T32" fmla="*/ 81 w 81"/>
              <a:gd name="T33" fmla="*/ 40 h 84"/>
              <a:gd name="T34" fmla="*/ 78 w 81"/>
              <a:gd name="T35" fmla="*/ 40 h 84"/>
              <a:gd name="T36" fmla="*/ 75 w 81"/>
              <a:gd name="T37" fmla="*/ 40 h 84"/>
              <a:gd name="T38" fmla="*/ 75 w 81"/>
              <a:gd name="T39" fmla="*/ 40 h 84"/>
              <a:gd name="T40" fmla="*/ 72 w 81"/>
              <a:gd name="T41" fmla="*/ 40 h 84"/>
              <a:gd name="T42" fmla="*/ 69 w 81"/>
              <a:gd name="T43" fmla="*/ 40 h 84"/>
              <a:gd name="T44" fmla="*/ 69 w 81"/>
              <a:gd name="T45" fmla="*/ 37 h 84"/>
              <a:gd name="T46" fmla="*/ 66 w 81"/>
              <a:gd name="T47" fmla="*/ 37 h 84"/>
              <a:gd name="T48" fmla="*/ 62 w 81"/>
              <a:gd name="T49" fmla="*/ 37 h 84"/>
              <a:gd name="T50" fmla="*/ 62 w 81"/>
              <a:gd name="T51" fmla="*/ 37 h 84"/>
              <a:gd name="T52" fmla="*/ 62 w 81"/>
              <a:gd name="T53" fmla="*/ 0 h 84"/>
              <a:gd name="T54" fmla="*/ 62 w 81"/>
              <a:gd name="T55" fmla="*/ 0 h 84"/>
              <a:gd name="T56" fmla="*/ 28 w 81"/>
              <a:gd name="T57" fmla="*/ 0 h 84"/>
              <a:gd name="T58" fmla="*/ 28 w 81"/>
              <a:gd name="T59" fmla="*/ 9 h 84"/>
              <a:gd name="T60" fmla="*/ 19 w 81"/>
              <a:gd name="T61" fmla="*/ 9 h 84"/>
              <a:gd name="T62" fmla="*/ 22 w 81"/>
              <a:gd name="T63" fmla="*/ 12 h 84"/>
              <a:gd name="T64" fmla="*/ 22 w 81"/>
              <a:gd name="T65" fmla="*/ 15 h 84"/>
              <a:gd name="T66" fmla="*/ 25 w 81"/>
              <a:gd name="T67" fmla="*/ 19 h 84"/>
              <a:gd name="T68" fmla="*/ 28 w 81"/>
              <a:gd name="T69" fmla="*/ 22 h 84"/>
              <a:gd name="T70" fmla="*/ 31 w 81"/>
              <a:gd name="T71" fmla="*/ 22 h 84"/>
              <a:gd name="T72" fmla="*/ 31 w 81"/>
              <a:gd name="T73" fmla="*/ 25 h 84"/>
              <a:gd name="T74" fmla="*/ 34 w 81"/>
              <a:gd name="T75" fmla="*/ 25 h 84"/>
              <a:gd name="T76" fmla="*/ 34 w 81"/>
              <a:gd name="T77" fmla="*/ 28 h 84"/>
              <a:gd name="T78" fmla="*/ 37 w 81"/>
              <a:gd name="T79" fmla="*/ 28 h 84"/>
              <a:gd name="T80" fmla="*/ 41 w 81"/>
              <a:gd name="T81" fmla="*/ 28 h 84"/>
              <a:gd name="T82" fmla="*/ 41 w 81"/>
              <a:gd name="T83" fmla="*/ 31 h 84"/>
              <a:gd name="T84" fmla="*/ 37 w 81"/>
              <a:gd name="T85" fmla="*/ 34 h 84"/>
              <a:gd name="T86" fmla="*/ 12 w 81"/>
              <a:gd name="T87" fmla="*/ 34 h 84"/>
              <a:gd name="T88" fmla="*/ 0 w 81"/>
              <a:gd name="T89" fmla="*/ 53 h 84"/>
              <a:gd name="T90" fmla="*/ 0 w 81"/>
              <a:gd name="T91" fmla="*/ 56 h 84"/>
              <a:gd name="T92" fmla="*/ 3 w 81"/>
              <a:gd name="T93" fmla="*/ 56 h 84"/>
              <a:gd name="T94" fmla="*/ 0 w 81"/>
              <a:gd name="T95" fmla="*/ 59 h 84"/>
              <a:gd name="T96" fmla="*/ 3 w 81"/>
              <a:gd name="T97" fmla="*/ 59 h 84"/>
              <a:gd name="T98" fmla="*/ 3 w 81"/>
              <a:gd name="T99" fmla="*/ 62 h 84"/>
              <a:gd name="T100" fmla="*/ 3 w 81"/>
              <a:gd name="T101" fmla="*/ 62 h 84"/>
              <a:gd name="T102" fmla="*/ 0 w 81"/>
              <a:gd name="T103" fmla="*/ 66 h 84"/>
              <a:gd name="T104" fmla="*/ 0 w 81"/>
              <a:gd name="T105" fmla="*/ 66 h 84"/>
              <a:gd name="T106" fmla="*/ 0 w 81"/>
              <a:gd name="T107" fmla="*/ 66 h 84"/>
              <a:gd name="T108" fmla="*/ 3 w 81"/>
              <a:gd name="T109" fmla="*/ 72 h 84"/>
              <a:gd name="T110" fmla="*/ 6 w 81"/>
              <a:gd name="T111" fmla="*/ 75 h 84"/>
              <a:gd name="T112" fmla="*/ 9 w 81"/>
              <a:gd name="T113" fmla="*/ 75 h 84"/>
              <a:gd name="T114" fmla="*/ 9 w 81"/>
              <a:gd name="T115" fmla="*/ 78 h 84"/>
              <a:gd name="T116" fmla="*/ 22 w 81"/>
              <a:gd name="T117" fmla="*/ 81 h 84"/>
              <a:gd name="T118" fmla="*/ 28 w 81"/>
              <a:gd name="T119" fmla="*/ 81 h 84"/>
              <a:gd name="T120" fmla="*/ 31 w 81"/>
              <a:gd name="T121" fmla="*/ 81 h 84"/>
              <a:gd name="T122" fmla="*/ 41 w 81"/>
              <a:gd name="T12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 h="84">
                <a:moveTo>
                  <a:pt x="41" y="84"/>
                </a:moveTo>
                <a:lnTo>
                  <a:pt x="41" y="81"/>
                </a:lnTo>
                <a:lnTo>
                  <a:pt x="41" y="81"/>
                </a:lnTo>
                <a:lnTo>
                  <a:pt x="44" y="75"/>
                </a:lnTo>
                <a:lnTo>
                  <a:pt x="50" y="75"/>
                </a:lnTo>
                <a:lnTo>
                  <a:pt x="53" y="75"/>
                </a:lnTo>
                <a:lnTo>
                  <a:pt x="53" y="72"/>
                </a:lnTo>
                <a:lnTo>
                  <a:pt x="59" y="69"/>
                </a:lnTo>
                <a:lnTo>
                  <a:pt x="59" y="62"/>
                </a:lnTo>
                <a:lnTo>
                  <a:pt x="59" y="59"/>
                </a:lnTo>
                <a:lnTo>
                  <a:pt x="62" y="56"/>
                </a:lnTo>
                <a:lnTo>
                  <a:pt x="69" y="50"/>
                </a:lnTo>
                <a:lnTo>
                  <a:pt x="72" y="50"/>
                </a:lnTo>
                <a:lnTo>
                  <a:pt x="75" y="47"/>
                </a:lnTo>
                <a:lnTo>
                  <a:pt x="78" y="44"/>
                </a:lnTo>
                <a:lnTo>
                  <a:pt x="81" y="44"/>
                </a:lnTo>
                <a:lnTo>
                  <a:pt x="81" y="40"/>
                </a:lnTo>
                <a:lnTo>
                  <a:pt x="78" y="40"/>
                </a:lnTo>
                <a:lnTo>
                  <a:pt x="75" y="40"/>
                </a:lnTo>
                <a:lnTo>
                  <a:pt x="75" y="40"/>
                </a:lnTo>
                <a:lnTo>
                  <a:pt x="72" y="40"/>
                </a:lnTo>
                <a:lnTo>
                  <a:pt x="69" y="40"/>
                </a:lnTo>
                <a:lnTo>
                  <a:pt x="69" y="37"/>
                </a:lnTo>
                <a:lnTo>
                  <a:pt x="66" y="37"/>
                </a:lnTo>
                <a:lnTo>
                  <a:pt x="62" y="37"/>
                </a:lnTo>
                <a:lnTo>
                  <a:pt x="62" y="37"/>
                </a:lnTo>
                <a:lnTo>
                  <a:pt x="62" y="0"/>
                </a:lnTo>
                <a:lnTo>
                  <a:pt x="62" y="0"/>
                </a:lnTo>
                <a:lnTo>
                  <a:pt x="28" y="0"/>
                </a:lnTo>
                <a:lnTo>
                  <a:pt x="28" y="9"/>
                </a:lnTo>
                <a:lnTo>
                  <a:pt x="19" y="9"/>
                </a:lnTo>
                <a:lnTo>
                  <a:pt x="22" y="12"/>
                </a:lnTo>
                <a:lnTo>
                  <a:pt x="22" y="15"/>
                </a:lnTo>
                <a:lnTo>
                  <a:pt x="25" y="19"/>
                </a:lnTo>
                <a:lnTo>
                  <a:pt x="28" y="22"/>
                </a:lnTo>
                <a:lnTo>
                  <a:pt x="31" y="22"/>
                </a:lnTo>
                <a:lnTo>
                  <a:pt x="31" y="25"/>
                </a:lnTo>
                <a:lnTo>
                  <a:pt x="34" y="25"/>
                </a:lnTo>
                <a:lnTo>
                  <a:pt x="34" y="28"/>
                </a:lnTo>
                <a:lnTo>
                  <a:pt x="37" y="28"/>
                </a:lnTo>
                <a:lnTo>
                  <a:pt x="41" y="28"/>
                </a:lnTo>
                <a:lnTo>
                  <a:pt x="41" y="31"/>
                </a:lnTo>
                <a:lnTo>
                  <a:pt x="37" y="34"/>
                </a:lnTo>
                <a:lnTo>
                  <a:pt x="12" y="34"/>
                </a:lnTo>
                <a:lnTo>
                  <a:pt x="0" y="53"/>
                </a:lnTo>
                <a:lnTo>
                  <a:pt x="0" y="56"/>
                </a:lnTo>
                <a:lnTo>
                  <a:pt x="3" y="56"/>
                </a:lnTo>
                <a:lnTo>
                  <a:pt x="0" y="59"/>
                </a:lnTo>
                <a:lnTo>
                  <a:pt x="3" y="59"/>
                </a:lnTo>
                <a:lnTo>
                  <a:pt x="3" y="62"/>
                </a:lnTo>
                <a:lnTo>
                  <a:pt x="3" y="62"/>
                </a:lnTo>
                <a:lnTo>
                  <a:pt x="0" y="66"/>
                </a:lnTo>
                <a:lnTo>
                  <a:pt x="0" y="66"/>
                </a:lnTo>
                <a:lnTo>
                  <a:pt x="0" y="66"/>
                </a:lnTo>
                <a:lnTo>
                  <a:pt x="3" y="72"/>
                </a:lnTo>
                <a:lnTo>
                  <a:pt x="6" y="75"/>
                </a:lnTo>
                <a:lnTo>
                  <a:pt x="9" y="75"/>
                </a:lnTo>
                <a:lnTo>
                  <a:pt x="9" y="78"/>
                </a:lnTo>
                <a:lnTo>
                  <a:pt x="22" y="81"/>
                </a:lnTo>
                <a:lnTo>
                  <a:pt x="28" y="81"/>
                </a:lnTo>
                <a:lnTo>
                  <a:pt x="31" y="81"/>
                </a:lnTo>
                <a:lnTo>
                  <a:pt x="41" y="8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7" name="Freeform 185">
            <a:extLst>
              <a:ext uri="{FF2B5EF4-FFF2-40B4-BE49-F238E27FC236}">
                <a16:creationId xmlns:a16="http://schemas.microsoft.com/office/drawing/2014/main" id="{2FA0F238-30F0-6052-AD94-219AC3ED2BDC}"/>
              </a:ext>
            </a:extLst>
          </p:cNvPr>
          <p:cNvSpPr>
            <a:spLocks noEditPoints="1"/>
          </p:cNvSpPr>
          <p:nvPr userDrawn="1"/>
        </p:nvSpPr>
        <p:spPr bwMode="auto">
          <a:xfrm>
            <a:off x="6073376" y="7130332"/>
            <a:ext cx="1787410" cy="1323976"/>
          </a:xfrm>
          <a:custGeom>
            <a:avLst/>
            <a:gdLst>
              <a:gd name="T0" fmla="*/ 213 w 563"/>
              <a:gd name="T1" fmla="*/ 41 h 417"/>
              <a:gd name="T2" fmla="*/ 228 w 563"/>
              <a:gd name="T3" fmla="*/ 57 h 417"/>
              <a:gd name="T4" fmla="*/ 235 w 563"/>
              <a:gd name="T5" fmla="*/ 82 h 417"/>
              <a:gd name="T6" fmla="*/ 250 w 563"/>
              <a:gd name="T7" fmla="*/ 94 h 417"/>
              <a:gd name="T8" fmla="*/ 269 w 563"/>
              <a:gd name="T9" fmla="*/ 91 h 417"/>
              <a:gd name="T10" fmla="*/ 291 w 563"/>
              <a:gd name="T11" fmla="*/ 79 h 417"/>
              <a:gd name="T12" fmla="*/ 313 w 563"/>
              <a:gd name="T13" fmla="*/ 107 h 417"/>
              <a:gd name="T14" fmla="*/ 328 w 563"/>
              <a:gd name="T15" fmla="*/ 141 h 417"/>
              <a:gd name="T16" fmla="*/ 350 w 563"/>
              <a:gd name="T17" fmla="*/ 169 h 417"/>
              <a:gd name="T18" fmla="*/ 366 w 563"/>
              <a:gd name="T19" fmla="*/ 176 h 417"/>
              <a:gd name="T20" fmla="*/ 356 w 563"/>
              <a:gd name="T21" fmla="*/ 194 h 417"/>
              <a:gd name="T22" fmla="*/ 347 w 563"/>
              <a:gd name="T23" fmla="*/ 248 h 417"/>
              <a:gd name="T24" fmla="*/ 353 w 563"/>
              <a:gd name="T25" fmla="*/ 279 h 417"/>
              <a:gd name="T26" fmla="*/ 385 w 563"/>
              <a:gd name="T27" fmla="*/ 329 h 417"/>
              <a:gd name="T28" fmla="*/ 428 w 563"/>
              <a:gd name="T29" fmla="*/ 335 h 417"/>
              <a:gd name="T30" fmla="*/ 463 w 563"/>
              <a:gd name="T31" fmla="*/ 341 h 417"/>
              <a:gd name="T32" fmla="*/ 481 w 563"/>
              <a:gd name="T33" fmla="*/ 310 h 417"/>
              <a:gd name="T34" fmla="*/ 532 w 563"/>
              <a:gd name="T35" fmla="*/ 273 h 417"/>
              <a:gd name="T36" fmla="*/ 557 w 563"/>
              <a:gd name="T37" fmla="*/ 291 h 417"/>
              <a:gd name="T38" fmla="*/ 541 w 563"/>
              <a:gd name="T39" fmla="*/ 323 h 417"/>
              <a:gd name="T40" fmla="*/ 532 w 563"/>
              <a:gd name="T41" fmla="*/ 329 h 417"/>
              <a:gd name="T42" fmla="*/ 513 w 563"/>
              <a:gd name="T43" fmla="*/ 348 h 417"/>
              <a:gd name="T44" fmla="*/ 466 w 563"/>
              <a:gd name="T45" fmla="*/ 366 h 417"/>
              <a:gd name="T46" fmla="*/ 456 w 563"/>
              <a:gd name="T47" fmla="*/ 385 h 417"/>
              <a:gd name="T48" fmla="*/ 441 w 563"/>
              <a:gd name="T49" fmla="*/ 413 h 417"/>
              <a:gd name="T50" fmla="*/ 403 w 563"/>
              <a:gd name="T51" fmla="*/ 382 h 417"/>
              <a:gd name="T52" fmla="*/ 400 w 563"/>
              <a:gd name="T53" fmla="*/ 382 h 417"/>
              <a:gd name="T54" fmla="*/ 394 w 563"/>
              <a:gd name="T55" fmla="*/ 385 h 417"/>
              <a:gd name="T56" fmla="*/ 328 w 563"/>
              <a:gd name="T57" fmla="*/ 382 h 417"/>
              <a:gd name="T58" fmla="*/ 285 w 563"/>
              <a:gd name="T59" fmla="*/ 366 h 417"/>
              <a:gd name="T60" fmla="*/ 238 w 563"/>
              <a:gd name="T61" fmla="*/ 341 h 417"/>
              <a:gd name="T62" fmla="*/ 203 w 563"/>
              <a:gd name="T63" fmla="*/ 320 h 417"/>
              <a:gd name="T64" fmla="*/ 194 w 563"/>
              <a:gd name="T65" fmla="*/ 291 h 417"/>
              <a:gd name="T66" fmla="*/ 194 w 563"/>
              <a:gd name="T67" fmla="*/ 251 h 417"/>
              <a:gd name="T68" fmla="*/ 150 w 563"/>
              <a:gd name="T69" fmla="*/ 198 h 417"/>
              <a:gd name="T70" fmla="*/ 131 w 563"/>
              <a:gd name="T71" fmla="*/ 176 h 417"/>
              <a:gd name="T72" fmla="*/ 131 w 563"/>
              <a:gd name="T73" fmla="*/ 154 h 417"/>
              <a:gd name="T74" fmla="*/ 110 w 563"/>
              <a:gd name="T75" fmla="*/ 126 h 417"/>
              <a:gd name="T76" fmla="*/ 91 w 563"/>
              <a:gd name="T77" fmla="*/ 104 h 417"/>
              <a:gd name="T78" fmla="*/ 75 w 563"/>
              <a:gd name="T79" fmla="*/ 69 h 417"/>
              <a:gd name="T80" fmla="*/ 66 w 563"/>
              <a:gd name="T81" fmla="*/ 35 h 417"/>
              <a:gd name="T82" fmla="*/ 41 w 563"/>
              <a:gd name="T83" fmla="*/ 38 h 417"/>
              <a:gd name="T84" fmla="*/ 56 w 563"/>
              <a:gd name="T85" fmla="*/ 91 h 417"/>
              <a:gd name="T86" fmla="*/ 75 w 563"/>
              <a:gd name="T87" fmla="*/ 122 h 417"/>
              <a:gd name="T88" fmla="*/ 88 w 563"/>
              <a:gd name="T89" fmla="*/ 144 h 417"/>
              <a:gd name="T90" fmla="*/ 97 w 563"/>
              <a:gd name="T91" fmla="*/ 182 h 417"/>
              <a:gd name="T92" fmla="*/ 106 w 563"/>
              <a:gd name="T93" fmla="*/ 204 h 417"/>
              <a:gd name="T94" fmla="*/ 113 w 563"/>
              <a:gd name="T95" fmla="*/ 235 h 417"/>
              <a:gd name="T96" fmla="*/ 85 w 563"/>
              <a:gd name="T97" fmla="*/ 201 h 417"/>
              <a:gd name="T98" fmla="*/ 72 w 563"/>
              <a:gd name="T99" fmla="*/ 157 h 417"/>
              <a:gd name="T100" fmla="*/ 47 w 563"/>
              <a:gd name="T101" fmla="*/ 141 h 417"/>
              <a:gd name="T102" fmla="*/ 31 w 563"/>
              <a:gd name="T103" fmla="*/ 119 h 417"/>
              <a:gd name="T104" fmla="*/ 44 w 563"/>
              <a:gd name="T105" fmla="*/ 110 h 417"/>
              <a:gd name="T106" fmla="*/ 22 w 563"/>
              <a:gd name="T107" fmla="*/ 72 h 417"/>
              <a:gd name="T108" fmla="*/ 13 w 563"/>
              <a:gd name="T109" fmla="*/ 38 h 417"/>
              <a:gd name="T110" fmla="*/ 103 w 563"/>
              <a:gd name="T111" fmla="*/ 188 h 417"/>
              <a:gd name="T112" fmla="*/ 106 w 563"/>
              <a:gd name="T113" fmla="*/ 201 h 417"/>
              <a:gd name="T114" fmla="*/ 356 w 563"/>
              <a:gd name="T115" fmla="*/ 194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63" h="417">
                <a:moveTo>
                  <a:pt x="0" y="4"/>
                </a:moveTo>
                <a:lnTo>
                  <a:pt x="47" y="0"/>
                </a:lnTo>
                <a:lnTo>
                  <a:pt x="50" y="4"/>
                </a:lnTo>
                <a:lnTo>
                  <a:pt x="47" y="4"/>
                </a:lnTo>
                <a:lnTo>
                  <a:pt x="116" y="35"/>
                </a:lnTo>
                <a:lnTo>
                  <a:pt x="172" y="38"/>
                </a:lnTo>
                <a:lnTo>
                  <a:pt x="172" y="29"/>
                </a:lnTo>
                <a:lnTo>
                  <a:pt x="203" y="32"/>
                </a:lnTo>
                <a:lnTo>
                  <a:pt x="206" y="32"/>
                </a:lnTo>
                <a:lnTo>
                  <a:pt x="210" y="38"/>
                </a:lnTo>
                <a:lnTo>
                  <a:pt x="213" y="41"/>
                </a:lnTo>
                <a:lnTo>
                  <a:pt x="213" y="41"/>
                </a:lnTo>
                <a:lnTo>
                  <a:pt x="213" y="41"/>
                </a:lnTo>
                <a:lnTo>
                  <a:pt x="216" y="44"/>
                </a:lnTo>
                <a:lnTo>
                  <a:pt x="216" y="47"/>
                </a:lnTo>
                <a:lnTo>
                  <a:pt x="219" y="47"/>
                </a:lnTo>
                <a:lnTo>
                  <a:pt x="222" y="51"/>
                </a:lnTo>
                <a:lnTo>
                  <a:pt x="222" y="51"/>
                </a:lnTo>
                <a:lnTo>
                  <a:pt x="219" y="54"/>
                </a:lnTo>
                <a:lnTo>
                  <a:pt x="222" y="54"/>
                </a:lnTo>
                <a:lnTo>
                  <a:pt x="225" y="57"/>
                </a:lnTo>
                <a:lnTo>
                  <a:pt x="228" y="57"/>
                </a:lnTo>
                <a:lnTo>
                  <a:pt x="228" y="63"/>
                </a:lnTo>
                <a:lnTo>
                  <a:pt x="228" y="63"/>
                </a:lnTo>
                <a:lnTo>
                  <a:pt x="228" y="63"/>
                </a:lnTo>
                <a:lnTo>
                  <a:pt x="231" y="66"/>
                </a:lnTo>
                <a:lnTo>
                  <a:pt x="231" y="69"/>
                </a:lnTo>
                <a:lnTo>
                  <a:pt x="231" y="72"/>
                </a:lnTo>
                <a:lnTo>
                  <a:pt x="231" y="72"/>
                </a:lnTo>
                <a:lnTo>
                  <a:pt x="228" y="72"/>
                </a:lnTo>
                <a:lnTo>
                  <a:pt x="228" y="72"/>
                </a:lnTo>
                <a:lnTo>
                  <a:pt x="231" y="79"/>
                </a:lnTo>
                <a:lnTo>
                  <a:pt x="235" y="82"/>
                </a:lnTo>
                <a:lnTo>
                  <a:pt x="238" y="85"/>
                </a:lnTo>
                <a:lnTo>
                  <a:pt x="238" y="85"/>
                </a:lnTo>
                <a:lnTo>
                  <a:pt x="238" y="85"/>
                </a:lnTo>
                <a:lnTo>
                  <a:pt x="238" y="85"/>
                </a:lnTo>
                <a:lnTo>
                  <a:pt x="241" y="85"/>
                </a:lnTo>
                <a:lnTo>
                  <a:pt x="241" y="88"/>
                </a:lnTo>
                <a:lnTo>
                  <a:pt x="244" y="88"/>
                </a:lnTo>
                <a:lnTo>
                  <a:pt x="244" y="91"/>
                </a:lnTo>
                <a:lnTo>
                  <a:pt x="244" y="91"/>
                </a:lnTo>
                <a:lnTo>
                  <a:pt x="247" y="91"/>
                </a:lnTo>
                <a:lnTo>
                  <a:pt x="250" y="94"/>
                </a:lnTo>
                <a:lnTo>
                  <a:pt x="250" y="94"/>
                </a:lnTo>
                <a:lnTo>
                  <a:pt x="253" y="94"/>
                </a:lnTo>
                <a:lnTo>
                  <a:pt x="260" y="97"/>
                </a:lnTo>
                <a:lnTo>
                  <a:pt x="260" y="101"/>
                </a:lnTo>
                <a:lnTo>
                  <a:pt x="263" y="101"/>
                </a:lnTo>
                <a:lnTo>
                  <a:pt x="263" y="97"/>
                </a:lnTo>
                <a:lnTo>
                  <a:pt x="263" y="97"/>
                </a:lnTo>
                <a:lnTo>
                  <a:pt x="266" y="94"/>
                </a:lnTo>
                <a:lnTo>
                  <a:pt x="269" y="94"/>
                </a:lnTo>
                <a:lnTo>
                  <a:pt x="269" y="94"/>
                </a:lnTo>
                <a:lnTo>
                  <a:pt x="269" y="91"/>
                </a:lnTo>
                <a:lnTo>
                  <a:pt x="269" y="91"/>
                </a:lnTo>
                <a:lnTo>
                  <a:pt x="272" y="85"/>
                </a:lnTo>
                <a:lnTo>
                  <a:pt x="275" y="82"/>
                </a:lnTo>
                <a:lnTo>
                  <a:pt x="278" y="82"/>
                </a:lnTo>
                <a:lnTo>
                  <a:pt x="278" y="82"/>
                </a:lnTo>
                <a:lnTo>
                  <a:pt x="278" y="82"/>
                </a:lnTo>
                <a:lnTo>
                  <a:pt x="281" y="82"/>
                </a:lnTo>
                <a:lnTo>
                  <a:pt x="281" y="79"/>
                </a:lnTo>
                <a:lnTo>
                  <a:pt x="285" y="79"/>
                </a:lnTo>
                <a:lnTo>
                  <a:pt x="288" y="82"/>
                </a:lnTo>
                <a:lnTo>
                  <a:pt x="291" y="79"/>
                </a:lnTo>
                <a:lnTo>
                  <a:pt x="294" y="82"/>
                </a:lnTo>
                <a:lnTo>
                  <a:pt x="294" y="82"/>
                </a:lnTo>
                <a:lnTo>
                  <a:pt x="297" y="82"/>
                </a:lnTo>
                <a:lnTo>
                  <a:pt x="300" y="82"/>
                </a:lnTo>
                <a:lnTo>
                  <a:pt x="300" y="85"/>
                </a:lnTo>
                <a:lnTo>
                  <a:pt x="306" y="88"/>
                </a:lnTo>
                <a:lnTo>
                  <a:pt x="310" y="94"/>
                </a:lnTo>
                <a:lnTo>
                  <a:pt x="310" y="97"/>
                </a:lnTo>
                <a:lnTo>
                  <a:pt x="310" y="101"/>
                </a:lnTo>
                <a:lnTo>
                  <a:pt x="313" y="104"/>
                </a:lnTo>
                <a:lnTo>
                  <a:pt x="313" y="107"/>
                </a:lnTo>
                <a:lnTo>
                  <a:pt x="313" y="107"/>
                </a:lnTo>
                <a:lnTo>
                  <a:pt x="316" y="110"/>
                </a:lnTo>
                <a:lnTo>
                  <a:pt x="319" y="119"/>
                </a:lnTo>
                <a:lnTo>
                  <a:pt x="319" y="119"/>
                </a:lnTo>
                <a:lnTo>
                  <a:pt x="319" y="122"/>
                </a:lnTo>
                <a:lnTo>
                  <a:pt x="322" y="122"/>
                </a:lnTo>
                <a:lnTo>
                  <a:pt x="325" y="126"/>
                </a:lnTo>
                <a:lnTo>
                  <a:pt x="325" y="129"/>
                </a:lnTo>
                <a:lnTo>
                  <a:pt x="328" y="135"/>
                </a:lnTo>
                <a:lnTo>
                  <a:pt x="328" y="138"/>
                </a:lnTo>
                <a:lnTo>
                  <a:pt x="328" y="141"/>
                </a:lnTo>
                <a:lnTo>
                  <a:pt x="328" y="141"/>
                </a:lnTo>
                <a:lnTo>
                  <a:pt x="328" y="144"/>
                </a:lnTo>
                <a:lnTo>
                  <a:pt x="331" y="154"/>
                </a:lnTo>
                <a:lnTo>
                  <a:pt x="331" y="160"/>
                </a:lnTo>
                <a:lnTo>
                  <a:pt x="335" y="163"/>
                </a:lnTo>
                <a:lnTo>
                  <a:pt x="335" y="163"/>
                </a:lnTo>
                <a:lnTo>
                  <a:pt x="338" y="163"/>
                </a:lnTo>
                <a:lnTo>
                  <a:pt x="338" y="163"/>
                </a:lnTo>
                <a:lnTo>
                  <a:pt x="341" y="163"/>
                </a:lnTo>
                <a:lnTo>
                  <a:pt x="344" y="166"/>
                </a:lnTo>
                <a:lnTo>
                  <a:pt x="350" y="169"/>
                </a:lnTo>
                <a:lnTo>
                  <a:pt x="356" y="173"/>
                </a:lnTo>
                <a:lnTo>
                  <a:pt x="360" y="173"/>
                </a:lnTo>
                <a:lnTo>
                  <a:pt x="360" y="176"/>
                </a:lnTo>
                <a:lnTo>
                  <a:pt x="363" y="176"/>
                </a:lnTo>
                <a:lnTo>
                  <a:pt x="360" y="179"/>
                </a:lnTo>
                <a:lnTo>
                  <a:pt x="363" y="176"/>
                </a:lnTo>
                <a:lnTo>
                  <a:pt x="366" y="169"/>
                </a:lnTo>
                <a:lnTo>
                  <a:pt x="369" y="169"/>
                </a:lnTo>
                <a:lnTo>
                  <a:pt x="366" y="169"/>
                </a:lnTo>
                <a:lnTo>
                  <a:pt x="366" y="176"/>
                </a:lnTo>
                <a:lnTo>
                  <a:pt x="366" y="176"/>
                </a:lnTo>
                <a:lnTo>
                  <a:pt x="363" y="182"/>
                </a:lnTo>
                <a:lnTo>
                  <a:pt x="360" y="185"/>
                </a:lnTo>
                <a:lnTo>
                  <a:pt x="360" y="188"/>
                </a:lnTo>
                <a:lnTo>
                  <a:pt x="360" y="188"/>
                </a:lnTo>
                <a:lnTo>
                  <a:pt x="360" y="188"/>
                </a:lnTo>
                <a:lnTo>
                  <a:pt x="360" y="185"/>
                </a:lnTo>
                <a:lnTo>
                  <a:pt x="356" y="182"/>
                </a:lnTo>
                <a:lnTo>
                  <a:pt x="356" y="188"/>
                </a:lnTo>
                <a:lnTo>
                  <a:pt x="353" y="191"/>
                </a:lnTo>
                <a:lnTo>
                  <a:pt x="356" y="194"/>
                </a:lnTo>
                <a:lnTo>
                  <a:pt x="356" y="194"/>
                </a:lnTo>
                <a:lnTo>
                  <a:pt x="353" y="201"/>
                </a:lnTo>
                <a:lnTo>
                  <a:pt x="353" y="204"/>
                </a:lnTo>
                <a:lnTo>
                  <a:pt x="353" y="207"/>
                </a:lnTo>
                <a:lnTo>
                  <a:pt x="353" y="210"/>
                </a:lnTo>
                <a:lnTo>
                  <a:pt x="353" y="213"/>
                </a:lnTo>
                <a:lnTo>
                  <a:pt x="353" y="216"/>
                </a:lnTo>
                <a:lnTo>
                  <a:pt x="350" y="226"/>
                </a:lnTo>
                <a:lnTo>
                  <a:pt x="350" y="232"/>
                </a:lnTo>
                <a:lnTo>
                  <a:pt x="350" y="241"/>
                </a:lnTo>
                <a:lnTo>
                  <a:pt x="347" y="244"/>
                </a:lnTo>
                <a:lnTo>
                  <a:pt x="347" y="248"/>
                </a:lnTo>
                <a:lnTo>
                  <a:pt x="350" y="254"/>
                </a:lnTo>
                <a:lnTo>
                  <a:pt x="347" y="260"/>
                </a:lnTo>
                <a:lnTo>
                  <a:pt x="353" y="266"/>
                </a:lnTo>
                <a:lnTo>
                  <a:pt x="353" y="273"/>
                </a:lnTo>
                <a:lnTo>
                  <a:pt x="353" y="273"/>
                </a:lnTo>
                <a:lnTo>
                  <a:pt x="353" y="266"/>
                </a:lnTo>
                <a:lnTo>
                  <a:pt x="347" y="260"/>
                </a:lnTo>
                <a:lnTo>
                  <a:pt x="347" y="266"/>
                </a:lnTo>
                <a:lnTo>
                  <a:pt x="350" y="269"/>
                </a:lnTo>
                <a:lnTo>
                  <a:pt x="353" y="276"/>
                </a:lnTo>
                <a:lnTo>
                  <a:pt x="353" y="279"/>
                </a:lnTo>
                <a:lnTo>
                  <a:pt x="353" y="282"/>
                </a:lnTo>
                <a:lnTo>
                  <a:pt x="353" y="285"/>
                </a:lnTo>
                <a:lnTo>
                  <a:pt x="356" y="288"/>
                </a:lnTo>
                <a:lnTo>
                  <a:pt x="366" y="301"/>
                </a:lnTo>
                <a:lnTo>
                  <a:pt x="369" y="304"/>
                </a:lnTo>
                <a:lnTo>
                  <a:pt x="372" y="310"/>
                </a:lnTo>
                <a:lnTo>
                  <a:pt x="372" y="313"/>
                </a:lnTo>
                <a:lnTo>
                  <a:pt x="372" y="316"/>
                </a:lnTo>
                <a:lnTo>
                  <a:pt x="381" y="326"/>
                </a:lnTo>
                <a:lnTo>
                  <a:pt x="381" y="329"/>
                </a:lnTo>
                <a:lnTo>
                  <a:pt x="385" y="329"/>
                </a:lnTo>
                <a:lnTo>
                  <a:pt x="391" y="329"/>
                </a:lnTo>
                <a:lnTo>
                  <a:pt x="391" y="329"/>
                </a:lnTo>
                <a:lnTo>
                  <a:pt x="397" y="332"/>
                </a:lnTo>
                <a:lnTo>
                  <a:pt x="400" y="338"/>
                </a:lnTo>
                <a:lnTo>
                  <a:pt x="403" y="345"/>
                </a:lnTo>
                <a:lnTo>
                  <a:pt x="406" y="341"/>
                </a:lnTo>
                <a:lnTo>
                  <a:pt x="413" y="341"/>
                </a:lnTo>
                <a:lnTo>
                  <a:pt x="416" y="341"/>
                </a:lnTo>
                <a:lnTo>
                  <a:pt x="419" y="341"/>
                </a:lnTo>
                <a:lnTo>
                  <a:pt x="425" y="338"/>
                </a:lnTo>
                <a:lnTo>
                  <a:pt x="428" y="335"/>
                </a:lnTo>
                <a:lnTo>
                  <a:pt x="435" y="335"/>
                </a:lnTo>
                <a:lnTo>
                  <a:pt x="438" y="335"/>
                </a:lnTo>
                <a:lnTo>
                  <a:pt x="444" y="332"/>
                </a:lnTo>
                <a:lnTo>
                  <a:pt x="447" y="332"/>
                </a:lnTo>
                <a:lnTo>
                  <a:pt x="453" y="332"/>
                </a:lnTo>
                <a:lnTo>
                  <a:pt x="453" y="332"/>
                </a:lnTo>
                <a:lnTo>
                  <a:pt x="460" y="332"/>
                </a:lnTo>
                <a:lnTo>
                  <a:pt x="456" y="335"/>
                </a:lnTo>
                <a:lnTo>
                  <a:pt x="453" y="338"/>
                </a:lnTo>
                <a:lnTo>
                  <a:pt x="460" y="338"/>
                </a:lnTo>
                <a:lnTo>
                  <a:pt x="463" y="341"/>
                </a:lnTo>
                <a:lnTo>
                  <a:pt x="463" y="338"/>
                </a:lnTo>
                <a:lnTo>
                  <a:pt x="466" y="338"/>
                </a:lnTo>
                <a:lnTo>
                  <a:pt x="469" y="335"/>
                </a:lnTo>
                <a:lnTo>
                  <a:pt x="469" y="329"/>
                </a:lnTo>
                <a:lnTo>
                  <a:pt x="469" y="326"/>
                </a:lnTo>
                <a:lnTo>
                  <a:pt x="466" y="329"/>
                </a:lnTo>
                <a:lnTo>
                  <a:pt x="466" y="326"/>
                </a:lnTo>
                <a:lnTo>
                  <a:pt x="472" y="323"/>
                </a:lnTo>
                <a:lnTo>
                  <a:pt x="475" y="323"/>
                </a:lnTo>
                <a:lnTo>
                  <a:pt x="481" y="316"/>
                </a:lnTo>
                <a:lnTo>
                  <a:pt x="481" y="310"/>
                </a:lnTo>
                <a:lnTo>
                  <a:pt x="488" y="304"/>
                </a:lnTo>
                <a:lnTo>
                  <a:pt x="488" y="301"/>
                </a:lnTo>
                <a:lnTo>
                  <a:pt x="488" y="288"/>
                </a:lnTo>
                <a:lnTo>
                  <a:pt x="494" y="282"/>
                </a:lnTo>
                <a:lnTo>
                  <a:pt x="491" y="282"/>
                </a:lnTo>
                <a:lnTo>
                  <a:pt x="491" y="279"/>
                </a:lnTo>
                <a:lnTo>
                  <a:pt x="503" y="276"/>
                </a:lnTo>
                <a:lnTo>
                  <a:pt x="522" y="276"/>
                </a:lnTo>
                <a:lnTo>
                  <a:pt x="525" y="269"/>
                </a:lnTo>
                <a:lnTo>
                  <a:pt x="528" y="269"/>
                </a:lnTo>
                <a:lnTo>
                  <a:pt x="532" y="273"/>
                </a:lnTo>
                <a:lnTo>
                  <a:pt x="535" y="269"/>
                </a:lnTo>
                <a:lnTo>
                  <a:pt x="535" y="266"/>
                </a:lnTo>
                <a:lnTo>
                  <a:pt x="544" y="266"/>
                </a:lnTo>
                <a:lnTo>
                  <a:pt x="550" y="269"/>
                </a:lnTo>
                <a:lnTo>
                  <a:pt x="553" y="269"/>
                </a:lnTo>
                <a:lnTo>
                  <a:pt x="553" y="266"/>
                </a:lnTo>
                <a:lnTo>
                  <a:pt x="557" y="266"/>
                </a:lnTo>
                <a:lnTo>
                  <a:pt x="563" y="273"/>
                </a:lnTo>
                <a:lnTo>
                  <a:pt x="563" y="279"/>
                </a:lnTo>
                <a:lnTo>
                  <a:pt x="560" y="282"/>
                </a:lnTo>
                <a:lnTo>
                  <a:pt x="557" y="291"/>
                </a:lnTo>
                <a:lnTo>
                  <a:pt x="547" y="298"/>
                </a:lnTo>
                <a:lnTo>
                  <a:pt x="544" y="301"/>
                </a:lnTo>
                <a:lnTo>
                  <a:pt x="544" y="307"/>
                </a:lnTo>
                <a:lnTo>
                  <a:pt x="541" y="307"/>
                </a:lnTo>
                <a:lnTo>
                  <a:pt x="541" y="310"/>
                </a:lnTo>
                <a:lnTo>
                  <a:pt x="541" y="313"/>
                </a:lnTo>
                <a:lnTo>
                  <a:pt x="544" y="313"/>
                </a:lnTo>
                <a:lnTo>
                  <a:pt x="544" y="316"/>
                </a:lnTo>
                <a:lnTo>
                  <a:pt x="541" y="320"/>
                </a:lnTo>
                <a:lnTo>
                  <a:pt x="541" y="323"/>
                </a:lnTo>
                <a:lnTo>
                  <a:pt x="541" y="323"/>
                </a:lnTo>
                <a:lnTo>
                  <a:pt x="544" y="320"/>
                </a:lnTo>
                <a:lnTo>
                  <a:pt x="547" y="320"/>
                </a:lnTo>
                <a:lnTo>
                  <a:pt x="544" y="323"/>
                </a:lnTo>
                <a:lnTo>
                  <a:pt x="541" y="335"/>
                </a:lnTo>
                <a:lnTo>
                  <a:pt x="538" y="341"/>
                </a:lnTo>
                <a:lnTo>
                  <a:pt x="535" y="341"/>
                </a:lnTo>
                <a:lnTo>
                  <a:pt x="535" y="338"/>
                </a:lnTo>
                <a:lnTo>
                  <a:pt x="532" y="335"/>
                </a:lnTo>
                <a:lnTo>
                  <a:pt x="528" y="335"/>
                </a:lnTo>
                <a:lnTo>
                  <a:pt x="532" y="332"/>
                </a:lnTo>
                <a:lnTo>
                  <a:pt x="532" y="329"/>
                </a:lnTo>
                <a:lnTo>
                  <a:pt x="528" y="329"/>
                </a:lnTo>
                <a:lnTo>
                  <a:pt x="525" y="335"/>
                </a:lnTo>
                <a:lnTo>
                  <a:pt x="522" y="338"/>
                </a:lnTo>
                <a:lnTo>
                  <a:pt x="522" y="338"/>
                </a:lnTo>
                <a:lnTo>
                  <a:pt x="522" y="338"/>
                </a:lnTo>
                <a:lnTo>
                  <a:pt x="519" y="338"/>
                </a:lnTo>
                <a:lnTo>
                  <a:pt x="519" y="341"/>
                </a:lnTo>
                <a:lnTo>
                  <a:pt x="516" y="345"/>
                </a:lnTo>
                <a:lnTo>
                  <a:pt x="516" y="348"/>
                </a:lnTo>
                <a:lnTo>
                  <a:pt x="513" y="348"/>
                </a:lnTo>
                <a:lnTo>
                  <a:pt x="513" y="348"/>
                </a:lnTo>
                <a:lnTo>
                  <a:pt x="513" y="348"/>
                </a:lnTo>
                <a:lnTo>
                  <a:pt x="510" y="348"/>
                </a:lnTo>
                <a:lnTo>
                  <a:pt x="510" y="348"/>
                </a:lnTo>
                <a:lnTo>
                  <a:pt x="510" y="348"/>
                </a:lnTo>
                <a:lnTo>
                  <a:pt x="506" y="348"/>
                </a:lnTo>
                <a:lnTo>
                  <a:pt x="506" y="351"/>
                </a:lnTo>
                <a:lnTo>
                  <a:pt x="472" y="351"/>
                </a:lnTo>
                <a:lnTo>
                  <a:pt x="472" y="360"/>
                </a:lnTo>
                <a:lnTo>
                  <a:pt x="463" y="360"/>
                </a:lnTo>
                <a:lnTo>
                  <a:pt x="466" y="363"/>
                </a:lnTo>
                <a:lnTo>
                  <a:pt x="466" y="366"/>
                </a:lnTo>
                <a:lnTo>
                  <a:pt x="469" y="370"/>
                </a:lnTo>
                <a:lnTo>
                  <a:pt x="472" y="373"/>
                </a:lnTo>
                <a:lnTo>
                  <a:pt x="475" y="373"/>
                </a:lnTo>
                <a:lnTo>
                  <a:pt x="475" y="376"/>
                </a:lnTo>
                <a:lnTo>
                  <a:pt x="478" y="376"/>
                </a:lnTo>
                <a:lnTo>
                  <a:pt x="478" y="379"/>
                </a:lnTo>
                <a:lnTo>
                  <a:pt x="481" y="379"/>
                </a:lnTo>
                <a:lnTo>
                  <a:pt x="485" y="379"/>
                </a:lnTo>
                <a:lnTo>
                  <a:pt x="485" y="382"/>
                </a:lnTo>
                <a:lnTo>
                  <a:pt x="481" y="385"/>
                </a:lnTo>
                <a:lnTo>
                  <a:pt x="456" y="385"/>
                </a:lnTo>
                <a:lnTo>
                  <a:pt x="444" y="404"/>
                </a:lnTo>
                <a:lnTo>
                  <a:pt x="444" y="407"/>
                </a:lnTo>
                <a:lnTo>
                  <a:pt x="447" y="407"/>
                </a:lnTo>
                <a:lnTo>
                  <a:pt x="444" y="410"/>
                </a:lnTo>
                <a:lnTo>
                  <a:pt x="447" y="410"/>
                </a:lnTo>
                <a:lnTo>
                  <a:pt x="447" y="413"/>
                </a:lnTo>
                <a:lnTo>
                  <a:pt x="447" y="413"/>
                </a:lnTo>
                <a:lnTo>
                  <a:pt x="444" y="417"/>
                </a:lnTo>
                <a:lnTo>
                  <a:pt x="444" y="417"/>
                </a:lnTo>
                <a:lnTo>
                  <a:pt x="444" y="417"/>
                </a:lnTo>
                <a:lnTo>
                  <a:pt x="441" y="413"/>
                </a:lnTo>
                <a:lnTo>
                  <a:pt x="435" y="410"/>
                </a:lnTo>
                <a:lnTo>
                  <a:pt x="435" y="407"/>
                </a:lnTo>
                <a:lnTo>
                  <a:pt x="431" y="407"/>
                </a:lnTo>
                <a:lnTo>
                  <a:pt x="416" y="395"/>
                </a:lnTo>
                <a:lnTo>
                  <a:pt x="416" y="391"/>
                </a:lnTo>
                <a:lnTo>
                  <a:pt x="416" y="391"/>
                </a:lnTo>
                <a:lnTo>
                  <a:pt x="413" y="385"/>
                </a:lnTo>
                <a:lnTo>
                  <a:pt x="406" y="382"/>
                </a:lnTo>
                <a:lnTo>
                  <a:pt x="403" y="382"/>
                </a:lnTo>
                <a:lnTo>
                  <a:pt x="403" y="382"/>
                </a:lnTo>
                <a:lnTo>
                  <a:pt x="403" y="382"/>
                </a:lnTo>
                <a:lnTo>
                  <a:pt x="403" y="382"/>
                </a:lnTo>
                <a:lnTo>
                  <a:pt x="410" y="385"/>
                </a:lnTo>
                <a:lnTo>
                  <a:pt x="413" y="391"/>
                </a:lnTo>
                <a:lnTo>
                  <a:pt x="413" y="391"/>
                </a:lnTo>
                <a:lnTo>
                  <a:pt x="410" y="388"/>
                </a:lnTo>
                <a:lnTo>
                  <a:pt x="403" y="385"/>
                </a:lnTo>
                <a:lnTo>
                  <a:pt x="400" y="385"/>
                </a:lnTo>
                <a:lnTo>
                  <a:pt x="397" y="385"/>
                </a:lnTo>
                <a:lnTo>
                  <a:pt x="397" y="385"/>
                </a:lnTo>
                <a:lnTo>
                  <a:pt x="397" y="382"/>
                </a:lnTo>
                <a:lnTo>
                  <a:pt x="400" y="382"/>
                </a:lnTo>
                <a:lnTo>
                  <a:pt x="400" y="382"/>
                </a:lnTo>
                <a:lnTo>
                  <a:pt x="397" y="382"/>
                </a:lnTo>
                <a:lnTo>
                  <a:pt x="394" y="382"/>
                </a:lnTo>
                <a:lnTo>
                  <a:pt x="394" y="379"/>
                </a:lnTo>
                <a:lnTo>
                  <a:pt x="394" y="379"/>
                </a:lnTo>
                <a:lnTo>
                  <a:pt x="388" y="382"/>
                </a:lnTo>
                <a:lnTo>
                  <a:pt x="388" y="385"/>
                </a:lnTo>
                <a:lnTo>
                  <a:pt x="391" y="385"/>
                </a:lnTo>
                <a:lnTo>
                  <a:pt x="397" y="385"/>
                </a:lnTo>
                <a:lnTo>
                  <a:pt x="397" y="385"/>
                </a:lnTo>
                <a:lnTo>
                  <a:pt x="394" y="385"/>
                </a:lnTo>
                <a:lnTo>
                  <a:pt x="388" y="385"/>
                </a:lnTo>
                <a:lnTo>
                  <a:pt x="385" y="385"/>
                </a:lnTo>
                <a:lnTo>
                  <a:pt x="378" y="391"/>
                </a:lnTo>
                <a:lnTo>
                  <a:pt x="375" y="391"/>
                </a:lnTo>
                <a:lnTo>
                  <a:pt x="366" y="395"/>
                </a:lnTo>
                <a:lnTo>
                  <a:pt x="363" y="395"/>
                </a:lnTo>
                <a:lnTo>
                  <a:pt x="350" y="391"/>
                </a:lnTo>
                <a:lnTo>
                  <a:pt x="347" y="388"/>
                </a:lnTo>
                <a:lnTo>
                  <a:pt x="341" y="388"/>
                </a:lnTo>
                <a:lnTo>
                  <a:pt x="331" y="385"/>
                </a:lnTo>
                <a:lnTo>
                  <a:pt x="328" y="382"/>
                </a:lnTo>
                <a:lnTo>
                  <a:pt x="328" y="385"/>
                </a:lnTo>
                <a:lnTo>
                  <a:pt x="325" y="382"/>
                </a:lnTo>
                <a:lnTo>
                  <a:pt x="319" y="382"/>
                </a:lnTo>
                <a:lnTo>
                  <a:pt x="316" y="376"/>
                </a:lnTo>
                <a:lnTo>
                  <a:pt x="316" y="376"/>
                </a:lnTo>
                <a:lnTo>
                  <a:pt x="313" y="376"/>
                </a:lnTo>
                <a:lnTo>
                  <a:pt x="306" y="376"/>
                </a:lnTo>
                <a:lnTo>
                  <a:pt x="300" y="376"/>
                </a:lnTo>
                <a:lnTo>
                  <a:pt x="300" y="370"/>
                </a:lnTo>
                <a:lnTo>
                  <a:pt x="294" y="366"/>
                </a:lnTo>
                <a:lnTo>
                  <a:pt x="285" y="366"/>
                </a:lnTo>
                <a:lnTo>
                  <a:pt x="275" y="363"/>
                </a:lnTo>
                <a:lnTo>
                  <a:pt x="272" y="357"/>
                </a:lnTo>
                <a:lnTo>
                  <a:pt x="269" y="357"/>
                </a:lnTo>
                <a:lnTo>
                  <a:pt x="260" y="348"/>
                </a:lnTo>
                <a:lnTo>
                  <a:pt x="256" y="345"/>
                </a:lnTo>
                <a:lnTo>
                  <a:pt x="253" y="345"/>
                </a:lnTo>
                <a:lnTo>
                  <a:pt x="253" y="348"/>
                </a:lnTo>
                <a:lnTo>
                  <a:pt x="250" y="348"/>
                </a:lnTo>
                <a:lnTo>
                  <a:pt x="244" y="345"/>
                </a:lnTo>
                <a:lnTo>
                  <a:pt x="241" y="345"/>
                </a:lnTo>
                <a:lnTo>
                  <a:pt x="238" y="341"/>
                </a:lnTo>
                <a:lnTo>
                  <a:pt x="235" y="341"/>
                </a:lnTo>
                <a:lnTo>
                  <a:pt x="231" y="341"/>
                </a:lnTo>
                <a:lnTo>
                  <a:pt x="228" y="335"/>
                </a:lnTo>
                <a:lnTo>
                  <a:pt x="225" y="332"/>
                </a:lnTo>
                <a:lnTo>
                  <a:pt x="219" y="326"/>
                </a:lnTo>
                <a:lnTo>
                  <a:pt x="216" y="326"/>
                </a:lnTo>
                <a:lnTo>
                  <a:pt x="216" y="323"/>
                </a:lnTo>
                <a:lnTo>
                  <a:pt x="216" y="320"/>
                </a:lnTo>
                <a:lnTo>
                  <a:pt x="216" y="320"/>
                </a:lnTo>
                <a:lnTo>
                  <a:pt x="210" y="323"/>
                </a:lnTo>
                <a:lnTo>
                  <a:pt x="203" y="320"/>
                </a:lnTo>
                <a:lnTo>
                  <a:pt x="203" y="316"/>
                </a:lnTo>
                <a:lnTo>
                  <a:pt x="200" y="316"/>
                </a:lnTo>
                <a:lnTo>
                  <a:pt x="197" y="316"/>
                </a:lnTo>
                <a:lnTo>
                  <a:pt x="197" y="310"/>
                </a:lnTo>
                <a:lnTo>
                  <a:pt x="194" y="307"/>
                </a:lnTo>
                <a:lnTo>
                  <a:pt x="194" y="304"/>
                </a:lnTo>
                <a:lnTo>
                  <a:pt x="191" y="301"/>
                </a:lnTo>
                <a:lnTo>
                  <a:pt x="188" y="295"/>
                </a:lnTo>
                <a:lnTo>
                  <a:pt x="188" y="291"/>
                </a:lnTo>
                <a:lnTo>
                  <a:pt x="191" y="291"/>
                </a:lnTo>
                <a:lnTo>
                  <a:pt x="194" y="291"/>
                </a:lnTo>
                <a:lnTo>
                  <a:pt x="197" y="288"/>
                </a:lnTo>
                <a:lnTo>
                  <a:pt x="194" y="288"/>
                </a:lnTo>
                <a:lnTo>
                  <a:pt x="191" y="285"/>
                </a:lnTo>
                <a:lnTo>
                  <a:pt x="194" y="285"/>
                </a:lnTo>
                <a:lnTo>
                  <a:pt x="197" y="279"/>
                </a:lnTo>
                <a:lnTo>
                  <a:pt x="200" y="276"/>
                </a:lnTo>
                <a:lnTo>
                  <a:pt x="200" y="273"/>
                </a:lnTo>
                <a:lnTo>
                  <a:pt x="194" y="260"/>
                </a:lnTo>
                <a:lnTo>
                  <a:pt x="194" y="257"/>
                </a:lnTo>
                <a:lnTo>
                  <a:pt x="191" y="254"/>
                </a:lnTo>
                <a:lnTo>
                  <a:pt x="194" y="251"/>
                </a:lnTo>
                <a:lnTo>
                  <a:pt x="191" y="244"/>
                </a:lnTo>
                <a:lnTo>
                  <a:pt x="185" y="238"/>
                </a:lnTo>
                <a:lnTo>
                  <a:pt x="185" y="232"/>
                </a:lnTo>
                <a:lnTo>
                  <a:pt x="178" y="226"/>
                </a:lnTo>
                <a:lnTo>
                  <a:pt x="175" y="219"/>
                </a:lnTo>
                <a:lnTo>
                  <a:pt x="169" y="210"/>
                </a:lnTo>
                <a:lnTo>
                  <a:pt x="163" y="207"/>
                </a:lnTo>
                <a:lnTo>
                  <a:pt x="160" y="204"/>
                </a:lnTo>
                <a:lnTo>
                  <a:pt x="160" y="201"/>
                </a:lnTo>
                <a:lnTo>
                  <a:pt x="153" y="201"/>
                </a:lnTo>
                <a:lnTo>
                  <a:pt x="150" y="198"/>
                </a:lnTo>
                <a:lnTo>
                  <a:pt x="150" y="198"/>
                </a:lnTo>
                <a:lnTo>
                  <a:pt x="153" y="194"/>
                </a:lnTo>
                <a:lnTo>
                  <a:pt x="156" y="191"/>
                </a:lnTo>
                <a:lnTo>
                  <a:pt x="153" y="188"/>
                </a:lnTo>
                <a:lnTo>
                  <a:pt x="153" y="185"/>
                </a:lnTo>
                <a:lnTo>
                  <a:pt x="150" y="185"/>
                </a:lnTo>
                <a:lnTo>
                  <a:pt x="150" y="185"/>
                </a:lnTo>
                <a:lnTo>
                  <a:pt x="144" y="182"/>
                </a:lnTo>
                <a:lnTo>
                  <a:pt x="138" y="176"/>
                </a:lnTo>
                <a:lnTo>
                  <a:pt x="135" y="176"/>
                </a:lnTo>
                <a:lnTo>
                  <a:pt x="131" y="176"/>
                </a:lnTo>
                <a:lnTo>
                  <a:pt x="128" y="173"/>
                </a:lnTo>
                <a:lnTo>
                  <a:pt x="128" y="169"/>
                </a:lnTo>
                <a:lnTo>
                  <a:pt x="128" y="163"/>
                </a:lnTo>
                <a:lnTo>
                  <a:pt x="131" y="160"/>
                </a:lnTo>
                <a:lnTo>
                  <a:pt x="135" y="157"/>
                </a:lnTo>
                <a:lnTo>
                  <a:pt x="138" y="160"/>
                </a:lnTo>
                <a:lnTo>
                  <a:pt x="138" y="157"/>
                </a:lnTo>
                <a:lnTo>
                  <a:pt x="138" y="157"/>
                </a:lnTo>
                <a:lnTo>
                  <a:pt x="138" y="154"/>
                </a:lnTo>
                <a:lnTo>
                  <a:pt x="135" y="157"/>
                </a:lnTo>
                <a:lnTo>
                  <a:pt x="131" y="154"/>
                </a:lnTo>
                <a:lnTo>
                  <a:pt x="131" y="151"/>
                </a:lnTo>
                <a:lnTo>
                  <a:pt x="128" y="147"/>
                </a:lnTo>
                <a:lnTo>
                  <a:pt x="125" y="147"/>
                </a:lnTo>
                <a:lnTo>
                  <a:pt x="122" y="147"/>
                </a:lnTo>
                <a:lnTo>
                  <a:pt x="122" y="144"/>
                </a:lnTo>
                <a:lnTo>
                  <a:pt x="122" y="141"/>
                </a:lnTo>
                <a:lnTo>
                  <a:pt x="119" y="138"/>
                </a:lnTo>
                <a:lnTo>
                  <a:pt x="116" y="138"/>
                </a:lnTo>
                <a:lnTo>
                  <a:pt x="110" y="132"/>
                </a:lnTo>
                <a:lnTo>
                  <a:pt x="110" y="129"/>
                </a:lnTo>
                <a:lnTo>
                  <a:pt x="110" y="126"/>
                </a:lnTo>
                <a:lnTo>
                  <a:pt x="110" y="122"/>
                </a:lnTo>
                <a:lnTo>
                  <a:pt x="110" y="119"/>
                </a:lnTo>
                <a:lnTo>
                  <a:pt x="106" y="119"/>
                </a:lnTo>
                <a:lnTo>
                  <a:pt x="103" y="119"/>
                </a:lnTo>
                <a:lnTo>
                  <a:pt x="103" y="119"/>
                </a:lnTo>
                <a:lnTo>
                  <a:pt x="100" y="116"/>
                </a:lnTo>
                <a:lnTo>
                  <a:pt x="100" y="116"/>
                </a:lnTo>
                <a:lnTo>
                  <a:pt x="97" y="113"/>
                </a:lnTo>
                <a:lnTo>
                  <a:pt x="97" y="107"/>
                </a:lnTo>
                <a:lnTo>
                  <a:pt x="94" y="107"/>
                </a:lnTo>
                <a:lnTo>
                  <a:pt x="91" y="104"/>
                </a:lnTo>
                <a:lnTo>
                  <a:pt x="91" y="101"/>
                </a:lnTo>
                <a:lnTo>
                  <a:pt x="91" y="97"/>
                </a:lnTo>
                <a:lnTo>
                  <a:pt x="88" y="97"/>
                </a:lnTo>
                <a:lnTo>
                  <a:pt x="85" y="88"/>
                </a:lnTo>
                <a:lnTo>
                  <a:pt x="85" y="88"/>
                </a:lnTo>
                <a:lnTo>
                  <a:pt x="81" y="88"/>
                </a:lnTo>
                <a:lnTo>
                  <a:pt x="81" y="85"/>
                </a:lnTo>
                <a:lnTo>
                  <a:pt x="81" y="82"/>
                </a:lnTo>
                <a:lnTo>
                  <a:pt x="81" y="82"/>
                </a:lnTo>
                <a:lnTo>
                  <a:pt x="78" y="76"/>
                </a:lnTo>
                <a:lnTo>
                  <a:pt x="75" y="69"/>
                </a:lnTo>
                <a:lnTo>
                  <a:pt x="78" y="69"/>
                </a:lnTo>
                <a:lnTo>
                  <a:pt x="75" y="63"/>
                </a:lnTo>
                <a:lnTo>
                  <a:pt x="75" y="60"/>
                </a:lnTo>
                <a:lnTo>
                  <a:pt x="75" y="54"/>
                </a:lnTo>
                <a:lnTo>
                  <a:pt x="72" y="47"/>
                </a:lnTo>
                <a:lnTo>
                  <a:pt x="72" y="44"/>
                </a:lnTo>
                <a:lnTo>
                  <a:pt x="75" y="41"/>
                </a:lnTo>
                <a:lnTo>
                  <a:pt x="75" y="41"/>
                </a:lnTo>
                <a:lnTo>
                  <a:pt x="69" y="38"/>
                </a:lnTo>
                <a:lnTo>
                  <a:pt x="66" y="38"/>
                </a:lnTo>
                <a:lnTo>
                  <a:pt x="66" y="35"/>
                </a:lnTo>
                <a:lnTo>
                  <a:pt x="63" y="32"/>
                </a:lnTo>
                <a:lnTo>
                  <a:pt x="60" y="35"/>
                </a:lnTo>
                <a:lnTo>
                  <a:pt x="56" y="35"/>
                </a:lnTo>
                <a:lnTo>
                  <a:pt x="53" y="32"/>
                </a:lnTo>
                <a:lnTo>
                  <a:pt x="50" y="29"/>
                </a:lnTo>
                <a:lnTo>
                  <a:pt x="47" y="25"/>
                </a:lnTo>
                <a:lnTo>
                  <a:pt x="44" y="19"/>
                </a:lnTo>
                <a:lnTo>
                  <a:pt x="44" y="25"/>
                </a:lnTo>
                <a:lnTo>
                  <a:pt x="44" y="29"/>
                </a:lnTo>
                <a:lnTo>
                  <a:pt x="44" y="35"/>
                </a:lnTo>
                <a:lnTo>
                  <a:pt x="41" y="38"/>
                </a:lnTo>
                <a:lnTo>
                  <a:pt x="44" y="47"/>
                </a:lnTo>
                <a:lnTo>
                  <a:pt x="44" y="63"/>
                </a:lnTo>
                <a:lnTo>
                  <a:pt x="41" y="66"/>
                </a:lnTo>
                <a:lnTo>
                  <a:pt x="44" y="66"/>
                </a:lnTo>
                <a:lnTo>
                  <a:pt x="47" y="72"/>
                </a:lnTo>
                <a:lnTo>
                  <a:pt x="47" y="76"/>
                </a:lnTo>
                <a:lnTo>
                  <a:pt x="47" y="76"/>
                </a:lnTo>
                <a:lnTo>
                  <a:pt x="50" y="79"/>
                </a:lnTo>
                <a:lnTo>
                  <a:pt x="56" y="82"/>
                </a:lnTo>
                <a:lnTo>
                  <a:pt x="56" y="88"/>
                </a:lnTo>
                <a:lnTo>
                  <a:pt x="56" y="91"/>
                </a:lnTo>
                <a:lnTo>
                  <a:pt x="56" y="94"/>
                </a:lnTo>
                <a:lnTo>
                  <a:pt x="60" y="97"/>
                </a:lnTo>
                <a:lnTo>
                  <a:pt x="63" y="97"/>
                </a:lnTo>
                <a:lnTo>
                  <a:pt x="63" y="104"/>
                </a:lnTo>
                <a:lnTo>
                  <a:pt x="66" y="104"/>
                </a:lnTo>
                <a:lnTo>
                  <a:pt x="66" y="107"/>
                </a:lnTo>
                <a:lnTo>
                  <a:pt x="72" y="110"/>
                </a:lnTo>
                <a:lnTo>
                  <a:pt x="69" y="113"/>
                </a:lnTo>
                <a:lnTo>
                  <a:pt x="69" y="119"/>
                </a:lnTo>
                <a:lnTo>
                  <a:pt x="75" y="122"/>
                </a:lnTo>
                <a:lnTo>
                  <a:pt x="75" y="122"/>
                </a:lnTo>
                <a:lnTo>
                  <a:pt x="78" y="129"/>
                </a:lnTo>
                <a:lnTo>
                  <a:pt x="78" y="135"/>
                </a:lnTo>
                <a:lnTo>
                  <a:pt x="81" y="135"/>
                </a:lnTo>
                <a:lnTo>
                  <a:pt x="81" y="138"/>
                </a:lnTo>
                <a:lnTo>
                  <a:pt x="81" y="141"/>
                </a:lnTo>
                <a:lnTo>
                  <a:pt x="81" y="144"/>
                </a:lnTo>
                <a:lnTo>
                  <a:pt x="85" y="151"/>
                </a:lnTo>
                <a:lnTo>
                  <a:pt x="88" y="147"/>
                </a:lnTo>
                <a:lnTo>
                  <a:pt x="88" y="144"/>
                </a:lnTo>
                <a:lnTo>
                  <a:pt x="88" y="144"/>
                </a:lnTo>
                <a:lnTo>
                  <a:pt x="88" y="144"/>
                </a:lnTo>
                <a:lnTo>
                  <a:pt x="88" y="147"/>
                </a:lnTo>
                <a:lnTo>
                  <a:pt x="91" y="151"/>
                </a:lnTo>
                <a:lnTo>
                  <a:pt x="94" y="157"/>
                </a:lnTo>
                <a:lnTo>
                  <a:pt x="91" y="160"/>
                </a:lnTo>
                <a:lnTo>
                  <a:pt x="91" y="166"/>
                </a:lnTo>
                <a:lnTo>
                  <a:pt x="94" y="169"/>
                </a:lnTo>
                <a:lnTo>
                  <a:pt x="94" y="173"/>
                </a:lnTo>
                <a:lnTo>
                  <a:pt x="97" y="176"/>
                </a:lnTo>
                <a:lnTo>
                  <a:pt x="97" y="179"/>
                </a:lnTo>
                <a:lnTo>
                  <a:pt x="97" y="179"/>
                </a:lnTo>
                <a:lnTo>
                  <a:pt x="97" y="182"/>
                </a:lnTo>
                <a:lnTo>
                  <a:pt x="97" y="185"/>
                </a:lnTo>
                <a:lnTo>
                  <a:pt x="100" y="188"/>
                </a:lnTo>
                <a:lnTo>
                  <a:pt x="100" y="191"/>
                </a:lnTo>
                <a:lnTo>
                  <a:pt x="97" y="198"/>
                </a:lnTo>
                <a:lnTo>
                  <a:pt x="97" y="201"/>
                </a:lnTo>
                <a:lnTo>
                  <a:pt x="100" y="204"/>
                </a:lnTo>
                <a:lnTo>
                  <a:pt x="103" y="207"/>
                </a:lnTo>
                <a:lnTo>
                  <a:pt x="106" y="207"/>
                </a:lnTo>
                <a:lnTo>
                  <a:pt x="106" y="207"/>
                </a:lnTo>
                <a:lnTo>
                  <a:pt x="106" y="204"/>
                </a:lnTo>
                <a:lnTo>
                  <a:pt x="106" y="204"/>
                </a:lnTo>
                <a:lnTo>
                  <a:pt x="110" y="204"/>
                </a:lnTo>
                <a:lnTo>
                  <a:pt x="113" y="207"/>
                </a:lnTo>
                <a:lnTo>
                  <a:pt x="113" y="210"/>
                </a:lnTo>
                <a:lnTo>
                  <a:pt x="116" y="210"/>
                </a:lnTo>
                <a:lnTo>
                  <a:pt x="116" y="216"/>
                </a:lnTo>
                <a:lnTo>
                  <a:pt x="119" y="216"/>
                </a:lnTo>
                <a:lnTo>
                  <a:pt x="119" y="219"/>
                </a:lnTo>
                <a:lnTo>
                  <a:pt x="122" y="223"/>
                </a:lnTo>
                <a:lnTo>
                  <a:pt x="122" y="226"/>
                </a:lnTo>
                <a:lnTo>
                  <a:pt x="119" y="232"/>
                </a:lnTo>
                <a:lnTo>
                  <a:pt x="113" y="235"/>
                </a:lnTo>
                <a:lnTo>
                  <a:pt x="110" y="235"/>
                </a:lnTo>
                <a:lnTo>
                  <a:pt x="110" y="229"/>
                </a:lnTo>
                <a:lnTo>
                  <a:pt x="110" y="229"/>
                </a:lnTo>
                <a:lnTo>
                  <a:pt x="106" y="226"/>
                </a:lnTo>
                <a:lnTo>
                  <a:pt x="106" y="219"/>
                </a:lnTo>
                <a:lnTo>
                  <a:pt x="103" y="216"/>
                </a:lnTo>
                <a:lnTo>
                  <a:pt x="100" y="216"/>
                </a:lnTo>
                <a:lnTo>
                  <a:pt x="97" y="213"/>
                </a:lnTo>
                <a:lnTo>
                  <a:pt x="94" y="210"/>
                </a:lnTo>
                <a:lnTo>
                  <a:pt x="91" y="210"/>
                </a:lnTo>
                <a:lnTo>
                  <a:pt x="85" y="201"/>
                </a:lnTo>
                <a:lnTo>
                  <a:pt x="81" y="198"/>
                </a:lnTo>
                <a:lnTo>
                  <a:pt x="78" y="198"/>
                </a:lnTo>
                <a:lnTo>
                  <a:pt x="78" y="194"/>
                </a:lnTo>
                <a:lnTo>
                  <a:pt x="75" y="194"/>
                </a:lnTo>
                <a:lnTo>
                  <a:pt x="72" y="191"/>
                </a:lnTo>
                <a:lnTo>
                  <a:pt x="72" y="188"/>
                </a:lnTo>
                <a:lnTo>
                  <a:pt x="75" y="182"/>
                </a:lnTo>
                <a:lnTo>
                  <a:pt x="75" y="176"/>
                </a:lnTo>
                <a:lnTo>
                  <a:pt x="75" y="166"/>
                </a:lnTo>
                <a:lnTo>
                  <a:pt x="72" y="160"/>
                </a:lnTo>
                <a:lnTo>
                  <a:pt x="72" y="157"/>
                </a:lnTo>
                <a:lnTo>
                  <a:pt x="69" y="157"/>
                </a:lnTo>
                <a:lnTo>
                  <a:pt x="66" y="157"/>
                </a:lnTo>
                <a:lnTo>
                  <a:pt x="60" y="151"/>
                </a:lnTo>
                <a:lnTo>
                  <a:pt x="60" y="144"/>
                </a:lnTo>
                <a:lnTo>
                  <a:pt x="60" y="141"/>
                </a:lnTo>
                <a:lnTo>
                  <a:pt x="56" y="141"/>
                </a:lnTo>
                <a:lnTo>
                  <a:pt x="53" y="144"/>
                </a:lnTo>
                <a:lnTo>
                  <a:pt x="53" y="144"/>
                </a:lnTo>
                <a:lnTo>
                  <a:pt x="50" y="144"/>
                </a:lnTo>
                <a:lnTo>
                  <a:pt x="47" y="141"/>
                </a:lnTo>
                <a:lnTo>
                  <a:pt x="47" y="141"/>
                </a:lnTo>
                <a:lnTo>
                  <a:pt x="47" y="141"/>
                </a:lnTo>
                <a:lnTo>
                  <a:pt x="44" y="141"/>
                </a:lnTo>
                <a:lnTo>
                  <a:pt x="44" y="138"/>
                </a:lnTo>
                <a:lnTo>
                  <a:pt x="38" y="135"/>
                </a:lnTo>
                <a:lnTo>
                  <a:pt x="35" y="135"/>
                </a:lnTo>
                <a:lnTo>
                  <a:pt x="35" y="132"/>
                </a:lnTo>
                <a:lnTo>
                  <a:pt x="35" y="129"/>
                </a:lnTo>
                <a:lnTo>
                  <a:pt x="28" y="126"/>
                </a:lnTo>
                <a:lnTo>
                  <a:pt x="25" y="119"/>
                </a:lnTo>
                <a:lnTo>
                  <a:pt x="28" y="119"/>
                </a:lnTo>
                <a:lnTo>
                  <a:pt x="31" y="119"/>
                </a:lnTo>
                <a:lnTo>
                  <a:pt x="35" y="119"/>
                </a:lnTo>
                <a:lnTo>
                  <a:pt x="41" y="122"/>
                </a:lnTo>
                <a:lnTo>
                  <a:pt x="44" y="122"/>
                </a:lnTo>
                <a:lnTo>
                  <a:pt x="44" y="122"/>
                </a:lnTo>
                <a:lnTo>
                  <a:pt x="44" y="119"/>
                </a:lnTo>
                <a:lnTo>
                  <a:pt x="41" y="119"/>
                </a:lnTo>
                <a:lnTo>
                  <a:pt x="41" y="116"/>
                </a:lnTo>
                <a:lnTo>
                  <a:pt x="44" y="116"/>
                </a:lnTo>
                <a:lnTo>
                  <a:pt x="44" y="116"/>
                </a:lnTo>
                <a:lnTo>
                  <a:pt x="47" y="113"/>
                </a:lnTo>
                <a:lnTo>
                  <a:pt x="44" y="110"/>
                </a:lnTo>
                <a:lnTo>
                  <a:pt x="44" y="107"/>
                </a:lnTo>
                <a:lnTo>
                  <a:pt x="47" y="107"/>
                </a:lnTo>
                <a:lnTo>
                  <a:pt x="44" y="101"/>
                </a:lnTo>
                <a:lnTo>
                  <a:pt x="44" y="101"/>
                </a:lnTo>
                <a:lnTo>
                  <a:pt x="41" y="94"/>
                </a:lnTo>
                <a:lnTo>
                  <a:pt x="35" y="91"/>
                </a:lnTo>
                <a:lnTo>
                  <a:pt x="35" y="88"/>
                </a:lnTo>
                <a:lnTo>
                  <a:pt x="31" y="82"/>
                </a:lnTo>
                <a:lnTo>
                  <a:pt x="25" y="76"/>
                </a:lnTo>
                <a:lnTo>
                  <a:pt x="25" y="79"/>
                </a:lnTo>
                <a:lnTo>
                  <a:pt x="22" y="72"/>
                </a:lnTo>
                <a:lnTo>
                  <a:pt x="19" y="69"/>
                </a:lnTo>
                <a:lnTo>
                  <a:pt x="19" y="63"/>
                </a:lnTo>
                <a:lnTo>
                  <a:pt x="19" y="60"/>
                </a:lnTo>
                <a:lnTo>
                  <a:pt x="16" y="57"/>
                </a:lnTo>
                <a:lnTo>
                  <a:pt x="16" y="54"/>
                </a:lnTo>
                <a:lnTo>
                  <a:pt x="16" y="51"/>
                </a:lnTo>
                <a:lnTo>
                  <a:pt x="16" y="47"/>
                </a:lnTo>
                <a:lnTo>
                  <a:pt x="13" y="44"/>
                </a:lnTo>
                <a:lnTo>
                  <a:pt x="13" y="41"/>
                </a:lnTo>
                <a:lnTo>
                  <a:pt x="13" y="41"/>
                </a:lnTo>
                <a:lnTo>
                  <a:pt x="13" y="38"/>
                </a:lnTo>
                <a:lnTo>
                  <a:pt x="6" y="32"/>
                </a:lnTo>
                <a:lnTo>
                  <a:pt x="6" y="29"/>
                </a:lnTo>
                <a:lnTo>
                  <a:pt x="6" y="25"/>
                </a:lnTo>
                <a:lnTo>
                  <a:pt x="10" y="25"/>
                </a:lnTo>
                <a:lnTo>
                  <a:pt x="6" y="22"/>
                </a:lnTo>
                <a:lnTo>
                  <a:pt x="3" y="16"/>
                </a:lnTo>
                <a:lnTo>
                  <a:pt x="0" y="7"/>
                </a:lnTo>
                <a:lnTo>
                  <a:pt x="0" y="4"/>
                </a:lnTo>
                <a:lnTo>
                  <a:pt x="0" y="4"/>
                </a:lnTo>
                <a:close/>
                <a:moveTo>
                  <a:pt x="103" y="191"/>
                </a:moveTo>
                <a:lnTo>
                  <a:pt x="103" y="188"/>
                </a:lnTo>
                <a:lnTo>
                  <a:pt x="103" y="188"/>
                </a:lnTo>
                <a:lnTo>
                  <a:pt x="103" y="185"/>
                </a:lnTo>
                <a:lnTo>
                  <a:pt x="100" y="185"/>
                </a:lnTo>
                <a:lnTo>
                  <a:pt x="103" y="188"/>
                </a:lnTo>
                <a:lnTo>
                  <a:pt x="103" y="191"/>
                </a:lnTo>
                <a:lnTo>
                  <a:pt x="103" y="191"/>
                </a:lnTo>
                <a:close/>
                <a:moveTo>
                  <a:pt x="106" y="201"/>
                </a:moveTo>
                <a:lnTo>
                  <a:pt x="106" y="201"/>
                </a:lnTo>
                <a:lnTo>
                  <a:pt x="106" y="201"/>
                </a:lnTo>
                <a:lnTo>
                  <a:pt x="110" y="201"/>
                </a:lnTo>
                <a:lnTo>
                  <a:pt x="106" y="201"/>
                </a:lnTo>
                <a:lnTo>
                  <a:pt x="106" y="201"/>
                </a:lnTo>
                <a:close/>
                <a:moveTo>
                  <a:pt x="356" y="194"/>
                </a:moveTo>
                <a:lnTo>
                  <a:pt x="360" y="194"/>
                </a:lnTo>
                <a:lnTo>
                  <a:pt x="360" y="191"/>
                </a:lnTo>
                <a:lnTo>
                  <a:pt x="356" y="191"/>
                </a:lnTo>
                <a:lnTo>
                  <a:pt x="356" y="194"/>
                </a:lnTo>
                <a:lnTo>
                  <a:pt x="356" y="194"/>
                </a:lnTo>
                <a:close/>
                <a:moveTo>
                  <a:pt x="356" y="198"/>
                </a:moveTo>
                <a:lnTo>
                  <a:pt x="356" y="198"/>
                </a:lnTo>
                <a:lnTo>
                  <a:pt x="356" y="194"/>
                </a:lnTo>
                <a:lnTo>
                  <a:pt x="356" y="194"/>
                </a:lnTo>
                <a:lnTo>
                  <a:pt x="356" y="198"/>
                </a:lnTo>
                <a:lnTo>
                  <a:pt x="356" y="198"/>
                </a:lnTo>
                <a:close/>
                <a:moveTo>
                  <a:pt x="353" y="207"/>
                </a:moveTo>
                <a:lnTo>
                  <a:pt x="356" y="204"/>
                </a:lnTo>
                <a:lnTo>
                  <a:pt x="356" y="201"/>
                </a:lnTo>
                <a:lnTo>
                  <a:pt x="353" y="207"/>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8" name="Freeform 186">
            <a:extLst>
              <a:ext uri="{FF2B5EF4-FFF2-40B4-BE49-F238E27FC236}">
                <a16:creationId xmlns:a16="http://schemas.microsoft.com/office/drawing/2014/main" id="{99A70323-1BE6-74D2-CAFB-2866B1FDE2E7}"/>
              </a:ext>
            </a:extLst>
          </p:cNvPr>
          <p:cNvSpPr>
            <a:spLocks noEditPoints="1"/>
          </p:cNvSpPr>
          <p:nvPr userDrawn="1"/>
        </p:nvSpPr>
        <p:spPr bwMode="auto">
          <a:xfrm>
            <a:off x="8613212" y="9048035"/>
            <a:ext cx="2431892" cy="2562226"/>
          </a:xfrm>
          <a:custGeom>
            <a:avLst/>
            <a:gdLst>
              <a:gd name="T0" fmla="*/ 146 w 245"/>
              <a:gd name="T1" fmla="*/ 35 h 258"/>
              <a:gd name="T2" fmla="*/ 148 w 245"/>
              <a:gd name="T3" fmla="*/ 34 h 258"/>
              <a:gd name="T4" fmla="*/ 150 w 245"/>
              <a:gd name="T5" fmla="*/ 34 h 258"/>
              <a:gd name="T6" fmla="*/ 154 w 245"/>
              <a:gd name="T7" fmla="*/ 35 h 258"/>
              <a:gd name="T8" fmla="*/ 141 w 245"/>
              <a:gd name="T9" fmla="*/ 7 h 258"/>
              <a:gd name="T10" fmla="*/ 133 w 245"/>
              <a:gd name="T11" fmla="*/ 19 h 258"/>
              <a:gd name="T12" fmla="*/ 124 w 245"/>
              <a:gd name="T13" fmla="*/ 21 h 258"/>
              <a:gd name="T14" fmla="*/ 112 w 245"/>
              <a:gd name="T15" fmla="*/ 19 h 258"/>
              <a:gd name="T16" fmla="*/ 106 w 245"/>
              <a:gd name="T17" fmla="*/ 21 h 258"/>
              <a:gd name="T18" fmla="*/ 91 w 245"/>
              <a:gd name="T19" fmla="*/ 24 h 258"/>
              <a:gd name="T20" fmla="*/ 90 w 245"/>
              <a:gd name="T21" fmla="*/ 8 h 258"/>
              <a:gd name="T22" fmla="*/ 83 w 245"/>
              <a:gd name="T23" fmla="*/ 0 h 258"/>
              <a:gd name="T24" fmla="*/ 62 w 245"/>
              <a:gd name="T25" fmla="*/ 9 h 258"/>
              <a:gd name="T26" fmla="*/ 65 w 245"/>
              <a:gd name="T27" fmla="*/ 18 h 258"/>
              <a:gd name="T28" fmla="*/ 43 w 245"/>
              <a:gd name="T29" fmla="*/ 26 h 258"/>
              <a:gd name="T30" fmla="*/ 25 w 245"/>
              <a:gd name="T31" fmla="*/ 25 h 258"/>
              <a:gd name="T32" fmla="*/ 28 w 245"/>
              <a:gd name="T33" fmla="*/ 44 h 258"/>
              <a:gd name="T34" fmla="*/ 14 w 245"/>
              <a:gd name="T35" fmla="*/ 63 h 258"/>
              <a:gd name="T36" fmla="*/ 3 w 245"/>
              <a:gd name="T37" fmla="*/ 77 h 258"/>
              <a:gd name="T38" fmla="*/ 7 w 245"/>
              <a:gd name="T39" fmla="*/ 94 h 258"/>
              <a:gd name="T40" fmla="*/ 22 w 245"/>
              <a:gd name="T41" fmla="*/ 105 h 258"/>
              <a:gd name="T42" fmla="*/ 38 w 245"/>
              <a:gd name="T43" fmla="*/ 103 h 258"/>
              <a:gd name="T44" fmla="*/ 53 w 245"/>
              <a:gd name="T45" fmla="*/ 103 h 258"/>
              <a:gd name="T46" fmla="*/ 71 w 245"/>
              <a:gd name="T47" fmla="*/ 118 h 258"/>
              <a:gd name="T48" fmla="*/ 88 w 245"/>
              <a:gd name="T49" fmla="*/ 135 h 258"/>
              <a:gd name="T50" fmla="*/ 104 w 245"/>
              <a:gd name="T51" fmla="*/ 166 h 258"/>
              <a:gd name="T52" fmla="*/ 119 w 245"/>
              <a:gd name="T53" fmla="*/ 179 h 258"/>
              <a:gd name="T54" fmla="*/ 127 w 245"/>
              <a:gd name="T55" fmla="*/ 199 h 258"/>
              <a:gd name="T56" fmla="*/ 130 w 245"/>
              <a:gd name="T57" fmla="*/ 213 h 258"/>
              <a:gd name="T58" fmla="*/ 117 w 245"/>
              <a:gd name="T59" fmla="*/ 225 h 258"/>
              <a:gd name="T60" fmla="*/ 119 w 245"/>
              <a:gd name="T61" fmla="*/ 235 h 258"/>
              <a:gd name="T62" fmla="*/ 135 w 245"/>
              <a:gd name="T63" fmla="*/ 246 h 258"/>
              <a:gd name="T64" fmla="*/ 144 w 245"/>
              <a:gd name="T65" fmla="*/ 250 h 258"/>
              <a:gd name="T66" fmla="*/ 149 w 245"/>
              <a:gd name="T67" fmla="*/ 238 h 258"/>
              <a:gd name="T68" fmla="*/ 153 w 245"/>
              <a:gd name="T69" fmla="*/ 233 h 258"/>
              <a:gd name="T70" fmla="*/ 147 w 245"/>
              <a:gd name="T71" fmla="*/ 244 h 258"/>
              <a:gd name="T72" fmla="*/ 164 w 245"/>
              <a:gd name="T73" fmla="*/ 219 h 258"/>
              <a:gd name="T74" fmla="*/ 164 w 245"/>
              <a:gd name="T75" fmla="*/ 208 h 258"/>
              <a:gd name="T76" fmla="*/ 168 w 245"/>
              <a:gd name="T77" fmla="*/ 197 h 258"/>
              <a:gd name="T78" fmla="*/ 184 w 245"/>
              <a:gd name="T79" fmla="*/ 186 h 258"/>
              <a:gd name="T80" fmla="*/ 193 w 245"/>
              <a:gd name="T81" fmla="*/ 181 h 258"/>
              <a:gd name="T82" fmla="*/ 199 w 245"/>
              <a:gd name="T83" fmla="*/ 181 h 258"/>
              <a:gd name="T84" fmla="*/ 210 w 245"/>
              <a:gd name="T85" fmla="*/ 170 h 258"/>
              <a:gd name="T86" fmla="*/ 217 w 245"/>
              <a:gd name="T87" fmla="*/ 150 h 258"/>
              <a:gd name="T88" fmla="*/ 221 w 245"/>
              <a:gd name="T89" fmla="*/ 123 h 258"/>
              <a:gd name="T90" fmla="*/ 219 w 245"/>
              <a:gd name="T91" fmla="*/ 114 h 258"/>
              <a:gd name="T92" fmla="*/ 227 w 245"/>
              <a:gd name="T93" fmla="*/ 112 h 258"/>
              <a:gd name="T94" fmla="*/ 244 w 245"/>
              <a:gd name="T95" fmla="*/ 88 h 258"/>
              <a:gd name="T96" fmla="*/ 238 w 245"/>
              <a:gd name="T97" fmla="*/ 66 h 258"/>
              <a:gd name="T98" fmla="*/ 214 w 245"/>
              <a:gd name="T99" fmla="*/ 52 h 258"/>
              <a:gd name="T100" fmla="*/ 201 w 245"/>
              <a:gd name="T101" fmla="*/ 52 h 258"/>
              <a:gd name="T102" fmla="*/ 190 w 245"/>
              <a:gd name="T103" fmla="*/ 50 h 258"/>
              <a:gd name="T104" fmla="*/ 184 w 245"/>
              <a:gd name="T105" fmla="*/ 55 h 258"/>
              <a:gd name="T106" fmla="*/ 178 w 245"/>
              <a:gd name="T107" fmla="*/ 45 h 258"/>
              <a:gd name="T108" fmla="*/ 170 w 245"/>
              <a:gd name="T109" fmla="*/ 40 h 258"/>
              <a:gd name="T110" fmla="*/ 160 w 245"/>
              <a:gd name="T111" fmla="*/ 43 h 258"/>
              <a:gd name="T112" fmla="*/ 151 w 245"/>
              <a:gd name="T113" fmla="*/ 52 h 258"/>
              <a:gd name="T114" fmla="*/ 148 w 245"/>
              <a:gd name="T115" fmla="*/ 46 h 258"/>
              <a:gd name="T116" fmla="*/ 160 w 245"/>
              <a:gd name="T117" fmla="*/ 37 h 258"/>
              <a:gd name="T118" fmla="*/ 146 w 245"/>
              <a:gd name="T119" fmla="*/ 39 h 258"/>
              <a:gd name="T120" fmla="*/ 139 w 245"/>
              <a:gd name="T121" fmla="*/ 40 h 258"/>
              <a:gd name="T122" fmla="*/ 149 w 245"/>
              <a:gd name="T123" fmla="*/ 28 h 258"/>
              <a:gd name="T124" fmla="*/ 143 w 245"/>
              <a:gd name="T125" fmla="*/ 1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5" h="258">
                <a:moveTo>
                  <a:pt x="143" y="38"/>
                </a:moveTo>
                <a:cubicBezTo>
                  <a:pt x="144" y="37"/>
                  <a:pt x="144" y="37"/>
                  <a:pt x="144" y="37"/>
                </a:cubicBezTo>
                <a:cubicBezTo>
                  <a:pt x="145" y="37"/>
                  <a:pt x="145" y="37"/>
                  <a:pt x="145" y="37"/>
                </a:cubicBezTo>
                <a:cubicBezTo>
                  <a:pt x="145" y="37"/>
                  <a:pt x="145" y="37"/>
                  <a:pt x="145" y="37"/>
                </a:cubicBezTo>
                <a:cubicBezTo>
                  <a:pt x="145" y="38"/>
                  <a:pt x="145" y="38"/>
                  <a:pt x="145" y="38"/>
                </a:cubicBezTo>
                <a:cubicBezTo>
                  <a:pt x="144" y="38"/>
                  <a:pt x="144" y="38"/>
                  <a:pt x="144" y="38"/>
                </a:cubicBezTo>
                <a:cubicBezTo>
                  <a:pt x="143" y="38"/>
                  <a:pt x="143" y="38"/>
                  <a:pt x="143" y="38"/>
                </a:cubicBezTo>
                <a:close/>
                <a:moveTo>
                  <a:pt x="142" y="38"/>
                </a:moveTo>
                <a:cubicBezTo>
                  <a:pt x="143" y="38"/>
                  <a:pt x="143" y="38"/>
                  <a:pt x="143" y="38"/>
                </a:cubicBezTo>
                <a:cubicBezTo>
                  <a:pt x="143" y="37"/>
                  <a:pt x="143" y="37"/>
                  <a:pt x="143" y="37"/>
                </a:cubicBezTo>
                <a:cubicBezTo>
                  <a:pt x="144" y="36"/>
                  <a:pt x="144" y="36"/>
                  <a:pt x="144" y="36"/>
                </a:cubicBezTo>
                <a:cubicBezTo>
                  <a:pt x="145" y="36"/>
                  <a:pt x="145" y="36"/>
                  <a:pt x="145" y="36"/>
                </a:cubicBezTo>
                <a:cubicBezTo>
                  <a:pt x="146" y="35"/>
                  <a:pt x="146" y="35"/>
                  <a:pt x="146" y="35"/>
                </a:cubicBezTo>
                <a:cubicBezTo>
                  <a:pt x="146" y="35"/>
                  <a:pt x="146" y="35"/>
                  <a:pt x="146" y="35"/>
                </a:cubicBezTo>
                <a:cubicBezTo>
                  <a:pt x="145" y="35"/>
                  <a:pt x="145" y="35"/>
                  <a:pt x="145" y="35"/>
                </a:cubicBezTo>
                <a:cubicBezTo>
                  <a:pt x="145" y="35"/>
                  <a:pt x="145" y="35"/>
                  <a:pt x="145" y="35"/>
                </a:cubicBezTo>
                <a:cubicBezTo>
                  <a:pt x="144" y="35"/>
                  <a:pt x="144" y="35"/>
                  <a:pt x="144" y="35"/>
                </a:cubicBezTo>
                <a:cubicBezTo>
                  <a:pt x="143" y="36"/>
                  <a:pt x="143" y="36"/>
                  <a:pt x="143" y="36"/>
                </a:cubicBezTo>
                <a:cubicBezTo>
                  <a:pt x="142" y="38"/>
                  <a:pt x="142" y="38"/>
                  <a:pt x="142" y="38"/>
                </a:cubicBezTo>
                <a:close/>
                <a:moveTo>
                  <a:pt x="148" y="34"/>
                </a:moveTo>
                <a:cubicBezTo>
                  <a:pt x="147" y="33"/>
                  <a:pt x="147" y="33"/>
                  <a:pt x="147" y="33"/>
                </a:cubicBezTo>
                <a:cubicBezTo>
                  <a:pt x="147" y="33"/>
                  <a:pt x="147" y="33"/>
                  <a:pt x="147" y="33"/>
                </a:cubicBezTo>
                <a:cubicBezTo>
                  <a:pt x="147" y="33"/>
                  <a:pt x="147" y="33"/>
                  <a:pt x="147" y="33"/>
                </a:cubicBezTo>
                <a:cubicBezTo>
                  <a:pt x="147" y="34"/>
                  <a:pt x="147" y="34"/>
                  <a:pt x="147" y="34"/>
                </a:cubicBezTo>
                <a:cubicBezTo>
                  <a:pt x="148" y="34"/>
                  <a:pt x="148" y="34"/>
                  <a:pt x="148" y="34"/>
                </a:cubicBezTo>
                <a:cubicBezTo>
                  <a:pt x="148" y="34"/>
                  <a:pt x="148" y="34"/>
                  <a:pt x="148" y="34"/>
                </a:cubicBezTo>
                <a:close/>
                <a:moveTo>
                  <a:pt x="148" y="32"/>
                </a:moveTo>
                <a:cubicBezTo>
                  <a:pt x="147" y="31"/>
                  <a:pt x="147" y="31"/>
                  <a:pt x="147" y="31"/>
                </a:cubicBezTo>
                <a:cubicBezTo>
                  <a:pt x="148" y="30"/>
                  <a:pt x="148" y="30"/>
                  <a:pt x="148" y="30"/>
                </a:cubicBezTo>
                <a:cubicBezTo>
                  <a:pt x="149" y="30"/>
                  <a:pt x="149" y="30"/>
                  <a:pt x="149" y="30"/>
                </a:cubicBezTo>
                <a:cubicBezTo>
                  <a:pt x="150" y="29"/>
                  <a:pt x="150" y="29"/>
                  <a:pt x="150" y="29"/>
                </a:cubicBezTo>
                <a:cubicBezTo>
                  <a:pt x="150" y="30"/>
                  <a:pt x="150" y="30"/>
                  <a:pt x="150" y="30"/>
                </a:cubicBezTo>
                <a:cubicBezTo>
                  <a:pt x="150" y="30"/>
                  <a:pt x="150" y="30"/>
                  <a:pt x="150" y="30"/>
                </a:cubicBezTo>
                <a:cubicBezTo>
                  <a:pt x="149" y="31"/>
                  <a:pt x="149" y="31"/>
                  <a:pt x="149" y="31"/>
                </a:cubicBezTo>
                <a:cubicBezTo>
                  <a:pt x="148" y="32"/>
                  <a:pt x="148" y="32"/>
                  <a:pt x="148" y="32"/>
                </a:cubicBezTo>
                <a:cubicBezTo>
                  <a:pt x="148" y="32"/>
                  <a:pt x="148" y="32"/>
                  <a:pt x="148" y="32"/>
                </a:cubicBezTo>
                <a:close/>
                <a:moveTo>
                  <a:pt x="148" y="33"/>
                </a:moveTo>
                <a:cubicBezTo>
                  <a:pt x="149" y="33"/>
                  <a:pt x="149" y="33"/>
                  <a:pt x="149" y="33"/>
                </a:cubicBezTo>
                <a:cubicBezTo>
                  <a:pt x="150" y="34"/>
                  <a:pt x="150" y="34"/>
                  <a:pt x="150" y="34"/>
                </a:cubicBezTo>
                <a:cubicBezTo>
                  <a:pt x="151" y="34"/>
                  <a:pt x="151" y="34"/>
                  <a:pt x="151" y="34"/>
                </a:cubicBezTo>
                <a:cubicBezTo>
                  <a:pt x="151" y="33"/>
                  <a:pt x="151" y="33"/>
                  <a:pt x="151" y="33"/>
                </a:cubicBezTo>
                <a:cubicBezTo>
                  <a:pt x="152" y="33"/>
                  <a:pt x="152" y="33"/>
                  <a:pt x="152" y="33"/>
                </a:cubicBezTo>
                <a:cubicBezTo>
                  <a:pt x="151" y="32"/>
                  <a:pt x="151" y="32"/>
                  <a:pt x="151" y="32"/>
                </a:cubicBezTo>
                <a:cubicBezTo>
                  <a:pt x="149" y="33"/>
                  <a:pt x="149" y="33"/>
                  <a:pt x="149" y="33"/>
                </a:cubicBezTo>
                <a:cubicBezTo>
                  <a:pt x="148" y="33"/>
                  <a:pt x="148" y="33"/>
                  <a:pt x="148" y="33"/>
                </a:cubicBezTo>
                <a:cubicBezTo>
                  <a:pt x="148" y="33"/>
                  <a:pt x="148" y="33"/>
                  <a:pt x="148" y="33"/>
                </a:cubicBezTo>
                <a:close/>
                <a:moveTo>
                  <a:pt x="152" y="35"/>
                </a:moveTo>
                <a:cubicBezTo>
                  <a:pt x="153" y="34"/>
                  <a:pt x="153" y="34"/>
                  <a:pt x="153" y="34"/>
                </a:cubicBezTo>
                <a:cubicBezTo>
                  <a:pt x="153" y="34"/>
                  <a:pt x="153" y="34"/>
                  <a:pt x="153" y="34"/>
                </a:cubicBezTo>
                <a:cubicBezTo>
                  <a:pt x="154" y="34"/>
                  <a:pt x="154" y="34"/>
                  <a:pt x="154" y="34"/>
                </a:cubicBezTo>
                <a:cubicBezTo>
                  <a:pt x="154" y="34"/>
                  <a:pt x="154" y="34"/>
                  <a:pt x="154" y="34"/>
                </a:cubicBezTo>
                <a:cubicBezTo>
                  <a:pt x="154" y="35"/>
                  <a:pt x="154" y="35"/>
                  <a:pt x="154" y="35"/>
                </a:cubicBezTo>
                <a:cubicBezTo>
                  <a:pt x="153" y="35"/>
                  <a:pt x="153" y="35"/>
                  <a:pt x="153" y="35"/>
                </a:cubicBezTo>
                <a:cubicBezTo>
                  <a:pt x="152" y="35"/>
                  <a:pt x="152" y="35"/>
                  <a:pt x="152" y="35"/>
                </a:cubicBezTo>
                <a:close/>
                <a:moveTo>
                  <a:pt x="148" y="22"/>
                </a:moveTo>
                <a:cubicBezTo>
                  <a:pt x="147" y="21"/>
                  <a:pt x="147" y="21"/>
                  <a:pt x="147" y="21"/>
                </a:cubicBezTo>
                <a:cubicBezTo>
                  <a:pt x="147" y="19"/>
                  <a:pt x="147" y="19"/>
                  <a:pt x="147" y="19"/>
                </a:cubicBezTo>
                <a:cubicBezTo>
                  <a:pt x="147" y="19"/>
                  <a:pt x="147" y="19"/>
                  <a:pt x="147" y="19"/>
                </a:cubicBezTo>
                <a:cubicBezTo>
                  <a:pt x="148" y="19"/>
                  <a:pt x="148" y="19"/>
                  <a:pt x="148" y="19"/>
                </a:cubicBezTo>
                <a:cubicBezTo>
                  <a:pt x="149" y="21"/>
                  <a:pt x="149" y="21"/>
                  <a:pt x="149" y="21"/>
                </a:cubicBezTo>
                <a:cubicBezTo>
                  <a:pt x="148" y="22"/>
                  <a:pt x="148" y="22"/>
                  <a:pt x="148" y="22"/>
                </a:cubicBezTo>
                <a:cubicBezTo>
                  <a:pt x="148" y="22"/>
                  <a:pt x="148" y="22"/>
                  <a:pt x="148" y="22"/>
                </a:cubicBezTo>
                <a:close/>
                <a:moveTo>
                  <a:pt x="142" y="9"/>
                </a:moveTo>
                <a:cubicBezTo>
                  <a:pt x="142" y="9"/>
                  <a:pt x="142" y="9"/>
                  <a:pt x="142" y="9"/>
                </a:cubicBezTo>
                <a:cubicBezTo>
                  <a:pt x="141" y="7"/>
                  <a:pt x="141" y="7"/>
                  <a:pt x="141" y="7"/>
                </a:cubicBezTo>
                <a:cubicBezTo>
                  <a:pt x="141" y="6"/>
                  <a:pt x="141" y="6"/>
                  <a:pt x="141" y="6"/>
                </a:cubicBezTo>
                <a:cubicBezTo>
                  <a:pt x="140" y="6"/>
                  <a:pt x="140" y="6"/>
                  <a:pt x="140" y="6"/>
                </a:cubicBezTo>
                <a:cubicBezTo>
                  <a:pt x="140" y="7"/>
                  <a:pt x="140" y="7"/>
                  <a:pt x="140" y="7"/>
                </a:cubicBezTo>
                <a:cubicBezTo>
                  <a:pt x="140" y="8"/>
                  <a:pt x="140" y="8"/>
                  <a:pt x="140" y="8"/>
                </a:cubicBezTo>
                <a:cubicBezTo>
                  <a:pt x="138" y="9"/>
                  <a:pt x="138" y="9"/>
                  <a:pt x="138" y="9"/>
                </a:cubicBezTo>
                <a:cubicBezTo>
                  <a:pt x="138" y="9"/>
                  <a:pt x="138" y="9"/>
                  <a:pt x="138" y="9"/>
                </a:cubicBezTo>
                <a:cubicBezTo>
                  <a:pt x="138" y="9"/>
                  <a:pt x="138" y="9"/>
                  <a:pt x="138" y="9"/>
                </a:cubicBezTo>
                <a:cubicBezTo>
                  <a:pt x="138" y="10"/>
                  <a:pt x="138" y="10"/>
                  <a:pt x="138" y="10"/>
                </a:cubicBezTo>
                <a:cubicBezTo>
                  <a:pt x="136" y="12"/>
                  <a:pt x="136" y="12"/>
                  <a:pt x="136" y="12"/>
                </a:cubicBezTo>
                <a:cubicBezTo>
                  <a:pt x="135" y="14"/>
                  <a:pt x="135" y="14"/>
                  <a:pt x="135" y="14"/>
                </a:cubicBezTo>
                <a:cubicBezTo>
                  <a:pt x="135" y="15"/>
                  <a:pt x="135" y="15"/>
                  <a:pt x="135" y="15"/>
                </a:cubicBezTo>
                <a:cubicBezTo>
                  <a:pt x="134" y="17"/>
                  <a:pt x="134" y="17"/>
                  <a:pt x="134" y="17"/>
                </a:cubicBezTo>
                <a:cubicBezTo>
                  <a:pt x="133" y="19"/>
                  <a:pt x="133" y="19"/>
                  <a:pt x="133" y="19"/>
                </a:cubicBezTo>
                <a:cubicBezTo>
                  <a:pt x="132" y="21"/>
                  <a:pt x="132" y="21"/>
                  <a:pt x="132" y="21"/>
                </a:cubicBezTo>
                <a:cubicBezTo>
                  <a:pt x="131" y="21"/>
                  <a:pt x="131" y="21"/>
                  <a:pt x="131" y="21"/>
                </a:cubicBezTo>
                <a:cubicBezTo>
                  <a:pt x="130" y="21"/>
                  <a:pt x="130" y="21"/>
                  <a:pt x="130" y="21"/>
                </a:cubicBezTo>
                <a:cubicBezTo>
                  <a:pt x="130" y="22"/>
                  <a:pt x="130" y="22"/>
                  <a:pt x="130" y="22"/>
                </a:cubicBezTo>
                <a:cubicBezTo>
                  <a:pt x="129" y="23"/>
                  <a:pt x="129" y="23"/>
                  <a:pt x="129" y="23"/>
                </a:cubicBezTo>
                <a:cubicBezTo>
                  <a:pt x="128" y="23"/>
                  <a:pt x="128" y="23"/>
                  <a:pt x="128" y="23"/>
                </a:cubicBezTo>
                <a:cubicBezTo>
                  <a:pt x="128" y="21"/>
                  <a:pt x="128" y="21"/>
                  <a:pt x="128" y="21"/>
                </a:cubicBezTo>
                <a:cubicBezTo>
                  <a:pt x="127" y="21"/>
                  <a:pt x="127" y="21"/>
                  <a:pt x="127" y="21"/>
                </a:cubicBezTo>
                <a:cubicBezTo>
                  <a:pt x="127" y="20"/>
                  <a:pt x="127" y="20"/>
                  <a:pt x="127" y="20"/>
                </a:cubicBezTo>
                <a:cubicBezTo>
                  <a:pt x="127" y="20"/>
                  <a:pt x="127" y="20"/>
                  <a:pt x="127" y="20"/>
                </a:cubicBezTo>
                <a:cubicBezTo>
                  <a:pt x="126" y="21"/>
                  <a:pt x="126" y="21"/>
                  <a:pt x="126" y="21"/>
                </a:cubicBezTo>
                <a:cubicBezTo>
                  <a:pt x="125" y="21"/>
                  <a:pt x="125" y="21"/>
                  <a:pt x="125" y="21"/>
                </a:cubicBezTo>
                <a:cubicBezTo>
                  <a:pt x="124" y="21"/>
                  <a:pt x="124" y="21"/>
                  <a:pt x="124" y="21"/>
                </a:cubicBezTo>
                <a:cubicBezTo>
                  <a:pt x="123" y="20"/>
                  <a:pt x="123" y="20"/>
                  <a:pt x="123" y="20"/>
                </a:cubicBezTo>
                <a:cubicBezTo>
                  <a:pt x="123" y="20"/>
                  <a:pt x="123" y="20"/>
                  <a:pt x="123" y="20"/>
                </a:cubicBezTo>
                <a:cubicBezTo>
                  <a:pt x="123" y="19"/>
                  <a:pt x="123" y="19"/>
                  <a:pt x="123" y="19"/>
                </a:cubicBezTo>
                <a:cubicBezTo>
                  <a:pt x="122" y="18"/>
                  <a:pt x="122" y="18"/>
                  <a:pt x="122" y="18"/>
                </a:cubicBezTo>
                <a:cubicBezTo>
                  <a:pt x="122" y="18"/>
                  <a:pt x="122" y="18"/>
                  <a:pt x="122" y="18"/>
                </a:cubicBezTo>
                <a:cubicBezTo>
                  <a:pt x="121" y="18"/>
                  <a:pt x="121" y="18"/>
                  <a:pt x="121" y="18"/>
                </a:cubicBezTo>
                <a:cubicBezTo>
                  <a:pt x="120" y="16"/>
                  <a:pt x="120" y="16"/>
                  <a:pt x="120" y="16"/>
                </a:cubicBezTo>
                <a:cubicBezTo>
                  <a:pt x="118" y="16"/>
                  <a:pt x="118" y="16"/>
                  <a:pt x="118" y="16"/>
                </a:cubicBezTo>
                <a:cubicBezTo>
                  <a:pt x="117" y="17"/>
                  <a:pt x="117" y="17"/>
                  <a:pt x="117" y="17"/>
                </a:cubicBezTo>
                <a:cubicBezTo>
                  <a:pt x="115" y="17"/>
                  <a:pt x="115" y="17"/>
                  <a:pt x="115" y="17"/>
                </a:cubicBezTo>
                <a:cubicBezTo>
                  <a:pt x="113" y="17"/>
                  <a:pt x="113" y="17"/>
                  <a:pt x="113" y="17"/>
                </a:cubicBezTo>
                <a:cubicBezTo>
                  <a:pt x="112" y="17"/>
                  <a:pt x="112" y="17"/>
                  <a:pt x="112" y="17"/>
                </a:cubicBezTo>
                <a:cubicBezTo>
                  <a:pt x="112" y="19"/>
                  <a:pt x="112" y="19"/>
                  <a:pt x="112" y="19"/>
                </a:cubicBezTo>
                <a:cubicBezTo>
                  <a:pt x="113" y="20"/>
                  <a:pt x="113" y="20"/>
                  <a:pt x="113" y="20"/>
                </a:cubicBezTo>
                <a:cubicBezTo>
                  <a:pt x="113" y="20"/>
                  <a:pt x="113" y="20"/>
                  <a:pt x="113" y="20"/>
                </a:cubicBezTo>
                <a:cubicBezTo>
                  <a:pt x="114" y="22"/>
                  <a:pt x="114" y="22"/>
                  <a:pt x="114" y="22"/>
                </a:cubicBezTo>
                <a:cubicBezTo>
                  <a:pt x="114" y="22"/>
                  <a:pt x="114" y="22"/>
                  <a:pt x="114" y="22"/>
                </a:cubicBezTo>
                <a:cubicBezTo>
                  <a:pt x="112" y="22"/>
                  <a:pt x="112" y="22"/>
                  <a:pt x="112" y="22"/>
                </a:cubicBezTo>
                <a:cubicBezTo>
                  <a:pt x="111" y="22"/>
                  <a:pt x="111" y="22"/>
                  <a:pt x="111" y="22"/>
                </a:cubicBezTo>
                <a:cubicBezTo>
                  <a:pt x="111" y="22"/>
                  <a:pt x="111" y="22"/>
                  <a:pt x="111" y="22"/>
                </a:cubicBezTo>
                <a:cubicBezTo>
                  <a:pt x="110" y="22"/>
                  <a:pt x="110" y="22"/>
                  <a:pt x="110" y="22"/>
                </a:cubicBezTo>
                <a:cubicBezTo>
                  <a:pt x="110" y="22"/>
                  <a:pt x="110" y="22"/>
                  <a:pt x="110" y="22"/>
                </a:cubicBezTo>
                <a:cubicBezTo>
                  <a:pt x="110" y="22"/>
                  <a:pt x="110" y="22"/>
                  <a:pt x="110" y="22"/>
                </a:cubicBezTo>
                <a:cubicBezTo>
                  <a:pt x="108" y="22"/>
                  <a:pt x="108" y="22"/>
                  <a:pt x="108" y="22"/>
                </a:cubicBezTo>
                <a:cubicBezTo>
                  <a:pt x="107" y="22"/>
                  <a:pt x="107" y="22"/>
                  <a:pt x="107" y="22"/>
                </a:cubicBezTo>
                <a:cubicBezTo>
                  <a:pt x="106" y="21"/>
                  <a:pt x="106" y="21"/>
                  <a:pt x="106" y="21"/>
                </a:cubicBezTo>
                <a:cubicBezTo>
                  <a:pt x="104" y="21"/>
                  <a:pt x="104" y="21"/>
                  <a:pt x="104" y="21"/>
                </a:cubicBezTo>
                <a:cubicBezTo>
                  <a:pt x="103" y="22"/>
                  <a:pt x="103" y="22"/>
                  <a:pt x="103" y="22"/>
                </a:cubicBezTo>
                <a:cubicBezTo>
                  <a:pt x="102" y="24"/>
                  <a:pt x="102" y="24"/>
                  <a:pt x="102" y="24"/>
                </a:cubicBezTo>
                <a:cubicBezTo>
                  <a:pt x="100" y="24"/>
                  <a:pt x="100" y="24"/>
                  <a:pt x="100" y="24"/>
                </a:cubicBezTo>
                <a:cubicBezTo>
                  <a:pt x="98" y="24"/>
                  <a:pt x="98" y="24"/>
                  <a:pt x="98" y="24"/>
                </a:cubicBezTo>
                <a:cubicBezTo>
                  <a:pt x="98" y="25"/>
                  <a:pt x="98" y="25"/>
                  <a:pt x="98" y="25"/>
                </a:cubicBezTo>
                <a:cubicBezTo>
                  <a:pt x="97" y="26"/>
                  <a:pt x="97" y="26"/>
                  <a:pt x="97" y="26"/>
                </a:cubicBezTo>
                <a:cubicBezTo>
                  <a:pt x="96" y="26"/>
                  <a:pt x="96" y="26"/>
                  <a:pt x="96" y="26"/>
                </a:cubicBezTo>
                <a:cubicBezTo>
                  <a:pt x="96" y="26"/>
                  <a:pt x="96" y="26"/>
                  <a:pt x="96" y="26"/>
                </a:cubicBezTo>
                <a:cubicBezTo>
                  <a:pt x="95" y="26"/>
                  <a:pt x="95" y="26"/>
                  <a:pt x="95" y="26"/>
                </a:cubicBezTo>
                <a:cubicBezTo>
                  <a:pt x="94" y="27"/>
                  <a:pt x="94" y="27"/>
                  <a:pt x="94" y="27"/>
                </a:cubicBezTo>
                <a:cubicBezTo>
                  <a:pt x="93" y="26"/>
                  <a:pt x="93" y="26"/>
                  <a:pt x="93" y="26"/>
                </a:cubicBezTo>
                <a:cubicBezTo>
                  <a:pt x="91" y="24"/>
                  <a:pt x="91" y="24"/>
                  <a:pt x="91" y="24"/>
                </a:cubicBezTo>
                <a:cubicBezTo>
                  <a:pt x="90" y="23"/>
                  <a:pt x="90" y="23"/>
                  <a:pt x="90" y="23"/>
                </a:cubicBezTo>
                <a:cubicBezTo>
                  <a:pt x="90" y="22"/>
                  <a:pt x="90" y="22"/>
                  <a:pt x="90" y="22"/>
                </a:cubicBezTo>
                <a:cubicBezTo>
                  <a:pt x="88" y="21"/>
                  <a:pt x="88" y="21"/>
                  <a:pt x="88" y="21"/>
                </a:cubicBezTo>
                <a:cubicBezTo>
                  <a:pt x="87" y="20"/>
                  <a:pt x="87" y="20"/>
                  <a:pt x="87" y="20"/>
                </a:cubicBezTo>
                <a:cubicBezTo>
                  <a:pt x="87" y="18"/>
                  <a:pt x="87" y="18"/>
                  <a:pt x="87" y="18"/>
                </a:cubicBezTo>
                <a:cubicBezTo>
                  <a:pt x="87" y="18"/>
                  <a:pt x="87" y="18"/>
                  <a:pt x="87" y="18"/>
                </a:cubicBezTo>
                <a:cubicBezTo>
                  <a:pt x="87" y="17"/>
                  <a:pt x="87" y="17"/>
                  <a:pt x="87" y="17"/>
                </a:cubicBezTo>
                <a:cubicBezTo>
                  <a:pt x="87" y="16"/>
                  <a:pt x="87" y="16"/>
                  <a:pt x="87" y="16"/>
                </a:cubicBezTo>
                <a:cubicBezTo>
                  <a:pt x="88" y="15"/>
                  <a:pt x="88" y="15"/>
                  <a:pt x="88" y="15"/>
                </a:cubicBezTo>
                <a:cubicBezTo>
                  <a:pt x="88" y="13"/>
                  <a:pt x="88" y="13"/>
                  <a:pt x="88" y="13"/>
                </a:cubicBezTo>
                <a:cubicBezTo>
                  <a:pt x="89" y="11"/>
                  <a:pt x="89" y="11"/>
                  <a:pt x="89" y="11"/>
                </a:cubicBezTo>
                <a:cubicBezTo>
                  <a:pt x="89" y="10"/>
                  <a:pt x="89" y="10"/>
                  <a:pt x="89" y="10"/>
                </a:cubicBezTo>
                <a:cubicBezTo>
                  <a:pt x="90" y="8"/>
                  <a:pt x="90" y="8"/>
                  <a:pt x="90" y="8"/>
                </a:cubicBezTo>
                <a:cubicBezTo>
                  <a:pt x="90" y="8"/>
                  <a:pt x="90" y="8"/>
                  <a:pt x="90" y="8"/>
                </a:cubicBezTo>
                <a:cubicBezTo>
                  <a:pt x="89" y="8"/>
                  <a:pt x="89" y="8"/>
                  <a:pt x="89" y="8"/>
                </a:cubicBezTo>
                <a:cubicBezTo>
                  <a:pt x="89" y="7"/>
                  <a:pt x="89" y="7"/>
                  <a:pt x="89" y="7"/>
                </a:cubicBezTo>
                <a:cubicBezTo>
                  <a:pt x="88" y="6"/>
                  <a:pt x="88" y="6"/>
                  <a:pt x="88" y="6"/>
                </a:cubicBezTo>
                <a:cubicBezTo>
                  <a:pt x="87" y="6"/>
                  <a:pt x="87" y="6"/>
                  <a:pt x="87" y="6"/>
                </a:cubicBezTo>
                <a:cubicBezTo>
                  <a:pt x="86" y="5"/>
                  <a:pt x="86" y="5"/>
                  <a:pt x="86" y="5"/>
                </a:cubicBezTo>
                <a:cubicBezTo>
                  <a:pt x="86" y="5"/>
                  <a:pt x="86" y="5"/>
                  <a:pt x="86" y="5"/>
                </a:cubicBezTo>
                <a:cubicBezTo>
                  <a:pt x="87" y="3"/>
                  <a:pt x="87" y="3"/>
                  <a:pt x="87" y="3"/>
                </a:cubicBezTo>
                <a:cubicBezTo>
                  <a:pt x="87" y="2"/>
                  <a:pt x="87" y="2"/>
                  <a:pt x="87" y="2"/>
                </a:cubicBezTo>
                <a:cubicBezTo>
                  <a:pt x="86" y="0"/>
                  <a:pt x="86" y="0"/>
                  <a:pt x="86" y="0"/>
                </a:cubicBezTo>
                <a:cubicBezTo>
                  <a:pt x="85" y="0"/>
                  <a:pt x="85" y="0"/>
                  <a:pt x="85" y="0"/>
                </a:cubicBezTo>
                <a:cubicBezTo>
                  <a:pt x="84" y="1"/>
                  <a:pt x="84" y="1"/>
                  <a:pt x="84" y="1"/>
                </a:cubicBezTo>
                <a:cubicBezTo>
                  <a:pt x="83" y="0"/>
                  <a:pt x="83" y="0"/>
                  <a:pt x="83" y="0"/>
                </a:cubicBezTo>
                <a:cubicBezTo>
                  <a:pt x="83" y="0"/>
                  <a:pt x="83" y="0"/>
                  <a:pt x="83" y="0"/>
                </a:cubicBezTo>
                <a:cubicBezTo>
                  <a:pt x="83" y="1"/>
                  <a:pt x="83" y="1"/>
                  <a:pt x="83" y="1"/>
                </a:cubicBezTo>
                <a:cubicBezTo>
                  <a:pt x="82" y="3"/>
                  <a:pt x="82" y="3"/>
                  <a:pt x="82" y="3"/>
                </a:cubicBezTo>
                <a:cubicBezTo>
                  <a:pt x="79" y="5"/>
                  <a:pt x="79" y="5"/>
                  <a:pt x="79" y="5"/>
                </a:cubicBezTo>
                <a:cubicBezTo>
                  <a:pt x="77" y="5"/>
                  <a:pt x="77" y="5"/>
                  <a:pt x="77" y="5"/>
                </a:cubicBezTo>
                <a:cubicBezTo>
                  <a:pt x="74" y="7"/>
                  <a:pt x="74" y="7"/>
                  <a:pt x="74" y="7"/>
                </a:cubicBezTo>
                <a:cubicBezTo>
                  <a:pt x="73" y="6"/>
                  <a:pt x="73" y="6"/>
                  <a:pt x="73" y="6"/>
                </a:cubicBezTo>
                <a:cubicBezTo>
                  <a:pt x="71" y="6"/>
                  <a:pt x="71" y="6"/>
                  <a:pt x="71" y="6"/>
                </a:cubicBezTo>
                <a:cubicBezTo>
                  <a:pt x="69" y="8"/>
                  <a:pt x="69" y="8"/>
                  <a:pt x="69" y="8"/>
                </a:cubicBezTo>
                <a:cubicBezTo>
                  <a:pt x="67" y="9"/>
                  <a:pt x="67" y="9"/>
                  <a:pt x="67" y="9"/>
                </a:cubicBezTo>
                <a:cubicBezTo>
                  <a:pt x="67" y="8"/>
                  <a:pt x="67" y="8"/>
                  <a:pt x="67" y="8"/>
                </a:cubicBezTo>
                <a:cubicBezTo>
                  <a:pt x="64" y="9"/>
                  <a:pt x="64" y="9"/>
                  <a:pt x="64" y="9"/>
                </a:cubicBezTo>
                <a:cubicBezTo>
                  <a:pt x="62" y="9"/>
                  <a:pt x="62" y="9"/>
                  <a:pt x="62" y="9"/>
                </a:cubicBezTo>
                <a:cubicBezTo>
                  <a:pt x="60" y="8"/>
                  <a:pt x="60" y="8"/>
                  <a:pt x="60" y="8"/>
                </a:cubicBezTo>
                <a:cubicBezTo>
                  <a:pt x="58" y="7"/>
                  <a:pt x="58" y="7"/>
                  <a:pt x="58" y="7"/>
                </a:cubicBezTo>
                <a:cubicBezTo>
                  <a:pt x="56" y="7"/>
                  <a:pt x="56" y="7"/>
                  <a:pt x="56" y="7"/>
                </a:cubicBezTo>
                <a:cubicBezTo>
                  <a:pt x="57" y="8"/>
                  <a:pt x="57" y="8"/>
                  <a:pt x="57" y="8"/>
                </a:cubicBezTo>
                <a:cubicBezTo>
                  <a:pt x="58" y="9"/>
                  <a:pt x="58" y="9"/>
                  <a:pt x="58" y="9"/>
                </a:cubicBezTo>
                <a:cubicBezTo>
                  <a:pt x="60" y="10"/>
                  <a:pt x="60" y="10"/>
                  <a:pt x="60" y="10"/>
                </a:cubicBezTo>
                <a:cubicBezTo>
                  <a:pt x="60" y="11"/>
                  <a:pt x="60" y="11"/>
                  <a:pt x="60" y="11"/>
                </a:cubicBezTo>
                <a:cubicBezTo>
                  <a:pt x="58" y="14"/>
                  <a:pt x="58" y="14"/>
                  <a:pt x="58" y="14"/>
                </a:cubicBezTo>
                <a:cubicBezTo>
                  <a:pt x="59" y="15"/>
                  <a:pt x="59" y="15"/>
                  <a:pt x="59" y="15"/>
                </a:cubicBezTo>
                <a:cubicBezTo>
                  <a:pt x="59" y="17"/>
                  <a:pt x="59" y="17"/>
                  <a:pt x="59" y="17"/>
                </a:cubicBezTo>
                <a:cubicBezTo>
                  <a:pt x="61" y="18"/>
                  <a:pt x="61" y="18"/>
                  <a:pt x="61" y="18"/>
                </a:cubicBezTo>
                <a:cubicBezTo>
                  <a:pt x="63" y="18"/>
                  <a:pt x="63" y="18"/>
                  <a:pt x="63" y="18"/>
                </a:cubicBezTo>
                <a:cubicBezTo>
                  <a:pt x="65" y="18"/>
                  <a:pt x="65" y="18"/>
                  <a:pt x="65" y="18"/>
                </a:cubicBezTo>
                <a:cubicBezTo>
                  <a:pt x="65" y="20"/>
                  <a:pt x="65" y="20"/>
                  <a:pt x="65" y="20"/>
                </a:cubicBezTo>
                <a:cubicBezTo>
                  <a:pt x="64" y="20"/>
                  <a:pt x="64" y="20"/>
                  <a:pt x="64" y="20"/>
                </a:cubicBezTo>
                <a:cubicBezTo>
                  <a:pt x="61" y="21"/>
                  <a:pt x="61" y="21"/>
                  <a:pt x="61" y="21"/>
                </a:cubicBezTo>
                <a:cubicBezTo>
                  <a:pt x="60" y="22"/>
                  <a:pt x="60" y="22"/>
                  <a:pt x="60" y="22"/>
                </a:cubicBezTo>
                <a:cubicBezTo>
                  <a:pt x="59" y="24"/>
                  <a:pt x="59" y="24"/>
                  <a:pt x="59" y="24"/>
                </a:cubicBezTo>
                <a:cubicBezTo>
                  <a:pt x="56" y="25"/>
                  <a:pt x="56" y="25"/>
                  <a:pt x="56" y="25"/>
                </a:cubicBezTo>
                <a:cubicBezTo>
                  <a:pt x="55" y="27"/>
                  <a:pt x="55" y="27"/>
                  <a:pt x="55" y="27"/>
                </a:cubicBezTo>
                <a:cubicBezTo>
                  <a:pt x="53" y="28"/>
                  <a:pt x="53" y="28"/>
                  <a:pt x="53" y="28"/>
                </a:cubicBezTo>
                <a:cubicBezTo>
                  <a:pt x="52" y="30"/>
                  <a:pt x="52" y="30"/>
                  <a:pt x="52" y="30"/>
                </a:cubicBezTo>
                <a:cubicBezTo>
                  <a:pt x="49" y="30"/>
                  <a:pt x="49" y="30"/>
                  <a:pt x="49" y="30"/>
                </a:cubicBezTo>
                <a:cubicBezTo>
                  <a:pt x="48" y="30"/>
                  <a:pt x="48" y="30"/>
                  <a:pt x="48" y="30"/>
                </a:cubicBezTo>
                <a:cubicBezTo>
                  <a:pt x="45" y="28"/>
                  <a:pt x="45" y="28"/>
                  <a:pt x="45" y="28"/>
                </a:cubicBezTo>
                <a:cubicBezTo>
                  <a:pt x="43" y="26"/>
                  <a:pt x="43" y="26"/>
                  <a:pt x="43" y="26"/>
                </a:cubicBezTo>
                <a:cubicBezTo>
                  <a:pt x="41" y="26"/>
                  <a:pt x="41" y="26"/>
                  <a:pt x="41" y="26"/>
                </a:cubicBezTo>
                <a:cubicBezTo>
                  <a:pt x="41" y="25"/>
                  <a:pt x="41" y="25"/>
                  <a:pt x="41" y="25"/>
                </a:cubicBezTo>
                <a:cubicBezTo>
                  <a:pt x="41" y="23"/>
                  <a:pt x="41" y="23"/>
                  <a:pt x="41" y="23"/>
                </a:cubicBezTo>
                <a:cubicBezTo>
                  <a:pt x="40" y="22"/>
                  <a:pt x="40" y="22"/>
                  <a:pt x="40" y="22"/>
                </a:cubicBezTo>
                <a:cubicBezTo>
                  <a:pt x="39" y="21"/>
                  <a:pt x="39" y="21"/>
                  <a:pt x="39" y="21"/>
                </a:cubicBezTo>
                <a:cubicBezTo>
                  <a:pt x="38" y="22"/>
                  <a:pt x="38" y="22"/>
                  <a:pt x="38" y="22"/>
                </a:cubicBezTo>
                <a:cubicBezTo>
                  <a:pt x="36" y="23"/>
                  <a:pt x="36" y="23"/>
                  <a:pt x="36" y="23"/>
                </a:cubicBezTo>
                <a:cubicBezTo>
                  <a:pt x="36" y="23"/>
                  <a:pt x="36" y="23"/>
                  <a:pt x="36" y="23"/>
                </a:cubicBezTo>
                <a:cubicBezTo>
                  <a:pt x="35" y="22"/>
                  <a:pt x="35" y="22"/>
                  <a:pt x="35" y="22"/>
                </a:cubicBezTo>
                <a:cubicBezTo>
                  <a:pt x="34" y="22"/>
                  <a:pt x="34" y="22"/>
                  <a:pt x="34" y="22"/>
                </a:cubicBezTo>
                <a:cubicBezTo>
                  <a:pt x="33" y="23"/>
                  <a:pt x="33" y="23"/>
                  <a:pt x="33" y="23"/>
                </a:cubicBezTo>
                <a:cubicBezTo>
                  <a:pt x="26" y="23"/>
                  <a:pt x="26" y="23"/>
                  <a:pt x="26" y="23"/>
                </a:cubicBezTo>
                <a:cubicBezTo>
                  <a:pt x="25" y="25"/>
                  <a:pt x="25" y="25"/>
                  <a:pt x="25" y="25"/>
                </a:cubicBezTo>
                <a:cubicBezTo>
                  <a:pt x="26" y="27"/>
                  <a:pt x="26" y="27"/>
                  <a:pt x="26" y="27"/>
                </a:cubicBezTo>
                <a:cubicBezTo>
                  <a:pt x="28" y="27"/>
                  <a:pt x="28" y="27"/>
                  <a:pt x="28" y="27"/>
                </a:cubicBezTo>
                <a:cubicBezTo>
                  <a:pt x="29" y="29"/>
                  <a:pt x="29" y="29"/>
                  <a:pt x="29" y="29"/>
                </a:cubicBezTo>
                <a:cubicBezTo>
                  <a:pt x="29" y="30"/>
                  <a:pt x="29" y="30"/>
                  <a:pt x="29" y="30"/>
                </a:cubicBezTo>
                <a:cubicBezTo>
                  <a:pt x="29" y="31"/>
                  <a:pt x="29" y="31"/>
                  <a:pt x="29" y="31"/>
                </a:cubicBezTo>
                <a:cubicBezTo>
                  <a:pt x="29" y="32"/>
                  <a:pt x="29" y="32"/>
                  <a:pt x="29" y="32"/>
                </a:cubicBezTo>
                <a:cubicBezTo>
                  <a:pt x="28" y="31"/>
                  <a:pt x="28" y="31"/>
                  <a:pt x="28" y="31"/>
                </a:cubicBezTo>
                <a:cubicBezTo>
                  <a:pt x="23" y="32"/>
                  <a:pt x="23" y="32"/>
                  <a:pt x="23" y="32"/>
                </a:cubicBezTo>
                <a:cubicBezTo>
                  <a:pt x="24" y="36"/>
                  <a:pt x="24" y="36"/>
                  <a:pt x="24" y="36"/>
                </a:cubicBezTo>
                <a:cubicBezTo>
                  <a:pt x="25" y="37"/>
                  <a:pt x="25" y="37"/>
                  <a:pt x="25" y="37"/>
                </a:cubicBezTo>
                <a:cubicBezTo>
                  <a:pt x="27" y="39"/>
                  <a:pt x="27" y="39"/>
                  <a:pt x="27" y="39"/>
                </a:cubicBezTo>
                <a:cubicBezTo>
                  <a:pt x="29" y="42"/>
                  <a:pt x="29" y="42"/>
                  <a:pt x="29" y="42"/>
                </a:cubicBezTo>
                <a:cubicBezTo>
                  <a:pt x="28" y="44"/>
                  <a:pt x="28" y="44"/>
                  <a:pt x="28" y="44"/>
                </a:cubicBezTo>
                <a:cubicBezTo>
                  <a:pt x="28" y="45"/>
                  <a:pt x="28" y="45"/>
                  <a:pt x="28" y="45"/>
                </a:cubicBezTo>
                <a:cubicBezTo>
                  <a:pt x="25" y="58"/>
                  <a:pt x="25" y="58"/>
                  <a:pt x="25" y="58"/>
                </a:cubicBezTo>
                <a:cubicBezTo>
                  <a:pt x="24" y="61"/>
                  <a:pt x="24" y="61"/>
                  <a:pt x="24" y="61"/>
                </a:cubicBezTo>
                <a:cubicBezTo>
                  <a:pt x="24" y="62"/>
                  <a:pt x="24" y="62"/>
                  <a:pt x="24" y="62"/>
                </a:cubicBezTo>
                <a:cubicBezTo>
                  <a:pt x="23" y="63"/>
                  <a:pt x="23" y="63"/>
                  <a:pt x="23" y="63"/>
                </a:cubicBezTo>
                <a:cubicBezTo>
                  <a:pt x="22" y="62"/>
                  <a:pt x="22" y="62"/>
                  <a:pt x="22" y="62"/>
                </a:cubicBezTo>
                <a:cubicBezTo>
                  <a:pt x="22" y="62"/>
                  <a:pt x="22" y="62"/>
                  <a:pt x="22" y="62"/>
                </a:cubicBezTo>
                <a:cubicBezTo>
                  <a:pt x="21" y="61"/>
                  <a:pt x="21" y="61"/>
                  <a:pt x="21" y="61"/>
                </a:cubicBezTo>
                <a:cubicBezTo>
                  <a:pt x="20" y="61"/>
                  <a:pt x="20" y="61"/>
                  <a:pt x="20" y="61"/>
                </a:cubicBezTo>
                <a:cubicBezTo>
                  <a:pt x="19" y="61"/>
                  <a:pt x="19" y="61"/>
                  <a:pt x="19" y="61"/>
                </a:cubicBezTo>
                <a:cubicBezTo>
                  <a:pt x="19" y="61"/>
                  <a:pt x="19" y="61"/>
                  <a:pt x="19" y="61"/>
                </a:cubicBezTo>
                <a:cubicBezTo>
                  <a:pt x="18" y="62"/>
                  <a:pt x="18" y="62"/>
                  <a:pt x="18" y="62"/>
                </a:cubicBezTo>
                <a:cubicBezTo>
                  <a:pt x="14" y="63"/>
                  <a:pt x="14" y="63"/>
                  <a:pt x="14" y="63"/>
                </a:cubicBezTo>
                <a:cubicBezTo>
                  <a:pt x="11" y="64"/>
                  <a:pt x="11" y="64"/>
                  <a:pt x="11" y="64"/>
                </a:cubicBezTo>
                <a:cubicBezTo>
                  <a:pt x="10" y="65"/>
                  <a:pt x="10" y="65"/>
                  <a:pt x="10" y="65"/>
                </a:cubicBezTo>
                <a:cubicBezTo>
                  <a:pt x="9" y="65"/>
                  <a:pt x="9" y="65"/>
                  <a:pt x="9" y="65"/>
                </a:cubicBezTo>
                <a:cubicBezTo>
                  <a:pt x="8" y="66"/>
                  <a:pt x="8" y="66"/>
                  <a:pt x="8" y="66"/>
                </a:cubicBezTo>
                <a:cubicBezTo>
                  <a:pt x="6" y="67"/>
                  <a:pt x="6" y="67"/>
                  <a:pt x="6" y="67"/>
                </a:cubicBezTo>
                <a:cubicBezTo>
                  <a:pt x="5" y="68"/>
                  <a:pt x="5" y="68"/>
                  <a:pt x="5" y="68"/>
                </a:cubicBezTo>
                <a:cubicBezTo>
                  <a:pt x="5" y="69"/>
                  <a:pt x="5" y="69"/>
                  <a:pt x="5" y="69"/>
                </a:cubicBezTo>
                <a:cubicBezTo>
                  <a:pt x="5" y="70"/>
                  <a:pt x="5" y="70"/>
                  <a:pt x="5" y="70"/>
                </a:cubicBezTo>
                <a:cubicBezTo>
                  <a:pt x="5" y="71"/>
                  <a:pt x="5" y="71"/>
                  <a:pt x="5" y="71"/>
                </a:cubicBezTo>
                <a:cubicBezTo>
                  <a:pt x="3" y="73"/>
                  <a:pt x="3" y="73"/>
                  <a:pt x="3" y="73"/>
                </a:cubicBezTo>
                <a:cubicBezTo>
                  <a:pt x="4" y="75"/>
                  <a:pt x="4" y="75"/>
                  <a:pt x="4" y="75"/>
                </a:cubicBezTo>
                <a:cubicBezTo>
                  <a:pt x="4" y="76"/>
                  <a:pt x="4" y="76"/>
                  <a:pt x="4" y="76"/>
                </a:cubicBezTo>
                <a:cubicBezTo>
                  <a:pt x="3" y="77"/>
                  <a:pt x="3" y="77"/>
                  <a:pt x="3" y="77"/>
                </a:cubicBezTo>
                <a:cubicBezTo>
                  <a:pt x="2" y="77"/>
                  <a:pt x="2" y="77"/>
                  <a:pt x="2" y="77"/>
                </a:cubicBezTo>
                <a:cubicBezTo>
                  <a:pt x="1" y="78"/>
                  <a:pt x="1" y="78"/>
                  <a:pt x="1" y="78"/>
                </a:cubicBezTo>
                <a:cubicBezTo>
                  <a:pt x="1" y="80"/>
                  <a:pt x="1" y="80"/>
                  <a:pt x="1" y="80"/>
                </a:cubicBezTo>
                <a:cubicBezTo>
                  <a:pt x="0" y="80"/>
                  <a:pt x="0" y="80"/>
                  <a:pt x="0" y="80"/>
                </a:cubicBezTo>
                <a:cubicBezTo>
                  <a:pt x="0" y="81"/>
                  <a:pt x="0" y="81"/>
                  <a:pt x="0" y="81"/>
                </a:cubicBezTo>
                <a:cubicBezTo>
                  <a:pt x="0" y="83"/>
                  <a:pt x="0" y="83"/>
                  <a:pt x="0" y="83"/>
                </a:cubicBezTo>
                <a:cubicBezTo>
                  <a:pt x="0" y="84"/>
                  <a:pt x="0" y="84"/>
                  <a:pt x="0" y="84"/>
                </a:cubicBezTo>
                <a:cubicBezTo>
                  <a:pt x="0" y="85"/>
                  <a:pt x="0" y="85"/>
                  <a:pt x="0" y="85"/>
                </a:cubicBezTo>
                <a:cubicBezTo>
                  <a:pt x="0" y="86"/>
                  <a:pt x="0" y="86"/>
                  <a:pt x="0" y="86"/>
                </a:cubicBezTo>
                <a:cubicBezTo>
                  <a:pt x="2" y="87"/>
                  <a:pt x="2" y="87"/>
                  <a:pt x="2" y="87"/>
                </a:cubicBezTo>
                <a:cubicBezTo>
                  <a:pt x="5" y="92"/>
                  <a:pt x="5" y="92"/>
                  <a:pt x="5" y="92"/>
                </a:cubicBezTo>
                <a:cubicBezTo>
                  <a:pt x="3" y="94"/>
                  <a:pt x="3" y="94"/>
                  <a:pt x="3" y="94"/>
                </a:cubicBezTo>
                <a:cubicBezTo>
                  <a:pt x="7" y="94"/>
                  <a:pt x="7" y="94"/>
                  <a:pt x="7" y="94"/>
                </a:cubicBezTo>
                <a:cubicBezTo>
                  <a:pt x="9" y="94"/>
                  <a:pt x="9" y="94"/>
                  <a:pt x="9" y="94"/>
                </a:cubicBezTo>
                <a:cubicBezTo>
                  <a:pt x="10" y="96"/>
                  <a:pt x="10" y="96"/>
                  <a:pt x="10" y="96"/>
                </a:cubicBezTo>
                <a:cubicBezTo>
                  <a:pt x="11" y="98"/>
                  <a:pt x="11" y="98"/>
                  <a:pt x="11" y="98"/>
                </a:cubicBezTo>
                <a:cubicBezTo>
                  <a:pt x="13" y="98"/>
                  <a:pt x="13" y="98"/>
                  <a:pt x="13" y="98"/>
                </a:cubicBezTo>
                <a:cubicBezTo>
                  <a:pt x="16" y="98"/>
                  <a:pt x="16" y="98"/>
                  <a:pt x="16" y="98"/>
                </a:cubicBezTo>
                <a:cubicBezTo>
                  <a:pt x="19" y="96"/>
                  <a:pt x="19" y="96"/>
                  <a:pt x="19" y="96"/>
                </a:cubicBezTo>
                <a:cubicBezTo>
                  <a:pt x="21" y="95"/>
                  <a:pt x="21" y="95"/>
                  <a:pt x="21" y="95"/>
                </a:cubicBezTo>
                <a:cubicBezTo>
                  <a:pt x="22" y="95"/>
                  <a:pt x="22" y="95"/>
                  <a:pt x="22" y="95"/>
                </a:cubicBezTo>
                <a:cubicBezTo>
                  <a:pt x="22" y="97"/>
                  <a:pt x="22" y="97"/>
                  <a:pt x="22" y="97"/>
                </a:cubicBezTo>
                <a:cubicBezTo>
                  <a:pt x="21" y="97"/>
                  <a:pt x="21" y="97"/>
                  <a:pt x="21" y="97"/>
                </a:cubicBezTo>
                <a:cubicBezTo>
                  <a:pt x="21" y="99"/>
                  <a:pt x="21" y="99"/>
                  <a:pt x="21" y="99"/>
                </a:cubicBezTo>
                <a:cubicBezTo>
                  <a:pt x="21" y="103"/>
                  <a:pt x="21" y="103"/>
                  <a:pt x="21" y="103"/>
                </a:cubicBezTo>
                <a:cubicBezTo>
                  <a:pt x="22" y="105"/>
                  <a:pt x="22" y="105"/>
                  <a:pt x="22" y="105"/>
                </a:cubicBezTo>
                <a:cubicBezTo>
                  <a:pt x="22" y="105"/>
                  <a:pt x="22" y="105"/>
                  <a:pt x="22" y="105"/>
                </a:cubicBezTo>
                <a:cubicBezTo>
                  <a:pt x="24" y="105"/>
                  <a:pt x="24" y="105"/>
                  <a:pt x="24" y="105"/>
                </a:cubicBezTo>
                <a:cubicBezTo>
                  <a:pt x="25" y="105"/>
                  <a:pt x="25" y="105"/>
                  <a:pt x="25" y="105"/>
                </a:cubicBezTo>
                <a:cubicBezTo>
                  <a:pt x="26" y="105"/>
                  <a:pt x="26" y="105"/>
                  <a:pt x="26" y="105"/>
                </a:cubicBezTo>
                <a:cubicBezTo>
                  <a:pt x="27" y="105"/>
                  <a:pt x="27" y="105"/>
                  <a:pt x="27" y="105"/>
                </a:cubicBezTo>
                <a:cubicBezTo>
                  <a:pt x="27" y="105"/>
                  <a:pt x="27" y="105"/>
                  <a:pt x="27" y="105"/>
                </a:cubicBezTo>
                <a:cubicBezTo>
                  <a:pt x="28" y="105"/>
                  <a:pt x="28" y="105"/>
                  <a:pt x="28" y="105"/>
                </a:cubicBezTo>
                <a:cubicBezTo>
                  <a:pt x="28" y="105"/>
                  <a:pt x="28" y="105"/>
                  <a:pt x="28" y="105"/>
                </a:cubicBezTo>
                <a:cubicBezTo>
                  <a:pt x="32" y="105"/>
                  <a:pt x="32" y="105"/>
                  <a:pt x="32" y="105"/>
                </a:cubicBezTo>
                <a:cubicBezTo>
                  <a:pt x="33" y="105"/>
                  <a:pt x="33" y="105"/>
                  <a:pt x="33" y="105"/>
                </a:cubicBezTo>
                <a:cubicBezTo>
                  <a:pt x="35" y="104"/>
                  <a:pt x="35" y="104"/>
                  <a:pt x="35" y="104"/>
                </a:cubicBezTo>
                <a:cubicBezTo>
                  <a:pt x="36" y="104"/>
                  <a:pt x="36" y="104"/>
                  <a:pt x="36" y="104"/>
                </a:cubicBezTo>
                <a:cubicBezTo>
                  <a:pt x="38" y="103"/>
                  <a:pt x="38" y="103"/>
                  <a:pt x="38" y="103"/>
                </a:cubicBezTo>
                <a:cubicBezTo>
                  <a:pt x="39" y="103"/>
                  <a:pt x="39" y="103"/>
                  <a:pt x="39" y="103"/>
                </a:cubicBezTo>
                <a:cubicBezTo>
                  <a:pt x="41" y="103"/>
                  <a:pt x="41" y="103"/>
                  <a:pt x="41" y="103"/>
                </a:cubicBezTo>
                <a:cubicBezTo>
                  <a:pt x="42" y="100"/>
                  <a:pt x="42" y="100"/>
                  <a:pt x="42" y="100"/>
                </a:cubicBezTo>
                <a:cubicBezTo>
                  <a:pt x="45" y="98"/>
                  <a:pt x="45" y="98"/>
                  <a:pt x="45" y="98"/>
                </a:cubicBezTo>
                <a:cubicBezTo>
                  <a:pt x="47" y="97"/>
                  <a:pt x="47" y="97"/>
                  <a:pt x="47" y="97"/>
                </a:cubicBezTo>
                <a:cubicBezTo>
                  <a:pt x="49" y="96"/>
                  <a:pt x="49" y="96"/>
                  <a:pt x="49" y="96"/>
                </a:cubicBezTo>
                <a:cubicBezTo>
                  <a:pt x="50" y="96"/>
                  <a:pt x="50" y="96"/>
                  <a:pt x="50" y="96"/>
                </a:cubicBezTo>
                <a:cubicBezTo>
                  <a:pt x="52" y="97"/>
                  <a:pt x="52" y="97"/>
                  <a:pt x="52" y="97"/>
                </a:cubicBezTo>
                <a:cubicBezTo>
                  <a:pt x="53" y="96"/>
                  <a:pt x="53" y="96"/>
                  <a:pt x="53" y="96"/>
                </a:cubicBezTo>
                <a:cubicBezTo>
                  <a:pt x="54" y="97"/>
                  <a:pt x="54" y="97"/>
                  <a:pt x="54" y="97"/>
                </a:cubicBezTo>
                <a:cubicBezTo>
                  <a:pt x="54" y="99"/>
                  <a:pt x="54" y="99"/>
                  <a:pt x="54" y="99"/>
                </a:cubicBezTo>
                <a:cubicBezTo>
                  <a:pt x="54" y="101"/>
                  <a:pt x="54" y="101"/>
                  <a:pt x="54" y="101"/>
                </a:cubicBezTo>
                <a:cubicBezTo>
                  <a:pt x="53" y="103"/>
                  <a:pt x="53" y="103"/>
                  <a:pt x="53" y="103"/>
                </a:cubicBezTo>
                <a:cubicBezTo>
                  <a:pt x="54" y="105"/>
                  <a:pt x="54" y="105"/>
                  <a:pt x="54" y="105"/>
                </a:cubicBezTo>
                <a:cubicBezTo>
                  <a:pt x="54" y="107"/>
                  <a:pt x="54" y="107"/>
                  <a:pt x="54" y="107"/>
                </a:cubicBezTo>
                <a:cubicBezTo>
                  <a:pt x="55" y="109"/>
                  <a:pt x="55" y="109"/>
                  <a:pt x="55" y="109"/>
                </a:cubicBezTo>
                <a:cubicBezTo>
                  <a:pt x="56" y="110"/>
                  <a:pt x="56" y="110"/>
                  <a:pt x="56" y="110"/>
                </a:cubicBezTo>
                <a:cubicBezTo>
                  <a:pt x="57" y="112"/>
                  <a:pt x="57" y="112"/>
                  <a:pt x="57" y="112"/>
                </a:cubicBezTo>
                <a:cubicBezTo>
                  <a:pt x="58" y="112"/>
                  <a:pt x="58" y="112"/>
                  <a:pt x="58" y="112"/>
                </a:cubicBezTo>
                <a:cubicBezTo>
                  <a:pt x="60" y="114"/>
                  <a:pt x="60" y="114"/>
                  <a:pt x="60" y="114"/>
                </a:cubicBezTo>
                <a:cubicBezTo>
                  <a:pt x="62" y="115"/>
                  <a:pt x="62" y="115"/>
                  <a:pt x="62" y="115"/>
                </a:cubicBezTo>
                <a:cubicBezTo>
                  <a:pt x="62" y="114"/>
                  <a:pt x="62" y="114"/>
                  <a:pt x="62" y="114"/>
                </a:cubicBezTo>
                <a:cubicBezTo>
                  <a:pt x="65" y="114"/>
                  <a:pt x="65" y="114"/>
                  <a:pt x="65" y="114"/>
                </a:cubicBezTo>
                <a:cubicBezTo>
                  <a:pt x="67" y="116"/>
                  <a:pt x="67" y="116"/>
                  <a:pt x="67" y="116"/>
                </a:cubicBezTo>
                <a:cubicBezTo>
                  <a:pt x="68" y="115"/>
                  <a:pt x="68" y="115"/>
                  <a:pt x="68" y="115"/>
                </a:cubicBezTo>
                <a:cubicBezTo>
                  <a:pt x="71" y="118"/>
                  <a:pt x="71" y="118"/>
                  <a:pt x="71" y="118"/>
                </a:cubicBezTo>
                <a:cubicBezTo>
                  <a:pt x="72" y="118"/>
                  <a:pt x="72" y="118"/>
                  <a:pt x="72" y="118"/>
                </a:cubicBezTo>
                <a:cubicBezTo>
                  <a:pt x="74" y="119"/>
                  <a:pt x="74" y="119"/>
                  <a:pt x="74" y="119"/>
                </a:cubicBezTo>
                <a:cubicBezTo>
                  <a:pt x="76" y="119"/>
                  <a:pt x="76" y="119"/>
                  <a:pt x="76" y="119"/>
                </a:cubicBezTo>
                <a:cubicBezTo>
                  <a:pt x="77" y="121"/>
                  <a:pt x="77" y="121"/>
                  <a:pt x="77" y="121"/>
                </a:cubicBezTo>
                <a:cubicBezTo>
                  <a:pt x="78" y="121"/>
                  <a:pt x="78" y="121"/>
                  <a:pt x="78" y="121"/>
                </a:cubicBezTo>
                <a:cubicBezTo>
                  <a:pt x="79" y="122"/>
                  <a:pt x="79" y="122"/>
                  <a:pt x="79" y="122"/>
                </a:cubicBezTo>
                <a:cubicBezTo>
                  <a:pt x="83" y="122"/>
                  <a:pt x="83" y="122"/>
                  <a:pt x="83" y="122"/>
                </a:cubicBezTo>
                <a:cubicBezTo>
                  <a:pt x="86" y="123"/>
                  <a:pt x="86" y="123"/>
                  <a:pt x="86" y="123"/>
                </a:cubicBezTo>
                <a:cubicBezTo>
                  <a:pt x="86" y="125"/>
                  <a:pt x="86" y="125"/>
                  <a:pt x="86" y="125"/>
                </a:cubicBezTo>
                <a:cubicBezTo>
                  <a:pt x="86" y="127"/>
                  <a:pt x="86" y="127"/>
                  <a:pt x="86" y="127"/>
                </a:cubicBezTo>
                <a:cubicBezTo>
                  <a:pt x="86" y="130"/>
                  <a:pt x="86" y="130"/>
                  <a:pt x="86" y="130"/>
                </a:cubicBezTo>
                <a:cubicBezTo>
                  <a:pt x="86" y="131"/>
                  <a:pt x="86" y="131"/>
                  <a:pt x="86" y="131"/>
                </a:cubicBezTo>
                <a:cubicBezTo>
                  <a:pt x="88" y="135"/>
                  <a:pt x="88" y="135"/>
                  <a:pt x="88" y="135"/>
                </a:cubicBezTo>
                <a:cubicBezTo>
                  <a:pt x="88" y="138"/>
                  <a:pt x="88" y="138"/>
                  <a:pt x="88" y="138"/>
                </a:cubicBezTo>
                <a:cubicBezTo>
                  <a:pt x="99" y="138"/>
                  <a:pt x="99" y="138"/>
                  <a:pt x="99" y="138"/>
                </a:cubicBezTo>
                <a:cubicBezTo>
                  <a:pt x="99" y="142"/>
                  <a:pt x="99" y="142"/>
                  <a:pt x="99" y="142"/>
                </a:cubicBezTo>
                <a:cubicBezTo>
                  <a:pt x="99" y="145"/>
                  <a:pt x="99" y="145"/>
                  <a:pt x="99" y="145"/>
                </a:cubicBezTo>
                <a:cubicBezTo>
                  <a:pt x="102" y="146"/>
                  <a:pt x="102" y="146"/>
                  <a:pt x="102" y="146"/>
                </a:cubicBezTo>
                <a:cubicBezTo>
                  <a:pt x="106" y="151"/>
                  <a:pt x="106" y="151"/>
                  <a:pt x="106" y="151"/>
                </a:cubicBezTo>
                <a:cubicBezTo>
                  <a:pt x="106" y="154"/>
                  <a:pt x="106" y="154"/>
                  <a:pt x="106" y="154"/>
                </a:cubicBezTo>
                <a:cubicBezTo>
                  <a:pt x="103" y="161"/>
                  <a:pt x="103" y="161"/>
                  <a:pt x="103" y="161"/>
                </a:cubicBezTo>
                <a:cubicBezTo>
                  <a:pt x="103" y="161"/>
                  <a:pt x="103" y="161"/>
                  <a:pt x="103" y="161"/>
                </a:cubicBezTo>
                <a:cubicBezTo>
                  <a:pt x="102" y="163"/>
                  <a:pt x="102" y="163"/>
                  <a:pt x="102" y="163"/>
                </a:cubicBezTo>
                <a:cubicBezTo>
                  <a:pt x="103" y="163"/>
                  <a:pt x="103" y="163"/>
                  <a:pt x="103" y="163"/>
                </a:cubicBezTo>
                <a:cubicBezTo>
                  <a:pt x="102" y="165"/>
                  <a:pt x="102" y="165"/>
                  <a:pt x="102" y="165"/>
                </a:cubicBezTo>
                <a:cubicBezTo>
                  <a:pt x="104" y="166"/>
                  <a:pt x="104" y="166"/>
                  <a:pt x="104" y="166"/>
                </a:cubicBezTo>
                <a:cubicBezTo>
                  <a:pt x="104" y="168"/>
                  <a:pt x="104" y="168"/>
                  <a:pt x="104" y="168"/>
                </a:cubicBezTo>
                <a:cubicBezTo>
                  <a:pt x="105" y="170"/>
                  <a:pt x="105" y="170"/>
                  <a:pt x="105" y="170"/>
                </a:cubicBezTo>
                <a:cubicBezTo>
                  <a:pt x="105" y="173"/>
                  <a:pt x="105" y="173"/>
                  <a:pt x="105" y="173"/>
                </a:cubicBezTo>
                <a:cubicBezTo>
                  <a:pt x="105" y="175"/>
                  <a:pt x="105" y="175"/>
                  <a:pt x="105" y="175"/>
                </a:cubicBezTo>
                <a:cubicBezTo>
                  <a:pt x="105" y="176"/>
                  <a:pt x="105" y="176"/>
                  <a:pt x="105" y="176"/>
                </a:cubicBezTo>
                <a:cubicBezTo>
                  <a:pt x="105" y="178"/>
                  <a:pt x="105" y="178"/>
                  <a:pt x="105" y="178"/>
                </a:cubicBezTo>
                <a:cubicBezTo>
                  <a:pt x="107" y="178"/>
                  <a:pt x="107" y="178"/>
                  <a:pt x="107" y="178"/>
                </a:cubicBezTo>
                <a:cubicBezTo>
                  <a:pt x="108" y="178"/>
                  <a:pt x="108" y="178"/>
                  <a:pt x="108" y="178"/>
                </a:cubicBezTo>
                <a:cubicBezTo>
                  <a:pt x="111" y="178"/>
                  <a:pt x="111" y="178"/>
                  <a:pt x="111" y="178"/>
                </a:cubicBezTo>
                <a:cubicBezTo>
                  <a:pt x="113" y="178"/>
                  <a:pt x="113" y="178"/>
                  <a:pt x="113" y="178"/>
                </a:cubicBezTo>
                <a:cubicBezTo>
                  <a:pt x="116" y="177"/>
                  <a:pt x="116" y="177"/>
                  <a:pt x="116" y="177"/>
                </a:cubicBezTo>
                <a:cubicBezTo>
                  <a:pt x="118" y="178"/>
                  <a:pt x="118" y="178"/>
                  <a:pt x="118" y="178"/>
                </a:cubicBezTo>
                <a:cubicBezTo>
                  <a:pt x="119" y="179"/>
                  <a:pt x="119" y="179"/>
                  <a:pt x="119" y="179"/>
                </a:cubicBezTo>
                <a:cubicBezTo>
                  <a:pt x="119" y="180"/>
                  <a:pt x="119" y="180"/>
                  <a:pt x="119" y="180"/>
                </a:cubicBezTo>
                <a:cubicBezTo>
                  <a:pt x="121" y="187"/>
                  <a:pt x="121" y="187"/>
                  <a:pt x="121" y="187"/>
                </a:cubicBezTo>
                <a:cubicBezTo>
                  <a:pt x="122" y="189"/>
                  <a:pt x="122" y="189"/>
                  <a:pt x="122" y="189"/>
                </a:cubicBezTo>
                <a:cubicBezTo>
                  <a:pt x="123" y="190"/>
                  <a:pt x="123" y="190"/>
                  <a:pt x="123" y="190"/>
                </a:cubicBezTo>
                <a:cubicBezTo>
                  <a:pt x="125" y="188"/>
                  <a:pt x="125" y="188"/>
                  <a:pt x="125" y="188"/>
                </a:cubicBezTo>
                <a:cubicBezTo>
                  <a:pt x="127" y="189"/>
                  <a:pt x="127" y="189"/>
                  <a:pt x="127" y="189"/>
                </a:cubicBezTo>
                <a:cubicBezTo>
                  <a:pt x="128" y="190"/>
                  <a:pt x="128" y="190"/>
                  <a:pt x="128" y="190"/>
                </a:cubicBezTo>
                <a:cubicBezTo>
                  <a:pt x="129" y="190"/>
                  <a:pt x="129" y="190"/>
                  <a:pt x="129" y="190"/>
                </a:cubicBezTo>
                <a:cubicBezTo>
                  <a:pt x="128" y="191"/>
                  <a:pt x="128" y="191"/>
                  <a:pt x="128" y="191"/>
                </a:cubicBezTo>
                <a:cubicBezTo>
                  <a:pt x="128" y="197"/>
                  <a:pt x="128" y="197"/>
                  <a:pt x="128" y="197"/>
                </a:cubicBezTo>
                <a:cubicBezTo>
                  <a:pt x="128" y="198"/>
                  <a:pt x="128" y="198"/>
                  <a:pt x="128" y="198"/>
                </a:cubicBezTo>
                <a:cubicBezTo>
                  <a:pt x="127" y="198"/>
                  <a:pt x="127" y="198"/>
                  <a:pt x="127" y="198"/>
                </a:cubicBezTo>
                <a:cubicBezTo>
                  <a:pt x="127" y="199"/>
                  <a:pt x="127" y="199"/>
                  <a:pt x="127" y="199"/>
                </a:cubicBezTo>
                <a:cubicBezTo>
                  <a:pt x="127" y="199"/>
                  <a:pt x="127" y="199"/>
                  <a:pt x="127" y="199"/>
                </a:cubicBezTo>
                <a:cubicBezTo>
                  <a:pt x="127" y="200"/>
                  <a:pt x="127" y="200"/>
                  <a:pt x="127" y="200"/>
                </a:cubicBezTo>
                <a:cubicBezTo>
                  <a:pt x="128" y="199"/>
                  <a:pt x="128" y="199"/>
                  <a:pt x="128" y="199"/>
                </a:cubicBezTo>
                <a:cubicBezTo>
                  <a:pt x="131" y="200"/>
                  <a:pt x="131" y="200"/>
                  <a:pt x="131" y="200"/>
                </a:cubicBezTo>
                <a:cubicBezTo>
                  <a:pt x="131" y="201"/>
                  <a:pt x="131" y="201"/>
                  <a:pt x="131" y="201"/>
                </a:cubicBezTo>
                <a:cubicBezTo>
                  <a:pt x="133" y="204"/>
                  <a:pt x="133" y="204"/>
                  <a:pt x="133" y="204"/>
                </a:cubicBezTo>
                <a:cubicBezTo>
                  <a:pt x="132" y="206"/>
                  <a:pt x="132" y="206"/>
                  <a:pt x="132" y="206"/>
                </a:cubicBezTo>
                <a:cubicBezTo>
                  <a:pt x="133" y="208"/>
                  <a:pt x="133" y="208"/>
                  <a:pt x="133" y="208"/>
                </a:cubicBezTo>
                <a:cubicBezTo>
                  <a:pt x="133" y="210"/>
                  <a:pt x="133" y="210"/>
                  <a:pt x="133" y="210"/>
                </a:cubicBezTo>
                <a:cubicBezTo>
                  <a:pt x="133" y="211"/>
                  <a:pt x="133" y="211"/>
                  <a:pt x="133" y="211"/>
                </a:cubicBezTo>
                <a:cubicBezTo>
                  <a:pt x="131" y="211"/>
                  <a:pt x="131" y="211"/>
                  <a:pt x="131" y="211"/>
                </a:cubicBezTo>
                <a:cubicBezTo>
                  <a:pt x="130" y="212"/>
                  <a:pt x="130" y="212"/>
                  <a:pt x="130" y="212"/>
                </a:cubicBezTo>
                <a:cubicBezTo>
                  <a:pt x="130" y="213"/>
                  <a:pt x="130" y="213"/>
                  <a:pt x="130" y="213"/>
                </a:cubicBezTo>
                <a:cubicBezTo>
                  <a:pt x="129" y="213"/>
                  <a:pt x="129" y="213"/>
                  <a:pt x="129" y="213"/>
                </a:cubicBezTo>
                <a:cubicBezTo>
                  <a:pt x="128" y="213"/>
                  <a:pt x="128" y="213"/>
                  <a:pt x="128" y="213"/>
                </a:cubicBezTo>
                <a:cubicBezTo>
                  <a:pt x="126" y="215"/>
                  <a:pt x="126" y="215"/>
                  <a:pt x="126" y="215"/>
                </a:cubicBezTo>
                <a:cubicBezTo>
                  <a:pt x="125" y="216"/>
                  <a:pt x="125" y="216"/>
                  <a:pt x="125" y="216"/>
                </a:cubicBezTo>
                <a:cubicBezTo>
                  <a:pt x="124" y="216"/>
                  <a:pt x="124" y="216"/>
                  <a:pt x="124" y="216"/>
                </a:cubicBezTo>
                <a:cubicBezTo>
                  <a:pt x="122" y="218"/>
                  <a:pt x="122" y="218"/>
                  <a:pt x="122" y="218"/>
                </a:cubicBezTo>
                <a:cubicBezTo>
                  <a:pt x="121" y="218"/>
                  <a:pt x="121" y="218"/>
                  <a:pt x="121" y="218"/>
                </a:cubicBezTo>
                <a:cubicBezTo>
                  <a:pt x="121" y="220"/>
                  <a:pt x="121" y="220"/>
                  <a:pt x="121" y="220"/>
                </a:cubicBezTo>
                <a:cubicBezTo>
                  <a:pt x="120" y="220"/>
                  <a:pt x="120" y="220"/>
                  <a:pt x="120" y="220"/>
                </a:cubicBezTo>
                <a:cubicBezTo>
                  <a:pt x="119" y="220"/>
                  <a:pt x="119" y="220"/>
                  <a:pt x="119" y="220"/>
                </a:cubicBezTo>
                <a:cubicBezTo>
                  <a:pt x="117" y="222"/>
                  <a:pt x="117" y="222"/>
                  <a:pt x="117" y="222"/>
                </a:cubicBezTo>
                <a:cubicBezTo>
                  <a:pt x="117" y="223"/>
                  <a:pt x="117" y="223"/>
                  <a:pt x="117" y="223"/>
                </a:cubicBezTo>
                <a:cubicBezTo>
                  <a:pt x="117" y="225"/>
                  <a:pt x="117" y="225"/>
                  <a:pt x="117" y="225"/>
                </a:cubicBezTo>
                <a:cubicBezTo>
                  <a:pt x="116" y="225"/>
                  <a:pt x="116" y="225"/>
                  <a:pt x="116" y="225"/>
                </a:cubicBezTo>
                <a:cubicBezTo>
                  <a:pt x="116" y="226"/>
                  <a:pt x="116" y="226"/>
                  <a:pt x="116" y="226"/>
                </a:cubicBezTo>
                <a:cubicBezTo>
                  <a:pt x="114" y="228"/>
                  <a:pt x="114" y="228"/>
                  <a:pt x="114" y="228"/>
                </a:cubicBezTo>
                <a:cubicBezTo>
                  <a:pt x="113" y="229"/>
                  <a:pt x="113" y="229"/>
                  <a:pt x="113" y="229"/>
                </a:cubicBezTo>
                <a:cubicBezTo>
                  <a:pt x="112" y="231"/>
                  <a:pt x="112" y="231"/>
                  <a:pt x="112" y="231"/>
                </a:cubicBezTo>
                <a:cubicBezTo>
                  <a:pt x="112" y="231"/>
                  <a:pt x="112" y="231"/>
                  <a:pt x="112" y="231"/>
                </a:cubicBezTo>
                <a:cubicBezTo>
                  <a:pt x="111" y="232"/>
                  <a:pt x="111" y="232"/>
                  <a:pt x="111" y="232"/>
                </a:cubicBezTo>
                <a:cubicBezTo>
                  <a:pt x="111" y="233"/>
                  <a:pt x="111" y="233"/>
                  <a:pt x="111" y="233"/>
                </a:cubicBezTo>
                <a:cubicBezTo>
                  <a:pt x="112" y="233"/>
                  <a:pt x="112" y="233"/>
                  <a:pt x="112" y="233"/>
                </a:cubicBezTo>
                <a:cubicBezTo>
                  <a:pt x="113" y="233"/>
                  <a:pt x="113" y="233"/>
                  <a:pt x="113" y="233"/>
                </a:cubicBezTo>
                <a:cubicBezTo>
                  <a:pt x="116" y="232"/>
                  <a:pt x="116" y="232"/>
                  <a:pt x="116" y="232"/>
                </a:cubicBezTo>
                <a:cubicBezTo>
                  <a:pt x="117" y="233"/>
                  <a:pt x="117" y="233"/>
                  <a:pt x="117" y="233"/>
                </a:cubicBezTo>
                <a:cubicBezTo>
                  <a:pt x="119" y="235"/>
                  <a:pt x="119" y="235"/>
                  <a:pt x="119" y="235"/>
                </a:cubicBezTo>
                <a:cubicBezTo>
                  <a:pt x="120" y="235"/>
                  <a:pt x="120" y="235"/>
                  <a:pt x="120" y="235"/>
                </a:cubicBezTo>
                <a:cubicBezTo>
                  <a:pt x="121" y="237"/>
                  <a:pt x="121" y="237"/>
                  <a:pt x="121" y="237"/>
                </a:cubicBezTo>
                <a:cubicBezTo>
                  <a:pt x="122" y="240"/>
                  <a:pt x="122" y="240"/>
                  <a:pt x="122" y="240"/>
                </a:cubicBezTo>
                <a:cubicBezTo>
                  <a:pt x="123" y="240"/>
                  <a:pt x="123" y="240"/>
                  <a:pt x="123" y="240"/>
                </a:cubicBezTo>
                <a:cubicBezTo>
                  <a:pt x="124" y="238"/>
                  <a:pt x="124" y="238"/>
                  <a:pt x="124" y="238"/>
                </a:cubicBezTo>
                <a:cubicBezTo>
                  <a:pt x="125" y="238"/>
                  <a:pt x="125" y="238"/>
                  <a:pt x="125" y="238"/>
                </a:cubicBezTo>
                <a:cubicBezTo>
                  <a:pt x="126" y="241"/>
                  <a:pt x="126" y="241"/>
                  <a:pt x="126" y="241"/>
                </a:cubicBezTo>
                <a:cubicBezTo>
                  <a:pt x="128" y="241"/>
                  <a:pt x="128" y="241"/>
                  <a:pt x="128" y="241"/>
                </a:cubicBezTo>
                <a:cubicBezTo>
                  <a:pt x="129" y="242"/>
                  <a:pt x="129" y="242"/>
                  <a:pt x="129" y="242"/>
                </a:cubicBezTo>
                <a:cubicBezTo>
                  <a:pt x="131" y="243"/>
                  <a:pt x="131" y="243"/>
                  <a:pt x="131" y="243"/>
                </a:cubicBezTo>
                <a:cubicBezTo>
                  <a:pt x="131" y="245"/>
                  <a:pt x="131" y="245"/>
                  <a:pt x="131" y="245"/>
                </a:cubicBezTo>
                <a:cubicBezTo>
                  <a:pt x="132" y="245"/>
                  <a:pt x="132" y="245"/>
                  <a:pt x="132" y="245"/>
                </a:cubicBezTo>
                <a:cubicBezTo>
                  <a:pt x="135" y="246"/>
                  <a:pt x="135" y="246"/>
                  <a:pt x="135" y="246"/>
                </a:cubicBezTo>
                <a:cubicBezTo>
                  <a:pt x="136" y="248"/>
                  <a:pt x="136" y="248"/>
                  <a:pt x="136" y="248"/>
                </a:cubicBezTo>
                <a:cubicBezTo>
                  <a:pt x="138" y="250"/>
                  <a:pt x="138" y="250"/>
                  <a:pt x="138" y="250"/>
                </a:cubicBezTo>
                <a:cubicBezTo>
                  <a:pt x="139" y="251"/>
                  <a:pt x="139" y="251"/>
                  <a:pt x="139" y="251"/>
                </a:cubicBezTo>
                <a:cubicBezTo>
                  <a:pt x="139" y="253"/>
                  <a:pt x="139" y="253"/>
                  <a:pt x="139" y="253"/>
                </a:cubicBezTo>
                <a:cubicBezTo>
                  <a:pt x="138" y="254"/>
                  <a:pt x="138" y="254"/>
                  <a:pt x="138" y="254"/>
                </a:cubicBezTo>
                <a:cubicBezTo>
                  <a:pt x="138" y="256"/>
                  <a:pt x="138" y="256"/>
                  <a:pt x="138" y="256"/>
                </a:cubicBezTo>
                <a:cubicBezTo>
                  <a:pt x="138" y="257"/>
                  <a:pt x="138" y="257"/>
                  <a:pt x="138" y="257"/>
                </a:cubicBezTo>
                <a:cubicBezTo>
                  <a:pt x="138" y="257"/>
                  <a:pt x="138" y="257"/>
                  <a:pt x="138" y="257"/>
                </a:cubicBezTo>
                <a:cubicBezTo>
                  <a:pt x="139" y="258"/>
                  <a:pt x="139" y="258"/>
                  <a:pt x="139" y="258"/>
                </a:cubicBezTo>
                <a:cubicBezTo>
                  <a:pt x="140" y="258"/>
                  <a:pt x="140" y="258"/>
                  <a:pt x="140" y="258"/>
                </a:cubicBezTo>
                <a:cubicBezTo>
                  <a:pt x="142" y="256"/>
                  <a:pt x="142" y="256"/>
                  <a:pt x="142" y="256"/>
                </a:cubicBezTo>
                <a:cubicBezTo>
                  <a:pt x="143" y="254"/>
                  <a:pt x="143" y="254"/>
                  <a:pt x="143" y="254"/>
                </a:cubicBezTo>
                <a:cubicBezTo>
                  <a:pt x="144" y="250"/>
                  <a:pt x="144" y="250"/>
                  <a:pt x="144" y="250"/>
                </a:cubicBezTo>
                <a:cubicBezTo>
                  <a:pt x="145" y="247"/>
                  <a:pt x="145" y="247"/>
                  <a:pt x="145" y="247"/>
                </a:cubicBezTo>
                <a:cubicBezTo>
                  <a:pt x="145" y="246"/>
                  <a:pt x="145" y="246"/>
                  <a:pt x="145" y="246"/>
                </a:cubicBezTo>
                <a:cubicBezTo>
                  <a:pt x="145" y="246"/>
                  <a:pt x="145" y="246"/>
                  <a:pt x="145" y="246"/>
                </a:cubicBezTo>
                <a:cubicBezTo>
                  <a:pt x="144" y="244"/>
                  <a:pt x="144" y="244"/>
                  <a:pt x="144" y="244"/>
                </a:cubicBezTo>
                <a:cubicBezTo>
                  <a:pt x="144" y="243"/>
                  <a:pt x="144" y="243"/>
                  <a:pt x="144" y="243"/>
                </a:cubicBezTo>
                <a:cubicBezTo>
                  <a:pt x="145" y="243"/>
                  <a:pt x="145" y="243"/>
                  <a:pt x="145" y="243"/>
                </a:cubicBezTo>
                <a:cubicBezTo>
                  <a:pt x="145" y="242"/>
                  <a:pt x="145" y="242"/>
                  <a:pt x="145" y="242"/>
                </a:cubicBezTo>
                <a:cubicBezTo>
                  <a:pt x="146" y="241"/>
                  <a:pt x="146" y="241"/>
                  <a:pt x="146" y="241"/>
                </a:cubicBezTo>
                <a:cubicBezTo>
                  <a:pt x="146" y="240"/>
                  <a:pt x="146" y="240"/>
                  <a:pt x="146" y="240"/>
                </a:cubicBezTo>
                <a:cubicBezTo>
                  <a:pt x="147" y="240"/>
                  <a:pt x="147" y="240"/>
                  <a:pt x="147" y="240"/>
                </a:cubicBezTo>
                <a:cubicBezTo>
                  <a:pt x="148" y="240"/>
                  <a:pt x="148" y="240"/>
                  <a:pt x="148" y="240"/>
                </a:cubicBezTo>
                <a:cubicBezTo>
                  <a:pt x="149" y="239"/>
                  <a:pt x="149" y="239"/>
                  <a:pt x="149" y="239"/>
                </a:cubicBezTo>
                <a:cubicBezTo>
                  <a:pt x="149" y="238"/>
                  <a:pt x="149" y="238"/>
                  <a:pt x="149" y="238"/>
                </a:cubicBezTo>
                <a:cubicBezTo>
                  <a:pt x="149" y="237"/>
                  <a:pt x="149" y="237"/>
                  <a:pt x="149" y="237"/>
                </a:cubicBezTo>
                <a:cubicBezTo>
                  <a:pt x="149" y="236"/>
                  <a:pt x="149" y="236"/>
                  <a:pt x="149" y="236"/>
                </a:cubicBezTo>
                <a:cubicBezTo>
                  <a:pt x="150" y="235"/>
                  <a:pt x="150" y="235"/>
                  <a:pt x="150" y="235"/>
                </a:cubicBezTo>
                <a:cubicBezTo>
                  <a:pt x="150" y="235"/>
                  <a:pt x="150" y="235"/>
                  <a:pt x="150" y="235"/>
                </a:cubicBezTo>
                <a:cubicBezTo>
                  <a:pt x="151" y="234"/>
                  <a:pt x="151" y="234"/>
                  <a:pt x="151" y="234"/>
                </a:cubicBezTo>
                <a:cubicBezTo>
                  <a:pt x="151" y="233"/>
                  <a:pt x="151" y="233"/>
                  <a:pt x="151" y="233"/>
                </a:cubicBezTo>
                <a:cubicBezTo>
                  <a:pt x="150" y="232"/>
                  <a:pt x="150" y="232"/>
                  <a:pt x="150" y="232"/>
                </a:cubicBezTo>
                <a:cubicBezTo>
                  <a:pt x="150" y="231"/>
                  <a:pt x="150" y="231"/>
                  <a:pt x="150" y="231"/>
                </a:cubicBezTo>
                <a:cubicBezTo>
                  <a:pt x="149" y="230"/>
                  <a:pt x="149" y="230"/>
                  <a:pt x="149" y="230"/>
                </a:cubicBezTo>
                <a:cubicBezTo>
                  <a:pt x="150" y="230"/>
                  <a:pt x="150" y="230"/>
                  <a:pt x="150" y="230"/>
                </a:cubicBezTo>
                <a:cubicBezTo>
                  <a:pt x="151" y="232"/>
                  <a:pt x="151" y="232"/>
                  <a:pt x="151" y="232"/>
                </a:cubicBezTo>
                <a:cubicBezTo>
                  <a:pt x="152" y="233"/>
                  <a:pt x="152" y="233"/>
                  <a:pt x="152" y="233"/>
                </a:cubicBezTo>
                <a:cubicBezTo>
                  <a:pt x="153" y="233"/>
                  <a:pt x="153" y="233"/>
                  <a:pt x="153" y="233"/>
                </a:cubicBezTo>
                <a:cubicBezTo>
                  <a:pt x="153" y="233"/>
                  <a:pt x="153" y="233"/>
                  <a:pt x="153" y="233"/>
                </a:cubicBezTo>
                <a:cubicBezTo>
                  <a:pt x="154" y="233"/>
                  <a:pt x="154" y="233"/>
                  <a:pt x="154" y="233"/>
                </a:cubicBezTo>
                <a:cubicBezTo>
                  <a:pt x="154" y="235"/>
                  <a:pt x="154" y="235"/>
                  <a:pt x="154" y="235"/>
                </a:cubicBezTo>
                <a:cubicBezTo>
                  <a:pt x="154" y="235"/>
                  <a:pt x="154" y="235"/>
                  <a:pt x="154" y="235"/>
                </a:cubicBezTo>
                <a:cubicBezTo>
                  <a:pt x="153" y="237"/>
                  <a:pt x="153" y="237"/>
                  <a:pt x="153" y="237"/>
                </a:cubicBezTo>
                <a:cubicBezTo>
                  <a:pt x="151" y="239"/>
                  <a:pt x="151" y="239"/>
                  <a:pt x="151" y="239"/>
                </a:cubicBezTo>
                <a:cubicBezTo>
                  <a:pt x="150" y="239"/>
                  <a:pt x="150" y="239"/>
                  <a:pt x="150" y="239"/>
                </a:cubicBezTo>
                <a:cubicBezTo>
                  <a:pt x="150" y="241"/>
                  <a:pt x="150" y="241"/>
                  <a:pt x="150" y="241"/>
                </a:cubicBezTo>
                <a:cubicBezTo>
                  <a:pt x="150" y="242"/>
                  <a:pt x="150" y="242"/>
                  <a:pt x="150" y="242"/>
                </a:cubicBezTo>
                <a:cubicBezTo>
                  <a:pt x="149" y="242"/>
                  <a:pt x="149" y="242"/>
                  <a:pt x="149" y="242"/>
                </a:cubicBezTo>
                <a:cubicBezTo>
                  <a:pt x="148" y="242"/>
                  <a:pt x="148" y="242"/>
                  <a:pt x="148" y="242"/>
                </a:cubicBezTo>
                <a:cubicBezTo>
                  <a:pt x="147" y="243"/>
                  <a:pt x="147" y="243"/>
                  <a:pt x="147" y="243"/>
                </a:cubicBezTo>
                <a:cubicBezTo>
                  <a:pt x="147" y="244"/>
                  <a:pt x="147" y="244"/>
                  <a:pt x="147" y="244"/>
                </a:cubicBezTo>
                <a:cubicBezTo>
                  <a:pt x="146" y="244"/>
                  <a:pt x="146" y="244"/>
                  <a:pt x="146" y="244"/>
                </a:cubicBezTo>
                <a:cubicBezTo>
                  <a:pt x="145" y="245"/>
                  <a:pt x="145" y="245"/>
                  <a:pt x="145" y="245"/>
                </a:cubicBezTo>
                <a:cubicBezTo>
                  <a:pt x="145" y="245"/>
                  <a:pt x="145" y="245"/>
                  <a:pt x="145" y="245"/>
                </a:cubicBezTo>
                <a:cubicBezTo>
                  <a:pt x="147" y="246"/>
                  <a:pt x="147" y="246"/>
                  <a:pt x="147" y="246"/>
                </a:cubicBezTo>
                <a:cubicBezTo>
                  <a:pt x="150" y="242"/>
                  <a:pt x="150" y="242"/>
                  <a:pt x="150" y="242"/>
                </a:cubicBezTo>
                <a:cubicBezTo>
                  <a:pt x="153" y="240"/>
                  <a:pt x="153" y="240"/>
                  <a:pt x="153" y="240"/>
                </a:cubicBezTo>
                <a:cubicBezTo>
                  <a:pt x="155" y="235"/>
                  <a:pt x="155" y="235"/>
                  <a:pt x="155" y="235"/>
                </a:cubicBezTo>
                <a:cubicBezTo>
                  <a:pt x="157" y="233"/>
                  <a:pt x="157" y="233"/>
                  <a:pt x="157" y="233"/>
                </a:cubicBezTo>
                <a:cubicBezTo>
                  <a:pt x="158" y="229"/>
                  <a:pt x="158" y="229"/>
                  <a:pt x="158" y="229"/>
                </a:cubicBezTo>
                <a:cubicBezTo>
                  <a:pt x="161" y="224"/>
                  <a:pt x="161" y="224"/>
                  <a:pt x="161" y="224"/>
                </a:cubicBezTo>
                <a:cubicBezTo>
                  <a:pt x="163" y="221"/>
                  <a:pt x="163" y="221"/>
                  <a:pt x="163" y="221"/>
                </a:cubicBezTo>
                <a:cubicBezTo>
                  <a:pt x="164" y="220"/>
                  <a:pt x="164" y="220"/>
                  <a:pt x="164" y="220"/>
                </a:cubicBezTo>
                <a:cubicBezTo>
                  <a:pt x="164" y="219"/>
                  <a:pt x="164" y="219"/>
                  <a:pt x="164" y="219"/>
                </a:cubicBezTo>
                <a:cubicBezTo>
                  <a:pt x="164" y="218"/>
                  <a:pt x="164" y="218"/>
                  <a:pt x="164" y="218"/>
                </a:cubicBezTo>
                <a:cubicBezTo>
                  <a:pt x="164" y="218"/>
                  <a:pt x="164" y="218"/>
                  <a:pt x="164" y="218"/>
                </a:cubicBezTo>
                <a:cubicBezTo>
                  <a:pt x="165" y="217"/>
                  <a:pt x="165" y="217"/>
                  <a:pt x="165" y="217"/>
                </a:cubicBezTo>
                <a:cubicBezTo>
                  <a:pt x="166" y="216"/>
                  <a:pt x="166" y="216"/>
                  <a:pt x="166" y="216"/>
                </a:cubicBezTo>
                <a:cubicBezTo>
                  <a:pt x="165" y="215"/>
                  <a:pt x="165" y="215"/>
                  <a:pt x="165" y="215"/>
                </a:cubicBezTo>
                <a:cubicBezTo>
                  <a:pt x="166" y="214"/>
                  <a:pt x="166" y="214"/>
                  <a:pt x="166" y="214"/>
                </a:cubicBezTo>
                <a:cubicBezTo>
                  <a:pt x="165" y="214"/>
                  <a:pt x="165" y="214"/>
                  <a:pt x="165" y="214"/>
                </a:cubicBezTo>
                <a:cubicBezTo>
                  <a:pt x="165" y="214"/>
                  <a:pt x="165" y="214"/>
                  <a:pt x="165" y="214"/>
                </a:cubicBezTo>
                <a:cubicBezTo>
                  <a:pt x="165" y="212"/>
                  <a:pt x="165" y="212"/>
                  <a:pt x="165" y="212"/>
                </a:cubicBezTo>
                <a:cubicBezTo>
                  <a:pt x="164" y="211"/>
                  <a:pt x="164" y="211"/>
                  <a:pt x="164" y="211"/>
                </a:cubicBezTo>
                <a:cubicBezTo>
                  <a:pt x="164" y="210"/>
                  <a:pt x="164" y="210"/>
                  <a:pt x="164" y="210"/>
                </a:cubicBezTo>
                <a:cubicBezTo>
                  <a:pt x="164" y="209"/>
                  <a:pt x="164" y="209"/>
                  <a:pt x="164" y="209"/>
                </a:cubicBezTo>
                <a:cubicBezTo>
                  <a:pt x="164" y="208"/>
                  <a:pt x="164" y="208"/>
                  <a:pt x="164" y="208"/>
                </a:cubicBezTo>
                <a:cubicBezTo>
                  <a:pt x="163" y="206"/>
                  <a:pt x="163" y="206"/>
                  <a:pt x="163" y="206"/>
                </a:cubicBezTo>
                <a:cubicBezTo>
                  <a:pt x="163" y="205"/>
                  <a:pt x="163" y="205"/>
                  <a:pt x="163" y="205"/>
                </a:cubicBezTo>
                <a:cubicBezTo>
                  <a:pt x="163" y="204"/>
                  <a:pt x="163" y="204"/>
                  <a:pt x="163" y="204"/>
                </a:cubicBezTo>
                <a:cubicBezTo>
                  <a:pt x="165" y="204"/>
                  <a:pt x="165" y="204"/>
                  <a:pt x="165" y="204"/>
                </a:cubicBezTo>
                <a:cubicBezTo>
                  <a:pt x="164" y="203"/>
                  <a:pt x="164" y="203"/>
                  <a:pt x="164" y="203"/>
                </a:cubicBezTo>
                <a:cubicBezTo>
                  <a:pt x="164" y="202"/>
                  <a:pt x="164" y="202"/>
                  <a:pt x="164" y="202"/>
                </a:cubicBezTo>
                <a:cubicBezTo>
                  <a:pt x="165" y="202"/>
                  <a:pt x="165" y="202"/>
                  <a:pt x="165" y="202"/>
                </a:cubicBezTo>
                <a:cubicBezTo>
                  <a:pt x="165" y="201"/>
                  <a:pt x="165" y="201"/>
                  <a:pt x="165" y="201"/>
                </a:cubicBezTo>
                <a:cubicBezTo>
                  <a:pt x="164" y="200"/>
                  <a:pt x="164" y="200"/>
                  <a:pt x="164" y="200"/>
                </a:cubicBezTo>
                <a:cubicBezTo>
                  <a:pt x="165" y="200"/>
                  <a:pt x="165" y="200"/>
                  <a:pt x="165" y="200"/>
                </a:cubicBezTo>
                <a:cubicBezTo>
                  <a:pt x="166" y="198"/>
                  <a:pt x="166" y="198"/>
                  <a:pt x="166" y="198"/>
                </a:cubicBezTo>
                <a:cubicBezTo>
                  <a:pt x="166" y="199"/>
                  <a:pt x="166" y="199"/>
                  <a:pt x="166" y="199"/>
                </a:cubicBezTo>
                <a:cubicBezTo>
                  <a:pt x="168" y="197"/>
                  <a:pt x="168" y="197"/>
                  <a:pt x="168" y="197"/>
                </a:cubicBezTo>
                <a:cubicBezTo>
                  <a:pt x="169" y="196"/>
                  <a:pt x="169" y="196"/>
                  <a:pt x="169" y="196"/>
                </a:cubicBezTo>
                <a:cubicBezTo>
                  <a:pt x="169" y="196"/>
                  <a:pt x="169" y="196"/>
                  <a:pt x="169" y="196"/>
                </a:cubicBezTo>
                <a:cubicBezTo>
                  <a:pt x="171" y="194"/>
                  <a:pt x="171" y="194"/>
                  <a:pt x="171" y="194"/>
                </a:cubicBezTo>
                <a:cubicBezTo>
                  <a:pt x="173" y="193"/>
                  <a:pt x="173" y="193"/>
                  <a:pt x="173" y="193"/>
                </a:cubicBezTo>
                <a:cubicBezTo>
                  <a:pt x="176" y="190"/>
                  <a:pt x="176" y="190"/>
                  <a:pt x="176" y="190"/>
                </a:cubicBezTo>
                <a:cubicBezTo>
                  <a:pt x="178" y="190"/>
                  <a:pt x="178" y="190"/>
                  <a:pt x="178" y="190"/>
                </a:cubicBezTo>
                <a:cubicBezTo>
                  <a:pt x="179" y="189"/>
                  <a:pt x="179" y="189"/>
                  <a:pt x="179" y="189"/>
                </a:cubicBezTo>
                <a:cubicBezTo>
                  <a:pt x="180" y="188"/>
                  <a:pt x="180" y="188"/>
                  <a:pt x="180" y="188"/>
                </a:cubicBezTo>
                <a:cubicBezTo>
                  <a:pt x="182" y="188"/>
                  <a:pt x="182" y="188"/>
                  <a:pt x="182" y="188"/>
                </a:cubicBezTo>
                <a:cubicBezTo>
                  <a:pt x="182" y="188"/>
                  <a:pt x="182" y="188"/>
                  <a:pt x="182" y="188"/>
                </a:cubicBezTo>
                <a:cubicBezTo>
                  <a:pt x="183" y="188"/>
                  <a:pt x="183" y="188"/>
                  <a:pt x="183" y="188"/>
                </a:cubicBezTo>
                <a:cubicBezTo>
                  <a:pt x="183" y="188"/>
                  <a:pt x="183" y="188"/>
                  <a:pt x="183" y="188"/>
                </a:cubicBezTo>
                <a:cubicBezTo>
                  <a:pt x="184" y="186"/>
                  <a:pt x="184" y="186"/>
                  <a:pt x="184" y="186"/>
                </a:cubicBezTo>
                <a:cubicBezTo>
                  <a:pt x="187" y="184"/>
                  <a:pt x="187" y="184"/>
                  <a:pt x="187" y="184"/>
                </a:cubicBezTo>
                <a:cubicBezTo>
                  <a:pt x="188" y="184"/>
                  <a:pt x="188" y="184"/>
                  <a:pt x="188" y="184"/>
                </a:cubicBezTo>
                <a:cubicBezTo>
                  <a:pt x="188" y="183"/>
                  <a:pt x="188" y="183"/>
                  <a:pt x="188" y="183"/>
                </a:cubicBezTo>
                <a:cubicBezTo>
                  <a:pt x="188" y="183"/>
                  <a:pt x="188" y="183"/>
                  <a:pt x="188" y="183"/>
                </a:cubicBezTo>
                <a:cubicBezTo>
                  <a:pt x="187" y="183"/>
                  <a:pt x="187" y="183"/>
                  <a:pt x="187" y="183"/>
                </a:cubicBezTo>
                <a:cubicBezTo>
                  <a:pt x="186" y="182"/>
                  <a:pt x="186" y="182"/>
                  <a:pt x="186" y="182"/>
                </a:cubicBezTo>
                <a:cubicBezTo>
                  <a:pt x="187" y="182"/>
                  <a:pt x="187" y="182"/>
                  <a:pt x="187" y="182"/>
                </a:cubicBezTo>
                <a:cubicBezTo>
                  <a:pt x="189" y="181"/>
                  <a:pt x="189" y="181"/>
                  <a:pt x="189" y="181"/>
                </a:cubicBezTo>
                <a:cubicBezTo>
                  <a:pt x="190" y="181"/>
                  <a:pt x="190" y="181"/>
                  <a:pt x="190" y="181"/>
                </a:cubicBezTo>
                <a:cubicBezTo>
                  <a:pt x="191" y="181"/>
                  <a:pt x="191" y="181"/>
                  <a:pt x="191" y="181"/>
                </a:cubicBezTo>
                <a:cubicBezTo>
                  <a:pt x="192" y="180"/>
                  <a:pt x="192" y="180"/>
                  <a:pt x="192" y="180"/>
                </a:cubicBezTo>
                <a:cubicBezTo>
                  <a:pt x="193" y="180"/>
                  <a:pt x="193" y="180"/>
                  <a:pt x="193" y="180"/>
                </a:cubicBezTo>
                <a:cubicBezTo>
                  <a:pt x="193" y="181"/>
                  <a:pt x="193" y="181"/>
                  <a:pt x="193" y="181"/>
                </a:cubicBezTo>
                <a:cubicBezTo>
                  <a:pt x="191" y="182"/>
                  <a:pt x="191" y="182"/>
                  <a:pt x="191" y="182"/>
                </a:cubicBezTo>
                <a:cubicBezTo>
                  <a:pt x="189" y="182"/>
                  <a:pt x="189" y="182"/>
                  <a:pt x="189" y="182"/>
                </a:cubicBezTo>
                <a:cubicBezTo>
                  <a:pt x="189" y="182"/>
                  <a:pt x="189" y="182"/>
                  <a:pt x="189" y="182"/>
                </a:cubicBezTo>
                <a:cubicBezTo>
                  <a:pt x="190" y="183"/>
                  <a:pt x="190" y="183"/>
                  <a:pt x="190" y="183"/>
                </a:cubicBezTo>
                <a:cubicBezTo>
                  <a:pt x="192" y="182"/>
                  <a:pt x="192" y="182"/>
                  <a:pt x="192" y="182"/>
                </a:cubicBezTo>
                <a:cubicBezTo>
                  <a:pt x="195" y="181"/>
                  <a:pt x="195" y="181"/>
                  <a:pt x="195" y="181"/>
                </a:cubicBezTo>
                <a:cubicBezTo>
                  <a:pt x="195" y="180"/>
                  <a:pt x="195" y="180"/>
                  <a:pt x="195" y="180"/>
                </a:cubicBezTo>
                <a:cubicBezTo>
                  <a:pt x="196" y="180"/>
                  <a:pt x="196" y="180"/>
                  <a:pt x="196" y="180"/>
                </a:cubicBezTo>
                <a:cubicBezTo>
                  <a:pt x="196" y="180"/>
                  <a:pt x="196" y="180"/>
                  <a:pt x="196" y="180"/>
                </a:cubicBezTo>
                <a:cubicBezTo>
                  <a:pt x="196" y="180"/>
                  <a:pt x="196" y="180"/>
                  <a:pt x="196" y="180"/>
                </a:cubicBezTo>
                <a:cubicBezTo>
                  <a:pt x="196" y="180"/>
                  <a:pt x="196" y="182"/>
                  <a:pt x="196" y="182"/>
                </a:cubicBezTo>
                <a:cubicBezTo>
                  <a:pt x="196" y="182"/>
                  <a:pt x="198" y="182"/>
                  <a:pt x="198" y="182"/>
                </a:cubicBezTo>
                <a:cubicBezTo>
                  <a:pt x="199" y="181"/>
                  <a:pt x="199" y="181"/>
                  <a:pt x="199" y="181"/>
                </a:cubicBezTo>
                <a:cubicBezTo>
                  <a:pt x="201" y="181"/>
                  <a:pt x="201" y="181"/>
                  <a:pt x="201" y="181"/>
                </a:cubicBezTo>
                <a:cubicBezTo>
                  <a:pt x="203" y="182"/>
                  <a:pt x="203" y="182"/>
                  <a:pt x="203" y="182"/>
                </a:cubicBezTo>
                <a:cubicBezTo>
                  <a:pt x="204" y="181"/>
                  <a:pt x="204" y="181"/>
                  <a:pt x="204" y="181"/>
                </a:cubicBezTo>
                <a:cubicBezTo>
                  <a:pt x="204" y="180"/>
                  <a:pt x="204" y="180"/>
                  <a:pt x="204" y="180"/>
                </a:cubicBezTo>
                <a:cubicBezTo>
                  <a:pt x="204" y="180"/>
                  <a:pt x="204" y="180"/>
                  <a:pt x="204" y="180"/>
                </a:cubicBezTo>
                <a:cubicBezTo>
                  <a:pt x="204" y="179"/>
                  <a:pt x="204" y="179"/>
                  <a:pt x="204" y="179"/>
                </a:cubicBezTo>
                <a:cubicBezTo>
                  <a:pt x="207" y="177"/>
                  <a:pt x="207" y="177"/>
                  <a:pt x="207" y="177"/>
                </a:cubicBezTo>
                <a:cubicBezTo>
                  <a:pt x="209" y="176"/>
                  <a:pt x="209" y="176"/>
                  <a:pt x="209" y="176"/>
                </a:cubicBezTo>
                <a:cubicBezTo>
                  <a:pt x="210" y="176"/>
                  <a:pt x="210" y="176"/>
                  <a:pt x="210" y="176"/>
                </a:cubicBezTo>
                <a:cubicBezTo>
                  <a:pt x="211" y="175"/>
                  <a:pt x="211" y="175"/>
                  <a:pt x="211" y="175"/>
                </a:cubicBezTo>
                <a:cubicBezTo>
                  <a:pt x="211" y="174"/>
                  <a:pt x="211" y="174"/>
                  <a:pt x="211" y="174"/>
                </a:cubicBezTo>
                <a:cubicBezTo>
                  <a:pt x="209" y="172"/>
                  <a:pt x="209" y="172"/>
                  <a:pt x="209" y="172"/>
                </a:cubicBezTo>
                <a:cubicBezTo>
                  <a:pt x="210" y="170"/>
                  <a:pt x="210" y="170"/>
                  <a:pt x="210" y="170"/>
                </a:cubicBezTo>
                <a:cubicBezTo>
                  <a:pt x="211" y="169"/>
                  <a:pt x="211" y="169"/>
                  <a:pt x="211" y="169"/>
                </a:cubicBezTo>
                <a:cubicBezTo>
                  <a:pt x="211" y="168"/>
                  <a:pt x="211" y="168"/>
                  <a:pt x="211" y="168"/>
                </a:cubicBezTo>
                <a:cubicBezTo>
                  <a:pt x="212" y="167"/>
                  <a:pt x="212" y="167"/>
                  <a:pt x="212" y="167"/>
                </a:cubicBezTo>
                <a:cubicBezTo>
                  <a:pt x="213" y="167"/>
                  <a:pt x="213" y="167"/>
                  <a:pt x="213" y="167"/>
                </a:cubicBezTo>
                <a:cubicBezTo>
                  <a:pt x="213" y="165"/>
                  <a:pt x="213" y="165"/>
                  <a:pt x="213" y="165"/>
                </a:cubicBezTo>
                <a:cubicBezTo>
                  <a:pt x="213" y="165"/>
                  <a:pt x="213" y="165"/>
                  <a:pt x="213" y="165"/>
                </a:cubicBezTo>
                <a:cubicBezTo>
                  <a:pt x="214" y="162"/>
                  <a:pt x="214" y="162"/>
                  <a:pt x="214" y="162"/>
                </a:cubicBezTo>
                <a:cubicBezTo>
                  <a:pt x="217" y="160"/>
                  <a:pt x="217" y="160"/>
                  <a:pt x="217" y="160"/>
                </a:cubicBezTo>
                <a:cubicBezTo>
                  <a:pt x="217" y="158"/>
                  <a:pt x="217" y="158"/>
                  <a:pt x="217" y="158"/>
                </a:cubicBezTo>
                <a:cubicBezTo>
                  <a:pt x="216" y="154"/>
                  <a:pt x="216" y="154"/>
                  <a:pt x="216" y="154"/>
                </a:cubicBezTo>
                <a:cubicBezTo>
                  <a:pt x="216" y="154"/>
                  <a:pt x="216" y="154"/>
                  <a:pt x="216" y="154"/>
                </a:cubicBezTo>
                <a:cubicBezTo>
                  <a:pt x="217" y="151"/>
                  <a:pt x="217" y="151"/>
                  <a:pt x="217" y="151"/>
                </a:cubicBezTo>
                <a:cubicBezTo>
                  <a:pt x="217" y="150"/>
                  <a:pt x="217" y="150"/>
                  <a:pt x="217" y="150"/>
                </a:cubicBezTo>
                <a:cubicBezTo>
                  <a:pt x="218" y="149"/>
                  <a:pt x="218" y="149"/>
                  <a:pt x="218" y="149"/>
                </a:cubicBezTo>
                <a:cubicBezTo>
                  <a:pt x="219" y="148"/>
                  <a:pt x="219" y="148"/>
                  <a:pt x="219" y="148"/>
                </a:cubicBezTo>
                <a:cubicBezTo>
                  <a:pt x="220" y="147"/>
                  <a:pt x="220" y="147"/>
                  <a:pt x="220" y="147"/>
                </a:cubicBezTo>
                <a:cubicBezTo>
                  <a:pt x="219" y="145"/>
                  <a:pt x="219" y="145"/>
                  <a:pt x="219" y="145"/>
                </a:cubicBezTo>
                <a:cubicBezTo>
                  <a:pt x="220" y="142"/>
                  <a:pt x="220" y="142"/>
                  <a:pt x="220" y="142"/>
                </a:cubicBezTo>
                <a:cubicBezTo>
                  <a:pt x="220" y="140"/>
                  <a:pt x="220" y="140"/>
                  <a:pt x="220" y="140"/>
                </a:cubicBezTo>
                <a:cubicBezTo>
                  <a:pt x="220" y="138"/>
                  <a:pt x="220" y="138"/>
                  <a:pt x="220" y="138"/>
                </a:cubicBezTo>
                <a:cubicBezTo>
                  <a:pt x="220" y="137"/>
                  <a:pt x="220" y="137"/>
                  <a:pt x="220" y="137"/>
                </a:cubicBezTo>
                <a:cubicBezTo>
                  <a:pt x="221" y="135"/>
                  <a:pt x="221" y="135"/>
                  <a:pt x="221" y="135"/>
                </a:cubicBezTo>
                <a:cubicBezTo>
                  <a:pt x="220" y="127"/>
                  <a:pt x="220" y="127"/>
                  <a:pt x="220" y="127"/>
                </a:cubicBezTo>
                <a:cubicBezTo>
                  <a:pt x="220" y="125"/>
                  <a:pt x="220" y="125"/>
                  <a:pt x="220" y="125"/>
                </a:cubicBezTo>
                <a:cubicBezTo>
                  <a:pt x="221" y="124"/>
                  <a:pt x="221" y="124"/>
                  <a:pt x="221" y="124"/>
                </a:cubicBezTo>
                <a:cubicBezTo>
                  <a:pt x="221" y="123"/>
                  <a:pt x="221" y="123"/>
                  <a:pt x="221" y="123"/>
                </a:cubicBezTo>
                <a:cubicBezTo>
                  <a:pt x="220" y="123"/>
                  <a:pt x="220" y="123"/>
                  <a:pt x="220" y="123"/>
                </a:cubicBezTo>
                <a:cubicBezTo>
                  <a:pt x="219" y="123"/>
                  <a:pt x="219" y="123"/>
                  <a:pt x="219" y="123"/>
                </a:cubicBezTo>
                <a:cubicBezTo>
                  <a:pt x="219" y="122"/>
                  <a:pt x="219" y="122"/>
                  <a:pt x="219" y="122"/>
                </a:cubicBezTo>
                <a:cubicBezTo>
                  <a:pt x="220" y="120"/>
                  <a:pt x="220" y="120"/>
                  <a:pt x="220" y="120"/>
                </a:cubicBezTo>
                <a:cubicBezTo>
                  <a:pt x="220" y="119"/>
                  <a:pt x="220" y="119"/>
                  <a:pt x="220" y="119"/>
                </a:cubicBezTo>
                <a:cubicBezTo>
                  <a:pt x="220" y="118"/>
                  <a:pt x="220" y="118"/>
                  <a:pt x="220" y="118"/>
                </a:cubicBezTo>
                <a:cubicBezTo>
                  <a:pt x="221" y="118"/>
                  <a:pt x="221" y="118"/>
                  <a:pt x="221" y="118"/>
                </a:cubicBezTo>
                <a:cubicBezTo>
                  <a:pt x="221" y="116"/>
                  <a:pt x="221" y="116"/>
                  <a:pt x="221" y="116"/>
                </a:cubicBezTo>
                <a:cubicBezTo>
                  <a:pt x="220" y="115"/>
                  <a:pt x="220" y="115"/>
                  <a:pt x="220" y="115"/>
                </a:cubicBezTo>
                <a:cubicBezTo>
                  <a:pt x="218" y="114"/>
                  <a:pt x="218" y="114"/>
                  <a:pt x="218" y="114"/>
                </a:cubicBezTo>
                <a:cubicBezTo>
                  <a:pt x="219" y="114"/>
                  <a:pt x="219" y="114"/>
                  <a:pt x="219" y="114"/>
                </a:cubicBezTo>
                <a:cubicBezTo>
                  <a:pt x="219" y="113"/>
                  <a:pt x="219" y="113"/>
                  <a:pt x="219" y="113"/>
                </a:cubicBezTo>
                <a:cubicBezTo>
                  <a:pt x="219" y="114"/>
                  <a:pt x="219" y="114"/>
                  <a:pt x="219" y="114"/>
                </a:cubicBezTo>
                <a:cubicBezTo>
                  <a:pt x="220" y="115"/>
                  <a:pt x="220" y="115"/>
                  <a:pt x="220" y="115"/>
                </a:cubicBezTo>
                <a:cubicBezTo>
                  <a:pt x="221" y="115"/>
                  <a:pt x="221" y="115"/>
                  <a:pt x="221" y="115"/>
                </a:cubicBezTo>
                <a:cubicBezTo>
                  <a:pt x="222" y="114"/>
                  <a:pt x="222" y="114"/>
                  <a:pt x="222" y="114"/>
                </a:cubicBezTo>
                <a:cubicBezTo>
                  <a:pt x="223" y="114"/>
                  <a:pt x="223" y="114"/>
                  <a:pt x="223" y="114"/>
                </a:cubicBezTo>
                <a:cubicBezTo>
                  <a:pt x="223" y="114"/>
                  <a:pt x="223" y="114"/>
                  <a:pt x="223" y="114"/>
                </a:cubicBezTo>
                <a:cubicBezTo>
                  <a:pt x="224" y="115"/>
                  <a:pt x="224" y="115"/>
                  <a:pt x="224" y="115"/>
                </a:cubicBezTo>
                <a:cubicBezTo>
                  <a:pt x="223" y="116"/>
                  <a:pt x="223" y="116"/>
                  <a:pt x="223" y="116"/>
                </a:cubicBezTo>
                <a:cubicBezTo>
                  <a:pt x="222" y="116"/>
                  <a:pt x="222" y="116"/>
                  <a:pt x="222" y="116"/>
                </a:cubicBezTo>
                <a:cubicBezTo>
                  <a:pt x="222" y="117"/>
                  <a:pt x="222" y="117"/>
                  <a:pt x="222" y="117"/>
                </a:cubicBezTo>
                <a:cubicBezTo>
                  <a:pt x="222" y="117"/>
                  <a:pt x="222" y="117"/>
                  <a:pt x="222" y="117"/>
                </a:cubicBezTo>
                <a:cubicBezTo>
                  <a:pt x="224" y="116"/>
                  <a:pt x="224" y="116"/>
                  <a:pt x="224" y="116"/>
                </a:cubicBezTo>
                <a:cubicBezTo>
                  <a:pt x="225" y="115"/>
                  <a:pt x="225" y="115"/>
                  <a:pt x="225" y="115"/>
                </a:cubicBezTo>
                <a:cubicBezTo>
                  <a:pt x="227" y="112"/>
                  <a:pt x="227" y="112"/>
                  <a:pt x="227" y="112"/>
                </a:cubicBezTo>
                <a:cubicBezTo>
                  <a:pt x="228" y="110"/>
                  <a:pt x="228" y="110"/>
                  <a:pt x="228" y="110"/>
                </a:cubicBezTo>
                <a:cubicBezTo>
                  <a:pt x="229" y="108"/>
                  <a:pt x="229" y="108"/>
                  <a:pt x="229" y="108"/>
                </a:cubicBezTo>
                <a:cubicBezTo>
                  <a:pt x="229" y="107"/>
                  <a:pt x="229" y="107"/>
                  <a:pt x="229" y="107"/>
                </a:cubicBezTo>
                <a:cubicBezTo>
                  <a:pt x="230" y="105"/>
                  <a:pt x="230" y="105"/>
                  <a:pt x="230" y="105"/>
                </a:cubicBezTo>
                <a:cubicBezTo>
                  <a:pt x="231" y="103"/>
                  <a:pt x="231" y="103"/>
                  <a:pt x="231" y="103"/>
                </a:cubicBezTo>
                <a:cubicBezTo>
                  <a:pt x="234" y="101"/>
                  <a:pt x="234" y="101"/>
                  <a:pt x="234" y="101"/>
                </a:cubicBezTo>
                <a:cubicBezTo>
                  <a:pt x="235" y="100"/>
                  <a:pt x="235" y="100"/>
                  <a:pt x="235" y="100"/>
                </a:cubicBezTo>
                <a:cubicBezTo>
                  <a:pt x="236" y="100"/>
                  <a:pt x="236" y="100"/>
                  <a:pt x="236" y="100"/>
                </a:cubicBezTo>
                <a:cubicBezTo>
                  <a:pt x="237" y="99"/>
                  <a:pt x="237" y="99"/>
                  <a:pt x="237" y="99"/>
                </a:cubicBezTo>
                <a:cubicBezTo>
                  <a:pt x="239" y="96"/>
                  <a:pt x="239" y="96"/>
                  <a:pt x="239" y="96"/>
                </a:cubicBezTo>
                <a:cubicBezTo>
                  <a:pt x="242" y="93"/>
                  <a:pt x="242" y="93"/>
                  <a:pt x="242" y="93"/>
                </a:cubicBezTo>
                <a:cubicBezTo>
                  <a:pt x="243" y="92"/>
                  <a:pt x="243" y="92"/>
                  <a:pt x="243" y="92"/>
                </a:cubicBezTo>
                <a:cubicBezTo>
                  <a:pt x="244" y="88"/>
                  <a:pt x="244" y="88"/>
                  <a:pt x="244" y="88"/>
                </a:cubicBezTo>
                <a:cubicBezTo>
                  <a:pt x="244" y="87"/>
                  <a:pt x="244" y="87"/>
                  <a:pt x="244" y="87"/>
                </a:cubicBezTo>
                <a:cubicBezTo>
                  <a:pt x="245" y="86"/>
                  <a:pt x="245" y="86"/>
                  <a:pt x="245" y="86"/>
                </a:cubicBezTo>
                <a:cubicBezTo>
                  <a:pt x="245" y="85"/>
                  <a:pt x="245" y="85"/>
                  <a:pt x="245" y="85"/>
                </a:cubicBezTo>
                <a:cubicBezTo>
                  <a:pt x="244" y="83"/>
                  <a:pt x="244" y="83"/>
                  <a:pt x="244" y="83"/>
                </a:cubicBezTo>
                <a:cubicBezTo>
                  <a:pt x="245" y="82"/>
                  <a:pt x="245" y="82"/>
                  <a:pt x="245" y="82"/>
                </a:cubicBezTo>
                <a:cubicBezTo>
                  <a:pt x="245" y="82"/>
                  <a:pt x="245" y="82"/>
                  <a:pt x="245" y="82"/>
                </a:cubicBezTo>
                <a:cubicBezTo>
                  <a:pt x="245" y="78"/>
                  <a:pt x="245" y="78"/>
                  <a:pt x="245" y="78"/>
                </a:cubicBezTo>
                <a:cubicBezTo>
                  <a:pt x="245" y="78"/>
                  <a:pt x="245" y="78"/>
                  <a:pt x="245" y="78"/>
                </a:cubicBezTo>
                <a:cubicBezTo>
                  <a:pt x="244" y="76"/>
                  <a:pt x="244" y="76"/>
                  <a:pt x="244" y="76"/>
                </a:cubicBezTo>
                <a:cubicBezTo>
                  <a:pt x="242" y="72"/>
                  <a:pt x="242" y="72"/>
                  <a:pt x="242" y="72"/>
                </a:cubicBezTo>
                <a:cubicBezTo>
                  <a:pt x="242" y="70"/>
                  <a:pt x="242" y="70"/>
                  <a:pt x="242" y="70"/>
                </a:cubicBezTo>
                <a:cubicBezTo>
                  <a:pt x="242" y="68"/>
                  <a:pt x="242" y="68"/>
                  <a:pt x="242" y="68"/>
                </a:cubicBezTo>
                <a:cubicBezTo>
                  <a:pt x="238" y="66"/>
                  <a:pt x="238" y="66"/>
                  <a:pt x="238" y="66"/>
                </a:cubicBezTo>
                <a:cubicBezTo>
                  <a:pt x="235" y="66"/>
                  <a:pt x="235" y="66"/>
                  <a:pt x="235" y="66"/>
                </a:cubicBezTo>
                <a:cubicBezTo>
                  <a:pt x="234" y="67"/>
                  <a:pt x="234" y="67"/>
                  <a:pt x="234" y="67"/>
                </a:cubicBezTo>
                <a:cubicBezTo>
                  <a:pt x="232" y="65"/>
                  <a:pt x="232" y="65"/>
                  <a:pt x="232" y="65"/>
                </a:cubicBezTo>
                <a:cubicBezTo>
                  <a:pt x="231" y="65"/>
                  <a:pt x="231" y="65"/>
                  <a:pt x="231" y="65"/>
                </a:cubicBezTo>
                <a:cubicBezTo>
                  <a:pt x="230" y="64"/>
                  <a:pt x="230" y="64"/>
                  <a:pt x="230" y="64"/>
                </a:cubicBezTo>
                <a:cubicBezTo>
                  <a:pt x="228" y="63"/>
                  <a:pt x="228" y="63"/>
                  <a:pt x="228" y="63"/>
                </a:cubicBezTo>
                <a:cubicBezTo>
                  <a:pt x="227" y="62"/>
                  <a:pt x="227" y="62"/>
                  <a:pt x="227" y="62"/>
                </a:cubicBezTo>
                <a:cubicBezTo>
                  <a:pt x="224" y="59"/>
                  <a:pt x="224" y="59"/>
                  <a:pt x="224" y="59"/>
                </a:cubicBezTo>
                <a:cubicBezTo>
                  <a:pt x="222" y="56"/>
                  <a:pt x="222" y="56"/>
                  <a:pt x="222" y="56"/>
                </a:cubicBezTo>
                <a:cubicBezTo>
                  <a:pt x="220" y="56"/>
                  <a:pt x="220" y="56"/>
                  <a:pt x="220" y="56"/>
                </a:cubicBezTo>
                <a:cubicBezTo>
                  <a:pt x="219" y="55"/>
                  <a:pt x="219" y="55"/>
                  <a:pt x="219" y="55"/>
                </a:cubicBezTo>
                <a:cubicBezTo>
                  <a:pt x="218" y="55"/>
                  <a:pt x="218" y="55"/>
                  <a:pt x="218" y="55"/>
                </a:cubicBezTo>
                <a:cubicBezTo>
                  <a:pt x="214" y="52"/>
                  <a:pt x="214" y="52"/>
                  <a:pt x="214" y="52"/>
                </a:cubicBezTo>
                <a:cubicBezTo>
                  <a:pt x="212" y="52"/>
                  <a:pt x="212" y="52"/>
                  <a:pt x="212" y="52"/>
                </a:cubicBezTo>
                <a:cubicBezTo>
                  <a:pt x="210" y="51"/>
                  <a:pt x="210" y="51"/>
                  <a:pt x="210" y="51"/>
                </a:cubicBezTo>
                <a:cubicBezTo>
                  <a:pt x="209" y="52"/>
                  <a:pt x="209" y="52"/>
                  <a:pt x="209" y="52"/>
                </a:cubicBezTo>
                <a:cubicBezTo>
                  <a:pt x="207" y="52"/>
                  <a:pt x="207" y="52"/>
                  <a:pt x="207" y="52"/>
                </a:cubicBezTo>
                <a:cubicBezTo>
                  <a:pt x="206" y="51"/>
                  <a:pt x="206" y="51"/>
                  <a:pt x="206" y="51"/>
                </a:cubicBezTo>
                <a:cubicBezTo>
                  <a:pt x="205" y="52"/>
                  <a:pt x="205" y="52"/>
                  <a:pt x="205" y="52"/>
                </a:cubicBezTo>
                <a:cubicBezTo>
                  <a:pt x="204" y="53"/>
                  <a:pt x="204" y="53"/>
                  <a:pt x="204" y="53"/>
                </a:cubicBezTo>
                <a:cubicBezTo>
                  <a:pt x="204" y="52"/>
                  <a:pt x="204" y="52"/>
                  <a:pt x="204" y="52"/>
                </a:cubicBezTo>
                <a:cubicBezTo>
                  <a:pt x="202" y="51"/>
                  <a:pt x="202" y="51"/>
                  <a:pt x="202" y="51"/>
                </a:cubicBezTo>
                <a:cubicBezTo>
                  <a:pt x="202" y="51"/>
                  <a:pt x="202" y="51"/>
                  <a:pt x="202" y="51"/>
                </a:cubicBezTo>
                <a:cubicBezTo>
                  <a:pt x="201" y="51"/>
                  <a:pt x="201" y="51"/>
                  <a:pt x="201" y="51"/>
                </a:cubicBezTo>
                <a:cubicBezTo>
                  <a:pt x="201" y="51"/>
                  <a:pt x="201" y="51"/>
                  <a:pt x="201" y="51"/>
                </a:cubicBezTo>
                <a:cubicBezTo>
                  <a:pt x="201" y="52"/>
                  <a:pt x="201" y="52"/>
                  <a:pt x="201" y="52"/>
                </a:cubicBezTo>
                <a:cubicBezTo>
                  <a:pt x="200" y="51"/>
                  <a:pt x="200" y="51"/>
                  <a:pt x="200" y="51"/>
                </a:cubicBezTo>
                <a:cubicBezTo>
                  <a:pt x="199" y="51"/>
                  <a:pt x="199" y="51"/>
                  <a:pt x="199" y="51"/>
                </a:cubicBezTo>
                <a:cubicBezTo>
                  <a:pt x="199" y="50"/>
                  <a:pt x="199" y="50"/>
                  <a:pt x="199" y="50"/>
                </a:cubicBezTo>
                <a:cubicBezTo>
                  <a:pt x="199" y="51"/>
                  <a:pt x="199" y="51"/>
                  <a:pt x="199" y="51"/>
                </a:cubicBezTo>
                <a:cubicBezTo>
                  <a:pt x="199" y="51"/>
                  <a:pt x="199" y="51"/>
                  <a:pt x="199" y="51"/>
                </a:cubicBezTo>
                <a:cubicBezTo>
                  <a:pt x="197" y="50"/>
                  <a:pt x="197" y="50"/>
                  <a:pt x="197" y="50"/>
                </a:cubicBezTo>
                <a:cubicBezTo>
                  <a:pt x="196" y="51"/>
                  <a:pt x="196" y="51"/>
                  <a:pt x="196" y="51"/>
                </a:cubicBezTo>
                <a:cubicBezTo>
                  <a:pt x="195" y="50"/>
                  <a:pt x="195" y="50"/>
                  <a:pt x="195" y="50"/>
                </a:cubicBezTo>
                <a:cubicBezTo>
                  <a:pt x="191" y="49"/>
                  <a:pt x="191" y="49"/>
                  <a:pt x="191" y="49"/>
                </a:cubicBezTo>
                <a:cubicBezTo>
                  <a:pt x="190" y="49"/>
                  <a:pt x="190" y="49"/>
                  <a:pt x="190" y="49"/>
                </a:cubicBezTo>
                <a:cubicBezTo>
                  <a:pt x="190" y="49"/>
                  <a:pt x="190" y="49"/>
                  <a:pt x="190" y="49"/>
                </a:cubicBezTo>
                <a:cubicBezTo>
                  <a:pt x="190" y="50"/>
                  <a:pt x="190" y="50"/>
                  <a:pt x="190" y="50"/>
                </a:cubicBezTo>
                <a:cubicBezTo>
                  <a:pt x="190" y="50"/>
                  <a:pt x="190" y="50"/>
                  <a:pt x="190" y="50"/>
                </a:cubicBezTo>
                <a:cubicBezTo>
                  <a:pt x="189" y="50"/>
                  <a:pt x="189" y="50"/>
                  <a:pt x="189" y="50"/>
                </a:cubicBezTo>
                <a:cubicBezTo>
                  <a:pt x="189" y="50"/>
                  <a:pt x="189" y="50"/>
                  <a:pt x="189" y="50"/>
                </a:cubicBezTo>
                <a:cubicBezTo>
                  <a:pt x="188" y="50"/>
                  <a:pt x="188" y="50"/>
                  <a:pt x="188" y="50"/>
                </a:cubicBezTo>
                <a:cubicBezTo>
                  <a:pt x="187" y="51"/>
                  <a:pt x="187" y="51"/>
                  <a:pt x="187" y="51"/>
                </a:cubicBezTo>
                <a:cubicBezTo>
                  <a:pt x="187" y="52"/>
                  <a:pt x="187" y="52"/>
                  <a:pt x="187" y="52"/>
                </a:cubicBezTo>
                <a:cubicBezTo>
                  <a:pt x="187" y="53"/>
                  <a:pt x="187" y="53"/>
                  <a:pt x="187" y="53"/>
                </a:cubicBezTo>
                <a:cubicBezTo>
                  <a:pt x="186" y="52"/>
                  <a:pt x="186" y="52"/>
                  <a:pt x="186" y="52"/>
                </a:cubicBezTo>
                <a:cubicBezTo>
                  <a:pt x="186" y="51"/>
                  <a:pt x="186" y="51"/>
                  <a:pt x="186" y="51"/>
                </a:cubicBezTo>
                <a:cubicBezTo>
                  <a:pt x="185" y="51"/>
                  <a:pt x="185" y="51"/>
                  <a:pt x="185" y="51"/>
                </a:cubicBezTo>
                <a:cubicBezTo>
                  <a:pt x="185" y="53"/>
                  <a:pt x="185" y="53"/>
                  <a:pt x="185" y="53"/>
                </a:cubicBezTo>
                <a:cubicBezTo>
                  <a:pt x="184" y="55"/>
                  <a:pt x="184" y="55"/>
                  <a:pt x="184" y="55"/>
                </a:cubicBezTo>
                <a:cubicBezTo>
                  <a:pt x="184" y="56"/>
                  <a:pt x="184" y="56"/>
                  <a:pt x="184" y="56"/>
                </a:cubicBezTo>
                <a:cubicBezTo>
                  <a:pt x="184" y="55"/>
                  <a:pt x="184" y="55"/>
                  <a:pt x="184" y="55"/>
                </a:cubicBezTo>
                <a:cubicBezTo>
                  <a:pt x="184" y="53"/>
                  <a:pt x="184" y="53"/>
                  <a:pt x="184" y="53"/>
                </a:cubicBezTo>
                <a:cubicBezTo>
                  <a:pt x="184" y="52"/>
                  <a:pt x="184" y="52"/>
                  <a:pt x="184" y="52"/>
                </a:cubicBezTo>
                <a:cubicBezTo>
                  <a:pt x="184" y="50"/>
                  <a:pt x="184" y="50"/>
                  <a:pt x="184" y="50"/>
                </a:cubicBezTo>
                <a:cubicBezTo>
                  <a:pt x="185" y="49"/>
                  <a:pt x="185" y="49"/>
                  <a:pt x="185" y="49"/>
                </a:cubicBezTo>
                <a:cubicBezTo>
                  <a:pt x="185" y="49"/>
                  <a:pt x="185" y="49"/>
                  <a:pt x="185" y="49"/>
                </a:cubicBezTo>
                <a:cubicBezTo>
                  <a:pt x="184" y="49"/>
                  <a:pt x="184" y="49"/>
                  <a:pt x="184" y="49"/>
                </a:cubicBezTo>
                <a:cubicBezTo>
                  <a:pt x="185" y="47"/>
                  <a:pt x="185" y="47"/>
                  <a:pt x="185" y="47"/>
                </a:cubicBezTo>
                <a:cubicBezTo>
                  <a:pt x="183" y="45"/>
                  <a:pt x="183" y="45"/>
                  <a:pt x="183" y="45"/>
                </a:cubicBezTo>
                <a:cubicBezTo>
                  <a:pt x="182" y="44"/>
                  <a:pt x="182" y="44"/>
                  <a:pt x="182" y="44"/>
                </a:cubicBezTo>
                <a:cubicBezTo>
                  <a:pt x="181" y="44"/>
                  <a:pt x="181" y="44"/>
                  <a:pt x="181" y="44"/>
                </a:cubicBezTo>
                <a:cubicBezTo>
                  <a:pt x="180" y="44"/>
                  <a:pt x="180" y="44"/>
                  <a:pt x="180" y="44"/>
                </a:cubicBezTo>
                <a:cubicBezTo>
                  <a:pt x="179" y="45"/>
                  <a:pt x="179" y="45"/>
                  <a:pt x="179" y="45"/>
                </a:cubicBezTo>
                <a:cubicBezTo>
                  <a:pt x="178" y="45"/>
                  <a:pt x="178" y="45"/>
                  <a:pt x="178" y="45"/>
                </a:cubicBezTo>
                <a:cubicBezTo>
                  <a:pt x="178" y="44"/>
                  <a:pt x="178" y="44"/>
                  <a:pt x="178" y="44"/>
                </a:cubicBezTo>
                <a:cubicBezTo>
                  <a:pt x="177" y="44"/>
                  <a:pt x="177" y="44"/>
                  <a:pt x="177" y="44"/>
                </a:cubicBezTo>
                <a:cubicBezTo>
                  <a:pt x="177" y="43"/>
                  <a:pt x="177" y="43"/>
                  <a:pt x="177" y="43"/>
                </a:cubicBezTo>
                <a:cubicBezTo>
                  <a:pt x="176" y="42"/>
                  <a:pt x="176" y="42"/>
                  <a:pt x="176" y="42"/>
                </a:cubicBezTo>
                <a:cubicBezTo>
                  <a:pt x="175" y="42"/>
                  <a:pt x="175" y="42"/>
                  <a:pt x="175" y="42"/>
                </a:cubicBezTo>
                <a:cubicBezTo>
                  <a:pt x="175" y="42"/>
                  <a:pt x="175" y="42"/>
                  <a:pt x="175" y="42"/>
                </a:cubicBezTo>
                <a:cubicBezTo>
                  <a:pt x="174" y="41"/>
                  <a:pt x="174" y="41"/>
                  <a:pt x="174" y="41"/>
                </a:cubicBezTo>
                <a:cubicBezTo>
                  <a:pt x="173" y="42"/>
                  <a:pt x="173" y="42"/>
                  <a:pt x="173" y="42"/>
                </a:cubicBezTo>
                <a:cubicBezTo>
                  <a:pt x="173" y="41"/>
                  <a:pt x="173" y="41"/>
                  <a:pt x="173" y="41"/>
                </a:cubicBezTo>
                <a:cubicBezTo>
                  <a:pt x="173" y="41"/>
                  <a:pt x="173" y="41"/>
                  <a:pt x="173" y="41"/>
                </a:cubicBezTo>
                <a:cubicBezTo>
                  <a:pt x="172" y="40"/>
                  <a:pt x="172" y="40"/>
                  <a:pt x="172" y="40"/>
                </a:cubicBezTo>
                <a:cubicBezTo>
                  <a:pt x="171" y="40"/>
                  <a:pt x="171" y="40"/>
                  <a:pt x="171" y="40"/>
                </a:cubicBezTo>
                <a:cubicBezTo>
                  <a:pt x="170" y="40"/>
                  <a:pt x="170" y="40"/>
                  <a:pt x="170" y="40"/>
                </a:cubicBezTo>
                <a:cubicBezTo>
                  <a:pt x="168" y="39"/>
                  <a:pt x="168" y="39"/>
                  <a:pt x="168" y="39"/>
                </a:cubicBezTo>
                <a:cubicBezTo>
                  <a:pt x="168" y="39"/>
                  <a:pt x="168" y="39"/>
                  <a:pt x="168" y="39"/>
                </a:cubicBezTo>
                <a:cubicBezTo>
                  <a:pt x="167" y="39"/>
                  <a:pt x="167" y="39"/>
                  <a:pt x="167" y="39"/>
                </a:cubicBezTo>
                <a:cubicBezTo>
                  <a:pt x="166" y="39"/>
                  <a:pt x="166" y="39"/>
                  <a:pt x="166" y="39"/>
                </a:cubicBezTo>
                <a:cubicBezTo>
                  <a:pt x="165" y="39"/>
                  <a:pt x="165" y="39"/>
                  <a:pt x="165" y="39"/>
                </a:cubicBezTo>
                <a:cubicBezTo>
                  <a:pt x="165" y="40"/>
                  <a:pt x="165" y="40"/>
                  <a:pt x="165" y="40"/>
                </a:cubicBezTo>
                <a:cubicBezTo>
                  <a:pt x="165" y="40"/>
                  <a:pt x="165" y="40"/>
                  <a:pt x="165" y="40"/>
                </a:cubicBezTo>
                <a:cubicBezTo>
                  <a:pt x="164" y="39"/>
                  <a:pt x="164" y="39"/>
                  <a:pt x="164" y="39"/>
                </a:cubicBezTo>
                <a:cubicBezTo>
                  <a:pt x="163" y="39"/>
                  <a:pt x="163" y="39"/>
                  <a:pt x="163" y="39"/>
                </a:cubicBezTo>
                <a:cubicBezTo>
                  <a:pt x="162" y="39"/>
                  <a:pt x="162" y="39"/>
                  <a:pt x="162" y="39"/>
                </a:cubicBezTo>
                <a:cubicBezTo>
                  <a:pt x="161" y="41"/>
                  <a:pt x="161" y="41"/>
                  <a:pt x="161" y="41"/>
                </a:cubicBezTo>
                <a:cubicBezTo>
                  <a:pt x="161" y="41"/>
                  <a:pt x="161" y="41"/>
                  <a:pt x="161" y="41"/>
                </a:cubicBezTo>
                <a:cubicBezTo>
                  <a:pt x="160" y="43"/>
                  <a:pt x="160" y="43"/>
                  <a:pt x="160" y="43"/>
                </a:cubicBezTo>
                <a:cubicBezTo>
                  <a:pt x="158" y="44"/>
                  <a:pt x="158" y="44"/>
                  <a:pt x="158" y="44"/>
                </a:cubicBezTo>
                <a:cubicBezTo>
                  <a:pt x="156" y="45"/>
                  <a:pt x="156" y="45"/>
                  <a:pt x="156" y="45"/>
                </a:cubicBezTo>
                <a:cubicBezTo>
                  <a:pt x="155" y="46"/>
                  <a:pt x="155" y="46"/>
                  <a:pt x="155" y="46"/>
                </a:cubicBezTo>
                <a:cubicBezTo>
                  <a:pt x="154" y="48"/>
                  <a:pt x="154" y="48"/>
                  <a:pt x="154" y="48"/>
                </a:cubicBezTo>
                <a:cubicBezTo>
                  <a:pt x="154" y="50"/>
                  <a:pt x="154" y="50"/>
                  <a:pt x="154" y="50"/>
                </a:cubicBezTo>
                <a:cubicBezTo>
                  <a:pt x="153" y="51"/>
                  <a:pt x="153" y="51"/>
                  <a:pt x="153" y="51"/>
                </a:cubicBezTo>
                <a:cubicBezTo>
                  <a:pt x="152" y="52"/>
                  <a:pt x="152" y="52"/>
                  <a:pt x="152" y="52"/>
                </a:cubicBezTo>
                <a:cubicBezTo>
                  <a:pt x="152" y="53"/>
                  <a:pt x="152" y="53"/>
                  <a:pt x="152" y="53"/>
                </a:cubicBezTo>
                <a:cubicBezTo>
                  <a:pt x="152" y="54"/>
                  <a:pt x="152" y="54"/>
                  <a:pt x="152" y="54"/>
                </a:cubicBezTo>
                <a:cubicBezTo>
                  <a:pt x="152" y="56"/>
                  <a:pt x="152" y="56"/>
                  <a:pt x="152" y="56"/>
                </a:cubicBezTo>
                <a:cubicBezTo>
                  <a:pt x="152" y="55"/>
                  <a:pt x="152" y="55"/>
                  <a:pt x="152" y="55"/>
                </a:cubicBezTo>
                <a:cubicBezTo>
                  <a:pt x="151" y="53"/>
                  <a:pt x="151" y="53"/>
                  <a:pt x="151" y="53"/>
                </a:cubicBezTo>
                <a:cubicBezTo>
                  <a:pt x="151" y="52"/>
                  <a:pt x="151" y="52"/>
                  <a:pt x="151" y="52"/>
                </a:cubicBezTo>
                <a:cubicBezTo>
                  <a:pt x="152" y="51"/>
                  <a:pt x="152" y="51"/>
                  <a:pt x="152" y="51"/>
                </a:cubicBezTo>
                <a:cubicBezTo>
                  <a:pt x="153" y="50"/>
                  <a:pt x="153" y="50"/>
                  <a:pt x="153" y="50"/>
                </a:cubicBezTo>
                <a:cubicBezTo>
                  <a:pt x="153" y="49"/>
                  <a:pt x="153" y="49"/>
                  <a:pt x="153" y="49"/>
                </a:cubicBezTo>
                <a:cubicBezTo>
                  <a:pt x="153" y="47"/>
                  <a:pt x="153" y="47"/>
                  <a:pt x="153" y="47"/>
                </a:cubicBezTo>
                <a:cubicBezTo>
                  <a:pt x="153" y="46"/>
                  <a:pt x="153" y="46"/>
                  <a:pt x="153" y="46"/>
                </a:cubicBezTo>
                <a:cubicBezTo>
                  <a:pt x="152" y="46"/>
                  <a:pt x="152" y="46"/>
                  <a:pt x="152" y="46"/>
                </a:cubicBezTo>
                <a:cubicBezTo>
                  <a:pt x="151" y="47"/>
                  <a:pt x="151" y="47"/>
                  <a:pt x="151" y="47"/>
                </a:cubicBezTo>
                <a:cubicBezTo>
                  <a:pt x="149" y="47"/>
                  <a:pt x="149" y="47"/>
                  <a:pt x="149" y="47"/>
                </a:cubicBezTo>
                <a:cubicBezTo>
                  <a:pt x="148" y="47"/>
                  <a:pt x="148" y="47"/>
                  <a:pt x="148" y="47"/>
                </a:cubicBezTo>
                <a:cubicBezTo>
                  <a:pt x="147" y="47"/>
                  <a:pt x="147" y="47"/>
                  <a:pt x="147" y="47"/>
                </a:cubicBezTo>
                <a:cubicBezTo>
                  <a:pt x="146" y="46"/>
                  <a:pt x="146" y="46"/>
                  <a:pt x="146" y="46"/>
                </a:cubicBezTo>
                <a:cubicBezTo>
                  <a:pt x="147" y="46"/>
                  <a:pt x="147" y="46"/>
                  <a:pt x="147" y="46"/>
                </a:cubicBezTo>
                <a:cubicBezTo>
                  <a:pt x="148" y="46"/>
                  <a:pt x="148" y="46"/>
                  <a:pt x="148" y="46"/>
                </a:cubicBezTo>
                <a:cubicBezTo>
                  <a:pt x="149" y="45"/>
                  <a:pt x="149" y="45"/>
                  <a:pt x="149" y="45"/>
                </a:cubicBezTo>
                <a:cubicBezTo>
                  <a:pt x="151" y="46"/>
                  <a:pt x="151" y="46"/>
                  <a:pt x="151" y="46"/>
                </a:cubicBezTo>
                <a:cubicBezTo>
                  <a:pt x="152" y="45"/>
                  <a:pt x="152" y="45"/>
                  <a:pt x="152" y="45"/>
                </a:cubicBezTo>
                <a:cubicBezTo>
                  <a:pt x="153" y="44"/>
                  <a:pt x="153" y="44"/>
                  <a:pt x="153" y="44"/>
                </a:cubicBezTo>
                <a:cubicBezTo>
                  <a:pt x="153" y="44"/>
                  <a:pt x="153" y="44"/>
                  <a:pt x="153" y="44"/>
                </a:cubicBezTo>
                <a:cubicBezTo>
                  <a:pt x="154" y="45"/>
                  <a:pt x="154" y="45"/>
                  <a:pt x="154" y="45"/>
                </a:cubicBezTo>
                <a:cubicBezTo>
                  <a:pt x="155" y="44"/>
                  <a:pt x="155" y="44"/>
                  <a:pt x="155" y="44"/>
                </a:cubicBezTo>
                <a:cubicBezTo>
                  <a:pt x="156" y="44"/>
                  <a:pt x="156" y="44"/>
                  <a:pt x="156" y="44"/>
                </a:cubicBezTo>
                <a:cubicBezTo>
                  <a:pt x="157" y="43"/>
                  <a:pt x="157" y="43"/>
                  <a:pt x="157" y="43"/>
                </a:cubicBezTo>
                <a:cubicBezTo>
                  <a:pt x="157" y="42"/>
                  <a:pt x="157" y="42"/>
                  <a:pt x="157" y="42"/>
                </a:cubicBezTo>
                <a:cubicBezTo>
                  <a:pt x="159" y="40"/>
                  <a:pt x="159" y="40"/>
                  <a:pt x="159" y="40"/>
                </a:cubicBezTo>
                <a:cubicBezTo>
                  <a:pt x="159" y="38"/>
                  <a:pt x="159" y="38"/>
                  <a:pt x="159" y="38"/>
                </a:cubicBezTo>
                <a:cubicBezTo>
                  <a:pt x="160" y="37"/>
                  <a:pt x="160" y="37"/>
                  <a:pt x="160" y="37"/>
                </a:cubicBezTo>
                <a:cubicBezTo>
                  <a:pt x="160" y="36"/>
                  <a:pt x="160" y="36"/>
                  <a:pt x="160" y="36"/>
                </a:cubicBezTo>
                <a:cubicBezTo>
                  <a:pt x="158" y="36"/>
                  <a:pt x="158" y="36"/>
                  <a:pt x="158" y="36"/>
                </a:cubicBezTo>
                <a:cubicBezTo>
                  <a:pt x="157" y="35"/>
                  <a:pt x="157" y="35"/>
                  <a:pt x="157" y="35"/>
                </a:cubicBezTo>
                <a:cubicBezTo>
                  <a:pt x="155" y="35"/>
                  <a:pt x="155" y="35"/>
                  <a:pt x="155" y="35"/>
                </a:cubicBezTo>
                <a:cubicBezTo>
                  <a:pt x="154" y="36"/>
                  <a:pt x="154" y="36"/>
                  <a:pt x="154" y="36"/>
                </a:cubicBezTo>
                <a:cubicBezTo>
                  <a:pt x="152" y="36"/>
                  <a:pt x="152" y="36"/>
                  <a:pt x="152" y="36"/>
                </a:cubicBezTo>
                <a:cubicBezTo>
                  <a:pt x="150" y="35"/>
                  <a:pt x="150" y="35"/>
                  <a:pt x="150" y="35"/>
                </a:cubicBezTo>
                <a:cubicBezTo>
                  <a:pt x="148" y="35"/>
                  <a:pt x="148" y="35"/>
                  <a:pt x="148" y="35"/>
                </a:cubicBezTo>
                <a:cubicBezTo>
                  <a:pt x="146" y="37"/>
                  <a:pt x="146" y="37"/>
                  <a:pt x="146" y="37"/>
                </a:cubicBezTo>
                <a:cubicBezTo>
                  <a:pt x="146" y="38"/>
                  <a:pt x="146" y="38"/>
                  <a:pt x="146" y="38"/>
                </a:cubicBezTo>
                <a:cubicBezTo>
                  <a:pt x="147" y="38"/>
                  <a:pt x="147" y="38"/>
                  <a:pt x="147" y="38"/>
                </a:cubicBezTo>
                <a:cubicBezTo>
                  <a:pt x="147" y="39"/>
                  <a:pt x="147" y="39"/>
                  <a:pt x="147" y="39"/>
                </a:cubicBezTo>
                <a:cubicBezTo>
                  <a:pt x="146" y="39"/>
                  <a:pt x="146" y="39"/>
                  <a:pt x="146" y="39"/>
                </a:cubicBezTo>
                <a:cubicBezTo>
                  <a:pt x="146" y="39"/>
                  <a:pt x="146" y="39"/>
                  <a:pt x="146" y="39"/>
                </a:cubicBezTo>
                <a:cubicBezTo>
                  <a:pt x="145" y="40"/>
                  <a:pt x="145" y="40"/>
                  <a:pt x="145" y="40"/>
                </a:cubicBezTo>
                <a:cubicBezTo>
                  <a:pt x="145" y="39"/>
                  <a:pt x="145" y="39"/>
                  <a:pt x="145" y="39"/>
                </a:cubicBezTo>
                <a:cubicBezTo>
                  <a:pt x="144" y="39"/>
                  <a:pt x="144" y="39"/>
                  <a:pt x="144" y="39"/>
                </a:cubicBezTo>
                <a:cubicBezTo>
                  <a:pt x="143" y="39"/>
                  <a:pt x="143" y="39"/>
                  <a:pt x="143" y="39"/>
                </a:cubicBezTo>
                <a:cubicBezTo>
                  <a:pt x="141" y="41"/>
                  <a:pt x="141" y="41"/>
                  <a:pt x="141" y="41"/>
                </a:cubicBezTo>
                <a:cubicBezTo>
                  <a:pt x="139" y="44"/>
                  <a:pt x="139" y="44"/>
                  <a:pt x="139" y="44"/>
                </a:cubicBezTo>
                <a:cubicBezTo>
                  <a:pt x="141" y="42"/>
                  <a:pt x="141" y="42"/>
                  <a:pt x="141" y="42"/>
                </a:cubicBezTo>
                <a:cubicBezTo>
                  <a:pt x="141" y="40"/>
                  <a:pt x="141" y="40"/>
                  <a:pt x="141" y="40"/>
                </a:cubicBezTo>
                <a:cubicBezTo>
                  <a:pt x="141" y="40"/>
                  <a:pt x="141" y="40"/>
                  <a:pt x="141" y="40"/>
                </a:cubicBezTo>
                <a:cubicBezTo>
                  <a:pt x="141" y="39"/>
                  <a:pt x="141" y="39"/>
                  <a:pt x="141" y="39"/>
                </a:cubicBezTo>
                <a:cubicBezTo>
                  <a:pt x="141" y="39"/>
                  <a:pt x="141" y="39"/>
                  <a:pt x="141" y="39"/>
                </a:cubicBezTo>
                <a:cubicBezTo>
                  <a:pt x="139" y="40"/>
                  <a:pt x="139" y="40"/>
                  <a:pt x="139" y="40"/>
                </a:cubicBezTo>
                <a:cubicBezTo>
                  <a:pt x="139" y="41"/>
                  <a:pt x="139" y="41"/>
                  <a:pt x="139" y="41"/>
                </a:cubicBezTo>
                <a:cubicBezTo>
                  <a:pt x="138" y="43"/>
                  <a:pt x="138" y="43"/>
                  <a:pt x="138" y="43"/>
                </a:cubicBezTo>
                <a:cubicBezTo>
                  <a:pt x="137" y="43"/>
                  <a:pt x="137" y="43"/>
                  <a:pt x="137" y="43"/>
                </a:cubicBezTo>
                <a:cubicBezTo>
                  <a:pt x="138" y="42"/>
                  <a:pt x="138" y="42"/>
                  <a:pt x="138" y="42"/>
                </a:cubicBezTo>
                <a:cubicBezTo>
                  <a:pt x="138" y="40"/>
                  <a:pt x="138" y="40"/>
                  <a:pt x="138" y="40"/>
                </a:cubicBezTo>
                <a:cubicBezTo>
                  <a:pt x="141" y="37"/>
                  <a:pt x="141" y="37"/>
                  <a:pt x="141" y="37"/>
                </a:cubicBezTo>
                <a:cubicBezTo>
                  <a:pt x="141" y="35"/>
                  <a:pt x="141" y="35"/>
                  <a:pt x="141" y="35"/>
                </a:cubicBezTo>
                <a:cubicBezTo>
                  <a:pt x="142" y="34"/>
                  <a:pt x="142" y="34"/>
                  <a:pt x="142" y="34"/>
                </a:cubicBezTo>
                <a:cubicBezTo>
                  <a:pt x="143" y="34"/>
                  <a:pt x="143" y="34"/>
                  <a:pt x="143" y="34"/>
                </a:cubicBezTo>
                <a:cubicBezTo>
                  <a:pt x="144" y="33"/>
                  <a:pt x="144" y="33"/>
                  <a:pt x="144" y="33"/>
                </a:cubicBezTo>
                <a:cubicBezTo>
                  <a:pt x="145" y="32"/>
                  <a:pt x="145" y="32"/>
                  <a:pt x="145" y="32"/>
                </a:cubicBezTo>
                <a:cubicBezTo>
                  <a:pt x="147" y="31"/>
                  <a:pt x="147" y="31"/>
                  <a:pt x="147" y="31"/>
                </a:cubicBezTo>
                <a:cubicBezTo>
                  <a:pt x="149" y="28"/>
                  <a:pt x="149" y="28"/>
                  <a:pt x="149" y="28"/>
                </a:cubicBezTo>
                <a:cubicBezTo>
                  <a:pt x="150" y="27"/>
                  <a:pt x="150" y="27"/>
                  <a:pt x="150" y="27"/>
                </a:cubicBezTo>
                <a:cubicBezTo>
                  <a:pt x="150" y="26"/>
                  <a:pt x="150" y="26"/>
                  <a:pt x="150" y="26"/>
                </a:cubicBezTo>
                <a:cubicBezTo>
                  <a:pt x="150" y="26"/>
                  <a:pt x="150" y="26"/>
                  <a:pt x="150" y="26"/>
                </a:cubicBezTo>
                <a:cubicBezTo>
                  <a:pt x="150" y="25"/>
                  <a:pt x="150" y="25"/>
                  <a:pt x="150" y="25"/>
                </a:cubicBezTo>
                <a:cubicBezTo>
                  <a:pt x="150" y="24"/>
                  <a:pt x="150" y="24"/>
                  <a:pt x="150" y="24"/>
                </a:cubicBezTo>
                <a:cubicBezTo>
                  <a:pt x="150" y="23"/>
                  <a:pt x="150" y="23"/>
                  <a:pt x="150" y="23"/>
                </a:cubicBezTo>
                <a:cubicBezTo>
                  <a:pt x="149" y="22"/>
                  <a:pt x="149" y="22"/>
                  <a:pt x="149" y="22"/>
                </a:cubicBezTo>
                <a:cubicBezTo>
                  <a:pt x="148" y="22"/>
                  <a:pt x="148" y="22"/>
                  <a:pt x="148" y="22"/>
                </a:cubicBezTo>
                <a:cubicBezTo>
                  <a:pt x="147" y="23"/>
                  <a:pt x="147" y="23"/>
                  <a:pt x="147" y="23"/>
                </a:cubicBezTo>
                <a:cubicBezTo>
                  <a:pt x="147" y="22"/>
                  <a:pt x="147" y="22"/>
                  <a:pt x="147" y="22"/>
                </a:cubicBezTo>
                <a:cubicBezTo>
                  <a:pt x="146" y="19"/>
                  <a:pt x="146" y="19"/>
                  <a:pt x="146" y="19"/>
                </a:cubicBezTo>
                <a:cubicBezTo>
                  <a:pt x="145" y="16"/>
                  <a:pt x="145" y="16"/>
                  <a:pt x="145" y="16"/>
                </a:cubicBezTo>
                <a:cubicBezTo>
                  <a:pt x="143" y="14"/>
                  <a:pt x="143" y="14"/>
                  <a:pt x="143" y="14"/>
                </a:cubicBezTo>
                <a:cubicBezTo>
                  <a:pt x="142" y="12"/>
                  <a:pt x="142" y="12"/>
                  <a:pt x="142" y="12"/>
                </a:cubicBezTo>
                <a:cubicBezTo>
                  <a:pt x="142" y="10"/>
                  <a:pt x="142" y="10"/>
                  <a:pt x="142" y="10"/>
                </a:cubicBezTo>
                <a:lnTo>
                  <a:pt x="142" y="9"/>
                </a:lnTo>
                <a:close/>
              </a:path>
            </a:pathLst>
          </a:custGeom>
          <a:solidFill>
            <a:srgbClr val="B3B2B2"/>
          </a:solidFill>
          <a:ln>
            <a:solidFill>
              <a:srgbClr val="B3B2B2"/>
            </a:solidFill>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9" name="Freeform 187">
            <a:extLst>
              <a:ext uri="{FF2B5EF4-FFF2-40B4-BE49-F238E27FC236}">
                <a16:creationId xmlns:a16="http://schemas.microsoft.com/office/drawing/2014/main" id="{F53695C5-84B2-F1CC-F43F-739D717FCDEE}"/>
              </a:ext>
            </a:extLst>
          </p:cNvPr>
          <p:cNvSpPr>
            <a:spLocks/>
          </p:cNvSpPr>
          <p:nvPr userDrawn="1"/>
        </p:nvSpPr>
        <p:spPr bwMode="auto">
          <a:xfrm>
            <a:off x="9825983" y="9019456"/>
            <a:ext cx="177788" cy="257176"/>
          </a:xfrm>
          <a:custGeom>
            <a:avLst/>
            <a:gdLst>
              <a:gd name="T0" fmla="*/ 0 w 56"/>
              <a:gd name="T1" fmla="*/ 66 h 81"/>
              <a:gd name="T2" fmla="*/ 0 w 56"/>
              <a:gd name="T3" fmla="*/ 66 h 81"/>
              <a:gd name="T4" fmla="*/ 3 w 56"/>
              <a:gd name="T5" fmla="*/ 69 h 81"/>
              <a:gd name="T6" fmla="*/ 3 w 56"/>
              <a:gd name="T7" fmla="*/ 72 h 81"/>
              <a:gd name="T8" fmla="*/ 3 w 56"/>
              <a:gd name="T9" fmla="*/ 72 h 81"/>
              <a:gd name="T10" fmla="*/ 6 w 56"/>
              <a:gd name="T11" fmla="*/ 75 h 81"/>
              <a:gd name="T12" fmla="*/ 9 w 56"/>
              <a:gd name="T13" fmla="*/ 75 h 81"/>
              <a:gd name="T14" fmla="*/ 12 w 56"/>
              <a:gd name="T15" fmla="*/ 75 h 81"/>
              <a:gd name="T16" fmla="*/ 15 w 56"/>
              <a:gd name="T17" fmla="*/ 72 h 81"/>
              <a:gd name="T18" fmla="*/ 15 w 56"/>
              <a:gd name="T19" fmla="*/ 72 h 81"/>
              <a:gd name="T20" fmla="*/ 15 w 56"/>
              <a:gd name="T21" fmla="*/ 75 h 81"/>
              <a:gd name="T22" fmla="*/ 18 w 56"/>
              <a:gd name="T23" fmla="*/ 75 h 81"/>
              <a:gd name="T24" fmla="*/ 18 w 56"/>
              <a:gd name="T25" fmla="*/ 81 h 81"/>
              <a:gd name="T26" fmla="*/ 22 w 56"/>
              <a:gd name="T27" fmla="*/ 81 h 81"/>
              <a:gd name="T28" fmla="*/ 25 w 56"/>
              <a:gd name="T29" fmla="*/ 78 h 81"/>
              <a:gd name="T30" fmla="*/ 25 w 56"/>
              <a:gd name="T31" fmla="*/ 75 h 81"/>
              <a:gd name="T32" fmla="*/ 28 w 56"/>
              <a:gd name="T33" fmla="*/ 75 h 81"/>
              <a:gd name="T34" fmla="*/ 31 w 56"/>
              <a:gd name="T35" fmla="*/ 75 h 81"/>
              <a:gd name="T36" fmla="*/ 34 w 56"/>
              <a:gd name="T37" fmla="*/ 69 h 81"/>
              <a:gd name="T38" fmla="*/ 37 w 56"/>
              <a:gd name="T39" fmla="*/ 62 h 81"/>
              <a:gd name="T40" fmla="*/ 40 w 56"/>
              <a:gd name="T41" fmla="*/ 56 h 81"/>
              <a:gd name="T42" fmla="*/ 40 w 56"/>
              <a:gd name="T43" fmla="*/ 53 h 81"/>
              <a:gd name="T44" fmla="*/ 43 w 56"/>
              <a:gd name="T45" fmla="*/ 47 h 81"/>
              <a:gd name="T46" fmla="*/ 50 w 56"/>
              <a:gd name="T47" fmla="*/ 40 h 81"/>
              <a:gd name="T48" fmla="*/ 50 w 56"/>
              <a:gd name="T49" fmla="*/ 37 h 81"/>
              <a:gd name="T50" fmla="*/ 50 w 56"/>
              <a:gd name="T51" fmla="*/ 37 h 81"/>
              <a:gd name="T52" fmla="*/ 56 w 56"/>
              <a:gd name="T53" fmla="*/ 31 h 81"/>
              <a:gd name="T54" fmla="*/ 53 w 56"/>
              <a:gd name="T55" fmla="*/ 28 h 81"/>
              <a:gd name="T56" fmla="*/ 50 w 56"/>
              <a:gd name="T57" fmla="*/ 25 h 81"/>
              <a:gd name="T58" fmla="*/ 50 w 56"/>
              <a:gd name="T59" fmla="*/ 25 h 81"/>
              <a:gd name="T60" fmla="*/ 47 w 56"/>
              <a:gd name="T61" fmla="*/ 22 h 81"/>
              <a:gd name="T62" fmla="*/ 47 w 56"/>
              <a:gd name="T63" fmla="*/ 19 h 81"/>
              <a:gd name="T64" fmla="*/ 40 w 56"/>
              <a:gd name="T65" fmla="*/ 12 h 81"/>
              <a:gd name="T66" fmla="*/ 37 w 56"/>
              <a:gd name="T67" fmla="*/ 12 h 81"/>
              <a:gd name="T68" fmla="*/ 34 w 56"/>
              <a:gd name="T69" fmla="*/ 9 h 81"/>
              <a:gd name="T70" fmla="*/ 22 w 56"/>
              <a:gd name="T71" fmla="*/ 6 h 81"/>
              <a:gd name="T72" fmla="*/ 18 w 56"/>
              <a:gd name="T73" fmla="*/ 3 h 81"/>
              <a:gd name="T74" fmla="*/ 12 w 56"/>
              <a:gd name="T75" fmla="*/ 0 h 81"/>
              <a:gd name="T76" fmla="*/ 9 w 56"/>
              <a:gd name="T77" fmla="*/ 3 h 81"/>
              <a:gd name="T78" fmla="*/ 3 w 56"/>
              <a:gd name="T79" fmla="*/ 6 h 81"/>
              <a:gd name="T80" fmla="*/ 3 w 56"/>
              <a:gd name="T81" fmla="*/ 6 h 81"/>
              <a:gd name="T82" fmla="*/ 3 w 56"/>
              <a:gd name="T83" fmla="*/ 6 h 81"/>
              <a:gd name="T84" fmla="*/ 3 w 56"/>
              <a:gd name="T85" fmla="*/ 6 h 81"/>
              <a:gd name="T86" fmla="*/ 0 w 56"/>
              <a:gd name="T87" fmla="*/ 12 h 81"/>
              <a:gd name="T88" fmla="*/ 0 w 56"/>
              <a:gd name="T89" fmla="*/ 19 h 81"/>
              <a:gd name="T90" fmla="*/ 0 w 56"/>
              <a:gd name="T91" fmla="*/ 22 h 81"/>
              <a:gd name="T92" fmla="*/ 0 w 56"/>
              <a:gd name="T93" fmla="*/ 25 h 81"/>
              <a:gd name="T94" fmla="*/ 0 w 56"/>
              <a:gd name="T95" fmla="*/ 28 h 81"/>
              <a:gd name="T96" fmla="*/ 3 w 56"/>
              <a:gd name="T97" fmla="*/ 31 h 81"/>
              <a:gd name="T98" fmla="*/ 6 w 56"/>
              <a:gd name="T99" fmla="*/ 34 h 81"/>
              <a:gd name="T100" fmla="*/ 9 w 56"/>
              <a:gd name="T101" fmla="*/ 37 h 81"/>
              <a:gd name="T102" fmla="*/ 9 w 56"/>
              <a:gd name="T103" fmla="*/ 40 h 81"/>
              <a:gd name="T104" fmla="*/ 9 w 56"/>
              <a:gd name="T105" fmla="*/ 44 h 81"/>
              <a:gd name="T106" fmla="*/ 9 w 56"/>
              <a:gd name="T107" fmla="*/ 47 h 81"/>
              <a:gd name="T108" fmla="*/ 6 w 56"/>
              <a:gd name="T109" fmla="*/ 50 h 81"/>
              <a:gd name="T110" fmla="*/ 6 w 56"/>
              <a:gd name="T111" fmla="*/ 56 h 81"/>
              <a:gd name="T112" fmla="*/ 9 w 56"/>
              <a:gd name="T113" fmla="*/ 56 h 81"/>
              <a:gd name="T114" fmla="*/ 6 w 56"/>
              <a:gd name="T115" fmla="*/ 62 h 81"/>
              <a:gd name="T116" fmla="*/ 0 w 56"/>
              <a:gd name="T117" fmla="*/ 66 h 81"/>
              <a:gd name="T118" fmla="*/ 0 w 56"/>
              <a:gd name="T119" fmla="*/ 6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 h="81">
                <a:moveTo>
                  <a:pt x="0" y="66"/>
                </a:moveTo>
                <a:lnTo>
                  <a:pt x="0" y="66"/>
                </a:lnTo>
                <a:lnTo>
                  <a:pt x="3" y="69"/>
                </a:lnTo>
                <a:lnTo>
                  <a:pt x="3" y="72"/>
                </a:lnTo>
                <a:lnTo>
                  <a:pt x="3" y="72"/>
                </a:lnTo>
                <a:lnTo>
                  <a:pt x="6" y="75"/>
                </a:lnTo>
                <a:lnTo>
                  <a:pt x="9" y="75"/>
                </a:lnTo>
                <a:lnTo>
                  <a:pt x="12" y="75"/>
                </a:lnTo>
                <a:lnTo>
                  <a:pt x="15" y="72"/>
                </a:lnTo>
                <a:lnTo>
                  <a:pt x="15" y="72"/>
                </a:lnTo>
                <a:lnTo>
                  <a:pt x="15" y="75"/>
                </a:lnTo>
                <a:lnTo>
                  <a:pt x="18" y="75"/>
                </a:lnTo>
                <a:lnTo>
                  <a:pt x="18" y="81"/>
                </a:lnTo>
                <a:lnTo>
                  <a:pt x="22" y="81"/>
                </a:lnTo>
                <a:lnTo>
                  <a:pt x="25" y="78"/>
                </a:lnTo>
                <a:lnTo>
                  <a:pt x="25" y="75"/>
                </a:lnTo>
                <a:lnTo>
                  <a:pt x="28" y="75"/>
                </a:lnTo>
                <a:lnTo>
                  <a:pt x="31" y="75"/>
                </a:lnTo>
                <a:lnTo>
                  <a:pt x="34" y="69"/>
                </a:lnTo>
                <a:lnTo>
                  <a:pt x="37" y="62"/>
                </a:lnTo>
                <a:lnTo>
                  <a:pt x="40" y="56"/>
                </a:lnTo>
                <a:lnTo>
                  <a:pt x="40" y="53"/>
                </a:lnTo>
                <a:lnTo>
                  <a:pt x="43" y="47"/>
                </a:lnTo>
                <a:lnTo>
                  <a:pt x="50" y="40"/>
                </a:lnTo>
                <a:lnTo>
                  <a:pt x="50" y="37"/>
                </a:lnTo>
                <a:lnTo>
                  <a:pt x="50" y="37"/>
                </a:lnTo>
                <a:lnTo>
                  <a:pt x="56" y="31"/>
                </a:lnTo>
                <a:lnTo>
                  <a:pt x="53" y="28"/>
                </a:lnTo>
                <a:lnTo>
                  <a:pt x="50" y="25"/>
                </a:lnTo>
                <a:lnTo>
                  <a:pt x="50" y="25"/>
                </a:lnTo>
                <a:lnTo>
                  <a:pt x="47" y="22"/>
                </a:lnTo>
                <a:lnTo>
                  <a:pt x="47" y="19"/>
                </a:lnTo>
                <a:lnTo>
                  <a:pt x="40" y="12"/>
                </a:lnTo>
                <a:lnTo>
                  <a:pt x="37" y="12"/>
                </a:lnTo>
                <a:lnTo>
                  <a:pt x="34" y="9"/>
                </a:lnTo>
                <a:lnTo>
                  <a:pt x="22" y="6"/>
                </a:lnTo>
                <a:lnTo>
                  <a:pt x="18" y="3"/>
                </a:lnTo>
                <a:lnTo>
                  <a:pt x="12" y="0"/>
                </a:lnTo>
                <a:lnTo>
                  <a:pt x="9" y="3"/>
                </a:lnTo>
                <a:lnTo>
                  <a:pt x="3" y="6"/>
                </a:lnTo>
                <a:lnTo>
                  <a:pt x="3" y="6"/>
                </a:lnTo>
                <a:lnTo>
                  <a:pt x="3" y="6"/>
                </a:lnTo>
                <a:lnTo>
                  <a:pt x="3" y="6"/>
                </a:lnTo>
                <a:lnTo>
                  <a:pt x="0" y="12"/>
                </a:lnTo>
                <a:lnTo>
                  <a:pt x="0" y="19"/>
                </a:lnTo>
                <a:lnTo>
                  <a:pt x="0" y="22"/>
                </a:lnTo>
                <a:lnTo>
                  <a:pt x="0" y="25"/>
                </a:lnTo>
                <a:lnTo>
                  <a:pt x="0" y="28"/>
                </a:lnTo>
                <a:lnTo>
                  <a:pt x="3" y="31"/>
                </a:lnTo>
                <a:lnTo>
                  <a:pt x="6" y="34"/>
                </a:lnTo>
                <a:lnTo>
                  <a:pt x="9" y="37"/>
                </a:lnTo>
                <a:lnTo>
                  <a:pt x="9" y="40"/>
                </a:lnTo>
                <a:lnTo>
                  <a:pt x="9" y="44"/>
                </a:lnTo>
                <a:lnTo>
                  <a:pt x="9" y="47"/>
                </a:lnTo>
                <a:lnTo>
                  <a:pt x="6" y="50"/>
                </a:lnTo>
                <a:lnTo>
                  <a:pt x="6" y="56"/>
                </a:lnTo>
                <a:lnTo>
                  <a:pt x="9" y="56"/>
                </a:lnTo>
                <a:lnTo>
                  <a:pt x="6" y="62"/>
                </a:lnTo>
                <a:lnTo>
                  <a:pt x="0" y="66"/>
                </a:lnTo>
                <a:lnTo>
                  <a:pt x="0" y="6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0" name="Freeform 188">
            <a:extLst>
              <a:ext uri="{FF2B5EF4-FFF2-40B4-BE49-F238E27FC236}">
                <a16:creationId xmlns:a16="http://schemas.microsoft.com/office/drawing/2014/main" id="{B6CDB116-E5ED-C037-23BB-197483D808DD}"/>
              </a:ext>
            </a:extLst>
          </p:cNvPr>
          <p:cNvSpPr>
            <a:spLocks/>
          </p:cNvSpPr>
          <p:nvPr userDrawn="1"/>
        </p:nvSpPr>
        <p:spPr bwMode="auto">
          <a:xfrm>
            <a:off x="9606924" y="9000407"/>
            <a:ext cx="247634" cy="266702"/>
          </a:xfrm>
          <a:custGeom>
            <a:avLst/>
            <a:gdLst>
              <a:gd name="T0" fmla="*/ 31 w 78"/>
              <a:gd name="T1" fmla="*/ 84 h 84"/>
              <a:gd name="T2" fmla="*/ 34 w 78"/>
              <a:gd name="T3" fmla="*/ 84 h 84"/>
              <a:gd name="T4" fmla="*/ 44 w 78"/>
              <a:gd name="T5" fmla="*/ 84 h 84"/>
              <a:gd name="T6" fmla="*/ 41 w 78"/>
              <a:gd name="T7" fmla="*/ 78 h 84"/>
              <a:gd name="T8" fmla="*/ 37 w 78"/>
              <a:gd name="T9" fmla="*/ 75 h 84"/>
              <a:gd name="T10" fmla="*/ 41 w 78"/>
              <a:gd name="T11" fmla="*/ 68 h 84"/>
              <a:gd name="T12" fmla="*/ 53 w 78"/>
              <a:gd name="T13" fmla="*/ 68 h 84"/>
              <a:gd name="T14" fmla="*/ 62 w 78"/>
              <a:gd name="T15" fmla="*/ 65 h 84"/>
              <a:gd name="T16" fmla="*/ 69 w 78"/>
              <a:gd name="T17" fmla="*/ 72 h 84"/>
              <a:gd name="T18" fmla="*/ 78 w 78"/>
              <a:gd name="T19" fmla="*/ 62 h 84"/>
              <a:gd name="T20" fmla="*/ 75 w 78"/>
              <a:gd name="T21" fmla="*/ 56 h 84"/>
              <a:gd name="T22" fmla="*/ 78 w 78"/>
              <a:gd name="T23" fmla="*/ 50 h 84"/>
              <a:gd name="T24" fmla="*/ 78 w 78"/>
              <a:gd name="T25" fmla="*/ 43 h 84"/>
              <a:gd name="T26" fmla="*/ 72 w 78"/>
              <a:gd name="T27" fmla="*/ 37 h 84"/>
              <a:gd name="T28" fmla="*/ 69 w 78"/>
              <a:gd name="T29" fmla="*/ 31 h 84"/>
              <a:gd name="T30" fmla="*/ 69 w 78"/>
              <a:gd name="T31" fmla="*/ 25 h 84"/>
              <a:gd name="T32" fmla="*/ 72 w 78"/>
              <a:gd name="T33" fmla="*/ 12 h 84"/>
              <a:gd name="T34" fmla="*/ 72 w 78"/>
              <a:gd name="T35" fmla="*/ 12 h 84"/>
              <a:gd name="T36" fmla="*/ 78 w 78"/>
              <a:gd name="T37" fmla="*/ 6 h 84"/>
              <a:gd name="T38" fmla="*/ 66 w 78"/>
              <a:gd name="T39" fmla="*/ 3 h 84"/>
              <a:gd name="T40" fmla="*/ 56 w 78"/>
              <a:gd name="T41" fmla="*/ 0 h 84"/>
              <a:gd name="T42" fmla="*/ 47 w 78"/>
              <a:gd name="T43" fmla="*/ 0 h 84"/>
              <a:gd name="T44" fmla="*/ 31 w 78"/>
              <a:gd name="T45" fmla="*/ 0 h 84"/>
              <a:gd name="T46" fmla="*/ 19 w 78"/>
              <a:gd name="T47" fmla="*/ 3 h 84"/>
              <a:gd name="T48" fmla="*/ 19 w 78"/>
              <a:gd name="T49" fmla="*/ 6 h 84"/>
              <a:gd name="T50" fmla="*/ 16 w 78"/>
              <a:gd name="T51" fmla="*/ 12 h 84"/>
              <a:gd name="T52" fmla="*/ 9 w 78"/>
              <a:gd name="T53" fmla="*/ 18 h 84"/>
              <a:gd name="T54" fmla="*/ 3 w 78"/>
              <a:gd name="T55" fmla="*/ 25 h 84"/>
              <a:gd name="T56" fmla="*/ 0 w 78"/>
              <a:gd name="T57" fmla="*/ 37 h 84"/>
              <a:gd name="T58" fmla="*/ 3 w 78"/>
              <a:gd name="T59" fmla="*/ 40 h 84"/>
              <a:gd name="T60" fmla="*/ 6 w 78"/>
              <a:gd name="T61" fmla="*/ 43 h 84"/>
              <a:gd name="T62" fmla="*/ 9 w 78"/>
              <a:gd name="T63" fmla="*/ 50 h 84"/>
              <a:gd name="T64" fmla="*/ 12 w 78"/>
              <a:gd name="T65" fmla="*/ 53 h 84"/>
              <a:gd name="T66" fmla="*/ 16 w 78"/>
              <a:gd name="T67" fmla="*/ 56 h 84"/>
              <a:gd name="T68" fmla="*/ 19 w 78"/>
              <a:gd name="T69" fmla="*/ 65 h 84"/>
              <a:gd name="T70" fmla="*/ 22 w 78"/>
              <a:gd name="T71" fmla="*/ 72 h 84"/>
              <a:gd name="T72" fmla="*/ 28 w 78"/>
              <a:gd name="T73" fmla="*/ 78 h 84"/>
              <a:gd name="T74" fmla="*/ 28 w 78"/>
              <a:gd name="T75" fmla="*/ 8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84">
                <a:moveTo>
                  <a:pt x="31" y="84"/>
                </a:moveTo>
                <a:lnTo>
                  <a:pt x="31" y="84"/>
                </a:lnTo>
                <a:lnTo>
                  <a:pt x="34" y="84"/>
                </a:lnTo>
                <a:lnTo>
                  <a:pt x="34" y="84"/>
                </a:lnTo>
                <a:lnTo>
                  <a:pt x="37" y="84"/>
                </a:lnTo>
                <a:lnTo>
                  <a:pt x="44" y="84"/>
                </a:lnTo>
                <a:lnTo>
                  <a:pt x="44" y="84"/>
                </a:lnTo>
                <a:lnTo>
                  <a:pt x="41" y="78"/>
                </a:lnTo>
                <a:lnTo>
                  <a:pt x="41" y="78"/>
                </a:lnTo>
                <a:lnTo>
                  <a:pt x="37" y="75"/>
                </a:lnTo>
                <a:lnTo>
                  <a:pt x="37" y="68"/>
                </a:lnTo>
                <a:lnTo>
                  <a:pt x="41" y="68"/>
                </a:lnTo>
                <a:lnTo>
                  <a:pt x="47" y="68"/>
                </a:lnTo>
                <a:lnTo>
                  <a:pt x="53" y="68"/>
                </a:lnTo>
                <a:lnTo>
                  <a:pt x="56" y="65"/>
                </a:lnTo>
                <a:lnTo>
                  <a:pt x="62" y="65"/>
                </a:lnTo>
                <a:lnTo>
                  <a:pt x="66" y="72"/>
                </a:lnTo>
                <a:lnTo>
                  <a:pt x="69" y="72"/>
                </a:lnTo>
                <a:lnTo>
                  <a:pt x="75" y="68"/>
                </a:lnTo>
                <a:lnTo>
                  <a:pt x="78" y="62"/>
                </a:lnTo>
                <a:lnTo>
                  <a:pt x="75" y="62"/>
                </a:lnTo>
                <a:lnTo>
                  <a:pt x="75" y="56"/>
                </a:lnTo>
                <a:lnTo>
                  <a:pt x="78" y="53"/>
                </a:lnTo>
                <a:lnTo>
                  <a:pt x="78" y="50"/>
                </a:lnTo>
                <a:lnTo>
                  <a:pt x="78" y="46"/>
                </a:lnTo>
                <a:lnTo>
                  <a:pt x="78" y="43"/>
                </a:lnTo>
                <a:lnTo>
                  <a:pt x="75" y="40"/>
                </a:lnTo>
                <a:lnTo>
                  <a:pt x="72" y="37"/>
                </a:lnTo>
                <a:lnTo>
                  <a:pt x="69" y="34"/>
                </a:lnTo>
                <a:lnTo>
                  <a:pt x="69" y="31"/>
                </a:lnTo>
                <a:lnTo>
                  <a:pt x="69" y="28"/>
                </a:lnTo>
                <a:lnTo>
                  <a:pt x="69" y="25"/>
                </a:lnTo>
                <a:lnTo>
                  <a:pt x="69" y="18"/>
                </a:lnTo>
                <a:lnTo>
                  <a:pt x="72" y="12"/>
                </a:lnTo>
                <a:lnTo>
                  <a:pt x="72" y="12"/>
                </a:lnTo>
                <a:lnTo>
                  <a:pt x="72" y="12"/>
                </a:lnTo>
                <a:lnTo>
                  <a:pt x="78" y="6"/>
                </a:lnTo>
                <a:lnTo>
                  <a:pt x="78" y="6"/>
                </a:lnTo>
                <a:lnTo>
                  <a:pt x="72" y="3"/>
                </a:lnTo>
                <a:lnTo>
                  <a:pt x="66" y="3"/>
                </a:lnTo>
                <a:lnTo>
                  <a:pt x="59" y="0"/>
                </a:lnTo>
                <a:lnTo>
                  <a:pt x="56" y="0"/>
                </a:lnTo>
                <a:lnTo>
                  <a:pt x="53" y="0"/>
                </a:lnTo>
                <a:lnTo>
                  <a:pt x="47" y="0"/>
                </a:lnTo>
                <a:lnTo>
                  <a:pt x="37" y="3"/>
                </a:lnTo>
                <a:lnTo>
                  <a:pt x="31" y="0"/>
                </a:lnTo>
                <a:lnTo>
                  <a:pt x="22" y="0"/>
                </a:lnTo>
                <a:lnTo>
                  <a:pt x="19" y="3"/>
                </a:lnTo>
                <a:lnTo>
                  <a:pt x="19" y="6"/>
                </a:lnTo>
                <a:lnTo>
                  <a:pt x="19" y="6"/>
                </a:lnTo>
                <a:lnTo>
                  <a:pt x="16" y="9"/>
                </a:lnTo>
                <a:lnTo>
                  <a:pt x="16" y="12"/>
                </a:lnTo>
                <a:lnTo>
                  <a:pt x="12" y="15"/>
                </a:lnTo>
                <a:lnTo>
                  <a:pt x="9" y="18"/>
                </a:lnTo>
                <a:lnTo>
                  <a:pt x="6" y="18"/>
                </a:lnTo>
                <a:lnTo>
                  <a:pt x="3" y="25"/>
                </a:lnTo>
                <a:lnTo>
                  <a:pt x="3" y="28"/>
                </a:lnTo>
                <a:lnTo>
                  <a:pt x="0" y="37"/>
                </a:lnTo>
                <a:lnTo>
                  <a:pt x="0" y="37"/>
                </a:lnTo>
                <a:lnTo>
                  <a:pt x="3" y="40"/>
                </a:lnTo>
                <a:lnTo>
                  <a:pt x="6" y="43"/>
                </a:lnTo>
                <a:lnTo>
                  <a:pt x="6" y="43"/>
                </a:lnTo>
                <a:lnTo>
                  <a:pt x="9" y="46"/>
                </a:lnTo>
                <a:lnTo>
                  <a:pt x="9" y="50"/>
                </a:lnTo>
                <a:lnTo>
                  <a:pt x="12" y="53"/>
                </a:lnTo>
                <a:lnTo>
                  <a:pt x="12" y="53"/>
                </a:lnTo>
                <a:lnTo>
                  <a:pt x="16" y="53"/>
                </a:lnTo>
                <a:lnTo>
                  <a:pt x="16" y="56"/>
                </a:lnTo>
                <a:lnTo>
                  <a:pt x="19" y="62"/>
                </a:lnTo>
                <a:lnTo>
                  <a:pt x="19" y="65"/>
                </a:lnTo>
                <a:lnTo>
                  <a:pt x="19" y="68"/>
                </a:lnTo>
                <a:lnTo>
                  <a:pt x="22" y="72"/>
                </a:lnTo>
                <a:lnTo>
                  <a:pt x="22" y="75"/>
                </a:lnTo>
                <a:lnTo>
                  <a:pt x="28" y="78"/>
                </a:lnTo>
                <a:lnTo>
                  <a:pt x="28" y="78"/>
                </a:lnTo>
                <a:lnTo>
                  <a:pt x="28" y="81"/>
                </a:lnTo>
                <a:lnTo>
                  <a:pt x="31" y="8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1" name="Freeform 189">
            <a:extLst>
              <a:ext uri="{FF2B5EF4-FFF2-40B4-BE49-F238E27FC236}">
                <a16:creationId xmlns:a16="http://schemas.microsoft.com/office/drawing/2014/main" id="{24AEFDAE-C9AD-8DDF-5776-3E4357F4E250}"/>
              </a:ext>
            </a:extLst>
          </p:cNvPr>
          <p:cNvSpPr>
            <a:spLocks/>
          </p:cNvSpPr>
          <p:nvPr userDrawn="1"/>
        </p:nvSpPr>
        <p:spPr bwMode="auto">
          <a:xfrm>
            <a:off x="9387860" y="8841659"/>
            <a:ext cx="317481" cy="476250"/>
          </a:xfrm>
          <a:custGeom>
            <a:avLst/>
            <a:gdLst>
              <a:gd name="T0" fmla="*/ 16 w 100"/>
              <a:gd name="T1" fmla="*/ 65 h 150"/>
              <a:gd name="T2" fmla="*/ 22 w 100"/>
              <a:gd name="T3" fmla="*/ 65 h 150"/>
              <a:gd name="T4" fmla="*/ 28 w 100"/>
              <a:gd name="T5" fmla="*/ 71 h 150"/>
              <a:gd name="T6" fmla="*/ 25 w 100"/>
              <a:gd name="T7" fmla="*/ 81 h 150"/>
              <a:gd name="T8" fmla="*/ 28 w 100"/>
              <a:gd name="T9" fmla="*/ 84 h 150"/>
              <a:gd name="T10" fmla="*/ 34 w 100"/>
              <a:gd name="T11" fmla="*/ 87 h 150"/>
              <a:gd name="T12" fmla="*/ 38 w 100"/>
              <a:gd name="T13" fmla="*/ 90 h 150"/>
              <a:gd name="T14" fmla="*/ 34 w 100"/>
              <a:gd name="T15" fmla="*/ 96 h 150"/>
              <a:gd name="T16" fmla="*/ 31 w 100"/>
              <a:gd name="T17" fmla="*/ 106 h 150"/>
              <a:gd name="T18" fmla="*/ 28 w 100"/>
              <a:gd name="T19" fmla="*/ 115 h 150"/>
              <a:gd name="T20" fmla="*/ 28 w 100"/>
              <a:gd name="T21" fmla="*/ 122 h 150"/>
              <a:gd name="T22" fmla="*/ 28 w 100"/>
              <a:gd name="T23" fmla="*/ 128 h 150"/>
              <a:gd name="T24" fmla="*/ 38 w 100"/>
              <a:gd name="T25" fmla="*/ 134 h 150"/>
              <a:gd name="T26" fmla="*/ 41 w 100"/>
              <a:gd name="T27" fmla="*/ 140 h 150"/>
              <a:gd name="T28" fmla="*/ 50 w 100"/>
              <a:gd name="T29" fmla="*/ 150 h 150"/>
              <a:gd name="T30" fmla="*/ 56 w 100"/>
              <a:gd name="T31" fmla="*/ 147 h 150"/>
              <a:gd name="T32" fmla="*/ 59 w 100"/>
              <a:gd name="T33" fmla="*/ 147 h 150"/>
              <a:gd name="T34" fmla="*/ 63 w 100"/>
              <a:gd name="T35" fmla="*/ 140 h 150"/>
              <a:gd name="T36" fmla="*/ 75 w 100"/>
              <a:gd name="T37" fmla="*/ 140 h 150"/>
              <a:gd name="T38" fmla="*/ 81 w 100"/>
              <a:gd name="T39" fmla="*/ 131 h 150"/>
              <a:gd name="T40" fmla="*/ 91 w 100"/>
              <a:gd name="T41" fmla="*/ 134 h 150"/>
              <a:gd name="T42" fmla="*/ 100 w 100"/>
              <a:gd name="T43" fmla="*/ 134 h 150"/>
              <a:gd name="T44" fmla="*/ 97 w 100"/>
              <a:gd name="T45" fmla="*/ 128 h 150"/>
              <a:gd name="T46" fmla="*/ 91 w 100"/>
              <a:gd name="T47" fmla="*/ 125 h 150"/>
              <a:gd name="T48" fmla="*/ 88 w 100"/>
              <a:gd name="T49" fmla="*/ 118 h 150"/>
              <a:gd name="T50" fmla="*/ 88 w 100"/>
              <a:gd name="T51" fmla="*/ 112 h 150"/>
              <a:gd name="T52" fmla="*/ 85 w 100"/>
              <a:gd name="T53" fmla="*/ 103 h 150"/>
              <a:gd name="T54" fmla="*/ 81 w 100"/>
              <a:gd name="T55" fmla="*/ 103 h 150"/>
              <a:gd name="T56" fmla="*/ 78 w 100"/>
              <a:gd name="T57" fmla="*/ 96 h 150"/>
              <a:gd name="T58" fmla="*/ 75 w 100"/>
              <a:gd name="T59" fmla="*/ 93 h 150"/>
              <a:gd name="T60" fmla="*/ 69 w 100"/>
              <a:gd name="T61" fmla="*/ 87 h 150"/>
              <a:gd name="T62" fmla="*/ 72 w 100"/>
              <a:gd name="T63" fmla="*/ 78 h 150"/>
              <a:gd name="T64" fmla="*/ 75 w 100"/>
              <a:gd name="T65" fmla="*/ 68 h 150"/>
              <a:gd name="T66" fmla="*/ 81 w 100"/>
              <a:gd name="T67" fmla="*/ 65 h 150"/>
              <a:gd name="T68" fmla="*/ 85 w 100"/>
              <a:gd name="T69" fmla="*/ 59 h 150"/>
              <a:gd name="T70" fmla="*/ 88 w 100"/>
              <a:gd name="T71" fmla="*/ 56 h 150"/>
              <a:gd name="T72" fmla="*/ 85 w 100"/>
              <a:gd name="T73" fmla="*/ 53 h 150"/>
              <a:gd name="T74" fmla="*/ 85 w 100"/>
              <a:gd name="T75" fmla="*/ 43 h 150"/>
              <a:gd name="T76" fmla="*/ 69 w 100"/>
              <a:gd name="T77" fmla="*/ 37 h 150"/>
              <a:gd name="T78" fmla="*/ 63 w 100"/>
              <a:gd name="T79" fmla="*/ 34 h 150"/>
              <a:gd name="T80" fmla="*/ 56 w 100"/>
              <a:gd name="T81" fmla="*/ 37 h 150"/>
              <a:gd name="T82" fmla="*/ 56 w 100"/>
              <a:gd name="T83" fmla="*/ 37 h 150"/>
              <a:gd name="T84" fmla="*/ 59 w 100"/>
              <a:gd name="T85" fmla="*/ 28 h 150"/>
              <a:gd name="T86" fmla="*/ 53 w 100"/>
              <a:gd name="T87" fmla="*/ 18 h 150"/>
              <a:gd name="T88" fmla="*/ 41 w 100"/>
              <a:gd name="T89" fmla="*/ 9 h 150"/>
              <a:gd name="T90" fmla="*/ 34 w 100"/>
              <a:gd name="T91" fmla="*/ 3 h 150"/>
              <a:gd name="T92" fmla="*/ 31 w 100"/>
              <a:gd name="T93" fmla="*/ 0 h 150"/>
              <a:gd name="T94" fmla="*/ 25 w 100"/>
              <a:gd name="T95" fmla="*/ 9 h 150"/>
              <a:gd name="T96" fmla="*/ 19 w 100"/>
              <a:gd name="T97" fmla="*/ 12 h 150"/>
              <a:gd name="T98" fmla="*/ 13 w 100"/>
              <a:gd name="T99" fmla="*/ 21 h 150"/>
              <a:gd name="T100" fmla="*/ 22 w 100"/>
              <a:gd name="T101" fmla="*/ 25 h 150"/>
              <a:gd name="T102" fmla="*/ 25 w 100"/>
              <a:gd name="T103" fmla="*/ 34 h 150"/>
              <a:gd name="T104" fmla="*/ 13 w 100"/>
              <a:gd name="T105" fmla="*/ 34 h 150"/>
              <a:gd name="T106" fmla="*/ 9 w 100"/>
              <a:gd name="T107" fmla="*/ 34 h 150"/>
              <a:gd name="T108" fmla="*/ 6 w 100"/>
              <a:gd name="T109" fmla="*/ 43 h 150"/>
              <a:gd name="T110" fmla="*/ 3 w 100"/>
              <a:gd name="T111" fmla="*/ 53 h 150"/>
              <a:gd name="T112" fmla="*/ 16 w 100"/>
              <a:gd name="T113" fmla="*/ 6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0" h="150">
                <a:moveTo>
                  <a:pt x="16" y="65"/>
                </a:moveTo>
                <a:lnTo>
                  <a:pt x="16" y="65"/>
                </a:lnTo>
                <a:lnTo>
                  <a:pt x="19" y="68"/>
                </a:lnTo>
                <a:lnTo>
                  <a:pt x="22" y="65"/>
                </a:lnTo>
                <a:lnTo>
                  <a:pt x="25" y="65"/>
                </a:lnTo>
                <a:lnTo>
                  <a:pt x="28" y="71"/>
                </a:lnTo>
                <a:lnTo>
                  <a:pt x="28" y="75"/>
                </a:lnTo>
                <a:lnTo>
                  <a:pt x="25" y="81"/>
                </a:lnTo>
                <a:lnTo>
                  <a:pt x="25" y="81"/>
                </a:lnTo>
                <a:lnTo>
                  <a:pt x="28" y="84"/>
                </a:lnTo>
                <a:lnTo>
                  <a:pt x="31" y="84"/>
                </a:lnTo>
                <a:lnTo>
                  <a:pt x="34" y="87"/>
                </a:lnTo>
                <a:lnTo>
                  <a:pt x="34" y="90"/>
                </a:lnTo>
                <a:lnTo>
                  <a:pt x="38" y="90"/>
                </a:lnTo>
                <a:lnTo>
                  <a:pt x="38" y="90"/>
                </a:lnTo>
                <a:lnTo>
                  <a:pt x="34" y="96"/>
                </a:lnTo>
                <a:lnTo>
                  <a:pt x="34" y="100"/>
                </a:lnTo>
                <a:lnTo>
                  <a:pt x="31" y="106"/>
                </a:lnTo>
                <a:lnTo>
                  <a:pt x="31" y="112"/>
                </a:lnTo>
                <a:lnTo>
                  <a:pt x="28" y="115"/>
                </a:lnTo>
                <a:lnTo>
                  <a:pt x="28" y="118"/>
                </a:lnTo>
                <a:lnTo>
                  <a:pt x="28" y="122"/>
                </a:lnTo>
                <a:lnTo>
                  <a:pt x="28" y="122"/>
                </a:lnTo>
                <a:lnTo>
                  <a:pt x="28" y="128"/>
                </a:lnTo>
                <a:lnTo>
                  <a:pt x="31" y="131"/>
                </a:lnTo>
                <a:lnTo>
                  <a:pt x="38" y="134"/>
                </a:lnTo>
                <a:lnTo>
                  <a:pt x="38" y="137"/>
                </a:lnTo>
                <a:lnTo>
                  <a:pt x="41" y="140"/>
                </a:lnTo>
                <a:lnTo>
                  <a:pt x="47" y="147"/>
                </a:lnTo>
                <a:lnTo>
                  <a:pt x="50" y="150"/>
                </a:lnTo>
                <a:lnTo>
                  <a:pt x="53" y="147"/>
                </a:lnTo>
                <a:lnTo>
                  <a:pt x="56" y="147"/>
                </a:lnTo>
                <a:lnTo>
                  <a:pt x="56" y="147"/>
                </a:lnTo>
                <a:lnTo>
                  <a:pt x="59" y="147"/>
                </a:lnTo>
                <a:lnTo>
                  <a:pt x="63" y="143"/>
                </a:lnTo>
                <a:lnTo>
                  <a:pt x="63" y="140"/>
                </a:lnTo>
                <a:lnTo>
                  <a:pt x="69" y="140"/>
                </a:lnTo>
                <a:lnTo>
                  <a:pt x="75" y="140"/>
                </a:lnTo>
                <a:lnTo>
                  <a:pt x="78" y="134"/>
                </a:lnTo>
                <a:lnTo>
                  <a:pt x="81" y="131"/>
                </a:lnTo>
                <a:lnTo>
                  <a:pt x="88" y="131"/>
                </a:lnTo>
                <a:lnTo>
                  <a:pt x="91" y="134"/>
                </a:lnTo>
                <a:lnTo>
                  <a:pt x="94" y="134"/>
                </a:lnTo>
                <a:lnTo>
                  <a:pt x="100" y="134"/>
                </a:lnTo>
                <a:lnTo>
                  <a:pt x="97" y="131"/>
                </a:lnTo>
                <a:lnTo>
                  <a:pt x="97" y="128"/>
                </a:lnTo>
                <a:lnTo>
                  <a:pt x="97" y="128"/>
                </a:lnTo>
                <a:lnTo>
                  <a:pt x="91" y="125"/>
                </a:lnTo>
                <a:lnTo>
                  <a:pt x="91" y="122"/>
                </a:lnTo>
                <a:lnTo>
                  <a:pt x="88" y="118"/>
                </a:lnTo>
                <a:lnTo>
                  <a:pt x="88" y="115"/>
                </a:lnTo>
                <a:lnTo>
                  <a:pt x="88" y="112"/>
                </a:lnTo>
                <a:lnTo>
                  <a:pt x="85" y="106"/>
                </a:lnTo>
                <a:lnTo>
                  <a:pt x="85" y="103"/>
                </a:lnTo>
                <a:lnTo>
                  <a:pt x="81" y="103"/>
                </a:lnTo>
                <a:lnTo>
                  <a:pt x="81" y="103"/>
                </a:lnTo>
                <a:lnTo>
                  <a:pt x="78" y="100"/>
                </a:lnTo>
                <a:lnTo>
                  <a:pt x="78" y="96"/>
                </a:lnTo>
                <a:lnTo>
                  <a:pt x="75" y="93"/>
                </a:lnTo>
                <a:lnTo>
                  <a:pt x="75" y="93"/>
                </a:lnTo>
                <a:lnTo>
                  <a:pt x="72" y="90"/>
                </a:lnTo>
                <a:lnTo>
                  <a:pt x="69" y="87"/>
                </a:lnTo>
                <a:lnTo>
                  <a:pt x="69" y="87"/>
                </a:lnTo>
                <a:lnTo>
                  <a:pt x="72" y="78"/>
                </a:lnTo>
                <a:lnTo>
                  <a:pt x="72" y="75"/>
                </a:lnTo>
                <a:lnTo>
                  <a:pt x="75" y="68"/>
                </a:lnTo>
                <a:lnTo>
                  <a:pt x="78" y="68"/>
                </a:lnTo>
                <a:lnTo>
                  <a:pt x="81" y="65"/>
                </a:lnTo>
                <a:lnTo>
                  <a:pt x="85" y="62"/>
                </a:lnTo>
                <a:lnTo>
                  <a:pt x="85" y="59"/>
                </a:lnTo>
                <a:lnTo>
                  <a:pt x="88" y="56"/>
                </a:lnTo>
                <a:lnTo>
                  <a:pt x="88" y="56"/>
                </a:lnTo>
                <a:lnTo>
                  <a:pt x="88" y="56"/>
                </a:lnTo>
                <a:lnTo>
                  <a:pt x="85" y="53"/>
                </a:lnTo>
                <a:lnTo>
                  <a:pt x="85" y="46"/>
                </a:lnTo>
                <a:lnTo>
                  <a:pt x="85" y="43"/>
                </a:lnTo>
                <a:lnTo>
                  <a:pt x="75" y="43"/>
                </a:lnTo>
                <a:lnTo>
                  <a:pt x="69" y="37"/>
                </a:lnTo>
                <a:lnTo>
                  <a:pt x="66" y="34"/>
                </a:lnTo>
                <a:lnTo>
                  <a:pt x="63" y="34"/>
                </a:lnTo>
                <a:lnTo>
                  <a:pt x="59" y="34"/>
                </a:lnTo>
                <a:lnTo>
                  <a:pt x="56" y="37"/>
                </a:lnTo>
                <a:lnTo>
                  <a:pt x="56" y="43"/>
                </a:lnTo>
                <a:lnTo>
                  <a:pt x="56" y="37"/>
                </a:lnTo>
                <a:lnTo>
                  <a:pt x="56" y="31"/>
                </a:lnTo>
                <a:lnTo>
                  <a:pt x="59" y="28"/>
                </a:lnTo>
                <a:lnTo>
                  <a:pt x="56" y="21"/>
                </a:lnTo>
                <a:lnTo>
                  <a:pt x="53" y="18"/>
                </a:lnTo>
                <a:lnTo>
                  <a:pt x="44" y="15"/>
                </a:lnTo>
                <a:lnTo>
                  <a:pt x="41" y="9"/>
                </a:lnTo>
                <a:lnTo>
                  <a:pt x="41" y="6"/>
                </a:lnTo>
                <a:lnTo>
                  <a:pt x="34" y="3"/>
                </a:lnTo>
                <a:lnTo>
                  <a:pt x="31" y="0"/>
                </a:lnTo>
                <a:lnTo>
                  <a:pt x="31" y="0"/>
                </a:lnTo>
                <a:lnTo>
                  <a:pt x="31" y="3"/>
                </a:lnTo>
                <a:lnTo>
                  <a:pt x="25" y="9"/>
                </a:lnTo>
                <a:lnTo>
                  <a:pt x="22" y="12"/>
                </a:lnTo>
                <a:lnTo>
                  <a:pt x="19" y="12"/>
                </a:lnTo>
                <a:lnTo>
                  <a:pt x="13" y="18"/>
                </a:lnTo>
                <a:lnTo>
                  <a:pt x="13" y="21"/>
                </a:lnTo>
                <a:lnTo>
                  <a:pt x="16" y="25"/>
                </a:lnTo>
                <a:lnTo>
                  <a:pt x="22" y="25"/>
                </a:lnTo>
                <a:lnTo>
                  <a:pt x="25" y="28"/>
                </a:lnTo>
                <a:lnTo>
                  <a:pt x="25" y="34"/>
                </a:lnTo>
                <a:lnTo>
                  <a:pt x="19" y="34"/>
                </a:lnTo>
                <a:lnTo>
                  <a:pt x="13" y="34"/>
                </a:lnTo>
                <a:lnTo>
                  <a:pt x="13" y="37"/>
                </a:lnTo>
                <a:lnTo>
                  <a:pt x="9" y="34"/>
                </a:lnTo>
                <a:lnTo>
                  <a:pt x="6" y="37"/>
                </a:lnTo>
                <a:lnTo>
                  <a:pt x="6" y="43"/>
                </a:lnTo>
                <a:lnTo>
                  <a:pt x="0" y="46"/>
                </a:lnTo>
                <a:lnTo>
                  <a:pt x="3" y="53"/>
                </a:lnTo>
                <a:lnTo>
                  <a:pt x="6" y="59"/>
                </a:lnTo>
                <a:lnTo>
                  <a:pt x="16" y="65"/>
                </a:lnTo>
                <a:lnTo>
                  <a:pt x="16" y="65"/>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2" name="Freeform 190">
            <a:extLst>
              <a:ext uri="{FF2B5EF4-FFF2-40B4-BE49-F238E27FC236}">
                <a16:creationId xmlns:a16="http://schemas.microsoft.com/office/drawing/2014/main" id="{E89152DC-3D06-CAC3-A46D-764C830B359A}"/>
              </a:ext>
            </a:extLst>
          </p:cNvPr>
          <p:cNvSpPr>
            <a:spLocks noEditPoints="1"/>
          </p:cNvSpPr>
          <p:nvPr userDrawn="1"/>
        </p:nvSpPr>
        <p:spPr bwMode="auto">
          <a:xfrm>
            <a:off x="8654486" y="8581308"/>
            <a:ext cx="831796" cy="765176"/>
          </a:xfrm>
          <a:custGeom>
            <a:avLst/>
            <a:gdLst>
              <a:gd name="T0" fmla="*/ 48 w 84"/>
              <a:gd name="T1" fmla="*/ 77 h 77"/>
              <a:gd name="T2" fmla="*/ 56 w 84"/>
              <a:gd name="T3" fmla="*/ 69 h 77"/>
              <a:gd name="T4" fmla="*/ 59 w 84"/>
              <a:gd name="T5" fmla="*/ 65 h 77"/>
              <a:gd name="T6" fmla="*/ 56 w 84"/>
              <a:gd name="T7" fmla="*/ 58 h 77"/>
              <a:gd name="T8" fmla="*/ 54 w 84"/>
              <a:gd name="T9" fmla="*/ 54 h 77"/>
              <a:gd name="T10" fmla="*/ 63 w 84"/>
              <a:gd name="T11" fmla="*/ 56 h 77"/>
              <a:gd name="T12" fmla="*/ 73 w 84"/>
              <a:gd name="T13" fmla="*/ 52 h 77"/>
              <a:gd name="T14" fmla="*/ 76 w 84"/>
              <a:gd name="T15" fmla="*/ 45 h 77"/>
              <a:gd name="T16" fmla="*/ 77 w 84"/>
              <a:gd name="T17" fmla="*/ 37 h 77"/>
              <a:gd name="T18" fmla="*/ 82 w 84"/>
              <a:gd name="T19" fmla="*/ 35 h 77"/>
              <a:gd name="T20" fmla="*/ 80 w 84"/>
              <a:gd name="T21" fmla="*/ 30 h 77"/>
              <a:gd name="T22" fmla="*/ 84 w 84"/>
              <a:gd name="T23" fmla="*/ 26 h 77"/>
              <a:gd name="T24" fmla="*/ 78 w 84"/>
              <a:gd name="T25" fmla="*/ 25 h 77"/>
              <a:gd name="T26" fmla="*/ 74 w 84"/>
              <a:gd name="T27" fmla="*/ 25 h 77"/>
              <a:gd name="T28" fmla="*/ 77 w 84"/>
              <a:gd name="T29" fmla="*/ 22 h 77"/>
              <a:gd name="T30" fmla="*/ 72 w 84"/>
              <a:gd name="T31" fmla="*/ 19 h 77"/>
              <a:gd name="T32" fmla="*/ 68 w 84"/>
              <a:gd name="T33" fmla="*/ 16 h 77"/>
              <a:gd name="T34" fmla="*/ 65 w 84"/>
              <a:gd name="T35" fmla="*/ 15 h 77"/>
              <a:gd name="T36" fmla="*/ 71 w 84"/>
              <a:gd name="T37" fmla="*/ 13 h 77"/>
              <a:gd name="T38" fmla="*/ 63 w 84"/>
              <a:gd name="T39" fmla="*/ 11 h 77"/>
              <a:gd name="T40" fmla="*/ 55 w 84"/>
              <a:gd name="T41" fmla="*/ 14 h 77"/>
              <a:gd name="T42" fmla="*/ 50 w 84"/>
              <a:gd name="T43" fmla="*/ 16 h 77"/>
              <a:gd name="T44" fmla="*/ 36 w 84"/>
              <a:gd name="T45" fmla="*/ 14 h 77"/>
              <a:gd name="T46" fmla="*/ 33 w 84"/>
              <a:gd name="T47" fmla="*/ 11 h 77"/>
              <a:gd name="T48" fmla="*/ 26 w 84"/>
              <a:gd name="T49" fmla="*/ 7 h 77"/>
              <a:gd name="T50" fmla="*/ 22 w 84"/>
              <a:gd name="T51" fmla="*/ 2 h 77"/>
              <a:gd name="T52" fmla="*/ 19 w 84"/>
              <a:gd name="T53" fmla="*/ 7 h 77"/>
              <a:gd name="T54" fmla="*/ 21 w 84"/>
              <a:gd name="T55" fmla="*/ 8 h 77"/>
              <a:gd name="T56" fmla="*/ 18 w 84"/>
              <a:gd name="T57" fmla="*/ 9 h 77"/>
              <a:gd name="T58" fmla="*/ 12 w 84"/>
              <a:gd name="T59" fmla="*/ 14 h 77"/>
              <a:gd name="T60" fmla="*/ 10 w 84"/>
              <a:gd name="T61" fmla="*/ 23 h 77"/>
              <a:gd name="T62" fmla="*/ 8 w 84"/>
              <a:gd name="T63" fmla="*/ 17 h 77"/>
              <a:gd name="T64" fmla="*/ 10 w 84"/>
              <a:gd name="T65" fmla="*/ 10 h 77"/>
              <a:gd name="T66" fmla="*/ 10 w 84"/>
              <a:gd name="T67" fmla="*/ 6 h 77"/>
              <a:gd name="T68" fmla="*/ 9 w 84"/>
              <a:gd name="T69" fmla="*/ 6 h 77"/>
              <a:gd name="T70" fmla="*/ 3 w 84"/>
              <a:gd name="T71" fmla="*/ 12 h 77"/>
              <a:gd name="T72" fmla="*/ 0 w 84"/>
              <a:gd name="T73" fmla="*/ 21 h 77"/>
              <a:gd name="T74" fmla="*/ 6 w 84"/>
              <a:gd name="T75" fmla="*/ 28 h 77"/>
              <a:gd name="T76" fmla="*/ 5 w 84"/>
              <a:gd name="T77" fmla="*/ 33 h 77"/>
              <a:gd name="T78" fmla="*/ 12 w 84"/>
              <a:gd name="T79" fmla="*/ 35 h 77"/>
              <a:gd name="T80" fmla="*/ 19 w 84"/>
              <a:gd name="T81" fmla="*/ 35 h 77"/>
              <a:gd name="T82" fmla="*/ 28 w 84"/>
              <a:gd name="T83" fmla="*/ 40 h 77"/>
              <a:gd name="T84" fmla="*/ 34 w 84"/>
              <a:gd name="T85" fmla="*/ 41 h 77"/>
              <a:gd name="T86" fmla="*/ 36 w 84"/>
              <a:gd name="T87" fmla="*/ 44 h 77"/>
              <a:gd name="T88" fmla="*/ 34 w 84"/>
              <a:gd name="T89" fmla="*/ 50 h 77"/>
              <a:gd name="T90" fmla="*/ 34 w 84"/>
              <a:gd name="T91" fmla="*/ 56 h 77"/>
              <a:gd name="T92" fmla="*/ 35 w 84"/>
              <a:gd name="T93" fmla="*/ 64 h 77"/>
              <a:gd name="T94" fmla="*/ 37 w 84"/>
              <a:gd name="T95" fmla="*/ 67 h 77"/>
              <a:gd name="T96" fmla="*/ 30 w 84"/>
              <a:gd name="T97" fmla="*/ 2 h 77"/>
              <a:gd name="T98" fmla="*/ 31 w 84"/>
              <a:gd name="T99" fmla="*/ 3 h 77"/>
              <a:gd name="T100" fmla="*/ 28 w 84"/>
              <a:gd name="T101" fmla="*/ 3 h 77"/>
              <a:gd name="T102" fmla="*/ 21 w 84"/>
              <a:gd name="T103" fmla="*/ 1 h 77"/>
              <a:gd name="T104" fmla="*/ 57 w 84"/>
              <a:gd name="T105" fmla="*/ 9 h 77"/>
              <a:gd name="T106" fmla="*/ 58 w 84"/>
              <a:gd name="T107" fmla="*/ 1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 h="77">
                <a:moveTo>
                  <a:pt x="39" y="73"/>
                </a:moveTo>
                <a:cubicBezTo>
                  <a:pt x="41" y="75"/>
                  <a:pt x="41" y="75"/>
                  <a:pt x="41" y="75"/>
                </a:cubicBezTo>
                <a:cubicBezTo>
                  <a:pt x="44" y="77"/>
                  <a:pt x="44" y="77"/>
                  <a:pt x="44" y="77"/>
                </a:cubicBezTo>
                <a:cubicBezTo>
                  <a:pt x="45" y="77"/>
                  <a:pt x="45" y="77"/>
                  <a:pt x="45" y="77"/>
                </a:cubicBezTo>
                <a:cubicBezTo>
                  <a:pt x="48" y="77"/>
                  <a:pt x="48" y="77"/>
                  <a:pt x="48" y="77"/>
                </a:cubicBezTo>
                <a:cubicBezTo>
                  <a:pt x="49" y="75"/>
                  <a:pt x="49" y="75"/>
                  <a:pt x="49" y="75"/>
                </a:cubicBezTo>
                <a:cubicBezTo>
                  <a:pt x="51" y="74"/>
                  <a:pt x="51" y="74"/>
                  <a:pt x="51" y="74"/>
                </a:cubicBezTo>
                <a:cubicBezTo>
                  <a:pt x="52" y="72"/>
                  <a:pt x="52" y="72"/>
                  <a:pt x="52" y="72"/>
                </a:cubicBezTo>
                <a:cubicBezTo>
                  <a:pt x="55" y="71"/>
                  <a:pt x="55" y="71"/>
                  <a:pt x="55" y="71"/>
                </a:cubicBezTo>
                <a:cubicBezTo>
                  <a:pt x="56" y="69"/>
                  <a:pt x="56" y="69"/>
                  <a:pt x="56" y="69"/>
                </a:cubicBezTo>
                <a:cubicBezTo>
                  <a:pt x="57" y="68"/>
                  <a:pt x="57" y="68"/>
                  <a:pt x="57" y="68"/>
                </a:cubicBezTo>
                <a:cubicBezTo>
                  <a:pt x="60" y="67"/>
                  <a:pt x="60" y="67"/>
                  <a:pt x="60" y="67"/>
                </a:cubicBezTo>
                <a:cubicBezTo>
                  <a:pt x="61" y="67"/>
                  <a:pt x="61" y="67"/>
                  <a:pt x="61" y="67"/>
                </a:cubicBezTo>
                <a:cubicBezTo>
                  <a:pt x="61" y="65"/>
                  <a:pt x="61" y="65"/>
                  <a:pt x="61" y="65"/>
                </a:cubicBezTo>
                <a:cubicBezTo>
                  <a:pt x="59" y="65"/>
                  <a:pt x="59" y="65"/>
                  <a:pt x="59" y="65"/>
                </a:cubicBezTo>
                <a:cubicBezTo>
                  <a:pt x="57" y="65"/>
                  <a:pt x="57" y="65"/>
                  <a:pt x="57" y="65"/>
                </a:cubicBezTo>
                <a:cubicBezTo>
                  <a:pt x="55" y="64"/>
                  <a:pt x="55" y="64"/>
                  <a:pt x="55" y="64"/>
                </a:cubicBezTo>
                <a:cubicBezTo>
                  <a:pt x="55" y="62"/>
                  <a:pt x="55" y="62"/>
                  <a:pt x="55" y="62"/>
                </a:cubicBezTo>
                <a:cubicBezTo>
                  <a:pt x="54" y="61"/>
                  <a:pt x="54" y="61"/>
                  <a:pt x="54" y="61"/>
                </a:cubicBezTo>
                <a:cubicBezTo>
                  <a:pt x="56" y="58"/>
                  <a:pt x="56" y="58"/>
                  <a:pt x="56" y="58"/>
                </a:cubicBezTo>
                <a:cubicBezTo>
                  <a:pt x="56" y="57"/>
                  <a:pt x="56" y="57"/>
                  <a:pt x="56" y="57"/>
                </a:cubicBezTo>
                <a:cubicBezTo>
                  <a:pt x="54" y="56"/>
                  <a:pt x="54" y="56"/>
                  <a:pt x="54" y="56"/>
                </a:cubicBezTo>
                <a:cubicBezTo>
                  <a:pt x="53" y="55"/>
                  <a:pt x="53" y="55"/>
                  <a:pt x="53" y="55"/>
                </a:cubicBezTo>
                <a:cubicBezTo>
                  <a:pt x="52" y="54"/>
                  <a:pt x="52" y="54"/>
                  <a:pt x="52" y="54"/>
                </a:cubicBezTo>
                <a:cubicBezTo>
                  <a:pt x="54" y="54"/>
                  <a:pt x="54" y="54"/>
                  <a:pt x="54" y="54"/>
                </a:cubicBezTo>
                <a:cubicBezTo>
                  <a:pt x="56" y="55"/>
                  <a:pt x="56" y="55"/>
                  <a:pt x="56" y="55"/>
                </a:cubicBezTo>
                <a:cubicBezTo>
                  <a:pt x="58" y="56"/>
                  <a:pt x="58" y="56"/>
                  <a:pt x="58" y="56"/>
                </a:cubicBezTo>
                <a:cubicBezTo>
                  <a:pt x="60" y="56"/>
                  <a:pt x="60" y="56"/>
                  <a:pt x="60" y="56"/>
                </a:cubicBezTo>
                <a:cubicBezTo>
                  <a:pt x="63" y="55"/>
                  <a:pt x="63" y="55"/>
                  <a:pt x="63" y="55"/>
                </a:cubicBezTo>
                <a:cubicBezTo>
                  <a:pt x="63" y="56"/>
                  <a:pt x="63" y="56"/>
                  <a:pt x="63" y="56"/>
                </a:cubicBezTo>
                <a:cubicBezTo>
                  <a:pt x="65" y="55"/>
                  <a:pt x="65" y="55"/>
                  <a:pt x="65" y="55"/>
                </a:cubicBezTo>
                <a:cubicBezTo>
                  <a:pt x="67" y="53"/>
                  <a:pt x="67" y="53"/>
                  <a:pt x="67" y="53"/>
                </a:cubicBezTo>
                <a:cubicBezTo>
                  <a:pt x="69" y="53"/>
                  <a:pt x="69" y="53"/>
                  <a:pt x="69" y="53"/>
                </a:cubicBezTo>
                <a:cubicBezTo>
                  <a:pt x="70" y="54"/>
                  <a:pt x="70" y="54"/>
                  <a:pt x="70" y="54"/>
                </a:cubicBezTo>
                <a:cubicBezTo>
                  <a:pt x="73" y="52"/>
                  <a:pt x="73" y="52"/>
                  <a:pt x="73" y="52"/>
                </a:cubicBezTo>
                <a:cubicBezTo>
                  <a:pt x="75" y="52"/>
                  <a:pt x="75" y="52"/>
                  <a:pt x="75" y="52"/>
                </a:cubicBezTo>
                <a:cubicBezTo>
                  <a:pt x="78" y="50"/>
                  <a:pt x="78" y="50"/>
                  <a:pt x="78" y="50"/>
                </a:cubicBezTo>
                <a:cubicBezTo>
                  <a:pt x="79" y="48"/>
                  <a:pt x="79" y="48"/>
                  <a:pt x="79" y="48"/>
                </a:cubicBezTo>
                <a:cubicBezTo>
                  <a:pt x="79" y="47"/>
                  <a:pt x="79" y="47"/>
                  <a:pt x="79" y="47"/>
                </a:cubicBezTo>
                <a:cubicBezTo>
                  <a:pt x="76" y="45"/>
                  <a:pt x="76" y="45"/>
                  <a:pt x="76" y="45"/>
                </a:cubicBezTo>
                <a:cubicBezTo>
                  <a:pt x="75" y="43"/>
                  <a:pt x="75" y="43"/>
                  <a:pt x="75" y="43"/>
                </a:cubicBezTo>
                <a:cubicBezTo>
                  <a:pt x="74" y="41"/>
                  <a:pt x="74" y="41"/>
                  <a:pt x="74" y="41"/>
                </a:cubicBezTo>
                <a:cubicBezTo>
                  <a:pt x="76" y="40"/>
                  <a:pt x="76" y="40"/>
                  <a:pt x="76" y="40"/>
                </a:cubicBezTo>
                <a:cubicBezTo>
                  <a:pt x="76" y="38"/>
                  <a:pt x="76" y="38"/>
                  <a:pt x="76" y="38"/>
                </a:cubicBezTo>
                <a:cubicBezTo>
                  <a:pt x="77" y="37"/>
                  <a:pt x="77" y="37"/>
                  <a:pt x="77" y="37"/>
                </a:cubicBezTo>
                <a:cubicBezTo>
                  <a:pt x="78" y="38"/>
                  <a:pt x="78" y="38"/>
                  <a:pt x="78" y="38"/>
                </a:cubicBezTo>
                <a:cubicBezTo>
                  <a:pt x="78" y="37"/>
                  <a:pt x="78" y="37"/>
                  <a:pt x="78" y="37"/>
                </a:cubicBezTo>
                <a:cubicBezTo>
                  <a:pt x="80" y="37"/>
                  <a:pt x="80" y="37"/>
                  <a:pt x="80" y="37"/>
                </a:cubicBezTo>
                <a:cubicBezTo>
                  <a:pt x="82" y="37"/>
                  <a:pt x="82" y="37"/>
                  <a:pt x="82" y="37"/>
                </a:cubicBezTo>
                <a:cubicBezTo>
                  <a:pt x="82" y="35"/>
                  <a:pt x="82" y="35"/>
                  <a:pt x="82" y="35"/>
                </a:cubicBezTo>
                <a:cubicBezTo>
                  <a:pt x="81" y="34"/>
                  <a:pt x="81" y="34"/>
                  <a:pt x="81" y="34"/>
                </a:cubicBezTo>
                <a:cubicBezTo>
                  <a:pt x="79" y="34"/>
                  <a:pt x="79" y="34"/>
                  <a:pt x="79" y="34"/>
                </a:cubicBezTo>
                <a:cubicBezTo>
                  <a:pt x="78" y="33"/>
                  <a:pt x="78" y="33"/>
                  <a:pt x="78" y="33"/>
                </a:cubicBezTo>
                <a:cubicBezTo>
                  <a:pt x="78" y="32"/>
                  <a:pt x="78" y="32"/>
                  <a:pt x="78" y="32"/>
                </a:cubicBezTo>
                <a:cubicBezTo>
                  <a:pt x="80" y="30"/>
                  <a:pt x="80" y="30"/>
                  <a:pt x="80" y="30"/>
                </a:cubicBezTo>
                <a:cubicBezTo>
                  <a:pt x="81" y="30"/>
                  <a:pt x="81" y="30"/>
                  <a:pt x="81" y="30"/>
                </a:cubicBezTo>
                <a:cubicBezTo>
                  <a:pt x="82" y="29"/>
                  <a:pt x="82" y="29"/>
                  <a:pt x="82" y="29"/>
                </a:cubicBezTo>
                <a:cubicBezTo>
                  <a:pt x="84" y="27"/>
                  <a:pt x="84" y="27"/>
                  <a:pt x="84" y="27"/>
                </a:cubicBezTo>
                <a:cubicBezTo>
                  <a:pt x="84" y="26"/>
                  <a:pt x="84" y="26"/>
                  <a:pt x="84" y="26"/>
                </a:cubicBezTo>
                <a:cubicBezTo>
                  <a:pt x="84" y="26"/>
                  <a:pt x="84" y="26"/>
                  <a:pt x="84" y="26"/>
                </a:cubicBezTo>
                <a:cubicBezTo>
                  <a:pt x="81" y="25"/>
                  <a:pt x="81" y="25"/>
                  <a:pt x="81" y="25"/>
                </a:cubicBezTo>
                <a:cubicBezTo>
                  <a:pt x="80" y="25"/>
                  <a:pt x="80" y="25"/>
                  <a:pt x="80" y="25"/>
                </a:cubicBezTo>
                <a:cubicBezTo>
                  <a:pt x="80" y="25"/>
                  <a:pt x="80" y="25"/>
                  <a:pt x="80" y="25"/>
                </a:cubicBezTo>
                <a:cubicBezTo>
                  <a:pt x="78" y="25"/>
                  <a:pt x="78" y="25"/>
                  <a:pt x="78" y="25"/>
                </a:cubicBezTo>
                <a:cubicBezTo>
                  <a:pt x="78" y="25"/>
                  <a:pt x="78" y="25"/>
                  <a:pt x="78" y="25"/>
                </a:cubicBezTo>
                <a:cubicBezTo>
                  <a:pt x="77" y="25"/>
                  <a:pt x="77" y="25"/>
                  <a:pt x="77" y="25"/>
                </a:cubicBezTo>
                <a:cubicBezTo>
                  <a:pt x="75" y="26"/>
                  <a:pt x="75" y="26"/>
                  <a:pt x="75" y="26"/>
                </a:cubicBezTo>
                <a:cubicBezTo>
                  <a:pt x="73" y="26"/>
                  <a:pt x="73" y="26"/>
                  <a:pt x="73" y="26"/>
                </a:cubicBezTo>
                <a:cubicBezTo>
                  <a:pt x="72" y="26"/>
                  <a:pt x="72" y="26"/>
                  <a:pt x="72" y="26"/>
                </a:cubicBezTo>
                <a:cubicBezTo>
                  <a:pt x="74" y="25"/>
                  <a:pt x="74" y="25"/>
                  <a:pt x="74" y="25"/>
                </a:cubicBezTo>
                <a:cubicBezTo>
                  <a:pt x="74" y="25"/>
                  <a:pt x="74" y="25"/>
                  <a:pt x="74" y="25"/>
                </a:cubicBezTo>
                <a:cubicBezTo>
                  <a:pt x="75" y="25"/>
                  <a:pt x="75" y="25"/>
                  <a:pt x="75" y="25"/>
                </a:cubicBezTo>
                <a:cubicBezTo>
                  <a:pt x="76" y="24"/>
                  <a:pt x="76" y="24"/>
                  <a:pt x="76" y="24"/>
                </a:cubicBezTo>
                <a:cubicBezTo>
                  <a:pt x="77" y="23"/>
                  <a:pt x="77" y="23"/>
                  <a:pt x="77" y="23"/>
                </a:cubicBezTo>
                <a:cubicBezTo>
                  <a:pt x="77" y="22"/>
                  <a:pt x="77" y="22"/>
                  <a:pt x="77" y="22"/>
                </a:cubicBezTo>
                <a:cubicBezTo>
                  <a:pt x="77" y="22"/>
                  <a:pt x="77" y="22"/>
                  <a:pt x="77" y="22"/>
                </a:cubicBezTo>
                <a:cubicBezTo>
                  <a:pt x="77" y="21"/>
                  <a:pt x="77" y="21"/>
                  <a:pt x="77" y="21"/>
                </a:cubicBezTo>
                <a:cubicBezTo>
                  <a:pt x="76" y="20"/>
                  <a:pt x="76" y="20"/>
                  <a:pt x="76" y="20"/>
                </a:cubicBezTo>
                <a:cubicBezTo>
                  <a:pt x="75" y="19"/>
                  <a:pt x="75" y="19"/>
                  <a:pt x="75" y="19"/>
                </a:cubicBezTo>
                <a:cubicBezTo>
                  <a:pt x="72" y="19"/>
                  <a:pt x="72" y="19"/>
                  <a:pt x="72" y="19"/>
                </a:cubicBezTo>
                <a:cubicBezTo>
                  <a:pt x="72" y="18"/>
                  <a:pt x="72" y="18"/>
                  <a:pt x="72" y="18"/>
                </a:cubicBezTo>
                <a:cubicBezTo>
                  <a:pt x="71" y="18"/>
                  <a:pt x="71" y="18"/>
                  <a:pt x="71" y="18"/>
                </a:cubicBezTo>
                <a:cubicBezTo>
                  <a:pt x="70" y="18"/>
                  <a:pt x="70" y="18"/>
                  <a:pt x="70" y="18"/>
                </a:cubicBezTo>
                <a:cubicBezTo>
                  <a:pt x="69" y="17"/>
                  <a:pt x="69" y="17"/>
                  <a:pt x="69" y="17"/>
                </a:cubicBezTo>
                <a:cubicBezTo>
                  <a:pt x="68" y="16"/>
                  <a:pt x="68" y="16"/>
                  <a:pt x="68" y="16"/>
                </a:cubicBezTo>
                <a:cubicBezTo>
                  <a:pt x="67" y="16"/>
                  <a:pt x="67" y="16"/>
                  <a:pt x="67" y="16"/>
                </a:cubicBezTo>
                <a:cubicBezTo>
                  <a:pt x="68" y="18"/>
                  <a:pt x="68" y="18"/>
                  <a:pt x="68" y="18"/>
                </a:cubicBezTo>
                <a:cubicBezTo>
                  <a:pt x="67" y="16"/>
                  <a:pt x="67" y="16"/>
                  <a:pt x="67" y="16"/>
                </a:cubicBezTo>
                <a:cubicBezTo>
                  <a:pt x="66" y="15"/>
                  <a:pt x="66" y="15"/>
                  <a:pt x="66" y="15"/>
                </a:cubicBezTo>
                <a:cubicBezTo>
                  <a:pt x="65" y="15"/>
                  <a:pt x="65" y="15"/>
                  <a:pt x="65" y="15"/>
                </a:cubicBezTo>
                <a:cubicBezTo>
                  <a:pt x="65" y="14"/>
                  <a:pt x="65" y="14"/>
                  <a:pt x="65" y="14"/>
                </a:cubicBezTo>
                <a:cubicBezTo>
                  <a:pt x="65" y="13"/>
                  <a:pt x="65" y="13"/>
                  <a:pt x="65" y="13"/>
                </a:cubicBezTo>
                <a:cubicBezTo>
                  <a:pt x="68" y="13"/>
                  <a:pt x="68" y="13"/>
                  <a:pt x="68" y="13"/>
                </a:cubicBezTo>
                <a:cubicBezTo>
                  <a:pt x="69" y="13"/>
                  <a:pt x="69" y="13"/>
                  <a:pt x="69" y="13"/>
                </a:cubicBezTo>
                <a:cubicBezTo>
                  <a:pt x="71" y="13"/>
                  <a:pt x="71" y="13"/>
                  <a:pt x="71" y="13"/>
                </a:cubicBezTo>
                <a:cubicBezTo>
                  <a:pt x="71" y="12"/>
                  <a:pt x="71" y="12"/>
                  <a:pt x="71" y="12"/>
                </a:cubicBezTo>
                <a:cubicBezTo>
                  <a:pt x="69" y="12"/>
                  <a:pt x="69" y="12"/>
                  <a:pt x="69" y="12"/>
                </a:cubicBezTo>
                <a:cubicBezTo>
                  <a:pt x="67" y="11"/>
                  <a:pt x="67" y="11"/>
                  <a:pt x="67" y="11"/>
                </a:cubicBezTo>
                <a:cubicBezTo>
                  <a:pt x="65" y="12"/>
                  <a:pt x="65" y="12"/>
                  <a:pt x="65" y="12"/>
                </a:cubicBezTo>
                <a:cubicBezTo>
                  <a:pt x="63" y="11"/>
                  <a:pt x="63" y="11"/>
                  <a:pt x="63" y="11"/>
                </a:cubicBezTo>
                <a:cubicBezTo>
                  <a:pt x="60" y="12"/>
                  <a:pt x="60" y="12"/>
                  <a:pt x="60" y="12"/>
                </a:cubicBezTo>
                <a:cubicBezTo>
                  <a:pt x="60" y="12"/>
                  <a:pt x="60" y="12"/>
                  <a:pt x="60" y="12"/>
                </a:cubicBezTo>
                <a:cubicBezTo>
                  <a:pt x="58" y="12"/>
                  <a:pt x="58" y="12"/>
                  <a:pt x="58" y="12"/>
                </a:cubicBezTo>
                <a:cubicBezTo>
                  <a:pt x="56" y="14"/>
                  <a:pt x="56" y="14"/>
                  <a:pt x="56" y="14"/>
                </a:cubicBezTo>
                <a:cubicBezTo>
                  <a:pt x="55" y="14"/>
                  <a:pt x="55" y="14"/>
                  <a:pt x="55" y="14"/>
                </a:cubicBezTo>
                <a:cubicBezTo>
                  <a:pt x="53" y="15"/>
                  <a:pt x="53" y="15"/>
                  <a:pt x="53" y="15"/>
                </a:cubicBezTo>
                <a:cubicBezTo>
                  <a:pt x="53" y="15"/>
                  <a:pt x="53" y="15"/>
                  <a:pt x="53" y="15"/>
                </a:cubicBezTo>
                <a:cubicBezTo>
                  <a:pt x="51" y="16"/>
                  <a:pt x="51" y="16"/>
                  <a:pt x="51" y="16"/>
                </a:cubicBezTo>
                <a:cubicBezTo>
                  <a:pt x="51" y="16"/>
                  <a:pt x="51" y="16"/>
                  <a:pt x="51" y="16"/>
                </a:cubicBezTo>
                <a:cubicBezTo>
                  <a:pt x="50" y="16"/>
                  <a:pt x="50" y="16"/>
                  <a:pt x="50" y="16"/>
                </a:cubicBezTo>
                <a:cubicBezTo>
                  <a:pt x="47" y="14"/>
                  <a:pt x="47" y="14"/>
                  <a:pt x="47" y="14"/>
                </a:cubicBezTo>
                <a:cubicBezTo>
                  <a:pt x="46" y="13"/>
                  <a:pt x="46" y="13"/>
                  <a:pt x="46" y="13"/>
                </a:cubicBezTo>
                <a:cubicBezTo>
                  <a:pt x="45" y="13"/>
                  <a:pt x="45" y="13"/>
                  <a:pt x="45" y="13"/>
                </a:cubicBezTo>
                <a:cubicBezTo>
                  <a:pt x="42" y="13"/>
                  <a:pt x="42" y="13"/>
                  <a:pt x="42" y="13"/>
                </a:cubicBezTo>
                <a:cubicBezTo>
                  <a:pt x="36" y="14"/>
                  <a:pt x="36" y="14"/>
                  <a:pt x="36" y="14"/>
                </a:cubicBezTo>
                <a:cubicBezTo>
                  <a:pt x="34" y="14"/>
                  <a:pt x="34" y="14"/>
                  <a:pt x="34" y="14"/>
                </a:cubicBezTo>
                <a:cubicBezTo>
                  <a:pt x="32" y="13"/>
                  <a:pt x="32" y="13"/>
                  <a:pt x="32" y="13"/>
                </a:cubicBezTo>
                <a:cubicBezTo>
                  <a:pt x="32" y="12"/>
                  <a:pt x="32" y="12"/>
                  <a:pt x="32" y="12"/>
                </a:cubicBezTo>
                <a:cubicBezTo>
                  <a:pt x="32" y="11"/>
                  <a:pt x="32" y="11"/>
                  <a:pt x="32" y="11"/>
                </a:cubicBezTo>
                <a:cubicBezTo>
                  <a:pt x="33" y="11"/>
                  <a:pt x="33" y="11"/>
                  <a:pt x="33" y="11"/>
                </a:cubicBezTo>
                <a:cubicBezTo>
                  <a:pt x="33" y="10"/>
                  <a:pt x="33" y="10"/>
                  <a:pt x="33" y="10"/>
                </a:cubicBezTo>
                <a:cubicBezTo>
                  <a:pt x="31" y="8"/>
                  <a:pt x="31" y="8"/>
                  <a:pt x="31" y="8"/>
                </a:cubicBezTo>
                <a:cubicBezTo>
                  <a:pt x="30" y="8"/>
                  <a:pt x="30" y="8"/>
                  <a:pt x="30" y="8"/>
                </a:cubicBezTo>
                <a:cubicBezTo>
                  <a:pt x="27" y="8"/>
                  <a:pt x="27" y="8"/>
                  <a:pt x="27" y="8"/>
                </a:cubicBezTo>
                <a:cubicBezTo>
                  <a:pt x="26" y="7"/>
                  <a:pt x="26" y="7"/>
                  <a:pt x="26" y="7"/>
                </a:cubicBezTo>
                <a:cubicBezTo>
                  <a:pt x="25" y="7"/>
                  <a:pt x="25" y="7"/>
                  <a:pt x="25" y="7"/>
                </a:cubicBezTo>
                <a:cubicBezTo>
                  <a:pt x="24" y="8"/>
                  <a:pt x="24" y="8"/>
                  <a:pt x="24" y="8"/>
                </a:cubicBezTo>
                <a:cubicBezTo>
                  <a:pt x="23" y="6"/>
                  <a:pt x="23" y="6"/>
                  <a:pt x="23" y="6"/>
                </a:cubicBezTo>
                <a:cubicBezTo>
                  <a:pt x="23" y="4"/>
                  <a:pt x="23" y="4"/>
                  <a:pt x="23" y="4"/>
                </a:cubicBezTo>
                <a:cubicBezTo>
                  <a:pt x="22" y="2"/>
                  <a:pt x="22" y="2"/>
                  <a:pt x="22" y="2"/>
                </a:cubicBezTo>
                <a:cubicBezTo>
                  <a:pt x="22" y="2"/>
                  <a:pt x="22" y="2"/>
                  <a:pt x="22" y="2"/>
                </a:cubicBezTo>
                <a:cubicBezTo>
                  <a:pt x="20" y="3"/>
                  <a:pt x="20" y="3"/>
                  <a:pt x="20" y="3"/>
                </a:cubicBezTo>
                <a:cubicBezTo>
                  <a:pt x="18" y="5"/>
                  <a:pt x="18" y="5"/>
                  <a:pt x="18" y="5"/>
                </a:cubicBezTo>
                <a:cubicBezTo>
                  <a:pt x="19" y="6"/>
                  <a:pt x="19" y="6"/>
                  <a:pt x="19" y="6"/>
                </a:cubicBezTo>
                <a:cubicBezTo>
                  <a:pt x="19" y="7"/>
                  <a:pt x="19" y="7"/>
                  <a:pt x="19" y="7"/>
                </a:cubicBezTo>
                <a:cubicBezTo>
                  <a:pt x="21" y="6"/>
                  <a:pt x="21" y="6"/>
                  <a:pt x="21" y="6"/>
                </a:cubicBezTo>
                <a:cubicBezTo>
                  <a:pt x="22" y="6"/>
                  <a:pt x="22" y="6"/>
                  <a:pt x="22" y="6"/>
                </a:cubicBezTo>
                <a:cubicBezTo>
                  <a:pt x="23" y="7"/>
                  <a:pt x="23" y="7"/>
                  <a:pt x="23" y="7"/>
                </a:cubicBezTo>
                <a:cubicBezTo>
                  <a:pt x="22" y="8"/>
                  <a:pt x="22" y="8"/>
                  <a:pt x="22" y="8"/>
                </a:cubicBezTo>
                <a:cubicBezTo>
                  <a:pt x="21" y="8"/>
                  <a:pt x="21" y="8"/>
                  <a:pt x="21" y="8"/>
                </a:cubicBezTo>
                <a:cubicBezTo>
                  <a:pt x="20" y="8"/>
                  <a:pt x="20" y="8"/>
                  <a:pt x="20" y="8"/>
                </a:cubicBezTo>
                <a:cubicBezTo>
                  <a:pt x="20" y="7"/>
                  <a:pt x="20" y="7"/>
                  <a:pt x="20" y="7"/>
                </a:cubicBezTo>
                <a:cubicBezTo>
                  <a:pt x="19" y="8"/>
                  <a:pt x="19" y="8"/>
                  <a:pt x="19" y="8"/>
                </a:cubicBezTo>
                <a:cubicBezTo>
                  <a:pt x="19" y="8"/>
                  <a:pt x="19" y="8"/>
                  <a:pt x="19" y="8"/>
                </a:cubicBezTo>
                <a:cubicBezTo>
                  <a:pt x="18" y="9"/>
                  <a:pt x="18" y="9"/>
                  <a:pt x="18" y="9"/>
                </a:cubicBezTo>
                <a:cubicBezTo>
                  <a:pt x="15" y="9"/>
                  <a:pt x="15" y="9"/>
                  <a:pt x="15" y="9"/>
                </a:cubicBezTo>
                <a:cubicBezTo>
                  <a:pt x="12" y="11"/>
                  <a:pt x="12" y="11"/>
                  <a:pt x="12" y="11"/>
                </a:cubicBezTo>
                <a:cubicBezTo>
                  <a:pt x="11" y="12"/>
                  <a:pt x="11" y="12"/>
                  <a:pt x="11" y="12"/>
                </a:cubicBezTo>
                <a:cubicBezTo>
                  <a:pt x="11" y="13"/>
                  <a:pt x="11" y="13"/>
                  <a:pt x="11" y="13"/>
                </a:cubicBezTo>
                <a:cubicBezTo>
                  <a:pt x="12" y="14"/>
                  <a:pt x="12" y="14"/>
                  <a:pt x="12" y="14"/>
                </a:cubicBezTo>
                <a:cubicBezTo>
                  <a:pt x="12" y="17"/>
                  <a:pt x="12" y="17"/>
                  <a:pt x="12" y="17"/>
                </a:cubicBezTo>
                <a:cubicBezTo>
                  <a:pt x="12" y="18"/>
                  <a:pt x="12" y="18"/>
                  <a:pt x="12" y="18"/>
                </a:cubicBezTo>
                <a:cubicBezTo>
                  <a:pt x="13" y="20"/>
                  <a:pt x="13" y="20"/>
                  <a:pt x="13" y="20"/>
                </a:cubicBezTo>
                <a:cubicBezTo>
                  <a:pt x="12" y="22"/>
                  <a:pt x="12" y="22"/>
                  <a:pt x="12" y="22"/>
                </a:cubicBezTo>
                <a:cubicBezTo>
                  <a:pt x="10" y="23"/>
                  <a:pt x="10" y="23"/>
                  <a:pt x="10" y="23"/>
                </a:cubicBezTo>
                <a:cubicBezTo>
                  <a:pt x="9" y="23"/>
                  <a:pt x="9" y="23"/>
                  <a:pt x="9" y="23"/>
                </a:cubicBezTo>
                <a:cubicBezTo>
                  <a:pt x="9" y="21"/>
                  <a:pt x="9" y="21"/>
                  <a:pt x="9" y="21"/>
                </a:cubicBezTo>
                <a:cubicBezTo>
                  <a:pt x="7" y="19"/>
                  <a:pt x="7" y="19"/>
                  <a:pt x="7" y="19"/>
                </a:cubicBezTo>
                <a:cubicBezTo>
                  <a:pt x="7" y="18"/>
                  <a:pt x="7" y="18"/>
                  <a:pt x="7" y="18"/>
                </a:cubicBezTo>
                <a:cubicBezTo>
                  <a:pt x="8" y="17"/>
                  <a:pt x="8" y="17"/>
                  <a:pt x="8" y="17"/>
                </a:cubicBezTo>
                <a:cubicBezTo>
                  <a:pt x="8" y="16"/>
                  <a:pt x="8" y="16"/>
                  <a:pt x="8" y="16"/>
                </a:cubicBezTo>
                <a:cubicBezTo>
                  <a:pt x="11" y="14"/>
                  <a:pt x="11" y="14"/>
                  <a:pt x="11" y="14"/>
                </a:cubicBezTo>
                <a:cubicBezTo>
                  <a:pt x="11" y="12"/>
                  <a:pt x="11" y="12"/>
                  <a:pt x="11" y="12"/>
                </a:cubicBezTo>
                <a:cubicBezTo>
                  <a:pt x="10" y="11"/>
                  <a:pt x="10" y="11"/>
                  <a:pt x="10" y="11"/>
                </a:cubicBezTo>
                <a:cubicBezTo>
                  <a:pt x="10" y="10"/>
                  <a:pt x="10" y="10"/>
                  <a:pt x="10" y="10"/>
                </a:cubicBezTo>
                <a:cubicBezTo>
                  <a:pt x="10" y="9"/>
                  <a:pt x="10" y="9"/>
                  <a:pt x="10" y="9"/>
                </a:cubicBezTo>
                <a:cubicBezTo>
                  <a:pt x="9" y="9"/>
                  <a:pt x="9" y="9"/>
                  <a:pt x="9" y="9"/>
                </a:cubicBezTo>
                <a:cubicBezTo>
                  <a:pt x="9" y="8"/>
                  <a:pt x="9" y="8"/>
                  <a:pt x="9" y="8"/>
                </a:cubicBezTo>
                <a:cubicBezTo>
                  <a:pt x="9" y="7"/>
                  <a:pt x="9" y="7"/>
                  <a:pt x="9" y="7"/>
                </a:cubicBezTo>
                <a:cubicBezTo>
                  <a:pt x="10" y="6"/>
                  <a:pt x="10" y="6"/>
                  <a:pt x="10" y="6"/>
                </a:cubicBezTo>
                <a:cubicBezTo>
                  <a:pt x="12" y="6"/>
                  <a:pt x="12" y="6"/>
                  <a:pt x="12" y="6"/>
                </a:cubicBezTo>
                <a:cubicBezTo>
                  <a:pt x="13" y="4"/>
                  <a:pt x="13" y="4"/>
                  <a:pt x="13" y="4"/>
                </a:cubicBezTo>
                <a:cubicBezTo>
                  <a:pt x="12" y="4"/>
                  <a:pt x="12" y="4"/>
                  <a:pt x="12" y="4"/>
                </a:cubicBezTo>
                <a:cubicBezTo>
                  <a:pt x="12" y="4"/>
                  <a:pt x="12" y="4"/>
                  <a:pt x="12" y="4"/>
                </a:cubicBezTo>
                <a:cubicBezTo>
                  <a:pt x="9" y="6"/>
                  <a:pt x="9" y="6"/>
                  <a:pt x="9" y="6"/>
                </a:cubicBezTo>
                <a:cubicBezTo>
                  <a:pt x="7" y="9"/>
                  <a:pt x="7" y="9"/>
                  <a:pt x="7" y="9"/>
                </a:cubicBezTo>
                <a:cubicBezTo>
                  <a:pt x="6" y="9"/>
                  <a:pt x="6" y="9"/>
                  <a:pt x="6" y="9"/>
                </a:cubicBezTo>
                <a:cubicBezTo>
                  <a:pt x="5" y="10"/>
                  <a:pt x="5" y="10"/>
                  <a:pt x="5" y="10"/>
                </a:cubicBezTo>
                <a:cubicBezTo>
                  <a:pt x="4" y="11"/>
                  <a:pt x="4" y="11"/>
                  <a:pt x="4" y="11"/>
                </a:cubicBezTo>
                <a:cubicBezTo>
                  <a:pt x="3" y="12"/>
                  <a:pt x="3" y="12"/>
                  <a:pt x="3" y="12"/>
                </a:cubicBezTo>
                <a:cubicBezTo>
                  <a:pt x="1" y="15"/>
                  <a:pt x="1" y="15"/>
                  <a:pt x="1" y="15"/>
                </a:cubicBezTo>
                <a:cubicBezTo>
                  <a:pt x="1" y="16"/>
                  <a:pt x="1" y="16"/>
                  <a:pt x="1" y="16"/>
                </a:cubicBezTo>
                <a:cubicBezTo>
                  <a:pt x="1" y="17"/>
                  <a:pt x="1" y="17"/>
                  <a:pt x="1" y="17"/>
                </a:cubicBezTo>
                <a:cubicBezTo>
                  <a:pt x="1" y="19"/>
                  <a:pt x="1" y="19"/>
                  <a:pt x="1" y="19"/>
                </a:cubicBezTo>
                <a:cubicBezTo>
                  <a:pt x="0" y="21"/>
                  <a:pt x="0" y="21"/>
                  <a:pt x="0" y="21"/>
                </a:cubicBezTo>
                <a:cubicBezTo>
                  <a:pt x="0" y="22"/>
                  <a:pt x="0" y="22"/>
                  <a:pt x="0" y="22"/>
                </a:cubicBezTo>
                <a:cubicBezTo>
                  <a:pt x="1" y="22"/>
                  <a:pt x="1" y="22"/>
                  <a:pt x="1" y="22"/>
                </a:cubicBezTo>
                <a:cubicBezTo>
                  <a:pt x="2" y="22"/>
                  <a:pt x="2" y="22"/>
                  <a:pt x="2" y="22"/>
                </a:cubicBezTo>
                <a:cubicBezTo>
                  <a:pt x="5" y="26"/>
                  <a:pt x="5" y="26"/>
                  <a:pt x="5" y="26"/>
                </a:cubicBezTo>
                <a:cubicBezTo>
                  <a:pt x="6" y="28"/>
                  <a:pt x="6" y="28"/>
                  <a:pt x="6" y="28"/>
                </a:cubicBezTo>
                <a:cubicBezTo>
                  <a:pt x="6" y="29"/>
                  <a:pt x="6" y="29"/>
                  <a:pt x="6" y="29"/>
                </a:cubicBezTo>
                <a:cubicBezTo>
                  <a:pt x="5" y="31"/>
                  <a:pt x="5" y="31"/>
                  <a:pt x="5" y="31"/>
                </a:cubicBezTo>
                <a:cubicBezTo>
                  <a:pt x="5" y="31"/>
                  <a:pt x="5" y="31"/>
                  <a:pt x="5" y="31"/>
                </a:cubicBezTo>
                <a:cubicBezTo>
                  <a:pt x="5" y="32"/>
                  <a:pt x="5" y="32"/>
                  <a:pt x="5" y="32"/>
                </a:cubicBezTo>
                <a:cubicBezTo>
                  <a:pt x="5" y="33"/>
                  <a:pt x="5" y="33"/>
                  <a:pt x="5" y="33"/>
                </a:cubicBezTo>
                <a:cubicBezTo>
                  <a:pt x="7" y="34"/>
                  <a:pt x="7" y="34"/>
                  <a:pt x="7" y="34"/>
                </a:cubicBezTo>
                <a:cubicBezTo>
                  <a:pt x="8" y="35"/>
                  <a:pt x="8" y="35"/>
                  <a:pt x="8" y="35"/>
                </a:cubicBezTo>
                <a:cubicBezTo>
                  <a:pt x="9" y="35"/>
                  <a:pt x="9" y="35"/>
                  <a:pt x="9" y="35"/>
                </a:cubicBezTo>
                <a:cubicBezTo>
                  <a:pt x="11" y="36"/>
                  <a:pt x="11" y="36"/>
                  <a:pt x="11" y="36"/>
                </a:cubicBezTo>
                <a:cubicBezTo>
                  <a:pt x="12" y="35"/>
                  <a:pt x="12" y="35"/>
                  <a:pt x="12" y="35"/>
                </a:cubicBezTo>
                <a:cubicBezTo>
                  <a:pt x="13" y="35"/>
                  <a:pt x="13" y="35"/>
                  <a:pt x="13" y="35"/>
                </a:cubicBezTo>
                <a:cubicBezTo>
                  <a:pt x="15" y="36"/>
                  <a:pt x="15" y="36"/>
                  <a:pt x="15" y="36"/>
                </a:cubicBezTo>
                <a:cubicBezTo>
                  <a:pt x="15" y="35"/>
                  <a:pt x="15" y="35"/>
                  <a:pt x="15" y="35"/>
                </a:cubicBezTo>
                <a:cubicBezTo>
                  <a:pt x="17" y="35"/>
                  <a:pt x="17" y="35"/>
                  <a:pt x="17" y="35"/>
                </a:cubicBezTo>
                <a:cubicBezTo>
                  <a:pt x="19" y="35"/>
                  <a:pt x="19" y="35"/>
                  <a:pt x="19" y="35"/>
                </a:cubicBezTo>
                <a:cubicBezTo>
                  <a:pt x="20" y="36"/>
                  <a:pt x="20" y="36"/>
                  <a:pt x="20" y="36"/>
                </a:cubicBezTo>
                <a:cubicBezTo>
                  <a:pt x="25" y="41"/>
                  <a:pt x="25" y="41"/>
                  <a:pt x="25" y="41"/>
                </a:cubicBezTo>
                <a:cubicBezTo>
                  <a:pt x="27" y="40"/>
                  <a:pt x="27" y="40"/>
                  <a:pt x="27" y="40"/>
                </a:cubicBezTo>
                <a:cubicBezTo>
                  <a:pt x="27" y="41"/>
                  <a:pt x="27" y="41"/>
                  <a:pt x="27" y="41"/>
                </a:cubicBezTo>
                <a:cubicBezTo>
                  <a:pt x="28" y="40"/>
                  <a:pt x="28" y="40"/>
                  <a:pt x="28" y="40"/>
                </a:cubicBezTo>
                <a:cubicBezTo>
                  <a:pt x="29" y="41"/>
                  <a:pt x="29" y="41"/>
                  <a:pt x="29" y="41"/>
                </a:cubicBezTo>
                <a:cubicBezTo>
                  <a:pt x="30" y="41"/>
                  <a:pt x="30" y="41"/>
                  <a:pt x="30" y="41"/>
                </a:cubicBezTo>
                <a:cubicBezTo>
                  <a:pt x="31" y="41"/>
                  <a:pt x="31" y="41"/>
                  <a:pt x="31" y="41"/>
                </a:cubicBezTo>
                <a:cubicBezTo>
                  <a:pt x="32" y="41"/>
                  <a:pt x="32" y="41"/>
                  <a:pt x="32" y="41"/>
                </a:cubicBezTo>
                <a:cubicBezTo>
                  <a:pt x="34" y="41"/>
                  <a:pt x="34" y="41"/>
                  <a:pt x="34" y="41"/>
                </a:cubicBezTo>
                <a:cubicBezTo>
                  <a:pt x="34" y="40"/>
                  <a:pt x="34" y="40"/>
                  <a:pt x="34" y="40"/>
                </a:cubicBezTo>
                <a:cubicBezTo>
                  <a:pt x="35" y="40"/>
                  <a:pt x="35" y="40"/>
                  <a:pt x="35" y="40"/>
                </a:cubicBezTo>
                <a:cubicBezTo>
                  <a:pt x="36" y="41"/>
                  <a:pt x="36" y="41"/>
                  <a:pt x="36" y="41"/>
                </a:cubicBezTo>
                <a:cubicBezTo>
                  <a:pt x="37" y="43"/>
                  <a:pt x="37" y="43"/>
                  <a:pt x="37" y="43"/>
                </a:cubicBezTo>
                <a:cubicBezTo>
                  <a:pt x="36" y="44"/>
                  <a:pt x="36" y="44"/>
                  <a:pt x="36" y="44"/>
                </a:cubicBezTo>
                <a:cubicBezTo>
                  <a:pt x="36" y="45"/>
                  <a:pt x="36" y="45"/>
                  <a:pt x="36" y="45"/>
                </a:cubicBezTo>
                <a:cubicBezTo>
                  <a:pt x="36" y="46"/>
                  <a:pt x="36" y="46"/>
                  <a:pt x="36" y="46"/>
                </a:cubicBezTo>
                <a:cubicBezTo>
                  <a:pt x="34" y="47"/>
                  <a:pt x="34" y="47"/>
                  <a:pt x="34" y="47"/>
                </a:cubicBezTo>
                <a:cubicBezTo>
                  <a:pt x="34" y="48"/>
                  <a:pt x="34" y="48"/>
                  <a:pt x="34" y="48"/>
                </a:cubicBezTo>
                <a:cubicBezTo>
                  <a:pt x="34" y="50"/>
                  <a:pt x="34" y="50"/>
                  <a:pt x="34" y="50"/>
                </a:cubicBezTo>
                <a:cubicBezTo>
                  <a:pt x="34" y="51"/>
                  <a:pt x="34" y="51"/>
                  <a:pt x="34" y="51"/>
                </a:cubicBezTo>
                <a:cubicBezTo>
                  <a:pt x="34" y="52"/>
                  <a:pt x="34" y="52"/>
                  <a:pt x="34" y="52"/>
                </a:cubicBezTo>
                <a:cubicBezTo>
                  <a:pt x="34" y="54"/>
                  <a:pt x="34" y="54"/>
                  <a:pt x="34" y="54"/>
                </a:cubicBezTo>
                <a:cubicBezTo>
                  <a:pt x="34" y="55"/>
                  <a:pt x="34" y="55"/>
                  <a:pt x="34" y="55"/>
                </a:cubicBezTo>
                <a:cubicBezTo>
                  <a:pt x="34" y="56"/>
                  <a:pt x="34" y="56"/>
                  <a:pt x="34" y="56"/>
                </a:cubicBezTo>
                <a:cubicBezTo>
                  <a:pt x="36" y="59"/>
                  <a:pt x="36" y="59"/>
                  <a:pt x="36" y="59"/>
                </a:cubicBezTo>
                <a:cubicBezTo>
                  <a:pt x="34" y="63"/>
                  <a:pt x="34" y="63"/>
                  <a:pt x="34" y="63"/>
                </a:cubicBezTo>
                <a:cubicBezTo>
                  <a:pt x="34" y="64"/>
                  <a:pt x="34" y="64"/>
                  <a:pt x="34" y="64"/>
                </a:cubicBezTo>
                <a:cubicBezTo>
                  <a:pt x="35" y="64"/>
                  <a:pt x="35" y="64"/>
                  <a:pt x="35" y="64"/>
                </a:cubicBezTo>
                <a:cubicBezTo>
                  <a:pt x="35" y="64"/>
                  <a:pt x="35" y="64"/>
                  <a:pt x="35" y="64"/>
                </a:cubicBezTo>
                <a:cubicBezTo>
                  <a:pt x="35" y="64"/>
                  <a:pt x="35" y="64"/>
                  <a:pt x="35" y="64"/>
                </a:cubicBezTo>
                <a:cubicBezTo>
                  <a:pt x="36" y="65"/>
                  <a:pt x="36" y="65"/>
                  <a:pt x="36" y="65"/>
                </a:cubicBezTo>
                <a:cubicBezTo>
                  <a:pt x="36" y="65"/>
                  <a:pt x="36" y="65"/>
                  <a:pt x="36" y="65"/>
                </a:cubicBezTo>
                <a:cubicBezTo>
                  <a:pt x="37" y="67"/>
                  <a:pt x="37" y="67"/>
                  <a:pt x="37" y="67"/>
                </a:cubicBezTo>
                <a:cubicBezTo>
                  <a:pt x="37" y="67"/>
                  <a:pt x="37" y="67"/>
                  <a:pt x="37" y="67"/>
                </a:cubicBezTo>
                <a:cubicBezTo>
                  <a:pt x="37" y="69"/>
                  <a:pt x="37" y="69"/>
                  <a:pt x="37" y="69"/>
                </a:cubicBezTo>
                <a:cubicBezTo>
                  <a:pt x="39" y="72"/>
                  <a:pt x="39" y="72"/>
                  <a:pt x="39" y="72"/>
                </a:cubicBezTo>
                <a:cubicBezTo>
                  <a:pt x="39" y="73"/>
                  <a:pt x="39" y="73"/>
                  <a:pt x="39" y="73"/>
                </a:cubicBezTo>
                <a:cubicBezTo>
                  <a:pt x="39" y="73"/>
                  <a:pt x="39" y="73"/>
                  <a:pt x="39" y="73"/>
                </a:cubicBezTo>
                <a:close/>
                <a:moveTo>
                  <a:pt x="30" y="2"/>
                </a:moveTo>
                <a:cubicBezTo>
                  <a:pt x="32" y="2"/>
                  <a:pt x="32" y="2"/>
                  <a:pt x="32" y="2"/>
                </a:cubicBezTo>
                <a:cubicBezTo>
                  <a:pt x="33" y="3"/>
                  <a:pt x="33" y="3"/>
                  <a:pt x="33" y="3"/>
                </a:cubicBezTo>
                <a:cubicBezTo>
                  <a:pt x="32" y="4"/>
                  <a:pt x="32" y="4"/>
                  <a:pt x="32" y="4"/>
                </a:cubicBezTo>
                <a:cubicBezTo>
                  <a:pt x="32" y="3"/>
                  <a:pt x="32" y="3"/>
                  <a:pt x="32" y="3"/>
                </a:cubicBezTo>
                <a:cubicBezTo>
                  <a:pt x="31" y="3"/>
                  <a:pt x="31" y="3"/>
                  <a:pt x="31" y="3"/>
                </a:cubicBezTo>
                <a:cubicBezTo>
                  <a:pt x="30" y="2"/>
                  <a:pt x="30" y="2"/>
                  <a:pt x="30" y="2"/>
                </a:cubicBezTo>
                <a:close/>
                <a:moveTo>
                  <a:pt x="26" y="1"/>
                </a:moveTo>
                <a:cubicBezTo>
                  <a:pt x="27" y="2"/>
                  <a:pt x="27" y="2"/>
                  <a:pt x="27" y="2"/>
                </a:cubicBezTo>
                <a:cubicBezTo>
                  <a:pt x="28" y="3"/>
                  <a:pt x="28" y="3"/>
                  <a:pt x="28" y="3"/>
                </a:cubicBezTo>
                <a:cubicBezTo>
                  <a:pt x="28" y="3"/>
                  <a:pt x="28" y="3"/>
                  <a:pt x="28" y="3"/>
                </a:cubicBezTo>
                <a:cubicBezTo>
                  <a:pt x="26" y="3"/>
                  <a:pt x="26" y="3"/>
                  <a:pt x="26" y="3"/>
                </a:cubicBezTo>
                <a:cubicBezTo>
                  <a:pt x="26" y="2"/>
                  <a:pt x="26" y="2"/>
                  <a:pt x="26" y="2"/>
                </a:cubicBezTo>
                <a:cubicBezTo>
                  <a:pt x="26" y="1"/>
                  <a:pt x="26" y="1"/>
                  <a:pt x="26" y="1"/>
                </a:cubicBezTo>
                <a:close/>
                <a:moveTo>
                  <a:pt x="20" y="0"/>
                </a:moveTo>
                <a:cubicBezTo>
                  <a:pt x="21" y="1"/>
                  <a:pt x="21" y="1"/>
                  <a:pt x="21" y="1"/>
                </a:cubicBezTo>
                <a:cubicBezTo>
                  <a:pt x="22" y="1"/>
                  <a:pt x="22" y="1"/>
                  <a:pt x="22" y="1"/>
                </a:cubicBezTo>
                <a:cubicBezTo>
                  <a:pt x="21" y="0"/>
                  <a:pt x="21" y="0"/>
                  <a:pt x="21" y="0"/>
                </a:cubicBezTo>
                <a:cubicBezTo>
                  <a:pt x="20" y="0"/>
                  <a:pt x="20" y="0"/>
                  <a:pt x="20" y="0"/>
                </a:cubicBezTo>
                <a:close/>
                <a:moveTo>
                  <a:pt x="56" y="10"/>
                </a:moveTo>
                <a:cubicBezTo>
                  <a:pt x="57" y="9"/>
                  <a:pt x="57" y="9"/>
                  <a:pt x="57" y="9"/>
                </a:cubicBezTo>
                <a:cubicBezTo>
                  <a:pt x="57" y="10"/>
                  <a:pt x="57" y="10"/>
                  <a:pt x="57" y="10"/>
                </a:cubicBezTo>
                <a:cubicBezTo>
                  <a:pt x="59" y="9"/>
                  <a:pt x="59" y="9"/>
                  <a:pt x="59" y="9"/>
                </a:cubicBezTo>
                <a:cubicBezTo>
                  <a:pt x="60" y="10"/>
                  <a:pt x="60" y="10"/>
                  <a:pt x="60" y="10"/>
                </a:cubicBezTo>
                <a:cubicBezTo>
                  <a:pt x="59" y="11"/>
                  <a:pt x="59" y="11"/>
                  <a:pt x="59" y="11"/>
                </a:cubicBezTo>
                <a:cubicBezTo>
                  <a:pt x="58" y="11"/>
                  <a:pt x="58" y="11"/>
                  <a:pt x="58" y="11"/>
                </a:cubicBezTo>
                <a:cubicBezTo>
                  <a:pt x="56" y="11"/>
                  <a:pt x="56" y="11"/>
                  <a:pt x="56" y="11"/>
                </a:cubicBezTo>
                <a:cubicBezTo>
                  <a:pt x="56" y="11"/>
                  <a:pt x="56" y="10"/>
                  <a:pt x="56" y="10"/>
                </a:cubicBez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3" name="Freeform 191">
            <a:extLst>
              <a:ext uri="{FF2B5EF4-FFF2-40B4-BE49-F238E27FC236}">
                <a16:creationId xmlns:a16="http://schemas.microsoft.com/office/drawing/2014/main" id="{CD2A600B-203D-EB08-82F8-EFDF5CF99B56}"/>
              </a:ext>
            </a:extLst>
          </p:cNvPr>
          <p:cNvSpPr>
            <a:spLocks/>
          </p:cNvSpPr>
          <p:nvPr userDrawn="1"/>
        </p:nvSpPr>
        <p:spPr bwMode="auto">
          <a:xfrm>
            <a:off x="8286210" y="8590833"/>
            <a:ext cx="755601" cy="1063626"/>
          </a:xfrm>
          <a:custGeom>
            <a:avLst/>
            <a:gdLst>
              <a:gd name="T0" fmla="*/ 194 w 238"/>
              <a:gd name="T1" fmla="*/ 276 h 335"/>
              <a:gd name="T2" fmla="*/ 191 w 238"/>
              <a:gd name="T3" fmla="*/ 241 h 335"/>
              <a:gd name="T4" fmla="*/ 191 w 238"/>
              <a:gd name="T5" fmla="*/ 229 h 335"/>
              <a:gd name="T6" fmla="*/ 210 w 238"/>
              <a:gd name="T7" fmla="*/ 213 h 335"/>
              <a:gd name="T8" fmla="*/ 225 w 238"/>
              <a:gd name="T9" fmla="*/ 210 h 335"/>
              <a:gd name="T10" fmla="*/ 238 w 238"/>
              <a:gd name="T11" fmla="*/ 226 h 335"/>
              <a:gd name="T12" fmla="*/ 228 w 238"/>
              <a:gd name="T13" fmla="*/ 201 h 335"/>
              <a:gd name="T14" fmla="*/ 222 w 238"/>
              <a:gd name="T15" fmla="*/ 197 h 335"/>
              <a:gd name="T16" fmla="*/ 222 w 238"/>
              <a:gd name="T17" fmla="*/ 166 h 335"/>
              <a:gd name="T18" fmla="*/ 222 w 238"/>
              <a:gd name="T19" fmla="*/ 144 h 335"/>
              <a:gd name="T20" fmla="*/ 228 w 238"/>
              <a:gd name="T21" fmla="*/ 125 h 335"/>
              <a:gd name="T22" fmla="*/ 213 w 238"/>
              <a:gd name="T23" fmla="*/ 125 h 335"/>
              <a:gd name="T24" fmla="*/ 200 w 238"/>
              <a:gd name="T25" fmla="*/ 122 h 335"/>
              <a:gd name="T26" fmla="*/ 163 w 238"/>
              <a:gd name="T27" fmla="*/ 107 h 335"/>
              <a:gd name="T28" fmla="*/ 144 w 238"/>
              <a:gd name="T29" fmla="*/ 107 h 335"/>
              <a:gd name="T30" fmla="*/ 131 w 238"/>
              <a:gd name="T31" fmla="*/ 94 h 335"/>
              <a:gd name="T32" fmla="*/ 122 w 238"/>
              <a:gd name="T33" fmla="*/ 66 h 335"/>
              <a:gd name="T34" fmla="*/ 119 w 238"/>
              <a:gd name="T35" fmla="*/ 50 h 335"/>
              <a:gd name="T36" fmla="*/ 131 w 238"/>
              <a:gd name="T37" fmla="*/ 28 h 335"/>
              <a:gd name="T38" fmla="*/ 153 w 238"/>
              <a:gd name="T39" fmla="*/ 10 h 335"/>
              <a:gd name="T40" fmla="*/ 160 w 238"/>
              <a:gd name="T41" fmla="*/ 3 h 335"/>
              <a:gd name="T42" fmla="*/ 144 w 238"/>
              <a:gd name="T43" fmla="*/ 3 h 335"/>
              <a:gd name="T44" fmla="*/ 138 w 238"/>
              <a:gd name="T45" fmla="*/ 10 h 335"/>
              <a:gd name="T46" fmla="*/ 113 w 238"/>
              <a:gd name="T47" fmla="*/ 22 h 335"/>
              <a:gd name="T48" fmla="*/ 100 w 238"/>
              <a:gd name="T49" fmla="*/ 28 h 335"/>
              <a:gd name="T50" fmla="*/ 94 w 238"/>
              <a:gd name="T51" fmla="*/ 28 h 335"/>
              <a:gd name="T52" fmla="*/ 78 w 238"/>
              <a:gd name="T53" fmla="*/ 32 h 335"/>
              <a:gd name="T54" fmla="*/ 69 w 238"/>
              <a:gd name="T55" fmla="*/ 50 h 335"/>
              <a:gd name="T56" fmla="*/ 63 w 238"/>
              <a:gd name="T57" fmla="*/ 60 h 335"/>
              <a:gd name="T58" fmla="*/ 47 w 238"/>
              <a:gd name="T59" fmla="*/ 75 h 335"/>
              <a:gd name="T60" fmla="*/ 47 w 238"/>
              <a:gd name="T61" fmla="*/ 91 h 335"/>
              <a:gd name="T62" fmla="*/ 38 w 238"/>
              <a:gd name="T63" fmla="*/ 82 h 335"/>
              <a:gd name="T64" fmla="*/ 35 w 238"/>
              <a:gd name="T65" fmla="*/ 85 h 335"/>
              <a:gd name="T66" fmla="*/ 25 w 238"/>
              <a:gd name="T67" fmla="*/ 104 h 335"/>
              <a:gd name="T68" fmla="*/ 31 w 238"/>
              <a:gd name="T69" fmla="*/ 119 h 335"/>
              <a:gd name="T70" fmla="*/ 31 w 238"/>
              <a:gd name="T71" fmla="*/ 129 h 335"/>
              <a:gd name="T72" fmla="*/ 31 w 238"/>
              <a:gd name="T73" fmla="*/ 141 h 335"/>
              <a:gd name="T74" fmla="*/ 31 w 238"/>
              <a:gd name="T75" fmla="*/ 166 h 335"/>
              <a:gd name="T76" fmla="*/ 41 w 238"/>
              <a:gd name="T77" fmla="*/ 172 h 335"/>
              <a:gd name="T78" fmla="*/ 28 w 238"/>
              <a:gd name="T79" fmla="*/ 194 h 335"/>
              <a:gd name="T80" fmla="*/ 3 w 238"/>
              <a:gd name="T81" fmla="*/ 219 h 335"/>
              <a:gd name="T82" fmla="*/ 25 w 238"/>
              <a:gd name="T83" fmla="*/ 235 h 335"/>
              <a:gd name="T84" fmla="*/ 44 w 238"/>
              <a:gd name="T85" fmla="*/ 251 h 335"/>
              <a:gd name="T86" fmla="*/ 56 w 238"/>
              <a:gd name="T87" fmla="*/ 244 h 335"/>
              <a:gd name="T88" fmla="*/ 72 w 238"/>
              <a:gd name="T89" fmla="*/ 251 h 335"/>
              <a:gd name="T90" fmla="*/ 88 w 238"/>
              <a:gd name="T91" fmla="*/ 257 h 335"/>
              <a:gd name="T92" fmla="*/ 97 w 238"/>
              <a:gd name="T93" fmla="*/ 276 h 335"/>
              <a:gd name="T94" fmla="*/ 116 w 238"/>
              <a:gd name="T95" fmla="*/ 291 h 335"/>
              <a:gd name="T96" fmla="*/ 125 w 238"/>
              <a:gd name="T97" fmla="*/ 301 h 335"/>
              <a:gd name="T98" fmla="*/ 147 w 238"/>
              <a:gd name="T99" fmla="*/ 297 h 335"/>
              <a:gd name="T100" fmla="*/ 166 w 238"/>
              <a:gd name="T101" fmla="*/ 297 h 335"/>
              <a:gd name="T102" fmla="*/ 163 w 238"/>
              <a:gd name="T103" fmla="*/ 326 h 335"/>
              <a:gd name="T104" fmla="*/ 178 w 238"/>
              <a:gd name="T105" fmla="*/ 335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8" h="335">
                <a:moveTo>
                  <a:pt x="178" y="335"/>
                </a:moveTo>
                <a:lnTo>
                  <a:pt x="181" y="326"/>
                </a:lnTo>
                <a:lnTo>
                  <a:pt x="191" y="285"/>
                </a:lnTo>
                <a:lnTo>
                  <a:pt x="191" y="282"/>
                </a:lnTo>
                <a:lnTo>
                  <a:pt x="194" y="276"/>
                </a:lnTo>
                <a:lnTo>
                  <a:pt x="188" y="266"/>
                </a:lnTo>
                <a:lnTo>
                  <a:pt x="181" y="260"/>
                </a:lnTo>
                <a:lnTo>
                  <a:pt x="178" y="257"/>
                </a:lnTo>
                <a:lnTo>
                  <a:pt x="175" y="244"/>
                </a:lnTo>
                <a:lnTo>
                  <a:pt x="191" y="241"/>
                </a:lnTo>
                <a:lnTo>
                  <a:pt x="194" y="244"/>
                </a:lnTo>
                <a:lnTo>
                  <a:pt x="194" y="241"/>
                </a:lnTo>
                <a:lnTo>
                  <a:pt x="194" y="238"/>
                </a:lnTo>
                <a:lnTo>
                  <a:pt x="194" y="235"/>
                </a:lnTo>
                <a:lnTo>
                  <a:pt x="191" y="229"/>
                </a:lnTo>
                <a:lnTo>
                  <a:pt x="185" y="229"/>
                </a:lnTo>
                <a:lnTo>
                  <a:pt x="181" y="222"/>
                </a:lnTo>
                <a:lnTo>
                  <a:pt x="185" y="216"/>
                </a:lnTo>
                <a:lnTo>
                  <a:pt x="206" y="216"/>
                </a:lnTo>
                <a:lnTo>
                  <a:pt x="210" y="213"/>
                </a:lnTo>
                <a:lnTo>
                  <a:pt x="213" y="213"/>
                </a:lnTo>
                <a:lnTo>
                  <a:pt x="216" y="216"/>
                </a:lnTo>
                <a:lnTo>
                  <a:pt x="216" y="216"/>
                </a:lnTo>
                <a:lnTo>
                  <a:pt x="222" y="213"/>
                </a:lnTo>
                <a:lnTo>
                  <a:pt x="225" y="210"/>
                </a:lnTo>
                <a:lnTo>
                  <a:pt x="228" y="213"/>
                </a:lnTo>
                <a:lnTo>
                  <a:pt x="231" y="216"/>
                </a:lnTo>
                <a:lnTo>
                  <a:pt x="231" y="222"/>
                </a:lnTo>
                <a:lnTo>
                  <a:pt x="231" y="226"/>
                </a:lnTo>
                <a:lnTo>
                  <a:pt x="238" y="226"/>
                </a:lnTo>
                <a:lnTo>
                  <a:pt x="238" y="222"/>
                </a:lnTo>
                <a:lnTo>
                  <a:pt x="231" y="213"/>
                </a:lnTo>
                <a:lnTo>
                  <a:pt x="231" y="207"/>
                </a:lnTo>
                <a:lnTo>
                  <a:pt x="231" y="207"/>
                </a:lnTo>
                <a:lnTo>
                  <a:pt x="228" y="201"/>
                </a:lnTo>
                <a:lnTo>
                  <a:pt x="228" y="201"/>
                </a:lnTo>
                <a:lnTo>
                  <a:pt x="225" y="197"/>
                </a:lnTo>
                <a:lnTo>
                  <a:pt x="225" y="197"/>
                </a:lnTo>
                <a:lnTo>
                  <a:pt x="225" y="197"/>
                </a:lnTo>
                <a:lnTo>
                  <a:pt x="222" y="197"/>
                </a:lnTo>
                <a:lnTo>
                  <a:pt x="222" y="194"/>
                </a:lnTo>
                <a:lnTo>
                  <a:pt x="228" y="182"/>
                </a:lnTo>
                <a:lnTo>
                  <a:pt x="222" y="172"/>
                </a:lnTo>
                <a:lnTo>
                  <a:pt x="222" y="169"/>
                </a:lnTo>
                <a:lnTo>
                  <a:pt x="222" y="166"/>
                </a:lnTo>
                <a:lnTo>
                  <a:pt x="222" y="160"/>
                </a:lnTo>
                <a:lnTo>
                  <a:pt x="222" y="157"/>
                </a:lnTo>
                <a:lnTo>
                  <a:pt x="222" y="154"/>
                </a:lnTo>
                <a:lnTo>
                  <a:pt x="222" y="147"/>
                </a:lnTo>
                <a:lnTo>
                  <a:pt x="222" y="144"/>
                </a:lnTo>
                <a:lnTo>
                  <a:pt x="228" y="141"/>
                </a:lnTo>
                <a:lnTo>
                  <a:pt x="228" y="138"/>
                </a:lnTo>
                <a:lnTo>
                  <a:pt x="228" y="135"/>
                </a:lnTo>
                <a:lnTo>
                  <a:pt x="231" y="132"/>
                </a:lnTo>
                <a:lnTo>
                  <a:pt x="228" y="125"/>
                </a:lnTo>
                <a:lnTo>
                  <a:pt x="225" y="122"/>
                </a:lnTo>
                <a:lnTo>
                  <a:pt x="222" y="122"/>
                </a:lnTo>
                <a:lnTo>
                  <a:pt x="222" y="125"/>
                </a:lnTo>
                <a:lnTo>
                  <a:pt x="216" y="125"/>
                </a:lnTo>
                <a:lnTo>
                  <a:pt x="213" y="125"/>
                </a:lnTo>
                <a:lnTo>
                  <a:pt x="210" y="125"/>
                </a:lnTo>
                <a:lnTo>
                  <a:pt x="206" y="125"/>
                </a:lnTo>
                <a:lnTo>
                  <a:pt x="203" y="122"/>
                </a:lnTo>
                <a:lnTo>
                  <a:pt x="200" y="125"/>
                </a:lnTo>
                <a:lnTo>
                  <a:pt x="200" y="122"/>
                </a:lnTo>
                <a:lnTo>
                  <a:pt x="194" y="125"/>
                </a:lnTo>
                <a:lnTo>
                  <a:pt x="178" y="110"/>
                </a:lnTo>
                <a:lnTo>
                  <a:pt x="175" y="107"/>
                </a:lnTo>
                <a:lnTo>
                  <a:pt x="169" y="107"/>
                </a:lnTo>
                <a:lnTo>
                  <a:pt x="163" y="107"/>
                </a:lnTo>
                <a:lnTo>
                  <a:pt x="163" y="110"/>
                </a:lnTo>
                <a:lnTo>
                  <a:pt x="156" y="107"/>
                </a:lnTo>
                <a:lnTo>
                  <a:pt x="153" y="107"/>
                </a:lnTo>
                <a:lnTo>
                  <a:pt x="150" y="110"/>
                </a:lnTo>
                <a:lnTo>
                  <a:pt x="144" y="107"/>
                </a:lnTo>
                <a:lnTo>
                  <a:pt x="141" y="107"/>
                </a:lnTo>
                <a:lnTo>
                  <a:pt x="138" y="104"/>
                </a:lnTo>
                <a:lnTo>
                  <a:pt x="131" y="100"/>
                </a:lnTo>
                <a:lnTo>
                  <a:pt x="131" y="97"/>
                </a:lnTo>
                <a:lnTo>
                  <a:pt x="131" y="94"/>
                </a:lnTo>
                <a:lnTo>
                  <a:pt x="131" y="94"/>
                </a:lnTo>
                <a:lnTo>
                  <a:pt x="135" y="88"/>
                </a:lnTo>
                <a:lnTo>
                  <a:pt x="135" y="85"/>
                </a:lnTo>
                <a:lnTo>
                  <a:pt x="131" y="79"/>
                </a:lnTo>
                <a:lnTo>
                  <a:pt x="122" y="66"/>
                </a:lnTo>
                <a:lnTo>
                  <a:pt x="119" y="66"/>
                </a:lnTo>
                <a:lnTo>
                  <a:pt x="116" y="66"/>
                </a:lnTo>
                <a:lnTo>
                  <a:pt x="116" y="63"/>
                </a:lnTo>
                <a:lnTo>
                  <a:pt x="119" y="57"/>
                </a:lnTo>
                <a:lnTo>
                  <a:pt x="119" y="50"/>
                </a:lnTo>
                <a:lnTo>
                  <a:pt x="119" y="47"/>
                </a:lnTo>
                <a:lnTo>
                  <a:pt x="119" y="44"/>
                </a:lnTo>
                <a:lnTo>
                  <a:pt x="125" y="35"/>
                </a:lnTo>
                <a:lnTo>
                  <a:pt x="128" y="32"/>
                </a:lnTo>
                <a:lnTo>
                  <a:pt x="131" y="28"/>
                </a:lnTo>
                <a:lnTo>
                  <a:pt x="135" y="25"/>
                </a:lnTo>
                <a:lnTo>
                  <a:pt x="138" y="25"/>
                </a:lnTo>
                <a:lnTo>
                  <a:pt x="144" y="16"/>
                </a:lnTo>
                <a:lnTo>
                  <a:pt x="153" y="10"/>
                </a:lnTo>
                <a:lnTo>
                  <a:pt x="153" y="10"/>
                </a:lnTo>
                <a:lnTo>
                  <a:pt x="156" y="10"/>
                </a:lnTo>
                <a:lnTo>
                  <a:pt x="156" y="10"/>
                </a:lnTo>
                <a:lnTo>
                  <a:pt x="160" y="10"/>
                </a:lnTo>
                <a:lnTo>
                  <a:pt x="160" y="7"/>
                </a:lnTo>
                <a:lnTo>
                  <a:pt x="160" y="3"/>
                </a:lnTo>
                <a:lnTo>
                  <a:pt x="150" y="0"/>
                </a:lnTo>
                <a:lnTo>
                  <a:pt x="147" y="0"/>
                </a:lnTo>
                <a:lnTo>
                  <a:pt x="147" y="0"/>
                </a:lnTo>
                <a:lnTo>
                  <a:pt x="147" y="3"/>
                </a:lnTo>
                <a:lnTo>
                  <a:pt x="144" y="3"/>
                </a:lnTo>
                <a:lnTo>
                  <a:pt x="144" y="3"/>
                </a:lnTo>
                <a:lnTo>
                  <a:pt x="141" y="3"/>
                </a:lnTo>
                <a:lnTo>
                  <a:pt x="138" y="3"/>
                </a:lnTo>
                <a:lnTo>
                  <a:pt x="135" y="7"/>
                </a:lnTo>
                <a:lnTo>
                  <a:pt x="138" y="10"/>
                </a:lnTo>
                <a:lnTo>
                  <a:pt x="135" y="10"/>
                </a:lnTo>
                <a:lnTo>
                  <a:pt x="131" y="13"/>
                </a:lnTo>
                <a:lnTo>
                  <a:pt x="122" y="16"/>
                </a:lnTo>
                <a:lnTo>
                  <a:pt x="119" y="19"/>
                </a:lnTo>
                <a:lnTo>
                  <a:pt x="113" y="22"/>
                </a:lnTo>
                <a:lnTo>
                  <a:pt x="106" y="22"/>
                </a:lnTo>
                <a:lnTo>
                  <a:pt x="100" y="22"/>
                </a:lnTo>
                <a:lnTo>
                  <a:pt x="97" y="22"/>
                </a:lnTo>
                <a:lnTo>
                  <a:pt x="97" y="25"/>
                </a:lnTo>
                <a:lnTo>
                  <a:pt x="100" y="28"/>
                </a:lnTo>
                <a:lnTo>
                  <a:pt x="100" y="32"/>
                </a:lnTo>
                <a:lnTo>
                  <a:pt x="97" y="35"/>
                </a:lnTo>
                <a:lnTo>
                  <a:pt x="94" y="35"/>
                </a:lnTo>
                <a:lnTo>
                  <a:pt x="94" y="32"/>
                </a:lnTo>
                <a:lnTo>
                  <a:pt x="94" y="28"/>
                </a:lnTo>
                <a:lnTo>
                  <a:pt x="97" y="28"/>
                </a:lnTo>
                <a:lnTo>
                  <a:pt x="94" y="28"/>
                </a:lnTo>
                <a:lnTo>
                  <a:pt x="88" y="25"/>
                </a:lnTo>
                <a:lnTo>
                  <a:pt x="85" y="25"/>
                </a:lnTo>
                <a:lnTo>
                  <a:pt x="78" y="32"/>
                </a:lnTo>
                <a:lnTo>
                  <a:pt x="78" y="32"/>
                </a:lnTo>
                <a:lnTo>
                  <a:pt x="72" y="38"/>
                </a:lnTo>
                <a:lnTo>
                  <a:pt x="69" y="47"/>
                </a:lnTo>
                <a:lnTo>
                  <a:pt x="66" y="50"/>
                </a:lnTo>
                <a:lnTo>
                  <a:pt x="69" y="50"/>
                </a:lnTo>
                <a:lnTo>
                  <a:pt x="69" y="50"/>
                </a:lnTo>
                <a:lnTo>
                  <a:pt x="69" y="53"/>
                </a:lnTo>
                <a:lnTo>
                  <a:pt x="69" y="60"/>
                </a:lnTo>
                <a:lnTo>
                  <a:pt x="66" y="60"/>
                </a:lnTo>
                <a:lnTo>
                  <a:pt x="63" y="60"/>
                </a:lnTo>
                <a:lnTo>
                  <a:pt x="60" y="63"/>
                </a:lnTo>
                <a:lnTo>
                  <a:pt x="56" y="66"/>
                </a:lnTo>
                <a:lnTo>
                  <a:pt x="53" y="69"/>
                </a:lnTo>
                <a:lnTo>
                  <a:pt x="50" y="72"/>
                </a:lnTo>
                <a:lnTo>
                  <a:pt x="47" y="75"/>
                </a:lnTo>
                <a:lnTo>
                  <a:pt x="44" y="75"/>
                </a:lnTo>
                <a:lnTo>
                  <a:pt x="44" y="79"/>
                </a:lnTo>
                <a:lnTo>
                  <a:pt x="47" y="82"/>
                </a:lnTo>
                <a:lnTo>
                  <a:pt x="47" y="85"/>
                </a:lnTo>
                <a:lnTo>
                  <a:pt x="47" y="91"/>
                </a:lnTo>
                <a:lnTo>
                  <a:pt x="44" y="91"/>
                </a:lnTo>
                <a:lnTo>
                  <a:pt x="41" y="88"/>
                </a:lnTo>
                <a:lnTo>
                  <a:pt x="41" y="85"/>
                </a:lnTo>
                <a:lnTo>
                  <a:pt x="41" y="85"/>
                </a:lnTo>
                <a:lnTo>
                  <a:pt x="38" y="82"/>
                </a:lnTo>
                <a:lnTo>
                  <a:pt x="38" y="79"/>
                </a:lnTo>
                <a:lnTo>
                  <a:pt x="35" y="75"/>
                </a:lnTo>
                <a:lnTo>
                  <a:pt x="31" y="79"/>
                </a:lnTo>
                <a:lnTo>
                  <a:pt x="35" y="82"/>
                </a:lnTo>
                <a:lnTo>
                  <a:pt x="35" y="85"/>
                </a:lnTo>
                <a:lnTo>
                  <a:pt x="31" y="91"/>
                </a:lnTo>
                <a:lnTo>
                  <a:pt x="31" y="94"/>
                </a:lnTo>
                <a:lnTo>
                  <a:pt x="28" y="97"/>
                </a:lnTo>
                <a:lnTo>
                  <a:pt x="25" y="97"/>
                </a:lnTo>
                <a:lnTo>
                  <a:pt x="25" y="104"/>
                </a:lnTo>
                <a:lnTo>
                  <a:pt x="25" y="104"/>
                </a:lnTo>
                <a:lnTo>
                  <a:pt x="25" y="110"/>
                </a:lnTo>
                <a:lnTo>
                  <a:pt x="25" y="113"/>
                </a:lnTo>
                <a:lnTo>
                  <a:pt x="31" y="119"/>
                </a:lnTo>
                <a:lnTo>
                  <a:pt x="31" y="119"/>
                </a:lnTo>
                <a:lnTo>
                  <a:pt x="35" y="116"/>
                </a:lnTo>
                <a:lnTo>
                  <a:pt x="35" y="119"/>
                </a:lnTo>
                <a:lnTo>
                  <a:pt x="35" y="122"/>
                </a:lnTo>
                <a:lnTo>
                  <a:pt x="31" y="125"/>
                </a:lnTo>
                <a:lnTo>
                  <a:pt x="31" y="129"/>
                </a:lnTo>
                <a:lnTo>
                  <a:pt x="35" y="132"/>
                </a:lnTo>
                <a:lnTo>
                  <a:pt x="35" y="135"/>
                </a:lnTo>
                <a:lnTo>
                  <a:pt x="31" y="138"/>
                </a:lnTo>
                <a:lnTo>
                  <a:pt x="31" y="141"/>
                </a:lnTo>
                <a:lnTo>
                  <a:pt x="31" y="141"/>
                </a:lnTo>
                <a:lnTo>
                  <a:pt x="35" y="144"/>
                </a:lnTo>
                <a:lnTo>
                  <a:pt x="35" y="150"/>
                </a:lnTo>
                <a:lnTo>
                  <a:pt x="35" y="160"/>
                </a:lnTo>
                <a:lnTo>
                  <a:pt x="31" y="163"/>
                </a:lnTo>
                <a:lnTo>
                  <a:pt x="31" y="166"/>
                </a:lnTo>
                <a:lnTo>
                  <a:pt x="31" y="169"/>
                </a:lnTo>
                <a:lnTo>
                  <a:pt x="38" y="169"/>
                </a:lnTo>
                <a:lnTo>
                  <a:pt x="35" y="169"/>
                </a:lnTo>
                <a:lnTo>
                  <a:pt x="38" y="172"/>
                </a:lnTo>
                <a:lnTo>
                  <a:pt x="41" y="172"/>
                </a:lnTo>
                <a:lnTo>
                  <a:pt x="41" y="175"/>
                </a:lnTo>
                <a:lnTo>
                  <a:pt x="38" y="179"/>
                </a:lnTo>
                <a:lnTo>
                  <a:pt x="38" y="182"/>
                </a:lnTo>
                <a:lnTo>
                  <a:pt x="28" y="188"/>
                </a:lnTo>
                <a:lnTo>
                  <a:pt x="28" y="194"/>
                </a:lnTo>
                <a:lnTo>
                  <a:pt x="22" y="197"/>
                </a:lnTo>
                <a:lnTo>
                  <a:pt x="13" y="201"/>
                </a:lnTo>
                <a:lnTo>
                  <a:pt x="10" y="204"/>
                </a:lnTo>
                <a:lnTo>
                  <a:pt x="3" y="213"/>
                </a:lnTo>
                <a:lnTo>
                  <a:pt x="3" y="219"/>
                </a:lnTo>
                <a:lnTo>
                  <a:pt x="0" y="222"/>
                </a:lnTo>
                <a:lnTo>
                  <a:pt x="6" y="226"/>
                </a:lnTo>
                <a:lnTo>
                  <a:pt x="13" y="229"/>
                </a:lnTo>
                <a:lnTo>
                  <a:pt x="22" y="235"/>
                </a:lnTo>
                <a:lnTo>
                  <a:pt x="25" y="235"/>
                </a:lnTo>
                <a:lnTo>
                  <a:pt x="31" y="241"/>
                </a:lnTo>
                <a:lnTo>
                  <a:pt x="28" y="244"/>
                </a:lnTo>
                <a:lnTo>
                  <a:pt x="31" y="244"/>
                </a:lnTo>
                <a:lnTo>
                  <a:pt x="38" y="247"/>
                </a:lnTo>
                <a:lnTo>
                  <a:pt x="44" y="251"/>
                </a:lnTo>
                <a:lnTo>
                  <a:pt x="47" y="251"/>
                </a:lnTo>
                <a:lnTo>
                  <a:pt x="53" y="254"/>
                </a:lnTo>
                <a:lnTo>
                  <a:pt x="53" y="251"/>
                </a:lnTo>
                <a:lnTo>
                  <a:pt x="53" y="247"/>
                </a:lnTo>
                <a:lnTo>
                  <a:pt x="56" y="244"/>
                </a:lnTo>
                <a:lnTo>
                  <a:pt x="60" y="244"/>
                </a:lnTo>
                <a:lnTo>
                  <a:pt x="63" y="247"/>
                </a:lnTo>
                <a:lnTo>
                  <a:pt x="66" y="247"/>
                </a:lnTo>
                <a:lnTo>
                  <a:pt x="69" y="251"/>
                </a:lnTo>
                <a:lnTo>
                  <a:pt x="72" y="251"/>
                </a:lnTo>
                <a:lnTo>
                  <a:pt x="72" y="251"/>
                </a:lnTo>
                <a:lnTo>
                  <a:pt x="72" y="251"/>
                </a:lnTo>
                <a:lnTo>
                  <a:pt x="75" y="254"/>
                </a:lnTo>
                <a:lnTo>
                  <a:pt x="81" y="257"/>
                </a:lnTo>
                <a:lnTo>
                  <a:pt x="88" y="257"/>
                </a:lnTo>
                <a:lnTo>
                  <a:pt x="88" y="260"/>
                </a:lnTo>
                <a:lnTo>
                  <a:pt x="91" y="263"/>
                </a:lnTo>
                <a:lnTo>
                  <a:pt x="94" y="269"/>
                </a:lnTo>
                <a:lnTo>
                  <a:pt x="97" y="276"/>
                </a:lnTo>
                <a:lnTo>
                  <a:pt x="97" y="276"/>
                </a:lnTo>
                <a:lnTo>
                  <a:pt x="106" y="279"/>
                </a:lnTo>
                <a:lnTo>
                  <a:pt x="113" y="282"/>
                </a:lnTo>
                <a:lnTo>
                  <a:pt x="113" y="288"/>
                </a:lnTo>
                <a:lnTo>
                  <a:pt x="113" y="288"/>
                </a:lnTo>
                <a:lnTo>
                  <a:pt x="116" y="291"/>
                </a:lnTo>
                <a:lnTo>
                  <a:pt x="119" y="294"/>
                </a:lnTo>
                <a:lnTo>
                  <a:pt x="116" y="297"/>
                </a:lnTo>
                <a:lnTo>
                  <a:pt x="119" y="301"/>
                </a:lnTo>
                <a:lnTo>
                  <a:pt x="122" y="301"/>
                </a:lnTo>
                <a:lnTo>
                  <a:pt x="125" y="301"/>
                </a:lnTo>
                <a:lnTo>
                  <a:pt x="128" y="301"/>
                </a:lnTo>
                <a:lnTo>
                  <a:pt x="135" y="301"/>
                </a:lnTo>
                <a:lnTo>
                  <a:pt x="135" y="301"/>
                </a:lnTo>
                <a:lnTo>
                  <a:pt x="141" y="297"/>
                </a:lnTo>
                <a:lnTo>
                  <a:pt x="147" y="297"/>
                </a:lnTo>
                <a:lnTo>
                  <a:pt x="153" y="301"/>
                </a:lnTo>
                <a:lnTo>
                  <a:pt x="160" y="297"/>
                </a:lnTo>
                <a:lnTo>
                  <a:pt x="163" y="297"/>
                </a:lnTo>
                <a:lnTo>
                  <a:pt x="163" y="297"/>
                </a:lnTo>
                <a:lnTo>
                  <a:pt x="166" y="297"/>
                </a:lnTo>
                <a:lnTo>
                  <a:pt x="172" y="301"/>
                </a:lnTo>
                <a:lnTo>
                  <a:pt x="172" y="304"/>
                </a:lnTo>
                <a:lnTo>
                  <a:pt x="175" y="304"/>
                </a:lnTo>
                <a:lnTo>
                  <a:pt x="175" y="304"/>
                </a:lnTo>
                <a:lnTo>
                  <a:pt x="163" y="326"/>
                </a:lnTo>
                <a:lnTo>
                  <a:pt x="166" y="329"/>
                </a:lnTo>
                <a:lnTo>
                  <a:pt x="169" y="329"/>
                </a:lnTo>
                <a:lnTo>
                  <a:pt x="175" y="329"/>
                </a:lnTo>
                <a:lnTo>
                  <a:pt x="178" y="332"/>
                </a:lnTo>
                <a:lnTo>
                  <a:pt x="178" y="335"/>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4" name="Freeform 192">
            <a:extLst>
              <a:ext uri="{FF2B5EF4-FFF2-40B4-BE49-F238E27FC236}">
                <a16:creationId xmlns:a16="http://schemas.microsoft.com/office/drawing/2014/main" id="{877E7F5E-0181-874D-0ACB-88BC510E4A48}"/>
              </a:ext>
            </a:extLst>
          </p:cNvPr>
          <p:cNvSpPr>
            <a:spLocks noEditPoints="1"/>
          </p:cNvSpPr>
          <p:nvPr userDrawn="1"/>
        </p:nvSpPr>
        <p:spPr bwMode="auto">
          <a:xfrm>
            <a:off x="8159216" y="9295680"/>
            <a:ext cx="365102" cy="409576"/>
          </a:xfrm>
          <a:custGeom>
            <a:avLst/>
            <a:gdLst>
              <a:gd name="T0" fmla="*/ 112 w 115"/>
              <a:gd name="T1" fmla="*/ 29 h 129"/>
              <a:gd name="T2" fmla="*/ 106 w 115"/>
              <a:gd name="T3" fmla="*/ 25 h 129"/>
              <a:gd name="T4" fmla="*/ 100 w 115"/>
              <a:gd name="T5" fmla="*/ 22 h 129"/>
              <a:gd name="T6" fmla="*/ 93 w 115"/>
              <a:gd name="T7" fmla="*/ 25 h 129"/>
              <a:gd name="T8" fmla="*/ 93 w 115"/>
              <a:gd name="T9" fmla="*/ 32 h 129"/>
              <a:gd name="T10" fmla="*/ 84 w 115"/>
              <a:gd name="T11" fmla="*/ 29 h 129"/>
              <a:gd name="T12" fmla="*/ 71 w 115"/>
              <a:gd name="T13" fmla="*/ 22 h 129"/>
              <a:gd name="T14" fmla="*/ 71 w 115"/>
              <a:gd name="T15" fmla="*/ 19 h 129"/>
              <a:gd name="T16" fmla="*/ 62 w 115"/>
              <a:gd name="T17" fmla="*/ 13 h 129"/>
              <a:gd name="T18" fmla="*/ 46 w 115"/>
              <a:gd name="T19" fmla="*/ 4 h 129"/>
              <a:gd name="T20" fmla="*/ 40 w 115"/>
              <a:gd name="T21" fmla="*/ 7 h 129"/>
              <a:gd name="T22" fmla="*/ 25 w 115"/>
              <a:gd name="T23" fmla="*/ 13 h 129"/>
              <a:gd name="T24" fmla="*/ 15 w 115"/>
              <a:gd name="T25" fmla="*/ 16 h 129"/>
              <a:gd name="T26" fmla="*/ 18 w 115"/>
              <a:gd name="T27" fmla="*/ 22 h 129"/>
              <a:gd name="T28" fmla="*/ 18 w 115"/>
              <a:gd name="T29" fmla="*/ 32 h 129"/>
              <a:gd name="T30" fmla="*/ 12 w 115"/>
              <a:gd name="T31" fmla="*/ 41 h 129"/>
              <a:gd name="T32" fmla="*/ 9 w 115"/>
              <a:gd name="T33" fmla="*/ 50 h 129"/>
              <a:gd name="T34" fmla="*/ 3 w 115"/>
              <a:gd name="T35" fmla="*/ 54 h 129"/>
              <a:gd name="T36" fmla="*/ 3 w 115"/>
              <a:gd name="T37" fmla="*/ 63 h 129"/>
              <a:gd name="T38" fmla="*/ 6 w 115"/>
              <a:gd name="T39" fmla="*/ 72 h 129"/>
              <a:gd name="T40" fmla="*/ 0 w 115"/>
              <a:gd name="T41" fmla="*/ 75 h 129"/>
              <a:gd name="T42" fmla="*/ 6 w 115"/>
              <a:gd name="T43" fmla="*/ 82 h 129"/>
              <a:gd name="T44" fmla="*/ 15 w 115"/>
              <a:gd name="T45" fmla="*/ 88 h 129"/>
              <a:gd name="T46" fmla="*/ 18 w 115"/>
              <a:gd name="T47" fmla="*/ 82 h 129"/>
              <a:gd name="T48" fmla="*/ 21 w 115"/>
              <a:gd name="T49" fmla="*/ 75 h 129"/>
              <a:gd name="T50" fmla="*/ 21 w 115"/>
              <a:gd name="T51" fmla="*/ 82 h 129"/>
              <a:gd name="T52" fmla="*/ 21 w 115"/>
              <a:gd name="T53" fmla="*/ 79 h 129"/>
              <a:gd name="T54" fmla="*/ 25 w 115"/>
              <a:gd name="T55" fmla="*/ 82 h 129"/>
              <a:gd name="T56" fmla="*/ 25 w 115"/>
              <a:gd name="T57" fmla="*/ 91 h 129"/>
              <a:gd name="T58" fmla="*/ 18 w 115"/>
              <a:gd name="T59" fmla="*/ 101 h 129"/>
              <a:gd name="T60" fmla="*/ 21 w 115"/>
              <a:gd name="T61" fmla="*/ 107 h 129"/>
              <a:gd name="T62" fmla="*/ 12 w 115"/>
              <a:gd name="T63" fmla="*/ 113 h 129"/>
              <a:gd name="T64" fmla="*/ 18 w 115"/>
              <a:gd name="T65" fmla="*/ 116 h 129"/>
              <a:gd name="T66" fmla="*/ 25 w 115"/>
              <a:gd name="T67" fmla="*/ 119 h 129"/>
              <a:gd name="T68" fmla="*/ 34 w 115"/>
              <a:gd name="T69" fmla="*/ 119 h 129"/>
              <a:gd name="T70" fmla="*/ 43 w 115"/>
              <a:gd name="T71" fmla="*/ 129 h 129"/>
              <a:gd name="T72" fmla="*/ 62 w 115"/>
              <a:gd name="T73" fmla="*/ 94 h 129"/>
              <a:gd name="T74" fmla="*/ 84 w 115"/>
              <a:gd name="T75" fmla="*/ 85 h 129"/>
              <a:gd name="T76" fmla="*/ 106 w 115"/>
              <a:gd name="T77" fmla="*/ 66 h 129"/>
              <a:gd name="T78" fmla="*/ 115 w 115"/>
              <a:gd name="T79" fmla="*/ 54 h 129"/>
              <a:gd name="T80" fmla="*/ 115 w 115"/>
              <a:gd name="T81" fmla="*/ 47 h 129"/>
              <a:gd name="T82" fmla="*/ 112 w 115"/>
              <a:gd name="T83" fmla="*/ 35 h 129"/>
              <a:gd name="T84" fmla="*/ 112 w 115"/>
              <a:gd name="T85" fmla="*/ 29 h 129"/>
              <a:gd name="T86" fmla="*/ 112 w 115"/>
              <a:gd name="T87" fmla="*/ 29 h 129"/>
              <a:gd name="T88" fmla="*/ 15 w 115"/>
              <a:gd name="T89" fmla="*/ 91 h 129"/>
              <a:gd name="T90" fmla="*/ 18 w 115"/>
              <a:gd name="T91" fmla="*/ 85 h 129"/>
              <a:gd name="T92" fmla="*/ 18 w 115"/>
              <a:gd name="T93" fmla="*/ 88 h 129"/>
              <a:gd name="T94" fmla="*/ 18 w 115"/>
              <a:gd name="T95" fmla="*/ 94 h 129"/>
              <a:gd name="T96" fmla="*/ 15 w 115"/>
              <a:gd name="T97" fmla="*/ 9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5" h="129">
                <a:moveTo>
                  <a:pt x="112" y="29"/>
                </a:moveTo>
                <a:lnTo>
                  <a:pt x="112" y="29"/>
                </a:lnTo>
                <a:lnTo>
                  <a:pt x="109" y="29"/>
                </a:lnTo>
                <a:lnTo>
                  <a:pt x="106" y="25"/>
                </a:lnTo>
                <a:lnTo>
                  <a:pt x="103" y="25"/>
                </a:lnTo>
                <a:lnTo>
                  <a:pt x="100" y="22"/>
                </a:lnTo>
                <a:lnTo>
                  <a:pt x="96" y="22"/>
                </a:lnTo>
                <a:lnTo>
                  <a:pt x="93" y="25"/>
                </a:lnTo>
                <a:lnTo>
                  <a:pt x="93" y="29"/>
                </a:lnTo>
                <a:lnTo>
                  <a:pt x="93" y="32"/>
                </a:lnTo>
                <a:lnTo>
                  <a:pt x="87" y="29"/>
                </a:lnTo>
                <a:lnTo>
                  <a:pt x="84" y="29"/>
                </a:lnTo>
                <a:lnTo>
                  <a:pt x="78" y="25"/>
                </a:lnTo>
                <a:lnTo>
                  <a:pt x="71" y="22"/>
                </a:lnTo>
                <a:lnTo>
                  <a:pt x="68" y="22"/>
                </a:lnTo>
                <a:lnTo>
                  <a:pt x="71" y="19"/>
                </a:lnTo>
                <a:lnTo>
                  <a:pt x="65" y="13"/>
                </a:lnTo>
                <a:lnTo>
                  <a:pt x="62" y="13"/>
                </a:lnTo>
                <a:lnTo>
                  <a:pt x="53" y="7"/>
                </a:lnTo>
                <a:lnTo>
                  <a:pt x="46" y="4"/>
                </a:lnTo>
                <a:lnTo>
                  <a:pt x="40" y="0"/>
                </a:lnTo>
                <a:lnTo>
                  <a:pt x="40" y="7"/>
                </a:lnTo>
                <a:lnTo>
                  <a:pt x="34" y="7"/>
                </a:lnTo>
                <a:lnTo>
                  <a:pt x="25" y="13"/>
                </a:lnTo>
                <a:lnTo>
                  <a:pt x="21" y="13"/>
                </a:lnTo>
                <a:lnTo>
                  <a:pt x="15" y="16"/>
                </a:lnTo>
                <a:lnTo>
                  <a:pt x="18" y="19"/>
                </a:lnTo>
                <a:lnTo>
                  <a:pt x="18" y="22"/>
                </a:lnTo>
                <a:lnTo>
                  <a:pt x="18" y="25"/>
                </a:lnTo>
                <a:lnTo>
                  <a:pt x="18" y="32"/>
                </a:lnTo>
                <a:lnTo>
                  <a:pt x="12" y="38"/>
                </a:lnTo>
                <a:lnTo>
                  <a:pt x="12" y="41"/>
                </a:lnTo>
                <a:lnTo>
                  <a:pt x="12" y="44"/>
                </a:lnTo>
                <a:lnTo>
                  <a:pt x="9" y="50"/>
                </a:lnTo>
                <a:lnTo>
                  <a:pt x="6" y="50"/>
                </a:lnTo>
                <a:lnTo>
                  <a:pt x="3" y="54"/>
                </a:lnTo>
                <a:lnTo>
                  <a:pt x="3" y="57"/>
                </a:lnTo>
                <a:lnTo>
                  <a:pt x="3" y="63"/>
                </a:lnTo>
                <a:lnTo>
                  <a:pt x="3" y="66"/>
                </a:lnTo>
                <a:lnTo>
                  <a:pt x="6" y="72"/>
                </a:lnTo>
                <a:lnTo>
                  <a:pt x="3" y="75"/>
                </a:lnTo>
                <a:lnTo>
                  <a:pt x="0" y="75"/>
                </a:lnTo>
                <a:lnTo>
                  <a:pt x="3" y="79"/>
                </a:lnTo>
                <a:lnTo>
                  <a:pt x="6" y="82"/>
                </a:lnTo>
                <a:lnTo>
                  <a:pt x="12" y="85"/>
                </a:lnTo>
                <a:lnTo>
                  <a:pt x="15" y="88"/>
                </a:lnTo>
                <a:lnTo>
                  <a:pt x="15" y="85"/>
                </a:lnTo>
                <a:lnTo>
                  <a:pt x="18" y="82"/>
                </a:lnTo>
                <a:lnTo>
                  <a:pt x="18" y="79"/>
                </a:lnTo>
                <a:lnTo>
                  <a:pt x="21" y="75"/>
                </a:lnTo>
                <a:lnTo>
                  <a:pt x="21" y="79"/>
                </a:lnTo>
                <a:lnTo>
                  <a:pt x="21" y="82"/>
                </a:lnTo>
                <a:lnTo>
                  <a:pt x="21" y="82"/>
                </a:lnTo>
                <a:lnTo>
                  <a:pt x="21" y="79"/>
                </a:lnTo>
                <a:lnTo>
                  <a:pt x="25" y="79"/>
                </a:lnTo>
                <a:lnTo>
                  <a:pt x="25" y="82"/>
                </a:lnTo>
                <a:lnTo>
                  <a:pt x="25" y="88"/>
                </a:lnTo>
                <a:lnTo>
                  <a:pt x="25" y="91"/>
                </a:lnTo>
                <a:lnTo>
                  <a:pt x="21" y="97"/>
                </a:lnTo>
                <a:lnTo>
                  <a:pt x="18" y="101"/>
                </a:lnTo>
                <a:lnTo>
                  <a:pt x="18" y="101"/>
                </a:lnTo>
                <a:lnTo>
                  <a:pt x="21" y="107"/>
                </a:lnTo>
                <a:lnTo>
                  <a:pt x="15" y="110"/>
                </a:lnTo>
                <a:lnTo>
                  <a:pt x="12" y="113"/>
                </a:lnTo>
                <a:lnTo>
                  <a:pt x="15" y="116"/>
                </a:lnTo>
                <a:lnTo>
                  <a:pt x="18" y="116"/>
                </a:lnTo>
                <a:lnTo>
                  <a:pt x="21" y="116"/>
                </a:lnTo>
                <a:lnTo>
                  <a:pt x="25" y="119"/>
                </a:lnTo>
                <a:lnTo>
                  <a:pt x="31" y="119"/>
                </a:lnTo>
                <a:lnTo>
                  <a:pt x="34" y="119"/>
                </a:lnTo>
                <a:lnTo>
                  <a:pt x="40" y="129"/>
                </a:lnTo>
                <a:lnTo>
                  <a:pt x="43" y="129"/>
                </a:lnTo>
                <a:lnTo>
                  <a:pt x="46" y="126"/>
                </a:lnTo>
                <a:lnTo>
                  <a:pt x="62" y="94"/>
                </a:lnTo>
                <a:lnTo>
                  <a:pt x="62" y="91"/>
                </a:lnTo>
                <a:lnTo>
                  <a:pt x="84" y="85"/>
                </a:lnTo>
                <a:lnTo>
                  <a:pt x="93" y="79"/>
                </a:lnTo>
                <a:lnTo>
                  <a:pt x="106" y="66"/>
                </a:lnTo>
                <a:lnTo>
                  <a:pt x="112" y="54"/>
                </a:lnTo>
                <a:lnTo>
                  <a:pt x="115" y="54"/>
                </a:lnTo>
                <a:lnTo>
                  <a:pt x="115" y="50"/>
                </a:lnTo>
                <a:lnTo>
                  <a:pt x="115" y="47"/>
                </a:lnTo>
                <a:lnTo>
                  <a:pt x="115" y="41"/>
                </a:lnTo>
                <a:lnTo>
                  <a:pt x="112" y="35"/>
                </a:lnTo>
                <a:lnTo>
                  <a:pt x="112" y="32"/>
                </a:lnTo>
                <a:lnTo>
                  <a:pt x="112" y="29"/>
                </a:lnTo>
                <a:lnTo>
                  <a:pt x="112" y="29"/>
                </a:lnTo>
                <a:lnTo>
                  <a:pt x="112" y="29"/>
                </a:lnTo>
                <a:close/>
                <a:moveTo>
                  <a:pt x="15" y="94"/>
                </a:moveTo>
                <a:lnTo>
                  <a:pt x="15" y="91"/>
                </a:lnTo>
                <a:lnTo>
                  <a:pt x="15" y="88"/>
                </a:lnTo>
                <a:lnTo>
                  <a:pt x="18" y="85"/>
                </a:lnTo>
                <a:lnTo>
                  <a:pt x="18" y="85"/>
                </a:lnTo>
                <a:lnTo>
                  <a:pt x="18" y="88"/>
                </a:lnTo>
                <a:lnTo>
                  <a:pt x="18" y="91"/>
                </a:lnTo>
                <a:lnTo>
                  <a:pt x="18" y="94"/>
                </a:lnTo>
                <a:lnTo>
                  <a:pt x="15" y="94"/>
                </a:lnTo>
                <a:lnTo>
                  <a:pt x="15" y="94"/>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5" name="Freeform 193">
            <a:extLst>
              <a:ext uri="{FF2B5EF4-FFF2-40B4-BE49-F238E27FC236}">
                <a16:creationId xmlns:a16="http://schemas.microsoft.com/office/drawing/2014/main" id="{EE2A6835-450E-2E8B-CFC8-04F45F113745}"/>
              </a:ext>
            </a:extLst>
          </p:cNvPr>
          <p:cNvSpPr>
            <a:spLocks/>
          </p:cNvSpPr>
          <p:nvPr userDrawn="1"/>
        </p:nvSpPr>
        <p:spPr bwMode="auto">
          <a:xfrm>
            <a:off x="8136993" y="9387759"/>
            <a:ext cx="803226" cy="1190626"/>
          </a:xfrm>
          <a:custGeom>
            <a:avLst/>
            <a:gdLst>
              <a:gd name="T0" fmla="*/ 232 w 253"/>
              <a:gd name="T1" fmla="*/ 222 h 375"/>
              <a:gd name="T2" fmla="*/ 219 w 253"/>
              <a:gd name="T3" fmla="*/ 222 h 375"/>
              <a:gd name="T4" fmla="*/ 219 w 253"/>
              <a:gd name="T5" fmla="*/ 197 h 375"/>
              <a:gd name="T6" fmla="*/ 200 w 253"/>
              <a:gd name="T7" fmla="*/ 200 h 375"/>
              <a:gd name="T8" fmla="*/ 178 w 253"/>
              <a:gd name="T9" fmla="*/ 187 h 375"/>
              <a:gd name="T10" fmla="*/ 157 w 253"/>
              <a:gd name="T11" fmla="*/ 165 h 375"/>
              <a:gd name="T12" fmla="*/ 150 w 253"/>
              <a:gd name="T13" fmla="*/ 153 h 375"/>
              <a:gd name="T14" fmla="*/ 153 w 253"/>
              <a:gd name="T15" fmla="*/ 137 h 375"/>
              <a:gd name="T16" fmla="*/ 163 w 253"/>
              <a:gd name="T17" fmla="*/ 128 h 375"/>
              <a:gd name="T18" fmla="*/ 166 w 253"/>
              <a:gd name="T19" fmla="*/ 109 h 375"/>
              <a:gd name="T20" fmla="*/ 178 w 253"/>
              <a:gd name="T21" fmla="*/ 97 h 375"/>
              <a:gd name="T22" fmla="*/ 207 w 253"/>
              <a:gd name="T23" fmla="*/ 87 h 375"/>
              <a:gd name="T24" fmla="*/ 216 w 253"/>
              <a:gd name="T25" fmla="*/ 84 h 375"/>
              <a:gd name="T26" fmla="*/ 225 w 253"/>
              <a:gd name="T27" fmla="*/ 87 h 375"/>
              <a:gd name="T28" fmla="*/ 213 w 253"/>
              <a:gd name="T29" fmla="*/ 78 h 375"/>
              <a:gd name="T30" fmla="*/ 219 w 253"/>
              <a:gd name="T31" fmla="*/ 53 h 375"/>
              <a:gd name="T32" fmla="*/ 210 w 253"/>
              <a:gd name="T33" fmla="*/ 46 h 375"/>
              <a:gd name="T34" fmla="*/ 188 w 253"/>
              <a:gd name="T35" fmla="*/ 46 h 375"/>
              <a:gd name="T36" fmla="*/ 172 w 253"/>
              <a:gd name="T37" fmla="*/ 50 h 375"/>
              <a:gd name="T38" fmla="*/ 166 w 253"/>
              <a:gd name="T39" fmla="*/ 43 h 375"/>
              <a:gd name="T40" fmla="*/ 160 w 253"/>
              <a:gd name="T41" fmla="*/ 31 h 375"/>
              <a:gd name="T42" fmla="*/ 141 w 253"/>
              <a:gd name="T43" fmla="*/ 18 h 375"/>
              <a:gd name="T44" fmla="*/ 128 w 253"/>
              <a:gd name="T45" fmla="*/ 6 h 375"/>
              <a:gd name="T46" fmla="*/ 119 w 253"/>
              <a:gd name="T47" fmla="*/ 3 h 375"/>
              <a:gd name="T48" fmla="*/ 122 w 253"/>
              <a:gd name="T49" fmla="*/ 21 h 375"/>
              <a:gd name="T50" fmla="*/ 100 w 253"/>
              <a:gd name="T51" fmla="*/ 50 h 375"/>
              <a:gd name="T52" fmla="*/ 53 w 253"/>
              <a:gd name="T53" fmla="*/ 97 h 375"/>
              <a:gd name="T54" fmla="*/ 38 w 253"/>
              <a:gd name="T55" fmla="*/ 90 h 375"/>
              <a:gd name="T56" fmla="*/ 22 w 253"/>
              <a:gd name="T57" fmla="*/ 87 h 375"/>
              <a:gd name="T58" fmla="*/ 25 w 253"/>
              <a:gd name="T59" fmla="*/ 72 h 375"/>
              <a:gd name="T60" fmla="*/ 10 w 253"/>
              <a:gd name="T61" fmla="*/ 81 h 375"/>
              <a:gd name="T62" fmla="*/ 0 w 253"/>
              <a:gd name="T63" fmla="*/ 97 h 375"/>
              <a:gd name="T64" fmla="*/ 3 w 253"/>
              <a:gd name="T65" fmla="*/ 106 h 375"/>
              <a:gd name="T66" fmla="*/ 7 w 253"/>
              <a:gd name="T67" fmla="*/ 118 h 375"/>
              <a:gd name="T68" fmla="*/ 10 w 253"/>
              <a:gd name="T69" fmla="*/ 128 h 375"/>
              <a:gd name="T70" fmla="*/ 32 w 253"/>
              <a:gd name="T71" fmla="*/ 140 h 375"/>
              <a:gd name="T72" fmla="*/ 41 w 253"/>
              <a:gd name="T73" fmla="*/ 159 h 375"/>
              <a:gd name="T74" fmla="*/ 57 w 253"/>
              <a:gd name="T75" fmla="*/ 178 h 375"/>
              <a:gd name="T76" fmla="*/ 66 w 253"/>
              <a:gd name="T77" fmla="*/ 197 h 375"/>
              <a:gd name="T78" fmla="*/ 75 w 253"/>
              <a:gd name="T79" fmla="*/ 219 h 375"/>
              <a:gd name="T80" fmla="*/ 78 w 253"/>
              <a:gd name="T81" fmla="*/ 228 h 375"/>
              <a:gd name="T82" fmla="*/ 91 w 253"/>
              <a:gd name="T83" fmla="*/ 247 h 375"/>
              <a:gd name="T84" fmla="*/ 103 w 253"/>
              <a:gd name="T85" fmla="*/ 265 h 375"/>
              <a:gd name="T86" fmla="*/ 107 w 253"/>
              <a:gd name="T87" fmla="*/ 278 h 375"/>
              <a:gd name="T88" fmla="*/ 110 w 253"/>
              <a:gd name="T89" fmla="*/ 287 h 375"/>
              <a:gd name="T90" fmla="*/ 119 w 253"/>
              <a:gd name="T91" fmla="*/ 297 h 375"/>
              <a:gd name="T92" fmla="*/ 132 w 253"/>
              <a:gd name="T93" fmla="*/ 306 h 375"/>
              <a:gd name="T94" fmla="*/ 141 w 253"/>
              <a:gd name="T95" fmla="*/ 312 h 375"/>
              <a:gd name="T96" fmla="*/ 153 w 253"/>
              <a:gd name="T97" fmla="*/ 322 h 375"/>
              <a:gd name="T98" fmla="*/ 163 w 253"/>
              <a:gd name="T99" fmla="*/ 331 h 375"/>
              <a:gd name="T100" fmla="*/ 182 w 253"/>
              <a:gd name="T101" fmla="*/ 337 h 375"/>
              <a:gd name="T102" fmla="*/ 194 w 253"/>
              <a:gd name="T103" fmla="*/ 347 h 375"/>
              <a:gd name="T104" fmla="*/ 203 w 253"/>
              <a:gd name="T105" fmla="*/ 356 h 375"/>
              <a:gd name="T106" fmla="*/ 213 w 253"/>
              <a:gd name="T107" fmla="*/ 362 h 375"/>
              <a:gd name="T108" fmla="*/ 228 w 253"/>
              <a:gd name="T109" fmla="*/ 375 h 375"/>
              <a:gd name="T110" fmla="*/ 244 w 253"/>
              <a:gd name="T111" fmla="*/ 369 h 375"/>
              <a:gd name="T112" fmla="*/ 244 w 253"/>
              <a:gd name="T113" fmla="*/ 353 h 375"/>
              <a:gd name="T114" fmla="*/ 241 w 253"/>
              <a:gd name="T115" fmla="*/ 350 h 375"/>
              <a:gd name="T116" fmla="*/ 253 w 253"/>
              <a:gd name="T117" fmla="*/ 331 h 375"/>
              <a:gd name="T118" fmla="*/ 250 w 253"/>
              <a:gd name="T119" fmla="*/ 306 h 375"/>
              <a:gd name="T120" fmla="*/ 250 w 253"/>
              <a:gd name="T121" fmla="*/ 281 h 375"/>
              <a:gd name="T122" fmla="*/ 253 w 253"/>
              <a:gd name="T123" fmla="*/ 25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375">
                <a:moveTo>
                  <a:pt x="238" y="222"/>
                </a:moveTo>
                <a:lnTo>
                  <a:pt x="235" y="222"/>
                </a:lnTo>
                <a:lnTo>
                  <a:pt x="235" y="222"/>
                </a:lnTo>
                <a:lnTo>
                  <a:pt x="232" y="222"/>
                </a:lnTo>
                <a:lnTo>
                  <a:pt x="228" y="222"/>
                </a:lnTo>
                <a:lnTo>
                  <a:pt x="225" y="222"/>
                </a:lnTo>
                <a:lnTo>
                  <a:pt x="219" y="222"/>
                </a:lnTo>
                <a:lnTo>
                  <a:pt x="219" y="222"/>
                </a:lnTo>
                <a:lnTo>
                  <a:pt x="216" y="215"/>
                </a:lnTo>
                <a:lnTo>
                  <a:pt x="216" y="203"/>
                </a:lnTo>
                <a:lnTo>
                  <a:pt x="216" y="197"/>
                </a:lnTo>
                <a:lnTo>
                  <a:pt x="219" y="197"/>
                </a:lnTo>
                <a:lnTo>
                  <a:pt x="219" y="190"/>
                </a:lnTo>
                <a:lnTo>
                  <a:pt x="216" y="190"/>
                </a:lnTo>
                <a:lnTo>
                  <a:pt x="210" y="194"/>
                </a:lnTo>
                <a:lnTo>
                  <a:pt x="200" y="200"/>
                </a:lnTo>
                <a:lnTo>
                  <a:pt x="191" y="200"/>
                </a:lnTo>
                <a:lnTo>
                  <a:pt x="185" y="200"/>
                </a:lnTo>
                <a:lnTo>
                  <a:pt x="182" y="194"/>
                </a:lnTo>
                <a:lnTo>
                  <a:pt x="178" y="187"/>
                </a:lnTo>
                <a:lnTo>
                  <a:pt x="172" y="187"/>
                </a:lnTo>
                <a:lnTo>
                  <a:pt x="160" y="187"/>
                </a:lnTo>
                <a:lnTo>
                  <a:pt x="166" y="181"/>
                </a:lnTo>
                <a:lnTo>
                  <a:pt x="157" y="165"/>
                </a:lnTo>
                <a:lnTo>
                  <a:pt x="150" y="162"/>
                </a:lnTo>
                <a:lnTo>
                  <a:pt x="150" y="159"/>
                </a:lnTo>
                <a:lnTo>
                  <a:pt x="150" y="156"/>
                </a:lnTo>
                <a:lnTo>
                  <a:pt x="150" y="153"/>
                </a:lnTo>
                <a:lnTo>
                  <a:pt x="150" y="147"/>
                </a:lnTo>
                <a:lnTo>
                  <a:pt x="150" y="143"/>
                </a:lnTo>
                <a:lnTo>
                  <a:pt x="153" y="143"/>
                </a:lnTo>
                <a:lnTo>
                  <a:pt x="153" y="137"/>
                </a:lnTo>
                <a:lnTo>
                  <a:pt x="157" y="134"/>
                </a:lnTo>
                <a:lnTo>
                  <a:pt x="160" y="134"/>
                </a:lnTo>
                <a:lnTo>
                  <a:pt x="163" y="131"/>
                </a:lnTo>
                <a:lnTo>
                  <a:pt x="163" y="128"/>
                </a:lnTo>
                <a:lnTo>
                  <a:pt x="160" y="122"/>
                </a:lnTo>
                <a:lnTo>
                  <a:pt x="166" y="115"/>
                </a:lnTo>
                <a:lnTo>
                  <a:pt x="166" y="112"/>
                </a:lnTo>
                <a:lnTo>
                  <a:pt x="166" y="109"/>
                </a:lnTo>
                <a:lnTo>
                  <a:pt x="166" y="106"/>
                </a:lnTo>
                <a:lnTo>
                  <a:pt x="169" y="103"/>
                </a:lnTo>
                <a:lnTo>
                  <a:pt x="175" y="100"/>
                </a:lnTo>
                <a:lnTo>
                  <a:pt x="178" y="97"/>
                </a:lnTo>
                <a:lnTo>
                  <a:pt x="182" y="97"/>
                </a:lnTo>
                <a:lnTo>
                  <a:pt x="185" y="93"/>
                </a:lnTo>
                <a:lnTo>
                  <a:pt x="194" y="90"/>
                </a:lnTo>
                <a:lnTo>
                  <a:pt x="207" y="87"/>
                </a:lnTo>
                <a:lnTo>
                  <a:pt x="210" y="84"/>
                </a:lnTo>
                <a:lnTo>
                  <a:pt x="210" y="84"/>
                </a:lnTo>
                <a:lnTo>
                  <a:pt x="213" y="84"/>
                </a:lnTo>
                <a:lnTo>
                  <a:pt x="216" y="84"/>
                </a:lnTo>
                <a:lnTo>
                  <a:pt x="219" y="87"/>
                </a:lnTo>
                <a:lnTo>
                  <a:pt x="219" y="87"/>
                </a:lnTo>
                <a:lnTo>
                  <a:pt x="222" y="90"/>
                </a:lnTo>
                <a:lnTo>
                  <a:pt x="225" y="87"/>
                </a:lnTo>
                <a:lnTo>
                  <a:pt x="225" y="81"/>
                </a:lnTo>
                <a:lnTo>
                  <a:pt x="222" y="78"/>
                </a:lnTo>
                <a:lnTo>
                  <a:pt x="216" y="78"/>
                </a:lnTo>
                <a:lnTo>
                  <a:pt x="213" y="78"/>
                </a:lnTo>
                <a:lnTo>
                  <a:pt x="210" y="75"/>
                </a:lnTo>
                <a:lnTo>
                  <a:pt x="222" y="53"/>
                </a:lnTo>
                <a:lnTo>
                  <a:pt x="222" y="53"/>
                </a:lnTo>
                <a:lnTo>
                  <a:pt x="219" y="53"/>
                </a:lnTo>
                <a:lnTo>
                  <a:pt x="219" y="50"/>
                </a:lnTo>
                <a:lnTo>
                  <a:pt x="213" y="46"/>
                </a:lnTo>
                <a:lnTo>
                  <a:pt x="210" y="46"/>
                </a:lnTo>
                <a:lnTo>
                  <a:pt x="210" y="46"/>
                </a:lnTo>
                <a:lnTo>
                  <a:pt x="207" y="46"/>
                </a:lnTo>
                <a:lnTo>
                  <a:pt x="200" y="50"/>
                </a:lnTo>
                <a:lnTo>
                  <a:pt x="194" y="46"/>
                </a:lnTo>
                <a:lnTo>
                  <a:pt x="188" y="46"/>
                </a:lnTo>
                <a:lnTo>
                  <a:pt x="182" y="50"/>
                </a:lnTo>
                <a:lnTo>
                  <a:pt x="182" y="50"/>
                </a:lnTo>
                <a:lnTo>
                  <a:pt x="175" y="50"/>
                </a:lnTo>
                <a:lnTo>
                  <a:pt x="172" y="50"/>
                </a:lnTo>
                <a:lnTo>
                  <a:pt x="169" y="50"/>
                </a:lnTo>
                <a:lnTo>
                  <a:pt x="166" y="50"/>
                </a:lnTo>
                <a:lnTo>
                  <a:pt x="163" y="46"/>
                </a:lnTo>
                <a:lnTo>
                  <a:pt x="166" y="43"/>
                </a:lnTo>
                <a:lnTo>
                  <a:pt x="163" y="40"/>
                </a:lnTo>
                <a:lnTo>
                  <a:pt x="160" y="37"/>
                </a:lnTo>
                <a:lnTo>
                  <a:pt x="160" y="37"/>
                </a:lnTo>
                <a:lnTo>
                  <a:pt x="160" y="31"/>
                </a:lnTo>
                <a:lnTo>
                  <a:pt x="153" y="28"/>
                </a:lnTo>
                <a:lnTo>
                  <a:pt x="144" y="25"/>
                </a:lnTo>
                <a:lnTo>
                  <a:pt x="144" y="25"/>
                </a:lnTo>
                <a:lnTo>
                  <a:pt x="141" y="18"/>
                </a:lnTo>
                <a:lnTo>
                  <a:pt x="138" y="12"/>
                </a:lnTo>
                <a:lnTo>
                  <a:pt x="135" y="9"/>
                </a:lnTo>
                <a:lnTo>
                  <a:pt x="135" y="6"/>
                </a:lnTo>
                <a:lnTo>
                  <a:pt x="128" y="6"/>
                </a:lnTo>
                <a:lnTo>
                  <a:pt x="122" y="3"/>
                </a:lnTo>
                <a:lnTo>
                  <a:pt x="119" y="0"/>
                </a:lnTo>
                <a:lnTo>
                  <a:pt x="119" y="0"/>
                </a:lnTo>
                <a:lnTo>
                  <a:pt x="119" y="3"/>
                </a:lnTo>
                <a:lnTo>
                  <a:pt x="119" y="6"/>
                </a:lnTo>
                <a:lnTo>
                  <a:pt x="122" y="12"/>
                </a:lnTo>
                <a:lnTo>
                  <a:pt x="122" y="18"/>
                </a:lnTo>
                <a:lnTo>
                  <a:pt x="122" y="21"/>
                </a:lnTo>
                <a:lnTo>
                  <a:pt x="122" y="25"/>
                </a:lnTo>
                <a:lnTo>
                  <a:pt x="119" y="25"/>
                </a:lnTo>
                <a:lnTo>
                  <a:pt x="113" y="37"/>
                </a:lnTo>
                <a:lnTo>
                  <a:pt x="100" y="50"/>
                </a:lnTo>
                <a:lnTo>
                  <a:pt x="91" y="56"/>
                </a:lnTo>
                <a:lnTo>
                  <a:pt x="69" y="62"/>
                </a:lnTo>
                <a:lnTo>
                  <a:pt x="69" y="65"/>
                </a:lnTo>
                <a:lnTo>
                  <a:pt x="53" y="97"/>
                </a:lnTo>
                <a:lnTo>
                  <a:pt x="50" y="100"/>
                </a:lnTo>
                <a:lnTo>
                  <a:pt x="47" y="100"/>
                </a:lnTo>
                <a:lnTo>
                  <a:pt x="41" y="90"/>
                </a:lnTo>
                <a:lnTo>
                  <a:pt x="38" y="90"/>
                </a:lnTo>
                <a:lnTo>
                  <a:pt x="32" y="90"/>
                </a:lnTo>
                <a:lnTo>
                  <a:pt x="28" y="87"/>
                </a:lnTo>
                <a:lnTo>
                  <a:pt x="25" y="87"/>
                </a:lnTo>
                <a:lnTo>
                  <a:pt x="22" y="87"/>
                </a:lnTo>
                <a:lnTo>
                  <a:pt x="19" y="84"/>
                </a:lnTo>
                <a:lnTo>
                  <a:pt x="22" y="81"/>
                </a:lnTo>
                <a:lnTo>
                  <a:pt x="28" y="78"/>
                </a:lnTo>
                <a:lnTo>
                  <a:pt x="25" y="72"/>
                </a:lnTo>
                <a:lnTo>
                  <a:pt x="25" y="72"/>
                </a:lnTo>
                <a:lnTo>
                  <a:pt x="25" y="72"/>
                </a:lnTo>
                <a:lnTo>
                  <a:pt x="16" y="78"/>
                </a:lnTo>
                <a:lnTo>
                  <a:pt x="10" y="81"/>
                </a:lnTo>
                <a:lnTo>
                  <a:pt x="3" y="87"/>
                </a:lnTo>
                <a:lnTo>
                  <a:pt x="3" y="90"/>
                </a:lnTo>
                <a:lnTo>
                  <a:pt x="0" y="97"/>
                </a:lnTo>
                <a:lnTo>
                  <a:pt x="0" y="97"/>
                </a:lnTo>
                <a:lnTo>
                  <a:pt x="3" y="100"/>
                </a:lnTo>
                <a:lnTo>
                  <a:pt x="7" y="103"/>
                </a:lnTo>
                <a:lnTo>
                  <a:pt x="3" y="103"/>
                </a:lnTo>
                <a:lnTo>
                  <a:pt x="3" y="106"/>
                </a:lnTo>
                <a:lnTo>
                  <a:pt x="7" y="109"/>
                </a:lnTo>
                <a:lnTo>
                  <a:pt x="10" y="115"/>
                </a:lnTo>
                <a:lnTo>
                  <a:pt x="10" y="118"/>
                </a:lnTo>
                <a:lnTo>
                  <a:pt x="7" y="118"/>
                </a:lnTo>
                <a:lnTo>
                  <a:pt x="3" y="122"/>
                </a:lnTo>
                <a:lnTo>
                  <a:pt x="0" y="125"/>
                </a:lnTo>
                <a:lnTo>
                  <a:pt x="7" y="128"/>
                </a:lnTo>
                <a:lnTo>
                  <a:pt x="10" y="128"/>
                </a:lnTo>
                <a:lnTo>
                  <a:pt x="16" y="134"/>
                </a:lnTo>
                <a:lnTo>
                  <a:pt x="19" y="134"/>
                </a:lnTo>
                <a:lnTo>
                  <a:pt x="28" y="140"/>
                </a:lnTo>
                <a:lnTo>
                  <a:pt x="32" y="140"/>
                </a:lnTo>
                <a:lnTo>
                  <a:pt x="35" y="143"/>
                </a:lnTo>
                <a:lnTo>
                  <a:pt x="38" y="150"/>
                </a:lnTo>
                <a:lnTo>
                  <a:pt x="38" y="156"/>
                </a:lnTo>
                <a:lnTo>
                  <a:pt x="41" y="159"/>
                </a:lnTo>
                <a:lnTo>
                  <a:pt x="47" y="162"/>
                </a:lnTo>
                <a:lnTo>
                  <a:pt x="53" y="168"/>
                </a:lnTo>
                <a:lnTo>
                  <a:pt x="53" y="175"/>
                </a:lnTo>
                <a:lnTo>
                  <a:pt x="57" y="178"/>
                </a:lnTo>
                <a:lnTo>
                  <a:pt x="57" y="184"/>
                </a:lnTo>
                <a:lnTo>
                  <a:pt x="60" y="190"/>
                </a:lnTo>
                <a:lnTo>
                  <a:pt x="63" y="190"/>
                </a:lnTo>
                <a:lnTo>
                  <a:pt x="66" y="197"/>
                </a:lnTo>
                <a:lnTo>
                  <a:pt x="66" y="203"/>
                </a:lnTo>
                <a:lnTo>
                  <a:pt x="66" y="203"/>
                </a:lnTo>
                <a:lnTo>
                  <a:pt x="69" y="209"/>
                </a:lnTo>
                <a:lnTo>
                  <a:pt x="75" y="219"/>
                </a:lnTo>
                <a:lnTo>
                  <a:pt x="75" y="222"/>
                </a:lnTo>
                <a:lnTo>
                  <a:pt x="75" y="225"/>
                </a:lnTo>
                <a:lnTo>
                  <a:pt x="75" y="228"/>
                </a:lnTo>
                <a:lnTo>
                  <a:pt x="78" y="228"/>
                </a:lnTo>
                <a:lnTo>
                  <a:pt x="85" y="234"/>
                </a:lnTo>
                <a:lnTo>
                  <a:pt x="88" y="237"/>
                </a:lnTo>
                <a:lnTo>
                  <a:pt x="88" y="244"/>
                </a:lnTo>
                <a:lnTo>
                  <a:pt x="91" y="247"/>
                </a:lnTo>
                <a:lnTo>
                  <a:pt x="94" y="250"/>
                </a:lnTo>
                <a:lnTo>
                  <a:pt x="97" y="253"/>
                </a:lnTo>
                <a:lnTo>
                  <a:pt x="100" y="262"/>
                </a:lnTo>
                <a:lnTo>
                  <a:pt x="103" y="265"/>
                </a:lnTo>
                <a:lnTo>
                  <a:pt x="110" y="275"/>
                </a:lnTo>
                <a:lnTo>
                  <a:pt x="110" y="278"/>
                </a:lnTo>
                <a:lnTo>
                  <a:pt x="107" y="281"/>
                </a:lnTo>
                <a:lnTo>
                  <a:pt x="107" y="278"/>
                </a:lnTo>
                <a:lnTo>
                  <a:pt x="107" y="281"/>
                </a:lnTo>
                <a:lnTo>
                  <a:pt x="107" y="284"/>
                </a:lnTo>
                <a:lnTo>
                  <a:pt x="107" y="287"/>
                </a:lnTo>
                <a:lnTo>
                  <a:pt x="110" y="287"/>
                </a:lnTo>
                <a:lnTo>
                  <a:pt x="113" y="287"/>
                </a:lnTo>
                <a:lnTo>
                  <a:pt x="113" y="290"/>
                </a:lnTo>
                <a:lnTo>
                  <a:pt x="110" y="294"/>
                </a:lnTo>
                <a:lnTo>
                  <a:pt x="119" y="297"/>
                </a:lnTo>
                <a:lnTo>
                  <a:pt x="125" y="300"/>
                </a:lnTo>
                <a:lnTo>
                  <a:pt x="125" y="303"/>
                </a:lnTo>
                <a:lnTo>
                  <a:pt x="128" y="306"/>
                </a:lnTo>
                <a:lnTo>
                  <a:pt x="132" y="306"/>
                </a:lnTo>
                <a:lnTo>
                  <a:pt x="132" y="309"/>
                </a:lnTo>
                <a:lnTo>
                  <a:pt x="135" y="312"/>
                </a:lnTo>
                <a:lnTo>
                  <a:pt x="135" y="316"/>
                </a:lnTo>
                <a:lnTo>
                  <a:pt x="141" y="312"/>
                </a:lnTo>
                <a:lnTo>
                  <a:pt x="144" y="312"/>
                </a:lnTo>
                <a:lnTo>
                  <a:pt x="144" y="316"/>
                </a:lnTo>
                <a:lnTo>
                  <a:pt x="147" y="319"/>
                </a:lnTo>
                <a:lnTo>
                  <a:pt x="153" y="322"/>
                </a:lnTo>
                <a:lnTo>
                  <a:pt x="157" y="325"/>
                </a:lnTo>
                <a:lnTo>
                  <a:pt x="157" y="328"/>
                </a:lnTo>
                <a:lnTo>
                  <a:pt x="160" y="328"/>
                </a:lnTo>
                <a:lnTo>
                  <a:pt x="163" y="331"/>
                </a:lnTo>
                <a:lnTo>
                  <a:pt x="166" y="331"/>
                </a:lnTo>
                <a:lnTo>
                  <a:pt x="169" y="331"/>
                </a:lnTo>
                <a:lnTo>
                  <a:pt x="175" y="337"/>
                </a:lnTo>
                <a:lnTo>
                  <a:pt x="182" y="337"/>
                </a:lnTo>
                <a:lnTo>
                  <a:pt x="185" y="337"/>
                </a:lnTo>
                <a:lnTo>
                  <a:pt x="188" y="341"/>
                </a:lnTo>
                <a:lnTo>
                  <a:pt x="188" y="341"/>
                </a:lnTo>
                <a:lnTo>
                  <a:pt x="194" y="347"/>
                </a:lnTo>
                <a:lnTo>
                  <a:pt x="197" y="347"/>
                </a:lnTo>
                <a:lnTo>
                  <a:pt x="200" y="353"/>
                </a:lnTo>
                <a:lnTo>
                  <a:pt x="203" y="353"/>
                </a:lnTo>
                <a:lnTo>
                  <a:pt x="203" y="356"/>
                </a:lnTo>
                <a:lnTo>
                  <a:pt x="203" y="356"/>
                </a:lnTo>
                <a:lnTo>
                  <a:pt x="203" y="359"/>
                </a:lnTo>
                <a:lnTo>
                  <a:pt x="210" y="362"/>
                </a:lnTo>
                <a:lnTo>
                  <a:pt x="213" y="362"/>
                </a:lnTo>
                <a:lnTo>
                  <a:pt x="219" y="369"/>
                </a:lnTo>
                <a:lnTo>
                  <a:pt x="222" y="372"/>
                </a:lnTo>
                <a:lnTo>
                  <a:pt x="225" y="375"/>
                </a:lnTo>
                <a:lnTo>
                  <a:pt x="228" y="375"/>
                </a:lnTo>
                <a:lnTo>
                  <a:pt x="232" y="372"/>
                </a:lnTo>
                <a:lnTo>
                  <a:pt x="238" y="369"/>
                </a:lnTo>
                <a:lnTo>
                  <a:pt x="238" y="369"/>
                </a:lnTo>
                <a:lnTo>
                  <a:pt x="244" y="369"/>
                </a:lnTo>
                <a:lnTo>
                  <a:pt x="244" y="366"/>
                </a:lnTo>
                <a:lnTo>
                  <a:pt x="241" y="362"/>
                </a:lnTo>
                <a:lnTo>
                  <a:pt x="241" y="356"/>
                </a:lnTo>
                <a:lnTo>
                  <a:pt x="244" y="353"/>
                </a:lnTo>
                <a:lnTo>
                  <a:pt x="247" y="356"/>
                </a:lnTo>
                <a:lnTo>
                  <a:pt x="247" y="353"/>
                </a:lnTo>
                <a:lnTo>
                  <a:pt x="244" y="353"/>
                </a:lnTo>
                <a:lnTo>
                  <a:pt x="241" y="350"/>
                </a:lnTo>
                <a:lnTo>
                  <a:pt x="244" y="344"/>
                </a:lnTo>
                <a:lnTo>
                  <a:pt x="250" y="341"/>
                </a:lnTo>
                <a:lnTo>
                  <a:pt x="253" y="334"/>
                </a:lnTo>
                <a:lnTo>
                  <a:pt x="253" y="331"/>
                </a:lnTo>
                <a:lnTo>
                  <a:pt x="247" y="319"/>
                </a:lnTo>
                <a:lnTo>
                  <a:pt x="250" y="316"/>
                </a:lnTo>
                <a:lnTo>
                  <a:pt x="250" y="309"/>
                </a:lnTo>
                <a:lnTo>
                  <a:pt x="250" y="306"/>
                </a:lnTo>
                <a:lnTo>
                  <a:pt x="247" y="303"/>
                </a:lnTo>
                <a:lnTo>
                  <a:pt x="250" y="300"/>
                </a:lnTo>
                <a:lnTo>
                  <a:pt x="250" y="294"/>
                </a:lnTo>
                <a:lnTo>
                  <a:pt x="250" y="281"/>
                </a:lnTo>
                <a:lnTo>
                  <a:pt x="250" y="275"/>
                </a:lnTo>
                <a:lnTo>
                  <a:pt x="250" y="269"/>
                </a:lnTo>
                <a:lnTo>
                  <a:pt x="250" y="256"/>
                </a:lnTo>
                <a:lnTo>
                  <a:pt x="253" y="250"/>
                </a:lnTo>
                <a:lnTo>
                  <a:pt x="253" y="247"/>
                </a:lnTo>
                <a:lnTo>
                  <a:pt x="238" y="222"/>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6" name="Freeform 194">
            <a:extLst>
              <a:ext uri="{FF2B5EF4-FFF2-40B4-BE49-F238E27FC236}">
                <a16:creationId xmlns:a16="http://schemas.microsoft.com/office/drawing/2014/main" id="{84F21FE4-DAC7-1475-3D86-0152371FB15B}"/>
              </a:ext>
            </a:extLst>
          </p:cNvPr>
          <p:cNvSpPr>
            <a:spLocks/>
          </p:cNvSpPr>
          <p:nvPr userDrawn="1"/>
        </p:nvSpPr>
        <p:spPr bwMode="auto">
          <a:xfrm>
            <a:off x="8892594" y="10003709"/>
            <a:ext cx="774652" cy="873126"/>
          </a:xfrm>
          <a:custGeom>
            <a:avLst/>
            <a:gdLst>
              <a:gd name="T0" fmla="*/ 234 w 244"/>
              <a:gd name="T1" fmla="*/ 203 h 275"/>
              <a:gd name="T2" fmla="*/ 231 w 244"/>
              <a:gd name="T3" fmla="*/ 156 h 275"/>
              <a:gd name="T4" fmla="*/ 222 w 244"/>
              <a:gd name="T5" fmla="*/ 131 h 275"/>
              <a:gd name="T6" fmla="*/ 181 w 244"/>
              <a:gd name="T7" fmla="*/ 109 h 275"/>
              <a:gd name="T8" fmla="*/ 181 w 244"/>
              <a:gd name="T9" fmla="*/ 90 h 275"/>
              <a:gd name="T10" fmla="*/ 159 w 244"/>
              <a:gd name="T11" fmla="*/ 81 h 275"/>
              <a:gd name="T12" fmla="*/ 150 w 244"/>
              <a:gd name="T13" fmla="*/ 71 h 275"/>
              <a:gd name="T14" fmla="*/ 134 w 244"/>
              <a:gd name="T15" fmla="*/ 68 h 275"/>
              <a:gd name="T16" fmla="*/ 115 w 244"/>
              <a:gd name="T17" fmla="*/ 56 h 275"/>
              <a:gd name="T18" fmla="*/ 100 w 244"/>
              <a:gd name="T19" fmla="*/ 56 h 275"/>
              <a:gd name="T20" fmla="*/ 87 w 244"/>
              <a:gd name="T21" fmla="*/ 43 h 275"/>
              <a:gd name="T22" fmla="*/ 81 w 244"/>
              <a:gd name="T23" fmla="*/ 28 h 275"/>
              <a:gd name="T24" fmla="*/ 81 w 244"/>
              <a:gd name="T25" fmla="*/ 9 h 275"/>
              <a:gd name="T26" fmla="*/ 75 w 244"/>
              <a:gd name="T27" fmla="*/ 3 h 275"/>
              <a:gd name="T28" fmla="*/ 59 w 244"/>
              <a:gd name="T29" fmla="*/ 3 h 275"/>
              <a:gd name="T30" fmla="*/ 40 w 244"/>
              <a:gd name="T31" fmla="*/ 21 h 275"/>
              <a:gd name="T32" fmla="*/ 25 w 244"/>
              <a:gd name="T33" fmla="*/ 25 h 275"/>
              <a:gd name="T34" fmla="*/ 12 w 244"/>
              <a:gd name="T35" fmla="*/ 28 h 275"/>
              <a:gd name="T36" fmla="*/ 15 w 244"/>
              <a:gd name="T37" fmla="*/ 56 h 275"/>
              <a:gd name="T38" fmla="*/ 12 w 244"/>
              <a:gd name="T39" fmla="*/ 81 h 275"/>
              <a:gd name="T40" fmla="*/ 12 w 244"/>
              <a:gd name="T41" fmla="*/ 106 h 275"/>
              <a:gd name="T42" fmla="*/ 12 w 244"/>
              <a:gd name="T43" fmla="*/ 115 h 275"/>
              <a:gd name="T44" fmla="*/ 15 w 244"/>
              <a:gd name="T45" fmla="*/ 137 h 275"/>
              <a:gd name="T46" fmla="*/ 6 w 244"/>
              <a:gd name="T47" fmla="*/ 150 h 275"/>
              <a:gd name="T48" fmla="*/ 9 w 244"/>
              <a:gd name="T49" fmla="*/ 159 h 275"/>
              <a:gd name="T50" fmla="*/ 9 w 244"/>
              <a:gd name="T51" fmla="*/ 165 h 275"/>
              <a:gd name="T52" fmla="*/ 15 w 244"/>
              <a:gd name="T53" fmla="*/ 175 h 275"/>
              <a:gd name="T54" fmla="*/ 19 w 244"/>
              <a:gd name="T55" fmla="*/ 187 h 275"/>
              <a:gd name="T56" fmla="*/ 31 w 244"/>
              <a:gd name="T57" fmla="*/ 203 h 275"/>
              <a:gd name="T58" fmla="*/ 25 w 244"/>
              <a:gd name="T59" fmla="*/ 222 h 275"/>
              <a:gd name="T60" fmla="*/ 53 w 244"/>
              <a:gd name="T61" fmla="*/ 275 h 275"/>
              <a:gd name="T62" fmla="*/ 62 w 244"/>
              <a:gd name="T63" fmla="*/ 272 h 275"/>
              <a:gd name="T64" fmla="*/ 69 w 244"/>
              <a:gd name="T65" fmla="*/ 262 h 275"/>
              <a:gd name="T66" fmla="*/ 84 w 244"/>
              <a:gd name="T67" fmla="*/ 256 h 275"/>
              <a:gd name="T68" fmla="*/ 100 w 244"/>
              <a:gd name="T69" fmla="*/ 256 h 275"/>
              <a:gd name="T70" fmla="*/ 109 w 244"/>
              <a:gd name="T71" fmla="*/ 259 h 275"/>
              <a:gd name="T72" fmla="*/ 115 w 244"/>
              <a:gd name="T73" fmla="*/ 269 h 275"/>
              <a:gd name="T74" fmla="*/ 119 w 244"/>
              <a:gd name="T75" fmla="*/ 256 h 275"/>
              <a:gd name="T76" fmla="*/ 144 w 244"/>
              <a:gd name="T77" fmla="*/ 253 h 275"/>
              <a:gd name="T78" fmla="*/ 153 w 244"/>
              <a:gd name="T79" fmla="*/ 240 h 275"/>
              <a:gd name="T80" fmla="*/ 150 w 244"/>
              <a:gd name="T81" fmla="*/ 225 h 275"/>
              <a:gd name="T82" fmla="*/ 159 w 244"/>
              <a:gd name="T83" fmla="*/ 206 h 275"/>
              <a:gd name="T84" fmla="*/ 212 w 244"/>
              <a:gd name="T85" fmla="*/ 197 h 275"/>
              <a:gd name="T86" fmla="*/ 231 w 244"/>
              <a:gd name="T87" fmla="*/ 20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4" h="275">
                <a:moveTo>
                  <a:pt x="231" y="209"/>
                </a:moveTo>
                <a:lnTo>
                  <a:pt x="234" y="203"/>
                </a:lnTo>
                <a:lnTo>
                  <a:pt x="234" y="203"/>
                </a:lnTo>
                <a:lnTo>
                  <a:pt x="244" y="181"/>
                </a:lnTo>
                <a:lnTo>
                  <a:pt x="244" y="172"/>
                </a:lnTo>
                <a:lnTo>
                  <a:pt x="231" y="156"/>
                </a:lnTo>
                <a:lnTo>
                  <a:pt x="222" y="153"/>
                </a:lnTo>
                <a:lnTo>
                  <a:pt x="222" y="143"/>
                </a:lnTo>
                <a:lnTo>
                  <a:pt x="222" y="131"/>
                </a:lnTo>
                <a:lnTo>
                  <a:pt x="187" y="131"/>
                </a:lnTo>
                <a:lnTo>
                  <a:pt x="187" y="122"/>
                </a:lnTo>
                <a:lnTo>
                  <a:pt x="181" y="109"/>
                </a:lnTo>
                <a:lnTo>
                  <a:pt x="181" y="106"/>
                </a:lnTo>
                <a:lnTo>
                  <a:pt x="181" y="96"/>
                </a:lnTo>
                <a:lnTo>
                  <a:pt x="181" y="90"/>
                </a:lnTo>
                <a:lnTo>
                  <a:pt x="181" y="84"/>
                </a:lnTo>
                <a:lnTo>
                  <a:pt x="172" y="81"/>
                </a:lnTo>
                <a:lnTo>
                  <a:pt x="159" y="81"/>
                </a:lnTo>
                <a:lnTo>
                  <a:pt x="156" y="78"/>
                </a:lnTo>
                <a:lnTo>
                  <a:pt x="153" y="78"/>
                </a:lnTo>
                <a:lnTo>
                  <a:pt x="150" y="71"/>
                </a:lnTo>
                <a:lnTo>
                  <a:pt x="144" y="71"/>
                </a:lnTo>
                <a:lnTo>
                  <a:pt x="137" y="68"/>
                </a:lnTo>
                <a:lnTo>
                  <a:pt x="134" y="68"/>
                </a:lnTo>
                <a:lnTo>
                  <a:pt x="125" y="59"/>
                </a:lnTo>
                <a:lnTo>
                  <a:pt x="122" y="62"/>
                </a:lnTo>
                <a:lnTo>
                  <a:pt x="115" y="56"/>
                </a:lnTo>
                <a:lnTo>
                  <a:pt x="106" y="56"/>
                </a:lnTo>
                <a:lnTo>
                  <a:pt x="106" y="59"/>
                </a:lnTo>
                <a:lnTo>
                  <a:pt x="100" y="56"/>
                </a:lnTo>
                <a:lnTo>
                  <a:pt x="94" y="50"/>
                </a:lnTo>
                <a:lnTo>
                  <a:pt x="90" y="50"/>
                </a:lnTo>
                <a:lnTo>
                  <a:pt x="87" y="43"/>
                </a:lnTo>
                <a:lnTo>
                  <a:pt x="84" y="40"/>
                </a:lnTo>
                <a:lnTo>
                  <a:pt x="81" y="34"/>
                </a:lnTo>
                <a:lnTo>
                  <a:pt x="81" y="28"/>
                </a:lnTo>
                <a:lnTo>
                  <a:pt x="78" y="21"/>
                </a:lnTo>
                <a:lnTo>
                  <a:pt x="81" y="15"/>
                </a:lnTo>
                <a:lnTo>
                  <a:pt x="81" y="9"/>
                </a:lnTo>
                <a:lnTo>
                  <a:pt x="81" y="3"/>
                </a:lnTo>
                <a:lnTo>
                  <a:pt x="78" y="0"/>
                </a:lnTo>
                <a:lnTo>
                  <a:pt x="75" y="3"/>
                </a:lnTo>
                <a:lnTo>
                  <a:pt x="69" y="0"/>
                </a:lnTo>
                <a:lnTo>
                  <a:pt x="65" y="0"/>
                </a:lnTo>
                <a:lnTo>
                  <a:pt x="59" y="3"/>
                </a:lnTo>
                <a:lnTo>
                  <a:pt x="53" y="6"/>
                </a:lnTo>
                <a:lnTo>
                  <a:pt x="44" y="12"/>
                </a:lnTo>
                <a:lnTo>
                  <a:pt x="40" y="21"/>
                </a:lnTo>
                <a:lnTo>
                  <a:pt x="34" y="21"/>
                </a:lnTo>
                <a:lnTo>
                  <a:pt x="31" y="21"/>
                </a:lnTo>
                <a:lnTo>
                  <a:pt x="25" y="25"/>
                </a:lnTo>
                <a:lnTo>
                  <a:pt x="22" y="25"/>
                </a:lnTo>
                <a:lnTo>
                  <a:pt x="15" y="28"/>
                </a:lnTo>
                <a:lnTo>
                  <a:pt x="12" y="28"/>
                </a:lnTo>
                <a:lnTo>
                  <a:pt x="0" y="28"/>
                </a:lnTo>
                <a:lnTo>
                  <a:pt x="15" y="53"/>
                </a:lnTo>
                <a:lnTo>
                  <a:pt x="15" y="56"/>
                </a:lnTo>
                <a:lnTo>
                  <a:pt x="12" y="62"/>
                </a:lnTo>
                <a:lnTo>
                  <a:pt x="12" y="75"/>
                </a:lnTo>
                <a:lnTo>
                  <a:pt x="12" y="81"/>
                </a:lnTo>
                <a:lnTo>
                  <a:pt x="12" y="87"/>
                </a:lnTo>
                <a:lnTo>
                  <a:pt x="12" y="100"/>
                </a:lnTo>
                <a:lnTo>
                  <a:pt x="12" y="106"/>
                </a:lnTo>
                <a:lnTo>
                  <a:pt x="9" y="109"/>
                </a:lnTo>
                <a:lnTo>
                  <a:pt x="12" y="112"/>
                </a:lnTo>
                <a:lnTo>
                  <a:pt x="12" y="115"/>
                </a:lnTo>
                <a:lnTo>
                  <a:pt x="12" y="122"/>
                </a:lnTo>
                <a:lnTo>
                  <a:pt x="9" y="125"/>
                </a:lnTo>
                <a:lnTo>
                  <a:pt x="15" y="137"/>
                </a:lnTo>
                <a:lnTo>
                  <a:pt x="15" y="140"/>
                </a:lnTo>
                <a:lnTo>
                  <a:pt x="12" y="147"/>
                </a:lnTo>
                <a:lnTo>
                  <a:pt x="6" y="150"/>
                </a:lnTo>
                <a:lnTo>
                  <a:pt x="3" y="156"/>
                </a:lnTo>
                <a:lnTo>
                  <a:pt x="6" y="159"/>
                </a:lnTo>
                <a:lnTo>
                  <a:pt x="9" y="159"/>
                </a:lnTo>
                <a:lnTo>
                  <a:pt x="9" y="162"/>
                </a:lnTo>
                <a:lnTo>
                  <a:pt x="9" y="162"/>
                </a:lnTo>
                <a:lnTo>
                  <a:pt x="9" y="165"/>
                </a:lnTo>
                <a:lnTo>
                  <a:pt x="15" y="168"/>
                </a:lnTo>
                <a:lnTo>
                  <a:pt x="15" y="172"/>
                </a:lnTo>
                <a:lnTo>
                  <a:pt x="15" y="175"/>
                </a:lnTo>
                <a:lnTo>
                  <a:pt x="15" y="178"/>
                </a:lnTo>
                <a:lnTo>
                  <a:pt x="15" y="181"/>
                </a:lnTo>
                <a:lnTo>
                  <a:pt x="19" y="187"/>
                </a:lnTo>
                <a:lnTo>
                  <a:pt x="22" y="193"/>
                </a:lnTo>
                <a:lnTo>
                  <a:pt x="31" y="200"/>
                </a:lnTo>
                <a:lnTo>
                  <a:pt x="31" y="203"/>
                </a:lnTo>
                <a:lnTo>
                  <a:pt x="28" y="209"/>
                </a:lnTo>
                <a:lnTo>
                  <a:pt x="31" y="212"/>
                </a:lnTo>
                <a:lnTo>
                  <a:pt x="25" y="222"/>
                </a:lnTo>
                <a:lnTo>
                  <a:pt x="28" y="228"/>
                </a:lnTo>
                <a:lnTo>
                  <a:pt x="37" y="237"/>
                </a:lnTo>
                <a:lnTo>
                  <a:pt x="53" y="275"/>
                </a:lnTo>
                <a:lnTo>
                  <a:pt x="56" y="275"/>
                </a:lnTo>
                <a:lnTo>
                  <a:pt x="59" y="272"/>
                </a:lnTo>
                <a:lnTo>
                  <a:pt x="62" y="272"/>
                </a:lnTo>
                <a:lnTo>
                  <a:pt x="62" y="272"/>
                </a:lnTo>
                <a:lnTo>
                  <a:pt x="65" y="269"/>
                </a:lnTo>
                <a:lnTo>
                  <a:pt x="69" y="262"/>
                </a:lnTo>
                <a:lnTo>
                  <a:pt x="75" y="253"/>
                </a:lnTo>
                <a:lnTo>
                  <a:pt x="81" y="253"/>
                </a:lnTo>
                <a:lnTo>
                  <a:pt x="84" y="256"/>
                </a:lnTo>
                <a:lnTo>
                  <a:pt x="90" y="256"/>
                </a:lnTo>
                <a:lnTo>
                  <a:pt x="94" y="256"/>
                </a:lnTo>
                <a:lnTo>
                  <a:pt x="100" y="256"/>
                </a:lnTo>
                <a:lnTo>
                  <a:pt x="106" y="253"/>
                </a:lnTo>
                <a:lnTo>
                  <a:pt x="109" y="256"/>
                </a:lnTo>
                <a:lnTo>
                  <a:pt x="109" y="259"/>
                </a:lnTo>
                <a:lnTo>
                  <a:pt x="112" y="269"/>
                </a:lnTo>
                <a:lnTo>
                  <a:pt x="115" y="272"/>
                </a:lnTo>
                <a:lnTo>
                  <a:pt x="115" y="269"/>
                </a:lnTo>
                <a:lnTo>
                  <a:pt x="115" y="265"/>
                </a:lnTo>
                <a:lnTo>
                  <a:pt x="119" y="262"/>
                </a:lnTo>
                <a:lnTo>
                  <a:pt x="119" y="256"/>
                </a:lnTo>
                <a:lnTo>
                  <a:pt x="122" y="253"/>
                </a:lnTo>
                <a:lnTo>
                  <a:pt x="131" y="253"/>
                </a:lnTo>
                <a:lnTo>
                  <a:pt x="144" y="253"/>
                </a:lnTo>
                <a:lnTo>
                  <a:pt x="147" y="256"/>
                </a:lnTo>
                <a:lnTo>
                  <a:pt x="147" y="250"/>
                </a:lnTo>
                <a:lnTo>
                  <a:pt x="153" y="240"/>
                </a:lnTo>
                <a:lnTo>
                  <a:pt x="153" y="234"/>
                </a:lnTo>
                <a:lnTo>
                  <a:pt x="153" y="228"/>
                </a:lnTo>
                <a:lnTo>
                  <a:pt x="150" y="225"/>
                </a:lnTo>
                <a:lnTo>
                  <a:pt x="156" y="215"/>
                </a:lnTo>
                <a:lnTo>
                  <a:pt x="159" y="209"/>
                </a:lnTo>
                <a:lnTo>
                  <a:pt x="159" y="206"/>
                </a:lnTo>
                <a:lnTo>
                  <a:pt x="165" y="203"/>
                </a:lnTo>
                <a:lnTo>
                  <a:pt x="190" y="197"/>
                </a:lnTo>
                <a:lnTo>
                  <a:pt x="212" y="197"/>
                </a:lnTo>
                <a:lnTo>
                  <a:pt x="225" y="206"/>
                </a:lnTo>
                <a:lnTo>
                  <a:pt x="228" y="206"/>
                </a:lnTo>
                <a:lnTo>
                  <a:pt x="231" y="20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7" name="Freeform 195">
            <a:extLst>
              <a:ext uri="{FF2B5EF4-FFF2-40B4-BE49-F238E27FC236}">
                <a16:creationId xmlns:a16="http://schemas.microsoft.com/office/drawing/2014/main" id="{A76EBC4B-BCBC-7308-665D-33E1342228B7}"/>
              </a:ext>
            </a:extLst>
          </p:cNvPr>
          <p:cNvSpPr>
            <a:spLocks/>
          </p:cNvSpPr>
          <p:nvPr userDrawn="1"/>
        </p:nvSpPr>
        <p:spPr bwMode="auto">
          <a:xfrm>
            <a:off x="9359287" y="10629183"/>
            <a:ext cx="536541" cy="555626"/>
          </a:xfrm>
          <a:custGeom>
            <a:avLst/>
            <a:gdLst>
              <a:gd name="T0" fmla="*/ 0 w 169"/>
              <a:gd name="T1" fmla="*/ 53 h 175"/>
              <a:gd name="T2" fmla="*/ 6 w 169"/>
              <a:gd name="T3" fmla="*/ 37 h 175"/>
              <a:gd name="T4" fmla="*/ 3 w 169"/>
              <a:gd name="T5" fmla="*/ 28 h 175"/>
              <a:gd name="T6" fmla="*/ 12 w 169"/>
              <a:gd name="T7" fmla="*/ 12 h 175"/>
              <a:gd name="T8" fmla="*/ 18 w 169"/>
              <a:gd name="T9" fmla="*/ 6 h 175"/>
              <a:gd name="T10" fmla="*/ 65 w 169"/>
              <a:gd name="T11" fmla="*/ 0 h 175"/>
              <a:gd name="T12" fmla="*/ 81 w 169"/>
              <a:gd name="T13" fmla="*/ 9 h 175"/>
              <a:gd name="T14" fmla="*/ 84 w 169"/>
              <a:gd name="T15" fmla="*/ 18 h 175"/>
              <a:gd name="T16" fmla="*/ 90 w 169"/>
              <a:gd name="T17" fmla="*/ 28 h 175"/>
              <a:gd name="T18" fmla="*/ 94 w 169"/>
              <a:gd name="T19" fmla="*/ 43 h 175"/>
              <a:gd name="T20" fmla="*/ 94 w 169"/>
              <a:gd name="T21" fmla="*/ 53 h 175"/>
              <a:gd name="T22" fmla="*/ 100 w 169"/>
              <a:gd name="T23" fmla="*/ 59 h 175"/>
              <a:gd name="T24" fmla="*/ 112 w 169"/>
              <a:gd name="T25" fmla="*/ 59 h 175"/>
              <a:gd name="T26" fmla="*/ 128 w 169"/>
              <a:gd name="T27" fmla="*/ 56 h 175"/>
              <a:gd name="T28" fmla="*/ 137 w 169"/>
              <a:gd name="T29" fmla="*/ 62 h 175"/>
              <a:gd name="T30" fmla="*/ 144 w 169"/>
              <a:gd name="T31" fmla="*/ 87 h 175"/>
              <a:gd name="T32" fmla="*/ 150 w 169"/>
              <a:gd name="T33" fmla="*/ 97 h 175"/>
              <a:gd name="T34" fmla="*/ 162 w 169"/>
              <a:gd name="T35" fmla="*/ 93 h 175"/>
              <a:gd name="T36" fmla="*/ 169 w 169"/>
              <a:gd name="T37" fmla="*/ 97 h 175"/>
              <a:gd name="T38" fmla="*/ 165 w 169"/>
              <a:gd name="T39" fmla="*/ 118 h 175"/>
              <a:gd name="T40" fmla="*/ 162 w 169"/>
              <a:gd name="T41" fmla="*/ 122 h 175"/>
              <a:gd name="T42" fmla="*/ 162 w 169"/>
              <a:gd name="T43" fmla="*/ 125 h 175"/>
              <a:gd name="T44" fmla="*/ 162 w 169"/>
              <a:gd name="T45" fmla="*/ 128 h 175"/>
              <a:gd name="T46" fmla="*/ 162 w 169"/>
              <a:gd name="T47" fmla="*/ 137 h 175"/>
              <a:gd name="T48" fmla="*/ 159 w 169"/>
              <a:gd name="T49" fmla="*/ 147 h 175"/>
              <a:gd name="T50" fmla="*/ 153 w 169"/>
              <a:gd name="T51" fmla="*/ 156 h 175"/>
              <a:gd name="T52" fmla="*/ 144 w 169"/>
              <a:gd name="T53" fmla="*/ 165 h 175"/>
              <a:gd name="T54" fmla="*/ 137 w 169"/>
              <a:gd name="T55" fmla="*/ 169 h 175"/>
              <a:gd name="T56" fmla="*/ 131 w 169"/>
              <a:gd name="T57" fmla="*/ 175 h 175"/>
              <a:gd name="T58" fmla="*/ 125 w 169"/>
              <a:gd name="T59" fmla="*/ 175 h 175"/>
              <a:gd name="T60" fmla="*/ 112 w 169"/>
              <a:gd name="T61" fmla="*/ 172 h 175"/>
              <a:gd name="T62" fmla="*/ 87 w 169"/>
              <a:gd name="T63" fmla="*/ 169 h 175"/>
              <a:gd name="T64" fmla="*/ 84 w 169"/>
              <a:gd name="T65" fmla="*/ 165 h 175"/>
              <a:gd name="T66" fmla="*/ 94 w 169"/>
              <a:gd name="T67" fmla="*/ 150 h 175"/>
              <a:gd name="T68" fmla="*/ 94 w 169"/>
              <a:gd name="T69" fmla="*/ 144 h 175"/>
              <a:gd name="T70" fmla="*/ 103 w 169"/>
              <a:gd name="T71" fmla="*/ 137 h 175"/>
              <a:gd name="T72" fmla="*/ 100 w 169"/>
              <a:gd name="T73" fmla="*/ 128 h 175"/>
              <a:gd name="T74" fmla="*/ 90 w 169"/>
              <a:gd name="T75" fmla="*/ 118 h 175"/>
              <a:gd name="T76" fmla="*/ 68 w 169"/>
              <a:gd name="T77" fmla="*/ 112 h 175"/>
              <a:gd name="T78" fmla="*/ 56 w 169"/>
              <a:gd name="T79" fmla="*/ 103 h 175"/>
              <a:gd name="T80" fmla="*/ 37 w 169"/>
              <a:gd name="T81" fmla="*/ 97 h 175"/>
              <a:gd name="T82" fmla="*/ 31 w 169"/>
              <a:gd name="T83" fmla="*/ 87 h 175"/>
              <a:gd name="T84" fmla="*/ 12 w 169"/>
              <a:gd name="T85" fmla="*/ 75 h 175"/>
              <a:gd name="T86" fmla="*/ 3 w 169"/>
              <a:gd name="T87" fmla="*/ 65 h 175"/>
              <a:gd name="T88" fmla="*/ 0 w 169"/>
              <a:gd name="T89" fmla="*/ 5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9" h="175">
                <a:moveTo>
                  <a:pt x="0" y="59"/>
                </a:moveTo>
                <a:lnTo>
                  <a:pt x="0" y="53"/>
                </a:lnTo>
                <a:lnTo>
                  <a:pt x="6" y="43"/>
                </a:lnTo>
                <a:lnTo>
                  <a:pt x="6" y="37"/>
                </a:lnTo>
                <a:lnTo>
                  <a:pt x="6" y="31"/>
                </a:lnTo>
                <a:lnTo>
                  <a:pt x="3" y="28"/>
                </a:lnTo>
                <a:lnTo>
                  <a:pt x="9" y="18"/>
                </a:lnTo>
                <a:lnTo>
                  <a:pt x="12" y="12"/>
                </a:lnTo>
                <a:lnTo>
                  <a:pt x="12" y="9"/>
                </a:lnTo>
                <a:lnTo>
                  <a:pt x="18" y="6"/>
                </a:lnTo>
                <a:lnTo>
                  <a:pt x="43" y="0"/>
                </a:lnTo>
                <a:lnTo>
                  <a:pt x="65" y="0"/>
                </a:lnTo>
                <a:lnTo>
                  <a:pt x="78" y="9"/>
                </a:lnTo>
                <a:lnTo>
                  <a:pt x="81" y="9"/>
                </a:lnTo>
                <a:lnTo>
                  <a:pt x="87" y="12"/>
                </a:lnTo>
                <a:lnTo>
                  <a:pt x="84" y="18"/>
                </a:lnTo>
                <a:lnTo>
                  <a:pt x="90" y="21"/>
                </a:lnTo>
                <a:lnTo>
                  <a:pt x="90" y="28"/>
                </a:lnTo>
                <a:lnTo>
                  <a:pt x="94" y="34"/>
                </a:lnTo>
                <a:lnTo>
                  <a:pt x="94" y="43"/>
                </a:lnTo>
                <a:lnTo>
                  <a:pt x="94" y="50"/>
                </a:lnTo>
                <a:lnTo>
                  <a:pt x="94" y="53"/>
                </a:lnTo>
                <a:lnTo>
                  <a:pt x="94" y="59"/>
                </a:lnTo>
                <a:lnTo>
                  <a:pt x="100" y="59"/>
                </a:lnTo>
                <a:lnTo>
                  <a:pt x="103" y="59"/>
                </a:lnTo>
                <a:lnTo>
                  <a:pt x="112" y="59"/>
                </a:lnTo>
                <a:lnTo>
                  <a:pt x="119" y="59"/>
                </a:lnTo>
                <a:lnTo>
                  <a:pt x="128" y="56"/>
                </a:lnTo>
                <a:lnTo>
                  <a:pt x="134" y="59"/>
                </a:lnTo>
                <a:lnTo>
                  <a:pt x="137" y="62"/>
                </a:lnTo>
                <a:lnTo>
                  <a:pt x="137" y="65"/>
                </a:lnTo>
                <a:lnTo>
                  <a:pt x="144" y="87"/>
                </a:lnTo>
                <a:lnTo>
                  <a:pt x="147" y="93"/>
                </a:lnTo>
                <a:lnTo>
                  <a:pt x="150" y="97"/>
                </a:lnTo>
                <a:lnTo>
                  <a:pt x="156" y="90"/>
                </a:lnTo>
                <a:lnTo>
                  <a:pt x="162" y="93"/>
                </a:lnTo>
                <a:lnTo>
                  <a:pt x="165" y="97"/>
                </a:lnTo>
                <a:lnTo>
                  <a:pt x="169" y="97"/>
                </a:lnTo>
                <a:lnTo>
                  <a:pt x="165" y="100"/>
                </a:lnTo>
                <a:lnTo>
                  <a:pt x="165" y="118"/>
                </a:lnTo>
                <a:lnTo>
                  <a:pt x="165" y="122"/>
                </a:lnTo>
                <a:lnTo>
                  <a:pt x="162" y="122"/>
                </a:lnTo>
                <a:lnTo>
                  <a:pt x="162" y="125"/>
                </a:lnTo>
                <a:lnTo>
                  <a:pt x="162" y="125"/>
                </a:lnTo>
                <a:lnTo>
                  <a:pt x="162" y="128"/>
                </a:lnTo>
                <a:lnTo>
                  <a:pt x="162" y="128"/>
                </a:lnTo>
                <a:lnTo>
                  <a:pt x="162" y="134"/>
                </a:lnTo>
                <a:lnTo>
                  <a:pt x="162" y="137"/>
                </a:lnTo>
                <a:lnTo>
                  <a:pt x="162" y="144"/>
                </a:lnTo>
                <a:lnTo>
                  <a:pt x="159" y="147"/>
                </a:lnTo>
                <a:lnTo>
                  <a:pt x="156" y="150"/>
                </a:lnTo>
                <a:lnTo>
                  <a:pt x="153" y="156"/>
                </a:lnTo>
                <a:lnTo>
                  <a:pt x="147" y="162"/>
                </a:lnTo>
                <a:lnTo>
                  <a:pt x="144" y="165"/>
                </a:lnTo>
                <a:lnTo>
                  <a:pt x="140" y="172"/>
                </a:lnTo>
                <a:lnTo>
                  <a:pt x="137" y="169"/>
                </a:lnTo>
                <a:lnTo>
                  <a:pt x="134" y="172"/>
                </a:lnTo>
                <a:lnTo>
                  <a:pt x="131" y="175"/>
                </a:lnTo>
                <a:lnTo>
                  <a:pt x="128" y="175"/>
                </a:lnTo>
                <a:lnTo>
                  <a:pt x="125" y="175"/>
                </a:lnTo>
                <a:lnTo>
                  <a:pt x="122" y="175"/>
                </a:lnTo>
                <a:lnTo>
                  <a:pt x="112" y="172"/>
                </a:lnTo>
                <a:lnTo>
                  <a:pt x="103" y="169"/>
                </a:lnTo>
                <a:lnTo>
                  <a:pt x="87" y="169"/>
                </a:lnTo>
                <a:lnTo>
                  <a:pt x="84" y="169"/>
                </a:lnTo>
                <a:lnTo>
                  <a:pt x="84" y="165"/>
                </a:lnTo>
                <a:lnTo>
                  <a:pt x="90" y="159"/>
                </a:lnTo>
                <a:lnTo>
                  <a:pt x="94" y="150"/>
                </a:lnTo>
                <a:lnTo>
                  <a:pt x="94" y="147"/>
                </a:lnTo>
                <a:lnTo>
                  <a:pt x="94" y="144"/>
                </a:lnTo>
                <a:lnTo>
                  <a:pt x="100" y="140"/>
                </a:lnTo>
                <a:lnTo>
                  <a:pt x="103" y="137"/>
                </a:lnTo>
                <a:lnTo>
                  <a:pt x="103" y="131"/>
                </a:lnTo>
                <a:lnTo>
                  <a:pt x="100" y="128"/>
                </a:lnTo>
                <a:lnTo>
                  <a:pt x="94" y="122"/>
                </a:lnTo>
                <a:lnTo>
                  <a:pt x="90" y="118"/>
                </a:lnTo>
                <a:lnTo>
                  <a:pt x="78" y="115"/>
                </a:lnTo>
                <a:lnTo>
                  <a:pt x="68" y="112"/>
                </a:lnTo>
                <a:lnTo>
                  <a:pt x="62" y="103"/>
                </a:lnTo>
                <a:lnTo>
                  <a:pt x="56" y="103"/>
                </a:lnTo>
                <a:lnTo>
                  <a:pt x="50" y="100"/>
                </a:lnTo>
                <a:lnTo>
                  <a:pt x="37" y="97"/>
                </a:lnTo>
                <a:lnTo>
                  <a:pt x="34" y="90"/>
                </a:lnTo>
                <a:lnTo>
                  <a:pt x="31" y="87"/>
                </a:lnTo>
                <a:lnTo>
                  <a:pt x="25" y="87"/>
                </a:lnTo>
                <a:lnTo>
                  <a:pt x="12" y="75"/>
                </a:lnTo>
                <a:lnTo>
                  <a:pt x="9" y="65"/>
                </a:lnTo>
                <a:lnTo>
                  <a:pt x="3" y="65"/>
                </a:lnTo>
                <a:lnTo>
                  <a:pt x="0" y="59"/>
                </a:lnTo>
                <a:lnTo>
                  <a:pt x="0" y="59"/>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8" name="Freeform 196">
            <a:extLst>
              <a:ext uri="{FF2B5EF4-FFF2-40B4-BE49-F238E27FC236}">
                <a16:creationId xmlns:a16="http://schemas.microsoft.com/office/drawing/2014/main" id="{12129FFC-58A1-ECA0-2D14-422B63CA42CA}"/>
              </a:ext>
            </a:extLst>
          </p:cNvPr>
          <p:cNvSpPr>
            <a:spLocks/>
          </p:cNvSpPr>
          <p:nvPr userDrawn="1"/>
        </p:nvSpPr>
        <p:spPr bwMode="auto">
          <a:xfrm>
            <a:off x="9686293" y="11353080"/>
            <a:ext cx="317481" cy="358776"/>
          </a:xfrm>
          <a:custGeom>
            <a:avLst/>
            <a:gdLst>
              <a:gd name="T0" fmla="*/ 12 w 100"/>
              <a:gd name="T1" fmla="*/ 3 h 113"/>
              <a:gd name="T2" fmla="*/ 25 w 100"/>
              <a:gd name="T3" fmla="*/ 0 h 113"/>
              <a:gd name="T4" fmla="*/ 34 w 100"/>
              <a:gd name="T5" fmla="*/ 9 h 113"/>
              <a:gd name="T6" fmla="*/ 41 w 100"/>
              <a:gd name="T7" fmla="*/ 16 h 113"/>
              <a:gd name="T8" fmla="*/ 47 w 100"/>
              <a:gd name="T9" fmla="*/ 25 h 113"/>
              <a:gd name="T10" fmla="*/ 53 w 100"/>
              <a:gd name="T11" fmla="*/ 19 h 113"/>
              <a:gd name="T12" fmla="*/ 62 w 100"/>
              <a:gd name="T13" fmla="*/ 28 h 113"/>
              <a:gd name="T14" fmla="*/ 72 w 100"/>
              <a:gd name="T15" fmla="*/ 34 h 113"/>
              <a:gd name="T16" fmla="*/ 75 w 100"/>
              <a:gd name="T17" fmla="*/ 41 h 113"/>
              <a:gd name="T18" fmla="*/ 87 w 100"/>
              <a:gd name="T19" fmla="*/ 50 h 113"/>
              <a:gd name="T20" fmla="*/ 97 w 100"/>
              <a:gd name="T21" fmla="*/ 59 h 113"/>
              <a:gd name="T22" fmla="*/ 94 w 100"/>
              <a:gd name="T23" fmla="*/ 69 h 113"/>
              <a:gd name="T24" fmla="*/ 94 w 100"/>
              <a:gd name="T25" fmla="*/ 78 h 113"/>
              <a:gd name="T26" fmla="*/ 97 w 100"/>
              <a:gd name="T27" fmla="*/ 81 h 113"/>
              <a:gd name="T28" fmla="*/ 97 w 100"/>
              <a:gd name="T29" fmla="*/ 84 h 113"/>
              <a:gd name="T30" fmla="*/ 94 w 100"/>
              <a:gd name="T31" fmla="*/ 94 h 113"/>
              <a:gd name="T32" fmla="*/ 87 w 100"/>
              <a:gd name="T33" fmla="*/ 100 h 113"/>
              <a:gd name="T34" fmla="*/ 87 w 100"/>
              <a:gd name="T35" fmla="*/ 103 h 113"/>
              <a:gd name="T36" fmla="*/ 75 w 100"/>
              <a:gd name="T37" fmla="*/ 109 h 113"/>
              <a:gd name="T38" fmla="*/ 72 w 100"/>
              <a:gd name="T39" fmla="*/ 109 h 113"/>
              <a:gd name="T40" fmla="*/ 72 w 100"/>
              <a:gd name="T41" fmla="*/ 113 h 113"/>
              <a:gd name="T42" fmla="*/ 66 w 100"/>
              <a:gd name="T43" fmla="*/ 113 h 113"/>
              <a:gd name="T44" fmla="*/ 59 w 100"/>
              <a:gd name="T45" fmla="*/ 109 h 113"/>
              <a:gd name="T46" fmla="*/ 50 w 100"/>
              <a:gd name="T47" fmla="*/ 109 h 113"/>
              <a:gd name="T48" fmla="*/ 44 w 100"/>
              <a:gd name="T49" fmla="*/ 113 h 113"/>
              <a:gd name="T50" fmla="*/ 44 w 100"/>
              <a:gd name="T51" fmla="*/ 109 h 113"/>
              <a:gd name="T52" fmla="*/ 41 w 100"/>
              <a:gd name="T53" fmla="*/ 109 h 113"/>
              <a:gd name="T54" fmla="*/ 31 w 100"/>
              <a:gd name="T55" fmla="*/ 103 h 113"/>
              <a:gd name="T56" fmla="*/ 19 w 100"/>
              <a:gd name="T57" fmla="*/ 103 h 113"/>
              <a:gd name="T58" fmla="*/ 9 w 100"/>
              <a:gd name="T59" fmla="*/ 100 h 113"/>
              <a:gd name="T60" fmla="*/ 3 w 100"/>
              <a:gd name="T61" fmla="*/ 91 h 113"/>
              <a:gd name="T62" fmla="*/ 0 w 100"/>
              <a:gd name="T63" fmla="*/ 75 h 113"/>
              <a:gd name="T64" fmla="*/ 0 w 100"/>
              <a:gd name="T65" fmla="*/ 72 h 113"/>
              <a:gd name="T66" fmla="*/ 3 w 100"/>
              <a:gd name="T67" fmla="*/ 66 h 113"/>
              <a:gd name="T68" fmla="*/ 0 w 100"/>
              <a:gd name="T69" fmla="*/ 53 h 113"/>
              <a:gd name="T70" fmla="*/ 0 w 100"/>
              <a:gd name="T71" fmla="*/ 44 h 113"/>
              <a:gd name="T72" fmla="*/ 3 w 100"/>
              <a:gd name="T73" fmla="*/ 38 h 113"/>
              <a:gd name="T74" fmla="*/ 3 w 100"/>
              <a:gd name="T75" fmla="*/ 25 h 113"/>
              <a:gd name="T76" fmla="*/ 6 w 100"/>
              <a:gd name="T77" fmla="*/ 19 h 113"/>
              <a:gd name="T78" fmla="*/ 6 w 100"/>
              <a:gd name="T79" fmla="*/ 6 h 113"/>
              <a:gd name="T80" fmla="*/ 9 w 100"/>
              <a:gd name="T81" fmla="*/ 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113">
                <a:moveTo>
                  <a:pt x="9" y="3"/>
                </a:moveTo>
                <a:lnTo>
                  <a:pt x="12" y="3"/>
                </a:lnTo>
                <a:lnTo>
                  <a:pt x="16" y="3"/>
                </a:lnTo>
                <a:lnTo>
                  <a:pt x="25" y="0"/>
                </a:lnTo>
                <a:lnTo>
                  <a:pt x="28" y="3"/>
                </a:lnTo>
                <a:lnTo>
                  <a:pt x="34" y="9"/>
                </a:lnTo>
                <a:lnTo>
                  <a:pt x="37" y="9"/>
                </a:lnTo>
                <a:lnTo>
                  <a:pt x="41" y="16"/>
                </a:lnTo>
                <a:lnTo>
                  <a:pt x="44" y="25"/>
                </a:lnTo>
                <a:lnTo>
                  <a:pt x="47" y="25"/>
                </a:lnTo>
                <a:lnTo>
                  <a:pt x="50" y="19"/>
                </a:lnTo>
                <a:lnTo>
                  <a:pt x="53" y="19"/>
                </a:lnTo>
                <a:lnTo>
                  <a:pt x="56" y="28"/>
                </a:lnTo>
                <a:lnTo>
                  <a:pt x="62" y="28"/>
                </a:lnTo>
                <a:lnTo>
                  <a:pt x="66" y="31"/>
                </a:lnTo>
                <a:lnTo>
                  <a:pt x="72" y="34"/>
                </a:lnTo>
                <a:lnTo>
                  <a:pt x="72" y="41"/>
                </a:lnTo>
                <a:lnTo>
                  <a:pt x="75" y="41"/>
                </a:lnTo>
                <a:lnTo>
                  <a:pt x="84" y="44"/>
                </a:lnTo>
                <a:lnTo>
                  <a:pt x="87" y="50"/>
                </a:lnTo>
                <a:lnTo>
                  <a:pt x="94" y="56"/>
                </a:lnTo>
                <a:lnTo>
                  <a:pt x="97" y="59"/>
                </a:lnTo>
                <a:lnTo>
                  <a:pt x="97" y="66"/>
                </a:lnTo>
                <a:lnTo>
                  <a:pt x="94" y="69"/>
                </a:lnTo>
                <a:lnTo>
                  <a:pt x="94" y="75"/>
                </a:lnTo>
                <a:lnTo>
                  <a:pt x="94" y="78"/>
                </a:lnTo>
                <a:lnTo>
                  <a:pt x="94" y="78"/>
                </a:lnTo>
                <a:lnTo>
                  <a:pt x="97" y="81"/>
                </a:lnTo>
                <a:lnTo>
                  <a:pt x="100" y="81"/>
                </a:lnTo>
                <a:lnTo>
                  <a:pt x="97" y="84"/>
                </a:lnTo>
                <a:lnTo>
                  <a:pt x="94" y="88"/>
                </a:lnTo>
                <a:lnTo>
                  <a:pt x="94" y="94"/>
                </a:lnTo>
                <a:lnTo>
                  <a:pt x="91" y="97"/>
                </a:lnTo>
                <a:lnTo>
                  <a:pt x="87" y="100"/>
                </a:lnTo>
                <a:lnTo>
                  <a:pt x="87" y="100"/>
                </a:lnTo>
                <a:lnTo>
                  <a:pt x="87" y="103"/>
                </a:lnTo>
                <a:lnTo>
                  <a:pt x="84" y="106"/>
                </a:lnTo>
                <a:lnTo>
                  <a:pt x="75" y="109"/>
                </a:lnTo>
                <a:lnTo>
                  <a:pt x="75" y="109"/>
                </a:lnTo>
                <a:lnTo>
                  <a:pt x="72" y="109"/>
                </a:lnTo>
                <a:lnTo>
                  <a:pt x="72" y="113"/>
                </a:lnTo>
                <a:lnTo>
                  <a:pt x="72" y="113"/>
                </a:lnTo>
                <a:lnTo>
                  <a:pt x="69" y="113"/>
                </a:lnTo>
                <a:lnTo>
                  <a:pt x="66" y="113"/>
                </a:lnTo>
                <a:lnTo>
                  <a:pt x="62" y="113"/>
                </a:lnTo>
                <a:lnTo>
                  <a:pt x="59" y="109"/>
                </a:lnTo>
                <a:lnTo>
                  <a:pt x="56" y="109"/>
                </a:lnTo>
                <a:lnTo>
                  <a:pt x="50" y="109"/>
                </a:lnTo>
                <a:lnTo>
                  <a:pt x="47" y="113"/>
                </a:lnTo>
                <a:lnTo>
                  <a:pt x="44" y="113"/>
                </a:lnTo>
                <a:lnTo>
                  <a:pt x="44" y="109"/>
                </a:lnTo>
                <a:lnTo>
                  <a:pt x="44" y="109"/>
                </a:lnTo>
                <a:lnTo>
                  <a:pt x="44" y="109"/>
                </a:lnTo>
                <a:lnTo>
                  <a:pt x="41" y="109"/>
                </a:lnTo>
                <a:lnTo>
                  <a:pt x="37" y="106"/>
                </a:lnTo>
                <a:lnTo>
                  <a:pt x="31" y="103"/>
                </a:lnTo>
                <a:lnTo>
                  <a:pt x="25" y="103"/>
                </a:lnTo>
                <a:lnTo>
                  <a:pt x="19" y="103"/>
                </a:lnTo>
                <a:lnTo>
                  <a:pt x="16" y="103"/>
                </a:lnTo>
                <a:lnTo>
                  <a:pt x="9" y="100"/>
                </a:lnTo>
                <a:lnTo>
                  <a:pt x="6" y="97"/>
                </a:lnTo>
                <a:lnTo>
                  <a:pt x="3" y="91"/>
                </a:lnTo>
                <a:lnTo>
                  <a:pt x="0" y="84"/>
                </a:lnTo>
                <a:lnTo>
                  <a:pt x="0" y="75"/>
                </a:lnTo>
                <a:lnTo>
                  <a:pt x="0" y="75"/>
                </a:lnTo>
                <a:lnTo>
                  <a:pt x="0" y="72"/>
                </a:lnTo>
                <a:lnTo>
                  <a:pt x="3" y="69"/>
                </a:lnTo>
                <a:lnTo>
                  <a:pt x="3" y="66"/>
                </a:lnTo>
                <a:lnTo>
                  <a:pt x="3" y="59"/>
                </a:lnTo>
                <a:lnTo>
                  <a:pt x="0" y="53"/>
                </a:lnTo>
                <a:lnTo>
                  <a:pt x="3" y="50"/>
                </a:lnTo>
                <a:lnTo>
                  <a:pt x="0" y="44"/>
                </a:lnTo>
                <a:lnTo>
                  <a:pt x="3" y="41"/>
                </a:lnTo>
                <a:lnTo>
                  <a:pt x="3" y="38"/>
                </a:lnTo>
                <a:lnTo>
                  <a:pt x="3" y="34"/>
                </a:lnTo>
                <a:lnTo>
                  <a:pt x="3" y="25"/>
                </a:lnTo>
                <a:lnTo>
                  <a:pt x="3" y="22"/>
                </a:lnTo>
                <a:lnTo>
                  <a:pt x="6" y="19"/>
                </a:lnTo>
                <a:lnTo>
                  <a:pt x="3" y="12"/>
                </a:lnTo>
                <a:lnTo>
                  <a:pt x="6" y="6"/>
                </a:lnTo>
                <a:lnTo>
                  <a:pt x="9" y="3"/>
                </a:lnTo>
                <a:lnTo>
                  <a:pt x="9" y="3"/>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9" name="Freeform 197">
            <a:extLst>
              <a:ext uri="{FF2B5EF4-FFF2-40B4-BE49-F238E27FC236}">
                <a16:creationId xmlns:a16="http://schemas.microsoft.com/office/drawing/2014/main" id="{D915A085-F1EA-0203-864E-78018120857D}"/>
              </a:ext>
            </a:extLst>
          </p:cNvPr>
          <p:cNvSpPr>
            <a:spLocks noEditPoints="1"/>
          </p:cNvSpPr>
          <p:nvPr userDrawn="1"/>
        </p:nvSpPr>
        <p:spPr bwMode="auto">
          <a:xfrm>
            <a:off x="8930690" y="10806983"/>
            <a:ext cx="1003237" cy="2581278"/>
          </a:xfrm>
          <a:custGeom>
            <a:avLst/>
            <a:gdLst>
              <a:gd name="T0" fmla="*/ 82 w 316"/>
              <a:gd name="T1" fmla="*/ 3 h 813"/>
              <a:gd name="T2" fmla="*/ 103 w 316"/>
              <a:gd name="T3" fmla="*/ 12 h 813"/>
              <a:gd name="T4" fmla="*/ 144 w 316"/>
              <a:gd name="T5" fmla="*/ 9 h 813"/>
              <a:gd name="T6" fmla="*/ 197 w 316"/>
              <a:gd name="T7" fmla="*/ 47 h 813"/>
              <a:gd name="T8" fmla="*/ 235 w 316"/>
              <a:gd name="T9" fmla="*/ 84 h 813"/>
              <a:gd name="T10" fmla="*/ 238 w 316"/>
              <a:gd name="T11" fmla="*/ 113 h 813"/>
              <a:gd name="T12" fmla="*/ 275 w 316"/>
              <a:gd name="T13" fmla="*/ 116 h 813"/>
              <a:gd name="T14" fmla="*/ 297 w 316"/>
              <a:gd name="T15" fmla="*/ 78 h 813"/>
              <a:gd name="T16" fmla="*/ 316 w 316"/>
              <a:gd name="T17" fmla="*/ 103 h 813"/>
              <a:gd name="T18" fmla="*/ 291 w 316"/>
              <a:gd name="T19" fmla="*/ 122 h 813"/>
              <a:gd name="T20" fmla="*/ 266 w 316"/>
              <a:gd name="T21" fmla="*/ 144 h 813"/>
              <a:gd name="T22" fmla="*/ 247 w 316"/>
              <a:gd name="T23" fmla="*/ 172 h 813"/>
              <a:gd name="T24" fmla="*/ 241 w 316"/>
              <a:gd name="T25" fmla="*/ 210 h 813"/>
              <a:gd name="T26" fmla="*/ 238 w 316"/>
              <a:gd name="T27" fmla="*/ 244 h 813"/>
              <a:gd name="T28" fmla="*/ 238 w 316"/>
              <a:gd name="T29" fmla="*/ 269 h 813"/>
              <a:gd name="T30" fmla="*/ 263 w 316"/>
              <a:gd name="T31" fmla="*/ 310 h 813"/>
              <a:gd name="T32" fmla="*/ 279 w 316"/>
              <a:gd name="T33" fmla="*/ 328 h 813"/>
              <a:gd name="T34" fmla="*/ 269 w 316"/>
              <a:gd name="T35" fmla="*/ 357 h 813"/>
              <a:gd name="T36" fmla="*/ 213 w 316"/>
              <a:gd name="T37" fmla="*/ 382 h 813"/>
              <a:gd name="T38" fmla="*/ 182 w 316"/>
              <a:gd name="T39" fmla="*/ 375 h 813"/>
              <a:gd name="T40" fmla="*/ 188 w 316"/>
              <a:gd name="T41" fmla="*/ 397 h 813"/>
              <a:gd name="T42" fmla="*/ 188 w 316"/>
              <a:gd name="T43" fmla="*/ 416 h 813"/>
              <a:gd name="T44" fmla="*/ 163 w 316"/>
              <a:gd name="T45" fmla="*/ 438 h 813"/>
              <a:gd name="T46" fmla="*/ 132 w 316"/>
              <a:gd name="T47" fmla="*/ 428 h 813"/>
              <a:gd name="T48" fmla="*/ 150 w 316"/>
              <a:gd name="T49" fmla="*/ 463 h 813"/>
              <a:gd name="T50" fmla="*/ 153 w 316"/>
              <a:gd name="T51" fmla="*/ 460 h 813"/>
              <a:gd name="T52" fmla="*/ 169 w 316"/>
              <a:gd name="T53" fmla="*/ 475 h 813"/>
              <a:gd name="T54" fmla="*/ 147 w 316"/>
              <a:gd name="T55" fmla="*/ 472 h 813"/>
              <a:gd name="T56" fmla="*/ 144 w 316"/>
              <a:gd name="T57" fmla="*/ 491 h 813"/>
              <a:gd name="T58" fmla="*/ 141 w 316"/>
              <a:gd name="T59" fmla="*/ 513 h 813"/>
              <a:gd name="T60" fmla="*/ 141 w 316"/>
              <a:gd name="T61" fmla="*/ 535 h 813"/>
              <a:gd name="T62" fmla="*/ 116 w 316"/>
              <a:gd name="T63" fmla="*/ 547 h 813"/>
              <a:gd name="T64" fmla="*/ 113 w 316"/>
              <a:gd name="T65" fmla="*/ 576 h 813"/>
              <a:gd name="T66" fmla="*/ 147 w 316"/>
              <a:gd name="T67" fmla="*/ 591 h 813"/>
              <a:gd name="T68" fmla="*/ 150 w 316"/>
              <a:gd name="T69" fmla="*/ 613 h 813"/>
              <a:gd name="T70" fmla="*/ 138 w 316"/>
              <a:gd name="T71" fmla="*/ 632 h 813"/>
              <a:gd name="T72" fmla="*/ 122 w 316"/>
              <a:gd name="T73" fmla="*/ 654 h 813"/>
              <a:gd name="T74" fmla="*/ 113 w 316"/>
              <a:gd name="T75" fmla="*/ 669 h 813"/>
              <a:gd name="T76" fmla="*/ 103 w 316"/>
              <a:gd name="T77" fmla="*/ 694 h 813"/>
              <a:gd name="T78" fmla="*/ 113 w 316"/>
              <a:gd name="T79" fmla="*/ 719 h 813"/>
              <a:gd name="T80" fmla="*/ 116 w 316"/>
              <a:gd name="T81" fmla="*/ 729 h 813"/>
              <a:gd name="T82" fmla="*/ 53 w 316"/>
              <a:gd name="T83" fmla="*/ 713 h 813"/>
              <a:gd name="T84" fmla="*/ 22 w 316"/>
              <a:gd name="T85" fmla="*/ 682 h 813"/>
              <a:gd name="T86" fmla="*/ 35 w 316"/>
              <a:gd name="T87" fmla="*/ 607 h 813"/>
              <a:gd name="T88" fmla="*/ 32 w 316"/>
              <a:gd name="T89" fmla="*/ 557 h 813"/>
              <a:gd name="T90" fmla="*/ 19 w 316"/>
              <a:gd name="T91" fmla="*/ 532 h 813"/>
              <a:gd name="T92" fmla="*/ 19 w 316"/>
              <a:gd name="T93" fmla="*/ 507 h 813"/>
              <a:gd name="T94" fmla="*/ 13 w 316"/>
              <a:gd name="T95" fmla="*/ 460 h 813"/>
              <a:gd name="T96" fmla="*/ 13 w 316"/>
              <a:gd name="T97" fmla="*/ 388 h 813"/>
              <a:gd name="T98" fmla="*/ 19 w 316"/>
              <a:gd name="T99" fmla="*/ 319 h 813"/>
              <a:gd name="T100" fmla="*/ 22 w 316"/>
              <a:gd name="T101" fmla="*/ 269 h 813"/>
              <a:gd name="T102" fmla="*/ 0 w 316"/>
              <a:gd name="T103" fmla="*/ 210 h 813"/>
              <a:gd name="T104" fmla="*/ 10 w 316"/>
              <a:gd name="T105" fmla="*/ 153 h 813"/>
              <a:gd name="T106" fmla="*/ 28 w 316"/>
              <a:gd name="T107" fmla="*/ 103 h 813"/>
              <a:gd name="T108" fmla="*/ 28 w 316"/>
              <a:gd name="T109" fmla="*/ 72 h 813"/>
              <a:gd name="T110" fmla="*/ 210 w 316"/>
              <a:gd name="T111" fmla="*/ 804 h 813"/>
              <a:gd name="T112" fmla="*/ 210 w 316"/>
              <a:gd name="T113" fmla="*/ 804 h 813"/>
              <a:gd name="T114" fmla="*/ 132 w 316"/>
              <a:gd name="T115" fmla="*/ 760 h 813"/>
              <a:gd name="T116" fmla="*/ 141 w 316"/>
              <a:gd name="T117" fmla="*/ 776 h 813"/>
              <a:gd name="T118" fmla="*/ 185 w 316"/>
              <a:gd name="T119" fmla="*/ 798 h 813"/>
              <a:gd name="T120" fmla="*/ 188 w 316"/>
              <a:gd name="T121" fmla="*/ 807 h 813"/>
              <a:gd name="T122" fmla="*/ 144 w 316"/>
              <a:gd name="T123" fmla="*/ 810 h 813"/>
              <a:gd name="T124" fmla="*/ 147 w 316"/>
              <a:gd name="T125" fmla="*/ 801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 h="813">
                <a:moveTo>
                  <a:pt x="50" y="19"/>
                </a:moveTo>
                <a:lnTo>
                  <a:pt x="53" y="16"/>
                </a:lnTo>
                <a:lnTo>
                  <a:pt x="57" y="9"/>
                </a:lnTo>
                <a:lnTo>
                  <a:pt x="63" y="0"/>
                </a:lnTo>
                <a:lnTo>
                  <a:pt x="69" y="0"/>
                </a:lnTo>
                <a:lnTo>
                  <a:pt x="72" y="3"/>
                </a:lnTo>
                <a:lnTo>
                  <a:pt x="78" y="3"/>
                </a:lnTo>
                <a:lnTo>
                  <a:pt x="82" y="3"/>
                </a:lnTo>
                <a:lnTo>
                  <a:pt x="88" y="3"/>
                </a:lnTo>
                <a:lnTo>
                  <a:pt x="94" y="0"/>
                </a:lnTo>
                <a:lnTo>
                  <a:pt x="97" y="3"/>
                </a:lnTo>
                <a:lnTo>
                  <a:pt x="97" y="6"/>
                </a:lnTo>
                <a:lnTo>
                  <a:pt x="100" y="16"/>
                </a:lnTo>
                <a:lnTo>
                  <a:pt x="103" y="19"/>
                </a:lnTo>
                <a:lnTo>
                  <a:pt x="103" y="16"/>
                </a:lnTo>
                <a:lnTo>
                  <a:pt x="103" y="12"/>
                </a:lnTo>
                <a:lnTo>
                  <a:pt x="107" y="9"/>
                </a:lnTo>
                <a:lnTo>
                  <a:pt x="107" y="3"/>
                </a:lnTo>
                <a:lnTo>
                  <a:pt x="110" y="0"/>
                </a:lnTo>
                <a:lnTo>
                  <a:pt x="119" y="0"/>
                </a:lnTo>
                <a:lnTo>
                  <a:pt x="132" y="0"/>
                </a:lnTo>
                <a:lnTo>
                  <a:pt x="135" y="3"/>
                </a:lnTo>
                <a:lnTo>
                  <a:pt x="138" y="9"/>
                </a:lnTo>
                <a:lnTo>
                  <a:pt x="144" y="9"/>
                </a:lnTo>
                <a:lnTo>
                  <a:pt x="147" y="19"/>
                </a:lnTo>
                <a:lnTo>
                  <a:pt x="160" y="31"/>
                </a:lnTo>
                <a:lnTo>
                  <a:pt x="166" y="31"/>
                </a:lnTo>
                <a:lnTo>
                  <a:pt x="169" y="34"/>
                </a:lnTo>
                <a:lnTo>
                  <a:pt x="172" y="41"/>
                </a:lnTo>
                <a:lnTo>
                  <a:pt x="185" y="44"/>
                </a:lnTo>
                <a:lnTo>
                  <a:pt x="191" y="47"/>
                </a:lnTo>
                <a:lnTo>
                  <a:pt x="197" y="47"/>
                </a:lnTo>
                <a:lnTo>
                  <a:pt x="203" y="56"/>
                </a:lnTo>
                <a:lnTo>
                  <a:pt x="213" y="59"/>
                </a:lnTo>
                <a:lnTo>
                  <a:pt x="225" y="62"/>
                </a:lnTo>
                <a:lnTo>
                  <a:pt x="229" y="66"/>
                </a:lnTo>
                <a:lnTo>
                  <a:pt x="235" y="72"/>
                </a:lnTo>
                <a:lnTo>
                  <a:pt x="238" y="75"/>
                </a:lnTo>
                <a:lnTo>
                  <a:pt x="238" y="81"/>
                </a:lnTo>
                <a:lnTo>
                  <a:pt x="235" y="84"/>
                </a:lnTo>
                <a:lnTo>
                  <a:pt x="229" y="88"/>
                </a:lnTo>
                <a:lnTo>
                  <a:pt x="229" y="91"/>
                </a:lnTo>
                <a:lnTo>
                  <a:pt x="229" y="94"/>
                </a:lnTo>
                <a:lnTo>
                  <a:pt x="225" y="103"/>
                </a:lnTo>
                <a:lnTo>
                  <a:pt x="219" y="109"/>
                </a:lnTo>
                <a:lnTo>
                  <a:pt x="219" y="113"/>
                </a:lnTo>
                <a:lnTo>
                  <a:pt x="222" y="113"/>
                </a:lnTo>
                <a:lnTo>
                  <a:pt x="238" y="113"/>
                </a:lnTo>
                <a:lnTo>
                  <a:pt x="247" y="116"/>
                </a:lnTo>
                <a:lnTo>
                  <a:pt x="257" y="119"/>
                </a:lnTo>
                <a:lnTo>
                  <a:pt x="260" y="119"/>
                </a:lnTo>
                <a:lnTo>
                  <a:pt x="263" y="119"/>
                </a:lnTo>
                <a:lnTo>
                  <a:pt x="266" y="119"/>
                </a:lnTo>
                <a:lnTo>
                  <a:pt x="269" y="116"/>
                </a:lnTo>
                <a:lnTo>
                  <a:pt x="272" y="113"/>
                </a:lnTo>
                <a:lnTo>
                  <a:pt x="275" y="116"/>
                </a:lnTo>
                <a:lnTo>
                  <a:pt x="279" y="109"/>
                </a:lnTo>
                <a:lnTo>
                  <a:pt x="282" y="106"/>
                </a:lnTo>
                <a:lnTo>
                  <a:pt x="288" y="100"/>
                </a:lnTo>
                <a:lnTo>
                  <a:pt x="291" y="94"/>
                </a:lnTo>
                <a:lnTo>
                  <a:pt x="294" y="91"/>
                </a:lnTo>
                <a:lnTo>
                  <a:pt x="297" y="88"/>
                </a:lnTo>
                <a:lnTo>
                  <a:pt x="297" y="81"/>
                </a:lnTo>
                <a:lnTo>
                  <a:pt x="297" y="78"/>
                </a:lnTo>
                <a:lnTo>
                  <a:pt x="297" y="72"/>
                </a:lnTo>
                <a:lnTo>
                  <a:pt x="300" y="69"/>
                </a:lnTo>
                <a:lnTo>
                  <a:pt x="310" y="72"/>
                </a:lnTo>
                <a:lnTo>
                  <a:pt x="310" y="75"/>
                </a:lnTo>
                <a:lnTo>
                  <a:pt x="316" y="84"/>
                </a:lnTo>
                <a:lnTo>
                  <a:pt x="313" y="91"/>
                </a:lnTo>
                <a:lnTo>
                  <a:pt x="316" y="97"/>
                </a:lnTo>
                <a:lnTo>
                  <a:pt x="316" y="103"/>
                </a:lnTo>
                <a:lnTo>
                  <a:pt x="316" y="106"/>
                </a:lnTo>
                <a:lnTo>
                  <a:pt x="310" y="106"/>
                </a:lnTo>
                <a:lnTo>
                  <a:pt x="307" y="109"/>
                </a:lnTo>
                <a:lnTo>
                  <a:pt x="307" y="113"/>
                </a:lnTo>
                <a:lnTo>
                  <a:pt x="304" y="113"/>
                </a:lnTo>
                <a:lnTo>
                  <a:pt x="300" y="113"/>
                </a:lnTo>
                <a:lnTo>
                  <a:pt x="294" y="119"/>
                </a:lnTo>
                <a:lnTo>
                  <a:pt x="291" y="122"/>
                </a:lnTo>
                <a:lnTo>
                  <a:pt x="288" y="122"/>
                </a:lnTo>
                <a:lnTo>
                  <a:pt x="282" y="128"/>
                </a:lnTo>
                <a:lnTo>
                  <a:pt x="279" y="128"/>
                </a:lnTo>
                <a:lnTo>
                  <a:pt x="279" y="134"/>
                </a:lnTo>
                <a:lnTo>
                  <a:pt x="275" y="134"/>
                </a:lnTo>
                <a:lnTo>
                  <a:pt x="272" y="134"/>
                </a:lnTo>
                <a:lnTo>
                  <a:pt x="266" y="141"/>
                </a:lnTo>
                <a:lnTo>
                  <a:pt x="266" y="144"/>
                </a:lnTo>
                <a:lnTo>
                  <a:pt x="266" y="150"/>
                </a:lnTo>
                <a:lnTo>
                  <a:pt x="263" y="150"/>
                </a:lnTo>
                <a:lnTo>
                  <a:pt x="263" y="153"/>
                </a:lnTo>
                <a:lnTo>
                  <a:pt x="257" y="159"/>
                </a:lnTo>
                <a:lnTo>
                  <a:pt x="254" y="163"/>
                </a:lnTo>
                <a:lnTo>
                  <a:pt x="250" y="169"/>
                </a:lnTo>
                <a:lnTo>
                  <a:pt x="250" y="169"/>
                </a:lnTo>
                <a:lnTo>
                  <a:pt x="247" y="172"/>
                </a:lnTo>
                <a:lnTo>
                  <a:pt x="247" y="175"/>
                </a:lnTo>
                <a:lnTo>
                  <a:pt x="244" y="178"/>
                </a:lnTo>
                <a:lnTo>
                  <a:pt x="241" y="184"/>
                </a:lnTo>
                <a:lnTo>
                  <a:pt x="244" y="191"/>
                </a:lnTo>
                <a:lnTo>
                  <a:pt x="241" y="194"/>
                </a:lnTo>
                <a:lnTo>
                  <a:pt x="241" y="197"/>
                </a:lnTo>
                <a:lnTo>
                  <a:pt x="241" y="206"/>
                </a:lnTo>
                <a:lnTo>
                  <a:pt x="241" y="210"/>
                </a:lnTo>
                <a:lnTo>
                  <a:pt x="241" y="213"/>
                </a:lnTo>
                <a:lnTo>
                  <a:pt x="238" y="216"/>
                </a:lnTo>
                <a:lnTo>
                  <a:pt x="241" y="222"/>
                </a:lnTo>
                <a:lnTo>
                  <a:pt x="238" y="225"/>
                </a:lnTo>
                <a:lnTo>
                  <a:pt x="241" y="231"/>
                </a:lnTo>
                <a:lnTo>
                  <a:pt x="241" y="238"/>
                </a:lnTo>
                <a:lnTo>
                  <a:pt x="241" y="241"/>
                </a:lnTo>
                <a:lnTo>
                  <a:pt x="238" y="244"/>
                </a:lnTo>
                <a:lnTo>
                  <a:pt x="238" y="247"/>
                </a:lnTo>
                <a:lnTo>
                  <a:pt x="238" y="247"/>
                </a:lnTo>
                <a:lnTo>
                  <a:pt x="238" y="247"/>
                </a:lnTo>
                <a:lnTo>
                  <a:pt x="235" y="253"/>
                </a:lnTo>
                <a:lnTo>
                  <a:pt x="238" y="263"/>
                </a:lnTo>
                <a:lnTo>
                  <a:pt x="238" y="263"/>
                </a:lnTo>
                <a:lnTo>
                  <a:pt x="238" y="266"/>
                </a:lnTo>
                <a:lnTo>
                  <a:pt x="238" y="269"/>
                </a:lnTo>
                <a:lnTo>
                  <a:pt x="238" y="272"/>
                </a:lnTo>
                <a:lnTo>
                  <a:pt x="241" y="275"/>
                </a:lnTo>
                <a:lnTo>
                  <a:pt x="247" y="281"/>
                </a:lnTo>
                <a:lnTo>
                  <a:pt x="257" y="285"/>
                </a:lnTo>
                <a:lnTo>
                  <a:pt x="266" y="291"/>
                </a:lnTo>
                <a:lnTo>
                  <a:pt x="269" y="294"/>
                </a:lnTo>
                <a:lnTo>
                  <a:pt x="269" y="300"/>
                </a:lnTo>
                <a:lnTo>
                  <a:pt x="263" y="310"/>
                </a:lnTo>
                <a:lnTo>
                  <a:pt x="263" y="313"/>
                </a:lnTo>
                <a:lnTo>
                  <a:pt x="266" y="316"/>
                </a:lnTo>
                <a:lnTo>
                  <a:pt x="272" y="319"/>
                </a:lnTo>
                <a:lnTo>
                  <a:pt x="275" y="319"/>
                </a:lnTo>
                <a:lnTo>
                  <a:pt x="279" y="319"/>
                </a:lnTo>
                <a:lnTo>
                  <a:pt x="279" y="319"/>
                </a:lnTo>
                <a:lnTo>
                  <a:pt x="279" y="322"/>
                </a:lnTo>
                <a:lnTo>
                  <a:pt x="279" y="328"/>
                </a:lnTo>
                <a:lnTo>
                  <a:pt x="279" y="335"/>
                </a:lnTo>
                <a:lnTo>
                  <a:pt x="275" y="341"/>
                </a:lnTo>
                <a:lnTo>
                  <a:pt x="275" y="347"/>
                </a:lnTo>
                <a:lnTo>
                  <a:pt x="272" y="347"/>
                </a:lnTo>
                <a:lnTo>
                  <a:pt x="272" y="344"/>
                </a:lnTo>
                <a:lnTo>
                  <a:pt x="269" y="347"/>
                </a:lnTo>
                <a:lnTo>
                  <a:pt x="269" y="353"/>
                </a:lnTo>
                <a:lnTo>
                  <a:pt x="269" y="357"/>
                </a:lnTo>
                <a:lnTo>
                  <a:pt x="269" y="363"/>
                </a:lnTo>
                <a:lnTo>
                  <a:pt x="257" y="369"/>
                </a:lnTo>
                <a:lnTo>
                  <a:pt x="250" y="372"/>
                </a:lnTo>
                <a:lnTo>
                  <a:pt x="247" y="369"/>
                </a:lnTo>
                <a:lnTo>
                  <a:pt x="247" y="372"/>
                </a:lnTo>
                <a:lnTo>
                  <a:pt x="235" y="375"/>
                </a:lnTo>
                <a:lnTo>
                  <a:pt x="222" y="378"/>
                </a:lnTo>
                <a:lnTo>
                  <a:pt x="213" y="382"/>
                </a:lnTo>
                <a:lnTo>
                  <a:pt x="207" y="378"/>
                </a:lnTo>
                <a:lnTo>
                  <a:pt x="200" y="382"/>
                </a:lnTo>
                <a:lnTo>
                  <a:pt x="197" y="382"/>
                </a:lnTo>
                <a:lnTo>
                  <a:pt x="191" y="378"/>
                </a:lnTo>
                <a:lnTo>
                  <a:pt x="188" y="375"/>
                </a:lnTo>
                <a:lnTo>
                  <a:pt x="185" y="375"/>
                </a:lnTo>
                <a:lnTo>
                  <a:pt x="182" y="372"/>
                </a:lnTo>
                <a:lnTo>
                  <a:pt x="182" y="375"/>
                </a:lnTo>
                <a:lnTo>
                  <a:pt x="182" y="378"/>
                </a:lnTo>
                <a:lnTo>
                  <a:pt x="182" y="382"/>
                </a:lnTo>
                <a:lnTo>
                  <a:pt x="182" y="388"/>
                </a:lnTo>
                <a:lnTo>
                  <a:pt x="185" y="391"/>
                </a:lnTo>
                <a:lnTo>
                  <a:pt x="185" y="391"/>
                </a:lnTo>
                <a:lnTo>
                  <a:pt x="188" y="391"/>
                </a:lnTo>
                <a:lnTo>
                  <a:pt x="188" y="394"/>
                </a:lnTo>
                <a:lnTo>
                  <a:pt x="188" y="397"/>
                </a:lnTo>
                <a:lnTo>
                  <a:pt x="185" y="397"/>
                </a:lnTo>
                <a:lnTo>
                  <a:pt x="185" y="400"/>
                </a:lnTo>
                <a:lnTo>
                  <a:pt x="182" y="403"/>
                </a:lnTo>
                <a:lnTo>
                  <a:pt x="182" y="407"/>
                </a:lnTo>
                <a:lnTo>
                  <a:pt x="182" y="407"/>
                </a:lnTo>
                <a:lnTo>
                  <a:pt x="182" y="413"/>
                </a:lnTo>
                <a:lnTo>
                  <a:pt x="185" y="416"/>
                </a:lnTo>
                <a:lnTo>
                  <a:pt x="188" y="416"/>
                </a:lnTo>
                <a:lnTo>
                  <a:pt x="185" y="419"/>
                </a:lnTo>
                <a:lnTo>
                  <a:pt x="185" y="422"/>
                </a:lnTo>
                <a:lnTo>
                  <a:pt x="185" y="425"/>
                </a:lnTo>
                <a:lnTo>
                  <a:pt x="185" y="428"/>
                </a:lnTo>
                <a:lnTo>
                  <a:pt x="182" y="432"/>
                </a:lnTo>
                <a:lnTo>
                  <a:pt x="182" y="432"/>
                </a:lnTo>
                <a:lnTo>
                  <a:pt x="175" y="438"/>
                </a:lnTo>
                <a:lnTo>
                  <a:pt x="163" y="438"/>
                </a:lnTo>
                <a:lnTo>
                  <a:pt x="157" y="435"/>
                </a:lnTo>
                <a:lnTo>
                  <a:pt x="150" y="432"/>
                </a:lnTo>
                <a:lnTo>
                  <a:pt x="144" y="428"/>
                </a:lnTo>
                <a:lnTo>
                  <a:pt x="138" y="428"/>
                </a:lnTo>
                <a:lnTo>
                  <a:pt x="138" y="428"/>
                </a:lnTo>
                <a:lnTo>
                  <a:pt x="138" y="425"/>
                </a:lnTo>
                <a:lnTo>
                  <a:pt x="135" y="425"/>
                </a:lnTo>
                <a:lnTo>
                  <a:pt x="132" y="428"/>
                </a:lnTo>
                <a:lnTo>
                  <a:pt x="132" y="438"/>
                </a:lnTo>
                <a:lnTo>
                  <a:pt x="135" y="441"/>
                </a:lnTo>
                <a:lnTo>
                  <a:pt x="138" y="447"/>
                </a:lnTo>
                <a:lnTo>
                  <a:pt x="138" y="457"/>
                </a:lnTo>
                <a:lnTo>
                  <a:pt x="138" y="460"/>
                </a:lnTo>
                <a:lnTo>
                  <a:pt x="144" y="463"/>
                </a:lnTo>
                <a:lnTo>
                  <a:pt x="150" y="463"/>
                </a:lnTo>
                <a:lnTo>
                  <a:pt x="150" y="463"/>
                </a:lnTo>
                <a:lnTo>
                  <a:pt x="150" y="466"/>
                </a:lnTo>
                <a:lnTo>
                  <a:pt x="147" y="466"/>
                </a:lnTo>
                <a:lnTo>
                  <a:pt x="150" y="469"/>
                </a:lnTo>
                <a:lnTo>
                  <a:pt x="157" y="466"/>
                </a:lnTo>
                <a:lnTo>
                  <a:pt x="157" y="463"/>
                </a:lnTo>
                <a:lnTo>
                  <a:pt x="153" y="463"/>
                </a:lnTo>
                <a:lnTo>
                  <a:pt x="153" y="463"/>
                </a:lnTo>
                <a:lnTo>
                  <a:pt x="153" y="460"/>
                </a:lnTo>
                <a:lnTo>
                  <a:pt x="157" y="460"/>
                </a:lnTo>
                <a:lnTo>
                  <a:pt x="163" y="457"/>
                </a:lnTo>
                <a:lnTo>
                  <a:pt x="163" y="457"/>
                </a:lnTo>
                <a:lnTo>
                  <a:pt x="166" y="463"/>
                </a:lnTo>
                <a:lnTo>
                  <a:pt x="166" y="466"/>
                </a:lnTo>
                <a:lnTo>
                  <a:pt x="166" y="466"/>
                </a:lnTo>
                <a:lnTo>
                  <a:pt x="166" y="469"/>
                </a:lnTo>
                <a:lnTo>
                  <a:pt x="169" y="475"/>
                </a:lnTo>
                <a:lnTo>
                  <a:pt x="169" y="479"/>
                </a:lnTo>
                <a:lnTo>
                  <a:pt x="160" y="482"/>
                </a:lnTo>
                <a:lnTo>
                  <a:pt x="157" y="482"/>
                </a:lnTo>
                <a:lnTo>
                  <a:pt x="157" y="479"/>
                </a:lnTo>
                <a:lnTo>
                  <a:pt x="157" y="475"/>
                </a:lnTo>
                <a:lnTo>
                  <a:pt x="157" y="472"/>
                </a:lnTo>
                <a:lnTo>
                  <a:pt x="150" y="472"/>
                </a:lnTo>
                <a:lnTo>
                  <a:pt x="147" y="472"/>
                </a:lnTo>
                <a:lnTo>
                  <a:pt x="144" y="475"/>
                </a:lnTo>
                <a:lnTo>
                  <a:pt x="141" y="479"/>
                </a:lnTo>
                <a:lnTo>
                  <a:pt x="144" y="482"/>
                </a:lnTo>
                <a:lnTo>
                  <a:pt x="147" y="482"/>
                </a:lnTo>
                <a:lnTo>
                  <a:pt x="153" y="482"/>
                </a:lnTo>
                <a:lnTo>
                  <a:pt x="153" y="485"/>
                </a:lnTo>
                <a:lnTo>
                  <a:pt x="150" y="488"/>
                </a:lnTo>
                <a:lnTo>
                  <a:pt x="144" y="491"/>
                </a:lnTo>
                <a:lnTo>
                  <a:pt x="141" y="494"/>
                </a:lnTo>
                <a:lnTo>
                  <a:pt x="144" y="494"/>
                </a:lnTo>
                <a:lnTo>
                  <a:pt x="141" y="497"/>
                </a:lnTo>
                <a:lnTo>
                  <a:pt x="138" y="500"/>
                </a:lnTo>
                <a:lnTo>
                  <a:pt x="138" y="507"/>
                </a:lnTo>
                <a:lnTo>
                  <a:pt x="141" y="510"/>
                </a:lnTo>
                <a:lnTo>
                  <a:pt x="141" y="513"/>
                </a:lnTo>
                <a:lnTo>
                  <a:pt x="141" y="513"/>
                </a:lnTo>
                <a:lnTo>
                  <a:pt x="144" y="519"/>
                </a:lnTo>
                <a:lnTo>
                  <a:pt x="144" y="519"/>
                </a:lnTo>
                <a:lnTo>
                  <a:pt x="144" y="522"/>
                </a:lnTo>
                <a:lnTo>
                  <a:pt x="144" y="525"/>
                </a:lnTo>
                <a:lnTo>
                  <a:pt x="138" y="529"/>
                </a:lnTo>
                <a:lnTo>
                  <a:pt x="138" y="532"/>
                </a:lnTo>
                <a:lnTo>
                  <a:pt x="138" y="532"/>
                </a:lnTo>
                <a:lnTo>
                  <a:pt x="141" y="535"/>
                </a:lnTo>
                <a:lnTo>
                  <a:pt x="144" y="535"/>
                </a:lnTo>
                <a:lnTo>
                  <a:pt x="141" y="538"/>
                </a:lnTo>
                <a:lnTo>
                  <a:pt x="135" y="538"/>
                </a:lnTo>
                <a:lnTo>
                  <a:pt x="132" y="538"/>
                </a:lnTo>
                <a:lnTo>
                  <a:pt x="128" y="538"/>
                </a:lnTo>
                <a:lnTo>
                  <a:pt x="122" y="544"/>
                </a:lnTo>
                <a:lnTo>
                  <a:pt x="119" y="544"/>
                </a:lnTo>
                <a:lnTo>
                  <a:pt x="116" y="547"/>
                </a:lnTo>
                <a:lnTo>
                  <a:pt x="113" y="547"/>
                </a:lnTo>
                <a:lnTo>
                  <a:pt x="113" y="554"/>
                </a:lnTo>
                <a:lnTo>
                  <a:pt x="110" y="557"/>
                </a:lnTo>
                <a:lnTo>
                  <a:pt x="107" y="560"/>
                </a:lnTo>
                <a:lnTo>
                  <a:pt x="107" y="563"/>
                </a:lnTo>
                <a:lnTo>
                  <a:pt x="107" y="566"/>
                </a:lnTo>
                <a:lnTo>
                  <a:pt x="107" y="569"/>
                </a:lnTo>
                <a:lnTo>
                  <a:pt x="113" y="576"/>
                </a:lnTo>
                <a:lnTo>
                  <a:pt x="116" y="579"/>
                </a:lnTo>
                <a:lnTo>
                  <a:pt x="119" y="582"/>
                </a:lnTo>
                <a:lnTo>
                  <a:pt x="125" y="585"/>
                </a:lnTo>
                <a:lnTo>
                  <a:pt x="132" y="591"/>
                </a:lnTo>
                <a:lnTo>
                  <a:pt x="138" y="591"/>
                </a:lnTo>
                <a:lnTo>
                  <a:pt x="141" y="591"/>
                </a:lnTo>
                <a:lnTo>
                  <a:pt x="144" y="591"/>
                </a:lnTo>
                <a:lnTo>
                  <a:pt x="147" y="591"/>
                </a:lnTo>
                <a:lnTo>
                  <a:pt x="147" y="594"/>
                </a:lnTo>
                <a:lnTo>
                  <a:pt x="147" y="594"/>
                </a:lnTo>
                <a:lnTo>
                  <a:pt x="147" y="597"/>
                </a:lnTo>
                <a:lnTo>
                  <a:pt x="147" y="604"/>
                </a:lnTo>
                <a:lnTo>
                  <a:pt x="147" y="607"/>
                </a:lnTo>
                <a:lnTo>
                  <a:pt x="144" y="610"/>
                </a:lnTo>
                <a:lnTo>
                  <a:pt x="147" y="610"/>
                </a:lnTo>
                <a:lnTo>
                  <a:pt x="150" y="613"/>
                </a:lnTo>
                <a:lnTo>
                  <a:pt x="147" y="613"/>
                </a:lnTo>
                <a:lnTo>
                  <a:pt x="147" y="616"/>
                </a:lnTo>
                <a:lnTo>
                  <a:pt x="150" y="616"/>
                </a:lnTo>
                <a:lnTo>
                  <a:pt x="147" y="622"/>
                </a:lnTo>
                <a:lnTo>
                  <a:pt x="144" y="622"/>
                </a:lnTo>
                <a:lnTo>
                  <a:pt x="141" y="626"/>
                </a:lnTo>
                <a:lnTo>
                  <a:pt x="141" y="626"/>
                </a:lnTo>
                <a:lnTo>
                  <a:pt x="138" y="632"/>
                </a:lnTo>
                <a:lnTo>
                  <a:pt x="135" y="635"/>
                </a:lnTo>
                <a:lnTo>
                  <a:pt x="132" y="635"/>
                </a:lnTo>
                <a:lnTo>
                  <a:pt x="128" y="638"/>
                </a:lnTo>
                <a:lnTo>
                  <a:pt x="125" y="644"/>
                </a:lnTo>
                <a:lnTo>
                  <a:pt x="125" y="647"/>
                </a:lnTo>
                <a:lnTo>
                  <a:pt x="122" y="651"/>
                </a:lnTo>
                <a:lnTo>
                  <a:pt x="122" y="654"/>
                </a:lnTo>
                <a:lnTo>
                  <a:pt x="122" y="654"/>
                </a:lnTo>
                <a:lnTo>
                  <a:pt x="125" y="654"/>
                </a:lnTo>
                <a:lnTo>
                  <a:pt x="128" y="660"/>
                </a:lnTo>
                <a:lnTo>
                  <a:pt x="125" y="663"/>
                </a:lnTo>
                <a:lnTo>
                  <a:pt x="122" y="666"/>
                </a:lnTo>
                <a:lnTo>
                  <a:pt x="122" y="669"/>
                </a:lnTo>
                <a:lnTo>
                  <a:pt x="119" y="672"/>
                </a:lnTo>
                <a:lnTo>
                  <a:pt x="116" y="672"/>
                </a:lnTo>
                <a:lnTo>
                  <a:pt x="113" y="669"/>
                </a:lnTo>
                <a:lnTo>
                  <a:pt x="110" y="666"/>
                </a:lnTo>
                <a:lnTo>
                  <a:pt x="113" y="669"/>
                </a:lnTo>
                <a:lnTo>
                  <a:pt x="113" y="672"/>
                </a:lnTo>
                <a:lnTo>
                  <a:pt x="113" y="676"/>
                </a:lnTo>
                <a:lnTo>
                  <a:pt x="110" y="679"/>
                </a:lnTo>
                <a:lnTo>
                  <a:pt x="107" y="682"/>
                </a:lnTo>
                <a:lnTo>
                  <a:pt x="103" y="688"/>
                </a:lnTo>
                <a:lnTo>
                  <a:pt x="103" y="694"/>
                </a:lnTo>
                <a:lnTo>
                  <a:pt x="110" y="701"/>
                </a:lnTo>
                <a:lnTo>
                  <a:pt x="113" y="710"/>
                </a:lnTo>
                <a:lnTo>
                  <a:pt x="113" y="713"/>
                </a:lnTo>
                <a:lnTo>
                  <a:pt x="113" y="713"/>
                </a:lnTo>
                <a:lnTo>
                  <a:pt x="113" y="716"/>
                </a:lnTo>
                <a:lnTo>
                  <a:pt x="110" y="716"/>
                </a:lnTo>
                <a:lnTo>
                  <a:pt x="113" y="719"/>
                </a:lnTo>
                <a:lnTo>
                  <a:pt x="113" y="719"/>
                </a:lnTo>
                <a:lnTo>
                  <a:pt x="116" y="723"/>
                </a:lnTo>
                <a:lnTo>
                  <a:pt x="119" y="726"/>
                </a:lnTo>
                <a:lnTo>
                  <a:pt x="125" y="729"/>
                </a:lnTo>
                <a:lnTo>
                  <a:pt x="128" y="732"/>
                </a:lnTo>
                <a:lnTo>
                  <a:pt x="128" y="735"/>
                </a:lnTo>
                <a:lnTo>
                  <a:pt x="128" y="735"/>
                </a:lnTo>
                <a:lnTo>
                  <a:pt x="122" y="735"/>
                </a:lnTo>
                <a:lnTo>
                  <a:pt x="116" y="729"/>
                </a:lnTo>
                <a:lnTo>
                  <a:pt x="113" y="729"/>
                </a:lnTo>
                <a:lnTo>
                  <a:pt x="113" y="726"/>
                </a:lnTo>
                <a:lnTo>
                  <a:pt x="88" y="726"/>
                </a:lnTo>
                <a:lnTo>
                  <a:pt x="72" y="729"/>
                </a:lnTo>
                <a:lnTo>
                  <a:pt x="69" y="729"/>
                </a:lnTo>
                <a:lnTo>
                  <a:pt x="60" y="726"/>
                </a:lnTo>
                <a:lnTo>
                  <a:pt x="57" y="719"/>
                </a:lnTo>
                <a:lnTo>
                  <a:pt x="53" y="713"/>
                </a:lnTo>
                <a:lnTo>
                  <a:pt x="50" y="707"/>
                </a:lnTo>
                <a:lnTo>
                  <a:pt x="50" y="698"/>
                </a:lnTo>
                <a:lnTo>
                  <a:pt x="50" y="691"/>
                </a:lnTo>
                <a:lnTo>
                  <a:pt x="44" y="691"/>
                </a:lnTo>
                <a:lnTo>
                  <a:pt x="38" y="694"/>
                </a:lnTo>
                <a:lnTo>
                  <a:pt x="35" y="698"/>
                </a:lnTo>
                <a:lnTo>
                  <a:pt x="32" y="698"/>
                </a:lnTo>
                <a:lnTo>
                  <a:pt x="22" y="682"/>
                </a:lnTo>
                <a:lnTo>
                  <a:pt x="22" y="676"/>
                </a:lnTo>
                <a:lnTo>
                  <a:pt x="25" y="657"/>
                </a:lnTo>
                <a:lnTo>
                  <a:pt x="28" y="651"/>
                </a:lnTo>
                <a:lnTo>
                  <a:pt x="35" y="644"/>
                </a:lnTo>
                <a:lnTo>
                  <a:pt x="38" y="635"/>
                </a:lnTo>
                <a:lnTo>
                  <a:pt x="35" y="626"/>
                </a:lnTo>
                <a:lnTo>
                  <a:pt x="32" y="616"/>
                </a:lnTo>
                <a:lnTo>
                  <a:pt x="35" y="607"/>
                </a:lnTo>
                <a:lnTo>
                  <a:pt x="38" y="604"/>
                </a:lnTo>
                <a:lnTo>
                  <a:pt x="35" y="594"/>
                </a:lnTo>
                <a:lnTo>
                  <a:pt x="35" y="588"/>
                </a:lnTo>
                <a:lnTo>
                  <a:pt x="38" y="585"/>
                </a:lnTo>
                <a:lnTo>
                  <a:pt x="35" y="576"/>
                </a:lnTo>
                <a:lnTo>
                  <a:pt x="35" y="566"/>
                </a:lnTo>
                <a:lnTo>
                  <a:pt x="32" y="560"/>
                </a:lnTo>
                <a:lnTo>
                  <a:pt x="32" y="557"/>
                </a:lnTo>
                <a:lnTo>
                  <a:pt x="38" y="554"/>
                </a:lnTo>
                <a:lnTo>
                  <a:pt x="38" y="547"/>
                </a:lnTo>
                <a:lnTo>
                  <a:pt x="32" y="541"/>
                </a:lnTo>
                <a:lnTo>
                  <a:pt x="25" y="538"/>
                </a:lnTo>
                <a:lnTo>
                  <a:pt x="22" y="538"/>
                </a:lnTo>
                <a:lnTo>
                  <a:pt x="22" y="538"/>
                </a:lnTo>
                <a:lnTo>
                  <a:pt x="19" y="535"/>
                </a:lnTo>
                <a:lnTo>
                  <a:pt x="19" y="532"/>
                </a:lnTo>
                <a:lnTo>
                  <a:pt x="28" y="532"/>
                </a:lnTo>
                <a:lnTo>
                  <a:pt x="32" y="525"/>
                </a:lnTo>
                <a:lnTo>
                  <a:pt x="32" y="522"/>
                </a:lnTo>
                <a:lnTo>
                  <a:pt x="32" y="522"/>
                </a:lnTo>
                <a:lnTo>
                  <a:pt x="28" y="522"/>
                </a:lnTo>
                <a:lnTo>
                  <a:pt x="22" y="522"/>
                </a:lnTo>
                <a:lnTo>
                  <a:pt x="22" y="513"/>
                </a:lnTo>
                <a:lnTo>
                  <a:pt x="19" y="507"/>
                </a:lnTo>
                <a:lnTo>
                  <a:pt x="19" y="500"/>
                </a:lnTo>
                <a:lnTo>
                  <a:pt x="19" y="494"/>
                </a:lnTo>
                <a:lnTo>
                  <a:pt x="13" y="491"/>
                </a:lnTo>
                <a:lnTo>
                  <a:pt x="10" y="485"/>
                </a:lnTo>
                <a:lnTo>
                  <a:pt x="10" y="469"/>
                </a:lnTo>
                <a:lnTo>
                  <a:pt x="13" y="466"/>
                </a:lnTo>
                <a:lnTo>
                  <a:pt x="16" y="463"/>
                </a:lnTo>
                <a:lnTo>
                  <a:pt x="13" y="460"/>
                </a:lnTo>
                <a:lnTo>
                  <a:pt x="10" y="457"/>
                </a:lnTo>
                <a:lnTo>
                  <a:pt x="7" y="447"/>
                </a:lnTo>
                <a:lnTo>
                  <a:pt x="7" y="435"/>
                </a:lnTo>
                <a:lnTo>
                  <a:pt x="7" y="419"/>
                </a:lnTo>
                <a:lnTo>
                  <a:pt x="3" y="413"/>
                </a:lnTo>
                <a:lnTo>
                  <a:pt x="3" y="407"/>
                </a:lnTo>
                <a:lnTo>
                  <a:pt x="10" y="397"/>
                </a:lnTo>
                <a:lnTo>
                  <a:pt x="13" y="388"/>
                </a:lnTo>
                <a:lnTo>
                  <a:pt x="16" y="385"/>
                </a:lnTo>
                <a:lnTo>
                  <a:pt x="19" y="382"/>
                </a:lnTo>
                <a:lnTo>
                  <a:pt x="7" y="357"/>
                </a:lnTo>
                <a:lnTo>
                  <a:pt x="10" y="350"/>
                </a:lnTo>
                <a:lnTo>
                  <a:pt x="10" y="344"/>
                </a:lnTo>
                <a:lnTo>
                  <a:pt x="10" y="332"/>
                </a:lnTo>
                <a:lnTo>
                  <a:pt x="13" y="322"/>
                </a:lnTo>
                <a:lnTo>
                  <a:pt x="19" y="319"/>
                </a:lnTo>
                <a:lnTo>
                  <a:pt x="16" y="310"/>
                </a:lnTo>
                <a:lnTo>
                  <a:pt x="13" y="303"/>
                </a:lnTo>
                <a:lnTo>
                  <a:pt x="10" y="300"/>
                </a:lnTo>
                <a:lnTo>
                  <a:pt x="16" y="294"/>
                </a:lnTo>
                <a:lnTo>
                  <a:pt x="13" y="288"/>
                </a:lnTo>
                <a:lnTo>
                  <a:pt x="16" y="278"/>
                </a:lnTo>
                <a:lnTo>
                  <a:pt x="22" y="278"/>
                </a:lnTo>
                <a:lnTo>
                  <a:pt x="22" y="269"/>
                </a:lnTo>
                <a:lnTo>
                  <a:pt x="19" y="253"/>
                </a:lnTo>
                <a:lnTo>
                  <a:pt x="16" y="250"/>
                </a:lnTo>
                <a:lnTo>
                  <a:pt x="16" y="241"/>
                </a:lnTo>
                <a:lnTo>
                  <a:pt x="13" y="235"/>
                </a:lnTo>
                <a:lnTo>
                  <a:pt x="7" y="225"/>
                </a:lnTo>
                <a:lnTo>
                  <a:pt x="7" y="222"/>
                </a:lnTo>
                <a:lnTo>
                  <a:pt x="3" y="219"/>
                </a:lnTo>
                <a:lnTo>
                  <a:pt x="0" y="210"/>
                </a:lnTo>
                <a:lnTo>
                  <a:pt x="3" y="200"/>
                </a:lnTo>
                <a:lnTo>
                  <a:pt x="7" y="197"/>
                </a:lnTo>
                <a:lnTo>
                  <a:pt x="7" y="188"/>
                </a:lnTo>
                <a:lnTo>
                  <a:pt x="10" y="184"/>
                </a:lnTo>
                <a:lnTo>
                  <a:pt x="10" y="175"/>
                </a:lnTo>
                <a:lnTo>
                  <a:pt x="7" y="169"/>
                </a:lnTo>
                <a:lnTo>
                  <a:pt x="7" y="156"/>
                </a:lnTo>
                <a:lnTo>
                  <a:pt x="10" y="153"/>
                </a:lnTo>
                <a:lnTo>
                  <a:pt x="10" y="141"/>
                </a:lnTo>
                <a:lnTo>
                  <a:pt x="16" y="134"/>
                </a:lnTo>
                <a:lnTo>
                  <a:pt x="19" y="122"/>
                </a:lnTo>
                <a:lnTo>
                  <a:pt x="25" y="116"/>
                </a:lnTo>
                <a:lnTo>
                  <a:pt x="28" y="116"/>
                </a:lnTo>
                <a:lnTo>
                  <a:pt x="32" y="109"/>
                </a:lnTo>
                <a:lnTo>
                  <a:pt x="28" y="109"/>
                </a:lnTo>
                <a:lnTo>
                  <a:pt x="28" y="103"/>
                </a:lnTo>
                <a:lnTo>
                  <a:pt x="28" y="100"/>
                </a:lnTo>
                <a:lnTo>
                  <a:pt x="25" y="97"/>
                </a:lnTo>
                <a:lnTo>
                  <a:pt x="25" y="94"/>
                </a:lnTo>
                <a:lnTo>
                  <a:pt x="32" y="91"/>
                </a:lnTo>
                <a:lnTo>
                  <a:pt x="32" y="88"/>
                </a:lnTo>
                <a:lnTo>
                  <a:pt x="25" y="81"/>
                </a:lnTo>
                <a:lnTo>
                  <a:pt x="25" y="75"/>
                </a:lnTo>
                <a:lnTo>
                  <a:pt x="28" y="72"/>
                </a:lnTo>
                <a:lnTo>
                  <a:pt x="25" y="66"/>
                </a:lnTo>
                <a:lnTo>
                  <a:pt x="22" y="62"/>
                </a:lnTo>
                <a:lnTo>
                  <a:pt x="25" y="59"/>
                </a:lnTo>
                <a:lnTo>
                  <a:pt x="47" y="47"/>
                </a:lnTo>
                <a:lnTo>
                  <a:pt x="53" y="25"/>
                </a:lnTo>
                <a:lnTo>
                  <a:pt x="50" y="19"/>
                </a:lnTo>
                <a:lnTo>
                  <a:pt x="50" y="19"/>
                </a:lnTo>
                <a:close/>
                <a:moveTo>
                  <a:pt x="210" y="804"/>
                </a:moveTo>
                <a:lnTo>
                  <a:pt x="213" y="807"/>
                </a:lnTo>
                <a:lnTo>
                  <a:pt x="219" y="804"/>
                </a:lnTo>
                <a:lnTo>
                  <a:pt x="222" y="804"/>
                </a:lnTo>
                <a:lnTo>
                  <a:pt x="225" y="798"/>
                </a:lnTo>
                <a:lnTo>
                  <a:pt x="222" y="798"/>
                </a:lnTo>
                <a:lnTo>
                  <a:pt x="219" y="801"/>
                </a:lnTo>
                <a:lnTo>
                  <a:pt x="213" y="801"/>
                </a:lnTo>
                <a:lnTo>
                  <a:pt x="210" y="804"/>
                </a:lnTo>
                <a:lnTo>
                  <a:pt x="210" y="804"/>
                </a:lnTo>
                <a:close/>
                <a:moveTo>
                  <a:pt x="122" y="741"/>
                </a:moveTo>
                <a:lnTo>
                  <a:pt x="125" y="741"/>
                </a:lnTo>
                <a:lnTo>
                  <a:pt x="125" y="744"/>
                </a:lnTo>
                <a:lnTo>
                  <a:pt x="132" y="751"/>
                </a:lnTo>
                <a:lnTo>
                  <a:pt x="135" y="760"/>
                </a:lnTo>
                <a:lnTo>
                  <a:pt x="132" y="760"/>
                </a:lnTo>
                <a:lnTo>
                  <a:pt x="132" y="760"/>
                </a:lnTo>
                <a:lnTo>
                  <a:pt x="128" y="763"/>
                </a:lnTo>
                <a:lnTo>
                  <a:pt x="122" y="741"/>
                </a:lnTo>
                <a:lnTo>
                  <a:pt x="122" y="741"/>
                </a:lnTo>
                <a:close/>
                <a:moveTo>
                  <a:pt x="128" y="763"/>
                </a:moveTo>
                <a:lnTo>
                  <a:pt x="132" y="766"/>
                </a:lnTo>
                <a:lnTo>
                  <a:pt x="138" y="766"/>
                </a:lnTo>
                <a:lnTo>
                  <a:pt x="141" y="769"/>
                </a:lnTo>
                <a:lnTo>
                  <a:pt x="141" y="776"/>
                </a:lnTo>
                <a:lnTo>
                  <a:pt x="147" y="776"/>
                </a:lnTo>
                <a:lnTo>
                  <a:pt x="153" y="779"/>
                </a:lnTo>
                <a:lnTo>
                  <a:pt x="153" y="785"/>
                </a:lnTo>
                <a:lnTo>
                  <a:pt x="157" y="785"/>
                </a:lnTo>
                <a:lnTo>
                  <a:pt x="172" y="791"/>
                </a:lnTo>
                <a:lnTo>
                  <a:pt x="175" y="794"/>
                </a:lnTo>
                <a:lnTo>
                  <a:pt x="178" y="794"/>
                </a:lnTo>
                <a:lnTo>
                  <a:pt x="185" y="798"/>
                </a:lnTo>
                <a:lnTo>
                  <a:pt x="188" y="801"/>
                </a:lnTo>
                <a:lnTo>
                  <a:pt x="197" y="798"/>
                </a:lnTo>
                <a:lnTo>
                  <a:pt x="200" y="798"/>
                </a:lnTo>
                <a:lnTo>
                  <a:pt x="200" y="804"/>
                </a:lnTo>
                <a:lnTo>
                  <a:pt x="194" y="804"/>
                </a:lnTo>
                <a:lnTo>
                  <a:pt x="194" y="804"/>
                </a:lnTo>
                <a:lnTo>
                  <a:pt x="188" y="804"/>
                </a:lnTo>
                <a:lnTo>
                  <a:pt x="188" y="807"/>
                </a:lnTo>
                <a:lnTo>
                  <a:pt x="185" y="813"/>
                </a:lnTo>
                <a:lnTo>
                  <a:pt x="182" y="813"/>
                </a:lnTo>
                <a:lnTo>
                  <a:pt x="175" y="810"/>
                </a:lnTo>
                <a:lnTo>
                  <a:pt x="172" y="810"/>
                </a:lnTo>
                <a:lnTo>
                  <a:pt x="163" y="807"/>
                </a:lnTo>
                <a:lnTo>
                  <a:pt x="157" y="810"/>
                </a:lnTo>
                <a:lnTo>
                  <a:pt x="150" y="807"/>
                </a:lnTo>
                <a:lnTo>
                  <a:pt x="144" y="810"/>
                </a:lnTo>
                <a:lnTo>
                  <a:pt x="141" y="810"/>
                </a:lnTo>
                <a:lnTo>
                  <a:pt x="138" y="804"/>
                </a:lnTo>
                <a:lnTo>
                  <a:pt x="147" y="804"/>
                </a:lnTo>
                <a:lnTo>
                  <a:pt x="153" y="801"/>
                </a:lnTo>
                <a:lnTo>
                  <a:pt x="157" y="801"/>
                </a:lnTo>
                <a:lnTo>
                  <a:pt x="157" y="798"/>
                </a:lnTo>
                <a:lnTo>
                  <a:pt x="150" y="801"/>
                </a:lnTo>
                <a:lnTo>
                  <a:pt x="147" y="801"/>
                </a:lnTo>
                <a:lnTo>
                  <a:pt x="141" y="801"/>
                </a:lnTo>
                <a:lnTo>
                  <a:pt x="138" y="801"/>
                </a:lnTo>
                <a:lnTo>
                  <a:pt x="128" y="763"/>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0" name="Freeform 198">
            <a:extLst>
              <a:ext uri="{FF2B5EF4-FFF2-40B4-BE49-F238E27FC236}">
                <a16:creationId xmlns:a16="http://schemas.microsoft.com/office/drawing/2014/main" id="{87595A88-9575-6967-AFA9-6B4931DC6FEF}"/>
              </a:ext>
            </a:extLst>
          </p:cNvPr>
          <p:cNvSpPr>
            <a:spLocks noEditPoints="1"/>
          </p:cNvSpPr>
          <p:nvPr userDrawn="1"/>
        </p:nvSpPr>
        <p:spPr bwMode="auto">
          <a:xfrm>
            <a:off x="8794176" y="10508533"/>
            <a:ext cx="682582" cy="2968626"/>
          </a:xfrm>
          <a:custGeom>
            <a:avLst/>
            <a:gdLst>
              <a:gd name="T0" fmla="*/ 47 w 69"/>
              <a:gd name="T1" fmla="*/ 287 h 299"/>
              <a:gd name="T2" fmla="*/ 46 w 69"/>
              <a:gd name="T3" fmla="*/ 290 h 299"/>
              <a:gd name="T4" fmla="*/ 57 w 69"/>
              <a:gd name="T5" fmla="*/ 290 h 299"/>
              <a:gd name="T6" fmla="*/ 47 w 69"/>
              <a:gd name="T7" fmla="*/ 278 h 299"/>
              <a:gd name="T8" fmla="*/ 55 w 69"/>
              <a:gd name="T9" fmla="*/ 274 h 299"/>
              <a:gd name="T10" fmla="*/ 21 w 69"/>
              <a:gd name="T11" fmla="*/ 246 h 299"/>
              <a:gd name="T12" fmla="*/ 21 w 69"/>
              <a:gd name="T13" fmla="*/ 202 h 299"/>
              <a:gd name="T14" fmla="*/ 16 w 69"/>
              <a:gd name="T15" fmla="*/ 169 h 299"/>
              <a:gd name="T16" fmla="*/ 21 w 69"/>
              <a:gd name="T17" fmla="*/ 116 h 299"/>
              <a:gd name="T18" fmla="*/ 23 w 69"/>
              <a:gd name="T19" fmla="*/ 67 h 299"/>
              <a:gd name="T20" fmla="*/ 22 w 69"/>
              <a:gd name="T21" fmla="*/ 25 h 299"/>
              <a:gd name="T22" fmla="*/ 10 w 69"/>
              <a:gd name="T23" fmla="*/ 5 h 299"/>
              <a:gd name="T24" fmla="*/ 7 w 69"/>
              <a:gd name="T25" fmla="*/ 39 h 299"/>
              <a:gd name="T26" fmla="*/ 7 w 69"/>
              <a:gd name="T27" fmla="*/ 74 h 299"/>
              <a:gd name="T28" fmla="*/ 9 w 69"/>
              <a:gd name="T29" fmla="*/ 106 h 299"/>
              <a:gd name="T30" fmla="*/ 6 w 69"/>
              <a:gd name="T31" fmla="*/ 129 h 299"/>
              <a:gd name="T32" fmla="*/ 3 w 69"/>
              <a:gd name="T33" fmla="*/ 148 h 299"/>
              <a:gd name="T34" fmla="*/ 4 w 69"/>
              <a:gd name="T35" fmla="*/ 172 h 299"/>
              <a:gd name="T36" fmla="*/ 15 w 69"/>
              <a:gd name="T37" fmla="*/ 183 h 299"/>
              <a:gd name="T38" fmla="*/ 12 w 69"/>
              <a:gd name="T39" fmla="*/ 196 h 299"/>
              <a:gd name="T40" fmla="*/ 12 w 69"/>
              <a:gd name="T41" fmla="*/ 216 h 299"/>
              <a:gd name="T42" fmla="*/ 4 w 69"/>
              <a:gd name="T43" fmla="*/ 211 h 299"/>
              <a:gd name="T44" fmla="*/ 8 w 69"/>
              <a:gd name="T45" fmla="*/ 219 h 299"/>
              <a:gd name="T46" fmla="*/ 14 w 69"/>
              <a:gd name="T47" fmla="*/ 227 h 299"/>
              <a:gd name="T48" fmla="*/ 14 w 69"/>
              <a:gd name="T49" fmla="*/ 235 h 299"/>
              <a:gd name="T50" fmla="*/ 16 w 69"/>
              <a:gd name="T51" fmla="*/ 246 h 299"/>
              <a:gd name="T52" fmla="*/ 22 w 69"/>
              <a:gd name="T53" fmla="*/ 258 h 299"/>
              <a:gd name="T54" fmla="*/ 28 w 69"/>
              <a:gd name="T55" fmla="*/ 262 h 299"/>
              <a:gd name="T56" fmla="*/ 30 w 69"/>
              <a:gd name="T57" fmla="*/ 267 h 299"/>
              <a:gd name="T58" fmla="*/ 26 w 69"/>
              <a:gd name="T59" fmla="*/ 270 h 299"/>
              <a:gd name="T60" fmla="*/ 32 w 69"/>
              <a:gd name="T61" fmla="*/ 269 h 299"/>
              <a:gd name="T62" fmla="*/ 30 w 69"/>
              <a:gd name="T63" fmla="*/ 275 h 299"/>
              <a:gd name="T64" fmla="*/ 40 w 69"/>
              <a:gd name="T65" fmla="*/ 272 h 299"/>
              <a:gd name="T66" fmla="*/ 41 w 69"/>
              <a:gd name="T67" fmla="*/ 281 h 299"/>
              <a:gd name="T68" fmla="*/ 53 w 69"/>
              <a:gd name="T69" fmla="*/ 265 h 299"/>
              <a:gd name="T70" fmla="*/ 4 w 69"/>
              <a:gd name="T71" fmla="*/ 184 h 299"/>
              <a:gd name="T72" fmla="*/ 11 w 69"/>
              <a:gd name="T73" fmla="*/ 181 h 299"/>
              <a:gd name="T74" fmla="*/ 9 w 69"/>
              <a:gd name="T75" fmla="*/ 194 h 299"/>
              <a:gd name="T76" fmla="*/ 4 w 69"/>
              <a:gd name="T77" fmla="*/ 201 h 299"/>
              <a:gd name="T78" fmla="*/ 6 w 69"/>
              <a:gd name="T79" fmla="*/ 200 h 299"/>
              <a:gd name="T80" fmla="*/ 13 w 69"/>
              <a:gd name="T81" fmla="*/ 198 h 299"/>
              <a:gd name="T82" fmla="*/ 8 w 69"/>
              <a:gd name="T83" fmla="*/ 204 h 299"/>
              <a:gd name="T84" fmla="*/ 10 w 69"/>
              <a:gd name="T85" fmla="*/ 233 h 299"/>
              <a:gd name="T86" fmla="*/ 8 w 69"/>
              <a:gd name="T87" fmla="*/ 232 h 299"/>
              <a:gd name="T88" fmla="*/ 7 w 69"/>
              <a:gd name="T89" fmla="*/ 239 h 299"/>
              <a:gd name="T90" fmla="*/ 9 w 69"/>
              <a:gd name="T91" fmla="*/ 241 h 299"/>
              <a:gd name="T92" fmla="*/ 13 w 69"/>
              <a:gd name="T93" fmla="*/ 245 h 299"/>
              <a:gd name="T94" fmla="*/ 14 w 69"/>
              <a:gd name="T95" fmla="*/ 254 h 299"/>
              <a:gd name="T96" fmla="*/ 14 w 69"/>
              <a:gd name="T97" fmla="*/ 253 h 299"/>
              <a:gd name="T98" fmla="*/ 16 w 69"/>
              <a:gd name="T99" fmla="*/ 262 h 299"/>
              <a:gd name="T100" fmla="*/ 20 w 69"/>
              <a:gd name="T101" fmla="*/ 265 h 299"/>
              <a:gd name="T102" fmla="*/ 21 w 69"/>
              <a:gd name="T103" fmla="*/ 265 h 299"/>
              <a:gd name="T104" fmla="*/ 25 w 69"/>
              <a:gd name="T105" fmla="*/ 270 h 299"/>
              <a:gd name="T106" fmla="*/ 30 w 69"/>
              <a:gd name="T107" fmla="*/ 277 h 299"/>
              <a:gd name="T108" fmla="*/ 31 w 69"/>
              <a:gd name="T109" fmla="*/ 283 h 299"/>
              <a:gd name="T110" fmla="*/ 36 w 69"/>
              <a:gd name="T111" fmla="*/ 283 h 299"/>
              <a:gd name="T112" fmla="*/ 38 w 69"/>
              <a:gd name="T113" fmla="*/ 284 h 299"/>
              <a:gd name="T114" fmla="*/ 44 w 69"/>
              <a:gd name="T115" fmla="*/ 281 h 299"/>
              <a:gd name="T116" fmla="*/ 68 w 69"/>
              <a:gd name="T117" fmla="*/ 296 h 299"/>
              <a:gd name="T118" fmla="*/ 64 w 69"/>
              <a:gd name="T119" fmla="*/ 292 h 299"/>
              <a:gd name="T120" fmla="*/ 58 w 69"/>
              <a:gd name="T121" fmla="*/ 29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 h="299">
                <a:moveTo>
                  <a:pt x="59" y="289"/>
                </a:moveTo>
                <a:cubicBezTo>
                  <a:pt x="58" y="287"/>
                  <a:pt x="58" y="287"/>
                  <a:pt x="58" y="287"/>
                </a:cubicBezTo>
                <a:cubicBezTo>
                  <a:pt x="58" y="287"/>
                  <a:pt x="58" y="287"/>
                  <a:pt x="58" y="287"/>
                </a:cubicBezTo>
                <a:cubicBezTo>
                  <a:pt x="56" y="286"/>
                  <a:pt x="56" y="286"/>
                  <a:pt x="56" y="286"/>
                </a:cubicBezTo>
                <a:cubicBezTo>
                  <a:pt x="54" y="285"/>
                  <a:pt x="54" y="285"/>
                  <a:pt x="54" y="285"/>
                </a:cubicBezTo>
                <a:cubicBezTo>
                  <a:pt x="51" y="284"/>
                  <a:pt x="51" y="284"/>
                  <a:pt x="51" y="284"/>
                </a:cubicBezTo>
                <a:cubicBezTo>
                  <a:pt x="50" y="284"/>
                  <a:pt x="50" y="284"/>
                  <a:pt x="50" y="284"/>
                </a:cubicBezTo>
                <a:cubicBezTo>
                  <a:pt x="49" y="284"/>
                  <a:pt x="49" y="284"/>
                  <a:pt x="49" y="284"/>
                </a:cubicBezTo>
                <a:cubicBezTo>
                  <a:pt x="50" y="285"/>
                  <a:pt x="50" y="285"/>
                  <a:pt x="50" y="285"/>
                </a:cubicBezTo>
                <a:cubicBezTo>
                  <a:pt x="49" y="285"/>
                  <a:pt x="49" y="285"/>
                  <a:pt x="49" y="285"/>
                </a:cubicBezTo>
                <a:cubicBezTo>
                  <a:pt x="49" y="285"/>
                  <a:pt x="49" y="285"/>
                  <a:pt x="49" y="285"/>
                </a:cubicBezTo>
                <a:cubicBezTo>
                  <a:pt x="47" y="284"/>
                  <a:pt x="47" y="284"/>
                  <a:pt x="47" y="284"/>
                </a:cubicBezTo>
                <a:cubicBezTo>
                  <a:pt x="46" y="283"/>
                  <a:pt x="46" y="283"/>
                  <a:pt x="46" y="283"/>
                </a:cubicBezTo>
                <a:cubicBezTo>
                  <a:pt x="45" y="284"/>
                  <a:pt x="45" y="284"/>
                  <a:pt x="45" y="284"/>
                </a:cubicBezTo>
                <a:cubicBezTo>
                  <a:pt x="46" y="284"/>
                  <a:pt x="46" y="284"/>
                  <a:pt x="46" y="284"/>
                </a:cubicBezTo>
                <a:cubicBezTo>
                  <a:pt x="48" y="286"/>
                  <a:pt x="48" y="286"/>
                  <a:pt x="48" y="286"/>
                </a:cubicBezTo>
                <a:cubicBezTo>
                  <a:pt x="49" y="286"/>
                  <a:pt x="49" y="286"/>
                  <a:pt x="49" y="286"/>
                </a:cubicBezTo>
                <a:cubicBezTo>
                  <a:pt x="48" y="286"/>
                  <a:pt x="48" y="286"/>
                  <a:pt x="48" y="286"/>
                </a:cubicBezTo>
                <a:cubicBezTo>
                  <a:pt x="48" y="286"/>
                  <a:pt x="48" y="286"/>
                  <a:pt x="48" y="286"/>
                </a:cubicBezTo>
                <a:cubicBezTo>
                  <a:pt x="48" y="287"/>
                  <a:pt x="48" y="287"/>
                  <a:pt x="48" y="287"/>
                </a:cubicBezTo>
                <a:cubicBezTo>
                  <a:pt x="47" y="287"/>
                  <a:pt x="47" y="287"/>
                  <a:pt x="47" y="287"/>
                </a:cubicBezTo>
                <a:cubicBezTo>
                  <a:pt x="47" y="286"/>
                  <a:pt x="47" y="286"/>
                  <a:pt x="47" y="286"/>
                </a:cubicBezTo>
                <a:cubicBezTo>
                  <a:pt x="45" y="285"/>
                  <a:pt x="45" y="285"/>
                  <a:pt x="45" y="285"/>
                </a:cubicBezTo>
                <a:cubicBezTo>
                  <a:pt x="45" y="286"/>
                  <a:pt x="45" y="286"/>
                  <a:pt x="45" y="286"/>
                </a:cubicBezTo>
                <a:cubicBezTo>
                  <a:pt x="45" y="286"/>
                  <a:pt x="45" y="286"/>
                  <a:pt x="45" y="286"/>
                </a:cubicBezTo>
                <a:cubicBezTo>
                  <a:pt x="44" y="287"/>
                  <a:pt x="44" y="287"/>
                  <a:pt x="44" y="287"/>
                </a:cubicBezTo>
                <a:cubicBezTo>
                  <a:pt x="42" y="287"/>
                  <a:pt x="42" y="287"/>
                  <a:pt x="42" y="287"/>
                </a:cubicBezTo>
                <a:cubicBezTo>
                  <a:pt x="42" y="287"/>
                  <a:pt x="42" y="287"/>
                  <a:pt x="42" y="287"/>
                </a:cubicBezTo>
                <a:cubicBezTo>
                  <a:pt x="42" y="287"/>
                  <a:pt x="42" y="287"/>
                  <a:pt x="42" y="287"/>
                </a:cubicBezTo>
                <a:cubicBezTo>
                  <a:pt x="42" y="288"/>
                  <a:pt x="42" y="288"/>
                  <a:pt x="42" y="288"/>
                </a:cubicBezTo>
                <a:cubicBezTo>
                  <a:pt x="41" y="288"/>
                  <a:pt x="41" y="288"/>
                  <a:pt x="41" y="288"/>
                </a:cubicBezTo>
                <a:cubicBezTo>
                  <a:pt x="40" y="288"/>
                  <a:pt x="40" y="288"/>
                  <a:pt x="40" y="288"/>
                </a:cubicBezTo>
                <a:cubicBezTo>
                  <a:pt x="40" y="289"/>
                  <a:pt x="40" y="289"/>
                  <a:pt x="40" y="289"/>
                </a:cubicBezTo>
                <a:cubicBezTo>
                  <a:pt x="41" y="289"/>
                  <a:pt x="41" y="289"/>
                  <a:pt x="41" y="289"/>
                </a:cubicBezTo>
                <a:cubicBezTo>
                  <a:pt x="43" y="289"/>
                  <a:pt x="43" y="289"/>
                  <a:pt x="43" y="289"/>
                </a:cubicBezTo>
                <a:cubicBezTo>
                  <a:pt x="43" y="288"/>
                  <a:pt x="43" y="288"/>
                  <a:pt x="43" y="288"/>
                </a:cubicBezTo>
                <a:cubicBezTo>
                  <a:pt x="43" y="288"/>
                  <a:pt x="43" y="288"/>
                  <a:pt x="43" y="288"/>
                </a:cubicBezTo>
                <a:cubicBezTo>
                  <a:pt x="44" y="288"/>
                  <a:pt x="44" y="288"/>
                  <a:pt x="44" y="288"/>
                </a:cubicBezTo>
                <a:cubicBezTo>
                  <a:pt x="45" y="289"/>
                  <a:pt x="45" y="289"/>
                  <a:pt x="45" y="289"/>
                </a:cubicBezTo>
                <a:cubicBezTo>
                  <a:pt x="46" y="289"/>
                  <a:pt x="46" y="289"/>
                  <a:pt x="46" y="289"/>
                </a:cubicBezTo>
                <a:cubicBezTo>
                  <a:pt x="46" y="289"/>
                  <a:pt x="46" y="289"/>
                  <a:pt x="46" y="289"/>
                </a:cubicBezTo>
                <a:cubicBezTo>
                  <a:pt x="46" y="290"/>
                  <a:pt x="46" y="290"/>
                  <a:pt x="46" y="290"/>
                </a:cubicBezTo>
                <a:cubicBezTo>
                  <a:pt x="47" y="290"/>
                  <a:pt x="47" y="290"/>
                  <a:pt x="47" y="290"/>
                </a:cubicBezTo>
                <a:cubicBezTo>
                  <a:pt x="46" y="291"/>
                  <a:pt x="46" y="291"/>
                  <a:pt x="46" y="291"/>
                </a:cubicBezTo>
                <a:cubicBezTo>
                  <a:pt x="46" y="292"/>
                  <a:pt x="46" y="292"/>
                  <a:pt x="46" y="292"/>
                </a:cubicBezTo>
                <a:cubicBezTo>
                  <a:pt x="46" y="293"/>
                  <a:pt x="46" y="293"/>
                  <a:pt x="46" y="293"/>
                </a:cubicBezTo>
                <a:cubicBezTo>
                  <a:pt x="47" y="293"/>
                  <a:pt x="47" y="293"/>
                  <a:pt x="47" y="293"/>
                </a:cubicBezTo>
                <a:cubicBezTo>
                  <a:pt x="48" y="293"/>
                  <a:pt x="48" y="293"/>
                  <a:pt x="48" y="293"/>
                </a:cubicBezTo>
                <a:cubicBezTo>
                  <a:pt x="49" y="294"/>
                  <a:pt x="49" y="294"/>
                  <a:pt x="49" y="294"/>
                </a:cubicBezTo>
                <a:cubicBezTo>
                  <a:pt x="50" y="294"/>
                  <a:pt x="50" y="294"/>
                  <a:pt x="50" y="294"/>
                </a:cubicBezTo>
                <a:cubicBezTo>
                  <a:pt x="50" y="294"/>
                  <a:pt x="50" y="294"/>
                  <a:pt x="50" y="294"/>
                </a:cubicBezTo>
                <a:cubicBezTo>
                  <a:pt x="49" y="293"/>
                  <a:pt x="49" y="293"/>
                  <a:pt x="49" y="293"/>
                </a:cubicBezTo>
                <a:cubicBezTo>
                  <a:pt x="48" y="292"/>
                  <a:pt x="48" y="292"/>
                  <a:pt x="48" y="292"/>
                </a:cubicBezTo>
                <a:cubicBezTo>
                  <a:pt x="48" y="292"/>
                  <a:pt x="48" y="292"/>
                  <a:pt x="48" y="292"/>
                </a:cubicBezTo>
                <a:cubicBezTo>
                  <a:pt x="48" y="292"/>
                  <a:pt x="48" y="292"/>
                  <a:pt x="48" y="292"/>
                </a:cubicBezTo>
                <a:cubicBezTo>
                  <a:pt x="49" y="292"/>
                  <a:pt x="49" y="292"/>
                  <a:pt x="49" y="292"/>
                </a:cubicBezTo>
                <a:cubicBezTo>
                  <a:pt x="50" y="292"/>
                  <a:pt x="50" y="292"/>
                  <a:pt x="50" y="292"/>
                </a:cubicBezTo>
                <a:cubicBezTo>
                  <a:pt x="50" y="291"/>
                  <a:pt x="50" y="291"/>
                  <a:pt x="50" y="291"/>
                </a:cubicBezTo>
                <a:cubicBezTo>
                  <a:pt x="49" y="291"/>
                  <a:pt x="49" y="291"/>
                  <a:pt x="49" y="291"/>
                </a:cubicBezTo>
                <a:cubicBezTo>
                  <a:pt x="48" y="290"/>
                  <a:pt x="48" y="290"/>
                  <a:pt x="48" y="290"/>
                </a:cubicBezTo>
                <a:cubicBezTo>
                  <a:pt x="51" y="289"/>
                  <a:pt x="51" y="289"/>
                  <a:pt x="51" y="289"/>
                </a:cubicBezTo>
                <a:cubicBezTo>
                  <a:pt x="52" y="289"/>
                  <a:pt x="52" y="289"/>
                  <a:pt x="52" y="289"/>
                </a:cubicBezTo>
                <a:cubicBezTo>
                  <a:pt x="57" y="290"/>
                  <a:pt x="57" y="290"/>
                  <a:pt x="57" y="290"/>
                </a:cubicBezTo>
                <a:cubicBezTo>
                  <a:pt x="58" y="290"/>
                  <a:pt x="58" y="290"/>
                  <a:pt x="58" y="290"/>
                </a:cubicBezTo>
                <a:cubicBezTo>
                  <a:pt x="57" y="289"/>
                  <a:pt x="57" y="289"/>
                  <a:pt x="57" y="289"/>
                </a:cubicBezTo>
                <a:cubicBezTo>
                  <a:pt x="59" y="289"/>
                  <a:pt x="59" y="289"/>
                  <a:pt x="59" y="289"/>
                </a:cubicBezTo>
                <a:close/>
                <a:moveTo>
                  <a:pt x="58" y="286"/>
                </a:moveTo>
                <a:cubicBezTo>
                  <a:pt x="57" y="286"/>
                  <a:pt x="57" y="286"/>
                  <a:pt x="57" y="286"/>
                </a:cubicBezTo>
                <a:cubicBezTo>
                  <a:pt x="54" y="284"/>
                  <a:pt x="54" y="284"/>
                  <a:pt x="54" y="284"/>
                </a:cubicBezTo>
                <a:cubicBezTo>
                  <a:pt x="52" y="283"/>
                  <a:pt x="52" y="283"/>
                  <a:pt x="52" y="283"/>
                </a:cubicBezTo>
                <a:cubicBezTo>
                  <a:pt x="50" y="283"/>
                  <a:pt x="50" y="283"/>
                  <a:pt x="50" y="283"/>
                </a:cubicBezTo>
                <a:cubicBezTo>
                  <a:pt x="49" y="282"/>
                  <a:pt x="49" y="282"/>
                  <a:pt x="49" y="282"/>
                </a:cubicBezTo>
                <a:cubicBezTo>
                  <a:pt x="48" y="281"/>
                  <a:pt x="48" y="281"/>
                  <a:pt x="48" y="281"/>
                </a:cubicBezTo>
                <a:cubicBezTo>
                  <a:pt x="48" y="280"/>
                  <a:pt x="48" y="280"/>
                  <a:pt x="48" y="280"/>
                </a:cubicBezTo>
                <a:cubicBezTo>
                  <a:pt x="48" y="280"/>
                  <a:pt x="48" y="280"/>
                  <a:pt x="48" y="280"/>
                </a:cubicBezTo>
                <a:cubicBezTo>
                  <a:pt x="50" y="279"/>
                  <a:pt x="50" y="279"/>
                  <a:pt x="50" y="279"/>
                </a:cubicBezTo>
                <a:cubicBezTo>
                  <a:pt x="50" y="278"/>
                  <a:pt x="50" y="278"/>
                  <a:pt x="50" y="278"/>
                </a:cubicBezTo>
                <a:cubicBezTo>
                  <a:pt x="51" y="278"/>
                  <a:pt x="51" y="278"/>
                  <a:pt x="51" y="278"/>
                </a:cubicBezTo>
                <a:cubicBezTo>
                  <a:pt x="52" y="277"/>
                  <a:pt x="52" y="277"/>
                  <a:pt x="52" y="277"/>
                </a:cubicBezTo>
                <a:cubicBezTo>
                  <a:pt x="52" y="275"/>
                  <a:pt x="52" y="275"/>
                  <a:pt x="52" y="275"/>
                </a:cubicBezTo>
                <a:cubicBezTo>
                  <a:pt x="50" y="275"/>
                  <a:pt x="50" y="275"/>
                  <a:pt x="50" y="275"/>
                </a:cubicBezTo>
                <a:cubicBezTo>
                  <a:pt x="49" y="276"/>
                  <a:pt x="49" y="276"/>
                  <a:pt x="49" y="276"/>
                </a:cubicBezTo>
                <a:cubicBezTo>
                  <a:pt x="48" y="277"/>
                  <a:pt x="48" y="277"/>
                  <a:pt x="48" y="277"/>
                </a:cubicBezTo>
                <a:cubicBezTo>
                  <a:pt x="47" y="278"/>
                  <a:pt x="47" y="278"/>
                  <a:pt x="47" y="278"/>
                </a:cubicBezTo>
                <a:cubicBezTo>
                  <a:pt x="46" y="276"/>
                  <a:pt x="46" y="276"/>
                  <a:pt x="46" y="276"/>
                </a:cubicBezTo>
                <a:cubicBezTo>
                  <a:pt x="45" y="275"/>
                  <a:pt x="45" y="275"/>
                  <a:pt x="45" y="275"/>
                </a:cubicBezTo>
                <a:cubicBezTo>
                  <a:pt x="45" y="274"/>
                  <a:pt x="45" y="274"/>
                  <a:pt x="45" y="274"/>
                </a:cubicBezTo>
                <a:cubicBezTo>
                  <a:pt x="46" y="273"/>
                  <a:pt x="46" y="273"/>
                  <a:pt x="46" y="273"/>
                </a:cubicBezTo>
                <a:cubicBezTo>
                  <a:pt x="46" y="272"/>
                  <a:pt x="46" y="272"/>
                  <a:pt x="46" y="272"/>
                </a:cubicBezTo>
                <a:cubicBezTo>
                  <a:pt x="45" y="272"/>
                  <a:pt x="45" y="272"/>
                  <a:pt x="45" y="272"/>
                </a:cubicBezTo>
                <a:cubicBezTo>
                  <a:pt x="45" y="271"/>
                  <a:pt x="45" y="271"/>
                  <a:pt x="45" y="271"/>
                </a:cubicBezTo>
                <a:cubicBezTo>
                  <a:pt x="45" y="270"/>
                  <a:pt x="45" y="270"/>
                  <a:pt x="45" y="270"/>
                </a:cubicBezTo>
                <a:cubicBezTo>
                  <a:pt x="46" y="271"/>
                  <a:pt x="46" y="271"/>
                  <a:pt x="46" y="271"/>
                </a:cubicBezTo>
                <a:cubicBezTo>
                  <a:pt x="47" y="271"/>
                  <a:pt x="47" y="271"/>
                  <a:pt x="47" y="271"/>
                </a:cubicBezTo>
                <a:cubicBezTo>
                  <a:pt x="48" y="271"/>
                  <a:pt x="48" y="271"/>
                  <a:pt x="48" y="271"/>
                </a:cubicBezTo>
                <a:cubicBezTo>
                  <a:pt x="49" y="270"/>
                  <a:pt x="49" y="270"/>
                  <a:pt x="49" y="270"/>
                </a:cubicBezTo>
                <a:cubicBezTo>
                  <a:pt x="49" y="269"/>
                  <a:pt x="49" y="269"/>
                  <a:pt x="49" y="269"/>
                </a:cubicBezTo>
                <a:cubicBezTo>
                  <a:pt x="49" y="268"/>
                  <a:pt x="49" y="268"/>
                  <a:pt x="49" y="268"/>
                </a:cubicBezTo>
                <a:cubicBezTo>
                  <a:pt x="49" y="267"/>
                  <a:pt x="49" y="267"/>
                  <a:pt x="49" y="267"/>
                </a:cubicBezTo>
                <a:cubicBezTo>
                  <a:pt x="50" y="267"/>
                  <a:pt x="50" y="267"/>
                  <a:pt x="50" y="267"/>
                </a:cubicBezTo>
                <a:cubicBezTo>
                  <a:pt x="51" y="268"/>
                  <a:pt x="51" y="268"/>
                  <a:pt x="51" y="268"/>
                </a:cubicBezTo>
                <a:cubicBezTo>
                  <a:pt x="52" y="268"/>
                  <a:pt x="52" y="268"/>
                  <a:pt x="52" y="268"/>
                </a:cubicBezTo>
                <a:cubicBezTo>
                  <a:pt x="53" y="267"/>
                  <a:pt x="53" y="267"/>
                  <a:pt x="53" y="267"/>
                </a:cubicBezTo>
                <a:cubicBezTo>
                  <a:pt x="55" y="274"/>
                  <a:pt x="55" y="274"/>
                  <a:pt x="55" y="274"/>
                </a:cubicBezTo>
                <a:cubicBezTo>
                  <a:pt x="55" y="274"/>
                  <a:pt x="55" y="274"/>
                  <a:pt x="55" y="274"/>
                </a:cubicBezTo>
                <a:cubicBezTo>
                  <a:pt x="55" y="274"/>
                  <a:pt x="55" y="274"/>
                  <a:pt x="55" y="274"/>
                </a:cubicBezTo>
                <a:cubicBezTo>
                  <a:pt x="58" y="286"/>
                  <a:pt x="58" y="286"/>
                  <a:pt x="58" y="286"/>
                </a:cubicBezTo>
                <a:close/>
                <a:moveTo>
                  <a:pt x="53" y="265"/>
                </a:moveTo>
                <a:cubicBezTo>
                  <a:pt x="51" y="263"/>
                  <a:pt x="51" y="263"/>
                  <a:pt x="51" y="263"/>
                </a:cubicBezTo>
                <a:cubicBezTo>
                  <a:pt x="50" y="263"/>
                  <a:pt x="50" y="263"/>
                  <a:pt x="50" y="263"/>
                </a:cubicBezTo>
                <a:cubicBezTo>
                  <a:pt x="50" y="262"/>
                  <a:pt x="50" y="262"/>
                  <a:pt x="50" y="262"/>
                </a:cubicBezTo>
                <a:cubicBezTo>
                  <a:pt x="42" y="262"/>
                  <a:pt x="42" y="262"/>
                  <a:pt x="42" y="262"/>
                </a:cubicBezTo>
                <a:cubicBezTo>
                  <a:pt x="37" y="263"/>
                  <a:pt x="37" y="263"/>
                  <a:pt x="37" y="263"/>
                </a:cubicBezTo>
                <a:cubicBezTo>
                  <a:pt x="36" y="263"/>
                  <a:pt x="36" y="263"/>
                  <a:pt x="36" y="263"/>
                </a:cubicBezTo>
                <a:cubicBezTo>
                  <a:pt x="33" y="262"/>
                  <a:pt x="33" y="262"/>
                  <a:pt x="33" y="262"/>
                </a:cubicBezTo>
                <a:cubicBezTo>
                  <a:pt x="32" y="260"/>
                  <a:pt x="32" y="260"/>
                  <a:pt x="32" y="260"/>
                </a:cubicBezTo>
                <a:cubicBezTo>
                  <a:pt x="31" y="258"/>
                  <a:pt x="31" y="258"/>
                  <a:pt x="31" y="258"/>
                </a:cubicBezTo>
                <a:cubicBezTo>
                  <a:pt x="30" y="256"/>
                  <a:pt x="30" y="256"/>
                  <a:pt x="30" y="256"/>
                </a:cubicBezTo>
                <a:cubicBezTo>
                  <a:pt x="30" y="253"/>
                  <a:pt x="30" y="253"/>
                  <a:pt x="30" y="253"/>
                </a:cubicBezTo>
                <a:cubicBezTo>
                  <a:pt x="30" y="251"/>
                  <a:pt x="30" y="251"/>
                  <a:pt x="30" y="251"/>
                </a:cubicBezTo>
                <a:cubicBezTo>
                  <a:pt x="28" y="251"/>
                  <a:pt x="28" y="251"/>
                  <a:pt x="28" y="251"/>
                </a:cubicBezTo>
                <a:cubicBezTo>
                  <a:pt x="26" y="252"/>
                  <a:pt x="26" y="252"/>
                  <a:pt x="26" y="252"/>
                </a:cubicBezTo>
                <a:cubicBezTo>
                  <a:pt x="25" y="253"/>
                  <a:pt x="25" y="253"/>
                  <a:pt x="25" y="253"/>
                </a:cubicBezTo>
                <a:cubicBezTo>
                  <a:pt x="24" y="253"/>
                  <a:pt x="24" y="253"/>
                  <a:pt x="24" y="253"/>
                </a:cubicBezTo>
                <a:cubicBezTo>
                  <a:pt x="21" y="248"/>
                  <a:pt x="21" y="248"/>
                  <a:pt x="21" y="248"/>
                </a:cubicBezTo>
                <a:cubicBezTo>
                  <a:pt x="21" y="246"/>
                  <a:pt x="21" y="246"/>
                  <a:pt x="21" y="246"/>
                </a:cubicBezTo>
                <a:cubicBezTo>
                  <a:pt x="22" y="240"/>
                  <a:pt x="22" y="240"/>
                  <a:pt x="22" y="240"/>
                </a:cubicBezTo>
                <a:cubicBezTo>
                  <a:pt x="23" y="238"/>
                  <a:pt x="23" y="238"/>
                  <a:pt x="23" y="238"/>
                </a:cubicBezTo>
                <a:cubicBezTo>
                  <a:pt x="25" y="236"/>
                  <a:pt x="25" y="236"/>
                  <a:pt x="25" y="236"/>
                </a:cubicBezTo>
                <a:cubicBezTo>
                  <a:pt x="26" y="233"/>
                  <a:pt x="26" y="233"/>
                  <a:pt x="26" y="233"/>
                </a:cubicBezTo>
                <a:cubicBezTo>
                  <a:pt x="25" y="230"/>
                  <a:pt x="25" y="230"/>
                  <a:pt x="25" y="230"/>
                </a:cubicBezTo>
                <a:cubicBezTo>
                  <a:pt x="24" y="227"/>
                  <a:pt x="24" y="227"/>
                  <a:pt x="24" y="227"/>
                </a:cubicBezTo>
                <a:cubicBezTo>
                  <a:pt x="25" y="224"/>
                  <a:pt x="25" y="224"/>
                  <a:pt x="25" y="224"/>
                </a:cubicBezTo>
                <a:cubicBezTo>
                  <a:pt x="26" y="223"/>
                  <a:pt x="26" y="223"/>
                  <a:pt x="26" y="223"/>
                </a:cubicBezTo>
                <a:cubicBezTo>
                  <a:pt x="25" y="220"/>
                  <a:pt x="25" y="220"/>
                  <a:pt x="25" y="220"/>
                </a:cubicBezTo>
                <a:cubicBezTo>
                  <a:pt x="25" y="218"/>
                  <a:pt x="25" y="218"/>
                  <a:pt x="25" y="218"/>
                </a:cubicBezTo>
                <a:cubicBezTo>
                  <a:pt x="26" y="217"/>
                  <a:pt x="26" y="217"/>
                  <a:pt x="26" y="217"/>
                </a:cubicBezTo>
                <a:cubicBezTo>
                  <a:pt x="25" y="214"/>
                  <a:pt x="25" y="214"/>
                  <a:pt x="25" y="214"/>
                </a:cubicBezTo>
                <a:cubicBezTo>
                  <a:pt x="25" y="211"/>
                  <a:pt x="25" y="211"/>
                  <a:pt x="25" y="211"/>
                </a:cubicBezTo>
                <a:cubicBezTo>
                  <a:pt x="24" y="209"/>
                  <a:pt x="24" y="209"/>
                  <a:pt x="24" y="209"/>
                </a:cubicBezTo>
                <a:cubicBezTo>
                  <a:pt x="24" y="208"/>
                  <a:pt x="24" y="208"/>
                  <a:pt x="24" y="208"/>
                </a:cubicBezTo>
                <a:cubicBezTo>
                  <a:pt x="26" y="207"/>
                  <a:pt x="26" y="207"/>
                  <a:pt x="26" y="207"/>
                </a:cubicBezTo>
                <a:cubicBezTo>
                  <a:pt x="26" y="205"/>
                  <a:pt x="26" y="205"/>
                  <a:pt x="26" y="205"/>
                </a:cubicBezTo>
                <a:cubicBezTo>
                  <a:pt x="24" y="203"/>
                  <a:pt x="24" y="203"/>
                  <a:pt x="24" y="203"/>
                </a:cubicBezTo>
                <a:cubicBezTo>
                  <a:pt x="22" y="202"/>
                  <a:pt x="22" y="202"/>
                  <a:pt x="22" y="202"/>
                </a:cubicBezTo>
                <a:cubicBezTo>
                  <a:pt x="21" y="202"/>
                  <a:pt x="21" y="202"/>
                  <a:pt x="21" y="202"/>
                </a:cubicBezTo>
                <a:cubicBezTo>
                  <a:pt x="21" y="202"/>
                  <a:pt x="21" y="202"/>
                  <a:pt x="21" y="202"/>
                </a:cubicBezTo>
                <a:cubicBezTo>
                  <a:pt x="20" y="201"/>
                  <a:pt x="20" y="201"/>
                  <a:pt x="20" y="201"/>
                </a:cubicBezTo>
                <a:cubicBezTo>
                  <a:pt x="20" y="200"/>
                  <a:pt x="20" y="200"/>
                  <a:pt x="20" y="200"/>
                </a:cubicBezTo>
                <a:cubicBezTo>
                  <a:pt x="23" y="200"/>
                  <a:pt x="23" y="200"/>
                  <a:pt x="23" y="200"/>
                </a:cubicBezTo>
                <a:cubicBezTo>
                  <a:pt x="24" y="198"/>
                  <a:pt x="24" y="198"/>
                  <a:pt x="24" y="198"/>
                </a:cubicBezTo>
                <a:cubicBezTo>
                  <a:pt x="24" y="197"/>
                  <a:pt x="24" y="197"/>
                  <a:pt x="24" y="197"/>
                </a:cubicBezTo>
                <a:cubicBezTo>
                  <a:pt x="24" y="197"/>
                  <a:pt x="24" y="197"/>
                  <a:pt x="24" y="197"/>
                </a:cubicBezTo>
                <a:cubicBezTo>
                  <a:pt x="23" y="197"/>
                  <a:pt x="23" y="197"/>
                  <a:pt x="23" y="197"/>
                </a:cubicBezTo>
                <a:cubicBezTo>
                  <a:pt x="21" y="197"/>
                  <a:pt x="21" y="197"/>
                  <a:pt x="21" y="197"/>
                </a:cubicBezTo>
                <a:cubicBezTo>
                  <a:pt x="21" y="194"/>
                  <a:pt x="21" y="194"/>
                  <a:pt x="21" y="194"/>
                </a:cubicBezTo>
                <a:cubicBezTo>
                  <a:pt x="20" y="192"/>
                  <a:pt x="20" y="192"/>
                  <a:pt x="20" y="192"/>
                </a:cubicBezTo>
                <a:cubicBezTo>
                  <a:pt x="20" y="190"/>
                  <a:pt x="20" y="190"/>
                  <a:pt x="20" y="190"/>
                </a:cubicBezTo>
                <a:cubicBezTo>
                  <a:pt x="20" y="188"/>
                  <a:pt x="20" y="188"/>
                  <a:pt x="20" y="188"/>
                </a:cubicBezTo>
                <a:cubicBezTo>
                  <a:pt x="18" y="187"/>
                  <a:pt x="18" y="187"/>
                  <a:pt x="18" y="187"/>
                </a:cubicBezTo>
                <a:cubicBezTo>
                  <a:pt x="17" y="185"/>
                  <a:pt x="17" y="185"/>
                  <a:pt x="17" y="185"/>
                </a:cubicBezTo>
                <a:cubicBezTo>
                  <a:pt x="17" y="180"/>
                  <a:pt x="17" y="180"/>
                  <a:pt x="17" y="180"/>
                </a:cubicBezTo>
                <a:cubicBezTo>
                  <a:pt x="18" y="179"/>
                  <a:pt x="18" y="179"/>
                  <a:pt x="18" y="179"/>
                </a:cubicBezTo>
                <a:cubicBezTo>
                  <a:pt x="19" y="178"/>
                  <a:pt x="19" y="178"/>
                  <a:pt x="19" y="178"/>
                </a:cubicBezTo>
                <a:cubicBezTo>
                  <a:pt x="18" y="177"/>
                  <a:pt x="18" y="177"/>
                  <a:pt x="18" y="177"/>
                </a:cubicBezTo>
                <a:cubicBezTo>
                  <a:pt x="17" y="176"/>
                  <a:pt x="17" y="176"/>
                  <a:pt x="17" y="176"/>
                </a:cubicBezTo>
                <a:cubicBezTo>
                  <a:pt x="16" y="173"/>
                  <a:pt x="16" y="173"/>
                  <a:pt x="16" y="173"/>
                </a:cubicBezTo>
                <a:cubicBezTo>
                  <a:pt x="16" y="169"/>
                  <a:pt x="16" y="169"/>
                  <a:pt x="16" y="169"/>
                </a:cubicBezTo>
                <a:cubicBezTo>
                  <a:pt x="16" y="164"/>
                  <a:pt x="16" y="164"/>
                  <a:pt x="16" y="164"/>
                </a:cubicBezTo>
                <a:cubicBezTo>
                  <a:pt x="15" y="162"/>
                  <a:pt x="15" y="162"/>
                  <a:pt x="15" y="162"/>
                </a:cubicBezTo>
                <a:cubicBezTo>
                  <a:pt x="15" y="160"/>
                  <a:pt x="15" y="160"/>
                  <a:pt x="15" y="160"/>
                </a:cubicBezTo>
                <a:cubicBezTo>
                  <a:pt x="17" y="157"/>
                  <a:pt x="17" y="157"/>
                  <a:pt x="17" y="157"/>
                </a:cubicBezTo>
                <a:cubicBezTo>
                  <a:pt x="18" y="154"/>
                  <a:pt x="18" y="154"/>
                  <a:pt x="18" y="154"/>
                </a:cubicBezTo>
                <a:cubicBezTo>
                  <a:pt x="19" y="153"/>
                  <a:pt x="19" y="153"/>
                  <a:pt x="19" y="153"/>
                </a:cubicBezTo>
                <a:cubicBezTo>
                  <a:pt x="20" y="152"/>
                  <a:pt x="20" y="152"/>
                  <a:pt x="20" y="152"/>
                </a:cubicBezTo>
                <a:cubicBezTo>
                  <a:pt x="16" y="144"/>
                  <a:pt x="16" y="144"/>
                  <a:pt x="16" y="144"/>
                </a:cubicBezTo>
                <a:cubicBezTo>
                  <a:pt x="17" y="142"/>
                  <a:pt x="17" y="142"/>
                  <a:pt x="17" y="142"/>
                </a:cubicBezTo>
                <a:cubicBezTo>
                  <a:pt x="17" y="140"/>
                  <a:pt x="17" y="140"/>
                  <a:pt x="17" y="140"/>
                </a:cubicBezTo>
                <a:cubicBezTo>
                  <a:pt x="17" y="136"/>
                  <a:pt x="17" y="136"/>
                  <a:pt x="17" y="136"/>
                </a:cubicBezTo>
                <a:cubicBezTo>
                  <a:pt x="18" y="133"/>
                  <a:pt x="18" y="133"/>
                  <a:pt x="18" y="133"/>
                </a:cubicBezTo>
                <a:cubicBezTo>
                  <a:pt x="20" y="132"/>
                  <a:pt x="20" y="132"/>
                  <a:pt x="20" y="132"/>
                </a:cubicBezTo>
                <a:cubicBezTo>
                  <a:pt x="19" y="129"/>
                  <a:pt x="19" y="129"/>
                  <a:pt x="19" y="129"/>
                </a:cubicBezTo>
                <a:cubicBezTo>
                  <a:pt x="18" y="127"/>
                  <a:pt x="18" y="127"/>
                  <a:pt x="18" y="127"/>
                </a:cubicBezTo>
                <a:cubicBezTo>
                  <a:pt x="17" y="126"/>
                  <a:pt x="17" y="126"/>
                  <a:pt x="17" y="126"/>
                </a:cubicBezTo>
                <a:cubicBezTo>
                  <a:pt x="19" y="124"/>
                  <a:pt x="19" y="124"/>
                  <a:pt x="19" y="124"/>
                </a:cubicBezTo>
                <a:cubicBezTo>
                  <a:pt x="18" y="122"/>
                  <a:pt x="18" y="122"/>
                  <a:pt x="18" y="122"/>
                </a:cubicBezTo>
                <a:cubicBezTo>
                  <a:pt x="19" y="119"/>
                  <a:pt x="19" y="119"/>
                  <a:pt x="19" y="119"/>
                </a:cubicBezTo>
                <a:cubicBezTo>
                  <a:pt x="21" y="119"/>
                  <a:pt x="21" y="119"/>
                  <a:pt x="21" y="119"/>
                </a:cubicBezTo>
                <a:cubicBezTo>
                  <a:pt x="21" y="116"/>
                  <a:pt x="21" y="116"/>
                  <a:pt x="21" y="116"/>
                </a:cubicBezTo>
                <a:cubicBezTo>
                  <a:pt x="20" y="111"/>
                  <a:pt x="20" y="111"/>
                  <a:pt x="20" y="111"/>
                </a:cubicBezTo>
                <a:cubicBezTo>
                  <a:pt x="19" y="110"/>
                  <a:pt x="19" y="110"/>
                  <a:pt x="19" y="110"/>
                </a:cubicBezTo>
                <a:cubicBezTo>
                  <a:pt x="19" y="107"/>
                  <a:pt x="19" y="107"/>
                  <a:pt x="19" y="107"/>
                </a:cubicBezTo>
                <a:cubicBezTo>
                  <a:pt x="18" y="105"/>
                  <a:pt x="18" y="105"/>
                  <a:pt x="18" y="105"/>
                </a:cubicBezTo>
                <a:cubicBezTo>
                  <a:pt x="16" y="102"/>
                  <a:pt x="16" y="102"/>
                  <a:pt x="16" y="102"/>
                </a:cubicBezTo>
                <a:cubicBezTo>
                  <a:pt x="16" y="101"/>
                  <a:pt x="16" y="101"/>
                  <a:pt x="16" y="101"/>
                </a:cubicBezTo>
                <a:cubicBezTo>
                  <a:pt x="15" y="100"/>
                  <a:pt x="15" y="100"/>
                  <a:pt x="15" y="100"/>
                </a:cubicBezTo>
                <a:cubicBezTo>
                  <a:pt x="14" y="97"/>
                  <a:pt x="14" y="97"/>
                  <a:pt x="14" y="97"/>
                </a:cubicBezTo>
                <a:cubicBezTo>
                  <a:pt x="15" y="94"/>
                  <a:pt x="15" y="94"/>
                  <a:pt x="15" y="94"/>
                </a:cubicBezTo>
                <a:cubicBezTo>
                  <a:pt x="16" y="93"/>
                  <a:pt x="16" y="93"/>
                  <a:pt x="16" y="93"/>
                </a:cubicBezTo>
                <a:cubicBezTo>
                  <a:pt x="16" y="90"/>
                  <a:pt x="16" y="90"/>
                  <a:pt x="16" y="90"/>
                </a:cubicBezTo>
                <a:cubicBezTo>
                  <a:pt x="17" y="89"/>
                  <a:pt x="17" y="89"/>
                  <a:pt x="17" y="89"/>
                </a:cubicBezTo>
                <a:cubicBezTo>
                  <a:pt x="17" y="86"/>
                  <a:pt x="17" y="86"/>
                  <a:pt x="17" y="86"/>
                </a:cubicBezTo>
                <a:cubicBezTo>
                  <a:pt x="16" y="84"/>
                  <a:pt x="16" y="84"/>
                  <a:pt x="16" y="84"/>
                </a:cubicBezTo>
                <a:cubicBezTo>
                  <a:pt x="16" y="80"/>
                  <a:pt x="16" y="80"/>
                  <a:pt x="16" y="80"/>
                </a:cubicBezTo>
                <a:cubicBezTo>
                  <a:pt x="17" y="79"/>
                  <a:pt x="17" y="79"/>
                  <a:pt x="17" y="79"/>
                </a:cubicBezTo>
                <a:cubicBezTo>
                  <a:pt x="17" y="75"/>
                  <a:pt x="17" y="75"/>
                  <a:pt x="17" y="75"/>
                </a:cubicBezTo>
                <a:cubicBezTo>
                  <a:pt x="19" y="73"/>
                  <a:pt x="19" y="73"/>
                  <a:pt x="19" y="73"/>
                </a:cubicBezTo>
                <a:cubicBezTo>
                  <a:pt x="20" y="69"/>
                  <a:pt x="20" y="69"/>
                  <a:pt x="20" y="69"/>
                </a:cubicBezTo>
                <a:cubicBezTo>
                  <a:pt x="22" y="67"/>
                  <a:pt x="22" y="67"/>
                  <a:pt x="22" y="67"/>
                </a:cubicBezTo>
                <a:cubicBezTo>
                  <a:pt x="23" y="67"/>
                  <a:pt x="23" y="67"/>
                  <a:pt x="23" y="67"/>
                </a:cubicBezTo>
                <a:cubicBezTo>
                  <a:pt x="24" y="65"/>
                  <a:pt x="24" y="65"/>
                  <a:pt x="24" y="65"/>
                </a:cubicBezTo>
                <a:cubicBezTo>
                  <a:pt x="23" y="65"/>
                  <a:pt x="23" y="65"/>
                  <a:pt x="23" y="65"/>
                </a:cubicBezTo>
                <a:cubicBezTo>
                  <a:pt x="23" y="63"/>
                  <a:pt x="23" y="63"/>
                  <a:pt x="23" y="63"/>
                </a:cubicBezTo>
                <a:cubicBezTo>
                  <a:pt x="23" y="62"/>
                  <a:pt x="23" y="62"/>
                  <a:pt x="23" y="62"/>
                </a:cubicBezTo>
                <a:cubicBezTo>
                  <a:pt x="22" y="61"/>
                  <a:pt x="22" y="61"/>
                  <a:pt x="22" y="61"/>
                </a:cubicBezTo>
                <a:cubicBezTo>
                  <a:pt x="22" y="60"/>
                  <a:pt x="22" y="60"/>
                  <a:pt x="22" y="60"/>
                </a:cubicBezTo>
                <a:cubicBezTo>
                  <a:pt x="24" y="59"/>
                  <a:pt x="24" y="59"/>
                  <a:pt x="24" y="59"/>
                </a:cubicBezTo>
                <a:cubicBezTo>
                  <a:pt x="24" y="58"/>
                  <a:pt x="24" y="58"/>
                  <a:pt x="24" y="58"/>
                </a:cubicBezTo>
                <a:cubicBezTo>
                  <a:pt x="22" y="56"/>
                  <a:pt x="22" y="56"/>
                  <a:pt x="22" y="56"/>
                </a:cubicBezTo>
                <a:cubicBezTo>
                  <a:pt x="22" y="54"/>
                  <a:pt x="22" y="54"/>
                  <a:pt x="22" y="54"/>
                </a:cubicBezTo>
                <a:cubicBezTo>
                  <a:pt x="23" y="53"/>
                  <a:pt x="23" y="53"/>
                  <a:pt x="23" y="53"/>
                </a:cubicBezTo>
                <a:cubicBezTo>
                  <a:pt x="22" y="51"/>
                  <a:pt x="22" y="51"/>
                  <a:pt x="22" y="51"/>
                </a:cubicBezTo>
                <a:cubicBezTo>
                  <a:pt x="21" y="50"/>
                  <a:pt x="21" y="50"/>
                  <a:pt x="21" y="50"/>
                </a:cubicBezTo>
                <a:cubicBezTo>
                  <a:pt x="22" y="49"/>
                  <a:pt x="22" y="49"/>
                  <a:pt x="22" y="49"/>
                </a:cubicBezTo>
                <a:cubicBezTo>
                  <a:pt x="29" y="45"/>
                  <a:pt x="29" y="45"/>
                  <a:pt x="29" y="45"/>
                </a:cubicBezTo>
                <a:cubicBezTo>
                  <a:pt x="31" y="38"/>
                  <a:pt x="31" y="38"/>
                  <a:pt x="31" y="38"/>
                </a:cubicBezTo>
                <a:cubicBezTo>
                  <a:pt x="30" y="36"/>
                  <a:pt x="30" y="36"/>
                  <a:pt x="30" y="36"/>
                </a:cubicBezTo>
                <a:cubicBezTo>
                  <a:pt x="29" y="36"/>
                  <a:pt x="29" y="36"/>
                  <a:pt x="29" y="36"/>
                </a:cubicBezTo>
                <a:cubicBezTo>
                  <a:pt x="28" y="37"/>
                  <a:pt x="28" y="37"/>
                  <a:pt x="28" y="37"/>
                </a:cubicBezTo>
                <a:cubicBezTo>
                  <a:pt x="27" y="37"/>
                  <a:pt x="27" y="37"/>
                  <a:pt x="27" y="37"/>
                </a:cubicBezTo>
                <a:cubicBezTo>
                  <a:pt x="22" y="25"/>
                  <a:pt x="22" y="25"/>
                  <a:pt x="22" y="25"/>
                </a:cubicBezTo>
                <a:cubicBezTo>
                  <a:pt x="19" y="22"/>
                  <a:pt x="19" y="22"/>
                  <a:pt x="19" y="22"/>
                </a:cubicBezTo>
                <a:cubicBezTo>
                  <a:pt x="18" y="20"/>
                  <a:pt x="18" y="20"/>
                  <a:pt x="18" y="20"/>
                </a:cubicBezTo>
                <a:cubicBezTo>
                  <a:pt x="20" y="17"/>
                  <a:pt x="20" y="17"/>
                  <a:pt x="20" y="17"/>
                </a:cubicBezTo>
                <a:cubicBezTo>
                  <a:pt x="19" y="16"/>
                  <a:pt x="19" y="16"/>
                  <a:pt x="19" y="16"/>
                </a:cubicBezTo>
                <a:cubicBezTo>
                  <a:pt x="20" y="14"/>
                  <a:pt x="20" y="14"/>
                  <a:pt x="20" y="14"/>
                </a:cubicBezTo>
                <a:cubicBezTo>
                  <a:pt x="20" y="13"/>
                  <a:pt x="20" y="13"/>
                  <a:pt x="20" y="13"/>
                </a:cubicBezTo>
                <a:cubicBezTo>
                  <a:pt x="17" y="11"/>
                  <a:pt x="17" y="11"/>
                  <a:pt x="17" y="11"/>
                </a:cubicBezTo>
                <a:cubicBezTo>
                  <a:pt x="16" y="9"/>
                  <a:pt x="16" y="9"/>
                  <a:pt x="16" y="9"/>
                </a:cubicBezTo>
                <a:cubicBezTo>
                  <a:pt x="15" y="7"/>
                  <a:pt x="15" y="7"/>
                  <a:pt x="15" y="7"/>
                </a:cubicBezTo>
                <a:cubicBezTo>
                  <a:pt x="15" y="6"/>
                  <a:pt x="15" y="6"/>
                  <a:pt x="15" y="6"/>
                </a:cubicBezTo>
                <a:cubicBezTo>
                  <a:pt x="15" y="5"/>
                  <a:pt x="15" y="5"/>
                  <a:pt x="15" y="5"/>
                </a:cubicBezTo>
                <a:cubicBezTo>
                  <a:pt x="15" y="4"/>
                  <a:pt x="15" y="4"/>
                  <a:pt x="15" y="4"/>
                </a:cubicBezTo>
                <a:cubicBezTo>
                  <a:pt x="15" y="3"/>
                  <a:pt x="15" y="3"/>
                  <a:pt x="15" y="3"/>
                </a:cubicBezTo>
                <a:cubicBezTo>
                  <a:pt x="13" y="2"/>
                  <a:pt x="13" y="2"/>
                  <a:pt x="13" y="2"/>
                </a:cubicBezTo>
                <a:cubicBezTo>
                  <a:pt x="13" y="1"/>
                  <a:pt x="13" y="1"/>
                  <a:pt x="13" y="1"/>
                </a:cubicBezTo>
                <a:cubicBezTo>
                  <a:pt x="12" y="0"/>
                  <a:pt x="12" y="0"/>
                  <a:pt x="12" y="0"/>
                </a:cubicBezTo>
                <a:cubicBezTo>
                  <a:pt x="11" y="1"/>
                  <a:pt x="11" y="1"/>
                  <a:pt x="11" y="1"/>
                </a:cubicBezTo>
                <a:cubicBezTo>
                  <a:pt x="11" y="3"/>
                  <a:pt x="11" y="3"/>
                  <a:pt x="11" y="3"/>
                </a:cubicBezTo>
                <a:cubicBezTo>
                  <a:pt x="12" y="4"/>
                  <a:pt x="12" y="4"/>
                  <a:pt x="12" y="4"/>
                </a:cubicBezTo>
                <a:cubicBezTo>
                  <a:pt x="12" y="5"/>
                  <a:pt x="12" y="5"/>
                  <a:pt x="12" y="5"/>
                </a:cubicBezTo>
                <a:cubicBezTo>
                  <a:pt x="10" y="5"/>
                  <a:pt x="10" y="5"/>
                  <a:pt x="10" y="5"/>
                </a:cubicBezTo>
                <a:cubicBezTo>
                  <a:pt x="10" y="5"/>
                  <a:pt x="10" y="5"/>
                  <a:pt x="10" y="5"/>
                </a:cubicBezTo>
                <a:cubicBezTo>
                  <a:pt x="8" y="6"/>
                  <a:pt x="8" y="6"/>
                  <a:pt x="8" y="6"/>
                </a:cubicBezTo>
                <a:cubicBezTo>
                  <a:pt x="7" y="7"/>
                  <a:pt x="7" y="7"/>
                  <a:pt x="7" y="7"/>
                </a:cubicBezTo>
                <a:cubicBezTo>
                  <a:pt x="7" y="7"/>
                  <a:pt x="7" y="7"/>
                  <a:pt x="7" y="7"/>
                </a:cubicBezTo>
                <a:cubicBezTo>
                  <a:pt x="7" y="9"/>
                  <a:pt x="7" y="9"/>
                  <a:pt x="7" y="9"/>
                </a:cubicBezTo>
                <a:cubicBezTo>
                  <a:pt x="7" y="11"/>
                  <a:pt x="7" y="11"/>
                  <a:pt x="7" y="11"/>
                </a:cubicBezTo>
                <a:cubicBezTo>
                  <a:pt x="8" y="12"/>
                  <a:pt x="8" y="12"/>
                  <a:pt x="8" y="12"/>
                </a:cubicBezTo>
                <a:cubicBezTo>
                  <a:pt x="9" y="17"/>
                  <a:pt x="9" y="17"/>
                  <a:pt x="9" y="17"/>
                </a:cubicBezTo>
                <a:cubicBezTo>
                  <a:pt x="9" y="19"/>
                  <a:pt x="9" y="19"/>
                  <a:pt x="9" y="19"/>
                </a:cubicBezTo>
                <a:cubicBezTo>
                  <a:pt x="8" y="20"/>
                  <a:pt x="8" y="20"/>
                  <a:pt x="8" y="20"/>
                </a:cubicBezTo>
                <a:cubicBezTo>
                  <a:pt x="8" y="21"/>
                  <a:pt x="8" y="21"/>
                  <a:pt x="8" y="21"/>
                </a:cubicBezTo>
                <a:cubicBezTo>
                  <a:pt x="8" y="23"/>
                  <a:pt x="8" y="23"/>
                  <a:pt x="8" y="23"/>
                </a:cubicBezTo>
                <a:cubicBezTo>
                  <a:pt x="9" y="25"/>
                  <a:pt x="9" y="25"/>
                  <a:pt x="9" y="25"/>
                </a:cubicBezTo>
                <a:cubicBezTo>
                  <a:pt x="10" y="27"/>
                  <a:pt x="10" y="27"/>
                  <a:pt x="10" y="27"/>
                </a:cubicBezTo>
                <a:cubicBezTo>
                  <a:pt x="10" y="31"/>
                  <a:pt x="10" y="31"/>
                  <a:pt x="10" y="31"/>
                </a:cubicBezTo>
                <a:cubicBezTo>
                  <a:pt x="9" y="32"/>
                  <a:pt x="9" y="32"/>
                  <a:pt x="9" y="32"/>
                </a:cubicBezTo>
                <a:cubicBezTo>
                  <a:pt x="9" y="32"/>
                  <a:pt x="9" y="32"/>
                  <a:pt x="9" y="32"/>
                </a:cubicBezTo>
                <a:cubicBezTo>
                  <a:pt x="9" y="37"/>
                  <a:pt x="9" y="37"/>
                  <a:pt x="9" y="37"/>
                </a:cubicBezTo>
                <a:cubicBezTo>
                  <a:pt x="9" y="38"/>
                  <a:pt x="9" y="38"/>
                  <a:pt x="9" y="38"/>
                </a:cubicBezTo>
                <a:cubicBezTo>
                  <a:pt x="8" y="38"/>
                  <a:pt x="8" y="38"/>
                  <a:pt x="8" y="38"/>
                </a:cubicBezTo>
                <a:cubicBezTo>
                  <a:pt x="7" y="39"/>
                  <a:pt x="7" y="39"/>
                  <a:pt x="7" y="39"/>
                </a:cubicBezTo>
                <a:cubicBezTo>
                  <a:pt x="8" y="41"/>
                  <a:pt x="8" y="41"/>
                  <a:pt x="8" y="41"/>
                </a:cubicBezTo>
                <a:cubicBezTo>
                  <a:pt x="8" y="42"/>
                  <a:pt x="8" y="42"/>
                  <a:pt x="8" y="42"/>
                </a:cubicBezTo>
                <a:cubicBezTo>
                  <a:pt x="9" y="41"/>
                  <a:pt x="9" y="41"/>
                  <a:pt x="9" y="41"/>
                </a:cubicBezTo>
                <a:cubicBezTo>
                  <a:pt x="9" y="42"/>
                  <a:pt x="9" y="42"/>
                  <a:pt x="9" y="42"/>
                </a:cubicBezTo>
                <a:cubicBezTo>
                  <a:pt x="8" y="43"/>
                  <a:pt x="8" y="43"/>
                  <a:pt x="8" y="43"/>
                </a:cubicBezTo>
                <a:cubicBezTo>
                  <a:pt x="9" y="49"/>
                  <a:pt x="9" y="49"/>
                  <a:pt x="9" y="49"/>
                </a:cubicBezTo>
                <a:cubicBezTo>
                  <a:pt x="9" y="52"/>
                  <a:pt x="9" y="52"/>
                  <a:pt x="9" y="52"/>
                </a:cubicBezTo>
                <a:cubicBezTo>
                  <a:pt x="10" y="54"/>
                  <a:pt x="10" y="54"/>
                  <a:pt x="10" y="54"/>
                </a:cubicBezTo>
                <a:cubicBezTo>
                  <a:pt x="9" y="55"/>
                  <a:pt x="9" y="55"/>
                  <a:pt x="9" y="55"/>
                </a:cubicBezTo>
                <a:cubicBezTo>
                  <a:pt x="8" y="57"/>
                  <a:pt x="8" y="57"/>
                  <a:pt x="8" y="57"/>
                </a:cubicBezTo>
                <a:cubicBezTo>
                  <a:pt x="8" y="59"/>
                  <a:pt x="8" y="59"/>
                  <a:pt x="8" y="59"/>
                </a:cubicBezTo>
                <a:cubicBezTo>
                  <a:pt x="10" y="61"/>
                  <a:pt x="10" y="61"/>
                  <a:pt x="10" y="61"/>
                </a:cubicBezTo>
                <a:cubicBezTo>
                  <a:pt x="9" y="62"/>
                  <a:pt x="9" y="62"/>
                  <a:pt x="9" y="62"/>
                </a:cubicBezTo>
                <a:cubicBezTo>
                  <a:pt x="9" y="65"/>
                  <a:pt x="9" y="65"/>
                  <a:pt x="9" y="65"/>
                </a:cubicBezTo>
                <a:cubicBezTo>
                  <a:pt x="8" y="66"/>
                  <a:pt x="8" y="66"/>
                  <a:pt x="8" y="66"/>
                </a:cubicBezTo>
                <a:cubicBezTo>
                  <a:pt x="8" y="68"/>
                  <a:pt x="8" y="68"/>
                  <a:pt x="8" y="68"/>
                </a:cubicBezTo>
                <a:cubicBezTo>
                  <a:pt x="9" y="69"/>
                  <a:pt x="9" y="69"/>
                  <a:pt x="9" y="69"/>
                </a:cubicBezTo>
                <a:cubicBezTo>
                  <a:pt x="9" y="70"/>
                  <a:pt x="9" y="70"/>
                  <a:pt x="9" y="70"/>
                </a:cubicBezTo>
                <a:cubicBezTo>
                  <a:pt x="8" y="71"/>
                  <a:pt x="8" y="71"/>
                  <a:pt x="8" y="71"/>
                </a:cubicBezTo>
                <a:cubicBezTo>
                  <a:pt x="8" y="73"/>
                  <a:pt x="8" y="73"/>
                  <a:pt x="8" y="73"/>
                </a:cubicBezTo>
                <a:cubicBezTo>
                  <a:pt x="7" y="74"/>
                  <a:pt x="7" y="74"/>
                  <a:pt x="7" y="74"/>
                </a:cubicBezTo>
                <a:cubicBezTo>
                  <a:pt x="7" y="76"/>
                  <a:pt x="7" y="76"/>
                  <a:pt x="7" y="76"/>
                </a:cubicBezTo>
                <a:cubicBezTo>
                  <a:pt x="7" y="77"/>
                  <a:pt x="7" y="77"/>
                  <a:pt x="7" y="77"/>
                </a:cubicBezTo>
                <a:cubicBezTo>
                  <a:pt x="6" y="79"/>
                  <a:pt x="6" y="79"/>
                  <a:pt x="6" y="79"/>
                </a:cubicBezTo>
                <a:cubicBezTo>
                  <a:pt x="6" y="80"/>
                  <a:pt x="6" y="80"/>
                  <a:pt x="6" y="80"/>
                </a:cubicBezTo>
                <a:cubicBezTo>
                  <a:pt x="7" y="82"/>
                  <a:pt x="7" y="82"/>
                  <a:pt x="7" y="82"/>
                </a:cubicBezTo>
                <a:cubicBezTo>
                  <a:pt x="7" y="84"/>
                  <a:pt x="7" y="84"/>
                  <a:pt x="7" y="84"/>
                </a:cubicBezTo>
                <a:cubicBezTo>
                  <a:pt x="8" y="85"/>
                  <a:pt x="8" y="85"/>
                  <a:pt x="8" y="85"/>
                </a:cubicBezTo>
                <a:cubicBezTo>
                  <a:pt x="7" y="85"/>
                  <a:pt x="7" y="85"/>
                  <a:pt x="7" y="85"/>
                </a:cubicBezTo>
                <a:cubicBezTo>
                  <a:pt x="7" y="87"/>
                  <a:pt x="7" y="87"/>
                  <a:pt x="7" y="87"/>
                </a:cubicBezTo>
                <a:cubicBezTo>
                  <a:pt x="8" y="88"/>
                  <a:pt x="8" y="88"/>
                  <a:pt x="8" y="88"/>
                </a:cubicBezTo>
                <a:cubicBezTo>
                  <a:pt x="7" y="89"/>
                  <a:pt x="7" y="89"/>
                  <a:pt x="7" y="89"/>
                </a:cubicBezTo>
                <a:cubicBezTo>
                  <a:pt x="6" y="89"/>
                  <a:pt x="6" y="89"/>
                  <a:pt x="6" y="89"/>
                </a:cubicBezTo>
                <a:cubicBezTo>
                  <a:pt x="6" y="91"/>
                  <a:pt x="6" y="91"/>
                  <a:pt x="6" y="91"/>
                </a:cubicBezTo>
                <a:cubicBezTo>
                  <a:pt x="6" y="92"/>
                  <a:pt x="6" y="92"/>
                  <a:pt x="6" y="92"/>
                </a:cubicBezTo>
                <a:cubicBezTo>
                  <a:pt x="6" y="94"/>
                  <a:pt x="6" y="94"/>
                  <a:pt x="6" y="94"/>
                </a:cubicBezTo>
                <a:cubicBezTo>
                  <a:pt x="8" y="98"/>
                  <a:pt x="8" y="98"/>
                  <a:pt x="8" y="98"/>
                </a:cubicBezTo>
                <a:cubicBezTo>
                  <a:pt x="8" y="100"/>
                  <a:pt x="8" y="100"/>
                  <a:pt x="8" y="100"/>
                </a:cubicBezTo>
                <a:cubicBezTo>
                  <a:pt x="7" y="100"/>
                  <a:pt x="7" y="100"/>
                  <a:pt x="7" y="100"/>
                </a:cubicBezTo>
                <a:cubicBezTo>
                  <a:pt x="7" y="101"/>
                  <a:pt x="7" y="101"/>
                  <a:pt x="7" y="101"/>
                </a:cubicBezTo>
                <a:cubicBezTo>
                  <a:pt x="8" y="103"/>
                  <a:pt x="8" y="103"/>
                  <a:pt x="8" y="103"/>
                </a:cubicBezTo>
                <a:cubicBezTo>
                  <a:pt x="9" y="106"/>
                  <a:pt x="9" y="106"/>
                  <a:pt x="9" y="106"/>
                </a:cubicBezTo>
                <a:cubicBezTo>
                  <a:pt x="8" y="107"/>
                  <a:pt x="8" y="107"/>
                  <a:pt x="8" y="107"/>
                </a:cubicBezTo>
                <a:cubicBezTo>
                  <a:pt x="8" y="108"/>
                  <a:pt x="8" y="108"/>
                  <a:pt x="8" y="108"/>
                </a:cubicBezTo>
                <a:cubicBezTo>
                  <a:pt x="9" y="109"/>
                  <a:pt x="9" y="109"/>
                  <a:pt x="9" y="109"/>
                </a:cubicBezTo>
                <a:cubicBezTo>
                  <a:pt x="8" y="110"/>
                  <a:pt x="8" y="110"/>
                  <a:pt x="8" y="110"/>
                </a:cubicBezTo>
                <a:cubicBezTo>
                  <a:pt x="8" y="111"/>
                  <a:pt x="8" y="111"/>
                  <a:pt x="8" y="111"/>
                </a:cubicBezTo>
                <a:cubicBezTo>
                  <a:pt x="8" y="111"/>
                  <a:pt x="8" y="111"/>
                  <a:pt x="8" y="111"/>
                </a:cubicBezTo>
                <a:cubicBezTo>
                  <a:pt x="10" y="113"/>
                  <a:pt x="10" y="113"/>
                  <a:pt x="10" y="113"/>
                </a:cubicBezTo>
                <a:cubicBezTo>
                  <a:pt x="10" y="114"/>
                  <a:pt x="10" y="114"/>
                  <a:pt x="10" y="114"/>
                </a:cubicBezTo>
                <a:cubicBezTo>
                  <a:pt x="9" y="116"/>
                  <a:pt x="9" y="116"/>
                  <a:pt x="9" y="116"/>
                </a:cubicBezTo>
                <a:cubicBezTo>
                  <a:pt x="8" y="116"/>
                  <a:pt x="8" y="116"/>
                  <a:pt x="8" y="116"/>
                </a:cubicBezTo>
                <a:cubicBezTo>
                  <a:pt x="8" y="118"/>
                  <a:pt x="8" y="118"/>
                  <a:pt x="8" y="118"/>
                </a:cubicBezTo>
                <a:cubicBezTo>
                  <a:pt x="8" y="118"/>
                  <a:pt x="8" y="118"/>
                  <a:pt x="8" y="118"/>
                </a:cubicBezTo>
                <a:cubicBezTo>
                  <a:pt x="8" y="119"/>
                  <a:pt x="8" y="119"/>
                  <a:pt x="8" y="119"/>
                </a:cubicBezTo>
                <a:cubicBezTo>
                  <a:pt x="8" y="121"/>
                  <a:pt x="8" y="121"/>
                  <a:pt x="8" y="121"/>
                </a:cubicBezTo>
                <a:cubicBezTo>
                  <a:pt x="7" y="121"/>
                  <a:pt x="7" y="121"/>
                  <a:pt x="7" y="121"/>
                </a:cubicBezTo>
                <a:cubicBezTo>
                  <a:pt x="7" y="122"/>
                  <a:pt x="7" y="122"/>
                  <a:pt x="7" y="122"/>
                </a:cubicBezTo>
                <a:cubicBezTo>
                  <a:pt x="7" y="124"/>
                  <a:pt x="7" y="124"/>
                  <a:pt x="7" y="124"/>
                </a:cubicBezTo>
                <a:cubicBezTo>
                  <a:pt x="6" y="125"/>
                  <a:pt x="6" y="125"/>
                  <a:pt x="6" y="125"/>
                </a:cubicBezTo>
                <a:cubicBezTo>
                  <a:pt x="6" y="126"/>
                  <a:pt x="6" y="126"/>
                  <a:pt x="6" y="126"/>
                </a:cubicBezTo>
                <a:cubicBezTo>
                  <a:pt x="6" y="127"/>
                  <a:pt x="6" y="127"/>
                  <a:pt x="6" y="127"/>
                </a:cubicBezTo>
                <a:cubicBezTo>
                  <a:pt x="6" y="129"/>
                  <a:pt x="6" y="129"/>
                  <a:pt x="6" y="129"/>
                </a:cubicBezTo>
                <a:cubicBezTo>
                  <a:pt x="5" y="129"/>
                  <a:pt x="5" y="129"/>
                  <a:pt x="5" y="129"/>
                </a:cubicBezTo>
                <a:cubicBezTo>
                  <a:pt x="5" y="130"/>
                  <a:pt x="5" y="130"/>
                  <a:pt x="5" y="130"/>
                </a:cubicBezTo>
                <a:cubicBezTo>
                  <a:pt x="6" y="131"/>
                  <a:pt x="6" y="131"/>
                  <a:pt x="6" y="131"/>
                </a:cubicBezTo>
                <a:cubicBezTo>
                  <a:pt x="5" y="132"/>
                  <a:pt x="5" y="132"/>
                  <a:pt x="5" y="132"/>
                </a:cubicBezTo>
                <a:cubicBezTo>
                  <a:pt x="5" y="134"/>
                  <a:pt x="5" y="134"/>
                  <a:pt x="5" y="134"/>
                </a:cubicBezTo>
                <a:cubicBezTo>
                  <a:pt x="5" y="135"/>
                  <a:pt x="5" y="135"/>
                  <a:pt x="5" y="135"/>
                </a:cubicBezTo>
                <a:cubicBezTo>
                  <a:pt x="4" y="135"/>
                  <a:pt x="4" y="135"/>
                  <a:pt x="4" y="135"/>
                </a:cubicBezTo>
                <a:cubicBezTo>
                  <a:pt x="4" y="136"/>
                  <a:pt x="4" y="136"/>
                  <a:pt x="4" y="136"/>
                </a:cubicBezTo>
                <a:cubicBezTo>
                  <a:pt x="3" y="137"/>
                  <a:pt x="3" y="137"/>
                  <a:pt x="3" y="137"/>
                </a:cubicBezTo>
                <a:cubicBezTo>
                  <a:pt x="3" y="138"/>
                  <a:pt x="3" y="138"/>
                  <a:pt x="3" y="138"/>
                </a:cubicBezTo>
                <a:cubicBezTo>
                  <a:pt x="4" y="139"/>
                  <a:pt x="4" y="139"/>
                  <a:pt x="4" y="139"/>
                </a:cubicBezTo>
                <a:cubicBezTo>
                  <a:pt x="4" y="140"/>
                  <a:pt x="4" y="140"/>
                  <a:pt x="4" y="140"/>
                </a:cubicBezTo>
                <a:cubicBezTo>
                  <a:pt x="3" y="141"/>
                  <a:pt x="3" y="141"/>
                  <a:pt x="3" y="141"/>
                </a:cubicBezTo>
                <a:cubicBezTo>
                  <a:pt x="2" y="141"/>
                  <a:pt x="2" y="141"/>
                  <a:pt x="2" y="141"/>
                </a:cubicBezTo>
                <a:cubicBezTo>
                  <a:pt x="1" y="141"/>
                  <a:pt x="1" y="141"/>
                  <a:pt x="1" y="141"/>
                </a:cubicBezTo>
                <a:cubicBezTo>
                  <a:pt x="1" y="141"/>
                  <a:pt x="1" y="141"/>
                  <a:pt x="1" y="141"/>
                </a:cubicBezTo>
                <a:cubicBezTo>
                  <a:pt x="0" y="142"/>
                  <a:pt x="0" y="142"/>
                  <a:pt x="0" y="142"/>
                </a:cubicBezTo>
                <a:cubicBezTo>
                  <a:pt x="1" y="143"/>
                  <a:pt x="1" y="143"/>
                  <a:pt x="1" y="143"/>
                </a:cubicBezTo>
                <a:cubicBezTo>
                  <a:pt x="1" y="145"/>
                  <a:pt x="1" y="145"/>
                  <a:pt x="1" y="145"/>
                </a:cubicBezTo>
                <a:cubicBezTo>
                  <a:pt x="2" y="146"/>
                  <a:pt x="2" y="146"/>
                  <a:pt x="2" y="146"/>
                </a:cubicBezTo>
                <a:cubicBezTo>
                  <a:pt x="3" y="148"/>
                  <a:pt x="3" y="148"/>
                  <a:pt x="3" y="148"/>
                </a:cubicBezTo>
                <a:cubicBezTo>
                  <a:pt x="3" y="149"/>
                  <a:pt x="3" y="149"/>
                  <a:pt x="3" y="149"/>
                </a:cubicBezTo>
                <a:cubicBezTo>
                  <a:pt x="3" y="151"/>
                  <a:pt x="3" y="151"/>
                  <a:pt x="3" y="151"/>
                </a:cubicBezTo>
                <a:cubicBezTo>
                  <a:pt x="5" y="154"/>
                  <a:pt x="5" y="154"/>
                  <a:pt x="5" y="154"/>
                </a:cubicBezTo>
                <a:cubicBezTo>
                  <a:pt x="5" y="155"/>
                  <a:pt x="5" y="155"/>
                  <a:pt x="5" y="155"/>
                </a:cubicBezTo>
                <a:cubicBezTo>
                  <a:pt x="6" y="155"/>
                  <a:pt x="6" y="155"/>
                  <a:pt x="6" y="155"/>
                </a:cubicBezTo>
                <a:cubicBezTo>
                  <a:pt x="6" y="158"/>
                  <a:pt x="6" y="158"/>
                  <a:pt x="6" y="158"/>
                </a:cubicBezTo>
                <a:cubicBezTo>
                  <a:pt x="5" y="160"/>
                  <a:pt x="5" y="160"/>
                  <a:pt x="5" y="160"/>
                </a:cubicBezTo>
                <a:cubicBezTo>
                  <a:pt x="5" y="161"/>
                  <a:pt x="5" y="161"/>
                  <a:pt x="5" y="161"/>
                </a:cubicBezTo>
                <a:cubicBezTo>
                  <a:pt x="5" y="162"/>
                  <a:pt x="5" y="162"/>
                  <a:pt x="5" y="162"/>
                </a:cubicBezTo>
                <a:cubicBezTo>
                  <a:pt x="5" y="162"/>
                  <a:pt x="5" y="162"/>
                  <a:pt x="5" y="162"/>
                </a:cubicBezTo>
                <a:cubicBezTo>
                  <a:pt x="4" y="162"/>
                  <a:pt x="4" y="162"/>
                  <a:pt x="4" y="162"/>
                </a:cubicBezTo>
                <a:cubicBezTo>
                  <a:pt x="4" y="162"/>
                  <a:pt x="4" y="162"/>
                  <a:pt x="4" y="162"/>
                </a:cubicBezTo>
                <a:cubicBezTo>
                  <a:pt x="3" y="163"/>
                  <a:pt x="3" y="163"/>
                  <a:pt x="3" y="163"/>
                </a:cubicBezTo>
                <a:cubicBezTo>
                  <a:pt x="4" y="165"/>
                  <a:pt x="4" y="165"/>
                  <a:pt x="4" y="165"/>
                </a:cubicBezTo>
                <a:cubicBezTo>
                  <a:pt x="4" y="165"/>
                  <a:pt x="4" y="165"/>
                  <a:pt x="4" y="165"/>
                </a:cubicBezTo>
                <a:cubicBezTo>
                  <a:pt x="4" y="168"/>
                  <a:pt x="4" y="168"/>
                  <a:pt x="4" y="168"/>
                </a:cubicBezTo>
                <a:cubicBezTo>
                  <a:pt x="4" y="169"/>
                  <a:pt x="4" y="169"/>
                  <a:pt x="4" y="169"/>
                </a:cubicBezTo>
                <a:cubicBezTo>
                  <a:pt x="3" y="170"/>
                  <a:pt x="3" y="170"/>
                  <a:pt x="3" y="170"/>
                </a:cubicBezTo>
                <a:cubicBezTo>
                  <a:pt x="4" y="170"/>
                  <a:pt x="4" y="170"/>
                  <a:pt x="4" y="170"/>
                </a:cubicBezTo>
                <a:cubicBezTo>
                  <a:pt x="4" y="171"/>
                  <a:pt x="4" y="171"/>
                  <a:pt x="4" y="171"/>
                </a:cubicBezTo>
                <a:cubicBezTo>
                  <a:pt x="4" y="172"/>
                  <a:pt x="4" y="172"/>
                  <a:pt x="4" y="172"/>
                </a:cubicBezTo>
                <a:cubicBezTo>
                  <a:pt x="4" y="172"/>
                  <a:pt x="4" y="172"/>
                  <a:pt x="4" y="172"/>
                </a:cubicBezTo>
                <a:cubicBezTo>
                  <a:pt x="6" y="175"/>
                  <a:pt x="6" y="175"/>
                  <a:pt x="6" y="175"/>
                </a:cubicBezTo>
                <a:cubicBezTo>
                  <a:pt x="7" y="176"/>
                  <a:pt x="7" y="176"/>
                  <a:pt x="7" y="176"/>
                </a:cubicBezTo>
                <a:cubicBezTo>
                  <a:pt x="7" y="177"/>
                  <a:pt x="7" y="177"/>
                  <a:pt x="7" y="177"/>
                </a:cubicBezTo>
                <a:cubicBezTo>
                  <a:pt x="9" y="177"/>
                  <a:pt x="9" y="177"/>
                  <a:pt x="9" y="177"/>
                </a:cubicBezTo>
                <a:cubicBezTo>
                  <a:pt x="11" y="177"/>
                  <a:pt x="11" y="177"/>
                  <a:pt x="11" y="177"/>
                </a:cubicBezTo>
                <a:cubicBezTo>
                  <a:pt x="11" y="175"/>
                  <a:pt x="11" y="175"/>
                  <a:pt x="11" y="175"/>
                </a:cubicBezTo>
                <a:cubicBezTo>
                  <a:pt x="11" y="175"/>
                  <a:pt x="11" y="175"/>
                  <a:pt x="11" y="175"/>
                </a:cubicBezTo>
                <a:cubicBezTo>
                  <a:pt x="12" y="175"/>
                  <a:pt x="12" y="175"/>
                  <a:pt x="12" y="175"/>
                </a:cubicBezTo>
                <a:cubicBezTo>
                  <a:pt x="13" y="176"/>
                  <a:pt x="13" y="176"/>
                  <a:pt x="13" y="176"/>
                </a:cubicBezTo>
                <a:cubicBezTo>
                  <a:pt x="13" y="176"/>
                  <a:pt x="13" y="176"/>
                  <a:pt x="13" y="176"/>
                </a:cubicBezTo>
                <a:cubicBezTo>
                  <a:pt x="14" y="176"/>
                  <a:pt x="14" y="176"/>
                  <a:pt x="14" y="176"/>
                </a:cubicBezTo>
                <a:cubicBezTo>
                  <a:pt x="14" y="177"/>
                  <a:pt x="14" y="177"/>
                  <a:pt x="14" y="177"/>
                </a:cubicBezTo>
                <a:cubicBezTo>
                  <a:pt x="12" y="178"/>
                  <a:pt x="12" y="178"/>
                  <a:pt x="12" y="178"/>
                </a:cubicBezTo>
                <a:cubicBezTo>
                  <a:pt x="12" y="179"/>
                  <a:pt x="12" y="179"/>
                  <a:pt x="12" y="179"/>
                </a:cubicBezTo>
                <a:cubicBezTo>
                  <a:pt x="13" y="179"/>
                  <a:pt x="13" y="179"/>
                  <a:pt x="13" y="179"/>
                </a:cubicBezTo>
                <a:cubicBezTo>
                  <a:pt x="14" y="179"/>
                  <a:pt x="14" y="179"/>
                  <a:pt x="14" y="179"/>
                </a:cubicBezTo>
                <a:cubicBezTo>
                  <a:pt x="14" y="180"/>
                  <a:pt x="14" y="180"/>
                  <a:pt x="14" y="180"/>
                </a:cubicBezTo>
                <a:cubicBezTo>
                  <a:pt x="14" y="182"/>
                  <a:pt x="14" y="182"/>
                  <a:pt x="14" y="182"/>
                </a:cubicBezTo>
                <a:cubicBezTo>
                  <a:pt x="15" y="183"/>
                  <a:pt x="15" y="183"/>
                  <a:pt x="15" y="183"/>
                </a:cubicBezTo>
                <a:cubicBezTo>
                  <a:pt x="15" y="183"/>
                  <a:pt x="15" y="183"/>
                  <a:pt x="15" y="183"/>
                </a:cubicBezTo>
                <a:cubicBezTo>
                  <a:pt x="14" y="182"/>
                  <a:pt x="14" y="182"/>
                  <a:pt x="14" y="182"/>
                </a:cubicBezTo>
                <a:cubicBezTo>
                  <a:pt x="13" y="181"/>
                  <a:pt x="13" y="181"/>
                  <a:pt x="13" y="181"/>
                </a:cubicBezTo>
                <a:cubicBezTo>
                  <a:pt x="13" y="181"/>
                  <a:pt x="13" y="181"/>
                  <a:pt x="13" y="181"/>
                </a:cubicBezTo>
                <a:cubicBezTo>
                  <a:pt x="12" y="181"/>
                  <a:pt x="12" y="181"/>
                  <a:pt x="12" y="181"/>
                </a:cubicBezTo>
                <a:cubicBezTo>
                  <a:pt x="12" y="182"/>
                  <a:pt x="12" y="182"/>
                  <a:pt x="12" y="182"/>
                </a:cubicBezTo>
                <a:cubicBezTo>
                  <a:pt x="14" y="183"/>
                  <a:pt x="14" y="183"/>
                  <a:pt x="14" y="183"/>
                </a:cubicBezTo>
                <a:cubicBezTo>
                  <a:pt x="14" y="184"/>
                  <a:pt x="14" y="184"/>
                  <a:pt x="14" y="184"/>
                </a:cubicBezTo>
                <a:cubicBezTo>
                  <a:pt x="13" y="184"/>
                  <a:pt x="13" y="184"/>
                  <a:pt x="13" y="184"/>
                </a:cubicBezTo>
                <a:cubicBezTo>
                  <a:pt x="13" y="184"/>
                  <a:pt x="13" y="184"/>
                  <a:pt x="13" y="184"/>
                </a:cubicBezTo>
                <a:cubicBezTo>
                  <a:pt x="13" y="186"/>
                  <a:pt x="13" y="186"/>
                  <a:pt x="13" y="186"/>
                </a:cubicBezTo>
                <a:cubicBezTo>
                  <a:pt x="14" y="187"/>
                  <a:pt x="14" y="187"/>
                  <a:pt x="14" y="187"/>
                </a:cubicBezTo>
                <a:cubicBezTo>
                  <a:pt x="13" y="188"/>
                  <a:pt x="13" y="188"/>
                  <a:pt x="13" y="188"/>
                </a:cubicBezTo>
                <a:cubicBezTo>
                  <a:pt x="13" y="189"/>
                  <a:pt x="13" y="189"/>
                  <a:pt x="13" y="189"/>
                </a:cubicBezTo>
                <a:cubicBezTo>
                  <a:pt x="13" y="189"/>
                  <a:pt x="13" y="189"/>
                  <a:pt x="13" y="189"/>
                </a:cubicBezTo>
                <a:cubicBezTo>
                  <a:pt x="12" y="190"/>
                  <a:pt x="12" y="190"/>
                  <a:pt x="12" y="190"/>
                </a:cubicBezTo>
                <a:cubicBezTo>
                  <a:pt x="12" y="191"/>
                  <a:pt x="12" y="191"/>
                  <a:pt x="12" y="191"/>
                </a:cubicBezTo>
                <a:cubicBezTo>
                  <a:pt x="14" y="192"/>
                  <a:pt x="14" y="192"/>
                  <a:pt x="14" y="192"/>
                </a:cubicBezTo>
                <a:cubicBezTo>
                  <a:pt x="13" y="193"/>
                  <a:pt x="13" y="193"/>
                  <a:pt x="13" y="193"/>
                </a:cubicBezTo>
                <a:cubicBezTo>
                  <a:pt x="13" y="194"/>
                  <a:pt x="13" y="194"/>
                  <a:pt x="13" y="194"/>
                </a:cubicBezTo>
                <a:cubicBezTo>
                  <a:pt x="12" y="195"/>
                  <a:pt x="12" y="195"/>
                  <a:pt x="12" y="195"/>
                </a:cubicBezTo>
                <a:cubicBezTo>
                  <a:pt x="12" y="196"/>
                  <a:pt x="12" y="196"/>
                  <a:pt x="12" y="196"/>
                </a:cubicBezTo>
                <a:cubicBezTo>
                  <a:pt x="13" y="197"/>
                  <a:pt x="13" y="197"/>
                  <a:pt x="13" y="197"/>
                </a:cubicBezTo>
                <a:cubicBezTo>
                  <a:pt x="14" y="197"/>
                  <a:pt x="14" y="197"/>
                  <a:pt x="14" y="197"/>
                </a:cubicBezTo>
                <a:cubicBezTo>
                  <a:pt x="15" y="198"/>
                  <a:pt x="15" y="198"/>
                  <a:pt x="15" y="198"/>
                </a:cubicBezTo>
                <a:cubicBezTo>
                  <a:pt x="15" y="199"/>
                  <a:pt x="15" y="199"/>
                  <a:pt x="15" y="199"/>
                </a:cubicBezTo>
                <a:cubicBezTo>
                  <a:pt x="16" y="199"/>
                  <a:pt x="16" y="199"/>
                  <a:pt x="16" y="199"/>
                </a:cubicBezTo>
                <a:cubicBezTo>
                  <a:pt x="16" y="199"/>
                  <a:pt x="16" y="199"/>
                  <a:pt x="16" y="199"/>
                </a:cubicBezTo>
                <a:cubicBezTo>
                  <a:pt x="16" y="201"/>
                  <a:pt x="16" y="201"/>
                  <a:pt x="16" y="201"/>
                </a:cubicBezTo>
                <a:cubicBezTo>
                  <a:pt x="15" y="203"/>
                  <a:pt x="15" y="203"/>
                  <a:pt x="15" y="203"/>
                </a:cubicBezTo>
                <a:cubicBezTo>
                  <a:pt x="14" y="204"/>
                  <a:pt x="14" y="204"/>
                  <a:pt x="14" y="204"/>
                </a:cubicBezTo>
                <a:cubicBezTo>
                  <a:pt x="13" y="204"/>
                  <a:pt x="13" y="204"/>
                  <a:pt x="13" y="204"/>
                </a:cubicBezTo>
                <a:cubicBezTo>
                  <a:pt x="13" y="205"/>
                  <a:pt x="13" y="205"/>
                  <a:pt x="13" y="205"/>
                </a:cubicBezTo>
                <a:cubicBezTo>
                  <a:pt x="13" y="206"/>
                  <a:pt x="13" y="206"/>
                  <a:pt x="13" y="206"/>
                </a:cubicBezTo>
                <a:cubicBezTo>
                  <a:pt x="13" y="207"/>
                  <a:pt x="13" y="207"/>
                  <a:pt x="13" y="207"/>
                </a:cubicBezTo>
                <a:cubicBezTo>
                  <a:pt x="13" y="208"/>
                  <a:pt x="13" y="208"/>
                  <a:pt x="13" y="208"/>
                </a:cubicBezTo>
                <a:cubicBezTo>
                  <a:pt x="14" y="208"/>
                  <a:pt x="14" y="208"/>
                  <a:pt x="14" y="208"/>
                </a:cubicBezTo>
                <a:cubicBezTo>
                  <a:pt x="13" y="209"/>
                  <a:pt x="13" y="209"/>
                  <a:pt x="13" y="209"/>
                </a:cubicBezTo>
                <a:cubicBezTo>
                  <a:pt x="12" y="211"/>
                  <a:pt x="12" y="211"/>
                  <a:pt x="12" y="211"/>
                </a:cubicBezTo>
                <a:cubicBezTo>
                  <a:pt x="12" y="213"/>
                  <a:pt x="12" y="213"/>
                  <a:pt x="12" y="213"/>
                </a:cubicBezTo>
                <a:cubicBezTo>
                  <a:pt x="13" y="213"/>
                  <a:pt x="13" y="213"/>
                  <a:pt x="13" y="213"/>
                </a:cubicBezTo>
                <a:cubicBezTo>
                  <a:pt x="12" y="214"/>
                  <a:pt x="12" y="214"/>
                  <a:pt x="12" y="214"/>
                </a:cubicBezTo>
                <a:cubicBezTo>
                  <a:pt x="12" y="216"/>
                  <a:pt x="12" y="216"/>
                  <a:pt x="12" y="216"/>
                </a:cubicBezTo>
                <a:cubicBezTo>
                  <a:pt x="11" y="216"/>
                  <a:pt x="11" y="216"/>
                  <a:pt x="11" y="216"/>
                </a:cubicBezTo>
                <a:cubicBezTo>
                  <a:pt x="11" y="218"/>
                  <a:pt x="11" y="218"/>
                  <a:pt x="11" y="218"/>
                </a:cubicBezTo>
                <a:cubicBezTo>
                  <a:pt x="11" y="217"/>
                  <a:pt x="11" y="217"/>
                  <a:pt x="11" y="217"/>
                </a:cubicBezTo>
                <a:cubicBezTo>
                  <a:pt x="11" y="216"/>
                  <a:pt x="11" y="216"/>
                  <a:pt x="11" y="216"/>
                </a:cubicBezTo>
                <a:cubicBezTo>
                  <a:pt x="11" y="214"/>
                  <a:pt x="11" y="214"/>
                  <a:pt x="11" y="214"/>
                </a:cubicBezTo>
                <a:cubicBezTo>
                  <a:pt x="11" y="213"/>
                  <a:pt x="11" y="213"/>
                  <a:pt x="11" y="213"/>
                </a:cubicBezTo>
                <a:cubicBezTo>
                  <a:pt x="11" y="213"/>
                  <a:pt x="11" y="213"/>
                  <a:pt x="11" y="213"/>
                </a:cubicBezTo>
                <a:cubicBezTo>
                  <a:pt x="11" y="212"/>
                  <a:pt x="11" y="212"/>
                  <a:pt x="11" y="212"/>
                </a:cubicBezTo>
                <a:cubicBezTo>
                  <a:pt x="9" y="213"/>
                  <a:pt x="9" y="213"/>
                  <a:pt x="9" y="213"/>
                </a:cubicBezTo>
                <a:cubicBezTo>
                  <a:pt x="8" y="214"/>
                  <a:pt x="8" y="214"/>
                  <a:pt x="8" y="214"/>
                </a:cubicBezTo>
                <a:cubicBezTo>
                  <a:pt x="7" y="214"/>
                  <a:pt x="7" y="214"/>
                  <a:pt x="7" y="214"/>
                </a:cubicBezTo>
                <a:cubicBezTo>
                  <a:pt x="8" y="213"/>
                  <a:pt x="8" y="213"/>
                  <a:pt x="8" y="213"/>
                </a:cubicBezTo>
                <a:cubicBezTo>
                  <a:pt x="9" y="213"/>
                  <a:pt x="9" y="213"/>
                  <a:pt x="9" y="213"/>
                </a:cubicBezTo>
                <a:cubicBezTo>
                  <a:pt x="9" y="212"/>
                  <a:pt x="9" y="212"/>
                  <a:pt x="9" y="212"/>
                </a:cubicBezTo>
                <a:cubicBezTo>
                  <a:pt x="9" y="210"/>
                  <a:pt x="9" y="210"/>
                  <a:pt x="9" y="210"/>
                </a:cubicBezTo>
                <a:cubicBezTo>
                  <a:pt x="9" y="210"/>
                  <a:pt x="9" y="210"/>
                  <a:pt x="9" y="210"/>
                </a:cubicBezTo>
                <a:cubicBezTo>
                  <a:pt x="8" y="211"/>
                  <a:pt x="8" y="211"/>
                  <a:pt x="8" y="211"/>
                </a:cubicBezTo>
                <a:cubicBezTo>
                  <a:pt x="5" y="211"/>
                  <a:pt x="5" y="211"/>
                  <a:pt x="5" y="211"/>
                </a:cubicBezTo>
                <a:cubicBezTo>
                  <a:pt x="5" y="210"/>
                  <a:pt x="5" y="210"/>
                  <a:pt x="5" y="210"/>
                </a:cubicBezTo>
                <a:cubicBezTo>
                  <a:pt x="4" y="211"/>
                  <a:pt x="4" y="211"/>
                  <a:pt x="4" y="211"/>
                </a:cubicBezTo>
                <a:cubicBezTo>
                  <a:pt x="4" y="211"/>
                  <a:pt x="4" y="211"/>
                  <a:pt x="4" y="211"/>
                </a:cubicBezTo>
                <a:cubicBezTo>
                  <a:pt x="4" y="213"/>
                  <a:pt x="4" y="213"/>
                  <a:pt x="4" y="213"/>
                </a:cubicBezTo>
                <a:cubicBezTo>
                  <a:pt x="5" y="213"/>
                  <a:pt x="5" y="213"/>
                  <a:pt x="5" y="213"/>
                </a:cubicBezTo>
                <a:cubicBezTo>
                  <a:pt x="5" y="214"/>
                  <a:pt x="5" y="214"/>
                  <a:pt x="5" y="214"/>
                </a:cubicBezTo>
                <a:cubicBezTo>
                  <a:pt x="4" y="214"/>
                  <a:pt x="4" y="214"/>
                  <a:pt x="4" y="214"/>
                </a:cubicBezTo>
                <a:cubicBezTo>
                  <a:pt x="4" y="215"/>
                  <a:pt x="4" y="215"/>
                  <a:pt x="4" y="215"/>
                </a:cubicBezTo>
                <a:cubicBezTo>
                  <a:pt x="3" y="216"/>
                  <a:pt x="3" y="216"/>
                  <a:pt x="3" y="216"/>
                </a:cubicBezTo>
                <a:cubicBezTo>
                  <a:pt x="3" y="217"/>
                  <a:pt x="3" y="217"/>
                  <a:pt x="3" y="217"/>
                </a:cubicBezTo>
                <a:cubicBezTo>
                  <a:pt x="1" y="218"/>
                  <a:pt x="1" y="218"/>
                  <a:pt x="1" y="218"/>
                </a:cubicBezTo>
                <a:cubicBezTo>
                  <a:pt x="1" y="219"/>
                  <a:pt x="1" y="219"/>
                  <a:pt x="1" y="219"/>
                </a:cubicBezTo>
                <a:cubicBezTo>
                  <a:pt x="3" y="221"/>
                  <a:pt x="3" y="221"/>
                  <a:pt x="3" y="221"/>
                </a:cubicBezTo>
                <a:cubicBezTo>
                  <a:pt x="4" y="221"/>
                  <a:pt x="4" y="221"/>
                  <a:pt x="4" y="221"/>
                </a:cubicBezTo>
                <a:cubicBezTo>
                  <a:pt x="4" y="220"/>
                  <a:pt x="4" y="220"/>
                  <a:pt x="4" y="220"/>
                </a:cubicBezTo>
                <a:cubicBezTo>
                  <a:pt x="4" y="219"/>
                  <a:pt x="4" y="219"/>
                  <a:pt x="4" y="219"/>
                </a:cubicBezTo>
                <a:cubicBezTo>
                  <a:pt x="3" y="219"/>
                  <a:pt x="3" y="219"/>
                  <a:pt x="3" y="219"/>
                </a:cubicBezTo>
                <a:cubicBezTo>
                  <a:pt x="3" y="218"/>
                  <a:pt x="3" y="218"/>
                  <a:pt x="3" y="218"/>
                </a:cubicBezTo>
                <a:cubicBezTo>
                  <a:pt x="3" y="217"/>
                  <a:pt x="3" y="217"/>
                  <a:pt x="3" y="217"/>
                </a:cubicBezTo>
                <a:cubicBezTo>
                  <a:pt x="5" y="217"/>
                  <a:pt x="5" y="217"/>
                  <a:pt x="5" y="217"/>
                </a:cubicBezTo>
                <a:cubicBezTo>
                  <a:pt x="5" y="217"/>
                  <a:pt x="5" y="217"/>
                  <a:pt x="5" y="217"/>
                </a:cubicBezTo>
                <a:cubicBezTo>
                  <a:pt x="6" y="218"/>
                  <a:pt x="6" y="218"/>
                  <a:pt x="6" y="218"/>
                </a:cubicBezTo>
                <a:cubicBezTo>
                  <a:pt x="7" y="219"/>
                  <a:pt x="7" y="219"/>
                  <a:pt x="7" y="219"/>
                </a:cubicBezTo>
                <a:cubicBezTo>
                  <a:pt x="8" y="219"/>
                  <a:pt x="8" y="219"/>
                  <a:pt x="8" y="219"/>
                </a:cubicBezTo>
                <a:cubicBezTo>
                  <a:pt x="9" y="218"/>
                  <a:pt x="9" y="218"/>
                  <a:pt x="9" y="218"/>
                </a:cubicBezTo>
                <a:cubicBezTo>
                  <a:pt x="10" y="218"/>
                  <a:pt x="10" y="218"/>
                  <a:pt x="10" y="218"/>
                </a:cubicBezTo>
                <a:cubicBezTo>
                  <a:pt x="10" y="219"/>
                  <a:pt x="10" y="219"/>
                  <a:pt x="10" y="219"/>
                </a:cubicBezTo>
                <a:cubicBezTo>
                  <a:pt x="12" y="220"/>
                  <a:pt x="12" y="220"/>
                  <a:pt x="12" y="220"/>
                </a:cubicBezTo>
                <a:cubicBezTo>
                  <a:pt x="12" y="221"/>
                  <a:pt x="12" y="221"/>
                  <a:pt x="12" y="221"/>
                </a:cubicBezTo>
                <a:cubicBezTo>
                  <a:pt x="12" y="221"/>
                  <a:pt x="12" y="221"/>
                  <a:pt x="12" y="221"/>
                </a:cubicBezTo>
                <a:cubicBezTo>
                  <a:pt x="11" y="221"/>
                  <a:pt x="11" y="221"/>
                  <a:pt x="11" y="221"/>
                </a:cubicBezTo>
                <a:cubicBezTo>
                  <a:pt x="12" y="222"/>
                  <a:pt x="12" y="222"/>
                  <a:pt x="12" y="222"/>
                </a:cubicBezTo>
                <a:cubicBezTo>
                  <a:pt x="11" y="223"/>
                  <a:pt x="11" y="223"/>
                  <a:pt x="11" y="223"/>
                </a:cubicBezTo>
                <a:cubicBezTo>
                  <a:pt x="11" y="224"/>
                  <a:pt x="11" y="224"/>
                  <a:pt x="11" y="224"/>
                </a:cubicBezTo>
                <a:cubicBezTo>
                  <a:pt x="11" y="224"/>
                  <a:pt x="11" y="224"/>
                  <a:pt x="11" y="224"/>
                </a:cubicBezTo>
                <a:cubicBezTo>
                  <a:pt x="12" y="225"/>
                  <a:pt x="12" y="225"/>
                  <a:pt x="12" y="225"/>
                </a:cubicBezTo>
                <a:cubicBezTo>
                  <a:pt x="12" y="225"/>
                  <a:pt x="12" y="225"/>
                  <a:pt x="12" y="225"/>
                </a:cubicBezTo>
                <a:cubicBezTo>
                  <a:pt x="11" y="225"/>
                  <a:pt x="11" y="225"/>
                  <a:pt x="11" y="225"/>
                </a:cubicBezTo>
                <a:cubicBezTo>
                  <a:pt x="10" y="224"/>
                  <a:pt x="10" y="224"/>
                  <a:pt x="10" y="224"/>
                </a:cubicBezTo>
                <a:cubicBezTo>
                  <a:pt x="10" y="224"/>
                  <a:pt x="10" y="224"/>
                  <a:pt x="10" y="224"/>
                </a:cubicBezTo>
                <a:cubicBezTo>
                  <a:pt x="10" y="225"/>
                  <a:pt x="10" y="225"/>
                  <a:pt x="10" y="225"/>
                </a:cubicBezTo>
                <a:cubicBezTo>
                  <a:pt x="11" y="226"/>
                  <a:pt x="11" y="226"/>
                  <a:pt x="11" y="226"/>
                </a:cubicBezTo>
                <a:cubicBezTo>
                  <a:pt x="11" y="227"/>
                  <a:pt x="11" y="227"/>
                  <a:pt x="11" y="227"/>
                </a:cubicBezTo>
                <a:cubicBezTo>
                  <a:pt x="13" y="227"/>
                  <a:pt x="13" y="227"/>
                  <a:pt x="13" y="227"/>
                </a:cubicBezTo>
                <a:cubicBezTo>
                  <a:pt x="14" y="227"/>
                  <a:pt x="14" y="227"/>
                  <a:pt x="14" y="227"/>
                </a:cubicBezTo>
                <a:cubicBezTo>
                  <a:pt x="15" y="227"/>
                  <a:pt x="15" y="227"/>
                  <a:pt x="15" y="227"/>
                </a:cubicBezTo>
                <a:cubicBezTo>
                  <a:pt x="16" y="227"/>
                  <a:pt x="16" y="227"/>
                  <a:pt x="16" y="227"/>
                </a:cubicBezTo>
                <a:cubicBezTo>
                  <a:pt x="17" y="227"/>
                  <a:pt x="17" y="227"/>
                  <a:pt x="17" y="227"/>
                </a:cubicBezTo>
                <a:cubicBezTo>
                  <a:pt x="16" y="228"/>
                  <a:pt x="16" y="228"/>
                  <a:pt x="16" y="228"/>
                </a:cubicBezTo>
                <a:cubicBezTo>
                  <a:pt x="17" y="228"/>
                  <a:pt x="17" y="228"/>
                  <a:pt x="17" y="228"/>
                </a:cubicBezTo>
                <a:cubicBezTo>
                  <a:pt x="16" y="228"/>
                  <a:pt x="16" y="228"/>
                  <a:pt x="16" y="228"/>
                </a:cubicBezTo>
                <a:cubicBezTo>
                  <a:pt x="15" y="228"/>
                  <a:pt x="15" y="228"/>
                  <a:pt x="15" y="228"/>
                </a:cubicBezTo>
                <a:cubicBezTo>
                  <a:pt x="15" y="229"/>
                  <a:pt x="15" y="229"/>
                  <a:pt x="15" y="229"/>
                </a:cubicBezTo>
                <a:cubicBezTo>
                  <a:pt x="14" y="228"/>
                  <a:pt x="14" y="228"/>
                  <a:pt x="14" y="228"/>
                </a:cubicBezTo>
                <a:cubicBezTo>
                  <a:pt x="12" y="229"/>
                  <a:pt x="12" y="229"/>
                  <a:pt x="12" y="229"/>
                </a:cubicBezTo>
                <a:cubicBezTo>
                  <a:pt x="11" y="229"/>
                  <a:pt x="11" y="229"/>
                  <a:pt x="11" y="229"/>
                </a:cubicBezTo>
                <a:cubicBezTo>
                  <a:pt x="12" y="230"/>
                  <a:pt x="12" y="230"/>
                  <a:pt x="12" y="230"/>
                </a:cubicBezTo>
                <a:cubicBezTo>
                  <a:pt x="13" y="231"/>
                  <a:pt x="13" y="231"/>
                  <a:pt x="13" y="231"/>
                </a:cubicBezTo>
                <a:cubicBezTo>
                  <a:pt x="13" y="232"/>
                  <a:pt x="13" y="232"/>
                  <a:pt x="13" y="232"/>
                </a:cubicBezTo>
                <a:cubicBezTo>
                  <a:pt x="14" y="232"/>
                  <a:pt x="14" y="232"/>
                  <a:pt x="14" y="232"/>
                </a:cubicBezTo>
                <a:cubicBezTo>
                  <a:pt x="15" y="232"/>
                  <a:pt x="15" y="232"/>
                  <a:pt x="15" y="232"/>
                </a:cubicBezTo>
                <a:cubicBezTo>
                  <a:pt x="15" y="232"/>
                  <a:pt x="15" y="232"/>
                  <a:pt x="15" y="232"/>
                </a:cubicBezTo>
                <a:cubicBezTo>
                  <a:pt x="14" y="233"/>
                  <a:pt x="14" y="233"/>
                  <a:pt x="14" y="233"/>
                </a:cubicBezTo>
                <a:cubicBezTo>
                  <a:pt x="14" y="234"/>
                  <a:pt x="14" y="234"/>
                  <a:pt x="14" y="234"/>
                </a:cubicBezTo>
                <a:cubicBezTo>
                  <a:pt x="14" y="234"/>
                  <a:pt x="14" y="234"/>
                  <a:pt x="14" y="234"/>
                </a:cubicBezTo>
                <a:cubicBezTo>
                  <a:pt x="14" y="235"/>
                  <a:pt x="14" y="235"/>
                  <a:pt x="14" y="235"/>
                </a:cubicBezTo>
                <a:cubicBezTo>
                  <a:pt x="13" y="235"/>
                  <a:pt x="13" y="235"/>
                  <a:pt x="13" y="235"/>
                </a:cubicBezTo>
                <a:cubicBezTo>
                  <a:pt x="13" y="236"/>
                  <a:pt x="13" y="236"/>
                  <a:pt x="13" y="236"/>
                </a:cubicBezTo>
                <a:cubicBezTo>
                  <a:pt x="14" y="239"/>
                  <a:pt x="14" y="239"/>
                  <a:pt x="14" y="239"/>
                </a:cubicBezTo>
                <a:cubicBezTo>
                  <a:pt x="15" y="240"/>
                  <a:pt x="15" y="240"/>
                  <a:pt x="15" y="240"/>
                </a:cubicBezTo>
                <a:cubicBezTo>
                  <a:pt x="14" y="241"/>
                  <a:pt x="14" y="241"/>
                  <a:pt x="14" y="241"/>
                </a:cubicBezTo>
                <a:cubicBezTo>
                  <a:pt x="15" y="243"/>
                  <a:pt x="15" y="243"/>
                  <a:pt x="15" y="243"/>
                </a:cubicBezTo>
                <a:cubicBezTo>
                  <a:pt x="16" y="243"/>
                  <a:pt x="16" y="243"/>
                  <a:pt x="16" y="243"/>
                </a:cubicBezTo>
                <a:cubicBezTo>
                  <a:pt x="16" y="241"/>
                  <a:pt x="16" y="241"/>
                  <a:pt x="16" y="241"/>
                </a:cubicBezTo>
                <a:cubicBezTo>
                  <a:pt x="17" y="239"/>
                  <a:pt x="17" y="239"/>
                  <a:pt x="17" y="239"/>
                </a:cubicBezTo>
                <a:cubicBezTo>
                  <a:pt x="18" y="238"/>
                  <a:pt x="18" y="238"/>
                  <a:pt x="18" y="238"/>
                </a:cubicBezTo>
                <a:cubicBezTo>
                  <a:pt x="18" y="238"/>
                  <a:pt x="18" y="238"/>
                  <a:pt x="18" y="238"/>
                </a:cubicBezTo>
                <a:cubicBezTo>
                  <a:pt x="17" y="239"/>
                  <a:pt x="17" y="239"/>
                  <a:pt x="17" y="239"/>
                </a:cubicBezTo>
                <a:cubicBezTo>
                  <a:pt x="17" y="241"/>
                  <a:pt x="17" y="241"/>
                  <a:pt x="17" y="241"/>
                </a:cubicBezTo>
                <a:cubicBezTo>
                  <a:pt x="17" y="242"/>
                  <a:pt x="17" y="242"/>
                  <a:pt x="17" y="242"/>
                </a:cubicBezTo>
                <a:cubicBezTo>
                  <a:pt x="18" y="242"/>
                  <a:pt x="18" y="242"/>
                  <a:pt x="18" y="242"/>
                </a:cubicBezTo>
                <a:cubicBezTo>
                  <a:pt x="19" y="242"/>
                  <a:pt x="19" y="242"/>
                  <a:pt x="19" y="242"/>
                </a:cubicBezTo>
                <a:cubicBezTo>
                  <a:pt x="18" y="243"/>
                  <a:pt x="18" y="243"/>
                  <a:pt x="18" y="243"/>
                </a:cubicBezTo>
                <a:cubicBezTo>
                  <a:pt x="17" y="243"/>
                  <a:pt x="17" y="243"/>
                  <a:pt x="17" y="243"/>
                </a:cubicBezTo>
                <a:cubicBezTo>
                  <a:pt x="16" y="244"/>
                  <a:pt x="16" y="244"/>
                  <a:pt x="16" y="244"/>
                </a:cubicBezTo>
                <a:cubicBezTo>
                  <a:pt x="16" y="245"/>
                  <a:pt x="16" y="245"/>
                  <a:pt x="16" y="245"/>
                </a:cubicBezTo>
                <a:cubicBezTo>
                  <a:pt x="16" y="246"/>
                  <a:pt x="16" y="246"/>
                  <a:pt x="16" y="246"/>
                </a:cubicBezTo>
                <a:cubicBezTo>
                  <a:pt x="16" y="247"/>
                  <a:pt x="16" y="247"/>
                  <a:pt x="16" y="247"/>
                </a:cubicBezTo>
                <a:cubicBezTo>
                  <a:pt x="15" y="247"/>
                  <a:pt x="15" y="247"/>
                  <a:pt x="15" y="247"/>
                </a:cubicBezTo>
                <a:cubicBezTo>
                  <a:pt x="14" y="248"/>
                  <a:pt x="14" y="248"/>
                  <a:pt x="14" y="248"/>
                </a:cubicBezTo>
                <a:cubicBezTo>
                  <a:pt x="15" y="249"/>
                  <a:pt x="15" y="249"/>
                  <a:pt x="15" y="249"/>
                </a:cubicBezTo>
                <a:cubicBezTo>
                  <a:pt x="16" y="251"/>
                  <a:pt x="16" y="251"/>
                  <a:pt x="16" y="251"/>
                </a:cubicBezTo>
                <a:cubicBezTo>
                  <a:pt x="19" y="251"/>
                  <a:pt x="19" y="251"/>
                  <a:pt x="19" y="251"/>
                </a:cubicBezTo>
                <a:cubicBezTo>
                  <a:pt x="20" y="252"/>
                  <a:pt x="20" y="252"/>
                  <a:pt x="20" y="252"/>
                </a:cubicBezTo>
                <a:cubicBezTo>
                  <a:pt x="19" y="252"/>
                  <a:pt x="19" y="252"/>
                  <a:pt x="19" y="252"/>
                </a:cubicBezTo>
                <a:cubicBezTo>
                  <a:pt x="19" y="252"/>
                  <a:pt x="19" y="252"/>
                  <a:pt x="19" y="252"/>
                </a:cubicBezTo>
                <a:cubicBezTo>
                  <a:pt x="19" y="254"/>
                  <a:pt x="19" y="254"/>
                  <a:pt x="19" y="254"/>
                </a:cubicBezTo>
                <a:cubicBezTo>
                  <a:pt x="20" y="254"/>
                  <a:pt x="20" y="254"/>
                  <a:pt x="20" y="254"/>
                </a:cubicBezTo>
                <a:cubicBezTo>
                  <a:pt x="21" y="253"/>
                  <a:pt x="21" y="253"/>
                  <a:pt x="21" y="253"/>
                </a:cubicBezTo>
                <a:cubicBezTo>
                  <a:pt x="21" y="254"/>
                  <a:pt x="21" y="254"/>
                  <a:pt x="21" y="254"/>
                </a:cubicBezTo>
                <a:cubicBezTo>
                  <a:pt x="20" y="255"/>
                  <a:pt x="20" y="255"/>
                  <a:pt x="20" y="255"/>
                </a:cubicBezTo>
                <a:cubicBezTo>
                  <a:pt x="19" y="255"/>
                  <a:pt x="19" y="255"/>
                  <a:pt x="19" y="255"/>
                </a:cubicBezTo>
                <a:cubicBezTo>
                  <a:pt x="19" y="256"/>
                  <a:pt x="19" y="256"/>
                  <a:pt x="19" y="256"/>
                </a:cubicBezTo>
                <a:cubicBezTo>
                  <a:pt x="19" y="257"/>
                  <a:pt x="19" y="257"/>
                  <a:pt x="19" y="257"/>
                </a:cubicBezTo>
                <a:cubicBezTo>
                  <a:pt x="20" y="257"/>
                  <a:pt x="20" y="257"/>
                  <a:pt x="20" y="257"/>
                </a:cubicBezTo>
                <a:cubicBezTo>
                  <a:pt x="20" y="257"/>
                  <a:pt x="20" y="257"/>
                  <a:pt x="20" y="257"/>
                </a:cubicBezTo>
                <a:cubicBezTo>
                  <a:pt x="21" y="258"/>
                  <a:pt x="21" y="258"/>
                  <a:pt x="21" y="258"/>
                </a:cubicBezTo>
                <a:cubicBezTo>
                  <a:pt x="22" y="258"/>
                  <a:pt x="22" y="258"/>
                  <a:pt x="22" y="258"/>
                </a:cubicBezTo>
                <a:cubicBezTo>
                  <a:pt x="22" y="258"/>
                  <a:pt x="22" y="258"/>
                  <a:pt x="22" y="258"/>
                </a:cubicBezTo>
                <a:cubicBezTo>
                  <a:pt x="22" y="259"/>
                  <a:pt x="22" y="259"/>
                  <a:pt x="22" y="259"/>
                </a:cubicBezTo>
                <a:cubicBezTo>
                  <a:pt x="23" y="260"/>
                  <a:pt x="23" y="260"/>
                  <a:pt x="23" y="260"/>
                </a:cubicBezTo>
                <a:cubicBezTo>
                  <a:pt x="22" y="260"/>
                  <a:pt x="22" y="260"/>
                  <a:pt x="22" y="260"/>
                </a:cubicBezTo>
                <a:cubicBezTo>
                  <a:pt x="22" y="260"/>
                  <a:pt x="22" y="260"/>
                  <a:pt x="22" y="260"/>
                </a:cubicBezTo>
                <a:cubicBezTo>
                  <a:pt x="21" y="260"/>
                  <a:pt x="21" y="260"/>
                  <a:pt x="21" y="260"/>
                </a:cubicBezTo>
                <a:cubicBezTo>
                  <a:pt x="21" y="260"/>
                  <a:pt x="21" y="260"/>
                  <a:pt x="21" y="260"/>
                </a:cubicBezTo>
                <a:cubicBezTo>
                  <a:pt x="22" y="262"/>
                  <a:pt x="22" y="262"/>
                  <a:pt x="22" y="262"/>
                </a:cubicBezTo>
                <a:cubicBezTo>
                  <a:pt x="22" y="262"/>
                  <a:pt x="22" y="262"/>
                  <a:pt x="22" y="262"/>
                </a:cubicBezTo>
                <a:cubicBezTo>
                  <a:pt x="23" y="263"/>
                  <a:pt x="23" y="263"/>
                  <a:pt x="23" y="263"/>
                </a:cubicBezTo>
                <a:cubicBezTo>
                  <a:pt x="23" y="264"/>
                  <a:pt x="23" y="264"/>
                  <a:pt x="23" y="264"/>
                </a:cubicBezTo>
                <a:cubicBezTo>
                  <a:pt x="24" y="265"/>
                  <a:pt x="24" y="265"/>
                  <a:pt x="24" y="265"/>
                </a:cubicBezTo>
                <a:cubicBezTo>
                  <a:pt x="25" y="265"/>
                  <a:pt x="25" y="265"/>
                  <a:pt x="25" y="265"/>
                </a:cubicBezTo>
                <a:cubicBezTo>
                  <a:pt x="25" y="263"/>
                  <a:pt x="25" y="263"/>
                  <a:pt x="25" y="263"/>
                </a:cubicBezTo>
                <a:cubicBezTo>
                  <a:pt x="25" y="262"/>
                  <a:pt x="25" y="262"/>
                  <a:pt x="25" y="262"/>
                </a:cubicBezTo>
                <a:cubicBezTo>
                  <a:pt x="25" y="262"/>
                  <a:pt x="25" y="262"/>
                  <a:pt x="25" y="262"/>
                </a:cubicBezTo>
                <a:cubicBezTo>
                  <a:pt x="26" y="262"/>
                  <a:pt x="26" y="262"/>
                  <a:pt x="26" y="262"/>
                </a:cubicBezTo>
                <a:cubicBezTo>
                  <a:pt x="26" y="263"/>
                  <a:pt x="26" y="263"/>
                  <a:pt x="26" y="263"/>
                </a:cubicBezTo>
                <a:cubicBezTo>
                  <a:pt x="26" y="264"/>
                  <a:pt x="26" y="264"/>
                  <a:pt x="26" y="264"/>
                </a:cubicBezTo>
                <a:cubicBezTo>
                  <a:pt x="27" y="263"/>
                  <a:pt x="27" y="263"/>
                  <a:pt x="27" y="263"/>
                </a:cubicBezTo>
                <a:cubicBezTo>
                  <a:pt x="28" y="262"/>
                  <a:pt x="28" y="262"/>
                  <a:pt x="28" y="262"/>
                </a:cubicBezTo>
                <a:cubicBezTo>
                  <a:pt x="28" y="261"/>
                  <a:pt x="28" y="261"/>
                  <a:pt x="28" y="261"/>
                </a:cubicBezTo>
                <a:cubicBezTo>
                  <a:pt x="27" y="261"/>
                  <a:pt x="27" y="261"/>
                  <a:pt x="27" y="261"/>
                </a:cubicBezTo>
                <a:cubicBezTo>
                  <a:pt x="25" y="261"/>
                  <a:pt x="25" y="261"/>
                  <a:pt x="25" y="261"/>
                </a:cubicBezTo>
                <a:cubicBezTo>
                  <a:pt x="25" y="260"/>
                  <a:pt x="25" y="260"/>
                  <a:pt x="25" y="260"/>
                </a:cubicBezTo>
                <a:cubicBezTo>
                  <a:pt x="26" y="260"/>
                  <a:pt x="26" y="260"/>
                  <a:pt x="26" y="260"/>
                </a:cubicBezTo>
                <a:cubicBezTo>
                  <a:pt x="28" y="261"/>
                  <a:pt x="28" y="261"/>
                  <a:pt x="28" y="261"/>
                </a:cubicBezTo>
                <a:cubicBezTo>
                  <a:pt x="29" y="261"/>
                  <a:pt x="29" y="261"/>
                  <a:pt x="29" y="261"/>
                </a:cubicBezTo>
                <a:cubicBezTo>
                  <a:pt x="30" y="262"/>
                  <a:pt x="30" y="262"/>
                  <a:pt x="30" y="262"/>
                </a:cubicBezTo>
                <a:cubicBezTo>
                  <a:pt x="30" y="260"/>
                  <a:pt x="30" y="260"/>
                  <a:pt x="30" y="260"/>
                </a:cubicBezTo>
                <a:cubicBezTo>
                  <a:pt x="28" y="260"/>
                  <a:pt x="28" y="260"/>
                  <a:pt x="28" y="260"/>
                </a:cubicBezTo>
                <a:cubicBezTo>
                  <a:pt x="26" y="260"/>
                  <a:pt x="26" y="260"/>
                  <a:pt x="26" y="260"/>
                </a:cubicBezTo>
                <a:cubicBezTo>
                  <a:pt x="26" y="259"/>
                  <a:pt x="26" y="259"/>
                  <a:pt x="26" y="259"/>
                </a:cubicBezTo>
                <a:cubicBezTo>
                  <a:pt x="27" y="259"/>
                  <a:pt x="27" y="259"/>
                  <a:pt x="27" y="259"/>
                </a:cubicBezTo>
                <a:cubicBezTo>
                  <a:pt x="29" y="260"/>
                  <a:pt x="29" y="260"/>
                  <a:pt x="29" y="260"/>
                </a:cubicBezTo>
                <a:cubicBezTo>
                  <a:pt x="31" y="261"/>
                  <a:pt x="31" y="261"/>
                  <a:pt x="31" y="261"/>
                </a:cubicBezTo>
                <a:cubicBezTo>
                  <a:pt x="31" y="262"/>
                  <a:pt x="31" y="262"/>
                  <a:pt x="31" y="262"/>
                </a:cubicBezTo>
                <a:cubicBezTo>
                  <a:pt x="30" y="263"/>
                  <a:pt x="30" y="263"/>
                  <a:pt x="30" y="263"/>
                </a:cubicBezTo>
                <a:cubicBezTo>
                  <a:pt x="30" y="264"/>
                  <a:pt x="30" y="264"/>
                  <a:pt x="30" y="264"/>
                </a:cubicBezTo>
                <a:cubicBezTo>
                  <a:pt x="31" y="266"/>
                  <a:pt x="31" y="266"/>
                  <a:pt x="31" y="266"/>
                </a:cubicBezTo>
                <a:cubicBezTo>
                  <a:pt x="31" y="267"/>
                  <a:pt x="31" y="267"/>
                  <a:pt x="31" y="267"/>
                </a:cubicBezTo>
                <a:cubicBezTo>
                  <a:pt x="30" y="267"/>
                  <a:pt x="30" y="267"/>
                  <a:pt x="30" y="267"/>
                </a:cubicBezTo>
                <a:cubicBezTo>
                  <a:pt x="30" y="266"/>
                  <a:pt x="30" y="266"/>
                  <a:pt x="30" y="266"/>
                </a:cubicBezTo>
                <a:cubicBezTo>
                  <a:pt x="29" y="264"/>
                  <a:pt x="29" y="264"/>
                  <a:pt x="29" y="264"/>
                </a:cubicBezTo>
                <a:cubicBezTo>
                  <a:pt x="29" y="263"/>
                  <a:pt x="29" y="263"/>
                  <a:pt x="29" y="263"/>
                </a:cubicBezTo>
                <a:cubicBezTo>
                  <a:pt x="28" y="264"/>
                  <a:pt x="28" y="264"/>
                  <a:pt x="28" y="264"/>
                </a:cubicBezTo>
                <a:cubicBezTo>
                  <a:pt x="28" y="265"/>
                  <a:pt x="28" y="265"/>
                  <a:pt x="28" y="265"/>
                </a:cubicBezTo>
                <a:cubicBezTo>
                  <a:pt x="29" y="266"/>
                  <a:pt x="29" y="266"/>
                  <a:pt x="29" y="266"/>
                </a:cubicBezTo>
                <a:cubicBezTo>
                  <a:pt x="28" y="267"/>
                  <a:pt x="28" y="267"/>
                  <a:pt x="28" y="267"/>
                </a:cubicBezTo>
                <a:cubicBezTo>
                  <a:pt x="28" y="266"/>
                  <a:pt x="28" y="266"/>
                  <a:pt x="28" y="266"/>
                </a:cubicBezTo>
                <a:cubicBezTo>
                  <a:pt x="27" y="265"/>
                  <a:pt x="27" y="265"/>
                  <a:pt x="27" y="265"/>
                </a:cubicBezTo>
                <a:cubicBezTo>
                  <a:pt x="27" y="265"/>
                  <a:pt x="27" y="265"/>
                  <a:pt x="27" y="265"/>
                </a:cubicBezTo>
                <a:cubicBezTo>
                  <a:pt x="26" y="266"/>
                  <a:pt x="26" y="266"/>
                  <a:pt x="26" y="266"/>
                </a:cubicBezTo>
                <a:cubicBezTo>
                  <a:pt x="24" y="266"/>
                  <a:pt x="24" y="266"/>
                  <a:pt x="24" y="266"/>
                </a:cubicBezTo>
                <a:cubicBezTo>
                  <a:pt x="23" y="266"/>
                  <a:pt x="23" y="266"/>
                  <a:pt x="23" y="266"/>
                </a:cubicBezTo>
                <a:cubicBezTo>
                  <a:pt x="24" y="267"/>
                  <a:pt x="24" y="267"/>
                  <a:pt x="24" y="267"/>
                </a:cubicBezTo>
                <a:cubicBezTo>
                  <a:pt x="24" y="269"/>
                  <a:pt x="24" y="269"/>
                  <a:pt x="24" y="269"/>
                </a:cubicBezTo>
                <a:cubicBezTo>
                  <a:pt x="25" y="269"/>
                  <a:pt x="25" y="269"/>
                  <a:pt x="25" y="269"/>
                </a:cubicBezTo>
                <a:cubicBezTo>
                  <a:pt x="25" y="270"/>
                  <a:pt x="25" y="270"/>
                  <a:pt x="25" y="270"/>
                </a:cubicBezTo>
                <a:cubicBezTo>
                  <a:pt x="25" y="271"/>
                  <a:pt x="25" y="271"/>
                  <a:pt x="25" y="271"/>
                </a:cubicBezTo>
                <a:cubicBezTo>
                  <a:pt x="25" y="271"/>
                  <a:pt x="25" y="271"/>
                  <a:pt x="25" y="271"/>
                </a:cubicBezTo>
                <a:cubicBezTo>
                  <a:pt x="26" y="271"/>
                  <a:pt x="26" y="271"/>
                  <a:pt x="26" y="271"/>
                </a:cubicBezTo>
                <a:cubicBezTo>
                  <a:pt x="26" y="270"/>
                  <a:pt x="26" y="270"/>
                  <a:pt x="26" y="270"/>
                </a:cubicBezTo>
                <a:cubicBezTo>
                  <a:pt x="27" y="271"/>
                  <a:pt x="27" y="271"/>
                  <a:pt x="27" y="271"/>
                </a:cubicBezTo>
                <a:cubicBezTo>
                  <a:pt x="28" y="271"/>
                  <a:pt x="28" y="271"/>
                  <a:pt x="28" y="271"/>
                </a:cubicBezTo>
                <a:cubicBezTo>
                  <a:pt x="28" y="272"/>
                  <a:pt x="28" y="272"/>
                  <a:pt x="28" y="272"/>
                </a:cubicBezTo>
                <a:cubicBezTo>
                  <a:pt x="27" y="272"/>
                  <a:pt x="27" y="272"/>
                  <a:pt x="27" y="272"/>
                </a:cubicBezTo>
                <a:cubicBezTo>
                  <a:pt x="26" y="273"/>
                  <a:pt x="26" y="273"/>
                  <a:pt x="26" y="273"/>
                </a:cubicBezTo>
                <a:cubicBezTo>
                  <a:pt x="26" y="273"/>
                  <a:pt x="26" y="273"/>
                  <a:pt x="26" y="273"/>
                </a:cubicBezTo>
                <a:cubicBezTo>
                  <a:pt x="28" y="273"/>
                  <a:pt x="28" y="273"/>
                  <a:pt x="28" y="273"/>
                </a:cubicBezTo>
                <a:cubicBezTo>
                  <a:pt x="29" y="274"/>
                  <a:pt x="29" y="274"/>
                  <a:pt x="29" y="274"/>
                </a:cubicBezTo>
                <a:cubicBezTo>
                  <a:pt x="30" y="274"/>
                  <a:pt x="30" y="274"/>
                  <a:pt x="30" y="274"/>
                </a:cubicBezTo>
                <a:cubicBezTo>
                  <a:pt x="31" y="273"/>
                  <a:pt x="31" y="273"/>
                  <a:pt x="31" y="273"/>
                </a:cubicBezTo>
                <a:cubicBezTo>
                  <a:pt x="30" y="272"/>
                  <a:pt x="30" y="272"/>
                  <a:pt x="30" y="272"/>
                </a:cubicBezTo>
                <a:cubicBezTo>
                  <a:pt x="30" y="271"/>
                  <a:pt x="30" y="271"/>
                  <a:pt x="30" y="271"/>
                </a:cubicBezTo>
                <a:cubicBezTo>
                  <a:pt x="30" y="270"/>
                  <a:pt x="30" y="270"/>
                  <a:pt x="30" y="270"/>
                </a:cubicBezTo>
                <a:cubicBezTo>
                  <a:pt x="30" y="270"/>
                  <a:pt x="30" y="270"/>
                  <a:pt x="30" y="270"/>
                </a:cubicBezTo>
                <a:cubicBezTo>
                  <a:pt x="29" y="270"/>
                  <a:pt x="29" y="270"/>
                  <a:pt x="29" y="270"/>
                </a:cubicBezTo>
                <a:cubicBezTo>
                  <a:pt x="29" y="270"/>
                  <a:pt x="29" y="270"/>
                  <a:pt x="29" y="270"/>
                </a:cubicBezTo>
                <a:cubicBezTo>
                  <a:pt x="30" y="269"/>
                  <a:pt x="30" y="269"/>
                  <a:pt x="30" y="269"/>
                </a:cubicBezTo>
                <a:cubicBezTo>
                  <a:pt x="30" y="269"/>
                  <a:pt x="30" y="269"/>
                  <a:pt x="30" y="269"/>
                </a:cubicBezTo>
                <a:cubicBezTo>
                  <a:pt x="30" y="268"/>
                  <a:pt x="30" y="268"/>
                  <a:pt x="30" y="268"/>
                </a:cubicBezTo>
                <a:cubicBezTo>
                  <a:pt x="32" y="269"/>
                  <a:pt x="32" y="269"/>
                  <a:pt x="32" y="269"/>
                </a:cubicBezTo>
                <a:cubicBezTo>
                  <a:pt x="32" y="269"/>
                  <a:pt x="32" y="269"/>
                  <a:pt x="32" y="269"/>
                </a:cubicBezTo>
                <a:cubicBezTo>
                  <a:pt x="32" y="269"/>
                  <a:pt x="32" y="269"/>
                  <a:pt x="32" y="269"/>
                </a:cubicBezTo>
                <a:cubicBezTo>
                  <a:pt x="33" y="269"/>
                  <a:pt x="33" y="269"/>
                  <a:pt x="33" y="269"/>
                </a:cubicBezTo>
                <a:cubicBezTo>
                  <a:pt x="33" y="269"/>
                  <a:pt x="33" y="269"/>
                  <a:pt x="33" y="269"/>
                </a:cubicBezTo>
                <a:cubicBezTo>
                  <a:pt x="35" y="269"/>
                  <a:pt x="35" y="269"/>
                  <a:pt x="35" y="269"/>
                </a:cubicBezTo>
                <a:cubicBezTo>
                  <a:pt x="36" y="269"/>
                  <a:pt x="36" y="269"/>
                  <a:pt x="36" y="269"/>
                </a:cubicBezTo>
                <a:cubicBezTo>
                  <a:pt x="37" y="269"/>
                  <a:pt x="37" y="269"/>
                  <a:pt x="37" y="269"/>
                </a:cubicBezTo>
                <a:cubicBezTo>
                  <a:pt x="38" y="269"/>
                  <a:pt x="38" y="269"/>
                  <a:pt x="38" y="269"/>
                </a:cubicBezTo>
                <a:cubicBezTo>
                  <a:pt x="38" y="269"/>
                  <a:pt x="38" y="269"/>
                  <a:pt x="38" y="269"/>
                </a:cubicBezTo>
                <a:cubicBezTo>
                  <a:pt x="37" y="270"/>
                  <a:pt x="37" y="270"/>
                  <a:pt x="37" y="270"/>
                </a:cubicBezTo>
                <a:cubicBezTo>
                  <a:pt x="37" y="270"/>
                  <a:pt x="37" y="270"/>
                  <a:pt x="37" y="270"/>
                </a:cubicBezTo>
                <a:cubicBezTo>
                  <a:pt x="36" y="270"/>
                  <a:pt x="36" y="270"/>
                  <a:pt x="36" y="270"/>
                </a:cubicBezTo>
                <a:cubicBezTo>
                  <a:pt x="35" y="270"/>
                  <a:pt x="35" y="270"/>
                  <a:pt x="35" y="270"/>
                </a:cubicBezTo>
                <a:cubicBezTo>
                  <a:pt x="35" y="270"/>
                  <a:pt x="35" y="270"/>
                  <a:pt x="35" y="270"/>
                </a:cubicBezTo>
                <a:cubicBezTo>
                  <a:pt x="33" y="272"/>
                  <a:pt x="33" y="272"/>
                  <a:pt x="33" y="272"/>
                </a:cubicBezTo>
                <a:cubicBezTo>
                  <a:pt x="32" y="272"/>
                  <a:pt x="32" y="272"/>
                  <a:pt x="32" y="272"/>
                </a:cubicBezTo>
                <a:cubicBezTo>
                  <a:pt x="32" y="272"/>
                  <a:pt x="32" y="272"/>
                  <a:pt x="32" y="272"/>
                </a:cubicBezTo>
                <a:cubicBezTo>
                  <a:pt x="31" y="272"/>
                  <a:pt x="31" y="272"/>
                  <a:pt x="31" y="272"/>
                </a:cubicBezTo>
                <a:cubicBezTo>
                  <a:pt x="31" y="273"/>
                  <a:pt x="31" y="273"/>
                  <a:pt x="31" y="273"/>
                </a:cubicBezTo>
                <a:cubicBezTo>
                  <a:pt x="31" y="274"/>
                  <a:pt x="31" y="274"/>
                  <a:pt x="31" y="274"/>
                </a:cubicBezTo>
                <a:cubicBezTo>
                  <a:pt x="30" y="274"/>
                  <a:pt x="30" y="274"/>
                  <a:pt x="30" y="274"/>
                </a:cubicBezTo>
                <a:cubicBezTo>
                  <a:pt x="30" y="275"/>
                  <a:pt x="30" y="275"/>
                  <a:pt x="30" y="275"/>
                </a:cubicBezTo>
                <a:cubicBezTo>
                  <a:pt x="31" y="275"/>
                  <a:pt x="31" y="275"/>
                  <a:pt x="31" y="275"/>
                </a:cubicBezTo>
                <a:cubicBezTo>
                  <a:pt x="30" y="276"/>
                  <a:pt x="30" y="276"/>
                  <a:pt x="30" y="276"/>
                </a:cubicBezTo>
                <a:cubicBezTo>
                  <a:pt x="30" y="276"/>
                  <a:pt x="30" y="276"/>
                  <a:pt x="30" y="276"/>
                </a:cubicBezTo>
                <a:cubicBezTo>
                  <a:pt x="32" y="277"/>
                  <a:pt x="32" y="277"/>
                  <a:pt x="32" y="277"/>
                </a:cubicBezTo>
                <a:cubicBezTo>
                  <a:pt x="34" y="278"/>
                  <a:pt x="34" y="278"/>
                  <a:pt x="34" y="278"/>
                </a:cubicBezTo>
                <a:cubicBezTo>
                  <a:pt x="34" y="278"/>
                  <a:pt x="34" y="278"/>
                  <a:pt x="34" y="278"/>
                </a:cubicBezTo>
                <a:cubicBezTo>
                  <a:pt x="34" y="278"/>
                  <a:pt x="34" y="278"/>
                  <a:pt x="34" y="278"/>
                </a:cubicBezTo>
                <a:cubicBezTo>
                  <a:pt x="34" y="277"/>
                  <a:pt x="34" y="277"/>
                  <a:pt x="34" y="277"/>
                </a:cubicBezTo>
                <a:cubicBezTo>
                  <a:pt x="35" y="276"/>
                  <a:pt x="35" y="276"/>
                  <a:pt x="35" y="276"/>
                </a:cubicBezTo>
                <a:cubicBezTo>
                  <a:pt x="35" y="276"/>
                  <a:pt x="35" y="276"/>
                  <a:pt x="35" y="276"/>
                </a:cubicBezTo>
                <a:cubicBezTo>
                  <a:pt x="36" y="275"/>
                  <a:pt x="36" y="275"/>
                  <a:pt x="36" y="275"/>
                </a:cubicBezTo>
                <a:cubicBezTo>
                  <a:pt x="35" y="274"/>
                  <a:pt x="35" y="274"/>
                  <a:pt x="35" y="274"/>
                </a:cubicBezTo>
                <a:cubicBezTo>
                  <a:pt x="36" y="274"/>
                  <a:pt x="36" y="274"/>
                  <a:pt x="36" y="274"/>
                </a:cubicBezTo>
                <a:cubicBezTo>
                  <a:pt x="37" y="273"/>
                  <a:pt x="37" y="273"/>
                  <a:pt x="37" y="273"/>
                </a:cubicBezTo>
                <a:cubicBezTo>
                  <a:pt x="38" y="271"/>
                  <a:pt x="38" y="271"/>
                  <a:pt x="38" y="271"/>
                </a:cubicBezTo>
                <a:cubicBezTo>
                  <a:pt x="39" y="271"/>
                  <a:pt x="39" y="271"/>
                  <a:pt x="39" y="271"/>
                </a:cubicBezTo>
                <a:cubicBezTo>
                  <a:pt x="39" y="271"/>
                  <a:pt x="39" y="271"/>
                  <a:pt x="39" y="271"/>
                </a:cubicBezTo>
                <a:cubicBezTo>
                  <a:pt x="40" y="271"/>
                  <a:pt x="40" y="271"/>
                  <a:pt x="40" y="271"/>
                </a:cubicBezTo>
                <a:cubicBezTo>
                  <a:pt x="41" y="271"/>
                  <a:pt x="41" y="271"/>
                  <a:pt x="41" y="271"/>
                </a:cubicBezTo>
                <a:cubicBezTo>
                  <a:pt x="41" y="272"/>
                  <a:pt x="41" y="272"/>
                  <a:pt x="41" y="272"/>
                </a:cubicBezTo>
                <a:cubicBezTo>
                  <a:pt x="40" y="272"/>
                  <a:pt x="40" y="272"/>
                  <a:pt x="40" y="272"/>
                </a:cubicBezTo>
                <a:cubicBezTo>
                  <a:pt x="40" y="273"/>
                  <a:pt x="40" y="273"/>
                  <a:pt x="40" y="273"/>
                </a:cubicBezTo>
                <a:cubicBezTo>
                  <a:pt x="39" y="274"/>
                  <a:pt x="39" y="274"/>
                  <a:pt x="39" y="274"/>
                </a:cubicBezTo>
                <a:cubicBezTo>
                  <a:pt x="38" y="275"/>
                  <a:pt x="38" y="275"/>
                  <a:pt x="38" y="275"/>
                </a:cubicBezTo>
                <a:cubicBezTo>
                  <a:pt x="38" y="276"/>
                  <a:pt x="38" y="276"/>
                  <a:pt x="38" y="276"/>
                </a:cubicBezTo>
                <a:cubicBezTo>
                  <a:pt x="39" y="277"/>
                  <a:pt x="39" y="277"/>
                  <a:pt x="39" y="277"/>
                </a:cubicBezTo>
                <a:cubicBezTo>
                  <a:pt x="38" y="278"/>
                  <a:pt x="38" y="278"/>
                  <a:pt x="38" y="278"/>
                </a:cubicBezTo>
                <a:cubicBezTo>
                  <a:pt x="37" y="278"/>
                  <a:pt x="37" y="278"/>
                  <a:pt x="37" y="278"/>
                </a:cubicBezTo>
                <a:cubicBezTo>
                  <a:pt x="37" y="278"/>
                  <a:pt x="37" y="278"/>
                  <a:pt x="37" y="278"/>
                </a:cubicBezTo>
                <a:cubicBezTo>
                  <a:pt x="38" y="277"/>
                  <a:pt x="38" y="277"/>
                  <a:pt x="38" y="277"/>
                </a:cubicBezTo>
                <a:cubicBezTo>
                  <a:pt x="38" y="276"/>
                  <a:pt x="38" y="276"/>
                  <a:pt x="38" y="276"/>
                </a:cubicBezTo>
                <a:cubicBezTo>
                  <a:pt x="37" y="276"/>
                  <a:pt x="37" y="276"/>
                  <a:pt x="37" y="276"/>
                </a:cubicBezTo>
                <a:cubicBezTo>
                  <a:pt x="37" y="276"/>
                  <a:pt x="37" y="276"/>
                  <a:pt x="37" y="276"/>
                </a:cubicBezTo>
                <a:cubicBezTo>
                  <a:pt x="36" y="277"/>
                  <a:pt x="36" y="277"/>
                  <a:pt x="36" y="277"/>
                </a:cubicBezTo>
                <a:cubicBezTo>
                  <a:pt x="36" y="277"/>
                  <a:pt x="36" y="277"/>
                  <a:pt x="36" y="277"/>
                </a:cubicBezTo>
                <a:cubicBezTo>
                  <a:pt x="35" y="277"/>
                  <a:pt x="35" y="277"/>
                  <a:pt x="35" y="277"/>
                </a:cubicBezTo>
                <a:cubicBezTo>
                  <a:pt x="35" y="277"/>
                  <a:pt x="35" y="277"/>
                  <a:pt x="35" y="277"/>
                </a:cubicBezTo>
                <a:cubicBezTo>
                  <a:pt x="35" y="278"/>
                  <a:pt x="35" y="278"/>
                  <a:pt x="35" y="278"/>
                </a:cubicBezTo>
                <a:cubicBezTo>
                  <a:pt x="37" y="280"/>
                  <a:pt x="37" y="280"/>
                  <a:pt x="37" y="280"/>
                </a:cubicBezTo>
                <a:cubicBezTo>
                  <a:pt x="39" y="281"/>
                  <a:pt x="39" y="281"/>
                  <a:pt x="39" y="281"/>
                </a:cubicBezTo>
                <a:cubicBezTo>
                  <a:pt x="40" y="281"/>
                  <a:pt x="40" y="281"/>
                  <a:pt x="40" y="281"/>
                </a:cubicBezTo>
                <a:cubicBezTo>
                  <a:pt x="41" y="281"/>
                  <a:pt x="41" y="281"/>
                  <a:pt x="41" y="281"/>
                </a:cubicBezTo>
                <a:cubicBezTo>
                  <a:pt x="42" y="282"/>
                  <a:pt x="42" y="282"/>
                  <a:pt x="42" y="282"/>
                </a:cubicBezTo>
                <a:cubicBezTo>
                  <a:pt x="43" y="281"/>
                  <a:pt x="43" y="281"/>
                  <a:pt x="43" y="281"/>
                </a:cubicBezTo>
                <a:cubicBezTo>
                  <a:pt x="43" y="280"/>
                  <a:pt x="43" y="280"/>
                  <a:pt x="43" y="280"/>
                </a:cubicBezTo>
                <a:cubicBezTo>
                  <a:pt x="43" y="278"/>
                  <a:pt x="43" y="278"/>
                  <a:pt x="43" y="278"/>
                </a:cubicBezTo>
                <a:cubicBezTo>
                  <a:pt x="43" y="277"/>
                  <a:pt x="43" y="277"/>
                  <a:pt x="43" y="277"/>
                </a:cubicBezTo>
                <a:cubicBezTo>
                  <a:pt x="43" y="276"/>
                  <a:pt x="43" y="276"/>
                  <a:pt x="43" y="276"/>
                </a:cubicBezTo>
                <a:cubicBezTo>
                  <a:pt x="43" y="274"/>
                  <a:pt x="43" y="274"/>
                  <a:pt x="43" y="274"/>
                </a:cubicBezTo>
                <a:cubicBezTo>
                  <a:pt x="43" y="272"/>
                  <a:pt x="43" y="272"/>
                  <a:pt x="43" y="272"/>
                </a:cubicBezTo>
                <a:cubicBezTo>
                  <a:pt x="43" y="271"/>
                  <a:pt x="43" y="271"/>
                  <a:pt x="43" y="271"/>
                </a:cubicBezTo>
                <a:cubicBezTo>
                  <a:pt x="43" y="270"/>
                  <a:pt x="43" y="270"/>
                  <a:pt x="43" y="270"/>
                </a:cubicBezTo>
                <a:cubicBezTo>
                  <a:pt x="44" y="269"/>
                  <a:pt x="44" y="269"/>
                  <a:pt x="44" y="269"/>
                </a:cubicBezTo>
                <a:cubicBezTo>
                  <a:pt x="46" y="268"/>
                  <a:pt x="46" y="268"/>
                  <a:pt x="46" y="268"/>
                </a:cubicBezTo>
                <a:cubicBezTo>
                  <a:pt x="47" y="267"/>
                  <a:pt x="47" y="267"/>
                  <a:pt x="47" y="267"/>
                </a:cubicBezTo>
                <a:cubicBezTo>
                  <a:pt x="48" y="267"/>
                  <a:pt x="48" y="267"/>
                  <a:pt x="48" y="267"/>
                </a:cubicBezTo>
                <a:cubicBezTo>
                  <a:pt x="49" y="267"/>
                  <a:pt x="49" y="267"/>
                  <a:pt x="49" y="267"/>
                </a:cubicBezTo>
                <a:cubicBezTo>
                  <a:pt x="48" y="265"/>
                  <a:pt x="48" y="265"/>
                  <a:pt x="48" y="265"/>
                </a:cubicBezTo>
                <a:cubicBezTo>
                  <a:pt x="49" y="265"/>
                  <a:pt x="49" y="265"/>
                  <a:pt x="49" y="265"/>
                </a:cubicBezTo>
                <a:cubicBezTo>
                  <a:pt x="51" y="264"/>
                  <a:pt x="51" y="264"/>
                  <a:pt x="51" y="264"/>
                </a:cubicBezTo>
                <a:cubicBezTo>
                  <a:pt x="52" y="265"/>
                  <a:pt x="52" y="265"/>
                  <a:pt x="52" y="265"/>
                </a:cubicBezTo>
                <a:cubicBezTo>
                  <a:pt x="53" y="265"/>
                  <a:pt x="53" y="265"/>
                  <a:pt x="53" y="265"/>
                </a:cubicBezTo>
                <a:cubicBezTo>
                  <a:pt x="53" y="265"/>
                  <a:pt x="53" y="265"/>
                  <a:pt x="53" y="265"/>
                </a:cubicBezTo>
                <a:close/>
                <a:moveTo>
                  <a:pt x="66" y="298"/>
                </a:moveTo>
                <a:cubicBezTo>
                  <a:pt x="66" y="299"/>
                  <a:pt x="66" y="299"/>
                  <a:pt x="66" y="299"/>
                </a:cubicBezTo>
                <a:cubicBezTo>
                  <a:pt x="67" y="298"/>
                  <a:pt x="67" y="298"/>
                  <a:pt x="67" y="298"/>
                </a:cubicBezTo>
                <a:cubicBezTo>
                  <a:pt x="66" y="298"/>
                  <a:pt x="66" y="298"/>
                  <a:pt x="66" y="298"/>
                </a:cubicBezTo>
                <a:cubicBezTo>
                  <a:pt x="66" y="298"/>
                  <a:pt x="66" y="298"/>
                  <a:pt x="66" y="298"/>
                </a:cubicBezTo>
                <a:close/>
                <a:moveTo>
                  <a:pt x="9" y="184"/>
                </a:moveTo>
                <a:cubicBezTo>
                  <a:pt x="8" y="184"/>
                  <a:pt x="8" y="184"/>
                  <a:pt x="8" y="184"/>
                </a:cubicBezTo>
                <a:cubicBezTo>
                  <a:pt x="7" y="184"/>
                  <a:pt x="7" y="184"/>
                  <a:pt x="7" y="184"/>
                </a:cubicBezTo>
                <a:cubicBezTo>
                  <a:pt x="7" y="184"/>
                  <a:pt x="7" y="184"/>
                  <a:pt x="7" y="184"/>
                </a:cubicBezTo>
                <a:cubicBezTo>
                  <a:pt x="8" y="186"/>
                  <a:pt x="8" y="186"/>
                  <a:pt x="8" y="186"/>
                </a:cubicBezTo>
                <a:cubicBezTo>
                  <a:pt x="8" y="186"/>
                  <a:pt x="8" y="186"/>
                  <a:pt x="8" y="186"/>
                </a:cubicBezTo>
                <a:cubicBezTo>
                  <a:pt x="9" y="188"/>
                  <a:pt x="9" y="188"/>
                  <a:pt x="9" y="188"/>
                </a:cubicBezTo>
                <a:cubicBezTo>
                  <a:pt x="9" y="188"/>
                  <a:pt x="9" y="188"/>
                  <a:pt x="9" y="188"/>
                </a:cubicBezTo>
                <a:cubicBezTo>
                  <a:pt x="8" y="187"/>
                  <a:pt x="8" y="187"/>
                  <a:pt x="8" y="187"/>
                </a:cubicBezTo>
                <a:cubicBezTo>
                  <a:pt x="7" y="188"/>
                  <a:pt x="7" y="188"/>
                  <a:pt x="7" y="188"/>
                </a:cubicBezTo>
                <a:cubicBezTo>
                  <a:pt x="7" y="190"/>
                  <a:pt x="7" y="190"/>
                  <a:pt x="7" y="190"/>
                </a:cubicBezTo>
                <a:cubicBezTo>
                  <a:pt x="7" y="190"/>
                  <a:pt x="7" y="190"/>
                  <a:pt x="7" y="190"/>
                </a:cubicBezTo>
                <a:cubicBezTo>
                  <a:pt x="5" y="190"/>
                  <a:pt x="5" y="190"/>
                  <a:pt x="5" y="190"/>
                </a:cubicBezTo>
                <a:cubicBezTo>
                  <a:pt x="4" y="190"/>
                  <a:pt x="4" y="190"/>
                  <a:pt x="4" y="190"/>
                </a:cubicBezTo>
                <a:cubicBezTo>
                  <a:pt x="4" y="188"/>
                  <a:pt x="4" y="188"/>
                  <a:pt x="4" y="188"/>
                </a:cubicBezTo>
                <a:cubicBezTo>
                  <a:pt x="4" y="184"/>
                  <a:pt x="4" y="184"/>
                  <a:pt x="4" y="184"/>
                </a:cubicBezTo>
                <a:cubicBezTo>
                  <a:pt x="4" y="183"/>
                  <a:pt x="4" y="183"/>
                  <a:pt x="4" y="183"/>
                </a:cubicBezTo>
                <a:cubicBezTo>
                  <a:pt x="3" y="183"/>
                  <a:pt x="3" y="183"/>
                  <a:pt x="3" y="183"/>
                </a:cubicBezTo>
                <a:cubicBezTo>
                  <a:pt x="3" y="182"/>
                  <a:pt x="3" y="182"/>
                  <a:pt x="3" y="182"/>
                </a:cubicBezTo>
                <a:cubicBezTo>
                  <a:pt x="3" y="181"/>
                  <a:pt x="3" y="181"/>
                  <a:pt x="3" y="181"/>
                </a:cubicBezTo>
                <a:cubicBezTo>
                  <a:pt x="4" y="180"/>
                  <a:pt x="4" y="180"/>
                  <a:pt x="4" y="180"/>
                </a:cubicBezTo>
                <a:cubicBezTo>
                  <a:pt x="4" y="179"/>
                  <a:pt x="4" y="179"/>
                  <a:pt x="4" y="179"/>
                </a:cubicBezTo>
                <a:cubicBezTo>
                  <a:pt x="4" y="179"/>
                  <a:pt x="4" y="179"/>
                  <a:pt x="4" y="179"/>
                </a:cubicBezTo>
                <a:cubicBezTo>
                  <a:pt x="4" y="178"/>
                  <a:pt x="4" y="178"/>
                  <a:pt x="4" y="178"/>
                </a:cubicBezTo>
                <a:cubicBezTo>
                  <a:pt x="5" y="177"/>
                  <a:pt x="5" y="177"/>
                  <a:pt x="5" y="177"/>
                </a:cubicBezTo>
                <a:cubicBezTo>
                  <a:pt x="6" y="177"/>
                  <a:pt x="6" y="177"/>
                  <a:pt x="6" y="177"/>
                </a:cubicBezTo>
                <a:cubicBezTo>
                  <a:pt x="7" y="178"/>
                  <a:pt x="7" y="178"/>
                  <a:pt x="7" y="178"/>
                </a:cubicBezTo>
                <a:cubicBezTo>
                  <a:pt x="8" y="179"/>
                  <a:pt x="8" y="179"/>
                  <a:pt x="8" y="179"/>
                </a:cubicBezTo>
                <a:cubicBezTo>
                  <a:pt x="8" y="181"/>
                  <a:pt x="8" y="181"/>
                  <a:pt x="8" y="181"/>
                </a:cubicBezTo>
                <a:cubicBezTo>
                  <a:pt x="8" y="181"/>
                  <a:pt x="8" y="181"/>
                  <a:pt x="8" y="181"/>
                </a:cubicBezTo>
                <a:cubicBezTo>
                  <a:pt x="8" y="183"/>
                  <a:pt x="8" y="183"/>
                  <a:pt x="8" y="183"/>
                </a:cubicBezTo>
                <a:cubicBezTo>
                  <a:pt x="7" y="182"/>
                  <a:pt x="7" y="182"/>
                  <a:pt x="7" y="182"/>
                </a:cubicBezTo>
                <a:cubicBezTo>
                  <a:pt x="8" y="183"/>
                  <a:pt x="8" y="183"/>
                  <a:pt x="8" y="183"/>
                </a:cubicBezTo>
                <a:cubicBezTo>
                  <a:pt x="9" y="184"/>
                  <a:pt x="9" y="184"/>
                  <a:pt x="9" y="184"/>
                </a:cubicBezTo>
                <a:cubicBezTo>
                  <a:pt x="9" y="184"/>
                  <a:pt x="9" y="184"/>
                  <a:pt x="9" y="184"/>
                </a:cubicBezTo>
                <a:close/>
                <a:moveTo>
                  <a:pt x="10" y="181"/>
                </a:moveTo>
                <a:cubicBezTo>
                  <a:pt x="11" y="181"/>
                  <a:pt x="11" y="181"/>
                  <a:pt x="11" y="181"/>
                </a:cubicBezTo>
                <a:cubicBezTo>
                  <a:pt x="11" y="181"/>
                  <a:pt x="11" y="181"/>
                  <a:pt x="11" y="181"/>
                </a:cubicBezTo>
                <a:cubicBezTo>
                  <a:pt x="11" y="182"/>
                  <a:pt x="11" y="182"/>
                  <a:pt x="11" y="182"/>
                </a:cubicBezTo>
                <a:cubicBezTo>
                  <a:pt x="10" y="181"/>
                  <a:pt x="10" y="181"/>
                  <a:pt x="10" y="181"/>
                </a:cubicBezTo>
                <a:close/>
                <a:moveTo>
                  <a:pt x="2" y="193"/>
                </a:moveTo>
                <a:cubicBezTo>
                  <a:pt x="3" y="192"/>
                  <a:pt x="3" y="192"/>
                  <a:pt x="3" y="192"/>
                </a:cubicBezTo>
                <a:cubicBezTo>
                  <a:pt x="4" y="192"/>
                  <a:pt x="4" y="192"/>
                  <a:pt x="4" y="192"/>
                </a:cubicBezTo>
                <a:cubicBezTo>
                  <a:pt x="5" y="193"/>
                  <a:pt x="5" y="193"/>
                  <a:pt x="5" y="193"/>
                </a:cubicBezTo>
                <a:cubicBezTo>
                  <a:pt x="3" y="194"/>
                  <a:pt x="3" y="194"/>
                  <a:pt x="3" y="194"/>
                </a:cubicBezTo>
                <a:cubicBezTo>
                  <a:pt x="2" y="193"/>
                  <a:pt x="2" y="193"/>
                  <a:pt x="2" y="193"/>
                </a:cubicBezTo>
                <a:close/>
                <a:moveTo>
                  <a:pt x="11" y="194"/>
                </a:moveTo>
                <a:cubicBezTo>
                  <a:pt x="12" y="194"/>
                  <a:pt x="12" y="194"/>
                  <a:pt x="12" y="194"/>
                </a:cubicBezTo>
                <a:cubicBezTo>
                  <a:pt x="12" y="194"/>
                  <a:pt x="12" y="194"/>
                  <a:pt x="12" y="194"/>
                </a:cubicBezTo>
                <a:cubicBezTo>
                  <a:pt x="11" y="195"/>
                  <a:pt x="11" y="195"/>
                  <a:pt x="11" y="195"/>
                </a:cubicBezTo>
                <a:cubicBezTo>
                  <a:pt x="11" y="194"/>
                  <a:pt x="11" y="194"/>
                  <a:pt x="11" y="194"/>
                </a:cubicBezTo>
                <a:close/>
                <a:moveTo>
                  <a:pt x="9" y="194"/>
                </a:moveTo>
                <a:cubicBezTo>
                  <a:pt x="10" y="194"/>
                  <a:pt x="10" y="194"/>
                  <a:pt x="10" y="194"/>
                </a:cubicBezTo>
                <a:cubicBezTo>
                  <a:pt x="10" y="196"/>
                  <a:pt x="10" y="196"/>
                  <a:pt x="10" y="196"/>
                </a:cubicBezTo>
                <a:cubicBezTo>
                  <a:pt x="9" y="196"/>
                  <a:pt x="9" y="196"/>
                  <a:pt x="9" y="196"/>
                </a:cubicBezTo>
                <a:cubicBezTo>
                  <a:pt x="9" y="195"/>
                  <a:pt x="9" y="195"/>
                  <a:pt x="9" y="195"/>
                </a:cubicBezTo>
                <a:cubicBezTo>
                  <a:pt x="8" y="195"/>
                  <a:pt x="8" y="195"/>
                  <a:pt x="8" y="195"/>
                </a:cubicBezTo>
                <a:cubicBezTo>
                  <a:pt x="9" y="194"/>
                  <a:pt x="9" y="194"/>
                  <a:pt x="9" y="194"/>
                </a:cubicBezTo>
                <a:close/>
                <a:moveTo>
                  <a:pt x="6" y="194"/>
                </a:moveTo>
                <a:cubicBezTo>
                  <a:pt x="7" y="193"/>
                  <a:pt x="7" y="193"/>
                  <a:pt x="7" y="193"/>
                </a:cubicBezTo>
                <a:cubicBezTo>
                  <a:pt x="8" y="194"/>
                  <a:pt x="8" y="194"/>
                  <a:pt x="8" y="194"/>
                </a:cubicBezTo>
                <a:cubicBezTo>
                  <a:pt x="7" y="194"/>
                  <a:pt x="7" y="194"/>
                  <a:pt x="7" y="194"/>
                </a:cubicBezTo>
                <a:cubicBezTo>
                  <a:pt x="6" y="194"/>
                  <a:pt x="6" y="194"/>
                  <a:pt x="6" y="194"/>
                </a:cubicBezTo>
                <a:close/>
                <a:moveTo>
                  <a:pt x="7" y="196"/>
                </a:moveTo>
                <a:cubicBezTo>
                  <a:pt x="7" y="196"/>
                  <a:pt x="7" y="196"/>
                  <a:pt x="7" y="196"/>
                </a:cubicBezTo>
                <a:cubicBezTo>
                  <a:pt x="8" y="196"/>
                  <a:pt x="8" y="196"/>
                  <a:pt x="8" y="196"/>
                </a:cubicBezTo>
                <a:cubicBezTo>
                  <a:pt x="7" y="197"/>
                  <a:pt x="7" y="197"/>
                  <a:pt x="7" y="197"/>
                </a:cubicBezTo>
                <a:cubicBezTo>
                  <a:pt x="7" y="196"/>
                  <a:pt x="7" y="196"/>
                  <a:pt x="7" y="196"/>
                </a:cubicBezTo>
                <a:close/>
                <a:moveTo>
                  <a:pt x="5" y="198"/>
                </a:moveTo>
                <a:cubicBezTo>
                  <a:pt x="6" y="197"/>
                  <a:pt x="6" y="197"/>
                  <a:pt x="6" y="197"/>
                </a:cubicBezTo>
                <a:cubicBezTo>
                  <a:pt x="6" y="197"/>
                  <a:pt x="6" y="197"/>
                  <a:pt x="6" y="197"/>
                </a:cubicBezTo>
                <a:cubicBezTo>
                  <a:pt x="7" y="198"/>
                  <a:pt x="7" y="198"/>
                  <a:pt x="7" y="198"/>
                </a:cubicBezTo>
                <a:cubicBezTo>
                  <a:pt x="7" y="198"/>
                  <a:pt x="7" y="198"/>
                  <a:pt x="7" y="198"/>
                </a:cubicBezTo>
                <a:cubicBezTo>
                  <a:pt x="6" y="198"/>
                  <a:pt x="6" y="198"/>
                  <a:pt x="6" y="198"/>
                </a:cubicBezTo>
                <a:cubicBezTo>
                  <a:pt x="5" y="198"/>
                  <a:pt x="5" y="198"/>
                  <a:pt x="5" y="198"/>
                </a:cubicBezTo>
                <a:cubicBezTo>
                  <a:pt x="5" y="198"/>
                  <a:pt x="5" y="198"/>
                  <a:pt x="5" y="198"/>
                </a:cubicBezTo>
                <a:close/>
                <a:moveTo>
                  <a:pt x="4" y="200"/>
                </a:moveTo>
                <a:cubicBezTo>
                  <a:pt x="5" y="200"/>
                  <a:pt x="5" y="200"/>
                  <a:pt x="5" y="200"/>
                </a:cubicBezTo>
                <a:cubicBezTo>
                  <a:pt x="4" y="201"/>
                  <a:pt x="4" y="201"/>
                  <a:pt x="4" y="201"/>
                </a:cubicBezTo>
                <a:cubicBezTo>
                  <a:pt x="3" y="201"/>
                  <a:pt x="3" y="201"/>
                  <a:pt x="3" y="201"/>
                </a:cubicBezTo>
                <a:cubicBezTo>
                  <a:pt x="4" y="200"/>
                  <a:pt x="4" y="200"/>
                  <a:pt x="4" y="200"/>
                </a:cubicBezTo>
                <a:close/>
                <a:moveTo>
                  <a:pt x="10" y="199"/>
                </a:moveTo>
                <a:cubicBezTo>
                  <a:pt x="10" y="201"/>
                  <a:pt x="10" y="201"/>
                  <a:pt x="10" y="201"/>
                </a:cubicBezTo>
                <a:cubicBezTo>
                  <a:pt x="10" y="201"/>
                  <a:pt x="10" y="201"/>
                  <a:pt x="10" y="201"/>
                </a:cubicBezTo>
                <a:cubicBezTo>
                  <a:pt x="10" y="199"/>
                  <a:pt x="10" y="199"/>
                  <a:pt x="10" y="199"/>
                </a:cubicBezTo>
                <a:close/>
                <a:moveTo>
                  <a:pt x="8" y="199"/>
                </a:moveTo>
                <a:cubicBezTo>
                  <a:pt x="9" y="198"/>
                  <a:pt x="9" y="198"/>
                  <a:pt x="9" y="198"/>
                </a:cubicBezTo>
                <a:cubicBezTo>
                  <a:pt x="9" y="200"/>
                  <a:pt x="9" y="200"/>
                  <a:pt x="9" y="200"/>
                </a:cubicBezTo>
                <a:cubicBezTo>
                  <a:pt x="8" y="199"/>
                  <a:pt x="8" y="199"/>
                  <a:pt x="8" y="199"/>
                </a:cubicBezTo>
                <a:close/>
                <a:moveTo>
                  <a:pt x="5" y="209"/>
                </a:moveTo>
                <a:cubicBezTo>
                  <a:pt x="6" y="209"/>
                  <a:pt x="6" y="209"/>
                  <a:pt x="6" y="209"/>
                </a:cubicBezTo>
                <a:cubicBezTo>
                  <a:pt x="6" y="210"/>
                  <a:pt x="6" y="210"/>
                  <a:pt x="6" y="210"/>
                </a:cubicBezTo>
                <a:cubicBezTo>
                  <a:pt x="5" y="210"/>
                  <a:pt x="5" y="210"/>
                  <a:pt x="5" y="210"/>
                </a:cubicBezTo>
                <a:cubicBezTo>
                  <a:pt x="5" y="209"/>
                  <a:pt x="5" y="209"/>
                  <a:pt x="5" y="209"/>
                </a:cubicBezTo>
                <a:close/>
                <a:moveTo>
                  <a:pt x="5" y="201"/>
                </a:moveTo>
                <a:cubicBezTo>
                  <a:pt x="5" y="200"/>
                  <a:pt x="5" y="200"/>
                  <a:pt x="5" y="200"/>
                </a:cubicBezTo>
                <a:cubicBezTo>
                  <a:pt x="5" y="199"/>
                  <a:pt x="5" y="199"/>
                  <a:pt x="5" y="199"/>
                </a:cubicBezTo>
                <a:cubicBezTo>
                  <a:pt x="6" y="199"/>
                  <a:pt x="6" y="199"/>
                  <a:pt x="6" y="199"/>
                </a:cubicBezTo>
                <a:cubicBezTo>
                  <a:pt x="7" y="200"/>
                  <a:pt x="7" y="200"/>
                  <a:pt x="7" y="200"/>
                </a:cubicBezTo>
                <a:cubicBezTo>
                  <a:pt x="6" y="200"/>
                  <a:pt x="6" y="200"/>
                  <a:pt x="6" y="200"/>
                </a:cubicBezTo>
                <a:cubicBezTo>
                  <a:pt x="5" y="201"/>
                  <a:pt x="5" y="201"/>
                  <a:pt x="5" y="201"/>
                </a:cubicBezTo>
                <a:close/>
                <a:moveTo>
                  <a:pt x="3" y="203"/>
                </a:moveTo>
                <a:cubicBezTo>
                  <a:pt x="1" y="202"/>
                  <a:pt x="1" y="202"/>
                  <a:pt x="1" y="202"/>
                </a:cubicBezTo>
                <a:cubicBezTo>
                  <a:pt x="1" y="201"/>
                  <a:pt x="1" y="201"/>
                  <a:pt x="1" y="201"/>
                </a:cubicBezTo>
                <a:cubicBezTo>
                  <a:pt x="3" y="201"/>
                  <a:pt x="3" y="201"/>
                  <a:pt x="3" y="201"/>
                </a:cubicBezTo>
                <a:cubicBezTo>
                  <a:pt x="3" y="202"/>
                  <a:pt x="3" y="202"/>
                  <a:pt x="3" y="202"/>
                </a:cubicBezTo>
                <a:cubicBezTo>
                  <a:pt x="3" y="203"/>
                  <a:pt x="3" y="203"/>
                  <a:pt x="3" y="203"/>
                </a:cubicBezTo>
                <a:close/>
                <a:moveTo>
                  <a:pt x="7" y="207"/>
                </a:moveTo>
                <a:cubicBezTo>
                  <a:pt x="8" y="207"/>
                  <a:pt x="8" y="207"/>
                  <a:pt x="8" y="207"/>
                </a:cubicBezTo>
                <a:cubicBezTo>
                  <a:pt x="8" y="208"/>
                  <a:pt x="8" y="208"/>
                  <a:pt x="8" y="208"/>
                </a:cubicBezTo>
                <a:cubicBezTo>
                  <a:pt x="7" y="207"/>
                  <a:pt x="7" y="207"/>
                  <a:pt x="7" y="207"/>
                </a:cubicBezTo>
                <a:close/>
                <a:moveTo>
                  <a:pt x="9" y="208"/>
                </a:moveTo>
                <a:cubicBezTo>
                  <a:pt x="10" y="208"/>
                  <a:pt x="10" y="208"/>
                  <a:pt x="10" y="208"/>
                </a:cubicBezTo>
                <a:cubicBezTo>
                  <a:pt x="9" y="209"/>
                  <a:pt x="9" y="209"/>
                  <a:pt x="9" y="209"/>
                </a:cubicBezTo>
                <a:cubicBezTo>
                  <a:pt x="9" y="208"/>
                  <a:pt x="9" y="208"/>
                  <a:pt x="9" y="208"/>
                </a:cubicBezTo>
                <a:close/>
                <a:moveTo>
                  <a:pt x="11" y="197"/>
                </a:moveTo>
                <a:cubicBezTo>
                  <a:pt x="12" y="197"/>
                  <a:pt x="12" y="197"/>
                  <a:pt x="12" y="197"/>
                </a:cubicBezTo>
                <a:cubicBezTo>
                  <a:pt x="13" y="198"/>
                  <a:pt x="13" y="198"/>
                  <a:pt x="13" y="198"/>
                </a:cubicBezTo>
                <a:cubicBezTo>
                  <a:pt x="11" y="198"/>
                  <a:pt x="11" y="198"/>
                  <a:pt x="11" y="198"/>
                </a:cubicBezTo>
                <a:cubicBezTo>
                  <a:pt x="11" y="197"/>
                  <a:pt x="11" y="197"/>
                  <a:pt x="11" y="197"/>
                </a:cubicBezTo>
                <a:close/>
                <a:moveTo>
                  <a:pt x="13" y="198"/>
                </a:moveTo>
                <a:cubicBezTo>
                  <a:pt x="14" y="199"/>
                  <a:pt x="14" y="199"/>
                  <a:pt x="14" y="199"/>
                </a:cubicBezTo>
                <a:cubicBezTo>
                  <a:pt x="15" y="199"/>
                  <a:pt x="15" y="199"/>
                  <a:pt x="15" y="199"/>
                </a:cubicBezTo>
                <a:cubicBezTo>
                  <a:pt x="16" y="201"/>
                  <a:pt x="16" y="201"/>
                  <a:pt x="16" y="201"/>
                </a:cubicBezTo>
                <a:cubicBezTo>
                  <a:pt x="15" y="202"/>
                  <a:pt x="15" y="202"/>
                  <a:pt x="15" y="202"/>
                </a:cubicBezTo>
                <a:cubicBezTo>
                  <a:pt x="15" y="202"/>
                  <a:pt x="15" y="202"/>
                  <a:pt x="15" y="202"/>
                </a:cubicBezTo>
                <a:cubicBezTo>
                  <a:pt x="14" y="203"/>
                  <a:pt x="14" y="203"/>
                  <a:pt x="14" y="203"/>
                </a:cubicBezTo>
                <a:cubicBezTo>
                  <a:pt x="13" y="202"/>
                  <a:pt x="13" y="202"/>
                  <a:pt x="13" y="202"/>
                </a:cubicBezTo>
                <a:cubicBezTo>
                  <a:pt x="13" y="202"/>
                  <a:pt x="13" y="202"/>
                  <a:pt x="13" y="202"/>
                </a:cubicBezTo>
                <a:cubicBezTo>
                  <a:pt x="12" y="203"/>
                  <a:pt x="12" y="203"/>
                  <a:pt x="12" y="203"/>
                </a:cubicBezTo>
                <a:cubicBezTo>
                  <a:pt x="12" y="202"/>
                  <a:pt x="12" y="202"/>
                  <a:pt x="12" y="202"/>
                </a:cubicBezTo>
                <a:cubicBezTo>
                  <a:pt x="11" y="201"/>
                  <a:pt x="11" y="201"/>
                  <a:pt x="11" y="201"/>
                </a:cubicBezTo>
                <a:cubicBezTo>
                  <a:pt x="12" y="199"/>
                  <a:pt x="12" y="199"/>
                  <a:pt x="12" y="199"/>
                </a:cubicBezTo>
                <a:cubicBezTo>
                  <a:pt x="13" y="198"/>
                  <a:pt x="13" y="198"/>
                  <a:pt x="13" y="198"/>
                </a:cubicBezTo>
                <a:close/>
                <a:moveTo>
                  <a:pt x="6" y="202"/>
                </a:moveTo>
                <a:cubicBezTo>
                  <a:pt x="7" y="201"/>
                  <a:pt x="7" y="201"/>
                  <a:pt x="7" y="201"/>
                </a:cubicBezTo>
                <a:cubicBezTo>
                  <a:pt x="9" y="201"/>
                  <a:pt x="9" y="201"/>
                  <a:pt x="9" y="201"/>
                </a:cubicBezTo>
                <a:cubicBezTo>
                  <a:pt x="9" y="202"/>
                  <a:pt x="9" y="202"/>
                  <a:pt x="9" y="202"/>
                </a:cubicBezTo>
                <a:cubicBezTo>
                  <a:pt x="7" y="202"/>
                  <a:pt x="7" y="202"/>
                  <a:pt x="7" y="202"/>
                </a:cubicBezTo>
                <a:cubicBezTo>
                  <a:pt x="7" y="203"/>
                  <a:pt x="7" y="203"/>
                  <a:pt x="7" y="203"/>
                </a:cubicBezTo>
                <a:cubicBezTo>
                  <a:pt x="7" y="203"/>
                  <a:pt x="6" y="202"/>
                  <a:pt x="6" y="202"/>
                </a:cubicBezTo>
                <a:close/>
                <a:moveTo>
                  <a:pt x="8" y="204"/>
                </a:moveTo>
                <a:cubicBezTo>
                  <a:pt x="7" y="204"/>
                  <a:pt x="7" y="204"/>
                  <a:pt x="7" y="204"/>
                </a:cubicBezTo>
                <a:cubicBezTo>
                  <a:pt x="8" y="203"/>
                  <a:pt x="8" y="203"/>
                  <a:pt x="8" y="203"/>
                </a:cubicBezTo>
                <a:cubicBezTo>
                  <a:pt x="9" y="203"/>
                  <a:pt x="9" y="203"/>
                  <a:pt x="9" y="203"/>
                </a:cubicBezTo>
                <a:cubicBezTo>
                  <a:pt x="9" y="204"/>
                  <a:pt x="9" y="204"/>
                  <a:pt x="9" y="204"/>
                </a:cubicBezTo>
                <a:cubicBezTo>
                  <a:pt x="8" y="204"/>
                  <a:pt x="8" y="204"/>
                  <a:pt x="8" y="204"/>
                </a:cubicBezTo>
                <a:close/>
                <a:moveTo>
                  <a:pt x="8" y="205"/>
                </a:moveTo>
                <a:cubicBezTo>
                  <a:pt x="9" y="205"/>
                  <a:pt x="9" y="205"/>
                  <a:pt x="9" y="205"/>
                </a:cubicBezTo>
                <a:cubicBezTo>
                  <a:pt x="11" y="205"/>
                  <a:pt x="11" y="205"/>
                  <a:pt x="11" y="205"/>
                </a:cubicBezTo>
                <a:cubicBezTo>
                  <a:pt x="11" y="207"/>
                  <a:pt x="11" y="207"/>
                  <a:pt x="11" y="207"/>
                </a:cubicBezTo>
                <a:cubicBezTo>
                  <a:pt x="10" y="208"/>
                  <a:pt x="10" y="208"/>
                  <a:pt x="10" y="208"/>
                </a:cubicBezTo>
                <a:cubicBezTo>
                  <a:pt x="9" y="207"/>
                  <a:pt x="9" y="207"/>
                  <a:pt x="9" y="207"/>
                </a:cubicBezTo>
                <a:cubicBezTo>
                  <a:pt x="9" y="206"/>
                  <a:pt x="9" y="206"/>
                  <a:pt x="9" y="206"/>
                </a:cubicBezTo>
                <a:cubicBezTo>
                  <a:pt x="8" y="205"/>
                  <a:pt x="8" y="205"/>
                  <a:pt x="8" y="205"/>
                </a:cubicBezTo>
                <a:close/>
                <a:moveTo>
                  <a:pt x="6" y="209"/>
                </a:moveTo>
                <a:cubicBezTo>
                  <a:pt x="7" y="208"/>
                  <a:pt x="7" y="208"/>
                  <a:pt x="7" y="208"/>
                </a:cubicBezTo>
                <a:cubicBezTo>
                  <a:pt x="7" y="208"/>
                  <a:pt x="7" y="208"/>
                  <a:pt x="7" y="208"/>
                </a:cubicBezTo>
                <a:cubicBezTo>
                  <a:pt x="8" y="209"/>
                  <a:pt x="8" y="209"/>
                  <a:pt x="8" y="209"/>
                </a:cubicBezTo>
                <a:cubicBezTo>
                  <a:pt x="9" y="210"/>
                  <a:pt x="9" y="210"/>
                  <a:pt x="9" y="210"/>
                </a:cubicBezTo>
                <a:cubicBezTo>
                  <a:pt x="8" y="210"/>
                  <a:pt x="8" y="210"/>
                  <a:pt x="8" y="210"/>
                </a:cubicBezTo>
                <a:cubicBezTo>
                  <a:pt x="6" y="209"/>
                  <a:pt x="6" y="209"/>
                  <a:pt x="6" y="209"/>
                </a:cubicBezTo>
                <a:close/>
                <a:moveTo>
                  <a:pt x="10" y="233"/>
                </a:moveTo>
                <a:cubicBezTo>
                  <a:pt x="10" y="232"/>
                  <a:pt x="10" y="232"/>
                  <a:pt x="10" y="232"/>
                </a:cubicBezTo>
                <a:cubicBezTo>
                  <a:pt x="10" y="232"/>
                  <a:pt x="10" y="232"/>
                  <a:pt x="10" y="232"/>
                </a:cubicBezTo>
                <a:cubicBezTo>
                  <a:pt x="10" y="232"/>
                  <a:pt x="10" y="232"/>
                  <a:pt x="10" y="232"/>
                </a:cubicBezTo>
                <a:cubicBezTo>
                  <a:pt x="8" y="230"/>
                  <a:pt x="8" y="230"/>
                  <a:pt x="8" y="230"/>
                </a:cubicBezTo>
                <a:cubicBezTo>
                  <a:pt x="7" y="229"/>
                  <a:pt x="7" y="229"/>
                  <a:pt x="7" y="229"/>
                </a:cubicBezTo>
                <a:cubicBezTo>
                  <a:pt x="7" y="228"/>
                  <a:pt x="7" y="228"/>
                  <a:pt x="7" y="228"/>
                </a:cubicBezTo>
                <a:cubicBezTo>
                  <a:pt x="8" y="228"/>
                  <a:pt x="8" y="228"/>
                  <a:pt x="8" y="228"/>
                </a:cubicBezTo>
                <a:cubicBezTo>
                  <a:pt x="9" y="228"/>
                  <a:pt x="9" y="228"/>
                  <a:pt x="9" y="228"/>
                </a:cubicBezTo>
                <a:cubicBezTo>
                  <a:pt x="10" y="230"/>
                  <a:pt x="10" y="230"/>
                  <a:pt x="10" y="230"/>
                </a:cubicBezTo>
                <a:cubicBezTo>
                  <a:pt x="11" y="230"/>
                  <a:pt x="11" y="230"/>
                  <a:pt x="11" y="230"/>
                </a:cubicBezTo>
                <a:cubicBezTo>
                  <a:pt x="11" y="231"/>
                  <a:pt x="11" y="231"/>
                  <a:pt x="11" y="231"/>
                </a:cubicBezTo>
                <a:cubicBezTo>
                  <a:pt x="12" y="232"/>
                  <a:pt x="12" y="232"/>
                  <a:pt x="12" y="232"/>
                </a:cubicBezTo>
                <a:cubicBezTo>
                  <a:pt x="13" y="234"/>
                  <a:pt x="13" y="234"/>
                  <a:pt x="13" y="234"/>
                </a:cubicBezTo>
                <a:cubicBezTo>
                  <a:pt x="11" y="234"/>
                  <a:pt x="11" y="234"/>
                  <a:pt x="11" y="234"/>
                </a:cubicBezTo>
                <a:cubicBezTo>
                  <a:pt x="10" y="234"/>
                  <a:pt x="10" y="234"/>
                  <a:pt x="10" y="234"/>
                </a:cubicBezTo>
                <a:cubicBezTo>
                  <a:pt x="10" y="233"/>
                  <a:pt x="10" y="233"/>
                  <a:pt x="10" y="233"/>
                </a:cubicBezTo>
                <a:close/>
                <a:moveTo>
                  <a:pt x="5" y="231"/>
                </a:moveTo>
                <a:cubicBezTo>
                  <a:pt x="5" y="230"/>
                  <a:pt x="5" y="230"/>
                  <a:pt x="5" y="230"/>
                </a:cubicBezTo>
                <a:cubicBezTo>
                  <a:pt x="5" y="229"/>
                  <a:pt x="5" y="229"/>
                  <a:pt x="5" y="229"/>
                </a:cubicBezTo>
                <a:cubicBezTo>
                  <a:pt x="7" y="230"/>
                  <a:pt x="7" y="230"/>
                  <a:pt x="7" y="230"/>
                </a:cubicBezTo>
                <a:cubicBezTo>
                  <a:pt x="8" y="232"/>
                  <a:pt x="8" y="232"/>
                  <a:pt x="8" y="232"/>
                </a:cubicBezTo>
                <a:cubicBezTo>
                  <a:pt x="9" y="234"/>
                  <a:pt x="9" y="234"/>
                  <a:pt x="9" y="234"/>
                </a:cubicBezTo>
                <a:cubicBezTo>
                  <a:pt x="9" y="235"/>
                  <a:pt x="9" y="235"/>
                  <a:pt x="9" y="235"/>
                </a:cubicBezTo>
                <a:cubicBezTo>
                  <a:pt x="9" y="236"/>
                  <a:pt x="9" y="236"/>
                  <a:pt x="9" y="236"/>
                </a:cubicBezTo>
                <a:cubicBezTo>
                  <a:pt x="8" y="235"/>
                  <a:pt x="8" y="235"/>
                  <a:pt x="8" y="235"/>
                </a:cubicBezTo>
                <a:cubicBezTo>
                  <a:pt x="7" y="233"/>
                  <a:pt x="7" y="233"/>
                  <a:pt x="7" y="233"/>
                </a:cubicBezTo>
                <a:cubicBezTo>
                  <a:pt x="7" y="233"/>
                  <a:pt x="7" y="233"/>
                  <a:pt x="7" y="233"/>
                </a:cubicBezTo>
                <a:cubicBezTo>
                  <a:pt x="7" y="232"/>
                  <a:pt x="7" y="232"/>
                  <a:pt x="7" y="232"/>
                </a:cubicBezTo>
                <a:cubicBezTo>
                  <a:pt x="5" y="232"/>
                  <a:pt x="5" y="232"/>
                  <a:pt x="5" y="232"/>
                </a:cubicBezTo>
                <a:cubicBezTo>
                  <a:pt x="5" y="231"/>
                  <a:pt x="5" y="231"/>
                  <a:pt x="5" y="231"/>
                </a:cubicBezTo>
                <a:close/>
                <a:moveTo>
                  <a:pt x="5" y="233"/>
                </a:moveTo>
                <a:cubicBezTo>
                  <a:pt x="6" y="233"/>
                  <a:pt x="6" y="233"/>
                  <a:pt x="6" y="233"/>
                </a:cubicBezTo>
                <a:cubicBezTo>
                  <a:pt x="7" y="233"/>
                  <a:pt x="7" y="233"/>
                  <a:pt x="7" y="233"/>
                </a:cubicBezTo>
                <a:cubicBezTo>
                  <a:pt x="7" y="234"/>
                  <a:pt x="7" y="234"/>
                  <a:pt x="7" y="234"/>
                </a:cubicBezTo>
                <a:cubicBezTo>
                  <a:pt x="7" y="235"/>
                  <a:pt x="7" y="235"/>
                  <a:pt x="7" y="235"/>
                </a:cubicBezTo>
                <a:cubicBezTo>
                  <a:pt x="6" y="235"/>
                  <a:pt x="6" y="235"/>
                  <a:pt x="6" y="235"/>
                </a:cubicBezTo>
                <a:cubicBezTo>
                  <a:pt x="6" y="235"/>
                  <a:pt x="6" y="235"/>
                  <a:pt x="6" y="235"/>
                </a:cubicBezTo>
                <a:cubicBezTo>
                  <a:pt x="5" y="234"/>
                  <a:pt x="5" y="234"/>
                  <a:pt x="5" y="234"/>
                </a:cubicBezTo>
                <a:cubicBezTo>
                  <a:pt x="5" y="233"/>
                  <a:pt x="5" y="233"/>
                  <a:pt x="5" y="233"/>
                </a:cubicBezTo>
                <a:close/>
                <a:moveTo>
                  <a:pt x="8" y="240"/>
                </a:moveTo>
                <a:cubicBezTo>
                  <a:pt x="7" y="240"/>
                  <a:pt x="7" y="240"/>
                  <a:pt x="7" y="240"/>
                </a:cubicBezTo>
                <a:cubicBezTo>
                  <a:pt x="7" y="239"/>
                  <a:pt x="7" y="239"/>
                  <a:pt x="7" y="239"/>
                </a:cubicBezTo>
                <a:cubicBezTo>
                  <a:pt x="7" y="237"/>
                  <a:pt x="7" y="237"/>
                  <a:pt x="7" y="237"/>
                </a:cubicBezTo>
                <a:cubicBezTo>
                  <a:pt x="7" y="236"/>
                  <a:pt x="7" y="236"/>
                  <a:pt x="7" y="236"/>
                </a:cubicBezTo>
                <a:cubicBezTo>
                  <a:pt x="7" y="237"/>
                  <a:pt x="7" y="237"/>
                  <a:pt x="7" y="237"/>
                </a:cubicBezTo>
                <a:cubicBezTo>
                  <a:pt x="9" y="237"/>
                  <a:pt x="9" y="237"/>
                  <a:pt x="9" y="237"/>
                </a:cubicBezTo>
                <a:cubicBezTo>
                  <a:pt x="9" y="238"/>
                  <a:pt x="9" y="238"/>
                  <a:pt x="9" y="238"/>
                </a:cubicBezTo>
                <a:cubicBezTo>
                  <a:pt x="9" y="238"/>
                  <a:pt x="9" y="238"/>
                  <a:pt x="9" y="238"/>
                </a:cubicBezTo>
                <a:cubicBezTo>
                  <a:pt x="8" y="240"/>
                  <a:pt x="8" y="240"/>
                  <a:pt x="8" y="240"/>
                </a:cubicBezTo>
                <a:close/>
                <a:moveTo>
                  <a:pt x="9" y="245"/>
                </a:moveTo>
                <a:cubicBezTo>
                  <a:pt x="8" y="245"/>
                  <a:pt x="8" y="245"/>
                  <a:pt x="8" y="245"/>
                </a:cubicBezTo>
                <a:cubicBezTo>
                  <a:pt x="8" y="245"/>
                  <a:pt x="8" y="245"/>
                  <a:pt x="8" y="245"/>
                </a:cubicBezTo>
                <a:cubicBezTo>
                  <a:pt x="8" y="244"/>
                  <a:pt x="8" y="244"/>
                  <a:pt x="8" y="244"/>
                </a:cubicBezTo>
                <a:cubicBezTo>
                  <a:pt x="7" y="243"/>
                  <a:pt x="7" y="243"/>
                  <a:pt x="7" y="243"/>
                </a:cubicBezTo>
                <a:cubicBezTo>
                  <a:pt x="9" y="243"/>
                  <a:pt x="9" y="243"/>
                  <a:pt x="9" y="243"/>
                </a:cubicBezTo>
                <a:cubicBezTo>
                  <a:pt x="10" y="244"/>
                  <a:pt x="10" y="244"/>
                  <a:pt x="10" y="244"/>
                </a:cubicBezTo>
                <a:cubicBezTo>
                  <a:pt x="9" y="245"/>
                  <a:pt x="9" y="245"/>
                  <a:pt x="9" y="245"/>
                </a:cubicBezTo>
                <a:close/>
                <a:moveTo>
                  <a:pt x="12" y="244"/>
                </a:moveTo>
                <a:cubicBezTo>
                  <a:pt x="12" y="246"/>
                  <a:pt x="12" y="246"/>
                  <a:pt x="12" y="246"/>
                </a:cubicBezTo>
                <a:cubicBezTo>
                  <a:pt x="12" y="246"/>
                  <a:pt x="12" y="246"/>
                  <a:pt x="12" y="246"/>
                </a:cubicBezTo>
                <a:cubicBezTo>
                  <a:pt x="10" y="245"/>
                  <a:pt x="10" y="245"/>
                  <a:pt x="10" y="245"/>
                </a:cubicBezTo>
                <a:cubicBezTo>
                  <a:pt x="10" y="244"/>
                  <a:pt x="10" y="244"/>
                  <a:pt x="10" y="244"/>
                </a:cubicBezTo>
                <a:cubicBezTo>
                  <a:pt x="9" y="241"/>
                  <a:pt x="9" y="241"/>
                  <a:pt x="9" y="241"/>
                </a:cubicBezTo>
                <a:cubicBezTo>
                  <a:pt x="10" y="241"/>
                  <a:pt x="10" y="241"/>
                  <a:pt x="10" y="241"/>
                </a:cubicBezTo>
                <a:cubicBezTo>
                  <a:pt x="11" y="240"/>
                  <a:pt x="11" y="240"/>
                  <a:pt x="11" y="240"/>
                </a:cubicBezTo>
                <a:cubicBezTo>
                  <a:pt x="11" y="239"/>
                  <a:pt x="11" y="239"/>
                  <a:pt x="11" y="239"/>
                </a:cubicBezTo>
                <a:cubicBezTo>
                  <a:pt x="11" y="240"/>
                  <a:pt x="11" y="240"/>
                  <a:pt x="11" y="240"/>
                </a:cubicBezTo>
                <a:cubicBezTo>
                  <a:pt x="10" y="240"/>
                  <a:pt x="10" y="240"/>
                  <a:pt x="10" y="240"/>
                </a:cubicBezTo>
                <a:cubicBezTo>
                  <a:pt x="10" y="239"/>
                  <a:pt x="10" y="239"/>
                  <a:pt x="10" y="239"/>
                </a:cubicBezTo>
                <a:cubicBezTo>
                  <a:pt x="10" y="238"/>
                  <a:pt x="10" y="238"/>
                  <a:pt x="10" y="238"/>
                </a:cubicBezTo>
                <a:cubicBezTo>
                  <a:pt x="9" y="237"/>
                  <a:pt x="9" y="237"/>
                  <a:pt x="9" y="237"/>
                </a:cubicBezTo>
                <a:cubicBezTo>
                  <a:pt x="9" y="236"/>
                  <a:pt x="9" y="236"/>
                  <a:pt x="9" y="236"/>
                </a:cubicBezTo>
                <a:cubicBezTo>
                  <a:pt x="10" y="235"/>
                  <a:pt x="10" y="235"/>
                  <a:pt x="10" y="235"/>
                </a:cubicBezTo>
                <a:cubicBezTo>
                  <a:pt x="12" y="235"/>
                  <a:pt x="12" y="235"/>
                  <a:pt x="12" y="235"/>
                </a:cubicBezTo>
                <a:cubicBezTo>
                  <a:pt x="13" y="236"/>
                  <a:pt x="13" y="236"/>
                  <a:pt x="13" y="236"/>
                </a:cubicBezTo>
                <a:cubicBezTo>
                  <a:pt x="13" y="239"/>
                  <a:pt x="13" y="239"/>
                  <a:pt x="13" y="239"/>
                </a:cubicBezTo>
                <a:cubicBezTo>
                  <a:pt x="14" y="240"/>
                  <a:pt x="14" y="240"/>
                  <a:pt x="14" y="240"/>
                </a:cubicBezTo>
                <a:cubicBezTo>
                  <a:pt x="14" y="242"/>
                  <a:pt x="14" y="242"/>
                  <a:pt x="14" y="242"/>
                </a:cubicBezTo>
                <a:cubicBezTo>
                  <a:pt x="14" y="243"/>
                  <a:pt x="14" y="243"/>
                  <a:pt x="14" y="243"/>
                </a:cubicBezTo>
                <a:cubicBezTo>
                  <a:pt x="15" y="245"/>
                  <a:pt x="15" y="245"/>
                  <a:pt x="15" y="245"/>
                </a:cubicBezTo>
                <a:cubicBezTo>
                  <a:pt x="15" y="246"/>
                  <a:pt x="15" y="246"/>
                  <a:pt x="15" y="246"/>
                </a:cubicBezTo>
                <a:cubicBezTo>
                  <a:pt x="14" y="247"/>
                  <a:pt x="14" y="247"/>
                  <a:pt x="14" y="247"/>
                </a:cubicBezTo>
                <a:cubicBezTo>
                  <a:pt x="13" y="247"/>
                  <a:pt x="13" y="247"/>
                  <a:pt x="13" y="247"/>
                </a:cubicBezTo>
                <a:cubicBezTo>
                  <a:pt x="13" y="245"/>
                  <a:pt x="13" y="245"/>
                  <a:pt x="13" y="245"/>
                </a:cubicBezTo>
                <a:cubicBezTo>
                  <a:pt x="12" y="244"/>
                  <a:pt x="12" y="244"/>
                  <a:pt x="12" y="244"/>
                </a:cubicBezTo>
                <a:close/>
                <a:moveTo>
                  <a:pt x="11" y="251"/>
                </a:moveTo>
                <a:cubicBezTo>
                  <a:pt x="11" y="250"/>
                  <a:pt x="11" y="250"/>
                  <a:pt x="11" y="250"/>
                </a:cubicBezTo>
                <a:cubicBezTo>
                  <a:pt x="10" y="249"/>
                  <a:pt x="10" y="249"/>
                  <a:pt x="10" y="249"/>
                </a:cubicBezTo>
                <a:cubicBezTo>
                  <a:pt x="11" y="249"/>
                  <a:pt x="11" y="249"/>
                  <a:pt x="11" y="249"/>
                </a:cubicBezTo>
                <a:cubicBezTo>
                  <a:pt x="11" y="248"/>
                  <a:pt x="11" y="248"/>
                  <a:pt x="11" y="248"/>
                </a:cubicBezTo>
                <a:cubicBezTo>
                  <a:pt x="11" y="248"/>
                  <a:pt x="11" y="248"/>
                  <a:pt x="11" y="248"/>
                </a:cubicBezTo>
                <a:cubicBezTo>
                  <a:pt x="12" y="248"/>
                  <a:pt x="12" y="248"/>
                  <a:pt x="12" y="248"/>
                </a:cubicBezTo>
                <a:cubicBezTo>
                  <a:pt x="13" y="248"/>
                  <a:pt x="13" y="248"/>
                  <a:pt x="13" y="248"/>
                </a:cubicBezTo>
                <a:cubicBezTo>
                  <a:pt x="13" y="249"/>
                  <a:pt x="13" y="249"/>
                  <a:pt x="13" y="249"/>
                </a:cubicBezTo>
                <a:cubicBezTo>
                  <a:pt x="13" y="250"/>
                  <a:pt x="13" y="250"/>
                  <a:pt x="13" y="250"/>
                </a:cubicBezTo>
                <a:cubicBezTo>
                  <a:pt x="12" y="251"/>
                  <a:pt x="12" y="251"/>
                  <a:pt x="12" y="251"/>
                </a:cubicBezTo>
                <a:cubicBezTo>
                  <a:pt x="11" y="251"/>
                  <a:pt x="11" y="251"/>
                  <a:pt x="11" y="251"/>
                </a:cubicBezTo>
                <a:close/>
                <a:moveTo>
                  <a:pt x="11" y="253"/>
                </a:moveTo>
                <a:cubicBezTo>
                  <a:pt x="11" y="252"/>
                  <a:pt x="11" y="252"/>
                  <a:pt x="11" y="252"/>
                </a:cubicBezTo>
                <a:cubicBezTo>
                  <a:pt x="12" y="252"/>
                  <a:pt x="12" y="252"/>
                  <a:pt x="12" y="252"/>
                </a:cubicBezTo>
                <a:cubicBezTo>
                  <a:pt x="11" y="252"/>
                  <a:pt x="11" y="252"/>
                  <a:pt x="11" y="252"/>
                </a:cubicBezTo>
                <a:cubicBezTo>
                  <a:pt x="11" y="253"/>
                  <a:pt x="11" y="253"/>
                  <a:pt x="11" y="253"/>
                </a:cubicBezTo>
                <a:close/>
                <a:moveTo>
                  <a:pt x="13" y="252"/>
                </a:moveTo>
                <a:cubicBezTo>
                  <a:pt x="14" y="253"/>
                  <a:pt x="14" y="253"/>
                  <a:pt x="14" y="253"/>
                </a:cubicBezTo>
                <a:cubicBezTo>
                  <a:pt x="14" y="254"/>
                  <a:pt x="14" y="254"/>
                  <a:pt x="14" y="254"/>
                </a:cubicBezTo>
                <a:cubicBezTo>
                  <a:pt x="13" y="254"/>
                  <a:pt x="13" y="254"/>
                  <a:pt x="13" y="254"/>
                </a:cubicBezTo>
                <a:cubicBezTo>
                  <a:pt x="13" y="253"/>
                  <a:pt x="13" y="253"/>
                  <a:pt x="13" y="253"/>
                </a:cubicBezTo>
                <a:cubicBezTo>
                  <a:pt x="13" y="252"/>
                  <a:pt x="13" y="252"/>
                  <a:pt x="13" y="252"/>
                </a:cubicBezTo>
                <a:close/>
                <a:moveTo>
                  <a:pt x="14" y="251"/>
                </a:moveTo>
                <a:cubicBezTo>
                  <a:pt x="14" y="251"/>
                  <a:pt x="14" y="251"/>
                  <a:pt x="14" y="251"/>
                </a:cubicBezTo>
                <a:cubicBezTo>
                  <a:pt x="15" y="251"/>
                  <a:pt x="15" y="251"/>
                  <a:pt x="15" y="251"/>
                </a:cubicBezTo>
                <a:cubicBezTo>
                  <a:pt x="16" y="251"/>
                  <a:pt x="16" y="251"/>
                  <a:pt x="16" y="251"/>
                </a:cubicBezTo>
                <a:cubicBezTo>
                  <a:pt x="16" y="251"/>
                  <a:pt x="16" y="251"/>
                  <a:pt x="16" y="251"/>
                </a:cubicBezTo>
                <a:cubicBezTo>
                  <a:pt x="17" y="253"/>
                  <a:pt x="17" y="253"/>
                  <a:pt x="17" y="253"/>
                </a:cubicBezTo>
                <a:cubicBezTo>
                  <a:pt x="18" y="255"/>
                  <a:pt x="18" y="255"/>
                  <a:pt x="18" y="255"/>
                </a:cubicBezTo>
                <a:cubicBezTo>
                  <a:pt x="16" y="253"/>
                  <a:pt x="16" y="253"/>
                  <a:pt x="16" y="253"/>
                </a:cubicBezTo>
                <a:cubicBezTo>
                  <a:pt x="15" y="253"/>
                  <a:pt x="15" y="253"/>
                  <a:pt x="15" y="253"/>
                </a:cubicBezTo>
                <a:cubicBezTo>
                  <a:pt x="14" y="251"/>
                  <a:pt x="14" y="251"/>
                  <a:pt x="14" y="251"/>
                </a:cubicBezTo>
                <a:close/>
                <a:moveTo>
                  <a:pt x="14" y="253"/>
                </a:moveTo>
                <a:cubicBezTo>
                  <a:pt x="15" y="253"/>
                  <a:pt x="15" y="253"/>
                  <a:pt x="15" y="253"/>
                </a:cubicBezTo>
                <a:cubicBezTo>
                  <a:pt x="16" y="254"/>
                  <a:pt x="16" y="254"/>
                  <a:pt x="16" y="254"/>
                </a:cubicBezTo>
                <a:cubicBezTo>
                  <a:pt x="17" y="256"/>
                  <a:pt x="17" y="256"/>
                  <a:pt x="17" y="256"/>
                </a:cubicBezTo>
                <a:cubicBezTo>
                  <a:pt x="17" y="257"/>
                  <a:pt x="17" y="257"/>
                  <a:pt x="17" y="257"/>
                </a:cubicBezTo>
                <a:cubicBezTo>
                  <a:pt x="16" y="257"/>
                  <a:pt x="16" y="257"/>
                  <a:pt x="16" y="257"/>
                </a:cubicBezTo>
                <a:cubicBezTo>
                  <a:pt x="14" y="255"/>
                  <a:pt x="14" y="255"/>
                  <a:pt x="14" y="255"/>
                </a:cubicBezTo>
                <a:cubicBezTo>
                  <a:pt x="14" y="253"/>
                  <a:pt x="14" y="253"/>
                  <a:pt x="14" y="253"/>
                </a:cubicBezTo>
                <a:close/>
                <a:moveTo>
                  <a:pt x="15" y="260"/>
                </a:moveTo>
                <a:cubicBezTo>
                  <a:pt x="14" y="260"/>
                  <a:pt x="14" y="260"/>
                  <a:pt x="14" y="260"/>
                </a:cubicBezTo>
                <a:cubicBezTo>
                  <a:pt x="13" y="259"/>
                  <a:pt x="13" y="259"/>
                  <a:pt x="13" y="259"/>
                </a:cubicBezTo>
                <a:cubicBezTo>
                  <a:pt x="14" y="259"/>
                  <a:pt x="14" y="259"/>
                  <a:pt x="14" y="259"/>
                </a:cubicBezTo>
                <a:cubicBezTo>
                  <a:pt x="14" y="258"/>
                  <a:pt x="14" y="258"/>
                  <a:pt x="14" y="258"/>
                </a:cubicBezTo>
                <a:cubicBezTo>
                  <a:pt x="13" y="257"/>
                  <a:pt x="13" y="257"/>
                  <a:pt x="13" y="257"/>
                </a:cubicBezTo>
                <a:cubicBezTo>
                  <a:pt x="14" y="256"/>
                  <a:pt x="14" y="256"/>
                  <a:pt x="14" y="256"/>
                </a:cubicBezTo>
                <a:cubicBezTo>
                  <a:pt x="15" y="257"/>
                  <a:pt x="15" y="257"/>
                  <a:pt x="15" y="257"/>
                </a:cubicBezTo>
                <a:cubicBezTo>
                  <a:pt x="16" y="257"/>
                  <a:pt x="16" y="257"/>
                  <a:pt x="16" y="257"/>
                </a:cubicBezTo>
                <a:cubicBezTo>
                  <a:pt x="18" y="258"/>
                  <a:pt x="18" y="258"/>
                  <a:pt x="18" y="258"/>
                </a:cubicBezTo>
                <a:cubicBezTo>
                  <a:pt x="18" y="259"/>
                  <a:pt x="18" y="259"/>
                  <a:pt x="18" y="259"/>
                </a:cubicBezTo>
                <a:cubicBezTo>
                  <a:pt x="17" y="259"/>
                  <a:pt x="17" y="259"/>
                  <a:pt x="17" y="259"/>
                </a:cubicBezTo>
                <a:cubicBezTo>
                  <a:pt x="17" y="259"/>
                  <a:pt x="17" y="259"/>
                  <a:pt x="17" y="259"/>
                </a:cubicBezTo>
                <a:cubicBezTo>
                  <a:pt x="15" y="260"/>
                  <a:pt x="15" y="260"/>
                  <a:pt x="15" y="260"/>
                </a:cubicBezTo>
                <a:close/>
                <a:moveTo>
                  <a:pt x="17" y="265"/>
                </a:moveTo>
                <a:cubicBezTo>
                  <a:pt x="16" y="265"/>
                  <a:pt x="16" y="265"/>
                  <a:pt x="16" y="265"/>
                </a:cubicBezTo>
                <a:cubicBezTo>
                  <a:pt x="15" y="264"/>
                  <a:pt x="15" y="264"/>
                  <a:pt x="15" y="264"/>
                </a:cubicBezTo>
                <a:cubicBezTo>
                  <a:pt x="15" y="263"/>
                  <a:pt x="15" y="263"/>
                  <a:pt x="15" y="263"/>
                </a:cubicBezTo>
                <a:cubicBezTo>
                  <a:pt x="15" y="263"/>
                  <a:pt x="15" y="263"/>
                  <a:pt x="15" y="263"/>
                </a:cubicBezTo>
                <a:cubicBezTo>
                  <a:pt x="16" y="262"/>
                  <a:pt x="16" y="262"/>
                  <a:pt x="16" y="262"/>
                </a:cubicBezTo>
                <a:cubicBezTo>
                  <a:pt x="16" y="262"/>
                  <a:pt x="16" y="262"/>
                  <a:pt x="16" y="262"/>
                </a:cubicBezTo>
                <a:cubicBezTo>
                  <a:pt x="15" y="261"/>
                  <a:pt x="15" y="261"/>
                  <a:pt x="15" y="261"/>
                </a:cubicBezTo>
                <a:cubicBezTo>
                  <a:pt x="16" y="261"/>
                  <a:pt x="16" y="261"/>
                  <a:pt x="16" y="261"/>
                </a:cubicBezTo>
                <a:cubicBezTo>
                  <a:pt x="17" y="262"/>
                  <a:pt x="17" y="262"/>
                  <a:pt x="17" y="262"/>
                </a:cubicBezTo>
                <a:cubicBezTo>
                  <a:pt x="17" y="263"/>
                  <a:pt x="17" y="263"/>
                  <a:pt x="17" y="263"/>
                </a:cubicBezTo>
                <a:cubicBezTo>
                  <a:pt x="16" y="264"/>
                  <a:pt x="16" y="264"/>
                  <a:pt x="16" y="264"/>
                </a:cubicBezTo>
                <a:cubicBezTo>
                  <a:pt x="17" y="265"/>
                  <a:pt x="17" y="265"/>
                  <a:pt x="17" y="265"/>
                </a:cubicBezTo>
                <a:close/>
                <a:moveTo>
                  <a:pt x="17" y="263"/>
                </a:moveTo>
                <a:cubicBezTo>
                  <a:pt x="17" y="262"/>
                  <a:pt x="17" y="262"/>
                  <a:pt x="17" y="262"/>
                </a:cubicBezTo>
                <a:cubicBezTo>
                  <a:pt x="18" y="262"/>
                  <a:pt x="18" y="262"/>
                  <a:pt x="18" y="262"/>
                </a:cubicBezTo>
                <a:cubicBezTo>
                  <a:pt x="18" y="262"/>
                  <a:pt x="18" y="262"/>
                  <a:pt x="18" y="262"/>
                </a:cubicBezTo>
                <a:cubicBezTo>
                  <a:pt x="19" y="263"/>
                  <a:pt x="19" y="263"/>
                  <a:pt x="19" y="263"/>
                </a:cubicBezTo>
                <a:cubicBezTo>
                  <a:pt x="19" y="264"/>
                  <a:pt x="19" y="264"/>
                  <a:pt x="19" y="264"/>
                </a:cubicBezTo>
                <a:cubicBezTo>
                  <a:pt x="18" y="265"/>
                  <a:pt x="18" y="265"/>
                  <a:pt x="18" y="265"/>
                </a:cubicBezTo>
                <a:cubicBezTo>
                  <a:pt x="18" y="265"/>
                  <a:pt x="18" y="265"/>
                  <a:pt x="18" y="265"/>
                </a:cubicBezTo>
                <a:cubicBezTo>
                  <a:pt x="17" y="264"/>
                  <a:pt x="17" y="264"/>
                  <a:pt x="17" y="264"/>
                </a:cubicBezTo>
                <a:cubicBezTo>
                  <a:pt x="17" y="264"/>
                  <a:pt x="17" y="264"/>
                  <a:pt x="17" y="264"/>
                </a:cubicBezTo>
                <a:cubicBezTo>
                  <a:pt x="17" y="263"/>
                  <a:pt x="17" y="263"/>
                  <a:pt x="17" y="263"/>
                </a:cubicBezTo>
                <a:close/>
                <a:moveTo>
                  <a:pt x="19" y="263"/>
                </a:moveTo>
                <a:cubicBezTo>
                  <a:pt x="20" y="264"/>
                  <a:pt x="20" y="264"/>
                  <a:pt x="20" y="264"/>
                </a:cubicBezTo>
                <a:cubicBezTo>
                  <a:pt x="21" y="265"/>
                  <a:pt x="21" y="265"/>
                  <a:pt x="21" y="265"/>
                </a:cubicBezTo>
                <a:cubicBezTo>
                  <a:pt x="20" y="265"/>
                  <a:pt x="20" y="265"/>
                  <a:pt x="20" y="265"/>
                </a:cubicBezTo>
                <a:cubicBezTo>
                  <a:pt x="19" y="264"/>
                  <a:pt x="19" y="264"/>
                  <a:pt x="19" y="264"/>
                </a:cubicBezTo>
                <a:cubicBezTo>
                  <a:pt x="19" y="263"/>
                  <a:pt x="19" y="263"/>
                  <a:pt x="19" y="263"/>
                </a:cubicBezTo>
                <a:close/>
                <a:moveTo>
                  <a:pt x="19" y="268"/>
                </a:moveTo>
                <a:cubicBezTo>
                  <a:pt x="18" y="268"/>
                  <a:pt x="18" y="268"/>
                  <a:pt x="18" y="268"/>
                </a:cubicBezTo>
                <a:cubicBezTo>
                  <a:pt x="18" y="267"/>
                  <a:pt x="18" y="267"/>
                  <a:pt x="18" y="267"/>
                </a:cubicBezTo>
                <a:cubicBezTo>
                  <a:pt x="18" y="267"/>
                  <a:pt x="18" y="267"/>
                  <a:pt x="18" y="267"/>
                </a:cubicBezTo>
                <a:cubicBezTo>
                  <a:pt x="18" y="266"/>
                  <a:pt x="18" y="266"/>
                  <a:pt x="18" y="266"/>
                </a:cubicBezTo>
                <a:cubicBezTo>
                  <a:pt x="19" y="265"/>
                  <a:pt x="19" y="265"/>
                  <a:pt x="19" y="265"/>
                </a:cubicBezTo>
                <a:cubicBezTo>
                  <a:pt x="19" y="266"/>
                  <a:pt x="19" y="266"/>
                  <a:pt x="19" y="266"/>
                </a:cubicBezTo>
                <a:cubicBezTo>
                  <a:pt x="19" y="268"/>
                  <a:pt x="19" y="268"/>
                  <a:pt x="19" y="268"/>
                </a:cubicBezTo>
                <a:close/>
                <a:moveTo>
                  <a:pt x="22" y="264"/>
                </a:moveTo>
                <a:cubicBezTo>
                  <a:pt x="21" y="264"/>
                  <a:pt x="21" y="264"/>
                  <a:pt x="21" y="264"/>
                </a:cubicBezTo>
                <a:cubicBezTo>
                  <a:pt x="20" y="263"/>
                  <a:pt x="20" y="263"/>
                  <a:pt x="20" y="263"/>
                </a:cubicBezTo>
                <a:cubicBezTo>
                  <a:pt x="20" y="261"/>
                  <a:pt x="20" y="261"/>
                  <a:pt x="20" y="261"/>
                </a:cubicBezTo>
                <a:cubicBezTo>
                  <a:pt x="21" y="261"/>
                  <a:pt x="21" y="261"/>
                  <a:pt x="21" y="261"/>
                </a:cubicBezTo>
                <a:cubicBezTo>
                  <a:pt x="21" y="262"/>
                  <a:pt x="21" y="262"/>
                  <a:pt x="21" y="262"/>
                </a:cubicBezTo>
                <a:cubicBezTo>
                  <a:pt x="22" y="264"/>
                  <a:pt x="22" y="264"/>
                  <a:pt x="22" y="264"/>
                </a:cubicBezTo>
                <a:cubicBezTo>
                  <a:pt x="23" y="264"/>
                  <a:pt x="23" y="264"/>
                  <a:pt x="23" y="264"/>
                </a:cubicBezTo>
                <a:cubicBezTo>
                  <a:pt x="22" y="264"/>
                  <a:pt x="22" y="264"/>
                  <a:pt x="22" y="264"/>
                </a:cubicBezTo>
                <a:close/>
                <a:moveTo>
                  <a:pt x="22" y="266"/>
                </a:moveTo>
                <a:cubicBezTo>
                  <a:pt x="21" y="265"/>
                  <a:pt x="21" y="265"/>
                  <a:pt x="21" y="265"/>
                </a:cubicBezTo>
                <a:cubicBezTo>
                  <a:pt x="21" y="265"/>
                  <a:pt x="21" y="265"/>
                  <a:pt x="21" y="265"/>
                </a:cubicBezTo>
                <a:cubicBezTo>
                  <a:pt x="22" y="265"/>
                  <a:pt x="22" y="265"/>
                  <a:pt x="22" y="265"/>
                </a:cubicBezTo>
                <a:cubicBezTo>
                  <a:pt x="23" y="266"/>
                  <a:pt x="23" y="266"/>
                  <a:pt x="23" y="266"/>
                </a:cubicBezTo>
                <a:cubicBezTo>
                  <a:pt x="22" y="266"/>
                  <a:pt x="22" y="266"/>
                  <a:pt x="22" y="266"/>
                </a:cubicBezTo>
                <a:close/>
                <a:moveTo>
                  <a:pt x="23" y="269"/>
                </a:moveTo>
                <a:cubicBezTo>
                  <a:pt x="21" y="267"/>
                  <a:pt x="21" y="267"/>
                  <a:pt x="21" y="267"/>
                </a:cubicBezTo>
                <a:cubicBezTo>
                  <a:pt x="21" y="266"/>
                  <a:pt x="21" y="266"/>
                  <a:pt x="21" y="266"/>
                </a:cubicBezTo>
                <a:cubicBezTo>
                  <a:pt x="21" y="266"/>
                  <a:pt x="21" y="266"/>
                  <a:pt x="21" y="266"/>
                </a:cubicBezTo>
                <a:cubicBezTo>
                  <a:pt x="23" y="267"/>
                  <a:pt x="23" y="267"/>
                  <a:pt x="23" y="267"/>
                </a:cubicBezTo>
                <a:cubicBezTo>
                  <a:pt x="23" y="268"/>
                  <a:pt x="23" y="268"/>
                  <a:pt x="23" y="268"/>
                </a:cubicBezTo>
                <a:cubicBezTo>
                  <a:pt x="23" y="269"/>
                  <a:pt x="23" y="269"/>
                  <a:pt x="23" y="269"/>
                </a:cubicBezTo>
                <a:close/>
                <a:moveTo>
                  <a:pt x="24" y="271"/>
                </a:moveTo>
                <a:cubicBezTo>
                  <a:pt x="23" y="271"/>
                  <a:pt x="23" y="271"/>
                  <a:pt x="23" y="271"/>
                </a:cubicBezTo>
                <a:cubicBezTo>
                  <a:pt x="23" y="271"/>
                  <a:pt x="23" y="271"/>
                  <a:pt x="23" y="271"/>
                </a:cubicBezTo>
                <a:cubicBezTo>
                  <a:pt x="23" y="270"/>
                  <a:pt x="23" y="270"/>
                  <a:pt x="23" y="270"/>
                </a:cubicBezTo>
                <a:cubicBezTo>
                  <a:pt x="21" y="270"/>
                  <a:pt x="21" y="270"/>
                  <a:pt x="21" y="270"/>
                </a:cubicBezTo>
                <a:cubicBezTo>
                  <a:pt x="21" y="270"/>
                  <a:pt x="21" y="270"/>
                  <a:pt x="21" y="270"/>
                </a:cubicBezTo>
                <a:cubicBezTo>
                  <a:pt x="22" y="269"/>
                  <a:pt x="22" y="269"/>
                  <a:pt x="22" y="269"/>
                </a:cubicBezTo>
                <a:cubicBezTo>
                  <a:pt x="23" y="269"/>
                  <a:pt x="23" y="269"/>
                  <a:pt x="23" y="269"/>
                </a:cubicBezTo>
                <a:cubicBezTo>
                  <a:pt x="24" y="269"/>
                  <a:pt x="24" y="269"/>
                  <a:pt x="24" y="269"/>
                </a:cubicBezTo>
                <a:cubicBezTo>
                  <a:pt x="25" y="270"/>
                  <a:pt x="25" y="270"/>
                  <a:pt x="25" y="270"/>
                </a:cubicBezTo>
                <a:cubicBezTo>
                  <a:pt x="24" y="271"/>
                  <a:pt x="24" y="271"/>
                  <a:pt x="24" y="271"/>
                </a:cubicBezTo>
                <a:close/>
                <a:moveTo>
                  <a:pt x="28" y="278"/>
                </a:moveTo>
                <a:cubicBezTo>
                  <a:pt x="26" y="277"/>
                  <a:pt x="26" y="277"/>
                  <a:pt x="26" y="277"/>
                </a:cubicBezTo>
                <a:cubicBezTo>
                  <a:pt x="26" y="277"/>
                  <a:pt x="26" y="277"/>
                  <a:pt x="26" y="277"/>
                </a:cubicBezTo>
                <a:cubicBezTo>
                  <a:pt x="25" y="277"/>
                  <a:pt x="25" y="277"/>
                  <a:pt x="25" y="277"/>
                </a:cubicBezTo>
                <a:cubicBezTo>
                  <a:pt x="24" y="277"/>
                  <a:pt x="24" y="277"/>
                  <a:pt x="24" y="277"/>
                </a:cubicBezTo>
                <a:cubicBezTo>
                  <a:pt x="22" y="276"/>
                  <a:pt x="22" y="276"/>
                  <a:pt x="22" y="276"/>
                </a:cubicBezTo>
                <a:cubicBezTo>
                  <a:pt x="21" y="276"/>
                  <a:pt x="21" y="276"/>
                  <a:pt x="21" y="276"/>
                </a:cubicBezTo>
                <a:cubicBezTo>
                  <a:pt x="20" y="274"/>
                  <a:pt x="20" y="274"/>
                  <a:pt x="20" y="274"/>
                </a:cubicBezTo>
                <a:cubicBezTo>
                  <a:pt x="20" y="273"/>
                  <a:pt x="20" y="273"/>
                  <a:pt x="20" y="273"/>
                </a:cubicBezTo>
                <a:cubicBezTo>
                  <a:pt x="20" y="272"/>
                  <a:pt x="20" y="272"/>
                  <a:pt x="20" y="272"/>
                </a:cubicBezTo>
                <a:cubicBezTo>
                  <a:pt x="21" y="273"/>
                  <a:pt x="21" y="273"/>
                  <a:pt x="21" y="273"/>
                </a:cubicBezTo>
                <a:cubicBezTo>
                  <a:pt x="22" y="274"/>
                  <a:pt x="22" y="274"/>
                  <a:pt x="22" y="274"/>
                </a:cubicBezTo>
                <a:cubicBezTo>
                  <a:pt x="23" y="275"/>
                  <a:pt x="23" y="275"/>
                  <a:pt x="23" y="275"/>
                </a:cubicBezTo>
                <a:cubicBezTo>
                  <a:pt x="24" y="275"/>
                  <a:pt x="24" y="275"/>
                  <a:pt x="24" y="275"/>
                </a:cubicBezTo>
                <a:cubicBezTo>
                  <a:pt x="25" y="275"/>
                  <a:pt x="25" y="275"/>
                  <a:pt x="25" y="275"/>
                </a:cubicBezTo>
                <a:cubicBezTo>
                  <a:pt x="26" y="276"/>
                  <a:pt x="26" y="276"/>
                  <a:pt x="26" y="276"/>
                </a:cubicBezTo>
                <a:cubicBezTo>
                  <a:pt x="28" y="276"/>
                  <a:pt x="28" y="276"/>
                  <a:pt x="28" y="276"/>
                </a:cubicBezTo>
                <a:cubicBezTo>
                  <a:pt x="28" y="276"/>
                  <a:pt x="28" y="276"/>
                  <a:pt x="28" y="276"/>
                </a:cubicBezTo>
                <a:cubicBezTo>
                  <a:pt x="29" y="277"/>
                  <a:pt x="29" y="277"/>
                  <a:pt x="29" y="277"/>
                </a:cubicBezTo>
                <a:cubicBezTo>
                  <a:pt x="30" y="277"/>
                  <a:pt x="30" y="277"/>
                  <a:pt x="30" y="277"/>
                </a:cubicBezTo>
                <a:cubicBezTo>
                  <a:pt x="30" y="278"/>
                  <a:pt x="30" y="278"/>
                  <a:pt x="30" y="278"/>
                </a:cubicBezTo>
                <a:cubicBezTo>
                  <a:pt x="30" y="278"/>
                  <a:pt x="30" y="278"/>
                  <a:pt x="30" y="278"/>
                </a:cubicBezTo>
                <a:cubicBezTo>
                  <a:pt x="29" y="278"/>
                  <a:pt x="29" y="278"/>
                  <a:pt x="29" y="278"/>
                </a:cubicBezTo>
                <a:cubicBezTo>
                  <a:pt x="28" y="278"/>
                  <a:pt x="28" y="278"/>
                  <a:pt x="28" y="278"/>
                </a:cubicBezTo>
                <a:close/>
                <a:moveTo>
                  <a:pt x="24" y="278"/>
                </a:moveTo>
                <a:cubicBezTo>
                  <a:pt x="24" y="278"/>
                  <a:pt x="25" y="279"/>
                  <a:pt x="25" y="279"/>
                </a:cubicBezTo>
                <a:cubicBezTo>
                  <a:pt x="23" y="279"/>
                  <a:pt x="23" y="279"/>
                  <a:pt x="23" y="279"/>
                </a:cubicBezTo>
                <a:cubicBezTo>
                  <a:pt x="24" y="278"/>
                  <a:pt x="24" y="278"/>
                  <a:pt x="24" y="278"/>
                </a:cubicBezTo>
                <a:close/>
                <a:moveTo>
                  <a:pt x="32" y="284"/>
                </a:moveTo>
                <a:cubicBezTo>
                  <a:pt x="33" y="284"/>
                  <a:pt x="33" y="284"/>
                  <a:pt x="33" y="284"/>
                </a:cubicBezTo>
                <a:cubicBezTo>
                  <a:pt x="33" y="284"/>
                  <a:pt x="33" y="284"/>
                  <a:pt x="33" y="284"/>
                </a:cubicBezTo>
                <a:cubicBezTo>
                  <a:pt x="33" y="283"/>
                  <a:pt x="33" y="283"/>
                  <a:pt x="33" y="283"/>
                </a:cubicBezTo>
                <a:cubicBezTo>
                  <a:pt x="32" y="284"/>
                  <a:pt x="32" y="284"/>
                  <a:pt x="32" y="284"/>
                </a:cubicBezTo>
                <a:cubicBezTo>
                  <a:pt x="32" y="284"/>
                  <a:pt x="32" y="284"/>
                  <a:pt x="32" y="284"/>
                </a:cubicBezTo>
                <a:close/>
                <a:moveTo>
                  <a:pt x="36" y="285"/>
                </a:moveTo>
                <a:cubicBezTo>
                  <a:pt x="35" y="285"/>
                  <a:pt x="35" y="285"/>
                  <a:pt x="35" y="285"/>
                </a:cubicBezTo>
                <a:cubicBezTo>
                  <a:pt x="34" y="284"/>
                  <a:pt x="34" y="284"/>
                  <a:pt x="34" y="284"/>
                </a:cubicBezTo>
                <a:cubicBezTo>
                  <a:pt x="34" y="283"/>
                  <a:pt x="34" y="283"/>
                  <a:pt x="34" y="283"/>
                </a:cubicBezTo>
                <a:cubicBezTo>
                  <a:pt x="33" y="283"/>
                  <a:pt x="33" y="283"/>
                  <a:pt x="33" y="283"/>
                </a:cubicBezTo>
                <a:cubicBezTo>
                  <a:pt x="32" y="283"/>
                  <a:pt x="32" y="283"/>
                  <a:pt x="32" y="283"/>
                </a:cubicBezTo>
                <a:cubicBezTo>
                  <a:pt x="31" y="283"/>
                  <a:pt x="31" y="283"/>
                  <a:pt x="31" y="283"/>
                </a:cubicBezTo>
                <a:cubicBezTo>
                  <a:pt x="30" y="282"/>
                  <a:pt x="30" y="282"/>
                  <a:pt x="30" y="282"/>
                </a:cubicBezTo>
                <a:cubicBezTo>
                  <a:pt x="28" y="281"/>
                  <a:pt x="28" y="281"/>
                  <a:pt x="28" y="281"/>
                </a:cubicBezTo>
                <a:cubicBezTo>
                  <a:pt x="28" y="280"/>
                  <a:pt x="28" y="280"/>
                  <a:pt x="28" y="280"/>
                </a:cubicBezTo>
                <a:cubicBezTo>
                  <a:pt x="27" y="279"/>
                  <a:pt x="27" y="279"/>
                  <a:pt x="27" y="279"/>
                </a:cubicBezTo>
                <a:cubicBezTo>
                  <a:pt x="27" y="279"/>
                  <a:pt x="27" y="279"/>
                  <a:pt x="27" y="279"/>
                </a:cubicBezTo>
                <a:cubicBezTo>
                  <a:pt x="27" y="278"/>
                  <a:pt x="27" y="278"/>
                  <a:pt x="27" y="278"/>
                </a:cubicBezTo>
                <a:cubicBezTo>
                  <a:pt x="28" y="278"/>
                  <a:pt x="28" y="278"/>
                  <a:pt x="28" y="278"/>
                </a:cubicBezTo>
                <a:cubicBezTo>
                  <a:pt x="29" y="279"/>
                  <a:pt x="29" y="279"/>
                  <a:pt x="29" y="279"/>
                </a:cubicBezTo>
                <a:cubicBezTo>
                  <a:pt x="29" y="279"/>
                  <a:pt x="29" y="279"/>
                  <a:pt x="29" y="279"/>
                </a:cubicBezTo>
                <a:cubicBezTo>
                  <a:pt x="30" y="279"/>
                  <a:pt x="30" y="279"/>
                  <a:pt x="30" y="279"/>
                </a:cubicBezTo>
                <a:cubicBezTo>
                  <a:pt x="32" y="279"/>
                  <a:pt x="32" y="279"/>
                  <a:pt x="32" y="279"/>
                </a:cubicBezTo>
                <a:cubicBezTo>
                  <a:pt x="33" y="280"/>
                  <a:pt x="33" y="280"/>
                  <a:pt x="33" y="280"/>
                </a:cubicBezTo>
                <a:cubicBezTo>
                  <a:pt x="34" y="280"/>
                  <a:pt x="34" y="280"/>
                  <a:pt x="34" y="280"/>
                </a:cubicBezTo>
                <a:cubicBezTo>
                  <a:pt x="35" y="281"/>
                  <a:pt x="35" y="281"/>
                  <a:pt x="35" y="281"/>
                </a:cubicBezTo>
                <a:cubicBezTo>
                  <a:pt x="36" y="281"/>
                  <a:pt x="36" y="281"/>
                  <a:pt x="36" y="281"/>
                </a:cubicBezTo>
                <a:cubicBezTo>
                  <a:pt x="37" y="281"/>
                  <a:pt x="37" y="281"/>
                  <a:pt x="37" y="281"/>
                </a:cubicBezTo>
                <a:cubicBezTo>
                  <a:pt x="37" y="282"/>
                  <a:pt x="37" y="282"/>
                  <a:pt x="37" y="282"/>
                </a:cubicBezTo>
                <a:cubicBezTo>
                  <a:pt x="36" y="282"/>
                  <a:pt x="36" y="282"/>
                  <a:pt x="36" y="282"/>
                </a:cubicBezTo>
                <a:cubicBezTo>
                  <a:pt x="36" y="282"/>
                  <a:pt x="36" y="282"/>
                  <a:pt x="36" y="282"/>
                </a:cubicBezTo>
                <a:cubicBezTo>
                  <a:pt x="36" y="282"/>
                  <a:pt x="36" y="282"/>
                  <a:pt x="36" y="282"/>
                </a:cubicBezTo>
                <a:cubicBezTo>
                  <a:pt x="36" y="283"/>
                  <a:pt x="36" y="283"/>
                  <a:pt x="36" y="283"/>
                </a:cubicBezTo>
                <a:cubicBezTo>
                  <a:pt x="35" y="284"/>
                  <a:pt x="35" y="284"/>
                  <a:pt x="35" y="284"/>
                </a:cubicBezTo>
                <a:cubicBezTo>
                  <a:pt x="36" y="285"/>
                  <a:pt x="36" y="285"/>
                  <a:pt x="36" y="285"/>
                </a:cubicBezTo>
                <a:close/>
                <a:moveTo>
                  <a:pt x="37" y="284"/>
                </a:moveTo>
                <a:cubicBezTo>
                  <a:pt x="36" y="285"/>
                  <a:pt x="36" y="285"/>
                  <a:pt x="36" y="285"/>
                </a:cubicBezTo>
                <a:cubicBezTo>
                  <a:pt x="36" y="286"/>
                  <a:pt x="36" y="286"/>
                  <a:pt x="36" y="286"/>
                </a:cubicBezTo>
                <a:cubicBezTo>
                  <a:pt x="37" y="286"/>
                  <a:pt x="37" y="286"/>
                  <a:pt x="37" y="286"/>
                </a:cubicBezTo>
                <a:cubicBezTo>
                  <a:pt x="38" y="285"/>
                  <a:pt x="38" y="285"/>
                  <a:pt x="38" y="285"/>
                </a:cubicBezTo>
                <a:cubicBezTo>
                  <a:pt x="38" y="284"/>
                  <a:pt x="38" y="284"/>
                  <a:pt x="38" y="284"/>
                </a:cubicBezTo>
                <a:cubicBezTo>
                  <a:pt x="37" y="284"/>
                  <a:pt x="37" y="284"/>
                  <a:pt x="37" y="284"/>
                </a:cubicBezTo>
                <a:cubicBezTo>
                  <a:pt x="37" y="284"/>
                  <a:pt x="37" y="284"/>
                  <a:pt x="37" y="284"/>
                </a:cubicBezTo>
                <a:close/>
                <a:moveTo>
                  <a:pt x="44" y="283"/>
                </a:moveTo>
                <a:cubicBezTo>
                  <a:pt x="44" y="284"/>
                  <a:pt x="44" y="284"/>
                  <a:pt x="44" y="284"/>
                </a:cubicBezTo>
                <a:cubicBezTo>
                  <a:pt x="44" y="285"/>
                  <a:pt x="44" y="285"/>
                  <a:pt x="44" y="285"/>
                </a:cubicBezTo>
                <a:cubicBezTo>
                  <a:pt x="43" y="285"/>
                  <a:pt x="43" y="285"/>
                  <a:pt x="43" y="285"/>
                </a:cubicBezTo>
                <a:cubicBezTo>
                  <a:pt x="42" y="285"/>
                  <a:pt x="42" y="285"/>
                  <a:pt x="42" y="285"/>
                </a:cubicBezTo>
                <a:cubicBezTo>
                  <a:pt x="42" y="284"/>
                  <a:pt x="42" y="284"/>
                  <a:pt x="42" y="284"/>
                </a:cubicBezTo>
                <a:cubicBezTo>
                  <a:pt x="41" y="285"/>
                  <a:pt x="41" y="285"/>
                  <a:pt x="41" y="285"/>
                </a:cubicBezTo>
                <a:cubicBezTo>
                  <a:pt x="41" y="284"/>
                  <a:pt x="41" y="284"/>
                  <a:pt x="41" y="284"/>
                </a:cubicBezTo>
                <a:cubicBezTo>
                  <a:pt x="39" y="284"/>
                  <a:pt x="39" y="284"/>
                  <a:pt x="39" y="284"/>
                </a:cubicBezTo>
                <a:cubicBezTo>
                  <a:pt x="39" y="285"/>
                  <a:pt x="39" y="285"/>
                  <a:pt x="39" y="285"/>
                </a:cubicBezTo>
                <a:cubicBezTo>
                  <a:pt x="38" y="284"/>
                  <a:pt x="38" y="284"/>
                  <a:pt x="38" y="284"/>
                </a:cubicBezTo>
                <a:cubicBezTo>
                  <a:pt x="38" y="283"/>
                  <a:pt x="38" y="283"/>
                  <a:pt x="38" y="283"/>
                </a:cubicBezTo>
                <a:cubicBezTo>
                  <a:pt x="38" y="283"/>
                  <a:pt x="38" y="283"/>
                  <a:pt x="38" y="283"/>
                </a:cubicBezTo>
                <a:cubicBezTo>
                  <a:pt x="39" y="282"/>
                  <a:pt x="39" y="282"/>
                  <a:pt x="39" y="282"/>
                </a:cubicBezTo>
                <a:cubicBezTo>
                  <a:pt x="40" y="282"/>
                  <a:pt x="40" y="282"/>
                  <a:pt x="40" y="282"/>
                </a:cubicBezTo>
                <a:cubicBezTo>
                  <a:pt x="42" y="283"/>
                  <a:pt x="42" y="283"/>
                  <a:pt x="42" y="283"/>
                </a:cubicBezTo>
                <a:cubicBezTo>
                  <a:pt x="42" y="283"/>
                  <a:pt x="42" y="283"/>
                  <a:pt x="42" y="283"/>
                </a:cubicBezTo>
                <a:cubicBezTo>
                  <a:pt x="43" y="283"/>
                  <a:pt x="43" y="283"/>
                  <a:pt x="43" y="283"/>
                </a:cubicBezTo>
                <a:cubicBezTo>
                  <a:pt x="44" y="283"/>
                  <a:pt x="44" y="283"/>
                  <a:pt x="44" y="283"/>
                </a:cubicBezTo>
                <a:cubicBezTo>
                  <a:pt x="44" y="283"/>
                  <a:pt x="44" y="283"/>
                  <a:pt x="44" y="283"/>
                </a:cubicBezTo>
                <a:close/>
                <a:moveTo>
                  <a:pt x="48" y="283"/>
                </a:moveTo>
                <a:cubicBezTo>
                  <a:pt x="46" y="282"/>
                  <a:pt x="46" y="282"/>
                  <a:pt x="46" y="282"/>
                </a:cubicBezTo>
                <a:cubicBezTo>
                  <a:pt x="47" y="281"/>
                  <a:pt x="47" y="281"/>
                  <a:pt x="47" y="281"/>
                </a:cubicBezTo>
                <a:cubicBezTo>
                  <a:pt x="47" y="280"/>
                  <a:pt x="47" y="280"/>
                  <a:pt x="47" y="280"/>
                </a:cubicBezTo>
                <a:cubicBezTo>
                  <a:pt x="47" y="280"/>
                  <a:pt x="47" y="280"/>
                  <a:pt x="47" y="280"/>
                </a:cubicBezTo>
                <a:cubicBezTo>
                  <a:pt x="46" y="278"/>
                  <a:pt x="46" y="278"/>
                  <a:pt x="46" y="278"/>
                </a:cubicBezTo>
                <a:cubicBezTo>
                  <a:pt x="46" y="277"/>
                  <a:pt x="46" y="277"/>
                  <a:pt x="46" y="277"/>
                </a:cubicBezTo>
                <a:cubicBezTo>
                  <a:pt x="45" y="277"/>
                  <a:pt x="45" y="277"/>
                  <a:pt x="45" y="277"/>
                </a:cubicBezTo>
                <a:cubicBezTo>
                  <a:pt x="45" y="278"/>
                  <a:pt x="45" y="278"/>
                  <a:pt x="45" y="278"/>
                </a:cubicBezTo>
                <a:cubicBezTo>
                  <a:pt x="44" y="279"/>
                  <a:pt x="44" y="279"/>
                  <a:pt x="44" y="279"/>
                </a:cubicBezTo>
                <a:cubicBezTo>
                  <a:pt x="45" y="280"/>
                  <a:pt x="45" y="280"/>
                  <a:pt x="45" y="280"/>
                </a:cubicBezTo>
                <a:cubicBezTo>
                  <a:pt x="44" y="281"/>
                  <a:pt x="44" y="281"/>
                  <a:pt x="44" y="281"/>
                </a:cubicBezTo>
                <a:cubicBezTo>
                  <a:pt x="44" y="282"/>
                  <a:pt x="44" y="282"/>
                  <a:pt x="44" y="282"/>
                </a:cubicBezTo>
                <a:cubicBezTo>
                  <a:pt x="46" y="283"/>
                  <a:pt x="46" y="283"/>
                  <a:pt x="46" y="283"/>
                </a:cubicBezTo>
                <a:cubicBezTo>
                  <a:pt x="47" y="283"/>
                  <a:pt x="47" y="283"/>
                  <a:pt x="47" y="283"/>
                </a:cubicBezTo>
                <a:cubicBezTo>
                  <a:pt x="47" y="283"/>
                  <a:pt x="47" y="283"/>
                  <a:pt x="47" y="283"/>
                </a:cubicBezTo>
                <a:cubicBezTo>
                  <a:pt x="48" y="283"/>
                  <a:pt x="48" y="283"/>
                  <a:pt x="48" y="283"/>
                </a:cubicBezTo>
                <a:close/>
                <a:moveTo>
                  <a:pt x="43" y="292"/>
                </a:moveTo>
                <a:cubicBezTo>
                  <a:pt x="44" y="292"/>
                  <a:pt x="44" y="292"/>
                  <a:pt x="44" y="292"/>
                </a:cubicBezTo>
                <a:cubicBezTo>
                  <a:pt x="44" y="292"/>
                  <a:pt x="44" y="292"/>
                  <a:pt x="44" y="292"/>
                </a:cubicBezTo>
                <a:cubicBezTo>
                  <a:pt x="44" y="293"/>
                  <a:pt x="44" y="293"/>
                  <a:pt x="44" y="293"/>
                </a:cubicBezTo>
                <a:cubicBezTo>
                  <a:pt x="43" y="292"/>
                  <a:pt x="43" y="292"/>
                  <a:pt x="43" y="292"/>
                </a:cubicBezTo>
                <a:close/>
                <a:moveTo>
                  <a:pt x="43" y="291"/>
                </a:moveTo>
                <a:cubicBezTo>
                  <a:pt x="43" y="290"/>
                  <a:pt x="43" y="290"/>
                  <a:pt x="43" y="290"/>
                </a:cubicBezTo>
                <a:cubicBezTo>
                  <a:pt x="43" y="290"/>
                  <a:pt x="43" y="290"/>
                  <a:pt x="43" y="290"/>
                </a:cubicBezTo>
                <a:cubicBezTo>
                  <a:pt x="44" y="290"/>
                  <a:pt x="44" y="290"/>
                  <a:pt x="44" y="290"/>
                </a:cubicBezTo>
                <a:cubicBezTo>
                  <a:pt x="44" y="291"/>
                  <a:pt x="44" y="291"/>
                  <a:pt x="44" y="291"/>
                </a:cubicBezTo>
                <a:cubicBezTo>
                  <a:pt x="43" y="291"/>
                  <a:pt x="43" y="291"/>
                  <a:pt x="43" y="291"/>
                </a:cubicBezTo>
                <a:close/>
                <a:moveTo>
                  <a:pt x="68" y="297"/>
                </a:moveTo>
                <a:cubicBezTo>
                  <a:pt x="67" y="297"/>
                  <a:pt x="67" y="297"/>
                  <a:pt x="67" y="297"/>
                </a:cubicBezTo>
                <a:cubicBezTo>
                  <a:pt x="68" y="296"/>
                  <a:pt x="68" y="296"/>
                  <a:pt x="68" y="296"/>
                </a:cubicBezTo>
                <a:cubicBezTo>
                  <a:pt x="68" y="295"/>
                  <a:pt x="68" y="295"/>
                  <a:pt x="68" y="295"/>
                </a:cubicBezTo>
                <a:cubicBezTo>
                  <a:pt x="68" y="296"/>
                  <a:pt x="68" y="296"/>
                  <a:pt x="68" y="296"/>
                </a:cubicBezTo>
                <a:cubicBezTo>
                  <a:pt x="69" y="296"/>
                  <a:pt x="69" y="296"/>
                  <a:pt x="69" y="296"/>
                </a:cubicBezTo>
                <a:cubicBezTo>
                  <a:pt x="69" y="298"/>
                  <a:pt x="69" y="298"/>
                  <a:pt x="69" y="298"/>
                </a:cubicBezTo>
                <a:cubicBezTo>
                  <a:pt x="68" y="297"/>
                  <a:pt x="68" y="297"/>
                  <a:pt x="68" y="297"/>
                </a:cubicBezTo>
                <a:close/>
                <a:moveTo>
                  <a:pt x="52" y="291"/>
                </a:moveTo>
                <a:cubicBezTo>
                  <a:pt x="53" y="291"/>
                  <a:pt x="53" y="291"/>
                  <a:pt x="53" y="291"/>
                </a:cubicBezTo>
                <a:cubicBezTo>
                  <a:pt x="54" y="291"/>
                  <a:pt x="54" y="291"/>
                  <a:pt x="54" y="291"/>
                </a:cubicBezTo>
                <a:cubicBezTo>
                  <a:pt x="55" y="291"/>
                  <a:pt x="55" y="291"/>
                  <a:pt x="55" y="291"/>
                </a:cubicBezTo>
                <a:cubicBezTo>
                  <a:pt x="56" y="291"/>
                  <a:pt x="56" y="291"/>
                  <a:pt x="56" y="291"/>
                </a:cubicBezTo>
                <a:cubicBezTo>
                  <a:pt x="59" y="290"/>
                  <a:pt x="59" y="290"/>
                  <a:pt x="59" y="290"/>
                </a:cubicBezTo>
                <a:cubicBezTo>
                  <a:pt x="61" y="289"/>
                  <a:pt x="61" y="289"/>
                  <a:pt x="61" y="289"/>
                </a:cubicBezTo>
                <a:cubicBezTo>
                  <a:pt x="63" y="290"/>
                  <a:pt x="63" y="290"/>
                  <a:pt x="63" y="290"/>
                </a:cubicBezTo>
                <a:cubicBezTo>
                  <a:pt x="64" y="289"/>
                  <a:pt x="64" y="289"/>
                  <a:pt x="64" y="289"/>
                </a:cubicBezTo>
                <a:cubicBezTo>
                  <a:pt x="66" y="289"/>
                  <a:pt x="66" y="289"/>
                  <a:pt x="66" y="289"/>
                </a:cubicBezTo>
                <a:cubicBezTo>
                  <a:pt x="67" y="290"/>
                  <a:pt x="67" y="290"/>
                  <a:pt x="67" y="290"/>
                </a:cubicBezTo>
                <a:cubicBezTo>
                  <a:pt x="68" y="291"/>
                  <a:pt x="68" y="291"/>
                  <a:pt x="68" y="291"/>
                </a:cubicBezTo>
                <a:cubicBezTo>
                  <a:pt x="68" y="291"/>
                  <a:pt x="68" y="291"/>
                  <a:pt x="68" y="291"/>
                </a:cubicBezTo>
                <a:cubicBezTo>
                  <a:pt x="68" y="292"/>
                  <a:pt x="68" y="292"/>
                  <a:pt x="68" y="292"/>
                </a:cubicBezTo>
                <a:cubicBezTo>
                  <a:pt x="67" y="293"/>
                  <a:pt x="67" y="293"/>
                  <a:pt x="67" y="293"/>
                </a:cubicBezTo>
                <a:cubicBezTo>
                  <a:pt x="66" y="292"/>
                  <a:pt x="66" y="292"/>
                  <a:pt x="66" y="292"/>
                </a:cubicBezTo>
                <a:cubicBezTo>
                  <a:pt x="65" y="292"/>
                  <a:pt x="65" y="292"/>
                  <a:pt x="65" y="292"/>
                </a:cubicBezTo>
                <a:cubicBezTo>
                  <a:pt x="64" y="292"/>
                  <a:pt x="64" y="292"/>
                  <a:pt x="64" y="292"/>
                </a:cubicBezTo>
                <a:cubicBezTo>
                  <a:pt x="63" y="293"/>
                  <a:pt x="63" y="293"/>
                  <a:pt x="63" y="293"/>
                </a:cubicBezTo>
                <a:cubicBezTo>
                  <a:pt x="62" y="292"/>
                  <a:pt x="62" y="292"/>
                  <a:pt x="62" y="292"/>
                </a:cubicBezTo>
                <a:cubicBezTo>
                  <a:pt x="62" y="291"/>
                  <a:pt x="62" y="291"/>
                  <a:pt x="62" y="291"/>
                </a:cubicBezTo>
                <a:cubicBezTo>
                  <a:pt x="61" y="291"/>
                  <a:pt x="61" y="291"/>
                  <a:pt x="61" y="291"/>
                </a:cubicBezTo>
                <a:cubicBezTo>
                  <a:pt x="60" y="292"/>
                  <a:pt x="60" y="292"/>
                  <a:pt x="60" y="292"/>
                </a:cubicBezTo>
                <a:cubicBezTo>
                  <a:pt x="59" y="292"/>
                  <a:pt x="59" y="292"/>
                  <a:pt x="59" y="292"/>
                </a:cubicBezTo>
                <a:cubicBezTo>
                  <a:pt x="58" y="292"/>
                  <a:pt x="58" y="292"/>
                  <a:pt x="58" y="292"/>
                </a:cubicBezTo>
                <a:cubicBezTo>
                  <a:pt x="59" y="293"/>
                  <a:pt x="59" y="293"/>
                  <a:pt x="59" y="293"/>
                </a:cubicBezTo>
                <a:cubicBezTo>
                  <a:pt x="59" y="293"/>
                  <a:pt x="59" y="293"/>
                  <a:pt x="59" y="293"/>
                </a:cubicBezTo>
                <a:cubicBezTo>
                  <a:pt x="61" y="293"/>
                  <a:pt x="61" y="293"/>
                  <a:pt x="61" y="293"/>
                </a:cubicBezTo>
                <a:cubicBezTo>
                  <a:pt x="61" y="293"/>
                  <a:pt x="61" y="293"/>
                  <a:pt x="61" y="293"/>
                </a:cubicBezTo>
                <a:cubicBezTo>
                  <a:pt x="61" y="294"/>
                  <a:pt x="61" y="294"/>
                  <a:pt x="61" y="294"/>
                </a:cubicBezTo>
                <a:cubicBezTo>
                  <a:pt x="62" y="294"/>
                  <a:pt x="62" y="294"/>
                  <a:pt x="62" y="294"/>
                </a:cubicBezTo>
                <a:cubicBezTo>
                  <a:pt x="63" y="295"/>
                  <a:pt x="63" y="295"/>
                  <a:pt x="63" y="295"/>
                </a:cubicBezTo>
                <a:cubicBezTo>
                  <a:pt x="63" y="296"/>
                  <a:pt x="63" y="296"/>
                  <a:pt x="63" y="296"/>
                </a:cubicBezTo>
                <a:cubicBezTo>
                  <a:pt x="63" y="296"/>
                  <a:pt x="63" y="296"/>
                  <a:pt x="63" y="296"/>
                </a:cubicBezTo>
                <a:cubicBezTo>
                  <a:pt x="61" y="295"/>
                  <a:pt x="61" y="295"/>
                  <a:pt x="61" y="295"/>
                </a:cubicBezTo>
                <a:cubicBezTo>
                  <a:pt x="60" y="295"/>
                  <a:pt x="60" y="295"/>
                  <a:pt x="60" y="295"/>
                </a:cubicBezTo>
                <a:cubicBezTo>
                  <a:pt x="59" y="295"/>
                  <a:pt x="59" y="295"/>
                  <a:pt x="59" y="295"/>
                </a:cubicBezTo>
                <a:cubicBezTo>
                  <a:pt x="58" y="295"/>
                  <a:pt x="58" y="295"/>
                  <a:pt x="58" y="295"/>
                </a:cubicBezTo>
                <a:cubicBezTo>
                  <a:pt x="58" y="294"/>
                  <a:pt x="58" y="294"/>
                  <a:pt x="58" y="294"/>
                </a:cubicBezTo>
                <a:cubicBezTo>
                  <a:pt x="57" y="294"/>
                  <a:pt x="57" y="294"/>
                  <a:pt x="57" y="294"/>
                </a:cubicBezTo>
                <a:cubicBezTo>
                  <a:pt x="57" y="294"/>
                  <a:pt x="57" y="294"/>
                  <a:pt x="57" y="294"/>
                </a:cubicBezTo>
                <a:cubicBezTo>
                  <a:pt x="58" y="295"/>
                  <a:pt x="58" y="295"/>
                  <a:pt x="58" y="295"/>
                </a:cubicBezTo>
                <a:cubicBezTo>
                  <a:pt x="57" y="296"/>
                  <a:pt x="57" y="296"/>
                  <a:pt x="57" y="296"/>
                </a:cubicBezTo>
                <a:cubicBezTo>
                  <a:pt x="57" y="296"/>
                  <a:pt x="57" y="296"/>
                  <a:pt x="57" y="296"/>
                </a:cubicBezTo>
                <a:cubicBezTo>
                  <a:pt x="55" y="295"/>
                  <a:pt x="55" y="295"/>
                  <a:pt x="55" y="295"/>
                </a:cubicBezTo>
                <a:cubicBezTo>
                  <a:pt x="55" y="296"/>
                  <a:pt x="55" y="296"/>
                  <a:pt x="55" y="296"/>
                </a:cubicBezTo>
                <a:cubicBezTo>
                  <a:pt x="54" y="295"/>
                  <a:pt x="54" y="295"/>
                  <a:pt x="54" y="295"/>
                </a:cubicBezTo>
                <a:cubicBezTo>
                  <a:pt x="53" y="295"/>
                  <a:pt x="53" y="295"/>
                  <a:pt x="53" y="295"/>
                </a:cubicBezTo>
                <a:cubicBezTo>
                  <a:pt x="54" y="294"/>
                  <a:pt x="54" y="294"/>
                  <a:pt x="54" y="294"/>
                </a:cubicBezTo>
                <a:cubicBezTo>
                  <a:pt x="53" y="294"/>
                  <a:pt x="53" y="294"/>
                  <a:pt x="53" y="294"/>
                </a:cubicBezTo>
                <a:cubicBezTo>
                  <a:pt x="52" y="294"/>
                  <a:pt x="52" y="294"/>
                  <a:pt x="52" y="294"/>
                </a:cubicBezTo>
                <a:cubicBezTo>
                  <a:pt x="52" y="293"/>
                  <a:pt x="52" y="293"/>
                  <a:pt x="52" y="293"/>
                </a:cubicBezTo>
                <a:cubicBezTo>
                  <a:pt x="53" y="293"/>
                  <a:pt x="53" y="293"/>
                  <a:pt x="53" y="293"/>
                </a:cubicBezTo>
                <a:cubicBezTo>
                  <a:pt x="55" y="292"/>
                  <a:pt x="55" y="292"/>
                  <a:pt x="55" y="292"/>
                </a:cubicBezTo>
                <a:cubicBezTo>
                  <a:pt x="54" y="291"/>
                  <a:pt x="54" y="291"/>
                  <a:pt x="54" y="291"/>
                </a:cubicBezTo>
                <a:cubicBezTo>
                  <a:pt x="53" y="292"/>
                  <a:pt x="53" y="292"/>
                  <a:pt x="53" y="292"/>
                </a:cubicBezTo>
                <a:lnTo>
                  <a:pt x="52" y="291"/>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1" name="Freeform 199">
            <a:extLst>
              <a:ext uri="{FF2B5EF4-FFF2-40B4-BE49-F238E27FC236}">
                <a16:creationId xmlns:a16="http://schemas.microsoft.com/office/drawing/2014/main" id="{BC8622D6-FC47-4739-4F3D-0AC22DC4D758}"/>
              </a:ext>
            </a:extLst>
          </p:cNvPr>
          <p:cNvSpPr>
            <a:spLocks/>
          </p:cNvSpPr>
          <p:nvPr userDrawn="1"/>
        </p:nvSpPr>
        <p:spPr bwMode="auto">
          <a:xfrm>
            <a:off x="9349763" y="8305083"/>
            <a:ext cx="9525" cy="9526"/>
          </a:xfrm>
          <a:custGeom>
            <a:avLst/>
            <a:gdLst>
              <a:gd name="T0" fmla="*/ 0 w 3"/>
              <a:gd name="T1" fmla="*/ 0 h 3"/>
              <a:gd name="T2" fmla="*/ 0 w 3"/>
              <a:gd name="T3" fmla="*/ 3 h 3"/>
              <a:gd name="T4" fmla="*/ 3 w 3"/>
              <a:gd name="T5" fmla="*/ 3 h 3"/>
              <a:gd name="T6" fmla="*/ 0 w 3"/>
              <a:gd name="T7" fmla="*/ 0 h 3"/>
            </a:gdLst>
            <a:ahLst/>
            <a:cxnLst>
              <a:cxn ang="0">
                <a:pos x="T0" y="T1"/>
              </a:cxn>
              <a:cxn ang="0">
                <a:pos x="T2" y="T3"/>
              </a:cxn>
              <a:cxn ang="0">
                <a:pos x="T4" y="T5"/>
              </a:cxn>
              <a:cxn ang="0">
                <a:pos x="T6" y="T7"/>
              </a:cxn>
            </a:cxnLst>
            <a:rect l="0" t="0" r="r" b="b"/>
            <a:pathLst>
              <a:path w="3" h="3">
                <a:moveTo>
                  <a:pt x="0" y="0"/>
                </a:moveTo>
                <a:lnTo>
                  <a:pt x="0" y="3"/>
                </a:lnTo>
                <a:lnTo>
                  <a:pt x="3" y="3"/>
                </a:lnTo>
                <a:lnTo>
                  <a:pt x="0"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2" name="Freeform 200">
            <a:extLst>
              <a:ext uri="{FF2B5EF4-FFF2-40B4-BE49-F238E27FC236}">
                <a16:creationId xmlns:a16="http://schemas.microsoft.com/office/drawing/2014/main" id="{371BB57B-7889-6AF9-26F3-B9FC21E56906}"/>
              </a:ext>
            </a:extLst>
          </p:cNvPr>
          <p:cNvSpPr>
            <a:spLocks noEditPoints="1"/>
          </p:cNvSpPr>
          <p:nvPr userDrawn="1"/>
        </p:nvSpPr>
        <p:spPr bwMode="auto">
          <a:xfrm>
            <a:off x="9378336" y="8314609"/>
            <a:ext cx="38100" cy="57150"/>
          </a:xfrm>
          <a:custGeom>
            <a:avLst/>
            <a:gdLst>
              <a:gd name="T0" fmla="*/ 12 w 12"/>
              <a:gd name="T1" fmla="*/ 12 h 18"/>
              <a:gd name="T2" fmla="*/ 9 w 12"/>
              <a:gd name="T3" fmla="*/ 15 h 18"/>
              <a:gd name="T4" fmla="*/ 12 w 12"/>
              <a:gd name="T5" fmla="*/ 18 h 18"/>
              <a:gd name="T6" fmla="*/ 12 w 12"/>
              <a:gd name="T7" fmla="*/ 12 h 18"/>
              <a:gd name="T8" fmla="*/ 12 w 12"/>
              <a:gd name="T9" fmla="*/ 12 h 18"/>
              <a:gd name="T10" fmla="*/ 9 w 12"/>
              <a:gd name="T11" fmla="*/ 0 h 18"/>
              <a:gd name="T12" fmla="*/ 6 w 12"/>
              <a:gd name="T13" fmla="*/ 3 h 18"/>
              <a:gd name="T14" fmla="*/ 9 w 12"/>
              <a:gd name="T15" fmla="*/ 9 h 18"/>
              <a:gd name="T16" fmla="*/ 12 w 12"/>
              <a:gd name="T17" fmla="*/ 9 h 18"/>
              <a:gd name="T18" fmla="*/ 9 w 12"/>
              <a:gd name="T19" fmla="*/ 0 h 18"/>
              <a:gd name="T20" fmla="*/ 9 w 12"/>
              <a:gd name="T21" fmla="*/ 0 h 18"/>
              <a:gd name="T22" fmla="*/ 3 w 12"/>
              <a:gd name="T23" fmla="*/ 6 h 18"/>
              <a:gd name="T24" fmla="*/ 6 w 12"/>
              <a:gd name="T25" fmla="*/ 9 h 18"/>
              <a:gd name="T26" fmla="*/ 3 w 12"/>
              <a:gd name="T27" fmla="*/ 15 h 18"/>
              <a:gd name="T28" fmla="*/ 0 w 12"/>
              <a:gd name="T29" fmla="*/ 9 h 18"/>
              <a:gd name="T30" fmla="*/ 0 w 12"/>
              <a:gd name="T31" fmla="*/ 6 h 18"/>
              <a:gd name="T32" fmla="*/ 3 w 12"/>
              <a:gd name="T33"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8">
                <a:moveTo>
                  <a:pt x="12" y="12"/>
                </a:moveTo>
                <a:lnTo>
                  <a:pt x="9" y="15"/>
                </a:lnTo>
                <a:lnTo>
                  <a:pt x="12" y="18"/>
                </a:lnTo>
                <a:lnTo>
                  <a:pt x="12" y="12"/>
                </a:lnTo>
                <a:lnTo>
                  <a:pt x="12" y="12"/>
                </a:lnTo>
                <a:close/>
                <a:moveTo>
                  <a:pt x="9" y="0"/>
                </a:moveTo>
                <a:lnTo>
                  <a:pt x="6" y="3"/>
                </a:lnTo>
                <a:lnTo>
                  <a:pt x="9" y="9"/>
                </a:lnTo>
                <a:lnTo>
                  <a:pt x="12" y="9"/>
                </a:lnTo>
                <a:lnTo>
                  <a:pt x="9" y="0"/>
                </a:lnTo>
                <a:lnTo>
                  <a:pt x="9" y="0"/>
                </a:lnTo>
                <a:close/>
                <a:moveTo>
                  <a:pt x="3" y="6"/>
                </a:moveTo>
                <a:lnTo>
                  <a:pt x="6" y="9"/>
                </a:lnTo>
                <a:lnTo>
                  <a:pt x="3" y="15"/>
                </a:lnTo>
                <a:lnTo>
                  <a:pt x="0" y="9"/>
                </a:lnTo>
                <a:lnTo>
                  <a:pt x="0" y="6"/>
                </a:lnTo>
                <a:lnTo>
                  <a:pt x="3" y="6"/>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3" name="Freeform 201">
            <a:extLst>
              <a:ext uri="{FF2B5EF4-FFF2-40B4-BE49-F238E27FC236}">
                <a16:creationId xmlns:a16="http://schemas.microsoft.com/office/drawing/2014/main" id="{017CC1B0-9632-0826-888B-8F1915141D17}"/>
              </a:ext>
            </a:extLst>
          </p:cNvPr>
          <p:cNvSpPr>
            <a:spLocks/>
          </p:cNvSpPr>
          <p:nvPr userDrawn="1"/>
        </p:nvSpPr>
        <p:spPr bwMode="auto">
          <a:xfrm>
            <a:off x="9397388" y="8384456"/>
            <a:ext cx="9525" cy="28576"/>
          </a:xfrm>
          <a:custGeom>
            <a:avLst/>
            <a:gdLst>
              <a:gd name="T0" fmla="*/ 0 w 1"/>
              <a:gd name="T1" fmla="*/ 0 h 3"/>
              <a:gd name="T2" fmla="*/ 1 w 1"/>
              <a:gd name="T3" fmla="*/ 1 h 3"/>
              <a:gd name="T4" fmla="*/ 1 w 1"/>
              <a:gd name="T5" fmla="*/ 3 h 3"/>
              <a:gd name="T6" fmla="*/ 0 w 1"/>
              <a:gd name="T7" fmla="*/ 3 h 3"/>
              <a:gd name="T8" fmla="*/ 0 w 1"/>
              <a:gd name="T9" fmla="*/ 1 h 3"/>
              <a:gd name="T10" fmla="*/ 0 w 1"/>
              <a:gd name="T11" fmla="*/ 0 h 3"/>
            </a:gdLst>
            <a:ahLst/>
            <a:cxnLst>
              <a:cxn ang="0">
                <a:pos x="T0" y="T1"/>
              </a:cxn>
              <a:cxn ang="0">
                <a:pos x="T2" y="T3"/>
              </a:cxn>
              <a:cxn ang="0">
                <a:pos x="T4" y="T5"/>
              </a:cxn>
              <a:cxn ang="0">
                <a:pos x="T6" y="T7"/>
              </a:cxn>
              <a:cxn ang="0">
                <a:pos x="T8" y="T9"/>
              </a:cxn>
              <a:cxn ang="0">
                <a:pos x="T10" y="T11"/>
              </a:cxn>
            </a:cxnLst>
            <a:rect l="0" t="0" r="r" b="b"/>
            <a:pathLst>
              <a:path w="1" h="3">
                <a:moveTo>
                  <a:pt x="0" y="0"/>
                </a:moveTo>
                <a:cubicBezTo>
                  <a:pt x="1" y="1"/>
                  <a:pt x="1" y="1"/>
                  <a:pt x="1" y="1"/>
                </a:cubicBezTo>
                <a:cubicBezTo>
                  <a:pt x="1" y="3"/>
                  <a:pt x="1" y="3"/>
                  <a:pt x="1" y="3"/>
                </a:cubicBezTo>
                <a:cubicBezTo>
                  <a:pt x="0" y="3"/>
                  <a:pt x="0" y="3"/>
                  <a:pt x="0" y="3"/>
                </a:cubicBezTo>
                <a:cubicBezTo>
                  <a:pt x="0" y="1"/>
                  <a:pt x="0" y="1"/>
                  <a:pt x="0" y="1"/>
                </a:cubicBezTo>
                <a:cubicBezTo>
                  <a:pt x="0" y="1"/>
                  <a:pt x="1" y="0"/>
                  <a:pt x="0" y="0"/>
                </a:cubicBez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4" name="Freeform 202">
            <a:extLst>
              <a:ext uri="{FF2B5EF4-FFF2-40B4-BE49-F238E27FC236}">
                <a16:creationId xmlns:a16="http://schemas.microsoft.com/office/drawing/2014/main" id="{53D89D10-7854-3228-CCA2-401329FC8AA3}"/>
              </a:ext>
            </a:extLst>
          </p:cNvPr>
          <p:cNvSpPr>
            <a:spLocks noEditPoints="1"/>
          </p:cNvSpPr>
          <p:nvPr userDrawn="1"/>
        </p:nvSpPr>
        <p:spPr bwMode="auto">
          <a:xfrm>
            <a:off x="9397386" y="8432081"/>
            <a:ext cx="41275" cy="88902"/>
          </a:xfrm>
          <a:custGeom>
            <a:avLst/>
            <a:gdLst>
              <a:gd name="T0" fmla="*/ 10 w 13"/>
              <a:gd name="T1" fmla="*/ 16 h 28"/>
              <a:gd name="T2" fmla="*/ 3 w 13"/>
              <a:gd name="T3" fmla="*/ 22 h 28"/>
              <a:gd name="T4" fmla="*/ 6 w 13"/>
              <a:gd name="T5" fmla="*/ 25 h 28"/>
              <a:gd name="T6" fmla="*/ 10 w 13"/>
              <a:gd name="T7" fmla="*/ 28 h 28"/>
              <a:gd name="T8" fmla="*/ 10 w 13"/>
              <a:gd name="T9" fmla="*/ 22 h 28"/>
              <a:gd name="T10" fmla="*/ 10 w 13"/>
              <a:gd name="T11" fmla="*/ 16 h 28"/>
              <a:gd name="T12" fmla="*/ 10 w 13"/>
              <a:gd name="T13" fmla="*/ 16 h 28"/>
              <a:gd name="T14" fmla="*/ 0 w 13"/>
              <a:gd name="T15" fmla="*/ 0 h 28"/>
              <a:gd name="T16" fmla="*/ 10 w 13"/>
              <a:gd name="T17" fmla="*/ 0 h 28"/>
              <a:gd name="T18" fmla="*/ 13 w 13"/>
              <a:gd name="T19" fmla="*/ 10 h 28"/>
              <a:gd name="T20" fmla="*/ 10 w 13"/>
              <a:gd name="T21" fmla="*/ 13 h 28"/>
              <a:gd name="T22" fmla="*/ 6 w 13"/>
              <a:gd name="T23" fmla="*/ 10 h 28"/>
              <a:gd name="T24" fmla="*/ 6 w 13"/>
              <a:gd name="T25" fmla="*/ 10 h 28"/>
              <a:gd name="T26" fmla="*/ 6 w 13"/>
              <a:gd name="T27" fmla="*/ 7 h 28"/>
              <a:gd name="T28" fmla="*/ 0 w 13"/>
              <a:gd name="T29" fmla="*/ 3 h 28"/>
              <a:gd name="T30" fmla="*/ 0 w 13"/>
              <a:gd name="T3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28">
                <a:moveTo>
                  <a:pt x="10" y="16"/>
                </a:moveTo>
                <a:lnTo>
                  <a:pt x="3" y="22"/>
                </a:lnTo>
                <a:lnTo>
                  <a:pt x="6" y="25"/>
                </a:lnTo>
                <a:lnTo>
                  <a:pt x="10" y="28"/>
                </a:lnTo>
                <a:lnTo>
                  <a:pt x="10" y="22"/>
                </a:lnTo>
                <a:lnTo>
                  <a:pt x="10" y="16"/>
                </a:lnTo>
                <a:lnTo>
                  <a:pt x="10" y="16"/>
                </a:lnTo>
                <a:close/>
                <a:moveTo>
                  <a:pt x="0" y="0"/>
                </a:moveTo>
                <a:lnTo>
                  <a:pt x="10" y="0"/>
                </a:lnTo>
                <a:lnTo>
                  <a:pt x="13" y="10"/>
                </a:lnTo>
                <a:lnTo>
                  <a:pt x="10" y="13"/>
                </a:lnTo>
                <a:lnTo>
                  <a:pt x="6" y="10"/>
                </a:lnTo>
                <a:lnTo>
                  <a:pt x="6" y="10"/>
                </a:lnTo>
                <a:lnTo>
                  <a:pt x="6" y="7"/>
                </a:lnTo>
                <a:lnTo>
                  <a:pt x="0" y="3"/>
                </a:lnTo>
                <a:lnTo>
                  <a:pt x="0"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5" name="Freeform 203">
            <a:extLst>
              <a:ext uri="{FF2B5EF4-FFF2-40B4-BE49-F238E27FC236}">
                <a16:creationId xmlns:a16="http://schemas.microsoft.com/office/drawing/2014/main" id="{22F856E7-7FE7-D54C-3C13-F6428F97EEA2}"/>
              </a:ext>
            </a:extLst>
          </p:cNvPr>
          <p:cNvSpPr>
            <a:spLocks/>
          </p:cNvSpPr>
          <p:nvPr userDrawn="1"/>
        </p:nvSpPr>
        <p:spPr bwMode="auto">
          <a:xfrm>
            <a:off x="9508502" y="8533683"/>
            <a:ext cx="19049" cy="19050"/>
          </a:xfrm>
          <a:custGeom>
            <a:avLst/>
            <a:gdLst>
              <a:gd name="T0" fmla="*/ 3 w 6"/>
              <a:gd name="T1" fmla="*/ 0 h 6"/>
              <a:gd name="T2" fmla="*/ 0 w 6"/>
              <a:gd name="T3" fmla="*/ 3 h 6"/>
              <a:gd name="T4" fmla="*/ 3 w 6"/>
              <a:gd name="T5" fmla="*/ 6 h 6"/>
              <a:gd name="T6" fmla="*/ 6 w 6"/>
              <a:gd name="T7" fmla="*/ 6 h 6"/>
              <a:gd name="T8" fmla="*/ 6 w 6"/>
              <a:gd name="T9" fmla="*/ 3 h 6"/>
              <a:gd name="T10" fmla="*/ 3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3" y="0"/>
                </a:moveTo>
                <a:lnTo>
                  <a:pt x="0" y="3"/>
                </a:lnTo>
                <a:lnTo>
                  <a:pt x="3" y="6"/>
                </a:lnTo>
                <a:lnTo>
                  <a:pt x="6" y="6"/>
                </a:lnTo>
                <a:lnTo>
                  <a:pt x="6" y="3"/>
                </a:lnTo>
                <a:lnTo>
                  <a:pt x="3"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6" name="Freeform 204">
            <a:extLst>
              <a:ext uri="{FF2B5EF4-FFF2-40B4-BE49-F238E27FC236}">
                <a16:creationId xmlns:a16="http://schemas.microsoft.com/office/drawing/2014/main" id="{030E276F-F0D1-B967-8A8B-53C0050D74E0}"/>
              </a:ext>
            </a:extLst>
          </p:cNvPr>
          <p:cNvSpPr>
            <a:spLocks noEditPoints="1"/>
          </p:cNvSpPr>
          <p:nvPr userDrawn="1"/>
        </p:nvSpPr>
        <p:spPr bwMode="auto">
          <a:xfrm>
            <a:off x="9368813" y="8520980"/>
            <a:ext cx="47623" cy="101600"/>
          </a:xfrm>
          <a:custGeom>
            <a:avLst/>
            <a:gdLst>
              <a:gd name="T0" fmla="*/ 3 w 5"/>
              <a:gd name="T1" fmla="*/ 9 h 10"/>
              <a:gd name="T2" fmla="*/ 2 w 5"/>
              <a:gd name="T3" fmla="*/ 8 h 10"/>
              <a:gd name="T4" fmla="*/ 1 w 5"/>
              <a:gd name="T5" fmla="*/ 8 h 10"/>
              <a:gd name="T6" fmla="*/ 0 w 5"/>
              <a:gd name="T7" fmla="*/ 10 h 10"/>
              <a:gd name="T8" fmla="*/ 2 w 5"/>
              <a:gd name="T9" fmla="*/ 10 h 10"/>
              <a:gd name="T10" fmla="*/ 3 w 5"/>
              <a:gd name="T11" fmla="*/ 9 h 10"/>
              <a:gd name="T12" fmla="*/ 3 w 5"/>
              <a:gd name="T13" fmla="*/ 6 h 10"/>
              <a:gd name="T14" fmla="*/ 4 w 5"/>
              <a:gd name="T15" fmla="*/ 7 h 10"/>
              <a:gd name="T16" fmla="*/ 3 w 5"/>
              <a:gd name="T17" fmla="*/ 7 h 10"/>
              <a:gd name="T18" fmla="*/ 3 w 5"/>
              <a:gd name="T19" fmla="*/ 6 h 10"/>
              <a:gd name="T20" fmla="*/ 4 w 5"/>
              <a:gd name="T21" fmla="*/ 0 h 10"/>
              <a:gd name="T22" fmla="*/ 5 w 5"/>
              <a:gd name="T23" fmla="*/ 2 h 10"/>
              <a:gd name="T24" fmla="*/ 4 w 5"/>
              <a:gd name="T25" fmla="*/ 4 h 10"/>
              <a:gd name="T26" fmla="*/ 4 w 5"/>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0">
                <a:moveTo>
                  <a:pt x="3" y="9"/>
                </a:moveTo>
                <a:cubicBezTo>
                  <a:pt x="2" y="8"/>
                  <a:pt x="2" y="8"/>
                  <a:pt x="2" y="8"/>
                </a:cubicBezTo>
                <a:cubicBezTo>
                  <a:pt x="1" y="8"/>
                  <a:pt x="1" y="8"/>
                  <a:pt x="1" y="8"/>
                </a:cubicBezTo>
                <a:cubicBezTo>
                  <a:pt x="0" y="10"/>
                  <a:pt x="0" y="10"/>
                  <a:pt x="0" y="10"/>
                </a:cubicBezTo>
                <a:cubicBezTo>
                  <a:pt x="2" y="10"/>
                  <a:pt x="2" y="10"/>
                  <a:pt x="2" y="10"/>
                </a:cubicBezTo>
                <a:cubicBezTo>
                  <a:pt x="3" y="9"/>
                  <a:pt x="3" y="9"/>
                  <a:pt x="3" y="9"/>
                </a:cubicBezTo>
                <a:close/>
                <a:moveTo>
                  <a:pt x="3" y="6"/>
                </a:moveTo>
                <a:cubicBezTo>
                  <a:pt x="4" y="7"/>
                  <a:pt x="4" y="7"/>
                  <a:pt x="4" y="7"/>
                </a:cubicBezTo>
                <a:cubicBezTo>
                  <a:pt x="3" y="7"/>
                  <a:pt x="3" y="7"/>
                  <a:pt x="3" y="7"/>
                </a:cubicBezTo>
                <a:cubicBezTo>
                  <a:pt x="3" y="7"/>
                  <a:pt x="3" y="6"/>
                  <a:pt x="3" y="6"/>
                </a:cubicBezTo>
                <a:close/>
                <a:moveTo>
                  <a:pt x="4" y="0"/>
                </a:moveTo>
                <a:cubicBezTo>
                  <a:pt x="5" y="2"/>
                  <a:pt x="5" y="2"/>
                  <a:pt x="5" y="2"/>
                </a:cubicBezTo>
                <a:cubicBezTo>
                  <a:pt x="4" y="4"/>
                  <a:pt x="4" y="4"/>
                  <a:pt x="4" y="4"/>
                </a:cubicBezTo>
                <a:lnTo>
                  <a:pt x="4" y="0"/>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7" name="Freeform 206">
            <a:extLst>
              <a:ext uri="{FF2B5EF4-FFF2-40B4-BE49-F238E27FC236}">
                <a16:creationId xmlns:a16="http://schemas.microsoft.com/office/drawing/2014/main" id="{9A5B5C91-D579-9050-0555-59DDAEBAE129}"/>
              </a:ext>
            </a:extLst>
          </p:cNvPr>
          <p:cNvSpPr>
            <a:spLocks noEditPoints="1"/>
          </p:cNvSpPr>
          <p:nvPr userDrawn="1"/>
        </p:nvSpPr>
        <p:spPr bwMode="auto">
          <a:xfrm>
            <a:off x="9359288" y="8670208"/>
            <a:ext cx="88896" cy="79376"/>
          </a:xfrm>
          <a:custGeom>
            <a:avLst/>
            <a:gdLst>
              <a:gd name="T0" fmla="*/ 22 w 28"/>
              <a:gd name="T1" fmla="*/ 3 h 25"/>
              <a:gd name="T2" fmla="*/ 28 w 28"/>
              <a:gd name="T3" fmla="*/ 0 h 25"/>
              <a:gd name="T4" fmla="*/ 25 w 28"/>
              <a:gd name="T5" fmla="*/ 3 h 25"/>
              <a:gd name="T6" fmla="*/ 22 w 28"/>
              <a:gd name="T7" fmla="*/ 3 h 25"/>
              <a:gd name="T8" fmla="*/ 22 w 28"/>
              <a:gd name="T9" fmla="*/ 3 h 25"/>
              <a:gd name="T10" fmla="*/ 22 w 28"/>
              <a:gd name="T11" fmla="*/ 7 h 25"/>
              <a:gd name="T12" fmla="*/ 12 w 28"/>
              <a:gd name="T13" fmla="*/ 10 h 25"/>
              <a:gd name="T14" fmla="*/ 9 w 28"/>
              <a:gd name="T15" fmla="*/ 7 h 25"/>
              <a:gd name="T16" fmla="*/ 6 w 28"/>
              <a:gd name="T17" fmla="*/ 10 h 25"/>
              <a:gd name="T18" fmla="*/ 3 w 28"/>
              <a:gd name="T19" fmla="*/ 10 h 25"/>
              <a:gd name="T20" fmla="*/ 9 w 28"/>
              <a:gd name="T21" fmla="*/ 13 h 25"/>
              <a:gd name="T22" fmla="*/ 9 w 28"/>
              <a:gd name="T23" fmla="*/ 19 h 25"/>
              <a:gd name="T24" fmla="*/ 6 w 28"/>
              <a:gd name="T25" fmla="*/ 22 h 25"/>
              <a:gd name="T26" fmla="*/ 0 w 28"/>
              <a:gd name="T27" fmla="*/ 22 h 25"/>
              <a:gd name="T28" fmla="*/ 6 w 28"/>
              <a:gd name="T29" fmla="*/ 25 h 25"/>
              <a:gd name="T30" fmla="*/ 15 w 28"/>
              <a:gd name="T31" fmla="*/ 22 h 25"/>
              <a:gd name="T32" fmla="*/ 18 w 28"/>
              <a:gd name="T33" fmla="*/ 19 h 25"/>
              <a:gd name="T34" fmla="*/ 18 w 28"/>
              <a:gd name="T35" fmla="*/ 16 h 25"/>
              <a:gd name="T36" fmla="*/ 15 w 28"/>
              <a:gd name="T37" fmla="*/ 13 h 25"/>
              <a:gd name="T38" fmla="*/ 22 w 28"/>
              <a:gd name="T39" fmla="*/ 7 h 25"/>
              <a:gd name="T40" fmla="*/ 22 w 28"/>
              <a:gd name="T41"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25">
                <a:moveTo>
                  <a:pt x="22" y="3"/>
                </a:moveTo>
                <a:lnTo>
                  <a:pt x="28" y="0"/>
                </a:lnTo>
                <a:lnTo>
                  <a:pt x="25" y="3"/>
                </a:lnTo>
                <a:lnTo>
                  <a:pt x="22" y="3"/>
                </a:lnTo>
                <a:lnTo>
                  <a:pt x="22" y="3"/>
                </a:lnTo>
                <a:close/>
                <a:moveTo>
                  <a:pt x="22" y="7"/>
                </a:moveTo>
                <a:lnTo>
                  <a:pt x="12" y="10"/>
                </a:lnTo>
                <a:lnTo>
                  <a:pt x="9" y="7"/>
                </a:lnTo>
                <a:lnTo>
                  <a:pt x="6" y="10"/>
                </a:lnTo>
                <a:lnTo>
                  <a:pt x="3" y="10"/>
                </a:lnTo>
                <a:lnTo>
                  <a:pt x="9" y="13"/>
                </a:lnTo>
                <a:lnTo>
                  <a:pt x="9" y="19"/>
                </a:lnTo>
                <a:lnTo>
                  <a:pt x="6" y="22"/>
                </a:lnTo>
                <a:lnTo>
                  <a:pt x="0" y="22"/>
                </a:lnTo>
                <a:lnTo>
                  <a:pt x="6" y="25"/>
                </a:lnTo>
                <a:lnTo>
                  <a:pt x="15" y="22"/>
                </a:lnTo>
                <a:lnTo>
                  <a:pt x="18" y="19"/>
                </a:lnTo>
                <a:lnTo>
                  <a:pt x="18" y="16"/>
                </a:lnTo>
                <a:lnTo>
                  <a:pt x="15" y="13"/>
                </a:lnTo>
                <a:lnTo>
                  <a:pt x="22" y="7"/>
                </a:lnTo>
                <a:lnTo>
                  <a:pt x="22" y="7"/>
                </a:lnTo>
                <a:close/>
              </a:path>
            </a:pathLst>
          </a:custGeom>
          <a:solidFill>
            <a:srgbClr val="B3B2B2"/>
          </a:solidFill>
          <a:ln w="9525">
            <a:solidFill>
              <a:srgbClr val="B3B2B2"/>
            </a:solidFill>
            <a:round/>
            <a:headEnd/>
            <a:tailEnd/>
          </a:ln>
        </p:spPr>
        <p:txBody>
          <a:bodyPr vert="horz" wrap="square" lIns="182868" tIns="91434" rIns="182868" bIns="91434" numCol="1" anchor="t" anchorCtr="0" compatLnSpc="1">
            <a:prstTxWarp prst="textNoShape">
              <a:avLst/>
            </a:prstTxWarp>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10" name="TextBox 1809">
            <a:extLst>
              <a:ext uri="{FF2B5EF4-FFF2-40B4-BE49-F238E27FC236}">
                <a16:creationId xmlns:a16="http://schemas.microsoft.com/office/drawing/2014/main" id="{5C9C8613-F3BE-4825-58D3-4A2EE0066D6E}"/>
              </a:ext>
            </a:extLst>
          </p:cNvPr>
          <p:cNvSpPr txBox="1"/>
          <p:nvPr userDrawn="1"/>
        </p:nvSpPr>
        <p:spPr>
          <a:xfrm>
            <a:off x="22416464" y="13226642"/>
            <a:ext cx="1872086" cy="400110"/>
          </a:xfrm>
          <a:prstGeom prst="rect">
            <a:avLst/>
          </a:prstGeom>
          <a:noFill/>
        </p:spPr>
        <p:txBody>
          <a:bodyPr wrap="square" rtlCol="0" anchor="b">
            <a:spAutoFit/>
          </a:bodyPr>
          <a:lstStyle/>
          <a:p>
            <a:pPr marL="0" marR="0" lvl="0" indent="0" algn="r" defTabSz="1828663" rtl="0" eaLnBrk="1" fontAlgn="auto" latinLnBrk="0" hangingPunct="1">
              <a:lnSpc>
                <a:spcPct val="100000"/>
              </a:lnSpc>
              <a:spcBef>
                <a:spcPts val="0"/>
              </a:spcBef>
              <a:spcAft>
                <a:spcPts val="0"/>
              </a:spcAft>
              <a:buClrTx/>
              <a:buSzTx/>
              <a:buFontTx/>
              <a:buNone/>
              <a:tabLst/>
              <a:defRPr/>
            </a:pPr>
            <a:fld id="{6CE035FB-656D-BE4C-9C54-3AFE6E724348}" type="slidenum">
              <a:rPr kumimoji="0" lang="en-GB" sz="2000" b="0" i="0" u="none" strike="noStrike" kern="1200" cap="none" spc="0" normalizeH="0" baseline="0" noProof="0" smtClean="0">
                <a:ln>
                  <a:noFill/>
                </a:ln>
                <a:solidFill>
                  <a:srgbClr val="000000"/>
                </a:solidFill>
                <a:effectLst/>
                <a:uLnTx/>
                <a:uFillTx/>
                <a:latin typeface="Noto IKEA Latin" panose="020B0502040504020204" pitchFamily="34" charset="0"/>
                <a:ea typeface="+mn-ea"/>
                <a:cs typeface="+mn-cs"/>
              </a:rPr>
              <a:pPr marL="0" marR="0" lvl="0" indent="0" algn="r" defTabSz="1828663" rtl="0" eaLnBrk="1" fontAlgn="auto" latinLnBrk="0" hangingPunct="1">
                <a:lnSpc>
                  <a:spcPct val="100000"/>
                </a:lnSpc>
                <a:spcBef>
                  <a:spcPts val="0"/>
                </a:spcBef>
                <a:spcAft>
                  <a:spcPts val="0"/>
                </a:spcAft>
                <a:buClrTx/>
                <a:buSzTx/>
                <a:buFontTx/>
                <a:buNone/>
                <a:tabLst/>
                <a:defRPr/>
              </a:pPr>
              <a:t>‹#›</a:t>
            </a:fld>
            <a:endParaRPr kumimoji="0" lang="en-GB" sz="2000" b="0" i="0" u="none" strike="noStrike" kern="1200" cap="none" spc="0" normalizeH="0" baseline="0" noProof="0">
              <a:ln>
                <a:noFill/>
              </a:ln>
              <a:solidFill>
                <a:srgbClr val="000000"/>
              </a:solidFill>
              <a:effectLst/>
              <a:uLnTx/>
              <a:uFillTx/>
              <a:latin typeface="Noto IKEA Latin" panose="020B0502040504020204" pitchFamily="34" charset="0"/>
              <a:ea typeface="+mn-ea"/>
              <a:cs typeface="+mn-cs"/>
            </a:endParaRPr>
          </a:p>
        </p:txBody>
      </p:sp>
    </p:spTree>
    <p:extLst>
      <p:ext uri="{BB962C8B-B14F-4D97-AF65-F5344CB8AC3E}">
        <p14:creationId xmlns:p14="http://schemas.microsoft.com/office/powerpoint/2010/main" val="559827454"/>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imeline a">
    <p:spTree>
      <p:nvGrpSpPr>
        <p:cNvPr id="1" name=""/>
        <p:cNvGrpSpPr/>
        <p:nvPr/>
      </p:nvGrpSpPr>
      <p:grpSpPr>
        <a:xfrm>
          <a:off x="0" y="0"/>
          <a:ext cx="0" cy="0"/>
          <a:chOff x="0" y="0"/>
          <a:chExt cx="0" cy="0"/>
        </a:xfrm>
      </p:grpSpPr>
      <p:cxnSp>
        <p:nvCxnSpPr>
          <p:cNvPr id="28" name="Straight Connector 27">
            <a:extLst>
              <a:ext uri="{FF2B5EF4-FFF2-40B4-BE49-F238E27FC236}">
                <a16:creationId xmlns:a16="http://schemas.microsoft.com/office/drawing/2014/main" id="{CBAD3FB8-9E01-2EC1-BC27-7E3BECA73148}"/>
              </a:ext>
            </a:extLst>
          </p:cNvPr>
          <p:cNvCxnSpPr>
            <a:cxnSpLocks/>
          </p:cNvCxnSpPr>
          <p:nvPr userDrawn="1"/>
        </p:nvCxnSpPr>
        <p:spPr>
          <a:xfrm>
            <a:off x="12191206" y="8275243"/>
            <a:ext cx="0" cy="544075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Picture Placeholder 2">
            <a:extLst>
              <a:ext uri="{FF2B5EF4-FFF2-40B4-BE49-F238E27FC236}">
                <a16:creationId xmlns:a16="http://schemas.microsoft.com/office/drawing/2014/main" id="{E6A6E655-D96A-9B80-8D18-AA4B5BEAFE99}"/>
              </a:ext>
            </a:extLst>
          </p:cNvPr>
          <p:cNvSpPr>
            <a:spLocks noGrp="1"/>
          </p:cNvSpPr>
          <p:nvPr>
            <p:ph type="pic" sz="quarter" idx="19" hasCustomPrompt="1"/>
          </p:nvPr>
        </p:nvSpPr>
        <p:spPr>
          <a:xfrm>
            <a:off x="9612583" y="3113584"/>
            <a:ext cx="5157245" cy="51588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Tree>
    <p:extLst>
      <p:ext uri="{BB962C8B-B14F-4D97-AF65-F5344CB8AC3E}">
        <p14:creationId xmlns:p14="http://schemas.microsoft.com/office/powerpoint/2010/main" val="3778928388"/>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imeline b">
    <p:spTree>
      <p:nvGrpSpPr>
        <p:cNvPr id="1" name=""/>
        <p:cNvGrpSpPr/>
        <p:nvPr/>
      </p:nvGrpSpPr>
      <p:grpSpPr>
        <a:xfrm>
          <a:off x="0" y="0"/>
          <a:ext cx="0" cy="0"/>
          <a:chOff x="0" y="0"/>
          <a:chExt cx="0" cy="0"/>
        </a:xfrm>
      </p:grpSpPr>
      <p:cxnSp>
        <p:nvCxnSpPr>
          <p:cNvPr id="19" name="Straight Connector 18">
            <a:extLst>
              <a:ext uri="{FF2B5EF4-FFF2-40B4-BE49-F238E27FC236}">
                <a16:creationId xmlns:a16="http://schemas.microsoft.com/office/drawing/2014/main" id="{9BD6F7A3-B3D7-3785-90D5-057D3BF1DC94}"/>
              </a:ext>
            </a:extLst>
          </p:cNvPr>
          <p:cNvCxnSpPr>
            <a:cxnSpLocks/>
          </p:cNvCxnSpPr>
          <p:nvPr userDrawn="1"/>
        </p:nvCxnSpPr>
        <p:spPr>
          <a:xfrm>
            <a:off x="12191206" y="0"/>
            <a:ext cx="0" cy="137160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9408933"/>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imeline c">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3ADC2D84-6F4C-92C9-B642-AD62273EFC2F}"/>
              </a:ext>
            </a:extLst>
          </p:cNvPr>
          <p:cNvCxnSpPr>
            <a:cxnSpLocks/>
          </p:cNvCxnSpPr>
          <p:nvPr userDrawn="1"/>
        </p:nvCxnSpPr>
        <p:spPr>
          <a:xfrm>
            <a:off x="12191206" y="0"/>
            <a:ext cx="0" cy="1060241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9704036"/>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DAE5E194-00D9-E75D-3576-A56FDA41DA3F}"/>
              </a:ext>
            </a:extLst>
          </p:cNvPr>
          <p:cNvSpPr>
            <a:spLocks noGrp="1"/>
          </p:cNvSpPr>
          <p:nvPr>
            <p:ph type="pic" sz="quarter" idx="11"/>
          </p:nvPr>
        </p:nvSpPr>
        <p:spPr>
          <a:xfrm>
            <a:off x="1927740" y="4928904"/>
            <a:ext cx="3888984" cy="3888985"/>
          </a:xfrm>
        </p:spPr>
        <p:txBody>
          <a:bodyPr/>
          <a:lstStyle/>
          <a:p>
            <a:r>
              <a:rPr lang="de-DE"/>
              <a:t>Bild durch Klicken auf Symbol hinzufügen</a:t>
            </a:r>
            <a:endParaRPr lang="en-US"/>
          </a:p>
        </p:txBody>
      </p:sp>
      <p:sp>
        <p:nvSpPr>
          <p:cNvPr id="13" name="Picture Placeholder 11">
            <a:extLst>
              <a:ext uri="{FF2B5EF4-FFF2-40B4-BE49-F238E27FC236}">
                <a16:creationId xmlns:a16="http://schemas.microsoft.com/office/drawing/2014/main" id="{B0BE321F-8EE4-C89E-A53D-8A85D61C9E14}"/>
              </a:ext>
            </a:extLst>
          </p:cNvPr>
          <p:cNvSpPr>
            <a:spLocks noGrp="1"/>
          </p:cNvSpPr>
          <p:nvPr>
            <p:ph type="pic" sz="quarter" idx="12"/>
          </p:nvPr>
        </p:nvSpPr>
        <p:spPr>
          <a:xfrm>
            <a:off x="7400398" y="4928904"/>
            <a:ext cx="3888984" cy="3888985"/>
          </a:xfrm>
        </p:spPr>
        <p:txBody>
          <a:bodyPr/>
          <a:lstStyle/>
          <a:p>
            <a:r>
              <a:rPr lang="de-DE"/>
              <a:t>Bild durch Klicken auf Symbol hinzufügen</a:t>
            </a:r>
            <a:endParaRPr lang="en-US"/>
          </a:p>
        </p:txBody>
      </p:sp>
      <p:sp>
        <p:nvSpPr>
          <p:cNvPr id="15" name="Picture Placeholder 11">
            <a:extLst>
              <a:ext uri="{FF2B5EF4-FFF2-40B4-BE49-F238E27FC236}">
                <a16:creationId xmlns:a16="http://schemas.microsoft.com/office/drawing/2014/main" id="{DD4BA9AA-7CAA-DBBF-4EC8-EEC5A6FA3F9A}"/>
              </a:ext>
            </a:extLst>
          </p:cNvPr>
          <p:cNvSpPr>
            <a:spLocks noGrp="1"/>
          </p:cNvSpPr>
          <p:nvPr>
            <p:ph type="pic" sz="quarter" idx="13"/>
          </p:nvPr>
        </p:nvSpPr>
        <p:spPr>
          <a:xfrm>
            <a:off x="12873007" y="4928904"/>
            <a:ext cx="3888984" cy="3888985"/>
          </a:xfrm>
        </p:spPr>
        <p:txBody>
          <a:bodyPr/>
          <a:lstStyle/>
          <a:p>
            <a:r>
              <a:rPr lang="de-DE"/>
              <a:t>Bild durch Klicken auf Symbol hinzufügen</a:t>
            </a:r>
            <a:endParaRPr lang="en-US"/>
          </a:p>
        </p:txBody>
      </p:sp>
      <p:sp>
        <p:nvSpPr>
          <p:cNvPr id="16" name="Picture Placeholder 11">
            <a:extLst>
              <a:ext uri="{FF2B5EF4-FFF2-40B4-BE49-F238E27FC236}">
                <a16:creationId xmlns:a16="http://schemas.microsoft.com/office/drawing/2014/main" id="{4A26D564-5935-444D-7220-881B06BF9B6E}"/>
              </a:ext>
            </a:extLst>
          </p:cNvPr>
          <p:cNvSpPr>
            <a:spLocks noGrp="1"/>
          </p:cNvSpPr>
          <p:nvPr>
            <p:ph type="pic" sz="quarter" idx="14"/>
          </p:nvPr>
        </p:nvSpPr>
        <p:spPr>
          <a:xfrm>
            <a:off x="18345665" y="4904780"/>
            <a:ext cx="3888984" cy="3888985"/>
          </a:xfrm>
        </p:spPr>
        <p:txBody>
          <a:bodyPr/>
          <a:lstStyle/>
          <a:p>
            <a:r>
              <a:rPr lang="de-DE"/>
              <a:t>Bild durch Klicken auf Symbol hinzufügen</a:t>
            </a:r>
            <a:endParaRPr lang="en-US"/>
          </a:p>
        </p:txBody>
      </p:sp>
    </p:spTree>
    <p:extLst>
      <p:ext uri="{BB962C8B-B14F-4D97-AF65-F5344CB8AC3E}">
        <p14:creationId xmlns:p14="http://schemas.microsoft.com/office/powerpoint/2010/main" val="3901781693"/>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userDrawn="1">
  <p:cSld name="Title on partial colour background, texture or image with IKEA logo">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87BBF9D-BEB5-5444-89E4-010A3501B6E5}"/>
              </a:ext>
            </a:extLst>
          </p:cNvPr>
          <p:cNvSpPr>
            <a:spLocks noGrp="1"/>
          </p:cNvSpPr>
          <p:nvPr>
            <p:ph type="pic" sz="quarter" idx="14" hasCustomPrompt="1"/>
          </p:nvPr>
        </p:nvSpPr>
        <p:spPr>
          <a:xfrm>
            <a:off x="0" y="-1"/>
            <a:ext cx="24382413" cy="1045845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Drag and drop to add a pictur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1679467" y="1677601"/>
            <a:ext cx="21029831" cy="4013370"/>
          </a:xfrm>
          <a:prstGeom prst="rect">
            <a:avLst/>
          </a:prstGeom>
        </p:spPr>
        <p:txBody>
          <a:bodyPr vert="horz" lIns="91440" tIns="45720" rIns="91440" bIns="45720" rtlCol="0" anchor="t">
            <a:noAutofit/>
          </a:bodyPr>
          <a:lstStyle>
            <a:lvl1pPr>
              <a:defRPr/>
            </a:lvl1pPr>
          </a:lstStyle>
          <a:p>
            <a:r>
              <a:rPr lang="en-GB" noProof="0"/>
              <a:t>Put the title here,</a:t>
            </a:r>
            <a:br>
              <a:rPr lang="en-GB" noProof="0"/>
            </a:br>
            <a:r>
              <a:rPr lang="en-GB" noProof="0"/>
              <a:t>keep it bold 60 pt</a:t>
            </a:r>
          </a:p>
        </p:txBody>
      </p:sp>
      <p:sp>
        <p:nvSpPr>
          <p:cNvPr id="10" name="Text Placeholder 6">
            <a:extLst>
              <a:ext uri="{FF2B5EF4-FFF2-40B4-BE49-F238E27FC236}">
                <a16:creationId xmlns:a16="http://schemas.microsoft.com/office/drawing/2014/main" id="{ECC773ED-664B-824F-91D1-6C08CFB17BDA}"/>
              </a:ext>
            </a:extLst>
          </p:cNvPr>
          <p:cNvSpPr>
            <a:spLocks noGrp="1"/>
          </p:cNvSpPr>
          <p:nvPr>
            <p:ph type="body" sz="quarter" idx="13" hasCustomPrompt="1"/>
          </p:nvPr>
        </p:nvSpPr>
        <p:spPr>
          <a:xfrm>
            <a:off x="1700166" y="6137279"/>
            <a:ext cx="10657784" cy="3457030"/>
          </a:xfrm>
        </p:spPr>
        <p:txBody>
          <a:bodyPr/>
          <a:lstStyle>
            <a:lvl1pPr>
              <a:spcBef>
                <a:spcPts val="0"/>
              </a:spcBef>
              <a:defRPr sz="4800"/>
            </a:lvl1pPr>
          </a:lstStyle>
          <a:p>
            <a:pPr lvl="0"/>
            <a:r>
              <a:rPr lang="en-GB" noProof="0"/>
              <a:t>Put the subtitle here,</a:t>
            </a:r>
            <a:br>
              <a:rPr lang="en-GB" noProof="0"/>
            </a:br>
            <a:r>
              <a:rPr lang="en-GB" noProof="0"/>
              <a:t>keep it regular 24 </a:t>
            </a:r>
            <a:r>
              <a:rPr lang="en-GB" noProof="0" err="1"/>
              <a:t>pt</a:t>
            </a:r>
            <a:endParaRPr lang="en-GB" noProof="0"/>
          </a:p>
        </p:txBody>
      </p:sp>
      <p:pic>
        <p:nvPicPr>
          <p:cNvPr id="9" name="Picture 8">
            <a:extLst>
              <a:ext uri="{FF2B5EF4-FFF2-40B4-BE49-F238E27FC236}">
                <a16:creationId xmlns:a16="http://schemas.microsoft.com/office/drawing/2014/main" id="{96D72230-E953-2344-BE6F-83C4D88C1C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570073" y="10514133"/>
            <a:ext cx="4812341" cy="3236442"/>
          </a:xfrm>
          <a:prstGeom prst="rect">
            <a:avLst/>
          </a:prstGeom>
        </p:spPr>
      </p:pic>
      <p:sp>
        <p:nvSpPr>
          <p:cNvPr id="4" name="Text Placeholder 3">
            <a:extLst>
              <a:ext uri="{FF2B5EF4-FFF2-40B4-BE49-F238E27FC236}">
                <a16:creationId xmlns:a16="http://schemas.microsoft.com/office/drawing/2014/main" id="{B5329D23-EF50-DA48-938A-1EBB7615B30C}"/>
              </a:ext>
            </a:extLst>
          </p:cNvPr>
          <p:cNvSpPr>
            <a:spLocks noGrp="1"/>
          </p:cNvSpPr>
          <p:nvPr>
            <p:ph type="body" sz="quarter" idx="18"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0</a:t>
            </a:r>
            <a:endParaRPr lang="en-GB"/>
          </a:p>
        </p:txBody>
      </p:sp>
    </p:spTree>
    <p:extLst>
      <p:ext uri="{BB962C8B-B14F-4D97-AF65-F5344CB8AC3E}">
        <p14:creationId xmlns:p14="http://schemas.microsoft.com/office/powerpoint/2010/main" val="4098548550"/>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5FC515-BD1A-24AF-F1AF-83D521BAB4C2}"/>
              </a:ext>
            </a:extLst>
          </p:cNvPr>
          <p:cNvSpPr>
            <a:spLocks noGrp="1"/>
          </p:cNvSpPr>
          <p:nvPr>
            <p:ph type="title"/>
          </p:nvPr>
        </p:nvSpPr>
        <p:spPr/>
        <p:txBody>
          <a:bodyPr/>
          <a:lstStyle/>
          <a:p>
            <a:r>
              <a:rPr lang="en-US"/>
              <a:t>Click to edit Master title style</a:t>
            </a:r>
            <a:endParaRPr lang="sv-SE"/>
          </a:p>
        </p:txBody>
      </p:sp>
      <p:sp>
        <p:nvSpPr>
          <p:cNvPr id="3" name="Content Placeholder 2">
            <a:extLst>
              <a:ext uri="{FF2B5EF4-FFF2-40B4-BE49-F238E27FC236}">
                <a16:creationId xmlns:a16="http://schemas.microsoft.com/office/drawing/2014/main" id="{B622ED5E-85BE-ADBE-F9FF-30CAF6D96FE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2AD9E189-51ED-0A6A-CBAE-FA3B01813EEB}"/>
              </a:ext>
            </a:extLst>
          </p:cNvPr>
          <p:cNvSpPr>
            <a:spLocks noGrp="1"/>
          </p:cNvSpPr>
          <p:nvPr>
            <p:ph type="dt" sz="half" idx="10"/>
          </p:nvPr>
        </p:nvSpPr>
        <p:spPr/>
        <p:txBody>
          <a:bodyPr/>
          <a:lstStyle/>
          <a:p>
            <a:fld id="{0E5E7D75-9A85-4D16-B97A-00475CA0C7B9}" type="datetimeFigureOut">
              <a:rPr lang="sv-SE" smtClean="0"/>
              <a:t>2025-03-12</a:t>
            </a:fld>
            <a:endParaRPr lang="sv-SE"/>
          </a:p>
        </p:txBody>
      </p:sp>
      <p:sp>
        <p:nvSpPr>
          <p:cNvPr id="5" name="Footer Placeholder 4">
            <a:extLst>
              <a:ext uri="{FF2B5EF4-FFF2-40B4-BE49-F238E27FC236}">
                <a16:creationId xmlns:a16="http://schemas.microsoft.com/office/drawing/2014/main" id="{EB55365E-32F0-6611-F6DF-B1C70A035FB4}"/>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B56EB2CC-4246-53B9-C85B-6EB2C5AFDE0B}"/>
              </a:ext>
            </a:extLst>
          </p:cNvPr>
          <p:cNvSpPr>
            <a:spLocks noGrp="1"/>
          </p:cNvSpPr>
          <p:nvPr>
            <p:ph type="sldNum" sz="quarter" idx="12"/>
          </p:nvPr>
        </p:nvSpPr>
        <p:spPr/>
        <p:txBody>
          <a:bodyPr/>
          <a:lstStyle/>
          <a:p>
            <a:fld id="{8E7B0A6D-35AA-4C13-AC10-737F83F65456}" type="slidenum">
              <a:rPr lang="sv-SE" smtClean="0"/>
              <a:t>‹#›</a:t>
            </a:fld>
            <a:endParaRPr lang="sv-SE"/>
          </a:p>
        </p:txBody>
      </p:sp>
    </p:spTree>
    <p:extLst>
      <p:ext uri="{BB962C8B-B14F-4D97-AF65-F5344CB8AC3E}">
        <p14:creationId xmlns:p14="http://schemas.microsoft.com/office/powerpoint/2010/main" val="166937078"/>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on partial colour background, texture or image with IKEA logo">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87BBF9D-BEB5-5444-89E4-010A3501B6E5}"/>
              </a:ext>
            </a:extLst>
          </p:cNvPr>
          <p:cNvSpPr>
            <a:spLocks noGrp="1"/>
          </p:cNvSpPr>
          <p:nvPr>
            <p:ph type="pic" sz="quarter" idx="14" hasCustomPrompt="1"/>
          </p:nvPr>
        </p:nvSpPr>
        <p:spPr>
          <a:xfrm>
            <a:off x="0" y="-1"/>
            <a:ext cx="24382413" cy="1045845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Drag and drop to add a pictur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1679467" y="1677601"/>
            <a:ext cx="21029831" cy="4013370"/>
          </a:xfrm>
          <a:prstGeom prst="rect">
            <a:avLst/>
          </a:prstGeom>
        </p:spPr>
        <p:txBody>
          <a:bodyPr vert="horz" lIns="91440" tIns="45720" rIns="91440" bIns="45720" rtlCol="0" anchor="t">
            <a:noAutofit/>
          </a:bodyPr>
          <a:lstStyle>
            <a:lvl1pPr>
              <a:defRPr/>
            </a:lvl1pPr>
          </a:lstStyle>
          <a:p>
            <a:r>
              <a:rPr lang="en-GB" noProof="0"/>
              <a:t>Put the title here,</a:t>
            </a:r>
            <a:br>
              <a:rPr lang="en-GB" noProof="0"/>
            </a:br>
            <a:r>
              <a:rPr lang="en-GB" noProof="0"/>
              <a:t>keep it bold 60 pt</a:t>
            </a:r>
          </a:p>
        </p:txBody>
      </p:sp>
      <p:sp>
        <p:nvSpPr>
          <p:cNvPr id="10" name="Text Placeholder 6">
            <a:extLst>
              <a:ext uri="{FF2B5EF4-FFF2-40B4-BE49-F238E27FC236}">
                <a16:creationId xmlns:a16="http://schemas.microsoft.com/office/drawing/2014/main" id="{ECC773ED-664B-824F-91D1-6C08CFB17BDA}"/>
              </a:ext>
            </a:extLst>
          </p:cNvPr>
          <p:cNvSpPr>
            <a:spLocks noGrp="1"/>
          </p:cNvSpPr>
          <p:nvPr>
            <p:ph type="body" sz="quarter" idx="13" hasCustomPrompt="1"/>
          </p:nvPr>
        </p:nvSpPr>
        <p:spPr>
          <a:xfrm>
            <a:off x="1700166" y="6137279"/>
            <a:ext cx="10657784" cy="3457030"/>
          </a:xfrm>
        </p:spPr>
        <p:txBody>
          <a:bodyPr/>
          <a:lstStyle>
            <a:lvl1pPr>
              <a:spcBef>
                <a:spcPts val="0"/>
              </a:spcBef>
              <a:defRPr sz="4800"/>
            </a:lvl1pPr>
          </a:lstStyle>
          <a:p>
            <a:pPr lvl="0"/>
            <a:r>
              <a:rPr lang="en-GB" noProof="0"/>
              <a:t>Put the subtitle here,</a:t>
            </a:r>
            <a:br>
              <a:rPr lang="en-GB" noProof="0"/>
            </a:br>
            <a:r>
              <a:rPr lang="en-GB" noProof="0"/>
              <a:t>keep it regular 24 </a:t>
            </a:r>
            <a:r>
              <a:rPr lang="en-GB" noProof="0" err="1"/>
              <a:t>pt</a:t>
            </a:r>
            <a:endParaRPr lang="en-GB" noProof="0"/>
          </a:p>
        </p:txBody>
      </p:sp>
      <p:pic>
        <p:nvPicPr>
          <p:cNvPr id="9" name="Picture 8">
            <a:extLst>
              <a:ext uri="{FF2B5EF4-FFF2-40B4-BE49-F238E27FC236}">
                <a16:creationId xmlns:a16="http://schemas.microsoft.com/office/drawing/2014/main" id="{96D72230-E953-2344-BE6F-83C4D88C1C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570073" y="10514133"/>
            <a:ext cx="4812341" cy="3236442"/>
          </a:xfrm>
          <a:prstGeom prst="rect">
            <a:avLst/>
          </a:prstGeom>
        </p:spPr>
      </p:pic>
      <p:sp>
        <p:nvSpPr>
          <p:cNvPr id="4" name="Text Placeholder 3">
            <a:extLst>
              <a:ext uri="{FF2B5EF4-FFF2-40B4-BE49-F238E27FC236}">
                <a16:creationId xmlns:a16="http://schemas.microsoft.com/office/drawing/2014/main" id="{B5329D23-EF50-DA48-938A-1EBB7615B30C}"/>
              </a:ext>
            </a:extLst>
          </p:cNvPr>
          <p:cNvSpPr>
            <a:spLocks noGrp="1"/>
          </p:cNvSpPr>
          <p:nvPr>
            <p:ph type="body" sz="quarter" idx="18"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0</a:t>
            </a:r>
            <a:endParaRPr lang="en-GB"/>
          </a:p>
        </p:txBody>
      </p:sp>
    </p:spTree>
    <p:extLst>
      <p:ext uri="{BB962C8B-B14F-4D97-AF65-F5344CB8AC3E}">
        <p14:creationId xmlns:p14="http://schemas.microsoft.com/office/powerpoint/2010/main" val="35088053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on partial colour background, texture or image with IKEA logo">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87BBF9D-BEB5-5444-89E4-010A3501B6E5}"/>
              </a:ext>
            </a:extLst>
          </p:cNvPr>
          <p:cNvSpPr>
            <a:spLocks noGrp="1"/>
          </p:cNvSpPr>
          <p:nvPr>
            <p:ph type="pic" sz="quarter" idx="14" hasCustomPrompt="1"/>
          </p:nvPr>
        </p:nvSpPr>
        <p:spPr>
          <a:xfrm>
            <a:off x="0" y="-1"/>
            <a:ext cx="24382413" cy="1045845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Drag and drop to add a pictur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1679467" y="1677601"/>
            <a:ext cx="21029831" cy="4013370"/>
          </a:xfrm>
          <a:prstGeom prst="rect">
            <a:avLst/>
          </a:prstGeom>
        </p:spPr>
        <p:txBody>
          <a:bodyPr vert="horz" lIns="91440" tIns="45720" rIns="91440" bIns="45720" rtlCol="0" anchor="t">
            <a:noAutofit/>
          </a:bodyPr>
          <a:lstStyle>
            <a:lvl1pPr>
              <a:defRPr/>
            </a:lvl1pPr>
          </a:lstStyle>
          <a:p>
            <a:r>
              <a:rPr lang="en-GB" noProof="0"/>
              <a:t>Put the title here,</a:t>
            </a:r>
            <a:br>
              <a:rPr lang="en-GB" noProof="0"/>
            </a:br>
            <a:r>
              <a:rPr lang="en-GB" noProof="0"/>
              <a:t>keep it bold 60 pt</a:t>
            </a:r>
          </a:p>
        </p:txBody>
      </p:sp>
      <p:sp>
        <p:nvSpPr>
          <p:cNvPr id="10" name="Text Placeholder 6">
            <a:extLst>
              <a:ext uri="{FF2B5EF4-FFF2-40B4-BE49-F238E27FC236}">
                <a16:creationId xmlns:a16="http://schemas.microsoft.com/office/drawing/2014/main" id="{ECC773ED-664B-824F-91D1-6C08CFB17BDA}"/>
              </a:ext>
            </a:extLst>
          </p:cNvPr>
          <p:cNvSpPr>
            <a:spLocks noGrp="1"/>
          </p:cNvSpPr>
          <p:nvPr>
            <p:ph type="body" sz="quarter" idx="13" hasCustomPrompt="1"/>
          </p:nvPr>
        </p:nvSpPr>
        <p:spPr>
          <a:xfrm>
            <a:off x="1700166" y="6137279"/>
            <a:ext cx="10657784" cy="3457030"/>
          </a:xfrm>
        </p:spPr>
        <p:txBody>
          <a:bodyPr/>
          <a:lstStyle>
            <a:lvl1pPr>
              <a:spcBef>
                <a:spcPts val="0"/>
              </a:spcBef>
              <a:defRPr sz="4800"/>
            </a:lvl1pPr>
          </a:lstStyle>
          <a:p>
            <a:pPr lvl="0"/>
            <a:r>
              <a:rPr lang="en-GB" noProof="0"/>
              <a:t>Put the subtitle here,</a:t>
            </a:r>
            <a:br>
              <a:rPr lang="en-GB" noProof="0"/>
            </a:br>
            <a:r>
              <a:rPr lang="en-GB" noProof="0"/>
              <a:t>keep it regular 24 </a:t>
            </a:r>
            <a:r>
              <a:rPr lang="en-GB" noProof="0" err="1"/>
              <a:t>pt</a:t>
            </a:r>
            <a:endParaRPr lang="en-GB" noProof="0"/>
          </a:p>
        </p:txBody>
      </p:sp>
      <p:pic>
        <p:nvPicPr>
          <p:cNvPr id="9" name="Picture 8">
            <a:extLst>
              <a:ext uri="{FF2B5EF4-FFF2-40B4-BE49-F238E27FC236}">
                <a16:creationId xmlns:a16="http://schemas.microsoft.com/office/drawing/2014/main" id="{96D72230-E953-2344-BE6F-83C4D88C1C4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570073" y="10514133"/>
            <a:ext cx="4812341" cy="3236442"/>
          </a:xfrm>
          <a:prstGeom prst="rect">
            <a:avLst/>
          </a:prstGeom>
        </p:spPr>
      </p:pic>
      <p:sp>
        <p:nvSpPr>
          <p:cNvPr id="4" name="Text Placeholder 3">
            <a:extLst>
              <a:ext uri="{FF2B5EF4-FFF2-40B4-BE49-F238E27FC236}">
                <a16:creationId xmlns:a16="http://schemas.microsoft.com/office/drawing/2014/main" id="{B5329D23-EF50-DA48-938A-1EBB7615B30C}"/>
              </a:ext>
            </a:extLst>
          </p:cNvPr>
          <p:cNvSpPr>
            <a:spLocks noGrp="1"/>
          </p:cNvSpPr>
          <p:nvPr>
            <p:ph type="body" sz="quarter" idx="18"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0</a:t>
            </a:r>
            <a:endParaRPr lang="en-GB"/>
          </a:p>
        </p:txBody>
      </p:sp>
    </p:spTree>
    <p:extLst>
      <p:ext uri="{BB962C8B-B14F-4D97-AF65-F5344CB8AC3E}">
        <p14:creationId xmlns:p14="http://schemas.microsoft.com/office/powerpoint/2010/main" val="56371357"/>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on white background with IKEA logo">
    <p:bg>
      <p:bgPr>
        <a:solidFill>
          <a:schemeClr val="bg1"/>
        </a:solidFill>
        <a:effectLst/>
      </p:bgPr>
    </p:bg>
    <p:spTree>
      <p:nvGrpSpPr>
        <p:cNvPr id="1" name=""/>
        <p:cNvGrpSpPr/>
        <p:nvPr/>
      </p:nvGrpSpPr>
      <p:grpSpPr>
        <a:xfrm>
          <a:off x="0" y="0"/>
          <a:ext cx="0" cy="0"/>
          <a:chOff x="0" y="0"/>
          <a:chExt cx="0" cy="0"/>
        </a:xfrm>
      </p:grpSpPr>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1677491" y="1677601"/>
            <a:ext cx="21029831" cy="4013370"/>
          </a:xfrm>
          <a:prstGeom prst="rect">
            <a:avLst/>
          </a:prstGeom>
        </p:spPr>
        <p:txBody>
          <a:bodyPr vert="horz" lIns="91440" tIns="45720" rIns="91440" bIns="45720" rtlCol="0" anchor="t">
            <a:noAutofit/>
          </a:bodyPr>
          <a:lstStyle>
            <a:lvl1pPr>
              <a:defRPr/>
            </a:lvl1pPr>
          </a:lstStyle>
          <a:p>
            <a:r>
              <a:rPr lang="en-GB" noProof="0"/>
              <a:t>Put the title here,</a:t>
            </a:r>
            <a:br>
              <a:rPr lang="en-GB" noProof="0"/>
            </a:br>
            <a:r>
              <a:rPr lang="en-GB" noProof="0"/>
              <a:t>keep it bold 60 pt</a:t>
            </a:r>
          </a:p>
        </p:txBody>
      </p:sp>
      <p:sp>
        <p:nvSpPr>
          <p:cNvPr id="10" name="Text Placeholder 6">
            <a:extLst>
              <a:ext uri="{FF2B5EF4-FFF2-40B4-BE49-F238E27FC236}">
                <a16:creationId xmlns:a16="http://schemas.microsoft.com/office/drawing/2014/main" id="{ECC773ED-664B-824F-91D1-6C08CFB17BDA}"/>
              </a:ext>
            </a:extLst>
          </p:cNvPr>
          <p:cNvSpPr>
            <a:spLocks noGrp="1"/>
          </p:cNvSpPr>
          <p:nvPr>
            <p:ph type="body" sz="quarter" idx="13" hasCustomPrompt="1"/>
          </p:nvPr>
        </p:nvSpPr>
        <p:spPr>
          <a:xfrm>
            <a:off x="1700166" y="6137279"/>
            <a:ext cx="10657784" cy="3457030"/>
          </a:xfrm>
        </p:spPr>
        <p:txBody>
          <a:bodyPr/>
          <a:lstStyle>
            <a:lvl1pPr>
              <a:spcBef>
                <a:spcPts val="0"/>
              </a:spcBef>
              <a:defRPr sz="4800"/>
            </a:lvl1pPr>
          </a:lstStyle>
          <a:p>
            <a:pPr lvl="0"/>
            <a:r>
              <a:rPr lang="en-GB" noProof="0"/>
              <a:t>Put the subtitle here,</a:t>
            </a:r>
            <a:br>
              <a:rPr lang="en-GB" noProof="0"/>
            </a:br>
            <a:r>
              <a:rPr lang="en-GB" noProof="0"/>
              <a:t>keep it regular 24 pt</a:t>
            </a:r>
          </a:p>
        </p:txBody>
      </p:sp>
      <p:pic>
        <p:nvPicPr>
          <p:cNvPr id="7" name="Picture 6">
            <a:extLst>
              <a:ext uri="{FF2B5EF4-FFF2-40B4-BE49-F238E27FC236}">
                <a16:creationId xmlns:a16="http://schemas.microsoft.com/office/drawing/2014/main" id="{1B54746A-F2B1-D64D-A6FD-BA620F3BF86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570073" y="10514133"/>
            <a:ext cx="4812341" cy="3236442"/>
          </a:xfrm>
          <a:prstGeom prst="rect">
            <a:avLst/>
          </a:prstGeom>
        </p:spPr>
      </p:pic>
    </p:spTree>
    <p:extLst>
      <p:ext uri="{BB962C8B-B14F-4D97-AF65-F5344CB8AC3E}">
        <p14:creationId xmlns:p14="http://schemas.microsoft.com/office/powerpoint/2010/main" val="4198961792"/>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Agenda/contents">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90F7D97-7943-F74E-8640-D30812E6AB99}"/>
              </a:ext>
            </a:extLst>
          </p:cNvPr>
          <p:cNvSpPr>
            <a:spLocks noGrp="1"/>
          </p:cNvSpPr>
          <p:nvPr>
            <p:ph type="title" hasCustomPrompt="1"/>
          </p:nvPr>
        </p:nvSpPr>
        <p:spPr>
          <a:xfrm>
            <a:off x="1676291" y="1677601"/>
            <a:ext cx="10514916" cy="2304454"/>
          </a:xfrm>
          <a:prstGeom prst="rect">
            <a:avLst/>
          </a:prstGeom>
        </p:spPr>
        <p:txBody>
          <a:bodyPr/>
          <a:lstStyle>
            <a:lvl1pPr>
              <a:lnSpc>
                <a:spcPct val="100000"/>
              </a:lnSpc>
              <a:defRPr sz="7200"/>
            </a:lvl1pPr>
          </a:lstStyle>
          <a:p>
            <a:r>
              <a:rPr lang="en-GB" noProof="0"/>
              <a:t>Agenda or contents</a:t>
            </a:r>
          </a:p>
        </p:txBody>
      </p:sp>
      <p:sp>
        <p:nvSpPr>
          <p:cNvPr id="10" name="Text Placeholder 9">
            <a:extLst>
              <a:ext uri="{FF2B5EF4-FFF2-40B4-BE49-F238E27FC236}">
                <a16:creationId xmlns:a16="http://schemas.microsoft.com/office/drawing/2014/main" id="{E234D5AF-452C-2E41-B572-1BD2DC3468B0}"/>
              </a:ext>
            </a:extLst>
          </p:cNvPr>
          <p:cNvSpPr>
            <a:spLocks noGrp="1"/>
          </p:cNvSpPr>
          <p:nvPr>
            <p:ph type="body" sz="quarter" idx="11" hasCustomPrompt="1"/>
          </p:nvPr>
        </p:nvSpPr>
        <p:spPr>
          <a:xfrm>
            <a:off x="1676291" y="4409731"/>
            <a:ext cx="10514916" cy="7633046"/>
          </a:xfrm>
        </p:spPr>
        <p:txBody>
          <a:bodyPr lIns="90000" rIns="90000">
            <a:noAutofit/>
          </a:bodyPr>
          <a:lstStyle>
            <a:lvl1pPr marL="0" marR="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sz="4800"/>
            </a:lvl1pPr>
            <a:lvl2pPr marL="914332" marR="0" indent="0" algn="l" defTabSz="1828663" rtl="0" eaLnBrk="1" fontAlgn="auto" latinLnBrk="0" hangingPunct="1">
              <a:lnSpc>
                <a:spcPct val="100000"/>
              </a:lnSpc>
              <a:spcBef>
                <a:spcPts val="1000"/>
              </a:spcBef>
              <a:spcAft>
                <a:spcPts val="0"/>
              </a:spcAft>
              <a:buClrTx/>
              <a:buSzTx/>
              <a:buFont typeface="Arial" panose="020B0604020202020204" pitchFamily="34" charset="0"/>
              <a:buNone/>
              <a:tabLst/>
              <a:defRPr sz="3600"/>
            </a:lvl2pPr>
          </a:lstStyle>
          <a:p>
            <a:pPr lvl="0"/>
            <a:r>
              <a:rPr lang="en-GB" noProof="0"/>
              <a:t>Put the agenda topic here, </a:t>
            </a:r>
            <a:br>
              <a:rPr lang="en-GB" noProof="0"/>
            </a:br>
            <a:r>
              <a:rPr lang="en-GB" noProof="0"/>
              <a:t>keep it regular 24 pt</a:t>
            </a:r>
          </a:p>
        </p:txBody>
      </p:sp>
      <p:sp>
        <p:nvSpPr>
          <p:cNvPr id="11" name="TextBox 10">
            <a:extLst>
              <a:ext uri="{FF2B5EF4-FFF2-40B4-BE49-F238E27FC236}">
                <a16:creationId xmlns:a16="http://schemas.microsoft.com/office/drawing/2014/main" id="{97F7DB04-77BF-2E44-B6B3-908B7D2114B5}"/>
              </a:ext>
            </a:extLst>
          </p:cNvPr>
          <p:cNvSpPr txBox="1"/>
          <p:nvPr userDrawn="1"/>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27065723"/>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Headline and tex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115EB387-5C28-7B4F-A0C5-45C9CB988492}"/>
              </a:ext>
            </a:extLst>
          </p:cNvPr>
          <p:cNvSpPr>
            <a:spLocks noGrp="1"/>
          </p:cNvSpPr>
          <p:nvPr>
            <p:ph type="body" sz="half" idx="2" hasCustomPrompt="1"/>
          </p:nvPr>
        </p:nvSpPr>
        <p:spPr>
          <a:xfrm>
            <a:off x="13055249" y="1961458"/>
            <a:ext cx="8928409" cy="10081320"/>
          </a:xfrm>
        </p:spPr>
        <p:txBody>
          <a:bodyPr>
            <a:noAutofit/>
          </a:bodyPr>
          <a:lstStyle>
            <a:lvl1pPr marL="0" marR="0" indent="0" algn="l" defTabSz="1439928" rtl="0" eaLnBrk="1" fontAlgn="auto" latinLnBrk="0" hangingPunct="1">
              <a:lnSpc>
                <a:spcPct val="100000"/>
              </a:lnSpc>
              <a:spcBef>
                <a:spcPts val="2000"/>
              </a:spcBef>
              <a:spcAft>
                <a:spcPts val="0"/>
              </a:spcAft>
              <a:buClrTx/>
              <a:buSzTx/>
              <a:buFont typeface="Arial" panose="020B0604020202020204" pitchFamily="34" charset="0"/>
              <a:buNone/>
              <a:tabLst/>
              <a:defRPr sz="28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body text here, keep it regular 14 pt. Put the body text here, keep it regular 14 pt. Put the body text here, keep it regular 14 pt. Put the body text here, keep it regular 14 pt.</a:t>
            </a:r>
          </a:p>
        </p:txBody>
      </p:sp>
      <p:sp>
        <p:nvSpPr>
          <p:cNvPr id="5" name="TextBox 4">
            <a:extLst>
              <a:ext uri="{FF2B5EF4-FFF2-40B4-BE49-F238E27FC236}">
                <a16:creationId xmlns:a16="http://schemas.microsoft.com/office/drawing/2014/main" id="{C43799C1-AC21-E543-BEA9-3917801594CD}"/>
              </a:ext>
            </a:extLst>
          </p:cNvPr>
          <p:cNvSpPr txBox="1"/>
          <p:nvPr userDrawn="1"/>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
        <p:nvSpPr>
          <p:cNvPr id="8" name="Title 1">
            <a:extLst>
              <a:ext uri="{FF2B5EF4-FFF2-40B4-BE49-F238E27FC236}">
                <a16:creationId xmlns:a16="http://schemas.microsoft.com/office/drawing/2014/main" id="{E292D429-7910-E04B-A9EA-23F0ADA2C261}"/>
              </a:ext>
            </a:extLst>
          </p:cNvPr>
          <p:cNvSpPr>
            <a:spLocks noGrp="1"/>
          </p:cNvSpPr>
          <p:nvPr>
            <p:ph type="title" hasCustomPrompt="1"/>
          </p:nvPr>
        </p:nvSpPr>
        <p:spPr>
          <a:xfrm>
            <a:off x="1676291" y="1673229"/>
            <a:ext cx="10514916" cy="10369550"/>
          </a:xfrm>
          <a:prstGeom prst="rect">
            <a:avLst/>
          </a:prstGeom>
        </p:spPr>
        <p:txBody>
          <a:bodyPr/>
          <a:lstStyle>
            <a:lvl1pPr>
              <a:lnSpc>
                <a:spcPct val="100000"/>
              </a:lnSpc>
              <a:defRPr sz="7200"/>
            </a:lvl1pPr>
          </a:lstStyle>
          <a:p>
            <a:r>
              <a:rPr lang="en-GB" noProof="0"/>
              <a:t>Put the headline here, keep it bold 36 pt</a:t>
            </a:r>
          </a:p>
        </p:txBody>
      </p:sp>
    </p:spTree>
    <p:extLst>
      <p:ext uri="{BB962C8B-B14F-4D97-AF65-F5344CB8AC3E}">
        <p14:creationId xmlns:p14="http://schemas.microsoft.com/office/powerpoint/2010/main" val="528452611"/>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Chapter name on colour background or image">
    <p:bg>
      <p:bgPr>
        <a:solidFill>
          <a:schemeClr val="bg1"/>
        </a:solid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7FB25574-EA1E-8647-9572-8972274746BB}"/>
              </a:ext>
            </a:extLst>
          </p:cNvPr>
          <p:cNvSpPr txBox="1"/>
          <p:nvPr userDrawn="1"/>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
        <p:nvSpPr>
          <p:cNvPr id="11" name="Subtitle 2">
            <a:extLst>
              <a:ext uri="{FF2B5EF4-FFF2-40B4-BE49-F238E27FC236}">
                <a16:creationId xmlns:a16="http://schemas.microsoft.com/office/drawing/2014/main" id="{9F99187E-75C3-704C-B702-5FF1467E154C}"/>
              </a:ext>
            </a:extLst>
          </p:cNvPr>
          <p:cNvSpPr>
            <a:spLocks noGrp="1"/>
          </p:cNvSpPr>
          <p:nvPr>
            <p:ph type="subTitle" idx="1" hasCustomPrompt="1"/>
          </p:nvPr>
        </p:nvSpPr>
        <p:spPr>
          <a:xfrm>
            <a:off x="1700166" y="3905672"/>
            <a:ext cx="15531275" cy="5904656"/>
          </a:xfrm>
        </p:spPr>
        <p:txBody>
          <a:bodyPr anchor="ctr" anchorCtr="0">
            <a:noAutofit/>
          </a:bodyPr>
          <a:lstStyle>
            <a:lvl1pPr marL="0" indent="0" algn="l">
              <a:lnSpc>
                <a:spcPct val="100000"/>
              </a:lnSpc>
              <a:buNone/>
              <a:defRPr sz="11999" b="1" spc="-200" baseline="0">
                <a:latin typeface="Noto IKEA Latin" panose="020B050204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GB" noProof="0"/>
              <a:t>Put the chapter headline here, </a:t>
            </a:r>
            <a:br>
              <a:rPr lang="en-GB" noProof="0"/>
            </a:br>
            <a:r>
              <a:rPr lang="en-GB" noProof="0"/>
              <a:t>keep it bold 60 </a:t>
            </a:r>
            <a:r>
              <a:rPr lang="en-GB" noProof="0" err="1"/>
              <a:t>pt</a:t>
            </a:r>
            <a:endParaRPr lang="en-GB" noProof="0"/>
          </a:p>
        </p:txBody>
      </p:sp>
      <p:sp>
        <p:nvSpPr>
          <p:cNvPr id="7" name="Text Placeholder 3">
            <a:extLst>
              <a:ext uri="{FF2B5EF4-FFF2-40B4-BE49-F238E27FC236}">
                <a16:creationId xmlns:a16="http://schemas.microsoft.com/office/drawing/2014/main" id="{6197EBF1-7F60-D44A-93CB-4809CDC33B1D}"/>
              </a:ext>
            </a:extLst>
          </p:cNvPr>
          <p:cNvSpPr>
            <a:spLocks noGrp="1"/>
          </p:cNvSpPr>
          <p:nvPr>
            <p:ph type="body" sz="quarter" idx="18"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0</a:t>
            </a:r>
            <a:endParaRPr lang="en-GB"/>
          </a:p>
        </p:txBody>
      </p:sp>
    </p:spTree>
    <p:extLst>
      <p:ext uri="{BB962C8B-B14F-4D97-AF65-F5344CB8AC3E}">
        <p14:creationId xmlns:p14="http://schemas.microsoft.com/office/powerpoint/2010/main" val="3670316332"/>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Chapter name with number on colour background or image">
    <p:bg>
      <p:bgPr>
        <a:solidFill>
          <a:schemeClr val="bg1"/>
        </a:solidFill>
        <a:effectLst/>
      </p:bgPr>
    </p:bg>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85D87CF5-198A-D24A-8C46-75F45766C3CF}"/>
              </a:ext>
            </a:extLst>
          </p:cNvPr>
          <p:cNvSpPr>
            <a:spLocks noGrp="1"/>
          </p:cNvSpPr>
          <p:nvPr>
            <p:ph type="pic" sz="quarter" idx="14" hasCustomPrompt="1"/>
          </p:nvPr>
        </p:nvSpPr>
        <p:spPr>
          <a:xfrm>
            <a:off x="0" y="0"/>
            <a:ext cx="24382413" cy="1371600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Select a colour for background. Or drag and drop to add a picture</a:t>
            </a:r>
          </a:p>
        </p:txBody>
      </p:sp>
      <p:sp>
        <p:nvSpPr>
          <p:cNvPr id="15" name="Text Placeholder 4">
            <a:extLst>
              <a:ext uri="{FF2B5EF4-FFF2-40B4-BE49-F238E27FC236}">
                <a16:creationId xmlns:a16="http://schemas.microsoft.com/office/drawing/2014/main" id="{D692063E-373D-9A4C-B3F2-4CED294F18A0}"/>
              </a:ext>
            </a:extLst>
          </p:cNvPr>
          <p:cNvSpPr>
            <a:spLocks noGrp="1"/>
          </p:cNvSpPr>
          <p:nvPr>
            <p:ph type="body" sz="quarter" idx="11" hasCustomPrompt="1"/>
          </p:nvPr>
        </p:nvSpPr>
        <p:spPr>
          <a:xfrm>
            <a:off x="481101" y="3905672"/>
            <a:ext cx="8076674" cy="5904656"/>
          </a:xfrm>
        </p:spPr>
        <p:txBody>
          <a:bodyPr anchor="ctr" anchorCtr="0">
            <a:noAutofit/>
          </a:bodyPr>
          <a:lstStyle>
            <a:lvl1pPr marL="0" indent="0" algn="ctr">
              <a:buNone/>
              <a:defRPr sz="49996" b="1" spc="-600" baseline="0">
                <a:ln>
                  <a:noFill/>
                </a:ln>
                <a:solidFill>
                  <a:schemeClr val="tx1"/>
                </a:solidFill>
              </a:defRPr>
            </a:lvl1pPr>
          </a:lstStyle>
          <a:p>
            <a:pPr lvl="0"/>
            <a:r>
              <a:rPr lang="en-GB" noProof="0"/>
              <a:t>#</a:t>
            </a:r>
          </a:p>
        </p:txBody>
      </p:sp>
      <p:sp>
        <p:nvSpPr>
          <p:cNvPr id="8" name="Subtitle 2">
            <a:extLst>
              <a:ext uri="{FF2B5EF4-FFF2-40B4-BE49-F238E27FC236}">
                <a16:creationId xmlns:a16="http://schemas.microsoft.com/office/drawing/2014/main" id="{03179F04-E3DD-714F-9E83-2F320F41AF4B}"/>
              </a:ext>
            </a:extLst>
          </p:cNvPr>
          <p:cNvSpPr>
            <a:spLocks noGrp="1"/>
          </p:cNvSpPr>
          <p:nvPr>
            <p:ph type="subTitle" idx="1" hasCustomPrompt="1"/>
          </p:nvPr>
        </p:nvSpPr>
        <p:spPr>
          <a:xfrm>
            <a:off x="8784128" y="3905672"/>
            <a:ext cx="14400663" cy="5904656"/>
          </a:xfrm>
        </p:spPr>
        <p:txBody>
          <a:bodyPr anchor="ctr" anchorCtr="0">
            <a:noAutofit/>
          </a:bodyPr>
          <a:lstStyle>
            <a:lvl1pPr marL="0" indent="0" algn="l">
              <a:lnSpc>
                <a:spcPct val="100000"/>
              </a:lnSpc>
              <a:buNone/>
              <a:defRPr sz="11999" b="1" spc="-200" baseline="0">
                <a:latin typeface="Noto IKEA Latin" panose="020B050204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GB" noProof="0"/>
              <a:t>Put the chapter headline here, </a:t>
            </a:r>
            <a:br>
              <a:rPr lang="en-GB" noProof="0"/>
            </a:br>
            <a:r>
              <a:rPr lang="en-GB" noProof="0"/>
              <a:t>keep it bold 60 pt</a:t>
            </a:r>
          </a:p>
        </p:txBody>
      </p:sp>
      <p:sp>
        <p:nvSpPr>
          <p:cNvPr id="10" name="TextBox 9">
            <a:extLst>
              <a:ext uri="{FF2B5EF4-FFF2-40B4-BE49-F238E27FC236}">
                <a16:creationId xmlns:a16="http://schemas.microsoft.com/office/drawing/2014/main" id="{FE45F13E-6F8C-BD43-9317-B7D1E5155799}"/>
              </a:ext>
            </a:extLst>
          </p:cNvPr>
          <p:cNvSpPr txBox="1"/>
          <p:nvPr userDrawn="1"/>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
        <p:nvSpPr>
          <p:cNvPr id="9" name="Text Placeholder 3">
            <a:extLst>
              <a:ext uri="{FF2B5EF4-FFF2-40B4-BE49-F238E27FC236}">
                <a16:creationId xmlns:a16="http://schemas.microsoft.com/office/drawing/2014/main" id="{F8BD17D0-4B46-D44C-A53F-CFC6399AEEEB}"/>
              </a:ext>
            </a:extLst>
          </p:cNvPr>
          <p:cNvSpPr>
            <a:spLocks noGrp="1"/>
          </p:cNvSpPr>
          <p:nvPr>
            <p:ph type="body" sz="quarter" idx="18"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2</a:t>
            </a:r>
            <a:endParaRPr lang="en-GB"/>
          </a:p>
        </p:txBody>
      </p:sp>
    </p:spTree>
    <p:extLst>
      <p:ext uri="{BB962C8B-B14F-4D97-AF65-F5344CB8AC3E}">
        <p14:creationId xmlns:p14="http://schemas.microsoft.com/office/powerpoint/2010/main" val="3963754961"/>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Chapter name with number on texture or image">
    <p:bg>
      <p:bgPr>
        <a:solidFill>
          <a:schemeClr val="bg1"/>
        </a:solidFill>
        <a:effectLst/>
      </p:bgPr>
    </p:bg>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C2E2C76C-B512-4744-83A7-60E61AA545D5}"/>
              </a:ext>
            </a:extLst>
          </p:cNvPr>
          <p:cNvSpPr>
            <a:spLocks noGrp="1"/>
          </p:cNvSpPr>
          <p:nvPr>
            <p:ph type="pic" sz="quarter" idx="14" hasCustomPrompt="1"/>
          </p:nvPr>
        </p:nvSpPr>
        <p:spPr>
          <a:xfrm>
            <a:off x="0" y="0"/>
            <a:ext cx="24382413" cy="1371600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Select a colour for background. Or drag and drop to add a picture</a:t>
            </a:r>
          </a:p>
        </p:txBody>
      </p:sp>
      <p:sp>
        <p:nvSpPr>
          <p:cNvPr id="5" name="Picture Placeholder 4">
            <a:extLst>
              <a:ext uri="{FF2B5EF4-FFF2-40B4-BE49-F238E27FC236}">
                <a16:creationId xmlns:a16="http://schemas.microsoft.com/office/drawing/2014/main" id="{FB1122C6-C8D2-B547-ADCC-E7F92107FD3B}"/>
              </a:ext>
            </a:extLst>
          </p:cNvPr>
          <p:cNvSpPr>
            <a:spLocks noGrp="1"/>
          </p:cNvSpPr>
          <p:nvPr>
            <p:ph type="pic" sz="quarter" idx="18" hasCustomPrompt="1"/>
          </p:nvPr>
        </p:nvSpPr>
        <p:spPr>
          <a:xfrm>
            <a:off x="1677880" y="3649662"/>
            <a:ext cx="21026657" cy="6416676"/>
          </a:xfrm>
          <a:solidFill>
            <a:schemeClr val="bg1"/>
          </a:solidFill>
        </p:spPr>
        <p:txBody>
          <a:bodyPr/>
          <a:lstStyle/>
          <a:p>
            <a:r>
              <a:rPr lang="en-GB" noProof="0"/>
              <a:t> </a:t>
            </a:r>
          </a:p>
        </p:txBody>
      </p:sp>
      <p:sp>
        <p:nvSpPr>
          <p:cNvPr id="8" name="Subtitle 2">
            <a:extLst>
              <a:ext uri="{FF2B5EF4-FFF2-40B4-BE49-F238E27FC236}">
                <a16:creationId xmlns:a16="http://schemas.microsoft.com/office/drawing/2014/main" id="{03179F04-E3DD-714F-9E83-2F320F41AF4B}"/>
              </a:ext>
            </a:extLst>
          </p:cNvPr>
          <p:cNvSpPr>
            <a:spLocks noGrp="1"/>
          </p:cNvSpPr>
          <p:nvPr>
            <p:ph type="subTitle" idx="1" hasCustomPrompt="1"/>
          </p:nvPr>
        </p:nvSpPr>
        <p:spPr>
          <a:xfrm>
            <a:off x="6718955" y="5069835"/>
            <a:ext cx="15408709" cy="3604518"/>
          </a:xfrm>
        </p:spPr>
        <p:txBody>
          <a:bodyPr anchor="ctr">
            <a:noAutofit/>
          </a:bodyPr>
          <a:lstStyle>
            <a:lvl1pPr marL="0" indent="0" algn="l">
              <a:lnSpc>
                <a:spcPct val="100000"/>
              </a:lnSpc>
              <a:buNone/>
              <a:defRPr sz="11999" b="1" spc="-200" baseline="0">
                <a:latin typeface="Noto IKEA Latin" panose="020B050204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GB" noProof="0"/>
              <a:t>Put the chapter headline here</a:t>
            </a:r>
          </a:p>
        </p:txBody>
      </p:sp>
      <p:sp>
        <p:nvSpPr>
          <p:cNvPr id="11" name="Text Placeholder 4">
            <a:extLst>
              <a:ext uri="{FF2B5EF4-FFF2-40B4-BE49-F238E27FC236}">
                <a16:creationId xmlns:a16="http://schemas.microsoft.com/office/drawing/2014/main" id="{E6CA9D82-2C12-3A47-9717-927FD5070851}"/>
              </a:ext>
            </a:extLst>
          </p:cNvPr>
          <p:cNvSpPr>
            <a:spLocks noGrp="1"/>
          </p:cNvSpPr>
          <p:nvPr>
            <p:ph type="body" sz="quarter" idx="11" hasCustomPrompt="1"/>
          </p:nvPr>
        </p:nvSpPr>
        <p:spPr>
          <a:xfrm>
            <a:off x="1700165" y="5069835"/>
            <a:ext cx="4874783" cy="3604518"/>
          </a:xfrm>
        </p:spPr>
        <p:txBody>
          <a:bodyPr anchor="ctr">
            <a:noAutofit/>
          </a:bodyPr>
          <a:lstStyle>
            <a:lvl1pPr marL="0" indent="0" algn="ctr">
              <a:lnSpc>
                <a:spcPct val="100000"/>
              </a:lnSpc>
              <a:buNone/>
              <a:defRPr sz="29999" b="1" spc="-600" baseline="0">
                <a:ln>
                  <a:noFill/>
                </a:ln>
                <a:solidFill>
                  <a:schemeClr val="tx1"/>
                </a:solidFill>
              </a:defRPr>
            </a:lvl1pPr>
          </a:lstStyle>
          <a:p>
            <a:pPr lvl="0"/>
            <a:r>
              <a:rPr lang="en-GB" noProof="0"/>
              <a:t>#</a:t>
            </a:r>
          </a:p>
        </p:txBody>
      </p:sp>
      <p:sp>
        <p:nvSpPr>
          <p:cNvPr id="12" name="TextBox 11">
            <a:extLst>
              <a:ext uri="{FF2B5EF4-FFF2-40B4-BE49-F238E27FC236}">
                <a16:creationId xmlns:a16="http://schemas.microsoft.com/office/drawing/2014/main" id="{4AB5007E-0939-D74C-BD84-68B93EE6A68F}"/>
              </a:ext>
            </a:extLst>
          </p:cNvPr>
          <p:cNvSpPr txBox="1"/>
          <p:nvPr userDrawn="1"/>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
        <p:nvSpPr>
          <p:cNvPr id="9" name="Text Placeholder 3">
            <a:extLst>
              <a:ext uri="{FF2B5EF4-FFF2-40B4-BE49-F238E27FC236}">
                <a16:creationId xmlns:a16="http://schemas.microsoft.com/office/drawing/2014/main" id="{CDB35E14-306E-CC47-BA9B-1EED6583B986}"/>
              </a:ext>
            </a:extLst>
          </p:cNvPr>
          <p:cNvSpPr>
            <a:spLocks noGrp="1"/>
          </p:cNvSpPr>
          <p:nvPr>
            <p:ph type="body" sz="quarter" idx="19"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2</a:t>
            </a:r>
            <a:endParaRPr lang="en-GB"/>
          </a:p>
        </p:txBody>
      </p:sp>
    </p:spTree>
    <p:extLst>
      <p:ext uri="{BB962C8B-B14F-4D97-AF65-F5344CB8AC3E}">
        <p14:creationId xmlns:p14="http://schemas.microsoft.com/office/powerpoint/2010/main" val="575375192"/>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Big statement on white backgroun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DD74D22-9607-E84A-BE07-52C600664BE8}"/>
              </a:ext>
            </a:extLst>
          </p:cNvPr>
          <p:cNvSpPr txBox="1"/>
          <p:nvPr userDrawn="1"/>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
        <p:nvSpPr>
          <p:cNvPr id="6" name="Title Placeholder 6">
            <a:extLst>
              <a:ext uri="{FF2B5EF4-FFF2-40B4-BE49-F238E27FC236}">
                <a16:creationId xmlns:a16="http://schemas.microsoft.com/office/drawing/2014/main" id="{42635088-B65D-C841-9E13-05D7E3443BD4}"/>
              </a:ext>
            </a:extLst>
          </p:cNvPr>
          <p:cNvSpPr>
            <a:spLocks noGrp="1"/>
          </p:cNvSpPr>
          <p:nvPr>
            <p:ph type="title" hasCustomPrompt="1"/>
          </p:nvPr>
        </p:nvSpPr>
        <p:spPr>
          <a:xfrm>
            <a:off x="1677491" y="1692001"/>
            <a:ext cx="21029831" cy="10330998"/>
          </a:xfrm>
          <a:prstGeom prst="rect">
            <a:avLst/>
          </a:prstGeom>
        </p:spPr>
        <p:txBody>
          <a:bodyPr vert="horz" lIns="91440" tIns="45720" rIns="91440" bIns="45720" rtlCol="0" anchor="ctr">
            <a:noAutofit/>
          </a:bodyPr>
          <a:lstStyle>
            <a:lvl1pPr>
              <a:defRPr baseline="0"/>
            </a:lvl1pPr>
          </a:lstStyle>
          <a:p>
            <a:r>
              <a:rPr lang="en-GB" noProof="0"/>
              <a:t>Put a statement here,</a:t>
            </a:r>
            <a:br>
              <a:rPr lang="en-GB" noProof="0"/>
            </a:br>
            <a:r>
              <a:rPr lang="en-GB" noProof="0"/>
              <a:t>keep it bold 60 </a:t>
            </a:r>
            <a:r>
              <a:rPr lang="en-GB" noProof="0" err="1"/>
              <a:t>pt</a:t>
            </a:r>
            <a:endParaRPr lang="en-GB" noProof="0"/>
          </a:p>
        </p:txBody>
      </p:sp>
    </p:spTree>
    <p:extLst>
      <p:ext uri="{BB962C8B-B14F-4D97-AF65-F5344CB8AC3E}">
        <p14:creationId xmlns:p14="http://schemas.microsoft.com/office/powerpoint/2010/main" val="3461323762"/>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Big statement on colour background, texture or image">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0" y="0"/>
            <a:ext cx="24382413" cy="1371600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Select a colour for background. Or drag and drop to add a picture</a:t>
            </a:r>
          </a:p>
        </p:txBody>
      </p:sp>
      <p:sp>
        <p:nvSpPr>
          <p:cNvPr id="9" name="TextBox 8">
            <a:extLst>
              <a:ext uri="{FF2B5EF4-FFF2-40B4-BE49-F238E27FC236}">
                <a16:creationId xmlns:a16="http://schemas.microsoft.com/office/drawing/2014/main" id="{CF92C3D1-FF42-1F4E-A8CA-01156BB3B407}"/>
              </a:ext>
            </a:extLst>
          </p:cNvPr>
          <p:cNvSpPr txBox="1"/>
          <p:nvPr userDrawn="1"/>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
        <p:nvSpPr>
          <p:cNvPr id="10" name="Title Placeholder 6">
            <a:extLst>
              <a:ext uri="{FF2B5EF4-FFF2-40B4-BE49-F238E27FC236}">
                <a16:creationId xmlns:a16="http://schemas.microsoft.com/office/drawing/2014/main" id="{048B0FEC-E6E9-1B42-9F79-233E0858B4AD}"/>
              </a:ext>
            </a:extLst>
          </p:cNvPr>
          <p:cNvSpPr>
            <a:spLocks noGrp="1"/>
          </p:cNvSpPr>
          <p:nvPr>
            <p:ph type="title" hasCustomPrompt="1"/>
          </p:nvPr>
        </p:nvSpPr>
        <p:spPr>
          <a:xfrm>
            <a:off x="1679467" y="1692503"/>
            <a:ext cx="21029831" cy="10330998"/>
          </a:xfrm>
          <a:prstGeom prst="rect">
            <a:avLst/>
          </a:prstGeom>
        </p:spPr>
        <p:txBody>
          <a:bodyPr vert="horz" lIns="91440" tIns="45720" rIns="91440" bIns="45720" rtlCol="0" anchor="ctr">
            <a:noAutofit/>
          </a:bodyPr>
          <a:lstStyle>
            <a:lvl1pPr>
              <a:defRPr/>
            </a:lvl1pPr>
          </a:lstStyle>
          <a:p>
            <a:r>
              <a:rPr lang="en-GB" noProof="0"/>
              <a:t>Put a statement here,</a:t>
            </a:r>
            <a:br>
              <a:rPr lang="en-GB" noProof="0"/>
            </a:br>
            <a:r>
              <a:rPr lang="en-GB" noProof="0"/>
              <a:t>keep it bold 60 </a:t>
            </a:r>
            <a:r>
              <a:rPr lang="en-GB" noProof="0" err="1"/>
              <a:t>pt</a:t>
            </a:r>
            <a:endParaRPr lang="en-GB" noProof="0"/>
          </a:p>
        </p:txBody>
      </p:sp>
      <p:sp>
        <p:nvSpPr>
          <p:cNvPr id="7" name="Text Placeholder 3">
            <a:extLst>
              <a:ext uri="{FF2B5EF4-FFF2-40B4-BE49-F238E27FC236}">
                <a16:creationId xmlns:a16="http://schemas.microsoft.com/office/drawing/2014/main" id="{E7B9ED26-2920-4043-83C2-B0926B2E20C6}"/>
              </a:ext>
            </a:extLst>
          </p:cNvPr>
          <p:cNvSpPr>
            <a:spLocks noGrp="1"/>
          </p:cNvSpPr>
          <p:nvPr>
            <p:ph type="body" sz="quarter" idx="18"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2</a:t>
            </a:r>
            <a:endParaRPr lang="en-GB"/>
          </a:p>
        </p:txBody>
      </p:sp>
    </p:spTree>
    <p:extLst>
      <p:ext uri="{BB962C8B-B14F-4D97-AF65-F5344CB8AC3E}">
        <p14:creationId xmlns:p14="http://schemas.microsoft.com/office/powerpoint/2010/main" val="2406374055"/>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ext and image on the right">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12191206" y="0"/>
            <a:ext cx="12191207" cy="1371600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Drag and drop or click the icon to add a picture</a:t>
            </a:r>
          </a:p>
        </p:txBody>
      </p:sp>
      <p:sp>
        <p:nvSpPr>
          <p:cNvPr id="9" name="TextBox 8">
            <a:extLst>
              <a:ext uri="{FF2B5EF4-FFF2-40B4-BE49-F238E27FC236}">
                <a16:creationId xmlns:a16="http://schemas.microsoft.com/office/drawing/2014/main" id="{A4A5B6B5-68D0-A54D-A622-9737BD245297}"/>
              </a:ext>
            </a:extLst>
          </p:cNvPr>
          <p:cNvSpPr txBox="1"/>
          <p:nvPr userDrawn="1"/>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
        <p:nvSpPr>
          <p:cNvPr id="11" name="Title 1">
            <a:extLst>
              <a:ext uri="{FF2B5EF4-FFF2-40B4-BE49-F238E27FC236}">
                <a16:creationId xmlns:a16="http://schemas.microsoft.com/office/drawing/2014/main" id="{28621A64-7B8E-B242-859E-D8C6D673E4E6}"/>
              </a:ext>
            </a:extLst>
          </p:cNvPr>
          <p:cNvSpPr>
            <a:spLocks noGrp="1"/>
          </p:cNvSpPr>
          <p:nvPr>
            <p:ph type="title" hasCustomPrompt="1"/>
          </p:nvPr>
        </p:nvSpPr>
        <p:spPr>
          <a:xfrm>
            <a:off x="1674328" y="1677601"/>
            <a:ext cx="9650878" cy="3457574"/>
          </a:xfrm>
          <a:prstGeom prst="rect">
            <a:avLst/>
          </a:prstGeom>
        </p:spPr>
        <p:txBody>
          <a:bodyPr/>
          <a:lstStyle>
            <a:lvl1pPr>
              <a:lnSpc>
                <a:spcPct val="100000"/>
              </a:lnSpc>
              <a:defRPr sz="7200" baseline="0"/>
            </a:lvl1pPr>
          </a:lstStyle>
          <a:p>
            <a:r>
              <a:rPr lang="en-GB" noProof="0"/>
              <a:t>Put the slide headline here, </a:t>
            </a:r>
            <a:br>
              <a:rPr lang="en-GB" noProof="0"/>
            </a:br>
            <a:r>
              <a:rPr lang="en-GB" noProof="0"/>
              <a:t>keep it bold 36 pt</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1674329" y="5696427"/>
            <a:ext cx="9650876" cy="6337298"/>
          </a:xfrm>
        </p:spPr>
        <p:txBody>
          <a:bodyPr>
            <a:noAutofit/>
          </a:bodyPr>
          <a:lstStyle>
            <a:lvl1pPr>
              <a:spcBef>
                <a:spcPts val="2000"/>
              </a:spcBef>
              <a:defRPr sz="2800"/>
            </a:lvl1pPr>
          </a:lstStyle>
          <a:p>
            <a:pPr lvl="0"/>
            <a:r>
              <a:rPr lang="en-GB" noProof="0"/>
              <a:t>Put the body text or caption here,</a:t>
            </a:r>
            <a:br>
              <a:rPr lang="en-GB" noProof="0"/>
            </a:br>
            <a:r>
              <a:rPr lang="en-GB" noProof="0"/>
              <a:t>keep it regular 14 pt</a:t>
            </a:r>
          </a:p>
        </p:txBody>
      </p:sp>
      <p:sp>
        <p:nvSpPr>
          <p:cNvPr id="8" name="Text Placeholder 3">
            <a:extLst>
              <a:ext uri="{FF2B5EF4-FFF2-40B4-BE49-F238E27FC236}">
                <a16:creationId xmlns:a16="http://schemas.microsoft.com/office/drawing/2014/main" id="{0136A015-09C4-2341-87D2-A48EA3C6C85F}"/>
              </a:ext>
            </a:extLst>
          </p:cNvPr>
          <p:cNvSpPr>
            <a:spLocks noGrp="1"/>
          </p:cNvSpPr>
          <p:nvPr>
            <p:ph type="body" sz="quarter" idx="20"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2</a:t>
            </a:r>
            <a:endParaRPr lang="en-GB"/>
          </a:p>
        </p:txBody>
      </p:sp>
    </p:spTree>
    <p:extLst>
      <p:ext uri="{BB962C8B-B14F-4D97-AF65-F5344CB8AC3E}">
        <p14:creationId xmlns:p14="http://schemas.microsoft.com/office/powerpoint/2010/main" val="1432785593"/>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ext and image on the left">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5D527F14-48A9-BB4D-8ABB-D25C9E004E4D}"/>
              </a:ext>
            </a:extLst>
          </p:cNvPr>
          <p:cNvSpPr>
            <a:spLocks noGrp="1"/>
          </p:cNvSpPr>
          <p:nvPr>
            <p:ph type="pic" sz="quarter" idx="15" hasCustomPrompt="1"/>
          </p:nvPr>
        </p:nvSpPr>
        <p:spPr>
          <a:xfrm>
            <a:off x="0" y="0"/>
            <a:ext cx="12123563" cy="1371600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Drag and drop or click the icon to add a picture</a:t>
            </a:r>
          </a:p>
        </p:txBody>
      </p:sp>
      <p:sp>
        <p:nvSpPr>
          <p:cNvPr id="10" name="TextBox 9">
            <a:extLst>
              <a:ext uri="{FF2B5EF4-FFF2-40B4-BE49-F238E27FC236}">
                <a16:creationId xmlns:a16="http://schemas.microsoft.com/office/drawing/2014/main" id="{B55AD044-F9B2-7B4A-8F1A-C29B1D7B0569}"/>
              </a:ext>
            </a:extLst>
          </p:cNvPr>
          <p:cNvSpPr txBox="1"/>
          <p:nvPr userDrawn="1"/>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
        <p:nvSpPr>
          <p:cNvPr id="11" name="Title 1">
            <a:extLst>
              <a:ext uri="{FF2B5EF4-FFF2-40B4-BE49-F238E27FC236}">
                <a16:creationId xmlns:a16="http://schemas.microsoft.com/office/drawing/2014/main" id="{126F91B4-0CEF-044B-8873-D93BD278142D}"/>
              </a:ext>
            </a:extLst>
          </p:cNvPr>
          <p:cNvSpPr>
            <a:spLocks noGrp="1"/>
          </p:cNvSpPr>
          <p:nvPr>
            <p:ph type="title" hasCustomPrompt="1"/>
          </p:nvPr>
        </p:nvSpPr>
        <p:spPr>
          <a:xfrm>
            <a:off x="13353294" y="1677601"/>
            <a:ext cx="9648914" cy="3457574"/>
          </a:xfrm>
          <a:prstGeom prst="rect">
            <a:avLst/>
          </a:prstGeom>
        </p:spPr>
        <p:txBody>
          <a:bodyPr/>
          <a:lstStyle>
            <a:lvl1pPr>
              <a:lnSpc>
                <a:spcPct val="100000"/>
              </a:lnSpc>
              <a:defRPr sz="7200"/>
            </a:lvl1pPr>
          </a:lstStyle>
          <a:p>
            <a:r>
              <a:rPr lang="en-GB" noProof="0"/>
              <a:t>Put the slide headline here, </a:t>
            </a:r>
            <a:br>
              <a:rPr lang="en-GB" noProof="0"/>
            </a:br>
            <a:r>
              <a:rPr lang="en-GB" noProof="0"/>
              <a:t>keep it bold 36 pt</a:t>
            </a:r>
          </a:p>
        </p:txBody>
      </p:sp>
      <p:sp>
        <p:nvSpPr>
          <p:cNvPr id="8" name="Text Placeholder 3">
            <a:extLst>
              <a:ext uri="{FF2B5EF4-FFF2-40B4-BE49-F238E27FC236}">
                <a16:creationId xmlns:a16="http://schemas.microsoft.com/office/drawing/2014/main" id="{B49D2ED4-85B6-784A-A881-461D6437618F}"/>
              </a:ext>
            </a:extLst>
          </p:cNvPr>
          <p:cNvSpPr>
            <a:spLocks noGrp="1"/>
          </p:cNvSpPr>
          <p:nvPr>
            <p:ph type="body" sz="quarter" idx="18" hasCustomPrompt="1"/>
          </p:nvPr>
        </p:nvSpPr>
        <p:spPr>
          <a:xfrm>
            <a:off x="13298740" y="5696427"/>
            <a:ext cx="9650876" cy="6337298"/>
          </a:xfrm>
        </p:spPr>
        <p:txBody>
          <a:bodyPr>
            <a:noAutofit/>
          </a:bodyPr>
          <a:lstStyle>
            <a:lvl1pPr>
              <a:spcBef>
                <a:spcPts val="2000"/>
              </a:spcBef>
              <a:defRPr sz="2800"/>
            </a:lvl1pPr>
          </a:lstStyle>
          <a:p>
            <a:pPr lvl="0"/>
            <a:r>
              <a:rPr lang="en-GB" noProof="0"/>
              <a:t>Put the body text or caption here,</a:t>
            </a:r>
            <a:br>
              <a:rPr lang="en-GB" noProof="0"/>
            </a:br>
            <a:r>
              <a:rPr lang="en-GB" noProof="0"/>
              <a:t>keep it regular 14 pt</a:t>
            </a:r>
          </a:p>
        </p:txBody>
      </p:sp>
    </p:spTree>
    <p:extLst>
      <p:ext uri="{BB962C8B-B14F-4D97-AF65-F5344CB8AC3E}">
        <p14:creationId xmlns:p14="http://schemas.microsoft.com/office/powerpoint/2010/main" val="24417342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headline on simple background">
    <p:bg>
      <p:bgPr>
        <a:solidFill>
          <a:schemeClr val="bg1"/>
        </a:solidFill>
        <a:effectLst/>
      </p:bgPr>
    </p:bg>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ADB4BA95-E492-D840-88F6-2FE23D26918D}"/>
              </a:ext>
            </a:extLst>
          </p:cNvPr>
          <p:cNvSpPr>
            <a:spLocks noGrp="1"/>
          </p:cNvSpPr>
          <p:nvPr>
            <p:ph type="pic" sz="quarter" idx="14" hasCustomPrompt="1"/>
          </p:nvPr>
        </p:nvSpPr>
        <p:spPr>
          <a:xfrm>
            <a:off x="491206" y="486000"/>
            <a:ext cx="23400000" cy="12744000"/>
          </a:xfrm>
          <a:solidFill>
            <a:schemeClr val="bg1">
              <a:lumMod val="95000"/>
            </a:schemeClr>
          </a:solidFill>
        </p:spPr>
        <p:txBody>
          <a:bodyPr>
            <a:normAutofit/>
          </a:bodyPr>
          <a:lstStyle>
            <a:lvl1pPr marL="0" marR="0" indent="0" algn="ctr" defTabSz="1828663" rtl="0" eaLnBrk="1" fontAlgn="auto" latinLnBrk="0" hangingPunct="1">
              <a:lnSpc>
                <a:spcPct val="10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7" name="Title Placeholder 6">
            <a:extLst>
              <a:ext uri="{FF2B5EF4-FFF2-40B4-BE49-F238E27FC236}">
                <a16:creationId xmlns:a16="http://schemas.microsoft.com/office/drawing/2014/main" id="{1B090AE2-5953-9248-BD9A-B5FA2155AD8A}"/>
              </a:ext>
            </a:extLst>
          </p:cNvPr>
          <p:cNvSpPr>
            <a:spLocks noGrp="1"/>
          </p:cNvSpPr>
          <p:nvPr>
            <p:ph type="title" hasCustomPrompt="1"/>
          </p:nvPr>
        </p:nvSpPr>
        <p:spPr>
          <a:xfrm>
            <a:off x="3060000" y="3402013"/>
            <a:ext cx="12156188" cy="6911975"/>
          </a:xfrm>
          <a:prstGeom prst="rect">
            <a:avLst/>
          </a:prstGeom>
          <a:solidFill>
            <a:schemeClr val="bg1"/>
          </a:solidFill>
        </p:spPr>
        <p:txBody>
          <a:bodyPr vert="horz" lIns="720000" tIns="360000" rIns="360000" bIns="36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C4ADDE55-E340-6E4C-86B1-7B03B8C32387}"/>
              </a:ext>
            </a:extLst>
          </p:cNvPr>
          <p:cNvSpPr>
            <a:spLocks noGrp="1"/>
          </p:cNvSpPr>
          <p:nvPr>
            <p:ph type="ftr" sz="quarter" idx="15"/>
          </p:nvPr>
        </p:nvSpPr>
        <p:spPr/>
        <p:txBody>
          <a:bodyPr/>
          <a:lstStyle/>
          <a:p>
            <a:endParaRPr lang="en-NL"/>
          </a:p>
        </p:txBody>
      </p:sp>
      <p:sp>
        <p:nvSpPr>
          <p:cNvPr id="10" name="TextBox 9">
            <a:extLst>
              <a:ext uri="{FF2B5EF4-FFF2-40B4-BE49-F238E27FC236}">
                <a16:creationId xmlns:a16="http://schemas.microsoft.com/office/drawing/2014/main" id="{7FB25574-EA1E-8647-9572-8972274746BB}"/>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4975826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63592" y="3419477"/>
            <a:ext cx="21029831" cy="5705474"/>
          </a:xfrm>
        </p:spPr>
        <p:txBody>
          <a:bodyPr anchor="b"/>
          <a:lstStyle>
            <a:lvl1pPr>
              <a:defRPr sz="11999"/>
            </a:lvl1pPr>
          </a:lstStyle>
          <a:p>
            <a:r>
              <a:rPr lang="en-US"/>
              <a:t>Click to edit Master title style</a:t>
            </a:r>
            <a:endParaRPr lang="en-GB"/>
          </a:p>
        </p:txBody>
      </p:sp>
      <p:sp>
        <p:nvSpPr>
          <p:cNvPr id="3" name="Text Placeholder 2"/>
          <p:cNvSpPr>
            <a:spLocks noGrp="1"/>
          </p:cNvSpPr>
          <p:nvPr>
            <p:ph type="body" idx="1"/>
          </p:nvPr>
        </p:nvSpPr>
        <p:spPr>
          <a:xfrm>
            <a:off x="1663592" y="9178927"/>
            <a:ext cx="21029831" cy="3000374"/>
          </a:xfrm>
        </p:spPr>
        <p:txBody>
          <a:bodyPr/>
          <a:lstStyle>
            <a:lvl1pPr marL="0" indent="0">
              <a:buNone/>
              <a:defRPr sz="4800">
                <a:solidFill>
                  <a:schemeClr val="tx1">
                    <a:tint val="75000"/>
                  </a:schemeClr>
                </a:solidFill>
              </a:defRPr>
            </a:lvl1pPr>
            <a:lvl2pPr marL="914354" indent="0">
              <a:buNone/>
              <a:defRPr sz="4000">
                <a:solidFill>
                  <a:schemeClr val="tx1">
                    <a:tint val="75000"/>
                  </a:schemeClr>
                </a:solidFill>
              </a:defRPr>
            </a:lvl2pPr>
            <a:lvl3pPr marL="1828709" indent="0">
              <a:buNone/>
              <a:defRPr sz="3600">
                <a:solidFill>
                  <a:schemeClr val="tx1">
                    <a:tint val="75000"/>
                  </a:schemeClr>
                </a:solidFill>
              </a:defRPr>
            </a:lvl3pPr>
            <a:lvl4pPr marL="2743063" indent="0">
              <a:buNone/>
              <a:defRPr sz="3200">
                <a:solidFill>
                  <a:schemeClr val="tx1">
                    <a:tint val="75000"/>
                  </a:schemeClr>
                </a:solidFill>
              </a:defRPr>
            </a:lvl4pPr>
            <a:lvl5pPr marL="3657417" indent="0">
              <a:buNone/>
              <a:defRPr sz="3200">
                <a:solidFill>
                  <a:schemeClr val="tx1">
                    <a:tint val="75000"/>
                  </a:schemeClr>
                </a:solidFill>
              </a:defRPr>
            </a:lvl5pPr>
            <a:lvl6pPr marL="4571771" indent="0">
              <a:buNone/>
              <a:defRPr sz="3200">
                <a:solidFill>
                  <a:schemeClr val="tx1">
                    <a:tint val="75000"/>
                  </a:schemeClr>
                </a:solidFill>
              </a:defRPr>
            </a:lvl6pPr>
            <a:lvl7pPr marL="5486126" indent="0">
              <a:buNone/>
              <a:defRPr sz="3200">
                <a:solidFill>
                  <a:schemeClr val="tx1">
                    <a:tint val="75000"/>
                  </a:schemeClr>
                </a:solidFill>
              </a:defRPr>
            </a:lvl7pPr>
            <a:lvl8pPr marL="6400480" indent="0">
              <a:buNone/>
              <a:defRPr sz="3200">
                <a:solidFill>
                  <a:schemeClr val="tx1">
                    <a:tint val="75000"/>
                  </a:schemeClr>
                </a:solidFill>
              </a:defRPr>
            </a:lvl8pPr>
            <a:lvl9pPr marL="7314834" indent="0">
              <a:buNone/>
              <a:defRPr sz="3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8CB2AC7-B352-4C06-A37F-C1AFABEB433B}" type="datetimeFigureOut">
              <a:rPr lang="en-GB" smtClean="0">
                <a:solidFill>
                  <a:prstClr val="black">
                    <a:tint val="75000"/>
                  </a:prstClr>
                </a:solidFill>
              </a:rPr>
              <a:pPr/>
              <a:t>12/03/202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A225A4FA-9CCD-446F-8574-0A543A292A1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595865195"/>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ext in one column">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7A67F5F-7995-864E-A3B0-B870396AC450}"/>
              </a:ext>
            </a:extLst>
          </p:cNvPr>
          <p:cNvSpPr txBox="1"/>
          <p:nvPr userDrawn="1"/>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
        <p:nvSpPr>
          <p:cNvPr id="10" name="Title 1">
            <a:extLst>
              <a:ext uri="{FF2B5EF4-FFF2-40B4-BE49-F238E27FC236}">
                <a16:creationId xmlns:a16="http://schemas.microsoft.com/office/drawing/2014/main" id="{553F6C7D-ECC0-674B-A1ED-F01C3FA495FF}"/>
              </a:ext>
            </a:extLst>
          </p:cNvPr>
          <p:cNvSpPr>
            <a:spLocks noGrp="1"/>
          </p:cNvSpPr>
          <p:nvPr>
            <p:ph type="title" hasCustomPrompt="1"/>
          </p:nvPr>
        </p:nvSpPr>
        <p:spPr>
          <a:xfrm>
            <a:off x="1676293" y="1677601"/>
            <a:ext cx="21033007" cy="3457574"/>
          </a:xfrm>
          <a:prstGeom prst="rect">
            <a:avLst/>
          </a:prstGeom>
        </p:spPr>
        <p:txBody>
          <a:bodyPr/>
          <a:lstStyle>
            <a:lvl1pPr>
              <a:lnSpc>
                <a:spcPct val="100000"/>
              </a:lnSpc>
              <a:defRPr sz="7200"/>
            </a:lvl1pPr>
          </a:lstStyle>
          <a:p>
            <a:r>
              <a:rPr lang="en-GB" noProof="0"/>
              <a:t>Put the slide headline here, </a:t>
            </a:r>
            <a:br>
              <a:rPr lang="en-GB" noProof="0"/>
            </a:br>
            <a:r>
              <a:rPr lang="en-GB" noProof="0"/>
              <a:t>keep it bold 36 pt</a:t>
            </a:r>
          </a:p>
        </p:txBody>
      </p:sp>
      <p:sp>
        <p:nvSpPr>
          <p:cNvPr id="6" name="Text Placeholder 3">
            <a:extLst>
              <a:ext uri="{FF2B5EF4-FFF2-40B4-BE49-F238E27FC236}">
                <a16:creationId xmlns:a16="http://schemas.microsoft.com/office/drawing/2014/main" id="{3397E6F6-DFC7-C54D-9E7E-CD51822BE714}"/>
              </a:ext>
            </a:extLst>
          </p:cNvPr>
          <p:cNvSpPr>
            <a:spLocks noGrp="1"/>
          </p:cNvSpPr>
          <p:nvPr>
            <p:ph type="body" sz="quarter" idx="18" hasCustomPrompt="1"/>
          </p:nvPr>
        </p:nvSpPr>
        <p:spPr>
          <a:xfrm>
            <a:off x="1674329" y="5696427"/>
            <a:ext cx="9650876" cy="6337298"/>
          </a:xfrm>
        </p:spPr>
        <p:txBody>
          <a:bodyPr>
            <a:noAutofit/>
          </a:bodyPr>
          <a:lstStyle>
            <a:lvl1pPr>
              <a:spcBef>
                <a:spcPts val="2000"/>
              </a:spcBef>
              <a:defRPr sz="2800"/>
            </a:lvl1pPr>
          </a:lstStyle>
          <a:p>
            <a:pPr lvl="0"/>
            <a:r>
              <a:rPr lang="en-GB" noProof="0"/>
              <a:t>Put the body text or caption here,</a:t>
            </a:r>
            <a:br>
              <a:rPr lang="en-GB" noProof="0"/>
            </a:br>
            <a:r>
              <a:rPr lang="en-GB" noProof="0"/>
              <a:t>keep it regular 14 pt</a:t>
            </a:r>
          </a:p>
        </p:txBody>
      </p:sp>
    </p:spTree>
    <p:extLst>
      <p:ext uri="{BB962C8B-B14F-4D97-AF65-F5344CB8AC3E}">
        <p14:creationId xmlns:p14="http://schemas.microsoft.com/office/powerpoint/2010/main" val="883503053"/>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ext in two columns">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D5F938B-E5BF-B14A-BD1E-B43861780435}"/>
              </a:ext>
            </a:extLst>
          </p:cNvPr>
          <p:cNvSpPr txBox="1"/>
          <p:nvPr userDrawn="1"/>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
        <p:nvSpPr>
          <p:cNvPr id="13" name="Title 1">
            <a:extLst>
              <a:ext uri="{FF2B5EF4-FFF2-40B4-BE49-F238E27FC236}">
                <a16:creationId xmlns:a16="http://schemas.microsoft.com/office/drawing/2014/main" id="{BE51D75E-6321-C94D-9947-17B36A281ED3}"/>
              </a:ext>
            </a:extLst>
          </p:cNvPr>
          <p:cNvSpPr>
            <a:spLocks noGrp="1"/>
          </p:cNvSpPr>
          <p:nvPr>
            <p:ph type="title" hasCustomPrompt="1"/>
          </p:nvPr>
        </p:nvSpPr>
        <p:spPr>
          <a:xfrm>
            <a:off x="1676293" y="1677601"/>
            <a:ext cx="21033007" cy="3457574"/>
          </a:xfrm>
          <a:prstGeom prst="rect">
            <a:avLst/>
          </a:prstGeom>
        </p:spPr>
        <p:txBody>
          <a:bodyPr/>
          <a:lstStyle>
            <a:lvl1pPr>
              <a:lnSpc>
                <a:spcPct val="100000"/>
              </a:lnSpc>
              <a:defRPr sz="7200"/>
            </a:lvl1pPr>
          </a:lstStyle>
          <a:p>
            <a:r>
              <a:rPr lang="en-GB" noProof="0"/>
              <a:t>Put the slide headline here, </a:t>
            </a:r>
            <a:br>
              <a:rPr lang="en-GB" noProof="0"/>
            </a:br>
            <a:r>
              <a:rPr lang="en-GB" noProof="0"/>
              <a:t>keep it bold 36 pt</a:t>
            </a:r>
          </a:p>
        </p:txBody>
      </p:sp>
      <p:sp>
        <p:nvSpPr>
          <p:cNvPr id="7" name="Text Placeholder 3">
            <a:extLst>
              <a:ext uri="{FF2B5EF4-FFF2-40B4-BE49-F238E27FC236}">
                <a16:creationId xmlns:a16="http://schemas.microsoft.com/office/drawing/2014/main" id="{C14A6056-7DBD-554E-8300-9E7C2B02BF19}"/>
              </a:ext>
            </a:extLst>
          </p:cNvPr>
          <p:cNvSpPr>
            <a:spLocks noGrp="1"/>
          </p:cNvSpPr>
          <p:nvPr>
            <p:ph type="body" sz="quarter" idx="18" hasCustomPrompt="1"/>
          </p:nvPr>
        </p:nvSpPr>
        <p:spPr>
          <a:xfrm>
            <a:off x="1674329" y="5696427"/>
            <a:ext cx="9650876" cy="6337298"/>
          </a:xfrm>
        </p:spPr>
        <p:txBody>
          <a:bodyPr>
            <a:noAutofit/>
          </a:bodyPr>
          <a:lstStyle>
            <a:lvl1pPr>
              <a:spcBef>
                <a:spcPts val="2000"/>
              </a:spcBef>
              <a:defRPr sz="2800"/>
            </a:lvl1pPr>
          </a:lstStyle>
          <a:p>
            <a:pPr lvl="0"/>
            <a:r>
              <a:rPr lang="en-GB" noProof="0"/>
              <a:t>Put the body text or caption here,</a:t>
            </a:r>
            <a:br>
              <a:rPr lang="en-GB" noProof="0"/>
            </a:br>
            <a:r>
              <a:rPr lang="en-GB" noProof="0"/>
              <a:t>keep it regular 14 pt</a:t>
            </a:r>
          </a:p>
        </p:txBody>
      </p:sp>
      <p:sp>
        <p:nvSpPr>
          <p:cNvPr id="9" name="Text Placeholder 3">
            <a:extLst>
              <a:ext uri="{FF2B5EF4-FFF2-40B4-BE49-F238E27FC236}">
                <a16:creationId xmlns:a16="http://schemas.microsoft.com/office/drawing/2014/main" id="{747137C9-AD53-D149-A97E-41A82FBA0CF6}"/>
              </a:ext>
            </a:extLst>
          </p:cNvPr>
          <p:cNvSpPr>
            <a:spLocks noGrp="1"/>
          </p:cNvSpPr>
          <p:nvPr>
            <p:ph type="body" sz="quarter" idx="19" hasCustomPrompt="1"/>
          </p:nvPr>
        </p:nvSpPr>
        <p:spPr>
          <a:xfrm>
            <a:off x="13018687" y="5696427"/>
            <a:ext cx="9650876" cy="6337298"/>
          </a:xfrm>
        </p:spPr>
        <p:txBody>
          <a:bodyPr>
            <a:noAutofit/>
          </a:bodyPr>
          <a:lstStyle>
            <a:lvl1pPr>
              <a:spcBef>
                <a:spcPts val="2000"/>
              </a:spcBef>
              <a:defRPr sz="2800"/>
            </a:lvl1pPr>
          </a:lstStyle>
          <a:p>
            <a:pPr lvl="0"/>
            <a:r>
              <a:rPr lang="en-GB" noProof="0"/>
              <a:t>Put the body text or caption here,</a:t>
            </a:r>
            <a:br>
              <a:rPr lang="en-GB" noProof="0"/>
            </a:br>
            <a:r>
              <a:rPr lang="en-GB" noProof="0"/>
              <a:t>keep it regular 14 pt</a:t>
            </a:r>
          </a:p>
        </p:txBody>
      </p:sp>
    </p:spTree>
    <p:extLst>
      <p:ext uri="{BB962C8B-B14F-4D97-AF65-F5344CB8AC3E}">
        <p14:creationId xmlns:p14="http://schemas.microsoft.com/office/powerpoint/2010/main" val="630450484"/>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Bullet points in three column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B10EEEC-F9CA-E042-BDE6-F770471505B4}"/>
              </a:ext>
            </a:extLst>
          </p:cNvPr>
          <p:cNvSpPr txBox="1"/>
          <p:nvPr userDrawn="1"/>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
        <p:nvSpPr>
          <p:cNvPr id="18" name="Title 1">
            <a:extLst>
              <a:ext uri="{FF2B5EF4-FFF2-40B4-BE49-F238E27FC236}">
                <a16:creationId xmlns:a16="http://schemas.microsoft.com/office/drawing/2014/main" id="{00941136-4B4C-4145-A979-62087D971861}"/>
              </a:ext>
            </a:extLst>
          </p:cNvPr>
          <p:cNvSpPr>
            <a:spLocks noGrp="1"/>
          </p:cNvSpPr>
          <p:nvPr>
            <p:ph type="title" hasCustomPrompt="1"/>
          </p:nvPr>
        </p:nvSpPr>
        <p:spPr>
          <a:xfrm>
            <a:off x="1676293" y="1677601"/>
            <a:ext cx="21033007" cy="3457574"/>
          </a:xfrm>
          <a:prstGeom prst="rect">
            <a:avLst/>
          </a:prstGeom>
        </p:spPr>
        <p:txBody>
          <a:bodyPr/>
          <a:lstStyle>
            <a:lvl1pPr>
              <a:lnSpc>
                <a:spcPct val="100000"/>
              </a:lnSpc>
              <a:defRPr sz="7200"/>
            </a:lvl1pPr>
          </a:lstStyle>
          <a:p>
            <a:r>
              <a:rPr lang="en-GB" noProof="0"/>
              <a:t>Put the slide headline here, </a:t>
            </a:r>
            <a:br>
              <a:rPr lang="en-GB" noProof="0"/>
            </a:br>
            <a:r>
              <a:rPr lang="en-GB" noProof="0"/>
              <a:t>keep it bold 36 pt</a:t>
            </a:r>
          </a:p>
        </p:txBody>
      </p:sp>
      <p:sp>
        <p:nvSpPr>
          <p:cNvPr id="8" name="Text Placeholder 3">
            <a:extLst>
              <a:ext uri="{FF2B5EF4-FFF2-40B4-BE49-F238E27FC236}">
                <a16:creationId xmlns:a16="http://schemas.microsoft.com/office/drawing/2014/main" id="{CB00048D-5466-AD48-828A-D48CFE43B8E5}"/>
              </a:ext>
            </a:extLst>
          </p:cNvPr>
          <p:cNvSpPr>
            <a:spLocks noGrp="1"/>
          </p:cNvSpPr>
          <p:nvPr>
            <p:ph type="body" sz="quarter" idx="18" hasCustomPrompt="1"/>
          </p:nvPr>
        </p:nvSpPr>
        <p:spPr>
          <a:xfrm>
            <a:off x="1674330" y="5696427"/>
            <a:ext cx="6388570" cy="6337298"/>
          </a:xfrm>
        </p:spPr>
        <p:txBody>
          <a:bodyPr>
            <a:noAutofit/>
          </a:bodyPr>
          <a:lstStyle>
            <a:lvl1pPr marL="571471" indent="-571471">
              <a:spcBef>
                <a:spcPts val="2000"/>
              </a:spcBef>
              <a:buFont typeface="Arial" panose="020B0604020202020204" pitchFamily="34" charset="0"/>
              <a:buChar char="•"/>
              <a:defRPr sz="2800"/>
            </a:lvl1pPr>
          </a:lstStyle>
          <a:p>
            <a:pPr lvl="0"/>
            <a:r>
              <a:rPr lang="en-GB" noProof="0"/>
              <a:t>Put the list text here,</a:t>
            </a:r>
            <a:br>
              <a:rPr lang="en-GB" noProof="0"/>
            </a:br>
            <a:r>
              <a:rPr lang="en-GB" noProof="0"/>
              <a:t>keep it regular 14 pt</a:t>
            </a:r>
          </a:p>
          <a:p>
            <a:pPr lvl="0"/>
            <a:endParaRPr lang="en-GB" noProof="0"/>
          </a:p>
        </p:txBody>
      </p:sp>
      <p:sp>
        <p:nvSpPr>
          <p:cNvPr id="10" name="Text Placeholder 3">
            <a:extLst>
              <a:ext uri="{FF2B5EF4-FFF2-40B4-BE49-F238E27FC236}">
                <a16:creationId xmlns:a16="http://schemas.microsoft.com/office/drawing/2014/main" id="{316CE0BD-CEC3-544F-8484-175C25F90EEC}"/>
              </a:ext>
            </a:extLst>
          </p:cNvPr>
          <p:cNvSpPr>
            <a:spLocks noGrp="1"/>
          </p:cNvSpPr>
          <p:nvPr>
            <p:ph type="body" sz="quarter" idx="19" hasCustomPrompt="1"/>
          </p:nvPr>
        </p:nvSpPr>
        <p:spPr>
          <a:xfrm>
            <a:off x="16319519" y="5696427"/>
            <a:ext cx="6388570" cy="6337298"/>
          </a:xfrm>
        </p:spPr>
        <p:txBody>
          <a:bodyPr>
            <a:noAutofit/>
          </a:bodyPr>
          <a:lstStyle>
            <a:lvl1pPr marL="571471" indent="-571471">
              <a:spcBef>
                <a:spcPts val="2000"/>
              </a:spcBef>
              <a:buFont typeface="Arial" panose="020B0604020202020204" pitchFamily="34" charset="0"/>
              <a:buChar char="•"/>
              <a:defRPr sz="2800"/>
            </a:lvl1pPr>
          </a:lstStyle>
          <a:p>
            <a:pPr lvl="0"/>
            <a:r>
              <a:rPr lang="en-GB" noProof="0"/>
              <a:t>Put the list text here,</a:t>
            </a:r>
            <a:br>
              <a:rPr lang="en-GB" noProof="0"/>
            </a:br>
            <a:r>
              <a:rPr lang="en-GB" noProof="0"/>
              <a:t>keep it regular 14 pt</a:t>
            </a:r>
          </a:p>
          <a:p>
            <a:pPr lvl="0"/>
            <a:endParaRPr lang="en-GB" noProof="0"/>
          </a:p>
        </p:txBody>
      </p:sp>
      <p:sp>
        <p:nvSpPr>
          <p:cNvPr id="11" name="Text Placeholder 3">
            <a:extLst>
              <a:ext uri="{FF2B5EF4-FFF2-40B4-BE49-F238E27FC236}">
                <a16:creationId xmlns:a16="http://schemas.microsoft.com/office/drawing/2014/main" id="{52CADF44-9CA4-8D41-B1AA-2D27B1FDB07E}"/>
              </a:ext>
            </a:extLst>
          </p:cNvPr>
          <p:cNvSpPr>
            <a:spLocks noGrp="1"/>
          </p:cNvSpPr>
          <p:nvPr>
            <p:ph type="body" sz="quarter" idx="20" hasCustomPrompt="1"/>
          </p:nvPr>
        </p:nvSpPr>
        <p:spPr>
          <a:xfrm>
            <a:off x="8996923" y="5696427"/>
            <a:ext cx="6388570" cy="6337298"/>
          </a:xfrm>
        </p:spPr>
        <p:txBody>
          <a:bodyPr>
            <a:noAutofit/>
          </a:bodyPr>
          <a:lstStyle>
            <a:lvl1pPr marL="571471" indent="-571471">
              <a:spcBef>
                <a:spcPts val="2000"/>
              </a:spcBef>
              <a:buFont typeface="Arial" panose="020B0604020202020204" pitchFamily="34" charset="0"/>
              <a:buChar char="•"/>
              <a:defRPr sz="2800"/>
            </a:lvl1pPr>
          </a:lstStyle>
          <a:p>
            <a:pPr lvl="0"/>
            <a:r>
              <a:rPr lang="en-GB" noProof="0"/>
              <a:t>Put the list text here,</a:t>
            </a:r>
            <a:br>
              <a:rPr lang="en-GB" noProof="0"/>
            </a:br>
            <a:r>
              <a:rPr lang="en-GB" noProof="0"/>
              <a:t>keep it regular 14 pt</a:t>
            </a:r>
          </a:p>
          <a:p>
            <a:pPr lvl="0"/>
            <a:endParaRPr lang="en-GB" noProof="0"/>
          </a:p>
        </p:txBody>
      </p:sp>
    </p:spTree>
    <p:extLst>
      <p:ext uri="{BB962C8B-B14F-4D97-AF65-F5344CB8AC3E}">
        <p14:creationId xmlns:p14="http://schemas.microsoft.com/office/powerpoint/2010/main" val="3547035227"/>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Full bleed image">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B11BDF8C-83D3-724E-8888-78F99356B623}"/>
              </a:ext>
            </a:extLst>
          </p:cNvPr>
          <p:cNvSpPr>
            <a:spLocks noGrp="1"/>
          </p:cNvSpPr>
          <p:nvPr>
            <p:ph type="pic" sz="quarter" idx="15" hasCustomPrompt="1"/>
          </p:nvPr>
        </p:nvSpPr>
        <p:spPr>
          <a:xfrm>
            <a:off x="0" y="0"/>
            <a:ext cx="24382413" cy="1371600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8" name="TextBox 7">
            <a:extLst>
              <a:ext uri="{FF2B5EF4-FFF2-40B4-BE49-F238E27FC236}">
                <a16:creationId xmlns:a16="http://schemas.microsoft.com/office/drawing/2014/main" id="{73BADB48-5F7B-4C4D-BDD5-124AFC5BC91E}"/>
              </a:ext>
            </a:extLst>
          </p:cNvPr>
          <p:cNvSpPr txBox="1"/>
          <p:nvPr userDrawn="1"/>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smtClean="0">
                <a:latin typeface="Noto IKEA Latin" panose="020B0502040504020204" pitchFamily="34" charset="0"/>
              </a:rPr>
              <a:pPr algn="r"/>
              <a:t>‹#›</a:t>
            </a:fld>
            <a:endParaRPr lang="en-GB" sz="2000">
              <a:latin typeface="Noto IKEA Latin" panose="020B0502040504020204" pitchFamily="34" charset="0"/>
            </a:endParaRPr>
          </a:p>
        </p:txBody>
      </p:sp>
      <p:sp>
        <p:nvSpPr>
          <p:cNvPr id="7" name="Text Placeholder 3">
            <a:extLst>
              <a:ext uri="{FF2B5EF4-FFF2-40B4-BE49-F238E27FC236}">
                <a16:creationId xmlns:a16="http://schemas.microsoft.com/office/drawing/2014/main" id="{E9391C66-CE44-8540-BF62-38C8D5EF9E6E}"/>
              </a:ext>
            </a:extLst>
          </p:cNvPr>
          <p:cNvSpPr>
            <a:spLocks noGrp="1"/>
          </p:cNvSpPr>
          <p:nvPr>
            <p:ph type="body" sz="quarter" idx="18"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2</a:t>
            </a:r>
            <a:endParaRPr lang="en-GB"/>
          </a:p>
        </p:txBody>
      </p:sp>
    </p:spTree>
    <p:extLst>
      <p:ext uri="{BB962C8B-B14F-4D97-AF65-F5344CB8AC3E}">
        <p14:creationId xmlns:p14="http://schemas.microsoft.com/office/powerpoint/2010/main" val="4043667020"/>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Image and caption">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70934038-8254-5843-BA59-EAFE94F02D83}"/>
              </a:ext>
            </a:extLst>
          </p:cNvPr>
          <p:cNvSpPr>
            <a:spLocks noGrp="1"/>
          </p:cNvSpPr>
          <p:nvPr>
            <p:ph type="pic" sz="quarter" idx="16" hasCustomPrompt="1"/>
          </p:nvPr>
        </p:nvSpPr>
        <p:spPr>
          <a:xfrm>
            <a:off x="1726827" y="1673229"/>
            <a:ext cx="18433558" cy="1036955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4" name="Text Placeholder 3">
            <a:extLst>
              <a:ext uri="{FF2B5EF4-FFF2-40B4-BE49-F238E27FC236}">
                <a16:creationId xmlns:a16="http://schemas.microsoft.com/office/drawing/2014/main" id="{BB8E265F-FE98-834A-BB93-0F7C365B8C12}"/>
              </a:ext>
            </a:extLst>
          </p:cNvPr>
          <p:cNvSpPr>
            <a:spLocks noGrp="1"/>
          </p:cNvSpPr>
          <p:nvPr>
            <p:ph type="body" sz="half" idx="2" hasCustomPrompt="1"/>
          </p:nvPr>
        </p:nvSpPr>
        <p:spPr>
          <a:xfrm>
            <a:off x="20512190" y="5273623"/>
            <a:ext cx="3487563" cy="6912970"/>
          </a:xfrm>
        </p:spPr>
        <p:txBody>
          <a:bodyPr anchor="b">
            <a:noAutofit/>
          </a:bodyPr>
          <a:lstStyle>
            <a:lvl1pPr marL="0" indent="0">
              <a:lnSpc>
                <a:spcPct val="100000"/>
              </a:lnSpc>
              <a:buNone/>
              <a:defRPr sz="28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US"/>
              <a:t>Put the caption here, keep it regular 14 </a:t>
            </a:r>
            <a:r>
              <a:rPr lang="en-US" err="1"/>
              <a:t>pt</a:t>
            </a:r>
            <a:endParaRPr lang="en-US"/>
          </a:p>
        </p:txBody>
      </p:sp>
      <p:sp>
        <p:nvSpPr>
          <p:cNvPr id="7" name="TextBox 6">
            <a:extLst>
              <a:ext uri="{FF2B5EF4-FFF2-40B4-BE49-F238E27FC236}">
                <a16:creationId xmlns:a16="http://schemas.microsoft.com/office/drawing/2014/main" id="{FCB2A3DF-E3B9-BA47-83B8-848B3E89D430}"/>
              </a:ext>
            </a:extLst>
          </p:cNvPr>
          <p:cNvSpPr txBox="1"/>
          <p:nvPr userDrawn="1"/>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smtClean="0">
                <a:latin typeface="Noto IKEA Latin" panose="020B0502040504020204" pitchFamily="34" charset="0"/>
              </a:rPr>
              <a:pPr algn="r"/>
              <a:t>‹#›</a:t>
            </a:fld>
            <a:endParaRPr lang="en-GB" sz="2000">
              <a:latin typeface="Noto IKEA Latin" panose="020B0502040504020204" pitchFamily="34" charset="0"/>
            </a:endParaRPr>
          </a:p>
        </p:txBody>
      </p:sp>
    </p:spTree>
    <p:extLst>
      <p:ext uri="{BB962C8B-B14F-4D97-AF65-F5344CB8AC3E}">
        <p14:creationId xmlns:p14="http://schemas.microsoft.com/office/powerpoint/2010/main" val="2771610370"/>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Quote on imag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1600D40-C419-DE4F-928F-E01FB6D4191F}"/>
              </a:ext>
            </a:extLst>
          </p:cNvPr>
          <p:cNvSpPr>
            <a:spLocks noGrp="1"/>
          </p:cNvSpPr>
          <p:nvPr>
            <p:ph type="pic" sz="quarter" idx="14" hasCustomPrompt="1"/>
          </p:nvPr>
        </p:nvSpPr>
        <p:spPr>
          <a:xfrm>
            <a:off x="0" y="-7514"/>
            <a:ext cx="24382413" cy="13716000"/>
          </a:xfrm>
          <a:solidFill>
            <a:srgbClr val="E4E5E3"/>
          </a:solidFill>
        </p:spPr>
        <p:txBody>
          <a:bodyPr>
            <a:normAutofit/>
          </a:bodyPr>
          <a:lstStyle>
            <a:lvl1pPr>
              <a:defRPr sz="2800">
                <a:solidFill>
                  <a:schemeClr val="bg1">
                    <a:lumMod val="50000"/>
                  </a:schemeClr>
                </a:solidFill>
              </a:defRPr>
            </a:lvl1pPr>
          </a:lstStyle>
          <a:p>
            <a:r>
              <a:rPr lang="en-US"/>
              <a:t>Drag and drop or click the icon to add a picture</a:t>
            </a:r>
          </a:p>
        </p:txBody>
      </p:sp>
      <p:sp>
        <p:nvSpPr>
          <p:cNvPr id="4" name="Text Placeholder 3">
            <a:extLst>
              <a:ext uri="{FF2B5EF4-FFF2-40B4-BE49-F238E27FC236}">
                <a16:creationId xmlns:a16="http://schemas.microsoft.com/office/drawing/2014/main" id="{BB8E265F-FE98-834A-BB93-0F7C365B8C12}"/>
              </a:ext>
            </a:extLst>
          </p:cNvPr>
          <p:cNvSpPr>
            <a:spLocks noGrp="1"/>
          </p:cNvSpPr>
          <p:nvPr>
            <p:ph type="body" sz="half" idx="2" hasCustomPrompt="1"/>
          </p:nvPr>
        </p:nvSpPr>
        <p:spPr>
          <a:xfrm>
            <a:off x="13631276" y="3185593"/>
            <a:ext cx="9202503" cy="7344818"/>
          </a:xfrm>
          <a:solidFill>
            <a:schemeClr val="bg1"/>
          </a:solidFill>
        </p:spPr>
        <p:txBody>
          <a:bodyPr lIns="360000" tIns="46800" rIns="360000" bIns="46800" anchor="ctr">
            <a:noAutofit/>
          </a:bodyPr>
          <a:lstStyle>
            <a:lvl1pPr marL="0" indent="0">
              <a:lnSpc>
                <a:spcPct val="100000"/>
              </a:lnSpc>
              <a:spcBef>
                <a:spcPts val="0"/>
              </a:spcBef>
              <a:buNone/>
              <a:defRPr sz="4800" b="0" i="0">
                <a:solidFill>
                  <a:schemeClr val="tx1"/>
                </a:solidFill>
              </a:defRPr>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US"/>
              <a:t>“Put the quote here. Put the quote here. Put the quote here. Put the quote here. Put the quote here.”</a:t>
            </a:r>
          </a:p>
        </p:txBody>
      </p:sp>
      <p:sp>
        <p:nvSpPr>
          <p:cNvPr id="8" name="TextBox 7">
            <a:extLst>
              <a:ext uri="{FF2B5EF4-FFF2-40B4-BE49-F238E27FC236}">
                <a16:creationId xmlns:a16="http://schemas.microsoft.com/office/drawing/2014/main" id="{B1729F30-758D-FD49-AF2B-C4EAF539A39C}"/>
              </a:ext>
            </a:extLst>
          </p:cNvPr>
          <p:cNvSpPr txBox="1"/>
          <p:nvPr userDrawn="1"/>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smtClean="0">
                <a:latin typeface="Noto IKEA Latin" panose="020B0502040504020204" pitchFamily="34" charset="0"/>
              </a:rPr>
              <a:pPr algn="r"/>
              <a:t>‹#›</a:t>
            </a:fld>
            <a:endParaRPr lang="en-GB" sz="2000">
              <a:latin typeface="Noto IKEA Latin" panose="020B0502040504020204" pitchFamily="34" charset="0"/>
            </a:endParaRPr>
          </a:p>
        </p:txBody>
      </p:sp>
      <p:sp>
        <p:nvSpPr>
          <p:cNvPr id="9" name="Text Placeholder 3">
            <a:extLst>
              <a:ext uri="{FF2B5EF4-FFF2-40B4-BE49-F238E27FC236}">
                <a16:creationId xmlns:a16="http://schemas.microsoft.com/office/drawing/2014/main" id="{52163A22-09CB-E440-8750-18D411BC5D92}"/>
              </a:ext>
            </a:extLst>
          </p:cNvPr>
          <p:cNvSpPr>
            <a:spLocks noGrp="1"/>
          </p:cNvSpPr>
          <p:nvPr>
            <p:ph type="body" sz="quarter" idx="18" hasCustomPrompt="1"/>
          </p:nvPr>
        </p:nvSpPr>
        <p:spPr>
          <a:xfrm rot="5400000">
            <a:off x="20902621" y="2898378"/>
            <a:ext cx="5759746" cy="719337"/>
          </a:xfrm>
        </p:spPr>
        <p:txBody>
          <a:bodyPr anchor="ctr"/>
          <a:lstStyle>
            <a:lvl1pPr>
              <a:defRPr sz="1600">
                <a:solidFill>
                  <a:schemeClr val="tx1">
                    <a:lumMod val="50000"/>
                    <a:lumOff val="50000"/>
                  </a:schemeClr>
                </a:solidFill>
              </a:defRPr>
            </a:lvl1pPr>
          </a:lstStyle>
          <a:p>
            <a:pPr lvl="0"/>
            <a:r>
              <a:rPr lang="en-US"/>
              <a:t>© Inter IKEA Systems B.V. 2022</a:t>
            </a:r>
            <a:endParaRPr lang="en-GB"/>
          </a:p>
        </p:txBody>
      </p:sp>
    </p:spTree>
    <p:extLst>
      <p:ext uri="{BB962C8B-B14F-4D97-AF65-F5344CB8AC3E}">
        <p14:creationId xmlns:p14="http://schemas.microsoft.com/office/powerpoint/2010/main" val="3988372046"/>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ext blocks with descriptions">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D192AE6-FA63-7F45-9A5C-BE1D6300CED7}"/>
              </a:ext>
            </a:extLst>
          </p:cNvPr>
          <p:cNvSpPr>
            <a:spLocks noGrp="1"/>
          </p:cNvSpPr>
          <p:nvPr>
            <p:ph type="body" sz="quarter" idx="11" hasCustomPrompt="1"/>
          </p:nvPr>
        </p:nvSpPr>
        <p:spPr>
          <a:xfrm>
            <a:off x="1712100" y="5742878"/>
            <a:ext cx="6190847" cy="863104"/>
          </a:xfrm>
          <a:solidFill>
            <a:srgbClr val="E4E5E3"/>
          </a:solidFill>
        </p:spPr>
        <p:txBody>
          <a:bodyPr>
            <a:noAutofit/>
          </a:bodyPr>
          <a:lstStyle>
            <a:lvl1pPr>
              <a:lnSpc>
                <a:spcPct val="100000"/>
              </a:lnSpc>
              <a:defRPr b="1"/>
            </a:lvl1pPr>
          </a:lstStyle>
          <a:p>
            <a:pPr lvl="0"/>
            <a:r>
              <a:rPr lang="en-US"/>
              <a:t>Put the title here</a:t>
            </a:r>
          </a:p>
        </p:txBody>
      </p:sp>
      <p:sp>
        <p:nvSpPr>
          <p:cNvPr id="7" name="Text Placeholder 5">
            <a:extLst>
              <a:ext uri="{FF2B5EF4-FFF2-40B4-BE49-F238E27FC236}">
                <a16:creationId xmlns:a16="http://schemas.microsoft.com/office/drawing/2014/main" id="{0D2B4B01-8F71-1C43-804A-AE91ACAAB690}"/>
              </a:ext>
            </a:extLst>
          </p:cNvPr>
          <p:cNvSpPr>
            <a:spLocks noGrp="1"/>
          </p:cNvSpPr>
          <p:nvPr>
            <p:ph type="body" sz="quarter" idx="12" hasCustomPrompt="1"/>
          </p:nvPr>
        </p:nvSpPr>
        <p:spPr>
          <a:xfrm>
            <a:off x="1712100" y="6858002"/>
            <a:ext cx="6190847" cy="2899880"/>
          </a:xfrm>
        </p:spPr>
        <p:txBody>
          <a:bodyPr>
            <a:noAutofit/>
          </a:bodyPr>
          <a:lstStyle>
            <a:lvl1pPr>
              <a:lnSpc>
                <a:spcPct val="100000"/>
              </a:lnSpc>
              <a:spcBef>
                <a:spcPts val="0"/>
              </a:spcBef>
              <a:defRPr sz="2800"/>
            </a:lvl1pPr>
          </a:lstStyle>
          <a:p>
            <a:pPr lvl="0"/>
            <a:r>
              <a:rPr lang="en-US"/>
              <a:t>Put the body text or caption here</a:t>
            </a:r>
            <a:endParaRPr lang="en-GB"/>
          </a:p>
        </p:txBody>
      </p:sp>
      <p:sp>
        <p:nvSpPr>
          <p:cNvPr id="9" name="Text Placeholder 5">
            <a:extLst>
              <a:ext uri="{FF2B5EF4-FFF2-40B4-BE49-F238E27FC236}">
                <a16:creationId xmlns:a16="http://schemas.microsoft.com/office/drawing/2014/main" id="{08916781-0481-B64C-A15B-60E03E7E77EA}"/>
              </a:ext>
            </a:extLst>
          </p:cNvPr>
          <p:cNvSpPr>
            <a:spLocks noGrp="1"/>
          </p:cNvSpPr>
          <p:nvPr>
            <p:ph type="body" sz="quarter" idx="14" hasCustomPrompt="1"/>
          </p:nvPr>
        </p:nvSpPr>
        <p:spPr>
          <a:xfrm>
            <a:off x="9049380" y="5742878"/>
            <a:ext cx="6190847" cy="863104"/>
          </a:xfrm>
          <a:solidFill>
            <a:srgbClr val="E4E5E3"/>
          </a:solidFill>
        </p:spPr>
        <p:txBody>
          <a:bodyPr>
            <a:noAutofit/>
          </a:bodyPr>
          <a:lstStyle>
            <a:lvl1pPr>
              <a:lnSpc>
                <a:spcPct val="100000"/>
              </a:lnSpc>
              <a:defRPr b="1"/>
            </a:lvl1pPr>
          </a:lstStyle>
          <a:p>
            <a:pPr lvl="0"/>
            <a:r>
              <a:rPr lang="en-US"/>
              <a:t>Put the title here</a:t>
            </a:r>
          </a:p>
        </p:txBody>
      </p:sp>
      <p:sp>
        <p:nvSpPr>
          <p:cNvPr id="10" name="Text Placeholder 5">
            <a:extLst>
              <a:ext uri="{FF2B5EF4-FFF2-40B4-BE49-F238E27FC236}">
                <a16:creationId xmlns:a16="http://schemas.microsoft.com/office/drawing/2014/main" id="{CCF4949C-0573-654E-8E4A-1524918D8E6F}"/>
              </a:ext>
            </a:extLst>
          </p:cNvPr>
          <p:cNvSpPr>
            <a:spLocks noGrp="1"/>
          </p:cNvSpPr>
          <p:nvPr>
            <p:ph type="body" sz="quarter" idx="15" hasCustomPrompt="1"/>
          </p:nvPr>
        </p:nvSpPr>
        <p:spPr>
          <a:xfrm>
            <a:off x="9049380" y="6858002"/>
            <a:ext cx="6190847" cy="2899880"/>
          </a:xfrm>
        </p:spPr>
        <p:txBody>
          <a:bodyPr>
            <a:noAutofit/>
          </a:bodyPr>
          <a:lstStyle>
            <a:lvl1pPr>
              <a:lnSpc>
                <a:spcPct val="100000"/>
              </a:lnSpc>
              <a:spcBef>
                <a:spcPts val="0"/>
              </a:spcBef>
              <a:defRPr sz="2800"/>
            </a:lvl1pPr>
          </a:lstStyle>
          <a:p>
            <a:pPr lvl="0"/>
            <a:r>
              <a:rPr lang="en-US"/>
              <a:t>Put the body text or caption here</a:t>
            </a:r>
            <a:endParaRPr lang="en-GB"/>
          </a:p>
        </p:txBody>
      </p:sp>
      <p:sp>
        <p:nvSpPr>
          <p:cNvPr id="11" name="Text Placeholder 5">
            <a:extLst>
              <a:ext uri="{FF2B5EF4-FFF2-40B4-BE49-F238E27FC236}">
                <a16:creationId xmlns:a16="http://schemas.microsoft.com/office/drawing/2014/main" id="{A4742B0C-C25C-194C-9FE2-34262FB01095}"/>
              </a:ext>
            </a:extLst>
          </p:cNvPr>
          <p:cNvSpPr>
            <a:spLocks noGrp="1"/>
          </p:cNvSpPr>
          <p:nvPr>
            <p:ph type="body" sz="quarter" idx="16" hasCustomPrompt="1"/>
          </p:nvPr>
        </p:nvSpPr>
        <p:spPr>
          <a:xfrm>
            <a:off x="16490690" y="5742878"/>
            <a:ext cx="6190847" cy="863104"/>
          </a:xfrm>
          <a:solidFill>
            <a:srgbClr val="E4E5E3"/>
          </a:solidFill>
        </p:spPr>
        <p:txBody>
          <a:bodyPr>
            <a:noAutofit/>
          </a:bodyPr>
          <a:lstStyle>
            <a:lvl1pPr>
              <a:lnSpc>
                <a:spcPct val="100000"/>
              </a:lnSpc>
              <a:defRPr b="1"/>
            </a:lvl1pPr>
          </a:lstStyle>
          <a:p>
            <a:pPr lvl="0"/>
            <a:r>
              <a:rPr lang="en-US"/>
              <a:t>Put the title here</a:t>
            </a:r>
          </a:p>
        </p:txBody>
      </p:sp>
      <p:sp>
        <p:nvSpPr>
          <p:cNvPr id="12" name="Text Placeholder 5">
            <a:extLst>
              <a:ext uri="{FF2B5EF4-FFF2-40B4-BE49-F238E27FC236}">
                <a16:creationId xmlns:a16="http://schemas.microsoft.com/office/drawing/2014/main" id="{334FE28E-7BB9-5247-A7EF-E68623CEC0DF}"/>
              </a:ext>
            </a:extLst>
          </p:cNvPr>
          <p:cNvSpPr>
            <a:spLocks noGrp="1"/>
          </p:cNvSpPr>
          <p:nvPr>
            <p:ph type="body" sz="quarter" idx="17" hasCustomPrompt="1"/>
          </p:nvPr>
        </p:nvSpPr>
        <p:spPr>
          <a:xfrm>
            <a:off x="16490690" y="6858002"/>
            <a:ext cx="6190847" cy="2899880"/>
          </a:xfrm>
        </p:spPr>
        <p:txBody>
          <a:bodyPr>
            <a:noAutofit/>
          </a:bodyPr>
          <a:lstStyle>
            <a:lvl1pPr>
              <a:lnSpc>
                <a:spcPct val="100000"/>
              </a:lnSpc>
              <a:spcBef>
                <a:spcPts val="0"/>
              </a:spcBef>
              <a:defRPr sz="2800"/>
            </a:lvl1pPr>
          </a:lstStyle>
          <a:p>
            <a:pPr lvl="0"/>
            <a:r>
              <a:rPr lang="en-US"/>
              <a:t>Put the body text or caption here</a:t>
            </a:r>
            <a:endParaRPr lang="en-GB"/>
          </a:p>
        </p:txBody>
      </p:sp>
      <p:sp>
        <p:nvSpPr>
          <p:cNvPr id="14" name="TextBox 13">
            <a:extLst>
              <a:ext uri="{FF2B5EF4-FFF2-40B4-BE49-F238E27FC236}">
                <a16:creationId xmlns:a16="http://schemas.microsoft.com/office/drawing/2014/main" id="{59A9C86E-1C1C-4849-9898-CE794DA804F5}"/>
              </a:ext>
            </a:extLst>
          </p:cNvPr>
          <p:cNvSpPr txBox="1"/>
          <p:nvPr userDrawn="1"/>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smtClean="0">
                <a:latin typeface="Noto IKEA Latin" panose="020B0502040504020204" pitchFamily="34" charset="0"/>
              </a:rPr>
              <a:pPr algn="r"/>
              <a:t>‹#›</a:t>
            </a:fld>
            <a:endParaRPr lang="en-GB" sz="2000">
              <a:latin typeface="Noto IKEA Latin" panose="020B0502040504020204" pitchFamily="34" charset="0"/>
            </a:endParaRPr>
          </a:p>
        </p:txBody>
      </p:sp>
      <p:sp>
        <p:nvSpPr>
          <p:cNvPr id="15" name="Title 1">
            <a:extLst>
              <a:ext uri="{FF2B5EF4-FFF2-40B4-BE49-F238E27FC236}">
                <a16:creationId xmlns:a16="http://schemas.microsoft.com/office/drawing/2014/main" id="{AC11DA65-BB4F-5E44-93BC-902C228635DB}"/>
              </a:ext>
            </a:extLst>
          </p:cNvPr>
          <p:cNvSpPr>
            <a:spLocks noGrp="1"/>
          </p:cNvSpPr>
          <p:nvPr>
            <p:ph type="title" hasCustomPrompt="1"/>
          </p:nvPr>
        </p:nvSpPr>
        <p:spPr>
          <a:xfrm>
            <a:off x="1676293" y="1677601"/>
            <a:ext cx="21033007" cy="3457574"/>
          </a:xfrm>
          <a:prstGeom prst="rect">
            <a:avLst/>
          </a:prstGeom>
        </p:spPr>
        <p:txBody>
          <a:bodyPr/>
          <a:lstStyle>
            <a:lvl1pPr>
              <a:lnSpc>
                <a:spcPct val="100000"/>
              </a:lnSpc>
              <a:defRPr sz="7200"/>
            </a:lvl1pPr>
          </a:lstStyle>
          <a:p>
            <a:r>
              <a:rPr lang="en-US"/>
              <a:t>Put the slide headline here, </a:t>
            </a:r>
            <a:br>
              <a:rPr lang="en-US"/>
            </a:br>
            <a:r>
              <a:rPr lang="en-US"/>
              <a:t>keep it bold 36 </a:t>
            </a:r>
            <a:r>
              <a:rPr lang="en-US" err="1"/>
              <a:t>pt</a:t>
            </a:r>
            <a:endParaRPr lang="en-US"/>
          </a:p>
        </p:txBody>
      </p:sp>
    </p:spTree>
    <p:extLst>
      <p:ext uri="{BB962C8B-B14F-4D97-AF65-F5344CB8AC3E}">
        <p14:creationId xmlns:p14="http://schemas.microsoft.com/office/powerpoint/2010/main" val="1913489723"/>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Levels with descriptions">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0D2B4B01-8F71-1C43-804A-AE91ACAAB690}"/>
              </a:ext>
            </a:extLst>
          </p:cNvPr>
          <p:cNvSpPr>
            <a:spLocks noGrp="1"/>
          </p:cNvSpPr>
          <p:nvPr>
            <p:ph type="body" sz="quarter" idx="12" hasCustomPrompt="1"/>
          </p:nvPr>
        </p:nvSpPr>
        <p:spPr>
          <a:xfrm>
            <a:off x="13199256" y="5695723"/>
            <a:ext cx="6190847" cy="1397590"/>
          </a:xfrm>
        </p:spPr>
        <p:txBody>
          <a:bodyPr>
            <a:noAutofit/>
          </a:bodyPr>
          <a:lstStyle>
            <a:lvl1pPr>
              <a:spcBef>
                <a:spcPts val="0"/>
              </a:spcBef>
              <a:defRPr sz="2800"/>
            </a:lvl1pPr>
          </a:lstStyle>
          <a:p>
            <a:pPr lvl="0"/>
            <a:r>
              <a:rPr lang="en-US"/>
              <a:t>Put the body text or caption here</a:t>
            </a:r>
            <a:endParaRPr lang="en-GB"/>
          </a:p>
        </p:txBody>
      </p:sp>
      <p:sp>
        <p:nvSpPr>
          <p:cNvPr id="10" name="Text Placeholder 5">
            <a:extLst>
              <a:ext uri="{FF2B5EF4-FFF2-40B4-BE49-F238E27FC236}">
                <a16:creationId xmlns:a16="http://schemas.microsoft.com/office/drawing/2014/main" id="{CCF4949C-0573-654E-8E4A-1524918D8E6F}"/>
              </a:ext>
            </a:extLst>
          </p:cNvPr>
          <p:cNvSpPr>
            <a:spLocks noGrp="1"/>
          </p:cNvSpPr>
          <p:nvPr>
            <p:ph type="body" sz="quarter" idx="15" hasCustomPrompt="1"/>
          </p:nvPr>
        </p:nvSpPr>
        <p:spPr>
          <a:xfrm>
            <a:off x="13199256" y="7832867"/>
            <a:ext cx="6190847" cy="1397590"/>
          </a:xfrm>
        </p:spPr>
        <p:txBody>
          <a:bodyPr>
            <a:noAutofit/>
          </a:bodyPr>
          <a:lstStyle>
            <a:lvl1pPr>
              <a:spcBef>
                <a:spcPts val="0"/>
              </a:spcBef>
              <a:defRPr sz="2800"/>
            </a:lvl1pPr>
          </a:lstStyle>
          <a:p>
            <a:pPr lvl="0"/>
            <a:r>
              <a:rPr lang="en-US"/>
              <a:t>Put the body text or caption here</a:t>
            </a:r>
            <a:endParaRPr lang="en-GB"/>
          </a:p>
        </p:txBody>
      </p:sp>
      <p:sp>
        <p:nvSpPr>
          <p:cNvPr id="12" name="Text Placeholder 5">
            <a:extLst>
              <a:ext uri="{FF2B5EF4-FFF2-40B4-BE49-F238E27FC236}">
                <a16:creationId xmlns:a16="http://schemas.microsoft.com/office/drawing/2014/main" id="{334FE28E-7BB9-5247-A7EF-E68623CEC0DF}"/>
              </a:ext>
            </a:extLst>
          </p:cNvPr>
          <p:cNvSpPr>
            <a:spLocks noGrp="1"/>
          </p:cNvSpPr>
          <p:nvPr>
            <p:ph type="body" sz="quarter" idx="17" hasCustomPrompt="1"/>
          </p:nvPr>
        </p:nvSpPr>
        <p:spPr>
          <a:xfrm>
            <a:off x="13199256" y="9970011"/>
            <a:ext cx="6190847" cy="1397590"/>
          </a:xfrm>
        </p:spPr>
        <p:txBody>
          <a:bodyPr>
            <a:noAutofit/>
          </a:bodyPr>
          <a:lstStyle>
            <a:lvl1pPr>
              <a:spcBef>
                <a:spcPts val="0"/>
              </a:spcBef>
              <a:defRPr sz="2800"/>
            </a:lvl1pPr>
          </a:lstStyle>
          <a:p>
            <a:pPr lvl="0"/>
            <a:r>
              <a:rPr lang="en-US"/>
              <a:t>Put the body text or caption here</a:t>
            </a:r>
            <a:endParaRPr lang="en-GB"/>
          </a:p>
        </p:txBody>
      </p:sp>
      <p:sp>
        <p:nvSpPr>
          <p:cNvPr id="9" name="Text Placeholder 5">
            <a:extLst>
              <a:ext uri="{FF2B5EF4-FFF2-40B4-BE49-F238E27FC236}">
                <a16:creationId xmlns:a16="http://schemas.microsoft.com/office/drawing/2014/main" id="{08916781-0481-B64C-A15B-60E03E7E77EA}"/>
              </a:ext>
            </a:extLst>
          </p:cNvPr>
          <p:cNvSpPr>
            <a:spLocks noGrp="1"/>
          </p:cNvSpPr>
          <p:nvPr>
            <p:ph type="body" sz="quarter" idx="14" hasCustomPrompt="1"/>
          </p:nvPr>
        </p:nvSpPr>
        <p:spPr>
          <a:xfrm>
            <a:off x="4674905" y="5695723"/>
            <a:ext cx="6633094" cy="1397590"/>
          </a:xfrm>
          <a:solidFill>
            <a:srgbClr val="E4E5E3"/>
          </a:solidFill>
        </p:spPr>
        <p:txBody>
          <a:bodyPr anchor="ctr">
            <a:noAutofit/>
          </a:bodyPr>
          <a:lstStyle>
            <a:lvl1pPr>
              <a:defRPr sz="3600"/>
            </a:lvl1pPr>
          </a:lstStyle>
          <a:p>
            <a:pPr lvl="0"/>
            <a:r>
              <a:rPr lang="en-US"/>
              <a:t>Put the title here</a:t>
            </a:r>
          </a:p>
        </p:txBody>
      </p:sp>
      <p:sp>
        <p:nvSpPr>
          <p:cNvPr id="15" name="Text Placeholder 5">
            <a:extLst>
              <a:ext uri="{FF2B5EF4-FFF2-40B4-BE49-F238E27FC236}">
                <a16:creationId xmlns:a16="http://schemas.microsoft.com/office/drawing/2014/main" id="{B0FD171A-0961-AF47-AF11-4B67E2B02EBC}"/>
              </a:ext>
            </a:extLst>
          </p:cNvPr>
          <p:cNvSpPr>
            <a:spLocks noGrp="1"/>
          </p:cNvSpPr>
          <p:nvPr>
            <p:ph type="body" sz="quarter" idx="18" hasCustomPrompt="1"/>
          </p:nvPr>
        </p:nvSpPr>
        <p:spPr>
          <a:xfrm>
            <a:off x="4674905" y="7832867"/>
            <a:ext cx="6633094" cy="1397590"/>
          </a:xfrm>
          <a:solidFill>
            <a:srgbClr val="E4E5E3"/>
          </a:solidFill>
        </p:spPr>
        <p:txBody>
          <a:bodyPr anchor="ctr">
            <a:noAutofit/>
          </a:bodyPr>
          <a:lstStyle>
            <a:lvl1pPr>
              <a:defRPr sz="3600"/>
            </a:lvl1pPr>
          </a:lstStyle>
          <a:p>
            <a:pPr lvl="0"/>
            <a:r>
              <a:rPr lang="en-US"/>
              <a:t>Put the title here</a:t>
            </a:r>
          </a:p>
        </p:txBody>
      </p:sp>
      <p:sp>
        <p:nvSpPr>
          <p:cNvPr id="16" name="Text Placeholder 5">
            <a:extLst>
              <a:ext uri="{FF2B5EF4-FFF2-40B4-BE49-F238E27FC236}">
                <a16:creationId xmlns:a16="http://schemas.microsoft.com/office/drawing/2014/main" id="{08483BCA-AF2F-134B-A357-367A5706C697}"/>
              </a:ext>
            </a:extLst>
          </p:cNvPr>
          <p:cNvSpPr>
            <a:spLocks noGrp="1"/>
          </p:cNvSpPr>
          <p:nvPr>
            <p:ph type="body" sz="quarter" idx="19" hasCustomPrompt="1"/>
          </p:nvPr>
        </p:nvSpPr>
        <p:spPr>
          <a:xfrm>
            <a:off x="4674905" y="9970011"/>
            <a:ext cx="6633094" cy="1397590"/>
          </a:xfrm>
          <a:solidFill>
            <a:srgbClr val="E4E5E3"/>
          </a:solidFill>
        </p:spPr>
        <p:txBody>
          <a:bodyPr anchor="ctr">
            <a:noAutofit/>
          </a:bodyPr>
          <a:lstStyle>
            <a:lvl1pPr>
              <a:defRPr sz="3600"/>
            </a:lvl1pPr>
          </a:lstStyle>
          <a:p>
            <a:pPr lvl="0"/>
            <a:r>
              <a:rPr lang="en-US"/>
              <a:t>Put the title here</a:t>
            </a:r>
          </a:p>
        </p:txBody>
      </p:sp>
      <p:sp>
        <p:nvSpPr>
          <p:cNvPr id="13" name="TextBox 12">
            <a:extLst>
              <a:ext uri="{FF2B5EF4-FFF2-40B4-BE49-F238E27FC236}">
                <a16:creationId xmlns:a16="http://schemas.microsoft.com/office/drawing/2014/main" id="{E4964DA0-4452-6540-89A2-748239CA7284}"/>
              </a:ext>
            </a:extLst>
          </p:cNvPr>
          <p:cNvSpPr txBox="1"/>
          <p:nvPr userDrawn="1"/>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smtClean="0">
                <a:latin typeface="Noto IKEA Latin" panose="020B0502040504020204" pitchFamily="34" charset="0"/>
              </a:rPr>
              <a:pPr algn="r"/>
              <a:t>‹#›</a:t>
            </a:fld>
            <a:endParaRPr lang="en-GB" sz="2000">
              <a:latin typeface="Noto IKEA Latin" panose="020B0502040504020204" pitchFamily="34" charset="0"/>
            </a:endParaRPr>
          </a:p>
        </p:txBody>
      </p:sp>
      <p:sp>
        <p:nvSpPr>
          <p:cNvPr id="14" name="Title 1">
            <a:extLst>
              <a:ext uri="{FF2B5EF4-FFF2-40B4-BE49-F238E27FC236}">
                <a16:creationId xmlns:a16="http://schemas.microsoft.com/office/drawing/2014/main" id="{C2251F9F-54CD-8945-9716-7D15439B9923}"/>
              </a:ext>
            </a:extLst>
          </p:cNvPr>
          <p:cNvSpPr>
            <a:spLocks noGrp="1"/>
          </p:cNvSpPr>
          <p:nvPr>
            <p:ph type="title" hasCustomPrompt="1"/>
          </p:nvPr>
        </p:nvSpPr>
        <p:spPr>
          <a:xfrm>
            <a:off x="1676293" y="1677601"/>
            <a:ext cx="21033007" cy="3457574"/>
          </a:xfrm>
          <a:prstGeom prst="rect">
            <a:avLst/>
          </a:prstGeom>
        </p:spPr>
        <p:txBody>
          <a:bodyPr/>
          <a:lstStyle>
            <a:lvl1pPr>
              <a:lnSpc>
                <a:spcPct val="100000"/>
              </a:lnSpc>
              <a:defRPr sz="7200"/>
            </a:lvl1pPr>
          </a:lstStyle>
          <a:p>
            <a:r>
              <a:rPr lang="en-US"/>
              <a:t>Put the slide headline here, </a:t>
            </a:r>
            <a:br>
              <a:rPr lang="en-US"/>
            </a:br>
            <a:r>
              <a:rPr lang="en-US"/>
              <a:t>keep it bold 36 </a:t>
            </a:r>
            <a:r>
              <a:rPr lang="en-US" err="1"/>
              <a:t>pt</a:t>
            </a:r>
            <a:endParaRPr lang="en-US"/>
          </a:p>
        </p:txBody>
      </p:sp>
    </p:spTree>
    <p:extLst>
      <p:ext uri="{BB962C8B-B14F-4D97-AF65-F5344CB8AC3E}">
        <p14:creationId xmlns:p14="http://schemas.microsoft.com/office/powerpoint/2010/main" val="4164754011"/>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Before–after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413F907-AE77-0746-B805-0D2E5F01B01D}"/>
              </a:ext>
            </a:extLst>
          </p:cNvPr>
          <p:cNvSpPr>
            <a:spLocks noGrp="1"/>
          </p:cNvSpPr>
          <p:nvPr>
            <p:ph type="pic" sz="quarter" idx="17" hasCustomPrompt="1"/>
          </p:nvPr>
        </p:nvSpPr>
        <p:spPr>
          <a:xfrm>
            <a:off x="3263687" y="4045531"/>
            <a:ext cx="7200433" cy="4606926"/>
          </a:xfrm>
          <a:solidFill>
            <a:srgbClr val="E4E5E3"/>
          </a:solidFill>
        </p:spPr>
        <p:txBody>
          <a:bodyPr>
            <a:normAutofit/>
          </a:bodyPr>
          <a:lstStyle>
            <a:lvl1pPr marL="0" indent="0">
              <a:buNone/>
              <a:defRPr sz="2800">
                <a:solidFill>
                  <a:schemeClr val="bg1">
                    <a:lumMod val="50000"/>
                  </a:schemeClr>
                </a:solidFill>
              </a:defRPr>
            </a:lvl1pPr>
          </a:lstStyle>
          <a:p>
            <a:r>
              <a:rPr lang="en-US"/>
              <a:t>Drag and drop or click the icon to add a picture</a:t>
            </a:r>
          </a:p>
        </p:txBody>
      </p:sp>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13984331" y="4045531"/>
            <a:ext cx="7200433" cy="4606926"/>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pic>
        <p:nvPicPr>
          <p:cNvPr id="2" name="Picture 1">
            <a:extLst>
              <a:ext uri="{FF2B5EF4-FFF2-40B4-BE49-F238E27FC236}">
                <a16:creationId xmlns:a16="http://schemas.microsoft.com/office/drawing/2014/main" id="{86D6265E-70AC-3048-8EA1-7C44308317B8}"/>
              </a:ext>
            </a:extLst>
          </p:cNvPr>
          <p:cNvPicPr>
            <a:picLocks noChangeAspect="1"/>
          </p:cNvPicPr>
          <p:nvPr userDrawn="1"/>
        </p:nvPicPr>
        <p:blipFill>
          <a:blip r:embed="rId2"/>
          <a:stretch>
            <a:fillRect/>
          </a:stretch>
        </p:blipFill>
        <p:spPr>
          <a:xfrm>
            <a:off x="11420351" y="5753339"/>
            <a:ext cx="1541714" cy="1257798"/>
          </a:xfrm>
          <a:prstGeom prst="rect">
            <a:avLst/>
          </a:prstGeom>
        </p:spPr>
      </p:pic>
      <p:sp>
        <p:nvSpPr>
          <p:cNvPr id="12" name="TextBox 11">
            <a:extLst>
              <a:ext uri="{FF2B5EF4-FFF2-40B4-BE49-F238E27FC236}">
                <a16:creationId xmlns:a16="http://schemas.microsoft.com/office/drawing/2014/main" id="{C2CF7D12-C123-CB4E-92BB-7BFFDA0A2C14}"/>
              </a:ext>
            </a:extLst>
          </p:cNvPr>
          <p:cNvSpPr txBox="1"/>
          <p:nvPr userDrawn="1"/>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smtClean="0">
                <a:latin typeface="Noto IKEA Latin" panose="020B0502040504020204" pitchFamily="34" charset="0"/>
              </a:rPr>
              <a:pPr algn="r"/>
              <a:t>‹#›</a:t>
            </a:fld>
            <a:endParaRPr lang="en-GB" sz="2000">
              <a:latin typeface="Noto IKEA Latin" panose="020B0502040504020204" pitchFamily="34" charset="0"/>
            </a:endParaRPr>
          </a:p>
        </p:txBody>
      </p:sp>
      <p:sp>
        <p:nvSpPr>
          <p:cNvPr id="13" name="Title 1">
            <a:extLst>
              <a:ext uri="{FF2B5EF4-FFF2-40B4-BE49-F238E27FC236}">
                <a16:creationId xmlns:a16="http://schemas.microsoft.com/office/drawing/2014/main" id="{3915BC80-B2FE-8249-98A7-3859708C64C5}"/>
              </a:ext>
            </a:extLst>
          </p:cNvPr>
          <p:cNvSpPr>
            <a:spLocks noGrp="1"/>
          </p:cNvSpPr>
          <p:nvPr>
            <p:ph type="title" hasCustomPrompt="1"/>
          </p:nvPr>
        </p:nvSpPr>
        <p:spPr>
          <a:xfrm>
            <a:off x="1676293" y="1677601"/>
            <a:ext cx="21033007" cy="2372302"/>
          </a:xfrm>
          <a:prstGeom prst="rect">
            <a:avLst/>
          </a:prstGeom>
        </p:spPr>
        <p:txBody>
          <a:bodyPr/>
          <a:lstStyle>
            <a:lvl1pPr>
              <a:lnSpc>
                <a:spcPct val="100000"/>
              </a:lnSpc>
              <a:defRPr sz="7200"/>
            </a:lvl1pPr>
          </a:lstStyle>
          <a:p>
            <a:r>
              <a:rPr lang="en-US"/>
              <a:t>Put the slide headline here</a:t>
            </a:r>
          </a:p>
        </p:txBody>
      </p:sp>
      <p:sp>
        <p:nvSpPr>
          <p:cNvPr id="16" name="Text Placeholder 5">
            <a:extLst>
              <a:ext uri="{FF2B5EF4-FFF2-40B4-BE49-F238E27FC236}">
                <a16:creationId xmlns:a16="http://schemas.microsoft.com/office/drawing/2014/main" id="{8B805C66-9B81-6F4A-8653-8751DC71F3C3}"/>
              </a:ext>
            </a:extLst>
          </p:cNvPr>
          <p:cNvSpPr>
            <a:spLocks noGrp="1"/>
          </p:cNvSpPr>
          <p:nvPr>
            <p:ph type="body" sz="quarter" idx="12" hasCustomPrompt="1"/>
          </p:nvPr>
        </p:nvSpPr>
        <p:spPr>
          <a:xfrm>
            <a:off x="3263687" y="9038944"/>
            <a:ext cx="7200433" cy="2859616"/>
          </a:xfrm>
        </p:spPr>
        <p:txBody>
          <a:bodyPr>
            <a:noAutofit/>
          </a:bodyPr>
          <a:lstStyle>
            <a:lvl1pPr>
              <a:spcBef>
                <a:spcPts val="0"/>
              </a:spcBef>
              <a:defRPr sz="2800"/>
            </a:lvl1pPr>
          </a:lstStyle>
          <a:p>
            <a:pPr lvl="0"/>
            <a:r>
              <a:rPr lang="en-US"/>
              <a:t>Put the body text or caption here</a:t>
            </a:r>
            <a:endParaRPr lang="en-GB"/>
          </a:p>
        </p:txBody>
      </p:sp>
      <p:sp>
        <p:nvSpPr>
          <p:cNvPr id="17" name="Text Placeholder 5">
            <a:extLst>
              <a:ext uri="{FF2B5EF4-FFF2-40B4-BE49-F238E27FC236}">
                <a16:creationId xmlns:a16="http://schemas.microsoft.com/office/drawing/2014/main" id="{FA6FB3B4-ED87-C644-AEAC-F1AF465F1548}"/>
              </a:ext>
            </a:extLst>
          </p:cNvPr>
          <p:cNvSpPr>
            <a:spLocks noGrp="1"/>
          </p:cNvSpPr>
          <p:nvPr>
            <p:ph type="body" sz="quarter" idx="22" hasCustomPrompt="1"/>
          </p:nvPr>
        </p:nvSpPr>
        <p:spPr>
          <a:xfrm>
            <a:off x="13993172" y="9038944"/>
            <a:ext cx="7200433" cy="2859616"/>
          </a:xfrm>
        </p:spPr>
        <p:txBody>
          <a:bodyPr>
            <a:noAutofit/>
          </a:bodyPr>
          <a:lstStyle>
            <a:lvl1pPr>
              <a:spcBef>
                <a:spcPts val="0"/>
              </a:spcBef>
              <a:defRPr sz="2800"/>
            </a:lvl1pPr>
          </a:lstStyle>
          <a:p>
            <a:pPr lvl="0"/>
            <a:r>
              <a:rPr lang="en-US"/>
              <a:t>Put the body text or caption here</a:t>
            </a:r>
            <a:endParaRPr lang="en-GB"/>
          </a:p>
        </p:txBody>
      </p:sp>
    </p:spTree>
    <p:extLst>
      <p:ext uri="{BB962C8B-B14F-4D97-AF65-F5344CB8AC3E}">
        <p14:creationId xmlns:p14="http://schemas.microsoft.com/office/powerpoint/2010/main" val="3281931982"/>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Images with description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413F907-AE77-0746-B805-0D2E5F01B01D}"/>
              </a:ext>
            </a:extLst>
          </p:cNvPr>
          <p:cNvSpPr>
            <a:spLocks noGrp="1"/>
          </p:cNvSpPr>
          <p:nvPr>
            <p:ph type="pic" sz="quarter" idx="17" hasCustomPrompt="1"/>
          </p:nvPr>
        </p:nvSpPr>
        <p:spPr>
          <a:xfrm>
            <a:off x="1710102" y="4124207"/>
            <a:ext cx="6113952" cy="4606926"/>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9167072" y="4124207"/>
            <a:ext cx="6113952" cy="4606926"/>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13" name="Picture Placeholder 2">
            <a:extLst>
              <a:ext uri="{FF2B5EF4-FFF2-40B4-BE49-F238E27FC236}">
                <a16:creationId xmlns:a16="http://schemas.microsoft.com/office/drawing/2014/main" id="{AADE64AA-EB12-9B42-B094-87CAEF84C4AB}"/>
              </a:ext>
            </a:extLst>
          </p:cNvPr>
          <p:cNvSpPr>
            <a:spLocks noGrp="1"/>
          </p:cNvSpPr>
          <p:nvPr>
            <p:ph type="pic" sz="quarter" idx="23" hasCustomPrompt="1"/>
          </p:nvPr>
        </p:nvSpPr>
        <p:spPr>
          <a:xfrm>
            <a:off x="16545286" y="4124207"/>
            <a:ext cx="6113952" cy="4606926"/>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17" name="TextBox 16">
            <a:extLst>
              <a:ext uri="{FF2B5EF4-FFF2-40B4-BE49-F238E27FC236}">
                <a16:creationId xmlns:a16="http://schemas.microsoft.com/office/drawing/2014/main" id="{BD20C848-2304-4F46-9EDC-D7AC2CD7AAE4}"/>
              </a:ext>
            </a:extLst>
          </p:cNvPr>
          <p:cNvSpPr txBox="1"/>
          <p:nvPr userDrawn="1"/>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smtClean="0">
                <a:latin typeface="Noto IKEA Latin" panose="020B0502040504020204" pitchFamily="34" charset="0"/>
              </a:rPr>
              <a:pPr algn="r"/>
              <a:t>‹#›</a:t>
            </a:fld>
            <a:endParaRPr lang="en-GB" sz="2000">
              <a:latin typeface="Noto IKEA Latin" panose="020B0502040504020204" pitchFamily="34" charset="0"/>
            </a:endParaRPr>
          </a:p>
        </p:txBody>
      </p:sp>
      <p:sp>
        <p:nvSpPr>
          <p:cNvPr id="14" name="Title 1">
            <a:extLst>
              <a:ext uri="{FF2B5EF4-FFF2-40B4-BE49-F238E27FC236}">
                <a16:creationId xmlns:a16="http://schemas.microsoft.com/office/drawing/2014/main" id="{15330994-19DA-9E46-A2E3-C446A8DB80A5}"/>
              </a:ext>
            </a:extLst>
          </p:cNvPr>
          <p:cNvSpPr>
            <a:spLocks noGrp="1"/>
          </p:cNvSpPr>
          <p:nvPr>
            <p:ph type="title" hasCustomPrompt="1"/>
          </p:nvPr>
        </p:nvSpPr>
        <p:spPr>
          <a:xfrm>
            <a:off x="1676293" y="1677601"/>
            <a:ext cx="21033007" cy="2450978"/>
          </a:xfrm>
          <a:prstGeom prst="rect">
            <a:avLst/>
          </a:prstGeom>
        </p:spPr>
        <p:txBody>
          <a:bodyPr/>
          <a:lstStyle>
            <a:lvl1pPr>
              <a:lnSpc>
                <a:spcPct val="100000"/>
              </a:lnSpc>
              <a:defRPr sz="7200"/>
            </a:lvl1pPr>
          </a:lstStyle>
          <a:p>
            <a:r>
              <a:rPr lang="en-US"/>
              <a:t>Put the slide headline here</a:t>
            </a:r>
          </a:p>
        </p:txBody>
      </p:sp>
      <p:sp>
        <p:nvSpPr>
          <p:cNvPr id="15" name="Text Placeholder 5">
            <a:extLst>
              <a:ext uri="{FF2B5EF4-FFF2-40B4-BE49-F238E27FC236}">
                <a16:creationId xmlns:a16="http://schemas.microsoft.com/office/drawing/2014/main" id="{EA551AE1-5794-8645-B13C-A75DC3F29BBC}"/>
              </a:ext>
            </a:extLst>
          </p:cNvPr>
          <p:cNvSpPr>
            <a:spLocks noGrp="1"/>
          </p:cNvSpPr>
          <p:nvPr>
            <p:ph type="body" sz="quarter" idx="12" hasCustomPrompt="1"/>
          </p:nvPr>
        </p:nvSpPr>
        <p:spPr>
          <a:xfrm>
            <a:off x="1710102" y="9038944"/>
            <a:ext cx="6113952" cy="2859616"/>
          </a:xfrm>
        </p:spPr>
        <p:txBody>
          <a:bodyPr>
            <a:noAutofit/>
          </a:bodyPr>
          <a:lstStyle>
            <a:lvl1pPr>
              <a:spcBef>
                <a:spcPts val="0"/>
              </a:spcBef>
              <a:defRPr sz="2800"/>
            </a:lvl1pPr>
          </a:lstStyle>
          <a:p>
            <a:pPr lvl="0"/>
            <a:r>
              <a:rPr lang="en-US"/>
              <a:t>Put the body text or caption here</a:t>
            </a:r>
            <a:endParaRPr lang="en-GB"/>
          </a:p>
        </p:txBody>
      </p:sp>
      <p:sp>
        <p:nvSpPr>
          <p:cNvPr id="16" name="Text Placeholder 5">
            <a:extLst>
              <a:ext uri="{FF2B5EF4-FFF2-40B4-BE49-F238E27FC236}">
                <a16:creationId xmlns:a16="http://schemas.microsoft.com/office/drawing/2014/main" id="{50C5C652-3240-6341-9095-4EF7D7DC26F2}"/>
              </a:ext>
            </a:extLst>
          </p:cNvPr>
          <p:cNvSpPr>
            <a:spLocks noGrp="1"/>
          </p:cNvSpPr>
          <p:nvPr>
            <p:ph type="body" sz="quarter" idx="30" hasCustomPrompt="1"/>
          </p:nvPr>
        </p:nvSpPr>
        <p:spPr>
          <a:xfrm>
            <a:off x="9134234" y="9038944"/>
            <a:ext cx="6113952" cy="2859616"/>
          </a:xfrm>
        </p:spPr>
        <p:txBody>
          <a:bodyPr>
            <a:noAutofit/>
          </a:bodyPr>
          <a:lstStyle>
            <a:lvl1pPr>
              <a:spcBef>
                <a:spcPts val="0"/>
              </a:spcBef>
              <a:defRPr sz="2800"/>
            </a:lvl1pPr>
          </a:lstStyle>
          <a:p>
            <a:pPr lvl="0"/>
            <a:r>
              <a:rPr lang="en-US"/>
              <a:t>Put the body text or caption here</a:t>
            </a:r>
            <a:endParaRPr lang="en-GB"/>
          </a:p>
        </p:txBody>
      </p:sp>
      <p:sp>
        <p:nvSpPr>
          <p:cNvPr id="25" name="Text Placeholder 5">
            <a:extLst>
              <a:ext uri="{FF2B5EF4-FFF2-40B4-BE49-F238E27FC236}">
                <a16:creationId xmlns:a16="http://schemas.microsoft.com/office/drawing/2014/main" id="{154F45D7-B176-5742-A305-63E532076396}"/>
              </a:ext>
            </a:extLst>
          </p:cNvPr>
          <p:cNvSpPr>
            <a:spLocks noGrp="1"/>
          </p:cNvSpPr>
          <p:nvPr>
            <p:ph type="body" sz="quarter" idx="31" hasCustomPrompt="1"/>
          </p:nvPr>
        </p:nvSpPr>
        <p:spPr>
          <a:xfrm>
            <a:off x="16595349" y="9038944"/>
            <a:ext cx="6113952" cy="2859616"/>
          </a:xfrm>
        </p:spPr>
        <p:txBody>
          <a:bodyPr>
            <a:noAutofit/>
          </a:bodyPr>
          <a:lstStyle>
            <a:lvl1pPr>
              <a:spcBef>
                <a:spcPts val="0"/>
              </a:spcBef>
              <a:defRPr sz="2800"/>
            </a:lvl1pPr>
          </a:lstStyle>
          <a:p>
            <a:pPr lvl="0"/>
            <a:r>
              <a:rPr lang="en-US"/>
              <a:t>Put the body text or caption here</a:t>
            </a:r>
            <a:endParaRPr lang="en-GB"/>
          </a:p>
        </p:txBody>
      </p:sp>
    </p:spTree>
    <p:extLst>
      <p:ext uri="{BB962C8B-B14F-4D97-AF65-F5344CB8AC3E}">
        <p14:creationId xmlns:p14="http://schemas.microsoft.com/office/powerpoint/2010/main" val="383866432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Big statement on colour background, texture or image">
    <p:bg>
      <p:bgPr>
        <a:solidFill>
          <a:srgbClr val="FFC000"/>
        </a:solidFill>
        <a:effectLst/>
      </p:bgPr>
    </p:bg>
    <p:spTree>
      <p:nvGrpSpPr>
        <p:cNvPr id="1" name=""/>
        <p:cNvGrpSpPr/>
        <p:nvPr/>
      </p:nvGrpSpPr>
      <p:grpSpPr>
        <a:xfrm>
          <a:off x="0" y="0"/>
          <a:ext cx="0" cy="0"/>
          <a:chOff x="0" y="0"/>
          <a:chExt cx="0" cy="0"/>
        </a:xfrm>
      </p:grpSpPr>
      <p:sp>
        <p:nvSpPr>
          <p:cNvPr id="10" name="Title Placeholder 6">
            <a:extLst>
              <a:ext uri="{FF2B5EF4-FFF2-40B4-BE49-F238E27FC236}">
                <a16:creationId xmlns:a16="http://schemas.microsoft.com/office/drawing/2014/main" id="{048B0FEC-E6E9-1B42-9F79-233E0858B4AD}"/>
              </a:ext>
            </a:extLst>
          </p:cNvPr>
          <p:cNvSpPr>
            <a:spLocks noGrp="1"/>
          </p:cNvSpPr>
          <p:nvPr>
            <p:ph type="title" hasCustomPrompt="1"/>
          </p:nvPr>
        </p:nvSpPr>
        <p:spPr>
          <a:xfrm>
            <a:off x="1679467" y="1692503"/>
            <a:ext cx="21029831" cy="10330998"/>
          </a:xfrm>
          <a:prstGeom prst="rect">
            <a:avLst/>
          </a:prstGeom>
        </p:spPr>
        <p:txBody>
          <a:bodyPr vert="horz" lIns="91440" tIns="45720" rIns="91440" bIns="45720" rtlCol="0" anchor="ctr">
            <a:noAutofit/>
          </a:bodyPr>
          <a:lstStyle>
            <a:lvl1pPr>
              <a:defRPr sz="17999" baseline="0"/>
            </a:lvl1pPr>
          </a:lstStyle>
          <a:p>
            <a:r>
              <a:rPr lang="en-GB" noProof="0"/>
              <a:t>Statement here,</a:t>
            </a:r>
            <a:br>
              <a:rPr lang="en-GB" noProof="0"/>
            </a:br>
            <a:r>
              <a:rPr lang="en-GB" noProof="0"/>
              <a:t>keep it bold 90 </a:t>
            </a:r>
            <a:r>
              <a:rPr lang="en-GB" noProof="0" err="1"/>
              <a:t>pt</a:t>
            </a:r>
            <a:endParaRPr lang="en-GB" noProof="0"/>
          </a:p>
        </p:txBody>
      </p:sp>
    </p:spTree>
    <p:extLst>
      <p:ext uri="{BB962C8B-B14F-4D97-AF65-F5344CB8AC3E}">
        <p14:creationId xmlns:p14="http://schemas.microsoft.com/office/powerpoint/2010/main" val="3122609321"/>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Images with caption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124A353B-E374-7740-BADE-D936639B642B}"/>
              </a:ext>
            </a:extLst>
          </p:cNvPr>
          <p:cNvSpPr>
            <a:spLocks noGrp="1"/>
          </p:cNvSpPr>
          <p:nvPr>
            <p:ph type="body" sz="half" idx="2" hasCustomPrompt="1"/>
          </p:nvPr>
        </p:nvSpPr>
        <p:spPr>
          <a:xfrm>
            <a:off x="8058557" y="1673229"/>
            <a:ext cx="3700633" cy="4032250"/>
          </a:xfrm>
        </p:spPr>
        <p:txBody>
          <a:bodyPr>
            <a:noAutofit/>
          </a:bodyPr>
          <a:lstStyle>
            <a:lvl1pPr marL="0" indent="0">
              <a:lnSpc>
                <a:spcPct val="100000"/>
              </a:lnSpc>
              <a:buNone/>
              <a:defRPr sz="28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US"/>
              <a:t>Put the body text or caption here</a:t>
            </a:r>
            <a:endParaRPr lang="en-GB"/>
          </a:p>
        </p:txBody>
      </p:sp>
      <p:sp>
        <p:nvSpPr>
          <p:cNvPr id="3" name="Picture Placeholder 2">
            <a:extLst>
              <a:ext uri="{FF2B5EF4-FFF2-40B4-BE49-F238E27FC236}">
                <a16:creationId xmlns:a16="http://schemas.microsoft.com/office/drawing/2014/main" id="{DEE2AB82-CBD5-1145-9E32-3577A8B871DC}"/>
              </a:ext>
            </a:extLst>
          </p:cNvPr>
          <p:cNvSpPr>
            <a:spLocks noGrp="1"/>
          </p:cNvSpPr>
          <p:nvPr>
            <p:ph type="pic" sz="quarter" idx="19" hasCustomPrompt="1"/>
          </p:nvPr>
        </p:nvSpPr>
        <p:spPr>
          <a:xfrm>
            <a:off x="1679470" y="1673229"/>
            <a:ext cx="6047980" cy="403225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14" name="Text Placeholder 3">
            <a:extLst>
              <a:ext uri="{FF2B5EF4-FFF2-40B4-BE49-F238E27FC236}">
                <a16:creationId xmlns:a16="http://schemas.microsoft.com/office/drawing/2014/main" id="{0EC9DAF8-6896-F945-BC62-1FA59028EACA}"/>
              </a:ext>
            </a:extLst>
          </p:cNvPr>
          <p:cNvSpPr>
            <a:spLocks noGrp="1"/>
          </p:cNvSpPr>
          <p:nvPr>
            <p:ph type="body" sz="half" idx="20" hasCustomPrompt="1"/>
          </p:nvPr>
        </p:nvSpPr>
        <p:spPr>
          <a:xfrm>
            <a:off x="18984925" y="1673229"/>
            <a:ext cx="3700633" cy="4032250"/>
          </a:xfrm>
        </p:spPr>
        <p:txBody>
          <a:bodyPr>
            <a:noAutofit/>
          </a:bodyPr>
          <a:lstStyle>
            <a:lvl1pPr marL="0" indent="0">
              <a:lnSpc>
                <a:spcPct val="100000"/>
              </a:lnSpc>
              <a:buNone/>
              <a:defRPr sz="28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US"/>
              <a:t>Put the body text or caption here</a:t>
            </a:r>
            <a:endParaRPr lang="en-GB"/>
          </a:p>
        </p:txBody>
      </p:sp>
      <p:sp>
        <p:nvSpPr>
          <p:cNvPr id="15" name="Picture Placeholder 2">
            <a:extLst>
              <a:ext uri="{FF2B5EF4-FFF2-40B4-BE49-F238E27FC236}">
                <a16:creationId xmlns:a16="http://schemas.microsoft.com/office/drawing/2014/main" id="{DFDA796F-563B-BF4B-9884-8B1A4AA2E248}"/>
              </a:ext>
            </a:extLst>
          </p:cNvPr>
          <p:cNvSpPr>
            <a:spLocks noGrp="1"/>
          </p:cNvSpPr>
          <p:nvPr>
            <p:ph type="pic" sz="quarter" idx="21" hasCustomPrompt="1"/>
          </p:nvPr>
        </p:nvSpPr>
        <p:spPr>
          <a:xfrm>
            <a:off x="12605839" y="1673229"/>
            <a:ext cx="6047980" cy="403225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16" name="Text Placeholder 3">
            <a:extLst>
              <a:ext uri="{FF2B5EF4-FFF2-40B4-BE49-F238E27FC236}">
                <a16:creationId xmlns:a16="http://schemas.microsoft.com/office/drawing/2014/main" id="{B2CDF5E0-6262-EF4B-90E2-B7C89A2D4134}"/>
              </a:ext>
            </a:extLst>
          </p:cNvPr>
          <p:cNvSpPr>
            <a:spLocks noGrp="1"/>
          </p:cNvSpPr>
          <p:nvPr>
            <p:ph type="body" sz="half" idx="22" hasCustomPrompt="1"/>
          </p:nvPr>
        </p:nvSpPr>
        <p:spPr>
          <a:xfrm>
            <a:off x="8058557" y="6862449"/>
            <a:ext cx="3700633" cy="4032250"/>
          </a:xfrm>
        </p:spPr>
        <p:txBody>
          <a:bodyPr>
            <a:noAutofit/>
          </a:bodyPr>
          <a:lstStyle>
            <a:lvl1pPr marL="0" indent="0">
              <a:lnSpc>
                <a:spcPct val="100000"/>
              </a:lnSpc>
              <a:buNone/>
              <a:defRPr sz="28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US"/>
              <a:t>Put the body text or caption here</a:t>
            </a:r>
            <a:endParaRPr lang="en-GB"/>
          </a:p>
        </p:txBody>
      </p:sp>
      <p:sp>
        <p:nvSpPr>
          <p:cNvPr id="17" name="Picture Placeholder 2">
            <a:extLst>
              <a:ext uri="{FF2B5EF4-FFF2-40B4-BE49-F238E27FC236}">
                <a16:creationId xmlns:a16="http://schemas.microsoft.com/office/drawing/2014/main" id="{7B0F94D7-E140-844D-9E21-505B0B19C200}"/>
              </a:ext>
            </a:extLst>
          </p:cNvPr>
          <p:cNvSpPr>
            <a:spLocks noGrp="1"/>
          </p:cNvSpPr>
          <p:nvPr>
            <p:ph type="pic" sz="quarter" idx="23" hasCustomPrompt="1"/>
          </p:nvPr>
        </p:nvSpPr>
        <p:spPr>
          <a:xfrm>
            <a:off x="1679470" y="6862449"/>
            <a:ext cx="6047980" cy="403225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24" name="Text Placeholder 3">
            <a:extLst>
              <a:ext uri="{FF2B5EF4-FFF2-40B4-BE49-F238E27FC236}">
                <a16:creationId xmlns:a16="http://schemas.microsoft.com/office/drawing/2014/main" id="{7CD72929-2819-6941-BC3F-7845DE153E75}"/>
              </a:ext>
            </a:extLst>
          </p:cNvPr>
          <p:cNvSpPr>
            <a:spLocks noGrp="1"/>
          </p:cNvSpPr>
          <p:nvPr>
            <p:ph type="body" sz="half" idx="24" hasCustomPrompt="1"/>
          </p:nvPr>
        </p:nvSpPr>
        <p:spPr>
          <a:xfrm>
            <a:off x="18984925" y="6862449"/>
            <a:ext cx="3700633" cy="4032250"/>
          </a:xfrm>
        </p:spPr>
        <p:txBody>
          <a:bodyPr>
            <a:noAutofit/>
          </a:bodyPr>
          <a:lstStyle>
            <a:lvl1pPr marL="0" indent="0">
              <a:lnSpc>
                <a:spcPct val="100000"/>
              </a:lnSpc>
              <a:buNone/>
              <a:defRPr sz="2800"/>
            </a:lvl1pPr>
            <a:lvl2pPr marL="914332" indent="0">
              <a:buNone/>
              <a:defRPr sz="2800"/>
            </a:lvl2pPr>
            <a:lvl3pPr marL="1828663" indent="0">
              <a:buNone/>
              <a:defRPr sz="2400"/>
            </a:lvl3pPr>
            <a:lvl4pPr marL="2742995" indent="0">
              <a:buNone/>
              <a:defRPr sz="2000"/>
            </a:lvl4pPr>
            <a:lvl5pPr marL="3657325" indent="0">
              <a:buNone/>
              <a:defRPr sz="2000"/>
            </a:lvl5pPr>
            <a:lvl6pPr marL="4571657" indent="0">
              <a:buNone/>
              <a:defRPr sz="2000"/>
            </a:lvl6pPr>
            <a:lvl7pPr marL="5485988" indent="0">
              <a:buNone/>
              <a:defRPr sz="2000"/>
            </a:lvl7pPr>
            <a:lvl8pPr marL="6400320" indent="0">
              <a:buNone/>
              <a:defRPr sz="2000"/>
            </a:lvl8pPr>
            <a:lvl9pPr marL="7314652" indent="0">
              <a:buNone/>
              <a:defRPr sz="2000"/>
            </a:lvl9pPr>
          </a:lstStyle>
          <a:p>
            <a:pPr lvl="0"/>
            <a:r>
              <a:rPr lang="en-US"/>
              <a:t>Put the body text or caption here</a:t>
            </a:r>
            <a:endParaRPr lang="en-GB"/>
          </a:p>
        </p:txBody>
      </p:sp>
      <p:sp>
        <p:nvSpPr>
          <p:cNvPr id="25" name="Picture Placeholder 2">
            <a:extLst>
              <a:ext uri="{FF2B5EF4-FFF2-40B4-BE49-F238E27FC236}">
                <a16:creationId xmlns:a16="http://schemas.microsoft.com/office/drawing/2014/main" id="{F2547076-AD08-1049-989A-EEE9D2FA7CED}"/>
              </a:ext>
            </a:extLst>
          </p:cNvPr>
          <p:cNvSpPr>
            <a:spLocks noGrp="1"/>
          </p:cNvSpPr>
          <p:nvPr>
            <p:ph type="pic" sz="quarter" idx="25" hasCustomPrompt="1"/>
          </p:nvPr>
        </p:nvSpPr>
        <p:spPr>
          <a:xfrm>
            <a:off x="12605839" y="6862449"/>
            <a:ext cx="6047980" cy="403225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12" name="TextBox 11">
            <a:extLst>
              <a:ext uri="{FF2B5EF4-FFF2-40B4-BE49-F238E27FC236}">
                <a16:creationId xmlns:a16="http://schemas.microsoft.com/office/drawing/2014/main" id="{172B6A34-EDFC-704F-BA80-B84E94810199}"/>
              </a:ext>
            </a:extLst>
          </p:cNvPr>
          <p:cNvSpPr txBox="1"/>
          <p:nvPr userDrawn="1"/>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smtClean="0">
                <a:latin typeface="Noto IKEA Latin" panose="020B0502040504020204" pitchFamily="34" charset="0"/>
              </a:rPr>
              <a:pPr algn="r"/>
              <a:t>‹#›</a:t>
            </a:fld>
            <a:endParaRPr lang="en-GB" sz="2000">
              <a:latin typeface="Noto IKEA Latin" panose="020B0502040504020204" pitchFamily="34" charset="0"/>
            </a:endParaRPr>
          </a:p>
        </p:txBody>
      </p:sp>
    </p:spTree>
    <p:extLst>
      <p:ext uri="{BB962C8B-B14F-4D97-AF65-F5344CB8AC3E}">
        <p14:creationId xmlns:p14="http://schemas.microsoft.com/office/powerpoint/2010/main" val="2521053655"/>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Images without caption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A77A03C-07B1-E74B-85E7-036A776F1A9B}"/>
              </a:ext>
            </a:extLst>
          </p:cNvPr>
          <p:cNvSpPr>
            <a:spLocks noGrp="1"/>
          </p:cNvSpPr>
          <p:nvPr>
            <p:ph type="pic" sz="quarter" idx="14" hasCustomPrompt="1"/>
          </p:nvPr>
        </p:nvSpPr>
        <p:spPr>
          <a:xfrm>
            <a:off x="1696387" y="3374393"/>
            <a:ext cx="6622619" cy="403225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20" name="Picture Placeholder 2">
            <a:extLst>
              <a:ext uri="{FF2B5EF4-FFF2-40B4-BE49-F238E27FC236}">
                <a16:creationId xmlns:a16="http://schemas.microsoft.com/office/drawing/2014/main" id="{A688ED8B-A803-244B-9E8D-4403139D9F5F}"/>
              </a:ext>
            </a:extLst>
          </p:cNvPr>
          <p:cNvSpPr>
            <a:spLocks noGrp="1"/>
          </p:cNvSpPr>
          <p:nvPr>
            <p:ph type="pic" sz="quarter" idx="15" hasCustomPrompt="1"/>
          </p:nvPr>
        </p:nvSpPr>
        <p:spPr>
          <a:xfrm>
            <a:off x="8850829" y="3374393"/>
            <a:ext cx="6622619" cy="403225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21" name="Picture Placeholder 2">
            <a:extLst>
              <a:ext uri="{FF2B5EF4-FFF2-40B4-BE49-F238E27FC236}">
                <a16:creationId xmlns:a16="http://schemas.microsoft.com/office/drawing/2014/main" id="{54515BAC-3137-8142-834B-BE5E2C8D89DE}"/>
              </a:ext>
            </a:extLst>
          </p:cNvPr>
          <p:cNvSpPr>
            <a:spLocks noGrp="1"/>
          </p:cNvSpPr>
          <p:nvPr>
            <p:ph type="pic" sz="quarter" idx="16" hasCustomPrompt="1"/>
          </p:nvPr>
        </p:nvSpPr>
        <p:spPr>
          <a:xfrm>
            <a:off x="16051260" y="3374393"/>
            <a:ext cx="6622619" cy="403225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22" name="Picture Placeholder 2">
            <a:extLst>
              <a:ext uri="{FF2B5EF4-FFF2-40B4-BE49-F238E27FC236}">
                <a16:creationId xmlns:a16="http://schemas.microsoft.com/office/drawing/2014/main" id="{D9E4BD15-2BD8-5C48-93A2-659291D3A806}"/>
              </a:ext>
            </a:extLst>
          </p:cNvPr>
          <p:cNvSpPr>
            <a:spLocks noGrp="1"/>
          </p:cNvSpPr>
          <p:nvPr>
            <p:ph type="pic" sz="quarter" idx="17" hasCustomPrompt="1"/>
          </p:nvPr>
        </p:nvSpPr>
        <p:spPr>
          <a:xfrm>
            <a:off x="1696387" y="8010529"/>
            <a:ext cx="6622619" cy="403225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23" name="Picture Placeholder 2">
            <a:extLst>
              <a:ext uri="{FF2B5EF4-FFF2-40B4-BE49-F238E27FC236}">
                <a16:creationId xmlns:a16="http://schemas.microsoft.com/office/drawing/2014/main" id="{8743207E-00CB-EF4B-B623-25859AF44871}"/>
              </a:ext>
            </a:extLst>
          </p:cNvPr>
          <p:cNvSpPr>
            <a:spLocks noGrp="1"/>
          </p:cNvSpPr>
          <p:nvPr>
            <p:ph type="pic" sz="quarter" idx="18" hasCustomPrompt="1"/>
          </p:nvPr>
        </p:nvSpPr>
        <p:spPr>
          <a:xfrm>
            <a:off x="8850829" y="8010529"/>
            <a:ext cx="6622619" cy="403225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25" name="Picture Placeholder 2">
            <a:extLst>
              <a:ext uri="{FF2B5EF4-FFF2-40B4-BE49-F238E27FC236}">
                <a16:creationId xmlns:a16="http://schemas.microsoft.com/office/drawing/2014/main" id="{A2DCD539-83F0-274F-9BA6-621C529F0F17}"/>
              </a:ext>
            </a:extLst>
          </p:cNvPr>
          <p:cNvSpPr>
            <a:spLocks noGrp="1"/>
          </p:cNvSpPr>
          <p:nvPr>
            <p:ph type="pic" sz="quarter" idx="19" hasCustomPrompt="1"/>
          </p:nvPr>
        </p:nvSpPr>
        <p:spPr>
          <a:xfrm>
            <a:off x="16080330" y="8010529"/>
            <a:ext cx="6622619" cy="4032250"/>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26" name="Subtitle 2">
            <a:extLst>
              <a:ext uri="{FF2B5EF4-FFF2-40B4-BE49-F238E27FC236}">
                <a16:creationId xmlns:a16="http://schemas.microsoft.com/office/drawing/2014/main" id="{1C8F6E2C-59FC-6044-A67F-457F308BA7E0}"/>
              </a:ext>
            </a:extLst>
          </p:cNvPr>
          <p:cNvSpPr>
            <a:spLocks noGrp="1"/>
          </p:cNvSpPr>
          <p:nvPr>
            <p:ph type="subTitle" idx="1" hasCustomPrompt="1"/>
          </p:nvPr>
        </p:nvSpPr>
        <p:spPr>
          <a:xfrm>
            <a:off x="1677492" y="1677600"/>
            <a:ext cx="21035629" cy="1161416"/>
          </a:xfrm>
        </p:spPr>
        <p:txBody>
          <a:bodyPr>
            <a:noAutofit/>
          </a:bodyPr>
          <a:lstStyle>
            <a:lvl1pPr marL="0" indent="0" algn="l">
              <a:lnSpc>
                <a:spcPct val="100000"/>
              </a:lnSpc>
              <a:buNone/>
              <a:defRPr sz="7200" b="1" spc="-200" baseline="0">
                <a:latin typeface="Noto IKEA Latin" panose="020B050204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a:t>Put the slide headline here</a:t>
            </a:r>
          </a:p>
        </p:txBody>
      </p:sp>
      <p:sp>
        <p:nvSpPr>
          <p:cNvPr id="11" name="TextBox 10">
            <a:extLst>
              <a:ext uri="{FF2B5EF4-FFF2-40B4-BE49-F238E27FC236}">
                <a16:creationId xmlns:a16="http://schemas.microsoft.com/office/drawing/2014/main" id="{9ED0FC94-3A69-804E-8CCA-5F2BABD746C9}"/>
              </a:ext>
            </a:extLst>
          </p:cNvPr>
          <p:cNvSpPr txBox="1"/>
          <p:nvPr userDrawn="1"/>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smtClean="0">
                <a:latin typeface="Noto IKEA Latin" panose="020B0502040504020204" pitchFamily="34" charset="0"/>
              </a:rPr>
              <a:pPr algn="r"/>
              <a:t>‹#›</a:t>
            </a:fld>
            <a:endParaRPr lang="en-GB" sz="2000">
              <a:latin typeface="Noto IKEA Latin" panose="020B0502040504020204" pitchFamily="34" charset="0"/>
            </a:endParaRPr>
          </a:p>
        </p:txBody>
      </p:sp>
    </p:spTree>
    <p:extLst>
      <p:ext uri="{BB962C8B-B14F-4D97-AF65-F5344CB8AC3E}">
        <p14:creationId xmlns:p14="http://schemas.microsoft.com/office/powerpoint/2010/main" val="1578725959"/>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From–to char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982E2EA-1137-0846-98DC-3E6332C29A67}"/>
              </a:ext>
            </a:extLst>
          </p:cNvPr>
          <p:cNvSpPr>
            <a:spLocks noGrp="1"/>
          </p:cNvSpPr>
          <p:nvPr>
            <p:ph type="body" sz="quarter" idx="10" hasCustomPrompt="1"/>
          </p:nvPr>
        </p:nvSpPr>
        <p:spPr>
          <a:xfrm>
            <a:off x="2686772" y="5700714"/>
            <a:ext cx="7775068" cy="1157288"/>
          </a:xfrm>
          <a:solidFill>
            <a:srgbClr val="E4E5E3"/>
          </a:solidFill>
        </p:spPr>
        <p:txBody>
          <a:bodyPr lIns="180000" tIns="180000" rIns="180000" bIns="46800">
            <a:noAutofit/>
          </a:bodyPr>
          <a:lstStyle>
            <a:lvl1pPr marL="0" indent="0">
              <a:buNone/>
              <a:defRPr sz="3600"/>
            </a:lvl1pPr>
          </a:lstStyle>
          <a:p>
            <a:pPr lvl="0"/>
            <a:r>
              <a:rPr lang="en-US"/>
              <a:t>Put the text here</a:t>
            </a:r>
          </a:p>
        </p:txBody>
      </p:sp>
      <p:sp>
        <p:nvSpPr>
          <p:cNvPr id="15" name="Text Placeholder 5">
            <a:extLst>
              <a:ext uri="{FF2B5EF4-FFF2-40B4-BE49-F238E27FC236}">
                <a16:creationId xmlns:a16="http://schemas.microsoft.com/office/drawing/2014/main" id="{BB2544E0-599A-0E4D-B7C9-0338205DD470}"/>
              </a:ext>
            </a:extLst>
          </p:cNvPr>
          <p:cNvSpPr>
            <a:spLocks noGrp="1"/>
          </p:cNvSpPr>
          <p:nvPr>
            <p:ph type="body" sz="quarter" idx="20" hasCustomPrompt="1"/>
          </p:nvPr>
        </p:nvSpPr>
        <p:spPr>
          <a:xfrm>
            <a:off x="13902138" y="5700714"/>
            <a:ext cx="7775068" cy="1157288"/>
          </a:xfrm>
          <a:solidFill>
            <a:srgbClr val="E4E5E3"/>
          </a:solidFill>
        </p:spPr>
        <p:txBody>
          <a:bodyPr lIns="180000" tIns="180000" rIns="180000" bIns="46800">
            <a:noAutofit/>
          </a:bodyPr>
          <a:lstStyle>
            <a:lvl1pPr marL="0" indent="0">
              <a:buNone/>
              <a:defRPr sz="3600"/>
            </a:lvl1pPr>
          </a:lstStyle>
          <a:p>
            <a:pPr lvl="0"/>
            <a:r>
              <a:rPr lang="en-US"/>
              <a:t>Put the text here</a:t>
            </a:r>
          </a:p>
        </p:txBody>
      </p:sp>
      <p:sp>
        <p:nvSpPr>
          <p:cNvPr id="16" name="Text Placeholder 5">
            <a:extLst>
              <a:ext uri="{FF2B5EF4-FFF2-40B4-BE49-F238E27FC236}">
                <a16:creationId xmlns:a16="http://schemas.microsoft.com/office/drawing/2014/main" id="{7CD185CC-288C-914E-B039-9E34B6521AAE}"/>
              </a:ext>
            </a:extLst>
          </p:cNvPr>
          <p:cNvSpPr>
            <a:spLocks noGrp="1"/>
          </p:cNvSpPr>
          <p:nvPr>
            <p:ph type="body" sz="quarter" idx="21" hasCustomPrompt="1"/>
          </p:nvPr>
        </p:nvSpPr>
        <p:spPr>
          <a:xfrm>
            <a:off x="2686772" y="7437364"/>
            <a:ext cx="7775068" cy="1157288"/>
          </a:xfrm>
          <a:solidFill>
            <a:srgbClr val="E4E5E3"/>
          </a:solidFill>
        </p:spPr>
        <p:txBody>
          <a:bodyPr lIns="180000" tIns="180000" rIns="180000" bIns="46800">
            <a:noAutofit/>
          </a:bodyPr>
          <a:lstStyle>
            <a:lvl1pPr marL="0" indent="0">
              <a:buNone/>
              <a:defRPr sz="3600"/>
            </a:lvl1pPr>
          </a:lstStyle>
          <a:p>
            <a:pPr lvl="0"/>
            <a:r>
              <a:rPr lang="en-US"/>
              <a:t>Put the text here</a:t>
            </a:r>
          </a:p>
        </p:txBody>
      </p:sp>
      <p:sp>
        <p:nvSpPr>
          <p:cNvPr id="17" name="Text Placeholder 5">
            <a:extLst>
              <a:ext uri="{FF2B5EF4-FFF2-40B4-BE49-F238E27FC236}">
                <a16:creationId xmlns:a16="http://schemas.microsoft.com/office/drawing/2014/main" id="{734DFA83-0489-374D-984E-D148AF15FB19}"/>
              </a:ext>
            </a:extLst>
          </p:cNvPr>
          <p:cNvSpPr>
            <a:spLocks noGrp="1"/>
          </p:cNvSpPr>
          <p:nvPr>
            <p:ph type="body" sz="quarter" idx="22" hasCustomPrompt="1"/>
          </p:nvPr>
        </p:nvSpPr>
        <p:spPr>
          <a:xfrm>
            <a:off x="13902138" y="7437364"/>
            <a:ext cx="7775068" cy="1157288"/>
          </a:xfrm>
          <a:solidFill>
            <a:srgbClr val="E4E5E3"/>
          </a:solidFill>
        </p:spPr>
        <p:txBody>
          <a:bodyPr lIns="180000" tIns="180000" rIns="180000" bIns="46800">
            <a:noAutofit/>
          </a:bodyPr>
          <a:lstStyle>
            <a:lvl1pPr marL="0" indent="0">
              <a:buNone/>
              <a:defRPr sz="3600"/>
            </a:lvl1pPr>
          </a:lstStyle>
          <a:p>
            <a:pPr lvl="0"/>
            <a:r>
              <a:rPr lang="en-US"/>
              <a:t>Put the text here</a:t>
            </a:r>
          </a:p>
        </p:txBody>
      </p:sp>
      <p:sp>
        <p:nvSpPr>
          <p:cNvPr id="18" name="Text Placeholder 5">
            <a:extLst>
              <a:ext uri="{FF2B5EF4-FFF2-40B4-BE49-F238E27FC236}">
                <a16:creationId xmlns:a16="http://schemas.microsoft.com/office/drawing/2014/main" id="{40A584AF-EFDF-6C45-8450-E6896AA5447E}"/>
              </a:ext>
            </a:extLst>
          </p:cNvPr>
          <p:cNvSpPr>
            <a:spLocks noGrp="1"/>
          </p:cNvSpPr>
          <p:nvPr>
            <p:ph type="body" sz="quarter" idx="23" hasCustomPrompt="1"/>
          </p:nvPr>
        </p:nvSpPr>
        <p:spPr>
          <a:xfrm>
            <a:off x="2686772" y="9174014"/>
            <a:ext cx="7775068" cy="1157288"/>
          </a:xfrm>
          <a:solidFill>
            <a:srgbClr val="E4E5E3"/>
          </a:solidFill>
        </p:spPr>
        <p:txBody>
          <a:bodyPr lIns="180000" tIns="180000" rIns="180000" bIns="46800">
            <a:noAutofit/>
          </a:bodyPr>
          <a:lstStyle>
            <a:lvl1pPr marL="0" indent="0">
              <a:buNone/>
              <a:defRPr sz="3600"/>
            </a:lvl1pPr>
          </a:lstStyle>
          <a:p>
            <a:pPr lvl="0"/>
            <a:r>
              <a:rPr lang="en-US"/>
              <a:t>Put the text here</a:t>
            </a:r>
          </a:p>
        </p:txBody>
      </p:sp>
      <p:sp>
        <p:nvSpPr>
          <p:cNvPr id="19" name="Text Placeholder 5">
            <a:extLst>
              <a:ext uri="{FF2B5EF4-FFF2-40B4-BE49-F238E27FC236}">
                <a16:creationId xmlns:a16="http://schemas.microsoft.com/office/drawing/2014/main" id="{B8ADD201-5C22-9240-930B-C39DCFAEA838}"/>
              </a:ext>
            </a:extLst>
          </p:cNvPr>
          <p:cNvSpPr>
            <a:spLocks noGrp="1"/>
          </p:cNvSpPr>
          <p:nvPr>
            <p:ph type="body" sz="quarter" idx="24" hasCustomPrompt="1"/>
          </p:nvPr>
        </p:nvSpPr>
        <p:spPr>
          <a:xfrm>
            <a:off x="13902138" y="9174014"/>
            <a:ext cx="7775068" cy="1157288"/>
          </a:xfrm>
          <a:solidFill>
            <a:srgbClr val="E4E5E3"/>
          </a:solidFill>
        </p:spPr>
        <p:txBody>
          <a:bodyPr lIns="180000" tIns="180000" rIns="180000" bIns="46800">
            <a:noAutofit/>
          </a:bodyPr>
          <a:lstStyle>
            <a:lvl1pPr marL="0" indent="0">
              <a:buNone/>
              <a:defRPr sz="3600"/>
            </a:lvl1pPr>
          </a:lstStyle>
          <a:p>
            <a:pPr lvl="0"/>
            <a:r>
              <a:rPr lang="en-US"/>
              <a:t>Put the text here</a:t>
            </a:r>
          </a:p>
        </p:txBody>
      </p:sp>
      <p:sp>
        <p:nvSpPr>
          <p:cNvPr id="20" name="Text Placeholder 5">
            <a:extLst>
              <a:ext uri="{FF2B5EF4-FFF2-40B4-BE49-F238E27FC236}">
                <a16:creationId xmlns:a16="http://schemas.microsoft.com/office/drawing/2014/main" id="{21AA854F-49C8-0740-875D-2A28B04B66F6}"/>
              </a:ext>
            </a:extLst>
          </p:cNvPr>
          <p:cNvSpPr>
            <a:spLocks noGrp="1"/>
          </p:cNvSpPr>
          <p:nvPr>
            <p:ph type="body" sz="quarter" idx="25" hasCustomPrompt="1"/>
          </p:nvPr>
        </p:nvSpPr>
        <p:spPr>
          <a:xfrm>
            <a:off x="2686772" y="10910666"/>
            <a:ext cx="7775068" cy="1157288"/>
          </a:xfrm>
          <a:solidFill>
            <a:srgbClr val="E4E5E3"/>
          </a:solidFill>
        </p:spPr>
        <p:txBody>
          <a:bodyPr lIns="180000" tIns="180000" rIns="180000" bIns="46800">
            <a:noAutofit/>
          </a:bodyPr>
          <a:lstStyle>
            <a:lvl1pPr marL="0" indent="0">
              <a:buNone/>
              <a:defRPr sz="3600"/>
            </a:lvl1pPr>
          </a:lstStyle>
          <a:p>
            <a:pPr lvl="0"/>
            <a:r>
              <a:rPr lang="en-US"/>
              <a:t>Put the text here</a:t>
            </a:r>
          </a:p>
        </p:txBody>
      </p:sp>
      <p:sp>
        <p:nvSpPr>
          <p:cNvPr id="21" name="Text Placeholder 5">
            <a:extLst>
              <a:ext uri="{FF2B5EF4-FFF2-40B4-BE49-F238E27FC236}">
                <a16:creationId xmlns:a16="http://schemas.microsoft.com/office/drawing/2014/main" id="{8FE94F80-1B2D-0E45-8D2E-B57A96EFF5BA}"/>
              </a:ext>
            </a:extLst>
          </p:cNvPr>
          <p:cNvSpPr>
            <a:spLocks noGrp="1"/>
          </p:cNvSpPr>
          <p:nvPr>
            <p:ph type="body" sz="quarter" idx="26" hasCustomPrompt="1"/>
          </p:nvPr>
        </p:nvSpPr>
        <p:spPr>
          <a:xfrm>
            <a:off x="13902138" y="10910666"/>
            <a:ext cx="7775068" cy="1157288"/>
          </a:xfrm>
          <a:solidFill>
            <a:srgbClr val="E4E5E3"/>
          </a:solidFill>
        </p:spPr>
        <p:txBody>
          <a:bodyPr lIns="180000" tIns="180000" rIns="180000" bIns="46800">
            <a:noAutofit/>
          </a:bodyPr>
          <a:lstStyle>
            <a:lvl1pPr marL="0" indent="0">
              <a:buNone/>
              <a:defRPr sz="3600"/>
            </a:lvl1pPr>
          </a:lstStyle>
          <a:p>
            <a:pPr lvl="0"/>
            <a:r>
              <a:rPr lang="en-US"/>
              <a:t>Put the text here</a:t>
            </a:r>
          </a:p>
        </p:txBody>
      </p:sp>
      <p:pic>
        <p:nvPicPr>
          <p:cNvPr id="13" name="Picture 12">
            <a:extLst>
              <a:ext uri="{FF2B5EF4-FFF2-40B4-BE49-F238E27FC236}">
                <a16:creationId xmlns:a16="http://schemas.microsoft.com/office/drawing/2014/main" id="{B8B9ABC5-46EF-5B4B-96D5-1DD4DD510302}"/>
              </a:ext>
            </a:extLst>
          </p:cNvPr>
          <p:cNvPicPr>
            <a:picLocks noChangeAspect="1"/>
          </p:cNvPicPr>
          <p:nvPr userDrawn="1"/>
        </p:nvPicPr>
        <p:blipFill>
          <a:blip r:embed="rId2"/>
          <a:stretch>
            <a:fillRect/>
          </a:stretch>
        </p:blipFill>
        <p:spPr>
          <a:xfrm>
            <a:off x="11411132" y="8298161"/>
            <a:ext cx="1541714" cy="1257798"/>
          </a:xfrm>
          <a:prstGeom prst="rect">
            <a:avLst/>
          </a:prstGeom>
        </p:spPr>
      </p:pic>
      <p:sp>
        <p:nvSpPr>
          <p:cNvPr id="14" name="TextBox 13">
            <a:extLst>
              <a:ext uri="{FF2B5EF4-FFF2-40B4-BE49-F238E27FC236}">
                <a16:creationId xmlns:a16="http://schemas.microsoft.com/office/drawing/2014/main" id="{4AF87BBA-2FDF-9F49-A01F-CB039DD4D5C2}"/>
              </a:ext>
            </a:extLst>
          </p:cNvPr>
          <p:cNvSpPr txBox="1"/>
          <p:nvPr userDrawn="1"/>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smtClean="0">
                <a:latin typeface="Noto IKEA Latin" panose="020B0502040504020204" pitchFamily="34" charset="0"/>
              </a:rPr>
              <a:pPr algn="r"/>
              <a:t>‹#›</a:t>
            </a:fld>
            <a:endParaRPr lang="en-GB" sz="2000">
              <a:latin typeface="Noto IKEA Latin" panose="020B0502040504020204" pitchFamily="34" charset="0"/>
            </a:endParaRPr>
          </a:p>
        </p:txBody>
      </p:sp>
      <p:sp>
        <p:nvSpPr>
          <p:cNvPr id="22" name="Title 1">
            <a:extLst>
              <a:ext uri="{FF2B5EF4-FFF2-40B4-BE49-F238E27FC236}">
                <a16:creationId xmlns:a16="http://schemas.microsoft.com/office/drawing/2014/main" id="{27C49505-1F72-114A-830A-001EEE0DECFF}"/>
              </a:ext>
            </a:extLst>
          </p:cNvPr>
          <p:cNvSpPr>
            <a:spLocks noGrp="1"/>
          </p:cNvSpPr>
          <p:nvPr>
            <p:ph type="title" hasCustomPrompt="1"/>
          </p:nvPr>
        </p:nvSpPr>
        <p:spPr>
          <a:xfrm>
            <a:off x="1676293" y="1677601"/>
            <a:ext cx="21033007" cy="3457574"/>
          </a:xfrm>
          <a:prstGeom prst="rect">
            <a:avLst/>
          </a:prstGeom>
        </p:spPr>
        <p:txBody>
          <a:bodyPr/>
          <a:lstStyle>
            <a:lvl1pPr>
              <a:lnSpc>
                <a:spcPct val="100000"/>
              </a:lnSpc>
              <a:defRPr sz="7200"/>
            </a:lvl1pPr>
          </a:lstStyle>
          <a:p>
            <a:r>
              <a:rPr lang="en-US"/>
              <a:t>Put the slide headline here, </a:t>
            </a:r>
            <a:br>
              <a:rPr lang="en-US"/>
            </a:br>
            <a:r>
              <a:rPr lang="en-US"/>
              <a:t>keep it bold 36 </a:t>
            </a:r>
            <a:r>
              <a:rPr lang="en-US" err="1"/>
              <a:t>pt</a:t>
            </a:r>
            <a:endParaRPr lang="en-US"/>
          </a:p>
        </p:txBody>
      </p:sp>
    </p:spTree>
    <p:extLst>
      <p:ext uri="{BB962C8B-B14F-4D97-AF65-F5344CB8AC3E}">
        <p14:creationId xmlns:p14="http://schemas.microsoft.com/office/powerpoint/2010/main" val="3594357657"/>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Blocks with caption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6F4D095-75F9-A649-B638-1297084AD7A4}"/>
              </a:ext>
            </a:extLst>
          </p:cNvPr>
          <p:cNvSpPr>
            <a:spLocks noGrp="1"/>
          </p:cNvSpPr>
          <p:nvPr>
            <p:ph type="pic" sz="quarter" idx="20" hasCustomPrompt="1"/>
          </p:nvPr>
        </p:nvSpPr>
        <p:spPr>
          <a:xfrm>
            <a:off x="1696391" y="5705479"/>
            <a:ext cx="3425835" cy="3426058"/>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1696391" y="9448901"/>
            <a:ext cx="3425835" cy="1441550"/>
          </a:xfrm>
        </p:spPr>
        <p:txBody>
          <a:bodyPr>
            <a:noAutofit/>
          </a:bodyPr>
          <a:lstStyle>
            <a:lvl1pPr marL="0" indent="0">
              <a:lnSpc>
                <a:spcPct val="100000"/>
              </a:lnSpc>
              <a:buNone/>
              <a:defRPr sz="2800"/>
            </a:lvl1pPr>
            <a:lvl2pPr>
              <a:defRPr sz="2800"/>
            </a:lvl2pPr>
            <a:lvl3pPr>
              <a:defRPr sz="2800"/>
            </a:lvl3pPr>
            <a:lvl4pPr>
              <a:defRPr sz="2800"/>
            </a:lvl4pPr>
            <a:lvl5pPr>
              <a:defRPr sz="2800"/>
            </a:lvl5pPr>
          </a:lstStyle>
          <a:p>
            <a:pPr lvl="0"/>
            <a:r>
              <a:rPr lang="en-US"/>
              <a:t>Put the body text or caption here</a:t>
            </a:r>
            <a:endParaRPr lang="en-GB"/>
          </a:p>
        </p:txBody>
      </p:sp>
      <p:sp>
        <p:nvSpPr>
          <p:cNvPr id="21" name="Picture Placeholder 7">
            <a:extLst>
              <a:ext uri="{FF2B5EF4-FFF2-40B4-BE49-F238E27FC236}">
                <a16:creationId xmlns:a16="http://schemas.microsoft.com/office/drawing/2014/main" id="{541447E4-2AA6-7F48-B55B-B62747E0ABD2}"/>
              </a:ext>
            </a:extLst>
          </p:cNvPr>
          <p:cNvSpPr>
            <a:spLocks noGrp="1"/>
          </p:cNvSpPr>
          <p:nvPr>
            <p:ph type="pic" sz="quarter" idx="22" hasCustomPrompt="1"/>
          </p:nvPr>
        </p:nvSpPr>
        <p:spPr>
          <a:xfrm>
            <a:off x="7416370" y="5705479"/>
            <a:ext cx="3425835" cy="3426058"/>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22" name="Text Placeholder 11">
            <a:extLst>
              <a:ext uri="{FF2B5EF4-FFF2-40B4-BE49-F238E27FC236}">
                <a16:creationId xmlns:a16="http://schemas.microsoft.com/office/drawing/2014/main" id="{2AD28FF4-13F4-2C40-9AF9-E173148BF12A}"/>
              </a:ext>
            </a:extLst>
          </p:cNvPr>
          <p:cNvSpPr>
            <a:spLocks noGrp="1"/>
          </p:cNvSpPr>
          <p:nvPr>
            <p:ph type="body" sz="quarter" idx="23" hasCustomPrompt="1"/>
          </p:nvPr>
        </p:nvSpPr>
        <p:spPr>
          <a:xfrm>
            <a:off x="7416370" y="9448901"/>
            <a:ext cx="3425835" cy="1441550"/>
          </a:xfrm>
        </p:spPr>
        <p:txBody>
          <a:bodyPr>
            <a:noAutofit/>
          </a:bodyPr>
          <a:lstStyle>
            <a:lvl1pPr marL="0" indent="0">
              <a:lnSpc>
                <a:spcPct val="100000"/>
              </a:lnSpc>
              <a:buNone/>
              <a:defRPr sz="2800"/>
            </a:lvl1pPr>
            <a:lvl2pPr>
              <a:defRPr sz="2800"/>
            </a:lvl2pPr>
            <a:lvl3pPr>
              <a:defRPr sz="2800"/>
            </a:lvl3pPr>
            <a:lvl4pPr>
              <a:defRPr sz="2800"/>
            </a:lvl4pPr>
            <a:lvl5pPr>
              <a:defRPr sz="2800"/>
            </a:lvl5pPr>
          </a:lstStyle>
          <a:p>
            <a:pPr lvl="0"/>
            <a:r>
              <a:rPr lang="en-US"/>
              <a:t>Put the body text or caption here</a:t>
            </a:r>
            <a:endParaRPr lang="en-GB"/>
          </a:p>
        </p:txBody>
      </p:sp>
      <p:sp>
        <p:nvSpPr>
          <p:cNvPr id="23" name="Picture Placeholder 7">
            <a:extLst>
              <a:ext uri="{FF2B5EF4-FFF2-40B4-BE49-F238E27FC236}">
                <a16:creationId xmlns:a16="http://schemas.microsoft.com/office/drawing/2014/main" id="{76549726-CD0C-C144-A1EB-76A281BC952E}"/>
              </a:ext>
            </a:extLst>
          </p:cNvPr>
          <p:cNvSpPr>
            <a:spLocks noGrp="1"/>
          </p:cNvSpPr>
          <p:nvPr>
            <p:ph type="pic" sz="quarter" idx="24" hasCustomPrompt="1"/>
          </p:nvPr>
        </p:nvSpPr>
        <p:spPr>
          <a:xfrm>
            <a:off x="13582781" y="5705479"/>
            <a:ext cx="3425835" cy="3426058"/>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24" name="Text Placeholder 11">
            <a:extLst>
              <a:ext uri="{FF2B5EF4-FFF2-40B4-BE49-F238E27FC236}">
                <a16:creationId xmlns:a16="http://schemas.microsoft.com/office/drawing/2014/main" id="{5B3AA100-6E6E-D34B-943C-1D75F59C39B5}"/>
              </a:ext>
            </a:extLst>
          </p:cNvPr>
          <p:cNvSpPr>
            <a:spLocks noGrp="1"/>
          </p:cNvSpPr>
          <p:nvPr>
            <p:ph type="body" sz="quarter" idx="25" hasCustomPrompt="1"/>
          </p:nvPr>
        </p:nvSpPr>
        <p:spPr>
          <a:xfrm>
            <a:off x="13582781" y="9448901"/>
            <a:ext cx="3425835" cy="1441550"/>
          </a:xfrm>
        </p:spPr>
        <p:txBody>
          <a:bodyPr>
            <a:noAutofit/>
          </a:bodyPr>
          <a:lstStyle>
            <a:lvl1pPr marL="0" indent="0">
              <a:lnSpc>
                <a:spcPct val="100000"/>
              </a:lnSpc>
              <a:buNone/>
              <a:defRPr sz="2800"/>
            </a:lvl1pPr>
            <a:lvl2pPr>
              <a:defRPr sz="2800"/>
            </a:lvl2pPr>
            <a:lvl3pPr>
              <a:defRPr sz="2800"/>
            </a:lvl3pPr>
            <a:lvl4pPr>
              <a:defRPr sz="2800"/>
            </a:lvl4pPr>
            <a:lvl5pPr>
              <a:defRPr sz="2800"/>
            </a:lvl5pPr>
          </a:lstStyle>
          <a:p>
            <a:pPr lvl="0"/>
            <a:r>
              <a:rPr lang="en-US"/>
              <a:t>Put the body text or caption here</a:t>
            </a:r>
            <a:endParaRPr lang="en-GB"/>
          </a:p>
        </p:txBody>
      </p:sp>
      <p:sp>
        <p:nvSpPr>
          <p:cNvPr id="25" name="Picture Placeholder 7">
            <a:extLst>
              <a:ext uri="{FF2B5EF4-FFF2-40B4-BE49-F238E27FC236}">
                <a16:creationId xmlns:a16="http://schemas.microsoft.com/office/drawing/2014/main" id="{DCB14019-6F34-AB4B-B98E-4393A31FE4D7}"/>
              </a:ext>
            </a:extLst>
          </p:cNvPr>
          <p:cNvSpPr>
            <a:spLocks noGrp="1"/>
          </p:cNvSpPr>
          <p:nvPr>
            <p:ph type="pic" sz="quarter" idx="26" hasCustomPrompt="1"/>
          </p:nvPr>
        </p:nvSpPr>
        <p:spPr>
          <a:xfrm>
            <a:off x="19302761" y="5705479"/>
            <a:ext cx="3425835" cy="3426058"/>
          </a:xfrm>
          <a:solidFill>
            <a:srgbClr val="E4E5E3"/>
          </a:solidFill>
        </p:spPr>
        <p:txBody>
          <a:bodyPr>
            <a:normAutofit/>
          </a:bodyPr>
          <a:lstStyle>
            <a:lvl1pPr marL="0" marR="0" indent="0" algn="l" defTabSz="182866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US"/>
              <a:t>Drag and drop or click the icon to add a picture</a:t>
            </a:r>
          </a:p>
        </p:txBody>
      </p:sp>
      <p:sp>
        <p:nvSpPr>
          <p:cNvPr id="26" name="Text Placeholder 11">
            <a:extLst>
              <a:ext uri="{FF2B5EF4-FFF2-40B4-BE49-F238E27FC236}">
                <a16:creationId xmlns:a16="http://schemas.microsoft.com/office/drawing/2014/main" id="{1C762A72-2425-1F42-B142-A5C927AEEBB1}"/>
              </a:ext>
            </a:extLst>
          </p:cNvPr>
          <p:cNvSpPr>
            <a:spLocks noGrp="1"/>
          </p:cNvSpPr>
          <p:nvPr>
            <p:ph type="body" sz="quarter" idx="27" hasCustomPrompt="1"/>
          </p:nvPr>
        </p:nvSpPr>
        <p:spPr>
          <a:xfrm>
            <a:off x="19302761" y="9448901"/>
            <a:ext cx="3425835" cy="1441550"/>
          </a:xfrm>
        </p:spPr>
        <p:txBody>
          <a:bodyPr>
            <a:noAutofit/>
          </a:bodyPr>
          <a:lstStyle>
            <a:lvl1pPr marL="0" indent="0">
              <a:lnSpc>
                <a:spcPct val="100000"/>
              </a:lnSpc>
              <a:buNone/>
              <a:defRPr sz="2800"/>
            </a:lvl1pPr>
            <a:lvl2pPr>
              <a:defRPr sz="2800"/>
            </a:lvl2pPr>
            <a:lvl3pPr>
              <a:defRPr sz="2800"/>
            </a:lvl3pPr>
            <a:lvl4pPr>
              <a:defRPr sz="2800"/>
            </a:lvl4pPr>
            <a:lvl5pPr>
              <a:defRPr sz="2800"/>
            </a:lvl5pPr>
          </a:lstStyle>
          <a:p>
            <a:pPr lvl="0"/>
            <a:r>
              <a:rPr lang="en-US"/>
              <a:t>Put the body text or caption here</a:t>
            </a:r>
            <a:endParaRPr lang="en-GB"/>
          </a:p>
        </p:txBody>
      </p:sp>
      <p:sp>
        <p:nvSpPr>
          <p:cNvPr id="14" name="TextBox 13">
            <a:extLst>
              <a:ext uri="{FF2B5EF4-FFF2-40B4-BE49-F238E27FC236}">
                <a16:creationId xmlns:a16="http://schemas.microsoft.com/office/drawing/2014/main" id="{768FDA2B-0D4F-C945-B695-BFD3DBB708D8}"/>
              </a:ext>
            </a:extLst>
          </p:cNvPr>
          <p:cNvSpPr txBox="1"/>
          <p:nvPr userDrawn="1"/>
        </p:nvSpPr>
        <p:spPr>
          <a:xfrm>
            <a:off x="22127664" y="12977374"/>
            <a:ext cx="1872086" cy="400110"/>
          </a:xfrm>
          <a:prstGeom prst="rect">
            <a:avLst/>
          </a:prstGeom>
          <a:noFill/>
        </p:spPr>
        <p:txBody>
          <a:bodyPr wrap="square" rtlCol="0" anchor="b">
            <a:spAutoFit/>
          </a:bodyPr>
          <a:lstStyle/>
          <a:p>
            <a:pPr algn="r"/>
            <a:fld id="{6CE035FB-656D-BE4C-9C54-3AFE6E724348}" type="slidenum">
              <a:rPr lang="en-GB" sz="2000" smtClean="0">
                <a:latin typeface="Noto IKEA Latin" panose="020B0502040504020204" pitchFamily="34" charset="0"/>
              </a:rPr>
              <a:pPr algn="r"/>
              <a:t>‹#›</a:t>
            </a:fld>
            <a:endParaRPr lang="en-GB" sz="2000">
              <a:latin typeface="Noto IKEA Latin" panose="020B0502040504020204" pitchFamily="34" charset="0"/>
            </a:endParaRPr>
          </a:p>
        </p:txBody>
      </p:sp>
      <p:sp>
        <p:nvSpPr>
          <p:cNvPr id="15" name="Title 1">
            <a:extLst>
              <a:ext uri="{FF2B5EF4-FFF2-40B4-BE49-F238E27FC236}">
                <a16:creationId xmlns:a16="http://schemas.microsoft.com/office/drawing/2014/main" id="{8CE2F602-6CDF-0545-8DB7-6A5B5F93FE33}"/>
              </a:ext>
            </a:extLst>
          </p:cNvPr>
          <p:cNvSpPr>
            <a:spLocks noGrp="1"/>
          </p:cNvSpPr>
          <p:nvPr>
            <p:ph type="title" hasCustomPrompt="1"/>
          </p:nvPr>
        </p:nvSpPr>
        <p:spPr>
          <a:xfrm>
            <a:off x="1676293" y="1677601"/>
            <a:ext cx="21033007" cy="3457574"/>
          </a:xfrm>
          <a:prstGeom prst="rect">
            <a:avLst/>
          </a:prstGeom>
        </p:spPr>
        <p:txBody>
          <a:bodyPr/>
          <a:lstStyle>
            <a:lvl1pPr>
              <a:lnSpc>
                <a:spcPct val="100000"/>
              </a:lnSpc>
              <a:defRPr sz="7200"/>
            </a:lvl1pPr>
          </a:lstStyle>
          <a:p>
            <a:r>
              <a:rPr lang="en-US"/>
              <a:t>Put the slide headline here, </a:t>
            </a:r>
            <a:br>
              <a:rPr lang="en-US"/>
            </a:br>
            <a:r>
              <a:rPr lang="en-US"/>
              <a:t>keep it bold 36 </a:t>
            </a:r>
            <a:r>
              <a:rPr lang="en-US" err="1"/>
              <a:t>pt</a:t>
            </a:r>
            <a:endParaRPr lang="en-US"/>
          </a:p>
        </p:txBody>
      </p:sp>
    </p:spTree>
    <p:extLst>
      <p:ext uri="{BB962C8B-B14F-4D97-AF65-F5344CB8AC3E}">
        <p14:creationId xmlns:p14="http://schemas.microsoft.com/office/powerpoint/2010/main" val="2636212179"/>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82290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FA5027-CFA9-BF4E-E59B-A70F8E8276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BF9F0D8-2EBF-C805-BD5E-C66AFF979DA9}"/>
              </a:ext>
            </a:extLst>
          </p:cNvPr>
          <p:cNvSpPr>
            <a:spLocks noGrp="1"/>
          </p:cNvSpPr>
          <p:nvPr>
            <p:ph type="dt" sz="half" idx="10"/>
          </p:nvPr>
        </p:nvSpPr>
        <p:spPr/>
        <p:txBody>
          <a:bodyPr/>
          <a:lstStyle/>
          <a:p>
            <a:fld id="{16B1D308-45D3-4DD2-886A-B1DADF412FF3}" type="datetimeFigureOut">
              <a:rPr lang="en-US" smtClean="0"/>
              <a:t>3/12/2025</a:t>
            </a:fld>
            <a:endParaRPr lang="en-US"/>
          </a:p>
        </p:txBody>
      </p:sp>
      <p:sp>
        <p:nvSpPr>
          <p:cNvPr id="4" name="Footer Placeholder 3">
            <a:extLst>
              <a:ext uri="{FF2B5EF4-FFF2-40B4-BE49-F238E27FC236}">
                <a16:creationId xmlns:a16="http://schemas.microsoft.com/office/drawing/2014/main" id="{FC883E28-1245-1D59-4E76-6B4D85B012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FC7C94E-4E7A-1462-12EE-D75370408334}"/>
              </a:ext>
            </a:extLst>
          </p:cNvPr>
          <p:cNvSpPr>
            <a:spLocks noGrp="1"/>
          </p:cNvSpPr>
          <p:nvPr>
            <p:ph type="sldNum" sz="quarter" idx="12"/>
          </p:nvPr>
        </p:nvSpPr>
        <p:spPr/>
        <p:txBody>
          <a:bodyPr/>
          <a:lstStyle/>
          <a:p>
            <a:fld id="{4C2958CE-1358-489E-8FF1-7D9EFA1ED8BB}" type="slidenum">
              <a:rPr lang="en-US" smtClean="0"/>
              <a:t>‹#›</a:t>
            </a:fld>
            <a:endParaRPr lang="en-US"/>
          </a:p>
        </p:txBody>
      </p:sp>
    </p:spTree>
    <p:extLst>
      <p:ext uri="{BB962C8B-B14F-4D97-AF65-F5344CB8AC3E}">
        <p14:creationId xmlns:p14="http://schemas.microsoft.com/office/powerpoint/2010/main" val="30167762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ullscreen image + title + text">
    <p:spTree>
      <p:nvGrpSpPr>
        <p:cNvPr id="1" name=""/>
        <p:cNvGrpSpPr/>
        <p:nvPr/>
      </p:nvGrpSpPr>
      <p:grpSpPr>
        <a:xfrm>
          <a:off x="0" y="0"/>
          <a:ext cx="0" cy="0"/>
          <a:chOff x="0" y="0"/>
          <a:chExt cx="0" cy="0"/>
        </a:xfrm>
      </p:grpSpPr>
      <p:sp>
        <p:nvSpPr>
          <p:cNvPr id="7" name="Picture Placeholder 4"/>
          <p:cNvSpPr>
            <a:spLocks noGrp="1"/>
          </p:cNvSpPr>
          <p:nvPr>
            <p:ph type="pic" sz="quarter" idx="10" hasCustomPrompt="1"/>
          </p:nvPr>
        </p:nvSpPr>
        <p:spPr>
          <a:xfrm>
            <a:off x="0" y="0"/>
            <a:ext cx="24382413" cy="13716000"/>
          </a:xfrm>
          <a:prstGeom prst="rect">
            <a:avLst/>
          </a:prstGeom>
        </p:spPr>
        <p:txBody>
          <a:bodyPr/>
          <a:lstStyle>
            <a:lvl1pPr marL="237048" indent="0" algn="l">
              <a:buNone/>
              <a:defRPr b="1" baseline="0">
                <a:solidFill>
                  <a:schemeClr val="bg1">
                    <a:lumMod val="95000"/>
                  </a:schemeClr>
                </a:solidFill>
              </a:defRPr>
            </a:lvl1pPr>
          </a:lstStyle>
          <a:p>
            <a:r>
              <a:rPr lang="en-GB"/>
              <a:t>Drop background picture here</a:t>
            </a:r>
          </a:p>
        </p:txBody>
      </p:sp>
      <p:sp>
        <p:nvSpPr>
          <p:cNvPr id="8" name="Text Placeholder 2"/>
          <p:cNvSpPr>
            <a:spLocks noGrp="1"/>
          </p:cNvSpPr>
          <p:nvPr>
            <p:ph type="body" sz="quarter" idx="13" hasCustomPrompt="1"/>
          </p:nvPr>
        </p:nvSpPr>
        <p:spPr>
          <a:xfrm>
            <a:off x="1980678" y="1998990"/>
            <a:ext cx="12214879" cy="2610285"/>
          </a:xfrm>
          <a:prstGeom prst="rect">
            <a:avLst/>
          </a:prstGeom>
          <a:noFill/>
          <a:effectLst>
            <a:outerShdw blurRad="101600" dir="2700000" algn="tl" rotWithShape="0">
              <a:prstClr val="black">
                <a:alpha val="50000"/>
              </a:prstClr>
            </a:outerShdw>
            <a:softEdge rad="0"/>
          </a:effectLst>
        </p:spPr>
        <p:txBody>
          <a:bodyPr wrap="square" lIns="180000" tIns="180000" rIns="180000" bIns="180000" anchor="t">
            <a:spAutoFit/>
          </a:bodyPr>
          <a:lstStyle>
            <a:lvl1pPr marL="177791" indent="0" algn="l">
              <a:spcAft>
                <a:spcPts val="1200"/>
              </a:spcAft>
              <a:buNone/>
              <a:tabLst/>
              <a:defRPr sz="9600" b="1" cap="none" spc="0">
                <a:solidFill>
                  <a:schemeClr val="bg1"/>
                </a:solidFill>
                <a:latin typeface="+mj-lt"/>
              </a:defRPr>
            </a:lvl1pPr>
            <a:lvl2pPr marL="177791" indent="0" algn="l">
              <a:spcBef>
                <a:spcPts val="0"/>
              </a:spcBef>
              <a:spcAft>
                <a:spcPts val="1200"/>
              </a:spcAft>
              <a:buFont typeface="Arial" panose="020B0604020202020204" pitchFamily="34" charset="0"/>
              <a:buNone/>
              <a:tabLst/>
              <a:defRPr sz="4000" b="1">
                <a:solidFill>
                  <a:schemeClr val="bg1"/>
                </a:solidFill>
                <a:latin typeface="+mj-lt"/>
              </a:defRPr>
            </a:lvl2pPr>
            <a:lvl3pPr marL="184141" indent="0" algn="ctr">
              <a:spcBef>
                <a:spcPts val="0"/>
              </a:spcBef>
              <a:spcAft>
                <a:spcPts val="1200"/>
              </a:spcAft>
              <a:buFont typeface="Arial" panose="020B0604020202020204" pitchFamily="34" charset="0"/>
              <a:buNone/>
              <a:tabLst>
                <a:tab pos="1672042" algn="l"/>
                <a:tab pos="1680508" algn="l"/>
              </a:tabLst>
              <a:defRPr sz="3200" b="1" i="1">
                <a:solidFill>
                  <a:schemeClr val="tx1">
                    <a:lumMod val="75000"/>
                    <a:lumOff val="25000"/>
                  </a:schemeClr>
                </a:solidFill>
              </a:defRPr>
            </a:lvl3pPr>
            <a:lvl4pPr marL="184141" indent="0" algn="ctr">
              <a:spcBef>
                <a:spcPts val="0"/>
              </a:spcBef>
              <a:spcAft>
                <a:spcPts val="1200"/>
              </a:spcAft>
              <a:buFont typeface="Arial" charset="0"/>
              <a:buNone/>
              <a:tabLst/>
              <a:defRPr sz="3200" b="1">
                <a:solidFill>
                  <a:schemeClr val="tx1">
                    <a:lumMod val="75000"/>
                    <a:lumOff val="25000"/>
                  </a:schemeClr>
                </a:solidFill>
              </a:defRPr>
            </a:lvl4pPr>
            <a:lvl5pPr marL="184141" indent="0" algn="ctr">
              <a:spcBef>
                <a:spcPts val="0"/>
              </a:spcBef>
              <a:spcAft>
                <a:spcPts val="1200"/>
              </a:spcAft>
              <a:buFont typeface="Arial" charset="0"/>
              <a:buNone/>
              <a:tabLst/>
              <a:defRPr sz="3200" b="1">
                <a:solidFill>
                  <a:schemeClr val="tx1">
                    <a:lumMod val="75000"/>
                    <a:lumOff val="25000"/>
                  </a:schemeClr>
                </a:solidFill>
              </a:defRPr>
            </a:lvl5pPr>
          </a:lstStyle>
          <a:p>
            <a:pPr lvl="0"/>
            <a:r>
              <a:rPr lang="en-GB" noProof="0"/>
              <a:t>Text</a:t>
            </a:r>
          </a:p>
          <a:p>
            <a:pPr lvl="1"/>
            <a:r>
              <a:rPr lang="en-GB" noProof="0"/>
              <a:t>More text</a:t>
            </a:r>
          </a:p>
        </p:txBody>
      </p:sp>
      <p:sp>
        <p:nvSpPr>
          <p:cNvPr id="4" name="Text Placeholder 2"/>
          <p:cNvSpPr>
            <a:spLocks noGrp="1"/>
          </p:cNvSpPr>
          <p:nvPr>
            <p:ph type="body" sz="quarter" idx="14" hasCustomPrompt="1"/>
          </p:nvPr>
        </p:nvSpPr>
        <p:spPr>
          <a:xfrm>
            <a:off x="14791989" y="1134930"/>
            <a:ext cx="7679500" cy="10081712"/>
          </a:xfrm>
          <a:prstGeom prst="rect">
            <a:avLst/>
          </a:prstGeom>
          <a:solidFill>
            <a:schemeClr val="bg1"/>
          </a:solidFill>
          <a:effectLst>
            <a:outerShdw blurRad="38100" dist="12700" dir="2700000" algn="tl" rotWithShape="0">
              <a:prstClr val="black">
                <a:alpha val="30000"/>
              </a:prstClr>
            </a:outerShdw>
          </a:effectLst>
        </p:spPr>
        <p:txBody>
          <a:bodyPr lIns="108000" tIns="180000" rIns="108000" bIns="108000">
            <a:noAutofit/>
          </a:bodyPr>
          <a:lstStyle>
            <a:lvl1pPr marL="237048" indent="0">
              <a:spcAft>
                <a:spcPts val="1200"/>
              </a:spcAft>
              <a:buNone/>
              <a:tabLst/>
              <a:defRPr sz="4800" b="1" cap="none" spc="0">
                <a:solidFill>
                  <a:schemeClr val="tx1">
                    <a:lumMod val="75000"/>
                    <a:lumOff val="25000"/>
                  </a:schemeClr>
                </a:solidFill>
                <a:latin typeface="+mj-lt"/>
              </a:defRPr>
            </a:lvl1pPr>
            <a:lvl2pPr marL="239982" indent="0">
              <a:spcBef>
                <a:spcPts val="0"/>
              </a:spcBef>
              <a:spcAft>
                <a:spcPts val="1200"/>
              </a:spcAft>
              <a:buNone/>
              <a:tabLst/>
              <a:defRPr sz="3600" b="0">
                <a:solidFill>
                  <a:schemeClr val="tx1">
                    <a:lumMod val="75000"/>
                    <a:lumOff val="25000"/>
                  </a:schemeClr>
                </a:solidFill>
                <a:latin typeface="+mj-lt"/>
              </a:defRPr>
            </a:lvl2pPr>
            <a:lvl3pPr marL="895305" indent="-536549" defTabSz="1254063">
              <a:spcBef>
                <a:spcPts val="0"/>
              </a:spcBef>
              <a:spcAft>
                <a:spcPts val="1200"/>
              </a:spcAft>
              <a:buFont typeface="Arial" panose="020B0604020202020204" pitchFamily="34" charset="0"/>
              <a:buChar char="•"/>
              <a:tabLst/>
              <a:defRPr lang="en-GB" sz="3600" kern="1200" noProof="0" dirty="0" smtClean="0">
                <a:solidFill>
                  <a:schemeClr val="tx1">
                    <a:lumMod val="75000"/>
                    <a:lumOff val="25000"/>
                  </a:schemeClr>
                </a:solidFill>
                <a:latin typeface="Verdana"/>
                <a:ea typeface="+mn-ea"/>
                <a:cs typeface="Verdana"/>
              </a:defRPr>
            </a:lvl3pPr>
            <a:lvl4pPr marL="1254063" indent="-536549">
              <a:spcBef>
                <a:spcPts val="0"/>
              </a:spcBef>
              <a:spcAft>
                <a:spcPts val="1200"/>
              </a:spcAft>
              <a:buFont typeface="Arial" charset="0"/>
              <a:buChar char="•"/>
              <a:tabLst/>
              <a:defRPr sz="3200">
                <a:solidFill>
                  <a:schemeClr val="tx1">
                    <a:lumMod val="75000"/>
                    <a:lumOff val="25000"/>
                  </a:schemeClr>
                </a:solidFill>
              </a:defRPr>
            </a:lvl4pPr>
            <a:lvl5pPr marL="1443460" indent="-461401">
              <a:spcBef>
                <a:spcPts val="0"/>
              </a:spcBef>
              <a:spcAft>
                <a:spcPts val="1200"/>
              </a:spcAft>
              <a:buFont typeface="Arial" charset="0"/>
              <a:buChar char="•"/>
              <a:tabLst/>
              <a:defRPr sz="3200">
                <a:solidFill>
                  <a:schemeClr val="tx1">
                    <a:lumMod val="75000"/>
                    <a:lumOff val="25000"/>
                  </a:schemeClr>
                </a:solidFill>
              </a:defRPr>
            </a:lvl5pPr>
          </a:lstStyle>
          <a:p>
            <a:pPr lvl="0"/>
            <a:r>
              <a:rPr lang="en-GB" noProof="0"/>
              <a:t>Main headline</a:t>
            </a:r>
          </a:p>
          <a:p>
            <a:pPr lvl="1"/>
            <a:r>
              <a:rPr lang="en-GB" noProof="0"/>
              <a:t>Body</a:t>
            </a:r>
          </a:p>
          <a:p>
            <a:pPr lvl="2"/>
            <a:r>
              <a:rPr lang="en-GB" noProof="0"/>
              <a:t>Bullet</a:t>
            </a:r>
          </a:p>
          <a:p>
            <a:pPr lvl="3"/>
            <a:r>
              <a:rPr lang="en-GB" noProof="0"/>
              <a:t>Bullet lvl2</a:t>
            </a:r>
          </a:p>
          <a:p>
            <a:pPr lvl="4"/>
            <a:r>
              <a:rPr lang="en-GB" noProof="0"/>
              <a:t>Bullet lvl3</a:t>
            </a:r>
          </a:p>
        </p:txBody>
      </p:sp>
    </p:spTree>
    <p:extLst>
      <p:ext uri="{BB962C8B-B14F-4D97-AF65-F5344CB8AC3E}">
        <p14:creationId xmlns:p14="http://schemas.microsoft.com/office/powerpoint/2010/main" val="33865430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on simple background">
    <p:bg>
      <p:bgPr>
        <a:solidFill>
          <a:schemeClr val="bg1"/>
        </a:solidFill>
        <a:effectLst/>
      </p:bgPr>
    </p:bg>
    <p:spTree>
      <p:nvGrpSpPr>
        <p:cNvPr id="1" name=""/>
        <p:cNvGrpSpPr/>
        <p:nvPr/>
      </p:nvGrpSpPr>
      <p:grpSpPr>
        <a:xfrm>
          <a:off x="0" y="0"/>
          <a:ext cx="0" cy="0"/>
          <a:chOff x="0" y="0"/>
          <a:chExt cx="0" cy="0"/>
        </a:xfrm>
      </p:grpSpPr>
      <p:sp>
        <p:nvSpPr>
          <p:cNvPr id="3" name="Picture Placeholder 10">
            <a:extLst>
              <a:ext uri="{FF2B5EF4-FFF2-40B4-BE49-F238E27FC236}">
                <a16:creationId xmlns:a16="http://schemas.microsoft.com/office/drawing/2014/main" id="{2F11C4C6-DEAB-AFC3-A6A2-6B3BD0CF1E78}"/>
              </a:ext>
            </a:extLst>
          </p:cNvPr>
          <p:cNvSpPr>
            <a:spLocks noGrp="1"/>
          </p:cNvSpPr>
          <p:nvPr>
            <p:ph type="pic" sz="quarter" idx="14" hasCustomPrompt="1"/>
          </p:nvPr>
        </p:nvSpPr>
        <p:spPr>
          <a:xfrm>
            <a:off x="491206" y="486000"/>
            <a:ext cx="23400001" cy="12747400"/>
          </a:xfrm>
          <a:custGeom>
            <a:avLst/>
            <a:gdLst>
              <a:gd name="connsiteX0" fmla="*/ 0 w 23400000"/>
              <a:gd name="connsiteY0" fmla="*/ 0 h 12744000"/>
              <a:gd name="connsiteX1" fmla="*/ 23400000 w 23400000"/>
              <a:gd name="connsiteY1" fmla="*/ 0 h 12744000"/>
              <a:gd name="connsiteX2" fmla="*/ 23400000 w 23400000"/>
              <a:gd name="connsiteY2" fmla="*/ 12744000 h 12744000"/>
              <a:gd name="connsiteX3" fmla="*/ 0 w 23400000"/>
              <a:gd name="connsiteY3" fmla="*/ 12744000 h 12744000"/>
              <a:gd name="connsiteX4" fmla="*/ 0 w 23400000"/>
              <a:gd name="connsiteY4" fmla="*/ 0 h 12744000"/>
              <a:gd name="connsiteX0" fmla="*/ 0 w 23400000"/>
              <a:gd name="connsiteY0" fmla="*/ 0 h 12744000"/>
              <a:gd name="connsiteX1" fmla="*/ 23400000 w 23400000"/>
              <a:gd name="connsiteY1" fmla="*/ 0 h 12744000"/>
              <a:gd name="connsiteX2" fmla="*/ 23394405 w 23400000"/>
              <a:gd name="connsiteY2" fmla="*/ 9831892 h 12744000"/>
              <a:gd name="connsiteX3" fmla="*/ 23400000 w 23400000"/>
              <a:gd name="connsiteY3" fmla="*/ 12744000 h 12744000"/>
              <a:gd name="connsiteX4" fmla="*/ 0 w 23400000"/>
              <a:gd name="connsiteY4" fmla="*/ 12744000 h 12744000"/>
              <a:gd name="connsiteX5" fmla="*/ 0 w 23400000"/>
              <a:gd name="connsiteY5" fmla="*/ 0 h 12744000"/>
              <a:gd name="connsiteX0" fmla="*/ 0 w 23400000"/>
              <a:gd name="connsiteY0" fmla="*/ 0 h 12747400"/>
              <a:gd name="connsiteX1" fmla="*/ 23400000 w 23400000"/>
              <a:gd name="connsiteY1" fmla="*/ 0 h 12747400"/>
              <a:gd name="connsiteX2" fmla="*/ 23394405 w 23400000"/>
              <a:gd name="connsiteY2" fmla="*/ 9831892 h 12747400"/>
              <a:gd name="connsiteX3" fmla="*/ 23400000 w 23400000"/>
              <a:gd name="connsiteY3" fmla="*/ 12744000 h 12747400"/>
              <a:gd name="connsiteX4" fmla="*/ 17828544 w 23400000"/>
              <a:gd name="connsiteY4" fmla="*/ 12747400 h 12747400"/>
              <a:gd name="connsiteX5" fmla="*/ 0 w 23400000"/>
              <a:gd name="connsiteY5" fmla="*/ 12744000 h 12747400"/>
              <a:gd name="connsiteX6" fmla="*/ 0 w 23400000"/>
              <a:gd name="connsiteY6" fmla="*/ 0 h 12747400"/>
              <a:gd name="connsiteX0" fmla="*/ 0 w 23400000"/>
              <a:gd name="connsiteY0" fmla="*/ 0 h 12747400"/>
              <a:gd name="connsiteX1" fmla="*/ 23400000 w 23400000"/>
              <a:gd name="connsiteY1" fmla="*/ 0 h 12747400"/>
              <a:gd name="connsiteX2" fmla="*/ 23394405 w 23400000"/>
              <a:gd name="connsiteY2" fmla="*/ 9831892 h 12747400"/>
              <a:gd name="connsiteX3" fmla="*/ 17831050 w 23400000"/>
              <a:gd name="connsiteY3" fmla="*/ 9829350 h 12747400"/>
              <a:gd name="connsiteX4" fmla="*/ 17828544 w 23400000"/>
              <a:gd name="connsiteY4" fmla="*/ 12747400 h 12747400"/>
              <a:gd name="connsiteX5" fmla="*/ 0 w 23400000"/>
              <a:gd name="connsiteY5" fmla="*/ 12744000 h 12747400"/>
              <a:gd name="connsiteX6" fmla="*/ 0 w 23400000"/>
              <a:gd name="connsiteY6" fmla="*/ 0 h 12747400"/>
              <a:gd name="connsiteX0" fmla="*/ 0 w 23400000"/>
              <a:gd name="connsiteY0" fmla="*/ 0 h 12747400"/>
              <a:gd name="connsiteX1" fmla="*/ 23400000 w 23400000"/>
              <a:gd name="connsiteY1" fmla="*/ 0 h 12747400"/>
              <a:gd name="connsiteX2" fmla="*/ 23394405 w 23400000"/>
              <a:gd name="connsiteY2" fmla="*/ 9831892 h 12747400"/>
              <a:gd name="connsiteX3" fmla="*/ 17831050 w 23400000"/>
              <a:gd name="connsiteY3" fmla="*/ 9833176 h 12747400"/>
              <a:gd name="connsiteX4" fmla="*/ 17828544 w 23400000"/>
              <a:gd name="connsiteY4" fmla="*/ 12747400 h 12747400"/>
              <a:gd name="connsiteX5" fmla="*/ 0 w 23400000"/>
              <a:gd name="connsiteY5" fmla="*/ 12744000 h 12747400"/>
              <a:gd name="connsiteX6" fmla="*/ 0 w 23400000"/>
              <a:gd name="connsiteY6" fmla="*/ 0 h 1274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400000" h="12747400">
                <a:moveTo>
                  <a:pt x="0" y="0"/>
                </a:moveTo>
                <a:lnTo>
                  <a:pt x="23400000" y="0"/>
                </a:lnTo>
                <a:lnTo>
                  <a:pt x="23394405" y="9831892"/>
                </a:lnTo>
                <a:lnTo>
                  <a:pt x="17831050" y="9833176"/>
                </a:lnTo>
                <a:cubicBezTo>
                  <a:pt x="17830215" y="10805859"/>
                  <a:pt x="17829379" y="11774717"/>
                  <a:pt x="17828544" y="12747400"/>
                </a:cubicBezTo>
                <a:lnTo>
                  <a:pt x="0" y="12744000"/>
                </a:lnTo>
                <a:lnTo>
                  <a:pt x="0" y="0"/>
                </a:lnTo>
                <a:close/>
              </a:path>
            </a:pathLst>
          </a:custGeom>
          <a:solidFill>
            <a:schemeClr val="bg1">
              <a:lumMod val="95000"/>
            </a:schemeClr>
          </a:solidFill>
        </p:spPr>
        <p:txBody>
          <a:bodyPr>
            <a:normAutofit/>
          </a:bodyPr>
          <a:lstStyle>
            <a:lvl1pPr marL="0" marR="0" indent="0" algn="ctr" defTabSz="1828573" rtl="0" eaLnBrk="1" fontAlgn="auto" latinLnBrk="0" hangingPunct="1">
              <a:lnSpc>
                <a:spcPct val="10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sv-SE"/>
              <a:t>Drag </a:t>
            </a:r>
            <a:r>
              <a:rPr lang="en-NL"/>
              <a:t>and drop a background image into this fram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3059999" y="3402014"/>
            <a:ext cx="12156189" cy="6911976"/>
          </a:xfrm>
          <a:prstGeom prst="rect">
            <a:avLst/>
          </a:prstGeom>
          <a:solidFill>
            <a:schemeClr val="bg1"/>
          </a:solidFill>
        </p:spPr>
        <p:txBody>
          <a:bodyPr vert="horz" lIns="720000" tIns="540000" rIns="360000" bIns="360000" rtlCol="0" anchor="t">
            <a:noAutofit/>
          </a:bodyPr>
          <a:lstStyle>
            <a:lvl1pPr>
              <a:defRPr/>
            </a:lvl1pPr>
          </a:lstStyle>
          <a:p>
            <a:r>
              <a:rPr lang="en-GB" noProof="0"/>
              <a:t>Put the title here,</a:t>
            </a:r>
            <a:br>
              <a:rPr lang="en-GB" noProof="0"/>
            </a:br>
            <a:r>
              <a:rPr lang="en-GB" noProof="0"/>
              <a:t>keep it bold 80 </a:t>
            </a:r>
            <a:r>
              <a:rPr lang="en-GB" noProof="0" err="1"/>
              <a:t>pt</a:t>
            </a:r>
            <a:br>
              <a:rPr lang="en-GB" noProof="0"/>
            </a:br>
            <a:endParaRPr lang="en-GB" noProof="0"/>
          </a:p>
        </p:txBody>
      </p:sp>
      <p:pic>
        <p:nvPicPr>
          <p:cNvPr id="16" name="Picture 15">
            <a:extLst>
              <a:ext uri="{FF2B5EF4-FFF2-40B4-BE49-F238E27FC236}">
                <a16:creationId xmlns:a16="http://schemas.microsoft.com/office/drawing/2014/main" id="{B318DE6B-1EB2-D248-BE9E-1B173597E1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32676" y="10313988"/>
            <a:ext cx="5058531" cy="3402012"/>
          </a:xfrm>
          <a:prstGeom prst="rect">
            <a:avLst/>
          </a:prstGeom>
        </p:spPr>
      </p:pic>
    </p:spTree>
    <p:extLst>
      <p:ext uri="{BB962C8B-B14F-4D97-AF65-F5344CB8AC3E}">
        <p14:creationId xmlns:p14="http://schemas.microsoft.com/office/powerpoint/2010/main" val="361317879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on double background">
    <p:bg>
      <p:bgPr>
        <a:solidFill>
          <a:schemeClr val="bg1"/>
        </a:solidFill>
        <a:effectLst/>
      </p:bgPr>
    </p:bg>
    <p:spTree>
      <p:nvGrpSpPr>
        <p:cNvPr id="1" name=""/>
        <p:cNvGrpSpPr/>
        <p:nvPr/>
      </p:nvGrpSpPr>
      <p:grpSpPr>
        <a:xfrm>
          <a:off x="0" y="0"/>
          <a:ext cx="0" cy="0"/>
          <a:chOff x="0" y="0"/>
          <a:chExt cx="0" cy="0"/>
        </a:xfrm>
      </p:grpSpPr>
      <p:sp>
        <p:nvSpPr>
          <p:cNvPr id="2" name="Picture Placeholder 10">
            <a:extLst>
              <a:ext uri="{FF2B5EF4-FFF2-40B4-BE49-F238E27FC236}">
                <a16:creationId xmlns:a16="http://schemas.microsoft.com/office/drawing/2014/main" id="{DAF73074-2E04-AA55-418B-D0B0A182F573}"/>
              </a:ext>
            </a:extLst>
          </p:cNvPr>
          <p:cNvSpPr>
            <a:spLocks noGrp="1"/>
          </p:cNvSpPr>
          <p:nvPr>
            <p:ph type="pic" sz="quarter" idx="15" hasCustomPrompt="1"/>
          </p:nvPr>
        </p:nvSpPr>
        <p:spPr>
          <a:xfrm>
            <a:off x="491102" y="486000"/>
            <a:ext cx="8674687" cy="12744000"/>
          </a:xfrm>
          <a:solidFill>
            <a:schemeClr val="bg1">
              <a:lumMod val="8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14" name="Picture Placeholder 6">
            <a:extLst>
              <a:ext uri="{FF2B5EF4-FFF2-40B4-BE49-F238E27FC236}">
                <a16:creationId xmlns:a16="http://schemas.microsoft.com/office/drawing/2014/main" id="{692D6ABC-8D9C-1E47-A2A8-2DC39B83F77E}"/>
              </a:ext>
            </a:extLst>
          </p:cNvPr>
          <p:cNvSpPr>
            <a:spLocks noGrp="1"/>
          </p:cNvSpPr>
          <p:nvPr>
            <p:ph type="pic" sz="quarter" idx="19" hasCustomPrompt="1"/>
          </p:nvPr>
        </p:nvSpPr>
        <p:spPr>
          <a:xfrm>
            <a:off x="9165792" y="486000"/>
            <a:ext cx="14725416" cy="12744000"/>
          </a:xfrm>
          <a:custGeom>
            <a:avLst/>
            <a:gdLst>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4730 w 23399999"/>
              <a:gd name="connsiteY8"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1337594 w 23399999"/>
              <a:gd name="connsiteY8" fmla="*/ 1164380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256473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5032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56794 w 23399999"/>
              <a:gd name="connsiteY8" fmla="*/ 851342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399999"/>
              <a:gd name="connsiteY0" fmla="*/ 0 h 12744000"/>
              <a:gd name="connsiteX1" fmla="*/ 23399999 w 23399999"/>
              <a:gd name="connsiteY1" fmla="*/ 0 h 12744000"/>
              <a:gd name="connsiteX2" fmla="*/ 23399999 w 23399999"/>
              <a:gd name="connsiteY2" fmla="*/ 0 h 12744000"/>
              <a:gd name="connsiteX3" fmla="*/ 23399999 w 23399999"/>
              <a:gd name="connsiteY3" fmla="*/ 10179270 h 12744000"/>
              <a:gd name="connsiteX4" fmla="*/ 20835269 w 23399999"/>
              <a:gd name="connsiteY4" fmla="*/ 12744000 h 12744000"/>
              <a:gd name="connsiteX5" fmla="*/ 0 w 23399999"/>
              <a:gd name="connsiteY5" fmla="*/ 12744000 h 12744000"/>
              <a:gd name="connsiteX6" fmla="*/ 0 w 23399999"/>
              <a:gd name="connsiteY6" fmla="*/ 12744000 h 12744000"/>
              <a:gd name="connsiteX7" fmla="*/ 0 w 23399999"/>
              <a:gd name="connsiteY7" fmla="*/ 851260 h 12744000"/>
              <a:gd name="connsiteX8" fmla="*/ 2560913 w 23399999"/>
              <a:gd name="connsiteY8" fmla="*/ 855461 h 12744000"/>
              <a:gd name="connsiteX9" fmla="*/ 2564730 w 23399999"/>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0835269 w 23400000"/>
              <a:gd name="connsiteY4" fmla="*/ 12744000 h 12744000"/>
              <a:gd name="connsiteX5" fmla="*/ 0 w 23400000"/>
              <a:gd name="connsiteY5" fmla="*/ 12744000 h 12744000"/>
              <a:gd name="connsiteX6" fmla="*/ 0 w 23400000"/>
              <a:gd name="connsiteY6" fmla="*/ 12744000 h 12744000"/>
              <a:gd name="connsiteX7" fmla="*/ 0 w 23400000"/>
              <a:gd name="connsiteY7" fmla="*/ 851260 h 12744000"/>
              <a:gd name="connsiteX8" fmla="*/ 2560913 w 23400000"/>
              <a:gd name="connsiteY8" fmla="*/ 855461 h 12744000"/>
              <a:gd name="connsiteX9" fmla="*/ 2564730 w 23400000"/>
              <a:gd name="connsiteY9"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22740268 w 23400000"/>
              <a:gd name="connsiteY4" fmla="*/ 1057252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30130 w 23400000"/>
              <a:gd name="connsiteY4" fmla="*/ 9834338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5 w 23400000"/>
              <a:gd name="connsiteY4" fmla="*/ 9824813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20835269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5366 w 23400000"/>
              <a:gd name="connsiteY4" fmla="*/ 9829575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0 w 23400000"/>
              <a:gd name="connsiteY8" fmla="*/ 851260 h 12744000"/>
              <a:gd name="connsiteX9" fmla="*/ 2560913 w 23400000"/>
              <a:gd name="connsiteY9" fmla="*/ 855461 h 12744000"/>
              <a:gd name="connsiteX10" fmla="*/ 2564730 w 23400000"/>
              <a:gd name="connsiteY10" fmla="*/ 0 h 12744000"/>
              <a:gd name="connsiteX0" fmla="*/ 2603855 w 23439125"/>
              <a:gd name="connsiteY0" fmla="*/ 331220 h 13075220"/>
              <a:gd name="connsiteX1" fmla="*/ 23439124 w 23439125"/>
              <a:gd name="connsiteY1" fmla="*/ 331220 h 13075220"/>
              <a:gd name="connsiteX2" fmla="*/ 23439124 w 23439125"/>
              <a:gd name="connsiteY2" fmla="*/ 331220 h 13075220"/>
              <a:gd name="connsiteX3" fmla="*/ 23439125 w 23439125"/>
              <a:gd name="connsiteY3" fmla="*/ 10162828 h 13075220"/>
              <a:gd name="connsiteX4" fmla="*/ 17859729 w 23439125"/>
              <a:gd name="connsiteY4" fmla="*/ 10156033 h 13075220"/>
              <a:gd name="connsiteX5" fmla="*/ 17859730 w 23439125"/>
              <a:gd name="connsiteY5" fmla="*/ 13075220 h 13075220"/>
              <a:gd name="connsiteX6" fmla="*/ 39125 w 23439125"/>
              <a:gd name="connsiteY6" fmla="*/ 13075220 h 13075220"/>
              <a:gd name="connsiteX7" fmla="*/ 39125 w 23439125"/>
              <a:gd name="connsiteY7" fmla="*/ 13075220 h 13075220"/>
              <a:gd name="connsiteX8" fmla="*/ 39125 w 23439125"/>
              <a:gd name="connsiteY8" fmla="*/ 1182480 h 13075220"/>
              <a:gd name="connsiteX9" fmla="*/ 2603855 w 23439125"/>
              <a:gd name="connsiteY9" fmla="*/ 331220 h 13075220"/>
              <a:gd name="connsiteX0" fmla="*/ 256473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2564730 w 23400000"/>
              <a:gd name="connsiteY8" fmla="*/ 0 h 12744000"/>
              <a:gd name="connsiteX0" fmla="*/ 8691210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8691210 w 23400000"/>
              <a:gd name="connsiteY8" fmla="*/ 0 h 12744000"/>
              <a:gd name="connsiteX0" fmla="*/ 8674584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0 w 23400000"/>
              <a:gd name="connsiteY7" fmla="*/ 12744000 h 12744000"/>
              <a:gd name="connsiteX8" fmla="*/ 8674584 w 23400000"/>
              <a:gd name="connsiteY8" fmla="*/ 0 h 12744000"/>
              <a:gd name="connsiteX0" fmla="*/ 8674584 w 23400000"/>
              <a:gd name="connsiteY0" fmla="*/ 0 h 12744000"/>
              <a:gd name="connsiteX1" fmla="*/ 23399999 w 23400000"/>
              <a:gd name="connsiteY1" fmla="*/ 0 h 12744000"/>
              <a:gd name="connsiteX2" fmla="*/ 23399999 w 23400000"/>
              <a:gd name="connsiteY2" fmla="*/ 0 h 12744000"/>
              <a:gd name="connsiteX3" fmla="*/ 23400000 w 23400000"/>
              <a:gd name="connsiteY3" fmla="*/ 9831608 h 12744000"/>
              <a:gd name="connsiteX4" fmla="*/ 17820604 w 23400000"/>
              <a:gd name="connsiteY4" fmla="*/ 9824813 h 12744000"/>
              <a:gd name="connsiteX5" fmla="*/ 17820605 w 23400000"/>
              <a:gd name="connsiteY5" fmla="*/ 12744000 h 12744000"/>
              <a:gd name="connsiteX6" fmla="*/ 0 w 23400000"/>
              <a:gd name="connsiteY6" fmla="*/ 12744000 h 12744000"/>
              <a:gd name="connsiteX7" fmla="*/ 8674584 w 23400000"/>
              <a:gd name="connsiteY7" fmla="*/ 0 h 12744000"/>
              <a:gd name="connsiteX0" fmla="*/ 0 w 14725416"/>
              <a:gd name="connsiteY0" fmla="*/ 0 h 12744000"/>
              <a:gd name="connsiteX1" fmla="*/ 14725415 w 14725416"/>
              <a:gd name="connsiteY1" fmla="*/ 0 h 12744000"/>
              <a:gd name="connsiteX2" fmla="*/ 14725415 w 14725416"/>
              <a:gd name="connsiteY2" fmla="*/ 0 h 12744000"/>
              <a:gd name="connsiteX3" fmla="*/ 14725416 w 14725416"/>
              <a:gd name="connsiteY3" fmla="*/ 9831608 h 12744000"/>
              <a:gd name="connsiteX4" fmla="*/ 9146020 w 14725416"/>
              <a:gd name="connsiteY4" fmla="*/ 9824813 h 12744000"/>
              <a:gd name="connsiteX5" fmla="*/ 9146021 w 14725416"/>
              <a:gd name="connsiteY5" fmla="*/ 12744000 h 12744000"/>
              <a:gd name="connsiteX6" fmla="*/ 3903 w 14725416"/>
              <a:gd name="connsiteY6" fmla="*/ 12744000 h 12744000"/>
              <a:gd name="connsiteX7" fmla="*/ 0 w 14725416"/>
              <a:gd name="connsiteY7" fmla="*/ 0 h 127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25416" h="12744000">
                <a:moveTo>
                  <a:pt x="0" y="0"/>
                </a:moveTo>
                <a:lnTo>
                  <a:pt x="14725415" y="0"/>
                </a:lnTo>
                <a:lnTo>
                  <a:pt x="14725415" y="0"/>
                </a:lnTo>
                <a:cubicBezTo>
                  <a:pt x="14725415" y="3277203"/>
                  <a:pt x="14725416" y="6554405"/>
                  <a:pt x="14725416" y="9831608"/>
                </a:cubicBezTo>
                <a:cubicBezTo>
                  <a:pt x="14724997" y="9831571"/>
                  <a:pt x="9140821" y="9823891"/>
                  <a:pt x="9146020" y="9824813"/>
                </a:cubicBezTo>
                <a:cubicBezTo>
                  <a:pt x="9162597" y="9827753"/>
                  <a:pt x="9140354" y="12744037"/>
                  <a:pt x="9146021" y="12744000"/>
                </a:cubicBezTo>
                <a:lnTo>
                  <a:pt x="3903" y="12744000"/>
                </a:lnTo>
                <a:lnTo>
                  <a:pt x="0" y="0"/>
                </a:lnTo>
                <a:close/>
              </a:path>
            </a:pathLst>
          </a:custGeom>
          <a:solidFill>
            <a:schemeClr val="bg1">
              <a:lumMod val="95000"/>
            </a:schemeClr>
          </a:solidFill>
        </p:spPr>
        <p:txBody>
          <a:bodyPr/>
          <a:lstStyle>
            <a:lvl1pPr algn="ctr">
              <a:defRPr sz="2400">
                <a:solidFill>
                  <a:schemeClr val="tx1">
                    <a:lumMod val="65000"/>
                    <a:lumOff val="35000"/>
                  </a:schemeClr>
                </a:solidFill>
              </a:defRPr>
            </a:lvl1pPr>
          </a:lstStyle>
          <a:p>
            <a:r>
              <a:rPr lang="en-NL"/>
              <a:t>Drag and drop a topic-related picture into this fram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3059999" y="3402014"/>
            <a:ext cx="12156189" cy="6911976"/>
          </a:xfrm>
          <a:prstGeom prst="rect">
            <a:avLst/>
          </a:prstGeom>
          <a:solidFill>
            <a:schemeClr val="bg1"/>
          </a:solidFill>
        </p:spPr>
        <p:txBody>
          <a:bodyPr vert="horz" lIns="720000" tIns="540000" rIns="360000" bIns="360000" rtlCol="0" anchor="t">
            <a:noAutofit/>
          </a:bodyPr>
          <a:lstStyle>
            <a:lvl1pPr>
              <a:defRPr/>
            </a:lvl1pPr>
          </a:lstStyle>
          <a:p>
            <a:r>
              <a:rPr lang="en-GB" noProof="0"/>
              <a:t>Put the title here,</a:t>
            </a:r>
            <a:br>
              <a:rPr lang="en-GB" noProof="0"/>
            </a:br>
            <a:r>
              <a:rPr lang="en-GB" noProof="0"/>
              <a:t>keep it bold 80 </a:t>
            </a:r>
            <a:r>
              <a:rPr lang="en-GB" noProof="0" err="1"/>
              <a:t>pt</a:t>
            </a:r>
            <a:endParaRPr lang="en-GB" noProof="0"/>
          </a:p>
        </p:txBody>
      </p:sp>
      <p:pic>
        <p:nvPicPr>
          <p:cNvPr id="16" name="Picture 15">
            <a:extLst>
              <a:ext uri="{FF2B5EF4-FFF2-40B4-BE49-F238E27FC236}">
                <a16:creationId xmlns:a16="http://schemas.microsoft.com/office/drawing/2014/main" id="{B318DE6B-1EB2-D248-BE9E-1B173597E1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32676" y="10313988"/>
            <a:ext cx="5058531" cy="3402012"/>
          </a:xfrm>
          <a:prstGeom prst="rect">
            <a:avLst/>
          </a:prstGeom>
        </p:spPr>
      </p:pic>
    </p:spTree>
    <p:extLst>
      <p:ext uri="{BB962C8B-B14F-4D97-AF65-F5344CB8AC3E}">
        <p14:creationId xmlns:p14="http://schemas.microsoft.com/office/powerpoint/2010/main" val="179667349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Agenda or conten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3293FC4-39C9-4047-8405-0EE5AF044904}"/>
              </a:ext>
            </a:extLst>
          </p:cNvPr>
          <p:cNvSpPr>
            <a:spLocks noGrp="1"/>
          </p:cNvSpPr>
          <p:nvPr>
            <p:ph type="pic" sz="quarter" idx="13" hasCustomPrompt="1"/>
          </p:nvPr>
        </p:nvSpPr>
        <p:spPr>
          <a:xfrm>
            <a:off x="486001" y="486000"/>
            <a:ext cx="10440000" cy="12744000"/>
          </a:xfrm>
          <a:solidFill>
            <a:schemeClr val="bg1">
              <a:lumMod val="95000"/>
            </a:schemeClr>
          </a:solidFill>
        </p:spPr>
        <p:txBody>
          <a:bodyPr/>
          <a:lstStyle>
            <a:lvl1pPr algn="ctr">
              <a:defRPr sz="2400">
                <a:solidFill>
                  <a:schemeClr val="tx1">
                    <a:lumMod val="65000"/>
                    <a:lumOff val="35000"/>
                  </a:schemeClr>
                </a:solidFill>
              </a:defRPr>
            </a:lvl1pPr>
          </a:lstStyle>
          <a:p>
            <a:r>
              <a:rPr lang="en-NL"/>
              <a:t>Fill this frame with one of the Theme Colours</a:t>
            </a:r>
          </a:p>
        </p:txBody>
      </p:sp>
      <p:sp>
        <p:nvSpPr>
          <p:cNvPr id="9" name="Text Placeholder 3">
            <a:extLst>
              <a:ext uri="{FF2B5EF4-FFF2-40B4-BE49-F238E27FC236}">
                <a16:creationId xmlns:a16="http://schemas.microsoft.com/office/drawing/2014/main" id="{74EDCDDC-BFAD-0048-95CD-93E49D18174D}"/>
              </a:ext>
            </a:extLst>
          </p:cNvPr>
          <p:cNvSpPr>
            <a:spLocks noGrp="1"/>
          </p:cNvSpPr>
          <p:nvPr>
            <p:ph type="body" sz="half" idx="2" hasCustomPrompt="1"/>
          </p:nvPr>
        </p:nvSpPr>
        <p:spPr>
          <a:xfrm>
            <a:off x="12191208" y="1961458"/>
            <a:ext cx="9144793" cy="10081320"/>
          </a:xfrm>
        </p:spPr>
        <p:txBody>
          <a:bodyPr>
            <a:noAutofit/>
          </a:bodyPr>
          <a:lstStyle>
            <a:lvl1pPr marL="0" marR="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sz="32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marL="0" marR="0" lvl="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a:pPr>
            <a:r>
              <a:rPr lang="en-GB" noProof="0"/>
              <a:t>Put the topics here, keep it regular 32 </a:t>
            </a:r>
            <a:r>
              <a:rPr lang="en-GB" noProof="0" err="1"/>
              <a:t>pt</a:t>
            </a:r>
            <a:endParaRPr lang="en-GB" noProof="0"/>
          </a:p>
          <a:p>
            <a:pPr marL="0" marR="0" lvl="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a:pPr>
            <a:endParaRPr lang="en-GB" noProof="0"/>
          </a:p>
        </p:txBody>
      </p:sp>
      <p:sp>
        <p:nvSpPr>
          <p:cNvPr id="6" name="Title 5">
            <a:extLst>
              <a:ext uri="{FF2B5EF4-FFF2-40B4-BE49-F238E27FC236}">
                <a16:creationId xmlns:a16="http://schemas.microsoft.com/office/drawing/2014/main" id="{07211B91-AE84-A342-91A4-CA604C6D63E9}"/>
              </a:ext>
            </a:extLst>
          </p:cNvPr>
          <p:cNvSpPr>
            <a:spLocks noGrp="1"/>
          </p:cNvSpPr>
          <p:nvPr>
            <p:ph type="title" hasCustomPrompt="1"/>
          </p:nvPr>
        </p:nvSpPr>
        <p:spPr>
          <a:xfrm>
            <a:off x="1676294" y="1677600"/>
            <a:ext cx="9000000" cy="8633316"/>
          </a:xfrm>
        </p:spPr>
        <p:txBody>
          <a:bodyPr bIns="46800"/>
          <a:lstStyle/>
          <a:p>
            <a:r>
              <a:rPr lang="en-GB"/>
              <a:t>Agenda or contents</a:t>
            </a:r>
            <a:endParaRPr lang="en-NL"/>
          </a:p>
        </p:txBody>
      </p:sp>
      <p:sp>
        <p:nvSpPr>
          <p:cNvPr id="7" name="Footer Placeholder 6">
            <a:extLst>
              <a:ext uri="{FF2B5EF4-FFF2-40B4-BE49-F238E27FC236}">
                <a16:creationId xmlns:a16="http://schemas.microsoft.com/office/drawing/2014/main" id="{AA71B48D-AD8E-4041-BC0A-97827EA167E2}"/>
              </a:ext>
            </a:extLst>
          </p:cNvPr>
          <p:cNvSpPr>
            <a:spLocks noGrp="1"/>
          </p:cNvSpPr>
          <p:nvPr>
            <p:ph type="ftr" sz="quarter" idx="16"/>
          </p:nvPr>
        </p:nvSpPr>
        <p:spPr/>
        <p:txBody>
          <a:bodyPr/>
          <a:lstStyle/>
          <a:p>
            <a:endParaRPr lang="en-NL"/>
          </a:p>
        </p:txBody>
      </p:sp>
      <p:sp>
        <p:nvSpPr>
          <p:cNvPr id="13" name="TextBox 12">
            <a:extLst>
              <a:ext uri="{FF2B5EF4-FFF2-40B4-BE49-F238E27FC236}">
                <a16:creationId xmlns:a16="http://schemas.microsoft.com/office/drawing/2014/main" id="{3A2D6FA1-9D20-AF47-912B-1D770AF0FEBC}"/>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119672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hapter headline on simple background">
    <p:bg>
      <p:bgPr>
        <a:solidFill>
          <a:schemeClr val="bg1"/>
        </a:solidFill>
        <a:effectLst/>
      </p:bgPr>
    </p:bg>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ADB4BA95-E492-D840-88F6-2FE23D26918D}"/>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573" rtl="0" eaLnBrk="1" fontAlgn="auto" latinLnBrk="0" hangingPunct="1">
              <a:lnSpc>
                <a:spcPct val="10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7" name="Title Placeholder 6">
            <a:extLst>
              <a:ext uri="{FF2B5EF4-FFF2-40B4-BE49-F238E27FC236}">
                <a16:creationId xmlns:a16="http://schemas.microsoft.com/office/drawing/2014/main" id="{1B090AE2-5953-9248-BD9A-B5FA2155AD8A}"/>
              </a:ext>
            </a:extLst>
          </p:cNvPr>
          <p:cNvSpPr>
            <a:spLocks noGrp="1"/>
          </p:cNvSpPr>
          <p:nvPr>
            <p:ph type="title" hasCustomPrompt="1"/>
          </p:nvPr>
        </p:nvSpPr>
        <p:spPr>
          <a:xfrm>
            <a:off x="3059999" y="3402014"/>
            <a:ext cx="12156189" cy="6911976"/>
          </a:xfrm>
          <a:prstGeom prst="rect">
            <a:avLst/>
          </a:prstGeom>
          <a:solidFill>
            <a:schemeClr val="bg1"/>
          </a:solidFill>
        </p:spPr>
        <p:txBody>
          <a:bodyPr vert="horz" lIns="720000" tIns="360000" rIns="360000" bIns="36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C4ADDE55-E340-6E4C-86B1-7B03B8C32387}"/>
              </a:ext>
            </a:extLst>
          </p:cNvPr>
          <p:cNvSpPr>
            <a:spLocks noGrp="1"/>
          </p:cNvSpPr>
          <p:nvPr>
            <p:ph type="ftr" sz="quarter" idx="15"/>
          </p:nvPr>
        </p:nvSpPr>
        <p:spPr/>
        <p:txBody>
          <a:bodyPr/>
          <a:lstStyle/>
          <a:p>
            <a:endParaRPr lang="en-NL"/>
          </a:p>
        </p:txBody>
      </p:sp>
      <p:sp>
        <p:nvSpPr>
          <p:cNvPr id="10" name="TextBox 9">
            <a:extLst>
              <a:ext uri="{FF2B5EF4-FFF2-40B4-BE49-F238E27FC236}">
                <a16:creationId xmlns:a16="http://schemas.microsoft.com/office/drawing/2014/main" id="{7FB25574-EA1E-8647-9572-8972274746BB}"/>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45199460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hapter headline on double background">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7D48BD0-6997-F144-A2F5-799BC3C77E9E}"/>
              </a:ext>
            </a:extLst>
          </p:cNvPr>
          <p:cNvSpPr>
            <a:spLocks noGrp="1"/>
          </p:cNvSpPr>
          <p:nvPr>
            <p:ph type="pic" sz="quarter" idx="16" hasCustomPrompt="1"/>
          </p:nvPr>
        </p:nvSpPr>
        <p:spPr>
          <a:xfrm>
            <a:off x="9166226" y="486000"/>
            <a:ext cx="14724980"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background image into this frame</a:t>
            </a:r>
          </a:p>
        </p:txBody>
      </p:sp>
      <p:sp>
        <p:nvSpPr>
          <p:cNvPr id="8" name="Picture Placeholder 10">
            <a:extLst>
              <a:ext uri="{FF2B5EF4-FFF2-40B4-BE49-F238E27FC236}">
                <a16:creationId xmlns:a16="http://schemas.microsoft.com/office/drawing/2014/main" id="{1309BD59-499E-7B48-84B0-F24A66C27380}"/>
              </a:ext>
            </a:extLst>
          </p:cNvPr>
          <p:cNvSpPr>
            <a:spLocks noGrp="1"/>
          </p:cNvSpPr>
          <p:nvPr>
            <p:ph type="pic" sz="quarter" idx="14" hasCustomPrompt="1"/>
          </p:nvPr>
        </p:nvSpPr>
        <p:spPr>
          <a:xfrm>
            <a:off x="491206" y="486000"/>
            <a:ext cx="8675019" cy="12744000"/>
          </a:xfrm>
          <a:solidFill>
            <a:schemeClr val="bg1">
              <a:lumMod val="8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9" name="Title Placeholder 6">
            <a:extLst>
              <a:ext uri="{FF2B5EF4-FFF2-40B4-BE49-F238E27FC236}">
                <a16:creationId xmlns:a16="http://schemas.microsoft.com/office/drawing/2014/main" id="{9DDA9E19-4F77-3D4F-9876-A15B1427723D}"/>
              </a:ext>
            </a:extLst>
          </p:cNvPr>
          <p:cNvSpPr>
            <a:spLocks noGrp="1"/>
          </p:cNvSpPr>
          <p:nvPr>
            <p:ph type="title" hasCustomPrompt="1"/>
          </p:nvPr>
        </p:nvSpPr>
        <p:spPr>
          <a:xfrm>
            <a:off x="3059999" y="3402014"/>
            <a:ext cx="12156189" cy="6911976"/>
          </a:xfrm>
          <a:prstGeom prst="rect">
            <a:avLst/>
          </a:prstGeom>
          <a:solidFill>
            <a:schemeClr val="bg1"/>
          </a:solidFill>
        </p:spPr>
        <p:txBody>
          <a:bodyPr vert="horz" lIns="720000" tIns="360000" rIns="360000" bIns="36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5CA18264-1F8B-3A44-B551-1BBEE87ED5B3}"/>
              </a:ext>
            </a:extLst>
          </p:cNvPr>
          <p:cNvSpPr>
            <a:spLocks noGrp="1"/>
          </p:cNvSpPr>
          <p:nvPr>
            <p:ph type="ftr" sz="quarter" idx="17"/>
          </p:nvPr>
        </p:nvSpPr>
        <p:spPr/>
        <p:txBody>
          <a:bodyPr/>
          <a:lstStyle/>
          <a:p>
            <a:endParaRPr lang="en-NL"/>
          </a:p>
        </p:txBody>
      </p:sp>
      <p:sp>
        <p:nvSpPr>
          <p:cNvPr id="11" name="TextBox 10">
            <a:extLst>
              <a:ext uri="{FF2B5EF4-FFF2-40B4-BE49-F238E27FC236}">
                <a16:creationId xmlns:a16="http://schemas.microsoft.com/office/drawing/2014/main" id="{17ABB78B-16D4-9548-AD33-F584DB55BA7A}"/>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78587041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Chapter headline and number 1">
    <p:bg>
      <p:bgPr>
        <a:solidFill>
          <a:schemeClr val="bg1"/>
        </a:solidFill>
        <a:effectLst/>
      </p:bgPr>
    </p:bg>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FBC26CA4-EB48-1543-B2BB-C8B879012FEC}"/>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5" name="Text Placeholder 4">
            <a:extLst>
              <a:ext uri="{FF2B5EF4-FFF2-40B4-BE49-F238E27FC236}">
                <a16:creationId xmlns:a16="http://schemas.microsoft.com/office/drawing/2014/main" id="{D692063E-373D-9A4C-B3F2-4CED294F18A0}"/>
              </a:ext>
            </a:extLst>
          </p:cNvPr>
          <p:cNvSpPr>
            <a:spLocks noGrp="1"/>
          </p:cNvSpPr>
          <p:nvPr>
            <p:ph type="body" sz="quarter" idx="11" hasCustomPrompt="1"/>
          </p:nvPr>
        </p:nvSpPr>
        <p:spPr>
          <a:xfrm>
            <a:off x="3066646" y="3402014"/>
            <a:ext cx="6113166" cy="6911976"/>
          </a:xfrm>
          <a:solidFill>
            <a:schemeClr val="bg1"/>
          </a:solidFill>
        </p:spPr>
        <p:txBody>
          <a:bodyPr anchor="ctr" anchorCtr="0">
            <a:noAutofit/>
          </a:bodyPr>
          <a:lstStyle>
            <a:lvl1pPr marL="0" indent="0" algn="ctr">
              <a:buNone/>
              <a:defRPr sz="29999" b="1" spc="-600" baseline="0">
                <a:ln>
                  <a:noFill/>
                </a:ln>
                <a:solidFill>
                  <a:schemeClr val="tx1"/>
                </a:solidFill>
              </a:defRPr>
            </a:lvl1pPr>
          </a:lstStyle>
          <a:p>
            <a:pPr lvl="0"/>
            <a:r>
              <a:rPr lang="en-GB" noProof="0"/>
              <a:t>#</a:t>
            </a:r>
          </a:p>
        </p:txBody>
      </p:sp>
      <p:sp>
        <p:nvSpPr>
          <p:cNvPr id="9" name="Title Placeholder 6">
            <a:extLst>
              <a:ext uri="{FF2B5EF4-FFF2-40B4-BE49-F238E27FC236}">
                <a16:creationId xmlns:a16="http://schemas.microsoft.com/office/drawing/2014/main" id="{8EE4B79D-13C4-D44B-B7EA-5A90670CE600}"/>
              </a:ext>
            </a:extLst>
          </p:cNvPr>
          <p:cNvSpPr>
            <a:spLocks noGrp="1"/>
          </p:cNvSpPr>
          <p:nvPr>
            <p:ph type="title" hasCustomPrompt="1"/>
          </p:nvPr>
        </p:nvSpPr>
        <p:spPr>
          <a:xfrm>
            <a:off x="9166225" y="3402014"/>
            <a:ext cx="12169776" cy="6911976"/>
          </a:xfrm>
          <a:prstGeom prst="rect">
            <a:avLst/>
          </a:prstGeom>
          <a:solidFill>
            <a:schemeClr val="bg1"/>
          </a:solidFill>
        </p:spPr>
        <p:txBody>
          <a:bodyPr vert="horz" lIns="360000" tIns="360000" rIns="360000" bIns="36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1A1CBB60-7354-0F46-A5EC-2B7F347405A8}"/>
              </a:ext>
            </a:extLst>
          </p:cNvPr>
          <p:cNvSpPr>
            <a:spLocks noGrp="1"/>
          </p:cNvSpPr>
          <p:nvPr>
            <p:ph type="ftr" sz="quarter" idx="15"/>
          </p:nvPr>
        </p:nvSpPr>
        <p:spPr/>
        <p:txBody>
          <a:bodyPr/>
          <a:lstStyle/>
          <a:p>
            <a:endParaRPr lang="en-NL"/>
          </a:p>
        </p:txBody>
      </p:sp>
      <p:sp>
        <p:nvSpPr>
          <p:cNvPr id="11" name="TextBox 10">
            <a:extLst>
              <a:ext uri="{FF2B5EF4-FFF2-40B4-BE49-F238E27FC236}">
                <a16:creationId xmlns:a16="http://schemas.microsoft.com/office/drawing/2014/main" id="{40541476-0AFC-234B-BC49-0499CC038C91}"/>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839253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 headline on double background">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7D48BD0-6997-F144-A2F5-799BC3C77E9E}"/>
              </a:ext>
            </a:extLst>
          </p:cNvPr>
          <p:cNvSpPr>
            <a:spLocks noGrp="1"/>
          </p:cNvSpPr>
          <p:nvPr>
            <p:ph type="pic" sz="quarter" idx="16" hasCustomPrompt="1"/>
          </p:nvPr>
        </p:nvSpPr>
        <p:spPr>
          <a:xfrm>
            <a:off x="9166226" y="486000"/>
            <a:ext cx="1472498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background image into this frame</a:t>
            </a:r>
          </a:p>
        </p:txBody>
      </p:sp>
      <p:sp>
        <p:nvSpPr>
          <p:cNvPr id="8" name="Picture Placeholder 10">
            <a:extLst>
              <a:ext uri="{FF2B5EF4-FFF2-40B4-BE49-F238E27FC236}">
                <a16:creationId xmlns:a16="http://schemas.microsoft.com/office/drawing/2014/main" id="{1309BD59-499E-7B48-84B0-F24A66C27380}"/>
              </a:ext>
            </a:extLst>
          </p:cNvPr>
          <p:cNvSpPr>
            <a:spLocks noGrp="1"/>
          </p:cNvSpPr>
          <p:nvPr>
            <p:ph type="pic" sz="quarter" idx="14" hasCustomPrompt="1"/>
          </p:nvPr>
        </p:nvSpPr>
        <p:spPr>
          <a:xfrm>
            <a:off x="491206" y="486000"/>
            <a:ext cx="8675019" cy="12744000"/>
          </a:xfrm>
          <a:solidFill>
            <a:schemeClr val="bg1">
              <a:lumMod val="8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9" name="Title Placeholder 6">
            <a:extLst>
              <a:ext uri="{FF2B5EF4-FFF2-40B4-BE49-F238E27FC236}">
                <a16:creationId xmlns:a16="http://schemas.microsoft.com/office/drawing/2014/main" id="{9DDA9E19-4F77-3D4F-9876-A15B1427723D}"/>
              </a:ext>
            </a:extLst>
          </p:cNvPr>
          <p:cNvSpPr>
            <a:spLocks noGrp="1"/>
          </p:cNvSpPr>
          <p:nvPr>
            <p:ph type="title" hasCustomPrompt="1"/>
          </p:nvPr>
        </p:nvSpPr>
        <p:spPr>
          <a:xfrm>
            <a:off x="3060000" y="3402013"/>
            <a:ext cx="12156188" cy="6911975"/>
          </a:xfrm>
          <a:prstGeom prst="rect">
            <a:avLst/>
          </a:prstGeom>
          <a:solidFill>
            <a:schemeClr val="bg1"/>
          </a:solidFill>
        </p:spPr>
        <p:txBody>
          <a:bodyPr vert="horz" lIns="720000" tIns="360000" rIns="360000" bIns="36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5CA18264-1F8B-3A44-B551-1BBEE87ED5B3}"/>
              </a:ext>
            </a:extLst>
          </p:cNvPr>
          <p:cNvSpPr>
            <a:spLocks noGrp="1"/>
          </p:cNvSpPr>
          <p:nvPr>
            <p:ph type="ftr" sz="quarter" idx="17"/>
          </p:nvPr>
        </p:nvSpPr>
        <p:spPr/>
        <p:txBody>
          <a:bodyPr/>
          <a:lstStyle/>
          <a:p>
            <a:endParaRPr lang="en-NL"/>
          </a:p>
        </p:txBody>
      </p:sp>
      <p:sp>
        <p:nvSpPr>
          <p:cNvPr id="11" name="TextBox 10">
            <a:extLst>
              <a:ext uri="{FF2B5EF4-FFF2-40B4-BE49-F238E27FC236}">
                <a16:creationId xmlns:a16="http://schemas.microsoft.com/office/drawing/2014/main" id="{17ABB78B-16D4-9548-AD33-F584DB55BA7A}"/>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93634415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Chapter headline and number 2">
    <p:bg>
      <p:bgPr>
        <a:solidFill>
          <a:schemeClr val="bg1"/>
        </a:solidFill>
        <a:effectLst/>
      </p:bgPr>
    </p:bg>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F6085D9F-3237-7542-9B7D-4ED3CD3607B0}"/>
              </a:ext>
            </a:extLst>
          </p:cNvPr>
          <p:cNvSpPr>
            <a:spLocks noGrp="1"/>
          </p:cNvSpPr>
          <p:nvPr>
            <p:ph type="body" sz="quarter" idx="11" hasCustomPrompt="1"/>
          </p:nvPr>
        </p:nvSpPr>
        <p:spPr>
          <a:xfrm>
            <a:off x="3066646" y="3402014"/>
            <a:ext cx="6113166" cy="6911976"/>
          </a:xfrm>
          <a:noFill/>
        </p:spPr>
        <p:txBody>
          <a:bodyPr anchor="ctr" anchorCtr="0">
            <a:noAutofit/>
          </a:bodyPr>
          <a:lstStyle>
            <a:lvl1pPr marL="0" indent="0" algn="ctr">
              <a:buNone/>
              <a:defRPr sz="29999" b="1" spc="-600" baseline="0">
                <a:ln>
                  <a:noFill/>
                </a:ln>
                <a:solidFill>
                  <a:schemeClr val="tx1"/>
                </a:solidFill>
              </a:defRPr>
            </a:lvl1pPr>
          </a:lstStyle>
          <a:p>
            <a:pPr lvl="0"/>
            <a:r>
              <a:rPr lang="en-GB" noProof="0"/>
              <a:t>#</a:t>
            </a:r>
          </a:p>
        </p:txBody>
      </p:sp>
      <p:sp>
        <p:nvSpPr>
          <p:cNvPr id="7" name="Title Placeholder 6">
            <a:extLst>
              <a:ext uri="{FF2B5EF4-FFF2-40B4-BE49-F238E27FC236}">
                <a16:creationId xmlns:a16="http://schemas.microsoft.com/office/drawing/2014/main" id="{C80CB7B3-E10E-DC43-BC18-2A74C9A160F8}"/>
              </a:ext>
            </a:extLst>
          </p:cNvPr>
          <p:cNvSpPr>
            <a:spLocks noGrp="1"/>
          </p:cNvSpPr>
          <p:nvPr>
            <p:ph type="title" hasCustomPrompt="1"/>
          </p:nvPr>
        </p:nvSpPr>
        <p:spPr>
          <a:xfrm>
            <a:off x="9166225" y="3402014"/>
            <a:ext cx="12169776" cy="6911976"/>
          </a:xfrm>
          <a:prstGeom prst="rect">
            <a:avLst/>
          </a:prstGeom>
          <a:noFill/>
        </p:spPr>
        <p:txBody>
          <a:bodyPr vert="horz" lIns="360000" tIns="360000" rIns="360000" bIns="36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3A7F9CFD-AFFB-3B47-AFEC-CEE18A9D2CE6}"/>
              </a:ext>
            </a:extLst>
          </p:cNvPr>
          <p:cNvSpPr>
            <a:spLocks noGrp="1"/>
          </p:cNvSpPr>
          <p:nvPr>
            <p:ph type="ftr" sz="quarter" idx="12"/>
          </p:nvPr>
        </p:nvSpPr>
        <p:spPr/>
        <p:txBody>
          <a:bodyPr/>
          <a:lstStyle/>
          <a:p>
            <a:endParaRPr lang="en-NL"/>
          </a:p>
        </p:txBody>
      </p:sp>
      <p:sp>
        <p:nvSpPr>
          <p:cNvPr id="10" name="TextBox 9">
            <a:extLst>
              <a:ext uri="{FF2B5EF4-FFF2-40B4-BE49-F238E27FC236}">
                <a16:creationId xmlns:a16="http://schemas.microsoft.com/office/drawing/2014/main" id="{C416BDAF-6CDC-8648-8B2F-B8146F0C0E7E}"/>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11142931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ext and picture on the right">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13127310" y="486000"/>
            <a:ext cx="10763999"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1674329" y="5129214"/>
            <a:ext cx="10516084" cy="6904512"/>
          </a:xfrm>
        </p:spPr>
        <p:txBody>
          <a:bodyPr>
            <a:noAutofit/>
          </a:bodyPr>
          <a:lstStyle>
            <a:lvl1pPr>
              <a:spcBef>
                <a:spcPts val="2000"/>
              </a:spcBef>
              <a:defRPr sz="3200"/>
            </a:lvl1pPr>
          </a:lstStyle>
          <a:p>
            <a:pPr lvl="0"/>
            <a:r>
              <a:rPr lang="en-GB" noProof="0"/>
              <a:t>Put the paragraph text here, keep it regular 32 </a:t>
            </a:r>
            <a:r>
              <a:rPr lang="en-GB" noProof="0" err="1"/>
              <a:t>pt</a:t>
            </a:r>
            <a:endParaRPr lang="en-GB" noProof="0"/>
          </a:p>
        </p:txBody>
      </p:sp>
      <p:sp>
        <p:nvSpPr>
          <p:cNvPr id="2" name="Title 1">
            <a:extLst>
              <a:ext uri="{FF2B5EF4-FFF2-40B4-BE49-F238E27FC236}">
                <a16:creationId xmlns:a16="http://schemas.microsoft.com/office/drawing/2014/main" id="{44A2E15B-0973-F742-A266-E1107E35FE40}"/>
              </a:ext>
            </a:extLst>
          </p:cNvPr>
          <p:cNvSpPr>
            <a:spLocks noGrp="1"/>
          </p:cNvSpPr>
          <p:nvPr>
            <p:ph type="title" hasCustomPrompt="1"/>
          </p:nvPr>
        </p:nvSpPr>
        <p:spPr>
          <a:xfrm>
            <a:off x="1676294" y="1677600"/>
            <a:ext cx="10514914" cy="3011660"/>
          </a:xfrm>
        </p:spPr>
        <p:txBody>
          <a:bodyPr/>
          <a:lstStyle/>
          <a:p>
            <a:r>
              <a:rPr lang="en-GB"/>
              <a:t>Put the headline here, keep it 80 </a:t>
            </a:r>
            <a:r>
              <a:rPr lang="en-GB" err="1"/>
              <a:t>pt</a:t>
            </a:r>
            <a:endParaRPr lang="en-NL"/>
          </a:p>
        </p:txBody>
      </p:sp>
      <p:sp>
        <p:nvSpPr>
          <p:cNvPr id="7" name="Footer Placeholder 6">
            <a:extLst>
              <a:ext uri="{FF2B5EF4-FFF2-40B4-BE49-F238E27FC236}">
                <a16:creationId xmlns:a16="http://schemas.microsoft.com/office/drawing/2014/main" id="{1BBF2C0D-081E-D341-990A-85E80DD0D1B7}"/>
              </a:ext>
            </a:extLst>
          </p:cNvPr>
          <p:cNvSpPr>
            <a:spLocks noGrp="1"/>
          </p:cNvSpPr>
          <p:nvPr>
            <p:ph type="ftr" sz="quarter" idx="19"/>
          </p:nvPr>
        </p:nvSpPr>
        <p:spPr/>
        <p:txBody>
          <a:bodyPr/>
          <a:lstStyle/>
          <a:p>
            <a:endParaRPr lang="en-NL"/>
          </a:p>
        </p:txBody>
      </p:sp>
      <p:sp>
        <p:nvSpPr>
          <p:cNvPr id="10" name="TextBox 9">
            <a:extLst>
              <a:ext uri="{FF2B5EF4-FFF2-40B4-BE49-F238E27FC236}">
                <a16:creationId xmlns:a16="http://schemas.microsoft.com/office/drawing/2014/main" id="{894FC958-E5A8-B74F-A7E7-30B82C0B44E8}"/>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77807194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ext and picture on the left">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EED5078-C5D9-0E4F-B9E3-7CF7BBC8C373}"/>
              </a:ext>
            </a:extLst>
          </p:cNvPr>
          <p:cNvSpPr>
            <a:spLocks noGrp="1"/>
          </p:cNvSpPr>
          <p:nvPr>
            <p:ph type="pic" sz="quarter" idx="15" hasCustomPrompt="1"/>
          </p:nvPr>
        </p:nvSpPr>
        <p:spPr>
          <a:xfrm>
            <a:off x="491102" y="486000"/>
            <a:ext cx="10763999"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pPr marL="0" marR="0" lvl="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a:pPr>
            <a:r>
              <a:rPr lang="en-NL"/>
              <a:t>Drag and drop a topic-related picture into this frame</a:t>
            </a:r>
          </a:p>
        </p:txBody>
      </p:sp>
      <p:sp>
        <p:nvSpPr>
          <p:cNvPr id="12" name="Text Placeholder 3">
            <a:extLst>
              <a:ext uri="{FF2B5EF4-FFF2-40B4-BE49-F238E27FC236}">
                <a16:creationId xmlns:a16="http://schemas.microsoft.com/office/drawing/2014/main" id="{AE87E5A1-8A67-0448-BA9A-DA74F50AE099}"/>
              </a:ext>
            </a:extLst>
          </p:cNvPr>
          <p:cNvSpPr>
            <a:spLocks noGrp="1"/>
          </p:cNvSpPr>
          <p:nvPr>
            <p:ph type="body" sz="quarter" idx="18" hasCustomPrompt="1"/>
          </p:nvPr>
        </p:nvSpPr>
        <p:spPr>
          <a:xfrm>
            <a:off x="12191206" y="5129214"/>
            <a:ext cx="10516084" cy="6904512"/>
          </a:xfrm>
        </p:spPr>
        <p:txBody>
          <a:bodyPr>
            <a:noAutofit/>
          </a:bodyPr>
          <a:lstStyle>
            <a:lvl1pPr>
              <a:spcBef>
                <a:spcPts val="2000"/>
              </a:spcBef>
              <a:defRPr sz="3200"/>
            </a:lvl1pPr>
          </a:lstStyle>
          <a:p>
            <a:pPr lvl="0"/>
            <a:r>
              <a:rPr lang="en-GB" noProof="0"/>
              <a:t>Put the paragraph text here, keep it regular 32 </a:t>
            </a:r>
            <a:r>
              <a:rPr lang="en-GB" noProof="0" err="1"/>
              <a:t>pt</a:t>
            </a:r>
            <a:endParaRPr lang="en-GB" noProof="0"/>
          </a:p>
        </p:txBody>
      </p:sp>
      <p:sp>
        <p:nvSpPr>
          <p:cNvPr id="13" name="Title 1">
            <a:extLst>
              <a:ext uri="{FF2B5EF4-FFF2-40B4-BE49-F238E27FC236}">
                <a16:creationId xmlns:a16="http://schemas.microsoft.com/office/drawing/2014/main" id="{0614539B-EA7E-5F48-845E-1115C11137DF}"/>
              </a:ext>
            </a:extLst>
          </p:cNvPr>
          <p:cNvSpPr>
            <a:spLocks noGrp="1"/>
          </p:cNvSpPr>
          <p:nvPr>
            <p:ph type="title" hasCustomPrompt="1"/>
          </p:nvPr>
        </p:nvSpPr>
        <p:spPr>
          <a:xfrm>
            <a:off x="12193171" y="1677600"/>
            <a:ext cx="10514914" cy="3011660"/>
          </a:xfrm>
        </p:spPr>
        <p:txBody>
          <a:bodyPr/>
          <a:lstStyle/>
          <a:p>
            <a:r>
              <a:rPr lang="en-GB"/>
              <a:t>Put the headline here, keep it 80 </a:t>
            </a:r>
            <a:r>
              <a:rPr lang="en-GB" err="1"/>
              <a:t>pt</a:t>
            </a:r>
            <a:endParaRPr lang="en-NL"/>
          </a:p>
        </p:txBody>
      </p:sp>
      <p:sp>
        <p:nvSpPr>
          <p:cNvPr id="4" name="Footer Placeholder 3">
            <a:extLst>
              <a:ext uri="{FF2B5EF4-FFF2-40B4-BE49-F238E27FC236}">
                <a16:creationId xmlns:a16="http://schemas.microsoft.com/office/drawing/2014/main" id="{CB40AB27-22C2-8049-AEFA-EC9ADA9C74F8}"/>
              </a:ext>
            </a:extLst>
          </p:cNvPr>
          <p:cNvSpPr>
            <a:spLocks noGrp="1"/>
          </p:cNvSpPr>
          <p:nvPr>
            <p:ph type="ftr" sz="quarter" idx="19"/>
          </p:nvPr>
        </p:nvSpPr>
        <p:spPr/>
        <p:txBody>
          <a:bodyPr/>
          <a:lstStyle/>
          <a:p>
            <a:endParaRPr lang="en-NL"/>
          </a:p>
        </p:txBody>
      </p:sp>
      <p:sp>
        <p:nvSpPr>
          <p:cNvPr id="11" name="TextBox 10">
            <a:extLst>
              <a:ext uri="{FF2B5EF4-FFF2-40B4-BE49-F238E27FC236}">
                <a16:creationId xmlns:a16="http://schemas.microsoft.com/office/drawing/2014/main" id="{5D320D55-E281-9946-A96D-D7865543B7DC}"/>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23212226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Statement 1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6070602" y="3402014"/>
            <a:ext cx="12241213" cy="6911976"/>
          </a:xfrm>
          <a:prstGeom prst="rect">
            <a:avLst/>
          </a:prstGeom>
          <a:solidFill>
            <a:schemeClr val="bg1"/>
          </a:solidFill>
        </p:spPr>
        <p:txBody>
          <a:bodyPr vert="horz" lIns="900000" tIns="360000" rIns="360000" bIns="360000" rtlCol="0" anchor="ctr">
            <a:noAutofit/>
          </a:bodyPr>
          <a:lstStyle>
            <a:lvl1pPr>
              <a:defRPr sz="6000" b="1" spc="0" baseline="0"/>
            </a:lvl1pPr>
          </a:lstStyle>
          <a:p>
            <a:r>
              <a:rPr lang="en-GB" noProof="0"/>
              <a:t>Put a short statement here, keep it regular 60 </a:t>
            </a:r>
            <a:r>
              <a:rPr lang="en-GB" noProof="0" err="1"/>
              <a:t>pt</a:t>
            </a:r>
            <a:endParaRPr lang="en-GB" noProof="0"/>
          </a:p>
        </p:txBody>
      </p:sp>
      <p:sp>
        <p:nvSpPr>
          <p:cNvPr id="4" name="Footer Placeholder 3">
            <a:extLst>
              <a:ext uri="{FF2B5EF4-FFF2-40B4-BE49-F238E27FC236}">
                <a16:creationId xmlns:a16="http://schemas.microsoft.com/office/drawing/2014/main" id="{4D585EBC-728D-F748-BD9C-1622617E10E7}"/>
              </a:ext>
            </a:extLst>
          </p:cNvPr>
          <p:cNvSpPr>
            <a:spLocks noGrp="1"/>
          </p:cNvSpPr>
          <p:nvPr>
            <p:ph type="ftr" sz="quarter" idx="15"/>
          </p:nvPr>
        </p:nvSpPr>
        <p:spPr/>
        <p:txBody>
          <a:bodyPr/>
          <a:lstStyle/>
          <a:p>
            <a:endParaRPr lang="en-NL"/>
          </a:p>
        </p:txBody>
      </p:sp>
    </p:spTree>
    <p:extLst>
      <p:ext uri="{BB962C8B-B14F-4D97-AF65-F5344CB8AC3E}">
        <p14:creationId xmlns:p14="http://schemas.microsoft.com/office/powerpoint/2010/main" val="361531054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Statement 1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6070602" y="3402014"/>
            <a:ext cx="12241213" cy="6911976"/>
          </a:xfrm>
          <a:prstGeom prst="rect">
            <a:avLst/>
          </a:prstGeom>
          <a:solidFill>
            <a:schemeClr val="bg1"/>
          </a:solidFill>
        </p:spPr>
        <p:txBody>
          <a:bodyPr vert="horz" lIns="900000" tIns="360000" rIns="360000" bIns="360000" rtlCol="0" anchor="ctr">
            <a:noAutofit/>
          </a:bodyPr>
          <a:lstStyle>
            <a:lvl1pPr>
              <a:defRPr sz="6000" b="1" spc="0" baseline="0"/>
            </a:lvl1pPr>
          </a:lstStyle>
          <a:p>
            <a:r>
              <a:rPr lang="en-GB" noProof="0"/>
              <a:t>Put a short statement here, keep it regular 60 </a:t>
            </a:r>
            <a:r>
              <a:rPr lang="en-GB" noProof="0" err="1"/>
              <a:t>pt</a:t>
            </a:r>
            <a:endParaRPr lang="en-GB" noProof="0"/>
          </a:p>
        </p:txBody>
      </p:sp>
      <p:sp>
        <p:nvSpPr>
          <p:cNvPr id="4" name="Footer Placeholder 3">
            <a:extLst>
              <a:ext uri="{FF2B5EF4-FFF2-40B4-BE49-F238E27FC236}">
                <a16:creationId xmlns:a16="http://schemas.microsoft.com/office/drawing/2014/main" id="{4D585EBC-728D-F748-BD9C-1622617E10E7}"/>
              </a:ext>
            </a:extLst>
          </p:cNvPr>
          <p:cNvSpPr>
            <a:spLocks noGrp="1"/>
          </p:cNvSpPr>
          <p:nvPr>
            <p:ph type="ftr" sz="quarter" idx="15"/>
          </p:nvPr>
        </p:nvSpPr>
        <p:spPr/>
        <p:txBody>
          <a:bodyPr/>
          <a:lstStyle/>
          <a:p>
            <a:endParaRPr lang="en-NL"/>
          </a:p>
        </p:txBody>
      </p:sp>
      <p:sp>
        <p:nvSpPr>
          <p:cNvPr id="8" name="TextBox 7">
            <a:extLst>
              <a:ext uri="{FF2B5EF4-FFF2-40B4-BE49-F238E27FC236}">
                <a16:creationId xmlns:a16="http://schemas.microsoft.com/office/drawing/2014/main" id="{5F6D9EA7-3CF9-7B43-B287-97692C1A4E03}"/>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84679255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tatement 2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3088132" y="3402014"/>
            <a:ext cx="9102282" cy="6911976"/>
          </a:xfrm>
          <a:prstGeom prst="rect">
            <a:avLst/>
          </a:prstGeom>
          <a:solidFill>
            <a:schemeClr val="bg1"/>
          </a:solidFill>
        </p:spPr>
        <p:txBody>
          <a:bodyPr vert="horz" lIns="720000" tIns="360000" rIns="360000" bIns="360000" rtlCol="0" anchor="ctr">
            <a:noAutofit/>
          </a:bodyPr>
          <a:lstStyle>
            <a:lvl1pPr>
              <a:defRPr sz="6000" b="0" spc="0" baseline="0"/>
            </a:lvl1pPr>
          </a:lstStyle>
          <a:p>
            <a:r>
              <a:rPr lang="en-GB" noProof="0"/>
              <a:t>Put a long statement here, keep it regular 60 </a:t>
            </a:r>
            <a:r>
              <a:rPr lang="en-GB" noProof="0" err="1"/>
              <a:t>pt</a:t>
            </a:r>
            <a:endParaRPr lang="en-GB" noProof="0"/>
          </a:p>
        </p:txBody>
      </p:sp>
      <p:sp>
        <p:nvSpPr>
          <p:cNvPr id="4" name="Footer Placeholder 3">
            <a:extLst>
              <a:ext uri="{FF2B5EF4-FFF2-40B4-BE49-F238E27FC236}">
                <a16:creationId xmlns:a16="http://schemas.microsoft.com/office/drawing/2014/main" id="{F698052A-206B-8B44-B965-9B18AA398EAF}"/>
              </a:ext>
            </a:extLst>
          </p:cNvPr>
          <p:cNvSpPr>
            <a:spLocks noGrp="1"/>
          </p:cNvSpPr>
          <p:nvPr>
            <p:ph type="ftr" sz="quarter" idx="15"/>
          </p:nvPr>
        </p:nvSpPr>
        <p:spPr/>
        <p:txBody>
          <a:bodyPr/>
          <a:lstStyle/>
          <a:p>
            <a:endParaRPr lang="en-NL"/>
          </a:p>
        </p:txBody>
      </p:sp>
      <p:sp>
        <p:nvSpPr>
          <p:cNvPr id="8" name="TextBox 7">
            <a:extLst>
              <a:ext uri="{FF2B5EF4-FFF2-40B4-BE49-F238E27FC236}">
                <a16:creationId xmlns:a16="http://schemas.microsoft.com/office/drawing/2014/main" id="{6717F6DA-71F4-F94F-A4FF-3581F301E2A5}"/>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8842518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Statement 3 on simple background">
    <p:bg>
      <p:bgPr>
        <a:solidFill>
          <a:schemeClr val="bg1"/>
        </a:solidFill>
        <a:effectLst/>
      </p:bgPr>
    </p:bg>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12191207" y="3402014"/>
            <a:ext cx="9144795" cy="6911976"/>
          </a:xfrm>
          <a:prstGeom prst="rect">
            <a:avLst/>
          </a:prstGeom>
          <a:solidFill>
            <a:schemeClr val="bg1"/>
          </a:solidFill>
        </p:spPr>
        <p:txBody>
          <a:bodyPr vert="horz" lIns="720000" tIns="360000" rIns="360000" bIns="360000" rtlCol="0" anchor="ctr">
            <a:noAutofit/>
          </a:bodyPr>
          <a:lstStyle>
            <a:lvl1pPr>
              <a:defRPr sz="4000" b="0" spc="0" baseline="0"/>
            </a:lvl1pPr>
          </a:lstStyle>
          <a:p>
            <a:r>
              <a:rPr lang="en-GB" noProof="0"/>
              <a:t>Put a long statement or a quote here, keep it regular 40 </a:t>
            </a:r>
            <a:r>
              <a:rPr lang="en-GB" noProof="0" err="1"/>
              <a:t>pt</a:t>
            </a:r>
            <a:endParaRPr lang="en-GB" noProof="0"/>
          </a:p>
        </p:txBody>
      </p:sp>
      <p:sp>
        <p:nvSpPr>
          <p:cNvPr id="4" name="Footer Placeholder 3">
            <a:extLst>
              <a:ext uri="{FF2B5EF4-FFF2-40B4-BE49-F238E27FC236}">
                <a16:creationId xmlns:a16="http://schemas.microsoft.com/office/drawing/2014/main" id="{F08AE3EC-F985-214A-B20E-84BB4377F356}"/>
              </a:ext>
            </a:extLst>
          </p:cNvPr>
          <p:cNvSpPr>
            <a:spLocks noGrp="1"/>
          </p:cNvSpPr>
          <p:nvPr>
            <p:ph type="ftr" sz="quarter" idx="15"/>
          </p:nvPr>
        </p:nvSpPr>
        <p:spPr/>
        <p:txBody>
          <a:bodyPr/>
          <a:lstStyle/>
          <a:p>
            <a:endParaRPr lang="en-NL"/>
          </a:p>
        </p:txBody>
      </p:sp>
      <p:sp>
        <p:nvSpPr>
          <p:cNvPr id="8" name="TextBox 7">
            <a:extLst>
              <a:ext uri="{FF2B5EF4-FFF2-40B4-BE49-F238E27FC236}">
                <a16:creationId xmlns:a16="http://schemas.microsoft.com/office/drawing/2014/main" id="{0FE629E5-989E-6549-877B-8C45333B32D6}"/>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42475409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Statement 1 on double background">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2E196F3F-0661-674B-B21B-282CCEADCBCE}"/>
              </a:ext>
            </a:extLst>
          </p:cNvPr>
          <p:cNvSpPr>
            <a:spLocks noGrp="1"/>
          </p:cNvSpPr>
          <p:nvPr>
            <p:ph type="pic" sz="quarter" idx="16" hasCustomPrompt="1"/>
          </p:nvPr>
        </p:nvSpPr>
        <p:spPr>
          <a:xfrm>
            <a:off x="12190414" y="486000"/>
            <a:ext cx="11700792"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n inspirational picture into this frame. Or fill with one of the Theme Colours</a:t>
            </a:r>
          </a:p>
        </p:txBody>
      </p:sp>
      <p:sp>
        <p:nvSpPr>
          <p:cNvPr id="5" name="Picture Placeholder 10">
            <a:extLst>
              <a:ext uri="{FF2B5EF4-FFF2-40B4-BE49-F238E27FC236}">
                <a16:creationId xmlns:a16="http://schemas.microsoft.com/office/drawing/2014/main" id="{5B5B688F-CD11-F649-AE9F-1EA4B9BFBD36}"/>
              </a:ext>
            </a:extLst>
          </p:cNvPr>
          <p:cNvSpPr>
            <a:spLocks noGrp="1"/>
          </p:cNvSpPr>
          <p:nvPr>
            <p:ph type="pic" sz="quarter" idx="14" hasCustomPrompt="1"/>
          </p:nvPr>
        </p:nvSpPr>
        <p:spPr>
          <a:xfrm>
            <a:off x="491207" y="486000"/>
            <a:ext cx="11700000" cy="12744000"/>
          </a:xfrm>
          <a:solidFill>
            <a:schemeClr val="bg1">
              <a:lumMod val="8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12" name="Title Placeholder 6">
            <a:extLst>
              <a:ext uri="{FF2B5EF4-FFF2-40B4-BE49-F238E27FC236}">
                <a16:creationId xmlns:a16="http://schemas.microsoft.com/office/drawing/2014/main" id="{B5F9B5C8-F89C-E34D-8C66-AF5259DBF688}"/>
              </a:ext>
            </a:extLst>
          </p:cNvPr>
          <p:cNvSpPr>
            <a:spLocks noGrp="1"/>
          </p:cNvSpPr>
          <p:nvPr>
            <p:ph type="title" hasCustomPrompt="1"/>
          </p:nvPr>
        </p:nvSpPr>
        <p:spPr>
          <a:xfrm>
            <a:off x="9179812" y="1673226"/>
            <a:ext cx="9132002" cy="8640764"/>
          </a:xfrm>
          <a:prstGeom prst="rect">
            <a:avLst/>
          </a:prstGeom>
          <a:solidFill>
            <a:schemeClr val="bg1"/>
          </a:solidFill>
        </p:spPr>
        <p:txBody>
          <a:bodyPr vert="horz" lIns="720000" tIns="360000" rIns="360000" bIns="360000" rtlCol="0" anchor="ctr">
            <a:noAutofit/>
          </a:bodyPr>
          <a:lstStyle>
            <a:lvl1pPr>
              <a:defRPr sz="4000" b="0" spc="0" baseline="0"/>
            </a:lvl1pPr>
          </a:lstStyle>
          <a:p>
            <a:r>
              <a:rPr lang="en-GB" noProof="0"/>
              <a:t>Put a long statement or a quote here, keep it regular 40 </a:t>
            </a:r>
            <a:r>
              <a:rPr lang="en-GB" noProof="0" err="1"/>
              <a:t>pt</a:t>
            </a:r>
            <a:endParaRPr lang="en-GB" noProof="0"/>
          </a:p>
        </p:txBody>
      </p:sp>
      <p:sp>
        <p:nvSpPr>
          <p:cNvPr id="3" name="Footer Placeholder 2">
            <a:extLst>
              <a:ext uri="{FF2B5EF4-FFF2-40B4-BE49-F238E27FC236}">
                <a16:creationId xmlns:a16="http://schemas.microsoft.com/office/drawing/2014/main" id="{50DDB570-67BE-EB4D-A534-19942E8D0F02}"/>
              </a:ext>
            </a:extLst>
          </p:cNvPr>
          <p:cNvSpPr>
            <a:spLocks noGrp="1"/>
          </p:cNvSpPr>
          <p:nvPr>
            <p:ph type="ftr" sz="quarter" idx="17"/>
          </p:nvPr>
        </p:nvSpPr>
        <p:spPr/>
        <p:txBody>
          <a:bodyPr/>
          <a:lstStyle/>
          <a:p>
            <a:endParaRPr lang="en-NL"/>
          </a:p>
        </p:txBody>
      </p:sp>
      <p:sp>
        <p:nvSpPr>
          <p:cNvPr id="8" name="TextBox 7">
            <a:extLst>
              <a:ext uri="{FF2B5EF4-FFF2-40B4-BE49-F238E27FC236}">
                <a16:creationId xmlns:a16="http://schemas.microsoft.com/office/drawing/2014/main" id="{EEDCEF97-2600-484D-BCF3-2F9C6FC44F07}"/>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3004620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Statement 2 on double background">
    <p:bg>
      <p:bgPr>
        <a:solidFill>
          <a:schemeClr val="bg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31FA6885-927C-7B4C-8BD0-54E7A0823B52}"/>
              </a:ext>
            </a:extLst>
          </p:cNvPr>
          <p:cNvSpPr>
            <a:spLocks noGrp="1"/>
          </p:cNvSpPr>
          <p:nvPr>
            <p:ph type="pic" sz="quarter" idx="16" hasCustomPrompt="1"/>
          </p:nvPr>
        </p:nvSpPr>
        <p:spPr>
          <a:xfrm>
            <a:off x="6049095" y="486000"/>
            <a:ext cx="17842113"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n inspirational picture into this frame. Or fill with one of the Theme Colours</a:t>
            </a:r>
          </a:p>
        </p:txBody>
      </p:sp>
      <p:sp>
        <p:nvSpPr>
          <p:cNvPr id="9" name="Picture Placeholder 10">
            <a:extLst>
              <a:ext uri="{FF2B5EF4-FFF2-40B4-BE49-F238E27FC236}">
                <a16:creationId xmlns:a16="http://schemas.microsoft.com/office/drawing/2014/main" id="{ADB4BA95-E492-D840-88F6-2FE23D26918D}"/>
              </a:ext>
            </a:extLst>
          </p:cNvPr>
          <p:cNvSpPr>
            <a:spLocks noGrp="1"/>
          </p:cNvSpPr>
          <p:nvPr>
            <p:ph type="pic" sz="quarter" idx="14" hasCustomPrompt="1"/>
          </p:nvPr>
        </p:nvSpPr>
        <p:spPr>
          <a:xfrm>
            <a:off x="491206" y="486000"/>
            <a:ext cx="11699207" cy="12744000"/>
          </a:xfrm>
          <a:prstGeom prst="corner">
            <a:avLst>
              <a:gd name="adj1" fmla="val 25065"/>
              <a:gd name="adj2" fmla="val 47348"/>
            </a:avLst>
          </a:prstGeom>
          <a:solidFill>
            <a:schemeClr val="bg1">
              <a:lumMod val="8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a:t>
            </a:r>
          </a:p>
        </p:txBody>
      </p:sp>
      <p:sp>
        <p:nvSpPr>
          <p:cNvPr id="7" name="Title Placeholder 6">
            <a:extLst>
              <a:ext uri="{FF2B5EF4-FFF2-40B4-BE49-F238E27FC236}">
                <a16:creationId xmlns:a16="http://schemas.microsoft.com/office/drawing/2014/main" id="{1B090AE2-5953-9248-BD9A-B5FA2155AD8A}"/>
              </a:ext>
            </a:extLst>
          </p:cNvPr>
          <p:cNvSpPr>
            <a:spLocks noGrp="1"/>
          </p:cNvSpPr>
          <p:nvPr>
            <p:ph type="title" hasCustomPrompt="1"/>
          </p:nvPr>
        </p:nvSpPr>
        <p:spPr>
          <a:xfrm>
            <a:off x="6049095" y="3402014"/>
            <a:ext cx="12284224" cy="6911976"/>
          </a:xfrm>
          <a:prstGeom prst="rect">
            <a:avLst/>
          </a:prstGeom>
          <a:solidFill>
            <a:schemeClr val="bg1"/>
          </a:solidFill>
        </p:spPr>
        <p:txBody>
          <a:bodyPr vert="horz" lIns="720000" tIns="360000" rIns="360000" bIns="360000" rtlCol="0" anchor="ctr">
            <a:noAutofit/>
          </a:bodyPr>
          <a:lstStyle>
            <a:lvl1pPr>
              <a:defRPr/>
            </a:lvl1pPr>
          </a:lstStyle>
          <a:p>
            <a:r>
              <a:rPr lang="en-GB" noProof="0"/>
              <a:t>Put a short statement here, keep it bold 80 </a:t>
            </a:r>
            <a:r>
              <a:rPr lang="en-GB" noProof="0" err="1"/>
              <a:t>pt</a:t>
            </a:r>
            <a:endParaRPr lang="en-GB" noProof="0"/>
          </a:p>
        </p:txBody>
      </p:sp>
      <p:sp>
        <p:nvSpPr>
          <p:cNvPr id="3" name="Footer Placeholder 2">
            <a:extLst>
              <a:ext uri="{FF2B5EF4-FFF2-40B4-BE49-F238E27FC236}">
                <a16:creationId xmlns:a16="http://schemas.microsoft.com/office/drawing/2014/main" id="{23AF250D-036E-9947-B629-124D8B6FF87C}"/>
              </a:ext>
            </a:extLst>
          </p:cNvPr>
          <p:cNvSpPr>
            <a:spLocks noGrp="1"/>
          </p:cNvSpPr>
          <p:nvPr>
            <p:ph type="ftr" sz="quarter" idx="17"/>
          </p:nvPr>
        </p:nvSpPr>
        <p:spPr/>
        <p:txBody>
          <a:bodyPr/>
          <a:lstStyle/>
          <a:p>
            <a:endParaRPr lang="en-NL"/>
          </a:p>
        </p:txBody>
      </p:sp>
      <p:sp>
        <p:nvSpPr>
          <p:cNvPr id="8" name="TextBox 7">
            <a:extLst>
              <a:ext uri="{FF2B5EF4-FFF2-40B4-BE49-F238E27FC236}">
                <a16:creationId xmlns:a16="http://schemas.microsoft.com/office/drawing/2014/main" id="{EA23A869-D63F-9145-B2E7-DAF3BC84C059}"/>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30451827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ext in three columns">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F48D91E-AB60-4041-B4FC-3E50759777E5}"/>
              </a:ext>
            </a:extLst>
          </p:cNvPr>
          <p:cNvSpPr>
            <a:spLocks noGrp="1"/>
          </p:cNvSpPr>
          <p:nvPr>
            <p:ph type="title" hasCustomPrompt="1"/>
          </p:nvPr>
        </p:nvSpPr>
        <p:spPr>
          <a:xfrm>
            <a:off x="1676293" y="1677600"/>
            <a:ext cx="21033007" cy="3011660"/>
          </a:xfrm>
        </p:spPr>
        <p:txBody>
          <a:bodyPr/>
          <a:lstStyle/>
          <a:p>
            <a:r>
              <a:rPr lang="en-GB"/>
              <a:t>Put the headline here,</a:t>
            </a:r>
            <a:br>
              <a:rPr lang="en-GB"/>
            </a:br>
            <a:r>
              <a:rPr lang="en-GB"/>
              <a:t>keep it bold 80 </a:t>
            </a:r>
            <a:r>
              <a:rPr lang="en-GB" err="1"/>
              <a:t>pt</a:t>
            </a:r>
            <a:endParaRPr lang="en-NL"/>
          </a:p>
        </p:txBody>
      </p:sp>
      <p:sp>
        <p:nvSpPr>
          <p:cNvPr id="19" name="Text Placeholder 3">
            <a:extLst>
              <a:ext uri="{FF2B5EF4-FFF2-40B4-BE49-F238E27FC236}">
                <a16:creationId xmlns:a16="http://schemas.microsoft.com/office/drawing/2014/main" id="{292A3CC4-2948-634E-A9F0-D2126C8DA330}"/>
              </a:ext>
            </a:extLst>
          </p:cNvPr>
          <p:cNvSpPr>
            <a:spLocks noGrp="1"/>
          </p:cNvSpPr>
          <p:nvPr>
            <p:ph type="body" sz="quarter" idx="21" hasCustomPrompt="1"/>
          </p:nvPr>
        </p:nvSpPr>
        <p:spPr>
          <a:xfrm>
            <a:off x="9166226" y="5129214"/>
            <a:ext cx="6049964" cy="6904512"/>
          </a:xfrm>
        </p:spPr>
        <p:txBody>
          <a:bodyPr>
            <a:noAutofit/>
          </a:bodyPr>
          <a:lstStyle>
            <a:lvl1pPr marL="342883" indent="-342883">
              <a:spcBef>
                <a:spcPts val="2000"/>
              </a:spcBef>
              <a:buFont typeface="Arial" panose="020B0604020202020204" pitchFamily="34" charset="0"/>
              <a:buChar char="•"/>
              <a:defRPr sz="2400"/>
            </a:lvl1pPr>
          </a:lstStyle>
          <a:p>
            <a:pPr lvl="0"/>
            <a:r>
              <a:rPr lang="en-GB" noProof="0"/>
              <a:t>Put the second column list here, keep it regular 24 </a:t>
            </a:r>
            <a:r>
              <a:rPr lang="en-GB" noProof="0" err="1"/>
              <a:t>pt</a:t>
            </a:r>
            <a:endParaRPr lang="en-GB" noProof="0"/>
          </a:p>
        </p:txBody>
      </p:sp>
      <p:sp>
        <p:nvSpPr>
          <p:cNvPr id="20" name="Text Placeholder 3">
            <a:extLst>
              <a:ext uri="{FF2B5EF4-FFF2-40B4-BE49-F238E27FC236}">
                <a16:creationId xmlns:a16="http://schemas.microsoft.com/office/drawing/2014/main" id="{B772D797-9E99-7B44-81B1-A91F96DFFAD6}"/>
              </a:ext>
            </a:extLst>
          </p:cNvPr>
          <p:cNvSpPr>
            <a:spLocks noGrp="1"/>
          </p:cNvSpPr>
          <p:nvPr>
            <p:ph type="body" sz="quarter" idx="22" hasCustomPrompt="1"/>
          </p:nvPr>
        </p:nvSpPr>
        <p:spPr>
          <a:xfrm>
            <a:off x="1676292" y="5129214"/>
            <a:ext cx="6049964" cy="6904512"/>
          </a:xfrm>
        </p:spPr>
        <p:txBody>
          <a:bodyPr>
            <a:noAutofit/>
          </a:bodyPr>
          <a:lstStyle>
            <a:lvl1pPr marL="342883" indent="-342883">
              <a:spcBef>
                <a:spcPts val="2000"/>
              </a:spcBef>
              <a:buFont typeface="Arial" panose="020B0604020202020204" pitchFamily="34" charset="0"/>
              <a:buChar char="•"/>
              <a:defRPr sz="2400"/>
            </a:lvl1pPr>
          </a:lstStyle>
          <a:p>
            <a:pPr lvl="0"/>
            <a:r>
              <a:rPr lang="en-GB" noProof="0"/>
              <a:t>Put the first column list here, keep it regular 24 </a:t>
            </a:r>
            <a:r>
              <a:rPr lang="en-GB" noProof="0" err="1"/>
              <a:t>pt</a:t>
            </a:r>
            <a:endParaRPr lang="en-GB" noProof="0"/>
          </a:p>
        </p:txBody>
      </p:sp>
      <p:sp>
        <p:nvSpPr>
          <p:cNvPr id="21" name="Text Placeholder 3">
            <a:extLst>
              <a:ext uri="{FF2B5EF4-FFF2-40B4-BE49-F238E27FC236}">
                <a16:creationId xmlns:a16="http://schemas.microsoft.com/office/drawing/2014/main" id="{EA077ACA-637D-0643-8E1E-31E31C902655}"/>
              </a:ext>
            </a:extLst>
          </p:cNvPr>
          <p:cNvSpPr>
            <a:spLocks noGrp="1"/>
          </p:cNvSpPr>
          <p:nvPr>
            <p:ph type="body" sz="quarter" idx="23" hasCustomPrompt="1"/>
          </p:nvPr>
        </p:nvSpPr>
        <p:spPr>
          <a:xfrm>
            <a:off x="16656159" y="5129214"/>
            <a:ext cx="6049964" cy="6904512"/>
          </a:xfrm>
        </p:spPr>
        <p:txBody>
          <a:bodyPr>
            <a:noAutofit/>
          </a:bodyPr>
          <a:lstStyle>
            <a:lvl1pPr marL="342883" indent="-342883">
              <a:spcBef>
                <a:spcPts val="2000"/>
              </a:spcBef>
              <a:buFont typeface="Arial" panose="020B0604020202020204" pitchFamily="34" charset="0"/>
              <a:buChar char="•"/>
              <a:defRPr sz="2400"/>
            </a:lvl1pPr>
          </a:lstStyle>
          <a:p>
            <a:pPr lvl="0"/>
            <a:r>
              <a:rPr lang="en-GB" noProof="0"/>
              <a:t>Put the third column list here, keep it regular 24 </a:t>
            </a:r>
            <a:r>
              <a:rPr lang="en-GB" noProof="0" err="1"/>
              <a:t>pt</a:t>
            </a:r>
            <a:endParaRPr lang="en-GB" noProof="0"/>
          </a:p>
        </p:txBody>
      </p:sp>
      <p:sp>
        <p:nvSpPr>
          <p:cNvPr id="4" name="Footer Placeholder 3">
            <a:extLst>
              <a:ext uri="{FF2B5EF4-FFF2-40B4-BE49-F238E27FC236}">
                <a16:creationId xmlns:a16="http://schemas.microsoft.com/office/drawing/2014/main" id="{9F259679-D8E8-0F42-BB59-3BCBFC65EB1B}"/>
              </a:ext>
            </a:extLst>
          </p:cNvPr>
          <p:cNvSpPr>
            <a:spLocks noGrp="1"/>
          </p:cNvSpPr>
          <p:nvPr>
            <p:ph type="ftr" sz="quarter" idx="24"/>
          </p:nvPr>
        </p:nvSpPr>
        <p:spPr/>
        <p:txBody>
          <a:bodyPr/>
          <a:lstStyle/>
          <a:p>
            <a:endParaRPr lang="en-NL"/>
          </a:p>
        </p:txBody>
      </p:sp>
      <p:sp>
        <p:nvSpPr>
          <p:cNvPr id="10" name="TextBox 9">
            <a:extLst>
              <a:ext uri="{FF2B5EF4-FFF2-40B4-BE49-F238E27FC236}">
                <a16:creationId xmlns:a16="http://schemas.microsoft.com/office/drawing/2014/main" id="{F6C0470B-F20E-A142-917D-853951DA8234}"/>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3085732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headline and number 1">
    <p:bg>
      <p:bgPr>
        <a:solidFill>
          <a:schemeClr val="bg1"/>
        </a:solidFill>
        <a:effectLst/>
      </p:bgPr>
    </p:bg>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FBC26CA4-EB48-1543-B2BB-C8B879012FEC}"/>
              </a:ext>
            </a:extLst>
          </p:cNvPr>
          <p:cNvSpPr>
            <a:spLocks noGrp="1"/>
          </p:cNvSpPr>
          <p:nvPr>
            <p:ph type="pic" sz="quarter" idx="14" hasCustomPrompt="1"/>
          </p:nvPr>
        </p:nvSpPr>
        <p:spPr>
          <a:xfrm>
            <a:off x="491206" y="486000"/>
            <a:ext cx="23400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Fill this frame with one of the Theme Colours. Or drag and drop a background image into this frame</a:t>
            </a:r>
          </a:p>
        </p:txBody>
      </p:sp>
      <p:sp>
        <p:nvSpPr>
          <p:cNvPr id="15" name="Text Placeholder 4">
            <a:extLst>
              <a:ext uri="{FF2B5EF4-FFF2-40B4-BE49-F238E27FC236}">
                <a16:creationId xmlns:a16="http://schemas.microsoft.com/office/drawing/2014/main" id="{D692063E-373D-9A4C-B3F2-4CED294F18A0}"/>
              </a:ext>
            </a:extLst>
          </p:cNvPr>
          <p:cNvSpPr>
            <a:spLocks noGrp="1"/>
          </p:cNvSpPr>
          <p:nvPr>
            <p:ph type="body" sz="quarter" idx="11" hasCustomPrompt="1"/>
          </p:nvPr>
        </p:nvSpPr>
        <p:spPr>
          <a:xfrm>
            <a:off x="3066645" y="3402013"/>
            <a:ext cx="6113167" cy="6911975"/>
          </a:xfrm>
          <a:solidFill>
            <a:schemeClr val="bg1"/>
          </a:solidFill>
        </p:spPr>
        <p:txBody>
          <a:bodyPr anchor="ctr" anchorCtr="0">
            <a:noAutofit/>
          </a:bodyPr>
          <a:lstStyle>
            <a:lvl1pPr marL="0" indent="0" algn="ctr">
              <a:buNone/>
              <a:defRPr sz="30000" b="1" spc="-600" baseline="0">
                <a:ln>
                  <a:noFill/>
                </a:ln>
                <a:solidFill>
                  <a:schemeClr val="tx1"/>
                </a:solidFill>
              </a:defRPr>
            </a:lvl1pPr>
          </a:lstStyle>
          <a:p>
            <a:pPr lvl="0"/>
            <a:r>
              <a:rPr lang="en-GB" noProof="0"/>
              <a:t>#</a:t>
            </a:r>
          </a:p>
        </p:txBody>
      </p:sp>
      <p:sp>
        <p:nvSpPr>
          <p:cNvPr id="9" name="Title Placeholder 6">
            <a:extLst>
              <a:ext uri="{FF2B5EF4-FFF2-40B4-BE49-F238E27FC236}">
                <a16:creationId xmlns:a16="http://schemas.microsoft.com/office/drawing/2014/main" id="{8EE4B79D-13C4-D44B-B7EA-5A90670CE600}"/>
              </a:ext>
            </a:extLst>
          </p:cNvPr>
          <p:cNvSpPr>
            <a:spLocks noGrp="1"/>
          </p:cNvSpPr>
          <p:nvPr>
            <p:ph type="title" hasCustomPrompt="1"/>
          </p:nvPr>
        </p:nvSpPr>
        <p:spPr>
          <a:xfrm>
            <a:off x="9166225" y="3402013"/>
            <a:ext cx="12169775" cy="6911975"/>
          </a:xfrm>
          <a:prstGeom prst="rect">
            <a:avLst/>
          </a:prstGeom>
          <a:solidFill>
            <a:schemeClr val="bg1"/>
          </a:solidFill>
        </p:spPr>
        <p:txBody>
          <a:bodyPr vert="horz" lIns="360000" tIns="360000" rIns="360000" bIns="36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1A1CBB60-7354-0F46-A5EC-2B7F347405A8}"/>
              </a:ext>
            </a:extLst>
          </p:cNvPr>
          <p:cNvSpPr>
            <a:spLocks noGrp="1"/>
          </p:cNvSpPr>
          <p:nvPr>
            <p:ph type="ftr" sz="quarter" idx="15"/>
          </p:nvPr>
        </p:nvSpPr>
        <p:spPr/>
        <p:txBody>
          <a:bodyPr/>
          <a:lstStyle/>
          <a:p>
            <a:endParaRPr lang="en-NL"/>
          </a:p>
        </p:txBody>
      </p:sp>
      <p:sp>
        <p:nvSpPr>
          <p:cNvPr id="11" name="TextBox 10">
            <a:extLst>
              <a:ext uri="{FF2B5EF4-FFF2-40B4-BE49-F238E27FC236}">
                <a16:creationId xmlns:a16="http://schemas.microsoft.com/office/drawing/2014/main" id="{40541476-0AFC-234B-BC49-0499CC038C91}"/>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6516342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Long text in two columns and picture">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EED5078-C5D9-0E4F-B9E3-7CF7BBC8C373}"/>
              </a:ext>
            </a:extLst>
          </p:cNvPr>
          <p:cNvSpPr>
            <a:spLocks noGrp="1"/>
          </p:cNvSpPr>
          <p:nvPr>
            <p:ph type="pic" sz="quarter" idx="15" hasCustomPrompt="1"/>
          </p:nvPr>
        </p:nvSpPr>
        <p:spPr>
          <a:xfrm>
            <a:off x="491102" y="486000"/>
            <a:ext cx="10763999"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2" name="Text Placeholder 3">
            <a:extLst>
              <a:ext uri="{FF2B5EF4-FFF2-40B4-BE49-F238E27FC236}">
                <a16:creationId xmlns:a16="http://schemas.microsoft.com/office/drawing/2014/main" id="{AE87E5A1-8A67-0448-BA9A-DA74F50AE099}"/>
              </a:ext>
            </a:extLst>
          </p:cNvPr>
          <p:cNvSpPr>
            <a:spLocks noGrp="1"/>
          </p:cNvSpPr>
          <p:nvPr>
            <p:ph type="body" sz="quarter" idx="18" hasCustomPrompt="1"/>
          </p:nvPr>
        </p:nvSpPr>
        <p:spPr>
          <a:xfrm>
            <a:off x="12191206" y="5129214"/>
            <a:ext cx="5040560" cy="6904512"/>
          </a:xfrm>
        </p:spPr>
        <p:txBody>
          <a:bodyPr>
            <a:noAutofit/>
          </a:bodyPr>
          <a:lstStyle>
            <a:lvl1pPr>
              <a:spcBef>
                <a:spcPts val="2000"/>
              </a:spcBef>
              <a:defRPr sz="2400"/>
            </a:lvl1pPr>
          </a:lstStyle>
          <a:p>
            <a:pPr lvl="0"/>
            <a:r>
              <a:rPr lang="en-GB" noProof="0"/>
              <a:t>Put the first column text here, keep it regular 24 </a:t>
            </a:r>
            <a:r>
              <a:rPr lang="en-GB" noProof="0" err="1"/>
              <a:t>pt</a:t>
            </a:r>
            <a:endParaRPr lang="en-GB" noProof="0"/>
          </a:p>
        </p:txBody>
      </p:sp>
      <p:sp>
        <p:nvSpPr>
          <p:cNvPr id="13" name="Title 1">
            <a:extLst>
              <a:ext uri="{FF2B5EF4-FFF2-40B4-BE49-F238E27FC236}">
                <a16:creationId xmlns:a16="http://schemas.microsoft.com/office/drawing/2014/main" id="{0614539B-EA7E-5F48-845E-1115C11137DF}"/>
              </a:ext>
            </a:extLst>
          </p:cNvPr>
          <p:cNvSpPr>
            <a:spLocks noGrp="1"/>
          </p:cNvSpPr>
          <p:nvPr>
            <p:ph type="title" hasCustomPrompt="1"/>
          </p:nvPr>
        </p:nvSpPr>
        <p:spPr>
          <a:xfrm>
            <a:off x="12193171" y="1677600"/>
            <a:ext cx="10514914" cy="3011660"/>
          </a:xfrm>
        </p:spPr>
        <p:txBody>
          <a:bodyPr/>
          <a:lstStyle>
            <a:lvl1pPr>
              <a:defRPr sz="6000" spc="0" baseline="0"/>
            </a:lvl1pPr>
          </a:lstStyle>
          <a:p>
            <a:r>
              <a:rPr lang="en-GB"/>
              <a:t>Put the headline here, keep it 60 </a:t>
            </a:r>
            <a:r>
              <a:rPr lang="en-GB" err="1"/>
              <a:t>pt</a:t>
            </a:r>
            <a:endParaRPr lang="en-NL"/>
          </a:p>
        </p:txBody>
      </p:sp>
      <p:sp>
        <p:nvSpPr>
          <p:cNvPr id="7" name="Text Placeholder 3">
            <a:extLst>
              <a:ext uri="{FF2B5EF4-FFF2-40B4-BE49-F238E27FC236}">
                <a16:creationId xmlns:a16="http://schemas.microsoft.com/office/drawing/2014/main" id="{B26CACA4-13A0-5940-A8FA-3FC8769DA450}"/>
              </a:ext>
            </a:extLst>
          </p:cNvPr>
          <p:cNvSpPr>
            <a:spLocks noGrp="1"/>
          </p:cNvSpPr>
          <p:nvPr>
            <p:ph type="body" sz="quarter" idx="20" hasCustomPrompt="1"/>
          </p:nvPr>
        </p:nvSpPr>
        <p:spPr>
          <a:xfrm>
            <a:off x="17653543" y="5164142"/>
            <a:ext cx="5040560" cy="6904512"/>
          </a:xfrm>
        </p:spPr>
        <p:txBody>
          <a:bodyPr>
            <a:noAutofit/>
          </a:bodyPr>
          <a:lstStyle>
            <a:lvl1pPr>
              <a:spcBef>
                <a:spcPts val="2000"/>
              </a:spcBef>
              <a:defRPr sz="2400"/>
            </a:lvl1pPr>
          </a:lstStyle>
          <a:p>
            <a:pPr lvl="0"/>
            <a:r>
              <a:rPr lang="en-GB" noProof="0"/>
              <a:t>Put the second column text here, keep it regular 24 </a:t>
            </a:r>
            <a:r>
              <a:rPr lang="en-GB" noProof="0" err="1"/>
              <a:t>pt</a:t>
            </a:r>
            <a:endParaRPr lang="en-GB" noProof="0"/>
          </a:p>
        </p:txBody>
      </p:sp>
      <p:sp>
        <p:nvSpPr>
          <p:cNvPr id="4" name="Footer Placeholder 3">
            <a:extLst>
              <a:ext uri="{FF2B5EF4-FFF2-40B4-BE49-F238E27FC236}">
                <a16:creationId xmlns:a16="http://schemas.microsoft.com/office/drawing/2014/main" id="{236B4C3F-2345-FD42-B780-BD49D67130E9}"/>
              </a:ext>
            </a:extLst>
          </p:cNvPr>
          <p:cNvSpPr>
            <a:spLocks noGrp="1"/>
          </p:cNvSpPr>
          <p:nvPr>
            <p:ph type="ftr" sz="quarter" idx="21"/>
          </p:nvPr>
        </p:nvSpPr>
        <p:spPr/>
        <p:txBody>
          <a:bodyPr/>
          <a:lstStyle/>
          <a:p>
            <a:endParaRPr lang="en-NL"/>
          </a:p>
        </p:txBody>
      </p:sp>
      <p:sp>
        <p:nvSpPr>
          <p:cNvPr id="11" name="TextBox 10">
            <a:extLst>
              <a:ext uri="{FF2B5EF4-FFF2-40B4-BE49-F238E27FC236}">
                <a16:creationId xmlns:a16="http://schemas.microsoft.com/office/drawing/2014/main" id="{2C18B1BF-0727-F84E-B2A7-098862261928}"/>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46935803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Long text in three columns and picture">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9EED5078-C5D9-0E4F-B9E3-7CF7BBC8C373}"/>
              </a:ext>
            </a:extLst>
          </p:cNvPr>
          <p:cNvSpPr>
            <a:spLocks noGrp="1"/>
          </p:cNvSpPr>
          <p:nvPr>
            <p:ph type="pic" sz="quarter" idx="15" hasCustomPrompt="1"/>
          </p:nvPr>
        </p:nvSpPr>
        <p:spPr>
          <a:xfrm>
            <a:off x="491103" y="486000"/>
            <a:ext cx="5579499"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2" name="Text Placeholder 3">
            <a:extLst>
              <a:ext uri="{FF2B5EF4-FFF2-40B4-BE49-F238E27FC236}">
                <a16:creationId xmlns:a16="http://schemas.microsoft.com/office/drawing/2014/main" id="{AE87E5A1-8A67-0448-BA9A-DA74F50AE099}"/>
              </a:ext>
            </a:extLst>
          </p:cNvPr>
          <p:cNvSpPr>
            <a:spLocks noGrp="1"/>
          </p:cNvSpPr>
          <p:nvPr>
            <p:ph type="body" sz="quarter" idx="18" hasCustomPrompt="1"/>
          </p:nvPr>
        </p:nvSpPr>
        <p:spPr>
          <a:xfrm>
            <a:off x="12191206" y="5129214"/>
            <a:ext cx="5040560" cy="6904512"/>
          </a:xfrm>
        </p:spPr>
        <p:txBody>
          <a:bodyPr>
            <a:noAutofit/>
          </a:bodyPr>
          <a:lstStyle>
            <a:lvl1pPr>
              <a:spcBef>
                <a:spcPts val="2000"/>
              </a:spcBef>
              <a:defRPr sz="1600"/>
            </a:lvl1pPr>
          </a:lstStyle>
          <a:p>
            <a:pPr lvl="0"/>
            <a:r>
              <a:rPr lang="en-GB" noProof="0"/>
              <a:t>Put the body text here, keep it regular 16 </a:t>
            </a:r>
            <a:r>
              <a:rPr lang="en-GB" noProof="0" err="1"/>
              <a:t>pt</a:t>
            </a:r>
            <a:endParaRPr lang="en-GB" noProof="0"/>
          </a:p>
        </p:txBody>
      </p:sp>
      <p:sp>
        <p:nvSpPr>
          <p:cNvPr id="13" name="Title 1">
            <a:extLst>
              <a:ext uri="{FF2B5EF4-FFF2-40B4-BE49-F238E27FC236}">
                <a16:creationId xmlns:a16="http://schemas.microsoft.com/office/drawing/2014/main" id="{0614539B-EA7E-5F48-845E-1115C11137DF}"/>
              </a:ext>
            </a:extLst>
          </p:cNvPr>
          <p:cNvSpPr>
            <a:spLocks noGrp="1"/>
          </p:cNvSpPr>
          <p:nvPr>
            <p:ph type="title" hasCustomPrompt="1"/>
          </p:nvPr>
        </p:nvSpPr>
        <p:spPr>
          <a:xfrm>
            <a:off x="6728871" y="1677600"/>
            <a:ext cx="15979214" cy="3011660"/>
          </a:xfrm>
        </p:spPr>
        <p:txBody>
          <a:bodyPr/>
          <a:lstStyle>
            <a:lvl1pPr>
              <a:defRPr sz="6000" spc="0" baseline="0"/>
            </a:lvl1pPr>
          </a:lstStyle>
          <a:p>
            <a:r>
              <a:rPr lang="en-GB"/>
              <a:t>Put the headline here, </a:t>
            </a:r>
            <a:br>
              <a:rPr lang="en-GB"/>
            </a:br>
            <a:r>
              <a:rPr lang="en-GB"/>
              <a:t>keep it 60 </a:t>
            </a:r>
            <a:r>
              <a:rPr lang="en-GB" err="1"/>
              <a:t>pt</a:t>
            </a:r>
            <a:endParaRPr lang="en-NL"/>
          </a:p>
        </p:txBody>
      </p:sp>
      <p:sp>
        <p:nvSpPr>
          <p:cNvPr id="7" name="Text Placeholder 3">
            <a:extLst>
              <a:ext uri="{FF2B5EF4-FFF2-40B4-BE49-F238E27FC236}">
                <a16:creationId xmlns:a16="http://schemas.microsoft.com/office/drawing/2014/main" id="{B26CACA4-13A0-5940-A8FA-3FC8769DA450}"/>
              </a:ext>
            </a:extLst>
          </p:cNvPr>
          <p:cNvSpPr>
            <a:spLocks noGrp="1"/>
          </p:cNvSpPr>
          <p:nvPr>
            <p:ph type="body" sz="quarter" idx="20" hasCustomPrompt="1"/>
          </p:nvPr>
        </p:nvSpPr>
        <p:spPr>
          <a:xfrm>
            <a:off x="17653543" y="5164142"/>
            <a:ext cx="5040560" cy="6904512"/>
          </a:xfrm>
        </p:spPr>
        <p:txBody>
          <a:bodyPr>
            <a:noAutofit/>
          </a:bodyPr>
          <a:lstStyle>
            <a:lvl1pPr>
              <a:spcBef>
                <a:spcPts val="2000"/>
              </a:spcBef>
              <a:defRPr sz="1600"/>
            </a:lvl1pPr>
          </a:lstStyle>
          <a:p>
            <a:pPr lvl="0"/>
            <a:r>
              <a:rPr lang="en-GB" noProof="0"/>
              <a:t>Put the body text here, keep it regular 16 </a:t>
            </a:r>
            <a:r>
              <a:rPr lang="en-GB" noProof="0" err="1"/>
              <a:t>pt</a:t>
            </a:r>
            <a:endParaRPr lang="en-GB" noProof="0"/>
          </a:p>
        </p:txBody>
      </p:sp>
      <p:sp>
        <p:nvSpPr>
          <p:cNvPr id="8" name="Text Placeholder 3">
            <a:extLst>
              <a:ext uri="{FF2B5EF4-FFF2-40B4-BE49-F238E27FC236}">
                <a16:creationId xmlns:a16="http://schemas.microsoft.com/office/drawing/2014/main" id="{0C7CE63B-C4F3-714B-8275-BBB3C3035E61}"/>
              </a:ext>
            </a:extLst>
          </p:cNvPr>
          <p:cNvSpPr>
            <a:spLocks noGrp="1"/>
          </p:cNvSpPr>
          <p:nvPr>
            <p:ph type="body" sz="quarter" idx="21" hasCustomPrompt="1"/>
          </p:nvPr>
        </p:nvSpPr>
        <p:spPr>
          <a:xfrm>
            <a:off x="6728870" y="5129214"/>
            <a:ext cx="5040560" cy="6904512"/>
          </a:xfrm>
        </p:spPr>
        <p:txBody>
          <a:bodyPr>
            <a:noAutofit/>
          </a:bodyPr>
          <a:lstStyle>
            <a:lvl1pPr>
              <a:spcBef>
                <a:spcPts val="2000"/>
              </a:spcBef>
              <a:defRPr sz="1600"/>
            </a:lvl1pPr>
          </a:lstStyle>
          <a:p>
            <a:pPr lvl="0"/>
            <a:r>
              <a:rPr lang="en-GB" noProof="0"/>
              <a:t>Put the body text here, keep it regular 16 </a:t>
            </a:r>
            <a:r>
              <a:rPr lang="en-GB" noProof="0" err="1"/>
              <a:t>pt</a:t>
            </a:r>
            <a:endParaRPr lang="en-GB" noProof="0"/>
          </a:p>
        </p:txBody>
      </p:sp>
      <p:sp>
        <p:nvSpPr>
          <p:cNvPr id="4" name="Footer Placeholder 3">
            <a:extLst>
              <a:ext uri="{FF2B5EF4-FFF2-40B4-BE49-F238E27FC236}">
                <a16:creationId xmlns:a16="http://schemas.microsoft.com/office/drawing/2014/main" id="{4194F0DB-380C-DF44-86E3-D79D56DFF85C}"/>
              </a:ext>
            </a:extLst>
          </p:cNvPr>
          <p:cNvSpPr>
            <a:spLocks noGrp="1"/>
          </p:cNvSpPr>
          <p:nvPr>
            <p:ph type="ftr" sz="quarter" idx="22"/>
          </p:nvPr>
        </p:nvSpPr>
        <p:spPr/>
        <p:txBody>
          <a:bodyPr/>
          <a:lstStyle/>
          <a:p>
            <a:endParaRPr lang="en-NL"/>
          </a:p>
        </p:txBody>
      </p:sp>
      <p:sp>
        <p:nvSpPr>
          <p:cNvPr id="11" name="TextBox 10">
            <a:extLst>
              <a:ext uri="{FF2B5EF4-FFF2-40B4-BE49-F238E27FC236}">
                <a16:creationId xmlns:a16="http://schemas.microsoft.com/office/drawing/2014/main" id="{8382B125-311F-9F4E-88E7-2B54BB6A3B94}"/>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90278420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Long text in one column and picture">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6790607" y="486000"/>
            <a:ext cx="17100705"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1674330" y="5129214"/>
            <a:ext cx="4394308" cy="6904512"/>
          </a:xfrm>
        </p:spPr>
        <p:txBody>
          <a:bodyPr>
            <a:noAutofit/>
          </a:bodyPr>
          <a:lstStyle>
            <a:lvl1pPr>
              <a:spcBef>
                <a:spcPts val="2000"/>
              </a:spcBef>
              <a:defRPr sz="2400"/>
            </a:lvl1pPr>
          </a:lstStyle>
          <a:p>
            <a:pPr lvl="0"/>
            <a:r>
              <a:rPr lang="en-GB" noProof="0"/>
              <a:t>Put the paragraph text here, keep it regular 24 </a:t>
            </a:r>
            <a:r>
              <a:rPr lang="en-GB" noProof="0" err="1"/>
              <a:t>pt</a:t>
            </a:r>
            <a:endParaRPr lang="en-GB" noProof="0"/>
          </a:p>
        </p:txBody>
      </p:sp>
      <p:sp>
        <p:nvSpPr>
          <p:cNvPr id="2" name="Title 1">
            <a:extLst>
              <a:ext uri="{FF2B5EF4-FFF2-40B4-BE49-F238E27FC236}">
                <a16:creationId xmlns:a16="http://schemas.microsoft.com/office/drawing/2014/main" id="{44A2E15B-0973-F742-A266-E1107E35FE40}"/>
              </a:ext>
            </a:extLst>
          </p:cNvPr>
          <p:cNvSpPr>
            <a:spLocks noGrp="1"/>
          </p:cNvSpPr>
          <p:nvPr>
            <p:ph type="title" hasCustomPrompt="1"/>
          </p:nvPr>
        </p:nvSpPr>
        <p:spPr>
          <a:xfrm>
            <a:off x="1676294" y="1677600"/>
            <a:ext cx="4394308" cy="3011660"/>
          </a:xfrm>
        </p:spPr>
        <p:txBody>
          <a:bodyPr/>
          <a:lstStyle>
            <a:lvl1pPr>
              <a:defRPr sz="4000" spc="0" baseline="0"/>
            </a:lvl1pPr>
          </a:lstStyle>
          <a:p>
            <a:r>
              <a:rPr lang="en-GB"/>
              <a:t>Put the headline here, keep it bold 40 </a:t>
            </a:r>
            <a:r>
              <a:rPr lang="en-GB" err="1"/>
              <a:t>pt</a:t>
            </a:r>
            <a:endParaRPr lang="en-NL"/>
          </a:p>
        </p:txBody>
      </p:sp>
      <p:sp>
        <p:nvSpPr>
          <p:cNvPr id="7" name="Footer Placeholder 6">
            <a:extLst>
              <a:ext uri="{FF2B5EF4-FFF2-40B4-BE49-F238E27FC236}">
                <a16:creationId xmlns:a16="http://schemas.microsoft.com/office/drawing/2014/main" id="{BDFCBB05-AE3F-8B46-8B28-FBA47A7B8DF9}"/>
              </a:ext>
            </a:extLst>
          </p:cNvPr>
          <p:cNvSpPr>
            <a:spLocks noGrp="1"/>
          </p:cNvSpPr>
          <p:nvPr>
            <p:ph type="ftr" sz="quarter" idx="19"/>
          </p:nvPr>
        </p:nvSpPr>
        <p:spPr/>
        <p:txBody>
          <a:bodyPr/>
          <a:lstStyle/>
          <a:p>
            <a:endParaRPr lang="en-NL"/>
          </a:p>
        </p:txBody>
      </p:sp>
      <p:sp>
        <p:nvSpPr>
          <p:cNvPr id="10" name="TextBox 9">
            <a:extLst>
              <a:ext uri="{FF2B5EF4-FFF2-40B4-BE49-F238E27FC236}">
                <a16:creationId xmlns:a16="http://schemas.microsoft.com/office/drawing/2014/main" id="{1A281C68-F05E-474E-B89A-873F6871F7AE}"/>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86301283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Process">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0D2B4B01-8F71-1C43-804A-AE91ACAAB690}"/>
              </a:ext>
            </a:extLst>
          </p:cNvPr>
          <p:cNvSpPr>
            <a:spLocks noGrp="1"/>
          </p:cNvSpPr>
          <p:nvPr>
            <p:ph type="body" sz="quarter" idx="12" hasCustomPrompt="1"/>
          </p:nvPr>
        </p:nvSpPr>
        <p:spPr>
          <a:xfrm>
            <a:off x="3046414" y="7723207"/>
            <a:ext cx="3024187" cy="1727166"/>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3" name="Title 2">
            <a:extLst>
              <a:ext uri="{FF2B5EF4-FFF2-40B4-BE49-F238E27FC236}">
                <a16:creationId xmlns:a16="http://schemas.microsoft.com/office/drawing/2014/main" id="{6E79ED74-1833-CD4B-828E-58428E0E2A1D}"/>
              </a:ext>
            </a:extLst>
          </p:cNvPr>
          <p:cNvSpPr>
            <a:spLocks noGrp="1"/>
          </p:cNvSpPr>
          <p:nvPr>
            <p:ph type="title" hasCustomPrompt="1"/>
          </p:nvPr>
        </p:nvSpPr>
        <p:spPr>
          <a:xfrm>
            <a:off x="1676293" y="1677603"/>
            <a:ext cx="21033007" cy="1722906"/>
          </a:xfrm>
        </p:spPr>
        <p:txBody>
          <a:bodyPr/>
          <a:lstStyle/>
          <a:p>
            <a:r>
              <a:rPr lang="en-GB"/>
              <a:t>Process</a:t>
            </a:r>
            <a:endParaRPr lang="en-NL"/>
          </a:p>
        </p:txBody>
      </p:sp>
      <p:cxnSp>
        <p:nvCxnSpPr>
          <p:cNvPr id="5" name="Straight Arrow Connector 4">
            <a:extLst>
              <a:ext uri="{FF2B5EF4-FFF2-40B4-BE49-F238E27FC236}">
                <a16:creationId xmlns:a16="http://schemas.microsoft.com/office/drawing/2014/main" id="{0798A829-D289-394A-914F-EDD8D97B2357}"/>
              </a:ext>
            </a:extLst>
          </p:cNvPr>
          <p:cNvCxnSpPr>
            <a:cxnSpLocks/>
          </p:cNvCxnSpPr>
          <p:nvPr userDrawn="1"/>
        </p:nvCxnSpPr>
        <p:spPr>
          <a:xfrm>
            <a:off x="1674704" y="6858000"/>
            <a:ext cx="21033009" cy="0"/>
          </a:xfrm>
          <a:prstGeom prst="straightConnector1">
            <a:avLst/>
          </a:prstGeom>
          <a:ln w="190500">
            <a:solidFill>
              <a:schemeClr val="bg2"/>
            </a:solidFill>
            <a:tailEnd type="none" w="med" len="sm"/>
          </a:ln>
        </p:spPr>
        <p:style>
          <a:lnRef idx="1">
            <a:schemeClr val="accent1"/>
          </a:lnRef>
          <a:fillRef idx="0">
            <a:schemeClr val="accent1"/>
          </a:fillRef>
          <a:effectRef idx="0">
            <a:schemeClr val="accent1"/>
          </a:effectRef>
          <a:fontRef idx="minor">
            <a:schemeClr val="tx1"/>
          </a:fontRef>
        </p:style>
      </p:cxnSp>
      <p:sp>
        <p:nvSpPr>
          <p:cNvPr id="37" name="L-shape 36">
            <a:extLst>
              <a:ext uri="{FF2B5EF4-FFF2-40B4-BE49-F238E27FC236}">
                <a16:creationId xmlns:a16="http://schemas.microsoft.com/office/drawing/2014/main" id="{A3A516EF-4158-0845-AB22-B4F71119802B}"/>
              </a:ext>
            </a:extLst>
          </p:cNvPr>
          <p:cNvSpPr/>
          <p:nvPr userDrawn="1"/>
        </p:nvSpPr>
        <p:spPr>
          <a:xfrm rot="13500000">
            <a:off x="21934797" y="6498003"/>
            <a:ext cx="720000" cy="719999"/>
          </a:xfrm>
          <a:prstGeom prst="corner">
            <a:avLst>
              <a:gd name="adj1" fmla="val 26540"/>
              <a:gd name="adj2" fmla="val 2661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algn="ctr"/>
            <a:endParaRPr lang="en-NL" sz="1800"/>
          </a:p>
        </p:txBody>
      </p:sp>
      <p:sp>
        <p:nvSpPr>
          <p:cNvPr id="38" name="Text Placeholder 5">
            <a:extLst>
              <a:ext uri="{FF2B5EF4-FFF2-40B4-BE49-F238E27FC236}">
                <a16:creationId xmlns:a16="http://schemas.microsoft.com/office/drawing/2014/main" id="{DDC37633-16B3-3744-A593-529313A8F214}"/>
              </a:ext>
            </a:extLst>
          </p:cNvPr>
          <p:cNvSpPr>
            <a:spLocks noGrp="1"/>
          </p:cNvSpPr>
          <p:nvPr>
            <p:ph type="body" sz="quarter" idx="21" hasCustomPrompt="1"/>
          </p:nvPr>
        </p:nvSpPr>
        <p:spPr>
          <a:xfrm>
            <a:off x="6142038" y="4265713"/>
            <a:ext cx="3024187" cy="1727166"/>
          </a:xfrm>
        </p:spPr>
        <p:txBody>
          <a:bodyPr anchor="b">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39" name="Text Placeholder 5">
            <a:extLst>
              <a:ext uri="{FF2B5EF4-FFF2-40B4-BE49-F238E27FC236}">
                <a16:creationId xmlns:a16="http://schemas.microsoft.com/office/drawing/2014/main" id="{4B3F39C9-E76C-2D44-9D1B-E9B07074F77E}"/>
              </a:ext>
            </a:extLst>
          </p:cNvPr>
          <p:cNvSpPr>
            <a:spLocks noGrp="1"/>
          </p:cNvSpPr>
          <p:nvPr>
            <p:ph type="body" sz="quarter" idx="22" hasCustomPrompt="1"/>
          </p:nvPr>
        </p:nvSpPr>
        <p:spPr>
          <a:xfrm>
            <a:off x="9167019" y="7723207"/>
            <a:ext cx="3024187" cy="1727166"/>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0" name="Text Placeholder 5">
            <a:extLst>
              <a:ext uri="{FF2B5EF4-FFF2-40B4-BE49-F238E27FC236}">
                <a16:creationId xmlns:a16="http://schemas.microsoft.com/office/drawing/2014/main" id="{8814CF3B-C6B0-0648-A9C1-CE26FF4CB2D8}"/>
              </a:ext>
            </a:extLst>
          </p:cNvPr>
          <p:cNvSpPr>
            <a:spLocks noGrp="1"/>
          </p:cNvSpPr>
          <p:nvPr>
            <p:ph type="body" sz="quarter" idx="23" hasCustomPrompt="1"/>
          </p:nvPr>
        </p:nvSpPr>
        <p:spPr>
          <a:xfrm>
            <a:off x="12190413" y="4265713"/>
            <a:ext cx="3024187" cy="1727166"/>
          </a:xfrm>
        </p:spPr>
        <p:txBody>
          <a:bodyPr anchor="b">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1" name="Text Placeholder 5">
            <a:extLst>
              <a:ext uri="{FF2B5EF4-FFF2-40B4-BE49-F238E27FC236}">
                <a16:creationId xmlns:a16="http://schemas.microsoft.com/office/drawing/2014/main" id="{3356431A-93FA-3546-85F8-B31F1C9169B6}"/>
              </a:ext>
            </a:extLst>
          </p:cNvPr>
          <p:cNvSpPr>
            <a:spLocks noGrp="1"/>
          </p:cNvSpPr>
          <p:nvPr>
            <p:ph type="body" sz="quarter" idx="24" hasCustomPrompt="1"/>
          </p:nvPr>
        </p:nvSpPr>
        <p:spPr>
          <a:xfrm>
            <a:off x="15287627" y="7723207"/>
            <a:ext cx="3024187" cy="1727166"/>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2" name="Text Placeholder 5">
            <a:extLst>
              <a:ext uri="{FF2B5EF4-FFF2-40B4-BE49-F238E27FC236}">
                <a16:creationId xmlns:a16="http://schemas.microsoft.com/office/drawing/2014/main" id="{5CD9E15C-1210-D245-AE40-F67BE5C74056}"/>
              </a:ext>
            </a:extLst>
          </p:cNvPr>
          <p:cNvSpPr>
            <a:spLocks noGrp="1"/>
          </p:cNvSpPr>
          <p:nvPr>
            <p:ph type="body" sz="quarter" idx="25" hasCustomPrompt="1"/>
          </p:nvPr>
        </p:nvSpPr>
        <p:spPr>
          <a:xfrm>
            <a:off x="18311814" y="4265713"/>
            <a:ext cx="3024187" cy="1727166"/>
          </a:xfrm>
        </p:spPr>
        <p:txBody>
          <a:bodyPr anchor="b">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44" name="Footer Placeholder 43">
            <a:extLst>
              <a:ext uri="{FF2B5EF4-FFF2-40B4-BE49-F238E27FC236}">
                <a16:creationId xmlns:a16="http://schemas.microsoft.com/office/drawing/2014/main" id="{3DC74232-9167-9144-A25D-B5C31FFA7A3A}"/>
              </a:ext>
            </a:extLst>
          </p:cNvPr>
          <p:cNvSpPr>
            <a:spLocks noGrp="1"/>
          </p:cNvSpPr>
          <p:nvPr>
            <p:ph type="ftr" sz="quarter" idx="26"/>
          </p:nvPr>
        </p:nvSpPr>
        <p:spPr/>
        <p:txBody>
          <a:bodyPr/>
          <a:lstStyle/>
          <a:p>
            <a:endParaRPr lang="en-NL"/>
          </a:p>
        </p:txBody>
      </p:sp>
      <p:sp>
        <p:nvSpPr>
          <p:cNvPr id="45" name="TextBox 44">
            <a:extLst>
              <a:ext uri="{FF2B5EF4-FFF2-40B4-BE49-F238E27FC236}">
                <a16:creationId xmlns:a16="http://schemas.microsoft.com/office/drawing/2014/main" id="{69E14940-6394-8440-928E-5262E6E6434C}"/>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13905851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Focus areas 2">
    <p:spTree>
      <p:nvGrpSpPr>
        <p:cNvPr id="1" name=""/>
        <p:cNvGrpSpPr/>
        <p:nvPr/>
      </p:nvGrpSpPr>
      <p:grpSpPr>
        <a:xfrm>
          <a:off x="0" y="0"/>
          <a:ext cx="0" cy="0"/>
          <a:chOff x="0" y="0"/>
          <a:chExt cx="0" cy="0"/>
        </a:xfrm>
      </p:grpSpPr>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9166226" y="4124209"/>
            <a:ext cx="6049962" cy="4462582"/>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6" name="Text Placeholder 5">
            <a:extLst>
              <a:ext uri="{FF2B5EF4-FFF2-40B4-BE49-F238E27FC236}">
                <a16:creationId xmlns:a16="http://schemas.microsoft.com/office/drawing/2014/main" id="{50C5C652-3240-6341-9095-4EF7D7DC26F2}"/>
              </a:ext>
            </a:extLst>
          </p:cNvPr>
          <p:cNvSpPr>
            <a:spLocks noGrp="1"/>
          </p:cNvSpPr>
          <p:nvPr>
            <p:ph type="body" sz="quarter" idx="30" hasCustomPrompt="1"/>
          </p:nvPr>
        </p:nvSpPr>
        <p:spPr>
          <a:xfrm>
            <a:off x="9166226" y="9162256"/>
            <a:ext cx="6049962" cy="2880520"/>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18" name="Picture Placeholder 2">
            <a:extLst>
              <a:ext uri="{FF2B5EF4-FFF2-40B4-BE49-F238E27FC236}">
                <a16:creationId xmlns:a16="http://schemas.microsoft.com/office/drawing/2014/main" id="{CA5C6F99-363F-0A44-B903-36748B19D967}"/>
              </a:ext>
            </a:extLst>
          </p:cNvPr>
          <p:cNvSpPr>
            <a:spLocks noGrp="1"/>
          </p:cNvSpPr>
          <p:nvPr>
            <p:ph type="pic" sz="quarter" idx="32" hasCustomPrompt="1"/>
          </p:nvPr>
        </p:nvSpPr>
        <p:spPr>
          <a:xfrm>
            <a:off x="1673111" y="4124209"/>
            <a:ext cx="6049962" cy="4462582"/>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0" name="Text Placeholder 5">
            <a:extLst>
              <a:ext uri="{FF2B5EF4-FFF2-40B4-BE49-F238E27FC236}">
                <a16:creationId xmlns:a16="http://schemas.microsoft.com/office/drawing/2014/main" id="{75455B56-07F2-2943-AFDE-22F2A9DF65C4}"/>
              </a:ext>
            </a:extLst>
          </p:cNvPr>
          <p:cNvSpPr>
            <a:spLocks noGrp="1"/>
          </p:cNvSpPr>
          <p:nvPr>
            <p:ph type="body" sz="quarter" idx="33" hasCustomPrompt="1"/>
          </p:nvPr>
        </p:nvSpPr>
        <p:spPr>
          <a:xfrm>
            <a:off x="1673113" y="9162256"/>
            <a:ext cx="6049962" cy="2880520"/>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21" name="Picture Placeholder 2">
            <a:extLst>
              <a:ext uri="{FF2B5EF4-FFF2-40B4-BE49-F238E27FC236}">
                <a16:creationId xmlns:a16="http://schemas.microsoft.com/office/drawing/2014/main" id="{2F983719-8E56-644B-87F9-AA87D0158471}"/>
              </a:ext>
            </a:extLst>
          </p:cNvPr>
          <p:cNvSpPr>
            <a:spLocks noGrp="1"/>
          </p:cNvSpPr>
          <p:nvPr>
            <p:ph type="pic" sz="quarter" idx="34" hasCustomPrompt="1"/>
          </p:nvPr>
        </p:nvSpPr>
        <p:spPr>
          <a:xfrm>
            <a:off x="16656158" y="4124209"/>
            <a:ext cx="6049962" cy="4462582"/>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2" name="Text Placeholder 5">
            <a:extLst>
              <a:ext uri="{FF2B5EF4-FFF2-40B4-BE49-F238E27FC236}">
                <a16:creationId xmlns:a16="http://schemas.microsoft.com/office/drawing/2014/main" id="{CAE497B4-C614-C44B-94BA-C3BDE7D75DEC}"/>
              </a:ext>
            </a:extLst>
          </p:cNvPr>
          <p:cNvSpPr>
            <a:spLocks noGrp="1"/>
          </p:cNvSpPr>
          <p:nvPr>
            <p:ph type="body" sz="quarter" idx="35" hasCustomPrompt="1"/>
          </p:nvPr>
        </p:nvSpPr>
        <p:spPr>
          <a:xfrm>
            <a:off x="16656160" y="9162256"/>
            <a:ext cx="6049962" cy="2880520"/>
          </a:xfrm>
        </p:spPr>
        <p:txBody>
          <a:bodyPr>
            <a:noAutofit/>
          </a:bodyPr>
          <a:lstStyle>
            <a:lvl1pPr>
              <a:spcBef>
                <a:spcPts val="0"/>
              </a:spcBef>
              <a:defRPr sz="2400"/>
            </a:lvl1pPr>
          </a:lstStyle>
          <a:p>
            <a:pPr lvl="0"/>
            <a:r>
              <a:rPr lang="en-GB" noProof="0"/>
              <a:t>Put the description text here, keep it regular 24 </a:t>
            </a:r>
            <a:r>
              <a:rPr lang="en-GB" noProof="0" err="1"/>
              <a:t>pt</a:t>
            </a:r>
            <a:endParaRPr lang="en-GB" noProof="0"/>
          </a:p>
        </p:txBody>
      </p:sp>
      <p:sp>
        <p:nvSpPr>
          <p:cNvPr id="2" name="Title 1">
            <a:extLst>
              <a:ext uri="{FF2B5EF4-FFF2-40B4-BE49-F238E27FC236}">
                <a16:creationId xmlns:a16="http://schemas.microsoft.com/office/drawing/2014/main" id="{B714AECF-762E-AF4B-AE68-4E3BB8D405CD}"/>
              </a:ext>
            </a:extLst>
          </p:cNvPr>
          <p:cNvSpPr>
            <a:spLocks noGrp="1"/>
          </p:cNvSpPr>
          <p:nvPr>
            <p:ph type="title" hasCustomPrompt="1"/>
          </p:nvPr>
        </p:nvSpPr>
        <p:spPr>
          <a:xfrm>
            <a:off x="1676293" y="1677601"/>
            <a:ext cx="21033007" cy="1724414"/>
          </a:xfrm>
        </p:spPr>
        <p:txBody>
          <a:bodyPr/>
          <a:lstStyle/>
          <a:p>
            <a:r>
              <a:rPr lang="en-GB"/>
              <a:t>Focus areas</a:t>
            </a:r>
            <a:endParaRPr lang="en-NL"/>
          </a:p>
        </p:txBody>
      </p:sp>
      <p:sp>
        <p:nvSpPr>
          <p:cNvPr id="6" name="Footer Placeholder 5">
            <a:extLst>
              <a:ext uri="{FF2B5EF4-FFF2-40B4-BE49-F238E27FC236}">
                <a16:creationId xmlns:a16="http://schemas.microsoft.com/office/drawing/2014/main" id="{905FD5AF-E14D-EF49-88A1-61AE79880A4D}"/>
              </a:ext>
            </a:extLst>
          </p:cNvPr>
          <p:cNvSpPr>
            <a:spLocks noGrp="1"/>
          </p:cNvSpPr>
          <p:nvPr>
            <p:ph type="ftr" sz="quarter" idx="36"/>
          </p:nvPr>
        </p:nvSpPr>
        <p:spPr/>
        <p:txBody>
          <a:bodyPr/>
          <a:lstStyle/>
          <a:p>
            <a:endParaRPr lang="en-NL"/>
          </a:p>
        </p:txBody>
      </p:sp>
      <p:sp>
        <p:nvSpPr>
          <p:cNvPr id="14" name="TextBox 13">
            <a:extLst>
              <a:ext uri="{FF2B5EF4-FFF2-40B4-BE49-F238E27FC236}">
                <a16:creationId xmlns:a16="http://schemas.microsoft.com/office/drawing/2014/main" id="{7DDFA0A1-FCD3-7344-8E11-BA02D0C38EE6}"/>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80505177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Focus areas 3">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6F4D095-75F9-A649-B638-1297084AD7A4}"/>
              </a:ext>
            </a:extLst>
          </p:cNvPr>
          <p:cNvSpPr>
            <a:spLocks noGrp="1"/>
          </p:cNvSpPr>
          <p:nvPr>
            <p:ph type="pic" sz="quarter" idx="20" hasCustomPrompt="1"/>
          </p:nvPr>
        </p:nvSpPr>
        <p:spPr>
          <a:xfrm>
            <a:off x="3110923" y="5160731"/>
            <a:ext cx="3425835" cy="3426058"/>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3110921" y="8904153"/>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1" name="Picture Placeholder 7">
            <a:extLst>
              <a:ext uri="{FF2B5EF4-FFF2-40B4-BE49-F238E27FC236}">
                <a16:creationId xmlns:a16="http://schemas.microsoft.com/office/drawing/2014/main" id="{541447E4-2AA6-7F48-B55B-B62747E0ABD2}"/>
              </a:ext>
            </a:extLst>
          </p:cNvPr>
          <p:cNvSpPr>
            <a:spLocks noGrp="1"/>
          </p:cNvSpPr>
          <p:nvPr>
            <p:ph type="pic" sz="quarter" idx="22" hasCustomPrompt="1"/>
          </p:nvPr>
        </p:nvSpPr>
        <p:spPr>
          <a:xfrm>
            <a:off x="8045293" y="5160731"/>
            <a:ext cx="3425835" cy="3426058"/>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2" name="Text Placeholder 11">
            <a:extLst>
              <a:ext uri="{FF2B5EF4-FFF2-40B4-BE49-F238E27FC236}">
                <a16:creationId xmlns:a16="http://schemas.microsoft.com/office/drawing/2014/main" id="{2AD28FF4-13F4-2C40-9AF9-E173148BF12A}"/>
              </a:ext>
            </a:extLst>
          </p:cNvPr>
          <p:cNvSpPr>
            <a:spLocks noGrp="1"/>
          </p:cNvSpPr>
          <p:nvPr>
            <p:ph type="body" sz="quarter" idx="23" hasCustomPrompt="1"/>
          </p:nvPr>
        </p:nvSpPr>
        <p:spPr>
          <a:xfrm>
            <a:off x="8045293" y="8904153"/>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3" name="Picture Placeholder 7">
            <a:extLst>
              <a:ext uri="{FF2B5EF4-FFF2-40B4-BE49-F238E27FC236}">
                <a16:creationId xmlns:a16="http://schemas.microsoft.com/office/drawing/2014/main" id="{76549726-CD0C-C144-A1EB-76A281BC952E}"/>
              </a:ext>
            </a:extLst>
          </p:cNvPr>
          <p:cNvSpPr>
            <a:spLocks noGrp="1"/>
          </p:cNvSpPr>
          <p:nvPr>
            <p:ph type="pic" sz="quarter" idx="24" hasCustomPrompt="1"/>
          </p:nvPr>
        </p:nvSpPr>
        <p:spPr>
          <a:xfrm>
            <a:off x="12911287" y="5160731"/>
            <a:ext cx="3425835" cy="3426058"/>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4" name="Text Placeholder 11">
            <a:extLst>
              <a:ext uri="{FF2B5EF4-FFF2-40B4-BE49-F238E27FC236}">
                <a16:creationId xmlns:a16="http://schemas.microsoft.com/office/drawing/2014/main" id="{5B3AA100-6E6E-D34B-943C-1D75F59C39B5}"/>
              </a:ext>
            </a:extLst>
          </p:cNvPr>
          <p:cNvSpPr>
            <a:spLocks noGrp="1"/>
          </p:cNvSpPr>
          <p:nvPr>
            <p:ph type="body" sz="quarter" idx="25" hasCustomPrompt="1"/>
          </p:nvPr>
        </p:nvSpPr>
        <p:spPr>
          <a:xfrm>
            <a:off x="12911287" y="8904153"/>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5" name="Picture Placeholder 7">
            <a:extLst>
              <a:ext uri="{FF2B5EF4-FFF2-40B4-BE49-F238E27FC236}">
                <a16:creationId xmlns:a16="http://schemas.microsoft.com/office/drawing/2014/main" id="{DCB14019-6F34-AB4B-B98E-4393A31FE4D7}"/>
              </a:ext>
            </a:extLst>
          </p:cNvPr>
          <p:cNvSpPr>
            <a:spLocks noGrp="1"/>
          </p:cNvSpPr>
          <p:nvPr>
            <p:ph type="pic" sz="quarter" idx="26" hasCustomPrompt="1"/>
          </p:nvPr>
        </p:nvSpPr>
        <p:spPr>
          <a:xfrm>
            <a:off x="17910167" y="5160731"/>
            <a:ext cx="3425835" cy="3426058"/>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6" name="Text Placeholder 11">
            <a:extLst>
              <a:ext uri="{FF2B5EF4-FFF2-40B4-BE49-F238E27FC236}">
                <a16:creationId xmlns:a16="http://schemas.microsoft.com/office/drawing/2014/main" id="{1C762A72-2425-1F42-B142-A5C927AEEBB1}"/>
              </a:ext>
            </a:extLst>
          </p:cNvPr>
          <p:cNvSpPr>
            <a:spLocks noGrp="1"/>
          </p:cNvSpPr>
          <p:nvPr>
            <p:ph type="body" sz="quarter" idx="27" hasCustomPrompt="1"/>
          </p:nvPr>
        </p:nvSpPr>
        <p:spPr>
          <a:xfrm>
            <a:off x="17910167" y="8904153"/>
            <a:ext cx="3425835" cy="1441550"/>
          </a:xfrm>
        </p:spPr>
        <p:txBody>
          <a:bodyPr>
            <a:noAutofit/>
          </a:bodyPr>
          <a:lstStyle>
            <a:lvl1pPr marL="0" indent="0">
              <a:lnSpc>
                <a:spcPct val="100000"/>
              </a:lnSpc>
              <a:buNone/>
              <a:defRPr sz="2400"/>
            </a:lvl1pPr>
            <a:lvl2pPr>
              <a:defRPr sz="2800"/>
            </a:lvl2pPr>
            <a:lvl3pPr>
              <a:defRPr sz="2800"/>
            </a:lvl3pPr>
            <a:lvl4pPr>
              <a:defRPr sz="2800"/>
            </a:lvl4pPr>
            <a:lvl5pPr>
              <a:defRPr sz="2800"/>
            </a:lvl5pPr>
          </a:lstStyle>
          <a:p>
            <a:pPr lvl="0"/>
            <a:r>
              <a:rPr lang="en-GB" noProof="0"/>
              <a:t>Put the description text here, keep it regular 24 </a:t>
            </a:r>
            <a:r>
              <a:rPr lang="en-GB" noProof="0" err="1"/>
              <a:t>pt</a:t>
            </a:r>
            <a:endParaRPr lang="en-GB" noProof="0"/>
          </a:p>
        </p:txBody>
      </p:sp>
      <p:sp>
        <p:nvSpPr>
          <p:cNvPr id="2" name="Title 1">
            <a:extLst>
              <a:ext uri="{FF2B5EF4-FFF2-40B4-BE49-F238E27FC236}">
                <a16:creationId xmlns:a16="http://schemas.microsoft.com/office/drawing/2014/main" id="{A0F5E023-04B8-2F4C-ACC9-EA2D15A8206D}"/>
              </a:ext>
            </a:extLst>
          </p:cNvPr>
          <p:cNvSpPr>
            <a:spLocks noGrp="1"/>
          </p:cNvSpPr>
          <p:nvPr>
            <p:ph type="title" hasCustomPrompt="1"/>
          </p:nvPr>
        </p:nvSpPr>
        <p:spPr/>
        <p:txBody>
          <a:bodyPr/>
          <a:lstStyle/>
          <a:p>
            <a:r>
              <a:rPr lang="en-GB"/>
              <a:t>Focus areas</a:t>
            </a:r>
            <a:endParaRPr lang="en-NL"/>
          </a:p>
        </p:txBody>
      </p:sp>
      <p:sp>
        <p:nvSpPr>
          <p:cNvPr id="6" name="Footer Placeholder 5">
            <a:extLst>
              <a:ext uri="{FF2B5EF4-FFF2-40B4-BE49-F238E27FC236}">
                <a16:creationId xmlns:a16="http://schemas.microsoft.com/office/drawing/2014/main" id="{7BEF6BFC-32B9-EE4E-B0BD-51735697E79A}"/>
              </a:ext>
            </a:extLst>
          </p:cNvPr>
          <p:cNvSpPr>
            <a:spLocks noGrp="1"/>
          </p:cNvSpPr>
          <p:nvPr>
            <p:ph type="ftr" sz="quarter" idx="28"/>
          </p:nvPr>
        </p:nvSpPr>
        <p:spPr/>
        <p:txBody>
          <a:bodyPr/>
          <a:lstStyle/>
          <a:p>
            <a:endParaRPr lang="en-NL"/>
          </a:p>
        </p:txBody>
      </p:sp>
      <p:sp>
        <p:nvSpPr>
          <p:cNvPr id="17" name="TextBox 16">
            <a:extLst>
              <a:ext uri="{FF2B5EF4-FFF2-40B4-BE49-F238E27FC236}">
                <a16:creationId xmlns:a16="http://schemas.microsoft.com/office/drawing/2014/main" id="{D03693B7-36DD-2044-BD6D-C7E743BAFEC9}"/>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66216912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Organisational chart with pictur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6F4D095-75F9-A649-B638-1297084AD7A4}"/>
              </a:ext>
            </a:extLst>
          </p:cNvPr>
          <p:cNvSpPr>
            <a:spLocks noGrp="1"/>
          </p:cNvSpPr>
          <p:nvPr>
            <p:ph type="pic" sz="quarter" idx="20" hasCustomPrompt="1"/>
          </p:nvPr>
        </p:nvSpPr>
        <p:spPr>
          <a:xfrm>
            <a:off x="10841207" y="1719944"/>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12" name="Text Placeholder 11">
            <a:extLst>
              <a:ext uri="{FF2B5EF4-FFF2-40B4-BE49-F238E27FC236}">
                <a16:creationId xmlns:a16="http://schemas.microsoft.com/office/drawing/2014/main" id="{D25650C0-0F85-764E-9732-F99E668D11A2}"/>
              </a:ext>
            </a:extLst>
          </p:cNvPr>
          <p:cNvSpPr>
            <a:spLocks noGrp="1"/>
          </p:cNvSpPr>
          <p:nvPr>
            <p:ph type="body" sz="quarter" idx="21" hasCustomPrompt="1"/>
          </p:nvPr>
        </p:nvSpPr>
        <p:spPr>
          <a:xfrm>
            <a:off x="9670604" y="4512108"/>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2" name="Title 1">
            <a:extLst>
              <a:ext uri="{FF2B5EF4-FFF2-40B4-BE49-F238E27FC236}">
                <a16:creationId xmlns:a16="http://schemas.microsoft.com/office/drawing/2014/main" id="{43DA5788-F32B-A54D-BD65-3FF50B9E8946}"/>
              </a:ext>
            </a:extLst>
          </p:cNvPr>
          <p:cNvSpPr>
            <a:spLocks noGrp="1"/>
          </p:cNvSpPr>
          <p:nvPr>
            <p:ph type="title" hasCustomPrompt="1"/>
          </p:nvPr>
        </p:nvSpPr>
        <p:spPr>
          <a:xfrm>
            <a:off x="1676293" y="1677600"/>
            <a:ext cx="7489932" cy="3011660"/>
          </a:xfrm>
        </p:spPr>
        <p:txBody>
          <a:bodyPr/>
          <a:lstStyle>
            <a:lvl1pPr>
              <a:defRPr sz="6000"/>
            </a:lvl1pPr>
          </a:lstStyle>
          <a:p>
            <a:r>
              <a:rPr lang="en-GB"/>
              <a:t>Department name</a:t>
            </a:r>
            <a:endParaRPr lang="en-NL"/>
          </a:p>
        </p:txBody>
      </p:sp>
      <p:sp>
        <p:nvSpPr>
          <p:cNvPr id="31" name="Text Placeholder 11">
            <a:extLst>
              <a:ext uri="{FF2B5EF4-FFF2-40B4-BE49-F238E27FC236}">
                <a16:creationId xmlns:a16="http://schemas.microsoft.com/office/drawing/2014/main" id="{75F485D7-B4EF-5A4B-879E-86975974580C}"/>
              </a:ext>
            </a:extLst>
          </p:cNvPr>
          <p:cNvSpPr>
            <a:spLocks noGrp="1"/>
          </p:cNvSpPr>
          <p:nvPr>
            <p:ph type="body" sz="quarter" idx="30" hasCustomPrompt="1"/>
          </p:nvPr>
        </p:nvSpPr>
        <p:spPr>
          <a:xfrm>
            <a:off x="7114430" y="8596286"/>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2" name="Text Placeholder 11">
            <a:extLst>
              <a:ext uri="{FF2B5EF4-FFF2-40B4-BE49-F238E27FC236}">
                <a16:creationId xmlns:a16="http://schemas.microsoft.com/office/drawing/2014/main" id="{8EE80A14-44BF-1D48-8C22-8748FD98477A}"/>
              </a:ext>
            </a:extLst>
          </p:cNvPr>
          <p:cNvSpPr>
            <a:spLocks noGrp="1"/>
          </p:cNvSpPr>
          <p:nvPr>
            <p:ph type="body" sz="quarter" idx="31" hasCustomPrompt="1"/>
          </p:nvPr>
        </p:nvSpPr>
        <p:spPr>
          <a:xfrm>
            <a:off x="12197877" y="8596286"/>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3" name="Text Placeholder 11">
            <a:extLst>
              <a:ext uri="{FF2B5EF4-FFF2-40B4-BE49-F238E27FC236}">
                <a16:creationId xmlns:a16="http://schemas.microsoft.com/office/drawing/2014/main" id="{4122F631-7AEE-E940-A99A-F863EBC69A3E}"/>
              </a:ext>
            </a:extLst>
          </p:cNvPr>
          <p:cNvSpPr>
            <a:spLocks noGrp="1"/>
          </p:cNvSpPr>
          <p:nvPr>
            <p:ph type="body" sz="quarter" idx="32" hasCustomPrompt="1"/>
          </p:nvPr>
        </p:nvSpPr>
        <p:spPr>
          <a:xfrm>
            <a:off x="17276564" y="8596286"/>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4" name="Text Placeholder 11">
            <a:extLst>
              <a:ext uri="{FF2B5EF4-FFF2-40B4-BE49-F238E27FC236}">
                <a16:creationId xmlns:a16="http://schemas.microsoft.com/office/drawing/2014/main" id="{DEF7042E-C2C0-904C-A1CD-FA245CD87451}"/>
              </a:ext>
            </a:extLst>
          </p:cNvPr>
          <p:cNvSpPr>
            <a:spLocks noGrp="1"/>
          </p:cNvSpPr>
          <p:nvPr>
            <p:ph type="body" sz="quarter" idx="33" hasCustomPrompt="1"/>
          </p:nvPr>
        </p:nvSpPr>
        <p:spPr>
          <a:xfrm>
            <a:off x="2059335" y="8596286"/>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36" name="Text Placeholder 11">
            <a:extLst>
              <a:ext uri="{FF2B5EF4-FFF2-40B4-BE49-F238E27FC236}">
                <a16:creationId xmlns:a16="http://schemas.microsoft.com/office/drawing/2014/main" id="{BF736EFA-67F1-B044-A2C3-78E7C51705B6}"/>
              </a:ext>
            </a:extLst>
          </p:cNvPr>
          <p:cNvSpPr>
            <a:spLocks noGrp="1"/>
          </p:cNvSpPr>
          <p:nvPr>
            <p:ph type="body" sz="quarter" idx="35" hasCustomPrompt="1"/>
          </p:nvPr>
        </p:nvSpPr>
        <p:spPr>
          <a:xfrm>
            <a:off x="14755169" y="4523154"/>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18" name="Picture Placeholder 7">
            <a:extLst>
              <a:ext uri="{FF2B5EF4-FFF2-40B4-BE49-F238E27FC236}">
                <a16:creationId xmlns:a16="http://schemas.microsoft.com/office/drawing/2014/main" id="{E32092D4-F5E4-9948-BB3B-B209229D6C06}"/>
              </a:ext>
            </a:extLst>
          </p:cNvPr>
          <p:cNvSpPr>
            <a:spLocks noGrp="1"/>
          </p:cNvSpPr>
          <p:nvPr>
            <p:ph type="pic" sz="quarter" idx="36" hasCustomPrompt="1"/>
          </p:nvPr>
        </p:nvSpPr>
        <p:spPr>
          <a:xfrm>
            <a:off x="15943082" y="1719944"/>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0" name="Picture Placeholder 7">
            <a:extLst>
              <a:ext uri="{FF2B5EF4-FFF2-40B4-BE49-F238E27FC236}">
                <a16:creationId xmlns:a16="http://schemas.microsoft.com/office/drawing/2014/main" id="{9642D2C8-E8D9-D24B-8B56-E869E37E5558}"/>
              </a:ext>
            </a:extLst>
          </p:cNvPr>
          <p:cNvSpPr>
            <a:spLocks noGrp="1"/>
          </p:cNvSpPr>
          <p:nvPr>
            <p:ph type="pic" sz="quarter" idx="37" hasCustomPrompt="1"/>
          </p:nvPr>
        </p:nvSpPr>
        <p:spPr>
          <a:xfrm>
            <a:off x="3283936" y="5777880"/>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1" name="Picture Placeholder 7">
            <a:extLst>
              <a:ext uri="{FF2B5EF4-FFF2-40B4-BE49-F238E27FC236}">
                <a16:creationId xmlns:a16="http://schemas.microsoft.com/office/drawing/2014/main" id="{CDF87832-9FDB-3F47-97C5-15DEFCD1488C}"/>
              </a:ext>
            </a:extLst>
          </p:cNvPr>
          <p:cNvSpPr>
            <a:spLocks noGrp="1"/>
          </p:cNvSpPr>
          <p:nvPr>
            <p:ph type="pic" sz="quarter" idx="38" hasCustomPrompt="1"/>
          </p:nvPr>
        </p:nvSpPr>
        <p:spPr>
          <a:xfrm>
            <a:off x="8394042" y="5777880"/>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2" name="Picture Placeholder 7">
            <a:extLst>
              <a:ext uri="{FF2B5EF4-FFF2-40B4-BE49-F238E27FC236}">
                <a16:creationId xmlns:a16="http://schemas.microsoft.com/office/drawing/2014/main" id="{9F605B20-5BFC-D34B-AC34-62C629AE60C8}"/>
              </a:ext>
            </a:extLst>
          </p:cNvPr>
          <p:cNvSpPr>
            <a:spLocks noGrp="1"/>
          </p:cNvSpPr>
          <p:nvPr>
            <p:ph type="pic" sz="quarter" idx="39" hasCustomPrompt="1"/>
          </p:nvPr>
        </p:nvSpPr>
        <p:spPr>
          <a:xfrm>
            <a:off x="13459168" y="5777880"/>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3" name="Picture Placeholder 7">
            <a:extLst>
              <a:ext uri="{FF2B5EF4-FFF2-40B4-BE49-F238E27FC236}">
                <a16:creationId xmlns:a16="http://schemas.microsoft.com/office/drawing/2014/main" id="{CB528120-A57D-C04A-A5CE-A13C8EDF86ED}"/>
              </a:ext>
            </a:extLst>
          </p:cNvPr>
          <p:cNvSpPr>
            <a:spLocks noGrp="1"/>
          </p:cNvSpPr>
          <p:nvPr>
            <p:ph type="pic" sz="quarter" idx="40" hasCustomPrompt="1"/>
          </p:nvPr>
        </p:nvSpPr>
        <p:spPr>
          <a:xfrm>
            <a:off x="18569274" y="5777880"/>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4" name="Text Placeholder 11">
            <a:extLst>
              <a:ext uri="{FF2B5EF4-FFF2-40B4-BE49-F238E27FC236}">
                <a16:creationId xmlns:a16="http://schemas.microsoft.com/office/drawing/2014/main" id="{6BDE82E8-4C03-4846-972E-989D2C69E3BD}"/>
              </a:ext>
            </a:extLst>
          </p:cNvPr>
          <p:cNvSpPr>
            <a:spLocks noGrp="1"/>
          </p:cNvSpPr>
          <p:nvPr>
            <p:ph type="body" sz="quarter" idx="41" hasCustomPrompt="1"/>
          </p:nvPr>
        </p:nvSpPr>
        <p:spPr>
          <a:xfrm>
            <a:off x="2059335" y="12248704"/>
            <a:ext cx="5041206" cy="607608"/>
          </a:xfrm>
          <a:solidFill>
            <a:schemeClr val="bg1"/>
          </a:solidFill>
        </p:spPr>
        <p:txBody>
          <a:bodyPr anchor="ctr">
            <a:noAutofit/>
          </a:bodyPr>
          <a:lstStyle>
            <a:lvl1pPr marL="0" indent="0" algn="ctr">
              <a:lnSpc>
                <a:spcPct val="100000"/>
              </a:lnSpc>
              <a:spcBef>
                <a:spcPts val="0"/>
              </a:spcBef>
              <a:buNone/>
              <a:defRPr sz="1600" b="0"/>
            </a:lvl1pPr>
            <a:lvl2pPr>
              <a:defRPr sz="2800"/>
            </a:lvl2pPr>
            <a:lvl3pPr>
              <a:defRPr sz="2800"/>
            </a:lvl3pPr>
            <a:lvl4pPr>
              <a:defRPr sz="2800"/>
            </a:lvl4pPr>
            <a:lvl5pPr>
              <a:defRPr sz="2800"/>
            </a:lvl5pPr>
          </a:lstStyle>
          <a:p>
            <a:pPr lvl="0"/>
            <a:r>
              <a:rPr lang="en-GB" noProof="0"/>
              <a:t>Position and name</a:t>
            </a:r>
          </a:p>
        </p:txBody>
      </p:sp>
      <p:sp>
        <p:nvSpPr>
          <p:cNvPr id="25" name="Picture Placeholder 7">
            <a:extLst>
              <a:ext uri="{FF2B5EF4-FFF2-40B4-BE49-F238E27FC236}">
                <a16:creationId xmlns:a16="http://schemas.microsoft.com/office/drawing/2014/main" id="{83187330-3EBE-934C-B545-3351D604B7B9}"/>
              </a:ext>
            </a:extLst>
          </p:cNvPr>
          <p:cNvSpPr>
            <a:spLocks noGrp="1"/>
          </p:cNvSpPr>
          <p:nvPr>
            <p:ph type="pic" sz="quarter" idx="42" hasCustomPrompt="1"/>
          </p:nvPr>
        </p:nvSpPr>
        <p:spPr>
          <a:xfrm>
            <a:off x="3283936" y="9430298"/>
            <a:ext cx="2591999" cy="2592000"/>
          </a:xfrm>
          <a:prstGeom prst="ellipse">
            <a:avLst/>
          </a:prstGeom>
          <a:solidFill>
            <a:schemeClr val="bg1">
              <a:lumMod val="95000"/>
            </a:schemeClr>
          </a:solidFill>
        </p:spPr>
        <p:txBody>
          <a:bodyPr anchor="ct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the person’s picture into this shape</a:t>
            </a:r>
          </a:p>
        </p:txBody>
      </p:sp>
      <p:sp>
        <p:nvSpPr>
          <p:cNvPr id="26" name="TextBox 25">
            <a:extLst>
              <a:ext uri="{FF2B5EF4-FFF2-40B4-BE49-F238E27FC236}">
                <a16:creationId xmlns:a16="http://schemas.microsoft.com/office/drawing/2014/main" id="{550D2F5E-666A-C14D-8B7B-3A62CE2C1C05}"/>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36573826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Full picture">
    <p:bg>
      <p:bgPr>
        <a:solidFill>
          <a:schemeClr val="bg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73BADB48-5F7B-4C4D-BDD5-124AFC5BC91E}"/>
              </a:ext>
            </a:extLst>
          </p:cNvPr>
          <p:cNvSpPr txBox="1"/>
          <p:nvPr userDrawn="1"/>
        </p:nvSpPr>
        <p:spPr>
          <a:xfrm>
            <a:off x="22127664" y="12977376"/>
            <a:ext cx="1872086" cy="400110"/>
          </a:xfrm>
          <a:prstGeom prst="rect">
            <a:avLst/>
          </a:prstGeom>
          <a:noFill/>
        </p:spPr>
        <p:txBody>
          <a:bodyPr wrap="square" rtlCol="0" anchor="b">
            <a:spAutoFit/>
          </a:bodyPr>
          <a:lstStyle/>
          <a:p>
            <a:pPr algn="r"/>
            <a:fld id="{6CE035FB-656D-BE4C-9C54-3AFE6E724348}" type="slidenum">
              <a:rPr lang="en-GB" sz="2000" smtClean="0">
                <a:latin typeface="Noto IKEA Latin" panose="020B0502040504020204" pitchFamily="34" charset="0"/>
              </a:rPr>
              <a:pPr algn="r"/>
              <a:t>‹#›</a:t>
            </a:fld>
            <a:endParaRPr lang="en-GB" sz="2000">
              <a:latin typeface="Noto IKEA Latin" panose="020B0502040504020204" pitchFamily="34" charset="0"/>
            </a:endParaRPr>
          </a:p>
        </p:txBody>
      </p:sp>
      <p:sp>
        <p:nvSpPr>
          <p:cNvPr id="7" name="Picture Placeholder 10">
            <a:extLst>
              <a:ext uri="{FF2B5EF4-FFF2-40B4-BE49-F238E27FC236}">
                <a16:creationId xmlns:a16="http://schemas.microsoft.com/office/drawing/2014/main" id="{83374E3F-FD44-FF48-B59B-E0793285F562}"/>
              </a:ext>
            </a:extLst>
          </p:cNvPr>
          <p:cNvSpPr>
            <a:spLocks noGrp="1"/>
          </p:cNvSpPr>
          <p:nvPr>
            <p:ph type="pic" sz="quarter" idx="14" hasCustomPrompt="1"/>
          </p:nvPr>
        </p:nvSpPr>
        <p:spPr>
          <a:xfrm>
            <a:off x="491206" y="486000"/>
            <a:ext cx="23400001" cy="12744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picture into this frame</a:t>
            </a:r>
          </a:p>
        </p:txBody>
      </p:sp>
      <p:sp>
        <p:nvSpPr>
          <p:cNvPr id="4" name="TextBox 3">
            <a:extLst>
              <a:ext uri="{FF2B5EF4-FFF2-40B4-BE49-F238E27FC236}">
                <a16:creationId xmlns:a16="http://schemas.microsoft.com/office/drawing/2014/main" id="{A28FA5BF-CC16-F74C-B2AD-7675C1B452C4}"/>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11569361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wo pcitures">
    <p:spTree>
      <p:nvGrpSpPr>
        <p:cNvPr id="1" name=""/>
        <p:cNvGrpSpPr/>
        <p:nvPr/>
      </p:nvGrpSpPr>
      <p:grpSpPr>
        <a:xfrm>
          <a:off x="0" y="0"/>
          <a:ext cx="0" cy="0"/>
          <a:chOff x="0" y="0"/>
          <a:chExt cx="0" cy="0"/>
        </a:xfrm>
      </p:grpSpPr>
      <p:sp>
        <p:nvSpPr>
          <p:cNvPr id="9" name="Picture Placeholder 10">
            <a:extLst>
              <a:ext uri="{FF2B5EF4-FFF2-40B4-BE49-F238E27FC236}">
                <a16:creationId xmlns:a16="http://schemas.microsoft.com/office/drawing/2014/main" id="{7573FD41-AC43-F04C-8700-DDD5AFA33E14}"/>
              </a:ext>
            </a:extLst>
          </p:cNvPr>
          <p:cNvSpPr>
            <a:spLocks noGrp="1"/>
          </p:cNvSpPr>
          <p:nvPr>
            <p:ph type="pic" sz="quarter" idx="14" hasCustomPrompt="1"/>
          </p:nvPr>
        </p:nvSpPr>
        <p:spPr>
          <a:xfrm>
            <a:off x="491206" y="486000"/>
            <a:ext cx="11483977" cy="9827988"/>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0" name="Picture Placeholder 10">
            <a:extLst>
              <a:ext uri="{FF2B5EF4-FFF2-40B4-BE49-F238E27FC236}">
                <a16:creationId xmlns:a16="http://schemas.microsoft.com/office/drawing/2014/main" id="{250173C0-66DE-2B44-9C5C-228A0DC74671}"/>
              </a:ext>
            </a:extLst>
          </p:cNvPr>
          <p:cNvSpPr>
            <a:spLocks noGrp="1"/>
          </p:cNvSpPr>
          <p:nvPr>
            <p:ph type="pic" sz="quarter" idx="18" hasCustomPrompt="1"/>
          </p:nvPr>
        </p:nvSpPr>
        <p:spPr>
          <a:xfrm>
            <a:off x="12407230" y="486000"/>
            <a:ext cx="11483977" cy="9827988"/>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1" name="Text Placeholder 5">
            <a:extLst>
              <a:ext uri="{FF2B5EF4-FFF2-40B4-BE49-F238E27FC236}">
                <a16:creationId xmlns:a16="http://schemas.microsoft.com/office/drawing/2014/main" id="{32E65FF3-CD8C-8D42-A347-F026094D4707}"/>
              </a:ext>
            </a:extLst>
          </p:cNvPr>
          <p:cNvSpPr>
            <a:spLocks noGrp="1"/>
          </p:cNvSpPr>
          <p:nvPr>
            <p:ph type="body" sz="quarter" idx="33" hasCustomPrompt="1"/>
          </p:nvPr>
        </p:nvSpPr>
        <p:spPr>
          <a:xfrm>
            <a:off x="486322" y="10602416"/>
            <a:ext cx="8679903" cy="1440360"/>
          </a:xfrm>
        </p:spPr>
        <p:txBody>
          <a:bodyPr>
            <a:noAutofit/>
          </a:bodyPr>
          <a:lstStyle>
            <a:lvl1pPr>
              <a:spcBef>
                <a:spcPts val="0"/>
              </a:spcBef>
              <a:defRPr sz="3200"/>
            </a:lvl1pPr>
          </a:lstStyle>
          <a:p>
            <a:pPr lvl="0"/>
            <a:r>
              <a:rPr lang="en-GB" noProof="0"/>
              <a:t>Put the description text here, keep it regular 32 </a:t>
            </a:r>
            <a:r>
              <a:rPr lang="en-GB" noProof="0" err="1"/>
              <a:t>pt</a:t>
            </a:r>
            <a:endParaRPr lang="en-GB" noProof="0"/>
          </a:p>
        </p:txBody>
      </p:sp>
      <p:sp>
        <p:nvSpPr>
          <p:cNvPr id="12" name="Text Placeholder 5">
            <a:extLst>
              <a:ext uri="{FF2B5EF4-FFF2-40B4-BE49-F238E27FC236}">
                <a16:creationId xmlns:a16="http://schemas.microsoft.com/office/drawing/2014/main" id="{7A080EE2-1AD5-5F46-8A70-65AD78446B90}"/>
              </a:ext>
            </a:extLst>
          </p:cNvPr>
          <p:cNvSpPr>
            <a:spLocks noGrp="1"/>
          </p:cNvSpPr>
          <p:nvPr>
            <p:ph type="body" sz="quarter" idx="34" hasCustomPrompt="1"/>
          </p:nvPr>
        </p:nvSpPr>
        <p:spPr>
          <a:xfrm>
            <a:off x="12407233" y="10602416"/>
            <a:ext cx="8928769" cy="1440360"/>
          </a:xfrm>
        </p:spPr>
        <p:txBody>
          <a:bodyPr>
            <a:noAutofit/>
          </a:bodyPr>
          <a:lstStyle>
            <a:lvl1pPr>
              <a:spcBef>
                <a:spcPts val="0"/>
              </a:spcBef>
              <a:defRPr sz="3200"/>
            </a:lvl1pPr>
          </a:lstStyle>
          <a:p>
            <a:pPr lvl="0"/>
            <a:r>
              <a:rPr lang="en-GB" noProof="0"/>
              <a:t>Put the </a:t>
            </a:r>
            <a:r>
              <a:rPr lang="en-GB" noProof="0" err="1"/>
              <a:t>desccription</a:t>
            </a:r>
            <a:r>
              <a:rPr lang="en-GB" noProof="0"/>
              <a:t> text here, keep it regular 32 </a:t>
            </a:r>
            <a:r>
              <a:rPr lang="en-GB" noProof="0" err="1"/>
              <a:t>pt</a:t>
            </a:r>
            <a:endParaRPr lang="en-GB" noProof="0"/>
          </a:p>
        </p:txBody>
      </p:sp>
      <p:sp>
        <p:nvSpPr>
          <p:cNvPr id="13" name="TextBox 12">
            <a:extLst>
              <a:ext uri="{FF2B5EF4-FFF2-40B4-BE49-F238E27FC236}">
                <a16:creationId xmlns:a16="http://schemas.microsoft.com/office/drawing/2014/main" id="{2B01AC93-92D9-A147-BDC6-27DC8FA8CB34}"/>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131299398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Four pictures">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124A353B-E374-7740-BADE-D936639B642B}"/>
              </a:ext>
            </a:extLst>
          </p:cNvPr>
          <p:cNvSpPr>
            <a:spLocks noGrp="1"/>
          </p:cNvSpPr>
          <p:nvPr>
            <p:ph type="body" sz="half" idx="2" hasCustomPrompt="1"/>
          </p:nvPr>
        </p:nvSpPr>
        <p:spPr>
          <a:xfrm>
            <a:off x="6766971" y="486000"/>
            <a:ext cx="5004056" cy="5939952"/>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3" name="Picture Placeholder 2">
            <a:extLst>
              <a:ext uri="{FF2B5EF4-FFF2-40B4-BE49-F238E27FC236}">
                <a16:creationId xmlns:a16="http://schemas.microsoft.com/office/drawing/2014/main" id="{DEE2AB82-CBD5-1145-9E32-3577A8B871DC}"/>
              </a:ext>
            </a:extLst>
          </p:cNvPr>
          <p:cNvSpPr>
            <a:spLocks noGrp="1"/>
          </p:cNvSpPr>
          <p:nvPr>
            <p:ph type="pic" sz="quarter" idx="19" hasCustomPrompt="1"/>
          </p:nvPr>
        </p:nvSpPr>
        <p:spPr>
          <a:xfrm>
            <a:off x="486000" y="486000"/>
            <a:ext cx="5849999" cy="6372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9" name="Picture Placeholder 2">
            <a:extLst>
              <a:ext uri="{FF2B5EF4-FFF2-40B4-BE49-F238E27FC236}">
                <a16:creationId xmlns:a16="http://schemas.microsoft.com/office/drawing/2014/main" id="{224B314B-F368-C345-A11C-63D267394698}"/>
              </a:ext>
            </a:extLst>
          </p:cNvPr>
          <p:cNvSpPr>
            <a:spLocks noGrp="1"/>
          </p:cNvSpPr>
          <p:nvPr>
            <p:ph type="pic" sz="quarter" idx="20" hasCustomPrompt="1"/>
          </p:nvPr>
        </p:nvSpPr>
        <p:spPr>
          <a:xfrm>
            <a:off x="6351996" y="6858000"/>
            <a:ext cx="5828421" cy="6372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3" name="Picture Placeholder 2">
            <a:extLst>
              <a:ext uri="{FF2B5EF4-FFF2-40B4-BE49-F238E27FC236}">
                <a16:creationId xmlns:a16="http://schemas.microsoft.com/office/drawing/2014/main" id="{0BDAE9D1-09EE-5948-864F-662D2BEFC95D}"/>
              </a:ext>
            </a:extLst>
          </p:cNvPr>
          <p:cNvSpPr>
            <a:spLocks noGrp="1"/>
          </p:cNvSpPr>
          <p:nvPr>
            <p:ph type="pic" sz="quarter" idx="21" hasCustomPrompt="1"/>
          </p:nvPr>
        </p:nvSpPr>
        <p:spPr>
          <a:xfrm>
            <a:off x="12201996" y="486000"/>
            <a:ext cx="5849999" cy="6372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4" name="Picture Placeholder 2">
            <a:extLst>
              <a:ext uri="{FF2B5EF4-FFF2-40B4-BE49-F238E27FC236}">
                <a16:creationId xmlns:a16="http://schemas.microsoft.com/office/drawing/2014/main" id="{5A3CC44A-564E-0843-B5E6-9CA66C87720E}"/>
              </a:ext>
            </a:extLst>
          </p:cNvPr>
          <p:cNvSpPr>
            <a:spLocks noGrp="1"/>
          </p:cNvSpPr>
          <p:nvPr>
            <p:ph type="pic" sz="quarter" idx="22" hasCustomPrompt="1"/>
          </p:nvPr>
        </p:nvSpPr>
        <p:spPr>
          <a:xfrm>
            <a:off x="18073575" y="6858000"/>
            <a:ext cx="5828421" cy="6372000"/>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5" name="Text Placeholder 3">
            <a:extLst>
              <a:ext uri="{FF2B5EF4-FFF2-40B4-BE49-F238E27FC236}">
                <a16:creationId xmlns:a16="http://schemas.microsoft.com/office/drawing/2014/main" id="{18BFCA73-5A52-2948-854C-23498017B30C}"/>
              </a:ext>
            </a:extLst>
          </p:cNvPr>
          <p:cNvSpPr>
            <a:spLocks noGrp="1"/>
          </p:cNvSpPr>
          <p:nvPr>
            <p:ph type="body" sz="half" idx="23" hasCustomPrompt="1"/>
          </p:nvPr>
        </p:nvSpPr>
        <p:spPr>
          <a:xfrm>
            <a:off x="908974" y="7286690"/>
            <a:ext cx="5004056" cy="5939952"/>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36" name="Text Placeholder 3">
            <a:extLst>
              <a:ext uri="{FF2B5EF4-FFF2-40B4-BE49-F238E27FC236}">
                <a16:creationId xmlns:a16="http://schemas.microsoft.com/office/drawing/2014/main" id="{26C19E7B-3293-A34C-8019-B66220F68581}"/>
              </a:ext>
            </a:extLst>
          </p:cNvPr>
          <p:cNvSpPr>
            <a:spLocks noGrp="1"/>
          </p:cNvSpPr>
          <p:nvPr>
            <p:ph type="body" sz="half" idx="24" hasCustomPrompt="1"/>
          </p:nvPr>
        </p:nvSpPr>
        <p:spPr>
          <a:xfrm>
            <a:off x="18485758" y="486000"/>
            <a:ext cx="5004056" cy="5939952"/>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37" name="Text Placeholder 3">
            <a:extLst>
              <a:ext uri="{FF2B5EF4-FFF2-40B4-BE49-F238E27FC236}">
                <a16:creationId xmlns:a16="http://schemas.microsoft.com/office/drawing/2014/main" id="{71E04723-43C9-E249-B03C-FDED0C006F77}"/>
              </a:ext>
            </a:extLst>
          </p:cNvPr>
          <p:cNvSpPr>
            <a:spLocks noGrp="1"/>
          </p:cNvSpPr>
          <p:nvPr>
            <p:ph type="body" sz="half" idx="25" hasCustomPrompt="1"/>
          </p:nvPr>
        </p:nvSpPr>
        <p:spPr>
          <a:xfrm>
            <a:off x="12624969" y="7286690"/>
            <a:ext cx="5004056" cy="5939952"/>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11" name="TextBox 10">
            <a:extLst>
              <a:ext uri="{FF2B5EF4-FFF2-40B4-BE49-F238E27FC236}">
                <a16:creationId xmlns:a16="http://schemas.microsoft.com/office/drawing/2014/main" id="{5D4B7E75-FBA5-1D4B-BA9C-11BD2FE3C7B0}"/>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196665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headline and number 2">
    <p:bg>
      <p:bgPr>
        <a:solidFill>
          <a:schemeClr val="bg1"/>
        </a:solidFill>
        <a:effectLst/>
      </p:bgPr>
    </p:bg>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F6085D9F-3237-7542-9B7D-4ED3CD3607B0}"/>
              </a:ext>
            </a:extLst>
          </p:cNvPr>
          <p:cNvSpPr>
            <a:spLocks noGrp="1"/>
          </p:cNvSpPr>
          <p:nvPr>
            <p:ph type="body" sz="quarter" idx="11" hasCustomPrompt="1"/>
          </p:nvPr>
        </p:nvSpPr>
        <p:spPr>
          <a:xfrm>
            <a:off x="3066645" y="3402013"/>
            <a:ext cx="6113167" cy="6911975"/>
          </a:xfrm>
          <a:noFill/>
        </p:spPr>
        <p:txBody>
          <a:bodyPr anchor="ctr" anchorCtr="0">
            <a:noAutofit/>
          </a:bodyPr>
          <a:lstStyle>
            <a:lvl1pPr marL="0" indent="0" algn="ctr">
              <a:buNone/>
              <a:defRPr sz="30000" b="1" spc="-600" baseline="0">
                <a:ln>
                  <a:noFill/>
                </a:ln>
                <a:solidFill>
                  <a:schemeClr val="tx1"/>
                </a:solidFill>
              </a:defRPr>
            </a:lvl1pPr>
          </a:lstStyle>
          <a:p>
            <a:pPr lvl="0"/>
            <a:r>
              <a:rPr lang="en-GB" noProof="0"/>
              <a:t>#</a:t>
            </a:r>
          </a:p>
        </p:txBody>
      </p:sp>
      <p:sp>
        <p:nvSpPr>
          <p:cNvPr id="7" name="Title Placeholder 6">
            <a:extLst>
              <a:ext uri="{FF2B5EF4-FFF2-40B4-BE49-F238E27FC236}">
                <a16:creationId xmlns:a16="http://schemas.microsoft.com/office/drawing/2014/main" id="{C80CB7B3-E10E-DC43-BC18-2A74C9A160F8}"/>
              </a:ext>
            </a:extLst>
          </p:cNvPr>
          <p:cNvSpPr>
            <a:spLocks noGrp="1"/>
          </p:cNvSpPr>
          <p:nvPr>
            <p:ph type="title" hasCustomPrompt="1"/>
          </p:nvPr>
        </p:nvSpPr>
        <p:spPr>
          <a:xfrm>
            <a:off x="9166225" y="3402013"/>
            <a:ext cx="12169775" cy="6911975"/>
          </a:xfrm>
          <a:prstGeom prst="rect">
            <a:avLst/>
          </a:prstGeom>
          <a:noFill/>
        </p:spPr>
        <p:txBody>
          <a:bodyPr vert="horz" lIns="360000" tIns="360000" rIns="360000" bIns="360000" rtlCol="0" anchor="ctr">
            <a:noAutofit/>
          </a:bodyPr>
          <a:lstStyle>
            <a:lvl1pPr>
              <a:defRPr/>
            </a:lvl1pPr>
          </a:lstStyle>
          <a:p>
            <a:r>
              <a:rPr lang="en-GB" noProof="0"/>
              <a:t>Put the chapter headline here,</a:t>
            </a:r>
            <a:br>
              <a:rPr lang="en-GB" noProof="0"/>
            </a:br>
            <a:r>
              <a:rPr lang="en-GB" noProof="0"/>
              <a:t>keep it bold 80 </a:t>
            </a:r>
            <a:r>
              <a:rPr lang="en-GB" noProof="0" err="1"/>
              <a:t>pt</a:t>
            </a:r>
            <a:endParaRPr lang="en-GB" noProof="0"/>
          </a:p>
        </p:txBody>
      </p:sp>
      <p:sp>
        <p:nvSpPr>
          <p:cNvPr id="4" name="Footer Placeholder 3">
            <a:extLst>
              <a:ext uri="{FF2B5EF4-FFF2-40B4-BE49-F238E27FC236}">
                <a16:creationId xmlns:a16="http://schemas.microsoft.com/office/drawing/2014/main" id="{3A7F9CFD-AFFB-3B47-AFEC-CEE18A9D2CE6}"/>
              </a:ext>
            </a:extLst>
          </p:cNvPr>
          <p:cNvSpPr>
            <a:spLocks noGrp="1"/>
          </p:cNvSpPr>
          <p:nvPr>
            <p:ph type="ftr" sz="quarter" idx="12"/>
          </p:nvPr>
        </p:nvSpPr>
        <p:spPr/>
        <p:txBody>
          <a:bodyPr/>
          <a:lstStyle/>
          <a:p>
            <a:endParaRPr lang="en-NL"/>
          </a:p>
        </p:txBody>
      </p:sp>
      <p:sp>
        <p:nvSpPr>
          <p:cNvPr id="10" name="TextBox 9">
            <a:extLst>
              <a:ext uri="{FF2B5EF4-FFF2-40B4-BE49-F238E27FC236}">
                <a16:creationId xmlns:a16="http://schemas.microsoft.com/office/drawing/2014/main" id="{C416BDAF-6CDC-8648-8B2F-B8146F0C0E7E}"/>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77288459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Eight pictures">
    <p:spTree>
      <p:nvGrpSpPr>
        <p:cNvPr id="1" name=""/>
        <p:cNvGrpSpPr/>
        <p:nvPr/>
      </p:nvGrpSpPr>
      <p:grpSpPr>
        <a:xfrm>
          <a:off x="0" y="0"/>
          <a:ext cx="0" cy="0"/>
          <a:chOff x="0" y="0"/>
          <a:chExt cx="0" cy="0"/>
        </a:xfrm>
      </p:grpSpPr>
      <p:sp>
        <p:nvSpPr>
          <p:cNvPr id="13" name="Picture Placeholder 2">
            <a:extLst>
              <a:ext uri="{FF2B5EF4-FFF2-40B4-BE49-F238E27FC236}">
                <a16:creationId xmlns:a16="http://schemas.microsoft.com/office/drawing/2014/main" id="{D1148F2D-229C-E245-B364-AD926A8E5678}"/>
              </a:ext>
            </a:extLst>
          </p:cNvPr>
          <p:cNvSpPr>
            <a:spLocks noGrp="1"/>
          </p:cNvSpPr>
          <p:nvPr>
            <p:ph type="pic" sz="quarter" idx="19" hasCustomPrompt="1"/>
          </p:nvPr>
        </p:nvSpPr>
        <p:spPr>
          <a:xfrm>
            <a:off x="486000" y="486001"/>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4" name="Text Placeholder 3">
            <a:extLst>
              <a:ext uri="{FF2B5EF4-FFF2-40B4-BE49-F238E27FC236}">
                <a16:creationId xmlns:a16="http://schemas.microsoft.com/office/drawing/2014/main" id="{EF6C2542-122E-CD4A-95A0-0315258EEA53}"/>
              </a:ext>
            </a:extLst>
          </p:cNvPr>
          <p:cNvSpPr>
            <a:spLocks noGrp="1"/>
          </p:cNvSpPr>
          <p:nvPr>
            <p:ph type="body" sz="half" idx="23" hasCustomPrompt="1"/>
          </p:nvPr>
        </p:nvSpPr>
        <p:spPr>
          <a:xfrm>
            <a:off x="513287" y="3888024"/>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15" name="Picture Placeholder 2">
            <a:extLst>
              <a:ext uri="{FF2B5EF4-FFF2-40B4-BE49-F238E27FC236}">
                <a16:creationId xmlns:a16="http://schemas.microsoft.com/office/drawing/2014/main" id="{EBB6C642-10AD-6A47-8744-E825A5EEEA34}"/>
              </a:ext>
            </a:extLst>
          </p:cNvPr>
          <p:cNvSpPr>
            <a:spLocks noGrp="1"/>
          </p:cNvSpPr>
          <p:nvPr>
            <p:ph type="pic" sz="quarter" idx="24" hasCustomPrompt="1"/>
          </p:nvPr>
        </p:nvSpPr>
        <p:spPr>
          <a:xfrm>
            <a:off x="6430565" y="486001"/>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6" name="Picture Placeholder 2">
            <a:extLst>
              <a:ext uri="{FF2B5EF4-FFF2-40B4-BE49-F238E27FC236}">
                <a16:creationId xmlns:a16="http://schemas.microsoft.com/office/drawing/2014/main" id="{B2B7FCEF-39D8-6D47-A0D2-218CCB2588EF}"/>
              </a:ext>
            </a:extLst>
          </p:cNvPr>
          <p:cNvSpPr>
            <a:spLocks noGrp="1"/>
          </p:cNvSpPr>
          <p:nvPr>
            <p:ph type="pic" sz="quarter" idx="25" hasCustomPrompt="1"/>
          </p:nvPr>
        </p:nvSpPr>
        <p:spPr>
          <a:xfrm>
            <a:off x="12367245" y="486001"/>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7" name="Picture Placeholder 2">
            <a:extLst>
              <a:ext uri="{FF2B5EF4-FFF2-40B4-BE49-F238E27FC236}">
                <a16:creationId xmlns:a16="http://schemas.microsoft.com/office/drawing/2014/main" id="{D227A8B8-BE42-0845-B6D6-A1A356E29BFC}"/>
              </a:ext>
            </a:extLst>
          </p:cNvPr>
          <p:cNvSpPr>
            <a:spLocks noGrp="1"/>
          </p:cNvSpPr>
          <p:nvPr>
            <p:ph type="pic" sz="quarter" idx="22" hasCustomPrompt="1"/>
          </p:nvPr>
        </p:nvSpPr>
        <p:spPr>
          <a:xfrm>
            <a:off x="18317394" y="461345"/>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8" name="Text Placeholder 3">
            <a:extLst>
              <a:ext uri="{FF2B5EF4-FFF2-40B4-BE49-F238E27FC236}">
                <a16:creationId xmlns:a16="http://schemas.microsoft.com/office/drawing/2014/main" id="{8BC99C37-5961-7A49-BB6C-EF345DB054E6}"/>
              </a:ext>
            </a:extLst>
          </p:cNvPr>
          <p:cNvSpPr>
            <a:spLocks noGrp="1"/>
          </p:cNvSpPr>
          <p:nvPr>
            <p:ph type="body" sz="half" idx="26" hasCustomPrompt="1"/>
          </p:nvPr>
        </p:nvSpPr>
        <p:spPr>
          <a:xfrm>
            <a:off x="6430566" y="3888024"/>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19" name="Text Placeholder 3">
            <a:extLst>
              <a:ext uri="{FF2B5EF4-FFF2-40B4-BE49-F238E27FC236}">
                <a16:creationId xmlns:a16="http://schemas.microsoft.com/office/drawing/2014/main" id="{EA510DE5-BF9D-6347-AB9C-33A7759FF1D4}"/>
              </a:ext>
            </a:extLst>
          </p:cNvPr>
          <p:cNvSpPr>
            <a:spLocks noGrp="1"/>
          </p:cNvSpPr>
          <p:nvPr>
            <p:ph type="body" sz="half" idx="27" hasCustomPrompt="1"/>
          </p:nvPr>
        </p:nvSpPr>
        <p:spPr>
          <a:xfrm>
            <a:off x="12347846" y="3888024"/>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24" name="Text Placeholder 3">
            <a:extLst>
              <a:ext uri="{FF2B5EF4-FFF2-40B4-BE49-F238E27FC236}">
                <a16:creationId xmlns:a16="http://schemas.microsoft.com/office/drawing/2014/main" id="{A33793B0-DBB7-ED4A-8B92-AE77D9B42399}"/>
              </a:ext>
            </a:extLst>
          </p:cNvPr>
          <p:cNvSpPr>
            <a:spLocks noGrp="1"/>
          </p:cNvSpPr>
          <p:nvPr>
            <p:ph type="body" sz="half" idx="28" hasCustomPrompt="1"/>
          </p:nvPr>
        </p:nvSpPr>
        <p:spPr>
          <a:xfrm>
            <a:off x="18344680" y="3888024"/>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27" name="Picture Placeholder 2">
            <a:extLst>
              <a:ext uri="{FF2B5EF4-FFF2-40B4-BE49-F238E27FC236}">
                <a16:creationId xmlns:a16="http://schemas.microsoft.com/office/drawing/2014/main" id="{37D70117-C030-944C-BBCC-0D4544F2D82B}"/>
              </a:ext>
            </a:extLst>
          </p:cNvPr>
          <p:cNvSpPr>
            <a:spLocks noGrp="1"/>
          </p:cNvSpPr>
          <p:nvPr>
            <p:ph type="pic" sz="quarter" idx="29" hasCustomPrompt="1"/>
          </p:nvPr>
        </p:nvSpPr>
        <p:spPr>
          <a:xfrm>
            <a:off x="486000" y="6885325"/>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28" name="Text Placeholder 3">
            <a:extLst>
              <a:ext uri="{FF2B5EF4-FFF2-40B4-BE49-F238E27FC236}">
                <a16:creationId xmlns:a16="http://schemas.microsoft.com/office/drawing/2014/main" id="{5568282C-2BAE-0F42-AC35-AC2003AF14A7}"/>
              </a:ext>
            </a:extLst>
          </p:cNvPr>
          <p:cNvSpPr>
            <a:spLocks noGrp="1"/>
          </p:cNvSpPr>
          <p:nvPr>
            <p:ph type="body" sz="half" idx="30" hasCustomPrompt="1"/>
          </p:nvPr>
        </p:nvSpPr>
        <p:spPr>
          <a:xfrm>
            <a:off x="513287" y="10287348"/>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29" name="Picture Placeholder 2">
            <a:extLst>
              <a:ext uri="{FF2B5EF4-FFF2-40B4-BE49-F238E27FC236}">
                <a16:creationId xmlns:a16="http://schemas.microsoft.com/office/drawing/2014/main" id="{37CDDD74-2C1A-CC4F-BC4A-348492B730E7}"/>
              </a:ext>
            </a:extLst>
          </p:cNvPr>
          <p:cNvSpPr>
            <a:spLocks noGrp="1"/>
          </p:cNvSpPr>
          <p:nvPr>
            <p:ph type="pic" sz="quarter" idx="31" hasCustomPrompt="1"/>
          </p:nvPr>
        </p:nvSpPr>
        <p:spPr>
          <a:xfrm>
            <a:off x="6430565" y="6885325"/>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0" name="Picture Placeholder 2">
            <a:extLst>
              <a:ext uri="{FF2B5EF4-FFF2-40B4-BE49-F238E27FC236}">
                <a16:creationId xmlns:a16="http://schemas.microsoft.com/office/drawing/2014/main" id="{F877013E-58D2-1048-9A44-45952400B3C6}"/>
              </a:ext>
            </a:extLst>
          </p:cNvPr>
          <p:cNvSpPr>
            <a:spLocks noGrp="1"/>
          </p:cNvSpPr>
          <p:nvPr>
            <p:ph type="pic" sz="quarter" idx="32" hasCustomPrompt="1"/>
          </p:nvPr>
        </p:nvSpPr>
        <p:spPr>
          <a:xfrm>
            <a:off x="12367245" y="6885325"/>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1" name="Picture Placeholder 2">
            <a:extLst>
              <a:ext uri="{FF2B5EF4-FFF2-40B4-BE49-F238E27FC236}">
                <a16:creationId xmlns:a16="http://schemas.microsoft.com/office/drawing/2014/main" id="{E8D329DB-9A89-5049-B680-BC0FE4373220}"/>
              </a:ext>
            </a:extLst>
          </p:cNvPr>
          <p:cNvSpPr>
            <a:spLocks noGrp="1"/>
          </p:cNvSpPr>
          <p:nvPr>
            <p:ph type="pic" sz="quarter" idx="33" hasCustomPrompt="1"/>
          </p:nvPr>
        </p:nvSpPr>
        <p:spPr>
          <a:xfrm>
            <a:off x="18317394" y="6860669"/>
            <a:ext cx="5584601" cy="2916014"/>
          </a:xfrm>
          <a:solidFill>
            <a:schemeClr val="bg1">
              <a:lumMod val="95000"/>
            </a:schemeClr>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32" name="Text Placeholder 3">
            <a:extLst>
              <a:ext uri="{FF2B5EF4-FFF2-40B4-BE49-F238E27FC236}">
                <a16:creationId xmlns:a16="http://schemas.microsoft.com/office/drawing/2014/main" id="{DCCD54B1-4EFD-D84A-AB50-B7F0F8E84372}"/>
              </a:ext>
            </a:extLst>
          </p:cNvPr>
          <p:cNvSpPr>
            <a:spLocks noGrp="1"/>
          </p:cNvSpPr>
          <p:nvPr>
            <p:ph type="body" sz="half" idx="34" hasCustomPrompt="1"/>
          </p:nvPr>
        </p:nvSpPr>
        <p:spPr>
          <a:xfrm>
            <a:off x="6430566" y="10287348"/>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33" name="Text Placeholder 3">
            <a:extLst>
              <a:ext uri="{FF2B5EF4-FFF2-40B4-BE49-F238E27FC236}">
                <a16:creationId xmlns:a16="http://schemas.microsoft.com/office/drawing/2014/main" id="{EA8F0C11-5CFB-B74A-9620-D6344A6CE488}"/>
              </a:ext>
            </a:extLst>
          </p:cNvPr>
          <p:cNvSpPr>
            <a:spLocks noGrp="1"/>
          </p:cNvSpPr>
          <p:nvPr>
            <p:ph type="body" sz="half" idx="35" hasCustomPrompt="1"/>
          </p:nvPr>
        </p:nvSpPr>
        <p:spPr>
          <a:xfrm>
            <a:off x="12347846" y="10287348"/>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34" name="Text Placeholder 3">
            <a:extLst>
              <a:ext uri="{FF2B5EF4-FFF2-40B4-BE49-F238E27FC236}">
                <a16:creationId xmlns:a16="http://schemas.microsoft.com/office/drawing/2014/main" id="{49DC448D-7351-DA40-9CEB-36EEBA5F7C1B}"/>
              </a:ext>
            </a:extLst>
          </p:cNvPr>
          <p:cNvSpPr>
            <a:spLocks noGrp="1"/>
          </p:cNvSpPr>
          <p:nvPr>
            <p:ph type="body" sz="half" idx="36" hasCustomPrompt="1"/>
          </p:nvPr>
        </p:nvSpPr>
        <p:spPr>
          <a:xfrm>
            <a:off x="18344680" y="10287348"/>
            <a:ext cx="5557314" cy="2969976"/>
          </a:xfrm>
        </p:spPr>
        <p:txBody>
          <a:bodyPr>
            <a:noAutofit/>
          </a:bodyPr>
          <a:lstStyle>
            <a:lvl1pPr marL="0" indent="0">
              <a:lnSpc>
                <a:spcPct val="100000"/>
              </a:lnSpc>
              <a:buNone/>
              <a:defRPr sz="2400"/>
            </a:lvl1pPr>
            <a:lvl2pPr marL="914286" indent="0">
              <a:buNone/>
              <a:defRPr sz="2800"/>
            </a:lvl2pPr>
            <a:lvl3pPr marL="1828573" indent="0">
              <a:buNone/>
              <a:defRPr sz="2400"/>
            </a:lvl3pPr>
            <a:lvl4pPr marL="2742859" indent="0">
              <a:buNone/>
              <a:defRPr sz="2000"/>
            </a:lvl4pPr>
            <a:lvl5pPr marL="3657143" indent="0">
              <a:buNone/>
              <a:defRPr sz="2000"/>
            </a:lvl5pPr>
            <a:lvl6pPr marL="4571429" indent="0">
              <a:buNone/>
              <a:defRPr sz="2000"/>
            </a:lvl6pPr>
            <a:lvl7pPr marL="5485714" indent="0">
              <a:buNone/>
              <a:defRPr sz="2000"/>
            </a:lvl7pPr>
            <a:lvl8pPr marL="6400000" indent="0">
              <a:buNone/>
              <a:defRPr sz="2000"/>
            </a:lvl8pPr>
            <a:lvl9pPr marL="7314286" indent="0">
              <a:buNone/>
              <a:defRPr sz="2000"/>
            </a:lvl9pPr>
          </a:lstStyle>
          <a:p>
            <a:pPr lvl="0"/>
            <a:r>
              <a:rPr lang="en-GB" noProof="0"/>
              <a:t>Put the description text here, keep it regular 24 </a:t>
            </a:r>
            <a:r>
              <a:rPr lang="en-GB" noProof="0" err="1"/>
              <a:t>pt</a:t>
            </a:r>
            <a:endParaRPr lang="en-GB" noProof="0"/>
          </a:p>
        </p:txBody>
      </p:sp>
      <p:sp>
        <p:nvSpPr>
          <p:cNvPr id="20" name="TextBox 19">
            <a:extLst>
              <a:ext uri="{FF2B5EF4-FFF2-40B4-BE49-F238E27FC236}">
                <a16:creationId xmlns:a16="http://schemas.microsoft.com/office/drawing/2014/main" id="{13CC2D47-81A3-FF42-97E8-18400B5ECD17}"/>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39856537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Before/aft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413F907-AE77-0746-B805-0D2E5F01B01D}"/>
              </a:ext>
            </a:extLst>
          </p:cNvPr>
          <p:cNvSpPr>
            <a:spLocks noGrp="1"/>
          </p:cNvSpPr>
          <p:nvPr>
            <p:ph type="pic" sz="quarter" idx="17" hasCustomPrompt="1"/>
          </p:nvPr>
        </p:nvSpPr>
        <p:spPr>
          <a:xfrm>
            <a:off x="3046415" y="4124209"/>
            <a:ext cx="7417707" cy="4462582"/>
          </a:xfrm>
          <a:solidFill>
            <a:srgbClr val="E4E5E3"/>
          </a:solidFill>
        </p:spPr>
        <p:txBody>
          <a:bodyPr>
            <a:normAutofit/>
          </a:bodyPr>
          <a:lstStyle>
            <a:lvl1pPr marL="0" indent="0" algn="ctr">
              <a:buNone/>
              <a:defRPr sz="2400">
                <a:solidFill>
                  <a:schemeClr val="tx1">
                    <a:lumMod val="65000"/>
                    <a:lumOff val="35000"/>
                  </a:schemeClr>
                </a:solidFill>
              </a:defRPr>
            </a:lvl1pPr>
          </a:lstStyle>
          <a:p>
            <a:r>
              <a:rPr lang="en-NL"/>
              <a:t>Drag and drop a topic-related picture into this frame</a:t>
            </a:r>
          </a:p>
        </p:txBody>
      </p:sp>
      <p:sp>
        <p:nvSpPr>
          <p:cNvPr id="19" name="Picture Placeholder 2">
            <a:extLst>
              <a:ext uri="{FF2B5EF4-FFF2-40B4-BE49-F238E27FC236}">
                <a16:creationId xmlns:a16="http://schemas.microsoft.com/office/drawing/2014/main" id="{0E481080-1B49-ED4F-B8EF-1D96447B74DD}"/>
              </a:ext>
            </a:extLst>
          </p:cNvPr>
          <p:cNvSpPr>
            <a:spLocks noGrp="1"/>
          </p:cNvSpPr>
          <p:nvPr>
            <p:ph type="pic" sz="quarter" idx="20" hasCustomPrompt="1"/>
          </p:nvPr>
        </p:nvSpPr>
        <p:spPr>
          <a:xfrm>
            <a:off x="13984332" y="4124209"/>
            <a:ext cx="7351669" cy="4462582"/>
          </a:xfrm>
          <a:solidFill>
            <a:srgbClr val="E4E5E3"/>
          </a:solidFill>
        </p:spPr>
        <p:txBody>
          <a:bodyPr>
            <a:normAutofit/>
          </a:bodyPr>
          <a:lstStyle>
            <a:lvl1pPr marL="0" marR="0" indent="0" algn="ctr" defTabSz="182857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16" name="Text Placeholder 5">
            <a:extLst>
              <a:ext uri="{FF2B5EF4-FFF2-40B4-BE49-F238E27FC236}">
                <a16:creationId xmlns:a16="http://schemas.microsoft.com/office/drawing/2014/main" id="{8B805C66-9B81-6F4A-8653-8751DC71F3C3}"/>
              </a:ext>
            </a:extLst>
          </p:cNvPr>
          <p:cNvSpPr>
            <a:spLocks noGrp="1"/>
          </p:cNvSpPr>
          <p:nvPr>
            <p:ph type="body" sz="quarter" idx="12" hasCustomPrompt="1"/>
          </p:nvPr>
        </p:nvSpPr>
        <p:spPr>
          <a:xfrm>
            <a:off x="3046415" y="9038944"/>
            <a:ext cx="7417707" cy="3003832"/>
          </a:xfrm>
        </p:spPr>
        <p:txBody>
          <a:bodyPr>
            <a:noAutofit/>
          </a:bodyPr>
          <a:lstStyle>
            <a:lvl1pPr>
              <a:spcBef>
                <a:spcPts val="0"/>
              </a:spcBef>
              <a:defRPr sz="3200"/>
            </a:lvl1pPr>
          </a:lstStyle>
          <a:p>
            <a:pPr lvl="0"/>
            <a:r>
              <a:rPr lang="en-GB" noProof="0"/>
              <a:t>Put the paragraph text here, keep it regular 32 </a:t>
            </a:r>
            <a:r>
              <a:rPr lang="en-GB" noProof="0" err="1"/>
              <a:t>pt</a:t>
            </a:r>
            <a:endParaRPr lang="en-GB" noProof="0"/>
          </a:p>
        </p:txBody>
      </p:sp>
      <p:sp>
        <p:nvSpPr>
          <p:cNvPr id="17" name="Text Placeholder 5">
            <a:extLst>
              <a:ext uri="{FF2B5EF4-FFF2-40B4-BE49-F238E27FC236}">
                <a16:creationId xmlns:a16="http://schemas.microsoft.com/office/drawing/2014/main" id="{FA6FB3B4-ED87-C644-AEAC-F1AF465F1548}"/>
              </a:ext>
            </a:extLst>
          </p:cNvPr>
          <p:cNvSpPr>
            <a:spLocks noGrp="1"/>
          </p:cNvSpPr>
          <p:nvPr>
            <p:ph type="body" sz="quarter" idx="22" hasCustomPrompt="1"/>
          </p:nvPr>
        </p:nvSpPr>
        <p:spPr>
          <a:xfrm>
            <a:off x="13993172" y="9038945"/>
            <a:ext cx="7342828" cy="3003830"/>
          </a:xfrm>
        </p:spPr>
        <p:txBody>
          <a:bodyPr>
            <a:noAutofit/>
          </a:bodyPr>
          <a:lstStyle>
            <a:lvl1pPr>
              <a:spcBef>
                <a:spcPts val="0"/>
              </a:spcBef>
              <a:defRPr sz="3200"/>
            </a:lvl1pPr>
          </a:lstStyle>
          <a:p>
            <a:pPr lvl="0"/>
            <a:r>
              <a:rPr lang="en-GB" noProof="0"/>
              <a:t>Put the paragraph text here, keep it regular 32 </a:t>
            </a:r>
            <a:r>
              <a:rPr lang="en-GB" noProof="0" err="1"/>
              <a:t>pt</a:t>
            </a:r>
            <a:endParaRPr lang="en-GB" noProof="0"/>
          </a:p>
        </p:txBody>
      </p:sp>
      <p:pic>
        <p:nvPicPr>
          <p:cNvPr id="6" name="Graphic 5">
            <a:extLst>
              <a:ext uri="{FF2B5EF4-FFF2-40B4-BE49-F238E27FC236}">
                <a16:creationId xmlns:a16="http://schemas.microsoft.com/office/drawing/2014/main" id="{326B79F7-6D85-D543-AFB0-64FD75BF7EB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31207" y="5056160"/>
            <a:ext cx="2520000" cy="2520000"/>
          </a:xfrm>
          <a:prstGeom prst="rect">
            <a:avLst/>
          </a:prstGeom>
        </p:spPr>
      </p:pic>
      <p:sp>
        <p:nvSpPr>
          <p:cNvPr id="10" name="Title 3">
            <a:extLst>
              <a:ext uri="{FF2B5EF4-FFF2-40B4-BE49-F238E27FC236}">
                <a16:creationId xmlns:a16="http://schemas.microsoft.com/office/drawing/2014/main" id="{F1E86907-9BCD-794E-BD6D-4F29BDCAC4DD}"/>
              </a:ext>
            </a:extLst>
          </p:cNvPr>
          <p:cNvSpPr>
            <a:spLocks noGrp="1"/>
          </p:cNvSpPr>
          <p:nvPr>
            <p:ph type="title" hasCustomPrompt="1"/>
          </p:nvPr>
        </p:nvSpPr>
        <p:spPr>
          <a:xfrm>
            <a:off x="1676293" y="1677600"/>
            <a:ext cx="21033007" cy="2446608"/>
          </a:xfrm>
        </p:spPr>
        <p:txBody>
          <a:bodyPr/>
          <a:lstStyle>
            <a:lvl1pPr>
              <a:defRPr sz="6000" spc="0" baseline="0"/>
            </a:lvl1pPr>
          </a:lstStyle>
          <a:p>
            <a:r>
              <a:rPr lang="en-GB"/>
              <a:t>Put a short headline here, keep it bold 60 </a:t>
            </a:r>
            <a:r>
              <a:rPr lang="en-GB" err="1"/>
              <a:t>pt</a:t>
            </a:r>
            <a:endParaRPr lang="en-NL"/>
          </a:p>
        </p:txBody>
      </p:sp>
      <p:sp>
        <p:nvSpPr>
          <p:cNvPr id="4" name="Footer Placeholder 3">
            <a:extLst>
              <a:ext uri="{FF2B5EF4-FFF2-40B4-BE49-F238E27FC236}">
                <a16:creationId xmlns:a16="http://schemas.microsoft.com/office/drawing/2014/main" id="{98B6467D-F33B-A84D-B882-5C4860E480A0}"/>
              </a:ext>
            </a:extLst>
          </p:cNvPr>
          <p:cNvSpPr>
            <a:spLocks noGrp="1"/>
          </p:cNvSpPr>
          <p:nvPr>
            <p:ph type="ftr" sz="quarter" idx="23"/>
          </p:nvPr>
        </p:nvSpPr>
        <p:spPr/>
        <p:txBody>
          <a:bodyPr/>
          <a:lstStyle/>
          <a:p>
            <a:endParaRPr lang="en-NL"/>
          </a:p>
        </p:txBody>
      </p:sp>
      <p:sp>
        <p:nvSpPr>
          <p:cNvPr id="13" name="TextBox 12">
            <a:extLst>
              <a:ext uri="{FF2B5EF4-FFF2-40B4-BE49-F238E27FC236}">
                <a16:creationId xmlns:a16="http://schemas.microsoft.com/office/drawing/2014/main" id="{698B3729-CC41-244D-B453-5B310C875397}"/>
              </a:ext>
            </a:extLst>
          </p:cNvPr>
          <p:cNvSpPr txBox="1"/>
          <p:nvPr userDrawn="1"/>
        </p:nvSpPr>
        <p:spPr>
          <a:xfrm>
            <a:off x="22416463" y="13226644"/>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36783745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Agenda/contents">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90F7D97-7943-F74E-8640-D30812E6AB99}"/>
              </a:ext>
            </a:extLst>
          </p:cNvPr>
          <p:cNvSpPr>
            <a:spLocks noGrp="1"/>
          </p:cNvSpPr>
          <p:nvPr>
            <p:ph type="title" hasCustomPrompt="1"/>
          </p:nvPr>
        </p:nvSpPr>
        <p:spPr>
          <a:xfrm>
            <a:off x="1676291" y="1677603"/>
            <a:ext cx="10514916" cy="2304454"/>
          </a:xfrm>
          <a:prstGeom prst="rect">
            <a:avLst/>
          </a:prstGeom>
        </p:spPr>
        <p:txBody>
          <a:bodyPr/>
          <a:lstStyle>
            <a:lvl1pPr>
              <a:lnSpc>
                <a:spcPct val="100000"/>
              </a:lnSpc>
              <a:defRPr sz="7200"/>
            </a:lvl1pPr>
          </a:lstStyle>
          <a:p>
            <a:r>
              <a:rPr lang="en-GB" noProof="0"/>
              <a:t>Agenda or contents</a:t>
            </a:r>
          </a:p>
        </p:txBody>
      </p:sp>
      <p:sp>
        <p:nvSpPr>
          <p:cNvPr id="10" name="Text Placeholder 9">
            <a:extLst>
              <a:ext uri="{FF2B5EF4-FFF2-40B4-BE49-F238E27FC236}">
                <a16:creationId xmlns:a16="http://schemas.microsoft.com/office/drawing/2014/main" id="{E234D5AF-452C-2E41-B572-1BD2DC3468B0}"/>
              </a:ext>
            </a:extLst>
          </p:cNvPr>
          <p:cNvSpPr>
            <a:spLocks noGrp="1"/>
          </p:cNvSpPr>
          <p:nvPr>
            <p:ph type="body" sz="quarter" idx="11" hasCustomPrompt="1"/>
          </p:nvPr>
        </p:nvSpPr>
        <p:spPr>
          <a:xfrm>
            <a:off x="1676291" y="4409733"/>
            <a:ext cx="10514916" cy="7633046"/>
          </a:xfrm>
        </p:spPr>
        <p:txBody>
          <a:bodyPr lIns="90000" rIns="90000">
            <a:noAutofit/>
          </a:bodyPr>
          <a:lstStyle>
            <a:lvl1pPr marL="0" marR="0" indent="0" algn="l" defTabSz="1828573" rtl="0" eaLnBrk="1" fontAlgn="auto" latinLnBrk="0" hangingPunct="1">
              <a:lnSpc>
                <a:spcPct val="100000"/>
              </a:lnSpc>
              <a:spcBef>
                <a:spcPts val="2000"/>
              </a:spcBef>
              <a:spcAft>
                <a:spcPts val="0"/>
              </a:spcAft>
              <a:buClrTx/>
              <a:buSzTx/>
              <a:buFont typeface="Arial" panose="020B0604020202020204" pitchFamily="34" charset="0"/>
              <a:buNone/>
              <a:tabLst/>
              <a:defRPr sz="4800"/>
            </a:lvl1pPr>
            <a:lvl2pPr marL="914286" marR="0" indent="0" algn="l" defTabSz="1828573" rtl="0" eaLnBrk="1" fontAlgn="auto" latinLnBrk="0" hangingPunct="1">
              <a:lnSpc>
                <a:spcPct val="100000"/>
              </a:lnSpc>
              <a:spcBef>
                <a:spcPts val="1000"/>
              </a:spcBef>
              <a:spcAft>
                <a:spcPts val="0"/>
              </a:spcAft>
              <a:buClrTx/>
              <a:buSzTx/>
              <a:buFont typeface="Arial" panose="020B0604020202020204" pitchFamily="34" charset="0"/>
              <a:buNone/>
              <a:tabLst/>
              <a:defRPr sz="3600"/>
            </a:lvl2pPr>
          </a:lstStyle>
          <a:p>
            <a:pPr lvl="0"/>
            <a:r>
              <a:rPr lang="en-GB" noProof="0"/>
              <a:t>Put the agenda topic here, </a:t>
            </a:r>
            <a:br>
              <a:rPr lang="en-GB" noProof="0"/>
            </a:br>
            <a:r>
              <a:rPr lang="en-GB" noProof="0"/>
              <a:t>keep it regular 24 pt</a:t>
            </a:r>
          </a:p>
        </p:txBody>
      </p:sp>
    </p:spTree>
    <p:extLst>
      <p:ext uri="{BB962C8B-B14F-4D97-AF65-F5344CB8AC3E}">
        <p14:creationId xmlns:p14="http://schemas.microsoft.com/office/powerpoint/2010/main" val="276271535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60_Title Sl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F6F0CEE-5038-4071-B80B-826461EE5D42}"/>
              </a:ext>
            </a:extLst>
          </p:cNvPr>
          <p:cNvSpPr>
            <a:spLocks noGrp="1"/>
          </p:cNvSpPr>
          <p:nvPr>
            <p:ph type="pic" sz="quarter" idx="10"/>
          </p:nvPr>
        </p:nvSpPr>
        <p:spPr>
          <a:xfrm>
            <a:off x="12164706" y="0"/>
            <a:ext cx="12217709" cy="13716000"/>
          </a:xfrm>
          <a:custGeom>
            <a:avLst/>
            <a:gdLst>
              <a:gd name="connsiteX0" fmla="*/ 0 w 3619500"/>
              <a:gd name="connsiteY0" fmla="*/ 0 h 5543550"/>
              <a:gd name="connsiteX1" fmla="*/ 3619500 w 3619500"/>
              <a:gd name="connsiteY1" fmla="*/ 0 h 5543550"/>
              <a:gd name="connsiteX2" fmla="*/ 3619500 w 3619500"/>
              <a:gd name="connsiteY2" fmla="*/ 5543550 h 5543550"/>
              <a:gd name="connsiteX3" fmla="*/ 0 w 3619500"/>
              <a:gd name="connsiteY3" fmla="*/ 5543550 h 5543550"/>
            </a:gdLst>
            <a:ahLst/>
            <a:cxnLst>
              <a:cxn ang="0">
                <a:pos x="connsiteX0" y="connsiteY0"/>
              </a:cxn>
              <a:cxn ang="0">
                <a:pos x="connsiteX1" y="connsiteY1"/>
              </a:cxn>
              <a:cxn ang="0">
                <a:pos x="connsiteX2" y="connsiteY2"/>
              </a:cxn>
              <a:cxn ang="0">
                <a:pos x="connsiteX3" y="connsiteY3"/>
              </a:cxn>
            </a:cxnLst>
            <a:rect l="l" t="t" r="r" b="b"/>
            <a:pathLst>
              <a:path w="3619500" h="5543550">
                <a:moveTo>
                  <a:pt x="0" y="0"/>
                </a:moveTo>
                <a:lnTo>
                  <a:pt x="3619500" y="0"/>
                </a:lnTo>
                <a:lnTo>
                  <a:pt x="3619500" y="5543550"/>
                </a:lnTo>
                <a:lnTo>
                  <a:pt x="0" y="5543550"/>
                </a:lnTo>
                <a:close/>
              </a:path>
            </a:pathLst>
          </a:custGeom>
          <a:solidFill>
            <a:schemeClr val="bg2"/>
          </a:solidFill>
          <a:ln>
            <a:noFill/>
          </a:ln>
        </p:spPr>
        <p:txBody>
          <a:bodyPr wrap="square">
            <a:noAutofit/>
          </a:bodyPr>
          <a:lstStyle>
            <a:lvl1pPr>
              <a:defRPr sz="2200"/>
            </a:lvl1pPr>
          </a:lstStyle>
          <a:p>
            <a:r>
              <a:rPr lang="en-US"/>
              <a:t>Click icon to add picture</a:t>
            </a:r>
            <a:endParaRPr lang="id-ID"/>
          </a:p>
        </p:txBody>
      </p:sp>
      <p:sp>
        <p:nvSpPr>
          <p:cNvPr id="12" name="Text Placeholder 8"/>
          <p:cNvSpPr>
            <a:spLocks noGrp="1"/>
          </p:cNvSpPr>
          <p:nvPr>
            <p:ph type="body" sz="quarter" idx="11" hasCustomPrompt="1"/>
          </p:nvPr>
        </p:nvSpPr>
        <p:spPr>
          <a:xfrm>
            <a:off x="1666770" y="6511929"/>
            <a:ext cx="9454771" cy="6395862"/>
          </a:xfrm>
          <a:prstGeom prst="rect">
            <a:avLst/>
          </a:prstGeom>
        </p:spPr>
        <p:txBody>
          <a:bodyPr/>
          <a:lstStyle>
            <a:lvl1pPr marL="0" indent="0">
              <a:buNone/>
              <a:defRPr sz="4800">
                <a:solidFill>
                  <a:schemeClr val="tx2"/>
                </a:solidFill>
                <a:latin typeface="+mj-lt"/>
              </a:defRPr>
            </a:lvl1pPr>
            <a:lvl2pPr marL="914308" indent="0">
              <a:buNone/>
              <a:defRPr sz="4000">
                <a:solidFill>
                  <a:schemeClr val="tx2"/>
                </a:solidFill>
                <a:latin typeface="+mj-lt"/>
              </a:defRPr>
            </a:lvl2pPr>
            <a:lvl3pPr marL="1828619" indent="0">
              <a:buNone/>
              <a:defRPr sz="3600">
                <a:solidFill>
                  <a:schemeClr val="tx2"/>
                </a:solidFill>
                <a:latin typeface="+mj-lt"/>
              </a:defRPr>
            </a:lvl3pPr>
            <a:lvl4pPr marL="2742927" indent="0">
              <a:buNone/>
              <a:defRPr sz="3200">
                <a:solidFill>
                  <a:schemeClr val="tx2"/>
                </a:solidFill>
                <a:latin typeface="+mj-lt"/>
              </a:defRPr>
            </a:lvl4pPr>
            <a:lvl5pPr marL="3657235" indent="0">
              <a:buNone/>
              <a:defRPr sz="3200">
                <a:solidFill>
                  <a:schemeClr val="tx2"/>
                </a:solidFill>
                <a:latin typeface="+mj-lt"/>
              </a:defRPr>
            </a:lvl5pPr>
          </a:lstStyle>
          <a:p>
            <a:pPr lvl="0"/>
            <a:r>
              <a:rPr lang="en-US"/>
              <a:t>Additional text or explanation</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itle 6"/>
          <p:cNvSpPr>
            <a:spLocks noGrp="1"/>
          </p:cNvSpPr>
          <p:nvPr>
            <p:ph type="title" hasCustomPrompt="1"/>
          </p:nvPr>
        </p:nvSpPr>
        <p:spPr>
          <a:xfrm>
            <a:off x="1667989" y="3223677"/>
            <a:ext cx="9445675" cy="2390130"/>
          </a:xfrm>
          <a:prstGeom prst="rect">
            <a:avLst/>
          </a:prstGeom>
        </p:spPr>
        <p:txBody>
          <a:bodyPr anchor="ctr"/>
          <a:lstStyle>
            <a:lvl1pPr>
              <a:defRPr sz="8000" b="1" baseline="0">
                <a:solidFill>
                  <a:schemeClr val="tx2"/>
                </a:solidFill>
              </a:defRPr>
            </a:lvl1pPr>
          </a:lstStyle>
          <a:p>
            <a:r>
              <a:rPr lang="en-US"/>
              <a:t>Slide title or statement here!</a:t>
            </a:r>
            <a:endParaRPr lang="en-GB"/>
          </a:p>
        </p:txBody>
      </p:sp>
      <p:sp>
        <p:nvSpPr>
          <p:cNvPr id="14" name="object 5"/>
          <p:cNvSpPr txBox="1"/>
          <p:nvPr userDrawn="1"/>
        </p:nvSpPr>
        <p:spPr>
          <a:xfrm>
            <a:off x="21829879" y="330729"/>
            <a:ext cx="2314425" cy="210310"/>
          </a:xfrm>
          <a:prstGeom prst="rect">
            <a:avLst/>
          </a:prstGeom>
        </p:spPr>
        <p:txBody>
          <a:bodyPr vert="horz" wrap="square" lIns="0" tIns="25396" rIns="0" bIns="0" rtlCol="0">
            <a:spAutoFit/>
          </a:bodyPr>
          <a:lstStyle/>
          <a:p>
            <a:pPr marL="25399">
              <a:lnSpc>
                <a:spcPct val="100000"/>
              </a:lnSpc>
              <a:spcBef>
                <a:spcPts val="200"/>
              </a:spcBef>
            </a:pPr>
            <a:r>
              <a:rPr sz="1200">
                <a:solidFill>
                  <a:srgbClr val="BCBEC0"/>
                </a:solidFill>
                <a:latin typeface="Noto IKEA Latin" panose="020B0502040504020204" pitchFamily="34" charset="0"/>
                <a:cs typeface="Verdana"/>
              </a:rPr>
              <a:t>© Inter IKEA </a:t>
            </a:r>
            <a:r>
              <a:rPr sz="1200" spc="-10">
                <a:solidFill>
                  <a:srgbClr val="BCBEC0"/>
                </a:solidFill>
                <a:latin typeface="Noto IKEA Latin" panose="020B0502040504020204" pitchFamily="34" charset="0"/>
                <a:cs typeface="Verdana"/>
              </a:rPr>
              <a:t>Systems </a:t>
            </a:r>
            <a:r>
              <a:rPr sz="1200" spc="-50">
                <a:solidFill>
                  <a:srgbClr val="BCBEC0"/>
                </a:solidFill>
                <a:latin typeface="Noto IKEA Latin" panose="020B0502040504020204" pitchFamily="34" charset="0"/>
                <a:cs typeface="Verdana"/>
              </a:rPr>
              <a:t>B.V.</a:t>
            </a:r>
            <a:r>
              <a:rPr sz="1200" spc="-140">
                <a:solidFill>
                  <a:srgbClr val="BCBEC0"/>
                </a:solidFill>
                <a:latin typeface="Noto IKEA Latin" panose="020B0502040504020204" pitchFamily="34" charset="0"/>
                <a:cs typeface="Verdana"/>
              </a:rPr>
              <a:t> </a:t>
            </a:r>
            <a:r>
              <a:rPr sz="1200">
                <a:solidFill>
                  <a:srgbClr val="BCBEC0"/>
                </a:solidFill>
                <a:latin typeface="Noto IKEA Latin" panose="020B0502040504020204" pitchFamily="34" charset="0"/>
                <a:cs typeface="Verdana"/>
              </a:rPr>
              <a:t>20</a:t>
            </a:r>
            <a:r>
              <a:rPr lang="de-DE" sz="1200">
                <a:solidFill>
                  <a:srgbClr val="BCBEC0"/>
                </a:solidFill>
                <a:latin typeface="Noto IKEA Latin" panose="020B0502040504020204" pitchFamily="34" charset="0"/>
                <a:cs typeface="Verdana"/>
              </a:rPr>
              <a:t>21</a:t>
            </a:r>
            <a:endParaRPr sz="1200">
              <a:latin typeface="Noto IKEA Latin" panose="020B0502040504020204" pitchFamily="34" charset="0"/>
              <a:cs typeface="Verdana"/>
            </a:endParaRPr>
          </a:p>
        </p:txBody>
      </p:sp>
      <p:sp>
        <p:nvSpPr>
          <p:cNvPr id="19" name="Freeform 16">
            <a:extLst>
              <a:ext uri="{FF2B5EF4-FFF2-40B4-BE49-F238E27FC236}">
                <a16:creationId xmlns:a16="http://schemas.microsoft.com/office/drawing/2014/main" id="{55B8A401-BE23-4241-BDCF-933FC8D52F4B}"/>
              </a:ext>
            </a:extLst>
          </p:cNvPr>
          <p:cNvSpPr>
            <a:spLocks/>
          </p:cNvSpPr>
          <p:nvPr userDrawn="1"/>
        </p:nvSpPr>
        <p:spPr bwMode="auto">
          <a:xfrm rot="10800000">
            <a:off x="868501" y="908797"/>
            <a:ext cx="717779" cy="615554"/>
          </a:xfrm>
          <a:custGeom>
            <a:avLst/>
            <a:gdLst>
              <a:gd name="T0" fmla="*/ 595 w 632"/>
              <a:gd name="T1" fmla="*/ 346 h 598"/>
              <a:gd name="T2" fmla="*/ 559 w 632"/>
              <a:gd name="T3" fmla="*/ 341 h 598"/>
              <a:gd name="T4" fmla="*/ 510 w 632"/>
              <a:gd name="T5" fmla="*/ 359 h 598"/>
              <a:gd name="T6" fmla="*/ 476 w 632"/>
              <a:gd name="T7" fmla="*/ 377 h 598"/>
              <a:gd name="T8" fmla="*/ 438 w 632"/>
              <a:gd name="T9" fmla="*/ 359 h 598"/>
              <a:gd name="T10" fmla="*/ 425 w 632"/>
              <a:gd name="T11" fmla="*/ 329 h 598"/>
              <a:gd name="T12" fmla="*/ 434 w 632"/>
              <a:gd name="T13" fmla="*/ 222 h 598"/>
              <a:gd name="T14" fmla="*/ 438 w 632"/>
              <a:gd name="T15" fmla="*/ 196 h 598"/>
              <a:gd name="T16" fmla="*/ 397 w 632"/>
              <a:gd name="T17" fmla="*/ 197 h 598"/>
              <a:gd name="T18" fmla="*/ 307 w 632"/>
              <a:gd name="T19" fmla="*/ 206 h 598"/>
              <a:gd name="T20" fmla="*/ 264 w 632"/>
              <a:gd name="T21" fmla="*/ 193 h 598"/>
              <a:gd name="T22" fmla="*/ 253 w 632"/>
              <a:gd name="T23" fmla="*/ 174 h 598"/>
              <a:gd name="T24" fmla="*/ 257 w 632"/>
              <a:gd name="T25" fmla="*/ 143 h 598"/>
              <a:gd name="T26" fmla="*/ 288 w 632"/>
              <a:gd name="T27" fmla="*/ 93 h 598"/>
              <a:gd name="T28" fmla="*/ 294 w 632"/>
              <a:gd name="T29" fmla="*/ 56 h 598"/>
              <a:gd name="T30" fmla="*/ 282 w 632"/>
              <a:gd name="T31" fmla="*/ 26 h 598"/>
              <a:gd name="T32" fmla="*/ 258 w 632"/>
              <a:gd name="T33" fmla="*/ 6 h 598"/>
              <a:gd name="T34" fmla="*/ 223 w 632"/>
              <a:gd name="T35" fmla="*/ 0 h 598"/>
              <a:gd name="T36" fmla="*/ 186 w 632"/>
              <a:gd name="T37" fmla="*/ 6 h 598"/>
              <a:gd name="T38" fmla="*/ 158 w 632"/>
              <a:gd name="T39" fmla="*/ 27 h 598"/>
              <a:gd name="T40" fmla="*/ 146 w 632"/>
              <a:gd name="T41" fmla="*/ 58 h 598"/>
              <a:gd name="T42" fmla="*/ 152 w 632"/>
              <a:gd name="T43" fmla="*/ 97 h 598"/>
              <a:gd name="T44" fmla="*/ 180 w 632"/>
              <a:gd name="T45" fmla="*/ 147 h 598"/>
              <a:gd name="T46" fmla="*/ 179 w 632"/>
              <a:gd name="T47" fmla="*/ 178 h 598"/>
              <a:gd name="T48" fmla="*/ 153 w 632"/>
              <a:gd name="T49" fmla="*/ 203 h 598"/>
              <a:gd name="T50" fmla="*/ 79 w 632"/>
              <a:gd name="T51" fmla="*/ 206 h 598"/>
              <a:gd name="T52" fmla="*/ 12 w 632"/>
              <a:gd name="T53" fmla="*/ 196 h 598"/>
              <a:gd name="T54" fmla="*/ 0 w 632"/>
              <a:gd name="T55" fmla="*/ 584 h 598"/>
              <a:gd name="T56" fmla="*/ 11 w 632"/>
              <a:gd name="T57" fmla="*/ 586 h 598"/>
              <a:gd name="T58" fmla="*/ 79 w 632"/>
              <a:gd name="T59" fmla="*/ 596 h 598"/>
              <a:gd name="T60" fmla="*/ 153 w 632"/>
              <a:gd name="T61" fmla="*/ 593 h 598"/>
              <a:gd name="T62" fmla="*/ 179 w 632"/>
              <a:gd name="T63" fmla="*/ 568 h 598"/>
              <a:gd name="T64" fmla="*/ 180 w 632"/>
              <a:gd name="T65" fmla="*/ 537 h 598"/>
              <a:gd name="T66" fmla="*/ 152 w 632"/>
              <a:gd name="T67" fmla="*/ 487 h 598"/>
              <a:gd name="T68" fmla="*/ 146 w 632"/>
              <a:gd name="T69" fmla="*/ 448 h 598"/>
              <a:gd name="T70" fmla="*/ 158 w 632"/>
              <a:gd name="T71" fmla="*/ 416 h 598"/>
              <a:gd name="T72" fmla="*/ 186 w 632"/>
              <a:gd name="T73" fmla="*/ 396 h 598"/>
              <a:gd name="T74" fmla="*/ 223 w 632"/>
              <a:gd name="T75" fmla="*/ 390 h 598"/>
              <a:gd name="T76" fmla="*/ 258 w 632"/>
              <a:gd name="T77" fmla="*/ 396 h 598"/>
              <a:gd name="T78" fmla="*/ 284 w 632"/>
              <a:gd name="T79" fmla="*/ 416 h 598"/>
              <a:gd name="T80" fmla="*/ 294 w 632"/>
              <a:gd name="T81" fmla="*/ 446 h 598"/>
              <a:gd name="T82" fmla="*/ 288 w 632"/>
              <a:gd name="T83" fmla="*/ 483 h 598"/>
              <a:gd name="T84" fmla="*/ 257 w 632"/>
              <a:gd name="T85" fmla="*/ 533 h 598"/>
              <a:gd name="T86" fmla="*/ 253 w 632"/>
              <a:gd name="T87" fmla="*/ 564 h 598"/>
              <a:gd name="T88" fmla="*/ 264 w 632"/>
              <a:gd name="T89" fmla="*/ 583 h 598"/>
              <a:gd name="T90" fmla="*/ 307 w 632"/>
              <a:gd name="T91" fmla="*/ 596 h 598"/>
              <a:gd name="T92" fmla="*/ 355 w 632"/>
              <a:gd name="T93" fmla="*/ 593 h 598"/>
              <a:gd name="T94" fmla="*/ 410 w 632"/>
              <a:gd name="T95" fmla="*/ 586 h 598"/>
              <a:gd name="T96" fmla="*/ 438 w 632"/>
              <a:gd name="T97" fmla="*/ 582 h 598"/>
              <a:gd name="T98" fmla="*/ 430 w 632"/>
              <a:gd name="T99" fmla="*/ 525 h 598"/>
              <a:gd name="T100" fmla="*/ 429 w 632"/>
              <a:gd name="T101" fmla="*/ 474 h 598"/>
              <a:gd name="T102" fmla="*/ 459 w 632"/>
              <a:gd name="T103" fmla="*/ 448 h 598"/>
              <a:gd name="T104" fmla="*/ 495 w 632"/>
              <a:gd name="T105" fmla="*/ 453 h 598"/>
              <a:gd name="T106" fmla="*/ 546 w 632"/>
              <a:gd name="T107" fmla="*/ 486 h 598"/>
              <a:gd name="T108" fmla="*/ 583 w 632"/>
              <a:gd name="T109" fmla="*/ 488 h 598"/>
              <a:gd name="T110" fmla="*/ 612 w 632"/>
              <a:gd name="T111" fmla="*/ 474 h 598"/>
              <a:gd name="T112" fmla="*/ 629 w 632"/>
              <a:gd name="T113" fmla="*/ 446 h 598"/>
              <a:gd name="T114" fmla="*/ 632 w 632"/>
              <a:gd name="T115" fmla="*/ 409 h 598"/>
              <a:gd name="T116" fmla="*/ 623 w 632"/>
              <a:gd name="T117" fmla="*/ 375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32" h="598">
                <a:moveTo>
                  <a:pt x="615" y="363"/>
                </a:moveTo>
                <a:lnTo>
                  <a:pt x="611" y="357"/>
                </a:lnTo>
                <a:lnTo>
                  <a:pt x="606" y="353"/>
                </a:lnTo>
                <a:lnTo>
                  <a:pt x="601" y="350"/>
                </a:lnTo>
                <a:lnTo>
                  <a:pt x="595" y="346"/>
                </a:lnTo>
                <a:lnTo>
                  <a:pt x="588" y="343"/>
                </a:lnTo>
                <a:lnTo>
                  <a:pt x="582" y="342"/>
                </a:lnTo>
                <a:lnTo>
                  <a:pt x="574" y="341"/>
                </a:lnTo>
                <a:lnTo>
                  <a:pt x="567" y="340"/>
                </a:lnTo>
                <a:lnTo>
                  <a:pt x="559" y="341"/>
                </a:lnTo>
                <a:lnTo>
                  <a:pt x="551" y="342"/>
                </a:lnTo>
                <a:lnTo>
                  <a:pt x="543" y="343"/>
                </a:lnTo>
                <a:lnTo>
                  <a:pt x="535" y="346"/>
                </a:lnTo>
                <a:lnTo>
                  <a:pt x="521" y="352"/>
                </a:lnTo>
                <a:lnTo>
                  <a:pt x="510" y="359"/>
                </a:lnTo>
                <a:lnTo>
                  <a:pt x="502" y="366"/>
                </a:lnTo>
                <a:lnTo>
                  <a:pt x="491" y="371"/>
                </a:lnTo>
                <a:lnTo>
                  <a:pt x="486" y="375"/>
                </a:lnTo>
                <a:lnTo>
                  <a:pt x="480" y="376"/>
                </a:lnTo>
                <a:lnTo>
                  <a:pt x="476" y="377"/>
                </a:lnTo>
                <a:lnTo>
                  <a:pt x="471" y="378"/>
                </a:lnTo>
                <a:lnTo>
                  <a:pt x="463" y="377"/>
                </a:lnTo>
                <a:lnTo>
                  <a:pt x="454" y="373"/>
                </a:lnTo>
                <a:lnTo>
                  <a:pt x="446" y="368"/>
                </a:lnTo>
                <a:lnTo>
                  <a:pt x="438" y="359"/>
                </a:lnTo>
                <a:lnTo>
                  <a:pt x="435" y="356"/>
                </a:lnTo>
                <a:lnTo>
                  <a:pt x="432" y="352"/>
                </a:lnTo>
                <a:lnTo>
                  <a:pt x="429" y="348"/>
                </a:lnTo>
                <a:lnTo>
                  <a:pt x="427" y="342"/>
                </a:lnTo>
                <a:lnTo>
                  <a:pt x="425" y="329"/>
                </a:lnTo>
                <a:lnTo>
                  <a:pt x="424" y="315"/>
                </a:lnTo>
                <a:lnTo>
                  <a:pt x="425" y="296"/>
                </a:lnTo>
                <a:lnTo>
                  <a:pt x="426" y="274"/>
                </a:lnTo>
                <a:lnTo>
                  <a:pt x="429" y="249"/>
                </a:lnTo>
                <a:lnTo>
                  <a:pt x="434" y="222"/>
                </a:lnTo>
                <a:lnTo>
                  <a:pt x="434" y="220"/>
                </a:lnTo>
                <a:lnTo>
                  <a:pt x="435" y="214"/>
                </a:lnTo>
                <a:lnTo>
                  <a:pt x="436" y="207"/>
                </a:lnTo>
                <a:lnTo>
                  <a:pt x="437" y="201"/>
                </a:lnTo>
                <a:lnTo>
                  <a:pt x="438" y="196"/>
                </a:lnTo>
                <a:lnTo>
                  <a:pt x="438" y="194"/>
                </a:lnTo>
                <a:lnTo>
                  <a:pt x="438" y="194"/>
                </a:lnTo>
                <a:lnTo>
                  <a:pt x="427" y="194"/>
                </a:lnTo>
                <a:lnTo>
                  <a:pt x="413" y="195"/>
                </a:lnTo>
                <a:lnTo>
                  <a:pt x="397" y="197"/>
                </a:lnTo>
                <a:lnTo>
                  <a:pt x="376" y="200"/>
                </a:lnTo>
                <a:lnTo>
                  <a:pt x="355" y="203"/>
                </a:lnTo>
                <a:lnTo>
                  <a:pt x="336" y="204"/>
                </a:lnTo>
                <a:lnTo>
                  <a:pt x="321" y="205"/>
                </a:lnTo>
                <a:lnTo>
                  <a:pt x="307" y="206"/>
                </a:lnTo>
                <a:lnTo>
                  <a:pt x="297" y="205"/>
                </a:lnTo>
                <a:lnTo>
                  <a:pt x="286" y="203"/>
                </a:lnTo>
                <a:lnTo>
                  <a:pt x="277" y="201"/>
                </a:lnTo>
                <a:lnTo>
                  <a:pt x="268" y="195"/>
                </a:lnTo>
                <a:lnTo>
                  <a:pt x="264" y="193"/>
                </a:lnTo>
                <a:lnTo>
                  <a:pt x="261" y="190"/>
                </a:lnTo>
                <a:lnTo>
                  <a:pt x="259" y="187"/>
                </a:lnTo>
                <a:lnTo>
                  <a:pt x="257" y="182"/>
                </a:lnTo>
                <a:lnTo>
                  <a:pt x="254" y="179"/>
                </a:lnTo>
                <a:lnTo>
                  <a:pt x="253" y="174"/>
                </a:lnTo>
                <a:lnTo>
                  <a:pt x="252" y="169"/>
                </a:lnTo>
                <a:lnTo>
                  <a:pt x="252" y="164"/>
                </a:lnTo>
                <a:lnTo>
                  <a:pt x="252" y="158"/>
                </a:lnTo>
                <a:lnTo>
                  <a:pt x="254" y="150"/>
                </a:lnTo>
                <a:lnTo>
                  <a:pt x="257" y="143"/>
                </a:lnTo>
                <a:lnTo>
                  <a:pt x="259" y="137"/>
                </a:lnTo>
                <a:lnTo>
                  <a:pt x="266" y="125"/>
                </a:lnTo>
                <a:lnTo>
                  <a:pt x="274" y="115"/>
                </a:lnTo>
                <a:lnTo>
                  <a:pt x="281" y="106"/>
                </a:lnTo>
                <a:lnTo>
                  <a:pt x="288" y="93"/>
                </a:lnTo>
                <a:lnTo>
                  <a:pt x="291" y="86"/>
                </a:lnTo>
                <a:lnTo>
                  <a:pt x="293" y="79"/>
                </a:lnTo>
                <a:lnTo>
                  <a:pt x="294" y="71"/>
                </a:lnTo>
                <a:lnTo>
                  <a:pt x="294" y="64"/>
                </a:lnTo>
                <a:lnTo>
                  <a:pt x="294" y="56"/>
                </a:lnTo>
                <a:lnTo>
                  <a:pt x="293" y="50"/>
                </a:lnTo>
                <a:lnTo>
                  <a:pt x="292" y="43"/>
                </a:lnTo>
                <a:lnTo>
                  <a:pt x="289" y="37"/>
                </a:lnTo>
                <a:lnTo>
                  <a:pt x="287" y="31"/>
                </a:lnTo>
                <a:lnTo>
                  <a:pt x="282" y="26"/>
                </a:lnTo>
                <a:lnTo>
                  <a:pt x="279" y="21"/>
                </a:lnTo>
                <a:lnTo>
                  <a:pt x="274" y="16"/>
                </a:lnTo>
                <a:lnTo>
                  <a:pt x="268" y="13"/>
                </a:lnTo>
                <a:lnTo>
                  <a:pt x="263" y="10"/>
                </a:lnTo>
                <a:lnTo>
                  <a:pt x="258" y="6"/>
                </a:lnTo>
                <a:lnTo>
                  <a:pt x="251" y="4"/>
                </a:lnTo>
                <a:lnTo>
                  <a:pt x="245" y="2"/>
                </a:lnTo>
                <a:lnTo>
                  <a:pt x="237" y="1"/>
                </a:lnTo>
                <a:lnTo>
                  <a:pt x="231" y="0"/>
                </a:lnTo>
                <a:lnTo>
                  <a:pt x="223" y="0"/>
                </a:lnTo>
                <a:lnTo>
                  <a:pt x="216" y="0"/>
                </a:lnTo>
                <a:lnTo>
                  <a:pt x="208" y="1"/>
                </a:lnTo>
                <a:lnTo>
                  <a:pt x="200" y="2"/>
                </a:lnTo>
                <a:lnTo>
                  <a:pt x="193" y="4"/>
                </a:lnTo>
                <a:lnTo>
                  <a:pt x="186" y="6"/>
                </a:lnTo>
                <a:lnTo>
                  <a:pt x="180" y="10"/>
                </a:lnTo>
                <a:lnTo>
                  <a:pt x="174" y="13"/>
                </a:lnTo>
                <a:lnTo>
                  <a:pt x="168" y="17"/>
                </a:lnTo>
                <a:lnTo>
                  <a:pt x="163" y="21"/>
                </a:lnTo>
                <a:lnTo>
                  <a:pt x="158" y="27"/>
                </a:lnTo>
                <a:lnTo>
                  <a:pt x="155" y="32"/>
                </a:lnTo>
                <a:lnTo>
                  <a:pt x="152" y="38"/>
                </a:lnTo>
                <a:lnTo>
                  <a:pt x="149" y="44"/>
                </a:lnTo>
                <a:lnTo>
                  <a:pt x="147" y="51"/>
                </a:lnTo>
                <a:lnTo>
                  <a:pt x="146" y="58"/>
                </a:lnTo>
                <a:lnTo>
                  <a:pt x="145" y="66"/>
                </a:lnTo>
                <a:lnTo>
                  <a:pt x="146" y="73"/>
                </a:lnTo>
                <a:lnTo>
                  <a:pt x="147" y="82"/>
                </a:lnTo>
                <a:lnTo>
                  <a:pt x="149" y="90"/>
                </a:lnTo>
                <a:lnTo>
                  <a:pt x="152" y="97"/>
                </a:lnTo>
                <a:lnTo>
                  <a:pt x="157" y="111"/>
                </a:lnTo>
                <a:lnTo>
                  <a:pt x="165" y="122"/>
                </a:lnTo>
                <a:lnTo>
                  <a:pt x="171" y="132"/>
                </a:lnTo>
                <a:lnTo>
                  <a:pt x="177" y="141"/>
                </a:lnTo>
                <a:lnTo>
                  <a:pt x="180" y="147"/>
                </a:lnTo>
                <a:lnTo>
                  <a:pt x="181" y="152"/>
                </a:lnTo>
                <a:lnTo>
                  <a:pt x="182" y="156"/>
                </a:lnTo>
                <a:lnTo>
                  <a:pt x="183" y="161"/>
                </a:lnTo>
                <a:lnTo>
                  <a:pt x="182" y="169"/>
                </a:lnTo>
                <a:lnTo>
                  <a:pt x="179" y="178"/>
                </a:lnTo>
                <a:lnTo>
                  <a:pt x="173" y="187"/>
                </a:lnTo>
                <a:lnTo>
                  <a:pt x="165" y="195"/>
                </a:lnTo>
                <a:lnTo>
                  <a:pt x="162" y="197"/>
                </a:lnTo>
                <a:lnTo>
                  <a:pt x="157" y="201"/>
                </a:lnTo>
                <a:lnTo>
                  <a:pt x="153" y="203"/>
                </a:lnTo>
                <a:lnTo>
                  <a:pt x="147" y="205"/>
                </a:lnTo>
                <a:lnTo>
                  <a:pt x="135" y="207"/>
                </a:lnTo>
                <a:lnTo>
                  <a:pt x="120" y="208"/>
                </a:lnTo>
                <a:lnTo>
                  <a:pt x="101" y="207"/>
                </a:lnTo>
                <a:lnTo>
                  <a:pt x="79" y="206"/>
                </a:lnTo>
                <a:lnTo>
                  <a:pt x="55" y="203"/>
                </a:lnTo>
                <a:lnTo>
                  <a:pt x="28" y="199"/>
                </a:lnTo>
                <a:lnTo>
                  <a:pt x="24" y="199"/>
                </a:lnTo>
                <a:lnTo>
                  <a:pt x="19" y="197"/>
                </a:lnTo>
                <a:lnTo>
                  <a:pt x="12" y="196"/>
                </a:lnTo>
                <a:lnTo>
                  <a:pt x="6" y="195"/>
                </a:lnTo>
                <a:lnTo>
                  <a:pt x="2" y="195"/>
                </a:lnTo>
                <a:lnTo>
                  <a:pt x="0" y="194"/>
                </a:lnTo>
                <a:lnTo>
                  <a:pt x="0" y="584"/>
                </a:lnTo>
                <a:lnTo>
                  <a:pt x="0" y="584"/>
                </a:lnTo>
                <a:lnTo>
                  <a:pt x="1" y="584"/>
                </a:lnTo>
                <a:lnTo>
                  <a:pt x="1" y="585"/>
                </a:lnTo>
                <a:lnTo>
                  <a:pt x="2" y="585"/>
                </a:lnTo>
                <a:lnTo>
                  <a:pt x="7" y="585"/>
                </a:lnTo>
                <a:lnTo>
                  <a:pt x="11" y="586"/>
                </a:lnTo>
                <a:lnTo>
                  <a:pt x="17" y="587"/>
                </a:lnTo>
                <a:lnTo>
                  <a:pt x="23" y="588"/>
                </a:lnTo>
                <a:lnTo>
                  <a:pt x="28" y="588"/>
                </a:lnTo>
                <a:lnTo>
                  <a:pt x="55" y="593"/>
                </a:lnTo>
                <a:lnTo>
                  <a:pt x="79" y="596"/>
                </a:lnTo>
                <a:lnTo>
                  <a:pt x="101" y="597"/>
                </a:lnTo>
                <a:lnTo>
                  <a:pt x="120" y="598"/>
                </a:lnTo>
                <a:lnTo>
                  <a:pt x="135" y="597"/>
                </a:lnTo>
                <a:lnTo>
                  <a:pt x="147" y="595"/>
                </a:lnTo>
                <a:lnTo>
                  <a:pt x="153" y="593"/>
                </a:lnTo>
                <a:lnTo>
                  <a:pt x="157" y="591"/>
                </a:lnTo>
                <a:lnTo>
                  <a:pt x="162" y="587"/>
                </a:lnTo>
                <a:lnTo>
                  <a:pt x="165" y="584"/>
                </a:lnTo>
                <a:lnTo>
                  <a:pt x="173" y="576"/>
                </a:lnTo>
                <a:lnTo>
                  <a:pt x="179" y="568"/>
                </a:lnTo>
                <a:lnTo>
                  <a:pt x="182" y="559"/>
                </a:lnTo>
                <a:lnTo>
                  <a:pt x="183" y="551"/>
                </a:lnTo>
                <a:lnTo>
                  <a:pt x="182" y="546"/>
                </a:lnTo>
                <a:lnTo>
                  <a:pt x="181" y="542"/>
                </a:lnTo>
                <a:lnTo>
                  <a:pt x="180" y="537"/>
                </a:lnTo>
                <a:lnTo>
                  <a:pt x="177" y="531"/>
                </a:lnTo>
                <a:lnTo>
                  <a:pt x="171" y="521"/>
                </a:lnTo>
                <a:lnTo>
                  <a:pt x="165" y="512"/>
                </a:lnTo>
                <a:lnTo>
                  <a:pt x="157" y="501"/>
                </a:lnTo>
                <a:lnTo>
                  <a:pt x="152" y="487"/>
                </a:lnTo>
                <a:lnTo>
                  <a:pt x="149" y="479"/>
                </a:lnTo>
                <a:lnTo>
                  <a:pt x="147" y="471"/>
                </a:lnTo>
                <a:lnTo>
                  <a:pt x="146" y="463"/>
                </a:lnTo>
                <a:lnTo>
                  <a:pt x="145" y="456"/>
                </a:lnTo>
                <a:lnTo>
                  <a:pt x="146" y="448"/>
                </a:lnTo>
                <a:lnTo>
                  <a:pt x="147" y="440"/>
                </a:lnTo>
                <a:lnTo>
                  <a:pt x="149" y="434"/>
                </a:lnTo>
                <a:lnTo>
                  <a:pt x="152" y="427"/>
                </a:lnTo>
                <a:lnTo>
                  <a:pt x="155" y="421"/>
                </a:lnTo>
                <a:lnTo>
                  <a:pt x="158" y="416"/>
                </a:lnTo>
                <a:lnTo>
                  <a:pt x="163" y="411"/>
                </a:lnTo>
                <a:lnTo>
                  <a:pt x="168" y="407"/>
                </a:lnTo>
                <a:lnTo>
                  <a:pt x="174" y="403"/>
                </a:lnTo>
                <a:lnTo>
                  <a:pt x="180" y="399"/>
                </a:lnTo>
                <a:lnTo>
                  <a:pt x="186" y="396"/>
                </a:lnTo>
                <a:lnTo>
                  <a:pt x="193" y="394"/>
                </a:lnTo>
                <a:lnTo>
                  <a:pt x="200" y="392"/>
                </a:lnTo>
                <a:lnTo>
                  <a:pt x="207" y="391"/>
                </a:lnTo>
                <a:lnTo>
                  <a:pt x="214" y="390"/>
                </a:lnTo>
                <a:lnTo>
                  <a:pt x="223" y="390"/>
                </a:lnTo>
                <a:lnTo>
                  <a:pt x="231" y="390"/>
                </a:lnTo>
                <a:lnTo>
                  <a:pt x="237" y="391"/>
                </a:lnTo>
                <a:lnTo>
                  <a:pt x="245" y="392"/>
                </a:lnTo>
                <a:lnTo>
                  <a:pt x="251" y="394"/>
                </a:lnTo>
                <a:lnTo>
                  <a:pt x="258" y="396"/>
                </a:lnTo>
                <a:lnTo>
                  <a:pt x="263" y="398"/>
                </a:lnTo>
                <a:lnTo>
                  <a:pt x="268" y="403"/>
                </a:lnTo>
                <a:lnTo>
                  <a:pt x="274" y="406"/>
                </a:lnTo>
                <a:lnTo>
                  <a:pt x="279" y="410"/>
                </a:lnTo>
                <a:lnTo>
                  <a:pt x="284" y="416"/>
                </a:lnTo>
                <a:lnTo>
                  <a:pt x="287" y="421"/>
                </a:lnTo>
                <a:lnTo>
                  <a:pt x="289" y="426"/>
                </a:lnTo>
                <a:lnTo>
                  <a:pt x="292" y="433"/>
                </a:lnTo>
                <a:lnTo>
                  <a:pt x="293" y="439"/>
                </a:lnTo>
                <a:lnTo>
                  <a:pt x="294" y="446"/>
                </a:lnTo>
                <a:lnTo>
                  <a:pt x="294" y="453"/>
                </a:lnTo>
                <a:lnTo>
                  <a:pt x="294" y="461"/>
                </a:lnTo>
                <a:lnTo>
                  <a:pt x="293" y="469"/>
                </a:lnTo>
                <a:lnTo>
                  <a:pt x="291" y="476"/>
                </a:lnTo>
                <a:lnTo>
                  <a:pt x="288" y="483"/>
                </a:lnTo>
                <a:lnTo>
                  <a:pt x="281" y="495"/>
                </a:lnTo>
                <a:lnTo>
                  <a:pt x="274" y="505"/>
                </a:lnTo>
                <a:lnTo>
                  <a:pt x="266" y="515"/>
                </a:lnTo>
                <a:lnTo>
                  <a:pt x="259" y="527"/>
                </a:lnTo>
                <a:lnTo>
                  <a:pt x="257" y="533"/>
                </a:lnTo>
                <a:lnTo>
                  <a:pt x="254" y="540"/>
                </a:lnTo>
                <a:lnTo>
                  <a:pt x="252" y="546"/>
                </a:lnTo>
                <a:lnTo>
                  <a:pt x="252" y="554"/>
                </a:lnTo>
                <a:lnTo>
                  <a:pt x="252" y="559"/>
                </a:lnTo>
                <a:lnTo>
                  <a:pt x="253" y="564"/>
                </a:lnTo>
                <a:lnTo>
                  <a:pt x="254" y="568"/>
                </a:lnTo>
                <a:lnTo>
                  <a:pt x="257" y="572"/>
                </a:lnTo>
                <a:lnTo>
                  <a:pt x="259" y="576"/>
                </a:lnTo>
                <a:lnTo>
                  <a:pt x="261" y="580"/>
                </a:lnTo>
                <a:lnTo>
                  <a:pt x="264" y="583"/>
                </a:lnTo>
                <a:lnTo>
                  <a:pt x="268" y="585"/>
                </a:lnTo>
                <a:lnTo>
                  <a:pt x="277" y="589"/>
                </a:lnTo>
                <a:lnTo>
                  <a:pt x="286" y="593"/>
                </a:lnTo>
                <a:lnTo>
                  <a:pt x="297" y="595"/>
                </a:lnTo>
                <a:lnTo>
                  <a:pt x="307" y="596"/>
                </a:lnTo>
                <a:lnTo>
                  <a:pt x="316" y="595"/>
                </a:lnTo>
                <a:lnTo>
                  <a:pt x="326" y="595"/>
                </a:lnTo>
                <a:lnTo>
                  <a:pt x="335" y="595"/>
                </a:lnTo>
                <a:lnTo>
                  <a:pt x="345" y="594"/>
                </a:lnTo>
                <a:lnTo>
                  <a:pt x="355" y="593"/>
                </a:lnTo>
                <a:lnTo>
                  <a:pt x="366" y="592"/>
                </a:lnTo>
                <a:lnTo>
                  <a:pt x="376" y="589"/>
                </a:lnTo>
                <a:lnTo>
                  <a:pt x="388" y="588"/>
                </a:lnTo>
                <a:lnTo>
                  <a:pt x="400" y="587"/>
                </a:lnTo>
                <a:lnTo>
                  <a:pt x="410" y="586"/>
                </a:lnTo>
                <a:lnTo>
                  <a:pt x="419" y="585"/>
                </a:lnTo>
                <a:lnTo>
                  <a:pt x="426" y="584"/>
                </a:lnTo>
                <a:lnTo>
                  <a:pt x="432" y="584"/>
                </a:lnTo>
                <a:lnTo>
                  <a:pt x="438" y="584"/>
                </a:lnTo>
                <a:lnTo>
                  <a:pt x="438" y="582"/>
                </a:lnTo>
                <a:lnTo>
                  <a:pt x="438" y="573"/>
                </a:lnTo>
                <a:lnTo>
                  <a:pt x="437" y="564"/>
                </a:lnTo>
                <a:lnTo>
                  <a:pt x="436" y="552"/>
                </a:lnTo>
                <a:lnTo>
                  <a:pt x="433" y="538"/>
                </a:lnTo>
                <a:lnTo>
                  <a:pt x="430" y="525"/>
                </a:lnTo>
                <a:lnTo>
                  <a:pt x="428" y="513"/>
                </a:lnTo>
                <a:lnTo>
                  <a:pt x="427" y="503"/>
                </a:lnTo>
                <a:lnTo>
                  <a:pt x="426" y="494"/>
                </a:lnTo>
                <a:lnTo>
                  <a:pt x="427" y="484"/>
                </a:lnTo>
                <a:lnTo>
                  <a:pt x="429" y="474"/>
                </a:lnTo>
                <a:lnTo>
                  <a:pt x="433" y="465"/>
                </a:lnTo>
                <a:lnTo>
                  <a:pt x="437" y="459"/>
                </a:lnTo>
                <a:lnTo>
                  <a:pt x="443" y="453"/>
                </a:lnTo>
                <a:lnTo>
                  <a:pt x="450" y="450"/>
                </a:lnTo>
                <a:lnTo>
                  <a:pt x="459" y="448"/>
                </a:lnTo>
                <a:lnTo>
                  <a:pt x="468" y="447"/>
                </a:lnTo>
                <a:lnTo>
                  <a:pt x="476" y="448"/>
                </a:lnTo>
                <a:lnTo>
                  <a:pt x="482" y="449"/>
                </a:lnTo>
                <a:lnTo>
                  <a:pt x="489" y="451"/>
                </a:lnTo>
                <a:lnTo>
                  <a:pt x="495" y="453"/>
                </a:lnTo>
                <a:lnTo>
                  <a:pt x="507" y="461"/>
                </a:lnTo>
                <a:lnTo>
                  <a:pt x="517" y="469"/>
                </a:lnTo>
                <a:lnTo>
                  <a:pt x="527" y="476"/>
                </a:lnTo>
                <a:lnTo>
                  <a:pt x="540" y="483"/>
                </a:lnTo>
                <a:lnTo>
                  <a:pt x="546" y="486"/>
                </a:lnTo>
                <a:lnTo>
                  <a:pt x="554" y="488"/>
                </a:lnTo>
                <a:lnTo>
                  <a:pt x="561" y="489"/>
                </a:lnTo>
                <a:lnTo>
                  <a:pt x="569" y="489"/>
                </a:lnTo>
                <a:lnTo>
                  <a:pt x="576" y="489"/>
                </a:lnTo>
                <a:lnTo>
                  <a:pt x="583" y="488"/>
                </a:lnTo>
                <a:lnTo>
                  <a:pt x="589" y="487"/>
                </a:lnTo>
                <a:lnTo>
                  <a:pt x="596" y="485"/>
                </a:lnTo>
                <a:lnTo>
                  <a:pt x="601" y="481"/>
                </a:lnTo>
                <a:lnTo>
                  <a:pt x="606" y="478"/>
                </a:lnTo>
                <a:lnTo>
                  <a:pt x="612" y="474"/>
                </a:lnTo>
                <a:lnTo>
                  <a:pt x="616" y="469"/>
                </a:lnTo>
                <a:lnTo>
                  <a:pt x="619" y="463"/>
                </a:lnTo>
                <a:lnTo>
                  <a:pt x="624" y="458"/>
                </a:lnTo>
                <a:lnTo>
                  <a:pt x="626" y="452"/>
                </a:lnTo>
                <a:lnTo>
                  <a:pt x="629" y="446"/>
                </a:lnTo>
                <a:lnTo>
                  <a:pt x="630" y="439"/>
                </a:lnTo>
                <a:lnTo>
                  <a:pt x="631" y="432"/>
                </a:lnTo>
                <a:lnTo>
                  <a:pt x="632" y="425"/>
                </a:lnTo>
                <a:lnTo>
                  <a:pt x="632" y="418"/>
                </a:lnTo>
                <a:lnTo>
                  <a:pt x="632" y="409"/>
                </a:lnTo>
                <a:lnTo>
                  <a:pt x="631" y="402"/>
                </a:lnTo>
                <a:lnTo>
                  <a:pt x="630" y="395"/>
                </a:lnTo>
                <a:lnTo>
                  <a:pt x="628" y="388"/>
                </a:lnTo>
                <a:lnTo>
                  <a:pt x="626" y="381"/>
                </a:lnTo>
                <a:lnTo>
                  <a:pt x="623" y="375"/>
                </a:lnTo>
                <a:lnTo>
                  <a:pt x="619" y="369"/>
                </a:lnTo>
                <a:lnTo>
                  <a:pt x="615" y="363"/>
                </a:lnTo>
                <a:close/>
              </a:path>
            </a:pathLst>
          </a:custGeom>
          <a:solidFill>
            <a:schemeClr val="bg1"/>
          </a:solidFill>
          <a:ln>
            <a:noFill/>
          </a:ln>
        </p:spPr>
        <p:txBody>
          <a:bodyPr vert="horz" wrap="square" lIns="487520" tIns="243760" rIns="487520" bIns="243760" numCol="1" anchor="t" anchorCtr="0" compatLnSpc="1">
            <a:prstTxWarp prst="textNoShape">
              <a:avLst/>
            </a:prstTxWarp>
          </a:bodyPr>
          <a:lstStyle/>
          <a:p>
            <a:endParaRPr lang="ru-RU" sz="4800"/>
          </a:p>
        </p:txBody>
      </p:sp>
    </p:spTree>
    <p:extLst>
      <p:ext uri="{BB962C8B-B14F-4D97-AF65-F5344CB8AC3E}">
        <p14:creationId xmlns:p14="http://schemas.microsoft.com/office/powerpoint/2010/main" val="41912326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Chapter name on colour background or image">
    <p:bg>
      <p:bgPr>
        <a:solidFill>
          <a:schemeClr val="bg1"/>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9F99187E-75C3-704C-B702-5FF1467E154C}"/>
              </a:ext>
            </a:extLst>
          </p:cNvPr>
          <p:cNvSpPr>
            <a:spLocks noGrp="1"/>
          </p:cNvSpPr>
          <p:nvPr>
            <p:ph type="subTitle" idx="1" hasCustomPrompt="1"/>
          </p:nvPr>
        </p:nvSpPr>
        <p:spPr>
          <a:xfrm>
            <a:off x="1700168" y="3905672"/>
            <a:ext cx="15531275" cy="5904656"/>
          </a:xfrm>
        </p:spPr>
        <p:txBody>
          <a:bodyPr anchor="ctr" anchorCtr="0">
            <a:noAutofit/>
          </a:bodyPr>
          <a:lstStyle>
            <a:lvl1pPr marL="0" indent="0" algn="l">
              <a:lnSpc>
                <a:spcPct val="100000"/>
              </a:lnSpc>
              <a:buNone/>
              <a:defRPr sz="11999" b="1" spc="-200" baseline="0">
                <a:latin typeface="Noto IKEA Latin" panose="020B0502040504020204" pitchFamily="34" charset="0"/>
              </a:defRPr>
            </a:lvl1pPr>
            <a:lvl2pPr marL="914286" indent="0" algn="ctr">
              <a:buNone/>
              <a:defRPr sz="4000"/>
            </a:lvl2pPr>
            <a:lvl3pPr marL="1828573" indent="0" algn="ctr">
              <a:buNone/>
              <a:defRPr sz="3600"/>
            </a:lvl3pPr>
            <a:lvl4pPr marL="2742859" indent="0" algn="ctr">
              <a:buNone/>
              <a:defRPr sz="3200"/>
            </a:lvl4pPr>
            <a:lvl5pPr marL="3657143" indent="0" algn="ctr">
              <a:buNone/>
              <a:defRPr sz="3200"/>
            </a:lvl5pPr>
            <a:lvl6pPr marL="4571429" indent="0" algn="ctr">
              <a:buNone/>
              <a:defRPr sz="3200"/>
            </a:lvl6pPr>
            <a:lvl7pPr marL="5485714" indent="0" algn="ctr">
              <a:buNone/>
              <a:defRPr sz="3200"/>
            </a:lvl7pPr>
            <a:lvl8pPr marL="6400000" indent="0" algn="ctr">
              <a:buNone/>
              <a:defRPr sz="3200"/>
            </a:lvl8pPr>
            <a:lvl9pPr marL="7314286" indent="0" algn="ctr">
              <a:buNone/>
              <a:defRPr sz="3200"/>
            </a:lvl9pPr>
          </a:lstStyle>
          <a:p>
            <a:r>
              <a:rPr lang="en-GB" noProof="0"/>
              <a:t>Put the chapter headline here, </a:t>
            </a:r>
            <a:br>
              <a:rPr lang="en-GB" noProof="0"/>
            </a:br>
            <a:r>
              <a:rPr lang="en-GB" noProof="0"/>
              <a:t>keep it bold 60 </a:t>
            </a:r>
            <a:r>
              <a:rPr lang="en-GB" noProof="0" err="1"/>
              <a:t>pt</a:t>
            </a:r>
            <a:endParaRPr lang="en-GB" noProof="0"/>
          </a:p>
        </p:txBody>
      </p:sp>
      <p:sp>
        <p:nvSpPr>
          <p:cNvPr id="7" name="Text Placeholder 3">
            <a:extLst>
              <a:ext uri="{FF2B5EF4-FFF2-40B4-BE49-F238E27FC236}">
                <a16:creationId xmlns:a16="http://schemas.microsoft.com/office/drawing/2014/main" id="{6197EBF1-7F60-D44A-93CB-4809CDC33B1D}"/>
              </a:ext>
            </a:extLst>
          </p:cNvPr>
          <p:cNvSpPr>
            <a:spLocks noGrp="1"/>
          </p:cNvSpPr>
          <p:nvPr>
            <p:ph type="body" sz="quarter" idx="18" hasCustomPrompt="1"/>
          </p:nvPr>
        </p:nvSpPr>
        <p:spPr>
          <a:xfrm rot="5400000">
            <a:off x="20902621" y="2898380"/>
            <a:ext cx="5759746" cy="719337"/>
          </a:xfrm>
        </p:spPr>
        <p:txBody>
          <a:bodyPr anchor="ctr"/>
          <a:lstStyle>
            <a:lvl1pPr>
              <a:defRPr sz="1600">
                <a:solidFill>
                  <a:schemeClr val="tx1">
                    <a:lumMod val="50000"/>
                    <a:lumOff val="50000"/>
                  </a:schemeClr>
                </a:solidFill>
              </a:defRPr>
            </a:lvl1pPr>
          </a:lstStyle>
          <a:p>
            <a:pPr lvl="0"/>
            <a:r>
              <a:rPr lang="en-US"/>
              <a:t>© Inter IKEA Systems B.V. 2020</a:t>
            </a:r>
            <a:endParaRPr lang="en-GB"/>
          </a:p>
        </p:txBody>
      </p:sp>
    </p:spTree>
    <p:extLst>
      <p:ext uri="{BB962C8B-B14F-4D97-AF65-F5344CB8AC3E}">
        <p14:creationId xmlns:p14="http://schemas.microsoft.com/office/powerpoint/2010/main" val="411545997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Chapter name with number on colour background or image">
    <p:bg>
      <p:bgPr>
        <a:solidFill>
          <a:schemeClr val="bg1"/>
        </a:solidFill>
        <a:effectLst/>
      </p:bgPr>
    </p:bg>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85D87CF5-198A-D24A-8C46-75F45766C3CF}"/>
              </a:ext>
            </a:extLst>
          </p:cNvPr>
          <p:cNvSpPr>
            <a:spLocks noGrp="1"/>
          </p:cNvSpPr>
          <p:nvPr>
            <p:ph type="pic" sz="quarter" idx="14" hasCustomPrompt="1"/>
          </p:nvPr>
        </p:nvSpPr>
        <p:spPr>
          <a:xfrm>
            <a:off x="0" y="0"/>
            <a:ext cx="24382413" cy="13716000"/>
          </a:xfrm>
          <a:solidFill>
            <a:srgbClr val="E4E5E3"/>
          </a:solidFill>
        </p:spPr>
        <p:txBody>
          <a:bodyPr>
            <a:normAutofit/>
          </a:bodyPr>
          <a:lstStyle>
            <a:lvl1pPr marL="0" marR="0" indent="0" algn="l" defTabSz="182857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Select a colour for background. Or drag and drop to add a picture</a:t>
            </a:r>
          </a:p>
        </p:txBody>
      </p:sp>
      <p:sp>
        <p:nvSpPr>
          <p:cNvPr id="15" name="Text Placeholder 4">
            <a:extLst>
              <a:ext uri="{FF2B5EF4-FFF2-40B4-BE49-F238E27FC236}">
                <a16:creationId xmlns:a16="http://schemas.microsoft.com/office/drawing/2014/main" id="{D692063E-373D-9A4C-B3F2-4CED294F18A0}"/>
              </a:ext>
            </a:extLst>
          </p:cNvPr>
          <p:cNvSpPr>
            <a:spLocks noGrp="1"/>
          </p:cNvSpPr>
          <p:nvPr>
            <p:ph type="body" sz="quarter" idx="11" hasCustomPrompt="1"/>
          </p:nvPr>
        </p:nvSpPr>
        <p:spPr>
          <a:xfrm>
            <a:off x="481101" y="3905672"/>
            <a:ext cx="8076674" cy="5904656"/>
          </a:xfrm>
        </p:spPr>
        <p:txBody>
          <a:bodyPr anchor="ctr" anchorCtr="0">
            <a:noAutofit/>
          </a:bodyPr>
          <a:lstStyle>
            <a:lvl1pPr marL="0" indent="0" algn="ctr">
              <a:buNone/>
              <a:defRPr sz="49994" b="1" spc="-600" baseline="0">
                <a:ln>
                  <a:noFill/>
                </a:ln>
                <a:solidFill>
                  <a:schemeClr val="tx1"/>
                </a:solidFill>
              </a:defRPr>
            </a:lvl1pPr>
          </a:lstStyle>
          <a:p>
            <a:pPr lvl="0"/>
            <a:r>
              <a:rPr lang="en-GB" noProof="0"/>
              <a:t>#</a:t>
            </a:r>
          </a:p>
        </p:txBody>
      </p:sp>
      <p:sp>
        <p:nvSpPr>
          <p:cNvPr id="8" name="Subtitle 2">
            <a:extLst>
              <a:ext uri="{FF2B5EF4-FFF2-40B4-BE49-F238E27FC236}">
                <a16:creationId xmlns:a16="http://schemas.microsoft.com/office/drawing/2014/main" id="{03179F04-E3DD-714F-9E83-2F320F41AF4B}"/>
              </a:ext>
            </a:extLst>
          </p:cNvPr>
          <p:cNvSpPr>
            <a:spLocks noGrp="1"/>
          </p:cNvSpPr>
          <p:nvPr>
            <p:ph type="subTitle" idx="1" hasCustomPrompt="1"/>
          </p:nvPr>
        </p:nvSpPr>
        <p:spPr>
          <a:xfrm>
            <a:off x="8784128" y="3905672"/>
            <a:ext cx="14400663" cy="5904656"/>
          </a:xfrm>
        </p:spPr>
        <p:txBody>
          <a:bodyPr anchor="ctr" anchorCtr="0">
            <a:noAutofit/>
          </a:bodyPr>
          <a:lstStyle>
            <a:lvl1pPr marL="0" indent="0" algn="l">
              <a:lnSpc>
                <a:spcPct val="100000"/>
              </a:lnSpc>
              <a:buNone/>
              <a:defRPr sz="11999" b="1" spc="-200" baseline="0">
                <a:latin typeface="Noto IKEA Latin" panose="020B0502040504020204" pitchFamily="34" charset="0"/>
              </a:defRPr>
            </a:lvl1pPr>
            <a:lvl2pPr marL="914286" indent="0" algn="ctr">
              <a:buNone/>
              <a:defRPr sz="4000"/>
            </a:lvl2pPr>
            <a:lvl3pPr marL="1828573" indent="0" algn="ctr">
              <a:buNone/>
              <a:defRPr sz="3600"/>
            </a:lvl3pPr>
            <a:lvl4pPr marL="2742859" indent="0" algn="ctr">
              <a:buNone/>
              <a:defRPr sz="3200"/>
            </a:lvl4pPr>
            <a:lvl5pPr marL="3657143" indent="0" algn="ctr">
              <a:buNone/>
              <a:defRPr sz="3200"/>
            </a:lvl5pPr>
            <a:lvl6pPr marL="4571429" indent="0" algn="ctr">
              <a:buNone/>
              <a:defRPr sz="3200"/>
            </a:lvl6pPr>
            <a:lvl7pPr marL="5485714" indent="0" algn="ctr">
              <a:buNone/>
              <a:defRPr sz="3200"/>
            </a:lvl7pPr>
            <a:lvl8pPr marL="6400000" indent="0" algn="ctr">
              <a:buNone/>
              <a:defRPr sz="3200"/>
            </a:lvl8pPr>
            <a:lvl9pPr marL="7314286" indent="0" algn="ctr">
              <a:buNone/>
              <a:defRPr sz="3200"/>
            </a:lvl9pPr>
          </a:lstStyle>
          <a:p>
            <a:r>
              <a:rPr lang="en-GB" noProof="0"/>
              <a:t>Put the chapter headline here, </a:t>
            </a:r>
            <a:br>
              <a:rPr lang="en-GB" noProof="0"/>
            </a:br>
            <a:r>
              <a:rPr lang="en-GB" noProof="0"/>
              <a:t>keep it bold 60 pt</a:t>
            </a:r>
          </a:p>
        </p:txBody>
      </p:sp>
      <p:sp>
        <p:nvSpPr>
          <p:cNvPr id="9" name="Text Placeholder 3">
            <a:extLst>
              <a:ext uri="{FF2B5EF4-FFF2-40B4-BE49-F238E27FC236}">
                <a16:creationId xmlns:a16="http://schemas.microsoft.com/office/drawing/2014/main" id="{F8BD17D0-4B46-D44C-A53F-CFC6399AEEEB}"/>
              </a:ext>
            </a:extLst>
          </p:cNvPr>
          <p:cNvSpPr>
            <a:spLocks noGrp="1"/>
          </p:cNvSpPr>
          <p:nvPr>
            <p:ph type="body" sz="quarter" idx="18" hasCustomPrompt="1"/>
          </p:nvPr>
        </p:nvSpPr>
        <p:spPr>
          <a:xfrm rot="5400000">
            <a:off x="20902621" y="2898380"/>
            <a:ext cx="5759746" cy="719337"/>
          </a:xfrm>
        </p:spPr>
        <p:txBody>
          <a:bodyPr anchor="ctr"/>
          <a:lstStyle>
            <a:lvl1pPr>
              <a:defRPr sz="1600">
                <a:solidFill>
                  <a:schemeClr val="tx1">
                    <a:lumMod val="50000"/>
                    <a:lumOff val="50000"/>
                  </a:schemeClr>
                </a:solidFill>
              </a:defRPr>
            </a:lvl1pPr>
          </a:lstStyle>
          <a:p>
            <a:pPr lvl="0"/>
            <a:r>
              <a:rPr lang="en-US"/>
              <a:t>© Inter IKEA Systems B.V. 2022</a:t>
            </a:r>
            <a:endParaRPr lang="en-GB"/>
          </a:p>
        </p:txBody>
      </p:sp>
    </p:spTree>
    <p:extLst>
      <p:ext uri="{BB962C8B-B14F-4D97-AF65-F5344CB8AC3E}">
        <p14:creationId xmlns:p14="http://schemas.microsoft.com/office/powerpoint/2010/main" val="286155697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Chapter name with number on texture or image">
    <p:bg>
      <p:bgPr>
        <a:solidFill>
          <a:schemeClr val="bg1"/>
        </a:solidFill>
        <a:effectLst/>
      </p:bgPr>
    </p:bg>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C2E2C76C-B512-4744-83A7-60E61AA545D5}"/>
              </a:ext>
            </a:extLst>
          </p:cNvPr>
          <p:cNvSpPr>
            <a:spLocks noGrp="1"/>
          </p:cNvSpPr>
          <p:nvPr>
            <p:ph type="pic" sz="quarter" idx="14" hasCustomPrompt="1"/>
          </p:nvPr>
        </p:nvSpPr>
        <p:spPr>
          <a:xfrm>
            <a:off x="0" y="0"/>
            <a:ext cx="24382413" cy="13716000"/>
          </a:xfrm>
          <a:solidFill>
            <a:srgbClr val="E4E5E3"/>
          </a:solidFill>
        </p:spPr>
        <p:txBody>
          <a:bodyPr>
            <a:normAutofit/>
          </a:bodyPr>
          <a:lstStyle>
            <a:lvl1pPr marL="0" marR="0" indent="0" algn="l" defTabSz="182857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Select a colour for background. Or drag and drop to add a picture</a:t>
            </a:r>
          </a:p>
        </p:txBody>
      </p:sp>
      <p:sp>
        <p:nvSpPr>
          <p:cNvPr id="5" name="Picture Placeholder 4">
            <a:extLst>
              <a:ext uri="{FF2B5EF4-FFF2-40B4-BE49-F238E27FC236}">
                <a16:creationId xmlns:a16="http://schemas.microsoft.com/office/drawing/2014/main" id="{FB1122C6-C8D2-B547-ADCC-E7F92107FD3B}"/>
              </a:ext>
            </a:extLst>
          </p:cNvPr>
          <p:cNvSpPr>
            <a:spLocks noGrp="1"/>
          </p:cNvSpPr>
          <p:nvPr>
            <p:ph type="pic" sz="quarter" idx="18" hasCustomPrompt="1"/>
          </p:nvPr>
        </p:nvSpPr>
        <p:spPr>
          <a:xfrm>
            <a:off x="1677882" y="3649662"/>
            <a:ext cx="21026657" cy="6416676"/>
          </a:xfrm>
          <a:solidFill>
            <a:schemeClr val="bg1"/>
          </a:solidFill>
        </p:spPr>
        <p:txBody>
          <a:bodyPr/>
          <a:lstStyle/>
          <a:p>
            <a:r>
              <a:rPr lang="en-GB" noProof="0"/>
              <a:t> </a:t>
            </a:r>
          </a:p>
        </p:txBody>
      </p:sp>
      <p:sp>
        <p:nvSpPr>
          <p:cNvPr id="8" name="Subtitle 2">
            <a:extLst>
              <a:ext uri="{FF2B5EF4-FFF2-40B4-BE49-F238E27FC236}">
                <a16:creationId xmlns:a16="http://schemas.microsoft.com/office/drawing/2014/main" id="{03179F04-E3DD-714F-9E83-2F320F41AF4B}"/>
              </a:ext>
            </a:extLst>
          </p:cNvPr>
          <p:cNvSpPr>
            <a:spLocks noGrp="1"/>
          </p:cNvSpPr>
          <p:nvPr>
            <p:ph type="subTitle" idx="1" hasCustomPrompt="1"/>
          </p:nvPr>
        </p:nvSpPr>
        <p:spPr>
          <a:xfrm>
            <a:off x="6718955" y="5069837"/>
            <a:ext cx="15408709" cy="3604518"/>
          </a:xfrm>
        </p:spPr>
        <p:txBody>
          <a:bodyPr anchor="ctr">
            <a:noAutofit/>
          </a:bodyPr>
          <a:lstStyle>
            <a:lvl1pPr marL="0" indent="0" algn="l">
              <a:lnSpc>
                <a:spcPct val="100000"/>
              </a:lnSpc>
              <a:buNone/>
              <a:defRPr sz="11999" b="1" spc="-200" baseline="0">
                <a:latin typeface="Noto IKEA Latin" panose="020B0502040504020204" pitchFamily="34" charset="0"/>
              </a:defRPr>
            </a:lvl1pPr>
            <a:lvl2pPr marL="914286" indent="0" algn="ctr">
              <a:buNone/>
              <a:defRPr sz="4000"/>
            </a:lvl2pPr>
            <a:lvl3pPr marL="1828573" indent="0" algn="ctr">
              <a:buNone/>
              <a:defRPr sz="3600"/>
            </a:lvl3pPr>
            <a:lvl4pPr marL="2742859" indent="0" algn="ctr">
              <a:buNone/>
              <a:defRPr sz="3200"/>
            </a:lvl4pPr>
            <a:lvl5pPr marL="3657143" indent="0" algn="ctr">
              <a:buNone/>
              <a:defRPr sz="3200"/>
            </a:lvl5pPr>
            <a:lvl6pPr marL="4571429" indent="0" algn="ctr">
              <a:buNone/>
              <a:defRPr sz="3200"/>
            </a:lvl6pPr>
            <a:lvl7pPr marL="5485714" indent="0" algn="ctr">
              <a:buNone/>
              <a:defRPr sz="3200"/>
            </a:lvl7pPr>
            <a:lvl8pPr marL="6400000" indent="0" algn="ctr">
              <a:buNone/>
              <a:defRPr sz="3200"/>
            </a:lvl8pPr>
            <a:lvl9pPr marL="7314286" indent="0" algn="ctr">
              <a:buNone/>
              <a:defRPr sz="3200"/>
            </a:lvl9pPr>
          </a:lstStyle>
          <a:p>
            <a:r>
              <a:rPr lang="en-GB" noProof="0"/>
              <a:t>Put the chapter headline here</a:t>
            </a:r>
          </a:p>
        </p:txBody>
      </p:sp>
      <p:sp>
        <p:nvSpPr>
          <p:cNvPr id="11" name="Text Placeholder 4">
            <a:extLst>
              <a:ext uri="{FF2B5EF4-FFF2-40B4-BE49-F238E27FC236}">
                <a16:creationId xmlns:a16="http://schemas.microsoft.com/office/drawing/2014/main" id="{E6CA9D82-2C12-3A47-9717-927FD5070851}"/>
              </a:ext>
            </a:extLst>
          </p:cNvPr>
          <p:cNvSpPr>
            <a:spLocks noGrp="1"/>
          </p:cNvSpPr>
          <p:nvPr>
            <p:ph type="body" sz="quarter" idx="11" hasCustomPrompt="1"/>
          </p:nvPr>
        </p:nvSpPr>
        <p:spPr>
          <a:xfrm>
            <a:off x="1700165" y="5069837"/>
            <a:ext cx="4874783" cy="3604518"/>
          </a:xfrm>
        </p:spPr>
        <p:txBody>
          <a:bodyPr anchor="ctr">
            <a:noAutofit/>
          </a:bodyPr>
          <a:lstStyle>
            <a:lvl1pPr marL="0" indent="0" algn="ctr">
              <a:lnSpc>
                <a:spcPct val="100000"/>
              </a:lnSpc>
              <a:buNone/>
              <a:defRPr sz="29999" b="1" spc="-600" baseline="0">
                <a:ln>
                  <a:noFill/>
                </a:ln>
                <a:solidFill>
                  <a:schemeClr val="tx1"/>
                </a:solidFill>
              </a:defRPr>
            </a:lvl1pPr>
          </a:lstStyle>
          <a:p>
            <a:pPr lvl="0"/>
            <a:r>
              <a:rPr lang="en-GB" noProof="0"/>
              <a:t>#</a:t>
            </a:r>
          </a:p>
        </p:txBody>
      </p:sp>
      <p:sp>
        <p:nvSpPr>
          <p:cNvPr id="9" name="Text Placeholder 3">
            <a:extLst>
              <a:ext uri="{FF2B5EF4-FFF2-40B4-BE49-F238E27FC236}">
                <a16:creationId xmlns:a16="http://schemas.microsoft.com/office/drawing/2014/main" id="{CDB35E14-306E-CC47-BA9B-1EED6583B986}"/>
              </a:ext>
            </a:extLst>
          </p:cNvPr>
          <p:cNvSpPr>
            <a:spLocks noGrp="1"/>
          </p:cNvSpPr>
          <p:nvPr>
            <p:ph type="body" sz="quarter" idx="19" hasCustomPrompt="1"/>
          </p:nvPr>
        </p:nvSpPr>
        <p:spPr>
          <a:xfrm rot="5400000">
            <a:off x="20902621" y="2898380"/>
            <a:ext cx="5759746" cy="719337"/>
          </a:xfrm>
        </p:spPr>
        <p:txBody>
          <a:bodyPr anchor="ctr"/>
          <a:lstStyle>
            <a:lvl1pPr>
              <a:defRPr sz="1600">
                <a:solidFill>
                  <a:schemeClr val="tx1">
                    <a:lumMod val="50000"/>
                    <a:lumOff val="50000"/>
                  </a:schemeClr>
                </a:solidFill>
              </a:defRPr>
            </a:lvl1pPr>
          </a:lstStyle>
          <a:p>
            <a:pPr lvl="0"/>
            <a:r>
              <a:rPr lang="en-US"/>
              <a:t>© Inter IKEA Systems B.V. 2022</a:t>
            </a:r>
            <a:endParaRPr lang="en-GB"/>
          </a:p>
        </p:txBody>
      </p:sp>
    </p:spTree>
    <p:extLst>
      <p:ext uri="{BB962C8B-B14F-4D97-AF65-F5344CB8AC3E}">
        <p14:creationId xmlns:p14="http://schemas.microsoft.com/office/powerpoint/2010/main" val="121600376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ext and image on the right">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12191206" y="0"/>
            <a:ext cx="12191207" cy="13716000"/>
          </a:xfrm>
          <a:solidFill>
            <a:srgbClr val="E4E5E3"/>
          </a:solidFill>
        </p:spPr>
        <p:txBody>
          <a:bodyPr>
            <a:normAutofit/>
          </a:bodyPr>
          <a:lstStyle>
            <a:lvl1pPr marL="0" marR="0" indent="0" algn="l" defTabSz="182857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Drag and drop or click the icon to add a picture</a:t>
            </a:r>
          </a:p>
        </p:txBody>
      </p:sp>
      <p:sp>
        <p:nvSpPr>
          <p:cNvPr id="11" name="Title 1">
            <a:extLst>
              <a:ext uri="{FF2B5EF4-FFF2-40B4-BE49-F238E27FC236}">
                <a16:creationId xmlns:a16="http://schemas.microsoft.com/office/drawing/2014/main" id="{28621A64-7B8E-B242-859E-D8C6D673E4E6}"/>
              </a:ext>
            </a:extLst>
          </p:cNvPr>
          <p:cNvSpPr>
            <a:spLocks noGrp="1"/>
          </p:cNvSpPr>
          <p:nvPr>
            <p:ph type="title" hasCustomPrompt="1"/>
          </p:nvPr>
        </p:nvSpPr>
        <p:spPr>
          <a:xfrm>
            <a:off x="1674330" y="1677603"/>
            <a:ext cx="9650878" cy="3457574"/>
          </a:xfrm>
          <a:prstGeom prst="rect">
            <a:avLst/>
          </a:prstGeom>
        </p:spPr>
        <p:txBody>
          <a:bodyPr/>
          <a:lstStyle>
            <a:lvl1pPr>
              <a:lnSpc>
                <a:spcPct val="100000"/>
              </a:lnSpc>
              <a:defRPr sz="7200" baseline="0"/>
            </a:lvl1pPr>
          </a:lstStyle>
          <a:p>
            <a:r>
              <a:rPr lang="en-GB" noProof="0"/>
              <a:t>Put the slide headline here, </a:t>
            </a:r>
            <a:br>
              <a:rPr lang="en-GB" noProof="0"/>
            </a:br>
            <a:r>
              <a:rPr lang="en-GB" noProof="0"/>
              <a:t>keep it bold 36 pt</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1674329" y="5696429"/>
            <a:ext cx="9650876" cy="6337298"/>
          </a:xfrm>
        </p:spPr>
        <p:txBody>
          <a:bodyPr>
            <a:noAutofit/>
          </a:bodyPr>
          <a:lstStyle>
            <a:lvl1pPr>
              <a:spcBef>
                <a:spcPts val="2000"/>
              </a:spcBef>
              <a:defRPr sz="2800"/>
            </a:lvl1pPr>
          </a:lstStyle>
          <a:p>
            <a:pPr lvl="0"/>
            <a:r>
              <a:rPr lang="en-GB" noProof="0"/>
              <a:t>Put the body text or caption here,</a:t>
            </a:r>
            <a:br>
              <a:rPr lang="en-GB" noProof="0"/>
            </a:br>
            <a:r>
              <a:rPr lang="en-GB" noProof="0"/>
              <a:t>keep it regular 14 pt</a:t>
            </a:r>
          </a:p>
        </p:txBody>
      </p:sp>
      <p:sp>
        <p:nvSpPr>
          <p:cNvPr id="8" name="Text Placeholder 3">
            <a:extLst>
              <a:ext uri="{FF2B5EF4-FFF2-40B4-BE49-F238E27FC236}">
                <a16:creationId xmlns:a16="http://schemas.microsoft.com/office/drawing/2014/main" id="{0136A015-09C4-2341-87D2-A48EA3C6C85F}"/>
              </a:ext>
            </a:extLst>
          </p:cNvPr>
          <p:cNvSpPr>
            <a:spLocks noGrp="1"/>
          </p:cNvSpPr>
          <p:nvPr>
            <p:ph type="body" sz="quarter" idx="20" hasCustomPrompt="1"/>
          </p:nvPr>
        </p:nvSpPr>
        <p:spPr>
          <a:xfrm rot="5400000">
            <a:off x="20902621" y="2898380"/>
            <a:ext cx="5759746" cy="719337"/>
          </a:xfrm>
        </p:spPr>
        <p:txBody>
          <a:bodyPr anchor="ctr"/>
          <a:lstStyle>
            <a:lvl1pPr>
              <a:defRPr sz="1600">
                <a:solidFill>
                  <a:schemeClr val="tx1">
                    <a:lumMod val="50000"/>
                    <a:lumOff val="50000"/>
                  </a:schemeClr>
                </a:solidFill>
              </a:defRPr>
            </a:lvl1pPr>
          </a:lstStyle>
          <a:p>
            <a:pPr lvl="0"/>
            <a:r>
              <a:rPr lang="en-US"/>
              <a:t>© Inter IKEA Systems B.V. 2022</a:t>
            </a:r>
            <a:endParaRPr lang="en-GB"/>
          </a:p>
        </p:txBody>
      </p:sp>
    </p:spTree>
    <p:extLst>
      <p:ext uri="{BB962C8B-B14F-4D97-AF65-F5344CB8AC3E}">
        <p14:creationId xmlns:p14="http://schemas.microsoft.com/office/powerpoint/2010/main" val="426368533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ext and image on the left">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5D527F14-48A9-BB4D-8ABB-D25C9E004E4D}"/>
              </a:ext>
            </a:extLst>
          </p:cNvPr>
          <p:cNvSpPr>
            <a:spLocks noGrp="1"/>
          </p:cNvSpPr>
          <p:nvPr>
            <p:ph type="pic" sz="quarter" idx="15" hasCustomPrompt="1"/>
          </p:nvPr>
        </p:nvSpPr>
        <p:spPr>
          <a:xfrm>
            <a:off x="0" y="0"/>
            <a:ext cx="12123563" cy="13716000"/>
          </a:xfrm>
          <a:solidFill>
            <a:srgbClr val="E4E5E3"/>
          </a:solidFill>
        </p:spPr>
        <p:txBody>
          <a:bodyPr>
            <a:normAutofit/>
          </a:bodyPr>
          <a:lstStyle>
            <a:lvl1pPr marL="0" marR="0" indent="0" algn="l" defTabSz="182857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Drag and drop or click the icon to add a picture</a:t>
            </a:r>
          </a:p>
        </p:txBody>
      </p:sp>
      <p:sp>
        <p:nvSpPr>
          <p:cNvPr id="11" name="Title 1">
            <a:extLst>
              <a:ext uri="{FF2B5EF4-FFF2-40B4-BE49-F238E27FC236}">
                <a16:creationId xmlns:a16="http://schemas.microsoft.com/office/drawing/2014/main" id="{126F91B4-0CEF-044B-8873-D93BD278142D}"/>
              </a:ext>
            </a:extLst>
          </p:cNvPr>
          <p:cNvSpPr>
            <a:spLocks noGrp="1"/>
          </p:cNvSpPr>
          <p:nvPr>
            <p:ph type="title" hasCustomPrompt="1"/>
          </p:nvPr>
        </p:nvSpPr>
        <p:spPr>
          <a:xfrm>
            <a:off x="13353296" y="1677603"/>
            <a:ext cx="9648914" cy="3457574"/>
          </a:xfrm>
          <a:prstGeom prst="rect">
            <a:avLst/>
          </a:prstGeom>
        </p:spPr>
        <p:txBody>
          <a:bodyPr/>
          <a:lstStyle>
            <a:lvl1pPr>
              <a:lnSpc>
                <a:spcPct val="100000"/>
              </a:lnSpc>
              <a:defRPr sz="7200"/>
            </a:lvl1pPr>
          </a:lstStyle>
          <a:p>
            <a:r>
              <a:rPr lang="en-GB" noProof="0"/>
              <a:t>Put the slide headline here, </a:t>
            </a:r>
            <a:br>
              <a:rPr lang="en-GB" noProof="0"/>
            </a:br>
            <a:r>
              <a:rPr lang="en-GB" noProof="0"/>
              <a:t>keep it bold 36 pt</a:t>
            </a:r>
          </a:p>
        </p:txBody>
      </p:sp>
      <p:sp>
        <p:nvSpPr>
          <p:cNvPr id="8" name="Text Placeholder 3">
            <a:extLst>
              <a:ext uri="{FF2B5EF4-FFF2-40B4-BE49-F238E27FC236}">
                <a16:creationId xmlns:a16="http://schemas.microsoft.com/office/drawing/2014/main" id="{B49D2ED4-85B6-784A-A881-461D6437618F}"/>
              </a:ext>
            </a:extLst>
          </p:cNvPr>
          <p:cNvSpPr>
            <a:spLocks noGrp="1"/>
          </p:cNvSpPr>
          <p:nvPr>
            <p:ph type="body" sz="quarter" idx="18" hasCustomPrompt="1"/>
          </p:nvPr>
        </p:nvSpPr>
        <p:spPr>
          <a:xfrm>
            <a:off x="13298740" y="5696429"/>
            <a:ext cx="9650876" cy="6337298"/>
          </a:xfrm>
        </p:spPr>
        <p:txBody>
          <a:bodyPr>
            <a:noAutofit/>
          </a:bodyPr>
          <a:lstStyle>
            <a:lvl1pPr>
              <a:spcBef>
                <a:spcPts val="2000"/>
              </a:spcBef>
              <a:defRPr sz="2800"/>
            </a:lvl1pPr>
          </a:lstStyle>
          <a:p>
            <a:pPr lvl="0"/>
            <a:r>
              <a:rPr lang="en-GB" noProof="0"/>
              <a:t>Put the body text or caption here,</a:t>
            </a:r>
            <a:br>
              <a:rPr lang="en-GB" noProof="0"/>
            </a:br>
            <a:r>
              <a:rPr lang="en-GB" noProof="0"/>
              <a:t>keep it regular 14 pt</a:t>
            </a:r>
          </a:p>
        </p:txBody>
      </p:sp>
    </p:spTree>
    <p:extLst>
      <p:ext uri="{BB962C8B-B14F-4D97-AF65-F5344CB8AC3E}">
        <p14:creationId xmlns:p14="http://schemas.microsoft.com/office/powerpoint/2010/main" val="24085752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Worldmap">
    <p:bg>
      <p:bgPr>
        <a:solidFill>
          <a:schemeClr val="bg1"/>
        </a:solidFill>
        <a:effectLst/>
      </p:bgPr>
    </p:bg>
    <p:spTree>
      <p:nvGrpSpPr>
        <p:cNvPr id="1" name=""/>
        <p:cNvGrpSpPr/>
        <p:nvPr/>
      </p:nvGrpSpPr>
      <p:grpSpPr>
        <a:xfrm>
          <a:off x="0" y="0"/>
          <a:ext cx="0" cy="0"/>
          <a:chOff x="0" y="0"/>
          <a:chExt cx="0" cy="0"/>
        </a:xfrm>
      </p:grpSpPr>
      <p:sp>
        <p:nvSpPr>
          <p:cNvPr id="1607" name="Freeform 5">
            <a:extLst>
              <a:ext uri="{FF2B5EF4-FFF2-40B4-BE49-F238E27FC236}">
                <a16:creationId xmlns:a16="http://schemas.microsoft.com/office/drawing/2014/main" id="{663D4140-A46B-CC56-42A1-B64D6BC07598}"/>
              </a:ext>
            </a:extLst>
          </p:cNvPr>
          <p:cNvSpPr>
            <a:spLocks/>
          </p:cNvSpPr>
          <p:nvPr userDrawn="1"/>
        </p:nvSpPr>
        <p:spPr bwMode="auto">
          <a:xfrm>
            <a:off x="15966034" y="10181506"/>
            <a:ext cx="12701" cy="28576"/>
          </a:xfrm>
          <a:custGeom>
            <a:avLst/>
            <a:gdLst>
              <a:gd name="T0" fmla="*/ 0 w 4"/>
              <a:gd name="T1" fmla="*/ 6 h 9"/>
              <a:gd name="T2" fmla="*/ 0 w 4"/>
              <a:gd name="T3" fmla="*/ 3 h 9"/>
              <a:gd name="T4" fmla="*/ 0 w 4"/>
              <a:gd name="T5" fmla="*/ 0 h 9"/>
              <a:gd name="T6" fmla="*/ 0 w 4"/>
              <a:gd name="T7" fmla="*/ 0 h 9"/>
              <a:gd name="T8" fmla="*/ 4 w 4"/>
              <a:gd name="T9" fmla="*/ 3 h 9"/>
              <a:gd name="T10" fmla="*/ 0 w 4"/>
              <a:gd name="T11" fmla="*/ 9 h 9"/>
              <a:gd name="T12" fmla="*/ 0 w 4"/>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4" h="9">
                <a:moveTo>
                  <a:pt x="0" y="6"/>
                </a:moveTo>
                <a:lnTo>
                  <a:pt x="0" y="3"/>
                </a:lnTo>
                <a:lnTo>
                  <a:pt x="0" y="0"/>
                </a:lnTo>
                <a:lnTo>
                  <a:pt x="0" y="0"/>
                </a:lnTo>
                <a:lnTo>
                  <a:pt x="4" y="3"/>
                </a:lnTo>
                <a:lnTo>
                  <a:pt x="0" y="9"/>
                </a:lnTo>
                <a:lnTo>
                  <a:pt x="0" y="6"/>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08" name="Freeform 6">
            <a:extLst>
              <a:ext uri="{FF2B5EF4-FFF2-40B4-BE49-F238E27FC236}">
                <a16:creationId xmlns:a16="http://schemas.microsoft.com/office/drawing/2014/main" id="{CEA24B5F-4D6C-40A4-293A-552B9FC59BD1}"/>
              </a:ext>
            </a:extLst>
          </p:cNvPr>
          <p:cNvSpPr>
            <a:spLocks noEditPoints="1"/>
          </p:cNvSpPr>
          <p:nvPr userDrawn="1"/>
        </p:nvSpPr>
        <p:spPr bwMode="auto">
          <a:xfrm>
            <a:off x="15839044" y="10092611"/>
            <a:ext cx="98420" cy="69850"/>
          </a:xfrm>
          <a:custGeom>
            <a:avLst/>
            <a:gdLst>
              <a:gd name="T0" fmla="*/ 6 w 31"/>
              <a:gd name="T1" fmla="*/ 12 h 22"/>
              <a:gd name="T2" fmla="*/ 9 w 31"/>
              <a:gd name="T3" fmla="*/ 9 h 22"/>
              <a:gd name="T4" fmla="*/ 6 w 31"/>
              <a:gd name="T5" fmla="*/ 6 h 22"/>
              <a:gd name="T6" fmla="*/ 9 w 31"/>
              <a:gd name="T7" fmla="*/ 6 h 22"/>
              <a:gd name="T8" fmla="*/ 6 w 31"/>
              <a:gd name="T9" fmla="*/ 0 h 22"/>
              <a:gd name="T10" fmla="*/ 3 w 31"/>
              <a:gd name="T11" fmla="*/ 0 h 22"/>
              <a:gd name="T12" fmla="*/ 0 w 31"/>
              <a:gd name="T13" fmla="*/ 6 h 22"/>
              <a:gd name="T14" fmla="*/ 3 w 31"/>
              <a:gd name="T15" fmla="*/ 9 h 22"/>
              <a:gd name="T16" fmla="*/ 3 w 31"/>
              <a:gd name="T17" fmla="*/ 12 h 22"/>
              <a:gd name="T18" fmla="*/ 6 w 31"/>
              <a:gd name="T19" fmla="*/ 12 h 22"/>
              <a:gd name="T20" fmla="*/ 6 w 31"/>
              <a:gd name="T21" fmla="*/ 12 h 22"/>
              <a:gd name="T22" fmla="*/ 6 w 31"/>
              <a:gd name="T23" fmla="*/ 12 h 22"/>
              <a:gd name="T24" fmla="*/ 9 w 31"/>
              <a:gd name="T25" fmla="*/ 22 h 22"/>
              <a:gd name="T26" fmla="*/ 9 w 31"/>
              <a:gd name="T27" fmla="*/ 22 h 22"/>
              <a:gd name="T28" fmla="*/ 12 w 31"/>
              <a:gd name="T29" fmla="*/ 22 h 22"/>
              <a:gd name="T30" fmla="*/ 9 w 31"/>
              <a:gd name="T31" fmla="*/ 22 h 22"/>
              <a:gd name="T32" fmla="*/ 6 w 31"/>
              <a:gd name="T33" fmla="*/ 22 h 22"/>
              <a:gd name="T34" fmla="*/ 9 w 31"/>
              <a:gd name="T35" fmla="*/ 22 h 22"/>
              <a:gd name="T36" fmla="*/ 9 w 31"/>
              <a:gd name="T37" fmla="*/ 22 h 22"/>
              <a:gd name="T38" fmla="*/ 28 w 31"/>
              <a:gd name="T39" fmla="*/ 22 h 22"/>
              <a:gd name="T40" fmla="*/ 31 w 31"/>
              <a:gd name="T41" fmla="*/ 22 h 22"/>
              <a:gd name="T42" fmla="*/ 28 w 31"/>
              <a:gd name="T43" fmla="*/ 15 h 22"/>
              <a:gd name="T44" fmla="*/ 28 w 31"/>
              <a:gd name="T45" fmla="*/ 18 h 22"/>
              <a:gd name="T46" fmla="*/ 25 w 31"/>
              <a:gd name="T47" fmla="*/ 18 h 22"/>
              <a:gd name="T48" fmla="*/ 28 w 31"/>
              <a:gd name="T49" fmla="*/ 22 h 22"/>
              <a:gd name="T50" fmla="*/ 28 w 31"/>
              <a:gd name="T5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22">
                <a:moveTo>
                  <a:pt x="6" y="12"/>
                </a:moveTo>
                <a:lnTo>
                  <a:pt x="9" y="9"/>
                </a:lnTo>
                <a:lnTo>
                  <a:pt x="6" y="6"/>
                </a:lnTo>
                <a:lnTo>
                  <a:pt x="9" y="6"/>
                </a:lnTo>
                <a:lnTo>
                  <a:pt x="6" y="0"/>
                </a:lnTo>
                <a:lnTo>
                  <a:pt x="3" y="0"/>
                </a:lnTo>
                <a:lnTo>
                  <a:pt x="0" y="6"/>
                </a:lnTo>
                <a:lnTo>
                  <a:pt x="3" y="9"/>
                </a:lnTo>
                <a:lnTo>
                  <a:pt x="3" y="12"/>
                </a:lnTo>
                <a:lnTo>
                  <a:pt x="6" y="12"/>
                </a:lnTo>
                <a:lnTo>
                  <a:pt x="6" y="12"/>
                </a:lnTo>
                <a:lnTo>
                  <a:pt x="6" y="12"/>
                </a:lnTo>
                <a:close/>
                <a:moveTo>
                  <a:pt x="9" y="22"/>
                </a:moveTo>
                <a:lnTo>
                  <a:pt x="9" y="22"/>
                </a:lnTo>
                <a:lnTo>
                  <a:pt x="12" y="22"/>
                </a:lnTo>
                <a:lnTo>
                  <a:pt x="9" y="22"/>
                </a:lnTo>
                <a:lnTo>
                  <a:pt x="6" y="22"/>
                </a:lnTo>
                <a:lnTo>
                  <a:pt x="9" y="22"/>
                </a:lnTo>
                <a:lnTo>
                  <a:pt x="9" y="22"/>
                </a:lnTo>
                <a:close/>
                <a:moveTo>
                  <a:pt x="28" y="22"/>
                </a:moveTo>
                <a:lnTo>
                  <a:pt x="31" y="22"/>
                </a:lnTo>
                <a:lnTo>
                  <a:pt x="28" y="15"/>
                </a:lnTo>
                <a:lnTo>
                  <a:pt x="28" y="18"/>
                </a:lnTo>
                <a:lnTo>
                  <a:pt x="25" y="18"/>
                </a:lnTo>
                <a:lnTo>
                  <a:pt x="28" y="22"/>
                </a:lnTo>
                <a:lnTo>
                  <a:pt x="28" y="22"/>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09" name="Freeform 7">
            <a:extLst>
              <a:ext uri="{FF2B5EF4-FFF2-40B4-BE49-F238E27FC236}">
                <a16:creationId xmlns:a16="http://schemas.microsoft.com/office/drawing/2014/main" id="{4148015F-CFE2-15F1-3028-6764DE479678}"/>
              </a:ext>
            </a:extLst>
          </p:cNvPr>
          <p:cNvSpPr>
            <a:spLocks noEditPoints="1"/>
          </p:cNvSpPr>
          <p:nvPr userDrawn="1"/>
        </p:nvSpPr>
        <p:spPr bwMode="auto">
          <a:xfrm>
            <a:off x="16045405" y="9673508"/>
            <a:ext cx="596863" cy="330200"/>
          </a:xfrm>
          <a:custGeom>
            <a:avLst/>
            <a:gdLst>
              <a:gd name="T0" fmla="*/ 182 w 188"/>
              <a:gd name="T1" fmla="*/ 7 h 104"/>
              <a:gd name="T2" fmla="*/ 188 w 188"/>
              <a:gd name="T3" fmla="*/ 3 h 104"/>
              <a:gd name="T4" fmla="*/ 185 w 188"/>
              <a:gd name="T5" fmla="*/ 3 h 104"/>
              <a:gd name="T6" fmla="*/ 182 w 188"/>
              <a:gd name="T7" fmla="*/ 0 h 104"/>
              <a:gd name="T8" fmla="*/ 182 w 188"/>
              <a:gd name="T9" fmla="*/ 3 h 104"/>
              <a:gd name="T10" fmla="*/ 182 w 188"/>
              <a:gd name="T11" fmla="*/ 7 h 104"/>
              <a:gd name="T12" fmla="*/ 182 w 188"/>
              <a:gd name="T13" fmla="*/ 7 h 104"/>
              <a:gd name="T14" fmla="*/ 4 w 188"/>
              <a:gd name="T15" fmla="*/ 100 h 104"/>
              <a:gd name="T16" fmla="*/ 7 w 188"/>
              <a:gd name="T17" fmla="*/ 100 h 104"/>
              <a:gd name="T18" fmla="*/ 7 w 188"/>
              <a:gd name="T19" fmla="*/ 104 h 104"/>
              <a:gd name="T20" fmla="*/ 4 w 188"/>
              <a:gd name="T21" fmla="*/ 100 h 104"/>
              <a:gd name="T22" fmla="*/ 4 w 188"/>
              <a:gd name="T23" fmla="*/ 100 h 104"/>
              <a:gd name="T24" fmla="*/ 0 w 188"/>
              <a:gd name="T25" fmla="*/ 94 h 104"/>
              <a:gd name="T26" fmla="*/ 4 w 188"/>
              <a:gd name="T27" fmla="*/ 91 h 104"/>
              <a:gd name="T28" fmla="*/ 7 w 188"/>
              <a:gd name="T29" fmla="*/ 94 h 104"/>
              <a:gd name="T30" fmla="*/ 7 w 188"/>
              <a:gd name="T31" fmla="*/ 94 h 104"/>
              <a:gd name="T32" fmla="*/ 7 w 188"/>
              <a:gd name="T33" fmla="*/ 94 h 104"/>
              <a:gd name="T34" fmla="*/ 4 w 188"/>
              <a:gd name="T35" fmla="*/ 94 h 104"/>
              <a:gd name="T36" fmla="*/ 0 w 188"/>
              <a:gd name="T37" fmla="*/ 9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8" h="104">
                <a:moveTo>
                  <a:pt x="182" y="7"/>
                </a:moveTo>
                <a:lnTo>
                  <a:pt x="188" y="3"/>
                </a:lnTo>
                <a:lnTo>
                  <a:pt x="185" y="3"/>
                </a:lnTo>
                <a:lnTo>
                  <a:pt x="182" y="0"/>
                </a:lnTo>
                <a:lnTo>
                  <a:pt x="182" y="3"/>
                </a:lnTo>
                <a:lnTo>
                  <a:pt x="182" y="7"/>
                </a:lnTo>
                <a:lnTo>
                  <a:pt x="182" y="7"/>
                </a:lnTo>
                <a:close/>
                <a:moveTo>
                  <a:pt x="4" y="100"/>
                </a:moveTo>
                <a:lnTo>
                  <a:pt x="7" y="100"/>
                </a:lnTo>
                <a:lnTo>
                  <a:pt x="7" y="104"/>
                </a:lnTo>
                <a:lnTo>
                  <a:pt x="4" y="100"/>
                </a:lnTo>
                <a:lnTo>
                  <a:pt x="4" y="100"/>
                </a:lnTo>
                <a:close/>
                <a:moveTo>
                  <a:pt x="0" y="94"/>
                </a:moveTo>
                <a:lnTo>
                  <a:pt x="4" y="91"/>
                </a:lnTo>
                <a:lnTo>
                  <a:pt x="7" y="94"/>
                </a:lnTo>
                <a:lnTo>
                  <a:pt x="7" y="94"/>
                </a:lnTo>
                <a:lnTo>
                  <a:pt x="7" y="94"/>
                </a:lnTo>
                <a:lnTo>
                  <a:pt x="4" y="94"/>
                </a:lnTo>
                <a:lnTo>
                  <a:pt x="0" y="94"/>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0" name="Freeform 8">
            <a:extLst>
              <a:ext uri="{FF2B5EF4-FFF2-40B4-BE49-F238E27FC236}">
                <a16:creationId xmlns:a16="http://schemas.microsoft.com/office/drawing/2014/main" id="{317C6F66-A9E3-BF48-47B1-D16EC261A1D1}"/>
              </a:ext>
            </a:extLst>
          </p:cNvPr>
          <p:cNvSpPr>
            <a:spLocks noEditPoints="1"/>
          </p:cNvSpPr>
          <p:nvPr userDrawn="1"/>
        </p:nvSpPr>
        <p:spPr bwMode="auto">
          <a:xfrm>
            <a:off x="18915422" y="8501930"/>
            <a:ext cx="136517" cy="457200"/>
          </a:xfrm>
          <a:custGeom>
            <a:avLst/>
            <a:gdLst>
              <a:gd name="T0" fmla="*/ 6 w 14"/>
              <a:gd name="T1" fmla="*/ 8 h 46"/>
              <a:gd name="T2" fmla="*/ 5 w 14"/>
              <a:gd name="T3" fmla="*/ 5 h 46"/>
              <a:gd name="T4" fmla="*/ 6 w 14"/>
              <a:gd name="T5" fmla="*/ 3 h 46"/>
              <a:gd name="T6" fmla="*/ 6 w 14"/>
              <a:gd name="T7" fmla="*/ 1 h 46"/>
              <a:gd name="T8" fmla="*/ 4 w 14"/>
              <a:gd name="T9" fmla="*/ 2 h 46"/>
              <a:gd name="T10" fmla="*/ 4 w 14"/>
              <a:gd name="T11" fmla="*/ 5 h 46"/>
              <a:gd name="T12" fmla="*/ 4 w 14"/>
              <a:gd name="T13" fmla="*/ 8 h 46"/>
              <a:gd name="T14" fmla="*/ 4 w 14"/>
              <a:gd name="T15" fmla="*/ 16 h 46"/>
              <a:gd name="T16" fmla="*/ 4 w 14"/>
              <a:gd name="T17" fmla="*/ 13 h 46"/>
              <a:gd name="T18" fmla="*/ 4 w 14"/>
              <a:gd name="T19" fmla="*/ 11 h 46"/>
              <a:gd name="T20" fmla="*/ 5 w 14"/>
              <a:gd name="T21" fmla="*/ 9 h 46"/>
              <a:gd name="T22" fmla="*/ 3 w 14"/>
              <a:gd name="T23" fmla="*/ 12 h 46"/>
              <a:gd name="T24" fmla="*/ 4 w 14"/>
              <a:gd name="T25" fmla="*/ 14 h 46"/>
              <a:gd name="T26" fmla="*/ 4 w 14"/>
              <a:gd name="T27" fmla="*/ 16 h 46"/>
              <a:gd name="T28" fmla="*/ 2 w 14"/>
              <a:gd name="T29" fmla="*/ 15 h 46"/>
              <a:gd name="T30" fmla="*/ 0 w 14"/>
              <a:gd name="T31" fmla="*/ 15 h 46"/>
              <a:gd name="T32" fmla="*/ 4 w 14"/>
              <a:gd name="T33" fmla="*/ 22 h 46"/>
              <a:gd name="T34" fmla="*/ 4 w 14"/>
              <a:gd name="T35" fmla="*/ 19 h 46"/>
              <a:gd name="T36" fmla="*/ 2 w 14"/>
              <a:gd name="T37" fmla="*/ 21 h 46"/>
              <a:gd name="T38" fmla="*/ 6 w 14"/>
              <a:gd name="T39" fmla="*/ 29 h 46"/>
              <a:gd name="T40" fmla="*/ 6 w 14"/>
              <a:gd name="T41" fmla="*/ 30 h 46"/>
              <a:gd name="T42" fmla="*/ 8 w 14"/>
              <a:gd name="T43" fmla="*/ 34 h 46"/>
              <a:gd name="T44" fmla="*/ 9 w 14"/>
              <a:gd name="T45" fmla="*/ 36 h 46"/>
              <a:gd name="T46" fmla="*/ 8 w 14"/>
              <a:gd name="T47" fmla="*/ 34 h 46"/>
              <a:gd name="T48" fmla="*/ 10 w 14"/>
              <a:gd name="T49" fmla="*/ 36 h 46"/>
              <a:gd name="T50" fmla="*/ 11 w 14"/>
              <a:gd name="T51" fmla="*/ 37 h 46"/>
              <a:gd name="T52" fmla="*/ 11 w 14"/>
              <a:gd name="T53" fmla="*/ 35 h 46"/>
              <a:gd name="T54" fmla="*/ 10 w 14"/>
              <a:gd name="T55" fmla="*/ 39 h 46"/>
              <a:gd name="T56" fmla="*/ 10 w 14"/>
              <a:gd name="T57" fmla="*/ 37 h 46"/>
              <a:gd name="T58" fmla="*/ 9 w 14"/>
              <a:gd name="T59" fmla="*/ 39 h 46"/>
              <a:gd name="T60" fmla="*/ 13 w 14"/>
              <a:gd name="T61" fmla="*/ 41 h 46"/>
              <a:gd name="T62" fmla="*/ 11 w 14"/>
              <a:gd name="T63" fmla="*/ 41 h 46"/>
              <a:gd name="T64" fmla="*/ 13 w 14"/>
              <a:gd name="T65" fmla="*/ 42 h 46"/>
              <a:gd name="T66" fmla="*/ 12 w 14"/>
              <a:gd name="T67" fmla="*/ 44 h 46"/>
              <a:gd name="T68" fmla="*/ 13 w 14"/>
              <a:gd name="T69" fmla="*/ 46 h 46"/>
              <a:gd name="T70" fmla="*/ 13 w 14"/>
              <a:gd name="T71" fmla="*/ 44 h 46"/>
              <a:gd name="T72" fmla="*/ 13 w 14"/>
              <a:gd name="T73"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46">
                <a:moveTo>
                  <a:pt x="4" y="9"/>
                </a:moveTo>
                <a:cubicBezTo>
                  <a:pt x="6" y="8"/>
                  <a:pt x="6" y="8"/>
                  <a:pt x="6" y="8"/>
                </a:cubicBezTo>
                <a:cubicBezTo>
                  <a:pt x="6" y="6"/>
                  <a:pt x="6" y="6"/>
                  <a:pt x="6" y="6"/>
                </a:cubicBezTo>
                <a:cubicBezTo>
                  <a:pt x="5" y="5"/>
                  <a:pt x="5" y="5"/>
                  <a:pt x="5" y="5"/>
                </a:cubicBezTo>
                <a:cubicBezTo>
                  <a:pt x="6" y="4"/>
                  <a:pt x="6" y="4"/>
                  <a:pt x="6" y="4"/>
                </a:cubicBezTo>
                <a:cubicBezTo>
                  <a:pt x="6" y="3"/>
                  <a:pt x="6" y="3"/>
                  <a:pt x="6" y="3"/>
                </a:cubicBezTo>
                <a:cubicBezTo>
                  <a:pt x="5" y="2"/>
                  <a:pt x="5" y="2"/>
                  <a:pt x="5" y="2"/>
                </a:cubicBezTo>
                <a:cubicBezTo>
                  <a:pt x="6" y="1"/>
                  <a:pt x="6" y="1"/>
                  <a:pt x="6" y="1"/>
                </a:cubicBezTo>
                <a:cubicBezTo>
                  <a:pt x="5" y="0"/>
                  <a:pt x="5" y="0"/>
                  <a:pt x="5" y="0"/>
                </a:cubicBezTo>
                <a:cubicBezTo>
                  <a:pt x="4" y="2"/>
                  <a:pt x="4" y="2"/>
                  <a:pt x="4" y="2"/>
                </a:cubicBezTo>
                <a:cubicBezTo>
                  <a:pt x="4" y="4"/>
                  <a:pt x="4" y="4"/>
                  <a:pt x="4" y="4"/>
                </a:cubicBezTo>
                <a:cubicBezTo>
                  <a:pt x="4" y="5"/>
                  <a:pt x="4" y="5"/>
                  <a:pt x="4" y="5"/>
                </a:cubicBezTo>
                <a:cubicBezTo>
                  <a:pt x="4" y="5"/>
                  <a:pt x="4" y="5"/>
                  <a:pt x="4" y="5"/>
                </a:cubicBezTo>
                <a:cubicBezTo>
                  <a:pt x="4" y="8"/>
                  <a:pt x="4" y="8"/>
                  <a:pt x="4" y="8"/>
                </a:cubicBezTo>
                <a:cubicBezTo>
                  <a:pt x="4" y="9"/>
                  <a:pt x="4" y="9"/>
                  <a:pt x="4" y="9"/>
                </a:cubicBezTo>
                <a:close/>
                <a:moveTo>
                  <a:pt x="4" y="16"/>
                </a:moveTo>
                <a:cubicBezTo>
                  <a:pt x="4" y="14"/>
                  <a:pt x="4" y="14"/>
                  <a:pt x="4" y="14"/>
                </a:cubicBezTo>
                <a:cubicBezTo>
                  <a:pt x="4" y="13"/>
                  <a:pt x="4" y="13"/>
                  <a:pt x="4" y="13"/>
                </a:cubicBezTo>
                <a:cubicBezTo>
                  <a:pt x="4" y="12"/>
                  <a:pt x="4" y="12"/>
                  <a:pt x="4" y="12"/>
                </a:cubicBezTo>
                <a:cubicBezTo>
                  <a:pt x="4" y="11"/>
                  <a:pt x="4" y="11"/>
                  <a:pt x="4" y="11"/>
                </a:cubicBezTo>
                <a:cubicBezTo>
                  <a:pt x="5" y="10"/>
                  <a:pt x="5" y="10"/>
                  <a:pt x="5" y="10"/>
                </a:cubicBezTo>
                <a:cubicBezTo>
                  <a:pt x="5" y="9"/>
                  <a:pt x="5" y="9"/>
                  <a:pt x="5" y="9"/>
                </a:cubicBezTo>
                <a:cubicBezTo>
                  <a:pt x="3" y="10"/>
                  <a:pt x="3" y="10"/>
                  <a:pt x="3" y="10"/>
                </a:cubicBezTo>
                <a:cubicBezTo>
                  <a:pt x="3" y="12"/>
                  <a:pt x="3" y="12"/>
                  <a:pt x="3" y="12"/>
                </a:cubicBezTo>
                <a:cubicBezTo>
                  <a:pt x="3" y="13"/>
                  <a:pt x="3" y="13"/>
                  <a:pt x="3" y="13"/>
                </a:cubicBezTo>
                <a:cubicBezTo>
                  <a:pt x="4" y="14"/>
                  <a:pt x="4" y="14"/>
                  <a:pt x="4" y="14"/>
                </a:cubicBezTo>
                <a:cubicBezTo>
                  <a:pt x="3" y="15"/>
                  <a:pt x="3" y="15"/>
                  <a:pt x="3" y="15"/>
                </a:cubicBezTo>
                <a:cubicBezTo>
                  <a:pt x="4" y="16"/>
                  <a:pt x="4" y="16"/>
                  <a:pt x="4" y="16"/>
                </a:cubicBezTo>
                <a:close/>
                <a:moveTo>
                  <a:pt x="0" y="15"/>
                </a:moveTo>
                <a:cubicBezTo>
                  <a:pt x="2" y="15"/>
                  <a:pt x="2" y="15"/>
                  <a:pt x="2" y="15"/>
                </a:cubicBezTo>
                <a:cubicBezTo>
                  <a:pt x="1" y="14"/>
                  <a:pt x="1" y="14"/>
                  <a:pt x="1" y="14"/>
                </a:cubicBezTo>
                <a:cubicBezTo>
                  <a:pt x="0" y="15"/>
                  <a:pt x="0" y="15"/>
                  <a:pt x="0" y="15"/>
                </a:cubicBezTo>
                <a:close/>
                <a:moveTo>
                  <a:pt x="2" y="22"/>
                </a:moveTo>
                <a:cubicBezTo>
                  <a:pt x="4" y="22"/>
                  <a:pt x="4" y="22"/>
                  <a:pt x="4" y="22"/>
                </a:cubicBezTo>
                <a:cubicBezTo>
                  <a:pt x="4" y="20"/>
                  <a:pt x="4" y="20"/>
                  <a:pt x="4" y="20"/>
                </a:cubicBezTo>
                <a:cubicBezTo>
                  <a:pt x="4" y="19"/>
                  <a:pt x="4" y="19"/>
                  <a:pt x="4" y="19"/>
                </a:cubicBezTo>
                <a:cubicBezTo>
                  <a:pt x="3" y="19"/>
                  <a:pt x="3" y="19"/>
                  <a:pt x="3" y="19"/>
                </a:cubicBezTo>
                <a:cubicBezTo>
                  <a:pt x="2" y="21"/>
                  <a:pt x="2" y="21"/>
                  <a:pt x="2" y="21"/>
                </a:cubicBezTo>
                <a:cubicBezTo>
                  <a:pt x="2" y="21"/>
                  <a:pt x="2" y="22"/>
                  <a:pt x="2" y="22"/>
                </a:cubicBezTo>
                <a:close/>
                <a:moveTo>
                  <a:pt x="6" y="29"/>
                </a:moveTo>
                <a:cubicBezTo>
                  <a:pt x="5" y="30"/>
                  <a:pt x="5" y="30"/>
                  <a:pt x="5" y="30"/>
                </a:cubicBezTo>
                <a:cubicBezTo>
                  <a:pt x="6" y="30"/>
                  <a:pt x="6" y="30"/>
                  <a:pt x="6" y="30"/>
                </a:cubicBezTo>
                <a:cubicBezTo>
                  <a:pt x="6" y="29"/>
                  <a:pt x="6" y="29"/>
                  <a:pt x="6" y="29"/>
                </a:cubicBezTo>
                <a:close/>
                <a:moveTo>
                  <a:pt x="8" y="34"/>
                </a:moveTo>
                <a:cubicBezTo>
                  <a:pt x="8" y="35"/>
                  <a:pt x="8" y="35"/>
                  <a:pt x="8" y="35"/>
                </a:cubicBezTo>
                <a:cubicBezTo>
                  <a:pt x="9" y="36"/>
                  <a:pt x="9" y="36"/>
                  <a:pt x="9" y="36"/>
                </a:cubicBezTo>
                <a:cubicBezTo>
                  <a:pt x="8" y="35"/>
                  <a:pt x="8" y="35"/>
                  <a:pt x="8" y="35"/>
                </a:cubicBezTo>
                <a:cubicBezTo>
                  <a:pt x="8" y="35"/>
                  <a:pt x="8" y="34"/>
                  <a:pt x="8" y="34"/>
                </a:cubicBezTo>
                <a:close/>
                <a:moveTo>
                  <a:pt x="11" y="35"/>
                </a:moveTo>
                <a:cubicBezTo>
                  <a:pt x="10" y="36"/>
                  <a:pt x="10" y="36"/>
                  <a:pt x="10" y="36"/>
                </a:cubicBezTo>
                <a:cubicBezTo>
                  <a:pt x="11" y="37"/>
                  <a:pt x="11" y="37"/>
                  <a:pt x="11" y="37"/>
                </a:cubicBezTo>
                <a:cubicBezTo>
                  <a:pt x="11" y="37"/>
                  <a:pt x="11" y="37"/>
                  <a:pt x="11" y="37"/>
                </a:cubicBezTo>
                <a:cubicBezTo>
                  <a:pt x="11" y="36"/>
                  <a:pt x="11" y="36"/>
                  <a:pt x="11" y="36"/>
                </a:cubicBezTo>
                <a:cubicBezTo>
                  <a:pt x="11" y="35"/>
                  <a:pt x="11" y="35"/>
                  <a:pt x="11" y="35"/>
                </a:cubicBezTo>
                <a:close/>
                <a:moveTo>
                  <a:pt x="9" y="39"/>
                </a:moveTo>
                <a:cubicBezTo>
                  <a:pt x="10" y="39"/>
                  <a:pt x="10" y="39"/>
                  <a:pt x="10" y="39"/>
                </a:cubicBezTo>
                <a:cubicBezTo>
                  <a:pt x="11" y="39"/>
                  <a:pt x="11" y="39"/>
                  <a:pt x="11" y="39"/>
                </a:cubicBezTo>
                <a:cubicBezTo>
                  <a:pt x="10" y="37"/>
                  <a:pt x="10" y="37"/>
                  <a:pt x="10" y="37"/>
                </a:cubicBezTo>
                <a:cubicBezTo>
                  <a:pt x="9" y="38"/>
                  <a:pt x="9" y="38"/>
                  <a:pt x="9" y="38"/>
                </a:cubicBezTo>
                <a:cubicBezTo>
                  <a:pt x="9" y="39"/>
                  <a:pt x="9" y="39"/>
                  <a:pt x="9" y="39"/>
                </a:cubicBezTo>
                <a:close/>
                <a:moveTo>
                  <a:pt x="12" y="42"/>
                </a:moveTo>
                <a:cubicBezTo>
                  <a:pt x="13" y="41"/>
                  <a:pt x="13" y="41"/>
                  <a:pt x="13" y="41"/>
                </a:cubicBezTo>
                <a:cubicBezTo>
                  <a:pt x="12" y="41"/>
                  <a:pt x="12" y="41"/>
                  <a:pt x="12" y="41"/>
                </a:cubicBezTo>
                <a:cubicBezTo>
                  <a:pt x="11" y="41"/>
                  <a:pt x="11" y="41"/>
                  <a:pt x="11" y="41"/>
                </a:cubicBezTo>
                <a:cubicBezTo>
                  <a:pt x="12" y="42"/>
                  <a:pt x="12" y="42"/>
                  <a:pt x="12" y="42"/>
                </a:cubicBezTo>
                <a:close/>
                <a:moveTo>
                  <a:pt x="13" y="42"/>
                </a:moveTo>
                <a:cubicBezTo>
                  <a:pt x="12" y="43"/>
                  <a:pt x="12" y="43"/>
                  <a:pt x="12" y="43"/>
                </a:cubicBezTo>
                <a:cubicBezTo>
                  <a:pt x="12" y="44"/>
                  <a:pt x="12" y="44"/>
                  <a:pt x="12" y="44"/>
                </a:cubicBezTo>
                <a:cubicBezTo>
                  <a:pt x="12" y="44"/>
                  <a:pt x="12" y="44"/>
                  <a:pt x="12" y="45"/>
                </a:cubicBezTo>
                <a:cubicBezTo>
                  <a:pt x="12" y="45"/>
                  <a:pt x="13" y="46"/>
                  <a:pt x="13" y="46"/>
                </a:cubicBezTo>
                <a:cubicBezTo>
                  <a:pt x="14" y="45"/>
                  <a:pt x="14" y="45"/>
                  <a:pt x="14" y="45"/>
                </a:cubicBezTo>
                <a:cubicBezTo>
                  <a:pt x="13" y="44"/>
                  <a:pt x="13" y="44"/>
                  <a:pt x="13" y="44"/>
                </a:cubicBezTo>
                <a:cubicBezTo>
                  <a:pt x="13" y="43"/>
                  <a:pt x="13" y="43"/>
                  <a:pt x="13" y="43"/>
                </a:cubicBezTo>
                <a:lnTo>
                  <a:pt x="13" y="42"/>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1" name="Freeform 9">
            <a:extLst>
              <a:ext uri="{FF2B5EF4-FFF2-40B4-BE49-F238E27FC236}">
                <a16:creationId xmlns:a16="http://schemas.microsoft.com/office/drawing/2014/main" id="{DD89DE80-3D9E-7C8A-1FEC-797731833B3B}"/>
              </a:ext>
            </a:extLst>
          </p:cNvPr>
          <p:cNvSpPr>
            <a:spLocks noEditPoints="1"/>
          </p:cNvSpPr>
          <p:nvPr userDrawn="1"/>
        </p:nvSpPr>
        <p:spPr bwMode="auto">
          <a:xfrm>
            <a:off x="22179102" y="8371761"/>
            <a:ext cx="79371" cy="149226"/>
          </a:xfrm>
          <a:custGeom>
            <a:avLst/>
            <a:gdLst>
              <a:gd name="T0" fmla="*/ 25 w 25"/>
              <a:gd name="T1" fmla="*/ 0 h 47"/>
              <a:gd name="T2" fmla="*/ 19 w 25"/>
              <a:gd name="T3" fmla="*/ 4 h 47"/>
              <a:gd name="T4" fmla="*/ 22 w 25"/>
              <a:gd name="T5" fmla="*/ 10 h 47"/>
              <a:gd name="T6" fmla="*/ 22 w 25"/>
              <a:gd name="T7" fmla="*/ 4 h 47"/>
              <a:gd name="T8" fmla="*/ 25 w 25"/>
              <a:gd name="T9" fmla="*/ 0 h 47"/>
              <a:gd name="T10" fmla="*/ 25 w 25"/>
              <a:gd name="T11" fmla="*/ 0 h 47"/>
              <a:gd name="T12" fmla="*/ 25 w 25"/>
              <a:gd name="T13" fmla="*/ 0 h 47"/>
              <a:gd name="T14" fmla="*/ 13 w 25"/>
              <a:gd name="T15" fmla="*/ 29 h 47"/>
              <a:gd name="T16" fmla="*/ 16 w 25"/>
              <a:gd name="T17" fmla="*/ 26 h 47"/>
              <a:gd name="T18" fmla="*/ 19 w 25"/>
              <a:gd name="T19" fmla="*/ 29 h 47"/>
              <a:gd name="T20" fmla="*/ 16 w 25"/>
              <a:gd name="T21" fmla="*/ 29 h 47"/>
              <a:gd name="T22" fmla="*/ 13 w 25"/>
              <a:gd name="T23" fmla="*/ 29 h 47"/>
              <a:gd name="T24" fmla="*/ 13 w 25"/>
              <a:gd name="T25" fmla="*/ 29 h 47"/>
              <a:gd name="T26" fmla="*/ 3 w 25"/>
              <a:gd name="T27" fmla="*/ 44 h 47"/>
              <a:gd name="T28" fmla="*/ 3 w 25"/>
              <a:gd name="T29" fmla="*/ 41 h 47"/>
              <a:gd name="T30" fmla="*/ 6 w 25"/>
              <a:gd name="T31" fmla="*/ 38 h 47"/>
              <a:gd name="T32" fmla="*/ 9 w 25"/>
              <a:gd name="T33" fmla="*/ 41 h 47"/>
              <a:gd name="T34" fmla="*/ 6 w 25"/>
              <a:gd name="T35" fmla="*/ 47 h 47"/>
              <a:gd name="T36" fmla="*/ 3 w 25"/>
              <a:gd name="T37" fmla="*/ 47 h 47"/>
              <a:gd name="T38" fmla="*/ 0 w 25"/>
              <a:gd name="T39" fmla="*/ 44 h 47"/>
              <a:gd name="T40" fmla="*/ 3 w 25"/>
              <a:gd name="T41"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47">
                <a:moveTo>
                  <a:pt x="25" y="0"/>
                </a:moveTo>
                <a:lnTo>
                  <a:pt x="19" y="4"/>
                </a:lnTo>
                <a:lnTo>
                  <a:pt x="22" y="10"/>
                </a:lnTo>
                <a:lnTo>
                  <a:pt x="22" y="4"/>
                </a:lnTo>
                <a:lnTo>
                  <a:pt x="25" y="0"/>
                </a:lnTo>
                <a:lnTo>
                  <a:pt x="25" y="0"/>
                </a:lnTo>
                <a:lnTo>
                  <a:pt x="25" y="0"/>
                </a:lnTo>
                <a:close/>
                <a:moveTo>
                  <a:pt x="13" y="29"/>
                </a:moveTo>
                <a:lnTo>
                  <a:pt x="16" y="26"/>
                </a:lnTo>
                <a:lnTo>
                  <a:pt x="19" y="29"/>
                </a:lnTo>
                <a:lnTo>
                  <a:pt x="16" y="29"/>
                </a:lnTo>
                <a:lnTo>
                  <a:pt x="13" y="29"/>
                </a:lnTo>
                <a:lnTo>
                  <a:pt x="13" y="29"/>
                </a:lnTo>
                <a:close/>
                <a:moveTo>
                  <a:pt x="3" y="44"/>
                </a:moveTo>
                <a:lnTo>
                  <a:pt x="3" y="41"/>
                </a:lnTo>
                <a:lnTo>
                  <a:pt x="6" y="38"/>
                </a:lnTo>
                <a:lnTo>
                  <a:pt x="9" y="41"/>
                </a:lnTo>
                <a:lnTo>
                  <a:pt x="6" y="47"/>
                </a:lnTo>
                <a:lnTo>
                  <a:pt x="3" y="47"/>
                </a:lnTo>
                <a:lnTo>
                  <a:pt x="0" y="44"/>
                </a:lnTo>
                <a:lnTo>
                  <a:pt x="3" y="44"/>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2" name="Freeform 10">
            <a:extLst>
              <a:ext uri="{FF2B5EF4-FFF2-40B4-BE49-F238E27FC236}">
                <a16:creationId xmlns:a16="http://schemas.microsoft.com/office/drawing/2014/main" id="{91C92606-AF3B-9C58-F521-F92AE6546400}"/>
              </a:ext>
            </a:extLst>
          </p:cNvPr>
          <p:cNvSpPr>
            <a:spLocks noEditPoints="1"/>
          </p:cNvSpPr>
          <p:nvPr userDrawn="1"/>
        </p:nvSpPr>
        <p:spPr bwMode="auto">
          <a:xfrm>
            <a:off x="14537374" y="1669333"/>
            <a:ext cx="8206842" cy="4946650"/>
          </a:xfrm>
          <a:custGeom>
            <a:avLst/>
            <a:gdLst>
              <a:gd name="T0" fmla="*/ 633 w 827"/>
              <a:gd name="T1" fmla="*/ 408 h 498"/>
              <a:gd name="T2" fmla="*/ 578 w 827"/>
              <a:gd name="T3" fmla="*/ 356 h 498"/>
              <a:gd name="T4" fmla="*/ 516 w 827"/>
              <a:gd name="T5" fmla="*/ 401 h 498"/>
              <a:gd name="T6" fmla="*/ 401 w 827"/>
              <a:gd name="T7" fmla="*/ 403 h 498"/>
              <a:gd name="T8" fmla="*/ 283 w 827"/>
              <a:gd name="T9" fmla="*/ 383 h 498"/>
              <a:gd name="T10" fmla="*/ 208 w 827"/>
              <a:gd name="T11" fmla="*/ 393 h 498"/>
              <a:gd name="T12" fmla="*/ 140 w 827"/>
              <a:gd name="T13" fmla="*/ 425 h 498"/>
              <a:gd name="T14" fmla="*/ 120 w 827"/>
              <a:gd name="T15" fmla="*/ 497 h 498"/>
              <a:gd name="T16" fmla="*/ 69 w 827"/>
              <a:gd name="T17" fmla="*/ 425 h 498"/>
              <a:gd name="T18" fmla="*/ 11 w 827"/>
              <a:gd name="T19" fmla="*/ 334 h 498"/>
              <a:gd name="T20" fmla="*/ 22 w 827"/>
              <a:gd name="T21" fmla="*/ 238 h 498"/>
              <a:gd name="T22" fmla="*/ 30 w 827"/>
              <a:gd name="T23" fmla="*/ 270 h 498"/>
              <a:gd name="T24" fmla="*/ 84 w 827"/>
              <a:gd name="T25" fmla="*/ 263 h 498"/>
              <a:gd name="T26" fmla="*/ 128 w 827"/>
              <a:gd name="T27" fmla="*/ 239 h 498"/>
              <a:gd name="T28" fmla="*/ 204 w 827"/>
              <a:gd name="T29" fmla="*/ 224 h 498"/>
              <a:gd name="T30" fmla="*/ 226 w 827"/>
              <a:gd name="T31" fmla="*/ 227 h 498"/>
              <a:gd name="T32" fmla="*/ 247 w 827"/>
              <a:gd name="T33" fmla="*/ 220 h 498"/>
              <a:gd name="T34" fmla="*/ 239 w 827"/>
              <a:gd name="T35" fmla="*/ 171 h 498"/>
              <a:gd name="T36" fmla="*/ 248 w 827"/>
              <a:gd name="T37" fmla="*/ 144 h 498"/>
              <a:gd name="T38" fmla="*/ 273 w 827"/>
              <a:gd name="T39" fmla="*/ 96 h 498"/>
              <a:gd name="T40" fmla="*/ 311 w 827"/>
              <a:gd name="T41" fmla="*/ 65 h 498"/>
              <a:gd name="T42" fmla="*/ 364 w 827"/>
              <a:gd name="T43" fmla="*/ 94 h 498"/>
              <a:gd name="T44" fmla="*/ 386 w 827"/>
              <a:gd name="T45" fmla="*/ 114 h 498"/>
              <a:gd name="T46" fmla="*/ 466 w 827"/>
              <a:gd name="T47" fmla="*/ 109 h 498"/>
              <a:gd name="T48" fmla="*/ 525 w 827"/>
              <a:gd name="T49" fmla="*/ 102 h 498"/>
              <a:gd name="T50" fmla="*/ 581 w 827"/>
              <a:gd name="T51" fmla="*/ 91 h 498"/>
              <a:gd name="T52" fmla="*/ 705 w 827"/>
              <a:gd name="T53" fmla="*/ 93 h 498"/>
              <a:gd name="T54" fmla="*/ 783 w 827"/>
              <a:gd name="T55" fmla="*/ 77 h 498"/>
              <a:gd name="T56" fmla="*/ 819 w 827"/>
              <a:gd name="T57" fmla="*/ 97 h 498"/>
              <a:gd name="T58" fmla="*/ 796 w 827"/>
              <a:gd name="T59" fmla="*/ 131 h 498"/>
              <a:gd name="T60" fmla="*/ 800 w 827"/>
              <a:gd name="T61" fmla="*/ 187 h 498"/>
              <a:gd name="T62" fmla="*/ 758 w 827"/>
              <a:gd name="T63" fmla="*/ 248 h 498"/>
              <a:gd name="T64" fmla="*/ 772 w 827"/>
              <a:gd name="T65" fmla="*/ 339 h 498"/>
              <a:gd name="T66" fmla="*/ 741 w 827"/>
              <a:gd name="T67" fmla="*/ 206 h 498"/>
              <a:gd name="T68" fmla="*/ 706 w 827"/>
              <a:gd name="T69" fmla="*/ 230 h 498"/>
              <a:gd name="T70" fmla="*/ 661 w 827"/>
              <a:gd name="T71" fmla="*/ 264 h 498"/>
              <a:gd name="T72" fmla="*/ 651 w 827"/>
              <a:gd name="T73" fmla="*/ 333 h 498"/>
              <a:gd name="T74" fmla="*/ 656 w 827"/>
              <a:gd name="T75" fmla="*/ 453 h 498"/>
              <a:gd name="T76" fmla="*/ 56 w 827"/>
              <a:gd name="T77" fmla="*/ 51 h 498"/>
              <a:gd name="T78" fmla="*/ 77 w 827"/>
              <a:gd name="T79" fmla="*/ 31 h 498"/>
              <a:gd name="T80" fmla="*/ 70 w 827"/>
              <a:gd name="T81" fmla="*/ 51 h 498"/>
              <a:gd name="T82" fmla="*/ 74 w 827"/>
              <a:gd name="T83" fmla="*/ 52 h 498"/>
              <a:gd name="T84" fmla="*/ 92 w 827"/>
              <a:gd name="T85" fmla="*/ 44 h 498"/>
              <a:gd name="T86" fmla="*/ 119 w 827"/>
              <a:gd name="T87" fmla="*/ 171 h 498"/>
              <a:gd name="T88" fmla="*/ 145 w 827"/>
              <a:gd name="T89" fmla="*/ 112 h 498"/>
              <a:gd name="T90" fmla="*/ 113 w 827"/>
              <a:gd name="T91" fmla="*/ 159 h 498"/>
              <a:gd name="T92" fmla="*/ 107 w 827"/>
              <a:gd name="T93" fmla="*/ 180 h 498"/>
              <a:gd name="T94" fmla="*/ 137 w 827"/>
              <a:gd name="T95" fmla="*/ 211 h 498"/>
              <a:gd name="T96" fmla="*/ 265 w 827"/>
              <a:gd name="T97" fmla="*/ 189 h 498"/>
              <a:gd name="T98" fmla="*/ 208 w 827"/>
              <a:gd name="T99" fmla="*/ 165 h 498"/>
              <a:gd name="T100" fmla="*/ 223 w 827"/>
              <a:gd name="T101" fmla="*/ 109 h 498"/>
              <a:gd name="T102" fmla="*/ 269 w 827"/>
              <a:gd name="T103" fmla="*/ 79 h 498"/>
              <a:gd name="T104" fmla="*/ 205 w 827"/>
              <a:gd name="T105" fmla="*/ 8 h 498"/>
              <a:gd name="T106" fmla="*/ 236 w 827"/>
              <a:gd name="T107" fmla="*/ 38 h 498"/>
              <a:gd name="T108" fmla="*/ 510 w 827"/>
              <a:gd name="T109" fmla="*/ 26 h 498"/>
              <a:gd name="T110" fmla="*/ 462 w 827"/>
              <a:gd name="T111" fmla="*/ 38 h 498"/>
              <a:gd name="T112" fmla="*/ 276 w 827"/>
              <a:gd name="T113" fmla="*/ 29 h 498"/>
              <a:gd name="T114" fmla="*/ 376 w 827"/>
              <a:gd name="T115" fmla="*/ 103 h 498"/>
              <a:gd name="T116" fmla="*/ 653 w 827"/>
              <a:gd name="T117" fmla="*/ 97 h 498"/>
              <a:gd name="T118" fmla="*/ 700 w 827"/>
              <a:gd name="T119" fmla="*/ 379 h 498"/>
              <a:gd name="T120" fmla="*/ 694 w 827"/>
              <a:gd name="T121" fmla="*/ 402 h 498"/>
              <a:gd name="T122" fmla="*/ 764 w 827"/>
              <a:gd name="T123" fmla="*/ 252 h 498"/>
              <a:gd name="T124" fmla="*/ 761 w 827"/>
              <a:gd name="T125" fmla="*/ 38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7" h="498">
                <a:moveTo>
                  <a:pt x="642" y="458"/>
                </a:moveTo>
                <a:cubicBezTo>
                  <a:pt x="641" y="458"/>
                  <a:pt x="641" y="458"/>
                  <a:pt x="641" y="458"/>
                </a:cubicBezTo>
                <a:cubicBezTo>
                  <a:pt x="640" y="457"/>
                  <a:pt x="640" y="457"/>
                  <a:pt x="640" y="457"/>
                </a:cubicBezTo>
                <a:cubicBezTo>
                  <a:pt x="640" y="457"/>
                  <a:pt x="640" y="457"/>
                  <a:pt x="640" y="457"/>
                </a:cubicBezTo>
                <a:cubicBezTo>
                  <a:pt x="641" y="456"/>
                  <a:pt x="641" y="456"/>
                  <a:pt x="641" y="456"/>
                </a:cubicBezTo>
                <a:cubicBezTo>
                  <a:pt x="641" y="455"/>
                  <a:pt x="641" y="455"/>
                  <a:pt x="641" y="455"/>
                </a:cubicBezTo>
                <a:cubicBezTo>
                  <a:pt x="640" y="455"/>
                  <a:pt x="640" y="455"/>
                  <a:pt x="640" y="455"/>
                </a:cubicBezTo>
                <a:cubicBezTo>
                  <a:pt x="640" y="454"/>
                  <a:pt x="640" y="454"/>
                  <a:pt x="640" y="454"/>
                </a:cubicBezTo>
                <a:cubicBezTo>
                  <a:pt x="640" y="453"/>
                  <a:pt x="640" y="453"/>
                  <a:pt x="640" y="453"/>
                </a:cubicBezTo>
                <a:cubicBezTo>
                  <a:pt x="641" y="453"/>
                  <a:pt x="641" y="453"/>
                  <a:pt x="641" y="453"/>
                </a:cubicBezTo>
                <a:cubicBezTo>
                  <a:pt x="642" y="453"/>
                  <a:pt x="642" y="453"/>
                  <a:pt x="642" y="453"/>
                </a:cubicBezTo>
                <a:cubicBezTo>
                  <a:pt x="643" y="453"/>
                  <a:pt x="643" y="453"/>
                  <a:pt x="643" y="453"/>
                </a:cubicBezTo>
                <a:cubicBezTo>
                  <a:pt x="643" y="452"/>
                  <a:pt x="643" y="452"/>
                  <a:pt x="643" y="452"/>
                </a:cubicBezTo>
                <a:cubicBezTo>
                  <a:pt x="642" y="451"/>
                  <a:pt x="642" y="451"/>
                  <a:pt x="642" y="451"/>
                </a:cubicBezTo>
                <a:cubicBezTo>
                  <a:pt x="643" y="450"/>
                  <a:pt x="643" y="450"/>
                  <a:pt x="643" y="450"/>
                </a:cubicBezTo>
                <a:cubicBezTo>
                  <a:pt x="643" y="450"/>
                  <a:pt x="643" y="450"/>
                  <a:pt x="643" y="450"/>
                </a:cubicBezTo>
                <a:cubicBezTo>
                  <a:pt x="643" y="449"/>
                  <a:pt x="643" y="449"/>
                  <a:pt x="643" y="449"/>
                </a:cubicBezTo>
                <a:cubicBezTo>
                  <a:pt x="643" y="447"/>
                  <a:pt x="643" y="447"/>
                  <a:pt x="643" y="447"/>
                </a:cubicBezTo>
                <a:cubicBezTo>
                  <a:pt x="642" y="447"/>
                  <a:pt x="642" y="447"/>
                  <a:pt x="642" y="447"/>
                </a:cubicBezTo>
                <a:cubicBezTo>
                  <a:pt x="642" y="445"/>
                  <a:pt x="642" y="445"/>
                  <a:pt x="642" y="445"/>
                </a:cubicBezTo>
                <a:cubicBezTo>
                  <a:pt x="642" y="444"/>
                  <a:pt x="642" y="444"/>
                  <a:pt x="642" y="444"/>
                </a:cubicBezTo>
                <a:cubicBezTo>
                  <a:pt x="642" y="442"/>
                  <a:pt x="642" y="442"/>
                  <a:pt x="642" y="442"/>
                </a:cubicBezTo>
                <a:cubicBezTo>
                  <a:pt x="642" y="441"/>
                  <a:pt x="642" y="441"/>
                  <a:pt x="642" y="441"/>
                </a:cubicBezTo>
                <a:cubicBezTo>
                  <a:pt x="641" y="440"/>
                  <a:pt x="641" y="440"/>
                  <a:pt x="641" y="440"/>
                </a:cubicBezTo>
                <a:cubicBezTo>
                  <a:pt x="641" y="439"/>
                  <a:pt x="641" y="439"/>
                  <a:pt x="641" y="439"/>
                </a:cubicBezTo>
                <a:cubicBezTo>
                  <a:pt x="640" y="438"/>
                  <a:pt x="640" y="438"/>
                  <a:pt x="640" y="438"/>
                </a:cubicBezTo>
                <a:cubicBezTo>
                  <a:pt x="639" y="436"/>
                  <a:pt x="639" y="436"/>
                  <a:pt x="639" y="436"/>
                </a:cubicBezTo>
                <a:cubicBezTo>
                  <a:pt x="638" y="435"/>
                  <a:pt x="638" y="435"/>
                  <a:pt x="638" y="435"/>
                </a:cubicBezTo>
                <a:cubicBezTo>
                  <a:pt x="639" y="434"/>
                  <a:pt x="639" y="434"/>
                  <a:pt x="639" y="434"/>
                </a:cubicBezTo>
                <a:cubicBezTo>
                  <a:pt x="639" y="434"/>
                  <a:pt x="639" y="434"/>
                  <a:pt x="639" y="434"/>
                </a:cubicBezTo>
                <a:cubicBezTo>
                  <a:pt x="640" y="434"/>
                  <a:pt x="640" y="434"/>
                  <a:pt x="640" y="434"/>
                </a:cubicBezTo>
                <a:cubicBezTo>
                  <a:pt x="641" y="433"/>
                  <a:pt x="641" y="433"/>
                  <a:pt x="641" y="433"/>
                </a:cubicBezTo>
                <a:cubicBezTo>
                  <a:pt x="641" y="432"/>
                  <a:pt x="641" y="432"/>
                  <a:pt x="641" y="432"/>
                </a:cubicBezTo>
                <a:cubicBezTo>
                  <a:pt x="642" y="430"/>
                  <a:pt x="642" y="430"/>
                  <a:pt x="642" y="430"/>
                </a:cubicBezTo>
                <a:cubicBezTo>
                  <a:pt x="643" y="430"/>
                  <a:pt x="643" y="430"/>
                  <a:pt x="643" y="430"/>
                </a:cubicBezTo>
                <a:cubicBezTo>
                  <a:pt x="644" y="431"/>
                  <a:pt x="644" y="431"/>
                  <a:pt x="644" y="431"/>
                </a:cubicBezTo>
                <a:cubicBezTo>
                  <a:pt x="644" y="431"/>
                  <a:pt x="644" y="431"/>
                  <a:pt x="644" y="431"/>
                </a:cubicBezTo>
                <a:cubicBezTo>
                  <a:pt x="648" y="432"/>
                  <a:pt x="648" y="432"/>
                  <a:pt x="648" y="432"/>
                </a:cubicBezTo>
                <a:cubicBezTo>
                  <a:pt x="649" y="432"/>
                  <a:pt x="649" y="432"/>
                  <a:pt x="649" y="432"/>
                </a:cubicBezTo>
                <a:cubicBezTo>
                  <a:pt x="650" y="432"/>
                  <a:pt x="650" y="432"/>
                  <a:pt x="650" y="432"/>
                </a:cubicBezTo>
                <a:cubicBezTo>
                  <a:pt x="650" y="431"/>
                  <a:pt x="650" y="431"/>
                  <a:pt x="650" y="431"/>
                </a:cubicBezTo>
                <a:cubicBezTo>
                  <a:pt x="650" y="430"/>
                  <a:pt x="650" y="430"/>
                  <a:pt x="650" y="430"/>
                </a:cubicBezTo>
                <a:cubicBezTo>
                  <a:pt x="650" y="430"/>
                  <a:pt x="650" y="430"/>
                  <a:pt x="650" y="430"/>
                </a:cubicBezTo>
                <a:cubicBezTo>
                  <a:pt x="650" y="429"/>
                  <a:pt x="650" y="429"/>
                  <a:pt x="650" y="429"/>
                </a:cubicBezTo>
                <a:cubicBezTo>
                  <a:pt x="650" y="428"/>
                  <a:pt x="650" y="428"/>
                  <a:pt x="650" y="428"/>
                </a:cubicBezTo>
                <a:cubicBezTo>
                  <a:pt x="650" y="428"/>
                  <a:pt x="650" y="428"/>
                  <a:pt x="650" y="428"/>
                </a:cubicBezTo>
                <a:cubicBezTo>
                  <a:pt x="649" y="427"/>
                  <a:pt x="649" y="427"/>
                  <a:pt x="649" y="427"/>
                </a:cubicBezTo>
                <a:cubicBezTo>
                  <a:pt x="650" y="426"/>
                  <a:pt x="650" y="426"/>
                  <a:pt x="650" y="426"/>
                </a:cubicBezTo>
                <a:cubicBezTo>
                  <a:pt x="650" y="425"/>
                  <a:pt x="650" y="425"/>
                  <a:pt x="650" y="425"/>
                </a:cubicBezTo>
                <a:cubicBezTo>
                  <a:pt x="650" y="424"/>
                  <a:pt x="650" y="424"/>
                  <a:pt x="650" y="424"/>
                </a:cubicBezTo>
                <a:cubicBezTo>
                  <a:pt x="650" y="424"/>
                  <a:pt x="650" y="424"/>
                  <a:pt x="650" y="424"/>
                </a:cubicBezTo>
                <a:cubicBezTo>
                  <a:pt x="650" y="423"/>
                  <a:pt x="650" y="423"/>
                  <a:pt x="650" y="423"/>
                </a:cubicBezTo>
                <a:cubicBezTo>
                  <a:pt x="651" y="423"/>
                  <a:pt x="651" y="423"/>
                  <a:pt x="651" y="423"/>
                </a:cubicBezTo>
                <a:cubicBezTo>
                  <a:pt x="650" y="422"/>
                  <a:pt x="650" y="422"/>
                  <a:pt x="650" y="422"/>
                </a:cubicBezTo>
                <a:cubicBezTo>
                  <a:pt x="650" y="422"/>
                  <a:pt x="650" y="422"/>
                  <a:pt x="650" y="422"/>
                </a:cubicBezTo>
                <a:cubicBezTo>
                  <a:pt x="650" y="421"/>
                  <a:pt x="650" y="421"/>
                  <a:pt x="650" y="421"/>
                </a:cubicBezTo>
                <a:cubicBezTo>
                  <a:pt x="650" y="420"/>
                  <a:pt x="650" y="420"/>
                  <a:pt x="650" y="420"/>
                </a:cubicBezTo>
                <a:cubicBezTo>
                  <a:pt x="651" y="420"/>
                  <a:pt x="651" y="420"/>
                  <a:pt x="651" y="420"/>
                </a:cubicBezTo>
                <a:cubicBezTo>
                  <a:pt x="651" y="419"/>
                  <a:pt x="651" y="419"/>
                  <a:pt x="651" y="419"/>
                </a:cubicBezTo>
                <a:cubicBezTo>
                  <a:pt x="651" y="419"/>
                  <a:pt x="651" y="419"/>
                  <a:pt x="651" y="419"/>
                </a:cubicBezTo>
                <a:cubicBezTo>
                  <a:pt x="650" y="417"/>
                  <a:pt x="650" y="417"/>
                  <a:pt x="650" y="417"/>
                </a:cubicBezTo>
                <a:cubicBezTo>
                  <a:pt x="650" y="416"/>
                  <a:pt x="650" y="416"/>
                  <a:pt x="650" y="416"/>
                </a:cubicBezTo>
                <a:cubicBezTo>
                  <a:pt x="650" y="416"/>
                  <a:pt x="650" y="416"/>
                  <a:pt x="650" y="416"/>
                </a:cubicBezTo>
                <a:cubicBezTo>
                  <a:pt x="651" y="415"/>
                  <a:pt x="651" y="415"/>
                  <a:pt x="651" y="415"/>
                </a:cubicBezTo>
                <a:cubicBezTo>
                  <a:pt x="651" y="415"/>
                  <a:pt x="651" y="415"/>
                  <a:pt x="651" y="415"/>
                </a:cubicBezTo>
                <a:cubicBezTo>
                  <a:pt x="650" y="414"/>
                  <a:pt x="650" y="414"/>
                  <a:pt x="650" y="414"/>
                </a:cubicBezTo>
                <a:cubicBezTo>
                  <a:pt x="650" y="414"/>
                  <a:pt x="650" y="414"/>
                  <a:pt x="650" y="414"/>
                </a:cubicBezTo>
                <a:cubicBezTo>
                  <a:pt x="650" y="413"/>
                  <a:pt x="650" y="413"/>
                  <a:pt x="650" y="413"/>
                </a:cubicBezTo>
                <a:cubicBezTo>
                  <a:pt x="650" y="413"/>
                  <a:pt x="650" y="413"/>
                  <a:pt x="650" y="413"/>
                </a:cubicBezTo>
                <a:cubicBezTo>
                  <a:pt x="650" y="412"/>
                  <a:pt x="650" y="412"/>
                  <a:pt x="650" y="412"/>
                </a:cubicBezTo>
                <a:cubicBezTo>
                  <a:pt x="650" y="411"/>
                  <a:pt x="650" y="411"/>
                  <a:pt x="650" y="411"/>
                </a:cubicBezTo>
                <a:cubicBezTo>
                  <a:pt x="650" y="410"/>
                  <a:pt x="650" y="410"/>
                  <a:pt x="650" y="410"/>
                </a:cubicBezTo>
                <a:cubicBezTo>
                  <a:pt x="649" y="410"/>
                  <a:pt x="649" y="410"/>
                  <a:pt x="649" y="410"/>
                </a:cubicBezTo>
                <a:cubicBezTo>
                  <a:pt x="649" y="409"/>
                  <a:pt x="649" y="409"/>
                  <a:pt x="649" y="409"/>
                </a:cubicBezTo>
                <a:cubicBezTo>
                  <a:pt x="650" y="408"/>
                  <a:pt x="650" y="408"/>
                  <a:pt x="650" y="408"/>
                </a:cubicBezTo>
                <a:cubicBezTo>
                  <a:pt x="651" y="408"/>
                  <a:pt x="651" y="408"/>
                  <a:pt x="651" y="408"/>
                </a:cubicBezTo>
                <a:cubicBezTo>
                  <a:pt x="651" y="407"/>
                  <a:pt x="651" y="407"/>
                  <a:pt x="651" y="407"/>
                </a:cubicBezTo>
                <a:cubicBezTo>
                  <a:pt x="651" y="406"/>
                  <a:pt x="651" y="406"/>
                  <a:pt x="651" y="406"/>
                </a:cubicBezTo>
                <a:cubicBezTo>
                  <a:pt x="652" y="405"/>
                  <a:pt x="652" y="405"/>
                  <a:pt x="652" y="405"/>
                </a:cubicBezTo>
                <a:cubicBezTo>
                  <a:pt x="651" y="405"/>
                  <a:pt x="651" y="405"/>
                  <a:pt x="651" y="405"/>
                </a:cubicBezTo>
                <a:cubicBezTo>
                  <a:pt x="650" y="404"/>
                  <a:pt x="650" y="404"/>
                  <a:pt x="650" y="404"/>
                </a:cubicBezTo>
                <a:cubicBezTo>
                  <a:pt x="650" y="403"/>
                  <a:pt x="650" y="403"/>
                  <a:pt x="650" y="403"/>
                </a:cubicBezTo>
                <a:cubicBezTo>
                  <a:pt x="649" y="402"/>
                  <a:pt x="649" y="402"/>
                  <a:pt x="649" y="402"/>
                </a:cubicBezTo>
                <a:cubicBezTo>
                  <a:pt x="649" y="401"/>
                  <a:pt x="649" y="401"/>
                  <a:pt x="649" y="401"/>
                </a:cubicBezTo>
                <a:cubicBezTo>
                  <a:pt x="649" y="401"/>
                  <a:pt x="649" y="401"/>
                  <a:pt x="649" y="401"/>
                </a:cubicBezTo>
                <a:cubicBezTo>
                  <a:pt x="649" y="400"/>
                  <a:pt x="649" y="400"/>
                  <a:pt x="649" y="400"/>
                </a:cubicBezTo>
                <a:cubicBezTo>
                  <a:pt x="648" y="399"/>
                  <a:pt x="648" y="399"/>
                  <a:pt x="648" y="399"/>
                </a:cubicBezTo>
                <a:cubicBezTo>
                  <a:pt x="647" y="399"/>
                  <a:pt x="647" y="399"/>
                  <a:pt x="647" y="399"/>
                </a:cubicBezTo>
                <a:cubicBezTo>
                  <a:pt x="647" y="398"/>
                  <a:pt x="647" y="398"/>
                  <a:pt x="647" y="398"/>
                </a:cubicBezTo>
                <a:cubicBezTo>
                  <a:pt x="645" y="398"/>
                  <a:pt x="645" y="398"/>
                  <a:pt x="645" y="398"/>
                </a:cubicBezTo>
                <a:cubicBezTo>
                  <a:pt x="645" y="398"/>
                  <a:pt x="645" y="398"/>
                  <a:pt x="645" y="398"/>
                </a:cubicBezTo>
                <a:cubicBezTo>
                  <a:pt x="644" y="399"/>
                  <a:pt x="644" y="399"/>
                  <a:pt x="644" y="399"/>
                </a:cubicBezTo>
                <a:cubicBezTo>
                  <a:pt x="643" y="399"/>
                  <a:pt x="643" y="399"/>
                  <a:pt x="643" y="399"/>
                </a:cubicBezTo>
                <a:cubicBezTo>
                  <a:pt x="643" y="400"/>
                  <a:pt x="643" y="400"/>
                  <a:pt x="643" y="400"/>
                </a:cubicBezTo>
                <a:cubicBezTo>
                  <a:pt x="642" y="400"/>
                  <a:pt x="642" y="400"/>
                  <a:pt x="642" y="400"/>
                </a:cubicBezTo>
                <a:cubicBezTo>
                  <a:pt x="642" y="401"/>
                  <a:pt x="642" y="401"/>
                  <a:pt x="642" y="401"/>
                </a:cubicBezTo>
                <a:cubicBezTo>
                  <a:pt x="641" y="402"/>
                  <a:pt x="641" y="402"/>
                  <a:pt x="641" y="402"/>
                </a:cubicBezTo>
                <a:cubicBezTo>
                  <a:pt x="640" y="402"/>
                  <a:pt x="640" y="402"/>
                  <a:pt x="640" y="402"/>
                </a:cubicBezTo>
                <a:cubicBezTo>
                  <a:pt x="639" y="402"/>
                  <a:pt x="639" y="402"/>
                  <a:pt x="639" y="402"/>
                </a:cubicBezTo>
                <a:cubicBezTo>
                  <a:pt x="639" y="403"/>
                  <a:pt x="639" y="403"/>
                  <a:pt x="639" y="403"/>
                </a:cubicBezTo>
                <a:cubicBezTo>
                  <a:pt x="639" y="404"/>
                  <a:pt x="639" y="404"/>
                  <a:pt x="639" y="404"/>
                </a:cubicBezTo>
                <a:cubicBezTo>
                  <a:pt x="638" y="404"/>
                  <a:pt x="638" y="404"/>
                  <a:pt x="638" y="404"/>
                </a:cubicBezTo>
                <a:cubicBezTo>
                  <a:pt x="638" y="405"/>
                  <a:pt x="638" y="405"/>
                  <a:pt x="638" y="405"/>
                </a:cubicBezTo>
                <a:cubicBezTo>
                  <a:pt x="638" y="406"/>
                  <a:pt x="638" y="406"/>
                  <a:pt x="638" y="406"/>
                </a:cubicBezTo>
                <a:cubicBezTo>
                  <a:pt x="637" y="406"/>
                  <a:pt x="637" y="406"/>
                  <a:pt x="637" y="406"/>
                </a:cubicBezTo>
                <a:cubicBezTo>
                  <a:pt x="636" y="407"/>
                  <a:pt x="636" y="407"/>
                  <a:pt x="636" y="407"/>
                </a:cubicBezTo>
                <a:cubicBezTo>
                  <a:pt x="635" y="407"/>
                  <a:pt x="635" y="407"/>
                  <a:pt x="635" y="407"/>
                </a:cubicBezTo>
                <a:cubicBezTo>
                  <a:pt x="634" y="408"/>
                  <a:pt x="634" y="408"/>
                  <a:pt x="634" y="408"/>
                </a:cubicBezTo>
                <a:cubicBezTo>
                  <a:pt x="633" y="407"/>
                  <a:pt x="633" y="407"/>
                  <a:pt x="633" y="407"/>
                </a:cubicBezTo>
                <a:cubicBezTo>
                  <a:pt x="633" y="408"/>
                  <a:pt x="633" y="408"/>
                  <a:pt x="633" y="408"/>
                </a:cubicBezTo>
                <a:cubicBezTo>
                  <a:pt x="632" y="408"/>
                  <a:pt x="632" y="408"/>
                  <a:pt x="632" y="408"/>
                </a:cubicBezTo>
                <a:cubicBezTo>
                  <a:pt x="632" y="407"/>
                  <a:pt x="632" y="407"/>
                  <a:pt x="632" y="407"/>
                </a:cubicBezTo>
                <a:cubicBezTo>
                  <a:pt x="631" y="407"/>
                  <a:pt x="631" y="407"/>
                  <a:pt x="631" y="407"/>
                </a:cubicBezTo>
                <a:cubicBezTo>
                  <a:pt x="630" y="407"/>
                  <a:pt x="630" y="407"/>
                  <a:pt x="630" y="407"/>
                </a:cubicBezTo>
                <a:cubicBezTo>
                  <a:pt x="629" y="407"/>
                  <a:pt x="629" y="407"/>
                  <a:pt x="629" y="407"/>
                </a:cubicBezTo>
                <a:cubicBezTo>
                  <a:pt x="628" y="407"/>
                  <a:pt x="628" y="407"/>
                  <a:pt x="628" y="407"/>
                </a:cubicBezTo>
                <a:cubicBezTo>
                  <a:pt x="628" y="407"/>
                  <a:pt x="628" y="407"/>
                  <a:pt x="628" y="407"/>
                </a:cubicBezTo>
                <a:cubicBezTo>
                  <a:pt x="627" y="406"/>
                  <a:pt x="627" y="406"/>
                  <a:pt x="627" y="406"/>
                </a:cubicBezTo>
                <a:cubicBezTo>
                  <a:pt x="626" y="405"/>
                  <a:pt x="626" y="405"/>
                  <a:pt x="626" y="405"/>
                </a:cubicBezTo>
                <a:cubicBezTo>
                  <a:pt x="625" y="404"/>
                  <a:pt x="625" y="404"/>
                  <a:pt x="625" y="404"/>
                </a:cubicBezTo>
                <a:cubicBezTo>
                  <a:pt x="625" y="403"/>
                  <a:pt x="625" y="403"/>
                  <a:pt x="625" y="403"/>
                </a:cubicBezTo>
                <a:cubicBezTo>
                  <a:pt x="626" y="402"/>
                  <a:pt x="626" y="402"/>
                  <a:pt x="626" y="402"/>
                </a:cubicBezTo>
                <a:cubicBezTo>
                  <a:pt x="626" y="401"/>
                  <a:pt x="626" y="401"/>
                  <a:pt x="626" y="401"/>
                </a:cubicBezTo>
                <a:cubicBezTo>
                  <a:pt x="625" y="400"/>
                  <a:pt x="625" y="400"/>
                  <a:pt x="625" y="400"/>
                </a:cubicBezTo>
                <a:cubicBezTo>
                  <a:pt x="625" y="399"/>
                  <a:pt x="625" y="399"/>
                  <a:pt x="625" y="399"/>
                </a:cubicBezTo>
                <a:cubicBezTo>
                  <a:pt x="624" y="399"/>
                  <a:pt x="624" y="399"/>
                  <a:pt x="624" y="399"/>
                </a:cubicBezTo>
                <a:cubicBezTo>
                  <a:pt x="624" y="398"/>
                  <a:pt x="624" y="398"/>
                  <a:pt x="624" y="398"/>
                </a:cubicBezTo>
                <a:cubicBezTo>
                  <a:pt x="624" y="398"/>
                  <a:pt x="624" y="398"/>
                  <a:pt x="624" y="398"/>
                </a:cubicBezTo>
                <a:cubicBezTo>
                  <a:pt x="624" y="397"/>
                  <a:pt x="624" y="397"/>
                  <a:pt x="624" y="397"/>
                </a:cubicBezTo>
                <a:cubicBezTo>
                  <a:pt x="625" y="396"/>
                  <a:pt x="625" y="396"/>
                  <a:pt x="625" y="396"/>
                </a:cubicBezTo>
                <a:cubicBezTo>
                  <a:pt x="624" y="396"/>
                  <a:pt x="624" y="396"/>
                  <a:pt x="624" y="396"/>
                </a:cubicBezTo>
                <a:cubicBezTo>
                  <a:pt x="624" y="396"/>
                  <a:pt x="624" y="396"/>
                  <a:pt x="624" y="396"/>
                </a:cubicBezTo>
                <a:cubicBezTo>
                  <a:pt x="623" y="396"/>
                  <a:pt x="623" y="396"/>
                  <a:pt x="623" y="396"/>
                </a:cubicBezTo>
                <a:cubicBezTo>
                  <a:pt x="622" y="396"/>
                  <a:pt x="622" y="396"/>
                  <a:pt x="622" y="396"/>
                </a:cubicBezTo>
                <a:cubicBezTo>
                  <a:pt x="622" y="397"/>
                  <a:pt x="622" y="397"/>
                  <a:pt x="622" y="397"/>
                </a:cubicBezTo>
                <a:cubicBezTo>
                  <a:pt x="621" y="397"/>
                  <a:pt x="621" y="397"/>
                  <a:pt x="621" y="397"/>
                </a:cubicBezTo>
                <a:cubicBezTo>
                  <a:pt x="620" y="396"/>
                  <a:pt x="620" y="396"/>
                  <a:pt x="620" y="396"/>
                </a:cubicBezTo>
                <a:cubicBezTo>
                  <a:pt x="619" y="396"/>
                  <a:pt x="619" y="396"/>
                  <a:pt x="619" y="396"/>
                </a:cubicBezTo>
                <a:cubicBezTo>
                  <a:pt x="619" y="396"/>
                  <a:pt x="619" y="396"/>
                  <a:pt x="619" y="396"/>
                </a:cubicBezTo>
                <a:cubicBezTo>
                  <a:pt x="618" y="395"/>
                  <a:pt x="618" y="395"/>
                  <a:pt x="618" y="395"/>
                </a:cubicBezTo>
                <a:cubicBezTo>
                  <a:pt x="618" y="394"/>
                  <a:pt x="618" y="394"/>
                  <a:pt x="618" y="394"/>
                </a:cubicBezTo>
                <a:cubicBezTo>
                  <a:pt x="617" y="394"/>
                  <a:pt x="617" y="394"/>
                  <a:pt x="617" y="394"/>
                </a:cubicBezTo>
                <a:cubicBezTo>
                  <a:pt x="617" y="394"/>
                  <a:pt x="617" y="394"/>
                  <a:pt x="617" y="394"/>
                </a:cubicBezTo>
                <a:cubicBezTo>
                  <a:pt x="616" y="393"/>
                  <a:pt x="616" y="393"/>
                  <a:pt x="616" y="393"/>
                </a:cubicBezTo>
                <a:cubicBezTo>
                  <a:pt x="616" y="393"/>
                  <a:pt x="616" y="393"/>
                  <a:pt x="616" y="393"/>
                </a:cubicBezTo>
                <a:cubicBezTo>
                  <a:pt x="615" y="393"/>
                  <a:pt x="615" y="393"/>
                  <a:pt x="615" y="393"/>
                </a:cubicBezTo>
                <a:cubicBezTo>
                  <a:pt x="615" y="392"/>
                  <a:pt x="615" y="392"/>
                  <a:pt x="615" y="392"/>
                </a:cubicBezTo>
                <a:cubicBezTo>
                  <a:pt x="614" y="391"/>
                  <a:pt x="614" y="391"/>
                  <a:pt x="614" y="391"/>
                </a:cubicBezTo>
                <a:cubicBezTo>
                  <a:pt x="614" y="391"/>
                  <a:pt x="614" y="391"/>
                  <a:pt x="614" y="391"/>
                </a:cubicBezTo>
                <a:cubicBezTo>
                  <a:pt x="613" y="391"/>
                  <a:pt x="613" y="391"/>
                  <a:pt x="613" y="391"/>
                </a:cubicBezTo>
                <a:cubicBezTo>
                  <a:pt x="613" y="392"/>
                  <a:pt x="613" y="392"/>
                  <a:pt x="613" y="392"/>
                </a:cubicBezTo>
                <a:cubicBezTo>
                  <a:pt x="612" y="391"/>
                  <a:pt x="612" y="391"/>
                  <a:pt x="612" y="391"/>
                </a:cubicBezTo>
                <a:cubicBezTo>
                  <a:pt x="612" y="392"/>
                  <a:pt x="612" y="392"/>
                  <a:pt x="612" y="392"/>
                </a:cubicBezTo>
                <a:cubicBezTo>
                  <a:pt x="611" y="392"/>
                  <a:pt x="611" y="392"/>
                  <a:pt x="611" y="392"/>
                </a:cubicBezTo>
                <a:cubicBezTo>
                  <a:pt x="611" y="392"/>
                  <a:pt x="611" y="392"/>
                  <a:pt x="611" y="392"/>
                </a:cubicBezTo>
                <a:cubicBezTo>
                  <a:pt x="610" y="391"/>
                  <a:pt x="610" y="391"/>
                  <a:pt x="610" y="391"/>
                </a:cubicBezTo>
                <a:cubicBezTo>
                  <a:pt x="610" y="391"/>
                  <a:pt x="610" y="391"/>
                  <a:pt x="610" y="391"/>
                </a:cubicBezTo>
                <a:cubicBezTo>
                  <a:pt x="608" y="391"/>
                  <a:pt x="608" y="391"/>
                  <a:pt x="608" y="391"/>
                </a:cubicBezTo>
                <a:cubicBezTo>
                  <a:pt x="608" y="390"/>
                  <a:pt x="608" y="390"/>
                  <a:pt x="608" y="390"/>
                </a:cubicBezTo>
                <a:cubicBezTo>
                  <a:pt x="608" y="390"/>
                  <a:pt x="608" y="390"/>
                  <a:pt x="608" y="390"/>
                </a:cubicBezTo>
                <a:cubicBezTo>
                  <a:pt x="608" y="389"/>
                  <a:pt x="608" y="389"/>
                  <a:pt x="608" y="389"/>
                </a:cubicBezTo>
                <a:cubicBezTo>
                  <a:pt x="607" y="389"/>
                  <a:pt x="607" y="389"/>
                  <a:pt x="607" y="389"/>
                </a:cubicBezTo>
                <a:cubicBezTo>
                  <a:pt x="607" y="390"/>
                  <a:pt x="607" y="390"/>
                  <a:pt x="607" y="390"/>
                </a:cubicBezTo>
                <a:cubicBezTo>
                  <a:pt x="605" y="390"/>
                  <a:pt x="605" y="390"/>
                  <a:pt x="605" y="390"/>
                </a:cubicBezTo>
                <a:cubicBezTo>
                  <a:pt x="605" y="390"/>
                  <a:pt x="605" y="390"/>
                  <a:pt x="605" y="390"/>
                </a:cubicBezTo>
                <a:cubicBezTo>
                  <a:pt x="604" y="390"/>
                  <a:pt x="604" y="390"/>
                  <a:pt x="604" y="390"/>
                </a:cubicBezTo>
                <a:cubicBezTo>
                  <a:pt x="604" y="390"/>
                  <a:pt x="604" y="390"/>
                  <a:pt x="604" y="390"/>
                </a:cubicBezTo>
                <a:cubicBezTo>
                  <a:pt x="603" y="390"/>
                  <a:pt x="603" y="390"/>
                  <a:pt x="603" y="390"/>
                </a:cubicBezTo>
                <a:cubicBezTo>
                  <a:pt x="602" y="389"/>
                  <a:pt x="602" y="389"/>
                  <a:pt x="602" y="389"/>
                </a:cubicBezTo>
                <a:cubicBezTo>
                  <a:pt x="601" y="389"/>
                  <a:pt x="601" y="389"/>
                  <a:pt x="601" y="389"/>
                </a:cubicBezTo>
                <a:cubicBezTo>
                  <a:pt x="600" y="387"/>
                  <a:pt x="600" y="387"/>
                  <a:pt x="600" y="387"/>
                </a:cubicBezTo>
                <a:cubicBezTo>
                  <a:pt x="599" y="386"/>
                  <a:pt x="599" y="386"/>
                  <a:pt x="599" y="386"/>
                </a:cubicBezTo>
                <a:cubicBezTo>
                  <a:pt x="599" y="385"/>
                  <a:pt x="599" y="385"/>
                  <a:pt x="599" y="385"/>
                </a:cubicBezTo>
                <a:cubicBezTo>
                  <a:pt x="599" y="384"/>
                  <a:pt x="599" y="384"/>
                  <a:pt x="599" y="384"/>
                </a:cubicBezTo>
                <a:cubicBezTo>
                  <a:pt x="598" y="384"/>
                  <a:pt x="598" y="384"/>
                  <a:pt x="598" y="384"/>
                </a:cubicBezTo>
                <a:cubicBezTo>
                  <a:pt x="598" y="383"/>
                  <a:pt x="598" y="383"/>
                  <a:pt x="598" y="383"/>
                </a:cubicBezTo>
                <a:cubicBezTo>
                  <a:pt x="598" y="382"/>
                  <a:pt x="598" y="382"/>
                  <a:pt x="598" y="382"/>
                </a:cubicBezTo>
                <a:cubicBezTo>
                  <a:pt x="597" y="382"/>
                  <a:pt x="597" y="382"/>
                  <a:pt x="597" y="382"/>
                </a:cubicBezTo>
                <a:cubicBezTo>
                  <a:pt x="597" y="381"/>
                  <a:pt x="597" y="381"/>
                  <a:pt x="597" y="381"/>
                </a:cubicBezTo>
                <a:cubicBezTo>
                  <a:pt x="597" y="379"/>
                  <a:pt x="597" y="379"/>
                  <a:pt x="597" y="379"/>
                </a:cubicBezTo>
                <a:cubicBezTo>
                  <a:pt x="594" y="378"/>
                  <a:pt x="594" y="378"/>
                  <a:pt x="594" y="378"/>
                </a:cubicBezTo>
                <a:cubicBezTo>
                  <a:pt x="593" y="376"/>
                  <a:pt x="593" y="376"/>
                  <a:pt x="593" y="376"/>
                </a:cubicBezTo>
                <a:cubicBezTo>
                  <a:pt x="593" y="376"/>
                  <a:pt x="593" y="376"/>
                  <a:pt x="593" y="376"/>
                </a:cubicBezTo>
                <a:cubicBezTo>
                  <a:pt x="592" y="375"/>
                  <a:pt x="592" y="375"/>
                  <a:pt x="592" y="375"/>
                </a:cubicBezTo>
                <a:cubicBezTo>
                  <a:pt x="592" y="375"/>
                  <a:pt x="592" y="375"/>
                  <a:pt x="592" y="375"/>
                </a:cubicBezTo>
                <a:cubicBezTo>
                  <a:pt x="591" y="375"/>
                  <a:pt x="591" y="375"/>
                  <a:pt x="591" y="375"/>
                </a:cubicBezTo>
                <a:cubicBezTo>
                  <a:pt x="592" y="374"/>
                  <a:pt x="592" y="374"/>
                  <a:pt x="592" y="374"/>
                </a:cubicBezTo>
                <a:cubicBezTo>
                  <a:pt x="592" y="373"/>
                  <a:pt x="592" y="373"/>
                  <a:pt x="592" y="373"/>
                </a:cubicBezTo>
                <a:cubicBezTo>
                  <a:pt x="591" y="373"/>
                  <a:pt x="591" y="373"/>
                  <a:pt x="591" y="373"/>
                </a:cubicBezTo>
                <a:cubicBezTo>
                  <a:pt x="590" y="372"/>
                  <a:pt x="590" y="372"/>
                  <a:pt x="590" y="372"/>
                </a:cubicBezTo>
                <a:cubicBezTo>
                  <a:pt x="590" y="371"/>
                  <a:pt x="590" y="371"/>
                  <a:pt x="590" y="371"/>
                </a:cubicBezTo>
                <a:cubicBezTo>
                  <a:pt x="590" y="371"/>
                  <a:pt x="590" y="371"/>
                  <a:pt x="590" y="371"/>
                </a:cubicBezTo>
                <a:cubicBezTo>
                  <a:pt x="589" y="370"/>
                  <a:pt x="589" y="370"/>
                  <a:pt x="589" y="370"/>
                </a:cubicBezTo>
                <a:cubicBezTo>
                  <a:pt x="588" y="368"/>
                  <a:pt x="588" y="368"/>
                  <a:pt x="588" y="368"/>
                </a:cubicBezTo>
                <a:cubicBezTo>
                  <a:pt x="587" y="368"/>
                  <a:pt x="587" y="368"/>
                  <a:pt x="587" y="368"/>
                </a:cubicBezTo>
                <a:cubicBezTo>
                  <a:pt x="587" y="367"/>
                  <a:pt x="587" y="367"/>
                  <a:pt x="587" y="367"/>
                </a:cubicBezTo>
                <a:cubicBezTo>
                  <a:pt x="587" y="366"/>
                  <a:pt x="587" y="366"/>
                  <a:pt x="587" y="366"/>
                </a:cubicBezTo>
                <a:cubicBezTo>
                  <a:pt x="587" y="365"/>
                  <a:pt x="587" y="365"/>
                  <a:pt x="587" y="365"/>
                </a:cubicBezTo>
                <a:cubicBezTo>
                  <a:pt x="585" y="365"/>
                  <a:pt x="585" y="365"/>
                  <a:pt x="585" y="365"/>
                </a:cubicBezTo>
                <a:cubicBezTo>
                  <a:pt x="585" y="365"/>
                  <a:pt x="585" y="365"/>
                  <a:pt x="585" y="365"/>
                </a:cubicBezTo>
                <a:cubicBezTo>
                  <a:pt x="585" y="364"/>
                  <a:pt x="585" y="364"/>
                  <a:pt x="585" y="364"/>
                </a:cubicBezTo>
                <a:cubicBezTo>
                  <a:pt x="585" y="364"/>
                  <a:pt x="585" y="364"/>
                  <a:pt x="585" y="364"/>
                </a:cubicBezTo>
                <a:cubicBezTo>
                  <a:pt x="585" y="363"/>
                  <a:pt x="585" y="363"/>
                  <a:pt x="585" y="363"/>
                </a:cubicBezTo>
                <a:cubicBezTo>
                  <a:pt x="584" y="362"/>
                  <a:pt x="584" y="362"/>
                  <a:pt x="584" y="362"/>
                </a:cubicBezTo>
                <a:cubicBezTo>
                  <a:pt x="584" y="362"/>
                  <a:pt x="584" y="362"/>
                  <a:pt x="584" y="362"/>
                </a:cubicBezTo>
                <a:cubicBezTo>
                  <a:pt x="584" y="361"/>
                  <a:pt x="584" y="361"/>
                  <a:pt x="584" y="361"/>
                </a:cubicBezTo>
                <a:cubicBezTo>
                  <a:pt x="583" y="361"/>
                  <a:pt x="583" y="361"/>
                  <a:pt x="583" y="361"/>
                </a:cubicBezTo>
                <a:cubicBezTo>
                  <a:pt x="583" y="361"/>
                  <a:pt x="583" y="361"/>
                  <a:pt x="583" y="361"/>
                </a:cubicBezTo>
                <a:cubicBezTo>
                  <a:pt x="581" y="360"/>
                  <a:pt x="581" y="360"/>
                  <a:pt x="581" y="360"/>
                </a:cubicBezTo>
                <a:cubicBezTo>
                  <a:pt x="581" y="360"/>
                  <a:pt x="581" y="360"/>
                  <a:pt x="581" y="360"/>
                </a:cubicBezTo>
                <a:cubicBezTo>
                  <a:pt x="582" y="359"/>
                  <a:pt x="582" y="359"/>
                  <a:pt x="582" y="359"/>
                </a:cubicBezTo>
                <a:cubicBezTo>
                  <a:pt x="581" y="359"/>
                  <a:pt x="581" y="359"/>
                  <a:pt x="581" y="359"/>
                </a:cubicBezTo>
                <a:cubicBezTo>
                  <a:pt x="580" y="359"/>
                  <a:pt x="580" y="359"/>
                  <a:pt x="580" y="359"/>
                </a:cubicBezTo>
                <a:cubicBezTo>
                  <a:pt x="580" y="359"/>
                  <a:pt x="580" y="359"/>
                  <a:pt x="580" y="359"/>
                </a:cubicBezTo>
                <a:cubicBezTo>
                  <a:pt x="580" y="359"/>
                  <a:pt x="580" y="359"/>
                  <a:pt x="580" y="359"/>
                </a:cubicBezTo>
                <a:cubicBezTo>
                  <a:pt x="579" y="359"/>
                  <a:pt x="579" y="359"/>
                  <a:pt x="579" y="359"/>
                </a:cubicBezTo>
                <a:cubicBezTo>
                  <a:pt x="579" y="358"/>
                  <a:pt x="579" y="358"/>
                  <a:pt x="579" y="358"/>
                </a:cubicBezTo>
                <a:cubicBezTo>
                  <a:pt x="579" y="357"/>
                  <a:pt x="579" y="357"/>
                  <a:pt x="579" y="357"/>
                </a:cubicBezTo>
                <a:cubicBezTo>
                  <a:pt x="578" y="357"/>
                  <a:pt x="578" y="357"/>
                  <a:pt x="578" y="357"/>
                </a:cubicBezTo>
                <a:cubicBezTo>
                  <a:pt x="578" y="356"/>
                  <a:pt x="578" y="356"/>
                  <a:pt x="578" y="356"/>
                </a:cubicBezTo>
                <a:cubicBezTo>
                  <a:pt x="577" y="356"/>
                  <a:pt x="577" y="356"/>
                  <a:pt x="577" y="356"/>
                </a:cubicBezTo>
                <a:cubicBezTo>
                  <a:pt x="576" y="356"/>
                  <a:pt x="576" y="356"/>
                  <a:pt x="576" y="356"/>
                </a:cubicBezTo>
                <a:cubicBezTo>
                  <a:pt x="576" y="356"/>
                  <a:pt x="576" y="356"/>
                  <a:pt x="576" y="356"/>
                </a:cubicBezTo>
                <a:cubicBezTo>
                  <a:pt x="575" y="356"/>
                  <a:pt x="575" y="356"/>
                  <a:pt x="575" y="356"/>
                </a:cubicBezTo>
                <a:cubicBezTo>
                  <a:pt x="574" y="356"/>
                  <a:pt x="574" y="356"/>
                  <a:pt x="574" y="356"/>
                </a:cubicBezTo>
                <a:cubicBezTo>
                  <a:pt x="574" y="356"/>
                  <a:pt x="574" y="356"/>
                  <a:pt x="574" y="356"/>
                </a:cubicBezTo>
                <a:cubicBezTo>
                  <a:pt x="574" y="357"/>
                  <a:pt x="574" y="357"/>
                  <a:pt x="574" y="357"/>
                </a:cubicBezTo>
                <a:cubicBezTo>
                  <a:pt x="573" y="357"/>
                  <a:pt x="573" y="357"/>
                  <a:pt x="573" y="357"/>
                </a:cubicBezTo>
                <a:cubicBezTo>
                  <a:pt x="572" y="356"/>
                  <a:pt x="572" y="356"/>
                  <a:pt x="572" y="356"/>
                </a:cubicBezTo>
                <a:cubicBezTo>
                  <a:pt x="572" y="356"/>
                  <a:pt x="572" y="356"/>
                  <a:pt x="572" y="356"/>
                </a:cubicBezTo>
                <a:cubicBezTo>
                  <a:pt x="571" y="356"/>
                  <a:pt x="571" y="356"/>
                  <a:pt x="571" y="356"/>
                </a:cubicBezTo>
                <a:cubicBezTo>
                  <a:pt x="570" y="356"/>
                  <a:pt x="570" y="356"/>
                  <a:pt x="570" y="356"/>
                </a:cubicBezTo>
                <a:cubicBezTo>
                  <a:pt x="569" y="356"/>
                  <a:pt x="569" y="356"/>
                  <a:pt x="569" y="356"/>
                </a:cubicBezTo>
                <a:cubicBezTo>
                  <a:pt x="569" y="355"/>
                  <a:pt x="569" y="355"/>
                  <a:pt x="569" y="355"/>
                </a:cubicBezTo>
                <a:cubicBezTo>
                  <a:pt x="567" y="355"/>
                  <a:pt x="567" y="355"/>
                  <a:pt x="567" y="355"/>
                </a:cubicBezTo>
                <a:cubicBezTo>
                  <a:pt x="566" y="354"/>
                  <a:pt x="566" y="354"/>
                  <a:pt x="566" y="354"/>
                </a:cubicBezTo>
                <a:cubicBezTo>
                  <a:pt x="565" y="354"/>
                  <a:pt x="565" y="354"/>
                  <a:pt x="565" y="354"/>
                </a:cubicBezTo>
                <a:cubicBezTo>
                  <a:pt x="564" y="354"/>
                  <a:pt x="564" y="354"/>
                  <a:pt x="564" y="354"/>
                </a:cubicBezTo>
                <a:cubicBezTo>
                  <a:pt x="564" y="354"/>
                  <a:pt x="564" y="354"/>
                  <a:pt x="564" y="354"/>
                </a:cubicBezTo>
                <a:cubicBezTo>
                  <a:pt x="562" y="354"/>
                  <a:pt x="562" y="354"/>
                  <a:pt x="562" y="354"/>
                </a:cubicBezTo>
                <a:cubicBezTo>
                  <a:pt x="562" y="355"/>
                  <a:pt x="562" y="355"/>
                  <a:pt x="562" y="355"/>
                </a:cubicBezTo>
                <a:cubicBezTo>
                  <a:pt x="561" y="355"/>
                  <a:pt x="561" y="355"/>
                  <a:pt x="561" y="355"/>
                </a:cubicBezTo>
                <a:cubicBezTo>
                  <a:pt x="560" y="356"/>
                  <a:pt x="560" y="356"/>
                  <a:pt x="560" y="356"/>
                </a:cubicBezTo>
                <a:cubicBezTo>
                  <a:pt x="559" y="356"/>
                  <a:pt x="559" y="356"/>
                  <a:pt x="559" y="356"/>
                </a:cubicBezTo>
                <a:cubicBezTo>
                  <a:pt x="558" y="356"/>
                  <a:pt x="558" y="356"/>
                  <a:pt x="558" y="356"/>
                </a:cubicBezTo>
                <a:cubicBezTo>
                  <a:pt x="557" y="356"/>
                  <a:pt x="557" y="356"/>
                  <a:pt x="557" y="356"/>
                </a:cubicBezTo>
                <a:cubicBezTo>
                  <a:pt x="556" y="357"/>
                  <a:pt x="556" y="357"/>
                  <a:pt x="556" y="357"/>
                </a:cubicBezTo>
                <a:cubicBezTo>
                  <a:pt x="555" y="357"/>
                  <a:pt x="555" y="357"/>
                  <a:pt x="555" y="357"/>
                </a:cubicBezTo>
                <a:cubicBezTo>
                  <a:pt x="555" y="358"/>
                  <a:pt x="555" y="358"/>
                  <a:pt x="555" y="358"/>
                </a:cubicBezTo>
                <a:cubicBezTo>
                  <a:pt x="554" y="358"/>
                  <a:pt x="554" y="358"/>
                  <a:pt x="554" y="358"/>
                </a:cubicBezTo>
                <a:cubicBezTo>
                  <a:pt x="553" y="358"/>
                  <a:pt x="553" y="358"/>
                  <a:pt x="553" y="358"/>
                </a:cubicBezTo>
                <a:cubicBezTo>
                  <a:pt x="553" y="358"/>
                  <a:pt x="553" y="358"/>
                  <a:pt x="553" y="358"/>
                </a:cubicBezTo>
                <a:cubicBezTo>
                  <a:pt x="552" y="358"/>
                  <a:pt x="552" y="358"/>
                  <a:pt x="552" y="358"/>
                </a:cubicBezTo>
                <a:cubicBezTo>
                  <a:pt x="551" y="358"/>
                  <a:pt x="551" y="358"/>
                  <a:pt x="551" y="358"/>
                </a:cubicBezTo>
                <a:cubicBezTo>
                  <a:pt x="549" y="359"/>
                  <a:pt x="549" y="359"/>
                  <a:pt x="549" y="359"/>
                </a:cubicBezTo>
                <a:cubicBezTo>
                  <a:pt x="549" y="359"/>
                  <a:pt x="549" y="359"/>
                  <a:pt x="549" y="359"/>
                </a:cubicBezTo>
                <a:cubicBezTo>
                  <a:pt x="549" y="360"/>
                  <a:pt x="549" y="360"/>
                  <a:pt x="549" y="360"/>
                </a:cubicBezTo>
                <a:cubicBezTo>
                  <a:pt x="548" y="361"/>
                  <a:pt x="548" y="361"/>
                  <a:pt x="548" y="361"/>
                </a:cubicBezTo>
                <a:cubicBezTo>
                  <a:pt x="548" y="362"/>
                  <a:pt x="548" y="362"/>
                  <a:pt x="548" y="362"/>
                </a:cubicBezTo>
                <a:cubicBezTo>
                  <a:pt x="547" y="363"/>
                  <a:pt x="547" y="363"/>
                  <a:pt x="547" y="363"/>
                </a:cubicBezTo>
                <a:cubicBezTo>
                  <a:pt x="547" y="363"/>
                  <a:pt x="547" y="363"/>
                  <a:pt x="547" y="363"/>
                </a:cubicBezTo>
                <a:cubicBezTo>
                  <a:pt x="547" y="364"/>
                  <a:pt x="547" y="364"/>
                  <a:pt x="547" y="364"/>
                </a:cubicBezTo>
                <a:cubicBezTo>
                  <a:pt x="547" y="366"/>
                  <a:pt x="547" y="366"/>
                  <a:pt x="547" y="366"/>
                </a:cubicBezTo>
                <a:cubicBezTo>
                  <a:pt x="547" y="366"/>
                  <a:pt x="547" y="366"/>
                  <a:pt x="547" y="366"/>
                </a:cubicBezTo>
                <a:cubicBezTo>
                  <a:pt x="548" y="366"/>
                  <a:pt x="548" y="366"/>
                  <a:pt x="548" y="366"/>
                </a:cubicBezTo>
                <a:cubicBezTo>
                  <a:pt x="549" y="365"/>
                  <a:pt x="549" y="365"/>
                  <a:pt x="549" y="365"/>
                </a:cubicBezTo>
                <a:cubicBezTo>
                  <a:pt x="550" y="365"/>
                  <a:pt x="550" y="365"/>
                  <a:pt x="550" y="365"/>
                </a:cubicBezTo>
                <a:cubicBezTo>
                  <a:pt x="551" y="365"/>
                  <a:pt x="551" y="365"/>
                  <a:pt x="551" y="365"/>
                </a:cubicBezTo>
                <a:cubicBezTo>
                  <a:pt x="552" y="367"/>
                  <a:pt x="552" y="367"/>
                  <a:pt x="552" y="367"/>
                </a:cubicBezTo>
                <a:cubicBezTo>
                  <a:pt x="552" y="368"/>
                  <a:pt x="552" y="368"/>
                  <a:pt x="552" y="368"/>
                </a:cubicBezTo>
                <a:cubicBezTo>
                  <a:pt x="553" y="368"/>
                  <a:pt x="553" y="368"/>
                  <a:pt x="553" y="368"/>
                </a:cubicBezTo>
                <a:cubicBezTo>
                  <a:pt x="553" y="369"/>
                  <a:pt x="553" y="369"/>
                  <a:pt x="553" y="369"/>
                </a:cubicBezTo>
                <a:cubicBezTo>
                  <a:pt x="553" y="370"/>
                  <a:pt x="553" y="370"/>
                  <a:pt x="553" y="370"/>
                </a:cubicBezTo>
                <a:cubicBezTo>
                  <a:pt x="553" y="372"/>
                  <a:pt x="553" y="372"/>
                  <a:pt x="553" y="372"/>
                </a:cubicBezTo>
                <a:cubicBezTo>
                  <a:pt x="552" y="372"/>
                  <a:pt x="552" y="372"/>
                  <a:pt x="552" y="372"/>
                </a:cubicBezTo>
                <a:cubicBezTo>
                  <a:pt x="552" y="373"/>
                  <a:pt x="552" y="373"/>
                  <a:pt x="552" y="373"/>
                </a:cubicBezTo>
                <a:cubicBezTo>
                  <a:pt x="551" y="375"/>
                  <a:pt x="551" y="375"/>
                  <a:pt x="551" y="375"/>
                </a:cubicBezTo>
                <a:cubicBezTo>
                  <a:pt x="551" y="376"/>
                  <a:pt x="551" y="376"/>
                  <a:pt x="551" y="376"/>
                </a:cubicBezTo>
                <a:cubicBezTo>
                  <a:pt x="550" y="377"/>
                  <a:pt x="550" y="377"/>
                  <a:pt x="550" y="377"/>
                </a:cubicBezTo>
                <a:cubicBezTo>
                  <a:pt x="550" y="378"/>
                  <a:pt x="550" y="378"/>
                  <a:pt x="550" y="378"/>
                </a:cubicBezTo>
                <a:cubicBezTo>
                  <a:pt x="550" y="379"/>
                  <a:pt x="550" y="379"/>
                  <a:pt x="550" y="379"/>
                </a:cubicBezTo>
                <a:cubicBezTo>
                  <a:pt x="550" y="380"/>
                  <a:pt x="550" y="380"/>
                  <a:pt x="550" y="380"/>
                </a:cubicBezTo>
                <a:cubicBezTo>
                  <a:pt x="550" y="381"/>
                  <a:pt x="550" y="381"/>
                  <a:pt x="550" y="381"/>
                </a:cubicBezTo>
                <a:cubicBezTo>
                  <a:pt x="551" y="382"/>
                  <a:pt x="551" y="382"/>
                  <a:pt x="551" y="382"/>
                </a:cubicBezTo>
                <a:cubicBezTo>
                  <a:pt x="551" y="383"/>
                  <a:pt x="551" y="383"/>
                  <a:pt x="551" y="383"/>
                </a:cubicBezTo>
                <a:cubicBezTo>
                  <a:pt x="550" y="383"/>
                  <a:pt x="550" y="383"/>
                  <a:pt x="550" y="383"/>
                </a:cubicBezTo>
                <a:cubicBezTo>
                  <a:pt x="550" y="384"/>
                  <a:pt x="550" y="384"/>
                  <a:pt x="550" y="384"/>
                </a:cubicBezTo>
                <a:cubicBezTo>
                  <a:pt x="550" y="385"/>
                  <a:pt x="550" y="385"/>
                  <a:pt x="550" y="385"/>
                </a:cubicBezTo>
                <a:cubicBezTo>
                  <a:pt x="550" y="387"/>
                  <a:pt x="550" y="387"/>
                  <a:pt x="550" y="387"/>
                </a:cubicBezTo>
                <a:cubicBezTo>
                  <a:pt x="550" y="387"/>
                  <a:pt x="550" y="387"/>
                  <a:pt x="550" y="387"/>
                </a:cubicBezTo>
                <a:cubicBezTo>
                  <a:pt x="550" y="389"/>
                  <a:pt x="550" y="389"/>
                  <a:pt x="550" y="389"/>
                </a:cubicBezTo>
                <a:cubicBezTo>
                  <a:pt x="551" y="389"/>
                  <a:pt x="551" y="389"/>
                  <a:pt x="551" y="389"/>
                </a:cubicBezTo>
                <a:cubicBezTo>
                  <a:pt x="551" y="390"/>
                  <a:pt x="551" y="390"/>
                  <a:pt x="551" y="390"/>
                </a:cubicBezTo>
                <a:cubicBezTo>
                  <a:pt x="552" y="389"/>
                  <a:pt x="552" y="389"/>
                  <a:pt x="552" y="389"/>
                </a:cubicBezTo>
                <a:cubicBezTo>
                  <a:pt x="552" y="390"/>
                  <a:pt x="552" y="390"/>
                  <a:pt x="552" y="390"/>
                </a:cubicBezTo>
                <a:cubicBezTo>
                  <a:pt x="553" y="391"/>
                  <a:pt x="553" y="391"/>
                  <a:pt x="553" y="391"/>
                </a:cubicBezTo>
                <a:cubicBezTo>
                  <a:pt x="552" y="392"/>
                  <a:pt x="552" y="392"/>
                  <a:pt x="552" y="392"/>
                </a:cubicBezTo>
                <a:cubicBezTo>
                  <a:pt x="551" y="393"/>
                  <a:pt x="551" y="393"/>
                  <a:pt x="551" y="393"/>
                </a:cubicBezTo>
                <a:cubicBezTo>
                  <a:pt x="549" y="393"/>
                  <a:pt x="549" y="393"/>
                  <a:pt x="549" y="393"/>
                </a:cubicBezTo>
                <a:cubicBezTo>
                  <a:pt x="548" y="394"/>
                  <a:pt x="548" y="394"/>
                  <a:pt x="548" y="394"/>
                </a:cubicBezTo>
                <a:cubicBezTo>
                  <a:pt x="545" y="397"/>
                  <a:pt x="545" y="397"/>
                  <a:pt x="545" y="397"/>
                </a:cubicBezTo>
                <a:cubicBezTo>
                  <a:pt x="544" y="397"/>
                  <a:pt x="544" y="397"/>
                  <a:pt x="544" y="397"/>
                </a:cubicBezTo>
                <a:cubicBezTo>
                  <a:pt x="543" y="397"/>
                  <a:pt x="543" y="397"/>
                  <a:pt x="543" y="397"/>
                </a:cubicBezTo>
                <a:cubicBezTo>
                  <a:pt x="541" y="396"/>
                  <a:pt x="541" y="396"/>
                  <a:pt x="541" y="396"/>
                </a:cubicBezTo>
                <a:cubicBezTo>
                  <a:pt x="540" y="397"/>
                  <a:pt x="540" y="397"/>
                  <a:pt x="540" y="397"/>
                </a:cubicBezTo>
                <a:cubicBezTo>
                  <a:pt x="540" y="396"/>
                  <a:pt x="540" y="396"/>
                  <a:pt x="540" y="396"/>
                </a:cubicBezTo>
                <a:cubicBezTo>
                  <a:pt x="539" y="396"/>
                  <a:pt x="539" y="396"/>
                  <a:pt x="539" y="396"/>
                </a:cubicBezTo>
                <a:cubicBezTo>
                  <a:pt x="538" y="396"/>
                  <a:pt x="538" y="396"/>
                  <a:pt x="538" y="396"/>
                </a:cubicBezTo>
                <a:cubicBezTo>
                  <a:pt x="538" y="396"/>
                  <a:pt x="538" y="396"/>
                  <a:pt x="538" y="396"/>
                </a:cubicBezTo>
                <a:cubicBezTo>
                  <a:pt x="535" y="395"/>
                  <a:pt x="535" y="395"/>
                  <a:pt x="535" y="395"/>
                </a:cubicBezTo>
                <a:cubicBezTo>
                  <a:pt x="533" y="395"/>
                  <a:pt x="533" y="395"/>
                  <a:pt x="533" y="395"/>
                </a:cubicBezTo>
                <a:cubicBezTo>
                  <a:pt x="533" y="396"/>
                  <a:pt x="533" y="396"/>
                  <a:pt x="533" y="396"/>
                </a:cubicBezTo>
                <a:cubicBezTo>
                  <a:pt x="532" y="397"/>
                  <a:pt x="532" y="397"/>
                  <a:pt x="532" y="397"/>
                </a:cubicBezTo>
                <a:cubicBezTo>
                  <a:pt x="531" y="397"/>
                  <a:pt x="531" y="397"/>
                  <a:pt x="531" y="397"/>
                </a:cubicBezTo>
                <a:cubicBezTo>
                  <a:pt x="530" y="396"/>
                  <a:pt x="530" y="396"/>
                  <a:pt x="530" y="396"/>
                </a:cubicBezTo>
                <a:cubicBezTo>
                  <a:pt x="529" y="397"/>
                  <a:pt x="529" y="397"/>
                  <a:pt x="529" y="397"/>
                </a:cubicBezTo>
                <a:cubicBezTo>
                  <a:pt x="528" y="397"/>
                  <a:pt x="528" y="397"/>
                  <a:pt x="528" y="397"/>
                </a:cubicBezTo>
                <a:cubicBezTo>
                  <a:pt x="527" y="395"/>
                  <a:pt x="527" y="395"/>
                  <a:pt x="527" y="395"/>
                </a:cubicBezTo>
                <a:cubicBezTo>
                  <a:pt x="526" y="394"/>
                  <a:pt x="526" y="394"/>
                  <a:pt x="526" y="394"/>
                </a:cubicBezTo>
                <a:cubicBezTo>
                  <a:pt x="524" y="394"/>
                  <a:pt x="524" y="394"/>
                  <a:pt x="524" y="394"/>
                </a:cubicBezTo>
                <a:cubicBezTo>
                  <a:pt x="523" y="395"/>
                  <a:pt x="523" y="395"/>
                  <a:pt x="523" y="395"/>
                </a:cubicBezTo>
                <a:cubicBezTo>
                  <a:pt x="522" y="394"/>
                  <a:pt x="522" y="394"/>
                  <a:pt x="522" y="394"/>
                </a:cubicBezTo>
                <a:cubicBezTo>
                  <a:pt x="521" y="394"/>
                  <a:pt x="521" y="394"/>
                  <a:pt x="521" y="394"/>
                </a:cubicBezTo>
                <a:cubicBezTo>
                  <a:pt x="520" y="395"/>
                  <a:pt x="520" y="395"/>
                  <a:pt x="520" y="395"/>
                </a:cubicBezTo>
                <a:cubicBezTo>
                  <a:pt x="520" y="397"/>
                  <a:pt x="520" y="397"/>
                  <a:pt x="520" y="397"/>
                </a:cubicBezTo>
                <a:cubicBezTo>
                  <a:pt x="519" y="398"/>
                  <a:pt x="519" y="398"/>
                  <a:pt x="519" y="398"/>
                </a:cubicBezTo>
                <a:cubicBezTo>
                  <a:pt x="517" y="398"/>
                  <a:pt x="517" y="398"/>
                  <a:pt x="517" y="398"/>
                </a:cubicBezTo>
                <a:cubicBezTo>
                  <a:pt x="517" y="400"/>
                  <a:pt x="517" y="400"/>
                  <a:pt x="517" y="400"/>
                </a:cubicBezTo>
                <a:cubicBezTo>
                  <a:pt x="517" y="400"/>
                  <a:pt x="517" y="400"/>
                  <a:pt x="517" y="400"/>
                </a:cubicBezTo>
                <a:cubicBezTo>
                  <a:pt x="516" y="401"/>
                  <a:pt x="516" y="401"/>
                  <a:pt x="516" y="401"/>
                </a:cubicBezTo>
                <a:cubicBezTo>
                  <a:pt x="515" y="402"/>
                  <a:pt x="515" y="402"/>
                  <a:pt x="515" y="402"/>
                </a:cubicBezTo>
                <a:cubicBezTo>
                  <a:pt x="512" y="402"/>
                  <a:pt x="512" y="402"/>
                  <a:pt x="512" y="402"/>
                </a:cubicBezTo>
                <a:cubicBezTo>
                  <a:pt x="511" y="403"/>
                  <a:pt x="511" y="403"/>
                  <a:pt x="511" y="403"/>
                </a:cubicBezTo>
                <a:cubicBezTo>
                  <a:pt x="510" y="404"/>
                  <a:pt x="510" y="404"/>
                  <a:pt x="510" y="404"/>
                </a:cubicBezTo>
                <a:cubicBezTo>
                  <a:pt x="509" y="404"/>
                  <a:pt x="509" y="404"/>
                  <a:pt x="509" y="404"/>
                </a:cubicBezTo>
                <a:cubicBezTo>
                  <a:pt x="506" y="405"/>
                  <a:pt x="506" y="405"/>
                  <a:pt x="506" y="405"/>
                </a:cubicBezTo>
                <a:cubicBezTo>
                  <a:pt x="505" y="407"/>
                  <a:pt x="505" y="407"/>
                  <a:pt x="505" y="407"/>
                </a:cubicBezTo>
                <a:cubicBezTo>
                  <a:pt x="505" y="407"/>
                  <a:pt x="505" y="407"/>
                  <a:pt x="505" y="407"/>
                </a:cubicBezTo>
                <a:cubicBezTo>
                  <a:pt x="503" y="406"/>
                  <a:pt x="503" y="406"/>
                  <a:pt x="503" y="406"/>
                </a:cubicBezTo>
                <a:cubicBezTo>
                  <a:pt x="502" y="406"/>
                  <a:pt x="502" y="406"/>
                  <a:pt x="502" y="406"/>
                </a:cubicBezTo>
                <a:cubicBezTo>
                  <a:pt x="501" y="406"/>
                  <a:pt x="501" y="406"/>
                  <a:pt x="501" y="406"/>
                </a:cubicBezTo>
                <a:cubicBezTo>
                  <a:pt x="500" y="407"/>
                  <a:pt x="500" y="407"/>
                  <a:pt x="500" y="407"/>
                </a:cubicBezTo>
                <a:cubicBezTo>
                  <a:pt x="496" y="407"/>
                  <a:pt x="496" y="407"/>
                  <a:pt x="496" y="407"/>
                </a:cubicBezTo>
                <a:cubicBezTo>
                  <a:pt x="493" y="406"/>
                  <a:pt x="493" y="406"/>
                  <a:pt x="493" y="406"/>
                </a:cubicBezTo>
                <a:cubicBezTo>
                  <a:pt x="491" y="406"/>
                  <a:pt x="491" y="406"/>
                  <a:pt x="491" y="406"/>
                </a:cubicBezTo>
                <a:cubicBezTo>
                  <a:pt x="490" y="406"/>
                  <a:pt x="490" y="406"/>
                  <a:pt x="490" y="406"/>
                </a:cubicBezTo>
                <a:cubicBezTo>
                  <a:pt x="489" y="405"/>
                  <a:pt x="489" y="405"/>
                  <a:pt x="489" y="405"/>
                </a:cubicBezTo>
                <a:cubicBezTo>
                  <a:pt x="488" y="405"/>
                  <a:pt x="488" y="405"/>
                  <a:pt x="488" y="405"/>
                </a:cubicBezTo>
                <a:cubicBezTo>
                  <a:pt x="487" y="404"/>
                  <a:pt x="487" y="404"/>
                  <a:pt x="487" y="404"/>
                </a:cubicBezTo>
                <a:cubicBezTo>
                  <a:pt x="486" y="404"/>
                  <a:pt x="486" y="404"/>
                  <a:pt x="486" y="404"/>
                </a:cubicBezTo>
                <a:cubicBezTo>
                  <a:pt x="485" y="402"/>
                  <a:pt x="485" y="402"/>
                  <a:pt x="485" y="402"/>
                </a:cubicBezTo>
                <a:cubicBezTo>
                  <a:pt x="484" y="401"/>
                  <a:pt x="484" y="401"/>
                  <a:pt x="484" y="401"/>
                </a:cubicBezTo>
                <a:cubicBezTo>
                  <a:pt x="483" y="401"/>
                  <a:pt x="483" y="401"/>
                  <a:pt x="483" y="401"/>
                </a:cubicBezTo>
                <a:cubicBezTo>
                  <a:pt x="481" y="401"/>
                  <a:pt x="481" y="401"/>
                  <a:pt x="481" y="401"/>
                </a:cubicBezTo>
                <a:cubicBezTo>
                  <a:pt x="479" y="401"/>
                  <a:pt x="479" y="401"/>
                  <a:pt x="479" y="401"/>
                </a:cubicBezTo>
                <a:cubicBezTo>
                  <a:pt x="478" y="399"/>
                  <a:pt x="478" y="399"/>
                  <a:pt x="478" y="399"/>
                </a:cubicBezTo>
                <a:cubicBezTo>
                  <a:pt x="475" y="399"/>
                  <a:pt x="475" y="399"/>
                  <a:pt x="475" y="399"/>
                </a:cubicBezTo>
                <a:cubicBezTo>
                  <a:pt x="474" y="399"/>
                  <a:pt x="474" y="399"/>
                  <a:pt x="474" y="399"/>
                </a:cubicBezTo>
                <a:cubicBezTo>
                  <a:pt x="472" y="398"/>
                  <a:pt x="472" y="398"/>
                  <a:pt x="472" y="398"/>
                </a:cubicBezTo>
                <a:cubicBezTo>
                  <a:pt x="471" y="398"/>
                  <a:pt x="471" y="398"/>
                  <a:pt x="471" y="398"/>
                </a:cubicBezTo>
                <a:cubicBezTo>
                  <a:pt x="469" y="398"/>
                  <a:pt x="469" y="398"/>
                  <a:pt x="469" y="398"/>
                </a:cubicBezTo>
                <a:cubicBezTo>
                  <a:pt x="468" y="399"/>
                  <a:pt x="468" y="399"/>
                  <a:pt x="468" y="399"/>
                </a:cubicBezTo>
                <a:cubicBezTo>
                  <a:pt x="465" y="399"/>
                  <a:pt x="465" y="399"/>
                  <a:pt x="465" y="399"/>
                </a:cubicBezTo>
                <a:cubicBezTo>
                  <a:pt x="463" y="400"/>
                  <a:pt x="463" y="400"/>
                  <a:pt x="463" y="400"/>
                </a:cubicBezTo>
                <a:cubicBezTo>
                  <a:pt x="462" y="401"/>
                  <a:pt x="462" y="401"/>
                  <a:pt x="462" y="401"/>
                </a:cubicBezTo>
                <a:cubicBezTo>
                  <a:pt x="461" y="401"/>
                  <a:pt x="461" y="401"/>
                  <a:pt x="461" y="401"/>
                </a:cubicBezTo>
                <a:cubicBezTo>
                  <a:pt x="461" y="401"/>
                  <a:pt x="461" y="401"/>
                  <a:pt x="461" y="401"/>
                </a:cubicBezTo>
                <a:cubicBezTo>
                  <a:pt x="460" y="401"/>
                  <a:pt x="460" y="401"/>
                  <a:pt x="460" y="401"/>
                </a:cubicBezTo>
                <a:cubicBezTo>
                  <a:pt x="459" y="402"/>
                  <a:pt x="459" y="402"/>
                  <a:pt x="459" y="402"/>
                </a:cubicBezTo>
                <a:cubicBezTo>
                  <a:pt x="457" y="401"/>
                  <a:pt x="457" y="401"/>
                  <a:pt x="457" y="401"/>
                </a:cubicBezTo>
                <a:cubicBezTo>
                  <a:pt x="457" y="402"/>
                  <a:pt x="457" y="402"/>
                  <a:pt x="457" y="402"/>
                </a:cubicBezTo>
                <a:cubicBezTo>
                  <a:pt x="456" y="402"/>
                  <a:pt x="456" y="402"/>
                  <a:pt x="456" y="402"/>
                </a:cubicBezTo>
                <a:cubicBezTo>
                  <a:pt x="454" y="401"/>
                  <a:pt x="454" y="401"/>
                  <a:pt x="454" y="401"/>
                </a:cubicBezTo>
                <a:cubicBezTo>
                  <a:pt x="452" y="400"/>
                  <a:pt x="452" y="400"/>
                  <a:pt x="452" y="400"/>
                </a:cubicBezTo>
                <a:cubicBezTo>
                  <a:pt x="451" y="400"/>
                  <a:pt x="451" y="400"/>
                  <a:pt x="451" y="400"/>
                </a:cubicBezTo>
                <a:cubicBezTo>
                  <a:pt x="450" y="398"/>
                  <a:pt x="450" y="398"/>
                  <a:pt x="450" y="398"/>
                </a:cubicBezTo>
                <a:cubicBezTo>
                  <a:pt x="449" y="398"/>
                  <a:pt x="449" y="398"/>
                  <a:pt x="449" y="398"/>
                </a:cubicBezTo>
                <a:cubicBezTo>
                  <a:pt x="449" y="398"/>
                  <a:pt x="449" y="398"/>
                  <a:pt x="449" y="398"/>
                </a:cubicBezTo>
                <a:cubicBezTo>
                  <a:pt x="449" y="397"/>
                  <a:pt x="449" y="397"/>
                  <a:pt x="449" y="397"/>
                </a:cubicBezTo>
                <a:cubicBezTo>
                  <a:pt x="448" y="395"/>
                  <a:pt x="448" y="395"/>
                  <a:pt x="448" y="395"/>
                </a:cubicBezTo>
                <a:cubicBezTo>
                  <a:pt x="448" y="395"/>
                  <a:pt x="448" y="395"/>
                  <a:pt x="448" y="395"/>
                </a:cubicBezTo>
                <a:cubicBezTo>
                  <a:pt x="448" y="394"/>
                  <a:pt x="448" y="394"/>
                  <a:pt x="448" y="394"/>
                </a:cubicBezTo>
                <a:cubicBezTo>
                  <a:pt x="447" y="393"/>
                  <a:pt x="447" y="393"/>
                  <a:pt x="447" y="393"/>
                </a:cubicBezTo>
                <a:cubicBezTo>
                  <a:pt x="447" y="392"/>
                  <a:pt x="447" y="392"/>
                  <a:pt x="447" y="392"/>
                </a:cubicBezTo>
                <a:cubicBezTo>
                  <a:pt x="446" y="391"/>
                  <a:pt x="446" y="391"/>
                  <a:pt x="446" y="391"/>
                </a:cubicBezTo>
                <a:cubicBezTo>
                  <a:pt x="445" y="391"/>
                  <a:pt x="445" y="391"/>
                  <a:pt x="445" y="391"/>
                </a:cubicBezTo>
                <a:cubicBezTo>
                  <a:pt x="443" y="391"/>
                  <a:pt x="443" y="391"/>
                  <a:pt x="443" y="391"/>
                </a:cubicBezTo>
                <a:cubicBezTo>
                  <a:pt x="442" y="391"/>
                  <a:pt x="442" y="391"/>
                  <a:pt x="442" y="391"/>
                </a:cubicBezTo>
                <a:cubicBezTo>
                  <a:pt x="441" y="390"/>
                  <a:pt x="441" y="390"/>
                  <a:pt x="441" y="390"/>
                </a:cubicBezTo>
                <a:cubicBezTo>
                  <a:pt x="439" y="390"/>
                  <a:pt x="439" y="390"/>
                  <a:pt x="439" y="390"/>
                </a:cubicBezTo>
                <a:cubicBezTo>
                  <a:pt x="439" y="389"/>
                  <a:pt x="439" y="389"/>
                  <a:pt x="439" y="389"/>
                </a:cubicBezTo>
                <a:cubicBezTo>
                  <a:pt x="438" y="389"/>
                  <a:pt x="438" y="389"/>
                  <a:pt x="438" y="389"/>
                </a:cubicBezTo>
                <a:cubicBezTo>
                  <a:pt x="435" y="389"/>
                  <a:pt x="435" y="389"/>
                  <a:pt x="435" y="389"/>
                </a:cubicBezTo>
                <a:cubicBezTo>
                  <a:pt x="434" y="389"/>
                  <a:pt x="434" y="389"/>
                  <a:pt x="434" y="389"/>
                </a:cubicBezTo>
                <a:cubicBezTo>
                  <a:pt x="432" y="388"/>
                  <a:pt x="432" y="388"/>
                  <a:pt x="432" y="388"/>
                </a:cubicBezTo>
                <a:cubicBezTo>
                  <a:pt x="432" y="388"/>
                  <a:pt x="432" y="388"/>
                  <a:pt x="432" y="388"/>
                </a:cubicBezTo>
                <a:cubicBezTo>
                  <a:pt x="431" y="387"/>
                  <a:pt x="431" y="387"/>
                  <a:pt x="431" y="387"/>
                </a:cubicBezTo>
                <a:cubicBezTo>
                  <a:pt x="429" y="387"/>
                  <a:pt x="429" y="387"/>
                  <a:pt x="429" y="387"/>
                </a:cubicBezTo>
                <a:cubicBezTo>
                  <a:pt x="428" y="386"/>
                  <a:pt x="428" y="386"/>
                  <a:pt x="428" y="386"/>
                </a:cubicBezTo>
                <a:cubicBezTo>
                  <a:pt x="427" y="386"/>
                  <a:pt x="427" y="386"/>
                  <a:pt x="427" y="386"/>
                </a:cubicBezTo>
                <a:cubicBezTo>
                  <a:pt x="426" y="387"/>
                  <a:pt x="426" y="387"/>
                  <a:pt x="426" y="387"/>
                </a:cubicBezTo>
                <a:cubicBezTo>
                  <a:pt x="426" y="388"/>
                  <a:pt x="426" y="388"/>
                  <a:pt x="426" y="388"/>
                </a:cubicBezTo>
                <a:cubicBezTo>
                  <a:pt x="426" y="389"/>
                  <a:pt x="426" y="389"/>
                  <a:pt x="426" y="389"/>
                </a:cubicBezTo>
                <a:cubicBezTo>
                  <a:pt x="426" y="390"/>
                  <a:pt x="426" y="390"/>
                  <a:pt x="426" y="390"/>
                </a:cubicBezTo>
                <a:cubicBezTo>
                  <a:pt x="425" y="389"/>
                  <a:pt x="425" y="389"/>
                  <a:pt x="425" y="389"/>
                </a:cubicBezTo>
                <a:cubicBezTo>
                  <a:pt x="424" y="390"/>
                  <a:pt x="424" y="390"/>
                  <a:pt x="424" y="390"/>
                </a:cubicBezTo>
                <a:cubicBezTo>
                  <a:pt x="423" y="391"/>
                  <a:pt x="423" y="391"/>
                  <a:pt x="423" y="391"/>
                </a:cubicBezTo>
                <a:cubicBezTo>
                  <a:pt x="423" y="392"/>
                  <a:pt x="423" y="392"/>
                  <a:pt x="423" y="392"/>
                </a:cubicBezTo>
                <a:cubicBezTo>
                  <a:pt x="422" y="393"/>
                  <a:pt x="422" y="393"/>
                  <a:pt x="422" y="393"/>
                </a:cubicBezTo>
                <a:cubicBezTo>
                  <a:pt x="422" y="396"/>
                  <a:pt x="422" y="396"/>
                  <a:pt x="422" y="396"/>
                </a:cubicBezTo>
                <a:cubicBezTo>
                  <a:pt x="423" y="398"/>
                  <a:pt x="423" y="398"/>
                  <a:pt x="423" y="398"/>
                </a:cubicBezTo>
                <a:cubicBezTo>
                  <a:pt x="424" y="398"/>
                  <a:pt x="424" y="398"/>
                  <a:pt x="424" y="398"/>
                </a:cubicBezTo>
                <a:cubicBezTo>
                  <a:pt x="425" y="399"/>
                  <a:pt x="425" y="399"/>
                  <a:pt x="425" y="399"/>
                </a:cubicBezTo>
                <a:cubicBezTo>
                  <a:pt x="426" y="400"/>
                  <a:pt x="426" y="400"/>
                  <a:pt x="426" y="400"/>
                </a:cubicBezTo>
                <a:cubicBezTo>
                  <a:pt x="427" y="400"/>
                  <a:pt x="427" y="400"/>
                  <a:pt x="427" y="400"/>
                </a:cubicBezTo>
                <a:cubicBezTo>
                  <a:pt x="426" y="402"/>
                  <a:pt x="426" y="402"/>
                  <a:pt x="426" y="402"/>
                </a:cubicBezTo>
                <a:cubicBezTo>
                  <a:pt x="426" y="404"/>
                  <a:pt x="426" y="404"/>
                  <a:pt x="426" y="404"/>
                </a:cubicBezTo>
                <a:cubicBezTo>
                  <a:pt x="427" y="405"/>
                  <a:pt x="427" y="405"/>
                  <a:pt x="427" y="405"/>
                </a:cubicBezTo>
                <a:cubicBezTo>
                  <a:pt x="428" y="406"/>
                  <a:pt x="428" y="406"/>
                  <a:pt x="428" y="406"/>
                </a:cubicBezTo>
                <a:cubicBezTo>
                  <a:pt x="427" y="408"/>
                  <a:pt x="427" y="408"/>
                  <a:pt x="427" y="408"/>
                </a:cubicBezTo>
                <a:cubicBezTo>
                  <a:pt x="425" y="408"/>
                  <a:pt x="425" y="408"/>
                  <a:pt x="425" y="408"/>
                </a:cubicBezTo>
                <a:cubicBezTo>
                  <a:pt x="424" y="408"/>
                  <a:pt x="424" y="408"/>
                  <a:pt x="424" y="408"/>
                </a:cubicBezTo>
                <a:cubicBezTo>
                  <a:pt x="423" y="408"/>
                  <a:pt x="423" y="408"/>
                  <a:pt x="423" y="408"/>
                </a:cubicBezTo>
                <a:cubicBezTo>
                  <a:pt x="422" y="408"/>
                  <a:pt x="422" y="408"/>
                  <a:pt x="422" y="408"/>
                </a:cubicBezTo>
                <a:cubicBezTo>
                  <a:pt x="421" y="408"/>
                  <a:pt x="421" y="408"/>
                  <a:pt x="421" y="408"/>
                </a:cubicBezTo>
                <a:cubicBezTo>
                  <a:pt x="418" y="408"/>
                  <a:pt x="418" y="408"/>
                  <a:pt x="418" y="408"/>
                </a:cubicBezTo>
                <a:cubicBezTo>
                  <a:pt x="417" y="408"/>
                  <a:pt x="417" y="408"/>
                  <a:pt x="417" y="408"/>
                </a:cubicBezTo>
                <a:cubicBezTo>
                  <a:pt x="416" y="407"/>
                  <a:pt x="416" y="407"/>
                  <a:pt x="416" y="407"/>
                </a:cubicBezTo>
                <a:cubicBezTo>
                  <a:pt x="415" y="407"/>
                  <a:pt x="415" y="407"/>
                  <a:pt x="415" y="407"/>
                </a:cubicBezTo>
                <a:cubicBezTo>
                  <a:pt x="414" y="407"/>
                  <a:pt x="414" y="407"/>
                  <a:pt x="414" y="407"/>
                </a:cubicBezTo>
                <a:cubicBezTo>
                  <a:pt x="413" y="408"/>
                  <a:pt x="413" y="408"/>
                  <a:pt x="413" y="408"/>
                </a:cubicBezTo>
                <a:cubicBezTo>
                  <a:pt x="412" y="409"/>
                  <a:pt x="412" y="409"/>
                  <a:pt x="412" y="409"/>
                </a:cubicBezTo>
                <a:cubicBezTo>
                  <a:pt x="411" y="409"/>
                  <a:pt x="411" y="409"/>
                  <a:pt x="411" y="409"/>
                </a:cubicBezTo>
                <a:cubicBezTo>
                  <a:pt x="408" y="408"/>
                  <a:pt x="408" y="408"/>
                  <a:pt x="408" y="408"/>
                </a:cubicBezTo>
                <a:cubicBezTo>
                  <a:pt x="407" y="407"/>
                  <a:pt x="407" y="407"/>
                  <a:pt x="407" y="407"/>
                </a:cubicBezTo>
                <a:cubicBezTo>
                  <a:pt x="404" y="405"/>
                  <a:pt x="404" y="405"/>
                  <a:pt x="404" y="405"/>
                </a:cubicBezTo>
                <a:cubicBezTo>
                  <a:pt x="404" y="405"/>
                  <a:pt x="404" y="405"/>
                  <a:pt x="404" y="405"/>
                </a:cubicBezTo>
                <a:cubicBezTo>
                  <a:pt x="404" y="404"/>
                  <a:pt x="404" y="404"/>
                  <a:pt x="404" y="404"/>
                </a:cubicBezTo>
                <a:cubicBezTo>
                  <a:pt x="403" y="403"/>
                  <a:pt x="403" y="403"/>
                  <a:pt x="403" y="403"/>
                </a:cubicBezTo>
                <a:cubicBezTo>
                  <a:pt x="401" y="403"/>
                  <a:pt x="401" y="403"/>
                  <a:pt x="401" y="403"/>
                </a:cubicBezTo>
                <a:cubicBezTo>
                  <a:pt x="400" y="403"/>
                  <a:pt x="400" y="403"/>
                  <a:pt x="400" y="403"/>
                </a:cubicBezTo>
                <a:cubicBezTo>
                  <a:pt x="399" y="403"/>
                  <a:pt x="399" y="403"/>
                  <a:pt x="399" y="403"/>
                </a:cubicBezTo>
                <a:cubicBezTo>
                  <a:pt x="398" y="404"/>
                  <a:pt x="398" y="404"/>
                  <a:pt x="398" y="404"/>
                </a:cubicBezTo>
                <a:cubicBezTo>
                  <a:pt x="397" y="404"/>
                  <a:pt x="397" y="404"/>
                  <a:pt x="397" y="404"/>
                </a:cubicBezTo>
                <a:cubicBezTo>
                  <a:pt x="396" y="403"/>
                  <a:pt x="396" y="403"/>
                  <a:pt x="396" y="403"/>
                </a:cubicBezTo>
                <a:cubicBezTo>
                  <a:pt x="396" y="402"/>
                  <a:pt x="396" y="402"/>
                  <a:pt x="396" y="402"/>
                </a:cubicBezTo>
                <a:cubicBezTo>
                  <a:pt x="396" y="401"/>
                  <a:pt x="396" y="401"/>
                  <a:pt x="396" y="401"/>
                </a:cubicBezTo>
                <a:cubicBezTo>
                  <a:pt x="395" y="401"/>
                  <a:pt x="395" y="401"/>
                  <a:pt x="395" y="401"/>
                </a:cubicBezTo>
                <a:cubicBezTo>
                  <a:pt x="394" y="402"/>
                  <a:pt x="394" y="402"/>
                  <a:pt x="394" y="402"/>
                </a:cubicBezTo>
                <a:cubicBezTo>
                  <a:pt x="393" y="402"/>
                  <a:pt x="393" y="402"/>
                  <a:pt x="393" y="402"/>
                </a:cubicBezTo>
                <a:cubicBezTo>
                  <a:pt x="392" y="402"/>
                  <a:pt x="392" y="402"/>
                  <a:pt x="392" y="402"/>
                </a:cubicBezTo>
                <a:cubicBezTo>
                  <a:pt x="391" y="402"/>
                  <a:pt x="391" y="402"/>
                  <a:pt x="391" y="402"/>
                </a:cubicBezTo>
                <a:cubicBezTo>
                  <a:pt x="388" y="402"/>
                  <a:pt x="388" y="402"/>
                  <a:pt x="388" y="402"/>
                </a:cubicBezTo>
                <a:cubicBezTo>
                  <a:pt x="387" y="403"/>
                  <a:pt x="387" y="403"/>
                  <a:pt x="387" y="403"/>
                </a:cubicBezTo>
                <a:cubicBezTo>
                  <a:pt x="387" y="404"/>
                  <a:pt x="387" y="404"/>
                  <a:pt x="387" y="404"/>
                </a:cubicBezTo>
                <a:cubicBezTo>
                  <a:pt x="386" y="405"/>
                  <a:pt x="386" y="405"/>
                  <a:pt x="386" y="405"/>
                </a:cubicBezTo>
                <a:cubicBezTo>
                  <a:pt x="384" y="404"/>
                  <a:pt x="384" y="404"/>
                  <a:pt x="384" y="404"/>
                </a:cubicBezTo>
                <a:cubicBezTo>
                  <a:pt x="383" y="405"/>
                  <a:pt x="383" y="405"/>
                  <a:pt x="383" y="405"/>
                </a:cubicBezTo>
                <a:cubicBezTo>
                  <a:pt x="383" y="405"/>
                  <a:pt x="383" y="405"/>
                  <a:pt x="383" y="405"/>
                </a:cubicBezTo>
                <a:cubicBezTo>
                  <a:pt x="384" y="406"/>
                  <a:pt x="384" y="406"/>
                  <a:pt x="384" y="406"/>
                </a:cubicBezTo>
                <a:cubicBezTo>
                  <a:pt x="384" y="406"/>
                  <a:pt x="384" y="406"/>
                  <a:pt x="384" y="406"/>
                </a:cubicBezTo>
                <a:cubicBezTo>
                  <a:pt x="383" y="408"/>
                  <a:pt x="383" y="408"/>
                  <a:pt x="383" y="408"/>
                </a:cubicBezTo>
                <a:cubicBezTo>
                  <a:pt x="382" y="408"/>
                  <a:pt x="382" y="408"/>
                  <a:pt x="382" y="408"/>
                </a:cubicBezTo>
                <a:cubicBezTo>
                  <a:pt x="381" y="409"/>
                  <a:pt x="381" y="409"/>
                  <a:pt x="381" y="409"/>
                </a:cubicBezTo>
                <a:cubicBezTo>
                  <a:pt x="381" y="410"/>
                  <a:pt x="381" y="410"/>
                  <a:pt x="381" y="410"/>
                </a:cubicBezTo>
                <a:cubicBezTo>
                  <a:pt x="379" y="411"/>
                  <a:pt x="379" y="411"/>
                  <a:pt x="379" y="411"/>
                </a:cubicBezTo>
                <a:cubicBezTo>
                  <a:pt x="378" y="412"/>
                  <a:pt x="378" y="412"/>
                  <a:pt x="378" y="412"/>
                </a:cubicBezTo>
                <a:cubicBezTo>
                  <a:pt x="378" y="413"/>
                  <a:pt x="378" y="413"/>
                  <a:pt x="378" y="413"/>
                </a:cubicBezTo>
                <a:cubicBezTo>
                  <a:pt x="376" y="414"/>
                  <a:pt x="376" y="414"/>
                  <a:pt x="376" y="414"/>
                </a:cubicBezTo>
                <a:cubicBezTo>
                  <a:pt x="375" y="415"/>
                  <a:pt x="375" y="415"/>
                  <a:pt x="375" y="415"/>
                </a:cubicBezTo>
                <a:cubicBezTo>
                  <a:pt x="375" y="416"/>
                  <a:pt x="375" y="416"/>
                  <a:pt x="375" y="416"/>
                </a:cubicBezTo>
                <a:cubicBezTo>
                  <a:pt x="372" y="416"/>
                  <a:pt x="372" y="416"/>
                  <a:pt x="372" y="416"/>
                </a:cubicBezTo>
                <a:cubicBezTo>
                  <a:pt x="371" y="416"/>
                  <a:pt x="371" y="416"/>
                  <a:pt x="371" y="416"/>
                </a:cubicBezTo>
                <a:cubicBezTo>
                  <a:pt x="370" y="418"/>
                  <a:pt x="370" y="418"/>
                  <a:pt x="370" y="418"/>
                </a:cubicBezTo>
                <a:cubicBezTo>
                  <a:pt x="370" y="419"/>
                  <a:pt x="370" y="419"/>
                  <a:pt x="370" y="419"/>
                </a:cubicBezTo>
                <a:cubicBezTo>
                  <a:pt x="369" y="419"/>
                  <a:pt x="369" y="419"/>
                  <a:pt x="369" y="419"/>
                </a:cubicBezTo>
                <a:cubicBezTo>
                  <a:pt x="368" y="418"/>
                  <a:pt x="368" y="418"/>
                  <a:pt x="368" y="418"/>
                </a:cubicBezTo>
                <a:cubicBezTo>
                  <a:pt x="367" y="418"/>
                  <a:pt x="367" y="418"/>
                  <a:pt x="367" y="418"/>
                </a:cubicBezTo>
                <a:cubicBezTo>
                  <a:pt x="367" y="418"/>
                  <a:pt x="367" y="418"/>
                  <a:pt x="367" y="418"/>
                </a:cubicBezTo>
                <a:cubicBezTo>
                  <a:pt x="365" y="417"/>
                  <a:pt x="365" y="417"/>
                  <a:pt x="365" y="417"/>
                </a:cubicBezTo>
                <a:cubicBezTo>
                  <a:pt x="364" y="416"/>
                  <a:pt x="364" y="416"/>
                  <a:pt x="364" y="416"/>
                </a:cubicBezTo>
                <a:cubicBezTo>
                  <a:pt x="363" y="416"/>
                  <a:pt x="363" y="416"/>
                  <a:pt x="363" y="416"/>
                </a:cubicBezTo>
                <a:cubicBezTo>
                  <a:pt x="363" y="415"/>
                  <a:pt x="363" y="415"/>
                  <a:pt x="363" y="415"/>
                </a:cubicBezTo>
                <a:cubicBezTo>
                  <a:pt x="363" y="413"/>
                  <a:pt x="363" y="413"/>
                  <a:pt x="363" y="413"/>
                </a:cubicBezTo>
                <a:cubicBezTo>
                  <a:pt x="362" y="413"/>
                  <a:pt x="362" y="413"/>
                  <a:pt x="362" y="413"/>
                </a:cubicBezTo>
                <a:cubicBezTo>
                  <a:pt x="361" y="413"/>
                  <a:pt x="361" y="413"/>
                  <a:pt x="361" y="413"/>
                </a:cubicBezTo>
                <a:cubicBezTo>
                  <a:pt x="361" y="415"/>
                  <a:pt x="361" y="415"/>
                  <a:pt x="361" y="415"/>
                </a:cubicBezTo>
                <a:cubicBezTo>
                  <a:pt x="359" y="415"/>
                  <a:pt x="359" y="415"/>
                  <a:pt x="359" y="415"/>
                </a:cubicBezTo>
                <a:cubicBezTo>
                  <a:pt x="356" y="415"/>
                  <a:pt x="356" y="415"/>
                  <a:pt x="356" y="415"/>
                </a:cubicBezTo>
                <a:cubicBezTo>
                  <a:pt x="355" y="416"/>
                  <a:pt x="355" y="416"/>
                  <a:pt x="355" y="416"/>
                </a:cubicBezTo>
                <a:cubicBezTo>
                  <a:pt x="355" y="416"/>
                  <a:pt x="355" y="416"/>
                  <a:pt x="355" y="416"/>
                </a:cubicBezTo>
                <a:cubicBezTo>
                  <a:pt x="354" y="416"/>
                  <a:pt x="354" y="416"/>
                  <a:pt x="354" y="416"/>
                </a:cubicBezTo>
                <a:cubicBezTo>
                  <a:pt x="353" y="415"/>
                  <a:pt x="353" y="415"/>
                  <a:pt x="353" y="415"/>
                </a:cubicBezTo>
                <a:cubicBezTo>
                  <a:pt x="352" y="415"/>
                  <a:pt x="352" y="415"/>
                  <a:pt x="352" y="415"/>
                </a:cubicBezTo>
                <a:cubicBezTo>
                  <a:pt x="352" y="415"/>
                  <a:pt x="352" y="415"/>
                  <a:pt x="352" y="415"/>
                </a:cubicBezTo>
                <a:cubicBezTo>
                  <a:pt x="351" y="414"/>
                  <a:pt x="351" y="414"/>
                  <a:pt x="351" y="414"/>
                </a:cubicBezTo>
                <a:cubicBezTo>
                  <a:pt x="351" y="414"/>
                  <a:pt x="351" y="414"/>
                  <a:pt x="351" y="414"/>
                </a:cubicBezTo>
                <a:cubicBezTo>
                  <a:pt x="351" y="413"/>
                  <a:pt x="351" y="413"/>
                  <a:pt x="351" y="413"/>
                </a:cubicBezTo>
                <a:cubicBezTo>
                  <a:pt x="351" y="412"/>
                  <a:pt x="351" y="412"/>
                  <a:pt x="351" y="412"/>
                </a:cubicBezTo>
                <a:cubicBezTo>
                  <a:pt x="351" y="411"/>
                  <a:pt x="351" y="411"/>
                  <a:pt x="351" y="411"/>
                </a:cubicBezTo>
                <a:cubicBezTo>
                  <a:pt x="350" y="411"/>
                  <a:pt x="350" y="411"/>
                  <a:pt x="350" y="411"/>
                </a:cubicBezTo>
                <a:cubicBezTo>
                  <a:pt x="350" y="411"/>
                  <a:pt x="350" y="411"/>
                  <a:pt x="350" y="411"/>
                </a:cubicBezTo>
                <a:cubicBezTo>
                  <a:pt x="348" y="410"/>
                  <a:pt x="348" y="410"/>
                  <a:pt x="348" y="410"/>
                </a:cubicBezTo>
                <a:cubicBezTo>
                  <a:pt x="347" y="409"/>
                  <a:pt x="347" y="409"/>
                  <a:pt x="347" y="409"/>
                </a:cubicBezTo>
                <a:cubicBezTo>
                  <a:pt x="346" y="409"/>
                  <a:pt x="346" y="409"/>
                  <a:pt x="346" y="409"/>
                </a:cubicBezTo>
                <a:cubicBezTo>
                  <a:pt x="346" y="408"/>
                  <a:pt x="346" y="408"/>
                  <a:pt x="346" y="408"/>
                </a:cubicBezTo>
                <a:cubicBezTo>
                  <a:pt x="345" y="406"/>
                  <a:pt x="345" y="406"/>
                  <a:pt x="345" y="406"/>
                </a:cubicBezTo>
                <a:cubicBezTo>
                  <a:pt x="343" y="405"/>
                  <a:pt x="343" y="405"/>
                  <a:pt x="343" y="405"/>
                </a:cubicBezTo>
                <a:cubicBezTo>
                  <a:pt x="341" y="404"/>
                  <a:pt x="341" y="404"/>
                  <a:pt x="341" y="404"/>
                </a:cubicBezTo>
                <a:cubicBezTo>
                  <a:pt x="339" y="404"/>
                  <a:pt x="339" y="404"/>
                  <a:pt x="339" y="404"/>
                </a:cubicBezTo>
                <a:cubicBezTo>
                  <a:pt x="336" y="405"/>
                  <a:pt x="336" y="405"/>
                  <a:pt x="336" y="405"/>
                </a:cubicBezTo>
                <a:cubicBezTo>
                  <a:pt x="336" y="405"/>
                  <a:pt x="336" y="405"/>
                  <a:pt x="336" y="405"/>
                </a:cubicBezTo>
                <a:cubicBezTo>
                  <a:pt x="337" y="406"/>
                  <a:pt x="337" y="406"/>
                  <a:pt x="337" y="406"/>
                </a:cubicBezTo>
                <a:cubicBezTo>
                  <a:pt x="336" y="406"/>
                  <a:pt x="336" y="406"/>
                  <a:pt x="336" y="406"/>
                </a:cubicBezTo>
                <a:cubicBezTo>
                  <a:pt x="335" y="407"/>
                  <a:pt x="335" y="407"/>
                  <a:pt x="335" y="407"/>
                </a:cubicBezTo>
                <a:cubicBezTo>
                  <a:pt x="334" y="407"/>
                  <a:pt x="334" y="407"/>
                  <a:pt x="334" y="407"/>
                </a:cubicBezTo>
                <a:cubicBezTo>
                  <a:pt x="333" y="407"/>
                  <a:pt x="333" y="407"/>
                  <a:pt x="333" y="407"/>
                </a:cubicBezTo>
                <a:cubicBezTo>
                  <a:pt x="331" y="406"/>
                  <a:pt x="331" y="406"/>
                  <a:pt x="331" y="406"/>
                </a:cubicBezTo>
                <a:cubicBezTo>
                  <a:pt x="330" y="407"/>
                  <a:pt x="330" y="407"/>
                  <a:pt x="330" y="407"/>
                </a:cubicBezTo>
                <a:cubicBezTo>
                  <a:pt x="329" y="407"/>
                  <a:pt x="329" y="407"/>
                  <a:pt x="329" y="407"/>
                </a:cubicBezTo>
                <a:cubicBezTo>
                  <a:pt x="328" y="407"/>
                  <a:pt x="328" y="407"/>
                  <a:pt x="328" y="407"/>
                </a:cubicBezTo>
                <a:cubicBezTo>
                  <a:pt x="327" y="406"/>
                  <a:pt x="327" y="406"/>
                  <a:pt x="327" y="406"/>
                </a:cubicBezTo>
                <a:cubicBezTo>
                  <a:pt x="326" y="406"/>
                  <a:pt x="326" y="406"/>
                  <a:pt x="326" y="406"/>
                </a:cubicBezTo>
                <a:cubicBezTo>
                  <a:pt x="326" y="405"/>
                  <a:pt x="326" y="405"/>
                  <a:pt x="326" y="405"/>
                </a:cubicBezTo>
                <a:cubicBezTo>
                  <a:pt x="326" y="404"/>
                  <a:pt x="326" y="404"/>
                  <a:pt x="326" y="404"/>
                </a:cubicBezTo>
                <a:cubicBezTo>
                  <a:pt x="324" y="403"/>
                  <a:pt x="324" y="403"/>
                  <a:pt x="324" y="403"/>
                </a:cubicBezTo>
                <a:cubicBezTo>
                  <a:pt x="323" y="404"/>
                  <a:pt x="323" y="404"/>
                  <a:pt x="323" y="404"/>
                </a:cubicBezTo>
                <a:cubicBezTo>
                  <a:pt x="323" y="405"/>
                  <a:pt x="323" y="405"/>
                  <a:pt x="323" y="405"/>
                </a:cubicBezTo>
                <a:cubicBezTo>
                  <a:pt x="323" y="405"/>
                  <a:pt x="323" y="405"/>
                  <a:pt x="323" y="405"/>
                </a:cubicBezTo>
                <a:cubicBezTo>
                  <a:pt x="323" y="406"/>
                  <a:pt x="323" y="406"/>
                  <a:pt x="323" y="406"/>
                </a:cubicBezTo>
                <a:cubicBezTo>
                  <a:pt x="322" y="407"/>
                  <a:pt x="322" y="407"/>
                  <a:pt x="322" y="407"/>
                </a:cubicBezTo>
                <a:cubicBezTo>
                  <a:pt x="321" y="407"/>
                  <a:pt x="321" y="407"/>
                  <a:pt x="321" y="407"/>
                </a:cubicBezTo>
                <a:cubicBezTo>
                  <a:pt x="305" y="388"/>
                  <a:pt x="305" y="388"/>
                  <a:pt x="305" y="388"/>
                </a:cubicBezTo>
                <a:cubicBezTo>
                  <a:pt x="294" y="379"/>
                  <a:pt x="294" y="379"/>
                  <a:pt x="294" y="379"/>
                </a:cubicBezTo>
                <a:cubicBezTo>
                  <a:pt x="293" y="378"/>
                  <a:pt x="293" y="378"/>
                  <a:pt x="293" y="378"/>
                </a:cubicBezTo>
                <a:cubicBezTo>
                  <a:pt x="294" y="378"/>
                  <a:pt x="294" y="378"/>
                  <a:pt x="294" y="378"/>
                </a:cubicBezTo>
                <a:cubicBezTo>
                  <a:pt x="295" y="377"/>
                  <a:pt x="295" y="377"/>
                  <a:pt x="295" y="377"/>
                </a:cubicBezTo>
                <a:cubicBezTo>
                  <a:pt x="295" y="376"/>
                  <a:pt x="295" y="376"/>
                  <a:pt x="295" y="376"/>
                </a:cubicBezTo>
                <a:cubicBezTo>
                  <a:pt x="295" y="375"/>
                  <a:pt x="295" y="375"/>
                  <a:pt x="295" y="375"/>
                </a:cubicBezTo>
                <a:cubicBezTo>
                  <a:pt x="293" y="376"/>
                  <a:pt x="293" y="376"/>
                  <a:pt x="293" y="376"/>
                </a:cubicBezTo>
                <a:cubicBezTo>
                  <a:pt x="292" y="376"/>
                  <a:pt x="292" y="376"/>
                  <a:pt x="292" y="376"/>
                </a:cubicBezTo>
                <a:cubicBezTo>
                  <a:pt x="291" y="377"/>
                  <a:pt x="291" y="377"/>
                  <a:pt x="291" y="377"/>
                </a:cubicBezTo>
                <a:cubicBezTo>
                  <a:pt x="290" y="378"/>
                  <a:pt x="290" y="378"/>
                  <a:pt x="290" y="378"/>
                </a:cubicBezTo>
                <a:cubicBezTo>
                  <a:pt x="288" y="379"/>
                  <a:pt x="288" y="379"/>
                  <a:pt x="288" y="379"/>
                </a:cubicBezTo>
                <a:cubicBezTo>
                  <a:pt x="288" y="380"/>
                  <a:pt x="288" y="380"/>
                  <a:pt x="288" y="380"/>
                </a:cubicBezTo>
                <a:cubicBezTo>
                  <a:pt x="287" y="381"/>
                  <a:pt x="287" y="381"/>
                  <a:pt x="287" y="381"/>
                </a:cubicBezTo>
                <a:cubicBezTo>
                  <a:pt x="287" y="382"/>
                  <a:pt x="287" y="382"/>
                  <a:pt x="287" y="382"/>
                </a:cubicBezTo>
                <a:cubicBezTo>
                  <a:pt x="286" y="383"/>
                  <a:pt x="286" y="383"/>
                  <a:pt x="286" y="383"/>
                </a:cubicBezTo>
                <a:cubicBezTo>
                  <a:pt x="284" y="383"/>
                  <a:pt x="284" y="383"/>
                  <a:pt x="284" y="383"/>
                </a:cubicBezTo>
                <a:cubicBezTo>
                  <a:pt x="283" y="383"/>
                  <a:pt x="283" y="383"/>
                  <a:pt x="283" y="383"/>
                </a:cubicBezTo>
                <a:cubicBezTo>
                  <a:pt x="283" y="385"/>
                  <a:pt x="283" y="385"/>
                  <a:pt x="283" y="385"/>
                </a:cubicBezTo>
                <a:cubicBezTo>
                  <a:pt x="282" y="385"/>
                  <a:pt x="282" y="385"/>
                  <a:pt x="282" y="385"/>
                </a:cubicBezTo>
                <a:cubicBezTo>
                  <a:pt x="282" y="385"/>
                  <a:pt x="282" y="385"/>
                  <a:pt x="282" y="385"/>
                </a:cubicBezTo>
                <a:cubicBezTo>
                  <a:pt x="279" y="384"/>
                  <a:pt x="279" y="384"/>
                  <a:pt x="279" y="384"/>
                </a:cubicBezTo>
                <a:cubicBezTo>
                  <a:pt x="278" y="385"/>
                  <a:pt x="278" y="385"/>
                  <a:pt x="278" y="385"/>
                </a:cubicBezTo>
                <a:cubicBezTo>
                  <a:pt x="277" y="386"/>
                  <a:pt x="277" y="386"/>
                  <a:pt x="277" y="386"/>
                </a:cubicBezTo>
                <a:cubicBezTo>
                  <a:pt x="276" y="386"/>
                  <a:pt x="276" y="386"/>
                  <a:pt x="276" y="386"/>
                </a:cubicBezTo>
                <a:cubicBezTo>
                  <a:pt x="275" y="384"/>
                  <a:pt x="275" y="384"/>
                  <a:pt x="275" y="384"/>
                </a:cubicBezTo>
                <a:cubicBezTo>
                  <a:pt x="275" y="383"/>
                  <a:pt x="275" y="383"/>
                  <a:pt x="275" y="383"/>
                </a:cubicBezTo>
                <a:cubicBezTo>
                  <a:pt x="276" y="382"/>
                  <a:pt x="276" y="382"/>
                  <a:pt x="276" y="382"/>
                </a:cubicBezTo>
                <a:cubicBezTo>
                  <a:pt x="276" y="381"/>
                  <a:pt x="276" y="381"/>
                  <a:pt x="276" y="381"/>
                </a:cubicBezTo>
                <a:cubicBezTo>
                  <a:pt x="276" y="381"/>
                  <a:pt x="276" y="381"/>
                  <a:pt x="276" y="381"/>
                </a:cubicBezTo>
                <a:cubicBezTo>
                  <a:pt x="275" y="381"/>
                  <a:pt x="275" y="381"/>
                  <a:pt x="275" y="381"/>
                </a:cubicBezTo>
                <a:cubicBezTo>
                  <a:pt x="274" y="381"/>
                  <a:pt x="274" y="381"/>
                  <a:pt x="274" y="381"/>
                </a:cubicBezTo>
                <a:cubicBezTo>
                  <a:pt x="272" y="380"/>
                  <a:pt x="272" y="380"/>
                  <a:pt x="272" y="380"/>
                </a:cubicBezTo>
                <a:cubicBezTo>
                  <a:pt x="270" y="380"/>
                  <a:pt x="270" y="380"/>
                  <a:pt x="270" y="380"/>
                </a:cubicBezTo>
                <a:cubicBezTo>
                  <a:pt x="271" y="381"/>
                  <a:pt x="271" y="381"/>
                  <a:pt x="271" y="381"/>
                </a:cubicBezTo>
                <a:cubicBezTo>
                  <a:pt x="271" y="382"/>
                  <a:pt x="271" y="382"/>
                  <a:pt x="271" y="382"/>
                </a:cubicBezTo>
                <a:cubicBezTo>
                  <a:pt x="270" y="382"/>
                  <a:pt x="270" y="382"/>
                  <a:pt x="270" y="382"/>
                </a:cubicBezTo>
                <a:cubicBezTo>
                  <a:pt x="270" y="383"/>
                  <a:pt x="270" y="383"/>
                  <a:pt x="270" y="383"/>
                </a:cubicBezTo>
                <a:cubicBezTo>
                  <a:pt x="269" y="381"/>
                  <a:pt x="269" y="381"/>
                  <a:pt x="269" y="381"/>
                </a:cubicBezTo>
                <a:cubicBezTo>
                  <a:pt x="269" y="379"/>
                  <a:pt x="269" y="379"/>
                  <a:pt x="269" y="379"/>
                </a:cubicBezTo>
                <a:cubicBezTo>
                  <a:pt x="266" y="377"/>
                  <a:pt x="266" y="377"/>
                  <a:pt x="266" y="377"/>
                </a:cubicBezTo>
                <a:cubicBezTo>
                  <a:pt x="266" y="378"/>
                  <a:pt x="266" y="378"/>
                  <a:pt x="266" y="378"/>
                </a:cubicBezTo>
                <a:cubicBezTo>
                  <a:pt x="266" y="379"/>
                  <a:pt x="266" y="379"/>
                  <a:pt x="266" y="379"/>
                </a:cubicBezTo>
                <a:cubicBezTo>
                  <a:pt x="266" y="380"/>
                  <a:pt x="266" y="380"/>
                  <a:pt x="266" y="380"/>
                </a:cubicBezTo>
                <a:cubicBezTo>
                  <a:pt x="266" y="380"/>
                  <a:pt x="266" y="380"/>
                  <a:pt x="266" y="380"/>
                </a:cubicBezTo>
                <a:cubicBezTo>
                  <a:pt x="265" y="379"/>
                  <a:pt x="265" y="379"/>
                  <a:pt x="265" y="379"/>
                </a:cubicBezTo>
                <a:cubicBezTo>
                  <a:pt x="264" y="379"/>
                  <a:pt x="264" y="379"/>
                  <a:pt x="264" y="379"/>
                </a:cubicBezTo>
                <a:cubicBezTo>
                  <a:pt x="264" y="380"/>
                  <a:pt x="264" y="380"/>
                  <a:pt x="264" y="380"/>
                </a:cubicBezTo>
                <a:cubicBezTo>
                  <a:pt x="263" y="380"/>
                  <a:pt x="263" y="380"/>
                  <a:pt x="263" y="380"/>
                </a:cubicBezTo>
                <a:cubicBezTo>
                  <a:pt x="262" y="380"/>
                  <a:pt x="262" y="380"/>
                  <a:pt x="262" y="380"/>
                </a:cubicBezTo>
                <a:cubicBezTo>
                  <a:pt x="261" y="380"/>
                  <a:pt x="261" y="380"/>
                  <a:pt x="261" y="380"/>
                </a:cubicBezTo>
                <a:cubicBezTo>
                  <a:pt x="260" y="380"/>
                  <a:pt x="260" y="380"/>
                  <a:pt x="260" y="380"/>
                </a:cubicBezTo>
                <a:cubicBezTo>
                  <a:pt x="260" y="379"/>
                  <a:pt x="260" y="379"/>
                  <a:pt x="260" y="379"/>
                </a:cubicBezTo>
                <a:cubicBezTo>
                  <a:pt x="261" y="378"/>
                  <a:pt x="261" y="378"/>
                  <a:pt x="261" y="378"/>
                </a:cubicBezTo>
                <a:cubicBezTo>
                  <a:pt x="261" y="378"/>
                  <a:pt x="261" y="378"/>
                  <a:pt x="261" y="378"/>
                </a:cubicBezTo>
                <a:cubicBezTo>
                  <a:pt x="261" y="377"/>
                  <a:pt x="261" y="377"/>
                  <a:pt x="261" y="377"/>
                </a:cubicBezTo>
                <a:cubicBezTo>
                  <a:pt x="261" y="376"/>
                  <a:pt x="261" y="376"/>
                  <a:pt x="261" y="376"/>
                </a:cubicBezTo>
                <a:cubicBezTo>
                  <a:pt x="261" y="375"/>
                  <a:pt x="261" y="375"/>
                  <a:pt x="261" y="375"/>
                </a:cubicBezTo>
                <a:cubicBezTo>
                  <a:pt x="260" y="375"/>
                  <a:pt x="260" y="375"/>
                  <a:pt x="260" y="375"/>
                </a:cubicBezTo>
                <a:cubicBezTo>
                  <a:pt x="259" y="373"/>
                  <a:pt x="259" y="373"/>
                  <a:pt x="259" y="373"/>
                </a:cubicBezTo>
                <a:cubicBezTo>
                  <a:pt x="259" y="372"/>
                  <a:pt x="259" y="372"/>
                  <a:pt x="259" y="372"/>
                </a:cubicBezTo>
                <a:cubicBezTo>
                  <a:pt x="258" y="372"/>
                  <a:pt x="258" y="372"/>
                  <a:pt x="258" y="372"/>
                </a:cubicBezTo>
                <a:cubicBezTo>
                  <a:pt x="258" y="370"/>
                  <a:pt x="258" y="370"/>
                  <a:pt x="258" y="370"/>
                </a:cubicBezTo>
                <a:cubicBezTo>
                  <a:pt x="256" y="370"/>
                  <a:pt x="256" y="370"/>
                  <a:pt x="256" y="370"/>
                </a:cubicBezTo>
                <a:cubicBezTo>
                  <a:pt x="255" y="371"/>
                  <a:pt x="255" y="371"/>
                  <a:pt x="255" y="371"/>
                </a:cubicBezTo>
                <a:cubicBezTo>
                  <a:pt x="253" y="371"/>
                  <a:pt x="253" y="371"/>
                  <a:pt x="253" y="371"/>
                </a:cubicBezTo>
                <a:cubicBezTo>
                  <a:pt x="252" y="370"/>
                  <a:pt x="252" y="370"/>
                  <a:pt x="252" y="370"/>
                </a:cubicBezTo>
                <a:cubicBezTo>
                  <a:pt x="250" y="370"/>
                  <a:pt x="250" y="370"/>
                  <a:pt x="250" y="370"/>
                </a:cubicBezTo>
                <a:cubicBezTo>
                  <a:pt x="249" y="369"/>
                  <a:pt x="249" y="369"/>
                  <a:pt x="249" y="369"/>
                </a:cubicBezTo>
                <a:cubicBezTo>
                  <a:pt x="248" y="370"/>
                  <a:pt x="248" y="370"/>
                  <a:pt x="248" y="370"/>
                </a:cubicBezTo>
                <a:cubicBezTo>
                  <a:pt x="247" y="369"/>
                  <a:pt x="247" y="369"/>
                  <a:pt x="247" y="369"/>
                </a:cubicBezTo>
                <a:cubicBezTo>
                  <a:pt x="246" y="370"/>
                  <a:pt x="246" y="370"/>
                  <a:pt x="246" y="370"/>
                </a:cubicBezTo>
                <a:cubicBezTo>
                  <a:pt x="245" y="371"/>
                  <a:pt x="245" y="371"/>
                  <a:pt x="245" y="371"/>
                </a:cubicBezTo>
                <a:cubicBezTo>
                  <a:pt x="244" y="371"/>
                  <a:pt x="244" y="371"/>
                  <a:pt x="244" y="371"/>
                </a:cubicBezTo>
                <a:cubicBezTo>
                  <a:pt x="243" y="372"/>
                  <a:pt x="243" y="372"/>
                  <a:pt x="243" y="372"/>
                </a:cubicBezTo>
                <a:cubicBezTo>
                  <a:pt x="244" y="373"/>
                  <a:pt x="244" y="373"/>
                  <a:pt x="244" y="373"/>
                </a:cubicBezTo>
                <a:cubicBezTo>
                  <a:pt x="244" y="374"/>
                  <a:pt x="244" y="374"/>
                  <a:pt x="244" y="374"/>
                </a:cubicBezTo>
                <a:cubicBezTo>
                  <a:pt x="242" y="374"/>
                  <a:pt x="242" y="374"/>
                  <a:pt x="242" y="374"/>
                </a:cubicBezTo>
                <a:cubicBezTo>
                  <a:pt x="241" y="374"/>
                  <a:pt x="241" y="374"/>
                  <a:pt x="241" y="374"/>
                </a:cubicBezTo>
                <a:cubicBezTo>
                  <a:pt x="240" y="375"/>
                  <a:pt x="240" y="375"/>
                  <a:pt x="240" y="375"/>
                </a:cubicBezTo>
                <a:cubicBezTo>
                  <a:pt x="239" y="375"/>
                  <a:pt x="239" y="375"/>
                  <a:pt x="239" y="375"/>
                </a:cubicBezTo>
                <a:cubicBezTo>
                  <a:pt x="238" y="376"/>
                  <a:pt x="238" y="376"/>
                  <a:pt x="238" y="376"/>
                </a:cubicBezTo>
                <a:cubicBezTo>
                  <a:pt x="238" y="376"/>
                  <a:pt x="238" y="376"/>
                  <a:pt x="238" y="376"/>
                </a:cubicBezTo>
                <a:cubicBezTo>
                  <a:pt x="235" y="377"/>
                  <a:pt x="235" y="377"/>
                  <a:pt x="235" y="377"/>
                </a:cubicBezTo>
                <a:cubicBezTo>
                  <a:pt x="234" y="378"/>
                  <a:pt x="234" y="378"/>
                  <a:pt x="234" y="378"/>
                </a:cubicBezTo>
                <a:cubicBezTo>
                  <a:pt x="232" y="379"/>
                  <a:pt x="232" y="379"/>
                  <a:pt x="232" y="379"/>
                </a:cubicBezTo>
                <a:cubicBezTo>
                  <a:pt x="232" y="378"/>
                  <a:pt x="232" y="378"/>
                  <a:pt x="232" y="378"/>
                </a:cubicBezTo>
                <a:cubicBezTo>
                  <a:pt x="231" y="378"/>
                  <a:pt x="231" y="378"/>
                  <a:pt x="231" y="378"/>
                </a:cubicBezTo>
                <a:cubicBezTo>
                  <a:pt x="230" y="378"/>
                  <a:pt x="230" y="378"/>
                  <a:pt x="230" y="378"/>
                </a:cubicBezTo>
                <a:cubicBezTo>
                  <a:pt x="230" y="379"/>
                  <a:pt x="230" y="379"/>
                  <a:pt x="230" y="379"/>
                </a:cubicBezTo>
                <a:cubicBezTo>
                  <a:pt x="228" y="379"/>
                  <a:pt x="228" y="379"/>
                  <a:pt x="228" y="379"/>
                </a:cubicBezTo>
                <a:cubicBezTo>
                  <a:pt x="228" y="380"/>
                  <a:pt x="228" y="380"/>
                  <a:pt x="228" y="380"/>
                </a:cubicBezTo>
                <a:cubicBezTo>
                  <a:pt x="228" y="381"/>
                  <a:pt x="228" y="381"/>
                  <a:pt x="228" y="381"/>
                </a:cubicBezTo>
                <a:cubicBezTo>
                  <a:pt x="227" y="382"/>
                  <a:pt x="227" y="382"/>
                  <a:pt x="227" y="382"/>
                </a:cubicBezTo>
                <a:cubicBezTo>
                  <a:pt x="226" y="381"/>
                  <a:pt x="226" y="381"/>
                  <a:pt x="226" y="381"/>
                </a:cubicBezTo>
                <a:cubicBezTo>
                  <a:pt x="226" y="381"/>
                  <a:pt x="226" y="381"/>
                  <a:pt x="226" y="381"/>
                </a:cubicBezTo>
                <a:cubicBezTo>
                  <a:pt x="225" y="382"/>
                  <a:pt x="225" y="382"/>
                  <a:pt x="225" y="382"/>
                </a:cubicBezTo>
                <a:cubicBezTo>
                  <a:pt x="223" y="382"/>
                  <a:pt x="223" y="382"/>
                  <a:pt x="223" y="382"/>
                </a:cubicBezTo>
                <a:cubicBezTo>
                  <a:pt x="221" y="383"/>
                  <a:pt x="221" y="383"/>
                  <a:pt x="221" y="383"/>
                </a:cubicBezTo>
                <a:cubicBezTo>
                  <a:pt x="221" y="384"/>
                  <a:pt x="221" y="384"/>
                  <a:pt x="221" y="384"/>
                </a:cubicBezTo>
                <a:cubicBezTo>
                  <a:pt x="219" y="384"/>
                  <a:pt x="219" y="384"/>
                  <a:pt x="219" y="384"/>
                </a:cubicBezTo>
                <a:cubicBezTo>
                  <a:pt x="218" y="385"/>
                  <a:pt x="218" y="385"/>
                  <a:pt x="218" y="385"/>
                </a:cubicBezTo>
                <a:cubicBezTo>
                  <a:pt x="216" y="385"/>
                  <a:pt x="216" y="385"/>
                  <a:pt x="216" y="385"/>
                </a:cubicBezTo>
                <a:cubicBezTo>
                  <a:pt x="214" y="385"/>
                  <a:pt x="214" y="385"/>
                  <a:pt x="214" y="385"/>
                </a:cubicBezTo>
                <a:cubicBezTo>
                  <a:pt x="214" y="386"/>
                  <a:pt x="214" y="386"/>
                  <a:pt x="214" y="386"/>
                </a:cubicBezTo>
                <a:cubicBezTo>
                  <a:pt x="213" y="387"/>
                  <a:pt x="213" y="387"/>
                  <a:pt x="213" y="387"/>
                </a:cubicBezTo>
                <a:cubicBezTo>
                  <a:pt x="213" y="386"/>
                  <a:pt x="213" y="386"/>
                  <a:pt x="213" y="386"/>
                </a:cubicBezTo>
                <a:cubicBezTo>
                  <a:pt x="212" y="386"/>
                  <a:pt x="212" y="386"/>
                  <a:pt x="212" y="386"/>
                </a:cubicBezTo>
                <a:cubicBezTo>
                  <a:pt x="210" y="387"/>
                  <a:pt x="210" y="387"/>
                  <a:pt x="210" y="387"/>
                </a:cubicBezTo>
                <a:cubicBezTo>
                  <a:pt x="210" y="387"/>
                  <a:pt x="210" y="387"/>
                  <a:pt x="210" y="387"/>
                </a:cubicBezTo>
                <a:cubicBezTo>
                  <a:pt x="210" y="388"/>
                  <a:pt x="210" y="388"/>
                  <a:pt x="210" y="388"/>
                </a:cubicBezTo>
                <a:cubicBezTo>
                  <a:pt x="209" y="387"/>
                  <a:pt x="209" y="387"/>
                  <a:pt x="209" y="387"/>
                </a:cubicBezTo>
                <a:cubicBezTo>
                  <a:pt x="207" y="387"/>
                  <a:pt x="207" y="387"/>
                  <a:pt x="207" y="387"/>
                </a:cubicBezTo>
                <a:cubicBezTo>
                  <a:pt x="207" y="387"/>
                  <a:pt x="207" y="387"/>
                  <a:pt x="207" y="387"/>
                </a:cubicBezTo>
                <a:cubicBezTo>
                  <a:pt x="206" y="387"/>
                  <a:pt x="206" y="387"/>
                  <a:pt x="206" y="387"/>
                </a:cubicBezTo>
                <a:cubicBezTo>
                  <a:pt x="205" y="387"/>
                  <a:pt x="205" y="387"/>
                  <a:pt x="205" y="387"/>
                </a:cubicBezTo>
                <a:cubicBezTo>
                  <a:pt x="204" y="387"/>
                  <a:pt x="204" y="387"/>
                  <a:pt x="204" y="387"/>
                </a:cubicBezTo>
                <a:cubicBezTo>
                  <a:pt x="204" y="388"/>
                  <a:pt x="204" y="388"/>
                  <a:pt x="204" y="388"/>
                </a:cubicBezTo>
                <a:cubicBezTo>
                  <a:pt x="204" y="389"/>
                  <a:pt x="204" y="389"/>
                  <a:pt x="204" y="389"/>
                </a:cubicBezTo>
                <a:cubicBezTo>
                  <a:pt x="204" y="390"/>
                  <a:pt x="204" y="390"/>
                  <a:pt x="204" y="390"/>
                </a:cubicBezTo>
                <a:cubicBezTo>
                  <a:pt x="205" y="390"/>
                  <a:pt x="205" y="390"/>
                  <a:pt x="205" y="390"/>
                </a:cubicBezTo>
                <a:cubicBezTo>
                  <a:pt x="206" y="390"/>
                  <a:pt x="206" y="390"/>
                  <a:pt x="206" y="390"/>
                </a:cubicBezTo>
                <a:cubicBezTo>
                  <a:pt x="207" y="391"/>
                  <a:pt x="207" y="391"/>
                  <a:pt x="207" y="391"/>
                </a:cubicBezTo>
                <a:cubicBezTo>
                  <a:pt x="205" y="392"/>
                  <a:pt x="205" y="392"/>
                  <a:pt x="205" y="392"/>
                </a:cubicBezTo>
                <a:cubicBezTo>
                  <a:pt x="205" y="392"/>
                  <a:pt x="205" y="392"/>
                  <a:pt x="205" y="392"/>
                </a:cubicBezTo>
                <a:cubicBezTo>
                  <a:pt x="205" y="393"/>
                  <a:pt x="205" y="393"/>
                  <a:pt x="205" y="393"/>
                </a:cubicBezTo>
                <a:cubicBezTo>
                  <a:pt x="206" y="393"/>
                  <a:pt x="206" y="393"/>
                  <a:pt x="206" y="393"/>
                </a:cubicBezTo>
                <a:cubicBezTo>
                  <a:pt x="208" y="393"/>
                  <a:pt x="208" y="393"/>
                  <a:pt x="208" y="393"/>
                </a:cubicBezTo>
                <a:cubicBezTo>
                  <a:pt x="209" y="393"/>
                  <a:pt x="209" y="393"/>
                  <a:pt x="209" y="393"/>
                </a:cubicBezTo>
                <a:cubicBezTo>
                  <a:pt x="209" y="393"/>
                  <a:pt x="209" y="393"/>
                  <a:pt x="209" y="393"/>
                </a:cubicBezTo>
                <a:cubicBezTo>
                  <a:pt x="210" y="394"/>
                  <a:pt x="210" y="394"/>
                  <a:pt x="210" y="394"/>
                </a:cubicBezTo>
                <a:cubicBezTo>
                  <a:pt x="212" y="394"/>
                  <a:pt x="212" y="394"/>
                  <a:pt x="212" y="394"/>
                </a:cubicBezTo>
                <a:cubicBezTo>
                  <a:pt x="212" y="395"/>
                  <a:pt x="212" y="395"/>
                  <a:pt x="212" y="395"/>
                </a:cubicBezTo>
                <a:cubicBezTo>
                  <a:pt x="211" y="396"/>
                  <a:pt x="211" y="396"/>
                  <a:pt x="211" y="396"/>
                </a:cubicBezTo>
                <a:cubicBezTo>
                  <a:pt x="210" y="396"/>
                  <a:pt x="210" y="396"/>
                  <a:pt x="210" y="396"/>
                </a:cubicBezTo>
                <a:cubicBezTo>
                  <a:pt x="207" y="396"/>
                  <a:pt x="207" y="396"/>
                  <a:pt x="207" y="396"/>
                </a:cubicBezTo>
                <a:cubicBezTo>
                  <a:pt x="206" y="397"/>
                  <a:pt x="206" y="397"/>
                  <a:pt x="206" y="397"/>
                </a:cubicBezTo>
                <a:cubicBezTo>
                  <a:pt x="204" y="399"/>
                  <a:pt x="204" y="399"/>
                  <a:pt x="204" y="399"/>
                </a:cubicBezTo>
                <a:cubicBezTo>
                  <a:pt x="205" y="401"/>
                  <a:pt x="205" y="401"/>
                  <a:pt x="205" y="401"/>
                </a:cubicBezTo>
                <a:cubicBezTo>
                  <a:pt x="205" y="401"/>
                  <a:pt x="205" y="401"/>
                  <a:pt x="205" y="401"/>
                </a:cubicBezTo>
                <a:cubicBezTo>
                  <a:pt x="206" y="402"/>
                  <a:pt x="206" y="402"/>
                  <a:pt x="206" y="402"/>
                </a:cubicBezTo>
                <a:cubicBezTo>
                  <a:pt x="205" y="403"/>
                  <a:pt x="205" y="403"/>
                  <a:pt x="205" y="403"/>
                </a:cubicBezTo>
                <a:cubicBezTo>
                  <a:pt x="205" y="405"/>
                  <a:pt x="205" y="405"/>
                  <a:pt x="205" y="405"/>
                </a:cubicBezTo>
                <a:cubicBezTo>
                  <a:pt x="203" y="405"/>
                  <a:pt x="203" y="405"/>
                  <a:pt x="203" y="405"/>
                </a:cubicBezTo>
                <a:cubicBezTo>
                  <a:pt x="203" y="405"/>
                  <a:pt x="203" y="405"/>
                  <a:pt x="203" y="405"/>
                </a:cubicBezTo>
                <a:cubicBezTo>
                  <a:pt x="204" y="406"/>
                  <a:pt x="204" y="406"/>
                  <a:pt x="204" y="406"/>
                </a:cubicBezTo>
                <a:cubicBezTo>
                  <a:pt x="204" y="407"/>
                  <a:pt x="204" y="407"/>
                  <a:pt x="204" y="407"/>
                </a:cubicBezTo>
                <a:cubicBezTo>
                  <a:pt x="205" y="407"/>
                  <a:pt x="205" y="407"/>
                  <a:pt x="205" y="407"/>
                </a:cubicBezTo>
                <a:cubicBezTo>
                  <a:pt x="206" y="408"/>
                  <a:pt x="206" y="408"/>
                  <a:pt x="206" y="408"/>
                </a:cubicBezTo>
                <a:cubicBezTo>
                  <a:pt x="208" y="408"/>
                  <a:pt x="208" y="408"/>
                  <a:pt x="208" y="408"/>
                </a:cubicBezTo>
                <a:cubicBezTo>
                  <a:pt x="208" y="409"/>
                  <a:pt x="208" y="409"/>
                  <a:pt x="208" y="409"/>
                </a:cubicBezTo>
                <a:cubicBezTo>
                  <a:pt x="209" y="410"/>
                  <a:pt x="209" y="410"/>
                  <a:pt x="209" y="410"/>
                </a:cubicBezTo>
                <a:cubicBezTo>
                  <a:pt x="211" y="410"/>
                  <a:pt x="211" y="410"/>
                  <a:pt x="211" y="410"/>
                </a:cubicBezTo>
                <a:cubicBezTo>
                  <a:pt x="211" y="410"/>
                  <a:pt x="211" y="410"/>
                  <a:pt x="211" y="410"/>
                </a:cubicBezTo>
                <a:cubicBezTo>
                  <a:pt x="212" y="415"/>
                  <a:pt x="212" y="415"/>
                  <a:pt x="212" y="415"/>
                </a:cubicBezTo>
                <a:cubicBezTo>
                  <a:pt x="211" y="416"/>
                  <a:pt x="211" y="416"/>
                  <a:pt x="211" y="416"/>
                </a:cubicBezTo>
                <a:cubicBezTo>
                  <a:pt x="209" y="417"/>
                  <a:pt x="209" y="417"/>
                  <a:pt x="209" y="417"/>
                </a:cubicBezTo>
                <a:cubicBezTo>
                  <a:pt x="207" y="417"/>
                  <a:pt x="207" y="417"/>
                  <a:pt x="207" y="417"/>
                </a:cubicBezTo>
                <a:cubicBezTo>
                  <a:pt x="205" y="415"/>
                  <a:pt x="205" y="415"/>
                  <a:pt x="205" y="415"/>
                </a:cubicBezTo>
                <a:cubicBezTo>
                  <a:pt x="205" y="416"/>
                  <a:pt x="205" y="416"/>
                  <a:pt x="205" y="416"/>
                </a:cubicBezTo>
                <a:cubicBezTo>
                  <a:pt x="205" y="417"/>
                  <a:pt x="205" y="417"/>
                  <a:pt x="205" y="417"/>
                </a:cubicBezTo>
                <a:cubicBezTo>
                  <a:pt x="204" y="419"/>
                  <a:pt x="204" y="419"/>
                  <a:pt x="204" y="419"/>
                </a:cubicBezTo>
                <a:cubicBezTo>
                  <a:pt x="203" y="419"/>
                  <a:pt x="203" y="419"/>
                  <a:pt x="203" y="419"/>
                </a:cubicBezTo>
                <a:cubicBezTo>
                  <a:pt x="200" y="418"/>
                  <a:pt x="200" y="418"/>
                  <a:pt x="200" y="418"/>
                </a:cubicBezTo>
                <a:cubicBezTo>
                  <a:pt x="198" y="418"/>
                  <a:pt x="198" y="418"/>
                  <a:pt x="198" y="418"/>
                </a:cubicBezTo>
                <a:cubicBezTo>
                  <a:pt x="198" y="417"/>
                  <a:pt x="198" y="417"/>
                  <a:pt x="198" y="417"/>
                </a:cubicBezTo>
                <a:cubicBezTo>
                  <a:pt x="197" y="418"/>
                  <a:pt x="197" y="418"/>
                  <a:pt x="197" y="418"/>
                </a:cubicBezTo>
                <a:cubicBezTo>
                  <a:pt x="196" y="417"/>
                  <a:pt x="196" y="417"/>
                  <a:pt x="196" y="417"/>
                </a:cubicBezTo>
                <a:cubicBezTo>
                  <a:pt x="195" y="416"/>
                  <a:pt x="195" y="416"/>
                  <a:pt x="195" y="416"/>
                </a:cubicBezTo>
                <a:cubicBezTo>
                  <a:pt x="196" y="415"/>
                  <a:pt x="196" y="415"/>
                  <a:pt x="196" y="415"/>
                </a:cubicBezTo>
                <a:cubicBezTo>
                  <a:pt x="196" y="414"/>
                  <a:pt x="196" y="414"/>
                  <a:pt x="196" y="414"/>
                </a:cubicBezTo>
                <a:cubicBezTo>
                  <a:pt x="195" y="414"/>
                  <a:pt x="195" y="414"/>
                  <a:pt x="195" y="414"/>
                </a:cubicBezTo>
                <a:cubicBezTo>
                  <a:pt x="194" y="413"/>
                  <a:pt x="194" y="413"/>
                  <a:pt x="194" y="413"/>
                </a:cubicBezTo>
                <a:cubicBezTo>
                  <a:pt x="193" y="414"/>
                  <a:pt x="193" y="414"/>
                  <a:pt x="193" y="414"/>
                </a:cubicBezTo>
                <a:cubicBezTo>
                  <a:pt x="192" y="414"/>
                  <a:pt x="192" y="414"/>
                  <a:pt x="192" y="414"/>
                </a:cubicBezTo>
                <a:cubicBezTo>
                  <a:pt x="191" y="414"/>
                  <a:pt x="191" y="414"/>
                  <a:pt x="191" y="414"/>
                </a:cubicBezTo>
                <a:cubicBezTo>
                  <a:pt x="191" y="416"/>
                  <a:pt x="191" y="416"/>
                  <a:pt x="191" y="416"/>
                </a:cubicBezTo>
                <a:cubicBezTo>
                  <a:pt x="189" y="416"/>
                  <a:pt x="189" y="416"/>
                  <a:pt x="189" y="416"/>
                </a:cubicBezTo>
                <a:cubicBezTo>
                  <a:pt x="189" y="415"/>
                  <a:pt x="189" y="415"/>
                  <a:pt x="189" y="415"/>
                </a:cubicBezTo>
                <a:cubicBezTo>
                  <a:pt x="187" y="414"/>
                  <a:pt x="187" y="414"/>
                  <a:pt x="187" y="414"/>
                </a:cubicBezTo>
                <a:cubicBezTo>
                  <a:pt x="185" y="414"/>
                  <a:pt x="185" y="414"/>
                  <a:pt x="185" y="414"/>
                </a:cubicBezTo>
                <a:cubicBezTo>
                  <a:pt x="185" y="415"/>
                  <a:pt x="185" y="415"/>
                  <a:pt x="185" y="415"/>
                </a:cubicBezTo>
                <a:cubicBezTo>
                  <a:pt x="184" y="414"/>
                  <a:pt x="184" y="414"/>
                  <a:pt x="184" y="414"/>
                </a:cubicBezTo>
                <a:cubicBezTo>
                  <a:pt x="183" y="414"/>
                  <a:pt x="183" y="414"/>
                  <a:pt x="183" y="414"/>
                </a:cubicBezTo>
                <a:cubicBezTo>
                  <a:pt x="183" y="415"/>
                  <a:pt x="183" y="415"/>
                  <a:pt x="183" y="415"/>
                </a:cubicBezTo>
                <a:cubicBezTo>
                  <a:pt x="182" y="416"/>
                  <a:pt x="182" y="416"/>
                  <a:pt x="182" y="416"/>
                </a:cubicBezTo>
                <a:cubicBezTo>
                  <a:pt x="182" y="418"/>
                  <a:pt x="182" y="418"/>
                  <a:pt x="182" y="418"/>
                </a:cubicBezTo>
                <a:cubicBezTo>
                  <a:pt x="180" y="419"/>
                  <a:pt x="180" y="419"/>
                  <a:pt x="180" y="419"/>
                </a:cubicBezTo>
                <a:cubicBezTo>
                  <a:pt x="179" y="419"/>
                  <a:pt x="179" y="419"/>
                  <a:pt x="179" y="419"/>
                </a:cubicBezTo>
                <a:cubicBezTo>
                  <a:pt x="178" y="417"/>
                  <a:pt x="178" y="417"/>
                  <a:pt x="178" y="417"/>
                </a:cubicBezTo>
                <a:cubicBezTo>
                  <a:pt x="176" y="417"/>
                  <a:pt x="176" y="417"/>
                  <a:pt x="176" y="417"/>
                </a:cubicBezTo>
                <a:cubicBezTo>
                  <a:pt x="175" y="416"/>
                  <a:pt x="175" y="416"/>
                  <a:pt x="175" y="416"/>
                </a:cubicBezTo>
                <a:cubicBezTo>
                  <a:pt x="174" y="417"/>
                  <a:pt x="174" y="417"/>
                  <a:pt x="174" y="417"/>
                </a:cubicBezTo>
                <a:cubicBezTo>
                  <a:pt x="174" y="418"/>
                  <a:pt x="174" y="418"/>
                  <a:pt x="174" y="418"/>
                </a:cubicBezTo>
                <a:cubicBezTo>
                  <a:pt x="173" y="419"/>
                  <a:pt x="173" y="419"/>
                  <a:pt x="173" y="419"/>
                </a:cubicBezTo>
                <a:cubicBezTo>
                  <a:pt x="172" y="419"/>
                  <a:pt x="172" y="419"/>
                  <a:pt x="172" y="419"/>
                </a:cubicBezTo>
                <a:cubicBezTo>
                  <a:pt x="172" y="418"/>
                  <a:pt x="172" y="418"/>
                  <a:pt x="172" y="418"/>
                </a:cubicBezTo>
                <a:cubicBezTo>
                  <a:pt x="172" y="417"/>
                  <a:pt x="172" y="417"/>
                  <a:pt x="172" y="417"/>
                </a:cubicBezTo>
                <a:cubicBezTo>
                  <a:pt x="171" y="417"/>
                  <a:pt x="171" y="417"/>
                  <a:pt x="171" y="417"/>
                </a:cubicBezTo>
                <a:cubicBezTo>
                  <a:pt x="169" y="415"/>
                  <a:pt x="169" y="415"/>
                  <a:pt x="169" y="415"/>
                </a:cubicBezTo>
                <a:cubicBezTo>
                  <a:pt x="168" y="414"/>
                  <a:pt x="168" y="414"/>
                  <a:pt x="168" y="414"/>
                </a:cubicBezTo>
                <a:cubicBezTo>
                  <a:pt x="167" y="414"/>
                  <a:pt x="167" y="414"/>
                  <a:pt x="167" y="414"/>
                </a:cubicBezTo>
                <a:cubicBezTo>
                  <a:pt x="165" y="413"/>
                  <a:pt x="165" y="413"/>
                  <a:pt x="165" y="413"/>
                </a:cubicBezTo>
                <a:cubicBezTo>
                  <a:pt x="165" y="413"/>
                  <a:pt x="165" y="413"/>
                  <a:pt x="165" y="413"/>
                </a:cubicBezTo>
                <a:cubicBezTo>
                  <a:pt x="164" y="412"/>
                  <a:pt x="164" y="412"/>
                  <a:pt x="164" y="412"/>
                </a:cubicBezTo>
                <a:cubicBezTo>
                  <a:pt x="163" y="412"/>
                  <a:pt x="163" y="412"/>
                  <a:pt x="163" y="412"/>
                </a:cubicBezTo>
                <a:cubicBezTo>
                  <a:pt x="161" y="412"/>
                  <a:pt x="161" y="412"/>
                  <a:pt x="161" y="412"/>
                </a:cubicBezTo>
                <a:cubicBezTo>
                  <a:pt x="159" y="411"/>
                  <a:pt x="159" y="411"/>
                  <a:pt x="159" y="411"/>
                </a:cubicBezTo>
                <a:cubicBezTo>
                  <a:pt x="159" y="410"/>
                  <a:pt x="159" y="410"/>
                  <a:pt x="159" y="410"/>
                </a:cubicBezTo>
                <a:cubicBezTo>
                  <a:pt x="158" y="410"/>
                  <a:pt x="158" y="410"/>
                  <a:pt x="158" y="410"/>
                </a:cubicBezTo>
                <a:cubicBezTo>
                  <a:pt x="156" y="411"/>
                  <a:pt x="156" y="411"/>
                  <a:pt x="156" y="411"/>
                </a:cubicBezTo>
                <a:cubicBezTo>
                  <a:pt x="155" y="411"/>
                  <a:pt x="155" y="411"/>
                  <a:pt x="155" y="411"/>
                </a:cubicBezTo>
                <a:cubicBezTo>
                  <a:pt x="155" y="411"/>
                  <a:pt x="155" y="411"/>
                  <a:pt x="155" y="411"/>
                </a:cubicBezTo>
                <a:cubicBezTo>
                  <a:pt x="154" y="412"/>
                  <a:pt x="154" y="412"/>
                  <a:pt x="154" y="412"/>
                </a:cubicBezTo>
                <a:cubicBezTo>
                  <a:pt x="154" y="411"/>
                  <a:pt x="154" y="411"/>
                  <a:pt x="154" y="411"/>
                </a:cubicBezTo>
                <a:cubicBezTo>
                  <a:pt x="153" y="412"/>
                  <a:pt x="153" y="412"/>
                  <a:pt x="153" y="412"/>
                </a:cubicBezTo>
                <a:cubicBezTo>
                  <a:pt x="153" y="413"/>
                  <a:pt x="153" y="413"/>
                  <a:pt x="153" y="413"/>
                </a:cubicBezTo>
                <a:cubicBezTo>
                  <a:pt x="152" y="413"/>
                  <a:pt x="152" y="413"/>
                  <a:pt x="152" y="413"/>
                </a:cubicBezTo>
                <a:cubicBezTo>
                  <a:pt x="151" y="413"/>
                  <a:pt x="151" y="413"/>
                  <a:pt x="151" y="413"/>
                </a:cubicBezTo>
                <a:cubicBezTo>
                  <a:pt x="152" y="412"/>
                  <a:pt x="152" y="412"/>
                  <a:pt x="152" y="412"/>
                </a:cubicBezTo>
                <a:cubicBezTo>
                  <a:pt x="152" y="411"/>
                  <a:pt x="152" y="411"/>
                  <a:pt x="152" y="411"/>
                </a:cubicBezTo>
                <a:cubicBezTo>
                  <a:pt x="151" y="410"/>
                  <a:pt x="151" y="410"/>
                  <a:pt x="151" y="410"/>
                </a:cubicBezTo>
                <a:cubicBezTo>
                  <a:pt x="149" y="409"/>
                  <a:pt x="149" y="409"/>
                  <a:pt x="149" y="409"/>
                </a:cubicBezTo>
                <a:cubicBezTo>
                  <a:pt x="148" y="410"/>
                  <a:pt x="148" y="410"/>
                  <a:pt x="148" y="410"/>
                </a:cubicBezTo>
                <a:cubicBezTo>
                  <a:pt x="149" y="411"/>
                  <a:pt x="149" y="411"/>
                  <a:pt x="149" y="411"/>
                </a:cubicBezTo>
                <a:cubicBezTo>
                  <a:pt x="149" y="412"/>
                  <a:pt x="149" y="412"/>
                  <a:pt x="149" y="412"/>
                </a:cubicBezTo>
                <a:cubicBezTo>
                  <a:pt x="147" y="412"/>
                  <a:pt x="147" y="412"/>
                  <a:pt x="147" y="412"/>
                </a:cubicBezTo>
                <a:cubicBezTo>
                  <a:pt x="146" y="413"/>
                  <a:pt x="146" y="413"/>
                  <a:pt x="146" y="413"/>
                </a:cubicBezTo>
                <a:cubicBezTo>
                  <a:pt x="146" y="414"/>
                  <a:pt x="146" y="414"/>
                  <a:pt x="146" y="414"/>
                </a:cubicBezTo>
                <a:cubicBezTo>
                  <a:pt x="145" y="414"/>
                  <a:pt x="145" y="414"/>
                  <a:pt x="145" y="414"/>
                </a:cubicBezTo>
                <a:cubicBezTo>
                  <a:pt x="143" y="416"/>
                  <a:pt x="143" y="416"/>
                  <a:pt x="143" y="416"/>
                </a:cubicBezTo>
                <a:cubicBezTo>
                  <a:pt x="143" y="417"/>
                  <a:pt x="143" y="417"/>
                  <a:pt x="143" y="417"/>
                </a:cubicBezTo>
                <a:cubicBezTo>
                  <a:pt x="143" y="418"/>
                  <a:pt x="143" y="418"/>
                  <a:pt x="143" y="418"/>
                </a:cubicBezTo>
                <a:cubicBezTo>
                  <a:pt x="143" y="420"/>
                  <a:pt x="143" y="420"/>
                  <a:pt x="143" y="420"/>
                </a:cubicBezTo>
                <a:cubicBezTo>
                  <a:pt x="141" y="420"/>
                  <a:pt x="141" y="420"/>
                  <a:pt x="141" y="420"/>
                </a:cubicBezTo>
                <a:cubicBezTo>
                  <a:pt x="140" y="420"/>
                  <a:pt x="140" y="420"/>
                  <a:pt x="140" y="420"/>
                </a:cubicBezTo>
                <a:cubicBezTo>
                  <a:pt x="141" y="425"/>
                  <a:pt x="141" y="425"/>
                  <a:pt x="141" y="425"/>
                </a:cubicBezTo>
                <a:cubicBezTo>
                  <a:pt x="140" y="425"/>
                  <a:pt x="140" y="425"/>
                  <a:pt x="140" y="425"/>
                </a:cubicBezTo>
                <a:cubicBezTo>
                  <a:pt x="140" y="427"/>
                  <a:pt x="140" y="427"/>
                  <a:pt x="140" y="427"/>
                </a:cubicBezTo>
                <a:cubicBezTo>
                  <a:pt x="138" y="428"/>
                  <a:pt x="138" y="428"/>
                  <a:pt x="138" y="428"/>
                </a:cubicBezTo>
                <a:cubicBezTo>
                  <a:pt x="137" y="426"/>
                  <a:pt x="137" y="426"/>
                  <a:pt x="137" y="426"/>
                </a:cubicBezTo>
                <a:cubicBezTo>
                  <a:pt x="136" y="425"/>
                  <a:pt x="136" y="425"/>
                  <a:pt x="136" y="425"/>
                </a:cubicBezTo>
                <a:cubicBezTo>
                  <a:pt x="133" y="422"/>
                  <a:pt x="133" y="422"/>
                  <a:pt x="133" y="422"/>
                </a:cubicBezTo>
                <a:cubicBezTo>
                  <a:pt x="132" y="423"/>
                  <a:pt x="132" y="423"/>
                  <a:pt x="132" y="423"/>
                </a:cubicBezTo>
                <a:cubicBezTo>
                  <a:pt x="132" y="425"/>
                  <a:pt x="132" y="425"/>
                  <a:pt x="132" y="425"/>
                </a:cubicBezTo>
                <a:cubicBezTo>
                  <a:pt x="130" y="427"/>
                  <a:pt x="130" y="427"/>
                  <a:pt x="130" y="427"/>
                </a:cubicBezTo>
                <a:cubicBezTo>
                  <a:pt x="129" y="428"/>
                  <a:pt x="129" y="428"/>
                  <a:pt x="129" y="428"/>
                </a:cubicBezTo>
                <a:cubicBezTo>
                  <a:pt x="129" y="431"/>
                  <a:pt x="129" y="431"/>
                  <a:pt x="129" y="431"/>
                </a:cubicBezTo>
                <a:cubicBezTo>
                  <a:pt x="130" y="432"/>
                  <a:pt x="130" y="432"/>
                  <a:pt x="130" y="432"/>
                </a:cubicBezTo>
                <a:cubicBezTo>
                  <a:pt x="130" y="436"/>
                  <a:pt x="130" y="436"/>
                  <a:pt x="130" y="436"/>
                </a:cubicBezTo>
                <a:cubicBezTo>
                  <a:pt x="129" y="438"/>
                  <a:pt x="129" y="438"/>
                  <a:pt x="129" y="438"/>
                </a:cubicBezTo>
                <a:cubicBezTo>
                  <a:pt x="131" y="439"/>
                  <a:pt x="131" y="439"/>
                  <a:pt x="131" y="439"/>
                </a:cubicBezTo>
                <a:cubicBezTo>
                  <a:pt x="132" y="441"/>
                  <a:pt x="132" y="441"/>
                  <a:pt x="132" y="441"/>
                </a:cubicBezTo>
                <a:cubicBezTo>
                  <a:pt x="132" y="441"/>
                  <a:pt x="132" y="441"/>
                  <a:pt x="132" y="441"/>
                </a:cubicBezTo>
                <a:cubicBezTo>
                  <a:pt x="134" y="443"/>
                  <a:pt x="134" y="443"/>
                  <a:pt x="134" y="443"/>
                </a:cubicBezTo>
                <a:cubicBezTo>
                  <a:pt x="135" y="442"/>
                  <a:pt x="135" y="442"/>
                  <a:pt x="135" y="442"/>
                </a:cubicBezTo>
                <a:cubicBezTo>
                  <a:pt x="139" y="443"/>
                  <a:pt x="139" y="443"/>
                  <a:pt x="139" y="443"/>
                </a:cubicBezTo>
                <a:cubicBezTo>
                  <a:pt x="142" y="446"/>
                  <a:pt x="142" y="446"/>
                  <a:pt x="142" y="446"/>
                </a:cubicBezTo>
                <a:cubicBezTo>
                  <a:pt x="144" y="450"/>
                  <a:pt x="144" y="450"/>
                  <a:pt x="144" y="450"/>
                </a:cubicBezTo>
                <a:cubicBezTo>
                  <a:pt x="142" y="450"/>
                  <a:pt x="142" y="450"/>
                  <a:pt x="142" y="450"/>
                </a:cubicBezTo>
                <a:cubicBezTo>
                  <a:pt x="142" y="451"/>
                  <a:pt x="142" y="451"/>
                  <a:pt x="142" y="451"/>
                </a:cubicBezTo>
                <a:cubicBezTo>
                  <a:pt x="144" y="453"/>
                  <a:pt x="144" y="453"/>
                  <a:pt x="144" y="453"/>
                </a:cubicBezTo>
                <a:cubicBezTo>
                  <a:pt x="145" y="452"/>
                  <a:pt x="145" y="452"/>
                  <a:pt x="145" y="452"/>
                </a:cubicBezTo>
                <a:cubicBezTo>
                  <a:pt x="147" y="453"/>
                  <a:pt x="147" y="453"/>
                  <a:pt x="147" y="453"/>
                </a:cubicBezTo>
                <a:cubicBezTo>
                  <a:pt x="147" y="453"/>
                  <a:pt x="147" y="453"/>
                  <a:pt x="147" y="453"/>
                </a:cubicBezTo>
                <a:cubicBezTo>
                  <a:pt x="147" y="453"/>
                  <a:pt x="147" y="453"/>
                  <a:pt x="147" y="453"/>
                </a:cubicBezTo>
                <a:cubicBezTo>
                  <a:pt x="147" y="454"/>
                  <a:pt x="147" y="454"/>
                  <a:pt x="147" y="454"/>
                </a:cubicBezTo>
                <a:cubicBezTo>
                  <a:pt x="147" y="455"/>
                  <a:pt x="147" y="455"/>
                  <a:pt x="147" y="455"/>
                </a:cubicBezTo>
                <a:cubicBezTo>
                  <a:pt x="146" y="455"/>
                  <a:pt x="146" y="455"/>
                  <a:pt x="146" y="455"/>
                </a:cubicBezTo>
                <a:cubicBezTo>
                  <a:pt x="146" y="455"/>
                  <a:pt x="146" y="455"/>
                  <a:pt x="146" y="455"/>
                </a:cubicBezTo>
                <a:cubicBezTo>
                  <a:pt x="146" y="456"/>
                  <a:pt x="146" y="456"/>
                  <a:pt x="146" y="456"/>
                </a:cubicBezTo>
                <a:cubicBezTo>
                  <a:pt x="146" y="456"/>
                  <a:pt x="146" y="456"/>
                  <a:pt x="146" y="456"/>
                </a:cubicBezTo>
                <a:cubicBezTo>
                  <a:pt x="146" y="456"/>
                  <a:pt x="146" y="456"/>
                  <a:pt x="146" y="456"/>
                </a:cubicBezTo>
                <a:cubicBezTo>
                  <a:pt x="146" y="457"/>
                  <a:pt x="146" y="457"/>
                  <a:pt x="146" y="457"/>
                </a:cubicBezTo>
                <a:cubicBezTo>
                  <a:pt x="145" y="457"/>
                  <a:pt x="145" y="457"/>
                  <a:pt x="145" y="457"/>
                </a:cubicBezTo>
                <a:cubicBezTo>
                  <a:pt x="145" y="457"/>
                  <a:pt x="145" y="457"/>
                  <a:pt x="145" y="457"/>
                </a:cubicBezTo>
                <a:cubicBezTo>
                  <a:pt x="144" y="457"/>
                  <a:pt x="144" y="457"/>
                  <a:pt x="144" y="457"/>
                </a:cubicBezTo>
                <a:cubicBezTo>
                  <a:pt x="143" y="457"/>
                  <a:pt x="143" y="457"/>
                  <a:pt x="143" y="457"/>
                </a:cubicBezTo>
                <a:cubicBezTo>
                  <a:pt x="145" y="458"/>
                  <a:pt x="145" y="458"/>
                  <a:pt x="145" y="458"/>
                </a:cubicBezTo>
                <a:cubicBezTo>
                  <a:pt x="145" y="459"/>
                  <a:pt x="145" y="459"/>
                  <a:pt x="145" y="459"/>
                </a:cubicBezTo>
                <a:cubicBezTo>
                  <a:pt x="145" y="459"/>
                  <a:pt x="145" y="459"/>
                  <a:pt x="145" y="459"/>
                </a:cubicBezTo>
                <a:cubicBezTo>
                  <a:pt x="144" y="458"/>
                  <a:pt x="144" y="458"/>
                  <a:pt x="144" y="458"/>
                </a:cubicBezTo>
                <a:cubicBezTo>
                  <a:pt x="144" y="458"/>
                  <a:pt x="143" y="459"/>
                  <a:pt x="143" y="459"/>
                </a:cubicBezTo>
                <a:cubicBezTo>
                  <a:pt x="143" y="459"/>
                  <a:pt x="142" y="458"/>
                  <a:pt x="142" y="458"/>
                </a:cubicBezTo>
                <a:cubicBezTo>
                  <a:pt x="142" y="458"/>
                  <a:pt x="142" y="458"/>
                  <a:pt x="142" y="458"/>
                </a:cubicBezTo>
                <a:cubicBezTo>
                  <a:pt x="143" y="459"/>
                  <a:pt x="143" y="459"/>
                  <a:pt x="143" y="459"/>
                </a:cubicBezTo>
                <a:cubicBezTo>
                  <a:pt x="143" y="459"/>
                  <a:pt x="143" y="459"/>
                  <a:pt x="143" y="459"/>
                </a:cubicBezTo>
                <a:cubicBezTo>
                  <a:pt x="142" y="460"/>
                  <a:pt x="142" y="460"/>
                  <a:pt x="142" y="460"/>
                </a:cubicBezTo>
                <a:cubicBezTo>
                  <a:pt x="141" y="460"/>
                  <a:pt x="141" y="460"/>
                  <a:pt x="141" y="460"/>
                </a:cubicBezTo>
                <a:cubicBezTo>
                  <a:pt x="141" y="460"/>
                  <a:pt x="141" y="460"/>
                  <a:pt x="141" y="460"/>
                </a:cubicBezTo>
                <a:cubicBezTo>
                  <a:pt x="140" y="460"/>
                  <a:pt x="140" y="460"/>
                  <a:pt x="140" y="460"/>
                </a:cubicBezTo>
                <a:cubicBezTo>
                  <a:pt x="140" y="461"/>
                  <a:pt x="140" y="461"/>
                  <a:pt x="140" y="461"/>
                </a:cubicBezTo>
                <a:cubicBezTo>
                  <a:pt x="139" y="461"/>
                  <a:pt x="139" y="461"/>
                  <a:pt x="139" y="461"/>
                </a:cubicBezTo>
                <a:cubicBezTo>
                  <a:pt x="139" y="460"/>
                  <a:pt x="139" y="460"/>
                  <a:pt x="139" y="460"/>
                </a:cubicBezTo>
                <a:cubicBezTo>
                  <a:pt x="138" y="460"/>
                  <a:pt x="138" y="460"/>
                  <a:pt x="138" y="460"/>
                </a:cubicBezTo>
                <a:cubicBezTo>
                  <a:pt x="138" y="461"/>
                  <a:pt x="138" y="461"/>
                  <a:pt x="138" y="461"/>
                </a:cubicBezTo>
                <a:cubicBezTo>
                  <a:pt x="137" y="462"/>
                  <a:pt x="137" y="462"/>
                  <a:pt x="137" y="462"/>
                </a:cubicBezTo>
                <a:cubicBezTo>
                  <a:pt x="137" y="463"/>
                  <a:pt x="137" y="463"/>
                  <a:pt x="137" y="463"/>
                </a:cubicBezTo>
                <a:cubicBezTo>
                  <a:pt x="137" y="464"/>
                  <a:pt x="137" y="464"/>
                  <a:pt x="137" y="464"/>
                </a:cubicBezTo>
                <a:cubicBezTo>
                  <a:pt x="136" y="465"/>
                  <a:pt x="136" y="465"/>
                  <a:pt x="136" y="465"/>
                </a:cubicBezTo>
                <a:cubicBezTo>
                  <a:pt x="136" y="466"/>
                  <a:pt x="136" y="466"/>
                  <a:pt x="136" y="466"/>
                </a:cubicBezTo>
                <a:cubicBezTo>
                  <a:pt x="136" y="468"/>
                  <a:pt x="136" y="468"/>
                  <a:pt x="136" y="468"/>
                </a:cubicBezTo>
                <a:cubicBezTo>
                  <a:pt x="135" y="469"/>
                  <a:pt x="135" y="469"/>
                  <a:pt x="135" y="469"/>
                </a:cubicBezTo>
                <a:cubicBezTo>
                  <a:pt x="135" y="470"/>
                  <a:pt x="135" y="470"/>
                  <a:pt x="135" y="470"/>
                </a:cubicBezTo>
                <a:cubicBezTo>
                  <a:pt x="135" y="472"/>
                  <a:pt x="135" y="472"/>
                  <a:pt x="135" y="472"/>
                </a:cubicBezTo>
                <a:cubicBezTo>
                  <a:pt x="136" y="472"/>
                  <a:pt x="136" y="472"/>
                  <a:pt x="136" y="472"/>
                </a:cubicBezTo>
                <a:cubicBezTo>
                  <a:pt x="137" y="472"/>
                  <a:pt x="137" y="472"/>
                  <a:pt x="137" y="472"/>
                </a:cubicBezTo>
                <a:cubicBezTo>
                  <a:pt x="138" y="473"/>
                  <a:pt x="138" y="473"/>
                  <a:pt x="138" y="473"/>
                </a:cubicBezTo>
                <a:cubicBezTo>
                  <a:pt x="139" y="474"/>
                  <a:pt x="139" y="474"/>
                  <a:pt x="139" y="474"/>
                </a:cubicBezTo>
                <a:cubicBezTo>
                  <a:pt x="139" y="476"/>
                  <a:pt x="139" y="476"/>
                  <a:pt x="139" y="476"/>
                </a:cubicBezTo>
                <a:cubicBezTo>
                  <a:pt x="140" y="476"/>
                  <a:pt x="140" y="476"/>
                  <a:pt x="140" y="476"/>
                </a:cubicBezTo>
                <a:cubicBezTo>
                  <a:pt x="141" y="476"/>
                  <a:pt x="141" y="476"/>
                  <a:pt x="141" y="476"/>
                </a:cubicBezTo>
                <a:cubicBezTo>
                  <a:pt x="142" y="476"/>
                  <a:pt x="142" y="476"/>
                  <a:pt x="142" y="476"/>
                </a:cubicBezTo>
                <a:cubicBezTo>
                  <a:pt x="141" y="477"/>
                  <a:pt x="141" y="477"/>
                  <a:pt x="141" y="477"/>
                </a:cubicBezTo>
                <a:cubicBezTo>
                  <a:pt x="141" y="478"/>
                  <a:pt x="141" y="478"/>
                  <a:pt x="141" y="478"/>
                </a:cubicBezTo>
                <a:cubicBezTo>
                  <a:pt x="140" y="478"/>
                  <a:pt x="140" y="478"/>
                  <a:pt x="140" y="478"/>
                </a:cubicBezTo>
                <a:cubicBezTo>
                  <a:pt x="140" y="479"/>
                  <a:pt x="140" y="479"/>
                  <a:pt x="140" y="479"/>
                </a:cubicBezTo>
                <a:cubicBezTo>
                  <a:pt x="141" y="479"/>
                  <a:pt x="141" y="479"/>
                  <a:pt x="141" y="479"/>
                </a:cubicBezTo>
                <a:cubicBezTo>
                  <a:pt x="141" y="480"/>
                  <a:pt x="141" y="480"/>
                  <a:pt x="141" y="480"/>
                </a:cubicBezTo>
                <a:cubicBezTo>
                  <a:pt x="142" y="480"/>
                  <a:pt x="142" y="480"/>
                  <a:pt x="142" y="480"/>
                </a:cubicBezTo>
                <a:cubicBezTo>
                  <a:pt x="142" y="482"/>
                  <a:pt x="142" y="482"/>
                  <a:pt x="142" y="482"/>
                </a:cubicBezTo>
                <a:cubicBezTo>
                  <a:pt x="143" y="483"/>
                  <a:pt x="143" y="483"/>
                  <a:pt x="143" y="483"/>
                </a:cubicBezTo>
                <a:cubicBezTo>
                  <a:pt x="143" y="485"/>
                  <a:pt x="143" y="485"/>
                  <a:pt x="143" y="485"/>
                </a:cubicBezTo>
                <a:cubicBezTo>
                  <a:pt x="145" y="488"/>
                  <a:pt x="145" y="488"/>
                  <a:pt x="145" y="488"/>
                </a:cubicBezTo>
                <a:cubicBezTo>
                  <a:pt x="149" y="491"/>
                  <a:pt x="149" y="491"/>
                  <a:pt x="149" y="491"/>
                </a:cubicBezTo>
                <a:cubicBezTo>
                  <a:pt x="149" y="491"/>
                  <a:pt x="149" y="491"/>
                  <a:pt x="149" y="491"/>
                </a:cubicBezTo>
                <a:cubicBezTo>
                  <a:pt x="149" y="491"/>
                  <a:pt x="149" y="491"/>
                  <a:pt x="149" y="491"/>
                </a:cubicBezTo>
                <a:cubicBezTo>
                  <a:pt x="147" y="494"/>
                  <a:pt x="147" y="494"/>
                  <a:pt x="147" y="494"/>
                </a:cubicBezTo>
                <a:cubicBezTo>
                  <a:pt x="145" y="495"/>
                  <a:pt x="145" y="495"/>
                  <a:pt x="145" y="495"/>
                </a:cubicBezTo>
                <a:cubicBezTo>
                  <a:pt x="145" y="496"/>
                  <a:pt x="145" y="496"/>
                  <a:pt x="145" y="496"/>
                </a:cubicBezTo>
                <a:cubicBezTo>
                  <a:pt x="142" y="496"/>
                  <a:pt x="142" y="496"/>
                  <a:pt x="142" y="496"/>
                </a:cubicBezTo>
                <a:cubicBezTo>
                  <a:pt x="141" y="494"/>
                  <a:pt x="141" y="494"/>
                  <a:pt x="141" y="494"/>
                </a:cubicBezTo>
                <a:cubicBezTo>
                  <a:pt x="138" y="492"/>
                  <a:pt x="138" y="492"/>
                  <a:pt x="138" y="492"/>
                </a:cubicBezTo>
                <a:cubicBezTo>
                  <a:pt x="136" y="492"/>
                  <a:pt x="136" y="492"/>
                  <a:pt x="136" y="492"/>
                </a:cubicBezTo>
                <a:cubicBezTo>
                  <a:pt x="136" y="494"/>
                  <a:pt x="136" y="494"/>
                  <a:pt x="136" y="494"/>
                </a:cubicBezTo>
                <a:cubicBezTo>
                  <a:pt x="137" y="495"/>
                  <a:pt x="137" y="495"/>
                  <a:pt x="137" y="495"/>
                </a:cubicBezTo>
                <a:cubicBezTo>
                  <a:pt x="138" y="496"/>
                  <a:pt x="138" y="496"/>
                  <a:pt x="138" y="496"/>
                </a:cubicBezTo>
                <a:cubicBezTo>
                  <a:pt x="138" y="498"/>
                  <a:pt x="138" y="498"/>
                  <a:pt x="138" y="498"/>
                </a:cubicBezTo>
                <a:cubicBezTo>
                  <a:pt x="136" y="497"/>
                  <a:pt x="136" y="497"/>
                  <a:pt x="136" y="497"/>
                </a:cubicBezTo>
                <a:cubicBezTo>
                  <a:pt x="133" y="497"/>
                  <a:pt x="133" y="497"/>
                  <a:pt x="133" y="497"/>
                </a:cubicBezTo>
                <a:cubicBezTo>
                  <a:pt x="130" y="495"/>
                  <a:pt x="130" y="495"/>
                  <a:pt x="130" y="495"/>
                </a:cubicBezTo>
                <a:cubicBezTo>
                  <a:pt x="127" y="496"/>
                  <a:pt x="127" y="496"/>
                  <a:pt x="127" y="496"/>
                </a:cubicBezTo>
                <a:cubicBezTo>
                  <a:pt x="127" y="497"/>
                  <a:pt x="127" y="497"/>
                  <a:pt x="127" y="497"/>
                </a:cubicBezTo>
                <a:cubicBezTo>
                  <a:pt x="128" y="498"/>
                  <a:pt x="128" y="498"/>
                  <a:pt x="128" y="498"/>
                </a:cubicBezTo>
                <a:cubicBezTo>
                  <a:pt x="127" y="497"/>
                  <a:pt x="127" y="497"/>
                  <a:pt x="127" y="497"/>
                </a:cubicBezTo>
                <a:cubicBezTo>
                  <a:pt x="123" y="497"/>
                  <a:pt x="123" y="497"/>
                  <a:pt x="123" y="497"/>
                </a:cubicBezTo>
                <a:cubicBezTo>
                  <a:pt x="123" y="497"/>
                  <a:pt x="123" y="497"/>
                  <a:pt x="123" y="497"/>
                </a:cubicBezTo>
                <a:cubicBezTo>
                  <a:pt x="120" y="497"/>
                  <a:pt x="120" y="497"/>
                  <a:pt x="120" y="497"/>
                </a:cubicBezTo>
                <a:cubicBezTo>
                  <a:pt x="118" y="498"/>
                  <a:pt x="118" y="498"/>
                  <a:pt x="118" y="498"/>
                </a:cubicBezTo>
                <a:cubicBezTo>
                  <a:pt x="118" y="498"/>
                  <a:pt x="118" y="498"/>
                  <a:pt x="118" y="498"/>
                </a:cubicBezTo>
                <a:cubicBezTo>
                  <a:pt x="117" y="498"/>
                  <a:pt x="117" y="498"/>
                  <a:pt x="117" y="498"/>
                </a:cubicBezTo>
                <a:cubicBezTo>
                  <a:pt x="114" y="495"/>
                  <a:pt x="114" y="495"/>
                  <a:pt x="114" y="495"/>
                </a:cubicBezTo>
                <a:cubicBezTo>
                  <a:pt x="113" y="495"/>
                  <a:pt x="113" y="495"/>
                  <a:pt x="113" y="495"/>
                </a:cubicBezTo>
                <a:cubicBezTo>
                  <a:pt x="112" y="496"/>
                  <a:pt x="112" y="496"/>
                  <a:pt x="112" y="496"/>
                </a:cubicBezTo>
                <a:cubicBezTo>
                  <a:pt x="111" y="496"/>
                  <a:pt x="111" y="496"/>
                  <a:pt x="111" y="496"/>
                </a:cubicBezTo>
                <a:cubicBezTo>
                  <a:pt x="110" y="495"/>
                  <a:pt x="110" y="495"/>
                  <a:pt x="110" y="495"/>
                </a:cubicBezTo>
                <a:cubicBezTo>
                  <a:pt x="109" y="496"/>
                  <a:pt x="109" y="496"/>
                  <a:pt x="109" y="496"/>
                </a:cubicBezTo>
                <a:cubicBezTo>
                  <a:pt x="108" y="496"/>
                  <a:pt x="108" y="496"/>
                  <a:pt x="108" y="496"/>
                </a:cubicBezTo>
                <a:cubicBezTo>
                  <a:pt x="108" y="495"/>
                  <a:pt x="108" y="495"/>
                  <a:pt x="108" y="495"/>
                </a:cubicBezTo>
                <a:cubicBezTo>
                  <a:pt x="107" y="495"/>
                  <a:pt x="107" y="495"/>
                  <a:pt x="107" y="495"/>
                </a:cubicBezTo>
                <a:cubicBezTo>
                  <a:pt x="107" y="495"/>
                  <a:pt x="107" y="495"/>
                  <a:pt x="107" y="495"/>
                </a:cubicBezTo>
                <a:cubicBezTo>
                  <a:pt x="107" y="494"/>
                  <a:pt x="107" y="494"/>
                  <a:pt x="107" y="494"/>
                </a:cubicBezTo>
                <a:cubicBezTo>
                  <a:pt x="107" y="493"/>
                  <a:pt x="107" y="493"/>
                  <a:pt x="107" y="493"/>
                </a:cubicBezTo>
                <a:cubicBezTo>
                  <a:pt x="108" y="493"/>
                  <a:pt x="108" y="493"/>
                  <a:pt x="108" y="493"/>
                </a:cubicBezTo>
                <a:cubicBezTo>
                  <a:pt x="106" y="491"/>
                  <a:pt x="106" y="491"/>
                  <a:pt x="106" y="491"/>
                </a:cubicBezTo>
                <a:cubicBezTo>
                  <a:pt x="106" y="488"/>
                  <a:pt x="106" y="488"/>
                  <a:pt x="106" y="488"/>
                </a:cubicBezTo>
                <a:cubicBezTo>
                  <a:pt x="105" y="487"/>
                  <a:pt x="105" y="487"/>
                  <a:pt x="105" y="487"/>
                </a:cubicBezTo>
                <a:cubicBezTo>
                  <a:pt x="104" y="485"/>
                  <a:pt x="104" y="485"/>
                  <a:pt x="104" y="485"/>
                </a:cubicBezTo>
                <a:cubicBezTo>
                  <a:pt x="103" y="485"/>
                  <a:pt x="103" y="485"/>
                  <a:pt x="103" y="485"/>
                </a:cubicBezTo>
                <a:cubicBezTo>
                  <a:pt x="102" y="484"/>
                  <a:pt x="102" y="484"/>
                  <a:pt x="102" y="484"/>
                </a:cubicBezTo>
                <a:cubicBezTo>
                  <a:pt x="101" y="483"/>
                  <a:pt x="101" y="483"/>
                  <a:pt x="101" y="483"/>
                </a:cubicBezTo>
                <a:cubicBezTo>
                  <a:pt x="100" y="483"/>
                  <a:pt x="100" y="483"/>
                  <a:pt x="100" y="483"/>
                </a:cubicBezTo>
                <a:cubicBezTo>
                  <a:pt x="100" y="483"/>
                  <a:pt x="100" y="483"/>
                  <a:pt x="100" y="483"/>
                </a:cubicBezTo>
                <a:cubicBezTo>
                  <a:pt x="98" y="482"/>
                  <a:pt x="98" y="482"/>
                  <a:pt x="98" y="482"/>
                </a:cubicBezTo>
                <a:cubicBezTo>
                  <a:pt x="97" y="481"/>
                  <a:pt x="97" y="481"/>
                  <a:pt x="97" y="481"/>
                </a:cubicBezTo>
                <a:cubicBezTo>
                  <a:pt x="97" y="481"/>
                  <a:pt x="97" y="481"/>
                  <a:pt x="97" y="481"/>
                </a:cubicBezTo>
                <a:cubicBezTo>
                  <a:pt x="95" y="481"/>
                  <a:pt x="95" y="481"/>
                  <a:pt x="95" y="481"/>
                </a:cubicBezTo>
                <a:cubicBezTo>
                  <a:pt x="95" y="480"/>
                  <a:pt x="95" y="480"/>
                  <a:pt x="95" y="480"/>
                </a:cubicBezTo>
                <a:cubicBezTo>
                  <a:pt x="94" y="480"/>
                  <a:pt x="94" y="480"/>
                  <a:pt x="94" y="480"/>
                </a:cubicBezTo>
                <a:cubicBezTo>
                  <a:pt x="93" y="479"/>
                  <a:pt x="93" y="479"/>
                  <a:pt x="93" y="479"/>
                </a:cubicBezTo>
                <a:cubicBezTo>
                  <a:pt x="93" y="478"/>
                  <a:pt x="93" y="478"/>
                  <a:pt x="93" y="478"/>
                </a:cubicBezTo>
                <a:cubicBezTo>
                  <a:pt x="92" y="478"/>
                  <a:pt x="92" y="478"/>
                  <a:pt x="92" y="478"/>
                </a:cubicBezTo>
                <a:cubicBezTo>
                  <a:pt x="91" y="476"/>
                  <a:pt x="91" y="476"/>
                  <a:pt x="91" y="476"/>
                </a:cubicBezTo>
                <a:cubicBezTo>
                  <a:pt x="87" y="473"/>
                  <a:pt x="87" y="473"/>
                  <a:pt x="87" y="473"/>
                </a:cubicBezTo>
                <a:cubicBezTo>
                  <a:pt x="85" y="473"/>
                  <a:pt x="85" y="473"/>
                  <a:pt x="85" y="473"/>
                </a:cubicBezTo>
                <a:cubicBezTo>
                  <a:pt x="83" y="471"/>
                  <a:pt x="83" y="471"/>
                  <a:pt x="83" y="471"/>
                </a:cubicBezTo>
                <a:cubicBezTo>
                  <a:pt x="80" y="471"/>
                  <a:pt x="80" y="471"/>
                  <a:pt x="80" y="471"/>
                </a:cubicBezTo>
                <a:cubicBezTo>
                  <a:pt x="79" y="470"/>
                  <a:pt x="79" y="470"/>
                  <a:pt x="79" y="470"/>
                </a:cubicBezTo>
                <a:cubicBezTo>
                  <a:pt x="79" y="469"/>
                  <a:pt x="79" y="469"/>
                  <a:pt x="79" y="469"/>
                </a:cubicBezTo>
                <a:cubicBezTo>
                  <a:pt x="77" y="468"/>
                  <a:pt x="77" y="468"/>
                  <a:pt x="77" y="468"/>
                </a:cubicBezTo>
                <a:cubicBezTo>
                  <a:pt x="76" y="468"/>
                  <a:pt x="76" y="468"/>
                  <a:pt x="76" y="468"/>
                </a:cubicBezTo>
                <a:cubicBezTo>
                  <a:pt x="75" y="468"/>
                  <a:pt x="75" y="468"/>
                  <a:pt x="75" y="468"/>
                </a:cubicBezTo>
                <a:cubicBezTo>
                  <a:pt x="76" y="467"/>
                  <a:pt x="76" y="467"/>
                  <a:pt x="76" y="467"/>
                </a:cubicBezTo>
                <a:cubicBezTo>
                  <a:pt x="77" y="466"/>
                  <a:pt x="77" y="466"/>
                  <a:pt x="77" y="466"/>
                </a:cubicBezTo>
                <a:cubicBezTo>
                  <a:pt x="76" y="465"/>
                  <a:pt x="76" y="465"/>
                  <a:pt x="76" y="465"/>
                </a:cubicBezTo>
                <a:cubicBezTo>
                  <a:pt x="76" y="465"/>
                  <a:pt x="76" y="465"/>
                  <a:pt x="76" y="465"/>
                </a:cubicBezTo>
                <a:cubicBezTo>
                  <a:pt x="78" y="465"/>
                  <a:pt x="78" y="465"/>
                  <a:pt x="78" y="465"/>
                </a:cubicBezTo>
                <a:cubicBezTo>
                  <a:pt x="79" y="466"/>
                  <a:pt x="79" y="466"/>
                  <a:pt x="79" y="466"/>
                </a:cubicBezTo>
                <a:cubicBezTo>
                  <a:pt x="79" y="466"/>
                  <a:pt x="79" y="466"/>
                  <a:pt x="79" y="466"/>
                </a:cubicBezTo>
                <a:cubicBezTo>
                  <a:pt x="80" y="466"/>
                  <a:pt x="80" y="466"/>
                  <a:pt x="80" y="466"/>
                </a:cubicBezTo>
                <a:cubicBezTo>
                  <a:pt x="80" y="464"/>
                  <a:pt x="80" y="464"/>
                  <a:pt x="80" y="464"/>
                </a:cubicBezTo>
                <a:cubicBezTo>
                  <a:pt x="80" y="464"/>
                  <a:pt x="80" y="464"/>
                  <a:pt x="80" y="464"/>
                </a:cubicBezTo>
                <a:cubicBezTo>
                  <a:pt x="80" y="462"/>
                  <a:pt x="80" y="462"/>
                  <a:pt x="80" y="462"/>
                </a:cubicBezTo>
                <a:cubicBezTo>
                  <a:pt x="81" y="461"/>
                  <a:pt x="81" y="461"/>
                  <a:pt x="81" y="461"/>
                </a:cubicBezTo>
                <a:cubicBezTo>
                  <a:pt x="81" y="461"/>
                  <a:pt x="81" y="461"/>
                  <a:pt x="81" y="461"/>
                </a:cubicBezTo>
                <a:cubicBezTo>
                  <a:pt x="82" y="460"/>
                  <a:pt x="82" y="460"/>
                  <a:pt x="82" y="460"/>
                </a:cubicBezTo>
                <a:cubicBezTo>
                  <a:pt x="83" y="460"/>
                  <a:pt x="83" y="460"/>
                  <a:pt x="83" y="460"/>
                </a:cubicBezTo>
                <a:cubicBezTo>
                  <a:pt x="83" y="460"/>
                  <a:pt x="83" y="460"/>
                  <a:pt x="83" y="460"/>
                </a:cubicBezTo>
                <a:cubicBezTo>
                  <a:pt x="84" y="459"/>
                  <a:pt x="84" y="459"/>
                  <a:pt x="84" y="459"/>
                </a:cubicBezTo>
                <a:cubicBezTo>
                  <a:pt x="84" y="459"/>
                  <a:pt x="84" y="459"/>
                  <a:pt x="84" y="459"/>
                </a:cubicBezTo>
                <a:cubicBezTo>
                  <a:pt x="83" y="458"/>
                  <a:pt x="83" y="458"/>
                  <a:pt x="83" y="458"/>
                </a:cubicBezTo>
                <a:cubicBezTo>
                  <a:pt x="82" y="458"/>
                  <a:pt x="82" y="458"/>
                  <a:pt x="82" y="458"/>
                </a:cubicBezTo>
                <a:cubicBezTo>
                  <a:pt x="82" y="458"/>
                  <a:pt x="82" y="458"/>
                  <a:pt x="82" y="458"/>
                </a:cubicBezTo>
                <a:cubicBezTo>
                  <a:pt x="81" y="457"/>
                  <a:pt x="81" y="457"/>
                  <a:pt x="81" y="457"/>
                </a:cubicBezTo>
                <a:cubicBezTo>
                  <a:pt x="80" y="456"/>
                  <a:pt x="80" y="456"/>
                  <a:pt x="80" y="456"/>
                </a:cubicBezTo>
                <a:cubicBezTo>
                  <a:pt x="82" y="455"/>
                  <a:pt x="82" y="455"/>
                  <a:pt x="82" y="455"/>
                </a:cubicBezTo>
                <a:cubicBezTo>
                  <a:pt x="84" y="456"/>
                  <a:pt x="84" y="456"/>
                  <a:pt x="84" y="456"/>
                </a:cubicBezTo>
                <a:cubicBezTo>
                  <a:pt x="84" y="455"/>
                  <a:pt x="84" y="455"/>
                  <a:pt x="84" y="455"/>
                </a:cubicBezTo>
                <a:cubicBezTo>
                  <a:pt x="84" y="455"/>
                  <a:pt x="84" y="455"/>
                  <a:pt x="84" y="455"/>
                </a:cubicBezTo>
                <a:cubicBezTo>
                  <a:pt x="83" y="454"/>
                  <a:pt x="83" y="454"/>
                  <a:pt x="83" y="454"/>
                </a:cubicBezTo>
                <a:cubicBezTo>
                  <a:pt x="84" y="453"/>
                  <a:pt x="84" y="453"/>
                  <a:pt x="84" y="453"/>
                </a:cubicBezTo>
                <a:cubicBezTo>
                  <a:pt x="88" y="451"/>
                  <a:pt x="88" y="451"/>
                  <a:pt x="88" y="451"/>
                </a:cubicBezTo>
                <a:cubicBezTo>
                  <a:pt x="88" y="450"/>
                  <a:pt x="88" y="450"/>
                  <a:pt x="88" y="450"/>
                </a:cubicBezTo>
                <a:cubicBezTo>
                  <a:pt x="88" y="450"/>
                  <a:pt x="88" y="450"/>
                  <a:pt x="88" y="450"/>
                </a:cubicBezTo>
                <a:cubicBezTo>
                  <a:pt x="86" y="450"/>
                  <a:pt x="86" y="450"/>
                  <a:pt x="86" y="450"/>
                </a:cubicBezTo>
                <a:cubicBezTo>
                  <a:pt x="84" y="451"/>
                  <a:pt x="84" y="451"/>
                  <a:pt x="84" y="451"/>
                </a:cubicBezTo>
                <a:cubicBezTo>
                  <a:pt x="83" y="451"/>
                  <a:pt x="83" y="451"/>
                  <a:pt x="83" y="451"/>
                </a:cubicBezTo>
                <a:cubicBezTo>
                  <a:pt x="83" y="451"/>
                  <a:pt x="83" y="451"/>
                  <a:pt x="83" y="451"/>
                </a:cubicBezTo>
                <a:cubicBezTo>
                  <a:pt x="83" y="451"/>
                  <a:pt x="83" y="451"/>
                  <a:pt x="83" y="451"/>
                </a:cubicBezTo>
                <a:cubicBezTo>
                  <a:pt x="83" y="448"/>
                  <a:pt x="83" y="448"/>
                  <a:pt x="83" y="448"/>
                </a:cubicBezTo>
                <a:cubicBezTo>
                  <a:pt x="84" y="448"/>
                  <a:pt x="84" y="448"/>
                  <a:pt x="84" y="448"/>
                </a:cubicBezTo>
                <a:cubicBezTo>
                  <a:pt x="85" y="445"/>
                  <a:pt x="85" y="445"/>
                  <a:pt x="85" y="445"/>
                </a:cubicBezTo>
                <a:cubicBezTo>
                  <a:pt x="88" y="445"/>
                  <a:pt x="88" y="445"/>
                  <a:pt x="88" y="445"/>
                </a:cubicBezTo>
                <a:cubicBezTo>
                  <a:pt x="90" y="444"/>
                  <a:pt x="90" y="444"/>
                  <a:pt x="90" y="444"/>
                </a:cubicBezTo>
                <a:cubicBezTo>
                  <a:pt x="89" y="443"/>
                  <a:pt x="89" y="443"/>
                  <a:pt x="89" y="443"/>
                </a:cubicBezTo>
                <a:cubicBezTo>
                  <a:pt x="90" y="440"/>
                  <a:pt x="90" y="440"/>
                  <a:pt x="90" y="440"/>
                </a:cubicBezTo>
                <a:cubicBezTo>
                  <a:pt x="90" y="439"/>
                  <a:pt x="90" y="439"/>
                  <a:pt x="90" y="439"/>
                </a:cubicBezTo>
                <a:cubicBezTo>
                  <a:pt x="88" y="437"/>
                  <a:pt x="88" y="437"/>
                  <a:pt x="88" y="437"/>
                </a:cubicBezTo>
                <a:cubicBezTo>
                  <a:pt x="88" y="435"/>
                  <a:pt x="88" y="435"/>
                  <a:pt x="88" y="435"/>
                </a:cubicBezTo>
                <a:cubicBezTo>
                  <a:pt x="90" y="434"/>
                  <a:pt x="90" y="434"/>
                  <a:pt x="90" y="434"/>
                </a:cubicBezTo>
                <a:cubicBezTo>
                  <a:pt x="91" y="433"/>
                  <a:pt x="91" y="433"/>
                  <a:pt x="91" y="433"/>
                </a:cubicBezTo>
                <a:cubicBezTo>
                  <a:pt x="91" y="431"/>
                  <a:pt x="91" y="431"/>
                  <a:pt x="91" y="431"/>
                </a:cubicBezTo>
                <a:cubicBezTo>
                  <a:pt x="90" y="431"/>
                  <a:pt x="90" y="431"/>
                  <a:pt x="90" y="431"/>
                </a:cubicBezTo>
                <a:cubicBezTo>
                  <a:pt x="89" y="429"/>
                  <a:pt x="89" y="429"/>
                  <a:pt x="89" y="429"/>
                </a:cubicBezTo>
                <a:cubicBezTo>
                  <a:pt x="88" y="430"/>
                  <a:pt x="88" y="430"/>
                  <a:pt x="88" y="430"/>
                </a:cubicBezTo>
                <a:cubicBezTo>
                  <a:pt x="87" y="430"/>
                  <a:pt x="87" y="430"/>
                  <a:pt x="87" y="430"/>
                </a:cubicBezTo>
                <a:cubicBezTo>
                  <a:pt x="85" y="429"/>
                  <a:pt x="85" y="429"/>
                  <a:pt x="85" y="429"/>
                </a:cubicBezTo>
                <a:cubicBezTo>
                  <a:pt x="84" y="429"/>
                  <a:pt x="84" y="429"/>
                  <a:pt x="84" y="429"/>
                </a:cubicBezTo>
                <a:cubicBezTo>
                  <a:pt x="82" y="428"/>
                  <a:pt x="82" y="428"/>
                  <a:pt x="82" y="428"/>
                </a:cubicBezTo>
                <a:cubicBezTo>
                  <a:pt x="81" y="428"/>
                  <a:pt x="81" y="428"/>
                  <a:pt x="81" y="428"/>
                </a:cubicBezTo>
                <a:cubicBezTo>
                  <a:pt x="78" y="428"/>
                  <a:pt x="78" y="428"/>
                  <a:pt x="78" y="428"/>
                </a:cubicBezTo>
                <a:cubicBezTo>
                  <a:pt x="78" y="429"/>
                  <a:pt x="78" y="429"/>
                  <a:pt x="78" y="429"/>
                </a:cubicBezTo>
                <a:cubicBezTo>
                  <a:pt x="77" y="428"/>
                  <a:pt x="77" y="428"/>
                  <a:pt x="77" y="428"/>
                </a:cubicBezTo>
                <a:cubicBezTo>
                  <a:pt x="75" y="426"/>
                  <a:pt x="75" y="426"/>
                  <a:pt x="75" y="426"/>
                </a:cubicBezTo>
                <a:cubicBezTo>
                  <a:pt x="74" y="423"/>
                  <a:pt x="74" y="423"/>
                  <a:pt x="74" y="423"/>
                </a:cubicBezTo>
                <a:cubicBezTo>
                  <a:pt x="73" y="423"/>
                  <a:pt x="73" y="423"/>
                  <a:pt x="73" y="423"/>
                </a:cubicBezTo>
                <a:cubicBezTo>
                  <a:pt x="71" y="425"/>
                  <a:pt x="71" y="425"/>
                  <a:pt x="71" y="425"/>
                </a:cubicBezTo>
                <a:cubicBezTo>
                  <a:pt x="69" y="425"/>
                  <a:pt x="69" y="425"/>
                  <a:pt x="69" y="425"/>
                </a:cubicBezTo>
                <a:cubicBezTo>
                  <a:pt x="68" y="425"/>
                  <a:pt x="68" y="425"/>
                  <a:pt x="68" y="425"/>
                </a:cubicBezTo>
                <a:cubicBezTo>
                  <a:pt x="66" y="424"/>
                  <a:pt x="66" y="424"/>
                  <a:pt x="66" y="424"/>
                </a:cubicBezTo>
                <a:cubicBezTo>
                  <a:pt x="65" y="425"/>
                  <a:pt x="65" y="425"/>
                  <a:pt x="65" y="425"/>
                </a:cubicBezTo>
                <a:cubicBezTo>
                  <a:pt x="62" y="423"/>
                  <a:pt x="62" y="423"/>
                  <a:pt x="62" y="423"/>
                </a:cubicBezTo>
                <a:cubicBezTo>
                  <a:pt x="61" y="421"/>
                  <a:pt x="61" y="421"/>
                  <a:pt x="61" y="421"/>
                </a:cubicBezTo>
                <a:cubicBezTo>
                  <a:pt x="61" y="419"/>
                  <a:pt x="61" y="419"/>
                  <a:pt x="61" y="419"/>
                </a:cubicBezTo>
                <a:cubicBezTo>
                  <a:pt x="60" y="419"/>
                  <a:pt x="60" y="419"/>
                  <a:pt x="60" y="419"/>
                </a:cubicBezTo>
                <a:cubicBezTo>
                  <a:pt x="60" y="417"/>
                  <a:pt x="60" y="417"/>
                  <a:pt x="60" y="417"/>
                </a:cubicBezTo>
                <a:cubicBezTo>
                  <a:pt x="59" y="416"/>
                  <a:pt x="59" y="416"/>
                  <a:pt x="59" y="416"/>
                </a:cubicBezTo>
                <a:cubicBezTo>
                  <a:pt x="55" y="417"/>
                  <a:pt x="55" y="417"/>
                  <a:pt x="55" y="417"/>
                </a:cubicBezTo>
                <a:cubicBezTo>
                  <a:pt x="53" y="415"/>
                  <a:pt x="53" y="415"/>
                  <a:pt x="53" y="415"/>
                </a:cubicBezTo>
                <a:cubicBezTo>
                  <a:pt x="54" y="413"/>
                  <a:pt x="54" y="413"/>
                  <a:pt x="54" y="413"/>
                </a:cubicBezTo>
                <a:cubicBezTo>
                  <a:pt x="53" y="412"/>
                  <a:pt x="53" y="412"/>
                  <a:pt x="53" y="412"/>
                </a:cubicBezTo>
                <a:cubicBezTo>
                  <a:pt x="52" y="409"/>
                  <a:pt x="52" y="409"/>
                  <a:pt x="52" y="409"/>
                </a:cubicBezTo>
                <a:cubicBezTo>
                  <a:pt x="50" y="409"/>
                  <a:pt x="50" y="409"/>
                  <a:pt x="50" y="409"/>
                </a:cubicBezTo>
                <a:cubicBezTo>
                  <a:pt x="49" y="410"/>
                  <a:pt x="49" y="410"/>
                  <a:pt x="49" y="410"/>
                </a:cubicBezTo>
                <a:cubicBezTo>
                  <a:pt x="46" y="410"/>
                  <a:pt x="46" y="410"/>
                  <a:pt x="46" y="410"/>
                </a:cubicBezTo>
                <a:cubicBezTo>
                  <a:pt x="43" y="409"/>
                  <a:pt x="43" y="409"/>
                  <a:pt x="43" y="409"/>
                </a:cubicBezTo>
                <a:cubicBezTo>
                  <a:pt x="42" y="410"/>
                  <a:pt x="42" y="410"/>
                  <a:pt x="42" y="410"/>
                </a:cubicBezTo>
                <a:cubicBezTo>
                  <a:pt x="42" y="411"/>
                  <a:pt x="42" y="411"/>
                  <a:pt x="42" y="411"/>
                </a:cubicBezTo>
                <a:cubicBezTo>
                  <a:pt x="40" y="411"/>
                  <a:pt x="40" y="411"/>
                  <a:pt x="40" y="411"/>
                </a:cubicBezTo>
                <a:cubicBezTo>
                  <a:pt x="39" y="411"/>
                  <a:pt x="39" y="411"/>
                  <a:pt x="39" y="411"/>
                </a:cubicBezTo>
                <a:cubicBezTo>
                  <a:pt x="39" y="410"/>
                  <a:pt x="39" y="410"/>
                  <a:pt x="39" y="410"/>
                </a:cubicBezTo>
                <a:cubicBezTo>
                  <a:pt x="38" y="408"/>
                  <a:pt x="38" y="408"/>
                  <a:pt x="38" y="408"/>
                </a:cubicBezTo>
                <a:cubicBezTo>
                  <a:pt x="38" y="406"/>
                  <a:pt x="38" y="406"/>
                  <a:pt x="38" y="406"/>
                </a:cubicBezTo>
                <a:cubicBezTo>
                  <a:pt x="37" y="404"/>
                  <a:pt x="37" y="404"/>
                  <a:pt x="37" y="404"/>
                </a:cubicBezTo>
                <a:cubicBezTo>
                  <a:pt x="37" y="403"/>
                  <a:pt x="37" y="403"/>
                  <a:pt x="37" y="403"/>
                </a:cubicBezTo>
                <a:cubicBezTo>
                  <a:pt x="37" y="402"/>
                  <a:pt x="37" y="402"/>
                  <a:pt x="37" y="402"/>
                </a:cubicBezTo>
                <a:cubicBezTo>
                  <a:pt x="39" y="403"/>
                  <a:pt x="39" y="403"/>
                  <a:pt x="39" y="403"/>
                </a:cubicBezTo>
                <a:cubicBezTo>
                  <a:pt x="42" y="403"/>
                  <a:pt x="42" y="403"/>
                  <a:pt x="42" y="403"/>
                </a:cubicBezTo>
                <a:cubicBezTo>
                  <a:pt x="43" y="400"/>
                  <a:pt x="43" y="400"/>
                  <a:pt x="43" y="400"/>
                </a:cubicBezTo>
                <a:cubicBezTo>
                  <a:pt x="44" y="400"/>
                  <a:pt x="44" y="400"/>
                  <a:pt x="44" y="400"/>
                </a:cubicBezTo>
                <a:cubicBezTo>
                  <a:pt x="42" y="399"/>
                  <a:pt x="42" y="399"/>
                  <a:pt x="42" y="399"/>
                </a:cubicBezTo>
                <a:cubicBezTo>
                  <a:pt x="42" y="398"/>
                  <a:pt x="42" y="398"/>
                  <a:pt x="42" y="398"/>
                </a:cubicBezTo>
                <a:cubicBezTo>
                  <a:pt x="40" y="396"/>
                  <a:pt x="40" y="396"/>
                  <a:pt x="40" y="396"/>
                </a:cubicBezTo>
                <a:cubicBezTo>
                  <a:pt x="38" y="395"/>
                  <a:pt x="38" y="395"/>
                  <a:pt x="38" y="395"/>
                </a:cubicBezTo>
                <a:cubicBezTo>
                  <a:pt x="37" y="393"/>
                  <a:pt x="37" y="393"/>
                  <a:pt x="37" y="393"/>
                </a:cubicBezTo>
                <a:cubicBezTo>
                  <a:pt x="36" y="392"/>
                  <a:pt x="36" y="392"/>
                  <a:pt x="36" y="392"/>
                </a:cubicBezTo>
                <a:cubicBezTo>
                  <a:pt x="34" y="390"/>
                  <a:pt x="34" y="390"/>
                  <a:pt x="34" y="390"/>
                </a:cubicBezTo>
                <a:cubicBezTo>
                  <a:pt x="33" y="388"/>
                  <a:pt x="33" y="388"/>
                  <a:pt x="33" y="388"/>
                </a:cubicBezTo>
                <a:cubicBezTo>
                  <a:pt x="32" y="386"/>
                  <a:pt x="32" y="386"/>
                  <a:pt x="32" y="386"/>
                </a:cubicBezTo>
                <a:cubicBezTo>
                  <a:pt x="32" y="385"/>
                  <a:pt x="32" y="385"/>
                  <a:pt x="32" y="385"/>
                </a:cubicBezTo>
                <a:cubicBezTo>
                  <a:pt x="31" y="383"/>
                  <a:pt x="31" y="383"/>
                  <a:pt x="31" y="383"/>
                </a:cubicBezTo>
                <a:cubicBezTo>
                  <a:pt x="31" y="382"/>
                  <a:pt x="31" y="382"/>
                  <a:pt x="31" y="382"/>
                </a:cubicBezTo>
                <a:cubicBezTo>
                  <a:pt x="31" y="380"/>
                  <a:pt x="31" y="380"/>
                  <a:pt x="31" y="380"/>
                </a:cubicBezTo>
                <a:cubicBezTo>
                  <a:pt x="28" y="379"/>
                  <a:pt x="28" y="379"/>
                  <a:pt x="28" y="379"/>
                </a:cubicBezTo>
                <a:cubicBezTo>
                  <a:pt x="27" y="379"/>
                  <a:pt x="27" y="379"/>
                  <a:pt x="27" y="379"/>
                </a:cubicBezTo>
                <a:cubicBezTo>
                  <a:pt x="27" y="378"/>
                  <a:pt x="27" y="378"/>
                  <a:pt x="27" y="378"/>
                </a:cubicBezTo>
                <a:cubicBezTo>
                  <a:pt x="25" y="379"/>
                  <a:pt x="25" y="379"/>
                  <a:pt x="25" y="379"/>
                </a:cubicBezTo>
                <a:cubicBezTo>
                  <a:pt x="23" y="380"/>
                  <a:pt x="23" y="380"/>
                  <a:pt x="23" y="380"/>
                </a:cubicBezTo>
                <a:cubicBezTo>
                  <a:pt x="22" y="378"/>
                  <a:pt x="22" y="378"/>
                  <a:pt x="22" y="378"/>
                </a:cubicBezTo>
                <a:cubicBezTo>
                  <a:pt x="21" y="378"/>
                  <a:pt x="21" y="378"/>
                  <a:pt x="21" y="378"/>
                </a:cubicBezTo>
                <a:cubicBezTo>
                  <a:pt x="19" y="379"/>
                  <a:pt x="19" y="379"/>
                  <a:pt x="19" y="379"/>
                </a:cubicBezTo>
                <a:cubicBezTo>
                  <a:pt x="18" y="377"/>
                  <a:pt x="18" y="377"/>
                  <a:pt x="18" y="377"/>
                </a:cubicBezTo>
                <a:cubicBezTo>
                  <a:pt x="16" y="377"/>
                  <a:pt x="16" y="377"/>
                  <a:pt x="16" y="377"/>
                </a:cubicBezTo>
                <a:cubicBezTo>
                  <a:pt x="15" y="377"/>
                  <a:pt x="15" y="377"/>
                  <a:pt x="15" y="377"/>
                </a:cubicBezTo>
                <a:cubicBezTo>
                  <a:pt x="15" y="377"/>
                  <a:pt x="15" y="377"/>
                  <a:pt x="15" y="377"/>
                </a:cubicBezTo>
                <a:cubicBezTo>
                  <a:pt x="15" y="375"/>
                  <a:pt x="15" y="375"/>
                  <a:pt x="15" y="375"/>
                </a:cubicBezTo>
                <a:cubicBezTo>
                  <a:pt x="14" y="374"/>
                  <a:pt x="14" y="374"/>
                  <a:pt x="14" y="374"/>
                </a:cubicBezTo>
                <a:cubicBezTo>
                  <a:pt x="13" y="372"/>
                  <a:pt x="13" y="372"/>
                  <a:pt x="13" y="372"/>
                </a:cubicBezTo>
                <a:cubicBezTo>
                  <a:pt x="13" y="371"/>
                  <a:pt x="13" y="371"/>
                  <a:pt x="13" y="371"/>
                </a:cubicBezTo>
                <a:cubicBezTo>
                  <a:pt x="12" y="370"/>
                  <a:pt x="12" y="370"/>
                  <a:pt x="12" y="370"/>
                </a:cubicBezTo>
                <a:cubicBezTo>
                  <a:pt x="12" y="369"/>
                  <a:pt x="12" y="369"/>
                  <a:pt x="12" y="369"/>
                </a:cubicBezTo>
                <a:cubicBezTo>
                  <a:pt x="12" y="368"/>
                  <a:pt x="12" y="368"/>
                  <a:pt x="12" y="368"/>
                </a:cubicBezTo>
                <a:cubicBezTo>
                  <a:pt x="11" y="368"/>
                  <a:pt x="11" y="368"/>
                  <a:pt x="11" y="368"/>
                </a:cubicBezTo>
                <a:cubicBezTo>
                  <a:pt x="11" y="367"/>
                  <a:pt x="11" y="367"/>
                  <a:pt x="11" y="367"/>
                </a:cubicBezTo>
                <a:cubicBezTo>
                  <a:pt x="11" y="366"/>
                  <a:pt x="11" y="366"/>
                  <a:pt x="11" y="366"/>
                </a:cubicBezTo>
                <a:cubicBezTo>
                  <a:pt x="10" y="366"/>
                  <a:pt x="10" y="366"/>
                  <a:pt x="10" y="366"/>
                </a:cubicBezTo>
                <a:cubicBezTo>
                  <a:pt x="11" y="364"/>
                  <a:pt x="11" y="364"/>
                  <a:pt x="11" y="364"/>
                </a:cubicBezTo>
                <a:cubicBezTo>
                  <a:pt x="11" y="363"/>
                  <a:pt x="11" y="363"/>
                  <a:pt x="11" y="363"/>
                </a:cubicBezTo>
                <a:cubicBezTo>
                  <a:pt x="12" y="362"/>
                  <a:pt x="12" y="362"/>
                  <a:pt x="12" y="362"/>
                </a:cubicBezTo>
                <a:cubicBezTo>
                  <a:pt x="12" y="361"/>
                  <a:pt x="12" y="361"/>
                  <a:pt x="12" y="361"/>
                </a:cubicBezTo>
                <a:cubicBezTo>
                  <a:pt x="9" y="356"/>
                  <a:pt x="9" y="356"/>
                  <a:pt x="9" y="356"/>
                </a:cubicBezTo>
                <a:cubicBezTo>
                  <a:pt x="9" y="351"/>
                  <a:pt x="9" y="351"/>
                  <a:pt x="9" y="351"/>
                </a:cubicBezTo>
                <a:cubicBezTo>
                  <a:pt x="10" y="351"/>
                  <a:pt x="10" y="351"/>
                  <a:pt x="10" y="351"/>
                </a:cubicBezTo>
                <a:cubicBezTo>
                  <a:pt x="10" y="349"/>
                  <a:pt x="10" y="349"/>
                  <a:pt x="10" y="349"/>
                </a:cubicBezTo>
                <a:cubicBezTo>
                  <a:pt x="11" y="347"/>
                  <a:pt x="11" y="347"/>
                  <a:pt x="11" y="347"/>
                </a:cubicBezTo>
                <a:cubicBezTo>
                  <a:pt x="12" y="347"/>
                  <a:pt x="12" y="347"/>
                  <a:pt x="12" y="347"/>
                </a:cubicBezTo>
                <a:cubicBezTo>
                  <a:pt x="12" y="347"/>
                  <a:pt x="12" y="347"/>
                  <a:pt x="12" y="347"/>
                </a:cubicBezTo>
                <a:cubicBezTo>
                  <a:pt x="11" y="346"/>
                  <a:pt x="11" y="346"/>
                  <a:pt x="11" y="346"/>
                </a:cubicBezTo>
                <a:cubicBezTo>
                  <a:pt x="11" y="346"/>
                  <a:pt x="11" y="346"/>
                  <a:pt x="11" y="346"/>
                </a:cubicBezTo>
                <a:cubicBezTo>
                  <a:pt x="11" y="344"/>
                  <a:pt x="11" y="344"/>
                  <a:pt x="11" y="344"/>
                </a:cubicBezTo>
                <a:cubicBezTo>
                  <a:pt x="11" y="343"/>
                  <a:pt x="11" y="343"/>
                  <a:pt x="11" y="343"/>
                </a:cubicBezTo>
                <a:cubicBezTo>
                  <a:pt x="11" y="343"/>
                  <a:pt x="11" y="343"/>
                  <a:pt x="11" y="343"/>
                </a:cubicBezTo>
                <a:cubicBezTo>
                  <a:pt x="11" y="343"/>
                  <a:pt x="11" y="343"/>
                  <a:pt x="11" y="343"/>
                </a:cubicBezTo>
                <a:cubicBezTo>
                  <a:pt x="12" y="344"/>
                  <a:pt x="12" y="344"/>
                  <a:pt x="12" y="344"/>
                </a:cubicBezTo>
                <a:cubicBezTo>
                  <a:pt x="13" y="343"/>
                  <a:pt x="13" y="343"/>
                  <a:pt x="13" y="343"/>
                </a:cubicBezTo>
                <a:cubicBezTo>
                  <a:pt x="13" y="342"/>
                  <a:pt x="13" y="342"/>
                  <a:pt x="13" y="342"/>
                </a:cubicBezTo>
                <a:cubicBezTo>
                  <a:pt x="14" y="341"/>
                  <a:pt x="14" y="341"/>
                  <a:pt x="14" y="341"/>
                </a:cubicBezTo>
                <a:cubicBezTo>
                  <a:pt x="15" y="342"/>
                  <a:pt x="15" y="342"/>
                  <a:pt x="15" y="342"/>
                </a:cubicBezTo>
                <a:cubicBezTo>
                  <a:pt x="16" y="341"/>
                  <a:pt x="16" y="341"/>
                  <a:pt x="16" y="341"/>
                </a:cubicBezTo>
                <a:cubicBezTo>
                  <a:pt x="17" y="340"/>
                  <a:pt x="17" y="340"/>
                  <a:pt x="17" y="340"/>
                </a:cubicBezTo>
                <a:cubicBezTo>
                  <a:pt x="17" y="340"/>
                  <a:pt x="17" y="340"/>
                  <a:pt x="17" y="340"/>
                </a:cubicBezTo>
                <a:cubicBezTo>
                  <a:pt x="19" y="340"/>
                  <a:pt x="19" y="340"/>
                  <a:pt x="19" y="340"/>
                </a:cubicBezTo>
                <a:cubicBezTo>
                  <a:pt x="20" y="339"/>
                  <a:pt x="20" y="339"/>
                  <a:pt x="20" y="339"/>
                </a:cubicBezTo>
                <a:cubicBezTo>
                  <a:pt x="19" y="338"/>
                  <a:pt x="19" y="338"/>
                  <a:pt x="19" y="338"/>
                </a:cubicBezTo>
                <a:cubicBezTo>
                  <a:pt x="18" y="338"/>
                  <a:pt x="18" y="338"/>
                  <a:pt x="18" y="338"/>
                </a:cubicBezTo>
                <a:cubicBezTo>
                  <a:pt x="17" y="338"/>
                  <a:pt x="17" y="338"/>
                  <a:pt x="17" y="338"/>
                </a:cubicBezTo>
                <a:cubicBezTo>
                  <a:pt x="16" y="338"/>
                  <a:pt x="16" y="338"/>
                  <a:pt x="16" y="338"/>
                </a:cubicBezTo>
                <a:cubicBezTo>
                  <a:pt x="15" y="337"/>
                  <a:pt x="15" y="337"/>
                  <a:pt x="15" y="337"/>
                </a:cubicBezTo>
                <a:cubicBezTo>
                  <a:pt x="14" y="337"/>
                  <a:pt x="14" y="337"/>
                  <a:pt x="14" y="337"/>
                </a:cubicBezTo>
                <a:cubicBezTo>
                  <a:pt x="12" y="335"/>
                  <a:pt x="12" y="335"/>
                  <a:pt x="12" y="335"/>
                </a:cubicBezTo>
                <a:cubicBezTo>
                  <a:pt x="12" y="334"/>
                  <a:pt x="12" y="334"/>
                  <a:pt x="12" y="334"/>
                </a:cubicBezTo>
                <a:cubicBezTo>
                  <a:pt x="14" y="335"/>
                  <a:pt x="14" y="335"/>
                  <a:pt x="14" y="335"/>
                </a:cubicBezTo>
                <a:cubicBezTo>
                  <a:pt x="14" y="334"/>
                  <a:pt x="14" y="334"/>
                  <a:pt x="14" y="334"/>
                </a:cubicBezTo>
                <a:cubicBezTo>
                  <a:pt x="13" y="334"/>
                  <a:pt x="13" y="334"/>
                  <a:pt x="13" y="334"/>
                </a:cubicBezTo>
                <a:cubicBezTo>
                  <a:pt x="14" y="333"/>
                  <a:pt x="14" y="333"/>
                  <a:pt x="14" y="333"/>
                </a:cubicBezTo>
                <a:cubicBezTo>
                  <a:pt x="13" y="333"/>
                  <a:pt x="13" y="333"/>
                  <a:pt x="13" y="333"/>
                </a:cubicBezTo>
                <a:cubicBezTo>
                  <a:pt x="13" y="333"/>
                  <a:pt x="11" y="334"/>
                  <a:pt x="11" y="334"/>
                </a:cubicBezTo>
                <a:cubicBezTo>
                  <a:pt x="11" y="334"/>
                  <a:pt x="11" y="334"/>
                  <a:pt x="11" y="334"/>
                </a:cubicBezTo>
                <a:cubicBezTo>
                  <a:pt x="11" y="334"/>
                  <a:pt x="11" y="334"/>
                  <a:pt x="11" y="334"/>
                </a:cubicBezTo>
                <a:cubicBezTo>
                  <a:pt x="11" y="333"/>
                  <a:pt x="11" y="333"/>
                  <a:pt x="11" y="333"/>
                </a:cubicBezTo>
                <a:cubicBezTo>
                  <a:pt x="14" y="330"/>
                  <a:pt x="14" y="330"/>
                  <a:pt x="14" y="330"/>
                </a:cubicBezTo>
                <a:cubicBezTo>
                  <a:pt x="15" y="329"/>
                  <a:pt x="15" y="329"/>
                  <a:pt x="15" y="329"/>
                </a:cubicBezTo>
                <a:cubicBezTo>
                  <a:pt x="17" y="326"/>
                  <a:pt x="17" y="326"/>
                  <a:pt x="17" y="326"/>
                </a:cubicBezTo>
                <a:cubicBezTo>
                  <a:pt x="18" y="323"/>
                  <a:pt x="18" y="323"/>
                  <a:pt x="18" y="323"/>
                </a:cubicBezTo>
                <a:cubicBezTo>
                  <a:pt x="20" y="320"/>
                  <a:pt x="20" y="320"/>
                  <a:pt x="20" y="320"/>
                </a:cubicBezTo>
                <a:cubicBezTo>
                  <a:pt x="22" y="316"/>
                  <a:pt x="22" y="316"/>
                  <a:pt x="22" y="316"/>
                </a:cubicBezTo>
                <a:cubicBezTo>
                  <a:pt x="24" y="312"/>
                  <a:pt x="24" y="312"/>
                  <a:pt x="24" y="312"/>
                </a:cubicBezTo>
                <a:cubicBezTo>
                  <a:pt x="24" y="310"/>
                  <a:pt x="24" y="310"/>
                  <a:pt x="24" y="310"/>
                </a:cubicBezTo>
                <a:cubicBezTo>
                  <a:pt x="21" y="307"/>
                  <a:pt x="21" y="307"/>
                  <a:pt x="21" y="307"/>
                </a:cubicBezTo>
                <a:cubicBezTo>
                  <a:pt x="19" y="306"/>
                  <a:pt x="19" y="306"/>
                  <a:pt x="19" y="306"/>
                </a:cubicBezTo>
                <a:cubicBezTo>
                  <a:pt x="16" y="302"/>
                  <a:pt x="16" y="302"/>
                  <a:pt x="16" y="302"/>
                </a:cubicBezTo>
                <a:cubicBezTo>
                  <a:pt x="17" y="300"/>
                  <a:pt x="17" y="300"/>
                  <a:pt x="17" y="300"/>
                </a:cubicBezTo>
                <a:cubicBezTo>
                  <a:pt x="18" y="298"/>
                  <a:pt x="18" y="298"/>
                  <a:pt x="18" y="298"/>
                </a:cubicBezTo>
                <a:cubicBezTo>
                  <a:pt x="18" y="297"/>
                  <a:pt x="18" y="297"/>
                  <a:pt x="18" y="297"/>
                </a:cubicBezTo>
                <a:cubicBezTo>
                  <a:pt x="16" y="295"/>
                  <a:pt x="16" y="295"/>
                  <a:pt x="16" y="295"/>
                </a:cubicBezTo>
                <a:cubicBezTo>
                  <a:pt x="15" y="294"/>
                  <a:pt x="15" y="294"/>
                  <a:pt x="15" y="294"/>
                </a:cubicBezTo>
                <a:cubicBezTo>
                  <a:pt x="15" y="292"/>
                  <a:pt x="15" y="292"/>
                  <a:pt x="15" y="292"/>
                </a:cubicBezTo>
                <a:cubicBezTo>
                  <a:pt x="16" y="291"/>
                  <a:pt x="16" y="291"/>
                  <a:pt x="16" y="291"/>
                </a:cubicBezTo>
                <a:cubicBezTo>
                  <a:pt x="15" y="290"/>
                  <a:pt x="15" y="290"/>
                  <a:pt x="15" y="290"/>
                </a:cubicBezTo>
                <a:cubicBezTo>
                  <a:pt x="14" y="289"/>
                  <a:pt x="14" y="289"/>
                  <a:pt x="14" y="289"/>
                </a:cubicBezTo>
                <a:cubicBezTo>
                  <a:pt x="13" y="288"/>
                  <a:pt x="13" y="288"/>
                  <a:pt x="13" y="288"/>
                </a:cubicBezTo>
                <a:cubicBezTo>
                  <a:pt x="13" y="286"/>
                  <a:pt x="13" y="286"/>
                  <a:pt x="13" y="286"/>
                </a:cubicBezTo>
                <a:cubicBezTo>
                  <a:pt x="14" y="285"/>
                  <a:pt x="14" y="285"/>
                  <a:pt x="14" y="285"/>
                </a:cubicBezTo>
                <a:cubicBezTo>
                  <a:pt x="13" y="285"/>
                  <a:pt x="13" y="285"/>
                  <a:pt x="13" y="285"/>
                </a:cubicBezTo>
                <a:cubicBezTo>
                  <a:pt x="13" y="284"/>
                  <a:pt x="13" y="284"/>
                  <a:pt x="13" y="284"/>
                </a:cubicBezTo>
                <a:cubicBezTo>
                  <a:pt x="13" y="280"/>
                  <a:pt x="13" y="280"/>
                  <a:pt x="13" y="280"/>
                </a:cubicBezTo>
                <a:cubicBezTo>
                  <a:pt x="14" y="279"/>
                  <a:pt x="14" y="279"/>
                  <a:pt x="14" y="279"/>
                </a:cubicBezTo>
                <a:cubicBezTo>
                  <a:pt x="11" y="273"/>
                  <a:pt x="11" y="273"/>
                  <a:pt x="11" y="273"/>
                </a:cubicBezTo>
                <a:cubicBezTo>
                  <a:pt x="9" y="268"/>
                  <a:pt x="9" y="268"/>
                  <a:pt x="9" y="268"/>
                </a:cubicBezTo>
                <a:cubicBezTo>
                  <a:pt x="8" y="266"/>
                  <a:pt x="8" y="266"/>
                  <a:pt x="8" y="266"/>
                </a:cubicBezTo>
                <a:cubicBezTo>
                  <a:pt x="7" y="265"/>
                  <a:pt x="7" y="265"/>
                  <a:pt x="7" y="265"/>
                </a:cubicBezTo>
                <a:cubicBezTo>
                  <a:pt x="8" y="262"/>
                  <a:pt x="8" y="262"/>
                  <a:pt x="8" y="262"/>
                </a:cubicBezTo>
                <a:cubicBezTo>
                  <a:pt x="9" y="260"/>
                  <a:pt x="9" y="260"/>
                  <a:pt x="9" y="260"/>
                </a:cubicBezTo>
                <a:cubicBezTo>
                  <a:pt x="9" y="258"/>
                  <a:pt x="9" y="258"/>
                  <a:pt x="9" y="258"/>
                </a:cubicBezTo>
                <a:cubicBezTo>
                  <a:pt x="9" y="257"/>
                  <a:pt x="9" y="257"/>
                  <a:pt x="9" y="257"/>
                </a:cubicBezTo>
                <a:cubicBezTo>
                  <a:pt x="6" y="255"/>
                  <a:pt x="6" y="255"/>
                  <a:pt x="6" y="255"/>
                </a:cubicBezTo>
                <a:cubicBezTo>
                  <a:pt x="5" y="254"/>
                  <a:pt x="5" y="254"/>
                  <a:pt x="5" y="254"/>
                </a:cubicBezTo>
                <a:cubicBezTo>
                  <a:pt x="4" y="253"/>
                  <a:pt x="4" y="253"/>
                  <a:pt x="4" y="253"/>
                </a:cubicBezTo>
                <a:cubicBezTo>
                  <a:pt x="3" y="252"/>
                  <a:pt x="3" y="252"/>
                  <a:pt x="3" y="252"/>
                </a:cubicBezTo>
                <a:cubicBezTo>
                  <a:pt x="2" y="252"/>
                  <a:pt x="2" y="252"/>
                  <a:pt x="2" y="252"/>
                </a:cubicBezTo>
                <a:cubicBezTo>
                  <a:pt x="1" y="249"/>
                  <a:pt x="1" y="249"/>
                  <a:pt x="1" y="249"/>
                </a:cubicBezTo>
                <a:cubicBezTo>
                  <a:pt x="0" y="248"/>
                  <a:pt x="0" y="248"/>
                  <a:pt x="0" y="248"/>
                </a:cubicBezTo>
                <a:cubicBezTo>
                  <a:pt x="0" y="246"/>
                  <a:pt x="0" y="246"/>
                  <a:pt x="0" y="246"/>
                </a:cubicBezTo>
                <a:cubicBezTo>
                  <a:pt x="1" y="244"/>
                  <a:pt x="1" y="244"/>
                  <a:pt x="1" y="244"/>
                </a:cubicBezTo>
                <a:cubicBezTo>
                  <a:pt x="0" y="244"/>
                  <a:pt x="0" y="244"/>
                  <a:pt x="0" y="244"/>
                </a:cubicBezTo>
                <a:cubicBezTo>
                  <a:pt x="1" y="243"/>
                  <a:pt x="1" y="243"/>
                  <a:pt x="1" y="243"/>
                </a:cubicBezTo>
                <a:cubicBezTo>
                  <a:pt x="2" y="242"/>
                  <a:pt x="2" y="242"/>
                  <a:pt x="2" y="242"/>
                </a:cubicBezTo>
                <a:cubicBezTo>
                  <a:pt x="2" y="242"/>
                  <a:pt x="2" y="242"/>
                  <a:pt x="2" y="242"/>
                </a:cubicBezTo>
                <a:cubicBezTo>
                  <a:pt x="3" y="242"/>
                  <a:pt x="3" y="242"/>
                  <a:pt x="3" y="242"/>
                </a:cubicBezTo>
                <a:cubicBezTo>
                  <a:pt x="3" y="240"/>
                  <a:pt x="3" y="240"/>
                  <a:pt x="3" y="240"/>
                </a:cubicBezTo>
                <a:cubicBezTo>
                  <a:pt x="5" y="238"/>
                  <a:pt x="5" y="238"/>
                  <a:pt x="5" y="238"/>
                </a:cubicBezTo>
                <a:cubicBezTo>
                  <a:pt x="6" y="238"/>
                  <a:pt x="6" y="238"/>
                  <a:pt x="6" y="238"/>
                </a:cubicBezTo>
                <a:cubicBezTo>
                  <a:pt x="7" y="237"/>
                  <a:pt x="7" y="237"/>
                  <a:pt x="7" y="237"/>
                </a:cubicBezTo>
                <a:cubicBezTo>
                  <a:pt x="7" y="235"/>
                  <a:pt x="7" y="235"/>
                  <a:pt x="7" y="235"/>
                </a:cubicBezTo>
                <a:cubicBezTo>
                  <a:pt x="8" y="235"/>
                  <a:pt x="8" y="235"/>
                  <a:pt x="8" y="235"/>
                </a:cubicBezTo>
                <a:cubicBezTo>
                  <a:pt x="9" y="235"/>
                  <a:pt x="9" y="235"/>
                  <a:pt x="9" y="235"/>
                </a:cubicBezTo>
                <a:cubicBezTo>
                  <a:pt x="10" y="234"/>
                  <a:pt x="10" y="234"/>
                  <a:pt x="10" y="234"/>
                </a:cubicBezTo>
                <a:cubicBezTo>
                  <a:pt x="10" y="233"/>
                  <a:pt x="10" y="233"/>
                  <a:pt x="10" y="233"/>
                </a:cubicBezTo>
                <a:cubicBezTo>
                  <a:pt x="10" y="233"/>
                  <a:pt x="10" y="233"/>
                  <a:pt x="10" y="233"/>
                </a:cubicBezTo>
                <a:cubicBezTo>
                  <a:pt x="11" y="233"/>
                  <a:pt x="11" y="233"/>
                  <a:pt x="11" y="233"/>
                </a:cubicBezTo>
                <a:cubicBezTo>
                  <a:pt x="12" y="234"/>
                  <a:pt x="12" y="234"/>
                  <a:pt x="12" y="234"/>
                </a:cubicBezTo>
                <a:cubicBezTo>
                  <a:pt x="12" y="235"/>
                  <a:pt x="12" y="235"/>
                  <a:pt x="12" y="235"/>
                </a:cubicBezTo>
                <a:cubicBezTo>
                  <a:pt x="13" y="236"/>
                  <a:pt x="13" y="236"/>
                  <a:pt x="13" y="236"/>
                </a:cubicBezTo>
                <a:cubicBezTo>
                  <a:pt x="13" y="234"/>
                  <a:pt x="13" y="234"/>
                  <a:pt x="13" y="234"/>
                </a:cubicBezTo>
                <a:cubicBezTo>
                  <a:pt x="13" y="233"/>
                  <a:pt x="13" y="233"/>
                  <a:pt x="13" y="233"/>
                </a:cubicBezTo>
                <a:cubicBezTo>
                  <a:pt x="14" y="233"/>
                  <a:pt x="14" y="233"/>
                  <a:pt x="14" y="233"/>
                </a:cubicBezTo>
                <a:cubicBezTo>
                  <a:pt x="15" y="233"/>
                  <a:pt x="15" y="233"/>
                  <a:pt x="15" y="233"/>
                </a:cubicBezTo>
                <a:cubicBezTo>
                  <a:pt x="13" y="232"/>
                  <a:pt x="13" y="232"/>
                  <a:pt x="13" y="232"/>
                </a:cubicBezTo>
                <a:cubicBezTo>
                  <a:pt x="14" y="232"/>
                  <a:pt x="14" y="232"/>
                  <a:pt x="14" y="232"/>
                </a:cubicBezTo>
                <a:cubicBezTo>
                  <a:pt x="14" y="232"/>
                  <a:pt x="14" y="232"/>
                  <a:pt x="14" y="232"/>
                </a:cubicBezTo>
                <a:cubicBezTo>
                  <a:pt x="15" y="232"/>
                  <a:pt x="15" y="232"/>
                  <a:pt x="15" y="232"/>
                </a:cubicBezTo>
                <a:cubicBezTo>
                  <a:pt x="15" y="232"/>
                  <a:pt x="15" y="232"/>
                  <a:pt x="15" y="232"/>
                </a:cubicBezTo>
                <a:cubicBezTo>
                  <a:pt x="15" y="231"/>
                  <a:pt x="15" y="231"/>
                  <a:pt x="15" y="231"/>
                </a:cubicBezTo>
                <a:cubicBezTo>
                  <a:pt x="14" y="231"/>
                  <a:pt x="14" y="231"/>
                  <a:pt x="14" y="231"/>
                </a:cubicBezTo>
                <a:cubicBezTo>
                  <a:pt x="14" y="230"/>
                  <a:pt x="14" y="230"/>
                  <a:pt x="14" y="230"/>
                </a:cubicBezTo>
                <a:cubicBezTo>
                  <a:pt x="16" y="230"/>
                  <a:pt x="16" y="230"/>
                  <a:pt x="16" y="230"/>
                </a:cubicBezTo>
                <a:cubicBezTo>
                  <a:pt x="17" y="231"/>
                  <a:pt x="17" y="231"/>
                  <a:pt x="17" y="231"/>
                </a:cubicBezTo>
                <a:cubicBezTo>
                  <a:pt x="18" y="232"/>
                  <a:pt x="18" y="232"/>
                  <a:pt x="18" y="232"/>
                </a:cubicBezTo>
                <a:cubicBezTo>
                  <a:pt x="18" y="232"/>
                  <a:pt x="18" y="232"/>
                  <a:pt x="18" y="232"/>
                </a:cubicBezTo>
                <a:cubicBezTo>
                  <a:pt x="19" y="232"/>
                  <a:pt x="19" y="232"/>
                  <a:pt x="19" y="232"/>
                </a:cubicBezTo>
                <a:cubicBezTo>
                  <a:pt x="20" y="232"/>
                  <a:pt x="20" y="232"/>
                  <a:pt x="20" y="232"/>
                </a:cubicBezTo>
                <a:cubicBezTo>
                  <a:pt x="20" y="233"/>
                  <a:pt x="20" y="233"/>
                  <a:pt x="20" y="233"/>
                </a:cubicBezTo>
                <a:cubicBezTo>
                  <a:pt x="21" y="233"/>
                  <a:pt x="21" y="233"/>
                  <a:pt x="21" y="233"/>
                </a:cubicBezTo>
                <a:cubicBezTo>
                  <a:pt x="21" y="234"/>
                  <a:pt x="21" y="234"/>
                  <a:pt x="21" y="234"/>
                </a:cubicBezTo>
                <a:cubicBezTo>
                  <a:pt x="20" y="235"/>
                  <a:pt x="20" y="235"/>
                  <a:pt x="20" y="235"/>
                </a:cubicBezTo>
                <a:cubicBezTo>
                  <a:pt x="19" y="234"/>
                  <a:pt x="19" y="234"/>
                  <a:pt x="19" y="234"/>
                </a:cubicBezTo>
                <a:cubicBezTo>
                  <a:pt x="17" y="235"/>
                  <a:pt x="17" y="235"/>
                  <a:pt x="17" y="235"/>
                </a:cubicBezTo>
                <a:cubicBezTo>
                  <a:pt x="16" y="234"/>
                  <a:pt x="16" y="234"/>
                  <a:pt x="16" y="234"/>
                </a:cubicBezTo>
                <a:cubicBezTo>
                  <a:pt x="16" y="233"/>
                  <a:pt x="16" y="233"/>
                  <a:pt x="16" y="233"/>
                </a:cubicBezTo>
                <a:cubicBezTo>
                  <a:pt x="16" y="234"/>
                  <a:pt x="16" y="234"/>
                  <a:pt x="16" y="234"/>
                </a:cubicBezTo>
                <a:cubicBezTo>
                  <a:pt x="16" y="235"/>
                  <a:pt x="16" y="235"/>
                  <a:pt x="16" y="235"/>
                </a:cubicBezTo>
                <a:cubicBezTo>
                  <a:pt x="16" y="236"/>
                  <a:pt x="16" y="236"/>
                  <a:pt x="16" y="236"/>
                </a:cubicBezTo>
                <a:cubicBezTo>
                  <a:pt x="17" y="235"/>
                  <a:pt x="17" y="235"/>
                  <a:pt x="17" y="235"/>
                </a:cubicBezTo>
                <a:cubicBezTo>
                  <a:pt x="17" y="236"/>
                  <a:pt x="17" y="236"/>
                  <a:pt x="17" y="236"/>
                </a:cubicBezTo>
                <a:cubicBezTo>
                  <a:pt x="18" y="237"/>
                  <a:pt x="18" y="237"/>
                  <a:pt x="18" y="237"/>
                </a:cubicBezTo>
                <a:cubicBezTo>
                  <a:pt x="19" y="236"/>
                  <a:pt x="19" y="236"/>
                  <a:pt x="19" y="236"/>
                </a:cubicBezTo>
                <a:cubicBezTo>
                  <a:pt x="20" y="236"/>
                  <a:pt x="20" y="236"/>
                  <a:pt x="20" y="236"/>
                </a:cubicBezTo>
                <a:cubicBezTo>
                  <a:pt x="20" y="237"/>
                  <a:pt x="20" y="237"/>
                  <a:pt x="20" y="237"/>
                </a:cubicBezTo>
                <a:cubicBezTo>
                  <a:pt x="20" y="237"/>
                  <a:pt x="20" y="237"/>
                  <a:pt x="20" y="237"/>
                </a:cubicBezTo>
                <a:cubicBezTo>
                  <a:pt x="21" y="236"/>
                  <a:pt x="21" y="236"/>
                  <a:pt x="21" y="236"/>
                </a:cubicBezTo>
                <a:cubicBezTo>
                  <a:pt x="21" y="237"/>
                  <a:pt x="21" y="237"/>
                  <a:pt x="21" y="237"/>
                </a:cubicBezTo>
                <a:cubicBezTo>
                  <a:pt x="21" y="237"/>
                  <a:pt x="21" y="237"/>
                  <a:pt x="21" y="237"/>
                </a:cubicBezTo>
                <a:cubicBezTo>
                  <a:pt x="21" y="238"/>
                  <a:pt x="21" y="238"/>
                  <a:pt x="21" y="238"/>
                </a:cubicBezTo>
                <a:cubicBezTo>
                  <a:pt x="22" y="237"/>
                  <a:pt x="22" y="237"/>
                  <a:pt x="22" y="237"/>
                </a:cubicBezTo>
                <a:cubicBezTo>
                  <a:pt x="22" y="236"/>
                  <a:pt x="22" y="236"/>
                  <a:pt x="22" y="236"/>
                </a:cubicBezTo>
                <a:cubicBezTo>
                  <a:pt x="23" y="236"/>
                  <a:pt x="23" y="236"/>
                  <a:pt x="23" y="236"/>
                </a:cubicBezTo>
                <a:cubicBezTo>
                  <a:pt x="23" y="237"/>
                  <a:pt x="23" y="237"/>
                  <a:pt x="23" y="237"/>
                </a:cubicBezTo>
                <a:cubicBezTo>
                  <a:pt x="22" y="238"/>
                  <a:pt x="22" y="238"/>
                  <a:pt x="22" y="238"/>
                </a:cubicBezTo>
                <a:cubicBezTo>
                  <a:pt x="23" y="238"/>
                  <a:pt x="23" y="238"/>
                  <a:pt x="23" y="238"/>
                </a:cubicBezTo>
                <a:cubicBezTo>
                  <a:pt x="24" y="238"/>
                  <a:pt x="24" y="238"/>
                  <a:pt x="24" y="238"/>
                </a:cubicBezTo>
                <a:cubicBezTo>
                  <a:pt x="23" y="239"/>
                  <a:pt x="23" y="239"/>
                  <a:pt x="23" y="239"/>
                </a:cubicBezTo>
                <a:cubicBezTo>
                  <a:pt x="22" y="240"/>
                  <a:pt x="22" y="240"/>
                  <a:pt x="22" y="240"/>
                </a:cubicBezTo>
                <a:cubicBezTo>
                  <a:pt x="24" y="240"/>
                  <a:pt x="24" y="240"/>
                  <a:pt x="24" y="240"/>
                </a:cubicBezTo>
                <a:cubicBezTo>
                  <a:pt x="24" y="238"/>
                  <a:pt x="24" y="238"/>
                  <a:pt x="24" y="238"/>
                </a:cubicBezTo>
                <a:cubicBezTo>
                  <a:pt x="24" y="237"/>
                  <a:pt x="24" y="237"/>
                  <a:pt x="24" y="237"/>
                </a:cubicBezTo>
                <a:cubicBezTo>
                  <a:pt x="25" y="237"/>
                  <a:pt x="25" y="237"/>
                  <a:pt x="25" y="237"/>
                </a:cubicBezTo>
                <a:cubicBezTo>
                  <a:pt x="26" y="237"/>
                  <a:pt x="26" y="237"/>
                  <a:pt x="26" y="237"/>
                </a:cubicBezTo>
                <a:cubicBezTo>
                  <a:pt x="27" y="237"/>
                  <a:pt x="27" y="237"/>
                  <a:pt x="27" y="237"/>
                </a:cubicBezTo>
                <a:cubicBezTo>
                  <a:pt x="27" y="237"/>
                  <a:pt x="27" y="237"/>
                  <a:pt x="27" y="237"/>
                </a:cubicBezTo>
                <a:cubicBezTo>
                  <a:pt x="26" y="236"/>
                  <a:pt x="26" y="236"/>
                  <a:pt x="26" y="236"/>
                </a:cubicBezTo>
                <a:cubicBezTo>
                  <a:pt x="26" y="236"/>
                  <a:pt x="26" y="236"/>
                  <a:pt x="26" y="236"/>
                </a:cubicBezTo>
                <a:cubicBezTo>
                  <a:pt x="28" y="236"/>
                  <a:pt x="28" y="236"/>
                  <a:pt x="28" y="236"/>
                </a:cubicBezTo>
                <a:cubicBezTo>
                  <a:pt x="28" y="237"/>
                  <a:pt x="28" y="237"/>
                  <a:pt x="28" y="237"/>
                </a:cubicBezTo>
                <a:cubicBezTo>
                  <a:pt x="30" y="237"/>
                  <a:pt x="30" y="237"/>
                  <a:pt x="30" y="237"/>
                </a:cubicBezTo>
                <a:cubicBezTo>
                  <a:pt x="31" y="238"/>
                  <a:pt x="31" y="238"/>
                  <a:pt x="31" y="238"/>
                </a:cubicBezTo>
                <a:cubicBezTo>
                  <a:pt x="32" y="237"/>
                  <a:pt x="32" y="237"/>
                  <a:pt x="32" y="237"/>
                </a:cubicBezTo>
                <a:cubicBezTo>
                  <a:pt x="32" y="237"/>
                  <a:pt x="32" y="237"/>
                  <a:pt x="32" y="237"/>
                </a:cubicBezTo>
                <a:cubicBezTo>
                  <a:pt x="34" y="237"/>
                  <a:pt x="34" y="237"/>
                  <a:pt x="34" y="237"/>
                </a:cubicBezTo>
                <a:cubicBezTo>
                  <a:pt x="35" y="238"/>
                  <a:pt x="35" y="238"/>
                  <a:pt x="35" y="238"/>
                </a:cubicBezTo>
                <a:cubicBezTo>
                  <a:pt x="35" y="237"/>
                  <a:pt x="35" y="237"/>
                  <a:pt x="35" y="237"/>
                </a:cubicBezTo>
                <a:cubicBezTo>
                  <a:pt x="37" y="238"/>
                  <a:pt x="37" y="238"/>
                  <a:pt x="37" y="238"/>
                </a:cubicBezTo>
                <a:cubicBezTo>
                  <a:pt x="43" y="241"/>
                  <a:pt x="43" y="241"/>
                  <a:pt x="43" y="241"/>
                </a:cubicBezTo>
                <a:cubicBezTo>
                  <a:pt x="47" y="244"/>
                  <a:pt x="47" y="244"/>
                  <a:pt x="47" y="244"/>
                </a:cubicBezTo>
                <a:cubicBezTo>
                  <a:pt x="48" y="245"/>
                  <a:pt x="48" y="245"/>
                  <a:pt x="48" y="245"/>
                </a:cubicBezTo>
                <a:cubicBezTo>
                  <a:pt x="50" y="246"/>
                  <a:pt x="50" y="246"/>
                  <a:pt x="50" y="246"/>
                </a:cubicBezTo>
                <a:cubicBezTo>
                  <a:pt x="51" y="248"/>
                  <a:pt x="51" y="248"/>
                  <a:pt x="51" y="248"/>
                </a:cubicBezTo>
                <a:cubicBezTo>
                  <a:pt x="52" y="248"/>
                  <a:pt x="52" y="248"/>
                  <a:pt x="52" y="248"/>
                </a:cubicBezTo>
                <a:cubicBezTo>
                  <a:pt x="52" y="247"/>
                  <a:pt x="52" y="247"/>
                  <a:pt x="52" y="247"/>
                </a:cubicBezTo>
                <a:cubicBezTo>
                  <a:pt x="52" y="247"/>
                  <a:pt x="52" y="247"/>
                  <a:pt x="52" y="247"/>
                </a:cubicBezTo>
                <a:cubicBezTo>
                  <a:pt x="52" y="247"/>
                  <a:pt x="52" y="247"/>
                  <a:pt x="52" y="247"/>
                </a:cubicBezTo>
                <a:cubicBezTo>
                  <a:pt x="54" y="248"/>
                  <a:pt x="54" y="248"/>
                  <a:pt x="54" y="248"/>
                </a:cubicBezTo>
                <a:cubicBezTo>
                  <a:pt x="55" y="248"/>
                  <a:pt x="55" y="248"/>
                  <a:pt x="55" y="248"/>
                </a:cubicBezTo>
                <a:cubicBezTo>
                  <a:pt x="57" y="250"/>
                  <a:pt x="57" y="250"/>
                  <a:pt x="57" y="250"/>
                </a:cubicBezTo>
                <a:cubicBezTo>
                  <a:pt x="58" y="250"/>
                  <a:pt x="58" y="250"/>
                  <a:pt x="58" y="250"/>
                </a:cubicBezTo>
                <a:cubicBezTo>
                  <a:pt x="57" y="248"/>
                  <a:pt x="57" y="248"/>
                  <a:pt x="57" y="248"/>
                </a:cubicBezTo>
                <a:cubicBezTo>
                  <a:pt x="56" y="247"/>
                  <a:pt x="56" y="247"/>
                  <a:pt x="56" y="247"/>
                </a:cubicBezTo>
                <a:cubicBezTo>
                  <a:pt x="57" y="247"/>
                  <a:pt x="57" y="247"/>
                  <a:pt x="57" y="247"/>
                </a:cubicBezTo>
                <a:cubicBezTo>
                  <a:pt x="58" y="249"/>
                  <a:pt x="58" y="249"/>
                  <a:pt x="58" y="249"/>
                </a:cubicBezTo>
                <a:cubicBezTo>
                  <a:pt x="58" y="250"/>
                  <a:pt x="58" y="250"/>
                  <a:pt x="58" y="250"/>
                </a:cubicBezTo>
                <a:cubicBezTo>
                  <a:pt x="61" y="252"/>
                  <a:pt x="61" y="252"/>
                  <a:pt x="61" y="252"/>
                </a:cubicBezTo>
                <a:cubicBezTo>
                  <a:pt x="61" y="253"/>
                  <a:pt x="61" y="253"/>
                  <a:pt x="61" y="253"/>
                </a:cubicBezTo>
                <a:cubicBezTo>
                  <a:pt x="62" y="253"/>
                  <a:pt x="62" y="253"/>
                  <a:pt x="62" y="253"/>
                </a:cubicBezTo>
                <a:cubicBezTo>
                  <a:pt x="62" y="253"/>
                  <a:pt x="62" y="253"/>
                  <a:pt x="62" y="253"/>
                </a:cubicBezTo>
                <a:cubicBezTo>
                  <a:pt x="63" y="253"/>
                  <a:pt x="63" y="253"/>
                  <a:pt x="63" y="253"/>
                </a:cubicBezTo>
                <a:cubicBezTo>
                  <a:pt x="65" y="254"/>
                  <a:pt x="65" y="254"/>
                  <a:pt x="65" y="254"/>
                </a:cubicBezTo>
                <a:cubicBezTo>
                  <a:pt x="65" y="256"/>
                  <a:pt x="65" y="256"/>
                  <a:pt x="65" y="256"/>
                </a:cubicBezTo>
                <a:cubicBezTo>
                  <a:pt x="66" y="256"/>
                  <a:pt x="66" y="256"/>
                  <a:pt x="66" y="256"/>
                </a:cubicBezTo>
                <a:cubicBezTo>
                  <a:pt x="67" y="258"/>
                  <a:pt x="67" y="258"/>
                  <a:pt x="67" y="258"/>
                </a:cubicBezTo>
                <a:cubicBezTo>
                  <a:pt x="67" y="258"/>
                  <a:pt x="67" y="258"/>
                  <a:pt x="67" y="258"/>
                </a:cubicBezTo>
                <a:cubicBezTo>
                  <a:pt x="68" y="258"/>
                  <a:pt x="68" y="258"/>
                  <a:pt x="68" y="258"/>
                </a:cubicBezTo>
                <a:cubicBezTo>
                  <a:pt x="68" y="260"/>
                  <a:pt x="68" y="260"/>
                  <a:pt x="68" y="260"/>
                </a:cubicBezTo>
                <a:cubicBezTo>
                  <a:pt x="68" y="261"/>
                  <a:pt x="68" y="261"/>
                  <a:pt x="68" y="261"/>
                </a:cubicBezTo>
                <a:cubicBezTo>
                  <a:pt x="68" y="263"/>
                  <a:pt x="68" y="263"/>
                  <a:pt x="68" y="263"/>
                </a:cubicBezTo>
                <a:cubicBezTo>
                  <a:pt x="67" y="264"/>
                  <a:pt x="67" y="264"/>
                  <a:pt x="67" y="264"/>
                </a:cubicBezTo>
                <a:cubicBezTo>
                  <a:pt x="67" y="265"/>
                  <a:pt x="67" y="265"/>
                  <a:pt x="67" y="265"/>
                </a:cubicBezTo>
                <a:cubicBezTo>
                  <a:pt x="66" y="267"/>
                  <a:pt x="66" y="267"/>
                  <a:pt x="66" y="267"/>
                </a:cubicBezTo>
                <a:cubicBezTo>
                  <a:pt x="66" y="267"/>
                  <a:pt x="66" y="267"/>
                  <a:pt x="66" y="267"/>
                </a:cubicBezTo>
                <a:cubicBezTo>
                  <a:pt x="63" y="271"/>
                  <a:pt x="63" y="271"/>
                  <a:pt x="63" y="271"/>
                </a:cubicBezTo>
                <a:cubicBezTo>
                  <a:pt x="62" y="272"/>
                  <a:pt x="62" y="272"/>
                  <a:pt x="62" y="272"/>
                </a:cubicBezTo>
                <a:cubicBezTo>
                  <a:pt x="59" y="272"/>
                  <a:pt x="59" y="272"/>
                  <a:pt x="59" y="272"/>
                </a:cubicBezTo>
                <a:cubicBezTo>
                  <a:pt x="59" y="273"/>
                  <a:pt x="59" y="273"/>
                  <a:pt x="59" y="273"/>
                </a:cubicBezTo>
                <a:cubicBezTo>
                  <a:pt x="57" y="273"/>
                  <a:pt x="57" y="273"/>
                  <a:pt x="57" y="273"/>
                </a:cubicBezTo>
                <a:cubicBezTo>
                  <a:pt x="56" y="273"/>
                  <a:pt x="56" y="273"/>
                  <a:pt x="56" y="273"/>
                </a:cubicBezTo>
                <a:cubicBezTo>
                  <a:pt x="54" y="274"/>
                  <a:pt x="54" y="274"/>
                  <a:pt x="54" y="274"/>
                </a:cubicBezTo>
                <a:cubicBezTo>
                  <a:pt x="50" y="273"/>
                  <a:pt x="50" y="273"/>
                  <a:pt x="50" y="273"/>
                </a:cubicBezTo>
                <a:cubicBezTo>
                  <a:pt x="48" y="273"/>
                  <a:pt x="48" y="273"/>
                  <a:pt x="48" y="273"/>
                </a:cubicBezTo>
                <a:cubicBezTo>
                  <a:pt x="46" y="272"/>
                  <a:pt x="46" y="272"/>
                  <a:pt x="46" y="272"/>
                </a:cubicBezTo>
                <a:cubicBezTo>
                  <a:pt x="45" y="272"/>
                  <a:pt x="45" y="272"/>
                  <a:pt x="45" y="272"/>
                </a:cubicBezTo>
                <a:cubicBezTo>
                  <a:pt x="44" y="272"/>
                  <a:pt x="44" y="272"/>
                  <a:pt x="44" y="272"/>
                </a:cubicBezTo>
                <a:cubicBezTo>
                  <a:pt x="43" y="272"/>
                  <a:pt x="43" y="272"/>
                  <a:pt x="43" y="272"/>
                </a:cubicBezTo>
                <a:cubicBezTo>
                  <a:pt x="42" y="271"/>
                  <a:pt x="42" y="271"/>
                  <a:pt x="42" y="271"/>
                </a:cubicBezTo>
                <a:cubicBezTo>
                  <a:pt x="41" y="271"/>
                  <a:pt x="41" y="271"/>
                  <a:pt x="41" y="271"/>
                </a:cubicBezTo>
                <a:cubicBezTo>
                  <a:pt x="40" y="272"/>
                  <a:pt x="40" y="272"/>
                  <a:pt x="40" y="272"/>
                </a:cubicBezTo>
                <a:cubicBezTo>
                  <a:pt x="39" y="270"/>
                  <a:pt x="39" y="270"/>
                  <a:pt x="39" y="270"/>
                </a:cubicBezTo>
                <a:cubicBezTo>
                  <a:pt x="39" y="269"/>
                  <a:pt x="39" y="269"/>
                  <a:pt x="39" y="269"/>
                </a:cubicBezTo>
                <a:cubicBezTo>
                  <a:pt x="38" y="270"/>
                  <a:pt x="38" y="270"/>
                  <a:pt x="38" y="270"/>
                </a:cubicBezTo>
                <a:cubicBezTo>
                  <a:pt x="37" y="270"/>
                  <a:pt x="37" y="270"/>
                  <a:pt x="37" y="270"/>
                </a:cubicBezTo>
                <a:cubicBezTo>
                  <a:pt x="37" y="269"/>
                  <a:pt x="37" y="269"/>
                  <a:pt x="37" y="269"/>
                </a:cubicBezTo>
                <a:cubicBezTo>
                  <a:pt x="35" y="269"/>
                  <a:pt x="35" y="269"/>
                  <a:pt x="35" y="269"/>
                </a:cubicBezTo>
                <a:cubicBezTo>
                  <a:pt x="35" y="270"/>
                  <a:pt x="35" y="270"/>
                  <a:pt x="35" y="270"/>
                </a:cubicBezTo>
                <a:cubicBezTo>
                  <a:pt x="33" y="270"/>
                  <a:pt x="33" y="270"/>
                  <a:pt x="33" y="270"/>
                </a:cubicBezTo>
                <a:cubicBezTo>
                  <a:pt x="33" y="269"/>
                  <a:pt x="33" y="269"/>
                  <a:pt x="33" y="269"/>
                </a:cubicBezTo>
                <a:cubicBezTo>
                  <a:pt x="33" y="269"/>
                  <a:pt x="33" y="269"/>
                  <a:pt x="33" y="269"/>
                </a:cubicBezTo>
                <a:cubicBezTo>
                  <a:pt x="34" y="268"/>
                  <a:pt x="34" y="268"/>
                  <a:pt x="34" y="268"/>
                </a:cubicBezTo>
                <a:cubicBezTo>
                  <a:pt x="33" y="267"/>
                  <a:pt x="33" y="267"/>
                  <a:pt x="33" y="267"/>
                </a:cubicBezTo>
                <a:cubicBezTo>
                  <a:pt x="33" y="268"/>
                  <a:pt x="33" y="268"/>
                  <a:pt x="33" y="268"/>
                </a:cubicBezTo>
                <a:cubicBezTo>
                  <a:pt x="30" y="268"/>
                  <a:pt x="30" y="268"/>
                  <a:pt x="30" y="268"/>
                </a:cubicBezTo>
                <a:cubicBezTo>
                  <a:pt x="29" y="267"/>
                  <a:pt x="29" y="267"/>
                  <a:pt x="29" y="267"/>
                </a:cubicBezTo>
                <a:cubicBezTo>
                  <a:pt x="29" y="267"/>
                  <a:pt x="29" y="267"/>
                  <a:pt x="29" y="267"/>
                </a:cubicBezTo>
                <a:cubicBezTo>
                  <a:pt x="28" y="267"/>
                  <a:pt x="28" y="267"/>
                  <a:pt x="28" y="267"/>
                </a:cubicBezTo>
                <a:cubicBezTo>
                  <a:pt x="25" y="265"/>
                  <a:pt x="25" y="265"/>
                  <a:pt x="25" y="265"/>
                </a:cubicBezTo>
                <a:cubicBezTo>
                  <a:pt x="25" y="264"/>
                  <a:pt x="25" y="264"/>
                  <a:pt x="25" y="264"/>
                </a:cubicBezTo>
                <a:cubicBezTo>
                  <a:pt x="24" y="264"/>
                  <a:pt x="24" y="264"/>
                  <a:pt x="24" y="264"/>
                </a:cubicBezTo>
                <a:cubicBezTo>
                  <a:pt x="23" y="263"/>
                  <a:pt x="23" y="263"/>
                  <a:pt x="23" y="263"/>
                </a:cubicBezTo>
                <a:cubicBezTo>
                  <a:pt x="22" y="263"/>
                  <a:pt x="22" y="263"/>
                  <a:pt x="22" y="263"/>
                </a:cubicBezTo>
                <a:cubicBezTo>
                  <a:pt x="22" y="264"/>
                  <a:pt x="22" y="264"/>
                  <a:pt x="22" y="264"/>
                </a:cubicBezTo>
                <a:cubicBezTo>
                  <a:pt x="23" y="265"/>
                  <a:pt x="23" y="265"/>
                  <a:pt x="23" y="265"/>
                </a:cubicBezTo>
                <a:cubicBezTo>
                  <a:pt x="23" y="266"/>
                  <a:pt x="23" y="266"/>
                  <a:pt x="23" y="266"/>
                </a:cubicBezTo>
                <a:cubicBezTo>
                  <a:pt x="25" y="267"/>
                  <a:pt x="25" y="267"/>
                  <a:pt x="25" y="267"/>
                </a:cubicBezTo>
                <a:cubicBezTo>
                  <a:pt x="25" y="268"/>
                  <a:pt x="25" y="268"/>
                  <a:pt x="25" y="268"/>
                </a:cubicBezTo>
                <a:cubicBezTo>
                  <a:pt x="27" y="269"/>
                  <a:pt x="27" y="269"/>
                  <a:pt x="27" y="269"/>
                </a:cubicBezTo>
                <a:cubicBezTo>
                  <a:pt x="27" y="269"/>
                  <a:pt x="27" y="269"/>
                  <a:pt x="27" y="269"/>
                </a:cubicBezTo>
                <a:cubicBezTo>
                  <a:pt x="26" y="270"/>
                  <a:pt x="26" y="270"/>
                  <a:pt x="26" y="270"/>
                </a:cubicBezTo>
                <a:cubicBezTo>
                  <a:pt x="26" y="271"/>
                  <a:pt x="26" y="271"/>
                  <a:pt x="26" y="271"/>
                </a:cubicBezTo>
                <a:cubicBezTo>
                  <a:pt x="26" y="271"/>
                  <a:pt x="26" y="271"/>
                  <a:pt x="26" y="271"/>
                </a:cubicBezTo>
                <a:cubicBezTo>
                  <a:pt x="28" y="270"/>
                  <a:pt x="28" y="270"/>
                  <a:pt x="28" y="270"/>
                </a:cubicBezTo>
                <a:cubicBezTo>
                  <a:pt x="29" y="270"/>
                  <a:pt x="29" y="270"/>
                  <a:pt x="29" y="270"/>
                </a:cubicBezTo>
                <a:cubicBezTo>
                  <a:pt x="30" y="270"/>
                  <a:pt x="30" y="270"/>
                  <a:pt x="30" y="270"/>
                </a:cubicBezTo>
                <a:cubicBezTo>
                  <a:pt x="29" y="271"/>
                  <a:pt x="29" y="271"/>
                  <a:pt x="29" y="271"/>
                </a:cubicBezTo>
                <a:cubicBezTo>
                  <a:pt x="29" y="271"/>
                  <a:pt x="29" y="271"/>
                  <a:pt x="29" y="271"/>
                </a:cubicBezTo>
                <a:cubicBezTo>
                  <a:pt x="30" y="271"/>
                  <a:pt x="30" y="271"/>
                  <a:pt x="30" y="271"/>
                </a:cubicBezTo>
                <a:cubicBezTo>
                  <a:pt x="30" y="272"/>
                  <a:pt x="30" y="272"/>
                  <a:pt x="30" y="272"/>
                </a:cubicBezTo>
                <a:cubicBezTo>
                  <a:pt x="29" y="272"/>
                  <a:pt x="29" y="272"/>
                  <a:pt x="29" y="272"/>
                </a:cubicBezTo>
                <a:cubicBezTo>
                  <a:pt x="28" y="273"/>
                  <a:pt x="28" y="273"/>
                  <a:pt x="28" y="273"/>
                </a:cubicBezTo>
                <a:cubicBezTo>
                  <a:pt x="30" y="273"/>
                  <a:pt x="30" y="273"/>
                  <a:pt x="30" y="273"/>
                </a:cubicBezTo>
                <a:cubicBezTo>
                  <a:pt x="30" y="273"/>
                  <a:pt x="30" y="273"/>
                  <a:pt x="30" y="273"/>
                </a:cubicBezTo>
                <a:cubicBezTo>
                  <a:pt x="31" y="273"/>
                  <a:pt x="31" y="273"/>
                  <a:pt x="31" y="273"/>
                </a:cubicBezTo>
                <a:cubicBezTo>
                  <a:pt x="32" y="274"/>
                  <a:pt x="32" y="274"/>
                  <a:pt x="32" y="274"/>
                </a:cubicBezTo>
                <a:cubicBezTo>
                  <a:pt x="32" y="273"/>
                  <a:pt x="32" y="273"/>
                  <a:pt x="32" y="273"/>
                </a:cubicBezTo>
                <a:cubicBezTo>
                  <a:pt x="35" y="274"/>
                  <a:pt x="35" y="274"/>
                  <a:pt x="35" y="274"/>
                </a:cubicBezTo>
                <a:cubicBezTo>
                  <a:pt x="37" y="276"/>
                  <a:pt x="37" y="276"/>
                  <a:pt x="37" y="276"/>
                </a:cubicBezTo>
                <a:cubicBezTo>
                  <a:pt x="37" y="276"/>
                  <a:pt x="37" y="276"/>
                  <a:pt x="37" y="276"/>
                </a:cubicBezTo>
                <a:cubicBezTo>
                  <a:pt x="37" y="277"/>
                  <a:pt x="37" y="277"/>
                  <a:pt x="37" y="277"/>
                </a:cubicBezTo>
                <a:cubicBezTo>
                  <a:pt x="37" y="278"/>
                  <a:pt x="37" y="278"/>
                  <a:pt x="37" y="278"/>
                </a:cubicBezTo>
                <a:cubicBezTo>
                  <a:pt x="37" y="278"/>
                  <a:pt x="37" y="278"/>
                  <a:pt x="37" y="278"/>
                </a:cubicBezTo>
                <a:cubicBezTo>
                  <a:pt x="37" y="279"/>
                  <a:pt x="37" y="279"/>
                  <a:pt x="37" y="279"/>
                </a:cubicBezTo>
                <a:cubicBezTo>
                  <a:pt x="37" y="281"/>
                  <a:pt x="37" y="281"/>
                  <a:pt x="37" y="281"/>
                </a:cubicBezTo>
                <a:cubicBezTo>
                  <a:pt x="36" y="282"/>
                  <a:pt x="36" y="282"/>
                  <a:pt x="36" y="282"/>
                </a:cubicBezTo>
                <a:cubicBezTo>
                  <a:pt x="36" y="283"/>
                  <a:pt x="36" y="283"/>
                  <a:pt x="36" y="283"/>
                </a:cubicBezTo>
                <a:cubicBezTo>
                  <a:pt x="37" y="283"/>
                  <a:pt x="37" y="283"/>
                  <a:pt x="37" y="283"/>
                </a:cubicBezTo>
                <a:cubicBezTo>
                  <a:pt x="37" y="284"/>
                  <a:pt x="37" y="284"/>
                  <a:pt x="37" y="284"/>
                </a:cubicBezTo>
                <a:cubicBezTo>
                  <a:pt x="39" y="286"/>
                  <a:pt x="39" y="286"/>
                  <a:pt x="39" y="286"/>
                </a:cubicBezTo>
                <a:cubicBezTo>
                  <a:pt x="39" y="287"/>
                  <a:pt x="39" y="287"/>
                  <a:pt x="39" y="287"/>
                </a:cubicBezTo>
                <a:cubicBezTo>
                  <a:pt x="40" y="288"/>
                  <a:pt x="40" y="288"/>
                  <a:pt x="40" y="288"/>
                </a:cubicBezTo>
                <a:cubicBezTo>
                  <a:pt x="40" y="289"/>
                  <a:pt x="40" y="289"/>
                  <a:pt x="40" y="289"/>
                </a:cubicBezTo>
                <a:cubicBezTo>
                  <a:pt x="40" y="291"/>
                  <a:pt x="40" y="291"/>
                  <a:pt x="40" y="291"/>
                </a:cubicBezTo>
                <a:cubicBezTo>
                  <a:pt x="40" y="292"/>
                  <a:pt x="40" y="292"/>
                  <a:pt x="40" y="292"/>
                </a:cubicBezTo>
                <a:cubicBezTo>
                  <a:pt x="40" y="292"/>
                  <a:pt x="40" y="292"/>
                  <a:pt x="40" y="292"/>
                </a:cubicBezTo>
                <a:cubicBezTo>
                  <a:pt x="41" y="293"/>
                  <a:pt x="41" y="293"/>
                  <a:pt x="41" y="293"/>
                </a:cubicBezTo>
                <a:cubicBezTo>
                  <a:pt x="43" y="294"/>
                  <a:pt x="43" y="294"/>
                  <a:pt x="43" y="294"/>
                </a:cubicBezTo>
                <a:cubicBezTo>
                  <a:pt x="44" y="293"/>
                  <a:pt x="44" y="293"/>
                  <a:pt x="44" y="293"/>
                </a:cubicBezTo>
                <a:cubicBezTo>
                  <a:pt x="45" y="293"/>
                  <a:pt x="45" y="293"/>
                  <a:pt x="45" y="293"/>
                </a:cubicBezTo>
                <a:cubicBezTo>
                  <a:pt x="46" y="295"/>
                  <a:pt x="46" y="295"/>
                  <a:pt x="46" y="295"/>
                </a:cubicBezTo>
                <a:cubicBezTo>
                  <a:pt x="47" y="295"/>
                  <a:pt x="47" y="295"/>
                  <a:pt x="47" y="295"/>
                </a:cubicBezTo>
                <a:cubicBezTo>
                  <a:pt x="47" y="297"/>
                  <a:pt x="47" y="297"/>
                  <a:pt x="47" y="297"/>
                </a:cubicBezTo>
                <a:cubicBezTo>
                  <a:pt x="48" y="297"/>
                  <a:pt x="48" y="297"/>
                  <a:pt x="48" y="297"/>
                </a:cubicBezTo>
                <a:cubicBezTo>
                  <a:pt x="50" y="297"/>
                  <a:pt x="50" y="297"/>
                  <a:pt x="50" y="297"/>
                </a:cubicBezTo>
                <a:cubicBezTo>
                  <a:pt x="50" y="298"/>
                  <a:pt x="50" y="298"/>
                  <a:pt x="50" y="298"/>
                </a:cubicBezTo>
                <a:cubicBezTo>
                  <a:pt x="52" y="298"/>
                  <a:pt x="52" y="298"/>
                  <a:pt x="52" y="298"/>
                </a:cubicBezTo>
                <a:cubicBezTo>
                  <a:pt x="53" y="299"/>
                  <a:pt x="53" y="299"/>
                  <a:pt x="53" y="299"/>
                </a:cubicBezTo>
                <a:cubicBezTo>
                  <a:pt x="54" y="299"/>
                  <a:pt x="54" y="299"/>
                  <a:pt x="54" y="299"/>
                </a:cubicBezTo>
                <a:cubicBezTo>
                  <a:pt x="55" y="298"/>
                  <a:pt x="55" y="298"/>
                  <a:pt x="55" y="298"/>
                </a:cubicBezTo>
                <a:cubicBezTo>
                  <a:pt x="56" y="297"/>
                  <a:pt x="56" y="297"/>
                  <a:pt x="56" y="297"/>
                </a:cubicBezTo>
                <a:cubicBezTo>
                  <a:pt x="57" y="297"/>
                  <a:pt x="57" y="297"/>
                  <a:pt x="57" y="297"/>
                </a:cubicBezTo>
                <a:cubicBezTo>
                  <a:pt x="57" y="295"/>
                  <a:pt x="57" y="295"/>
                  <a:pt x="57" y="295"/>
                </a:cubicBezTo>
                <a:cubicBezTo>
                  <a:pt x="56" y="294"/>
                  <a:pt x="56" y="294"/>
                  <a:pt x="56" y="294"/>
                </a:cubicBezTo>
                <a:cubicBezTo>
                  <a:pt x="57" y="294"/>
                  <a:pt x="57" y="294"/>
                  <a:pt x="57" y="294"/>
                </a:cubicBezTo>
                <a:cubicBezTo>
                  <a:pt x="57" y="293"/>
                  <a:pt x="57" y="293"/>
                  <a:pt x="57" y="293"/>
                </a:cubicBezTo>
                <a:cubicBezTo>
                  <a:pt x="55" y="293"/>
                  <a:pt x="55" y="293"/>
                  <a:pt x="55" y="293"/>
                </a:cubicBezTo>
                <a:cubicBezTo>
                  <a:pt x="55" y="292"/>
                  <a:pt x="55" y="292"/>
                  <a:pt x="55" y="292"/>
                </a:cubicBezTo>
                <a:cubicBezTo>
                  <a:pt x="54" y="292"/>
                  <a:pt x="54" y="292"/>
                  <a:pt x="54" y="292"/>
                </a:cubicBezTo>
                <a:cubicBezTo>
                  <a:pt x="53" y="292"/>
                  <a:pt x="53" y="292"/>
                  <a:pt x="53" y="292"/>
                </a:cubicBezTo>
                <a:cubicBezTo>
                  <a:pt x="52" y="293"/>
                  <a:pt x="52" y="293"/>
                  <a:pt x="52" y="293"/>
                </a:cubicBezTo>
                <a:cubicBezTo>
                  <a:pt x="51" y="292"/>
                  <a:pt x="51" y="292"/>
                  <a:pt x="51" y="292"/>
                </a:cubicBezTo>
                <a:cubicBezTo>
                  <a:pt x="50" y="291"/>
                  <a:pt x="50" y="291"/>
                  <a:pt x="50" y="291"/>
                </a:cubicBezTo>
                <a:cubicBezTo>
                  <a:pt x="48" y="290"/>
                  <a:pt x="48" y="290"/>
                  <a:pt x="48" y="290"/>
                </a:cubicBezTo>
                <a:cubicBezTo>
                  <a:pt x="48" y="289"/>
                  <a:pt x="48" y="289"/>
                  <a:pt x="48" y="289"/>
                </a:cubicBezTo>
                <a:cubicBezTo>
                  <a:pt x="47" y="287"/>
                  <a:pt x="47" y="287"/>
                  <a:pt x="47" y="287"/>
                </a:cubicBezTo>
                <a:cubicBezTo>
                  <a:pt x="48" y="287"/>
                  <a:pt x="48" y="287"/>
                  <a:pt x="48" y="287"/>
                </a:cubicBezTo>
                <a:cubicBezTo>
                  <a:pt x="49" y="286"/>
                  <a:pt x="49" y="286"/>
                  <a:pt x="49" y="286"/>
                </a:cubicBezTo>
                <a:cubicBezTo>
                  <a:pt x="48" y="285"/>
                  <a:pt x="48" y="285"/>
                  <a:pt x="48" y="285"/>
                </a:cubicBezTo>
                <a:cubicBezTo>
                  <a:pt x="49" y="285"/>
                  <a:pt x="49" y="285"/>
                  <a:pt x="49" y="285"/>
                </a:cubicBezTo>
                <a:cubicBezTo>
                  <a:pt x="48" y="284"/>
                  <a:pt x="48" y="284"/>
                  <a:pt x="48" y="284"/>
                </a:cubicBezTo>
                <a:cubicBezTo>
                  <a:pt x="48" y="283"/>
                  <a:pt x="48" y="283"/>
                  <a:pt x="48" y="283"/>
                </a:cubicBezTo>
                <a:cubicBezTo>
                  <a:pt x="50" y="283"/>
                  <a:pt x="50" y="283"/>
                  <a:pt x="50" y="283"/>
                </a:cubicBezTo>
                <a:cubicBezTo>
                  <a:pt x="51" y="284"/>
                  <a:pt x="51" y="284"/>
                  <a:pt x="51" y="284"/>
                </a:cubicBezTo>
                <a:cubicBezTo>
                  <a:pt x="53" y="284"/>
                  <a:pt x="53" y="284"/>
                  <a:pt x="53" y="284"/>
                </a:cubicBezTo>
                <a:cubicBezTo>
                  <a:pt x="54" y="286"/>
                  <a:pt x="54" y="286"/>
                  <a:pt x="54" y="286"/>
                </a:cubicBezTo>
                <a:cubicBezTo>
                  <a:pt x="55" y="287"/>
                  <a:pt x="55" y="287"/>
                  <a:pt x="55" y="287"/>
                </a:cubicBezTo>
                <a:cubicBezTo>
                  <a:pt x="57" y="287"/>
                  <a:pt x="57" y="287"/>
                  <a:pt x="57" y="287"/>
                </a:cubicBezTo>
                <a:cubicBezTo>
                  <a:pt x="58" y="288"/>
                  <a:pt x="58" y="288"/>
                  <a:pt x="58" y="288"/>
                </a:cubicBezTo>
                <a:cubicBezTo>
                  <a:pt x="59" y="288"/>
                  <a:pt x="59" y="288"/>
                  <a:pt x="59" y="288"/>
                </a:cubicBezTo>
                <a:cubicBezTo>
                  <a:pt x="63" y="290"/>
                  <a:pt x="63" y="290"/>
                  <a:pt x="63" y="290"/>
                </a:cubicBezTo>
                <a:cubicBezTo>
                  <a:pt x="65" y="291"/>
                  <a:pt x="65" y="291"/>
                  <a:pt x="65" y="291"/>
                </a:cubicBezTo>
                <a:cubicBezTo>
                  <a:pt x="65" y="290"/>
                  <a:pt x="65" y="290"/>
                  <a:pt x="65" y="290"/>
                </a:cubicBezTo>
                <a:cubicBezTo>
                  <a:pt x="66" y="289"/>
                  <a:pt x="66" y="289"/>
                  <a:pt x="66" y="289"/>
                </a:cubicBezTo>
                <a:cubicBezTo>
                  <a:pt x="66" y="288"/>
                  <a:pt x="66" y="288"/>
                  <a:pt x="66" y="288"/>
                </a:cubicBezTo>
                <a:cubicBezTo>
                  <a:pt x="67" y="288"/>
                  <a:pt x="67" y="288"/>
                  <a:pt x="67" y="288"/>
                </a:cubicBezTo>
                <a:cubicBezTo>
                  <a:pt x="68" y="287"/>
                  <a:pt x="68" y="287"/>
                  <a:pt x="68" y="287"/>
                </a:cubicBezTo>
                <a:cubicBezTo>
                  <a:pt x="67" y="284"/>
                  <a:pt x="67" y="284"/>
                  <a:pt x="67" y="284"/>
                </a:cubicBezTo>
                <a:cubicBezTo>
                  <a:pt x="64" y="281"/>
                  <a:pt x="64" y="281"/>
                  <a:pt x="64" y="281"/>
                </a:cubicBezTo>
                <a:cubicBezTo>
                  <a:pt x="63" y="280"/>
                  <a:pt x="63" y="280"/>
                  <a:pt x="63" y="280"/>
                </a:cubicBezTo>
                <a:cubicBezTo>
                  <a:pt x="63" y="278"/>
                  <a:pt x="63" y="278"/>
                  <a:pt x="63" y="278"/>
                </a:cubicBezTo>
                <a:cubicBezTo>
                  <a:pt x="65" y="277"/>
                  <a:pt x="65" y="277"/>
                  <a:pt x="65" y="277"/>
                </a:cubicBezTo>
                <a:cubicBezTo>
                  <a:pt x="66" y="275"/>
                  <a:pt x="66" y="275"/>
                  <a:pt x="66" y="275"/>
                </a:cubicBezTo>
                <a:cubicBezTo>
                  <a:pt x="67" y="274"/>
                  <a:pt x="67" y="274"/>
                  <a:pt x="67" y="274"/>
                </a:cubicBezTo>
                <a:cubicBezTo>
                  <a:pt x="68" y="273"/>
                  <a:pt x="68" y="273"/>
                  <a:pt x="68" y="273"/>
                </a:cubicBezTo>
                <a:cubicBezTo>
                  <a:pt x="69" y="272"/>
                  <a:pt x="69" y="272"/>
                  <a:pt x="69" y="272"/>
                </a:cubicBezTo>
                <a:cubicBezTo>
                  <a:pt x="71" y="271"/>
                  <a:pt x="71" y="271"/>
                  <a:pt x="71" y="271"/>
                </a:cubicBezTo>
                <a:cubicBezTo>
                  <a:pt x="73" y="268"/>
                  <a:pt x="73" y="268"/>
                  <a:pt x="73" y="268"/>
                </a:cubicBezTo>
                <a:cubicBezTo>
                  <a:pt x="74" y="267"/>
                  <a:pt x="74" y="267"/>
                  <a:pt x="74" y="267"/>
                </a:cubicBezTo>
                <a:cubicBezTo>
                  <a:pt x="75" y="267"/>
                  <a:pt x="75" y="267"/>
                  <a:pt x="75" y="267"/>
                </a:cubicBezTo>
                <a:cubicBezTo>
                  <a:pt x="76" y="268"/>
                  <a:pt x="76" y="268"/>
                  <a:pt x="76" y="268"/>
                </a:cubicBezTo>
                <a:cubicBezTo>
                  <a:pt x="78" y="268"/>
                  <a:pt x="78" y="268"/>
                  <a:pt x="78" y="268"/>
                </a:cubicBezTo>
                <a:cubicBezTo>
                  <a:pt x="80" y="268"/>
                  <a:pt x="80" y="268"/>
                  <a:pt x="80" y="268"/>
                </a:cubicBezTo>
                <a:cubicBezTo>
                  <a:pt x="81" y="269"/>
                  <a:pt x="81" y="269"/>
                  <a:pt x="81" y="269"/>
                </a:cubicBezTo>
                <a:cubicBezTo>
                  <a:pt x="81" y="270"/>
                  <a:pt x="81" y="270"/>
                  <a:pt x="81" y="270"/>
                </a:cubicBezTo>
                <a:cubicBezTo>
                  <a:pt x="82" y="269"/>
                  <a:pt x="82" y="269"/>
                  <a:pt x="82" y="269"/>
                </a:cubicBezTo>
                <a:cubicBezTo>
                  <a:pt x="84" y="270"/>
                  <a:pt x="84" y="270"/>
                  <a:pt x="84" y="270"/>
                </a:cubicBezTo>
                <a:cubicBezTo>
                  <a:pt x="84" y="272"/>
                  <a:pt x="84" y="272"/>
                  <a:pt x="84" y="272"/>
                </a:cubicBezTo>
                <a:cubicBezTo>
                  <a:pt x="85" y="272"/>
                  <a:pt x="85" y="272"/>
                  <a:pt x="85" y="272"/>
                </a:cubicBezTo>
                <a:cubicBezTo>
                  <a:pt x="85" y="270"/>
                  <a:pt x="85" y="270"/>
                  <a:pt x="85" y="270"/>
                </a:cubicBezTo>
                <a:cubicBezTo>
                  <a:pt x="84" y="269"/>
                  <a:pt x="84" y="269"/>
                  <a:pt x="84" y="269"/>
                </a:cubicBezTo>
                <a:cubicBezTo>
                  <a:pt x="85" y="268"/>
                  <a:pt x="85" y="268"/>
                  <a:pt x="85" y="268"/>
                </a:cubicBezTo>
                <a:cubicBezTo>
                  <a:pt x="85" y="265"/>
                  <a:pt x="85" y="265"/>
                  <a:pt x="85" y="265"/>
                </a:cubicBezTo>
                <a:cubicBezTo>
                  <a:pt x="85" y="264"/>
                  <a:pt x="85" y="264"/>
                  <a:pt x="85" y="264"/>
                </a:cubicBezTo>
                <a:cubicBezTo>
                  <a:pt x="84" y="264"/>
                  <a:pt x="84" y="264"/>
                  <a:pt x="84" y="264"/>
                </a:cubicBezTo>
                <a:cubicBezTo>
                  <a:pt x="84" y="263"/>
                  <a:pt x="84" y="263"/>
                  <a:pt x="84" y="263"/>
                </a:cubicBezTo>
                <a:cubicBezTo>
                  <a:pt x="85" y="262"/>
                  <a:pt x="85" y="262"/>
                  <a:pt x="85" y="262"/>
                </a:cubicBezTo>
                <a:cubicBezTo>
                  <a:pt x="84" y="261"/>
                  <a:pt x="84" y="261"/>
                  <a:pt x="84" y="261"/>
                </a:cubicBezTo>
                <a:cubicBezTo>
                  <a:pt x="85" y="261"/>
                  <a:pt x="85" y="261"/>
                  <a:pt x="85" y="261"/>
                </a:cubicBezTo>
                <a:cubicBezTo>
                  <a:pt x="84" y="260"/>
                  <a:pt x="84" y="260"/>
                  <a:pt x="84" y="260"/>
                </a:cubicBezTo>
                <a:cubicBezTo>
                  <a:pt x="82" y="259"/>
                  <a:pt x="82" y="259"/>
                  <a:pt x="82" y="259"/>
                </a:cubicBezTo>
                <a:cubicBezTo>
                  <a:pt x="80" y="259"/>
                  <a:pt x="80" y="259"/>
                  <a:pt x="80" y="259"/>
                </a:cubicBezTo>
                <a:cubicBezTo>
                  <a:pt x="80" y="257"/>
                  <a:pt x="80" y="257"/>
                  <a:pt x="80" y="257"/>
                </a:cubicBezTo>
                <a:cubicBezTo>
                  <a:pt x="80" y="256"/>
                  <a:pt x="80" y="256"/>
                  <a:pt x="80" y="256"/>
                </a:cubicBezTo>
                <a:cubicBezTo>
                  <a:pt x="80" y="253"/>
                  <a:pt x="80" y="253"/>
                  <a:pt x="80" y="253"/>
                </a:cubicBezTo>
                <a:cubicBezTo>
                  <a:pt x="81" y="253"/>
                  <a:pt x="81" y="253"/>
                  <a:pt x="81" y="253"/>
                </a:cubicBezTo>
                <a:cubicBezTo>
                  <a:pt x="81" y="252"/>
                  <a:pt x="81" y="252"/>
                  <a:pt x="81" y="252"/>
                </a:cubicBezTo>
                <a:cubicBezTo>
                  <a:pt x="81" y="251"/>
                  <a:pt x="81" y="251"/>
                  <a:pt x="81" y="251"/>
                </a:cubicBezTo>
                <a:cubicBezTo>
                  <a:pt x="81" y="250"/>
                  <a:pt x="81" y="250"/>
                  <a:pt x="81" y="250"/>
                </a:cubicBezTo>
                <a:cubicBezTo>
                  <a:pt x="80" y="249"/>
                  <a:pt x="80" y="249"/>
                  <a:pt x="80" y="249"/>
                </a:cubicBezTo>
                <a:cubicBezTo>
                  <a:pt x="80" y="248"/>
                  <a:pt x="80" y="248"/>
                  <a:pt x="80" y="248"/>
                </a:cubicBezTo>
                <a:cubicBezTo>
                  <a:pt x="80" y="245"/>
                  <a:pt x="80" y="245"/>
                  <a:pt x="80" y="245"/>
                </a:cubicBezTo>
                <a:cubicBezTo>
                  <a:pt x="78" y="244"/>
                  <a:pt x="78" y="244"/>
                  <a:pt x="78" y="244"/>
                </a:cubicBezTo>
                <a:cubicBezTo>
                  <a:pt x="75" y="241"/>
                  <a:pt x="75" y="241"/>
                  <a:pt x="75" y="241"/>
                </a:cubicBezTo>
                <a:cubicBezTo>
                  <a:pt x="75" y="241"/>
                  <a:pt x="75" y="241"/>
                  <a:pt x="75" y="241"/>
                </a:cubicBezTo>
                <a:cubicBezTo>
                  <a:pt x="76" y="241"/>
                  <a:pt x="76" y="241"/>
                  <a:pt x="76" y="241"/>
                </a:cubicBezTo>
                <a:cubicBezTo>
                  <a:pt x="79" y="242"/>
                  <a:pt x="79" y="242"/>
                  <a:pt x="79" y="242"/>
                </a:cubicBezTo>
                <a:cubicBezTo>
                  <a:pt x="80" y="242"/>
                  <a:pt x="80" y="242"/>
                  <a:pt x="80" y="242"/>
                </a:cubicBezTo>
                <a:cubicBezTo>
                  <a:pt x="81" y="242"/>
                  <a:pt x="81" y="242"/>
                  <a:pt x="81" y="242"/>
                </a:cubicBezTo>
                <a:cubicBezTo>
                  <a:pt x="83" y="242"/>
                  <a:pt x="83" y="242"/>
                  <a:pt x="83" y="242"/>
                </a:cubicBezTo>
                <a:cubicBezTo>
                  <a:pt x="87" y="242"/>
                  <a:pt x="87" y="242"/>
                  <a:pt x="87" y="242"/>
                </a:cubicBezTo>
                <a:cubicBezTo>
                  <a:pt x="88" y="243"/>
                  <a:pt x="88" y="243"/>
                  <a:pt x="88" y="243"/>
                </a:cubicBezTo>
                <a:cubicBezTo>
                  <a:pt x="88" y="244"/>
                  <a:pt x="88" y="244"/>
                  <a:pt x="88" y="244"/>
                </a:cubicBezTo>
                <a:cubicBezTo>
                  <a:pt x="90" y="246"/>
                  <a:pt x="90" y="246"/>
                  <a:pt x="90" y="246"/>
                </a:cubicBezTo>
                <a:cubicBezTo>
                  <a:pt x="91" y="246"/>
                  <a:pt x="91" y="246"/>
                  <a:pt x="91" y="246"/>
                </a:cubicBezTo>
                <a:cubicBezTo>
                  <a:pt x="91" y="247"/>
                  <a:pt x="91" y="247"/>
                  <a:pt x="91" y="247"/>
                </a:cubicBezTo>
                <a:cubicBezTo>
                  <a:pt x="93" y="249"/>
                  <a:pt x="93" y="249"/>
                  <a:pt x="93" y="249"/>
                </a:cubicBezTo>
                <a:cubicBezTo>
                  <a:pt x="93" y="250"/>
                  <a:pt x="93" y="250"/>
                  <a:pt x="93" y="250"/>
                </a:cubicBezTo>
                <a:cubicBezTo>
                  <a:pt x="91" y="250"/>
                  <a:pt x="91" y="250"/>
                  <a:pt x="91" y="250"/>
                </a:cubicBezTo>
                <a:cubicBezTo>
                  <a:pt x="90" y="251"/>
                  <a:pt x="90" y="251"/>
                  <a:pt x="90" y="251"/>
                </a:cubicBezTo>
                <a:cubicBezTo>
                  <a:pt x="88" y="251"/>
                  <a:pt x="88" y="251"/>
                  <a:pt x="88" y="251"/>
                </a:cubicBezTo>
                <a:cubicBezTo>
                  <a:pt x="87" y="252"/>
                  <a:pt x="87" y="252"/>
                  <a:pt x="87" y="252"/>
                </a:cubicBezTo>
                <a:cubicBezTo>
                  <a:pt x="88" y="252"/>
                  <a:pt x="88" y="252"/>
                  <a:pt x="88" y="252"/>
                </a:cubicBezTo>
                <a:cubicBezTo>
                  <a:pt x="87" y="253"/>
                  <a:pt x="87" y="253"/>
                  <a:pt x="87" y="253"/>
                </a:cubicBezTo>
                <a:cubicBezTo>
                  <a:pt x="86" y="253"/>
                  <a:pt x="86" y="253"/>
                  <a:pt x="86" y="253"/>
                </a:cubicBezTo>
                <a:cubicBezTo>
                  <a:pt x="86" y="254"/>
                  <a:pt x="86" y="254"/>
                  <a:pt x="86" y="254"/>
                </a:cubicBezTo>
                <a:cubicBezTo>
                  <a:pt x="86" y="255"/>
                  <a:pt x="86" y="255"/>
                  <a:pt x="86" y="255"/>
                </a:cubicBezTo>
                <a:cubicBezTo>
                  <a:pt x="87" y="256"/>
                  <a:pt x="87" y="256"/>
                  <a:pt x="87" y="256"/>
                </a:cubicBezTo>
                <a:cubicBezTo>
                  <a:pt x="90" y="258"/>
                  <a:pt x="90" y="258"/>
                  <a:pt x="90" y="258"/>
                </a:cubicBezTo>
                <a:cubicBezTo>
                  <a:pt x="92" y="261"/>
                  <a:pt x="92" y="261"/>
                  <a:pt x="92" y="261"/>
                </a:cubicBezTo>
                <a:cubicBezTo>
                  <a:pt x="93" y="261"/>
                  <a:pt x="93" y="261"/>
                  <a:pt x="93" y="261"/>
                </a:cubicBezTo>
                <a:cubicBezTo>
                  <a:pt x="95" y="260"/>
                  <a:pt x="95" y="260"/>
                  <a:pt x="95" y="260"/>
                </a:cubicBezTo>
                <a:cubicBezTo>
                  <a:pt x="96" y="262"/>
                  <a:pt x="96" y="262"/>
                  <a:pt x="96" y="262"/>
                </a:cubicBezTo>
                <a:cubicBezTo>
                  <a:pt x="96" y="261"/>
                  <a:pt x="96" y="261"/>
                  <a:pt x="96" y="261"/>
                </a:cubicBezTo>
                <a:cubicBezTo>
                  <a:pt x="98" y="261"/>
                  <a:pt x="98" y="261"/>
                  <a:pt x="98" y="261"/>
                </a:cubicBezTo>
                <a:cubicBezTo>
                  <a:pt x="98" y="260"/>
                  <a:pt x="98" y="260"/>
                  <a:pt x="98" y="260"/>
                </a:cubicBezTo>
                <a:cubicBezTo>
                  <a:pt x="100" y="259"/>
                  <a:pt x="100" y="259"/>
                  <a:pt x="100" y="259"/>
                </a:cubicBezTo>
                <a:cubicBezTo>
                  <a:pt x="101" y="258"/>
                  <a:pt x="101" y="258"/>
                  <a:pt x="101" y="258"/>
                </a:cubicBezTo>
                <a:cubicBezTo>
                  <a:pt x="100" y="256"/>
                  <a:pt x="100" y="256"/>
                  <a:pt x="100" y="256"/>
                </a:cubicBezTo>
                <a:cubicBezTo>
                  <a:pt x="101" y="254"/>
                  <a:pt x="101" y="254"/>
                  <a:pt x="101" y="254"/>
                </a:cubicBezTo>
                <a:cubicBezTo>
                  <a:pt x="101" y="253"/>
                  <a:pt x="101" y="253"/>
                  <a:pt x="101" y="253"/>
                </a:cubicBezTo>
                <a:cubicBezTo>
                  <a:pt x="100" y="252"/>
                  <a:pt x="100" y="252"/>
                  <a:pt x="100" y="252"/>
                </a:cubicBezTo>
                <a:cubicBezTo>
                  <a:pt x="100" y="252"/>
                  <a:pt x="100" y="252"/>
                  <a:pt x="100" y="252"/>
                </a:cubicBezTo>
                <a:cubicBezTo>
                  <a:pt x="104" y="251"/>
                  <a:pt x="104" y="251"/>
                  <a:pt x="104" y="251"/>
                </a:cubicBezTo>
                <a:cubicBezTo>
                  <a:pt x="104" y="251"/>
                  <a:pt x="104" y="251"/>
                  <a:pt x="104" y="251"/>
                </a:cubicBezTo>
                <a:cubicBezTo>
                  <a:pt x="106" y="251"/>
                  <a:pt x="106" y="251"/>
                  <a:pt x="106" y="251"/>
                </a:cubicBezTo>
                <a:cubicBezTo>
                  <a:pt x="106" y="250"/>
                  <a:pt x="106" y="250"/>
                  <a:pt x="106" y="250"/>
                </a:cubicBezTo>
                <a:cubicBezTo>
                  <a:pt x="104" y="249"/>
                  <a:pt x="104" y="249"/>
                  <a:pt x="104" y="249"/>
                </a:cubicBezTo>
                <a:cubicBezTo>
                  <a:pt x="104" y="248"/>
                  <a:pt x="104" y="248"/>
                  <a:pt x="104" y="248"/>
                </a:cubicBezTo>
                <a:cubicBezTo>
                  <a:pt x="105" y="248"/>
                  <a:pt x="105" y="248"/>
                  <a:pt x="105" y="248"/>
                </a:cubicBezTo>
                <a:cubicBezTo>
                  <a:pt x="105" y="249"/>
                  <a:pt x="105" y="249"/>
                  <a:pt x="105" y="249"/>
                </a:cubicBezTo>
                <a:cubicBezTo>
                  <a:pt x="107" y="248"/>
                  <a:pt x="107" y="248"/>
                  <a:pt x="107" y="248"/>
                </a:cubicBezTo>
                <a:cubicBezTo>
                  <a:pt x="109" y="245"/>
                  <a:pt x="109" y="245"/>
                  <a:pt x="109" y="245"/>
                </a:cubicBezTo>
                <a:cubicBezTo>
                  <a:pt x="110" y="245"/>
                  <a:pt x="110" y="245"/>
                  <a:pt x="110" y="245"/>
                </a:cubicBezTo>
                <a:cubicBezTo>
                  <a:pt x="112" y="242"/>
                  <a:pt x="112" y="242"/>
                  <a:pt x="112" y="242"/>
                </a:cubicBezTo>
                <a:cubicBezTo>
                  <a:pt x="112" y="241"/>
                  <a:pt x="112" y="241"/>
                  <a:pt x="112" y="241"/>
                </a:cubicBezTo>
                <a:cubicBezTo>
                  <a:pt x="113" y="241"/>
                  <a:pt x="113" y="241"/>
                  <a:pt x="113" y="241"/>
                </a:cubicBezTo>
                <a:cubicBezTo>
                  <a:pt x="114" y="241"/>
                  <a:pt x="114" y="241"/>
                  <a:pt x="114" y="241"/>
                </a:cubicBezTo>
                <a:cubicBezTo>
                  <a:pt x="116" y="240"/>
                  <a:pt x="116" y="240"/>
                  <a:pt x="116" y="240"/>
                </a:cubicBezTo>
                <a:cubicBezTo>
                  <a:pt x="116" y="240"/>
                  <a:pt x="116" y="240"/>
                  <a:pt x="116" y="240"/>
                </a:cubicBezTo>
                <a:cubicBezTo>
                  <a:pt x="119" y="239"/>
                  <a:pt x="119" y="239"/>
                  <a:pt x="119" y="239"/>
                </a:cubicBezTo>
                <a:cubicBezTo>
                  <a:pt x="119" y="240"/>
                  <a:pt x="119" y="240"/>
                  <a:pt x="119" y="240"/>
                </a:cubicBezTo>
                <a:cubicBezTo>
                  <a:pt x="119" y="240"/>
                  <a:pt x="119" y="240"/>
                  <a:pt x="119" y="240"/>
                </a:cubicBezTo>
                <a:cubicBezTo>
                  <a:pt x="120" y="241"/>
                  <a:pt x="120" y="241"/>
                  <a:pt x="120" y="241"/>
                </a:cubicBezTo>
                <a:cubicBezTo>
                  <a:pt x="119" y="241"/>
                  <a:pt x="119" y="241"/>
                  <a:pt x="119" y="241"/>
                </a:cubicBezTo>
                <a:cubicBezTo>
                  <a:pt x="120" y="242"/>
                  <a:pt x="120" y="242"/>
                  <a:pt x="120" y="242"/>
                </a:cubicBezTo>
                <a:cubicBezTo>
                  <a:pt x="121" y="241"/>
                  <a:pt x="121" y="241"/>
                  <a:pt x="121" y="241"/>
                </a:cubicBezTo>
                <a:cubicBezTo>
                  <a:pt x="121" y="240"/>
                  <a:pt x="121" y="240"/>
                  <a:pt x="121" y="240"/>
                </a:cubicBezTo>
                <a:cubicBezTo>
                  <a:pt x="121" y="239"/>
                  <a:pt x="121" y="239"/>
                  <a:pt x="121" y="239"/>
                </a:cubicBezTo>
                <a:cubicBezTo>
                  <a:pt x="120" y="238"/>
                  <a:pt x="120" y="238"/>
                  <a:pt x="120" y="238"/>
                </a:cubicBezTo>
                <a:cubicBezTo>
                  <a:pt x="120" y="238"/>
                  <a:pt x="120" y="238"/>
                  <a:pt x="120" y="238"/>
                </a:cubicBezTo>
                <a:cubicBezTo>
                  <a:pt x="122" y="236"/>
                  <a:pt x="122" y="236"/>
                  <a:pt x="122" y="236"/>
                </a:cubicBezTo>
                <a:cubicBezTo>
                  <a:pt x="122" y="235"/>
                  <a:pt x="122" y="235"/>
                  <a:pt x="122" y="235"/>
                </a:cubicBezTo>
                <a:cubicBezTo>
                  <a:pt x="123" y="236"/>
                  <a:pt x="123" y="236"/>
                  <a:pt x="123" y="236"/>
                </a:cubicBezTo>
                <a:cubicBezTo>
                  <a:pt x="122" y="237"/>
                  <a:pt x="122" y="237"/>
                  <a:pt x="122" y="237"/>
                </a:cubicBezTo>
                <a:cubicBezTo>
                  <a:pt x="122" y="237"/>
                  <a:pt x="122" y="237"/>
                  <a:pt x="122" y="237"/>
                </a:cubicBezTo>
                <a:cubicBezTo>
                  <a:pt x="123" y="238"/>
                  <a:pt x="123" y="238"/>
                  <a:pt x="123" y="238"/>
                </a:cubicBezTo>
                <a:cubicBezTo>
                  <a:pt x="124" y="238"/>
                  <a:pt x="124" y="238"/>
                  <a:pt x="124" y="238"/>
                </a:cubicBezTo>
                <a:cubicBezTo>
                  <a:pt x="124" y="237"/>
                  <a:pt x="124" y="237"/>
                  <a:pt x="124" y="237"/>
                </a:cubicBezTo>
                <a:cubicBezTo>
                  <a:pt x="124" y="237"/>
                  <a:pt x="124" y="237"/>
                  <a:pt x="124" y="237"/>
                </a:cubicBezTo>
                <a:cubicBezTo>
                  <a:pt x="123" y="235"/>
                  <a:pt x="123" y="235"/>
                  <a:pt x="123" y="235"/>
                </a:cubicBezTo>
                <a:cubicBezTo>
                  <a:pt x="123" y="235"/>
                  <a:pt x="123" y="235"/>
                  <a:pt x="123" y="235"/>
                </a:cubicBezTo>
                <a:cubicBezTo>
                  <a:pt x="124" y="234"/>
                  <a:pt x="124" y="234"/>
                  <a:pt x="124" y="234"/>
                </a:cubicBezTo>
                <a:cubicBezTo>
                  <a:pt x="127" y="233"/>
                  <a:pt x="127" y="233"/>
                  <a:pt x="127" y="233"/>
                </a:cubicBezTo>
                <a:cubicBezTo>
                  <a:pt x="130" y="232"/>
                  <a:pt x="130" y="232"/>
                  <a:pt x="130" y="232"/>
                </a:cubicBezTo>
                <a:cubicBezTo>
                  <a:pt x="130" y="233"/>
                  <a:pt x="130" y="233"/>
                  <a:pt x="130" y="233"/>
                </a:cubicBezTo>
                <a:cubicBezTo>
                  <a:pt x="129" y="233"/>
                  <a:pt x="129" y="233"/>
                  <a:pt x="129" y="233"/>
                </a:cubicBezTo>
                <a:cubicBezTo>
                  <a:pt x="128" y="233"/>
                  <a:pt x="128" y="233"/>
                  <a:pt x="128" y="233"/>
                </a:cubicBezTo>
                <a:cubicBezTo>
                  <a:pt x="125" y="235"/>
                  <a:pt x="125" y="235"/>
                  <a:pt x="125" y="235"/>
                </a:cubicBezTo>
                <a:cubicBezTo>
                  <a:pt x="126" y="235"/>
                  <a:pt x="126" y="235"/>
                  <a:pt x="126" y="235"/>
                </a:cubicBezTo>
                <a:cubicBezTo>
                  <a:pt x="127" y="235"/>
                  <a:pt x="127" y="235"/>
                  <a:pt x="127" y="235"/>
                </a:cubicBezTo>
                <a:cubicBezTo>
                  <a:pt x="127" y="235"/>
                  <a:pt x="127" y="235"/>
                  <a:pt x="127" y="235"/>
                </a:cubicBezTo>
                <a:cubicBezTo>
                  <a:pt x="129" y="236"/>
                  <a:pt x="129" y="236"/>
                  <a:pt x="129" y="236"/>
                </a:cubicBezTo>
                <a:cubicBezTo>
                  <a:pt x="128" y="237"/>
                  <a:pt x="128" y="237"/>
                  <a:pt x="128" y="237"/>
                </a:cubicBezTo>
                <a:cubicBezTo>
                  <a:pt x="128" y="237"/>
                  <a:pt x="128" y="237"/>
                  <a:pt x="128" y="237"/>
                </a:cubicBezTo>
                <a:cubicBezTo>
                  <a:pt x="128" y="239"/>
                  <a:pt x="128" y="239"/>
                  <a:pt x="128" y="239"/>
                </a:cubicBezTo>
                <a:cubicBezTo>
                  <a:pt x="128" y="239"/>
                  <a:pt x="128" y="239"/>
                  <a:pt x="128" y="239"/>
                </a:cubicBezTo>
                <a:cubicBezTo>
                  <a:pt x="127" y="239"/>
                  <a:pt x="127" y="239"/>
                  <a:pt x="127" y="239"/>
                </a:cubicBezTo>
                <a:cubicBezTo>
                  <a:pt x="125" y="241"/>
                  <a:pt x="125" y="241"/>
                  <a:pt x="125" y="241"/>
                </a:cubicBezTo>
                <a:cubicBezTo>
                  <a:pt x="126" y="242"/>
                  <a:pt x="126" y="242"/>
                  <a:pt x="126" y="242"/>
                </a:cubicBezTo>
                <a:cubicBezTo>
                  <a:pt x="127" y="242"/>
                  <a:pt x="127" y="242"/>
                  <a:pt x="127" y="242"/>
                </a:cubicBezTo>
                <a:cubicBezTo>
                  <a:pt x="128" y="242"/>
                  <a:pt x="128" y="242"/>
                  <a:pt x="128" y="242"/>
                </a:cubicBezTo>
                <a:cubicBezTo>
                  <a:pt x="128" y="242"/>
                  <a:pt x="128" y="242"/>
                  <a:pt x="128" y="242"/>
                </a:cubicBezTo>
                <a:cubicBezTo>
                  <a:pt x="129" y="241"/>
                  <a:pt x="129" y="241"/>
                  <a:pt x="129" y="241"/>
                </a:cubicBezTo>
                <a:cubicBezTo>
                  <a:pt x="131" y="242"/>
                  <a:pt x="131" y="242"/>
                  <a:pt x="131" y="242"/>
                </a:cubicBezTo>
                <a:cubicBezTo>
                  <a:pt x="131" y="243"/>
                  <a:pt x="131" y="243"/>
                  <a:pt x="131" y="243"/>
                </a:cubicBezTo>
                <a:cubicBezTo>
                  <a:pt x="131" y="242"/>
                  <a:pt x="131" y="242"/>
                  <a:pt x="131" y="242"/>
                </a:cubicBezTo>
                <a:cubicBezTo>
                  <a:pt x="132" y="240"/>
                  <a:pt x="132" y="240"/>
                  <a:pt x="132" y="240"/>
                </a:cubicBezTo>
                <a:cubicBezTo>
                  <a:pt x="133" y="240"/>
                  <a:pt x="133" y="240"/>
                  <a:pt x="133" y="240"/>
                </a:cubicBezTo>
                <a:cubicBezTo>
                  <a:pt x="134" y="241"/>
                  <a:pt x="134" y="241"/>
                  <a:pt x="134" y="241"/>
                </a:cubicBezTo>
                <a:cubicBezTo>
                  <a:pt x="135" y="242"/>
                  <a:pt x="135" y="242"/>
                  <a:pt x="135" y="242"/>
                </a:cubicBezTo>
                <a:cubicBezTo>
                  <a:pt x="135" y="241"/>
                  <a:pt x="135" y="241"/>
                  <a:pt x="135" y="241"/>
                </a:cubicBezTo>
                <a:cubicBezTo>
                  <a:pt x="135" y="240"/>
                  <a:pt x="135" y="240"/>
                  <a:pt x="135" y="240"/>
                </a:cubicBezTo>
                <a:cubicBezTo>
                  <a:pt x="135" y="240"/>
                  <a:pt x="135" y="240"/>
                  <a:pt x="135" y="240"/>
                </a:cubicBezTo>
                <a:cubicBezTo>
                  <a:pt x="134" y="239"/>
                  <a:pt x="134" y="239"/>
                  <a:pt x="134" y="239"/>
                </a:cubicBezTo>
                <a:cubicBezTo>
                  <a:pt x="134" y="238"/>
                  <a:pt x="134" y="238"/>
                  <a:pt x="134" y="238"/>
                </a:cubicBezTo>
                <a:cubicBezTo>
                  <a:pt x="135" y="237"/>
                  <a:pt x="135" y="237"/>
                  <a:pt x="135" y="237"/>
                </a:cubicBezTo>
                <a:cubicBezTo>
                  <a:pt x="136" y="237"/>
                  <a:pt x="136" y="237"/>
                  <a:pt x="136" y="237"/>
                </a:cubicBezTo>
                <a:cubicBezTo>
                  <a:pt x="137" y="236"/>
                  <a:pt x="137" y="236"/>
                  <a:pt x="137" y="236"/>
                </a:cubicBezTo>
                <a:cubicBezTo>
                  <a:pt x="138" y="235"/>
                  <a:pt x="138" y="235"/>
                  <a:pt x="138" y="235"/>
                </a:cubicBezTo>
                <a:cubicBezTo>
                  <a:pt x="139" y="236"/>
                  <a:pt x="139" y="236"/>
                  <a:pt x="139" y="236"/>
                </a:cubicBezTo>
                <a:cubicBezTo>
                  <a:pt x="140" y="236"/>
                  <a:pt x="140" y="236"/>
                  <a:pt x="140" y="236"/>
                </a:cubicBezTo>
                <a:cubicBezTo>
                  <a:pt x="141" y="236"/>
                  <a:pt x="141" y="236"/>
                  <a:pt x="141" y="236"/>
                </a:cubicBezTo>
                <a:cubicBezTo>
                  <a:pt x="142" y="236"/>
                  <a:pt x="142" y="236"/>
                  <a:pt x="142" y="236"/>
                </a:cubicBezTo>
                <a:cubicBezTo>
                  <a:pt x="144" y="236"/>
                  <a:pt x="144" y="236"/>
                  <a:pt x="144" y="236"/>
                </a:cubicBezTo>
                <a:cubicBezTo>
                  <a:pt x="145" y="235"/>
                  <a:pt x="145" y="235"/>
                  <a:pt x="145" y="235"/>
                </a:cubicBezTo>
                <a:cubicBezTo>
                  <a:pt x="145" y="234"/>
                  <a:pt x="145" y="234"/>
                  <a:pt x="145" y="234"/>
                </a:cubicBezTo>
                <a:cubicBezTo>
                  <a:pt x="146" y="234"/>
                  <a:pt x="146" y="234"/>
                  <a:pt x="146" y="234"/>
                </a:cubicBezTo>
                <a:cubicBezTo>
                  <a:pt x="147" y="234"/>
                  <a:pt x="147" y="234"/>
                  <a:pt x="147" y="234"/>
                </a:cubicBezTo>
                <a:cubicBezTo>
                  <a:pt x="148" y="233"/>
                  <a:pt x="148" y="233"/>
                  <a:pt x="148" y="233"/>
                </a:cubicBezTo>
                <a:cubicBezTo>
                  <a:pt x="149" y="232"/>
                  <a:pt x="149" y="232"/>
                  <a:pt x="149" y="232"/>
                </a:cubicBezTo>
                <a:cubicBezTo>
                  <a:pt x="150" y="232"/>
                  <a:pt x="150" y="232"/>
                  <a:pt x="150" y="232"/>
                </a:cubicBezTo>
                <a:cubicBezTo>
                  <a:pt x="151" y="230"/>
                  <a:pt x="151" y="230"/>
                  <a:pt x="151" y="230"/>
                </a:cubicBezTo>
                <a:cubicBezTo>
                  <a:pt x="152" y="230"/>
                  <a:pt x="152" y="230"/>
                  <a:pt x="152" y="230"/>
                </a:cubicBezTo>
                <a:cubicBezTo>
                  <a:pt x="153" y="229"/>
                  <a:pt x="153" y="229"/>
                  <a:pt x="153" y="229"/>
                </a:cubicBezTo>
                <a:cubicBezTo>
                  <a:pt x="153" y="230"/>
                  <a:pt x="153" y="230"/>
                  <a:pt x="153" y="230"/>
                </a:cubicBezTo>
                <a:cubicBezTo>
                  <a:pt x="152" y="231"/>
                  <a:pt x="152" y="231"/>
                  <a:pt x="152" y="231"/>
                </a:cubicBezTo>
                <a:cubicBezTo>
                  <a:pt x="153" y="231"/>
                  <a:pt x="153" y="231"/>
                  <a:pt x="153" y="231"/>
                </a:cubicBezTo>
                <a:cubicBezTo>
                  <a:pt x="154" y="233"/>
                  <a:pt x="154" y="233"/>
                  <a:pt x="154" y="233"/>
                </a:cubicBezTo>
                <a:cubicBezTo>
                  <a:pt x="155" y="233"/>
                  <a:pt x="155" y="233"/>
                  <a:pt x="155" y="233"/>
                </a:cubicBezTo>
                <a:cubicBezTo>
                  <a:pt x="154" y="234"/>
                  <a:pt x="154" y="234"/>
                  <a:pt x="154" y="234"/>
                </a:cubicBezTo>
                <a:cubicBezTo>
                  <a:pt x="154" y="235"/>
                  <a:pt x="154" y="235"/>
                  <a:pt x="154" y="235"/>
                </a:cubicBezTo>
                <a:cubicBezTo>
                  <a:pt x="154" y="236"/>
                  <a:pt x="154" y="236"/>
                  <a:pt x="154" y="236"/>
                </a:cubicBezTo>
                <a:cubicBezTo>
                  <a:pt x="155" y="237"/>
                  <a:pt x="155" y="237"/>
                  <a:pt x="155" y="237"/>
                </a:cubicBezTo>
                <a:cubicBezTo>
                  <a:pt x="158" y="237"/>
                  <a:pt x="158" y="237"/>
                  <a:pt x="158" y="237"/>
                </a:cubicBezTo>
                <a:cubicBezTo>
                  <a:pt x="158" y="237"/>
                  <a:pt x="158" y="237"/>
                  <a:pt x="158" y="237"/>
                </a:cubicBezTo>
                <a:cubicBezTo>
                  <a:pt x="158" y="236"/>
                  <a:pt x="158" y="236"/>
                  <a:pt x="158" y="236"/>
                </a:cubicBezTo>
                <a:cubicBezTo>
                  <a:pt x="158" y="236"/>
                  <a:pt x="158" y="236"/>
                  <a:pt x="158" y="236"/>
                </a:cubicBezTo>
                <a:cubicBezTo>
                  <a:pt x="157" y="234"/>
                  <a:pt x="157" y="234"/>
                  <a:pt x="157" y="234"/>
                </a:cubicBezTo>
                <a:cubicBezTo>
                  <a:pt x="157" y="233"/>
                  <a:pt x="157" y="233"/>
                  <a:pt x="157" y="233"/>
                </a:cubicBezTo>
                <a:cubicBezTo>
                  <a:pt x="158" y="233"/>
                  <a:pt x="158" y="233"/>
                  <a:pt x="158" y="233"/>
                </a:cubicBezTo>
                <a:cubicBezTo>
                  <a:pt x="159" y="233"/>
                  <a:pt x="159" y="233"/>
                  <a:pt x="159" y="233"/>
                </a:cubicBezTo>
                <a:cubicBezTo>
                  <a:pt x="161" y="233"/>
                  <a:pt x="161" y="233"/>
                  <a:pt x="161" y="233"/>
                </a:cubicBezTo>
                <a:cubicBezTo>
                  <a:pt x="161" y="230"/>
                  <a:pt x="161" y="230"/>
                  <a:pt x="161" y="230"/>
                </a:cubicBezTo>
                <a:cubicBezTo>
                  <a:pt x="162" y="230"/>
                  <a:pt x="162" y="230"/>
                  <a:pt x="162" y="230"/>
                </a:cubicBezTo>
                <a:cubicBezTo>
                  <a:pt x="163" y="231"/>
                  <a:pt x="163" y="231"/>
                  <a:pt x="163" y="231"/>
                </a:cubicBezTo>
                <a:cubicBezTo>
                  <a:pt x="164" y="231"/>
                  <a:pt x="164" y="231"/>
                  <a:pt x="164" y="231"/>
                </a:cubicBezTo>
                <a:cubicBezTo>
                  <a:pt x="163" y="229"/>
                  <a:pt x="163" y="229"/>
                  <a:pt x="163" y="229"/>
                </a:cubicBezTo>
                <a:cubicBezTo>
                  <a:pt x="161" y="229"/>
                  <a:pt x="161" y="229"/>
                  <a:pt x="161" y="229"/>
                </a:cubicBezTo>
                <a:cubicBezTo>
                  <a:pt x="161" y="228"/>
                  <a:pt x="161" y="228"/>
                  <a:pt x="161" y="228"/>
                </a:cubicBezTo>
                <a:cubicBezTo>
                  <a:pt x="160" y="226"/>
                  <a:pt x="160" y="226"/>
                  <a:pt x="160" y="226"/>
                </a:cubicBezTo>
                <a:cubicBezTo>
                  <a:pt x="159" y="226"/>
                  <a:pt x="159" y="226"/>
                  <a:pt x="159" y="226"/>
                </a:cubicBezTo>
                <a:cubicBezTo>
                  <a:pt x="159" y="227"/>
                  <a:pt x="159" y="227"/>
                  <a:pt x="159" y="227"/>
                </a:cubicBezTo>
                <a:cubicBezTo>
                  <a:pt x="158" y="226"/>
                  <a:pt x="158" y="226"/>
                  <a:pt x="158" y="226"/>
                </a:cubicBezTo>
                <a:cubicBezTo>
                  <a:pt x="158" y="223"/>
                  <a:pt x="158" y="223"/>
                  <a:pt x="158" y="223"/>
                </a:cubicBezTo>
                <a:cubicBezTo>
                  <a:pt x="157" y="223"/>
                  <a:pt x="157" y="223"/>
                  <a:pt x="157" y="223"/>
                </a:cubicBezTo>
                <a:cubicBezTo>
                  <a:pt x="156" y="221"/>
                  <a:pt x="156" y="221"/>
                  <a:pt x="156" y="221"/>
                </a:cubicBezTo>
                <a:cubicBezTo>
                  <a:pt x="156" y="221"/>
                  <a:pt x="156" y="221"/>
                  <a:pt x="156" y="221"/>
                </a:cubicBezTo>
                <a:cubicBezTo>
                  <a:pt x="157" y="221"/>
                  <a:pt x="157" y="221"/>
                  <a:pt x="157" y="221"/>
                </a:cubicBezTo>
                <a:cubicBezTo>
                  <a:pt x="157" y="219"/>
                  <a:pt x="157" y="219"/>
                  <a:pt x="157" y="219"/>
                </a:cubicBezTo>
                <a:cubicBezTo>
                  <a:pt x="157" y="218"/>
                  <a:pt x="157" y="218"/>
                  <a:pt x="157" y="218"/>
                </a:cubicBezTo>
                <a:cubicBezTo>
                  <a:pt x="157" y="217"/>
                  <a:pt x="157" y="217"/>
                  <a:pt x="157" y="217"/>
                </a:cubicBezTo>
                <a:cubicBezTo>
                  <a:pt x="158" y="218"/>
                  <a:pt x="158" y="218"/>
                  <a:pt x="158" y="218"/>
                </a:cubicBezTo>
                <a:cubicBezTo>
                  <a:pt x="159" y="217"/>
                  <a:pt x="159" y="217"/>
                  <a:pt x="159" y="217"/>
                </a:cubicBezTo>
                <a:cubicBezTo>
                  <a:pt x="160" y="218"/>
                  <a:pt x="160" y="218"/>
                  <a:pt x="160" y="218"/>
                </a:cubicBezTo>
                <a:cubicBezTo>
                  <a:pt x="161" y="218"/>
                  <a:pt x="161" y="218"/>
                  <a:pt x="161" y="218"/>
                </a:cubicBezTo>
                <a:cubicBezTo>
                  <a:pt x="162" y="218"/>
                  <a:pt x="162" y="218"/>
                  <a:pt x="162" y="218"/>
                </a:cubicBezTo>
                <a:cubicBezTo>
                  <a:pt x="167" y="218"/>
                  <a:pt x="167" y="218"/>
                  <a:pt x="167" y="218"/>
                </a:cubicBezTo>
                <a:cubicBezTo>
                  <a:pt x="173" y="218"/>
                  <a:pt x="173" y="218"/>
                  <a:pt x="173" y="218"/>
                </a:cubicBezTo>
                <a:cubicBezTo>
                  <a:pt x="175" y="219"/>
                  <a:pt x="175" y="219"/>
                  <a:pt x="175" y="219"/>
                </a:cubicBezTo>
                <a:cubicBezTo>
                  <a:pt x="179" y="221"/>
                  <a:pt x="179" y="221"/>
                  <a:pt x="179" y="221"/>
                </a:cubicBezTo>
                <a:cubicBezTo>
                  <a:pt x="179" y="221"/>
                  <a:pt x="179" y="221"/>
                  <a:pt x="179" y="221"/>
                </a:cubicBezTo>
                <a:cubicBezTo>
                  <a:pt x="179" y="222"/>
                  <a:pt x="179" y="222"/>
                  <a:pt x="179" y="222"/>
                </a:cubicBezTo>
                <a:cubicBezTo>
                  <a:pt x="179" y="224"/>
                  <a:pt x="179" y="224"/>
                  <a:pt x="179" y="224"/>
                </a:cubicBezTo>
                <a:cubicBezTo>
                  <a:pt x="181" y="222"/>
                  <a:pt x="181" y="222"/>
                  <a:pt x="181" y="222"/>
                </a:cubicBezTo>
                <a:cubicBezTo>
                  <a:pt x="182" y="222"/>
                  <a:pt x="182" y="222"/>
                  <a:pt x="182" y="222"/>
                </a:cubicBezTo>
                <a:cubicBezTo>
                  <a:pt x="183" y="223"/>
                  <a:pt x="183" y="223"/>
                  <a:pt x="183" y="223"/>
                </a:cubicBezTo>
                <a:cubicBezTo>
                  <a:pt x="184" y="223"/>
                  <a:pt x="184" y="223"/>
                  <a:pt x="184" y="223"/>
                </a:cubicBezTo>
                <a:cubicBezTo>
                  <a:pt x="185" y="224"/>
                  <a:pt x="185" y="224"/>
                  <a:pt x="185" y="224"/>
                </a:cubicBezTo>
                <a:cubicBezTo>
                  <a:pt x="187" y="224"/>
                  <a:pt x="187" y="224"/>
                  <a:pt x="187" y="224"/>
                </a:cubicBezTo>
                <a:cubicBezTo>
                  <a:pt x="190" y="226"/>
                  <a:pt x="190" y="226"/>
                  <a:pt x="190" y="226"/>
                </a:cubicBezTo>
                <a:cubicBezTo>
                  <a:pt x="194" y="227"/>
                  <a:pt x="194" y="227"/>
                  <a:pt x="194" y="227"/>
                </a:cubicBezTo>
                <a:cubicBezTo>
                  <a:pt x="195" y="228"/>
                  <a:pt x="195" y="228"/>
                  <a:pt x="195" y="228"/>
                </a:cubicBezTo>
                <a:cubicBezTo>
                  <a:pt x="196" y="229"/>
                  <a:pt x="196" y="229"/>
                  <a:pt x="196" y="229"/>
                </a:cubicBezTo>
                <a:cubicBezTo>
                  <a:pt x="198" y="230"/>
                  <a:pt x="198" y="230"/>
                  <a:pt x="198" y="230"/>
                </a:cubicBezTo>
                <a:cubicBezTo>
                  <a:pt x="199" y="231"/>
                  <a:pt x="199" y="231"/>
                  <a:pt x="199" y="231"/>
                </a:cubicBezTo>
                <a:cubicBezTo>
                  <a:pt x="201" y="234"/>
                  <a:pt x="201" y="234"/>
                  <a:pt x="201" y="234"/>
                </a:cubicBezTo>
                <a:cubicBezTo>
                  <a:pt x="202" y="234"/>
                  <a:pt x="202" y="234"/>
                  <a:pt x="202" y="234"/>
                </a:cubicBezTo>
                <a:cubicBezTo>
                  <a:pt x="202" y="233"/>
                  <a:pt x="202" y="233"/>
                  <a:pt x="202" y="233"/>
                </a:cubicBezTo>
                <a:cubicBezTo>
                  <a:pt x="202" y="232"/>
                  <a:pt x="202" y="232"/>
                  <a:pt x="202" y="232"/>
                </a:cubicBezTo>
                <a:cubicBezTo>
                  <a:pt x="203" y="232"/>
                  <a:pt x="203" y="232"/>
                  <a:pt x="203" y="232"/>
                </a:cubicBezTo>
                <a:cubicBezTo>
                  <a:pt x="203" y="231"/>
                  <a:pt x="203" y="231"/>
                  <a:pt x="203" y="231"/>
                </a:cubicBezTo>
                <a:cubicBezTo>
                  <a:pt x="202" y="230"/>
                  <a:pt x="202" y="230"/>
                  <a:pt x="202" y="230"/>
                </a:cubicBezTo>
                <a:cubicBezTo>
                  <a:pt x="202" y="229"/>
                  <a:pt x="202" y="229"/>
                  <a:pt x="202" y="229"/>
                </a:cubicBezTo>
                <a:cubicBezTo>
                  <a:pt x="202" y="225"/>
                  <a:pt x="202" y="225"/>
                  <a:pt x="202" y="225"/>
                </a:cubicBezTo>
                <a:cubicBezTo>
                  <a:pt x="204" y="224"/>
                  <a:pt x="204" y="224"/>
                  <a:pt x="204" y="224"/>
                </a:cubicBezTo>
                <a:cubicBezTo>
                  <a:pt x="202" y="225"/>
                  <a:pt x="202" y="225"/>
                  <a:pt x="202" y="225"/>
                </a:cubicBezTo>
                <a:cubicBezTo>
                  <a:pt x="202" y="224"/>
                  <a:pt x="202" y="224"/>
                  <a:pt x="202" y="224"/>
                </a:cubicBezTo>
                <a:cubicBezTo>
                  <a:pt x="201" y="224"/>
                  <a:pt x="201" y="224"/>
                  <a:pt x="201" y="224"/>
                </a:cubicBezTo>
                <a:cubicBezTo>
                  <a:pt x="200" y="225"/>
                  <a:pt x="200" y="225"/>
                  <a:pt x="200" y="225"/>
                </a:cubicBezTo>
                <a:cubicBezTo>
                  <a:pt x="199" y="224"/>
                  <a:pt x="199" y="224"/>
                  <a:pt x="199" y="224"/>
                </a:cubicBezTo>
                <a:cubicBezTo>
                  <a:pt x="196" y="221"/>
                  <a:pt x="196" y="221"/>
                  <a:pt x="196" y="221"/>
                </a:cubicBezTo>
                <a:cubicBezTo>
                  <a:pt x="196" y="221"/>
                  <a:pt x="196" y="221"/>
                  <a:pt x="196" y="221"/>
                </a:cubicBezTo>
                <a:cubicBezTo>
                  <a:pt x="195" y="220"/>
                  <a:pt x="195" y="220"/>
                  <a:pt x="195" y="220"/>
                </a:cubicBezTo>
                <a:cubicBezTo>
                  <a:pt x="195" y="218"/>
                  <a:pt x="195" y="218"/>
                  <a:pt x="195" y="218"/>
                </a:cubicBezTo>
                <a:cubicBezTo>
                  <a:pt x="194" y="217"/>
                  <a:pt x="194" y="217"/>
                  <a:pt x="194" y="217"/>
                </a:cubicBezTo>
                <a:cubicBezTo>
                  <a:pt x="193" y="219"/>
                  <a:pt x="193" y="219"/>
                  <a:pt x="193" y="219"/>
                </a:cubicBezTo>
                <a:cubicBezTo>
                  <a:pt x="191" y="218"/>
                  <a:pt x="191" y="218"/>
                  <a:pt x="191" y="218"/>
                </a:cubicBezTo>
                <a:cubicBezTo>
                  <a:pt x="190" y="218"/>
                  <a:pt x="190" y="218"/>
                  <a:pt x="190" y="218"/>
                </a:cubicBezTo>
                <a:cubicBezTo>
                  <a:pt x="189" y="217"/>
                  <a:pt x="189" y="217"/>
                  <a:pt x="189" y="217"/>
                </a:cubicBezTo>
                <a:cubicBezTo>
                  <a:pt x="188" y="218"/>
                  <a:pt x="188" y="218"/>
                  <a:pt x="188" y="218"/>
                </a:cubicBezTo>
                <a:cubicBezTo>
                  <a:pt x="188" y="216"/>
                  <a:pt x="188" y="216"/>
                  <a:pt x="188" y="216"/>
                </a:cubicBezTo>
                <a:cubicBezTo>
                  <a:pt x="187" y="215"/>
                  <a:pt x="187" y="215"/>
                  <a:pt x="187" y="215"/>
                </a:cubicBezTo>
                <a:cubicBezTo>
                  <a:pt x="186" y="212"/>
                  <a:pt x="186" y="212"/>
                  <a:pt x="186" y="212"/>
                </a:cubicBezTo>
                <a:cubicBezTo>
                  <a:pt x="186" y="211"/>
                  <a:pt x="186" y="211"/>
                  <a:pt x="186" y="211"/>
                </a:cubicBezTo>
                <a:cubicBezTo>
                  <a:pt x="187" y="212"/>
                  <a:pt x="187" y="212"/>
                  <a:pt x="187" y="212"/>
                </a:cubicBezTo>
                <a:cubicBezTo>
                  <a:pt x="188" y="211"/>
                  <a:pt x="188" y="211"/>
                  <a:pt x="188" y="211"/>
                </a:cubicBezTo>
                <a:cubicBezTo>
                  <a:pt x="188" y="210"/>
                  <a:pt x="188" y="210"/>
                  <a:pt x="188" y="210"/>
                </a:cubicBezTo>
                <a:cubicBezTo>
                  <a:pt x="186" y="208"/>
                  <a:pt x="186" y="208"/>
                  <a:pt x="186" y="208"/>
                </a:cubicBezTo>
                <a:cubicBezTo>
                  <a:pt x="186" y="207"/>
                  <a:pt x="186" y="207"/>
                  <a:pt x="186" y="207"/>
                </a:cubicBezTo>
                <a:cubicBezTo>
                  <a:pt x="186" y="206"/>
                  <a:pt x="186" y="206"/>
                  <a:pt x="186" y="206"/>
                </a:cubicBezTo>
                <a:cubicBezTo>
                  <a:pt x="187" y="206"/>
                  <a:pt x="187" y="206"/>
                  <a:pt x="187" y="206"/>
                </a:cubicBezTo>
                <a:cubicBezTo>
                  <a:pt x="186" y="205"/>
                  <a:pt x="186" y="205"/>
                  <a:pt x="186" y="205"/>
                </a:cubicBezTo>
                <a:cubicBezTo>
                  <a:pt x="185" y="205"/>
                  <a:pt x="185" y="205"/>
                  <a:pt x="185" y="205"/>
                </a:cubicBezTo>
                <a:cubicBezTo>
                  <a:pt x="184" y="202"/>
                  <a:pt x="184" y="202"/>
                  <a:pt x="184" y="202"/>
                </a:cubicBezTo>
                <a:cubicBezTo>
                  <a:pt x="183" y="202"/>
                  <a:pt x="183" y="202"/>
                  <a:pt x="183" y="202"/>
                </a:cubicBezTo>
                <a:cubicBezTo>
                  <a:pt x="182" y="202"/>
                  <a:pt x="182" y="202"/>
                  <a:pt x="182" y="202"/>
                </a:cubicBezTo>
                <a:cubicBezTo>
                  <a:pt x="181" y="201"/>
                  <a:pt x="181" y="201"/>
                  <a:pt x="181" y="201"/>
                </a:cubicBezTo>
                <a:cubicBezTo>
                  <a:pt x="181" y="199"/>
                  <a:pt x="181" y="199"/>
                  <a:pt x="181" y="199"/>
                </a:cubicBezTo>
                <a:cubicBezTo>
                  <a:pt x="182" y="198"/>
                  <a:pt x="182" y="198"/>
                  <a:pt x="182" y="198"/>
                </a:cubicBezTo>
                <a:cubicBezTo>
                  <a:pt x="181" y="196"/>
                  <a:pt x="181" y="196"/>
                  <a:pt x="181" y="196"/>
                </a:cubicBezTo>
                <a:cubicBezTo>
                  <a:pt x="181" y="195"/>
                  <a:pt x="181" y="195"/>
                  <a:pt x="181" y="195"/>
                </a:cubicBezTo>
                <a:cubicBezTo>
                  <a:pt x="181" y="195"/>
                  <a:pt x="181" y="195"/>
                  <a:pt x="181" y="195"/>
                </a:cubicBezTo>
                <a:cubicBezTo>
                  <a:pt x="184" y="191"/>
                  <a:pt x="184" y="191"/>
                  <a:pt x="184" y="191"/>
                </a:cubicBezTo>
                <a:cubicBezTo>
                  <a:pt x="185" y="190"/>
                  <a:pt x="185" y="190"/>
                  <a:pt x="185" y="190"/>
                </a:cubicBezTo>
                <a:cubicBezTo>
                  <a:pt x="185" y="190"/>
                  <a:pt x="185" y="190"/>
                  <a:pt x="185" y="190"/>
                </a:cubicBezTo>
                <a:cubicBezTo>
                  <a:pt x="185" y="188"/>
                  <a:pt x="185" y="188"/>
                  <a:pt x="185" y="188"/>
                </a:cubicBezTo>
                <a:cubicBezTo>
                  <a:pt x="185" y="187"/>
                  <a:pt x="185" y="187"/>
                  <a:pt x="185" y="187"/>
                </a:cubicBezTo>
                <a:cubicBezTo>
                  <a:pt x="186" y="185"/>
                  <a:pt x="186" y="185"/>
                  <a:pt x="186" y="185"/>
                </a:cubicBezTo>
                <a:cubicBezTo>
                  <a:pt x="185" y="184"/>
                  <a:pt x="185" y="184"/>
                  <a:pt x="185" y="184"/>
                </a:cubicBezTo>
                <a:cubicBezTo>
                  <a:pt x="184" y="182"/>
                  <a:pt x="184" y="182"/>
                  <a:pt x="184" y="182"/>
                </a:cubicBezTo>
                <a:cubicBezTo>
                  <a:pt x="185" y="181"/>
                  <a:pt x="185" y="181"/>
                  <a:pt x="185" y="181"/>
                </a:cubicBezTo>
                <a:cubicBezTo>
                  <a:pt x="184" y="180"/>
                  <a:pt x="184" y="180"/>
                  <a:pt x="184" y="180"/>
                </a:cubicBezTo>
                <a:cubicBezTo>
                  <a:pt x="185" y="178"/>
                  <a:pt x="185" y="178"/>
                  <a:pt x="185" y="178"/>
                </a:cubicBezTo>
                <a:cubicBezTo>
                  <a:pt x="184" y="178"/>
                  <a:pt x="184" y="178"/>
                  <a:pt x="184" y="178"/>
                </a:cubicBezTo>
                <a:cubicBezTo>
                  <a:pt x="184" y="175"/>
                  <a:pt x="184" y="175"/>
                  <a:pt x="184" y="175"/>
                </a:cubicBezTo>
                <a:cubicBezTo>
                  <a:pt x="185" y="175"/>
                  <a:pt x="185" y="175"/>
                  <a:pt x="185" y="175"/>
                </a:cubicBezTo>
                <a:cubicBezTo>
                  <a:pt x="184" y="173"/>
                  <a:pt x="184" y="173"/>
                  <a:pt x="184" y="173"/>
                </a:cubicBezTo>
                <a:cubicBezTo>
                  <a:pt x="184" y="171"/>
                  <a:pt x="184" y="171"/>
                  <a:pt x="184" y="171"/>
                </a:cubicBezTo>
                <a:cubicBezTo>
                  <a:pt x="184" y="169"/>
                  <a:pt x="184" y="169"/>
                  <a:pt x="184" y="169"/>
                </a:cubicBezTo>
                <a:cubicBezTo>
                  <a:pt x="185" y="168"/>
                  <a:pt x="185" y="168"/>
                  <a:pt x="185" y="168"/>
                </a:cubicBezTo>
                <a:cubicBezTo>
                  <a:pt x="186" y="169"/>
                  <a:pt x="186" y="169"/>
                  <a:pt x="186" y="169"/>
                </a:cubicBezTo>
                <a:cubicBezTo>
                  <a:pt x="186" y="169"/>
                  <a:pt x="186" y="169"/>
                  <a:pt x="186" y="169"/>
                </a:cubicBezTo>
                <a:cubicBezTo>
                  <a:pt x="186" y="170"/>
                  <a:pt x="186" y="170"/>
                  <a:pt x="186" y="170"/>
                </a:cubicBezTo>
                <a:cubicBezTo>
                  <a:pt x="187" y="169"/>
                  <a:pt x="187" y="169"/>
                  <a:pt x="187" y="169"/>
                </a:cubicBezTo>
                <a:cubicBezTo>
                  <a:pt x="189" y="169"/>
                  <a:pt x="189" y="169"/>
                  <a:pt x="189" y="169"/>
                </a:cubicBezTo>
                <a:cubicBezTo>
                  <a:pt x="191" y="169"/>
                  <a:pt x="191" y="169"/>
                  <a:pt x="191" y="169"/>
                </a:cubicBezTo>
                <a:cubicBezTo>
                  <a:pt x="192" y="169"/>
                  <a:pt x="192" y="169"/>
                  <a:pt x="192" y="169"/>
                </a:cubicBezTo>
                <a:cubicBezTo>
                  <a:pt x="193" y="169"/>
                  <a:pt x="193" y="169"/>
                  <a:pt x="193" y="169"/>
                </a:cubicBezTo>
                <a:cubicBezTo>
                  <a:pt x="194" y="168"/>
                  <a:pt x="194" y="168"/>
                  <a:pt x="194" y="168"/>
                </a:cubicBezTo>
                <a:cubicBezTo>
                  <a:pt x="195" y="169"/>
                  <a:pt x="195" y="169"/>
                  <a:pt x="195" y="169"/>
                </a:cubicBezTo>
                <a:cubicBezTo>
                  <a:pt x="199" y="170"/>
                  <a:pt x="199" y="170"/>
                  <a:pt x="199" y="170"/>
                </a:cubicBezTo>
                <a:cubicBezTo>
                  <a:pt x="201" y="170"/>
                  <a:pt x="201" y="170"/>
                  <a:pt x="201" y="170"/>
                </a:cubicBezTo>
                <a:cubicBezTo>
                  <a:pt x="202" y="170"/>
                  <a:pt x="202" y="170"/>
                  <a:pt x="202" y="170"/>
                </a:cubicBezTo>
                <a:cubicBezTo>
                  <a:pt x="202" y="172"/>
                  <a:pt x="202" y="172"/>
                  <a:pt x="202" y="172"/>
                </a:cubicBezTo>
                <a:cubicBezTo>
                  <a:pt x="201" y="172"/>
                  <a:pt x="201" y="172"/>
                  <a:pt x="201" y="172"/>
                </a:cubicBezTo>
                <a:cubicBezTo>
                  <a:pt x="202" y="173"/>
                  <a:pt x="202" y="173"/>
                  <a:pt x="202" y="173"/>
                </a:cubicBezTo>
                <a:cubicBezTo>
                  <a:pt x="202" y="175"/>
                  <a:pt x="202" y="175"/>
                  <a:pt x="202" y="175"/>
                </a:cubicBezTo>
                <a:cubicBezTo>
                  <a:pt x="203" y="176"/>
                  <a:pt x="203" y="176"/>
                  <a:pt x="203" y="176"/>
                </a:cubicBezTo>
                <a:cubicBezTo>
                  <a:pt x="203" y="178"/>
                  <a:pt x="203" y="178"/>
                  <a:pt x="203" y="178"/>
                </a:cubicBezTo>
                <a:cubicBezTo>
                  <a:pt x="204" y="180"/>
                  <a:pt x="204" y="180"/>
                  <a:pt x="204" y="180"/>
                </a:cubicBezTo>
                <a:cubicBezTo>
                  <a:pt x="203" y="183"/>
                  <a:pt x="203" y="183"/>
                  <a:pt x="203" y="183"/>
                </a:cubicBezTo>
                <a:cubicBezTo>
                  <a:pt x="204" y="184"/>
                  <a:pt x="204" y="184"/>
                  <a:pt x="204" y="184"/>
                </a:cubicBezTo>
                <a:cubicBezTo>
                  <a:pt x="203" y="185"/>
                  <a:pt x="203" y="185"/>
                  <a:pt x="203" y="185"/>
                </a:cubicBezTo>
                <a:cubicBezTo>
                  <a:pt x="204" y="186"/>
                  <a:pt x="204" y="186"/>
                  <a:pt x="204" y="186"/>
                </a:cubicBezTo>
                <a:cubicBezTo>
                  <a:pt x="204" y="187"/>
                  <a:pt x="204" y="187"/>
                  <a:pt x="204" y="187"/>
                </a:cubicBezTo>
                <a:cubicBezTo>
                  <a:pt x="203" y="188"/>
                  <a:pt x="203" y="188"/>
                  <a:pt x="203" y="188"/>
                </a:cubicBezTo>
                <a:cubicBezTo>
                  <a:pt x="203" y="189"/>
                  <a:pt x="203" y="189"/>
                  <a:pt x="203" y="189"/>
                </a:cubicBezTo>
                <a:cubicBezTo>
                  <a:pt x="205" y="190"/>
                  <a:pt x="205" y="190"/>
                  <a:pt x="205" y="190"/>
                </a:cubicBezTo>
                <a:cubicBezTo>
                  <a:pt x="206" y="192"/>
                  <a:pt x="206" y="192"/>
                  <a:pt x="206" y="192"/>
                </a:cubicBezTo>
                <a:cubicBezTo>
                  <a:pt x="207" y="192"/>
                  <a:pt x="207" y="192"/>
                  <a:pt x="207" y="192"/>
                </a:cubicBezTo>
                <a:cubicBezTo>
                  <a:pt x="207" y="193"/>
                  <a:pt x="207" y="193"/>
                  <a:pt x="207" y="193"/>
                </a:cubicBezTo>
                <a:cubicBezTo>
                  <a:pt x="208" y="192"/>
                  <a:pt x="208" y="192"/>
                  <a:pt x="208" y="192"/>
                </a:cubicBezTo>
                <a:cubicBezTo>
                  <a:pt x="209" y="193"/>
                  <a:pt x="209" y="193"/>
                  <a:pt x="209" y="193"/>
                </a:cubicBezTo>
                <a:cubicBezTo>
                  <a:pt x="209" y="195"/>
                  <a:pt x="209" y="195"/>
                  <a:pt x="209" y="195"/>
                </a:cubicBezTo>
                <a:cubicBezTo>
                  <a:pt x="211" y="196"/>
                  <a:pt x="211" y="196"/>
                  <a:pt x="211" y="196"/>
                </a:cubicBezTo>
                <a:cubicBezTo>
                  <a:pt x="212" y="198"/>
                  <a:pt x="212" y="198"/>
                  <a:pt x="212" y="198"/>
                </a:cubicBezTo>
                <a:cubicBezTo>
                  <a:pt x="212" y="202"/>
                  <a:pt x="212" y="202"/>
                  <a:pt x="212" y="202"/>
                </a:cubicBezTo>
                <a:cubicBezTo>
                  <a:pt x="213" y="203"/>
                  <a:pt x="213" y="203"/>
                  <a:pt x="213" y="203"/>
                </a:cubicBezTo>
                <a:cubicBezTo>
                  <a:pt x="213" y="203"/>
                  <a:pt x="213" y="203"/>
                  <a:pt x="213" y="203"/>
                </a:cubicBezTo>
                <a:cubicBezTo>
                  <a:pt x="213" y="204"/>
                  <a:pt x="213" y="204"/>
                  <a:pt x="213" y="204"/>
                </a:cubicBezTo>
                <a:cubicBezTo>
                  <a:pt x="214" y="206"/>
                  <a:pt x="214" y="206"/>
                  <a:pt x="214" y="206"/>
                </a:cubicBezTo>
                <a:cubicBezTo>
                  <a:pt x="214" y="208"/>
                  <a:pt x="214" y="208"/>
                  <a:pt x="214" y="208"/>
                </a:cubicBezTo>
                <a:cubicBezTo>
                  <a:pt x="216" y="211"/>
                  <a:pt x="216" y="211"/>
                  <a:pt x="216" y="211"/>
                </a:cubicBezTo>
                <a:cubicBezTo>
                  <a:pt x="215" y="212"/>
                  <a:pt x="215" y="212"/>
                  <a:pt x="215" y="212"/>
                </a:cubicBezTo>
                <a:cubicBezTo>
                  <a:pt x="216" y="214"/>
                  <a:pt x="216" y="214"/>
                  <a:pt x="216" y="214"/>
                </a:cubicBezTo>
                <a:cubicBezTo>
                  <a:pt x="218" y="214"/>
                  <a:pt x="218" y="214"/>
                  <a:pt x="218" y="214"/>
                </a:cubicBezTo>
                <a:cubicBezTo>
                  <a:pt x="217" y="216"/>
                  <a:pt x="217" y="216"/>
                  <a:pt x="217" y="216"/>
                </a:cubicBezTo>
                <a:cubicBezTo>
                  <a:pt x="218" y="216"/>
                  <a:pt x="218" y="216"/>
                  <a:pt x="218" y="216"/>
                </a:cubicBezTo>
                <a:cubicBezTo>
                  <a:pt x="218" y="219"/>
                  <a:pt x="218" y="219"/>
                  <a:pt x="218" y="219"/>
                </a:cubicBezTo>
                <a:cubicBezTo>
                  <a:pt x="221" y="222"/>
                  <a:pt x="221" y="222"/>
                  <a:pt x="221" y="222"/>
                </a:cubicBezTo>
                <a:cubicBezTo>
                  <a:pt x="223" y="223"/>
                  <a:pt x="223" y="223"/>
                  <a:pt x="223" y="223"/>
                </a:cubicBezTo>
                <a:cubicBezTo>
                  <a:pt x="223" y="224"/>
                  <a:pt x="223" y="224"/>
                  <a:pt x="223" y="224"/>
                </a:cubicBezTo>
                <a:cubicBezTo>
                  <a:pt x="224" y="224"/>
                  <a:pt x="224" y="224"/>
                  <a:pt x="224" y="224"/>
                </a:cubicBezTo>
                <a:cubicBezTo>
                  <a:pt x="226" y="226"/>
                  <a:pt x="226" y="226"/>
                  <a:pt x="226" y="226"/>
                </a:cubicBezTo>
                <a:cubicBezTo>
                  <a:pt x="226" y="227"/>
                  <a:pt x="226" y="227"/>
                  <a:pt x="226" y="227"/>
                </a:cubicBezTo>
                <a:cubicBezTo>
                  <a:pt x="226" y="227"/>
                  <a:pt x="226" y="227"/>
                  <a:pt x="226" y="227"/>
                </a:cubicBezTo>
                <a:cubicBezTo>
                  <a:pt x="226" y="228"/>
                  <a:pt x="226" y="228"/>
                  <a:pt x="226" y="228"/>
                </a:cubicBezTo>
                <a:cubicBezTo>
                  <a:pt x="225" y="230"/>
                  <a:pt x="225" y="230"/>
                  <a:pt x="225" y="230"/>
                </a:cubicBezTo>
                <a:cubicBezTo>
                  <a:pt x="226" y="232"/>
                  <a:pt x="226" y="232"/>
                  <a:pt x="226" y="232"/>
                </a:cubicBezTo>
                <a:cubicBezTo>
                  <a:pt x="228" y="233"/>
                  <a:pt x="228" y="233"/>
                  <a:pt x="228" y="233"/>
                </a:cubicBezTo>
                <a:cubicBezTo>
                  <a:pt x="228" y="235"/>
                  <a:pt x="228" y="235"/>
                  <a:pt x="228" y="235"/>
                </a:cubicBezTo>
                <a:cubicBezTo>
                  <a:pt x="227" y="236"/>
                  <a:pt x="227" y="236"/>
                  <a:pt x="227" y="236"/>
                </a:cubicBezTo>
                <a:cubicBezTo>
                  <a:pt x="227" y="237"/>
                  <a:pt x="227" y="237"/>
                  <a:pt x="227" y="237"/>
                </a:cubicBezTo>
                <a:cubicBezTo>
                  <a:pt x="226" y="238"/>
                  <a:pt x="226" y="238"/>
                  <a:pt x="226" y="238"/>
                </a:cubicBezTo>
                <a:cubicBezTo>
                  <a:pt x="226" y="239"/>
                  <a:pt x="226" y="239"/>
                  <a:pt x="226" y="239"/>
                </a:cubicBezTo>
                <a:cubicBezTo>
                  <a:pt x="226" y="241"/>
                  <a:pt x="226" y="241"/>
                  <a:pt x="226" y="241"/>
                </a:cubicBezTo>
                <a:cubicBezTo>
                  <a:pt x="225" y="242"/>
                  <a:pt x="225" y="242"/>
                  <a:pt x="225" y="242"/>
                </a:cubicBezTo>
                <a:cubicBezTo>
                  <a:pt x="225" y="243"/>
                  <a:pt x="225" y="243"/>
                  <a:pt x="225" y="243"/>
                </a:cubicBezTo>
                <a:cubicBezTo>
                  <a:pt x="226" y="242"/>
                  <a:pt x="226" y="242"/>
                  <a:pt x="226" y="242"/>
                </a:cubicBezTo>
                <a:cubicBezTo>
                  <a:pt x="226" y="243"/>
                  <a:pt x="226" y="243"/>
                  <a:pt x="226" y="243"/>
                </a:cubicBezTo>
                <a:cubicBezTo>
                  <a:pt x="225" y="244"/>
                  <a:pt x="225" y="244"/>
                  <a:pt x="225" y="244"/>
                </a:cubicBezTo>
                <a:cubicBezTo>
                  <a:pt x="225" y="247"/>
                  <a:pt x="225" y="247"/>
                  <a:pt x="225" y="247"/>
                </a:cubicBezTo>
                <a:cubicBezTo>
                  <a:pt x="224" y="247"/>
                  <a:pt x="224" y="247"/>
                  <a:pt x="224" y="247"/>
                </a:cubicBezTo>
                <a:cubicBezTo>
                  <a:pt x="223" y="247"/>
                  <a:pt x="223" y="247"/>
                  <a:pt x="223" y="247"/>
                </a:cubicBezTo>
                <a:cubicBezTo>
                  <a:pt x="223" y="248"/>
                  <a:pt x="223" y="248"/>
                  <a:pt x="223" y="248"/>
                </a:cubicBezTo>
                <a:cubicBezTo>
                  <a:pt x="224" y="249"/>
                  <a:pt x="224" y="249"/>
                  <a:pt x="224" y="249"/>
                </a:cubicBezTo>
                <a:cubicBezTo>
                  <a:pt x="224" y="250"/>
                  <a:pt x="224" y="250"/>
                  <a:pt x="224" y="250"/>
                </a:cubicBezTo>
                <a:cubicBezTo>
                  <a:pt x="223" y="251"/>
                  <a:pt x="223" y="251"/>
                  <a:pt x="223" y="251"/>
                </a:cubicBezTo>
                <a:cubicBezTo>
                  <a:pt x="222" y="252"/>
                  <a:pt x="222" y="252"/>
                  <a:pt x="222" y="252"/>
                </a:cubicBezTo>
                <a:cubicBezTo>
                  <a:pt x="219" y="252"/>
                  <a:pt x="219" y="252"/>
                  <a:pt x="219" y="252"/>
                </a:cubicBezTo>
                <a:cubicBezTo>
                  <a:pt x="218" y="251"/>
                  <a:pt x="218" y="251"/>
                  <a:pt x="218" y="251"/>
                </a:cubicBezTo>
                <a:cubicBezTo>
                  <a:pt x="220" y="250"/>
                  <a:pt x="220" y="250"/>
                  <a:pt x="220" y="250"/>
                </a:cubicBezTo>
                <a:cubicBezTo>
                  <a:pt x="220" y="249"/>
                  <a:pt x="220" y="249"/>
                  <a:pt x="220" y="249"/>
                </a:cubicBezTo>
                <a:cubicBezTo>
                  <a:pt x="219" y="249"/>
                  <a:pt x="219" y="249"/>
                  <a:pt x="219" y="249"/>
                </a:cubicBezTo>
                <a:cubicBezTo>
                  <a:pt x="219" y="250"/>
                  <a:pt x="219" y="250"/>
                  <a:pt x="219" y="250"/>
                </a:cubicBezTo>
                <a:cubicBezTo>
                  <a:pt x="218" y="250"/>
                  <a:pt x="218" y="250"/>
                  <a:pt x="218" y="250"/>
                </a:cubicBezTo>
                <a:cubicBezTo>
                  <a:pt x="215" y="248"/>
                  <a:pt x="215" y="248"/>
                  <a:pt x="215" y="248"/>
                </a:cubicBezTo>
                <a:cubicBezTo>
                  <a:pt x="214" y="249"/>
                  <a:pt x="214" y="249"/>
                  <a:pt x="214" y="249"/>
                </a:cubicBezTo>
                <a:cubicBezTo>
                  <a:pt x="211" y="250"/>
                  <a:pt x="211" y="250"/>
                  <a:pt x="211" y="250"/>
                </a:cubicBezTo>
                <a:cubicBezTo>
                  <a:pt x="209" y="250"/>
                  <a:pt x="209" y="250"/>
                  <a:pt x="209" y="250"/>
                </a:cubicBezTo>
                <a:cubicBezTo>
                  <a:pt x="208" y="251"/>
                  <a:pt x="208" y="251"/>
                  <a:pt x="208" y="251"/>
                </a:cubicBezTo>
                <a:cubicBezTo>
                  <a:pt x="209" y="251"/>
                  <a:pt x="209" y="251"/>
                  <a:pt x="209" y="251"/>
                </a:cubicBezTo>
                <a:cubicBezTo>
                  <a:pt x="209" y="252"/>
                  <a:pt x="209" y="252"/>
                  <a:pt x="209" y="252"/>
                </a:cubicBezTo>
                <a:cubicBezTo>
                  <a:pt x="210" y="251"/>
                  <a:pt x="210" y="251"/>
                  <a:pt x="210" y="251"/>
                </a:cubicBezTo>
                <a:cubicBezTo>
                  <a:pt x="212" y="250"/>
                  <a:pt x="212" y="250"/>
                  <a:pt x="212" y="250"/>
                </a:cubicBezTo>
                <a:cubicBezTo>
                  <a:pt x="212" y="252"/>
                  <a:pt x="212" y="252"/>
                  <a:pt x="212" y="252"/>
                </a:cubicBezTo>
                <a:cubicBezTo>
                  <a:pt x="214" y="253"/>
                  <a:pt x="214" y="253"/>
                  <a:pt x="214" y="253"/>
                </a:cubicBezTo>
                <a:cubicBezTo>
                  <a:pt x="219" y="254"/>
                  <a:pt x="219" y="254"/>
                  <a:pt x="219" y="254"/>
                </a:cubicBezTo>
                <a:cubicBezTo>
                  <a:pt x="221" y="255"/>
                  <a:pt x="221" y="255"/>
                  <a:pt x="221" y="255"/>
                </a:cubicBezTo>
                <a:cubicBezTo>
                  <a:pt x="223" y="254"/>
                  <a:pt x="223" y="254"/>
                  <a:pt x="223" y="254"/>
                </a:cubicBezTo>
                <a:cubicBezTo>
                  <a:pt x="225" y="254"/>
                  <a:pt x="225" y="254"/>
                  <a:pt x="225" y="254"/>
                </a:cubicBezTo>
                <a:cubicBezTo>
                  <a:pt x="226" y="255"/>
                  <a:pt x="226" y="255"/>
                  <a:pt x="226" y="255"/>
                </a:cubicBezTo>
                <a:cubicBezTo>
                  <a:pt x="228" y="255"/>
                  <a:pt x="228" y="255"/>
                  <a:pt x="228" y="255"/>
                </a:cubicBezTo>
                <a:cubicBezTo>
                  <a:pt x="230" y="254"/>
                  <a:pt x="230" y="254"/>
                  <a:pt x="230" y="254"/>
                </a:cubicBezTo>
                <a:cubicBezTo>
                  <a:pt x="230" y="253"/>
                  <a:pt x="230" y="253"/>
                  <a:pt x="230" y="253"/>
                </a:cubicBezTo>
                <a:cubicBezTo>
                  <a:pt x="229" y="252"/>
                  <a:pt x="229" y="252"/>
                  <a:pt x="229" y="252"/>
                </a:cubicBezTo>
                <a:cubicBezTo>
                  <a:pt x="229" y="250"/>
                  <a:pt x="229" y="250"/>
                  <a:pt x="229" y="250"/>
                </a:cubicBezTo>
                <a:cubicBezTo>
                  <a:pt x="230" y="249"/>
                  <a:pt x="230" y="249"/>
                  <a:pt x="230" y="249"/>
                </a:cubicBezTo>
                <a:cubicBezTo>
                  <a:pt x="231" y="249"/>
                  <a:pt x="231" y="249"/>
                  <a:pt x="231" y="249"/>
                </a:cubicBezTo>
                <a:cubicBezTo>
                  <a:pt x="231" y="248"/>
                  <a:pt x="231" y="248"/>
                  <a:pt x="231" y="248"/>
                </a:cubicBezTo>
                <a:cubicBezTo>
                  <a:pt x="233" y="246"/>
                  <a:pt x="233" y="246"/>
                  <a:pt x="233" y="246"/>
                </a:cubicBezTo>
                <a:cubicBezTo>
                  <a:pt x="233" y="245"/>
                  <a:pt x="233" y="245"/>
                  <a:pt x="233" y="245"/>
                </a:cubicBezTo>
                <a:cubicBezTo>
                  <a:pt x="234" y="242"/>
                  <a:pt x="234" y="242"/>
                  <a:pt x="234" y="242"/>
                </a:cubicBezTo>
                <a:cubicBezTo>
                  <a:pt x="233" y="240"/>
                  <a:pt x="233" y="240"/>
                  <a:pt x="233" y="240"/>
                </a:cubicBezTo>
                <a:cubicBezTo>
                  <a:pt x="233" y="238"/>
                  <a:pt x="233" y="238"/>
                  <a:pt x="233" y="238"/>
                </a:cubicBezTo>
                <a:cubicBezTo>
                  <a:pt x="235" y="235"/>
                  <a:pt x="235" y="235"/>
                  <a:pt x="235" y="235"/>
                </a:cubicBezTo>
                <a:cubicBezTo>
                  <a:pt x="236" y="234"/>
                  <a:pt x="236" y="234"/>
                  <a:pt x="236" y="234"/>
                </a:cubicBezTo>
                <a:cubicBezTo>
                  <a:pt x="234" y="229"/>
                  <a:pt x="234" y="229"/>
                  <a:pt x="234" y="229"/>
                </a:cubicBezTo>
                <a:cubicBezTo>
                  <a:pt x="231" y="227"/>
                  <a:pt x="231" y="227"/>
                  <a:pt x="231" y="227"/>
                </a:cubicBezTo>
                <a:cubicBezTo>
                  <a:pt x="230" y="226"/>
                  <a:pt x="230" y="226"/>
                  <a:pt x="230" y="226"/>
                </a:cubicBezTo>
                <a:cubicBezTo>
                  <a:pt x="230" y="223"/>
                  <a:pt x="230" y="223"/>
                  <a:pt x="230" y="223"/>
                </a:cubicBezTo>
                <a:cubicBezTo>
                  <a:pt x="232" y="221"/>
                  <a:pt x="232" y="221"/>
                  <a:pt x="232" y="221"/>
                </a:cubicBezTo>
                <a:cubicBezTo>
                  <a:pt x="233" y="220"/>
                  <a:pt x="233" y="220"/>
                  <a:pt x="233" y="220"/>
                </a:cubicBezTo>
                <a:cubicBezTo>
                  <a:pt x="235" y="220"/>
                  <a:pt x="235" y="220"/>
                  <a:pt x="235" y="220"/>
                </a:cubicBezTo>
                <a:cubicBezTo>
                  <a:pt x="237" y="217"/>
                  <a:pt x="237" y="217"/>
                  <a:pt x="237" y="217"/>
                </a:cubicBezTo>
                <a:cubicBezTo>
                  <a:pt x="239" y="217"/>
                  <a:pt x="239" y="217"/>
                  <a:pt x="239" y="217"/>
                </a:cubicBezTo>
                <a:cubicBezTo>
                  <a:pt x="241" y="219"/>
                  <a:pt x="241" y="219"/>
                  <a:pt x="241" y="219"/>
                </a:cubicBezTo>
                <a:cubicBezTo>
                  <a:pt x="241" y="221"/>
                  <a:pt x="241" y="221"/>
                  <a:pt x="241" y="221"/>
                </a:cubicBezTo>
                <a:cubicBezTo>
                  <a:pt x="243" y="222"/>
                  <a:pt x="243" y="222"/>
                  <a:pt x="243" y="222"/>
                </a:cubicBezTo>
                <a:cubicBezTo>
                  <a:pt x="244" y="223"/>
                  <a:pt x="244" y="223"/>
                  <a:pt x="244" y="223"/>
                </a:cubicBezTo>
                <a:cubicBezTo>
                  <a:pt x="244" y="223"/>
                  <a:pt x="244" y="223"/>
                  <a:pt x="244" y="223"/>
                </a:cubicBezTo>
                <a:cubicBezTo>
                  <a:pt x="246" y="224"/>
                  <a:pt x="246" y="224"/>
                  <a:pt x="246" y="224"/>
                </a:cubicBezTo>
                <a:cubicBezTo>
                  <a:pt x="245" y="226"/>
                  <a:pt x="245" y="226"/>
                  <a:pt x="245" y="226"/>
                </a:cubicBezTo>
                <a:cubicBezTo>
                  <a:pt x="247" y="227"/>
                  <a:pt x="247" y="227"/>
                  <a:pt x="247" y="227"/>
                </a:cubicBezTo>
                <a:cubicBezTo>
                  <a:pt x="247" y="228"/>
                  <a:pt x="247" y="228"/>
                  <a:pt x="247" y="228"/>
                </a:cubicBezTo>
                <a:cubicBezTo>
                  <a:pt x="248" y="230"/>
                  <a:pt x="248" y="230"/>
                  <a:pt x="248" y="230"/>
                </a:cubicBezTo>
                <a:cubicBezTo>
                  <a:pt x="248" y="231"/>
                  <a:pt x="248" y="231"/>
                  <a:pt x="248" y="231"/>
                </a:cubicBezTo>
                <a:cubicBezTo>
                  <a:pt x="248" y="232"/>
                  <a:pt x="248" y="232"/>
                  <a:pt x="248" y="232"/>
                </a:cubicBezTo>
                <a:cubicBezTo>
                  <a:pt x="249" y="233"/>
                  <a:pt x="249" y="233"/>
                  <a:pt x="249" y="233"/>
                </a:cubicBezTo>
                <a:cubicBezTo>
                  <a:pt x="250" y="233"/>
                  <a:pt x="250" y="233"/>
                  <a:pt x="250" y="233"/>
                </a:cubicBezTo>
                <a:cubicBezTo>
                  <a:pt x="252" y="234"/>
                  <a:pt x="252" y="234"/>
                  <a:pt x="252" y="234"/>
                </a:cubicBezTo>
                <a:cubicBezTo>
                  <a:pt x="254" y="234"/>
                  <a:pt x="254" y="234"/>
                  <a:pt x="254" y="234"/>
                </a:cubicBezTo>
                <a:cubicBezTo>
                  <a:pt x="255" y="234"/>
                  <a:pt x="255" y="234"/>
                  <a:pt x="255" y="234"/>
                </a:cubicBezTo>
                <a:cubicBezTo>
                  <a:pt x="256" y="234"/>
                  <a:pt x="256" y="234"/>
                  <a:pt x="256" y="234"/>
                </a:cubicBezTo>
                <a:cubicBezTo>
                  <a:pt x="257" y="233"/>
                  <a:pt x="257" y="233"/>
                  <a:pt x="257" y="233"/>
                </a:cubicBezTo>
                <a:cubicBezTo>
                  <a:pt x="258" y="232"/>
                  <a:pt x="258" y="232"/>
                  <a:pt x="258" y="232"/>
                </a:cubicBezTo>
                <a:cubicBezTo>
                  <a:pt x="257" y="232"/>
                  <a:pt x="257" y="232"/>
                  <a:pt x="257" y="232"/>
                </a:cubicBezTo>
                <a:cubicBezTo>
                  <a:pt x="256" y="232"/>
                  <a:pt x="256" y="232"/>
                  <a:pt x="256" y="232"/>
                </a:cubicBezTo>
                <a:cubicBezTo>
                  <a:pt x="255" y="231"/>
                  <a:pt x="255" y="231"/>
                  <a:pt x="255" y="231"/>
                </a:cubicBezTo>
                <a:cubicBezTo>
                  <a:pt x="254" y="233"/>
                  <a:pt x="254" y="233"/>
                  <a:pt x="254" y="233"/>
                </a:cubicBezTo>
                <a:cubicBezTo>
                  <a:pt x="252" y="233"/>
                  <a:pt x="252" y="233"/>
                  <a:pt x="252" y="233"/>
                </a:cubicBezTo>
                <a:cubicBezTo>
                  <a:pt x="252" y="232"/>
                  <a:pt x="252" y="232"/>
                  <a:pt x="252" y="232"/>
                </a:cubicBezTo>
                <a:cubicBezTo>
                  <a:pt x="250" y="232"/>
                  <a:pt x="250" y="232"/>
                  <a:pt x="250" y="232"/>
                </a:cubicBezTo>
                <a:cubicBezTo>
                  <a:pt x="249" y="231"/>
                  <a:pt x="249" y="231"/>
                  <a:pt x="249" y="231"/>
                </a:cubicBezTo>
                <a:cubicBezTo>
                  <a:pt x="250" y="230"/>
                  <a:pt x="250" y="230"/>
                  <a:pt x="250" y="230"/>
                </a:cubicBezTo>
                <a:cubicBezTo>
                  <a:pt x="249" y="229"/>
                  <a:pt x="249" y="229"/>
                  <a:pt x="249" y="229"/>
                </a:cubicBezTo>
                <a:cubicBezTo>
                  <a:pt x="248" y="228"/>
                  <a:pt x="248" y="228"/>
                  <a:pt x="248" y="228"/>
                </a:cubicBezTo>
                <a:cubicBezTo>
                  <a:pt x="248" y="225"/>
                  <a:pt x="248" y="225"/>
                  <a:pt x="248" y="225"/>
                </a:cubicBezTo>
                <a:cubicBezTo>
                  <a:pt x="250" y="225"/>
                  <a:pt x="250" y="225"/>
                  <a:pt x="250" y="225"/>
                </a:cubicBezTo>
                <a:cubicBezTo>
                  <a:pt x="251" y="224"/>
                  <a:pt x="251" y="224"/>
                  <a:pt x="251" y="224"/>
                </a:cubicBezTo>
                <a:cubicBezTo>
                  <a:pt x="250" y="224"/>
                  <a:pt x="250" y="224"/>
                  <a:pt x="250" y="224"/>
                </a:cubicBezTo>
                <a:cubicBezTo>
                  <a:pt x="249" y="223"/>
                  <a:pt x="249" y="223"/>
                  <a:pt x="249" y="223"/>
                </a:cubicBezTo>
                <a:cubicBezTo>
                  <a:pt x="249" y="222"/>
                  <a:pt x="249" y="222"/>
                  <a:pt x="249" y="222"/>
                </a:cubicBezTo>
                <a:cubicBezTo>
                  <a:pt x="249" y="221"/>
                  <a:pt x="249" y="221"/>
                  <a:pt x="249" y="221"/>
                </a:cubicBezTo>
                <a:cubicBezTo>
                  <a:pt x="247" y="220"/>
                  <a:pt x="247" y="220"/>
                  <a:pt x="247" y="220"/>
                </a:cubicBezTo>
                <a:cubicBezTo>
                  <a:pt x="247" y="219"/>
                  <a:pt x="247" y="219"/>
                  <a:pt x="247" y="219"/>
                </a:cubicBezTo>
                <a:cubicBezTo>
                  <a:pt x="245" y="217"/>
                  <a:pt x="245" y="217"/>
                  <a:pt x="245" y="217"/>
                </a:cubicBezTo>
                <a:cubicBezTo>
                  <a:pt x="243" y="217"/>
                  <a:pt x="243" y="217"/>
                  <a:pt x="243" y="217"/>
                </a:cubicBezTo>
                <a:cubicBezTo>
                  <a:pt x="240" y="216"/>
                  <a:pt x="240" y="216"/>
                  <a:pt x="240" y="216"/>
                </a:cubicBezTo>
                <a:cubicBezTo>
                  <a:pt x="239" y="215"/>
                  <a:pt x="239" y="215"/>
                  <a:pt x="239" y="215"/>
                </a:cubicBezTo>
                <a:cubicBezTo>
                  <a:pt x="238" y="215"/>
                  <a:pt x="238" y="215"/>
                  <a:pt x="238" y="215"/>
                </a:cubicBezTo>
                <a:cubicBezTo>
                  <a:pt x="236" y="214"/>
                  <a:pt x="236" y="214"/>
                  <a:pt x="236" y="214"/>
                </a:cubicBezTo>
                <a:cubicBezTo>
                  <a:pt x="234" y="214"/>
                  <a:pt x="234" y="214"/>
                  <a:pt x="234" y="214"/>
                </a:cubicBezTo>
                <a:cubicBezTo>
                  <a:pt x="233" y="214"/>
                  <a:pt x="233" y="214"/>
                  <a:pt x="233" y="214"/>
                </a:cubicBezTo>
                <a:cubicBezTo>
                  <a:pt x="231" y="215"/>
                  <a:pt x="231" y="215"/>
                  <a:pt x="231" y="215"/>
                </a:cubicBezTo>
                <a:cubicBezTo>
                  <a:pt x="231" y="217"/>
                  <a:pt x="231" y="217"/>
                  <a:pt x="231" y="217"/>
                </a:cubicBezTo>
                <a:cubicBezTo>
                  <a:pt x="230" y="218"/>
                  <a:pt x="230" y="218"/>
                  <a:pt x="230" y="218"/>
                </a:cubicBezTo>
                <a:cubicBezTo>
                  <a:pt x="228" y="217"/>
                  <a:pt x="228" y="217"/>
                  <a:pt x="228" y="217"/>
                </a:cubicBezTo>
                <a:cubicBezTo>
                  <a:pt x="226" y="218"/>
                  <a:pt x="226" y="218"/>
                  <a:pt x="226" y="218"/>
                </a:cubicBezTo>
                <a:cubicBezTo>
                  <a:pt x="224" y="218"/>
                  <a:pt x="224" y="218"/>
                  <a:pt x="224" y="218"/>
                </a:cubicBezTo>
                <a:cubicBezTo>
                  <a:pt x="224" y="217"/>
                  <a:pt x="224" y="217"/>
                  <a:pt x="224" y="217"/>
                </a:cubicBezTo>
                <a:cubicBezTo>
                  <a:pt x="224" y="215"/>
                  <a:pt x="224" y="215"/>
                  <a:pt x="224" y="215"/>
                </a:cubicBezTo>
                <a:cubicBezTo>
                  <a:pt x="224" y="214"/>
                  <a:pt x="224" y="214"/>
                  <a:pt x="224" y="214"/>
                </a:cubicBezTo>
                <a:cubicBezTo>
                  <a:pt x="221" y="211"/>
                  <a:pt x="221" y="211"/>
                  <a:pt x="221" y="211"/>
                </a:cubicBezTo>
                <a:cubicBezTo>
                  <a:pt x="220" y="210"/>
                  <a:pt x="220" y="210"/>
                  <a:pt x="220" y="210"/>
                </a:cubicBezTo>
                <a:cubicBezTo>
                  <a:pt x="221" y="207"/>
                  <a:pt x="221" y="207"/>
                  <a:pt x="221" y="207"/>
                </a:cubicBezTo>
                <a:cubicBezTo>
                  <a:pt x="219" y="205"/>
                  <a:pt x="219" y="205"/>
                  <a:pt x="219" y="205"/>
                </a:cubicBezTo>
                <a:cubicBezTo>
                  <a:pt x="220" y="203"/>
                  <a:pt x="220" y="203"/>
                  <a:pt x="220" y="203"/>
                </a:cubicBezTo>
                <a:cubicBezTo>
                  <a:pt x="220" y="199"/>
                  <a:pt x="220" y="199"/>
                  <a:pt x="220" y="199"/>
                </a:cubicBezTo>
                <a:cubicBezTo>
                  <a:pt x="219" y="197"/>
                  <a:pt x="219" y="197"/>
                  <a:pt x="219" y="197"/>
                </a:cubicBezTo>
                <a:cubicBezTo>
                  <a:pt x="217" y="195"/>
                  <a:pt x="217" y="195"/>
                  <a:pt x="217" y="195"/>
                </a:cubicBezTo>
                <a:cubicBezTo>
                  <a:pt x="216" y="195"/>
                  <a:pt x="216" y="195"/>
                  <a:pt x="216" y="195"/>
                </a:cubicBezTo>
                <a:cubicBezTo>
                  <a:pt x="215" y="193"/>
                  <a:pt x="215" y="193"/>
                  <a:pt x="215" y="193"/>
                </a:cubicBezTo>
                <a:cubicBezTo>
                  <a:pt x="212" y="191"/>
                  <a:pt x="212" y="191"/>
                  <a:pt x="212" y="191"/>
                </a:cubicBezTo>
                <a:cubicBezTo>
                  <a:pt x="210" y="190"/>
                  <a:pt x="210" y="190"/>
                  <a:pt x="210" y="190"/>
                </a:cubicBezTo>
                <a:cubicBezTo>
                  <a:pt x="210" y="188"/>
                  <a:pt x="210" y="188"/>
                  <a:pt x="210" y="188"/>
                </a:cubicBezTo>
                <a:cubicBezTo>
                  <a:pt x="211" y="186"/>
                  <a:pt x="211" y="186"/>
                  <a:pt x="211" y="186"/>
                </a:cubicBezTo>
                <a:cubicBezTo>
                  <a:pt x="210" y="184"/>
                  <a:pt x="210" y="184"/>
                  <a:pt x="210" y="184"/>
                </a:cubicBezTo>
                <a:cubicBezTo>
                  <a:pt x="209" y="183"/>
                  <a:pt x="209" y="183"/>
                  <a:pt x="209" y="183"/>
                </a:cubicBezTo>
                <a:cubicBezTo>
                  <a:pt x="209" y="182"/>
                  <a:pt x="209" y="182"/>
                  <a:pt x="209" y="182"/>
                </a:cubicBezTo>
                <a:cubicBezTo>
                  <a:pt x="211" y="181"/>
                  <a:pt x="211" y="181"/>
                  <a:pt x="211" y="181"/>
                </a:cubicBezTo>
                <a:cubicBezTo>
                  <a:pt x="213" y="178"/>
                  <a:pt x="213" y="178"/>
                  <a:pt x="213" y="178"/>
                </a:cubicBezTo>
                <a:cubicBezTo>
                  <a:pt x="214" y="176"/>
                  <a:pt x="214" y="176"/>
                  <a:pt x="214" y="176"/>
                </a:cubicBezTo>
                <a:cubicBezTo>
                  <a:pt x="213" y="172"/>
                  <a:pt x="213" y="172"/>
                  <a:pt x="213" y="172"/>
                </a:cubicBezTo>
                <a:cubicBezTo>
                  <a:pt x="210" y="167"/>
                  <a:pt x="210" y="167"/>
                  <a:pt x="210" y="167"/>
                </a:cubicBezTo>
                <a:cubicBezTo>
                  <a:pt x="211" y="167"/>
                  <a:pt x="211" y="167"/>
                  <a:pt x="211" y="167"/>
                </a:cubicBezTo>
                <a:cubicBezTo>
                  <a:pt x="213" y="168"/>
                  <a:pt x="213" y="168"/>
                  <a:pt x="213" y="168"/>
                </a:cubicBezTo>
                <a:cubicBezTo>
                  <a:pt x="213" y="170"/>
                  <a:pt x="213" y="170"/>
                  <a:pt x="213" y="170"/>
                </a:cubicBezTo>
                <a:cubicBezTo>
                  <a:pt x="214" y="170"/>
                  <a:pt x="214" y="170"/>
                  <a:pt x="214" y="170"/>
                </a:cubicBezTo>
                <a:cubicBezTo>
                  <a:pt x="214" y="170"/>
                  <a:pt x="214" y="170"/>
                  <a:pt x="214" y="170"/>
                </a:cubicBezTo>
                <a:cubicBezTo>
                  <a:pt x="215" y="172"/>
                  <a:pt x="215" y="172"/>
                  <a:pt x="215" y="172"/>
                </a:cubicBezTo>
                <a:cubicBezTo>
                  <a:pt x="216" y="174"/>
                  <a:pt x="216" y="174"/>
                  <a:pt x="216" y="174"/>
                </a:cubicBezTo>
                <a:cubicBezTo>
                  <a:pt x="216" y="177"/>
                  <a:pt x="216" y="177"/>
                  <a:pt x="216" y="177"/>
                </a:cubicBezTo>
                <a:cubicBezTo>
                  <a:pt x="217" y="178"/>
                  <a:pt x="217" y="178"/>
                  <a:pt x="217" y="178"/>
                </a:cubicBezTo>
                <a:cubicBezTo>
                  <a:pt x="216" y="180"/>
                  <a:pt x="216" y="180"/>
                  <a:pt x="216" y="180"/>
                </a:cubicBezTo>
                <a:cubicBezTo>
                  <a:pt x="217" y="181"/>
                  <a:pt x="217" y="181"/>
                  <a:pt x="217" y="181"/>
                </a:cubicBezTo>
                <a:cubicBezTo>
                  <a:pt x="219" y="183"/>
                  <a:pt x="219" y="183"/>
                  <a:pt x="219" y="183"/>
                </a:cubicBezTo>
                <a:cubicBezTo>
                  <a:pt x="219" y="184"/>
                  <a:pt x="219" y="184"/>
                  <a:pt x="219" y="184"/>
                </a:cubicBezTo>
                <a:cubicBezTo>
                  <a:pt x="220" y="185"/>
                  <a:pt x="220" y="185"/>
                  <a:pt x="220" y="185"/>
                </a:cubicBezTo>
                <a:cubicBezTo>
                  <a:pt x="220" y="186"/>
                  <a:pt x="220" y="186"/>
                  <a:pt x="220" y="186"/>
                </a:cubicBezTo>
                <a:cubicBezTo>
                  <a:pt x="219" y="186"/>
                  <a:pt x="219" y="186"/>
                  <a:pt x="219" y="186"/>
                </a:cubicBezTo>
                <a:cubicBezTo>
                  <a:pt x="219" y="187"/>
                  <a:pt x="219" y="187"/>
                  <a:pt x="219" y="187"/>
                </a:cubicBezTo>
                <a:cubicBezTo>
                  <a:pt x="221" y="187"/>
                  <a:pt x="221" y="187"/>
                  <a:pt x="221" y="187"/>
                </a:cubicBezTo>
                <a:cubicBezTo>
                  <a:pt x="223" y="188"/>
                  <a:pt x="223" y="188"/>
                  <a:pt x="223" y="188"/>
                </a:cubicBezTo>
                <a:cubicBezTo>
                  <a:pt x="225" y="188"/>
                  <a:pt x="225" y="188"/>
                  <a:pt x="225" y="188"/>
                </a:cubicBezTo>
                <a:cubicBezTo>
                  <a:pt x="226" y="188"/>
                  <a:pt x="226" y="188"/>
                  <a:pt x="226" y="188"/>
                </a:cubicBezTo>
                <a:cubicBezTo>
                  <a:pt x="227" y="189"/>
                  <a:pt x="227" y="189"/>
                  <a:pt x="227" y="189"/>
                </a:cubicBezTo>
                <a:cubicBezTo>
                  <a:pt x="228" y="190"/>
                  <a:pt x="228" y="190"/>
                  <a:pt x="228" y="190"/>
                </a:cubicBezTo>
                <a:cubicBezTo>
                  <a:pt x="229" y="188"/>
                  <a:pt x="229" y="188"/>
                  <a:pt x="229" y="188"/>
                </a:cubicBezTo>
                <a:cubicBezTo>
                  <a:pt x="230" y="188"/>
                  <a:pt x="230" y="188"/>
                  <a:pt x="230" y="188"/>
                </a:cubicBezTo>
                <a:cubicBezTo>
                  <a:pt x="231" y="187"/>
                  <a:pt x="231" y="187"/>
                  <a:pt x="231" y="187"/>
                </a:cubicBezTo>
                <a:cubicBezTo>
                  <a:pt x="233" y="188"/>
                  <a:pt x="233" y="188"/>
                  <a:pt x="233" y="188"/>
                </a:cubicBezTo>
                <a:cubicBezTo>
                  <a:pt x="234" y="190"/>
                  <a:pt x="234" y="190"/>
                  <a:pt x="234" y="190"/>
                </a:cubicBezTo>
                <a:cubicBezTo>
                  <a:pt x="235" y="190"/>
                  <a:pt x="235" y="190"/>
                  <a:pt x="235" y="190"/>
                </a:cubicBezTo>
                <a:cubicBezTo>
                  <a:pt x="237" y="191"/>
                  <a:pt x="237" y="191"/>
                  <a:pt x="237" y="191"/>
                </a:cubicBezTo>
                <a:cubicBezTo>
                  <a:pt x="240" y="190"/>
                  <a:pt x="240" y="190"/>
                  <a:pt x="240" y="190"/>
                </a:cubicBezTo>
                <a:cubicBezTo>
                  <a:pt x="241" y="189"/>
                  <a:pt x="241" y="189"/>
                  <a:pt x="241" y="189"/>
                </a:cubicBezTo>
                <a:cubicBezTo>
                  <a:pt x="239" y="190"/>
                  <a:pt x="239" y="190"/>
                  <a:pt x="239" y="190"/>
                </a:cubicBezTo>
                <a:cubicBezTo>
                  <a:pt x="237" y="190"/>
                  <a:pt x="237" y="190"/>
                  <a:pt x="237" y="190"/>
                </a:cubicBezTo>
                <a:cubicBezTo>
                  <a:pt x="237" y="188"/>
                  <a:pt x="237" y="188"/>
                  <a:pt x="237" y="188"/>
                </a:cubicBezTo>
                <a:cubicBezTo>
                  <a:pt x="236" y="188"/>
                  <a:pt x="236" y="188"/>
                  <a:pt x="236" y="188"/>
                </a:cubicBezTo>
                <a:cubicBezTo>
                  <a:pt x="235" y="186"/>
                  <a:pt x="235" y="186"/>
                  <a:pt x="235" y="186"/>
                </a:cubicBezTo>
                <a:cubicBezTo>
                  <a:pt x="233" y="186"/>
                  <a:pt x="233" y="186"/>
                  <a:pt x="233" y="186"/>
                </a:cubicBezTo>
                <a:cubicBezTo>
                  <a:pt x="233" y="185"/>
                  <a:pt x="233" y="185"/>
                  <a:pt x="233" y="185"/>
                </a:cubicBezTo>
                <a:cubicBezTo>
                  <a:pt x="232" y="185"/>
                  <a:pt x="232" y="185"/>
                  <a:pt x="232" y="185"/>
                </a:cubicBezTo>
                <a:cubicBezTo>
                  <a:pt x="231" y="186"/>
                  <a:pt x="231" y="186"/>
                  <a:pt x="231" y="186"/>
                </a:cubicBezTo>
                <a:cubicBezTo>
                  <a:pt x="228" y="186"/>
                  <a:pt x="228" y="186"/>
                  <a:pt x="228" y="186"/>
                </a:cubicBezTo>
                <a:cubicBezTo>
                  <a:pt x="227" y="185"/>
                  <a:pt x="227" y="185"/>
                  <a:pt x="227" y="185"/>
                </a:cubicBezTo>
                <a:cubicBezTo>
                  <a:pt x="225" y="185"/>
                  <a:pt x="225" y="185"/>
                  <a:pt x="225" y="185"/>
                </a:cubicBezTo>
                <a:cubicBezTo>
                  <a:pt x="223" y="183"/>
                  <a:pt x="223" y="183"/>
                  <a:pt x="223" y="183"/>
                </a:cubicBezTo>
                <a:cubicBezTo>
                  <a:pt x="222" y="181"/>
                  <a:pt x="222" y="181"/>
                  <a:pt x="222" y="181"/>
                </a:cubicBezTo>
                <a:cubicBezTo>
                  <a:pt x="222" y="181"/>
                  <a:pt x="222" y="181"/>
                  <a:pt x="222" y="181"/>
                </a:cubicBezTo>
                <a:cubicBezTo>
                  <a:pt x="220" y="178"/>
                  <a:pt x="220" y="178"/>
                  <a:pt x="220" y="178"/>
                </a:cubicBezTo>
                <a:cubicBezTo>
                  <a:pt x="221" y="178"/>
                  <a:pt x="221" y="178"/>
                  <a:pt x="221" y="178"/>
                </a:cubicBezTo>
                <a:cubicBezTo>
                  <a:pt x="221" y="177"/>
                  <a:pt x="221" y="177"/>
                  <a:pt x="221" y="177"/>
                </a:cubicBezTo>
                <a:cubicBezTo>
                  <a:pt x="223" y="176"/>
                  <a:pt x="223" y="176"/>
                  <a:pt x="223" y="176"/>
                </a:cubicBezTo>
                <a:cubicBezTo>
                  <a:pt x="224" y="176"/>
                  <a:pt x="224" y="176"/>
                  <a:pt x="224" y="176"/>
                </a:cubicBezTo>
                <a:cubicBezTo>
                  <a:pt x="226" y="178"/>
                  <a:pt x="226" y="178"/>
                  <a:pt x="226" y="178"/>
                </a:cubicBezTo>
                <a:cubicBezTo>
                  <a:pt x="228" y="179"/>
                  <a:pt x="228" y="179"/>
                  <a:pt x="228" y="179"/>
                </a:cubicBezTo>
                <a:cubicBezTo>
                  <a:pt x="230" y="179"/>
                  <a:pt x="230" y="179"/>
                  <a:pt x="230" y="179"/>
                </a:cubicBezTo>
                <a:cubicBezTo>
                  <a:pt x="232" y="176"/>
                  <a:pt x="232" y="176"/>
                  <a:pt x="232" y="176"/>
                </a:cubicBezTo>
                <a:cubicBezTo>
                  <a:pt x="230" y="174"/>
                  <a:pt x="230" y="174"/>
                  <a:pt x="230" y="174"/>
                </a:cubicBezTo>
                <a:cubicBezTo>
                  <a:pt x="228" y="173"/>
                  <a:pt x="228" y="173"/>
                  <a:pt x="228" y="173"/>
                </a:cubicBezTo>
                <a:cubicBezTo>
                  <a:pt x="226" y="175"/>
                  <a:pt x="226" y="175"/>
                  <a:pt x="226" y="175"/>
                </a:cubicBezTo>
                <a:cubicBezTo>
                  <a:pt x="225" y="174"/>
                  <a:pt x="225" y="174"/>
                  <a:pt x="225" y="174"/>
                </a:cubicBezTo>
                <a:cubicBezTo>
                  <a:pt x="226" y="173"/>
                  <a:pt x="226" y="173"/>
                  <a:pt x="226" y="173"/>
                </a:cubicBezTo>
                <a:cubicBezTo>
                  <a:pt x="226" y="173"/>
                  <a:pt x="226" y="173"/>
                  <a:pt x="226" y="173"/>
                </a:cubicBezTo>
                <a:cubicBezTo>
                  <a:pt x="227" y="173"/>
                  <a:pt x="227" y="173"/>
                  <a:pt x="227" y="173"/>
                </a:cubicBezTo>
                <a:cubicBezTo>
                  <a:pt x="227" y="172"/>
                  <a:pt x="227" y="172"/>
                  <a:pt x="227" y="172"/>
                </a:cubicBezTo>
                <a:cubicBezTo>
                  <a:pt x="229" y="169"/>
                  <a:pt x="229" y="169"/>
                  <a:pt x="229" y="169"/>
                </a:cubicBezTo>
                <a:cubicBezTo>
                  <a:pt x="230" y="168"/>
                  <a:pt x="230" y="168"/>
                  <a:pt x="230" y="168"/>
                </a:cubicBezTo>
                <a:cubicBezTo>
                  <a:pt x="231" y="169"/>
                  <a:pt x="231" y="169"/>
                  <a:pt x="231" y="169"/>
                </a:cubicBezTo>
                <a:cubicBezTo>
                  <a:pt x="236" y="169"/>
                  <a:pt x="236" y="169"/>
                  <a:pt x="236" y="169"/>
                </a:cubicBezTo>
                <a:cubicBezTo>
                  <a:pt x="237" y="170"/>
                  <a:pt x="237" y="170"/>
                  <a:pt x="237" y="170"/>
                </a:cubicBezTo>
                <a:cubicBezTo>
                  <a:pt x="239" y="171"/>
                  <a:pt x="239" y="171"/>
                  <a:pt x="239" y="171"/>
                </a:cubicBezTo>
                <a:cubicBezTo>
                  <a:pt x="242" y="172"/>
                  <a:pt x="242" y="172"/>
                  <a:pt x="242" y="172"/>
                </a:cubicBezTo>
                <a:cubicBezTo>
                  <a:pt x="243" y="173"/>
                  <a:pt x="243" y="173"/>
                  <a:pt x="243" y="173"/>
                </a:cubicBezTo>
                <a:cubicBezTo>
                  <a:pt x="244" y="174"/>
                  <a:pt x="244" y="174"/>
                  <a:pt x="244" y="174"/>
                </a:cubicBezTo>
                <a:cubicBezTo>
                  <a:pt x="247" y="177"/>
                  <a:pt x="247" y="177"/>
                  <a:pt x="247" y="177"/>
                </a:cubicBezTo>
                <a:cubicBezTo>
                  <a:pt x="248" y="177"/>
                  <a:pt x="248" y="177"/>
                  <a:pt x="248" y="177"/>
                </a:cubicBezTo>
                <a:cubicBezTo>
                  <a:pt x="252" y="176"/>
                  <a:pt x="252" y="176"/>
                  <a:pt x="252" y="176"/>
                </a:cubicBezTo>
                <a:cubicBezTo>
                  <a:pt x="254" y="175"/>
                  <a:pt x="254" y="175"/>
                  <a:pt x="254" y="175"/>
                </a:cubicBezTo>
                <a:cubicBezTo>
                  <a:pt x="255" y="176"/>
                  <a:pt x="255" y="176"/>
                  <a:pt x="255" y="176"/>
                </a:cubicBezTo>
                <a:cubicBezTo>
                  <a:pt x="256" y="175"/>
                  <a:pt x="256" y="175"/>
                  <a:pt x="256" y="175"/>
                </a:cubicBezTo>
                <a:cubicBezTo>
                  <a:pt x="257" y="176"/>
                  <a:pt x="257" y="176"/>
                  <a:pt x="257" y="176"/>
                </a:cubicBezTo>
                <a:cubicBezTo>
                  <a:pt x="257" y="178"/>
                  <a:pt x="257" y="178"/>
                  <a:pt x="257" y="178"/>
                </a:cubicBezTo>
                <a:cubicBezTo>
                  <a:pt x="257" y="179"/>
                  <a:pt x="257" y="179"/>
                  <a:pt x="257" y="179"/>
                </a:cubicBezTo>
                <a:cubicBezTo>
                  <a:pt x="257" y="180"/>
                  <a:pt x="257" y="180"/>
                  <a:pt x="257" y="180"/>
                </a:cubicBezTo>
                <a:cubicBezTo>
                  <a:pt x="255" y="181"/>
                  <a:pt x="255" y="181"/>
                  <a:pt x="255" y="181"/>
                </a:cubicBezTo>
                <a:cubicBezTo>
                  <a:pt x="255" y="183"/>
                  <a:pt x="255" y="183"/>
                  <a:pt x="255" y="183"/>
                </a:cubicBezTo>
                <a:cubicBezTo>
                  <a:pt x="256" y="184"/>
                  <a:pt x="256" y="184"/>
                  <a:pt x="256" y="184"/>
                </a:cubicBezTo>
                <a:cubicBezTo>
                  <a:pt x="256" y="186"/>
                  <a:pt x="256" y="186"/>
                  <a:pt x="256" y="186"/>
                </a:cubicBezTo>
                <a:cubicBezTo>
                  <a:pt x="258" y="188"/>
                  <a:pt x="258" y="188"/>
                  <a:pt x="258" y="188"/>
                </a:cubicBezTo>
                <a:cubicBezTo>
                  <a:pt x="258" y="189"/>
                  <a:pt x="258" y="189"/>
                  <a:pt x="258" y="189"/>
                </a:cubicBezTo>
                <a:cubicBezTo>
                  <a:pt x="257" y="190"/>
                  <a:pt x="257" y="190"/>
                  <a:pt x="257" y="190"/>
                </a:cubicBezTo>
                <a:cubicBezTo>
                  <a:pt x="258" y="194"/>
                  <a:pt x="258" y="194"/>
                  <a:pt x="258" y="194"/>
                </a:cubicBezTo>
                <a:cubicBezTo>
                  <a:pt x="259" y="194"/>
                  <a:pt x="259" y="194"/>
                  <a:pt x="259" y="194"/>
                </a:cubicBezTo>
                <a:cubicBezTo>
                  <a:pt x="259" y="193"/>
                  <a:pt x="259" y="193"/>
                  <a:pt x="259" y="193"/>
                </a:cubicBezTo>
                <a:cubicBezTo>
                  <a:pt x="259" y="192"/>
                  <a:pt x="259" y="192"/>
                  <a:pt x="259" y="192"/>
                </a:cubicBezTo>
                <a:cubicBezTo>
                  <a:pt x="260" y="191"/>
                  <a:pt x="260" y="191"/>
                  <a:pt x="260" y="191"/>
                </a:cubicBezTo>
                <a:cubicBezTo>
                  <a:pt x="259" y="190"/>
                  <a:pt x="259" y="190"/>
                  <a:pt x="259" y="190"/>
                </a:cubicBezTo>
                <a:cubicBezTo>
                  <a:pt x="260" y="189"/>
                  <a:pt x="260" y="189"/>
                  <a:pt x="260" y="189"/>
                </a:cubicBezTo>
                <a:cubicBezTo>
                  <a:pt x="261" y="187"/>
                  <a:pt x="261" y="187"/>
                  <a:pt x="261" y="187"/>
                </a:cubicBezTo>
                <a:cubicBezTo>
                  <a:pt x="262" y="188"/>
                  <a:pt x="262" y="188"/>
                  <a:pt x="262" y="188"/>
                </a:cubicBezTo>
                <a:cubicBezTo>
                  <a:pt x="263" y="190"/>
                  <a:pt x="263" y="190"/>
                  <a:pt x="263" y="190"/>
                </a:cubicBezTo>
                <a:cubicBezTo>
                  <a:pt x="263" y="193"/>
                  <a:pt x="263" y="193"/>
                  <a:pt x="263" y="193"/>
                </a:cubicBezTo>
                <a:cubicBezTo>
                  <a:pt x="263" y="194"/>
                  <a:pt x="263" y="194"/>
                  <a:pt x="263" y="194"/>
                </a:cubicBezTo>
                <a:cubicBezTo>
                  <a:pt x="263" y="195"/>
                  <a:pt x="263" y="195"/>
                  <a:pt x="263" y="195"/>
                </a:cubicBezTo>
                <a:cubicBezTo>
                  <a:pt x="263" y="196"/>
                  <a:pt x="263" y="196"/>
                  <a:pt x="263" y="196"/>
                </a:cubicBezTo>
                <a:cubicBezTo>
                  <a:pt x="262" y="197"/>
                  <a:pt x="262" y="197"/>
                  <a:pt x="262" y="197"/>
                </a:cubicBezTo>
                <a:cubicBezTo>
                  <a:pt x="264" y="198"/>
                  <a:pt x="264" y="198"/>
                  <a:pt x="264" y="198"/>
                </a:cubicBezTo>
                <a:cubicBezTo>
                  <a:pt x="266" y="198"/>
                  <a:pt x="266" y="198"/>
                  <a:pt x="266" y="198"/>
                </a:cubicBezTo>
                <a:cubicBezTo>
                  <a:pt x="268" y="198"/>
                  <a:pt x="268" y="198"/>
                  <a:pt x="268" y="198"/>
                </a:cubicBezTo>
                <a:cubicBezTo>
                  <a:pt x="269" y="200"/>
                  <a:pt x="269" y="200"/>
                  <a:pt x="269" y="200"/>
                </a:cubicBezTo>
                <a:cubicBezTo>
                  <a:pt x="269" y="201"/>
                  <a:pt x="269" y="201"/>
                  <a:pt x="269" y="201"/>
                </a:cubicBezTo>
                <a:cubicBezTo>
                  <a:pt x="271" y="202"/>
                  <a:pt x="271" y="202"/>
                  <a:pt x="271" y="202"/>
                </a:cubicBezTo>
                <a:cubicBezTo>
                  <a:pt x="273" y="202"/>
                  <a:pt x="273" y="202"/>
                  <a:pt x="273" y="202"/>
                </a:cubicBezTo>
                <a:cubicBezTo>
                  <a:pt x="276" y="205"/>
                  <a:pt x="276" y="205"/>
                  <a:pt x="276" y="205"/>
                </a:cubicBezTo>
                <a:cubicBezTo>
                  <a:pt x="275" y="204"/>
                  <a:pt x="275" y="204"/>
                  <a:pt x="275" y="204"/>
                </a:cubicBezTo>
                <a:cubicBezTo>
                  <a:pt x="276" y="202"/>
                  <a:pt x="276" y="202"/>
                  <a:pt x="276" y="202"/>
                </a:cubicBezTo>
                <a:cubicBezTo>
                  <a:pt x="277" y="200"/>
                  <a:pt x="277" y="200"/>
                  <a:pt x="277" y="200"/>
                </a:cubicBezTo>
                <a:cubicBezTo>
                  <a:pt x="279" y="200"/>
                  <a:pt x="279" y="200"/>
                  <a:pt x="279" y="200"/>
                </a:cubicBezTo>
                <a:cubicBezTo>
                  <a:pt x="282" y="202"/>
                  <a:pt x="282" y="202"/>
                  <a:pt x="282" y="202"/>
                </a:cubicBezTo>
                <a:cubicBezTo>
                  <a:pt x="283" y="202"/>
                  <a:pt x="283" y="202"/>
                  <a:pt x="283" y="202"/>
                </a:cubicBezTo>
                <a:cubicBezTo>
                  <a:pt x="284" y="204"/>
                  <a:pt x="284" y="204"/>
                  <a:pt x="284" y="204"/>
                </a:cubicBezTo>
                <a:cubicBezTo>
                  <a:pt x="285" y="206"/>
                  <a:pt x="285" y="206"/>
                  <a:pt x="285" y="206"/>
                </a:cubicBezTo>
                <a:cubicBezTo>
                  <a:pt x="285" y="203"/>
                  <a:pt x="285" y="203"/>
                  <a:pt x="285" y="203"/>
                </a:cubicBezTo>
                <a:cubicBezTo>
                  <a:pt x="284" y="202"/>
                  <a:pt x="284" y="202"/>
                  <a:pt x="284" y="202"/>
                </a:cubicBezTo>
                <a:cubicBezTo>
                  <a:pt x="283" y="202"/>
                  <a:pt x="283" y="202"/>
                  <a:pt x="283" y="202"/>
                </a:cubicBezTo>
                <a:cubicBezTo>
                  <a:pt x="281" y="201"/>
                  <a:pt x="281" y="201"/>
                  <a:pt x="281" y="201"/>
                </a:cubicBezTo>
                <a:cubicBezTo>
                  <a:pt x="279" y="200"/>
                  <a:pt x="279" y="200"/>
                  <a:pt x="279" y="200"/>
                </a:cubicBezTo>
                <a:cubicBezTo>
                  <a:pt x="277" y="200"/>
                  <a:pt x="277" y="200"/>
                  <a:pt x="277" y="200"/>
                </a:cubicBezTo>
                <a:cubicBezTo>
                  <a:pt x="275" y="202"/>
                  <a:pt x="275" y="202"/>
                  <a:pt x="275" y="202"/>
                </a:cubicBezTo>
                <a:cubicBezTo>
                  <a:pt x="274" y="201"/>
                  <a:pt x="274" y="201"/>
                  <a:pt x="274" y="201"/>
                </a:cubicBezTo>
                <a:cubicBezTo>
                  <a:pt x="273" y="202"/>
                  <a:pt x="273" y="202"/>
                  <a:pt x="273" y="202"/>
                </a:cubicBezTo>
                <a:cubicBezTo>
                  <a:pt x="271" y="201"/>
                  <a:pt x="271" y="201"/>
                  <a:pt x="271" y="201"/>
                </a:cubicBezTo>
                <a:cubicBezTo>
                  <a:pt x="269" y="198"/>
                  <a:pt x="269" y="198"/>
                  <a:pt x="269" y="198"/>
                </a:cubicBezTo>
                <a:cubicBezTo>
                  <a:pt x="268" y="197"/>
                  <a:pt x="268" y="197"/>
                  <a:pt x="268" y="197"/>
                </a:cubicBezTo>
                <a:cubicBezTo>
                  <a:pt x="266" y="197"/>
                  <a:pt x="266" y="197"/>
                  <a:pt x="266" y="197"/>
                </a:cubicBezTo>
                <a:cubicBezTo>
                  <a:pt x="264" y="195"/>
                  <a:pt x="264" y="195"/>
                  <a:pt x="264" y="195"/>
                </a:cubicBezTo>
                <a:cubicBezTo>
                  <a:pt x="265" y="196"/>
                  <a:pt x="265" y="196"/>
                  <a:pt x="265" y="196"/>
                </a:cubicBezTo>
                <a:cubicBezTo>
                  <a:pt x="266" y="195"/>
                  <a:pt x="266" y="195"/>
                  <a:pt x="266" y="195"/>
                </a:cubicBezTo>
                <a:cubicBezTo>
                  <a:pt x="268" y="193"/>
                  <a:pt x="268" y="193"/>
                  <a:pt x="268" y="193"/>
                </a:cubicBezTo>
                <a:cubicBezTo>
                  <a:pt x="267" y="191"/>
                  <a:pt x="267" y="191"/>
                  <a:pt x="267" y="191"/>
                </a:cubicBezTo>
                <a:cubicBezTo>
                  <a:pt x="265" y="190"/>
                  <a:pt x="265" y="190"/>
                  <a:pt x="265" y="190"/>
                </a:cubicBezTo>
                <a:cubicBezTo>
                  <a:pt x="265" y="187"/>
                  <a:pt x="265" y="187"/>
                  <a:pt x="265" y="187"/>
                </a:cubicBezTo>
                <a:cubicBezTo>
                  <a:pt x="263" y="184"/>
                  <a:pt x="263" y="184"/>
                  <a:pt x="263" y="184"/>
                </a:cubicBezTo>
                <a:cubicBezTo>
                  <a:pt x="261" y="183"/>
                  <a:pt x="261" y="183"/>
                  <a:pt x="261" y="183"/>
                </a:cubicBezTo>
                <a:cubicBezTo>
                  <a:pt x="260" y="182"/>
                  <a:pt x="260" y="182"/>
                  <a:pt x="260" y="182"/>
                </a:cubicBezTo>
                <a:cubicBezTo>
                  <a:pt x="260" y="180"/>
                  <a:pt x="260" y="180"/>
                  <a:pt x="260" y="180"/>
                </a:cubicBezTo>
                <a:cubicBezTo>
                  <a:pt x="260" y="179"/>
                  <a:pt x="260" y="179"/>
                  <a:pt x="260" y="179"/>
                </a:cubicBezTo>
                <a:cubicBezTo>
                  <a:pt x="260" y="176"/>
                  <a:pt x="260" y="176"/>
                  <a:pt x="260" y="176"/>
                </a:cubicBezTo>
                <a:cubicBezTo>
                  <a:pt x="258" y="174"/>
                  <a:pt x="258" y="174"/>
                  <a:pt x="258" y="174"/>
                </a:cubicBezTo>
                <a:cubicBezTo>
                  <a:pt x="257" y="174"/>
                  <a:pt x="257" y="174"/>
                  <a:pt x="257" y="174"/>
                </a:cubicBezTo>
                <a:cubicBezTo>
                  <a:pt x="255" y="173"/>
                  <a:pt x="255" y="173"/>
                  <a:pt x="255" y="173"/>
                </a:cubicBezTo>
                <a:cubicBezTo>
                  <a:pt x="252" y="173"/>
                  <a:pt x="252" y="173"/>
                  <a:pt x="252" y="173"/>
                </a:cubicBezTo>
                <a:cubicBezTo>
                  <a:pt x="251" y="171"/>
                  <a:pt x="251" y="171"/>
                  <a:pt x="251" y="171"/>
                </a:cubicBezTo>
                <a:cubicBezTo>
                  <a:pt x="249" y="170"/>
                  <a:pt x="249" y="170"/>
                  <a:pt x="249" y="170"/>
                </a:cubicBezTo>
                <a:cubicBezTo>
                  <a:pt x="249" y="168"/>
                  <a:pt x="249" y="168"/>
                  <a:pt x="249" y="168"/>
                </a:cubicBezTo>
                <a:cubicBezTo>
                  <a:pt x="249" y="167"/>
                  <a:pt x="249" y="167"/>
                  <a:pt x="249" y="167"/>
                </a:cubicBezTo>
                <a:cubicBezTo>
                  <a:pt x="249" y="166"/>
                  <a:pt x="249" y="166"/>
                  <a:pt x="249" y="166"/>
                </a:cubicBezTo>
                <a:cubicBezTo>
                  <a:pt x="247" y="167"/>
                  <a:pt x="247" y="167"/>
                  <a:pt x="247" y="167"/>
                </a:cubicBezTo>
                <a:cubicBezTo>
                  <a:pt x="243" y="167"/>
                  <a:pt x="243" y="167"/>
                  <a:pt x="243" y="167"/>
                </a:cubicBezTo>
                <a:cubicBezTo>
                  <a:pt x="241" y="167"/>
                  <a:pt x="241" y="167"/>
                  <a:pt x="241" y="167"/>
                </a:cubicBezTo>
                <a:cubicBezTo>
                  <a:pt x="239" y="166"/>
                  <a:pt x="239" y="166"/>
                  <a:pt x="239" y="166"/>
                </a:cubicBezTo>
                <a:cubicBezTo>
                  <a:pt x="239" y="164"/>
                  <a:pt x="239" y="164"/>
                  <a:pt x="239" y="164"/>
                </a:cubicBezTo>
                <a:cubicBezTo>
                  <a:pt x="239" y="164"/>
                  <a:pt x="239" y="164"/>
                  <a:pt x="239" y="164"/>
                </a:cubicBezTo>
                <a:cubicBezTo>
                  <a:pt x="238" y="163"/>
                  <a:pt x="238" y="163"/>
                  <a:pt x="238" y="163"/>
                </a:cubicBezTo>
                <a:cubicBezTo>
                  <a:pt x="238" y="161"/>
                  <a:pt x="238" y="161"/>
                  <a:pt x="238" y="161"/>
                </a:cubicBezTo>
                <a:cubicBezTo>
                  <a:pt x="237" y="158"/>
                  <a:pt x="237" y="158"/>
                  <a:pt x="237" y="158"/>
                </a:cubicBezTo>
                <a:cubicBezTo>
                  <a:pt x="234" y="157"/>
                  <a:pt x="234" y="157"/>
                  <a:pt x="234" y="157"/>
                </a:cubicBezTo>
                <a:cubicBezTo>
                  <a:pt x="235" y="156"/>
                  <a:pt x="235" y="156"/>
                  <a:pt x="235" y="156"/>
                </a:cubicBezTo>
                <a:cubicBezTo>
                  <a:pt x="235" y="155"/>
                  <a:pt x="235" y="155"/>
                  <a:pt x="235" y="155"/>
                </a:cubicBezTo>
                <a:cubicBezTo>
                  <a:pt x="234" y="155"/>
                  <a:pt x="234" y="155"/>
                  <a:pt x="234" y="155"/>
                </a:cubicBezTo>
                <a:cubicBezTo>
                  <a:pt x="233" y="154"/>
                  <a:pt x="233" y="154"/>
                  <a:pt x="233" y="154"/>
                </a:cubicBezTo>
                <a:cubicBezTo>
                  <a:pt x="233" y="153"/>
                  <a:pt x="233" y="153"/>
                  <a:pt x="233" y="153"/>
                </a:cubicBezTo>
                <a:cubicBezTo>
                  <a:pt x="233" y="151"/>
                  <a:pt x="233" y="151"/>
                  <a:pt x="233" y="151"/>
                </a:cubicBezTo>
                <a:cubicBezTo>
                  <a:pt x="232" y="150"/>
                  <a:pt x="232" y="150"/>
                  <a:pt x="232" y="150"/>
                </a:cubicBezTo>
                <a:cubicBezTo>
                  <a:pt x="233" y="150"/>
                  <a:pt x="233" y="150"/>
                  <a:pt x="233" y="150"/>
                </a:cubicBezTo>
                <a:cubicBezTo>
                  <a:pt x="235" y="150"/>
                  <a:pt x="235" y="150"/>
                  <a:pt x="235" y="150"/>
                </a:cubicBezTo>
                <a:cubicBezTo>
                  <a:pt x="236" y="148"/>
                  <a:pt x="236" y="148"/>
                  <a:pt x="236" y="148"/>
                </a:cubicBezTo>
                <a:cubicBezTo>
                  <a:pt x="238" y="148"/>
                  <a:pt x="238" y="148"/>
                  <a:pt x="238" y="148"/>
                </a:cubicBezTo>
                <a:cubicBezTo>
                  <a:pt x="241" y="147"/>
                  <a:pt x="241" y="147"/>
                  <a:pt x="241" y="147"/>
                </a:cubicBezTo>
                <a:cubicBezTo>
                  <a:pt x="246" y="145"/>
                  <a:pt x="246" y="145"/>
                  <a:pt x="246" y="145"/>
                </a:cubicBezTo>
                <a:cubicBezTo>
                  <a:pt x="248" y="144"/>
                  <a:pt x="248" y="144"/>
                  <a:pt x="248" y="144"/>
                </a:cubicBezTo>
                <a:cubicBezTo>
                  <a:pt x="249" y="144"/>
                  <a:pt x="249" y="144"/>
                  <a:pt x="249" y="144"/>
                </a:cubicBezTo>
                <a:cubicBezTo>
                  <a:pt x="250" y="144"/>
                  <a:pt x="250" y="144"/>
                  <a:pt x="250" y="144"/>
                </a:cubicBezTo>
                <a:cubicBezTo>
                  <a:pt x="252" y="143"/>
                  <a:pt x="252" y="143"/>
                  <a:pt x="252" y="143"/>
                </a:cubicBezTo>
                <a:cubicBezTo>
                  <a:pt x="253" y="142"/>
                  <a:pt x="253" y="142"/>
                  <a:pt x="253" y="142"/>
                </a:cubicBezTo>
                <a:cubicBezTo>
                  <a:pt x="255" y="141"/>
                  <a:pt x="255" y="141"/>
                  <a:pt x="255" y="141"/>
                </a:cubicBezTo>
                <a:cubicBezTo>
                  <a:pt x="259" y="139"/>
                  <a:pt x="259" y="139"/>
                  <a:pt x="259" y="139"/>
                </a:cubicBezTo>
                <a:cubicBezTo>
                  <a:pt x="260" y="140"/>
                  <a:pt x="260" y="140"/>
                  <a:pt x="260" y="140"/>
                </a:cubicBezTo>
                <a:cubicBezTo>
                  <a:pt x="259" y="141"/>
                  <a:pt x="259" y="141"/>
                  <a:pt x="259" y="141"/>
                </a:cubicBezTo>
                <a:cubicBezTo>
                  <a:pt x="259" y="142"/>
                  <a:pt x="259" y="142"/>
                  <a:pt x="259" y="142"/>
                </a:cubicBezTo>
                <a:cubicBezTo>
                  <a:pt x="258" y="143"/>
                  <a:pt x="258" y="143"/>
                  <a:pt x="258" y="143"/>
                </a:cubicBezTo>
                <a:cubicBezTo>
                  <a:pt x="257" y="145"/>
                  <a:pt x="257" y="145"/>
                  <a:pt x="257" y="145"/>
                </a:cubicBezTo>
                <a:cubicBezTo>
                  <a:pt x="257" y="147"/>
                  <a:pt x="257" y="147"/>
                  <a:pt x="257" y="147"/>
                </a:cubicBezTo>
                <a:cubicBezTo>
                  <a:pt x="260" y="149"/>
                  <a:pt x="260" y="149"/>
                  <a:pt x="260" y="149"/>
                </a:cubicBezTo>
                <a:cubicBezTo>
                  <a:pt x="262" y="149"/>
                  <a:pt x="262" y="149"/>
                  <a:pt x="262" y="149"/>
                </a:cubicBezTo>
                <a:cubicBezTo>
                  <a:pt x="261" y="148"/>
                  <a:pt x="261" y="148"/>
                  <a:pt x="261" y="148"/>
                </a:cubicBezTo>
                <a:cubicBezTo>
                  <a:pt x="258" y="146"/>
                  <a:pt x="258" y="146"/>
                  <a:pt x="258" y="146"/>
                </a:cubicBezTo>
                <a:cubicBezTo>
                  <a:pt x="258" y="145"/>
                  <a:pt x="258" y="145"/>
                  <a:pt x="258" y="145"/>
                </a:cubicBezTo>
                <a:cubicBezTo>
                  <a:pt x="259" y="144"/>
                  <a:pt x="259" y="144"/>
                  <a:pt x="259" y="144"/>
                </a:cubicBezTo>
                <a:cubicBezTo>
                  <a:pt x="262" y="142"/>
                  <a:pt x="262" y="142"/>
                  <a:pt x="262" y="142"/>
                </a:cubicBezTo>
                <a:cubicBezTo>
                  <a:pt x="263" y="140"/>
                  <a:pt x="263" y="140"/>
                  <a:pt x="263" y="140"/>
                </a:cubicBezTo>
                <a:cubicBezTo>
                  <a:pt x="262" y="138"/>
                  <a:pt x="262" y="138"/>
                  <a:pt x="262" y="138"/>
                </a:cubicBezTo>
                <a:cubicBezTo>
                  <a:pt x="260" y="138"/>
                  <a:pt x="260" y="138"/>
                  <a:pt x="260" y="138"/>
                </a:cubicBezTo>
                <a:cubicBezTo>
                  <a:pt x="259" y="137"/>
                  <a:pt x="259" y="137"/>
                  <a:pt x="259" y="137"/>
                </a:cubicBezTo>
                <a:cubicBezTo>
                  <a:pt x="259" y="136"/>
                  <a:pt x="259" y="136"/>
                  <a:pt x="259" y="136"/>
                </a:cubicBezTo>
                <a:cubicBezTo>
                  <a:pt x="257" y="136"/>
                  <a:pt x="257" y="136"/>
                  <a:pt x="257" y="136"/>
                </a:cubicBezTo>
                <a:cubicBezTo>
                  <a:pt x="256" y="136"/>
                  <a:pt x="256" y="136"/>
                  <a:pt x="256" y="136"/>
                </a:cubicBezTo>
                <a:cubicBezTo>
                  <a:pt x="256" y="136"/>
                  <a:pt x="256" y="136"/>
                  <a:pt x="256" y="136"/>
                </a:cubicBezTo>
                <a:cubicBezTo>
                  <a:pt x="255" y="134"/>
                  <a:pt x="255" y="134"/>
                  <a:pt x="255" y="134"/>
                </a:cubicBezTo>
                <a:cubicBezTo>
                  <a:pt x="253" y="134"/>
                  <a:pt x="253" y="134"/>
                  <a:pt x="253" y="134"/>
                </a:cubicBezTo>
                <a:cubicBezTo>
                  <a:pt x="252" y="135"/>
                  <a:pt x="252" y="135"/>
                  <a:pt x="252" y="135"/>
                </a:cubicBezTo>
                <a:cubicBezTo>
                  <a:pt x="250" y="133"/>
                  <a:pt x="250" y="133"/>
                  <a:pt x="250" y="133"/>
                </a:cubicBezTo>
                <a:cubicBezTo>
                  <a:pt x="251" y="132"/>
                  <a:pt x="251" y="132"/>
                  <a:pt x="251" y="132"/>
                </a:cubicBezTo>
                <a:cubicBezTo>
                  <a:pt x="251" y="131"/>
                  <a:pt x="251" y="131"/>
                  <a:pt x="251" y="131"/>
                </a:cubicBezTo>
                <a:cubicBezTo>
                  <a:pt x="252" y="131"/>
                  <a:pt x="252" y="131"/>
                  <a:pt x="252" y="131"/>
                </a:cubicBezTo>
                <a:cubicBezTo>
                  <a:pt x="253" y="132"/>
                  <a:pt x="253" y="132"/>
                  <a:pt x="253" y="132"/>
                </a:cubicBezTo>
                <a:cubicBezTo>
                  <a:pt x="255" y="132"/>
                  <a:pt x="255" y="132"/>
                  <a:pt x="255" y="132"/>
                </a:cubicBezTo>
                <a:cubicBezTo>
                  <a:pt x="256" y="131"/>
                  <a:pt x="256" y="131"/>
                  <a:pt x="256" y="131"/>
                </a:cubicBezTo>
                <a:cubicBezTo>
                  <a:pt x="255" y="131"/>
                  <a:pt x="255" y="131"/>
                  <a:pt x="255" y="131"/>
                </a:cubicBezTo>
                <a:cubicBezTo>
                  <a:pt x="255" y="131"/>
                  <a:pt x="255" y="131"/>
                  <a:pt x="255" y="131"/>
                </a:cubicBezTo>
                <a:cubicBezTo>
                  <a:pt x="254" y="131"/>
                  <a:pt x="254" y="131"/>
                  <a:pt x="254" y="131"/>
                </a:cubicBezTo>
                <a:cubicBezTo>
                  <a:pt x="252" y="130"/>
                  <a:pt x="252" y="130"/>
                  <a:pt x="252" y="130"/>
                </a:cubicBezTo>
                <a:cubicBezTo>
                  <a:pt x="252" y="129"/>
                  <a:pt x="252" y="129"/>
                  <a:pt x="252" y="129"/>
                </a:cubicBezTo>
                <a:cubicBezTo>
                  <a:pt x="251" y="129"/>
                  <a:pt x="251" y="129"/>
                  <a:pt x="251" y="129"/>
                </a:cubicBezTo>
                <a:cubicBezTo>
                  <a:pt x="249" y="128"/>
                  <a:pt x="249" y="128"/>
                  <a:pt x="249" y="128"/>
                </a:cubicBezTo>
                <a:cubicBezTo>
                  <a:pt x="247" y="129"/>
                  <a:pt x="247" y="129"/>
                  <a:pt x="247" y="129"/>
                </a:cubicBezTo>
                <a:cubicBezTo>
                  <a:pt x="247" y="128"/>
                  <a:pt x="247" y="128"/>
                  <a:pt x="247" y="128"/>
                </a:cubicBezTo>
                <a:cubicBezTo>
                  <a:pt x="247" y="127"/>
                  <a:pt x="247" y="127"/>
                  <a:pt x="247" y="127"/>
                </a:cubicBezTo>
                <a:cubicBezTo>
                  <a:pt x="247" y="126"/>
                  <a:pt x="247" y="126"/>
                  <a:pt x="247" y="126"/>
                </a:cubicBezTo>
                <a:cubicBezTo>
                  <a:pt x="246" y="125"/>
                  <a:pt x="246" y="125"/>
                  <a:pt x="246" y="125"/>
                </a:cubicBezTo>
                <a:cubicBezTo>
                  <a:pt x="247" y="124"/>
                  <a:pt x="247" y="124"/>
                  <a:pt x="247" y="124"/>
                </a:cubicBezTo>
                <a:cubicBezTo>
                  <a:pt x="248" y="125"/>
                  <a:pt x="248" y="125"/>
                  <a:pt x="248" y="125"/>
                </a:cubicBezTo>
                <a:cubicBezTo>
                  <a:pt x="249" y="126"/>
                  <a:pt x="249" y="126"/>
                  <a:pt x="249" y="126"/>
                </a:cubicBezTo>
                <a:cubicBezTo>
                  <a:pt x="250" y="126"/>
                  <a:pt x="250" y="126"/>
                  <a:pt x="250" y="126"/>
                </a:cubicBezTo>
                <a:cubicBezTo>
                  <a:pt x="252" y="128"/>
                  <a:pt x="252" y="128"/>
                  <a:pt x="252" y="128"/>
                </a:cubicBezTo>
                <a:cubicBezTo>
                  <a:pt x="252" y="127"/>
                  <a:pt x="252" y="127"/>
                  <a:pt x="252" y="127"/>
                </a:cubicBezTo>
                <a:cubicBezTo>
                  <a:pt x="251" y="126"/>
                  <a:pt x="251" y="126"/>
                  <a:pt x="251" y="126"/>
                </a:cubicBezTo>
                <a:cubicBezTo>
                  <a:pt x="253" y="125"/>
                  <a:pt x="253" y="125"/>
                  <a:pt x="253" y="125"/>
                </a:cubicBezTo>
                <a:cubicBezTo>
                  <a:pt x="253" y="123"/>
                  <a:pt x="253" y="123"/>
                  <a:pt x="253" y="123"/>
                </a:cubicBezTo>
                <a:cubicBezTo>
                  <a:pt x="252" y="122"/>
                  <a:pt x="252" y="122"/>
                  <a:pt x="252" y="122"/>
                </a:cubicBezTo>
                <a:cubicBezTo>
                  <a:pt x="252" y="121"/>
                  <a:pt x="252" y="121"/>
                  <a:pt x="252" y="121"/>
                </a:cubicBezTo>
                <a:cubicBezTo>
                  <a:pt x="253" y="122"/>
                  <a:pt x="253" y="122"/>
                  <a:pt x="253" y="122"/>
                </a:cubicBezTo>
                <a:cubicBezTo>
                  <a:pt x="254" y="121"/>
                  <a:pt x="254" y="121"/>
                  <a:pt x="254" y="121"/>
                </a:cubicBezTo>
                <a:cubicBezTo>
                  <a:pt x="251" y="120"/>
                  <a:pt x="251" y="120"/>
                  <a:pt x="251" y="120"/>
                </a:cubicBezTo>
                <a:cubicBezTo>
                  <a:pt x="251" y="121"/>
                  <a:pt x="251" y="121"/>
                  <a:pt x="251" y="121"/>
                </a:cubicBezTo>
                <a:cubicBezTo>
                  <a:pt x="250" y="121"/>
                  <a:pt x="250" y="121"/>
                  <a:pt x="250" y="121"/>
                </a:cubicBezTo>
                <a:cubicBezTo>
                  <a:pt x="250" y="120"/>
                  <a:pt x="250" y="120"/>
                  <a:pt x="250" y="120"/>
                </a:cubicBezTo>
                <a:cubicBezTo>
                  <a:pt x="251" y="119"/>
                  <a:pt x="251" y="119"/>
                  <a:pt x="251" y="119"/>
                </a:cubicBezTo>
                <a:cubicBezTo>
                  <a:pt x="253" y="118"/>
                  <a:pt x="253" y="118"/>
                  <a:pt x="253" y="118"/>
                </a:cubicBezTo>
                <a:cubicBezTo>
                  <a:pt x="255" y="118"/>
                  <a:pt x="255" y="118"/>
                  <a:pt x="255" y="118"/>
                </a:cubicBezTo>
                <a:cubicBezTo>
                  <a:pt x="254" y="117"/>
                  <a:pt x="254" y="117"/>
                  <a:pt x="254" y="117"/>
                </a:cubicBezTo>
                <a:cubicBezTo>
                  <a:pt x="256" y="115"/>
                  <a:pt x="256" y="115"/>
                  <a:pt x="256" y="115"/>
                </a:cubicBezTo>
                <a:cubicBezTo>
                  <a:pt x="256" y="114"/>
                  <a:pt x="256" y="114"/>
                  <a:pt x="256" y="114"/>
                </a:cubicBezTo>
                <a:cubicBezTo>
                  <a:pt x="256" y="114"/>
                  <a:pt x="256" y="114"/>
                  <a:pt x="256" y="114"/>
                </a:cubicBezTo>
                <a:cubicBezTo>
                  <a:pt x="256" y="113"/>
                  <a:pt x="256" y="113"/>
                  <a:pt x="256" y="113"/>
                </a:cubicBezTo>
                <a:cubicBezTo>
                  <a:pt x="257" y="111"/>
                  <a:pt x="257" y="111"/>
                  <a:pt x="257" y="111"/>
                </a:cubicBezTo>
                <a:cubicBezTo>
                  <a:pt x="257" y="111"/>
                  <a:pt x="257" y="111"/>
                  <a:pt x="257" y="111"/>
                </a:cubicBezTo>
                <a:cubicBezTo>
                  <a:pt x="258" y="112"/>
                  <a:pt x="258" y="112"/>
                  <a:pt x="258" y="112"/>
                </a:cubicBezTo>
                <a:cubicBezTo>
                  <a:pt x="259" y="112"/>
                  <a:pt x="259" y="112"/>
                  <a:pt x="259" y="112"/>
                </a:cubicBezTo>
                <a:cubicBezTo>
                  <a:pt x="259" y="111"/>
                  <a:pt x="259" y="111"/>
                  <a:pt x="259" y="111"/>
                </a:cubicBezTo>
                <a:cubicBezTo>
                  <a:pt x="260" y="111"/>
                  <a:pt x="260" y="111"/>
                  <a:pt x="260" y="111"/>
                </a:cubicBezTo>
                <a:cubicBezTo>
                  <a:pt x="259" y="110"/>
                  <a:pt x="259" y="110"/>
                  <a:pt x="259" y="110"/>
                </a:cubicBezTo>
                <a:cubicBezTo>
                  <a:pt x="259" y="109"/>
                  <a:pt x="259" y="109"/>
                  <a:pt x="259" y="109"/>
                </a:cubicBezTo>
                <a:cubicBezTo>
                  <a:pt x="261" y="108"/>
                  <a:pt x="261" y="108"/>
                  <a:pt x="261" y="108"/>
                </a:cubicBezTo>
                <a:cubicBezTo>
                  <a:pt x="262" y="108"/>
                  <a:pt x="262" y="108"/>
                  <a:pt x="262" y="108"/>
                </a:cubicBezTo>
                <a:cubicBezTo>
                  <a:pt x="262" y="107"/>
                  <a:pt x="262" y="107"/>
                  <a:pt x="262" y="107"/>
                </a:cubicBezTo>
                <a:cubicBezTo>
                  <a:pt x="263" y="107"/>
                  <a:pt x="263" y="107"/>
                  <a:pt x="263" y="107"/>
                </a:cubicBezTo>
                <a:cubicBezTo>
                  <a:pt x="264" y="107"/>
                  <a:pt x="264" y="107"/>
                  <a:pt x="264" y="107"/>
                </a:cubicBezTo>
                <a:cubicBezTo>
                  <a:pt x="266" y="107"/>
                  <a:pt x="266" y="107"/>
                  <a:pt x="266" y="107"/>
                </a:cubicBezTo>
                <a:cubicBezTo>
                  <a:pt x="265" y="106"/>
                  <a:pt x="265" y="106"/>
                  <a:pt x="265" y="106"/>
                </a:cubicBezTo>
                <a:cubicBezTo>
                  <a:pt x="266" y="105"/>
                  <a:pt x="266" y="105"/>
                  <a:pt x="266" y="105"/>
                </a:cubicBezTo>
                <a:cubicBezTo>
                  <a:pt x="268" y="105"/>
                  <a:pt x="268" y="105"/>
                  <a:pt x="268" y="105"/>
                </a:cubicBezTo>
                <a:cubicBezTo>
                  <a:pt x="270" y="104"/>
                  <a:pt x="270" y="104"/>
                  <a:pt x="270" y="104"/>
                </a:cubicBezTo>
                <a:cubicBezTo>
                  <a:pt x="271" y="102"/>
                  <a:pt x="271" y="102"/>
                  <a:pt x="271" y="102"/>
                </a:cubicBezTo>
                <a:cubicBezTo>
                  <a:pt x="274" y="101"/>
                  <a:pt x="274" y="101"/>
                  <a:pt x="274" y="101"/>
                </a:cubicBezTo>
                <a:cubicBezTo>
                  <a:pt x="274" y="100"/>
                  <a:pt x="274" y="100"/>
                  <a:pt x="274" y="100"/>
                </a:cubicBezTo>
                <a:cubicBezTo>
                  <a:pt x="274" y="100"/>
                  <a:pt x="274" y="100"/>
                  <a:pt x="274" y="100"/>
                </a:cubicBezTo>
                <a:cubicBezTo>
                  <a:pt x="271" y="101"/>
                  <a:pt x="271" y="101"/>
                  <a:pt x="271" y="101"/>
                </a:cubicBezTo>
                <a:cubicBezTo>
                  <a:pt x="271" y="100"/>
                  <a:pt x="271" y="100"/>
                  <a:pt x="271" y="100"/>
                </a:cubicBezTo>
                <a:cubicBezTo>
                  <a:pt x="269" y="102"/>
                  <a:pt x="269" y="102"/>
                  <a:pt x="269" y="102"/>
                </a:cubicBezTo>
                <a:cubicBezTo>
                  <a:pt x="269" y="101"/>
                  <a:pt x="269" y="101"/>
                  <a:pt x="269" y="101"/>
                </a:cubicBezTo>
                <a:cubicBezTo>
                  <a:pt x="269" y="98"/>
                  <a:pt x="269" y="98"/>
                  <a:pt x="269" y="98"/>
                </a:cubicBezTo>
                <a:cubicBezTo>
                  <a:pt x="269" y="98"/>
                  <a:pt x="269" y="98"/>
                  <a:pt x="269" y="98"/>
                </a:cubicBezTo>
                <a:cubicBezTo>
                  <a:pt x="270" y="96"/>
                  <a:pt x="270" y="96"/>
                  <a:pt x="270" y="96"/>
                </a:cubicBezTo>
                <a:cubicBezTo>
                  <a:pt x="270" y="97"/>
                  <a:pt x="270" y="97"/>
                  <a:pt x="270" y="97"/>
                </a:cubicBezTo>
                <a:cubicBezTo>
                  <a:pt x="270" y="97"/>
                  <a:pt x="270" y="97"/>
                  <a:pt x="270" y="97"/>
                </a:cubicBezTo>
                <a:cubicBezTo>
                  <a:pt x="271" y="97"/>
                  <a:pt x="271" y="97"/>
                  <a:pt x="271" y="97"/>
                </a:cubicBezTo>
                <a:cubicBezTo>
                  <a:pt x="272" y="97"/>
                  <a:pt x="272" y="97"/>
                  <a:pt x="272" y="97"/>
                </a:cubicBezTo>
                <a:cubicBezTo>
                  <a:pt x="270" y="95"/>
                  <a:pt x="270" y="95"/>
                  <a:pt x="270" y="95"/>
                </a:cubicBezTo>
                <a:cubicBezTo>
                  <a:pt x="272" y="95"/>
                  <a:pt x="272" y="95"/>
                  <a:pt x="272" y="95"/>
                </a:cubicBezTo>
                <a:cubicBezTo>
                  <a:pt x="273" y="96"/>
                  <a:pt x="273" y="96"/>
                  <a:pt x="273" y="96"/>
                </a:cubicBezTo>
                <a:cubicBezTo>
                  <a:pt x="274" y="96"/>
                  <a:pt x="274" y="96"/>
                  <a:pt x="274" y="96"/>
                </a:cubicBezTo>
                <a:cubicBezTo>
                  <a:pt x="276" y="95"/>
                  <a:pt x="276" y="95"/>
                  <a:pt x="276" y="95"/>
                </a:cubicBezTo>
                <a:cubicBezTo>
                  <a:pt x="277" y="95"/>
                  <a:pt x="277" y="95"/>
                  <a:pt x="277" y="95"/>
                </a:cubicBezTo>
                <a:cubicBezTo>
                  <a:pt x="281" y="94"/>
                  <a:pt x="281" y="94"/>
                  <a:pt x="281" y="94"/>
                </a:cubicBezTo>
                <a:cubicBezTo>
                  <a:pt x="282" y="94"/>
                  <a:pt x="282" y="94"/>
                  <a:pt x="282" y="94"/>
                </a:cubicBezTo>
                <a:cubicBezTo>
                  <a:pt x="283" y="95"/>
                  <a:pt x="283" y="95"/>
                  <a:pt x="283" y="95"/>
                </a:cubicBezTo>
                <a:cubicBezTo>
                  <a:pt x="281" y="98"/>
                  <a:pt x="281" y="98"/>
                  <a:pt x="281" y="98"/>
                </a:cubicBezTo>
                <a:cubicBezTo>
                  <a:pt x="281" y="99"/>
                  <a:pt x="281" y="99"/>
                  <a:pt x="281" y="99"/>
                </a:cubicBezTo>
                <a:cubicBezTo>
                  <a:pt x="283" y="100"/>
                  <a:pt x="283" y="100"/>
                  <a:pt x="283" y="100"/>
                </a:cubicBezTo>
                <a:cubicBezTo>
                  <a:pt x="283" y="98"/>
                  <a:pt x="283" y="98"/>
                  <a:pt x="283" y="98"/>
                </a:cubicBezTo>
                <a:cubicBezTo>
                  <a:pt x="284" y="96"/>
                  <a:pt x="284" y="96"/>
                  <a:pt x="284" y="96"/>
                </a:cubicBezTo>
                <a:cubicBezTo>
                  <a:pt x="284" y="95"/>
                  <a:pt x="284" y="95"/>
                  <a:pt x="284" y="95"/>
                </a:cubicBezTo>
                <a:cubicBezTo>
                  <a:pt x="284" y="94"/>
                  <a:pt x="284" y="94"/>
                  <a:pt x="284" y="94"/>
                </a:cubicBezTo>
                <a:cubicBezTo>
                  <a:pt x="285" y="96"/>
                  <a:pt x="285" y="96"/>
                  <a:pt x="285" y="96"/>
                </a:cubicBezTo>
                <a:cubicBezTo>
                  <a:pt x="285" y="97"/>
                  <a:pt x="285" y="97"/>
                  <a:pt x="285" y="97"/>
                </a:cubicBezTo>
                <a:cubicBezTo>
                  <a:pt x="286" y="97"/>
                  <a:pt x="286" y="97"/>
                  <a:pt x="286" y="97"/>
                </a:cubicBezTo>
                <a:cubicBezTo>
                  <a:pt x="287" y="96"/>
                  <a:pt x="287" y="96"/>
                  <a:pt x="287" y="96"/>
                </a:cubicBezTo>
                <a:cubicBezTo>
                  <a:pt x="286" y="95"/>
                  <a:pt x="286" y="95"/>
                  <a:pt x="286" y="95"/>
                </a:cubicBezTo>
                <a:cubicBezTo>
                  <a:pt x="287" y="94"/>
                  <a:pt x="287" y="94"/>
                  <a:pt x="287" y="94"/>
                </a:cubicBezTo>
                <a:cubicBezTo>
                  <a:pt x="288" y="94"/>
                  <a:pt x="288" y="94"/>
                  <a:pt x="288" y="94"/>
                </a:cubicBezTo>
                <a:cubicBezTo>
                  <a:pt x="288" y="96"/>
                  <a:pt x="288" y="96"/>
                  <a:pt x="288" y="96"/>
                </a:cubicBezTo>
                <a:cubicBezTo>
                  <a:pt x="290" y="94"/>
                  <a:pt x="290" y="94"/>
                  <a:pt x="290" y="94"/>
                </a:cubicBezTo>
                <a:cubicBezTo>
                  <a:pt x="290" y="93"/>
                  <a:pt x="290" y="93"/>
                  <a:pt x="290" y="93"/>
                </a:cubicBezTo>
                <a:cubicBezTo>
                  <a:pt x="289" y="92"/>
                  <a:pt x="289" y="92"/>
                  <a:pt x="289" y="92"/>
                </a:cubicBezTo>
                <a:cubicBezTo>
                  <a:pt x="291" y="92"/>
                  <a:pt x="291" y="92"/>
                  <a:pt x="291" y="92"/>
                </a:cubicBezTo>
                <a:cubicBezTo>
                  <a:pt x="291" y="92"/>
                  <a:pt x="291" y="92"/>
                  <a:pt x="291" y="92"/>
                </a:cubicBezTo>
                <a:cubicBezTo>
                  <a:pt x="290" y="91"/>
                  <a:pt x="290" y="91"/>
                  <a:pt x="290" y="91"/>
                </a:cubicBezTo>
                <a:cubicBezTo>
                  <a:pt x="292" y="90"/>
                  <a:pt x="292" y="90"/>
                  <a:pt x="292" y="90"/>
                </a:cubicBezTo>
                <a:cubicBezTo>
                  <a:pt x="293" y="90"/>
                  <a:pt x="293" y="90"/>
                  <a:pt x="293" y="90"/>
                </a:cubicBezTo>
                <a:cubicBezTo>
                  <a:pt x="294" y="89"/>
                  <a:pt x="294" y="89"/>
                  <a:pt x="294" y="89"/>
                </a:cubicBezTo>
                <a:cubicBezTo>
                  <a:pt x="295" y="89"/>
                  <a:pt x="295" y="89"/>
                  <a:pt x="295" y="89"/>
                </a:cubicBezTo>
                <a:cubicBezTo>
                  <a:pt x="295" y="90"/>
                  <a:pt x="295" y="90"/>
                  <a:pt x="295" y="90"/>
                </a:cubicBezTo>
                <a:cubicBezTo>
                  <a:pt x="296" y="90"/>
                  <a:pt x="296" y="90"/>
                  <a:pt x="296" y="90"/>
                </a:cubicBezTo>
                <a:cubicBezTo>
                  <a:pt x="298" y="91"/>
                  <a:pt x="298" y="91"/>
                  <a:pt x="298" y="91"/>
                </a:cubicBezTo>
                <a:cubicBezTo>
                  <a:pt x="298" y="92"/>
                  <a:pt x="298" y="92"/>
                  <a:pt x="298" y="92"/>
                </a:cubicBezTo>
                <a:cubicBezTo>
                  <a:pt x="298" y="93"/>
                  <a:pt x="298" y="93"/>
                  <a:pt x="298" y="93"/>
                </a:cubicBezTo>
                <a:cubicBezTo>
                  <a:pt x="297" y="96"/>
                  <a:pt x="297" y="96"/>
                  <a:pt x="297" y="96"/>
                </a:cubicBezTo>
                <a:cubicBezTo>
                  <a:pt x="299" y="95"/>
                  <a:pt x="299" y="95"/>
                  <a:pt x="299" y="95"/>
                </a:cubicBezTo>
                <a:cubicBezTo>
                  <a:pt x="300" y="93"/>
                  <a:pt x="300" y="93"/>
                  <a:pt x="300" y="93"/>
                </a:cubicBezTo>
                <a:cubicBezTo>
                  <a:pt x="299" y="90"/>
                  <a:pt x="299" y="90"/>
                  <a:pt x="299" y="90"/>
                </a:cubicBezTo>
                <a:cubicBezTo>
                  <a:pt x="297" y="89"/>
                  <a:pt x="297" y="89"/>
                  <a:pt x="297" y="89"/>
                </a:cubicBezTo>
                <a:cubicBezTo>
                  <a:pt x="296" y="87"/>
                  <a:pt x="296" y="87"/>
                  <a:pt x="296" y="87"/>
                </a:cubicBezTo>
                <a:cubicBezTo>
                  <a:pt x="295" y="88"/>
                  <a:pt x="295" y="88"/>
                  <a:pt x="295" y="88"/>
                </a:cubicBezTo>
                <a:cubicBezTo>
                  <a:pt x="294" y="88"/>
                  <a:pt x="294" y="88"/>
                  <a:pt x="294" y="88"/>
                </a:cubicBezTo>
                <a:cubicBezTo>
                  <a:pt x="292" y="88"/>
                  <a:pt x="292" y="88"/>
                  <a:pt x="292" y="88"/>
                </a:cubicBezTo>
                <a:cubicBezTo>
                  <a:pt x="292" y="87"/>
                  <a:pt x="292" y="87"/>
                  <a:pt x="292" y="87"/>
                </a:cubicBezTo>
                <a:cubicBezTo>
                  <a:pt x="291" y="86"/>
                  <a:pt x="291" y="86"/>
                  <a:pt x="291" y="86"/>
                </a:cubicBezTo>
                <a:cubicBezTo>
                  <a:pt x="291" y="86"/>
                  <a:pt x="291" y="86"/>
                  <a:pt x="291" y="86"/>
                </a:cubicBezTo>
                <a:cubicBezTo>
                  <a:pt x="291" y="85"/>
                  <a:pt x="291" y="85"/>
                  <a:pt x="291" y="85"/>
                </a:cubicBezTo>
                <a:cubicBezTo>
                  <a:pt x="294" y="85"/>
                  <a:pt x="294" y="85"/>
                  <a:pt x="294" y="85"/>
                </a:cubicBezTo>
                <a:cubicBezTo>
                  <a:pt x="295" y="84"/>
                  <a:pt x="295" y="84"/>
                  <a:pt x="295" y="84"/>
                </a:cubicBezTo>
                <a:cubicBezTo>
                  <a:pt x="296" y="84"/>
                  <a:pt x="296" y="84"/>
                  <a:pt x="296" y="84"/>
                </a:cubicBezTo>
                <a:cubicBezTo>
                  <a:pt x="297" y="84"/>
                  <a:pt x="297" y="84"/>
                  <a:pt x="297" y="84"/>
                </a:cubicBezTo>
                <a:cubicBezTo>
                  <a:pt x="299" y="84"/>
                  <a:pt x="299" y="84"/>
                  <a:pt x="299" y="84"/>
                </a:cubicBezTo>
                <a:cubicBezTo>
                  <a:pt x="299" y="84"/>
                  <a:pt x="299" y="84"/>
                  <a:pt x="299" y="84"/>
                </a:cubicBezTo>
                <a:cubicBezTo>
                  <a:pt x="302" y="83"/>
                  <a:pt x="302" y="83"/>
                  <a:pt x="302" y="83"/>
                </a:cubicBezTo>
                <a:cubicBezTo>
                  <a:pt x="304" y="84"/>
                  <a:pt x="304" y="84"/>
                  <a:pt x="304" y="84"/>
                </a:cubicBezTo>
                <a:cubicBezTo>
                  <a:pt x="305" y="84"/>
                  <a:pt x="305" y="84"/>
                  <a:pt x="305" y="84"/>
                </a:cubicBezTo>
                <a:cubicBezTo>
                  <a:pt x="306" y="84"/>
                  <a:pt x="306" y="84"/>
                  <a:pt x="306" y="84"/>
                </a:cubicBezTo>
                <a:cubicBezTo>
                  <a:pt x="307" y="83"/>
                  <a:pt x="307" y="83"/>
                  <a:pt x="307" y="83"/>
                </a:cubicBezTo>
                <a:cubicBezTo>
                  <a:pt x="306" y="82"/>
                  <a:pt x="306" y="82"/>
                  <a:pt x="306" y="82"/>
                </a:cubicBezTo>
                <a:cubicBezTo>
                  <a:pt x="304" y="82"/>
                  <a:pt x="304" y="82"/>
                  <a:pt x="304" y="82"/>
                </a:cubicBezTo>
                <a:cubicBezTo>
                  <a:pt x="302" y="82"/>
                  <a:pt x="302" y="82"/>
                  <a:pt x="302" y="82"/>
                </a:cubicBezTo>
                <a:cubicBezTo>
                  <a:pt x="301" y="82"/>
                  <a:pt x="301" y="82"/>
                  <a:pt x="301" y="82"/>
                </a:cubicBezTo>
                <a:cubicBezTo>
                  <a:pt x="299" y="82"/>
                  <a:pt x="299" y="82"/>
                  <a:pt x="299" y="82"/>
                </a:cubicBezTo>
                <a:cubicBezTo>
                  <a:pt x="299" y="81"/>
                  <a:pt x="299" y="81"/>
                  <a:pt x="299" y="81"/>
                </a:cubicBezTo>
                <a:cubicBezTo>
                  <a:pt x="298" y="80"/>
                  <a:pt x="298" y="80"/>
                  <a:pt x="298" y="80"/>
                </a:cubicBezTo>
                <a:cubicBezTo>
                  <a:pt x="300" y="78"/>
                  <a:pt x="300" y="78"/>
                  <a:pt x="300" y="78"/>
                </a:cubicBezTo>
                <a:cubicBezTo>
                  <a:pt x="298" y="78"/>
                  <a:pt x="298" y="78"/>
                  <a:pt x="298" y="78"/>
                </a:cubicBezTo>
                <a:cubicBezTo>
                  <a:pt x="297" y="76"/>
                  <a:pt x="297" y="76"/>
                  <a:pt x="297" y="76"/>
                </a:cubicBezTo>
                <a:cubicBezTo>
                  <a:pt x="295" y="76"/>
                  <a:pt x="295" y="76"/>
                  <a:pt x="295" y="76"/>
                </a:cubicBezTo>
                <a:cubicBezTo>
                  <a:pt x="294" y="75"/>
                  <a:pt x="294" y="75"/>
                  <a:pt x="294" y="75"/>
                </a:cubicBezTo>
                <a:cubicBezTo>
                  <a:pt x="294" y="73"/>
                  <a:pt x="294" y="73"/>
                  <a:pt x="294" y="73"/>
                </a:cubicBezTo>
                <a:cubicBezTo>
                  <a:pt x="295" y="73"/>
                  <a:pt x="295" y="73"/>
                  <a:pt x="295" y="73"/>
                </a:cubicBezTo>
                <a:cubicBezTo>
                  <a:pt x="295" y="72"/>
                  <a:pt x="295" y="72"/>
                  <a:pt x="295" y="72"/>
                </a:cubicBezTo>
                <a:cubicBezTo>
                  <a:pt x="294" y="70"/>
                  <a:pt x="294" y="70"/>
                  <a:pt x="294" y="70"/>
                </a:cubicBezTo>
                <a:cubicBezTo>
                  <a:pt x="294" y="64"/>
                  <a:pt x="294" y="64"/>
                  <a:pt x="294" y="64"/>
                </a:cubicBezTo>
                <a:cubicBezTo>
                  <a:pt x="295" y="63"/>
                  <a:pt x="295" y="63"/>
                  <a:pt x="295" y="63"/>
                </a:cubicBezTo>
                <a:cubicBezTo>
                  <a:pt x="295" y="61"/>
                  <a:pt x="295" y="61"/>
                  <a:pt x="295" y="61"/>
                </a:cubicBezTo>
                <a:cubicBezTo>
                  <a:pt x="295" y="59"/>
                  <a:pt x="295" y="59"/>
                  <a:pt x="295" y="59"/>
                </a:cubicBezTo>
                <a:cubicBezTo>
                  <a:pt x="296" y="58"/>
                  <a:pt x="296" y="58"/>
                  <a:pt x="296" y="58"/>
                </a:cubicBezTo>
                <a:cubicBezTo>
                  <a:pt x="295" y="57"/>
                  <a:pt x="295" y="57"/>
                  <a:pt x="295" y="57"/>
                </a:cubicBezTo>
                <a:cubicBezTo>
                  <a:pt x="297" y="57"/>
                  <a:pt x="297" y="57"/>
                  <a:pt x="297" y="57"/>
                </a:cubicBezTo>
                <a:cubicBezTo>
                  <a:pt x="297" y="55"/>
                  <a:pt x="297" y="55"/>
                  <a:pt x="297" y="55"/>
                </a:cubicBezTo>
                <a:cubicBezTo>
                  <a:pt x="299" y="54"/>
                  <a:pt x="299" y="54"/>
                  <a:pt x="299" y="54"/>
                </a:cubicBezTo>
                <a:cubicBezTo>
                  <a:pt x="299" y="54"/>
                  <a:pt x="299" y="54"/>
                  <a:pt x="299" y="54"/>
                </a:cubicBezTo>
                <a:cubicBezTo>
                  <a:pt x="301" y="56"/>
                  <a:pt x="301" y="56"/>
                  <a:pt x="301" y="56"/>
                </a:cubicBezTo>
                <a:cubicBezTo>
                  <a:pt x="302" y="55"/>
                  <a:pt x="302" y="55"/>
                  <a:pt x="302" y="55"/>
                </a:cubicBezTo>
                <a:cubicBezTo>
                  <a:pt x="303" y="55"/>
                  <a:pt x="303" y="55"/>
                  <a:pt x="303" y="55"/>
                </a:cubicBezTo>
                <a:cubicBezTo>
                  <a:pt x="304" y="56"/>
                  <a:pt x="304" y="56"/>
                  <a:pt x="304" y="56"/>
                </a:cubicBezTo>
                <a:cubicBezTo>
                  <a:pt x="306" y="57"/>
                  <a:pt x="306" y="57"/>
                  <a:pt x="306" y="57"/>
                </a:cubicBezTo>
                <a:cubicBezTo>
                  <a:pt x="307" y="55"/>
                  <a:pt x="307" y="55"/>
                  <a:pt x="307" y="55"/>
                </a:cubicBezTo>
                <a:cubicBezTo>
                  <a:pt x="308" y="55"/>
                  <a:pt x="308" y="55"/>
                  <a:pt x="308" y="55"/>
                </a:cubicBezTo>
                <a:cubicBezTo>
                  <a:pt x="308" y="57"/>
                  <a:pt x="308" y="57"/>
                  <a:pt x="308" y="57"/>
                </a:cubicBezTo>
                <a:cubicBezTo>
                  <a:pt x="308" y="58"/>
                  <a:pt x="308" y="58"/>
                  <a:pt x="308" y="58"/>
                </a:cubicBezTo>
                <a:cubicBezTo>
                  <a:pt x="310" y="58"/>
                  <a:pt x="310" y="58"/>
                  <a:pt x="310" y="58"/>
                </a:cubicBezTo>
                <a:cubicBezTo>
                  <a:pt x="310" y="59"/>
                  <a:pt x="310" y="59"/>
                  <a:pt x="310" y="59"/>
                </a:cubicBezTo>
                <a:cubicBezTo>
                  <a:pt x="309" y="60"/>
                  <a:pt x="309" y="60"/>
                  <a:pt x="309" y="60"/>
                </a:cubicBezTo>
                <a:cubicBezTo>
                  <a:pt x="309" y="60"/>
                  <a:pt x="309" y="60"/>
                  <a:pt x="309" y="60"/>
                </a:cubicBezTo>
                <a:cubicBezTo>
                  <a:pt x="309" y="61"/>
                  <a:pt x="309" y="61"/>
                  <a:pt x="309" y="61"/>
                </a:cubicBezTo>
                <a:cubicBezTo>
                  <a:pt x="309" y="62"/>
                  <a:pt x="309" y="62"/>
                  <a:pt x="309" y="62"/>
                </a:cubicBezTo>
                <a:cubicBezTo>
                  <a:pt x="308" y="65"/>
                  <a:pt x="308" y="65"/>
                  <a:pt x="308" y="65"/>
                </a:cubicBezTo>
                <a:cubicBezTo>
                  <a:pt x="306" y="65"/>
                  <a:pt x="306" y="65"/>
                  <a:pt x="306" y="65"/>
                </a:cubicBezTo>
                <a:cubicBezTo>
                  <a:pt x="305" y="66"/>
                  <a:pt x="305" y="66"/>
                  <a:pt x="305" y="66"/>
                </a:cubicBezTo>
                <a:cubicBezTo>
                  <a:pt x="306" y="67"/>
                  <a:pt x="306" y="67"/>
                  <a:pt x="306" y="67"/>
                </a:cubicBezTo>
                <a:cubicBezTo>
                  <a:pt x="309" y="66"/>
                  <a:pt x="309" y="66"/>
                  <a:pt x="309" y="66"/>
                </a:cubicBezTo>
                <a:cubicBezTo>
                  <a:pt x="311" y="63"/>
                  <a:pt x="311" y="63"/>
                  <a:pt x="311" y="63"/>
                </a:cubicBezTo>
                <a:cubicBezTo>
                  <a:pt x="312" y="63"/>
                  <a:pt x="312" y="63"/>
                  <a:pt x="312" y="63"/>
                </a:cubicBezTo>
                <a:cubicBezTo>
                  <a:pt x="312" y="64"/>
                  <a:pt x="312" y="64"/>
                  <a:pt x="312" y="64"/>
                </a:cubicBezTo>
                <a:cubicBezTo>
                  <a:pt x="311" y="65"/>
                  <a:pt x="311" y="65"/>
                  <a:pt x="311" y="65"/>
                </a:cubicBezTo>
                <a:cubicBezTo>
                  <a:pt x="311" y="66"/>
                  <a:pt x="311" y="66"/>
                  <a:pt x="311" y="66"/>
                </a:cubicBezTo>
                <a:cubicBezTo>
                  <a:pt x="313" y="66"/>
                  <a:pt x="313" y="66"/>
                  <a:pt x="313" y="66"/>
                </a:cubicBezTo>
                <a:cubicBezTo>
                  <a:pt x="314" y="64"/>
                  <a:pt x="314" y="64"/>
                  <a:pt x="314" y="64"/>
                </a:cubicBezTo>
                <a:cubicBezTo>
                  <a:pt x="315" y="64"/>
                  <a:pt x="315" y="64"/>
                  <a:pt x="315" y="64"/>
                </a:cubicBezTo>
                <a:cubicBezTo>
                  <a:pt x="315" y="64"/>
                  <a:pt x="315" y="64"/>
                  <a:pt x="315" y="64"/>
                </a:cubicBezTo>
                <a:cubicBezTo>
                  <a:pt x="317" y="64"/>
                  <a:pt x="317" y="64"/>
                  <a:pt x="317" y="64"/>
                </a:cubicBezTo>
                <a:cubicBezTo>
                  <a:pt x="317" y="63"/>
                  <a:pt x="317" y="63"/>
                  <a:pt x="317" y="63"/>
                </a:cubicBezTo>
                <a:cubicBezTo>
                  <a:pt x="318" y="62"/>
                  <a:pt x="318" y="62"/>
                  <a:pt x="318" y="62"/>
                </a:cubicBezTo>
                <a:cubicBezTo>
                  <a:pt x="319" y="63"/>
                  <a:pt x="319" y="63"/>
                  <a:pt x="319" y="63"/>
                </a:cubicBezTo>
                <a:cubicBezTo>
                  <a:pt x="320" y="62"/>
                  <a:pt x="320" y="62"/>
                  <a:pt x="320" y="62"/>
                </a:cubicBezTo>
                <a:cubicBezTo>
                  <a:pt x="322" y="64"/>
                  <a:pt x="322" y="64"/>
                  <a:pt x="322" y="64"/>
                </a:cubicBezTo>
                <a:cubicBezTo>
                  <a:pt x="322" y="65"/>
                  <a:pt x="322" y="65"/>
                  <a:pt x="322" y="65"/>
                </a:cubicBezTo>
                <a:cubicBezTo>
                  <a:pt x="322" y="67"/>
                  <a:pt x="322" y="67"/>
                  <a:pt x="322" y="67"/>
                </a:cubicBezTo>
                <a:cubicBezTo>
                  <a:pt x="322" y="68"/>
                  <a:pt x="322" y="68"/>
                  <a:pt x="322" y="68"/>
                </a:cubicBezTo>
                <a:cubicBezTo>
                  <a:pt x="322" y="69"/>
                  <a:pt x="322" y="69"/>
                  <a:pt x="322" y="69"/>
                </a:cubicBezTo>
                <a:cubicBezTo>
                  <a:pt x="321" y="71"/>
                  <a:pt x="321" y="71"/>
                  <a:pt x="321" y="71"/>
                </a:cubicBezTo>
                <a:cubicBezTo>
                  <a:pt x="322" y="74"/>
                  <a:pt x="322" y="74"/>
                  <a:pt x="322" y="74"/>
                </a:cubicBezTo>
                <a:cubicBezTo>
                  <a:pt x="322" y="75"/>
                  <a:pt x="322" y="75"/>
                  <a:pt x="322" y="75"/>
                </a:cubicBezTo>
                <a:cubicBezTo>
                  <a:pt x="321" y="75"/>
                  <a:pt x="321" y="75"/>
                  <a:pt x="321" y="75"/>
                </a:cubicBezTo>
                <a:cubicBezTo>
                  <a:pt x="320" y="76"/>
                  <a:pt x="320" y="76"/>
                  <a:pt x="320" y="76"/>
                </a:cubicBezTo>
                <a:cubicBezTo>
                  <a:pt x="321" y="76"/>
                  <a:pt x="321" y="76"/>
                  <a:pt x="321" y="76"/>
                </a:cubicBezTo>
                <a:cubicBezTo>
                  <a:pt x="324" y="76"/>
                  <a:pt x="324" y="76"/>
                  <a:pt x="324" y="76"/>
                </a:cubicBezTo>
                <a:cubicBezTo>
                  <a:pt x="325" y="74"/>
                  <a:pt x="325" y="74"/>
                  <a:pt x="325" y="74"/>
                </a:cubicBezTo>
                <a:cubicBezTo>
                  <a:pt x="327" y="74"/>
                  <a:pt x="327" y="74"/>
                  <a:pt x="327" y="74"/>
                </a:cubicBezTo>
                <a:cubicBezTo>
                  <a:pt x="328" y="72"/>
                  <a:pt x="328" y="72"/>
                  <a:pt x="328" y="72"/>
                </a:cubicBezTo>
                <a:cubicBezTo>
                  <a:pt x="328" y="70"/>
                  <a:pt x="328" y="70"/>
                  <a:pt x="328" y="70"/>
                </a:cubicBezTo>
                <a:cubicBezTo>
                  <a:pt x="327" y="69"/>
                  <a:pt x="327" y="69"/>
                  <a:pt x="327" y="69"/>
                </a:cubicBezTo>
                <a:cubicBezTo>
                  <a:pt x="326" y="69"/>
                  <a:pt x="326" y="69"/>
                  <a:pt x="326" y="69"/>
                </a:cubicBezTo>
                <a:cubicBezTo>
                  <a:pt x="325" y="68"/>
                  <a:pt x="325" y="68"/>
                  <a:pt x="325" y="68"/>
                </a:cubicBezTo>
                <a:cubicBezTo>
                  <a:pt x="325" y="67"/>
                  <a:pt x="325" y="67"/>
                  <a:pt x="325" y="67"/>
                </a:cubicBezTo>
                <a:cubicBezTo>
                  <a:pt x="326" y="67"/>
                  <a:pt x="326" y="67"/>
                  <a:pt x="326" y="67"/>
                </a:cubicBezTo>
                <a:cubicBezTo>
                  <a:pt x="327" y="67"/>
                  <a:pt x="327" y="67"/>
                  <a:pt x="327" y="67"/>
                </a:cubicBezTo>
                <a:cubicBezTo>
                  <a:pt x="327" y="67"/>
                  <a:pt x="327" y="67"/>
                  <a:pt x="327" y="67"/>
                </a:cubicBezTo>
                <a:cubicBezTo>
                  <a:pt x="328" y="67"/>
                  <a:pt x="328" y="67"/>
                  <a:pt x="328" y="67"/>
                </a:cubicBezTo>
                <a:cubicBezTo>
                  <a:pt x="330" y="66"/>
                  <a:pt x="330" y="66"/>
                  <a:pt x="330" y="66"/>
                </a:cubicBezTo>
                <a:cubicBezTo>
                  <a:pt x="332" y="64"/>
                  <a:pt x="332" y="64"/>
                  <a:pt x="332" y="64"/>
                </a:cubicBezTo>
                <a:cubicBezTo>
                  <a:pt x="333" y="65"/>
                  <a:pt x="333" y="65"/>
                  <a:pt x="333" y="65"/>
                </a:cubicBezTo>
                <a:cubicBezTo>
                  <a:pt x="334" y="65"/>
                  <a:pt x="334" y="65"/>
                  <a:pt x="334" y="65"/>
                </a:cubicBezTo>
                <a:cubicBezTo>
                  <a:pt x="335" y="63"/>
                  <a:pt x="335" y="63"/>
                  <a:pt x="335" y="63"/>
                </a:cubicBezTo>
                <a:cubicBezTo>
                  <a:pt x="336" y="62"/>
                  <a:pt x="336" y="62"/>
                  <a:pt x="336" y="62"/>
                </a:cubicBezTo>
                <a:cubicBezTo>
                  <a:pt x="336" y="63"/>
                  <a:pt x="336" y="63"/>
                  <a:pt x="336" y="63"/>
                </a:cubicBezTo>
                <a:cubicBezTo>
                  <a:pt x="337" y="62"/>
                  <a:pt x="337" y="62"/>
                  <a:pt x="337" y="62"/>
                </a:cubicBezTo>
                <a:cubicBezTo>
                  <a:pt x="339" y="61"/>
                  <a:pt x="339" y="61"/>
                  <a:pt x="339" y="61"/>
                </a:cubicBezTo>
                <a:cubicBezTo>
                  <a:pt x="339" y="62"/>
                  <a:pt x="339" y="62"/>
                  <a:pt x="339" y="62"/>
                </a:cubicBezTo>
                <a:cubicBezTo>
                  <a:pt x="341" y="62"/>
                  <a:pt x="341" y="62"/>
                  <a:pt x="341" y="62"/>
                </a:cubicBezTo>
                <a:cubicBezTo>
                  <a:pt x="341" y="62"/>
                  <a:pt x="341" y="62"/>
                  <a:pt x="341" y="62"/>
                </a:cubicBezTo>
                <a:cubicBezTo>
                  <a:pt x="340" y="63"/>
                  <a:pt x="340" y="63"/>
                  <a:pt x="340" y="63"/>
                </a:cubicBezTo>
                <a:cubicBezTo>
                  <a:pt x="341" y="64"/>
                  <a:pt x="341" y="64"/>
                  <a:pt x="341" y="64"/>
                </a:cubicBezTo>
                <a:cubicBezTo>
                  <a:pt x="343" y="64"/>
                  <a:pt x="343" y="64"/>
                  <a:pt x="343" y="64"/>
                </a:cubicBezTo>
                <a:cubicBezTo>
                  <a:pt x="344" y="64"/>
                  <a:pt x="344" y="64"/>
                  <a:pt x="344" y="64"/>
                </a:cubicBezTo>
                <a:cubicBezTo>
                  <a:pt x="345" y="65"/>
                  <a:pt x="345" y="65"/>
                  <a:pt x="345" y="65"/>
                </a:cubicBezTo>
                <a:cubicBezTo>
                  <a:pt x="350" y="67"/>
                  <a:pt x="350" y="67"/>
                  <a:pt x="350" y="67"/>
                </a:cubicBezTo>
                <a:cubicBezTo>
                  <a:pt x="351" y="68"/>
                  <a:pt x="351" y="68"/>
                  <a:pt x="351" y="68"/>
                </a:cubicBezTo>
                <a:cubicBezTo>
                  <a:pt x="351" y="69"/>
                  <a:pt x="351" y="69"/>
                  <a:pt x="351" y="69"/>
                </a:cubicBezTo>
                <a:cubicBezTo>
                  <a:pt x="351" y="70"/>
                  <a:pt x="351" y="70"/>
                  <a:pt x="351" y="70"/>
                </a:cubicBezTo>
                <a:cubicBezTo>
                  <a:pt x="354" y="72"/>
                  <a:pt x="354" y="72"/>
                  <a:pt x="354" y="72"/>
                </a:cubicBezTo>
                <a:cubicBezTo>
                  <a:pt x="354" y="72"/>
                  <a:pt x="354" y="72"/>
                  <a:pt x="354" y="72"/>
                </a:cubicBezTo>
                <a:cubicBezTo>
                  <a:pt x="354" y="71"/>
                  <a:pt x="354" y="71"/>
                  <a:pt x="354" y="71"/>
                </a:cubicBezTo>
                <a:cubicBezTo>
                  <a:pt x="355" y="71"/>
                  <a:pt x="355" y="71"/>
                  <a:pt x="355" y="71"/>
                </a:cubicBezTo>
                <a:cubicBezTo>
                  <a:pt x="355" y="70"/>
                  <a:pt x="355" y="70"/>
                  <a:pt x="355" y="70"/>
                </a:cubicBezTo>
                <a:cubicBezTo>
                  <a:pt x="354" y="70"/>
                  <a:pt x="354" y="70"/>
                  <a:pt x="354" y="70"/>
                </a:cubicBezTo>
                <a:cubicBezTo>
                  <a:pt x="353" y="69"/>
                  <a:pt x="353" y="69"/>
                  <a:pt x="353" y="69"/>
                </a:cubicBezTo>
                <a:cubicBezTo>
                  <a:pt x="353" y="68"/>
                  <a:pt x="353" y="68"/>
                  <a:pt x="353" y="68"/>
                </a:cubicBezTo>
                <a:cubicBezTo>
                  <a:pt x="354" y="68"/>
                  <a:pt x="354" y="68"/>
                  <a:pt x="354" y="68"/>
                </a:cubicBezTo>
                <a:cubicBezTo>
                  <a:pt x="355" y="68"/>
                  <a:pt x="355" y="68"/>
                  <a:pt x="355" y="68"/>
                </a:cubicBezTo>
                <a:cubicBezTo>
                  <a:pt x="356" y="69"/>
                  <a:pt x="356" y="69"/>
                  <a:pt x="356" y="69"/>
                </a:cubicBezTo>
                <a:cubicBezTo>
                  <a:pt x="357" y="69"/>
                  <a:pt x="357" y="69"/>
                  <a:pt x="357" y="69"/>
                </a:cubicBezTo>
                <a:cubicBezTo>
                  <a:pt x="357" y="70"/>
                  <a:pt x="357" y="70"/>
                  <a:pt x="357" y="70"/>
                </a:cubicBezTo>
                <a:cubicBezTo>
                  <a:pt x="358" y="72"/>
                  <a:pt x="358" y="72"/>
                  <a:pt x="358" y="72"/>
                </a:cubicBezTo>
                <a:cubicBezTo>
                  <a:pt x="359" y="74"/>
                  <a:pt x="359" y="74"/>
                  <a:pt x="359" y="74"/>
                </a:cubicBezTo>
                <a:cubicBezTo>
                  <a:pt x="359" y="74"/>
                  <a:pt x="359" y="74"/>
                  <a:pt x="359" y="74"/>
                </a:cubicBezTo>
                <a:cubicBezTo>
                  <a:pt x="360" y="73"/>
                  <a:pt x="360" y="73"/>
                  <a:pt x="360" y="73"/>
                </a:cubicBezTo>
                <a:cubicBezTo>
                  <a:pt x="361" y="73"/>
                  <a:pt x="361" y="73"/>
                  <a:pt x="361" y="73"/>
                </a:cubicBezTo>
                <a:cubicBezTo>
                  <a:pt x="361" y="74"/>
                  <a:pt x="361" y="74"/>
                  <a:pt x="361" y="74"/>
                </a:cubicBezTo>
                <a:cubicBezTo>
                  <a:pt x="362" y="75"/>
                  <a:pt x="362" y="75"/>
                  <a:pt x="362" y="75"/>
                </a:cubicBezTo>
                <a:cubicBezTo>
                  <a:pt x="362" y="76"/>
                  <a:pt x="362" y="76"/>
                  <a:pt x="362" y="76"/>
                </a:cubicBezTo>
                <a:cubicBezTo>
                  <a:pt x="363" y="78"/>
                  <a:pt x="363" y="78"/>
                  <a:pt x="363" y="78"/>
                </a:cubicBezTo>
                <a:cubicBezTo>
                  <a:pt x="363" y="79"/>
                  <a:pt x="363" y="79"/>
                  <a:pt x="363" y="79"/>
                </a:cubicBezTo>
                <a:cubicBezTo>
                  <a:pt x="363" y="78"/>
                  <a:pt x="363" y="78"/>
                  <a:pt x="363" y="78"/>
                </a:cubicBezTo>
                <a:cubicBezTo>
                  <a:pt x="363" y="78"/>
                  <a:pt x="363" y="78"/>
                  <a:pt x="363" y="78"/>
                </a:cubicBezTo>
                <a:cubicBezTo>
                  <a:pt x="362" y="77"/>
                  <a:pt x="362" y="77"/>
                  <a:pt x="362" y="77"/>
                </a:cubicBezTo>
                <a:cubicBezTo>
                  <a:pt x="362" y="77"/>
                  <a:pt x="362" y="77"/>
                  <a:pt x="362" y="77"/>
                </a:cubicBezTo>
                <a:cubicBezTo>
                  <a:pt x="361" y="78"/>
                  <a:pt x="361" y="78"/>
                  <a:pt x="361" y="78"/>
                </a:cubicBezTo>
                <a:cubicBezTo>
                  <a:pt x="360" y="77"/>
                  <a:pt x="360" y="77"/>
                  <a:pt x="360" y="77"/>
                </a:cubicBezTo>
                <a:cubicBezTo>
                  <a:pt x="358" y="76"/>
                  <a:pt x="358" y="76"/>
                  <a:pt x="358" y="76"/>
                </a:cubicBezTo>
                <a:cubicBezTo>
                  <a:pt x="356" y="76"/>
                  <a:pt x="356" y="76"/>
                  <a:pt x="356" y="76"/>
                </a:cubicBezTo>
                <a:cubicBezTo>
                  <a:pt x="356" y="76"/>
                  <a:pt x="356" y="76"/>
                  <a:pt x="356" y="76"/>
                </a:cubicBezTo>
                <a:cubicBezTo>
                  <a:pt x="357" y="78"/>
                  <a:pt x="357" y="78"/>
                  <a:pt x="357" y="78"/>
                </a:cubicBezTo>
                <a:cubicBezTo>
                  <a:pt x="358" y="78"/>
                  <a:pt x="358" y="78"/>
                  <a:pt x="358" y="78"/>
                </a:cubicBezTo>
                <a:cubicBezTo>
                  <a:pt x="359" y="78"/>
                  <a:pt x="359" y="78"/>
                  <a:pt x="359" y="78"/>
                </a:cubicBezTo>
                <a:cubicBezTo>
                  <a:pt x="359" y="79"/>
                  <a:pt x="359" y="79"/>
                  <a:pt x="359" y="79"/>
                </a:cubicBezTo>
                <a:cubicBezTo>
                  <a:pt x="360" y="80"/>
                  <a:pt x="360" y="80"/>
                  <a:pt x="360" y="80"/>
                </a:cubicBezTo>
                <a:cubicBezTo>
                  <a:pt x="360" y="81"/>
                  <a:pt x="360" y="81"/>
                  <a:pt x="360" y="81"/>
                </a:cubicBezTo>
                <a:cubicBezTo>
                  <a:pt x="361" y="80"/>
                  <a:pt x="361" y="80"/>
                  <a:pt x="361" y="80"/>
                </a:cubicBezTo>
                <a:cubicBezTo>
                  <a:pt x="361" y="79"/>
                  <a:pt x="361" y="79"/>
                  <a:pt x="361" y="79"/>
                </a:cubicBezTo>
                <a:cubicBezTo>
                  <a:pt x="362" y="79"/>
                  <a:pt x="362" y="79"/>
                  <a:pt x="362" y="79"/>
                </a:cubicBezTo>
                <a:cubicBezTo>
                  <a:pt x="362" y="80"/>
                  <a:pt x="362" y="80"/>
                  <a:pt x="362" y="80"/>
                </a:cubicBezTo>
                <a:cubicBezTo>
                  <a:pt x="363" y="80"/>
                  <a:pt x="363" y="80"/>
                  <a:pt x="363" y="80"/>
                </a:cubicBezTo>
                <a:cubicBezTo>
                  <a:pt x="364" y="80"/>
                  <a:pt x="364" y="80"/>
                  <a:pt x="364" y="80"/>
                </a:cubicBezTo>
                <a:cubicBezTo>
                  <a:pt x="365" y="80"/>
                  <a:pt x="365" y="80"/>
                  <a:pt x="365" y="80"/>
                </a:cubicBezTo>
                <a:cubicBezTo>
                  <a:pt x="365" y="81"/>
                  <a:pt x="365" y="81"/>
                  <a:pt x="365" y="81"/>
                </a:cubicBezTo>
                <a:cubicBezTo>
                  <a:pt x="365" y="82"/>
                  <a:pt x="365" y="82"/>
                  <a:pt x="365" y="82"/>
                </a:cubicBezTo>
                <a:cubicBezTo>
                  <a:pt x="366" y="84"/>
                  <a:pt x="366" y="84"/>
                  <a:pt x="366" y="84"/>
                </a:cubicBezTo>
                <a:cubicBezTo>
                  <a:pt x="366" y="86"/>
                  <a:pt x="366" y="86"/>
                  <a:pt x="366" y="86"/>
                </a:cubicBezTo>
                <a:cubicBezTo>
                  <a:pt x="366" y="88"/>
                  <a:pt x="366" y="88"/>
                  <a:pt x="366" y="88"/>
                </a:cubicBezTo>
                <a:cubicBezTo>
                  <a:pt x="365" y="90"/>
                  <a:pt x="365" y="90"/>
                  <a:pt x="365" y="90"/>
                </a:cubicBezTo>
                <a:cubicBezTo>
                  <a:pt x="365" y="90"/>
                  <a:pt x="365" y="90"/>
                  <a:pt x="365" y="90"/>
                </a:cubicBezTo>
                <a:cubicBezTo>
                  <a:pt x="364" y="91"/>
                  <a:pt x="364" y="91"/>
                  <a:pt x="364" y="91"/>
                </a:cubicBezTo>
                <a:cubicBezTo>
                  <a:pt x="364" y="92"/>
                  <a:pt x="364" y="92"/>
                  <a:pt x="364" y="92"/>
                </a:cubicBezTo>
                <a:cubicBezTo>
                  <a:pt x="364" y="94"/>
                  <a:pt x="364" y="94"/>
                  <a:pt x="364" y="94"/>
                </a:cubicBezTo>
                <a:cubicBezTo>
                  <a:pt x="364" y="95"/>
                  <a:pt x="364" y="95"/>
                  <a:pt x="364" y="95"/>
                </a:cubicBezTo>
                <a:cubicBezTo>
                  <a:pt x="364" y="95"/>
                  <a:pt x="364" y="95"/>
                  <a:pt x="364" y="95"/>
                </a:cubicBezTo>
                <a:cubicBezTo>
                  <a:pt x="364" y="97"/>
                  <a:pt x="364" y="97"/>
                  <a:pt x="364" y="97"/>
                </a:cubicBezTo>
                <a:cubicBezTo>
                  <a:pt x="363" y="97"/>
                  <a:pt x="363" y="97"/>
                  <a:pt x="363" y="97"/>
                </a:cubicBezTo>
                <a:cubicBezTo>
                  <a:pt x="362" y="99"/>
                  <a:pt x="362" y="99"/>
                  <a:pt x="362" y="99"/>
                </a:cubicBezTo>
                <a:cubicBezTo>
                  <a:pt x="363" y="99"/>
                  <a:pt x="363" y="99"/>
                  <a:pt x="363" y="99"/>
                </a:cubicBezTo>
                <a:cubicBezTo>
                  <a:pt x="362" y="101"/>
                  <a:pt x="362" y="101"/>
                  <a:pt x="362" y="101"/>
                </a:cubicBezTo>
                <a:cubicBezTo>
                  <a:pt x="361" y="102"/>
                  <a:pt x="361" y="102"/>
                  <a:pt x="361" y="102"/>
                </a:cubicBezTo>
                <a:cubicBezTo>
                  <a:pt x="361" y="103"/>
                  <a:pt x="361" y="103"/>
                  <a:pt x="361" y="103"/>
                </a:cubicBezTo>
                <a:cubicBezTo>
                  <a:pt x="361" y="104"/>
                  <a:pt x="361" y="104"/>
                  <a:pt x="361" y="104"/>
                </a:cubicBezTo>
                <a:cubicBezTo>
                  <a:pt x="360" y="104"/>
                  <a:pt x="360" y="104"/>
                  <a:pt x="360" y="104"/>
                </a:cubicBezTo>
                <a:cubicBezTo>
                  <a:pt x="358" y="106"/>
                  <a:pt x="358" y="106"/>
                  <a:pt x="358" y="106"/>
                </a:cubicBezTo>
                <a:cubicBezTo>
                  <a:pt x="357" y="106"/>
                  <a:pt x="357" y="106"/>
                  <a:pt x="357" y="106"/>
                </a:cubicBezTo>
                <a:cubicBezTo>
                  <a:pt x="358" y="106"/>
                  <a:pt x="358" y="106"/>
                  <a:pt x="358" y="106"/>
                </a:cubicBezTo>
                <a:cubicBezTo>
                  <a:pt x="359" y="106"/>
                  <a:pt x="359" y="106"/>
                  <a:pt x="359" y="106"/>
                </a:cubicBezTo>
                <a:cubicBezTo>
                  <a:pt x="360" y="105"/>
                  <a:pt x="360" y="105"/>
                  <a:pt x="360" y="105"/>
                </a:cubicBezTo>
                <a:cubicBezTo>
                  <a:pt x="360" y="105"/>
                  <a:pt x="360" y="105"/>
                  <a:pt x="360" y="105"/>
                </a:cubicBezTo>
                <a:cubicBezTo>
                  <a:pt x="361" y="107"/>
                  <a:pt x="361" y="107"/>
                  <a:pt x="361" y="107"/>
                </a:cubicBezTo>
                <a:cubicBezTo>
                  <a:pt x="360" y="109"/>
                  <a:pt x="360" y="109"/>
                  <a:pt x="360" y="109"/>
                </a:cubicBezTo>
                <a:cubicBezTo>
                  <a:pt x="359" y="111"/>
                  <a:pt x="359" y="111"/>
                  <a:pt x="359" y="111"/>
                </a:cubicBezTo>
                <a:cubicBezTo>
                  <a:pt x="358" y="114"/>
                  <a:pt x="358" y="114"/>
                  <a:pt x="358" y="114"/>
                </a:cubicBezTo>
                <a:cubicBezTo>
                  <a:pt x="359" y="115"/>
                  <a:pt x="359" y="115"/>
                  <a:pt x="359" y="115"/>
                </a:cubicBezTo>
                <a:cubicBezTo>
                  <a:pt x="359" y="116"/>
                  <a:pt x="359" y="116"/>
                  <a:pt x="359" y="116"/>
                </a:cubicBezTo>
                <a:cubicBezTo>
                  <a:pt x="358" y="119"/>
                  <a:pt x="358" y="119"/>
                  <a:pt x="358" y="119"/>
                </a:cubicBezTo>
                <a:cubicBezTo>
                  <a:pt x="356" y="119"/>
                  <a:pt x="356" y="119"/>
                  <a:pt x="356" y="119"/>
                </a:cubicBezTo>
                <a:cubicBezTo>
                  <a:pt x="356" y="119"/>
                  <a:pt x="356" y="119"/>
                  <a:pt x="356" y="119"/>
                </a:cubicBezTo>
                <a:cubicBezTo>
                  <a:pt x="355" y="119"/>
                  <a:pt x="355" y="119"/>
                  <a:pt x="355" y="119"/>
                </a:cubicBezTo>
                <a:cubicBezTo>
                  <a:pt x="355" y="120"/>
                  <a:pt x="355" y="120"/>
                  <a:pt x="355" y="120"/>
                </a:cubicBezTo>
                <a:cubicBezTo>
                  <a:pt x="355" y="121"/>
                  <a:pt x="355" y="121"/>
                  <a:pt x="355" y="121"/>
                </a:cubicBezTo>
                <a:cubicBezTo>
                  <a:pt x="356" y="123"/>
                  <a:pt x="356" y="123"/>
                  <a:pt x="356" y="123"/>
                </a:cubicBezTo>
                <a:cubicBezTo>
                  <a:pt x="355" y="124"/>
                  <a:pt x="355" y="124"/>
                  <a:pt x="355" y="124"/>
                </a:cubicBezTo>
                <a:cubicBezTo>
                  <a:pt x="354" y="125"/>
                  <a:pt x="354" y="125"/>
                  <a:pt x="354" y="125"/>
                </a:cubicBezTo>
                <a:cubicBezTo>
                  <a:pt x="353" y="127"/>
                  <a:pt x="353" y="127"/>
                  <a:pt x="353" y="127"/>
                </a:cubicBezTo>
                <a:cubicBezTo>
                  <a:pt x="354" y="129"/>
                  <a:pt x="354" y="129"/>
                  <a:pt x="354" y="129"/>
                </a:cubicBezTo>
                <a:cubicBezTo>
                  <a:pt x="354" y="130"/>
                  <a:pt x="354" y="130"/>
                  <a:pt x="354" y="130"/>
                </a:cubicBezTo>
                <a:cubicBezTo>
                  <a:pt x="354" y="131"/>
                  <a:pt x="354" y="131"/>
                  <a:pt x="354" y="131"/>
                </a:cubicBezTo>
                <a:cubicBezTo>
                  <a:pt x="354" y="132"/>
                  <a:pt x="354" y="132"/>
                  <a:pt x="354" y="132"/>
                </a:cubicBezTo>
                <a:cubicBezTo>
                  <a:pt x="355" y="132"/>
                  <a:pt x="355" y="132"/>
                  <a:pt x="355" y="132"/>
                </a:cubicBezTo>
                <a:cubicBezTo>
                  <a:pt x="354" y="136"/>
                  <a:pt x="354" y="136"/>
                  <a:pt x="354" y="136"/>
                </a:cubicBezTo>
                <a:cubicBezTo>
                  <a:pt x="353" y="136"/>
                  <a:pt x="353" y="136"/>
                  <a:pt x="353" y="136"/>
                </a:cubicBezTo>
                <a:cubicBezTo>
                  <a:pt x="352" y="138"/>
                  <a:pt x="352" y="138"/>
                  <a:pt x="352" y="138"/>
                </a:cubicBezTo>
                <a:cubicBezTo>
                  <a:pt x="353" y="137"/>
                  <a:pt x="353" y="137"/>
                  <a:pt x="353" y="137"/>
                </a:cubicBezTo>
                <a:cubicBezTo>
                  <a:pt x="354" y="137"/>
                  <a:pt x="354" y="137"/>
                  <a:pt x="354" y="137"/>
                </a:cubicBezTo>
                <a:cubicBezTo>
                  <a:pt x="355" y="136"/>
                  <a:pt x="355" y="136"/>
                  <a:pt x="355" y="136"/>
                </a:cubicBezTo>
                <a:cubicBezTo>
                  <a:pt x="356" y="134"/>
                  <a:pt x="356" y="134"/>
                  <a:pt x="356" y="134"/>
                </a:cubicBezTo>
                <a:cubicBezTo>
                  <a:pt x="355" y="134"/>
                  <a:pt x="355" y="134"/>
                  <a:pt x="355" y="134"/>
                </a:cubicBezTo>
                <a:cubicBezTo>
                  <a:pt x="356" y="133"/>
                  <a:pt x="356" y="133"/>
                  <a:pt x="356" y="133"/>
                </a:cubicBezTo>
                <a:cubicBezTo>
                  <a:pt x="358" y="133"/>
                  <a:pt x="358" y="133"/>
                  <a:pt x="358" y="133"/>
                </a:cubicBezTo>
                <a:cubicBezTo>
                  <a:pt x="358" y="133"/>
                  <a:pt x="358" y="133"/>
                  <a:pt x="358" y="133"/>
                </a:cubicBezTo>
                <a:cubicBezTo>
                  <a:pt x="358" y="132"/>
                  <a:pt x="358" y="132"/>
                  <a:pt x="358" y="132"/>
                </a:cubicBezTo>
                <a:cubicBezTo>
                  <a:pt x="355" y="130"/>
                  <a:pt x="355" y="130"/>
                  <a:pt x="355" y="130"/>
                </a:cubicBezTo>
                <a:cubicBezTo>
                  <a:pt x="355" y="129"/>
                  <a:pt x="355" y="129"/>
                  <a:pt x="355" y="129"/>
                </a:cubicBezTo>
                <a:cubicBezTo>
                  <a:pt x="356" y="127"/>
                  <a:pt x="356" y="127"/>
                  <a:pt x="356" y="127"/>
                </a:cubicBezTo>
                <a:cubicBezTo>
                  <a:pt x="358" y="127"/>
                  <a:pt x="358" y="127"/>
                  <a:pt x="358" y="127"/>
                </a:cubicBezTo>
                <a:cubicBezTo>
                  <a:pt x="360" y="127"/>
                  <a:pt x="360" y="127"/>
                  <a:pt x="360" y="127"/>
                </a:cubicBezTo>
                <a:cubicBezTo>
                  <a:pt x="362" y="125"/>
                  <a:pt x="362" y="125"/>
                  <a:pt x="362" y="125"/>
                </a:cubicBezTo>
                <a:cubicBezTo>
                  <a:pt x="363" y="125"/>
                  <a:pt x="363" y="125"/>
                  <a:pt x="363" y="125"/>
                </a:cubicBezTo>
                <a:cubicBezTo>
                  <a:pt x="363" y="124"/>
                  <a:pt x="363" y="124"/>
                  <a:pt x="363" y="124"/>
                </a:cubicBezTo>
                <a:cubicBezTo>
                  <a:pt x="363" y="123"/>
                  <a:pt x="363" y="123"/>
                  <a:pt x="363" y="123"/>
                </a:cubicBezTo>
                <a:cubicBezTo>
                  <a:pt x="365" y="122"/>
                  <a:pt x="365" y="122"/>
                  <a:pt x="365" y="122"/>
                </a:cubicBezTo>
                <a:cubicBezTo>
                  <a:pt x="365" y="120"/>
                  <a:pt x="365" y="120"/>
                  <a:pt x="365" y="120"/>
                </a:cubicBezTo>
                <a:cubicBezTo>
                  <a:pt x="365" y="119"/>
                  <a:pt x="365" y="119"/>
                  <a:pt x="365" y="119"/>
                </a:cubicBezTo>
                <a:cubicBezTo>
                  <a:pt x="365" y="119"/>
                  <a:pt x="365" y="119"/>
                  <a:pt x="365" y="119"/>
                </a:cubicBezTo>
                <a:cubicBezTo>
                  <a:pt x="366" y="119"/>
                  <a:pt x="366" y="119"/>
                  <a:pt x="366" y="119"/>
                </a:cubicBezTo>
                <a:cubicBezTo>
                  <a:pt x="368" y="119"/>
                  <a:pt x="368" y="119"/>
                  <a:pt x="368" y="119"/>
                </a:cubicBezTo>
                <a:cubicBezTo>
                  <a:pt x="368" y="117"/>
                  <a:pt x="368" y="117"/>
                  <a:pt x="368" y="117"/>
                </a:cubicBezTo>
                <a:cubicBezTo>
                  <a:pt x="368" y="117"/>
                  <a:pt x="368" y="117"/>
                  <a:pt x="368" y="117"/>
                </a:cubicBezTo>
                <a:cubicBezTo>
                  <a:pt x="370" y="115"/>
                  <a:pt x="370" y="115"/>
                  <a:pt x="370" y="115"/>
                </a:cubicBezTo>
                <a:cubicBezTo>
                  <a:pt x="370" y="113"/>
                  <a:pt x="370" y="113"/>
                  <a:pt x="370" y="113"/>
                </a:cubicBezTo>
                <a:cubicBezTo>
                  <a:pt x="370" y="112"/>
                  <a:pt x="370" y="112"/>
                  <a:pt x="370" y="112"/>
                </a:cubicBezTo>
                <a:cubicBezTo>
                  <a:pt x="367" y="114"/>
                  <a:pt x="367" y="114"/>
                  <a:pt x="367" y="114"/>
                </a:cubicBezTo>
                <a:cubicBezTo>
                  <a:pt x="367" y="115"/>
                  <a:pt x="367" y="115"/>
                  <a:pt x="367" y="115"/>
                </a:cubicBezTo>
                <a:cubicBezTo>
                  <a:pt x="365" y="116"/>
                  <a:pt x="365" y="116"/>
                  <a:pt x="365" y="116"/>
                </a:cubicBezTo>
                <a:cubicBezTo>
                  <a:pt x="364" y="115"/>
                  <a:pt x="364" y="115"/>
                  <a:pt x="364" y="115"/>
                </a:cubicBezTo>
                <a:cubicBezTo>
                  <a:pt x="363" y="114"/>
                  <a:pt x="363" y="114"/>
                  <a:pt x="363" y="114"/>
                </a:cubicBezTo>
                <a:cubicBezTo>
                  <a:pt x="364" y="112"/>
                  <a:pt x="364" y="112"/>
                  <a:pt x="364" y="112"/>
                </a:cubicBezTo>
                <a:cubicBezTo>
                  <a:pt x="364" y="110"/>
                  <a:pt x="364" y="110"/>
                  <a:pt x="364" y="110"/>
                </a:cubicBezTo>
                <a:cubicBezTo>
                  <a:pt x="365" y="109"/>
                  <a:pt x="365" y="109"/>
                  <a:pt x="365" y="109"/>
                </a:cubicBezTo>
                <a:cubicBezTo>
                  <a:pt x="367" y="109"/>
                  <a:pt x="367" y="109"/>
                  <a:pt x="367" y="109"/>
                </a:cubicBezTo>
                <a:cubicBezTo>
                  <a:pt x="369" y="111"/>
                  <a:pt x="369" y="111"/>
                  <a:pt x="369" y="111"/>
                </a:cubicBezTo>
                <a:cubicBezTo>
                  <a:pt x="370" y="110"/>
                  <a:pt x="370" y="110"/>
                  <a:pt x="370" y="110"/>
                </a:cubicBezTo>
                <a:cubicBezTo>
                  <a:pt x="370" y="108"/>
                  <a:pt x="370" y="108"/>
                  <a:pt x="370" y="108"/>
                </a:cubicBezTo>
                <a:cubicBezTo>
                  <a:pt x="371" y="107"/>
                  <a:pt x="371" y="107"/>
                  <a:pt x="371" y="107"/>
                </a:cubicBezTo>
                <a:cubicBezTo>
                  <a:pt x="372" y="108"/>
                  <a:pt x="372" y="108"/>
                  <a:pt x="372" y="108"/>
                </a:cubicBezTo>
                <a:cubicBezTo>
                  <a:pt x="371" y="109"/>
                  <a:pt x="371" y="109"/>
                  <a:pt x="371" y="109"/>
                </a:cubicBezTo>
                <a:cubicBezTo>
                  <a:pt x="371" y="110"/>
                  <a:pt x="371" y="110"/>
                  <a:pt x="371" y="110"/>
                </a:cubicBezTo>
                <a:cubicBezTo>
                  <a:pt x="374" y="113"/>
                  <a:pt x="374" y="113"/>
                  <a:pt x="374" y="113"/>
                </a:cubicBezTo>
                <a:cubicBezTo>
                  <a:pt x="376" y="113"/>
                  <a:pt x="376" y="113"/>
                  <a:pt x="376" y="113"/>
                </a:cubicBezTo>
                <a:cubicBezTo>
                  <a:pt x="377" y="113"/>
                  <a:pt x="377" y="113"/>
                  <a:pt x="377" y="113"/>
                </a:cubicBezTo>
                <a:cubicBezTo>
                  <a:pt x="379" y="112"/>
                  <a:pt x="379" y="112"/>
                  <a:pt x="379" y="112"/>
                </a:cubicBezTo>
                <a:cubicBezTo>
                  <a:pt x="380" y="111"/>
                  <a:pt x="380" y="111"/>
                  <a:pt x="380" y="111"/>
                </a:cubicBezTo>
                <a:cubicBezTo>
                  <a:pt x="380" y="110"/>
                  <a:pt x="380" y="110"/>
                  <a:pt x="380" y="110"/>
                </a:cubicBezTo>
                <a:cubicBezTo>
                  <a:pt x="378" y="108"/>
                  <a:pt x="378" y="108"/>
                  <a:pt x="378" y="108"/>
                </a:cubicBezTo>
                <a:cubicBezTo>
                  <a:pt x="378" y="107"/>
                  <a:pt x="378" y="107"/>
                  <a:pt x="378" y="107"/>
                </a:cubicBezTo>
                <a:cubicBezTo>
                  <a:pt x="379" y="107"/>
                  <a:pt x="379" y="107"/>
                  <a:pt x="379" y="107"/>
                </a:cubicBezTo>
                <a:cubicBezTo>
                  <a:pt x="381" y="109"/>
                  <a:pt x="381" y="109"/>
                  <a:pt x="381" y="109"/>
                </a:cubicBezTo>
                <a:cubicBezTo>
                  <a:pt x="382" y="110"/>
                  <a:pt x="382" y="110"/>
                  <a:pt x="382" y="110"/>
                </a:cubicBezTo>
                <a:cubicBezTo>
                  <a:pt x="383" y="111"/>
                  <a:pt x="383" y="111"/>
                  <a:pt x="383" y="111"/>
                </a:cubicBezTo>
                <a:cubicBezTo>
                  <a:pt x="383" y="112"/>
                  <a:pt x="383" y="112"/>
                  <a:pt x="383" y="112"/>
                </a:cubicBezTo>
                <a:cubicBezTo>
                  <a:pt x="383" y="113"/>
                  <a:pt x="383" y="113"/>
                  <a:pt x="383" y="113"/>
                </a:cubicBezTo>
                <a:cubicBezTo>
                  <a:pt x="385" y="114"/>
                  <a:pt x="385" y="114"/>
                  <a:pt x="385" y="114"/>
                </a:cubicBezTo>
                <a:cubicBezTo>
                  <a:pt x="385" y="116"/>
                  <a:pt x="385" y="116"/>
                  <a:pt x="385" y="116"/>
                </a:cubicBezTo>
                <a:cubicBezTo>
                  <a:pt x="386" y="117"/>
                  <a:pt x="386" y="117"/>
                  <a:pt x="386" y="117"/>
                </a:cubicBezTo>
                <a:cubicBezTo>
                  <a:pt x="386" y="116"/>
                  <a:pt x="386" y="116"/>
                  <a:pt x="386" y="116"/>
                </a:cubicBezTo>
                <a:cubicBezTo>
                  <a:pt x="387" y="115"/>
                  <a:pt x="387" y="115"/>
                  <a:pt x="387" y="115"/>
                </a:cubicBezTo>
                <a:cubicBezTo>
                  <a:pt x="388" y="115"/>
                  <a:pt x="388" y="115"/>
                  <a:pt x="388" y="115"/>
                </a:cubicBezTo>
                <a:cubicBezTo>
                  <a:pt x="388" y="114"/>
                  <a:pt x="388" y="114"/>
                  <a:pt x="388" y="114"/>
                </a:cubicBezTo>
                <a:cubicBezTo>
                  <a:pt x="388" y="113"/>
                  <a:pt x="388" y="113"/>
                  <a:pt x="388" y="113"/>
                </a:cubicBezTo>
                <a:cubicBezTo>
                  <a:pt x="387" y="114"/>
                  <a:pt x="387" y="114"/>
                  <a:pt x="387" y="114"/>
                </a:cubicBezTo>
                <a:cubicBezTo>
                  <a:pt x="386" y="114"/>
                  <a:pt x="386" y="114"/>
                  <a:pt x="386" y="114"/>
                </a:cubicBezTo>
                <a:cubicBezTo>
                  <a:pt x="385" y="112"/>
                  <a:pt x="385" y="112"/>
                  <a:pt x="385" y="112"/>
                </a:cubicBezTo>
                <a:cubicBezTo>
                  <a:pt x="387" y="110"/>
                  <a:pt x="387" y="110"/>
                  <a:pt x="387" y="110"/>
                </a:cubicBezTo>
                <a:cubicBezTo>
                  <a:pt x="388" y="110"/>
                  <a:pt x="388" y="110"/>
                  <a:pt x="388" y="110"/>
                </a:cubicBezTo>
                <a:cubicBezTo>
                  <a:pt x="388" y="109"/>
                  <a:pt x="388" y="109"/>
                  <a:pt x="388" y="109"/>
                </a:cubicBezTo>
                <a:cubicBezTo>
                  <a:pt x="389" y="109"/>
                  <a:pt x="389" y="109"/>
                  <a:pt x="389" y="109"/>
                </a:cubicBezTo>
                <a:cubicBezTo>
                  <a:pt x="390" y="108"/>
                  <a:pt x="390" y="108"/>
                  <a:pt x="390" y="108"/>
                </a:cubicBezTo>
                <a:cubicBezTo>
                  <a:pt x="392" y="107"/>
                  <a:pt x="392" y="107"/>
                  <a:pt x="392" y="107"/>
                </a:cubicBezTo>
                <a:cubicBezTo>
                  <a:pt x="397" y="106"/>
                  <a:pt x="397" y="106"/>
                  <a:pt x="397" y="106"/>
                </a:cubicBezTo>
                <a:cubicBezTo>
                  <a:pt x="402" y="106"/>
                  <a:pt x="402" y="106"/>
                  <a:pt x="402" y="106"/>
                </a:cubicBezTo>
                <a:cubicBezTo>
                  <a:pt x="405" y="104"/>
                  <a:pt x="405" y="104"/>
                  <a:pt x="405" y="104"/>
                </a:cubicBezTo>
                <a:cubicBezTo>
                  <a:pt x="407" y="104"/>
                  <a:pt x="407" y="104"/>
                  <a:pt x="407" y="104"/>
                </a:cubicBezTo>
                <a:cubicBezTo>
                  <a:pt x="409" y="105"/>
                  <a:pt x="409" y="105"/>
                  <a:pt x="409" y="105"/>
                </a:cubicBezTo>
                <a:cubicBezTo>
                  <a:pt x="409" y="106"/>
                  <a:pt x="409" y="106"/>
                  <a:pt x="409" y="106"/>
                </a:cubicBezTo>
                <a:cubicBezTo>
                  <a:pt x="408" y="106"/>
                  <a:pt x="408" y="106"/>
                  <a:pt x="408" y="106"/>
                </a:cubicBezTo>
                <a:cubicBezTo>
                  <a:pt x="408" y="108"/>
                  <a:pt x="408" y="108"/>
                  <a:pt x="408" y="108"/>
                </a:cubicBezTo>
                <a:cubicBezTo>
                  <a:pt x="408" y="110"/>
                  <a:pt x="408" y="110"/>
                  <a:pt x="408" y="110"/>
                </a:cubicBezTo>
                <a:cubicBezTo>
                  <a:pt x="410" y="112"/>
                  <a:pt x="410" y="112"/>
                  <a:pt x="410" y="112"/>
                </a:cubicBezTo>
                <a:cubicBezTo>
                  <a:pt x="416" y="112"/>
                  <a:pt x="416" y="112"/>
                  <a:pt x="416" y="112"/>
                </a:cubicBezTo>
                <a:cubicBezTo>
                  <a:pt x="417" y="112"/>
                  <a:pt x="417" y="112"/>
                  <a:pt x="417" y="112"/>
                </a:cubicBezTo>
                <a:cubicBezTo>
                  <a:pt x="417" y="112"/>
                  <a:pt x="417" y="112"/>
                  <a:pt x="417" y="112"/>
                </a:cubicBezTo>
                <a:cubicBezTo>
                  <a:pt x="419" y="112"/>
                  <a:pt x="419" y="112"/>
                  <a:pt x="419" y="112"/>
                </a:cubicBezTo>
                <a:cubicBezTo>
                  <a:pt x="421" y="112"/>
                  <a:pt x="421" y="112"/>
                  <a:pt x="421" y="112"/>
                </a:cubicBezTo>
                <a:cubicBezTo>
                  <a:pt x="425" y="112"/>
                  <a:pt x="425" y="112"/>
                  <a:pt x="425" y="112"/>
                </a:cubicBezTo>
                <a:cubicBezTo>
                  <a:pt x="427" y="110"/>
                  <a:pt x="427" y="110"/>
                  <a:pt x="427" y="110"/>
                </a:cubicBezTo>
                <a:cubicBezTo>
                  <a:pt x="428" y="111"/>
                  <a:pt x="428" y="111"/>
                  <a:pt x="428" y="111"/>
                </a:cubicBezTo>
                <a:cubicBezTo>
                  <a:pt x="430" y="110"/>
                  <a:pt x="430" y="110"/>
                  <a:pt x="430" y="110"/>
                </a:cubicBezTo>
                <a:cubicBezTo>
                  <a:pt x="430" y="109"/>
                  <a:pt x="430" y="109"/>
                  <a:pt x="430" y="109"/>
                </a:cubicBezTo>
                <a:cubicBezTo>
                  <a:pt x="430" y="108"/>
                  <a:pt x="430" y="108"/>
                  <a:pt x="430" y="108"/>
                </a:cubicBezTo>
                <a:cubicBezTo>
                  <a:pt x="431" y="108"/>
                  <a:pt x="431" y="108"/>
                  <a:pt x="431" y="108"/>
                </a:cubicBezTo>
                <a:cubicBezTo>
                  <a:pt x="432" y="108"/>
                  <a:pt x="432" y="108"/>
                  <a:pt x="432" y="108"/>
                </a:cubicBezTo>
                <a:cubicBezTo>
                  <a:pt x="434" y="108"/>
                  <a:pt x="434" y="108"/>
                  <a:pt x="434" y="108"/>
                </a:cubicBezTo>
                <a:cubicBezTo>
                  <a:pt x="434" y="109"/>
                  <a:pt x="434" y="109"/>
                  <a:pt x="434" y="109"/>
                </a:cubicBezTo>
                <a:cubicBezTo>
                  <a:pt x="435" y="109"/>
                  <a:pt x="435" y="109"/>
                  <a:pt x="435" y="109"/>
                </a:cubicBezTo>
                <a:cubicBezTo>
                  <a:pt x="436" y="108"/>
                  <a:pt x="436" y="108"/>
                  <a:pt x="436" y="108"/>
                </a:cubicBezTo>
                <a:cubicBezTo>
                  <a:pt x="435" y="107"/>
                  <a:pt x="435" y="107"/>
                  <a:pt x="435" y="107"/>
                </a:cubicBezTo>
                <a:cubicBezTo>
                  <a:pt x="434" y="106"/>
                  <a:pt x="434" y="106"/>
                  <a:pt x="434" y="106"/>
                </a:cubicBezTo>
                <a:cubicBezTo>
                  <a:pt x="434" y="105"/>
                  <a:pt x="434" y="105"/>
                  <a:pt x="434" y="105"/>
                </a:cubicBezTo>
                <a:cubicBezTo>
                  <a:pt x="434" y="104"/>
                  <a:pt x="434" y="104"/>
                  <a:pt x="434" y="104"/>
                </a:cubicBezTo>
                <a:cubicBezTo>
                  <a:pt x="432" y="103"/>
                  <a:pt x="432" y="103"/>
                  <a:pt x="432" y="103"/>
                </a:cubicBezTo>
                <a:cubicBezTo>
                  <a:pt x="432" y="102"/>
                  <a:pt x="432" y="102"/>
                  <a:pt x="432" y="102"/>
                </a:cubicBezTo>
                <a:cubicBezTo>
                  <a:pt x="431" y="102"/>
                  <a:pt x="431" y="102"/>
                  <a:pt x="431" y="102"/>
                </a:cubicBezTo>
                <a:cubicBezTo>
                  <a:pt x="431" y="100"/>
                  <a:pt x="431" y="100"/>
                  <a:pt x="431" y="100"/>
                </a:cubicBezTo>
                <a:cubicBezTo>
                  <a:pt x="430" y="99"/>
                  <a:pt x="430" y="99"/>
                  <a:pt x="430" y="99"/>
                </a:cubicBezTo>
                <a:cubicBezTo>
                  <a:pt x="430" y="98"/>
                  <a:pt x="430" y="98"/>
                  <a:pt x="430" y="98"/>
                </a:cubicBezTo>
                <a:cubicBezTo>
                  <a:pt x="431" y="97"/>
                  <a:pt x="431" y="97"/>
                  <a:pt x="431" y="97"/>
                </a:cubicBezTo>
                <a:cubicBezTo>
                  <a:pt x="431" y="97"/>
                  <a:pt x="431" y="97"/>
                  <a:pt x="431" y="97"/>
                </a:cubicBezTo>
                <a:cubicBezTo>
                  <a:pt x="432" y="98"/>
                  <a:pt x="432" y="98"/>
                  <a:pt x="432" y="98"/>
                </a:cubicBezTo>
                <a:cubicBezTo>
                  <a:pt x="433" y="97"/>
                  <a:pt x="433" y="97"/>
                  <a:pt x="433" y="97"/>
                </a:cubicBezTo>
                <a:cubicBezTo>
                  <a:pt x="433" y="96"/>
                  <a:pt x="433" y="96"/>
                  <a:pt x="433" y="96"/>
                </a:cubicBezTo>
                <a:cubicBezTo>
                  <a:pt x="432" y="95"/>
                  <a:pt x="432" y="95"/>
                  <a:pt x="432" y="95"/>
                </a:cubicBezTo>
                <a:cubicBezTo>
                  <a:pt x="433" y="95"/>
                  <a:pt x="433" y="95"/>
                  <a:pt x="433" y="95"/>
                </a:cubicBezTo>
                <a:cubicBezTo>
                  <a:pt x="435" y="96"/>
                  <a:pt x="435" y="96"/>
                  <a:pt x="435" y="96"/>
                </a:cubicBezTo>
                <a:cubicBezTo>
                  <a:pt x="436" y="95"/>
                  <a:pt x="436" y="95"/>
                  <a:pt x="436" y="95"/>
                </a:cubicBezTo>
                <a:cubicBezTo>
                  <a:pt x="436" y="94"/>
                  <a:pt x="436" y="94"/>
                  <a:pt x="436" y="94"/>
                </a:cubicBezTo>
                <a:cubicBezTo>
                  <a:pt x="436" y="95"/>
                  <a:pt x="436" y="95"/>
                  <a:pt x="436" y="95"/>
                </a:cubicBezTo>
                <a:cubicBezTo>
                  <a:pt x="438" y="95"/>
                  <a:pt x="438" y="95"/>
                  <a:pt x="438" y="95"/>
                </a:cubicBezTo>
                <a:cubicBezTo>
                  <a:pt x="439" y="95"/>
                  <a:pt x="439" y="95"/>
                  <a:pt x="439" y="95"/>
                </a:cubicBezTo>
                <a:cubicBezTo>
                  <a:pt x="439" y="94"/>
                  <a:pt x="439" y="94"/>
                  <a:pt x="439" y="94"/>
                </a:cubicBezTo>
                <a:cubicBezTo>
                  <a:pt x="440" y="95"/>
                  <a:pt x="440" y="95"/>
                  <a:pt x="440" y="95"/>
                </a:cubicBezTo>
                <a:cubicBezTo>
                  <a:pt x="441" y="96"/>
                  <a:pt x="441" y="96"/>
                  <a:pt x="441" y="96"/>
                </a:cubicBezTo>
                <a:cubicBezTo>
                  <a:pt x="442" y="97"/>
                  <a:pt x="442" y="97"/>
                  <a:pt x="442" y="97"/>
                </a:cubicBezTo>
                <a:cubicBezTo>
                  <a:pt x="443" y="96"/>
                  <a:pt x="443" y="96"/>
                  <a:pt x="443" y="96"/>
                </a:cubicBezTo>
                <a:cubicBezTo>
                  <a:pt x="443" y="95"/>
                  <a:pt x="443" y="95"/>
                  <a:pt x="443" y="95"/>
                </a:cubicBezTo>
                <a:cubicBezTo>
                  <a:pt x="444" y="95"/>
                  <a:pt x="444" y="95"/>
                  <a:pt x="444" y="95"/>
                </a:cubicBezTo>
                <a:cubicBezTo>
                  <a:pt x="445" y="96"/>
                  <a:pt x="445" y="96"/>
                  <a:pt x="445" y="96"/>
                </a:cubicBezTo>
                <a:cubicBezTo>
                  <a:pt x="444" y="97"/>
                  <a:pt x="444" y="97"/>
                  <a:pt x="444" y="97"/>
                </a:cubicBezTo>
                <a:cubicBezTo>
                  <a:pt x="443" y="98"/>
                  <a:pt x="443" y="98"/>
                  <a:pt x="443" y="98"/>
                </a:cubicBezTo>
                <a:cubicBezTo>
                  <a:pt x="444" y="98"/>
                  <a:pt x="444" y="98"/>
                  <a:pt x="444" y="98"/>
                </a:cubicBezTo>
                <a:cubicBezTo>
                  <a:pt x="445" y="98"/>
                  <a:pt x="445" y="98"/>
                  <a:pt x="445" y="98"/>
                </a:cubicBezTo>
                <a:cubicBezTo>
                  <a:pt x="446" y="98"/>
                  <a:pt x="446" y="98"/>
                  <a:pt x="446" y="98"/>
                </a:cubicBezTo>
                <a:cubicBezTo>
                  <a:pt x="446" y="97"/>
                  <a:pt x="446" y="97"/>
                  <a:pt x="446" y="97"/>
                </a:cubicBezTo>
                <a:cubicBezTo>
                  <a:pt x="446" y="97"/>
                  <a:pt x="446" y="97"/>
                  <a:pt x="446" y="97"/>
                </a:cubicBezTo>
                <a:cubicBezTo>
                  <a:pt x="447" y="97"/>
                  <a:pt x="447" y="97"/>
                  <a:pt x="447" y="97"/>
                </a:cubicBezTo>
                <a:cubicBezTo>
                  <a:pt x="447" y="96"/>
                  <a:pt x="447" y="96"/>
                  <a:pt x="447" y="96"/>
                </a:cubicBezTo>
                <a:cubicBezTo>
                  <a:pt x="446" y="95"/>
                  <a:pt x="446" y="95"/>
                  <a:pt x="446" y="95"/>
                </a:cubicBezTo>
                <a:cubicBezTo>
                  <a:pt x="446" y="95"/>
                  <a:pt x="446" y="95"/>
                  <a:pt x="446" y="95"/>
                </a:cubicBezTo>
                <a:cubicBezTo>
                  <a:pt x="447" y="95"/>
                  <a:pt x="447" y="95"/>
                  <a:pt x="447" y="95"/>
                </a:cubicBezTo>
                <a:cubicBezTo>
                  <a:pt x="449" y="94"/>
                  <a:pt x="449" y="94"/>
                  <a:pt x="449" y="94"/>
                </a:cubicBezTo>
                <a:cubicBezTo>
                  <a:pt x="450" y="95"/>
                  <a:pt x="450" y="95"/>
                  <a:pt x="450" y="95"/>
                </a:cubicBezTo>
                <a:cubicBezTo>
                  <a:pt x="451" y="95"/>
                  <a:pt x="451" y="95"/>
                  <a:pt x="451" y="95"/>
                </a:cubicBezTo>
                <a:cubicBezTo>
                  <a:pt x="452" y="95"/>
                  <a:pt x="452" y="95"/>
                  <a:pt x="452" y="95"/>
                </a:cubicBezTo>
                <a:cubicBezTo>
                  <a:pt x="452" y="95"/>
                  <a:pt x="452" y="95"/>
                  <a:pt x="452" y="95"/>
                </a:cubicBezTo>
                <a:cubicBezTo>
                  <a:pt x="453" y="97"/>
                  <a:pt x="453" y="97"/>
                  <a:pt x="453" y="97"/>
                </a:cubicBezTo>
                <a:cubicBezTo>
                  <a:pt x="453" y="96"/>
                  <a:pt x="453" y="96"/>
                  <a:pt x="453" y="96"/>
                </a:cubicBezTo>
                <a:cubicBezTo>
                  <a:pt x="454" y="96"/>
                  <a:pt x="454" y="96"/>
                  <a:pt x="454" y="96"/>
                </a:cubicBezTo>
                <a:cubicBezTo>
                  <a:pt x="455" y="95"/>
                  <a:pt x="455" y="95"/>
                  <a:pt x="455" y="95"/>
                </a:cubicBezTo>
                <a:cubicBezTo>
                  <a:pt x="455" y="97"/>
                  <a:pt x="455" y="97"/>
                  <a:pt x="455" y="97"/>
                </a:cubicBezTo>
                <a:cubicBezTo>
                  <a:pt x="456" y="97"/>
                  <a:pt x="456" y="97"/>
                  <a:pt x="456" y="97"/>
                </a:cubicBezTo>
                <a:cubicBezTo>
                  <a:pt x="457" y="96"/>
                  <a:pt x="457" y="96"/>
                  <a:pt x="457" y="96"/>
                </a:cubicBezTo>
                <a:cubicBezTo>
                  <a:pt x="458" y="97"/>
                  <a:pt x="458" y="97"/>
                  <a:pt x="458" y="97"/>
                </a:cubicBezTo>
                <a:cubicBezTo>
                  <a:pt x="459" y="99"/>
                  <a:pt x="459" y="99"/>
                  <a:pt x="459" y="99"/>
                </a:cubicBezTo>
                <a:cubicBezTo>
                  <a:pt x="459" y="98"/>
                  <a:pt x="459" y="98"/>
                  <a:pt x="459" y="98"/>
                </a:cubicBezTo>
                <a:cubicBezTo>
                  <a:pt x="460" y="97"/>
                  <a:pt x="460" y="97"/>
                  <a:pt x="460" y="97"/>
                </a:cubicBezTo>
                <a:cubicBezTo>
                  <a:pt x="461" y="98"/>
                  <a:pt x="461" y="98"/>
                  <a:pt x="461" y="98"/>
                </a:cubicBezTo>
                <a:cubicBezTo>
                  <a:pt x="460" y="100"/>
                  <a:pt x="460" y="100"/>
                  <a:pt x="460" y="100"/>
                </a:cubicBezTo>
                <a:cubicBezTo>
                  <a:pt x="461" y="100"/>
                  <a:pt x="461" y="100"/>
                  <a:pt x="461" y="100"/>
                </a:cubicBezTo>
                <a:cubicBezTo>
                  <a:pt x="461" y="101"/>
                  <a:pt x="461" y="101"/>
                  <a:pt x="461" y="101"/>
                </a:cubicBezTo>
                <a:cubicBezTo>
                  <a:pt x="463" y="101"/>
                  <a:pt x="463" y="101"/>
                  <a:pt x="463" y="101"/>
                </a:cubicBezTo>
                <a:cubicBezTo>
                  <a:pt x="463" y="102"/>
                  <a:pt x="463" y="102"/>
                  <a:pt x="463" y="102"/>
                </a:cubicBezTo>
                <a:cubicBezTo>
                  <a:pt x="464" y="102"/>
                  <a:pt x="464" y="102"/>
                  <a:pt x="464" y="102"/>
                </a:cubicBezTo>
                <a:cubicBezTo>
                  <a:pt x="464" y="101"/>
                  <a:pt x="464" y="101"/>
                  <a:pt x="464" y="101"/>
                </a:cubicBezTo>
                <a:cubicBezTo>
                  <a:pt x="464" y="103"/>
                  <a:pt x="464" y="103"/>
                  <a:pt x="464" y="103"/>
                </a:cubicBezTo>
                <a:cubicBezTo>
                  <a:pt x="463" y="104"/>
                  <a:pt x="463" y="104"/>
                  <a:pt x="463" y="104"/>
                </a:cubicBezTo>
                <a:cubicBezTo>
                  <a:pt x="464" y="105"/>
                  <a:pt x="464" y="105"/>
                  <a:pt x="464" y="105"/>
                </a:cubicBezTo>
                <a:cubicBezTo>
                  <a:pt x="465" y="104"/>
                  <a:pt x="465" y="104"/>
                  <a:pt x="465" y="104"/>
                </a:cubicBezTo>
                <a:cubicBezTo>
                  <a:pt x="466" y="104"/>
                  <a:pt x="466" y="104"/>
                  <a:pt x="466" y="104"/>
                </a:cubicBezTo>
                <a:cubicBezTo>
                  <a:pt x="467" y="105"/>
                  <a:pt x="467" y="105"/>
                  <a:pt x="467" y="105"/>
                </a:cubicBezTo>
                <a:cubicBezTo>
                  <a:pt x="464" y="107"/>
                  <a:pt x="464" y="107"/>
                  <a:pt x="464" y="107"/>
                </a:cubicBezTo>
                <a:cubicBezTo>
                  <a:pt x="464" y="108"/>
                  <a:pt x="464" y="108"/>
                  <a:pt x="464" y="108"/>
                </a:cubicBezTo>
                <a:cubicBezTo>
                  <a:pt x="466" y="109"/>
                  <a:pt x="466" y="109"/>
                  <a:pt x="466" y="109"/>
                </a:cubicBezTo>
                <a:cubicBezTo>
                  <a:pt x="467" y="108"/>
                  <a:pt x="467" y="108"/>
                  <a:pt x="467" y="108"/>
                </a:cubicBezTo>
                <a:cubicBezTo>
                  <a:pt x="468" y="107"/>
                  <a:pt x="468" y="107"/>
                  <a:pt x="468" y="107"/>
                </a:cubicBezTo>
                <a:cubicBezTo>
                  <a:pt x="469" y="108"/>
                  <a:pt x="469" y="108"/>
                  <a:pt x="469" y="108"/>
                </a:cubicBezTo>
                <a:cubicBezTo>
                  <a:pt x="469" y="109"/>
                  <a:pt x="469" y="109"/>
                  <a:pt x="469" y="109"/>
                </a:cubicBezTo>
                <a:cubicBezTo>
                  <a:pt x="470" y="108"/>
                  <a:pt x="470" y="108"/>
                  <a:pt x="470" y="108"/>
                </a:cubicBezTo>
                <a:cubicBezTo>
                  <a:pt x="471" y="110"/>
                  <a:pt x="471" y="110"/>
                  <a:pt x="471" y="110"/>
                </a:cubicBezTo>
                <a:cubicBezTo>
                  <a:pt x="471" y="112"/>
                  <a:pt x="471" y="112"/>
                  <a:pt x="471" y="112"/>
                </a:cubicBezTo>
                <a:cubicBezTo>
                  <a:pt x="472" y="112"/>
                  <a:pt x="472" y="112"/>
                  <a:pt x="472" y="112"/>
                </a:cubicBezTo>
                <a:cubicBezTo>
                  <a:pt x="472" y="113"/>
                  <a:pt x="472" y="113"/>
                  <a:pt x="472" y="113"/>
                </a:cubicBezTo>
                <a:cubicBezTo>
                  <a:pt x="473" y="112"/>
                  <a:pt x="473" y="112"/>
                  <a:pt x="473" y="112"/>
                </a:cubicBezTo>
                <a:cubicBezTo>
                  <a:pt x="473" y="113"/>
                  <a:pt x="473" y="113"/>
                  <a:pt x="473" y="113"/>
                </a:cubicBezTo>
                <a:cubicBezTo>
                  <a:pt x="472" y="115"/>
                  <a:pt x="472" y="115"/>
                  <a:pt x="472" y="115"/>
                </a:cubicBezTo>
                <a:cubicBezTo>
                  <a:pt x="471" y="116"/>
                  <a:pt x="471" y="116"/>
                  <a:pt x="471" y="116"/>
                </a:cubicBezTo>
                <a:cubicBezTo>
                  <a:pt x="470" y="115"/>
                  <a:pt x="470" y="115"/>
                  <a:pt x="470" y="115"/>
                </a:cubicBezTo>
                <a:cubicBezTo>
                  <a:pt x="467" y="114"/>
                  <a:pt x="467" y="114"/>
                  <a:pt x="467" y="114"/>
                </a:cubicBezTo>
                <a:cubicBezTo>
                  <a:pt x="464" y="114"/>
                  <a:pt x="464" y="114"/>
                  <a:pt x="464" y="114"/>
                </a:cubicBezTo>
                <a:cubicBezTo>
                  <a:pt x="466" y="115"/>
                  <a:pt x="466" y="115"/>
                  <a:pt x="466" y="115"/>
                </a:cubicBezTo>
                <a:cubicBezTo>
                  <a:pt x="466" y="116"/>
                  <a:pt x="466" y="116"/>
                  <a:pt x="466" y="116"/>
                </a:cubicBezTo>
                <a:cubicBezTo>
                  <a:pt x="468" y="116"/>
                  <a:pt x="468" y="116"/>
                  <a:pt x="468" y="116"/>
                </a:cubicBezTo>
                <a:cubicBezTo>
                  <a:pt x="469" y="117"/>
                  <a:pt x="469" y="117"/>
                  <a:pt x="469" y="117"/>
                </a:cubicBezTo>
                <a:cubicBezTo>
                  <a:pt x="471" y="119"/>
                  <a:pt x="471" y="119"/>
                  <a:pt x="471" y="119"/>
                </a:cubicBezTo>
                <a:cubicBezTo>
                  <a:pt x="474" y="120"/>
                  <a:pt x="474" y="120"/>
                  <a:pt x="474" y="120"/>
                </a:cubicBezTo>
                <a:cubicBezTo>
                  <a:pt x="475" y="119"/>
                  <a:pt x="475" y="119"/>
                  <a:pt x="475" y="119"/>
                </a:cubicBezTo>
                <a:cubicBezTo>
                  <a:pt x="475" y="117"/>
                  <a:pt x="475" y="117"/>
                  <a:pt x="475" y="117"/>
                </a:cubicBezTo>
                <a:cubicBezTo>
                  <a:pt x="474" y="116"/>
                  <a:pt x="474" y="116"/>
                  <a:pt x="474" y="116"/>
                </a:cubicBezTo>
                <a:cubicBezTo>
                  <a:pt x="474" y="116"/>
                  <a:pt x="474" y="116"/>
                  <a:pt x="474" y="116"/>
                </a:cubicBezTo>
                <a:cubicBezTo>
                  <a:pt x="474" y="116"/>
                  <a:pt x="474" y="116"/>
                  <a:pt x="474" y="116"/>
                </a:cubicBezTo>
                <a:cubicBezTo>
                  <a:pt x="475" y="117"/>
                  <a:pt x="475" y="117"/>
                  <a:pt x="475" y="117"/>
                </a:cubicBezTo>
                <a:cubicBezTo>
                  <a:pt x="477" y="118"/>
                  <a:pt x="477" y="118"/>
                  <a:pt x="477" y="118"/>
                </a:cubicBezTo>
                <a:cubicBezTo>
                  <a:pt x="478" y="118"/>
                  <a:pt x="478" y="118"/>
                  <a:pt x="478" y="118"/>
                </a:cubicBezTo>
                <a:cubicBezTo>
                  <a:pt x="477" y="118"/>
                  <a:pt x="477" y="118"/>
                  <a:pt x="477" y="118"/>
                </a:cubicBezTo>
                <a:cubicBezTo>
                  <a:pt x="474" y="120"/>
                  <a:pt x="474" y="120"/>
                  <a:pt x="474" y="120"/>
                </a:cubicBezTo>
                <a:cubicBezTo>
                  <a:pt x="475" y="121"/>
                  <a:pt x="475" y="121"/>
                  <a:pt x="475" y="121"/>
                </a:cubicBezTo>
                <a:cubicBezTo>
                  <a:pt x="476" y="121"/>
                  <a:pt x="476" y="121"/>
                  <a:pt x="476" y="121"/>
                </a:cubicBezTo>
                <a:cubicBezTo>
                  <a:pt x="477" y="121"/>
                  <a:pt x="477" y="121"/>
                  <a:pt x="477" y="121"/>
                </a:cubicBezTo>
                <a:cubicBezTo>
                  <a:pt x="477" y="121"/>
                  <a:pt x="477" y="121"/>
                  <a:pt x="477" y="121"/>
                </a:cubicBezTo>
                <a:cubicBezTo>
                  <a:pt x="482" y="125"/>
                  <a:pt x="482" y="125"/>
                  <a:pt x="482" y="125"/>
                </a:cubicBezTo>
                <a:cubicBezTo>
                  <a:pt x="483" y="125"/>
                  <a:pt x="483" y="125"/>
                  <a:pt x="483" y="125"/>
                </a:cubicBezTo>
                <a:cubicBezTo>
                  <a:pt x="484" y="127"/>
                  <a:pt x="484" y="127"/>
                  <a:pt x="484" y="127"/>
                </a:cubicBezTo>
                <a:cubicBezTo>
                  <a:pt x="487" y="127"/>
                  <a:pt x="487" y="127"/>
                  <a:pt x="487" y="127"/>
                </a:cubicBezTo>
                <a:cubicBezTo>
                  <a:pt x="489" y="129"/>
                  <a:pt x="489" y="129"/>
                  <a:pt x="489" y="129"/>
                </a:cubicBezTo>
                <a:cubicBezTo>
                  <a:pt x="490" y="129"/>
                  <a:pt x="490" y="129"/>
                  <a:pt x="490" y="129"/>
                </a:cubicBezTo>
                <a:cubicBezTo>
                  <a:pt x="491" y="129"/>
                  <a:pt x="491" y="129"/>
                  <a:pt x="491" y="129"/>
                </a:cubicBezTo>
                <a:cubicBezTo>
                  <a:pt x="490" y="128"/>
                  <a:pt x="490" y="128"/>
                  <a:pt x="490" y="128"/>
                </a:cubicBezTo>
                <a:cubicBezTo>
                  <a:pt x="491" y="127"/>
                  <a:pt x="491" y="127"/>
                  <a:pt x="491" y="127"/>
                </a:cubicBezTo>
                <a:cubicBezTo>
                  <a:pt x="492" y="128"/>
                  <a:pt x="492" y="128"/>
                  <a:pt x="492" y="128"/>
                </a:cubicBezTo>
                <a:cubicBezTo>
                  <a:pt x="492" y="129"/>
                  <a:pt x="492" y="129"/>
                  <a:pt x="492" y="129"/>
                </a:cubicBezTo>
                <a:cubicBezTo>
                  <a:pt x="493" y="131"/>
                  <a:pt x="493" y="131"/>
                  <a:pt x="493" y="131"/>
                </a:cubicBezTo>
                <a:cubicBezTo>
                  <a:pt x="494" y="131"/>
                  <a:pt x="494" y="131"/>
                  <a:pt x="494" y="131"/>
                </a:cubicBezTo>
                <a:cubicBezTo>
                  <a:pt x="494" y="129"/>
                  <a:pt x="494" y="129"/>
                  <a:pt x="494" y="129"/>
                </a:cubicBezTo>
                <a:cubicBezTo>
                  <a:pt x="493" y="122"/>
                  <a:pt x="493" y="122"/>
                  <a:pt x="493" y="122"/>
                </a:cubicBezTo>
                <a:cubicBezTo>
                  <a:pt x="492" y="119"/>
                  <a:pt x="492" y="119"/>
                  <a:pt x="492" y="119"/>
                </a:cubicBezTo>
                <a:cubicBezTo>
                  <a:pt x="490" y="116"/>
                  <a:pt x="490" y="116"/>
                  <a:pt x="490" y="116"/>
                </a:cubicBezTo>
                <a:cubicBezTo>
                  <a:pt x="490" y="112"/>
                  <a:pt x="490" y="112"/>
                  <a:pt x="490" y="112"/>
                </a:cubicBezTo>
                <a:cubicBezTo>
                  <a:pt x="489" y="110"/>
                  <a:pt x="489" y="110"/>
                  <a:pt x="489" y="110"/>
                </a:cubicBezTo>
                <a:cubicBezTo>
                  <a:pt x="488" y="109"/>
                  <a:pt x="488" y="109"/>
                  <a:pt x="488" y="109"/>
                </a:cubicBezTo>
                <a:cubicBezTo>
                  <a:pt x="490" y="110"/>
                  <a:pt x="490" y="110"/>
                  <a:pt x="490" y="110"/>
                </a:cubicBezTo>
                <a:cubicBezTo>
                  <a:pt x="490" y="111"/>
                  <a:pt x="490" y="111"/>
                  <a:pt x="490" y="111"/>
                </a:cubicBezTo>
                <a:cubicBezTo>
                  <a:pt x="492" y="113"/>
                  <a:pt x="492" y="113"/>
                  <a:pt x="492" y="113"/>
                </a:cubicBezTo>
                <a:cubicBezTo>
                  <a:pt x="493" y="113"/>
                  <a:pt x="493" y="113"/>
                  <a:pt x="493" y="113"/>
                </a:cubicBezTo>
                <a:cubicBezTo>
                  <a:pt x="495" y="115"/>
                  <a:pt x="495" y="115"/>
                  <a:pt x="495" y="115"/>
                </a:cubicBezTo>
                <a:cubicBezTo>
                  <a:pt x="497" y="115"/>
                  <a:pt x="497" y="115"/>
                  <a:pt x="497" y="115"/>
                </a:cubicBezTo>
                <a:cubicBezTo>
                  <a:pt x="502" y="115"/>
                  <a:pt x="502" y="115"/>
                  <a:pt x="502" y="115"/>
                </a:cubicBezTo>
                <a:cubicBezTo>
                  <a:pt x="503" y="115"/>
                  <a:pt x="503" y="115"/>
                  <a:pt x="503" y="115"/>
                </a:cubicBezTo>
                <a:cubicBezTo>
                  <a:pt x="504" y="114"/>
                  <a:pt x="504" y="114"/>
                  <a:pt x="504" y="114"/>
                </a:cubicBezTo>
                <a:cubicBezTo>
                  <a:pt x="505" y="115"/>
                  <a:pt x="505" y="115"/>
                  <a:pt x="505" y="115"/>
                </a:cubicBezTo>
                <a:cubicBezTo>
                  <a:pt x="505" y="115"/>
                  <a:pt x="505" y="115"/>
                  <a:pt x="505" y="115"/>
                </a:cubicBezTo>
                <a:cubicBezTo>
                  <a:pt x="504" y="114"/>
                  <a:pt x="504" y="114"/>
                  <a:pt x="504" y="114"/>
                </a:cubicBezTo>
                <a:cubicBezTo>
                  <a:pt x="505" y="113"/>
                  <a:pt x="505" y="113"/>
                  <a:pt x="505" y="113"/>
                </a:cubicBezTo>
                <a:cubicBezTo>
                  <a:pt x="504" y="112"/>
                  <a:pt x="504" y="112"/>
                  <a:pt x="504" y="112"/>
                </a:cubicBezTo>
                <a:cubicBezTo>
                  <a:pt x="504" y="111"/>
                  <a:pt x="504" y="111"/>
                  <a:pt x="504" y="111"/>
                </a:cubicBezTo>
                <a:cubicBezTo>
                  <a:pt x="504" y="110"/>
                  <a:pt x="504" y="110"/>
                  <a:pt x="504" y="110"/>
                </a:cubicBezTo>
                <a:cubicBezTo>
                  <a:pt x="509" y="108"/>
                  <a:pt x="509" y="108"/>
                  <a:pt x="509" y="108"/>
                </a:cubicBezTo>
                <a:cubicBezTo>
                  <a:pt x="509" y="109"/>
                  <a:pt x="509" y="109"/>
                  <a:pt x="509" y="109"/>
                </a:cubicBezTo>
                <a:cubicBezTo>
                  <a:pt x="510" y="109"/>
                  <a:pt x="510" y="109"/>
                  <a:pt x="510" y="109"/>
                </a:cubicBezTo>
                <a:cubicBezTo>
                  <a:pt x="512" y="109"/>
                  <a:pt x="512" y="109"/>
                  <a:pt x="512" y="109"/>
                </a:cubicBezTo>
                <a:cubicBezTo>
                  <a:pt x="514" y="109"/>
                  <a:pt x="514" y="109"/>
                  <a:pt x="514" y="109"/>
                </a:cubicBezTo>
                <a:cubicBezTo>
                  <a:pt x="515" y="111"/>
                  <a:pt x="515" y="111"/>
                  <a:pt x="515" y="111"/>
                </a:cubicBezTo>
                <a:cubicBezTo>
                  <a:pt x="517" y="111"/>
                  <a:pt x="517" y="111"/>
                  <a:pt x="517" y="111"/>
                </a:cubicBezTo>
                <a:cubicBezTo>
                  <a:pt x="517" y="113"/>
                  <a:pt x="517" y="113"/>
                  <a:pt x="517" y="113"/>
                </a:cubicBezTo>
                <a:cubicBezTo>
                  <a:pt x="520" y="113"/>
                  <a:pt x="520" y="113"/>
                  <a:pt x="520" y="113"/>
                </a:cubicBezTo>
                <a:cubicBezTo>
                  <a:pt x="520" y="114"/>
                  <a:pt x="520" y="114"/>
                  <a:pt x="520" y="114"/>
                </a:cubicBezTo>
                <a:cubicBezTo>
                  <a:pt x="523" y="114"/>
                  <a:pt x="523" y="114"/>
                  <a:pt x="523" y="114"/>
                </a:cubicBezTo>
                <a:cubicBezTo>
                  <a:pt x="521" y="113"/>
                  <a:pt x="521" y="113"/>
                  <a:pt x="521" y="113"/>
                </a:cubicBezTo>
                <a:cubicBezTo>
                  <a:pt x="521" y="112"/>
                  <a:pt x="521" y="112"/>
                  <a:pt x="521" y="112"/>
                </a:cubicBezTo>
                <a:cubicBezTo>
                  <a:pt x="523" y="113"/>
                  <a:pt x="523" y="113"/>
                  <a:pt x="523" y="113"/>
                </a:cubicBezTo>
                <a:cubicBezTo>
                  <a:pt x="524" y="112"/>
                  <a:pt x="524" y="112"/>
                  <a:pt x="524" y="112"/>
                </a:cubicBezTo>
                <a:cubicBezTo>
                  <a:pt x="523" y="111"/>
                  <a:pt x="523" y="111"/>
                  <a:pt x="523" y="111"/>
                </a:cubicBezTo>
                <a:cubicBezTo>
                  <a:pt x="524" y="110"/>
                  <a:pt x="524" y="110"/>
                  <a:pt x="524" y="110"/>
                </a:cubicBezTo>
                <a:cubicBezTo>
                  <a:pt x="523" y="109"/>
                  <a:pt x="523" y="109"/>
                  <a:pt x="523" y="109"/>
                </a:cubicBezTo>
                <a:cubicBezTo>
                  <a:pt x="521" y="110"/>
                  <a:pt x="521" y="110"/>
                  <a:pt x="521" y="110"/>
                </a:cubicBezTo>
                <a:cubicBezTo>
                  <a:pt x="519" y="110"/>
                  <a:pt x="519" y="110"/>
                  <a:pt x="519" y="110"/>
                </a:cubicBezTo>
                <a:cubicBezTo>
                  <a:pt x="519" y="108"/>
                  <a:pt x="519" y="108"/>
                  <a:pt x="519" y="108"/>
                </a:cubicBezTo>
                <a:cubicBezTo>
                  <a:pt x="519" y="106"/>
                  <a:pt x="519" y="106"/>
                  <a:pt x="519" y="106"/>
                </a:cubicBezTo>
                <a:cubicBezTo>
                  <a:pt x="519" y="106"/>
                  <a:pt x="519" y="106"/>
                  <a:pt x="519" y="106"/>
                </a:cubicBezTo>
                <a:cubicBezTo>
                  <a:pt x="520" y="106"/>
                  <a:pt x="520" y="106"/>
                  <a:pt x="520" y="106"/>
                </a:cubicBezTo>
                <a:cubicBezTo>
                  <a:pt x="521" y="106"/>
                  <a:pt x="521" y="106"/>
                  <a:pt x="521" y="106"/>
                </a:cubicBezTo>
                <a:cubicBezTo>
                  <a:pt x="521" y="105"/>
                  <a:pt x="521" y="105"/>
                  <a:pt x="521" y="105"/>
                </a:cubicBezTo>
                <a:cubicBezTo>
                  <a:pt x="522" y="104"/>
                  <a:pt x="522" y="104"/>
                  <a:pt x="522" y="104"/>
                </a:cubicBezTo>
                <a:cubicBezTo>
                  <a:pt x="524" y="106"/>
                  <a:pt x="524" y="106"/>
                  <a:pt x="524" y="106"/>
                </a:cubicBezTo>
                <a:cubicBezTo>
                  <a:pt x="524" y="107"/>
                  <a:pt x="524" y="107"/>
                  <a:pt x="524" y="107"/>
                </a:cubicBezTo>
                <a:cubicBezTo>
                  <a:pt x="525" y="107"/>
                  <a:pt x="525" y="107"/>
                  <a:pt x="525" y="107"/>
                </a:cubicBezTo>
                <a:cubicBezTo>
                  <a:pt x="526" y="107"/>
                  <a:pt x="526" y="107"/>
                  <a:pt x="526" y="107"/>
                </a:cubicBezTo>
                <a:cubicBezTo>
                  <a:pt x="526" y="107"/>
                  <a:pt x="526" y="107"/>
                  <a:pt x="526" y="107"/>
                </a:cubicBezTo>
                <a:cubicBezTo>
                  <a:pt x="526" y="105"/>
                  <a:pt x="526" y="105"/>
                  <a:pt x="526" y="105"/>
                </a:cubicBezTo>
                <a:cubicBezTo>
                  <a:pt x="527" y="105"/>
                  <a:pt x="527" y="105"/>
                  <a:pt x="527" y="105"/>
                </a:cubicBezTo>
                <a:cubicBezTo>
                  <a:pt x="528" y="106"/>
                  <a:pt x="528" y="106"/>
                  <a:pt x="528" y="106"/>
                </a:cubicBezTo>
                <a:cubicBezTo>
                  <a:pt x="529" y="104"/>
                  <a:pt x="529" y="104"/>
                  <a:pt x="529" y="104"/>
                </a:cubicBezTo>
                <a:cubicBezTo>
                  <a:pt x="527" y="102"/>
                  <a:pt x="527" y="102"/>
                  <a:pt x="527" y="102"/>
                </a:cubicBezTo>
                <a:cubicBezTo>
                  <a:pt x="525" y="102"/>
                  <a:pt x="525" y="102"/>
                  <a:pt x="525" y="102"/>
                </a:cubicBezTo>
                <a:cubicBezTo>
                  <a:pt x="524" y="100"/>
                  <a:pt x="524" y="100"/>
                  <a:pt x="524" y="100"/>
                </a:cubicBezTo>
                <a:cubicBezTo>
                  <a:pt x="524" y="99"/>
                  <a:pt x="524" y="99"/>
                  <a:pt x="524" y="99"/>
                </a:cubicBezTo>
                <a:cubicBezTo>
                  <a:pt x="523" y="98"/>
                  <a:pt x="523" y="98"/>
                  <a:pt x="523" y="98"/>
                </a:cubicBezTo>
                <a:cubicBezTo>
                  <a:pt x="522" y="99"/>
                  <a:pt x="522" y="99"/>
                  <a:pt x="522" y="99"/>
                </a:cubicBezTo>
                <a:cubicBezTo>
                  <a:pt x="521" y="98"/>
                  <a:pt x="521" y="98"/>
                  <a:pt x="521" y="98"/>
                </a:cubicBezTo>
                <a:cubicBezTo>
                  <a:pt x="522" y="97"/>
                  <a:pt x="522" y="97"/>
                  <a:pt x="522" y="97"/>
                </a:cubicBezTo>
                <a:cubicBezTo>
                  <a:pt x="522" y="96"/>
                  <a:pt x="522" y="96"/>
                  <a:pt x="522" y="96"/>
                </a:cubicBezTo>
                <a:cubicBezTo>
                  <a:pt x="522" y="96"/>
                  <a:pt x="522" y="96"/>
                  <a:pt x="522" y="96"/>
                </a:cubicBezTo>
                <a:cubicBezTo>
                  <a:pt x="521" y="94"/>
                  <a:pt x="521" y="94"/>
                  <a:pt x="521" y="94"/>
                </a:cubicBezTo>
                <a:cubicBezTo>
                  <a:pt x="523" y="94"/>
                  <a:pt x="523" y="94"/>
                  <a:pt x="523" y="94"/>
                </a:cubicBezTo>
                <a:cubicBezTo>
                  <a:pt x="523" y="92"/>
                  <a:pt x="523" y="92"/>
                  <a:pt x="523" y="92"/>
                </a:cubicBezTo>
                <a:cubicBezTo>
                  <a:pt x="521" y="93"/>
                  <a:pt x="521" y="93"/>
                  <a:pt x="521" y="93"/>
                </a:cubicBezTo>
                <a:cubicBezTo>
                  <a:pt x="520" y="94"/>
                  <a:pt x="520" y="94"/>
                  <a:pt x="520" y="94"/>
                </a:cubicBezTo>
                <a:cubicBezTo>
                  <a:pt x="520" y="96"/>
                  <a:pt x="520" y="96"/>
                  <a:pt x="520" y="96"/>
                </a:cubicBezTo>
                <a:cubicBezTo>
                  <a:pt x="517" y="95"/>
                  <a:pt x="517" y="95"/>
                  <a:pt x="517" y="95"/>
                </a:cubicBezTo>
                <a:cubicBezTo>
                  <a:pt x="516" y="93"/>
                  <a:pt x="516" y="93"/>
                  <a:pt x="516" y="93"/>
                </a:cubicBezTo>
                <a:cubicBezTo>
                  <a:pt x="517" y="91"/>
                  <a:pt x="517" y="91"/>
                  <a:pt x="517" y="91"/>
                </a:cubicBezTo>
                <a:cubicBezTo>
                  <a:pt x="517" y="90"/>
                  <a:pt x="517" y="90"/>
                  <a:pt x="517" y="90"/>
                </a:cubicBezTo>
                <a:cubicBezTo>
                  <a:pt x="519" y="89"/>
                  <a:pt x="519" y="89"/>
                  <a:pt x="519" y="89"/>
                </a:cubicBezTo>
                <a:cubicBezTo>
                  <a:pt x="520" y="89"/>
                  <a:pt x="520" y="89"/>
                  <a:pt x="520" y="89"/>
                </a:cubicBezTo>
                <a:cubicBezTo>
                  <a:pt x="523" y="87"/>
                  <a:pt x="523" y="87"/>
                  <a:pt x="523" y="87"/>
                </a:cubicBezTo>
                <a:cubicBezTo>
                  <a:pt x="523" y="86"/>
                  <a:pt x="523" y="86"/>
                  <a:pt x="523" y="86"/>
                </a:cubicBezTo>
                <a:cubicBezTo>
                  <a:pt x="521" y="84"/>
                  <a:pt x="521" y="84"/>
                  <a:pt x="521" y="84"/>
                </a:cubicBezTo>
                <a:cubicBezTo>
                  <a:pt x="520" y="85"/>
                  <a:pt x="520" y="85"/>
                  <a:pt x="520" y="85"/>
                </a:cubicBezTo>
                <a:cubicBezTo>
                  <a:pt x="519" y="84"/>
                  <a:pt x="519" y="84"/>
                  <a:pt x="519" y="84"/>
                </a:cubicBezTo>
                <a:cubicBezTo>
                  <a:pt x="517" y="84"/>
                  <a:pt x="517" y="84"/>
                  <a:pt x="517" y="84"/>
                </a:cubicBezTo>
                <a:cubicBezTo>
                  <a:pt x="516" y="83"/>
                  <a:pt x="516" y="83"/>
                  <a:pt x="516" y="83"/>
                </a:cubicBezTo>
                <a:cubicBezTo>
                  <a:pt x="517" y="82"/>
                  <a:pt x="517" y="82"/>
                  <a:pt x="517" y="82"/>
                </a:cubicBezTo>
                <a:cubicBezTo>
                  <a:pt x="520" y="81"/>
                  <a:pt x="520" y="81"/>
                  <a:pt x="520" y="81"/>
                </a:cubicBezTo>
                <a:cubicBezTo>
                  <a:pt x="523" y="83"/>
                  <a:pt x="523" y="83"/>
                  <a:pt x="523" y="83"/>
                </a:cubicBezTo>
                <a:cubicBezTo>
                  <a:pt x="525" y="82"/>
                  <a:pt x="525" y="82"/>
                  <a:pt x="525" y="82"/>
                </a:cubicBezTo>
                <a:cubicBezTo>
                  <a:pt x="529" y="82"/>
                  <a:pt x="529" y="82"/>
                  <a:pt x="529" y="82"/>
                </a:cubicBezTo>
                <a:cubicBezTo>
                  <a:pt x="537" y="82"/>
                  <a:pt x="537" y="82"/>
                  <a:pt x="537" y="82"/>
                </a:cubicBezTo>
                <a:cubicBezTo>
                  <a:pt x="538" y="81"/>
                  <a:pt x="538" y="81"/>
                  <a:pt x="538" y="81"/>
                </a:cubicBezTo>
                <a:cubicBezTo>
                  <a:pt x="543" y="81"/>
                  <a:pt x="543" y="81"/>
                  <a:pt x="543" y="81"/>
                </a:cubicBezTo>
                <a:cubicBezTo>
                  <a:pt x="546" y="81"/>
                  <a:pt x="546" y="81"/>
                  <a:pt x="546" y="81"/>
                </a:cubicBezTo>
                <a:cubicBezTo>
                  <a:pt x="548" y="81"/>
                  <a:pt x="548" y="81"/>
                  <a:pt x="548" y="81"/>
                </a:cubicBezTo>
                <a:cubicBezTo>
                  <a:pt x="551" y="81"/>
                  <a:pt x="551" y="81"/>
                  <a:pt x="551" y="81"/>
                </a:cubicBezTo>
                <a:cubicBezTo>
                  <a:pt x="549" y="81"/>
                  <a:pt x="549" y="81"/>
                  <a:pt x="549" y="81"/>
                </a:cubicBezTo>
                <a:cubicBezTo>
                  <a:pt x="545" y="83"/>
                  <a:pt x="545" y="83"/>
                  <a:pt x="545" y="83"/>
                </a:cubicBezTo>
                <a:cubicBezTo>
                  <a:pt x="543" y="82"/>
                  <a:pt x="543" y="82"/>
                  <a:pt x="543" y="82"/>
                </a:cubicBezTo>
                <a:cubicBezTo>
                  <a:pt x="543" y="83"/>
                  <a:pt x="543" y="83"/>
                  <a:pt x="543" y="83"/>
                </a:cubicBezTo>
                <a:cubicBezTo>
                  <a:pt x="541" y="82"/>
                  <a:pt x="541" y="82"/>
                  <a:pt x="541" y="82"/>
                </a:cubicBezTo>
                <a:cubicBezTo>
                  <a:pt x="541" y="85"/>
                  <a:pt x="541" y="85"/>
                  <a:pt x="541" y="85"/>
                </a:cubicBezTo>
                <a:cubicBezTo>
                  <a:pt x="542" y="86"/>
                  <a:pt x="542" y="86"/>
                  <a:pt x="542" y="86"/>
                </a:cubicBezTo>
                <a:cubicBezTo>
                  <a:pt x="541" y="87"/>
                  <a:pt x="541" y="87"/>
                  <a:pt x="541" y="87"/>
                </a:cubicBezTo>
                <a:cubicBezTo>
                  <a:pt x="541" y="88"/>
                  <a:pt x="541" y="88"/>
                  <a:pt x="541" y="88"/>
                </a:cubicBezTo>
                <a:cubicBezTo>
                  <a:pt x="542" y="88"/>
                  <a:pt x="542" y="88"/>
                  <a:pt x="542" y="88"/>
                </a:cubicBezTo>
                <a:cubicBezTo>
                  <a:pt x="544" y="87"/>
                  <a:pt x="544" y="87"/>
                  <a:pt x="544" y="87"/>
                </a:cubicBezTo>
                <a:cubicBezTo>
                  <a:pt x="544" y="86"/>
                  <a:pt x="544" y="86"/>
                  <a:pt x="544" y="86"/>
                </a:cubicBezTo>
                <a:cubicBezTo>
                  <a:pt x="547" y="83"/>
                  <a:pt x="547" y="83"/>
                  <a:pt x="547" y="83"/>
                </a:cubicBezTo>
                <a:cubicBezTo>
                  <a:pt x="551" y="82"/>
                  <a:pt x="551" y="82"/>
                  <a:pt x="551" y="82"/>
                </a:cubicBezTo>
                <a:cubicBezTo>
                  <a:pt x="552" y="84"/>
                  <a:pt x="552" y="84"/>
                  <a:pt x="552" y="84"/>
                </a:cubicBezTo>
                <a:cubicBezTo>
                  <a:pt x="552" y="87"/>
                  <a:pt x="552" y="87"/>
                  <a:pt x="552" y="87"/>
                </a:cubicBezTo>
                <a:cubicBezTo>
                  <a:pt x="552" y="88"/>
                  <a:pt x="552" y="88"/>
                  <a:pt x="552" y="88"/>
                </a:cubicBezTo>
                <a:cubicBezTo>
                  <a:pt x="551" y="86"/>
                  <a:pt x="551" y="86"/>
                  <a:pt x="551" y="86"/>
                </a:cubicBezTo>
                <a:cubicBezTo>
                  <a:pt x="550" y="85"/>
                  <a:pt x="550" y="85"/>
                  <a:pt x="550" y="85"/>
                </a:cubicBezTo>
                <a:cubicBezTo>
                  <a:pt x="550" y="83"/>
                  <a:pt x="550" y="83"/>
                  <a:pt x="550" y="83"/>
                </a:cubicBezTo>
                <a:cubicBezTo>
                  <a:pt x="548" y="85"/>
                  <a:pt x="548" y="85"/>
                  <a:pt x="548" y="85"/>
                </a:cubicBezTo>
                <a:cubicBezTo>
                  <a:pt x="547" y="84"/>
                  <a:pt x="547" y="84"/>
                  <a:pt x="547" y="84"/>
                </a:cubicBezTo>
                <a:cubicBezTo>
                  <a:pt x="548" y="87"/>
                  <a:pt x="548" y="87"/>
                  <a:pt x="548" y="87"/>
                </a:cubicBezTo>
                <a:cubicBezTo>
                  <a:pt x="550" y="87"/>
                  <a:pt x="550" y="87"/>
                  <a:pt x="550" y="87"/>
                </a:cubicBezTo>
                <a:cubicBezTo>
                  <a:pt x="550" y="90"/>
                  <a:pt x="550" y="90"/>
                  <a:pt x="550" y="90"/>
                </a:cubicBezTo>
                <a:cubicBezTo>
                  <a:pt x="549" y="92"/>
                  <a:pt x="549" y="92"/>
                  <a:pt x="549" y="92"/>
                </a:cubicBezTo>
                <a:cubicBezTo>
                  <a:pt x="548" y="91"/>
                  <a:pt x="548" y="91"/>
                  <a:pt x="548" y="91"/>
                </a:cubicBezTo>
                <a:cubicBezTo>
                  <a:pt x="547" y="92"/>
                  <a:pt x="547" y="92"/>
                  <a:pt x="547" y="92"/>
                </a:cubicBezTo>
                <a:cubicBezTo>
                  <a:pt x="549" y="93"/>
                  <a:pt x="549" y="93"/>
                  <a:pt x="549" y="93"/>
                </a:cubicBezTo>
                <a:cubicBezTo>
                  <a:pt x="549" y="94"/>
                  <a:pt x="549" y="94"/>
                  <a:pt x="549" y="94"/>
                </a:cubicBezTo>
                <a:cubicBezTo>
                  <a:pt x="549" y="94"/>
                  <a:pt x="549" y="94"/>
                  <a:pt x="549" y="94"/>
                </a:cubicBezTo>
                <a:cubicBezTo>
                  <a:pt x="550" y="94"/>
                  <a:pt x="550" y="94"/>
                  <a:pt x="550" y="94"/>
                </a:cubicBezTo>
                <a:cubicBezTo>
                  <a:pt x="552" y="93"/>
                  <a:pt x="552" y="93"/>
                  <a:pt x="552" y="93"/>
                </a:cubicBezTo>
                <a:cubicBezTo>
                  <a:pt x="552" y="91"/>
                  <a:pt x="552" y="91"/>
                  <a:pt x="552" y="91"/>
                </a:cubicBezTo>
                <a:cubicBezTo>
                  <a:pt x="553" y="90"/>
                  <a:pt x="553" y="90"/>
                  <a:pt x="553" y="90"/>
                </a:cubicBezTo>
                <a:cubicBezTo>
                  <a:pt x="553" y="88"/>
                  <a:pt x="553" y="88"/>
                  <a:pt x="553" y="88"/>
                </a:cubicBezTo>
                <a:cubicBezTo>
                  <a:pt x="553" y="87"/>
                  <a:pt x="553" y="87"/>
                  <a:pt x="553" y="87"/>
                </a:cubicBezTo>
                <a:cubicBezTo>
                  <a:pt x="552" y="80"/>
                  <a:pt x="552" y="80"/>
                  <a:pt x="552" y="80"/>
                </a:cubicBezTo>
                <a:cubicBezTo>
                  <a:pt x="555" y="79"/>
                  <a:pt x="555" y="79"/>
                  <a:pt x="555" y="79"/>
                </a:cubicBezTo>
                <a:cubicBezTo>
                  <a:pt x="558" y="78"/>
                  <a:pt x="558" y="78"/>
                  <a:pt x="558" y="78"/>
                </a:cubicBezTo>
                <a:cubicBezTo>
                  <a:pt x="562" y="77"/>
                  <a:pt x="562" y="77"/>
                  <a:pt x="562" y="77"/>
                </a:cubicBezTo>
                <a:cubicBezTo>
                  <a:pt x="565" y="77"/>
                  <a:pt x="565" y="77"/>
                  <a:pt x="565" y="77"/>
                </a:cubicBezTo>
                <a:cubicBezTo>
                  <a:pt x="569" y="79"/>
                  <a:pt x="569" y="79"/>
                  <a:pt x="569" y="79"/>
                </a:cubicBezTo>
                <a:cubicBezTo>
                  <a:pt x="571" y="82"/>
                  <a:pt x="571" y="82"/>
                  <a:pt x="571" y="82"/>
                </a:cubicBezTo>
                <a:cubicBezTo>
                  <a:pt x="571" y="83"/>
                  <a:pt x="571" y="83"/>
                  <a:pt x="571" y="83"/>
                </a:cubicBezTo>
                <a:cubicBezTo>
                  <a:pt x="570" y="84"/>
                  <a:pt x="570" y="84"/>
                  <a:pt x="570" y="84"/>
                </a:cubicBezTo>
                <a:cubicBezTo>
                  <a:pt x="568" y="82"/>
                  <a:pt x="568" y="82"/>
                  <a:pt x="568" y="82"/>
                </a:cubicBezTo>
                <a:cubicBezTo>
                  <a:pt x="567" y="82"/>
                  <a:pt x="567" y="82"/>
                  <a:pt x="567" y="82"/>
                </a:cubicBezTo>
                <a:cubicBezTo>
                  <a:pt x="568" y="84"/>
                  <a:pt x="568" y="84"/>
                  <a:pt x="568" y="84"/>
                </a:cubicBezTo>
                <a:cubicBezTo>
                  <a:pt x="568" y="85"/>
                  <a:pt x="568" y="85"/>
                  <a:pt x="568" y="85"/>
                </a:cubicBezTo>
                <a:cubicBezTo>
                  <a:pt x="568" y="86"/>
                  <a:pt x="568" y="86"/>
                  <a:pt x="568" y="86"/>
                </a:cubicBezTo>
                <a:cubicBezTo>
                  <a:pt x="567" y="87"/>
                  <a:pt x="567" y="87"/>
                  <a:pt x="567" y="87"/>
                </a:cubicBezTo>
                <a:cubicBezTo>
                  <a:pt x="568" y="87"/>
                  <a:pt x="568" y="87"/>
                  <a:pt x="568" y="87"/>
                </a:cubicBezTo>
                <a:cubicBezTo>
                  <a:pt x="569" y="87"/>
                  <a:pt x="569" y="87"/>
                  <a:pt x="569" y="87"/>
                </a:cubicBezTo>
                <a:cubicBezTo>
                  <a:pt x="571" y="86"/>
                  <a:pt x="571" y="86"/>
                  <a:pt x="571" y="86"/>
                </a:cubicBezTo>
                <a:cubicBezTo>
                  <a:pt x="573" y="85"/>
                  <a:pt x="573" y="85"/>
                  <a:pt x="573" y="85"/>
                </a:cubicBezTo>
                <a:cubicBezTo>
                  <a:pt x="573" y="87"/>
                  <a:pt x="573" y="87"/>
                  <a:pt x="573" y="87"/>
                </a:cubicBezTo>
                <a:cubicBezTo>
                  <a:pt x="574" y="88"/>
                  <a:pt x="574" y="88"/>
                  <a:pt x="574" y="88"/>
                </a:cubicBezTo>
                <a:cubicBezTo>
                  <a:pt x="574" y="90"/>
                  <a:pt x="574" y="90"/>
                  <a:pt x="574" y="90"/>
                </a:cubicBezTo>
                <a:cubicBezTo>
                  <a:pt x="575" y="91"/>
                  <a:pt x="575" y="91"/>
                  <a:pt x="575" y="91"/>
                </a:cubicBezTo>
                <a:cubicBezTo>
                  <a:pt x="576" y="89"/>
                  <a:pt x="576" y="89"/>
                  <a:pt x="576" y="89"/>
                </a:cubicBezTo>
                <a:cubicBezTo>
                  <a:pt x="575" y="88"/>
                  <a:pt x="575" y="88"/>
                  <a:pt x="575" y="88"/>
                </a:cubicBezTo>
                <a:cubicBezTo>
                  <a:pt x="577" y="87"/>
                  <a:pt x="577" y="87"/>
                  <a:pt x="577" y="87"/>
                </a:cubicBezTo>
                <a:cubicBezTo>
                  <a:pt x="579" y="88"/>
                  <a:pt x="579" y="88"/>
                  <a:pt x="579" y="88"/>
                </a:cubicBezTo>
                <a:cubicBezTo>
                  <a:pt x="579" y="89"/>
                  <a:pt x="579" y="89"/>
                  <a:pt x="579" y="89"/>
                </a:cubicBezTo>
                <a:cubicBezTo>
                  <a:pt x="579" y="90"/>
                  <a:pt x="579" y="90"/>
                  <a:pt x="579" y="90"/>
                </a:cubicBezTo>
                <a:cubicBezTo>
                  <a:pt x="578" y="92"/>
                  <a:pt x="578" y="92"/>
                  <a:pt x="578" y="92"/>
                </a:cubicBezTo>
                <a:cubicBezTo>
                  <a:pt x="578" y="93"/>
                  <a:pt x="578" y="93"/>
                  <a:pt x="578" y="93"/>
                </a:cubicBezTo>
                <a:cubicBezTo>
                  <a:pt x="579" y="92"/>
                  <a:pt x="579" y="92"/>
                  <a:pt x="579" y="92"/>
                </a:cubicBezTo>
                <a:cubicBezTo>
                  <a:pt x="580" y="91"/>
                  <a:pt x="580" y="91"/>
                  <a:pt x="580" y="91"/>
                </a:cubicBezTo>
                <a:cubicBezTo>
                  <a:pt x="581" y="90"/>
                  <a:pt x="581" y="90"/>
                  <a:pt x="581" y="90"/>
                </a:cubicBezTo>
                <a:cubicBezTo>
                  <a:pt x="581" y="91"/>
                  <a:pt x="581" y="91"/>
                  <a:pt x="581" y="91"/>
                </a:cubicBezTo>
                <a:cubicBezTo>
                  <a:pt x="581" y="90"/>
                  <a:pt x="581" y="90"/>
                  <a:pt x="581" y="90"/>
                </a:cubicBezTo>
                <a:cubicBezTo>
                  <a:pt x="582" y="87"/>
                  <a:pt x="582" y="87"/>
                  <a:pt x="582" y="87"/>
                </a:cubicBezTo>
                <a:cubicBezTo>
                  <a:pt x="583" y="87"/>
                  <a:pt x="583" y="87"/>
                  <a:pt x="583" y="87"/>
                </a:cubicBezTo>
                <a:cubicBezTo>
                  <a:pt x="584" y="87"/>
                  <a:pt x="584" y="87"/>
                  <a:pt x="584" y="87"/>
                </a:cubicBezTo>
                <a:cubicBezTo>
                  <a:pt x="587" y="89"/>
                  <a:pt x="587" y="89"/>
                  <a:pt x="587" y="89"/>
                </a:cubicBezTo>
                <a:cubicBezTo>
                  <a:pt x="590" y="90"/>
                  <a:pt x="590" y="90"/>
                  <a:pt x="590" y="90"/>
                </a:cubicBezTo>
                <a:cubicBezTo>
                  <a:pt x="592" y="92"/>
                  <a:pt x="592" y="92"/>
                  <a:pt x="592" y="92"/>
                </a:cubicBezTo>
                <a:cubicBezTo>
                  <a:pt x="591" y="93"/>
                  <a:pt x="591" y="93"/>
                  <a:pt x="591" y="93"/>
                </a:cubicBezTo>
                <a:cubicBezTo>
                  <a:pt x="589" y="94"/>
                  <a:pt x="589" y="94"/>
                  <a:pt x="589" y="94"/>
                </a:cubicBezTo>
                <a:cubicBezTo>
                  <a:pt x="588" y="96"/>
                  <a:pt x="588" y="96"/>
                  <a:pt x="588" y="96"/>
                </a:cubicBezTo>
                <a:cubicBezTo>
                  <a:pt x="590" y="95"/>
                  <a:pt x="590" y="95"/>
                  <a:pt x="590" y="95"/>
                </a:cubicBezTo>
                <a:cubicBezTo>
                  <a:pt x="592" y="94"/>
                  <a:pt x="592" y="94"/>
                  <a:pt x="592" y="94"/>
                </a:cubicBezTo>
                <a:cubicBezTo>
                  <a:pt x="594" y="95"/>
                  <a:pt x="594" y="95"/>
                  <a:pt x="594" y="95"/>
                </a:cubicBezTo>
                <a:cubicBezTo>
                  <a:pt x="596" y="94"/>
                  <a:pt x="596" y="94"/>
                  <a:pt x="596" y="94"/>
                </a:cubicBezTo>
                <a:cubicBezTo>
                  <a:pt x="598" y="93"/>
                  <a:pt x="598" y="93"/>
                  <a:pt x="598" y="93"/>
                </a:cubicBezTo>
                <a:cubicBezTo>
                  <a:pt x="599" y="92"/>
                  <a:pt x="599" y="92"/>
                  <a:pt x="599" y="92"/>
                </a:cubicBezTo>
                <a:cubicBezTo>
                  <a:pt x="602" y="90"/>
                  <a:pt x="602" y="90"/>
                  <a:pt x="602" y="90"/>
                </a:cubicBezTo>
                <a:cubicBezTo>
                  <a:pt x="603" y="90"/>
                  <a:pt x="603" y="90"/>
                  <a:pt x="603" y="90"/>
                </a:cubicBezTo>
                <a:cubicBezTo>
                  <a:pt x="605" y="88"/>
                  <a:pt x="605" y="88"/>
                  <a:pt x="605" y="88"/>
                </a:cubicBezTo>
                <a:cubicBezTo>
                  <a:pt x="607" y="87"/>
                  <a:pt x="607" y="87"/>
                  <a:pt x="607" y="87"/>
                </a:cubicBezTo>
                <a:cubicBezTo>
                  <a:pt x="612" y="85"/>
                  <a:pt x="612" y="85"/>
                  <a:pt x="612" y="85"/>
                </a:cubicBezTo>
                <a:cubicBezTo>
                  <a:pt x="614" y="84"/>
                  <a:pt x="614" y="84"/>
                  <a:pt x="614" y="84"/>
                </a:cubicBezTo>
                <a:cubicBezTo>
                  <a:pt x="615" y="84"/>
                  <a:pt x="615" y="84"/>
                  <a:pt x="615" y="84"/>
                </a:cubicBezTo>
                <a:cubicBezTo>
                  <a:pt x="615" y="84"/>
                  <a:pt x="615" y="84"/>
                  <a:pt x="615" y="84"/>
                </a:cubicBezTo>
                <a:cubicBezTo>
                  <a:pt x="618" y="82"/>
                  <a:pt x="618" y="82"/>
                  <a:pt x="618" y="82"/>
                </a:cubicBezTo>
                <a:cubicBezTo>
                  <a:pt x="620" y="82"/>
                  <a:pt x="620" y="82"/>
                  <a:pt x="620" y="82"/>
                </a:cubicBezTo>
                <a:cubicBezTo>
                  <a:pt x="623" y="82"/>
                  <a:pt x="623" y="82"/>
                  <a:pt x="623" y="82"/>
                </a:cubicBezTo>
                <a:cubicBezTo>
                  <a:pt x="629" y="84"/>
                  <a:pt x="629" y="84"/>
                  <a:pt x="629" y="84"/>
                </a:cubicBezTo>
                <a:cubicBezTo>
                  <a:pt x="631" y="87"/>
                  <a:pt x="631" y="87"/>
                  <a:pt x="631" y="87"/>
                </a:cubicBezTo>
                <a:cubicBezTo>
                  <a:pt x="634" y="88"/>
                  <a:pt x="634" y="88"/>
                  <a:pt x="634" y="88"/>
                </a:cubicBezTo>
                <a:cubicBezTo>
                  <a:pt x="636" y="91"/>
                  <a:pt x="636" y="91"/>
                  <a:pt x="636" y="91"/>
                </a:cubicBezTo>
                <a:cubicBezTo>
                  <a:pt x="638" y="93"/>
                  <a:pt x="638" y="93"/>
                  <a:pt x="638" y="93"/>
                </a:cubicBezTo>
                <a:cubicBezTo>
                  <a:pt x="638" y="94"/>
                  <a:pt x="638" y="94"/>
                  <a:pt x="638" y="94"/>
                </a:cubicBezTo>
                <a:cubicBezTo>
                  <a:pt x="638" y="95"/>
                  <a:pt x="638" y="95"/>
                  <a:pt x="638" y="95"/>
                </a:cubicBezTo>
                <a:cubicBezTo>
                  <a:pt x="638" y="97"/>
                  <a:pt x="638" y="97"/>
                  <a:pt x="638" y="97"/>
                </a:cubicBezTo>
                <a:cubicBezTo>
                  <a:pt x="639" y="99"/>
                  <a:pt x="639" y="99"/>
                  <a:pt x="639" y="99"/>
                </a:cubicBezTo>
                <a:cubicBezTo>
                  <a:pt x="640" y="100"/>
                  <a:pt x="640" y="100"/>
                  <a:pt x="640" y="100"/>
                </a:cubicBezTo>
                <a:cubicBezTo>
                  <a:pt x="639" y="102"/>
                  <a:pt x="639" y="102"/>
                  <a:pt x="639" y="102"/>
                </a:cubicBezTo>
                <a:cubicBezTo>
                  <a:pt x="640" y="101"/>
                  <a:pt x="640" y="101"/>
                  <a:pt x="640" y="101"/>
                </a:cubicBezTo>
                <a:cubicBezTo>
                  <a:pt x="642" y="100"/>
                  <a:pt x="642" y="100"/>
                  <a:pt x="642" y="100"/>
                </a:cubicBezTo>
                <a:cubicBezTo>
                  <a:pt x="643" y="100"/>
                  <a:pt x="643" y="100"/>
                  <a:pt x="643" y="100"/>
                </a:cubicBezTo>
                <a:cubicBezTo>
                  <a:pt x="644" y="100"/>
                  <a:pt x="644" y="100"/>
                  <a:pt x="644" y="100"/>
                </a:cubicBezTo>
                <a:cubicBezTo>
                  <a:pt x="644" y="99"/>
                  <a:pt x="644" y="99"/>
                  <a:pt x="644" y="99"/>
                </a:cubicBezTo>
                <a:cubicBezTo>
                  <a:pt x="646" y="99"/>
                  <a:pt x="646" y="99"/>
                  <a:pt x="646" y="99"/>
                </a:cubicBezTo>
                <a:cubicBezTo>
                  <a:pt x="647" y="100"/>
                  <a:pt x="647" y="100"/>
                  <a:pt x="647" y="100"/>
                </a:cubicBezTo>
                <a:cubicBezTo>
                  <a:pt x="648" y="102"/>
                  <a:pt x="648" y="102"/>
                  <a:pt x="648" y="102"/>
                </a:cubicBezTo>
                <a:cubicBezTo>
                  <a:pt x="648" y="100"/>
                  <a:pt x="648" y="100"/>
                  <a:pt x="648" y="100"/>
                </a:cubicBezTo>
                <a:cubicBezTo>
                  <a:pt x="648" y="98"/>
                  <a:pt x="648" y="98"/>
                  <a:pt x="648" y="98"/>
                </a:cubicBezTo>
                <a:cubicBezTo>
                  <a:pt x="649" y="98"/>
                  <a:pt x="649" y="98"/>
                  <a:pt x="649" y="98"/>
                </a:cubicBezTo>
                <a:cubicBezTo>
                  <a:pt x="650" y="100"/>
                  <a:pt x="650" y="100"/>
                  <a:pt x="650" y="100"/>
                </a:cubicBezTo>
                <a:cubicBezTo>
                  <a:pt x="652" y="102"/>
                  <a:pt x="652" y="102"/>
                  <a:pt x="652" y="102"/>
                </a:cubicBezTo>
                <a:cubicBezTo>
                  <a:pt x="652" y="104"/>
                  <a:pt x="652" y="104"/>
                  <a:pt x="652" y="104"/>
                </a:cubicBezTo>
                <a:cubicBezTo>
                  <a:pt x="653" y="104"/>
                  <a:pt x="653" y="104"/>
                  <a:pt x="653" y="104"/>
                </a:cubicBezTo>
                <a:cubicBezTo>
                  <a:pt x="655" y="107"/>
                  <a:pt x="655" y="107"/>
                  <a:pt x="655" y="107"/>
                </a:cubicBezTo>
                <a:cubicBezTo>
                  <a:pt x="655" y="106"/>
                  <a:pt x="655" y="106"/>
                  <a:pt x="655" y="106"/>
                </a:cubicBezTo>
                <a:cubicBezTo>
                  <a:pt x="654" y="104"/>
                  <a:pt x="654" y="104"/>
                  <a:pt x="654" y="104"/>
                </a:cubicBezTo>
                <a:cubicBezTo>
                  <a:pt x="653" y="103"/>
                  <a:pt x="653" y="103"/>
                  <a:pt x="653" y="103"/>
                </a:cubicBezTo>
                <a:cubicBezTo>
                  <a:pt x="653" y="102"/>
                  <a:pt x="653" y="102"/>
                  <a:pt x="653" y="102"/>
                </a:cubicBezTo>
                <a:cubicBezTo>
                  <a:pt x="654" y="103"/>
                  <a:pt x="654" y="103"/>
                  <a:pt x="654" y="103"/>
                </a:cubicBezTo>
                <a:cubicBezTo>
                  <a:pt x="655" y="103"/>
                  <a:pt x="655" y="103"/>
                  <a:pt x="655" y="103"/>
                </a:cubicBezTo>
                <a:cubicBezTo>
                  <a:pt x="657" y="104"/>
                  <a:pt x="657" y="104"/>
                  <a:pt x="657" y="104"/>
                </a:cubicBezTo>
                <a:cubicBezTo>
                  <a:pt x="658" y="106"/>
                  <a:pt x="658" y="106"/>
                  <a:pt x="658" y="106"/>
                </a:cubicBezTo>
                <a:cubicBezTo>
                  <a:pt x="658" y="104"/>
                  <a:pt x="658" y="104"/>
                  <a:pt x="658" y="104"/>
                </a:cubicBezTo>
                <a:cubicBezTo>
                  <a:pt x="656" y="101"/>
                  <a:pt x="656" y="101"/>
                  <a:pt x="656" y="101"/>
                </a:cubicBezTo>
                <a:cubicBezTo>
                  <a:pt x="656" y="98"/>
                  <a:pt x="656" y="98"/>
                  <a:pt x="656" y="98"/>
                </a:cubicBezTo>
                <a:cubicBezTo>
                  <a:pt x="656" y="96"/>
                  <a:pt x="656" y="96"/>
                  <a:pt x="656" y="96"/>
                </a:cubicBezTo>
                <a:cubicBezTo>
                  <a:pt x="657" y="94"/>
                  <a:pt x="657" y="94"/>
                  <a:pt x="657" y="94"/>
                </a:cubicBezTo>
                <a:cubicBezTo>
                  <a:pt x="660" y="94"/>
                  <a:pt x="660" y="94"/>
                  <a:pt x="660" y="94"/>
                </a:cubicBezTo>
                <a:cubicBezTo>
                  <a:pt x="661" y="93"/>
                  <a:pt x="661" y="93"/>
                  <a:pt x="661" y="93"/>
                </a:cubicBezTo>
                <a:cubicBezTo>
                  <a:pt x="663" y="92"/>
                  <a:pt x="663" y="92"/>
                  <a:pt x="663" y="92"/>
                </a:cubicBezTo>
                <a:cubicBezTo>
                  <a:pt x="663" y="91"/>
                  <a:pt x="663" y="91"/>
                  <a:pt x="663" y="91"/>
                </a:cubicBezTo>
                <a:cubicBezTo>
                  <a:pt x="663" y="91"/>
                  <a:pt x="663" y="91"/>
                  <a:pt x="663" y="91"/>
                </a:cubicBezTo>
                <a:cubicBezTo>
                  <a:pt x="664" y="91"/>
                  <a:pt x="664" y="91"/>
                  <a:pt x="664" y="91"/>
                </a:cubicBezTo>
                <a:cubicBezTo>
                  <a:pt x="665" y="92"/>
                  <a:pt x="665" y="92"/>
                  <a:pt x="665" y="92"/>
                </a:cubicBezTo>
                <a:cubicBezTo>
                  <a:pt x="667" y="92"/>
                  <a:pt x="667" y="92"/>
                  <a:pt x="667" y="92"/>
                </a:cubicBezTo>
                <a:cubicBezTo>
                  <a:pt x="668" y="92"/>
                  <a:pt x="668" y="92"/>
                  <a:pt x="668" y="92"/>
                </a:cubicBezTo>
                <a:cubicBezTo>
                  <a:pt x="670" y="90"/>
                  <a:pt x="670" y="90"/>
                  <a:pt x="670" y="90"/>
                </a:cubicBezTo>
                <a:cubicBezTo>
                  <a:pt x="671" y="91"/>
                  <a:pt x="671" y="91"/>
                  <a:pt x="671" y="91"/>
                </a:cubicBezTo>
                <a:cubicBezTo>
                  <a:pt x="673" y="90"/>
                  <a:pt x="673" y="90"/>
                  <a:pt x="673" y="90"/>
                </a:cubicBezTo>
                <a:cubicBezTo>
                  <a:pt x="676" y="90"/>
                  <a:pt x="676" y="90"/>
                  <a:pt x="676" y="90"/>
                </a:cubicBezTo>
                <a:cubicBezTo>
                  <a:pt x="677" y="89"/>
                  <a:pt x="677" y="89"/>
                  <a:pt x="677" y="89"/>
                </a:cubicBezTo>
                <a:cubicBezTo>
                  <a:pt x="678" y="89"/>
                  <a:pt x="678" y="89"/>
                  <a:pt x="678" y="89"/>
                </a:cubicBezTo>
                <a:cubicBezTo>
                  <a:pt x="678" y="90"/>
                  <a:pt x="678" y="90"/>
                  <a:pt x="678" y="90"/>
                </a:cubicBezTo>
                <a:cubicBezTo>
                  <a:pt x="679" y="91"/>
                  <a:pt x="679" y="91"/>
                  <a:pt x="679" y="91"/>
                </a:cubicBezTo>
                <a:cubicBezTo>
                  <a:pt x="679" y="90"/>
                  <a:pt x="679" y="90"/>
                  <a:pt x="679" y="90"/>
                </a:cubicBezTo>
                <a:cubicBezTo>
                  <a:pt x="681" y="88"/>
                  <a:pt x="681" y="88"/>
                  <a:pt x="681" y="88"/>
                </a:cubicBezTo>
                <a:cubicBezTo>
                  <a:pt x="680" y="87"/>
                  <a:pt x="680" y="87"/>
                  <a:pt x="680" y="87"/>
                </a:cubicBezTo>
                <a:cubicBezTo>
                  <a:pt x="680" y="85"/>
                  <a:pt x="680" y="85"/>
                  <a:pt x="680" y="85"/>
                </a:cubicBezTo>
                <a:cubicBezTo>
                  <a:pt x="681" y="84"/>
                  <a:pt x="681" y="84"/>
                  <a:pt x="681" y="84"/>
                </a:cubicBezTo>
                <a:cubicBezTo>
                  <a:pt x="681" y="83"/>
                  <a:pt x="681" y="83"/>
                  <a:pt x="681" y="83"/>
                </a:cubicBezTo>
                <a:cubicBezTo>
                  <a:pt x="683" y="83"/>
                  <a:pt x="683" y="83"/>
                  <a:pt x="683" y="83"/>
                </a:cubicBezTo>
                <a:cubicBezTo>
                  <a:pt x="684" y="85"/>
                  <a:pt x="684" y="85"/>
                  <a:pt x="684" y="85"/>
                </a:cubicBezTo>
                <a:cubicBezTo>
                  <a:pt x="684" y="86"/>
                  <a:pt x="684" y="86"/>
                  <a:pt x="684" y="86"/>
                </a:cubicBezTo>
                <a:cubicBezTo>
                  <a:pt x="686" y="86"/>
                  <a:pt x="686" y="86"/>
                  <a:pt x="686" y="86"/>
                </a:cubicBezTo>
                <a:cubicBezTo>
                  <a:pt x="687" y="87"/>
                  <a:pt x="687" y="87"/>
                  <a:pt x="687" y="87"/>
                </a:cubicBezTo>
                <a:cubicBezTo>
                  <a:pt x="687" y="88"/>
                  <a:pt x="687" y="88"/>
                  <a:pt x="687" y="88"/>
                </a:cubicBezTo>
                <a:cubicBezTo>
                  <a:pt x="689" y="90"/>
                  <a:pt x="689" y="90"/>
                  <a:pt x="689" y="90"/>
                </a:cubicBezTo>
                <a:cubicBezTo>
                  <a:pt x="690" y="91"/>
                  <a:pt x="690" y="91"/>
                  <a:pt x="690" y="91"/>
                </a:cubicBezTo>
                <a:cubicBezTo>
                  <a:pt x="691" y="91"/>
                  <a:pt x="691" y="91"/>
                  <a:pt x="691" y="91"/>
                </a:cubicBezTo>
                <a:cubicBezTo>
                  <a:pt x="694" y="91"/>
                  <a:pt x="694" y="91"/>
                  <a:pt x="694" y="91"/>
                </a:cubicBezTo>
                <a:cubicBezTo>
                  <a:pt x="695" y="91"/>
                  <a:pt x="695" y="91"/>
                  <a:pt x="695" y="91"/>
                </a:cubicBezTo>
                <a:cubicBezTo>
                  <a:pt x="696" y="91"/>
                  <a:pt x="696" y="91"/>
                  <a:pt x="696" y="91"/>
                </a:cubicBezTo>
                <a:cubicBezTo>
                  <a:pt x="698" y="94"/>
                  <a:pt x="698" y="94"/>
                  <a:pt x="698" y="94"/>
                </a:cubicBezTo>
                <a:cubicBezTo>
                  <a:pt x="698" y="95"/>
                  <a:pt x="698" y="95"/>
                  <a:pt x="698" y="95"/>
                </a:cubicBezTo>
                <a:cubicBezTo>
                  <a:pt x="699" y="96"/>
                  <a:pt x="699" y="96"/>
                  <a:pt x="699" y="96"/>
                </a:cubicBezTo>
                <a:cubicBezTo>
                  <a:pt x="701" y="96"/>
                  <a:pt x="701" y="96"/>
                  <a:pt x="701" y="96"/>
                </a:cubicBezTo>
                <a:cubicBezTo>
                  <a:pt x="702" y="96"/>
                  <a:pt x="702" y="96"/>
                  <a:pt x="702" y="96"/>
                </a:cubicBezTo>
                <a:cubicBezTo>
                  <a:pt x="703" y="95"/>
                  <a:pt x="703" y="95"/>
                  <a:pt x="703" y="95"/>
                </a:cubicBezTo>
                <a:cubicBezTo>
                  <a:pt x="703" y="94"/>
                  <a:pt x="703" y="94"/>
                  <a:pt x="703" y="94"/>
                </a:cubicBezTo>
                <a:cubicBezTo>
                  <a:pt x="705" y="93"/>
                  <a:pt x="705" y="93"/>
                  <a:pt x="705" y="93"/>
                </a:cubicBezTo>
                <a:cubicBezTo>
                  <a:pt x="705" y="94"/>
                  <a:pt x="705" y="94"/>
                  <a:pt x="705" y="94"/>
                </a:cubicBezTo>
                <a:cubicBezTo>
                  <a:pt x="706" y="93"/>
                  <a:pt x="706" y="93"/>
                  <a:pt x="706" y="93"/>
                </a:cubicBezTo>
                <a:cubicBezTo>
                  <a:pt x="705" y="92"/>
                  <a:pt x="705" y="92"/>
                  <a:pt x="705" y="92"/>
                </a:cubicBezTo>
                <a:cubicBezTo>
                  <a:pt x="706" y="92"/>
                  <a:pt x="706" y="92"/>
                  <a:pt x="706" y="92"/>
                </a:cubicBezTo>
                <a:cubicBezTo>
                  <a:pt x="705" y="91"/>
                  <a:pt x="705" y="91"/>
                  <a:pt x="705" y="91"/>
                </a:cubicBezTo>
                <a:cubicBezTo>
                  <a:pt x="705" y="90"/>
                  <a:pt x="705" y="90"/>
                  <a:pt x="705" y="90"/>
                </a:cubicBezTo>
                <a:cubicBezTo>
                  <a:pt x="704" y="88"/>
                  <a:pt x="704" y="88"/>
                  <a:pt x="704" y="88"/>
                </a:cubicBezTo>
                <a:cubicBezTo>
                  <a:pt x="702" y="88"/>
                  <a:pt x="702" y="88"/>
                  <a:pt x="702" y="88"/>
                </a:cubicBezTo>
                <a:cubicBezTo>
                  <a:pt x="702" y="86"/>
                  <a:pt x="702" y="86"/>
                  <a:pt x="702" y="86"/>
                </a:cubicBezTo>
                <a:cubicBezTo>
                  <a:pt x="700" y="83"/>
                  <a:pt x="700" y="83"/>
                  <a:pt x="700" y="83"/>
                </a:cubicBezTo>
                <a:cubicBezTo>
                  <a:pt x="699" y="83"/>
                  <a:pt x="699" y="83"/>
                  <a:pt x="699" y="83"/>
                </a:cubicBezTo>
                <a:cubicBezTo>
                  <a:pt x="698" y="82"/>
                  <a:pt x="698" y="82"/>
                  <a:pt x="698" y="82"/>
                </a:cubicBezTo>
                <a:cubicBezTo>
                  <a:pt x="696" y="81"/>
                  <a:pt x="696" y="81"/>
                  <a:pt x="696" y="81"/>
                </a:cubicBezTo>
                <a:cubicBezTo>
                  <a:pt x="695" y="82"/>
                  <a:pt x="695" y="82"/>
                  <a:pt x="695" y="82"/>
                </a:cubicBezTo>
                <a:cubicBezTo>
                  <a:pt x="694" y="82"/>
                  <a:pt x="694" y="82"/>
                  <a:pt x="694" y="82"/>
                </a:cubicBezTo>
                <a:cubicBezTo>
                  <a:pt x="694" y="81"/>
                  <a:pt x="694" y="81"/>
                  <a:pt x="694" y="81"/>
                </a:cubicBezTo>
                <a:cubicBezTo>
                  <a:pt x="695" y="80"/>
                  <a:pt x="695" y="80"/>
                  <a:pt x="695" y="80"/>
                </a:cubicBezTo>
                <a:cubicBezTo>
                  <a:pt x="694" y="78"/>
                  <a:pt x="694" y="78"/>
                  <a:pt x="694" y="78"/>
                </a:cubicBezTo>
                <a:cubicBezTo>
                  <a:pt x="693" y="77"/>
                  <a:pt x="693" y="77"/>
                  <a:pt x="693" y="77"/>
                </a:cubicBezTo>
                <a:cubicBezTo>
                  <a:pt x="693" y="76"/>
                  <a:pt x="693" y="76"/>
                  <a:pt x="693" y="76"/>
                </a:cubicBezTo>
                <a:cubicBezTo>
                  <a:pt x="692" y="74"/>
                  <a:pt x="692" y="74"/>
                  <a:pt x="692" y="74"/>
                </a:cubicBezTo>
                <a:cubicBezTo>
                  <a:pt x="690" y="73"/>
                  <a:pt x="690" y="73"/>
                  <a:pt x="690" y="73"/>
                </a:cubicBezTo>
                <a:cubicBezTo>
                  <a:pt x="690" y="72"/>
                  <a:pt x="690" y="72"/>
                  <a:pt x="690" y="72"/>
                </a:cubicBezTo>
                <a:cubicBezTo>
                  <a:pt x="693" y="72"/>
                  <a:pt x="693" y="72"/>
                  <a:pt x="693" y="72"/>
                </a:cubicBezTo>
                <a:cubicBezTo>
                  <a:pt x="694" y="72"/>
                  <a:pt x="694" y="72"/>
                  <a:pt x="694" y="72"/>
                </a:cubicBezTo>
                <a:cubicBezTo>
                  <a:pt x="697" y="72"/>
                  <a:pt x="697" y="72"/>
                  <a:pt x="697" y="72"/>
                </a:cubicBezTo>
                <a:cubicBezTo>
                  <a:pt x="700" y="72"/>
                  <a:pt x="700" y="72"/>
                  <a:pt x="700" y="72"/>
                </a:cubicBezTo>
                <a:cubicBezTo>
                  <a:pt x="700" y="71"/>
                  <a:pt x="700" y="71"/>
                  <a:pt x="700" y="71"/>
                </a:cubicBezTo>
                <a:cubicBezTo>
                  <a:pt x="702" y="71"/>
                  <a:pt x="702" y="71"/>
                  <a:pt x="702" y="71"/>
                </a:cubicBezTo>
                <a:cubicBezTo>
                  <a:pt x="703" y="72"/>
                  <a:pt x="703" y="72"/>
                  <a:pt x="703" y="72"/>
                </a:cubicBezTo>
                <a:cubicBezTo>
                  <a:pt x="704" y="71"/>
                  <a:pt x="704" y="71"/>
                  <a:pt x="704" y="71"/>
                </a:cubicBezTo>
                <a:cubicBezTo>
                  <a:pt x="705" y="71"/>
                  <a:pt x="705" y="71"/>
                  <a:pt x="705" y="71"/>
                </a:cubicBezTo>
                <a:cubicBezTo>
                  <a:pt x="705" y="70"/>
                  <a:pt x="705" y="70"/>
                  <a:pt x="705" y="70"/>
                </a:cubicBezTo>
                <a:cubicBezTo>
                  <a:pt x="707" y="70"/>
                  <a:pt x="707" y="70"/>
                  <a:pt x="707" y="70"/>
                </a:cubicBezTo>
                <a:cubicBezTo>
                  <a:pt x="708" y="71"/>
                  <a:pt x="708" y="71"/>
                  <a:pt x="708" y="71"/>
                </a:cubicBezTo>
                <a:cubicBezTo>
                  <a:pt x="708" y="71"/>
                  <a:pt x="708" y="71"/>
                  <a:pt x="708" y="71"/>
                </a:cubicBezTo>
                <a:cubicBezTo>
                  <a:pt x="709" y="69"/>
                  <a:pt x="709" y="69"/>
                  <a:pt x="709" y="69"/>
                </a:cubicBezTo>
                <a:cubicBezTo>
                  <a:pt x="710" y="70"/>
                  <a:pt x="710" y="70"/>
                  <a:pt x="710" y="70"/>
                </a:cubicBezTo>
                <a:cubicBezTo>
                  <a:pt x="710" y="69"/>
                  <a:pt x="710" y="69"/>
                  <a:pt x="710" y="69"/>
                </a:cubicBezTo>
                <a:cubicBezTo>
                  <a:pt x="715" y="67"/>
                  <a:pt x="715" y="67"/>
                  <a:pt x="715" y="67"/>
                </a:cubicBezTo>
                <a:cubicBezTo>
                  <a:pt x="716" y="69"/>
                  <a:pt x="716" y="69"/>
                  <a:pt x="716" y="69"/>
                </a:cubicBezTo>
                <a:cubicBezTo>
                  <a:pt x="716" y="68"/>
                  <a:pt x="716" y="68"/>
                  <a:pt x="716" y="68"/>
                </a:cubicBezTo>
                <a:cubicBezTo>
                  <a:pt x="717" y="66"/>
                  <a:pt x="717" y="66"/>
                  <a:pt x="717" y="66"/>
                </a:cubicBezTo>
                <a:cubicBezTo>
                  <a:pt x="717" y="67"/>
                  <a:pt x="717" y="67"/>
                  <a:pt x="717" y="67"/>
                </a:cubicBezTo>
                <a:cubicBezTo>
                  <a:pt x="719" y="67"/>
                  <a:pt x="719" y="67"/>
                  <a:pt x="719" y="67"/>
                </a:cubicBezTo>
                <a:cubicBezTo>
                  <a:pt x="720" y="66"/>
                  <a:pt x="720" y="66"/>
                  <a:pt x="720" y="66"/>
                </a:cubicBezTo>
                <a:cubicBezTo>
                  <a:pt x="721" y="67"/>
                  <a:pt x="721" y="67"/>
                  <a:pt x="721" y="67"/>
                </a:cubicBezTo>
                <a:cubicBezTo>
                  <a:pt x="723" y="67"/>
                  <a:pt x="723" y="67"/>
                  <a:pt x="723" y="67"/>
                </a:cubicBezTo>
                <a:cubicBezTo>
                  <a:pt x="724" y="67"/>
                  <a:pt x="724" y="67"/>
                  <a:pt x="724" y="67"/>
                </a:cubicBezTo>
                <a:cubicBezTo>
                  <a:pt x="725" y="68"/>
                  <a:pt x="725" y="68"/>
                  <a:pt x="725" y="68"/>
                </a:cubicBezTo>
                <a:cubicBezTo>
                  <a:pt x="726" y="68"/>
                  <a:pt x="726" y="68"/>
                  <a:pt x="726" y="68"/>
                </a:cubicBezTo>
                <a:cubicBezTo>
                  <a:pt x="727" y="67"/>
                  <a:pt x="727" y="67"/>
                  <a:pt x="727" y="67"/>
                </a:cubicBezTo>
                <a:cubicBezTo>
                  <a:pt x="729" y="67"/>
                  <a:pt x="729" y="67"/>
                  <a:pt x="729" y="67"/>
                </a:cubicBezTo>
                <a:cubicBezTo>
                  <a:pt x="733" y="68"/>
                  <a:pt x="733" y="68"/>
                  <a:pt x="733" y="68"/>
                </a:cubicBezTo>
                <a:cubicBezTo>
                  <a:pt x="734" y="69"/>
                  <a:pt x="734" y="69"/>
                  <a:pt x="734" y="69"/>
                </a:cubicBezTo>
                <a:cubicBezTo>
                  <a:pt x="735" y="69"/>
                  <a:pt x="735" y="69"/>
                  <a:pt x="735" y="69"/>
                </a:cubicBezTo>
                <a:cubicBezTo>
                  <a:pt x="734" y="68"/>
                  <a:pt x="734" y="68"/>
                  <a:pt x="734" y="68"/>
                </a:cubicBezTo>
                <a:cubicBezTo>
                  <a:pt x="736" y="68"/>
                  <a:pt x="736" y="68"/>
                  <a:pt x="736" y="68"/>
                </a:cubicBezTo>
                <a:cubicBezTo>
                  <a:pt x="737" y="69"/>
                  <a:pt x="737" y="69"/>
                  <a:pt x="737" y="69"/>
                </a:cubicBezTo>
                <a:cubicBezTo>
                  <a:pt x="736" y="69"/>
                  <a:pt x="736" y="69"/>
                  <a:pt x="736" y="69"/>
                </a:cubicBezTo>
                <a:cubicBezTo>
                  <a:pt x="737" y="70"/>
                  <a:pt x="737" y="70"/>
                  <a:pt x="737" y="70"/>
                </a:cubicBezTo>
                <a:cubicBezTo>
                  <a:pt x="739" y="69"/>
                  <a:pt x="739" y="69"/>
                  <a:pt x="739" y="69"/>
                </a:cubicBezTo>
                <a:cubicBezTo>
                  <a:pt x="743" y="70"/>
                  <a:pt x="743" y="70"/>
                  <a:pt x="743" y="70"/>
                </a:cubicBezTo>
                <a:cubicBezTo>
                  <a:pt x="746" y="72"/>
                  <a:pt x="746" y="72"/>
                  <a:pt x="746" y="72"/>
                </a:cubicBezTo>
                <a:cubicBezTo>
                  <a:pt x="746" y="73"/>
                  <a:pt x="746" y="73"/>
                  <a:pt x="746" y="73"/>
                </a:cubicBezTo>
                <a:cubicBezTo>
                  <a:pt x="745" y="72"/>
                  <a:pt x="745" y="72"/>
                  <a:pt x="745" y="72"/>
                </a:cubicBezTo>
                <a:cubicBezTo>
                  <a:pt x="743" y="71"/>
                  <a:pt x="743" y="71"/>
                  <a:pt x="743" y="71"/>
                </a:cubicBezTo>
                <a:cubicBezTo>
                  <a:pt x="743" y="72"/>
                  <a:pt x="743" y="72"/>
                  <a:pt x="743" y="72"/>
                </a:cubicBezTo>
                <a:cubicBezTo>
                  <a:pt x="747" y="73"/>
                  <a:pt x="747" y="73"/>
                  <a:pt x="747" y="73"/>
                </a:cubicBezTo>
                <a:cubicBezTo>
                  <a:pt x="748" y="73"/>
                  <a:pt x="748" y="73"/>
                  <a:pt x="748" y="73"/>
                </a:cubicBezTo>
                <a:cubicBezTo>
                  <a:pt x="749" y="72"/>
                  <a:pt x="749" y="72"/>
                  <a:pt x="749" y="72"/>
                </a:cubicBezTo>
                <a:cubicBezTo>
                  <a:pt x="751" y="72"/>
                  <a:pt x="751" y="72"/>
                  <a:pt x="751" y="72"/>
                </a:cubicBezTo>
                <a:cubicBezTo>
                  <a:pt x="752" y="72"/>
                  <a:pt x="752" y="72"/>
                  <a:pt x="752" y="72"/>
                </a:cubicBezTo>
                <a:cubicBezTo>
                  <a:pt x="752" y="71"/>
                  <a:pt x="752" y="71"/>
                  <a:pt x="752" y="71"/>
                </a:cubicBezTo>
                <a:cubicBezTo>
                  <a:pt x="753" y="71"/>
                  <a:pt x="753" y="71"/>
                  <a:pt x="753" y="71"/>
                </a:cubicBezTo>
                <a:cubicBezTo>
                  <a:pt x="754" y="72"/>
                  <a:pt x="754" y="72"/>
                  <a:pt x="754" y="72"/>
                </a:cubicBezTo>
                <a:cubicBezTo>
                  <a:pt x="755" y="72"/>
                  <a:pt x="755" y="72"/>
                  <a:pt x="755" y="72"/>
                </a:cubicBezTo>
                <a:cubicBezTo>
                  <a:pt x="756" y="72"/>
                  <a:pt x="756" y="72"/>
                  <a:pt x="756" y="72"/>
                </a:cubicBezTo>
                <a:cubicBezTo>
                  <a:pt x="756" y="72"/>
                  <a:pt x="756" y="72"/>
                  <a:pt x="756" y="72"/>
                </a:cubicBezTo>
                <a:cubicBezTo>
                  <a:pt x="756" y="71"/>
                  <a:pt x="756" y="71"/>
                  <a:pt x="756" y="71"/>
                </a:cubicBezTo>
                <a:cubicBezTo>
                  <a:pt x="758" y="72"/>
                  <a:pt x="758" y="72"/>
                  <a:pt x="758" y="72"/>
                </a:cubicBezTo>
                <a:cubicBezTo>
                  <a:pt x="758" y="73"/>
                  <a:pt x="758" y="73"/>
                  <a:pt x="758" y="73"/>
                </a:cubicBezTo>
                <a:cubicBezTo>
                  <a:pt x="760" y="73"/>
                  <a:pt x="760" y="73"/>
                  <a:pt x="760" y="73"/>
                </a:cubicBezTo>
                <a:cubicBezTo>
                  <a:pt x="761" y="73"/>
                  <a:pt x="761" y="73"/>
                  <a:pt x="761" y="73"/>
                </a:cubicBezTo>
                <a:cubicBezTo>
                  <a:pt x="767" y="74"/>
                  <a:pt x="767" y="74"/>
                  <a:pt x="767" y="74"/>
                </a:cubicBezTo>
                <a:cubicBezTo>
                  <a:pt x="766" y="73"/>
                  <a:pt x="766" y="73"/>
                  <a:pt x="766" y="73"/>
                </a:cubicBezTo>
                <a:cubicBezTo>
                  <a:pt x="768" y="73"/>
                  <a:pt x="768" y="73"/>
                  <a:pt x="768" y="73"/>
                </a:cubicBezTo>
                <a:cubicBezTo>
                  <a:pt x="769" y="74"/>
                  <a:pt x="769" y="74"/>
                  <a:pt x="769" y="74"/>
                </a:cubicBezTo>
                <a:cubicBezTo>
                  <a:pt x="770" y="74"/>
                  <a:pt x="770" y="74"/>
                  <a:pt x="770" y="74"/>
                </a:cubicBezTo>
                <a:cubicBezTo>
                  <a:pt x="769" y="73"/>
                  <a:pt x="769" y="73"/>
                  <a:pt x="769" y="73"/>
                </a:cubicBezTo>
                <a:cubicBezTo>
                  <a:pt x="770" y="73"/>
                  <a:pt x="770" y="73"/>
                  <a:pt x="770" y="73"/>
                </a:cubicBezTo>
                <a:cubicBezTo>
                  <a:pt x="772" y="73"/>
                  <a:pt x="772" y="73"/>
                  <a:pt x="772" y="73"/>
                </a:cubicBezTo>
                <a:cubicBezTo>
                  <a:pt x="771" y="74"/>
                  <a:pt x="771" y="74"/>
                  <a:pt x="771" y="74"/>
                </a:cubicBezTo>
                <a:cubicBezTo>
                  <a:pt x="772" y="75"/>
                  <a:pt x="772" y="75"/>
                  <a:pt x="772" y="75"/>
                </a:cubicBezTo>
                <a:cubicBezTo>
                  <a:pt x="774" y="75"/>
                  <a:pt x="774" y="75"/>
                  <a:pt x="774" y="75"/>
                </a:cubicBezTo>
                <a:cubicBezTo>
                  <a:pt x="774" y="74"/>
                  <a:pt x="774" y="74"/>
                  <a:pt x="774" y="74"/>
                </a:cubicBezTo>
                <a:cubicBezTo>
                  <a:pt x="774" y="74"/>
                  <a:pt x="774" y="74"/>
                  <a:pt x="774" y="74"/>
                </a:cubicBezTo>
                <a:cubicBezTo>
                  <a:pt x="776" y="74"/>
                  <a:pt x="776" y="74"/>
                  <a:pt x="776" y="74"/>
                </a:cubicBezTo>
                <a:cubicBezTo>
                  <a:pt x="776" y="74"/>
                  <a:pt x="776" y="74"/>
                  <a:pt x="776" y="74"/>
                </a:cubicBezTo>
                <a:cubicBezTo>
                  <a:pt x="776" y="75"/>
                  <a:pt x="776" y="75"/>
                  <a:pt x="776" y="75"/>
                </a:cubicBezTo>
                <a:cubicBezTo>
                  <a:pt x="777" y="76"/>
                  <a:pt x="777" y="76"/>
                  <a:pt x="777" y="76"/>
                </a:cubicBezTo>
                <a:cubicBezTo>
                  <a:pt x="779" y="77"/>
                  <a:pt x="779" y="77"/>
                  <a:pt x="779" y="77"/>
                </a:cubicBezTo>
                <a:cubicBezTo>
                  <a:pt x="781" y="76"/>
                  <a:pt x="781" y="76"/>
                  <a:pt x="781" y="76"/>
                </a:cubicBezTo>
                <a:cubicBezTo>
                  <a:pt x="779" y="76"/>
                  <a:pt x="779" y="76"/>
                  <a:pt x="779" y="76"/>
                </a:cubicBezTo>
                <a:cubicBezTo>
                  <a:pt x="777" y="75"/>
                  <a:pt x="777" y="75"/>
                  <a:pt x="777" y="75"/>
                </a:cubicBezTo>
                <a:cubicBezTo>
                  <a:pt x="777" y="74"/>
                  <a:pt x="777" y="74"/>
                  <a:pt x="777" y="74"/>
                </a:cubicBezTo>
                <a:cubicBezTo>
                  <a:pt x="778" y="74"/>
                  <a:pt x="778" y="74"/>
                  <a:pt x="778" y="74"/>
                </a:cubicBezTo>
                <a:cubicBezTo>
                  <a:pt x="780" y="74"/>
                  <a:pt x="780" y="74"/>
                  <a:pt x="780" y="74"/>
                </a:cubicBezTo>
                <a:cubicBezTo>
                  <a:pt x="782" y="75"/>
                  <a:pt x="782" y="75"/>
                  <a:pt x="782" y="75"/>
                </a:cubicBezTo>
                <a:cubicBezTo>
                  <a:pt x="783" y="77"/>
                  <a:pt x="783" y="77"/>
                  <a:pt x="783" y="77"/>
                </a:cubicBezTo>
                <a:cubicBezTo>
                  <a:pt x="784" y="77"/>
                  <a:pt x="784" y="77"/>
                  <a:pt x="784" y="77"/>
                </a:cubicBezTo>
                <a:cubicBezTo>
                  <a:pt x="784" y="76"/>
                  <a:pt x="784" y="76"/>
                  <a:pt x="784" y="76"/>
                </a:cubicBezTo>
                <a:cubicBezTo>
                  <a:pt x="784" y="76"/>
                  <a:pt x="784" y="76"/>
                  <a:pt x="784" y="76"/>
                </a:cubicBezTo>
                <a:cubicBezTo>
                  <a:pt x="785" y="76"/>
                  <a:pt x="785" y="76"/>
                  <a:pt x="785" y="76"/>
                </a:cubicBezTo>
                <a:cubicBezTo>
                  <a:pt x="785" y="77"/>
                  <a:pt x="785" y="77"/>
                  <a:pt x="785" y="77"/>
                </a:cubicBezTo>
                <a:cubicBezTo>
                  <a:pt x="785" y="77"/>
                  <a:pt x="785" y="77"/>
                  <a:pt x="785" y="77"/>
                </a:cubicBezTo>
                <a:cubicBezTo>
                  <a:pt x="786" y="79"/>
                  <a:pt x="786" y="79"/>
                  <a:pt x="786" y="79"/>
                </a:cubicBezTo>
                <a:cubicBezTo>
                  <a:pt x="788" y="82"/>
                  <a:pt x="788" y="82"/>
                  <a:pt x="788" y="82"/>
                </a:cubicBezTo>
                <a:cubicBezTo>
                  <a:pt x="791" y="83"/>
                  <a:pt x="791" y="83"/>
                  <a:pt x="791" y="83"/>
                </a:cubicBezTo>
                <a:cubicBezTo>
                  <a:pt x="791" y="84"/>
                  <a:pt x="791" y="84"/>
                  <a:pt x="791" y="84"/>
                </a:cubicBezTo>
                <a:cubicBezTo>
                  <a:pt x="792" y="85"/>
                  <a:pt x="792" y="85"/>
                  <a:pt x="792" y="85"/>
                </a:cubicBezTo>
                <a:cubicBezTo>
                  <a:pt x="793" y="87"/>
                  <a:pt x="793" y="87"/>
                  <a:pt x="793" y="87"/>
                </a:cubicBezTo>
                <a:cubicBezTo>
                  <a:pt x="792" y="87"/>
                  <a:pt x="792" y="87"/>
                  <a:pt x="792" y="87"/>
                </a:cubicBezTo>
                <a:cubicBezTo>
                  <a:pt x="793" y="89"/>
                  <a:pt x="793" y="89"/>
                  <a:pt x="793" y="89"/>
                </a:cubicBezTo>
                <a:cubicBezTo>
                  <a:pt x="794" y="89"/>
                  <a:pt x="794" y="89"/>
                  <a:pt x="794" y="89"/>
                </a:cubicBezTo>
                <a:cubicBezTo>
                  <a:pt x="795" y="88"/>
                  <a:pt x="795" y="88"/>
                  <a:pt x="795" y="88"/>
                </a:cubicBezTo>
                <a:cubicBezTo>
                  <a:pt x="797" y="88"/>
                  <a:pt x="797" y="88"/>
                  <a:pt x="797" y="88"/>
                </a:cubicBezTo>
                <a:cubicBezTo>
                  <a:pt x="798" y="90"/>
                  <a:pt x="798" y="90"/>
                  <a:pt x="798" y="90"/>
                </a:cubicBezTo>
                <a:cubicBezTo>
                  <a:pt x="799" y="90"/>
                  <a:pt x="799" y="90"/>
                  <a:pt x="799" y="90"/>
                </a:cubicBezTo>
                <a:cubicBezTo>
                  <a:pt x="799" y="90"/>
                  <a:pt x="799" y="90"/>
                  <a:pt x="799" y="90"/>
                </a:cubicBezTo>
                <a:cubicBezTo>
                  <a:pt x="798" y="89"/>
                  <a:pt x="798" y="89"/>
                  <a:pt x="798" y="89"/>
                </a:cubicBezTo>
                <a:cubicBezTo>
                  <a:pt x="798" y="88"/>
                  <a:pt x="798" y="88"/>
                  <a:pt x="798" y="88"/>
                </a:cubicBezTo>
                <a:cubicBezTo>
                  <a:pt x="799" y="87"/>
                  <a:pt x="799" y="87"/>
                  <a:pt x="799" y="87"/>
                </a:cubicBezTo>
                <a:cubicBezTo>
                  <a:pt x="799" y="87"/>
                  <a:pt x="799" y="87"/>
                  <a:pt x="799" y="87"/>
                </a:cubicBezTo>
                <a:cubicBezTo>
                  <a:pt x="800" y="89"/>
                  <a:pt x="800" y="89"/>
                  <a:pt x="800" y="89"/>
                </a:cubicBezTo>
                <a:cubicBezTo>
                  <a:pt x="801" y="90"/>
                  <a:pt x="801" y="90"/>
                  <a:pt x="801" y="90"/>
                </a:cubicBezTo>
                <a:cubicBezTo>
                  <a:pt x="801" y="90"/>
                  <a:pt x="801" y="90"/>
                  <a:pt x="801" y="90"/>
                </a:cubicBezTo>
                <a:cubicBezTo>
                  <a:pt x="800" y="88"/>
                  <a:pt x="800" y="88"/>
                  <a:pt x="800" y="88"/>
                </a:cubicBezTo>
                <a:cubicBezTo>
                  <a:pt x="800" y="86"/>
                  <a:pt x="800" y="86"/>
                  <a:pt x="800" y="86"/>
                </a:cubicBezTo>
                <a:cubicBezTo>
                  <a:pt x="799" y="85"/>
                  <a:pt x="799" y="85"/>
                  <a:pt x="799" y="85"/>
                </a:cubicBezTo>
                <a:cubicBezTo>
                  <a:pt x="798" y="86"/>
                  <a:pt x="798" y="86"/>
                  <a:pt x="798" y="86"/>
                </a:cubicBezTo>
                <a:cubicBezTo>
                  <a:pt x="796" y="87"/>
                  <a:pt x="796" y="87"/>
                  <a:pt x="796" y="87"/>
                </a:cubicBezTo>
                <a:cubicBezTo>
                  <a:pt x="796" y="86"/>
                  <a:pt x="796" y="86"/>
                  <a:pt x="796" y="86"/>
                </a:cubicBezTo>
                <a:cubicBezTo>
                  <a:pt x="797" y="85"/>
                  <a:pt x="797" y="85"/>
                  <a:pt x="797" y="85"/>
                </a:cubicBezTo>
                <a:cubicBezTo>
                  <a:pt x="796" y="83"/>
                  <a:pt x="796" y="83"/>
                  <a:pt x="796" y="83"/>
                </a:cubicBezTo>
                <a:cubicBezTo>
                  <a:pt x="794" y="82"/>
                  <a:pt x="794" y="82"/>
                  <a:pt x="794" y="82"/>
                </a:cubicBezTo>
                <a:cubicBezTo>
                  <a:pt x="793" y="80"/>
                  <a:pt x="793" y="80"/>
                  <a:pt x="793" y="80"/>
                </a:cubicBezTo>
                <a:cubicBezTo>
                  <a:pt x="792" y="79"/>
                  <a:pt x="792" y="79"/>
                  <a:pt x="792" y="79"/>
                </a:cubicBezTo>
                <a:cubicBezTo>
                  <a:pt x="792" y="79"/>
                  <a:pt x="792" y="79"/>
                  <a:pt x="792" y="79"/>
                </a:cubicBezTo>
                <a:cubicBezTo>
                  <a:pt x="790" y="80"/>
                  <a:pt x="790" y="80"/>
                  <a:pt x="790" y="80"/>
                </a:cubicBezTo>
                <a:cubicBezTo>
                  <a:pt x="790" y="80"/>
                  <a:pt x="790" y="80"/>
                  <a:pt x="790" y="80"/>
                </a:cubicBezTo>
                <a:cubicBezTo>
                  <a:pt x="791" y="79"/>
                  <a:pt x="791" y="79"/>
                  <a:pt x="791" y="79"/>
                </a:cubicBezTo>
                <a:cubicBezTo>
                  <a:pt x="792" y="77"/>
                  <a:pt x="792" y="77"/>
                  <a:pt x="792" y="77"/>
                </a:cubicBezTo>
                <a:cubicBezTo>
                  <a:pt x="794" y="75"/>
                  <a:pt x="794" y="75"/>
                  <a:pt x="794" y="75"/>
                </a:cubicBezTo>
                <a:cubicBezTo>
                  <a:pt x="794" y="74"/>
                  <a:pt x="794" y="74"/>
                  <a:pt x="794" y="74"/>
                </a:cubicBezTo>
                <a:cubicBezTo>
                  <a:pt x="794" y="75"/>
                  <a:pt x="794" y="75"/>
                  <a:pt x="794" y="75"/>
                </a:cubicBezTo>
                <a:cubicBezTo>
                  <a:pt x="795" y="77"/>
                  <a:pt x="795" y="77"/>
                  <a:pt x="795" y="77"/>
                </a:cubicBezTo>
                <a:cubicBezTo>
                  <a:pt x="796" y="78"/>
                  <a:pt x="796" y="78"/>
                  <a:pt x="796" y="78"/>
                </a:cubicBezTo>
                <a:cubicBezTo>
                  <a:pt x="797" y="77"/>
                  <a:pt x="797" y="77"/>
                  <a:pt x="797" y="77"/>
                </a:cubicBezTo>
                <a:cubicBezTo>
                  <a:pt x="796" y="76"/>
                  <a:pt x="796" y="76"/>
                  <a:pt x="796" y="76"/>
                </a:cubicBezTo>
                <a:cubicBezTo>
                  <a:pt x="795" y="75"/>
                  <a:pt x="795" y="75"/>
                  <a:pt x="795" y="75"/>
                </a:cubicBezTo>
                <a:cubicBezTo>
                  <a:pt x="796" y="75"/>
                  <a:pt x="796" y="75"/>
                  <a:pt x="796" y="75"/>
                </a:cubicBezTo>
                <a:cubicBezTo>
                  <a:pt x="797" y="74"/>
                  <a:pt x="797" y="74"/>
                  <a:pt x="797" y="74"/>
                </a:cubicBezTo>
                <a:cubicBezTo>
                  <a:pt x="798" y="73"/>
                  <a:pt x="798" y="73"/>
                  <a:pt x="798" y="73"/>
                </a:cubicBezTo>
                <a:cubicBezTo>
                  <a:pt x="796" y="73"/>
                  <a:pt x="796" y="73"/>
                  <a:pt x="796" y="73"/>
                </a:cubicBezTo>
                <a:cubicBezTo>
                  <a:pt x="797" y="73"/>
                  <a:pt x="797" y="73"/>
                  <a:pt x="797" y="73"/>
                </a:cubicBezTo>
                <a:cubicBezTo>
                  <a:pt x="797" y="72"/>
                  <a:pt x="797" y="72"/>
                  <a:pt x="797" y="72"/>
                </a:cubicBezTo>
                <a:cubicBezTo>
                  <a:pt x="799" y="72"/>
                  <a:pt x="799" y="72"/>
                  <a:pt x="799" y="72"/>
                </a:cubicBezTo>
                <a:cubicBezTo>
                  <a:pt x="800" y="70"/>
                  <a:pt x="800" y="70"/>
                  <a:pt x="800" y="70"/>
                </a:cubicBezTo>
                <a:cubicBezTo>
                  <a:pt x="801" y="70"/>
                  <a:pt x="801" y="70"/>
                  <a:pt x="801" y="70"/>
                </a:cubicBezTo>
                <a:cubicBezTo>
                  <a:pt x="801" y="71"/>
                  <a:pt x="801" y="71"/>
                  <a:pt x="801" y="71"/>
                </a:cubicBezTo>
                <a:cubicBezTo>
                  <a:pt x="802" y="71"/>
                  <a:pt x="802" y="71"/>
                  <a:pt x="802" y="71"/>
                </a:cubicBezTo>
                <a:cubicBezTo>
                  <a:pt x="803" y="71"/>
                  <a:pt x="803" y="71"/>
                  <a:pt x="803" y="71"/>
                </a:cubicBezTo>
                <a:cubicBezTo>
                  <a:pt x="803" y="72"/>
                  <a:pt x="803" y="72"/>
                  <a:pt x="803" y="72"/>
                </a:cubicBezTo>
                <a:cubicBezTo>
                  <a:pt x="804" y="73"/>
                  <a:pt x="804" y="73"/>
                  <a:pt x="804" y="73"/>
                </a:cubicBezTo>
                <a:cubicBezTo>
                  <a:pt x="806" y="73"/>
                  <a:pt x="806" y="73"/>
                  <a:pt x="806" y="73"/>
                </a:cubicBezTo>
                <a:cubicBezTo>
                  <a:pt x="807" y="73"/>
                  <a:pt x="807" y="73"/>
                  <a:pt x="807" y="73"/>
                </a:cubicBezTo>
                <a:cubicBezTo>
                  <a:pt x="811" y="73"/>
                  <a:pt x="811" y="73"/>
                  <a:pt x="811" y="73"/>
                </a:cubicBezTo>
                <a:cubicBezTo>
                  <a:pt x="811" y="75"/>
                  <a:pt x="811" y="75"/>
                  <a:pt x="811" y="75"/>
                </a:cubicBezTo>
                <a:cubicBezTo>
                  <a:pt x="811" y="75"/>
                  <a:pt x="811" y="75"/>
                  <a:pt x="811" y="75"/>
                </a:cubicBezTo>
                <a:cubicBezTo>
                  <a:pt x="812" y="75"/>
                  <a:pt x="812" y="75"/>
                  <a:pt x="812" y="75"/>
                </a:cubicBezTo>
                <a:cubicBezTo>
                  <a:pt x="812" y="74"/>
                  <a:pt x="812" y="74"/>
                  <a:pt x="812" y="74"/>
                </a:cubicBezTo>
                <a:cubicBezTo>
                  <a:pt x="813" y="74"/>
                  <a:pt x="813" y="74"/>
                  <a:pt x="813" y="74"/>
                </a:cubicBezTo>
                <a:cubicBezTo>
                  <a:pt x="813" y="76"/>
                  <a:pt x="813" y="76"/>
                  <a:pt x="813" y="76"/>
                </a:cubicBezTo>
                <a:cubicBezTo>
                  <a:pt x="814" y="75"/>
                  <a:pt x="814" y="75"/>
                  <a:pt x="814" y="75"/>
                </a:cubicBezTo>
                <a:cubicBezTo>
                  <a:pt x="815" y="74"/>
                  <a:pt x="815" y="74"/>
                  <a:pt x="815" y="74"/>
                </a:cubicBezTo>
                <a:cubicBezTo>
                  <a:pt x="816" y="74"/>
                  <a:pt x="816" y="74"/>
                  <a:pt x="816" y="74"/>
                </a:cubicBezTo>
                <a:cubicBezTo>
                  <a:pt x="816" y="75"/>
                  <a:pt x="816" y="75"/>
                  <a:pt x="816" y="75"/>
                </a:cubicBezTo>
                <a:cubicBezTo>
                  <a:pt x="816" y="76"/>
                  <a:pt x="816" y="76"/>
                  <a:pt x="816" y="76"/>
                </a:cubicBezTo>
                <a:cubicBezTo>
                  <a:pt x="815" y="77"/>
                  <a:pt x="815" y="77"/>
                  <a:pt x="815" y="77"/>
                </a:cubicBezTo>
                <a:cubicBezTo>
                  <a:pt x="816" y="80"/>
                  <a:pt x="816" y="80"/>
                  <a:pt x="816" y="80"/>
                </a:cubicBezTo>
                <a:cubicBezTo>
                  <a:pt x="816" y="82"/>
                  <a:pt x="816" y="82"/>
                  <a:pt x="816" y="82"/>
                </a:cubicBezTo>
                <a:cubicBezTo>
                  <a:pt x="816" y="83"/>
                  <a:pt x="816" y="83"/>
                  <a:pt x="816" y="83"/>
                </a:cubicBezTo>
                <a:cubicBezTo>
                  <a:pt x="817" y="82"/>
                  <a:pt x="817" y="82"/>
                  <a:pt x="817" y="82"/>
                </a:cubicBezTo>
                <a:cubicBezTo>
                  <a:pt x="818" y="84"/>
                  <a:pt x="818" y="84"/>
                  <a:pt x="818" y="84"/>
                </a:cubicBezTo>
                <a:cubicBezTo>
                  <a:pt x="820" y="84"/>
                  <a:pt x="820" y="84"/>
                  <a:pt x="820" y="84"/>
                </a:cubicBezTo>
                <a:cubicBezTo>
                  <a:pt x="820" y="85"/>
                  <a:pt x="820" y="85"/>
                  <a:pt x="820" y="85"/>
                </a:cubicBezTo>
                <a:cubicBezTo>
                  <a:pt x="819" y="86"/>
                  <a:pt x="819" y="86"/>
                  <a:pt x="819" y="86"/>
                </a:cubicBezTo>
                <a:cubicBezTo>
                  <a:pt x="817" y="86"/>
                  <a:pt x="817" y="86"/>
                  <a:pt x="817" y="86"/>
                </a:cubicBezTo>
                <a:cubicBezTo>
                  <a:pt x="815" y="87"/>
                  <a:pt x="815" y="87"/>
                  <a:pt x="815" y="87"/>
                </a:cubicBezTo>
                <a:cubicBezTo>
                  <a:pt x="818" y="87"/>
                  <a:pt x="818" y="87"/>
                  <a:pt x="818" y="87"/>
                </a:cubicBezTo>
                <a:cubicBezTo>
                  <a:pt x="819" y="88"/>
                  <a:pt x="819" y="88"/>
                  <a:pt x="819" y="88"/>
                </a:cubicBezTo>
                <a:cubicBezTo>
                  <a:pt x="819" y="89"/>
                  <a:pt x="819" y="89"/>
                  <a:pt x="819" y="89"/>
                </a:cubicBezTo>
                <a:cubicBezTo>
                  <a:pt x="817" y="90"/>
                  <a:pt x="817" y="90"/>
                  <a:pt x="817" y="90"/>
                </a:cubicBezTo>
                <a:cubicBezTo>
                  <a:pt x="816" y="92"/>
                  <a:pt x="816" y="92"/>
                  <a:pt x="816" y="92"/>
                </a:cubicBezTo>
                <a:cubicBezTo>
                  <a:pt x="815" y="91"/>
                  <a:pt x="815" y="91"/>
                  <a:pt x="815" y="91"/>
                </a:cubicBezTo>
                <a:cubicBezTo>
                  <a:pt x="814" y="92"/>
                  <a:pt x="814" y="92"/>
                  <a:pt x="814" y="92"/>
                </a:cubicBezTo>
                <a:cubicBezTo>
                  <a:pt x="812" y="92"/>
                  <a:pt x="812" y="92"/>
                  <a:pt x="812" y="92"/>
                </a:cubicBezTo>
                <a:cubicBezTo>
                  <a:pt x="811" y="94"/>
                  <a:pt x="811" y="94"/>
                  <a:pt x="811" y="94"/>
                </a:cubicBezTo>
                <a:cubicBezTo>
                  <a:pt x="813" y="93"/>
                  <a:pt x="813" y="93"/>
                  <a:pt x="813" y="93"/>
                </a:cubicBezTo>
                <a:cubicBezTo>
                  <a:pt x="814" y="94"/>
                  <a:pt x="814" y="94"/>
                  <a:pt x="814" y="94"/>
                </a:cubicBezTo>
                <a:cubicBezTo>
                  <a:pt x="814" y="95"/>
                  <a:pt x="814" y="95"/>
                  <a:pt x="814" y="95"/>
                </a:cubicBezTo>
                <a:cubicBezTo>
                  <a:pt x="815" y="94"/>
                  <a:pt x="815" y="94"/>
                  <a:pt x="815" y="94"/>
                </a:cubicBezTo>
                <a:cubicBezTo>
                  <a:pt x="816" y="94"/>
                  <a:pt x="816" y="94"/>
                  <a:pt x="816" y="94"/>
                </a:cubicBezTo>
                <a:cubicBezTo>
                  <a:pt x="816" y="95"/>
                  <a:pt x="816" y="95"/>
                  <a:pt x="816" y="95"/>
                </a:cubicBezTo>
                <a:cubicBezTo>
                  <a:pt x="817" y="96"/>
                  <a:pt x="817" y="96"/>
                  <a:pt x="817" y="96"/>
                </a:cubicBezTo>
                <a:cubicBezTo>
                  <a:pt x="816" y="97"/>
                  <a:pt x="816" y="97"/>
                  <a:pt x="816" y="97"/>
                </a:cubicBezTo>
                <a:cubicBezTo>
                  <a:pt x="816" y="99"/>
                  <a:pt x="816" y="99"/>
                  <a:pt x="816" y="99"/>
                </a:cubicBezTo>
                <a:cubicBezTo>
                  <a:pt x="817" y="97"/>
                  <a:pt x="817" y="97"/>
                  <a:pt x="817" y="97"/>
                </a:cubicBezTo>
                <a:cubicBezTo>
                  <a:pt x="819" y="97"/>
                  <a:pt x="819" y="97"/>
                  <a:pt x="819" y="97"/>
                </a:cubicBezTo>
                <a:cubicBezTo>
                  <a:pt x="821" y="99"/>
                  <a:pt x="821" y="99"/>
                  <a:pt x="821" y="99"/>
                </a:cubicBezTo>
                <a:cubicBezTo>
                  <a:pt x="820" y="100"/>
                  <a:pt x="820" y="100"/>
                  <a:pt x="820" y="100"/>
                </a:cubicBezTo>
                <a:cubicBezTo>
                  <a:pt x="821" y="101"/>
                  <a:pt x="821" y="101"/>
                  <a:pt x="821" y="101"/>
                </a:cubicBezTo>
                <a:cubicBezTo>
                  <a:pt x="820" y="102"/>
                  <a:pt x="820" y="102"/>
                  <a:pt x="820" y="102"/>
                </a:cubicBezTo>
                <a:cubicBezTo>
                  <a:pt x="821" y="103"/>
                  <a:pt x="821" y="103"/>
                  <a:pt x="821" y="103"/>
                </a:cubicBezTo>
                <a:cubicBezTo>
                  <a:pt x="821" y="105"/>
                  <a:pt x="821" y="105"/>
                  <a:pt x="821" y="105"/>
                </a:cubicBezTo>
                <a:cubicBezTo>
                  <a:pt x="820" y="105"/>
                  <a:pt x="820" y="105"/>
                  <a:pt x="820" y="105"/>
                </a:cubicBezTo>
                <a:cubicBezTo>
                  <a:pt x="819" y="106"/>
                  <a:pt x="819" y="106"/>
                  <a:pt x="819" y="106"/>
                </a:cubicBezTo>
                <a:cubicBezTo>
                  <a:pt x="820" y="107"/>
                  <a:pt x="820" y="107"/>
                  <a:pt x="820" y="107"/>
                </a:cubicBezTo>
                <a:cubicBezTo>
                  <a:pt x="820" y="106"/>
                  <a:pt x="820" y="106"/>
                  <a:pt x="820" y="106"/>
                </a:cubicBezTo>
                <a:cubicBezTo>
                  <a:pt x="821" y="106"/>
                  <a:pt x="821" y="106"/>
                  <a:pt x="821" y="106"/>
                </a:cubicBezTo>
                <a:cubicBezTo>
                  <a:pt x="822" y="106"/>
                  <a:pt x="822" y="106"/>
                  <a:pt x="822" y="106"/>
                </a:cubicBezTo>
                <a:cubicBezTo>
                  <a:pt x="822" y="108"/>
                  <a:pt x="822" y="108"/>
                  <a:pt x="822" y="108"/>
                </a:cubicBezTo>
                <a:cubicBezTo>
                  <a:pt x="823" y="108"/>
                  <a:pt x="823" y="108"/>
                  <a:pt x="823" y="108"/>
                </a:cubicBezTo>
                <a:cubicBezTo>
                  <a:pt x="824" y="109"/>
                  <a:pt x="824" y="109"/>
                  <a:pt x="824" y="109"/>
                </a:cubicBezTo>
                <a:cubicBezTo>
                  <a:pt x="824" y="108"/>
                  <a:pt x="824" y="108"/>
                  <a:pt x="824" y="108"/>
                </a:cubicBezTo>
                <a:cubicBezTo>
                  <a:pt x="824" y="107"/>
                  <a:pt x="824" y="107"/>
                  <a:pt x="824" y="107"/>
                </a:cubicBezTo>
                <a:cubicBezTo>
                  <a:pt x="825" y="107"/>
                  <a:pt x="825" y="107"/>
                  <a:pt x="825" y="107"/>
                </a:cubicBezTo>
                <a:cubicBezTo>
                  <a:pt x="827" y="108"/>
                  <a:pt x="827" y="108"/>
                  <a:pt x="827" y="108"/>
                </a:cubicBezTo>
                <a:cubicBezTo>
                  <a:pt x="827" y="109"/>
                  <a:pt x="827" y="109"/>
                  <a:pt x="827" y="109"/>
                </a:cubicBezTo>
                <a:cubicBezTo>
                  <a:pt x="826" y="110"/>
                  <a:pt x="826" y="110"/>
                  <a:pt x="826" y="110"/>
                </a:cubicBezTo>
                <a:cubicBezTo>
                  <a:pt x="825" y="109"/>
                  <a:pt x="825" y="109"/>
                  <a:pt x="825" y="109"/>
                </a:cubicBezTo>
                <a:cubicBezTo>
                  <a:pt x="824" y="110"/>
                  <a:pt x="824" y="110"/>
                  <a:pt x="824" y="110"/>
                </a:cubicBezTo>
                <a:cubicBezTo>
                  <a:pt x="825" y="111"/>
                  <a:pt x="825" y="111"/>
                  <a:pt x="825" y="111"/>
                </a:cubicBezTo>
                <a:cubicBezTo>
                  <a:pt x="826" y="111"/>
                  <a:pt x="826" y="111"/>
                  <a:pt x="826" y="111"/>
                </a:cubicBezTo>
                <a:cubicBezTo>
                  <a:pt x="827" y="112"/>
                  <a:pt x="827" y="112"/>
                  <a:pt x="827" y="112"/>
                </a:cubicBezTo>
                <a:cubicBezTo>
                  <a:pt x="827" y="113"/>
                  <a:pt x="827" y="113"/>
                  <a:pt x="827" y="113"/>
                </a:cubicBezTo>
                <a:cubicBezTo>
                  <a:pt x="825" y="114"/>
                  <a:pt x="825" y="114"/>
                  <a:pt x="825" y="114"/>
                </a:cubicBezTo>
                <a:cubicBezTo>
                  <a:pt x="824" y="112"/>
                  <a:pt x="824" y="112"/>
                  <a:pt x="824" y="112"/>
                </a:cubicBezTo>
                <a:cubicBezTo>
                  <a:pt x="823" y="112"/>
                  <a:pt x="823" y="112"/>
                  <a:pt x="823" y="112"/>
                </a:cubicBezTo>
                <a:cubicBezTo>
                  <a:pt x="824" y="114"/>
                  <a:pt x="824" y="114"/>
                  <a:pt x="824" y="114"/>
                </a:cubicBezTo>
                <a:cubicBezTo>
                  <a:pt x="823" y="115"/>
                  <a:pt x="823" y="115"/>
                  <a:pt x="823" y="115"/>
                </a:cubicBezTo>
                <a:cubicBezTo>
                  <a:pt x="823" y="115"/>
                  <a:pt x="823" y="115"/>
                  <a:pt x="823" y="115"/>
                </a:cubicBezTo>
                <a:cubicBezTo>
                  <a:pt x="822" y="114"/>
                  <a:pt x="822" y="114"/>
                  <a:pt x="822" y="114"/>
                </a:cubicBezTo>
                <a:cubicBezTo>
                  <a:pt x="821" y="114"/>
                  <a:pt x="821" y="114"/>
                  <a:pt x="821" y="114"/>
                </a:cubicBezTo>
                <a:cubicBezTo>
                  <a:pt x="820" y="114"/>
                  <a:pt x="820" y="114"/>
                  <a:pt x="820" y="114"/>
                </a:cubicBezTo>
                <a:cubicBezTo>
                  <a:pt x="818" y="114"/>
                  <a:pt x="818" y="114"/>
                  <a:pt x="818" y="114"/>
                </a:cubicBezTo>
                <a:cubicBezTo>
                  <a:pt x="816" y="114"/>
                  <a:pt x="816" y="114"/>
                  <a:pt x="816" y="114"/>
                </a:cubicBezTo>
                <a:cubicBezTo>
                  <a:pt x="815" y="114"/>
                  <a:pt x="815" y="114"/>
                  <a:pt x="815" y="114"/>
                </a:cubicBezTo>
                <a:cubicBezTo>
                  <a:pt x="816" y="113"/>
                  <a:pt x="816" y="113"/>
                  <a:pt x="816" y="113"/>
                </a:cubicBezTo>
                <a:cubicBezTo>
                  <a:pt x="815" y="113"/>
                  <a:pt x="815" y="113"/>
                  <a:pt x="815" y="113"/>
                </a:cubicBezTo>
                <a:cubicBezTo>
                  <a:pt x="814" y="112"/>
                  <a:pt x="814" y="112"/>
                  <a:pt x="814" y="112"/>
                </a:cubicBezTo>
                <a:cubicBezTo>
                  <a:pt x="814" y="114"/>
                  <a:pt x="814" y="114"/>
                  <a:pt x="814" y="114"/>
                </a:cubicBezTo>
                <a:cubicBezTo>
                  <a:pt x="814" y="114"/>
                  <a:pt x="814" y="114"/>
                  <a:pt x="814" y="114"/>
                </a:cubicBezTo>
                <a:cubicBezTo>
                  <a:pt x="813" y="114"/>
                  <a:pt x="813" y="114"/>
                  <a:pt x="813" y="114"/>
                </a:cubicBezTo>
                <a:cubicBezTo>
                  <a:pt x="814" y="115"/>
                  <a:pt x="814" y="115"/>
                  <a:pt x="814" y="115"/>
                </a:cubicBezTo>
                <a:cubicBezTo>
                  <a:pt x="813" y="117"/>
                  <a:pt x="813" y="117"/>
                  <a:pt x="813" y="117"/>
                </a:cubicBezTo>
                <a:cubicBezTo>
                  <a:pt x="813" y="117"/>
                  <a:pt x="813" y="117"/>
                  <a:pt x="813" y="117"/>
                </a:cubicBezTo>
                <a:cubicBezTo>
                  <a:pt x="813" y="116"/>
                  <a:pt x="813" y="116"/>
                  <a:pt x="813" y="116"/>
                </a:cubicBezTo>
                <a:cubicBezTo>
                  <a:pt x="812" y="116"/>
                  <a:pt x="812" y="116"/>
                  <a:pt x="812" y="116"/>
                </a:cubicBezTo>
                <a:cubicBezTo>
                  <a:pt x="810" y="116"/>
                  <a:pt x="810" y="116"/>
                  <a:pt x="810" y="116"/>
                </a:cubicBezTo>
                <a:cubicBezTo>
                  <a:pt x="809" y="116"/>
                  <a:pt x="809" y="116"/>
                  <a:pt x="809" y="116"/>
                </a:cubicBezTo>
                <a:cubicBezTo>
                  <a:pt x="809" y="115"/>
                  <a:pt x="809" y="115"/>
                  <a:pt x="809" y="115"/>
                </a:cubicBezTo>
                <a:cubicBezTo>
                  <a:pt x="808" y="114"/>
                  <a:pt x="808" y="114"/>
                  <a:pt x="808" y="114"/>
                </a:cubicBezTo>
                <a:cubicBezTo>
                  <a:pt x="808" y="113"/>
                  <a:pt x="808" y="113"/>
                  <a:pt x="808" y="113"/>
                </a:cubicBezTo>
                <a:cubicBezTo>
                  <a:pt x="805" y="111"/>
                  <a:pt x="805" y="111"/>
                  <a:pt x="805" y="111"/>
                </a:cubicBezTo>
                <a:cubicBezTo>
                  <a:pt x="805" y="111"/>
                  <a:pt x="805" y="111"/>
                  <a:pt x="805" y="111"/>
                </a:cubicBezTo>
                <a:cubicBezTo>
                  <a:pt x="805" y="110"/>
                  <a:pt x="805" y="110"/>
                  <a:pt x="805" y="110"/>
                </a:cubicBezTo>
                <a:cubicBezTo>
                  <a:pt x="803" y="109"/>
                  <a:pt x="803" y="109"/>
                  <a:pt x="803" y="109"/>
                </a:cubicBezTo>
                <a:cubicBezTo>
                  <a:pt x="802" y="111"/>
                  <a:pt x="802" y="111"/>
                  <a:pt x="802" y="111"/>
                </a:cubicBezTo>
                <a:cubicBezTo>
                  <a:pt x="800" y="111"/>
                  <a:pt x="800" y="111"/>
                  <a:pt x="800" y="111"/>
                </a:cubicBezTo>
                <a:cubicBezTo>
                  <a:pt x="799" y="112"/>
                  <a:pt x="799" y="112"/>
                  <a:pt x="799" y="112"/>
                </a:cubicBezTo>
                <a:cubicBezTo>
                  <a:pt x="799" y="113"/>
                  <a:pt x="799" y="113"/>
                  <a:pt x="799" y="113"/>
                </a:cubicBezTo>
                <a:cubicBezTo>
                  <a:pt x="798" y="111"/>
                  <a:pt x="798" y="111"/>
                  <a:pt x="798" y="111"/>
                </a:cubicBezTo>
                <a:cubicBezTo>
                  <a:pt x="798" y="110"/>
                  <a:pt x="798" y="110"/>
                  <a:pt x="798" y="110"/>
                </a:cubicBezTo>
                <a:cubicBezTo>
                  <a:pt x="798" y="111"/>
                  <a:pt x="798" y="111"/>
                  <a:pt x="798" y="111"/>
                </a:cubicBezTo>
                <a:cubicBezTo>
                  <a:pt x="798" y="113"/>
                  <a:pt x="798" y="113"/>
                  <a:pt x="798" y="113"/>
                </a:cubicBezTo>
                <a:cubicBezTo>
                  <a:pt x="798" y="115"/>
                  <a:pt x="798" y="115"/>
                  <a:pt x="798" y="115"/>
                </a:cubicBezTo>
                <a:cubicBezTo>
                  <a:pt x="798" y="116"/>
                  <a:pt x="798" y="116"/>
                  <a:pt x="798" y="116"/>
                </a:cubicBezTo>
                <a:cubicBezTo>
                  <a:pt x="796" y="120"/>
                  <a:pt x="796" y="120"/>
                  <a:pt x="796" y="120"/>
                </a:cubicBezTo>
                <a:cubicBezTo>
                  <a:pt x="794" y="119"/>
                  <a:pt x="794" y="119"/>
                  <a:pt x="794" y="119"/>
                </a:cubicBezTo>
                <a:cubicBezTo>
                  <a:pt x="794" y="117"/>
                  <a:pt x="794" y="117"/>
                  <a:pt x="794" y="117"/>
                </a:cubicBezTo>
                <a:cubicBezTo>
                  <a:pt x="793" y="117"/>
                  <a:pt x="793" y="117"/>
                  <a:pt x="793" y="117"/>
                </a:cubicBezTo>
                <a:cubicBezTo>
                  <a:pt x="792" y="117"/>
                  <a:pt x="792" y="117"/>
                  <a:pt x="792" y="117"/>
                </a:cubicBezTo>
                <a:cubicBezTo>
                  <a:pt x="789" y="115"/>
                  <a:pt x="789" y="115"/>
                  <a:pt x="789" y="115"/>
                </a:cubicBezTo>
                <a:cubicBezTo>
                  <a:pt x="789" y="114"/>
                  <a:pt x="789" y="114"/>
                  <a:pt x="789" y="114"/>
                </a:cubicBezTo>
                <a:cubicBezTo>
                  <a:pt x="789" y="111"/>
                  <a:pt x="789" y="111"/>
                  <a:pt x="789" y="111"/>
                </a:cubicBezTo>
                <a:cubicBezTo>
                  <a:pt x="787" y="111"/>
                  <a:pt x="787" y="111"/>
                  <a:pt x="787" y="111"/>
                </a:cubicBezTo>
                <a:cubicBezTo>
                  <a:pt x="787" y="110"/>
                  <a:pt x="787" y="110"/>
                  <a:pt x="787" y="110"/>
                </a:cubicBezTo>
                <a:cubicBezTo>
                  <a:pt x="786" y="109"/>
                  <a:pt x="786" y="109"/>
                  <a:pt x="786" y="109"/>
                </a:cubicBezTo>
                <a:cubicBezTo>
                  <a:pt x="786" y="110"/>
                  <a:pt x="786" y="110"/>
                  <a:pt x="786" y="110"/>
                </a:cubicBezTo>
                <a:cubicBezTo>
                  <a:pt x="786" y="111"/>
                  <a:pt x="786" y="111"/>
                  <a:pt x="786" y="111"/>
                </a:cubicBezTo>
                <a:cubicBezTo>
                  <a:pt x="786" y="112"/>
                  <a:pt x="786" y="112"/>
                  <a:pt x="786" y="112"/>
                </a:cubicBezTo>
                <a:cubicBezTo>
                  <a:pt x="787" y="112"/>
                  <a:pt x="787" y="112"/>
                  <a:pt x="787" y="112"/>
                </a:cubicBezTo>
                <a:cubicBezTo>
                  <a:pt x="786" y="113"/>
                  <a:pt x="786" y="113"/>
                  <a:pt x="786" y="113"/>
                </a:cubicBezTo>
                <a:cubicBezTo>
                  <a:pt x="784" y="112"/>
                  <a:pt x="784" y="112"/>
                  <a:pt x="784" y="112"/>
                </a:cubicBezTo>
                <a:cubicBezTo>
                  <a:pt x="783" y="111"/>
                  <a:pt x="783" y="111"/>
                  <a:pt x="783" y="111"/>
                </a:cubicBezTo>
                <a:cubicBezTo>
                  <a:pt x="783" y="111"/>
                  <a:pt x="783" y="111"/>
                  <a:pt x="783" y="111"/>
                </a:cubicBezTo>
                <a:cubicBezTo>
                  <a:pt x="783" y="112"/>
                  <a:pt x="783" y="112"/>
                  <a:pt x="783" y="112"/>
                </a:cubicBezTo>
                <a:cubicBezTo>
                  <a:pt x="783" y="113"/>
                  <a:pt x="783" y="113"/>
                  <a:pt x="783" y="113"/>
                </a:cubicBezTo>
                <a:cubicBezTo>
                  <a:pt x="783" y="113"/>
                  <a:pt x="783" y="113"/>
                  <a:pt x="783" y="113"/>
                </a:cubicBezTo>
                <a:cubicBezTo>
                  <a:pt x="785" y="113"/>
                  <a:pt x="785" y="113"/>
                  <a:pt x="785" y="113"/>
                </a:cubicBezTo>
                <a:cubicBezTo>
                  <a:pt x="786" y="114"/>
                  <a:pt x="786" y="114"/>
                  <a:pt x="786" y="114"/>
                </a:cubicBezTo>
                <a:cubicBezTo>
                  <a:pt x="785" y="116"/>
                  <a:pt x="785" y="116"/>
                  <a:pt x="785" y="116"/>
                </a:cubicBezTo>
                <a:cubicBezTo>
                  <a:pt x="783" y="116"/>
                  <a:pt x="783" y="116"/>
                  <a:pt x="783" y="116"/>
                </a:cubicBezTo>
                <a:cubicBezTo>
                  <a:pt x="783" y="117"/>
                  <a:pt x="783" y="117"/>
                  <a:pt x="783" y="117"/>
                </a:cubicBezTo>
                <a:cubicBezTo>
                  <a:pt x="784" y="117"/>
                  <a:pt x="784" y="117"/>
                  <a:pt x="784" y="117"/>
                </a:cubicBezTo>
                <a:cubicBezTo>
                  <a:pt x="787" y="121"/>
                  <a:pt x="787" y="121"/>
                  <a:pt x="787" y="121"/>
                </a:cubicBezTo>
                <a:cubicBezTo>
                  <a:pt x="790" y="122"/>
                  <a:pt x="790" y="122"/>
                  <a:pt x="790" y="122"/>
                </a:cubicBezTo>
                <a:cubicBezTo>
                  <a:pt x="791" y="121"/>
                  <a:pt x="791" y="121"/>
                  <a:pt x="791" y="121"/>
                </a:cubicBezTo>
                <a:cubicBezTo>
                  <a:pt x="793" y="122"/>
                  <a:pt x="793" y="122"/>
                  <a:pt x="793" y="122"/>
                </a:cubicBezTo>
                <a:cubicBezTo>
                  <a:pt x="793" y="124"/>
                  <a:pt x="793" y="124"/>
                  <a:pt x="793" y="124"/>
                </a:cubicBezTo>
                <a:cubicBezTo>
                  <a:pt x="793" y="124"/>
                  <a:pt x="793" y="124"/>
                  <a:pt x="793" y="124"/>
                </a:cubicBezTo>
                <a:cubicBezTo>
                  <a:pt x="792" y="122"/>
                  <a:pt x="792" y="122"/>
                  <a:pt x="792" y="122"/>
                </a:cubicBezTo>
                <a:cubicBezTo>
                  <a:pt x="791" y="122"/>
                  <a:pt x="791" y="122"/>
                  <a:pt x="791" y="122"/>
                </a:cubicBezTo>
                <a:cubicBezTo>
                  <a:pt x="792" y="124"/>
                  <a:pt x="792" y="124"/>
                  <a:pt x="792" y="124"/>
                </a:cubicBezTo>
                <a:cubicBezTo>
                  <a:pt x="794" y="126"/>
                  <a:pt x="794" y="126"/>
                  <a:pt x="794" y="126"/>
                </a:cubicBezTo>
                <a:cubicBezTo>
                  <a:pt x="794" y="127"/>
                  <a:pt x="794" y="127"/>
                  <a:pt x="794" y="127"/>
                </a:cubicBezTo>
                <a:cubicBezTo>
                  <a:pt x="796" y="129"/>
                  <a:pt x="796" y="129"/>
                  <a:pt x="796" y="129"/>
                </a:cubicBezTo>
                <a:cubicBezTo>
                  <a:pt x="796" y="131"/>
                  <a:pt x="796" y="131"/>
                  <a:pt x="796" y="131"/>
                </a:cubicBezTo>
                <a:cubicBezTo>
                  <a:pt x="795" y="135"/>
                  <a:pt x="795" y="135"/>
                  <a:pt x="795" y="135"/>
                </a:cubicBezTo>
                <a:cubicBezTo>
                  <a:pt x="795" y="138"/>
                  <a:pt x="795" y="138"/>
                  <a:pt x="795" y="138"/>
                </a:cubicBezTo>
                <a:cubicBezTo>
                  <a:pt x="795" y="140"/>
                  <a:pt x="795" y="140"/>
                  <a:pt x="795" y="140"/>
                </a:cubicBezTo>
                <a:cubicBezTo>
                  <a:pt x="796" y="140"/>
                  <a:pt x="796" y="140"/>
                  <a:pt x="796" y="140"/>
                </a:cubicBezTo>
                <a:cubicBezTo>
                  <a:pt x="794" y="143"/>
                  <a:pt x="794" y="143"/>
                  <a:pt x="794" y="143"/>
                </a:cubicBezTo>
                <a:cubicBezTo>
                  <a:pt x="794" y="144"/>
                  <a:pt x="794" y="144"/>
                  <a:pt x="794" y="144"/>
                </a:cubicBezTo>
                <a:cubicBezTo>
                  <a:pt x="793" y="145"/>
                  <a:pt x="793" y="145"/>
                  <a:pt x="793" y="145"/>
                </a:cubicBezTo>
                <a:cubicBezTo>
                  <a:pt x="793" y="144"/>
                  <a:pt x="793" y="144"/>
                  <a:pt x="793" y="144"/>
                </a:cubicBezTo>
                <a:cubicBezTo>
                  <a:pt x="793" y="143"/>
                  <a:pt x="793" y="143"/>
                  <a:pt x="793" y="143"/>
                </a:cubicBezTo>
                <a:cubicBezTo>
                  <a:pt x="790" y="146"/>
                  <a:pt x="790" y="146"/>
                  <a:pt x="790" y="146"/>
                </a:cubicBezTo>
                <a:cubicBezTo>
                  <a:pt x="789" y="145"/>
                  <a:pt x="789" y="145"/>
                  <a:pt x="789" y="145"/>
                </a:cubicBezTo>
                <a:cubicBezTo>
                  <a:pt x="788" y="146"/>
                  <a:pt x="788" y="146"/>
                  <a:pt x="788" y="146"/>
                </a:cubicBezTo>
                <a:cubicBezTo>
                  <a:pt x="787" y="145"/>
                  <a:pt x="787" y="145"/>
                  <a:pt x="787" y="145"/>
                </a:cubicBezTo>
                <a:cubicBezTo>
                  <a:pt x="786" y="144"/>
                  <a:pt x="786" y="144"/>
                  <a:pt x="786" y="144"/>
                </a:cubicBezTo>
                <a:cubicBezTo>
                  <a:pt x="785" y="144"/>
                  <a:pt x="785" y="144"/>
                  <a:pt x="785" y="144"/>
                </a:cubicBezTo>
                <a:cubicBezTo>
                  <a:pt x="783" y="142"/>
                  <a:pt x="783" y="142"/>
                  <a:pt x="783" y="142"/>
                </a:cubicBezTo>
                <a:cubicBezTo>
                  <a:pt x="782" y="141"/>
                  <a:pt x="782" y="141"/>
                  <a:pt x="782" y="141"/>
                </a:cubicBezTo>
                <a:cubicBezTo>
                  <a:pt x="780" y="141"/>
                  <a:pt x="780" y="141"/>
                  <a:pt x="780" y="141"/>
                </a:cubicBezTo>
                <a:cubicBezTo>
                  <a:pt x="779" y="140"/>
                  <a:pt x="779" y="140"/>
                  <a:pt x="779" y="140"/>
                </a:cubicBezTo>
                <a:cubicBezTo>
                  <a:pt x="778" y="141"/>
                  <a:pt x="778" y="141"/>
                  <a:pt x="778" y="141"/>
                </a:cubicBezTo>
                <a:cubicBezTo>
                  <a:pt x="777" y="142"/>
                  <a:pt x="777" y="142"/>
                  <a:pt x="777" y="142"/>
                </a:cubicBezTo>
                <a:cubicBezTo>
                  <a:pt x="776" y="142"/>
                  <a:pt x="776" y="142"/>
                  <a:pt x="776" y="142"/>
                </a:cubicBezTo>
                <a:cubicBezTo>
                  <a:pt x="777" y="143"/>
                  <a:pt x="777" y="143"/>
                  <a:pt x="777" y="143"/>
                </a:cubicBezTo>
                <a:cubicBezTo>
                  <a:pt x="779" y="143"/>
                  <a:pt x="779" y="143"/>
                  <a:pt x="779" y="143"/>
                </a:cubicBezTo>
                <a:cubicBezTo>
                  <a:pt x="779" y="141"/>
                  <a:pt x="779" y="141"/>
                  <a:pt x="779" y="141"/>
                </a:cubicBezTo>
                <a:cubicBezTo>
                  <a:pt x="783" y="143"/>
                  <a:pt x="783" y="143"/>
                  <a:pt x="783" y="143"/>
                </a:cubicBezTo>
                <a:cubicBezTo>
                  <a:pt x="783" y="144"/>
                  <a:pt x="783" y="144"/>
                  <a:pt x="783" y="144"/>
                </a:cubicBezTo>
                <a:cubicBezTo>
                  <a:pt x="782" y="145"/>
                  <a:pt x="782" y="145"/>
                  <a:pt x="782" y="145"/>
                </a:cubicBezTo>
                <a:cubicBezTo>
                  <a:pt x="781" y="144"/>
                  <a:pt x="781" y="144"/>
                  <a:pt x="781" y="144"/>
                </a:cubicBezTo>
                <a:cubicBezTo>
                  <a:pt x="779" y="144"/>
                  <a:pt x="779" y="144"/>
                  <a:pt x="779" y="144"/>
                </a:cubicBezTo>
                <a:cubicBezTo>
                  <a:pt x="779" y="146"/>
                  <a:pt x="779" y="146"/>
                  <a:pt x="779" y="146"/>
                </a:cubicBezTo>
                <a:cubicBezTo>
                  <a:pt x="778" y="144"/>
                  <a:pt x="778" y="144"/>
                  <a:pt x="778" y="144"/>
                </a:cubicBezTo>
                <a:cubicBezTo>
                  <a:pt x="777" y="145"/>
                  <a:pt x="777" y="145"/>
                  <a:pt x="777" y="145"/>
                </a:cubicBezTo>
                <a:cubicBezTo>
                  <a:pt x="777" y="145"/>
                  <a:pt x="777" y="145"/>
                  <a:pt x="777" y="145"/>
                </a:cubicBezTo>
                <a:cubicBezTo>
                  <a:pt x="778" y="146"/>
                  <a:pt x="778" y="146"/>
                  <a:pt x="778" y="146"/>
                </a:cubicBezTo>
                <a:cubicBezTo>
                  <a:pt x="780" y="147"/>
                  <a:pt x="780" y="147"/>
                  <a:pt x="780" y="147"/>
                </a:cubicBezTo>
                <a:cubicBezTo>
                  <a:pt x="779" y="149"/>
                  <a:pt x="779" y="149"/>
                  <a:pt x="779" y="149"/>
                </a:cubicBezTo>
                <a:cubicBezTo>
                  <a:pt x="780" y="151"/>
                  <a:pt x="780" y="151"/>
                  <a:pt x="780" y="151"/>
                </a:cubicBezTo>
                <a:cubicBezTo>
                  <a:pt x="781" y="152"/>
                  <a:pt x="781" y="152"/>
                  <a:pt x="781" y="152"/>
                </a:cubicBezTo>
                <a:cubicBezTo>
                  <a:pt x="781" y="151"/>
                  <a:pt x="781" y="151"/>
                  <a:pt x="781" y="151"/>
                </a:cubicBezTo>
                <a:cubicBezTo>
                  <a:pt x="781" y="149"/>
                  <a:pt x="781" y="149"/>
                  <a:pt x="781" y="149"/>
                </a:cubicBezTo>
                <a:cubicBezTo>
                  <a:pt x="782" y="148"/>
                  <a:pt x="782" y="148"/>
                  <a:pt x="782" y="148"/>
                </a:cubicBezTo>
                <a:cubicBezTo>
                  <a:pt x="783" y="148"/>
                  <a:pt x="783" y="148"/>
                  <a:pt x="783" y="148"/>
                </a:cubicBezTo>
                <a:cubicBezTo>
                  <a:pt x="783" y="148"/>
                  <a:pt x="783" y="148"/>
                  <a:pt x="783" y="148"/>
                </a:cubicBezTo>
                <a:cubicBezTo>
                  <a:pt x="785" y="146"/>
                  <a:pt x="785" y="146"/>
                  <a:pt x="785" y="146"/>
                </a:cubicBezTo>
                <a:cubicBezTo>
                  <a:pt x="786" y="146"/>
                  <a:pt x="786" y="146"/>
                  <a:pt x="786" y="146"/>
                </a:cubicBezTo>
                <a:cubicBezTo>
                  <a:pt x="787" y="146"/>
                  <a:pt x="787" y="146"/>
                  <a:pt x="787" y="146"/>
                </a:cubicBezTo>
                <a:cubicBezTo>
                  <a:pt x="787" y="147"/>
                  <a:pt x="787" y="147"/>
                  <a:pt x="787" y="147"/>
                </a:cubicBezTo>
                <a:cubicBezTo>
                  <a:pt x="788" y="149"/>
                  <a:pt x="788" y="149"/>
                  <a:pt x="788" y="149"/>
                </a:cubicBezTo>
                <a:cubicBezTo>
                  <a:pt x="790" y="150"/>
                  <a:pt x="790" y="150"/>
                  <a:pt x="790" y="150"/>
                </a:cubicBezTo>
                <a:cubicBezTo>
                  <a:pt x="791" y="151"/>
                  <a:pt x="791" y="151"/>
                  <a:pt x="791" y="151"/>
                </a:cubicBezTo>
                <a:cubicBezTo>
                  <a:pt x="793" y="151"/>
                  <a:pt x="793" y="151"/>
                  <a:pt x="793" y="151"/>
                </a:cubicBezTo>
                <a:cubicBezTo>
                  <a:pt x="794" y="150"/>
                  <a:pt x="794" y="150"/>
                  <a:pt x="794" y="150"/>
                </a:cubicBezTo>
                <a:cubicBezTo>
                  <a:pt x="793" y="149"/>
                  <a:pt x="793" y="149"/>
                  <a:pt x="793" y="149"/>
                </a:cubicBezTo>
                <a:cubicBezTo>
                  <a:pt x="794" y="149"/>
                  <a:pt x="794" y="149"/>
                  <a:pt x="794" y="149"/>
                </a:cubicBezTo>
                <a:cubicBezTo>
                  <a:pt x="797" y="152"/>
                  <a:pt x="797" y="152"/>
                  <a:pt x="797" y="152"/>
                </a:cubicBezTo>
                <a:cubicBezTo>
                  <a:pt x="798" y="153"/>
                  <a:pt x="798" y="153"/>
                  <a:pt x="798" y="153"/>
                </a:cubicBezTo>
                <a:cubicBezTo>
                  <a:pt x="796" y="153"/>
                  <a:pt x="796" y="153"/>
                  <a:pt x="796" y="153"/>
                </a:cubicBezTo>
                <a:cubicBezTo>
                  <a:pt x="796" y="154"/>
                  <a:pt x="796" y="154"/>
                  <a:pt x="796" y="154"/>
                </a:cubicBezTo>
                <a:cubicBezTo>
                  <a:pt x="799" y="156"/>
                  <a:pt x="799" y="156"/>
                  <a:pt x="799" y="156"/>
                </a:cubicBezTo>
                <a:cubicBezTo>
                  <a:pt x="799" y="156"/>
                  <a:pt x="799" y="156"/>
                  <a:pt x="799" y="156"/>
                </a:cubicBezTo>
                <a:cubicBezTo>
                  <a:pt x="799" y="156"/>
                  <a:pt x="799" y="156"/>
                  <a:pt x="799" y="156"/>
                </a:cubicBezTo>
                <a:cubicBezTo>
                  <a:pt x="799" y="154"/>
                  <a:pt x="799" y="154"/>
                  <a:pt x="799" y="154"/>
                </a:cubicBezTo>
                <a:cubicBezTo>
                  <a:pt x="801" y="155"/>
                  <a:pt x="801" y="155"/>
                  <a:pt x="801" y="155"/>
                </a:cubicBezTo>
                <a:cubicBezTo>
                  <a:pt x="804" y="159"/>
                  <a:pt x="804" y="159"/>
                  <a:pt x="804" y="159"/>
                </a:cubicBezTo>
                <a:cubicBezTo>
                  <a:pt x="803" y="158"/>
                  <a:pt x="803" y="158"/>
                  <a:pt x="803" y="158"/>
                </a:cubicBezTo>
                <a:cubicBezTo>
                  <a:pt x="802" y="158"/>
                  <a:pt x="802" y="158"/>
                  <a:pt x="802" y="158"/>
                </a:cubicBezTo>
                <a:cubicBezTo>
                  <a:pt x="802" y="159"/>
                  <a:pt x="802" y="159"/>
                  <a:pt x="802" y="159"/>
                </a:cubicBezTo>
                <a:cubicBezTo>
                  <a:pt x="803" y="160"/>
                  <a:pt x="803" y="160"/>
                  <a:pt x="803" y="160"/>
                </a:cubicBezTo>
                <a:cubicBezTo>
                  <a:pt x="801" y="161"/>
                  <a:pt x="801" y="161"/>
                  <a:pt x="801" y="161"/>
                </a:cubicBezTo>
                <a:cubicBezTo>
                  <a:pt x="801" y="162"/>
                  <a:pt x="801" y="162"/>
                  <a:pt x="801" y="162"/>
                </a:cubicBezTo>
                <a:cubicBezTo>
                  <a:pt x="802" y="163"/>
                  <a:pt x="802" y="163"/>
                  <a:pt x="802" y="163"/>
                </a:cubicBezTo>
                <a:cubicBezTo>
                  <a:pt x="803" y="163"/>
                  <a:pt x="803" y="163"/>
                  <a:pt x="803" y="163"/>
                </a:cubicBezTo>
                <a:cubicBezTo>
                  <a:pt x="803" y="161"/>
                  <a:pt x="803" y="161"/>
                  <a:pt x="803" y="161"/>
                </a:cubicBezTo>
                <a:cubicBezTo>
                  <a:pt x="804" y="161"/>
                  <a:pt x="804" y="161"/>
                  <a:pt x="804" y="161"/>
                </a:cubicBezTo>
                <a:cubicBezTo>
                  <a:pt x="805" y="161"/>
                  <a:pt x="805" y="161"/>
                  <a:pt x="805" y="161"/>
                </a:cubicBezTo>
                <a:cubicBezTo>
                  <a:pt x="805" y="160"/>
                  <a:pt x="805" y="160"/>
                  <a:pt x="805" y="160"/>
                </a:cubicBezTo>
                <a:cubicBezTo>
                  <a:pt x="806" y="162"/>
                  <a:pt x="806" y="162"/>
                  <a:pt x="806" y="162"/>
                </a:cubicBezTo>
                <a:cubicBezTo>
                  <a:pt x="809" y="164"/>
                  <a:pt x="809" y="164"/>
                  <a:pt x="809" y="164"/>
                </a:cubicBezTo>
                <a:cubicBezTo>
                  <a:pt x="812" y="164"/>
                  <a:pt x="812" y="164"/>
                  <a:pt x="812" y="164"/>
                </a:cubicBezTo>
                <a:cubicBezTo>
                  <a:pt x="813" y="166"/>
                  <a:pt x="813" y="166"/>
                  <a:pt x="813" y="166"/>
                </a:cubicBezTo>
                <a:cubicBezTo>
                  <a:pt x="812" y="167"/>
                  <a:pt x="812" y="167"/>
                  <a:pt x="812" y="167"/>
                </a:cubicBezTo>
                <a:cubicBezTo>
                  <a:pt x="814" y="169"/>
                  <a:pt x="814" y="169"/>
                  <a:pt x="814" y="169"/>
                </a:cubicBezTo>
                <a:cubicBezTo>
                  <a:pt x="815" y="169"/>
                  <a:pt x="815" y="169"/>
                  <a:pt x="815" y="169"/>
                </a:cubicBezTo>
                <a:cubicBezTo>
                  <a:pt x="817" y="172"/>
                  <a:pt x="817" y="172"/>
                  <a:pt x="817" y="172"/>
                </a:cubicBezTo>
                <a:cubicBezTo>
                  <a:pt x="817" y="176"/>
                  <a:pt x="817" y="176"/>
                  <a:pt x="817" y="176"/>
                </a:cubicBezTo>
                <a:cubicBezTo>
                  <a:pt x="816" y="176"/>
                  <a:pt x="816" y="176"/>
                  <a:pt x="816" y="176"/>
                </a:cubicBezTo>
                <a:cubicBezTo>
                  <a:pt x="816" y="177"/>
                  <a:pt x="816" y="177"/>
                  <a:pt x="816" y="177"/>
                </a:cubicBezTo>
                <a:cubicBezTo>
                  <a:pt x="818" y="177"/>
                  <a:pt x="818" y="177"/>
                  <a:pt x="818" y="177"/>
                </a:cubicBezTo>
                <a:cubicBezTo>
                  <a:pt x="818" y="179"/>
                  <a:pt x="818" y="179"/>
                  <a:pt x="818" y="179"/>
                </a:cubicBezTo>
                <a:cubicBezTo>
                  <a:pt x="818" y="179"/>
                  <a:pt x="818" y="179"/>
                  <a:pt x="818" y="179"/>
                </a:cubicBezTo>
                <a:cubicBezTo>
                  <a:pt x="817" y="179"/>
                  <a:pt x="817" y="179"/>
                  <a:pt x="817" y="179"/>
                </a:cubicBezTo>
                <a:cubicBezTo>
                  <a:pt x="812" y="179"/>
                  <a:pt x="812" y="179"/>
                  <a:pt x="812" y="179"/>
                </a:cubicBezTo>
                <a:cubicBezTo>
                  <a:pt x="811" y="178"/>
                  <a:pt x="811" y="178"/>
                  <a:pt x="811" y="178"/>
                </a:cubicBezTo>
                <a:cubicBezTo>
                  <a:pt x="810" y="178"/>
                  <a:pt x="810" y="178"/>
                  <a:pt x="810" y="178"/>
                </a:cubicBezTo>
                <a:cubicBezTo>
                  <a:pt x="809" y="178"/>
                  <a:pt x="809" y="178"/>
                  <a:pt x="809" y="178"/>
                </a:cubicBezTo>
                <a:cubicBezTo>
                  <a:pt x="809" y="177"/>
                  <a:pt x="809" y="177"/>
                  <a:pt x="809" y="177"/>
                </a:cubicBezTo>
                <a:cubicBezTo>
                  <a:pt x="808" y="176"/>
                  <a:pt x="808" y="176"/>
                  <a:pt x="808" y="176"/>
                </a:cubicBezTo>
                <a:cubicBezTo>
                  <a:pt x="808" y="177"/>
                  <a:pt x="808" y="177"/>
                  <a:pt x="808" y="177"/>
                </a:cubicBezTo>
                <a:cubicBezTo>
                  <a:pt x="808" y="178"/>
                  <a:pt x="808" y="178"/>
                  <a:pt x="808" y="178"/>
                </a:cubicBezTo>
                <a:cubicBezTo>
                  <a:pt x="806" y="179"/>
                  <a:pt x="806" y="179"/>
                  <a:pt x="806" y="179"/>
                </a:cubicBezTo>
                <a:cubicBezTo>
                  <a:pt x="805" y="179"/>
                  <a:pt x="805" y="179"/>
                  <a:pt x="805" y="179"/>
                </a:cubicBezTo>
                <a:cubicBezTo>
                  <a:pt x="804" y="180"/>
                  <a:pt x="804" y="180"/>
                  <a:pt x="804" y="180"/>
                </a:cubicBezTo>
                <a:cubicBezTo>
                  <a:pt x="805" y="180"/>
                  <a:pt x="805" y="180"/>
                  <a:pt x="805" y="180"/>
                </a:cubicBezTo>
                <a:cubicBezTo>
                  <a:pt x="803" y="182"/>
                  <a:pt x="803" y="182"/>
                  <a:pt x="803" y="182"/>
                </a:cubicBezTo>
                <a:cubicBezTo>
                  <a:pt x="802" y="182"/>
                  <a:pt x="802" y="182"/>
                  <a:pt x="802" y="182"/>
                </a:cubicBezTo>
                <a:cubicBezTo>
                  <a:pt x="802" y="183"/>
                  <a:pt x="802" y="183"/>
                  <a:pt x="802" y="183"/>
                </a:cubicBezTo>
                <a:cubicBezTo>
                  <a:pt x="802" y="184"/>
                  <a:pt x="802" y="184"/>
                  <a:pt x="802" y="184"/>
                </a:cubicBezTo>
                <a:cubicBezTo>
                  <a:pt x="801" y="186"/>
                  <a:pt x="801" y="186"/>
                  <a:pt x="801" y="186"/>
                </a:cubicBezTo>
                <a:cubicBezTo>
                  <a:pt x="800" y="187"/>
                  <a:pt x="800" y="187"/>
                  <a:pt x="800" y="187"/>
                </a:cubicBezTo>
                <a:cubicBezTo>
                  <a:pt x="800" y="186"/>
                  <a:pt x="800" y="186"/>
                  <a:pt x="800" y="186"/>
                </a:cubicBezTo>
                <a:cubicBezTo>
                  <a:pt x="799" y="186"/>
                  <a:pt x="799" y="186"/>
                  <a:pt x="799" y="186"/>
                </a:cubicBezTo>
                <a:cubicBezTo>
                  <a:pt x="799" y="188"/>
                  <a:pt x="799" y="188"/>
                  <a:pt x="799" y="188"/>
                </a:cubicBezTo>
                <a:cubicBezTo>
                  <a:pt x="799" y="190"/>
                  <a:pt x="799" y="190"/>
                  <a:pt x="799" y="190"/>
                </a:cubicBezTo>
                <a:cubicBezTo>
                  <a:pt x="798" y="191"/>
                  <a:pt x="798" y="191"/>
                  <a:pt x="798" y="191"/>
                </a:cubicBezTo>
                <a:cubicBezTo>
                  <a:pt x="797" y="190"/>
                  <a:pt x="797" y="190"/>
                  <a:pt x="797" y="190"/>
                </a:cubicBezTo>
                <a:cubicBezTo>
                  <a:pt x="797" y="192"/>
                  <a:pt x="797" y="192"/>
                  <a:pt x="797" y="192"/>
                </a:cubicBezTo>
                <a:cubicBezTo>
                  <a:pt x="798" y="193"/>
                  <a:pt x="798" y="193"/>
                  <a:pt x="798" y="193"/>
                </a:cubicBezTo>
                <a:cubicBezTo>
                  <a:pt x="796" y="194"/>
                  <a:pt x="796" y="194"/>
                  <a:pt x="796" y="194"/>
                </a:cubicBezTo>
                <a:cubicBezTo>
                  <a:pt x="795" y="194"/>
                  <a:pt x="795" y="194"/>
                  <a:pt x="795" y="194"/>
                </a:cubicBezTo>
                <a:cubicBezTo>
                  <a:pt x="796" y="195"/>
                  <a:pt x="796" y="195"/>
                  <a:pt x="796" y="195"/>
                </a:cubicBezTo>
                <a:cubicBezTo>
                  <a:pt x="796" y="196"/>
                  <a:pt x="796" y="196"/>
                  <a:pt x="796" y="196"/>
                </a:cubicBezTo>
                <a:cubicBezTo>
                  <a:pt x="795" y="197"/>
                  <a:pt x="795" y="197"/>
                  <a:pt x="795" y="197"/>
                </a:cubicBezTo>
                <a:cubicBezTo>
                  <a:pt x="794" y="196"/>
                  <a:pt x="794" y="196"/>
                  <a:pt x="794" y="196"/>
                </a:cubicBezTo>
                <a:cubicBezTo>
                  <a:pt x="793" y="197"/>
                  <a:pt x="793" y="197"/>
                  <a:pt x="793" y="197"/>
                </a:cubicBezTo>
                <a:cubicBezTo>
                  <a:pt x="794" y="198"/>
                  <a:pt x="794" y="198"/>
                  <a:pt x="794" y="198"/>
                </a:cubicBezTo>
                <a:cubicBezTo>
                  <a:pt x="794" y="199"/>
                  <a:pt x="794" y="199"/>
                  <a:pt x="794" y="199"/>
                </a:cubicBezTo>
                <a:cubicBezTo>
                  <a:pt x="793" y="200"/>
                  <a:pt x="793" y="200"/>
                  <a:pt x="793" y="200"/>
                </a:cubicBezTo>
                <a:cubicBezTo>
                  <a:pt x="794" y="201"/>
                  <a:pt x="794" y="201"/>
                  <a:pt x="794" y="201"/>
                </a:cubicBezTo>
                <a:cubicBezTo>
                  <a:pt x="793" y="202"/>
                  <a:pt x="793" y="202"/>
                  <a:pt x="793" y="202"/>
                </a:cubicBezTo>
                <a:cubicBezTo>
                  <a:pt x="792" y="202"/>
                  <a:pt x="792" y="202"/>
                  <a:pt x="792" y="202"/>
                </a:cubicBezTo>
                <a:cubicBezTo>
                  <a:pt x="792" y="201"/>
                  <a:pt x="792" y="201"/>
                  <a:pt x="792" y="201"/>
                </a:cubicBezTo>
                <a:cubicBezTo>
                  <a:pt x="791" y="201"/>
                  <a:pt x="791" y="201"/>
                  <a:pt x="791" y="201"/>
                </a:cubicBezTo>
                <a:cubicBezTo>
                  <a:pt x="792" y="202"/>
                  <a:pt x="792" y="202"/>
                  <a:pt x="792" y="202"/>
                </a:cubicBezTo>
                <a:cubicBezTo>
                  <a:pt x="794" y="203"/>
                  <a:pt x="794" y="203"/>
                  <a:pt x="794" y="203"/>
                </a:cubicBezTo>
                <a:cubicBezTo>
                  <a:pt x="793" y="205"/>
                  <a:pt x="793" y="205"/>
                  <a:pt x="793" y="205"/>
                </a:cubicBezTo>
                <a:cubicBezTo>
                  <a:pt x="791" y="205"/>
                  <a:pt x="791" y="205"/>
                  <a:pt x="791" y="205"/>
                </a:cubicBezTo>
                <a:cubicBezTo>
                  <a:pt x="791" y="205"/>
                  <a:pt x="791" y="205"/>
                  <a:pt x="791" y="205"/>
                </a:cubicBezTo>
                <a:cubicBezTo>
                  <a:pt x="792" y="206"/>
                  <a:pt x="792" y="206"/>
                  <a:pt x="792" y="206"/>
                </a:cubicBezTo>
                <a:cubicBezTo>
                  <a:pt x="793" y="208"/>
                  <a:pt x="793" y="208"/>
                  <a:pt x="793" y="208"/>
                </a:cubicBezTo>
                <a:cubicBezTo>
                  <a:pt x="792" y="209"/>
                  <a:pt x="792" y="209"/>
                  <a:pt x="792" y="209"/>
                </a:cubicBezTo>
                <a:cubicBezTo>
                  <a:pt x="793" y="209"/>
                  <a:pt x="793" y="209"/>
                  <a:pt x="793" y="209"/>
                </a:cubicBezTo>
                <a:cubicBezTo>
                  <a:pt x="791" y="211"/>
                  <a:pt x="791" y="211"/>
                  <a:pt x="791" y="211"/>
                </a:cubicBezTo>
                <a:cubicBezTo>
                  <a:pt x="792" y="212"/>
                  <a:pt x="792" y="212"/>
                  <a:pt x="792" y="212"/>
                </a:cubicBezTo>
                <a:cubicBezTo>
                  <a:pt x="791" y="215"/>
                  <a:pt x="791" y="215"/>
                  <a:pt x="791" y="215"/>
                </a:cubicBezTo>
                <a:cubicBezTo>
                  <a:pt x="790" y="217"/>
                  <a:pt x="790" y="217"/>
                  <a:pt x="790" y="217"/>
                </a:cubicBezTo>
                <a:cubicBezTo>
                  <a:pt x="790" y="219"/>
                  <a:pt x="790" y="219"/>
                  <a:pt x="790" y="219"/>
                </a:cubicBezTo>
                <a:cubicBezTo>
                  <a:pt x="789" y="220"/>
                  <a:pt x="789" y="220"/>
                  <a:pt x="789" y="220"/>
                </a:cubicBezTo>
                <a:cubicBezTo>
                  <a:pt x="790" y="220"/>
                  <a:pt x="790" y="220"/>
                  <a:pt x="790" y="220"/>
                </a:cubicBezTo>
                <a:cubicBezTo>
                  <a:pt x="791" y="221"/>
                  <a:pt x="791" y="221"/>
                  <a:pt x="791" y="221"/>
                </a:cubicBezTo>
                <a:cubicBezTo>
                  <a:pt x="790" y="221"/>
                  <a:pt x="790" y="221"/>
                  <a:pt x="790" y="221"/>
                </a:cubicBezTo>
                <a:cubicBezTo>
                  <a:pt x="792" y="224"/>
                  <a:pt x="792" y="224"/>
                  <a:pt x="792" y="224"/>
                </a:cubicBezTo>
                <a:cubicBezTo>
                  <a:pt x="792" y="225"/>
                  <a:pt x="792" y="225"/>
                  <a:pt x="792" y="225"/>
                </a:cubicBezTo>
                <a:cubicBezTo>
                  <a:pt x="791" y="225"/>
                  <a:pt x="791" y="225"/>
                  <a:pt x="791" y="225"/>
                </a:cubicBezTo>
                <a:cubicBezTo>
                  <a:pt x="790" y="225"/>
                  <a:pt x="790" y="225"/>
                  <a:pt x="790" y="225"/>
                </a:cubicBezTo>
                <a:cubicBezTo>
                  <a:pt x="788" y="224"/>
                  <a:pt x="788" y="224"/>
                  <a:pt x="788" y="224"/>
                </a:cubicBezTo>
                <a:cubicBezTo>
                  <a:pt x="788" y="224"/>
                  <a:pt x="788" y="224"/>
                  <a:pt x="788" y="224"/>
                </a:cubicBezTo>
                <a:cubicBezTo>
                  <a:pt x="786" y="222"/>
                  <a:pt x="786" y="222"/>
                  <a:pt x="786" y="222"/>
                </a:cubicBezTo>
                <a:cubicBezTo>
                  <a:pt x="787" y="222"/>
                  <a:pt x="787" y="222"/>
                  <a:pt x="787" y="222"/>
                </a:cubicBezTo>
                <a:cubicBezTo>
                  <a:pt x="786" y="222"/>
                  <a:pt x="786" y="222"/>
                  <a:pt x="786" y="222"/>
                </a:cubicBezTo>
                <a:cubicBezTo>
                  <a:pt x="785" y="222"/>
                  <a:pt x="785" y="222"/>
                  <a:pt x="785" y="222"/>
                </a:cubicBezTo>
                <a:cubicBezTo>
                  <a:pt x="784" y="222"/>
                  <a:pt x="784" y="222"/>
                  <a:pt x="784" y="222"/>
                </a:cubicBezTo>
                <a:cubicBezTo>
                  <a:pt x="784" y="221"/>
                  <a:pt x="784" y="221"/>
                  <a:pt x="784" y="221"/>
                </a:cubicBezTo>
                <a:cubicBezTo>
                  <a:pt x="780" y="219"/>
                  <a:pt x="780" y="219"/>
                  <a:pt x="780" y="219"/>
                </a:cubicBezTo>
                <a:cubicBezTo>
                  <a:pt x="779" y="218"/>
                  <a:pt x="779" y="218"/>
                  <a:pt x="779" y="218"/>
                </a:cubicBezTo>
                <a:cubicBezTo>
                  <a:pt x="777" y="220"/>
                  <a:pt x="777" y="220"/>
                  <a:pt x="777" y="220"/>
                </a:cubicBezTo>
                <a:cubicBezTo>
                  <a:pt x="776" y="219"/>
                  <a:pt x="776" y="219"/>
                  <a:pt x="776" y="219"/>
                </a:cubicBezTo>
                <a:cubicBezTo>
                  <a:pt x="775" y="219"/>
                  <a:pt x="775" y="219"/>
                  <a:pt x="775" y="219"/>
                </a:cubicBezTo>
                <a:cubicBezTo>
                  <a:pt x="773" y="221"/>
                  <a:pt x="773" y="221"/>
                  <a:pt x="773" y="221"/>
                </a:cubicBezTo>
                <a:cubicBezTo>
                  <a:pt x="772" y="221"/>
                  <a:pt x="772" y="221"/>
                  <a:pt x="772" y="221"/>
                </a:cubicBezTo>
                <a:cubicBezTo>
                  <a:pt x="771" y="224"/>
                  <a:pt x="771" y="224"/>
                  <a:pt x="771" y="224"/>
                </a:cubicBezTo>
                <a:cubicBezTo>
                  <a:pt x="770" y="224"/>
                  <a:pt x="770" y="224"/>
                  <a:pt x="770" y="224"/>
                </a:cubicBezTo>
                <a:cubicBezTo>
                  <a:pt x="769" y="224"/>
                  <a:pt x="769" y="224"/>
                  <a:pt x="769" y="224"/>
                </a:cubicBezTo>
                <a:cubicBezTo>
                  <a:pt x="770" y="225"/>
                  <a:pt x="770" y="225"/>
                  <a:pt x="770" y="225"/>
                </a:cubicBezTo>
                <a:cubicBezTo>
                  <a:pt x="769" y="226"/>
                  <a:pt x="769" y="226"/>
                  <a:pt x="769" y="226"/>
                </a:cubicBezTo>
                <a:cubicBezTo>
                  <a:pt x="770" y="228"/>
                  <a:pt x="770" y="228"/>
                  <a:pt x="770" y="228"/>
                </a:cubicBezTo>
                <a:cubicBezTo>
                  <a:pt x="769" y="229"/>
                  <a:pt x="769" y="229"/>
                  <a:pt x="769" y="229"/>
                </a:cubicBezTo>
                <a:cubicBezTo>
                  <a:pt x="769" y="232"/>
                  <a:pt x="769" y="232"/>
                  <a:pt x="769" y="232"/>
                </a:cubicBezTo>
                <a:cubicBezTo>
                  <a:pt x="768" y="233"/>
                  <a:pt x="768" y="233"/>
                  <a:pt x="768" y="233"/>
                </a:cubicBezTo>
                <a:cubicBezTo>
                  <a:pt x="767" y="232"/>
                  <a:pt x="767" y="232"/>
                  <a:pt x="767" y="232"/>
                </a:cubicBezTo>
                <a:cubicBezTo>
                  <a:pt x="766" y="228"/>
                  <a:pt x="766" y="228"/>
                  <a:pt x="766" y="228"/>
                </a:cubicBezTo>
                <a:cubicBezTo>
                  <a:pt x="766" y="226"/>
                  <a:pt x="766" y="226"/>
                  <a:pt x="766" y="226"/>
                </a:cubicBezTo>
                <a:cubicBezTo>
                  <a:pt x="765" y="226"/>
                  <a:pt x="765" y="226"/>
                  <a:pt x="765" y="226"/>
                </a:cubicBezTo>
                <a:cubicBezTo>
                  <a:pt x="764" y="225"/>
                  <a:pt x="764" y="225"/>
                  <a:pt x="764" y="225"/>
                </a:cubicBezTo>
                <a:cubicBezTo>
                  <a:pt x="764" y="226"/>
                  <a:pt x="764" y="226"/>
                  <a:pt x="764" y="226"/>
                </a:cubicBezTo>
                <a:cubicBezTo>
                  <a:pt x="762" y="229"/>
                  <a:pt x="762" y="229"/>
                  <a:pt x="762" y="229"/>
                </a:cubicBezTo>
                <a:cubicBezTo>
                  <a:pt x="761" y="229"/>
                  <a:pt x="761" y="229"/>
                  <a:pt x="761" y="229"/>
                </a:cubicBezTo>
                <a:cubicBezTo>
                  <a:pt x="761" y="231"/>
                  <a:pt x="761" y="231"/>
                  <a:pt x="761" y="231"/>
                </a:cubicBezTo>
                <a:cubicBezTo>
                  <a:pt x="762" y="231"/>
                  <a:pt x="762" y="231"/>
                  <a:pt x="762" y="231"/>
                </a:cubicBezTo>
                <a:cubicBezTo>
                  <a:pt x="761" y="234"/>
                  <a:pt x="761" y="234"/>
                  <a:pt x="761" y="234"/>
                </a:cubicBezTo>
                <a:cubicBezTo>
                  <a:pt x="760" y="232"/>
                  <a:pt x="760" y="232"/>
                  <a:pt x="760" y="232"/>
                </a:cubicBezTo>
                <a:cubicBezTo>
                  <a:pt x="759" y="232"/>
                  <a:pt x="759" y="232"/>
                  <a:pt x="759" y="232"/>
                </a:cubicBezTo>
                <a:cubicBezTo>
                  <a:pt x="759" y="232"/>
                  <a:pt x="759" y="232"/>
                  <a:pt x="759" y="232"/>
                </a:cubicBezTo>
                <a:cubicBezTo>
                  <a:pt x="758" y="232"/>
                  <a:pt x="758" y="232"/>
                  <a:pt x="758" y="232"/>
                </a:cubicBezTo>
                <a:cubicBezTo>
                  <a:pt x="757" y="233"/>
                  <a:pt x="757" y="233"/>
                  <a:pt x="757" y="233"/>
                </a:cubicBezTo>
                <a:cubicBezTo>
                  <a:pt x="757" y="234"/>
                  <a:pt x="757" y="234"/>
                  <a:pt x="757" y="234"/>
                </a:cubicBezTo>
                <a:cubicBezTo>
                  <a:pt x="755" y="233"/>
                  <a:pt x="755" y="233"/>
                  <a:pt x="755" y="233"/>
                </a:cubicBezTo>
                <a:cubicBezTo>
                  <a:pt x="754" y="233"/>
                  <a:pt x="754" y="233"/>
                  <a:pt x="754" y="233"/>
                </a:cubicBezTo>
                <a:cubicBezTo>
                  <a:pt x="754" y="234"/>
                  <a:pt x="754" y="234"/>
                  <a:pt x="754" y="234"/>
                </a:cubicBezTo>
                <a:cubicBezTo>
                  <a:pt x="755" y="235"/>
                  <a:pt x="755" y="235"/>
                  <a:pt x="755" y="235"/>
                </a:cubicBezTo>
                <a:cubicBezTo>
                  <a:pt x="754" y="235"/>
                  <a:pt x="754" y="235"/>
                  <a:pt x="754" y="235"/>
                </a:cubicBezTo>
                <a:cubicBezTo>
                  <a:pt x="754" y="237"/>
                  <a:pt x="754" y="237"/>
                  <a:pt x="754" y="237"/>
                </a:cubicBezTo>
                <a:cubicBezTo>
                  <a:pt x="754" y="238"/>
                  <a:pt x="754" y="238"/>
                  <a:pt x="754" y="238"/>
                </a:cubicBezTo>
                <a:cubicBezTo>
                  <a:pt x="755" y="239"/>
                  <a:pt x="755" y="239"/>
                  <a:pt x="755" y="239"/>
                </a:cubicBezTo>
                <a:cubicBezTo>
                  <a:pt x="755" y="240"/>
                  <a:pt x="755" y="240"/>
                  <a:pt x="755" y="240"/>
                </a:cubicBezTo>
                <a:cubicBezTo>
                  <a:pt x="755" y="241"/>
                  <a:pt x="755" y="241"/>
                  <a:pt x="755" y="241"/>
                </a:cubicBezTo>
                <a:cubicBezTo>
                  <a:pt x="755" y="242"/>
                  <a:pt x="755" y="242"/>
                  <a:pt x="755" y="242"/>
                </a:cubicBezTo>
                <a:cubicBezTo>
                  <a:pt x="756" y="242"/>
                  <a:pt x="756" y="242"/>
                  <a:pt x="756" y="242"/>
                </a:cubicBezTo>
                <a:cubicBezTo>
                  <a:pt x="757" y="243"/>
                  <a:pt x="757" y="243"/>
                  <a:pt x="757" y="243"/>
                </a:cubicBezTo>
                <a:cubicBezTo>
                  <a:pt x="757" y="244"/>
                  <a:pt x="757" y="244"/>
                  <a:pt x="757" y="244"/>
                </a:cubicBezTo>
                <a:cubicBezTo>
                  <a:pt x="757" y="244"/>
                  <a:pt x="757" y="244"/>
                  <a:pt x="757" y="244"/>
                </a:cubicBezTo>
                <a:cubicBezTo>
                  <a:pt x="757" y="245"/>
                  <a:pt x="757" y="245"/>
                  <a:pt x="757" y="245"/>
                </a:cubicBezTo>
                <a:cubicBezTo>
                  <a:pt x="758" y="245"/>
                  <a:pt x="758" y="245"/>
                  <a:pt x="758" y="245"/>
                </a:cubicBezTo>
                <a:cubicBezTo>
                  <a:pt x="758" y="246"/>
                  <a:pt x="758" y="246"/>
                  <a:pt x="758" y="246"/>
                </a:cubicBezTo>
                <a:cubicBezTo>
                  <a:pt x="758" y="247"/>
                  <a:pt x="758" y="247"/>
                  <a:pt x="758" y="247"/>
                </a:cubicBezTo>
                <a:cubicBezTo>
                  <a:pt x="757" y="246"/>
                  <a:pt x="757" y="246"/>
                  <a:pt x="757" y="246"/>
                </a:cubicBezTo>
                <a:cubicBezTo>
                  <a:pt x="756" y="246"/>
                  <a:pt x="756" y="246"/>
                  <a:pt x="756" y="246"/>
                </a:cubicBezTo>
                <a:cubicBezTo>
                  <a:pt x="756" y="247"/>
                  <a:pt x="756" y="247"/>
                  <a:pt x="756" y="247"/>
                </a:cubicBezTo>
                <a:cubicBezTo>
                  <a:pt x="757" y="248"/>
                  <a:pt x="757" y="248"/>
                  <a:pt x="757" y="248"/>
                </a:cubicBezTo>
                <a:cubicBezTo>
                  <a:pt x="758" y="248"/>
                  <a:pt x="758" y="248"/>
                  <a:pt x="758" y="248"/>
                </a:cubicBezTo>
                <a:cubicBezTo>
                  <a:pt x="758" y="249"/>
                  <a:pt x="758" y="249"/>
                  <a:pt x="758" y="249"/>
                </a:cubicBezTo>
                <a:cubicBezTo>
                  <a:pt x="758" y="250"/>
                  <a:pt x="758" y="250"/>
                  <a:pt x="758" y="250"/>
                </a:cubicBezTo>
                <a:cubicBezTo>
                  <a:pt x="758" y="252"/>
                  <a:pt x="758" y="252"/>
                  <a:pt x="758" y="252"/>
                </a:cubicBezTo>
                <a:cubicBezTo>
                  <a:pt x="757" y="253"/>
                  <a:pt x="757" y="253"/>
                  <a:pt x="757" y="253"/>
                </a:cubicBezTo>
                <a:cubicBezTo>
                  <a:pt x="758" y="255"/>
                  <a:pt x="758" y="255"/>
                  <a:pt x="758" y="255"/>
                </a:cubicBezTo>
                <a:cubicBezTo>
                  <a:pt x="757" y="255"/>
                  <a:pt x="757" y="255"/>
                  <a:pt x="757" y="255"/>
                </a:cubicBezTo>
                <a:cubicBezTo>
                  <a:pt x="758" y="257"/>
                  <a:pt x="758" y="257"/>
                  <a:pt x="758" y="257"/>
                </a:cubicBezTo>
                <a:cubicBezTo>
                  <a:pt x="758" y="257"/>
                  <a:pt x="758" y="257"/>
                  <a:pt x="758" y="257"/>
                </a:cubicBezTo>
                <a:cubicBezTo>
                  <a:pt x="758" y="259"/>
                  <a:pt x="758" y="259"/>
                  <a:pt x="758" y="259"/>
                </a:cubicBezTo>
                <a:cubicBezTo>
                  <a:pt x="759" y="261"/>
                  <a:pt x="759" y="261"/>
                  <a:pt x="759" y="261"/>
                </a:cubicBezTo>
                <a:cubicBezTo>
                  <a:pt x="758" y="262"/>
                  <a:pt x="758" y="262"/>
                  <a:pt x="758" y="262"/>
                </a:cubicBezTo>
                <a:cubicBezTo>
                  <a:pt x="759" y="262"/>
                  <a:pt x="759" y="262"/>
                  <a:pt x="759" y="262"/>
                </a:cubicBezTo>
                <a:cubicBezTo>
                  <a:pt x="761" y="263"/>
                  <a:pt x="761" y="263"/>
                  <a:pt x="761" y="263"/>
                </a:cubicBezTo>
                <a:cubicBezTo>
                  <a:pt x="762" y="266"/>
                  <a:pt x="762" y="266"/>
                  <a:pt x="762" y="266"/>
                </a:cubicBezTo>
                <a:cubicBezTo>
                  <a:pt x="764" y="266"/>
                  <a:pt x="764" y="266"/>
                  <a:pt x="764" y="266"/>
                </a:cubicBezTo>
                <a:cubicBezTo>
                  <a:pt x="764" y="266"/>
                  <a:pt x="764" y="266"/>
                  <a:pt x="764" y="266"/>
                </a:cubicBezTo>
                <a:cubicBezTo>
                  <a:pt x="764" y="265"/>
                  <a:pt x="764" y="265"/>
                  <a:pt x="764" y="265"/>
                </a:cubicBezTo>
                <a:cubicBezTo>
                  <a:pt x="763" y="263"/>
                  <a:pt x="763" y="263"/>
                  <a:pt x="763" y="263"/>
                </a:cubicBezTo>
                <a:cubicBezTo>
                  <a:pt x="763" y="262"/>
                  <a:pt x="763" y="262"/>
                  <a:pt x="763" y="262"/>
                </a:cubicBezTo>
                <a:cubicBezTo>
                  <a:pt x="764" y="261"/>
                  <a:pt x="764" y="261"/>
                  <a:pt x="764" y="261"/>
                </a:cubicBezTo>
                <a:cubicBezTo>
                  <a:pt x="765" y="262"/>
                  <a:pt x="765" y="262"/>
                  <a:pt x="765" y="262"/>
                </a:cubicBezTo>
                <a:cubicBezTo>
                  <a:pt x="767" y="263"/>
                  <a:pt x="767" y="263"/>
                  <a:pt x="767" y="263"/>
                </a:cubicBezTo>
                <a:cubicBezTo>
                  <a:pt x="768" y="263"/>
                  <a:pt x="768" y="263"/>
                  <a:pt x="768" y="263"/>
                </a:cubicBezTo>
                <a:cubicBezTo>
                  <a:pt x="769" y="263"/>
                  <a:pt x="769" y="263"/>
                  <a:pt x="769" y="263"/>
                </a:cubicBezTo>
                <a:cubicBezTo>
                  <a:pt x="769" y="264"/>
                  <a:pt x="769" y="264"/>
                  <a:pt x="769" y="264"/>
                </a:cubicBezTo>
                <a:cubicBezTo>
                  <a:pt x="769" y="265"/>
                  <a:pt x="769" y="265"/>
                  <a:pt x="769" y="265"/>
                </a:cubicBezTo>
                <a:cubicBezTo>
                  <a:pt x="770" y="266"/>
                  <a:pt x="770" y="266"/>
                  <a:pt x="770" y="266"/>
                </a:cubicBezTo>
                <a:cubicBezTo>
                  <a:pt x="769" y="267"/>
                  <a:pt x="769" y="267"/>
                  <a:pt x="769" y="267"/>
                </a:cubicBezTo>
                <a:cubicBezTo>
                  <a:pt x="769" y="268"/>
                  <a:pt x="769" y="268"/>
                  <a:pt x="769" y="268"/>
                </a:cubicBezTo>
                <a:cubicBezTo>
                  <a:pt x="769" y="269"/>
                  <a:pt x="769" y="269"/>
                  <a:pt x="769" y="269"/>
                </a:cubicBezTo>
                <a:cubicBezTo>
                  <a:pt x="768" y="270"/>
                  <a:pt x="768" y="270"/>
                  <a:pt x="768" y="270"/>
                </a:cubicBezTo>
                <a:cubicBezTo>
                  <a:pt x="769" y="272"/>
                  <a:pt x="769" y="272"/>
                  <a:pt x="769" y="272"/>
                </a:cubicBezTo>
                <a:cubicBezTo>
                  <a:pt x="770" y="274"/>
                  <a:pt x="770" y="274"/>
                  <a:pt x="770" y="274"/>
                </a:cubicBezTo>
                <a:cubicBezTo>
                  <a:pt x="770" y="276"/>
                  <a:pt x="770" y="276"/>
                  <a:pt x="770" y="276"/>
                </a:cubicBezTo>
                <a:cubicBezTo>
                  <a:pt x="771" y="277"/>
                  <a:pt x="771" y="277"/>
                  <a:pt x="771" y="277"/>
                </a:cubicBezTo>
                <a:cubicBezTo>
                  <a:pt x="772" y="276"/>
                  <a:pt x="772" y="276"/>
                  <a:pt x="772" y="276"/>
                </a:cubicBezTo>
                <a:cubicBezTo>
                  <a:pt x="772" y="276"/>
                  <a:pt x="772" y="276"/>
                  <a:pt x="772" y="276"/>
                </a:cubicBezTo>
                <a:cubicBezTo>
                  <a:pt x="773" y="275"/>
                  <a:pt x="773" y="275"/>
                  <a:pt x="773" y="275"/>
                </a:cubicBezTo>
                <a:cubicBezTo>
                  <a:pt x="773" y="274"/>
                  <a:pt x="773" y="274"/>
                  <a:pt x="773" y="274"/>
                </a:cubicBezTo>
                <a:cubicBezTo>
                  <a:pt x="773" y="275"/>
                  <a:pt x="773" y="275"/>
                  <a:pt x="773" y="275"/>
                </a:cubicBezTo>
                <a:cubicBezTo>
                  <a:pt x="775" y="275"/>
                  <a:pt x="775" y="275"/>
                  <a:pt x="775" y="275"/>
                </a:cubicBezTo>
                <a:cubicBezTo>
                  <a:pt x="775" y="278"/>
                  <a:pt x="775" y="278"/>
                  <a:pt x="775" y="278"/>
                </a:cubicBezTo>
                <a:cubicBezTo>
                  <a:pt x="778" y="281"/>
                  <a:pt x="778" y="281"/>
                  <a:pt x="778" y="281"/>
                </a:cubicBezTo>
                <a:cubicBezTo>
                  <a:pt x="779" y="283"/>
                  <a:pt x="779" y="283"/>
                  <a:pt x="779" y="283"/>
                </a:cubicBezTo>
                <a:cubicBezTo>
                  <a:pt x="778" y="283"/>
                  <a:pt x="778" y="283"/>
                  <a:pt x="778" y="283"/>
                </a:cubicBezTo>
                <a:cubicBezTo>
                  <a:pt x="778" y="285"/>
                  <a:pt x="778" y="285"/>
                  <a:pt x="778" y="285"/>
                </a:cubicBezTo>
                <a:cubicBezTo>
                  <a:pt x="777" y="286"/>
                  <a:pt x="777" y="286"/>
                  <a:pt x="777" y="286"/>
                </a:cubicBezTo>
                <a:cubicBezTo>
                  <a:pt x="775" y="284"/>
                  <a:pt x="775" y="284"/>
                  <a:pt x="775" y="284"/>
                </a:cubicBezTo>
                <a:cubicBezTo>
                  <a:pt x="774" y="284"/>
                  <a:pt x="774" y="284"/>
                  <a:pt x="774" y="284"/>
                </a:cubicBezTo>
                <a:cubicBezTo>
                  <a:pt x="773" y="282"/>
                  <a:pt x="773" y="282"/>
                  <a:pt x="773" y="282"/>
                </a:cubicBezTo>
                <a:cubicBezTo>
                  <a:pt x="774" y="281"/>
                  <a:pt x="774" y="281"/>
                  <a:pt x="774" y="281"/>
                </a:cubicBezTo>
                <a:cubicBezTo>
                  <a:pt x="774" y="279"/>
                  <a:pt x="774" y="279"/>
                  <a:pt x="774" y="279"/>
                </a:cubicBezTo>
                <a:cubicBezTo>
                  <a:pt x="774" y="278"/>
                  <a:pt x="774" y="278"/>
                  <a:pt x="774" y="278"/>
                </a:cubicBezTo>
                <a:cubicBezTo>
                  <a:pt x="773" y="279"/>
                  <a:pt x="773" y="279"/>
                  <a:pt x="773" y="279"/>
                </a:cubicBezTo>
                <a:cubicBezTo>
                  <a:pt x="773" y="279"/>
                  <a:pt x="773" y="279"/>
                  <a:pt x="773" y="279"/>
                </a:cubicBezTo>
                <a:cubicBezTo>
                  <a:pt x="773" y="280"/>
                  <a:pt x="773" y="280"/>
                  <a:pt x="773" y="280"/>
                </a:cubicBezTo>
                <a:cubicBezTo>
                  <a:pt x="772" y="280"/>
                  <a:pt x="772" y="280"/>
                  <a:pt x="772" y="280"/>
                </a:cubicBezTo>
                <a:cubicBezTo>
                  <a:pt x="771" y="282"/>
                  <a:pt x="771" y="282"/>
                  <a:pt x="771" y="282"/>
                </a:cubicBezTo>
                <a:cubicBezTo>
                  <a:pt x="771" y="283"/>
                  <a:pt x="771" y="283"/>
                  <a:pt x="771" y="283"/>
                </a:cubicBezTo>
                <a:cubicBezTo>
                  <a:pt x="773" y="282"/>
                  <a:pt x="773" y="282"/>
                  <a:pt x="773" y="282"/>
                </a:cubicBezTo>
                <a:cubicBezTo>
                  <a:pt x="773" y="284"/>
                  <a:pt x="773" y="284"/>
                  <a:pt x="773" y="284"/>
                </a:cubicBezTo>
                <a:cubicBezTo>
                  <a:pt x="772" y="285"/>
                  <a:pt x="772" y="285"/>
                  <a:pt x="772" y="285"/>
                </a:cubicBezTo>
                <a:cubicBezTo>
                  <a:pt x="772" y="287"/>
                  <a:pt x="772" y="287"/>
                  <a:pt x="772" y="287"/>
                </a:cubicBezTo>
                <a:cubicBezTo>
                  <a:pt x="772" y="288"/>
                  <a:pt x="772" y="288"/>
                  <a:pt x="772" y="288"/>
                </a:cubicBezTo>
                <a:cubicBezTo>
                  <a:pt x="772" y="292"/>
                  <a:pt x="772" y="292"/>
                  <a:pt x="772" y="292"/>
                </a:cubicBezTo>
                <a:cubicBezTo>
                  <a:pt x="773" y="293"/>
                  <a:pt x="773" y="293"/>
                  <a:pt x="773" y="293"/>
                </a:cubicBezTo>
                <a:cubicBezTo>
                  <a:pt x="773" y="294"/>
                  <a:pt x="773" y="294"/>
                  <a:pt x="773" y="294"/>
                </a:cubicBezTo>
                <a:cubicBezTo>
                  <a:pt x="776" y="299"/>
                  <a:pt x="776" y="299"/>
                  <a:pt x="776" y="299"/>
                </a:cubicBezTo>
                <a:cubicBezTo>
                  <a:pt x="777" y="299"/>
                  <a:pt x="777" y="299"/>
                  <a:pt x="777" y="299"/>
                </a:cubicBezTo>
                <a:cubicBezTo>
                  <a:pt x="779" y="302"/>
                  <a:pt x="779" y="302"/>
                  <a:pt x="779" y="302"/>
                </a:cubicBezTo>
                <a:cubicBezTo>
                  <a:pt x="781" y="303"/>
                  <a:pt x="781" y="303"/>
                  <a:pt x="781" y="303"/>
                </a:cubicBezTo>
                <a:cubicBezTo>
                  <a:pt x="780" y="304"/>
                  <a:pt x="780" y="304"/>
                  <a:pt x="780" y="304"/>
                </a:cubicBezTo>
                <a:cubicBezTo>
                  <a:pt x="780" y="305"/>
                  <a:pt x="780" y="305"/>
                  <a:pt x="780" y="305"/>
                </a:cubicBezTo>
                <a:cubicBezTo>
                  <a:pt x="776" y="307"/>
                  <a:pt x="776" y="307"/>
                  <a:pt x="776" y="307"/>
                </a:cubicBezTo>
                <a:cubicBezTo>
                  <a:pt x="776" y="306"/>
                  <a:pt x="776" y="306"/>
                  <a:pt x="776" y="306"/>
                </a:cubicBezTo>
                <a:cubicBezTo>
                  <a:pt x="774" y="307"/>
                  <a:pt x="774" y="307"/>
                  <a:pt x="774" y="307"/>
                </a:cubicBezTo>
                <a:cubicBezTo>
                  <a:pt x="773" y="307"/>
                  <a:pt x="773" y="307"/>
                  <a:pt x="773" y="307"/>
                </a:cubicBezTo>
                <a:cubicBezTo>
                  <a:pt x="774" y="308"/>
                  <a:pt x="774" y="308"/>
                  <a:pt x="774" y="308"/>
                </a:cubicBezTo>
                <a:cubicBezTo>
                  <a:pt x="772" y="310"/>
                  <a:pt x="772" y="310"/>
                  <a:pt x="772" y="310"/>
                </a:cubicBezTo>
                <a:cubicBezTo>
                  <a:pt x="772" y="312"/>
                  <a:pt x="772" y="312"/>
                  <a:pt x="772" y="312"/>
                </a:cubicBezTo>
                <a:cubicBezTo>
                  <a:pt x="771" y="312"/>
                  <a:pt x="771" y="312"/>
                  <a:pt x="771" y="312"/>
                </a:cubicBezTo>
                <a:cubicBezTo>
                  <a:pt x="772" y="314"/>
                  <a:pt x="772" y="314"/>
                  <a:pt x="772" y="314"/>
                </a:cubicBezTo>
                <a:cubicBezTo>
                  <a:pt x="772" y="317"/>
                  <a:pt x="772" y="317"/>
                  <a:pt x="772" y="317"/>
                </a:cubicBezTo>
                <a:cubicBezTo>
                  <a:pt x="773" y="320"/>
                  <a:pt x="773" y="320"/>
                  <a:pt x="773" y="320"/>
                </a:cubicBezTo>
                <a:cubicBezTo>
                  <a:pt x="775" y="321"/>
                  <a:pt x="775" y="321"/>
                  <a:pt x="775" y="321"/>
                </a:cubicBezTo>
                <a:cubicBezTo>
                  <a:pt x="775" y="323"/>
                  <a:pt x="775" y="323"/>
                  <a:pt x="775" y="323"/>
                </a:cubicBezTo>
                <a:cubicBezTo>
                  <a:pt x="776" y="324"/>
                  <a:pt x="776" y="324"/>
                  <a:pt x="776" y="324"/>
                </a:cubicBezTo>
                <a:cubicBezTo>
                  <a:pt x="777" y="325"/>
                  <a:pt x="777" y="325"/>
                  <a:pt x="777" y="325"/>
                </a:cubicBezTo>
                <a:cubicBezTo>
                  <a:pt x="776" y="325"/>
                  <a:pt x="776" y="325"/>
                  <a:pt x="776" y="325"/>
                </a:cubicBezTo>
                <a:cubicBezTo>
                  <a:pt x="775" y="324"/>
                  <a:pt x="775" y="324"/>
                  <a:pt x="775" y="324"/>
                </a:cubicBezTo>
                <a:cubicBezTo>
                  <a:pt x="774" y="325"/>
                  <a:pt x="774" y="325"/>
                  <a:pt x="774" y="325"/>
                </a:cubicBezTo>
                <a:cubicBezTo>
                  <a:pt x="773" y="326"/>
                  <a:pt x="773" y="326"/>
                  <a:pt x="773" y="326"/>
                </a:cubicBezTo>
                <a:cubicBezTo>
                  <a:pt x="772" y="326"/>
                  <a:pt x="772" y="326"/>
                  <a:pt x="772" y="326"/>
                </a:cubicBezTo>
                <a:cubicBezTo>
                  <a:pt x="770" y="328"/>
                  <a:pt x="770" y="328"/>
                  <a:pt x="770" y="328"/>
                </a:cubicBezTo>
                <a:cubicBezTo>
                  <a:pt x="769" y="327"/>
                  <a:pt x="769" y="327"/>
                  <a:pt x="769" y="327"/>
                </a:cubicBezTo>
                <a:cubicBezTo>
                  <a:pt x="768" y="328"/>
                  <a:pt x="768" y="328"/>
                  <a:pt x="768" y="328"/>
                </a:cubicBezTo>
                <a:cubicBezTo>
                  <a:pt x="769" y="329"/>
                  <a:pt x="769" y="329"/>
                  <a:pt x="769" y="329"/>
                </a:cubicBezTo>
                <a:cubicBezTo>
                  <a:pt x="771" y="329"/>
                  <a:pt x="771" y="329"/>
                  <a:pt x="771" y="329"/>
                </a:cubicBezTo>
                <a:cubicBezTo>
                  <a:pt x="770" y="330"/>
                  <a:pt x="770" y="330"/>
                  <a:pt x="770" y="330"/>
                </a:cubicBezTo>
                <a:cubicBezTo>
                  <a:pt x="770" y="331"/>
                  <a:pt x="770" y="331"/>
                  <a:pt x="770" y="331"/>
                </a:cubicBezTo>
                <a:cubicBezTo>
                  <a:pt x="771" y="332"/>
                  <a:pt x="771" y="332"/>
                  <a:pt x="771" y="332"/>
                </a:cubicBezTo>
                <a:cubicBezTo>
                  <a:pt x="771" y="333"/>
                  <a:pt x="771" y="333"/>
                  <a:pt x="771" y="333"/>
                </a:cubicBezTo>
                <a:cubicBezTo>
                  <a:pt x="770" y="332"/>
                  <a:pt x="770" y="332"/>
                  <a:pt x="770" y="332"/>
                </a:cubicBezTo>
                <a:cubicBezTo>
                  <a:pt x="771" y="334"/>
                  <a:pt x="771" y="334"/>
                  <a:pt x="771" y="334"/>
                </a:cubicBezTo>
                <a:cubicBezTo>
                  <a:pt x="770" y="335"/>
                  <a:pt x="770" y="335"/>
                  <a:pt x="770" y="335"/>
                </a:cubicBezTo>
                <a:cubicBezTo>
                  <a:pt x="771" y="335"/>
                  <a:pt x="771" y="335"/>
                  <a:pt x="771" y="335"/>
                </a:cubicBezTo>
                <a:cubicBezTo>
                  <a:pt x="772" y="335"/>
                  <a:pt x="772" y="335"/>
                  <a:pt x="772" y="335"/>
                </a:cubicBezTo>
                <a:cubicBezTo>
                  <a:pt x="773" y="336"/>
                  <a:pt x="773" y="336"/>
                  <a:pt x="773" y="336"/>
                </a:cubicBezTo>
                <a:cubicBezTo>
                  <a:pt x="772" y="337"/>
                  <a:pt x="772" y="337"/>
                  <a:pt x="772" y="337"/>
                </a:cubicBezTo>
                <a:cubicBezTo>
                  <a:pt x="772" y="339"/>
                  <a:pt x="772" y="339"/>
                  <a:pt x="772" y="339"/>
                </a:cubicBezTo>
                <a:cubicBezTo>
                  <a:pt x="773" y="340"/>
                  <a:pt x="773" y="340"/>
                  <a:pt x="773" y="340"/>
                </a:cubicBezTo>
                <a:cubicBezTo>
                  <a:pt x="772" y="343"/>
                  <a:pt x="772" y="343"/>
                  <a:pt x="772" y="343"/>
                </a:cubicBezTo>
                <a:cubicBezTo>
                  <a:pt x="772" y="344"/>
                  <a:pt x="772" y="344"/>
                  <a:pt x="772" y="344"/>
                </a:cubicBezTo>
                <a:cubicBezTo>
                  <a:pt x="772" y="344"/>
                  <a:pt x="772" y="344"/>
                  <a:pt x="772" y="344"/>
                </a:cubicBezTo>
                <a:cubicBezTo>
                  <a:pt x="772" y="345"/>
                  <a:pt x="772" y="345"/>
                  <a:pt x="772" y="345"/>
                </a:cubicBezTo>
                <a:cubicBezTo>
                  <a:pt x="770" y="347"/>
                  <a:pt x="770" y="347"/>
                  <a:pt x="770" y="347"/>
                </a:cubicBezTo>
                <a:cubicBezTo>
                  <a:pt x="770" y="348"/>
                  <a:pt x="770" y="348"/>
                  <a:pt x="770" y="348"/>
                </a:cubicBezTo>
                <a:cubicBezTo>
                  <a:pt x="770" y="348"/>
                  <a:pt x="770" y="348"/>
                  <a:pt x="770" y="348"/>
                </a:cubicBezTo>
                <a:cubicBezTo>
                  <a:pt x="769" y="351"/>
                  <a:pt x="769" y="351"/>
                  <a:pt x="769" y="351"/>
                </a:cubicBezTo>
                <a:cubicBezTo>
                  <a:pt x="768" y="354"/>
                  <a:pt x="768" y="354"/>
                  <a:pt x="768" y="354"/>
                </a:cubicBezTo>
                <a:cubicBezTo>
                  <a:pt x="768" y="353"/>
                  <a:pt x="768" y="353"/>
                  <a:pt x="768" y="353"/>
                </a:cubicBezTo>
                <a:cubicBezTo>
                  <a:pt x="767" y="352"/>
                  <a:pt x="767" y="352"/>
                  <a:pt x="767" y="352"/>
                </a:cubicBezTo>
                <a:cubicBezTo>
                  <a:pt x="768" y="350"/>
                  <a:pt x="768" y="350"/>
                  <a:pt x="768" y="350"/>
                </a:cubicBezTo>
                <a:cubicBezTo>
                  <a:pt x="767" y="350"/>
                  <a:pt x="767" y="350"/>
                  <a:pt x="767" y="350"/>
                </a:cubicBezTo>
                <a:cubicBezTo>
                  <a:pt x="765" y="349"/>
                  <a:pt x="765" y="349"/>
                  <a:pt x="765" y="349"/>
                </a:cubicBezTo>
                <a:cubicBezTo>
                  <a:pt x="763" y="347"/>
                  <a:pt x="763" y="347"/>
                  <a:pt x="763" y="347"/>
                </a:cubicBezTo>
                <a:cubicBezTo>
                  <a:pt x="763" y="345"/>
                  <a:pt x="763" y="345"/>
                  <a:pt x="763" y="345"/>
                </a:cubicBezTo>
                <a:cubicBezTo>
                  <a:pt x="761" y="340"/>
                  <a:pt x="761" y="340"/>
                  <a:pt x="761" y="340"/>
                </a:cubicBezTo>
                <a:cubicBezTo>
                  <a:pt x="759" y="337"/>
                  <a:pt x="759" y="337"/>
                  <a:pt x="759" y="337"/>
                </a:cubicBezTo>
                <a:cubicBezTo>
                  <a:pt x="760" y="337"/>
                  <a:pt x="760" y="337"/>
                  <a:pt x="760" y="337"/>
                </a:cubicBezTo>
                <a:cubicBezTo>
                  <a:pt x="761" y="337"/>
                  <a:pt x="761" y="337"/>
                  <a:pt x="761" y="337"/>
                </a:cubicBezTo>
                <a:cubicBezTo>
                  <a:pt x="761" y="336"/>
                  <a:pt x="761" y="336"/>
                  <a:pt x="761" y="336"/>
                </a:cubicBezTo>
                <a:cubicBezTo>
                  <a:pt x="760" y="336"/>
                  <a:pt x="760" y="336"/>
                  <a:pt x="760" y="336"/>
                </a:cubicBezTo>
                <a:cubicBezTo>
                  <a:pt x="759" y="336"/>
                  <a:pt x="759" y="336"/>
                  <a:pt x="759" y="336"/>
                </a:cubicBezTo>
                <a:cubicBezTo>
                  <a:pt x="757" y="335"/>
                  <a:pt x="757" y="335"/>
                  <a:pt x="757" y="335"/>
                </a:cubicBezTo>
                <a:cubicBezTo>
                  <a:pt x="752" y="326"/>
                  <a:pt x="752" y="326"/>
                  <a:pt x="752" y="326"/>
                </a:cubicBezTo>
                <a:cubicBezTo>
                  <a:pt x="747" y="321"/>
                  <a:pt x="747" y="321"/>
                  <a:pt x="747" y="321"/>
                </a:cubicBezTo>
                <a:cubicBezTo>
                  <a:pt x="747" y="319"/>
                  <a:pt x="747" y="319"/>
                  <a:pt x="747" y="319"/>
                </a:cubicBezTo>
                <a:cubicBezTo>
                  <a:pt x="746" y="317"/>
                  <a:pt x="746" y="317"/>
                  <a:pt x="746" y="317"/>
                </a:cubicBezTo>
                <a:cubicBezTo>
                  <a:pt x="742" y="312"/>
                  <a:pt x="742" y="312"/>
                  <a:pt x="742" y="312"/>
                </a:cubicBezTo>
                <a:cubicBezTo>
                  <a:pt x="739" y="305"/>
                  <a:pt x="739" y="305"/>
                  <a:pt x="739" y="305"/>
                </a:cubicBezTo>
                <a:cubicBezTo>
                  <a:pt x="736" y="299"/>
                  <a:pt x="736" y="299"/>
                  <a:pt x="736" y="299"/>
                </a:cubicBezTo>
                <a:cubicBezTo>
                  <a:pt x="736" y="297"/>
                  <a:pt x="736" y="297"/>
                  <a:pt x="736" y="297"/>
                </a:cubicBezTo>
                <a:cubicBezTo>
                  <a:pt x="734" y="294"/>
                  <a:pt x="734" y="294"/>
                  <a:pt x="734" y="294"/>
                </a:cubicBezTo>
                <a:cubicBezTo>
                  <a:pt x="734" y="290"/>
                  <a:pt x="734" y="290"/>
                  <a:pt x="734" y="290"/>
                </a:cubicBezTo>
                <a:cubicBezTo>
                  <a:pt x="733" y="287"/>
                  <a:pt x="733" y="287"/>
                  <a:pt x="733" y="287"/>
                </a:cubicBezTo>
                <a:cubicBezTo>
                  <a:pt x="733" y="285"/>
                  <a:pt x="733" y="285"/>
                  <a:pt x="733" y="285"/>
                </a:cubicBezTo>
                <a:cubicBezTo>
                  <a:pt x="734" y="283"/>
                  <a:pt x="734" y="283"/>
                  <a:pt x="734" y="283"/>
                </a:cubicBezTo>
                <a:cubicBezTo>
                  <a:pt x="735" y="281"/>
                  <a:pt x="735" y="281"/>
                  <a:pt x="735" y="281"/>
                </a:cubicBezTo>
                <a:cubicBezTo>
                  <a:pt x="736" y="281"/>
                  <a:pt x="736" y="281"/>
                  <a:pt x="736" y="281"/>
                </a:cubicBezTo>
                <a:cubicBezTo>
                  <a:pt x="735" y="280"/>
                  <a:pt x="735" y="280"/>
                  <a:pt x="735" y="280"/>
                </a:cubicBezTo>
                <a:cubicBezTo>
                  <a:pt x="736" y="279"/>
                  <a:pt x="736" y="279"/>
                  <a:pt x="736" y="279"/>
                </a:cubicBezTo>
                <a:cubicBezTo>
                  <a:pt x="736" y="276"/>
                  <a:pt x="736" y="276"/>
                  <a:pt x="736" y="276"/>
                </a:cubicBezTo>
                <a:cubicBezTo>
                  <a:pt x="733" y="273"/>
                  <a:pt x="733" y="273"/>
                  <a:pt x="733" y="273"/>
                </a:cubicBezTo>
                <a:cubicBezTo>
                  <a:pt x="732" y="273"/>
                  <a:pt x="732" y="273"/>
                  <a:pt x="732" y="273"/>
                </a:cubicBezTo>
                <a:cubicBezTo>
                  <a:pt x="732" y="272"/>
                  <a:pt x="732" y="272"/>
                  <a:pt x="732" y="272"/>
                </a:cubicBezTo>
                <a:cubicBezTo>
                  <a:pt x="733" y="271"/>
                  <a:pt x="733" y="271"/>
                  <a:pt x="733" y="271"/>
                </a:cubicBezTo>
                <a:cubicBezTo>
                  <a:pt x="735" y="272"/>
                  <a:pt x="735" y="272"/>
                  <a:pt x="735" y="272"/>
                </a:cubicBezTo>
                <a:cubicBezTo>
                  <a:pt x="737" y="270"/>
                  <a:pt x="737" y="270"/>
                  <a:pt x="737" y="270"/>
                </a:cubicBezTo>
                <a:cubicBezTo>
                  <a:pt x="736" y="269"/>
                  <a:pt x="736" y="269"/>
                  <a:pt x="736" y="269"/>
                </a:cubicBezTo>
                <a:cubicBezTo>
                  <a:pt x="736" y="267"/>
                  <a:pt x="736" y="267"/>
                  <a:pt x="736" y="267"/>
                </a:cubicBezTo>
                <a:cubicBezTo>
                  <a:pt x="738" y="267"/>
                  <a:pt x="738" y="267"/>
                  <a:pt x="738" y="267"/>
                </a:cubicBezTo>
                <a:cubicBezTo>
                  <a:pt x="740" y="267"/>
                  <a:pt x="740" y="267"/>
                  <a:pt x="740" y="267"/>
                </a:cubicBezTo>
                <a:cubicBezTo>
                  <a:pt x="739" y="265"/>
                  <a:pt x="739" y="265"/>
                  <a:pt x="739" y="265"/>
                </a:cubicBezTo>
                <a:cubicBezTo>
                  <a:pt x="741" y="262"/>
                  <a:pt x="741" y="262"/>
                  <a:pt x="741" y="262"/>
                </a:cubicBezTo>
                <a:cubicBezTo>
                  <a:pt x="740" y="259"/>
                  <a:pt x="740" y="259"/>
                  <a:pt x="740" y="259"/>
                </a:cubicBezTo>
                <a:cubicBezTo>
                  <a:pt x="740" y="257"/>
                  <a:pt x="740" y="257"/>
                  <a:pt x="740" y="257"/>
                </a:cubicBezTo>
                <a:cubicBezTo>
                  <a:pt x="739" y="255"/>
                  <a:pt x="739" y="255"/>
                  <a:pt x="739" y="255"/>
                </a:cubicBezTo>
                <a:cubicBezTo>
                  <a:pt x="740" y="254"/>
                  <a:pt x="740" y="254"/>
                  <a:pt x="740" y="254"/>
                </a:cubicBezTo>
                <a:cubicBezTo>
                  <a:pt x="740" y="253"/>
                  <a:pt x="740" y="253"/>
                  <a:pt x="740" y="253"/>
                </a:cubicBezTo>
                <a:cubicBezTo>
                  <a:pt x="740" y="252"/>
                  <a:pt x="740" y="252"/>
                  <a:pt x="740" y="252"/>
                </a:cubicBezTo>
                <a:cubicBezTo>
                  <a:pt x="740" y="250"/>
                  <a:pt x="740" y="250"/>
                  <a:pt x="740" y="250"/>
                </a:cubicBezTo>
                <a:cubicBezTo>
                  <a:pt x="741" y="250"/>
                  <a:pt x="741" y="250"/>
                  <a:pt x="741" y="250"/>
                </a:cubicBezTo>
                <a:cubicBezTo>
                  <a:pt x="740" y="249"/>
                  <a:pt x="740" y="249"/>
                  <a:pt x="740" y="249"/>
                </a:cubicBezTo>
                <a:cubicBezTo>
                  <a:pt x="740" y="248"/>
                  <a:pt x="740" y="248"/>
                  <a:pt x="740" y="248"/>
                </a:cubicBezTo>
                <a:cubicBezTo>
                  <a:pt x="740" y="247"/>
                  <a:pt x="740" y="247"/>
                  <a:pt x="740" y="247"/>
                </a:cubicBezTo>
                <a:cubicBezTo>
                  <a:pt x="740" y="245"/>
                  <a:pt x="740" y="245"/>
                  <a:pt x="740" y="245"/>
                </a:cubicBezTo>
                <a:cubicBezTo>
                  <a:pt x="740" y="244"/>
                  <a:pt x="740" y="244"/>
                  <a:pt x="740" y="244"/>
                </a:cubicBezTo>
                <a:cubicBezTo>
                  <a:pt x="740" y="243"/>
                  <a:pt x="740" y="243"/>
                  <a:pt x="740" y="243"/>
                </a:cubicBezTo>
                <a:cubicBezTo>
                  <a:pt x="741" y="243"/>
                  <a:pt x="741" y="243"/>
                  <a:pt x="741" y="243"/>
                </a:cubicBezTo>
                <a:cubicBezTo>
                  <a:pt x="742" y="242"/>
                  <a:pt x="742" y="242"/>
                  <a:pt x="742" y="242"/>
                </a:cubicBezTo>
                <a:cubicBezTo>
                  <a:pt x="742" y="240"/>
                  <a:pt x="742" y="240"/>
                  <a:pt x="742" y="240"/>
                </a:cubicBezTo>
                <a:cubicBezTo>
                  <a:pt x="742" y="237"/>
                  <a:pt x="742" y="237"/>
                  <a:pt x="742" y="237"/>
                </a:cubicBezTo>
                <a:cubicBezTo>
                  <a:pt x="741" y="237"/>
                  <a:pt x="741" y="237"/>
                  <a:pt x="741" y="237"/>
                </a:cubicBezTo>
                <a:cubicBezTo>
                  <a:pt x="741" y="236"/>
                  <a:pt x="741" y="236"/>
                  <a:pt x="741" y="236"/>
                </a:cubicBezTo>
                <a:cubicBezTo>
                  <a:pt x="742" y="234"/>
                  <a:pt x="742" y="234"/>
                  <a:pt x="742" y="234"/>
                </a:cubicBezTo>
                <a:cubicBezTo>
                  <a:pt x="742" y="232"/>
                  <a:pt x="742" y="232"/>
                  <a:pt x="742" y="232"/>
                </a:cubicBezTo>
                <a:cubicBezTo>
                  <a:pt x="741" y="232"/>
                  <a:pt x="741" y="232"/>
                  <a:pt x="741" y="232"/>
                </a:cubicBezTo>
                <a:cubicBezTo>
                  <a:pt x="741" y="231"/>
                  <a:pt x="741" y="231"/>
                  <a:pt x="741" y="231"/>
                </a:cubicBezTo>
                <a:cubicBezTo>
                  <a:pt x="742" y="230"/>
                  <a:pt x="742" y="230"/>
                  <a:pt x="742" y="230"/>
                </a:cubicBezTo>
                <a:cubicBezTo>
                  <a:pt x="742" y="229"/>
                  <a:pt x="742" y="229"/>
                  <a:pt x="742" y="229"/>
                </a:cubicBezTo>
                <a:cubicBezTo>
                  <a:pt x="743" y="228"/>
                  <a:pt x="743" y="228"/>
                  <a:pt x="743" y="228"/>
                </a:cubicBezTo>
                <a:cubicBezTo>
                  <a:pt x="743" y="228"/>
                  <a:pt x="743" y="228"/>
                  <a:pt x="743" y="228"/>
                </a:cubicBezTo>
                <a:cubicBezTo>
                  <a:pt x="744" y="227"/>
                  <a:pt x="744" y="227"/>
                  <a:pt x="744" y="227"/>
                </a:cubicBezTo>
                <a:cubicBezTo>
                  <a:pt x="745" y="226"/>
                  <a:pt x="745" y="226"/>
                  <a:pt x="745" y="226"/>
                </a:cubicBezTo>
                <a:cubicBezTo>
                  <a:pt x="746" y="224"/>
                  <a:pt x="746" y="224"/>
                  <a:pt x="746" y="224"/>
                </a:cubicBezTo>
                <a:cubicBezTo>
                  <a:pt x="746" y="224"/>
                  <a:pt x="746" y="224"/>
                  <a:pt x="746" y="224"/>
                </a:cubicBezTo>
                <a:cubicBezTo>
                  <a:pt x="748" y="223"/>
                  <a:pt x="748" y="223"/>
                  <a:pt x="748" y="223"/>
                </a:cubicBezTo>
                <a:cubicBezTo>
                  <a:pt x="748" y="223"/>
                  <a:pt x="748" y="223"/>
                  <a:pt x="748" y="223"/>
                </a:cubicBezTo>
                <a:cubicBezTo>
                  <a:pt x="749" y="222"/>
                  <a:pt x="749" y="222"/>
                  <a:pt x="749" y="222"/>
                </a:cubicBezTo>
                <a:cubicBezTo>
                  <a:pt x="748" y="222"/>
                  <a:pt x="748" y="222"/>
                  <a:pt x="748" y="222"/>
                </a:cubicBezTo>
                <a:cubicBezTo>
                  <a:pt x="747" y="222"/>
                  <a:pt x="747" y="222"/>
                  <a:pt x="747" y="222"/>
                </a:cubicBezTo>
                <a:cubicBezTo>
                  <a:pt x="746" y="222"/>
                  <a:pt x="746" y="222"/>
                  <a:pt x="746" y="222"/>
                </a:cubicBezTo>
                <a:cubicBezTo>
                  <a:pt x="745" y="222"/>
                  <a:pt x="745" y="222"/>
                  <a:pt x="745" y="222"/>
                </a:cubicBezTo>
                <a:cubicBezTo>
                  <a:pt x="745" y="219"/>
                  <a:pt x="745" y="219"/>
                  <a:pt x="745" y="219"/>
                </a:cubicBezTo>
                <a:cubicBezTo>
                  <a:pt x="746" y="217"/>
                  <a:pt x="746" y="217"/>
                  <a:pt x="746" y="217"/>
                </a:cubicBezTo>
                <a:cubicBezTo>
                  <a:pt x="746" y="216"/>
                  <a:pt x="746" y="216"/>
                  <a:pt x="746" y="216"/>
                </a:cubicBezTo>
                <a:cubicBezTo>
                  <a:pt x="745" y="215"/>
                  <a:pt x="745" y="215"/>
                  <a:pt x="745" y="215"/>
                </a:cubicBezTo>
                <a:cubicBezTo>
                  <a:pt x="745" y="215"/>
                  <a:pt x="745" y="215"/>
                  <a:pt x="745" y="215"/>
                </a:cubicBezTo>
                <a:cubicBezTo>
                  <a:pt x="744" y="216"/>
                  <a:pt x="744" y="216"/>
                  <a:pt x="744" y="216"/>
                </a:cubicBezTo>
                <a:cubicBezTo>
                  <a:pt x="744" y="216"/>
                  <a:pt x="744" y="216"/>
                  <a:pt x="744" y="216"/>
                </a:cubicBezTo>
                <a:cubicBezTo>
                  <a:pt x="743" y="213"/>
                  <a:pt x="743" y="213"/>
                  <a:pt x="743" y="213"/>
                </a:cubicBezTo>
                <a:cubicBezTo>
                  <a:pt x="744" y="212"/>
                  <a:pt x="744" y="212"/>
                  <a:pt x="744" y="212"/>
                </a:cubicBezTo>
                <a:cubicBezTo>
                  <a:pt x="744" y="211"/>
                  <a:pt x="744" y="211"/>
                  <a:pt x="744" y="211"/>
                </a:cubicBezTo>
                <a:cubicBezTo>
                  <a:pt x="744" y="210"/>
                  <a:pt x="744" y="210"/>
                  <a:pt x="744" y="210"/>
                </a:cubicBezTo>
                <a:cubicBezTo>
                  <a:pt x="742" y="209"/>
                  <a:pt x="742" y="209"/>
                  <a:pt x="742" y="209"/>
                </a:cubicBezTo>
                <a:cubicBezTo>
                  <a:pt x="743" y="209"/>
                  <a:pt x="743" y="209"/>
                  <a:pt x="743" y="209"/>
                </a:cubicBezTo>
                <a:cubicBezTo>
                  <a:pt x="742" y="209"/>
                  <a:pt x="742" y="209"/>
                  <a:pt x="742" y="209"/>
                </a:cubicBezTo>
                <a:cubicBezTo>
                  <a:pt x="742" y="208"/>
                  <a:pt x="742" y="208"/>
                  <a:pt x="742" y="208"/>
                </a:cubicBezTo>
                <a:cubicBezTo>
                  <a:pt x="741" y="206"/>
                  <a:pt x="741" y="206"/>
                  <a:pt x="741" y="206"/>
                </a:cubicBezTo>
                <a:cubicBezTo>
                  <a:pt x="741" y="206"/>
                  <a:pt x="741" y="206"/>
                  <a:pt x="741" y="206"/>
                </a:cubicBezTo>
                <a:cubicBezTo>
                  <a:pt x="740" y="205"/>
                  <a:pt x="740" y="205"/>
                  <a:pt x="740" y="205"/>
                </a:cubicBezTo>
                <a:cubicBezTo>
                  <a:pt x="740" y="204"/>
                  <a:pt x="740" y="204"/>
                  <a:pt x="740" y="204"/>
                </a:cubicBezTo>
                <a:cubicBezTo>
                  <a:pt x="739" y="202"/>
                  <a:pt x="739" y="202"/>
                  <a:pt x="739" y="202"/>
                </a:cubicBezTo>
                <a:cubicBezTo>
                  <a:pt x="739" y="201"/>
                  <a:pt x="739" y="201"/>
                  <a:pt x="739" y="201"/>
                </a:cubicBezTo>
                <a:cubicBezTo>
                  <a:pt x="741" y="199"/>
                  <a:pt x="741" y="199"/>
                  <a:pt x="741" y="199"/>
                </a:cubicBezTo>
                <a:cubicBezTo>
                  <a:pt x="742" y="200"/>
                  <a:pt x="742" y="200"/>
                  <a:pt x="742" y="200"/>
                </a:cubicBezTo>
                <a:cubicBezTo>
                  <a:pt x="744" y="199"/>
                  <a:pt x="744" y="199"/>
                  <a:pt x="744" y="199"/>
                </a:cubicBezTo>
                <a:cubicBezTo>
                  <a:pt x="743" y="199"/>
                  <a:pt x="743" y="199"/>
                  <a:pt x="743" y="199"/>
                </a:cubicBezTo>
                <a:cubicBezTo>
                  <a:pt x="745" y="198"/>
                  <a:pt x="745" y="198"/>
                  <a:pt x="745" y="198"/>
                </a:cubicBezTo>
                <a:cubicBezTo>
                  <a:pt x="744" y="198"/>
                  <a:pt x="744" y="198"/>
                  <a:pt x="744" y="198"/>
                </a:cubicBezTo>
                <a:cubicBezTo>
                  <a:pt x="743" y="198"/>
                  <a:pt x="743" y="198"/>
                  <a:pt x="743" y="198"/>
                </a:cubicBezTo>
                <a:cubicBezTo>
                  <a:pt x="742" y="197"/>
                  <a:pt x="742" y="197"/>
                  <a:pt x="742" y="197"/>
                </a:cubicBezTo>
                <a:cubicBezTo>
                  <a:pt x="740" y="197"/>
                  <a:pt x="740" y="197"/>
                  <a:pt x="740" y="197"/>
                </a:cubicBezTo>
                <a:cubicBezTo>
                  <a:pt x="738" y="196"/>
                  <a:pt x="738" y="196"/>
                  <a:pt x="738" y="196"/>
                </a:cubicBezTo>
                <a:cubicBezTo>
                  <a:pt x="738" y="196"/>
                  <a:pt x="738" y="196"/>
                  <a:pt x="738" y="196"/>
                </a:cubicBezTo>
                <a:cubicBezTo>
                  <a:pt x="736" y="196"/>
                  <a:pt x="736" y="196"/>
                  <a:pt x="736" y="196"/>
                </a:cubicBezTo>
                <a:cubicBezTo>
                  <a:pt x="735" y="198"/>
                  <a:pt x="735" y="198"/>
                  <a:pt x="735" y="198"/>
                </a:cubicBezTo>
                <a:cubicBezTo>
                  <a:pt x="734" y="198"/>
                  <a:pt x="734" y="198"/>
                  <a:pt x="734" y="198"/>
                </a:cubicBezTo>
                <a:cubicBezTo>
                  <a:pt x="732" y="199"/>
                  <a:pt x="732" y="199"/>
                  <a:pt x="732" y="199"/>
                </a:cubicBezTo>
                <a:cubicBezTo>
                  <a:pt x="733" y="200"/>
                  <a:pt x="733" y="200"/>
                  <a:pt x="733" y="200"/>
                </a:cubicBezTo>
                <a:cubicBezTo>
                  <a:pt x="732" y="201"/>
                  <a:pt x="732" y="201"/>
                  <a:pt x="732" y="201"/>
                </a:cubicBezTo>
                <a:cubicBezTo>
                  <a:pt x="734" y="202"/>
                  <a:pt x="734" y="202"/>
                  <a:pt x="734" y="202"/>
                </a:cubicBezTo>
                <a:cubicBezTo>
                  <a:pt x="734" y="203"/>
                  <a:pt x="734" y="203"/>
                  <a:pt x="734" y="203"/>
                </a:cubicBezTo>
                <a:cubicBezTo>
                  <a:pt x="734" y="204"/>
                  <a:pt x="734" y="204"/>
                  <a:pt x="734" y="204"/>
                </a:cubicBezTo>
                <a:cubicBezTo>
                  <a:pt x="734" y="206"/>
                  <a:pt x="734" y="206"/>
                  <a:pt x="734" y="206"/>
                </a:cubicBezTo>
                <a:cubicBezTo>
                  <a:pt x="735" y="207"/>
                  <a:pt x="735" y="207"/>
                  <a:pt x="735" y="207"/>
                </a:cubicBezTo>
                <a:cubicBezTo>
                  <a:pt x="735" y="207"/>
                  <a:pt x="735" y="207"/>
                  <a:pt x="735" y="207"/>
                </a:cubicBezTo>
                <a:cubicBezTo>
                  <a:pt x="736" y="208"/>
                  <a:pt x="736" y="208"/>
                  <a:pt x="736" y="208"/>
                </a:cubicBezTo>
                <a:cubicBezTo>
                  <a:pt x="737" y="210"/>
                  <a:pt x="737" y="210"/>
                  <a:pt x="737" y="210"/>
                </a:cubicBezTo>
                <a:cubicBezTo>
                  <a:pt x="739" y="211"/>
                  <a:pt x="739" y="211"/>
                  <a:pt x="739" y="211"/>
                </a:cubicBezTo>
                <a:cubicBezTo>
                  <a:pt x="738" y="213"/>
                  <a:pt x="738" y="213"/>
                  <a:pt x="738" y="213"/>
                </a:cubicBezTo>
                <a:cubicBezTo>
                  <a:pt x="739" y="213"/>
                  <a:pt x="739" y="213"/>
                  <a:pt x="739" y="213"/>
                </a:cubicBezTo>
                <a:cubicBezTo>
                  <a:pt x="739" y="214"/>
                  <a:pt x="739" y="214"/>
                  <a:pt x="739" y="214"/>
                </a:cubicBezTo>
                <a:cubicBezTo>
                  <a:pt x="738" y="213"/>
                  <a:pt x="738" y="213"/>
                  <a:pt x="738" y="213"/>
                </a:cubicBezTo>
                <a:cubicBezTo>
                  <a:pt x="737" y="212"/>
                  <a:pt x="737" y="212"/>
                  <a:pt x="737" y="212"/>
                </a:cubicBezTo>
                <a:cubicBezTo>
                  <a:pt x="736" y="213"/>
                  <a:pt x="736" y="213"/>
                  <a:pt x="736" y="213"/>
                </a:cubicBezTo>
                <a:cubicBezTo>
                  <a:pt x="735" y="214"/>
                  <a:pt x="735" y="214"/>
                  <a:pt x="735" y="214"/>
                </a:cubicBezTo>
                <a:cubicBezTo>
                  <a:pt x="734" y="215"/>
                  <a:pt x="734" y="215"/>
                  <a:pt x="734" y="215"/>
                </a:cubicBezTo>
                <a:cubicBezTo>
                  <a:pt x="735" y="216"/>
                  <a:pt x="735" y="216"/>
                  <a:pt x="735" y="216"/>
                </a:cubicBezTo>
                <a:cubicBezTo>
                  <a:pt x="734" y="218"/>
                  <a:pt x="734" y="218"/>
                  <a:pt x="734" y="218"/>
                </a:cubicBezTo>
                <a:cubicBezTo>
                  <a:pt x="734" y="218"/>
                  <a:pt x="734" y="218"/>
                  <a:pt x="734" y="218"/>
                </a:cubicBezTo>
                <a:cubicBezTo>
                  <a:pt x="734" y="219"/>
                  <a:pt x="734" y="219"/>
                  <a:pt x="734" y="219"/>
                </a:cubicBezTo>
                <a:cubicBezTo>
                  <a:pt x="734" y="219"/>
                  <a:pt x="734" y="219"/>
                  <a:pt x="734" y="219"/>
                </a:cubicBezTo>
                <a:cubicBezTo>
                  <a:pt x="734" y="220"/>
                  <a:pt x="734" y="220"/>
                  <a:pt x="734" y="220"/>
                </a:cubicBezTo>
                <a:cubicBezTo>
                  <a:pt x="733" y="221"/>
                  <a:pt x="733" y="221"/>
                  <a:pt x="733" y="221"/>
                </a:cubicBezTo>
                <a:cubicBezTo>
                  <a:pt x="734" y="222"/>
                  <a:pt x="734" y="222"/>
                  <a:pt x="734" y="222"/>
                </a:cubicBezTo>
                <a:cubicBezTo>
                  <a:pt x="733" y="223"/>
                  <a:pt x="733" y="223"/>
                  <a:pt x="733" y="223"/>
                </a:cubicBezTo>
                <a:cubicBezTo>
                  <a:pt x="733" y="226"/>
                  <a:pt x="733" y="226"/>
                  <a:pt x="733" y="226"/>
                </a:cubicBezTo>
                <a:cubicBezTo>
                  <a:pt x="733" y="227"/>
                  <a:pt x="733" y="227"/>
                  <a:pt x="733" y="227"/>
                </a:cubicBezTo>
                <a:cubicBezTo>
                  <a:pt x="733" y="228"/>
                  <a:pt x="733" y="228"/>
                  <a:pt x="733" y="228"/>
                </a:cubicBezTo>
                <a:cubicBezTo>
                  <a:pt x="732" y="228"/>
                  <a:pt x="732" y="228"/>
                  <a:pt x="732" y="228"/>
                </a:cubicBezTo>
                <a:cubicBezTo>
                  <a:pt x="731" y="230"/>
                  <a:pt x="731" y="230"/>
                  <a:pt x="731" y="230"/>
                </a:cubicBezTo>
                <a:cubicBezTo>
                  <a:pt x="731" y="229"/>
                  <a:pt x="731" y="229"/>
                  <a:pt x="731" y="229"/>
                </a:cubicBezTo>
                <a:cubicBezTo>
                  <a:pt x="730" y="228"/>
                  <a:pt x="730" y="228"/>
                  <a:pt x="730" y="228"/>
                </a:cubicBezTo>
                <a:cubicBezTo>
                  <a:pt x="731" y="226"/>
                  <a:pt x="731" y="226"/>
                  <a:pt x="731" y="226"/>
                </a:cubicBezTo>
                <a:cubicBezTo>
                  <a:pt x="730" y="225"/>
                  <a:pt x="730" y="225"/>
                  <a:pt x="730" y="225"/>
                </a:cubicBezTo>
                <a:cubicBezTo>
                  <a:pt x="729" y="225"/>
                  <a:pt x="729" y="225"/>
                  <a:pt x="729" y="225"/>
                </a:cubicBezTo>
                <a:cubicBezTo>
                  <a:pt x="728" y="226"/>
                  <a:pt x="728" y="226"/>
                  <a:pt x="728" y="226"/>
                </a:cubicBezTo>
                <a:cubicBezTo>
                  <a:pt x="728" y="227"/>
                  <a:pt x="728" y="227"/>
                  <a:pt x="728" y="227"/>
                </a:cubicBezTo>
                <a:cubicBezTo>
                  <a:pt x="727" y="227"/>
                  <a:pt x="727" y="227"/>
                  <a:pt x="727" y="227"/>
                </a:cubicBezTo>
                <a:cubicBezTo>
                  <a:pt x="727" y="225"/>
                  <a:pt x="727" y="225"/>
                  <a:pt x="727" y="225"/>
                </a:cubicBezTo>
                <a:cubicBezTo>
                  <a:pt x="726" y="225"/>
                  <a:pt x="726" y="225"/>
                  <a:pt x="726" y="225"/>
                </a:cubicBezTo>
                <a:cubicBezTo>
                  <a:pt x="726" y="224"/>
                  <a:pt x="726" y="224"/>
                  <a:pt x="726" y="224"/>
                </a:cubicBezTo>
                <a:cubicBezTo>
                  <a:pt x="724" y="225"/>
                  <a:pt x="724" y="225"/>
                  <a:pt x="724" y="225"/>
                </a:cubicBezTo>
                <a:cubicBezTo>
                  <a:pt x="724" y="224"/>
                  <a:pt x="724" y="224"/>
                  <a:pt x="724" y="224"/>
                </a:cubicBezTo>
                <a:cubicBezTo>
                  <a:pt x="724" y="224"/>
                  <a:pt x="724" y="224"/>
                  <a:pt x="724" y="224"/>
                </a:cubicBezTo>
                <a:cubicBezTo>
                  <a:pt x="725" y="223"/>
                  <a:pt x="725" y="223"/>
                  <a:pt x="725" y="223"/>
                </a:cubicBezTo>
                <a:cubicBezTo>
                  <a:pt x="725" y="223"/>
                  <a:pt x="725" y="223"/>
                  <a:pt x="725" y="223"/>
                </a:cubicBezTo>
                <a:cubicBezTo>
                  <a:pt x="725" y="222"/>
                  <a:pt x="725" y="222"/>
                  <a:pt x="725" y="222"/>
                </a:cubicBezTo>
                <a:cubicBezTo>
                  <a:pt x="725" y="222"/>
                  <a:pt x="725" y="222"/>
                  <a:pt x="725" y="222"/>
                </a:cubicBezTo>
                <a:cubicBezTo>
                  <a:pt x="725" y="220"/>
                  <a:pt x="725" y="220"/>
                  <a:pt x="725" y="220"/>
                </a:cubicBezTo>
                <a:cubicBezTo>
                  <a:pt x="724" y="220"/>
                  <a:pt x="724" y="220"/>
                  <a:pt x="724" y="220"/>
                </a:cubicBezTo>
                <a:cubicBezTo>
                  <a:pt x="725" y="219"/>
                  <a:pt x="725" y="219"/>
                  <a:pt x="725" y="219"/>
                </a:cubicBezTo>
                <a:cubicBezTo>
                  <a:pt x="724" y="218"/>
                  <a:pt x="724" y="218"/>
                  <a:pt x="724" y="218"/>
                </a:cubicBezTo>
                <a:cubicBezTo>
                  <a:pt x="724" y="217"/>
                  <a:pt x="724" y="217"/>
                  <a:pt x="724" y="217"/>
                </a:cubicBezTo>
                <a:cubicBezTo>
                  <a:pt x="724" y="217"/>
                  <a:pt x="724" y="217"/>
                  <a:pt x="724" y="217"/>
                </a:cubicBezTo>
                <a:cubicBezTo>
                  <a:pt x="724" y="215"/>
                  <a:pt x="724" y="215"/>
                  <a:pt x="724" y="215"/>
                </a:cubicBezTo>
                <a:cubicBezTo>
                  <a:pt x="723" y="214"/>
                  <a:pt x="723" y="214"/>
                  <a:pt x="723" y="214"/>
                </a:cubicBezTo>
                <a:cubicBezTo>
                  <a:pt x="722" y="213"/>
                  <a:pt x="722" y="213"/>
                  <a:pt x="722" y="213"/>
                </a:cubicBezTo>
                <a:cubicBezTo>
                  <a:pt x="722" y="213"/>
                  <a:pt x="722" y="213"/>
                  <a:pt x="722" y="213"/>
                </a:cubicBezTo>
                <a:cubicBezTo>
                  <a:pt x="722" y="215"/>
                  <a:pt x="722" y="215"/>
                  <a:pt x="722" y="215"/>
                </a:cubicBezTo>
                <a:cubicBezTo>
                  <a:pt x="721" y="215"/>
                  <a:pt x="721" y="215"/>
                  <a:pt x="721" y="215"/>
                </a:cubicBezTo>
                <a:cubicBezTo>
                  <a:pt x="721" y="217"/>
                  <a:pt x="721" y="217"/>
                  <a:pt x="721" y="217"/>
                </a:cubicBezTo>
                <a:cubicBezTo>
                  <a:pt x="720" y="218"/>
                  <a:pt x="720" y="218"/>
                  <a:pt x="720" y="218"/>
                </a:cubicBezTo>
                <a:cubicBezTo>
                  <a:pt x="719" y="218"/>
                  <a:pt x="719" y="218"/>
                  <a:pt x="719" y="218"/>
                </a:cubicBezTo>
                <a:cubicBezTo>
                  <a:pt x="719" y="216"/>
                  <a:pt x="719" y="216"/>
                  <a:pt x="719" y="216"/>
                </a:cubicBezTo>
                <a:cubicBezTo>
                  <a:pt x="718" y="216"/>
                  <a:pt x="718" y="216"/>
                  <a:pt x="718" y="216"/>
                </a:cubicBezTo>
                <a:cubicBezTo>
                  <a:pt x="718" y="217"/>
                  <a:pt x="718" y="217"/>
                  <a:pt x="718" y="217"/>
                </a:cubicBezTo>
                <a:cubicBezTo>
                  <a:pt x="717" y="215"/>
                  <a:pt x="717" y="215"/>
                  <a:pt x="717" y="215"/>
                </a:cubicBezTo>
                <a:cubicBezTo>
                  <a:pt x="716" y="215"/>
                  <a:pt x="716" y="215"/>
                  <a:pt x="716" y="215"/>
                </a:cubicBezTo>
                <a:cubicBezTo>
                  <a:pt x="716" y="216"/>
                  <a:pt x="716" y="216"/>
                  <a:pt x="716" y="216"/>
                </a:cubicBezTo>
                <a:cubicBezTo>
                  <a:pt x="715" y="216"/>
                  <a:pt x="715" y="216"/>
                  <a:pt x="715" y="216"/>
                </a:cubicBezTo>
                <a:cubicBezTo>
                  <a:pt x="715" y="217"/>
                  <a:pt x="715" y="217"/>
                  <a:pt x="715" y="217"/>
                </a:cubicBezTo>
                <a:cubicBezTo>
                  <a:pt x="714" y="217"/>
                  <a:pt x="714" y="217"/>
                  <a:pt x="714" y="217"/>
                </a:cubicBezTo>
                <a:cubicBezTo>
                  <a:pt x="714" y="218"/>
                  <a:pt x="714" y="218"/>
                  <a:pt x="714" y="218"/>
                </a:cubicBezTo>
                <a:cubicBezTo>
                  <a:pt x="711" y="218"/>
                  <a:pt x="711" y="218"/>
                  <a:pt x="711" y="218"/>
                </a:cubicBezTo>
                <a:cubicBezTo>
                  <a:pt x="711" y="219"/>
                  <a:pt x="711" y="219"/>
                  <a:pt x="711" y="219"/>
                </a:cubicBezTo>
                <a:cubicBezTo>
                  <a:pt x="710" y="219"/>
                  <a:pt x="710" y="219"/>
                  <a:pt x="710" y="219"/>
                </a:cubicBezTo>
                <a:cubicBezTo>
                  <a:pt x="709" y="219"/>
                  <a:pt x="709" y="219"/>
                  <a:pt x="709" y="219"/>
                </a:cubicBezTo>
                <a:cubicBezTo>
                  <a:pt x="708" y="219"/>
                  <a:pt x="708" y="219"/>
                  <a:pt x="708" y="219"/>
                </a:cubicBezTo>
                <a:cubicBezTo>
                  <a:pt x="706" y="221"/>
                  <a:pt x="706" y="221"/>
                  <a:pt x="706" y="221"/>
                </a:cubicBezTo>
                <a:cubicBezTo>
                  <a:pt x="705" y="222"/>
                  <a:pt x="705" y="222"/>
                  <a:pt x="705" y="222"/>
                </a:cubicBezTo>
                <a:cubicBezTo>
                  <a:pt x="706" y="223"/>
                  <a:pt x="706" y="223"/>
                  <a:pt x="706" y="223"/>
                </a:cubicBezTo>
                <a:cubicBezTo>
                  <a:pt x="704" y="224"/>
                  <a:pt x="704" y="224"/>
                  <a:pt x="704" y="224"/>
                </a:cubicBezTo>
                <a:cubicBezTo>
                  <a:pt x="704" y="225"/>
                  <a:pt x="704" y="225"/>
                  <a:pt x="704" y="225"/>
                </a:cubicBezTo>
                <a:cubicBezTo>
                  <a:pt x="705" y="225"/>
                  <a:pt x="705" y="225"/>
                  <a:pt x="705" y="225"/>
                </a:cubicBezTo>
                <a:cubicBezTo>
                  <a:pt x="705" y="227"/>
                  <a:pt x="705" y="227"/>
                  <a:pt x="705" y="227"/>
                </a:cubicBezTo>
                <a:cubicBezTo>
                  <a:pt x="707" y="229"/>
                  <a:pt x="707" y="229"/>
                  <a:pt x="707" y="229"/>
                </a:cubicBezTo>
                <a:cubicBezTo>
                  <a:pt x="706" y="230"/>
                  <a:pt x="706" y="230"/>
                  <a:pt x="706" y="230"/>
                </a:cubicBezTo>
                <a:cubicBezTo>
                  <a:pt x="705" y="234"/>
                  <a:pt x="705" y="234"/>
                  <a:pt x="705" y="234"/>
                </a:cubicBezTo>
                <a:cubicBezTo>
                  <a:pt x="707" y="236"/>
                  <a:pt x="707" y="236"/>
                  <a:pt x="707" y="236"/>
                </a:cubicBezTo>
                <a:cubicBezTo>
                  <a:pt x="705" y="236"/>
                  <a:pt x="705" y="236"/>
                  <a:pt x="705" y="236"/>
                </a:cubicBezTo>
                <a:cubicBezTo>
                  <a:pt x="706" y="237"/>
                  <a:pt x="706" y="237"/>
                  <a:pt x="706" y="237"/>
                </a:cubicBezTo>
                <a:cubicBezTo>
                  <a:pt x="706" y="238"/>
                  <a:pt x="706" y="238"/>
                  <a:pt x="706" y="238"/>
                </a:cubicBezTo>
                <a:cubicBezTo>
                  <a:pt x="705" y="239"/>
                  <a:pt x="705" y="239"/>
                  <a:pt x="705" y="239"/>
                </a:cubicBezTo>
                <a:cubicBezTo>
                  <a:pt x="704" y="241"/>
                  <a:pt x="704" y="241"/>
                  <a:pt x="704" y="241"/>
                </a:cubicBezTo>
                <a:cubicBezTo>
                  <a:pt x="703" y="242"/>
                  <a:pt x="703" y="242"/>
                  <a:pt x="703" y="242"/>
                </a:cubicBezTo>
                <a:cubicBezTo>
                  <a:pt x="703" y="244"/>
                  <a:pt x="703" y="244"/>
                  <a:pt x="703" y="244"/>
                </a:cubicBezTo>
                <a:cubicBezTo>
                  <a:pt x="703" y="246"/>
                  <a:pt x="703" y="246"/>
                  <a:pt x="703" y="246"/>
                </a:cubicBezTo>
                <a:cubicBezTo>
                  <a:pt x="704" y="248"/>
                  <a:pt x="704" y="248"/>
                  <a:pt x="704" y="248"/>
                </a:cubicBezTo>
                <a:cubicBezTo>
                  <a:pt x="703" y="248"/>
                  <a:pt x="703" y="248"/>
                  <a:pt x="703" y="248"/>
                </a:cubicBezTo>
                <a:cubicBezTo>
                  <a:pt x="705" y="251"/>
                  <a:pt x="705" y="251"/>
                  <a:pt x="705" y="251"/>
                </a:cubicBezTo>
                <a:cubicBezTo>
                  <a:pt x="704" y="251"/>
                  <a:pt x="704" y="251"/>
                  <a:pt x="704" y="251"/>
                </a:cubicBezTo>
                <a:cubicBezTo>
                  <a:pt x="704" y="252"/>
                  <a:pt x="704" y="252"/>
                  <a:pt x="704" y="252"/>
                </a:cubicBezTo>
                <a:cubicBezTo>
                  <a:pt x="705" y="253"/>
                  <a:pt x="705" y="253"/>
                  <a:pt x="705" y="253"/>
                </a:cubicBezTo>
                <a:cubicBezTo>
                  <a:pt x="705" y="252"/>
                  <a:pt x="705" y="252"/>
                  <a:pt x="705" y="252"/>
                </a:cubicBezTo>
                <a:cubicBezTo>
                  <a:pt x="706" y="252"/>
                  <a:pt x="706" y="252"/>
                  <a:pt x="706" y="252"/>
                </a:cubicBezTo>
                <a:cubicBezTo>
                  <a:pt x="706" y="252"/>
                  <a:pt x="706" y="252"/>
                  <a:pt x="706" y="252"/>
                </a:cubicBezTo>
                <a:cubicBezTo>
                  <a:pt x="707" y="251"/>
                  <a:pt x="707" y="251"/>
                  <a:pt x="707" y="251"/>
                </a:cubicBezTo>
                <a:cubicBezTo>
                  <a:pt x="708" y="252"/>
                  <a:pt x="708" y="252"/>
                  <a:pt x="708" y="252"/>
                </a:cubicBezTo>
                <a:cubicBezTo>
                  <a:pt x="708" y="252"/>
                  <a:pt x="708" y="252"/>
                  <a:pt x="708" y="252"/>
                </a:cubicBezTo>
                <a:cubicBezTo>
                  <a:pt x="708" y="251"/>
                  <a:pt x="708" y="251"/>
                  <a:pt x="708" y="251"/>
                </a:cubicBezTo>
                <a:cubicBezTo>
                  <a:pt x="709" y="251"/>
                  <a:pt x="709" y="251"/>
                  <a:pt x="709" y="251"/>
                </a:cubicBezTo>
                <a:cubicBezTo>
                  <a:pt x="709" y="252"/>
                  <a:pt x="709" y="252"/>
                  <a:pt x="709" y="252"/>
                </a:cubicBezTo>
                <a:cubicBezTo>
                  <a:pt x="710" y="252"/>
                  <a:pt x="710" y="252"/>
                  <a:pt x="710" y="252"/>
                </a:cubicBezTo>
                <a:cubicBezTo>
                  <a:pt x="711" y="253"/>
                  <a:pt x="711" y="253"/>
                  <a:pt x="711" y="253"/>
                </a:cubicBezTo>
                <a:cubicBezTo>
                  <a:pt x="710" y="253"/>
                  <a:pt x="710" y="253"/>
                  <a:pt x="710" y="253"/>
                </a:cubicBezTo>
                <a:cubicBezTo>
                  <a:pt x="711" y="254"/>
                  <a:pt x="711" y="254"/>
                  <a:pt x="711" y="254"/>
                </a:cubicBezTo>
                <a:cubicBezTo>
                  <a:pt x="711" y="255"/>
                  <a:pt x="711" y="255"/>
                  <a:pt x="711" y="255"/>
                </a:cubicBezTo>
                <a:cubicBezTo>
                  <a:pt x="710" y="255"/>
                  <a:pt x="710" y="255"/>
                  <a:pt x="710" y="255"/>
                </a:cubicBezTo>
                <a:cubicBezTo>
                  <a:pt x="710" y="255"/>
                  <a:pt x="710" y="255"/>
                  <a:pt x="710" y="255"/>
                </a:cubicBezTo>
                <a:cubicBezTo>
                  <a:pt x="709" y="255"/>
                  <a:pt x="709" y="255"/>
                  <a:pt x="709" y="255"/>
                </a:cubicBezTo>
                <a:cubicBezTo>
                  <a:pt x="708" y="256"/>
                  <a:pt x="708" y="256"/>
                  <a:pt x="708" y="256"/>
                </a:cubicBezTo>
                <a:cubicBezTo>
                  <a:pt x="708" y="256"/>
                  <a:pt x="708" y="256"/>
                  <a:pt x="708" y="256"/>
                </a:cubicBezTo>
                <a:cubicBezTo>
                  <a:pt x="708" y="257"/>
                  <a:pt x="708" y="257"/>
                  <a:pt x="708" y="257"/>
                </a:cubicBezTo>
                <a:cubicBezTo>
                  <a:pt x="707" y="258"/>
                  <a:pt x="707" y="258"/>
                  <a:pt x="707" y="258"/>
                </a:cubicBezTo>
                <a:cubicBezTo>
                  <a:pt x="706" y="258"/>
                  <a:pt x="706" y="258"/>
                  <a:pt x="706" y="258"/>
                </a:cubicBezTo>
                <a:cubicBezTo>
                  <a:pt x="706" y="257"/>
                  <a:pt x="706" y="257"/>
                  <a:pt x="706" y="257"/>
                </a:cubicBezTo>
                <a:cubicBezTo>
                  <a:pt x="705" y="256"/>
                  <a:pt x="705" y="256"/>
                  <a:pt x="705" y="256"/>
                </a:cubicBezTo>
                <a:cubicBezTo>
                  <a:pt x="704" y="257"/>
                  <a:pt x="704" y="257"/>
                  <a:pt x="704" y="257"/>
                </a:cubicBezTo>
                <a:cubicBezTo>
                  <a:pt x="703" y="256"/>
                  <a:pt x="703" y="256"/>
                  <a:pt x="703" y="256"/>
                </a:cubicBezTo>
                <a:cubicBezTo>
                  <a:pt x="703" y="257"/>
                  <a:pt x="703" y="257"/>
                  <a:pt x="703" y="257"/>
                </a:cubicBezTo>
                <a:cubicBezTo>
                  <a:pt x="703" y="258"/>
                  <a:pt x="703" y="258"/>
                  <a:pt x="703" y="258"/>
                </a:cubicBezTo>
                <a:cubicBezTo>
                  <a:pt x="703" y="259"/>
                  <a:pt x="703" y="259"/>
                  <a:pt x="703" y="259"/>
                </a:cubicBezTo>
                <a:cubicBezTo>
                  <a:pt x="702" y="259"/>
                  <a:pt x="702" y="259"/>
                  <a:pt x="702" y="259"/>
                </a:cubicBezTo>
                <a:cubicBezTo>
                  <a:pt x="702" y="259"/>
                  <a:pt x="702" y="259"/>
                  <a:pt x="702" y="259"/>
                </a:cubicBezTo>
                <a:cubicBezTo>
                  <a:pt x="701" y="260"/>
                  <a:pt x="701" y="260"/>
                  <a:pt x="701" y="260"/>
                </a:cubicBezTo>
                <a:cubicBezTo>
                  <a:pt x="701" y="261"/>
                  <a:pt x="701" y="261"/>
                  <a:pt x="701" y="261"/>
                </a:cubicBezTo>
                <a:cubicBezTo>
                  <a:pt x="701" y="261"/>
                  <a:pt x="701" y="261"/>
                  <a:pt x="701" y="261"/>
                </a:cubicBezTo>
                <a:cubicBezTo>
                  <a:pt x="700" y="261"/>
                  <a:pt x="700" y="261"/>
                  <a:pt x="700" y="261"/>
                </a:cubicBezTo>
                <a:cubicBezTo>
                  <a:pt x="698" y="260"/>
                  <a:pt x="698" y="260"/>
                  <a:pt x="698" y="260"/>
                </a:cubicBezTo>
                <a:cubicBezTo>
                  <a:pt x="698" y="260"/>
                  <a:pt x="698" y="260"/>
                  <a:pt x="698" y="260"/>
                </a:cubicBezTo>
                <a:cubicBezTo>
                  <a:pt x="699" y="261"/>
                  <a:pt x="699" y="261"/>
                  <a:pt x="699" y="261"/>
                </a:cubicBezTo>
                <a:cubicBezTo>
                  <a:pt x="697" y="262"/>
                  <a:pt x="697" y="262"/>
                  <a:pt x="697" y="262"/>
                </a:cubicBezTo>
                <a:cubicBezTo>
                  <a:pt x="698" y="262"/>
                  <a:pt x="698" y="262"/>
                  <a:pt x="698" y="262"/>
                </a:cubicBezTo>
                <a:cubicBezTo>
                  <a:pt x="697" y="263"/>
                  <a:pt x="697" y="263"/>
                  <a:pt x="697" y="263"/>
                </a:cubicBezTo>
                <a:cubicBezTo>
                  <a:pt x="695" y="264"/>
                  <a:pt x="695" y="264"/>
                  <a:pt x="695" y="264"/>
                </a:cubicBezTo>
                <a:cubicBezTo>
                  <a:pt x="694" y="264"/>
                  <a:pt x="694" y="264"/>
                  <a:pt x="694" y="264"/>
                </a:cubicBezTo>
                <a:cubicBezTo>
                  <a:pt x="693" y="262"/>
                  <a:pt x="693" y="262"/>
                  <a:pt x="693" y="262"/>
                </a:cubicBezTo>
                <a:cubicBezTo>
                  <a:pt x="692" y="262"/>
                  <a:pt x="692" y="262"/>
                  <a:pt x="692" y="262"/>
                </a:cubicBezTo>
                <a:cubicBezTo>
                  <a:pt x="691" y="262"/>
                  <a:pt x="691" y="262"/>
                  <a:pt x="691" y="262"/>
                </a:cubicBezTo>
                <a:cubicBezTo>
                  <a:pt x="692" y="261"/>
                  <a:pt x="692" y="261"/>
                  <a:pt x="692" y="261"/>
                </a:cubicBezTo>
                <a:cubicBezTo>
                  <a:pt x="693" y="261"/>
                  <a:pt x="693" y="261"/>
                  <a:pt x="693" y="261"/>
                </a:cubicBezTo>
                <a:cubicBezTo>
                  <a:pt x="692" y="260"/>
                  <a:pt x="692" y="260"/>
                  <a:pt x="692" y="260"/>
                </a:cubicBezTo>
                <a:cubicBezTo>
                  <a:pt x="693" y="259"/>
                  <a:pt x="693" y="259"/>
                  <a:pt x="693" y="259"/>
                </a:cubicBezTo>
                <a:cubicBezTo>
                  <a:pt x="695" y="259"/>
                  <a:pt x="695" y="259"/>
                  <a:pt x="695" y="259"/>
                </a:cubicBezTo>
                <a:cubicBezTo>
                  <a:pt x="697" y="258"/>
                  <a:pt x="697" y="258"/>
                  <a:pt x="697" y="258"/>
                </a:cubicBezTo>
                <a:cubicBezTo>
                  <a:pt x="697" y="257"/>
                  <a:pt x="697" y="257"/>
                  <a:pt x="697" y="257"/>
                </a:cubicBezTo>
                <a:cubicBezTo>
                  <a:pt x="696" y="257"/>
                  <a:pt x="696" y="257"/>
                  <a:pt x="696" y="257"/>
                </a:cubicBezTo>
                <a:cubicBezTo>
                  <a:pt x="695" y="258"/>
                  <a:pt x="695" y="258"/>
                  <a:pt x="695" y="258"/>
                </a:cubicBezTo>
                <a:cubicBezTo>
                  <a:pt x="693" y="257"/>
                  <a:pt x="693" y="257"/>
                  <a:pt x="693" y="257"/>
                </a:cubicBezTo>
                <a:cubicBezTo>
                  <a:pt x="693" y="257"/>
                  <a:pt x="693" y="257"/>
                  <a:pt x="693" y="257"/>
                </a:cubicBezTo>
                <a:cubicBezTo>
                  <a:pt x="692" y="256"/>
                  <a:pt x="692" y="256"/>
                  <a:pt x="692" y="256"/>
                </a:cubicBezTo>
                <a:cubicBezTo>
                  <a:pt x="691" y="256"/>
                  <a:pt x="691" y="256"/>
                  <a:pt x="691" y="256"/>
                </a:cubicBezTo>
                <a:cubicBezTo>
                  <a:pt x="689" y="255"/>
                  <a:pt x="689" y="255"/>
                  <a:pt x="689" y="255"/>
                </a:cubicBezTo>
                <a:cubicBezTo>
                  <a:pt x="687" y="255"/>
                  <a:pt x="687" y="255"/>
                  <a:pt x="687" y="255"/>
                </a:cubicBezTo>
                <a:cubicBezTo>
                  <a:pt x="688" y="256"/>
                  <a:pt x="688" y="256"/>
                  <a:pt x="688" y="256"/>
                </a:cubicBezTo>
                <a:cubicBezTo>
                  <a:pt x="687" y="257"/>
                  <a:pt x="687" y="257"/>
                  <a:pt x="687" y="257"/>
                </a:cubicBezTo>
                <a:cubicBezTo>
                  <a:pt x="686" y="256"/>
                  <a:pt x="686" y="256"/>
                  <a:pt x="686" y="256"/>
                </a:cubicBezTo>
                <a:cubicBezTo>
                  <a:pt x="686" y="255"/>
                  <a:pt x="686" y="255"/>
                  <a:pt x="686" y="255"/>
                </a:cubicBezTo>
                <a:cubicBezTo>
                  <a:pt x="684" y="256"/>
                  <a:pt x="684" y="256"/>
                  <a:pt x="684" y="256"/>
                </a:cubicBezTo>
                <a:cubicBezTo>
                  <a:pt x="682" y="255"/>
                  <a:pt x="682" y="255"/>
                  <a:pt x="682" y="255"/>
                </a:cubicBezTo>
                <a:cubicBezTo>
                  <a:pt x="681" y="256"/>
                  <a:pt x="681" y="256"/>
                  <a:pt x="681" y="256"/>
                </a:cubicBezTo>
                <a:cubicBezTo>
                  <a:pt x="680" y="255"/>
                  <a:pt x="680" y="255"/>
                  <a:pt x="680" y="255"/>
                </a:cubicBezTo>
                <a:cubicBezTo>
                  <a:pt x="678" y="255"/>
                  <a:pt x="678" y="255"/>
                  <a:pt x="678" y="255"/>
                </a:cubicBezTo>
                <a:cubicBezTo>
                  <a:pt x="677" y="257"/>
                  <a:pt x="677" y="257"/>
                  <a:pt x="677" y="257"/>
                </a:cubicBezTo>
                <a:cubicBezTo>
                  <a:pt x="676" y="257"/>
                  <a:pt x="676" y="257"/>
                  <a:pt x="676" y="257"/>
                </a:cubicBezTo>
                <a:cubicBezTo>
                  <a:pt x="676" y="258"/>
                  <a:pt x="676" y="258"/>
                  <a:pt x="676" y="258"/>
                </a:cubicBezTo>
                <a:cubicBezTo>
                  <a:pt x="678" y="259"/>
                  <a:pt x="678" y="259"/>
                  <a:pt x="678" y="259"/>
                </a:cubicBezTo>
                <a:cubicBezTo>
                  <a:pt x="676" y="259"/>
                  <a:pt x="676" y="259"/>
                  <a:pt x="676" y="259"/>
                </a:cubicBezTo>
                <a:cubicBezTo>
                  <a:pt x="675" y="258"/>
                  <a:pt x="675" y="258"/>
                  <a:pt x="675" y="258"/>
                </a:cubicBezTo>
                <a:cubicBezTo>
                  <a:pt x="674" y="260"/>
                  <a:pt x="674" y="260"/>
                  <a:pt x="674" y="260"/>
                </a:cubicBezTo>
                <a:cubicBezTo>
                  <a:pt x="676" y="261"/>
                  <a:pt x="676" y="261"/>
                  <a:pt x="676" y="261"/>
                </a:cubicBezTo>
                <a:cubicBezTo>
                  <a:pt x="677" y="260"/>
                  <a:pt x="677" y="260"/>
                  <a:pt x="677" y="260"/>
                </a:cubicBezTo>
                <a:cubicBezTo>
                  <a:pt x="677" y="261"/>
                  <a:pt x="677" y="261"/>
                  <a:pt x="677" y="261"/>
                </a:cubicBezTo>
                <a:cubicBezTo>
                  <a:pt x="677" y="262"/>
                  <a:pt x="677" y="262"/>
                  <a:pt x="677" y="262"/>
                </a:cubicBezTo>
                <a:cubicBezTo>
                  <a:pt x="675" y="263"/>
                  <a:pt x="675" y="263"/>
                  <a:pt x="675" y="263"/>
                </a:cubicBezTo>
                <a:cubicBezTo>
                  <a:pt x="674" y="262"/>
                  <a:pt x="674" y="262"/>
                  <a:pt x="674" y="262"/>
                </a:cubicBezTo>
                <a:cubicBezTo>
                  <a:pt x="672" y="261"/>
                  <a:pt x="672" y="261"/>
                  <a:pt x="672" y="261"/>
                </a:cubicBezTo>
                <a:cubicBezTo>
                  <a:pt x="671" y="262"/>
                  <a:pt x="671" y="262"/>
                  <a:pt x="671" y="262"/>
                </a:cubicBezTo>
                <a:cubicBezTo>
                  <a:pt x="672" y="263"/>
                  <a:pt x="672" y="263"/>
                  <a:pt x="672" y="263"/>
                </a:cubicBezTo>
                <a:cubicBezTo>
                  <a:pt x="671" y="263"/>
                  <a:pt x="671" y="263"/>
                  <a:pt x="671" y="263"/>
                </a:cubicBezTo>
                <a:cubicBezTo>
                  <a:pt x="670" y="264"/>
                  <a:pt x="670" y="264"/>
                  <a:pt x="670" y="264"/>
                </a:cubicBezTo>
                <a:cubicBezTo>
                  <a:pt x="669" y="264"/>
                  <a:pt x="669" y="264"/>
                  <a:pt x="669" y="264"/>
                </a:cubicBezTo>
                <a:cubicBezTo>
                  <a:pt x="669" y="263"/>
                  <a:pt x="669" y="263"/>
                  <a:pt x="669" y="263"/>
                </a:cubicBezTo>
                <a:cubicBezTo>
                  <a:pt x="666" y="263"/>
                  <a:pt x="666" y="263"/>
                  <a:pt x="666" y="263"/>
                </a:cubicBezTo>
                <a:cubicBezTo>
                  <a:pt x="665" y="263"/>
                  <a:pt x="665" y="263"/>
                  <a:pt x="665" y="263"/>
                </a:cubicBezTo>
                <a:cubicBezTo>
                  <a:pt x="663" y="263"/>
                  <a:pt x="663" y="263"/>
                  <a:pt x="663" y="263"/>
                </a:cubicBezTo>
                <a:cubicBezTo>
                  <a:pt x="661" y="264"/>
                  <a:pt x="661" y="264"/>
                  <a:pt x="661" y="264"/>
                </a:cubicBezTo>
                <a:cubicBezTo>
                  <a:pt x="661" y="264"/>
                  <a:pt x="661" y="264"/>
                  <a:pt x="661" y="264"/>
                </a:cubicBezTo>
                <a:cubicBezTo>
                  <a:pt x="663" y="266"/>
                  <a:pt x="663" y="266"/>
                  <a:pt x="663" y="266"/>
                </a:cubicBezTo>
                <a:cubicBezTo>
                  <a:pt x="662" y="267"/>
                  <a:pt x="662" y="267"/>
                  <a:pt x="662" y="267"/>
                </a:cubicBezTo>
                <a:cubicBezTo>
                  <a:pt x="662" y="268"/>
                  <a:pt x="662" y="268"/>
                  <a:pt x="662" y="268"/>
                </a:cubicBezTo>
                <a:cubicBezTo>
                  <a:pt x="660" y="267"/>
                  <a:pt x="660" y="267"/>
                  <a:pt x="660" y="267"/>
                </a:cubicBezTo>
                <a:cubicBezTo>
                  <a:pt x="660" y="266"/>
                  <a:pt x="660" y="266"/>
                  <a:pt x="660" y="266"/>
                </a:cubicBezTo>
                <a:cubicBezTo>
                  <a:pt x="660" y="265"/>
                  <a:pt x="660" y="265"/>
                  <a:pt x="660" y="265"/>
                </a:cubicBezTo>
                <a:cubicBezTo>
                  <a:pt x="659" y="264"/>
                  <a:pt x="659" y="264"/>
                  <a:pt x="659" y="264"/>
                </a:cubicBezTo>
                <a:cubicBezTo>
                  <a:pt x="658" y="265"/>
                  <a:pt x="658" y="265"/>
                  <a:pt x="658" y="265"/>
                </a:cubicBezTo>
                <a:cubicBezTo>
                  <a:pt x="657" y="265"/>
                  <a:pt x="657" y="265"/>
                  <a:pt x="657" y="265"/>
                </a:cubicBezTo>
                <a:cubicBezTo>
                  <a:pt x="656" y="265"/>
                  <a:pt x="656" y="265"/>
                  <a:pt x="656" y="265"/>
                </a:cubicBezTo>
                <a:cubicBezTo>
                  <a:pt x="655" y="266"/>
                  <a:pt x="655" y="266"/>
                  <a:pt x="655" y="266"/>
                </a:cubicBezTo>
                <a:cubicBezTo>
                  <a:pt x="654" y="266"/>
                  <a:pt x="654" y="266"/>
                  <a:pt x="654" y="266"/>
                </a:cubicBezTo>
                <a:cubicBezTo>
                  <a:pt x="652" y="267"/>
                  <a:pt x="652" y="267"/>
                  <a:pt x="652" y="267"/>
                </a:cubicBezTo>
                <a:cubicBezTo>
                  <a:pt x="650" y="267"/>
                  <a:pt x="650" y="267"/>
                  <a:pt x="650" y="267"/>
                </a:cubicBezTo>
                <a:cubicBezTo>
                  <a:pt x="648" y="269"/>
                  <a:pt x="648" y="269"/>
                  <a:pt x="648" y="269"/>
                </a:cubicBezTo>
                <a:cubicBezTo>
                  <a:pt x="646" y="269"/>
                  <a:pt x="646" y="269"/>
                  <a:pt x="646" y="269"/>
                </a:cubicBezTo>
                <a:cubicBezTo>
                  <a:pt x="646" y="268"/>
                  <a:pt x="646" y="268"/>
                  <a:pt x="646" y="268"/>
                </a:cubicBezTo>
                <a:cubicBezTo>
                  <a:pt x="645" y="269"/>
                  <a:pt x="645" y="269"/>
                  <a:pt x="645" y="269"/>
                </a:cubicBezTo>
                <a:cubicBezTo>
                  <a:pt x="644" y="270"/>
                  <a:pt x="644" y="270"/>
                  <a:pt x="644" y="270"/>
                </a:cubicBezTo>
                <a:cubicBezTo>
                  <a:pt x="642" y="271"/>
                  <a:pt x="642" y="271"/>
                  <a:pt x="642" y="271"/>
                </a:cubicBezTo>
                <a:cubicBezTo>
                  <a:pt x="642" y="273"/>
                  <a:pt x="642" y="273"/>
                  <a:pt x="642" y="273"/>
                </a:cubicBezTo>
                <a:cubicBezTo>
                  <a:pt x="641" y="274"/>
                  <a:pt x="641" y="274"/>
                  <a:pt x="641" y="274"/>
                </a:cubicBezTo>
                <a:cubicBezTo>
                  <a:pt x="640" y="275"/>
                  <a:pt x="640" y="275"/>
                  <a:pt x="640" y="275"/>
                </a:cubicBezTo>
                <a:cubicBezTo>
                  <a:pt x="642" y="278"/>
                  <a:pt x="642" y="278"/>
                  <a:pt x="642" y="278"/>
                </a:cubicBezTo>
                <a:cubicBezTo>
                  <a:pt x="642" y="280"/>
                  <a:pt x="642" y="280"/>
                  <a:pt x="642" y="280"/>
                </a:cubicBezTo>
                <a:cubicBezTo>
                  <a:pt x="640" y="282"/>
                  <a:pt x="640" y="282"/>
                  <a:pt x="640" y="282"/>
                </a:cubicBezTo>
                <a:cubicBezTo>
                  <a:pt x="639" y="284"/>
                  <a:pt x="639" y="284"/>
                  <a:pt x="639" y="284"/>
                </a:cubicBezTo>
                <a:cubicBezTo>
                  <a:pt x="639" y="286"/>
                  <a:pt x="639" y="286"/>
                  <a:pt x="639" y="286"/>
                </a:cubicBezTo>
                <a:cubicBezTo>
                  <a:pt x="639" y="288"/>
                  <a:pt x="639" y="288"/>
                  <a:pt x="639" y="288"/>
                </a:cubicBezTo>
                <a:cubicBezTo>
                  <a:pt x="640" y="289"/>
                  <a:pt x="640" y="289"/>
                  <a:pt x="640" y="289"/>
                </a:cubicBezTo>
                <a:cubicBezTo>
                  <a:pt x="640" y="291"/>
                  <a:pt x="640" y="291"/>
                  <a:pt x="640" y="291"/>
                </a:cubicBezTo>
                <a:cubicBezTo>
                  <a:pt x="639" y="291"/>
                  <a:pt x="639" y="291"/>
                  <a:pt x="639" y="291"/>
                </a:cubicBezTo>
                <a:cubicBezTo>
                  <a:pt x="638" y="291"/>
                  <a:pt x="638" y="291"/>
                  <a:pt x="638" y="291"/>
                </a:cubicBezTo>
                <a:cubicBezTo>
                  <a:pt x="638" y="293"/>
                  <a:pt x="638" y="293"/>
                  <a:pt x="638" y="293"/>
                </a:cubicBezTo>
                <a:cubicBezTo>
                  <a:pt x="638" y="293"/>
                  <a:pt x="638" y="293"/>
                  <a:pt x="638" y="293"/>
                </a:cubicBezTo>
                <a:cubicBezTo>
                  <a:pt x="638" y="295"/>
                  <a:pt x="638" y="295"/>
                  <a:pt x="638" y="295"/>
                </a:cubicBezTo>
                <a:cubicBezTo>
                  <a:pt x="637" y="296"/>
                  <a:pt x="637" y="296"/>
                  <a:pt x="637" y="296"/>
                </a:cubicBezTo>
                <a:cubicBezTo>
                  <a:pt x="637" y="298"/>
                  <a:pt x="637" y="298"/>
                  <a:pt x="637" y="298"/>
                </a:cubicBezTo>
                <a:cubicBezTo>
                  <a:pt x="635" y="300"/>
                  <a:pt x="635" y="300"/>
                  <a:pt x="635" y="300"/>
                </a:cubicBezTo>
                <a:cubicBezTo>
                  <a:pt x="636" y="301"/>
                  <a:pt x="636" y="301"/>
                  <a:pt x="636" y="301"/>
                </a:cubicBezTo>
                <a:cubicBezTo>
                  <a:pt x="635" y="302"/>
                  <a:pt x="635" y="302"/>
                  <a:pt x="635" y="302"/>
                </a:cubicBezTo>
                <a:cubicBezTo>
                  <a:pt x="634" y="304"/>
                  <a:pt x="634" y="304"/>
                  <a:pt x="634" y="304"/>
                </a:cubicBezTo>
                <a:cubicBezTo>
                  <a:pt x="634" y="304"/>
                  <a:pt x="634" y="304"/>
                  <a:pt x="634" y="304"/>
                </a:cubicBezTo>
                <a:cubicBezTo>
                  <a:pt x="633" y="307"/>
                  <a:pt x="633" y="307"/>
                  <a:pt x="633" y="307"/>
                </a:cubicBezTo>
                <a:cubicBezTo>
                  <a:pt x="633" y="309"/>
                  <a:pt x="633" y="309"/>
                  <a:pt x="633" y="309"/>
                </a:cubicBezTo>
                <a:cubicBezTo>
                  <a:pt x="633" y="310"/>
                  <a:pt x="633" y="310"/>
                  <a:pt x="633" y="310"/>
                </a:cubicBezTo>
                <a:cubicBezTo>
                  <a:pt x="633" y="312"/>
                  <a:pt x="633" y="312"/>
                  <a:pt x="633" y="312"/>
                </a:cubicBezTo>
                <a:cubicBezTo>
                  <a:pt x="632" y="313"/>
                  <a:pt x="632" y="313"/>
                  <a:pt x="632" y="313"/>
                </a:cubicBezTo>
                <a:cubicBezTo>
                  <a:pt x="632" y="314"/>
                  <a:pt x="632" y="314"/>
                  <a:pt x="632" y="314"/>
                </a:cubicBezTo>
                <a:cubicBezTo>
                  <a:pt x="631" y="316"/>
                  <a:pt x="631" y="316"/>
                  <a:pt x="631" y="316"/>
                </a:cubicBezTo>
                <a:cubicBezTo>
                  <a:pt x="631" y="317"/>
                  <a:pt x="631" y="317"/>
                  <a:pt x="631" y="317"/>
                </a:cubicBezTo>
                <a:cubicBezTo>
                  <a:pt x="630" y="317"/>
                  <a:pt x="630" y="317"/>
                  <a:pt x="630" y="317"/>
                </a:cubicBezTo>
                <a:cubicBezTo>
                  <a:pt x="630" y="319"/>
                  <a:pt x="630" y="319"/>
                  <a:pt x="630" y="319"/>
                </a:cubicBezTo>
                <a:cubicBezTo>
                  <a:pt x="628" y="320"/>
                  <a:pt x="628" y="320"/>
                  <a:pt x="628" y="320"/>
                </a:cubicBezTo>
                <a:cubicBezTo>
                  <a:pt x="628" y="322"/>
                  <a:pt x="628" y="322"/>
                  <a:pt x="628" y="322"/>
                </a:cubicBezTo>
                <a:cubicBezTo>
                  <a:pt x="627" y="324"/>
                  <a:pt x="627" y="324"/>
                  <a:pt x="627" y="324"/>
                </a:cubicBezTo>
                <a:cubicBezTo>
                  <a:pt x="627" y="325"/>
                  <a:pt x="627" y="325"/>
                  <a:pt x="627" y="325"/>
                </a:cubicBezTo>
                <a:cubicBezTo>
                  <a:pt x="625" y="327"/>
                  <a:pt x="625" y="327"/>
                  <a:pt x="625" y="327"/>
                </a:cubicBezTo>
                <a:cubicBezTo>
                  <a:pt x="625" y="328"/>
                  <a:pt x="625" y="328"/>
                  <a:pt x="625" y="328"/>
                </a:cubicBezTo>
                <a:cubicBezTo>
                  <a:pt x="624" y="329"/>
                  <a:pt x="624" y="329"/>
                  <a:pt x="624" y="329"/>
                </a:cubicBezTo>
                <a:cubicBezTo>
                  <a:pt x="625" y="330"/>
                  <a:pt x="625" y="330"/>
                  <a:pt x="625" y="330"/>
                </a:cubicBezTo>
                <a:cubicBezTo>
                  <a:pt x="626" y="331"/>
                  <a:pt x="626" y="331"/>
                  <a:pt x="626" y="331"/>
                </a:cubicBezTo>
                <a:cubicBezTo>
                  <a:pt x="627" y="331"/>
                  <a:pt x="627" y="331"/>
                  <a:pt x="627" y="331"/>
                </a:cubicBezTo>
                <a:cubicBezTo>
                  <a:pt x="628" y="332"/>
                  <a:pt x="628" y="332"/>
                  <a:pt x="628" y="332"/>
                </a:cubicBezTo>
                <a:cubicBezTo>
                  <a:pt x="630" y="332"/>
                  <a:pt x="630" y="332"/>
                  <a:pt x="630" y="332"/>
                </a:cubicBezTo>
                <a:cubicBezTo>
                  <a:pt x="631" y="331"/>
                  <a:pt x="631" y="331"/>
                  <a:pt x="631" y="331"/>
                </a:cubicBezTo>
                <a:cubicBezTo>
                  <a:pt x="632" y="330"/>
                  <a:pt x="632" y="330"/>
                  <a:pt x="632" y="330"/>
                </a:cubicBezTo>
                <a:cubicBezTo>
                  <a:pt x="633" y="330"/>
                  <a:pt x="633" y="330"/>
                  <a:pt x="633" y="330"/>
                </a:cubicBezTo>
                <a:cubicBezTo>
                  <a:pt x="634" y="330"/>
                  <a:pt x="634" y="330"/>
                  <a:pt x="634" y="330"/>
                </a:cubicBezTo>
                <a:cubicBezTo>
                  <a:pt x="635" y="329"/>
                  <a:pt x="635" y="329"/>
                  <a:pt x="635" y="329"/>
                </a:cubicBezTo>
                <a:cubicBezTo>
                  <a:pt x="635" y="333"/>
                  <a:pt x="635" y="333"/>
                  <a:pt x="635" y="333"/>
                </a:cubicBezTo>
                <a:cubicBezTo>
                  <a:pt x="637" y="335"/>
                  <a:pt x="637" y="335"/>
                  <a:pt x="637" y="335"/>
                </a:cubicBezTo>
                <a:cubicBezTo>
                  <a:pt x="637" y="337"/>
                  <a:pt x="637" y="337"/>
                  <a:pt x="637" y="337"/>
                </a:cubicBezTo>
                <a:cubicBezTo>
                  <a:pt x="637" y="338"/>
                  <a:pt x="637" y="338"/>
                  <a:pt x="637" y="338"/>
                </a:cubicBezTo>
                <a:cubicBezTo>
                  <a:pt x="639" y="339"/>
                  <a:pt x="639" y="339"/>
                  <a:pt x="639" y="339"/>
                </a:cubicBezTo>
                <a:cubicBezTo>
                  <a:pt x="639" y="338"/>
                  <a:pt x="639" y="338"/>
                  <a:pt x="639" y="338"/>
                </a:cubicBezTo>
                <a:cubicBezTo>
                  <a:pt x="640" y="339"/>
                  <a:pt x="640" y="339"/>
                  <a:pt x="640" y="339"/>
                </a:cubicBezTo>
                <a:cubicBezTo>
                  <a:pt x="640" y="338"/>
                  <a:pt x="640" y="338"/>
                  <a:pt x="640" y="338"/>
                </a:cubicBezTo>
                <a:cubicBezTo>
                  <a:pt x="641" y="337"/>
                  <a:pt x="641" y="337"/>
                  <a:pt x="641" y="337"/>
                </a:cubicBezTo>
                <a:cubicBezTo>
                  <a:pt x="642" y="336"/>
                  <a:pt x="642" y="336"/>
                  <a:pt x="642" y="336"/>
                </a:cubicBezTo>
                <a:cubicBezTo>
                  <a:pt x="642" y="337"/>
                  <a:pt x="642" y="337"/>
                  <a:pt x="642" y="337"/>
                </a:cubicBezTo>
                <a:cubicBezTo>
                  <a:pt x="643" y="337"/>
                  <a:pt x="643" y="337"/>
                  <a:pt x="643" y="337"/>
                </a:cubicBezTo>
                <a:cubicBezTo>
                  <a:pt x="644" y="337"/>
                  <a:pt x="644" y="337"/>
                  <a:pt x="644" y="337"/>
                </a:cubicBezTo>
                <a:cubicBezTo>
                  <a:pt x="644" y="337"/>
                  <a:pt x="644" y="337"/>
                  <a:pt x="644" y="337"/>
                </a:cubicBezTo>
                <a:cubicBezTo>
                  <a:pt x="643" y="338"/>
                  <a:pt x="643" y="338"/>
                  <a:pt x="643" y="338"/>
                </a:cubicBezTo>
                <a:cubicBezTo>
                  <a:pt x="644" y="340"/>
                  <a:pt x="644" y="340"/>
                  <a:pt x="644" y="340"/>
                </a:cubicBezTo>
                <a:cubicBezTo>
                  <a:pt x="643" y="340"/>
                  <a:pt x="643" y="340"/>
                  <a:pt x="643" y="340"/>
                </a:cubicBezTo>
                <a:cubicBezTo>
                  <a:pt x="642" y="341"/>
                  <a:pt x="642" y="341"/>
                  <a:pt x="642" y="341"/>
                </a:cubicBezTo>
                <a:cubicBezTo>
                  <a:pt x="642" y="341"/>
                  <a:pt x="642" y="341"/>
                  <a:pt x="642" y="341"/>
                </a:cubicBezTo>
                <a:cubicBezTo>
                  <a:pt x="645" y="341"/>
                  <a:pt x="645" y="341"/>
                  <a:pt x="645" y="341"/>
                </a:cubicBezTo>
                <a:cubicBezTo>
                  <a:pt x="646" y="340"/>
                  <a:pt x="646" y="340"/>
                  <a:pt x="646" y="340"/>
                </a:cubicBezTo>
                <a:cubicBezTo>
                  <a:pt x="647" y="338"/>
                  <a:pt x="647" y="338"/>
                  <a:pt x="647" y="338"/>
                </a:cubicBezTo>
                <a:cubicBezTo>
                  <a:pt x="647" y="337"/>
                  <a:pt x="647" y="337"/>
                  <a:pt x="647" y="337"/>
                </a:cubicBezTo>
                <a:cubicBezTo>
                  <a:pt x="647" y="336"/>
                  <a:pt x="647" y="336"/>
                  <a:pt x="647" y="336"/>
                </a:cubicBezTo>
                <a:cubicBezTo>
                  <a:pt x="648" y="338"/>
                  <a:pt x="648" y="338"/>
                  <a:pt x="648" y="338"/>
                </a:cubicBezTo>
                <a:cubicBezTo>
                  <a:pt x="648" y="339"/>
                  <a:pt x="648" y="339"/>
                  <a:pt x="648" y="339"/>
                </a:cubicBezTo>
                <a:cubicBezTo>
                  <a:pt x="648" y="341"/>
                  <a:pt x="648" y="341"/>
                  <a:pt x="648" y="341"/>
                </a:cubicBezTo>
                <a:cubicBezTo>
                  <a:pt x="649" y="340"/>
                  <a:pt x="649" y="340"/>
                  <a:pt x="649" y="340"/>
                </a:cubicBezTo>
                <a:cubicBezTo>
                  <a:pt x="649" y="339"/>
                  <a:pt x="649" y="339"/>
                  <a:pt x="649" y="339"/>
                </a:cubicBezTo>
                <a:cubicBezTo>
                  <a:pt x="648" y="337"/>
                  <a:pt x="648" y="337"/>
                  <a:pt x="648" y="337"/>
                </a:cubicBezTo>
                <a:cubicBezTo>
                  <a:pt x="649" y="335"/>
                  <a:pt x="649" y="335"/>
                  <a:pt x="649" y="335"/>
                </a:cubicBezTo>
                <a:cubicBezTo>
                  <a:pt x="648" y="334"/>
                  <a:pt x="648" y="334"/>
                  <a:pt x="648" y="334"/>
                </a:cubicBezTo>
                <a:cubicBezTo>
                  <a:pt x="647" y="332"/>
                  <a:pt x="647" y="332"/>
                  <a:pt x="647" y="332"/>
                </a:cubicBezTo>
                <a:cubicBezTo>
                  <a:pt x="649" y="332"/>
                  <a:pt x="649" y="332"/>
                  <a:pt x="649" y="332"/>
                </a:cubicBezTo>
                <a:cubicBezTo>
                  <a:pt x="650" y="333"/>
                  <a:pt x="650" y="333"/>
                  <a:pt x="650" y="333"/>
                </a:cubicBezTo>
                <a:cubicBezTo>
                  <a:pt x="650" y="333"/>
                  <a:pt x="650" y="333"/>
                  <a:pt x="650" y="333"/>
                </a:cubicBezTo>
                <a:cubicBezTo>
                  <a:pt x="650" y="334"/>
                  <a:pt x="650" y="334"/>
                  <a:pt x="650" y="334"/>
                </a:cubicBezTo>
                <a:cubicBezTo>
                  <a:pt x="651" y="334"/>
                  <a:pt x="651" y="334"/>
                  <a:pt x="651" y="334"/>
                </a:cubicBezTo>
                <a:cubicBezTo>
                  <a:pt x="651" y="333"/>
                  <a:pt x="651" y="333"/>
                  <a:pt x="651" y="333"/>
                </a:cubicBezTo>
                <a:cubicBezTo>
                  <a:pt x="653" y="333"/>
                  <a:pt x="653" y="333"/>
                  <a:pt x="653" y="333"/>
                </a:cubicBezTo>
                <a:cubicBezTo>
                  <a:pt x="654" y="332"/>
                  <a:pt x="654" y="332"/>
                  <a:pt x="654" y="332"/>
                </a:cubicBezTo>
                <a:cubicBezTo>
                  <a:pt x="655" y="333"/>
                  <a:pt x="655" y="333"/>
                  <a:pt x="655" y="333"/>
                </a:cubicBezTo>
                <a:cubicBezTo>
                  <a:pt x="657" y="333"/>
                  <a:pt x="657" y="333"/>
                  <a:pt x="657" y="333"/>
                </a:cubicBezTo>
                <a:cubicBezTo>
                  <a:pt x="658" y="334"/>
                  <a:pt x="658" y="334"/>
                  <a:pt x="658" y="334"/>
                </a:cubicBezTo>
                <a:cubicBezTo>
                  <a:pt x="658" y="336"/>
                  <a:pt x="658" y="336"/>
                  <a:pt x="658" y="336"/>
                </a:cubicBezTo>
                <a:cubicBezTo>
                  <a:pt x="659" y="336"/>
                  <a:pt x="659" y="336"/>
                  <a:pt x="659" y="336"/>
                </a:cubicBezTo>
                <a:cubicBezTo>
                  <a:pt x="661" y="336"/>
                  <a:pt x="661" y="336"/>
                  <a:pt x="661" y="336"/>
                </a:cubicBezTo>
                <a:cubicBezTo>
                  <a:pt x="662" y="337"/>
                  <a:pt x="662" y="337"/>
                  <a:pt x="662" y="337"/>
                </a:cubicBezTo>
                <a:cubicBezTo>
                  <a:pt x="664" y="338"/>
                  <a:pt x="664" y="338"/>
                  <a:pt x="664" y="338"/>
                </a:cubicBezTo>
                <a:cubicBezTo>
                  <a:pt x="665" y="339"/>
                  <a:pt x="665" y="339"/>
                  <a:pt x="665" y="339"/>
                </a:cubicBezTo>
                <a:cubicBezTo>
                  <a:pt x="666" y="339"/>
                  <a:pt x="666" y="339"/>
                  <a:pt x="666" y="339"/>
                </a:cubicBezTo>
                <a:cubicBezTo>
                  <a:pt x="666" y="340"/>
                  <a:pt x="666" y="340"/>
                  <a:pt x="666" y="340"/>
                </a:cubicBezTo>
                <a:cubicBezTo>
                  <a:pt x="667" y="340"/>
                  <a:pt x="667" y="340"/>
                  <a:pt x="667" y="340"/>
                </a:cubicBezTo>
                <a:cubicBezTo>
                  <a:pt x="668" y="342"/>
                  <a:pt x="668" y="342"/>
                  <a:pt x="668" y="342"/>
                </a:cubicBezTo>
                <a:cubicBezTo>
                  <a:pt x="668" y="343"/>
                  <a:pt x="668" y="343"/>
                  <a:pt x="668" y="343"/>
                </a:cubicBezTo>
                <a:cubicBezTo>
                  <a:pt x="668" y="344"/>
                  <a:pt x="668" y="344"/>
                  <a:pt x="668" y="344"/>
                </a:cubicBezTo>
                <a:cubicBezTo>
                  <a:pt x="667" y="345"/>
                  <a:pt x="667" y="345"/>
                  <a:pt x="667" y="345"/>
                </a:cubicBezTo>
                <a:cubicBezTo>
                  <a:pt x="668" y="346"/>
                  <a:pt x="668" y="346"/>
                  <a:pt x="668" y="346"/>
                </a:cubicBezTo>
                <a:cubicBezTo>
                  <a:pt x="669" y="346"/>
                  <a:pt x="669" y="346"/>
                  <a:pt x="669" y="346"/>
                </a:cubicBezTo>
                <a:cubicBezTo>
                  <a:pt x="670" y="348"/>
                  <a:pt x="670" y="348"/>
                  <a:pt x="670" y="348"/>
                </a:cubicBezTo>
                <a:cubicBezTo>
                  <a:pt x="671" y="349"/>
                  <a:pt x="671" y="349"/>
                  <a:pt x="671" y="349"/>
                </a:cubicBezTo>
                <a:cubicBezTo>
                  <a:pt x="670" y="350"/>
                  <a:pt x="670" y="350"/>
                  <a:pt x="670" y="350"/>
                </a:cubicBezTo>
                <a:cubicBezTo>
                  <a:pt x="670" y="352"/>
                  <a:pt x="670" y="352"/>
                  <a:pt x="670" y="352"/>
                </a:cubicBezTo>
                <a:cubicBezTo>
                  <a:pt x="671" y="353"/>
                  <a:pt x="671" y="353"/>
                  <a:pt x="671" y="353"/>
                </a:cubicBezTo>
                <a:cubicBezTo>
                  <a:pt x="672" y="353"/>
                  <a:pt x="672" y="353"/>
                  <a:pt x="672" y="353"/>
                </a:cubicBezTo>
                <a:cubicBezTo>
                  <a:pt x="673" y="352"/>
                  <a:pt x="673" y="352"/>
                  <a:pt x="673" y="352"/>
                </a:cubicBezTo>
                <a:cubicBezTo>
                  <a:pt x="673" y="353"/>
                  <a:pt x="673" y="353"/>
                  <a:pt x="673" y="353"/>
                </a:cubicBezTo>
                <a:cubicBezTo>
                  <a:pt x="673" y="354"/>
                  <a:pt x="673" y="354"/>
                  <a:pt x="673" y="354"/>
                </a:cubicBezTo>
                <a:cubicBezTo>
                  <a:pt x="673" y="356"/>
                  <a:pt x="673" y="356"/>
                  <a:pt x="673" y="356"/>
                </a:cubicBezTo>
                <a:cubicBezTo>
                  <a:pt x="674" y="356"/>
                  <a:pt x="674" y="356"/>
                  <a:pt x="674" y="356"/>
                </a:cubicBezTo>
                <a:cubicBezTo>
                  <a:pt x="673" y="357"/>
                  <a:pt x="673" y="357"/>
                  <a:pt x="673" y="357"/>
                </a:cubicBezTo>
                <a:cubicBezTo>
                  <a:pt x="673" y="358"/>
                  <a:pt x="673" y="358"/>
                  <a:pt x="673" y="358"/>
                </a:cubicBezTo>
                <a:cubicBezTo>
                  <a:pt x="673" y="359"/>
                  <a:pt x="673" y="359"/>
                  <a:pt x="673" y="359"/>
                </a:cubicBezTo>
                <a:cubicBezTo>
                  <a:pt x="673" y="360"/>
                  <a:pt x="673" y="360"/>
                  <a:pt x="673" y="360"/>
                </a:cubicBezTo>
                <a:cubicBezTo>
                  <a:pt x="673" y="361"/>
                  <a:pt x="673" y="361"/>
                  <a:pt x="673" y="361"/>
                </a:cubicBezTo>
                <a:cubicBezTo>
                  <a:pt x="673" y="362"/>
                  <a:pt x="673" y="362"/>
                  <a:pt x="673" y="362"/>
                </a:cubicBezTo>
                <a:cubicBezTo>
                  <a:pt x="673" y="362"/>
                  <a:pt x="673" y="362"/>
                  <a:pt x="673" y="362"/>
                </a:cubicBezTo>
                <a:cubicBezTo>
                  <a:pt x="674" y="363"/>
                  <a:pt x="674" y="363"/>
                  <a:pt x="674" y="363"/>
                </a:cubicBezTo>
                <a:cubicBezTo>
                  <a:pt x="673" y="364"/>
                  <a:pt x="673" y="364"/>
                  <a:pt x="673" y="364"/>
                </a:cubicBezTo>
                <a:cubicBezTo>
                  <a:pt x="674" y="367"/>
                  <a:pt x="674" y="367"/>
                  <a:pt x="674" y="367"/>
                </a:cubicBezTo>
                <a:cubicBezTo>
                  <a:pt x="673" y="367"/>
                  <a:pt x="673" y="367"/>
                  <a:pt x="673" y="367"/>
                </a:cubicBezTo>
                <a:cubicBezTo>
                  <a:pt x="674" y="370"/>
                  <a:pt x="674" y="370"/>
                  <a:pt x="674" y="370"/>
                </a:cubicBezTo>
                <a:cubicBezTo>
                  <a:pt x="674" y="371"/>
                  <a:pt x="674" y="371"/>
                  <a:pt x="674" y="371"/>
                </a:cubicBezTo>
                <a:cubicBezTo>
                  <a:pt x="674" y="372"/>
                  <a:pt x="674" y="372"/>
                  <a:pt x="674" y="372"/>
                </a:cubicBezTo>
                <a:cubicBezTo>
                  <a:pt x="675" y="376"/>
                  <a:pt x="675" y="376"/>
                  <a:pt x="675" y="376"/>
                </a:cubicBezTo>
                <a:cubicBezTo>
                  <a:pt x="676" y="376"/>
                  <a:pt x="676" y="376"/>
                  <a:pt x="676" y="376"/>
                </a:cubicBezTo>
                <a:cubicBezTo>
                  <a:pt x="677" y="375"/>
                  <a:pt x="677" y="375"/>
                  <a:pt x="677" y="375"/>
                </a:cubicBezTo>
                <a:cubicBezTo>
                  <a:pt x="677" y="376"/>
                  <a:pt x="677" y="376"/>
                  <a:pt x="677" y="376"/>
                </a:cubicBezTo>
                <a:cubicBezTo>
                  <a:pt x="676" y="377"/>
                  <a:pt x="676" y="377"/>
                  <a:pt x="676" y="377"/>
                </a:cubicBezTo>
                <a:cubicBezTo>
                  <a:pt x="676" y="378"/>
                  <a:pt x="676" y="378"/>
                  <a:pt x="676" y="378"/>
                </a:cubicBezTo>
                <a:cubicBezTo>
                  <a:pt x="676" y="379"/>
                  <a:pt x="676" y="379"/>
                  <a:pt x="676" y="379"/>
                </a:cubicBezTo>
                <a:cubicBezTo>
                  <a:pt x="677" y="379"/>
                  <a:pt x="677" y="379"/>
                  <a:pt x="677" y="379"/>
                </a:cubicBezTo>
                <a:cubicBezTo>
                  <a:pt x="679" y="381"/>
                  <a:pt x="679" y="381"/>
                  <a:pt x="679" y="381"/>
                </a:cubicBezTo>
                <a:cubicBezTo>
                  <a:pt x="679" y="383"/>
                  <a:pt x="679" y="383"/>
                  <a:pt x="679" y="383"/>
                </a:cubicBezTo>
                <a:cubicBezTo>
                  <a:pt x="679" y="384"/>
                  <a:pt x="679" y="384"/>
                  <a:pt x="679" y="384"/>
                </a:cubicBezTo>
                <a:cubicBezTo>
                  <a:pt x="679" y="385"/>
                  <a:pt x="679" y="385"/>
                  <a:pt x="679" y="385"/>
                </a:cubicBezTo>
                <a:cubicBezTo>
                  <a:pt x="679" y="388"/>
                  <a:pt x="679" y="388"/>
                  <a:pt x="679" y="388"/>
                </a:cubicBezTo>
                <a:cubicBezTo>
                  <a:pt x="680" y="388"/>
                  <a:pt x="680" y="388"/>
                  <a:pt x="680" y="388"/>
                </a:cubicBezTo>
                <a:cubicBezTo>
                  <a:pt x="680" y="390"/>
                  <a:pt x="680" y="390"/>
                  <a:pt x="680" y="390"/>
                </a:cubicBezTo>
                <a:cubicBezTo>
                  <a:pt x="680" y="390"/>
                  <a:pt x="680" y="390"/>
                  <a:pt x="680" y="390"/>
                </a:cubicBezTo>
                <a:cubicBezTo>
                  <a:pt x="680" y="392"/>
                  <a:pt x="680" y="392"/>
                  <a:pt x="680" y="392"/>
                </a:cubicBezTo>
                <a:cubicBezTo>
                  <a:pt x="681" y="393"/>
                  <a:pt x="681" y="393"/>
                  <a:pt x="681" y="393"/>
                </a:cubicBezTo>
                <a:cubicBezTo>
                  <a:pt x="681" y="395"/>
                  <a:pt x="681" y="395"/>
                  <a:pt x="681" y="395"/>
                </a:cubicBezTo>
                <a:cubicBezTo>
                  <a:pt x="679" y="397"/>
                  <a:pt x="679" y="397"/>
                  <a:pt x="679" y="397"/>
                </a:cubicBezTo>
                <a:cubicBezTo>
                  <a:pt x="679" y="398"/>
                  <a:pt x="679" y="398"/>
                  <a:pt x="679" y="398"/>
                </a:cubicBezTo>
                <a:cubicBezTo>
                  <a:pt x="678" y="400"/>
                  <a:pt x="678" y="400"/>
                  <a:pt x="678" y="400"/>
                </a:cubicBezTo>
                <a:cubicBezTo>
                  <a:pt x="678" y="403"/>
                  <a:pt x="678" y="403"/>
                  <a:pt x="678" y="403"/>
                </a:cubicBezTo>
                <a:cubicBezTo>
                  <a:pt x="678" y="403"/>
                  <a:pt x="678" y="403"/>
                  <a:pt x="678" y="403"/>
                </a:cubicBezTo>
                <a:cubicBezTo>
                  <a:pt x="678" y="405"/>
                  <a:pt x="678" y="405"/>
                  <a:pt x="678" y="405"/>
                </a:cubicBezTo>
                <a:cubicBezTo>
                  <a:pt x="677" y="406"/>
                  <a:pt x="677" y="406"/>
                  <a:pt x="677" y="406"/>
                </a:cubicBezTo>
                <a:cubicBezTo>
                  <a:pt x="677" y="407"/>
                  <a:pt x="677" y="407"/>
                  <a:pt x="677" y="407"/>
                </a:cubicBezTo>
                <a:cubicBezTo>
                  <a:pt x="676" y="409"/>
                  <a:pt x="676" y="409"/>
                  <a:pt x="676" y="409"/>
                </a:cubicBezTo>
                <a:cubicBezTo>
                  <a:pt x="677" y="409"/>
                  <a:pt x="677" y="409"/>
                  <a:pt x="677" y="409"/>
                </a:cubicBezTo>
                <a:cubicBezTo>
                  <a:pt x="677" y="410"/>
                  <a:pt x="677" y="410"/>
                  <a:pt x="677" y="410"/>
                </a:cubicBezTo>
                <a:cubicBezTo>
                  <a:pt x="676" y="412"/>
                  <a:pt x="676" y="412"/>
                  <a:pt x="676" y="412"/>
                </a:cubicBezTo>
                <a:cubicBezTo>
                  <a:pt x="676" y="415"/>
                  <a:pt x="676" y="415"/>
                  <a:pt x="676" y="415"/>
                </a:cubicBezTo>
                <a:cubicBezTo>
                  <a:pt x="675" y="416"/>
                  <a:pt x="675" y="416"/>
                  <a:pt x="675" y="416"/>
                </a:cubicBezTo>
                <a:cubicBezTo>
                  <a:pt x="676" y="418"/>
                  <a:pt x="676" y="418"/>
                  <a:pt x="676" y="418"/>
                </a:cubicBezTo>
                <a:cubicBezTo>
                  <a:pt x="676" y="418"/>
                  <a:pt x="676" y="418"/>
                  <a:pt x="676" y="418"/>
                </a:cubicBezTo>
                <a:cubicBezTo>
                  <a:pt x="676" y="419"/>
                  <a:pt x="676" y="419"/>
                  <a:pt x="676" y="419"/>
                </a:cubicBezTo>
                <a:cubicBezTo>
                  <a:pt x="675" y="421"/>
                  <a:pt x="675" y="421"/>
                  <a:pt x="675" y="421"/>
                </a:cubicBezTo>
                <a:cubicBezTo>
                  <a:pt x="674" y="422"/>
                  <a:pt x="674" y="422"/>
                  <a:pt x="674" y="422"/>
                </a:cubicBezTo>
                <a:cubicBezTo>
                  <a:pt x="673" y="423"/>
                  <a:pt x="673" y="423"/>
                  <a:pt x="673" y="423"/>
                </a:cubicBezTo>
                <a:cubicBezTo>
                  <a:pt x="673" y="425"/>
                  <a:pt x="673" y="425"/>
                  <a:pt x="673" y="425"/>
                </a:cubicBezTo>
                <a:cubicBezTo>
                  <a:pt x="672" y="426"/>
                  <a:pt x="672" y="426"/>
                  <a:pt x="672" y="426"/>
                </a:cubicBezTo>
                <a:cubicBezTo>
                  <a:pt x="670" y="432"/>
                  <a:pt x="670" y="432"/>
                  <a:pt x="670" y="432"/>
                </a:cubicBezTo>
                <a:cubicBezTo>
                  <a:pt x="670" y="432"/>
                  <a:pt x="670" y="432"/>
                  <a:pt x="670" y="432"/>
                </a:cubicBezTo>
                <a:cubicBezTo>
                  <a:pt x="670" y="434"/>
                  <a:pt x="670" y="434"/>
                  <a:pt x="670" y="434"/>
                </a:cubicBezTo>
                <a:cubicBezTo>
                  <a:pt x="670" y="434"/>
                  <a:pt x="670" y="434"/>
                  <a:pt x="670" y="434"/>
                </a:cubicBezTo>
                <a:cubicBezTo>
                  <a:pt x="670" y="435"/>
                  <a:pt x="670" y="435"/>
                  <a:pt x="670" y="435"/>
                </a:cubicBezTo>
                <a:cubicBezTo>
                  <a:pt x="668" y="436"/>
                  <a:pt x="668" y="436"/>
                  <a:pt x="668" y="436"/>
                </a:cubicBezTo>
                <a:cubicBezTo>
                  <a:pt x="668" y="437"/>
                  <a:pt x="668" y="437"/>
                  <a:pt x="668" y="437"/>
                </a:cubicBezTo>
                <a:cubicBezTo>
                  <a:pt x="667" y="438"/>
                  <a:pt x="667" y="438"/>
                  <a:pt x="667" y="438"/>
                </a:cubicBezTo>
                <a:cubicBezTo>
                  <a:pt x="667" y="440"/>
                  <a:pt x="667" y="440"/>
                  <a:pt x="667" y="440"/>
                </a:cubicBezTo>
                <a:cubicBezTo>
                  <a:pt x="666" y="440"/>
                  <a:pt x="666" y="440"/>
                  <a:pt x="666" y="440"/>
                </a:cubicBezTo>
                <a:cubicBezTo>
                  <a:pt x="667" y="441"/>
                  <a:pt x="667" y="441"/>
                  <a:pt x="667" y="441"/>
                </a:cubicBezTo>
                <a:cubicBezTo>
                  <a:pt x="666" y="443"/>
                  <a:pt x="666" y="443"/>
                  <a:pt x="666" y="443"/>
                </a:cubicBezTo>
                <a:cubicBezTo>
                  <a:pt x="665" y="443"/>
                  <a:pt x="665" y="443"/>
                  <a:pt x="665" y="443"/>
                </a:cubicBezTo>
                <a:cubicBezTo>
                  <a:pt x="664" y="442"/>
                  <a:pt x="664" y="442"/>
                  <a:pt x="664" y="442"/>
                </a:cubicBezTo>
                <a:cubicBezTo>
                  <a:pt x="665" y="444"/>
                  <a:pt x="665" y="444"/>
                  <a:pt x="665" y="444"/>
                </a:cubicBezTo>
                <a:cubicBezTo>
                  <a:pt x="665" y="445"/>
                  <a:pt x="665" y="445"/>
                  <a:pt x="665" y="445"/>
                </a:cubicBezTo>
                <a:cubicBezTo>
                  <a:pt x="663" y="446"/>
                  <a:pt x="663" y="446"/>
                  <a:pt x="663" y="446"/>
                </a:cubicBezTo>
                <a:cubicBezTo>
                  <a:pt x="664" y="447"/>
                  <a:pt x="664" y="447"/>
                  <a:pt x="664" y="447"/>
                </a:cubicBezTo>
                <a:cubicBezTo>
                  <a:pt x="662" y="449"/>
                  <a:pt x="662" y="449"/>
                  <a:pt x="662" y="449"/>
                </a:cubicBezTo>
                <a:cubicBezTo>
                  <a:pt x="661" y="451"/>
                  <a:pt x="661" y="451"/>
                  <a:pt x="661" y="451"/>
                </a:cubicBezTo>
                <a:cubicBezTo>
                  <a:pt x="660" y="451"/>
                  <a:pt x="660" y="451"/>
                  <a:pt x="660" y="451"/>
                </a:cubicBezTo>
                <a:cubicBezTo>
                  <a:pt x="660" y="452"/>
                  <a:pt x="660" y="452"/>
                  <a:pt x="660" y="452"/>
                </a:cubicBezTo>
                <a:cubicBezTo>
                  <a:pt x="658" y="452"/>
                  <a:pt x="658" y="452"/>
                  <a:pt x="658" y="452"/>
                </a:cubicBezTo>
                <a:cubicBezTo>
                  <a:pt x="656" y="453"/>
                  <a:pt x="656" y="453"/>
                  <a:pt x="656" y="453"/>
                </a:cubicBezTo>
                <a:cubicBezTo>
                  <a:pt x="656" y="453"/>
                  <a:pt x="656" y="453"/>
                  <a:pt x="656" y="453"/>
                </a:cubicBezTo>
                <a:cubicBezTo>
                  <a:pt x="655" y="453"/>
                  <a:pt x="655" y="453"/>
                  <a:pt x="655" y="453"/>
                </a:cubicBezTo>
                <a:cubicBezTo>
                  <a:pt x="653" y="452"/>
                  <a:pt x="653" y="452"/>
                  <a:pt x="653" y="452"/>
                </a:cubicBezTo>
                <a:cubicBezTo>
                  <a:pt x="651" y="452"/>
                  <a:pt x="651" y="452"/>
                  <a:pt x="651" y="452"/>
                </a:cubicBezTo>
                <a:cubicBezTo>
                  <a:pt x="651" y="449"/>
                  <a:pt x="651" y="449"/>
                  <a:pt x="651" y="449"/>
                </a:cubicBezTo>
                <a:cubicBezTo>
                  <a:pt x="650" y="449"/>
                  <a:pt x="650" y="449"/>
                  <a:pt x="650" y="449"/>
                </a:cubicBezTo>
                <a:cubicBezTo>
                  <a:pt x="649" y="449"/>
                  <a:pt x="649" y="449"/>
                  <a:pt x="649" y="449"/>
                </a:cubicBezTo>
                <a:cubicBezTo>
                  <a:pt x="647" y="449"/>
                  <a:pt x="647" y="449"/>
                  <a:pt x="647" y="449"/>
                </a:cubicBezTo>
                <a:cubicBezTo>
                  <a:pt x="647" y="449"/>
                  <a:pt x="647" y="449"/>
                  <a:pt x="647" y="449"/>
                </a:cubicBezTo>
                <a:cubicBezTo>
                  <a:pt x="647" y="450"/>
                  <a:pt x="647" y="450"/>
                  <a:pt x="647" y="450"/>
                </a:cubicBezTo>
                <a:cubicBezTo>
                  <a:pt x="646" y="451"/>
                  <a:pt x="646" y="451"/>
                  <a:pt x="646" y="451"/>
                </a:cubicBezTo>
                <a:cubicBezTo>
                  <a:pt x="646" y="454"/>
                  <a:pt x="646" y="454"/>
                  <a:pt x="646" y="454"/>
                </a:cubicBezTo>
                <a:cubicBezTo>
                  <a:pt x="645" y="454"/>
                  <a:pt x="645" y="454"/>
                  <a:pt x="645" y="454"/>
                </a:cubicBezTo>
                <a:cubicBezTo>
                  <a:pt x="644" y="456"/>
                  <a:pt x="644" y="456"/>
                  <a:pt x="644" y="456"/>
                </a:cubicBezTo>
                <a:cubicBezTo>
                  <a:pt x="644" y="456"/>
                  <a:pt x="644" y="456"/>
                  <a:pt x="644" y="456"/>
                </a:cubicBezTo>
                <a:cubicBezTo>
                  <a:pt x="642" y="456"/>
                  <a:pt x="642" y="456"/>
                  <a:pt x="642" y="456"/>
                </a:cubicBezTo>
                <a:cubicBezTo>
                  <a:pt x="642" y="458"/>
                  <a:pt x="642" y="458"/>
                  <a:pt x="642" y="458"/>
                </a:cubicBezTo>
                <a:cubicBezTo>
                  <a:pt x="642" y="458"/>
                  <a:pt x="642" y="458"/>
                  <a:pt x="642" y="458"/>
                </a:cubicBezTo>
                <a:close/>
                <a:moveTo>
                  <a:pt x="208" y="462"/>
                </a:moveTo>
                <a:cubicBezTo>
                  <a:pt x="206" y="461"/>
                  <a:pt x="206" y="461"/>
                  <a:pt x="206" y="461"/>
                </a:cubicBezTo>
                <a:cubicBezTo>
                  <a:pt x="199" y="462"/>
                  <a:pt x="199" y="462"/>
                  <a:pt x="199" y="462"/>
                </a:cubicBezTo>
                <a:cubicBezTo>
                  <a:pt x="208" y="462"/>
                  <a:pt x="208" y="462"/>
                  <a:pt x="208" y="462"/>
                </a:cubicBezTo>
                <a:close/>
                <a:moveTo>
                  <a:pt x="734" y="436"/>
                </a:moveTo>
                <a:cubicBezTo>
                  <a:pt x="735" y="436"/>
                  <a:pt x="735" y="436"/>
                  <a:pt x="735" y="436"/>
                </a:cubicBezTo>
                <a:cubicBezTo>
                  <a:pt x="736" y="435"/>
                  <a:pt x="736" y="435"/>
                  <a:pt x="736" y="435"/>
                </a:cubicBezTo>
                <a:cubicBezTo>
                  <a:pt x="736" y="434"/>
                  <a:pt x="736" y="434"/>
                  <a:pt x="736" y="434"/>
                </a:cubicBezTo>
                <a:cubicBezTo>
                  <a:pt x="735" y="434"/>
                  <a:pt x="735" y="434"/>
                  <a:pt x="735" y="434"/>
                </a:cubicBezTo>
                <a:cubicBezTo>
                  <a:pt x="734" y="436"/>
                  <a:pt x="734" y="436"/>
                  <a:pt x="734" y="436"/>
                </a:cubicBezTo>
                <a:close/>
                <a:moveTo>
                  <a:pt x="41" y="64"/>
                </a:moveTo>
                <a:cubicBezTo>
                  <a:pt x="40" y="62"/>
                  <a:pt x="40" y="62"/>
                  <a:pt x="40" y="62"/>
                </a:cubicBezTo>
                <a:cubicBezTo>
                  <a:pt x="40" y="60"/>
                  <a:pt x="40" y="60"/>
                  <a:pt x="40" y="60"/>
                </a:cubicBezTo>
                <a:cubicBezTo>
                  <a:pt x="39" y="60"/>
                  <a:pt x="39" y="60"/>
                  <a:pt x="39" y="60"/>
                </a:cubicBezTo>
                <a:cubicBezTo>
                  <a:pt x="39" y="59"/>
                  <a:pt x="39" y="59"/>
                  <a:pt x="39" y="59"/>
                </a:cubicBezTo>
                <a:cubicBezTo>
                  <a:pt x="38" y="58"/>
                  <a:pt x="38" y="58"/>
                  <a:pt x="38" y="58"/>
                </a:cubicBezTo>
                <a:cubicBezTo>
                  <a:pt x="39" y="57"/>
                  <a:pt x="39" y="57"/>
                  <a:pt x="39" y="57"/>
                </a:cubicBezTo>
                <a:cubicBezTo>
                  <a:pt x="40" y="56"/>
                  <a:pt x="40" y="56"/>
                  <a:pt x="40" y="56"/>
                </a:cubicBezTo>
                <a:cubicBezTo>
                  <a:pt x="42" y="55"/>
                  <a:pt x="42" y="55"/>
                  <a:pt x="42" y="55"/>
                </a:cubicBezTo>
                <a:cubicBezTo>
                  <a:pt x="43" y="55"/>
                  <a:pt x="43" y="55"/>
                  <a:pt x="43" y="55"/>
                </a:cubicBezTo>
                <a:cubicBezTo>
                  <a:pt x="44" y="55"/>
                  <a:pt x="44" y="55"/>
                  <a:pt x="44" y="55"/>
                </a:cubicBezTo>
                <a:cubicBezTo>
                  <a:pt x="44" y="56"/>
                  <a:pt x="44" y="56"/>
                  <a:pt x="44" y="56"/>
                </a:cubicBezTo>
                <a:cubicBezTo>
                  <a:pt x="46" y="57"/>
                  <a:pt x="46" y="57"/>
                  <a:pt x="46" y="57"/>
                </a:cubicBezTo>
                <a:cubicBezTo>
                  <a:pt x="47" y="57"/>
                  <a:pt x="47" y="57"/>
                  <a:pt x="47" y="57"/>
                </a:cubicBezTo>
                <a:cubicBezTo>
                  <a:pt x="47" y="56"/>
                  <a:pt x="47" y="56"/>
                  <a:pt x="47" y="56"/>
                </a:cubicBezTo>
                <a:cubicBezTo>
                  <a:pt x="48" y="56"/>
                  <a:pt x="48" y="56"/>
                  <a:pt x="48" y="56"/>
                </a:cubicBezTo>
                <a:cubicBezTo>
                  <a:pt x="47" y="55"/>
                  <a:pt x="47" y="55"/>
                  <a:pt x="47" y="55"/>
                </a:cubicBezTo>
                <a:cubicBezTo>
                  <a:pt x="46" y="55"/>
                  <a:pt x="46" y="55"/>
                  <a:pt x="46" y="55"/>
                </a:cubicBezTo>
                <a:cubicBezTo>
                  <a:pt x="43" y="53"/>
                  <a:pt x="43" y="53"/>
                  <a:pt x="43" y="53"/>
                </a:cubicBezTo>
                <a:cubicBezTo>
                  <a:pt x="40" y="52"/>
                  <a:pt x="40" y="52"/>
                  <a:pt x="40" y="52"/>
                </a:cubicBezTo>
                <a:cubicBezTo>
                  <a:pt x="38" y="53"/>
                  <a:pt x="38" y="53"/>
                  <a:pt x="38" y="53"/>
                </a:cubicBezTo>
                <a:cubicBezTo>
                  <a:pt x="36" y="55"/>
                  <a:pt x="36" y="55"/>
                  <a:pt x="36" y="55"/>
                </a:cubicBezTo>
                <a:cubicBezTo>
                  <a:pt x="35" y="56"/>
                  <a:pt x="35" y="56"/>
                  <a:pt x="35" y="56"/>
                </a:cubicBezTo>
                <a:cubicBezTo>
                  <a:pt x="33" y="57"/>
                  <a:pt x="33" y="57"/>
                  <a:pt x="33" y="57"/>
                </a:cubicBezTo>
                <a:cubicBezTo>
                  <a:pt x="32" y="58"/>
                  <a:pt x="32" y="58"/>
                  <a:pt x="32" y="58"/>
                </a:cubicBezTo>
                <a:cubicBezTo>
                  <a:pt x="32" y="61"/>
                  <a:pt x="32" y="61"/>
                  <a:pt x="32" y="61"/>
                </a:cubicBezTo>
                <a:cubicBezTo>
                  <a:pt x="33" y="62"/>
                  <a:pt x="33" y="62"/>
                  <a:pt x="33" y="62"/>
                </a:cubicBezTo>
                <a:cubicBezTo>
                  <a:pt x="34" y="61"/>
                  <a:pt x="34" y="61"/>
                  <a:pt x="34" y="61"/>
                </a:cubicBezTo>
                <a:cubicBezTo>
                  <a:pt x="36" y="62"/>
                  <a:pt x="36" y="62"/>
                  <a:pt x="36" y="62"/>
                </a:cubicBezTo>
                <a:cubicBezTo>
                  <a:pt x="36" y="63"/>
                  <a:pt x="36" y="63"/>
                  <a:pt x="36" y="63"/>
                </a:cubicBezTo>
                <a:cubicBezTo>
                  <a:pt x="37" y="63"/>
                  <a:pt x="37" y="63"/>
                  <a:pt x="37" y="63"/>
                </a:cubicBezTo>
                <a:cubicBezTo>
                  <a:pt x="37" y="62"/>
                  <a:pt x="37" y="62"/>
                  <a:pt x="37" y="62"/>
                </a:cubicBezTo>
                <a:cubicBezTo>
                  <a:pt x="37" y="62"/>
                  <a:pt x="37" y="62"/>
                  <a:pt x="37" y="62"/>
                </a:cubicBezTo>
                <a:cubicBezTo>
                  <a:pt x="38" y="61"/>
                  <a:pt x="38" y="61"/>
                  <a:pt x="38" y="61"/>
                </a:cubicBezTo>
                <a:cubicBezTo>
                  <a:pt x="39" y="62"/>
                  <a:pt x="39" y="62"/>
                  <a:pt x="39" y="62"/>
                </a:cubicBezTo>
                <a:cubicBezTo>
                  <a:pt x="40" y="64"/>
                  <a:pt x="40" y="64"/>
                  <a:pt x="40" y="64"/>
                </a:cubicBezTo>
                <a:cubicBezTo>
                  <a:pt x="41" y="64"/>
                  <a:pt x="41" y="64"/>
                  <a:pt x="41" y="64"/>
                </a:cubicBezTo>
                <a:cubicBezTo>
                  <a:pt x="41" y="64"/>
                  <a:pt x="41" y="64"/>
                  <a:pt x="41" y="64"/>
                </a:cubicBezTo>
                <a:close/>
                <a:moveTo>
                  <a:pt x="51" y="45"/>
                </a:moveTo>
                <a:cubicBezTo>
                  <a:pt x="51" y="44"/>
                  <a:pt x="51" y="44"/>
                  <a:pt x="51" y="44"/>
                </a:cubicBezTo>
                <a:cubicBezTo>
                  <a:pt x="52" y="43"/>
                  <a:pt x="52" y="43"/>
                  <a:pt x="52" y="43"/>
                </a:cubicBezTo>
                <a:cubicBezTo>
                  <a:pt x="52" y="43"/>
                  <a:pt x="52" y="43"/>
                  <a:pt x="52" y="43"/>
                </a:cubicBezTo>
                <a:cubicBezTo>
                  <a:pt x="53" y="44"/>
                  <a:pt x="53" y="44"/>
                  <a:pt x="53" y="44"/>
                </a:cubicBezTo>
                <a:cubicBezTo>
                  <a:pt x="53" y="45"/>
                  <a:pt x="53" y="45"/>
                  <a:pt x="53" y="45"/>
                </a:cubicBezTo>
                <a:cubicBezTo>
                  <a:pt x="53" y="45"/>
                  <a:pt x="53" y="45"/>
                  <a:pt x="53" y="45"/>
                </a:cubicBezTo>
                <a:cubicBezTo>
                  <a:pt x="51" y="45"/>
                  <a:pt x="51" y="45"/>
                  <a:pt x="51" y="45"/>
                </a:cubicBezTo>
                <a:cubicBezTo>
                  <a:pt x="51" y="45"/>
                  <a:pt x="51" y="45"/>
                  <a:pt x="51" y="45"/>
                </a:cubicBezTo>
                <a:close/>
                <a:moveTo>
                  <a:pt x="48" y="70"/>
                </a:moveTo>
                <a:cubicBezTo>
                  <a:pt x="49" y="70"/>
                  <a:pt x="49" y="70"/>
                  <a:pt x="49" y="70"/>
                </a:cubicBezTo>
                <a:cubicBezTo>
                  <a:pt x="49" y="70"/>
                  <a:pt x="49" y="70"/>
                  <a:pt x="49" y="70"/>
                </a:cubicBezTo>
                <a:cubicBezTo>
                  <a:pt x="50" y="69"/>
                  <a:pt x="50" y="69"/>
                  <a:pt x="50" y="69"/>
                </a:cubicBezTo>
                <a:cubicBezTo>
                  <a:pt x="50" y="68"/>
                  <a:pt x="50" y="68"/>
                  <a:pt x="50" y="68"/>
                </a:cubicBezTo>
                <a:cubicBezTo>
                  <a:pt x="50" y="67"/>
                  <a:pt x="50" y="67"/>
                  <a:pt x="50" y="67"/>
                </a:cubicBezTo>
                <a:cubicBezTo>
                  <a:pt x="51" y="68"/>
                  <a:pt x="51" y="68"/>
                  <a:pt x="51" y="68"/>
                </a:cubicBezTo>
                <a:cubicBezTo>
                  <a:pt x="52" y="67"/>
                  <a:pt x="52" y="67"/>
                  <a:pt x="52" y="67"/>
                </a:cubicBezTo>
                <a:cubicBezTo>
                  <a:pt x="52" y="65"/>
                  <a:pt x="52" y="65"/>
                  <a:pt x="52" y="65"/>
                </a:cubicBezTo>
                <a:cubicBezTo>
                  <a:pt x="52" y="64"/>
                  <a:pt x="52" y="64"/>
                  <a:pt x="52" y="64"/>
                </a:cubicBezTo>
                <a:cubicBezTo>
                  <a:pt x="51" y="63"/>
                  <a:pt x="51" y="63"/>
                  <a:pt x="51" y="63"/>
                </a:cubicBezTo>
                <a:cubicBezTo>
                  <a:pt x="50" y="62"/>
                  <a:pt x="50" y="62"/>
                  <a:pt x="50" y="62"/>
                </a:cubicBezTo>
                <a:cubicBezTo>
                  <a:pt x="52" y="62"/>
                  <a:pt x="52" y="62"/>
                  <a:pt x="52" y="62"/>
                </a:cubicBezTo>
                <a:cubicBezTo>
                  <a:pt x="53" y="62"/>
                  <a:pt x="53" y="62"/>
                  <a:pt x="53" y="62"/>
                </a:cubicBezTo>
                <a:cubicBezTo>
                  <a:pt x="55" y="61"/>
                  <a:pt x="55" y="61"/>
                  <a:pt x="55" y="61"/>
                </a:cubicBezTo>
                <a:cubicBezTo>
                  <a:pt x="55" y="61"/>
                  <a:pt x="55" y="61"/>
                  <a:pt x="55" y="61"/>
                </a:cubicBezTo>
                <a:cubicBezTo>
                  <a:pt x="55" y="61"/>
                  <a:pt x="55" y="61"/>
                  <a:pt x="55" y="61"/>
                </a:cubicBezTo>
                <a:cubicBezTo>
                  <a:pt x="55" y="60"/>
                  <a:pt x="55" y="60"/>
                  <a:pt x="55" y="60"/>
                </a:cubicBezTo>
                <a:cubicBezTo>
                  <a:pt x="54" y="59"/>
                  <a:pt x="54" y="59"/>
                  <a:pt x="54" y="59"/>
                </a:cubicBezTo>
                <a:cubicBezTo>
                  <a:pt x="54" y="59"/>
                  <a:pt x="54" y="59"/>
                  <a:pt x="54" y="59"/>
                </a:cubicBezTo>
                <a:cubicBezTo>
                  <a:pt x="53" y="59"/>
                  <a:pt x="53" y="59"/>
                  <a:pt x="53" y="59"/>
                </a:cubicBezTo>
                <a:cubicBezTo>
                  <a:pt x="53" y="58"/>
                  <a:pt x="53" y="58"/>
                  <a:pt x="53" y="58"/>
                </a:cubicBezTo>
                <a:cubicBezTo>
                  <a:pt x="54" y="57"/>
                  <a:pt x="54" y="57"/>
                  <a:pt x="54" y="57"/>
                </a:cubicBezTo>
                <a:cubicBezTo>
                  <a:pt x="55" y="57"/>
                  <a:pt x="55" y="57"/>
                  <a:pt x="55" y="57"/>
                </a:cubicBezTo>
                <a:cubicBezTo>
                  <a:pt x="55" y="58"/>
                  <a:pt x="55" y="58"/>
                  <a:pt x="55" y="58"/>
                </a:cubicBezTo>
                <a:cubicBezTo>
                  <a:pt x="56" y="58"/>
                  <a:pt x="56" y="58"/>
                  <a:pt x="56" y="58"/>
                </a:cubicBezTo>
                <a:cubicBezTo>
                  <a:pt x="56" y="58"/>
                  <a:pt x="56" y="58"/>
                  <a:pt x="56" y="58"/>
                </a:cubicBezTo>
                <a:cubicBezTo>
                  <a:pt x="57" y="56"/>
                  <a:pt x="57" y="56"/>
                  <a:pt x="57" y="56"/>
                </a:cubicBezTo>
                <a:cubicBezTo>
                  <a:pt x="58" y="56"/>
                  <a:pt x="58" y="56"/>
                  <a:pt x="58" y="56"/>
                </a:cubicBezTo>
                <a:cubicBezTo>
                  <a:pt x="58" y="55"/>
                  <a:pt x="58" y="55"/>
                  <a:pt x="58" y="55"/>
                </a:cubicBezTo>
                <a:cubicBezTo>
                  <a:pt x="58" y="54"/>
                  <a:pt x="58" y="54"/>
                  <a:pt x="58" y="54"/>
                </a:cubicBezTo>
                <a:cubicBezTo>
                  <a:pt x="58" y="54"/>
                  <a:pt x="58" y="54"/>
                  <a:pt x="58" y="54"/>
                </a:cubicBezTo>
                <a:cubicBezTo>
                  <a:pt x="56" y="53"/>
                  <a:pt x="56" y="53"/>
                  <a:pt x="56" y="53"/>
                </a:cubicBezTo>
                <a:cubicBezTo>
                  <a:pt x="56" y="52"/>
                  <a:pt x="56" y="52"/>
                  <a:pt x="56" y="52"/>
                </a:cubicBezTo>
                <a:cubicBezTo>
                  <a:pt x="56" y="51"/>
                  <a:pt x="56" y="51"/>
                  <a:pt x="56" y="51"/>
                </a:cubicBezTo>
                <a:cubicBezTo>
                  <a:pt x="54" y="52"/>
                  <a:pt x="54" y="52"/>
                  <a:pt x="54" y="52"/>
                </a:cubicBezTo>
                <a:cubicBezTo>
                  <a:pt x="53" y="53"/>
                  <a:pt x="53" y="53"/>
                  <a:pt x="53" y="53"/>
                </a:cubicBezTo>
                <a:cubicBezTo>
                  <a:pt x="53" y="54"/>
                  <a:pt x="53" y="54"/>
                  <a:pt x="53" y="54"/>
                </a:cubicBezTo>
                <a:cubicBezTo>
                  <a:pt x="53" y="53"/>
                  <a:pt x="53" y="53"/>
                  <a:pt x="53" y="53"/>
                </a:cubicBezTo>
                <a:cubicBezTo>
                  <a:pt x="53" y="52"/>
                  <a:pt x="53" y="52"/>
                  <a:pt x="53" y="52"/>
                </a:cubicBezTo>
                <a:cubicBezTo>
                  <a:pt x="54" y="51"/>
                  <a:pt x="54" y="51"/>
                  <a:pt x="54" y="51"/>
                </a:cubicBezTo>
                <a:cubicBezTo>
                  <a:pt x="54" y="50"/>
                  <a:pt x="54" y="50"/>
                  <a:pt x="54" y="50"/>
                </a:cubicBezTo>
                <a:cubicBezTo>
                  <a:pt x="55" y="48"/>
                  <a:pt x="55" y="48"/>
                  <a:pt x="55" y="48"/>
                </a:cubicBezTo>
                <a:cubicBezTo>
                  <a:pt x="54" y="48"/>
                  <a:pt x="54" y="48"/>
                  <a:pt x="54" y="48"/>
                </a:cubicBezTo>
                <a:cubicBezTo>
                  <a:pt x="53" y="49"/>
                  <a:pt x="53" y="49"/>
                  <a:pt x="53" y="49"/>
                </a:cubicBezTo>
                <a:cubicBezTo>
                  <a:pt x="52" y="51"/>
                  <a:pt x="52" y="51"/>
                  <a:pt x="52" y="51"/>
                </a:cubicBezTo>
                <a:cubicBezTo>
                  <a:pt x="52" y="51"/>
                  <a:pt x="52" y="51"/>
                  <a:pt x="52" y="51"/>
                </a:cubicBezTo>
                <a:cubicBezTo>
                  <a:pt x="52" y="51"/>
                  <a:pt x="52" y="51"/>
                  <a:pt x="52" y="51"/>
                </a:cubicBezTo>
                <a:cubicBezTo>
                  <a:pt x="52" y="49"/>
                  <a:pt x="52" y="49"/>
                  <a:pt x="52" y="49"/>
                </a:cubicBezTo>
                <a:cubicBezTo>
                  <a:pt x="52" y="49"/>
                  <a:pt x="52" y="49"/>
                  <a:pt x="52" y="49"/>
                </a:cubicBezTo>
                <a:cubicBezTo>
                  <a:pt x="51" y="49"/>
                  <a:pt x="51" y="49"/>
                  <a:pt x="51" y="49"/>
                </a:cubicBezTo>
                <a:cubicBezTo>
                  <a:pt x="51" y="51"/>
                  <a:pt x="51" y="51"/>
                  <a:pt x="51" y="51"/>
                </a:cubicBezTo>
                <a:cubicBezTo>
                  <a:pt x="50" y="51"/>
                  <a:pt x="50" y="51"/>
                  <a:pt x="50" y="51"/>
                </a:cubicBezTo>
                <a:cubicBezTo>
                  <a:pt x="50" y="52"/>
                  <a:pt x="50" y="52"/>
                  <a:pt x="50" y="52"/>
                </a:cubicBezTo>
                <a:cubicBezTo>
                  <a:pt x="50" y="53"/>
                  <a:pt x="50" y="53"/>
                  <a:pt x="50" y="53"/>
                </a:cubicBezTo>
                <a:cubicBezTo>
                  <a:pt x="51" y="52"/>
                  <a:pt x="51" y="52"/>
                  <a:pt x="51" y="52"/>
                </a:cubicBezTo>
                <a:cubicBezTo>
                  <a:pt x="52" y="53"/>
                  <a:pt x="52" y="53"/>
                  <a:pt x="52" y="53"/>
                </a:cubicBezTo>
                <a:cubicBezTo>
                  <a:pt x="52" y="53"/>
                  <a:pt x="52" y="53"/>
                  <a:pt x="52" y="53"/>
                </a:cubicBezTo>
                <a:cubicBezTo>
                  <a:pt x="51" y="54"/>
                  <a:pt x="51" y="54"/>
                  <a:pt x="51" y="54"/>
                </a:cubicBezTo>
                <a:cubicBezTo>
                  <a:pt x="50" y="55"/>
                  <a:pt x="50" y="55"/>
                  <a:pt x="50" y="55"/>
                </a:cubicBezTo>
                <a:cubicBezTo>
                  <a:pt x="50" y="56"/>
                  <a:pt x="50" y="56"/>
                  <a:pt x="50" y="56"/>
                </a:cubicBezTo>
                <a:cubicBezTo>
                  <a:pt x="49" y="57"/>
                  <a:pt x="49" y="57"/>
                  <a:pt x="49" y="57"/>
                </a:cubicBezTo>
                <a:cubicBezTo>
                  <a:pt x="49" y="57"/>
                  <a:pt x="49" y="57"/>
                  <a:pt x="49" y="57"/>
                </a:cubicBezTo>
                <a:cubicBezTo>
                  <a:pt x="48" y="58"/>
                  <a:pt x="48" y="58"/>
                  <a:pt x="48" y="58"/>
                </a:cubicBezTo>
                <a:cubicBezTo>
                  <a:pt x="47" y="59"/>
                  <a:pt x="47" y="59"/>
                  <a:pt x="47" y="59"/>
                </a:cubicBezTo>
                <a:cubicBezTo>
                  <a:pt x="45" y="58"/>
                  <a:pt x="45" y="58"/>
                  <a:pt x="45" y="58"/>
                </a:cubicBezTo>
                <a:cubicBezTo>
                  <a:pt x="44" y="59"/>
                  <a:pt x="44" y="59"/>
                  <a:pt x="44" y="59"/>
                </a:cubicBezTo>
                <a:cubicBezTo>
                  <a:pt x="43" y="58"/>
                  <a:pt x="43" y="58"/>
                  <a:pt x="43" y="58"/>
                </a:cubicBezTo>
                <a:cubicBezTo>
                  <a:pt x="42" y="57"/>
                  <a:pt x="42" y="57"/>
                  <a:pt x="42" y="57"/>
                </a:cubicBezTo>
                <a:cubicBezTo>
                  <a:pt x="42" y="58"/>
                  <a:pt x="42" y="58"/>
                  <a:pt x="42" y="58"/>
                </a:cubicBezTo>
                <a:cubicBezTo>
                  <a:pt x="42" y="59"/>
                  <a:pt x="42" y="59"/>
                  <a:pt x="42" y="59"/>
                </a:cubicBezTo>
                <a:cubicBezTo>
                  <a:pt x="42" y="59"/>
                  <a:pt x="42" y="59"/>
                  <a:pt x="42" y="59"/>
                </a:cubicBezTo>
                <a:cubicBezTo>
                  <a:pt x="41" y="60"/>
                  <a:pt x="41" y="60"/>
                  <a:pt x="41" y="60"/>
                </a:cubicBezTo>
                <a:cubicBezTo>
                  <a:pt x="42" y="61"/>
                  <a:pt x="42" y="61"/>
                  <a:pt x="42" y="61"/>
                </a:cubicBezTo>
                <a:cubicBezTo>
                  <a:pt x="43" y="60"/>
                  <a:pt x="43" y="60"/>
                  <a:pt x="43" y="60"/>
                </a:cubicBezTo>
                <a:cubicBezTo>
                  <a:pt x="44" y="60"/>
                  <a:pt x="44" y="60"/>
                  <a:pt x="44" y="60"/>
                </a:cubicBezTo>
                <a:cubicBezTo>
                  <a:pt x="45" y="62"/>
                  <a:pt x="45" y="62"/>
                  <a:pt x="45" y="62"/>
                </a:cubicBezTo>
                <a:cubicBezTo>
                  <a:pt x="46" y="62"/>
                  <a:pt x="46" y="62"/>
                  <a:pt x="46" y="62"/>
                </a:cubicBezTo>
                <a:cubicBezTo>
                  <a:pt x="46" y="63"/>
                  <a:pt x="46" y="63"/>
                  <a:pt x="46" y="63"/>
                </a:cubicBezTo>
                <a:cubicBezTo>
                  <a:pt x="45" y="63"/>
                  <a:pt x="45" y="63"/>
                  <a:pt x="45" y="63"/>
                </a:cubicBezTo>
                <a:cubicBezTo>
                  <a:pt x="44" y="63"/>
                  <a:pt x="44" y="63"/>
                  <a:pt x="44" y="63"/>
                </a:cubicBezTo>
                <a:cubicBezTo>
                  <a:pt x="43" y="64"/>
                  <a:pt x="43" y="64"/>
                  <a:pt x="43" y="64"/>
                </a:cubicBezTo>
                <a:cubicBezTo>
                  <a:pt x="43" y="67"/>
                  <a:pt x="43" y="67"/>
                  <a:pt x="43" y="67"/>
                </a:cubicBezTo>
                <a:cubicBezTo>
                  <a:pt x="44" y="68"/>
                  <a:pt x="44" y="68"/>
                  <a:pt x="44" y="68"/>
                </a:cubicBezTo>
                <a:cubicBezTo>
                  <a:pt x="44" y="69"/>
                  <a:pt x="44" y="69"/>
                  <a:pt x="44" y="69"/>
                </a:cubicBezTo>
                <a:cubicBezTo>
                  <a:pt x="44" y="69"/>
                  <a:pt x="44" y="69"/>
                  <a:pt x="44" y="69"/>
                </a:cubicBezTo>
                <a:cubicBezTo>
                  <a:pt x="45" y="69"/>
                  <a:pt x="45" y="69"/>
                  <a:pt x="45" y="69"/>
                </a:cubicBezTo>
                <a:cubicBezTo>
                  <a:pt x="46" y="69"/>
                  <a:pt x="46" y="69"/>
                  <a:pt x="46" y="69"/>
                </a:cubicBezTo>
                <a:cubicBezTo>
                  <a:pt x="46" y="68"/>
                  <a:pt x="46" y="68"/>
                  <a:pt x="46" y="68"/>
                </a:cubicBezTo>
                <a:cubicBezTo>
                  <a:pt x="46" y="67"/>
                  <a:pt x="46" y="67"/>
                  <a:pt x="46" y="67"/>
                </a:cubicBezTo>
                <a:cubicBezTo>
                  <a:pt x="47" y="67"/>
                  <a:pt x="47" y="67"/>
                  <a:pt x="47" y="67"/>
                </a:cubicBezTo>
                <a:cubicBezTo>
                  <a:pt x="48" y="68"/>
                  <a:pt x="48" y="68"/>
                  <a:pt x="48" y="68"/>
                </a:cubicBezTo>
                <a:cubicBezTo>
                  <a:pt x="48" y="70"/>
                  <a:pt x="48" y="70"/>
                  <a:pt x="48" y="70"/>
                </a:cubicBezTo>
                <a:close/>
                <a:moveTo>
                  <a:pt x="56" y="68"/>
                </a:moveTo>
                <a:cubicBezTo>
                  <a:pt x="57" y="67"/>
                  <a:pt x="57" y="67"/>
                  <a:pt x="57" y="67"/>
                </a:cubicBezTo>
                <a:cubicBezTo>
                  <a:pt x="57" y="66"/>
                  <a:pt x="57" y="66"/>
                  <a:pt x="57" y="66"/>
                </a:cubicBezTo>
                <a:cubicBezTo>
                  <a:pt x="57" y="65"/>
                  <a:pt x="57" y="65"/>
                  <a:pt x="57" y="65"/>
                </a:cubicBezTo>
                <a:cubicBezTo>
                  <a:pt x="56" y="64"/>
                  <a:pt x="56" y="64"/>
                  <a:pt x="56" y="64"/>
                </a:cubicBezTo>
                <a:cubicBezTo>
                  <a:pt x="55" y="64"/>
                  <a:pt x="55" y="64"/>
                  <a:pt x="55" y="64"/>
                </a:cubicBezTo>
                <a:cubicBezTo>
                  <a:pt x="54" y="65"/>
                  <a:pt x="54" y="65"/>
                  <a:pt x="54" y="65"/>
                </a:cubicBezTo>
                <a:cubicBezTo>
                  <a:pt x="54" y="66"/>
                  <a:pt x="54" y="66"/>
                  <a:pt x="54" y="66"/>
                </a:cubicBezTo>
                <a:cubicBezTo>
                  <a:pt x="55" y="67"/>
                  <a:pt x="55" y="67"/>
                  <a:pt x="55" y="67"/>
                </a:cubicBezTo>
                <a:cubicBezTo>
                  <a:pt x="56" y="68"/>
                  <a:pt x="56" y="68"/>
                  <a:pt x="56" y="68"/>
                </a:cubicBezTo>
                <a:close/>
                <a:moveTo>
                  <a:pt x="58" y="71"/>
                </a:moveTo>
                <a:cubicBezTo>
                  <a:pt x="58" y="71"/>
                  <a:pt x="59" y="71"/>
                  <a:pt x="59" y="71"/>
                </a:cubicBezTo>
                <a:cubicBezTo>
                  <a:pt x="60" y="70"/>
                  <a:pt x="60" y="70"/>
                  <a:pt x="60" y="70"/>
                </a:cubicBezTo>
                <a:cubicBezTo>
                  <a:pt x="62" y="71"/>
                  <a:pt x="62" y="71"/>
                  <a:pt x="62" y="71"/>
                </a:cubicBezTo>
                <a:cubicBezTo>
                  <a:pt x="63" y="70"/>
                  <a:pt x="63" y="70"/>
                  <a:pt x="63" y="70"/>
                </a:cubicBezTo>
                <a:cubicBezTo>
                  <a:pt x="62" y="69"/>
                  <a:pt x="62" y="69"/>
                  <a:pt x="62" y="69"/>
                </a:cubicBezTo>
                <a:cubicBezTo>
                  <a:pt x="61" y="69"/>
                  <a:pt x="61" y="69"/>
                  <a:pt x="61" y="69"/>
                </a:cubicBezTo>
                <a:cubicBezTo>
                  <a:pt x="61" y="67"/>
                  <a:pt x="61" y="67"/>
                  <a:pt x="61" y="67"/>
                </a:cubicBezTo>
                <a:cubicBezTo>
                  <a:pt x="59" y="65"/>
                  <a:pt x="59" y="65"/>
                  <a:pt x="59" y="65"/>
                </a:cubicBezTo>
                <a:cubicBezTo>
                  <a:pt x="59" y="66"/>
                  <a:pt x="59" y="66"/>
                  <a:pt x="59" y="66"/>
                </a:cubicBezTo>
                <a:cubicBezTo>
                  <a:pt x="59" y="68"/>
                  <a:pt x="59" y="68"/>
                  <a:pt x="59" y="68"/>
                </a:cubicBezTo>
                <a:cubicBezTo>
                  <a:pt x="59" y="69"/>
                  <a:pt x="59" y="69"/>
                  <a:pt x="59" y="69"/>
                </a:cubicBezTo>
                <a:cubicBezTo>
                  <a:pt x="57" y="69"/>
                  <a:pt x="57" y="69"/>
                  <a:pt x="57" y="69"/>
                </a:cubicBezTo>
                <a:cubicBezTo>
                  <a:pt x="57" y="69"/>
                  <a:pt x="57" y="69"/>
                  <a:pt x="57" y="69"/>
                </a:cubicBezTo>
                <a:cubicBezTo>
                  <a:pt x="58" y="70"/>
                  <a:pt x="58" y="70"/>
                  <a:pt x="58" y="70"/>
                </a:cubicBezTo>
                <a:cubicBezTo>
                  <a:pt x="58" y="71"/>
                  <a:pt x="58" y="71"/>
                  <a:pt x="58" y="71"/>
                </a:cubicBezTo>
                <a:close/>
                <a:moveTo>
                  <a:pt x="74" y="27"/>
                </a:moveTo>
                <a:cubicBezTo>
                  <a:pt x="76" y="26"/>
                  <a:pt x="76" y="26"/>
                  <a:pt x="76" y="26"/>
                </a:cubicBezTo>
                <a:cubicBezTo>
                  <a:pt x="77" y="26"/>
                  <a:pt x="77" y="26"/>
                  <a:pt x="77" y="26"/>
                </a:cubicBezTo>
                <a:cubicBezTo>
                  <a:pt x="77" y="25"/>
                  <a:pt x="77" y="25"/>
                  <a:pt x="77" y="25"/>
                </a:cubicBezTo>
                <a:cubicBezTo>
                  <a:pt x="78" y="25"/>
                  <a:pt x="78" y="25"/>
                  <a:pt x="78" y="25"/>
                </a:cubicBezTo>
                <a:cubicBezTo>
                  <a:pt x="77" y="24"/>
                  <a:pt x="77" y="24"/>
                  <a:pt x="77" y="24"/>
                </a:cubicBezTo>
                <a:cubicBezTo>
                  <a:pt x="77" y="23"/>
                  <a:pt x="77" y="23"/>
                  <a:pt x="77" y="23"/>
                </a:cubicBezTo>
                <a:cubicBezTo>
                  <a:pt x="76" y="22"/>
                  <a:pt x="76" y="22"/>
                  <a:pt x="76" y="22"/>
                </a:cubicBezTo>
                <a:cubicBezTo>
                  <a:pt x="75" y="23"/>
                  <a:pt x="75" y="23"/>
                  <a:pt x="75" y="23"/>
                </a:cubicBezTo>
                <a:cubicBezTo>
                  <a:pt x="74" y="23"/>
                  <a:pt x="74" y="23"/>
                  <a:pt x="74" y="23"/>
                </a:cubicBezTo>
                <a:cubicBezTo>
                  <a:pt x="73" y="24"/>
                  <a:pt x="73" y="24"/>
                  <a:pt x="73" y="24"/>
                </a:cubicBezTo>
                <a:cubicBezTo>
                  <a:pt x="73" y="24"/>
                  <a:pt x="73" y="24"/>
                  <a:pt x="73" y="24"/>
                </a:cubicBezTo>
                <a:cubicBezTo>
                  <a:pt x="73" y="25"/>
                  <a:pt x="73" y="25"/>
                  <a:pt x="73" y="25"/>
                </a:cubicBezTo>
                <a:cubicBezTo>
                  <a:pt x="74" y="26"/>
                  <a:pt x="74" y="26"/>
                  <a:pt x="74" y="26"/>
                </a:cubicBezTo>
                <a:cubicBezTo>
                  <a:pt x="74" y="26"/>
                  <a:pt x="74" y="27"/>
                  <a:pt x="74" y="27"/>
                </a:cubicBezTo>
                <a:close/>
                <a:moveTo>
                  <a:pt x="76" y="29"/>
                </a:moveTo>
                <a:cubicBezTo>
                  <a:pt x="76" y="28"/>
                  <a:pt x="76" y="28"/>
                  <a:pt x="76" y="28"/>
                </a:cubicBezTo>
                <a:cubicBezTo>
                  <a:pt x="76" y="28"/>
                  <a:pt x="76" y="28"/>
                  <a:pt x="76" y="28"/>
                </a:cubicBezTo>
                <a:cubicBezTo>
                  <a:pt x="76" y="28"/>
                  <a:pt x="76" y="28"/>
                  <a:pt x="76" y="28"/>
                </a:cubicBezTo>
                <a:cubicBezTo>
                  <a:pt x="76" y="29"/>
                  <a:pt x="76" y="29"/>
                  <a:pt x="76" y="29"/>
                </a:cubicBezTo>
                <a:close/>
                <a:moveTo>
                  <a:pt x="76" y="33"/>
                </a:moveTo>
                <a:cubicBezTo>
                  <a:pt x="77" y="32"/>
                  <a:pt x="77" y="32"/>
                  <a:pt x="77" y="32"/>
                </a:cubicBezTo>
                <a:cubicBezTo>
                  <a:pt x="77" y="31"/>
                  <a:pt x="77" y="31"/>
                  <a:pt x="77" y="31"/>
                </a:cubicBezTo>
                <a:cubicBezTo>
                  <a:pt x="78" y="31"/>
                  <a:pt x="78" y="31"/>
                  <a:pt x="78" y="31"/>
                </a:cubicBezTo>
                <a:cubicBezTo>
                  <a:pt x="77" y="30"/>
                  <a:pt x="77" y="30"/>
                  <a:pt x="77" y="30"/>
                </a:cubicBezTo>
                <a:cubicBezTo>
                  <a:pt x="77" y="31"/>
                  <a:pt x="77" y="31"/>
                  <a:pt x="77" y="31"/>
                </a:cubicBezTo>
                <a:cubicBezTo>
                  <a:pt x="75" y="31"/>
                  <a:pt x="75" y="31"/>
                  <a:pt x="75" y="31"/>
                </a:cubicBezTo>
                <a:cubicBezTo>
                  <a:pt x="75" y="30"/>
                  <a:pt x="75" y="30"/>
                  <a:pt x="75" y="30"/>
                </a:cubicBezTo>
                <a:cubicBezTo>
                  <a:pt x="74" y="30"/>
                  <a:pt x="74" y="30"/>
                  <a:pt x="74" y="30"/>
                </a:cubicBezTo>
                <a:cubicBezTo>
                  <a:pt x="73" y="30"/>
                  <a:pt x="73" y="30"/>
                  <a:pt x="73" y="30"/>
                </a:cubicBezTo>
                <a:cubicBezTo>
                  <a:pt x="71" y="31"/>
                  <a:pt x="71" y="31"/>
                  <a:pt x="71" y="31"/>
                </a:cubicBezTo>
                <a:cubicBezTo>
                  <a:pt x="71" y="32"/>
                  <a:pt x="71" y="32"/>
                  <a:pt x="71" y="32"/>
                </a:cubicBezTo>
                <a:cubicBezTo>
                  <a:pt x="72" y="33"/>
                  <a:pt x="72" y="33"/>
                  <a:pt x="72" y="33"/>
                </a:cubicBezTo>
                <a:cubicBezTo>
                  <a:pt x="73" y="33"/>
                  <a:pt x="73" y="33"/>
                  <a:pt x="73" y="33"/>
                </a:cubicBezTo>
                <a:cubicBezTo>
                  <a:pt x="74" y="33"/>
                  <a:pt x="74" y="33"/>
                  <a:pt x="74" y="33"/>
                </a:cubicBezTo>
                <a:cubicBezTo>
                  <a:pt x="75" y="33"/>
                  <a:pt x="75" y="33"/>
                  <a:pt x="75" y="33"/>
                </a:cubicBezTo>
                <a:cubicBezTo>
                  <a:pt x="75" y="34"/>
                  <a:pt x="75" y="34"/>
                  <a:pt x="75" y="34"/>
                </a:cubicBezTo>
                <a:cubicBezTo>
                  <a:pt x="76" y="33"/>
                  <a:pt x="76" y="33"/>
                  <a:pt x="76" y="33"/>
                </a:cubicBezTo>
                <a:close/>
                <a:moveTo>
                  <a:pt x="79" y="33"/>
                </a:moveTo>
                <a:cubicBezTo>
                  <a:pt x="79" y="32"/>
                  <a:pt x="79" y="32"/>
                  <a:pt x="79" y="32"/>
                </a:cubicBezTo>
                <a:cubicBezTo>
                  <a:pt x="79" y="31"/>
                  <a:pt x="79" y="31"/>
                  <a:pt x="79" y="31"/>
                </a:cubicBezTo>
                <a:cubicBezTo>
                  <a:pt x="80" y="31"/>
                  <a:pt x="80" y="31"/>
                  <a:pt x="80" y="31"/>
                </a:cubicBezTo>
                <a:cubicBezTo>
                  <a:pt x="81" y="31"/>
                  <a:pt x="81" y="31"/>
                  <a:pt x="81" y="31"/>
                </a:cubicBezTo>
                <a:cubicBezTo>
                  <a:pt x="81" y="32"/>
                  <a:pt x="81" y="32"/>
                  <a:pt x="81" y="32"/>
                </a:cubicBezTo>
                <a:cubicBezTo>
                  <a:pt x="81" y="33"/>
                  <a:pt x="81" y="33"/>
                  <a:pt x="81" y="33"/>
                </a:cubicBezTo>
                <a:cubicBezTo>
                  <a:pt x="80" y="33"/>
                  <a:pt x="80" y="33"/>
                  <a:pt x="80" y="33"/>
                </a:cubicBezTo>
                <a:cubicBezTo>
                  <a:pt x="79" y="33"/>
                  <a:pt x="79" y="33"/>
                  <a:pt x="79" y="33"/>
                </a:cubicBezTo>
                <a:close/>
                <a:moveTo>
                  <a:pt x="74" y="40"/>
                </a:moveTo>
                <a:cubicBezTo>
                  <a:pt x="75" y="38"/>
                  <a:pt x="75" y="38"/>
                  <a:pt x="75" y="38"/>
                </a:cubicBezTo>
                <a:cubicBezTo>
                  <a:pt x="76" y="36"/>
                  <a:pt x="76" y="36"/>
                  <a:pt x="76" y="36"/>
                </a:cubicBezTo>
                <a:cubicBezTo>
                  <a:pt x="77" y="35"/>
                  <a:pt x="77" y="35"/>
                  <a:pt x="77" y="35"/>
                </a:cubicBezTo>
                <a:cubicBezTo>
                  <a:pt x="77" y="35"/>
                  <a:pt x="77" y="35"/>
                  <a:pt x="77" y="35"/>
                </a:cubicBezTo>
                <a:cubicBezTo>
                  <a:pt x="76" y="34"/>
                  <a:pt x="76" y="34"/>
                  <a:pt x="76" y="34"/>
                </a:cubicBezTo>
                <a:cubicBezTo>
                  <a:pt x="75" y="35"/>
                  <a:pt x="75" y="35"/>
                  <a:pt x="75" y="35"/>
                </a:cubicBezTo>
                <a:cubicBezTo>
                  <a:pt x="73" y="35"/>
                  <a:pt x="73" y="35"/>
                  <a:pt x="73" y="35"/>
                </a:cubicBezTo>
                <a:cubicBezTo>
                  <a:pt x="72" y="34"/>
                  <a:pt x="72" y="34"/>
                  <a:pt x="72" y="34"/>
                </a:cubicBezTo>
                <a:cubicBezTo>
                  <a:pt x="71" y="35"/>
                  <a:pt x="71" y="35"/>
                  <a:pt x="71" y="35"/>
                </a:cubicBezTo>
                <a:cubicBezTo>
                  <a:pt x="71" y="36"/>
                  <a:pt x="71" y="36"/>
                  <a:pt x="71" y="36"/>
                </a:cubicBezTo>
                <a:cubicBezTo>
                  <a:pt x="71" y="37"/>
                  <a:pt x="71" y="37"/>
                  <a:pt x="71" y="37"/>
                </a:cubicBezTo>
                <a:cubicBezTo>
                  <a:pt x="72" y="37"/>
                  <a:pt x="72" y="37"/>
                  <a:pt x="72" y="37"/>
                </a:cubicBezTo>
                <a:cubicBezTo>
                  <a:pt x="73" y="38"/>
                  <a:pt x="73" y="38"/>
                  <a:pt x="73" y="38"/>
                </a:cubicBezTo>
                <a:cubicBezTo>
                  <a:pt x="73" y="39"/>
                  <a:pt x="73" y="39"/>
                  <a:pt x="73" y="39"/>
                </a:cubicBezTo>
                <a:cubicBezTo>
                  <a:pt x="72" y="39"/>
                  <a:pt x="72" y="39"/>
                  <a:pt x="72" y="39"/>
                </a:cubicBezTo>
                <a:cubicBezTo>
                  <a:pt x="69" y="40"/>
                  <a:pt x="69" y="40"/>
                  <a:pt x="69" y="40"/>
                </a:cubicBezTo>
                <a:cubicBezTo>
                  <a:pt x="69" y="40"/>
                  <a:pt x="69" y="40"/>
                  <a:pt x="69" y="40"/>
                </a:cubicBezTo>
                <a:cubicBezTo>
                  <a:pt x="70" y="41"/>
                  <a:pt x="70" y="41"/>
                  <a:pt x="70" y="41"/>
                </a:cubicBezTo>
                <a:cubicBezTo>
                  <a:pt x="71" y="41"/>
                  <a:pt x="71" y="41"/>
                  <a:pt x="71" y="41"/>
                </a:cubicBezTo>
                <a:cubicBezTo>
                  <a:pt x="72" y="40"/>
                  <a:pt x="72" y="40"/>
                  <a:pt x="72" y="40"/>
                </a:cubicBezTo>
                <a:cubicBezTo>
                  <a:pt x="72" y="40"/>
                  <a:pt x="74" y="40"/>
                  <a:pt x="74" y="40"/>
                </a:cubicBezTo>
                <a:close/>
                <a:moveTo>
                  <a:pt x="77" y="40"/>
                </a:moveTo>
                <a:cubicBezTo>
                  <a:pt x="76" y="40"/>
                  <a:pt x="76" y="40"/>
                  <a:pt x="76" y="40"/>
                </a:cubicBezTo>
                <a:cubicBezTo>
                  <a:pt x="76" y="40"/>
                  <a:pt x="76" y="40"/>
                  <a:pt x="76" y="40"/>
                </a:cubicBezTo>
                <a:cubicBezTo>
                  <a:pt x="75" y="40"/>
                  <a:pt x="75" y="40"/>
                  <a:pt x="75" y="40"/>
                </a:cubicBezTo>
                <a:cubicBezTo>
                  <a:pt x="75" y="39"/>
                  <a:pt x="75" y="39"/>
                  <a:pt x="75" y="39"/>
                </a:cubicBezTo>
                <a:cubicBezTo>
                  <a:pt x="77" y="38"/>
                  <a:pt x="77" y="38"/>
                  <a:pt x="77" y="38"/>
                </a:cubicBezTo>
                <a:cubicBezTo>
                  <a:pt x="77" y="37"/>
                  <a:pt x="77" y="37"/>
                  <a:pt x="77" y="37"/>
                </a:cubicBezTo>
                <a:cubicBezTo>
                  <a:pt x="78" y="38"/>
                  <a:pt x="78" y="38"/>
                  <a:pt x="78" y="38"/>
                </a:cubicBezTo>
                <a:cubicBezTo>
                  <a:pt x="78" y="39"/>
                  <a:pt x="78" y="39"/>
                  <a:pt x="78" y="39"/>
                </a:cubicBezTo>
                <a:cubicBezTo>
                  <a:pt x="77" y="40"/>
                  <a:pt x="77" y="40"/>
                  <a:pt x="77" y="40"/>
                </a:cubicBezTo>
                <a:close/>
                <a:moveTo>
                  <a:pt x="81" y="42"/>
                </a:moveTo>
                <a:cubicBezTo>
                  <a:pt x="79" y="41"/>
                  <a:pt x="79" y="41"/>
                  <a:pt x="79" y="41"/>
                </a:cubicBezTo>
                <a:cubicBezTo>
                  <a:pt x="79" y="40"/>
                  <a:pt x="79" y="40"/>
                  <a:pt x="79" y="40"/>
                </a:cubicBezTo>
                <a:cubicBezTo>
                  <a:pt x="79" y="39"/>
                  <a:pt x="79" y="39"/>
                  <a:pt x="79" y="39"/>
                </a:cubicBezTo>
                <a:cubicBezTo>
                  <a:pt x="80" y="39"/>
                  <a:pt x="80" y="39"/>
                  <a:pt x="80" y="39"/>
                </a:cubicBezTo>
                <a:cubicBezTo>
                  <a:pt x="80" y="40"/>
                  <a:pt x="80" y="40"/>
                  <a:pt x="80" y="40"/>
                </a:cubicBezTo>
                <a:cubicBezTo>
                  <a:pt x="82" y="40"/>
                  <a:pt x="82" y="40"/>
                  <a:pt x="82" y="40"/>
                </a:cubicBezTo>
                <a:cubicBezTo>
                  <a:pt x="82" y="41"/>
                  <a:pt x="82" y="41"/>
                  <a:pt x="82" y="41"/>
                </a:cubicBezTo>
                <a:cubicBezTo>
                  <a:pt x="82" y="42"/>
                  <a:pt x="82" y="42"/>
                  <a:pt x="82" y="42"/>
                </a:cubicBezTo>
                <a:cubicBezTo>
                  <a:pt x="81" y="42"/>
                  <a:pt x="81" y="42"/>
                  <a:pt x="81" y="42"/>
                </a:cubicBezTo>
                <a:close/>
                <a:moveTo>
                  <a:pt x="79" y="46"/>
                </a:moveTo>
                <a:cubicBezTo>
                  <a:pt x="78" y="45"/>
                  <a:pt x="78" y="45"/>
                  <a:pt x="78" y="45"/>
                </a:cubicBezTo>
                <a:cubicBezTo>
                  <a:pt x="76" y="43"/>
                  <a:pt x="76" y="43"/>
                  <a:pt x="76" y="43"/>
                </a:cubicBezTo>
                <a:cubicBezTo>
                  <a:pt x="74" y="42"/>
                  <a:pt x="74" y="42"/>
                  <a:pt x="74" y="42"/>
                </a:cubicBezTo>
                <a:cubicBezTo>
                  <a:pt x="73" y="42"/>
                  <a:pt x="73" y="42"/>
                  <a:pt x="73" y="42"/>
                </a:cubicBezTo>
                <a:cubicBezTo>
                  <a:pt x="72" y="42"/>
                  <a:pt x="72" y="42"/>
                  <a:pt x="72" y="42"/>
                </a:cubicBezTo>
                <a:cubicBezTo>
                  <a:pt x="72" y="41"/>
                  <a:pt x="72" y="41"/>
                  <a:pt x="72" y="41"/>
                </a:cubicBezTo>
                <a:cubicBezTo>
                  <a:pt x="74" y="41"/>
                  <a:pt x="74" y="41"/>
                  <a:pt x="74" y="41"/>
                </a:cubicBezTo>
                <a:cubicBezTo>
                  <a:pt x="75" y="41"/>
                  <a:pt x="75" y="41"/>
                  <a:pt x="75" y="41"/>
                </a:cubicBezTo>
                <a:cubicBezTo>
                  <a:pt x="77" y="42"/>
                  <a:pt x="77" y="42"/>
                  <a:pt x="77" y="42"/>
                </a:cubicBezTo>
                <a:cubicBezTo>
                  <a:pt x="79" y="43"/>
                  <a:pt x="79" y="43"/>
                  <a:pt x="79" y="43"/>
                </a:cubicBezTo>
                <a:cubicBezTo>
                  <a:pt x="80" y="43"/>
                  <a:pt x="80" y="43"/>
                  <a:pt x="80" y="43"/>
                </a:cubicBezTo>
                <a:cubicBezTo>
                  <a:pt x="81" y="43"/>
                  <a:pt x="81" y="43"/>
                  <a:pt x="81" y="43"/>
                </a:cubicBezTo>
                <a:cubicBezTo>
                  <a:pt x="81" y="43"/>
                  <a:pt x="81" y="43"/>
                  <a:pt x="81" y="43"/>
                </a:cubicBezTo>
                <a:cubicBezTo>
                  <a:pt x="81" y="44"/>
                  <a:pt x="81" y="44"/>
                  <a:pt x="81" y="44"/>
                </a:cubicBezTo>
                <a:cubicBezTo>
                  <a:pt x="80" y="46"/>
                  <a:pt x="80" y="46"/>
                  <a:pt x="80" y="46"/>
                </a:cubicBezTo>
                <a:cubicBezTo>
                  <a:pt x="79" y="46"/>
                  <a:pt x="79" y="46"/>
                  <a:pt x="79" y="46"/>
                </a:cubicBezTo>
                <a:close/>
                <a:moveTo>
                  <a:pt x="80" y="49"/>
                </a:moveTo>
                <a:cubicBezTo>
                  <a:pt x="81" y="48"/>
                  <a:pt x="81" y="48"/>
                  <a:pt x="81" y="48"/>
                </a:cubicBezTo>
                <a:cubicBezTo>
                  <a:pt x="80" y="46"/>
                  <a:pt x="80" y="46"/>
                  <a:pt x="80" y="46"/>
                </a:cubicBezTo>
                <a:cubicBezTo>
                  <a:pt x="79" y="46"/>
                  <a:pt x="79" y="46"/>
                  <a:pt x="79" y="46"/>
                </a:cubicBezTo>
                <a:cubicBezTo>
                  <a:pt x="77" y="46"/>
                  <a:pt x="77" y="46"/>
                  <a:pt x="77" y="46"/>
                </a:cubicBezTo>
                <a:cubicBezTo>
                  <a:pt x="75" y="44"/>
                  <a:pt x="75" y="44"/>
                  <a:pt x="75" y="44"/>
                </a:cubicBezTo>
                <a:cubicBezTo>
                  <a:pt x="74" y="44"/>
                  <a:pt x="74" y="44"/>
                  <a:pt x="74" y="44"/>
                </a:cubicBezTo>
                <a:cubicBezTo>
                  <a:pt x="73" y="44"/>
                  <a:pt x="73" y="44"/>
                  <a:pt x="73" y="44"/>
                </a:cubicBezTo>
                <a:cubicBezTo>
                  <a:pt x="72" y="44"/>
                  <a:pt x="72" y="44"/>
                  <a:pt x="72" y="44"/>
                </a:cubicBezTo>
                <a:cubicBezTo>
                  <a:pt x="71" y="43"/>
                  <a:pt x="71" y="43"/>
                  <a:pt x="71" y="43"/>
                </a:cubicBezTo>
                <a:cubicBezTo>
                  <a:pt x="68" y="43"/>
                  <a:pt x="68" y="43"/>
                  <a:pt x="68" y="43"/>
                </a:cubicBezTo>
                <a:cubicBezTo>
                  <a:pt x="66" y="43"/>
                  <a:pt x="66" y="43"/>
                  <a:pt x="66" y="43"/>
                </a:cubicBezTo>
                <a:cubicBezTo>
                  <a:pt x="67" y="45"/>
                  <a:pt x="67" y="45"/>
                  <a:pt x="67" y="45"/>
                </a:cubicBezTo>
                <a:cubicBezTo>
                  <a:pt x="67" y="45"/>
                  <a:pt x="67" y="45"/>
                  <a:pt x="67" y="45"/>
                </a:cubicBezTo>
                <a:cubicBezTo>
                  <a:pt x="67" y="46"/>
                  <a:pt x="67" y="46"/>
                  <a:pt x="67" y="46"/>
                </a:cubicBezTo>
                <a:cubicBezTo>
                  <a:pt x="69" y="46"/>
                  <a:pt x="69" y="46"/>
                  <a:pt x="69" y="46"/>
                </a:cubicBezTo>
                <a:cubicBezTo>
                  <a:pt x="70" y="45"/>
                  <a:pt x="70" y="45"/>
                  <a:pt x="70" y="45"/>
                </a:cubicBezTo>
                <a:cubicBezTo>
                  <a:pt x="70" y="45"/>
                  <a:pt x="70" y="45"/>
                  <a:pt x="70" y="45"/>
                </a:cubicBezTo>
                <a:cubicBezTo>
                  <a:pt x="71" y="46"/>
                  <a:pt x="71" y="46"/>
                  <a:pt x="71" y="46"/>
                </a:cubicBezTo>
                <a:cubicBezTo>
                  <a:pt x="72" y="47"/>
                  <a:pt x="72" y="47"/>
                  <a:pt x="72" y="47"/>
                </a:cubicBezTo>
                <a:cubicBezTo>
                  <a:pt x="73" y="47"/>
                  <a:pt x="73" y="47"/>
                  <a:pt x="73" y="47"/>
                </a:cubicBezTo>
                <a:cubicBezTo>
                  <a:pt x="73" y="47"/>
                  <a:pt x="73" y="47"/>
                  <a:pt x="73" y="47"/>
                </a:cubicBezTo>
                <a:cubicBezTo>
                  <a:pt x="74" y="48"/>
                  <a:pt x="74" y="48"/>
                  <a:pt x="74" y="48"/>
                </a:cubicBezTo>
                <a:cubicBezTo>
                  <a:pt x="75" y="49"/>
                  <a:pt x="75" y="49"/>
                  <a:pt x="75" y="49"/>
                </a:cubicBezTo>
                <a:cubicBezTo>
                  <a:pt x="77" y="48"/>
                  <a:pt x="77" y="48"/>
                  <a:pt x="77" y="48"/>
                </a:cubicBezTo>
                <a:cubicBezTo>
                  <a:pt x="78" y="49"/>
                  <a:pt x="78" y="49"/>
                  <a:pt x="78" y="49"/>
                </a:cubicBezTo>
                <a:cubicBezTo>
                  <a:pt x="80" y="50"/>
                  <a:pt x="80" y="50"/>
                  <a:pt x="80" y="50"/>
                </a:cubicBezTo>
                <a:cubicBezTo>
                  <a:pt x="80" y="49"/>
                  <a:pt x="80" y="49"/>
                  <a:pt x="80" y="49"/>
                </a:cubicBezTo>
                <a:close/>
                <a:moveTo>
                  <a:pt x="71" y="51"/>
                </a:moveTo>
                <a:cubicBezTo>
                  <a:pt x="71" y="51"/>
                  <a:pt x="70" y="51"/>
                  <a:pt x="70" y="51"/>
                </a:cubicBezTo>
                <a:cubicBezTo>
                  <a:pt x="70" y="51"/>
                  <a:pt x="70" y="51"/>
                  <a:pt x="70" y="51"/>
                </a:cubicBezTo>
                <a:cubicBezTo>
                  <a:pt x="68" y="51"/>
                  <a:pt x="68" y="51"/>
                  <a:pt x="68" y="51"/>
                </a:cubicBezTo>
                <a:cubicBezTo>
                  <a:pt x="67" y="50"/>
                  <a:pt x="67" y="50"/>
                  <a:pt x="67" y="50"/>
                </a:cubicBezTo>
                <a:cubicBezTo>
                  <a:pt x="67" y="49"/>
                  <a:pt x="67" y="49"/>
                  <a:pt x="67" y="49"/>
                </a:cubicBezTo>
                <a:cubicBezTo>
                  <a:pt x="68" y="49"/>
                  <a:pt x="68" y="49"/>
                  <a:pt x="68" y="49"/>
                </a:cubicBezTo>
                <a:cubicBezTo>
                  <a:pt x="69" y="48"/>
                  <a:pt x="69" y="48"/>
                  <a:pt x="69" y="48"/>
                </a:cubicBezTo>
                <a:cubicBezTo>
                  <a:pt x="71" y="48"/>
                  <a:pt x="71" y="48"/>
                  <a:pt x="71" y="48"/>
                </a:cubicBezTo>
                <a:cubicBezTo>
                  <a:pt x="71" y="48"/>
                  <a:pt x="71" y="48"/>
                  <a:pt x="71" y="48"/>
                </a:cubicBezTo>
                <a:cubicBezTo>
                  <a:pt x="72" y="49"/>
                  <a:pt x="72" y="49"/>
                  <a:pt x="72" y="49"/>
                </a:cubicBezTo>
                <a:cubicBezTo>
                  <a:pt x="73" y="49"/>
                  <a:pt x="73" y="49"/>
                  <a:pt x="73" y="49"/>
                </a:cubicBezTo>
                <a:cubicBezTo>
                  <a:pt x="73" y="49"/>
                  <a:pt x="73" y="49"/>
                  <a:pt x="73" y="49"/>
                </a:cubicBezTo>
                <a:cubicBezTo>
                  <a:pt x="74" y="49"/>
                  <a:pt x="74" y="49"/>
                  <a:pt x="74" y="49"/>
                </a:cubicBezTo>
                <a:cubicBezTo>
                  <a:pt x="74" y="50"/>
                  <a:pt x="74" y="50"/>
                  <a:pt x="74" y="50"/>
                </a:cubicBezTo>
                <a:cubicBezTo>
                  <a:pt x="74" y="50"/>
                  <a:pt x="74" y="50"/>
                  <a:pt x="74" y="50"/>
                </a:cubicBezTo>
                <a:cubicBezTo>
                  <a:pt x="71" y="51"/>
                  <a:pt x="71" y="51"/>
                  <a:pt x="71" y="51"/>
                </a:cubicBezTo>
                <a:close/>
                <a:moveTo>
                  <a:pt x="68" y="58"/>
                </a:moveTo>
                <a:cubicBezTo>
                  <a:pt x="68" y="57"/>
                  <a:pt x="68" y="57"/>
                  <a:pt x="68" y="57"/>
                </a:cubicBezTo>
                <a:cubicBezTo>
                  <a:pt x="68" y="55"/>
                  <a:pt x="68" y="55"/>
                  <a:pt x="68" y="55"/>
                </a:cubicBezTo>
                <a:cubicBezTo>
                  <a:pt x="67" y="55"/>
                  <a:pt x="67" y="55"/>
                  <a:pt x="67" y="55"/>
                </a:cubicBezTo>
                <a:cubicBezTo>
                  <a:pt x="67" y="57"/>
                  <a:pt x="67" y="57"/>
                  <a:pt x="67" y="57"/>
                </a:cubicBezTo>
                <a:cubicBezTo>
                  <a:pt x="66" y="57"/>
                  <a:pt x="66" y="57"/>
                  <a:pt x="66" y="57"/>
                </a:cubicBezTo>
                <a:cubicBezTo>
                  <a:pt x="67" y="58"/>
                  <a:pt x="67" y="58"/>
                  <a:pt x="67" y="58"/>
                </a:cubicBezTo>
                <a:cubicBezTo>
                  <a:pt x="68" y="59"/>
                  <a:pt x="68" y="59"/>
                  <a:pt x="68" y="59"/>
                </a:cubicBezTo>
                <a:cubicBezTo>
                  <a:pt x="68" y="58"/>
                  <a:pt x="68" y="58"/>
                  <a:pt x="68" y="58"/>
                </a:cubicBezTo>
                <a:close/>
                <a:moveTo>
                  <a:pt x="70" y="58"/>
                </a:moveTo>
                <a:cubicBezTo>
                  <a:pt x="70" y="58"/>
                  <a:pt x="70" y="58"/>
                  <a:pt x="70" y="58"/>
                </a:cubicBezTo>
                <a:cubicBezTo>
                  <a:pt x="71" y="57"/>
                  <a:pt x="71" y="57"/>
                  <a:pt x="71" y="57"/>
                </a:cubicBezTo>
                <a:cubicBezTo>
                  <a:pt x="70" y="56"/>
                  <a:pt x="70" y="56"/>
                  <a:pt x="70" y="56"/>
                </a:cubicBezTo>
                <a:cubicBezTo>
                  <a:pt x="69" y="55"/>
                  <a:pt x="69" y="55"/>
                  <a:pt x="69" y="55"/>
                </a:cubicBezTo>
                <a:cubicBezTo>
                  <a:pt x="68" y="55"/>
                  <a:pt x="68" y="55"/>
                  <a:pt x="68" y="55"/>
                </a:cubicBezTo>
                <a:cubicBezTo>
                  <a:pt x="68" y="56"/>
                  <a:pt x="68" y="56"/>
                  <a:pt x="68" y="56"/>
                </a:cubicBezTo>
                <a:cubicBezTo>
                  <a:pt x="70" y="58"/>
                  <a:pt x="70" y="58"/>
                  <a:pt x="70" y="58"/>
                </a:cubicBezTo>
                <a:close/>
                <a:moveTo>
                  <a:pt x="72" y="56"/>
                </a:moveTo>
                <a:cubicBezTo>
                  <a:pt x="72" y="56"/>
                  <a:pt x="73" y="57"/>
                  <a:pt x="73" y="57"/>
                </a:cubicBezTo>
                <a:cubicBezTo>
                  <a:pt x="73" y="56"/>
                  <a:pt x="73" y="56"/>
                  <a:pt x="73" y="56"/>
                </a:cubicBezTo>
                <a:cubicBezTo>
                  <a:pt x="73" y="55"/>
                  <a:pt x="73" y="55"/>
                  <a:pt x="73" y="55"/>
                </a:cubicBezTo>
                <a:cubicBezTo>
                  <a:pt x="72" y="55"/>
                  <a:pt x="72" y="55"/>
                  <a:pt x="72" y="55"/>
                </a:cubicBezTo>
                <a:cubicBezTo>
                  <a:pt x="71" y="55"/>
                  <a:pt x="71" y="55"/>
                  <a:pt x="71" y="55"/>
                </a:cubicBezTo>
                <a:cubicBezTo>
                  <a:pt x="72" y="56"/>
                  <a:pt x="72" y="56"/>
                  <a:pt x="72" y="56"/>
                </a:cubicBezTo>
                <a:close/>
                <a:moveTo>
                  <a:pt x="72" y="60"/>
                </a:moveTo>
                <a:cubicBezTo>
                  <a:pt x="72" y="59"/>
                  <a:pt x="72" y="59"/>
                  <a:pt x="72" y="59"/>
                </a:cubicBezTo>
                <a:cubicBezTo>
                  <a:pt x="73" y="58"/>
                  <a:pt x="73" y="58"/>
                  <a:pt x="73" y="58"/>
                </a:cubicBezTo>
                <a:cubicBezTo>
                  <a:pt x="72" y="57"/>
                  <a:pt x="72" y="57"/>
                  <a:pt x="72" y="57"/>
                </a:cubicBezTo>
                <a:cubicBezTo>
                  <a:pt x="71" y="57"/>
                  <a:pt x="71" y="57"/>
                  <a:pt x="71" y="57"/>
                </a:cubicBezTo>
                <a:cubicBezTo>
                  <a:pt x="71" y="57"/>
                  <a:pt x="71" y="57"/>
                  <a:pt x="71" y="57"/>
                </a:cubicBezTo>
                <a:cubicBezTo>
                  <a:pt x="71" y="58"/>
                  <a:pt x="71" y="58"/>
                  <a:pt x="71" y="58"/>
                </a:cubicBezTo>
                <a:cubicBezTo>
                  <a:pt x="71" y="59"/>
                  <a:pt x="71" y="59"/>
                  <a:pt x="71" y="59"/>
                </a:cubicBezTo>
                <a:cubicBezTo>
                  <a:pt x="72" y="60"/>
                  <a:pt x="72" y="60"/>
                  <a:pt x="72" y="60"/>
                </a:cubicBezTo>
                <a:close/>
                <a:moveTo>
                  <a:pt x="70" y="63"/>
                </a:moveTo>
                <a:cubicBezTo>
                  <a:pt x="70" y="62"/>
                  <a:pt x="70" y="62"/>
                  <a:pt x="70" y="62"/>
                </a:cubicBezTo>
                <a:cubicBezTo>
                  <a:pt x="69" y="62"/>
                  <a:pt x="69" y="62"/>
                  <a:pt x="69" y="62"/>
                </a:cubicBezTo>
                <a:cubicBezTo>
                  <a:pt x="68" y="61"/>
                  <a:pt x="68" y="61"/>
                  <a:pt x="68" y="61"/>
                </a:cubicBezTo>
                <a:cubicBezTo>
                  <a:pt x="67" y="61"/>
                  <a:pt x="67" y="61"/>
                  <a:pt x="67" y="61"/>
                </a:cubicBezTo>
                <a:cubicBezTo>
                  <a:pt x="66" y="61"/>
                  <a:pt x="66" y="61"/>
                  <a:pt x="66" y="61"/>
                </a:cubicBezTo>
                <a:cubicBezTo>
                  <a:pt x="67" y="62"/>
                  <a:pt x="67" y="62"/>
                  <a:pt x="67" y="62"/>
                </a:cubicBezTo>
                <a:cubicBezTo>
                  <a:pt x="67" y="63"/>
                  <a:pt x="67" y="63"/>
                  <a:pt x="67" y="63"/>
                </a:cubicBezTo>
                <a:cubicBezTo>
                  <a:pt x="66" y="64"/>
                  <a:pt x="66" y="64"/>
                  <a:pt x="66" y="64"/>
                </a:cubicBezTo>
                <a:cubicBezTo>
                  <a:pt x="66" y="65"/>
                  <a:pt x="66" y="65"/>
                  <a:pt x="66" y="65"/>
                </a:cubicBezTo>
                <a:cubicBezTo>
                  <a:pt x="68" y="65"/>
                  <a:pt x="68" y="65"/>
                  <a:pt x="68" y="65"/>
                </a:cubicBezTo>
                <a:cubicBezTo>
                  <a:pt x="70" y="64"/>
                  <a:pt x="70" y="64"/>
                  <a:pt x="70" y="64"/>
                </a:cubicBezTo>
                <a:cubicBezTo>
                  <a:pt x="70" y="63"/>
                  <a:pt x="70" y="63"/>
                  <a:pt x="70" y="63"/>
                </a:cubicBezTo>
                <a:close/>
                <a:moveTo>
                  <a:pt x="71" y="61"/>
                </a:moveTo>
                <a:cubicBezTo>
                  <a:pt x="71" y="62"/>
                  <a:pt x="71" y="62"/>
                  <a:pt x="71" y="62"/>
                </a:cubicBezTo>
                <a:cubicBezTo>
                  <a:pt x="72" y="63"/>
                  <a:pt x="72" y="63"/>
                  <a:pt x="72" y="63"/>
                </a:cubicBezTo>
                <a:cubicBezTo>
                  <a:pt x="72" y="63"/>
                  <a:pt x="72" y="63"/>
                  <a:pt x="72" y="63"/>
                </a:cubicBezTo>
                <a:cubicBezTo>
                  <a:pt x="72" y="62"/>
                  <a:pt x="72" y="62"/>
                  <a:pt x="72" y="62"/>
                </a:cubicBezTo>
                <a:cubicBezTo>
                  <a:pt x="72" y="61"/>
                  <a:pt x="72" y="61"/>
                  <a:pt x="72" y="61"/>
                </a:cubicBezTo>
                <a:cubicBezTo>
                  <a:pt x="71" y="61"/>
                  <a:pt x="71" y="61"/>
                  <a:pt x="71" y="61"/>
                </a:cubicBezTo>
                <a:close/>
                <a:moveTo>
                  <a:pt x="81" y="47"/>
                </a:moveTo>
                <a:cubicBezTo>
                  <a:pt x="81" y="46"/>
                  <a:pt x="81" y="46"/>
                  <a:pt x="81" y="46"/>
                </a:cubicBezTo>
                <a:cubicBezTo>
                  <a:pt x="82" y="45"/>
                  <a:pt x="82" y="45"/>
                  <a:pt x="82" y="45"/>
                </a:cubicBezTo>
                <a:cubicBezTo>
                  <a:pt x="82" y="44"/>
                  <a:pt x="82" y="44"/>
                  <a:pt x="82" y="44"/>
                </a:cubicBezTo>
                <a:cubicBezTo>
                  <a:pt x="83" y="43"/>
                  <a:pt x="83" y="43"/>
                  <a:pt x="83" y="43"/>
                </a:cubicBezTo>
                <a:cubicBezTo>
                  <a:pt x="83" y="43"/>
                  <a:pt x="83" y="43"/>
                  <a:pt x="83" y="43"/>
                </a:cubicBezTo>
                <a:cubicBezTo>
                  <a:pt x="84" y="45"/>
                  <a:pt x="84" y="45"/>
                  <a:pt x="84" y="45"/>
                </a:cubicBezTo>
                <a:cubicBezTo>
                  <a:pt x="84" y="45"/>
                  <a:pt x="84" y="45"/>
                  <a:pt x="84" y="45"/>
                </a:cubicBezTo>
                <a:cubicBezTo>
                  <a:pt x="84" y="46"/>
                  <a:pt x="84" y="46"/>
                  <a:pt x="84" y="46"/>
                </a:cubicBezTo>
                <a:cubicBezTo>
                  <a:pt x="83" y="47"/>
                  <a:pt x="83" y="47"/>
                  <a:pt x="83" y="47"/>
                </a:cubicBezTo>
                <a:cubicBezTo>
                  <a:pt x="83" y="47"/>
                  <a:pt x="83" y="47"/>
                  <a:pt x="83" y="47"/>
                </a:cubicBezTo>
                <a:cubicBezTo>
                  <a:pt x="82" y="47"/>
                  <a:pt x="82" y="47"/>
                  <a:pt x="82" y="47"/>
                </a:cubicBezTo>
                <a:cubicBezTo>
                  <a:pt x="81" y="47"/>
                  <a:pt x="81" y="47"/>
                  <a:pt x="81" y="47"/>
                </a:cubicBezTo>
                <a:close/>
                <a:moveTo>
                  <a:pt x="74" y="60"/>
                </a:moveTo>
                <a:cubicBezTo>
                  <a:pt x="74" y="61"/>
                  <a:pt x="74" y="61"/>
                  <a:pt x="74" y="61"/>
                </a:cubicBezTo>
                <a:cubicBezTo>
                  <a:pt x="75" y="61"/>
                  <a:pt x="75" y="61"/>
                  <a:pt x="75" y="61"/>
                </a:cubicBezTo>
                <a:cubicBezTo>
                  <a:pt x="76" y="61"/>
                  <a:pt x="76" y="61"/>
                  <a:pt x="76" y="61"/>
                </a:cubicBezTo>
                <a:cubicBezTo>
                  <a:pt x="77" y="61"/>
                  <a:pt x="77" y="61"/>
                  <a:pt x="77" y="61"/>
                </a:cubicBezTo>
                <a:cubicBezTo>
                  <a:pt x="76" y="60"/>
                  <a:pt x="76" y="60"/>
                  <a:pt x="76" y="60"/>
                </a:cubicBezTo>
                <a:cubicBezTo>
                  <a:pt x="76" y="59"/>
                  <a:pt x="76" y="59"/>
                  <a:pt x="76" y="59"/>
                </a:cubicBezTo>
                <a:cubicBezTo>
                  <a:pt x="75" y="59"/>
                  <a:pt x="75" y="59"/>
                  <a:pt x="75" y="59"/>
                </a:cubicBezTo>
                <a:cubicBezTo>
                  <a:pt x="74" y="60"/>
                  <a:pt x="74" y="60"/>
                  <a:pt x="74" y="60"/>
                </a:cubicBezTo>
                <a:cubicBezTo>
                  <a:pt x="74" y="60"/>
                  <a:pt x="74" y="60"/>
                  <a:pt x="74" y="60"/>
                </a:cubicBezTo>
                <a:close/>
                <a:moveTo>
                  <a:pt x="74" y="58"/>
                </a:moveTo>
                <a:cubicBezTo>
                  <a:pt x="75" y="58"/>
                  <a:pt x="75" y="58"/>
                  <a:pt x="75" y="58"/>
                </a:cubicBezTo>
                <a:cubicBezTo>
                  <a:pt x="75" y="57"/>
                  <a:pt x="75" y="57"/>
                  <a:pt x="75" y="57"/>
                </a:cubicBezTo>
                <a:cubicBezTo>
                  <a:pt x="75" y="56"/>
                  <a:pt x="75" y="56"/>
                  <a:pt x="75" y="56"/>
                </a:cubicBezTo>
                <a:cubicBezTo>
                  <a:pt x="75" y="57"/>
                  <a:pt x="75" y="57"/>
                  <a:pt x="75" y="57"/>
                </a:cubicBezTo>
                <a:cubicBezTo>
                  <a:pt x="74" y="58"/>
                  <a:pt x="74" y="58"/>
                  <a:pt x="74" y="58"/>
                </a:cubicBezTo>
                <a:close/>
                <a:moveTo>
                  <a:pt x="76" y="57"/>
                </a:moveTo>
                <a:cubicBezTo>
                  <a:pt x="76" y="57"/>
                  <a:pt x="76" y="57"/>
                  <a:pt x="76" y="57"/>
                </a:cubicBezTo>
                <a:cubicBezTo>
                  <a:pt x="77" y="58"/>
                  <a:pt x="77" y="58"/>
                  <a:pt x="77" y="58"/>
                </a:cubicBezTo>
                <a:cubicBezTo>
                  <a:pt x="78" y="57"/>
                  <a:pt x="78" y="57"/>
                  <a:pt x="78" y="57"/>
                </a:cubicBezTo>
                <a:cubicBezTo>
                  <a:pt x="78" y="57"/>
                  <a:pt x="78" y="57"/>
                  <a:pt x="78" y="57"/>
                </a:cubicBezTo>
                <a:cubicBezTo>
                  <a:pt x="78" y="56"/>
                  <a:pt x="78" y="56"/>
                  <a:pt x="78" y="56"/>
                </a:cubicBezTo>
                <a:cubicBezTo>
                  <a:pt x="77" y="56"/>
                  <a:pt x="77" y="56"/>
                  <a:pt x="77" y="56"/>
                </a:cubicBezTo>
                <a:cubicBezTo>
                  <a:pt x="77" y="57"/>
                  <a:pt x="77" y="57"/>
                  <a:pt x="77" y="57"/>
                </a:cubicBezTo>
                <a:cubicBezTo>
                  <a:pt x="76" y="57"/>
                  <a:pt x="76" y="57"/>
                  <a:pt x="76" y="57"/>
                </a:cubicBezTo>
                <a:close/>
                <a:moveTo>
                  <a:pt x="76" y="52"/>
                </a:moveTo>
                <a:cubicBezTo>
                  <a:pt x="76" y="53"/>
                  <a:pt x="76" y="53"/>
                  <a:pt x="76" y="53"/>
                </a:cubicBezTo>
                <a:cubicBezTo>
                  <a:pt x="75" y="53"/>
                  <a:pt x="75" y="53"/>
                  <a:pt x="75" y="53"/>
                </a:cubicBezTo>
                <a:cubicBezTo>
                  <a:pt x="74" y="52"/>
                  <a:pt x="74" y="52"/>
                  <a:pt x="74" y="52"/>
                </a:cubicBezTo>
                <a:cubicBezTo>
                  <a:pt x="74" y="51"/>
                  <a:pt x="74" y="51"/>
                  <a:pt x="74" y="51"/>
                </a:cubicBezTo>
                <a:cubicBezTo>
                  <a:pt x="75" y="50"/>
                  <a:pt x="75" y="50"/>
                  <a:pt x="75" y="50"/>
                </a:cubicBezTo>
                <a:cubicBezTo>
                  <a:pt x="76" y="49"/>
                  <a:pt x="76" y="49"/>
                  <a:pt x="76" y="49"/>
                </a:cubicBezTo>
                <a:cubicBezTo>
                  <a:pt x="77" y="50"/>
                  <a:pt x="77" y="50"/>
                  <a:pt x="77" y="50"/>
                </a:cubicBezTo>
                <a:cubicBezTo>
                  <a:pt x="78" y="50"/>
                  <a:pt x="78" y="50"/>
                  <a:pt x="78" y="50"/>
                </a:cubicBezTo>
                <a:cubicBezTo>
                  <a:pt x="79" y="51"/>
                  <a:pt x="79" y="51"/>
                  <a:pt x="79" y="51"/>
                </a:cubicBezTo>
                <a:cubicBezTo>
                  <a:pt x="79" y="52"/>
                  <a:pt x="79" y="52"/>
                  <a:pt x="79" y="52"/>
                </a:cubicBezTo>
                <a:cubicBezTo>
                  <a:pt x="78" y="52"/>
                  <a:pt x="78" y="52"/>
                  <a:pt x="78" y="52"/>
                </a:cubicBezTo>
                <a:cubicBezTo>
                  <a:pt x="77" y="52"/>
                  <a:pt x="77" y="52"/>
                  <a:pt x="77" y="52"/>
                </a:cubicBezTo>
                <a:cubicBezTo>
                  <a:pt x="76" y="52"/>
                  <a:pt x="76" y="52"/>
                  <a:pt x="76" y="52"/>
                </a:cubicBezTo>
                <a:close/>
                <a:moveTo>
                  <a:pt x="81" y="51"/>
                </a:moveTo>
                <a:cubicBezTo>
                  <a:pt x="82" y="52"/>
                  <a:pt x="82" y="52"/>
                  <a:pt x="82" y="52"/>
                </a:cubicBezTo>
                <a:cubicBezTo>
                  <a:pt x="83" y="52"/>
                  <a:pt x="83" y="52"/>
                  <a:pt x="83" y="52"/>
                </a:cubicBezTo>
                <a:cubicBezTo>
                  <a:pt x="84" y="52"/>
                  <a:pt x="84" y="52"/>
                  <a:pt x="84" y="52"/>
                </a:cubicBezTo>
                <a:cubicBezTo>
                  <a:pt x="84" y="51"/>
                  <a:pt x="84" y="51"/>
                  <a:pt x="84" y="51"/>
                </a:cubicBezTo>
                <a:cubicBezTo>
                  <a:pt x="83" y="50"/>
                  <a:pt x="83" y="50"/>
                  <a:pt x="83" y="50"/>
                </a:cubicBezTo>
                <a:cubicBezTo>
                  <a:pt x="83" y="51"/>
                  <a:pt x="83" y="51"/>
                  <a:pt x="83" y="51"/>
                </a:cubicBezTo>
                <a:cubicBezTo>
                  <a:pt x="82" y="51"/>
                  <a:pt x="82" y="51"/>
                  <a:pt x="82" y="51"/>
                </a:cubicBezTo>
                <a:cubicBezTo>
                  <a:pt x="81" y="51"/>
                  <a:pt x="81" y="51"/>
                  <a:pt x="81" y="51"/>
                </a:cubicBezTo>
                <a:close/>
                <a:moveTo>
                  <a:pt x="84" y="63"/>
                </a:moveTo>
                <a:cubicBezTo>
                  <a:pt x="84" y="62"/>
                  <a:pt x="84" y="62"/>
                  <a:pt x="84" y="62"/>
                </a:cubicBezTo>
                <a:cubicBezTo>
                  <a:pt x="83" y="61"/>
                  <a:pt x="83" y="61"/>
                  <a:pt x="83" y="61"/>
                </a:cubicBezTo>
                <a:cubicBezTo>
                  <a:pt x="83" y="60"/>
                  <a:pt x="83" y="60"/>
                  <a:pt x="83" y="60"/>
                </a:cubicBezTo>
                <a:cubicBezTo>
                  <a:pt x="83" y="59"/>
                  <a:pt x="83" y="59"/>
                  <a:pt x="83" y="59"/>
                </a:cubicBezTo>
                <a:cubicBezTo>
                  <a:pt x="82" y="57"/>
                  <a:pt x="82" y="57"/>
                  <a:pt x="82" y="57"/>
                </a:cubicBezTo>
                <a:cubicBezTo>
                  <a:pt x="81" y="57"/>
                  <a:pt x="81" y="57"/>
                  <a:pt x="81" y="57"/>
                </a:cubicBezTo>
                <a:cubicBezTo>
                  <a:pt x="81" y="57"/>
                  <a:pt x="81" y="57"/>
                  <a:pt x="81" y="57"/>
                </a:cubicBezTo>
                <a:cubicBezTo>
                  <a:pt x="79" y="57"/>
                  <a:pt x="79" y="57"/>
                  <a:pt x="79" y="57"/>
                </a:cubicBezTo>
                <a:cubicBezTo>
                  <a:pt x="78" y="58"/>
                  <a:pt x="78" y="58"/>
                  <a:pt x="78" y="58"/>
                </a:cubicBezTo>
                <a:cubicBezTo>
                  <a:pt x="78" y="59"/>
                  <a:pt x="78" y="59"/>
                  <a:pt x="78" y="59"/>
                </a:cubicBezTo>
                <a:cubicBezTo>
                  <a:pt x="79" y="61"/>
                  <a:pt x="79" y="61"/>
                  <a:pt x="79" y="61"/>
                </a:cubicBezTo>
                <a:cubicBezTo>
                  <a:pt x="79" y="63"/>
                  <a:pt x="79" y="63"/>
                  <a:pt x="79" y="63"/>
                </a:cubicBezTo>
                <a:cubicBezTo>
                  <a:pt x="80" y="64"/>
                  <a:pt x="80" y="64"/>
                  <a:pt x="80" y="64"/>
                </a:cubicBezTo>
                <a:cubicBezTo>
                  <a:pt x="81" y="64"/>
                  <a:pt x="81" y="64"/>
                  <a:pt x="81" y="64"/>
                </a:cubicBezTo>
                <a:cubicBezTo>
                  <a:pt x="82" y="63"/>
                  <a:pt x="82" y="63"/>
                  <a:pt x="82" y="63"/>
                </a:cubicBezTo>
                <a:cubicBezTo>
                  <a:pt x="84" y="63"/>
                  <a:pt x="84" y="63"/>
                  <a:pt x="84" y="63"/>
                </a:cubicBezTo>
                <a:close/>
                <a:moveTo>
                  <a:pt x="87" y="62"/>
                </a:moveTo>
                <a:cubicBezTo>
                  <a:pt x="87" y="62"/>
                  <a:pt x="87" y="62"/>
                  <a:pt x="87" y="62"/>
                </a:cubicBezTo>
                <a:cubicBezTo>
                  <a:pt x="86" y="61"/>
                  <a:pt x="86" y="61"/>
                  <a:pt x="86" y="61"/>
                </a:cubicBezTo>
                <a:cubicBezTo>
                  <a:pt x="86" y="60"/>
                  <a:pt x="86" y="60"/>
                  <a:pt x="86" y="60"/>
                </a:cubicBezTo>
                <a:cubicBezTo>
                  <a:pt x="87" y="60"/>
                  <a:pt x="87" y="60"/>
                  <a:pt x="87" y="60"/>
                </a:cubicBezTo>
                <a:cubicBezTo>
                  <a:pt x="88" y="58"/>
                  <a:pt x="88" y="58"/>
                  <a:pt x="88" y="58"/>
                </a:cubicBezTo>
                <a:cubicBezTo>
                  <a:pt x="88" y="58"/>
                  <a:pt x="88" y="58"/>
                  <a:pt x="88" y="58"/>
                </a:cubicBezTo>
                <a:cubicBezTo>
                  <a:pt x="90" y="57"/>
                  <a:pt x="90" y="57"/>
                  <a:pt x="90" y="57"/>
                </a:cubicBezTo>
                <a:cubicBezTo>
                  <a:pt x="90" y="57"/>
                  <a:pt x="90" y="57"/>
                  <a:pt x="90" y="57"/>
                </a:cubicBezTo>
                <a:cubicBezTo>
                  <a:pt x="91" y="56"/>
                  <a:pt x="91" y="56"/>
                  <a:pt x="91" y="56"/>
                </a:cubicBezTo>
                <a:cubicBezTo>
                  <a:pt x="90" y="56"/>
                  <a:pt x="90" y="56"/>
                  <a:pt x="90" y="56"/>
                </a:cubicBezTo>
                <a:cubicBezTo>
                  <a:pt x="89" y="56"/>
                  <a:pt x="89" y="56"/>
                  <a:pt x="89" y="56"/>
                </a:cubicBezTo>
                <a:cubicBezTo>
                  <a:pt x="86" y="55"/>
                  <a:pt x="86" y="55"/>
                  <a:pt x="86" y="55"/>
                </a:cubicBezTo>
                <a:cubicBezTo>
                  <a:pt x="85" y="53"/>
                  <a:pt x="85" y="53"/>
                  <a:pt x="85" y="53"/>
                </a:cubicBezTo>
                <a:cubicBezTo>
                  <a:pt x="84" y="54"/>
                  <a:pt x="84" y="54"/>
                  <a:pt x="84" y="54"/>
                </a:cubicBezTo>
                <a:cubicBezTo>
                  <a:pt x="83" y="54"/>
                  <a:pt x="83" y="54"/>
                  <a:pt x="83" y="54"/>
                </a:cubicBezTo>
                <a:cubicBezTo>
                  <a:pt x="83" y="54"/>
                  <a:pt x="83" y="54"/>
                  <a:pt x="83" y="54"/>
                </a:cubicBezTo>
                <a:cubicBezTo>
                  <a:pt x="83" y="55"/>
                  <a:pt x="83" y="55"/>
                  <a:pt x="83" y="55"/>
                </a:cubicBezTo>
                <a:cubicBezTo>
                  <a:pt x="84" y="58"/>
                  <a:pt x="84" y="58"/>
                  <a:pt x="84" y="58"/>
                </a:cubicBezTo>
                <a:cubicBezTo>
                  <a:pt x="84" y="60"/>
                  <a:pt x="84" y="60"/>
                  <a:pt x="84" y="60"/>
                </a:cubicBezTo>
                <a:cubicBezTo>
                  <a:pt x="85" y="62"/>
                  <a:pt x="85" y="62"/>
                  <a:pt x="85" y="62"/>
                </a:cubicBezTo>
                <a:cubicBezTo>
                  <a:pt x="86" y="62"/>
                  <a:pt x="86" y="62"/>
                  <a:pt x="86" y="62"/>
                </a:cubicBezTo>
                <a:cubicBezTo>
                  <a:pt x="87" y="62"/>
                  <a:pt x="87" y="62"/>
                  <a:pt x="87" y="62"/>
                </a:cubicBezTo>
                <a:close/>
                <a:moveTo>
                  <a:pt x="91" y="62"/>
                </a:moveTo>
                <a:cubicBezTo>
                  <a:pt x="91" y="63"/>
                  <a:pt x="91" y="63"/>
                  <a:pt x="91" y="63"/>
                </a:cubicBezTo>
                <a:cubicBezTo>
                  <a:pt x="92" y="64"/>
                  <a:pt x="92" y="64"/>
                  <a:pt x="92" y="64"/>
                </a:cubicBezTo>
                <a:cubicBezTo>
                  <a:pt x="93" y="65"/>
                  <a:pt x="93" y="65"/>
                  <a:pt x="93" y="65"/>
                </a:cubicBezTo>
                <a:cubicBezTo>
                  <a:pt x="95" y="65"/>
                  <a:pt x="95" y="65"/>
                  <a:pt x="95" y="65"/>
                </a:cubicBezTo>
                <a:cubicBezTo>
                  <a:pt x="96" y="63"/>
                  <a:pt x="96" y="63"/>
                  <a:pt x="96" y="63"/>
                </a:cubicBezTo>
                <a:cubicBezTo>
                  <a:pt x="96" y="61"/>
                  <a:pt x="96" y="61"/>
                  <a:pt x="96" y="61"/>
                </a:cubicBezTo>
                <a:cubicBezTo>
                  <a:pt x="94" y="61"/>
                  <a:pt x="94" y="61"/>
                  <a:pt x="94" y="61"/>
                </a:cubicBezTo>
                <a:cubicBezTo>
                  <a:pt x="93" y="61"/>
                  <a:pt x="93" y="61"/>
                  <a:pt x="93" y="61"/>
                </a:cubicBezTo>
                <a:cubicBezTo>
                  <a:pt x="91" y="62"/>
                  <a:pt x="91" y="62"/>
                  <a:pt x="91" y="62"/>
                </a:cubicBezTo>
                <a:close/>
                <a:moveTo>
                  <a:pt x="91" y="65"/>
                </a:moveTo>
                <a:cubicBezTo>
                  <a:pt x="91" y="66"/>
                  <a:pt x="91" y="66"/>
                  <a:pt x="91" y="66"/>
                </a:cubicBezTo>
                <a:cubicBezTo>
                  <a:pt x="92" y="66"/>
                  <a:pt x="92" y="66"/>
                  <a:pt x="92" y="66"/>
                </a:cubicBezTo>
                <a:cubicBezTo>
                  <a:pt x="92" y="67"/>
                  <a:pt x="92" y="67"/>
                  <a:pt x="92" y="67"/>
                </a:cubicBezTo>
                <a:cubicBezTo>
                  <a:pt x="93" y="66"/>
                  <a:pt x="93" y="66"/>
                  <a:pt x="93" y="66"/>
                </a:cubicBezTo>
                <a:cubicBezTo>
                  <a:pt x="92" y="65"/>
                  <a:pt x="92" y="65"/>
                  <a:pt x="92" y="65"/>
                </a:cubicBezTo>
                <a:cubicBezTo>
                  <a:pt x="91" y="65"/>
                  <a:pt x="91" y="65"/>
                  <a:pt x="91" y="65"/>
                </a:cubicBezTo>
                <a:close/>
                <a:moveTo>
                  <a:pt x="91" y="25"/>
                </a:moveTo>
                <a:cubicBezTo>
                  <a:pt x="92" y="24"/>
                  <a:pt x="92" y="24"/>
                  <a:pt x="92" y="24"/>
                </a:cubicBezTo>
                <a:cubicBezTo>
                  <a:pt x="92" y="24"/>
                  <a:pt x="92" y="24"/>
                  <a:pt x="92" y="24"/>
                </a:cubicBezTo>
                <a:cubicBezTo>
                  <a:pt x="93" y="23"/>
                  <a:pt x="93" y="23"/>
                  <a:pt x="93" y="23"/>
                </a:cubicBezTo>
                <a:cubicBezTo>
                  <a:pt x="94" y="23"/>
                  <a:pt x="94" y="23"/>
                  <a:pt x="94" y="23"/>
                </a:cubicBezTo>
                <a:cubicBezTo>
                  <a:pt x="95" y="24"/>
                  <a:pt x="95" y="24"/>
                  <a:pt x="95" y="24"/>
                </a:cubicBezTo>
                <a:cubicBezTo>
                  <a:pt x="96" y="24"/>
                  <a:pt x="96" y="24"/>
                  <a:pt x="96" y="24"/>
                </a:cubicBezTo>
                <a:cubicBezTo>
                  <a:pt x="96" y="25"/>
                  <a:pt x="96" y="25"/>
                  <a:pt x="96" y="25"/>
                </a:cubicBezTo>
                <a:cubicBezTo>
                  <a:pt x="95" y="26"/>
                  <a:pt x="95" y="26"/>
                  <a:pt x="95" y="26"/>
                </a:cubicBezTo>
                <a:cubicBezTo>
                  <a:pt x="94" y="26"/>
                  <a:pt x="94" y="26"/>
                  <a:pt x="94" y="26"/>
                </a:cubicBezTo>
                <a:cubicBezTo>
                  <a:pt x="93" y="25"/>
                  <a:pt x="93" y="25"/>
                  <a:pt x="93" y="25"/>
                </a:cubicBezTo>
                <a:cubicBezTo>
                  <a:pt x="91" y="25"/>
                  <a:pt x="91" y="25"/>
                  <a:pt x="91" y="25"/>
                </a:cubicBezTo>
                <a:cubicBezTo>
                  <a:pt x="91" y="25"/>
                  <a:pt x="91" y="25"/>
                  <a:pt x="91" y="25"/>
                </a:cubicBezTo>
                <a:close/>
                <a:moveTo>
                  <a:pt x="93" y="42"/>
                </a:moveTo>
                <a:cubicBezTo>
                  <a:pt x="94" y="41"/>
                  <a:pt x="94" y="41"/>
                  <a:pt x="94" y="41"/>
                </a:cubicBezTo>
                <a:cubicBezTo>
                  <a:pt x="95" y="40"/>
                  <a:pt x="95" y="40"/>
                  <a:pt x="95" y="40"/>
                </a:cubicBezTo>
                <a:cubicBezTo>
                  <a:pt x="95" y="40"/>
                  <a:pt x="95" y="40"/>
                  <a:pt x="95" y="40"/>
                </a:cubicBezTo>
                <a:cubicBezTo>
                  <a:pt x="94" y="39"/>
                  <a:pt x="94" y="39"/>
                  <a:pt x="94" y="39"/>
                </a:cubicBezTo>
                <a:cubicBezTo>
                  <a:pt x="93" y="38"/>
                  <a:pt x="93" y="38"/>
                  <a:pt x="93" y="38"/>
                </a:cubicBezTo>
                <a:cubicBezTo>
                  <a:pt x="92" y="38"/>
                  <a:pt x="92" y="38"/>
                  <a:pt x="92" y="38"/>
                </a:cubicBezTo>
                <a:cubicBezTo>
                  <a:pt x="90" y="38"/>
                  <a:pt x="90" y="38"/>
                  <a:pt x="90" y="38"/>
                </a:cubicBezTo>
                <a:cubicBezTo>
                  <a:pt x="89" y="39"/>
                  <a:pt x="89" y="39"/>
                  <a:pt x="89" y="39"/>
                </a:cubicBezTo>
                <a:cubicBezTo>
                  <a:pt x="88" y="40"/>
                  <a:pt x="88" y="40"/>
                  <a:pt x="88" y="40"/>
                </a:cubicBezTo>
                <a:cubicBezTo>
                  <a:pt x="89" y="41"/>
                  <a:pt x="89" y="41"/>
                  <a:pt x="89" y="41"/>
                </a:cubicBezTo>
                <a:cubicBezTo>
                  <a:pt x="91" y="42"/>
                  <a:pt x="91" y="42"/>
                  <a:pt x="91" y="42"/>
                </a:cubicBezTo>
                <a:cubicBezTo>
                  <a:pt x="92" y="43"/>
                  <a:pt x="92" y="43"/>
                  <a:pt x="92" y="43"/>
                </a:cubicBezTo>
                <a:cubicBezTo>
                  <a:pt x="93" y="42"/>
                  <a:pt x="93" y="42"/>
                  <a:pt x="93" y="42"/>
                </a:cubicBezTo>
                <a:close/>
                <a:moveTo>
                  <a:pt x="96" y="40"/>
                </a:moveTo>
                <a:cubicBezTo>
                  <a:pt x="96" y="41"/>
                  <a:pt x="96" y="41"/>
                  <a:pt x="96" y="41"/>
                </a:cubicBezTo>
                <a:cubicBezTo>
                  <a:pt x="96" y="42"/>
                  <a:pt x="96" y="42"/>
                  <a:pt x="96" y="42"/>
                </a:cubicBezTo>
                <a:cubicBezTo>
                  <a:pt x="95" y="43"/>
                  <a:pt x="95" y="43"/>
                  <a:pt x="95" y="43"/>
                </a:cubicBezTo>
                <a:cubicBezTo>
                  <a:pt x="95" y="43"/>
                  <a:pt x="95" y="43"/>
                  <a:pt x="95" y="43"/>
                </a:cubicBezTo>
                <a:cubicBezTo>
                  <a:pt x="94" y="43"/>
                  <a:pt x="94" y="43"/>
                  <a:pt x="94" y="43"/>
                </a:cubicBezTo>
                <a:cubicBezTo>
                  <a:pt x="92" y="44"/>
                  <a:pt x="92" y="44"/>
                  <a:pt x="92" y="44"/>
                </a:cubicBezTo>
                <a:cubicBezTo>
                  <a:pt x="91" y="45"/>
                  <a:pt x="91" y="45"/>
                  <a:pt x="91" y="45"/>
                </a:cubicBezTo>
                <a:cubicBezTo>
                  <a:pt x="90" y="44"/>
                  <a:pt x="90" y="44"/>
                  <a:pt x="90" y="44"/>
                </a:cubicBezTo>
                <a:cubicBezTo>
                  <a:pt x="89" y="44"/>
                  <a:pt x="89" y="44"/>
                  <a:pt x="89" y="44"/>
                </a:cubicBezTo>
                <a:cubicBezTo>
                  <a:pt x="89" y="45"/>
                  <a:pt x="89" y="45"/>
                  <a:pt x="89" y="45"/>
                </a:cubicBezTo>
                <a:cubicBezTo>
                  <a:pt x="90" y="47"/>
                  <a:pt x="90" y="47"/>
                  <a:pt x="90" y="47"/>
                </a:cubicBezTo>
                <a:cubicBezTo>
                  <a:pt x="90" y="50"/>
                  <a:pt x="90" y="50"/>
                  <a:pt x="90" y="50"/>
                </a:cubicBezTo>
                <a:cubicBezTo>
                  <a:pt x="90" y="52"/>
                  <a:pt x="90" y="52"/>
                  <a:pt x="90" y="52"/>
                </a:cubicBezTo>
                <a:cubicBezTo>
                  <a:pt x="92" y="54"/>
                  <a:pt x="92" y="54"/>
                  <a:pt x="92" y="54"/>
                </a:cubicBezTo>
                <a:cubicBezTo>
                  <a:pt x="93" y="54"/>
                  <a:pt x="93" y="54"/>
                  <a:pt x="93" y="54"/>
                </a:cubicBezTo>
                <a:cubicBezTo>
                  <a:pt x="95" y="53"/>
                  <a:pt x="95" y="53"/>
                  <a:pt x="95" y="53"/>
                </a:cubicBezTo>
                <a:cubicBezTo>
                  <a:pt x="97" y="53"/>
                  <a:pt x="97" y="53"/>
                  <a:pt x="97" y="53"/>
                </a:cubicBezTo>
                <a:cubicBezTo>
                  <a:pt x="98" y="52"/>
                  <a:pt x="98" y="52"/>
                  <a:pt x="98" y="52"/>
                </a:cubicBezTo>
                <a:cubicBezTo>
                  <a:pt x="100" y="52"/>
                  <a:pt x="100" y="52"/>
                  <a:pt x="100" y="52"/>
                </a:cubicBezTo>
                <a:cubicBezTo>
                  <a:pt x="100" y="51"/>
                  <a:pt x="100" y="51"/>
                  <a:pt x="100" y="51"/>
                </a:cubicBezTo>
                <a:cubicBezTo>
                  <a:pt x="99" y="50"/>
                  <a:pt x="99" y="50"/>
                  <a:pt x="99" y="50"/>
                </a:cubicBezTo>
                <a:cubicBezTo>
                  <a:pt x="98" y="49"/>
                  <a:pt x="98" y="49"/>
                  <a:pt x="98" y="49"/>
                </a:cubicBezTo>
                <a:cubicBezTo>
                  <a:pt x="96" y="48"/>
                  <a:pt x="96" y="48"/>
                  <a:pt x="96" y="48"/>
                </a:cubicBezTo>
                <a:cubicBezTo>
                  <a:pt x="96" y="47"/>
                  <a:pt x="96" y="47"/>
                  <a:pt x="96" y="47"/>
                </a:cubicBezTo>
                <a:cubicBezTo>
                  <a:pt x="96" y="46"/>
                  <a:pt x="96" y="46"/>
                  <a:pt x="96" y="46"/>
                </a:cubicBezTo>
                <a:cubicBezTo>
                  <a:pt x="97" y="45"/>
                  <a:pt x="97" y="45"/>
                  <a:pt x="97" y="45"/>
                </a:cubicBezTo>
                <a:cubicBezTo>
                  <a:pt x="98" y="45"/>
                  <a:pt x="98" y="45"/>
                  <a:pt x="98" y="45"/>
                </a:cubicBezTo>
                <a:cubicBezTo>
                  <a:pt x="99" y="45"/>
                  <a:pt x="99" y="45"/>
                  <a:pt x="99" y="45"/>
                </a:cubicBezTo>
                <a:cubicBezTo>
                  <a:pt x="99" y="44"/>
                  <a:pt x="99" y="44"/>
                  <a:pt x="99" y="44"/>
                </a:cubicBezTo>
                <a:cubicBezTo>
                  <a:pt x="98" y="42"/>
                  <a:pt x="98" y="42"/>
                  <a:pt x="98" y="42"/>
                </a:cubicBezTo>
                <a:cubicBezTo>
                  <a:pt x="97" y="42"/>
                  <a:pt x="97" y="42"/>
                  <a:pt x="97" y="42"/>
                </a:cubicBezTo>
                <a:cubicBezTo>
                  <a:pt x="96" y="40"/>
                  <a:pt x="96" y="40"/>
                  <a:pt x="96" y="40"/>
                </a:cubicBezTo>
                <a:close/>
                <a:moveTo>
                  <a:pt x="102" y="43"/>
                </a:moveTo>
                <a:cubicBezTo>
                  <a:pt x="101" y="42"/>
                  <a:pt x="101" y="42"/>
                  <a:pt x="101" y="42"/>
                </a:cubicBezTo>
                <a:cubicBezTo>
                  <a:pt x="101" y="41"/>
                  <a:pt x="101" y="41"/>
                  <a:pt x="101" y="41"/>
                </a:cubicBezTo>
                <a:cubicBezTo>
                  <a:pt x="100" y="40"/>
                  <a:pt x="100" y="40"/>
                  <a:pt x="100" y="40"/>
                </a:cubicBezTo>
                <a:cubicBezTo>
                  <a:pt x="99" y="40"/>
                  <a:pt x="99" y="40"/>
                  <a:pt x="99" y="40"/>
                </a:cubicBezTo>
                <a:cubicBezTo>
                  <a:pt x="98" y="39"/>
                  <a:pt x="98" y="39"/>
                  <a:pt x="98" y="39"/>
                </a:cubicBezTo>
                <a:cubicBezTo>
                  <a:pt x="98" y="38"/>
                  <a:pt x="98" y="38"/>
                  <a:pt x="98" y="38"/>
                </a:cubicBezTo>
                <a:cubicBezTo>
                  <a:pt x="98" y="37"/>
                  <a:pt x="98" y="37"/>
                  <a:pt x="98" y="37"/>
                </a:cubicBezTo>
                <a:cubicBezTo>
                  <a:pt x="98" y="36"/>
                  <a:pt x="98" y="36"/>
                  <a:pt x="98" y="36"/>
                </a:cubicBezTo>
                <a:cubicBezTo>
                  <a:pt x="97" y="34"/>
                  <a:pt x="97" y="34"/>
                  <a:pt x="97" y="34"/>
                </a:cubicBezTo>
                <a:cubicBezTo>
                  <a:pt x="98" y="33"/>
                  <a:pt x="98" y="33"/>
                  <a:pt x="98" y="33"/>
                </a:cubicBezTo>
                <a:cubicBezTo>
                  <a:pt x="99" y="32"/>
                  <a:pt x="99" y="32"/>
                  <a:pt x="99" y="32"/>
                </a:cubicBezTo>
                <a:cubicBezTo>
                  <a:pt x="100" y="30"/>
                  <a:pt x="100" y="30"/>
                  <a:pt x="100" y="30"/>
                </a:cubicBezTo>
                <a:cubicBezTo>
                  <a:pt x="100" y="30"/>
                  <a:pt x="100" y="30"/>
                  <a:pt x="100" y="30"/>
                </a:cubicBezTo>
                <a:cubicBezTo>
                  <a:pt x="100" y="29"/>
                  <a:pt x="100" y="29"/>
                  <a:pt x="100" y="29"/>
                </a:cubicBezTo>
                <a:cubicBezTo>
                  <a:pt x="101" y="29"/>
                  <a:pt x="101" y="29"/>
                  <a:pt x="101" y="29"/>
                </a:cubicBezTo>
                <a:cubicBezTo>
                  <a:pt x="102" y="29"/>
                  <a:pt x="102" y="29"/>
                  <a:pt x="102" y="29"/>
                </a:cubicBezTo>
                <a:cubicBezTo>
                  <a:pt x="103" y="29"/>
                  <a:pt x="103" y="29"/>
                  <a:pt x="103" y="29"/>
                </a:cubicBezTo>
                <a:cubicBezTo>
                  <a:pt x="104" y="31"/>
                  <a:pt x="104" y="31"/>
                  <a:pt x="104" y="31"/>
                </a:cubicBezTo>
                <a:cubicBezTo>
                  <a:pt x="104" y="33"/>
                  <a:pt x="104" y="33"/>
                  <a:pt x="104" y="33"/>
                </a:cubicBezTo>
                <a:cubicBezTo>
                  <a:pt x="104" y="33"/>
                  <a:pt x="104" y="33"/>
                  <a:pt x="104" y="33"/>
                </a:cubicBezTo>
                <a:cubicBezTo>
                  <a:pt x="105" y="34"/>
                  <a:pt x="105" y="34"/>
                  <a:pt x="105" y="34"/>
                </a:cubicBezTo>
                <a:cubicBezTo>
                  <a:pt x="107" y="35"/>
                  <a:pt x="107" y="35"/>
                  <a:pt x="107" y="35"/>
                </a:cubicBezTo>
                <a:cubicBezTo>
                  <a:pt x="107" y="35"/>
                  <a:pt x="107" y="35"/>
                  <a:pt x="107" y="35"/>
                </a:cubicBezTo>
                <a:cubicBezTo>
                  <a:pt x="107" y="36"/>
                  <a:pt x="107" y="36"/>
                  <a:pt x="107" y="36"/>
                </a:cubicBezTo>
                <a:cubicBezTo>
                  <a:pt x="105" y="37"/>
                  <a:pt x="105" y="37"/>
                  <a:pt x="105" y="37"/>
                </a:cubicBezTo>
                <a:cubicBezTo>
                  <a:pt x="103" y="38"/>
                  <a:pt x="103" y="38"/>
                  <a:pt x="103" y="38"/>
                </a:cubicBezTo>
                <a:cubicBezTo>
                  <a:pt x="103" y="39"/>
                  <a:pt x="103" y="39"/>
                  <a:pt x="103" y="39"/>
                </a:cubicBezTo>
                <a:cubicBezTo>
                  <a:pt x="103" y="40"/>
                  <a:pt x="103" y="40"/>
                  <a:pt x="103" y="40"/>
                </a:cubicBezTo>
                <a:cubicBezTo>
                  <a:pt x="103" y="41"/>
                  <a:pt x="103" y="41"/>
                  <a:pt x="103" y="41"/>
                </a:cubicBezTo>
                <a:cubicBezTo>
                  <a:pt x="102" y="43"/>
                  <a:pt x="102" y="43"/>
                  <a:pt x="102" y="43"/>
                </a:cubicBezTo>
                <a:close/>
                <a:moveTo>
                  <a:pt x="641" y="78"/>
                </a:moveTo>
                <a:cubicBezTo>
                  <a:pt x="642" y="78"/>
                  <a:pt x="642" y="78"/>
                  <a:pt x="642" y="78"/>
                </a:cubicBezTo>
                <a:cubicBezTo>
                  <a:pt x="642" y="77"/>
                  <a:pt x="642" y="77"/>
                  <a:pt x="642" y="77"/>
                </a:cubicBezTo>
                <a:cubicBezTo>
                  <a:pt x="641" y="77"/>
                  <a:pt x="641" y="77"/>
                  <a:pt x="641" y="77"/>
                </a:cubicBezTo>
                <a:cubicBezTo>
                  <a:pt x="641" y="77"/>
                  <a:pt x="641" y="77"/>
                  <a:pt x="641" y="77"/>
                </a:cubicBezTo>
                <a:cubicBezTo>
                  <a:pt x="641" y="78"/>
                  <a:pt x="641" y="78"/>
                  <a:pt x="641" y="78"/>
                </a:cubicBezTo>
                <a:close/>
                <a:moveTo>
                  <a:pt x="636" y="77"/>
                </a:moveTo>
                <a:cubicBezTo>
                  <a:pt x="637" y="77"/>
                  <a:pt x="637" y="77"/>
                  <a:pt x="637" y="77"/>
                </a:cubicBezTo>
                <a:cubicBezTo>
                  <a:pt x="637" y="76"/>
                  <a:pt x="637" y="76"/>
                  <a:pt x="637" y="76"/>
                </a:cubicBezTo>
                <a:cubicBezTo>
                  <a:pt x="636" y="76"/>
                  <a:pt x="636" y="76"/>
                  <a:pt x="636" y="76"/>
                </a:cubicBezTo>
                <a:cubicBezTo>
                  <a:pt x="636" y="76"/>
                  <a:pt x="636" y="76"/>
                  <a:pt x="636" y="76"/>
                </a:cubicBezTo>
                <a:cubicBezTo>
                  <a:pt x="636" y="77"/>
                  <a:pt x="636" y="77"/>
                  <a:pt x="636" y="77"/>
                </a:cubicBezTo>
                <a:close/>
                <a:moveTo>
                  <a:pt x="632" y="79"/>
                </a:moveTo>
                <a:cubicBezTo>
                  <a:pt x="632" y="79"/>
                  <a:pt x="632" y="79"/>
                  <a:pt x="632" y="79"/>
                </a:cubicBezTo>
                <a:cubicBezTo>
                  <a:pt x="633" y="78"/>
                  <a:pt x="633" y="78"/>
                  <a:pt x="633" y="78"/>
                </a:cubicBezTo>
                <a:cubicBezTo>
                  <a:pt x="632" y="77"/>
                  <a:pt x="632" y="77"/>
                  <a:pt x="632" y="77"/>
                </a:cubicBezTo>
                <a:cubicBezTo>
                  <a:pt x="631" y="77"/>
                  <a:pt x="631" y="77"/>
                  <a:pt x="631" y="77"/>
                </a:cubicBezTo>
                <a:cubicBezTo>
                  <a:pt x="631" y="78"/>
                  <a:pt x="631" y="78"/>
                  <a:pt x="631" y="78"/>
                </a:cubicBezTo>
                <a:cubicBezTo>
                  <a:pt x="632" y="79"/>
                  <a:pt x="632" y="79"/>
                  <a:pt x="632" y="79"/>
                </a:cubicBezTo>
                <a:close/>
                <a:moveTo>
                  <a:pt x="741" y="212"/>
                </a:moveTo>
                <a:cubicBezTo>
                  <a:pt x="740" y="212"/>
                  <a:pt x="740" y="212"/>
                  <a:pt x="740" y="212"/>
                </a:cubicBezTo>
                <a:cubicBezTo>
                  <a:pt x="741" y="214"/>
                  <a:pt x="741" y="214"/>
                  <a:pt x="741" y="214"/>
                </a:cubicBezTo>
                <a:cubicBezTo>
                  <a:pt x="741" y="213"/>
                  <a:pt x="741" y="213"/>
                  <a:pt x="741" y="213"/>
                </a:cubicBezTo>
                <a:cubicBezTo>
                  <a:pt x="741" y="212"/>
                  <a:pt x="741" y="212"/>
                  <a:pt x="741" y="212"/>
                </a:cubicBezTo>
                <a:cubicBezTo>
                  <a:pt x="741" y="212"/>
                  <a:pt x="741" y="212"/>
                  <a:pt x="741" y="212"/>
                </a:cubicBezTo>
                <a:cubicBezTo>
                  <a:pt x="741" y="212"/>
                  <a:pt x="741" y="212"/>
                  <a:pt x="741" y="212"/>
                </a:cubicBezTo>
                <a:close/>
                <a:moveTo>
                  <a:pt x="739" y="210"/>
                </a:moveTo>
                <a:cubicBezTo>
                  <a:pt x="740" y="211"/>
                  <a:pt x="740" y="211"/>
                  <a:pt x="740" y="211"/>
                </a:cubicBezTo>
                <a:cubicBezTo>
                  <a:pt x="741" y="211"/>
                  <a:pt x="741" y="211"/>
                  <a:pt x="741" y="211"/>
                </a:cubicBezTo>
                <a:cubicBezTo>
                  <a:pt x="741" y="210"/>
                  <a:pt x="741" y="210"/>
                  <a:pt x="741" y="210"/>
                </a:cubicBezTo>
                <a:cubicBezTo>
                  <a:pt x="740" y="209"/>
                  <a:pt x="740" y="209"/>
                  <a:pt x="740" y="209"/>
                </a:cubicBezTo>
                <a:cubicBezTo>
                  <a:pt x="739" y="209"/>
                  <a:pt x="739" y="209"/>
                  <a:pt x="739" y="209"/>
                </a:cubicBezTo>
                <a:cubicBezTo>
                  <a:pt x="739" y="210"/>
                  <a:pt x="739" y="210"/>
                  <a:pt x="739" y="210"/>
                </a:cubicBezTo>
                <a:close/>
                <a:moveTo>
                  <a:pt x="117" y="133"/>
                </a:moveTo>
                <a:cubicBezTo>
                  <a:pt x="118" y="133"/>
                  <a:pt x="118" y="133"/>
                  <a:pt x="118" y="133"/>
                </a:cubicBezTo>
                <a:cubicBezTo>
                  <a:pt x="118" y="133"/>
                  <a:pt x="118" y="133"/>
                  <a:pt x="118" y="133"/>
                </a:cubicBezTo>
                <a:cubicBezTo>
                  <a:pt x="120" y="131"/>
                  <a:pt x="120" y="131"/>
                  <a:pt x="120" y="131"/>
                </a:cubicBezTo>
                <a:cubicBezTo>
                  <a:pt x="120" y="131"/>
                  <a:pt x="120" y="131"/>
                  <a:pt x="120" y="131"/>
                </a:cubicBezTo>
                <a:cubicBezTo>
                  <a:pt x="120" y="131"/>
                  <a:pt x="120" y="131"/>
                  <a:pt x="120" y="131"/>
                </a:cubicBezTo>
                <a:cubicBezTo>
                  <a:pt x="118" y="132"/>
                  <a:pt x="118" y="132"/>
                  <a:pt x="118" y="132"/>
                </a:cubicBezTo>
                <a:cubicBezTo>
                  <a:pt x="118" y="132"/>
                  <a:pt x="118" y="132"/>
                  <a:pt x="118" y="132"/>
                </a:cubicBezTo>
                <a:cubicBezTo>
                  <a:pt x="117" y="133"/>
                  <a:pt x="117" y="133"/>
                  <a:pt x="117" y="133"/>
                </a:cubicBezTo>
                <a:cubicBezTo>
                  <a:pt x="117" y="133"/>
                  <a:pt x="117" y="133"/>
                  <a:pt x="117" y="133"/>
                </a:cubicBezTo>
                <a:close/>
                <a:moveTo>
                  <a:pt x="110" y="174"/>
                </a:moveTo>
                <a:cubicBezTo>
                  <a:pt x="112" y="174"/>
                  <a:pt x="112" y="174"/>
                  <a:pt x="112" y="174"/>
                </a:cubicBezTo>
                <a:cubicBezTo>
                  <a:pt x="113" y="173"/>
                  <a:pt x="113" y="173"/>
                  <a:pt x="113" y="173"/>
                </a:cubicBezTo>
                <a:cubicBezTo>
                  <a:pt x="115" y="172"/>
                  <a:pt x="115" y="172"/>
                  <a:pt x="115" y="172"/>
                </a:cubicBezTo>
                <a:cubicBezTo>
                  <a:pt x="116" y="172"/>
                  <a:pt x="116" y="172"/>
                  <a:pt x="116" y="172"/>
                </a:cubicBezTo>
                <a:cubicBezTo>
                  <a:pt x="117" y="173"/>
                  <a:pt x="117" y="173"/>
                  <a:pt x="117" y="173"/>
                </a:cubicBezTo>
                <a:cubicBezTo>
                  <a:pt x="118" y="173"/>
                  <a:pt x="118" y="173"/>
                  <a:pt x="118" y="173"/>
                </a:cubicBezTo>
                <a:cubicBezTo>
                  <a:pt x="119" y="173"/>
                  <a:pt x="119" y="173"/>
                  <a:pt x="119" y="173"/>
                </a:cubicBezTo>
                <a:cubicBezTo>
                  <a:pt x="118" y="172"/>
                  <a:pt x="118" y="172"/>
                  <a:pt x="118" y="172"/>
                </a:cubicBezTo>
                <a:cubicBezTo>
                  <a:pt x="119" y="171"/>
                  <a:pt x="119" y="171"/>
                  <a:pt x="119" y="171"/>
                </a:cubicBezTo>
                <a:cubicBezTo>
                  <a:pt x="119" y="172"/>
                  <a:pt x="119" y="172"/>
                  <a:pt x="119" y="172"/>
                </a:cubicBezTo>
                <a:cubicBezTo>
                  <a:pt x="120" y="173"/>
                  <a:pt x="120" y="173"/>
                  <a:pt x="120" y="173"/>
                </a:cubicBezTo>
                <a:cubicBezTo>
                  <a:pt x="121" y="173"/>
                  <a:pt x="121" y="173"/>
                  <a:pt x="121" y="173"/>
                </a:cubicBezTo>
                <a:cubicBezTo>
                  <a:pt x="123" y="173"/>
                  <a:pt x="123" y="173"/>
                  <a:pt x="123" y="173"/>
                </a:cubicBezTo>
                <a:cubicBezTo>
                  <a:pt x="123" y="173"/>
                  <a:pt x="123" y="173"/>
                  <a:pt x="123" y="173"/>
                </a:cubicBezTo>
                <a:cubicBezTo>
                  <a:pt x="124" y="172"/>
                  <a:pt x="124" y="172"/>
                  <a:pt x="124" y="172"/>
                </a:cubicBezTo>
                <a:cubicBezTo>
                  <a:pt x="124" y="171"/>
                  <a:pt x="124" y="171"/>
                  <a:pt x="124" y="171"/>
                </a:cubicBezTo>
                <a:cubicBezTo>
                  <a:pt x="124" y="169"/>
                  <a:pt x="124" y="169"/>
                  <a:pt x="124" y="169"/>
                </a:cubicBezTo>
                <a:cubicBezTo>
                  <a:pt x="125" y="168"/>
                  <a:pt x="125" y="168"/>
                  <a:pt x="125" y="168"/>
                </a:cubicBezTo>
                <a:cubicBezTo>
                  <a:pt x="125" y="167"/>
                  <a:pt x="125" y="167"/>
                  <a:pt x="125" y="167"/>
                </a:cubicBezTo>
                <a:cubicBezTo>
                  <a:pt x="124" y="166"/>
                  <a:pt x="124" y="166"/>
                  <a:pt x="124" y="166"/>
                </a:cubicBezTo>
                <a:cubicBezTo>
                  <a:pt x="124" y="165"/>
                  <a:pt x="124" y="165"/>
                  <a:pt x="124" y="165"/>
                </a:cubicBezTo>
                <a:cubicBezTo>
                  <a:pt x="123" y="164"/>
                  <a:pt x="123" y="164"/>
                  <a:pt x="123" y="164"/>
                </a:cubicBezTo>
                <a:cubicBezTo>
                  <a:pt x="122" y="164"/>
                  <a:pt x="122" y="164"/>
                  <a:pt x="122" y="164"/>
                </a:cubicBezTo>
                <a:cubicBezTo>
                  <a:pt x="121" y="164"/>
                  <a:pt x="121" y="164"/>
                  <a:pt x="121" y="164"/>
                </a:cubicBezTo>
                <a:cubicBezTo>
                  <a:pt x="122" y="163"/>
                  <a:pt x="122" y="163"/>
                  <a:pt x="122" y="163"/>
                </a:cubicBezTo>
                <a:cubicBezTo>
                  <a:pt x="123" y="164"/>
                  <a:pt x="123" y="164"/>
                  <a:pt x="123" y="164"/>
                </a:cubicBezTo>
                <a:cubicBezTo>
                  <a:pt x="124" y="163"/>
                  <a:pt x="124" y="163"/>
                  <a:pt x="124" y="163"/>
                </a:cubicBezTo>
                <a:cubicBezTo>
                  <a:pt x="125" y="164"/>
                  <a:pt x="125" y="164"/>
                  <a:pt x="125" y="164"/>
                </a:cubicBezTo>
                <a:cubicBezTo>
                  <a:pt x="125" y="165"/>
                  <a:pt x="125" y="165"/>
                  <a:pt x="125" y="165"/>
                </a:cubicBezTo>
                <a:cubicBezTo>
                  <a:pt x="125" y="166"/>
                  <a:pt x="125" y="166"/>
                  <a:pt x="125" y="166"/>
                </a:cubicBezTo>
                <a:cubicBezTo>
                  <a:pt x="126" y="165"/>
                  <a:pt x="126" y="165"/>
                  <a:pt x="126" y="165"/>
                </a:cubicBezTo>
                <a:cubicBezTo>
                  <a:pt x="125" y="163"/>
                  <a:pt x="125" y="163"/>
                  <a:pt x="125" y="163"/>
                </a:cubicBezTo>
                <a:cubicBezTo>
                  <a:pt x="124" y="161"/>
                  <a:pt x="124" y="161"/>
                  <a:pt x="124" y="161"/>
                </a:cubicBezTo>
                <a:cubicBezTo>
                  <a:pt x="123" y="159"/>
                  <a:pt x="123" y="159"/>
                  <a:pt x="123" y="159"/>
                </a:cubicBezTo>
                <a:cubicBezTo>
                  <a:pt x="123" y="159"/>
                  <a:pt x="123" y="159"/>
                  <a:pt x="123" y="159"/>
                </a:cubicBezTo>
                <a:cubicBezTo>
                  <a:pt x="124" y="160"/>
                  <a:pt x="124" y="160"/>
                  <a:pt x="124" y="160"/>
                </a:cubicBezTo>
                <a:cubicBezTo>
                  <a:pt x="124" y="161"/>
                  <a:pt x="124" y="161"/>
                  <a:pt x="124" y="161"/>
                </a:cubicBezTo>
                <a:cubicBezTo>
                  <a:pt x="125" y="161"/>
                  <a:pt x="125" y="161"/>
                  <a:pt x="125" y="161"/>
                </a:cubicBezTo>
                <a:cubicBezTo>
                  <a:pt x="126" y="162"/>
                  <a:pt x="126" y="162"/>
                  <a:pt x="126" y="162"/>
                </a:cubicBezTo>
                <a:cubicBezTo>
                  <a:pt x="127" y="161"/>
                  <a:pt x="127" y="161"/>
                  <a:pt x="127" y="161"/>
                </a:cubicBezTo>
                <a:cubicBezTo>
                  <a:pt x="127" y="160"/>
                  <a:pt x="127" y="160"/>
                  <a:pt x="127" y="160"/>
                </a:cubicBezTo>
                <a:cubicBezTo>
                  <a:pt x="126" y="159"/>
                  <a:pt x="126" y="159"/>
                  <a:pt x="126" y="159"/>
                </a:cubicBezTo>
                <a:cubicBezTo>
                  <a:pt x="126" y="159"/>
                  <a:pt x="126" y="159"/>
                  <a:pt x="126" y="159"/>
                </a:cubicBezTo>
                <a:cubicBezTo>
                  <a:pt x="127" y="157"/>
                  <a:pt x="127" y="157"/>
                  <a:pt x="127" y="157"/>
                </a:cubicBezTo>
                <a:cubicBezTo>
                  <a:pt x="127" y="156"/>
                  <a:pt x="127" y="156"/>
                  <a:pt x="127" y="156"/>
                </a:cubicBezTo>
                <a:cubicBezTo>
                  <a:pt x="126" y="155"/>
                  <a:pt x="126" y="155"/>
                  <a:pt x="126" y="155"/>
                </a:cubicBezTo>
                <a:cubicBezTo>
                  <a:pt x="124" y="153"/>
                  <a:pt x="124" y="153"/>
                  <a:pt x="124" y="153"/>
                </a:cubicBezTo>
                <a:cubicBezTo>
                  <a:pt x="125" y="153"/>
                  <a:pt x="125" y="153"/>
                  <a:pt x="125" y="153"/>
                </a:cubicBezTo>
                <a:cubicBezTo>
                  <a:pt x="126" y="154"/>
                  <a:pt x="126" y="154"/>
                  <a:pt x="126" y="154"/>
                </a:cubicBezTo>
                <a:cubicBezTo>
                  <a:pt x="127" y="154"/>
                  <a:pt x="127" y="154"/>
                  <a:pt x="127" y="154"/>
                </a:cubicBezTo>
                <a:cubicBezTo>
                  <a:pt x="128" y="153"/>
                  <a:pt x="128" y="153"/>
                  <a:pt x="128" y="153"/>
                </a:cubicBezTo>
                <a:cubicBezTo>
                  <a:pt x="127" y="152"/>
                  <a:pt x="127" y="152"/>
                  <a:pt x="127" y="152"/>
                </a:cubicBezTo>
                <a:cubicBezTo>
                  <a:pt x="127" y="152"/>
                  <a:pt x="127" y="152"/>
                  <a:pt x="127" y="152"/>
                </a:cubicBezTo>
                <a:cubicBezTo>
                  <a:pt x="127" y="151"/>
                  <a:pt x="127" y="151"/>
                  <a:pt x="127" y="151"/>
                </a:cubicBezTo>
                <a:cubicBezTo>
                  <a:pt x="127" y="150"/>
                  <a:pt x="127" y="150"/>
                  <a:pt x="127" y="150"/>
                </a:cubicBezTo>
                <a:cubicBezTo>
                  <a:pt x="129" y="151"/>
                  <a:pt x="129" y="151"/>
                  <a:pt x="129" y="151"/>
                </a:cubicBezTo>
                <a:cubicBezTo>
                  <a:pt x="130" y="152"/>
                  <a:pt x="130" y="152"/>
                  <a:pt x="130" y="152"/>
                </a:cubicBezTo>
                <a:cubicBezTo>
                  <a:pt x="131" y="151"/>
                  <a:pt x="131" y="151"/>
                  <a:pt x="131" y="151"/>
                </a:cubicBezTo>
                <a:cubicBezTo>
                  <a:pt x="130" y="151"/>
                  <a:pt x="130" y="151"/>
                  <a:pt x="130" y="151"/>
                </a:cubicBezTo>
                <a:cubicBezTo>
                  <a:pt x="130" y="150"/>
                  <a:pt x="130" y="150"/>
                  <a:pt x="130" y="150"/>
                </a:cubicBezTo>
                <a:cubicBezTo>
                  <a:pt x="131" y="150"/>
                  <a:pt x="131" y="150"/>
                  <a:pt x="131" y="150"/>
                </a:cubicBezTo>
                <a:cubicBezTo>
                  <a:pt x="131" y="150"/>
                  <a:pt x="131" y="150"/>
                  <a:pt x="131" y="150"/>
                </a:cubicBezTo>
                <a:cubicBezTo>
                  <a:pt x="132" y="149"/>
                  <a:pt x="132" y="149"/>
                  <a:pt x="132" y="149"/>
                </a:cubicBezTo>
                <a:cubicBezTo>
                  <a:pt x="132" y="148"/>
                  <a:pt x="132" y="148"/>
                  <a:pt x="132" y="148"/>
                </a:cubicBezTo>
                <a:cubicBezTo>
                  <a:pt x="132" y="148"/>
                  <a:pt x="132" y="148"/>
                  <a:pt x="132" y="148"/>
                </a:cubicBezTo>
                <a:cubicBezTo>
                  <a:pt x="132" y="147"/>
                  <a:pt x="132" y="147"/>
                  <a:pt x="132" y="147"/>
                </a:cubicBezTo>
                <a:cubicBezTo>
                  <a:pt x="134" y="146"/>
                  <a:pt x="134" y="146"/>
                  <a:pt x="134" y="146"/>
                </a:cubicBezTo>
                <a:cubicBezTo>
                  <a:pt x="134" y="146"/>
                  <a:pt x="134" y="146"/>
                  <a:pt x="134" y="146"/>
                </a:cubicBezTo>
                <a:cubicBezTo>
                  <a:pt x="133" y="145"/>
                  <a:pt x="133" y="145"/>
                  <a:pt x="133" y="145"/>
                </a:cubicBezTo>
                <a:cubicBezTo>
                  <a:pt x="133" y="144"/>
                  <a:pt x="133" y="144"/>
                  <a:pt x="133" y="144"/>
                </a:cubicBezTo>
                <a:cubicBezTo>
                  <a:pt x="133" y="143"/>
                  <a:pt x="133" y="143"/>
                  <a:pt x="133" y="143"/>
                </a:cubicBezTo>
                <a:cubicBezTo>
                  <a:pt x="134" y="144"/>
                  <a:pt x="134" y="144"/>
                  <a:pt x="134" y="144"/>
                </a:cubicBezTo>
                <a:cubicBezTo>
                  <a:pt x="135" y="143"/>
                  <a:pt x="135" y="143"/>
                  <a:pt x="135" y="143"/>
                </a:cubicBezTo>
                <a:cubicBezTo>
                  <a:pt x="136" y="141"/>
                  <a:pt x="136" y="141"/>
                  <a:pt x="136" y="141"/>
                </a:cubicBezTo>
                <a:cubicBezTo>
                  <a:pt x="137" y="140"/>
                  <a:pt x="137" y="140"/>
                  <a:pt x="137" y="140"/>
                </a:cubicBezTo>
                <a:cubicBezTo>
                  <a:pt x="138" y="139"/>
                  <a:pt x="138" y="139"/>
                  <a:pt x="138" y="139"/>
                </a:cubicBezTo>
                <a:cubicBezTo>
                  <a:pt x="138" y="137"/>
                  <a:pt x="138" y="137"/>
                  <a:pt x="138" y="137"/>
                </a:cubicBezTo>
                <a:cubicBezTo>
                  <a:pt x="139" y="136"/>
                  <a:pt x="139" y="136"/>
                  <a:pt x="139" y="136"/>
                </a:cubicBezTo>
                <a:cubicBezTo>
                  <a:pt x="140" y="135"/>
                  <a:pt x="140" y="135"/>
                  <a:pt x="140" y="135"/>
                </a:cubicBezTo>
                <a:cubicBezTo>
                  <a:pt x="141" y="132"/>
                  <a:pt x="141" y="132"/>
                  <a:pt x="141" y="132"/>
                </a:cubicBezTo>
                <a:cubicBezTo>
                  <a:pt x="142" y="132"/>
                  <a:pt x="142" y="132"/>
                  <a:pt x="142" y="132"/>
                </a:cubicBezTo>
                <a:cubicBezTo>
                  <a:pt x="145" y="130"/>
                  <a:pt x="145" y="130"/>
                  <a:pt x="145" y="130"/>
                </a:cubicBezTo>
                <a:cubicBezTo>
                  <a:pt x="147" y="128"/>
                  <a:pt x="147" y="128"/>
                  <a:pt x="147" y="128"/>
                </a:cubicBezTo>
                <a:cubicBezTo>
                  <a:pt x="149" y="126"/>
                  <a:pt x="149" y="126"/>
                  <a:pt x="149" y="126"/>
                </a:cubicBezTo>
                <a:cubicBezTo>
                  <a:pt x="150" y="126"/>
                  <a:pt x="150" y="126"/>
                  <a:pt x="150" y="126"/>
                </a:cubicBezTo>
                <a:cubicBezTo>
                  <a:pt x="151" y="124"/>
                  <a:pt x="151" y="124"/>
                  <a:pt x="151" y="124"/>
                </a:cubicBezTo>
                <a:cubicBezTo>
                  <a:pt x="153" y="124"/>
                  <a:pt x="153" y="124"/>
                  <a:pt x="153" y="124"/>
                </a:cubicBezTo>
                <a:cubicBezTo>
                  <a:pt x="155" y="123"/>
                  <a:pt x="155" y="123"/>
                  <a:pt x="155" y="123"/>
                </a:cubicBezTo>
                <a:cubicBezTo>
                  <a:pt x="156" y="121"/>
                  <a:pt x="156" y="121"/>
                  <a:pt x="156" y="121"/>
                </a:cubicBezTo>
                <a:cubicBezTo>
                  <a:pt x="157" y="120"/>
                  <a:pt x="157" y="120"/>
                  <a:pt x="157" y="120"/>
                </a:cubicBezTo>
                <a:cubicBezTo>
                  <a:pt x="158" y="120"/>
                  <a:pt x="158" y="120"/>
                  <a:pt x="158" y="120"/>
                </a:cubicBezTo>
                <a:cubicBezTo>
                  <a:pt x="159" y="120"/>
                  <a:pt x="159" y="120"/>
                  <a:pt x="159" y="120"/>
                </a:cubicBezTo>
                <a:cubicBezTo>
                  <a:pt x="159" y="119"/>
                  <a:pt x="159" y="119"/>
                  <a:pt x="159" y="119"/>
                </a:cubicBezTo>
                <a:cubicBezTo>
                  <a:pt x="159" y="118"/>
                  <a:pt x="159" y="118"/>
                  <a:pt x="159" y="118"/>
                </a:cubicBezTo>
                <a:cubicBezTo>
                  <a:pt x="159" y="117"/>
                  <a:pt x="159" y="117"/>
                  <a:pt x="159" y="117"/>
                </a:cubicBezTo>
                <a:cubicBezTo>
                  <a:pt x="159" y="116"/>
                  <a:pt x="159" y="116"/>
                  <a:pt x="159" y="116"/>
                </a:cubicBezTo>
                <a:cubicBezTo>
                  <a:pt x="159" y="114"/>
                  <a:pt x="159" y="114"/>
                  <a:pt x="159" y="114"/>
                </a:cubicBezTo>
                <a:cubicBezTo>
                  <a:pt x="159" y="114"/>
                  <a:pt x="159" y="114"/>
                  <a:pt x="159" y="114"/>
                </a:cubicBezTo>
                <a:cubicBezTo>
                  <a:pt x="158" y="114"/>
                  <a:pt x="158" y="114"/>
                  <a:pt x="158" y="114"/>
                </a:cubicBezTo>
                <a:cubicBezTo>
                  <a:pt x="158" y="112"/>
                  <a:pt x="158" y="112"/>
                  <a:pt x="158" y="112"/>
                </a:cubicBezTo>
                <a:cubicBezTo>
                  <a:pt x="158" y="111"/>
                  <a:pt x="158" y="111"/>
                  <a:pt x="158" y="111"/>
                </a:cubicBezTo>
                <a:cubicBezTo>
                  <a:pt x="158" y="110"/>
                  <a:pt x="158" y="110"/>
                  <a:pt x="158" y="110"/>
                </a:cubicBezTo>
                <a:cubicBezTo>
                  <a:pt x="157" y="110"/>
                  <a:pt x="157" y="110"/>
                  <a:pt x="157" y="110"/>
                </a:cubicBezTo>
                <a:cubicBezTo>
                  <a:pt x="156" y="109"/>
                  <a:pt x="156" y="109"/>
                  <a:pt x="156" y="109"/>
                </a:cubicBezTo>
                <a:cubicBezTo>
                  <a:pt x="155" y="109"/>
                  <a:pt x="155" y="109"/>
                  <a:pt x="155" y="109"/>
                </a:cubicBezTo>
                <a:cubicBezTo>
                  <a:pt x="154" y="108"/>
                  <a:pt x="154" y="108"/>
                  <a:pt x="154" y="108"/>
                </a:cubicBezTo>
                <a:cubicBezTo>
                  <a:pt x="154" y="107"/>
                  <a:pt x="154" y="107"/>
                  <a:pt x="154" y="107"/>
                </a:cubicBezTo>
                <a:cubicBezTo>
                  <a:pt x="154" y="107"/>
                  <a:pt x="154" y="107"/>
                  <a:pt x="154" y="107"/>
                </a:cubicBezTo>
                <a:cubicBezTo>
                  <a:pt x="152" y="108"/>
                  <a:pt x="152" y="108"/>
                  <a:pt x="152" y="108"/>
                </a:cubicBezTo>
                <a:cubicBezTo>
                  <a:pt x="152" y="108"/>
                  <a:pt x="152" y="108"/>
                  <a:pt x="152" y="108"/>
                </a:cubicBezTo>
                <a:cubicBezTo>
                  <a:pt x="151" y="108"/>
                  <a:pt x="151" y="108"/>
                  <a:pt x="151" y="108"/>
                </a:cubicBezTo>
                <a:cubicBezTo>
                  <a:pt x="150" y="107"/>
                  <a:pt x="150" y="107"/>
                  <a:pt x="150" y="107"/>
                </a:cubicBezTo>
                <a:cubicBezTo>
                  <a:pt x="149" y="108"/>
                  <a:pt x="149" y="108"/>
                  <a:pt x="149" y="108"/>
                </a:cubicBezTo>
                <a:cubicBezTo>
                  <a:pt x="148" y="109"/>
                  <a:pt x="148" y="109"/>
                  <a:pt x="148" y="109"/>
                </a:cubicBezTo>
                <a:cubicBezTo>
                  <a:pt x="147" y="110"/>
                  <a:pt x="147" y="110"/>
                  <a:pt x="147" y="110"/>
                </a:cubicBezTo>
                <a:cubicBezTo>
                  <a:pt x="147" y="110"/>
                  <a:pt x="147" y="110"/>
                  <a:pt x="147" y="110"/>
                </a:cubicBezTo>
                <a:cubicBezTo>
                  <a:pt x="146" y="111"/>
                  <a:pt x="146" y="111"/>
                  <a:pt x="146" y="111"/>
                </a:cubicBezTo>
                <a:cubicBezTo>
                  <a:pt x="145" y="111"/>
                  <a:pt x="145" y="111"/>
                  <a:pt x="145" y="111"/>
                </a:cubicBezTo>
                <a:cubicBezTo>
                  <a:pt x="145" y="112"/>
                  <a:pt x="145" y="112"/>
                  <a:pt x="145" y="112"/>
                </a:cubicBezTo>
                <a:cubicBezTo>
                  <a:pt x="144" y="113"/>
                  <a:pt x="144" y="113"/>
                  <a:pt x="144" y="113"/>
                </a:cubicBezTo>
                <a:cubicBezTo>
                  <a:pt x="144" y="114"/>
                  <a:pt x="144" y="114"/>
                  <a:pt x="144" y="114"/>
                </a:cubicBezTo>
                <a:cubicBezTo>
                  <a:pt x="145" y="115"/>
                  <a:pt x="145" y="115"/>
                  <a:pt x="145" y="115"/>
                </a:cubicBezTo>
                <a:cubicBezTo>
                  <a:pt x="145" y="116"/>
                  <a:pt x="145" y="116"/>
                  <a:pt x="145" y="116"/>
                </a:cubicBezTo>
                <a:cubicBezTo>
                  <a:pt x="144" y="116"/>
                  <a:pt x="144" y="116"/>
                  <a:pt x="144" y="116"/>
                </a:cubicBezTo>
                <a:cubicBezTo>
                  <a:pt x="143" y="117"/>
                  <a:pt x="143" y="117"/>
                  <a:pt x="143" y="117"/>
                </a:cubicBezTo>
                <a:cubicBezTo>
                  <a:pt x="143" y="118"/>
                  <a:pt x="143" y="118"/>
                  <a:pt x="143" y="118"/>
                </a:cubicBezTo>
                <a:cubicBezTo>
                  <a:pt x="142" y="118"/>
                  <a:pt x="142" y="118"/>
                  <a:pt x="142" y="118"/>
                </a:cubicBezTo>
                <a:cubicBezTo>
                  <a:pt x="142" y="119"/>
                  <a:pt x="142" y="119"/>
                  <a:pt x="142" y="119"/>
                </a:cubicBezTo>
                <a:cubicBezTo>
                  <a:pt x="140" y="120"/>
                  <a:pt x="140" y="120"/>
                  <a:pt x="140" y="120"/>
                </a:cubicBezTo>
                <a:cubicBezTo>
                  <a:pt x="139" y="121"/>
                  <a:pt x="139" y="121"/>
                  <a:pt x="139" y="121"/>
                </a:cubicBezTo>
                <a:cubicBezTo>
                  <a:pt x="138" y="121"/>
                  <a:pt x="138" y="121"/>
                  <a:pt x="138" y="121"/>
                </a:cubicBezTo>
                <a:cubicBezTo>
                  <a:pt x="137" y="121"/>
                  <a:pt x="137" y="121"/>
                  <a:pt x="137" y="121"/>
                </a:cubicBezTo>
                <a:cubicBezTo>
                  <a:pt x="136" y="121"/>
                  <a:pt x="136" y="121"/>
                  <a:pt x="136" y="121"/>
                </a:cubicBezTo>
                <a:cubicBezTo>
                  <a:pt x="135" y="123"/>
                  <a:pt x="135" y="123"/>
                  <a:pt x="135" y="123"/>
                </a:cubicBezTo>
                <a:cubicBezTo>
                  <a:pt x="134" y="124"/>
                  <a:pt x="134" y="124"/>
                  <a:pt x="134" y="124"/>
                </a:cubicBezTo>
                <a:cubicBezTo>
                  <a:pt x="134" y="123"/>
                  <a:pt x="134" y="123"/>
                  <a:pt x="134" y="123"/>
                </a:cubicBezTo>
                <a:cubicBezTo>
                  <a:pt x="133" y="122"/>
                  <a:pt x="133" y="122"/>
                  <a:pt x="133" y="122"/>
                </a:cubicBezTo>
                <a:cubicBezTo>
                  <a:pt x="133" y="122"/>
                  <a:pt x="133" y="122"/>
                  <a:pt x="133" y="122"/>
                </a:cubicBezTo>
                <a:cubicBezTo>
                  <a:pt x="133" y="123"/>
                  <a:pt x="133" y="123"/>
                  <a:pt x="133" y="123"/>
                </a:cubicBezTo>
                <a:cubicBezTo>
                  <a:pt x="133" y="125"/>
                  <a:pt x="133" y="125"/>
                  <a:pt x="133" y="125"/>
                </a:cubicBezTo>
                <a:cubicBezTo>
                  <a:pt x="133" y="125"/>
                  <a:pt x="133" y="125"/>
                  <a:pt x="133" y="125"/>
                </a:cubicBezTo>
                <a:cubicBezTo>
                  <a:pt x="132" y="124"/>
                  <a:pt x="132" y="124"/>
                  <a:pt x="132" y="124"/>
                </a:cubicBezTo>
                <a:cubicBezTo>
                  <a:pt x="132" y="123"/>
                  <a:pt x="132" y="123"/>
                  <a:pt x="132" y="123"/>
                </a:cubicBezTo>
                <a:cubicBezTo>
                  <a:pt x="130" y="123"/>
                  <a:pt x="130" y="123"/>
                  <a:pt x="130" y="123"/>
                </a:cubicBezTo>
                <a:cubicBezTo>
                  <a:pt x="127" y="124"/>
                  <a:pt x="127" y="124"/>
                  <a:pt x="127" y="124"/>
                </a:cubicBezTo>
                <a:cubicBezTo>
                  <a:pt x="127" y="124"/>
                  <a:pt x="127" y="124"/>
                  <a:pt x="127" y="124"/>
                </a:cubicBezTo>
                <a:cubicBezTo>
                  <a:pt x="126" y="124"/>
                  <a:pt x="126" y="124"/>
                  <a:pt x="126" y="124"/>
                </a:cubicBezTo>
                <a:cubicBezTo>
                  <a:pt x="126" y="125"/>
                  <a:pt x="126" y="125"/>
                  <a:pt x="126" y="125"/>
                </a:cubicBezTo>
                <a:cubicBezTo>
                  <a:pt x="126" y="127"/>
                  <a:pt x="126" y="127"/>
                  <a:pt x="126" y="127"/>
                </a:cubicBezTo>
                <a:cubicBezTo>
                  <a:pt x="127" y="127"/>
                  <a:pt x="127" y="127"/>
                  <a:pt x="127" y="127"/>
                </a:cubicBezTo>
                <a:cubicBezTo>
                  <a:pt x="127" y="128"/>
                  <a:pt x="127" y="128"/>
                  <a:pt x="127" y="128"/>
                </a:cubicBezTo>
                <a:cubicBezTo>
                  <a:pt x="126" y="128"/>
                  <a:pt x="126" y="128"/>
                  <a:pt x="126" y="128"/>
                </a:cubicBezTo>
                <a:cubicBezTo>
                  <a:pt x="125" y="129"/>
                  <a:pt x="125" y="129"/>
                  <a:pt x="125" y="129"/>
                </a:cubicBezTo>
                <a:cubicBezTo>
                  <a:pt x="125" y="129"/>
                  <a:pt x="125" y="129"/>
                  <a:pt x="125" y="129"/>
                </a:cubicBezTo>
                <a:cubicBezTo>
                  <a:pt x="125" y="128"/>
                  <a:pt x="125" y="128"/>
                  <a:pt x="125" y="128"/>
                </a:cubicBezTo>
                <a:cubicBezTo>
                  <a:pt x="125" y="128"/>
                  <a:pt x="125" y="128"/>
                  <a:pt x="125" y="128"/>
                </a:cubicBezTo>
                <a:cubicBezTo>
                  <a:pt x="125" y="127"/>
                  <a:pt x="125" y="127"/>
                  <a:pt x="125" y="127"/>
                </a:cubicBezTo>
                <a:cubicBezTo>
                  <a:pt x="125" y="127"/>
                  <a:pt x="125" y="127"/>
                  <a:pt x="125" y="127"/>
                </a:cubicBezTo>
                <a:cubicBezTo>
                  <a:pt x="124" y="128"/>
                  <a:pt x="124" y="128"/>
                  <a:pt x="124" y="128"/>
                </a:cubicBezTo>
                <a:cubicBezTo>
                  <a:pt x="123" y="129"/>
                  <a:pt x="123" y="129"/>
                  <a:pt x="123" y="129"/>
                </a:cubicBezTo>
                <a:cubicBezTo>
                  <a:pt x="123" y="130"/>
                  <a:pt x="123" y="130"/>
                  <a:pt x="123" y="130"/>
                </a:cubicBezTo>
                <a:cubicBezTo>
                  <a:pt x="123" y="130"/>
                  <a:pt x="123" y="130"/>
                  <a:pt x="123" y="130"/>
                </a:cubicBezTo>
                <a:cubicBezTo>
                  <a:pt x="123" y="131"/>
                  <a:pt x="123" y="131"/>
                  <a:pt x="123" y="131"/>
                </a:cubicBezTo>
                <a:cubicBezTo>
                  <a:pt x="122" y="132"/>
                  <a:pt x="122" y="132"/>
                  <a:pt x="122" y="132"/>
                </a:cubicBezTo>
                <a:cubicBezTo>
                  <a:pt x="121" y="132"/>
                  <a:pt x="121" y="132"/>
                  <a:pt x="121" y="132"/>
                </a:cubicBezTo>
                <a:cubicBezTo>
                  <a:pt x="120" y="132"/>
                  <a:pt x="120" y="132"/>
                  <a:pt x="120" y="132"/>
                </a:cubicBezTo>
                <a:cubicBezTo>
                  <a:pt x="120" y="133"/>
                  <a:pt x="120" y="133"/>
                  <a:pt x="120" y="133"/>
                </a:cubicBezTo>
                <a:cubicBezTo>
                  <a:pt x="119" y="133"/>
                  <a:pt x="119" y="133"/>
                  <a:pt x="119" y="133"/>
                </a:cubicBezTo>
                <a:cubicBezTo>
                  <a:pt x="118" y="134"/>
                  <a:pt x="118" y="134"/>
                  <a:pt x="118" y="134"/>
                </a:cubicBezTo>
                <a:cubicBezTo>
                  <a:pt x="118" y="136"/>
                  <a:pt x="118" y="136"/>
                  <a:pt x="118" y="136"/>
                </a:cubicBezTo>
                <a:cubicBezTo>
                  <a:pt x="118" y="136"/>
                  <a:pt x="118" y="136"/>
                  <a:pt x="118" y="136"/>
                </a:cubicBezTo>
                <a:cubicBezTo>
                  <a:pt x="119" y="136"/>
                  <a:pt x="119" y="136"/>
                  <a:pt x="119" y="136"/>
                </a:cubicBezTo>
                <a:cubicBezTo>
                  <a:pt x="118" y="137"/>
                  <a:pt x="118" y="137"/>
                  <a:pt x="118" y="137"/>
                </a:cubicBezTo>
                <a:cubicBezTo>
                  <a:pt x="116" y="137"/>
                  <a:pt x="116" y="137"/>
                  <a:pt x="116" y="137"/>
                </a:cubicBezTo>
                <a:cubicBezTo>
                  <a:pt x="116" y="138"/>
                  <a:pt x="116" y="138"/>
                  <a:pt x="116" y="138"/>
                </a:cubicBezTo>
                <a:cubicBezTo>
                  <a:pt x="115" y="139"/>
                  <a:pt x="115" y="139"/>
                  <a:pt x="115" y="139"/>
                </a:cubicBezTo>
                <a:cubicBezTo>
                  <a:pt x="115" y="140"/>
                  <a:pt x="115" y="140"/>
                  <a:pt x="115" y="140"/>
                </a:cubicBezTo>
                <a:cubicBezTo>
                  <a:pt x="116" y="140"/>
                  <a:pt x="116" y="140"/>
                  <a:pt x="116" y="140"/>
                </a:cubicBezTo>
                <a:cubicBezTo>
                  <a:pt x="117" y="140"/>
                  <a:pt x="117" y="140"/>
                  <a:pt x="117" y="140"/>
                </a:cubicBezTo>
                <a:cubicBezTo>
                  <a:pt x="117" y="141"/>
                  <a:pt x="117" y="141"/>
                  <a:pt x="117" y="141"/>
                </a:cubicBezTo>
                <a:cubicBezTo>
                  <a:pt x="117" y="141"/>
                  <a:pt x="117" y="141"/>
                  <a:pt x="117" y="141"/>
                </a:cubicBezTo>
                <a:cubicBezTo>
                  <a:pt x="117" y="142"/>
                  <a:pt x="117" y="142"/>
                  <a:pt x="117" y="142"/>
                </a:cubicBezTo>
                <a:cubicBezTo>
                  <a:pt x="116" y="143"/>
                  <a:pt x="116" y="143"/>
                  <a:pt x="116" y="143"/>
                </a:cubicBezTo>
                <a:cubicBezTo>
                  <a:pt x="116" y="143"/>
                  <a:pt x="116" y="143"/>
                  <a:pt x="116" y="143"/>
                </a:cubicBezTo>
                <a:cubicBezTo>
                  <a:pt x="114" y="143"/>
                  <a:pt x="114" y="143"/>
                  <a:pt x="114" y="143"/>
                </a:cubicBezTo>
                <a:cubicBezTo>
                  <a:pt x="113" y="143"/>
                  <a:pt x="113" y="143"/>
                  <a:pt x="113" y="143"/>
                </a:cubicBezTo>
                <a:cubicBezTo>
                  <a:pt x="112" y="144"/>
                  <a:pt x="112" y="144"/>
                  <a:pt x="112" y="144"/>
                </a:cubicBezTo>
                <a:cubicBezTo>
                  <a:pt x="113" y="145"/>
                  <a:pt x="113" y="145"/>
                  <a:pt x="113" y="145"/>
                </a:cubicBezTo>
                <a:cubicBezTo>
                  <a:pt x="112" y="146"/>
                  <a:pt x="112" y="146"/>
                  <a:pt x="112" y="146"/>
                </a:cubicBezTo>
                <a:cubicBezTo>
                  <a:pt x="111" y="147"/>
                  <a:pt x="111" y="147"/>
                  <a:pt x="111" y="147"/>
                </a:cubicBezTo>
                <a:cubicBezTo>
                  <a:pt x="110" y="147"/>
                  <a:pt x="110" y="147"/>
                  <a:pt x="110" y="147"/>
                </a:cubicBezTo>
                <a:cubicBezTo>
                  <a:pt x="109" y="146"/>
                  <a:pt x="109" y="146"/>
                  <a:pt x="109" y="146"/>
                </a:cubicBezTo>
                <a:cubicBezTo>
                  <a:pt x="109" y="145"/>
                  <a:pt x="109" y="145"/>
                  <a:pt x="109" y="145"/>
                </a:cubicBezTo>
                <a:cubicBezTo>
                  <a:pt x="109" y="145"/>
                  <a:pt x="109" y="145"/>
                  <a:pt x="109" y="145"/>
                </a:cubicBezTo>
                <a:cubicBezTo>
                  <a:pt x="108" y="147"/>
                  <a:pt x="108" y="147"/>
                  <a:pt x="108" y="147"/>
                </a:cubicBezTo>
                <a:cubicBezTo>
                  <a:pt x="108" y="148"/>
                  <a:pt x="108" y="148"/>
                  <a:pt x="108" y="148"/>
                </a:cubicBezTo>
                <a:cubicBezTo>
                  <a:pt x="110" y="149"/>
                  <a:pt x="110" y="149"/>
                  <a:pt x="110" y="149"/>
                </a:cubicBezTo>
                <a:cubicBezTo>
                  <a:pt x="110" y="149"/>
                  <a:pt x="110" y="149"/>
                  <a:pt x="110" y="149"/>
                </a:cubicBezTo>
                <a:cubicBezTo>
                  <a:pt x="111" y="149"/>
                  <a:pt x="111" y="149"/>
                  <a:pt x="111" y="149"/>
                </a:cubicBezTo>
                <a:cubicBezTo>
                  <a:pt x="111" y="150"/>
                  <a:pt x="111" y="150"/>
                  <a:pt x="111" y="150"/>
                </a:cubicBezTo>
                <a:cubicBezTo>
                  <a:pt x="110" y="151"/>
                  <a:pt x="110" y="151"/>
                  <a:pt x="110" y="151"/>
                </a:cubicBezTo>
                <a:cubicBezTo>
                  <a:pt x="110" y="152"/>
                  <a:pt x="110" y="152"/>
                  <a:pt x="110" y="152"/>
                </a:cubicBezTo>
                <a:cubicBezTo>
                  <a:pt x="111" y="152"/>
                  <a:pt x="111" y="152"/>
                  <a:pt x="111" y="152"/>
                </a:cubicBezTo>
                <a:cubicBezTo>
                  <a:pt x="112" y="151"/>
                  <a:pt x="112" y="151"/>
                  <a:pt x="112" y="151"/>
                </a:cubicBezTo>
                <a:cubicBezTo>
                  <a:pt x="112" y="151"/>
                  <a:pt x="112" y="151"/>
                  <a:pt x="112" y="151"/>
                </a:cubicBezTo>
                <a:cubicBezTo>
                  <a:pt x="113" y="152"/>
                  <a:pt x="113" y="152"/>
                  <a:pt x="113" y="152"/>
                </a:cubicBezTo>
                <a:cubicBezTo>
                  <a:pt x="114" y="152"/>
                  <a:pt x="114" y="152"/>
                  <a:pt x="114" y="152"/>
                </a:cubicBezTo>
                <a:cubicBezTo>
                  <a:pt x="115" y="151"/>
                  <a:pt x="115" y="151"/>
                  <a:pt x="115" y="151"/>
                </a:cubicBezTo>
                <a:cubicBezTo>
                  <a:pt x="115" y="151"/>
                  <a:pt x="115" y="151"/>
                  <a:pt x="115" y="151"/>
                </a:cubicBezTo>
                <a:cubicBezTo>
                  <a:pt x="115" y="152"/>
                  <a:pt x="115" y="152"/>
                  <a:pt x="115" y="152"/>
                </a:cubicBezTo>
                <a:cubicBezTo>
                  <a:pt x="114" y="153"/>
                  <a:pt x="114" y="153"/>
                  <a:pt x="114" y="153"/>
                </a:cubicBezTo>
                <a:cubicBezTo>
                  <a:pt x="112" y="152"/>
                  <a:pt x="112" y="152"/>
                  <a:pt x="112" y="152"/>
                </a:cubicBezTo>
                <a:cubicBezTo>
                  <a:pt x="112" y="153"/>
                  <a:pt x="112" y="153"/>
                  <a:pt x="112" y="153"/>
                </a:cubicBezTo>
                <a:cubicBezTo>
                  <a:pt x="111" y="153"/>
                  <a:pt x="111" y="153"/>
                  <a:pt x="111" y="153"/>
                </a:cubicBezTo>
                <a:cubicBezTo>
                  <a:pt x="111" y="154"/>
                  <a:pt x="111" y="154"/>
                  <a:pt x="111" y="154"/>
                </a:cubicBezTo>
                <a:cubicBezTo>
                  <a:pt x="111" y="155"/>
                  <a:pt x="111" y="155"/>
                  <a:pt x="111" y="155"/>
                </a:cubicBezTo>
                <a:cubicBezTo>
                  <a:pt x="112" y="156"/>
                  <a:pt x="112" y="156"/>
                  <a:pt x="112" y="156"/>
                </a:cubicBezTo>
                <a:cubicBezTo>
                  <a:pt x="113" y="156"/>
                  <a:pt x="113" y="156"/>
                  <a:pt x="113" y="156"/>
                </a:cubicBezTo>
                <a:cubicBezTo>
                  <a:pt x="114" y="155"/>
                  <a:pt x="114" y="155"/>
                  <a:pt x="114" y="155"/>
                </a:cubicBezTo>
                <a:cubicBezTo>
                  <a:pt x="114" y="156"/>
                  <a:pt x="114" y="156"/>
                  <a:pt x="114" y="156"/>
                </a:cubicBezTo>
                <a:cubicBezTo>
                  <a:pt x="114" y="156"/>
                  <a:pt x="114" y="156"/>
                  <a:pt x="114" y="156"/>
                </a:cubicBezTo>
                <a:cubicBezTo>
                  <a:pt x="112" y="157"/>
                  <a:pt x="112" y="157"/>
                  <a:pt x="112" y="157"/>
                </a:cubicBezTo>
                <a:cubicBezTo>
                  <a:pt x="111" y="157"/>
                  <a:pt x="111" y="157"/>
                  <a:pt x="111" y="157"/>
                </a:cubicBezTo>
                <a:cubicBezTo>
                  <a:pt x="110" y="157"/>
                  <a:pt x="110" y="157"/>
                  <a:pt x="110" y="157"/>
                </a:cubicBezTo>
                <a:cubicBezTo>
                  <a:pt x="110" y="158"/>
                  <a:pt x="110" y="158"/>
                  <a:pt x="110" y="158"/>
                </a:cubicBezTo>
                <a:cubicBezTo>
                  <a:pt x="111" y="158"/>
                  <a:pt x="111" y="158"/>
                  <a:pt x="111" y="158"/>
                </a:cubicBezTo>
                <a:cubicBezTo>
                  <a:pt x="112" y="158"/>
                  <a:pt x="112" y="158"/>
                  <a:pt x="112" y="158"/>
                </a:cubicBezTo>
                <a:cubicBezTo>
                  <a:pt x="113" y="158"/>
                  <a:pt x="113" y="158"/>
                  <a:pt x="113" y="158"/>
                </a:cubicBezTo>
                <a:cubicBezTo>
                  <a:pt x="113" y="159"/>
                  <a:pt x="113" y="159"/>
                  <a:pt x="113" y="159"/>
                </a:cubicBezTo>
                <a:cubicBezTo>
                  <a:pt x="112" y="159"/>
                  <a:pt x="112" y="159"/>
                  <a:pt x="112" y="159"/>
                </a:cubicBezTo>
                <a:cubicBezTo>
                  <a:pt x="111" y="159"/>
                  <a:pt x="111" y="159"/>
                  <a:pt x="111" y="159"/>
                </a:cubicBezTo>
                <a:cubicBezTo>
                  <a:pt x="111" y="160"/>
                  <a:pt x="111" y="160"/>
                  <a:pt x="111" y="160"/>
                </a:cubicBezTo>
                <a:cubicBezTo>
                  <a:pt x="111" y="160"/>
                  <a:pt x="111" y="160"/>
                  <a:pt x="111" y="160"/>
                </a:cubicBezTo>
                <a:cubicBezTo>
                  <a:pt x="113" y="160"/>
                  <a:pt x="113" y="160"/>
                  <a:pt x="113" y="160"/>
                </a:cubicBezTo>
                <a:cubicBezTo>
                  <a:pt x="115" y="162"/>
                  <a:pt x="115" y="162"/>
                  <a:pt x="115" y="162"/>
                </a:cubicBezTo>
                <a:cubicBezTo>
                  <a:pt x="116" y="162"/>
                  <a:pt x="116" y="162"/>
                  <a:pt x="116" y="162"/>
                </a:cubicBezTo>
                <a:cubicBezTo>
                  <a:pt x="116" y="162"/>
                  <a:pt x="116" y="162"/>
                  <a:pt x="116" y="162"/>
                </a:cubicBezTo>
                <a:cubicBezTo>
                  <a:pt x="116" y="163"/>
                  <a:pt x="116" y="163"/>
                  <a:pt x="116" y="163"/>
                </a:cubicBezTo>
                <a:cubicBezTo>
                  <a:pt x="115" y="162"/>
                  <a:pt x="115" y="162"/>
                  <a:pt x="115" y="162"/>
                </a:cubicBezTo>
                <a:cubicBezTo>
                  <a:pt x="114" y="162"/>
                  <a:pt x="114" y="162"/>
                  <a:pt x="114" y="162"/>
                </a:cubicBezTo>
                <a:cubicBezTo>
                  <a:pt x="113" y="162"/>
                  <a:pt x="113" y="162"/>
                  <a:pt x="113" y="162"/>
                </a:cubicBezTo>
                <a:cubicBezTo>
                  <a:pt x="112" y="161"/>
                  <a:pt x="112" y="161"/>
                  <a:pt x="112" y="161"/>
                </a:cubicBezTo>
                <a:cubicBezTo>
                  <a:pt x="111" y="161"/>
                  <a:pt x="111" y="161"/>
                  <a:pt x="111" y="161"/>
                </a:cubicBezTo>
                <a:cubicBezTo>
                  <a:pt x="110" y="162"/>
                  <a:pt x="110" y="162"/>
                  <a:pt x="110" y="162"/>
                </a:cubicBezTo>
                <a:cubicBezTo>
                  <a:pt x="110" y="162"/>
                  <a:pt x="110" y="162"/>
                  <a:pt x="110" y="162"/>
                </a:cubicBezTo>
                <a:cubicBezTo>
                  <a:pt x="109" y="163"/>
                  <a:pt x="109" y="163"/>
                  <a:pt x="109" y="163"/>
                </a:cubicBezTo>
                <a:cubicBezTo>
                  <a:pt x="109" y="164"/>
                  <a:pt x="109" y="164"/>
                  <a:pt x="109" y="164"/>
                </a:cubicBezTo>
                <a:cubicBezTo>
                  <a:pt x="110" y="164"/>
                  <a:pt x="110" y="164"/>
                  <a:pt x="110" y="164"/>
                </a:cubicBezTo>
                <a:cubicBezTo>
                  <a:pt x="109" y="165"/>
                  <a:pt x="109" y="165"/>
                  <a:pt x="109" y="165"/>
                </a:cubicBezTo>
                <a:cubicBezTo>
                  <a:pt x="109" y="165"/>
                  <a:pt x="109" y="165"/>
                  <a:pt x="109" y="165"/>
                </a:cubicBezTo>
                <a:cubicBezTo>
                  <a:pt x="108" y="165"/>
                  <a:pt x="108" y="165"/>
                  <a:pt x="108" y="165"/>
                </a:cubicBezTo>
                <a:cubicBezTo>
                  <a:pt x="108" y="166"/>
                  <a:pt x="108" y="166"/>
                  <a:pt x="108" y="166"/>
                </a:cubicBezTo>
                <a:cubicBezTo>
                  <a:pt x="107" y="167"/>
                  <a:pt x="107" y="167"/>
                  <a:pt x="107" y="167"/>
                </a:cubicBezTo>
                <a:cubicBezTo>
                  <a:pt x="107" y="167"/>
                  <a:pt x="107" y="167"/>
                  <a:pt x="107" y="167"/>
                </a:cubicBezTo>
                <a:cubicBezTo>
                  <a:pt x="107" y="168"/>
                  <a:pt x="107" y="168"/>
                  <a:pt x="107" y="168"/>
                </a:cubicBezTo>
                <a:cubicBezTo>
                  <a:pt x="106" y="168"/>
                  <a:pt x="106" y="168"/>
                  <a:pt x="106" y="168"/>
                </a:cubicBezTo>
                <a:cubicBezTo>
                  <a:pt x="106" y="168"/>
                  <a:pt x="106" y="168"/>
                  <a:pt x="106" y="168"/>
                </a:cubicBezTo>
                <a:cubicBezTo>
                  <a:pt x="107" y="170"/>
                  <a:pt x="107" y="170"/>
                  <a:pt x="107" y="170"/>
                </a:cubicBezTo>
                <a:cubicBezTo>
                  <a:pt x="108" y="170"/>
                  <a:pt x="108" y="170"/>
                  <a:pt x="108" y="170"/>
                </a:cubicBezTo>
                <a:cubicBezTo>
                  <a:pt x="109" y="170"/>
                  <a:pt x="109" y="170"/>
                  <a:pt x="109" y="170"/>
                </a:cubicBezTo>
                <a:cubicBezTo>
                  <a:pt x="109" y="169"/>
                  <a:pt x="109" y="169"/>
                  <a:pt x="109" y="169"/>
                </a:cubicBezTo>
                <a:cubicBezTo>
                  <a:pt x="110" y="169"/>
                  <a:pt x="110" y="169"/>
                  <a:pt x="110" y="169"/>
                </a:cubicBezTo>
                <a:cubicBezTo>
                  <a:pt x="112" y="167"/>
                  <a:pt x="112" y="167"/>
                  <a:pt x="112" y="167"/>
                </a:cubicBezTo>
                <a:cubicBezTo>
                  <a:pt x="113" y="167"/>
                  <a:pt x="113" y="167"/>
                  <a:pt x="113" y="167"/>
                </a:cubicBezTo>
                <a:cubicBezTo>
                  <a:pt x="114" y="167"/>
                  <a:pt x="114" y="167"/>
                  <a:pt x="114" y="167"/>
                </a:cubicBezTo>
                <a:cubicBezTo>
                  <a:pt x="115" y="168"/>
                  <a:pt x="115" y="168"/>
                  <a:pt x="115" y="168"/>
                </a:cubicBezTo>
                <a:cubicBezTo>
                  <a:pt x="115" y="168"/>
                  <a:pt x="115" y="168"/>
                  <a:pt x="115" y="168"/>
                </a:cubicBezTo>
                <a:cubicBezTo>
                  <a:pt x="114" y="168"/>
                  <a:pt x="114" y="168"/>
                  <a:pt x="114" y="168"/>
                </a:cubicBezTo>
                <a:cubicBezTo>
                  <a:pt x="113" y="168"/>
                  <a:pt x="113" y="168"/>
                  <a:pt x="113" y="168"/>
                </a:cubicBezTo>
                <a:cubicBezTo>
                  <a:pt x="113" y="168"/>
                  <a:pt x="113" y="168"/>
                  <a:pt x="113" y="168"/>
                </a:cubicBezTo>
                <a:cubicBezTo>
                  <a:pt x="112" y="168"/>
                  <a:pt x="112" y="168"/>
                  <a:pt x="112" y="168"/>
                </a:cubicBezTo>
                <a:cubicBezTo>
                  <a:pt x="111" y="169"/>
                  <a:pt x="111" y="169"/>
                  <a:pt x="111" y="169"/>
                </a:cubicBezTo>
                <a:cubicBezTo>
                  <a:pt x="110" y="170"/>
                  <a:pt x="110" y="170"/>
                  <a:pt x="110" y="170"/>
                </a:cubicBezTo>
                <a:cubicBezTo>
                  <a:pt x="110" y="172"/>
                  <a:pt x="110" y="172"/>
                  <a:pt x="110" y="172"/>
                </a:cubicBezTo>
                <a:cubicBezTo>
                  <a:pt x="110" y="173"/>
                  <a:pt x="110" y="173"/>
                  <a:pt x="110" y="173"/>
                </a:cubicBezTo>
                <a:cubicBezTo>
                  <a:pt x="110" y="173"/>
                  <a:pt x="110" y="173"/>
                  <a:pt x="110" y="173"/>
                </a:cubicBezTo>
                <a:cubicBezTo>
                  <a:pt x="110" y="173"/>
                  <a:pt x="110" y="174"/>
                  <a:pt x="110" y="174"/>
                </a:cubicBezTo>
                <a:close/>
                <a:moveTo>
                  <a:pt x="115" y="208"/>
                </a:moveTo>
                <a:cubicBezTo>
                  <a:pt x="116" y="208"/>
                  <a:pt x="116" y="208"/>
                  <a:pt x="116" y="208"/>
                </a:cubicBezTo>
                <a:cubicBezTo>
                  <a:pt x="116" y="207"/>
                  <a:pt x="116" y="207"/>
                  <a:pt x="116" y="207"/>
                </a:cubicBezTo>
                <a:cubicBezTo>
                  <a:pt x="115" y="206"/>
                  <a:pt x="115" y="206"/>
                  <a:pt x="115" y="206"/>
                </a:cubicBezTo>
                <a:cubicBezTo>
                  <a:pt x="116" y="205"/>
                  <a:pt x="116" y="205"/>
                  <a:pt x="116" y="205"/>
                </a:cubicBezTo>
                <a:cubicBezTo>
                  <a:pt x="116" y="204"/>
                  <a:pt x="116" y="204"/>
                  <a:pt x="116" y="204"/>
                </a:cubicBezTo>
                <a:cubicBezTo>
                  <a:pt x="114" y="204"/>
                  <a:pt x="114" y="204"/>
                  <a:pt x="114" y="204"/>
                </a:cubicBezTo>
                <a:cubicBezTo>
                  <a:pt x="114" y="203"/>
                  <a:pt x="114" y="203"/>
                  <a:pt x="114" y="203"/>
                </a:cubicBezTo>
                <a:cubicBezTo>
                  <a:pt x="113" y="203"/>
                  <a:pt x="113" y="203"/>
                  <a:pt x="113" y="203"/>
                </a:cubicBezTo>
                <a:cubicBezTo>
                  <a:pt x="112" y="203"/>
                  <a:pt x="112" y="203"/>
                  <a:pt x="112" y="203"/>
                </a:cubicBezTo>
                <a:cubicBezTo>
                  <a:pt x="111" y="204"/>
                  <a:pt x="111" y="204"/>
                  <a:pt x="111" y="204"/>
                </a:cubicBezTo>
                <a:cubicBezTo>
                  <a:pt x="111" y="204"/>
                  <a:pt x="111" y="204"/>
                  <a:pt x="111" y="204"/>
                </a:cubicBezTo>
                <a:cubicBezTo>
                  <a:pt x="112" y="205"/>
                  <a:pt x="112" y="205"/>
                  <a:pt x="112" y="205"/>
                </a:cubicBezTo>
                <a:cubicBezTo>
                  <a:pt x="112" y="205"/>
                  <a:pt x="112" y="205"/>
                  <a:pt x="112" y="205"/>
                </a:cubicBezTo>
                <a:cubicBezTo>
                  <a:pt x="113" y="205"/>
                  <a:pt x="113" y="205"/>
                  <a:pt x="113" y="205"/>
                </a:cubicBezTo>
                <a:cubicBezTo>
                  <a:pt x="113" y="206"/>
                  <a:pt x="113" y="206"/>
                  <a:pt x="113" y="206"/>
                </a:cubicBezTo>
                <a:cubicBezTo>
                  <a:pt x="114" y="206"/>
                  <a:pt x="114" y="206"/>
                  <a:pt x="114" y="206"/>
                </a:cubicBezTo>
                <a:cubicBezTo>
                  <a:pt x="115" y="208"/>
                  <a:pt x="115" y="208"/>
                  <a:pt x="115" y="208"/>
                </a:cubicBezTo>
                <a:close/>
                <a:moveTo>
                  <a:pt x="138" y="208"/>
                </a:moveTo>
                <a:cubicBezTo>
                  <a:pt x="137" y="207"/>
                  <a:pt x="137" y="207"/>
                  <a:pt x="137" y="207"/>
                </a:cubicBezTo>
                <a:cubicBezTo>
                  <a:pt x="136" y="207"/>
                  <a:pt x="136" y="207"/>
                  <a:pt x="136" y="207"/>
                </a:cubicBezTo>
                <a:cubicBezTo>
                  <a:pt x="135" y="207"/>
                  <a:pt x="135" y="207"/>
                  <a:pt x="135" y="207"/>
                </a:cubicBezTo>
                <a:cubicBezTo>
                  <a:pt x="134" y="205"/>
                  <a:pt x="134" y="205"/>
                  <a:pt x="134" y="205"/>
                </a:cubicBezTo>
                <a:cubicBezTo>
                  <a:pt x="133" y="205"/>
                  <a:pt x="133" y="205"/>
                  <a:pt x="133" y="205"/>
                </a:cubicBezTo>
                <a:cubicBezTo>
                  <a:pt x="131" y="203"/>
                  <a:pt x="131" y="203"/>
                  <a:pt x="131" y="203"/>
                </a:cubicBezTo>
                <a:cubicBezTo>
                  <a:pt x="130" y="202"/>
                  <a:pt x="130" y="202"/>
                  <a:pt x="130" y="202"/>
                </a:cubicBezTo>
                <a:cubicBezTo>
                  <a:pt x="128" y="202"/>
                  <a:pt x="128" y="202"/>
                  <a:pt x="128" y="202"/>
                </a:cubicBezTo>
                <a:cubicBezTo>
                  <a:pt x="127" y="199"/>
                  <a:pt x="127" y="199"/>
                  <a:pt x="127" y="199"/>
                </a:cubicBezTo>
                <a:cubicBezTo>
                  <a:pt x="125" y="197"/>
                  <a:pt x="125" y="197"/>
                  <a:pt x="125" y="197"/>
                </a:cubicBezTo>
                <a:cubicBezTo>
                  <a:pt x="124" y="194"/>
                  <a:pt x="124" y="194"/>
                  <a:pt x="124" y="194"/>
                </a:cubicBezTo>
                <a:cubicBezTo>
                  <a:pt x="123" y="192"/>
                  <a:pt x="123" y="192"/>
                  <a:pt x="123" y="192"/>
                </a:cubicBezTo>
                <a:cubicBezTo>
                  <a:pt x="123" y="189"/>
                  <a:pt x="123" y="189"/>
                  <a:pt x="123" y="189"/>
                </a:cubicBezTo>
                <a:cubicBezTo>
                  <a:pt x="122" y="187"/>
                  <a:pt x="122" y="187"/>
                  <a:pt x="122" y="187"/>
                </a:cubicBezTo>
                <a:cubicBezTo>
                  <a:pt x="121" y="184"/>
                  <a:pt x="121" y="184"/>
                  <a:pt x="121" y="184"/>
                </a:cubicBezTo>
                <a:cubicBezTo>
                  <a:pt x="121" y="183"/>
                  <a:pt x="121" y="183"/>
                  <a:pt x="121" y="183"/>
                </a:cubicBezTo>
                <a:cubicBezTo>
                  <a:pt x="122" y="182"/>
                  <a:pt x="122" y="182"/>
                  <a:pt x="122" y="182"/>
                </a:cubicBezTo>
                <a:cubicBezTo>
                  <a:pt x="121" y="181"/>
                  <a:pt x="121" y="181"/>
                  <a:pt x="121" y="181"/>
                </a:cubicBezTo>
                <a:cubicBezTo>
                  <a:pt x="120" y="181"/>
                  <a:pt x="120" y="181"/>
                  <a:pt x="120" y="181"/>
                </a:cubicBezTo>
                <a:cubicBezTo>
                  <a:pt x="119" y="181"/>
                  <a:pt x="119" y="181"/>
                  <a:pt x="119" y="181"/>
                </a:cubicBezTo>
                <a:cubicBezTo>
                  <a:pt x="119" y="181"/>
                  <a:pt x="119" y="181"/>
                  <a:pt x="119" y="181"/>
                </a:cubicBezTo>
                <a:cubicBezTo>
                  <a:pt x="119" y="180"/>
                  <a:pt x="119" y="180"/>
                  <a:pt x="119" y="180"/>
                </a:cubicBezTo>
                <a:cubicBezTo>
                  <a:pt x="121" y="180"/>
                  <a:pt x="121" y="180"/>
                  <a:pt x="121" y="180"/>
                </a:cubicBezTo>
                <a:cubicBezTo>
                  <a:pt x="122" y="180"/>
                  <a:pt x="122" y="180"/>
                  <a:pt x="122" y="180"/>
                </a:cubicBezTo>
                <a:cubicBezTo>
                  <a:pt x="122" y="177"/>
                  <a:pt x="122" y="177"/>
                  <a:pt x="122" y="177"/>
                </a:cubicBezTo>
                <a:cubicBezTo>
                  <a:pt x="122" y="176"/>
                  <a:pt x="122" y="176"/>
                  <a:pt x="122" y="176"/>
                </a:cubicBezTo>
                <a:cubicBezTo>
                  <a:pt x="121" y="176"/>
                  <a:pt x="121" y="176"/>
                  <a:pt x="121" y="176"/>
                </a:cubicBezTo>
                <a:cubicBezTo>
                  <a:pt x="120" y="177"/>
                  <a:pt x="120" y="177"/>
                  <a:pt x="120" y="177"/>
                </a:cubicBezTo>
                <a:cubicBezTo>
                  <a:pt x="120" y="176"/>
                  <a:pt x="120" y="176"/>
                  <a:pt x="120" y="176"/>
                </a:cubicBezTo>
                <a:cubicBezTo>
                  <a:pt x="122" y="175"/>
                  <a:pt x="122" y="175"/>
                  <a:pt x="122" y="175"/>
                </a:cubicBezTo>
                <a:cubicBezTo>
                  <a:pt x="122" y="175"/>
                  <a:pt x="122" y="175"/>
                  <a:pt x="122" y="175"/>
                </a:cubicBezTo>
                <a:cubicBezTo>
                  <a:pt x="122" y="174"/>
                  <a:pt x="122" y="174"/>
                  <a:pt x="122" y="174"/>
                </a:cubicBezTo>
                <a:cubicBezTo>
                  <a:pt x="119" y="174"/>
                  <a:pt x="119" y="174"/>
                  <a:pt x="119" y="174"/>
                </a:cubicBezTo>
                <a:cubicBezTo>
                  <a:pt x="116" y="174"/>
                  <a:pt x="116" y="174"/>
                  <a:pt x="116" y="174"/>
                </a:cubicBezTo>
                <a:cubicBezTo>
                  <a:pt x="115" y="173"/>
                  <a:pt x="115" y="173"/>
                  <a:pt x="115" y="173"/>
                </a:cubicBezTo>
                <a:cubicBezTo>
                  <a:pt x="114" y="173"/>
                  <a:pt x="114" y="173"/>
                  <a:pt x="114" y="173"/>
                </a:cubicBezTo>
                <a:cubicBezTo>
                  <a:pt x="112" y="174"/>
                  <a:pt x="112" y="174"/>
                  <a:pt x="112" y="174"/>
                </a:cubicBezTo>
                <a:cubicBezTo>
                  <a:pt x="110" y="174"/>
                  <a:pt x="110" y="174"/>
                  <a:pt x="110" y="174"/>
                </a:cubicBezTo>
                <a:cubicBezTo>
                  <a:pt x="109" y="175"/>
                  <a:pt x="109" y="175"/>
                  <a:pt x="109" y="175"/>
                </a:cubicBezTo>
                <a:cubicBezTo>
                  <a:pt x="107" y="176"/>
                  <a:pt x="107" y="176"/>
                  <a:pt x="107" y="176"/>
                </a:cubicBezTo>
                <a:cubicBezTo>
                  <a:pt x="107" y="178"/>
                  <a:pt x="107" y="178"/>
                  <a:pt x="107" y="178"/>
                </a:cubicBezTo>
                <a:cubicBezTo>
                  <a:pt x="107" y="178"/>
                  <a:pt x="107" y="178"/>
                  <a:pt x="107" y="178"/>
                </a:cubicBezTo>
                <a:cubicBezTo>
                  <a:pt x="107" y="180"/>
                  <a:pt x="107" y="180"/>
                  <a:pt x="107" y="180"/>
                </a:cubicBezTo>
                <a:cubicBezTo>
                  <a:pt x="108" y="180"/>
                  <a:pt x="108" y="180"/>
                  <a:pt x="108" y="180"/>
                </a:cubicBezTo>
                <a:cubicBezTo>
                  <a:pt x="109" y="180"/>
                  <a:pt x="109" y="180"/>
                  <a:pt x="109" y="180"/>
                </a:cubicBezTo>
                <a:cubicBezTo>
                  <a:pt x="108" y="181"/>
                  <a:pt x="108" y="181"/>
                  <a:pt x="108" y="181"/>
                </a:cubicBezTo>
                <a:cubicBezTo>
                  <a:pt x="107" y="181"/>
                  <a:pt x="107" y="181"/>
                  <a:pt x="107" y="181"/>
                </a:cubicBezTo>
                <a:cubicBezTo>
                  <a:pt x="106" y="181"/>
                  <a:pt x="106" y="181"/>
                  <a:pt x="106" y="181"/>
                </a:cubicBezTo>
                <a:cubicBezTo>
                  <a:pt x="105" y="183"/>
                  <a:pt x="105" y="183"/>
                  <a:pt x="105" y="183"/>
                </a:cubicBezTo>
                <a:cubicBezTo>
                  <a:pt x="105" y="184"/>
                  <a:pt x="105" y="184"/>
                  <a:pt x="105" y="184"/>
                </a:cubicBezTo>
                <a:cubicBezTo>
                  <a:pt x="105" y="185"/>
                  <a:pt x="105" y="185"/>
                  <a:pt x="105" y="185"/>
                </a:cubicBezTo>
                <a:cubicBezTo>
                  <a:pt x="106" y="185"/>
                  <a:pt x="106" y="185"/>
                  <a:pt x="106" y="185"/>
                </a:cubicBezTo>
                <a:cubicBezTo>
                  <a:pt x="108" y="184"/>
                  <a:pt x="108" y="184"/>
                  <a:pt x="108" y="184"/>
                </a:cubicBezTo>
                <a:cubicBezTo>
                  <a:pt x="108" y="184"/>
                  <a:pt x="108" y="184"/>
                  <a:pt x="108" y="184"/>
                </a:cubicBezTo>
                <a:cubicBezTo>
                  <a:pt x="107" y="185"/>
                  <a:pt x="107" y="185"/>
                  <a:pt x="107" y="185"/>
                </a:cubicBezTo>
                <a:cubicBezTo>
                  <a:pt x="107" y="187"/>
                  <a:pt x="107" y="187"/>
                  <a:pt x="107" y="187"/>
                </a:cubicBezTo>
                <a:cubicBezTo>
                  <a:pt x="108" y="187"/>
                  <a:pt x="108" y="187"/>
                  <a:pt x="108" y="187"/>
                </a:cubicBezTo>
                <a:cubicBezTo>
                  <a:pt x="108" y="186"/>
                  <a:pt x="108" y="186"/>
                  <a:pt x="108" y="186"/>
                </a:cubicBezTo>
                <a:cubicBezTo>
                  <a:pt x="109" y="185"/>
                  <a:pt x="109" y="185"/>
                  <a:pt x="109" y="185"/>
                </a:cubicBezTo>
                <a:cubicBezTo>
                  <a:pt x="110" y="186"/>
                  <a:pt x="110" y="186"/>
                  <a:pt x="110" y="186"/>
                </a:cubicBezTo>
                <a:cubicBezTo>
                  <a:pt x="109" y="187"/>
                  <a:pt x="109" y="187"/>
                  <a:pt x="109" y="187"/>
                </a:cubicBezTo>
                <a:cubicBezTo>
                  <a:pt x="108" y="188"/>
                  <a:pt x="108" y="188"/>
                  <a:pt x="108" y="188"/>
                </a:cubicBezTo>
                <a:cubicBezTo>
                  <a:pt x="109" y="189"/>
                  <a:pt x="109" y="189"/>
                  <a:pt x="109" y="189"/>
                </a:cubicBezTo>
                <a:cubicBezTo>
                  <a:pt x="110" y="189"/>
                  <a:pt x="110" y="189"/>
                  <a:pt x="110" y="189"/>
                </a:cubicBezTo>
                <a:cubicBezTo>
                  <a:pt x="110" y="189"/>
                  <a:pt x="110" y="189"/>
                  <a:pt x="110" y="189"/>
                </a:cubicBezTo>
                <a:cubicBezTo>
                  <a:pt x="109" y="189"/>
                  <a:pt x="109" y="189"/>
                  <a:pt x="109" y="189"/>
                </a:cubicBezTo>
                <a:cubicBezTo>
                  <a:pt x="108" y="190"/>
                  <a:pt x="108" y="190"/>
                  <a:pt x="108" y="190"/>
                </a:cubicBezTo>
                <a:cubicBezTo>
                  <a:pt x="108" y="191"/>
                  <a:pt x="108" y="191"/>
                  <a:pt x="108" y="191"/>
                </a:cubicBezTo>
                <a:cubicBezTo>
                  <a:pt x="109" y="192"/>
                  <a:pt x="109" y="192"/>
                  <a:pt x="109" y="192"/>
                </a:cubicBezTo>
                <a:cubicBezTo>
                  <a:pt x="108" y="192"/>
                  <a:pt x="108" y="192"/>
                  <a:pt x="108" y="192"/>
                </a:cubicBezTo>
                <a:cubicBezTo>
                  <a:pt x="108" y="192"/>
                  <a:pt x="108" y="192"/>
                  <a:pt x="108" y="192"/>
                </a:cubicBezTo>
                <a:cubicBezTo>
                  <a:pt x="107" y="192"/>
                  <a:pt x="107" y="192"/>
                  <a:pt x="107" y="192"/>
                </a:cubicBezTo>
                <a:cubicBezTo>
                  <a:pt x="106" y="192"/>
                  <a:pt x="106" y="192"/>
                  <a:pt x="106" y="192"/>
                </a:cubicBezTo>
                <a:cubicBezTo>
                  <a:pt x="105" y="192"/>
                  <a:pt x="105" y="192"/>
                  <a:pt x="105" y="192"/>
                </a:cubicBezTo>
                <a:cubicBezTo>
                  <a:pt x="104" y="193"/>
                  <a:pt x="104" y="193"/>
                  <a:pt x="104" y="193"/>
                </a:cubicBezTo>
                <a:cubicBezTo>
                  <a:pt x="104" y="195"/>
                  <a:pt x="104" y="195"/>
                  <a:pt x="104" y="195"/>
                </a:cubicBezTo>
                <a:cubicBezTo>
                  <a:pt x="104" y="196"/>
                  <a:pt x="104" y="196"/>
                  <a:pt x="104" y="196"/>
                </a:cubicBezTo>
                <a:cubicBezTo>
                  <a:pt x="104" y="198"/>
                  <a:pt x="104" y="198"/>
                  <a:pt x="104" y="198"/>
                </a:cubicBezTo>
                <a:cubicBezTo>
                  <a:pt x="104" y="199"/>
                  <a:pt x="104" y="199"/>
                  <a:pt x="104" y="199"/>
                </a:cubicBezTo>
                <a:cubicBezTo>
                  <a:pt x="106" y="200"/>
                  <a:pt x="106" y="200"/>
                  <a:pt x="106" y="200"/>
                </a:cubicBezTo>
                <a:cubicBezTo>
                  <a:pt x="106" y="201"/>
                  <a:pt x="106" y="201"/>
                  <a:pt x="106" y="201"/>
                </a:cubicBezTo>
                <a:cubicBezTo>
                  <a:pt x="108" y="202"/>
                  <a:pt x="108" y="202"/>
                  <a:pt x="108" y="202"/>
                </a:cubicBezTo>
                <a:cubicBezTo>
                  <a:pt x="109" y="203"/>
                  <a:pt x="109" y="203"/>
                  <a:pt x="109" y="203"/>
                </a:cubicBezTo>
                <a:cubicBezTo>
                  <a:pt x="109" y="202"/>
                  <a:pt x="109" y="202"/>
                  <a:pt x="109" y="202"/>
                </a:cubicBezTo>
                <a:cubicBezTo>
                  <a:pt x="110" y="202"/>
                  <a:pt x="110" y="202"/>
                  <a:pt x="110" y="202"/>
                </a:cubicBezTo>
                <a:cubicBezTo>
                  <a:pt x="111" y="201"/>
                  <a:pt x="111" y="201"/>
                  <a:pt x="111" y="201"/>
                </a:cubicBezTo>
                <a:cubicBezTo>
                  <a:pt x="111" y="199"/>
                  <a:pt x="111" y="199"/>
                  <a:pt x="111" y="199"/>
                </a:cubicBezTo>
                <a:cubicBezTo>
                  <a:pt x="111" y="198"/>
                  <a:pt x="111" y="198"/>
                  <a:pt x="111" y="198"/>
                </a:cubicBezTo>
                <a:cubicBezTo>
                  <a:pt x="112" y="196"/>
                  <a:pt x="112" y="196"/>
                  <a:pt x="112" y="196"/>
                </a:cubicBezTo>
                <a:cubicBezTo>
                  <a:pt x="111" y="198"/>
                  <a:pt x="111" y="198"/>
                  <a:pt x="111" y="198"/>
                </a:cubicBezTo>
                <a:cubicBezTo>
                  <a:pt x="111" y="199"/>
                  <a:pt x="111" y="199"/>
                  <a:pt x="111" y="199"/>
                </a:cubicBezTo>
                <a:cubicBezTo>
                  <a:pt x="112" y="200"/>
                  <a:pt x="112" y="200"/>
                  <a:pt x="112" y="200"/>
                </a:cubicBezTo>
                <a:cubicBezTo>
                  <a:pt x="112" y="201"/>
                  <a:pt x="112" y="201"/>
                  <a:pt x="112" y="201"/>
                </a:cubicBezTo>
                <a:cubicBezTo>
                  <a:pt x="113" y="202"/>
                  <a:pt x="113" y="202"/>
                  <a:pt x="113" y="202"/>
                </a:cubicBezTo>
                <a:cubicBezTo>
                  <a:pt x="114" y="201"/>
                  <a:pt x="114" y="201"/>
                  <a:pt x="114" y="201"/>
                </a:cubicBezTo>
                <a:cubicBezTo>
                  <a:pt x="114" y="200"/>
                  <a:pt x="114" y="200"/>
                  <a:pt x="114" y="200"/>
                </a:cubicBezTo>
                <a:cubicBezTo>
                  <a:pt x="115" y="199"/>
                  <a:pt x="115" y="199"/>
                  <a:pt x="115" y="199"/>
                </a:cubicBezTo>
                <a:cubicBezTo>
                  <a:pt x="115" y="199"/>
                  <a:pt x="115" y="199"/>
                  <a:pt x="115" y="199"/>
                </a:cubicBezTo>
                <a:cubicBezTo>
                  <a:pt x="115" y="200"/>
                  <a:pt x="115" y="200"/>
                  <a:pt x="115" y="200"/>
                </a:cubicBezTo>
                <a:cubicBezTo>
                  <a:pt x="115" y="201"/>
                  <a:pt x="115" y="201"/>
                  <a:pt x="115" y="201"/>
                </a:cubicBezTo>
                <a:cubicBezTo>
                  <a:pt x="116" y="203"/>
                  <a:pt x="116" y="203"/>
                  <a:pt x="116" y="203"/>
                </a:cubicBezTo>
                <a:cubicBezTo>
                  <a:pt x="117" y="204"/>
                  <a:pt x="117" y="204"/>
                  <a:pt x="117" y="204"/>
                </a:cubicBezTo>
                <a:cubicBezTo>
                  <a:pt x="118" y="204"/>
                  <a:pt x="118" y="204"/>
                  <a:pt x="118" y="204"/>
                </a:cubicBezTo>
                <a:cubicBezTo>
                  <a:pt x="119" y="203"/>
                  <a:pt x="119" y="203"/>
                  <a:pt x="119" y="203"/>
                </a:cubicBezTo>
                <a:cubicBezTo>
                  <a:pt x="120" y="204"/>
                  <a:pt x="120" y="204"/>
                  <a:pt x="120" y="204"/>
                </a:cubicBezTo>
                <a:cubicBezTo>
                  <a:pt x="120" y="204"/>
                  <a:pt x="120" y="204"/>
                  <a:pt x="120" y="204"/>
                </a:cubicBezTo>
                <a:cubicBezTo>
                  <a:pt x="119" y="204"/>
                  <a:pt x="119" y="204"/>
                  <a:pt x="119" y="204"/>
                </a:cubicBezTo>
                <a:cubicBezTo>
                  <a:pt x="119" y="205"/>
                  <a:pt x="119" y="205"/>
                  <a:pt x="119" y="205"/>
                </a:cubicBezTo>
                <a:cubicBezTo>
                  <a:pt x="118" y="205"/>
                  <a:pt x="118" y="205"/>
                  <a:pt x="118" y="205"/>
                </a:cubicBezTo>
                <a:cubicBezTo>
                  <a:pt x="117" y="206"/>
                  <a:pt x="117" y="206"/>
                  <a:pt x="117" y="206"/>
                </a:cubicBezTo>
                <a:cubicBezTo>
                  <a:pt x="119" y="207"/>
                  <a:pt x="119" y="207"/>
                  <a:pt x="119" y="207"/>
                </a:cubicBezTo>
                <a:cubicBezTo>
                  <a:pt x="119" y="208"/>
                  <a:pt x="119" y="208"/>
                  <a:pt x="119" y="208"/>
                </a:cubicBezTo>
                <a:cubicBezTo>
                  <a:pt x="118" y="208"/>
                  <a:pt x="118" y="208"/>
                  <a:pt x="118" y="208"/>
                </a:cubicBezTo>
                <a:cubicBezTo>
                  <a:pt x="117" y="208"/>
                  <a:pt x="117" y="208"/>
                  <a:pt x="117" y="208"/>
                </a:cubicBezTo>
                <a:cubicBezTo>
                  <a:pt x="117" y="209"/>
                  <a:pt x="117" y="209"/>
                  <a:pt x="117" y="209"/>
                </a:cubicBezTo>
                <a:cubicBezTo>
                  <a:pt x="118" y="209"/>
                  <a:pt x="118" y="209"/>
                  <a:pt x="118" y="209"/>
                </a:cubicBezTo>
                <a:cubicBezTo>
                  <a:pt x="120" y="209"/>
                  <a:pt x="120" y="209"/>
                  <a:pt x="120" y="209"/>
                </a:cubicBezTo>
                <a:cubicBezTo>
                  <a:pt x="121" y="210"/>
                  <a:pt x="121" y="210"/>
                  <a:pt x="121" y="210"/>
                </a:cubicBezTo>
                <a:cubicBezTo>
                  <a:pt x="122" y="210"/>
                  <a:pt x="122" y="210"/>
                  <a:pt x="122" y="210"/>
                </a:cubicBezTo>
                <a:cubicBezTo>
                  <a:pt x="124" y="210"/>
                  <a:pt x="124" y="210"/>
                  <a:pt x="124" y="210"/>
                </a:cubicBezTo>
                <a:cubicBezTo>
                  <a:pt x="124" y="209"/>
                  <a:pt x="124" y="209"/>
                  <a:pt x="124" y="209"/>
                </a:cubicBezTo>
                <a:cubicBezTo>
                  <a:pt x="125" y="209"/>
                  <a:pt x="125" y="209"/>
                  <a:pt x="125" y="209"/>
                </a:cubicBezTo>
                <a:cubicBezTo>
                  <a:pt x="125" y="210"/>
                  <a:pt x="125" y="210"/>
                  <a:pt x="125" y="210"/>
                </a:cubicBezTo>
                <a:cubicBezTo>
                  <a:pt x="125" y="212"/>
                  <a:pt x="125" y="212"/>
                  <a:pt x="125" y="212"/>
                </a:cubicBezTo>
                <a:cubicBezTo>
                  <a:pt x="126" y="213"/>
                  <a:pt x="126" y="213"/>
                  <a:pt x="126" y="213"/>
                </a:cubicBezTo>
                <a:cubicBezTo>
                  <a:pt x="127" y="213"/>
                  <a:pt x="127" y="213"/>
                  <a:pt x="127" y="213"/>
                </a:cubicBezTo>
                <a:cubicBezTo>
                  <a:pt x="128" y="212"/>
                  <a:pt x="128" y="212"/>
                  <a:pt x="128" y="212"/>
                </a:cubicBezTo>
                <a:cubicBezTo>
                  <a:pt x="128" y="210"/>
                  <a:pt x="128" y="210"/>
                  <a:pt x="128" y="210"/>
                </a:cubicBezTo>
                <a:cubicBezTo>
                  <a:pt x="126" y="210"/>
                  <a:pt x="126" y="210"/>
                  <a:pt x="126" y="210"/>
                </a:cubicBezTo>
                <a:cubicBezTo>
                  <a:pt x="126" y="209"/>
                  <a:pt x="126" y="209"/>
                  <a:pt x="126" y="209"/>
                </a:cubicBezTo>
                <a:cubicBezTo>
                  <a:pt x="126" y="209"/>
                  <a:pt x="126" y="209"/>
                  <a:pt x="126" y="209"/>
                </a:cubicBezTo>
                <a:cubicBezTo>
                  <a:pt x="127" y="209"/>
                  <a:pt x="127" y="209"/>
                  <a:pt x="127" y="209"/>
                </a:cubicBezTo>
                <a:cubicBezTo>
                  <a:pt x="128" y="210"/>
                  <a:pt x="128" y="210"/>
                  <a:pt x="128" y="210"/>
                </a:cubicBezTo>
                <a:cubicBezTo>
                  <a:pt x="129" y="211"/>
                  <a:pt x="129" y="211"/>
                  <a:pt x="129" y="211"/>
                </a:cubicBezTo>
                <a:cubicBezTo>
                  <a:pt x="129" y="212"/>
                  <a:pt x="129" y="212"/>
                  <a:pt x="129" y="212"/>
                </a:cubicBezTo>
                <a:cubicBezTo>
                  <a:pt x="130" y="212"/>
                  <a:pt x="130" y="212"/>
                  <a:pt x="130" y="212"/>
                </a:cubicBezTo>
                <a:cubicBezTo>
                  <a:pt x="130" y="211"/>
                  <a:pt x="130" y="211"/>
                  <a:pt x="130" y="211"/>
                </a:cubicBezTo>
                <a:cubicBezTo>
                  <a:pt x="131" y="211"/>
                  <a:pt x="131" y="211"/>
                  <a:pt x="131" y="211"/>
                </a:cubicBezTo>
                <a:cubicBezTo>
                  <a:pt x="131" y="212"/>
                  <a:pt x="131" y="212"/>
                  <a:pt x="131" y="212"/>
                </a:cubicBezTo>
                <a:cubicBezTo>
                  <a:pt x="133" y="212"/>
                  <a:pt x="133" y="212"/>
                  <a:pt x="133" y="212"/>
                </a:cubicBezTo>
                <a:cubicBezTo>
                  <a:pt x="134" y="212"/>
                  <a:pt x="134" y="212"/>
                  <a:pt x="134" y="212"/>
                </a:cubicBezTo>
                <a:cubicBezTo>
                  <a:pt x="134" y="212"/>
                  <a:pt x="134" y="212"/>
                  <a:pt x="134" y="212"/>
                </a:cubicBezTo>
                <a:cubicBezTo>
                  <a:pt x="133" y="211"/>
                  <a:pt x="133" y="211"/>
                  <a:pt x="133" y="211"/>
                </a:cubicBezTo>
                <a:cubicBezTo>
                  <a:pt x="133" y="210"/>
                  <a:pt x="133" y="210"/>
                  <a:pt x="133" y="210"/>
                </a:cubicBezTo>
                <a:cubicBezTo>
                  <a:pt x="133" y="210"/>
                  <a:pt x="133" y="210"/>
                  <a:pt x="133" y="210"/>
                </a:cubicBezTo>
                <a:cubicBezTo>
                  <a:pt x="134" y="211"/>
                  <a:pt x="134" y="211"/>
                  <a:pt x="134" y="211"/>
                </a:cubicBezTo>
                <a:cubicBezTo>
                  <a:pt x="135" y="211"/>
                  <a:pt x="135" y="211"/>
                  <a:pt x="135" y="211"/>
                </a:cubicBezTo>
                <a:cubicBezTo>
                  <a:pt x="135" y="211"/>
                  <a:pt x="135" y="211"/>
                  <a:pt x="135" y="211"/>
                </a:cubicBezTo>
                <a:cubicBezTo>
                  <a:pt x="136" y="212"/>
                  <a:pt x="136" y="212"/>
                  <a:pt x="136" y="212"/>
                </a:cubicBezTo>
                <a:cubicBezTo>
                  <a:pt x="136" y="213"/>
                  <a:pt x="136" y="213"/>
                  <a:pt x="136" y="213"/>
                </a:cubicBezTo>
                <a:cubicBezTo>
                  <a:pt x="137" y="213"/>
                  <a:pt x="137" y="213"/>
                  <a:pt x="137" y="213"/>
                </a:cubicBezTo>
                <a:cubicBezTo>
                  <a:pt x="137" y="212"/>
                  <a:pt x="137" y="212"/>
                  <a:pt x="137" y="212"/>
                </a:cubicBezTo>
                <a:cubicBezTo>
                  <a:pt x="137" y="211"/>
                  <a:pt x="137" y="211"/>
                  <a:pt x="137" y="211"/>
                </a:cubicBezTo>
                <a:cubicBezTo>
                  <a:pt x="136" y="211"/>
                  <a:pt x="136" y="211"/>
                  <a:pt x="136" y="211"/>
                </a:cubicBezTo>
                <a:cubicBezTo>
                  <a:pt x="135" y="210"/>
                  <a:pt x="135" y="210"/>
                  <a:pt x="135" y="210"/>
                </a:cubicBezTo>
                <a:cubicBezTo>
                  <a:pt x="136" y="210"/>
                  <a:pt x="136" y="210"/>
                  <a:pt x="136" y="210"/>
                </a:cubicBezTo>
                <a:cubicBezTo>
                  <a:pt x="136" y="210"/>
                  <a:pt x="136" y="210"/>
                  <a:pt x="136" y="210"/>
                </a:cubicBezTo>
                <a:cubicBezTo>
                  <a:pt x="137" y="210"/>
                  <a:pt x="137" y="210"/>
                  <a:pt x="137" y="210"/>
                </a:cubicBezTo>
                <a:cubicBezTo>
                  <a:pt x="138" y="209"/>
                  <a:pt x="138" y="209"/>
                  <a:pt x="138" y="209"/>
                </a:cubicBezTo>
                <a:cubicBezTo>
                  <a:pt x="138" y="208"/>
                  <a:pt x="138" y="208"/>
                  <a:pt x="138" y="208"/>
                </a:cubicBezTo>
                <a:cubicBezTo>
                  <a:pt x="138" y="208"/>
                  <a:pt x="138" y="208"/>
                  <a:pt x="138" y="208"/>
                </a:cubicBezTo>
                <a:close/>
                <a:moveTo>
                  <a:pt x="44" y="286"/>
                </a:moveTo>
                <a:cubicBezTo>
                  <a:pt x="43" y="285"/>
                  <a:pt x="43" y="285"/>
                  <a:pt x="43" y="285"/>
                </a:cubicBezTo>
                <a:cubicBezTo>
                  <a:pt x="43" y="284"/>
                  <a:pt x="43" y="284"/>
                  <a:pt x="43" y="284"/>
                </a:cubicBezTo>
                <a:cubicBezTo>
                  <a:pt x="43" y="284"/>
                  <a:pt x="43" y="284"/>
                  <a:pt x="43" y="284"/>
                </a:cubicBezTo>
                <a:cubicBezTo>
                  <a:pt x="42" y="284"/>
                  <a:pt x="42" y="284"/>
                  <a:pt x="42" y="284"/>
                </a:cubicBezTo>
                <a:cubicBezTo>
                  <a:pt x="42" y="284"/>
                  <a:pt x="42" y="284"/>
                  <a:pt x="42" y="284"/>
                </a:cubicBezTo>
                <a:cubicBezTo>
                  <a:pt x="42" y="285"/>
                  <a:pt x="42" y="285"/>
                  <a:pt x="42" y="285"/>
                </a:cubicBezTo>
                <a:cubicBezTo>
                  <a:pt x="43" y="286"/>
                  <a:pt x="43" y="286"/>
                  <a:pt x="43" y="286"/>
                </a:cubicBezTo>
                <a:cubicBezTo>
                  <a:pt x="43" y="287"/>
                  <a:pt x="43" y="287"/>
                  <a:pt x="43" y="287"/>
                </a:cubicBezTo>
                <a:cubicBezTo>
                  <a:pt x="43" y="287"/>
                  <a:pt x="43" y="287"/>
                  <a:pt x="43" y="287"/>
                </a:cubicBezTo>
                <a:cubicBezTo>
                  <a:pt x="44" y="286"/>
                  <a:pt x="44" y="286"/>
                  <a:pt x="44" y="286"/>
                </a:cubicBezTo>
                <a:close/>
                <a:moveTo>
                  <a:pt x="76" y="265"/>
                </a:moveTo>
                <a:cubicBezTo>
                  <a:pt x="77" y="265"/>
                  <a:pt x="77" y="265"/>
                  <a:pt x="77" y="265"/>
                </a:cubicBezTo>
                <a:cubicBezTo>
                  <a:pt x="77" y="265"/>
                  <a:pt x="77" y="265"/>
                  <a:pt x="77" y="265"/>
                </a:cubicBezTo>
                <a:cubicBezTo>
                  <a:pt x="76" y="264"/>
                  <a:pt x="76" y="264"/>
                  <a:pt x="76" y="264"/>
                </a:cubicBezTo>
                <a:cubicBezTo>
                  <a:pt x="75" y="264"/>
                  <a:pt x="75" y="264"/>
                  <a:pt x="75" y="264"/>
                </a:cubicBezTo>
                <a:cubicBezTo>
                  <a:pt x="75" y="265"/>
                  <a:pt x="75" y="265"/>
                  <a:pt x="75" y="265"/>
                </a:cubicBezTo>
                <a:cubicBezTo>
                  <a:pt x="76" y="265"/>
                  <a:pt x="76" y="265"/>
                  <a:pt x="76" y="265"/>
                </a:cubicBezTo>
                <a:close/>
                <a:moveTo>
                  <a:pt x="101" y="238"/>
                </a:moveTo>
                <a:cubicBezTo>
                  <a:pt x="103" y="238"/>
                  <a:pt x="103" y="238"/>
                  <a:pt x="103" y="238"/>
                </a:cubicBezTo>
                <a:cubicBezTo>
                  <a:pt x="104" y="237"/>
                  <a:pt x="104" y="237"/>
                  <a:pt x="104" y="237"/>
                </a:cubicBezTo>
                <a:cubicBezTo>
                  <a:pt x="105" y="235"/>
                  <a:pt x="105" y="235"/>
                  <a:pt x="105" y="235"/>
                </a:cubicBezTo>
                <a:cubicBezTo>
                  <a:pt x="105" y="233"/>
                  <a:pt x="105" y="233"/>
                  <a:pt x="105" y="233"/>
                </a:cubicBezTo>
                <a:cubicBezTo>
                  <a:pt x="106" y="232"/>
                  <a:pt x="106" y="232"/>
                  <a:pt x="106" y="232"/>
                </a:cubicBezTo>
                <a:cubicBezTo>
                  <a:pt x="107" y="233"/>
                  <a:pt x="107" y="233"/>
                  <a:pt x="107" y="233"/>
                </a:cubicBezTo>
                <a:cubicBezTo>
                  <a:pt x="106" y="235"/>
                  <a:pt x="106" y="235"/>
                  <a:pt x="106" y="235"/>
                </a:cubicBezTo>
                <a:cubicBezTo>
                  <a:pt x="107" y="233"/>
                  <a:pt x="107" y="233"/>
                  <a:pt x="107" y="233"/>
                </a:cubicBezTo>
                <a:cubicBezTo>
                  <a:pt x="107" y="232"/>
                  <a:pt x="107" y="232"/>
                  <a:pt x="107" y="232"/>
                </a:cubicBezTo>
                <a:cubicBezTo>
                  <a:pt x="106" y="231"/>
                  <a:pt x="106" y="231"/>
                  <a:pt x="106" y="231"/>
                </a:cubicBezTo>
                <a:cubicBezTo>
                  <a:pt x="101" y="229"/>
                  <a:pt x="101" y="229"/>
                  <a:pt x="101" y="229"/>
                </a:cubicBezTo>
                <a:cubicBezTo>
                  <a:pt x="99" y="228"/>
                  <a:pt x="99" y="228"/>
                  <a:pt x="99" y="228"/>
                </a:cubicBezTo>
                <a:cubicBezTo>
                  <a:pt x="98" y="229"/>
                  <a:pt x="98" y="229"/>
                  <a:pt x="98" y="229"/>
                </a:cubicBezTo>
                <a:cubicBezTo>
                  <a:pt x="97" y="232"/>
                  <a:pt x="97" y="232"/>
                  <a:pt x="97" y="232"/>
                </a:cubicBezTo>
                <a:cubicBezTo>
                  <a:pt x="97" y="235"/>
                  <a:pt x="97" y="235"/>
                  <a:pt x="97" y="235"/>
                </a:cubicBezTo>
                <a:cubicBezTo>
                  <a:pt x="98" y="236"/>
                  <a:pt x="98" y="236"/>
                  <a:pt x="98" y="236"/>
                </a:cubicBezTo>
                <a:cubicBezTo>
                  <a:pt x="98" y="238"/>
                  <a:pt x="98" y="238"/>
                  <a:pt x="98" y="238"/>
                </a:cubicBezTo>
                <a:cubicBezTo>
                  <a:pt x="99" y="238"/>
                  <a:pt x="99" y="238"/>
                  <a:pt x="99" y="238"/>
                </a:cubicBezTo>
                <a:cubicBezTo>
                  <a:pt x="100" y="238"/>
                  <a:pt x="100" y="238"/>
                  <a:pt x="100" y="238"/>
                </a:cubicBezTo>
                <a:cubicBezTo>
                  <a:pt x="99" y="239"/>
                  <a:pt x="99" y="239"/>
                  <a:pt x="99" y="239"/>
                </a:cubicBezTo>
                <a:cubicBezTo>
                  <a:pt x="100" y="239"/>
                  <a:pt x="100" y="239"/>
                  <a:pt x="100" y="239"/>
                </a:cubicBezTo>
                <a:cubicBezTo>
                  <a:pt x="101" y="238"/>
                  <a:pt x="101" y="238"/>
                  <a:pt x="101" y="238"/>
                </a:cubicBezTo>
                <a:close/>
                <a:moveTo>
                  <a:pt x="113" y="240"/>
                </a:moveTo>
                <a:cubicBezTo>
                  <a:pt x="113" y="240"/>
                  <a:pt x="113" y="240"/>
                  <a:pt x="113" y="240"/>
                </a:cubicBezTo>
                <a:cubicBezTo>
                  <a:pt x="113" y="240"/>
                  <a:pt x="113" y="240"/>
                  <a:pt x="113" y="240"/>
                </a:cubicBezTo>
                <a:cubicBezTo>
                  <a:pt x="115" y="240"/>
                  <a:pt x="115" y="240"/>
                  <a:pt x="115" y="240"/>
                </a:cubicBezTo>
                <a:cubicBezTo>
                  <a:pt x="115" y="239"/>
                  <a:pt x="115" y="239"/>
                  <a:pt x="115" y="239"/>
                </a:cubicBezTo>
                <a:cubicBezTo>
                  <a:pt x="114" y="239"/>
                  <a:pt x="114" y="239"/>
                  <a:pt x="114" y="239"/>
                </a:cubicBezTo>
                <a:cubicBezTo>
                  <a:pt x="113" y="240"/>
                  <a:pt x="113" y="240"/>
                  <a:pt x="113" y="240"/>
                </a:cubicBezTo>
                <a:cubicBezTo>
                  <a:pt x="113" y="240"/>
                  <a:pt x="113" y="240"/>
                  <a:pt x="113" y="240"/>
                </a:cubicBezTo>
                <a:close/>
                <a:moveTo>
                  <a:pt x="131" y="240"/>
                </a:moveTo>
                <a:cubicBezTo>
                  <a:pt x="131" y="241"/>
                  <a:pt x="131" y="241"/>
                  <a:pt x="131" y="241"/>
                </a:cubicBezTo>
                <a:cubicBezTo>
                  <a:pt x="132" y="239"/>
                  <a:pt x="132" y="239"/>
                  <a:pt x="132" y="239"/>
                </a:cubicBezTo>
                <a:cubicBezTo>
                  <a:pt x="132" y="239"/>
                  <a:pt x="132" y="239"/>
                  <a:pt x="132" y="239"/>
                </a:cubicBezTo>
                <a:cubicBezTo>
                  <a:pt x="131" y="239"/>
                  <a:pt x="131" y="239"/>
                  <a:pt x="131" y="239"/>
                </a:cubicBezTo>
                <a:cubicBezTo>
                  <a:pt x="131" y="240"/>
                  <a:pt x="131" y="240"/>
                  <a:pt x="131" y="240"/>
                </a:cubicBezTo>
                <a:cubicBezTo>
                  <a:pt x="131" y="240"/>
                  <a:pt x="131" y="240"/>
                  <a:pt x="131" y="240"/>
                </a:cubicBezTo>
                <a:close/>
                <a:moveTo>
                  <a:pt x="128" y="240"/>
                </a:moveTo>
                <a:cubicBezTo>
                  <a:pt x="129" y="240"/>
                  <a:pt x="129" y="240"/>
                  <a:pt x="129" y="240"/>
                </a:cubicBezTo>
                <a:cubicBezTo>
                  <a:pt x="130" y="240"/>
                  <a:pt x="130" y="240"/>
                  <a:pt x="130" y="240"/>
                </a:cubicBezTo>
                <a:cubicBezTo>
                  <a:pt x="129" y="239"/>
                  <a:pt x="129" y="239"/>
                  <a:pt x="129" y="239"/>
                </a:cubicBezTo>
                <a:cubicBezTo>
                  <a:pt x="129" y="239"/>
                  <a:pt x="129" y="239"/>
                  <a:pt x="129" y="239"/>
                </a:cubicBezTo>
                <a:cubicBezTo>
                  <a:pt x="128" y="240"/>
                  <a:pt x="128" y="240"/>
                  <a:pt x="128" y="240"/>
                </a:cubicBezTo>
                <a:close/>
                <a:moveTo>
                  <a:pt x="143" y="234"/>
                </a:moveTo>
                <a:cubicBezTo>
                  <a:pt x="144" y="234"/>
                  <a:pt x="144" y="234"/>
                  <a:pt x="144" y="234"/>
                </a:cubicBezTo>
                <a:cubicBezTo>
                  <a:pt x="144" y="234"/>
                  <a:pt x="144" y="234"/>
                  <a:pt x="144" y="234"/>
                </a:cubicBezTo>
                <a:cubicBezTo>
                  <a:pt x="146" y="233"/>
                  <a:pt x="146" y="233"/>
                  <a:pt x="146" y="233"/>
                </a:cubicBezTo>
                <a:cubicBezTo>
                  <a:pt x="147" y="233"/>
                  <a:pt x="147" y="233"/>
                  <a:pt x="147" y="233"/>
                </a:cubicBezTo>
                <a:cubicBezTo>
                  <a:pt x="146" y="232"/>
                  <a:pt x="146" y="232"/>
                  <a:pt x="146" y="232"/>
                </a:cubicBezTo>
                <a:cubicBezTo>
                  <a:pt x="144" y="233"/>
                  <a:pt x="144" y="233"/>
                  <a:pt x="144" y="233"/>
                </a:cubicBezTo>
                <a:cubicBezTo>
                  <a:pt x="143" y="234"/>
                  <a:pt x="143" y="234"/>
                  <a:pt x="143" y="234"/>
                </a:cubicBezTo>
                <a:close/>
                <a:moveTo>
                  <a:pt x="137" y="233"/>
                </a:moveTo>
                <a:cubicBezTo>
                  <a:pt x="138" y="233"/>
                  <a:pt x="138" y="233"/>
                  <a:pt x="138" y="233"/>
                </a:cubicBezTo>
                <a:cubicBezTo>
                  <a:pt x="139" y="233"/>
                  <a:pt x="139" y="233"/>
                  <a:pt x="139" y="233"/>
                </a:cubicBezTo>
                <a:cubicBezTo>
                  <a:pt x="139" y="233"/>
                  <a:pt x="139" y="233"/>
                  <a:pt x="139" y="233"/>
                </a:cubicBezTo>
                <a:cubicBezTo>
                  <a:pt x="138" y="232"/>
                  <a:pt x="138" y="232"/>
                  <a:pt x="138" y="232"/>
                </a:cubicBezTo>
                <a:cubicBezTo>
                  <a:pt x="137" y="233"/>
                  <a:pt x="137" y="233"/>
                  <a:pt x="137" y="233"/>
                </a:cubicBezTo>
                <a:close/>
                <a:moveTo>
                  <a:pt x="133" y="232"/>
                </a:moveTo>
                <a:cubicBezTo>
                  <a:pt x="134" y="233"/>
                  <a:pt x="134" y="233"/>
                  <a:pt x="134" y="233"/>
                </a:cubicBezTo>
                <a:cubicBezTo>
                  <a:pt x="135" y="233"/>
                  <a:pt x="135" y="233"/>
                  <a:pt x="135" y="233"/>
                </a:cubicBezTo>
                <a:cubicBezTo>
                  <a:pt x="136" y="234"/>
                  <a:pt x="136" y="234"/>
                  <a:pt x="136" y="234"/>
                </a:cubicBezTo>
                <a:cubicBezTo>
                  <a:pt x="135" y="232"/>
                  <a:pt x="135" y="232"/>
                  <a:pt x="135" y="232"/>
                </a:cubicBezTo>
                <a:cubicBezTo>
                  <a:pt x="134" y="232"/>
                  <a:pt x="134" y="232"/>
                  <a:pt x="134" y="232"/>
                </a:cubicBezTo>
                <a:cubicBezTo>
                  <a:pt x="133" y="232"/>
                  <a:pt x="133" y="232"/>
                  <a:pt x="133" y="232"/>
                </a:cubicBezTo>
                <a:close/>
                <a:moveTo>
                  <a:pt x="131" y="233"/>
                </a:moveTo>
                <a:cubicBezTo>
                  <a:pt x="132" y="233"/>
                  <a:pt x="132" y="233"/>
                  <a:pt x="132" y="233"/>
                </a:cubicBezTo>
                <a:cubicBezTo>
                  <a:pt x="132" y="233"/>
                  <a:pt x="132" y="233"/>
                  <a:pt x="132" y="233"/>
                </a:cubicBezTo>
                <a:cubicBezTo>
                  <a:pt x="133" y="232"/>
                  <a:pt x="133" y="232"/>
                  <a:pt x="133" y="232"/>
                </a:cubicBezTo>
                <a:cubicBezTo>
                  <a:pt x="132" y="232"/>
                  <a:pt x="132" y="232"/>
                  <a:pt x="132" y="232"/>
                </a:cubicBezTo>
                <a:cubicBezTo>
                  <a:pt x="131" y="233"/>
                  <a:pt x="131" y="233"/>
                  <a:pt x="131" y="233"/>
                </a:cubicBezTo>
                <a:close/>
                <a:moveTo>
                  <a:pt x="266" y="192"/>
                </a:moveTo>
                <a:cubicBezTo>
                  <a:pt x="266" y="193"/>
                  <a:pt x="266" y="193"/>
                  <a:pt x="266" y="193"/>
                </a:cubicBezTo>
                <a:cubicBezTo>
                  <a:pt x="266" y="194"/>
                  <a:pt x="266" y="194"/>
                  <a:pt x="266" y="194"/>
                </a:cubicBezTo>
                <a:cubicBezTo>
                  <a:pt x="267" y="193"/>
                  <a:pt x="267" y="193"/>
                  <a:pt x="267" y="193"/>
                </a:cubicBezTo>
                <a:cubicBezTo>
                  <a:pt x="266" y="192"/>
                  <a:pt x="266" y="192"/>
                  <a:pt x="266" y="192"/>
                </a:cubicBezTo>
                <a:cubicBezTo>
                  <a:pt x="266" y="192"/>
                  <a:pt x="266" y="192"/>
                  <a:pt x="266" y="192"/>
                </a:cubicBezTo>
                <a:close/>
                <a:moveTo>
                  <a:pt x="263" y="188"/>
                </a:moveTo>
                <a:cubicBezTo>
                  <a:pt x="263" y="190"/>
                  <a:pt x="263" y="190"/>
                  <a:pt x="263" y="190"/>
                </a:cubicBezTo>
                <a:cubicBezTo>
                  <a:pt x="264" y="192"/>
                  <a:pt x="264" y="192"/>
                  <a:pt x="264" y="192"/>
                </a:cubicBezTo>
                <a:cubicBezTo>
                  <a:pt x="264" y="194"/>
                  <a:pt x="264" y="194"/>
                  <a:pt x="264" y="194"/>
                </a:cubicBezTo>
                <a:cubicBezTo>
                  <a:pt x="264" y="194"/>
                  <a:pt x="264" y="194"/>
                  <a:pt x="264" y="194"/>
                </a:cubicBezTo>
                <a:cubicBezTo>
                  <a:pt x="265" y="193"/>
                  <a:pt x="265" y="193"/>
                  <a:pt x="265" y="193"/>
                </a:cubicBezTo>
                <a:cubicBezTo>
                  <a:pt x="265" y="189"/>
                  <a:pt x="265" y="189"/>
                  <a:pt x="265" y="189"/>
                </a:cubicBezTo>
                <a:cubicBezTo>
                  <a:pt x="264" y="188"/>
                  <a:pt x="264" y="188"/>
                  <a:pt x="264" y="188"/>
                </a:cubicBezTo>
                <a:cubicBezTo>
                  <a:pt x="263" y="188"/>
                  <a:pt x="263" y="188"/>
                  <a:pt x="263" y="188"/>
                </a:cubicBezTo>
                <a:close/>
                <a:moveTo>
                  <a:pt x="262" y="186"/>
                </a:moveTo>
                <a:cubicBezTo>
                  <a:pt x="262" y="187"/>
                  <a:pt x="262" y="187"/>
                  <a:pt x="262" y="187"/>
                </a:cubicBezTo>
                <a:cubicBezTo>
                  <a:pt x="263" y="187"/>
                  <a:pt x="263" y="187"/>
                  <a:pt x="263" y="187"/>
                </a:cubicBezTo>
                <a:cubicBezTo>
                  <a:pt x="263" y="186"/>
                  <a:pt x="263" y="186"/>
                  <a:pt x="263" y="186"/>
                </a:cubicBezTo>
                <a:cubicBezTo>
                  <a:pt x="262" y="185"/>
                  <a:pt x="262" y="185"/>
                  <a:pt x="262" y="185"/>
                </a:cubicBezTo>
                <a:cubicBezTo>
                  <a:pt x="262" y="186"/>
                  <a:pt x="262" y="186"/>
                  <a:pt x="262" y="186"/>
                </a:cubicBezTo>
                <a:close/>
                <a:moveTo>
                  <a:pt x="147" y="223"/>
                </a:moveTo>
                <a:cubicBezTo>
                  <a:pt x="148" y="223"/>
                  <a:pt x="148" y="223"/>
                  <a:pt x="148" y="223"/>
                </a:cubicBezTo>
                <a:cubicBezTo>
                  <a:pt x="148" y="222"/>
                  <a:pt x="148" y="222"/>
                  <a:pt x="148" y="222"/>
                </a:cubicBezTo>
                <a:cubicBezTo>
                  <a:pt x="147" y="222"/>
                  <a:pt x="147" y="222"/>
                  <a:pt x="147" y="222"/>
                </a:cubicBezTo>
                <a:cubicBezTo>
                  <a:pt x="147" y="223"/>
                  <a:pt x="147" y="223"/>
                  <a:pt x="147" y="223"/>
                </a:cubicBezTo>
                <a:close/>
                <a:moveTo>
                  <a:pt x="153" y="228"/>
                </a:moveTo>
                <a:cubicBezTo>
                  <a:pt x="153" y="228"/>
                  <a:pt x="154" y="228"/>
                  <a:pt x="154" y="228"/>
                </a:cubicBezTo>
                <a:cubicBezTo>
                  <a:pt x="153" y="228"/>
                  <a:pt x="153" y="228"/>
                  <a:pt x="153" y="228"/>
                </a:cubicBezTo>
                <a:cubicBezTo>
                  <a:pt x="153" y="228"/>
                  <a:pt x="153" y="228"/>
                  <a:pt x="153" y="228"/>
                </a:cubicBezTo>
                <a:close/>
                <a:moveTo>
                  <a:pt x="152" y="227"/>
                </a:moveTo>
                <a:cubicBezTo>
                  <a:pt x="152" y="225"/>
                  <a:pt x="152" y="225"/>
                  <a:pt x="152" y="225"/>
                </a:cubicBezTo>
                <a:cubicBezTo>
                  <a:pt x="150" y="224"/>
                  <a:pt x="150" y="224"/>
                  <a:pt x="150" y="224"/>
                </a:cubicBezTo>
                <a:cubicBezTo>
                  <a:pt x="149" y="223"/>
                  <a:pt x="149" y="223"/>
                  <a:pt x="149" y="223"/>
                </a:cubicBezTo>
                <a:cubicBezTo>
                  <a:pt x="149" y="224"/>
                  <a:pt x="149" y="224"/>
                  <a:pt x="149" y="224"/>
                </a:cubicBezTo>
                <a:cubicBezTo>
                  <a:pt x="150" y="225"/>
                  <a:pt x="150" y="225"/>
                  <a:pt x="150" y="225"/>
                </a:cubicBezTo>
                <a:cubicBezTo>
                  <a:pt x="152" y="227"/>
                  <a:pt x="152" y="227"/>
                  <a:pt x="152" y="227"/>
                </a:cubicBezTo>
                <a:close/>
                <a:moveTo>
                  <a:pt x="156" y="221"/>
                </a:moveTo>
                <a:cubicBezTo>
                  <a:pt x="156" y="219"/>
                  <a:pt x="156" y="219"/>
                  <a:pt x="156" y="219"/>
                </a:cubicBezTo>
                <a:cubicBezTo>
                  <a:pt x="156" y="217"/>
                  <a:pt x="156" y="217"/>
                  <a:pt x="156" y="217"/>
                </a:cubicBezTo>
                <a:cubicBezTo>
                  <a:pt x="154" y="216"/>
                  <a:pt x="154" y="216"/>
                  <a:pt x="154" y="216"/>
                </a:cubicBezTo>
                <a:cubicBezTo>
                  <a:pt x="152" y="214"/>
                  <a:pt x="152" y="214"/>
                  <a:pt x="152" y="214"/>
                </a:cubicBezTo>
                <a:cubicBezTo>
                  <a:pt x="151" y="214"/>
                  <a:pt x="151" y="214"/>
                  <a:pt x="151" y="214"/>
                </a:cubicBezTo>
                <a:cubicBezTo>
                  <a:pt x="149" y="213"/>
                  <a:pt x="149" y="213"/>
                  <a:pt x="149" y="213"/>
                </a:cubicBezTo>
                <a:cubicBezTo>
                  <a:pt x="148" y="212"/>
                  <a:pt x="148" y="212"/>
                  <a:pt x="148" y="212"/>
                </a:cubicBezTo>
                <a:cubicBezTo>
                  <a:pt x="148" y="211"/>
                  <a:pt x="148" y="211"/>
                  <a:pt x="148" y="211"/>
                </a:cubicBezTo>
                <a:cubicBezTo>
                  <a:pt x="146" y="210"/>
                  <a:pt x="146" y="210"/>
                  <a:pt x="146" y="210"/>
                </a:cubicBezTo>
                <a:cubicBezTo>
                  <a:pt x="145" y="210"/>
                  <a:pt x="145" y="210"/>
                  <a:pt x="145" y="210"/>
                </a:cubicBezTo>
                <a:cubicBezTo>
                  <a:pt x="145" y="210"/>
                  <a:pt x="145" y="210"/>
                  <a:pt x="145" y="210"/>
                </a:cubicBezTo>
                <a:cubicBezTo>
                  <a:pt x="145" y="211"/>
                  <a:pt x="145" y="211"/>
                  <a:pt x="145" y="211"/>
                </a:cubicBezTo>
                <a:cubicBezTo>
                  <a:pt x="144" y="212"/>
                  <a:pt x="144" y="212"/>
                  <a:pt x="144" y="212"/>
                </a:cubicBezTo>
                <a:cubicBezTo>
                  <a:pt x="145" y="213"/>
                  <a:pt x="145" y="213"/>
                  <a:pt x="145" y="213"/>
                </a:cubicBezTo>
                <a:cubicBezTo>
                  <a:pt x="146" y="213"/>
                  <a:pt x="146" y="213"/>
                  <a:pt x="146" y="213"/>
                </a:cubicBezTo>
                <a:cubicBezTo>
                  <a:pt x="145" y="214"/>
                  <a:pt x="145" y="214"/>
                  <a:pt x="145" y="214"/>
                </a:cubicBezTo>
                <a:cubicBezTo>
                  <a:pt x="145" y="214"/>
                  <a:pt x="145" y="214"/>
                  <a:pt x="145" y="214"/>
                </a:cubicBezTo>
                <a:cubicBezTo>
                  <a:pt x="144" y="213"/>
                  <a:pt x="144" y="213"/>
                  <a:pt x="144" y="213"/>
                </a:cubicBezTo>
                <a:cubicBezTo>
                  <a:pt x="143" y="213"/>
                  <a:pt x="143" y="213"/>
                  <a:pt x="143" y="213"/>
                </a:cubicBezTo>
                <a:cubicBezTo>
                  <a:pt x="144" y="214"/>
                  <a:pt x="144" y="214"/>
                  <a:pt x="144" y="214"/>
                </a:cubicBezTo>
                <a:cubicBezTo>
                  <a:pt x="146" y="217"/>
                  <a:pt x="146" y="217"/>
                  <a:pt x="146" y="217"/>
                </a:cubicBezTo>
                <a:cubicBezTo>
                  <a:pt x="147" y="217"/>
                  <a:pt x="147" y="217"/>
                  <a:pt x="147" y="217"/>
                </a:cubicBezTo>
                <a:cubicBezTo>
                  <a:pt x="148" y="219"/>
                  <a:pt x="148" y="219"/>
                  <a:pt x="148" y="219"/>
                </a:cubicBezTo>
                <a:cubicBezTo>
                  <a:pt x="149" y="219"/>
                  <a:pt x="149" y="219"/>
                  <a:pt x="149" y="219"/>
                </a:cubicBezTo>
                <a:cubicBezTo>
                  <a:pt x="149" y="217"/>
                  <a:pt x="149" y="217"/>
                  <a:pt x="149" y="217"/>
                </a:cubicBezTo>
                <a:cubicBezTo>
                  <a:pt x="150" y="218"/>
                  <a:pt x="150" y="218"/>
                  <a:pt x="150" y="218"/>
                </a:cubicBezTo>
                <a:cubicBezTo>
                  <a:pt x="151" y="217"/>
                  <a:pt x="151" y="217"/>
                  <a:pt x="151" y="217"/>
                </a:cubicBezTo>
                <a:cubicBezTo>
                  <a:pt x="151" y="218"/>
                  <a:pt x="151" y="218"/>
                  <a:pt x="151" y="218"/>
                </a:cubicBezTo>
                <a:cubicBezTo>
                  <a:pt x="151" y="220"/>
                  <a:pt x="151" y="220"/>
                  <a:pt x="151" y="220"/>
                </a:cubicBezTo>
                <a:cubicBezTo>
                  <a:pt x="151" y="220"/>
                  <a:pt x="151" y="220"/>
                  <a:pt x="151" y="220"/>
                </a:cubicBezTo>
                <a:cubicBezTo>
                  <a:pt x="152" y="221"/>
                  <a:pt x="152" y="221"/>
                  <a:pt x="152" y="221"/>
                </a:cubicBezTo>
                <a:cubicBezTo>
                  <a:pt x="154" y="221"/>
                  <a:pt x="154" y="221"/>
                  <a:pt x="154" y="221"/>
                </a:cubicBezTo>
                <a:cubicBezTo>
                  <a:pt x="154" y="220"/>
                  <a:pt x="154" y="220"/>
                  <a:pt x="154" y="220"/>
                </a:cubicBezTo>
                <a:cubicBezTo>
                  <a:pt x="156" y="221"/>
                  <a:pt x="156" y="221"/>
                  <a:pt x="156" y="221"/>
                </a:cubicBezTo>
                <a:close/>
                <a:moveTo>
                  <a:pt x="185" y="167"/>
                </a:moveTo>
                <a:cubicBezTo>
                  <a:pt x="186" y="167"/>
                  <a:pt x="186" y="167"/>
                  <a:pt x="186" y="167"/>
                </a:cubicBezTo>
                <a:cubicBezTo>
                  <a:pt x="186" y="167"/>
                  <a:pt x="186" y="167"/>
                  <a:pt x="186" y="167"/>
                </a:cubicBezTo>
                <a:cubicBezTo>
                  <a:pt x="186" y="166"/>
                  <a:pt x="186" y="166"/>
                  <a:pt x="186" y="166"/>
                </a:cubicBezTo>
                <a:cubicBezTo>
                  <a:pt x="186" y="166"/>
                  <a:pt x="186" y="166"/>
                  <a:pt x="186" y="166"/>
                </a:cubicBezTo>
                <a:cubicBezTo>
                  <a:pt x="187" y="167"/>
                  <a:pt x="187" y="167"/>
                  <a:pt x="187" y="167"/>
                </a:cubicBezTo>
                <a:cubicBezTo>
                  <a:pt x="188" y="167"/>
                  <a:pt x="188" y="167"/>
                  <a:pt x="188" y="167"/>
                </a:cubicBezTo>
                <a:cubicBezTo>
                  <a:pt x="188" y="167"/>
                  <a:pt x="188" y="167"/>
                  <a:pt x="188" y="167"/>
                </a:cubicBezTo>
                <a:cubicBezTo>
                  <a:pt x="189" y="167"/>
                  <a:pt x="189" y="167"/>
                  <a:pt x="189" y="167"/>
                </a:cubicBezTo>
                <a:cubicBezTo>
                  <a:pt x="189" y="166"/>
                  <a:pt x="189" y="166"/>
                  <a:pt x="189" y="166"/>
                </a:cubicBezTo>
                <a:cubicBezTo>
                  <a:pt x="191" y="165"/>
                  <a:pt x="191" y="165"/>
                  <a:pt x="191" y="165"/>
                </a:cubicBezTo>
                <a:cubicBezTo>
                  <a:pt x="192" y="164"/>
                  <a:pt x="192" y="164"/>
                  <a:pt x="192" y="164"/>
                </a:cubicBezTo>
                <a:cubicBezTo>
                  <a:pt x="192" y="164"/>
                  <a:pt x="192" y="164"/>
                  <a:pt x="192" y="164"/>
                </a:cubicBezTo>
                <a:cubicBezTo>
                  <a:pt x="191" y="162"/>
                  <a:pt x="191" y="162"/>
                  <a:pt x="191" y="162"/>
                </a:cubicBezTo>
                <a:cubicBezTo>
                  <a:pt x="190" y="161"/>
                  <a:pt x="190" y="161"/>
                  <a:pt x="190" y="161"/>
                </a:cubicBezTo>
                <a:cubicBezTo>
                  <a:pt x="190" y="160"/>
                  <a:pt x="190" y="160"/>
                  <a:pt x="190" y="160"/>
                </a:cubicBezTo>
                <a:cubicBezTo>
                  <a:pt x="188" y="159"/>
                  <a:pt x="188" y="159"/>
                  <a:pt x="188" y="159"/>
                </a:cubicBezTo>
                <a:cubicBezTo>
                  <a:pt x="188" y="159"/>
                  <a:pt x="188" y="159"/>
                  <a:pt x="188" y="159"/>
                </a:cubicBezTo>
                <a:cubicBezTo>
                  <a:pt x="187" y="159"/>
                  <a:pt x="187" y="159"/>
                  <a:pt x="187" y="159"/>
                </a:cubicBezTo>
                <a:cubicBezTo>
                  <a:pt x="186" y="160"/>
                  <a:pt x="186" y="160"/>
                  <a:pt x="186" y="160"/>
                </a:cubicBezTo>
                <a:cubicBezTo>
                  <a:pt x="185" y="160"/>
                  <a:pt x="185" y="160"/>
                  <a:pt x="185" y="160"/>
                </a:cubicBezTo>
                <a:cubicBezTo>
                  <a:pt x="183" y="161"/>
                  <a:pt x="183" y="161"/>
                  <a:pt x="183" y="161"/>
                </a:cubicBezTo>
                <a:cubicBezTo>
                  <a:pt x="183" y="162"/>
                  <a:pt x="183" y="162"/>
                  <a:pt x="183" y="162"/>
                </a:cubicBezTo>
                <a:cubicBezTo>
                  <a:pt x="184" y="163"/>
                  <a:pt x="184" y="163"/>
                  <a:pt x="184" y="163"/>
                </a:cubicBezTo>
                <a:cubicBezTo>
                  <a:pt x="184" y="165"/>
                  <a:pt x="184" y="165"/>
                  <a:pt x="184" y="165"/>
                </a:cubicBezTo>
                <a:cubicBezTo>
                  <a:pt x="184" y="166"/>
                  <a:pt x="184" y="166"/>
                  <a:pt x="184" y="166"/>
                </a:cubicBezTo>
                <a:cubicBezTo>
                  <a:pt x="185" y="167"/>
                  <a:pt x="185" y="167"/>
                  <a:pt x="185" y="167"/>
                </a:cubicBezTo>
                <a:close/>
                <a:moveTo>
                  <a:pt x="189" y="220"/>
                </a:moveTo>
                <a:cubicBezTo>
                  <a:pt x="189" y="220"/>
                  <a:pt x="189" y="221"/>
                  <a:pt x="189" y="221"/>
                </a:cubicBezTo>
                <a:cubicBezTo>
                  <a:pt x="190" y="221"/>
                  <a:pt x="190" y="221"/>
                  <a:pt x="190" y="221"/>
                </a:cubicBezTo>
                <a:cubicBezTo>
                  <a:pt x="191" y="220"/>
                  <a:pt x="191" y="220"/>
                  <a:pt x="191" y="220"/>
                </a:cubicBezTo>
                <a:cubicBezTo>
                  <a:pt x="191" y="219"/>
                  <a:pt x="191" y="219"/>
                  <a:pt x="191" y="219"/>
                </a:cubicBezTo>
                <a:cubicBezTo>
                  <a:pt x="190" y="218"/>
                  <a:pt x="190" y="218"/>
                  <a:pt x="190" y="218"/>
                </a:cubicBezTo>
                <a:cubicBezTo>
                  <a:pt x="189" y="219"/>
                  <a:pt x="189" y="219"/>
                  <a:pt x="189" y="219"/>
                </a:cubicBezTo>
                <a:cubicBezTo>
                  <a:pt x="189" y="219"/>
                  <a:pt x="189" y="219"/>
                  <a:pt x="189" y="219"/>
                </a:cubicBezTo>
                <a:cubicBezTo>
                  <a:pt x="189" y="220"/>
                  <a:pt x="189" y="220"/>
                  <a:pt x="189" y="220"/>
                </a:cubicBezTo>
                <a:close/>
                <a:moveTo>
                  <a:pt x="213" y="250"/>
                </a:moveTo>
                <a:cubicBezTo>
                  <a:pt x="213" y="250"/>
                  <a:pt x="213" y="250"/>
                  <a:pt x="213" y="250"/>
                </a:cubicBezTo>
                <a:cubicBezTo>
                  <a:pt x="214" y="251"/>
                  <a:pt x="214" y="251"/>
                  <a:pt x="214" y="251"/>
                </a:cubicBezTo>
                <a:cubicBezTo>
                  <a:pt x="214" y="251"/>
                  <a:pt x="214" y="251"/>
                  <a:pt x="214" y="251"/>
                </a:cubicBezTo>
                <a:cubicBezTo>
                  <a:pt x="215" y="252"/>
                  <a:pt x="215" y="252"/>
                  <a:pt x="215" y="252"/>
                </a:cubicBezTo>
                <a:cubicBezTo>
                  <a:pt x="216" y="252"/>
                  <a:pt x="216" y="252"/>
                  <a:pt x="216" y="252"/>
                </a:cubicBezTo>
                <a:cubicBezTo>
                  <a:pt x="217" y="251"/>
                  <a:pt x="217" y="251"/>
                  <a:pt x="217" y="251"/>
                </a:cubicBezTo>
                <a:cubicBezTo>
                  <a:pt x="216" y="250"/>
                  <a:pt x="216" y="250"/>
                  <a:pt x="216" y="250"/>
                </a:cubicBezTo>
                <a:cubicBezTo>
                  <a:pt x="215" y="250"/>
                  <a:pt x="215" y="250"/>
                  <a:pt x="215" y="250"/>
                </a:cubicBezTo>
                <a:cubicBezTo>
                  <a:pt x="214" y="250"/>
                  <a:pt x="214" y="250"/>
                  <a:pt x="214" y="250"/>
                </a:cubicBezTo>
                <a:cubicBezTo>
                  <a:pt x="214" y="250"/>
                  <a:pt x="214" y="250"/>
                  <a:pt x="214" y="250"/>
                </a:cubicBezTo>
                <a:cubicBezTo>
                  <a:pt x="213" y="250"/>
                  <a:pt x="213" y="250"/>
                  <a:pt x="213" y="250"/>
                </a:cubicBezTo>
                <a:close/>
                <a:moveTo>
                  <a:pt x="208" y="166"/>
                </a:moveTo>
                <a:cubicBezTo>
                  <a:pt x="208" y="165"/>
                  <a:pt x="208" y="165"/>
                  <a:pt x="208" y="165"/>
                </a:cubicBezTo>
                <a:cubicBezTo>
                  <a:pt x="208" y="165"/>
                  <a:pt x="208" y="165"/>
                  <a:pt x="208" y="165"/>
                </a:cubicBezTo>
                <a:cubicBezTo>
                  <a:pt x="208" y="164"/>
                  <a:pt x="208" y="164"/>
                  <a:pt x="208" y="164"/>
                </a:cubicBezTo>
                <a:cubicBezTo>
                  <a:pt x="208" y="163"/>
                  <a:pt x="208" y="163"/>
                  <a:pt x="208" y="163"/>
                </a:cubicBezTo>
                <a:cubicBezTo>
                  <a:pt x="208" y="162"/>
                  <a:pt x="208" y="162"/>
                  <a:pt x="208" y="162"/>
                </a:cubicBezTo>
                <a:cubicBezTo>
                  <a:pt x="207" y="162"/>
                  <a:pt x="207" y="162"/>
                  <a:pt x="207" y="162"/>
                </a:cubicBezTo>
                <a:cubicBezTo>
                  <a:pt x="206" y="162"/>
                  <a:pt x="206" y="162"/>
                  <a:pt x="206" y="162"/>
                </a:cubicBezTo>
                <a:cubicBezTo>
                  <a:pt x="205" y="165"/>
                  <a:pt x="205" y="165"/>
                  <a:pt x="205" y="165"/>
                </a:cubicBezTo>
                <a:cubicBezTo>
                  <a:pt x="206" y="166"/>
                  <a:pt x="206" y="166"/>
                  <a:pt x="206" y="166"/>
                </a:cubicBezTo>
                <a:cubicBezTo>
                  <a:pt x="207" y="166"/>
                  <a:pt x="207" y="166"/>
                  <a:pt x="207" y="166"/>
                </a:cubicBezTo>
                <a:cubicBezTo>
                  <a:pt x="208" y="166"/>
                  <a:pt x="208" y="166"/>
                  <a:pt x="208" y="166"/>
                </a:cubicBezTo>
                <a:cubicBezTo>
                  <a:pt x="208" y="166"/>
                  <a:pt x="208" y="166"/>
                  <a:pt x="208" y="166"/>
                </a:cubicBezTo>
                <a:close/>
                <a:moveTo>
                  <a:pt x="206" y="157"/>
                </a:moveTo>
                <a:cubicBezTo>
                  <a:pt x="207" y="156"/>
                  <a:pt x="207" y="156"/>
                  <a:pt x="207" y="156"/>
                </a:cubicBezTo>
                <a:cubicBezTo>
                  <a:pt x="208" y="157"/>
                  <a:pt x="208" y="157"/>
                  <a:pt x="208" y="157"/>
                </a:cubicBezTo>
                <a:cubicBezTo>
                  <a:pt x="209" y="156"/>
                  <a:pt x="209" y="156"/>
                  <a:pt x="209" y="156"/>
                </a:cubicBezTo>
                <a:cubicBezTo>
                  <a:pt x="209" y="155"/>
                  <a:pt x="209" y="155"/>
                  <a:pt x="209" y="155"/>
                </a:cubicBezTo>
                <a:cubicBezTo>
                  <a:pt x="209" y="154"/>
                  <a:pt x="209" y="154"/>
                  <a:pt x="209" y="154"/>
                </a:cubicBezTo>
                <a:cubicBezTo>
                  <a:pt x="210" y="154"/>
                  <a:pt x="210" y="154"/>
                  <a:pt x="210" y="154"/>
                </a:cubicBezTo>
                <a:cubicBezTo>
                  <a:pt x="210" y="154"/>
                  <a:pt x="210" y="154"/>
                  <a:pt x="210" y="154"/>
                </a:cubicBezTo>
                <a:cubicBezTo>
                  <a:pt x="209" y="154"/>
                  <a:pt x="209" y="154"/>
                  <a:pt x="209" y="154"/>
                </a:cubicBezTo>
                <a:cubicBezTo>
                  <a:pt x="207" y="155"/>
                  <a:pt x="207" y="155"/>
                  <a:pt x="207" y="155"/>
                </a:cubicBezTo>
                <a:cubicBezTo>
                  <a:pt x="206" y="156"/>
                  <a:pt x="206" y="156"/>
                  <a:pt x="206" y="156"/>
                </a:cubicBezTo>
                <a:cubicBezTo>
                  <a:pt x="206" y="157"/>
                  <a:pt x="206" y="157"/>
                  <a:pt x="206" y="157"/>
                </a:cubicBezTo>
                <a:close/>
                <a:moveTo>
                  <a:pt x="212" y="159"/>
                </a:moveTo>
                <a:cubicBezTo>
                  <a:pt x="213" y="160"/>
                  <a:pt x="213" y="160"/>
                  <a:pt x="213" y="160"/>
                </a:cubicBezTo>
                <a:cubicBezTo>
                  <a:pt x="215" y="160"/>
                  <a:pt x="215" y="160"/>
                  <a:pt x="215" y="160"/>
                </a:cubicBezTo>
                <a:cubicBezTo>
                  <a:pt x="216" y="160"/>
                  <a:pt x="216" y="160"/>
                  <a:pt x="216" y="160"/>
                </a:cubicBezTo>
                <a:cubicBezTo>
                  <a:pt x="215" y="159"/>
                  <a:pt x="215" y="159"/>
                  <a:pt x="215" y="159"/>
                </a:cubicBezTo>
                <a:cubicBezTo>
                  <a:pt x="214" y="159"/>
                  <a:pt x="214" y="159"/>
                  <a:pt x="214" y="159"/>
                </a:cubicBezTo>
                <a:cubicBezTo>
                  <a:pt x="212" y="159"/>
                  <a:pt x="212" y="159"/>
                  <a:pt x="212" y="159"/>
                </a:cubicBezTo>
                <a:cubicBezTo>
                  <a:pt x="212" y="159"/>
                  <a:pt x="212" y="159"/>
                  <a:pt x="212" y="159"/>
                </a:cubicBezTo>
                <a:close/>
                <a:moveTo>
                  <a:pt x="224" y="168"/>
                </a:moveTo>
                <a:cubicBezTo>
                  <a:pt x="224" y="169"/>
                  <a:pt x="224" y="169"/>
                  <a:pt x="224" y="169"/>
                </a:cubicBezTo>
                <a:cubicBezTo>
                  <a:pt x="223" y="170"/>
                  <a:pt x="223" y="170"/>
                  <a:pt x="223" y="170"/>
                </a:cubicBezTo>
                <a:cubicBezTo>
                  <a:pt x="222" y="171"/>
                  <a:pt x="222" y="171"/>
                  <a:pt x="222" y="171"/>
                </a:cubicBezTo>
                <a:cubicBezTo>
                  <a:pt x="222" y="172"/>
                  <a:pt x="222" y="172"/>
                  <a:pt x="222" y="172"/>
                </a:cubicBezTo>
                <a:cubicBezTo>
                  <a:pt x="223" y="173"/>
                  <a:pt x="223" y="173"/>
                  <a:pt x="223" y="173"/>
                </a:cubicBezTo>
                <a:cubicBezTo>
                  <a:pt x="224" y="173"/>
                  <a:pt x="224" y="173"/>
                  <a:pt x="224" y="173"/>
                </a:cubicBezTo>
                <a:cubicBezTo>
                  <a:pt x="225" y="171"/>
                  <a:pt x="225" y="171"/>
                  <a:pt x="225" y="171"/>
                </a:cubicBezTo>
                <a:cubicBezTo>
                  <a:pt x="226" y="171"/>
                  <a:pt x="226" y="171"/>
                  <a:pt x="226" y="171"/>
                </a:cubicBezTo>
                <a:cubicBezTo>
                  <a:pt x="226" y="170"/>
                  <a:pt x="226" y="170"/>
                  <a:pt x="226" y="170"/>
                </a:cubicBezTo>
                <a:cubicBezTo>
                  <a:pt x="227" y="169"/>
                  <a:pt x="227" y="169"/>
                  <a:pt x="227" y="169"/>
                </a:cubicBezTo>
                <a:cubicBezTo>
                  <a:pt x="229" y="168"/>
                  <a:pt x="229" y="168"/>
                  <a:pt x="229" y="168"/>
                </a:cubicBezTo>
                <a:cubicBezTo>
                  <a:pt x="228" y="167"/>
                  <a:pt x="228" y="167"/>
                  <a:pt x="228" y="167"/>
                </a:cubicBezTo>
                <a:cubicBezTo>
                  <a:pt x="228" y="166"/>
                  <a:pt x="228" y="166"/>
                  <a:pt x="228" y="166"/>
                </a:cubicBezTo>
                <a:cubicBezTo>
                  <a:pt x="227" y="166"/>
                  <a:pt x="227" y="166"/>
                  <a:pt x="227" y="166"/>
                </a:cubicBezTo>
                <a:cubicBezTo>
                  <a:pt x="225" y="167"/>
                  <a:pt x="225" y="167"/>
                  <a:pt x="225" y="167"/>
                </a:cubicBezTo>
                <a:cubicBezTo>
                  <a:pt x="224" y="168"/>
                  <a:pt x="224" y="168"/>
                  <a:pt x="224" y="168"/>
                </a:cubicBezTo>
                <a:close/>
                <a:moveTo>
                  <a:pt x="228" y="156"/>
                </a:moveTo>
                <a:cubicBezTo>
                  <a:pt x="227" y="158"/>
                  <a:pt x="227" y="158"/>
                  <a:pt x="227" y="158"/>
                </a:cubicBezTo>
                <a:cubicBezTo>
                  <a:pt x="227" y="160"/>
                  <a:pt x="227" y="160"/>
                  <a:pt x="227" y="160"/>
                </a:cubicBezTo>
                <a:cubicBezTo>
                  <a:pt x="226" y="161"/>
                  <a:pt x="226" y="161"/>
                  <a:pt x="226" y="161"/>
                </a:cubicBezTo>
                <a:cubicBezTo>
                  <a:pt x="226" y="162"/>
                  <a:pt x="226" y="162"/>
                  <a:pt x="226" y="162"/>
                </a:cubicBezTo>
                <a:cubicBezTo>
                  <a:pt x="228" y="162"/>
                  <a:pt x="228" y="162"/>
                  <a:pt x="228" y="162"/>
                </a:cubicBezTo>
                <a:cubicBezTo>
                  <a:pt x="228" y="163"/>
                  <a:pt x="228" y="163"/>
                  <a:pt x="228" y="163"/>
                </a:cubicBezTo>
                <a:cubicBezTo>
                  <a:pt x="230" y="163"/>
                  <a:pt x="230" y="163"/>
                  <a:pt x="230" y="163"/>
                </a:cubicBezTo>
                <a:cubicBezTo>
                  <a:pt x="231" y="164"/>
                  <a:pt x="231" y="164"/>
                  <a:pt x="231" y="164"/>
                </a:cubicBezTo>
                <a:cubicBezTo>
                  <a:pt x="232" y="163"/>
                  <a:pt x="232" y="163"/>
                  <a:pt x="232" y="163"/>
                </a:cubicBezTo>
                <a:cubicBezTo>
                  <a:pt x="232" y="163"/>
                  <a:pt x="232" y="163"/>
                  <a:pt x="232" y="163"/>
                </a:cubicBezTo>
                <a:cubicBezTo>
                  <a:pt x="231" y="161"/>
                  <a:pt x="231" y="161"/>
                  <a:pt x="231" y="161"/>
                </a:cubicBezTo>
                <a:cubicBezTo>
                  <a:pt x="230" y="159"/>
                  <a:pt x="230" y="159"/>
                  <a:pt x="230" y="159"/>
                </a:cubicBezTo>
                <a:cubicBezTo>
                  <a:pt x="229" y="158"/>
                  <a:pt x="229" y="158"/>
                  <a:pt x="229" y="158"/>
                </a:cubicBezTo>
                <a:cubicBezTo>
                  <a:pt x="228" y="156"/>
                  <a:pt x="228" y="156"/>
                  <a:pt x="228" y="156"/>
                </a:cubicBezTo>
                <a:close/>
                <a:moveTo>
                  <a:pt x="220" y="135"/>
                </a:moveTo>
                <a:cubicBezTo>
                  <a:pt x="219" y="134"/>
                  <a:pt x="219" y="134"/>
                  <a:pt x="219" y="134"/>
                </a:cubicBezTo>
                <a:cubicBezTo>
                  <a:pt x="220" y="134"/>
                  <a:pt x="220" y="134"/>
                  <a:pt x="220" y="134"/>
                </a:cubicBezTo>
                <a:cubicBezTo>
                  <a:pt x="219" y="133"/>
                  <a:pt x="219" y="133"/>
                  <a:pt x="219" y="133"/>
                </a:cubicBezTo>
                <a:cubicBezTo>
                  <a:pt x="217" y="133"/>
                  <a:pt x="217" y="133"/>
                  <a:pt x="217" y="133"/>
                </a:cubicBezTo>
                <a:cubicBezTo>
                  <a:pt x="217" y="134"/>
                  <a:pt x="217" y="134"/>
                  <a:pt x="217" y="134"/>
                </a:cubicBezTo>
                <a:cubicBezTo>
                  <a:pt x="218" y="134"/>
                  <a:pt x="218" y="134"/>
                  <a:pt x="218" y="134"/>
                </a:cubicBezTo>
                <a:cubicBezTo>
                  <a:pt x="218" y="135"/>
                  <a:pt x="218" y="135"/>
                  <a:pt x="218" y="135"/>
                </a:cubicBezTo>
                <a:cubicBezTo>
                  <a:pt x="219" y="136"/>
                  <a:pt x="219" y="136"/>
                  <a:pt x="219" y="136"/>
                </a:cubicBezTo>
                <a:cubicBezTo>
                  <a:pt x="220" y="135"/>
                  <a:pt x="220" y="135"/>
                  <a:pt x="220" y="135"/>
                </a:cubicBezTo>
                <a:close/>
                <a:moveTo>
                  <a:pt x="224" y="120"/>
                </a:moveTo>
                <a:cubicBezTo>
                  <a:pt x="223" y="119"/>
                  <a:pt x="223" y="119"/>
                  <a:pt x="223" y="119"/>
                </a:cubicBezTo>
                <a:cubicBezTo>
                  <a:pt x="222" y="119"/>
                  <a:pt x="222" y="119"/>
                  <a:pt x="222" y="119"/>
                </a:cubicBezTo>
                <a:cubicBezTo>
                  <a:pt x="223" y="121"/>
                  <a:pt x="223" y="121"/>
                  <a:pt x="223" y="121"/>
                </a:cubicBezTo>
                <a:cubicBezTo>
                  <a:pt x="223" y="121"/>
                  <a:pt x="223" y="121"/>
                  <a:pt x="223" y="121"/>
                </a:cubicBezTo>
                <a:cubicBezTo>
                  <a:pt x="224" y="121"/>
                  <a:pt x="224" y="121"/>
                  <a:pt x="224" y="121"/>
                </a:cubicBezTo>
                <a:cubicBezTo>
                  <a:pt x="225" y="121"/>
                  <a:pt x="225" y="121"/>
                  <a:pt x="225" y="121"/>
                </a:cubicBezTo>
                <a:cubicBezTo>
                  <a:pt x="225" y="123"/>
                  <a:pt x="225" y="123"/>
                  <a:pt x="225" y="123"/>
                </a:cubicBezTo>
                <a:cubicBezTo>
                  <a:pt x="225" y="123"/>
                  <a:pt x="225" y="123"/>
                  <a:pt x="225" y="123"/>
                </a:cubicBezTo>
                <a:cubicBezTo>
                  <a:pt x="225" y="122"/>
                  <a:pt x="225" y="122"/>
                  <a:pt x="225" y="122"/>
                </a:cubicBezTo>
                <a:cubicBezTo>
                  <a:pt x="225" y="121"/>
                  <a:pt x="225" y="121"/>
                  <a:pt x="225" y="121"/>
                </a:cubicBezTo>
                <a:cubicBezTo>
                  <a:pt x="226" y="120"/>
                  <a:pt x="226" y="120"/>
                  <a:pt x="226" y="120"/>
                </a:cubicBezTo>
                <a:cubicBezTo>
                  <a:pt x="226" y="119"/>
                  <a:pt x="226" y="119"/>
                  <a:pt x="226" y="119"/>
                </a:cubicBezTo>
                <a:cubicBezTo>
                  <a:pt x="225" y="119"/>
                  <a:pt x="225" y="119"/>
                  <a:pt x="225" y="119"/>
                </a:cubicBezTo>
                <a:cubicBezTo>
                  <a:pt x="225" y="118"/>
                  <a:pt x="225" y="118"/>
                  <a:pt x="225" y="118"/>
                </a:cubicBezTo>
                <a:cubicBezTo>
                  <a:pt x="225" y="117"/>
                  <a:pt x="225" y="117"/>
                  <a:pt x="225" y="117"/>
                </a:cubicBezTo>
                <a:cubicBezTo>
                  <a:pt x="224" y="117"/>
                  <a:pt x="224" y="117"/>
                  <a:pt x="224" y="117"/>
                </a:cubicBezTo>
                <a:cubicBezTo>
                  <a:pt x="223" y="117"/>
                  <a:pt x="223" y="117"/>
                  <a:pt x="223" y="117"/>
                </a:cubicBezTo>
                <a:cubicBezTo>
                  <a:pt x="223" y="118"/>
                  <a:pt x="223" y="118"/>
                  <a:pt x="223" y="118"/>
                </a:cubicBezTo>
                <a:cubicBezTo>
                  <a:pt x="224" y="119"/>
                  <a:pt x="224" y="119"/>
                  <a:pt x="224" y="119"/>
                </a:cubicBezTo>
                <a:cubicBezTo>
                  <a:pt x="224" y="120"/>
                  <a:pt x="224" y="120"/>
                  <a:pt x="224" y="120"/>
                </a:cubicBezTo>
                <a:close/>
                <a:moveTo>
                  <a:pt x="222" y="112"/>
                </a:moveTo>
                <a:cubicBezTo>
                  <a:pt x="220" y="112"/>
                  <a:pt x="220" y="112"/>
                  <a:pt x="220" y="112"/>
                </a:cubicBezTo>
                <a:cubicBezTo>
                  <a:pt x="220" y="111"/>
                  <a:pt x="220" y="111"/>
                  <a:pt x="220" y="111"/>
                </a:cubicBezTo>
                <a:cubicBezTo>
                  <a:pt x="219" y="111"/>
                  <a:pt x="219" y="111"/>
                  <a:pt x="219" y="111"/>
                </a:cubicBezTo>
                <a:cubicBezTo>
                  <a:pt x="218" y="111"/>
                  <a:pt x="218" y="111"/>
                  <a:pt x="218" y="111"/>
                </a:cubicBezTo>
                <a:cubicBezTo>
                  <a:pt x="218" y="112"/>
                  <a:pt x="218" y="112"/>
                  <a:pt x="218" y="112"/>
                </a:cubicBezTo>
                <a:cubicBezTo>
                  <a:pt x="220" y="113"/>
                  <a:pt x="220" y="113"/>
                  <a:pt x="220" y="113"/>
                </a:cubicBezTo>
                <a:cubicBezTo>
                  <a:pt x="221" y="113"/>
                  <a:pt x="221" y="113"/>
                  <a:pt x="221" y="113"/>
                </a:cubicBezTo>
                <a:cubicBezTo>
                  <a:pt x="222" y="112"/>
                  <a:pt x="222" y="112"/>
                  <a:pt x="222" y="112"/>
                </a:cubicBezTo>
                <a:close/>
                <a:moveTo>
                  <a:pt x="222" y="111"/>
                </a:moveTo>
                <a:cubicBezTo>
                  <a:pt x="222" y="111"/>
                  <a:pt x="222" y="111"/>
                  <a:pt x="222" y="111"/>
                </a:cubicBezTo>
                <a:cubicBezTo>
                  <a:pt x="224" y="111"/>
                  <a:pt x="224" y="111"/>
                  <a:pt x="224" y="111"/>
                </a:cubicBezTo>
                <a:cubicBezTo>
                  <a:pt x="225" y="111"/>
                  <a:pt x="225" y="111"/>
                  <a:pt x="225" y="111"/>
                </a:cubicBezTo>
                <a:cubicBezTo>
                  <a:pt x="226" y="111"/>
                  <a:pt x="226" y="111"/>
                  <a:pt x="226" y="111"/>
                </a:cubicBezTo>
                <a:cubicBezTo>
                  <a:pt x="226" y="110"/>
                  <a:pt x="226" y="110"/>
                  <a:pt x="226" y="110"/>
                </a:cubicBezTo>
                <a:cubicBezTo>
                  <a:pt x="224" y="110"/>
                  <a:pt x="224" y="110"/>
                  <a:pt x="224" y="110"/>
                </a:cubicBezTo>
                <a:cubicBezTo>
                  <a:pt x="223" y="109"/>
                  <a:pt x="223" y="109"/>
                  <a:pt x="223" y="109"/>
                </a:cubicBezTo>
                <a:cubicBezTo>
                  <a:pt x="222" y="110"/>
                  <a:pt x="222" y="110"/>
                  <a:pt x="222" y="110"/>
                </a:cubicBezTo>
                <a:cubicBezTo>
                  <a:pt x="222" y="111"/>
                  <a:pt x="222" y="111"/>
                  <a:pt x="222" y="111"/>
                </a:cubicBezTo>
                <a:close/>
                <a:moveTo>
                  <a:pt x="236" y="141"/>
                </a:moveTo>
                <a:cubicBezTo>
                  <a:pt x="237" y="140"/>
                  <a:pt x="237" y="140"/>
                  <a:pt x="237" y="140"/>
                </a:cubicBezTo>
                <a:cubicBezTo>
                  <a:pt x="236" y="139"/>
                  <a:pt x="236" y="139"/>
                  <a:pt x="236" y="139"/>
                </a:cubicBezTo>
                <a:cubicBezTo>
                  <a:pt x="235" y="139"/>
                  <a:pt x="235" y="139"/>
                  <a:pt x="235" y="139"/>
                </a:cubicBezTo>
                <a:cubicBezTo>
                  <a:pt x="235" y="140"/>
                  <a:pt x="235" y="140"/>
                  <a:pt x="235" y="140"/>
                </a:cubicBezTo>
                <a:cubicBezTo>
                  <a:pt x="235" y="141"/>
                  <a:pt x="235" y="141"/>
                  <a:pt x="235" y="141"/>
                </a:cubicBezTo>
                <a:cubicBezTo>
                  <a:pt x="236" y="141"/>
                  <a:pt x="236" y="141"/>
                  <a:pt x="236" y="141"/>
                </a:cubicBezTo>
                <a:close/>
                <a:moveTo>
                  <a:pt x="240" y="140"/>
                </a:moveTo>
                <a:cubicBezTo>
                  <a:pt x="241" y="139"/>
                  <a:pt x="241" y="139"/>
                  <a:pt x="241" y="139"/>
                </a:cubicBezTo>
                <a:cubicBezTo>
                  <a:pt x="241" y="139"/>
                  <a:pt x="241" y="139"/>
                  <a:pt x="241" y="139"/>
                </a:cubicBezTo>
                <a:cubicBezTo>
                  <a:pt x="239" y="138"/>
                  <a:pt x="239" y="138"/>
                  <a:pt x="239" y="138"/>
                </a:cubicBezTo>
                <a:cubicBezTo>
                  <a:pt x="239" y="139"/>
                  <a:pt x="239" y="139"/>
                  <a:pt x="239" y="139"/>
                </a:cubicBezTo>
                <a:cubicBezTo>
                  <a:pt x="238" y="139"/>
                  <a:pt x="238" y="139"/>
                  <a:pt x="238" y="139"/>
                </a:cubicBezTo>
                <a:cubicBezTo>
                  <a:pt x="238" y="140"/>
                  <a:pt x="238" y="140"/>
                  <a:pt x="238" y="140"/>
                </a:cubicBezTo>
                <a:cubicBezTo>
                  <a:pt x="240" y="140"/>
                  <a:pt x="240" y="140"/>
                  <a:pt x="240" y="140"/>
                </a:cubicBezTo>
                <a:close/>
                <a:moveTo>
                  <a:pt x="245" y="141"/>
                </a:moveTo>
                <a:cubicBezTo>
                  <a:pt x="246" y="141"/>
                  <a:pt x="246" y="141"/>
                  <a:pt x="246" y="141"/>
                </a:cubicBezTo>
                <a:cubicBezTo>
                  <a:pt x="245" y="140"/>
                  <a:pt x="245" y="140"/>
                  <a:pt x="245" y="140"/>
                </a:cubicBezTo>
                <a:cubicBezTo>
                  <a:pt x="243" y="141"/>
                  <a:pt x="243" y="141"/>
                  <a:pt x="243" y="141"/>
                </a:cubicBezTo>
                <a:cubicBezTo>
                  <a:pt x="244" y="141"/>
                  <a:pt x="244" y="141"/>
                  <a:pt x="244" y="141"/>
                </a:cubicBezTo>
                <a:cubicBezTo>
                  <a:pt x="245" y="141"/>
                  <a:pt x="245" y="141"/>
                  <a:pt x="245" y="141"/>
                </a:cubicBezTo>
                <a:close/>
                <a:moveTo>
                  <a:pt x="254" y="138"/>
                </a:moveTo>
                <a:cubicBezTo>
                  <a:pt x="255" y="140"/>
                  <a:pt x="255" y="140"/>
                  <a:pt x="255" y="140"/>
                </a:cubicBezTo>
                <a:cubicBezTo>
                  <a:pt x="255" y="140"/>
                  <a:pt x="255" y="140"/>
                  <a:pt x="255" y="140"/>
                </a:cubicBezTo>
                <a:cubicBezTo>
                  <a:pt x="256" y="139"/>
                  <a:pt x="256" y="139"/>
                  <a:pt x="256" y="139"/>
                </a:cubicBezTo>
                <a:cubicBezTo>
                  <a:pt x="255" y="139"/>
                  <a:pt x="255" y="139"/>
                  <a:pt x="255" y="139"/>
                </a:cubicBezTo>
                <a:cubicBezTo>
                  <a:pt x="254" y="138"/>
                  <a:pt x="254" y="138"/>
                  <a:pt x="254" y="138"/>
                </a:cubicBezTo>
                <a:close/>
                <a:moveTo>
                  <a:pt x="249" y="137"/>
                </a:moveTo>
                <a:cubicBezTo>
                  <a:pt x="250" y="137"/>
                  <a:pt x="250" y="137"/>
                  <a:pt x="250" y="137"/>
                </a:cubicBezTo>
                <a:cubicBezTo>
                  <a:pt x="251" y="136"/>
                  <a:pt x="251" y="136"/>
                  <a:pt x="251" y="136"/>
                </a:cubicBezTo>
                <a:cubicBezTo>
                  <a:pt x="250" y="136"/>
                  <a:pt x="250" y="136"/>
                  <a:pt x="250" y="136"/>
                </a:cubicBezTo>
                <a:cubicBezTo>
                  <a:pt x="249" y="136"/>
                  <a:pt x="249" y="136"/>
                  <a:pt x="249" y="136"/>
                </a:cubicBezTo>
                <a:cubicBezTo>
                  <a:pt x="249" y="137"/>
                  <a:pt x="249" y="137"/>
                  <a:pt x="249" y="137"/>
                </a:cubicBezTo>
                <a:cubicBezTo>
                  <a:pt x="249" y="137"/>
                  <a:pt x="249" y="137"/>
                  <a:pt x="249" y="137"/>
                </a:cubicBezTo>
                <a:close/>
                <a:moveTo>
                  <a:pt x="245" y="132"/>
                </a:moveTo>
                <a:cubicBezTo>
                  <a:pt x="245" y="131"/>
                  <a:pt x="245" y="131"/>
                  <a:pt x="245" y="131"/>
                </a:cubicBezTo>
                <a:cubicBezTo>
                  <a:pt x="244" y="131"/>
                  <a:pt x="244" y="131"/>
                  <a:pt x="244" y="131"/>
                </a:cubicBezTo>
                <a:cubicBezTo>
                  <a:pt x="243" y="132"/>
                  <a:pt x="243" y="132"/>
                  <a:pt x="243" y="132"/>
                </a:cubicBezTo>
                <a:cubicBezTo>
                  <a:pt x="243" y="133"/>
                  <a:pt x="243" y="133"/>
                  <a:pt x="243" y="133"/>
                </a:cubicBezTo>
                <a:cubicBezTo>
                  <a:pt x="244" y="134"/>
                  <a:pt x="244" y="134"/>
                  <a:pt x="244" y="134"/>
                </a:cubicBezTo>
                <a:cubicBezTo>
                  <a:pt x="244" y="133"/>
                  <a:pt x="244" y="133"/>
                  <a:pt x="244" y="133"/>
                </a:cubicBezTo>
                <a:cubicBezTo>
                  <a:pt x="244" y="133"/>
                  <a:pt x="244" y="133"/>
                  <a:pt x="244" y="133"/>
                </a:cubicBezTo>
                <a:cubicBezTo>
                  <a:pt x="244" y="132"/>
                  <a:pt x="244" y="132"/>
                  <a:pt x="244" y="132"/>
                </a:cubicBezTo>
                <a:cubicBezTo>
                  <a:pt x="245" y="132"/>
                  <a:pt x="245" y="132"/>
                  <a:pt x="245" y="132"/>
                </a:cubicBezTo>
                <a:close/>
                <a:moveTo>
                  <a:pt x="248" y="131"/>
                </a:moveTo>
                <a:cubicBezTo>
                  <a:pt x="248" y="130"/>
                  <a:pt x="248" y="130"/>
                  <a:pt x="248" y="130"/>
                </a:cubicBezTo>
                <a:cubicBezTo>
                  <a:pt x="247" y="130"/>
                  <a:pt x="247" y="130"/>
                  <a:pt x="247" y="130"/>
                </a:cubicBezTo>
                <a:cubicBezTo>
                  <a:pt x="246" y="131"/>
                  <a:pt x="246" y="131"/>
                  <a:pt x="246" y="131"/>
                </a:cubicBezTo>
                <a:cubicBezTo>
                  <a:pt x="247" y="132"/>
                  <a:pt x="247" y="132"/>
                  <a:pt x="247" y="132"/>
                </a:cubicBezTo>
                <a:cubicBezTo>
                  <a:pt x="248" y="132"/>
                  <a:pt x="248" y="132"/>
                  <a:pt x="248" y="132"/>
                </a:cubicBezTo>
                <a:cubicBezTo>
                  <a:pt x="248" y="131"/>
                  <a:pt x="248" y="131"/>
                  <a:pt x="248" y="131"/>
                </a:cubicBezTo>
                <a:cubicBezTo>
                  <a:pt x="248" y="131"/>
                  <a:pt x="248" y="131"/>
                  <a:pt x="248" y="131"/>
                </a:cubicBezTo>
                <a:close/>
                <a:moveTo>
                  <a:pt x="249" y="132"/>
                </a:moveTo>
                <a:cubicBezTo>
                  <a:pt x="249" y="132"/>
                  <a:pt x="249" y="132"/>
                  <a:pt x="249" y="132"/>
                </a:cubicBezTo>
                <a:cubicBezTo>
                  <a:pt x="250" y="132"/>
                  <a:pt x="250" y="132"/>
                  <a:pt x="250" y="132"/>
                </a:cubicBezTo>
                <a:cubicBezTo>
                  <a:pt x="251" y="131"/>
                  <a:pt x="251" y="131"/>
                  <a:pt x="251" y="131"/>
                </a:cubicBezTo>
                <a:cubicBezTo>
                  <a:pt x="251" y="130"/>
                  <a:pt x="251" y="130"/>
                  <a:pt x="251" y="130"/>
                </a:cubicBezTo>
                <a:cubicBezTo>
                  <a:pt x="250" y="129"/>
                  <a:pt x="250" y="129"/>
                  <a:pt x="250" y="129"/>
                </a:cubicBezTo>
                <a:cubicBezTo>
                  <a:pt x="249" y="129"/>
                  <a:pt x="249" y="129"/>
                  <a:pt x="249" y="129"/>
                </a:cubicBezTo>
                <a:cubicBezTo>
                  <a:pt x="249" y="130"/>
                  <a:pt x="249" y="130"/>
                  <a:pt x="249" y="130"/>
                </a:cubicBezTo>
                <a:cubicBezTo>
                  <a:pt x="249" y="131"/>
                  <a:pt x="249" y="131"/>
                  <a:pt x="249" y="131"/>
                </a:cubicBezTo>
                <a:cubicBezTo>
                  <a:pt x="249" y="132"/>
                  <a:pt x="249" y="132"/>
                  <a:pt x="249" y="132"/>
                </a:cubicBezTo>
                <a:close/>
                <a:moveTo>
                  <a:pt x="245" y="128"/>
                </a:moveTo>
                <a:cubicBezTo>
                  <a:pt x="246" y="127"/>
                  <a:pt x="246" y="127"/>
                  <a:pt x="246" y="127"/>
                </a:cubicBezTo>
                <a:cubicBezTo>
                  <a:pt x="246" y="126"/>
                  <a:pt x="246" y="126"/>
                  <a:pt x="246" y="126"/>
                </a:cubicBezTo>
                <a:cubicBezTo>
                  <a:pt x="245" y="126"/>
                  <a:pt x="245" y="126"/>
                  <a:pt x="245" y="126"/>
                </a:cubicBezTo>
                <a:cubicBezTo>
                  <a:pt x="244" y="126"/>
                  <a:pt x="244" y="126"/>
                  <a:pt x="244" y="126"/>
                </a:cubicBezTo>
                <a:cubicBezTo>
                  <a:pt x="243" y="127"/>
                  <a:pt x="243" y="127"/>
                  <a:pt x="243" y="127"/>
                </a:cubicBezTo>
                <a:cubicBezTo>
                  <a:pt x="243" y="127"/>
                  <a:pt x="243" y="127"/>
                  <a:pt x="243" y="127"/>
                </a:cubicBezTo>
                <a:cubicBezTo>
                  <a:pt x="245" y="127"/>
                  <a:pt x="245" y="127"/>
                  <a:pt x="245" y="127"/>
                </a:cubicBezTo>
                <a:cubicBezTo>
                  <a:pt x="245" y="128"/>
                  <a:pt x="245" y="128"/>
                  <a:pt x="245" y="128"/>
                </a:cubicBezTo>
                <a:close/>
                <a:moveTo>
                  <a:pt x="251" y="125"/>
                </a:moveTo>
                <a:cubicBezTo>
                  <a:pt x="252" y="125"/>
                  <a:pt x="252" y="125"/>
                  <a:pt x="252" y="125"/>
                </a:cubicBezTo>
                <a:cubicBezTo>
                  <a:pt x="251" y="124"/>
                  <a:pt x="251" y="124"/>
                  <a:pt x="251" y="124"/>
                </a:cubicBezTo>
                <a:cubicBezTo>
                  <a:pt x="251" y="124"/>
                  <a:pt x="251" y="124"/>
                  <a:pt x="251" y="124"/>
                </a:cubicBezTo>
                <a:cubicBezTo>
                  <a:pt x="252" y="123"/>
                  <a:pt x="252" y="123"/>
                  <a:pt x="252" y="123"/>
                </a:cubicBezTo>
                <a:cubicBezTo>
                  <a:pt x="252" y="123"/>
                  <a:pt x="252" y="123"/>
                  <a:pt x="252" y="123"/>
                </a:cubicBezTo>
                <a:cubicBezTo>
                  <a:pt x="251" y="122"/>
                  <a:pt x="251" y="122"/>
                  <a:pt x="251" y="122"/>
                </a:cubicBezTo>
                <a:cubicBezTo>
                  <a:pt x="250" y="122"/>
                  <a:pt x="250" y="122"/>
                  <a:pt x="250" y="122"/>
                </a:cubicBezTo>
                <a:cubicBezTo>
                  <a:pt x="249" y="122"/>
                  <a:pt x="249" y="122"/>
                  <a:pt x="249" y="122"/>
                </a:cubicBezTo>
                <a:cubicBezTo>
                  <a:pt x="249" y="123"/>
                  <a:pt x="249" y="123"/>
                  <a:pt x="249" y="123"/>
                </a:cubicBezTo>
                <a:cubicBezTo>
                  <a:pt x="249" y="123"/>
                  <a:pt x="249" y="123"/>
                  <a:pt x="249" y="123"/>
                </a:cubicBezTo>
                <a:cubicBezTo>
                  <a:pt x="248" y="122"/>
                  <a:pt x="248" y="122"/>
                  <a:pt x="248" y="122"/>
                </a:cubicBezTo>
                <a:cubicBezTo>
                  <a:pt x="248" y="123"/>
                  <a:pt x="248" y="123"/>
                  <a:pt x="248" y="123"/>
                </a:cubicBezTo>
                <a:cubicBezTo>
                  <a:pt x="248" y="124"/>
                  <a:pt x="248" y="124"/>
                  <a:pt x="248" y="124"/>
                </a:cubicBezTo>
                <a:cubicBezTo>
                  <a:pt x="249" y="124"/>
                  <a:pt x="249" y="124"/>
                  <a:pt x="249" y="124"/>
                </a:cubicBezTo>
                <a:cubicBezTo>
                  <a:pt x="250" y="124"/>
                  <a:pt x="250" y="124"/>
                  <a:pt x="250" y="124"/>
                </a:cubicBezTo>
                <a:cubicBezTo>
                  <a:pt x="251" y="125"/>
                  <a:pt x="251" y="125"/>
                  <a:pt x="251" y="125"/>
                </a:cubicBezTo>
                <a:close/>
                <a:moveTo>
                  <a:pt x="246" y="71"/>
                </a:moveTo>
                <a:cubicBezTo>
                  <a:pt x="247" y="71"/>
                  <a:pt x="247" y="71"/>
                  <a:pt x="247" y="71"/>
                </a:cubicBezTo>
                <a:cubicBezTo>
                  <a:pt x="247" y="70"/>
                  <a:pt x="247" y="70"/>
                  <a:pt x="247" y="70"/>
                </a:cubicBezTo>
                <a:cubicBezTo>
                  <a:pt x="246" y="70"/>
                  <a:pt x="246" y="70"/>
                  <a:pt x="246" y="70"/>
                </a:cubicBezTo>
                <a:cubicBezTo>
                  <a:pt x="246" y="70"/>
                  <a:pt x="246" y="70"/>
                  <a:pt x="246" y="70"/>
                </a:cubicBezTo>
                <a:cubicBezTo>
                  <a:pt x="246" y="71"/>
                  <a:pt x="246" y="71"/>
                  <a:pt x="246" y="71"/>
                </a:cubicBezTo>
                <a:close/>
                <a:moveTo>
                  <a:pt x="239" y="82"/>
                </a:moveTo>
                <a:cubicBezTo>
                  <a:pt x="240" y="83"/>
                  <a:pt x="240" y="83"/>
                  <a:pt x="240" y="83"/>
                </a:cubicBezTo>
                <a:cubicBezTo>
                  <a:pt x="240" y="83"/>
                  <a:pt x="240" y="83"/>
                  <a:pt x="240" y="83"/>
                </a:cubicBezTo>
                <a:cubicBezTo>
                  <a:pt x="241" y="82"/>
                  <a:pt x="241" y="82"/>
                  <a:pt x="241" y="82"/>
                </a:cubicBezTo>
                <a:cubicBezTo>
                  <a:pt x="242" y="81"/>
                  <a:pt x="242" y="81"/>
                  <a:pt x="242" y="81"/>
                </a:cubicBezTo>
                <a:cubicBezTo>
                  <a:pt x="242" y="80"/>
                  <a:pt x="242" y="80"/>
                  <a:pt x="242" y="80"/>
                </a:cubicBezTo>
                <a:cubicBezTo>
                  <a:pt x="241" y="79"/>
                  <a:pt x="241" y="79"/>
                  <a:pt x="241" y="79"/>
                </a:cubicBezTo>
                <a:cubicBezTo>
                  <a:pt x="240" y="79"/>
                  <a:pt x="240" y="79"/>
                  <a:pt x="240" y="79"/>
                </a:cubicBezTo>
                <a:cubicBezTo>
                  <a:pt x="239" y="80"/>
                  <a:pt x="239" y="80"/>
                  <a:pt x="239" y="80"/>
                </a:cubicBezTo>
                <a:cubicBezTo>
                  <a:pt x="240" y="81"/>
                  <a:pt x="240" y="81"/>
                  <a:pt x="240" y="81"/>
                </a:cubicBezTo>
                <a:cubicBezTo>
                  <a:pt x="239" y="82"/>
                  <a:pt x="239" y="82"/>
                  <a:pt x="239" y="82"/>
                </a:cubicBezTo>
                <a:close/>
                <a:moveTo>
                  <a:pt x="267" y="80"/>
                </a:moveTo>
                <a:cubicBezTo>
                  <a:pt x="268" y="80"/>
                  <a:pt x="268" y="80"/>
                  <a:pt x="268" y="80"/>
                </a:cubicBezTo>
                <a:cubicBezTo>
                  <a:pt x="269" y="79"/>
                  <a:pt x="269" y="79"/>
                  <a:pt x="269" y="79"/>
                </a:cubicBezTo>
                <a:cubicBezTo>
                  <a:pt x="270" y="78"/>
                  <a:pt x="270" y="78"/>
                  <a:pt x="270" y="78"/>
                </a:cubicBezTo>
                <a:cubicBezTo>
                  <a:pt x="270" y="78"/>
                  <a:pt x="270" y="78"/>
                  <a:pt x="270" y="78"/>
                </a:cubicBezTo>
                <a:cubicBezTo>
                  <a:pt x="271" y="79"/>
                  <a:pt x="271" y="79"/>
                  <a:pt x="271" y="79"/>
                </a:cubicBezTo>
                <a:cubicBezTo>
                  <a:pt x="270" y="79"/>
                  <a:pt x="270" y="79"/>
                  <a:pt x="270" y="79"/>
                </a:cubicBezTo>
                <a:cubicBezTo>
                  <a:pt x="271" y="79"/>
                  <a:pt x="271" y="79"/>
                  <a:pt x="271" y="79"/>
                </a:cubicBezTo>
                <a:cubicBezTo>
                  <a:pt x="273" y="77"/>
                  <a:pt x="273" y="77"/>
                  <a:pt x="273" y="77"/>
                </a:cubicBezTo>
                <a:cubicBezTo>
                  <a:pt x="273" y="76"/>
                  <a:pt x="273" y="76"/>
                  <a:pt x="273" y="76"/>
                </a:cubicBezTo>
                <a:cubicBezTo>
                  <a:pt x="273" y="76"/>
                  <a:pt x="273" y="76"/>
                  <a:pt x="273" y="76"/>
                </a:cubicBezTo>
                <a:cubicBezTo>
                  <a:pt x="273" y="74"/>
                  <a:pt x="273" y="74"/>
                  <a:pt x="273" y="74"/>
                </a:cubicBezTo>
                <a:cubicBezTo>
                  <a:pt x="273" y="74"/>
                  <a:pt x="273" y="74"/>
                  <a:pt x="273" y="74"/>
                </a:cubicBezTo>
                <a:cubicBezTo>
                  <a:pt x="272" y="74"/>
                  <a:pt x="272" y="74"/>
                  <a:pt x="272" y="74"/>
                </a:cubicBezTo>
                <a:cubicBezTo>
                  <a:pt x="272" y="75"/>
                  <a:pt x="272" y="75"/>
                  <a:pt x="272" y="75"/>
                </a:cubicBezTo>
                <a:cubicBezTo>
                  <a:pt x="271" y="76"/>
                  <a:pt x="271" y="76"/>
                  <a:pt x="271" y="76"/>
                </a:cubicBezTo>
                <a:cubicBezTo>
                  <a:pt x="269" y="77"/>
                  <a:pt x="269" y="77"/>
                  <a:pt x="269" y="77"/>
                </a:cubicBezTo>
                <a:cubicBezTo>
                  <a:pt x="268" y="78"/>
                  <a:pt x="268" y="78"/>
                  <a:pt x="268" y="78"/>
                </a:cubicBezTo>
                <a:cubicBezTo>
                  <a:pt x="267" y="80"/>
                  <a:pt x="267" y="80"/>
                  <a:pt x="267" y="80"/>
                </a:cubicBezTo>
                <a:close/>
                <a:moveTo>
                  <a:pt x="280" y="81"/>
                </a:moveTo>
                <a:cubicBezTo>
                  <a:pt x="281" y="80"/>
                  <a:pt x="281" y="80"/>
                  <a:pt x="281" y="80"/>
                </a:cubicBezTo>
                <a:cubicBezTo>
                  <a:pt x="282" y="79"/>
                  <a:pt x="282" y="79"/>
                  <a:pt x="282" y="79"/>
                </a:cubicBezTo>
                <a:cubicBezTo>
                  <a:pt x="281" y="79"/>
                  <a:pt x="281" y="79"/>
                  <a:pt x="281" y="79"/>
                </a:cubicBezTo>
                <a:cubicBezTo>
                  <a:pt x="280" y="80"/>
                  <a:pt x="280" y="80"/>
                  <a:pt x="280" y="80"/>
                </a:cubicBezTo>
                <a:cubicBezTo>
                  <a:pt x="279" y="80"/>
                  <a:pt x="279" y="80"/>
                  <a:pt x="279" y="80"/>
                </a:cubicBezTo>
                <a:cubicBezTo>
                  <a:pt x="280" y="81"/>
                  <a:pt x="280" y="81"/>
                  <a:pt x="280" y="81"/>
                </a:cubicBezTo>
                <a:close/>
                <a:moveTo>
                  <a:pt x="282" y="83"/>
                </a:moveTo>
                <a:cubicBezTo>
                  <a:pt x="282" y="83"/>
                  <a:pt x="282" y="83"/>
                  <a:pt x="282" y="83"/>
                </a:cubicBezTo>
                <a:cubicBezTo>
                  <a:pt x="283" y="83"/>
                  <a:pt x="283" y="83"/>
                  <a:pt x="283" y="83"/>
                </a:cubicBezTo>
                <a:cubicBezTo>
                  <a:pt x="283" y="82"/>
                  <a:pt x="283" y="82"/>
                  <a:pt x="283" y="82"/>
                </a:cubicBezTo>
                <a:cubicBezTo>
                  <a:pt x="282" y="82"/>
                  <a:pt x="282" y="82"/>
                  <a:pt x="282" y="82"/>
                </a:cubicBezTo>
                <a:cubicBezTo>
                  <a:pt x="281" y="81"/>
                  <a:pt x="281" y="81"/>
                  <a:pt x="281" y="81"/>
                </a:cubicBezTo>
                <a:cubicBezTo>
                  <a:pt x="281" y="81"/>
                  <a:pt x="281" y="81"/>
                  <a:pt x="281" y="81"/>
                </a:cubicBezTo>
                <a:cubicBezTo>
                  <a:pt x="281" y="82"/>
                  <a:pt x="281" y="82"/>
                  <a:pt x="281" y="82"/>
                </a:cubicBezTo>
                <a:cubicBezTo>
                  <a:pt x="281" y="82"/>
                  <a:pt x="281" y="82"/>
                  <a:pt x="281" y="82"/>
                </a:cubicBezTo>
                <a:cubicBezTo>
                  <a:pt x="282" y="83"/>
                  <a:pt x="282" y="83"/>
                  <a:pt x="282" y="83"/>
                </a:cubicBezTo>
                <a:close/>
                <a:moveTo>
                  <a:pt x="271" y="86"/>
                </a:moveTo>
                <a:cubicBezTo>
                  <a:pt x="272" y="86"/>
                  <a:pt x="272" y="86"/>
                  <a:pt x="272" y="86"/>
                </a:cubicBezTo>
                <a:cubicBezTo>
                  <a:pt x="272" y="85"/>
                  <a:pt x="272" y="85"/>
                  <a:pt x="272" y="85"/>
                </a:cubicBezTo>
                <a:cubicBezTo>
                  <a:pt x="271" y="85"/>
                  <a:pt x="271" y="85"/>
                  <a:pt x="271" y="85"/>
                </a:cubicBezTo>
                <a:cubicBezTo>
                  <a:pt x="271" y="85"/>
                  <a:pt x="271" y="85"/>
                  <a:pt x="271" y="85"/>
                </a:cubicBezTo>
                <a:cubicBezTo>
                  <a:pt x="269" y="86"/>
                  <a:pt x="269" y="86"/>
                  <a:pt x="269" y="86"/>
                </a:cubicBezTo>
                <a:cubicBezTo>
                  <a:pt x="270" y="86"/>
                  <a:pt x="270" y="86"/>
                  <a:pt x="270" y="86"/>
                </a:cubicBezTo>
                <a:cubicBezTo>
                  <a:pt x="271" y="86"/>
                  <a:pt x="271" y="86"/>
                  <a:pt x="271" y="86"/>
                </a:cubicBezTo>
                <a:close/>
                <a:moveTo>
                  <a:pt x="277" y="87"/>
                </a:moveTo>
                <a:cubicBezTo>
                  <a:pt x="277" y="86"/>
                  <a:pt x="277" y="86"/>
                  <a:pt x="277" y="86"/>
                </a:cubicBezTo>
                <a:cubicBezTo>
                  <a:pt x="278" y="85"/>
                  <a:pt x="278" y="85"/>
                  <a:pt x="278" y="85"/>
                </a:cubicBezTo>
                <a:cubicBezTo>
                  <a:pt x="277" y="85"/>
                  <a:pt x="277" y="85"/>
                  <a:pt x="277" y="85"/>
                </a:cubicBezTo>
                <a:cubicBezTo>
                  <a:pt x="277" y="83"/>
                  <a:pt x="277" y="83"/>
                  <a:pt x="277" y="83"/>
                </a:cubicBezTo>
                <a:cubicBezTo>
                  <a:pt x="276" y="83"/>
                  <a:pt x="276" y="83"/>
                  <a:pt x="276" y="83"/>
                </a:cubicBezTo>
                <a:cubicBezTo>
                  <a:pt x="276" y="84"/>
                  <a:pt x="276" y="84"/>
                  <a:pt x="276" y="84"/>
                </a:cubicBezTo>
                <a:cubicBezTo>
                  <a:pt x="276" y="85"/>
                  <a:pt x="276" y="85"/>
                  <a:pt x="276" y="85"/>
                </a:cubicBezTo>
                <a:cubicBezTo>
                  <a:pt x="274" y="85"/>
                  <a:pt x="274" y="85"/>
                  <a:pt x="274" y="85"/>
                </a:cubicBezTo>
                <a:cubicBezTo>
                  <a:pt x="275" y="86"/>
                  <a:pt x="275" y="86"/>
                  <a:pt x="275" y="86"/>
                </a:cubicBezTo>
                <a:cubicBezTo>
                  <a:pt x="275" y="86"/>
                  <a:pt x="275" y="86"/>
                  <a:pt x="275" y="86"/>
                </a:cubicBezTo>
                <a:cubicBezTo>
                  <a:pt x="276" y="85"/>
                  <a:pt x="276" y="85"/>
                  <a:pt x="276" y="85"/>
                </a:cubicBezTo>
                <a:cubicBezTo>
                  <a:pt x="277" y="85"/>
                  <a:pt x="277" y="85"/>
                  <a:pt x="277" y="85"/>
                </a:cubicBezTo>
                <a:cubicBezTo>
                  <a:pt x="277" y="87"/>
                  <a:pt x="277" y="87"/>
                  <a:pt x="277" y="87"/>
                </a:cubicBezTo>
                <a:close/>
                <a:moveTo>
                  <a:pt x="277" y="93"/>
                </a:moveTo>
                <a:cubicBezTo>
                  <a:pt x="278" y="93"/>
                  <a:pt x="278" y="93"/>
                  <a:pt x="278" y="93"/>
                </a:cubicBezTo>
                <a:cubicBezTo>
                  <a:pt x="279" y="93"/>
                  <a:pt x="279" y="93"/>
                  <a:pt x="279" y="93"/>
                </a:cubicBezTo>
                <a:cubicBezTo>
                  <a:pt x="280" y="93"/>
                  <a:pt x="280" y="93"/>
                  <a:pt x="280" y="93"/>
                </a:cubicBezTo>
                <a:cubicBezTo>
                  <a:pt x="281" y="93"/>
                  <a:pt x="281" y="93"/>
                  <a:pt x="281" y="93"/>
                </a:cubicBezTo>
                <a:cubicBezTo>
                  <a:pt x="282" y="93"/>
                  <a:pt x="282" y="93"/>
                  <a:pt x="282" y="93"/>
                </a:cubicBezTo>
                <a:cubicBezTo>
                  <a:pt x="283" y="93"/>
                  <a:pt x="283" y="93"/>
                  <a:pt x="283" y="93"/>
                </a:cubicBezTo>
                <a:cubicBezTo>
                  <a:pt x="284" y="92"/>
                  <a:pt x="284" y="92"/>
                  <a:pt x="284" y="92"/>
                </a:cubicBezTo>
                <a:cubicBezTo>
                  <a:pt x="284" y="92"/>
                  <a:pt x="284" y="92"/>
                  <a:pt x="284" y="92"/>
                </a:cubicBezTo>
                <a:cubicBezTo>
                  <a:pt x="283" y="91"/>
                  <a:pt x="283" y="91"/>
                  <a:pt x="283" y="91"/>
                </a:cubicBezTo>
                <a:cubicBezTo>
                  <a:pt x="284" y="91"/>
                  <a:pt x="284" y="91"/>
                  <a:pt x="284" y="91"/>
                </a:cubicBezTo>
                <a:cubicBezTo>
                  <a:pt x="283" y="90"/>
                  <a:pt x="283" y="90"/>
                  <a:pt x="283" y="90"/>
                </a:cubicBezTo>
                <a:cubicBezTo>
                  <a:pt x="282" y="90"/>
                  <a:pt x="282" y="90"/>
                  <a:pt x="282" y="90"/>
                </a:cubicBezTo>
                <a:cubicBezTo>
                  <a:pt x="282" y="90"/>
                  <a:pt x="282" y="90"/>
                  <a:pt x="282" y="90"/>
                </a:cubicBezTo>
                <a:cubicBezTo>
                  <a:pt x="282" y="91"/>
                  <a:pt x="282" y="91"/>
                  <a:pt x="282" y="91"/>
                </a:cubicBezTo>
                <a:cubicBezTo>
                  <a:pt x="281" y="91"/>
                  <a:pt x="281" y="91"/>
                  <a:pt x="281" y="91"/>
                </a:cubicBezTo>
                <a:cubicBezTo>
                  <a:pt x="281" y="91"/>
                  <a:pt x="281" y="91"/>
                  <a:pt x="281" y="91"/>
                </a:cubicBezTo>
                <a:cubicBezTo>
                  <a:pt x="280" y="91"/>
                  <a:pt x="280" y="91"/>
                  <a:pt x="280" y="91"/>
                </a:cubicBezTo>
                <a:cubicBezTo>
                  <a:pt x="280" y="91"/>
                  <a:pt x="280" y="91"/>
                  <a:pt x="280" y="91"/>
                </a:cubicBezTo>
                <a:cubicBezTo>
                  <a:pt x="279" y="91"/>
                  <a:pt x="279" y="91"/>
                  <a:pt x="279" y="91"/>
                </a:cubicBezTo>
                <a:cubicBezTo>
                  <a:pt x="279" y="92"/>
                  <a:pt x="279" y="92"/>
                  <a:pt x="279" y="92"/>
                </a:cubicBezTo>
                <a:cubicBezTo>
                  <a:pt x="278" y="91"/>
                  <a:pt x="278" y="91"/>
                  <a:pt x="278" y="91"/>
                </a:cubicBezTo>
                <a:cubicBezTo>
                  <a:pt x="277" y="92"/>
                  <a:pt x="277" y="92"/>
                  <a:pt x="277" y="92"/>
                </a:cubicBezTo>
                <a:cubicBezTo>
                  <a:pt x="277" y="93"/>
                  <a:pt x="277" y="93"/>
                  <a:pt x="277" y="93"/>
                </a:cubicBezTo>
                <a:close/>
                <a:moveTo>
                  <a:pt x="165" y="56"/>
                </a:moveTo>
                <a:cubicBezTo>
                  <a:pt x="166" y="56"/>
                  <a:pt x="166" y="56"/>
                  <a:pt x="166" y="56"/>
                </a:cubicBezTo>
                <a:cubicBezTo>
                  <a:pt x="167" y="57"/>
                  <a:pt x="167" y="57"/>
                  <a:pt x="167" y="57"/>
                </a:cubicBezTo>
                <a:cubicBezTo>
                  <a:pt x="168" y="57"/>
                  <a:pt x="168" y="57"/>
                  <a:pt x="168" y="57"/>
                </a:cubicBezTo>
                <a:cubicBezTo>
                  <a:pt x="169" y="56"/>
                  <a:pt x="169" y="56"/>
                  <a:pt x="169" y="56"/>
                </a:cubicBezTo>
                <a:cubicBezTo>
                  <a:pt x="169" y="55"/>
                  <a:pt x="169" y="55"/>
                  <a:pt x="169" y="55"/>
                </a:cubicBezTo>
                <a:cubicBezTo>
                  <a:pt x="169" y="55"/>
                  <a:pt x="169" y="55"/>
                  <a:pt x="169" y="55"/>
                </a:cubicBezTo>
                <a:cubicBezTo>
                  <a:pt x="167" y="55"/>
                  <a:pt x="167" y="55"/>
                  <a:pt x="167" y="55"/>
                </a:cubicBezTo>
                <a:cubicBezTo>
                  <a:pt x="166" y="55"/>
                  <a:pt x="166" y="55"/>
                  <a:pt x="166" y="55"/>
                </a:cubicBezTo>
                <a:cubicBezTo>
                  <a:pt x="165" y="54"/>
                  <a:pt x="165" y="54"/>
                  <a:pt x="165" y="54"/>
                </a:cubicBezTo>
                <a:cubicBezTo>
                  <a:pt x="165" y="55"/>
                  <a:pt x="165" y="55"/>
                  <a:pt x="165" y="55"/>
                </a:cubicBezTo>
                <a:cubicBezTo>
                  <a:pt x="164" y="55"/>
                  <a:pt x="164" y="55"/>
                  <a:pt x="164" y="55"/>
                </a:cubicBezTo>
                <a:cubicBezTo>
                  <a:pt x="165" y="56"/>
                  <a:pt x="165" y="56"/>
                  <a:pt x="165" y="56"/>
                </a:cubicBezTo>
                <a:close/>
                <a:moveTo>
                  <a:pt x="162" y="29"/>
                </a:moveTo>
                <a:cubicBezTo>
                  <a:pt x="161" y="28"/>
                  <a:pt x="161" y="28"/>
                  <a:pt x="161" y="28"/>
                </a:cubicBezTo>
                <a:cubicBezTo>
                  <a:pt x="161" y="27"/>
                  <a:pt x="161" y="27"/>
                  <a:pt x="161" y="27"/>
                </a:cubicBezTo>
                <a:cubicBezTo>
                  <a:pt x="163" y="26"/>
                  <a:pt x="163" y="26"/>
                  <a:pt x="163" y="26"/>
                </a:cubicBezTo>
                <a:cubicBezTo>
                  <a:pt x="165" y="26"/>
                  <a:pt x="165" y="26"/>
                  <a:pt x="165" y="26"/>
                </a:cubicBezTo>
                <a:cubicBezTo>
                  <a:pt x="167" y="26"/>
                  <a:pt x="167" y="26"/>
                  <a:pt x="167" y="26"/>
                </a:cubicBezTo>
                <a:cubicBezTo>
                  <a:pt x="167" y="28"/>
                  <a:pt x="167" y="28"/>
                  <a:pt x="167" y="28"/>
                </a:cubicBezTo>
                <a:cubicBezTo>
                  <a:pt x="167" y="29"/>
                  <a:pt x="167" y="29"/>
                  <a:pt x="167" y="29"/>
                </a:cubicBezTo>
                <a:cubicBezTo>
                  <a:pt x="165" y="29"/>
                  <a:pt x="165" y="29"/>
                  <a:pt x="165" y="29"/>
                </a:cubicBezTo>
                <a:cubicBezTo>
                  <a:pt x="163" y="29"/>
                  <a:pt x="163" y="29"/>
                  <a:pt x="163" y="29"/>
                </a:cubicBezTo>
                <a:cubicBezTo>
                  <a:pt x="163" y="29"/>
                  <a:pt x="162" y="29"/>
                  <a:pt x="162" y="29"/>
                </a:cubicBezTo>
                <a:close/>
                <a:moveTo>
                  <a:pt x="201" y="9"/>
                </a:moveTo>
                <a:cubicBezTo>
                  <a:pt x="202" y="8"/>
                  <a:pt x="202" y="8"/>
                  <a:pt x="202" y="8"/>
                </a:cubicBezTo>
                <a:cubicBezTo>
                  <a:pt x="203" y="6"/>
                  <a:pt x="203" y="6"/>
                  <a:pt x="203" y="6"/>
                </a:cubicBezTo>
                <a:cubicBezTo>
                  <a:pt x="204" y="6"/>
                  <a:pt x="204" y="6"/>
                  <a:pt x="204" y="6"/>
                </a:cubicBezTo>
                <a:cubicBezTo>
                  <a:pt x="206" y="7"/>
                  <a:pt x="206" y="7"/>
                  <a:pt x="206" y="7"/>
                </a:cubicBezTo>
                <a:cubicBezTo>
                  <a:pt x="205" y="8"/>
                  <a:pt x="205" y="8"/>
                  <a:pt x="205" y="8"/>
                </a:cubicBezTo>
                <a:cubicBezTo>
                  <a:pt x="205" y="8"/>
                  <a:pt x="205" y="8"/>
                  <a:pt x="205" y="8"/>
                </a:cubicBezTo>
                <a:cubicBezTo>
                  <a:pt x="204" y="9"/>
                  <a:pt x="204" y="9"/>
                  <a:pt x="204" y="9"/>
                </a:cubicBezTo>
                <a:cubicBezTo>
                  <a:pt x="203" y="10"/>
                  <a:pt x="203" y="10"/>
                  <a:pt x="203" y="10"/>
                </a:cubicBezTo>
                <a:cubicBezTo>
                  <a:pt x="201" y="9"/>
                  <a:pt x="201" y="9"/>
                  <a:pt x="201" y="9"/>
                </a:cubicBezTo>
                <a:cubicBezTo>
                  <a:pt x="201" y="9"/>
                  <a:pt x="201" y="9"/>
                  <a:pt x="201" y="9"/>
                </a:cubicBezTo>
                <a:close/>
                <a:moveTo>
                  <a:pt x="229" y="27"/>
                </a:moveTo>
                <a:cubicBezTo>
                  <a:pt x="231" y="25"/>
                  <a:pt x="231" y="25"/>
                  <a:pt x="231" y="25"/>
                </a:cubicBezTo>
                <a:cubicBezTo>
                  <a:pt x="232" y="24"/>
                  <a:pt x="232" y="24"/>
                  <a:pt x="232" y="24"/>
                </a:cubicBezTo>
                <a:cubicBezTo>
                  <a:pt x="232" y="23"/>
                  <a:pt x="232" y="23"/>
                  <a:pt x="232" y="23"/>
                </a:cubicBezTo>
                <a:cubicBezTo>
                  <a:pt x="234" y="21"/>
                  <a:pt x="234" y="21"/>
                  <a:pt x="234" y="21"/>
                </a:cubicBezTo>
                <a:cubicBezTo>
                  <a:pt x="236" y="20"/>
                  <a:pt x="236" y="20"/>
                  <a:pt x="236" y="20"/>
                </a:cubicBezTo>
                <a:cubicBezTo>
                  <a:pt x="238" y="19"/>
                  <a:pt x="238" y="19"/>
                  <a:pt x="238" y="19"/>
                </a:cubicBezTo>
                <a:cubicBezTo>
                  <a:pt x="238" y="18"/>
                  <a:pt x="238" y="18"/>
                  <a:pt x="238" y="18"/>
                </a:cubicBezTo>
                <a:cubicBezTo>
                  <a:pt x="238" y="16"/>
                  <a:pt x="238" y="16"/>
                  <a:pt x="238" y="16"/>
                </a:cubicBezTo>
                <a:cubicBezTo>
                  <a:pt x="236" y="15"/>
                  <a:pt x="236" y="15"/>
                  <a:pt x="236" y="15"/>
                </a:cubicBezTo>
                <a:cubicBezTo>
                  <a:pt x="234" y="13"/>
                  <a:pt x="234" y="13"/>
                  <a:pt x="234" y="13"/>
                </a:cubicBezTo>
                <a:cubicBezTo>
                  <a:pt x="233" y="11"/>
                  <a:pt x="233" y="11"/>
                  <a:pt x="233" y="11"/>
                </a:cubicBezTo>
                <a:cubicBezTo>
                  <a:pt x="233" y="10"/>
                  <a:pt x="233" y="10"/>
                  <a:pt x="233" y="10"/>
                </a:cubicBezTo>
                <a:cubicBezTo>
                  <a:pt x="234" y="9"/>
                  <a:pt x="234" y="9"/>
                  <a:pt x="234" y="9"/>
                </a:cubicBezTo>
                <a:cubicBezTo>
                  <a:pt x="234" y="7"/>
                  <a:pt x="234" y="7"/>
                  <a:pt x="234" y="7"/>
                </a:cubicBezTo>
                <a:cubicBezTo>
                  <a:pt x="233" y="7"/>
                  <a:pt x="233" y="7"/>
                  <a:pt x="233" y="7"/>
                </a:cubicBezTo>
                <a:cubicBezTo>
                  <a:pt x="230" y="7"/>
                  <a:pt x="230" y="7"/>
                  <a:pt x="230" y="7"/>
                </a:cubicBezTo>
                <a:cubicBezTo>
                  <a:pt x="228" y="6"/>
                  <a:pt x="228" y="6"/>
                  <a:pt x="228" y="6"/>
                </a:cubicBezTo>
                <a:cubicBezTo>
                  <a:pt x="226" y="5"/>
                  <a:pt x="226" y="5"/>
                  <a:pt x="226" y="5"/>
                </a:cubicBezTo>
                <a:cubicBezTo>
                  <a:pt x="224" y="2"/>
                  <a:pt x="224" y="2"/>
                  <a:pt x="224" y="2"/>
                </a:cubicBezTo>
                <a:cubicBezTo>
                  <a:pt x="222" y="1"/>
                  <a:pt x="222" y="1"/>
                  <a:pt x="222" y="1"/>
                </a:cubicBezTo>
                <a:cubicBezTo>
                  <a:pt x="220" y="0"/>
                  <a:pt x="220" y="0"/>
                  <a:pt x="220" y="0"/>
                </a:cubicBezTo>
                <a:cubicBezTo>
                  <a:pt x="219" y="0"/>
                  <a:pt x="219" y="0"/>
                  <a:pt x="219" y="0"/>
                </a:cubicBezTo>
                <a:cubicBezTo>
                  <a:pt x="218" y="0"/>
                  <a:pt x="218" y="0"/>
                  <a:pt x="218" y="0"/>
                </a:cubicBezTo>
                <a:cubicBezTo>
                  <a:pt x="218" y="1"/>
                  <a:pt x="218" y="1"/>
                  <a:pt x="218" y="1"/>
                </a:cubicBezTo>
                <a:cubicBezTo>
                  <a:pt x="218" y="2"/>
                  <a:pt x="218" y="2"/>
                  <a:pt x="218" y="2"/>
                </a:cubicBezTo>
                <a:cubicBezTo>
                  <a:pt x="218" y="4"/>
                  <a:pt x="218" y="4"/>
                  <a:pt x="218" y="4"/>
                </a:cubicBezTo>
                <a:cubicBezTo>
                  <a:pt x="217" y="5"/>
                  <a:pt x="217" y="5"/>
                  <a:pt x="217" y="5"/>
                </a:cubicBezTo>
                <a:cubicBezTo>
                  <a:pt x="216" y="7"/>
                  <a:pt x="216" y="7"/>
                  <a:pt x="216" y="7"/>
                </a:cubicBezTo>
                <a:cubicBezTo>
                  <a:pt x="215" y="9"/>
                  <a:pt x="215" y="9"/>
                  <a:pt x="215" y="9"/>
                </a:cubicBezTo>
                <a:cubicBezTo>
                  <a:pt x="215" y="10"/>
                  <a:pt x="215" y="10"/>
                  <a:pt x="215" y="10"/>
                </a:cubicBezTo>
                <a:cubicBezTo>
                  <a:pt x="215" y="15"/>
                  <a:pt x="215" y="15"/>
                  <a:pt x="215" y="15"/>
                </a:cubicBezTo>
                <a:cubicBezTo>
                  <a:pt x="216" y="16"/>
                  <a:pt x="216" y="16"/>
                  <a:pt x="216" y="16"/>
                </a:cubicBezTo>
                <a:cubicBezTo>
                  <a:pt x="217" y="17"/>
                  <a:pt x="217" y="17"/>
                  <a:pt x="217" y="17"/>
                </a:cubicBezTo>
                <a:cubicBezTo>
                  <a:pt x="217" y="18"/>
                  <a:pt x="217" y="18"/>
                  <a:pt x="217" y="18"/>
                </a:cubicBezTo>
                <a:cubicBezTo>
                  <a:pt x="216" y="22"/>
                  <a:pt x="216" y="22"/>
                  <a:pt x="216" y="22"/>
                </a:cubicBezTo>
                <a:cubicBezTo>
                  <a:pt x="216" y="23"/>
                  <a:pt x="216" y="23"/>
                  <a:pt x="216" y="23"/>
                </a:cubicBezTo>
                <a:cubicBezTo>
                  <a:pt x="215" y="24"/>
                  <a:pt x="215" y="24"/>
                  <a:pt x="215" y="24"/>
                </a:cubicBezTo>
                <a:cubicBezTo>
                  <a:pt x="216" y="25"/>
                  <a:pt x="216" y="25"/>
                  <a:pt x="216" y="25"/>
                </a:cubicBezTo>
                <a:cubicBezTo>
                  <a:pt x="216" y="25"/>
                  <a:pt x="216" y="25"/>
                  <a:pt x="216" y="25"/>
                </a:cubicBezTo>
                <a:cubicBezTo>
                  <a:pt x="217" y="24"/>
                  <a:pt x="217" y="24"/>
                  <a:pt x="217" y="24"/>
                </a:cubicBezTo>
                <a:cubicBezTo>
                  <a:pt x="219" y="23"/>
                  <a:pt x="219" y="23"/>
                  <a:pt x="219" y="23"/>
                </a:cubicBezTo>
                <a:cubicBezTo>
                  <a:pt x="219" y="23"/>
                  <a:pt x="219" y="23"/>
                  <a:pt x="219" y="23"/>
                </a:cubicBezTo>
                <a:cubicBezTo>
                  <a:pt x="220" y="25"/>
                  <a:pt x="220" y="25"/>
                  <a:pt x="220" y="25"/>
                </a:cubicBezTo>
                <a:cubicBezTo>
                  <a:pt x="222" y="26"/>
                  <a:pt x="222" y="26"/>
                  <a:pt x="222" y="26"/>
                </a:cubicBezTo>
                <a:cubicBezTo>
                  <a:pt x="223" y="26"/>
                  <a:pt x="223" y="26"/>
                  <a:pt x="223" y="26"/>
                </a:cubicBezTo>
                <a:cubicBezTo>
                  <a:pt x="223" y="25"/>
                  <a:pt x="223" y="25"/>
                  <a:pt x="223" y="25"/>
                </a:cubicBezTo>
                <a:cubicBezTo>
                  <a:pt x="224" y="25"/>
                  <a:pt x="224" y="25"/>
                  <a:pt x="224" y="25"/>
                </a:cubicBezTo>
                <a:cubicBezTo>
                  <a:pt x="226" y="26"/>
                  <a:pt x="226" y="26"/>
                  <a:pt x="226" y="26"/>
                </a:cubicBezTo>
                <a:cubicBezTo>
                  <a:pt x="227" y="27"/>
                  <a:pt x="227" y="27"/>
                  <a:pt x="227" y="27"/>
                </a:cubicBezTo>
                <a:cubicBezTo>
                  <a:pt x="229" y="27"/>
                  <a:pt x="229" y="27"/>
                  <a:pt x="229" y="27"/>
                </a:cubicBezTo>
                <a:close/>
                <a:moveTo>
                  <a:pt x="223" y="35"/>
                </a:moveTo>
                <a:cubicBezTo>
                  <a:pt x="223" y="36"/>
                  <a:pt x="223" y="36"/>
                  <a:pt x="223" y="36"/>
                </a:cubicBezTo>
                <a:cubicBezTo>
                  <a:pt x="224" y="36"/>
                  <a:pt x="224" y="36"/>
                  <a:pt x="224" y="36"/>
                </a:cubicBezTo>
                <a:cubicBezTo>
                  <a:pt x="226" y="37"/>
                  <a:pt x="226" y="37"/>
                  <a:pt x="226" y="37"/>
                </a:cubicBezTo>
                <a:cubicBezTo>
                  <a:pt x="227" y="36"/>
                  <a:pt x="227" y="36"/>
                  <a:pt x="227" y="36"/>
                </a:cubicBezTo>
                <a:cubicBezTo>
                  <a:pt x="228" y="34"/>
                  <a:pt x="228" y="34"/>
                  <a:pt x="228" y="34"/>
                </a:cubicBezTo>
                <a:cubicBezTo>
                  <a:pt x="229" y="34"/>
                  <a:pt x="229" y="34"/>
                  <a:pt x="229" y="34"/>
                </a:cubicBezTo>
                <a:cubicBezTo>
                  <a:pt x="230" y="32"/>
                  <a:pt x="230" y="32"/>
                  <a:pt x="230" y="32"/>
                </a:cubicBezTo>
                <a:cubicBezTo>
                  <a:pt x="230" y="30"/>
                  <a:pt x="230" y="30"/>
                  <a:pt x="230" y="30"/>
                </a:cubicBezTo>
                <a:cubicBezTo>
                  <a:pt x="230" y="29"/>
                  <a:pt x="230" y="29"/>
                  <a:pt x="230" y="29"/>
                </a:cubicBezTo>
                <a:cubicBezTo>
                  <a:pt x="227" y="28"/>
                  <a:pt x="227" y="28"/>
                  <a:pt x="227" y="28"/>
                </a:cubicBezTo>
                <a:cubicBezTo>
                  <a:pt x="225" y="28"/>
                  <a:pt x="225" y="28"/>
                  <a:pt x="225" y="28"/>
                </a:cubicBezTo>
                <a:cubicBezTo>
                  <a:pt x="223" y="28"/>
                  <a:pt x="223" y="28"/>
                  <a:pt x="223" y="28"/>
                </a:cubicBezTo>
                <a:cubicBezTo>
                  <a:pt x="222" y="29"/>
                  <a:pt x="222" y="29"/>
                  <a:pt x="222" y="29"/>
                </a:cubicBezTo>
                <a:cubicBezTo>
                  <a:pt x="221" y="28"/>
                  <a:pt x="221" y="28"/>
                  <a:pt x="221" y="28"/>
                </a:cubicBezTo>
                <a:cubicBezTo>
                  <a:pt x="220" y="28"/>
                  <a:pt x="220" y="28"/>
                  <a:pt x="220" y="28"/>
                </a:cubicBezTo>
                <a:cubicBezTo>
                  <a:pt x="219" y="29"/>
                  <a:pt x="219" y="29"/>
                  <a:pt x="219" y="29"/>
                </a:cubicBezTo>
                <a:cubicBezTo>
                  <a:pt x="218" y="29"/>
                  <a:pt x="218" y="29"/>
                  <a:pt x="218" y="29"/>
                </a:cubicBezTo>
                <a:cubicBezTo>
                  <a:pt x="217" y="29"/>
                  <a:pt x="217" y="29"/>
                  <a:pt x="217" y="29"/>
                </a:cubicBezTo>
                <a:cubicBezTo>
                  <a:pt x="218" y="30"/>
                  <a:pt x="218" y="30"/>
                  <a:pt x="218" y="30"/>
                </a:cubicBezTo>
                <a:cubicBezTo>
                  <a:pt x="219" y="31"/>
                  <a:pt x="219" y="31"/>
                  <a:pt x="219" y="31"/>
                </a:cubicBezTo>
                <a:cubicBezTo>
                  <a:pt x="220" y="32"/>
                  <a:pt x="220" y="32"/>
                  <a:pt x="220" y="32"/>
                </a:cubicBezTo>
                <a:cubicBezTo>
                  <a:pt x="221" y="32"/>
                  <a:pt x="221" y="32"/>
                  <a:pt x="221" y="32"/>
                </a:cubicBezTo>
                <a:cubicBezTo>
                  <a:pt x="222" y="34"/>
                  <a:pt x="222" y="34"/>
                  <a:pt x="222" y="34"/>
                </a:cubicBezTo>
                <a:cubicBezTo>
                  <a:pt x="224" y="34"/>
                  <a:pt x="224" y="34"/>
                  <a:pt x="224" y="34"/>
                </a:cubicBezTo>
                <a:cubicBezTo>
                  <a:pt x="226" y="34"/>
                  <a:pt x="226" y="34"/>
                  <a:pt x="226" y="34"/>
                </a:cubicBezTo>
                <a:cubicBezTo>
                  <a:pt x="227" y="34"/>
                  <a:pt x="227" y="34"/>
                  <a:pt x="227" y="34"/>
                </a:cubicBezTo>
                <a:cubicBezTo>
                  <a:pt x="226" y="35"/>
                  <a:pt x="226" y="35"/>
                  <a:pt x="226" y="35"/>
                </a:cubicBezTo>
                <a:cubicBezTo>
                  <a:pt x="225" y="35"/>
                  <a:pt x="225" y="35"/>
                  <a:pt x="225" y="35"/>
                </a:cubicBezTo>
                <a:cubicBezTo>
                  <a:pt x="223" y="35"/>
                  <a:pt x="223" y="35"/>
                  <a:pt x="223" y="35"/>
                </a:cubicBezTo>
                <a:close/>
                <a:moveTo>
                  <a:pt x="266" y="39"/>
                </a:moveTo>
                <a:cubicBezTo>
                  <a:pt x="266" y="40"/>
                  <a:pt x="266" y="40"/>
                  <a:pt x="266" y="40"/>
                </a:cubicBezTo>
                <a:cubicBezTo>
                  <a:pt x="264" y="42"/>
                  <a:pt x="264" y="42"/>
                  <a:pt x="264" y="42"/>
                </a:cubicBezTo>
                <a:cubicBezTo>
                  <a:pt x="262" y="43"/>
                  <a:pt x="262" y="43"/>
                  <a:pt x="262" y="43"/>
                </a:cubicBezTo>
                <a:cubicBezTo>
                  <a:pt x="261" y="44"/>
                  <a:pt x="261" y="44"/>
                  <a:pt x="261" y="44"/>
                </a:cubicBezTo>
                <a:cubicBezTo>
                  <a:pt x="260" y="45"/>
                  <a:pt x="260" y="45"/>
                  <a:pt x="260" y="45"/>
                </a:cubicBezTo>
                <a:cubicBezTo>
                  <a:pt x="258" y="45"/>
                  <a:pt x="258" y="45"/>
                  <a:pt x="258" y="45"/>
                </a:cubicBezTo>
                <a:cubicBezTo>
                  <a:pt x="257" y="44"/>
                  <a:pt x="257" y="44"/>
                  <a:pt x="257" y="44"/>
                </a:cubicBezTo>
                <a:cubicBezTo>
                  <a:pt x="256" y="43"/>
                  <a:pt x="256" y="43"/>
                  <a:pt x="256" y="43"/>
                </a:cubicBezTo>
                <a:cubicBezTo>
                  <a:pt x="255" y="43"/>
                  <a:pt x="255" y="43"/>
                  <a:pt x="255" y="43"/>
                </a:cubicBezTo>
                <a:cubicBezTo>
                  <a:pt x="254" y="43"/>
                  <a:pt x="254" y="43"/>
                  <a:pt x="254" y="43"/>
                </a:cubicBezTo>
                <a:cubicBezTo>
                  <a:pt x="253" y="43"/>
                  <a:pt x="253" y="43"/>
                  <a:pt x="253" y="43"/>
                </a:cubicBezTo>
                <a:cubicBezTo>
                  <a:pt x="250" y="43"/>
                  <a:pt x="250" y="43"/>
                  <a:pt x="250" y="43"/>
                </a:cubicBezTo>
                <a:cubicBezTo>
                  <a:pt x="248" y="42"/>
                  <a:pt x="248" y="42"/>
                  <a:pt x="248" y="42"/>
                </a:cubicBezTo>
                <a:cubicBezTo>
                  <a:pt x="248" y="42"/>
                  <a:pt x="248" y="42"/>
                  <a:pt x="248" y="42"/>
                </a:cubicBezTo>
                <a:cubicBezTo>
                  <a:pt x="246" y="42"/>
                  <a:pt x="246" y="42"/>
                  <a:pt x="246" y="42"/>
                </a:cubicBezTo>
                <a:cubicBezTo>
                  <a:pt x="244" y="43"/>
                  <a:pt x="244" y="43"/>
                  <a:pt x="244" y="43"/>
                </a:cubicBezTo>
                <a:cubicBezTo>
                  <a:pt x="243" y="43"/>
                  <a:pt x="243" y="43"/>
                  <a:pt x="243" y="43"/>
                </a:cubicBezTo>
                <a:cubicBezTo>
                  <a:pt x="242" y="42"/>
                  <a:pt x="242" y="42"/>
                  <a:pt x="242" y="42"/>
                </a:cubicBezTo>
                <a:cubicBezTo>
                  <a:pt x="240" y="42"/>
                  <a:pt x="240" y="42"/>
                  <a:pt x="240" y="42"/>
                </a:cubicBezTo>
                <a:cubicBezTo>
                  <a:pt x="240" y="41"/>
                  <a:pt x="240" y="41"/>
                  <a:pt x="240" y="41"/>
                </a:cubicBezTo>
                <a:cubicBezTo>
                  <a:pt x="239" y="38"/>
                  <a:pt x="239" y="38"/>
                  <a:pt x="239" y="38"/>
                </a:cubicBezTo>
                <a:cubicBezTo>
                  <a:pt x="238" y="37"/>
                  <a:pt x="238" y="37"/>
                  <a:pt x="238" y="37"/>
                </a:cubicBezTo>
                <a:cubicBezTo>
                  <a:pt x="237" y="37"/>
                  <a:pt x="237" y="37"/>
                  <a:pt x="237" y="37"/>
                </a:cubicBezTo>
                <a:cubicBezTo>
                  <a:pt x="236" y="38"/>
                  <a:pt x="236" y="38"/>
                  <a:pt x="236" y="38"/>
                </a:cubicBezTo>
                <a:cubicBezTo>
                  <a:pt x="235" y="37"/>
                  <a:pt x="235" y="37"/>
                  <a:pt x="235" y="37"/>
                </a:cubicBezTo>
                <a:cubicBezTo>
                  <a:pt x="234" y="36"/>
                  <a:pt x="234" y="36"/>
                  <a:pt x="234" y="36"/>
                </a:cubicBezTo>
                <a:cubicBezTo>
                  <a:pt x="233" y="37"/>
                  <a:pt x="233" y="37"/>
                  <a:pt x="233" y="37"/>
                </a:cubicBezTo>
                <a:cubicBezTo>
                  <a:pt x="234" y="38"/>
                  <a:pt x="234" y="38"/>
                  <a:pt x="234" y="38"/>
                </a:cubicBezTo>
                <a:cubicBezTo>
                  <a:pt x="233" y="38"/>
                  <a:pt x="233" y="38"/>
                  <a:pt x="233" y="38"/>
                </a:cubicBezTo>
                <a:cubicBezTo>
                  <a:pt x="233" y="38"/>
                  <a:pt x="233" y="38"/>
                  <a:pt x="233" y="38"/>
                </a:cubicBezTo>
                <a:cubicBezTo>
                  <a:pt x="231" y="37"/>
                  <a:pt x="231" y="37"/>
                  <a:pt x="231" y="37"/>
                </a:cubicBezTo>
                <a:cubicBezTo>
                  <a:pt x="232" y="36"/>
                  <a:pt x="232" y="36"/>
                  <a:pt x="232" y="36"/>
                </a:cubicBezTo>
                <a:cubicBezTo>
                  <a:pt x="233" y="35"/>
                  <a:pt x="233" y="35"/>
                  <a:pt x="233" y="35"/>
                </a:cubicBezTo>
                <a:cubicBezTo>
                  <a:pt x="233" y="34"/>
                  <a:pt x="233" y="34"/>
                  <a:pt x="233" y="34"/>
                </a:cubicBezTo>
                <a:cubicBezTo>
                  <a:pt x="233" y="32"/>
                  <a:pt x="233" y="32"/>
                  <a:pt x="233" y="32"/>
                </a:cubicBezTo>
                <a:cubicBezTo>
                  <a:pt x="233" y="31"/>
                  <a:pt x="233" y="31"/>
                  <a:pt x="233" y="31"/>
                </a:cubicBezTo>
                <a:cubicBezTo>
                  <a:pt x="235" y="30"/>
                  <a:pt x="235" y="30"/>
                  <a:pt x="235" y="30"/>
                </a:cubicBezTo>
                <a:cubicBezTo>
                  <a:pt x="234" y="29"/>
                  <a:pt x="234" y="29"/>
                  <a:pt x="234" y="29"/>
                </a:cubicBezTo>
                <a:cubicBezTo>
                  <a:pt x="233" y="29"/>
                  <a:pt x="233" y="29"/>
                  <a:pt x="233" y="29"/>
                </a:cubicBezTo>
                <a:cubicBezTo>
                  <a:pt x="232" y="28"/>
                  <a:pt x="232" y="28"/>
                  <a:pt x="232" y="28"/>
                </a:cubicBezTo>
                <a:cubicBezTo>
                  <a:pt x="232" y="27"/>
                  <a:pt x="232" y="27"/>
                  <a:pt x="232" y="27"/>
                </a:cubicBezTo>
                <a:cubicBezTo>
                  <a:pt x="232" y="25"/>
                  <a:pt x="232" y="25"/>
                  <a:pt x="232" y="25"/>
                </a:cubicBezTo>
                <a:cubicBezTo>
                  <a:pt x="234" y="24"/>
                  <a:pt x="234" y="24"/>
                  <a:pt x="234" y="24"/>
                </a:cubicBezTo>
                <a:cubicBezTo>
                  <a:pt x="235" y="24"/>
                  <a:pt x="235" y="24"/>
                  <a:pt x="235" y="24"/>
                </a:cubicBezTo>
                <a:cubicBezTo>
                  <a:pt x="235" y="23"/>
                  <a:pt x="235" y="23"/>
                  <a:pt x="235" y="23"/>
                </a:cubicBezTo>
                <a:cubicBezTo>
                  <a:pt x="236" y="22"/>
                  <a:pt x="236" y="22"/>
                  <a:pt x="236" y="22"/>
                </a:cubicBezTo>
                <a:cubicBezTo>
                  <a:pt x="237" y="22"/>
                  <a:pt x="237" y="22"/>
                  <a:pt x="237" y="22"/>
                </a:cubicBezTo>
                <a:cubicBezTo>
                  <a:pt x="240" y="20"/>
                  <a:pt x="240" y="20"/>
                  <a:pt x="240" y="20"/>
                </a:cubicBezTo>
                <a:cubicBezTo>
                  <a:pt x="240" y="19"/>
                  <a:pt x="240" y="19"/>
                  <a:pt x="240" y="19"/>
                </a:cubicBezTo>
                <a:cubicBezTo>
                  <a:pt x="241" y="18"/>
                  <a:pt x="241" y="18"/>
                  <a:pt x="241" y="18"/>
                </a:cubicBezTo>
                <a:cubicBezTo>
                  <a:pt x="243" y="19"/>
                  <a:pt x="243" y="19"/>
                  <a:pt x="243" y="19"/>
                </a:cubicBezTo>
                <a:cubicBezTo>
                  <a:pt x="245" y="20"/>
                  <a:pt x="245" y="20"/>
                  <a:pt x="245" y="20"/>
                </a:cubicBezTo>
                <a:cubicBezTo>
                  <a:pt x="247" y="23"/>
                  <a:pt x="247" y="23"/>
                  <a:pt x="247" y="23"/>
                </a:cubicBezTo>
                <a:cubicBezTo>
                  <a:pt x="247" y="24"/>
                  <a:pt x="247" y="24"/>
                  <a:pt x="247" y="24"/>
                </a:cubicBezTo>
                <a:cubicBezTo>
                  <a:pt x="247" y="26"/>
                  <a:pt x="247" y="26"/>
                  <a:pt x="247" y="26"/>
                </a:cubicBezTo>
                <a:cubicBezTo>
                  <a:pt x="247" y="26"/>
                  <a:pt x="247" y="26"/>
                  <a:pt x="247" y="26"/>
                </a:cubicBezTo>
                <a:cubicBezTo>
                  <a:pt x="247" y="28"/>
                  <a:pt x="247" y="28"/>
                  <a:pt x="247" y="28"/>
                </a:cubicBezTo>
                <a:cubicBezTo>
                  <a:pt x="246" y="29"/>
                  <a:pt x="246" y="29"/>
                  <a:pt x="246" y="29"/>
                </a:cubicBezTo>
                <a:cubicBezTo>
                  <a:pt x="246" y="29"/>
                  <a:pt x="246" y="29"/>
                  <a:pt x="246" y="29"/>
                </a:cubicBezTo>
                <a:cubicBezTo>
                  <a:pt x="247" y="29"/>
                  <a:pt x="247" y="29"/>
                  <a:pt x="247" y="29"/>
                </a:cubicBezTo>
                <a:cubicBezTo>
                  <a:pt x="248" y="27"/>
                  <a:pt x="248" y="27"/>
                  <a:pt x="248" y="27"/>
                </a:cubicBezTo>
                <a:cubicBezTo>
                  <a:pt x="248" y="26"/>
                  <a:pt x="248" y="26"/>
                  <a:pt x="248" y="26"/>
                </a:cubicBezTo>
                <a:cubicBezTo>
                  <a:pt x="248" y="25"/>
                  <a:pt x="248" y="25"/>
                  <a:pt x="248" y="25"/>
                </a:cubicBezTo>
                <a:cubicBezTo>
                  <a:pt x="249" y="24"/>
                  <a:pt x="249" y="24"/>
                  <a:pt x="249" y="24"/>
                </a:cubicBezTo>
                <a:cubicBezTo>
                  <a:pt x="248" y="23"/>
                  <a:pt x="248" y="23"/>
                  <a:pt x="248" y="23"/>
                </a:cubicBezTo>
                <a:cubicBezTo>
                  <a:pt x="247" y="21"/>
                  <a:pt x="247" y="21"/>
                  <a:pt x="247" y="21"/>
                </a:cubicBezTo>
                <a:cubicBezTo>
                  <a:pt x="247" y="20"/>
                  <a:pt x="247" y="20"/>
                  <a:pt x="247" y="20"/>
                </a:cubicBezTo>
                <a:cubicBezTo>
                  <a:pt x="247" y="19"/>
                  <a:pt x="247" y="19"/>
                  <a:pt x="247" y="19"/>
                </a:cubicBezTo>
                <a:cubicBezTo>
                  <a:pt x="249" y="19"/>
                  <a:pt x="249" y="19"/>
                  <a:pt x="249" y="19"/>
                </a:cubicBezTo>
                <a:cubicBezTo>
                  <a:pt x="251" y="19"/>
                  <a:pt x="251" y="19"/>
                  <a:pt x="251" y="19"/>
                </a:cubicBezTo>
                <a:cubicBezTo>
                  <a:pt x="255" y="23"/>
                  <a:pt x="255" y="23"/>
                  <a:pt x="255" y="23"/>
                </a:cubicBezTo>
                <a:cubicBezTo>
                  <a:pt x="256" y="23"/>
                  <a:pt x="256" y="23"/>
                  <a:pt x="256" y="23"/>
                </a:cubicBezTo>
                <a:cubicBezTo>
                  <a:pt x="257" y="23"/>
                  <a:pt x="257" y="23"/>
                  <a:pt x="257" y="23"/>
                </a:cubicBezTo>
                <a:cubicBezTo>
                  <a:pt x="257" y="25"/>
                  <a:pt x="257" y="25"/>
                  <a:pt x="257" y="25"/>
                </a:cubicBezTo>
                <a:cubicBezTo>
                  <a:pt x="258" y="25"/>
                  <a:pt x="258" y="25"/>
                  <a:pt x="258" y="25"/>
                </a:cubicBezTo>
                <a:cubicBezTo>
                  <a:pt x="258" y="27"/>
                  <a:pt x="258" y="27"/>
                  <a:pt x="258" y="27"/>
                </a:cubicBezTo>
                <a:cubicBezTo>
                  <a:pt x="258" y="29"/>
                  <a:pt x="258" y="29"/>
                  <a:pt x="258" y="29"/>
                </a:cubicBezTo>
                <a:cubicBezTo>
                  <a:pt x="260" y="31"/>
                  <a:pt x="260" y="31"/>
                  <a:pt x="260" y="31"/>
                </a:cubicBezTo>
                <a:cubicBezTo>
                  <a:pt x="261" y="32"/>
                  <a:pt x="261" y="32"/>
                  <a:pt x="261" y="32"/>
                </a:cubicBezTo>
                <a:cubicBezTo>
                  <a:pt x="261" y="33"/>
                  <a:pt x="261" y="33"/>
                  <a:pt x="261" y="33"/>
                </a:cubicBezTo>
                <a:cubicBezTo>
                  <a:pt x="260" y="33"/>
                  <a:pt x="260" y="33"/>
                  <a:pt x="260" y="33"/>
                </a:cubicBezTo>
                <a:cubicBezTo>
                  <a:pt x="259" y="33"/>
                  <a:pt x="259" y="33"/>
                  <a:pt x="259" y="33"/>
                </a:cubicBezTo>
                <a:cubicBezTo>
                  <a:pt x="258" y="33"/>
                  <a:pt x="258" y="33"/>
                  <a:pt x="258" y="33"/>
                </a:cubicBezTo>
                <a:cubicBezTo>
                  <a:pt x="259" y="34"/>
                  <a:pt x="259" y="34"/>
                  <a:pt x="259" y="34"/>
                </a:cubicBezTo>
                <a:cubicBezTo>
                  <a:pt x="260" y="35"/>
                  <a:pt x="260" y="35"/>
                  <a:pt x="260" y="35"/>
                </a:cubicBezTo>
                <a:cubicBezTo>
                  <a:pt x="262" y="35"/>
                  <a:pt x="262" y="35"/>
                  <a:pt x="262" y="35"/>
                </a:cubicBezTo>
                <a:cubicBezTo>
                  <a:pt x="263" y="37"/>
                  <a:pt x="263" y="37"/>
                  <a:pt x="263" y="37"/>
                </a:cubicBezTo>
                <a:cubicBezTo>
                  <a:pt x="264" y="37"/>
                  <a:pt x="264" y="37"/>
                  <a:pt x="264" y="37"/>
                </a:cubicBezTo>
                <a:cubicBezTo>
                  <a:pt x="266" y="39"/>
                  <a:pt x="266" y="39"/>
                  <a:pt x="266" y="39"/>
                </a:cubicBezTo>
                <a:close/>
                <a:moveTo>
                  <a:pt x="495" y="4"/>
                </a:moveTo>
                <a:cubicBezTo>
                  <a:pt x="496" y="2"/>
                  <a:pt x="496" y="2"/>
                  <a:pt x="496" y="2"/>
                </a:cubicBezTo>
                <a:cubicBezTo>
                  <a:pt x="498" y="0"/>
                  <a:pt x="498" y="0"/>
                  <a:pt x="498" y="0"/>
                </a:cubicBezTo>
                <a:cubicBezTo>
                  <a:pt x="498" y="0"/>
                  <a:pt x="498" y="0"/>
                  <a:pt x="498" y="0"/>
                </a:cubicBezTo>
                <a:cubicBezTo>
                  <a:pt x="498" y="1"/>
                  <a:pt x="498" y="1"/>
                  <a:pt x="498" y="1"/>
                </a:cubicBezTo>
                <a:cubicBezTo>
                  <a:pt x="498" y="2"/>
                  <a:pt x="498" y="2"/>
                  <a:pt x="498" y="2"/>
                </a:cubicBezTo>
                <a:cubicBezTo>
                  <a:pt x="497" y="2"/>
                  <a:pt x="497" y="2"/>
                  <a:pt x="497" y="2"/>
                </a:cubicBezTo>
                <a:cubicBezTo>
                  <a:pt x="497" y="3"/>
                  <a:pt x="497" y="3"/>
                  <a:pt x="497" y="3"/>
                </a:cubicBezTo>
                <a:cubicBezTo>
                  <a:pt x="495" y="4"/>
                  <a:pt x="495" y="4"/>
                  <a:pt x="495" y="4"/>
                </a:cubicBezTo>
                <a:close/>
                <a:moveTo>
                  <a:pt x="509" y="25"/>
                </a:moveTo>
                <a:cubicBezTo>
                  <a:pt x="509" y="28"/>
                  <a:pt x="509" y="28"/>
                  <a:pt x="509" y="28"/>
                </a:cubicBezTo>
                <a:cubicBezTo>
                  <a:pt x="511" y="31"/>
                  <a:pt x="511" y="31"/>
                  <a:pt x="511" y="31"/>
                </a:cubicBezTo>
                <a:cubicBezTo>
                  <a:pt x="512" y="32"/>
                  <a:pt x="512" y="32"/>
                  <a:pt x="512" y="32"/>
                </a:cubicBezTo>
                <a:cubicBezTo>
                  <a:pt x="516" y="33"/>
                  <a:pt x="516" y="33"/>
                  <a:pt x="516" y="33"/>
                </a:cubicBezTo>
                <a:cubicBezTo>
                  <a:pt x="520" y="34"/>
                  <a:pt x="520" y="34"/>
                  <a:pt x="520" y="34"/>
                </a:cubicBezTo>
                <a:cubicBezTo>
                  <a:pt x="522" y="35"/>
                  <a:pt x="522" y="35"/>
                  <a:pt x="522" y="35"/>
                </a:cubicBezTo>
                <a:cubicBezTo>
                  <a:pt x="524" y="35"/>
                  <a:pt x="524" y="35"/>
                  <a:pt x="524" y="35"/>
                </a:cubicBezTo>
                <a:cubicBezTo>
                  <a:pt x="526" y="34"/>
                  <a:pt x="526" y="34"/>
                  <a:pt x="526" y="34"/>
                </a:cubicBezTo>
                <a:cubicBezTo>
                  <a:pt x="527" y="35"/>
                  <a:pt x="527" y="35"/>
                  <a:pt x="527" y="35"/>
                </a:cubicBezTo>
                <a:cubicBezTo>
                  <a:pt x="529" y="34"/>
                  <a:pt x="529" y="34"/>
                  <a:pt x="529" y="34"/>
                </a:cubicBezTo>
                <a:cubicBezTo>
                  <a:pt x="531" y="33"/>
                  <a:pt x="531" y="33"/>
                  <a:pt x="531" y="33"/>
                </a:cubicBezTo>
                <a:cubicBezTo>
                  <a:pt x="532" y="31"/>
                  <a:pt x="532" y="31"/>
                  <a:pt x="532" y="31"/>
                </a:cubicBezTo>
                <a:cubicBezTo>
                  <a:pt x="532" y="30"/>
                  <a:pt x="532" y="30"/>
                  <a:pt x="532" y="30"/>
                </a:cubicBezTo>
                <a:cubicBezTo>
                  <a:pt x="532" y="28"/>
                  <a:pt x="532" y="28"/>
                  <a:pt x="532" y="28"/>
                </a:cubicBezTo>
                <a:cubicBezTo>
                  <a:pt x="531" y="28"/>
                  <a:pt x="531" y="28"/>
                  <a:pt x="531" y="28"/>
                </a:cubicBezTo>
                <a:cubicBezTo>
                  <a:pt x="530" y="28"/>
                  <a:pt x="530" y="28"/>
                  <a:pt x="530" y="28"/>
                </a:cubicBezTo>
                <a:cubicBezTo>
                  <a:pt x="530" y="27"/>
                  <a:pt x="530" y="27"/>
                  <a:pt x="530" y="27"/>
                </a:cubicBezTo>
                <a:cubicBezTo>
                  <a:pt x="530" y="26"/>
                  <a:pt x="530" y="26"/>
                  <a:pt x="530" y="26"/>
                </a:cubicBezTo>
                <a:cubicBezTo>
                  <a:pt x="529" y="25"/>
                  <a:pt x="529" y="25"/>
                  <a:pt x="529" y="25"/>
                </a:cubicBezTo>
                <a:cubicBezTo>
                  <a:pt x="528" y="26"/>
                  <a:pt x="528" y="26"/>
                  <a:pt x="528" y="26"/>
                </a:cubicBezTo>
                <a:cubicBezTo>
                  <a:pt x="526" y="25"/>
                  <a:pt x="526" y="25"/>
                  <a:pt x="526" y="25"/>
                </a:cubicBezTo>
                <a:cubicBezTo>
                  <a:pt x="523" y="26"/>
                  <a:pt x="523" y="26"/>
                  <a:pt x="523" y="26"/>
                </a:cubicBezTo>
                <a:cubicBezTo>
                  <a:pt x="521" y="27"/>
                  <a:pt x="521" y="27"/>
                  <a:pt x="521" y="27"/>
                </a:cubicBezTo>
                <a:cubicBezTo>
                  <a:pt x="520" y="28"/>
                  <a:pt x="520" y="28"/>
                  <a:pt x="520" y="28"/>
                </a:cubicBezTo>
                <a:cubicBezTo>
                  <a:pt x="520" y="27"/>
                  <a:pt x="520" y="27"/>
                  <a:pt x="520" y="27"/>
                </a:cubicBezTo>
                <a:cubicBezTo>
                  <a:pt x="519" y="26"/>
                  <a:pt x="519" y="26"/>
                  <a:pt x="519" y="26"/>
                </a:cubicBezTo>
                <a:cubicBezTo>
                  <a:pt x="518" y="26"/>
                  <a:pt x="518" y="26"/>
                  <a:pt x="518" y="26"/>
                </a:cubicBezTo>
                <a:cubicBezTo>
                  <a:pt x="517" y="26"/>
                  <a:pt x="517" y="26"/>
                  <a:pt x="517" y="26"/>
                </a:cubicBezTo>
                <a:cubicBezTo>
                  <a:pt x="515" y="26"/>
                  <a:pt x="515" y="26"/>
                  <a:pt x="515" y="26"/>
                </a:cubicBezTo>
                <a:cubicBezTo>
                  <a:pt x="514" y="26"/>
                  <a:pt x="514" y="26"/>
                  <a:pt x="514" y="26"/>
                </a:cubicBezTo>
                <a:cubicBezTo>
                  <a:pt x="514" y="27"/>
                  <a:pt x="514" y="27"/>
                  <a:pt x="514" y="27"/>
                </a:cubicBezTo>
                <a:cubicBezTo>
                  <a:pt x="513" y="28"/>
                  <a:pt x="513" y="28"/>
                  <a:pt x="513" y="28"/>
                </a:cubicBezTo>
                <a:cubicBezTo>
                  <a:pt x="511" y="27"/>
                  <a:pt x="511" y="27"/>
                  <a:pt x="511" y="27"/>
                </a:cubicBezTo>
                <a:cubicBezTo>
                  <a:pt x="510" y="27"/>
                  <a:pt x="510" y="27"/>
                  <a:pt x="510" y="27"/>
                </a:cubicBezTo>
                <a:cubicBezTo>
                  <a:pt x="510" y="26"/>
                  <a:pt x="510" y="26"/>
                  <a:pt x="510" y="26"/>
                </a:cubicBezTo>
                <a:cubicBezTo>
                  <a:pt x="509" y="25"/>
                  <a:pt x="509" y="25"/>
                  <a:pt x="509" y="25"/>
                </a:cubicBezTo>
                <a:close/>
                <a:moveTo>
                  <a:pt x="460" y="47"/>
                </a:moveTo>
                <a:cubicBezTo>
                  <a:pt x="459" y="44"/>
                  <a:pt x="459" y="44"/>
                  <a:pt x="459" y="44"/>
                </a:cubicBezTo>
                <a:cubicBezTo>
                  <a:pt x="459" y="42"/>
                  <a:pt x="459" y="42"/>
                  <a:pt x="459" y="42"/>
                </a:cubicBezTo>
                <a:cubicBezTo>
                  <a:pt x="458" y="42"/>
                  <a:pt x="458" y="42"/>
                  <a:pt x="458" y="42"/>
                </a:cubicBezTo>
                <a:cubicBezTo>
                  <a:pt x="455" y="41"/>
                  <a:pt x="455" y="41"/>
                  <a:pt x="455" y="41"/>
                </a:cubicBezTo>
                <a:cubicBezTo>
                  <a:pt x="454" y="40"/>
                  <a:pt x="454" y="40"/>
                  <a:pt x="454" y="40"/>
                </a:cubicBezTo>
                <a:cubicBezTo>
                  <a:pt x="453" y="39"/>
                  <a:pt x="453" y="39"/>
                  <a:pt x="453" y="39"/>
                </a:cubicBezTo>
                <a:cubicBezTo>
                  <a:pt x="453" y="39"/>
                  <a:pt x="453" y="39"/>
                  <a:pt x="453" y="39"/>
                </a:cubicBezTo>
                <a:cubicBezTo>
                  <a:pt x="453" y="40"/>
                  <a:pt x="453" y="40"/>
                  <a:pt x="453" y="40"/>
                </a:cubicBezTo>
                <a:cubicBezTo>
                  <a:pt x="454" y="42"/>
                  <a:pt x="454" y="42"/>
                  <a:pt x="454" y="42"/>
                </a:cubicBezTo>
                <a:cubicBezTo>
                  <a:pt x="456" y="43"/>
                  <a:pt x="456" y="43"/>
                  <a:pt x="456" y="43"/>
                </a:cubicBezTo>
                <a:cubicBezTo>
                  <a:pt x="458" y="46"/>
                  <a:pt x="458" y="46"/>
                  <a:pt x="458" y="46"/>
                </a:cubicBezTo>
                <a:cubicBezTo>
                  <a:pt x="458" y="48"/>
                  <a:pt x="458" y="48"/>
                  <a:pt x="458" y="48"/>
                </a:cubicBezTo>
                <a:cubicBezTo>
                  <a:pt x="460" y="49"/>
                  <a:pt x="460" y="49"/>
                  <a:pt x="460" y="49"/>
                </a:cubicBezTo>
                <a:cubicBezTo>
                  <a:pt x="460" y="48"/>
                  <a:pt x="460" y="48"/>
                  <a:pt x="460" y="48"/>
                </a:cubicBezTo>
                <a:cubicBezTo>
                  <a:pt x="460" y="47"/>
                  <a:pt x="460" y="47"/>
                  <a:pt x="460" y="47"/>
                </a:cubicBezTo>
                <a:close/>
                <a:moveTo>
                  <a:pt x="485" y="50"/>
                </a:moveTo>
                <a:cubicBezTo>
                  <a:pt x="484" y="50"/>
                  <a:pt x="484" y="50"/>
                  <a:pt x="484" y="50"/>
                </a:cubicBezTo>
                <a:cubicBezTo>
                  <a:pt x="483" y="49"/>
                  <a:pt x="483" y="49"/>
                  <a:pt x="483" y="49"/>
                </a:cubicBezTo>
                <a:cubicBezTo>
                  <a:pt x="483" y="48"/>
                  <a:pt x="483" y="48"/>
                  <a:pt x="483" y="48"/>
                </a:cubicBezTo>
                <a:cubicBezTo>
                  <a:pt x="483" y="48"/>
                  <a:pt x="483" y="48"/>
                  <a:pt x="483" y="48"/>
                </a:cubicBezTo>
                <a:cubicBezTo>
                  <a:pt x="484" y="48"/>
                  <a:pt x="484" y="48"/>
                  <a:pt x="484" y="48"/>
                </a:cubicBezTo>
                <a:cubicBezTo>
                  <a:pt x="485" y="49"/>
                  <a:pt x="485" y="49"/>
                  <a:pt x="485" y="49"/>
                </a:cubicBezTo>
                <a:cubicBezTo>
                  <a:pt x="486" y="49"/>
                  <a:pt x="486" y="49"/>
                  <a:pt x="486" y="49"/>
                </a:cubicBezTo>
                <a:cubicBezTo>
                  <a:pt x="486" y="50"/>
                  <a:pt x="486" y="50"/>
                  <a:pt x="486" y="50"/>
                </a:cubicBezTo>
                <a:cubicBezTo>
                  <a:pt x="486" y="51"/>
                  <a:pt x="486" y="51"/>
                  <a:pt x="486" y="51"/>
                </a:cubicBezTo>
                <a:cubicBezTo>
                  <a:pt x="487" y="51"/>
                  <a:pt x="487" y="51"/>
                  <a:pt x="487" y="51"/>
                </a:cubicBezTo>
                <a:cubicBezTo>
                  <a:pt x="488" y="49"/>
                  <a:pt x="488" y="49"/>
                  <a:pt x="488" y="49"/>
                </a:cubicBezTo>
                <a:cubicBezTo>
                  <a:pt x="490" y="47"/>
                  <a:pt x="490" y="47"/>
                  <a:pt x="490" y="47"/>
                </a:cubicBezTo>
                <a:cubicBezTo>
                  <a:pt x="492" y="45"/>
                  <a:pt x="492" y="45"/>
                  <a:pt x="492" y="45"/>
                </a:cubicBezTo>
                <a:cubicBezTo>
                  <a:pt x="493" y="44"/>
                  <a:pt x="493" y="44"/>
                  <a:pt x="493" y="44"/>
                </a:cubicBezTo>
                <a:cubicBezTo>
                  <a:pt x="494" y="43"/>
                  <a:pt x="494" y="43"/>
                  <a:pt x="494" y="43"/>
                </a:cubicBezTo>
                <a:cubicBezTo>
                  <a:pt x="495" y="44"/>
                  <a:pt x="495" y="44"/>
                  <a:pt x="495" y="44"/>
                </a:cubicBezTo>
                <a:cubicBezTo>
                  <a:pt x="494" y="45"/>
                  <a:pt x="494" y="45"/>
                  <a:pt x="494" y="45"/>
                </a:cubicBezTo>
                <a:cubicBezTo>
                  <a:pt x="496" y="45"/>
                  <a:pt x="496" y="45"/>
                  <a:pt x="496" y="45"/>
                </a:cubicBezTo>
                <a:cubicBezTo>
                  <a:pt x="497" y="45"/>
                  <a:pt x="497" y="45"/>
                  <a:pt x="497" y="45"/>
                </a:cubicBezTo>
                <a:cubicBezTo>
                  <a:pt x="498" y="45"/>
                  <a:pt x="498" y="45"/>
                  <a:pt x="498" y="45"/>
                </a:cubicBezTo>
                <a:cubicBezTo>
                  <a:pt x="498" y="44"/>
                  <a:pt x="498" y="44"/>
                  <a:pt x="498" y="44"/>
                </a:cubicBezTo>
                <a:cubicBezTo>
                  <a:pt x="499" y="43"/>
                  <a:pt x="499" y="43"/>
                  <a:pt x="499" y="43"/>
                </a:cubicBezTo>
                <a:cubicBezTo>
                  <a:pt x="500" y="42"/>
                  <a:pt x="500" y="42"/>
                  <a:pt x="500" y="42"/>
                </a:cubicBezTo>
                <a:cubicBezTo>
                  <a:pt x="500" y="41"/>
                  <a:pt x="500" y="41"/>
                  <a:pt x="500" y="41"/>
                </a:cubicBezTo>
                <a:cubicBezTo>
                  <a:pt x="498" y="41"/>
                  <a:pt x="498" y="41"/>
                  <a:pt x="498" y="41"/>
                </a:cubicBezTo>
                <a:cubicBezTo>
                  <a:pt x="496" y="42"/>
                  <a:pt x="496" y="42"/>
                  <a:pt x="496" y="42"/>
                </a:cubicBezTo>
                <a:cubicBezTo>
                  <a:pt x="495" y="41"/>
                  <a:pt x="495" y="41"/>
                  <a:pt x="495" y="41"/>
                </a:cubicBezTo>
                <a:cubicBezTo>
                  <a:pt x="493" y="41"/>
                  <a:pt x="493" y="41"/>
                  <a:pt x="493" y="41"/>
                </a:cubicBezTo>
                <a:cubicBezTo>
                  <a:pt x="492" y="40"/>
                  <a:pt x="492" y="40"/>
                  <a:pt x="492" y="40"/>
                </a:cubicBezTo>
                <a:cubicBezTo>
                  <a:pt x="490" y="40"/>
                  <a:pt x="490" y="40"/>
                  <a:pt x="490" y="40"/>
                </a:cubicBezTo>
                <a:cubicBezTo>
                  <a:pt x="490" y="39"/>
                  <a:pt x="490" y="39"/>
                  <a:pt x="490" y="39"/>
                </a:cubicBezTo>
                <a:cubicBezTo>
                  <a:pt x="488" y="37"/>
                  <a:pt x="488" y="37"/>
                  <a:pt x="488" y="37"/>
                </a:cubicBezTo>
                <a:cubicBezTo>
                  <a:pt x="487" y="36"/>
                  <a:pt x="487" y="36"/>
                  <a:pt x="487" y="36"/>
                </a:cubicBezTo>
                <a:cubicBezTo>
                  <a:pt x="487" y="34"/>
                  <a:pt x="487" y="34"/>
                  <a:pt x="487" y="34"/>
                </a:cubicBezTo>
                <a:cubicBezTo>
                  <a:pt x="486" y="33"/>
                  <a:pt x="486" y="33"/>
                  <a:pt x="486" y="33"/>
                </a:cubicBezTo>
                <a:cubicBezTo>
                  <a:pt x="485" y="32"/>
                  <a:pt x="485" y="32"/>
                  <a:pt x="485" y="32"/>
                </a:cubicBezTo>
                <a:cubicBezTo>
                  <a:pt x="485" y="31"/>
                  <a:pt x="485" y="31"/>
                  <a:pt x="485" y="31"/>
                </a:cubicBezTo>
                <a:cubicBezTo>
                  <a:pt x="484" y="30"/>
                  <a:pt x="484" y="30"/>
                  <a:pt x="484" y="30"/>
                </a:cubicBezTo>
                <a:cubicBezTo>
                  <a:pt x="484" y="30"/>
                  <a:pt x="484" y="30"/>
                  <a:pt x="484" y="30"/>
                </a:cubicBezTo>
                <a:cubicBezTo>
                  <a:pt x="485" y="29"/>
                  <a:pt x="485" y="29"/>
                  <a:pt x="485" y="29"/>
                </a:cubicBezTo>
                <a:cubicBezTo>
                  <a:pt x="484" y="28"/>
                  <a:pt x="484" y="28"/>
                  <a:pt x="484" y="28"/>
                </a:cubicBezTo>
                <a:cubicBezTo>
                  <a:pt x="485" y="28"/>
                  <a:pt x="485" y="28"/>
                  <a:pt x="485" y="28"/>
                </a:cubicBezTo>
                <a:cubicBezTo>
                  <a:pt x="485" y="28"/>
                  <a:pt x="485" y="28"/>
                  <a:pt x="485" y="28"/>
                </a:cubicBezTo>
                <a:cubicBezTo>
                  <a:pt x="485" y="27"/>
                  <a:pt x="485" y="27"/>
                  <a:pt x="485" y="27"/>
                </a:cubicBezTo>
                <a:cubicBezTo>
                  <a:pt x="484" y="26"/>
                  <a:pt x="484" y="26"/>
                  <a:pt x="484" y="26"/>
                </a:cubicBezTo>
                <a:cubicBezTo>
                  <a:pt x="483" y="26"/>
                  <a:pt x="483" y="26"/>
                  <a:pt x="483" y="26"/>
                </a:cubicBezTo>
                <a:cubicBezTo>
                  <a:pt x="481" y="26"/>
                  <a:pt x="481" y="26"/>
                  <a:pt x="481" y="26"/>
                </a:cubicBezTo>
                <a:cubicBezTo>
                  <a:pt x="479" y="25"/>
                  <a:pt x="479" y="25"/>
                  <a:pt x="479" y="25"/>
                </a:cubicBezTo>
                <a:cubicBezTo>
                  <a:pt x="478" y="24"/>
                  <a:pt x="478" y="24"/>
                  <a:pt x="478" y="24"/>
                </a:cubicBezTo>
                <a:cubicBezTo>
                  <a:pt x="477" y="24"/>
                  <a:pt x="477" y="24"/>
                  <a:pt x="477" y="24"/>
                </a:cubicBezTo>
                <a:cubicBezTo>
                  <a:pt x="476" y="24"/>
                  <a:pt x="476" y="24"/>
                  <a:pt x="476" y="24"/>
                </a:cubicBezTo>
                <a:cubicBezTo>
                  <a:pt x="475" y="24"/>
                  <a:pt x="475" y="24"/>
                  <a:pt x="475" y="24"/>
                </a:cubicBezTo>
                <a:cubicBezTo>
                  <a:pt x="477" y="26"/>
                  <a:pt x="477" y="26"/>
                  <a:pt x="477" y="26"/>
                </a:cubicBezTo>
                <a:cubicBezTo>
                  <a:pt x="478" y="26"/>
                  <a:pt x="478" y="26"/>
                  <a:pt x="478" y="26"/>
                </a:cubicBezTo>
                <a:cubicBezTo>
                  <a:pt x="479" y="27"/>
                  <a:pt x="479" y="27"/>
                  <a:pt x="479" y="27"/>
                </a:cubicBezTo>
                <a:cubicBezTo>
                  <a:pt x="477" y="27"/>
                  <a:pt x="477" y="27"/>
                  <a:pt x="477" y="27"/>
                </a:cubicBezTo>
                <a:cubicBezTo>
                  <a:pt x="477" y="27"/>
                  <a:pt x="477" y="27"/>
                  <a:pt x="477" y="27"/>
                </a:cubicBezTo>
                <a:cubicBezTo>
                  <a:pt x="476" y="27"/>
                  <a:pt x="476" y="27"/>
                  <a:pt x="476" y="27"/>
                </a:cubicBezTo>
                <a:cubicBezTo>
                  <a:pt x="475" y="27"/>
                  <a:pt x="475" y="27"/>
                  <a:pt x="475" y="27"/>
                </a:cubicBezTo>
                <a:cubicBezTo>
                  <a:pt x="475" y="29"/>
                  <a:pt x="475" y="29"/>
                  <a:pt x="475" y="29"/>
                </a:cubicBezTo>
                <a:cubicBezTo>
                  <a:pt x="476" y="30"/>
                  <a:pt x="476" y="30"/>
                  <a:pt x="476" y="30"/>
                </a:cubicBezTo>
                <a:cubicBezTo>
                  <a:pt x="477" y="32"/>
                  <a:pt x="477" y="32"/>
                  <a:pt x="477" y="32"/>
                </a:cubicBezTo>
                <a:cubicBezTo>
                  <a:pt x="478" y="34"/>
                  <a:pt x="478" y="34"/>
                  <a:pt x="478" y="34"/>
                </a:cubicBezTo>
                <a:cubicBezTo>
                  <a:pt x="479" y="35"/>
                  <a:pt x="479" y="35"/>
                  <a:pt x="479" y="35"/>
                </a:cubicBezTo>
                <a:cubicBezTo>
                  <a:pt x="478" y="35"/>
                  <a:pt x="478" y="35"/>
                  <a:pt x="478" y="35"/>
                </a:cubicBezTo>
                <a:cubicBezTo>
                  <a:pt x="477" y="35"/>
                  <a:pt x="477" y="35"/>
                  <a:pt x="477" y="35"/>
                </a:cubicBezTo>
                <a:cubicBezTo>
                  <a:pt x="475" y="34"/>
                  <a:pt x="475" y="34"/>
                  <a:pt x="475" y="34"/>
                </a:cubicBezTo>
                <a:cubicBezTo>
                  <a:pt x="475" y="32"/>
                  <a:pt x="475" y="32"/>
                  <a:pt x="475" y="32"/>
                </a:cubicBezTo>
                <a:cubicBezTo>
                  <a:pt x="474" y="32"/>
                  <a:pt x="474" y="32"/>
                  <a:pt x="474" y="32"/>
                </a:cubicBezTo>
                <a:cubicBezTo>
                  <a:pt x="473" y="32"/>
                  <a:pt x="473" y="32"/>
                  <a:pt x="473" y="32"/>
                </a:cubicBezTo>
                <a:cubicBezTo>
                  <a:pt x="472" y="32"/>
                  <a:pt x="472" y="32"/>
                  <a:pt x="472" y="32"/>
                </a:cubicBezTo>
                <a:cubicBezTo>
                  <a:pt x="471" y="32"/>
                  <a:pt x="471" y="32"/>
                  <a:pt x="471" y="32"/>
                </a:cubicBezTo>
                <a:cubicBezTo>
                  <a:pt x="470" y="32"/>
                  <a:pt x="470" y="32"/>
                  <a:pt x="470" y="32"/>
                </a:cubicBezTo>
                <a:cubicBezTo>
                  <a:pt x="470" y="30"/>
                  <a:pt x="470" y="30"/>
                  <a:pt x="470" y="30"/>
                </a:cubicBezTo>
                <a:cubicBezTo>
                  <a:pt x="470" y="29"/>
                  <a:pt x="470" y="29"/>
                  <a:pt x="470" y="29"/>
                </a:cubicBezTo>
                <a:cubicBezTo>
                  <a:pt x="469" y="29"/>
                  <a:pt x="469" y="29"/>
                  <a:pt x="469" y="29"/>
                </a:cubicBezTo>
                <a:cubicBezTo>
                  <a:pt x="467" y="28"/>
                  <a:pt x="467" y="28"/>
                  <a:pt x="467" y="28"/>
                </a:cubicBezTo>
                <a:cubicBezTo>
                  <a:pt x="465" y="28"/>
                  <a:pt x="465" y="28"/>
                  <a:pt x="465" y="28"/>
                </a:cubicBezTo>
                <a:cubicBezTo>
                  <a:pt x="465" y="27"/>
                  <a:pt x="465" y="27"/>
                  <a:pt x="465" y="27"/>
                </a:cubicBezTo>
                <a:cubicBezTo>
                  <a:pt x="464" y="26"/>
                  <a:pt x="464" y="26"/>
                  <a:pt x="464" y="26"/>
                </a:cubicBezTo>
                <a:cubicBezTo>
                  <a:pt x="463" y="27"/>
                  <a:pt x="463" y="27"/>
                  <a:pt x="463" y="27"/>
                </a:cubicBezTo>
                <a:cubicBezTo>
                  <a:pt x="462" y="28"/>
                  <a:pt x="462" y="28"/>
                  <a:pt x="462" y="28"/>
                </a:cubicBezTo>
                <a:cubicBezTo>
                  <a:pt x="462" y="29"/>
                  <a:pt x="462" y="29"/>
                  <a:pt x="462" y="29"/>
                </a:cubicBezTo>
                <a:cubicBezTo>
                  <a:pt x="461" y="30"/>
                  <a:pt x="461" y="30"/>
                  <a:pt x="461" y="30"/>
                </a:cubicBezTo>
                <a:cubicBezTo>
                  <a:pt x="462" y="31"/>
                  <a:pt x="462" y="31"/>
                  <a:pt x="462" y="31"/>
                </a:cubicBezTo>
                <a:cubicBezTo>
                  <a:pt x="461" y="33"/>
                  <a:pt x="461" y="33"/>
                  <a:pt x="461" y="33"/>
                </a:cubicBezTo>
                <a:cubicBezTo>
                  <a:pt x="460" y="34"/>
                  <a:pt x="460" y="34"/>
                  <a:pt x="460" y="34"/>
                </a:cubicBezTo>
                <a:cubicBezTo>
                  <a:pt x="460" y="35"/>
                  <a:pt x="460" y="35"/>
                  <a:pt x="460" y="35"/>
                </a:cubicBezTo>
                <a:cubicBezTo>
                  <a:pt x="461" y="37"/>
                  <a:pt x="461" y="37"/>
                  <a:pt x="461" y="37"/>
                </a:cubicBezTo>
                <a:cubicBezTo>
                  <a:pt x="462" y="37"/>
                  <a:pt x="462" y="37"/>
                  <a:pt x="462" y="37"/>
                </a:cubicBezTo>
                <a:cubicBezTo>
                  <a:pt x="463" y="38"/>
                  <a:pt x="463" y="38"/>
                  <a:pt x="463" y="38"/>
                </a:cubicBezTo>
                <a:cubicBezTo>
                  <a:pt x="462" y="38"/>
                  <a:pt x="462" y="38"/>
                  <a:pt x="462" y="38"/>
                </a:cubicBezTo>
                <a:cubicBezTo>
                  <a:pt x="461" y="38"/>
                  <a:pt x="461" y="38"/>
                  <a:pt x="461" y="38"/>
                </a:cubicBezTo>
                <a:cubicBezTo>
                  <a:pt x="462" y="40"/>
                  <a:pt x="462" y="40"/>
                  <a:pt x="462" y="40"/>
                </a:cubicBezTo>
                <a:cubicBezTo>
                  <a:pt x="463" y="40"/>
                  <a:pt x="463" y="40"/>
                  <a:pt x="463" y="40"/>
                </a:cubicBezTo>
                <a:cubicBezTo>
                  <a:pt x="463" y="41"/>
                  <a:pt x="463" y="41"/>
                  <a:pt x="463" y="41"/>
                </a:cubicBezTo>
                <a:cubicBezTo>
                  <a:pt x="463" y="42"/>
                  <a:pt x="463" y="42"/>
                  <a:pt x="463" y="42"/>
                </a:cubicBezTo>
                <a:cubicBezTo>
                  <a:pt x="464" y="43"/>
                  <a:pt x="464" y="43"/>
                  <a:pt x="464" y="43"/>
                </a:cubicBezTo>
                <a:cubicBezTo>
                  <a:pt x="465" y="43"/>
                  <a:pt x="465" y="43"/>
                  <a:pt x="465" y="43"/>
                </a:cubicBezTo>
                <a:cubicBezTo>
                  <a:pt x="466" y="44"/>
                  <a:pt x="466" y="44"/>
                  <a:pt x="466" y="44"/>
                </a:cubicBezTo>
                <a:cubicBezTo>
                  <a:pt x="466" y="44"/>
                  <a:pt x="466" y="44"/>
                  <a:pt x="466" y="44"/>
                </a:cubicBezTo>
                <a:cubicBezTo>
                  <a:pt x="466" y="45"/>
                  <a:pt x="466" y="45"/>
                  <a:pt x="466" y="45"/>
                </a:cubicBezTo>
                <a:cubicBezTo>
                  <a:pt x="467" y="45"/>
                  <a:pt x="467" y="45"/>
                  <a:pt x="467" y="45"/>
                </a:cubicBezTo>
                <a:cubicBezTo>
                  <a:pt x="468" y="45"/>
                  <a:pt x="468" y="45"/>
                  <a:pt x="468" y="45"/>
                </a:cubicBezTo>
                <a:cubicBezTo>
                  <a:pt x="468" y="45"/>
                  <a:pt x="468" y="45"/>
                  <a:pt x="468" y="45"/>
                </a:cubicBezTo>
                <a:cubicBezTo>
                  <a:pt x="467" y="46"/>
                  <a:pt x="467" y="46"/>
                  <a:pt x="467" y="46"/>
                </a:cubicBezTo>
                <a:cubicBezTo>
                  <a:pt x="467" y="46"/>
                  <a:pt x="467" y="46"/>
                  <a:pt x="467" y="46"/>
                </a:cubicBezTo>
                <a:cubicBezTo>
                  <a:pt x="466" y="46"/>
                  <a:pt x="466" y="46"/>
                  <a:pt x="466" y="46"/>
                </a:cubicBezTo>
                <a:cubicBezTo>
                  <a:pt x="466" y="46"/>
                  <a:pt x="466" y="46"/>
                  <a:pt x="466" y="46"/>
                </a:cubicBezTo>
                <a:cubicBezTo>
                  <a:pt x="466" y="48"/>
                  <a:pt x="466" y="48"/>
                  <a:pt x="466" y="48"/>
                </a:cubicBezTo>
                <a:cubicBezTo>
                  <a:pt x="470" y="50"/>
                  <a:pt x="470" y="50"/>
                  <a:pt x="470" y="50"/>
                </a:cubicBezTo>
                <a:cubicBezTo>
                  <a:pt x="472" y="51"/>
                  <a:pt x="472" y="51"/>
                  <a:pt x="472" y="51"/>
                </a:cubicBezTo>
                <a:cubicBezTo>
                  <a:pt x="474" y="51"/>
                  <a:pt x="474" y="51"/>
                  <a:pt x="474" y="51"/>
                </a:cubicBezTo>
                <a:cubicBezTo>
                  <a:pt x="475" y="52"/>
                  <a:pt x="475" y="52"/>
                  <a:pt x="475" y="52"/>
                </a:cubicBezTo>
                <a:cubicBezTo>
                  <a:pt x="476" y="52"/>
                  <a:pt x="476" y="52"/>
                  <a:pt x="476" y="52"/>
                </a:cubicBezTo>
                <a:cubicBezTo>
                  <a:pt x="476" y="54"/>
                  <a:pt x="476" y="54"/>
                  <a:pt x="476" y="54"/>
                </a:cubicBezTo>
                <a:cubicBezTo>
                  <a:pt x="477" y="55"/>
                  <a:pt x="477" y="55"/>
                  <a:pt x="477" y="55"/>
                </a:cubicBezTo>
                <a:cubicBezTo>
                  <a:pt x="479" y="55"/>
                  <a:pt x="479" y="55"/>
                  <a:pt x="479" y="55"/>
                </a:cubicBezTo>
                <a:cubicBezTo>
                  <a:pt x="481" y="54"/>
                  <a:pt x="481" y="54"/>
                  <a:pt x="481" y="54"/>
                </a:cubicBezTo>
                <a:cubicBezTo>
                  <a:pt x="483" y="54"/>
                  <a:pt x="483" y="54"/>
                  <a:pt x="483" y="54"/>
                </a:cubicBezTo>
                <a:cubicBezTo>
                  <a:pt x="484" y="55"/>
                  <a:pt x="484" y="55"/>
                  <a:pt x="484" y="55"/>
                </a:cubicBezTo>
                <a:cubicBezTo>
                  <a:pt x="485" y="55"/>
                  <a:pt x="485" y="55"/>
                  <a:pt x="485" y="55"/>
                </a:cubicBezTo>
                <a:cubicBezTo>
                  <a:pt x="486" y="53"/>
                  <a:pt x="486" y="53"/>
                  <a:pt x="486" y="53"/>
                </a:cubicBezTo>
                <a:cubicBezTo>
                  <a:pt x="486" y="52"/>
                  <a:pt x="486" y="52"/>
                  <a:pt x="486" y="52"/>
                </a:cubicBezTo>
                <a:cubicBezTo>
                  <a:pt x="485" y="51"/>
                  <a:pt x="485" y="51"/>
                  <a:pt x="485" y="51"/>
                </a:cubicBezTo>
                <a:cubicBezTo>
                  <a:pt x="485" y="50"/>
                  <a:pt x="485" y="50"/>
                  <a:pt x="485" y="50"/>
                </a:cubicBezTo>
                <a:close/>
                <a:moveTo>
                  <a:pt x="485" y="25"/>
                </a:moveTo>
                <a:cubicBezTo>
                  <a:pt x="487" y="25"/>
                  <a:pt x="487" y="25"/>
                  <a:pt x="487" y="25"/>
                </a:cubicBezTo>
                <a:cubicBezTo>
                  <a:pt x="489" y="25"/>
                  <a:pt x="489" y="25"/>
                  <a:pt x="489" y="25"/>
                </a:cubicBezTo>
                <a:cubicBezTo>
                  <a:pt x="491" y="25"/>
                  <a:pt x="491" y="25"/>
                  <a:pt x="491" y="25"/>
                </a:cubicBezTo>
                <a:cubicBezTo>
                  <a:pt x="494" y="27"/>
                  <a:pt x="494" y="27"/>
                  <a:pt x="494" y="27"/>
                </a:cubicBezTo>
                <a:cubicBezTo>
                  <a:pt x="495" y="27"/>
                  <a:pt x="495" y="27"/>
                  <a:pt x="495" y="27"/>
                </a:cubicBezTo>
                <a:cubicBezTo>
                  <a:pt x="496" y="27"/>
                  <a:pt x="496" y="27"/>
                  <a:pt x="496" y="27"/>
                </a:cubicBezTo>
                <a:cubicBezTo>
                  <a:pt x="499" y="27"/>
                  <a:pt x="499" y="27"/>
                  <a:pt x="499" y="27"/>
                </a:cubicBezTo>
                <a:cubicBezTo>
                  <a:pt x="502" y="28"/>
                  <a:pt x="502" y="28"/>
                  <a:pt x="502" y="28"/>
                </a:cubicBezTo>
                <a:cubicBezTo>
                  <a:pt x="502" y="29"/>
                  <a:pt x="502" y="29"/>
                  <a:pt x="502" y="29"/>
                </a:cubicBezTo>
                <a:cubicBezTo>
                  <a:pt x="501" y="29"/>
                  <a:pt x="501" y="29"/>
                  <a:pt x="501" y="29"/>
                </a:cubicBezTo>
                <a:cubicBezTo>
                  <a:pt x="500" y="30"/>
                  <a:pt x="500" y="30"/>
                  <a:pt x="500" y="30"/>
                </a:cubicBezTo>
                <a:cubicBezTo>
                  <a:pt x="500" y="31"/>
                  <a:pt x="500" y="31"/>
                  <a:pt x="500" y="31"/>
                </a:cubicBezTo>
                <a:cubicBezTo>
                  <a:pt x="501" y="33"/>
                  <a:pt x="501" y="33"/>
                  <a:pt x="501" y="33"/>
                </a:cubicBezTo>
                <a:cubicBezTo>
                  <a:pt x="503" y="33"/>
                  <a:pt x="503" y="33"/>
                  <a:pt x="503" y="33"/>
                </a:cubicBezTo>
                <a:cubicBezTo>
                  <a:pt x="503" y="35"/>
                  <a:pt x="503" y="35"/>
                  <a:pt x="503" y="35"/>
                </a:cubicBezTo>
                <a:cubicBezTo>
                  <a:pt x="503" y="36"/>
                  <a:pt x="503" y="36"/>
                  <a:pt x="503" y="36"/>
                </a:cubicBezTo>
                <a:cubicBezTo>
                  <a:pt x="503" y="37"/>
                  <a:pt x="503" y="37"/>
                  <a:pt x="503" y="37"/>
                </a:cubicBezTo>
                <a:cubicBezTo>
                  <a:pt x="502" y="39"/>
                  <a:pt x="502" y="39"/>
                  <a:pt x="502" y="39"/>
                </a:cubicBezTo>
                <a:cubicBezTo>
                  <a:pt x="501" y="40"/>
                  <a:pt x="501" y="40"/>
                  <a:pt x="501" y="40"/>
                </a:cubicBezTo>
                <a:cubicBezTo>
                  <a:pt x="501" y="40"/>
                  <a:pt x="501" y="40"/>
                  <a:pt x="501" y="40"/>
                </a:cubicBezTo>
                <a:cubicBezTo>
                  <a:pt x="500" y="39"/>
                  <a:pt x="500" y="39"/>
                  <a:pt x="500" y="39"/>
                </a:cubicBezTo>
                <a:cubicBezTo>
                  <a:pt x="499" y="40"/>
                  <a:pt x="499" y="40"/>
                  <a:pt x="499" y="40"/>
                </a:cubicBezTo>
                <a:cubicBezTo>
                  <a:pt x="498" y="41"/>
                  <a:pt x="498" y="41"/>
                  <a:pt x="498" y="41"/>
                </a:cubicBezTo>
                <a:cubicBezTo>
                  <a:pt x="496" y="41"/>
                  <a:pt x="496" y="41"/>
                  <a:pt x="496" y="41"/>
                </a:cubicBezTo>
                <a:cubicBezTo>
                  <a:pt x="493" y="39"/>
                  <a:pt x="493" y="39"/>
                  <a:pt x="493" y="39"/>
                </a:cubicBezTo>
                <a:cubicBezTo>
                  <a:pt x="492" y="38"/>
                  <a:pt x="492" y="38"/>
                  <a:pt x="492" y="38"/>
                </a:cubicBezTo>
                <a:cubicBezTo>
                  <a:pt x="489" y="36"/>
                  <a:pt x="489" y="36"/>
                  <a:pt x="489" y="36"/>
                </a:cubicBezTo>
                <a:cubicBezTo>
                  <a:pt x="489" y="34"/>
                  <a:pt x="489" y="34"/>
                  <a:pt x="489" y="34"/>
                </a:cubicBezTo>
                <a:cubicBezTo>
                  <a:pt x="489" y="33"/>
                  <a:pt x="489" y="33"/>
                  <a:pt x="489" y="33"/>
                </a:cubicBezTo>
                <a:cubicBezTo>
                  <a:pt x="489" y="32"/>
                  <a:pt x="489" y="32"/>
                  <a:pt x="489" y="32"/>
                </a:cubicBezTo>
                <a:cubicBezTo>
                  <a:pt x="490" y="31"/>
                  <a:pt x="490" y="31"/>
                  <a:pt x="490" y="31"/>
                </a:cubicBezTo>
                <a:cubicBezTo>
                  <a:pt x="489" y="30"/>
                  <a:pt x="489" y="30"/>
                  <a:pt x="489" y="30"/>
                </a:cubicBezTo>
                <a:cubicBezTo>
                  <a:pt x="488" y="29"/>
                  <a:pt x="488" y="29"/>
                  <a:pt x="488" y="29"/>
                </a:cubicBezTo>
                <a:cubicBezTo>
                  <a:pt x="488" y="28"/>
                  <a:pt x="488" y="28"/>
                  <a:pt x="488" y="28"/>
                </a:cubicBezTo>
                <a:cubicBezTo>
                  <a:pt x="487" y="28"/>
                  <a:pt x="487" y="28"/>
                  <a:pt x="487" y="28"/>
                </a:cubicBezTo>
                <a:cubicBezTo>
                  <a:pt x="486" y="27"/>
                  <a:pt x="486" y="27"/>
                  <a:pt x="486" y="27"/>
                </a:cubicBezTo>
                <a:cubicBezTo>
                  <a:pt x="485" y="25"/>
                  <a:pt x="485" y="25"/>
                  <a:pt x="485" y="25"/>
                </a:cubicBezTo>
                <a:close/>
                <a:moveTo>
                  <a:pt x="277" y="58"/>
                </a:moveTo>
                <a:cubicBezTo>
                  <a:pt x="276" y="58"/>
                  <a:pt x="278" y="57"/>
                  <a:pt x="278" y="57"/>
                </a:cubicBezTo>
                <a:cubicBezTo>
                  <a:pt x="279" y="56"/>
                  <a:pt x="279" y="56"/>
                  <a:pt x="279" y="56"/>
                </a:cubicBezTo>
                <a:cubicBezTo>
                  <a:pt x="280" y="54"/>
                  <a:pt x="280" y="54"/>
                  <a:pt x="280" y="54"/>
                </a:cubicBezTo>
                <a:cubicBezTo>
                  <a:pt x="281" y="53"/>
                  <a:pt x="281" y="53"/>
                  <a:pt x="281" y="53"/>
                </a:cubicBezTo>
                <a:cubicBezTo>
                  <a:pt x="281" y="52"/>
                  <a:pt x="281" y="52"/>
                  <a:pt x="281" y="52"/>
                </a:cubicBezTo>
                <a:cubicBezTo>
                  <a:pt x="281" y="51"/>
                  <a:pt x="281" y="51"/>
                  <a:pt x="281" y="51"/>
                </a:cubicBezTo>
                <a:cubicBezTo>
                  <a:pt x="284" y="50"/>
                  <a:pt x="284" y="50"/>
                  <a:pt x="284" y="50"/>
                </a:cubicBezTo>
                <a:cubicBezTo>
                  <a:pt x="285" y="49"/>
                  <a:pt x="285" y="49"/>
                  <a:pt x="285" y="49"/>
                </a:cubicBezTo>
                <a:cubicBezTo>
                  <a:pt x="286" y="50"/>
                  <a:pt x="286" y="50"/>
                  <a:pt x="286" y="50"/>
                </a:cubicBezTo>
                <a:cubicBezTo>
                  <a:pt x="287" y="50"/>
                  <a:pt x="287" y="50"/>
                  <a:pt x="287" y="50"/>
                </a:cubicBezTo>
                <a:cubicBezTo>
                  <a:pt x="287" y="49"/>
                  <a:pt x="287" y="49"/>
                  <a:pt x="287" y="49"/>
                </a:cubicBezTo>
                <a:cubicBezTo>
                  <a:pt x="288" y="48"/>
                  <a:pt x="288" y="48"/>
                  <a:pt x="288" y="48"/>
                </a:cubicBezTo>
                <a:cubicBezTo>
                  <a:pt x="289" y="47"/>
                  <a:pt x="289" y="47"/>
                  <a:pt x="289" y="47"/>
                </a:cubicBezTo>
                <a:cubicBezTo>
                  <a:pt x="291" y="46"/>
                  <a:pt x="291" y="46"/>
                  <a:pt x="291" y="46"/>
                </a:cubicBezTo>
                <a:cubicBezTo>
                  <a:pt x="292" y="45"/>
                  <a:pt x="292" y="45"/>
                  <a:pt x="292" y="45"/>
                </a:cubicBezTo>
                <a:cubicBezTo>
                  <a:pt x="293" y="44"/>
                  <a:pt x="293" y="44"/>
                  <a:pt x="293" y="44"/>
                </a:cubicBezTo>
                <a:cubicBezTo>
                  <a:pt x="294" y="42"/>
                  <a:pt x="294" y="42"/>
                  <a:pt x="294" y="42"/>
                </a:cubicBezTo>
                <a:cubicBezTo>
                  <a:pt x="293" y="40"/>
                  <a:pt x="293" y="40"/>
                  <a:pt x="293" y="40"/>
                </a:cubicBezTo>
                <a:cubicBezTo>
                  <a:pt x="292" y="38"/>
                  <a:pt x="292" y="38"/>
                  <a:pt x="292" y="38"/>
                </a:cubicBezTo>
                <a:cubicBezTo>
                  <a:pt x="291" y="37"/>
                  <a:pt x="291" y="37"/>
                  <a:pt x="291" y="37"/>
                </a:cubicBezTo>
                <a:cubicBezTo>
                  <a:pt x="291" y="36"/>
                  <a:pt x="291" y="36"/>
                  <a:pt x="291" y="36"/>
                </a:cubicBezTo>
                <a:cubicBezTo>
                  <a:pt x="289" y="34"/>
                  <a:pt x="289" y="34"/>
                  <a:pt x="289" y="34"/>
                </a:cubicBezTo>
                <a:cubicBezTo>
                  <a:pt x="288" y="34"/>
                  <a:pt x="288" y="34"/>
                  <a:pt x="288" y="34"/>
                </a:cubicBezTo>
                <a:cubicBezTo>
                  <a:pt x="287" y="35"/>
                  <a:pt x="287" y="35"/>
                  <a:pt x="287" y="35"/>
                </a:cubicBezTo>
                <a:cubicBezTo>
                  <a:pt x="286" y="34"/>
                  <a:pt x="286" y="34"/>
                  <a:pt x="286" y="34"/>
                </a:cubicBezTo>
                <a:cubicBezTo>
                  <a:pt x="285" y="33"/>
                  <a:pt x="285" y="33"/>
                  <a:pt x="285" y="33"/>
                </a:cubicBezTo>
                <a:cubicBezTo>
                  <a:pt x="283" y="32"/>
                  <a:pt x="283" y="32"/>
                  <a:pt x="283" y="32"/>
                </a:cubicBezTo>
                <a:cubicBezTo>
                  <a:pt x="282" y="32"/>
                  <a:pt x="282" y="32"/>
                  <a:pt x="282" y="32"/>
                </a:cubicBezTo>
                <a:cubicBezTo>
                  <a:pt x="282" y="32"/>
                  <a:pt x="282" y="32"/>
                  <a:pt x="282" y="32"/>
                </a:cubicBezTo>
                <a:cubicBezTo>
                  <a:pt x="281" y="32"/>
                  <a:pt x="281" y="32"/>
                  <a:pt x="281" y="32"/>
                </a:cubicBezTo>
                <a:cubicBezTo>
                  <a:pt x="281" y="31"/>
                  <a:pt x="281" y="31"/>
                  <a:pt x="281" y="31"/>
                </a:cubicBezTo>
                <a:cubicBezTo>
                  <a:pt x="280" y="30"/>
                  <a:pt x="280" y="30"/>
                  <a:pt x="280" y="30"/>
                </a:cubicBezTo>
                <a:cubicBezTo>
                  <a:pt x="279" y="30"/>
                  <a:pt x="279" y="30"/>
                  <a:pt x="279" y="30"/>
                </a:cubicBezTo>
                <a:cubicBezTo>
                  <a:pt x="279" y="31"/>
                  <a:pt x="279" y="31"/>
                  <a:pt x="279" y="31"/>
                </a:cubicBezTo>
                <a:cubicBezTo>
                  <a:pt x="278" y="31"/>
                  <a:pt x="278" y="31"/>
                  <a:pt x="278" y="31"/>
                </a:cubicBezTo>
                <a:cubicBezTo>
                  <a:pt x="277" y="29"/>
                  <a:pt x="277" y="29"/>
                  <a:pt x="277" y="29"/>
                </a:cubicBezTo>
                <a:cubicBezTo>
                  <a:pt x="276" y="29"/>
                  <a:pt x="276" y="29"/>
                  <a:pt x="276" y="29"/>
                </a:cubicBezTo>
                <a:cubicBezTo>
                  <a:pt x="276" y="30"/>
                  <a:pt x="276" y="30"/>
                  <a:pt x="276" y="30"/>
                </a:cubicBezTo>
                <a:cubicBezTo>
                  <a:pt x="277" y="31"/>
                  <a:pt x="277" y="31"/>
                  <a:pt x="277" y="31"/>
                </a:cubicBezTo>
                <a:cubicBezTo>
                  <a:pt x="277" y="31"/>
                  <a:pt x="277" y="31"/>
                  <a:pt x="277" y="31"/>
                </a:cubicBezTo>
                <a:cubicBezTo>
                  <a:pt x="276" y="32"/>
                  <a:pt x="276" y="32"/>
                  <a:pt x="276" y="32"/>
                </a:cubicBezTo>
                <a:cubicBezTo>
                  <a:pt x="276" y="33"/>
                  <a:pt x="276" y="33"/>
                  <a:pt x="276" y="33"/>
                </a:cubicBezTo>
                <a:cubicBezTo>
                  <a:pt x="276" y="33"/>
                  <a:pt x="276" y="33"/>
                  <a:pt x="276" y="33"/>
                </a:cubicBezTo>
                <a:cubicBezTo>
                  <a:pt x="275" y="32"/>
                  <a:pt x="275" y="32"/>
                  <a:pt x="275" y="32"/>
                </a:cubicBezTo>
                <a:cubicBezTo>
                  <a:pt x="275" y="28"/>
                  <a:pt x="275" y="28"/>
                  <a:pt x="275" y="28"/>
                </a:cubicBezTo>
                <a:cubicBezTo>
                  <a:pt x="274" y="28"/>
                  <a:pt x="274" y="28"/>
                  <a:pt x="274" y="28"/>
                </a:cubicBezTo>
                <a:cubicBezTo>
                  <a:pt x="273" y="27"/>
                  <a:pt x="273" y="27"/>
                  <a:pt x="273" y="27"/>
                </a:cubicBezTo>
                <a:cubicBezTo>
                  <a:pt x="271" y="27"/>
                  <a:pt x="271" y="27"/>
                  <a:pt x="271" y="27"/>
                </a:cubicBezTo>
                <a:cubicBezTo>
                  <a:pt x="270" y="27"/>
                  <a:pt x="270" y="27"/>
                  <a:pt x="270" y="27"/>
                </a:cubicBezTo>
                <a:cubicBezTo>
                  <a:pt x="269" y="28"/>
                  <a:pt x="269" y="28"/>
                  <a:pt x="269" y="28"/>
                </a:cubicBezTo>
                <a:cubicBezTo>
                  <a:pt x="270" y="29"/>
                  <a:pt x="270" y="29"/>
                  <a:pt x="270" y="29"/>
                </a:cubicBezTo>
                <a:cubicBezTo>
                  <a:pt x="271" y="30"/>
                  <a:pt x="271" y="30"/>
                  <a:pt x="271" y="30"/>
                </a:cubicBezTo>
                <a:cubicBezTo>
                  <a:pt x="272" y="31"/>
                  <a:pt x="272" y="31"/>
                  <a:pt x="272" y="31"/>
                </a:cubicBezTo>
                <a:cubicBezTo>
                  <a:pt x="271" y="31"/>
                  <a:pt x="271" y="31"/>
                  <a:pt x="271" y="31"/>
                </a:cubicBezTo>
                <a:cubicBezTo>
                  <a:pt x="270" y="31"/>
                  <a:pt x="270" y="31"/>
                  <a:pt x="270" y="31"/>
                </a:cubicBezTo>
                <a:cubicBezTo>
                  <a:pt x="270" y="30"/>
                  <a:pt x="270" y="30"/>
                  <a:pt x="270" y="30"/>
                </a:cubicBezTo>
                <a:cubicBezTo>
                  <a:pt x="269" y="30"/>
                  <a:pt x="269" y="30"/>
                  <a:pt x="269" y="30"/>
                </a:cubicBezTo>
                <a:cubicBezTo>
                  <a:pt x="268" y="30"/>
                  <a:pt x="268" y="30"/>
                  <a:pt x="268" y="30"/>
                </a:cubicBezTo>
                <a:cubicBezTo>
                  <a:pt x="269" y="31"/>
                  <a:pt x="269" y="31"/>
                  <a:pt x="269" y="31"/>
                </a:cubicBezTo>
                <a:cubicBezTo>
                  <a:pt x="269" y="32"/>
                  <a:pt x="269" y="32"/>
                  <a:pt x="269" y="32"/>
                </a:cubicBezTo>
                <a:cubicBezTo>
                  <a:pt x="269" y="32"/>
                  <a:pt x="269" y="32"/>
                  <a:pt x="269" y="32"/>
                </a:cubicBezTo>
                <a:cubicBezTo>
                  <a:pt x="269" y="34"/>
                  <a:pt x="269" y="34"/>
                  <a:pt x="269" y="34"/>
                </a:cubicBezTo>
                <a:cubicBezTo>
                  <a:pt x="269" y="34"/>
                  <a:pt x="269" y="34"/>
                  <a:pt x="269" y="34"/>
                </a:cubicBezTo>
                <a:cubicBezTo>
                  <a:pt x="270" y="34"/>
                  <a:pt x="270" y="34"/>
                  <a:pt x="270" y="34"/>
                </a:cubicBezTo>
                <a:cubicBezTo>
                  <a:pt x="271" y="35"/>
                  <a:pt x="271" y="35"/>
                  <a:pt x="271" y="35"/>
                </a:cubicBezTo>
                <a:cubicBezTo>
                  <a:pt x="271" y="36"/>
                  <a:pt x="271" y="36"/>
                  <a:pt x="271" y="36"/>
                </a:cubicBezTo>
                <a:cubicBezTo>
                  <a:pt x="272" y="39"/>
                  <a:pt x="272" y="39"/>
                  <a:pt x="272" y="39"/>
                </a:cubicBezTo>
                <a:cubicBezTo>
                  <a:pt x="273" y="40"/>
                  <a:pt x="273" y="40"/>
                  <a:pt x="273" y="40"/>
                </a:cubicBezTo>
                <a:cubicBezTo>
                  <a:pt x="274" y="40"/>
                  <a:pt x="274" y="40"/>
                  <a:pt x="274" y="40"/>
                </a:cubicBezTo>
                <a:cubicBezTo>
                  <a:pt x="273" y="41"/>
                  <a:pt x="273" y="41"/>
                  <a:pt x="273" y="41"/>
                </a:cubicBezTo>
                <a:cubicBezTo>
                  <a:pt x="272" y="41"/>
                  <a:pt x="272" y="41"/>
                  <a:pt x="272" y="41"/>
                </a:cubicBezTo>
                <a:cubicBezTo>
                  <a:pt x="271" y="43"/>
                  <a:pt x="271" y="43"/>
                  <a:pt x="271" y="43"/>
                </a:cubicBezTo>
                <a:cubicBezTo>
                  <a:pt x="273" y="46"/>
                  <a:pt x="273" y="46"/>
                  <a:pt x="273" y="46"/>
                </a:cubicBezTo>
                <a:cubicBezTo>
                  <a:pt x="273" y="47"/>
                  <a:pt x="273" y="47"/>
                  <a:pt x="273" y="47"/>
                </a:cubicBezTo>
                <a:cubicBezTo>
                  <a:pt x="273" y="49"/>
                  <a:pt x="273" y="49"/>
                  <a:pt x="273" y="49"/>
                </a:cubicBezTo>
                <a:cubicBezTo>
                  <a:pt x="274" y="49"/>
                  <a:pt x="274" y="49"/>
                  <a:pt x="274" y="49"/>
                </a:cubicBezTo>
                <a:cubicBezTo>
                  <a:pt x="274" y="50"/>
                  <a:pt x="274" y="50"/>
                  <a:pt x="274" y="50"/>
                </a:cubicBezTo>
                <a:cubicBezTo>
                  <a:pt x="273" y="51"/>
                  <a:pt x="273" y="51"/>
                  <a:pt x="273" y="51"/>
                </a:cubicBezTo>
                <a:cubicBezTo>
                  <a:pt x="274" y="53"/>
                  <a:pt x="274" y="53"/>
                  <a:pt x="274" y="53"/>
                </a:cubicBezTo>
                <a:cubicBezTo>
                  <a:pt x="275" y="55"/>
                  <a:pt x="275" y="55"/>
                  <a:pt x="275" y="55"/>
                </a:cubicBezTo>
                <a:cubicBezTo>
                  <a:pt x="276" y="56"/>
                  <a:pt x="276" y="56"/>
                  <a:pt x="276" y="56"/>
                </a:cubicBezTo>
                <a:cubicBezTo>
                  <a:pt x="276" y="57"/>
                  <a:pt x="276" y="57"/>
                  <a:pt x="276" y="57"/>
                </a:cubicBezTo>
                <a:cubicBezTo>
                  <a:pt x="277" y="58"/>
                  <a:pt x="277" y="58"/>
                  <a:pt x="277" y="58"/>
                </a:cubicBezTo>
                <a:close/>
                <a:moveTo>
                  <a:pt x="301" y="44"/>
                </a:moveTo>
                <a:cubicBezTo>
                  <a:pt x="302" y="43"/>
                  <a:pt x="302" y="43"/>
                  <a:pt x="302" y="43"/>
                </a:cubicBezTo>
                <a:cubicBezTo>
                  <a:pt x="302" y="42"/>
                  <a:pt x="302" y="42"/>
                  <a:pt x="302" y="42"/>
                </a:cubicBezTo>
                <a:cubicBezTo>
                  <a:pt x="301" y="42"/>
                  <a:pt x="301" y="42"/>
                  <a:pt x="301" y="42"/>
                </a:cubicBezTo>
                <a:cubicBezTo>
                  <a:pt x="302" y="41"/>
                  <a:pt x="302" y="41"/>
                  <a:pt x="302" y="41"/>
                </a:cubicBezTo>
                <a:cubicBezTo>
                  <a:pt x="303" y="41"/>
                  <a:pt x="303" y="41"/>
                  <a:pt x="303" y="41"/>
                </a:cubicBezTo>
                <a:cubicBezTo>
                  <a:pt x="302" y="41"/>
                  <a:pt x="302" y="41"/>
                  <a:pt x="302" y="41"/>
                </a:cubicBezTo>
                <a:cubicBezTo>
                  <a:pt x="301" y="41"/>
                  <a:pt x="301" y="41"/>
                  <a:pt x="301" y="41"/>
                </a:cubicBezTo>
                <a:cubicBezTo>
                  <a:pt x="300" y="42"/>
                  <a:pt x="300" y="42"/>
                  <a:pt x="300" y="42"/>
                </a:cubicBezTo>
                <a:cubicBezTo>
                  <a:pt x="301" y="43"/>
                  <a:pt x="301" y="43"/>
                  <a:pt x="301" y="43"/>
                </a:cubicBezTo>
                <a:cubicBezTo>
                  <a:pt x="300" y="43"/>
                  <a:pt x="300" y="43"/>
                  <a:pt x="300" y="43"/>
                </a:cubicBezTo>
                <a:cubicBezTo>
                  <a:pt x="300" y="44"/>
                  <a:pt x="300" y="44"/>
                  <a:pt x="300" y="44"/>
                </a:cubicBezTo>
                <a:cubicBezTo>
                  <a:pt x="300" y="44"/>
                  <a:pt x="300" y="44"/>
                  <a:pt x="300" y="44"/>
                </a:cubicBezTo>
                <a:cubicBezTo>
                  <a:pt x="301" y="44"/>
                  <a:pt x="301" y="44"/>
                  <a:pt x="301" y="44"/>
                </a:cubicBezTo>
                <a:close/>
                <a:moveTo>
                  <a:pt x="302" y="44"/>
                </a:moveTo>
                <a:cubicBezTo>
                  <a:pt x="303" y="43"/>
                  <a:pt x="303" y="43"/>
                  <a:pt x="303" y="43"/>
                </a:cubicBezTo>
                <a:cubicBezTo>
                  <a:pt x="305" y="43"/>
                  <a:pt x="305" y="43"/>
                  <a:pt x="305" y="43"/>
                </a:cubicBezTo>
                <a:cubicBezTo>
                  <a:pt x="305" y="42"/>
                  <a:pt x="305" y="42"/>
                  <a:pt x="305" y="42"/>
                </a:cubicBezTo>
                <a:cubicBezTo>
                  <a:pt x="306" y="42"/>
                  <a:pt x="306" y="42"/>
                  <a:pt x="306" y="42"/>
                </a:cubicBezTo>
                <a:cubicBezTo>
                  <a:pt x="307" y="42"/>
                  <a:pt x="307" y="42"/>
                  <a:pt x="307" y="42"/>
                </a:cubicBezTo>
                <a:cubicBezTo>
                  <a:pt x="308" y="42"/>
                  <a:pt x="308" y="42"/>
                  <a:pt x="308" y="42"/>
                </a:cubicBezTo>
                <a:cubicBezTo>
                  <a:pt x="308" y="44"/>
                  <a:pt x="308" y="44"/>
                  <a:pt x="308" y="44"/>
                </a:cubicBezTo>
                <a:cubicBezTo>
                  <a:pt x="308" y="45"/>
                  <a:pt x="308" y="45"/>
                  <a:pt x="308" y="45"/>
                </a:cubicBezTo>
                <a:cubicBezTo>
                  <a:pt x="307" y="44"/>
                  <a:pt x="307" y="44"/>
                  <a:pt x="307" y="44"/>
                </a:cubicBezTo>
                <a:cubicBezTo>
                  <a:pt x="306" y="45"/>
                  <a:pt x="306" y="45"/>
                  <a:pt x="306" y="45"/>
                </a:cubicBezTo>
                <a:cubicBezTo>
                  <a:pt x="304" y="45"/>
                  <a:pt x="304" y="45"/>
                  <a:pt x="304" y="45"/>
                </a:cubicBezTo>
                <a:cubicBezTo>
                  <a:pt x="303" y="45"/>
                  <a:pt x="303" y="45"/>
                  <a:pt x="303" y="45"/>
                </a:cubicBezTo>
                <a:cubicBezTo>
                  <a:pt x="302" y="44"/>
                  <a:pt x="302" y="44"/>
                  <a:pt x="302" y="44"/>
                </a:cubicBezTo>
                <a:close/>
                <a:moveTo>
                  <a:pt x="315" y="56"/>
                </a:moveTo>
                <a:cubicBezTo>
                  <a:pt x="315" y="57"/>
                  <a:pt x="315" y="57"/>
                  <a:pt x="315" y="57"/>
                </a:cubicBezTo>
                <a:cubicBezTo>
                  <a:pt x="316" y="58"/>
                  <a:pt x="316" y="58"/>
                  <a:pt x="316" y="58"/>
                </a:cubicBezTo>
                <a:cubicBezTo>
                  <a:pt x="316" y="59"/>
                  <a:pt x="316" y="59"/>
                  <a:pt x="316" y="59"/>
                </a:cubicBezTo>
                <a:cubicBezTo>
                  <a:pt x="316" y="60"/>
                  <a:pt x="316" y="60"/>
                  <a:pt x="316" y="60"/>
                </a:cubicBezTo>
                <a:cubicBezTo>
                  <a:pt x="317" y="59"/>
                  <a:pt x="317" y="59"/>
                  <a:pt x="317" y="59"/>
                </a:cubicBezTo>
                <a:cubicBezTo>
                  <a:pt x="318" y="58"/>
                  <a:pt x="318" y="58"/>
                  <a:pt x="318" y="58"/>
                </a:cubicBezTo>
                <a:cubicBezTo>
                  <a:pt x="317" y="56"/>
                  <a:pt x="317" y="56"/>
                  <a:pt x="317" y="56"/>
                </a:cubicBezTo>
                <a:cubicBezTo>
                  <a:pt x="316" y="56"/>
                  <a:pt x="316" y="56"/>
                  <a:pt x="316" y="56"/>
                </a:cubicBezTo>
                <a:cubicBezTo>
                  <a:pt x="315" y="56"/>
                  <a:pt x="315" y="56"/>
                  <a:pt x="315" y="56"/>
                </a:cubicBezTo>
                <a:close/>
                <a:moveTo>
                  <a:pt x="432" y="94"/>
                </a:moveTo>
                <a:cubicBezTo>
                  <a:pt x="433" y="94"/>
                  <a:pt x="433" y="94"/>
                  <a:pt x="433" y="94"/>
                </a:cubicBezTo>
                <a:cubicBezTo>
                  <a:pt x="433" y="92"/>
                  <a:pt x="433" y="92"/>
                  <a:pt x="433" y="92"/>
                </a:cubicBezTo>
                <a:cubicBezTo>
                  <a:pt x="433" y="91"/>
                  <a:pt x="433" y="91"/>
                  <a:pt x="433" y="91"/>
                </a:cubicBezTo>
                <a:cubicBezTo>
                  <a:pt x="431" y="92"/>
                  <a:pt x="431" y="92"/>
                  <a:pt x="431" y="92"/>
                </a:cubicBezTo>
                <a:cubicBezTo>
                  <a:pt x="431" y="92"/>
                  <a:pt x="431" y="92"/>
                  <a:pt x="431" y="92"/>
                </a:cubicBezTo>
                <a:cubicBezTo>
                  <a:pt x="431" y="93"/>
                  <a:pt x="431" y="93"/>
                  <a:pt x="431" y="93"/>
                </a:cubicBezTo>
                <a:cubicBezTo>
                  <a:pt x="432" y="93"/>
                  <a:pt x="432" y="93"/>
                  <a:pt x="432" y="93"/>
                </a:cubicBezTo>
                <a:cubicBezTo>
                  <a:pt x="432" y="94"/>
                  <a:pt x="432" y="94"/>
                  <a:pt x="432" y="94"/>
                </a:cubicBezTo>
                <a:close/>
                <a:moveTo>
                  <a:pt x="417" y="111"/>
                </a:moveTo>
                <a:cubicBezTo>
                  <a:pt x="418" y="111"/>
                  <a:pt x="418" y="111"/>
                  <a:pt x="418" y="111"/>
                </a:cubicBezTo>
                <a:cubicBezTo>
                  <a:pt x="419" y="111"/>
                  <a:pt x="419" y="111"/>
                  <a:pt x="419" y="111"/>
                </a:cubicBezTo>
                <a:cubicBezTo>
                  <a:pt x="419" y="111"/>
                  <a:pt x="419" y="111"/>
                  <a:pt x="419" y="111"/>
                </a:cubicBezTo>
                <a:cubicBezTo>
                  <a:pt x="419" y="111"/>
                  <a:pt x="419" y="111"/>
                  <a:pt x="419" y="111"/>
                </a:cubicBezTo>
                <a:cubicBezTo>
                  <a:pt x="418" y="110"/>
                  <a:pt x="418" y="110"/>
                  <a:pt x="418" y="110"/>
                </a:cubicBezTo>
                <a:cubicBezTo>
                  <a:pt x="417" y="109"/>
                  <a:pt x="417" y="109"/>
                  <a:pt x="417" y="109"/>
                </a:cubicBezTo>
                <a:cubicBezTo>
                  <a:pt x="416" y="109"/>
                  <a:pt x="416" y="109"/>
                  <a:pt x="416" y="109"/>
                </a:cubicBezTo>
                <a:cubicBezTo>
                  <a:pt x="416" y="109"/>
                  <a:pt x="416" y="109"/>
                  <a:pt x="416" y="109"/>
                </a:cubicBezTo>
                <a:cubicBezTo>
                  <a:pt x="416" y="110"/>
                  <a:pt x="416" y="110"/>
                  <a:pt x="416" y="110"/>
                </a:cubicBezTo>
                <a:cubicBezTo>
                  <a:pt x="417" y="110"/>
                  <a:pt x="417" y="110"/>
                  <a:pt x="417" y="110"/>
                </a:cubicBezTo>
                <a:cubicBezTo>
                  <a:pt x="417" y="110"/>
                  <a:pt x="417" y="111"/>
                  <a:pt x="417" y="111"/>
                </a:cubicBezTo>
                <a:close/>
                <a:moveTo>
                  <a:pt x="373" y="104"/>
                </a:moveTo>
                <a:cubicBezTo>
                  <a:pt x="374" y="104"/>
                  <a:pt x="374" y="104"/>
                  <a:pt x="374" y="104"/>
                </a:cubicBezTo>
                <a:cubicBezTo>
                  <a:pt x="375" y="104"/>
                  <a:pt x="375" y="104"/>
                  <a:pt x="375" y="104"/>
                </a:cubicBezTo>
                <a:cubicBezTo>
                  <a:pt x="376" y="104"/>
                  <a:pt x="376" y="104"/>
                  <a:pt x="376" y="104"/>
                </a:cubicBezTo>
                <a:cubicBezTo>
                  <a:pt x="376" y="103"/>
                  <a:pt x="376" y="103"/>
                  <a:pt x="376" y="103"/>
                </a:cubicBezTo>
                <a:cubicBezTo>
                  <a:pt x="377" y="102"/>
                  <a:pt x="377" y="102"/>
                  <a:pt x="377" y="102"/>
                </a:cubicBezTo>
                <a:cubicBezTo>
                  <a:pt x="377" y="102"/>
                  <a:pt x="377" y="102"/>
                  <a:pt x="377" y="102"/>
                </a:cubicBezTo>
                <a:cubicBezTo>
                  <a:pt x="376" y="101"/>
                  <a:pt x="376" y="101"/>
                  <a:pt x="376" y="101"/>
                </a:cubicBezTo>
                <a:cubicBezTo>
                  <a:pt x="376" y="99"/>
                  <a:pt x="376" y="99"/>
                  <a:pt x="376" y="99"/>
                </a:cubicBezTo>
                <a:cubicBezTo>
                  <a:pt x="375" y="98"/>
                  <a:pt x="375" y="98"/>
                  <a:pt x="375" y="98"/>
                </a:cubicBezTo>
                <a:cubicBezTo>
                  <a:pt x="375" y="97"/>
                  <a:pt x="375" y="97"/>
                  <a:pt x="375" y="97"/>
                </a:cubicBezTo>
                <a:cubicBezTo>
                  <a:pt x="375" y="96"/>
                  <a:pt x="375" y="96"/>
                  <a:pt x="375" y="96"/>
                </a:cubicBezTo>
                <a:cubicBezTo>
                  <a:pt x="374" y="96"/>
                  <a:pt x="374" y="96"/>
                  <a:pt x="374" y="96"/>
                </a:cubicBezTo>
                <a:cubicBezTo>
                  <a:pt x="371" y="96"/>
                  <a:pt x="371" y="96"/>
                  <a:pt x="371" y="96"/>
                </a:cubicBezTo>
                <a:cubicBezTo>
                  <a:pt x="369" y="98"/>
                  <a:pt x="369" y="98"/>
                  <a:pt x="369" y="98"/>
                </a:cubicBezTo>
                <a:cubicBezTo>
                  <a:pt x="368" y="98"/>
                  <a:pt x="368" y="98"/>
                  <a:pt x="368" y="98"/>
                </a:cubicBezTo>
                <a:cubicBezTo>
                  <a:pt x="368" y="98"/>
                  <a:pt x="368" y="98"/>
                  <a:pt x="368" y="98"/>
                </a:cubicBezTo>
                <a:cubicBezTo>
                  <a:pt x="368" y="100"/>
                  <a:pt x="368" y="100"/>
                  <a:pt x="368" y="100"/>
                </a:cubicBezTo>
                <a:cubicBezTo>
                  <a:pt x="369" y="100"/>
                  <a:pt x="369" y="100"/>
                  <a:pt x="369" y="100"/>
                </a:cubicBezTo>
                <a:cubicBezTo>
                  <a:pt x="369" y="101"/>
                  <a:pt x="369" y="101"/>
                  <a:pt x="369" y="101"/>
                </a:cubicBezTo>
                <a:cubicBezTo>
                  <a:pt x="369" y="102"/>
                  <a:pt x="369" y="102"/>
                  <a:pt x="369" y="102"/>
                </a:cubicBezTo>
                <a:cubicBezTo>
                  <a:pt x="368" y="102"/>
                  <a:pt x="368" y="102"/>
                  <a:pt x="368" y="102"/>
                </a:cubicBezTo>
                <a:cubicBezTo>
                  <a:pt x="367" y="102"/>
                  <a:pt x="367" y="102"/>
                  <a:pt x="367" y="102"/>
                </a:cubicBezTo>
                <a:cubicBezTo>
                  <a:pt x="368" y="103"/>
                  <a:pt x="368" y="103"/>
                  <a:pt x="368" y="103"/>
                </a:cubicBezTo>
                <a:cubicBezTo>
                  <a:pt x="370" y="103"/>
                  <a:pt x="370" y="103"/>
                  <a:pt x="370" y="103"/>
                </a:cubicBezTo>
                <a:cubicBezTo>
                  <a:pt x="373" y="104"/>
                  <a:pt x="373" y="104"/>
                  <a:pt x="373" y="104"/>
                </a:cubicBezTo>
                <a:close/>
                <a:moveTo>
                  <a:pt x="501" y="66"/>
                </a:moveTo>
                <a:cubicBezTo>
                  <a:pt x="501" y="65"/>
                  <a:pt x="501" y="65"/>
                  <a:pt x="501" y="65"/>
                </a:cubicBezTo>
                <a:cubicBezTo>
                  <a:pt x="501" y="65"/>
                  <a:pt x="501" y="65"/>
                  <a:pt x="501" y="65"/>
                </a:cubicBezTo>
                <a:cubicBezTo>
                  <a:pt x="502" y="63"/>
                  <a:pt x="502" y="63"/>
                  <a:pt x="502" y="63"/>
                </a:cubicBezTo>
                <a:cubicBezTo>
                  <a:pt x="502" y="62"/>
                  <a:pt x="502" y="62"/>
                  <a:pt x="502" y="62"/>
                </a:cubicBezTo>
                <a:cubicBezTo>
                  <a:pt x="502" y="61"/>
                  <a:pt x="502" y="61"/>
                  <a:pt x="502" y="61"/>
                </a:cubicBezTo>
                <a:cubicBezTo>
                  <a:pt x="500" y="59"/>
                  <a:pt x="500" y="59"/>
                  <a:pt x="500" y="59"/>
                </a:cubicBezTo>
                <a:cubicBezTo>
                  <a:pt x="500" y="58"/>
                  <a:pt x="500" y="58"/>
                  <a:pt x="500" y="58"/>
                </a:cubicBezTo>
                <a:cubicBezTo>
                  <a:pt x="499" y="58"/>
                  <a:pt x="499" y="58"/>
                  <a:pt x="499" y="58"/>
                </a:cubicBezTo>
                <a:cubicBezTo>
                  <a:pt x="497" y="58"/>
                  <a:pt x="497" y="58"/>
                  <a:pt x="497" y="58"/>
                </a:cubicBezTo>
                <a:cubicBezTo>
                  <a:pt x="496" y="59"/>
                  <a:pt x="496" y="59"/>
                  <a:pt x="496" y="59"/>
                </a:cubicBezTo>
                <a:cubicBezTo>
                  <a:pt x="496" y="60"/>
                  <a:pt x="496" y="60"/>
                  <a:pt x="496" y="60"/>
                </a:cubicBezTo>
                <a:cubicBezTo>
                  <a:pt x="497" y="62"/>
                  <a:pt x="497" y="62"/>
                  <a:pt x="497" y="62"/>
                </a:cubicBezTo>
                <a:cubicBezTo>
                  <a:pt x="497" y="62"/>
                  <a:pt x="497" y="62"/>
                  <a:pt x="497" y="62"/>
                </a:cubicBezTo>
                <a:cubicBezTo>
                  <a:pt x="497" y="63"/>
                  <a:pt x="497" y="63"/>
                  <a:pt x="497" y="63"/>
                </a:cubicBezTo>
                <a:cubicBezTo>
                  <a:pt x="498" y="63"/>
                  <a:pt x="498" y="63"/>
                  <a:pt x="498" y="63"/>
                </a:cubicBezTo>
                <a:cubicBezTo>
                  <a:pt x="500" y="65"/>
                  <a:pt x="500" y="65"/>
                  <a:pt x="500" y="65"/>
                </a:cubicBezTo>
                <a:cubicBezTo>
                  <a:pt x="501" y="66"/>
                  <a:pt x="501" y="66"/>
                  <a:pt x="501" y="66"/>
                </a:cubicBezTo>
                <a:close/>
                <a:moveTo>
                  <a:pt x="504" y="75"/>
                </a:moveTo>
                <a:cubicBezTo>
                  <a:pt x="505" y="74"/>
                  <a:pt x="505" y="74"/>
                  <a:pt x="505" y="74"/>
                </a:cubicBezTo>
                <a:cubicBezTo>
                  <a:pt x="506" y="73"/>
                  <a:pt x="506" y="73"/>
                  <a:pt x="506" y="73"/>
                </a:cubicBezTo>
                <a:cubicBezTo>
                  <a:pt x="508" y="72"/>
                  <a:pt x="508" y="72"/>
                  <a:pt x="508" y="72"/>
                </a:cubicBezTo>
                <a:cubicBezTo>
                  <a:pt x="510" y="72"/>
                  <a:pt x="510" y="72"/>
                  <a:pt x="510" y="72"/>
                </a:cubicBezTo>
                <a:cubicBezTo>
                  <a:pt x="513" y="72"/>
                  <a:pt x="513" y="72"/>
                  <a:pt x="513" y="72"/>
                </a:cubicBezTo>
                <a:cubicBezTo>
                  <a:pt x="514" y="72"/>
                  <a:pt x="514" y="72"/>
                  <a:pt x="514" y="72"/>
                </a:cubicBezTo>
                <a:cubicBezTo>
                  <a:pt x="517" y="72"/>
                  <a:pt x="517" y="72"/>
                  <a:pt x="517" y="72"/>
                </a:cubicBezTo>
                <a:cubicBezTo>
                  <a:pt x="518" y="71"/>
                  <a:pt x="518" y="71"/>
                  <a:pt x="518" y="71"/>
                </a:cubicBezTo>
                <a:cubicBezTo>
                  <a:pt x="520" y="71"/>
                  <a:pt x="520" y="71"/>
                  <a:pt x="520" y="71"/>
                </a:cubicBezTo>
                <a:cubicBezTo>
                  <a:pt x="522" y="71"/>
                  <a:pt x="522" y="71"/>
                  <a:pt x="522" y="71"/>
                </a:cubicBezTo>
                <a:cubicBezTo>
                  <a:pt x="523" y="70"/>
                  <a:pt x="523" y="70"/>
                  <a:pt x="523" y="70"/>
                </a:cubicBezTo>
                <a:cubicBezTo>
                  <a:pt x="522" y="69"/>
                  <a:pt x="522" y="69"/>
                  <a:pt x="522" y="69"/>
                </a:cubicBezTo>
                <a:cubicBezTo>
                  <a:pt x="521" y="68"/>
                  <a:pt x="521" y="68"/>
                  <a:pt x="521" y="68"/>
                </a:cubicBezTo>
                <a:cubicBezTo>
                  <a:pt x="520" y="66"/>
                  <a:pt x="520" y="66"/>
                  <a:pt x="520" y="66"/>
                </a:cubicBezTo>
                <a:cubicBezTo>
                  <a:pt x="517" y="64"/>
                  <a:pt x="517" y="64"/>
                  <a:pt x="517" y="64"/>
                </a:cubicBezTo>
                <a:cubicBezTo>
                  <a:pt x="515" y="64"/>
                  <a:pt x="515" y="64"/>
                  <a:pt x="515" y="64"/>
                </a:cubicBezTo>
                <a:cubicBezTo>
                  <a:pt x="514" y="64"/>
                  <a:pt x="514" y="64"/>
                  <a:pt x="514" y="64"/>
                </a:cubicBezTo>
                <a:cubicBezTo>
                  <a:pt x="512" y="62"/>
                  <a:pt x="512" y="62"/>
                  <a:pt x="512" y="62"/>
                </a:cubicBezTo>
                <a:cubicBezTo>
                  <a:pt x="511" y="62"/>
                  <a:pt x="511" y="62"/>
                  <a:pt x="511" y="62"/>
                </a:cubicBezTo>
                <a:cubicBezTo>
                  <a:pt x="510" y="63"/>
                  <a:pt x="510" y="63"/>
                  <a:pt x="510" y="63"/>
                </a:cubicBezTo>
                <a:cubicBezTo>
                  <a:pt x="509" y="62"/>
                  <a:pt x="509" y="62"/>
                  <a:pt x="509" y="62"/>
                </a:cubicBezTo>
                <a:cubicBezTo>
                  <a:pt x="508" y="62"/>
                  <a:pt x="508" y="62"/>
                  <a:pt x="508" y="62"/>
                </a:cubicBezTo>
                <a:cubicBezTo>
                  <a:pt x="507" y="64"/>
                  <a:pt x="507" y="64"/>
                  <a:pt x="507" y="64"/>
                </a:cubicBezTo>
                <a:cubicBezTo>
                  <a:pt x="505" y="66"/>
                  <a:pt x="505" y="66"/>
                  <a:pt x="505" y="66"/>
                </a:cubicBezTo>
                <a:cubicBezTo>
                  <a:pt x="506" y="67"/>
                  <a:pt x="506" y="67"/>
                  <a:pt x="506" y="67"/>
                </a:cubicBezTo>
                <a:cubicBezTo>
                  <a:pt x="506" y="70"/>
                  <a:pt x="506" y="70"/>
                  <a:pt x="506" y="70"/>
                </a:cubicBezTo>
                <a:cubicBezTo>
                  <a:pt x="505" y="73"/>
                  <a:pt x="505" y="73"/>
                  <a:pt x="505" y="73"/>
                </a:cubicBezTo>
                <a:cubicBezTo>
                  <a:pt x="504" y="74"/>
                  <a:pt x="504" y="74"/>
                  <a:pt x="504" y="74"/>
                </a:cubicBezTo>
                <a:cubicBezTo>
                  <a:pt x="504" y="75"/>
                  <a:pt x="504" y="75"/>
                  <a:pt x="504" y="75"/>
                </a:cubicBezTo>
                <a:cubicBezTo>
                  <a:pt x="504" y="75"/>
                  <a:pt x="504" y="75"/>
                  <a:pt x="504" y="75"/>
                </a:cubicBezTo>
                <a:close/>
                <a:moveTo>
                  <a:pt x="474" y="69"/>
                </a:moveTo>
                <a:cubicBezTo>
                  <a:pt x="475" y="70"/>
                  <a:pt x="475" y="70"/>
                  <a:pt x="475" y="70"/>
                </a:cubicBezTo>
                <a:cubicBezTo>
                  <a:pt x="476" y="71"/>
                  <a:pt x="476" y="71"/>
                  <a:pt x="476" y="71"/>
                </a:cubicBezTo>
                <a:cubicBezTo>
                  <a:pt x="477" y="71"/>
                  <a:pt x="477" y="71"/>
                  <a:pt x="477" y="71"/>
                </a:cubicBezTo>
                <a:cubicBezTo>
                  <a:pt x="478" y="72"/>
                  <a:pt x="478" y="72"/>
                  <a:pt x="478" y="72"/>
                </a:cubicBezTo>
                <a:cubicBezTo>
                  <a:pt x="480" y="72"/>
                  <a:pt x="480" y="72"/>
                  <a:pt x="480" y="72"/>
                </a:cubicBezTo>
                <a:cubicBezTo>
                  <a:pt x="481" y="73"/>
                  <a:pt x="481" y="73"/>
                  <a:pt x="481" y="73"/>
                </a:cubicBezTo>
                <a:cubicBezTo>
                  <a:pt x="482" y="73"/>
                  <a:pt x="482" y="73"/>
                  <a:pt x="482" y="73"/>
                </a:cubicBezTo>
                <a:cubicBezTo>
                  <a:pt x="482" y="72"/>
                  <a:pt x="482" y="72"/>
                  <a:pt x="482" y="72"/>
                </a:cubicBezTo>
                <a:cubicBezTo>
                  <a:pt x="480" y="70"/>
                  <a:pt x="480" y="70"/>
                  <a:pt x="480" y="70"/>
                </a:cubicBezTo>
                <a:cubicBezTo>
                  <a:pt x="479" y="70"/>
                  <a:pt x="479" y="70"/>
                  <a:pt x="479" y="70"/>
                </a:cubicBezTo>
                <a:cubicBezTo>
                  <a:pt x="477" y="70"/>
                  <a:pt x="477" y="70"/>
                  <a:pt x="477" y="70"/>
                </a:cubicBezTo>
                <a:cubicBezTo>
                  <a:pt x="476" y="69"/>
                  <a:pt x="476" y="69"/>
                  <a:pt x="476" y="69"/>
                </a:cubicBezTo>
                <a:cubicBezTo>
                  <a:pt x="475" y="68"/>
                  <a:pt x="475" y="68"/>
                  <a:pt x="475" y="68"/>
                </a:cubicBezTo>
                <a:cubicBezTo>
                  <a:pt x="474" y="69"/>
                  <a:pt x="474" y="69"/>
                  <a:pt x="474" y="69"/>
                </a:cubicBezTo>
                <a:close/>
                <a:moveTo>
                  <a:pt x="514" y="108"/>
                </a:moveTo>
                <a:cubicBezTo>
                  <a:pt x="516" y="110"/>
                  <a:pt x="516" y="110"/>
                  <a:pt x="516" y="110"/>
                </a:cubicBezTo>
                <a:cubicBezTo>
                  <a:pt x="517" y="110"/>
                  <a:pt x="517" y="110"/>
                  <a:pt x="517" y="110"/>
                </a:cubicBezTo>
                <a:cubicBezTo>
                  <a:pt x="517" y="110"/>
                  <a:pt x="517" y="110"/>
                  <a:pt x="517" y="110"/>
                </a:cubicBezTo>
                <a:cubicBezTo>
                  <a:pt x="518" y="109"/>
                  <a:pt x="518" y="109"/>
                  <a:pt x="518" y="109"/>
                </a:cubicBezTo>
                <a:cubicBezTo>
                  <a:pt x="519" y="109"/>
                  <a:pt x="519" y="109"/>
                  <a:pt x="519" y="109"/>
                </a:cubicBezTo>
                <a:cubicBezTo>
                  <a:pt x="518" y="108"/>
                  <a:pt x="518" y="108"/>
                  <a:pt x="518" y="108"/>
                </a:cubicBezTo>
                <a:cubicBezTo>
                  <a:pt x="518" y="106"/>
                  <a:pt x="518" y="106"/>
                  <a:pt x="518" y="106"/>
                </a:cubicBezTo>
                <a:cubicBezTo>
                  <a:pt x="517" y="107"/>
                  <a:pt x="517" y="107"/>
                  <a:pt x="517" y="107"/>
                </a:cubicBezTo>
                <a:cubicBezTo>
                  <a:pt x="517" y="108"/>
                  <a:pt x="517" y="108"/>
                  <a:pt x="517" y="108"/>
                </a:cubicBezTo>
                <a:cubicBezTo>
                  <a:pt x="516" y="108"/>
                  <a:pt x="516" y="108"/>
                  <a:pt x="516" y="108"/>
                </a:cubicBezTo>
                <a:cubicBezTo>
                  <a:pt x="516" y="108"/>
                  <a:pt x="515" y="109"/>
                  <a:pt x="514" y="108"/>
                </a:cubicBezTo>
                <a:close/>
                <a:moveTo>
                  <a:pt x="655" y="98"/>
                </a:moveTo>
                <a:cubicBezTo>
                  <a:pt x="655" y="98"/>
                  <a:pt x="655" y="98"/>
                  <a:pt x="655" y="98"/>
                </a:cubicBezTo>
                <a:cubicBezTo>
                  <a:pt x="655" y="97"/>
                  <a:pt x="655" y="97"/>
                  <a:pt x="655" y="97"/>
                </a:cubicBezTo>
                <a:cubicBezTo>
                  <a:pt x="655" y="96"/>
                  <a:pt x="655" y="96"/>
                  <a:pt x="655" y="96"/>
                </a:cubicBezTo>
                <a:cubicBezTo>
                  <a:pt x="654" y="95"/>
                  <a:pt x="654" y="95"/>
                  <a:pt x="654" y="95"/>
                </a:cubicBezTo>
                <a:cubicBezTo>
                  <a:pt x="654" y="96"/>
                  <a:pt x="654" y="96"/>
                  <a:pt x="654" y="96"/>
                </a:cubicBezTo>
                <a:cubicBezTo>
                  <a:pt x="655" y="98"/>
                  <a:pt x="655" y="98"/>
                  <a:pt x="655" y="98"/>
                </a:cubicBezTo>
                <a:close/>
                <a:moveTo>
                  <a:pt x="654" y="99"/>
                </a:moveTo>
                <a:cubicBezTo>
                  <a:pt x="654" y="99"/>
                  <a:pt x="654" y="99"/>
                  <a:pt x="654" y="99"/>
                </a:cubicBezTo>
                <a:cubicBezTo>
                  <a:pt x="654" y="98"/>
                  <a:pt x="654" y="98"/>
                  <a:pt x="654" y="98"/>
                </a:cubicBezTo>
                <a:cubicBezTo>
                  <a:pt x="654" y="97"/>
                  <a:pt x="654" y="97"/>
                  <a:pt x="654" y="97"/>
                </a:cubicBezTo>
                <a:cubicBezTo>
                  <a:pt x="653" y="97"/>
                  <a:pt x="653" y="97"/>
                  <a:pt x="653" y="97"/>
                </a:cubicBezTo>
                <a:cubicBezTo>
                  <a:pt x="653" y="97"/>
                  <a:pt x="653" y="97"/>
                  <a:pt x="653" y="97"/>
                </a:cubicBezTo>
                <a:cubicBezTo>
                  <a:pt x="654" y="99"/>
                  <a:pt x="654" y="99"/>
                  <a:pt x="654" y="99"/>
                </a:cubicBezTo>
                <a:close/>
                <a:moveTo>
                  <a:pt x="653" y="99"/>
                </a:moveTo>
                <a:cubicBezTo>
                  <a:pt x="654" y="101"/>
                  <a:pt x="654" y="101"/>
                  <a:pt x="654" y="101"/>
                </a:cubicBezTo>
                <a:cubicBezTo>
                  <a:pt x="654" y="102"/>
                  <a:pt x="654" y="102"/>
                  <a:pt x="654" y="102"/>
                </a:cubicBezTo>
                <a:cubicBezTo>
                  <a:pt x="655" y="101"/>
                  <a:pt x="655" y="101"/>
                  <a:pt x="655" y="101"/>
                </a:cubicBezTo>
                <a:cubicBezTo>
                  <a:pt x="654" y="100"/>
                  <a:pt x="654" y="100"/>
                  <a:pt x="654" y="100"/>
                </a:cubicBezTo>
                <a:cubicBezTo>
                  <a:pt x="653" y="99"/>
                  <a:pt x="653" y="99"/>
                  <a:pt x="653" y="99"/>
                </a:cubicBezTo>
                <a:cubicBezTo>
                  <a:pt x="653" y="99"/>
                  <a:pt x="653" y="99"/>
                  <a:pt x="653" y="99"/>
                </a:cubicBezTo>
                <a:cubicBezTo>
                  <a:pt x="653" y="99"/>
                  <a:pt x="653" y="99"/>
                  <a:pt x="653" y="99"/>
                </a:cubicBezTo>
                <a:close/>
                <a:moveTo>
                  <a:pt x="650" y="98"/>
                </a:moveTo>
                <a:cubicBezTo>
                  <a:pt x="650" y="100"/>
                  <a:pt x="650" y="100"/>
                  <a:pt x="650" y="100"/>
                </a:cubicBezTo>
                <a:cubicBezTo>
                  <a:pt x="651" y="100"/>
                  <a:pt x="651" y="100"/>
                  <a:pt x="651" y="100"/>
                </a:cubicBezTo>
                <a:cubicBezTo>
                  <a:pt x="651" y="100"/>
                  <a:pt x="651" y="100"/>
                  <a:pt x="651" y="100"/>
                </a:cubicBezTo>
                <a:cubicBezTo>
                  <a:pt x="652" y="99"/>
                  <a:pt x="652" y="99"/>
                  <a:pt x="652" y="99"/>
                </a:cubicBezTo>
                <a:cubicBezTo>
                  <a:pt x="651" y="98"/>
                  <a:pt x="651" y="98"/>
                  <a:pt x="651" y="98"/>
                </a:cubicBezTo>
                <a:cubicBezTo>
                  <a:pt x="651" y="98"/>
                  <a:pt x="651" y="98"/>
                  <a:pt x="651" y="98"/>
                </a:cubicBezTo>
                <a:cubicBezTo>
                  <a:pt x="650" y="98"/>
                  <a:pt x="650" y="98"/>
                  <a:pt x="650" y="98"/>
                </a:cubicBezTo>
                <a:cubicBezTo>
                  <a:pt x="650" y="98"/>
                  <a:pt x="650" y="98"/>
                  <a:pt x="650" y="98"/>
                </a:cubicBezTo>
                <a:close/>
                <a:moveTo>
                  <a:pt x="684" y="84"/>
                </a:moveTo>
                <a:cubicBezTo>
                  <a:pt x="686" y="85"/>
                  <a:pt x="686" y="85"/>
                  <a:pt x="686" y="85"/>
                </a:cubicBezTo>
                <a:cubicBezTo>
                  <a:pt x="687" y="84"/>
                  <a:pt x="687" y="84"/>
                  <a:pt x="687" y="84"/>
                </a:cubicBezTo>
                <a:cubicBezTo>
                  <a:pt x="688" y="83"/>
                  <a:pt x="688" y="83"/>
                  <a:pt x="688" y="83"/>
                </a:cubicBezTo>
                <a:cubicBezTo>
                  <a:pt x="688" y="82"/>
                  <a:pt x="688" y="82"/>
                  <a:pt x="688" y="82"/>
                </a:cubicBezTo>
                <a:cubicBezTo>
                  <a:pt x="687" y="81"/>
                  <a:pt x="687" y="81"/>
                  <a:pt x="687" y="81"/>
                </a:cubicBezTo>
                <a:cubicBezTo>
                  <a:pt x="687" y="80"/>
                  <a:pt x="687" y="80"/>
                  <a:pt x="687" y="80"/>
                </a:cubicBezTo>
                <a:cubicBezTo>
                  <a:pt x="687" y="79"/>
                  <a:pt x="687" y="79"/>
                  <a:pt x="687" y="79"/>
                </a:cubicBezTo>
                <a:cubicBezTo>
                  <a:pt x="685" y="78"/>
                  <a:pt x="685" y="78"/>
                  <a:pt x="685" y="78"/>
                </a:cubicBezTo>
                <a:cubicBezTo>
                  <a:pt x="685" y="79"/>
                  <a:pt x="685" y="79"/>
                  <a:pt x="685" y="79"/>
                </a:cubicBezTo>
                <a:cubicBezTo>
                  <a:pt x="684" y="79"/>
                  <a:pt x="684" y="79"/>
                  <a:pt x="684" y="79"/>
                </a:cubicBezTo>
                <a:cubicBezTo>
                  <a:pt x="683" y="78"/>
                  <a:pt x="683" y="78"/>
                  <a:pt x="683" y="78"/>
                </a:cubicBezTo>
                <a:cubicBezTo>
                  <a:pt x="682" y="78"/>
                  <a:pt x="682" y="78"/>
                  <a:pt x="682" y="78"/>
                </a:cubicBezTo>
                <a:cubicBezTo>
                  <a:pt x="681" y="78"/>
                  <a:pt x="681" y="78"/>
                  <a:pt x="681" y="78"/>
                </a:cubicBezTo>
                <a:cubicBezTo>
                  <a:pt x="681" y="79"/>
                  <a:pt x="681" y="79"/>
                  <a:pt x="681" y="79"/>
                </a:cubicBezTo>
                <a:cubicBezTo>
                  <a:pt x="681" y="79"/>
                  <a:pt x="681" y="79"/>
                  <a:pt x="681" y="79"/>
                </a:cubicBezTo>
                <a:cubicBezTo>
                  <a:pt x="680" y="79"/>
                  <a:pt x="680" y="79"/>
                  <a:pt x="680" y="79"/>
                </a:cubicBezTo>
                <a:cubicBezTo>
                  <a:pt x="680" y="80"/>
                  <a:pt x="680" y="80"/>
                  <a:pt x="680" y="80"/>
                </a:cubicBezTo>
                <a:cubicBezTo>
                  <a:pt x="680" y="82"/>
                  <a:pt x="680" y="82"/>
                  <a:pt x="680" y="82"/>
                </a:cubicBezTo>
                <a:cubicBezTo>
                  <a:pt x="680" y="83"/>
                  <a:pt x="680" y="83"/>
                  <a:pt x="680" y="83"/>
                </a:cubicBezTo>
                <a:cubicBezTo>
                  <a:pt x="681" y="83"/>
                  <a:pt x="681" y="83"/>
                  <a:pt x="681" y="83"/>
                </a:cubicBezTo>
                <a:cubicBezTo>
                  <a:pt x="683" y="83"/>
                  <a:pt x="683" y="83"/>
                  <a:pt x="683" y="83"/>
                </a:cubicBezTo>
                <a:cubicBezTo>
                  <a:pt x="684" y="84"/>
                  <a:pt x="684" y="84"/>
                  <a:pt x="684" y="84"/>
                </a:cubicBezTo>
                <a:close/>
                <a:moveTo>
                  <a:pt x="692" y="81"/>
                </a:moveTo>
                <a:cubicBezTo>
                  <a:pt x="693" y="80"/>
                  <a:pt x="693" y="80"/>
                  <a:pt x="693" y="80"/>
                </a:cubicBezTo>
                <a:cubicBezTo>
                  <a:pt x="693" y="80"/>
                  <a:pt x="693" y="80"/>
                  <a:pt x="693" y="80"/>
                </a:cubicBezTo>
                <a:cubicBezTo>
                  <a:pt x="692" y="80"/>
                  <a:pt x="692" y="80"/>
                  <a:pt x="692" y="80"/>
                </a:cubicBezTo>
                <a:cubicBezTo>
                  <a:pt x="692" y="80"/>
                  <a:pt x="692" y="80"/>
                  <a:pt x="692" y="80"/>
                </a:cubicBezTo>
                <a:cubicBezTo>
                  <a:pt x="692" y="81"/>
                  <a:pt x="692" y="81"/>
                  <a:pt x="692" y="81"/>
                </a:cubicBezTo>
                <a:close/>
                <a:moveTo>
                  <a:pt x="701" y="418"/>
                </a:moveTo>
                <a:cubicBezTo>
                  <a:pt x="701" y="417"/>
                  <a:pt x="701" y="417"/>
                  <a:pt x="701" y="417"/>
                </a:cubicBezTo>
                <a:cubicBezTo>
                  <a:pt x="701" y="415"/>
                  <a:pt x="701" y="415"/>
                  <a:pt x="701" y="415"/>
                </a:cubicBezTo>
                <a:cubicBezTo>
                  <a:pt x="700" y="414"/>
                  <a:pt x="700" y="414"/>
                  <a:pt x="700" y="414"/>
                </a:cubicBezTo>
                <a:cubicBezTo>
                  <a:pt x="700" y="413"/>
                  <a:pt x="700" y="413"/>
                  <a:pt x="700" y="413"/>
                </a:cubicBezTo>
                <a:cubicBezTo>
                  <a:pt x="700" y="411"/>
                  <a:pt x="700" y="411"/>
                  <a:pt x="700" y="411"/>
                </a:cubicBezTo>
                <a:cubicBezTo>
                  <a:pt x="701" y="410"/>
                  <a:pt x="701" y="410"/>
                  <a:pt x="701" y="410"/>
                </a:cubicBezTo>
                <a:cubicBezTo>
                  <a:pt x="702" y="410"/>
                  <a:pt x="702" y="410"/>
                  <a:pt x="702" y="410"/>
                </a:cubicBezTo>
                <a:cubicBezTo>
                  <a:pt x="702" y="411"/>
                  <a:pt x="702" y="411"/>
                  <a:pt x="702" y="411"/>
                </a:cubicBezTo>
                <a:cubicBezTo>
                  <a:pt x="703" y="411"/>
                  <a:pt x="703" y="411"/>
                  <a:pt x="703" y="411"/>
                </a:cubicBezTo>
                <a:cubicBezTo>
                  <a:pt x="705" y="411"/>
                  <a:pt x="705" y="411"/>
                  <a:pt x="705" y="411"/>
                </a:cubicBezTo>
                <a:cubicBezTo>
                  <a:pt x="705" y="410"/>
                  <a:pt x="705" y="410"/>
                  <a:pt x="705" y="410"/>
                </a:cubicBezTo>
                <a:cubicBezTo>
                  <a:pt x="706" y="410"/>
                  <a:pt x="706" y="410"/>
                  <a:pt x="706" y="410"/>
                </a:cubicBezTo>
                <a:cubicBezTo>
                  <a:pt x="706" y="411"/>
                  <a:pt x="706" y="411"/>
                  <a:pt x="706" y="411"/>
                </a:cubicBezTo>
                <a:cubicBezTo>
                  <a:pt x="706" y="411"/>
                  <a:pt x="706" y="411"/>
                  <a:pt x="706" y="411"/>
                </a:cubicBezTo>
                <a:cubicBezTo>
                  <a:pt x="706" y="412"/>
                  <a:pt x="706" y="412"/>
                  <a:pt x="706" y="412"/>
                </a:cubicBezTo>
                <a:cubicBezTo>
                  <a:pt x="707" y="414"/>
                  <a:pt x="707" y="414"/>
                  <a:pt x="707" y="414"/>
                </a:cubicBezTo>
                <a:cubicBezTo>
                  <a:pt x="708" y="415"/>
                  <a:pt x="708" y="415"/>
                  <a:pt x="708" y="415"/>
                </a:cubicBezTo>
                <a:cubicBezTo>
                  <a:pt x="708" y="416"/>
                  <a:pt x="708" y="416"/>
                  <a:pt x="708" y="416"/>
                </a:cubicBezTo>
                <a:cubicBezTo>
                  <a:pt x="708" y="415"/>
                  <a:pt x="708" y="415"/>
                  <a:pt x="708" y="415"/>
                </a:cubicBezTo>
                <a:cubicBezTo>
                  <a:pt x="708" y="414"/>
                  <a:pt x="708" y="414"/>
                  <a:pt x="708" y="414"/>
                </a:cubicBezTo>
                <a:cubicBezTo>
                  <a:pt x="708" y="413"/>
                  <a:pt x="708" y="413"/>
                  <a:pt x="708" y="413"/>
                </a:cubicBezTo>
                <a:cubicBezTo>
                  <a:pt x="708" y="411"/>
                  <a:pt x="708" y="411"/>
                  <a:pt x="708" y="411"/>
                </a:cubicBezTo>
                <a:cubicBezTo>
                  <a:pt x="707" y="410"/>
                  <a:pt x="707" y="410"/>
                  <a:pt x="707" y="410"/>
                </a:cubicBezTo>
                <a:cubicBezTo>
                  <a:pt x="707" y="409"/>
                  <a:pt x="707" y="409"/>
                  <a:pt x="707" y="409"/>
                </a:cubicBezTo>
                <a:cubicBezTo>
                  <a:pt x="706" y="408"/>
                  <a:pt x="706" y="408"/>
                  <a:pt x="706" y="408"/>
                </a:cubicBezTo>
                <a:cubicBezTo>
                  <a:pt x="705" y="408"/>
                  <a:pt x="705" y="408"/>
                  <a:pt x="705" y="408"/>
                </a:cubicBezTo>
                <a:cubicBezTo>
                  <a:pt x="705" y="408"/>
                  <a:pt x="705" y="408"/>
                  <a:pt x="705" y="408"/>
                </a:cubicBezTo>
                <a:cubicBezTo>
                  <a:pt x="703" y="407"/>
                  <a:pt x="703" y="407"/>
                  <a:pt x="703" y="407"/>
                </a:cubicBezTo>
                <a:cubicBezTo>
                  <a:pt x="703" y="405"/>
                  <a:pt x="703" y="405"/>
                  <a:pt x="703" y="405"/>
                </a:cubicBezTo>
                <a:cubicBezTo>
                  <a:pt x="702" y="404"/>
                  <a:pt x="702" y="404"/>
                  <a:pt x="702" y="404"/>
                </a:cubicBezTo>
                <a:cubicBezTo>
                  <a:pt x="700" y="402"/>
                  <a:pt x="700" y="402"/>
                  <a:pt x="700" y="402"/>
                </a:cubicBezTo>
                <a:cubicBezTo>
                  <a:pt x="699" y="402"/>
                  <a:pt x="699" y="402"/>
                  <a:pt x="699" y="402"/>
                </a:cubicBezTo>
                <a:cubicBezTo>
                  <a:pt x="698" y="401"/>
                  <a:pt x="698" y="401"/>
                  <a:pt x="698" y="401"/>
                </a:cubicBezTo>
                <a:cubicBezTo>
                  <a:pt x="698" y="399"/>
                  <a:pt x="698" y="399"/>
                  <a:pt x="698" y="399"/>
                </a:cubicBezTo>
                <a:cubicBezTo>
                  <a:pt x="697" y="397"/>
                  <a:pt x="697" y="397"/>
                  <a:pt x="697" y="397"/>
                </a:cubicBezTo>
                <a:cubicBezTo>
                  <a:pt x="696" y="396"/>
                  <a:pt x="696" y="396"/>
                  <a:pt x="696" y="396"/>
                </a:cubicBezTo>
                <a:cubicBezTo>
                  <a:pt x="696" y="393"/>
                  <a:pt x="696" y="393"/>
                  <a:pt x="696" y="393"/>
                </a:cubicBezTo>
                <a:cubicBezTo>
                  <a:pt x="696" y="391"/>
                  <a:pt x="696" y="391"/>
                  <a:pt x="696" y="391"/>
                </a:cubicBezTo>
                <a:cubicBezTo>
                  <a:pt x="695" y="390"/>
                  <a:pt x="695" y="390"/>
                  <a:pt x="695" y="390"/>
                </a:cubicBezTo>
                <a:cubicBezTo>
                  <a:pt x="696" y="388"/>
                  <a:pt x="696" y="388"/>
                  <a:pt x="696" y="388"/>
                </a:cubicBezTo>
                <a:cubicBezTo>
                  <a:pt x="696" y="386"/>
                  <a:pt x="696" y="386"/>
                  <a:pt x="696" y="386"/>
                </a:cubicBezTo>
                <a:cubicBezTo>
                  <a:pt x="695" y="385"/>
                  <a:pt x="695" y="385"/>
                  <a:pt x="695" y="385"/>
                </a:cubicBezTo>
                <a:cubicBezTo>
                  <a:pt x="695" y="384"/>
                  <a:pt x="695" y="384"/>
                  <a:pt x="695" y="384"/>
                </a:cubicBezTo>
                <a:cubicBezTo>
                  <a:pt x="695" y="383"/>
                  <a:pt x="695" y="383"/>
                  <a:pt x="695" y="383"/>
                </a:cubicBezTo>
                <a:cubicBezTo>
                  <a:pt x="695" y="382"/>
                  <a:pt x="695" y="382"/>
                  <a:pt x="695" y="382"/>
                </a:cubicBezTo>
                <a:cubicBezTo>
                  <a:pt x="696" y="382"/>
                  <a:pt x="696" y="382"/>
                  <a:pt x="696" y="382"/>
                </a:cubicBezTo>
                <a:cubicBezTo>
                  <a:pt x="697" y="382"/>
                  <a:pt x="697" y="382"/>
                  <a:pt x="697" y="382"/>
                </a:cubicBezTo>
                <a:cubicBezTo>
                  <a:pt x="698" y="382"/>
                  <a:pt x="698" y="382"/>
                  <a:pt x="698" y="382"/>
                </a:cubicBezTo>
                <a:cubicBezTo>
                  <a:pt x="700" y="382"/>
                  <a:pt x="700" y="382"/>
                  <a:pt x="700" y="382"/>
                </a:cubicBezTo>
                <a:cubicBezTo>
                  <a:pt x="701" y="383"/>
                  <a:pt x="701" y="383"/>
                  <a:pt x="701" y="383"/>
                </a:cubicBezTo>
                <a:cubicBezTo>
                  <a:pt x="702" y="385"/>
                  <a:pt x="702" y="385"/>
                  <a:pt x="702" y="385"/>
                </a:cubicBezTo>
                <a:cubicBezTo>
                  <a:pt x="703" y="385"/>
                  <a:pt x="703" y="385"/>
                  <a:pt x="703" y="385"/>
                </a:cubicBezTo>
                <a:cubicBezTo>
                  <a:pt x="704" y="386"/>
                  <a:pt x="704" y="386"/>
                  <a:pt x="704" y="386"/>
                </a:cubicBezTo>
                <a:cubicBezTo>
                  <a:pt x="706" y="388"/>
                  <a:pt x="706" y="388"/>
                  <a:pt x="706" y="388"/>
                </a:cubicBezTo>
                <a:cubicBezTo>
                  <a:pt x="706" y="388"/>
                  <a:pt x="706" y="388"/>
                  <a:pt x="706" y="388"/>
                </a:cubicBezTo>
                <a:cubicBezTo>
                  <a:pt x="706" y="387"/>
                  <a:pt x="706" y="387"/>
                  <a:pt x="706" y="387"/>
                </a:cubicBezTo>
                <a:cubicBezTo>
                  <a:pt x="704" y="385"/>
                  <a:pt x="704" y="385"/>
                  <a:pt x="704" y="385"/>
                </a:cubicBezTo>
                <a:cubicBezTo>
                  <a:pt x="703" y="384"/>
                  <a:pt x="703" y="384"/>
                  <a:pt x="703" y="384"/>
                </a:cubicBezTo>
                <a:cubicBezTo>
                  <a:pt x="702" y="382"/>
                  <a:pt x="702" y="382"/>
                  <a:pt x="702" y="382"/>
                </a:cubicBezTo>
                <a:cubicBezTo>
                  <a:pt x="700" y="380"/>
                  <a:pt x="700" y="380"/>
                  <a:pt x="700" y="380"/>
                </a:cubicBezTo>
                <a:cubicBezTo>
                  <a:pt x="700" y="380"/>
                  <a:pt x="700" y="380"/>
                  <a:pt x="700" y="380"/>
                </a:cubicBezTo>
                <a:cubicBezTo>
                  <a:pt x="700" y="379"/>
                  <a:pt x="700" y="379"/>
                  <a:pt x="700" y="379"/>
                </a:cubicBezTo>
                <a:cubicBezTo>
                  <a:pt x="699" y="377"/>
                  <a:pt x="699" y="377"/>
                  <a:pt x="699" y="377"/>
                </a:cubicBezTo>
                <a:cubicBezTo>
                  <a:pt x="698" y="375"/>
                  <a:pt x="698" y="375"/>
                  <a:pt x="698" y="375"/>
                </a:cubicBezTo>
                <a:cubicBezTo>
                  <a:pt x="697" y="375"/>
                  <a:pt x="697" y="375"/>
                  <a:pt x="697" y="375"/>
                </a:cubicBezTo>
                <a:cubicBezTo>
                  <a:pt x="697" y="374"/>
                  <a:pt x="697" y="374"/>
                  <a:pt x="697" y="374"/>
                </a:cubicBezTo>
                <a:cubicBezTo>
                  <a:pt x="695" y="371"/>
                  <a:pt x="695" y="371"/>
                  <a:pt x="695" y="371"/>
                </a:cubicBezTo>
                <a:cubicBezTo>
                  <a:pt x="693" y="368"/>
                  <a:pt x="693" y="368"/>
                  <a:pt x="693" y="368"/>
                </a:cubicBezTo>
                <a:cubicBezTo>
                  <a:pt x="693" y="367"/>
                  <a:pt x="693" y="367"/>
                  <a:pt x="693" y="367"/>
                </a:cubicBezTo>
                <a:cubicBezTo>
                  <a:pt x="691" y="364"/>
                  <a:pt x="691" y="364"/>
                  <a:pt x="691" y="364"/>
                </a:cubicBezTo>
                <a:cubicBezTo>
                  <a:pt x="690" y="362"/>
                  <a:pt x="690" y="362"/>
                  <a:pt x="690" y="362"/>
                </a:cubicBezTo>
                <a:cubicBezTo>
                  <a:pt x="689" y="361"/>
                  <a:pt x="689" y="361"/>
                  <a:pt x="689" y="361"/>
                </a:cubicBezTo>
                <a:cubicBezTo>
                  <a:pt x="689" y="360"/>
                  <a:pt x="689" y="360"/>
                  <a:pt x="689" y="360"/>
                </a:cubicBezTo>
                <a:cubicBezTo>
                  <a:pt x="688" y="359"/>
                  <a:pt x="688" y="359"/>
                  <a:pt x="688" y="359"/>
                </a:cubicBezTo>
                <a:cubicBezTo>
                  <a:pt x="687" y="358"/>
                  <a:pt x="687" y="358"/>
                  <a:pt x="687" y="358"/>
                </a:cubicBezTo>
                <a:cubicBezTo>
                  <a:pt x="687" y="359"/>
                  <a:pt x="687" y="359"/>
                  <a:pt x="687" y="359"/>
                </a:cubicBezTo>
                <a:cubicBezTo>
                  <a:pt x="686" y="359"/>
                  <a:pt x="686" y="359"/>
                  <a:pt x="686" y="359"/>
                </a:cubicBezTo>
                <a:cubicBezTo>
                  <a:pt x="686" y="358"/>
                  <a:pt x="686" y="358"/>
                  <a:pt x="686" y="358"/>
                </a:cubicBezTo>
                <a:cubicBezTo>
                  <a:pt x="686" y="357"/>
                  <a:pt x="686" y="357"/>
                  <a:pt x="686" y="357"/>
                </a:cubicBezTo>
                <a:cubicBezTo>
                  <a:pt x="686" y="356"/>
                  <a:pt x="686" y="356"/>
                  <a:pt x="686" y="356"/>
                </a:cubicBezTo>
                <a:cubicBezTo>
                  <a:pt x="685" y="356"/>
                  <a:pt x="685" y="356"/>
                  <a:pt x="685" y="356"/>
                </a:cubicBezTo>
                <a:cubicBezTo>
                  <a:pt x="684" y="354"/>
                  <a:pt x="684" y="354"/>
                  <a:pt x="684" y="354"/>
                </a:cubicBezTo>
                <a:cubicBezTo>
                  <a:pt x="683" y="353"/>
                  <a:pt x="683" y="353"/>
                  <a:pt x="683" y="353"/>
                </a:cubicBezTo>
                <a:cubicBezTo>
                  <a:pt x="682" y="352"/>
                  <a:pt x="682" y="352"/>
                  <a:pt x="682" y="352"/>
                </a:cubicBezTo>
                <a:cubicBezTo>
                  <a:pt x="682" y="350"/>
                  <a:pt x="682" y="350"/>
                  <a:pt x="682" y="350"/>
                </a:cubicBezTo>
                <a:cubicBezTo>
                  <a:pt x="683" y="349"/>
                  <a:pt x="683" y="349"/>
                  <a:pt x="683" y="349"/>
                </a:cubicBezTo>
                <a:cubicBezTo>
                  <a:pt x="683" y="349"/>
                  <a:pt x="683" y="349"/>
                  <a:pt x="683" y="349"/>
                </a:cubicBezTo>
                <a:cubicBezTo>
                  <a:pt x="683" y="348"/>
                  <a:pt x="683" y="348"/>
                  <a:pt x="683" y="348"/>
                </a:cubicBezTo>
                <a:cubicBezTo>
                  <a:pt x="682" y="346"/>
                  <a:pt x="682" y="346"/>
                  <a:pt x="682" y="346"/>
                </a:cubicBezTo>
                <a:cubicBezTo>
                  <a:pt x="682" y="344"/>
                  <a:pt x="682" y="344"/>
                  <a:pt x="682" y="344"/>
                </a:cubicBezTo>
                <a:cubicBezTo>
                  <a:pt x="681" y="344"/>
                  <a:pt x="681" y="344"/>
                  <a:pt x="681" y="344"/>
                </a:cubicBezTo>
                <a:cubicBezTo>
                  <a:pt x="679" y="342"/>
                  <a:pt x="679" y="342"/>
                  <a:pt x="679" y="342"/>
                </a:cubicBezTo>
                <a:cubicBezTo>
                  <a:pt x="679" y="341"/>
                  <a:pt x="679" y="341"/>
                  <a:pt x="679" y="341"/>
                </a:cubicBezTo>
                <a:cubicBezTo>
                  <a:pt x="679" y="341"/>
                  <a:pt x="679" y="341"/>
                  <a:pt x="679" y="341"/>
                </a:cubicBezTo>
                <a:cubicBezTo>
                  <a:pt x="679" y="340"/>
                  <a:pt x="679" y="340"/>
                  <a:pt x="679" y="340"/>
                </a:cubicBezTo>
                <a:cubicBezTo>
                  <a:pt x="679" y="340"/>
                  <a:pt x="679" y="340"/>
                  <a:pt x="679" y="340"/>
                </a:cubicBezTo>
                <a:cubicBezTo>
                  <a:pt x="680" y="341"/>
                  <a:pt x="680" y="341"/>
                  <a:pt x="680" y="341"/>
                </a:cubicBezTo>
                <a:cubicBezTo>
                  <a:pt x="681" y="343"/>
                  <a:pt x="681" y="343"/>
                  <a:pt x="681" y="343"/>
                </a:cubicBezTo>
                <a:cubicBezTo>
                  <a:pt x="681" y="341"/>
                  <a:pt x="681" y="341"/>
                  <a:pt x="681" y="341"/>
                </a:cubicBezTo>
                <a:cubicBezTo>
                  <a:pt x="679" y="339"/>
                  <a:pt x="679" y="339"/>
                  <a:pt x="679" y="339"/>
                </a:cubicBezTo>
                <a:cubicBezTo>
                  <a:pt x="678" y="338"/>
                  <a:pt x="678" y="338"/>
                  <a:pt x="678" y="338"/>
                </a:cubicBezTo>
                <a:cubicBezTo>
                  <a:pt x="677" y="338"/>
                  <a:pt x="677" y="338"/>
                  <a:pt x="677" y="338"/>
                </a:cubicBezTo>
                <a:cubicBezTo>
                  <a:pt x="677" y="336"/>
                  <a:pt x="677" y="336"/>
                  <a:pt x="677" y="336"/>
                </a:cubicBezTo>
                <a:cubicBezTo>
                  <a:pt x="675" y="334"/>
                  <a:pt x="675" y="334"/>
                  <a:pt x="675" y="334"/>
                </a:cubicBezTo>
                <a:cubicBezTo>
                  <a:pt x="674" y="333"/>
                  <a:pt x="674" y="333"/>
                  <a:pt x="674" y="333"/>
                </a:cubicBezTo>
                <a:cubicBezTo>
                  <a:pt x="674" y="331"/>
                  <a:pt x="674" y="331"/>
                  <a:pt x="674" y="331"/>
                </a:cubicBezTo>
                <a:cubicBezTo>
                  <a:pt x="673" y="330"/>
                  <a:pt x="673" y="330"/>
                  <a:pt x="673" y="330"/>
                </a:cubicBezTo>
                <a:cubicBezTo>
                  <a:pt x="671" y="329"/>
                  <a:pt x="671" y="329"/>
                  <a:pt x="671" y="329"/>
                </a:cubicBezTo>
                <a:cubicBezTo>
                  <a:pt x="670" y="328"/>
                  <a:pt x="670" y="328"/>
                  <a:pt x="670" y="328"/>
                </a:cubicBezTo>
                <a:cubicBezTo>
                  <a:pt x="670" y="327"/>
                  <a:pt x="670" y="327"/>
                  <a:pt x="670" y="327"/>
                </a:cubicBezTo>
                <a:cubicBezTo>
                  <a:pt x="669" y="328"/>
                  <a:pt x="669" y="328"/>
                  <a:pt x="669" y="328"/>
                </a:cubicBezTo>
                <a:cubicBezTo>
                  <a:pt x="670" y="328"/>
                  <a:pt x="670" y="328"/>
                  <a:pt x="670" y="328"/>
                </a:cubicBezTo>
                <a:cubicBezTo>
                  <a:pt x="670" y="329"/>
                  <a:pt x="670" y="329"/>
                  <a:pt x="670" y="329"/>
                </a:cubicBezTo>
                <a:cubicBezTo>
                  <a:pt x="669" y="329"/>
                  <a:pt x="669" y="329"/>
                  <a:pt x="669" y="329"/>
                </a:cubicBezTo>
                <a:cubicBezTo>
                  <a:pt x="668" y="329"/>
                  <a:pt x="668" y="329"/>
                  <a:pt x="668" y="329"/>
                </a:cubicBezTo>
                <a:cubicBezTo>
                  <a:pt x="667" y="329"/>
                  <a:pt x="667" y="329"/>
                  <a:pt x="667" y="329"/>
                </a:cubicBezTo>
                <a:cubicBezTo>
                  <a:pt x="669" y="331"/>
                  <a:pt x="669" y="331"/>
                  <a:pt x="669" y="331"/>
                </a:cubicBezTo>
                <a:cubicBezTo>
                  <a:pt x="671" y="332"/>
                  <a:pt x="671" y="332"/>
                  <a:pt x="671" y="332"/>
                </a:cubicBezTo>
                <a:cubicBezTo>
                  <a:pt x="672" y="333"/>
                  <a:pt x="672" y="333"/>
                  <a:pt x="672" y="333"/>
                </a:cubicBezTo>
                <a:cubicBezTo>
                  <a:pt x="671" y="334"/>
                  <a:pt x="671" y="334"/>
                  <a:pt x="671" y="334"/>
                </a:cubicBezTo>
                <a:cubicBezTo>
                  <a:pt x="672" y="334"/>
                  <a:pt x="672" y="334"/>
                  <a:pt x="672" y="334"/>
                </a:cubicBezTo>
                <a:cubicBezTo>
                  <a:pt x="673" y="334"/>
                  <a:pt x="673" y="334"/>
                  <a:pt x="673" y="334"/>
                </a:cubicBezTo>
                <a:cubicBezTo>
                  <a:pt x="673" y="335"/>
                  <a:pt x="673" y="335"/>
                  <a:pt x="673" y="335"/>
                </a:cubicBezTo>
                <a:cubicBezTo>
                  <a:pt x="673" y="335"/>
                  <a:pt x="673" y="335"/>
                  <a:pt x="673" y="335"/>
                </a:cubicBezTo>
                <a:cubicBezTo>
                  <a:pt x="672" y="335"/>
                  <a:pt x="672" y="335"/>
                  <a:pt x="672" y="335"/>
                </a:cubicBezTo>
                <a:cubicBezTo>
                  <a:pt x="672" y="336"/>
                  <a:pt x="672" y="336"/>
                  <a:pt x="672" y="336"/>
                </a:cubicBezTo>
                <a:cubicBezTo>
                  <a:pt x="673" y="336"/>
                  <a:pt x="673" y="336"/>
                  <a:pt x="673" y="336"/>
                </a:cubicBezTo>
                <a:cubicBezTo>
                  <a:pt x="673" y="338"/>
                  <a:pt x="673" y="338"/>
                  <a:pt x="673" y="338"/>
                </a:cubicBezTo>
                <a:cubicBezTo>
                  <a:pt x="672" y="338"/>
                  <a:pt x="672" y="338"/>
                  <a:pt x="672" y="338"/>
                </a:cubicBezTo>
                <a:cubicBezTo>
                  <a:pt x="671" y="338"/>
                  <a:pt x="671" y="338"/>
                  <a:pt x="671" y="338"/>
                </a:cubicBezTo>
                <a:cubicBezTo>
                  <a:pt x="671" y="337"/>
                  <a:pt x="671" y="337"/>
                  <a:pt x="671" y="337"/>
                </a:cubicBezTo>
                <a:cubicBezTo>
                  <a:pt x="670" y="338"/>
                  <a:pt x="670" y="338"/>
                  <a:pt x="670" y="338"/>
                </a:cubicBezTo>
                <a:cubicBezTo>
                  <a:pt x="669" y="339"/>
                  <a:pt x="669" y="339"/>
                  <a:pt x="669" y="339"/>
                </a:cubicBezTo>
                <a:cubicBezTo>
                  <a:pt x="670" y="341"/>
                  <a:pt x="670" y="341"/>
                  <a:pt x="670" y="341"/>
                </a:cubicBezTo>
                <a:cubicBezTo>
                  <a:pt x="671" y="342"/>
                  <a:pt x="671" y="342"/>
                  <a:pt x="671" y="342"/>
                </a:cubicBezTo>
                <a:cubicBezTo>
                  <a:pt x="672" y="344"/>
                  <a:pt x="672" y="344"/>
                  <a:pt x="672" y="344"/>
                </a:cubicBezTo>
                <a:cubicBezTo>
                  <a:pt x="673" y="346"/>
                  <a:pt x="673" y="346"/>
                  <a:pt x="673" y="346"/>
                </a:cubicBezTo>
                <a:cubicBezTo>
                  <a:pt x="673" y="348"/>
                  <a:pt x="673" y="348"/>
                  <a:pt x="673" y="348"/>
                </a:cubicBezTo>
                <a:cubicBezTo>
                  <a:pt x="673" y="349"/>
                  <a:pt x="673" y="349"/>
                  <a:pt x="673" y="349"/>
                </a:cubicBezTo>
                <a:cubicBezTo>
                  <a:pt x="674" y="351"/>
                  <a:pt x="674" y="351"/>
                  <a:pt x="674" y="351"/>
                </a:cubicBezTo>
                <a:cubicBezTo>
                  <a:pt x="675" y="354"/>
                  <a:pt x="675" y="354"/>
                  <a:pt x="675" y="354"/>
                </a:cubicBezTo>
                <a:cubicBezTo>
                  <a:pt x="676" y="356"/>
                  <a:pt x="676" y="356"/>
                  <a:pt x="676" y="356"/>
                </a:cubicBezTo>
                <a:cubicBezTo>
                  <a:pt x="677" y="357"/>
                  <a:pt x="677" y="357"/>
                  <a:pt x="677" y="357"/>
                </a:cubicBezTo>
                <a:cubicBezTo>
                  <a:pt x="677" y="357"/>
                  <a:pt x="677" y="357"/>
                  <a:pt x="677" y="357"/>
                </a:cubicBezTo>
                <a:cubicBezTo>
                  <a:pt x="676" y="358"/>
                  <a:pt x="676" y="358"/>
                  <a:pt x="676" y="358"/>
                </a:cubicBezTo>
                <a:cubicBezTo>
                  <a:pt x="680" y="361"/>
                  <a:pt x="680" y="361"/>
                  <a:pt x="680" y="361"/>
                </a:cubicBezTo>
                <a:cubicBezTo>
                  <a:pt x="681" y="361"/>
                  <a:pt x="681" y="361"/>
                  <a:pt x="681" y="361"/>
                </a:cubicBezTo>
                <a:cubicBezTo>
                  <a:pt x="682" y="363"/>
                  <a:pt x="682" y="363"/>
                  <a:pt x="682" y="363"/>
                </a:cubicBezTo>
                <a:cubicBezTo>
                  <a:pt x="682" y="365"/>
                  <a:pt x="682" y="365"/>
                  <a:pt x="682" y="365"/>
                </a:cubicBezTo>
                <a:cubicBezTo>
                  <a:pt x="682" y="367"/>
                  <a:pt x="682" y="367"/>
                  <a:pt x="682" y="367"/>
                </a:cubicBezTo>
                <a:cubicBezTo>
                  <a:pt x="683" y="369"/>
                  <a:pt x="683" y="369"/>
                  <a:pt x="683" y="369"/>
                </a:cubicBezTo>
                <a:cubicBezTo>
                  <a:pt x="683" y="370"/>
                  <a:pt x="683" y="370"/>
                  <a:pt x="683" y="370"/>
                </a:cubicBezTo>
                <a:cubicBezTo>
                  <a:pt x="684" y="371"/>
                  <a:pt x="684" y="371"/>
                  <a:pt x="684" y="371"/>
                </a:cubicBezTo>
                <a:cubicBezTo>
                  <a:pt x="686" y="372"/>
                  <a:pt x="686" y="372"/>
                  <a:pt x="686" y="372"/>
                </a:cubicBezTo>
                <a:cubicBezTo>
                  <a:pt x="685" y="372"/>
                  <a:pt x="685" y="372"/>
                  <a:pt x="685" y="372"/>
                </a:cubicBezTo>
                <a:cubicBezTo>
                  <a:pt x="685" y="373"/>
                  <a:pt x="685" y="373"/>
                  <a:pt x="685" y="373"/>
                </a:cubicBezTo>
                <a:cubicBezTo>
                  <a:pt x="687" y="375"/>
                  <a:pt x="687" y="375"/>
                  <a:pt x="687" y="375"/>
                </a:cubicBezTo>
                <a:cubicBezTo>
                  <a:pt x="687" y="377"/>
                  <a:pt x="687" y="377"/>
                  <a:pt x="687" y="377"/>
                </a:cubicBezTo>
                <a:cubicBezTo>
                  <a:pt x="688" y="378"/>
                  <a:pt x="688" y="378"/>
                  <a:pt x="688" y="378"/>
                </a:cubicBezTo>
                <a:cubicBezTo>
                  <a:pt x="688" y="381"/>
                  <a:pt x="688" y="381"/>
                  <a:pt x="688" y="381"/>
                </a:cubicBezTo>
                <a:cubicBezTo>
                  <a:pt x="688" y="382"/>
                  <a:pt x="688" y="382"/>
                  <a:pt x="688" y="382"/>
                </a:cubicBezTo>
                <a:cubicBezTo>
                  <a:pt x="688" y="383"/>
                  <a:pt x="688" y="383"/>
                  <a:pt x="688" y="383"/>
                </a:cubicBezTo>
                <a:cubicBezTo>
                  <a:pt x="688" y="385"/>
                  <a:pt x="688" y="385"/>
                  <a:pt x="688" y="385"/>
                </a:cubicBezTo>
                <a:cubicBezTo>
                  <a:pt x="689" y="387"/>
                  <a:pt x="689" y="387"/>
                  <a:pt x="689" y="387"/>
                </a:cubicBezTo>
                <a:cubicBezTo>
                  <a:pt x="689" y="388"/>
                  <a:pt x="689" y="388"/>
                  <a:pt x="689" y="388"/>
                </a:cubicBezTo>
                <a:cubicBezTo>
                  <a:pt x="689" y="390"/>
                  <a:pt x="689" y="390"/>
                  <a:pt x="689" y="390"/>
                </a:cubicBezTo>
                <a:cubicBezTo>
                  <a:pt x="690" y="391"/>
                  <a:pt x="690" y="391"/>
                  <a:pt x="690" y="391"/>
                </a:cubicBezTo>
                <a:cubicBezTo>
                  <a:pt x="693" y="394"/>
                  <a:pt x="693" y="394"/>
                  <a:pt x="693" y="394"/>
                </a:cubicBezTo>
                <a:cubicBezTo>
                  <a:pt x="693" y="395"/>
                  <a:pt x="693" y="395"/>
                  <a:pt x="693" y="395"/>
                </a:cubicBezTo>
                <a:cubicBezTo>
                  <a:pt x="694" y="397"/>
                  <a:pt x="694" y="397"/>
                  <a:pt x="694" y="397"/>
                </a:cubicBezTo>
                <a:cubicBezTo>
                  <a:pt x="694" y="399"/>
                  <a:pt x="694" y="399"/>
                  <a:pt x="694" y="399"/>
                </a:cubicBezTo>
                <a:cubicBezTo>
                  <a:pt x="694" y="402"/>
                  <a:pt x="694" y="402"/>
                  <a:pt x="694" y="402"/>
                </a:cubicBezTo>
                <a:cubicBezTo>
                  <a:pt x="695" y="404"/>
                  <a:pt x="695" y="404"/>
                  <a:pt x="695" y="404"/>
                </a:cubicBezTo>
                <a:cubicBezTo>
                  <a:pt x="695" y="405"/>
                  <a:pt x="695" y="405"/>
                  <a:pt x="695" y="405"/>
                </a:cubicBezTo>
                <a:cubicBezTo>
                  <a:pt x="697" y="407"/>
                  <a:pt x="697" y="407"/>
                  <a:pt x="697" y="407"/>
                </a:cubicBezTo>
                <a:cubicBezTo>
                  <a:pt x="697" y="408"/>
                  <a:pt x="697" y="408"/>
                  <a:pt x="697" y="408"/>
                </a:cubicBezTo>
                <a:cubicBezTo>
                  <a:pt x="697" y="410"/>
                  <a:pt x="697" y="410"/>
                  <a:pt x="697" y="410"/>
                </a:cubicBezTo>
                <a:cubicBezTo>
                  <a:pt x="697" y="413"/>
                  <a:pt x="697" y="413"/>
                  <a:pt x="697" y="413"/>
                </a:cubicBezTo>
                <a:cubicBezTo>
                  <a:pt x="697" y="414"/>
                  <a:pt x="697" y="414"/>
                  <a:pt x="697" y="414"/>
                </a:cubicBezTo>
                <a:cubicBezTo>
                  <a:pt x="698" y="415"/>
                  <a:pt x="698" y="415"/>
                  <a:pt x="698" y="415"/>
                </a:cubicBezTo>
                <a:cubicBezTo>
                  <a:pt x="699" y="417"/>
                  <a:pt x="699" y="417"/>
                  <a:pt x="699" y="417"/>
                </a:cubicBezTo>
                <a:cubicBezTo>
                  <a:pt x="701" y="418"/>
                  <a:pt x="701" y="418"/>
                  <a:pt x="701" y="418"/>
                </a:cubicBezTo>
                <a:close/>
                <a:moveTo>
                  <a:pt x="637" y="329"/>
                </a:moveTo>
                <a:cubicBezTo>
                  <a:pt x="637" y="329"/>
                  <a:pt x="637" y="329"/>
                  <a:pt x="637" y="329"/>
                </a:cubicBezTo>
                <a:cubicBezTo>
                  <a:pt x="637" y="328"/>
                  <a:pt x="637" y="328"/>
                  <a:pt x="637" y="328"/>
                </a:cubicBezTo>
                <a:cubicBezTo>
                  <a:pt x="638" y="328"/>
                  <a:pt x="638" y="328"/>
                  <a:pt x="638" y="328"/>
                </a:cubicBezTo>
                <a:cubicBezTo>
                  <a:pt x="638" y="328"/>
                  <a:pt x="638" y="328"/>
                  <a:pt x="638" y="328"/>
                </a:cubicBezTo>
                <a:cubicBezTo>
                  <a:pt x="639" y="329"/>
                  <a:pt x="639" y="329"/>
                  <a:pt x="639" y="329"/>
                </a:cubicBezTo>
                <a:cubicBezTo>
                  <a:pt x="640" y="329"/>
                  <a:pt x="640" y="329"/>
                  <a:pt x="640" y="329"/>
                </a:cubicBezTo>
                <a:cubicBezTo>
                  <a:pt x="641" y="329"/>
                  <a:pt x="641" y="329"/>
                  <a:pt x="641" y="329"/>
                </a:cubicBezTo>
                <a:cubicBezTo>
                  <a:pt x="641" y="328"/>
                  <a:pt x="641" y="328"/>
                  <a:pt x="641" y="328"/>
                </a:cubicBezTo>
                <a:cubicBezTo>
                  <a:pt x="641" y="327"/>
                  <a:pt x="641" y="327"/>
                  <a:pt x="641" y="327"/>
                </a:cubicBezTo>
                <a:cubicBezTo>
                  <a:pt x="641" y="326"/>
                  <a:pt x="641" y="326"/>
                  <a:pt x="641" y="326"/>
                </a:cubicBezTo>
                <a:cubicBezTo>
                  <a:pt x="642" y="326"/>
                  <a:pt x="642" y="326"/>
                  <a:pt x="642" y="326"/>
                </a:cubicBezTo>
                <a:cubicBezTo>
                  <a:pt x="642" y="325"/>
                  <a:pt x="642" y="325"/>
                  <a:pt x="642" y="325"/>
                </a:cubicBezTo>
                <a:cubicBezTo>
                  <a:pt x="641" y="325"/>
                  <a:pt x="641" y="325"/>
                  <a:pt x="641" y="325"/>
                </a:cubicBezTo>
                <a:cubicBezTo>
                  <a:pt x="640" y="326"/>
                  <a:pt x="640" y="326"/>
                  <a:pt x="640" y="326"/>
                </a:cubicBezTo>
                <a:cubicBezTo>
                  <a:pt x="640" y="326"/>
                  <a:pt x="640" y="326"/>
                  <a:pt x="640" y="326"/>
                </a:cubicBezTo>
                <a:cubicBezTo>
                  <a:pt x="640" y="326"/>
                  <a:pt x="640" y="326"/>
                  <a:pt x="640" y="326"/>
                </a:cubicBezTo>
                <a:cubicBezTo>
                  <a:pt x="640" y="325"/>
                  <a:pt x="640" y="325"/>
                  <a:pt x="640" y="325"/>
                </a:cubicBezTo>
                <a:cubicBezTo>
                  <a:pt x="640" y="324"/>
                  <a:pt x="640" y="324"/>
                  <a:pt x="640" y="324"/>
                </a:cubicBezTo>
                <a:cubicBezTo>
                  <a:pt x="640" y="324"/>
                  <a:pt x="640" y="324"/>
                  <a:pt x="640" y="324"/>
                </a:cubicBezTo>
                <a:cubicBezTo>
                  <a:pt x="638" y="324"/>
                  <a:pt x="638" y="324"/>
                  <a:pt x="638" y="324"/>
                </a:cubicBezTo>
                <a:cubicBezTo>
                  <a:pt x="638" y="324"/>
                  <a:pt x="638" y="324"/>
                  <a:pt x="638" y="324"/>
                </a:cubicBezTo>
                <a:cubicBezTo>
                  <a:pt x="637" y="325"/>
                  <a:pt x="637" y="325"/>
                  <a:pt x="637" y="325"/>
                </a:cubicBezTo>
                <a:cubicBezTo>
                  <a:pt x="637" y="326"/>
                  <a:pt x="637" y="326"/>
                  <a:pt x="637" y="326"/>
                </a:cubicBezTo>
                <a:cubicBezTo>
                  <a:pt x="636" y="326"/>
                  <a:pt x="636" y="326"/>
                  <a:pt x="636" y="326"/>
                </a:cubicBezTo>
                <a:cubicBezTo>
                  <a:pt x="636" y="327"/>
                  <a:pt x="636" y="327"/>
                  <a:pt x="636" y="327"/>
                </a:cubicBezTo>
                <a:cubicBezTo>
                  <a:pt x="637" y="329"/>
                  <a:pt x="637" y="329"/>
                  <a:pt x="637" y="329"/>
                </a:cubicBezTo>
                <a:close/>
                <a:moveTo>
                  <a:pt x="633" y="328"/>
                </a:moveTo>
                <a:cubicBezTo>
                  <a:pt x="633" y="328"/>
                  <a:pt x="633" y="328"/>
                  <a:pt x="633" y="328"/>
                </a:cubicBezTo>
                <a:cubicBezTo>
                  <a:pt x="633" y="328"/>
                  <a:pt x="633" y="328"/>
                  <a:pt x="633" y="328"/>
                </a:cubicBezTo>
                <a:cubicBezTo>
                  <a:pt x="634" y="327"/>
                  <a:pt x="634" y="327"/>
                  <a:pt x="634" y="327"/>
                </a:cubicBezTo>
                <a:cubicBezTo>
                  <a:pt x="634" y="328"/>
                  <a:pt x="634" y="328"/>
                  <a:pt x="634" y="328"/>
                </a:cubicBezTo>
                <a:cubicBezTo>
                  <a:pt x="635" y="327"/>
                  <a:pt x="635" y="327"/>
                  <a:pt x="635" y="327"/>
                </a:cubicBezTo>
                <a:cubicBezTo>
                  <a:pt x="634" y="326"/>
                  <a:pt x="634" y="326"/>
                  <a:pt x="634" y="326"/>
                </a:cubicBezTo>
                <a:cubicBezTo>
                  <a:pt x="635" y="326"/>
                  <a:pt x="635" y="326"/>
                  <a:pt x="635" y="326"/>
                </a:cubicBezTo>
                <a:cubicBezTo>
                  <a:pt x="635" y="325"/>
                  <a:pt x="635" y="325"/>
                  <a:pt x="635" y="325"/>
                </a:cubicBezTo>
                <a:cubicBezTo>
                  <a:pt x="634" y="325"/>
                  <a:pt x="634" y="325"/>
                  <a:pt x="634" y="325"/>
                </a:cubicBezTo>
                <a:cubicBezTo>
                  <a:pt x="633" y="326"/>
                  <a:pt x="633" y="326"/>
                  <a:pt x="633" y="326"/>
                </a:cubicBezTo>
                <a:cubicBezTo>
                  <a:pt x="632" y="326"/>
                  <a:pt x="632" y="326"/>
                  <a:pt x="632" y="326"/>
                </a:cubicBezTo>
                <a:cubicBezTo>
                  <a:pt x="632" y="327"/>
                  <a:pt x="632" y="327"/>
                  <a:pt x="632" y="327"/>
                </a:cubicBezTo>
                <a:cubicBezTo>
                  <a:pt x="633" y="328"/>
                  <a:pt x="633" y="328"/>
                  <a:pt x="633" y="328"/>
                </a:cubicBezTo>
                <a:close/>
                <a:moveTo>
                  <a:pt x="641" y="332"/>
                </a:moveTo>
                <a:cubicBezTo>
                  <a:pt x="641" y="333"/>
                  <a:pt x="641" y="333"/>
                  <a:pt x="641" y="333"/>
                </a:cubicBezTo>
                <a:cubicBezTo>
                  <a:pt x="642" y="332"/>
                  <a:pt x="642" y="332"/>
                  <a:pt x="642" y="332"/>
                </a:cubicBezTo>
                <a:cubicBezTo>
                  <a:pt x="642" y="331"/>
                  <a:pt x="642" y="331"/>
                  <a:pt x="642" y="331"/>
                </a:cubicBezTo>
                <a:cubicBezTo>
                  <a:pt x="642" y="331"/>
                  <a:pt x="642" y="331"/>
                  <a:pt x="642" y="331"/>
                </a:cubicBezTo>
                <a:cubicBezTo>
                  <a:pt x="642" y="331"/>
                  <a:pt x="642" y="331"/>
                  <a:pt x="642" y="331"/>
                </a:cubicBezTo>
                <a:cubicBezTo>
                  <a:pt x="642" y="331"/>
                  <a:pt x="642" y="331"/>
                  <a:pt x="642" y="331"/>
                </a:cubicBezTo>
                <a:cubicBezTo>
                  <a:pt x="641" y="332"/>
                  <a:pt x="641" y="332"/>
                  <a:pt x="641" y="332"/>
                </a:cubicBezTo>
                <a:close/>
                <a:moveTo>
                  <a:pt x="640" y="331"/>
                </a:moveTo>
                <a:cubicBezTo>
                  <a:pt x="640" y="332"/>
                  <a:pt x="640" y="332"/>
                  <a:pt x="640" y="332"/>
                </a:cubicBezTo>
                <a:cubicBezTo>
                  <a:pt x="640" y="332"/>
                  <a:pt x="640" y="332"/>
                  <a:pt x="640" y="332"/>
                </a:cubicBezTo>
                <a:cubicBezTo>
                  <a:pt x="641" y="332"/>
                  <a:pt x="641" y="332"/>
                  <a:pt x="641" y="332"/>
                </a:cubicBezTo>
                <a:cubicBezTo>
                  <a:pt x="641" y="331"/>
                  <a:pt x="641" y="331"/>
                  <a:pt x="641" y="331"/>
                </a:cubicBezTo>
                <a:cubicBezTo>
                  <a:pt x="640" y="330"/>
                  <a:pt x="640" y="330"/>
                  <a:pt x="640" y="330"/>
                </a:cubicBezTo>
                <a:cubicBezTo>
                  <a:pt x="640" y="331"/>
                  <a:pt x="640" y="331"/>
                  <a:pt x="640" y="331"/>
                </a:cubicBezTo>
                <a:close/>
                <a:moveTo>
                  <a:pt x="640" y="337"/>
                </a:moveTo>
                <a:cubicBezTo>
                  <a:pt x="641" y="335"/>
                  <a:pt x="641" y="335"/>
                  <a:pt x="641" y="335"/>
                </a:cubicBezTo>
                <a:cubicBezTo>
                  <a:pt x="642" y="335"/>
                  <a:pt x="642" y="335"/>
                  <a:pt x="642" y="335"/>
                </a:cubicBezTo>
                <a:cubicBezTo>
                  <a:pt x="642" y="334"/>
                  <a:pt x="642" y="334"/>
                  <a:pt x="642" y="334"/>
                </a:cubicBezTo>
                <a:cubicBezTo>
                  <a:pt x="642" y="334"/>
                  <a:pt x="642" y="334"/>
                  <a:pt x="642" y="334"/>
                </a:cubicBezTo>
                <a:cubicBezTo>
                  <a:pt x="642" y="333"/>
                  <a:pt x="642" y="333"/>
                  <a:pt x="642" y="333"/>
                </a:cubicBezTo>
                <a:cubicBezTo>
                  <a:pt x="640" y="334"/>
                  <a:pt x="640" y="334"/>
                  <a:pt x="640" y="334"/>
                </a:cubicBezTo>
                <a:cubicBezTo>
                  <a:pt x="639" y="335"/>
                  <a:pt x="639" y="335"/>
                  <a:pt x="639" y="335"/>
                </a:cubicBezTo>
                <a:cubicBezTo>
                  <a:pt x="639" y="336"/>
                  <a:pt x="639" y="336"/>
                  <a:pt x="639" y="336"/>
                </a:cubicBezTo>
                <a:cubicBezTo>
                  <a:pt x="640" y="337"/>
                  <a:pt x="640" y="337"/>
                  <a:pt x="640" y="337"/>
                </a:cubicBezTo>
                <a:close/>
                <a:moveTo>
                  <a:pt x="688" y="263"/>
                </a:moveTo>
                <a:cubicBezTo>
                  <a:pt x="689" y="263"/>
                  <a:pt x="689" y="263"/>
                  <a:pt x="689" y="263"/>
                </a:cubicBezTo>
                <a:cubicBezTo>
                  <a:pt x="690" y="262"/>
                  <a:pt x="690" y="262"/>
                  <a:pt x="690" y="262"/>
                </a:cubicBezTo>
                <a:cubicBezTo>
                  <a:pt x="690" y="261"/>
                  <a:pt x="690" y="261"/>
                  <a:pt x="690" y="261"/>
                </a:cubicBezTo>
                <a:cubicBezTo>
                  <a:pt x="689" y="261"/>
                  <a:pt x="689" y="261"/>
                  <a:pt x="689" y="261"/>
                </a:cubicBezTo>
                <a:cubicBezTo>
                  <a:pt x="688" y="262"/>
                  <a:pt x="688" y="262"/>
                  <a:pt x="688" y="262"/>
                </a:cubicBezTo>
                <a:cubicBezTo>
                  <a:pt x="688" y="263"/>
                  <a:pt x="688" y="263"/>
                  <a:pt x="688" y="263"/>
                </a:cubicBezTo>
                <a:close/>
                <a:moveTo>
                  <a:pt x="765" y="255"/>
                </a:moveTo>
                <a:cubicBezTo>
                  <a:pt x="766" y="255"/>
                  <a:pt x="766" y="255"/>
                  <a:pt x="766" y="255"/>
                </a:cubicBezTo>
                <a:cubicBezTo>
                  <a:pt x="765" y="254"/>
                  <a:pt x="765" y="254"/>
                  <a:pt x="765" y="254"/>
                </a:cubicBezTo>
                <a:cubicBezTo>
                  <a:pt x="765" y="253"/>
                  <a:pt x="765" y="253"/>
                  <a:pt x="765" y="253"/>
                </a:cubicBezTo>
                <a:cubicBezTo>
                  <a:pt x="765" y="252"/>
                  <a:pt x="765" y="252"/>
                  <a:pt x="765" y="252"/>
                </a:cubicBezTo>
                <a:cubicBezTo>
                  <a:pt x="765" y="251"/>
                  <a:pt x="765" y="251"/>
                  <a:pt x="765" y="251"/>
                </a:cubicBezTo>
                <a:cubicBezTo>
                  <a:pt x="766" y="250"/>
                  <a:pt x="766" y="250"/>
                  <a:pt x="766" y="250"/>
                </a:cubicBezTo>
                <a:cubicBezTo>
                  <a:pt x="767" y="249"/>
                  <a:pt x="767" y="249"/>
                  <a:pt x="767" y="249"/>
                </a:cubicBezTo>
                <a:cubicBezTo>
                  <a:pt x="768" y="248"/>
                  <a:pt x="768" y="248"/>
                  <a:pt x="768" y="248"/>
                </a:cubicBezTo>
                <a:cubicBezTo>
                  <a:pt x="769" y="247"/>
                  <a:pt x="769" y="247"/>
                  <a:pt x="769" y="247"/>
                </a:cubicBezTo>
                <a:cubicBezTo>
                  <a:pt x="769" y="246"/>
                  <a:pt x="769" y="246"/>
                  <a:pt x="769" y="246"/>
                </a:cubicBezTo>
                <a:cubicBezTo>
                  <a:pt x="768" y="244"/>
                  <a:pt x="768" y="244"/>
                  <a:pt x="768" y="244"/>
                </a:cubicBezTo>
                <a:cubicBezTo>
                  <a:pt x="766" y="243"/>
                  <a:pt x="766" y="243"/>
                  <a:pt x="766" y="243"/>
                </a:cubicBezTo>
                <a:cubicBezTo>
                  <a:pt x="766" y="242"/>
                  <a:pt x="766" y="242"/>
                  <a:pt x="766" y="242"/>
                </a:cubicBezTo>
                <a:cubicBezTo>
                  <a:pt x="765" y="243"/>
                  <a:pt x="765" y="243"/>
                  <a:pt x="765" y="243"/>
                </a:cubicBezTo>
                <a:cubicBezTo>
                  <a:pt x="765" y="244"/>
                  <a:pt x="765" y="244"/>
                  <a:pt x="765" y="244"/>
                </a:cubicBezTo>
                <a:cubicBezTo>
                  <a:pt x="764" y="244"/>
                  <a:pt x="764" y="244"/>
                  <a:pt x="764" y="244"/>
                </a:cubicBezTo>
                <a:cubicBezTo>
                  <a:pt x="763" y="246"/>
                  <a:pt x="763" y="246"/>
                  <a:pt x="763" y="246"/>
                </a:cubicBezTo>
                <a:cubicBezTo>
                  <a:pt x="762" y="246"/>
                  <a:pt x="762" y="246"/>
                  <a:pt x="762" y="246"/>
                </a:cubicBezTo>
                <a:cubicBezTo>
                  <a:pt x="762" y="247"/>
                  <a:pt x="762" y="247"/>
                  <a:pt x="762" y="247"/>
                </a:cubicBezTo>
                <a:cubicBezTo>
                  <a:pt x="762" y="247"/>
                  <a:pt x="762" y="247"/>
                  <a:pt x="762" y="247"/>
                </a:cubicBezTo>
                <a:cubicBezTo>
                  <a:pt x="763" y="247"/>
                  <a:pt x="763" y="247"/>
                  <a:pt x="763" y="247"/>
                </a:cubicBezTo>
                <a:cubicBezTo>
                  <a:pt x="764" y="247"/>
                  <a:pt x="764" y="247"/>
                  <a:pt x="764" y="247"/>
                </a:cubicBezTo>
                <a:cubicBezTo>
                  <a:pt x="763" y="248"/>
                  <a:pt x="763" y="248"/>
                  <a:pt x="763" y="248"/>
                </a:cubicBezTo>
                <a:cubicBezTo>
                  <a:pt x="764" y="250"/>
                  <a:pt x="764" y="250"/>
                  <a:pt x="764" y="250"/>
                </a:cubicBezTo>
                <a:cubicBezTo>
                  <a:pt x="764" y="251"/>
                  <a:pt x="764" y="251"/>
                  <a:pt x="764" y="251"/>
                </a:cubicBezTo>
                <a:cubicBezTo>
                  <a:pt x="764" y="252"/>
                  <a:pt x="764" y="252"/>
                  <a:pt x="764" y="252"/>
                </a:cubicBezTo>
                <a:cubicBezTo>
                  <a:pt x="764" y="253"/>
                  <a:pt x="764" y="253"/>
                  <a:pt x="764" y="253"/>
                </a:cubicBezTo>
                <a:cubicBezTo>
                  <a:pt x="764" y="254"/>
                  <a:pt x="764" y="254"/>
                  <a:pt x="764" y="254"/>
                </a:cubicBezTo>
                <a:cubicBezTo>
                  <a:pt x="765" y="255"/>
                  <a:pt x="765" y="255"/>
                  <a:pt x="765" y="255"/>
                </a:cubicBezTo>
                <a:close/>
                <a:moveTo>
                  <a:pt x="810" y="295"/>
                </a:moveTo>
                <a:cubicBezTo>
                  <a:pt x="811" y="296"/>
                  <a:pt x="811" y="296"/>
                  <a:pt x="811" y="296"/>
                </a:cubicBezTo>
                <a:cubicBezTo>
                  <a:pt x="812" y="296"/>
                  <a:pt x="812" y="296"/>
                  <a:pt x="812" y="296"/>
                </a:cubicBezTo>
                <a:cubicBezTo>
                  <a:pt x="814" y="297"/>
                  <a:pt x="814" y="297"/>
                  <a:pt x="814" y="297"/>
                </a:cubicBezTo>
                <a:cubicBezTo>
                  <a:pt x="815" y="298"/>
                  <a:pt x="815" y="298"/>
                  <a:pt x="815" y="298"/>
                </a:cubicBezTo>
                <a:cubicBezTo>
                  <a:pt x="816" y="298"/>
                  <a:pt x="816" y="298"/>
                  <a:pt x="816" y="298"/>
                </a:cubicBezTo>
                <a:cubicBezTo>
                  <a:pt x="818" y="298"/>
                  <a:pt x="818" y="298"/>
                  <a:pt x="818" y="298"/>
                </a:cubicBezTo>
                <a:cubicBezTo>
                  <a:pt x="817" y="297"/>
                  <a:pt x="817" y="297"/>
                  <a:pt x="817" y="297"/>
                </a:cubicBezTo>
                <a:cubicBezTo>
                  <a:pt x="815" y="297"/>
                  <a:pt x="815" y="297"/>
                  <a:pt x="815" y="297"/>
                </a:cubicBezTo>
                <a:cubicBezTo>
                  <a:pt x="815" y="296"/>
                  <a:pt x="815" y="296"/>
                  <a:pt x="815" y="296"/>
                </a:cubicBezTo>
                <a:cubicBezTo>
                  <a:pt x="813" y="296"/>
                  <a:pt x="813" y="296"/>
                  <a:pt x="813" y="296"/>
                </a:cubicBezTo>
                <a:cubicBezTo>
                  <a:pt x="812" y="295"/>
                  <a:pt x="812" y="295"/>
                  <a:pt x="812" y="295"/>
                </a:cubicBezTo>
                <a:cubicBezTo>
                  <a:pt x="811" y="294"/>
                  <a:pt x="811" y="294"/>
                  <a:pt x="811" y="294"/>
                </a:cubicBezTo>
                <a:cubicBezTo>
                  <a:pt x="810" y="295"/>
                  <a:pt x="810" y="295"/>
                  <a:pt x="810" y="295"/>
                </a:cubicBezTo>
                <a:close/>
                <a:moveTo>
                  <a:pt x="797" y="292"/>
                </a:moveTo>
                <a:cubicBezTo>
                  <a:pt x="798" y="292"/>
                  <a:pt x="798" y="292"/>
                  <a:pt x="798" y="292"/>
                </a:cubicBezTo>
                <a:cubicBezTo>
                  <a:pt x="799" y="292"/>
                  <a:pt x="799" y="292"/>
                  <a:pt x="799" y="292"/>
                </a:cubicBezTo>
                <a:cubicBezTo>
                  <a:pt x="800" y="293"/>
                  <a:pt x="800" y="293"/>
                  <a:pt x="800" y="293"/>
                </a:cubicBezTo>
                <a:cubicBezTo>
                  <a:pt x="800" y="293"/>
                  <a:pt x="800" y="293"/>
                  <a:pt x="800" y="293"/>
                </a:cubicBezTo>
                <a:cubicBezTo>
                  <a:pt x="801" y="295"/>
                  <a:pt x="801" y="295"/>
                  <a:pt x="801" y="295"/>
                </a:cubicBezTo>
                <a:cubicBezTo>
                  <a:pt x="802" y="295"/>
                  <a:pt x="802" y="295"/>
                  <a:pt x="802" y="295"/>
                </a:cubicBezTo>
                <a:cubicBezTo>
                  <a:pt x="803" y="296"/>
                  <a:pt x="803" y="296"/>
                  <a:pt x="803" y="296"/>
                </a:cubicBezTo>
                <a:cubicBezTo>
                  <a:pt x="804" y="296"/>
                  <a:pt x="804" y="296"/>
                  <a:pt x="804" y="296"/>
                </a:cubicBezTo>
                <a:cubicBezTo>
                  <a:pt x="804" y="296"/>
                  <a:pt x="804" y="296"/>
                  <a:pt x="804" y="296"/>
                </a:cubicBezTo>
                <a:cubicBezTo>
                  <a:pt x="805" y="297"/>
                  <a:pt x="805" y="297"/>
                  <a:pt x="805" y="297"/>
                </a:cubicBezTo>
                <a:cubicBezTo>
                  <a:pt x="807" y="297"/>
                  <a:pt x="807" y="297"/>
                  <a:pt x="807" y="297"/>
                </a:cubicBezTo>
                <a:cubicBezTo>
                  <a:pt x="807" y="297"/>
                  <a:pt x="807" y="297"/>
                  <a:pt x="807" y="297"/>
                </a:cubicBezTo>
                <a:cubicBezTo>
                  <a:pt x="806" y="295"/>
                  <a:pt x="806" y="295"/>
                  <a:pt x="806" y="295"/>
                </a:cubicBezTo>
                <a:cubicBezTo>
                  <a:pt x="805" y="295"/>
                  <a:pt x="805" y="295"/>
                  <a:pt x="805" y="295"/>
                </a:cubicBezTo>
                <a:cubicBezTo>
                  <a:pt x="803" y="294"/>
                  <a:pt x="803" y="294"/>
                  <a:pt x="803" y="294"/>
                </a:cubicBezTo>
                <a:cubicBezTo>
                  <a:pt x="803" y="293"/>
                  <a:pt x="803" y="293"/>
                  <a:pt x="803" y="293"/>
                </a:cubicBezTo>
                <a:cubicBezTo>
                  <a:pt x="802" y="292"/>
                  <a:pt x="802" y="292"/>
                  <a:pt x="802" y="292"/>
                </a:cubicBezTo>
                <a:cubicBezTo>
                  <a:pt x="801" y="291"/>
                  <a:pt x="801" y="291"/>
                  <a:pt x="801" y="291"/>
                </a:cubicBezTo>
                <a:cubicBezTo>
                  <a:pt x="801" y="290"/>
                  <a:pt x="801" y="290"/>
                  <a:pt x="801" y="290"/>
                </a:cubicBezTo>
                <a:cubicBezTo>
                  <a:pt x="801" y="290"/>
                  <a:pt x="801" y="290"/>
                  <a:pt x="801" y="290"/>
                </a:cubicBezTo>
                <a:cubicBezTo>
                  <a:pt x="800" y="290"/>
                  <a:pt x="800" y="290"/>
                  <a:pt x="800" y="290"/>
                </a:cubicBezTo>
                <a:cubicBezTo>
                  <a:pt x="799" y="290"/>
                  <a:pt x="799" y="290"/>
                  <a:pt x="799" y="290"/>
                </a:cubicBezTo>
                <a:cubicBezTo>
                  <a:pt x="798" y="290"/>
                  <a:pt x="798" y="290"/>
                  <a:pt x="798" y="290"/>
                </a:cubicBezTo>
                <a:cubicBezTo>
                  <a:pt x="797" y="291"/>
                  <a:pt x="797" y="291"/>
                  <a:pt x="797" y="291"/>
                </a:cubicBezTo>
                <a:cubicBezTo>
                  <a:pt x="797" y="292"/>
                  <a:pt x="797" y="292"/>
                  <a:pt x="797" y="292"/>
                </a:cubicBezTo>
                <a:close/>
                <a:moveTo>
                  <a:pt x="766" y="357"/>
                </a:moveTo>
                <a:cubicBezTo>
                  <a:pt x="767" y="357"/>
                  <a:pt x="767" y="357"/>
                  <a:pt x="767" y="357"/>
                </a:cubicBezTo>
                <a:cubicBezTo>
                  <a:pt x="767" y="356"/>
                  <a:pt x="767" y="356"/>
                  <a:pt x="767" y="356"/>
                </a:cubicBezTo>
                <a:cubicBezTo>
                  <a:pt x="767" y="355"/>
                  <a:pt x="767" y="355"/>
                  <a:pt x="767" y="355"/>
                </a:cubicBezTo>
                <a:cubicBezTo>
                  <a:pt x="766" y="354"/>
                  <a:pt x="766" y="354"/>
                  <a:pt x="766" y="354"/>
                </a:cubicBezTo>
                <a:cubicBezTo>
                  <a:pt x="766" y="355"/>
                  <a:pt x="766" y="355"/>
                  <a:pt x="766" y="355"/>
                </a:cubicBezTo>
                <a:cubicBezTo>
                  <a:pt x="766" y="356"/>
                  <a:pt x="766" y="356"/>
                  <a:pt x="766" y="356"/>
                </a:cubicBezTo>
                <a:cubicBezTo>
                  <a:pt x="766" y="357"/>
                  <a:pt x="766" y="357"/>
                  <a:pt x="766" y="357"/>
                </a:cubicBezTo>
                <a:close/>
                <a:moveTo>
                  <a:pt x="760" y="355"/>
                </a:moveTo>
                <a:cubicBezTo>
                  <a:pt x="760" y="356"/>
                  <a:pt x="760" y="356"/>
                  <a:pt x="760" y="356"/>
                </a:cubicBezTo>
                <a:cubicBezTo>
                  <a:pt x="760" y="356"/>
                  <a:pt x="760" y="356"/>
                  <a:pt x="760" y="356"/>
                </a:cubicBezTo>
                <a:cubicBezTo>
                  <a:pt x="762" y="356"/>
                  <a:pt x="762" y="356"/>
                  <a:pt x="762" y="356"/>
                </a:cubicBezTo>
                <a:cubicBezTo>
                  <a:pt x="762" y="355"/>
                  <a:pt x="762" y="355"/>
                  <a:pt x="762" y="355"/>
                </a:cubicBezTo>
                <a:cubicBezTo>
                  <a:pt x="761" y="354"/>
                  <a:pt x="761" y="354"/>
                  <a:pt x="761" y="354"/>
                </a:cubicBezTo>
                <a:cubicBezTo>
                  <a:pt x="760" y="355"/>
                  <a:pt x="760" y="355"/>
                  <a:pt x="760" y="355"/>
                </a:cubicBezTo>
                <a:close/>
                <a:moveTo>
                  <a:pt x="763" y="365"/>
                </a:moveTo>
                <a:cubicBezTo>
                  <a:pt x="764" y="365"/>
                  <a:pt x="764" y="365"/>
                  <a:pt x="764" y="365"/>
                </a:cubicBezTo>
                <a:cubicBezTo>
                  <a:pt x="764" y="364"/>
                  <a:pt x="764" y="364"/>
                  <a:pt x="764" y="364"/>
                </a:cubicBezTo>
                <a:cubicBezTo>
                  <a:pt x="764" y="363"/>
                  <a:pt x="764" y="363"/>
                  <a:pt x="764" y="363"/>
                </a:cubicBezTo>
                <a:cubicBezTo>
                  <a:pt x="765" y="363"/>
                  <a:pt x="765" y="363"/>
                  <a:pt x="765" y="363"/>
                </a:cubicBezTo>
                <a:cubicBezTo>
                  <a:pt x="766" y="361"/>
                  <a:pt x="766" y="361"/>
                  <a:pt x="766" y="361"/>
                </a:cubicBezTo>
                <a:cubicBezTo>
                  <a:pt x="766" y="360"/>
                  <a:pt x="766" y="360"/>
                  <a:pt x="766" y="360"/>
                </a:cubicBezTo>
                <a:cubicBezTo>
                  <a:pt x="766" y="359"/>
                  <a:pt x="766" y="359"/>
                  <a:pt x="766" y="359"/>
                </a:cubicBezTo>
                <a:cubicBezTo>
                  <a:pt x="767" y="358"/>
                  <a:pt x="767" y="358"/>
                  <a:pt x="767" y="358"/>
                </a:cubicBezTo>
                <a:cubicBezTo>
                  <a:pt x="766" y="357"/>
                  <a:pt x="766" y="357"/>
                  <a:pt x="766" y="357"/>
                </a:cubicBezTo>
                <a:cubicBezTo>
                  <a:pt x="764" y="356"/>
                  <a:pt x="764" y="356"/>
                  <a:pt x="764" y="356"/>
                </a:cubicBezTo>
                <a:cubicBezTo>
                  <a:pt x="764" y="357"/>
                  <a:pt x="764" y="357"/>
                  <a:pt x="764" y="357"/>
                </a:cubicBezTo>
                <a:cubicBezTo>
                  <a:pt x="764" y="359"/>
                  <a:pt x="764" y="359"/>
                  <a:pt x="764" y="359"/>
                </a:cubicBezTo>
                <a:cubicBezTo>
                  <a:pt x="764" y="360"/>
                  <a:pt x="764" y="360"/>
                  <a:pt x="764" y="360"/>
                </a:cubicBezTo>
                <a:cubicBezTo>
                  <a:pt x="763" y="360"/>
                  <a:pt x="763" y="360"/>
                  <a:pt x="763" y="360"/>
                </a:cubicBezTo>
                <a:cubicBezTo>
                  <a:pt x="762" y="362"/>
                  <a:pt x="762" y="362"/>
                  <a:pt x="762" y="362"/>
                </a:cubicBezTo>
                <a:cubicBezTo>
                  <a:pt x="761" y="362"/>
                  <a:pt x="761" y="362"/>
                  <a:pt x="761" y="362"/>
                </a:cubicBezTo>
                <a:cubicBezTo>
                  <a:pt x="761" y="362"/>
                  <a:pt x="761" y="362"/>
                  <a:pt x="761" y="362"/>
                </a:cubicBezTo>
                <a:cubicBezTo>
                  <a:pt x="762" y="363"/>
                  <a:pt x="762" y="363"/>
                  <a:pt x="762" y="363"/>
                </a:cubicBezTo>
                <a:cubicBezTo>
                  <a:pt x="762" y="364"/>
                  <a:pt x="762" y="364"/>
                  <a:pt x="762" y="364"/>
                </a:cubicBezTo>
                <a:cubicBezTo>
                  <a:pt x="761" y="364"/>
                  <a:pt x="761" y="364"/>
                  <a:pt x="761" y="364"/>
                </a:cubicBezTo>
                <a:cubicBezTo>
                  <a:pt x="762" y="365"/>
                  <a:pt x="762" y="365"/>
                  <a:pt x="762" y="365"/>
                </a:cubicBezTo>
                <a:cubicBezTo>
                  <a:pt x="763" y="365"/>
                  <a:pt x="763" y="365"/>
                  <a:pt x="763" y="365"/>
                </a:cubicBezTo>
                <a:cubicBezTo>
                  <a:pt x="763" y="365"/>
                  <a:pt x="763" y="365"/>
                  <a:pt x="763" y="365"/>
                </a:cubicBezTo>
                <a:close/>
                <a:moveTo>
                  <a:pt x="762" y="373"/>
                </a:moveTo>
                <a:cubicBezTo>
                  <a:pt x="762" y="373"/>
                  <a:pt x="763" y="372"/>
                  <a:pt x="763" y="372"/>
                </a:cubicBezTo>
                <a:cubicBezTo>
                  <a:pt x="762" y="371"/>
                  <a:pt x="762" y="371"/>
                  <a:pt x="762" y="371"/>
                </a:cubicBezTo>
                <a:cubicBezTo>
                  <a:pt x="762" y="370"/>
                  <a:pt x="762" y="370"/>
                  <a:pt x="762" y="370"/>
                </a:cubicBezTo>
                <a:cubicBezTo>
                  <a:pt x="762" y="370"/>
                  <a:pt x="762" y="370"/>
                  <a:pt x="762" y="370"/>
                </a:cubicBezTo>
                <a:cubicBezTo>
                  <a:pt x="762" y="371"/>
                  <a:pt x="762" y="371"/>
                  <a:pt x="762" y="371"/>
                </a:cubicBezTo>
                <a:cubicBezTo>
                  <a:pt x="761" y="372"/>
                  <a:pt x="761" y="372"/>
                  <a:pt x="761" y="372"/>
                </a:cubicBezTo>
                <a:cubicBezTo>
                  <a:pt x="762" y="373"/>
                  <a:pt x="762" y="373"/>
                  <a:pt x="762" y="373"/>
                </a:cubicBezTo>
                <a:close/>
                <a:moveTo>
                  <a:pt x="762" y="376"/>
                </a:moveTo>
                <a:cubicBezTo>
                  <a:pt x="763" y="375"/>
                  <a:pt x="763" y="375"/>
                  <a:pt x="763" y="375"/>
                </a:cubicBezTo>
                <a:cubicBezTo>
                  <a:pt x="763" y="375"/>
                  <a:pt x="763" y="375"/>
                  <a:pt x="763" y="375"/>
                </a:cubicBezTo>
                <a:cubicBezTo>
                  <a:pt x="762" y="374"/>
                  <a:pt x="762" y="374"/>
                  <a:pt x="762" y="374"/>
                </a:cubicBezTo>
                <a:cubicBezTo>
                  <a:pt x="762" y="374"/>
                  <a:pt x="762" y="374"/>
                  <a:pt x="762" y="374"/>
                </a:cubicBezTo>
                <a:cubicBezTo>
                  <a:pt x="762" y="375"/>
                  <a:pt x="762" y="375"/>
                  <a:pt x="762" y="375"/>
                </a:cubicBezTo>
                <a:cubicBezTo>
                  <a:pt x="762" y="376"/>
                  <a:pt x="762" y="376"/>
                  <a:pt x="762" y="376"/>
                </a:cubicBezTo>
                <a:close/>
                <a:moveTo>
                  <a:pt x="760" y="377"/>
                </a:moveTo>
                <a:cubicBezTo>
                  <a:pt x="761" y="377"/>
                  <a:pt x="761" y="377"/>
                  <a:pt x="761" y="377"/>
                </a:cubicBezTo>
                <a:cubicBezTo>
                  <a:pt x="760" y="377"/>
                  <a:pt x="760" y="377"/>
                  <a:pt x="760" y="377"/>
                </a:cubicBezTo>
                <a:cubicBezTo>
                  <a:pt x="760" y="377"/>
                  <a:pt x="760" y="377"/>
                  <a:pt x="760" y="377"/>
                </a:cubicBezTo>
                <a:cubicBezTo>
                  <a:pt x="760" y="377"/>
                  <a:pt x="760" y="377"/>
                  <a:pt x="760" y="377"/>
                </a:cubicBezTo>
                <a:cubicBezTo>
                  <a:pt x="760" y="377"/>
                  <a:pt x="760" y="377"/>
                  <a:pt x="760" y="377"/>
                </a:cubicBezTo>
                <a:close/>
                <a:moveTo>
                  <a:pt x="761" y="380"/>
                </a:moveTo>
                <a:cubicBezTo>
                  <a:pt x="761" y="380"/>
                  <a:pt x="761" y="380"/>
                  <a:pt x="761" y="380"/>
                </a:cubicBezTo>
                <a:cubicBezTo>
                  <a:pt x="762" y="379"/>
                  <a:pt x="762" y="379"/>
                  <a:pt x="762" y="379"/>
                </a:cubicBezTo>
                <a:cubicBezTo>
                  <a:pt x="762" y="378"/>
                  <a:pt x="762" y="378"/>
                  <a:pt x="762" y="378"/>
                </a:cubicBezTo>
                <a:cubicBezTo>
                  <a:pt x="762" y="378"/>
                  <a:pt x="762" y="378"/>
                  <a:pt x="762" y="378"/>
                </a:cubicBezTo>
                <a:cubicBezTo>
                  <a:pt x="761" y="379"/>
                  <a:pt x="761" y="379"/>
                  <a:pt x="761" y="379"/>
                </a:cubicBezTo>
                <a:cubicBezTo>
                  <a:pt x="761" y="380"/>
                  <a:pt x="761" y="380"/>
                  <a:pt x="761" y="380"/>
                </a:cubicBezTo>
                <a:close/>
                <a:moveTo>
                  <a:pt x="759" y="388"/>
                </a:moveTo>
                <a:cubicBezTo>
                  <a:pt x="760" y="388"/>
                  <a:pt x="760" y="388"/>
                  <a:pt x="760" y="388"/>
                </a:cubicBezTo>
                <a:cubicBezTo>
                  <a:pt x="759" y="387"/>
                  <a:pt x="759" y="387"/>
                  <a:pt x="759" y="387"/>
                </a:cubicBezTo>
                <a:cubicBezTo>
                  <a:pt x="759" y="387"/>
                  <a:pt x="759" y="387"/>
                  <a:pt x="759" y="387"/>
                </a:cubicBezTo>
                <a:cubicBezTo>
                  <a:pt x="759" y="388"/>
                  <a:pt x="759" y="388"/>
                  <a:pt x="759" y="388"/>
                </a:cubicBezTo>
                <a:close/>
                <a:moveTo>
                  <a:pt x="759" y="392"/>
                </a:moveTo>
                <a:cubicBezTo>
                  <a:pt x="759" y="391"/>
                  <a:pt x="759" y="391"/>
                  <a:pt x="759" y="391"/>
                </a:cubicBezTo>
                <a:cubicBezTo>
                  <a:pt x="759" y="391"/>
                  <a:pt x="759" y="391"/>
                  <a:pt x="759" y="391"/>
                </a:cubicBezTo>
                <a:cubicBezTo>
                  <a:pt x="759" y="391"/>
                  <a:pt x="759" y="391"/>
                  <a:pt x="759" y="391"/>
                </a:cubicBezTo>
                <a:cubicBezTo>
                  <a:pt x="759" y="392"/>
                  <a:pt x="759" y="392"/>
                  <a:pt x="759" y="392"/>
                </a:cubicBezTo>
                <a:close/>
                <a:moveTo>
                  <a:pt x="759" y="393"/>
                </a:moveTo>
                <a:cubicBezTo>
                  <a:pt x="759" y="394"/>
                  <a:pt x="759" y="394"/>
                  <a:pt x="759" y="394"/>
                </a:cubicBezTo>
                <a:cubicBezTo>
                  <a:pt x="759" y="393"/>
                  <a:pt x="759" y="393"/>
                  <a:pt x="759" y="393"/>
                </a:cubicBezTo>
                <a:cubicBezTo>
                  <a:pt x="759" y="393"/>
                  <a:pt x="759" y="393"/>
                  <a:pt x="759" y="393"/>
                </a:cubicBezTo>
                <a:close/>
                <a:moveTo>
                  <a:pt x="758" y="396"/>
                </a:moveTo>
                <a:cubicBezTo>
                  <a:pt x="758" y="396"/>
                  <a:pt x="758" y="396"/>
                  <a:pt x="758" y="396"/>
                </a:cubicBezTo>
                <a:cubicBezTo>
                  <a:pt x="758" y="396"/>
                  <a:pt x="758" y="396"/>
                  <a:pt x="758" y="396"/>
                </a:cubicBezTo>
                <a:cubicBezTo>
                  <a:pt x="758" y="395"/>
                  <a:pt x="758" y="395"/>
                  <a:pt x="758" y="395"/>
                </a:cubicBezTo>
                <a:cubicBezTo>
                  <a:pt x="758" y="395"/>
                  <a:pt x="758" y="395"/>
                  <a:pt x="758" y="395"/>
                </a:cubicBezTo>
                <a:cubicBezTo>
                  <a:pt x="758" y="396"/>
                  <a:pt x="758" y="396"/>
                  <a:pt x="758" y="396"/>
                </a:cubicBezTo>
                <a:close/>
                <a:moveTo>
                  <a:pt x="757" y="401"/>
                </a:moveTo>
                <a:cubicBezTo>
                  <a:pt x="757" y="400"/>
                  <a:pt x="757" y="400"/>
                  <a:pt x="757" y="400"/>
                </a:cubicBezTo>
                <a:cubicBezTo>
                  <a:pt x="757" y="398"/>
                  <a:pt x="757" y="398"/>
                  <a:pt x="757" y="398"/>
                </a:cubicBezTo>
                <a:cubicBezTo>
                  <a:pt x="757" y="398"/>
                  <a:pt x="757" y="398"/>
                  <a:pt x="757" y="398"/>
                </a:cubicBezTo>
                <a:cubicBezTo>
                  <a:pt x="757" y="399"/>
                  <a:pt x="757" y="399"/>
                  <a:pt x="757" y="399"/>
                </a:cubicBezTo>
                <a:cubicBezTo>
                  <a:pt x="756" y="401"/>
                  <a:pt x="756" y="401"/>
                  <a:pt x="756" y="401"/>
                </a:cubicBezTo>
                <a:cubicBezTo>
                  <a:pt x="757" y="401"/>
                  <a:pt x="757" y="401"/>
                  <a:pt x="757" y="401"/>
                </a:cubicBezTo>
                <a:close/>
                <a:moveTo>
                  <a:pt x="746" y="415"/>
                </a:moveTo>
                <a:cubicBezTo>
                  <a:pt x="746" y="415"/>
                  <a:pt x="746" y="415"/>
                  <a:pt x="746" y="415"/>
                </a:cubicBezTo>
                <a:cubicBezTo>
                  <a:pt x="748" y="414"/>
                  <a:pt x="748" y="414"/>
                  <a:pt x="748" y="414"/>
                </a:cubicBezTo>
                <a:cubicBezTo>
                  <a:pt x="749" y="412"/>
                  <a:pt x="749" y="412"/>
                  <a:pt x="749" y="412"/>
                </a:cubicBezTo>
                <a:cubicBezTo>
                  <a:pt x="749" y="412"/>
                  <a:pt x="749" y="412"/>
                  <a:pt x="749" y="412"/>
                </a:cubicBezTo>
                <a:cubicBezTo>
                  <a:pt x="749" y="411"/>
                  <a:pt x="749" y="411"/>
                  <a:pt x="749" y="411"/>
                </a:cubicBezTo>
                <a:cubicBezTo>
                  <a:pt x="750" y="409"/>
                  <a:pt x="750" y="409"/>
                  <a:pt x="750" y="409"/>
                </a:cubicBezTo>
                <a:cubicBezTo>
                  <a:pt x="751" y="408"/>
                  <a:pt x="751" y="408"/>
                  <a:pt x="751" y="408"/>
                </a:cubicBezTo>
                <a:cubicBezTo>
                  <a:pt x="750" y="408"/>
                  <a:pt x="750" y="408"/>
                  <a:pt x="750" y="408"/>
                </a:cubicBezTo>
                <a:cubicBezTo>
                  <a:pt x="749" y="408"/>
                  <a:pt x="749" y="408"/>
                  <a:pt x="749" y="408"/>
                </a:cubicBezTo>
                <a:cubicBezTo>
                  <a:pt x="749" y="409"/>
                  <a:pt x="749" y="409"/>
                  <a:pt x="749" y="409"/>
                </a:cubicBezTo>
                <a:cubicBezTo>
                  <a:pt x="748" y="410"/>
                  <a:pt x="748" y="410"/>
                  <a:pt x="748" y="410"/>
                </a:cubicBezTo>
                <a:cubicBezTo>
                  <a:pt x="748" y="411"/>
                  <a:pt x="748" y="411"/>
                  <a:pt x="748" y="411"/>
                </a:cubicBezTo>
                <a:cubicBezTo>
                  <a:pt x="747" y="411"/>
                  <a:pt x="747" y="411"/>
                  <a:pt x="747" y="411"/>
                </a:cubicBezTo>
                <a:cubicBezTo>
                  <a:pt x="747" y="412"/>
                  <a:pt x="747" y="412"/>
                  <a:pt x="747" y="412"/>
                </a:cubicBezTo>
                <a:cubicBezTo>
                  <a:pt x="746" y="413"/>
                  <a:pt x="746" y="413"/>
                  <a:pt x="746" y="413"/>
                </a:cubicBezTo>
                <a:cubicBezTo>
                  <a:pt x="746" y="415"/>
                  <a:pt x="746" y="415"/>
                  <a:pt x="746" y="415"/>
                </a:cubicBezTo>
                <a:close/>
                <a:moveTo>
                  <a:pt x="734" y="429"/>
                </a:moveTo>
                <a:cubicBezTo>
                  <a:pt x="735" y="429"/>
                  <a:pt x="735" y="429"/>
                  <a:pt x="735" y="429"/>
                </a:cubicBezTo>
                <a:cubicBezTo>
                  <a:pt x="735" y="427"/>
                  <a:pt x="735" y="427"/>
                  <a:pt x="735" y="427"/>
                </a:cubicBezTo>
                <a:cubicBezTo>
                  <a:pt x="736" y="427"/>
                  <a:pt x="736" y="427"/>
                  <a:pt x="736" y="427"/>
                </a:cubicBezTo>
                <a:cubicBezTo>
                  <a:pt x="736" y="425"/>
                  <a:pt x="736" y="425"/>
                  <a:pt x="736" y="425"/>
                </a:cubicBezTo>
                <a:cubicBezTo>
                  <a:pt x="736" y="424"/>
                  <a:pt x="736" y="424"/>
                  <a:pt x="736" y="424"/>
                </a:cubicBezTo>
                <a:cubicBezTo>
                  <a:pt x="736" y="424"/>
                  <a:pt x="736" y="424"/>
                  <a:pt x="736" y="424"/>
                </a:cubicBezTo>
                <a:cubicBezTo>
                  <a:pt x="737" y="423"/>
                  <a:pt x="737" y="423"/>
                  <a:pt x="737" y="423"/>
                </a:cubicBezTo>
                <a:cubicBezTo>
                  <a:pt x="737" y="424"/>
                  <a:pt x="737" y="424"/>
                  <a:pt x="737" y="424"/>
                </a:cubicBezTo>
                <a:cubicBezTo>
                  <a:pt x="738" y="423"/>
                  <a:pt x="738" y="423"/>
                  <a:pt x="738" y="423"/>
                </a:cubicBezTo>
                <a:cubicBezTo>
                  <a:pt x="739" y="421"/>
                  <a:pt x="739" y="421"/>
                  <a:pt x="739" y="421"/>
                </a:cubicBezTo>
                <a:cubicBezTo>
                  <a:pt x="740" y="419"/>
                  <a:pt x="740" y="419"/>
                  <a:pt x="740" y="419"/>
                </a:cubicBezTo>
                <a:cubicBezTo>
                  <a:pt x="742" y="419"/>
                  <a:pt x="742" y="419"/>
                  <a:pt x="742" y="419"/>
                </a:cubicBezTo>
                <a:cubicBezTo>
                  <a:pt x="743" y="419"/>
                  <a:pt x="743" y="419"/>
                  <a:pt x="743" y="419"/>
                </a:cubicBezTo>
                <a:cubicBezTo>
                  <a:pt x="743" y="417"/>
                  <a:pt x="743" y="417"/>
                  <a:pt x="743" y="417"/>
                </a:cubicBezTo>
                <a:cubicBezTo>
                  <a:pt x="742" y="416"/>
                  <a:pt x="742" y="416"/>
                  <a:pt x="742" y="416"/>
                </a:cubicBezTo>
                <a:cubicBezTo>
                  <a:pt x="742" y="416"/>
                  <a:pt x="742" y="416"/>
                  <a:pt x="742" y="416"/>
                </a:cubicBezTo>
                <a:cubicBezTo>
                  <a:pt x="740" y="418"/>
                  <a:pt x="740" y="418"/>
                  <a:pt x="740" y="418"/>
                </a:cubicBezTo>
                <a:cubicBezTo>
                  <a:pt x="740" y="419"/>
                  <a:pt x="740" y="419"/>
                  <a:pt x="740" y="419"/>
                </a:cubicBezTo>
                <a:cubicBezTo>
                  <a:pt x="739" y="419"/>
                  <a:pt x="739" y="419"/>
                  <a:pt x="739" y="419"/>
                </a:cubicBezTo>
                <a:cubicBezTo>
                  <a:pt x="738" y="419"/>
                  <a:pt x="738" y="419"/>
                  <a:pt x="738" y="419"/>
                </a:cubicBezTo>
                <a:cubicBezTo>
                  <a:pt x="738" y="419"/>
                  <a:pt x="738" y="419"/>
                  <a:pt x="738" y="419"/>
                </a:cubicBezTo>
                <a:cubicBezTo>
                  <a:pt x="737" y="418"/>
                  <a:pt x="737" y="418"/>
                  <a:pt x="737" y="418"/>
                </a:cubicBezTo>
                <a:cubicBezTo>
                  <a:pt x="737" y="418"/>
                  <a:pt x="737" y="418"/>
                  <a:pt x="737" y="418"/>
                </a:cubicBezTo>
                <a:cubicBezTo>
                  <a:pt x="736" y="419"/>
                  <a:pt x="736" y="419"/>
                  <a:pt x="736" y="419"/>
                </a:cubicBezTo>
                <a:cubicBezTo>
                  <a:pt x="737" y="420"/>
                  <a:pt x="737" y="420"/>
                  <a:pt x="737" y="420"/>
                </a:cubicBezTo>
                <a:cubicBezTo>
                  <a:pt x="736" y="421"/>
                  <a:pt x="736" y="421"/>
                  <a:pt x="736" y="421"/>
                </a:cubicBezTo>
                <a:cubicBezTo>
                  <a:pt x="736" y="422"/>
                  <a:pt x="736" y="422"/>
                  <a:pt x="736" y="422"/>
                </a:cubicBezTo>
                <a:cubicBezTo>
                  <a:pt x="735" y="422"/>
                  <a:pt x="735" y="422"/>
                  <a:pt x="735" y="422"/>
                </a:cubicBezTo>
                <a:cubicBezTo>
                  <a:pt x="735" y="423"/>
                  <a:pt x="735" y="423"/>
                  <a:pt x="735" y="423"/>
                </a:cubicBezTo>
                <a:cubicBezTo>
                  <a:pt x="735" y="424"/>
                  <a:pt x="735" y="424"/>
                  <a:pt x="735" y="424"/>
                </a:cubicBezTo>
                <a:cubicBezTo>
                  <a:pt x="734" y="425"/>
                  <a:pt x="734" y="425"/>
                  <a:pt x="734" y="425"/>
                </a:cubicBezTo>
                <a:cubicBezTo>
                  <a:pt x="734" y="425"/>
                  <a:pt x="734" y="425"/>
                  <a:pt x="734" y="425"/>
                </a:cubicBezTo>
                <a:cubicBezTo>
                  <a:pt x="734" y="426"/>
                  <a:pt x="734" y="426"/>
                  <a:pt x="734" y="426"/>
                </a:cubicBezTo>
                <a:cubicBezTo>
                  <a:pt x="734" y="427"/>
                  <a:pt x="734" y="427"/>
                  <a:pt x="734" y="427"/>
                </a:cubicBezTo>
                <a:cubicBezTo>
                  <a:pt x="734" y="428"/>
                  <a:pt x="734" y="428"/>
                  <a:pt x="734" y="428"/>
                </a:cubicBezTo>
                <a:cubicBezTo>
                  <a:pt x="734" y="429"/>
                  <a:pt x="734" y="429"/>
                  <a:pt x="734" y="429"/>
                </a:cubicBezTo>
                <a:close/>
                <a:moveTo>
                  <a:pt x="729" y="437"/>
                </a:moveTo>
                <a:cubicBezTo>
                  <a:pt x="729" y="437"/>
                  <a:pt x="729" y="435"/>
                  <a:pt x="729" y="435"/>
                </a:cubicBezTo>
                <a:cubicBezTo>
                  <a:pt x="729" y="432"/>
                  <a:pt x="729" y="432"/>
                  <a:pt x="729" y="432"/>
                </a:cubicBezTo>
                <a:cubicBezTo>
                  <a:pt x="730" y="432"/>
                  <a:pt x="730" y="432"/>
                  <a:pt x="730" y="432"/>
                </a:cubicBezTo>
                <a:cubicBezTo>
                  <a:pt x="731" y="431"/>
                  <a:pt x="731" y="431"/>
                  <a:pt x="731" y="431"/>
                </a:cubicBezTo>
                <a:cubicBezTo>
                  <a:pt x="732" y="429"/>
                  <a:pt x="732" y="429"/>
                  <a:pt x="732" y="429"/>
                </a:cubicBezTo>
                <a:cubicBezTo>
                  <a:pt x="731" y="429"/>
                  <a:pt x="731" y="429"/>
                  <a:pt x="731" y="429"/>
                </a:cubicBezTo>
                <a:cubicBezTo>
                  <a:pt x="730" y="430"/>
                  <a:pt x="730" y="430"/>
                  <a:pt x="730" y="430"/>
                </a:cubicBezTo>
                <a:cubicBezTo>
                  <a:pt x="730" y="429"/>
                  <a:pt x="730" y="429"/>
                  <a:pt x="730" y="429"/>
                </a:cubicBezTo>
                <a:cubicBezTo>
                  <a:pt x="729" y="429"/>
                  <a:pt x="729" y="429"/>
                  <a:pt x="729" y="429"/>
                </a:cubicBezTo>
                <a:cubicBezTo>
                  <a:pt x="729" y="429"/>
                  <a:pt x="729" y="429"/>
                  <a:pt x="729" y="429"/>
                </a:cubicBezTo>
                <a:cubicBezTo>
                  <a:pt x="729" y="431"/>
                  <a:pt x="729" y="431"/>
                  <a:pt x="729" y="431"/>
                </a:cubicBezTo>
                <a:cubicBezTo>
                  <a:pt x="728" y="432"/>
                  <a:pt x="728" y="432"/>
                  <a:pt x="728" y="432"/>
                </a:cubicBezTo>
                <a:cubicBezTo>
                  <a:pt x="728" y="434"/>
                  <a:pt x="728" y="434"/>
                  <a:pt x="728" y="434"/>
                </a:cubicBezTo>
                <a:cubicBezTo>
                  <a:pt x="727" y="435"/>
                  <a:pt x="727" y="435"/>
                  <a:pt x="727" y="435"/>
                </a:cubicBezTo>
                <a:cubicBezTo>
                  <a:pt x="728" y="436"/>
                  <a:pt x="728" y="436"/>
                  <a:pt x="728" y="436"/>
                </a:cubicBezTo>
                <a:cubicBezTo>
                  <a:pt x="729" y="437"/>
                  <a:pt x="729" y="437"/>
                  <a:pt x="729" y="437"/>
                </a:cubicBezTo>
                <a:close/>
                <a:moveTo>
                  <a:pt x="12" y="336"/>
                </a:moveTo>
                <a:cubicBezTo>
                  <a:pt x="12" y="336"/>
                  <a:pt x="12" y="338"/>
                  <a:pt x="12" y="338"/>
                </a:cubicBezTo>
                <a:cubicBezTo>
                  <a:pt x="13" y="338"/>
                  <a:pt x="13" y="338"/>
                  <a:pt x="13" y="338"/>
                </a:cubicBezTo>
                <a:cubicBezTo>
                  <a:pt x="14" y="338"/>
                  <a:pt x="14" y="338"/>
                  <a:pt x="14" y="338"/>
                </a:cubicBezTo>
                <a:lnTo>
                  <a:pt x="12" y="336"/>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3" name="Freeform 11">
            <a:extLst>
              <a:ext uri="{FF2B5EF4-FFF2-40B4-BE49-F238E27FC236}">
                <a16:creationId xmlns:a16="http://schemas.microsoft.com/office/drawing/2014/main" id="{A68A33BC-805A-43A2-D736-D3A89A662200}"/>
              </a:ext>
            </a:extLst>
          </p:cNvPr>
          <p:cNvSpPr>
            <a:spLocks noEditPoints="1"/>
          </p:cNvSpPr>
          <p:nvPr userDrawn="1"/>
        </p:nvSpPr>
        <p:spPr bwMode="auto">
          <a:xfrm>
            <a:off x="16940696" y="5184056"/>
            <a:ext cx="4066911" cy="3000376"/>
          </a:xfrm>
          <a:custGeom>
            <a:avLst/>
            <a:gdLst>
              <a:gd name="T0" fmla="*/ 306 w 410"/>
              <a:gd name="T1" fmla="*/ 40 h 302"/>
              <a:gd name="T2" fmla="*/ 309 w 410"/>
              <a:gd name="T3" fmla="*/ 29 h 302"/>
              <a:gd name="T4" fmla="*/ 310 w 410"/>
              <a:gd name="T5" fmla="*/ 14 h 302"/>
              <a:gd name="T6" fmla="*/ 307 w 410"/>
              <a:gd name="T7" fmla="*/ 5 h 302"/>
              <a:gd name="T8" fmla="*/ 320 w 410"/>
              <a:gd name="T9" fmla="*/ 0 h 302"/>
              <a:gd name="T10" fmla="*/ 332 w 410"/>
              <a:gd name="T11" fmla="*/ 2 h 302"/>
              <a:gd name="T12" fmla="*/ 339 w 410"/>
              <a:gd name="T13" fmla="*/ 6 h 302"/>
              <a:gd name="T14" fmla="*/ 345 w 410"/>
              <a:gd name="T15" fmla="*/ 14 h 302"/>
              <a:gd name="T16" fmla="*/ 355 w 410"/>
              <a:gd name="T17" fmla="*/ 25 h 302"/>
              <a:gd name="T18" fmla="*/ 363 w 410"/>
              <a:gd name="T19" fmla="*/ 36 h 302"/>
              <a:gd name="T20" fmla="*/ 371 w 410"/>
              <a:gd name="T21" fmla="*/ 37 h 302"/>
              <a:gd name="T22" fmla="*/ 380 w 410"/>
              <a:gd name="T23" fmla="*/ 43 h 302"/>
              <a:gd name="T24" fmla="*/ 383 w 410"/>
              <a:gd name="T25" fmla="*/ 50 h 302"/>
              <a:gd name="T26" fmla="*/ 395 w 410"/>
              <a:gd name="T27" fmla="*/ 52 h 302"/>
              <a:gd name="T28" fmla="*/ 403 w 410"/>
              <a:gd name="T29" fmla="*/ 44 h 302"/>
              <a:gd name="T30" fmla="*/ 408 w 410"/>
              <a:gd name="T31" fmla="*/ 54 h 302"/>
              <a:gd name="T32" fmla="*/ 409 w 410"/>
              <a:gd name="T33" fmla="*/ 65 h 302"/>
              <a:gd name="T34" fmla="*/ 408 w 410"/>
              <a:gd name="T35" fmla="*/ 74 h 302"/>
              <a:gd name="T36" fmla="*/ 397 w 410"/>
              <a:gd name="T37" fmla="*/ 80 h 302"/>
              <a:gd name="T38" fmla="*/ 401 w 410"/>
              <a:gd name="T39" fmla="*/ 96 h 302"/>
              <a:gd name="T40" fmla="*/ 370 w 410"/>
              <a:gd name="T41" fmla="*/ 131 h 302"/>
              <a:gd name="T42" fmla="*/ 355 w 410"/>
              <a:gd name="T43" fmla="*/ 140 h 302"/>
              <a:gd name="T44" fmla="*/ 355 w 410"/>
              <a:gd name="T45" fmla="*/ 136 h 302"/>
              <a:gd name="T46" fmla="*/ 355 w 410"/>
              <a:gd name="T47" fmla="*/ 126 h 302"/>
              <a:gd name="T48" fmla="*/ 341 w 410"/>
              <a:gd name="T49" fmla="*/ 131 h 302"/>
              <a:gd name="T50" fmla="*/ 330 w 410"/>
              <a:gd name="T51" fmla="*/ 142 h 302"/>
              <a:gd name="T52" fmla="*/ 339 w 410"/>
              <a:gd name="T53" fmla="*/ 150 h 302"/>
              <a:gd name="T54" fmla="*/ 349 w 410"/>
              <a:gd name="T55" fmla="*/ 151 h 302"/>
              <a:gd name="T56" fmla="*/ 363 w 410"/>
              <a:gd name="T57" fmla="*/ 153 h 302"/>
              <a:gd name="T58" fmla="*/ 355 w 410"/>
              <a:gd name="T59" fmla="*/ 159 h 302"/>
              <a:gd name="T60" fmla="*/ 348 w 410"/>
              <a:gd name="T61" fmla="*/ 169 h 302"/>
              <a:gd name="T62" fmla="*/ 358 w 410"/>
              <a:gd name="T63" fmla="*/ 188 h 302"/>
              <a:gd name="T64" fmla="*/ 361 w 410"/>
              <a:gd name="T65" fmla="*/ 199 h 302"/>
              <a:gd name="T66" fmla="*/ 350 w 410"/>
              <a:gd name="T67" fmla="*/ 197 h 302"/>
              <a:gd name="T68" fmla="*/ 366 w 410"/>
              <a:gd name="T69" fmla="*/ 209 h 302"/>
              <a:gd name="T70" fmla="*/ 366 w 410"/>
              <a:gd name="T71" fmla="*/ 212 h 302"/>
              <a:gd name="T72" fmla="*/ 371 w 410"/>
              <a:gd name="T73" fmla="*/ 217 h 302"/>
              <a:gd name="T74" fmla="*/ 370 w 410"/>
              <a:gd name="T75" fmla="*/ 223 h 302"/>
              <a:gd name="T76" fmla="*/ 367 w 410"/>
              <a:gd name="T77" fmla="*/ 230 h 302"/>
              <a:gd name="T78" fmla="*/ 365 w 410"/>
              <a:gd name="T79" fmla="*/ 238 h 302"/>
              <a:gd name="T80" fmla="*/ 361 w 410"/>
              <a:gd name="T81" fmla="*/ 243 h 302"/>
              <a:gd name="T82" fmla="*/ 361 w 410"/>
              <a:gd name="T83" fmla="*/ 250 h 302"/>
              <a:gd name="T84" fmla="*/ 357 w 410"/>
              <a:gd name="T85" fmla="*/ 252 h 302"/>
              <a:gd name="T86" fmla="*/ 353 w 410"/>
              <a:gd name="T87" fmla="*/ 259 h 302"/>
              <a:gd name="T88" fmla="*/ 348 w 410"/>
              <a:gd name="T89" fmla="*/ 263 h 302"/>
              <a:gd name="T90" fmla="*/ 341 w 410"/>
              <a:gd name="T91" fmla="*/ 270 h 302"/>
              <a:gd name="T92" fmla="*/ 331 w 410"/>
              <a:gd name="T93" fmla="*/ 273 h 302"/>
              <a:gd name="T94" fmla="*/ 325 w 410"/>
              <a:gd name="T95" fmla="*/ 275 h 302"/>
              <a:gd name="T96" fmla="*/ 313 w 410"/>
              <a:gd name="T97" fmla="*/ 280 h 302"/>
              <a:gd name="T98" fmla="*/ 309 w 410"/>
              <a:gd name="T99" fmla="*/ 282 h 302"/>
              <a:gd name="T100" fmla="*/ 306 w 410"/>
              <a:gd name="T101" fmla="*/ 287 h 302"/>
              <a:gd name="T102" fmla="*/ 299 w 410"/>
              <a:gd name="T103" fmla="*/ 279 h 302"/>
              <a:gd name="T104" fmla="*/ 252 w 410"/>
              <a:gd name="T105" fmla="*/ 285 h 302"/>
              <a:gd name="T106" fmla="*/ 348 w 410"/>
              <a:gd name="T107" fmla="*/ 265 h 302"/>
              <a:gd name="T108" fmla="*/ 365 w 410"/>
              <a:gd name="T109" fmla="*/ 200 h 302"/>
              <a:gd name="T110" fmla="*/ 375 w 410"/>
              <a:gd name="T111" fmla="*/ 270 h 302"/>
              <a:gd name="T112" fmla="*/ 376 w 410"/>
              <a:gd name="T113" fmla="*/ 250 h 302"/>
              <a:gd name="T114" fmla="*/ 368 w 410"/>
              <a:gd name="T115" fmla="*/ 267 h 302"/>
              <a:gd name="T116" fmla="*/ 312 w 410"/>
              <a:gd name="T117" fmla="*/ 284 h 302"/>
              <a:gd name="T118" fmla="*/ 300 w 410"/>
              <a:gd name="T119" fmla="*/ 298 h 302"/>
              <a:gd name="T120" fmla="*/ 312 w 410"/>
              <a:gd name="T121" fmla="*/ 29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0" h="302">
                <a:moveTo>
                  <a:pt x="124" y="64"/>
                </a:moveTo>
                <a:cubicBezTo>
                  <a:pt x="126" y="64"/>
                  <a:pt x="126" y="64"/>
                  <a:pt x="126" y="64"/>
                </a:cubicBezTo>
                <a:cubicBezTo>
                  <a:pt x="127" y="65"/>
                  <a:pt x="127" y="65"/>
                  <a:pt x="127" y="65"/>
                </a:cubicBezTo>
                <a:cubicBezTo>
                  <a:pt x="128" y="65"/>
                  <a:pt x="128" y="65"/>
                  <a:pt x="128" y="65"/>
                </a:cubicBezTo>
                <a:cubicBezTo>
                  <a:pt x="184" y="66"/>
                  <a:pt x="184" y="66"/>
                  <a:pt x="184" y="66"/>
                </a:cubicBezTo>
                <a:cubicBezTo>
                  <a:pt x="282" y="56"/>
                  <a:pt x="282" y="56"/>
                  <a:pt x="282" y="56"/>
                </a:cubicBezTo>
                <a:cubicBezTo>
                  <a:pt x="294" y="43"/>
                  <a:pt x="294" y="43"/>
                  <a:pt x="294" y="43"/>
                </a:cubicBezTo>
                <a:cubicBezTo>
                  <a:pt x="297" y="42"/>
                  <a:pt x="297" y="42"/>
                  <a:pt x="297" y="42"/>
                </a:cubicBezTo>
                <a:cubicBezTo>
                  <a:pt x="298" y="42"/>
                  <a:pt x="298" y="42"/>
                  <a:pt x="298" y="42"/>
                </a:cubicBezTo>
                <a:cubicBezTo>
                  <a:pt x="298" y="43"/>
                  <a:pt x="298" y="43"/>
                  <a:pt x="298" y="43"/>
                </a:cubicBezTo>
                <a:cubicBezTo>
                  <a:pt x="299" y="42"/>
                  <a:pt x="299" y="42"/>
                  <a:pt x="299" y="42"/>
                </a:cubicBezTo>
                <a:cubicBezTo>
                  <a:pt x="301" y="43"/>
                  <a:pt x="301" y="43"/>
                  <a:pt x="301" y="43"/>
                </a:cubicBezTo>
                <a:cubicBezTo>
                  <a:pt x="302" y="43"/>
                  <a:pt x="302" y="43"/>
                  <a:pt x="302" y="43"/>
                </a:cubicBezTo>
                <a:cubicBezTo>
                  <a:pt x="303" y="43"/>
                  <a:pt x="303" y="43"/>
                  <a:pt x="303" y="43"/>
                </a:cubicBezTo>
                <a:cubicBezTo>
                  <a:pt x="306" y="40"/>
                  <a:pt x="306" y="40"/>
                  <a:pt x="306" y="40"/>
                </a:cubicBezTo>
                <a:cubicBezTo>
                  <a:pt x="307" y="39"/>
                  <a:pt x="307" y="39"/>
                  <a:pt x="307" y="39"/>
                </a:cubicBezTo>
                <a:cubicBezTo>
                  <a:pt x="309" y="39"/>
                  <a:pt x="309" y="39"/>
                  <a:pt x="309" y="39"/>
                </a:cubicBezTo>
                <a:cubicBezTo>
                  <a:pt x="310" y="38"/>
                  <a:pt x="310" y="38"/>
                  <a:pt x="310" y="38"/>
                </a:cubicBezTo>
                <a:cubicBezTo>
                  <a:pt x="311" y="37"/>
                  <a:pt x="311" y="37"/>
                  <a:pt x="311" y="37"/>
                </a:cubicBezTo>
                <a:cubicBezTo>
                  <a:pt x="310" y="36"/>
                  <a:pt x="310" y="36"/>
                  <a:pt x="310" y="36"/>
                </a:cubicBezTo>
                <a:cubicBezTo>
                  <a:pt x="310" y="35"/>
                  <a:pt x="310" y="35"/>
                  <a:pt x="310" y="35"/>
                </a:cubicBezTo>
                <a:cubicBezTo>
                  <a:pt x="309" y="36"/>
                  <a:pt x="309" y="36"/>
                  <a:pt x="309" y="36"/>
                </a:cubicBezTo>
                <a:cubicBezTo>
                  <a:pt x="309" y="35"/>
                  <a:pt x="309" y="35"/>
                  <a:pt x="309" y="35"/>
                </a:cubicBezTo>
                <a:cubicBezTo>
                  <a:pt x="308" y="35"/>
                  <a:pt x="308" y="35"/>
                  <a:pt x="308" y="35"/>
                </a:cubicBezTo>
                <a:cubicBezTo>
                  <a:pt x="308" y="33"/>
                  <a:pt x="308" y="33"/>
                  <a:pt x="308" y="33"/>
                </a:cubicBezTo>
                <a:cubicBezTo>
                  <a:pt x="308" y="33"/>
                  <a:pt x="308" y="33"/>
                  <a:pt x="308" y="33"/>
                </a:cubicBezTo>
                <a:cubicBezTo>
                  <a:pt x="308" y="31"/>
                  <a:pt x="308" y="31"/>
                  <a:pt x="308" y="31"/>
                </a:cubicBezTo>
                <a:cubicBezTo>
                  <a:pt x="308" y="30"/>
                  <a:pt x="308" y="30"/>
                  <a:pt x="308" y="30"/>
                </a:cubicBezTo>
                <a:cubicBezTo>
                  <a:pt x="308" y="29"/>
                  <a:pt x="308" y="29"/>
                  <a:pt x="308" y="29"/>
                </a:cubicBezTo>
                <a:cubicBezTo>
                  <a:pt x="309" y="29"/>
                  <a:pt x="309" y="29"/>
                  <a:pt x="309" y="29"/>
                </a:cubicBezTo>
                <a:cubicBezTo>
                  <a:pt x="309" y="28"/>
                  <a:pt x="309" y="28"/>
                  <a:pt x="309" y="28"/>
                </a:cubicBezTo>
                <a:cubicBezTo>
                  <a:pt x="308" y="27"/>
                  <a:pt x="308" y="27"/>
                  <a:pt x="308" y="27"/>
                </a:cubicBezTo>
                <a:cubicBezTo>
                  <a:pt x="308" y="26"/>
                  <a:pt x="308" y="26"/>
                  <a:pt x="308" y="26"/>
                </a:cubicBezTo>
                <a:cubicBezTo>
                  <a:pt x="308" y="25"/>
                  <a:pt x="308" y="25"/>
                  <a:pt x="308" y="25"/>
                </a:cubicBezTo>
                <a:cubicBezTo>
                  <a:pt x="308" y="24"/>
                  <a:pt x="308" y="24"/>
                  <a:pt x="308" y="24"/>
                </a:cubicBezTo>
                <a:cubicBezTo>
                  <a:pt x="308" y="23"/>
                  <a:pt x="308" y="23"/>
                  <a:pt x="308" y="23"/>
                </a:cubicBezTo>
                <a:cubicBezTo>
                  <a:pt x="309" y="22"/>
                  <a:pt x="309" y="22"/>
                  <a:pt x="309" y="22"/>
                </a:cubicBezTo>
                <a:cubicBezTo>
                  <a:pt x="309" y="21"/>
                  <a:pt x="309" y="21"/>
                  <a:pt x="309" y="21"/>
                </a:cubicBezTo>
                <a:cubicBezTo>
                  <a:pt x="310" y="19"/>
                  <a:pt x="310" y="19"/>
                  <a:pt x="310" y="19"/>
                </a:cubicBezTo>
                <a:cubicBezTo>
                  <a:pt x="310" y="18"/>
                  <a:pt x="310" y="18"/>
                  <a:pt x="310" y="18"/>
                </a:cubicBezTo>
                <a:cubicBezTo>
                  <a:pt x="311" y="18"/>
                  <a:pt x="311" y="18"/>
                  <a:pt x="311" y="18"/>
                </a:cubicBezTo>
                <a:cubicBezTo>
                  <a:pt x="311" y="16"/>
                  <a:pt x="311" y="16"/>
                  <a:pt x="311" y="16"/>
                </a:cubicBezTo>
                <a:cubicBezTo>
                  <a:pt x="311" y="15"/>
                  <a:pt x="311" y="15"/>
                  <a:pt x="311" y="15"/>
                </a:cubicBezTo>
                <a:cubicBezTo>
                  <a:pt x="311" y="14"/>
                  <a:pt x="311" y="14"/>
                  <a:pt x="311" y="14"/>
                </a:cubicBezTo>
                <a:cubicBezTo>
                  <a:pt x="310" y="14"/>
                  <a:pt x="310" y="14"/>
                  <a:pt x="310" y="14"/>
                </a:cubicBezTo>
                <a:cubicBezTo>
                  <a:pt x="310" y="13"/>
                  <a:pt x="310" y="13"/>
                  <a:pt x="310" y="13"/>
                </a:cubicBezTo>
                <a:cubicBezTo>
                  <a:pt x="309" y="11"/>
                  <a:pt x="309" y="11"/>
                  <a:pt x="309" y="11"/>
                </a:cubicBezTo>
                <a:cubicBezTo>
                  <a:pt x="308" y="11"/>
                  <a:pt x="308" y="11"/>
                  <a:pt x="308" y="11"/>
                </a:cubicBezTo>
                <a:cubicBezTo>
                  <a:pt x="307" y="11"/>
                  <a:pt x="307" y="11"/>
                  <a:pt x="307" y="11"/>
                </a:cubicBezTo>
                <a:cubicBezTo>
                  <a:pt x="306" y="12"/>
                  <a:pt x="306" y="12"/>
                  <a:pt x="306" y="12"/>
                </a:cubicBezTo>
                <a:cubicBezTo>
                  <a:pt x="305" y="12"/>
                  <a:pt x="305" y="12"/>
                  <a:pt x="305" y="12"/>
                </a:cubicBezTo>
                <a:cubicBezTo>
                  <a:pt x="305" y="12"/>
                  <a:pt x="305" y="12"/>
                  <a:pt x="305" y="12"/>
                </a:cubicBezTo>
                <a:cubicBezTo>
                  <a:pt x="305" y="10"/>
                  <a:pt x="305" y="10"/>
                  <a:pt x="305" y="10"/>
                </a:cubicBezTo>
                <a:cubicBezTo>
                  <a:pt x="305" y="9"/>
                  <a:pt x="305" y="9"/>
                  <a:pt x="305" y="9"/>
                </a:cubicBezTo>
                <a:cubicBezTo>
                  <a:pt x="305" y="9"/>
                  <a:pt x="305" y="9"/>
                  <a:pt x="305" y="9"/>
                </a:cubicBezTo>
                <a:cubicBezTo>
                  <a:pt x="306" y="8"/>
                  <a:pt x="306" y="8"/>
                  <a:pt x="306" y="8"/>
                </a:cubicBezTo>
                <a:cubicBezTo>
                  <a:pt x="306" y="7"/>
                  <a:pt x="306" y="7"/>
                  <a:pt x="306" y="7"/>
                </a:cubicBezTo>
                <a:cubicBezTo>
                  <a:pt x="307" y="6"/>
                  <a:pt x="307" y="6"/>
                  <a:pt x="307" y="6"/>
                </a:cubicBezTo>
                <a:cubicBezTo>
                  <a:pt x="307" y="5"/>
                  <a:pt x="307" y="5"/>
                  <a:pt x="307" y="5"/>
                </a:cubicBezTo>
                <a:cubicBezTo>
                  <a:pt x="307" y="5"/>
                  <a:pt x="307" y="5"/>
                  <a:pt x="307" y="5"/>
                </a:cubicBezTo>
                <a:cubicBezTo>
                  <a:pt x="309" y="4"/>
                  <a:pt x="309" y="4"/>
                  <a:pt x="309" y="4"/>
                </a:cubicBezTo>
                <a:cubicBezTo>
                  <a:pt x="310" y="4"/>
                  <a:pt x="310" y="4"/>
                  <a:pt x="310" y="4"/>
                </a:cubicBezTo>
                <a:cubicBezTo>
                  <a:pt x="311" y="4"/>
                  <a:pt x="311" y="4"/>
                  <a:pt x="311" y="4"/>
                </a:cubicBezTo>
                <a:cubicBezTo>
                  <a:pt x="311" y="4"/>
                  <a:pt x="311" y="4"/>
                  <a:pt x="311" y="4"/>
                </a:cubicBezTo>
                <a:cubicBezTo>
                  <a:pt x="312" y="4"/>
                  <a:pt x="312" y="4"/>
                  <a:pt x="312" y="4"/>
                </a:cubicBezTo>
                <a:cubicBezTo>
                  <a:pt x="313" y="4"/>
                  <a:pt x="313" y="4"/>
                  <a:pt x="313" y="4"/>
                </a:cubicBezTo>
                <a:cubicBezTo>
                  <a:pt x="313" y="3"/>
                  <a:pt x="313" y="3"/>
                  <a:pt x="313" y="3"/>
                </a:cubicBezTo>
                <a:cubicBezTo>
                  <a:pt x="314" y="3"/>
                  <a:pt x="314" y="3"/>
                  <a:pt x="314" y="3"/>
                </a:cubicBezTo>
                <a:cubicBezTo>
                  <a:pt x="315" y="2"/>
                  <a:pt x="315" y="2"/>
                  <a:pt x="315" y="2"/>
                </a:cubicBezTo>
                <a:cubicBezTo>
                  <a:pt x="316" y="2"/>
                  <a:pt x="316" y="2"/>
                  <a:pt x="316" y="2"/>
                </a:cubicBezTo>
                <a:cubicBezTo>
                  <a:pt x="317" y="2"/>
                  <a:pt x="317" y="2"/>
                  <a:pt x="317" y="2"/>
                </a:cubicBezTo>
                <a:cubicBezTo>
                  <a:pt x="318" y="2"/>
                  <a:pt x="318" y="2"/>
                  <a:pt x="318" y="2"/>
                </a:cubicBezTo>
                <a:cubicBezTo>
                  <a:pt x="319" y="1"/>
                  <a:pt x="319" y="1"/>
                  <a:pt x="319" y="1"/>
                </a:cubicBezTo>
                <a:cubicBezTo>
                  <a:pt x="320" y="1"/>
                  <a:pt x="320" y="1"/>
                  <a:pt x="320" y="1"/>
                </a:cubicBezTo>
                <a:cubicBezTo>
                  <a:pt x="320" y="0"/>
                  <a:pt x="320" y="0"/>
                  <a:pt x="320" y="0"/>
                </a:cubicBezTo>
                <a:cubicBezTo>
                  <a:pt x="322" y="0"/>
                  <a:pt x="322" y="0"/>
                  <a:pt x="322" y="0"/>
                </a:cubicBezTo>
                <a:cubicBezTo>
                  <a:pt x="322" y="0"/>
                  <a:pt x="322" y="0"/>
                  <a:pt x="322" y="0"/>
                </a:cubicBezTo>
                <a:cubicBezTo>
                  <a:pt x="323" y="0"/>
                  <a:pt x="323" y="0"/>
                  <a:pt x="323" y="0"/>
                </a:cubicBezTo>
                <a:cubicBezTo>
                  <a:pt x="324" y="0"/>
                  <a:pt x="324" y="0"/>
                  <a:pt x="324" y="0"/>
                </a:cubicBezTo>
                <a:cubicBezTo>
                  <a:pt x="325" y="1"/>
                  <a:pt x="325" y="1"/>
                  <a:pt x="325" y="1"/>
                </a:cubicBezTo>
                <a:cubicBezTo>
                  <a:pt x="327" y="1"/>
                  <a:pt x="327" y="1"/>
                  <a:pt x="327" y="1"/>
                </a:cubicBezTo>
                <a:cubicBezTo>
                  <a:pt x="327" y="2"/>
                  <a:pt x="327" y="2"/>
                  <a:pt x="327" y="2"/>
                </a:cubicBezTo>
                <a:cubicBezTo>
                  <a:pt x="328" y="2"/>
                  <a:pt x="328" y="2"/>
                  <a:pt x="328" y="2"/>
                </a:cubicBezTo>
                <a:cubicBezTo>
                  <a:pt x="329" y="2"/>
                  <a:pt x="329" y="2"/>
                  <a:pt x="329" y="2"/>
                </a:cubicBezTo>
                <a:cubicBezTo>
                  <a:pt x="330" y="2"/>
                  <a:pt x="330" y="2"/>
                  <a:pt x="330" y="2"/>
                </a:cubicBezTo>
                <a:cubicBezTo>
                  <a:pt x="330" y="2"/>
                  <a:pt x="330" y="2"/>
                  <a:pt x="330" y="2"/>
                </a:cubicBezTo>
                <a:cubicBezTo>
                  <a:pt x="331" y="3"/>
                  <a:pt x="331" y="3"/>
                  <a:pt x="331" y="3"/>
                </a:cubicBezTo>
                <a:cubicBezTo>
                  <a:pt x="332" y="3"/>
                  <a:pt x="332" y="3"/>
                  <a:pt x="332" y="3"/>
                </a:cubicBezTo>
                <a:cubicBezTo>
                  <a:pt x="332" y="2"/>
                  <a:pt x="332" y="2"/>
                  <a:pt x="332" y="2"/>
                </a:cubicBezTo>
                <a:cubicBezTo>
                  <a:pt x="332" y="2"/>
                  <a:pt x="332" y="2"/>
                  <a:pt x="332" y="2"/>
                </a:cubicBezTo>
                <a:cubicBezTo>
                  <a:pt x="333" y="2"/>
                  <a:pt x="333" y="2"/>
                  <a:pt x="333" y="2"/>
                </a:cubicBezTo>
                <a:cubicBezTo>
                  <a:pt x="334" y="2"/>
                  <a:pt x="334" y="2"/>
                  <a:pt x="334" y="2"/>
                </a:cubicBezTo>
                <a:cubicBezTo>
                  <a:pt x="334" y="2"/>
                  <a:pt x="334" y="2"/>
                  <a:pt x="334" y="2"/>
                </a:cubicBezTo>
                <a:cubicBezTo>
                  <a:pt x="335" y="2"/>
                  <a:pt x="335" y="2"/>
                  <a:pt x="335" y="2"/>
                </a:cubicBezTo>
                <a:cubicBezTo>
                  <a:pt x="336" y="2"/>
                  <a:pt x="336" y="2"/>
                  <a:pt x="336" y="2"/>
                </a:cubicBezTo>
                <a:cubicBezTo>
                  <a:pt x="336" y="3"/>
                  <a:pt x="336" y="3"/>
                  <a:pt x="336" y="3"/>
                </a:cubicBezTo>
                <a:cubicBezTo>
                  <a:pt x="337" y="3"/>
                  <a:pt x="337" y="3"/>
                  <a:pt x="337" y="3"/>
                </a:cubicBezTo>
                <a:cubicBezTo>
                  <a:pt x="337" y="4"/>
                  <a:pt x="337" y="4"/>
                  <a:pt x="337" y="4"/>
                </a:cubicBezTo>
                <a:cubicBezTo>
                  <a:pt x="337" y="5"/>
                  <a:pt x="337" y="5"/>
                  <a:pt x="337" y="5"/>
                </a:cubicBezTo>
                <a:cubicBezTo>
                  <a:pt x="338" y="5"/>
                  <a:pt x="338" y="5"/>
                  <a:pt x="338" y="5"/>
                </a:cubicBezTo>
                <a:cubicBezTo>
                  <a:pt x="338" y="5"/>
                  <a:pt x="338" y="5"/>
                  <a:pt x="338" y="5"/>
                </a:cubicBezTo>
                <a:cubicBezTo>
                  <a:pt x="338" y="5"/>
                  <a:pt x="338" y="5"/>
                  <a:pt x="338" y="5"/>
                </a:cubicBezTo>
                <a:cubicBezTo>
                  <a:pt x="339" y="5"/>
                  <a:pt x="339" y="5"/>
                  <a:pt x="339" y="5"/>
                </a:cubicBezTo>
                <a:cubicBezTo>
                  <a:pt x="340" y="5"/>
                  <a:pt x="340" y="5"/>
                  <a:pt x="340" y="5"/>
                </a:cubicBezTo>
                <a:cubicBezTo>
                  <a:pt x="339" y="6"/>
                  <a:pt x="339" y="6"/>
                  <a:pt x="339" y="6"/>
                </a:cubicBezTo>
                <a:cubicBezTo>
                  <a:pt x="339" y="6"/>
                  <a:pt x="339" y="6"/>
                  <a:pt x="339" y="6"/>
                </a:cubicBezTo>
                <a:cubicBezTo>
                  <a:pt x="341" y="7"/>
                  <a:pt x="341" y="7"/>
                  <a:pt x="341" y="7"/>
                </a:cubicBezTo>
                <a:cubicBezTo>
                  <a:pt x="341" y="7"/>
                  <a:pt x="341" y="7"/>
                  <a:pt x="341" y="7"/>
                </a:cubicBezTo>
                <a:cubicBezTo>
                  <a:pt x="342" y="7"/>
                  <a:pt x="342" y="7"/>
                  <a:pt x="342" y="7"/>
                </a:cubicBezTo>
                <a:cubicBezTo>
                  <a:pt x="342" y="8"/>
                  <a:pt x="342" y="8"/>
                  <a:pt x="342" y="8"/>
                </a:cubicBezTo>
                <a:cubicBezTo>
                  <a:pt x="342" y="8"/>
                  <a:pt x="342" y="8"/>
                  <a:pt x="342" y="8"/>
                </a:cubicBezTo>
                <a:cubicBezTo>
                  <a:pt x="343" y="9"/>
                  <a:pt x="343" y="9"/>
                  <a:pt x="343" y="9"/>
                </a:cubicBezTo>
                <a:cubicBezTo>
                  <a:pt x="343" y="10"/>
                  <a:pt x="343" y="10"/>
                  <a:pt x="343" y="10"/>
                </a:cubicBezTo>
                <a:cubicBezTo>
                  <a:pt x="343" y="10"/>
                  <a:pt x="343" y="10"/>
                  <a:pt x="343" y="10"/>
                </a:cubicBezTo>
                <a:cubicBezTo>
                  <a:pt x="343" y="11"/>
                  <a:pt x="343" y="11"/>
                  <a:pt x="343" y="11"/>
                </a:cubicBezTo>
                <a:cubicBezTo>
                  <a:pt x="343" y="11"/>
                  <a:pt x="343" y="11"/>
                  <a:pt x="343" y="11"/>
                </a:cubicBezTo>
                <a:cubicBezTo>
                  <a:pt x="345" y="11"/>
                  <a:pt x="345" y="11"/>
                  <a:pt x="345" y="11"/>
                </a:cubicBezTo>
                <a:cubicBezTo>
                  <a:pt x="345" y="12"/>
                  <a:pt x="345" y="12"/>
                  <a:pt x="345" y="12"/>
                </a:cubicBezTo>
                <a:cubicBezTo>
                  <a:pt x="345" y="13"/>
                  <a:pt x="345" y="13"/>
                  <a:pt x="345" y="13"/>
                </a:cubicBezTo>
                <a:cubicBezTo>
                  <a:pt x="345" y="14"/>
                  <a:pt x="345" y="14"/>
                  <a:pt x="345" y="14"/>
                </a:cubicBezTo>
                <a:cubicBezTo>
                  <a:pt x="346" y="14"/>
                  <a:pt x="346" y="14"/>
                  <a:pt x="346" y="14"/>
                </a:cubicBezTo>
                <a:cubicBezTo>
                  <a:pt x="347" y="16"/>
                  <a:pt x="347" y="16"/>
                  <a:pt x="347" y="16"/>
                </a:cubicBezTo>
                <a:cubicBezTo>
                  <a:pt x="348" y="17"/>
                  <a:pt x="348" y="17"/>
                  <a:pt x="348" y="17"/>
                </a:cubicBezTo>
                <a:cubicBezTo>
                  <a:pt x="348" y="17"/>
                  <a:pt x="348" y="17"/>
                  <a:pt x="348" y="17"/>
                </a:cubicBezTo>
                <a:cubicBezTo>
                  <a:pt x="348" y="18"/>
                  <a:pt x="348" y="18"/>
                  <a:pt x="348" y="18"/>
                </a:cubicBezTo>
                <a:cubicBezTo>
                  <a:pt x="349" y="19"/>
                  <a:pt x="349" y="19"/>
                  <a:pt x="349" y="19"/>
                </a:cubicBezTo>
                <a:cubicBezTo>
                  <a:pt x="350" y="19"/>
                  <a:pt x="350" y="19"/>
                  <a:pt x="350" y="19"/>
                </a:cubicBezTo>
                <a:cubicBezTo>
                  <a:pt x="350" y="20"/>
                  <a:pt x="350" y="20"/>
                  <a:pt x="350" y="20"/>
                </a:cubicBezTo>
                <a:cubicBezTo>
                  <a:pt x="349" y="21"/>
                  <a:pt x="349" y="21"/>
                  <a:pt x="349" y="21"/>
                </a:cubicBezTo>
                <a:cubicBezTo>
                  <a:pt x="350" y="21"/>
                  <a:pt x="350" y="21"/>
                  <a:pt x="350" y="21"/>
                </a:cubicBezTo>
                <a:cubicBezTo>
                  <a:pt x="350" y="21"/>
                  <a:pt x="350" y="21"/>
                  <a:pt x="350" y="21"/>
                </a:cubicBezTo>
                <a:cubicBezTo>
                  <a:pt x="351" y="22"/>
                  <a:pt x="351" y="22"/>
                  <a:pt x="351" y="22"/>
                </a:cubicBezTo>
                <a:cubicBezTo>
                  <a:pt x="351" y="22"/>
                  <a:pt x="351" y="22"/>
                  <a:pt x="351" y="22"/>
                </a:cubicBezTo>
                <a:cubicBezTo>
                  <a:pt x="352" y="24"/>
                  <a:pt x="352" y="24"/>
                  <a:pt x="352" y="24"/>
                </a:cubicBezTo>
                <a:cubicBezTo>
                  <a:pt x="355" y="25"/>
                  <a:pt x="355" y="25"/>
                  <a:pt x="355" y="25"/>
                </a:cubicBezTo>
                <a:cubicBezTo>
                  <a:pt x="355" y="27"/>
                  <a:pt x="355" y="27"/>
                  <a:pt x="355" y="27"/>
                </a:cubicBezTo>
                <a:cubicBezTo>
                  <a:pt x="355" y="28"/>
                  <a:pt x="355" y="28"/>
                  <a:pt x="355" y="28"/>
                </a:cubicBezTo>
                <a:cubicBezTo>
                  <a:pt x="356" y="28"/>
                  <a:pt x="356" y="28"/>
                  <a:pt x="356" y="28"/>
                </a:cubicBezTo>
                <a:cubicBezTo>
                  <a:pt x="356" y="29"/>
                  <a:pt x="356" y="29"/>
                  <a:pt x="356" y="29"/>
                </a:cubicBezTo>
                <a:cubicBezTo>
                  <a:pt x="356" y="30"/>
                  <a:pt x="356" y="30"/>
                  <a:pt x="356" y="30"/>
                </a:cubicBezTo>
                <a:cubicBezTo>
                  <a:pt x="357" y="30"/>
                  <a:pt x="357" y="30"/>
                  <a:pt x="357" y="30"/>
                </a:cubicBezTo>
                <a:cubicBezTo>
                  <a:pt x="357" y="31"/>
                  <a:pt x="357" y="31"/>
                  <a:pt x="357" y="31"/>
                </a:cubicBezTo>
                <a:cubicBezTo>
                  <a:pt x="357" y="32"/>
                  <a:pt x="357" y="32"/>
                  <a:pt x="357" y="32"/>
                </a:cubicBezTo>
                <a:cubicBezTo>
                  <a:pt x="358" y="33"/>
                  <a:pt x="358" y="33"/>
                  <a:pt x="358" y="33"/>
                </a:cubicBezTo>
                <a:cubicBezTo>
                  <a:pt x="359" y="35"/>
                  <a:pt x="359" y="35"/>
                  <a:pt x="359" y="35"/>
                </a:cubicBezTo>
                <a:cubicBezTo>
                  <a:pt x="360" y="35"/>
                  <a:pt x="360" y="35"/>
                  <a:pt x="360" y="35"/>
                </a:cubicBezTo>
                <a:cubicBezTo>
                  <a:pt x="361" y="36"/>
                  <a:pt x="361" y="36"/>
                  <a:pt x="361" y="36"/>
                </a:cubicBezTo>
                <a:cubicBezTo>
                  <a:pt x="362" y="36"/>
                  <a:pt x="362" y="36"/>
                  <a:pt x="362" y="36"/>
                </a:cubicBezTo>
                <a:cubicBezTo>
                  <a:pt x="362" y="36"/>
                  <a:pt x="362" y="36"/>
                  <a:pt x="362" y="36"/>
                </a:cubicBezTo>
                <a:cubicBezTo>
                  <a:pt x="363" y="36"/>
                  <a:pt x="363" y="36"/>
                  <a:pt x="363" y="36"/>
                </a:cubicBezTo>
                <a:cubicBezTo>
                  <a:pt x="363" y="36"/>
                  <a:pt x="363" y="36"/>
                  <a:pt x="363" y="36"/>
                </a:cubicBezTo>
                <a:cubicBezTo>
                  <a:pt x="365" y="36"/>
                  <a:pt x="365" y="36"/>
                  <a:pt x="365" y="36"/>
                </a:cubicBezTo>
                <a:cubicBezTo>
                  <a:pt x="365" y="35"/>
                  <a:pt x="365" y="35"/>
                  <a:pt x="365" y="35"/>
                </a:cubicBezTo>
                <a:cubicBezTo>
                  <a:pt x="366" y="35"/>
                  <a:pt x="366" y="35"/>
                  <a:pt x="366" y="35"/>
                </a:cubicBezTo>
                <a:cubicBezTo>
                  <a:pt x="366" y="36"/>
                  <a:pt x="366" y="36"/>
                  <a:pt x="366" y="36"/>
                </a:cubicBezTo>
                <a:cubicBezTo>
                  <a:pt x="366" y="36"/>
                  <a:pt x="366" y="36"/>
                  <a:pt x="366" y="36"/>
                </a:cubicBezTo>
                <a:cubicBezTo>
                  <a:pt x="366" y="37"/>
                  <a:pt x="366" y="37"/>
                  <a:pt x="366" y="37"/>
                </a:cubicBezTo>
                <a:cubicBezTo>
                  <a:pt x="368" y="37"/>
                  <a:pt x="368" y="37"/>
                  <a:pt x="368" y="37"/>
                </a:cubicBezTo>
                <a:cubicBezTo>
                  <a:pt x="368" y="37"/>
                  <a:pt x="368" y="37"/>
                  <a:pt x="368" y="37"/>
                </a:cubicBezTo>
                <a:cubicBezTo>
                  <a:pt x="369" y="38"/>
                  <a:pt x="369" y="38"/>
                  <a:pt x="369" y="38"/>
                </a:cubicBezTo>
                <a:cubicBezTo>
                  <a:pt x="369" y="38"/>
                  <a:pt x="369" y="38"/>
                  <a:pt x="369" y="38"/>
                </a:cubicBezTo>
                <a:cubicBezTo>
                  <a:pt x="370" y="38"/>
                  <a:pt x="370" y="38"/>
                  <a:pt x="370" y="38"/>
                </a:cubicBezTo>
                <a:cubicBezTo>
                  <a:pt x="370" y="37"/>
                  <a:pt x="370" y="37"/>
                  <a:pt x="370" y="37"/>
                </a:cubicBezTo>
                <a:cubicBezTo>
                  <a:pt x="371" y="38"/>
                  <a:pt x="371" y="38"/>
                  <a:pt x="371" y="38"/>
                </a:cubicBezTo>
                <a:cubicBezTo>
                  <a:pt x="371" y="37"/>
                  <a:pt x="371" y="37"/>
                  <a:pt x="371" y="37"/>
                </a:cubicBezTo>
                <a:cubicBezTo>
                  <a:pt x="372" y="37"/>
                  <a:pt x="372" y="37"/>
                  <a:pt x="372" y="37"/>
                </a:cubicBezTo>
                <a:cubicBezTo>
                  <a:pt x="372" y="37"/>
                  <a:pt x="372" y="37"/>
                  <a:pt x="372" y="37"/>
                </a:cubicBezTo>
                <a:cubicBezTo>
                  <a:pt x="373" y="38"/>
                  <a:pt x="373" y="38"/>
                  <a:pt x="373" y="38"/>
                </a:cubicBezTo>
                <a:cubicBezTo>
                  <a:pt x="373" y="39"/>
                  <a:pt x="373" y="39"/>
                  <a:pt x="373" y="39"/>
                </a:cubicBezTo>
                <a:cubicBezTo>
                  <a:pt x="374" y="39"/>
                  <a:pt x="374" y="39"/>
                  <a:pt x="374" y="39"/>
                </a:cubicBezTo>
                <a:cubicBezTo>
                  <a:pt x="374" y="39"/>
                  <a:pt x="374" y="39"/>
                  <a:pt x="374" y="39"/>
                </a:cubicBezTo>
                <a:cubicBezTo>
                  <a:pt x="375" y="40"/>
                  <a:pt x="375" y="40"/>
                  <a:pt x="375" y="40"/>
                </a:cubicBezTo>
                <a:cubicBezTo>
                  <a:pt x="375" y="40"/>
                  <a:pt x="375" y="40"/>
                  <a:pt x="375" y="40"/>
                </a:cubicBezTo>
                <a:cubicBezTo>
                  <a:pt x="376" y="40"/>
                  <a:pt x="376" y="40"/>
                  <a:pt x="376" y="40"/>
                </a:cubicBezTo>
                <a:cubicBezTo>
                  <a:pt x="376" y="41"/>
                  <a:pt x="376" y="41"/>
                  <a:pt x="376" y="41"/>
                </a:cubicBezTo>
                <a:cubicBezTo>
                  <a:pt x="377" y="42"/>
                  <a:pt x="377" y="42"/>
                  <a:pt x="377" y="42"/>
                </a:cubicBezTo>
                <a:cubicBezTo>
                  <a:pt x="377" y="42"/>
                  <a:pt x="377" y="42"/>
                  <a:pt x="377" y="42"/>
                </a:cubicBezTo>
                <a:cubicBezTo>
                  <a:pt x="378" y="42"/>
                  <a:pt x="378" y="42"/>
                  <a:pt x="378" y="42"/>
                </a:cubicBezTo>
                <a:cubicBezTo>
                  <a:pt x="379" y="43"/>
                  <a:pt x="379" y="43"/>
                  <a:pt x="379" y="43"/>
                </a:cubicBezTo>
                <a:cubicBezTo>
                  <a:pt x="380" y="43"/>
                  <a:pt x="380" y="43"/>
                  <a:pt x="380" y="43"/>
                </a:cubicBezTo>
                <a:cubicBezTo>
                  <a:pt x="380" y="42"/>
                  <a:pt x="380" y="42"/>
                  <a:pt x="380" y="42"/>
                </a:cubicBezTo>
                <a:cubicBezTo>
                  <a:pt x="381" y="42"/>
                  <a:pt x="381" y="42"/>
                  <a:pt x="381" y="42"/>
                </a:cubicBezTo>
                <a:cubicBezTo>
                  <a:pt x="382" y="42"/>
                  <a:pt x="382" y="42"/>
                  <a:pt x="382" y="42"/>
                </a:cubicBezTo>
                <a:cubicBezTo>
                  <a:pt x="382" y="42"/>
                  <a:pt x="382" y="42"/>
                  <a:pt x="382" y="42"/>
                </a:cubicBezTo>
                <a:cubicBezTo>
                  <a:pt x="383" y="42"/>
                  <a:pt x="383" y="42"/>
                  <a:pt x="383" y="42"/>
                </a:cubicBezTo>
                <a:cubicBezTo>
                  <a:pt x="382" y="43"/>
                  <a:pt x="382" y="43"/>
                  <a:pt x="382" y="43"/>
                </a:cubicBezTo>
                <a:cubicBezTo>
                  <a:pt x="382" y="44"/>
                  <a:pt x="382" y="44"/>
                  <a:pt x="382" y="44"/>
                </a:cubicBezTo>
                <a:cubicBezTo>
                  <a:pt x="382" y="44"/>
                  <a:pt x="382" y="44"/>
                  <a:pt x="382" y="44"/>
                </a:cubicBezTo>
                <a:cubicBezTo>
                  <a:pt x="382" y="45"/>
                  <a:pt x="382" y="45"/>
                  <a:pt x="382" y="45"/>
                </a:cubicBezTo>
                <a:cubicBezTo>
                  <a:pt x="383" y="45"/>
                  <a:pt x="383" y="45"/>
                  <a:pt x="383" y="45"/>
                </a:cubicBezTo>
                <a:cubicBezTo>
                  <a:pt x="383" y="46"/>
                  <a:pt x="383" y="46"/>
                  <a:pt x="383" y="46"/>
                </a:cubicBezTo>
                <a:cubicBezTo>
                  <a:pt x="384" y="47"/>
                  <a:pt x="384" y="47"/>
                  <a:pt x="384" y="47"/>
                </a:cubicBezTo>
                <a:cubicBezTo>
                  <a:pt x="384" y="48"/>
                  <a:pt x="384" y="48"/>
                  <a:pt x="384" y="48"/>
                </a:cubicBezTo>
                <a:cubicBezTo>
                  <a:pt x="383" y="49"/>
                  <a:pt x="383" y="49"/>
                  <a:pt x="383" y="49"/>
                </a:cubicBezTo>
                <a:cubicBezTo>
                  <a:pt x="383" y="50"/>
                  <a:pt x="383" y="50"/>
                  <a:pt x="383" y="50"/>
                </a:cubicBezTo>
                <a:cubicBezTo>
                  <a:pt x="384" y="51"/>
                  <a:pt x="384" y="51"/>
                  <a:pt x="384" y="51"/>
                </a:cubicBezTo>
                <a:cubicBezTo>
                  <a:pt x="385" y="52"/>
                  <a:pt x="385" y="52"/>
                  <a:pt x="385" y="52"/>
                </a:cubicBezTo>
                <a:cubicBezTo>
                  <a:pt x="386" y="53"/>
                  <a:pt x="386" y="53"/>
                  <a:pt x="386" y="53"/>
                </a:cubicBezTo>
                <a:cubicBezTo>
                  <a:pt x="386" y="53"/>
                  <a:pt x="386" y="53"/>
                  <a:pt x="386" y="53"/>
                </a:cubicBezTo>
                <a:cubicBezTo>
                  <a:pt x="387" y="53"/>
                  <a:pt x="387" y="53"/>
                  <a:pt x="387" y="53"/>
                </a:cubicBezTo>
                <a:cubicBezTo>
                  <a:pt x="388" y="53"/>
                  <a:pt x="388" y="53"/>
                  <a:pt x="388" y="53"/>
                </a:cubicBezTo>
                <a:cubicBezTo>
                  <a:pt x="389" y="53"/>
                  <a:pt x="389" y="53"/>
                  <a:pt x="389" y="53"/>
                </a:cubicBezTo>
                <a:cubicBezTo>
                  <a:pt x="390" y="53"/>
                  <a:pt x="390" y="53"/>
                  <a:pt x="390" y="53"/>
                </a:cubicBezTo>
                <a:cubicBezTo>
                  <a:pt x="390" y="54"/>
                  <a:pt x="390" y="54"/>
                  <a:pt x="390" y="54"/>
                </a:cubicBezTo>
                <a:cubicBezTo>
                  <a:pt x="391" y="54"/>
                  <a:pt x="391" y="54"/>
                  <a:pt x="391" y="54"/>
                </a:cubicBezTo>
                <a:cubicBezTo>
                  <a:pt x="391" y="53"/>
                  <a:pt x="391" y="53"/>
                  <a:pt x="391" y="53"/>
                </a:cubicBezTo>
                <a:cubicBezTo>
                  <a:pt x="392" y="54"/>
                  <a:pt x="392" y="54"/>
                  <a:pt x="392" y="54"/>
                </a:cubicBezTo>
                <a:cubicBezTo>
                  <a:pt x="393" y="53"/>
                  <a:pt x="393" y="53"/>
                  <a:pt x="393" y="53"/>
                </a:cubicBezTo>
                <a:cubicBezTo>
                  <a:pt x="394" y="53"/>
                  <a:pt x="394" y="53"/>
                  <a:pt x="394" y="53"/>
                </a:cubicBezTo>
                <a:cubicBezTo>
                  <a:pt x="395" y="52"/>
                  <a:pt x="395" y="52"/>
                  <a:pt x="395" y="52"/>
                </a:cubicBezTo>
                <a:cubicBezTo>
                  <a:pt x="396" y="52"/>
                  <a:pt x="396" y="52"/>
                  <a:pt x="396" y="52"/>
                </a:cubicBezTo>
                <a:cubicBezTo>
                  <a:pt x="396" y="51"/>
                  <a:pt x="396" y="51"/>
                  <a:pt x="396" y="51"/>
                </a:cubicBezTo>
                <a:cubicBezTo>
                  <a:pt x="396" y="50"/>
                  <a:pt x="396" y="50"/>
                  <a:pt x="396" y="50"/>
                </a:cubicBezTo>
                <a:cubicBezTo>
                  <a:pt x="397" y="50"/>
                  <a:pt x="397" y="50"/>
                  <a:pt x="397" y="50"/>
                </a:cubicBezTo>
                <a:cubicBezTo>
                  <a:pt x="397" y="49"/>
                  <a:pt x="397" y="49"/>
                  <a:pt x="397" y="49"/>
                </a:cubicBezTo>
                <a:cubicBezTo>
                  <a:pt x="397" y="48"/>
                  <a:pt x="397" y="48"/>
                  <a:pt x="397" y="48"/>
                </a:cubicBezTo>
                <a:cubicBezTo>
                  <a:pt x="398" y="48"/>
                  <a:pt x="398" y="48"/>
                  <a:pt x="398" y="48"/>
                </a:cubicBezTo>
                <a:cubicBezTo>
                  <a:pt x="399" y="48"/>
                  <a:pt x="399" y="48"/>
                  <a:pt x="399" y="48"/>
                </a:cubicBezTo>
                <a:cubicBezTo>
                  <a:pt x="400" y="47"/>
                  <a:pt x="400" y="47"/>
                  <a:pt x="400" y="47"/>
                </a:cubicBezTo>
                <a:cubicBezTo>
                  <a:pt x="400" y="46"/>
                  <a:pt x="400" y="46"/>
                  <a:pt x="400" y="46"/>
                </a:cubicBezTo>
                <a:cubicBezTo>
                  <a:pt x="401" y="46"/>
                  <a:pt x="401" y="46"/>
                  <a:pt x="401" y="46"/>
                </a:cubicBezTo>
                <a:cubicBezTo>
                  <a:pt x="401" y="45"/>
                  <a:pt x="401" y="45"/>
                  <a:pt x="401" y="45"/>
                </a:cubicBezTo>
                <a:cubicBezTo>
                  <a:pt x="402" y="45"/>
                  <a:pt x="402" y="45"/>
                  <a:pt x="402" y="45"/>
                </a:cubicBezTo>
                <a:cubicBezTo>
                  <a:pt x="403" y="44"/>
                  <a:pt x="403" y="44"/>
                  <a:pt x="403" y="44"/>
                </a:cubicBezTo>
                <a:cubicBezTo>
                  <a:pt x="403" y="44"/>
                  <a:pt x="403" y="44"/>
                  <a:pt x="403" y="44"/>
                </a:cubicBezTo>
                <a:cubicBezTo>
                  <a:pt x="405" y="44"/>
                  <a:pt x="405" y="44"/>
                  <a:pt x="405" y="44"/>
                </a:cubicBezTo>
                <a:cubicBezTo>
                  <a:pt x="405" y="45"/>
                  <a:pt x="405" y="45"/>
                  <a:pt x="405" y="45"/>
                </a:cubicBezTo>
                <a:cubicBezTo>
                  <a:pt x="406" y="45"/>
                  <a:pt x="406" y="45"/>
                  <a:pt x="406" y="45"/>
                </a:cubicBezTo>
                <a:cubicBezTo>
                  <a:pt x="407" y="46"/>
                  <a:pt x="407" y="46"/>
                  <a:pt x="407" y="46"/>
                </a:cubicBezTo>
                <a:cubicBezTo>
                  <a:pt x="407" y="47"/>
                  <a:pt x="407" y="47"/>
                  <a:pt x="407" y="47"/>
                </a:cubicBezTo>
                <a:cubicBezTo>
                  <a:pt x="407" y="47"/>
                  <a:pt x="407" y="47"/>
                  <a:pt x="407" y="47"/>
                </a:cubicBezTo>
                <a:cubicBezTo>
                  <a:pt x="407" y="48"/>
                  <a:pt x="407" y="48"/>
                  <a:pt x="407" y="48"/>
                </a:cubicBezTo>
                <a:cubicBezTo>
                  <a:pt x="408" y="49"/>
                  <a:pt x="408" y="49"/>
                  <a:pt x="408" y="49"/>
                </a:cubicBezTo>
                <a:cubicBezTo>
                  <a:pt x="408" y="50"/>
                  <a:pt x="408" y="50"/>
                  <a:pt x="408" y="50"/>
                </a:cubicBezTo>
                <a:cubicBezTo>
                  <a:pt x="409" y="51"/>
                  <a:pt x="409" y="51"/>
                  <a:pt x="409" y="51"/>
                </a:cubicBezTo>
                <a:cubicBezTo>
                  <a:pt x="410" y="51"/>
                  <a:pt x="410" y="51"/>
                  <a:pt x="410" y="51"/>
                </a:cubicBezTo>
                <a:cubicBezTo>
                  <a:pt x="409" y="52"/>
                  <a:pt x="409" y="52"/>
                  <a:pt x="409" y="52"/>
                </a:cubicBezTo>
                <a:cubicBezTo>
                  <a:pt x="409" y="53"/>
                  <a:pt x="409" y="53"/>
                  <a:pt x="409" y="53"/>
                </a:cubicBezTo>
                <a:cubicBezTo>
                  <a:pt x="409" y="54"/>
                  <a:pt x="409" y="54"/>
                  <a:pt x="409" y="54"/>
                </a:cubicBezTo>
                <a:cubicBezTo>
                  <a:pt x="408" y="54"/>
                  <a:pt x="408" y="54"/>
                  <a:pt x="408" y="54"/>
                </a:cubicBezTo>
                <a:cubicBezTo>
                  <a:pt x="407" y="55"/>
                  <a:pt x="407" y="55"/>
                  <a:pt x="407" y="55"/>
                </a:cubicBezTo>
                <a:cubicBezTo>
                  <a:pt x="407" y="56"/>
                  <a:pt x="407" y="56"/>
                  <a:pt x="407" y="56"/>
                </a:cubicBezTo>
                <a:cubicBezTo>
                  <a:pt x="408" y="56"/>
                  <a:pt x="408" y="56"/>
                  <a:pt x="408" y="56"/>
                </a:cubicBezTo>
                <a:cubicBezTo>
                  <a:pt x="408" y="57"/>
                  <a:pt x="408" y="57"/>
                  <a:pt x="408" y="57"/>
                </a:cubicBezTo>
                <a:cubicBezTo>
                  <a:pt x="408" y="58"/>
                  <a:pt x="408" y="58"/>
                  <a:pt x="408" y="58"/>
                </a:cubicBezTo>
                <a:cubicBezTo>
                  <a:pt x="408" y="59"/>
                  <a:pt x="408" y="59"/>
                  <a:pt x="408" y="59"/>
                </a:cubicBezTo>
                <a:cubicBezTo>
                  <a:pt x="408" y="59"/>
                  <a:pt x="408" y="59"/>
                  <a:pt x="408" y="59"/>
                </a:cubicBezTo>
                <a:cubicBezTo>
                  <a:pt x="408" y="60"/>
                  <a:pt x="408" y="60"/>
                  <a:pt x="408" y="60"/>
                </a:cubicBezTo>
                <a:cubicBezTo>
                  <a:pt x="408" y="60"/>
                  <a:pt x="408" y="60"/>
                  <a:pt x="408" y="60"/>
                </a:cubicBezTo>
                <a:cubicBezTo>
                  <a:pt x="409" y="61"/>
                  <a:pt x="409" y="61"/>
                  <a:pt x="409" y="61"/>
                </a:cubicBezTo>
                <a:cubicBezTo>
                  <a:pt x="409" y="61"/>
                  <a:pt x="409" y="61"/>
                  <a:pt x="409" y="61"/>
                </a:cubicBezTo>
                <a:cubicBezTo>
                  <a:pt x="408" y="62"/>
                  <a:pt x="408" y="62"/>
                  <a:pt x="408" y="62"/>
                </a:cubicBezTo>
                <a:cubicBezTo>
                  <a:pt x="408" y="62"/>
                  <a:pt x="408" y="62"/>
                  <a:pt x="408" y="62"/>
                </a:cubicBezTo>
                <a:cubicBezTo>
                  <a:pt x="408" y="63"/>
                  <a:pt x="408" y="63"/>
                  <a:pt x="408" y="63"/>
                </a:cubicBezTo>
                <a:cubicBezTo>
                  <a:pt x="409" y="65"/>
                  <a:pt x="409" y="65"/>
                  <a:pt x="409" y="65"/>
                </a:cubicBezTo>
                <a:cubicBezTo>
                  <a:pt x="409" y="65"/>
                  <a:pt x="409" y="65"/>
                  <a:pt x="409" y="65"/>
                </a:cubicBezTo>
                <a:cubicBezTo>
                  <a:pt x="409" y="66"/>
                  <a:pt x="409" y="66"/>
                  <a:pt x="409" y="66"/>
                </a:cubicBezTo>
                <a:cubicBezTo>
                  <a:pt x="408" y="66"/>
                  <a:pt x="408" y="66"/>
                  <a:pt x="408" y="66"/>
                </a:cubicBezTo>
                <a:cubicBezTo>
                  <a:pt x="408" y="67"/>
                  <a:pt x="408" y="67"/>
                  <a:pt x="408" y="67"/>
                </a:cubicBezTo>
                <a:cubicBezTo>
                  <a:pt x="408" y="68"/>
                  <a:pt x="408" y="68"/>
                  <a:pt x="408" y="68"/>
                </a:cubicBezTo>
                <a:cubicBezTo>
                  <a:pt x="408" y="68"/>
                  <a:pt x="408" y="68"/>
                  <a:pt x="408" y="68"/>
                </a:cubicBezTo>
                <a:cubicBezTo>
                  <a:pt x="409" y="69"/>
                  <a:pt x="409" y="69"/>
                  <a:pt x="409" y="69"/>
                </a:cubicBezTo>
                <a:cubicBezTo>
                  <a:pt x="408" y="69"/>
                  <a:pt x="408" y="69"/>
                  <a:pt x="408" y="69"/>
                </a:cubicBezTo>
                <a:cubicBezTo>
                  <a:pt x="408" y="70"/>
                  <a:pt x="408" y="70"/>
                  <a:pt x="408" y="70"/>
                </a:cubicBezTo>
                <a:cubicBezTo>
                  <a:pt x="408" y="70"/>
                  <a:pt x="408" y="70"/>
                  <a:pt x="408" y="70"/>
                </a:cubicBezTo>
                <a:cubicBezTo>
                  <a:pt x="408" y="71"/>
                  <a:pt x="408" y="71"/>
                  <a:pt x="408" y="71"/>
                </a:cubicBezTo>
                <a:cubicBezTo>
                  <a:pt x="408" y="72"/>
                  <a:pt x="408" y="72"/>
                  <a:pt x="408" y="72"/>
                </a:cubicBezTo>
                <a:cubicBezTo>
                  <a:pt x="407" y="73"/>
                  <a:pt x="407" y="73"/>
                  <a:pt x="407" y="73"/>
                </a:cubicBezTo>
                <a:cubicBezTo>
                  <a:pt x="408" y="74"/>
                  <a:pt x="408" y="74"/>
                  <a:pt x="408" y="74"/>
                </a:cubicBezTo>
                <a:cubicBezTo>
                  <a:pt x="408" y="74"/>
                  <a:pt x="408" y="74"/>
                  <a:pt x="408" y="74"/>
                </a:cubicBezTo>
                <a:cubicBezTo>
                  <a:pt x="408" y="75"/>
                  <a:pt x="408" y="75"/>
                  <a:pt x="408" y="75"/>
                </a:cubicBezTo>
                <a:cubicBezTo>
                  <a:pt x="408" y="76"/>
                  <a:pt x="408" y="76"/>
                  <a:pt x="408" y="76"/>
                </a:cubicBezTo>
                <a:cubicBezTo>
                  <a:pt x="408" y="76"/>
                  <a:pt x="408" y="76"/>
                  <a:pt x="408" y="76"/>
                </a:cubicBezTo>
                <a:cubicBezTo>
                  <a:pt x="408" y="77"/>
                  <a:pt x="408" y="77"/>
                  <a:pt x="408" y="77"/>
                </a:cubicBezTo>
                <a:cubicBezTo>
                  <a:pt x="408" y="78"/>
                  <a:pt x="408" y="78"/>
                  <a:pt x="408" y="78"/>
                </a:cubicBezTo>
                <a:cubicBezTo>
                  <a:pt x="407" y="78"/>
                  <a:pt x="407" y="78"/>
                  <a:pt x="407" y="78"/>
                </a:cubicBezTo>
                <a:cubicBezTo>
                  <a:pt x="406" y="78"/>
                  <a:pt x="406" y="78"/>
                  <a:pt x="406" y="78"/>
                </a:cubicBezTo>
                <a:cubicBezTo>
                  <a:pt x="402" y="77"/>
                  <a:pt x="402" y="77"/>
                  <a:pt x="402" y="77"/>
                </a:cubicBezTo>
                <a:cubicBezTo>
                  <a:pt x="402" y="77"/>
                  <a:pt x="402" y="77"/>
                  <a:pt x="402" y="77"/>
                </a:cubicBezTo>
                <a:cubicBezTo>
                  <a:pt x="401" y="76"/>
                  <a:pt x="401" y="76"/>
                  <a:pt x="401" y="76"/>
                </a:cubicBezTo>
                <a:cubicBezTo>
                  <a:pt x="400" y="76"/>
                  <a:pt x="400" y="76"/>
                  <a:pt x="400" y="76"/>
                </a:cubicBezTo>
                <a:cubicBezTo>
                  <a:pt x="399" y="78"/>
                  <a:pt x="399" y="78"/>
                  <a:pt x="399" y="78"/>
                </a:cubicBezTo>
                <a:cubicBezTo>
                  <a:pt x="399" y="79"/>
                  <a:pt x="399" y="79"/>
                  <a:pt x="399" y="79"/>
                </a:cubicBezTo>
                <a:cubicBezTo>
                  <a:pt x="398" y="80"/>
                  <a:pt x="398" y="80"/>
                  <a:pt x="398" y="80"/>
                </a:cubicBezTo>
                <a:cubicBezTo>
                  <a:pt x="397" y="80"/>
                  <a:pt x="397" y="80"/>
                  <a:pt x="397" y="80"/>
                </a:cubicBezTo>
                <a:cubicBezTo>
                  <a:pt x="397" y="80"/>
                  <a:pt x="397" y="80"/>
                  <a:pt x="397" y="80"/>
                </a:cubicBezTo>
                <a:cubicBezTo>
                  <a:pt x="396" y="81"/>
                  <a:pt x="396" y="81"/>
                  <a:pt x="396" y="81"/>
                </a:cubicBezTo>
                <a:cubicBezTo>
                  <a:pt x="397" y="82"/>
                  <a:pt x="397" y="82"/>
                  <a:pt x="397" y="82"/>
                </a:cubicBezTo>
                <a:cubicBezTo>
                  <a:pt x="398" y="84"/>
                  <a:pt x="398" y="84"/>
                  <a:pt x="398" y="84"/>
                </a:cubicBezTo>
                <a:cubicBezTo>
                  <a:pt x="399" y="85"/>
                  <a:pt x="399" y="85"/>
                  <a:pt x="399" y="85"/>
                </a:cubicBezTo>
                <a:cubicBezTo>
                  <a:pt x="399" y="86"/>
                  <a:pt x="399" y="86"/>
                  <a:pt x="399" y="86"/>
                </a:cubicBezTo>
                <a:cubicBezTo>
                  <a:pt x="400" y="87"/>
                  <a:pt x="400" y="87"/>
                  <a:pt x="400" y="87"/>
                </a:cubicBezTo>
                <a:cubicBezTo>
                  <a:pt x="400" y="88"/>
                  <a:pt x="400" y="88"/>
                  <a:pt x="400" y="88"/>
                </a:cubicBezTo>
                <a:cubicBezTo>
                  <a:pt x="400" y="90"/>
                  <a:pt x="400" y="90"/>
                  <a:pt x="400" y="90"/>
                </a:cubicBezTo>
                <a:cubicBezTo>
                  <a:pt x="400" y="91"/>
                  <a:pt x="400" y="91"/>
                  <a:pt x="400" y="91"/>
                </a:cubicBezTo>
                <a:cubicBezTo>
                  <a:pt x="400" y="93"/>
                  <a:pt x="400" y="93"/>
                  <a:pt x="400" y="93"/>
                </a:cubicBezTo>
                <a:cubicBezTo>
                  <a:pt x="401" y="93"/>
                  <a:pt x="401" y="93"/>
                  <a:pt x="401" y="93"/>
                </a:cubicBezTo>
                <a:cubicBezTo>
                  <a:pt x="401" y="95"/>
                  <a:pt x="401" y="95"/>
                  <a:pt x="401" y="95"/>
                </a:cubicBezTo>
                <a:cubicBezTo>
                  <a:pt x="401" y="96"/>
                  <a:pt x="401" y="96"/>
                  <a:pt x="401" y="96"/>
                </a:cubicBezTo>
                <a:cubicBezTo>
                  <a:pt x="401" y="96"/>
                  <a:pt x="401" y="96"/>
                  <a:pt x="401" y="96"/>
                </a:cubicBezTo>
                <a:cubicBezTo>
                  <a:pt x="400" y="97"/>
                  <a:pt x="400" y="97"/>
                  <a:pt x="400" y="97"/>
                </a:cubicBezTo>
                <a:cubicBezTo>
                  <a:pt x="401" y="98"/>
                  <a:pt x="401" y="98"/>
                  <a:pt x="401" y="98"/>
                </a:cubicBezTo>
                <a:cubicBezTo>
                  <a:pt x="401" y="99"/>
                  <a:pt x="401" y="99"/>
                  <a:pt x="401" y="99"/>
                </a:cubicBezTo>
                <a:cubicBezTo>
                  <a:pt x="400" y="99"/>
                  <a:pt x="400" y="99"/>
                  <a:pt x="400" y="99"/>
                </a:cubicBezTo>
                <a:cubicBezTo>
                  <a:pt x="399" y="99"/>
                  <a:pt x="399" y="99"/>
                  <a:pt x="399" y="99"/>
                </a:cubicBezTo>
                <a:cubicBezTo>
                  <a:pt x="398" y="99"/>
                  <a:pt x="398" y="99"/>
                  <a:pt x="398" y="99"/>
                </a:cubicBezTo>
                <a:cubicBezTo>
                  <a:pt x="398" y="100"/>
                  <a:pt x="398" y="100"/>
                  <a:pt x="398" y="100"/>
                </a:cubicBezTo>
                <a:cubicBezTo>
                  <a:pt x="398" y="101"/>
                  <a:pt x="398" y="101"/>
                  <a:pt x="398" y="101"/>
                </a:cubicBezTo>
                <a:cubicBezTo>
                  <a:pt x="399" y="101"/>
                  <a:pt x="399" y="101"/>
                  <a:pt x="399" y="101"/>
                </a:cubicBezTo>
                <a:cubicBezTo>
                  <a:pt x="399" y="102"/>
                  <a:pt x="399" y="102"/>
                  <a:pt x="399" y="102"/>
                </a:cubicBezTo>
                <a:cubicBezTo>
                  <a:pt x="398" y="103"/>
                  <a:pt x="398" y="103"/>
                  <a:pt x="398" y="103"/>
                </a:cubicBezTo>
                <a:cubicBezTo>
                  <a:pt x="393" y="107"/>
                  <a:pt x="393" y="107"/>
                  <a:pt x="393" y="107"/>
                </a:cubicBezTo>
                <a:cubicBezTo>
                  <a:pt x="391" y="116"/>
                  <a:pt x="391" y="116"/>
                  <a:pt x="391" y="116"/>
                </a:cubicBezTo>
                <a:cubicBezTo>
                  <a:pt x="373" y="129"/>
                  <a:pt x="373" y="129"/>
                  <a:pt x="373" y="129"/>
                </a:cubicBezTo>
                <a:cubicBezTo>
                  <a:pt x="370" y="131"/>
                  <a:pt x="370" y="131"/>
                  <a:pt x="370" y="131"/>
                </a:cubicBezTo>
                <a:cubicBezTo>
                  <a:pt x="370" y="131"/>
                  <a:pt x="370" y="131"/>
                  <a:pt x="370" y="131"/>
                </a:cubicBezTo>
                <a:cubicBezTo>
                  <a:pt x="369" y="130"/>
                  <a:pt x="369" y="130"/>
                  <a:pt x="369" y="130"/>
                </a:cubicBezTo>
                <a:cubicBezTo>
                  <a:pt x="367" y="132"/>
                  <a:pt x="367" y="132"/>
                  <a:pt x="367" y="132"/>
                </a:cubicBezTo>
                <a:cubicBezTo>
                  <a:pt x="366" y="132"/>
                  <a:pt x="366" y="132"/>
                  <a:pt x="366" y="132"/>
                </a:cubicBezTo>
                <a:cubicBezTo>
                  <a:pt x="365" y="132"/>
                  <a:pt x="365" y="132"/>
                  <a:pt x="365" y="132"/>
                </a:cubicBezTo>
                <a:cubicBezTo>
                  <a:pt x="365" y="131"/>
                  <a:pt x="365" y="131"/>
                  <a:pt x="365" y="131"/>
                </a:cubicBezTo>
                <a:cubicBezTo>
                  <a:pt x="363" y="133"/>
                  <a:pt x="363" y="133"/>
                  <a:pt x="363" y="133"/>
                </a:cubicBezTo>
                <a:cubicBezTo>
                  <a:pt x="362" y="133"/>
                  <a:pt x="362" y="133"/>
                  <a:pt x="362" y="133"/>
                </a:cubicBezTo>
                <a:cubicBezTo>
                  <a:pt x="361" y="134"/>
                  <a:pt x="361" y="134"/>
                  <a:pt x="361" y="134"/>
                </a:cubicBezTo>
                <a:cubicBezTo>
                  <a:pt x="361" y="134"/>
                  <a:pt x="361" y="134"/>
                  <a:pt x="361" y="134"/>
                </a:cubicBezTo>
                <a:cubicBezTo>
                  <a:pt x="358" y="136"/>
                  <a:pt x="358" y="136"/>
                  <a:pt x="358" y="136"/>
                </a:cubicBezTo>
                <a:cubicBezTo>
                  <a:pt x="356" y="137"/>
                  <a:pt x="356" y="137"/>
                  <a:pt x="356" y="137"/>
                </a:cubicBezTo>
                <a:cubicBezTo>
                  <a:pt x="357" y="138"/>
                  <a:pt x="357" y="138"/>
                  <a:pt x="357" y="138"/>
                </a:cubicBezTo>
                <a:cubicBezTo>
                  <a:pt x="357" y="139"/>
                  <a:pt x="357" y="139"/>
                  <a:pt x="357" y="139"/>
                </a:cubicBezTo>
                <a:cubicBezTo>
                  <a:pt x="355" y="140"/>
                  <a:pt x="355" y="140"/>
                  <a:pt x="355" y="140"/>
                </a:cubicBezTo>
                <a:cubicBezTo>
                  <a:pt x="354" y="141"/>
                  <a:pt x="354" y="141"/>
                  <a:pt x="354" y="141"/>
                </a:cubicBezTo>
                <a:cubicBezTo>
                  <a:pt x="353" y="141"/>
                  <a:pt x="353" y="141"/>
                  <a:pt x="353" y="141"/>
                </a:cubicBezTo>
                <a:cubicBezTo>
                  <a:pt x="352" y="142"/>
                  <a:pt x="352" y="142"/>
                  <a:pt x="352" y="142"/>
                </a:cubicBezTo>
                <a:cubicBezTo>
                  <a:pt x="352" y="142"/>
                  <a:pt x="352" y="142"/>
                  <a:pt x="352" y="142"/>
                </a:cubicBezTo>
                <a:cubicBezTo>
                  <a:pt x="351" y="141"/>
                  <a:pt x="351" y="141"/>
                  <a:pt x="351" y="141"/>
                </a:cubicBezTo>
                <a:cubicBezTo>
                  <a:pt x="350" y="141"/>
                  <a:pt x="350" y="141"/>
                  <a:pt x="350" y="141"/>
                </a:cubicBezTo>
                <a:cubicBezTo>
                  <a:pt x="351" y="140"/>
                  <a:pt x="351" y="140"/>
                  <a:pt x="351" y="140"/>
                </a:cubicBezTo>
                <a:cubicBezTo>
                  <a:pt x="352" y="140"/>
                  <a:pt x="352" y="140"/>
                  <a:pt x="352" y="140"/>
                </a:cubicBezTo>
                <a:cubicBezTo>
                  <a:pt x="353" y="139"/>
                  <a:pt x="353" y="139"/>
                  <a:pt x="353" y="139"/>
                </a:cubicBezTo>
                <a:cubicBezTo>
                  <a:pt x="354" y="139"/>
                  <a:pt x="354" y="139"/>
                  <a:pt x="354" y="139"/>
                </a:cubicBezTo>
                <a:cubicBezTo>
                  <a:pt x="355" y="138"/>
                  <a:pt x="355" y="138"/>
                  <a:pt x="355" y="138"/>
                </a:cubicBezTo>
                <a:cubicBezTo>
                  <a:pt x="355" y="138"/>
                  <a:pt x="355" y="138"/>
                  <a:pt x="355" y="138"/>
                </a:cubicBezTo>
                <a:cubicBezTo>
                  <a:pt x="354" y="138"/>
                  <a:pt x="354" y="138"/>
                  <a:pt x="354" y="138"/>
                </a:cubicBezTo>
                <a:cubicBezTo>
                  <a:pt x="354" y="137"/>
                  <a:pt x="354" y="137"/>
                  <a:pt x="354" y="137"/>
                </a:cubicBezTo>
                <a:cubicBezTo>
                  <a:pt x="355" y="136"/>
                  <a:pt x="355" y="136"/>
                  <a:pt x="355" y="136"/>
                </a:cubicBezTo>
                <a:cubicBezTo>
                  <a:pt x="356" y="135"/>
                  <a:pt x="356" y="135"/>
                  <a:pt x="356" y="135"/>
                </a:cubicBezTo>
                <a:cubicBezTo>
                  <a:pt x="354" y="136"/>
                  <a:pt x="354" y="136"/>
                  <a:pt x="354" y="136"/>
                </a:cubicBezTo>
                <a:cubicBezTo>
                  <a:pt x="353" y="137"/>
                  <a:pt x="353" y="137"/>
                  <a:pt x="353" y="137"/>
                </a:cubicBezTo>
                <a:cubicBezTo>
                  <a:pt x="352" y="136"/>
                  <a:pt x="352" y="136"/>
                  <a:pt x="352" y="136"/>
                </a:cubicBezTo>
                <a:cubicBezTo>
                  <a:pt x="352" y="135"/>
                  <a:pt x="352" y="135"/>
                  <a:pt x="352" y="135"/>
                </a:cubicBezTo>
                <a:cubicBezTo>
                  <a:pt x="353" y="135"/>
                  <a:pt x="353" y="135"/>
                  <a:pt x="353" y="135"/>
                </a:cubicBezTo>
                <a:cubicBezTo>
                  <a:pt x="353" y="134"/>
                  <a:pt x="353" y="134"/>
                  <a:pt x="353" y="134"/>
                </a:cubicBezTo>
                <a:cubicBezTo>
                  <a:pt x="351" y="133"/>
                  <a:pt x="351" y="133"/>
                  <a:pt x="351" y="133"/>
                </a:cubicBezTo>
                <a:cubicBezTo>
                  <a:pt x="352" y="131"/>
                  <a:pt x="352" y="131"/>
                  <a:pt x="352" y="131"/>
                </a:cubicBezTo>
                <a:cubicBezTo>
                  <a:pt x="352" y="131"/>
                  <a:pt x="352" y="131"/>
                  <a:pt x="352" y="131"/>
                </a:cubicBezTo>
                <a:cubicBezTo>
                  <a:pt x="353" y="131"/>
                  <a:pt x="353" y="131"/>
                  <a:pt x="353" y="131"/>
                </a:cubicBezTo>
                <a:cubicBezTo>
                  <a:pt x="353" y="129"/>
                  <a:pt x="353" y="129"/>
                  <a:pt x="353" y="129"/>
                </a:cubicBezTo>
                <a:cubicBezTo>
                  <a:pt x="354" y="127"/>
                  <a:pt x="354" y="127"/>
                  <a:pt x="354" y="127"/>
                </a:cubicBezTo>
                <a:cubicBezTo>
                  <a:pt x="354" y="126"/>
                  <a:pt x="354" y="126"/>
                  <a:pt x="354" y="126"/>
                </a:cubicBezTo>
                <a:cubicBezTo>
                  <a:pt x="355" y="126"/>
                  <a:pt x="355" y="126"/>
                  <a:pt x="355" y="126"/>
                </a:cubicBezTo>
                <a:cubicBezTo>
                  <a:pt x="355" y="125"/>
                  <a:pt x="355" y="125"/>
                  <a:pt x="355" y="125"/>
                </a:cubicBezTo>
                <a:cubicBezTo>
                  <a:pt x="352" y="123"/>
                  <a:pt x="352" y="123"/>
                  <a:pt x="352" y="123"/>
                </a:cubicBezTo>
                <a:cubicBezTo>
                  <a:pt x="350" y="121"/>
                  <a:pt x="350" y="121"/>
                  <a:pt x="350" y="121"/>
                </a:cubicBezTo>
                <a:cubicBezTo>
                  <a:pt x="350" y="122"/>
                  <a:pt x="350" y="122"/>
                  <a:pt x="350" y="122"/>
                </a:cubicBezTo>
                <a:cubicBezTo>
                  <a:pt x="349" y="122"/>
                  <a:pt x="349" y="122"/>
                  <a:pt x="349" y="122"/>
                </a:cubicBezTo>
                <a:cubicBezTo>
                  <a:pt x="348" y="122"/>
                  <a:pt x="348" y="122"/>
                  <a:pt x="348" y="122"/>
                </a:cubicBezTo>
                <a:cubicBezTo>
                  <a:pt x="347" y="122"/>
                  <a:pt x="347" y="122"/>
                  <a:pt x="347" y="122"/>
                </a:cubicBezTo>
                <a:cubicBezTo>
                  <a:pt x="346" y="123"/>
                  <a:pt x="346" y="123"/>
                  <a:pt x="346" y="123"/>
                </a:cubicBezTo>
                <a:cubicBezTo>
                  <a:pt x="345" y="124"/>
                  <a:pt x="345" y="124"/>
                  <a:pt x="345" y="124"/>
                </a:cubicBezTo>
                <a:cubicBezTo>
                  <a:pt x="345" y="125"/>
                  <a:pt x="345" y="125"/>
                  <a:pt x="345" y="125"/>
                </a:cubicBezTo>
                <a:cubicBezTo>
                  <a:pt x="344" y="126"/>
                  <a:pt x="344" y="126"/>
                  <a:pt x="344" y="126"/>
                </a:cubicBezTo>
                <a:cubicBezTo>
                  <a:pt x="344" y="129"/>
                  <a:pt x="344" y="129"/>
                  <a:pt x="344" y="129"/>
                </a:cubicBezTo>
                <a:cubicBezTo>
                  <a:pt x="343" y="129"/>
                  <a:pt x="343" y="129"/>
                  <a:pt x="343" y="129"/>
                </a:cubicBezTo>
                <a:cubicBezTo>
                  <a:pt x="342" y="131"/>
                  <a:pt x="342" y="131"/>
                  <a:pt x="342" y="131"/>
                </a:cubicBezTo>
                <a:cubicBezTo>
                  <a:pt x="341" y="131"/>
                  <a:pt x="341" y="131"/>
                  <a:pt x="341" y="131"/>
                </a:cubicBezTo>
                <a:cubicBezTo>
                  <a:pt x="339" y="132"/>
                  <a:pt x="339" y="132"/>
                  <a:pt x="339" y="132"/>
                </a:cubicBezTo>
                <a:cubicBezTo>
                  <a:pt x="338" y="135"/>
                  <a:pt x="338" y="135"/>
                  <a:pt x="338" y="135"/>
                </a:cubicBezTo>
                <a:cubicBezTo>
                  <a:pt x="337" y="136"/>
                  <a:pt x="337" y="136"/>
                  <a:pt x="337" y="136"/>
                </a:cubicBezTo>
                <a:cubicBezTo>
                  <a:pt x="338" y="136"/>
                  <a:pt x="338" y="136"/>
                  <a:pt x="338" y="136"/>
                </a:cubicBezTo>
                <a:cubicBezTo>
                  <a:pt x="338" y="138"/>
                  <a:pt x="338" y="138"/>
                  <a:pt x="338" y="138"/>
                </a:cubicBezTo>
                <a:cubicBezTo>
                  <a:pt x="337" y="138"/>
                  <a:pt x="337" y="138"/>
                  <a:pt x="337" y="138"/>
                </a:cubicBezTo>
                <a:cubicBezTo>
                  <a:pt x="338" y="138"/>
                  <a:pt x="338" y="138"/>
                  <a:pt x="338" y="138"/>
                </a:cubicBezTo>
                <a:cubicBezTo>
                  <a:pt x="337" y="140"/>
                  <a:pt x="337" y="140"/>
                  <a:pt x="337" y="140"/>
                </a:cubicBezTo>
                <a:cubicBezTo>
                  <a:pt x="335" y="140"/>
                  <a:pt x="335" y="140"/>
                  <a:pt x="335" y="140"/>
                </a:cubicBezTo>
                <a:cubicBezTo>
                  <a:pt x="333" y="140"/>
                  <a:pt x="333" y="140"/>
                  <a:pt x="333" y="140"/>
                </a:cubicBezTo>
                <a:cubicBezTo>
                  <a:pt x="331" y="139"/>
                  <a:pt x="331" y="139"/>
                  <a:pt x="331" y="139"/>
                </a:cubicBezTo>
                <a:cubicBezTo>
                  <a:pt x="331" y="140"/>
                  <a:pt x="331" y="140"/>
                  <a:pt x="331" y="140"/>
                </a:cubicBezTo>
                <a:cubicBezTo>
                  <a:pt x="330" y="140"/>
                  <a:pt x="330" y="140"/>
                  <a:pt x="330" y="140"/>
                </a:cubicBezTo>
                <a:cubicBezTo>
                  <a:pt x="330" y="142"/>
                  <a:pt x="330" y="142"/>
                  <a:pt x="330" y="142"/>
                </a:cubicBezTo>
                <a:cubicBezTo>
                  <a:pt x="330" y="142"/>
                  <a:pt x="330" y="142"/>
                  <a:pt x="330" y="142"/>
                </a:cubicBezTo>
                <a:cubicBezTo>
                  <a:pt x="330" y="143"/>
                  <a:pt x="330" y="143"/>
                  <a:pt x="330" y="143"/>
                </a:cubicBezTo>
                <a:cubicBezTo>
                  <a:pt x="329" y="143"/>
                  <a:pt x="329" y="143"/>
                  <a:pt x="329" y="143"/>
                </a:cubicBezTo>
                <a:cubicBezTo>
                  <a:pt x="330" y="145"/>
                  <a:pt x="330" y="145"/>
                  <a:pt x="330" y="145"/>
                </a:cubicBezTo>
                <a:cubicBezTo>
                  <a:pt x="330" y="146"/>
                  <a:pt x="330" y="146"/>
                  <a:pt x="330" y="146"/>
                </a:cubicBezTo>
                <a:cubicBezTo>
                  <a:pt x="331" y="147"/>
                  <a:pt x="331" y="147"/>
                  <a:pt x="331" y="147"/>
                </a:cubicBezTo>
                <a:cubicBezTo>
                  <a:pt x="333" y="148"/>
                  <a:pt x="333" y="148"/>
                  <a:pt x="333" y="148"/>
                </a:cubicBezTo>
                <a:cubicBezTo>
                  <a:pt x="334" y="149"/>
                  <a:pt x="334" y="149"/>
                  <a:pt x="334" y="149"/>
                </a:cubicBezTo>
                <a:cubicBezTo>
                  <a:pt x="335" y="151"/>
                  <a:pt x="335" y="151"/>
                  <a:pt x="335" y="151"/>
                </a:cubicBezTo>
                <a:cubicBezTo>
                  <a:pt x="335" y="150"/>
                  <a:pt x="335" y="150"/>
                  <a:pt x="335" y="150"/>
                </a:cubicBezTo>
                <a:cubicBezTo>
                  <a:pt x="335" y="151"/>
                  <a:pt x="335" y="151"/>
                  <a:pt x="335" y="151"/>
                </a:cubicBezTo>
                <a:cubicBezTo>
                  <a:pt x="336" y="150"/>
                  <a:pt x="336" y="150"/>
                  <a:pt x="336" y="150"/>
                </a:cubicBezTo>
                <a:cubicBezTo>
                  <a:pt x="336" y="150"/>
                  <a:pt x="336" y="150"/>
                  <a:pt x="336" y="150"/>
                </a:cubicBezTo>
                <a:cubicBezTo>
                  <a:pt x="336" y="151"/>
                  <a:pt x="336" y="151"/>
                  <a:pt x="336" y="151"/>
                </a:cubicBezTo>
                <a:cubicBezTo>
                  <a:pt x="337" y="150"/>
                  <a:pt x="337" y="150"/>
                  <a:pt x="337" y="150"/>
                </a:cubicBezTo>
                <a:cubicBezTo>
                  <a:pt x="339" y="150"/>
                  <a:pt x="339" y="150"/>
                  <a:pt x="339" y="150"/>
                </a:cubicBezTo>
                <a:cubicBezTo>
                  <a:pt x="339" y="151"/>
                  <a:pt x="339" y="151"/>
                  <a:pt x="339" y="151"/>
                </a:cubicBezTo>
                <a:cubicBezTo>
                  <a:pt x="339" y="153"/>
                  <a:pt x="339" y="153"/>
                  <a:pt x="339" y="153"/>
                </a:cubicBezTo>
                <a:cubicBezTo>
                  <a:pt x="341" y="157"/>
                  <a:pt x="341" y="157"/>
                  <a:pt x="341" y="157"/>
                </a:cubicBezTo>
                <a:cubicBezTo>
                  <a:pt x="342" y="157"/>
                  <a:pt x="342" y="157"/>
                  <a:pt x="342" y="157"/>
                </a:cubicBezTo>
                <a:cubicBezTo>
                  <a:pt x="344" y="156"/>
                  <a:pt x="344" y="156"/>
                  <a:pt x="344" y="156"/>
                </a:cubicBezTo>
                <a:cubicBezTo>
                  <a:pt x="345" y="156"/>
                  <a:pt x="345" y="156"/>
                  <a:pt x="345" y="156"/>
                </a:cubicBezTo>
                <a:cubicBezTo>
                  <a:pt x="345" y="156"/>
                  <a:pt x="345" y="156"/>
                  <a:pt x="345" y="156"/>
                </a:cubicBezTo>
                <a:cubicBezTo>
                  <a:pt x="346" y="155"/>
                  <a:pt x="346" y="155"/>
                  <a:pt x="346" y="155"/>
                </a:cubicBezTo>
                <a:cubicBezTo>
                  <a:pt x="345" y="154"/>
                  <a:pt x="345" y="154"/>
                  <a:pt x="345" y="154"/>
                </a:cubicBezTo>
                <a:cubicBezTo>
                  <a:pt x="345" y="154"/>
                  <a:pt x="345" y="154"/>
                  <a:pt x="345" y="154"/>
                </a:cubicBezTo>
                <a:cubicBezTo>
                  <a:pt x="347" y="153"/>
                  <a:pt x="347" y="153"/>
                  <a:pt x="347" y="153"/>
                </a:cubicBezTo>
                <a:cubicBezTo>
                  <a:pt x="348" y="152"/>
                  <a:pt x="348" y="152"/>
                  <a:pt x="348" y="152"/>
                </a:cubicBezTo>
                <a:cubicBezTo>
                  <a:pt x="348" y="151"/>
                  <a:pt x="348" y="151"/>
                  <a:pt x="348" y="151"/>
                </a:cubicBezTo>
                <a:cubicBezTo>
                  <a:pt x="347" y="151"/>
                  <a:pt x="347" y="151"/>
                  <a:pt x="347" y="151"/>
                </a:cubicBezTo>
                <a:cubicBezTo>
                  <a:pt x="349" y="151"/>
                  <a:pt x="349" y="151"/>
                  <a:pt x="349" y="151"/>
                </a:cubicBezTo>
                <a:cubicBezTo>
                  <a:pt x="352" y="149"/>
                  <a:pt x="352" y="149"/>
                  <a:pt x="352" y="149"/>
                </a:cubicBezTo>
                <a:cubicBezTo>
                  <a:pt x="352" y="150"/>
                  <a:pt x="352" y="150"/>
                  <a:pt x="352" y="150"/>
                </a:cubicBezTo>
                <a:cubicBezTo>
                  <a:pt x="353" y="150"/>
                  <a:pt x="353" y="150"/>
                  <a:pt x="353" y="150"/>
                </a:cubicBezTo>
                <a:cubicBezTo>
                  <a:pt x="353" y="151"/>
                  <a:pt x="353" y="151"/>
                  <a:pt x="353" y="151"/>
                </a:cubicBezTo>
                <a:cubicBezTo>
                  <a:pt x="354" y="152"/>
                  <a:pt x="354" y="152"/>
                  <a:pt x="354" y="152"/>
                </a:cubicBezTo>
                <a:cubicBezTo>
                  <a:pt x="355" y="152"/>
                  <a:pt x="355" y="152"/>
                  <a:pt x="355" y="152"/>
                </a:cubicBezTo>
                <a:cubicBezTo>
                  <a:pt x="359" y="152"/>
                  <a:pt x="359" y="152"/>
                  <a:pt x="359" y="152"/>
                </a:cubicBezTo>
                <a:cubicBezTo>
                  <a:pt x="359" y="152"/>
                  <a:pt x="359" y="152"/>
                  <a:pt x="359" y="152"/>
                </a:cubicBezTo>
                <a:cubicBezTo>
                  <a:pt x="361" y="152"/>
                  <a:pt x="361" y="152"/>
                  <a:pt x="361" y="152"/>
                </a:cubicBezTo>
                <a:cubicBezTo>
                  <a:pt x="361" y="152"/>
                  <a:pt x="361" y="152"/>
                  <a:pt x="361" y="152"/>
                </a:cubicBezTo>
                <a:cubicBezTo>
                  <a:pt x="362" y="152"/>
                  <a:pt x="362" y="152"/>
                  <a:pt x="362" y="152"/>
                </a:cubicBezTo>
                <a:cubicBezTo>
                  <a:pt x="364" y="152"/>
                  <a:pt x="364" y="152"/>
                  <a:pt x="364" y="152"/>
                </a:cubicBezTo>
                <a:cubicBezTo>
                  <a:pt x="365" y="152"/>
                  <a:pt x="365" y="152"/>
                  <a:pt x="365" y="152"/>
                </a:cubicBezTo>
                <a:cubicBezTo>
                  <a:pt x="363" y="153"/>
                  <a:pt x="363" y="153"/>
                  <a:pt x="363" y="153"/>
                </a:cubicBezTo>
                <a:cubicBezTo>
                  <a:pt x="363" y="153"/>
                  <a:pt x="363" y="153"/>
                  <a:pt x="363" y="153"/>
                </a:cubicBezTo>
                <a:cubicBezTo>
                  <a:pt x="364" y="155"/>
                  <a:pt x="364" y="155"/>
                  <a:pt x="364" y="155"/>
                </a:cubicBezTo>
                <a:cubicBezTo>
                  <a:pt x="364" y="155"/>
                  <a:pt x="364" y="155"/>
                  <a:pt x="364" y="155"/>
                </a:cubicBezTo>
                <a:cubicBezTo>
                  <a:pt x="363" y="155"/>
                  <a:pt x="363" y="155"/>
                  <a:pt x="363" y="155"/>
                </a:cubicBezTo>
                <a:cubicBezTo>
                  <a:pt x="363" y="156"/>
                  <a:pt x="363" y="156"/>
                  <a:pt x="363" y="156"/>
                </a:cubicBezTo>
                <a:cubicBezTo>
                  <a:pt x="364" y="157"/>
                  <a:pt x="364" y="157"/>
                  <a:pt x="364" y="157"/>
                </a:cubicBezTo>
                <a:cubicBezTo>
                  <a:pt x="364" y="157"/>
                  <a:pt x="364" y="157"/>
                  <a:pt x="364" y="157"/>
                </a:cubicBezTo>
                <a:cubicBezTo>
                  <a:pt x="362" y="159"/>
                  <a:pt x="362" y="159"/>
                  <a:pt x="362" y="159"/>
                </a:cubicBezTo>
                <a:cubicBezTo>
                  <a:pt x="361" y="158"/>
                  <a:pt x="361" y="158"/>
                  <a:pt x="361" y="158"/>
                </a:cubicBezTo>
                <a:cubicBezTo>
                  <a:pt x="361" y="157"/>
                  <a:pt x="361" y="157"/>
                  <a:pt x="361" y="157"/>
                </a:cubicBezTo>
                <a:cubicBezTo>
                  <a:pt x="360" y="158"/>
                  <a:pt x="360" y="158"/>
                  <a:pt x="360" y="158"/>
                </a:cubicBezTo>
                <a:cubicBezTo>
                  <a:pt x="360" y="157"/>
                  <a:pt x="360" y="157"/>
                  <a:pt x="360" y="157"/>
                </a:cubicBezTo>
                <a:cubicBezTo>
                  <a:pt x="358" y="159"/>
                  <a:pt x="358" y="159"/>
                  <a:pt x="358" y="159"/>
                </a:cubicBezTo>
                <a:cubicBezTo>
                  <a:pt x="358" y="159"/>
                  <a:pt x="358" y="159"/>
                  <a:pt x="358" y="159"/>
                </a:cubicBezTo>
                <a:cubicBezTo>
                  <a:pt x="356" y="160"/>
                  <a:pt x="356" y="160"/>
                  <a:pt x="356" y="160"/>
                </a:cubicBezTo>
                <a:cubicBezTo>
                  <a:pt x="355" y="159"/>
                  <a:pt x="355" y="159"/>
                  <a:pt x="355" y="159"/>
                </a:cubicBezTo>
                <a:cubicBezTo>
                  <a:pt x="355" y="160"/>
                  <a:pt x="355" y="160"/>
                  <a:pt x="355" y="160"/>
                </a:cubicBezTo>
                <a:cubicBezTo>
                  <a:pt x="354" y="159"/>
                  <a:pt x="354" y="159"/>
                  <a:pt x="354" y="159"/>
                </a:cubicBezTo>
                <a:cubicBezTo>
                  <a:pt x="353" y="160"/>
                  <a:pt x="353" y="160"/>
                  <a:pt x="353" y="160"/>
                </a:cubicBezTo>
                <a:cubicBezTo>
                  <a:pt x="354" y="161"/>
                  <a:pt x="354" y="161"/>
                  <a:pt x="354" y="161"/>
                </a:cubicBezTo>
                <a:cubicBezTo>
                  <a:pt x="354" y="161"/>
                  <a:pt x="354" y="161"/>
                  <a:pt x="354" y="161"/>
                </a:cubicBezTo>
                <a:cubicBezTo>
                  <a:pt x="353" y="162"/>
                  <a:pt x="353" y="162"/>
                  <a:pt x="353" y="162"/>
                </a:cubicBezTo>
                <a:cubicBezTo>
                  <a:pt x="353" y="163"/>
                  <a:pt x="353" y="163"/>
                  <a:pt x="353" y="163"/>
                </a:cubicBezTo>
                <a:cubicBezTo>
                  <a:pt x="351" y="163"/>
                  <a:pt x="351" y="163"/>
                  <a:pt x="351" y="163"/>
                </a:cubicBezTo>
                <a:cubicBezTo>
                  <a:pt x="350" y="164"/>
                  <a:pt x="350" y="164"/>
                  <a:pt x="350" y="164"/>
                </a:cubicBezTo>
                <a:cubicBezTo>
                  <a:pt x="350" y="165"/>
                  <a:pt x="350" y="165"/>
                  <a:pt x="350" y="165"/>
                </a:cubicBezTo>
                <a:cubicBezTo>
                  <a:pt x="351" y="166"/>
                  <a:pt x="351" y="166"/>
                  <a:pt x="351" y="166"/>
                </a:cubicBezTo>
                <a:cubicBezTo>
                  <a:pt x="350" y="167"/>
                  <a:pt x="350" y="167"/>
                  <a:pt x="350" y="167"/>
                </a:cubicBezTo>
                <a:cubicBezTo>
                  <a:pt x="350" y="167"/>
                  <a:pt x="350" y="167"/>
                  <a:pt x="350" y="167"/>
                </a:cubicBezTo>
                <a:cubicBezTo>
                  <a:pt x="348" y="168"/>
                  <a:pt x="348" y="168"/>
                  <a:pt x="348" y="168"/>
                </a:cubicBezTo>
                <a:cubicBezTo>
                  <a:pt x="348" y="169"/>
                  <a:pt x="348" y="169"/>
                  <a:pt x="348" y="169"/>
                </a:cubicBezTo>
                <a:cubicBezTo>
                  <a:pt x="347" y="168"/>
                  <a:pt x="347" y="168"/>
                  <a:pt x="347" y="168"/>
                </a:cubicBezTo>
                <a:cubicBezTo>
                  <a:pt x="347" y="170"/>
                  <a:pt x="347" y="170"/>
                  <a:pt x="347" y="170"/>
                </a:cubicBezTo>
                <a:cubicBezTo>
                  <a:pt x="347" y="172"/>
                  <a:pt x="347" y="172"/>
                  <a:pt x="347" y="172"/>
                </a:cubicBezTo>
                <a:cubicBezTo>
                  <a:pt x="347" y="174"/>
                  <a:pt x="347" y="174"/>
                  <a:pt x="347" y="174"/>
                </a:cubicBezTo>
                <a:cubicBezTo>
                  <a:pt x="347" y="177"/>
                  <a:pt x="347" y="177"/>
                  <a:pt x="347" y="177"/>
                </a:cubicBezTo>
                <a:cubicBezTo>
                  <a:pt x="347" y="177"/>
                  <a:pt x="347" y="177"/>
                  <a:pt x="347" y="177"/>
                </a:cubicBezTo>
                <a:cubicBezTo>
                  <a:pt x="351" y="178"/>
                  <a:pt x="351" y="178"/>
                  <a:pt x="351" y="178"/>
                </a:cubicBezTo>
                <a:cubicBezTo>
                  <a:pt x="351" y="179"/>
                  <a:pt x="351" y="179"/>
                  <a:pt x="351" y="179"/>
                </a:cubicBezTo>
                <a:cubicBezTo>
                  <a:pt x="351" y="179"/>
                  <a:pt x="351" y="179"/>
                  <a:pt x="351" y="179"/>
                </a:cubicBezTo>
                <a:cubicBezTo>
                  <a:pt x="355" y="180"/>
                  <a:pt x="355" y="180"/>
                  <a:pt x="355" y="180"/>
                </a:cubicBezTo>
                <a:cubicBezTo>
                  <a:pt x="357" y="184"/>
                  <a:pt x="357" y="184"/>
                  <a:pt x="357" y="184"/>
                </a:cubicBezTo>
                <a:cubicBezTo>
                  <a:pt x="357" y="185"/>
                  <a:pt x="357" y="185"/>
                  <a:pt x="357" y="185"/>
                </a:cubicBezTo>
                <a:cubicBezTo>
                  <a:pt x="357" y="186"/>
                  <a:pt x="357" y="186"/>
                  <a:pt x="357" y="186"/>
                </a:cubicBezTo>
                <a:cubicBezTo>
                  <a:pt x="358" y="186"/>
                  <a:pt x="358" y="186"/>
                  <a:pt x="358" y="186"/>
                </a:cubicBezTo>
                <a:cubicBezTo>
                  <a:pt x="358" y="188"/>
                  <a:pt x="358" y="188"/>
                  <a:pt x="358" y="188"/>
                </a:cubicBezTo>
                <a:cubicBezTo>
                  <a:pt x="360" y="190"/>
                  <a:pt x="360" y="190"/>
                  <a:pt x="360" y="190"/>
                </a:cubicBezTo>
                <a:cubicBezTo>
                  <a:pt x="360" y="192"/>
                  <a:pt x="360" y="192"/>
                  <a:pt x="360" y="192"/>
                </a:cubicBezTo>
                <a:cubicBezTo>
                  <a:pt x="362" y="194"/>
                  <a:pt x="362" y="194"/>
                  <a:pt x="362" y="194"/>
                </a:cubicBezTo>
                <a:cubicBezTo>
                  <a:pt x="363" y="195"/>
                  <a:pt x="363" y="195"/>
                  <a:pt x="363" y="195"/>
                </a:cubicBezTo>
                <a:cubicBezTo>
                  <a:pt x="365" y="195"/>
                  <a:pt x="365" y="195"/>
                  <a:pt x="365" y="195"/>
                </a:cubicBezTo>
                <a:cubicBezTo>
                  <a:pt x="365" y="195"/>
                  <a:pt x="365" y="195"/>
                  <a:pt x="365" y="195"/>
                </a:cubicBezTo>
                <a:cubicBezTo>
                  <a:pt x="365" y="196"/>
                  <a:pt x="365" y="196"/>
                  <a:pt x="365" y="196"/>
                </a:cubicBezTo>
                <a:cubicBezTo>
                  <a:pt x="367" y="197"/>
                  <a:pt x="367" y="197"/>
                  <a:pt x="367" y="197"/>
                </a:cubicBezTo>
                <a:cubicBezTo>
                  <a:pt x="368" y="198"/>
                  <a:pt x="368" y="198"/>
                  <a:pt x="368" y="198"/>
                </a:cubicBezTo>
                <a:cubicBezTo>
                  <a:pt x="368" y="200"/>
                  <a:pt x="368" y="200"/>
                  <a:pt x="368" y="200"/>
                </a:cubicBezTo>
                <a:cubicBezTo>
                  <a:pt x="368" y="200"/>
                  <a:pt x="368" y="200"/>
                  <a:pt x="368" y="200"/>
                </a:cubicBezTo>
                <a:cubicBezTo>
                  <a:pt x="365" y="199"/>
                  <a:pt x="365" y="199"/>
                  <a:pt x="365" y="199"/>
                </a:cubicBezTo>
                <a:cubicBezTo>
                  <a:pt x="363" y="200"/>
                  <a:pt x="363" y="200"/>
                  <a:pt x="363" y="200"/>
                </a:cubicBezTo>
                <a:cubicBezTo>
                  <a:pt x="362" y="199"/>
                  <a:pt x="362" y="199"/>
                  <a:pt x="362" y="199"/>
                </a:cubicBezTo>
                <a:cubicBezTo>
                  <a:pt x="361" y="199"/>
                  <a:pt x="361" y="199"/>
                  <a:pt x="361" y="199"/>
                </a:cubicBezTo>
                <a:cubicBezTo>
                  <a:pt x="360" y="198"/>
                  <a:pt x="360" y="198"/>
                  <a:pt x="360" y="198"/>
                </a:cubicBezTo>
                <a:cubicBezTo>
                  <a:pt x="358" y="198"/>
                  <a:pt x="358" y="198"/>
                  <a:pt x="358" y="198"/>
                </a:cubicBezTo>
                <a:cubicBezTo>
                  <a:pt x="357" y="199"/>
                  <a:pt x="357" y="199"/>
                  <a:pt x="357" y="199"/>
                </a:cubicBezTo>
                <a:cubicBezTo>
                  <a:pt x="356" y="199"/>
                  <a:pt x="356" y="199"/>
                  <a:pt x="356" y="199"/>
                </a:cubicBezTo>
                <a:cubicBezTo>
                  <a:pt x="355" y="198"/>
                  <a:pt x="355" y="198"/>
                  <a:pt x="355" y="198"/>
                </a:cubicBezTo>
                <a:cubicBezTo>
                  <a:pt x="354" y="196"/>
                  <a:pt x="354" y="196"/>
                  <a:pt x="354" y="196"/>
                </a:cubicBezTo>
                <a:cubicBezTo>
                  <a:pt x="353" y="197"/>
                  <a:pt x="353" y="197"/>
                  <a:pt x="353" y="197"/>
                </a:cubicBezTo>
                <a:cubicBezTo>
                  <a:pt x="352" y="196"/>
                  <a:pt x="352" y="196"/>
                  <a:pt x="352" y="196"/>
                </a:cubicBezTo>
                <a:cubicBezTo>
                  <a:pt x="351" y="197"/>
                  <a:pt x="351" y="197"/>
                  <a:pt x="351" y="197"/>
                </a:cubicBezTo>
                <a:cubicBezTo>
                  <a:pt x="350" y="197"/>
                  <a:pt x="350" y="197"/>
                  <a:pt x="350" y="197"/>
                </a:cubicBezTo>
                <a:cubicBezTo>
                  <a:pt x="350" y="196"/>
                  <a:pt x="350" y="196"/>
                  <a:pt x="350" y="196"/>
                </a:cubicBezTo>
                <a:cubicBezTo>
                  <a:pt x="349" y="197"/>
                  <a:pt x="349" y="197"/>
                  <a:pt x="349" y="197"/>
                </a:cubicBezTo>
                <a:cubicBezTo>
                  <a:pt x="347" y="200"/>
                  <a:pt x="347" y="200"/>
                  <a:pt x="347" y="200"/>
                </a:cubicBezTo>
                <a:cubicBezTo>
                  <a:pt x="349" y="198"/>
                  <a:pt x="349" y="198"/>
                  <a:pt x="349" y="198"/>
                </a:cubicBezTo>
                <a:cubicBezTo>
                  <a:pt x="350" y="197"/>
                  <a:pt x="350" y="197"/>
                  <a:pt x="350" y="197"/>
                </a:cubicBezTo>
                <a:cubicBezTo>
                  <a:pt x="352" y="197"/>
                  <a:pt x="352" y="197"/>
                  <a:pt x="352" y="197"/>
                </a:cubicBezTo>
                <a:cubicBezTo>
                  <a:pt x="353" y="197"/>
                  <a:pt x="353" y="197"/>
                  <a:pt x="353" y="197"/>
                </a:cubicBezTo>
                <a:cubicBezTo>
                  <a:pt x="354" y="197"/>
                  <a:pt x="354" y="197"/>
                  <a:pt x="354" y="197"/>
                </a:cubicBezTo>
                <a:cubicBezTo>
                  <a:pt x="354" y="198"/>
                  <a:pt x="354" y="198"/>
                  <a:pt x="354" y="198"/>
                </a:cubicBezTo>
                <a:cubicBezTo>
                  <a:pt x="356" y="199"/>
                  <a:pt x="356" y="199"/>
                  <a:pt x="356" y="199"/>
                </a:cubicBezTo>
                <a:cubicBezTo>
                  <a:pt x="357" y="200"/>
                  <a:pt x="357" y="200"/>
                  <a:pt x="357" y="200"/>
                </a:cubicBezTo>
                <a:cubicBezTo>
                  <a:pt x="359" y="198"/>
                  <a:pt x="359" y="198"/>
                  <a:pt x="359" y="198"/>
                </a:cubicBezTo>
                <a:cubicBezTo>
                  <a:pt x="360" y="198"/>
                  <a:pt x="360" y="198"/>
                  <a:pt x="360" y="198"/>
                </a:cubicBezTo>
                <a:cubicBezTo>
                  <a:pt x="362" y="201"/>
                  <a:pt x="362" y="201"/>
                  <a:pt x="362" y="201"/>
                </a:cubicBezTo>
                <a:cubicBezTo>
                  <a:pt x="364" y="202"/>
                  <a:pt x="364" y="202"/>
                  <a:pt x="364" y="202"/>
                </a:cubicBezTo>
                <a:cubicBezTo>
                  <a:pt x="368" y="204"/>
                  <a:pt x="368" y="204"/>
                  <a:pt x="368" y="204"/>
                </a:cubicBezTo>
                <a:cubicBezTo>
                  <a:pt x="369" y="206"/>
                  <a:pt x="369" y="206"/>
                  <a:pt x="369" y="206"/>
                </a:cubicBezTo>
                <a:cubicBezTo>
                  <a:pt x="369" y="207"/>
                  <a:pt x="369" y="207"/>
                  <a:pt x="369" y="207"/>
                </a:cubicBezTo>
                <a:cubicBezTo>
                  <a:pt x="367" y="207"/>
                  <a:pt x="367" y="207"/>
                  <a:pt x="367" y="207"/>
                </a:cubicBezTo>
                <a:cubicBezTo>
                  <a:pt x="366" y="209"/>
                  <a:pt x="366" y="209"/>
                  <a:pt x="366" y="209"/>
                </a:cubicBezTo>
                <a:cubicBezTo>
                  <a:pt x="365" y="209"/>
                  <a:pt x="365" y="209"/>
                  <a:pt x="365" y="209"/>
                </a:cubicBezTo>
                <a:cubicBezTo>
                  <a:pt x="365" y="210"/>
                  <a:pt x="365" y="210"/>
                  <a:pt x="365" y="210"/>
                </a:cubicBezTo>
                <a:cubicBezTo>
                  <a:pt x="364" y="211"/>
                  <a:pt x="364" y="211"/>
                  <a:pt x="364" y="211"/>
                </a:cubicBezTo>
                <a:cubicBezTo>
                  <a:pt x="363" y="211"/>
                  <a:pt x="363" y="211"/>
                  <a:pt x="363" y="211"/>
                </a:cubicBezTo>
                <a:cubicBezTo>
                  <a:pt x="362" y="210"/>
                  <a:pt x="362" y="210"/>
                  <a:pt x="362" y="210"/>
                </a:cubicBezTo>
                <a:cubicBezTo>
                  <a:pt x="361" y="211"/>
                  <a:pt x="361" y="211"/>
                  <a:pt x="361" y="211"/>
                </a:cubicBezTo>
                <a:cubicBezTo>
                  <a:pt x="360" y="211"/>
                  <a:pt x="360" y="211"/>
                  <a:pt x="360" y="211"/>
                </a:cubicBezTo>
                <a:cubicBezTo>
                  <a:pt x="359" y="212"/>
                  <a:pt x="359" y="212"/>
                  <a:pt x="359" y="212"/>
                </a:cubicBezTo>
                <a:cubicBezTo>
                  <a:pt x="359" y="214"/>
                  <a:pt x="359" y="214"/>
                  <a:pt x="359" y="214"/>
                </a:cubicBezTo>
                <a:cubicBezTo>
                  <a:pt x="359" y="213"/>
                  <a:pt x="359" y="213"/>
                  <a:pt x="359" y="213"/>
                </a:cubicBezTo>
                <a:cubicBezTo>
                  <a:pt x="360" y="212"/>
                  <a:pt x="360" y="212"/>
                  <a:pt x="360" y="212"/>
                </a:cubicBezTo>
                <a:cubicBezTo>
                  <a:pt x="362" y="211"/>
                  <a:pt x="362" y="211"/>
                  <a:pt x="362" y="211"/>
                </a:cubicBezTo>
                <a:cubicBezTo>
                  <a:pt x="363" y="213"/>
                  <a:pt x="363" y="213"/>
                  <a:pt x="363" y="213"/>
                </a:cubicBezTo>
                <a:cubicBezTo>
                  <a:pt x="364" y="213"/>
                  <a:pt x="364" y="213"/>
                  <a:pt x="364" y="213"/>
                </a:cubicBezTo>
                <a:cubicBezTo>
                  <a:pt x="366" y="212"/>
                  <a:pt x="366" y="212"/>
                  <a:pt x="366" y="212"/>
                </a:cubicBezTo>
                <a:cubicBezTo>
                  <a:pt x="367" y="212"/>
                  <a:pt x="367" y="212"/>
                  <a:pt x="367" y="212"/>
                </a:cubicBezTo>
                <a:cubicBezTo>
                  <a:pt x="369" y="215"/>
                  <a:pt x="369" y="215"/>
                  <a:pt x="369" y="215"/>
                </a:cubicBezTo>
                <a:cubicBezTo>
                  <a:pt x="370" y="214"/>
                  <a:pt x="370" y="214"/>
                  <a:pt x="370" y="214"/>
                </a:cubicBezTo>
                <a:cubicBezTo>
                  <a:pt x="370" y="215"/>
                  <a:pt x="370" y="215"/>
                  <a:pt x="370" y="215"/>
                </a:cubicBezTo>
                <a:cubicBezTo>
                  <a:pt x="371" y="215"/>
                  <a:pt x="371" y="215"/>
                  <a:pt x="371" y="215"/>
                </a:cubicBezTo>
                <a:cubicBezTo>
                  <a:pt x="372" y="215"/>
                  <a:pt x="372" y="215"/>
                  <a:pt x="372" y="215"/>
                </a:cubicBezTo>
                <a:cubicBezTo>
                  <a:pt x="369" y="218"/>
                  <a:pt x="369" y="218"/>
                  <a:pt x="369" y="218"/>
                </a:cubicBezTo>
                <a:cubicBezTo>
                  <a:pt x="367" y="218"/>
                  <a:pt x="367" y="218"/>
                  <a:pt x="367" y="218"/>
                </a:cubicBezTo>
                <a:cubicBezTo>
                  <a:pt x="367" y="219"/>
                  <a:pt x="367" y="219"/>
                  <a:pt x="367" y="219"/>
                </a:cubicBezTo>
                <a:cubicBezTo>
                  <a:pt x="368" y="219"/>
                  <a:pt x="368" y="219"/>
                  <a:pt x="368" y="219"/>
                </a:cubicBezTo>
                <a:cubicBezTo>
                  <a:pt x="370" y="218"/>
                  <a:pt x="370" y="218"/>
                  <a:pt x="370" y="218"/>
                </a:cubicBezTo>
                <a:cubicBezTo>
                  <a:pt x="371" y="218"/>
                  <a:pt x="371" y="218"/>
                  <a:pt x="371" y="218"/>
                </a:cubicBezTo>
                <a:cubicBezTo>
                  <a:pt x="371" y="218"/>
                  <a:pt x="371" y="218"/>
                  <a:pt x="371" y="218"/>
                </a:cubicBezTo>
                <a:cubicBezTo>
                  <a:pt x="371" y="217"/>
                  <a:pt x="371" y="217"/>
                  <a:pt x="371" y="217"/>
                </a:cubicBezTo>
                <a:cubicBezTo>
                  <a:pt x="371" y="217"/>
                  <a:pt x="371" y="217"/>
                  <a:pt x="371" y="217"/>
                </a:cubicBezTo>
                <a:cubicBezTo>
                  <a:pt x="372" y="217"/>
                  <a:pt x="372" y="217"/>
                  <a:pt x="372" y="217"/>
                </a:cubicBezTo>
                <a:cubicBezTo>
                  <a:pt x="372" y="219"/>
                  <a:pt x="372" y="219"/>
                  <a:pt x="372" y="219"/>
                </a:cubicBezTo>
                <a:cubicBezTo>
                  <a:pt x="373" y="220"/>
                  <a:pt x="373" y="220"/>
                  <a:pt x="373" y="220"/>
                </a:cubicBezTo>
                <a:cubicBezTo>
                  <a:pt x="372" y="220"/>
                  <a:pt x="372" y="220"/>
                  <a:pt x="372" y="220"/>
                </a:cubicBezTo>
                <a:cubicBezTo>
                  <a:pt x="372" y="220"/>
                  <a:pt x="372" y="220"/>
                  <a:pt x="372" y="220"/>
                </a:cubicBezTo>
                <a:cubicBezTo>
                  <a:pt x="371" y="219"/>
                  <a:pt x="371" y="219"/>
                  <a:pt x="371" y="219"/>
                </a:cubicBezTo>
                <a:cubicBezTo>
                  <a:pt x="371" y="220"/>
                  <a:pt x="371" y="220"/>
                  <a:pt x="371" y="220"/>
                </a:cubicBezTo>
                <a:cubicBezTo>
                  <a:pt x="370" y="220"/>
                  <a:pt x="370" y="220"/>
                  <a:pt x="370" y="220"/>
                </a:cubicBezTo>
                <a:cubicBezTo>
                  <a:pt x="369" y="220"/>
                  <a:pt x="369" y="220"/>
                  <a:pt x="369" y="220"/>
                </a:cubicBezTo>
                <a:cubicBezTo>
                  <a:pt x="368" y="221"/>
                  <a:pt x="368" y="221"/>
                  <a:pt x="368" y="221"/>
                </a:cubicBezTo>
                <a:cubicBezTo>
                  <a:pt x="368" y="222"/>
                  <a:pt x="368" y="222"/>
                  <a:pt x="368" y="222"/>
                </a:cubicBezTo>
                <a:cubicBezTo>
                  <a:pt x="370" y="222"/>
                  <a:pt x="370" y="222"/>
                  <a:pt x="370" y="222"/>
                </a:cubicBezTo>
                <a:cubicBezTo>
                  <a:pt x="371" y="222"/>
                  <a:pt x="371" y="222"/>
                  <a:pt x="371" y="222"/>
                </a:cubicBezTo>
                <a:cubicBezTo>
                  <a:pt x="370" y="223"/>
                  <a:pt x="370" y="223"/>
                  <a:pt x="370" y="223"/>
                </a:cubicBezTo>
                <a:cubicBezTo>
                  <a:pt x="370" y="223"/>
                  <a:pt x="370" y="223"/>
                  <a:pt x="370" y="223"/>
                </a:cubicBezTo>
                <a:cubicBezTo>
                  <a:pt x="369" y="223"/>
                  <a:pt x="369" y="223"/>
                  <a:pt x="369" y="223"/>
                </a:cubicBezTo>
                <a:cubicBezTo>
                  <a:pt x="370" y="224"/>
                  <a:pt x="370" y="224"/>
                  <a:pt x="370" y="224"/>
                </a:cubicBezTo>
                <a:cubicBezTo>
                  <a:pt x="370" y="225"/>
                  <a:pt x="370" y="225"/>
                  <a:pt x="370" y="225"/>
                </a:cubicBezTo>
                <a:cubicBezTo>
                  <a:pt x="370" y="225"/>
                  <a:pt x="370" y="225"/>
                  <a:pt x="370" y="225"/>
                </a:cubicBezTo>
                <a:cubicBezTo>
                  <a:pt x="369" y="225"/>
                  <a:pt x="369" y="225"/>
                  <a:pt x="369" y="225"/>
                </a:cubicBezTo>
                <a:cubicBezTo>
                  <a:pt x="368" y="225"/>
                  <a:pt x="368" y="225"/>
                  <a:pt x="368" y="225"/>
                </a:cubicBezTo>
                <a:cubicBezTo>
                  <a:pt x="369" y="226"/>
                  <a:pt x="369" y="226"/>
                  <a:pt x="369" y="226"/>
                </a:cubicBezTo>
                <a:cubicBezTo>
                  <a:pt x="370" y="226"/>
                  <a:pt x="370" y="226"/>
                  <a:pt x="370" y="226"/>
                </a:cubicBezTo>
                <a:cubicBezTo>
                  <a:pt x="371" y="227"/>
                  <a:pt x="371" y="227"/>
                  <a:pt x="371" y="227"/>
                </a:cubicBezTo>
                <a:cubicBezTo>
                  <a:pt x="370" y="228"/>
                  <a:pt x="370" y="228"/>
                  <a:pt x="370" y="228"/>
                </a:cubicBezTo>
                <a:cubicBezTo>
                  <a:pt x="370" y="229"/>
                  <a:pt x="370" y="229"/>
                  <a:pt x="370" y="229"/>
                </a:cubicBezTo>
                <a:cubicBezTo>
                  <a:pt x="369" y="229"/>
                  <a:pt x="369" y="229"/>
                  <a:pt x="369" y="229"/>
                </a:cubicBezTo>
                <a:cubicBezTo>
                  <a:pt x="369" y="228"/>
                  <a:pt x="369" y="228"/>
                  <a:pt x="369" y="228"/>
                </a:cubicBezTo>
                <a:cubicBezTo>
                  <a:pt x="368" y="228"/>
                  <a:pt x="368" y="228"/>
                  <a:pt x="368" y="228"/>
                </a:cubicBezTo>
                <a:cubicBezTo>
                  <a:pt x="367" y="230"/>
                  <a:pt x="367" y="230"/>
                  <a:pt x="367" y="230"/>
                </a:cubicBezTo>
                <a:cubicBezTo>
                  <a:pt x="366" y="231"/>
                  <a:pt x="366" y="231"/>
                  <a:pt x="366" y="231"/>
                </a:cubicBezTo>
                <a:cubicBezTo>
                  <a:pt x="365" y="230"/>
                  <a:pt x="365" y="230"/>
                  <a:pt x="365" y="230"/>
                </a:cubicBezTo>
                <a:cubicBezTo>
                  <a:pt x="366" y="231"/>
                  <a:pt x="366" y="231"/>
                  <a:pt x="366" y="231"/>
                </a:cubicBezTo>
                <a:cubicBezTo>
                  <a:pt x="366" y="231"/>
                  <a:pt x="366" y="231"/>
                  <a:pt x="366" y="231"/>
                </a:cubicBezTo>
                <a:cubicBezTo>
                  <a:pt x="366" y="232"/>
                  <a:pt x="366" y="232"/>
                  <a:pt x="366" y="232"/>
                </a:cubicBezTo>
                <a:cubicBezTo>
                  <a:pt x="366" y="233"/>
                  <a:pt x="366" y="233"/>
                  <a:pt x="366" y="233"/>
                </a:cubicBezTo>
                <a:cubicBezTo>
                  <a:pt x="366" y="233"/>
                  <a:pt x="366" y="233"/>
                  <a:pt x="366" y="233"/>
                </a:cubicBezTo>
                <a:cubicBezTo>
                  <a:pt x="366" y="234"/>
                  <a:pt x="366" y="234"/>
                  <a:pt x="366" y="234"/>
                </a:cubicBezTo>
                <a:cubicBezTo>
                  <a:pt x="366" y="235"/>
                  <a:pt x="366" y="235"/>
                  <a:pt x="366" y="235"/>
                </a:cubicBezTo>
                <a:cubicBezTo>
                  <a:pt x="366" y="236"/>
                  <a:pt x="366" y="236"/>
                  <a:pt x="366" y="236"/>
                </a:cubicBezTo>
                <a:cubicBezTo>
                  <a:pt x="365" y="236"/>
                  <a:pt x="365" y="236"/>
                  <a:pt x="365" y="236"/>
                </a:cubicBezTo>
                <a:cubicBezTo>
                  <a:pt x="364" y="235"/>
                  <a:pt x="364" y="235"/>
                  <a:pt x="364" y="235"/>
                </a:cubicBezTo>
                <a:cubicBezTo>
                  <a:pt x="364" y="236"/>
                  <a:pt x="364" y="236"/>
                  <a:pt x="364" y="236"/>
                </a:cubicBezTo>
                <a:cubicBezTo>
                  <a:pt x="365" y="236"/>
                  <a:pt x="365" y="236"/>
                  <a:pt x="365" y="236"/>
                </a:cubicBezTo>
                <a:cubicBezTo>
                  <a:pt x="365" y="238"/>
                  <a:pt x="365" y="238"/>
                  <a:pt x="365" y="238"/>
                </a:cubicBezTo>
                <a:cubicBezTo>
                  <a:pt x="364" y="237"/>
                  <a:pt x="364" y="237"/>
                  <a:pt x="364" y="237"/>
                </a:cubicBezTo>
                <a:cubicBezTo>
                  <a:pt x="364" y="238"/>
                  <a:pt x="364" y="238"/>
                  <a:pt x="364" y="238"/>
                </a:cubicBezTo>
                <a:cubicBezTo>
                  <a:pt x="362" y="240"/>
                  <a:pt x="362" y="240"/>
                  <a:pt x="362" y="240"/>
                </a:cubicBezTo>
                <a:cubicBezTo>
                  <a:pt x="361" y="240"/>
                  <a:pt x="361" y="240"/>
                  <a:pt x="361" y="240"/>
                </a:cubicBezTo>
                <a:cubicBezTo>
                  <a:pt x="362" y="239"/>
                  <a:pt x="362" y="239"/>
                  <a:pt x="362" y="239"/>
                </a:cubicBezTo>
                <a:cubicBezTo>
                  <a:pt x="361" y="239"/>
                  <a:pt x="361" y="239"/>
                  <a:pt x="361" y="239"/>
                </a:cubicBezTo>
                <a:cubicBezTo>
                  <a:pt x="361" y="239"/>
                  <a:pt x="361" y="239"/>
                  <a:pt x="361" y="239"/>
                </a:cubicBezTo>
                <a:cubicBezTo>
                  <a:pt x="360" y="240"/>
                  <a:pt x="360" y="240"/>
                  <a:pt x="360" y="240"/>
                </a:cubicBezTo>
                <a:cubicBezTo>
                  <a:pt x="360" y="239"/>
                  <a:pt x="360" y="239"/>
                  <a:pt x="360" y="239"/>
                </a:cubicBezTo>
                <a:cubicBezTo>
                  <a:pt x="360" y="240"/>
                  <a:pt x="360" y="240"/>
                  <a:pt x="360" y="240"/>
                </a:cubicBezTo>
                <a:cubicBezTo>
                  <a:pt x="359" y="241"/>
                  <a:pt x="359" y="241"/>
                  <a:pt x="359" y="241"/>
                </a:cubicBezTo>
                <a:cubicBezTo>
                  <a:pt x="360" y="241"/>
                  <a:pt x="360" y="241"/>
                  <a:pt x="360" y="241"/>
                </a:cubicBezTo>
                <a:cubicBezTo>
                  <a:pt x="361" y="242"/>
                  <a:pt x="361" y="242"/>
                  <a:pt x="361" y="242"/>
                </a:cubicBezTo>
                <a:cubicBezTo>
                  <a:pt x="360" y="242"/>
                  <a:pt x="360" y="242"/>
                  <a:pt x="360" y="242"/>
                </a:cubicBezTo>
                <a:cubicBezTo>
                  <a:pt x="361" y="243"/>
                  <a:pt x="361" y="243"/>
                  <a:pt x="361" y="243"/>
                </a:cubicBezTo>
                <a:cubicBezTo>
                  <a:pt x="362" y="243"/>
                  <a:pt x="362" y="243"/>
                  <a:pt x="362" y="243"/>
                </a:cubicBezTo>
                <a:cubicBezTo>
                  <a:pt x="363" y="243"/>
                  <a:pt x="363" y="243"/>
                  <a:pt x="363" y="243"/>
                </a:cubicBezTo>
                <a:cubicBezTo>
                  <a:pt x="361" y="244"/>
                  <a:pt x="361" y="244"/>
                  <a:pt x="361" y="244"/>
                </a:cubicBezTo>
                <a:cubicBezTo>
                  <a:pt x="359" y="245"/>
                  <a:pt x="359" y="245"/>
                  <a:pt x="359" y="245"/>
                </a:cubicBezTo>
                <a:cubicBezTo>
                  <a:pt x="359" y="246"/>
                  <a:pt x="359" y="246"/>
                  <a:pt x="359" y="246"/>
                </a:cubicBezTo>
                <a:cubicBezTo>
                  <a:pt x="360" y="246"/>
                  <a:pt x="360" y="246"/>
                  <a:pt x="360" y="246"/>
                </a:cubicBezTo>
                <a:cubicBezTo>
                  <a:pt x="361" y="246"/>
                  <a:pt x="361" y="246"/>
                  <a:pt x="361" y="246"/>
                </a:cubicBezTo>
                <a:cubicBezTo>
                  <a:pt x="361" y="246"/>
                  <a:pt x="361" y="246"/>
                  <a:pt x="361" y="246"/>
                </a:cubicBezTo>
                <a:cubicBezTo>
                  <a:pt x="360" y="247"/>
                  <a:pt x="360" y="247"/>
                  <a:pt x="360" y="247"/>
                </a:cubicBezTo>
                <a:cubicBezTo>
                  <a:pt x="361" y="248"/>
                  <a:pt x="361" y="248"/>
                  <a:pt x="361" y="248"/>
                </a:cubicBezTo>
                <a:cubicBezTo>
                  <a:pt x="361" y="249"/>
                  <a:pt x="361" y="249"/>
                  <a:pt x="361" y="249"/>
                </a:cubicBezTo>
                <a:cubicBezTo>
                  <a:pt x="360" y="249"/>
                  <a:pt x="360" y="249"/>
                  <a:pt x="360" y="249"/>
                </a:cubicBezTo>
                <a:cubicBezTo>
                  <a:pt x="360" y="250"/>
                  <a:pt x="360" y="250"/>
                  <a:pt x="360" y="250"/>
                </a:cubicBezTo>
                <a:cubicBezTo>
                  <a:pt x="361" y="250"/>
                  <a:pt x="361" y="250"/>
                  <a:pt x="361" y="250"/>
                </a:cubicBezTo>
                <a:cubicBezTo>
                  <a:pt x="361" y="250"/>
                  <a:pt x="361" y="250"/>
                  <a:pt x="361" y="250"/>
                </a:cubicBezTo>
                <a:cubicBezTo>
                  <a:pt x="361" y="252"/>
                  <a:pt x="361" y="252"/>
                  <a:pt x="361" y="252"/>
                </a:cubicBezTo>
                <a:cubicBezTo>
                  <a:pt x="361" y="251"/>
                  <a:pt x="361" y="251"/>
                  <a:pt x="361" y="251"/>
                </a:cubicBezTo>
                <a:cubicBezTo>
                  <a:pt x="360" y="251"/>
                  <a:pt x="360" y="251"/>
                  <a:pt x="360" y="251"/>
                </a:cubicBezTo>
                <a:cubicBezTo>
                  <a:pt x="360" y="250"/>
                  <a:pt x="360" y="250"/>
                  <a:pt x="360" y="250"/>
                </a:cubicBezTo>
                <a:cubicBezTo>
                  <a:pt x="359" y="249"/>
                  <a:pt x="359" y="249"/>
                  <a:pt x="359" y="249"/>
                </a:cubicBezTo>
                <a:cubicBezTo>
                  <a:pt x="359" y="250"/>
                  <a:pt x="359" y="250"/>
                  <a:pt x="359" y="250"/>
                </a:cubicBezTo>
                <a:cubicBezTo>
                  <a:pt x="358" y="250"/>
                  <a:pt x="358" y="250"/>
                  <a:pt x="358" y="250"/>
                </a:cubicBezTo>
                <a:cubicBezTo>
                  <a:pt x="358" y="251"/>
                  <a:pt x="358" y="251"/>
                  <a:pt x="358" y="251"/>
                </a:cubicBezTo>
                <a:cubicBezTo>
                  <a:pt x="359" y="252"/>
                  <a:pt x="359" y="252"/>
                  <a:pt x="359" y="252"/>
                </a:cubicBezTo>
                <a:cubicBezTo>
                  <a:pt x="359" y="253"/>
                  <a:pt x="359" y="253"/>
                  <a:pt x="359" y="253"/>
                </a:cubicBezTo>
                <a:cubicBezTo>
                  <a:pt x="358" y="252"/>
                  <a:pt x="358" y="252"/>
                  <a:pt x="358" y="252"/>
                </a:cubicBezTo>
                <a:cubicBezTo>
                  <a:pt x="358" y="252"/>
                  <a:pt x="358" y="252"/>
                  <a:pt x="358" y="252"/>
                </a:cubicBezTo>
                <a:cubicBezTo>
                  <a:pt x="357" y="252"/>
                  <a:pt x="357" y="252"/>
                  <a:pt x="357" y="252"/>
                </a:cubicBezTo>
                <a:cubicBezTo>
                  <a:pt x="356" y="252"/>
                  <a:pt x="356" y="252"/>
                  <a:pt x="356" y="252"/>
                </a:cubicBezTo>
                <a:cubicBezTo>
                  <a:pt x="357" y="252"/>
                  <a:pt x="357" y="252"/>
                  <a:pt x="357" y="252"/>
                </a:cubicBezTo>
                <a:cubicBezTo>
                  <a:pt x="357" y="253"/>
                  <a:pt x="357" y="253"/>
                  <a:pt x="357" y="253"/>
                </a:cubicBezTo>
                <a:cubicBezTo>
                  <a:pt x="358" y="253"/>
                  <a:pt x="358" y="253"/>
                  <a:pt x="358" y="253"/>
                </a:cubicBezTo>
                <a:cubicBezTo>
                  <a:pt x="358" y="254"/>
                  <a:pt x="358" y="254"/>
                  <a:pt x="358" y="254"/>
                </a:cubicBezTo>
                <a:cubicBezTo>
                  <a:pt x="358" y="255"/>
                  <a:pt x="358" y="255"/>
                  <a:pt x="358" y="255"/>
                </a:cubicBezTo>
                <a:cubicBezTo>
                  <a:pt x="356" y="254"/>
                  <a:pt x="356" y="254"/>
                  <a:pt x="356" y="254"/>
                </a:cubicBezTo>
                <a:cubicBezTo>
                  <a:pt x="356" y="255"/>
                  <a:pt x="356" y="255"/>
                  <a:pt x="356" y="255"/>
                </a:cubicBezTo>
                <a:cubicBezTo>
                  <a:pt x="356" y="255"/>
                  <a:pt x="356" y="255"/>
                  <a:pt x="356" y="255"/>
                </a:cubicBezTo>
                <a:cubicBezTo>
                  <a:pt x="358" y="256"/>
                  <a:pt x="358" y="256"/>
                  <a:pt x="358" y="256"/>
                </a:cubicBezTo>
                <a:cubicBezTo>
                  <a:pt x="357" y="257"/>
                  <a:pt x="357" y="257"/>
                  <a:pt x="357" y="257"/>
                </a:cubicBezTo>
                <a:cubicBezTo>
                  <a:pt x="355" y="256"/>
                  <a:pt x="355" y="256"/>
                  <a:pt x="355" y="256"/>
                </a:cubicBezTo>
                <a:cubicBezTo>
                  <a:pt x="355" y="256"/>
                  <a:pt x="355" y="256"/>
                  <a:pt x="355" y="256"/>
                </a:cubicBezTo>
                <a:cubicBezTo>
                  <a:pt x="354" y="256"/>
                  <a:pt x="354" y="256"/>
                  <a:pt x="354" y="256"/>
                </a:cubicBezTo>
                <a:cubicBezTo>
                  <a:pt x="353" y="257"/>
                  <a:pt x="353" y="257"/>
                  <a:pt x="353" y="257"/>
                </a:cubicBezTo>
                <a:cubicBezTo>
                  <a:pt x="351" y="257"/>
                  <a:pt x="351" y="257"/>
                  <a:pt x="351" y="257"/>
                </a:cubicBezTo>
                <a:cubicBezTo>
                  <a:pt x="353" y="259"/>
                  <a:pt x="353" y="259"/>
                  <a:pt x="353" y="259"/>
                </a:cubicBezTo>
                <a:cubicBezTo>
                  <a:pt x="354" y="258"/>
                  <a:pt x="354" y="258"/>
                  <a:pt x="354" y="258"/>
                </a:cubicBezTo>
                <a:cubicBezTo>
                  <a:pt x="355" y="258"/>
                  <a:pt x="355" y="258"/>
                  <a:pt x="355" y="258"/>
                </a:cubicBezTo>
                <a:cubicBezTo>
                  <a:pt x="354" y="259"/>
                  <a:pt x="354" y="259"/>
                  <a:pt x="354" y="259"/>
                </a:cubicBezTo>
                <a:cubicBezTo>
                  <a:pt x="354" y="260"/>
                  <a:pt x="354" y="260"/>
                  <a:pt x="354" y="260"/>
                </a:cubicBezTo>
                <a:cubicBezTo>
                  <a:pt x="353" y="261"/>
                  <a:pt x="353" y="261"/>
                  <a:pt x="353" y="261"/>
                </a:cubicBezTo>
                <a:cubicBezTo>
                  <a:pt x="353" y="260"/>
                  <a:pt x="353" y="260"/>
                  <a:pt x="353" y="260"/>
                </a:cubicBezTo>
                <a:cubicBezTo>
                  <a:pt x="352" y="261"/>
                  <a:pt x="352" y="261"/>
                  <a:pt x="352" y="261"/>
                </a:cubicBezTo>
                <a:cubicBezTo>
                  <a:pt x="351" y="261"/>
                  <a:pt x="351" y="261"/>
                  <a:pt x="351" y="261"/>
                </a:cubicBezTo>
                <a:cubicBezTo>
                  <a:pt x="351" y="261"/>
                  <a:pt x="351" y="261"/>
                  <a:pt x="351" y="261"/>
                </a:cubicBezTo>
                <a:cubicBezTo>
                  <a:pt x="351" y="261"/>
                  <a:pt x="351" y="261"/>
                  <a:pt x="351" y="261"/>
                </a:cubicBezTo>
                <a:cubicBezTo>
                  <a:pt x="351" y="262"/>
                  <a:pt x="351" y="262"/>
                  <a:pt x="351" y="262"/>
                </a:cubicBezTo>
                <a:cubicBezTo>
                  <a:pt x="350" y="262"/>
                  <a:pt x="350" y="262"/>
                  <a:pt x="350" y="262"/>
                </a:cubicBezTo>
                <a:cubicBezTo>
                  <a:pt x="350" y="263"/>
                  <a:pt x="350" y="263"/>
                  <a:pt x="350" y="263"/>
                </a:cubicBezTo>
                <a:cubicBezTo>
                  <a:pt x="349" y="263"/>
                  <a:pt x="349" y="263"/>
                  <a:pt x="349" y="263"/>
                </a:cubicBezTo>
                <a:cubicBezTo>
                  <a:pt x="348" y="263"/>
                  <a:pt x="348" y="263"/>
                  <a:pt x="348" y="263"/>
                </a:cubicBezTo>
                <a:cubicBezTo>
                  <a:pt x="347" y="263"/>
                  <a:pt x="347" y="263"/>
                  <a:pt x="347" y="263"/>
                </a:cubicBezTo>
                <a:cubicBezTo>
                  <a:pt x="346" y="264"/>
                  <a:pt x="346" y="264"/>
                  <a:pt x="346" y="264"/>
                </a:cubicBezTo>
                <a:cubicBezTo>
                  <a:pt x="346" y="264"/>
                  <a:pt x="346" y="264"/>
                  <a:pt x="346" y="264"/>
                </a:cubicBezTo>
                <a:cubicBezTo>
                  <a:pt x="346" y="265"/>
                  <a:pt x="346" y="265"/>
                  <a:pt x="346" y="265"/>
                </a:cubicBezTo>
                <a:cubicBezTo>
                  <a:pt x="346" y="266"/>
                  <a:pt x="346" y="266"/>
                  <a:pt x="346" y="266"/>
                </a:cubicBezTo>
                <a:cubicBezTo>
                  <a:pt x="345" y="267"/>
                  <a:pt x="345" y="267"/>
                  <a:pt x="345" y="267"/>
                </a:cubicBezTo>
                <a:cubicBezTo>
                  <a:pt x="346" y="268"/>
                  <a:pt x="346" y="268"/>
                  <a:pt x="346" y="268"/>
                </a:cubicBezTo>
                <a:cubicBezTo>
                  <a:pt x="345" y="268"/>
                  <a:pt x="345" y="268"/>
                  <a:pt x="345" y="268"/>
                </a:cubicBezTo>
                <a:cubicBezTo>
                  <a:pt x="344" y="268"/>
                  <a:pt x="344" y="268"/>
                  <a:pt x="344" y="268"/>
                </a:cubicBezTo>
                <a:cubicBezTo>
                  <a:pt x="344" y="269"/>
                  <a:pt x="344" y="269"/>
                  <a:pt x="344" y="269"/>
                </a:cubicBezTo>
                <a:cubicBezTo>
                  <a:pt x="344" y="268"/>
                  <a:pt x="344" y="268"/>
                  <a:pt x="344" y="268"/>
                </a:cubicBezTo>
                <a:cubicBezTo>
                  <a:pt x="343" y="268"/>
                  <a:pt x="343" y="268"/>
                  <a:pt x="343" y="268"/>
                </a:cubicBezTo>
                <a:cubicBezTo>
                  <a:pt x="342" y="269"/>
                  <a:pt x="342" y="269"/>
                  <a:pt x="342" y="269"/>
                </a:cubicBezTo>
                <a:cubicBezTo>
                  <a:pt x="341" y="269"/>
                  <a:pt x="341" y="269"/>
                  <a:pt x="341" y="269"/>
                </a:cubicBezTo>
                <a:cubicBezTo>
                  <a:pt x="341" y="270"/>
                  <a:pt x="341" y="270"/>
                  <a:pt x="341" y="270"/>
                </a:cubicBezTo>
                <a:cubicBezTo>
                  <a:pt x="340" y="270"/>
                  <a:pt x="340" y="270"/>
                  <a:pt x="340" y="270"/>
                </a:cubicBezTo>
                <a:cubicBezTo>
                  <a:pt x="340" y="270"/>
                  <a:pt x="340" y="270"/>
                  <a:pt x="340" y="270"/>
                </a:cubicBezTo>
                <a:cubicBezTo>
                  <a:pt x="339" y="270"/>
                  <a:pt x="339" y="270"/>
                  <a:pt x="339" y="270"/>
                </a:cubicBezTo>
                <a:cubicBezTo>
                  <a:pt x="339" y="271"/>
                  <a:pt x="339" y="271"/>
                  <a:pt x="339" y="271"/>
                </a:cubicBezTo>
                <a:cubicBezTo>
                  <a:pt x="338" y="271"/>
                  <a:pt x="338" y="271"/>
                  <a:pt x="338" y="271"/>
                </a:cubicBezTo>
                <a:cubicBezTo>
                  <a:pt x="337" y="270"/>
                  <a:pt x="337" y="270"/>
                  <a:pt x="337" y="270"/>
                </a:cubicBezTo>
                <a:cubicBezTo>
                  <a:pt x="337" y="269"/>
                  <a:pt x="337" y="269"/>
                  <a:pt x="337" y="269"/>
                </a:cubicBezTo>
                <a:cubicBezTo>
                  <a:pt x="336" y="270"/>
                  <a:pt x="336" y="270"/>
                  <a:pt x="336" y="270"/>
                </a:cubicBezTo>
                <a:cubicBezTo>
                  <a:pt x="335" y="270"/>
                  <a:pt x="335" y="270"/>
                  <a:pt x="335" y="270"/>
                </a:cubicBezTo>
                <a:cubicBezTo>
                  <a:pt x="335" y="271"/>
                  <a:pt x="335" y="271"/>
                  <a:pt x="335" y="271"/>
                </a:cubicBezTo>
                <a:cubicBezTo>
                  <a:pt x="334" y="271"/>
                  <a:pt x="334" y="271"/>
                  <a:pt x="334" y="271"/>
                </a:cubicBezTo>
                <a:cubicBezTo>
                  <a:pt x="333" y="271"/>
                  <a:pt x="333" y="271"/>
                  <a:pt x="333" y="271"/>
                </a:cubicBezTo>
                <a:cubicBezTo>
                  <a:pt x="333" y="271"/>
                  <a:pt x="333" y="271"/>
                  <a:pt x="333" y="271"/>
                </a:cubicBezTo>
                <a:cubicBezTo>
                  <a:pt x="332" y="272"/>
                  <a:pt x="332" y="272"/>
                  <a:pt x="332" y="272"/>
                </a:cubicBezTo>
                <a:cubicBezTo>
                  <a:pt x="331" y="273"/>
                  <a:pt x="331" y="273"/>
                  <a:pt x="331" y="273"/>
                </a:cubicBezTo>
                <a:cubicBezTo>
                  <a:pt x="329" y="274"/>
                  <a:pt x="329" y="274"/>
                  <a:pt x="329" y="274"/>
                </a:cubicBezTo>
                <a:cubicBezTo>
                  <a:pt x="329" y="273"/>
                  <a:pt x="329" y="273"/>
                  <a:pt x="329" y="273"/>
                </a:cubicBezTo>
                <a:cubicBezTo>
                  <a:pt x="330" y="273"/>
                  <a:pt x="330" y="273"/>
                  <a:pt x="330" y="273"/>
                </a:cubicBezTo>
                <a:cubicBezTo>
                  <a:pt x="330" y="272"/>
                  <a:pt x="330" y="272"/>
                  <a:pt x="330" y="272"/>
                </a:cubicBezTo>
                <a:cubicBezTo>
                  <a:pt x="330" y="272"/>
                  <a:pt x="330" y="272"/>
                  <a:pt x="330" y="272"/>
                </a:cubicBezTo>
                <a:cubicBezTo>
                  <a:pt x="328" y="271"/>
                  <a:pt x="328" y="271"/>
                  <a:pt x="328" y="271"/>
                </a:cubicBezTo>
                <a:cubicBezTo>
                  <a:pt x="328" y="270"/>
                  <a:pt x="328" y="270"/>
                  <a:pt x="328" y="270"/>
                </a:cubicBezTo>
                <a:cubicBezTo>
                  <a:pt x="327" y="270"/>
                  <a:pt x="327" y="270"/>
                  <a:pt x="327" y="270"/>
                </a:cubicBezTo>
                <a:cubicBezTo>
                  <a:pt x="326" y="269"/>
                  <a:pt x="326" y="269"/>
                  <a:pt x="326" y="269"/>
                </a:cubicBezTo>
                <a:cubicBezTo>
                  <a:pt x="326" y="270"/>
                  <a:pt x="326" y="270"/>
                  <a:pt x="326" y="270"/>
                </a:cubicBezTo>
                <a:cubicBezTo>
                  <a:pt x="326" y="271"/>
                  <a:pt x="326" y="271"/>
                  <a:pt x="326" y="271"/>
                </a:cubicBezTo>
                <a:cubicBezTo>
                  <a:pt x="326" y="272"/>
                  <a:pt x="326" y="272"/>
                  <a:pt x="326" y="272"/>
                </a:cubicBezTo>
                <a:cubicBezTo>
                  <a:pt x="327" y="273"/>
                  <a:pt x="327" y="273"/>
                  <a:pt x="327" y="273"/>
                </a:cubicBezTo>
                <a:cubicBezTo>
                  <a:pt x="326" y="274"/>
                  <a:pt x="326" y="274"/>
                  <a:pt x="326" y="274"/>
                </a:cubicBezTo>
                <a:cubicBezTo>
                  <a:pt x="325" y="275"/>
                  <a:pt x="325" y="275"/>
                  <a:pt x="325" y="275"/>
                </a:cubicBezTo>
                <a:cubicBezTo>
                  <a:pt x="325" y="275"/>
                  <a:pt x="325" y="275"/>
                  <a:pt x="325" y="275"/>
                </a:cubicBezTo>
                <a:cubicBezTo>
                  <a:pt x="324" y="275"/>
                  <a:pt x="324" y="275"/>
                  <a:pt x="324" y="275"/>
                </a:cubicBezTo>
                <a:cubicBezTo>
                  <a:pt x="324" y="274"/>
                  <a:pt x="324" y="274"/>
                  <a:pt x="324" y="274"/>
                </a:cubicBezTo>
                <a:cubicBezTo>
                  <a:pt x="324" y="275"/>
                  <a:pt x="324" y="275"/>
                  <a:pt x="324" y="275"/>
                </a:cubicBezTo>
                <a:cubicBezTo>
                  <a:pt x="323" y="276"/>
                  <a:pt x="323" y="276"/>
                  <a:pt x="323" y="276"/>
                </a:cubicBezTo>
                <a:cubicBezTo>
                  <a:pt x="322" y="277"/>
                  <a:pt x="322" y="277"/>
                  <a:pt x="322" y="277"/>
                </a:cubicBezTo>
                <a:cubicBezTo>
                  <a:pt x="320" y="278"/>
                  <a:pt x="320" y="278"/>
                  <a:pt x="320" y="278"/>
                </a:cubicBezTo>
                <a:cubicBezTo>
                  <a:pt x="319" y="278"/>
                  <a:pt x="319" y="278"/>
                  <a:pt x="319" y="278"/>
                </a:cubicBezTo>
                <a:cubicBezTo>
                  <a:pt x="318" y="278"/>
                  <a:pt x="318" y="278"/>
                  <a:pt x="318" y="278"/>
                </a:cubicBezTo>
                <a:cubicBezTo>
                  <a:pt x="317" y="278"/>
                  <a:pt x="317" y="278"/>
                  <a:pt x="317" y="278"/>
                </a:cubicBezTo>
                <a:cubicBezTo>
                  <a:pt x="316" y="278"/>
                  <a:pt x="316" y="278"/>
                  <a:pt x="316" y="278"/>
                </a:cubicBezTo>
                <a:cubicBezTo>
                  <a:pt x="316" y="279"/>
                  <a:pt x="316" y="279"/>
                  <a:pt x="316" y="279"/>
                </a:cubicBezTo>
                <a:cubicBezTo>
                  <a:pt x="315" y="280"/>
                  <a:pt x="315" y="280"/>
                  <a:pt x="315" y="280"/>
                </a:cubicBezTo>
                <a:cubicBezTo>
                  <a:pt x="314" y="280"/>
                  <a:pt x="314" y="280"/>
                  <a:pt x="314" y="280"/>
                </a:cubicBezTo>
                <a:cubicBezTo>
                  <a:pt x="313" y="280"/>
                  <a:pt x="313" y="280"/>
                  <a:pt x="313" y="280"/>
                </a:cubicBezTo>
                <a:cubicBezTo>
                  <a:pt x="312" y="280"/>
                  <a:pt x="312" y="280"/>
                  <a:pt x="312" y="280"/>
                </a:cubicBezTo>
                <a:cubicBezTo>
                  <a:pt x="311" y="281"/>
                  <a:pt x="311" y="281"/>
                  <a:pt x="311" y="281"/>
                </a:cubicBezTo>
                <a:cubicBezTo>
                  <a:pt x="311" y="281"/>
                  <a:pt x="311" y="281"/>
                  <a:pt x="311" y="281"/>
                </a:cubicBezTo>
                <a:cubicBezTo>
                  <a:pt x="310" y="281"/>
                  <a:pt x="310" y="281"/>
                  <a:pt x="310" y="281"/>
                </a:cubicBezTo>
                <a:cubicBezTo>
                  <a:pt x="311" y="281"/>
                  <a:pt x="311" y="281"/>
                  <a:pt x="311" y="281"/>
                </a:cubicBezTo>
                <a:cubicBezTo>
                  <a:pt x="310" y="281"/>
                  <a:pt x="310" y="281"/>
                  <a:pt x="310" y="281"/>
                </a:cubicBezTo>
                <a:cubicBezTo>
                  <a:pt x="310" y="281"/>
                  <a:pt x="310" y="281"/>
                  <a:pt x="310" y="281"/>
                </a:cubicBezTo>
                <a:cubicBezTo>
                  <a:pt x="310" y="280"/>
                  <a:pt x="310" y="280"/>
                  <a:pt x="310" y="280"/>
                </a:cubicBezTo>
                <a:cubicBezTo>
                  <a:pt x="310" y="280"/>
                  <a:pt x="310" y="280"/>
                  <a:pt x="310" y="280"/>
                </a:cubicBezTo>
                <a:cubicBezTo>
                  <a:pt x="309" y="280"/>
                  <a:pt x="309" y="280"/>
                  <a:pt x="309" y="280"/>
                </a:cubicBezTo>
                <a:cubicBezTo>
                  <a:pt x="309" y="280"/>
                  <a:pt x="309" y="280"/>
                  <a:pt x="309" y="280"/>
                </a:cubicBezTo>
                <a:cubicBezTo>
                  <a:pt x="309" y="280"/>
                  <a:pt x="309" y="280"/>
                  <a:pt x="309" y="280"/>
                </a:cubicBezTo>
                <a:cubicBezTo>
                  <a:pt x="309" y="280"/>
                  <a:pt x="309" y="280"/>
                  <a:pt x="309" y="280"/>
                </a:cubicBezTo>
                <a:cubicBezTo>
                  <a:pt x="309" y="281"/>
                  <a:pt x="309" y="281"/>
                  <a:pt x="309" y="281"/>
                </a:cubicBezTo>
                <a:cubicBezTo>
                  <a:pt x="309" y="282"/>
                  <a:pt x="309" y="282"/>
                  <a:pt x="309" y="282"/>
                </a:cubicBezTo>
                <a:cubicBezTo>
                  <a:pt x="308" y="282"/>
                  <a:pt x="308" y="282"/>
                  <a:pt x="308" y="282"/>
                </a:cubicBezTo>
                <a:cubicBezTo>
                  <a:pt x="307" y="283"/>
                  <a:pt x="307" y="283"/>
                  <a:pt x="307" y="283"/>
                </a:cubicBezTo>
                <a:cubicBezTo>
                  <a:pt x="308" y="284"/>
                  <a:pt x="308" y="284"/>
                  <a:pt x="308" y="284"/>
                </a:cubicBezTo>
                <a:cubicBezTo>
                  <a:pt x="309" y="284"/>
                  <a:pt x="309" y="284"/>
                  <a:pt x="309" y="284"/>
                </a:cubicBezTo>
                <a:cubicBezTo>
                  <a:pt x="309" y="285"/>
                  <a:pt x="309" y="285"/>
                  <a:pt x="309" y="285"/>
                </a:cubicBezTo>
                <a:cubicBezTo>
                  <a:pt x="309" y="286"/>
                  <a:pt x="309" y="286"/>
                  <a:pt x="309" y="286"/>
                </a:cubicBezTo>
                <a:cubicBezTo>
                  <a:pt x="310" y="286"/>
                  <a:pt x="310" y="286"/>
                  <a:pt x="310" y="286"/>
                </a:cubicBezTo>
                <a:cubicBezTo>
                  <a:pt x="310" y="286"/>
                  <a:pt x="310" y="286"/>
                  <a:pt x="310" y="286"/>
                </a:cubicBezTo>
                <a:cubicBezTo>
                  <a:pt x="309" y="288"/>
                  <a:pt x="309" y="288"/>
                  <a:pt x="309" y="288"/>
                </a:cubicBezTo>
                <a:cubicBezTo>
                  <a:pt x="308" y="288"/>
                  <a:pt x="308" y="288"/>
                  <a:pt x="308" y="288"/>
                </a:cubicBezTo>
                <a:cubicBezTo>
                  <a:pt x="308" y="287"/>
                  <a:pt x="308" y="287"/>
                  <a:pt x="308" y="287"/>
                </a:cubicBezTo>
                <a:cubicBezTo>
                  <a:pt x="307" y="287"/>
                  <a:pt x="307" y="287"/>
                  <a:pt x="307" y="287"/>
                </a:cubicBezTo>
                <a:cubicBezTo>
                  <a:pt x="306" y="288"/>
                  <a:pt x="306" y="288"/>
                  <a:pt x="306" y="288"/>
                </a:cubicBezTo>
                <a:cubicBezTo>
                  <a:pt x="306" y="288"/>
                  <a:pt x="306" y="288"/>
                  <a:pt x="306" y="288"/>
                </a:cubicBezTo>
                <a:cubicBezTo>
                  <a:pt x="306" y="287"/>
                  <a:pt x="306" y="287"/>
                  <a:pt x="306" y="287"/>
                </a:cubicBezTo>
                <a:cubicBezTo>
                  <a:pt x="306" y="286"/>
                  <a:pt x="306" y="286"/>
                  <a:pt x="306" y="286"/>
                </a:cubicBezTo>
                <a:cubicBezTo>
                  <a:pt x="305" y="286"/>
                  <a:pt x="305" y="286"/>
                  <a:pt x="305" y="286"/>
                </a:cubicBezTo>
                <a:cubicBezTo>
                  <a:pt x="304" y="284"/>
                  <a:pt x="304" y="284"/>
                  <a:pt x="304" y="284"/>
                </a:cubicBezTo>
                <a:cubicBezTo>
                  <a:pt x="304" y="283"/>
                  <a:pt x="304" y="283"/>
                  <a:pt x="304" y="283"/>
                </a:cubicBezTo>
                <a:cubicBezTo>
                  <a:pt x="304" y="282"/>
                  <a:pt x="304" y="282"/>
                  <a:pt x="304" y="282"/>
                </a:cubicBezTo>
                <a:cubicBezTo>
                  <a:pt x="305" y="281"/>
                  <a:pt x="305" y="281"/>
                  <a:pt x="305" y="281"/>
                </a:cubicBezTo>
                <a:cubicBezTo>
                  <a:pt x="306" y="280"/>
                  <a:pt x="306" y="280"/>
                  <a:pt x="306" y="280"/>
                </a:cubicBezTo>
                <a:cubicBezTo>
                  <a:pt x="306" y="280"/>
                  <a:pt x="306" y="280"/>
                  <a:pt x="306" y="280"/>
                </a:cubicBezTo>
                <a:cubicBezTo>
                  <a:pt x="305" y="280"/>
                  <a:pt x="305" y="280"/>
                  <a:pt x="305" y="280"/>
                </a:cubicBezTo>
                <a:cubicBezTo>
                  <a:pt x="304" y="280"/>
                  <a:pt x="304" y="280"/>
                  <a:pt x="304" y="280"/>
                </a:cubicBezTo>
                <a:cubicBezTo>
                  <a:pt x="303" y="279"/>
                  <a:pt x="303" y="279"/>
                  <a:pt x="303" y="279"/>
                </a:cubicBezTo>
                <a:cubicBezTo>
                  <a:pt x="302" y="280"/>
                  <a:pt x="302" y="280"/>
                  <a:pt x="302" y="280"/>
                </a:cubicBezTo>
                <a:cubicBezTo>
                  <a:pt x="302" y="280"/>
                  <a:pt x="302" y="280"/>
                  <a:pt x="302" y="280"/>
                </a:cubicBezTo>
                <a:cubicBezTo>
                  <a:pt x="301" y="280"/>
                  <a:pt x="301" y="280"/>
                  <a:pt x="301" y="280"/>
                </a:cubicBezTo>
                <a:cubicBezTo>
                  <a:pt x="299" y="279"/>
                  <a:pt x="299" y="279"/>
                  <a:pt x="299" y="279"/>
                </a:cubicBezTo>
                <a:cubicBezTo>
                  <a:pt x="299" y="279"/>
                  <a:pt x="299" y="279"/>
                  <a:pt x="299" y="279"/>
                </a:cubicBezTo>
                <a:cubicBezTo>
                  <a:pt x="298" y="278"/>
                  <a:pt x="298" y="278"/>
                  <a:pt x="298" y="278"/>
                </a:cubicBezTo>
                <a:cubicBezTo>
                  <a:pt x="297" y="277"/>
                  <a:pt x="297" y="277"/>
                  <a:pt x="297" y="277"/>
                </a:cubicBezTo>
                <a:cubicBezTo>
                  <a:pt x="297" y="278"/>
                  <a:pt x="297" y="278"/>
                  <a:pt x="297" y="278"/>
                </a:cubicBezTo>
                <a:cubicBezTo>
                  <a:pt x="297" y="279"/>
                  <a:pt x="297" y="279"/>
                  <a:pt x="297" y="279"/>
                </a:cubicBezTo>
                <a:cubicBezTo>
                  <a:pt x="296" y="279"/>
                  <a:pt x="296" y="279"/>
                  <a:pt x="296" y="279"/>
                </a:cubicBezTo>
                <a:cubicBezTo>
                  <a:pt x="295" y="279"/>
                  <a:pt x="295" y="279"/>
                  <a:pt x="295" y="279"/>
                </a:cubicBezTo>
                <a:cubicBezTo>
                  <a:pt x="295" y="279"/>
                  <a:pt x="295" y="279"/>
                  <a:pt x="295" y="279"/>
                </a:cubicBezTo>
                <a:cubicBezTo>
                  <a:pt x="294" y="279"/>
                  <a:pt x="294" y="279"/>
                  <a:pt x="294" y="279"/>
                </a:cubicBezTo>
                <a:cubicBezTo>
                  <a:pt x="294" y="279"/>
                  <a:pt x="294" y="279"/>
                  <a:pt x="294" y="279"/>
                </a:cubicBezTo>
                <a:cubicBezTo>
                  <a:pt x="294" y="279"/>
                  <a:pt x="294" y="279"/>
                  <a:pt x="294" y="279"/>
                </a:cubicBezTo>
                <a:cubicBezTo>
                  <a:pt x="293" y="279"/>
                  <a:pt x="293" y="279"/>
                  <a:pt x="293" y="279"/>
                </a:cubicBezTo>
                <a:cubicBezTo>
                  <a:pt x="287" y="280"/>
                  <a:pt x="287" y="280"/>
                  <a:pt x="287" y="280"/>
                </a:cubicBezTo>
                <a:cubicBezTo>
                  <a:pt x="274" y="274"/>
                  <a:pt x="274" y="274"/>
                  <a:pt x="274" y="274"/>
                </a:cubicBezTo>
                <a:cubicBezTo>
                  <a:pt x="252" y="285"/>
                  <a:pt x="252" y="285"/>
                  <a:pt x="252" y="285"/>
                </a:cubicBezTo>
                <a:cubicBezTo>
                  <a:pt x="236" y="280"/>
                  <a:pt x="236" y="280"/>
                  <a:pt x="236" y="280"/>
                </a:cubicBezTo>
                <a:cubicBezTo>
                  <a:pt x="199" y="253"/>
                  <a:pt x="199" y="253"/>
                  <a:pt x="199" y="253"/>
                </a:cubicBezTo>
                <a:cubicBezTo>
                  <a:pt x="121" y="246"/>
                  <a:pt x="121" y="246"/>
                  <a:pt x="121" y="246"/>
                </a:cubicBezTo>
                <a:cubicBezTo>
                  <a:pt x="80" y="207"/>
                  <a:pt x="80" y="207"/>
                  <a:pt x="80" y="207"/>
                </a:cubicBezTo>
                <a:cubicBezTo>
                  <a:pt x="0" y="173"/>
                  <a:pt x="0" y="173"/>
                  <a:pt x="0" y="173"/>
                </a:cubicBezTo>
                <a:cubicBezTo>
                  <a:pt x="7" y="106"/>
                  <a:pt x="7" y="106"/>
                  <a:pt x="7" y="106"/>
                </a:cubicBezTo>
                <a:cubicBezTo>
                  <a:pt x="59" y="78"/>
                  <a:pt x="59" y="78"/>
                  <a:pt x="59" y="78"/>
                </a:cubicBezTo>
                <a:cubicBezTo>
                  <a:pt x="119" y="65"/>
                  <a:pt x="119" y="65"/>
                  <a:pt x="119" y="65"/>
                </a:cubicBezTo>
                <a:cubicBezTo>
                  <a:pt x="124" y="64"/>
                  <a:pt x="124" y="64"/>
                  <a:pt x="124" y="64"/>
                </a:cubicBezTo>
                <a:close/>
                <a:moveTo>
                  <a:pt x="348" y="265"/>
                </a:moveTo>
                <a:cubicBezTo>
                  <a:pt x="349" y="265"/>
                  <a:pt x="349" y="265"/>
                  <a:pt x="349" y="265"/>
                </a:cubicBezTo>
                <a:cubicBezTo>
                  <a:pt x="350" y="265"/>
                  <a:pt x="350" y="265"/>
                  <a:pt x="350" y="265"/>
                </a:cubicBezTo>
                <a:cubicBezTo>
                  <a:pt x="350" y="265"/>
                  <a:pt x="350" y="265"/>
                  <a:pt x="350" y="265"/>
                </a:cubicBezTo>
                <a:cubicBezTo>
                  <a:pt x="349" y="264"/>
                  <a:pt x="349" y="264"/>
                  <a:pt x="349" y="264"/>
                </a:cubicBezTo>
                <a:cubicBezTo>
                  <a:pt x="348" y="265"/>
                  <a:pt x="348" y="265"/>
                  <a:pt x="348" y="265"/>
                </a:cubicBezTo>
                <a:close/>
                <a:moveTo>
                  <a:pt x="362" y="249"/>
                </a:moveTo>
                <a:cubicBezTo>
                  <a:pt x="362" y="250"/>
                  <a:pt x="362" y="250"/>
                  <a:pt x="362" y="250"/>
                </a:cubicBezTo>
                <a:cubicBezTo>
                  <a:pt x="363" y="250"/>
                  <a:pt x="363" y="250"/>
                  <a:pt x="363" y="250"/>
                </a:cubicBezTo>
                <a:cubicBezTo>
                  <a:pt x="363" y="249"/>
                  <a:pt x="363" y="249"/>
                  <a:pt x="363" y="249"/>
                </a:cubicBezTo>
                <a:cubicBezTo>
                  <a:pt x="362" y="248"/>
                  <a:pt x="362" y="248"/>
                  <a:pt x="362" y="248"/>
                </a:cubicBezTo>
                <a:cubicBezTo>
                  <a:pt x="362" y="249"/>
                  <a:pt x="362" y="249"/>
                  <a:pt x="362" y="249"/>
                </a:cubicBezTo>
                <a:close/>
                <a:moveTo>
                  <a:pt x="371" y="212"/>
                </a:moveTo>
                <a:cubicBezTo>
                  <a:pt x="372" y="213"/>
                  <a:pt x="372" y="213"/>
                  <a:pt x="372" y="213"/>
                </a:cubicBezTo>
                <a:cubicBezTo>
                  <a:pt x="373" y="214"/>
                  <a:pt x="373" y="214"/>
                  <a:pt x="373" y="214"/>
                </a:cubicBezTo>
                <a:cubicBezTo>
                  <a:pt x="374" y="214"/>
                  <a:pt x="374" y="214"/>
                  <a:pt x="374" y="214"/>
                </a:cubicBezTo>
                <a:cubicBezTo>
                  <a:pt x="374" y="213"/>
                  <a:pt x="374" y="213"/>
                  <a:pt x="374" y="213"/>
                </a:cubicBezTo>
                <a:cubicBezTo>
                  <a:pt x="373" y="212"/>
                  <a:pt x="373" y="212"/>
                  <a:pt x="373" y="212"/>
                </a:cubicBezTo>
                <a:cubicBezTo>
                  <a:pt x="372" y="213"/>
                  <a:pt x="372" y="213"/>
                  <a:pt x="372" y="213"/>
                </a:cubicBezTo>
                <a:cubicBezTo>
                  <a:pt x="371" y="212"/>
                  <a:pt x="371" y="212"/>
                  <a:pt x="371" y="212"/>
                </a:cubicBezTo>
                <a:close/>
                <a:moveTo>
                  <a:pt x="365" y="200"/>
                </a:moveTo>
                <a:cubicBezTo>
                  <a:pt x="365" y="201"/>
                  <a:pt x="365" y="201"/>
                  <a:pt x="365" y="201"/>
                </a:cubicBezTo>
                <a:cubicBezTo>
                  <a:pt x="365" y="201"/>
                  <a:pt x="365" y="201"/>
                  <a:pt x="365" y="201"/>
                </a:cubicBezTo>
                <a:cubicBezTo>
                  <a:pt x="367" y="201"/>
                  <a:pt x="367" y="201"/>
                  <a:pt x="367" y="201"/>
                </a:cubicBezTo>
                <a:cubicBezTo>
                  <a:pt x="368" y="202"/>
                  <a:pt x="368" y="202"/>
                  <a:pt x="368" y="202"/>
                </a:cubicBezTo>
                <a:cubicBezTo>
                  <a:pt x="368" y="201"/>
                  <a:pt x="368" y="201"/>
                  <a:pt x="368" y="201"/>
                </a:cubicBezTo>
                <a:cubicBezTo>
                  <a:pt x="367" y="201"/>
                  <a:pt x="367" y="201"/>
                  <a:pt x="367" y="201"/>
                </a:cubicBezTo>
                <a:cubicBezTo>
                  <a:pt x="366" y="200"/>
                  <a:pt x="366" y="200"/>
                  <a:pt x="366" y="200"/>
                </a:cubicBezTo>
                <a:cubicBezTo>
                  <a:pt x="365" y="200"/>
                  <a:pt x="365" y="200"/>
                  <a:pt x="365" y="200"/>
                </a:cubicBezTo>
                <a:close/>
                <a:moveTo>
                  <a:pt x="372" y="276"/>
                </a:moveTo>
                <a:cubicBezTo>
                  <a:pt x="373" y="276"/>
                  <a:pt x="373" y="276"/>
                  <a:pt x="373" y="276"/>
                </a:cubicBezTo>
                <a:cubicBezTo>
                  <a:pt x="374" y="276"/>
                  <a:pt x="374" y="276"/>
                  <a:pt x="374" y="276"/>
                </a:cubicBezTo>
                <a:cubicBezTo>
                  <a:pt x="374" y="275"/>
                  <a:pt x="374" y="275"/>
                  <a:pt x="374" y="275"/>
                </a:cubicBezTo>
                <a:cubicBezTo>
                  <a:pt x="374" y="273"/>
                  <a:pt x="374" y="273"/>
                  <a:pt x="374" y="273"/>
                </a:cubicBezTo>
                <a:cubicBezTo>
                  <a:pt x="374" y="271"/>
                  <a:pt x="374" y="271"/>
                  <a:pt x="374" y="271"/>
                </a:cubicBezTo>
                <a:cubicBezTo>
                  <a:pt x="375" y="270"/>
                  <a:pt x="375" y="270"/>
                  <a:pt x="375" y="270"/>
                </a:cubicBezTo>
                <a:cubicBezTo>
                  <a:pt x="376" y="268"/>
                  <a:pt x="376" y="268"/>
                  <a:pt x="376" y="268"/>
                </a:cubicBezTo>
                <a:cubicBezTo>
                  <a:pt x="376" y="266"/>
                  <a:pt x="376" y="266"/>
                  <a:pt x="376" y="266"/>
                </a:cubicBezTo>
                <a:cubicBezTo>
                  <a:pt x="377" y="266"/>
                  <a:pt x="377" y="266"/>
                  <a:pt x="377" y="266"/>
                </a:cubicBezTo>
                <a:cubicBezTo>
                  <a:pt x="376" y="265"/>
                  <a:pt x="376" y="265"/>
                  <a:pt x="376" y="265"/>
                </a:cubicBezTo>
                <a:cubicBezTo>
                  <a:pt x="376" y="263"/>
                  <a:pt x="376" y="263"/>
                  <a:pt x="376" y="263"/>
                </a:cubicBezTo>
                <a:cubicBezTo>
                  <a:pt x="377" y="261"/>
                  <a:pt x="377" y="261"/>
                  <a:pt x="377" y="261"/>
                </a:cubicBezTo>
                <a:cubicBezTo>
                  <a:pt x="376" y="259"/>
                  <a:pt x="376" y="259"/>
                  <a:pt x="376" y="259"/>
                </a:cubicBezTo>
                <a:cubicBezTo>
                  <a:pt x="377" y="258"/>
                  <a:pt x="377" y="258"/>
                  <a:pt x="377" y="258"/>
                </a:cubicBezTo>
                <a:cubicBezTo>
                  <a:pt x="377" y="255"/>
                  <a:pt x="377" y="255"/>
                  <a:pt x="377" y="255"/>
                </a:cubicBezTo>
                <a:cubicBezTo>
                  <a:pt x="378" y="253"/>
                  <a:pt x="378" y="253"/>
                  <a:pt x="378" y="253"/>
                </a:cubicBezTo>
                <a:cubicBezTo>
                  <a:pt x="378" y="253"/>
                  <a:pt x="378" y="253"/>
                  <a:pt x="378" y="253"/>
                </a:cubicBezTo>
                <a:cubicBezTo>
                  <a:pt x="378" y="252"/>
                  <a:pt x="378" y="252"/>
                  <a:pt x="378" y="252"/>
                </a:cubicBezTo>
                <a:cubicBezTo>
                  <a:pt x="377" y="251"/>
                  <a:pt x="377" y="251"/>
                  <a:pt x="377" y="251"/>
                </a:cubicBezTo>
                <a:cubicBezTo>
                  <a:pt x="376" y="251"/>
                  <a:pt x="376" y="251"/>
                  <a:pt x="376" y="251"/>
                </a:cubicBezTo>
                <a:cubicBezTo>
                  <a:pt x="376" y="250"/>
                  <a:pt x="376" y="250"/>
                  <a:pt x="376" y="250"/>
                </a:cubicBezTo>
                <a:cubicBezTo>
                  <a:pt x="374" y="249"/>
                  <a:pt x="374" y="249"/>
                  <a:pt x="374" y="249"/>
                </a:cubicBezTo>
                <a:cubicBezTo>
                  <a:pt x="374" y="250"/>
                  <a:pt x="374" y="250"/>
                  <a:pt x="374" y="250"/>
                </a:cubicBezTo>
                <a:cubicBezTo>
                  <a:pt x="374" y="251"/>
                  <a:pt x="374" y="251"/>
                  <a:pt x="374" y="251"/>
                </a:cubicBezTo>
                <a:cubicBezTo>
                  <a:pt x="373" y="251"/>
                  <a:pt x="373" y="251"/>
                  <a:pt x="373" y="251"/>
                </a:cubicBezTo>
                <a:cubicBezTo>
                  <a:pt x="371" y="253"/>
                  <a:pt x="371" y="253"/>
                  <a:pt x="371" y="253"/>
                </a:cubicBezTo>
                <a:cubicBezTo>
                  <a:pt x="370" y="255"/>
                  <a:pt x="370" y="255"/>
                  <a:pt x="370" y="255"/>
                </a:cubicBezTo>
                <a:cubicBezTo>
                  <a:pt x="370" y="255"/>
                  <a:pt x="370" y="255"/>
                  <a:pt x="370" y="255"/>
                </a:cubicBezTo>
                <a:cubicBezTo>
                  <a:pt x="370" y="256"/>
                  <a:pt x="370" y="256"/>
                  <a:pt x="370" y="256"/>
                </a:cubicBezTo>
                <a:cubicBezTo>
                  <a:pt x="369" y="257"/>
                  <a:pt x="369" y="257"/>
                  <a:pt x="369" y="257"/>
                </a:cubicBezTo>
                <a:cubicBezTo>
                  <a:pt x="368" y="259"/>
                  <a:pt x="368" y="259"/>
                  <a:pt x="368" y="259"/>
                </a:cubicBezTo>
                <a:cubicBezTo>
                  <a:pt x="367" y="262"/>
                  <a:pt x="367" y="262"/>
                  <a:pt x="367" y="262"/>
                </a:cubicBezTo>
                <a:cubicBezTo>
                  <a:pt x="367" y="262"/>
                  <a:pt x="367" y="262"/>
                  <a:pt x="367" y="262"/>
                </a:cubicBezTo>
                <a:cubicBezTo>
                  <a:pt x="367" y="263"/>
                  <a:pt x="367" y="263"/>
                  <a:pt x="367" y="263"/>
                </a:cubicBezTo>
                <a:cubicBezTo>
                  <a:pt x="367" y="265"/>
                  <a:pt x="367" y="265"/>
                  <a:pt x="367" y="265"/>
                </a:cubicBezTo>
                <a:cubicBezTo>
                  <a:pt x="368" y="267"/>
                  <a:pt x="368" y="267"/>
                  <a:pt x="368" y="267"/>
                </a:cubicBezTo>
                <a:cubicBezTo>
                  <a:pt x="368" y="268"/>
                  <a:pt x="368" y="268"/>
                  <a:pt x="368" y="268"/>
                </a:cubicBezTo>
                <a:cubicBezTo>
                  <a:pt x="368" y="269"/>
                  <a:pt x="368" y="269"/>
                  <a:pt x="368" y="269"/>
                </a:cubicBezTo>
                <a:cubicBezTo>
                  <a:pt x="368" y="269"/>
                  <a:pt x="368" y="269"/>
                  <a:pt x="368" y="269"/>
                </a:cubicBezTo>
                <a:cubicBezTo>
                  <a:pt x="368" y="269"/>
                  <a:pt x="368" y="269"/>
                  <a:pt x="368" y="269"/>
                </a:cubicBezTo>
                <a:cubicBezTo>
                  <a:pt x="369" y="271"/>
                  <a:pt x="369" y="271"/>
                  <a:pt x="369" y="271"/>
                </a:cubicBezTo>
                <a:cubicBezTo>
                  <a:pt x="369" y="271"/>
                  <a:pt x="369" y="271"/>
                  <a:pt x="369" y="271"/>
                </a:cubicBezTo>
                <a:cubicBezTo>
                  <a:pt x="370" y="272"/>
                  <a:pt x="370" y="272"/>
                  <a:pt x="370" y="272"/>
                </a:cubicBezTo>
                <a:cubicBezTo>
                  <a:pt x="371" y="272"/>
                  <a:pt x="371" y="272"/>
                  <a:pt x="371" y="272"/>
                </a:cubicBezTo>
                <a:cubicBezTo>
                  <a:pt x="372" y="273"/>
                  <a:pt x="372" y="273"/>
                  <a:pt x="372" y="273"/>
                </a:cubicBezTo>
                <a:cubicBezTo>
                  <a:pt x="372" y="275"/>
                  <a:pt x="372" y="275"/>
                  <a:pt x="372" y="275"/>
                </a:cubicBezTo>
                <a:cubicBezTo>
                  <a:pt x="372" y="276"/>
                  <a:pt x="372" y="276"/>
                  <a:pt x="372" y="276"/>
                </a:cubicBezTo>
                <a:close/>
                <a:moveTo>
                  <a:pt x="309" y="283"/>
                </a:moveTo>
                <a:cubicBezTo>
                  <a:pt x="310" y="283"/>
                  <a:pt x="310" y="283"/>
                  <a:pt x="310" y="283"/>
                </a:cubicBezTo>
                <a:cubicBezTo>
                  <a:pt x="310" y="283"/>
                  <a:pt x="310" y="283"/>
                  <a:pt x="310" y="283"/>
                </a:cubicBezTo>
                <a:cubicBezTo>
                  <a:pt x="312" y="284"/>
                  <a:pt x="312" y="284"/>
                  <a:pt x="312" y="284"/>
                </a:cubicBezTo>
                <a:cubicBezTo>
                  <a:pt x="312" y="283"/>
                  <a:pt x="312" y="283"/>
                  <a:pt x="312" y="283"/>
                </a:cubicBezTo>
                <a:cubicBezTo>
                  <a:pt x="311" y="283"/>
                  <a:pt x="311" y="283"/>
                  <a:pt x="311" y="283"/>
                </a:cubicBezTo>
                <a:cubicBezTo>
                  <a:pt x="309" y="283"/>
                  <a:pt x="309" y="283"/>
                  <a:pt x="309" y="283"/>
                </a:cubicBezTo>
                <a:close/>
                <a:moveTo>
                  <a:pt x="309" y="289"/>
                </a:moveTo>
                <a:cubicBezTo>
                  <a:pt x="308" y="289"/>
                  <a:pt x="308" y="289"/>
                  <a:pt x="308" y="289"/>
                </a:cubicBezTo>
                <a:cubicBezTo>
                  <a:pt x="307" y="289"/>
                  <a:pt x="307" y="289"/>
                  <a:pt x="307" y="289"/>
                </a:cubicBezTo>
                <a:cubicBezTo>
                  <a:pt x="306" y="290"/>
                  <a:pt x="306" y="290"/>
                  <a:pt x="306" y="290"/>
                </a:cubicBezTo>
                <a:cubicBezTo>
                  <a:pt x="305" y="290"/>
                  <a:pt x="305" y="290"/>
                  <a:pt x="305" y="290"/>
                </a:cubicBezTo>
                <a:cubicBezTo>
                  <a:pt x="304" y="290"/>
                  <a:pt x="304" y="290"/>
                  <a:pt x="304" y="290"/>
                </a:cubicBezTo>
                <a:cubicBezTo>
                  <a:pt x="303" y="291"/>
                  <a:pt x="303" y="291"/>
                  <a:pt x="303" y="291"/>
                </a:cubicBezTo>
                <a:cubicBezTo>
                  <a:pt x="303" y="292"/>
                  <a:pt x="303" y="292"/>
                  <a:pt x="303" y="292"/>
                </a:cubicBezTo>
                <a:cubicBezTo>
                  <a:pt x="301" y="293"/>
                  <a:pt x="301" y="293"/>
                  <a:pt x="301" y="293"/>
                </a:cubicBezTo>
                <a:cubicBezTo>
                  <a:pt x="299" y="295"/>
                  <a:pt x="299" y="295"/>
                  <a:pt x="299" y="295"/>
                </a:cubicBezTo>
                <a:cubicBezTo>
                  <a:pt x="300" y="296"/>
                  <a:pt x="300" y="296"/>
                  <a:pt x="300" y="296"/>
                </a:cubicBezTo>
                <a:cubicBezTo>
                  <a:pt x="300" y="298"/>
                  <a:pt x="300" y="298"/>
                  <a:pt x="300" y="298"/>
                </a:cubicBezTo>
                <a:cubicBezTo>
                  <a:pt x="300" y="299"/>
                  <a:pt x="300" y="299"/>
                  <a:pt x="300" y="299"/>
                </a:cubicBezTo>
                <a:cubicBezTo>
                  <a:pt x="300" y="300"/>
                  <a:pt x="300" y="300"/>
                  <a:pt x="300" y="300"/>
                </a:cubicBezTo>
                <a:cubicBezTo>
                  <a:pt x="301" y="301"/>
                  <a:pt x="301" y="301"/>
                  <a:pt x="301" y="301"/>
                </a:cubicBezTo>
                <a:cubicBezTo>
                  <a:pt x="303" y="301"/>
                  <a:pt x="303" y="301"/>
                  <a:pt x="303" y="301"/>
                </a:cubicBezTo>
                <a:cubicBezTo>
                  <a:pt x="304" y="302"/>
                  <a:pt x="304" y="302"/>
                  <a:pt x="304" y="302"/>
                </a:cubicBezTo>
                <a:cubicBezTo>
                  <a:pt x="305" y="302"/>
                  <a:pt x="305" y="302"/>
                  <a:pt x="305" y="302"/>
                </a:cubicBezTo>
                <a:cubicBezTo>
                  <a:pt x="306" y="302"/>
                  <a:pt x="306" y="302"/>
                  <a:pt x="306" y="302"/>
                </a:cubicBezTo>
                <a:cubicBezTo>
                  <a:pt x="306" y="302"/>
                  <a:pt x="306" y="302"/>
                  <a:pt x="306" y="302"/>
                </a:cubicBezTo>
                <a:cubicBezTo>
                  <a:pt x="307" y="301"/>
                  <a:pt x="307" y="301"/>
                  <a:pt x="307" y="301"/>
                </a:cubicBezTo>
                <a:cubicBezTo>
                  <a:pt x="308" y="301"/>
                  <a:pt x="308" y="301"/>
                  <a:pt x="308" y="301"/>
                </a:cubicBezTo>
                <a:cubicBezTo>
                  <a:pt x="309" y="301"/>
                  <a:pt x="309" y="301"/>
                  <a:pt x="309" y="301"/>
                </a:cubicBezTo>
                <a:cubicBezTo>
                  <a:pt x="310" y="300"/>
                  <a:pt x="310" y="300"/>
                  <a:pt x="310" y="300"/>
                </a:cubicBezTo>
                <a:cubicBezTo>
                  <a:pt x="310" y="299"/>
                  <a:pt x="310" y="299"/>
                  <a:pt x="310" y="299"/>
                </a:cubicBezTo>
                <a:cubicBezTo>
                  <a:pt x="311" y="299"/>
                  <a:pt x="311" y="299"/>
                  <a:pt x="311" y="299"/>
                </a:cubicBezTo>
                <a:cubicBezTo>
                  <a:pt x="312" y="298"/>
                  <a:pt x="312" y="298"/>
                  <a:pt x="312" y="298"/>
                </a:cubicBezTo>
                <a:cubicBezTo>
                  <a:pt x="312" y="297"/>
                  <a:pt x="312" y="297"/>
                  <a:pt x="312" y="297"/>
                </a:cubicBezTo>
                <a:cubicBezTo>
                  <a:pt x="312" y="295"/>
                  <a:pt x="312" y="295"/>
                  <a:pt x="312" y="295"/>
                </a:cubicBezTo>
                <a:cubicBezTo>
                  <a:pt x="313" y="295"/>
                  <a:pt x="313" y="295"/>
                  <a:pt x="313" y="295"/>
                </a:cubicBezTo>
                <a:cubicBezTo>
                  <a:pt x="313" y="294"/>
                  <a:pt x="313" y="294"/>
                  <a:pt x="313" y="294"/>
                </a:cubicBezTo>
                <a:cubicBezTo>
                  <a:pt x="314" y="292"/>
                  <a:pt x="314" y="292"/>
                  <a:pt x="314" y="292"/>
                </a:cubicBezTo>
                <a:cubicBezTo>
                  <a:pt x="313" y="290"/>
                  <a:pt x="313" y="290"/>
                  <a:pt x="313" y="290"/>
                </a:cubicBezTo>
                <a:cubicBezTo>
                  <a:pt x="312" y="290"/>
                  <a:pt x="312" y="290"/>
                  <a:pt x="312" y="290"/>
                </a:cubicBezTo>
                <a:cubicBezTo>
                  <a:pt x="311" y="289"/>
                  <a:pt x="311" y="289"/>
                  <a:pt x="311" y="289"/>
                </a:cubicBezTo>
                <a:cubicBezTo>
                  <a:pt x="310" y="290"/>
                  <a:pt x="310" y="290"/>
                  <a:pt x="310" y="290"/>
                </a:cubicBezTo>
                <a:cubicBezTo>
                  <a:pt x="310" y="290"/>
                  <a:pt x="309" y="289"/>
                  <a:pt x="309" y="289"/>
                </a:cubicBez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4" name="Freeform 12">
            <a:extLst>
              <a:ext uri="{FF2B5EF4-FFF2-40B4-BE49-F238E27FC236}">
                <a16:creationId xmlns:a16="http://schemas.microsoft.com/office/drawing/2014/main" id="{F4CA8390-4870-1B9C-5632-A9A799D47CDA}"/>
              </a:ext>
            </a:extLst>
          </p:cNvPr>
          <p:cNvSpPr>
            <a:spLocks noEditPoints="1"/>
          </p:cNvSpPr>
          <p:nvPr userDrawn="1"/>
        </p:nvSpPr>
        <p:spPr bwMode="auto">
          <a:xfrm>
            <a:off x="13565890" y="2323383"/>
            <a:ext cx="873069" cy="1082678"/>
          </a:xfrm>
          <a:custGeom>
            <a:avLst/>
            <a:gdLst>
              <a:gd name="T0" fmla="*/ 84 w 88"/>
              <a:gd name="T1" fmla="*/ 10 h 109"/>
              <a:gd name="T2" fmla="*/ 36 w 88"/>
              <a:gd name="T3" fmla="*/ 1 h 109"/>
              <a:gd name="T4" fmla="*/ 29 w 88"/>
              <a:gd name="T5" fmla="*/ 11 h 109"/>
              <a:gd name="T6" fmla="*/ 38 w 88"/>
              <a:gd name="T7" fmla="*/ 20 h 109"/>
              <a:gd name="T8" fmla="*/ 39 w 88"/>
              <a:gd name="T9" fmla="*/ 21 h 109"/>
              <a:gd name="T10" fmla="*/ 35 w 88"/>
              <a:gd name="T11" fmla="*/ 23 h 109"/>
              <a:gd name="T12" fmla="*/ 46 w 88"/>
              <a:gd name="T13" fmla="*/ 27 h 109"/>
              <a:gd name="T14" fmla="*/ 55 w 88"/>
              <a:gd name="T15" fmla="*/ 28 h 109"/>
              <a:gd name="T16" fmla="*/ 63 w 88"/>
              <a:gd name="T17" fmla="*/ 20 h 109"/>
              <a:gd name="T18" fmla="*/ 62 w 88"/>
              <a:gd name="T19" fmla="*/ 11 h 109"/>
              <a:gd name="T20" fmla="*/ 53 w 88"/>
              <a:gd name="T21" fmla="*/ 8 h 109"/>
              <a:gd name="T22" fmla="*/ 49 w 88"/>
              <a:gd name="T23" fmla="*/ 11 h 109"/>
              <a:gd name="T24" fmla="*/ 45 w 88"/>
              <a:gd name="T25" fmla="*/ 6 h 109"/>
              <a:gd name="T26" fmla="*/ 46 w 88"/>
              <a:gd name="T27" fmla="*/ 16 h 109"/>
              <a:gd name="T28" fmla="*/ 39 w 88"/>
              <a:gd name="T29" fmla="*/ 12 h 109"/>
              <a:gd name="T30" fmla="*/ 34 w 88"/>
              <a:gd name="T31" fmla="*/ 5 h 109"/>
              <a:gd name="T32" fmla="*/ 33 w 88"/>
              <a:gd name="T33" fmla="*/ 13 h 109"/>
              <a:gd name="T34" fmla="*/ 29 w 88"/>
              <a:gd name="T35" fmla="*/ 15 h 109"/>
              <a:gd name="T36" fmla="*/ 71 w 88"/>
              <a:gd name="T37" fmla="*/ 35 h 109"/>
              <a:gd name="T38" fmla="*/ 73 w 88"/>
              <a:gd name="T39" fmla="*/ 34 h 109"/>
              <a:gd name="T40" fmla="*/ 68 w 88"/>
              <a:gd name="T41" fmla="*/ 38 h 109"/>
              <a:gd name="T42" fmla="*/ 54 w 88"/>
              <a:gd name="T43" fmla="*/ 48 h 109"/>
              <a:gd name="T44" fmla="*/ 61 w 88"/>
              <a:gd name="T45" fmla="*/ 54 h 109"/>
              <a:gd name="T46" fmla="*/ 53 w 88"/>
              <a:gd name="T47" fmla="*/ 61 h 109"/>
              <a:gd name="T48" fmla="*/ 45 w 88"/>
              <a:gd name="T49" fmla="*/ 61 h 109"/>
              <a:gd name="T50" fmla="*/ 45 w 88"/>
              <a:gd name="T51" fmla="*/ 51 h 109"/>
              <a:gd name="T52" fmla="*/ 41 w 88"/>
              <a:gd name="T53" fmla="*/ 43 h 109"/>
              <a:gd name="T54" fmla="*/ 48 w 88"/>
              <a:gd name="T55" fmla="*/ 46 h 109"/>
              <a:gd name="T56" fmla="*/ 45 w 88"/>
              <a:gd name="T57" fmla="*/ 40 h 109"/>
              <a:gd name="T58" fmla="*/ 3 w 88"/>
              <a:gd name="T59" fmla="*/ 45 h 109"/>
              <a:gd name="T60" fmla="*/ 3 w 88"/>
              <a:gd name="T61" fmla="*/ 43 h 109"/>
              <a:gd name="T62" fmla="*/ 29 w 88"/>
              <a:gd name="T63" fmla="*/ 76 h 109"/>
              <a:gd name="T64" fmla="*/ 26 w 88"/>
              <a:gd name="T65" fmla="*/ 70 h 109"/>
              <a:gd name="T66" fmla="*/ 19 w 88"/>
              <a:gd name="T67" fmla="*/ 66 h 109"/>
              <a:gd name="T68" fmla="*/ 16 w 88"/>
              <a:gd name="T69" fmla="*/ 61 h 109"/>
              <a:gd name="T70" fmla="*/ 22 w 88"/>
              <a:gd name="T71" fmla="*/ 60 h 109"/>
              <a:gd name="T72" fmla="*/ 26 w 88"/>
              <a:gd name="T73" fmla="*/ 55 h 109"/>
              <a:gd name="T74" fmla="*/ 23 w 88"/>
              <a:gd name="T75" fmla="*/ 54 h 109"/>
              <a:gd name="T76" fmla="*/ 14 w 88"/>
              <a:gd name="T77" fmla="*/ 54 h 109"/>
              <a:gd name="T78" fmla="*/ 19 w 88"/>
              <a:gd name="T79" fmla="*/ 49 h 109"/>
              <a:gd name="T80" fmla="*/ 26 w 88"/>
              <a:gd name="T81" fmla="*/ 44 h 109"/>
              <a:gd name="T82" fmla="*/ 21 w 88"/>
              <a:gd name="T83" fmla="*/ 45 h 109"/>
              <a:gd name="T84" fmla="*/ 19 w 88"/>
              <a:gd name="T85" fmla="*/ 41 h 109"/>
              <a:gd name="T86" fmla="*/ 18 w 88"/>
              <a:gd name="T87" fmla="*/ 46 h 109"/>
              <a:gd name="T88" fmla="*/ 9 w 88"/>
              <a:gd name="T89" fmla="*/ 45 h 109"/>
              <a:gd name="T90" fmla="*/ 5 w 88"/>
              <a:gd name="T91" fmla="*/ 40 h 109"/>
              <a:gd name="T92" fmla="*/ 6 w 88"/>
              <a:gd name="T93" fmla="*/ 37 h 109"/>
              <a:gd name="T94" fmla="*/ 5 w 88"/>
              <a:gd name="T95" fmla="*/ 30 h 109"/>
              <a:gd name="T96" fmla="*/ 0 w 88"/>
              <a:gd name="T97" fmla="*/ 26 h 109"/>
              <a:gd name="T98" fmla="*/ 6 w 88"/>
              <a:gd name="T99" fmla="*/ 23 h 109"/>
              <a:gd name="T100" fmla="*/ 12 w 88"/>
              <a:gd name="T101" fmla="*/ 22 h 109"/>
              <a:gd name="T102" fmla="*/ 11 w 88"/>
              <a:gd name="T103" fmla="*/ 25 h 109"/>
              <a:gd name="T104" fmla="*/ 14 w 88"/>
              <a:gd name="T105" fmla="*/ 31 h 109"/>
              <a:gd name="T106" fmla="*/ 18 w 88"/>
              <a:gd name="T107" fmla="*/ 27 h 109"/>
              <a:gd name="T108" fmla="*/ 23 w 88"/>
              <a:gd name="T109" fmla="*/ 36 h 109"/>
              <a:gd name="T110" fmla="*/ 20 w 88"/>
              <a:gd name="T111" fmla="*/ 19 h 109"/>
              <a:gd name="T112" fmla="*/ 28 w 88"/>
              <a:gd name="T113" fmla="*/ 21 h 109"/>
              <a:gd name="T114" fmla="*/ 31 w 88"/>
              <a:gd name="T115" fmla="*/ 24 h 109"/>
              <a:gd name="T116" fmla="*/ 44 w 88"/>
              <a:gd name="T117" fmla="*/ 37 h 109"/>
              <a:gd name="T118" fmla="*/ 38 w 88"/>
              <a:gd name="T119" fmla="*/ 42 h 109"/>
              <a:gd name="T120" fmla="*/ 35 w 88"/>
              <a:gd name="T121" fmla="*/ 54 h 109"/>
              <a:gd name="T122" fmla="*/ 32 w 88"/>
              <a:gd name="T123" fmla="*/ 65 h 109"/>
              <a:gd name="T124" fmla="*/ 44 w 88"/>
              <a:gd name="T12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 h="109">
                <a:moveTo>
                  <a:pt x="82" y="10"/>
                </a:moveTo>
                <a:cubicBezTo>
                  <a:pt x="82" y="9"/>
                  <a:pt x="83" y="9"/>
                  <a:pt x="83" y="9"/>
                </a:cubicBezTo>
                <a:cubicBezTo>
                  <a:pt x="84" y="8"/>
                  <a:pt x="84" y="8"/>
                  <a:pt x="84" y="8"/>
                </a:cubicBezTo>
                <a:cubicBezTo>
                  <a:pt x="85" y="8"/>
                  <a:pt x="85" y="8"/>
                  <a:pt x="85" y="8"/>
                </a:cubicBezTo>
                <a:cubicBezTo>
                  <a:pt x="86" y="6"/>
                  <a:pt x="86" y="6"/>
                  <a:pt x="86" y="6"/>
                </a:cubicBezTo>
                <a:cubicBezTo>
                  <a:pt x="87" y="6"/>
                  <a:pt x="87" y="6"/>
                  <a:pt x="87" y="6"/>
                </a:cubicBezTo>
                <a:cubicBezTo>
                  <a:pt x="88" y="6"/>
                  <a:pt x="88" y="6"/>
                  <a:pt x="88" y="6"/>
                </a:cubicBezTo>
                <a:cubicBezTo>
                  <a:pt x="88" y="6"/>
                  <a:pt x="88" y="6"/>
                  <a:pt x="88" y="6"/>
                </a:cubicBezTo>
                <a:cubicBezTo>
                  <a:pt x="88" y="7"/>
                  <a:pt x="88" y="7"/>
                  <a:pt x="88" y="7"/>
                </a:cubicBezTo>
                <a:cubicBezTo>
                  <a:pt x="87" y="8"/>
                  <a:pt x="87" y="8"/>
                  <a:pt x="87" y="8"/>
                </a:cubicBezTo>
                <a:cubicBezTo>
                  <a:pt x="86" y="8"/>
                  <a:pt x="86" y="8"/>
                  <a:pt x="86" y="8"/>
                </a:cubicBezTo>
                <a:cubicBezTo>
                  <a:pt x="84" y="10"/>
                  <a:pt x="84" y="10"/>
                  <a:pt x="84" y="10"/>
                </a:cubicBezTo>
                <a:cubicBezTo>
                  <a:pt x="83" y="10"/>
                  <a:pt x="83" y="10"/>
                  <a:pt x="83" y="10"/>
                </a:cubicBezTo>
                <a:cubicBezTo>
                  <a:pt x="82" y="10"/>
                  <a:pt x="82" y="10"/>
                  <a:pt x="82" y="10"/>
                </a:cubicBezTo>
                <a:cubicBezTo>
                  <a:pt x="82" y="10"/>
                  <a:pt x="82" y="10"/>
                  <a:pt x="82" y="10"/>
                </a:cubicBezTo>
                <a:close/>
                <a:moveTo>
                  <a:pt x="66" y="11"/>
                </a:moveTo>
                <a:cubicBezTo>
                  <a:pt x="67" y="12"/>
                  <a:pt x="67" y="12"/>
                  <a:pt x="67" y="12"/>
                </a:cubicBezTo>
                <a:cubicBezTo>
                  <a:pt x="67" y="12"/>
                  <a:pt x="67" y="12"/>
                  <a:pt x="67" y="12"/>
                </a:cubicBezTo>
                <a:cubicBezTo>
                  <a:pt x="68" y="11"/>
                  <a:pt x="68" y="11"/>
                  <a:pt x="68" y="11"/>
                </a:cubicBezTo>
                <a:cubicBezTo>
                  <a:pt x="67" y="10"/>
                  <a:pt x="67" y="10"/>
                  <a:pt x="67" y="10"/>
                </a:cubicBezTo>
                <a:cubicBezTo>
                  <a:pt x="67" y="10"/>
                  <a:pt x="67" y="10"/>
                  <a:pt x="67" y="10"/>
                </a:cubicBezTo>
                <a:cubicBezTo>
                  <a:pt x="66" y="10"/>
                  <a:pt x="66" y="10"/>
                  <a:pt x="66" y="10"/>
                </a:cubicBezTo>
                <a:cubicBezTo>
                  <a:pt x="66" y="11"/>
                  <a:pt x="66" y="11"/>
                  <a:pt x="66" y="11"/>
                </a:cubicBezTo>
                <a:close/>
                <a:moveTo>
                  <a:pt x="36" y="1"/>
                </a:moveTo>
                <a:cubicBezTo>
                  <a:pt x="38" y="3"/>
                  <a:pt x="38" y="3"/>
                  <a:pt x="38" y="3"/>
                </a:cubicBezTo>
                <a:cubicBezTo>
                  <a:pt x="39" y="3"/>
                  <a:pt x="39" y="3"/>
                  <a:pt x="39" y="3"/>
                </a:cubicBezTo>
                <a:cubicBezTo>
                  <a:pt x="39" y="2"/>
                  <a:pt x="39" y="2"/>
                  <a:pt x="39" y="2"/>
                </a:cubicBezTo>
                <a:cubicBezTo>
                  <a:pt x="40" y="2"/>
                  <a:pt x="40" y="2"/>
                  <a:pt x="40" y="2"/>
                </a:cubicBezTo>
                <a:cubicBezTo>
                  <a:pt x="39" y="1"/>
                  <a:pt x="39" y="1"/>
                  <a:pt x="39" y="1"/>
                </a:cubicBezTo>
                <a:cubicBezTo>
                  <a:pt x="38" y="1"/>
                  <a:pt x="38" y="1"/>
                  <a:pt x="38" y="1"/>
                </a:cubicBezTo>
                <a:cubicBezTo>
                  <a:pt x="37" y="1"/>
                  <a:pt x="37" y="1"/>
                  <a:pt x="37" y="1"/>
                </a:cubicBezTo>
                <a:cubicBezTo>
                  <a:pt x="36" y="0"/>
                  <a:pt x="36" y="0"/>
                  <a:pt x="36" y="0"/>
                </a:cubicBezTo>
                <a:cubicBezTo>
                  <a:pt x="35" y="1"/>
                  <a:pt x="35" y="1"/>
                  <a:pt x="35" y="1"/>
                </a:cubicBezTo>
                <a:cubicBezTo>
                  <a:pt x="36" y="1"/>
                  <a:pt x="36" y="1"/>
                  <a:pt x="36" y="1"/>
                </a:cubicBezTo>
                <a:close/>
                <a:moveTo>
                  <a:pt x="30" y="12"/>
                </a:moveTo>
                <a:cubicBezTo>
                  <a:pt x="29" y="11"/>
                  <a:pt x="29" y="11"/>
                  <a:pt x="29" y="11"/>
                </a:cubicBezTo>
                <a:cubicBezTo>
                  <a:pt x="29" y="11"/>
                  <a:pt x="29" y="11"/>
                  <a:pt x="29" y="11"/>
                </a:cubicBezTo>
                <a:cubicBezTo>
                  <a:pt x="29" y="10"/>
                  <a:pt x="29" y="10"/>
                  <a:pt x="29" y="10"/>
                </a:cubicBezTo>
                <a:cubicBezTo>
                  <a:pt x="30" y="9"/>
                  <a:pt x="30" y="9"/>
                  <a:pt x="30" y="9"/>
                </a:cubicBezTo>
                <a:cubicBezTo>
                  <a:pt x="30" y="9"/>
                  <a:pt x="30" y="9"/>
                  <a:pt x="30" y="9"/>
                </a:cubicBezTo>
                <a:cubicBezTo>
                  <a:pt x="31" y="10"/>
                  <a:pt x="31" y="10"/>
                  <a:pt x="31" y="10"/>
                </a:cubicBezTo>
                <a:cubicBezTo>
                  <a:pt x="31" y="11"/>
                  <a:pt x="31" y="11"/>
                  <a:pt x="31" y="11"/>
                </a:cubicBezTo>
                <a:cubicBezTo>
                  <a:pt x="30" y="12"/>
                  <a:pt x="30" y="12"/>
                  <a:pt x="30" y="12"/>
                </a:cubicBezTo>
                <a:cubicBezTo>
                  <a:pt x="30" y="12"/>
                  <a:pt x="30" y="12"/>
                  <a:pt x="30" y="12"/>
                </a:cubicBezTo>
                <a:close/>
                <a:moveTo>
                  <a:pt x="36" y="21"/>
                </a:moveTo>
                <a:cubicBezTo>
                  <a:pt x="36" y="21"/>
                  <a:pt x="36" y="21"/>
                  <a:pt x="36" y="21"/>
                </a:cubicBezTo>
                <a:cubicBezTo>
                  <a:pt x="38" y="20"/>
                  <a:pt x="38" y="20"/>
                  <a:pt x="38" y="20"/>
                </a:cubicBezTo>
                <a:cubicBezTo>
                  <a:pt x="38" y="20"/>
                  <a:pt x="38" y="20"/>
                  <a:pt x="38" y="20"/>
                </a:cubicBezTo>
                <a:cubicBezTo>
                  <a:pt x="41" y="20"/>
                  <a:pt x="41" y="20"/>
                  <a:pt x="41" y="20"/>
                </a:cubicBezTo>
                <a:cubicBezTo>
                  <a:pt x="42" y="20"/>
                  <a:pt x="42" y="20"/>
                  <a:pt x="42" y="20"/>
                </a:cubicBezTo>
                <a:cubicBezTo>
                  <a:pt x="43" y="19"/>
                  <a:pt x="43" y="19"/>
                  <a:pt x="43" y="19"/>
                </a:cubicBezTo>
                <a:cubicBezTo>
                  <a:pt x="44" y="19"/>
                  <a:pt x="44" y="19"/>
                  <a:pt x="44" y="19"/>
                </a:cubicBezTo>
                <a:cubicBezTo>
                  <a:pt x="44" y="20"/>
                  <a:pt x="44" y="20"/>
                  <a:pt x="44" y="20"/>
                </a:cubicBezTo>
                <a:cubicBezTo>
                  <a:pt x="44" y="20"/>
                  <a:pt x="44" y="20"/>
                  <a:pt x="44" y="20"/>
                </a:cubicBezTo>
                <a:cubicBezTo>
                  <a:pt x="44" y="21"/>
                  <a:pt x="44" y="21"/>
                  <a:pt x="44" y="21"/>
                </a:cubicBezTo>
                <a:cubicBezTo>
                  <a:pt x="44" y="21"/>
                  <a:pt x="44" y="21"/>
                  <a:pt x="44" y="21"/>
                </a:cubicBezTo>
                <a:cubicBezTo>
                  <a:pt x="43" y="22"/>
                  <a:pt x="43" y="22"/>
                  <a:pt x="43" y="22"/>
                </a:cubicBezTo>
                <a:cubicBezTo>
                  <a:pt x="42" y="21"/>
                  <a:pt x="42" y="21"/>
                  <a:pt x="42" y="21"/>
                </a:cubicBezTo>
                <a:cubicBezTo>
                  <a:pt x="40" y="21"/>
                  <a:pt x="40" y="21"/>
                  <a:pt x="40" y="21"/>
                </a:cubicBezTo>
                <a:cubicBezTo>
                  <a:pt x="39" y="21"/>
                  <a:pt x="39" y="21"/>
                  <a:pt x="39" y="21"/>
                </a:cubicBezTo>
                <a:cubicBezTo>
                  <a:pt x="39" y="22"/>
                  <a:pt x="39" y="22"/>
                  <a:pt x="39" y="22"/>
                </a:cubicBezTo>
                <a:cubicBezTo>
                  <a:pt x="39" y="22"/>
                  <a:pt x="39" y="22"/>
                  <a:pt x="39" y="22"/>
                </a:cubicBezTo>
                <a:cubicBezTo>
                  <a:pt x="41" y="22"/>
                  <a:pt x="41" y="22"/>
                  <a:pt x="41" y="22"/>
                </a:cubicBezTo>
                <a:cubicBezTo>
                  <a:pt x="42" y="23"/>
                  <a:pt x="42" y="23"/>
                  <a:pt x="42" y="23"/>
                </a:cubicBezTo>
                <a:cubicBezTo>
                  <a:pt x="42" y="23"/>
                  <a:pt x="42" y="23"/>
                  <a:pt x="42" y="23"/>
                </a:cubicBezTo>
                <a:cubicBezTo>
                  <a:pt x="41" y="24"/>
                  <a:pt x="41" y="24"/>
                  <a:pt x="41" y="24"/>
                </a:cubicBezTo>
                <a:cubicBezTo>
                  <a:pt x="40" y="23"/>
                  <a:pt x="40" y="23"/>
                  <a:pt x="40" y="23"/>
                </a:cubicBezTo>
                <a:cubicBezTo>
                  <a:pt x="40" y="23"/>
                  <a:pt x="40" y="23"/>
                  <a:pt x="40" y="23"/>
                </a:cubicBezTo>
                <a:cubicBezTo>
                  <a:pt x="39" y="24"/>
                  <a:pt x="39" y="24"/>
                  <a:pt x="39" y="24"/>
                </a:cubicBezTo>
                <a:cubicBezTo>
                  <a:pt x="38" y="23"/>
                  <a:pt x="38" y="23"/>
                  <a:pt x="38" y="23"/>
                </a:cubicBezTo>
                <a:cubicBezTo>
                  <a:pt x="36" y="22"/>
                  <a:pt x="36" y="22"/>
                  <a:pt x="36" y="22"/>
                </a:cubicBezTo>
                <a:cubicBezTo>
                  <a:pt x="35" y="23"/>
                  <a:pt x="35" y="23"/>
                  <a:pt x="35" y="23"/>
                </a:cubicBezTo>
                <a:cubicBezTo>
                  <a:pt x="35" y="23"/>
                  <a:pt x="35" y="23"/>
                  <a:pt x="35" y="23"/>
                </a:cubicBezTo>
                <a:cubicBezTo>
                  <a:pt x="36" y="24"/>
                  <a:pt x="36" y="24"/>
                  <a:pt x="36" y="24"/>
                </a:cubicBezTo>
                <a:cubicBezTo>
                  <a:pt x="38" y="26"/>
                  <a:pt x="38" y="26"/>
                  <a:pt x="38" y="26"/>
                </a:cubicBezTo>
                <a:cubicBezTo>
                  <a:pt x="39" y="26"/>
                  <a:pt x="39" y="26"/>
                  <a:pt x="39" y="26"/>
                </a:cubicBezTo>
                <a:cubicBezTo>
                  <a:pt x="40" y="26"/>
                  <a:pt x="40" y="26"/>
                  <a:pt x="40" y="26"/>
                </a:cubicBezTo>
                <a:cubicBezTo>
                  <a:pt x="40" y="26"/>
                  <a:pt x="40" y="26"/>
                  <a:pt x="40" y="26"/>
                </a:cubicBezTo>
                <a:cubicBezTo>
                  <a:pt x="41" y="27"/>
                  <a:pt x="41" y="27"/>
                  <a:pt x="41" y="27"/>
                </a:cubicBezTo>
                <a:cubicBezTo>
                  <a:pt x="41" y="28"/>
                  <a:pt x="41" y="28"/>
                  <a:pt x="41" y="28"/>
                </a:cubicBezTo>
                <a:cubicBezTo>
                  <a:pt x="42" y="28"/>
                  <a:pt x="42" y="28"/>
                  <a:pt x="42" y="28"/>
                </a:cubicBezTo>
                <a:cubicBezTo>
                  <a:pt x="43" y="28"/>
                  <a:pt x="43" y="28"/>
                  <a:pt x="43" y="28"/>
                </a:cubicBezTo>
                <a:cubicBezTo>
                  <a:pt x="45" y="28"/>
                  <a:pt x="45" y="28"/>
                  <a:pt x="45" y="28"/>
                </a:cubicBezTo>
                <a:cubicBezTo>
                  <a:pt x="46" y="27"/>
                  <a:pt x="46" y="27"/>
                  <a:pt x="46" y="27"/>
                </a:cubicBezTo>
                <a:cubicBezTo>
                  <a:pt x="48" y="27"/>
                  <a:pt x="48" y="27"/>
                  <a:pt x="48" y="27"/>
                </a:cubicBezTo>
                <a:cubicBezTo>
                  <a:pt x="49" y="27"/>
                  <a:pt x="49" y="27"/>
                  <a:pt x="49" y="27"/>
                </a:cubicBezTo>
                <a:cubicBezTo>
                  <a:pt x="49" y="27"/>
                  <a:pt x="49" y="27"/>
                  <a:pt x="49" y="27"/>
                </a:cubicBezTo>
                <a:cubicBezTo>
                  <a:pt x="49" y="28"/>
                  <a:pt x="49" y="28"/>
                  <a:pt x="49" y="28"/>
                </a:cubicBezTo>
                <a:cubicBezTo>
                  <a:pt x="49" y="30"/>
                  <a:pt x="49" y="30"/>
                  <a:pt x="49" y="30"/>
                </a:cubicBezTo>
                <a:cubicBezTo>
                  <a:pt x="51" y="31"/>
                  <a:pt x="51" y="31"/>
                  <a:pt x="51" y="31"/>
                </a:cubicBezTo>
                <a:cubicBezTo>
                  <a:pt x="52" y="31"/>
                  <a:pt x="52" y="31"/>
                  <a:pt x="52" y="31"/>
                </a:cubicBezTo>
                <a:cubicBezTo>
                  <a:pt x="54" y="30"/>
                  <a:pt x="54" y="30"/>
                  <a:pt x="54" y="30"/>
                </a:cubicBezTo>
                <a:cubicBezTo>
                  <a:pt x="54" y="30"/>
                  <a:pt x="54" y="30"/>
                  <a:pt x="54" y="30"/>
                </a:cubicBezTo>
                <a:cubicBezTo>
                  <a:pt x="54" y="29"/>
                  <a:pt x="54" y="29"/>
                  <a:pt x="54" y="29"/>
                </a:cubicBezTo>
                <a:cubicBezTo>
                  <a:pt x="54" y="28"/>
                  <a:pt x="54" y="28"/>
                  <a:pt x="54" y="28"/>
                </a:cubicBezTo>
                <a:cubicBezTo>
                  <a:pt x="55" y="28"/>
                  <a:pt x="55" y="28"/>
                  <a:pt x="55" y="28"/>
                </a:cubicBezTo>
                <a:cubicBezTo>
                  <a:pt x="56" y="26"/>
                  <a:pt x="56" y="26"/>
                  <a:pt x="56" y="26"/>
                </a:cubicBezTo>
                <a:cubicBezTo>
                  <a:pt x="57" y="26"/>
                  <a:pt x="57" y="26"/>
                  <a:pt x="57" y="26"/>
                </a:cubicBezTo>
                <a:cubicBezTo>
                  <a:pt x="57" y="27"/>
                  <a:pt x="57" y="27"/>
                  <a:pt x="57" y="27"/>
                </a:cubicBezTo>
                <a:cubicBezTo>
                  <a:pt x="58" y="28"/>
                  <a:pt x="58" y="28"/>
                  <a:pt x="58" y="28"/>
                </a:cubicBezTo>
                <a:cubicBezTo>
                  <a:pt x="59" y="28"/>
                  <a:pt x="59" y="28"/>
                  <a:pt x="59" y="28"/>
                </a:cubicBezTo>
                <a:cubicBezTo>
                  <a:pt x="61" y="27"/>
                  <a:pt x="61" y="27"/>
                  <a:pt x="61" y="27"/>
                </a:cubicBezTo>
                <a:cubicBezTo>
                  <a:pt x="61" y="26"/>
                  <a:pt x="61" y="26"/>
                  <a:pt x="61" y="26"/>
                </a:cubicBezTo>
                <a:cubicBezTo>
                  <a:pt x="61" y="24"/>
                  <a:pt x="61" y="24"/>
                  <a:pt x="61" y="24"/>
                </a:cubicBezTo>
                <a:cubicBezTo>
                  <a:pt x="61" y="23"/>
                  <a:pt x="61" y="23"/>
                  <a:pt x="61" y="23"/>
                </a:cubicBezTo>
                <a:cubicBezTo>
                  <a:pt x="61" y="23"/>
                  <a:pt x="61" y="23"/>
                  <a:pt x="61" y="23"/>
                </a:cubicBezTo>
                <a:cubicBezTo>
                  <a:pt x="62" y="22"/>
                  <a:pt x="62" y="22"/>
                  <a:pt x="62" y="22"/>
                </a:cubicBezTo>
                <a:cubicBezTo>
                  <a:pt x="63" y="20"/>
                  <a:pt x="63" y="20"/>
                  <a:pt x="63" y="20"/>
                </a:cubicBezTo>
                <a:cubicBezTo>
                  <a:pt x="64" y="19"/>
                  <a:pt x="64" y="19"/>
                  <a:pt x="64" y="19"/>
                </a:cubicBezTo>
                <a:cubicBezTo>
                  <a:pt x="65" y="17"/>
                  <a:pt x="65" y="17"/>
                  <a:pt x="65" y="17"/>
                </a:cubicBezTo>
                <a:cubicBezTo>
                  <a:pt x="66" y="16"/>
                  <a:pt x="66" y="16"/>
                  <a:pt x="66" y="16"/>
                </a:cubicBezTo>
                <a:cubicBezTo>
                  <a:pt x="66" y="15"/>
                  <a:pt x="66" y="15"/>
                  <a:pt x="66" y="15"/>
                </a:cubicBezTo>
                <a:cubicBezTo>
                  <a:pt x="65" y="14"/>
                  <a:pt x="65" y="14"/>
                  <a:pt x="65" y="14"/>
                </a:cubicBezTo>
                <a:cubicBezTo>
                  <a:pt x="65" y="13"/>
                  <a:pt x="65" y="13"/>
                  <a:pt x="65" y="13"/>
                </a:cubicBezTo>
                <a:cubicBezTo>
                  <a:pt x="65" y="13"/>
                  <a:pt x="65" y="13"/>
                  <a:pt x="65" y="13"/>
                </a:cubicBezTo>
                <a:cubicBezTo>
                  <a:pt x="65" y="12"/>
                  <a:pt x="65" y="12"/>
                  <a:pt x="65" y="12"/>
                </a:cubicBezTo>
                <a:cubicBezTo>
                  <a:pt x="65" y="12"/>
                  <a:pt x="65" y="12"/>
                  <a:pt x="65" y="12"/>
                </a:cubicBezTo>
                <a:cubicBezTo>
                  <a:pt x="63" y="12"/>
                  <a:pt x="63" y="12"/>
                  <a:pt x="63" y="12"/>
                </a:cubicBezTo>
                <a:cubicBezTo>
                  <a:pt x="62" y="11"/>
                  <a:pt x="62" y="11"/>
                  <a:pt x="62" y="11"/>
                </a:cubicBezTo>
                <a:cubicBezTo>
                  <a:pt x="62" y="11"/>
                  <a:pt x="62" y="11"/>
                  <a:pt x="62" y="11"/>
                </a:cubicBezTo>
                <a:cubicBezTo>
                  <a:pt x="59" y="11"/>
                  <a:pt x="59" y="11"/>
                  <a:pt x="59" y="11"/>
                </a:cubicBezTo>
                <a:cubicBezTo>
                  <a:pt x="58" y="11"/>
                  <a:pt x="58" y="11"/>
                  <a:pt x="58" y="11"/>
                </a:cubicBezTo>
                <a:cubicBezTo>
                  <a:pt x="57" y="10"/>
                  <a:pt x="57" y="10"/>
                  <a:pt x="57" y="10"/>
                </a:cubicBezTo>
                <a:cubicBezTo>
                  <a:pt x="56" y="10"/>
                  <a:pt x="56" y="10"/>
                  <a:pt x="56" y="10"/>
                </a:cubicBezTo>
                <a:cubicBezTo>
                  <a:pt x="55" y="10"/>
                  <a:pt x="55" y="10"/>
                  <a:pt x="55" y="10"/>
                </a:cubicBezTo>
                <a:cubicBezTo>
                  <a:pt x="55" y="9"/>
                  <a:pt x="55" y="9"/>
                  <a:pt x="55" y="9"/>
                </a:cubicBezTo>
                <a:cubicBezTo>
                  <a:pt x="55" y="9"/>
                  <a:pt x="55" y="9"/>
                  <a:pt x="55" y="9"/>
                </a:cubicBezTo>
                <a:cubicBezTo>
                  <a:pt x="54" y="9"/>
                  <a:pt x="54" y="9"/>
                  <a:pt x="54" y="9"/>
                </a:cubicBezTo>
                <a:cubicBezTo>
                  <a:pt x="54" y="9"/>
                  <a:pt x="54" y="9"/>
                  <a:pt x="54" y="9"/>
                </a:cubicBezTo>
                <a:cubicBezTo>
                  <a:pt x="54" y="8"/>
                  <a:pt x="54" y="8"/>
                  <a:pt x="54" y="8"/>
                </a:cubicBezTo>
                <a:cubicBezTo>
                  <a:pt x="54" y="7"/>
                  <a:pt x="54" y="7"/>
                  <a:pt x="54" y="7"/>
                </a:cubicBezTo>
                <a:cubicBezTo>
                  <a:pt x="53" y="8"/>
                  <a:pt x="53" y="8"/>
                  <a:pt x="53" y="8"/>
                </a:cubicBezTo>
                <a:cubicBezTo>
                  <a:pt x="53" y="9"/>
                  <a:pt x="53" y="9"/>
                  <a:pt x="53" y="9"/>
                </a:cubicBezTo>
                <a:cubicBezTo>
                  <a:pt x="52" y="9"/>
                  <a:pt x="52" y="9"/>
                  <a:pt x="52" y="9"/>
                </a:cubicBezTo>
                <a:cubicBezTo>
                  <a:pt x="52" y="8"/>
                  <a:pt x="52" y="8"/>
                  <a:pt x="52" y="8"/>
                </a:cubicBezTo>
                <a:cubicBezTo>
                  <a:pt x="52" y="8"/>
                  <a:pt x="52" y="8"/>
                  <a:pt x="52" y="8"/>
                </a:cubicBezTo>
                <a:cubicBezTo>
                  <a:pt x="51" y="8"/>
                  <a:pt x="51" y="8"/>
                  <a:pt x="51" y="8"/>
                </a:cubicBezTo>
                <a:cubicBezTo>
                  <a:pt x="51" y="9"/>
                  <a:pt x="51" y="9"/>
                  <a:pt x="51" y="9"/>
                </a:cubicBezTo>
                <a:cubicBezTo>
                  <a:pt x="51" y="9"/>
                  <a:pt x="51" y="9"/>
                  <a:pt x="51" y="9"/>
                </a:cubicBezTo>
                <a:cubicBezTo>
                  <a:pt x="50" y="10"/>
                  <a:pt x="50" y="10"/>
                  <a:pt x="50" y="10"/>
                </a:cubicBezTo>
                <a:cubicBezTo>
                  <a:pt x="50" y="11"/>
                  <a:pt x="50" y="11"/>
                  <a:pt x="50" y="11"/>
                </a:cubicBezTo>
                <a:cubicBezTo>
                  <a:pt x="50" y="12"/>
                  <a:pt x="50" y="12"/>
                  <a:pt x="50" y="12"/>
                </a:cubicBezTo>
                <a:cubicBezTo>
                  <a:pt x="49" y="12"/>
                  <a:pt x="49" y="12"/>
                  <a:pt x="49" y="12"/>
                </a:cubicBezTo>
                <a:cubicBezTo>
                  <a:pt x="49" y="11"/>
                  <a:pt x="49" y="11"/>
                  <a:pt x="49" y="11"/>
                </a:cubicBezTo>
                <a:cubicBezTo>
                  <a:pt x="49" y="11"/>
                  <a:pt x="49" y="11"/>
                  <a:pt x="49" y="11"/>
                </a:cubicBezTo>
                <a:cubicBezTo>
                  <a:pt x="49" y="11"/>
                  <a:pt x="49" y="11"/>
                  <a:pt x="49" y="11"/>
                </a:cubicBezTo>
                <a:cubicBezTo>
                  <a:pt x="48" y="12"/>
                  <a:pt x="48" y="12"/>
                  <a:pt x="48" y="12"/>
                </a:cubicBezTo>
                <a:cubicBezTo>
                  <a:pt x="48" y="12"/>
                  <a:pt x="48" y="12"/>
                  <a:pt x="48" y="12"/>
                </a:cubicBezTo>
                <a:cubicBezTo>
                  <a:pt x="48" y="11"/>
                  <a:pt x="48" y="11"/>
                  <a:pt x="48" y="11"/>
                </a:cubicBezTo>
                <a:cubicBezTo>
                  <a:pt x="48" y="9"/>
                  <a:pt x="48" y="9"/>
                  <a:pt x="48" y="9"/>
                </a:cubicBezTo>
                <a:cubicBezTo>
                  <a:pt x="48" y="7"/>
                  <a:pt x="48" y="7"/>
                  <a:pt x="48" y="7"/>
                </a:cubicBezTo>
                <a:cubicBezTo>
                  <a:pt x="48" y="6"/>
                  <a:pt x="48" y="6"/>
                  <a:pt x="48" y="6"/>
                </a:cubicBezTo>
                <a:cubicBezTo>
                  <a:pt x="47" y="6"/>
                  <a:pt x="47" y="6"/>
                  <a:pt x="47" y="6"/>
                </a:cubicBezTo>
                <a:cubicBezTo>
                  <a:pt x="46" y="5"/>
                  <a:pt x="46" y="5"/>
                  <a:pt x="46" y="5"/>
                </a:cubicBezTo>
                <a:cubicBezTo>
                  <a:pt x="46" y="5"/>
                  <a:pt x="46" y="5"/>
                  <a:pt x="46" y="5"/>
                </a:cubicBezTo>
                <a:cubicBezTo>
                  <a:pt x="45" y="6"/>
                  <a:pt x="45" y="6"/>
                  <a:pt x="45" y="6"/>
                </a:cubicBezTo>
                <a:cubicBezTo>
                  <a:pt x="46" y="7"/>
                  <a:pt x="46" y="7"/>
                  <a:pt x="46" y="7"/>
                </a:cubicBezTo>
                <a:cubicBezTo>
                  <a:pt x="46" y="7"/>
                  <a:pt x="46" y="7"/>
                  <a:pt x="46" y="7"/>
                </a:cubicBezTo>
                <a:cubicBezTo>
                  <a:pt x="46" y="7"/>
                  <a:pt x="46" y="7"/>
                  <a:pt x="46" y="7"/>
                </a:cubicBezTo>
                <a:cubicBezTo>
                  <a:pt x="45" y="6"/>
                  <a:pt x="45" y="6"/>
                  <a:pt x="45" y="6"/>
                </a:cubicBezTo>
                <a:cubicBezTo>
                  <a:pt x="45" y="7"/>
                  <a:pt x="45" y="7"/>
                  <a:pt x="45" y="7"/>
                </a:cubicBezTo>
                <a:cubicBezTo>
                  <a:pt x="45" y="8"/>
                  <a:pt x="45" y="8"/>
                  <a:pt x="45" y="8"/>
                </a:cubicBezTo>
                <a:cubicBezTo>
                  <a:pt x="46" y="9"/>
                  <a:pt x="46" y="9"/>
                  <a:pt x="46" y="9"/>
                </a:cubicBezTo>
                <a:cubicBezTo>
                  <a:pt x="46" y="10"/>
                  <a:pt x="46" y="10"/>
                  <a:pt x="46" y="10"/>
                </a:cubicBezTo>
                <a:cubicBezTo>
                  <a:pt x="45" y="11"/>
                  <a:pt x="45" y="11"/>
                  <a:pt x="45" y="11"/>
                </a:cubicBezTo>
                <a:cubicBezTo>
                  <a:pt x="45" y="13"/>
                  <a:pt x="45" y="13"/>
                  <a:pt x="45" y="13"/>
                </a:cubicBezTo>
                <a:cubicBezTo>
                  <a:pt x="46" y="14"/>
                  <a:pt x="46" y="14"/>
                  <a:pt x="46" y="14"/>
                </a:cubicBezTo>
                <a:cubicBezTo>
                  <a:pt x="46" y="16"/>
                  <a:pt x="46" y="16"/>
                  <a:pt x="46" y="16"/>
                </a:cubicBezTo>
                <a:cubicBezTo>
                  <a:pt x="45" y="16"/>
                  <a:pt x="45" y="16"/>
                  <a:pt x="45" y="16"/>
                </a:cubicBezTo>
                <a:cubicBezTo>
                  <a:pt x="45" y="14"/>
                  <a:pt x="45" y="14"/>
                  <a:pt x="45" y="14"/>
                </a:cubicBezTo>
                <a:cubicBezTo>
                  <a:pt x="44" y="13"/>
                  <a:pt x="44" y="13"/>
                  <a:pt x="44" y="13"/>
                </a:cubicBezTo>
                <a:cubicBezTo>
                  <a:pt x="43" y="13"/>
                  <a:pt x="43" y="13"/>
                  <a:pt x="43" y="13"/>
                </a:cubicBezTo>
                <a:cubicBezTo>
                  <a:pt x="42" y="12"/>
                  <a:pt x="42" y="12"/>
                  <a:pt x="42" y="12"/>
                </a:cubicBezTo>
                <a:cubicBezTo>
                  <a:pt x="43" y="11"/>
                  <a:pt x="43" y="11"/>
                  <a:pt x="43" y="11"/>
                </a:cubicBezTo>
                <a:cubicBezTo>
                  <a:pt x="43" y="10"/>
                  <a:pt x="43" y="10"/>
                  <a:pt x="43" y="10"/>
                </a:cubicBezTo>
                <a:cubicBezTo>
                  <a:pt x="42" y="10"/>
                  <a:pt x="42" y="10"/>
                  <a:pt x="42" y="10"/>
                </a:cubicBezTo>
                <a:cubicBezTo>
                  <a:pt x="41" y="11"/>
                  <a:pt x="41" y="11"/>
                  <a:pt x="41" y="11"/>
                </a:cubicBezTo>
                <a:cubicBezTo>
                  <a:pt x="41" y="11"/>
                  <a:pt x="41" y="11"/>
                  <a:pt x="41" y="11"/>
                </a:cubicBezTo>
                <a:cubicBezTo>
                  <a:pt x="40" y="11"/>
                  <a:pt x="40" y="11"/>
                  <a:pt x="40" y="11"/>
                </a:cubicBezTo>
                <a:cubicBezTo>
                  <a:pt x="39" y="12"/>
                  <a:pt x="39" y="12"/>
                  <a:pt x="39" y="12"/>
                </a:cubicBezTo>
                <a:cubicBezTo>
                  <a:pt x="38" y="11"/>
                  <a:pt x="38" y="11"/>
                  <a:pt x="38" y="11"/>
                </a:cubicBezTo>
                <a:cubicBezTo>
                  <a:pt x="38" y="11"/>
                  <a:pt x="38" y="11"/>
                  <a:pt x="38" y="11"/>
                </a:cubicBezTo>
                <a:cubicBezTo>
                  <a:pt x="38" y="10"/>
                  <a:pt x="38" y="10"/>
                  <a:pt x="38" y="10"/>
                </a:cubicBezTo>
                <a:cubicBezTo>
                  <a:pt x="38" y="10"/>
                  <a:pt x="38" y="10"/>
                  <a:pt x="38" y="10"/>
                </a:cubicBezTo>
                <a:cubicBezTo>
                  <a:pt x="37" y="9"/>
                  <a:pt x="37" y="9"/>
                  <a:pt x="37" y="9"/>
                </a:cubicBezTo>
                <a:cubicBezTo>
                  <a:pt x="37" y="8"/>
                  <a:pt x="37" y="8"/>
                  <a:pt x="37" y="8"/>
                </a:cubicBezTo>
                <a:cubicBezTo>
                  <a:pt x="36" y="8"/>
                  <a:pt x="36" y="8"/>
                  <a:pt x="36" y="8"/>
                </a:cubicBezTo>
                <a:cubicBezTo>
                  <a:pt x="35" y="8"/>
                  <a:pt x="35" y="8"/>
                  <a:pt x="35" y="8"/>
                </a:cubicBezTo>
                <a:cubicBezTo>
                  <a:pt x="34" y="7"/>
                  <a:pt x="34" y="7"/>
                  <a:pt x="34" y="7"/>
                </a:cubicBezTo>
                <a:cubicBezTo>
                  <a:pt x="35" y="6"/>
                  <a:pt x="35" y="6"/>
                  <a:pt x="35" y="6"/>
                </a:cubicBezTo>
                <a:cubicBezTo>
                  <a:pt x="34" y="5"/>
                  <a:pt x="34" y="5"/>
                  <a:pt x="34" y="5"/>
                </a:cubicBezTo>
                <a:cubicBezTo>
                  <a:pt x="34" y="5"/>
                  <a:pt x="34" y="5"/>
                  <a:pt x="34" y="5"/>
                </a:cubicBezTo>
                <a:cubicBezTo>
                  <a:pt x="33" y="6"/>
                  <a:pt x="33" y="6"/>
                  <a:pt x="33" y="6"/>
                </a:cubicBezTo>
                <a:cubicBezTo>
                  <a:pt x="33" y="8"/>
                  <a:pt x="33" y="8"/>
                  <a:pt x="33" y="8"/>
                </a:cubicBezTo>
                <a:cubicBezTo>
                  <a:pt x="33" y="9"/>
                  <a:pt x="33" y="9"/>
                  <a:pt x="33" y="9"/>
                </a:cubicBezTo>
                <a:cubicBezTo>
                  <a:pt x="34" y="10"/>
                  <a:pt x="34" y="10"/>
                  <a:pt x="34" y="10"/>
                </a:cubicBezTo>
                <a:cubicBezTo>
                  <a:pt x="34" y="12"/>
                  <a:pt x="34" y="12"/>
                  <a:pt x="34" y="12"/>
                </a:cubicBezTo>
                <a:cubicBezTo>
                  <a:pt x="34" y="12"/>
                  <a:pt x="34" y="12"/>
                  <a:pt x="34" y="12"/>
                </a:cubicBezTo>
                <a:cubicBezTo>
                  <a:pt x="33" y="11"/>
                  <a:pt x="33" y="11"/>
                  <a:pt x="33" y="11"/>
                </a:cubicBezTo>
                <a:cubicBezTo>
                  <a:pt x="33" y="10"/>
                  <a:pt x="33" y="10"/>
                  <a:pt x="33" y="10"/>
                </a:cubicBezTo>
                <a:cubicBezTo>
                  <a:pt x="32" y="10"/>
                  <a:pt x="32" y="10"/>
                  <a:pt x="32" y="10"/>
                </a:cubicBezTo>
                <a:cubicBezTo>
                  <a:pt x="32" y="11"/>
                  <a:pt x="32" y="11"/>
                  <a:pt x="32" y="11"/>
                </a:cubicBezTo>
                <a:cubicBezTo>
                  <a:pt x="32" y="12"/>
                  <a:pt x="32" y="12"/>
                  <a:pt x="32" y="12"/>
                </a:cubicBezTo>
                <a:cubicBezTo>
                  <a:pt x="33" y="13"/>
                  <a:pt x="33" y="13"/>
                  <a:pt x="33" y="13"/>
                </a:cubicBezTo>
                <a:cubicBezTo>
                  <a:pt x="33" y="14"/>
                  <a:pt x="33" y="14"/>
                  <a:pt x="33" y="14"/>
                </a:cubicBezTo>
                <a:cubicBezTo>
                  <a:pt x="33" y="15"/>
                  <a:pt x="33" y="15"/>
                  <a:pt x="33" y="15"/>
                </a:cubicBezTo>
                <a:cubicBezTo>
                  <a:pt x="32" y="15"/>
                  <a:pt x="32" y="15"/>
                  <a:pt x="32" y="15"/>
                </a:cubicBezTo>
                <a:cubicBezTo>
                  <a:pt x="32" y="13"/>
                  <a:pt x="32" y="13"/>
                  <a:pt x="32" y="13"/>
                </a:cubicBezTo>
                <a:cubicBezTo>
                  <a:pt x="31" y="13"/>
                  <a:pt x="31" y="13"/>
                  <a:pt x="31" y="13"/>
                </a:cubicBezTo>
                <a:cubicBezTo>
                  <a:pt x="29" y="13"/>
                  <a:pt x="29" y="13"/>
                  <a:pt x="29" y="13"/>
                </a:cubicBezTo>
                <a:cubicBezTo>
                  <a:pt x="28" y="12"/>
                  <a:pt x="28" y="12"/>
                  <a:pt x="28" y="12"/>
                </a:cubicBezTo>
                <a:cubicBezTo>
                  <a:pt x="28" y="13"/>
                  <a:pt x="28" y="13"/>
                  <a:pt x="28" y="13"/>
                </a:cubicBezTo>
                <a:cubicBezTo>
                  <a:pt x="28" y="14"/>
                  <a:pt x="28" y="14"/>
                  <a:pt x="28" y="14"/>
                </a:cubicBezTo>
                <a:cubicBezTo>
                  <a:pt x="29" y="14"/>
                  <a:pt x="29" y="14"/>
                  <a:pt x="29" y="14"/>
                </a:cubicBezTo>
                <a:cubicBezTo>
                  <a:pt x="30" y="15"/>
                  <a:pt x="30" y="15"/>
                  <a:pt x="30" y="15"/>
                </a:cubicBezTo>
                <a:cubicBezTo>
                  <a:pt x="29" y="15"/>
                  <a:pt x="29" y="15"/>
                  <a:pt x="29" y="15"/>
                </a:cubicBezTo>
                <a:cubicBezTo>
                  <a:pt x="29" y="16"/>
                  <a:pt x="29" y="16"/>
                  <a:pt x="29" y="16"/>
                </a:cubicBezTo>
                <a:cubicBezTo>
                  <a:pt x="31" y="16"/>
                  <a:pt x="31" y="16"/>
                  <a:pt x="31" y="16"/>
                </a:cubicBezTo>
                <a:cubicBezTo>
                  <a:pt x="31" y="16"/>
                  <a:pt x="31" y="16"/>
                  <a:pt x="31" y="16"/>
                </a:cubicBezTo>
                <a:cubicBezTo>
                  <a:pt x="29" y="17"/>
                  <a:pt x="29" y="17"/>
                  <a:pt x="29" y="17"/>
                </a:cubicBezTo>
                <a:cubicBezTo>
                  <a:pt x="29" y="18"/>
                  <a:pt x="29" y="18"/>
                  <a:pt x="29" y="18"/>
                </a:cubicBezTo>
                <a:cubicBezTo>
                  <a:pt x="30" y="20"/>
                  <a:pt x="30" y="20"/>
                  <a:pt x="30" y="20"/>
                </a:cubicBezTo>
                <a:cubicBezTo>
                  <a:pt x="31" y="21"/>
                  <a:pt x="31" y="21"/>
                  <a:pt x="31" y="21"/>
                </a:cubicBezTo>
                <a:cubicBezTo>
                  <a:pt x="32" y="21"/>
                  <a:pt x="32" y="21"/>
                  <a:pt x="32" y="21"/>
                </a:cubicBezTo>
                <a:cubicBezTo>
                  <a:pt x="34" y="21"/>
                  <a:pt x="34" y="21"/>
                  <a:pt x="34" y="21"/>
                </a:cubicBezTo>
                <a:cubicBezTo>
                  <a:pt x="35" y="21"/>
                  <a:pt x="35" y="21"/>
                  <a:pt x="35" y="21"/>
                </a:cubicBezTo>
                <a:cubicBezTo>
                  <a:pt x="36" y="21"/>
                  <a:pt x="36" y="21"/>
                  <a:pt x="36" y="21"/>
                </a:cubicBezTo>
                <a:close/>
                <a:moveTo>
                  <a:pt x="71" y="35"/>
                </a:moveTo>
                <a:cubicBezTo>
                  <a:pt x="72" y="34"/>
                  <a:pt x="72" y="34"/>
                  <a:pt x="72" y="34"/>
                </a:cubicBezTo>
                <a:cubicBezTo>
                  <a:pt x="73" y="33"/>
                  <a:pt x="73" y="33"/>
                  <a:pt x="73" y="33"/>
                </a:cubicBezTo>
                <a:cubicBezTo>
                  <a:pt x="74" y="33"/>
                  <a:pt x="74" y="33"/>
                  <a:pt x="74" y="33"/>
                </a:cubicBezTo>
                <a:cubicBezTo>
                  <a:pt x="75" y="32"/>
                  <a:pt x="75" y="32"/>
                  <a:pt x="75" y="32"/>
                </a:cubicBezTo>
                <a:cubicBezTo>
                  <a:pt x="75" y="33"/>
                  <a:pt x="75" y="33"/>
                  <a:pt x="75" y="33"/>
                </a:cubicBezTo>
                <a:cubicBezTo>
                  <a:pt x="77" y="33"/>
                  <a:pt x="77" y="33"/>
                  <a:pt x="77" y="33"/>
                </a:cubicBezTo>
                <a:cubicBezTo>
                  <a:pt x="78" y="33"/>
                  <a:pt x="78" y="33"/>
                  <a:pt x="78" y="33"/>
                </a:cubicBezTo>
                <a:cubicBezTo>
                  <a:pt x="77" y="34"/>
                  <a:pt x="77" y="34"/>
                  <a:pt x="77" y="34"/>
                </a:cubicBezTo>
                <a:cubicBezTo>
                  <a:pt x="76" y="35"/>
                  <a:pt x="76" y="35"/>
                  <a:pt x="76" y="35"/>
                </a:cubicBezTo>
                <a:cubicBezTo>
                  <a:pt x="75" y="34"/>
                  <a:pt x="75" y="34"/>
                  <a:pt x="75" y="34"/>
                </a:cubicBezTo>
                <a:cubicBezTo>
                  <a:pt x="74" y="34"/>
                  <a:pt x="74" y="34"/>
                  <a:pt x="74" y="34"/>
                </a:cubicBezTo>
                <a:cubicBezTo>
                  <a:pt x="73" y="34"/>
                  <a:pt x="73" y="34"/>
                  <a:pt x="73" y="34"/>
                </a:cubicBezTo>
                <a:cubicBezTo>
                  <a:pt x="73" y="34"/>
                  <a:pt x="73" y="34"/>
                  <a:pt x="73" y="34"/>
                </a:cubicBezTo>
                <a:cubicBezTo>
                  <a:pt x="72" y="36"/>
                  <a:pt x="72" y="36"/>
                  <a:pt x="72" y="36"/>
                </a:cubicBezTo>
                <a:cubicBezTo>
                  <a:pt x="71" y="35"/>
                  <a:pt x="71" y="35"/>
                  <a:pt x="71" y="35"/>
                </a:cubicBezTo>
                <a:close/>
                <a:moveTo>
                  <a:pt x="66" y="40"/>
                </a:moveTo>
                <a:cubicBezTo>
                  <a:pt x="66" y="39"/>
                  <a:pt x="66" y="39"/>
                  <a:pt x="66" y="39"/>
                </a:cubicBezTo>
                <a:cubicBezTo>
                  <a:pt x="66" y="38"/>
                  <a:pt x="66" y="38"/>
                  <a:pt x="66" y="38"/>
                </a:cubicBezTo>
                <a:cubicBezTo>
                  <a:pt x="66" y="36"/>
                  <a:pt x="66" y="36"/>
                  <a:pt x="66" y="36"/>
                </a:cubicBezTo>
                <a:cubicBezTo>
                  <a:pt x="66" y="36"/>
                  <a:pt x="66" y="36"/>
                  <a:pt x="66" y="36"/>
                </a:cubicBezTo>
                <a:cubicBezTo>
                  <a:pt x="66" y="36"/>
                  <a:pt x="66" y="36"/>
                  <a:pt x="66" y="36"/>
                </a:cubicBezTo>
                <a:cubicBezTo>
                  <a:pt x="67" y="36"/>
                  <a:pt x="67" y="36"/>
                  <a:pt x="67" y="36"/>
                </a:cubicBezTo>
                <a:cubicBezTo>
                  <a:pt x="67" y="37"/>
                  <a:pt x="67" y="37"/>
                  <a:pt x="67" y="37"/>
                </a:cubicBezTo>
                <a:cubicBezTo>
                  <a:pt x="68" y="38"/>
                  <a:pt x="68" y="38"/>
                  <a:pt x="68" y="38"/>
                </a:cubicBezTo>
                <a:cubicBezTo>
                  <a:pt x="68" y="39"/>
                  <a:pt x="68" y="39"/>
                  <a:pt x="68" y="39"/>
                </a:cubicBezTo>
                <a:cubicBezTo>
                  <a:pt x="67" y="40"/>
                  <a:pt x="67" y="40"/>
                  <a:pt x="67" y="40"/>
                </a:cubicBezTo>
                <a:cubicBezTo>
                  <a:pt x="66" y="40"/>
                  <a:pt x="66" y="40"/>
                  <a:pt x="66" y="40"/>
                </a:cubicBezTo>
                <a:close/>
                <a:moveTo>
                  <a:pt x="44" y="50"/>
                </a:moveTo>
                <a:cubicBezTo>
                  <a:pt x="45" y="49"/>
                  <a:pt x="45" y="49"/>
                  <a:pt x="45" y="49"/>
                </a:cubicBezTo>
                <a:cubicBezTo>
                  <a:pt x="46" y="48"/>
                  <a:pt x="46" y="48"/>
                  <a:pt x="46" y="48"/>
                </a:cubicBezTo>
                <a:cubicBezTo>
                  <a:pt x="48" y="47"/>
                  <a:pt x="48" y="47"/>
                  <a:pt x="48" y="47"/>
                </a:cubicBezTo>
                <a:cubicBezTo>
                  <a:pt x="50" y="47"/>
                  <a:pt x="50" y="47"/>
                  <a:pt x="50" y="47"/>
                </a:cubicBezTo>
                <a:cubicBezTo>
                  <a:pt x="51" y="46"/>
                  <a:pt x="51" y="46"/>
                  <a:pt x="51" y="46"/>
                </a:cubicBezTo>
                <a:cubicBezTo>
                  <a:pt x="53" y="45"/>
                  <a:pt x="53" y="45"/>
                  <a:pt x="53" y="45"/>
                </a:cubicBezTo>
                <a:cubicBezTo>
                  <a:pt x="53" y="46"/>
                  <a:pt x="53" y="46"/>
                  <a:pt x="53" y="46"/>
                </a:cubicBezTo>
                <a:cubicBezTo>
                  <a:pt x="54" y="48"/>
                  <a:pt x="54" y="48"/>
                  <a:pt x="54" y="48"/>
                </a:cubicBezTo>
                <a:cubicBezTo>
                  <a:pt x="54" y="48"/>
                  <a:pt x="54" y="48"/>
                  <a:pt x="54" y="48"/>
                </a:cubicBezTo>
                <a:cubicBezTo>
                  <a:pt x="53" y="48"/>
                  <a:pt x="53" y="48"/>
                  <a:pt x="53" y="48"/>
                </a:cubicBezTo>
                <a:cubicBezTo>
                  <a:pt x="53" y="49"/>
                  <a:pt x="53" y="49"/>
                  <a:pt x="53" y="49"/>
                </a:cubicBezTo>
                <a:cubicBezTo>
                  <a:pt x="53" y="51"/>
                  <a:pt x="53" y="51"/>
                  <a:pt x="53" y="51"/>
                </a:cubicBezTo>
                <a:cubicBezTo>
                  <a:pt x="55" y="52"/>
                  <a:pt x="55" y="52"/>
                  <a:pt x="55" y="52"/>
                </a:cubicBezTo>
                <a:cubicBezTo>
                  <a:pt x="56" y="53"/>
                  <a:pt x="56" y="53"/>
                  <a:pt x="56" y="53"/>
                </a:cubicBezTo>
                <a:cubicBezTo>
                  <a:pt x="57" y="52"/>
                  <a:pt x="57" y="52"/>
                  <a:pt x="57" y="52"/>
                </a:cubicBezTo>
                <a:cubicBezTo>
                  <a:pt x="58" y="51"/>
                  <a:pt x="58" y="51"/>
                  <a:pt x="58" y="51"/>
                </a:cubicBezTo>
                <a:cubicBezTo>
                  <a:pt x="59" y="52"/>
                  <a:pt x="59" y="52"/>
                  <a:pt x="59" y="52"/>
                </a:cubicBezTo>
                <a:cubicBezTo>
                  <a:pt x="60" y="53"/>
                  <a:pt x="60" y="53"/>
                  <a:pt x="60" y="53"/>
                </a:cubicBezTo>
                <a:cubicBezTo>
                  <a:pt x="61" y="53"/>
                  <a:pt x="61" y="53"/>
                  <a:pt x="61" y="53"/>
                </a:cubicBezTo>
                <a:cubicBezTo>
                  <a:pt x="61" y="54"/>
                  <a:pt x="61" y="54"/>
                  <a:pt x="61" y="54"/>
                </a:cubicBezTo>
                <a:cubicBezTo>
                  <a:pt x="59" y="54"/>
                  <a:pt x="59" y="54"/>
                  <a:pt x="59" y="54"/>
                </a:cubicBezTo>
                <a:cubicBezTo>
                  <a:pt x="58" y="56"/>
                  <a:pt x="58" y="56"/>
                  <a:pt x="58" y="56"/>
                </a:cubicBezTo>
                <a:cubicBezTo>
                  <a:pt x="58" y="57"/>
                  <a:pt x="58" y="57"/>
                  <a:pt x="58" y="57"/>
                </a:cubicBezTo>
                <a:cubicBezTo>
                  <a:pt x="57" y="60"/>
                  <a:pt x="57" y="60"/>
                  <a:pt x="57" y="60"/>
                </a:cubicBezTo>
                <a:cubicBezTo>
                  <a:pt x="56" y="60"/>
                  <a:pt x="56" y="60"/>
                  <a:pt x="56" y="60"/>
                </a:cubicBezTo>
                <a:cubicBezTo>
                  <a:pt x="55" y="61"/>
                  <a:pt x="55" y="61"/>
                  <a:pt x="55" y="61"/>
                </a:cubicBezTo>
                <a:cubicBezTo>
                  <a:pt x="54" y="62"/>
                  <a:pt x="54" y="62"/>
                  <a:pt x="54" y="62"/>
                </a:cubicBezTo>
                <a:cubicBezTo>
                  <a:pt x="54" y="63"/>
                  <a:pt x="54" y="63"/>
                  <a:pt x="54" y="63"/>
                </a:cubicBezTo>
                <a:cubicBezTo>
                  <a:pt x="53" y="63"/>
                  <a:pt x="53" y="63"/>
                  <a:pt x="53" y="63"/>
                </a:cubicBezTo>
                <a:cubicBezTo>
                  <a:pt x="53" y="63"/>
                  <a:pt x="53" y="63"/>
                  <a:pt x="53" y="63"/>
                </a:cubicBezTo>
                <a:cubicBezTo>
                  <a:pt x="52" y="62"/>
                  <a:pt x="52" y="62"/>
                  <a:pt x="52" y="62"/>
                </a:cubicBezTo>
                <a:cubicBezTo>
                  <a:pt x="53" y="61"/>
                  <a:pt x="53" y="61"/>
                  <a:pt x="53" y="61"/>
                </a:cubicBezTo>
                <a:cubicBezTo>
                  <a:pt x="53" y="60"/>
                  <a:pt x="53" y="60"/>
                  <a:pt x="53" y="60"/>
                </a:cubicBezTo>
                <a:cubicBezTo>
                  <a:pt x="53" y="58"/>
                  <a:pt x="53" y="58"/>
                  <a:pt x="53" y="58"/>
                </a:cubicBezTo>
                <a:cubicBezTo>
                  <a:pt x="53" y="57"/>
                  <a:pt x="53" y="57"/>
                  <a:pt x="53" y="57"/>
                </a:cubicBezTo>
                <a:cubicBezTo>
                  <a:pt x="53" y="57"/>
                  <a:pt x="53" y="57"/>
                  <a:pt x="53" y="57"/>
                </a:cubicBezTo>
                <a:cubicBezTo>
                  <a:pt x="52" y="57"/>
                  <a:pt x="52" y="57"/>
                  <a:pt x="52" y="57"/>
                </a:cubicBezTo>
                <a:cubicBezTo>
                  <a:pt x="51" y="58"/>
                  <a:pt x="51" y="58"/>
                  <a:pt x="51" y="58"/>
                </a:cubicBezTo>
                <a:cubicBezTo>
                  <a:pt x="51" y="59"/>
                  <a:pt x="51" y="59"/>
                  <a:pt x="51" y="59"/>
                </a:cubicBezTo>
                <a:cubicBezTo>
                  <a:pt x="50" y="60"/>
                  <a:pt x="50" y="60"/>
                  <a:pt x="50" y="60"/>
                </a:cubicBezTo>
                <a:cubicBezTo>
                  <a:pt x="49" y="60"/>
                  <a:pt x="49" y="60"/>
                  <a:pt x="49" y="60"/>
                </a:cubicBezTo>
                <a:cubicBezTo>
                  <a:pt x="48" y="61"/>
                  <a:pt x="48" y="61"/>
                  <a:pt x="48" y="61"/>
                </a:cubicBezTo>
                <a:cubicBezTo>
                  <a:pt x="46" y="61"/>
                  <a:pt x="46" y="61"/>
                  <a:pt x="46" y="61"/>
                </a:cubicBezTo>
                <a:cubicBezTo>
                  <a:pt x="45" y="61"/>
                  <a:pt x="45" y="61"/>
                  <a:pt x="45" y="61"/>
                </a:cubicBezTo>
                <a:cubicBezTo>
                  <a:pt x="45" y="61"/>
                  <a:pt x="45" y="61"/>
                  <a:pt x="45" y="61"/>
                </a:cubicBezTo>
                <a:cubicBezTo>
                  <a:pt x="45" y="60"/>
                  <a:pt x="45" y="60"/>
                  <a:pt x="45" y="60"/>
                </a:cubicBezTo>
                <a:cubicBezTo>
                  <a:pt x="45" y="60"/>
                  <a:pt x="45" y="60"/>
                  <a:pt x="45" y="60"/>
                </a:cubicBezTo>
                <a:cubicBezTo>
                  <a:pt x="45" y="59"/>
                  <a:pt x="45" y="59"/>
                  <a:pt x="45" y="59"/>
                </a:cubicBezTo>
                <a:cubicBezTo>
                  <a:pt x="46" y="58"/>
                  <a:pt x="46" y="58"/>
                  <a:pt x="46" y="58"/>
                </a:cubicBezTo>
                <a:cubicBezTo>
                  <a:pt x="46" y="56"/>
                  <a:pt x="46" y="56"/>
                  <a:pt x="46" y="56"/>
                </a:cubicBezTo>
                <a:cubicBezTo>
                  <a:pt x="47" y="54"/>
                  <a:pt x="47" y="54"/>
                  <a:pt x="47" y="54"/>
                </a:cubicBezTo>
                <a:cubicBezTo>
                  <a:pt x="47" y="53"/>
                  <a:pt x="47" y="53"/>
                  <a:pt x="47" y="53"/>
                </a:cubicBezTo>
                <a:cubicBezTo>
                  <a:pt x="47" y="52"/>
                  <a:pt x="47" y="52"/>
                  <a:pt x="47" y="52"/>
                </a:cubicBezTo>
                <a:cubicBezTo>
                  <a:pt x="47" y="52"/>
                  <a:pt x="47" y="52"/>
                  <a:pt x="47" y="52"/>
                </a:cubicBezTo>
                <a:cubicBezTo>
                  <a:pt x="46" y="52"/>
                  <a:pt x="46" y="52"/>
                  <a:pt x="46" y="52"/>
                </a:cubicBezTo>
                <a:cubicBezTo>
                  <a:pt x="45" y="51"/>
                  <a:pt x="45" y="51"/>
                  <a:pt x="45" y="51"/>
                </a:cubicBezTo>
                <a:cubicBezTo>
                  <a:pt x="44" y="50"/>
                  <a:pt x="44" y="50"/>
                  <a:pt x="44" y="50"/>
                </a:cubicBezTo>
                <a:close/>
                <a:moveTo>
                  <a:pt x="38" y="32"/>
                </a:moveTo>
                <a:cubicBezTo>
                  <a:pt x="39" y="33"/>
                  <a:pt x="39" y="33"/>
                  <a:pt x="39" y="33"/>
                </a:cubicBezTo>
                <a:cubicBezTo>
                  <a:pt x="39" y="34"/>
                  <a:pt x="39" y="34"/>
                  <a:pt x="39" y="34"/>
                </a:cubicBezTo>
                <a:cubicBezTo>
                  <a:pt x="40" y="34"/>
                  <a:pt x="40" y="34"/>
                  <a:pt x="40" y="34"/>
                </a:cubicBezTo>
                <a:cubicBezTo>
                  <a:pt x="42" y="34"/>
                  <a:pt x="42" y="34"/>
                  <a:pt x="42" y="34"/>
                </a:cubicBezTo>
                <a:cubicBezTo>
                  <a:pt x="42" y="33"/>
                  <a:pt x="42" y="33"/>
                  <a:pt x="42" y="33"/>
                </a:cubicBezTo>
                <a:cubicBezTo>
                  <a:pt x="41" y="32"/>
                  <a:pt x="41" y="32"/>
                  <a:pt x="41" y="32"/>
                </a:cubicBezTo>
                <a:cubicBezTo>
                  <a:pt x="39" y="31"/>
                  <a:pt x="39" y="31"/>
                  <a:pt x="39" y="31"/>
                </a:cubicBezTo>
                <a:cubicBezTo>
                  <a:pt x="38" y="31"/>
                  <a:pt x="38" y="31"/>
                  <a:pt x="38" y="31"/>
                </a:cubicBezTo>
                <a:cubicBezTo>
                  <a:pt x="38" y="32"/>
                  <a:pt x="38" y="32"/>
                  <a:pt x="38" y="32"/>
                </a:cubicBezTo>
                <a:close/>
                <a:moveTo>
                  <a:pt x="41" y="43"/>
                </a:moveTo>
                <a:cubicBezTo>
                  <a:pt x="42" y="43"/>
                  <a:pt x="42" y="43"/>
                  <a:pt x="42" y="43"/>
                </a:cubicBezTo>
                <a:cubicBezTo>
                  <a:pt x="43" y="44"/>
                  <a:pt x="43" y="44"/>
                  <a:pt x="43" y="44"/>
                </a:cubicBezTo>
                <a:cubicBezTo>
                  <a:pt x="43" y="45"/>
                  <a:pt x="43" y="45"/>
                  <a:pt x="43" y="45"/>
                </a:cubicBezTo>
                <a:cubicBezTo>
                  <a:pt x="44" y="45"/>
                  <a:pt x="44" y="45"/>
                  <a:pt x="44" y="45"/>
                </a:cubicBezTo>
                <a:cubicBezTo>
                  <a:pt x="44" y="46"/>
                  <a:pt x="44" y="46"/>
                  <a:pt x="44" y="46"/>
                </a:cubicBezTo>
                <a:cubicBezTo>
                  <a:pt x="44" y="46"/>
                  <a:pt x="44" y="46"/>
                  <a:pt x="44" y="46"/>
                </a:cubicBezTo>
                <a:cubicBezTo>
                  <a:pt x="44" y="47"/>
                  <a:pt x="44" y="47"/>
                  <a:pt x="44" y="47"/>
                </a:cubicBezTo>
                <a:cubicBezTo>
                  <a:pt x="45" y="47"/>
                  <a:pt x="45" y="47"/>
                  <a:pt x="45" y="47"/>
                </a:cubicBezTo>
                <a:cubicBezTo>
                  <a:pt x="45" y="47"/>
                  <a:pt x="45" y="47"/>
                  <a:pt x="45" y="47"/>
                </a:cubicBezTo>
                <a:cubicBezTo>
                  <a:pt x="46" y="47"/>
                  <a:pt x="46" y="47"/>
                  <a:pt x="46" y="47"/>
                </a:cubicBezTo>
                <a:cubicBezTo>
                  <a:pt x="47" y="46"/>
                  <a:pt x="47" y="46"/>
                  <a:pt x="47" y="46"/>
                </a:cubicBezTo>
                <a:cubicBezTo>
                  <a:pt x="48" y="46"/>
                  <a:pt x="48" y="46"/>
                  <a:pt x="48" y="46"/>
                </a:cubicBezTo>
                <a:cubicBezTo>
                  <a:pt x="49" y="45"/>
                  <a:pt x="49" y="45"/>
                  <a:pt x="49" y="45"/>
                </a:cubicBezTo>
                <a:cubicBezTo>
                  <a:pt x="49" y="45"/>
                  <a:pt x="49" y="45"/>
                  <a:pt x="49" y="45"/>
                </a:cubicBezTo>
                <a:cubicBezTo>
                  <a:pt x="49" y="43"/>
                  <a:pt x="49" y="43"/>
                  <a:pt x="49" y="43"/>
                </a:cubicBezTo>
                <a:cubicBezTo>
                  <a:pt x="50" y="42"/>
                  <a:pt x="50" y="42"/>
                  <a:pt x="50" y="42"/>
                </a:cubicBezTo>
                <a:cubicBezTo>
                  <a:pt x="50" y="41"/>
                  <a:pt x="50" y="41"/>
                  <a:pt x="50" y="41"/>
                </a:cubicBezTo>
                <a:cubicBezTo>
                  <a:pt x="50" y="40"/>
                  <a:pt x="50" y="40"/>
                  <a:pt x="50" y="40"/>
                </a:cubicBezTo>
                <a:cubicBezTo>
                  <a:pt x="49" y="40"/>
                  <a:pt x="49" y="40"/>
                  <a:pt x="49" y="40"/>
                </a:cubicBezTo>
                <a:cubicBezTo>
                  <a:pt x="48" y="40"/>
                  <a:pt x="48" y="40"/>
                  <a:pt x="48" y="40"/>
                </a:cubicBezTo>
                <a:cubicBezTo>
                  <a:pt x="48" y="39"/>
                  <a:pt x="48" y="39"/>
                  <a:pt x="48" y="39"/>
                </a:cubicBezTo>
                <a:cubicBezTo>
                  <a:pt x="47" y="40"/>
                  <a:pt x="47" y="40"/>
                  <a:pt x="47" y="40"/>
                </a:cubicBezTo>
                <a:cubicBezTo>
                  <a:pt x="45" y="41"/>
                  <a:pt x="45" y="41"/>
                  <a:pt x="45" y="41"/>
                </a:cubicBezTo>
                <a:cubicBezTo>
                  <a:pt x="45" y="40"/>
                  <a:pt x="45" y="40"/>
                  <a:pt x="45" y="40"/>
                </a:cubicBezTo>
                <a:cubicBezTo>
                  <a:pt x="45" y="40"/>
                  <a:pt x="45" y="40"/>
                  <a:pt x="45" y="40"/>
                </a:cubicBezTo>
                <a:cubicBezTo>
                  <a:pt x="44" y="41"/>
                  <a:pt x="44" y="41"/>
                  <a:pt x="44" y="41"/>
                </a:cubicBezTo>
                <a:cubicBezTo>
                  <a:pt x="44" y="41"/>
                  <a:pt x="44" y="41"/>
                  <a:pt x="44" y="41"/>
                </a:cubicBezTo>
                <a:cubicBezTo>
                  <a:pt x="43" y="42"/>
                  <a:pt x="43" y="42"/>
                  <a:pt x="43" y="42"/>
                </a:cubicBezTo>
                <a:cubicBezTo>
                  <a:pt x="42" y="41"/>
                  <a:pt x="42" y="41"/>
                  <a:pt x="42" y="41"/>
                </a:cubicBezTo>
                <a:cubicBezTo>
                  <a:pt x="41" y="42"/>
                  <a:pt x="41" y="42"/>
                  <a:pt x="41" y="42"/>
                </a:cubicBezTo>
                <a:cubicBezTo>
                  <a:pt x="41" y="43"/>
                  <a:pt x="41" y="43"/>
                  <a:pt x="41" y="43"/>
                </a:cubicBezTo>
                <a:close/>
                <a:moveTo>
                  <a:pt x="6" y="49"/>
                </a:moveTo>
                <a:cubicBezTo>
                  <a:pt x="5" y="47"/>
                  <a:pt x="5" y="47"/>
                  <a:pt x="5" y="47"/>
                </a:cubicBezTo>
                <a:cubicBezTo>
                  <a:pt x="5" y="47"/>
                  <a:pt x="5" y="47"/>
                  <a:pt x="5" y="47"/>
                </a:cubicBezTo>
                <a:cubicBezTo>
                  <a:pt x="4" y="46"/>
                  <a:pt x="4" y="46"/>
                  <a:pt x="4" y="46"/>
                </a:cubicBezTo>
                <a:cubicBezTo>
                  <a:pt x="3" y="45"/>
                  <a:pt x="3" y="45"/>
                  <a:pt x="3" y="45"/>
                </a:cubicBezTo>
                <a:cubicBezTo>
                  <a:pt x="2" y="45"/>
                  <a:pt x="2" y="45"/>
                  <a:pt x="2" y="45"/>
                </a:cubicBezTo>
                <a:cubicBezTo>
                  <a:pt x="2" y="44"/>
                  <a:pt x="2" y="44"/>
                  <a:pt x="2" y="44"/>
                </a:cubicBezTo>
                <a:cubicBezTo>
                  <a:pt x="2" y="42"/>
                  <a:pt x="2" y="42"/>
                  <a:pt x="2" y="42"/>
                </a:cubicBezTo>
                <a:cubicBezTo>
                  <a:pt x="1" y="40"/>
                  <a:pt x="1" y="40"/>
                  <a:pt x="1" y="40"/>
                </a:cubicBezTo>
                <a:cubicBezTo>
                  <a:pt x="0" y="40"/>
                  <a:pt x="0" y="40"/>
                  <a:pt x="0" y="40"/>
                </a:cubicBezTo>
                <a:cubicBezTo>
                  <a:pt x="0" y="38"/>
                  <a:pt x="0" y="38"/>
                  <a:pt x="0" y="38"/>
                </a:cubicBezTo>
                <a:cubicBezTo>
                  <a:pt x="1" y="37"/>
                  <a:pt x="1" y="37"/>
                  <a:pt x="1" y="37"/>
                </a:cubicBezTo>
                <a:cubicBezTo>
                  <a:pt x="1" y="38"/>
                  <a:pt x="1" y="38"/>
                  <a:pt x="1" y="38"/>
                </a:cubicBezTo>
                <a:cubicBezTo>
                  <a:pt x="2" y="39"/>
                  <a:pt x="2" y="39"/>
                  <a:pt x="2" y="39"/>
                </a:cubicBezTo>
                <a:cubicBezTo>
                  <a:pt x="3" y="40"/>
                  <a:pt x="3" y="40"/>
                  <a:pt x="3" y="40"/>
                </a:cubicBezTo>
                <a:cubicBezTo>
                  <a:pt x="2" y="41"/>
                  <a:pt x="2" y="41"/>
                  <a:pt x="2" y="41"/>
                </a:cubicBezTo>
                <a:cubicBezTo>
                  <a:pt x="3" y="43"/>
                  <a:pt x="3" y="43"/>
                  <a:pt x="3" y="43"/>
                </a:cubicBezTo>
                <a:cubicBezTo>
                  <a:pt x="4" y="44"/>
                  <a:pt x="4" y="44"/>
                  <a:pt x="4" y="44"/>
                </a:cubicBezTo>
                <a:cubicBezTo>
                  <a:pt x="4" y="44"/>
                  <a:pt x="4" y="44"/>
                  <a:pt x="4" y="44"/>
                </a:cubicBezTo>
                <a:cubicBezTo>
                  <a:pt x="5" y="44"/>
                  <a:pt x="5" y="44"/>
                  <a:pt x="5" y="44"/>
                </a:cubicBezTo>
                <a:cubicBezTo>
                  <a:pt x="5" y="44"/>
                  <a:pt x="5" y="44"/>
                  <a:pt x="5" y="44"/>
                </a:cubicBezTo>
                <a:cubicBezTo>
                  <a:pt x="6" y="45"/>
                  <a:pt x="6" y="45"/>
                  <a:pt x="6" y="45"/>
                </a:cubicBezTo>
                <a:cubicBezTo>
                  <a:pt x="7" y="47"/>
                  <a:pt x="7" y="47"/>
                  <a:pt x="7" y="47"/>
                </a:cubicBezTo>
                <a:cubicBezTo>
                  <a:pt x="7" y="48"/>
                  <a:pt x="7" y="48"/>
                  <a:pt x="7" y="48"/>
                </a:cubicBezTo>
                <a:cubicBezTo>
                  <a:pt x="7" y="49"/>
                  <a:pt x="7" y="49"/>
                  <a:pt x="7" y="49"/>
                </a:cubicBezTo>
                <a:cubicBezTo>
                  <a:pt x="6" y="49"/>
                  <a:pt x="6" y="49"/>
                  <a:pt x="6" y="49"/>
                </a:cubicBezTo>
                <a:cubicBezTo>
                  <a:pt x="6" y="49"/>
                  <a:pt x="6" y="49"/>
                  <a:pt x="6" y="49"/>
                </a:cubicBezTo>
                <a:close/>
                <a:moveTo>
                  <a:pt x="29" y="77"/>
                </a:moveTo>
                <a:cubicBezTo>
                  <a:pt x="29" y="76"/>
                  <a:pt x="29" y="76"/>
                  <a:pt x="29" y="76"/>
                </a:cubicBezTo>
                <a:cubicBezTo>
                  <a:pt x="28" y="76"/>
                  <a:pt x="28" y="76"/>
                  <a:pt x="28" y="76"/>
                </a:cubicBezTo>
                <a:cubicBezTo>
                  <a:pt x="28" y="77"/>
                  <a:pt x="28" y="77"/>
                  <a:pt x="28" y="77"/>
                </a:cubicBezTo>
                <a:cubicBezTo>
                  <a:pt x="27" y="77"/>
                  <a:pt x="27" y="77"/>
                  <a:pt x="27" y="77"/>
                </a:cubicBezTo>
                <a:cubicBezTo>
                  <a:pt x="27" y="76"/>
                  <a:pt x="27" y="76"/>
                  <a:pt x="27" y="76"/>
                </a:cubicBezTo>
                <a:cubicBezTo>
                  <a:pt x="27" y="75"/>
                  <a:pt x="27" y="75"/>
                  <a:pt x="27" y="75"/>
                </a:cubicBezTo>
                <a:cubicBezTo>
                  <a:pt x="27" y="74"/>
                  <a:pt x="27" y="74"/>
                  <a:pt x="27" y="74"/>
                </a:cubicBezTo>
                <a:cubicBezTo>
                  <a:pt x="26" y="74"/>
                  <a:pt x="26" y="74"/>
                  <a:pt x="26" y="74"/>
                </a:cubicBezTo>
                <a:cubicBezTo>
                  <a:pt x="24" y="72"/>
                  <a:pt x="24" y="72"/>
                  <a:pt x="24" y="72"/>
                </a:cubicBezTo>
                <a:cubicBezTo>
                  <a:pt x="24" y="71"/>
                  <a:pt x="24" y="71"/>
                  <a:pt x="24" y="71"/>
                </a:cubicBezTo>
                <a:cubicBezTo>
                  <a:pt x="25" y="70"/>
                  <a:pt x="25" y="70"/>
                  <a:pt x="25" y="70"/>
                </a:cubicBezTo>
                <a:cubicBezTo>
                  <a:pt x="26" y="70"/>
                  <a:pt x="26" y="70"/>
                  <a:pt x="26" y="70"/>
                </a:cubicBezTo>
                <a:cubicBezTo>
                  <a:pt x="26" y="70"/>
                  <a:pt x="26" y="70"/>
                  <a:pt x="26" y="70"/>
                </a:cubicBezTo>
                <a:cubicBezTo>
                  <a:pt x="26" y="69"/>
                  <a:pt x="26" y="69"/>
                  <a:pt x="26" y="69"/>
                </a:cubicBezTo>
                <a:cubicBezTo>
                  <a:pt x="26" y="69"/>
                  <a:pt x="26" y="69"/>
                  <a:pt x="26" y="69"/>
                </a:cubicBezTo>
                <a:cubicBezTo>
                  <a:pt x="25" y="69"/>
                  <a:pt x="25" y="69"/>
                  <a:pt x="25" y="69"/>
                </a:cubicBezTo>
                <a:cubicBezTo>
                  <a:pt x="25" y="68"/>
                  <a:pt x="25" y="68"/>
                  <a:pt x="25" y="68"/>
                </a:cubicBezTo>
                <a:cubicBezTo>
                  <a:pt x="24" y="68"/>
                  <a:pt x="24" y="68"/>
                  <a:pt x="24" y="68"/>
                </a:cubicBezTo>
                <a:cubicBezTo>
                  <a:pt x="24" y="69"/>
                  <a:pt x="24" y="69"/>
                  <a:pt x="24" y="69"/>
                </a:cubicBezTo>
                <a:cubicBezTo>
                  <a:pt x="23" y="70"/>
                  <a:pt x="23" y="70"/>
                  <a:pt x="23" y="70"/>
                </a:cubicBezTo>
                <a:cubicBezTo>
                  <a:pt x="21" y="69"/>
                  <a:pt x="21" y="69"/>
                  <a:pt x="21" y="69"/>
                </a:cubicBezTo>
                <a:cubicBezTo>
                  <a:pt x="21" y="68"/>
                  <a:pt x="21" y="68"/>
                  <a:pt x="21" y="68"/>
                </a:cubicBezTo>
                <a:cubicBezTo>
                  <a:pt x="21" y="67"/>
                  <a:pt x="21" y="67"/>
                  <a:pt x="21" y="67"/>
                </a:cubicBezTo>
                <a:cubicBezTo>
                  <a:pt x="20" y="67"/>
                  <a:pt x="20" y="67"/>
                  <a:pt x="20" y="67"/>
                </a:cubicBezTo>
                <a:cubicBezTo>
                  <a:pt x="19" y="66"/>
                  <a:pt x="19" y="66"/>
                  <a:pt x="19" y="66"/>
                </a:cubicBezTo>
                <a:cubicBezTo>
                  <a:pt x="19" y="66"/>
                  <a:pt x="19" y="66"/>
                  <a:pt x="19" y="66"/>
                </a:cubicBezTo>
                <a:cubicBezTo>
                  <a:pt x="18" y="66"/>
                  <a:pt x="18" y="66"/>
                  <a:pt x="18" y="66"/>
                </a:cubicBezTo>
                <a:cubicBezTo>
                  <a:pt x="18" y="65"/>
                  <a:pt x="18" y="65"/>
                  <a:pt x="18" y="65"/>
                </a:cubicBezTo>
                <a:cubicBezTo>
                  <a:pt x="18" y="64"/>
                  <a:pt x="18" y="64"/>
                  <a:pt x="18" y="64"/>
                </a:cubicBezTo>
                <a:cubicBezTo>
                  <a:pt x="17" y="64"/>
                  <a:pt x="17" y="64"/>
                  <a:pt x="17" y="64"/>
                </a:cubicBezTo>
                <a:cubicBezTo>
                  <a:pt x="17" y="64"/>
                  <a:pt x="17" y="64"/>
                  <a:pt x="17" y="64"/>
                </a:cubicBezTo>
                <a:cubicBezTo>
                  <a:pt x="17" y="63"/>
                  <a:pt x="17" y="63"/>
                  <a:pt x="17" y="63"/>
                </a:cubicBezTo>
                <a:cubicBezTo>
                  <a:pt x="16" y="63"/>
                  <a:pt x="16" y="63"/>
                  <a:pt x="16" y="63"/>
                </a:cubicBezTo>
                <a:cubicBezTo>
                  <a:pt x="16" y="62"/>
                  <a:pt x="16" y="62"/>
                  <a:pt x="16" y="62"/>
                </a:cubicBezTo>
                <a:cubicBezTo>
                  <a:pt x="16" y="62"/>
                  <a:pt x="16" y="62"/>
                  <a:pt x="16" y="62"/>
                </a:cubicBezTo>
                <a:cubicBezTo>
                  <a:pt x="16" y="62"/>
                  <a:pt x="16" y="62"/>
                  <a:pt x="16" y="62"/>
                </a:cubicBezTo>
                <a:cubicBezTo>
                  <a:pt x="16" y="61"/>
                  <a:pt x="16" y="61"/>
                  <a:pt x="16" y="61"/>
                </a:cubicBezTo>
                <a:cubicBezTo>
                  <a:pt x="16" y="60"/>
                  <a:pt x="16" y="60"/>
                  <a:pt x="16" y="60"/>
                </a:cubicBezTo>
                <a:cubicBezTo>
                  <a:pt x="15" y="60"/>
                  <a:pt x="15" y="60"/>
                  <a:pt x="15" y="60"/>
                </a:cubicBezTo>
                <a:cubicBezTo>
                  <a:pt x="15" y="59"/>
                  <a:pt x="15" y="59"/>
                  <a:pt x="15" y="59"/>
                </a:cubicBezTo>
                <a:cubicBezTo>
                  <a:pt x="17" y="58"/>
                  <a:pt x="17" y="58"/>
                  <a:pt x="17" y="58"/>
                </a:cubicBezTo>
                <a:cubicBezTo>
                  <a:pt x="17" y="58"/>
                  <a:pt x="17" y="58"/>
                  <a:pt x="17" y="58"/>
                </a:cubicBezTo>
                <a:cubicBezTo>
                  <a:pt x="18" y="59"/>
                  <a:pt x="18" y="59"/>
                  <a:pt x="18" y="59"/>
                </a:cubicBezTo>
                <a:cubicBezTo>
                  <a:pt x="19" y="60"/>
                  <a:pt x="19" y="60"/>
                  <a:pt x="19" y="60"/>
                </a:cubicBezTo>
                <a:cubicBezTo>
                  <a:pt x="19" y="60"/>
                  <a:pt x="19" y="60"/>
                  <a:pt x="19" y="60"/>
                </a:cubicBezTo>
                <a:cubicBezTo>
                  <a:pt x="19" y="59"/>
                  <a:pt x="19" y="59"/>
                  <a:pt x="19" y="59"/>
                </a:cubicBezTo>
                <a:cubicBezTo>
                  <a:pt x="20" y="59"/>
                  <a:pt x="20" y="59"/>
                  <a:pt x="20" y="59"/>
                </a:cubicBezTo>
                <a:cubicBezTo>
                  <a:pt x="21" y="60"/>
                  <a:pt x="21" y="60"/>
                  <a:pt x="21" y="60"/>
                </a:cubicBezTo>
                <a:cubicBezTo>
                  <a:pt x="22" y="60"/>
                  <a:pt x="22" y="60"/>
                  <a:pt x="22" y="60"/>
                </a:cubicBezTo>
                <a:cubicBezTo>
                  <a:pt x="24" y="59"/>
                  <a:pt x="24" y="59"/>
                  <a:pt x="24" y="59"/>
                </a:cubicBezTo>
                <a:cubicBezTo>
                  <a:pt x="24" y="59"/>
                  <a:pt x="24" y="59"/>
                  <a:pt x="24" y="59"/>
                </a:cubicBezTo>
                <a:cubicBezTo>
                  <a:pt x="23" y="58"/>
                  <a:pt x="23" y="58"/>
                  <a:pt x="23" y="58"/>
                </a:cubicBezTo>
                <a:cubicBezTo>
                  <a:pt x="22" y="58"/>
                  <a:pt x="22" y="58"/>
                  <a:pt x="22" y="58"/>
                </a:cubicBezTo>
                <a:cubicBezTo>
                  <a:pt x="20" y="58"/>
                  <a:pt x="20" y="58"/>
                  <a:pt x="20" y="58"/>
                </a:cubicBezTo>
                <a:cubicBezTo>
                  <a:pt x="19" y="57"/>
                  <a:pt x="19" y="57"/>
                  <a:pt x="19" y="57"/>
                </a:cubicBezTo>
                <a:cubicBezTo>
                  <a:pt x="19" y="57"/>
                  <a:pt x="19" y="57"/>
                  <a:pt x="19" y="57"/>
                </a:cubicBezTo>
                <a:cubicBezTo>
                  <a:pt x="20" y="57"/>
                  <a:pt x="20" y="57"/>
                  <a:pt x="20" y="57"/>
                </a:cubicBezTo>
                <a:cubicBezTo>
                  <a:pt x="21" y="57"/>
                  <a:pt x="21" y="57"/>
                  <a:pt x="21" y="57"/>
                </a:cubicBezTo>
                <a:cubicBezTo>
                  <a:pt x="23" y="56"/>
                  <a:pt x="23" y="56"/>
                  <a:pt x="23" y="56"/>
                </a:cubicBezTo>
                <a:cubicBezTo>
                  <a:pt x="24" y="55"/>
                  <a:pt x="24" y="55"/>
                  <a:pt x="24" y="55"/>
                </a:cubicBezTo>
                <a:cubicBezTo>
                  <a:pt x="26" y="55"/>
                  <a:pt x="26" y="55"/>
                  <a:pt x="26" y="55"/>
                </a:cubicBezTo>
                <a:cubicBezTo>
                  <a:pt x="27" y="55"/>
                  <a:pt x="27" y="55"/>
                  <a:pt x="27" y="55"/>
                </a:cubicBezTo>
                <a:cubicBezTo>
                  <a:pt x="27" y="55"/>
                  <a:pt x="27" y="55"/>
                  <a:pt x="27" y="55"/>
                </a:cubicBezTo>
                <a:cubicBezTo>
                  <a:pt x="27" y="55"/>
                  <a:pt x="27" y="55"/>
                  <a:pt x="27" y="55"/>
                </a:cubicBezTo>
                <a:cubicBezTo>
                  <a:pt x="27" y="54"/>
                  <a:pt x="27" y="54"/>
                  <a:pt x="27" y="54"/>
                </a:cubicBezTo>
                <a:cubicBezTo>
                  <a:pt x="28" y="54"/>
                  <a:pt x="28" y="54"/>
                  <a:pt x="28" y="54"/>
                </a:cubicBezTo>
                <a:cubicBezTo>
                  <a:pt x="28" y="53"/>
                  <a:pt x="28" y="53"/>
                  <a:pt x="28" y="53"/>
                </a:cubicBezTo>
                <a:cubicBezTo>
                  <a:pt x="28" y="53"/>
                  <a:pt x="28" y="53"/>
                  <a:pt x="28" y="53"/>
                </a:cubicBezTo>
                <a:cubicBezTo>
                  <a:pt x="27" y="53"/>
                  <a:pt x="27" y="53"/>
                  <a:pt x="27" y="53"/>
                </a:cubicBezTo>
                <a:cubicBezTo>
                  <a:pt x="26" y="54"/>
                  <a:pt x="26" y="54"/>
                  <a:pt x="26" y="54"/>
                </a:cubicBezTo>
                <a:cubicBezTo>
                  <a:pt x="24" y="54"/>
                  <a:pt x="24" y="54"/>
                  <a:pt x="24" y="54"/>
                </a:cubicBezTo>
                <a:cubicBezTo>
                  <a:pt x="23" y="54"/>
                  <a:pt x="23" y="54"/>
                  <a:pt x="23" y="54"/>
                </a:cubicBezTo>
                <a:cubicBezTo>
                  <a:pt x="23" y="54"/>
                  <a:pt x="23" y="54"/>
                  <a:pt x="23" y="54"/>
                </a:cubicBezTo>
                <a:cubicBezTo>
                  <a:pt x="22" y="54"/>
                  <a:pt x="22" y="54"/>
                  <a:pt x="22" y="54"/>
                </a:cubicBezTo>
                <a:cubicBezTo>
                  <a:pt x="21" y="54"/>
                  <a:pt x="21" y="54"/>
                  <a:pt x="21" y="54"/>
                </a:cubicBezTo>
                <a:cubicBezTo>
                  <a:pt x="21" y="54"/>
                  <a:pt x="21" y="54"/>
                  <a:pt x="21" y="54"/>
                </a:cubicBezTo>
                <a:cubicBezTo>
                  <a:pt x="20" y="55"/>
                  <a:pt x="20" y="55"/>
                  <a:pt x="20" y="55"/>
                </a:cubicBezTo>
                <a:cubicBezTo>
                  <a:pt x="19" y="55"/>
                  <a:pt x="19" y="55"/>
                  <a:pt x="19" y="55"/>
                </a:cubicBezTo>
                <a:cubicBezTo>
                  <a:pt x="18" y="55"/>
                  <a:pt x="18" y="55"/>
                  <a:pt x="18" y="55"/>
                </a:cubicBezTo>
                <a:cubicBezTo>
                  <a:pt x="18" y="56"/>
                  <a:pt x="18" y="56"/>
                  <a:pt x="18" y="56"/>
                </a:cubicBezTo>
                <a:cubicBezTo>
                  <a:pt x="16" y="56"/>
                  <a:pt x="16" y="56"/>
                  <a:pt x="16" y="56"/>
                </a:cubicBezTo>
                <a:cubicBezTo>
                  <a:pt x="15" y="56"/>
                  <a:pt x="15" y="56"/>
                  <a:pt x="15" y="56"/>
                </a:cubicBezTo>
                <a:cubicBezTo>
                  <a:pt x="15" y="56"/>
                  <a:pt x="15" y="56"/>
                  <a:pt x="15" y="56"/>
                </a:cubicBezTo>
                <a:cubicBezTo>
                  <a:pt x="14" y="56"/>
                  <a:pt x="14" y="56"/>
                  <a:pt x="14" y="56"/>
                </a:cubicBezTo>
                <a:cubicBezTo>
                  <a:pt x="14" y="54"/>
                  <a:pt x="14" y="54"/>
                  <a:pt x="14" y="54"/>
                </a:cubicBezTo>
                <a:cubicBezTo>
                  <a:pt x="14" y="53"/>
                  <a:pt x="14" y="53"/>
                  <a:pt x="14" y="53"/>
                </a:cubicBezTo>
                <a:cubicBezTo>
                  <a:pt x="14" y="52"/>
                  <a:pt x="14" y="52"/>
                  <a:pt x="14" y="52"/>
                </a:cubicBezTo>
                <a:cubicBezTo>
                  <a:pt x="14" y="52"/>
                  <a:pt x="14" y="52"/>
                  <a:pt x="14" y="52"/>
                </a:cubicBezTo>
                <a:cubicBezTo>
                  <a:pt x="15" y="51"/>
                  <a:pt x="15" y="51"/>
                  <a:pt x="15" y="51"/>
                </a:cubicBezTo>
                <a:cubicBezTo>
                  <a:pt x="16" y="51"/>
                  <a:pt x="16" y="51"/>
                  <a:pt x="16" y="51"/>
                </a:cubicBezTo>
                <a:cubicBezTo>
                  <a:pt x="16" y="51"/>
                  <a:pt x="16" y="51"/>
                  <a:pt x="16" y="51"/>
                </a:cubicBezTo>
                <a:cubicBezTo>
                  <a:pt x="16" y="52"/>
                  <a:pt x="16" y="52"/>
                  <a:pt x="16" y="52"/>
                </a:cubicBezTo>
                <a:cubicBezTo>
                  <a:pt x="17" y="52"/>
                  <a:pt x="17" y="52"/>
                  <a:pt x="17" y="52"/>
                </a:cubicBezTo>
                <a:cubicBezTo>
                  <a:pt x="17" y="51"/>
                  <a:pt x="17" y="51"/>
                  <a:pt x="17" y="51"/>
                </a:cubicBezTo>
                <a:cubicBezTo>
                  <a:pt x="18" y="50"/>
                  <a:pt x="18" y="50"/>
                  <a:pt x="18" y="50"/>
                </a:cubicBezTo>
                <a:cubicBezTo>
                  <a:pt x="18" y="50"/>
                  <a:pt x="18" y="50"/>
                  <a:pt x="18" y="50"/>
                </a:cubicBezTo>
                <a:cubicBezTo>
                  <a:pt x="19" y="49"/>
                  <a:pt x="19" y="49"/>
                  <a:pt x="19" y="49"/>
                </a:cubicBezTo>
                <a:cubicBezTo>
                  <a:pt x="20" y="48"/>
                  <a:pt x="20" y="48"/>
                  <a:pt x="20" y="48"/>
                </a:cubicBezTo>
                <a:cubicBezTo>
                  <a:pt x="21" y="48"/>
                  <a:pt x="21" y="48"/>
                  <a:pt x="21" y="48"/>
                </a:cubicBezTo>
                <a:cubicBezTo>
                  <a:pt x="21" y="47"/>
                  <a:pt x="21" y="47"/>
                  <a:pt x="21" y="47"/>
                </a:cubicBezTo>
                <a:cubicBezTo>
                  <a:pt x="22" y="46"/>
                  <a:pt x="22" y="46"/>
                  <a:pt x="22" y="46"/>
                </a:cubicBezTo>
                <a:cubicBezTo>
                  <a:pt x="23" y="46"/>
                  <a:pt x="23" y="46"/>
                  <a:pt x="23" y="46"/>
                </a:cubicBezTo>
                <a:cubicBezTo>
                  <a:pt x="25" y="46"/>
                  <a:pt x="25" y="46"/>
                  <a:pt x="25" y="46"/>
                </a:cubicBezTo>
                <a:cubicBezTo>
                  <a:pt x="26" y="45"/>
                  <a:pt x="26" y="45"/>
                  <a:pt x="26" y="45"/>
                </a:cubicBezTo>
                <a:cubicBezTo>
                  <a:pt x="27" y="44"/>
                  <a:pt x="27" y="44"/>
                  <a:pt x="27" y="44"/>
                </a:cubicBezTo>
                <a:cubicBezTo>
                  <a:pt x="28" y="44"/>
                  <a:pt x="28" y="44"/>
                  <a:pt x="28" y="44"/>
                </a:cubicBezTo>
                <a:cubicBezTo>
                  <a:pt x="28" y="43"/>
                  <a:pt x="28" y="43"/>
                  <a:pt x="28" y="43"/>
                </a:cubicBezTo>
                <a:cubicBezTo>
                  <a:pt x="27" y="43"/>
                  <a:pt x="27" y="43"/>
                  <a:pt x="27" y="43"/>
                </a:cubicBezTo>
                <a:cubicBezTo>
                  <a:pt x="26" y="44"/>
                  <a:pt x="26" y="44"/>
                  <a:pt x="26" y="44"/>
                </a:cubicBezTo>
                <a:cubicBezTo>
                  <a:pt x="25" y="44"/>
                  <a:pt x="25" y="44"/>
                  <a:pt x="25" y="44"/>
                </a:cubicBezTo>
                <a:cubicBezTo>
                  <a:pt x="25" y="44"/>
                  <a:pt x="25" y="44"/>
                  <a:pt x="25" y="44"/>
                </a:cubicBezTo>
                <a:cubicBezTo>
                  <a:pt x="25" y="43"/>
                  <a:pt x="25" y="43"/>
                  <a:pt x="25" y="43"/>
                </a:cubicBezTo>
                <a:cubicBezTo>
                  <a:pt x="25" y="42"/>
                  <a:pt x="25" y="42"/>
                  <a:pt x="25" y="42"/>
                </a:cubicBezTo>
                <a:cubicBezTo>
                  <a:pt x="25" y="40"/>
                  <a:pt x="25" y="40"/>
                  <a:pt x="25" y="40"/>
                </a:cubicBezTo>
                <a:cubicBezTo>
                  <a:pt x="25" y="39"/>
                  <a:pt x="25" y="39"/>
                  <a:pt x="25" y="39"/>
                </a:cubicBezTo>
                <a:cubicBezTo>
                  <a:pt x="24" y="39"/>
                  <a:pt x="24" y="39"/>
                  <a:pt x="24" y="39"/>
                </a:cubicBezTo>
                <a:cubicBezTo>
                  <a:pt x="24" y="40"/>
                  <a:pt x="24" y="40"/>
                  <a:pt x="24" y="40"/>
                </a:cubicBezTo>
                <a:cubicBezTo>
                  <a:pt x="24" y="41"/>
                  <a:pt x="24" y="41"/>
                  <a:pt x="24" y="41"/>
                </a:cubicBezTo>
                <a:cubicBezTo>
                  <a:pt x="23" y="43"/>
                  <a:pt x="23" y="43"/>
                  <a:pt x="23" y="43"/>
                </a:cubicBezTo>
                <a:cubicBezTo>
                  <a:pt x="22" y="44"/>
                  <a:pt x="22" y="44"/>
                  <a:pt x="22" y="44"/>
                </a:cubicBezTo>
                <a:cubicBezTo>
                  <a:pt x="21" y="45"/>
                  <a:pt x="21" y="45"/>
                  <a:pt x="21" y="45"/>
                </a:cubicBezTo>
                <a:cubicBezTo>
                  <a:pt x="20" y="44"/>
                  <a:pt x="20" y="44"/>
                  <a:pt x="20" y="44"/>
                </a:cubicBezTo>
                <a:cubicBezTo>
                  <a:pt x="20" y="43"/>
                  <a:pt x="20" y="43"/>
                  <a:pt x="20" y="43"/>
                </a:cubicBezTo>
                <a:cubicBezTo>
                  <a:pt x="20" y="42"/>
                  <a:pt x="20" y="42"/>
                  <a:pt x="20" y="42"/>
                </a:cubicBezTo>
                <a:cubicBezTo>
                  <a:pt x="21" y="41"/>
                  <a:pt x="21" y="41"/>
                  <a:pt x="21" y="41"/>
                </a:cubicBezTo>
                <a:cubicBezTo>
                  <a:pt x="21" y="40"/>
                  <a:pt x="21" y="40"/>
                  <a:pt x="21" y="40"/>
                </a:cubicBezTo>
                <a:cubicBezTo>
                  <a:pt x="20" y="40"/>
                  <a:pt x="20" y="40"/>
                  <a:pt x="20" y="40"/>
                </a:cubicBezTo>
                <a:cubicBezTo>
                  <a:pt x="20" y="38"/>
                  <a:pt x="20" y="38"/>
                  <a:pt x="20" y="38"/>
                </a:cubicBezTo>
                <a:cubicBezTo>
                  <a:pt x="20" y="38"/>
                  <a:pt x="20" y="38"/>
                  <a:pt x="20" y="38"/>
                </a:cubicBezTo>
                <a:cubicBezTo>
                  <a:pt x="19" y="38"/>
                  <a:pt x="19" y="38"/>
                  <a:pt x="19" y="38"/>
                </a:cubicBezTo>
                <a:cubicBezTo>
                  <a:pt x="19" y="38"/>
                  <a:pt x="19" y="38"/>
                  <a:pt x="19" y="38"/>
                </a:cubicBezTo>
                <a:cubicBezTo>
                  <a:pt x="19" y="40"/>
                  <a:pt x="19" y="40"/>
                  <a:pt x="19" y="40"/>
                </a:cubicBezTo>
                <a:cubicBezTo>
                  <a:pt x="19" y="41"/>
                  <a:pt x="19" y="41"/>
                  <a:pt x="19" y="41"/>
                </a:cubicBezTo>
                <a:cubicBezTo>
                  <a:pt x="18" y="42"/>
                  <a:pt x="18" y="42"/>
                  <a:pt x="18" y="42"/>
                </a:cubicBezTo>
                <a:cubicBezTo>
                  <a:pt x="18" y="41"/>
                  <a:pt x="18" y="41"/>
                  <a:pt x="18" y="41"/>
                </a:cubicBezTo>
                <a:cubicBezTo>
                  <a:pt x="18" y="41"/>
                  <a:pt x="18" y="41"/>
                  <a:pt x="18" y="41"/>
                </a:cubicBezTo>
                <a:cubicBezTo>
                  <a:pt x="18" y="40"/>
                  <a:pt x="18" y="40"/>
                  <a:pt x="18" y="40"/>
                </a:cubicBezTo>
                <a:cubicBezTo>
                  <a:pt x="17" y="40"/>
                  <a:pt x="17" y="40"/>
                  <a:pt x="17" y="40"/>
                </a:cubicBezTo>
                <a:cubicBezTo>
                  <a:pt x="16" y="40"/>
                  <a:pt x="16" y="40"/>
                  <a:pt x="16" y="40"/>
                </a:cubicBezTo>
                <a:cubicBezTo>
                  <a:pt x="16" y="41"/>
                  <a:pt x="16" y="41"/>
                  <a:pt x="16" y="41"/>
                </a:cubicBezTo>
                <a:cubicBezTo>
                  <a:pt x="17" y="42"/>
                  <a:pt x="17" y="42"/>
                  <a:pt x="17" y="42"/>
                </a:cubicBezTo>
                <a:cubicBezTo>
                  <a:pt x="17" y="43"/>
                  <a:pt x="17" y="43"/>
                  <a:pt x="17" y="43"/>
                </a:cubicBezTo>
                <a:cubicBezTo>
                  <a:pt x="17" y="44"/>
                  <a:pt x="17" y="44"/>
                  <a:pt x="17" y="44"/>
                </a:cubicBezTo>
                <a:cubicBezTo>
                  <a:pt x="18" y="45"/>
                  <a:pt x="18" y="45"/>
                  <a:pt x="18" y="45"/>
                </a:cubicBezTo>
                <a:cubicBezTo>
                  <a:pt x="18" y="46"/>
                  <a:pt x="18" y="46"/>
                  <a:pt x="18" y="46"/>
                </a:cubicBezTo>
                <a:cubicBezTo>
                  <a:pt x="17" y="46"/>
                  <a:pt x="17" y="46"/>
                  <a:pt x="17" y="46"/>
                </a:cubicBezTo>
                <a:cubicBezTo>
                  <a:pt x="16" y="46"/>
                  <a:pt x="16" y="46"/>
                  <a:pt x="16" y="46"/>
                </a:cubicBezTo>
                <a:cubicBezTo>
                  <a:pt x="16" y="48"/>
                  <a:pt x="16" y="48"/>
                  <a:pt x="16" y="48"/>
                </a:cubicBezTo>
                <a:cubicBezTo>
                  <a:pt x="16" y="48"/>
                  <a:pt x="16" y="48"/>
                  <a:pt x="16" y="48"/>
                </a:cubicBezTo>
                <a:cubicBezTo>
                  <a:pt x="15" y="49"/>
                  <a:pt x="15" y="49"/>
                  <a:pt x="15" y="49"/>
                </a:cubicBezTo>
                <a:cubicBezTo>
                  <a:pt x="13" y="49"/>
                  <a:pt x="13" y="49"/>
                  <a:pt x="13" y="49"/>
                </a:cubicBezTo>
                <a:cubicBezTo>
                  <a:pt x="11" y="49"/>
                  <a:pt x="11" y="49"/>
                  <a:pt x="11" y="49"/>
                </a:cubicBezTo>
                <a:cubicBezTo>
                  <a:pt x="11" y="49"/>
                  <a:pt x="11" y="49"/>
                  <a:pt x="11" y="49"/>
                </a:cubicBezTo>
                <a:cubicBezTo>
                  <a:pt x="12" y="48"/>
                  <a:pt x="12" y="48"/>
                  <a:pt x="12" y="48"/>
                </a:cubicBezTo>
                <a:cubicBezTo>
                  <a:pt x="11" y="47"/>
                  <a:pt x="11" y="47"/>
                  <a:pt x="11" y="47"/>
                </a:cubicBezTo>
                <a:cubicBezTo>
                  <a:pt x="10" y="46"/>
                  <a:pt x="10" y="46"/>
                  <a:pt x="10" y="46"/>
                </a:cubicBezTo>
                <a:cubicBezTo>
                  <a:pt x="9" y="45"/>
                  <a:pt x="9" y="45"/>
                  <a:pt x="9" y="45"/>
                </a:cubicBezTo>
                <a:cubicBezTo>
                  <a:pt x="9" y="45"/>
                  <a:pt x="9" y="45"/>
                  <a:pt x="9" y="45"/>
                </a:cubicBezTo>
                <a:cubicBezTo>
                  <a:pt x="8" y="44"/>
                  <a:pt x="8" y="44"/>
                  <a:pt x="8" y="44"/>
                </a:cubicBezTo>
                <a:cubicBezTo>
                  <a:pt x="8" y="43"/>
                  <a:pt x="8" y="43"/>
                  <a:pt x="8" y="43"/>
                </a:cubicBezTo>
                <a:cubicBezTo>
                  <a:pt x="9" y="43"/>
                  <a:pt x="9" y="43"/>
                  <a:pt x="9" y="43"/>
                </a:cubicBezTo>
                <a:cubicBezTo>
                  <a:pt x="10" y="43"/>
                  <a:pt x="10" y="43"/>
                  <a:pt x="10" y="43"/>
                </a:cubicBezTo>
                <a:cubicBezTo>
                  <a:pt x="10" y="42"/>
                  <a:pt x="10" y="42"/>
                  <a:pt x="10" y="42"/>
                </a:cubicBezTo>
                <a:cubicBezTo>
                  <a:pt x="9" y="42"/>
                  <a:pt x="9" y="42"/>
                  <a:pt x="9" y="42"/>
                </a:cubicBezTo>
                <a:cubicBezTo>
                  <a:pt x="8" y="42"/>
                  <a:pt x="8" y="42"/>
                  <a:pt x="8" y="42"/>
                </a:cubicBezTo>
                <a:cubicBezTo>
                  <a:pt x="7" y="42"/>
                  <a:pt x="7" y="42"/>
                  <a:pt x="7" y="42"/>
                </a:cubicBezTo>
                <a:cubicBezTo>
                  <a:pt x="7" y="41"/>
                  <a:pt x="7" y="41"/>
                  <a:pt x="7" y="41"/>
                </a:cubicBezTo>
                <a:cubicBezTo>
                  <a:pt x="6" y="41"/>
                  <a:pt x="6" y="41"/>
                  <a:pt x="6" y="41"/>
                </a:cubicBezTo>
                <a:cubicBezTo>
                  <a:pt x="5" y="40"/>
                  <a:pt x="5" y="40"/>
                  <a:pt x="5" y="40"/>
                </a:cubicBezTo>
                <a:cubicBezTo>
                  <a:pt x="4" y="39"/>
                  <a:pt x="4" y="39"/>
                  <a:pt x="4" y="39"/>
                </a:cubicBezTo>
                <a:cubicBezTo>
                  <a:pt x="5" y="39"/>
                  <a:pt x="5" y="39"/>
                  <a:pt x="5" y="39"/>
                </a:cubicBezTo>
                <a:cubicBezTo>
                  <a:pt x="5" y="38"/>
                  <a:pt x="5" y="38"/>
                  <a:pt x="5" y="38"/>
                </a:cubicBezTo>
                <a:cubicBezTo>
                  <a:pt x="4" y="38"/>
                  <a:pt x="4" y="38"/>
                  <a:pt x="4" y="38"/>
                </a:cubicBezTo>
                <a:cubicBezTo>
                  <a:pt x="3" y="37"/>
                  <a:pt x="3" y="37"/>
                  <a:pt x="3" y="37"/>
                </a:cubicBezTo>
                <a:cubicBezTo>
                  <a:pt x="3" y="36"/>
                  <a:pt x="3" y="36"/>
                  <a:pt x="3" y="36"/>
                </a:cubicBezTo>
                <a:cubicBezTo>
                  <a:pt x="3" y="35"/>
                  <a:pt x="3" y="35"/>
                  <a:pt x="3" y="35"/>
                </a:cubicBezTo>
                <a:cubicBezTo>
                  <a:pt x="3" y="35"/>
                  <a:pt x="3" y="35"/>
                  <a:pt x="3" y="35"/>
                </a:cubicBezTo>
                <a:cubicBezTo>
                  <a:pt x="5" y="36"/>
                  <a:pt x="5" y="36"/>
                  <a:pt x="5" y="36"/>
                </a:cubicBezTo>
                <a:cubicBezTo>
                  <a:pt x="5" y="37"/>
                  <a:pt x="5" y="37"/>
                  <a:pt x="5" y="37"/>
                </a:cubicBezTo>
                <a:cubicBezTo>
                  <a:pt x="5" y="37"/>
                  <a:pt x="5" y="37"/>
                  <a:pt x="5" y="37"/>
                </a:cubicBezTo>
                <a:cubicBezTo>
                  <a:pt x="6" y="37"/>
                  <a:pt x="6" y="37"/>
                  <a:pt x="6" y="37"/>
                </a:cubicBezTo>
                <a:cubicBezTo>
                  <a:pt x="7" y="37"/>
                  <a:pt x="7" y="37"/>
                  <a:pt x="7" y="37"/>
                </a:cubicBezTo>
                <a:cubicBezTo>
                  <a:pt x="7" y="36"/>
                  <a:pt x="7" y="36"/>
                  <a:pt x="7" y="36"/>
                </a:cubicBezTo>
                <a:cubicBezTo>
                  <a:pt x="6" y="35"/>
                  <a:pt x="6" y="35"/>
                  <a:pt x="6" y="35"/>
                </a:cubicBezTo>
                <a:cubicBezTo>
                  <a:pt x="6" y="36"/>
                  <a:pt x="6" y="36"/>
                  <a:pt x="6" y="36"/>
                </a:cubicBezTo>
                <a:cubicBezTo>
                  <a:pt x="5" y="35"/>
                  <a:pt x="5" y="35"/>
                  <a:pt x="5" y="35"/>
                </a:cubicBezTo>
                <a:cubicBezTo>
                  <a:pt x="5" y="35"/>
                  <a:pt x="5" y="35"/>
                  <a:pt x="5" y="35"/>
                </a:cubicBezTo>
                <a:cubicBezTo>
                  <a:pt x="4" y="34"/>
                  <a:pt x="4" y="34"/>
                  <a:pt x="4" y="34"/>
                </a:cubicBezTo>
                <a:cubicBezTo>
                  <a:pt x="4" y="33"/>
                  <a:pt x="4" y="33"/>
                  <a:pt x="4" y="33"/>
                </a:cubicBezTo>
                <a:cubicBezTo>
                  <a:pt x="4" y="33"/>
                  <a:pt x="4" y="33"/>
                  <a:pt x="4" y="33"/>
                </a:cubicBezTo>
                <a:cubicBezTo>
                  <a:pt x="5" y="31"/>
                  <a:pt x="5" y="31"/>
                  <a:pt x="5" y="31"/>
                </a:cubicBezTo>
                <a:cubicBezTo>
                  <a:pt x="5" y="30"/>
                  <a:pt x="5" y="30"/>
                  <a:pt x="5" y="30"/>
                </a:cubicBezTo>
                <a:cubicBezTo>
                  <a:pt x="5" y="30"/>
                  <a:pt x="5" y="30"/>
                  <a:pt x="5" y="30"/>
                </a:cubicBezTo>
                <a:cubicBezTo>
                  <a:pt x="4" y="30"/>
                  <a:pt x="4" y="30"/>
                  <a:pt x="4" y="30"/>
                </a:cubicBezTo>
                <a:cubicBezTo>
                  <a:pt x="3" y="30"/>
                  <a:pt x="3" y="30"/>
                  <a:pt x="3" y="30"/>
                </a:cubicBezTo>
                <a:cubicBezTo>
                  <a:pt x="3" y="30"/>
                  <a:pt x="3" y="30"/>
                  <a:pt x="3" y="30"/>
                </a:cubicBezTo>
                <a:cubicBezTo>
                  <a:pt x="3" y="31"/>
                  <a:pt x="3" y="31"/>
                  <a:pt x="3" y="31"/>
                </a:cubicBezTo>
                <a:cubicBezTo>
                  <a:pt x="3" y="32"/>
                  <a:pt x="3" y="32"/>
                  <a:pt x="3" y="32"/>
                </a:cubicBezTo>
                <a:cubicBezTo>
                  <a:pt x="2" y="33"/>
                  <a:pt x="2" y="33"/>
                  <a:pt x="2" y="33"/>
                </a:cubicBezTo>
                <a:cubicBezTo>
                  <a:pt x="1" y="33"/>
                  <a:pt x="1" y="33"/>
                  <a:pt x="1" y="33"/>
                </a:cubicBezTo>
                <a:cubicBezTo>
                  <a:pt x="1" y="32"/>
                  <a:pt x="1" y="32"/>
                  <a:pt x="1" y="32"/>
                </a:cubicBezTo>
                <a:cubicBezTo>
                  <a:pt x="0" y="30"/>
                  <a:pt x="0" y="30"/>
                  <a:pt x="0" y="30"/>
                </a:cubicBezTo>
                <a:cubicBezTo>
                  <a:pt x="0" y="29"/>
                  <a:pt x="0" y="29"/>
                  <a:pt x="0" y="29"/>
                </a:cubicBezTo>
                <a:cubicBezTo>
                  <a:pt x="0" y="27"/>
                  <a:pt x="0" y="27"/>
                  <a:pt x="0" y="27"/>
                </a:cubicBezTo>
                <a:cubicBezTo>
                  <a:pt x="0" y="26"/>
                  <a:pt x="0" y="26"/>
                  <a:pt x="0" y="26"/>
                </a:cubicBezTo>
                <a:cubicBezTo>
                  <a:pt x="0" y="26"/>
                  <a:pt x="0" y="26"/>
                  <a:pt x="0" y="26"/>
                </a:cubicBezTo>
                <a:cubicBezTo>
                  <a:pt x="1" y="25"/>
                  <a:pt x="1" y="25"/>
                  <a:pt x="1" y="25"/>
                </a:cubicBezTo>
                <a:cubicBezTo>
                  <a:pt x="2" y="25"/>
                  <a:pt x="2" y="25"/>
                  <a:pt x="2" y="25"/>
                </a:cubicBezTo>
                <a:cubicBezTo>
                  <a:pt x="2" y="24"/>
                  <a:pt x="2" y="24"/>
                  <a:pt x="2" y="24"/>
                </a:cubicBezTo>
                <a:cubicBezTo>
                  <a:pt x="1" y="23"/>
                  <a:pt x="1" y="23"/>
                  <a:pt x="1" y="23"/>
                </a:cubicBezTo>
                <a:cubicBezTo>
                  <a:pt x="1" y="22"/>
                  <a:pt x="1" y="22"/>
                  <a:pt x="1" y="22"/>
                </a:cubicBezTo>
                <a:cubicBezTo>
                  <a:pt x="2" y="21"/>
                  <a:pt x="2" y="21"/>
                  <a:pt x="2" y="21"/>
                </a:cubicBezTo>
                <a:cubicBezTo>
                  <a:pt x="3" y="21"/>
                  <a:pt x="3" y="21"/>
                  <a:pt x="3" y="21"/>
                </a:cubicBezTo>
                <a:cubicBezTo>
                  <a:pt x="4" y="23"/>
                  <a:pt x="4" y="23"/>
                  <a:pt x="4" y="23"/>
                </a:cubicBezTo>
                <a:cubicBezTo>
                  <a:pt x="4" y="24"/>
                  <a:pt x="4" y="24"/>
                  <a:pt x="4" y="24"/>
                </a:cubicBezTo>
                <a:cubicBezTo>
                  <a:pt x="5" y="24"/>
                  <a:pt x="5" y="24"/>
                  <a:pt x="5" y="24"/>
                </a:cubicBezTo>
                <a:cubicBezTo>
                  <a:pt x="6" y="23"/>
                  <a:pt x="6" y="23"/>
                  <a:pt x="6" y="23"/>
                </a:cubicBezTo>
                <a:cubicBezTo>
                  <a:pt x="4" y="22"/>
                  <a:pt x="4" y="22"/>
                  <a:pt x="4" y="22"/>
                </a:cubicBezTo>
                <a:cubicBezTo>
                  <a:pt x="4" y="21"/>
                  <a:pt x="4" y="21"/>
                  <a:pt x="4" y="21"/>
                </a:cubicBezTo>
                <a:cubicBezTo>
                  <a:pt x="5" y="20"/>
                  <a:pt x="5" y="20"/>
                  <a:pt x="5" y="20"/>
                </a:cubicBezTo>
                <a:cubicBezTo>
                  <a:pt x="6" y="21"/>
                  <a:pt x="6" y="21"/>
                  <a:pt x="6" y="21"/>
                </a:cubicBezTo>
                <a:cubicBezTo>
                  <a:pt x="6" y="21"/>
                  <a:pt x="6" y="21"/>
                  <a:pt x="6" y="21"/>
                </a:cubicBezTo>
                <a:cubicBezTo>
                  <a:pt x="6" y="22"/>
                  <a:pt x="6" y="22"/>
                  <a:pt x="6" y="22"/>
                </a:cubicBezTo>
                <a:cubicBezTo>
                  <a:pt x="7" y="21"/>
                  <a:pt x="7" y="21"/>
                  <a:pt x="7" y="21"/>
                </a:cubicBezTo>
                <a:cubicBezTo>
                  <a:pt x="10" y="19"/>
                  <a:pt x="10" y="19"/>
                  <a:pt x="10" y="19"/>
                </a:cubicBezTo>
                <a:cubicBezTo>
                  <a:pt x="11" y="19"/>
                  <a:pt x="11" y="19"/>
                  <a:pt x="11" y="19"/>
                </a:cubicBezTo>
                <a:cubicBezTo>
                  <a:pt x="12" y="20"/>
                  <a:pt x="12" y="20"/>
                  <a:pt x="12" y="20"/>
                </a:cubicBezTo>
                <a:cubicBezTo>
                  <a:pt x="12" y="21"/>
                  <a:pt x="12" y="21"/>
                  <a:pt x="12" y="21"/>
                </a:cubicBezTo>
                <a:cubicBezTo>
                  <a:pt x="12" y="22"/>
                  <a:pt x="12" y="22"/>
                  <a:pt x="12" y="22"/>
                </a:cubicBezTo>
                <a:cubicBezTo>
                  <a:pt x="11" y="23"/>
                  <a:pt x="11" y="23"/>
                  <a:pt x="11" y="23"/>
                </a:cubicBezTo>
                <a:cubicBezTo>
                  <a:pt x="11" y="23"/>
                  <a:pt x="11" y="23"/>
                  <a:pt x="11" y="23"/>
                </a:cubicBezTo>
                <a:cubicBezTo>
                  <a:pt x="10" y="22"/>
                  <a:pt x="10" y="22"/>
                  <a:pt x="10" y="22"/>
                </a:cubicBezTo>
                <a:cubicBezTo>
                  <a:pt x="10" y="23"/>
                  <a:pt x="10" y="23"/>
                  <a:pt x="10" y="23"/>
                </a:cubicBezTo>
                <a:cubicBezTo>
                  <a:pt x="8" y="24"/>
                  <a:pt x="8" y="24"/>
                  <a:pt x="8" y="24"/>
                </a:cubicBezTo>
                <a:cubicBezTo>
                  <a:pt x="8" y="24"/>
                  <a:pt x="8" y="24"/>
                  <a:pt x="8" y="24"/>
                </a:cubicBezTo>
                <a:cubicBezTo>
                  <a:pt x="8" y="24"/>
                  <a:pt x="8" y="24"/>
                  <a:pt x="8" y="24"/>
                </a:cubicBezTo>
                <a:cubicBezTo>
                  <a:pt x="7" y="25"/>
                  <a:pt x="7" y="25"/>
                  <a:pt x="7" y="25"/>
                </a:cubicBezTo>
                <a:cubicBezTo>
                  <a:pt x="8" y="26"/>
                  <a:pt x="8" y="26"/>
                  <a:pt x="8" y="26"/>
                </a:cubicBezTo>
                <a:cubicBezTo>
                  <a:pt x="9" y="25"/>
                  <a:pt x="9" y="25"/>
                  <a:pt x="9" y="25"/>
                </a:cubicBezTo>
                <a:cubicBezTo>
                  <a:pt x="11" y="24"/>
                  <a:pt x="11" y="24"/>
                  <a:pt x="11" y="24"/>
                </a:cubicBezTo>
                <a:cubicBezTo>
                  <a:pt x="11" y="25"/>
                  <a:pt x="11" y="25"/>
                  <a:pt x="11" y="25"/>
                </a:cubicBezTo>
                <a:cubicBezTo>
                  <a:pt x="11" y="25"/>
                  <a:pt x="11" y="25"/>
                  <a:pt x="11" y="25"/>
                </a:cubicBezTo>
                <a:cubicBezTo>
                  <a:pt x="10" y="26"/>
                  <a:pt x="10" y="26"/>
                  <a:pt x="10" y="26"/>
                </a:cubicBezTo>
                <a:cubicBezTo>
                  <a:pt x="10" y="27"/>
                  <a:pt x="10" y="27"/>
                  <a:pt x="10" y="27"/>
                </a:cubicBezTo>
                <a:cubicBezTo>
                  <a:pt x="11" y="27"/>
                  <a:pt x="11" y="27"/>
                  <a:pt x="11" y="27"/>
                </a:cubicBezTo>
                <a:cubicBezTo>
                  <a:pt x="11" y="26"/>
                  <a:pt x="11" y="26"/>
                  <a:pt x="11" y="26"/>
                </a:cubicBezTo>
                <a:cubicBezTo>
                  <a:pt x="11" y="26"/>
                  <a:pt x="11" y="26"/>
                  <a:pt x="11" y="26"/>
                </a:cubicBezTo>
                <a:cubicBezTo>
                  <a:pt x="12" y="27"/>
                  <a:pt x="12" y="27"/>
                  <a:pt x="12" y="27"/>
                </a:cubicBezTo>
                <a:cubicBezTo>
                  <a:pt x="12" y="28"/>
                  <a:pt x="12" y="28"/>
                  <a:pt x="12" y="28"/>
                </a:cubicBezTo>
                <a:cubicBezTo>
                  <a:pt x="12" y="28"/>
                  <a:pt x="12" y="28"/>
                  <a:pt x="12" y="28"/>
                </a:cubicBezTo>
                <a:cubicBezTo>
                  <a:pt x="13" y="30"/>
                  <a:pt x="13" y="30"/>
                  <a:pt x="13" y="30"/>
                </a:cubicBezTo>
                <a:cubicBezTo>
                  <a:pt x="13" y="31"/>
                  <a:pt x="13" y="31"/>
                  <a:pt x="13" y="31"/>
                </a:cubicBezTo>
                <a:cubicBezTo>
                  <a:pt x="14" y="31"/>
                  <a:pt x="14" y="31"/>
                  <a:pt x="14" y="31"/>
                </a:cubicBezTo>
                <a:cubicBezTo>
                  <a:pt x="13" y="29"/>
                  <a:pt x="13" y="29"/>
                  <a:pt x="13" y="29"/>
                </a:cubicBezTo>
                <a:cubicBezTo>
                  <a:pt x="13" y="28"/>
                  <a:pt x="13" y="28"/>
                  <a:pt x="13" y="28"/>
                </a:cubicBezTo>
                <a:cubicBezTo>
                  <a:pt x="12" y="26"/>
                  <a:pt x="12" y="26"/>
                  <a:pt x="12" y="26"/>
                </a:cubicBezTo>
                <a:cubicBezTo>
                  <a:pt x="13" y="25"/>
                  <a:pt x="13" y="25"/>
                  <a:pt x="13" y="25"/>
                </a:cubicBezTo>
                <a:cubicBezTo>
                  <a:pt x="14" y="23"/>
                  <a:pt x="14" y="23"/>
                  <a:pt x="14" y="23"/>
                </a:cubicBezTo>
                <a:cubicBezTo>
                  <a:pt x="14" y="22"/>
                  <a:pt x="14" y="22"/>
                  <a:pt x="14" y="22"/>
                </a:cubicBezTo>
                <a:cubicBezTo>
                  <a:pt x="15" y="21"/>
                  <a:pt x="15" y="21"/>
                  <a:pt x="15" y="21"/>
                </a:cubicBezTo>
                <a:cubicBezTo>
                  <a:pt x="15" y="21"/>
                  <a:pt x="15" y="21"/>
                  <a:pt x="15" y="21"/>
                </a:cubicBezTo>
                <a:cubicBezTo>
                  <a:pt x="17" y="23"/>
                  <a:pt x="17" y="23"/>
                  <a:pt x="17" y="23"/>
                </a:cubicBezTo>
                <a:cubicBezTo>
                  <a:pt x="18" y="24"/>
                  <a:pt x="18" y="24"/>
                  <a:pt x="18" y="24"/>
                </a:cubicBezTo>
                <a:cubicBezTo>
                  <a:pt x="18" y="24"/>
                  <a:pt x="18" y="24"/>
                  <a:pt x="18" y="24"/>
                </a:cubicBezTo>
                <a:cubicBezTo>
                  <a:pt x="18" y="27"/>
                  <a:pt x="18" y="27"/>
                  <a:pt x="18" y="27"/>
                </a:cubicBezTo>
                <a:cubicBezTo>
                  <a:pt x="19" y="29"/>
                  <a:pt x="19" y="29"/>
                  <a:pt x="19" y="29"/>
                </a:cubicBezTo>
                <a:cubicBezTo>
                  <a:pt x="19" y="30"/>
                  <a:pt x="19" y="30"/>
                  <a:pt x="19" y="30"/>
                </a:cubicBezTo>
                <a:cubicBezTo>
                  <a:pt x="19" y="31"/>
                  <a:pt x="19" y="31"/>
                  <a:pt x="19" y="31"/>
                </a:cubicBezTo>
                <a:cubicBezTo>
                  <a:pt x="18" y="32"/>
                  <a:pt x="18" y="32"/>
                  <a:pt x="18" y="32"/>
                </a:cubicBezTo>
                <a:cubicBezTo>
                  <a:pt x="18" y="32"/>
                  <a:pt x="18" y="32"/>
                  <a:pt x="18" y="32"/>
                </a:cubicBezTo>
                <a:cubicBezTo>
                  <a:pt x="18" y="33"/>
                  <a:pt x="18" y="33"/>
                  <a:pt x="18" y="33"/>
                </a:cubicBezTo>
                <a:cubicBezTo>
                  <a:pt x="19" y="32"/>
                  <a:pt x="19" y="32"/>
                  <a:pt x="19" y="32"/>
                </a:cubicBezTo>
                <a:cubicBezTo>
                  <a:pt x="20" y="32"/>
                  <a:pt x="20" y="32"/>
                  <a:pt x="20" y="32"/>
                </a:cubicBezTo>
                <a:cubicBezTo>
                  <a:pt x="21" y="33"/>
                  <a:pt x="21" y="33"/>
                  <a:pt x="21" y="33"/>
                </a:cubicBezTo>
                <a:cubicBezTo>
                  <a:pt x="22" y="35"/>
                  <a:pt x="22" y="35"/>
                  <a:pt x="22" y="35"/>
                </a:cubicBezTo>
                <a:cubicBezTo>
                  <a:pt x="22" y="36"/>
                  <a:pt x="22" y="36"/>
                  <a:pt x="22" y="36"/>
                </a:cubicBezTo>
                <a:cubicBezTo>
                  <a:pt x="23" y="36"/>
                  <a:pt x="23" y="36"/>
                  <a:pt x="23" y="36"/>
                </a:cubicBezTo>
                <a:cubicBezTo>
                  <a:pt x="23" y="35"/>
                  <a:pt x="23" y="35"/>
                  <a:pt x="23" y="35"/>
                </a:cubicBezTo>
                <a:cubicBezTo>
                  <a:pt x="22" y="33"/>
                  <a:pt x="22" y="33"/>
                  <a:pt x="22" y="33"/>
                </a:cubicBezTo>
                <a:cubicBezTo>
                  <a:pt x="22" y="32"/>
                  <a:pt x="22" y="32"/>
                  <a:pt x="22" y="32"/>
                </a:cubicBezTo>
                <a:cubicBezTo>
                  <a:pt x="21" y="30"/>
                  <a:pt x="21" y="30"/>
                  <a:pt x="21" y="30"/>
                </a:cubicBezTo>
                <a:cubicBezTo>
                  <a:pt x="20" y="29"/>
                  <a:pt x="20" y="29"/>
                  <a:pt x="20" y="29"/>
                </a:cubicBezTo>
                <a:cubicBezTo>
                  <a:pt x="20" y="27"/>
                  <a:pt x="20" y="27"/>
                  <a:pt x="20" y="27"/>
                </a:cubicBezTo>
                <a:cubicBezTo>
                  <a:pt x="20" y="24"/>
                  <a:pt x="20" y="24"/>
                  <a:pt x="20" y="24"/>
                </a:cubicBezTo>
                <a:cubicBezTo>
                  <a:pt x="20" y="23"/>
                  <a:pt x="20" y="23"/>
                  <a:pt x="20" y="23"/>
                </a:cubicBezTo>
                <a:cubicBezTo>
                  <a:pt x="19" y="22"/>
                  <a:pt x="19" y="22"/>
                  <a:pt x="19" y="22"/>
                </a:cubicBezTo>
                <a:cubicBezTo>
                  <a:pt x="20" y="21"/>
                  <a:pt x="20" y="21"/>
                  <a:pt x="20" y="21"/>
                </a:cubicBezTo>
                <a:cubicBezTo>
                  <a:pt x="20" y="20"/>
                  <a:pt x="20" y="20"/>
                  <a:pt x="20" y="20"/>
                </a:cubicBezTo>
                <a:cubicBezTo>
                  <a:pt x="20" y="19"/>
                  <a:pt x="20" y="19"/>
                  <a:pt x="20" y="19"/>
                </a:cubicBezTo>
                <a:cubicBezTo>
                  <a:pt x="20" y="17"/>
                  <a:pt x="20" y="17"/>
                  <a:pt x="20" y="17"/>
                </a:cubicBezTo>
                <a:cubicBezTo>
                  <a:pt x="21" y="16"/>
                  <a:pt x="21" y="16"/>
                  <a:pt x="21" y="16"/>
                </a:cubicBezTo>
                <a:cubicBezTo>
                  <a:pt x="21" y="15"/>
                  <a:pt x="21" y="15"/>
                  <a:pt x="21" y="15"/>
                </a:cubicBezTo>
                <a:cubicBezTo>
                  <a:pt x="22" y="16"/>
                  <a:pt x="22" y="16"/>
                  <a:pt x="22" y="16"/>
                </a:cubicBezTo>
                <a:cubicBezTo>
                  <a:pt x="23" y="17"/>
                  <a:pt x="23" y="17"/>
                  <a:pt x="23" y="17"/>
                </a:cubicBezTo>
                <a:cubicBezTo>
                  <a:pt x="23" y="19"/>
                  <a:pt x="23" y="19"/>
                  <a:pt x="23" y="19"/>
                </a:cubicBezTo>
                <a:cubicBezTo>
                  <a:pt x="24" y="19"/>
                  <a:pt x="24" y="19"/>
                  <a:pt x="24" y="19"/>
                </a:cubicBezTo>
                <a:cubicBezTo>
                  <a:pt x="24" y="18"/>
                  <a:pt x="24" y="18"/>
                  <a:pt x="24" y="18"/>
                </a:cubicBezTo>
                <a:cubicBezTo>
                  <a:pt x="25" y="18"/>
                  <a:pt x="25" y="18"/>
                  <a:pt x="25" y="18"/>
                </a:cubicBezTo>
                <a:cubicBezTo>
                  <a:pt x="26" y="18"/>
                  <a:pt x="26" y="18"/>
                  <a:pt x="26" y="18"/>
                </a:cubicBezTo>
                <a:cubicBezTo>
                  <a:pt x="28" y="20"/>
                  <a:pt x="28" y="20"/>
                  <a:pt x="28" y="20"/>
                </a:cubicBezTo>
                <a:cubicBezTo>
                  <a:pt x="28" y="21"/>
                  <a:pt x="28" y="21"/>
                  <a:pt x="28" y="21"/>
                </a:cubicBezTo>
                <a:cubicBezTo>
                  <a:pt x="28" y="23"/>
                  <a:pt x="28" y="23"/>
                  <a:pt x="28" y="23"/>
                </a:cubicBezTo>
                <a:cubicBezTo>
                  <a:pt x="28" y="23"/>
                  <a:pt x="28" y="23"/>
                  <a:pt x="28" y="23"/>
                </a:cubicBezTo>
                <a:cubicBezTo>
                  <a:pt x="28" y="26"/>
                  <a:pt x="28" y="26"/>
                  <a:pt x="28" y="26"/>
                </a:cubicBezTo>
                <a:cubicBezTo>
                  <a:pt x="28" y="28"/>
                  <a:pt x="28" y="28"/>
                  <a:pt x="28" y="28"/>
                </a:cubicBezTo>
                <a:cubicBezTo>
                  <a:pt x="27" y="28"/>
                  <a:pt x="27" y="28"/>
                  <a:pt x="27" y="28"/>
                </a:cubicBezTo>
                <a:cubicBezTo>
                  <a:pt x="28" y="29"/>
                  <a:pt x="28" y="29"/>
                  <a:pt x="28" y="29"/>
                </a:cubicBezTo>
                <a:cubicBezTo>
                  <a:pt x="29" y="28"/>
                  <a:pt x="29" y="28"/>
                  <a:pt x="29" y="28"/>
                </a:cubicBezTo>
                <a:cubicBezTo>
                  <a:pt x="29" y="26"/>
                  <a:pt x="29" y="26"/>
                  <a:pt x="29" y="26"/>
                </a:cubicBezTo>
                <a:cubicBezTo>
                  <a:pt x="28" y="24"/>
                  <a:pt x="28" y="24"/>
                  <a:pt x="28" y="24"/>
                </a:cubicBezTo>
                <a:cubicBezTo>
                  <a:pt x="29" y="23"/>
                  <a:pt x="29" y="23"/>
                  <a:pt x="29" y="23"/>
                </a:cubicBezTo>
                <a:cubicBezTo>
                  <a:pt x="30" y="22"/>
                  <a:pt x="30" y="22"/>
                  <a:pt x="30" y="22"/>
                </a:cubicBezTo>
                <a:cubicBezTo>
                  <a:pt x="31" y="24"/>
                  <a:pt x="31" y="24"/>
                  <a:pt x="31" y="24"/>
                </a:cubicBezTo>
                <a:cubicBezTo>
                  <a:pt x="32" y="26"/>
                  <a:pt x="32" y="26"/>
                  <a:pt x="32" y="26"/>
                </a:cubicBezTo>
                <a:cubicBezTo>
                  <a:pt x="33" y="29"/>
                  <a:pt x="33" y="29"/>
                  <a:pt x="33" y="29"/>
                </a:cubicBezTo>
                <a:cubicBezTo>
                  <a:pt x="33" y="30"/>
                  <a:pt x="33" y="30"/>
                  <a:pt x="33" y="30"/>
                </a:cubicBezTo>
                <a:cubicBezTo>
                  <a:pt x="34" y="30"/>
                  <a:pt x="34" y="30"/>
                  <a:pt x="34" y="30"/>
                </a:cubicBezTo>
                <a:cubicBezTo>
                  <a:pt x="35" y="31"/>
                  <a:pt x="35" y="31"/>
                  <a:pt x="35" y="31"/>
                </a:cubicBezTo>
                <a:cubicBezTo>
                  <a:pt x="36" y="31"/>
                  <a:pt x="36" y="31"/>
                  <a:pt x="36" y="31"/>
                </a:cubicBezTo>
                <a:cubicBezTo>
                  <a:pt x="37" y="33"/>
                  <a:pt x="37" y="33"/>
                  <a:pt x="37" y="33"/>
                </a:cubicBezTo>
                <a:cubicBezTo>
                  <a:pt x="38" y="33"/>
                  <a:pt x="38" y="33"/>
                  <a:pt x="38" y="33"/>
                </a:cubicBezTo>
                <a:cubicBezTo>
                  <a:pt x="39" y="35"/>
                  <a:pt x="39" y="35"/>
                  <a:pt x="39" y="35"/>
                </a:cubicBezTo>
                <a:cubicBezTo>
                  <a:pt x="41" y="36"/>
                  <a:pt x="41" y="36"/>
                  <a:pt x="41" y="36"/>
                </a:cubicBezTo>
                <a:cubicBezTo>
                  <a:pt x="43" y="36"/>
                  <a:pt x="43" y="36"/>
                  <a:pt x="43" y="36"/>
                </a:cubicBezTo>
                <a:cubicBezTo>
                  <a:pt x="44" y="37"/>
                  <a:pt x="44" y="37"/>
                  <a:pt x="44" y="37"/>
                </a:cubicBezTo>
                <a:cubicBezTo>
                  <a:pt x="44" y="38"/>
                  <a:pt x="44" y="38"/>
                  <a:pt x="44" y="38"/>
                </a:cubicBezTo>
                <a:cubicBezTo>
                  <a:pt x="44" y="39"/>
                  <a:pt x="44" y="39"/>
                  <a:pt x="44" y="39"/>
                </a:cubicBezTo>
                <a:cubicBezTo>
                  <a:pt x="44" y="40"/>
                  <a:pt x="44" y="40"/>
                  <a:pt x="44" y="40"/>
                </a:cubicBezTo>
                <a:cubicBezTo>
                  <a:pt x="43" y="40"/>
                  <a:pt x="43" y="40"/>
                  <a:pt x="43" y="40"/>
                </a:cubicBezTo>
                <a:cubicBezTo>
                  <a:pt x="43" y="39"/>
                  <a:pt x="43" y="39"/>
                  <a:pt x="43" y="39"/>
                </a:cubicBezTo>
                <a:cubicBezTo>
                  <a:pt x="41" y="39"/>
                  <a:pt x="41" y="39"/>
                  <a:pt x="41" y="39"/>
                </a:cubicBezTo>
                <a:cubicBezTo>
                  <a:pt x="41" y="39"/>
                  <a:pt x="41" y="39"/>
                  <a:pt x="41" y="39"/>
                </a:cubicBezTo>
                <a:cubicBezTo>
                  <a:pt x="39" y="40"/>
                  <a:pt x="39" y="40"/>
                  <a:pt x="39" y="40"/>
                </a:cubicBezTo>
                <a:cubicBezTo>
                  <a:pt x="38" y="40"/>
                  <a:pt x="38" y="40"/>
                  <a:pt x="38" y="40"/>
                </a:cubicBezTo>
                <a:cubicBezTo>
                  <a:pt x="37" y="41"/>
                  <a:pt x="37" y="41"/>
                  <a:pt x="37" y="41"/>
                </a:cubicBezTo>
                <a:cubicBezTo>
                  <a:pt x="38" y="42"/>
                  <a:pt x="38" y="42"/>
                  <a:pt x="38" y="42"/>
                </a:cubicBezTo>
                <a:cubicBezTo>
                  <a:pt x="38" y="42"/>
                  <a:pt x="38" y="42"/>
                  <a:pt x="38" y="42"/>
                </a:cubicBezTo>
                <a:cubicBezTo>
                  <a:pt x="36" y="43"/>
                  <a:pt x="36" y="43"/>
                  <a:pt x="36" y="43"/>
                </a:cubicBezTo>
                <a:cubicBezTo>
                  <a:pt x="36" y="44"/>
                  <a:pt x="36" y="44"/>
                  <a:pt x="36" y="44"/>
                </a:cubicBezTo>
                <a:cubicBezTo>
                  <a:pt x="36" y="46"/>
                  <a:pt x="36" y="46"/>
                  <a:pt x="36" y="46"/>
                </a:cubicBezTo>
                <a:cubicBezTo>
                  <a:pt x="37" y="48"/>
                  <a:pt x="37" y="48"/>
                  <a:pt x="37" y="48"/>
                </a:cubicBezTo>
                <a:cubicBezTo>
                  <a:pt x="36" y="49"/>
                  <a:pt x="36" y="49"/>
                  <a:pt x="36" y="49"/>
                </a:cubicBezTo>
                <a:cubicBezTo>
                  <a:pt x="36" y="50"/>
                  <a:pt x="36" y="50"/>
                  <a:pt x="36" y="50"/>
                </a:cubicBezTo>
                <a:cubicBezTo>
                  <a:pt x="37" y="51"/>
                  <a:pt x="37" y="51"/>
                  <a:pt x="37" y="51"/>
                </a:cubicBezTo>
                <a:cubicBezTo>
                  <a:pt x="36" y="52"/>
                  <a:pt x="36" y="52"/>
                  <a:pt x="36" y="52"/>
                </a:cubicBezTo>
                <a:cubicBezTo>
                  <a:pt x="35" y="51"/>
                  <a:pt x="35" y="51"/>
                  <a:pt x="35" y="51"/>
                </a:cubicBezTo>
                <a:cubicBezTo>
                  <a:pt x="34" y="52"/>
                  <a:pt x="34" y="52"/>
                  <a:pt x="34" y="52"/>
                </a:cubicBezTo>
                <a:cubicBezTo>
                  <a:pt x="34" y="53"/>
                  <a:pt x="34" y="53"/>
                  <a:pt x="34" y="53"/>
                </a:cubicBezTo>
                <a:cubicBezTo>
                  <a:pt x="35" y="54"/>
                  <a:pt x="35" y="54"/>
                  <a:pt x="35" y="54"/>
                </a:cubicBezTo>
                <a:cubicBezTo>
                  <a:pt x="35" y="56"/>
                  <a:pt x="35" y="56"/>
                  <a:pt x="35" y="56"/>
                </a:cubicBezTo>
                <a:cubicBezTo>
                  <a:pt x="35" y="57"/>
                  <a:pt x="35" y="57"/>
                  <a:pt x="35" y="57"/>
                </a:cubicBezTo>
                <a:cubicBezTo>
                  <a:pt x="35" y="59"/>
                  <a:pt x="35" y="59"/>
                  <a:pt x="35" y="59"/>
                </a:cubicBezTo>
                <a:cubicBezTo>
                  <a:pt x="35" y="60"/>
                  <a:pt x="35" y="60"/>
                  <a:pt x="35" y="60"/>
                </a:cubicBezTo>
                <a:cubicBezTo>
                  <a:pt x="34" y="60"/>
                  <a:pt x="34" y="60"/>
                  <a:pt x="34" y="60"/>
                </a:cubicBezTo>
                <a:cubicBezTo>
                  <a:pt x="33" y="60"/>
                  <a:pt x="33" y="60"/>
                  <a:pt x="33" y="60"/>
                </a:cubicBezTo>
                <a:cubicBezTo>
                  <a:pt x="32" y="61"/>
                  <a:pt x="32" y="61"/>
                  <a:pt x="32" y="61"/>
                </a:cubicBezTo>
                <a:cubicBezTo>
                  <a:pt x="33" y="61"/>
                  <a:pt x="33" y="61"/>
                  <a:pt x="33" y="61"/>
                </a:cubicBezTo>
                <a:cubicBezTo>
                  <a:pt x="33" y="62"/>
                  <a:pt x="33" y="62"/>
                  <a:pt x="33" y="62"/>
                </a:cubicBezTo>
                <a:cubicBezTo>
                  <a:pt x="32" y="63"/>
                  <a:pt x="32" y="63"/>
                  <a:pt x="32" y="63"/>
                </a:cubicBezTo>
                <a:cubicBezTo>
                  <a:pt x="32" y="64"/>
                  <a:pt x="32" y="64"/>
                  <a:pt x="32" y="64"/>
                </a:cubicBezTo>
                <a:cubicBezTo>
                  <a:pt x="32" y="65"/>
                  <a:pt x="32" y="65"/>
                  <a:pt x="32" y="65"/>
                </a:cubicBezTo>
                <a:cubicBezTo>
                  <a:pt x="32" y="68"/>
                  <a:pt x="32" y="68"/>
                  <a:pt x="32" y="68"/>
                </a:cubicBezTo>
                <a:cubicBezTo>
                  <a:pt x="31" y="70"/>
                  <a:pt x="31" y="70"/>
                  <a:pt x="31" y="70"/>
                </a:cubicBezTo>
                <a:cubicBezTo>
                  <a:pt x="31" y="70"/>
                  <a:pt x="31" y="70"/>
                  <a:pt x="31" y="70"/>
                </a:cubicBezTo>
                <a:cubicBezTo>
                  <a:pt x="31" y="72"/>
                  <a:pt x="31" y="72"/>
                  <a:pt x="31" y="72"/>
                </a:cubicBezTo>
                <a:cubicBezTo>
                  <a:pt x="32" y="73"/>
                  <a:pt x="32" y="73"/>
                  <a:pt x="32" y="73"/>
                </a:cubicBezTo>
                <a:cubicBezTo>
                  <a:pt x="31" y="74"/>
                  <a:pt x="31" y="74"/>
                  <a:pt x="31" y="74"/>
                </a:cubicBezTo>
                <a:cubicBezTo>
                  <a:pt x="31" y="74"/>
                  <a:pt x="31" y="74"/>
                  <a:pt x="31" y="74"/>
                </a:cubicBezTo>
                <a:cubicBezTo>
                  <a:pt x="31" y="76"/>
                  <a:pt x="31" y="76"/>
                  <a:pt x="31" y="76"/>
                </a:cubicBezTo>
                <a:cubicBezTo>
                  <a:pt x="30" y="77"/>
                  <a:pt x="30" y="77"/>
                  <a:pt x="30" y="77"/>
                </a:cubicBezTo>
                <a:cubicBezTo>
                  <a:pt x="29" y="77"/>
                  <a:pt x="29" y="77"/>
                  <a:pt x="29" y="77"/>
                </a:cubicBezTo>
                <a:close/>
                <a:moveTo>
                  <a:pt x="43" y="109"/>
                </a:moveTo>
                <a:cubicBezTo>
                  <a:pt x="44" y="108"/>
                  <a:pt x="44" y="108"/>
                  <a:pt x="44" y="108"/>
                </a:cubicBezTo>
                <a:cubicBezTo>
                  <a:pt x="44" y="107"/>
                  <a:pt x="44" y="107"/>
                  <a:pt x="44" y="107"/>
                </a:cubicBezTo>
                <a:cubicBezTo>
                  <a:pt x="43" y="106"/>
                  <a:pt x="43" y="106"/>
                  <a:pt x="43" y="106"/>
                </a:cubicBezTo>
                <a:cubicBezTo>
                  <a:pt x="42" y="106"/>
                  <a:pt x="42" y="106"/>
                  <a:pt x="42" y="106"/>
                </a:cubicBezTo>
                <a:cubicBezTo>
                  <a:pt x="42" y="106"/>
                  <a:pt x="42" y="106"/>
                  <a:pt x="42" y="106"/>
                </a:cubicBezTo>
                <a:cubicBezTo>
                  <a:pt x="42" y="107"/>
                  <a:pt x="42" y="107"/>
                  <a:pt x="42" y="107"/>
                </a:cubicBezTo>
                <a:cubicBezTo>
                  <a:pt x="43" y="108"/>
                  <a:pt x="43" y="108"/>
                  <a:pt x="43" y="108"/>
                </a:cubicBezTo>
                <a:cubicBezTo>
                  <a:pt x="43" y="109"/>
                  <a:pt x="43" y="109"/>
                  <a:pt x="43" y="109"/>
                </a:cubicBez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5" name="Freeform 13">
            <a:extLst>
              <a:ext uri="{FF2B5EF4-FFF2-40B4-BE49-F238E27FC236}">
                <a16:creationId xmlns:a16="http://schemas.microsoft.com/office/drawing/2014/main" id="{0D2C7C60-2ABD-92F1-C615-52E82675E27C}"/>
              </a:ext>
            </a:extLst>
          </p:cNvPr>
          <p:cNvSpPr>
            <a:spLocks noEditPoints="1"/>
          </p:cNvSpPr>
          <p:nvPr userDrawn="1"/>
        </p:nvSpPr>
        <p:spPr bwMode="auto">
          <a:xfrm>
            <a:off x="20810769" y="5860333"/>
            <a:ext cx="981014" cy="1898650"/>
          </a:xfrm>
          <a:custGeom>
            <a:avLst/>
            <a:gdLst>
              <a:gd name="T0" fmla="*/ 128 w 309"/>
              <a:gd name="T1" fmla="*/ 288 h 598"/>
              <a:gd name="T2" fmla="*/ 12 w 309"/>
              <a:gd name="T3" fmla="*/ 591 h 598"/>
              <a:gd name="T4" fmla="*/ 68 w 309"/>
              <a:gd name="T5" fmla="*/ 544 h 598"/>
              <a:gd name="T6" fmla="*/ 68 w 309"/>
              <a:gd name="T7" fmla="*/ 544 h 598"/>
              <a:gd name="T8" fmla="*/ 90 w 309"/>
              <a:gd name="T9" fmla="*/ 497 h 598"/>
              <a:gd name="T10" fmla="*/ 93 w 309"/>
              <a:gd name="T11" fmla="*/ 497 h 598"/>
              <a:gd name="T12" fmla="*/ 215 w 309"/>
              <a:gd name="T13" fmla="*/ 125 h 598"/>
              <a:gd name="T14" fmla="*/ 206 w 309"/>
              <a:gd name="T15" fmla="*/ 84 h 598"/>
              <a:gd name="T16" fmla="*/ 222 w 309"/>
              <a:gd name="T17" fmla="*/ 72 h 598"/>
              <a:gd name="T18" fmla="*/ 222 w 309"/>
              <a:gd name="T19" fmla="*/ 44 h 598"/>
              <a:gd name="T20" fmla="*/ 219 w 309"/>
              <a:gd name="T21" fmla="*/ 0 h 598"/>
              <a:gd name="T22" fmla="*/ 272 w 309"/>
              <a:gd name="T23" fmla="*/ 41 h 598"/>
              <a:gd name="T24" fmla="*/ 294 w 309"/>
              <a:gd name="T25" fmla="*/ 47 h 598"/>
              <a:gd name="T26" fmla="*/ 306 w 309"/>
              <a:gd name="T27" fmla="*/ 63 h 598"/>
              <a:gd name="T28" fmla="*/ 275 w 309"/>
              <a:gd name="T29" fmla="*/ 88 h 598"/>
              <a:gd name="T30" fmla="*/ 240 w 309"/>
              <a:gd name="T31" fmla="*/ 88 h 598"/>
              <a:gd name="T32" fmla="*/ 225 w 309"/>
              <a:gd name="T33" fmla="*/ 100 h 598"/>
              <a:gd name="T34" fmla="*/ 219 w 309"/>
              <a:gd name="T35" fmla="*/ 128 h 598"/>
              <a:gd name="T36" fmla="*/ 215 w 309"/>
              <a:gd name="T37" fmla="*/ 225 h 598"/>
              <a:gd name="T38" fmla="*/ 68 w 309"/>
              <a:gd name="T39" fmla="*/ 369 h 598"/>
              <a:gd name="T40" fmla="*/ 62 w 309"/>
              <a:gd name="T41" fmla="*/ 379 h 598"/>
              <a:gd name="T42" fmla="*/ 59 w 309"/>
              <a:gd name="T43" fmla="*/ 385 h 598"/>
              <a:gd name="T44" fmla="*/ 87 w 309"/>
              <a:gd name="T45" fmla="*/ 394 h 598"/>
              <a:gd name="T46" fmla="*/ 84 w 309"/>
              <a:gd name="T47" fmla="*/ 385 h 598"/>
              <a:gd name="T48" fmla="*/ 156 w 309"/>
              <a:gd name="T49" fmla="*/ 332 h 598"/>
              <a:gd name="T50" fmla="*/ 144 w 309"/>
              <a:gd name="T51" fmla="*/ 372 h 598"/>
              <a:gd name="T52" fmla="*/ 172 w 309"/>
              <a:gd name="T53" fmla="*/ 344 h 598"/>
              <a:gd name="T54" fmla="*/ 137 w 309"/>
              <a:gd name="T55" fmla="*/ 347 h 598"/>
              <a:gd name="T56" fmla="*/ 137 w 309"/>
              <a:gd name="T57" fmla="*/ 372 h 598"/>
              <a:gd name="T58" fmla="*/ 115 w 309"/>
              <a:gd name="T59" fmla="*/ 435 h 598"/>
              <a:gd name="T60" fmla="*/ 112 w 309"/>
              <a:gd name="T61" fmla="*/ 413 h 598"/>
              <a:gd name="T62" fmla="*/ 122 w 309"/>
              <a:gd name="T63" fmla="*/ 372 h 598"/>
              <a:gd name="T64" fmla="*/ 106 w 309"/>
              <a:gd name="T65" fmla="*/ 357 h 598"/>
              <a:gd name="T66" fmla="*/ 122 w 309"/>
              <a:gd name="T67" fmla="*/ 335 h 598"/>
              <a:gd name="T68" fmla="*/ 156 w 309"/>
              <a:gd name="T69" fmla="*/ 325 h 598"/>
              <a:gd name="T70" fmla="*/ 175 w 309"/>
              <a:gd name="T71" fmla="*/ 344 h 598"/>
              <a:gd name="T72" fmla="*/ 203 w 309"/>
              <a:gd name="T73" fmla="*/ 332 h 598"/>
              <a:gd name="T74" fmla="*/ 206 w 309"/>
              <a:gd name="T75" fmla="*/ 319 h 598"/>
              <a:gd name="T76" fmla="*/ 219 w 309"/>
              <a:gd name="T77" fmla="*/ 319 h 598"/>
              <a:gd name="T78" fmla="*/ 247 w 309"/>
              <a:gd name="T79" fmla="*/ 316 h 598"/>
              <a:gd name="T80" fmla="*/ 259 w 309"/>
              <a:gd name="T81" fmla="*/ 300 h 598"/>
              <a:gd name="T82" fmla="*/ 272 w 309"/>
              <a:gd name="T83" fmla="*/ 278 h 598"/>
              <a:gd name="T84" fmla="*/ 275 w 309"/>
              <a:gd name="T85" fmla="*/ 213 h 598"/>
              <a:gd name="T86" fmla="*/ 272 w 309"/>
              <a:gd name="T87" fmla="*/ 181 h 598"/>
              <a:gd name="T88" fmla="*/ 244 w 309"/>
              <a:gd name="T89" fmla="*/ 125 h 598"/>
              <a:gd name="T90" fmla="*/ 244 w 309"/>
              <a:gd name="T91" fmla="*/ 135 h 598"/>
              <a:gd name="T92" fmla="*/ 225 w 309"/>
              <a:gd name="T93" fmla="*/ 131 h 598"/>
              <a:gd name="T94" fmla="*/ 219 w 309"/>
              <a:gd name="T95" fmla="*/ 169 h 598"/>
              <a:gd name="T96" fmla="*/ 222 w 309"/>
              <a:gd name="T97" fmla="*/ 235 h 598"/>
              <a:gd name="T98" fmla="*/ 194 w 309"/>
              <a:gd name="T99" fmla="*/ 247 h 598"/>
              <a:gd name="T100" fmla="*/ 181 w 309"/>
              <a:gd name="T101" fmla="*/ 278 h 598"/>
              <a:gd name="T102" fmla="*/ 172 w 309"/>
              <a:gd name="T103" fmla="*/ 300 h 598"/>
              <a:gd name="T104" fmla="*/ 134 w 309"/>
              <a:gd name="T105" fmla="*/ 303 h 598"/>
              <a:gd name="T106" fmla="*/ 93 w 309"/>
              <a:gd name="T107" fmla="*/ 338 h 598"/>
              <a:gd name="T108" fmla="*/ 75 w 309"/>
              <a:gd name="T109" fmla="*/ 366 h 598"/>
              <a:gd name="T110" fmla="*/ 78 w 309"/>
              <a:gd name="T111" fmla="*/ 382 h 598"/>
              <a:gd name="T112" fmla="*/ 84 w 309"/>
              <a:gd name="T113" fmla="*/ 372 h 598"/>
              <a:gd name="T114" fmla="*/ 93 w 309"/>
              <a:gd name="T115" fmla="*/ 410 h 598"/>
              <a:gd name="T116" fmla="*/ 106 w 309"/>
              <a:gd name="T117" fmla="*/ 407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9" h="598">
                <a:moveTo>
                  <a:pt x="125" y="288"/>
                </a:moveTo>
                <a:lnTo>
                  <a:pt x="125" y="288"/>
                </a:lnTo>
                <a:lnTo>
                  <a:pt x="125" y="291"/>
                </a:lnTo>
                <a:lnTo>
                  <a:pt x="125" y="288"/>
                </a:lnTo>
                <a:lnTo>
                  <a:pt x="125" y="288"/>
                </a:lnTo>
                <a:lnTo>
                  <a:pt x="125" y="288"/>
                </a:lnTo>
                <a:close/>
                <a:moveTo>
                  <a:pt x="128" y="288"/>
                </a:moveTo>
                <a:lnTo>
                  <a:pt x="128" y="285"/>
                </a:lnTo>
                <a:lnTo>
                  <a:pt x="128" y="282"/>
                </a:lnTo>
                <a:lnTo>
                  <a:pt x="131" y="282"/>
                </a:lnTo>
                <a:lnTo>
                  <a:pt x="131" y="285"/>
                </a:lnTo>
                <a:lnTo>
                  <a:pt x="128" y="288"/>
                </a:lnTo>
                <a:lnTo>
                  <a:pt x="128" y="288"/>
                </a:lnTo>
                <a:lnTo>
                  <a:pt x="128" y="288"/>
                </a:lnTo>
                <a:close/>
                <a:moveTo>
                  <a:pt x="6" y="598"/>
                </a:moveTo>
                <a:lnTo>
                  <a:pt x="3" y="594"/>
                </a:lnTo>
                <a:lnTo>
                  <a:pt x="0" y="594"/>
                </a:lnTo>
                <a:lnTo>
                  <a:pt x="0" y="598"/>
                </a:lnTo>
                <a:lnTo>
                  <a:pt x="3" y="598"/>
                </a:lnTo>
                <a:lnTo>
                  <a:pt x="6" y="598"/>
                </a:lnTo>
                <a:lnTo>
                  <a:pt x="6" y="598"/>
                </a:lnTo>
                <a:close/>
                <a:moveTo>
                  <a:pt x="6" y="591"/>
                </a:moveTo>
                <a:lnTo>
                  <a:pt x="9" y="591"/>
                </a:lnTo>
                <a:lnTo>
                  <a:pt x="12" y="591"/>
                </a:lnTo>
                <a:lnTo>
                  <a:pt x="9" y="594"/>
                </a:lnTo>
                <a:lnTo>
                  <a:pt x="9" y="594"/>
                </a:lnTo>
                <a:lnTo>
                  <a:pt x="6" y="591"/>
                </a:lnTo>
                <a:lnTo>
                  <a:pt x="6" y="591"/>
                </a:lnTo>
                <a:close/>
                <a:moveTo>
                  <a:pt x="25" y="579"/>
                </a:moveTo>
                <a:lnTo>
                  <a:pt x="25" y="582"/>
                </a:lnTo>
                <a:lnTo>
                  <a:pt x="28" y="585"/>
                </a:lnTo>
                <a:lnTo>
                  <a:pt x="28" y="585"/>
                </a:lnTo>
                <a:lnTo>
                  <a:pt x="31" y="582"/>
                </a:lnTo>
                <a:lnTo>
                  <a:pt x="25" y="579"/>
                </a:lnTo>
                <a:lnTo>
                  <a:pt x="25" y="579"/>
                </a:lnTo>
                <a:close/>
                <a:moveTo>
                  <a:pt x="68" y="544"/>
                </a:moveTo>
                <a:lnTo>
                  <a:pt x="65" y="538"/>
                </a:lnTo>
                <a:lnTo>
                  <a:pt x="72" y="538"/>
                </a:lnTo>
                <a:lnTo>
                  <a:pt x="72" y="535"/>
                </a:lnTo>
                <a:lnTo>
                  <a:pt x="68" y="535"/>
                </a:lnTo>
                <a:lnTo>
                  <a:pt x="75" y="532"/>
                </a:lnTo>
                <a:lnTo>
                  <a:pt x="75" y="529"/>
                </a:lnTo>
                <a:lnTo>
                  <a:pt x="78" y="532"/>
                </a:lnTo>
                <a:lnTo>
                  <a:pt x="75" y="535"/>
                </a:lnTo>
                <a:lnTo>
                  <a:pt x="75" y="538"/>
                </a:lnTo>
                <a:lnTo>
                  <a:pt x="72" y="541"/>
                </a:lnTo>
                <a:lnTo>
                  <a:pt x="72" y="544"/>
                </a:lnTo>
                <a:lnTo>
                  <a:pt x="68" y="544"/>
                </a:lnTo>
                <a:lnTo>
                  <a:pt x="68" y="544"/>
                </a:lnTo>
                <a:close/>
                <a:moveTo>
                  <a:pt x="87" y="504"/>
                </a:moveTo>
                <a:lnTo>
                  <a:pt x="87" y="507"/>
                </a:lnTo>
                <a:lnTo>
                  <a:pt x="90" y="510"/>
                </a:lnTo>
                <a:lnTo>
                  <a:pt x="87" y="510"/>
                </a:lnTo>
                <a:lnTo>
                  <a:pt x="84" y="510"/>
                </a:lnTo>
                <a:lnTo>
                  <a:pt x="84" y="507"/>
                </a:lnTo>
                <a:lnTo>
                  <a:pt x="87" y="504"/>
                </a:lnTo>
                <a:lnTo>
                  <a:pt x="87" y="504"/>
                </a:lnTo>
                <a:close/>
                <a:moveTo>
                  <a:pt x="93" y="497"/>
                </a:moveTo>
                <a:lnTo>
                  <a:pt x="93" y="497"/>
                </a:lnTo>
                <a:lnTo>
                  <a:pt x="90" y="497"/>
                </a:lnTo>
                <a:lnTo>
                  <a:pt x="87" y="494"/>
                </a:lnTo>
                <a:lnTo>
                  <a:pt x="90" y="494"/>
                </a:lnTo>
                <a:lnTo>
                  <a:pt x="93" y="491"/>
                </a:lnTo>
                <a:lnTo>
                  <a:pt x="93" y="491"/>
                </a:lnTo>
                <a:lnTo>
                  <a:pt x="93" y="491"/>
                </a:lnTo>
                <a:lnTo>
                  <a:pt x="97" y="488"/>
                </a:lnTo>
                <a:lnTo>
                  <a:pt x="97" y="488"/>
                </a:lnTo>
                <a:lnTo>
                  <a:pt x="100" y="488"/>
                </a:lnTo>
                <a:lnTo>
                  <a:pt x="100" y="491"/>
                </a:lnTo>
                <a:lnTo>
                  <a:pt x="97" y="494"/>
                </a:lnTo>
                <a:lnTo>
                  <a:pt x="93" y="497"/>
                </a:lnTo>
                <a:lnTo>
                  <a:pt x="93" y="497"/>
                </a:lnTo>
                <a:lnTo>
                  <a:pt x="93" y="497"/>
                </a:lnTo>
                <a:close/>
                <a:moveTo>
                  <a:pt x="197" y="106"/>
                </a:moveTo>
                <a:lnTo>
                  <a:pt x="194" y="106"/>
                </a:lnTo>
                <a:lnTo>
                  <a:pt x="194" y="103"/>
                </a:lnTo>
                <a:lnTo>
                  <a:pt x="197" y="100"/>
                </a:lnTo>
                <a:lnTo>
                  <a:pt x="200" y="100"/>
                </a:lnTo>
                <a:lnTo>
                  <a:pt x="197" y="103"/>
                </a:lnTo>
                <a:lnTo>
                  <a:pt x="197" y="106"/>
                </a:lnTo>
                <a:lnTo>
                  <a:pt x="197" y="106"/>
                </a:lnTo>
                <a:lnTo>
                  <a:pt x="197" y="106"/>
                </a:lnTo>
                <a:close/>
                <a:moveTo>
                  <a:pt x="219" y="128"/>
                </a:moveTo>
                <a:lnTo>
                  <a:pt x="215" y="125"/>
                </a:lnTo>
                <a:lnTo>
                  <a:pt x="215" y="122"/>
                </a:lnTo>
                <a:lnTo>
                  <a:pt x="215" y="122"/>
                </a:lnTo>
                <a:lnTo>
                  <a:pt x="215" y="113"/>
                </a:lnTo>
                <a:lnTo>
                  <a:pt x="212" y="106"/>
                </a:lnTo>
                <a:lnTo>
                  <a:pt x="209" y="103"/>
                </a:lnTo>
                <a:lnTo>
                  <a:pt x="206" y="103"/>
                </a:lnTo>
                <a:lnTo>
                  <a:pt x="203" y="103"/>
                </a:lnTo>
                <a:lnTo>
                  <a:pt x="203" y="100"/>
                </a:lnTo>
                <a:lnTo>
                  <a:pt x="203" y="94"/>
                </a:lnTo>
                <a:lnTo>
                  <a:pt x="203" y="91"/>
                </a:lnTo>
                <a:lnTo>
                  <a:pt x="203" y="88"/>
                </a:lnTo>
                <a:lnTo>
                  <a:pt x="206" y="84"/>
                </a:lnTo>
                <a:lnTo>
                  <a:pt x="206" y="84"/>
                </a:lnTo>
                <a:lnTo>
                  <a:pt x="209" y="84"/>
                </a:lnTo>
                <a:lnTo>
                  <a:pt x="212" y="78"/>
                </a:lnTo>
                <a:lnTo>
                  <a:pt x="212" y="78"/>
                </a:lnTo>
                <a:lnTo>
                  <a:pt x="212" y="75"/>
                </a:lnTo>
                <a:lnTo>
                  <a:pt x="209" y="72"/>
                </a:lnTo>
                <a:lnTo>
                  <a:pt x="206" y="72"/>
                </a:lnTo>
                <a:lnTo>
                  <a:pt x="206" y="72"/>
                </a:lnTo>
                <a:lnTo>
                  <a:pt x="206" y="69"/>
                </a:lnTo>
                <a:lnTo>
                  <a:pt x="209" y="69"/>
                </a:lnTo>
                <a:lnTo>
                  <a:pt x="215" y="72"/>
                </a:lnTo>
                <a:lnTo>
                  <a:pt x="222" y="72"/>
                </a:lnTo>
                <a:lnTo>
                  <a:pt x="225" y="69"/>
                </a:lnTo>
                <a:lnTo>
                  <a:pt x="225" y="66"/>
                </a:lnTo>
                <a:lnTo>
                  <a:pt x="225" y="66"/>
                </a:lnTo>
                <a:lnTo>
                  <a:pt x="225" y="63"/>
                </a:lnTo>
                <a:lnTo>
                  <a:pt x="225" y="63"/>
                </a:lnTo>
                <a:lnTo>
                  <a:pt x="222" y="59"/>
                </a:lnTo>
                <a:lnTo>
                  <a:pt x="222" y="56"/>
                </a:lnTo>
                <a:lnTo>
                  <a:pt x="219" y="53"/>
                </a:lnTo>
                <a:lnTo>
                  <a:pt x="222" y="50"/>
                </a:lnTo>
                <a:lnTo>
                  <a:pt x="225" y="50"/>
                </a:lnTo>
                <a:lnTo>
                  <a:pt x="225" y="47"/>
                </a:lnTo>
                <a:lnTo>
                  <a:pt x="222" y="44"/>
                </a:lnTo>
                <a:lnTo>
                  <a:pt x="222" y="38"/>
                </a:lnTo>
                <a:lnTo>
                  <a:pt x="222" y="34"/>
                </a:lnTo>
                <a:lnTo>
                  <a:pt x="222" y="28"/>
                </a:lnTo>
                <a:lnTo>
                  <a:pt x="219" y="25"/>
                </a:lnTo>
                <a:lnTo>
                  <a:pt x="212" y="13"/>
                </a:lnTo>
                <a:lnTo>
                  <a:pt x="212" y="9"/>
                </a:lnTo>
                <a:lnTo>
                  <a:pt x="209" y="6"/>
                </a:lnTo>
                <a:lnTo>
                  <a:pt x="212" y="3"/>
                </a:lnTo>
                <a:lnTo>
                  <a:pt x="212" y="3"/>
                </a:lnTo>
                <a:lnTo>
                  <a:pt x="215" y="3"/>
                </a:lnTo>
                <a:lnTo>
                  <a:pt x="215" y="0"/>
                </a:lnTo>
                <a:lnTo>
                  <a:pt x="219" y="0"/>
                </a:lnTo>
                <a:lnTo>
                  <a:pt x="219" y="3"/>
                </a:lnTo>
                <a:lnTo>
                  <a:pt x="228" y="9"/>
                </a:lnTo>
                <a:lnTo>
                  <a:pt x="231" y="9"/>
                </a:lnTo>
                <a:lnTo>
                  <a:pt x="234" y="16"/>
                </a:lnTo>
                <a:lnTo>
                  <a:pt x="244" y="25"/>
                </a:lnTo>
                <a:lnTo>
                  <a:pt x="250" y="28"/>
                </a:lnTo>
                <a:lnTo>
                  <a:pt x="250" y="31"/>
                </a:lnTo>
                <a:lnTo>
                  <a:pt x="253" y="31"/>
                </a:lnTo>
                <a:lnTo>
                  <a:pt x="256" y="34"/>
                </a:lnTo>
                <a:lnTo>
                  <a:pt x="262" y="38"/>
                </a:lnTo>
                <a:lnTo>
                  <a:pt x="269" y="38"/>
                </a:lnTo>
                <a:lnTo>
                  <a:pt x="272" y="41"/>
                </a:lnTo>
                <a:lnTo>
                  <a:pt x="275" y="41"/>
                </a:lnTo>
                <a:lnTo>
                  <a:pt x="275" y="41"/>
                </a:lnTo>
                <a:lnTo>
                  <a:pt x="281" y="41"/>
                </a:lnTo>
                <a:lnTo>
                  <a:pt x="287" y="38"/>
                </a:lnTo>
                <a:lnTo>
                  <a:pt x="290" y="34"/>
                </a:lnTo>
                <a:lnTo>
                  <a:pt x="290" y="28"/>
                </a:lnTo>
                <a:lnTo>
                  <a:pt x="294" y="28"/>
                </a:lnTo>
                <a:lnTo>
                  <a:pt x="294" y="31"/>
                </a:lnTo>
                <a:lnTo>
                  <a:pt x="294" y="34"/>
                </a:lnTo>
                <a:lnTo>
                  <a:pt x="290" y="41"/>
                </a:lnTo>
                <a:lnTo>
                  <a:pt x="290" y="44"/>
                </a:lnTo>
                <a:lnTo>
                  <a:pt x="294" y="47"/>
                </a:lnTo>
                <a:lnTo>
                  <a:pt x="297" y="50"/>
                </a:lnTo>
                <a:lnTo>
                  <a:pt x="300" y="53"/>
                </a:lnTo>
                <a:lnTo>
                  <a:pt x="300" y="56"/>
                </a:lnTo>
                <a:lnTo>
                  <a:pt x="300" y="59"/>
                </a:lnTo>
                <a:lnTo>
                  <a:pt x="303" y="59"/>
                </a:lnTo>
                <a:lnTo>
                  <a:pt x="306" y="56"/>
                </a:lnTo>
                <a:lnTo>
                  <a:pt x="309" y="53"/>
                </a:lnTo>
                <a:lnTo>
                  <a:pt x="309" y="53"/>
                </a:lnTo>
                <a:lnTo>
                  <a:pt x="309" y="56"/>
                </a:lnTo>
                <a:lnTo>
                  <a:pt x="306" y="56"/>
                </a:lnTo>
                <a:lnTo>
                  <a:pt x="306" y="59"/>
                </a:lnTo>
                <a:lnTo>
                  <a:pt x="306" y="63"/>
                </a:lnTo>
                <a:lnTo>
                  <a:pt x="300" y="63"/>
                </a:lnTo>
                <a:lnTo>
                  <a:pt x="300" y="66"/>
                </a:lnTo>
                <a:lnTo>
                  <a:pt x="300" y="69"/>
                </a:lnTo>
                <a:lnTo>
                  <a:pt x="297" y="69"/>
                </a:lnTo>
                <a:lnTo>
                  <a:pt x="294" y="69"/>
                </a:lnTo>
                <a:lnTo>
                  <a:pt x="294" y="69"/>
                </a:lnTo>
                <a:lnTo>
                  <a:pt x="294" y="72"/>
                </a:lnTo>
                <a:lnTo>
                  <a:pt x="287" y="72"/>
                </a:lnTo>
                <a:lnTo>
                  <a:pt x="284" y="72"/>
                </a:lnTo>
                <a:lnTo>
                  <a:pt x="281" y="72"/>
                </a:lnTo>
                <a:lnTo>
                  <a:pt x="275" y="78"/>
                </a:lnTo>
                <a:lnTo>
                  <a:pt x="275" y="88"/>
                </a:lnTo>
                <a:lnTo>
                  <a:pt x="272" y="94"/>
                </a:lnTo>
                <a:lnTo>
                  <a:pt x="275" y="97"/>
                </a:lnTo>
                <a:lnTo>
                  <a:pt x="272" y="100"/>
                </a:lnTo>
                <a:lnTo>
                  <a:pt x="272" y="103"/>
                </a:lnTo>
                <a:lnTo>
                  <a:pt x="269" y="103"/>
                </a:lnTo>
                <a:lnTo>
                  <a:pt x="269" y="100"/>
                </a:lnTo>
                <a:lnTo>
                  <a:pt x="262" y="97"/>
                </a:lnTo>
                <a:lnTo>
                  <a:pt x="256" y="94"/>
                </a:lnTo>
                <a:lnTo>
                  <a:pt x="250" y="91"/>
                </a:lnTo>
                <a:lnTo>
                  <a:pt x="247" y="88"/>
                </a:lnTo>
                <a:lnTo>
                  <a:pt x="244" y="88"/>
                </a:lnTo>
                <a:lnTo>
                  <a:pt x="240" y="88"/>
                </a:lnTo>
                <a:lnTo>
                  <a:pt x="240" y="84"/>
                </a:lnTo>
                <a:lnTo>
                  <a:pt x="234" y="84"/>
                </a:lnTo>
                <a:lnTo>
                  <a:pt x="231" y="88"/>
                </a:lnTo>
                <a:lnTo>
                  <a:pt x="225" y="94"/>
                </a:lnTo>
                <a:lnTo>
                  <a:pt x="225" y="94"/>
                </a:lnTo>
                <a:lnTo>
                  <a:pt x="219" y="91"/>
                </a:lnTo>
                <a:lnTo>
                  <a:pt x="215" y="91"/>
                </a:lnTo>
                <a:lnTo>
                  <a:pt x="215" y="94"/>
                </a:lnTo>
                <a:lnTo>
                  <a:pt x="215" y="97"/>
                </a:lnTo>
                <a:lnTo>
                  <a:pt x="215" y="100"/>
                </a:lnTo>
                <a:lnTo>
                  <a:pt x="219" y="103"/>
                </a:lnTo>
                <a:lnTo>
                  <a:pt x="225" y="100"/>
                </a:lnTo>
                <a:lnTo>
                  <a:pt x="228" y="106"/>
                </a:lnTo>
                <a:lnTo>
                  <a:pt x="234" y="106"/>
                </a:lnTo>
                <a:lnTo>
                  <a:pt x="237" y="106"/>
                </a:lnTo>
                <a:lnTo>
                  <a:pt x="240" y="110"/>
                </a:lnTo>
                <a:lnTo>
                  <a:pt x="237" y="113"/>
                </a:lnTo>
                <a:lnTo>
                  <a:pt x="234" y="116"/>
                </a:lnTo>
                <a:lnTo>
                  <a:pt x="231" y="116"/>
                </a:lnTo>
                <a:lnTo>
                  <a:pt x="228" y="113"/>
                </a:lnTo>
                <a:lnTo>
                  <a:pt x="225" y="116"/>
                </a:lnTo>
                <a:lnTo>
                  <a:pt x="225" y="119"/>
                </a:lnTo>
                <a:lnTo>
                  <a:pt x="225" y="122"/>
                </a:lnTo>
                <a:lnTo>
                  <a:pt x="219" y="128"/>
                </a:lnTo>
                <a:lnTo>
                  <a:pt x="219" y="128"/>
                </a:lnTo>
                <a:close/>
                <a:moveTo>
                  <a:pt x="212" y="235"/>
                </a:moveTo>
                <a:lnTo>
                  <a:pt x="212" y="232"/>
                </a:lnTo>
                <a:lnTo>
                  <a:pt x="215" y="228"/>
                </a:lnTo>
                <a:lnTo>
                  <a:pt x="212" y="228"/>
                </a:lnTo>
                <a:lnTo>
                  <a:pt x="212" y="232"/>
                </a:lnTo>
                <a:lnTo>
                  <a:pt x="212" y="228"/>
                </a:lnTo>
                <a:lnTo>
                  <a:pt x="212" y="222"/>
                </a:lnTo>
                <a:lnTo>
                  <a:pt x="215" y="219"/>
                </a:lnTo>
                <a:lnTo>
                  <a:pt x="215" y="222"/>
                </a:lnTo>
                <a:lnTo>
                  <a:pt x="215" y="225"/>
                </a:lnTo>
                <a:lnTo>
                  <a:pt x="215" y="225"/>
                </a:lnTo>
                <a:lnTo>
                  <a:pt x="219" y="228"/>
                </a:lnTo>
                <a:lnTo>
                  <a:pt x="215" y="232"/>
                </a:lnTo>
                <a:lnTo>
                  <a:pt x="215" y="235"/>
                </a:lnTo>
                <a:lnTo>
                  <a:pt x="212" y="235"/>
                </a:lnTo>
                <a:lnTo>
                  <a:pt x="212" y="235"/>
                </a:lnTo>
                <a:close/>
                <a:moveTo>
                  <a:pt x="68" y="369"/>
                </a:moveTo>
                <a:lnTo>
                  <a:pt x="72" y="369"/>
                </a:lnTo>
                <a:lnTo>
                  <a:pt x="72" y="369"/>
                </a:lnTo>
                <a:lnTo>
                  <a:pt x="68" y="369"/>
                </a:lnTo>
                <a:lnTo>
                  <a:pt x="68" y="369"/>
                </a:lnTo>
                <a:lnTo>
                  <a:pt x="68" y="369"/>
                </a:lnTo>
                <a:lnTo>
                  <a:pt x="68" y="369"/>
                </a:lnTo>
                <a:close/>
                <a:moveTo>
                  <a:pt x="68" y="372"/>
                </a:moveTo>
                <a:lnTo>
                  <a:pt x="68" y="372"/>
                </a:lnTo>
                <a:lnTo>
                  <a:pt x="68" y="372"/>
                </a:lnTo>
                <a:lnTo>
                  <a:pt x="68" y="372"/>
                </a:lnTo>
                <a:lnTo>
                  <a:pt x="68" y="372"/>
                </a:lnTo>
                <a:close/>
                <a:moveTo>
                  <a:pt x="65" y="372"/>
                </a:moveTo>
                <a:lnTo>
                  <a:pt x="65" y="375"/>
                </a:lnTo>
                <a:lnTo>
                  <a:pt x="68" y="372"/>
                </a:lnTo>
                <a:lnTo>
                  <a:pt x="65" y="372"/>
                </a:lnTo>
                <a:lnTo>
                  <a:pt x="65" y="372"/>
                </a:lnTo>
                <a:close/>
                <a:moveTo>
                  <a:pt x="62" y="375"/>
                </a:moveTo>
                <a:lnTo>
                  <a:pt x="62" y="379"/>
                </a:lnTo>
                <a:lnTo>
                  <a:pt x="65" y="375"/>
                </a:lnTo>
                <a:lnTo>
                  <a:pt x="62" y="375"/>
                </a:lnTo>
                <a:lnTo>
                  <a:pt x="62" y="375"/>
                </a:lnTo>
                <a:close/>
                <a:moveTo>
                  <a:pt x="59" y="385"/>
                </a:moveTo>
                <a:lnTo>
                  <a:pt x="59" y="382"/>
                </a:lnTo>
                <a:lnTo>
                  <a:pt x="59" y="379"/>
                </a:lnTo>
                <a:lnTo>
                  <a:pt x="59" y="379"/>
                </a:lnTo>
                <a:lnTo>
                  <a:pt x="62" y="379"/>
                </a:lnTo>
                <a:lnTo>
                  <a:pt x="62" y="382"/>
                </a:lnTo>
                <a:lnTo>
                  <a:pt x="65" y="385"/>
                </a:lnTo>
                <a:lnTo>
                  <a:pt x="62" y="385"/>
                </a:lnTo>
                <a:lnTo>
                  <a:pt x="59" y="385"/>
                </a:lnTo>
                <a:lnTo>
                  <a:pt x="59" y="385"/>
                </a:lnTo>
                <a:close/>
                <a:moveTo>
                  <a:pt x="90" y="388"/>
                </a:moveTo>
                <a:lnTo>
                  <a:pt x="90" y="385"/>
                </a:lnTo>
                <a:lnTo>
                  <a:pt x="90" y="385"/>
                </a:lnTo>
                <a:lnTo>
                  <a:pt x="93" y="385"/>
                </a:lnTo>
                <a:lnTo>
                  <a:pt x="90" y="388"/>
                </a:lnTo>
                <a:lnTo>
                  <a:pt x="90" y="388"/>
                </a:lnTo>
                <a:lnTo>
                  <a:pt x="90" y="388"/>
                </a:lnTo>
                <a:close/>
                <a:moveTo>
                  <a:pt x="87" y="394"/>
                </a:moveTo>
                <a:lnTo>
                  <a:pt x="87" y="391"/>
                </a:lnTo>
                <a:lnTo>
                  <a:pt x="90" y="394"/>
                </a:lnTo>
                <a:lnTo>
                  <a:pt x="87" y="394"/>
                </a:lnTo>
                <a:lnTo>
                  <a:pt x="87" y="394"/>
                </a:lnTo>
                <a:lnTo>
                  <a:pt x="87" y="394"/>
                </a:lnTo>
                <a:close/>
                <a:moveTo>
                  <a:pt x="84" y="385"/>
                </a:moveTo>
                <a:lnTo>
                  <a:pt x="84" y="385"/>
                </a:lnTo>
                <a:lnTo>
                  <a:pt x="84" y="388"/>
                </a:lnTo>
                <a:lnTo>
                  <a:pt x="84" y="391"/>
                </a:lnTo>
                <a:lnTo>
                  <a:pt x="87" y="391"/>
                </a:lnTo>
                <a:lnTo>
                  <a:pt x="87" y="388"/>
                </a:lnTo>
                <a:lnTo>
                  <a:pt x="87" y="385"/>
                </a:lnTo>
                <a:lnTo>
                  <a:pt x="84" y="385"/>
                </a:lnTo>
                <a:lnTo>
                  <a:pt x="84" y="385"/>
                </a:lnTo>
                <a:lnTo>
                  <a:pt x="84" y="385"/>
                </a:lnTo>
                <a:close/>
                <a:moveTo>
                  <a:pt x="169" y="335"/>
                </a:moveTo>
                <a:lnTo>
                  <a:pt x="169" y="332"/>
                </a:lnTo>
                <a:lnTo>
                  <a:pt x="169" y="329"/>
                </a:lnTo>
                <a:lnTo>
                  <a:pt x="169" y="329"/>
                </a:lnTo>
                <a:lnTo>
                  <a:pt x="172" y="325"/>
                </a:lnTo>
                <a:lnTo>
                  <a:pt x="172" y="329"/>
                </a:lnTo>
                <a:lnTo>
                  <a:pt x="172" y="332"/>
                </a:lnTo>
                <a:lnTo>
                  <a:pt x="172" y="335"/>
                </a:lnTo>
                <a:lnTo>
                  <a:pt x="172" y="335"/>
                </a:lnTo>
                <a:lnTo>
                  <a:pt x="169" y="335"/>
                </a:lnTo>
                <a:lnTo>
                  <a:pt x="169" y="335"/>
                </a:lnTo>
                <a:close/>
                <a:moveTo>
                  <a:pt x="156" y="332"/>
                </a:moveTo>
                <a:lnTo>
                  <a:pt x="159" y="329"/>
                </a:lnTo>
                <a:lnTo>
                  <a:pt x="162" y="332"/>
                </a:lnTo>
                <a:lnTo>
                  <a:pt x="162" y="332"/>
                </a:lnTo>
                <a:lnTo>
                  <a:pt x="159" y="335"/>
                </a:lnTo>
                <a:lnTo>
                  <a:pt x="156" y="332"/>
                </a:lnTo>
                <a:lnTo>
                  <a:pt x="156" y="332"/>
                </a:lnTo>
                <a:close/>
                <a:moveTo>
                  <a:pt x="137" y="375"/>
                </a:moveTo>
                <a:lnTo>
                  <a:pt x="140" y="375"/>
                </a:lnTo>
                <a:lnTo>
                  <a:pt x="140" y="372"/>
                </a:lnTo>
                <a:lnTo>
                  <a:pt x="144" y="375"/>
                </a:lnTo>
                <a:lnTo>
                  <a:pt x="144" y="372"/>
                </a:lnTo>
                <a:lnTo>
                  <a:pt x="144" y="372"/>
                </a:lnTo>
                <a:lnTo>
                  <a:pt x="140" y="366"/>
                </a:lnTo>
                <a:lnTo>
                  <a:pt x="144" y="363"/>
                </a:lnTo>
                <a:lnTo>
                  <a:pt x="144" y="360"/>
                </a:lnTo>
                <a:lnTo>
                  <a:pt x="150" y="357"/>
                </a:lnTo>
                <a:lnTo>
                  <a:pt x="150" y="354"/>
                </a:lnTo>
                <a:lnTo>
                  <a:pt x="156" y="354"/>
                </a:lnTo>
                <a:lnTo>
                  <a:pt x="159" y="357"/>
                </a:lnTo>
                <a:lnTo>
                  <a:pt x="162" y="360"/>
                </a:lnTo>
                <a:lnTo>
                  <a:pt x="165" y="360"/>
                </a:lnTo>
                <a:lnTo>
                  <a:pt x="165" y="354"/>
                </a:lnTo>
                <a:lnTo>
                  <a:pt x="172" y="347"/>
                </a:lnTo>
                <a:lnTo>
                  <a:pt x="172" y="344"/>
                </a:lnTo>
                <a:lnTo>
                  <a:pt x="169" y="344"/>
                </a:lnTo>
                <a:lnTo>
                  <a:pt x="169" y="341"/>
                </a:lnTo>
                <a:lnTo>
                  <a:pt x="165" y="338"/>
                </a:lnTo>
                <a:lnTo>
                  <a:pt x="162" y="338"/>
                </a:lnTo>
                <a:lnTo>
                  <a:pt x="159" y="335"/>
                </a:lnTo>
                <a:lnTo>
                  <a:pt x="153" y="335"/>
                </a:lnTo>
                <a:lnTo>
                  <a:pt x="150" y="338"/>
                </a:lnTo>
                <a:lnTo>
                  <a:pt x="150" y="341"/>
                </a:lnTo>
                <a:lnTo>
                  <a:pt x="147" y="344"/>
                </a:lnTo>
                <a:lnTo>
                  <a:pt x="144" y="347"/>
                </a:lnTo>
                <a:lnTo>
                  <a:pt x="140" y="347"/>
                </a:lnTo>
                <a:lnTo>
                  <a:pt x="137" y="347"/>
                </a:lnTo>
                <a:lnTo>
                  <a:pt x="137" y="341"/>
                </a:lnTo>
                <a:lnTo>
                  <a:pt x="134" y="341"/>
                </a:lnTo>
                <a:lnTo>
                  <a:pt x="128" y="347"/>
                </a:lnTo>
                <a:lnTo>
                  <a:pt x="128" y="350"/>
                </a:lnTo>
                <a:lnTo>
                  <a:pt x="125" y="354"/>
                </a:lnTo>
                <a:lnTo>
                  <a:pt x="125" y="357"/>
                </a:lnTo>
                <a:lnTo>
                  <a:pt x="131" y="360"/>
                </a:lnTo>
                <a:lnTo>
                  <a:pt x="131" y="363"/>
                </a:lnTo>
                <a:lnTo>
                  <a:pt x="131" y="363"/>
                </a:lnTo>
                <a:lnTo>
                  <a:pt x="131" y="366"/>
                </a:lnTo>
                <a:lnTo>
                  <a:pt x="134" y="372"/>
                </a:lnTo>
                <a:lnTo>
                  <a:pt x="137" y="372"/>
                </a:lnTo>
                <a:lnTo>
                  <a:pt x="137" y="375"/>
                </a:lnTo>
                <a:lnTo>
                  <a:pt x="137" y="375"/>
                </a:lnTo>
                <a:close/>
                <a:moveTo>
                  <a:pt x="112" y="441"/>
                </a:moveTo>
                <a:lnTo>
                  <a:pt x="109" y="438"/>
                </a:lnTo>
                <a:lnTo>
                  <a:pt x="106" y="438"/>
                </a:lnTo>
                <a:lnTo>
                  <a:pt x="106" y="441"/>
                </a:lnTo>
                <a:lnTo>
                  <a:pt x="109" y="444"/>
                </a:lnTo>
                <a:lnTo>
                  <a:pt x="112" y="444"/>
                </a:lnTo>
                <a:lnTo>
                  <a:pt x="112" y="444"/>
                </a:lnTo>
                <a:lnTo>
                  <a:pt x="112" y="441"/>
                </a:lnTo>
                <a:lnTo>
                  <a:pt x="112" y="441"/>
                </a:lnTo>
                <a:close/>
                <a:moveTo>
                  <a:pt x="115" y="435"/>
                </a:moveTo>
                <a:lnTo>
                  <a:pt x="115" y="429"/>
                </a:lnTo>
                <a:lnTo>
                  <a:pt x="115" y="429"/>
                </a:lnTo>
                <a:lnTo>
                  <a:pt x="115" y="429"/>
                </a:lnTo>
                <a:lnTo>
                  <a:pt x="119" y="432"/>
                </a:lnTo>
                <a:lnTo>
                  <a:pt x="115" y="435"/>
                </a:lnTo>
                <a:lnTo>
                  <a:pt x="115" y="435"/>
                </a:lnTo>
                <a:lnTo>
                  <a:pt x="115" y="435"/>
                </a:lnTo>
                <a:close/>
                <a:moveTo>
                  <a:pt x="109" y="425"/>
                </a:moveTo>
                <a:lnTo>
                  <a:pt x="112" y="422"/>
                </a:lnTo>
                <a:lnTo>
                  <a:pt x="115" y="419"/>
                </a:lnTo>
                <a:lnTo>
                  <a:pt x="112" y="413"/>
                </a:lnTo>
                <a:lnTo>
                  <a:pt x="112" y="413"/>
                </a:lnTo>
                <a:lnTo>
                  <a:pt x="115" y="410"/>
                </a:lnTo>
                <a:lnTo>
                  <a:pt x="115" y="413"/>
                </a:lnTo>
                <a:lnTo>
                  <a:pt x="119" y="413"/>
                </a:lnTo>
                <a:lnTo>
                  <a:pt x="119" y="410"/>
                </a:lnTo>
                <a:lnTo>
                  <a:pt x="119" y="404"/>
                </a:lnTo>
                <a:lnTo>
                  <a:pt x="119" y="400"/>
                </a:lnTo>
                <a:lnTo>
                  <a:pt x="119" y="388"/>
                </a:lnTo>
                <a:lnTo>
                  <a:pt x="119" y="382"/>
                </a:lnTo>
                <a:lnTo>
                  <a:pt x="122" y="379"/>
                </a:lnTo>
                <a:lnTo>
                  <a:pt x="125" y="375"/>
                </a:lnTo>
                <a:lnTo>
                  <a:pt x="122" y="372"/>
                </a:lnTo>
                <a:lnTo>
                  <a:pt x="122" y="372"/>
                </a:lnTo>
                <a:lnTo>
                  <a:pt x="122" y="369"/>
                </a:lnTo>
                <a:lnTo>
                  <a:pt x="119" y="369"/>
                </a:lnTo>
                <a:lnTo>
                  <a:pt x="119" y="366"/>
                </a:lnTo>
                <a:lnTo>
                  <a:pt x="112" y="366"/>
                </a:lnTo>
                <a:lnTo>
                  <a:pt x="112" y="363"/>
                </a:lnTo>
                <a:lnTo>
                  <a:pt x="115" y="363"/>
                </a:lnTo>
                <a:lnTo>
                  <a:pt x="115" y="360"/>
                </a:lnTo>
                <a:lnTo>
                  <a:pt x="115" y="354"/>
                </a:lnTo>
                <a:lnTo>
                  <a:pt x="112" y="354"/>
                </a:lnTo>
                <a:lnTo>
                  <a:pt x="109" y="354"/>
                </a:lnTo>
                <a:lnTo>
                  <a:pt x="109" y="354"/>
                </a:lnTo>
                <a:lnTo>
                  <a:pt x="106" y="357"/>
                </a:lnTo>
                <a:lnTo>
                  <a:pt x="103" y="357"/>
                </a:lnTo>
                <a:lnTo>
                  <a:pt x="100" y="350"/>
                </a:lnTo>
                <a:lnTo>
                  <a:pt x="100" y="350"/>
                </a:lnTo>
                <a:lnTo>
                  <a:pt x="106" y="347"/>
                </a:lnTo>
                <a:lnTo>
                  <a:pt x="112" y="344"/>
                </a:lnTo>
                <a:lnTo>
                  <a:pt x="119" y="347"/>
                </a:lnTo>
                <a:lnTo>
                  <a:pt x="122" y="347"/>
                </a:lnTo>
                <a:lnTo>
                  <a:pt x="122" y="347"/>
                </a:lnTo>
                <a:lnTo>
                  <a:pt x="122" y="344"/>
                </a:lnTo>
                <a:lnTo>
                  <a:pt x="122" y="341"/>
                </a:lnTo>
                <a:lnTo>
                  <a:pt x="122" y="338"/>
                </a:lnTo>
                <a:lnTo>
                  <a:pt x="122" y="335"/>
                </a:lnTo>
                <a:lnTo>
                  <a:pt x="125" y="335"/>
                </a:lnTo>
                <a:lnTo>
                  <a:pt x="125" y="338"/>
                </a:lnTo>
                <a:lnTo>
                  <a:pt x="128" y="338"/>
                </a:lnTo>
                <a:lnTo>
                  <a:pt x="131" y="335"/>
                </a:lnTo>
                <a:lnTo>
                  <a:pt x="137" y="335"/>
                </a:lnTo>
                <a:lnTo>
                  <a:pt x="144" y="332"/>
                </a:lnTo>
                <a:lnTo>
                  <a:pt x="150" y="332"/>
                </a:lnTo>
                <a:lnTo>
                  <a:pt x="150" y="332"/>
                </a:lnTo>
                <a:lnTo>
                  <a:pt x="153" y="332"/>
                </a:lnTo>
                <a:lnTo>
                  <a:pt x="153" y="332"/>
                </a:lnTo>
                <a:lnTo>
                  <a:pt x="156" y="329"/>
                </a:lnTo>
                <a:lnTo>
                  <a:pt x="156" y="325"/>
                </a:lnTo>
                <a:lnTo>
                  <a:pt x="162" y="322"/>
                </a:lnTo>
                <a:lnTo>
                  <a:pt x="165" y="322"/>
                </a:lnTo>
                <a:lnTo>
                  <a:pt x="172" y="322"/>
                </a:lnTo>
                <a:lnTo>
                  <a:pt x="175" y="322"/>
                </a:lnTo>
                <a:lnTo>
                  <a:pt x="178" y="322"/>
                </a:lnTo>
                <a:lnTo>
                  <a:pt x="178" y="325"/>
                </a:lnTo>
                <a:lnTo>
                  <a:pt x="175" y="329"/>
                </a:lnTo>
                <a:lnTo>
                  <a:pt x="175" y="335"/>
                </a:lnTo>
                <a:lnTo>
                  <a:pt x="175" y="335"/>
                </a:lnTo>
                <a:lnTo>
                  <a:pt x="175" y="338"/>
                </a:lnTo>
                <a:lnTo>
                  <a:pt x="175" y="341"/>
                </a:lnTo>
                <a:lnTo>
                  <a:pt x="175" y="344"/>
                </a:lnTo>
                <a:lnTo>
                  <a:pt x="178" y="347"/>
                </a:lnTo>
                <a:lnTo>
                  <a:pt x="181" y="347"/>
                </a:lnTo>
                <a:lnTo>
                  <a:pt x="187" y="354"/>
                </a:lnTo>
                <a:lnTo>
                  <a:pt x="190" y="354"/>
                </a:lnTo>
                <a:lnTo>
                  <a:pt x="194" y="354"/>
                </a:lnTo>
                <a:lnTo>
                  <a:pt x="197" y="347"/>
                </a:lnTo>
                <a:lnTo>
                  <a:pt x="197" y="344"/>
                </a:lnTo>
                <a:lnTo>
                  <a:pt x="200" y="344"/>
                </a:lnTo>
                <a:lnTo>
                  <a:pt x="200" y="341"/>
                </a:lnTo>
                <a:lnTo>
                  <a:pt x="200" y="338"/>
                </a:lnTo>
                <a:lnTo>
                  <a:pt x="200" y="335"/>
                </a:lnTo>
                <a:lnTo>
                  <a:pt x="203" y="332"/>
                </a:lnTo>
                <a:lnTo>
                  <a:pt x="206" y="332"/>
                </a:lnTo>
                <a:lnTo>
                  <a:pt x="209" y="332"/>
                </a:lnTo>
                <a:lnTo>
                  <a:pt x="206" y="329"/>
                </a:lnTo>
                <a:lnTo>
                  <a:pt x="206" y="325"/>
                </a:lnTo>
                <a:lnTo>
                  <a:pt x="200" y="322"/>
                </a:lnTo>
                <a:lnTo>
                  <a:pt x="200" y="319"/>
                </a:lnTo>
                <a:lnTo>
                  <a:pt x="200" y="316"/>
                </a:lnTo>
                <a:lnTo>
                  <a:pt x="203" y="313"/>
                </a:lnTo>
                <a:lnTo>
                  <a:pt x="203" y="313"/>
                </a:lnTo>
                <a:lnTo>
                  <a:pt x="203" y="313"/>
                </a:lnTo>
                <a:lnTo>
                  <a:pt x="203" y="319"/>
                </a:lnTo>
                <a:lnTo>
                  <a:pt x="206" y="319"/>
                </a:lnTo>
                <a:lnTo>
                  <a:pt x="206" y="319"/>
                </a:lnTo>
                <a:lnTo>
                  <a:pt x="206" y="316"/>
                </a:lnTo>
                <a:lnTo>
                  <a:pt x="209" y="319"/>
                </a:lnTo>
                <a:lnTo>
                  <a:pt x="212" y="319"/>
                </a:lnTo>
                <a:lnTo>
                  <a:pt x="215" y="319"/>
                </a:lnTo>
                <a:lnTo>
                  <a:pt x="215" y="319"/>
                </a:lnTo>
                <a:lnTo>
                  <a:pt x="215" y="322"/>
                </a:lnTo>
                <a:lnTo>
                  <a:pt x="212" y="322"/>
                </a:lnTo>
                <a:lnTo>
                  <a:pt x="212" y="322"/>
                </a:lnTo>
                <a:lnTo>
                  <a:pt x="212" y="322"/>
                </a:lnTo>
                <a:lnTo>
                  <a:pt x="215" y="322"/>
                </a:lnTo>
                <a:lnTo>
                  <a:pt x="219" y="319"/>
                </a:lnTo>
                <a:lnTo>
                  <a:pt x="231" y="322"/>
                </a:lnTo>
                <a:lnTo>
                  <a:pt x="234" y="319"/>
                </a:lnTo>
                <a:lnTo>
                  <a:pt x="234" y="319"/>
                </a:lnTo>
                <a:lnTo>
                  <a:pt x="231" y="316"/>
                </a:lnTo>
                <a:lnTo>
                  <a:pt x="234" y="310"/>
                </a:lnTo>
                <a:lnTo>
                  <a:pt x="237" y="310"/>
                </a:lnTo>
                <a:lnTo>
                  <a:pt x="240" y="310"/>
                </a:lnTo>
                <a:lnTo>
                  <a:pt x="240" y="313"/>
                </a:lnTo>
                <a:lnTo>
                  <a:pt x="240" y="316"/>
                </a:lnTo>
                <a:lnTo>
                  <a:pt x="244" y="319"/>
                </a:lnTo>
                <a:lnTo>
                  <a:pt x="247" y="319"/>
                </a:lnTo>
                <a:lnTo>
                  <a:pt x="247" y="316"/>
                </a:lnTo>
                <a:lnTo>
                  <a:pt x="247" y="307"/>
                </a:lnTo>
                <a:lnTo>
                  <a:pt x="247" y="303"/>
                </a:lnTo>
                <a:lnTo>
                  <a:pt x="253" y="300"/>
                </a:lnTo>
                <a:lnTo>
                  <a:pt x="253" y="300"/>
                </a:lnTo>
                <a:lnTo>
                  <a:pt x="256" y="297"/>
                </a:lnTo>
                <a:lnTo>
                  <a:pt x="253" y="297"/>
                </a:lnTo>
                <a:lnTo>
                  <a:pt x="253" y="291"/>
                </a:lnTo>
                <a:lnTo>
                  <a:pt x="256" y="291"/>
                </a:lnTo>
                <a:lnTo>
                  <a:pt x="259" y="291"/>
                </a:lnTo>
                <a:lnTo>
                  <a:pt x="262" y="294"/>
                </a:lnTo>
                <a:lnTo>
                  <a:pt x="259" y="294"/>
                </a:lnTo>
                <a:lnTo>
                  <a:pt x="259" y="300"/>
                </a:lnTo>
                <a:lnTo>
                  <a:pt x="259" y="313"/>
                </a:lnTo>
                <a:lnTo>
                  <a:pt x="262" y="313"/>
                </a:lnTo>
                <a:lnTo>
                  <a:pt x="265" y="310"/>
                </a:lnTo>
                <a:lnTo>
                  <a:pt x="265" y="307"/>
                </a:lnTo>
                <a:lnTo>
                  <a:pt x="269" y="307"/>
                </a:lnTo>
                <a:lnTo>
                  <a:pt x="272" y="303"/>
                </a:lnTo>
                <a:lnTo>
                  <a:pt x="275" y="297"/>
                </a:lnTo>
                <a:lnTo>
                  <a:pt x="275" y="294"/>
                </a:lnTo>
                <a:lnTo>
                  <a:pt x="278" y="291"/>
                </a:lnTo>
                <a:lnTo>
                  <a:pt x="278" y="288"/>
                </a:lnTo>
                <a:lnTo>
                  <a:pt x="275" y="285"/>
                </a:lnTo>
                <a:lnTo>
                  <a:pt x="272" y="278"/>
                </a:lnTo>
                <a:lnTo>
                  <a:pt x="269" y="275"/>
                </a:lnTo>
                <a:lnTo>
                  <a:pt x="269" y="266"/>
                </a:lnTo>
                <a:lnTo>
                  <a:pt x="269" y="253"/>
                </a:lnTo>
                <a:lnTo>
                  <a:pt x="269" y="247"/>
                </a:lnTo>
                <a:lnTo>
                  <a:pt x="265" y="235"/>
                </a:lnTo>
                <a:lnTo>
                  <a:pt x="262" y="228"/>
                </a:lnTo>
                <a:lnTo>
                  <a:pt x="259" y="222"/>
                </a:lnTo>
                <a:lnTo>
                  <a:pt x="262" y="216"/>
                </a:lnTo>
                <a:lnTo>
                  <a:pt x="269" y="213"/>
                </a:lnTo>
                <a:lnTo>
                  <a:pt x="272" y="213"/>
                </a:lnTo>
                <a:lnTo>
                  <a:pt x="272" y="216"/>
                </a:lnTo>
                <a:lnTo>
                  <a:pt x="275" y="213"/>
                </a:lnTo>
                <a:lnTo>
                  <a:pt x="272" y="210"/>
                </a:lnTo>
                <a:lnTo>
                  <a:pt x="272" y="207"/>
                </a:lnTo>
                <a:lnTo>
                  <a:pt x="272" y="207"/>
                </a:lnTo>
                <a:lnTo>
                  <a:pt x="269" y="200"/>
                </a:lnTo>
                <a:lnTo>
                  <a:pt x="269" y="200"/>
                </a:lnTo>
                <a:lnTo>
                  <a:pt x="269" y="197"/>
                </a:lnTo>
                <a:lnTo>
                  <a:pt x="272" y="194"/>
                </a:lnTo>
                <a:lnTo>
                  <a:pt x="272" y="194"/>
                </a:lnTo>
                <a:lnTo>
                  <a:pt x="272" y="191"/>
                </a:lnTo>
                <a:lnTo>
                  <a:pt x="272" y="188"/>
                </a:lnTo>
                <a:lnTo>
                  <a:pt x="269" y="181"/>
                </a:lnTo>
                <a:lnTo>
                  <a:pt x="272" y="181"/>
                </a:lnTo>
                <a:lnTo>
                  <a:pt x="269" y="178"/>
                </a:lnTo>
                <a:lnTo>
                  <a:pt x="269" y="169"/>
                </a:lnTo>
                <a:lnTo>
                  <a:pt x="265" y="163"/>
                </a:lnTo>
                <a:lnTo>
                  <a:pt x="262" y="163"/>
                </a:lnTo>
                <a:lnTo>
                  <a:pt x="259" y="163"/>
                </a:lnTo>
                <a:lnTo>
                  <a:pt x="259" y="153"/>
                </a:lnTo>
                <a:lnTo>
                  <a:pt x="256" y="150"/>
                </a:lnTo>
                <a:lnTo>
                  <a:pt x="250" y="141"/>
                </a:lnTo>
                <a:lnTo>
                  <a:pt x="247" y="138"/>
                </a:lnTo>
                <a:lnTo>
                  <a:pt x="244" y="131"/>
                </a:lnTo>
                <a:lnTo>
                  <a:pt x="244" y="125"/>
                </a:lnTo>
                <a:lnTo>
                  <a:pt x="244" y="125"/>
                </a:lnTo>
                <a:lnTo>
                  <a:pt x="244" y="125"/>
                </a:lnTo>
                <a:lnTo>
                  <a:pt x="240" y="125"/>
                </a:lnTo>
                <a:lnTo>
                  <a:pt x="240" y="125"/>
                </a:lnTo>
                <a:lnTo>
                  <a:pt x="237" y="122"/>
                </a:lnTo>
                <a:lnTo>
                  <a:pt x="234" y="122"/>
                </a:lnTo>
                <a:lnTo>
                  <a:pt x="234" y="125"/>
                </a:lnTo>
                <a:lnTo>
                  <a:pt x="234" y="128"/>
                </a:lnTo>
                <a:lnTo>
                  <a:pt x="234" y="131"/>
                </a:lnTo>
                <a:lnTo>
                  <a:pt x="234" y="135"/>
                </a:lnTo>
                <a:lnTo>
                  <a:pt x="237" y="131"/>
                </a:lnTo>
                <a:lnTo>
                  <a:pt x="240" y="128"/>
                </a:lnTo>
                <a:lnTo>
                  <a:pt x="244" y="135"/>
                </a:lnTo>
                <a:lnTo>
                  <a:pt x="240" y="138"/>
                </a:lnTo>
                <a:lnTo>
                  <a:pt x="237" y="138"/>
                </a:lnTo>
                <a:lnTo>
                  <a:pt x="237" y="138"/>
                </a:lnTo>
                <a:lnTo>
                  <a:pt x="234" y="138"/>
                </a:lnTo>
                <a:lnTo>
                  <a:pt x="237" y="141"/>
                </a:lnTo>
                <a:lnTo>
                  <a:pt x="234" y="144"/>
                </a:lnTo>
                <a:lnTo>
                  <a:pt x="231" y="141"/>
                </a:lnTo>
                <a:lnTo>
                  <a:pt x="231" y="138"/>
                </a:lnTo>
                <a:lnTo>
                  <a:pt x="231" y="135"/>
                </a:lnTo>
                <a:lnTo>
                  <a:pt x="231" y="131"/>
                </a:lnTo>
                <a:lnTo>
                  <a:pt x="228" y="135"/>
                </a:lnTo>
                <a:lnTo>
                  <a:pt x="225" y="131"/>
                </a:lnTo>
                <a:lnTo>
                  <a:pt x="225" y="135"/>
                </a:lnTo>
                <a:lnTo>
                  <a:pt x="225" y="141"/>
                </a:lnTo>
                <a:lnTo>
                  <a:pt x="225" y="144"/>
                </a:lnTo>
                <a:lnTo>
                  <a:pt x="225" y="147"/>
                </a:lnTo>
                <a:lnTo>
                  <a:pt x="222" y="150"/>
                </a:lnTo>
                <a:lnTo>
                  <a:pt x="222" y="153"/>
                </a:lnTo>
                <a:lnTo>
                  <a:pt x="225" y="156"/>
                </a:lnTo>
                <a:lnTo>
                  <a:pt x="228" y="160"/>
                </a:lnTo>
                <a:lnTo>
                  <a:pt x="225" y="166"/>
                </a:lnTo>
                <a:lnTo>
                  <a:pt x="225" y="166"/>
                </a:lnTo>
                <a:lnTo>
                  <a:pt x="222" y="166"/>
                </a:lnTo>
                <a:lnTo>
                  <a:pt x="219" y="169"/>
                </a:lnTo>
                <a:lnTo>
                  <a:pt x="222" y="172"/>
                </a:lnTo>
                <a:lnTo>
                  <a:pt x="225" y="172"/>
                </a:lnTo>
                <a:lnTo>
                  <a:pt x="228" y="169"/>
                </a:lnTo>
                <a:lnTo>
                  <a:pt x="231" y="178"/>
                </a:lnTo>
                <a:lnTo>
                  <a:pt x="234" y="188"/>
                </a:lnTo>
                <a:lnTo>
                  <a:pt x="231" y="191"/>
                </a:lnTo>
                <a:lnTo>
                  <a:pt x="234" y="200"/>
                </a:lnTo>
                <a:lnTo>
                  <a:pt x="228" y="216"/>
                </a:lnTo>
                <a:lnTo>
                  <a:pt x="231" y="219"/>
                </a:lnTo>
                <a:lnTo>
                  <a:pt x="228" y="225"/>
                </a:lnTo>
                <a:lnTo>
                  <a:pt x="225" y="228"/>
                </a:lnTo>
                <a:lnTo>
                  <a:pt x="222" y="235"/>
                </a:lnTo>
                <a:lnTo>
                  <a:pt x="222" y="241"/>
                </a:lnTo>
                <a:lnTo>
                  <a:pt x="219" y="244"/>
                </a:lnTo>
                <a:lnTo>
                  <a:pt x="219" y="247"/>
                </a:lnTo>
                <a:lnTo>
                  <a:pt x="215" y="253"/>
                </a:lnTo>
                <a:lnTo>
                  <a:pt x="206" y="260"/>
                </a:lnTo>
                <a:lnTo>
                  <a:pt x="203" y="260"/>
                </a:lnTo>
                <a:lnTo>
                  <a:pt x="200" y="263"/>
                </a:lnTo>
                <a:lnTo>
                  <a:pt x="194" y="260"/>
                </a:lnTo>
                <a:lnTo>
                  <a:pt x="190" y="257"/>
                </a:lnTo>
                <a:lnTo>
                  <a:pt x="190" y="253"/>
                </a:lnTo>
                <a:lnTo>
                  <a:pt x="194" y="250"/>
                </a:lnTo>
                <a:lnTo>
                  <a:pt x="194" y="247"/>
                </a:lnTo>
                <a:lnTo>
                  <a:pt x="194" y="247"/>
                </a:lnTo>
                <a:lnTo>
                  <a:pt x="197" y="244"/>
                </a:lnTo>
                <a:lnTo>
                  <a:pt x="197" y="244"/>
                </a:lnTo>
                <a:lnTo>
                  <a:pt x="190" y="244"/>
                </a:lnTo>
                <a:lnTo>
                  <a:pt x="187" y="247"/>
                </a:lnTo>
                <a:lnTo>
                  <a:pt x="184" y="247"/>
                </a:lnTo>
                <a:lnTo>
                  <a:pt x="184" y="253"/>
                </a:lnTo>
                <a:lnTo>
                  <a:pt x="187" y="257"/>
                </a:lnTo>
                <a:lnTo>
                  <a:pt x="187" y="266"/>
                </a:lnTo>
                <a:lnTo>
                  <a:pt x="187" y="272"/>
                </a:lnTo>
                <a:lnTo>
                  <a:pt x="181" y="275"/>
                </a:lnTo>
                <a:lnTo>
                  <a:pt x="181" y="278"/>
                </a:lnTo>
                <a:lnTo>
                  <a:pt x="181" y="278"/>
                </a:lnTo>
                <a:lnTo>
                  <a:pt x="178" y="288"/>
                </a:lnTo>
                <a:lnTo>
                  <a:pt x="181" y="288"/>
                </a:lnTo>
                <a:lnTo>
                  <a:pt x="181" y="291"/>
                </a:lnTo>
                <a:lnTo>
                  <a:pt x="181" y="294"/>
                </a:lnTo>
                <a:lnTo>
                  <a:pt x="181" y="294"/>
                </a:lnTo>
                <a:lnTo>
                  <a:pt x="181" y="297"/>
                </a:lnTo>
                <a:lnTo>
                  <a:pt x="178" y="297"/>
                </a:lnTo>
                <a:lnTo>
                  <a:pt x="178" y="297"/>
                </a:lnTo>
                <a:lnTo>
                  <a:pt x="178" y="300"/>
                </a:lnTo>
                <a:lnTo>
                  <a:pt x="175" y="297"/>
                </a:lnTo>
                <a:lnTo>
                  <a:pt x="172" y="300"/>
                </a:lnTo>
                <a:lnTo>
                  <a:pt x="169" y="300"/>
                </a:lnTo>
                <a:lnTo>
                  <a:pt x="169" y="294"/>
                </a:lnTo>
                <a:lnTo>
                  <a:pt x="169" y="294"/>
                </a:lnTo>
                <a:lnTo>
                  <a:pt x="165" y="297"/>
                </a:lnTo>
                <a:lnTo>
                  <a:pt x="162" y="297"/>
                </a:lnTo>
                <a:lnTo>
                  <a:pt x="162" y="297"/>
                </a:lnTo>
                <a:lnTo>
                  <a:pt x="153" y="297"/>
                </a:lnTo>
                <a:lnTo>
                  <a:pt x="150" y="300"/>
                </a:lnTo>
                <a:lnTo>
                  <a:pt x="144" y="303"/>
                </a:lnTo>
                <a:lnTo>
                  <a:pt x="140" y="303"/>
                </a:lnTo>
                <a:lnTo>
                  <a:pt x="134" y="303"/>
                </a:lnTo>
                <a:lnTo>
                  <a:pt x="134" y="303"/>
                </a:lnTo>
                <a:lnTo>
                  <a:pt x="128" y="303"/>
                </a:lnTo>
                <a:lnTo>
                  <a:pt x="122" y="310"/>
                </a:lnTo>
                <a:lnTo>
                  <a:pt x="119" y="313"/>
                </a:lnTo>
                <a:lnTo>
                  <a:pt x="119" y="316"/>
                </a:lnTo>
                <a:lnTo>
                  <a:pt x="115" y="319"/>
                </a:lnTo>
                <a:lnTo>
                  <a:pt x="112" y="322"/>
                </a:lnTo>
                <a:lnTo>
                  <a:pt x="109" y="325"/>
                </a:lnTo>
                <a:lnTo>
                  <a:pt x="106" y="329"/>
                </a:lnTo>
                <a:lnTo>
                  <a:pt x="103" y="332"/>
                </a:lnTo>
                <a:lnTo>
                  <a:pt x="103" y="335"/>
                </a:lnTo>
                <a:lnTo>
                  <a:pt x="97" y="335"/>
                </a:lnTo>
                <a:lnTo>
                  <a:pt x="93" y="338"/>
                </a:lnTo>
                <a:lnTo>
                  <a:pt x="97" y="344"/>
                </a:lnTo>
                <a:lnTo>
                  <a:pt x="97" y="344"/>
                </a:lnTo>
                <a:lnTo>
                  <a:pt x="97" y="347"/>
                </a:lnTo>
                <a:lnTo>
                  <a:pt x="97" y="350"/>
                </a:lnTo>
                <a:lnTo>
                  <a:pt x="93" y="350"/>
                </a:lnTo>
                <a:lnTo>
                  <a:pt x="90" y="354"/>
                </a:lnTo>
                <a:lnTo>
                  <a:pt x="87" y="357"/>
                </a:lnTo>
                <a:lnTo>
                  <a:pt x="87" y="357"/>
                </a:lnTo>
                <a:lnTo>
                  <a:pt x="81" y="363"/>
                </a:lnTo>
                <a:lnTo>
                  <a:pt x="81" y="363"/>
                </a:lnTo>
                <a:lnTo>
                  <a:pt x="78" y="366"/>
                </a:lnTo>
                <a:lnTo>
                  <a:pt x="75" y="366"/>
                </a:lnTo>
                <a:lnTo>
                  <a:pt x="75" y="366"/>
                </a:lnTo>
                <a:lnTo>
                  <a:pt x="78" y="366"/>
                </a:lnTo>
                <a:lnTo>
                  <a:pt x="78" y="369"/>
                </a:lnTo>
                <a:lnTo>
                  <a:pt x="81" y="375"/>
                </a:lnTo>
                <a:lnTo>
                  <a:pt x="81" y="375"/>
                </a:lnTo>
                <a:lnTo>
                  <a:pt x="78" y="372"/>
                </a:lnTo>
                <a:lnTo>
                  <a:pt x="78" y="369"/>
                </a:lnTo>
                <a:lnTo>
                  <a:pt x="75" y="372"/>
                </a:lnTo>
                <a:lnTo>
                  <a:pt x="78" y="379"/>
                </a:lnTo>
                <a:lnTo>
                  <a:pt x="81" y="379"/>
                </a:lnTo>
                <a:lnTo>
                  <a:pt x="81" y="382"/>
                </a:lnTo>
                <a:lnTo>
                  <a:pt x="78" y="382"/>
                </a:lnTo>
                <a:lnTo>
                  <a:pt x="81" y="382"/>
                </a:lnTo>
                <a:lnTo>
                  <a:pt x="81" y="379"/>
                </a:lnTo>
                <a:lnTo>
                  <a:pt x="84" y="379"/>
                </a:lnTo>
                <a:lnTo>
                  <a:pt x="87" y="379"/>
                </a:lnTo>
                <a:lnTo>
                  <a:pt x="84" y="382"/>
                </a:lnTo>
                <a:lnTo>
                  <a:pt x="87" y="382"/>
                </a:lnTo>
                <a:lnTo>
                  <a:pt x="90" y="382"/>
                </a:lnTo>
                <a:lnTo>
                  <a:pt x="90" y="379"/>
                </a:lnTo>
                <a:lnTo>
                  <a:pt x="87" y="375"/>
                </a:lnTo>
                <a:lnTo>
                  <a:pt x="84" y="375"/>
                </a:lnTo>
                <a:lnTo>
                  <a:pt x="84" y="375"/>
                </a:lnTo>
                <a:lnTo>
                  <a:pt x="84" y="372"/>
                </a:lnTo>
                <a:lnTo>
                  <a:pt x="84" y="369"/>
                </a:lnTo>
                <a:lnTo>
                  <a:pt x="87" y="369"/>
                </a:lnTo>
                <a:lnTo>
                  <a:pt x="90" y="369"/>
                </a:lnTo>
                <a:lnTo>
                  <a:pt x="93" y="375"/>
                </a:lnTo>
                <a:lnTo>
                  <a:pt x="93" y="379"/>
                </a:lnTo>
                <a:lnTo>
                  <a:pt x="93" y="382"/>
                </a:lnTo>
                <a:lnTo>
                  <a:pt x="93" y="388"/>
                </a:lnTo>
                <a:lnTo>
                  <a:pt x="93" y="394"/>
                </a:lnTo>
                <a:lnTo>
                  <a:pt x="87" y="394"/>
                </a:lnTo>
                <a:lnTo>
                  <a:pt x="90" y="397"/>
                </a:lnTo>
                <a:lnTo>
                  <a:pt x="93" y="400"/>
                </a:lnTo>
                <a:lnTo>
                  <a:pt x="93" y="410"/>
                </a:lnTo>
                <a:lnTo>
                  <a:pt x="97" y="413"/>
                </a:lnTo>
                <a:lnTo>
                  <a:pt x="97" y="416"/>
                </a:lnTo>
                <a:lnTo>
                  <a:pt x="97" y="419"/>
                </a:lnTo>
                <a:lnTo>
                  <a:pt x="97" y="422"/>
                </a:lnTo>
                <a:lnTo>
                  <a:pt x="100" y="419"/>
                </a:lnTo>
                <a:lnTo>
                  <a:pt x="103" y="422"/>
                </a:lnTo>
                <a:lnTo>
                  <a:pt x="106" y="419"/>
                </a:lnTo>
                <a:lnTo>
                  <a:pt x="106" y="419"/>
                </a:lnTo>
                <a:lnTo>
                  <a:pt x="103" y="413"/>
                </a:lnTo>
                <a:lnTo>
                  <a:pt x="103" y="407"/>
                </a:lnTo>
                <a:lnTo>
                  <a:pt x="103" y="407"/>
                </a:lnTo>
                <a:lnTo>
                  <a:pt x="106" y="407"/>
                </a:lnTo>
                <a:lnTo>
                  <a:pt x="106" y="410"/>
                </a:lnTo>
                <a:lnTo>
                  <a:pt x="106" y="410"/>
                </a:lnTo>
                <a:lnTo>
                  <a:pt x="109" y="413"/>
                </a:lnTo>
                <a:lnTo>
                  <a:pt x="109" y="419"/>
                </a:lnTo>
                <a:lnTo>
                  <a:pt x="109" y="422"/>
                </a:lnTo>
                <a:lnTo>
                  <a:pt x="109" y="425"/>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6" name="Freeform 14">
            <a:extLst>
              <a:ext uri="{FF2B5EF4-FFF2-40B4-BE49-F238E27FC236}">
                <a16:creationId xmlns:a16="http://schemas.microsoft.com/office/drawing/2014/main" id="{1A8A1D07-9C66-0A52-D040-150281481D98}"/>
              </a:ext>
            </a:extLst>
          </p:cNvPr>
          <p:cNvSpPr>
            <a:spLocks noEditPoints="1"/>
          </p:cNvSpPr>
          <p:nvPr userDrawn="1"/>
        </p:nvSpPr>
        <p:spPr bwMode="auto">
          <a:xfrm>
            <a:off x="20731400" y="6574706"/>
            <a:ext cx="285731" cy="457200"/>
          </a:xfrm>
          <a:custGeom>
            <a:avLst/>
            <a:gdLst>
              <a:gd name="T0" fmla="*/ 56 w 90"/>
              <a:gd name="T1" fmla="*/ 104 h 144"/>
              <a:gd name="T2" fmla="*/ 56 w 90"/>
              <a:gd name="T3" fmla="*/ 107 h 144"/>
              <a:gd name="T4" fmla="*/ 56 w 90"/>
              <a:gd name="T5" fmla="*/ 104 h 144"/>
              <a:gd name="T6" fmla="*/ 25 w 90"/>
              <a:gd name="T7" fmla="*/ 116 h 144"/>
              <a:gd name="T8" fmla="*/ 28 w 90"/>
              <a:gd name="T9" fmla="*/ 113 h 144"/>
              <a:gd name="T10" fmla="*/ 31 w 90"/>
              <a:gd name="T11" fmla="*/ 113 h 144"/>
              <a:gd name="T12" fmla="*/ 28 w 90"/>
              <a:gd name="T13" fmla="*/ 116 h 144"/>
              <a:gd name="T14" fmla="*/ 28 w 90"/>
              <a:gd name="T15" fmla="*/ 119 h 144"/>
              <a:gd name="T16" fmla="*/ 68 w 90"/>
              <a:gd name="T17" fmla="*/ 100 h 144"/>
              <a:gd name="T18" fmla="*/ 72 w 90"/>
              <a:gd name="T19" fmla="*/ 104 h 144"/>
              <a:gd name="T20" fmla="*/ 75 w 90"/>
              <a:gd name="T21" fmla="*/ 100 h 144"/>
              <a:gd name="T22" fmla="*/ 72 w 90"/>
              <a:gd name="T23" fmla="*/ 97 h 144"/>
              <a:gd name="T24" fmla="*/ 84 w 90"/>
              <a:gd name="T25" fmla="*/ 122 h 144"/>
              <a:gd name="T26" fmla="*/ 87 w 90"/>
              <a:gd name="T27" fmla="*/ 119 h 144"/>
              <a:gd name="T28" fmla="*/ 87 w 90"/>
              <a:gd name="T29" fmla="*/ 119 h 144"/>
              <a:gd name="T30" fmla="*/ 84 w 90"/>
              <a:gd name="T31" fmla="*/ 122 h 144"/>
              <a:gd name="T32" fmla="*/ 87 w 90"/>
              <a:gd name="T33" fmla="*/ 113 h 144"/>
              <a:gd name="T34" fmla="*/ 87 w 90"/>
              <a:gd name="T35" fmla="*/ 113 h 144"/>
              <a:gd name="T36" fmla="*/ 87 w 90"/>
              <a:gd name="T37" fmla="*/ 107 h 144"/>
              <a:gd name="T38" fmla="*/ 90 w 90"/>
              <a:gd name="T39" fmla="*/ 107 h 144"/>
              <a:gd name="T40" fmla="*/ 87 w 90"/>
              <a:gd name="T41" fmla="*/ 113 h 144"/>
              <a:gd name="T42" fmla="*/ 34 w 90"/>
              <a:gd name="T43" fmla="*/ 144 h 144"/>
              <a:gd name="T44" fmla="*/ 34 w 90"/>
              <a:gd name="T45" fmla="*/ 138 h 144"/>
              <a:gd name="T46" fmla="*/ 47 w 90"/>
              <a:gd name="T47" fmla="*/ 135 h 144"/>
              <a:gd name="T48" fmla="*/ 43 w 90"/>
              <a:gd name="T49" fmla="*/ 144 h 144"/>
              <a:gd name="T50" fmla="*/ 34 w 90"/>
              <a:gd name="T51" fmla="*/ 144 h 144"/>
              <a:gd name="T52" fmla="*/ 0 w 90"/>
              <a:gd name="T53" fmla="*/ 25 h 144"/>
              <a:gd name="T54" fmla="*/ 6 w 90"/>
              <a:gd name="T55" fmla="*/ 25 h 144"/>
              <a:gd name="T56" fmla="*/ 9 w 90"/>
              <a:gd name="T57" fmla="*/ 25 h 144"/>
              <a:gd name="T58" fmla="*/ 22 w 90"/>
              <a:gd name="T59" fmla="*/ 41 h 144"/>
              <a:gd name="T60" fmla="*/ 22 w 90"/>
              <a:gd name="T61" fmla="*/ 41 h 144"/>
              <a:gd name="T62" fmla="*/ 28 w 90"/>
              <a:gd name="T63" fmla="*/ 50 h 144"/>
              <a:gd name="T64" fmla="*/ 18 w 90"/>
              <a:gd name="T65" fmla="*/ 44 h 144"/>
              <a:gd name="T66" fmla="*/ 15 w 90"/>
              <a:gd name="T67" fmla="*/ 47 h 144"/>
              <a:gd name="T68" fmla="*/ 18 w 90"/>
              <a:gd name="T69" fmla="*/ 57 h 144"/>
              <a:gd name="T70" fmla="*/ 25 w 90"/>
              <a:gd name="T71" fmla="*/ 63 h 144"/>
              <a:gd name="T72" fmla="*/ 25 w 90"/>
              <a:gd name="T73" fmla="*/ 72 h 144"/>
              <a:gd name="T74" fmla="*/ 31 w 90"/>
              <a:gd name="T75" fmla="*/ 75 h 144"/>
              <a:gd name="T76" fmla="*/ 25 w 90"/>
              <a:gd name="T77" fmla="*/ 82 h 144"/>
              <a:gd name="T78" fmla="*/ 28 w 90"/>
              <a:gd name="T79" fmla="*/ 88 h 144"/>
              <a:gd name="T80" fmla="*/ 25 w 90"/>
              <a:gd name="T81" fmla="*/ 94 h 144"/>
              <a:gd name="T82" fmla="*/ 25 w 90"/>
              <a:gd name="T83" fmla="*/ 97 h 144"/>
              <a:gd name="T84" fmla="*/ 31 w 90"/>
              <a:gd name="T85" fmla="*/ 107 h 144"/>
              <a:gd name="T86" fmla="*/ 34 w 90"/>
              <a:gd name="T87" fmla="*/ 113 h 144"/>
              <a:gd name="T88" fmla="*/ 37 w 90"/>
              <a:gd name="T89" fmla="*/ 113 h 144"/>
              <a:gd name="T90" fmla="*/ 40 w 90"/>
              <a:gd name="T91" fmla="*/ 110 h 144"/>
              <a:gd name="T92" fmla="*/ 50 w 90"/>
              <a:gd name="T93" fmla="*/ 100 h 144"/>
              <a:gd name="T94" fmla="*/ 56 w 90"/>
              <a:gd name="T95" fmla="*/ 100 h 144"/>
              <a:gd name="T96" fmla="*/ 59 w 90"/>
              <a:gd name="T97" fmla="*/ 97 h 144"/>
              <a:gd name="T98" fmla="*/ 65 w 90"/>
              <a:gd name="T99" fmla="*/ 100 h 144"/>
              <a:gd name="T100" fmla="*/ 68 w 90"/>
              <a:gd name="T101" fmla="*/ 100 h 144"/>
              <a:gd name="T102" fmla="*/ 72 w 90"/>
              <a:gd name="T103" fmla="*/ 94 h 144"/>
              <a:gd name="T104" fmla="*/ 81 w 90"/>
              <a:gd name="T105" fmla="*/ 88 h 144"/>
              <a:gd name="T106" fmla="*/ 84 w 90"/>
              <a:gd name="T107" fmla="*/ 85 h 144"/>
              <a:gd name="T108" fmla="*/ 81 w 90"/>
              <a:gd name="T109" fmla="*/ 69 h 144"/>
              <a:gd name="T110" fmla="*/ 78 w 90"/>
              <a:gd name="T111" fmla="*/ 66 h 144"/>
              <a:gd name="T112" fmla="*/ 75 w 90"/>
              <a:gd name="T113" fmla="*/ 50 h 144"/>
              <a:gd name="T114" fmla="*/ 62 w 90"/>
              <a:gd name="T115" fmla="*/ 25 h 144"/>
              <a:gd name="T116" fmla="*/ 43 w 90"/>
              <a:gd name="T117" fmla="*/ 0 h 144"/>
              <a:gd name="T118" fmla="*/ 22 w 90"/>
              <a:gd name="T119" fmla="*/ 7 h 144"/>
              <a:gd name="T120" fmla="*/ 9 w 90"/>
              <a:gd name="T121" fmla="*/ 16 h 144"/>
              <a:gd name="T122" fmla="*/ 0 w 90"/>
              <a:gd name="T123" fmla="*/ 2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 h="144">
                <a:moveTo>
                  <a:pt x="56" y="104"/>
                </a:moveTo>
                <a:lnTo>
                  <a:pt x="56" y="104"/>
                </a:lnTo>
                <a:lnTo>
                  <a:pt x="59" y="104"/>
                </a:lnTo>
                <a:lnTo>
                  <a:pt x="56" y="107"/>
                </a:lnTo>
                <a:lnTo>
                  <a:pt x="56" y="104"/>
                </a:lnTo>
                <a:lnTo>
                  <a:pt x="56" y="104"/>
                </a:lnTo>
                <a:close/>
                <a:moveTo>
                  <a:pt x="28" y="119"/>
                </a:moveTo>
                <a:lnTo>
                  <a:pt x="25" y="116"/>
                </a:lnTo>
                <a:lnTo>
                  <a:pt x="28" y="113"/>
                </a:lnTo>
                <a:lnTo>
                  <a:pt x="28" y="113"/>
                </a:lnTo>
                <a:lnTo>
                  <a:pt x="28" y="110"/>
                </a:lnTo>
                <a:lnTo>
                  <a:pt x="31" y="113"/>
                </a:lnTo>
                <a:lnTo>
                  <a:pt x="31" y="116"/>
                </a:lnTo>
                <a:lnTo>
                  <a:pt x="28" y="116"/>
                </a:lnTo>
                <a:lnTo>
                  <a:pt x="28" y="119"/>
                </a:lnTo>
                <a:lnTo>
                  <a:pt x="28" y="119"/>
                </a:lnTo>
                <a:close/>
                <a:moveTo>
                  <a:pt x="72" y="97"/>
                </a:moveTo>
                <a:lnTo>
                  <a:pt x="68" y="100"/>
                </a:lnTo>
                <a:lnTo>
                  <a:pt x="68" y="100"/>
                </a:lnTo>
                <a:lnTo>
                  <a:pt x="72" y="104"/>
                </a:lnTo>
                <a:lnTo>
                  <a:pt x="72" y="104"/>
                </a:lnTo>
                <a:lnTo>
                  <a:pt x="75" y="100"/>
                </a:lnTo>
                <a:lnTo>
                  <a:pt x="75" y="97"/>
                </a:lnTo>
                <a:lnTo>
                  <a:pt x="72" y="97"/>
                </a:lnTo>
                <a:lnTo>
                  <a:pt x="72" y="97"/>
                </a:lnTo>
                <a:close/>
                <a:moveTo>
                  <a:pt x="84" y="122"/>
                </a:moveTo>
                <a:lnTo>
                  <a:pt x="84" y="119"/>
                </a:lnTo>
                <a:lnTo>
                  <a:pt x="87" y="119"/>
                </a:lnTo>
                <a:lnTo>
                  <a:pt x="90" y="119"/>
                </a:lnTo>
                <a:lnTo>
                  <a:pt x="87" y="119"/>
                </a:lnTo>
                <a:lnTo>
                  <a:pt x="87" y="122"/>
                </a:lnTo>
                <a:lnTo>
                  <a:pt x="84" y="122"/>
                </a:lnTo>
                <a:lnTo>
                  <a:pt x="84" y="122"/>
                </a:lnTo>
                <a:close/>
                <a:moveTo>
                  <a:pt x="87" y="113"/>
                </a:moveTo>
                <a:lnTo>
                  <a:pt x="87" y="116"/>
                </a:lnTo>
                <a:lnTo>
                  <a:pt x="87" y="113"/>
                </a:lnTo>
                <a:lnTo>
                  <a:pt x="87" y="110"/>
                </a:lnTo>
                <a:lnTo>
                  <a:pt x="87" y="107"/>
                </a:lnTo>
                <a:lnTo>
                  <a:pt x="90" y="107"/>
                </a:lnTo>
                <a:lnTo>
                  <a:pt x="90" y="107"/>
                </a:lnTo>
                <a:lnTo>
                  <a:pt x="90" y="110"/>
                </a:lnTo>
                <a:lnTo>
                  <a:pt x="87" y="113"/>
                </a:lnTo>
                <a:lnTo>
                  <a:pt x="87" y="113"/>
                </a:lnTo>
                <a:close/>
                <a:moveTo>
                  <a:pt x="34" y="144"/>
                </a:moveTo>
                <a:lnTo>
                  <a:pt x="31" y="141"/>
                </a:lnTo>
                <a:lnTo>
                  <a:pt x="34" y="138"/>
                </a:lnTo>
                <a:lnTo>
                  <a:pt x="43" y="135"/>
                </a:lnTo>
                <a:lnTo>
                  <a:pt x="47" y="135"/>
                </a:lnTo>
                <a:lnTo>
                  <a:pt x="47" y="138"/>
                </a:lnTo>
                <a:lnTo>
                  <a:pt x="43" y="144"/>
                </a:lnTo>
                <a:lnTo>
                  <a:pt x="37" y="144"/>
                </a:lnTo>
                <a:lnTo>
                  <a:pt x="34" y="144"/>
                </a:lnTo>
                <a:lnTo>
                  <a:pt x="34" y="144"/>
                </a:lnTo>
                <a:close/>
                <a:moveTo>
                  <a:pt x="0" y="25"/>
                </a:moveTo>
                <a:lnTo>
                  <a:pt x="3" y="25"/>
                </a:lnTo>
                <a:lnTo>
                  <a:pt x="6" y="25"/>
                </a:lnTo>
                <a:lnTo>
                  <a:pt x="12" y="25"/>
                </a:lnTo>
                <a:lnTo>
                  <a:pt x="9" y="25"/>
                </a:lnTo>
                <a:lnTo>
                  <a:pt x="15" y="32"/>
                </a:lnTo>
                <a:lnTo>
                  <a:pt x="22" y="41"/>
                </a:lnTo>
                <a:lnTo>
                  <a:pt x="25" y="41"/>
                </a:lnTo>
                <a:lnTo>
                  <a:pt x="22" y="41"/>
                </a:lnTo>
                <a:lnTo>
                  <a:pt x="25" y="47"/>
                </a:lnTo>
                <a:lnTo>
                  <a:pt x="28" y="50"/>
                </a:lnTo>
                <a:lnTo>
                  <a:pt x="22" y="47"/>
                </a:lnTo>
                <a:lnTo>
                  <a:pt x="18" y="44"/>
                </a:lnTo>
                <a:lnTo>
                  <a:pt x="18" y="50"/>
                </a:lnTo>
                <a:lnTo>
                  <a:pt x="15" y="47"/>
                </a:lnTo>
                <a:lnTo>
                  <a:pt x="12" y="53"/>
                </a:lnTo>
                <a:lnTo>
                  <a:pt x="18" y="57"/>
                </a:lnTo>
                <a:lnTo>
                  <a:pt x="22" y="57"/>
                </a:lnTo>
                <a:lnTo>
                  <a:pt x="25" y="63"/>
                </a:lnTo>
                <a:lnTo>
                  <a:pt x="25" y="69"/>
                </a:lnTo>
                <a:lnTo>
                  <a:pt x="25" y="72"/>
                </a:lnTo>
                <a:lnTo>
                  <a:pt x="28" y="69"/>
                </a:lnTo>
                <a:lnTo>
                  <a:pt x="31" y="75"/>
                </a:lnTo>
                <a:lnTo>
                  <a:pt x="25" y="82"/>
                </a:lnTo>
                <a:lnTo>
                  <a:pt x="25" y="82"/>
                </a:lnTo>
                <a:lnTo>
                  <a:pt x="28" y="85"/>
                </a:lnTo>
                <a:lnTo>
                  <a:pt x="28" y="88"/>
                </a:lnTo>
                <a:lnTo>
                  <a:pt x="25" y="91"/>
                </a:lnTo>
                <a:lnTo>
                  <a:pt x="25" y="94"/>
                </a:lnTo>
                <a:lnTo>
                  <a:pt x="28" y="97"/>
                </a:lnTo>
                <a:lnTo>
                  <a:pt x="25" y="97"/>
                </a:lnTo>
                <a:lnTo>
                  <a:pt x="28" y="107"/>
                </a:lnTo>
                <a:lnTo>
                  <a:pt x="31" y="107"/>
                </a:lnTo>
                <a:lnTo>
                  <a:pt x="34" y="113"/>
                </a:lnTo>
                <a:lnTo>
                  <a:pt x="34" y="113"/>
                </a:lnTo>
                <a:lnTo>
                  <a:pt x="34" y="116"/>
                </a:lnTo>
                <a:lnTo>
                  <a:pt x="37" y="113"/>
                </a:lnTo>
                <a:lnTo>
                  <a:pt x="37" y="110"/>
                </a:lnTo>
                <a:lnTo>
                  <a:pt x="40" y="110"/>
                </a:lnTo>
                <a:lnTo>
                  <a:pt x="40" y="107"/>
                </a:lnTo>
                <a:lnTo>
                  <a:pt x="50" y="100"/>
                </a:lnTo>
                <a:lnTo>
                  <a:pt x="53" y="100"/>
                </a:lnTo>
                <a:lnTo>
                  <a:pt x="56" y="100"/>
                </a:lnTo>
                <a:lnTo>
                  <a:pt x="56" y="97"/>
                </a:lnTo>
                <a:lnTo>
                  <a:pt x="59" y="97"/>
                </a:lnTo>
                <a:lnTo>
                  <a:pt x="62" y="100"/>
                </a:lnTo>
                <a:lnTo>
                  <a:pt x="65" y="100"/>
                </a:lnTo>
                <a:lnTo>
                  <a:pt x="65" y="104"/>
                </a:lnTo>
                <a:lnTo>
                  <a:pt x="68" y="100"/>
                </a:lnTo>
                <a:lnTo>
                  <a:pt x="65" y="97"/>
                </a:lnTo>
                <a:lnTo>
                  <a:pt x="72" y="94"/>
                </a:lnTo>
                <a:lnTo>
                  <a:pt x="75" y="94"/>
                </a:lnTo>
                <a:lnTo>
                  <a:pt x="81" y="88"/>
                </a:lnTo>
                <a:lnTo>
                  <a:pt x="81" y="85"/>
                </a:lnTo>
                <a:lnTo>
                  <a:pt x="84" y="85"/>
                </a:lnTo>
                <a:lnTo>
                  <a:pt x="81" y="69"/>
                </a:lnTo>
                <a:lnTo>
                  <a:pt x="81" y="69"/>
                </a:lnTo>
                <a:lnTo>
                  <a:pt x="78" y="69"/>
                </a:lnTo>
                <a:lnTo>
                  <a:pt x="78" y="66"/>
                </a:lnTo>
                <a:lnTo>
                  <a:pt x="78" y="53"/>
                </a:lnTo>
                <a:lnTo>
                  <a:pt x="75" y="50"/>
                </a:lnTo>
                <a:lnTo>
                  <a:pt x="72" y="41"/>
                </a:lnTo>
                <a:lnTo>
                  <a:pt x="62" y="25"/>
                </a:lnTo>
                <a:lnTo>
                  <a:pt x="50" y="16"/>
                </a:lnTo>
                <a:lnTo>
                  <a:pt x="43" y="0"/>
                </a:lnTo>
                <a:lnTo>
                  <a:pt x="37" y="7"/>
                </a:lnTo>
                <a:lnTo>
                  <a:pt x="22" y="7"/>
                </a:lnTo>
                <a:lnTo>
                  <a:pt x="15" y="13"/>
                </a:lnTo>
                <a:lnTo>
                  <a:pt x="9" y="16"/>
                </a:lnTo>
                <a:lnTo>
                  <a:pt x="3" y="22"/>
                </a:lnTo>
                <a:lnTo>
                  <a:pt x="0" y="25"/>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7" name="Freeform 15">
            <a:extLst>
              <a:ext uri="{FF2B5EF4-FFF2-40B4-BE49-F238E27FC236}">
                <a16:creationId xmlns:a16="http://schemas.microsoft.com/office/drawing/2014/main" id="{C51C7726-1763-F382-FEC0-1058CB1DDA60}"/>
              </a:ext>
            </a:extLst>
          </p:cNvPr>
          <p:cNvSpPr>
            <a:spLocks/>
          </p:cNvSpPr>
          <p:nvPr userDrawn="1"/>
        </p:nvSpPr>
        <p:spPr bwMode="auto">
          <a:xfrm>
            <a:off x="20610759" y="6168306"/>
            <a:ext cx="298431" cy="508000"/>
          </a:xfrm>
          <a:custGeom>
            <a:avLst/>
            <a:gdLst>
              <a:gd name="T0" fmla="*/ 0 w 94"/>
              <a:gd name="T1" fmla="*/ 88 h 160"/>
              <a:gd name="T2" fmla="*/ 6 w 94"/>
              <a:gd name="T3" fmla="*/ 78 h 160"/>
              <a:gd name="T4" fmla="*/ 13 w 94"/>
              <a:gd name="T5" fmla="*/ 72 h 160"/>
              <a:gd name="T6" fmla="*/ 19 w 94"/>
              <a:gd name="T7" fmla="*/ 63 h 160"/>
              <a:gd name="T8" fmla="*/ 22 w 94"/>
              <a:gd name="T9" fmla="*/ 50 h 160"/>
              <a:gd name="T10" fmla="*/ 22 w 94"/>
              <a:gd name="T11" fmla="*/ 41 h 160"/>
              <a:gd name="T12" fmla="*/ 31 w 94"/>
              <a:gd name="T13" fmla="*/ 44 h 160"/>
              <a:gd name="T14" fmla="*/ 38 w 94"/>
              <a:gd name="T15" fmla="*/ 47 h 160"/>
              <a:gd name="T16" fmla="*/ 44 w 94"/>
              <a:gd name="T17" fmla="*/ 47 h 160"/>
              <a:gd name="T18" fmla="*/ 56 w 94"/>
              <a:gd name="T19" fmla="*/ 47 h 160"/>
              <a:gd name="T20" fmla="*/ 60 w 94"/>
              <a:gd name="T21" fmla="*/ 41 h 160"/>
              <a:gd name="T22" fmla="*/ 50 w 94"/>
              <a:gd name="T23" fmla="*/ 31 h 160"/>
              <a:gd name="T24" fmla="*/ 60 w 94"/>
              <a:gd name="T25" fmla="*/ 28 h 160"/>
              <a:gd name="T26" fmla="*/ 66 w 94"/>
              <a:gd name="T27" fmla="*/ 19 h 160"/>
              <a:gd name="T28" fmla="*/ 75 w 94"/>
              <a:gd name="T29" fmla="*/ 16 h 160"/>
              <a:gd name="T30" fmla="*/ 75 w 94"/>
              <a:gd name="T31" fmla="*/ 6 h 160"/>
              <a:gd name="T32" fmla="*/ 75 w 94"/>
              <a:gd name="T33" fmla="*/ 0 h 160"/>
              <a:gd name="T34" fmla="*/ 81 w 94"/>
              <a:gd name="T35" fmla="*/ 0 h 160"/>
              <a:gd name="T36" fmla="*/ 81 w 94"/>
              <a:gd name="T37" fmla="*/ 6 h 160"/>
              <a:gd name="T38" fmla="*/ 94 w 94"/>
              <a:gd name="T39" fmla="*/ 16 h 160"/>
              <a:gd name="T40" fmla="*/ 85 w 94"/>
              <a:gd name="T41" fmla="*/ 22 h 160"/>
              <a:gd name="T42" fmla="*/ 81 w 94"/>
              <a:gd name="T43" fmla="*/ 25 h 160"/>
              <a:gd name="T44" fmla="*/ 81 w 94"/>
              <a:gd name="T45" fmla="*/ 41 h 160"/>
              <a:gd name="T46" fmla="*/ 85 w 94"/>
              <a:gd name="T47" fmla="*/ 56 h 160"/>
              <a:gd name="T48" fmla="*/ 88 w 94"/>
              <a:gd name="T49" fmla="*/ 63 h 160"/>
              <a:gd name="T50" fmla="*/ 81 w 94"/>
              <a:gd name="T51" fmla="*/ 69 h 160"/>
              <a:gd name="T52" fmla="*/ 72 w 94"/>
              <a:gd name="T53" fmla="*/ 81 h 160"/>
              <a:gd name="T54" fmla="*/ 69 w 94"/>
              <a:gd name="T55" fmla="*/ 84 h 160"/>
              <a:gd name="T56" fmla="*/ 63 w 94"/>
              <a:gd name="T57" fmla="*/ 88 h 160"/>
              <a:gd name="T58" fmla="*/ 56 w 94"/>
              <a:gd name="T59" fmla="*/ 97 h 160"/>
              <a:gd name="T60" fmla="*/ 56 w 94"/>
              <a:gd name="T61" fmla="*/ 106 h 160"/>
              <a:gd name="T62" fmla="*/ 56 w 94"/>
              <a:gd name="T63" fmla="*/ 113 h 160"/>
              <a:gd name="T64" fmla="*/ 66 w 94"/>
              <a:gd name="T65" fmla="*/ 116 h 160"/>
              <a:gd name="T66" fmla="*/ 81 w 94"/>
              <a:gd name="T67" fmla="*/ 128 h 160"/>
              <a:gd name="T68" fmla="*/ 60 w 94"/>
              <a:gd name="T69" fmla="*/ 135 h 160"/>
              <a:gd name="T70" fmla="*/ 47 w 94"/>
              <a:gd name="T71" fmla="*/ 144 h 160"/>
              <a:gd name="T72" fmla="*/ 38 w 94"/>
              <a:gd name="T73" fmla="*/ 153 h 160"/>
              <a:gd name="T74" fmla="*/ 31 w 94"/>
              <a:gd name="T75" fmla="*/ 150 h 160"/>
              <a:gd name="T76" fmla="*/ 31 w 94"/>
              <a:gd name="T77" fmla="*/ 156 h 160"/>
              <a:gd name="T78" fmla="*/ 25 w 94"/>
              <a:gd name="T79" fmla="*/ 160 h 160"/>
              <a:gd name="T80" fmla="*/ 25 w 94"/>
              <a:gd name="T81" fmla="*/ 150 h 160"/>
              <a:gd name="T82" fmla="*/ 19 w 94"/>
              <a:gd name="T83" fmla="*/ 150 h 160"/>
              <a:gd name="T84" fmla="*/ 16 w 94"/>
              <a:gd name="T85" fmla="*/ 147 h 160"/>
              <a:gd name="T86" fmla="*/ 19 w 94"/>
              <a:gd name="T87" fmla="*/ 135 h 160"/>
              <a:gd name="T88" fmla="*/ 28 w 94"/>
              <a:gd name="T89" fmla="*/ 128 h 160"/>
              <a:gd name="T90" fmla="*/ 19 w 94"/>
              <a:gd name="T91" fmla="*/ 131 h 160"/>
              <a:gd name="T92" fmla="*/ 16 w 94"/>
              <a:gd name="T93" fmla="*/ 119 h 160"/>
              <a:gd name="T94" fmla="*/ 19 w 94"/>
              <a:gd name="T95" fmla="*/ 110 h 160"/>
              <a:gd name="T96" fmla="*/ 22 w 94"/>
              <a:gd name="T97" fmla="*/ 103 h 160"/>
              <a:gd name="T98" fmla="*/ 19 w 94"/>
              <a:gd name="T99" fmla="*/ 106 h 160"/>
              <a:gd name="T100" fmla="*/ 10 w 94"/>
              <a:gd name="T101" fmla="*/ 103 h 160"/>
              <a:gd name="T102" fmla="*/ 6 w 94"/>
              <a:gd name="T103" fmla="*/ 106 h 160"/>
              <a:gd name="T104" fmla="*/ 0 w 94"/>
              <a:gd name="T105" fmla="*/ 100 h 160"/>
              <a:gd name="T106" fmla="*/ 0 w 94"/>
              <a:gd name="T107" fmla="*/ 10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4" h="160">
                <a:moveTo>
                  <a:pt x="0" y="100"/>
                </a:moveTo>
                <a:lnTo>
                  <a:pt x="0" y="88"/>
                </a:lnTo>
                <a:lnTo>
                  <a:pt x="3" y="84"/>
                </a:lnTo>
                <a:lnTo>
                  <a:pt x="6" y="78"/>
                </a:lnTo>
                <a:lnTo>
                  <a:pt x="6" y="75"/>
                </a:lnTo>
                <a:lnTo>
                  <a:pt x="13" y="72"/>
                </a:lnTo>
                <a:lnTo>
                  <a:pt x="16" y="66"/>
                </a:lnTo>
                <a:lnTo>
                  <a:pt x="19" y="63"/>
                </a:lnTo>
                <a:lnTo>
                  <a:pt x="22" y="53"/>
                </a:lnTo>
                <a:lnTo>
                  <a:pt x="22" y="50"/>
                </a:lnTo>
                <a:lnTo>
                  <a:pt x="22" y="50"/>
                </a:lnTo>
                <a:lnTo>
                  <a:pt x="22" y="41"/>
                </a:lnTo>
                <a:lnTo>
                  <a:pt x="28" y="38"/>
                </a:lnTo>
                <a:lnTo>
                  <a:pt x="31" y="44"/>
                </a:lnTo>
                <a:lnTo>
                  <a:pt x="35" y="44"/>
                </a:lnTo>
                <a:lnTo>
                  <a:pt x="38" y="47"/>
                </a:lnTo>
                <a:lnTo>
                  <a:pt x="41" y="47"/>
                </a:lnTo>
                <a:lnTo>
                  <a:pt x="44" y="47"/>
                </a:lnTo>
                <a:lnTo>
                  <a:pt x="53" y="47"/>
                </a:lnTo>
                <a:lnTo>
                  <a:pt x="56" y="47"/>
                </a:lnTo>
                <a:lnTo>
                  <a:pt x="60" y="44"/>
                </a:lnTo>
                <a:lnTo>
                  <a:pt x="60" y="41"/>
                </a:lnTo>
                <a:lnTo>
                  <a:pt x="56" y="34"/>
                </a:lnTo>
                <a:lnTo>
                  <a:pt x="50" y="31"/>
                </a:lnTo>
                <a:lnTo>
                  <a:pt x="53" y="31"/>
                </a:lnTo>
                <a:lnTo>
                  <a:pt x="60" y="28"/>
                </a:lnTo>
                <a:lnTo>
                  <a:pt x="66" y="22"/>
                </a:lnTo>
                <a:lnTo>
                  <a:pt x="66" y="19"/>
                </a:lnTo>
                <a:lnTo>
                  <a:pt x="69" y="16"/>
                </a:lnTo>
                <a:lnTo>
                  <a:pt x="75" y="16"/>
                </a:lnTo>
                <a:lnTo>
                  <a:pt x="75" y="9"/>
                </a:lnTo>
                <a:lnTo>
                  <a:pt x="75" y="6"/>
                </a:lnTo>
                <a:lnTo>
                  <a:pt x="75" y="3"/>
                </a:lnTo>
                <a:lnTo>
                  <a:pt x="75" y="0"/>
                </a:lnTo>
                <a:lnTo>
                  <a:pt x="78" y="0"/>
                </a:lnTo>
                <a:lnTo>
                  <a:pt x="81" y="0"/>
                </a:lnTo>
                <a:lnTo>
                  <a:pt x="81" y="6"/>
                </a:lnTo>
                <a:lnTo>
                  <a:pt x="81" y="6"/>
                </a:lnTo>
                <a:lnTo>
                  <a:pt x="88" y="9"/>
                </a:lnTo>
                <a:lnTo>
                  <a:pt x="94" y="16"/>
                </a:lnTo>
                <a:lnTo>
                  <a:pt x="91" y="16"/>
                </a:lnTo>
                <a:lnTo>
                  <a:pt x="85" y="22"/>
                </a:lnTo>
                <a:lnTo>
                  <a:pt x="85" y="22"/>
                </a:lnTo>
                <a:lnTo>
                  <a:pt x="81" y="25"/>
                </a:lnTo>
                <a:lnTo>
                  <a:pt x="81" y="38"/>
                </a:lnTo>
                <a:lnTo>
                  <a:pt x="81" y="41"/>
                </a:lnTo>
                <a:lnTo>
                  <a:pt x="85" y="44"/>
                </a:lnTo>
                <a:lnTo>
                  <a:pt x="85" y="56"/>
                </a:lnTo>
                <a:lnTo>
                  <a:pt x="88" y="56"/>
                </a:lnTo>
                <a:lnTo>
                  <a:pt x="88" y="63"/>
                </a:lnTo>
                <a:lnTo>
                  <a:pt x="81" y="66"/>
                </a:lnTo>
                <a:lnTo>
                  <a:pt x="81" y="69"/>
                </a:lnTo>
                <a:lnTo>
                  <a:pt x="72" y="78"/>
                </a:lnTo>
                <a:lnTo>
                  <a:pt x="72" y="81"/>
                </a:lnTo>
                <a:lnTo>
                  <a:pt x="72" y="84"/>
                </a:lnTo>
                <a:lnTo>
                  <a:pt x="69" y="84"/>
                </a:lnTo>
                <a:lnTo>
                  <a:pt x="66" y="84"/>
                </a:lnTo>
                <a:lnTo>
                  <a:pt x="63" y="88"/>
                </a:lnTo>
                <a:lnTo>
                  <a:pt x="60" y="94"/>
                </a:lnTo>
                <a:lnTo>
                  <a:pt x="56" y="97"/>
                </a:lnTo>
                <a:lnTo>
                  <a:pt x="56" y="100"/>
                </a:lnTo>
                <a:lnTo>
                  <a:pt x="56" y="106"/>
                </a:lnTo>
                <a:lnTo>
                  <a:pt x="53" y="106"/>
                </a:lnTo>
                <a:lnTo>
                  <a:pt x="56" y="113"/>
                </a:lnTo>
                <a:lnTo>
                  <a:pt x="63" y="113"/>
                </a:lnTo>
                <a:lnTo>
                  <a:pt x="66" y="116"/>
                </a:lnTo>
                <a:lnTo>
                  <a:pt x="78" y="125"/>
                </a:lnTo>
                <a:lnTo>
                  <a:pt x="81" y="128"/>
                </a:lnTo>
                <a:lnTo>
                  <a:pt x="75" y="135"/>
                </a:lnTo>
                <a:lnTo>
                  <a:pt x="60" y="135"/>
                </a:lnTo>
                <a:lnTo>
                  <a:pt x="53" y="141"/>
                </a:lnTo>
                <a:lnTo>
                  <a:pt x="47" y="144"/>
                </a:lnTo>
                <a:lnTo>
                  <a:pt x="41" y="150"/>
                </a:lnTo>
                <a:lnTo>
                  <a:pt x="38" y="153"/>
                </a:lnTo>
                <a:lnTo>
                  <a:pt x="35" y="150"/>
                </a:lnTo>
                <a:lnTo>
                  <a:pt x="31" y="150"/>
                </a:lnTo>
                <a:lnTo>
                  <a:pt x="35" y="153"/>
                </a:lnTo>
                <a:lnTo>
                  <a:pt x="31" y="156"/>
                </a:lnTo>
                <a:lnTo>
                  <a:pt x="28" y="156"/>
                </a:lnTo>
                <a:lnTo>
                  <a:pt x="25" y="160"/>
                </a:lnTo>
                <a:lnTo>
                  <a:pt x="22" y="156"/>
                </a:lnTo>
                <a:lnTo>
                  <a:pt x="25" y="150"/>
                </a:lnTo>
                <a:lnTo>
                  <a:pt x="22" y="150"/>
                </a:lnTo>
                <a:lnTo>
                  <a:pt x="19" y="150"/>
                </a:lnTo>
                <a:lnTo>
                  <a:pt x="16" y="150"/>
                </a:lnTo>
                <a:lnTo>
                  <a:pt x="16" y="147"/>
                </a:lnTo>
                <a:lnTo>
                  <a:pt x="19" y="138"/>
                </a:lnTo>
                <a:lnTo>
                  <a:pt x="19" y="135"/>
                </a:lnTo>
                <a:lnTo>
                  <a:pt x="25" y="135"/>
                </a:lnTo>
                <a:lnTo>
                  <a:pt x="28" y="128"/>
                </a:lnTo>
                <a:lnTo>
                  <a:pt x="25" y="131"/>
                </a:lnTo>
                <a:lnTo>
                  <a:pt x="19" y="131"/>
                </a:lnTo>
                <a:lnTo>
                  <a:pt x="16" y="128"/>
                </a:lnTo>
                <a:lnTo>
                  <a:pt x="16" y="119"/>
                </a:lnTo>
                <a:lnTo>
                  <a:pt x="22" y="113"/>
                </a:lnTo>
                <a:lnTo>
                  <a:pt x="19" y="110"/>
                </a:lnTo>
                <a:lnTo>
                  <a:pt x="22" y="106"/>
                </a:lnTo>
                <a:lnTo>
                  <a:pt x="22" y="103"/>
                </a:lnTo>
                <a:lnTo>
                  <a:pt x="19" y="103"/>
                </a:lnTo>
                <a:lnTo>
                  <a:pt x="19" y="106"/>
                </a:lnTo>
                <a:lnTo>
                  <a:pt x="13" y="106"/>
                </a:lnTo>
                <a:lnTo>
                  <a:pt x="10" y="103"/>
                </a:lnTo>
                <a:lnTo>
                  <a:pt x="6" y="103"/>
                </a:lnTo>
                <a:lnTo>
                  <a:pt x="6" y="106"/>
                </a:lnTo>
                <a:lnTo>
                  <a:pt x="3" y="106"/>
                </a:lnTo>
                <a:lnTo>
                  <a:pt x="0" y="100"/>
                </a:lnTo>
                <a:lnTo>
                  <a:pt x="0" y="100"/>
                </a:lnTo>
                <a:lnTo>
                  <a:pt x="0" y="10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8" name="Freeform 16">
            <a:extLst>
              <a:ext uri="{FF2B5EF4-FFF2-40B4-BE49-F238E27FC236}">
                <a16:creationId xmlns:a16="http://schemas.microsoft.com/office/drawing/2014/main" id="{55F446EE-7401-7594-6011-35899B8B1C0B}"/>
              </a:ext>
            </a:extLst>
          </p:cNvPr>
          <p:cNvSpPr>
            <a:spLocks/>
          </p:cNvSpPr>
          <p:nvPr userDrawn="1"/>
        </p:nvSpPr>
        <p:spPr bwMode="auto">
          <a:xfrm>
            <a:off x="18210618" y="5501561"/>
            <a:ext cx="1923925" cy="904878"/>
          </a:xfrm>
          <a:custGeom>
            <a:avLst/>
            <a:gdLst>
              <a:gd name="T0" fmla="*/ 19 w 606"/>
              <a:gd name="T1" fmla="*/ 88 h 285"/>
              <a:gd name="T2" fmla="*/ 37 w 606"/>
              <a:gd name="T3" fmla="*/ 69 h 285"/>
              <a:gd name="T4" fmla="*/ 44 w 606"/>
              <a:gd name="T5" fmla="*/ 57 h 285"/>
              <a:gd name="T6" fmla="*/ 69 w 606"/>
              <a:gd name="T7" fmla="*/ 50 h 285"/>
              <a:gd name="T8" fmla="*/ 81 w 606"/>
              <a:gd name="T9" fmla="*/ 54 h 285"/>
              <a:gd name="T10" fmla="*/ 103 w 606"/>
              <a:gd name="T11" fmla="*/ 54 h 285"/>
              <a:gd name="T12" fmla="*/ 128 w 606"/>
              <a:gd name="T13" fmla="*/ 72 h 285"/>
              <a:gd name="T14" fmla="*/ 147 w 606"/>
              <a:gd name="T15" fmla="*/ 69 h 285"/>
              <a:gd name="T16" fmla="*/ 172 w 606"/>
              <a:gd name="T17" fmla="*/ 69 h 285"/>
              <a:gd name="T18" fmla="*/ 178 w 606"/>
              <a:gd name="T19" fmla="*/ 44 h 285"/>
              <a:gd name="T20" fmla="*/ 162 w 606"/>
              <a:gd name="T21" fmla="*/ 22 h 285"/>
              <a:gd name="T22" fmla="*/ 175 w 606"/>
              <a:gd name="T23" fmla="*/ 10 h 285"/>
              <a:gd name="T24" fmla="*/ 190 w 606"/>
              <a:gd name="T25" fmla="*/ 4 h 285"/>
              <a:gd name="T26" fmla="*/ 215 w 606"/>
              <a:gd name="T27" fmla="*/ 10 h 285"/>
              <a:gd name="T28" fmla="*/ 237 w 606"/>
              <a:gd name="T29" fmla="*/ 16 h 285"/>
              <a:gd name="T30" fmla="*/ 247 w 606"/>
              <a:gd name="T31" fmla="*/ 35 h 285"/>
              <a:gd name="T32" fmla="*/ 262 w 606"/>
              <a:gd name="T33" fmla="*/ 47 h 285"/>
              <a:gd name="T34" fmla="*/ 284 w 606"/>
              <a:gd name="T35" fmla="*/ 47 h 285"/>
              <a:gd name="T36" fmla="*/ 309 w 606"/>
              <a:gd name="T37" fmla="*/ 38 h 285"/>
              <a:gd name="T38" fmla="*/ 341 w 606"/>
              <a:gd name="T39" fmla="*/ 47 h 285"/>
              <a:gd name="T40" fmla="*/ 366 w 606"/>
              <a:gd name="T41" fmla="*/ 57 h 285"/>
              <a:gd name="T42" fmla="*/ 394 w 606"/>
              <a:gd name="T43" fmla="*/ 66 h 285"/>
              <a:gd name="T44" fmla="*/ 422 w 606"/>
              <a:gd name="T45" fmla="*/ 66 h 285"/>
              <a:gd name="T46" fmla="*/ 453 w 606"/>
              <a:gd name="T47" fmla="*/ 50 h 285"/>
              <a:gd name="T48" fmla="*/ 469 w 606"/>
              <a:gd name="T49" fmla="*/ 35 h 285"/>
              <a:gd name="T50" fmla="*/ 487 w 606"/>
              <a:gd name="T51" fmla="*/ 25 h 285"/>
              <a:gd name="T52" fmla="*/ 506 w 606"/>
              <a:gd name="T53" fmla="*/ 35 h 285"/>
              <a:gd name="T54" fmla="*/ 522 w 606"/>
              <a:gd name="T55" fmla="*/ 63 h 285"/>
              <a:gd name="T56" fmla="*/ 531 w 606"/>
              <a:gd name="T57" fmla="*/ 97 h 285"/>
              <a:gd name="T58" fmla="*/ 562 w 606"/>
              <a:gd name="T59" fmla="*/ 88 h 285"/>
              <a:gd name="T60" fmla="*/ 591 w 606"/>
              <a:gd name="T61" fmla="*/ 94 h 285"/>
              <a:gd name="T62" fmla="*/ 603 w 606"/>
              <a:gd name="T63" fmla="*/ 119 h 285"/>
              <a:gd name="T64" fmla="*/ 591 w 606"/>
              <a:gd name="T65" fmla="*/ 126 h 285"/>
              <a:gd name="T66" fmla="*/ 566 w 606"/>
              <a:gd name="T67" fmla="*/ 132 h 285"/>
              <a:gd name="T68" fmla="*/ 556 w 606"/>
              <a:gd name="T69" fmla="*/ 141 h 285"/>
              <a:gd name="T70" fmla="*/ 537 w 606"/>
              <a:gd name="T71" fmla="*/ 166 h 285"/>
              <a:gd name="T72" fmla="*/ 516 w 606"/>
              <a:gd name="T73" fmla="*/ 179 h 285"/>
              <a:gd name="T74" fmla="*/ 494 w 606"/>
              <a:gd name="T75" fmla="*/ 182 h 285"/>
              <a:gd name="T76" fmla="*/ 469 w 606"/>
              <a:gd name="T77" fmla="*/ 194 h 285"/>
              <a:gd name="T78" fmla="*/ 484 w 606"/>
              <a:gd name="T79" fmla="*/ 219 h 285"/>
              <a:gd name="T80" fmla="*/ 456 w 606"/>
              <a:gd name="T81" fmla="*/ 248 h 285"/>
              <a:gd name="T82" fmla="*/ 422 w 606"/>
              <a:gd name="T83" fmla="*/ 260 h 285"/>
              <a:gd name="T84" fmla="*/ 372 w 606"/>
              <a:gd name="T85" fmla="*/ 285 h 285"/>
              <a:gd name="T86" fmla="*/ 347 w 606"/>
              <a:gd name="T87" fmla="*/ 282 h 285"/>
              <a:gd name="T88" fmla="*/ 297 w 606"/>
              <a:gd name="T89" fmla="*/ 260 h 285"/>
              <a:gd name="T90" fmla="*/ 256 w 606"/>
              <a:gd name="T91" fmla="*/ 266 h 285"/>
              <a:gd name="T92" fmla="*/ 200 w 606"/>
              <a:gd name="T93" fmla="*/ 266 h 285"/>
              <a:gd name="T94" fmla="*/ 181 w 606"/>
              <a:gd name="T95" fmla="*/ 238 h 285"/>
              <a:gd name="T96" fmla="*/ 172 w 606"/>
              <a:gd name="T97" fmla="*/ 226 h 285"/>
              <a:gd name="T98" fmla="*/ 147 w 606"/>
              <a:gd name="T99" fmla="*/ 216 h 285"/>
              <a:gd name="T100" fmla="*/ 119 w 606"/>
              <a:gd name="T101" fmla="*/ 207 h 285"/>
              <a:gd name="T102" fmla="*/ 78 w 606"/>
              <a:gd name="T103" fmla="*/ 194 h 285"/>
              <a:gd name="T104" fmla="*/ 78 w 606"/>
              <a:gd name="T105" fmla="*/ 179 h 285"/>
              <a:gd name="T106" fmla="*/ 72 w 606"/>
              <a:gd name="T107" fmla="*/ 160 h 285"/>
              <a:gd name="T108" fmla="*/ 62 w 606"/>
              <a:gd name="T109" fmla="*/ 141 h 285"/>
              <a:gd name="T110" fmla="*/ 47 w 606"/>
              <a:gd name="T111" fmla="*/ 135 h 285"/>
              <a:gd name="T112" fmla="*/ 31 w 606"/>
              <a:gd name="T113" fmla="*/ 132 h 285"/>
              <a:gd name="T114" fmla="*/ 22 w 606"/>
              <a:gd name="T115" fmla="*/ 129 h 285"/>
              <a:gd name="T116" fmla="*/ 6 w 606"/>
              <a:gd name="T117" fmla="*/ 116 h 285"/>
              <a:gd name="T118" fmla="*/ 0 w 606"/>
              <a:gd name="T119" fmla="*/ 11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6" h="285">
                <a:moveTo>
                  <a:pt x="0" y="101"/>
                </a:moveTo>
                <a:lnTo>
                  <a:pt x="3" y="94"/>
                </a:lnTo>
                <a:lnTo>
                  <a:pt x="6" y="94"/>
                </a:lnTo>
                <a:lnTo>
                  <a:pt x="15" y="94"/>
                </a:lnTo>
                <a:lnTo>
                  <a:pt x="15" y="91"/>
                </a:lnTo>
                <a:lnTo>
                  <a:pt x="19" y="88"/>
                </a:lnTo>
                <a:lnTo>
                  <a:pt x="25" y="85"/>
                </a:lnTo>
                <a:lnTo>
                  <a:pt x="25" y="82"/>
                </a:lnTo>
                <a:lnTo>
                  <a:pt x="28" y="79"/>
                </a:lnTo>
                <a:lnTo>
                  <a:pt x="34" y="75"/>
                </a:lnTo>
                <a:lnTo>
                  <a:pt x="34" y="72"/>
                </a:lnTo>
                <a:lnTo>
                  <a:pt x="37" y="69"/>
                </a:lnTo>
                <a:lnTo>
                  <a:pt x="40" y="69"/>
                </a:lnTo>
                <a:lnTo>
                  <a:pt x="44" y="63"/>
                </a:lnTo>
                <a:lnTo>
                  <a:pt x="44" y="63"/>
                </a:lnTo>
                <a:lnTo>
                  <a:pt x="40" y="60"/>
                </a:lnTo>
                <a:lnTo>
                  <a:pt x="40" y="60"/>
                </a:lnTo>
                <a:lnTo>
                  <a:pt x="44" y="57"/>
                </a:lnTo>
                <a:lnTo>
                  <a:pt x="50" y="60"/>
                </a:lnTo>
                <a:lnTo>
                  <a:pt x="53" y="57"/>
                </a:lnTo>
                <a:lnTo>
                  <a:pt x="53" y="54"/>
                </a:lnTo>
                <a:lnTo>
                  <a:pt x="56" y="50"/>
                </a:lnTo>
                <a:lnTo>
                  <a:pt x="65" y="50"/>
                </a:lnTo>
                <a:lnTo>
                  <a:pt x="69" y="50"/>
                </a:lnTo>
                <a:lnTo>
                  <a:pt x="72" y="50"/>
                </a:lnTo>
                <a:lnTo>
                  <a:pt x="75" y="50"/>
                </a:lnTo>
                <a:lnTo>
                  <a:pt x="78" y="47"/>
                </a:lnTo>
                <a:lnTo>
                  <a:pt x="81" y="47"/>
                </a:lnTo>
                <a:lnTo>
                  <a:pt x="81" y="50"/>
                </a:lnTo>
                <a:lnTo>
                  <a:pt x="81" y="54"/>
                </a:lnTo>
                <a:lnTo>
                  <a:pt x="84" y="57"/>
                </a:lnTo>
                <a:lnTo>
                  <a:pt x="87" y="57"/>
                </a:lnTo>
                <a:lnTo>
                  <a:pt x="90" y="54"/>
                </a:lnTo>
                <a:lnTo>
                  <a:pt x="94" y="54"/>
                </a:lnTo>
                <a:lnTo>
                  <a:pt x="97" y="54"/>
                </a:lnTo>
                <a:lnTo>
                  <a:pt x="103" y="54"/>
                </a:lnTo>
                <a:lnTo>
                  <a:pt x="106" y="57"/>
                </a:lnTo>
                <a:lnTo>
                  <a:pt x="106" y="60"/>
                </a:lnTo>
                <a:lnTo>
                  <a:pt x="106" y="60"/>
                </a:lnTo>
                <a:lnTo>
                  <a:pt x="115" y="66"/>
                </a:lnTo>
                <a:lnTo>
                  <a:pt x="119" y="69"/>
                </a:lnTo>
                <a:lnTo>
                  <a:pt x="128" y="72"/>
                </a:lnTo>
                <a:lnTo>
                  <a:pt x="131" y="72"/>
                </a:lnTo>
                <a:lnTo>
                  <a:pt x="134" y="69"/>
                </a:lnTo>
                <a:lnTo>
                  <a:pt x="137" y="66"/>
                </a:lnTo>
                <a:lnTo>
                  <a:pt x="140" y="66"/>
                </a:lnTo>
                <a:lnTo>
                  <a:pt x="144" y="66"/>
                </a:lnTo>
                <a:lnTo>
                  <a:pt x="147" y="69"/>
                </a:lnTo>
                <a:lnTo>
                  <a:pt x="150" y="69"/>
                </a:lnTo>
                <a:lnTo>
                  <a:pt x="159" y="69"/>
                </a:lnTo>
                <a:lnTo>
                  <a:pt x="162" y="69"/>
                </a:lnTo>
                <a:lnTo>
                  <a:pt x="165" y="69"/>
                </a:lnTo>
                <a:lnTo>
                  <a:pt x="169" y="69"/>
                </a:lnTo>
                <a:lnTo>
                  <a:pt x="172" y="69"/>
                </a:lnTo>
                <a:lnTo>
                  <a:pt x="178" y="69"/>
                </a:lnTo>
                <a:lnTo>
                  <a:pt x="181" y="63"/>
                </a:lnTo>
                <a:lnTo>
                  <a:pt x="178" y="60"/>
                </a:lnTo>
                <a:lnTo>
                  <a:pt x="175" y="57"/>
                </a:lnTo>
                <a:lnTo>
                  <a:pt x="175" y="50"/>
                </a:lnTo>
                <a:lnTo>
                  <a:pt x="178" y="44"/>
                </a:lnTo>
                <a:lnTo>
                  <a:pt x="175" y="44"/>
                </a:lnTo>
                <a:lnTo>
                  <a:pt x="172" y="41"/>
                </a:lnTo>
                <a:lnTo>
                  <a:pt x="169" y="38"/>
                </a:lnTo>
                <a:lnTo>
                  <a:pt x="165" y="38"/>
                </a:lnTo>
                <a:lnTo>
                  <a:pt x="162" y="32"/>
                </a:lnTo>
                <a:lnTo>
                  <a:pt x="162" y="22"/>
                </a:lnTo>
                <a:lnTo>
                  <a:pt x="165" y="19"/>
                </a:lnTo>
                <a:lnTo>
                  <a:pt x="165" y="16"/>
                </a:lnTo>
                <a:lnTo>
                  <a:pt x="169" y="13"/>
                </a:lnTo>
                <a:lnTo>
                  <a:pt x="172" y="10"/>
                </a:lnTo>
                <a:lnTo>
                  <a:pt x="175" y="13"/>
                </a:lnTo>
                <a:lnTo>
                  <a:pt x="175" y="10"/>
                </a:lnTo>
                <a:lnTo>
                  <a:pt x="175" y="7"/>
                </a:lnTo>
                <a:lnTo>
                  <a:pt x="175" y="4"/>
                </a:lnTo>
                <a:lnTo>
                  <a:pt x="178" y="0"/>
                </a:lnTo>
                <a:lnTo>
                  <a:pt x="181" y="0"/>
                </a:lnTo>
                <a:lnTo>
                  <a:pt x="184" y="4"/>
                </a:lnTo>
                <a:lnTo>
                  <a:pt x="190" y="4"/>
                </a:lnTo>
                <a:lnTo>
                  <a:pt x="194" y="7"/>
                </a:lnTo>
                <a:lnTo>
                  <a:pt x="194" y="7"/>
                </a:lnTo>
                <a:lnTo>
                  <a:pt x="200" y="10"/>
                </a:lnTo>
                <a:lnTo>
                  <a:pt x="203" y="10"/>
                </a:lnTo>
                <a:lnTo>
                  <a:pt x="212" y="10"/>
                </a:lnTo>
                <a:lnTo>
                  <a:pt x="215" y="10"/>
                </a:lnTo>
                <a:lnTo>
                  <a:pt x="215" y="13"/>
                </a:lnTo>
                <a:lnTo>
                  <a:pt x="222" y="13"/>
                </a:lnTo>
                <a:lnTo>
                  <a:pt x="225" y="16"/>
                </a:lnTo>
                <a:lnTo>
                  <a:pt x="228" y="16"/>
                </a:lnTo>
                <a:lnTo>
                  <a:pt x="234" y="16"/>
                </a:lnTo>
                <a:lnTo>
                  <a:pt x="237" y="16"/>
                </a:lnTo>
                <a:lnTo>
                  <a:pt x="240" y="19"/>
                </a:lnTo>
                <a:lnTo>
                  <a:pt x="240" y="22"/>
                </a:lnTo>
                <a:lnTo>
                  <a:pt x="244" y="25"/>
                </a:lnTo>
                <a:lnTo>
                  <a:pt x="244" y="29"/>
                </a:lnTo>
                <a:lnTo>
                  <a:pt x="244" y="29"/>
                </a:lnTo>
                <a:lnTo>
                  <a:pt x="247" y="35"/>
                </a:lnTo>
                <a:lnTo>
                  <a:pt x="247" y="38"/>
                </a:lnTo>
                <a:lnTo>
                  <a:pt x="247" y="38"/>
                </a:lnTo>
                <a:lnTo>
                  <a:pt x="250" y="38"/>
                </a:lnTo>
                <a:lnTo>
                  <a:pt x="253" y="44"/>
                </a:lnTo>
                <a:lnTo>
                  <a:pt x="256" y="44"/>
                </a:lnTo>
                <a:lnTo>
                  <a:pt x="262" y="47"/>
                </a:lnTo>
                <a:lnTo>
                  <a:pt x="269" y="50"/>
                </a:lnTo>
                <a:lnTo>
                  <a:pt x="272" y="50"/>
                </a:lnTo>
                <a:lnTo>
                  <a:pt x="272" y="47"/>
                </a:lnTo>
                <a:lnTo>
                  <a:pt x="278" y="50"/>
                </a:lnTo>
                <a:lnTo>
                  <a:pt x="281" y="47"/>
                </a:lnTo>
                <a:lnTo>
                  <a:pt x="284" y="47"/>
                </a:lnTo>
                <a:lnTo>
                  <a:pt x="284" y="47"/>
                </a:lnTo>
                <a:lnTo>
                  <a:pt x="287" y="47"/>
                </a:lnTo>
                <a:lnTo>
                  <a:pt x="290" y="44"/>
                </a:lnTo>
                <a:lnTo>
                  <a:pt x="297" y="41"/>
                </a:lnTo>
                <a:lnTo>
                  <a:pt x="306" y="41"/>
                </a:lnTo>
                <a:lnTo>
                  <a:pt x="309" y="38"/>
                </a:lnTo>
                <a:lnTo>
                  <a:pt x="315" y="38"/>
                </a:lnTo>
                <a:lnTo>
                  <a:pt x="319" y="38"/>
                </a:lnTo>
                <a:lnTo>
                  <a:pt x="325" y="41"/>
                </a:lnTo>
                <a:lnTo>
                  <a:pt x="328" y="41"/>
                </a:lnTo>
                <a:lnTo>
                  <a:pt x="337" y="41"/>
                </a:lnTo>
                <a:lnTo>
                  <a:pt x="341" y="47"/>
                </a:lnTo>
                <a:lnTo>
                  <a:pt x="347" y="47"/>
                </a:lnTo>
                <a:lnTo>
                  <a:pt x="353" y="47"/>
                </a:lnTo>
                <a:lnTo>
                  <a:pt x="356" y="47"/>
                </a:lnTo>
                <a:lnTo>
                  <a:pt x="359" y="50"/>
                </a:lnTo>
                <a:lnTo>
                  <a:pt x="362" y="57"/>
                </a:lnTo>
                <a:lnTo>
                  <a:pt x="366" y="57"/>
                </a:lnTo>
                <a:lnTo>
                  <a:pt x="369" y="60"/>
                </a:lnTo>
                <a:lnTo>
                  <a:pt x="372" y="60"/>
                </a:lnTo>
                <a:lnTo>
                  <a:pt x="375" y="63"/>
                </a:lnTo>
                <a:lnTo>
                  <a:pt x="378" y="63"/>
                </a:lnTo>
                <a:lnTo>
                  <a:pt x="384" y="63"/>
                </a:lnTo>
                <a:lnTo>
                  <a:pt x="394" y="66"/>
                </a:lnTo>
                <a:lnTo>
                  <a:pt x="406" y="66"/>
                </a:lnTo>
                <a:lnTo>
                  <a:pt x="409" y="63"/>
                </a:lnTo>
                <a:lnTo>
                  <a:pt x="412" y="63"/>
                </a:lnTo>
                <a:lnTo>
                  <a:pt x="416" y="63"/>
                </a:lnTo>
                <a:lnTo>
                  <a:pt x="422" y="66"/>
                </a:lnTo>
                <a:lnTo>
                  <a:pt x="422" y="66"/>
                </a:lnTo>
                <a:lnTo>
                  <a:pt x="425" y="60"/>
                </a:lnTo>
                <a:lnTo>
                  <a:pt x="434" y="57"/>
                </a:lnTo>
                <a:lnTo>
                  <a:pt x="437" y="57"/>
                </a:lnTo>
                <a:lnTo>
                  <a:pt x="441" y="54"/>
                </a:lnTo>
                <a:lnTo>
                  <a:pt x="444" y="50"/>
                </a:lnTo>
                <a:lnTo>
                  <a:pt x="453" y="50"/>
                </a:lnTo>
                <a:lnTo>
                  <a:pt x="456" y="47"/>
                </a:lnTo>
                <a:lnTo>
                  <a:pt x="459" y="44"/>
                </a:lnTo>
                <a:lnTo>
                  <a:pt x="459" y="44"/>
                </a:lnTo>
                <a:lnTo>
                  <a:pt x="459" y="38"/>
                </a:lnTo>
                <a:lnTo>
                  <a:pt x="466" y="38"/>
                </a:lnTo>
                <a:lnTo>
                  <a:pt x="469" y="35"/>
                </a:lnTo>
                <a:lnTo>
                  <a:pt x="469" y="29"/>
                </a:lnTo>
                <a:lnTo>
                  <a:pt x="472" y="25"/>
                </a:lnTo>
                <a:lnTo>
                  <a:pt x="475" y="25"/>
                </a:lnTo>
                <a:lnTo>
                  <a:pt x="478" y="29"/>
                </a:lnTo>
                <a:lnTo>
                  <a:pt x="481" y="25"/>
                </a:lnTo>
                <a:lnTo>
                  <a:pt x="487" y="25"/>
                </a:lnTo>
                <a:lnTo>
                  <a:pt x="491" y="29"/>
                </a:lnTo>
                <a:lnTo>
                  <a:pt x="494" y="35"/>
                </a:lnTo>
                <a:lnTo>
                  <a:pt x="497" y="35"/>
                </a:lnTo>
                <a:lnTo>
                  <a:pt x="500" y="32"/>
                </a:lnTo>
                <a:lnTo>
                  <a:pt x="503" y="35"/>
                </a:lnTo>
                <a:lnTo>
                  <a:pt x="506" y="35"/>
                </a:lnTo>
                <a:lnTo>
                  <a:pt x="509" y="32"/>
                </a:lnTo>
                <a:lnTo>
                  <a:pt x="509" y="29"/>
                </a:lnTo>
                <a:lnTo>
                  <a:pt x="516" y="29"/>
                </a:lnTo>
                <a:lnTo>
                  <a:pt x="525" y="32"/>
                </a:lnTo>
                <a:lnTo>
                  <a:pt x="525" y="32"/>
                </a:lnTo>
                <a:lnTo>
                  <a:pt x="522" y="63"/>
                </a:lnTo>
                <a:lnTo>
                  <a:pt x="522" y="69"/>
                </a:lnTo>
                <a:lnTo>
                  <a:pt x="522" y="75"/>
                </a:lnTo>
                <a:lnTo>
                  <a:pt x="522" y="79"/>
                </a:lnTo>
                <a:lnTo>
                  <a:pt x="519" y="88"/>
                </a:lnTo>
                <a:lnTo>
                  <a:pt x="522" y="94"/>
                </a:lnTo>
                <a:lnTo>
                  <a:pt x="531" y="97"/>
                </a:lnTo>
                <a:lnTo>
                  <a:pt x="537" y="94"/>
                </a:lnTo>
                <a:lnTo>
                  <a:pt x="544" y="94"/>
                </a:lnTo>
                <a:lnTo>
                  <a:pt x="553" y="94"/>
                </a:lnTo>
                <a:lnTo>
                  <a:pt x="556" y="101"/>
                </a:lnTo>
                <a:lnTo>
                  <a:pt x="562" y="91"/>
                </a:lnTo>
                <a:lnTo>
                  <a:pt x="562" y="88"/>
                </a:lnTo>
                <a:lnTo>
                  <a:pt x="562" y="85"/>
                </a:lnTo>
                <a:lnTo>
                  <a:pt x="569" y="82"/>
                </a:lnTo>
                <a:lnTo>
                  <a:pt x="569" y="82"/>
                </a:lnTo>
                <a:lnTo>
                  <a:pt x="578" y="82"/>
                </a:lnTo>
                <a:lnTo>
                  <a:pt x="584" y="88"/>
                </a:lnTo>
                <a:lnTo>
                  <a:pt x="591" y="94"/>
                </a:lnTo>
                <a:lnTo>
                  <a:pt x="597" y="104"/>
                </a:lnTo>
                <a:lnTo>
                  <a:pt x="603" y="107"/>
                </a:lnTo>
                <a:lnTo>
                  <a:pt x="603" y="110"/>
                </a:lnTo>
                <a:lnTo>
                  <a:pt x="606" y="113"/>
                </a:lnTo>
                <a:lnTo>
                  <a:pt x="606" y="116"/>
                </a:lnTo>
                <a:lnTo>
                  <a:pt x="603" y="119"/>
                </a:lnTo>
                <a:lnTo>
                  <a:pt x="603" y="122"/>
                </a:lnTo>
                <a:lnTo>
                  <a:pt x="603" y="126"/>
                </a:lnTo>
                <a:lnTo>
                  <a:pt x="600" y="126"/>
                </a:lnTo>
                <a:lnTo>
                  <a:pt x="597" y="122"/>
                </a:lnTo>
                <a:lnTo>
                  <a:pt x="594" y="122"/>
                </a:lnTo>
                <a:lnTo>
                  <a:pt x="591" y="126"/>
                </a:lnTo>
                <a:lnTo>
                  <a:pt x="584" y="122"/>
                </a:lnTo>
                <a:lnTo>
                  <a:pt x="581" y="122"/>
                </a:lnTo>
                <a:lnTo>
                  <a:pt x="578" y="129"/>
                </a:lnTo>
                <a:lnTo>
                  <a:pt x="572" y="132"/>
                </a:lnTo>
                <a:lnTo>
                  <a:pt x="569" y="135"/>
                </a:lnTo>
                <a:lnTo>
                  <a:pt x="566" y="132"/>
                </a:lnTo>
                <a:lnTo>
                  <a:pt x="566" y="132"/>
                </a:lnTo>
                <a:lnTo>
                  <a:pt x="566" y="135"/>
                </a:lnTo>
                <a:lnTo>
                  <a:pt x="562" y="138"/>
                </a:lnTo>
                <a:lnTo>
                  <a:pt x="559" y="138"/>
                </a:lnTo>
                <a:lnTo>
                  <a:pt x="559" y="138"/>
                </a:lnTo>
                <a:lnTo>
                  <a:pt x="556" y="141"/>
                </a:lnTo>
                <a:lnTo>
                  <a:pt x="553" y="144"/>
                </a:lnTo>
                <a:lnTo>
                  <a:pt x="553" y="151"/>
                </a:lnTo>
                <a:lnTo>
                  <a:pt x="553" y="154"/>
                </a:lnTo>
                <a:lnTo>
                  <a:pt x="550" y="157"/>
                </a:lnTo>
                <a:lnTo>
                  <a:pt x="547" y="160"/>
                </a:lnTo>
                <a:lnTo>
                  <a:pt x="537" y="166"/>
                </a:lnTo>
                <a:lnTo>
                  <a:pt x="534" y="166"/>
                </a:lnTo>
                <a:lnTo>
                  <a:pt x="528" y="163"/>
                </a:lnTo>
                <a:lnTo>
                  <a:pt x="525" y="166"/>
                </a:lnTo>
                <a:lnTo>
                  <a:pt x="522" y="172"/>
                </a:lnTo>
                <a:lnTo>
                  <a:pt x="519" y="176"/>
                </a:lnTo>
                <a:lnTo>
                  <a:pt x="516" y="179"/>
                </a:lnTo>
                <a:lnTo>
                  <a:pt x="512" y="182"/>
                </a:lnTo>
                <a:lnTo>
                  <a:pt x="509" y="185"/>
                </a:lnTo>
                <a:lnTo>
                  <a:pt x="509" y="185"/>
                </a:lnTo>
                <a:lnTo>
                  <a:pt x="503" y="185"/>
                </a:lnTo>
                <a:lnTo>
                  <a:pt x="500" y="182"/>
                </a:lnTo>
                <a:lnTo>
                  <a:pt x="494" y="182"/>
                </a:lnTo>
                <a:lnTo>
                  <a:pt x="487" y="176"/>
                </a:lnTo>
                <a:lnTo>
                  <a:pt x="484" y="176"/>
                </a:lnTo>
                <a:lnTo>
                  <a:pt x="475" y="179"/>
                </a:lnTo>
                <a:lnTo>
                  <a:pt x="472" y="182"/>
                </a:lnTo>
                <a:lnTo>
                  <a:pt x="469" y="185"/>
                </a:lnTo>
                <a:lnTo>
                  <a:pt x="469" y="194"/>
                </a:lnTo>
                <a:lnTo>
                  <a:pt x="469" y="197"/>
                </a:lnTo>
                <a:lnTo>
                  <a:pt x="469" y="201"/>
                </a:lnTo>
                <a:lnTo>
                  <a:pt x="478" y="207"/>
                </a:lnTo>
                <a:lnTo>
                  <a:pt x="484" y="213"/>
                </a:lnTo>
                <a:lnTo>
                  <a:pt x="484" y="213"/>
                </a:lnTo>
                <a:lnTo>
                  <a:pt x="484" y="219"/>
                </a:lnTo>
                <a:lnTo>
                  <a:pt x="481" y="223"/>
                </a:lnTo>
                <a:lnTo>
                  <a:pt x="472" y="232"/>
                </a:lnTo>
                <a:lnTo>
                  <a:pt x="469" y="241"/>
                </a:lnTo>
                <a:lnTo>
                  <a:pt x="466" y="248"/>
                </a:lnTo>
                <a:lnTo>
                  <a:pt x="462" y="248"/>
                </a:lnTo>
                <a:lnTo>
                  <a:pt x="456" y="248"/>
                </a:lnTo>
                <a:lnTo>
                  <a:pt x="450" y="248"/>
                </a:lnTo>
                <a:lnTo>
                  <a:pt x="444" y="254"/>
                </a:lnTo>
                <a:lnTo>
                  <a:pt x="441" y="257"/>
                </a:lnTo>
                <a:lnTo>
                  <a:pt x="434" y="257"/>
                </a:lnTo>
                <a:lnTo>
                  <a:pt x="425" y="257"/>
                </a:lnTo>
                <a:lnTo>
                  <a:pt x="422" y="260"/>
                </a:lnTo>
                <a:lnTo>
                  <a:pt x="416" y="260"/>
                </a:lnTo>
                <a:lnTo>
                  <a:pt x="400" y="266"/>
                </a:lnTo>
                <a:lnTo>
                  <a:pt x="391" y="269"/>
                </a:lnTo>
                <a:lnTo>
                  <a:pt x="384" y="276"/>
                </a:lnTo>
                <a:lnTo>
                  <a:pt x="375" y="282"/>
                </a:lnTo>
                <a:lnTo>
                  <a:pt x="372" y="285"/>
                </a:lnTo>
                <a:lnTo>
                  <a:pt x="369" y="285"/>
                </a:lnTo>
                <a:lnTo>
                  <a:pt x="362" y="285"/>
                </a:lnTo>
                <a:lnTo>
                  <a:pt x="362" y="282"/>
                </a:lnTo>
                <a:lnTo>
                  <a:pt x="359" y="279"/>
                </a:lnTo>
                <a:lnTo>
                  <a:pt x="353" y="282"/>
                </a:lnTo>
                <a:lnTo>
                  <a:pt x="347" y="282"/>
                </a:lnTo>
                <a:lnTo>
                  <a:pt x="337" y="279"/>
                </a:lnTo>
                <a:lnTo>
                  <a:pt x="334" y="279"/>
                </a:lnTo>
                <a:lnTo>
                  <a:pt x="322" y="273"/>
                </a:lnTo>
                <a:lnTo>
                  <a:pt x="309" y="269"/>
                </a:lnTo>
                <a:lnTo>
                  <a:pt x="303" y="263"/>
                </a:lnTo>
                <a:lnTo>
                  <a:pt x="297" y="260"/>
                </a:lnTo>
                <a:lnTo>
                  <a:pt x="281" y="260"/>
                </a:lnTo>
                <a:lnTo>
                  <a:pt x="272" y="260"/>
                </a:lnTo>
                <a:lnTo>
                  <a:pt x="269" y="260"/>
                </a:lnTo>
                <a:lnTo>
                  <a:pt x="265" y="260"/>
                </a:lnTo>
                <a:lnTo>
                  <a:pt x="262" y="263"/>
                </a:lnTo>
                <a:lnTo>
                  <a:pt x="256" y="266"/>
                </a:lnTo>
                <a:lnTo>
                  <a:pt x="247" y="266"/>
                </a:lnTo>
                <a:lnTo>
                  <a:pt x="231" y="266"/>
                </a:lnTo>
                <a:lnTo>
                  <a:pt x="219" y="266"/>
                </a:lnTo>
                <a:lnTo>
                  <a:pt x="212" y="266"/>
                </a:lnTo>
                <a:lnTo>
                  <a:pt x="203" y="266"/>
                </a:lnTo>
                <a:lnTo>
                  <a:pt x="200" y="266"/>
                </a:lnTo>
                <a:lnTo>
                  <a:pt x="197" y="266"/>
                </a:lnTo>
                <a:lnTo>
                  <a:pt x="190" y="257"/>
                </a:lnTo>
                <a:lnTo>
                  <a:pt x="190" y="254"/>
                </a:lnTo>
                <a:lnTo>
                  <a:pt x="184" y="248"/>
                </a:lnTo>
                <a:lnTo>
                  <a:pt x="181" y="241"/>
                </a:lnTo>
                <a:lnTo>
                  <a:pt x="181" y="238"/>
                </a:lnTo>
                <a:lnTo>
                  <a:pt x="181" y="235"/>
                </a:lnTo>
                <a:lnTo>
                  <a:pt x="178" y="232"/>
                </a:lnTo>
                <a:lnTo>
                  <a:pt x="175" y="229"/>
                </a:lnTo>
                <a:lnTo>
                  <a:pt x="172" y="229"/>
                </a:lnTo>
                <a:lnTo>
                  <a:pt x="172" y="229"/>
                </a:lnTo>
                <a:lnTo>
                  <a:pt x="172" y="226"/>
                </a:lnTo>
                <a:lnTo>
                  <a:pt x="169" y="223"/>
                </a:lnTo>
                <a:lnTo>
                  <a:pt x="169" y="226"/>
                </a:lnTo>
                <a:lnTo>
                  <a:pt x="162" y="223"/>
                </a:lnTo>
                <a:lnTo>
                  <a:pt x="156" y="223"/>
                </a:lnTo>
                <a:lnTo>
                  <a:pt x="150" y="216"/>
                </a:lnTo>
                <a:lnTo>
                  <a:pt x="147" y="216"/>
                </a:lnTo>
                <a:lnTo>
                  <a:pt x="147" y="216"/>
                </a:lnTo>
                <a:lnTo>
                  <a:pt x="144" y="216"/>
                </a:lnTo>
                <a:lnTo>
                  <a:pt x="140" y="213"/>
                </a:lnTo>
                <a:lnTo>
                  <a:pt x="134" y="210"/>
                </a:lnTo>
                <a:lnTo>
                  <a:pt x="122" y="207"/>
                </a:lnTo>
                <a:lnTo>
                  <a:pt x="119" y="207"/>
                </a:lnTo>
                <a:lnTo>
                  <a:pt x="119" y="207"/>
                </a:lnTo>
                <a:lnTo>
                  <a:pt x="112" y="207"/>
                </a:lnTo>
                <a:lnTo>
                  <a:pt x="103" y="207"/>
                </a:lnTo>
                <a:lnTo>
                  <a:pt x="84" y="204"/>
                </a:lnTo>
                <a:lnTo>
                  <a:pt x="81" y="201"/>
                </a:lnTo>
                <a:lnTo>
                  <a:pt x="78" y="194"/>
                </a:lnTo>
                <a:lnTo>
                  <a:pt x="75" y="191"/>
                </a:lnTo>
                <a:lnTo>
                  <a:pt x="75" y="188"/>
                </a:lnTo>
                <a:lnTo>
                  <a:pt x="78" y="188"/>
                </a:lnTo>
                <a:lnTo>
                  <a:pt x="81" y="185"/>
                </a:lnTo>
                <a:lnTo>
                  <a:pt x="81" y="182"/>
                </a:lnTo>
                <a:lnTo>
                  <a:pt x="78" y="179"/>
                </a:lnTo>
                <a:lnTo>
                  <a:pt x="78" y="172"/>
                </a:lnTo>
                <a:lnTo>
                  <a:pt x="78" y="172"/>
                </a:lnTo>
                <a:lnTo>
                  <a:pt x="78" y="166"/>
                </a:lnTo>
                <a:lnTo>
                  <a:pt x="78" y="163"/>
                </a:lnTo>
                <a:lnTo>
                  <a:pt x="75" y="160"/>
                </a:lnTo>
                <a:lnTo>
                  <a:pt x="72" y="160"/>
                </a:lnTo>
                <a:lnTo>
                  <a:pt x="69" y="157"/>
                </a:lnTo>
                <a:lnTo>
                  <a:pt x="69" y="154"/>
                </a:lnTo>
                <a:lnTo>
                  <a:pt x="65" y="151"/>
                </a:lnTo>
                <a:lnTo>
                  <a:pt x="62" y="147"/>
                </a:lnTo>
                <a:lnTo>
                  <a:pt x="62" y="144"/>
                </a:lnTo>
                <a:lnTo>
                  <a:pt x="62" y="141"/>
                </a:lnTo>
                <a:lnTo>
                  <a:pt x="59" y="138"/>
                </a:lnTo>
                <a:lnTo>
                  <a:pt x="56" y="138"/>
                </a:lnTo>
                <a:lnTo>
                  <a:pt x="53" y="135"/>
                </a:lnTo>
                <a:lnTo>
                  <a:pt x="50" y="135"/>
                </a:lnTo>
                <a:lnTo>
                  <a:pt x="47" y="135"/>
                </a:lnTo>
                <a:lnTo>
                  <a:pt x="47" y="135"/>
                </a:lnTo>
                <a:lnTo>
                  <a:pt x="44" y="135"/>
                </a:lnTo>
                <a:lnTo>
                  <a:pt x="40" y="135"/>
                </a:lnTo>
                <a:lnTo>
                  <a:pt x="37" y="132"/>
                </a:lnTo>
                <a:lnTo>
                  <a:pt x="37" y="132"/>
                </a:lnTo>
                <a:lnTo>
                  <a:pt x="34" y="132"/>
                </a:lnTo>
                <a:lnTo>
                  <a:pt x="31" y="132"/>
                </a:lnTo>
                <a:lnTo>
                  <a:pt x="28" y="135"/>
                </a:lnTo>
                <a:lnTo>
                  <a:pt x="28" y="135"/>
                </a:lnTo>
                <a:lnTo>
                  <a:pt x="25" y="135"/>
                </a:lnTo>
                <a:lnTo>
                  <a:pt x="22" y="135"/>
                </a:lnTo>
                <a:lnTo>
                  <a:pt x="22" y="132"/>
                </a:lnTo>
                <a:lnTo>
                  <a:pt x="22" y="129"/>
                </a:lnTo>
                <a:lnTo>
                  <a:pt x="19" y="126"/>
                </a:lnTo>
                <a:lnTo>
                  <a:pt x="15" y="122"/>
                </a:lnTo>
                <a:lnTo>
                  <a:pt x="12" y="119"/>
                </a:lnTo>
                <a:lnTo>
                  <a:pt x="9" y="119"/>
                </a:lnTo>
                <a:lnTo>
                  <a:pt x="6" y="116"/>
                </a:lnTo>
                <a:lnTo>
                  <a:pt x="6" y="116"/>
                </a:lnTo>
                <a:lnTo>
                  <a:pt x="6" y="113"/>
                </a:lnTo>
                <a:lnTo>
                  <a:pt x="6" y="110"/>
                </a:lnTo>
                <a:lnTo>
                  <a:pt x="3" y="110"/>
                </a:lnTo>
                <a:lnTo>
                  <a:pt x="3" y="113"/>
                </a:lnTo>
                <a:lnTo>
                  <a:pt x="3" y="113"/>
                </a:lnTo>
                <a:lnTo>
                  <a:pt x="0" y="110"/>
                </a:lnTo>
                <a:lnTo>
                  <a:pt x="0" y="110"/>
                </a:lnTo>
                <a:lnTo>
                  <a:pt x="0" y="104"/>
                </a:lnTo>
                <a:lnTo>
                  <a:pt x="0" y="101"/>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19" name="Freeform 17">
            <a:extLst>
              <a:ext uri="{FF2B5EF4-FFF2-40B4-BE49-F238E27FC236}">
                <a16:creationId xmlns:a16="http://schemas.microsoft.com/office/drawing/2014/main" id="{901CD47E-EA6B-CF8B-C0BA-89229097B9FE}"/>
              </a:ext>
            </a:extLst>
          </p:cNvPr>
          <p:cNvSpPr>
            <a:spLocks/>
          </p:cNvSpPr>
          <p:nvPr userDrawn="1"/>
        </p:nvSpPr>
        <p:spPr bwMode="auto">
          <a:xfrm>
            <a:off x="15819998" y="5333285"/>
            <a:ext cx="2358872" cy="1250950"/>
          </a:xfrm>
          <a:custGeom>
            <a:avLst/>
            <a:gdLst>
              <a:gd name="T0" fmla="*/ 18 w 743"/>
              <a:gd name="T1" fmla="*/ 229 h 394"/>
              <a:gd name="T2" fmla="*/ 0 w 743"/>
              <a:gd name="T3" fmla="*/ 185 h 394"/>
              <a:gd name="T4" fmla="*/ 34 w 743"/>
              <a:gd name="T5" fmla="*/ 175 h 394"/>
              <a:gd name="T6" fmla="*/ 53 w 743"/>
              <a:gd name="T7" fmla="*/ 141 h 394"/>
              <a:gd name="T8" fmla="*/ 71 w 743"/>
              <a:gd name="T9" fmla="*/ 135 h 394"/>
              <a:gd name="T10" fmla="*/ 84 w 743"/>
              <a:gd name="T11" fmla="*/ 132 h 394"/>
              <a:gd name="T12" fmla="*/ 118 w 743"/>
              <a:gd name="T13" fmla="*/ 141 h 394"/>
              <a:gd name="T14" fmla="*/ 140 w 743"/>
              <a:gd name="T15" fmla="*/ 150 h 394"/>
              <a:gd name="T16" fmla="*/ 168 w 743"/>
              <a:gd name="T17" fmla="*/ 141 h 394"/>
              <a:gd name="T18" fmla="*/ 196 w 743"/>
              <a:gd name="T19" fmla="*/ 141 h 394"/>
              <a:gd name="T20" fmla="*/ 215 w 743"/>
              <a:gd name="T21" fmla="*/ 150 h 394"/>
              <a:gd name="T22" fmla="*/ 250 w 743"/>
              <a:gd name="T23" fmla="*/ 150 h 394"/>
              <a:gd name="T24" fmla="*/ 237 w 743"/>
              <a:gd name="T25" fmla="*/ 119 h 394"/>
              <a:gd name="T26" fmla="*/ 237 w 743"/>
              <a:gd name="T27" fmla="*/ 100 h 394"/>
              <a:gd name="T28" fmla="*/ 250 w 743"/>
              <a:gd name="T29" fmla="*/ 75 h 394"/>
              <a:gd name="T30" fmla="*/ 237 w 743"/>
              <a:gd name="T31" fmla="*/ 66 h 394"/>
              <a:gd name="T32" fmla="*/ 250 w 743"/>
              <a:gd name="T33" fmla="*/ 57 h 394"/>
              <a:gd name="T34" fmla="*/ 271 w 743"/>
              <a:gd name="T35" fmla="*/ 50 h 394"/>
              <a:gd name="T36" fmla="*/ 306 w 743"/>
              <a:gd name="T37" fmla="*/ 41 h 394"/>
              <a:gd name="T38" fmla="*/ 328 w 743"/>
              <a:gd name="T39" fmla="*/ 28 h 394"/>
              <a:gd name="T40" fmla="*/ 359 w 743"/>
              <a:gd name="T41" fmla="*/ 13 h 394"/>
              <a:gd name="T42" fmla="*/ 384 w 743"/>
              <a:gd name="T43" fmla="*/ 3 h 394"/>
              <a:gd name="T44" fmla="*/ 412 w 743"/>
              <a:gd name="T45" fmla="*/ 19 h 394"/>
              <a:gd name="T46" fmla="*/ 418 w 743"/>
              <a:gd name="T47" fmla="*/ 35 h 394"/>
              <a:gd name="T48" fmla="*/ 437 w 743"/>
              <a:gd name="T49" fmla="*/ 32 h 394"/>
              <a:gd name="T50" fmla="*/ 456 w 743"/>
              <a:gd name="T51" fmla="*/ 38 h 394"/>
              <a:gd name="T52" fmla="*/ 468 w 743"/>
              <a:gd name="T53" fmla="*/ 47 h 394"/>
              <a:gd name="T54" fmla="*/ 497 w 743"/>
              <a:gd name="T55" fmla="*/ 35 h 394"/>
              <a:gd name="T56" fmla="*/ 515 w 743"/>
              <a:gd name="T57" fmla="*/ 28 h 394"/>
              <a:gd name="T58" fmla="*/ 606 w 743"/>
              <a:gd name="T59" fmla="*/ 110 h 394"/>
              <a:gd name="T60" fmla="*/ 631 w 743"/>
              <a:gd name="T61" fmla="*/ 116 h 394"/>
              <a:gd name="T62" fmla="*/ 662 w 743"/>
              <a:gd name="T63" fmla="*/ 110 h 394"/>
              <a:gd name="T64" fmla="*/ 693 w 743"/>
              <a:gd name="T65" fmla="*/ 132 h 394"/>
              <a:gd name="T66" fmla="*/ 706 w 743"/>
              <a:gd name="T67" fmla="*/ 147 h 394"/>
              <a:gd name="T68" fmla="*/ 731 w 743"/>
              <a:gd name="T69" fmla="*/ 147 h 394"/>
              <a:gd name="T70" fmla="*/ 734 w 743"/>
              <a:gd name="T71" fmla="*/ 169 h 394"/>
              <a:gd name="T72" fmla="*/ 725 w 743"/>
              <a:gd name="T73" fmla="*/ 213 h 394"/>
              <a:gd name="T74" fmla="*/ 687 w 743"/>
              <a:gd name="T75" fmla="*/ 216 h 394"/>
              <a:gd name="T76" fmla="*/ 675 w 743"/>
              <a:gd name="T77" fmla="*/ 260 h 394"/>
              <a:gd name="T78" fmla="*/ 659 w 743"/>
              <a:gd name="T79" fmla="*/ 269 h 394"/>
              <a:gd name="T80" fmla="*/ 643 w 743"/>
              <a:gd name="T81" fmla="*/ 282 h 394"/>
              <a:gd name="T82" fmla="*/ 653 w 743"/>
              <a:gd name="T83" fmla="*/ 313 h 394"/>
              <a:gd name="T84" fmla="*/ 653 w 743"/>
              <a:gd name="T85" fmla="*/ 344 h 394"/>
              <a:gd name="T86" fmla="*/ 584 w 743"/>
              <a:gd name="T87" fmla="*/ 332 h 394"/>
              <a:gd name="T88" fmla="*/ 534 w 743"/>
              <a:gd name="T89" fmla="*/ 332 h 394"/>
              <a:gd name="T90" fmla="*/ 493 w 743"/>
              <a:gd name="T91" fmla="*/ 344 h 394"/>
              <a:gd name="T92" fmla="*/ 468 w 743"/>
              <a:gd name="T93" fmla="*/ 360 h 394"/>
              <a:gd name="T94" fmla="*/ 421 w 743"/>
              <a:gd name="T95" fmla="*/ 385 h 394"/>
              <a:gd name="T96" fmla="*/ 331 w 743"/>
              <a:gd name="T97" fmla="*/ 322 h 394"/>
              <a:gd name="T98" fmla="*/ 181 w 743"/>
              <a:gd name="T99" fmla="*/ 379 h 394"/>
              <a:gd name="T100" fmla="*/ 134 w 743"/>
              <a:gd name="T101" fmla="*/ 360 h 394"/>
              <a:gd name="T102" fmla="*/ 115 w 743"/>
              <a:gd name="T103" fmla="*/ 351 h 394"/>
              <a:gd name="T104" fmla="*/ 100 w 743"/>
              <a:gd name="T105" fmla="*/ 332 h 394"/>
              <a:gd name="T106" fmla="*/ 84 w 743"/>
              <a:gd name="T107" fmla="*/ 313 h 394"/>
              <a:gd name="T108" fmla="*/ 106 w 743"/>
              <a:gd name="T109" fmla="*/ 313 h 394"/>
              <a:gd name="T110" fmla="*/ 100 w 743"/>
              <a:gd name="T111" fmla="*/ 297 h 394"/>
              <a:gd name="T112" fmla="*/ 125 w 743"/>
              <a:gd name="T113" fmla="*/ 291 h 394"/>
              <a:gd name="T114" fmla="*/ 131 w 743"/>
              <a:gd name="T115" fmla="*/ 279 h 394"/>
              <a:gd name="T116" fmla="*/ 128 w 743"/>
              <a:gd name="T117" fmla="*/ 257 h 394"/>
              <a:gd name="T118" fmla="*/ 109 w 743"/>
              <a:gd name="T119" fmla="*/ 254 h 394"/>
              <a:gd name="T120" fmla="*/ 96 w 743"/>
              <a:gd name="T121" fmla="*/ 250 h 394"/>
              <a:gd name="T122" fmla="*/ 78 w 743"/>
              <a:gd name="T123" fmla="*/ 254 h 394"/>
              <a:gd name="T124" fmla="*/ 62 w 743"/>
              <a:gd name="T125" fmla="*/ 263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3" h="394">
                <a:moveTo>
                  <a:pt x="56" y="263"/>
                </a:moveTo>
                <a:lnTo>
                  <a:pt x="50" y="260"/>
                </a:lnTo>
                <a:lnTo>
                  <a:pt x="46" y="263"/>
                </a:lnTo>
                <a:lnTo>
                  <a:pt x="40" y="257"/>
                </a:lnTo>
                <a:lnTo>
                  <a:pt x="40" y="254"/>
                </a:lnTo>
                <a:lnTo>
                  <a:pt x="46" y="254"/>
                </a:lnTo>
                <a:lnTo>
                  <a:pt x="40" y="241"/>
                </a:lnTo>
                <a:lnTo>
                  <a:pt x="31" y="232"/>
                </a:lnTo>
                <a:lnTo>
                  <a:pt x="18" y="229"/>
                </a:lnTo>
                <a:lnTo>
                  <a:pt x="15" y="232"/>
                </a:lnTo>
                <a:lnTo>
                  <a:pt x="9" y="225"/>
                </a:lnTo>
                <a:lnTo>
                  <a:pt x="9" y="225"/>
                </a:lnTo>
                <a:lnTo>
                  <a:pt x="6" y="219"/>
                </a:lnTo>
                <a:lnTo>
                  <a:pt x="0" y="216"/>
                </a:lnTo>
                <a:lnTo>
                  <a:pt x="3" y="210"/>
                </a:lnTo>
                <a:lnTo>
                  <a:pt x="3" y="197"/>
                </a:lnTo>
                <a:lnTo>
                  <a:pt x="0" y="194"/>
                </a:lnTo>
                <a:lnTo>
                  <a:pt x="0" y="185"/>
                </a:lnTo>
                <a:lnTo>
                  <a:pt x="3" y="182"/>
                </a:lnTo>
                <a:lnTo>
                  <a:pt x="9" y="175"/>
                </a:lnTo>
                <a:lnTo>
                  <a:pt x="9" y="169"/>
                </a:lnTo>
                <a:lnTo>
                  <a:pt x="12" y="166"/>
                </a:lnTo>
                <a:lnTo>
                  <a:pt x="21" y="175"/>
                </a:lnTo>
                <a:lnTo>
                  <a:pt x="25" y="179"/>
                </a:lnTo>
                <a:lnTo>
                  <a:pt x="28" y="185"/>
                </a:lnTo>
                <a:lnTo>
                  <a:pt x="34" y="182"/>
                </a:lnTo>
                <a:lnTo>
                  <a:pt x="34" y="175"/>
                </a:lnTo>
                <a:lnTo>
                  <a:pt x="37" y="175"/>
                </a:lnTo>
                <a:lnTo>
                  <a:pt x="34" y="160"/>
                </a:lnTo>
                <a:lnTo>
                  <a:pt x="37" y="160"/>
                </a:lnTo>
                <a:lnTo>
                  <a:pt x="43" y="160"/>
                </a:lnTo>
                <a:lnTo>
                  <a:pt x="43" y="154"/>
                </a:lnTo>
                <a:lnTo>
                  <a:pt x="43" y="150"/>
                </a:lnTo>
                <a:lnTo>
                  <a:pt x="43" y="147"/>
                </a:lnTo>
                <a:lnTo>
                  <a:pt x="50" y="141"/>
                </a:lnTo>
                <a:lnTo>
                  <a:pt x="53" y="141"/>
                </a:lnTo>
                <a:lnTo>
                  <a:pt x="53" y="138"/>
                </a:lnTo>
                <a:lnTo>
                  <a:pt x="56" y="135"/>
                </a:lnTo>
                <a:lnTo>
                  <a:pt x="62" y="135"/>
                </a:lnTo>
                <a:lnTo>
                  <a:pt x="62" y="132"/>
                </a:lnTo>
                <a:lnTo>
                  <a:pt x="59" y="128"/>
                </a:lnTo>
                <a:lnTo>
                  <a:pt x="62" y="125"/>
                </a:lnTo>
                <a:lnTo>
                  <a:pt x="68" y="128"/>
                </a:lnTo>
                <a:lnTo>
                  <a:pt x="71" y="132"/>
                </a:lnTo>
                <a:lnTo>
                  <a:pt x="71" y="135"/>
                </a:lnTo>
                <a:lnTo>
                  <a:pt x="68" y="138"/>
                </a:lnTo>
                <a:lnTo>
                  <a:pt x="71" y="138"/>
                </a:lnTo>
                <a:lnTo>
                  <a:pt x="75" y="138"/>
                </a:lnTo>
                <a:lnTo>
                  <a:pt x="75" y="135"/>
                </a:lnTo>
                <a:lnTo>
                  <a:pt x="78" y="132"/>
                </a:lnTo>
                <a:lnTo>
                  <a:pt x="78" y="135"/>
                </a:lnTo>
                <a:lnTo>
                  <a:pt x="81" y="132"/>
                </a:lnTo>
                <a:lnTo>
                  <a:pt x="81" y="132"/>
                </a:lnTo>
                <a:lnTo>
                  <a:pt x="84" y="132"/>
                </a:lnTo>
                <a:lnTo>
                  <a:pt x="90" y="128"/>
                </a:lnTo>
                <a:lnTo>
                  <a:pt x="93" y="128"/>
                </a:lnTo>
                <a:lnTo>
                  <a:pt x="93" y="132"/>
                </a:lnTo>
                <a:lnTo>
                  <a:pt x="100" y="135"/>
                </a:lnTo>
                <a:lnTo>
                  <a:pt x="106" y="135"/>
                </a:lnTo>
                <a:lnTo>
                  <a:pt x="109" y="135"/>
                </a:lnTo>
                <a:lnTo>
                  <a:pt x="112" y="138"/>
                </a:lnTo>
                <a:lnTo>
                  <a:pt x="112" y="138"/>
                </a:lnTo>
                <a:lnTo>
                  <a:pt x="118" y="141"/>
                </a:lnTo>
                <a:lnTo>
                  <a:pt x="121" y="141"/>
                </a:lnTo>
                <a:lnTo>
                  <a:pt x="125" y="144"/>
                </a:lnTo>
                <a:lnTo>
                  <a:pt x="131" y="150"/>
                </a:lnTo>
                <a:lnTo>
                  <a:pt x="134" y="150"/>
                </a:lnTo>
                <a:lnTo>
                  <a:pt x="134" y="154"/>
                </a:lnTo>
                <a:lnTo>
                  <a:pt x="134" y="157"/>
                </a:lnTo>
                <a:lnTo>
                  <a:pt x="137" y="157"/>
                </a:lnTo>
                <a:lnTo>
                  <a:pt x="140" y="154"/>
                </a:lnTo>
                <a:lnTo>
                  <a:pt x="140" y="150"/>
                </a:lnTo>
                <a:lnTo>
                  <a:pt x="143" y="147"/>
                </a:lnTo>
                <a:lnTo>
                  <a:pt x="146" y="150"/>
                </a:lnTo>
                <a:lnTo>
                  <a:pt x="153" y="150"/>
                </a:lnTo>
                <a:lnTo>
                  <a:pt x="156" y="157"/>
                </a:lnTo>
                <a:lnTo>
                  <a:pt x="159" y="157"/>
                </a:lnTo>
                <a:lnTo>
                  <a:pt x="165" y="154"/>
                </a:lnTo>
                <a:lnTo>
                  <a:pt x="165" y="147"/>
                </a:lnTo>
                <a:lnTo>
                  <a:pt x="168" y="144"/>
                </a:lnTo>
                <a:lnTo>
                  <a:pt x="168" y="141"/>
                </a:lnTo>
                <a:lnTo>
                  <a:pt x="171" y="141"/>
                </a:lnTo>
                <a:lnTo>
                  <a:pt x="175" y="144"/>
                </a:lnTo>
                <a:lnTo>
                  <a:pt x="175" y="141"/>
                </a:lnTo>
                <a:lnTo>
                  <a:pt x="181" y="141"/>
                </a:lnTo>
                <a:lnTo>
                  <a:pt x="187" y="144"/>
                </a:lnTo>
                <a:lnTo>
                  <a:pt x="187" y="147"/>
                </a:lnTo>
                <a:lnTo>
                  <a:pt x="193" y="147"/>
                </a:lnTo>
                <a:lnTo>
                  <a:pt x="193" y="141"/>
                </a:lnTo>
                <a:lnTo>
                  <a:pt x="196" y="141"/>
                </a:lnTo>
                <a:lnTo>
                  <a:pt x="200" y="141"/>
                </a:lnTo>
                <a:lnTo>
                  <a:pt x="203" y="138"/>
                </a:lnTo>
                <a:lnTo>
                  <a:pt x="206" y="141"/>
                </a:lnTo>
                <a:lnTo>
                  <a:pt x="209" y="141"/>
                </a:lnTo>
                <a:lnTo>
                  <a:pt x="209" y="144"/>
                </a:lnTo>
                <a:lnTo>
                  <a:pt x="206" y="147"/>
                </a:lnTo>
                <a:lnTo>
                  <a:pt x="209" y="150"/>
                </a:lnTo>
                <a:lnTo>
                  <a:pt x="212" y="154"/>
                </a:lnTo>
                <a:lnTo>
                  <a:pt x="215" y="150"/>
                </a:lnTo>
                <a:lnTo>
                  <a:pt x="215" y="154"/>
                </a:lnTo>
                <a:lnTo>
                  <a:pt x="221" y="154"/>
                </a:lnTo>
                <a:lnTo>
                  <a:pt x="231" y="157"/>
                </a:lnTo>
                <a:lnTo>
                  <a:pt x="234" y="157"/>
                </a:lnTo>
                <a:lnTo>
                  <a:pt x="237" y="150"/>
                </a:lnTo>
                <a:lnTo>
                  <a:pt x="237" y="147"/>
                </a:lnTo>
                <a:lnTo>
                  <a:pt x="237" y="144"/>
                </a:lnTo>
                <a:lnTo>
                  <a:pt x="243" y="150"/>
                </a:lnTo>
                <a:lnTo>
                  <a:pt x="250" y="150"/>
                </a:lnTo>
                <a:lnTo>
                  <a:pt x="256" y="147"/>
                </a:lnTo>
                <a:lnTo>
                  <a:pt x="259" y="144"/>
                </a:lnTo>
                <a:lnTo>
                  <a:pt x="256" y="128"/>
                </a:lnTo>
                <a:lnTo>
                  <a:pt x="256" y="128"/>
                </a:lnTo>
                <a:lnTo>
                  <a:pt x="250" y="128"/>
                </a:lnTo>
                <a:lnTo>
                  <a:pt x="246" y="125"/>
                </a:lnTo>
                <a:lnTo>
                  <a:pt x="246" y="122"/>
                </a:lnTo>
                <a:lnTo>
                  <a:pt x="240" y="122"/>
                </a:lnTo>
                <a:lnTo>
                  <a:pt x="237" y="119"/>
                </a:lnTo>
                <a:lnTo>
                  <a:pt x="234" y="119"/>
                </a:lnTo>
                <a:lnTo>
                  <a:pt x="234" y="116"/>
                </a:lnTo>
                <a:lnTo>
                  <a:pt x="231" y="113"/>
                </a:lnTo>
                <a:lnTo>
                  <a:pt x="231" y="113"/>
                </a:lnTo>
                <a:lnTo>
                  <a:pt x="237" y="113"/>
                </a:lnTo>
                <a:lnTo>
                  <a:pt x="237" y="107"/>
                </a:lnTo>
                <a:lnTo>
                  <a:pt x="240" y="103"/>
                </a:lnTo>
                <a:lnTo>
                  <a:pt x="237" y="100"/>
                </a:lnTo>
                <a:lnTo>
                  <a:pt x="237" y="100"/>
                </a:lnTo>
                <a:lnTo>
                  <a:pt x="234" y="94"/>
                </a:lnTo>
                <a:lnTo>
                  <a:pt x="240" y="88"/>
                </a:lnTo>
                <a:lnTo>
                  <a:pt x="243" y="85"/>
                </a:lnTo>
                <a:lnTo>
                  <a:pt x="253" y="85"/>
                </a:lnTo>
                <a:lnTo>
                  <a:pt x="256" y="85"/>
                </a:lnTo>
                <a:lnTo>
                  <a:pt x="259" y="82"/>
                </a:lnTo>
                <a:lnTo>
                  <a:pt x="259" y="78"/>
                </a:lnTo>
                <a:lnTo>
                  <a:pt x="253" y="78"/>
                </a:lnTo>
                <a:lnTo>
                  <a:pt x="250" y="75"/>
                </a:lnTo>
                <a:lnTo>
                  <a:pt x="250" y="75"/>
                </a:lnTo>
                <a:lnTo>
                  <a:pt x="246" y="75"/>
                </a:lnTo>
                <a:lnTo>
                  <a:pt x="240" y="75"/>
                </a:lnTo>
                <a:lnTo>
                  <a:pt x="237" y="75"/>
                </a:lnTo>
                <a:lnTo>
                  <a:pt x="237" y="72"/>
                </a:lnTo>
                <a:lnTo>
                  <a:pt x="237" y="72"/>
                </a:lnTo>
                <a:lnTo>
                  <a:pt x="243" y="69"/>
                </a:lnTo>
                <a:lnTo>
                  <a:pt x="240" y="66"/>
                </a:lnTo>
                <a:lnTo>
                  <a:pt x="237" y="66"/>
                </a:lnTo>
                <a:lnTo>
                  <a:pt x="234" y="66"/>
                </a:lnTo>
                <a:lnTo>
                  <a:pt x="234" y="63"/>
                </a:lnTo>
                <a:lnTo>
                  <a:pt x="234" y="60"/>
                </a:lnTo>
                <a:lnTo>
                  <a:pt x="234" y="57"/>
                </a:lnTo>
                <a:lnTo>
                  <a:pt x="237" y="57"/>
                </a:lnTo>
                <a:lnTo>
                  <a:pt x="240" y="57"/>
                </a:lnTo>
                <a:lnTo>
                  <a:pt x="243" y="57"/>
                </a:lnTo>
                <a:lnTo>
                  <a:pt x="243" y="57"/>
                </a:lnTo>
                <a:lnTo>
                  <a:pt x="250" y="57"/>
                </a:lnTo>
                <a:lnTo>
                  <a:pt x="253" y="60"/>
                </a:lnTo>
                <a:lnTo>
                  <a:pt x="253" y="57"/>
                </a:lnTo>
                <a:lnTo>
                  <a:pt x="253" y="57"/>
                </a:lnTo>
                <a:lnTo>
                  <a:pt x="259" y="53"/>
                </a:lnTo>
                <a:lnTo>
                  <a:pt x="262" y="53"/>
                </a:lnTo>
                <a:lnTo>
                  <a:pt x="262" y="57"/>
                </a:lnTo>
                <a:lnTo>
                  <a:pt x="265" y="53"/>
                </a:lnTo>
                <a:lnTo>
                  <a:pt x="265" y="50"/>
                </a:lnTo>
                <a:lnTo>
                  <a:pt x="271" y="50"/>
                </a:lnTo>
                <a:lnTo>
                  <a:pt x="278" y="50"/>
                </a:lnTo>
                <a:lnTo>
                  <a:pt x="281" y="47"/>
                </a:lnTo>
                <a:lnTo>
                  <a:pt x="287" y="47"/>
                </a:lnTo>
                <a:lnTo>
                  <a:pt x="287" y="44"/>
                </a:lnTo>
                <a:lnTo>
                  <a:pt x="293" y="41"/>
                </a:lnTo>
                <a:lnTo>
                  <a:pt x="300" y="41"/>
                </a:lnTo>
                <a:lnTo>
                  <a:pt x="303" y="38"/>
                </a:lnTo>
                <a:lnTo>
                  <a:pt x="303" y="38"/>
                </a:lnTo>
                <a:lnTo>
                  <a:pt x="306" y="41"/>
                </a:lnTo>
                <a:lnTo>
                  <a:pt x="309" y="38"/>
                </a:lnTo>
                <a:lnTo>
                  <a:pt x="309" y="35"/>
                </a:lnTo>
                <a:lnTo>
                  <a:pt x="309" y="32"/>
                </a:lnTo>
                <a:lnTo>
                  <a:pt x="315" y="32"/>
                </a:lnTo>
                <a:lnTo>
                  <a:pt x="315" y="28"/>
                </a:lnTo>
                <a:lnTo>
                  <a:pt x="318" y="28"/>
                </a:lnTo>
                <a:lnTo>
                  <a:pt x="321" y="28"/>
                </a:lnTo>
                <a:lnTo>
                  <a:pt x="321" y="32"/>
                </a:lnTo>
                <a:lnTo>
                  <a:pt x="328" y="28"/>
                </a:lnTo>
                <a:lnTo>
                  <a:pt x="331" y="25"/>
                </a:lnTo>
                <a:lnTo>
                  <a:pt x="340" y="22"/>
                </a:lnTo>
                <a:lnTo>
                  <a:pt x="340" y="22"/>
                </a:lnTo>
                <a:lnTo>
                  <a:pt x="343" y="19"/>
                </a:lnTo>
                <a:lnTo>
                  <a:pt x="346" y="19"/>
                </a:lnTo>
                <a:lnTo>
                  <a:pt x="350" y="16"/>
                </a:lnTo>
                <a:lnTo>
                  <a:pt x="353" y="16"/>
                </a:lnTo>
                <a:lnTo>
                  <a:pt x="359" y="16"/>
                </a:lnTo>
                <a:lnTo>
                  <a:pt x="359" y="13"/>
                </a:lnTo>
                <a:lnTo>
                  <a:pt x="356" y="10"/>
                </a:lnTo>
                <a:lnTo>
                  <a:pt x="359" y="6"/>
                </a:lnTo>
                <a:lnTo>
                  <a:pt x="362" y="6"/>
                </a:lnTo>
                <a:lnTo>
                  <a:pt x="365" y="3"/>
                </a:lnTo>
                <a:lnTo>
                  <a:pt x="368" y="0"/>
                </a:lnTo>
                <a:lnTo>
                  <a:pt x="371" y="3"/>
                </a:lnTo>
                <a:lnTo>
                  <a:pt x="375" y="0"/>
                </a:lnTo>
                <a:lnTo>
                  <a:pt x="378" y="3"/>
                </a:lnTo>
                <a:lnTo>
                  <a:pt x="384" y="3"/>
                </a:lnTo>
                <a:lnTo>
                  <a:pt x="387" y="6"/>
                </a:lnTo>
                <a:lnTo>
                  <a:pt x="393" y="6"/>
                </a:lnTo>
                <a:lnTo>
                  <a:pt x="396" y="3"/>
                </a:lnTo>
                <a:lnTo>
                  <a:pt x="403" y="3"/>
                </a:lnTo>
                <a:lnTo>
                  <a:pt x="403" y="10"/>
                </a:lnTo>
                <a:lnTo>
                  <a:pt x="406" y="10"/>
                </a:lnTo>
                <a:lnTo>
                  <a:pt x="406" y="13"/>
                </a:lnTo>
                <a:lnTo>
                  <a:pt x="409" y="19"/>
                </a:lnTo>
                <a:lnTo>
                  <a:pt x="412" y="19"/>
                </a:lnTo>
                <a:lnTo>
                  <a:pt x="412" y="22"/>
                </a:lnTo>
                <a:lnTo>
                  <a:pt x="412" y="25"/>
                </a:lnTo>
                <a:lnTo>
                  <a:pt x="412" y="28"/>
                </a:lnTo>
                <a:lnTo>
                  <a:pt x="412" y="28"/>
                </a:lnTo>
                <a:lnTo>
                  <a:pt x="409" y="32"/>
                </a:lnTo>
                <a:lnTo>
                  <a:pt x="409" y="35"/>
                </a:lnTo>
                <a:lnTo>
                  <a:pt x="412" y="35"/>
                </a:lnTo>
                <a:lnTo>
                  <a:pt x="415" y="35"/>
                </a:lnTo>
                <a:lnTo>
                  <a:pt x="418" y="35"/>
                </a:lnTo>
                <a:lnTo>
                  <a:pt x="421" y="35"/>
                </a:lnTo>
                <a:lnTo>
                  <a:pt x="421" y="32"/>
                </a:lnTo>
                <a:lnTo>
                  <a:pt x="425" y="32"/>
                </a:lnTo>
                <a:lnTo>
                  <a:pt x="428" y="35"/>
                </a:lnTo>
                <a:lnTo>
                  <a:pt x="428" y="35"/>
                </a:lnTo>
                <a:lnTo>
                  <a:pt x="428" y="32"/>
                </a:lnTo>
                <a:lnTo>
                  <a:pt x="428" y="28"/>
                </a:lnTo>
                <a:lnTo>
                  <a:pt x="428" y="25"/>
                </a:lnTo>
                <a:lnTo>
                  <a:pt x="437" y="32"/>
                </a:lnTo>
                <a:lnTo>
                  <a:pt x="437" y="38"/>
                </a:lnTo>
                <a:lnTo>
                  <a:pt x="440" y="44"/>
                </a:lnTo>
                <a:lnTo>
                  <a:pt x="440" y="41"/>
                </a:lnTo>
                <a:lnTo>
                  <a:pt x="443" y="41"/>
                </a:lnTo>
                <a:lnTo>
                  <a:pt x="443" y="38"/>
                </a:lnTo>
                <a:lnTo>
                  <a:pt x="440" y="35"/>
                </a:lnTo>
                <a:lnTo>
                  <a:pt x="446" y="35"/>
                </a:lnTo>
                <a:lnTo>
                  <a:pt x="453" y="38"/>
                </a:lnTo>
                <a:lnTo>
                  <a:pt x="456" y="38"/>
                </a:lnTo>
                <a:lnTo>
                  <a:pt x="459" y="38"/>
                </a:lnTo>
                <a:lnTo>
                  <a:pt x="459" y="38"/>
                </a:lnTo>
                <a:lnTo>
                  <a:pt x="459" y="41"/>
                </a:lnTo>
                <a:lnTo>
                  <a:pt x="456" y="44"/>
                </a:lnTo>
                <a:lnTo>
                  <a:pt x="456" y="47"/>
                </a:lnTo>
                <a:lnTo>
                  <a:pt x="459" y="53"/>
                </a:lnTo>
                <a:lnTo>
                  <a:pt x="462" y="53"/>
                </a:lnTo>
                <a:lnTo>
                  <a:pt x="465" y="50"/>
                </a:lnTo>
                <a:lnTo>
                  <a:pt x="468" y="47"/>
                </a:lnTo>
                <a:lnTo>
                  <a:pt x="478" y="50"/>
                </a:lnTo>
                <a:lnTo>
                  <a:pt x="478" y="50"/>
                </a:lnTo>
                <a:lnTo>
                  <a:pt x="481" y="50"/>
                </a:lnTo>
                <a:lnTo>
                  <a:pt x="481" y="44"/>
                </a:lnTo>
                <a:lnTo>
                  <a:pt x="484" y="44"/>
                </a:lnTo>
                <a:lnTo>
                  <a:pt x="490" y="44"/>
                </a:lnTo>
                <a:lnTo>
                  <a:pt x="493" y="41"/>
                </a:lnTo>
                <a:lnTo>
                  <a:pt x="493" y="38"/>
                </a:lnTo>
                <a:lnTo>
                  <a:pt x="497" y="35"/>
                </a:lnTo>
                <a:lnTo>
                  <a:pt x="497" y="32"/>
                </a:lnTo>
                <a:lnTo>
                  <a:pt x="503" y="28"/>
                </a:lnTo>
                <a:lnTo>
                  <a:pt x="506" y="25"/>
                </a:lnTo>
                <a:lnTo>
                  <a:pt x="509" y="22"/>
                </a:lnTo>
                <a:lnTo>
                  <a:pt x="512" y="22"/>
                </a:lnTo>
                <a:lnTo>
                  <a:pt x="518" y="19"/>
                </a:lnTo>
                <a:lnTo>
                  <a:pt x="518" y="22"/>
                </a:lnTo>
                <a:lnTo>
                  <a:pt x="518" y="25"/>
                </a:lnTo>
                <a:lnTo>
                  <a:pt x="515" y="28"/>
                </a:lnTo>
                <a:lnTo>
                  <a:pt x="512" y="28"/>
                </a:lnTo>
                <a:lnTo>
                  <a:pt x="515" y="32"/>
                </a:lnTo>
                <a:lnTo>
                  <a:pt x="550" y="60"/>
                </a:lnTo>
                <a:lnTo>
                  <a:pt x="600" y="119"/>
                </a:lnTo>
                <a:lnTo>
                  <a:pt x="603" y="119"/>
                </a:lnTo>
                <a:lnTo>
                  <a:pt x="606" y="116"/>
                </a:lnTo>
                <a:lnTo>
                  <a:pt x="606" y="113"/>
                </a:lnTo>
                <a:lnTo>
                  <a:pt x="606" y="113"/>
                </a:lnTo>
                <a:lnTo>
                  <a:pt x="606" y="110"/>
                </a:lnTo>
                <a:lnTo>
                  <a:pt x="609" y="107"/>
                </a:lnTo>
                <a:lnTo>
                  <a:pt x="615" y="110"/>
                </a:lnTo>
                <a:lnTo>
                  <a:pt x="615" y="113"/>
                </a:lnTo>
                <a:lnTo>
                  <a:pt x="615" y="116"/>
                </a:lnTo>
                <a:lnTo>
                  <a:pt x="618" y="116"/>
                </a:lnTo>
                <a:lnTo>
                  <a:pt x="622" y="119"/>
                </a:lnTo>
                <a:lnTo>
                  <a:pt x="625" y="119"/>
                </a:lnTo>
                <a:lnTo>
                  <a:pt x="628" y="119"/>
                </a:lnTo>
                <a:lnTo>
                  <a:pt x="631" y="116"/>
                </a:lnTo>
                <a:lnTo>
                  <a:pt x="637" y="119"/>
                </a:lnTo>
                <a:lnTo>
                  <a:pt x="640" y="119"/>
                </a:lnTo>
                <a:lnTo>
                  <a:pt x="643" y="119"/>
                </a:lnTo>
                <a:lnTo>
                  <a:pt x="647" y="116"/>
                </a:lnTo>
                <a:lnTo>
                  <a:pt x="650" y="116"/>
                </a:lnTo>
                <a:lnTo>
                  <a:pt x="647" y="113"/>
                </a:lnTo>
                <a:lnTo>
                  <a:pt x="647" y="113"/>
                </a:lnTo>
                <a:lnTo>
                  <a:pt x="656" y="110"/>
                </a:lnTo>
                <a:lnTo>
                  <a:pt x="662" y="110"/>
                </a:lnTo>
                <a:lnTo>
                  <a:pt x="668" y="113"/>
                </a:lnTo>
                <a:lnTo>
                  <a:pt x="675" y="116"/>
                </a:lnTo>
                <a:lnTo>
                  <a:pt x="678" y="122"/>
                </a:lnTo>
                <a:lnTo>
                  <a:pt x="678" y="125"/>
                </a:lnTo>
                <a:lnTo>
                  <a:pt x="681" y="125"/>
                </a:lnTo>
                <a:lnTo>
                  <a:pt x="684" y="128"/>
                </a:lnTo>
                <a:lnTo>
                  <a:pt x="690" y="132"/>
                </a:lnTo>
                <a:lnTo>
                  <a:pt x="690" y="132"/>
                </a:lnTo>
                <a:lnTo>
                  <a:pt x="693" y="132"/>
                </a:lnTo>
                <a:lnTo>
                  <a:pt x="693" y="135"/>
                </a:lnTo>
                <a:lnTo>
                  <a:pt x="693" y="138"/>
                </a:lnTo>
                <a:lnTo>
                  <a:pt x="693" y="141"/>
                </a:lnTo>
                <a:lnTo>
                  <a:pt x="693" y="141"/>
                </a:lnTo>
                <a:lnTo>
                  <a:pt x="697" y="144"/>
                </a:lnTo>
                <a:lnTo>
                  <a:pt x="697" y="144"/>
                </a:lnTo>
                <a:lnTo>
                  <a:pt x="700" y="144"/>
                </a:lnTo>
                <a:lnTo>
                  <a:pt x="703" y="147"/>
                </a:lnTo>
                <a:lnTo>
                  <a:pt x="706" y="147"/>
                </a:lnTo>
                <a:lnTo>
                  <a:pt x="706" y="147"/>
                </a:lnTo>
                <a:lnTo>
                  <a:pt x="709" y="144"/>
                </a:lnTo>
                <a:lnTo>
                  <a:pt x="718" y="144"/>
                </a:lnTo>
                <a:lnTo>
                  <a:pt x="725" y="144"/>
                </a:lnTo>
                <a:lnTo>
                  <a:pt x="725" y="138"/>
                </a:lnTo>
                <a:lnTo>
                  <a:pt x="728" y="138"/>
                </a:lnTo>
                <a:lnTo>
                  <a:pt x="731" y="138"/>
                </a:lnTo>
                <a:lnTo>
                  <a:pt x="731" y="144"/>
                </a:lnTo>
                <a:lnTo>
                  <a:pt x="731" y="147"/>
                </a:lnTo>
                <a:lnTo>
                  <a:pt x="734" y="147"/>
                </a:lnTo>
                <a:lnTo>
                  <a:pt x="737" y="150"/>
                </a:lnTo>
                <a:lnTo>
                  <a:pt x="743" y="154"/>
                </a:lnTo>
                <a:lnTo>
                  <a:pt x="743" y="154"/>
                </a:lnTo>
                <a:lnTo>
                  <a:pt x="740" y="160"/>
                </a:lnTo>
                <a:lnTo>
                  <a:pt x="737" y="160"/>
                </a:lnTo>
                <a:lnTo>
                  <a:pt x="734" y="166"/>
                </a:lnTo>
                <a:lnTo>
                  <a:pt x="734" y="169"/>
                </a:lnTo>
                <a:lnTo>
                  <a:pt x="734" y="169"/>
                </a:lnTo>
                <a:lnTo>
                  <a:pt x="731" y="175"/>
                </a:lnTo>
                <a:lnTo>
                  <a:pt x="725" y="179"/>
                </a:lnTo>
                <a:lnTo>
                  <a:pt x="722" y="179"/>
                </a:lnTo>
                <a:lnTo>
                  <a:pt x="722" y="185"/>
                </a:lnTo>
                <a:lnTo>
                  <a:pt x="722" y="191"/>
                </a:lnTo>
                <a:lnTo>
                  <a:pt x="725" y="200"/>
                </a:lnTo>
                <a:lnTo>
                  <a:pt x="731" y="207"/>
                </a:lnTo>
                <a:lnTo>
                  <a:pt x="728" y="207"/>
                </a:lnTo>
                <a:lnTo>
                  <a:pt x="725" y="213"/>
                </a:lnTo>
                <a:lnTo>
                  <a:pt x="718" y="216"/>
                </a:lnTo>
                <a:lnTo>
                  <a:pt x="715" y="219"/>
                </a:lnTo>
                <a:lnTo>
                  <a:pt x="712" y="219"/>
                </a:lnTo>
                <a:lnTo>
                  <a:pt x="712" y="219"/>
                </a:lnTo>
                <a:lnTo>
                  <a:pt x="709" y="216"/>
                </a:lnTo>
                <a:lnTo>
                  <a:pt x="706" y="216"/>
                </a:lnTo>
                <a:lnTo>
                  <a:pt x="700" y="219"/>
                </a:lnTo>
                <a:lnTo>
                  <a:pt x="693" y="219"/>
                </a:lnTo>
                <a:lnTo>
                  <a:pt x="687" y="216"/>
                </a:lnTo>
                <a:lnTo>
                  <a:pt x="681" y="216"/>
                </a:lnTo>
                <a:lnTo>
                  <a:pt x="681" y="216"/>
                </a:lnTo>
                <a:lnTo>
                  <a:pt x="678" y="225"/>
                </a:lnTo>
                <a:lnTo>
                  <a:pt x="678" y="229"/>
                </a:lnTo>
                <a:lnTo>
                  <a:pt x="675" y="235"/>
                </a:lnTo>
                <a:lnTo>
                  <a:pt x="675" y="244"/>
                </a:lnTo>
                <a:lnTo>
                  <a:pt x="675" y="254"/>
                </a:lnTo>
                <a:lnTo>
                  <a:pt x="675" y="257"/>
                </a:lnTo>
                <a:lnTo>
                  <a:pt x="675" y="260"/>
                </a:lnTo>
                <a:lnTo>
                  <a:pt x="681" y="260"/>
                </a:lnTo>
                <a:lnTo>
                  <a:pt x="678" y="266"/>
                </a:lnTo>
                <a:lnTo>
                  <a:pt x="678" y="269"/>
                </a:lnTo>
                <a:lnTo>
                  <a:pt x="675" y="269"/>
                </a:lnTo>
                <a:lnTo>
                  <a:pt x="675" y="269"/>
                </a:lnTo>
                <a:lnTo>
                  <a:pt x="672" y="269"/>
                </a:lnTo>
                <a:lnTo>
                  <a:pt x="668" y="266"/>
                </a:lnTo>
                <a:lnTo>
                  <a:pt x="665" y="269"/>
                </a:lnTo>
                <a:lnTo>
                  <a:pt x="659" y="269"/>
                </a:lnTo>
                <a:lnTo>
                  <a:pt x="653" y="272"/>
                </a:lnTo>
                <a:lnTo>
                  <a:pt x="647" y="272"/>
                </a:lnTo>
                <a:lnTo>
                  <a:pt x="643" y="272"/>
                </a:lnTo>
                <a:lnTo>
                  <a:pt x="640" y="272"/>
                </a:lnTo>
                <a:lnTo>
                  <a:pt x="637" y="276"/>
                </a:lnTo>
                <a:lnTo>
                  <a:pt x="634" y="279"/>
                </a:lnTo>
                <a:lnTo>
                  <a:pt x="634" y="279"/>
                </a:lnTo>
                <a:lnTo>
                  <a:pt x="637" y="282"/>
                </a:lnTo>
                <a:lnTo>
                  <a:pt x="643" y="282"/>
                </a:lnTo>
                <a:lnTo>
                  <a:pt x="647" y="282"/>
                </a:lnTo>
                <a:lnTo>
                  <a:pt x="647" y="285"/>
                </a:lnTo>
                <a:lnTo>
                  <a:pt x="643" y="288"/>
                </a:lnTo>
                <a:lnTo>
                  <a:pt x="647" y="294"/>
                </a:lnTo>
                <a:lnTo>
                  <a:pt x="647" y="297"/>
                </a:lnTo>
                <a:lnTo>
                  <a:pt x="650" y="297"/>
                </a:lnTo>
                <a:lnTo>
                  <a:pt x="650" y="304"/>
                </a:lnTo>
                <a:lnTo>
                  <a:pt x="653" y="310"/>
                </a:lnTo>
                <a:lnTo>
                  <a:pt x="653" y="313"/>
                </a:lnTo>
                <a:lnTo>
                  <a:pt x="659" y="316"/>
                </a:lnTo>
                <a:lnTo>
                  <a:pt x="659" y="322"/>
                </a:lnTo>
                <a:lnTo>
                  <a:pt x="656" y="326"/>
                </a:lnTo>
                <a:lnTo>
                  <a:pt x="656" y="329"/>
                </a:lnTo>
                <a:lnTo>
                  <a:pt x="659" y="332"/>
                </a:lnTo>
                <a:lnTo>
                  <a:pt x="656" y="335"/>
                </a:lnTo>
                <a:lnTo>
                  <a:pt x="656" y="335"/>
                </a:lnTo>
                <a:lnTo>
                  <a:pt x="653" y="338"/>
                </a:lnTo>
                <a:lnTo>
                  <a:pt x="653" y="344"/>
                </a:lnTo>
                <a:lnTo>
                  <a:pt x="650" y="344"/>
                </a:lnTo>
                <a:lnTo>
                  <a:pt x="640" y="344"/>
                </a:lnTo>
                <a:lnTo>
                  <a:pt x="631" y="335"/>
                </a:lnTo>
                <a:lnTo>
                  <a:pt x="628" y="335"/>
                </a:lnTo>
                <a:lnTo>
                  <a:pt x="622" y="332"/>
                </a:lnTo>
                <a:lnTo>
                  <a:pt x="609" y="332"/>
                </a:lnTo>
                <a:lnTo>
                  <a:pt x="603" y="332"/>
                </a:lnTo>
                <a:lnTo>
                  <a:pt x="593" y="329"/>
                </a:lnTo>
                <a:lnTo>
                  <a:pt x="584" y="332"/>
                </a:lnTo>
                <a:lnTo>
                  <a:pt x="578" y="332"/>
                </a:lnTo>
                <a:lnTo>
                  <a:pt x="575" y="332"/>
                </a:lnTo>
                <a:lnTo>
                  <a:pt x="572" y="335"/>
                </a:lnTo>
                <a:lnTo>
                  <a:pt x="565" y="335"/>
                </a:lnTo>
                <a:lnTo>
                  <a:pt x="556" y="335"/>
                </a:lnTo>
                <a:lnTo>
                  <a:pt x="547" y="332"/>
                </a:lnTo>
                <a:lnTo>
                  <a:pt x="543" y="332"/>
                </a:lnTo>
                <a:lnTo>
                  <a:pt x="537" y="332"/>
                </a:lnTo>
                <a:lnTo>
                  <a:pt x="534" y="332"/>
                </a:lnTo>
                <a:lnTo>
                  <a:pt x="531" y="332"/>
                </a:lnTo>
                <a:lnTo>
                  <a:pt x="528" y="332"/>
                </a:lnTo>
                <a:lnTo>
                  <a:pt x="525" y="332"/>
                </a:lnTo>
                <a:lnTo>
                  <a:pt x="525" y="335"/>
                </a:lnTo>
                <a:lnTo>
                  <a:pt x="528" y="341"/>
                </a:lnTo>
                <a:lnTo>
                  <a:pt x="528" y="344"/>
                </a:lnTo>
                <a:lnTo>
                  <a:pt x="522" y="347"/>
                </a:lnTo>
                <a:lnTo>
                  <a:pt x="509" y="347"/>
                </a:lnTo>
                <a:lnTo>
                  <a:pt x="493" y="344"/>
                </a:lnTo>
                <a:lnTo>
                  <a:pt x="490" y="344"/>
                </a:lnTo>
                <a:lnTo>
                  <a:pt x="484" y="344"/>
                </a:lnTo>
                <a:lnTo>
                  <a:pt x="481" y="347"/>
                </a:lnTo>
                <a:lnTo>
                  <a:pt x="481" y="351"/>
                </a:lnTo>
                <a:lnTo>
                  <a:pt x="478" y="351"/>
                </a:lnTo>
                <a:lnTo>
                  <a:pt x="478" y="354"/>
                </a:lnTo>
                <a:lnTo>
                  <a:pt x="475" y="354"/>
                </a:lnTo>
                <a:lnTo>
                  <a:pt x="471" y="360"/>
                </a:lnTo>
                <a:lnTo>
                  <a:pt x="468" y="360"/>
                </a:lnTo>
                <a:lnTo>
                  <a:pt x="459" y="369"/>
                </a:lnTo>
                <a:lnTo>
                  <a:pt x="459" y="376"/>
                </a:lnTo>
                <a:lnTo>
                  <a:pt x="456" y="379"/>
                </a:lnTo>
                <a:lnTo>
                  <a:pt x="453" y="385"/>
                </a:lnTo>
                <a:lnTo>
                  <a:pt x="443" y="391"/>
                </a:lnTo>
                <a:lnTo>
                  <a:pt x="440" y="391"/>
                </a:lnTo>
                <a:lnTo>
                  <a:pt x="434" y="385"/>
                </a:lnTo>
                <a:lnTo>
                  <a:pt x="425" y="385"/>
                </a:lnTo>
                <a:lnTo>
                  <a:pt x="421" y="385"/>
                </a:lnTo>
                <a:lnTo>
                  <a:pt x="412" y="391"/>
                </a:lnTo>
                <a:lnTo>
                  <a:pt x="406" y="391"/>
                </a:lnTo>
                <a:lnTo>
                  <a:pt x="400" y="369"/>
                </a:lnTo>
                <a:lnTo>
                  <a:pt x="384" y="366"/>
                </a:lnTo>
                <a:lnTo>
                  <a:pt x="384" y="338"/>
                </a:lnTo>
                <a:lnTo>
                  <a:pt x="378" y="341"/>
                </a:lnTo>
                <a:lnTo>
                  <a:pt x="371" y="329"/>
                </a:lnTo>
                <a:lnTo>
                  <a:pt x="362" y="322"/>
                </a:lnTo>
                <a:lnTo>
                  <a:pt x="331" y="322"/>
                </a:lnTo>
                <a:lnTo>
                  <a:pt x="303" y="326"/>
                </a:lnTo>
                <a:lnTo>
                  <a:pt x="284" y="313"/>
                </a:lnTo>
                <a:lnTo>
                  <a:pt x="271" y="310"/>
                </a:lnTo>
                <a:lnTo>
                  <a:pt x="240" y="288"/>
                </a:lnTo>
                <a:lnTo>
                  <a:pt x="190" y="297"/>
                </a:lnTo>
                <a:lnTo>
                  <a:pt x="206" y="391"/>
                </a:lnTo>
                <a:lnTo>
                  <a:pt x="203" y="391"/>
                </a:lnTo>
                <a:lnTo>
                  <a:pt x="196" y="394"/>
                </a:lnTo>
                <a:lnTo>
                  <a:pt x="181" y="379"/>
                </a:lnTo>
                <a:lnTo>
                  <a:pt x="168" y="369"/>
                </a:lnTo>
                <a:lnTo>
                  <a:pt x="156" y="369"/>
                </a:lnTo>
                <a:lnTo>
                  <a:pt x="146" y="373"/>
                </a:lnTo>
                <a:lnTo>
                  <a:pt x="134" y="382"/>
                </a:lnTo>
                <a:lnTo>
                  <a:pt x="134" y="379"/>
                </a:lnTo>
                <a:lnTo>
                  <a:pt x="131" y="373"/>
                </a:lnTo>
                <a:lnTo>
                  <a:pt x="134" y="366"/>
                </a:lnTo>
                <a:lnTo>
                  <a:pt x="134" y="363"/>
                </a:lnTo>
                <a:lnTo>
                  <a:pt x="134" y="360"/>
                </a:lnTo>
                <a:lnTo>
                  <a:pt x="137" y="360"/>
                </a:lnTo>
                <a:lnTo>
                  <a:pt x="134" y="357"/>
                </a:lnTo>
                <a:lnTo>
                  <a:pt x="131" y="357"/>
                </a:lnTo>
                <a:lnTo>
                  <a:pt x="128" y="357"/>
                </a:lnTo>
                <a:lnTo>
                  <a:pt x="125" y="357"/>
                </a:lnTo>
                <a:lnTo>
                  <a:pt x="121" y="357"/>
                </a:lnTo>
                <a:lnTo>
                  <a:pt x="118" y="357"/>
                </a:lnTo>
                <a:lnTo>
                  <a:pt x="118" y="354"/>
                </a:lnTo>
                <a:lnTo>
                  <a:pt x="115" y="351"/>
                </a:lnTo>
                <a:lnTo>
                  <a:pt x="115" y="347"/>
                </a:lnTo>
                <a:lnTo>
                  <a:pt x="112" y="347"/>
                </a:lnTo>
                <a:lnTo>
                  <a:pt x="112" y="347"/>
                </a:lnTo>
                <a:lnTo>
                  <a:pt x="106" y="351"/>
                </a:lnTo>
                <a:lnTo>
                  <a:pt x="106" y="351"/>
                </a:lnTo>
                <a:lnTo>
                  <a:pt x="106" y="344"/>
                </a:lnTo>
                <a:lnTo>
                  <a:pt x="106" y="341"/>
                </a:lnTo>
                <a:lnTo>
                  <a:pt x="100" y="335"/>
                </a:lnTo>
                <a:lnTo>
                  <a:pt x="100" y="332"/>
                </a:lnTo>
                <a:lnTo>
                  <a:pt x="96" y="332"/>
                </a:lnTo>
                <a:lnTo>
                  <a:pt x="96" y="326"/>
                </a:lnTo>
                <a:lnTo>
                  <a:pt x="93" y="326"/>
                </a:lnTo>
                <a:lnTo>
                  <a:pt x="93" y="322"/>
                </a:lnTo>
                <a:lnTo>
                  <a:pt x="90" y="322"/>
                </a:lnTo>
                <a:lnTo>
                  <a:pt x="87" y="322"/>
                </a:lnTo>
                <a:lnTo>
                  <a:pt x="84" y="319"/>
                </a:lnTo>
                <a:lnTo>
                  <a:pt x="84" y="316"/>
                </a:lnTo>
                <a:lnTo>
                  <a:pt x="84" y="313"/>
                </a:lnTo>
                <a:lnTo>
                  <a:pt x="87" y="316"/>
                </a:lnTo>
                <a:lnTo>
                  <a:pt x="93" y="313"/>
                </a:lnTo>
                <a:lnTo>
                  <a:pt x="93" y="316"/>
                </a:lnTo>
                <a:lnTo>
                  <a:pt x="96" y="316"/>
                </a:lnTo>
                <a:lnTo>
                  <a:pt x="100" y="316"/>
                </a:lnTo>
                <a:lnTo>
                  <a:pt x="100" y="313"/>
                </a:lnTo>
                <a:lnTo>
                  <a:pt x="103" y="313"/>
                </a:lnTo>
                <a:lnTo>
                  <a:pt x="106" y="316"/>
                </a:lnTo>
                <a:lnTo>
                  <a:pt x="106" y="313"/>
                </a:lnTo>
                <a:lnTo>
                  <a:pt x="106" y="313"/>
                </a:lnTo>
                <a:lnTo>
                  <a:pt x="103" y="313"/>
                </a:lnTo>
                <a:lnTo>
                  <a:pt x="100" y="310"/>
                </a:lnTo>
                <a:lnTo>
                  <a:pt x="100" y="310"/>
                </a:lnTo>
                <a:lnTo>
                  <a:pt x="96" y="304"/>
                </a:lnTo>
                <a:lnTo>
                  <a:pt x="96" y="301"/>
                </a:lnTo>
                <a:lnTo>
                  <a:pt x="100" y="301"/>
                </a:lnTo>
                <a:lnTo>
                  <a:pt x="100" y="297"/>
                </a:lnTo>
                <a:lnTo>
                  <a:pt x="100" y="297"/>
                </a:lnTo>
                <a:lnTo>
                  <a:pt x="100" y="294"/>
                </a:lnTo>
                <a:lnTo>
                  <a:pt x="106" y="291"/>
                </a:lnTo>
                <a:lnTo>
                  <a:pt x="109" y="291"/>
                </a:lnTo>
                <a:lnTo>
                  <a:pt x="112" y="291"/>
                </a:lnTo>
                <a:lnTo>
                  <a:pt x="115" y="291"/>
                </a:lnTo>
                <a:lnTo>
                  <a:pt x="118" y="291"/>
                </a:lnTo>
                <a:lnTo>
                  <a:pt x="121" y="291"/>
                </a:lnTo>
                <a:lnTo>
                  <a:pt x="121" y="291"/>
                </a:lnTo>
                <a:lnTo>
                  <a:pt x="125" y="291"/>
                </a:lnTo>
                <a:lnTo>
                  <a:pt x="128" y="294"/>
                </a:lnTo>
                <a:lnTo>
                  <a:pt x="131" y="294"/>
                </a:lnTo>
                <a:lnTo>
                  <a:pt x="134" y="294"/>
                </a:lnTo>
                <a:lnTo>
                  <a:pt x="134" y="291"/>
                </a:lnTo>
                <a:lnTo>
                  <a:pt x="134" y="291"/>
                </a:lnTo>
                <a:lnTo>
                  <a:pt x="128" y="288"/>
                </a:lnTo>
                <a:lnTo>
                  <a:pt x="128" y="285"/>
                </a:lnTo>
                <a:lnTo>
                  <a:pt x="128" y="279"/>
                </a:lnTo>
                <a:lnTo>
                  <a:pt x="131" y="279"/>
                </a:lnTo>
                <a:lnTo>
                  <a:pt x="131" y="276"/>
                </a:lnTo>
                <a:lnTo>
                  <a:pt x="131" y="276"/>
                </a:lnTo>
                <a:lnTo>
                  <a:pt x="128" y="272"/>
                </a:lnTo>
                <a:lnTo>
                  <a:pt x="128" y="272"/>
                </a:lnTo>
                <a:lnTo>
                  <a:pt x="131" y="269"/>
                </a:lnTo>
                <a:lnTo>
                  <a:pt x="131" y="266"/>
                </a:lnTo>
                <a:lnTo>
                  <a:pt x="128" y="263"/>
                </a:lnTo>
                <a:lnTo>
                  <a:pt x="128" y="260"/>
                </a:lnTo>
                <a:lnTo>
                  <a:pt x="128" y="257"/>
                </a:lnTo>
                <a:lnTo>
                  <a:pt x="128" y="257"/>
                </a:lnTo>
                <a:lnTo>
                  <a:pt x="125" y="257"/>
                </a:lnTo>
                <a:lnTo>
                  <a:pt x="125" y="254"/>
                </a:lnTo>
                <a:lnTo>
                  <a:pt x="125" y="250"/>
                </a:lnTo>
                <a:lnTo>
                  <a:pt x="115" y="250"/>
                </a:lnTo>
                <a:lnTo>
                  <a:pt x="115" y="250"/>
                </a:lnTo>
                <a:lnTo>
                  <a:pt x="112" y="250"/>
                </a:lnTo>
                <a:lnTo>
                  <a:pt x="112" y="254"/>
                </a:lnTo>
                <a:lnTo>
                  <a:pt x="109" y="254"/>
                </a:lnTo>
                <a:lnTo>
                  <a:pt x="109" y="257"/>
                </a:lnTo>
                <a:lnTo>
                  <a:pt x="106" y="257"/>
                </a:lnTo>
                <a:lnTo>
                  <a:pt x="103" y="257"/>
                </a:lnTo>
                <a:lnTo>
                  <a:pt x="103" y="254"/>
                </a:lnTo>
                <a:lnTo>
                  <a:pt x="103" y="254"/>
                </a:lnTo>
                <a:lnTo>
                  <a:pt x="100" y="257"/>
                </a:lnTo>
                <a:lnTo>
                  <a:pt x="100" y="254"/>
                </a:lnTo>
                <a:lnTo>
                  <a:pt x="100" y="250"/>
                </a:lnTo>
                <a:lnTo>
                  <a:pt x="96" y="250"/>
                </a:lnTo>
                <a:lnTo>
                  <a:pt x="96" y="250"/>
                </a:lnTo>
                <a:lnTo>
                  <a:pt x="93" y="250"/>
                </a:lnTo>
                <a:lnTo>
                  <a:pt x="90" y="250"/>
                </a:lnTo>
                <a:lnTo>
                  <a:pt x="87" y="250"/>
                </a:lnTo>
                <a:lnTo>
                  <a:pt x="84" y="250"/>
                </a:lnTo>
                <a:lnTo>
                  <a:pt x="84" y="254"/>
                </a:lnTo>
                <a:lnTo>
                  <a:pt x="81" y="257"/>
                </a:lnTo>
                <a:lnTo>
                  <a:pt x="81" y="254"/>
                </a:lnTo>
                <a:lnTo>
                  <a:pt x="78" y="254"/>
                </a:lnTo>
                <a:lnTo>
                  <a:pt x="78" y="257"/>
                </a:lnTo>
                <a:lnTo>
                  <a:pt x="75" y="257"/>
                </a:lnTo>
                <a:lnTo>
                  <a:pt x="71" y="260"/>
                </a:lnTo>
                <a:lnTo>
                  <a:pt x="68" y="263"/>
                </a:lnTo>
                <a:lnTo>
                  <a:pt x="68" y="263"/>
                </a:lnTo>
                <a:lnTo>
                  <a:pt x="68" y="263"/>
                </a:lnTo>
                <a:lnTo>
                  <a:pt x="65" y="266"/>
                </a:lnTo>
                <a:lnTo>
                  <a:pt x="65" y="263"/>
                </a:lnTo>
                <a:lnTo>
                  <a:pt x="62" y="263"/>
                </a:lnTo>
                <a:lnTo>
                  <a:pt x="62" y="266"/>
                </a:lnTo>
                <a:lnTo>
                  <a:pt x="59" y="266"/>
                </a:lnTo>
                <a:lnTo>
                  <a:pt x="56" y="263"/>
                </a:lnTo>
                <a:lnTo>
                  <a:pt x="56" y="263"/>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0" name="Freeform 18">
            <a:extLst>
              <a:ext uri="{FF2B5EF4-FFF2-40B4-BE49-F238E27FC236}">
                <a16:creationId xmlns:a16="http://schemas.microsoft.com/office/drawing/2014/main" id="{2E61E2E6-E10E-EED5-54B1-A571CC7AE1E1}"/>
              </a:ext>
            </a:extLst>
          </p:cNvPr>
          <p:cNvSpPr>
            <a:spLocks/>
          </p:cNvSpPr>
          <p:nvPr userDrawn="1"/>
        </p:nvSpPr>
        <p:spPr bwMode="auto">
          <a:xfrm>
            <a:off x="16423204" y="6247683"/>
            <a:ext cx="1003237" cy="625478"/>
          </a:xfrm>
          <a:custGeom>
            <a:avLst/>
            <a:gdLst>
              <a:gd name="T0" fmla="*/ 250 w 316"/>
              <a:gd name="T1" fmla="*/ 185 h 197"/>
              <a:gd name="T2" fmla="*/ 256 w 316"/>
              <a:gd name="T3" fmla="*/ 172 h 197"/>
              <a:gd name="T4" fmla="*/ 253 w 316"/>
              <a:gd name="T5" fmla="*/ 166 h 197"/>
              <a:gd name="T6" fmla="*/ 253 w 316"/>
              <a:gd name="T7" fmla="*/ 156 h 197"/>
              <a:gd name="T8" fmla="*/ 247 w 316"/>
              <a:gd name="T9" fmla="*/ 150 h 197"/>
              <a:gd name="T10" fmla="*/ 238 w 316"/>
              <a:gd name="T11" fmla="*/ 147 h 197"/>
              <a:gd name="T12" fmla="*/ 241 w 316"/>
              <a:gd name="T13" fmla="*/ 138 h 197"/>
              <a:gd name="T14" fmla="*/ 253 w 316"/>
              <a:gd name="T15" fmla="*/ 138 h 197"/>
              <a:gd name="T16" fmla="*/ 263 w 316"/>
              <a:gd name="T17" fmla="*/ 128 h 197"/>
              <a:gd name="T18" fmla="*/ 260 w 316"/>
              <a:gd name="T19" fmla="*/ 125 h 197"/>
              <a:gd name="T20" fmla="*/ 275 w 316"/>
              <a:gd name="T21" fmla="*/ 119 h 197"/>
              <a:gd name="T22" fmla="*/ 269 w 316"/>
              <a:gd name="T23" fmla="*/ 113 h 197"/>
              <a:gd name="T24" fmla="*/ 272 w 316"/>
              <a:gd name="T25" fmla="*/ 106 h 197"/>
              <a:gd name="T26" fmla="*/ 281 w 316"/>
              <a:gd name="T27" fmla="*/ 103 h 197"/>
              <a:gd name="T28" fmla="*/ 294 w 316"/>
              <a:gd name="T29" fmla="*/ 100 h 197"/>
              <a:gd name="T30" fmla="*/ 303 w 316"/>
              <a:gd name="T31" fmla="*/ 103 h 197"/>
              <a:gd name="T32" fmla="*/ 316 w 316"/>
              <a:gd name="T33" fmla="*/ 97 h 197"/>
              <a:gd name="T34" fmla="*/ 307 w 316"/>
              <a:gd name="T35" fmla="*/ 85 h 197"/>
              <a:gd name="T36" fmla="*/ 303 w 316"/>
              <a:gd name="T37" fmla="*/ 91 h 197"/>
              <a:gd name="T38" fmla="*/ 297 w 316"/>
              <a:gd name="T39" fmla="*/ 94 h 197"/>
              <a:gd name="T40" fmla="*/ 285 w 316"/>
              <a:gd name="T41" fmla="*/ 88 h 197"/>
              <a:gd name="T42" fmla="*/ 281 w 316"/>
              <a:gd name="T43" fmla="*/ 78 h 197"/>
              <a:gd name="T44" fmla="*/ 288 w 316"/>
              <a:gd name="T45" fmla="*/ 66 h 197"/>
              <a:gd name="T46" fmla="*/ 281 w 316"/>
              <a:gd name="T47" fmla="*/ 72 h 197"/>
              <a:gd name="T48" fmla="*/ 269 w 316"/>
              <a:gd name="T49" fmla="*/ 81 h 197"/>
              <a:gd name="T50" fmla="*/ 266 w 316"/>
              <a:gd name="T51" fmla="*/ 91 h 197"/>
              <a:gd name="T52" fmla="*/ 253 w 316"/>
              <a:gd name="T53" fmla="*/ 103 h 197"/>
              <a:gd name="T54" fmla="*/ 244 w 316"/>
              <a:gd name="T55" fmla="*/ 97 h 197"/>
              <a:gd name="T56" fmla="*/ 231 w 316"/>
              <a:gd name="T57" fmla="*/ 97 h 197"/>
              <a:gd name="T58" fmla="*/ 216 w 316"/>
              <a:gd name="T59" fmla="*/ 103 h 197"/>
              <a:gd name="T60" fmla="*/ 194 w 316"/>
              <a:gd name="T61" fmla="*/ 78 h 197"/>
              <a:gd name="T62" fmla="*/ 188 w 316"/>
              <a:gd name="T63" fmla="*/ 53 h 197"/>
              <a:gd name="T64" fmla="*/ 172 w 316"/>
              <a:gd name="T65" fmla="*/ 34 h 197"/>
              <a:gd name="T66" fmla="*/ 113 w 316"/>
              <a:gd name="T67" fmla="*/ 38 h 197"/>
              <a:gd name="T68" fmla="*/ 81 w 316"/>
              <a:gd name="T69" fmla="*/ 22 h 197"/>
              <a:gd name="T70" fmla="*/ 0 w 316"/>
              <a:gd name="T71" fmla="*/ 9 h 197"/>
              <a:gd name="T72" fmla="*/ 25 w 316"/>
              <a:gd name="T73" fmla="*/ 103 h 197"/>
              <a:gd name="T74" fmla="*/ 35 w 316"/>
              <a:gd name="T75" fmla="*/ 100 h 197"/>
              <a:gd name="T76" fmla="*/ 31 w 316"/>
              <a:gd name="T77" fmla="*/ 88 h 197"/>
              <a:gd name="T78" fmla="*/ 41 w 316"/>
              <a:gd name="T79" fmla="*/ 78 h 197"/>
              <a:gd name="T80" fmla="*/ 47 w 316"/>
              <a:gd name="T81" fmla="*/ 72 h 197"/>
              <a:gd name="T82" fmla="*/ 56 w 316"/>
              <a:gd name="T83" fmla="*/ 72 h 197"/>
              <a:gd name="T84" fmla="*/ 60 w 316"/>
              <a:gd name="T85" fmla="*/ 69 h 197"/>
              <a:gd name="T86" fmla="*/ 85 w 316"/>
              <a:gd name="T87" fmla="*/ 81 h 197"/>
              <a:gd name="T88" fmla="*/ 100 w 316"/>
              <a:gd name="T89" fmla="*/ 94 h 197"/>
              <a:gd name="T90" fmla="*/ 116 w 316"/>
              <a:gd name="T91" fmla="*/ 100 h 197"/>
              <a:gd name="T92" fmla="*/ 128 w 316"/>
              <a:gd name="T93" fmla="*/ 106 h 197"/>
              <a:gd name="T94" fmla="*/ 135 w 316"/>
              <a:gd name="T95" fmla="*/ 119 h 197"/>
              <a:gd name="T96" fmla="*/ 141 w 316"/>
              <a:gd name="T97" fmla="*/ 135 h 197"/>
              <a:gd name="T98" fmla="*/ 163 w 316"/>
              <a:gd name="T99" fmla="*/ 144 h 197"/>
              <a:gd name="T100" fmla="*/ 191 w 316"/>
              <a:gd name="T101" fmla="*/ 160 h 197"/>
              <a:gd name="T102" fmla="*/ 213 w 316"/>
              <a:gd name="T103" fmla="*/ 172 h 197"/>
              <a:gd name="T104" fmla="*/ 219 w 316"/>
              <a:gd name="T105" fmla="*/ 175 h 197"/>
              <a:gd name="T106" fmla="*/ 225 w 316"/>
              <a:gd name="T107" fmla="*/ 185 h 197"/>
              <a:gd name="T108" fmla="*/ 231 w 316"/>
              <a:gd name="T109" fmla="*/ 191 h 197"/>
              <a:gd name="T110" fmla="*/ 238 w 316"/>
              <a:gd name="T111" fmla="*/ 197 h 197"/>
              <a:gd name="T112" fmla="*/ 244 w 316"/>
              <a:gd name="T113" fmla="*/ 194 h 197"/>
              <a:gd name="T114" fmla="*/ 250 w 316"/>
              <a:gd name="T115"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6" h="197">
                <a:moveTo>
                  <a:pt x="250" y="197"/>
                </a:moveTo>
                <a:lnTo>
                  <a:pt x="250" y="185"/>
                </a:lnTo>
                <a:lnTo>
                  <a:pt x="256" y="175"/>
                </a:lnTo>
                <a:lnTo>
                  <a:pt x="256" y="172"/>
                </a:lnTo>
                <a:lnTo>
                  <a:pt x="256" y="166"/>
                </a:lnTo>
                <a:lnTo>
                  <a:pt x="253" y="166"/>
                </a:lnTo>
                <a:lnTo>
                  <a:pt x="250" y="160"/>
                </a:lnTo>
                <a:lnTo>
                  <a:pt x="253" y="156"/>
                </a:lnTo>
                <a:lnTo>
                  <a:pt x="250" y="150"/>
                </a:lnTo>
                <a:lnTo>
                  <a:pt x="247" y="150"/>
                </a:lnTo>
                <a:lnTo>
                  <a:pt x="244" y="153"/>
                </a:lnTo>
                <a:lnTo>
                  <a:pt x="238" y="147"/>
                </a:lnTo>
                <a:lnTo>
                  <a:pt x="238" y="141"/>
                </a:lnTo>
                <a:lnTo>
                  <a:pt x="241" y="138"/>
                </a:lnTo>
                <a:lnTo>
                  <a:pt x="250" y="138"/>
                </a:lnTo>
                <a:lnTo>
                  <a:pt x="253" y="138"/>
                </a:lnTo>
                <a:lnTo>
                  <a:pt x="253" y="131"/>
                </a:lnTo>
                <a:lnTo>
                  <a:pt x="263" y="128"/>
                </a:lnTo>
                <a:lnTo>
                  <a:pt x="260" y="125"/>
                </a:lnTo>
                <a:lnTo>
                  <a:pt x="260" y="125"/>
                </a:lnTo>
                <a:lnTo>
                  <a:pt x="266" y="122"/>
                </a:lnTo>
                <a:lnTo>
                  <a:pt x="275" y="119"/>
                </a:lnTo>
                <a:lnTo>
                  <a:pt x="275" y="116"/>
                </a:lnTo>
                <a:lnTo>
                  <a:pt x="269" y="113"/>
                </a:lnTo>
                <a:lnTo>
                  <a:pt x="269" y="110"/>
                </a:lnTo>
                <a:lnTo>
                  <a:pt x="272" y="106"/>
                </a:lnTo>
                <a:lnTo>
                  <a:pt x="278" y="103"/>
                </a:lnTo>
                <a:lnTo>
                  <a:pt x="281" y="103"/>
                </a:lnTo>
                <a:lnTo>
                  <a:pt x="288" y="97"/>
                </a:lnTo>
                <a:lnTo>
                  <a:pt x="294" y="100"/>
                </a:lnTo>
                <a:lnTo>
                  <a:pt x="294" y="103"/>
                </a:lnTo>
                <a:lnTo>
                  <a:pt x="303" y="103"/>
                </a:lnTo>
                <a:lnTo>
                  <a:pt x="310" y="103"/>
                </a:lnTo>
                <a:lnTo>
                  <a:pt x="316" y="97"/>
                </a:lnTo>
                <a:lnTo>
                  <a:pt x="316" y="94"/>
                </a:lnTo>
                <a:lnTo>
                  <a:pt x="307" y="85"/>
                </a:lnTo>
                <a:lnTo>
                  <a:pt x="303" y="85"/>
                </a:lnTo>
                <a:lnTo>
                  <a:pt x="303" y="91"/>
                </a:lnTo>
                <a:lnTo>
                  <a:pt x="300" y="94"/>
                </a:lnTo>
                <a:lnTo>
                  <a:pt x="297" y="94"/>
                </a:lnTo>
                <a:lnTo>
                  <a:pt x="291" y="91"/>
                </a:lnTo>
                <a:lnTo>
                  <a:pt x="285" y="88"/>
                </a:lnTo>
                <a:lnTo>
                  <a:pt x="278" y="85"/>
                </a:lnTo>
                <a:lnTo>
                  <a:pt x="281" y="78"/>
                </a:lnTo>
                <a:lnTo>
                  <a:pt x="288" y="69"/>
                </a:lnTo>
                <a:lnTo>
                  <a:pt x="288" y="66"/>
                </a:lnTo>
                <a:lnTo>
                  <a:pt x="285" y="66"/>
                </a:lnTo>
                <a:lnTo>
                  <a:pt x="281" y="72"/>
                </a:lnTo>
                <a:lnTo>
                  <a:pt x="278" y="72"/>
                </a:lnTo>
                <a:lnTo>
                  <a:pt x="269" y="81"/>
                </a:lnTo>
                <a:lnTo>
                  <a:pt x="269" y="88"/>
                </a:lnTo>
                <a:lnTo>
                  <a:pt x="266" y="91"/>
                </a:lnTo>
                <a:lnTo>
                  <a:pt x="263" y="97"/>
                </a:lnTo>
                <a:lnTo>
                  <a:pt x="253" y="103"/>
                </a:lnTo>
                <a:lnTo>
                  <a:pt x="250" y="103"/>
                </a:lnTo>
                <a:lnTo>
                  <a:pt x="244" y="97"/>
                </a:lnTo>
                <a:lnTo>
                  <a:pt x="235" y="97"/>
                </a:lnTo>
                <a:lnTo>
                  <a:pt x="231" y="97"/>
                </a:lnTo>
                <a:lnTo>
                  <a:pt x="222" y="103"/>
                </a:lnTo>
                <a:lnTo>
                  <a:pt x="216" y="103"/>
                </a:lnTo>
                <a:lnTo>
                  <a:pt x="210" y="81"/>
                </a:lnTo>
                <a:lnTo>
                  <a:pt x="194" y="78"/>
                </a:lnTo>
                <a:lnTo>
                  <a:pt x="194" y="50"/>
                </a:lnTo>
                <a:lnTo>
                  <a:pt x="188" y="53"/>
                </a:lnTo>
                <a:lnTo>
                  <a:pt x="181" y="41"/>
                </a:lnTo>
                <a:lnTo>
                  <a:pt x="172" y="34"/>
                </a:lnTo>
                <a:lnTo>
                  <a:pt x="141" y="34"/>
                </a:lnTo>
                <a:lnTo>
                  <a:pt x="113" y="38"/>
                </a:lnTo>
                <a:lnTo>
                  <a:pt x="94" y="25"/>
                </a:lnTo>
                <a:lnTo>
                  <a:pt x="81" y="22"/>
                </a:lnTo>
                <a:lnTo>
                  <a:pt x="50" y="0"/>
                </a:lnTo>
                <a:lnTo>
                  <a:pt x="0" y="9"/>
                </a:lnTo>
                <a:lnTo>
                  <a:pt x="16" y="103"/>
                </a:lnTo>
                <a:lnTo>
                  <a:pt x="25" y="103"/>
                </a:lnTo>
                <a:lnTo>
                  <a:pt x="31" y="103"/>
                </a:lnTo>
                <a:lnTo>
                  <a:pt x="35" y="100"/>
                </a:lnTo>
                <a:lnTo>
                  <a:pt x="31" y="97"/>
                </a:lnTo>
                <a:lnTo>
                  <a:pt x="31" y="88"/>
                </a:lnTo>
                <a:lnTo>
                  <a:pt x="35" y="81"/>
                </a:lnTo>
                <a:lnTo>
                  <a:pt x="41" y="78"/>
                </a:lnTo>
                <a:lnTo>
                  <a:pt x="44" y="75"/>
                </a:lnTo>
                <a:lnTo>
                  <a:pt x="47" y="72"/>
                </a:lnTo>
                <a:lnTo>
                  <a:pt x="53" y="75"/>
                </a:lnTo>
                <a:lnTo>
                  <a:pt x="56" y="72"/>
                </a:lnTo>
                <a:lnTo>
                  <a:pt x="50" y="69"/>
                </a:lnTo>
                <a:lnTo>
                  <a:pt x="60" y="69"/>
                </a:lnTo>
                <a:lnTo>
                  <a:pt x="75" y="75"/>
                </a:lnTo>
                <a:lnTo>
                  <a:pt x="85" y="81"/>
                </a:lnTo>
                <a:lnTo>
                  <a:pt x="88" y="88"/>
                </a:lnTo>
                <a:lnTo>
                  <a:pt x="100" y="94"/>
                </a:lnTo>
                <a:lnTo>
                  <a:pt x="113" y="100"/>
                </a:lnTo>
                <a:lnTo>
                  <a:pt x="116" y="100"/>
                </a:lnTo>
                <a:lnTo>
                  <a:pt x="119" y="100"/>
                </a:lnTo>
                <a:lnTo>
                  <a:pt x="128" y="106"/>
                </a:lnTo>
                <a:lnTo>
                  <a:pt x="131" y="119"/>
                </a:lnTo>
                <a:lnTo>
                  <a:pt x="135" y="119"/>
                </a:lnTo>
                <a:lnTo>
                  <a:pt x="138" y="125"/>
                </a:lnTo>
                <a:lnTo>
                  <a:pt x="141" y="135"/>
                </a:lnTo>
                <a:lnTo>
                  <a:pt x="147" y="138"/>
                </a:lnTo>
                <a:lnTo>
                  <a:pt x="163" y="144"/>
                </a:lnTo>
                <a:lnTo>
                  <a:pt x="175" y="153"/>
                </a:lnTo>
                <a:lnTo>
                  <a:pt x="191" y="160"/>
                </a:lnTo>
                <a:lnTo>
                  <a:pt x="203" y="169"/>
                </a:lnTo>
                <a:lnTo>
                  <a:pt x="213" y="172"/>
                </a:lnTo>
                <a:lnTo>
                  <a:pt x="216" y="175"/>
                </a:lnTo>
                <a:lnTo>
                  <a:pt x="219" y="175"/>
                </a:lnTo>
                <a:lnTo>
                  <a:pt x="225" y="178"/>
                </a:lnTo>
                <a:lnTo>
                  <a:pt x="225" y="185"/>
                </a:lnTo>
                <a:lnTo>
                  <a:pt x="225" y="194"/>
                </a:lnTo>
                <a:lnTo>
                  <a:pt x="231" y="191"/>
                </a:lnTo>
                <a:lnTo>
                  <a:pt x="238" y="194"/>
                </a:lnTo>
                <a:lnTo>
                  <a:pt x="238" y="197"/>
                </a:lnTo>
                <a:lnTo>
                  <a:pt x="241" y="197"/>
                </a:lnTo>
                <a:lnTo>
                  <a:pt x="244" y="194"/>
                </a:lnTo>
                <a:lnTo>
                  <a:pt x="247" y="194"/>
                </a:lnTo>
                <a:lnTo>
                  <a:pt x="250" y="197"/>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1" name="Freeform 19">
            <a:extLst>
              <a:ext uri="{FF2B5EF4-FFF2-40B4-BE49-F238E27FC236}">
                <a16:creationId xmlns:a16="http://schemas.microsoft.com/office/drawing/2014/main" id="{897898AD-1896-9810-75E2-5320AE246138}"/>
              </a:ext>
            </a:extLst>
          </p:cNvPr>
          <p:cNvSpPr>
            <a:spLocks/>
          </p:cNvSpPr>
          <p:nvPr userDrawn="1"/>
        </p:nvSpPr>
        <p:spPr bwMode="auto">
          <a:xfrm>
            <a:off x="16245413" y="6466761"/>
            <a:ext cx="892118" cy="565150"/>
          </a:xfrm>
          <a:custGeom>
            <a:avLst/>
            <a:gdLst>
              <a:gd name="T0" fmla="*/ 281 w 281"/>
              <a:gd name="T1" fmla="*/ 109 h 178"/>
              <a:gd name="T2" fmla="*/ 269 w 281"/>
              <a:gd name="T3" fmla="*/ 103 h 178"/>
              <a:gd name="T4" fmla="*/ 231 w 281"/>
              <a:gd name="T5" fmla="*/ 84 h 178"/>
              <a:gd name="T6" fmla="*/ 197 w 281"/>
              <a:gd name="T7" fmla="*/ 66 h 178"/>
              <a:gd name="T8" fmla="*/ 187 w 281"/>
              <a:gd name="T9" fmla="*/ 50 h 178"/>
              <a:gd name="T10" fmla="*/ 172 w 281"/>
              <a:gd name="T11" fmla="*/ 31 h 178"/>
              <a:gd name="T12" fmla="*/ 144 w 281"/>
              <a:gd name="T13" fmla="*/ 19 h 178"/>
              <a:gd name="T14" fmla="*/ 116 w 281"/>
              <a:gd name="T15" fmla="*/ 0 h 178"/>
              <a:gd name="T16" fmla="*/ 109 w 281"/>
              <a:gd name="T17" fmla="*/ 6 h 178"/>
              <a:gd name="T18" fmla="*/ 97 w 281"/>
              <a:gd name="T19" fmla="*/ 9 h 178"/>
              <a:gd name="T20" fmla="*/ 87 w 281"/>
              <a:gd name="T21" fmla="*/ 28 h 178"/>
              <a:gd name="T22" fmla="*/ 81 w 281"/>
              <a:gd name="T23" fmla="*/ 34 h 178"/>
              <a:gd name="T24" fmla="*/ 47 w 281"/>
              <a:gd name="T25" fmla="*/ 22 h 178"/>
              <a:gd name="T26" fmla="*/ 12 w 281"/>
              <a:gd name="T27" fmla="*/ 16 h 178"/>
              <a:gd name="T28" fmla="*/ 3 w 281"/>
              <a:gd name="T29" fmla="*/ 31 h 178"/>
              <a:gd name="T30" fmla="*/ 9 w 281"/>
              <a:gd name="T31" fmla="*/ 41 h 178"/>
              <a:gd name="T32" fmla="*/ 9 w 281"/>
              <a:gd name="T33" fmla="*/ 56 h 178"/>
              <a:gd name="T34" fmla="*/ 12 w 281"/>
              <a:gd name="T35" fmla="*/ 72 h 178"/>
              <a:gd name="T36" fmla="*/ 19 w 281"/>
              <a:gd name="T37" fmla="*/ 72 h 178"/>
              <a:gd name="T38" fmla="*/ 28 w 281"/>
              <a:gd name="T39" fmla="*/ 72 h 178"/>
              <a:gd name="T40" fmla="*/ 28 w 281"/>
              <a:gd name="T41" fmla="*/ 81 h 178"/>
              <a:gd name="T42" fmla="*/ 34 w 281"/>
              <a:gd name="T43" fmla="*/ 84 h 178"/>
              <a:gd name="T44" fmla="*/ 25 w 281"/>
              <a:gd name="T45" fmla="*/ 81 h 178"/>
              <a:gd name="T46" fmla="*/ 25 w 281"/>
              <a:gd name="T47" fmla="*/ 94 h 178"/>
              <a:gd name="T48" fmla="*/ 28 w 281"/>
              <a:gd name="T49" fmla="*/ 87 h 178"/>
              <a:gd name="T50" fmla="*/ 37 w 281"/>
              <a:gd name="T51" fmla="*/ 94 h 178"/>
              <a:gd name="T52" fmla="*/ 41 w 281"/>
              <a:gd name="T53" fmla="*/ 109 h 178"/>
              <a:gd name="T54" fmla="*/ 47 w 281"/>
              <a:gd name="T55" fmla="*/ 134 h 178"/>
              <a:gd name="T56" fmla="*/ 59 w 281"/>
              <a:gd name="T57" fmla="*/ 125 h 178"/>
              <a:gd name="T58" fmla="*/ 75 w 281"/>
              <a:gd name="T59" fmla="*/ 116 h 178"/>
              <a:gd name="T60" fmla="*/ 91 w 281"/>
              <a:gd name="T61" fmla="*/ 112 h 178"/>
              <a:gd name="T62" fmla="*/ 103 w 281"/>
              <a:gd name="T63" fmla="*/ 112 h 178"/>
              <a:gd name="T64" fmla="*/ 128 w 281"/>
              <a:gd name="T65" fmla="*/ 125 h 178"/>
              <a:gd name="T66" fmla="*/ 144 w 281"/>
              <a:gd name="T67" fmla="*/ 128 h 178"/>
              <a:gd name="T68" fmla="*/ 150 w 281"/>
              <a:gd name="T69" fmla="*/ 134 h 178"/>
              <a:gd name="T70" fmla="*/ 169 w 281"/>
              <a:gd name="T71" fmla="*/ 147 h 178"/>
              <a:gd name="T72" fmla="*/ 184 w 281"/>
              <a:gd name="T73" fmla="*/ 156 h 178"/>
              <a:gd name="T74" fmla="*/ 187 w 281"/>
              <a:gd name="T75" fmla="*/ 166 h 178"/>
              <a:gd name="T76" fmla="*/ 194 w 281"/>
              <a:gd name="T77" fmla="*/ 169 h 178"/>
              <a:gd name="T78" fmla="*/ 203 w 281"/>
              <a:gd name="T79" fmla="*/ 169 h 178"/>
              <a:gd name="T80" fmla="*/ 212 w 281"/>
              <a:gd name="T81" fmla="*/ 175 h 178"/>
              <a:gd name="T82" fmla="*/ 222 w 281"/>
              <a:gd name="T83" fmla="*/ 175 h 178"/>
              <a:gd name="T84" fmla="*/ 228 w 281"/>
              <a:gd name="T85" fmla="*/ 166 h 178"/>
              <a:gd name="T86" fmla="*/ 241 w 281"/>
              <a:gd name="T87" fmla="*/ 159 h 178"/>
              <a:gd name="T88" fmla="*/ 247 w 281"/>
              <a:gd name="T89" fmla="*/ 153 h 178"/>
              <a:gd name="T90" fmla="*/ 253 w 281"/>
              <a:gd name="T91" fmla="*/ 138 h 178"/>
              <a:gd name="T92" fmla="*/ 250 w 281"/>
              <a:gd name="T93" fmla="*/ 131 h 178"/>
              <a:gd name="T94" fmla="*/ 259 w 281"/>
              <a:gd name="T95" fmla="*/ 128 h 178"/>
              <a:gd name="T96" fmla="*/ 272 w 281"/>
              <a:gd name="T97" fmla="*/ 122 h 178"/>
              <a:gd name="T98" fmla="*/ 281 w 281"/>
              <a:gd name="T99" fmla="*/ 12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178">
                <a:moveTo>
                  <a:pt x="281" y="125"/>
                </a:moveTo>
                <a:lnTo>
                  <a:pt x="281" y="116"/>
                </a:lnTo>
                <a:lnTo>
                  <a:pt x="281" y="109"/>
                </a:lnTo>
                <a:lnTo>
                  <a:pt x="275" y="106"/>
                </a:lnTo>
                <a:lnTo>
                  <a:pt x="272" y="106"/>
                </a:lnTo>
                <a:lnTo>
                  <a:pt x="269" y="103"/>
                </a:lnTo>
                <a:lnTo>
                  <a:pt x="259" y="100"/>
                </a:lnTo>
                <a:lnTo>
                  <a:pt x="247" y="91"/>
                </a:lnTo>
                <a:lnTo>
                  <a:pt x="231" y="84"/>
                </a:lnTo>
                <a:lnTo>
                  <a:pt x="219" y="75"/>
                </a:lnTo>
                <a:lnTo>
                  <a:pt x="203" y="69"/>
                </a:lnTo>
                <a:lnTo>
                  <a:pt x="197" y="66"/>
                </a:lnTo>
                <a:lnTo>
                  <a:pt x="194" y="56"/>
                </a:lnTo>
                <a:lnTo>
                  <a:pt x="191" y="50"/>
                </a:lnTo>
                <a:lnTo>
                  <a:pt x="187" y="50"/>
                </a:lnTo>
                <a:lnTo>
                  <a:pt x="184" y="37"/>
                </a:lnTo>
                <a:lnTo>
                  <a:pt x="175" y="31"/>
                </a:lnTo>
                <a:lnTo>
                  <a:pt x="172" y="31"/>
                </a:lnTo>
                <a:lnTo>
                  <a:pt x="169" y="31"/>
                </a:lnTo>
                <a:lnTo>
                  <a:pt x="156" y="25"/>
                </a:lnTo>
                <a:lnTo>
                  <a:pt x="144" y="19"/>
                </a:lnTo>
                <a:lnTo>
                  <a:pt x="141" y="12"/>
                </a:lnTo>
                <a:lnTo>
                  <a:pt x="131" y="6"/>
                </a:lnTo>
                <a:lnTo>
                  <a:pt x="116" y="0"/>
                </a:lnTo>
                <a:lnTo>
                  <a:pt x="106" y="0"/>
                </a:lnTo>
                <a:lnTo>
                  <a:pt x="112" y="3"/>
                </a:lnTo>
                <a:lnTo>
                  <a:pt x="109" y="6"/>
                </a:lnTo>
                <a:lnTo>
                  <a:pt x="103" y="3"/>
                </a:lnTo>
                <a:lnTo>
                  <a:pt x="100" y="6"/>
                </a:lnTo>
                <a:lnTo>
                  <a:pt x="97" y="9"/>
                </a:lnTo>
                <a:lnTo>
                  <a:pt x="91" y="12"/>
                </a:lnTo>
                <a:lnTo>
                  <a:pt x="87" y="19"/>
                </a:lnTo>
                <a:lnTo>
                  <a:pt x="87" y="28"/>
                </a:lnTo>
                <a:lnTo>
                  <a:pt x="91" y="31"/>
                </a:lnTo>
                <a:lnTo>
                  <a:pt x="87" y="34"/>
                </a:lnTo>
                <a:lnTo>
                  <a:pt x="81" y="34"/>
                </a:lnTo>
                <a:lnTo>
                  <a:pt x="69" y="34"/>
                </a:lnTo>
                <a:lnTo>
                  <a:pt x="62" y="37"/>
                </a:lnTo>
                <a:lnTo>
                  <a:pt x="47" y="22"/>
                </a:lnTo>
                <a:lnTo>
                  <a:pt x="34" y="12"/>
                </a:lnTo>
                <a:lnTo>
                  <a:pt x="22" y="12"/>
                </a:lnTo>
                <a:lnTo>
                  <a:pt x="12" y="16"/>
                </a:lnTo>
                <a:lnTo>
                  <a:pt x="0" y="25"/>
                </a:lnTo>
                <a:lnTo>
                  <a:pt x="0" y="28"/>
                </a:lnTo>
                <a:lnTo>
                  <a:pt x="3" y="31"/>
                </a:lnTo>
                <a:lnTo>
                  <a:pt x="3" y="34"/>
                </a:lnTo>
                <a:lnTo>
                  <a:pt x="6" y="37"/>
                </a:lnTo>
                <a:lnTo>
                  <a:pt x="9" y="41"/>
                </a:lnTo>
                <a:lnTo>
                  <a:pt x="12" y="47"/>
                </a:lnTo>
                <a:lnTo>
                  <a:pt x="12" y="53"/>
                </a:lnTo>
                <a:lnTo>
                  <a:pt x="9" y="56"/>
                </a:lnTo>
                <a:lnTo>
                  <a:pt x="9" y="66"/>
                </a:lnTo>
                <a:lnTo>
                  <a:pt x="12" y="69"/>
                </a:lnTo>
                <a:lnTo>
                  <a:pt x="12" y="72"/>
                </a:lnTo>
                <a:lnTo>
                  <a:pt x="22" y="78"/>
                </a:lnTo>
                <a:lnTo>
                  <a:pt x="19" y="75"/>
                </a:lnTo>
                <a:lnTo>
                  <a:pt x="19" y="72"/>
                </a:lnTo>
                <a:lnTo>
                  <a:pt x="19" y="72"/>
                </a:lnTo>
                <a:lnTo>
                  <a:pt x="25" y="72"/>
                </a:lnTo>
                <a:lnTo>
                  <a:pt x="28" y="72"/>
                </a:lnTo>
                <a:lnTo>
                  <a:pt x="28" y="72"/>
                </a:lnTo>
                <a:lnTo>
                  <a:pt x="28" y="75"/>
                </a:lnTo>
                <a:lnTo>
                  <a:pt x="28" y="81"/>
                </a:lnTo>
                <a:lnTo>
                  <a:pt x="31" y="78"/>
                </a:lnTo>
                <a:lnTo>
                  <a:pt x="34" y="84"/>
                </a:lnTo>
                <a:lnTo>
                  <a:pt x="34" y="84"/>
                </a:lnTo>
                <a:lnTo>
                  <a:pt x="31" y="84"/>
                </a:lnTo>
                <a:lnTo>
                  <a:pt x="28" y="84"/>
                </a:lnTo>
                <a:lnTo>
                  <a:pt x="25" y="81"/>
                </a:lnTo>
                <a:lnTo>
                  <a:pt x="22" y="84"/>
                </a:lnTo>
                <a:lnTo>
                  <a:pt x="22" y="87"/>
                </a:lnTo>
                <a:lnTo>
                  <a:pt x="25" y="94"/>
                </a:lnTo>
                <a:lnTo>
                  <a:pt x="25" y="87"/>
                </a:lnTo>
                <a:lnTo>
                  <a:pt x="25" y="87"/>
                </a:lnTo>
                <a:lnTo>
                  <a:pt x="28" y="87"/>
                </a:lnTo>
                <a:lnTo>
                  <a:pt x="31" y="87"/>
                </a:lnTo>
                <a:lnTo>
                  <a:pt x="34" y="94"/>
                </a:lnTo>
                <a:lnTo>
                  <a:pt x="37" y="94"/>
                </a:lnTo>
                <a:lnTo>
                  <a:pt x="41" y="100"/>
                </a:lnTo>
                <a:lnTo>
                  <a:pt x="41" y="106"/>
                </a:lnTo>
                <a:lnTo>
                  <a:pt x="41" y="109"/>
                </a:lnTo>
                <a:lnTo>
                  <a:pt x="41" y="119"/>
                </a:lnTo>
                <a:lnTo>
                  <a:pt x="41" y="125"/>
                </a:lnTo>
                <a:lnTo>
                  <a:pt x="47" y="134"/>
                </a:lnTo>
                <a:lnTo>
                  <a:pt x="50" y="131"/>
                </a:lnTo>
                <a:lnTo>
                  <a:pt x="59" y="131"/>
                </a:lnTo>
                <a:lnTo>
                  <a:pt x="59" y="125"/>
                </a:lnTo>
                <a:lnTo>
                  <a:pt x="62" y="122"/>
                </a:lnTo>
                <a:lnTo>
                  <a:pt x="66" y="122"/>
                </a:lnTo>
                <a:lnTo>
                  <a:pt x="75" y="116"/>
                </a:lnTo>
                <a:lnTo>
                  <a:pt x="84" y="116"/>
                </a:lnTo>
                <a:lnTo>
                  <a:pt x="91" y="116"/>
                </a:lnTo>
                <a:lnTo>
                  <a:pt x="91" y="112"/>
                </a:lnTo>
                <a:lnTo>
                  <a:pt x="97" y="109"/>
                </a:lnTo>
                <a:lnTo>
                  <a:pt x="100" y="112"/>
                </a:lnTo>
                <a:lnTo>
                  <a:pt x="103" y="112"/>
                </a:lnTo>
                <a:lnTo>
                  <a:pt x="112" y="119"/>
                </a:lnTo>
                <a:lnTo>
                  <a:pt x="116" y="119"/>
                </a:lnTo>
                <a:lnTo>
                  <a:pt x="128" y="125"/>
                </a:lnTo>
                <a:lnTo>
                  <a:pt x="131" y="125"/>
                </a:lnTo>
                <a:lnTo>
                  <a:pt x="134" y="125"/>
                </a:lnTo>
                <a:lnTo>
                  <a:pt x="144" y="128"/>
                </a:lnTo>
                <a:lnTo>
                  <a:pt x="147" y="128"/>
                </a:lnTo>
                <a:lnTo>
                  <a:pt x="147" y="134"/>
                </a:lnTo>
                <a:lnTo>
                  <a:pt x="150" y="134"/>
                </a:lnTo>
                <a:lnTo>
                  <a:pt x="153" y="134"/>
                </a:lnTo>
                <a:lnTo>
                  <a:pt x="162" y="138"/>
                </a:lnTo>
                <a:lnTo>
                  <a:pt x="169" y="147"/>
                </a:lnTo>
                <a:lnTo>
                  <a:pt x="178" y="147"/>
                </a:lnTo>
                <a:lnTo>
                  <a:pt x="181" y="150"/>
                </a:lnTo>
                <a:lnTo>
                  <a:pt x="184" y="156"/>
                </a:lnTo>
                <a:lnTo>
                  <a:pt x="184" y="159"/>
                </a:lnTo>
                <a:lnTo>
                  <a:pt x="187" y="163"/>
                </a:lnTo>
                <a:lnTo>
                  <a:pt x="187" y="166"/>
                </a:lnTo>
                <a:lnTo>
                  <a:pt x="187" y="169"/>
                </a:lnTo>
                <a:lnTo>
                  <a:pt x="191" y="169"/>
                </a:lnTo>
                <a:lnTo>
                  <a:pt x="194" y="169"/>
                </a:lnTo>
                <a:lnTo>
                  <a:pt x="197" y="172"/>
                </a:lnTo>
                <a:lnTo>
                  <a:pt x="200" y="172"/>
                </a:lnTo>
                <a:lnTo>
                  <a:pt x="203" y="169"/>
                </a:lnTo>
                <a:lnTo>
                  <a:pt x="206" y="169"/>
                </a:lnTo>
                <a:lnTo>
                  <a:pt x="209" y="172"/>
                </a:lnTo>
                <a:lnTo>
                  <a:pt x="212" y="175"/>
                </a:lnTo>
                <a:lnTo>
                  <a:pt x="212" y="178"/>
                </a:lnTo>
                <a:lnTo>
                  <a:pt x="216" y="175"/>
                </a:lnTo>
                <a:lnTo>
                  <a:pt x="222" y="175"/>
                </a:lnTo>
                <a:lnTo>
                  <a:pt x="225" y="172"/>
                </a:lnTo>
                <a:lnTo>
                  <a:pt x="225" y="169"/>
                </a:lnTo>
                <a:lnTo>
                  <a:pt x="228" y="166"/>
                </a:lnTo>
                <a:lnTo>
                  <a:pt x="225" y="163"/>
                </a:lnTo>
                <a:lnTo>
                  <a:pt x="231" y="159"/>
                </a:lnTo>
                <a:lnTo>
                  <a:pt x="241" y="159"/>
                </a:lnTo>
                <a:lnTo>
                  <a:pt x="241" y="156"/>
                </a:lnTo>
                <a:lnTo>
                  <a:pt x="244" y="153"/>
                </a:lnTo>
                <a:lnTo>
                  <a:pt x="247" y="153"/>
                </a:lnTo>
                <a:lnTo>
                  <a:pt x="247" y="147"/>
                </a:lnTo>
                <a:lnTo>
                  <a:pt x="247" y="144"/>
                </a:lnTo>
                <a:lnTo>
                  <a:pt x="253" y="138"/>
                </a:lnTo>
                <a:lnTo>
                  <a:pt x="253" y="134"/>
                </a:lnTo>
                <a:lnTo>
                  <a:pt x="250" y="134"/>
                </a:lnTo>
                <a:lnTo>
                  <a:pt x="250" y="131"/>
                </a:lnTo>
                <a:lnTo>
                  <a:pt x="253" y="131"/>
                </a:lnTo>
                <a:lnTo>
                  <a:pt x="256" y="128"/>
                </a:lnTo>
                <a:lnTo>
                  <a:pt x="259" y="128"/>
                </a:lnTo>
                <a:lnTo>
                  <a:pt x="262" y="128"/>
                </a:lnTo>
                <a:lnTo>
                  <a:pt x="269" y="122"/>
                </a:lnTo>
                <a:lnTo>
                  <a:pt x="272" y="122"/>
                </a:lnTo>
                <a:lnTo>
                  <a:pt x="275" y="125"/>
                </a:lnTo>
                <a:lnTo>
                  <a:pt x="281" y="122"/>
                </a:lnTo>
                <a:lnTo>
                  <a:pt x="281" y="125"/>
                </a:lnTo>
                <a:lnTo>
                  <a:pt x="281" y="125"/>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2" name="Freeform 20">
            <a:extLst>
              <a:ext uri="{FF2B5EF4-FFF2-40B4-BE49-F238E27FC236}">
                <a16:creationId xmlns:a16="http://schemas.microsoft.com/office/drawing/2014/main" id="{5B555ADE-C660-659F-5182-A6C37775A0EB}"/>
              </a:ext>
            </a:extLst>
          </p:cNvPr>
          <p:cNvSpPr>
            <a:spLocks noEditPoints="1"/>
          </p:cNvSpPr>
          <p:nvPr userDrawn="1"/>
        </p:nvSpPr>
        <p:spPr bwMode="auto">
          <a:xfrm>
            <a:off x="24195100" y="10489487"/>
            <a:ext cx="187314" cy="158750"/>
          </a:xfrm>
          <a:custGeom>
            <a:avLst/>
            <a:gdLst>
              <a:gd name="T0" fmla="*/ 28 w 59"/>
              <a:gd name="T1" fmla="*/ 19 h 50"/>
              <a:gd name="T2" fmla="*/ 31 w 59"/>
              <a:gd name="T3" fmla="*/ 12 h 50"/>
              <a:gd name="T4" fmla="*/ 34 w 59"/>
              <a:gd name="T5" fmla="*/ 12 h 50"/>
              <a:gd name="T6" fmla="*/ 40 w 59"/>
              <a:gd name="T7" fmla="*/ 9 h 50"/>
              <a:gd name="T8" fmla="*/ 43 w 59"/>
              <a:gd name="T9" fmla="*/ 9 h 50"/>
              <a:gd name="T10" fmla="*/ 50 w 59"/>
              <a:gd name="T11" fmla="*/ 6 h 50"/>
              <a:gd name="T12" fmla="*/ 53 w 59"/>
              <a:gd name="T13" fmla="*/ 6 h 50"/>
              <a:gd name="T14" fmla="*/ 59 w 59"/>
              <a:gd name="T15" fmla="*/ 0 h 50"/>
              <a:gd name="T16" fmla="*/ 59 w 59"/>
              <a:gd name="T17" fmla="*/ 3 h 50"/>
              <a:gd name="T18" fmla="*/ 56 w 59"/>
              <a:gd name="T19" fmla="*/ 6 h 50"/>
              <a:gd name="T20" fmla="*/ 56 w 59"/>
              <a:gd name="T21" fmla="*/ 9 h 50"/>
              <a:gd name="T22" fmla="*/ 50 w 59"/>
              <a:gd name="T23" fmla="*/ 15 h 50"/>
              <a:gd name="T24" fmla="*/ 53 w 59"/>
              <a:gd name="T25" fmla="*/ 15 h 50"/>
              <a:gd name="T26" fmla="*/ 56 w 59"/>
              <a:gd name="T27" fmla="*/ 12 h 50"/>
              <a:gd name="T28" fmla="*/ 59 w 59"/>
              <a:gd name="T29" fmla="*/ 15 h 50"/>
              <a:gd name="T30" fmla="*/ 56 w 59"/>
              <a:gd name="T31" fmla="*/ 19 h 50"/>
              <a:gd name="T32" fmla="*/ 46 w 59"/>
              <a:gd name="T33" fmla="*/ 19 h 50"/>
              <a:gd name="T34" fmla="*/ 43 w 59"/>
              <a:gd name="T35" fmla="*/ 15 h 50"/>
              <a:gd name="T36" fmla="*/ 40 w 59"/>
              <a:gd name="T37" fmla="*/ 15 h 50"/>
              <a:gd name="T38" fmla="*/ 40 w 59"/>
              <a:gd name="T39" fmla="*/ 19 h 50"/>
              <a:gd name="T40" fmla="*/ 34 w 59"/>
              <a:gd name="T41" fmla="*/ 19 h 50"/>
              <a:gd name="T42" fmla="*/ 31 w 59"/>
              <a:gd name="T43" fmla="*/ 22 h 50"/>
              <a:gd name="T44" fmla="*/ 28 w 59"/>
              <a:gd name="T45" fmla="*/ 19 h 50"/>
              <a:gd name="T46" fmla="*/ 28 w 59"/>
              <a:gd name="T47" fmla="*/ 19 h 50"/>
              <a:gd name="T48" fmla="*/ 6 w 59"/>
              <a:gd name="T49" fmla="*/ 34 h 50"/>
              <a:gd name="T50" fmla="*/ 12 w 59"/>
              <a:gd name="T51" fmla="*/ 31 h 50"/>
              <a:gd name="T52" fmla="*/ 21 w 59"/>
              <a:gd name="T53" fmla="*/ 28 h 50"/>
              <a:gd name="T54" fmla="*/ 28 w 59"/>
              <a:gd name="T55" fmla="*/ 34 h 50"/>
              <a:gd name="T56" fmla="*/ 31 w 59"/>
              <a:gd name="T57" fmla="*/ 47 h 50"/>
              <a:gd name="T58" fmla="*/ 25 w 59"/>
              <a:gd name="T59" fmla="*/ 50 h 50"/>
              <a:gd name="T60" fmla="*/ 18 w 59"/>
              <a:gd name="T61" fmla="*/ 47 h 50"/>
              <a:gd name="T62" fmla="*/ 15 w 59"/>
              <a:gd name="T63" fmla="*/ 50 h 50"/>
              <a:gd name="T64" fmla="*/ 6 w 59"/>
              <a:gd name="T65" fmla="*/ 50 h 50"/>
              <a:gd name="T66" fmla="*/ 0 w 59"/>
              <a:gd name="T67" fmla="*/ 47 h 50"/>
              <a:gd name="T68" fmla="*/ 0 w 59"/>
              <a:gd name="T69" fmla="*/ 40 h 50"/>
              <a:gd name="T70" fmla="*/ 6 w 59"/>
              <a:gd name="T71" fmla="*/ 40 h 50"/>
              <a:gd name="T72" fmla="*/ 6 w 59"/>
              <a:gd name="T73" fmla="*/ 3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 h="50">
                <a:moveTo>
                  <a:pt x="28" y="19"/>
                </a:moveTo>
                <a:lnTo>
                  <a:pt x="31" y="12"/>
                </a:lnTo>
                <a:lnTo>
                  <a:pt x="34" y="12"/>
                </a:lnTo>
                <a:lnTo>
                  <a:pt x="40" y="9"/>
                </a:lnTo>
                <a:lnTo>
                  <a:pt x="43" y="9"/>
                </a:lnTo>
                <a:lnTo>
                  <a:pt x="50" y="6"/>
                </a:lnTo>
                <a:lnTo>
                  <a:pt x="53" y="6"/>
                </a:lnTo>
                <a:lnTo>
                  <a:pt x="59" y="0"/>
                </a:lnTo>
                <a:lnTo>
                  <a:pt x="59" y="3"/>
                </a:lnTo>
                <a:lnTo>
                  <a:pt x="56" y="6"/>
                </a:lnTo>
                <a:lnTo>
                  <a:pt x="56" y="9"/>
                </a:lnTo>
                <a:lnTo>
                  <a:pt x="50" y="15"/>
                </a:lnTo>
                <a:lnTo>
                  <a:pt x="53" y="15"/>
                </a:lnTo>
                <a:lnTo>
                  <a:pt x="56" y="12"/>
                </a:lnTo>
                <a:lnTo>
                  <a:pt x="59" y="15"/>
                </a:lnTo>
                <a:lnTo>
                  <a:pt x="56" y="19"/>
                </a:lnTo>
                <a:lnTo>
                  <a:pt x="46" y="19"/>
                </a:lnTo>
                <a:lnTo>
                  <a:pt x="43" y="15"/>
                </a:lnTo>
                <a:lnTo>
                  <a:pt x="40" y="15"/>
                </a:lnTo>
                <a:lnTo>
                  <a:pt x="40" y="19"/>
                </a:lnTo>
                <a:lnTo>
                  <a:pt x="34" y="19"/>
                </a:lnTo>
                <a:lnTo>
                  <a:pt x="31" y="22"/>
                </a:lnTo>
                <a:lnTo>
                  <a:pt x="28" y="19"/>
                </a:lnTo>
                <a:lnTo>
                  <a:pt x="28" y="19"/>
                </a:lnTo>
                <a:close/>
                <a:moveTo>
                  <a:pt x="6" y="34"/>
                </a:moveTo>
                <a:lnTo>
                  <a:pt x="12" y="31"/>
                </a:lnTo>
                <a:lnTo>
                  <a:pt x="21" y="28"/>
                </a:lnTo>
                <a:lnTo>
                  <a:pt x="28" y="34"/>
                </a:lnTo>
                <a:lnTo>
                  <a:pt x="31" y="47"/>
                </a:lnTo>
                <a:lnTo>
                  <a:pt x="25" y="50"/>
                </a:lnTo>
                <a:lnTo>
                  <a:pt x="18" y="47"/>
                </a:lnTo>
                <a:lnTo>
                  <a:pt x="15" y="50"/>
                </a:lnTo>
                <a:lnTo>
                  <a:pt x="6" y="50"/>
                </a:lnTo>
                <a:lnTo>
                  <a:pt x="0" y="47"/>
                </a:lnTo>
                <a:lnTo>
                  <a:pt x="0" y="40"/>
                </a:lnTo>
                <a:lnTo>
                  <a:pt x="6" y="40"/>
                </a:lnTo>
                <a:lnTo>
                  <a:pt x="6" y="34"/>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3" name="Freeform 21">
            <a:extLst>
              <a:ext uri="{FF2B5EF4-FFF2-40B4-BE49-F238E27FC236}">
                <a16:creationId xmlns:a16="http://schemas.microsoft.com/office/drawing/2014/main" id="{A050925C-1F77-34D5-5383-F9B71DE8EE28}"/>
              </a:ext>
            </a:extLst>
          </p:cNvPr>
          <p:cNvSpPr>
            <a:spLocks noEditPoints="1"/>
          </p:cNvSpPr>
          <p:nvPr userDrawn="1"/>
        </p:nvSpPr>
        <p:spPr bwMode="auto">
          <a:xfrm>
            <a:off x="23547440" y="10368837"/>
            <a:ext cx="139693" cy="377826"/>
          </a:xfrm>
          <a:custGeom>
            <a:avLst/>
            <a:gdLst>
              <a:gd name="T0" fmla="*/ 14 w 14"/>
              <a:gd name="T1" fmla="*/ 37 h 38"/>
              <a:gd name="T2" fmla="*/ 14 w 14"/>
              <a:gd name="T3" fmla="*/ 37 h 38"/>
              <a:gd name="T4" fmla="*/ 13 w 14"/>
              <a:gd name="T5" fmla="*/ 30 h 38"/>
              <a:gd name="T6" fmla="*/ 14 w 14"/>
              <a:gd name="T7" fmla="*/ 33 h 38"/>
              <a:gd name="T8" fmla="*/ 13 w 14"/>
              <a:gd name="T9" fmla="*/ 30 h 38"/>
              <a:gd name="T10" fmla="*/ 9 w 14"/>
              <a:gd name="T11" fmla="*/ 22 h 38"/>
              <a:gd name="T12" fmla="*/ 11 w 14"/>
              <a:gd name="T13" fmla="*/ 22 h 38"/>
              <a:gd name="T14" fmla="*/ 10 w 14"/>
              <a:gd name="T15" fmla="*/ 24 h 38"/>
              <a:gd name="T16" fmla="*/ 9 w 14"/>
              <a:gd name="T17" fmla="*/ 22 h 38"/>
              <a:gd name="T18" fmla="*/ 11 w 14"/>
              <a:gd name="T19" fmla="*/ 4 h 38"/>
              <a:gd name="T20" fmla="*/ 11 w 14"/>
              <a:gd name="T21" fmla="*/ 4 h 38"/>
              <a:gd name="T22" fmla="*/ 7 w 14"/>
              <a:gd name="T23" fmla="*/ 6 h 38"/>
              <a:gd name="T24" fmla="*/ 9 w 14"/>
              <a:gd name="T25" fmla="*/ 5 h 38"/>
              <a:gd name="T26" fmla="*/ 8 w 14"/>
              <a:gd name="T27" fmla="*/ 5 h 38"/>
              <a:gd name="T28" fmla="*/ 10 w 14"/>
              <a:gd name="T29" fmla="*/ 7 h 38"/>
              <a:gd name="T30" fmla="*/ 11 w 14"/>
              <a:gd name="T31" fmla="*/ 9 h 38"/>
              <a:gd name="T32" fmla="*/ 10 w 14"/>
              <a:gd name="T33" fmla="*/ 10 h 38"/>
              <a:gd name="T34" fmla="*/ 10 w 14"/>
              <a:gd name="T35" fmla="*/ 7 h 38"/>
              <a:gd name="T36" fmla="*/ 10 w 14"/>
              <a:gd name="T37" fmla="*/ 15 h 38"/>
              <a:gd name="T38" fmla="*/ 11 w 14"/>
              <a:gd name="T39" fmla="*/ 17 h 38"/>
              <a:gd name="T40" fmla="*/ 9 w 14"/>
              <a:gd name="T41" fmla="*/ 16 h 38"/>
              <a:gd name="T42" fmla="*/ 10 w 14"/>
              <a:gd name="T43" fmla="*/ 12 h 38"/>
              <a:gd name="T44" fmla="*/ 11 w 14"/>
              <a:gd name="T45" fmla="*/ 13 h 38"/>
              <a:gd name="T46" fmla="*/ 10 w 14"/>
              <a:gd name="T47" fmla="*/ 14 h 38"/>
              <a:gd name="T48" fmla="*/ 9 w 14"/>
              <a:gd name="T49" fmla="*/ 14 h 38"/>
              <a:gd name="T50" fmla="*/ 8 w 14"/>
              <a:gd name="T51" fmla="*/ 13 h 38"/>
              <a:gd name="T52" fmla="*/ 5 w 14"/>
              <a:gd name="T53" fmla="*/ 10 h 38"/>
              <a:gd name="T54" fmla="*/ 6 w 14"/>
              <a:gd name="T55" fmla="*/ 12 h 38"/>
              <a:gd name="T56" fmla="*/ 7 w 14"/>
              <a:gd name="T57" fmla="*/ 14 h 38"/>
              <a:gd name="T58" fmla="*/ 5 w 14"/>
              <a:gd name="T59" fmla="*/ 15 h 38"/>
              <a:gd name="T60" fmla="*/ 5 w 14"/>
              <a:gd name="T61" fmla="*/ 13 h 38"/>
              <a:gd name="T62" fmla="*/ 4 w 14"/>
              <a:gd name="T63" fmla="*/ 11 h 38"/>
              <a:gd name="T64" fmla="*/ 3 w 14"/>
              <a:gd name="T65" fmla="*/ 10 h 38"/>
              <a:gd name="T66" fmla="*/ 1 w 14"/>
              <a:gd name="T67" fmla="*/ 0 h 38"/>
              <a:gd name="T68" fmla="*/ 0 w 14"/>
              <a:gd name="T69" fmla="*/ 5 h 38"/>
              <a:gd name="T70" fmla="*/ 1 w 14"/>
              <a:gd name="T71" fmla="*/ 8 h 38"/>
              <a:gd name="T72" fmla="*/ 3 w 14"/>
              <a:gd name="T73" fmla="*/ 7 h 38"/>
              <a:gd name="T74" fmla="*/ 4 w 14"/>
              <a:gd name="T75" fmla="*/ 7 h 38"/>
              <a:gd name="T76" fmla="*/ 4 w 14"/>
              <a:gd name="T77" fmla="*/ 4 h 38"/>
              <a:gd name="T78" fmla="*/ 3 w 14"/>
              <a:gd name="T79" fmla="*/ 2 h 38"/>
              <a:gd name="T80" fmla="*/ 3 w 14"/>
              <a:gd name="T81" fmla="*/ 4 h 38"/>
              <a:gd name="T82" fmla="*/ 2 w 14"/>
              <a:gd name="T83" fmla="*/ 4 h 38"/>
              <a:gd name="T84" fmla="*/ 1 w 14"/>
              <a:gd name="T8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 h="38">
                <a:moveTo>
                  <a:pt x="14" y="36"/>
                </a:moveTo>
                <a:cubicBezTo>
                  <a:pt x="14" y="37"/>
                  <a:pt x="14" y="37"/>
                  <a:pt x="14" y="37"/>
                </a:cubicBezTo>
                <a:cubicBezTo>
                  <a:pt x="14" y="38"/>
                  <a:pt x="14" y="38"/>
                  <a:pt x="14" y="38"/>
                </a:cubicBezTo>
                <a:cubicBezTo>
                  <a:pt x="14" y="37"/>
                  <a:pt x="14" y="37"/>
                  <a:pt x="14" y="37"/>
                </a:cubicBezTo>
                <a:cubicBezTo>
                  <a:pt x="14" y="36"/>
                  <a:pt x="14" y="36"/>
                  <a:pt x="14" y="36"/>
                </a:cubicBezTo>
                <a:close/>
                <a:moveTo>
                  <a:pt x="13" y="30"/>
                </a:moveTo>
                <a:cubicBezTo>
                  <a:pt x="14" y="31"/>
                  <a:pt x="14" y="31"/>
                  <a:pt x="14" y="31"/>
                </a:cubicBezTo>
                <a:cubicBezTo>
                  <a:pt x="14" y="33"/>
                  <a:pt x="14" y="33"/>
                  <a:pt x="14" y="33"/>
                </a:cubicBezTo>
                <a:cubicBezTo>
                  <a:pt x="13" y="32"/>
                  <a:pt x="13" y="32"/>
                  <a:pt x="13" y="32"/>
                </a:cubicBezTo>
                <a:cubicBezTo>
                  <a:pt x="13" y="30"/>
                  <a:pt x="13" y="30"/>
                  <a:pt x="13" y="30"/>
                </a:cubicBezTo>
                <a:cubicBezTo>
                  <a:pt x="13" y="30"/>
                  <a:pt x="13" y="30"/>
                  <a:pt x="13" y="30"/>
                </a:cubicBezTo>
                <a:close/>
                <a:moveTo>
                  <a:pt x="9" y="22"/>
                </a:moveTo>
                <a:cubicBezTo>
                  <a:pt x="10" y="21"/>
                  <a:pt x="10" y="21"/>
                  <a:pt x="10" y="21"/>
                </a:cubicBezTo>
                <a:cubicBezTo>
                  <a:pt x="11" y="22"/>
                  <a:pt x="11" y="22"/>
                  <a:pt x="11" y="22"/>
                </a:cubicBezTo>
                <a:cubicBezTo>
                  <a:pt x="11" y="24"/>
                  <a:pt x="11" y="24"/>
                  <a:pt x="11" y="24"/>
                </a:cubicBezTo>
                <a:cubicBezTo>
                  <a:pt x="10" y="24"/>
                  <a:pt x="10" y="24"/>
                  <a:pt x="10" y="24"/>
                </a:cubicBezTo>
                <a:cubicBezTo>
                  <a:pt x="9" y="23"/>
                  <a:pt x="9" y="23"/>
                  <a:pt x="9" y="23"/>
                </a:cubicBezTo>
                <a:cubicBezTo>
                  <a:pt x="9" y="22"/>
                  <a:pt x="9" y="22"/>
                  <a:pt x="9" y="22"/>
                </a:cubicBezTo>
                <a:close/>
                <a:moveTo>
                  <a:pt x="10" y="2"/>
                </a:moveTo>
                <a:cubicBezTo>
                  <a:pt x="11" y="4"/>
                  <a:pt x="11" y="4"/>
                  <a:pt x="11" y="4"/>
                </a:cubicBezTo>
                <a:cubicBezTo>
                  <a:pt x="10" y="5"/>
                  <a:pt x="10" y="5"/>
                  <a:pt x="10" y="5"/>
                </a:cubicBezTo>
                <a:cubicBezTo>
                  <a:pt x="11" y="4"/>
                  <a:pt x="11" y="4"/>
                  <a:pt x="11" y="4"/>
                </a:cubicBezTo>
                <a:cubicBezTo>
                  <a:pt x="10" y="2"/>
                  <a:pt x="10" y="2"/>
                  <a:pt x="10" y="2"/>
                </a:cubicBezTo>
                <a:close/>
                <a:moveTo>
                  <a:pt x="7" y="6"/>
                </a:moveTo>
                <a:cubicBezTo>
                  <a:pt x="8" y="6"/>
                  <a:pt x="8" y="6"/>
                  <a:pt x="8" y="6"/>
                </a:cubicBezTo>
                <a:cubicBezTo>
                  <a:pt x="9" y="5"/>
                  <a:pt x="9" y="5"/>
                  <a:pt x="9" y="5"/>
                </a:cubicBezTo>
                <a:cubicBezTo>
                  <a:pt x="9" y="5"/>
                  <a:pt x="9" y="5"/>
                  <a:pt x="9" y="5"/>
                </a:cubicBezTo>
                <a:cubicBezTo>
                  <a:pt x="8" y="5"/>
                  <a:pt x="8" y="5"/>
                  <a:pt x="8" y="5"/>
                </a:cubicBezTo>
                <a:cubicBezTo>
                  <a:pt x="8" y="5"/>
                  <a:pt x="7" y="6"/>
                  <a:pt x="7" y="6"/>
                </a:cubicBezTo>
                <a:close/>
                <a:moveTo>
                  <a:pt x="10" y="7"/>
                </a:moveTo>
                <a:cubicBezTo>
                  <a:pt x="11" y="8"/>
                  <a:pt x="11" y="8"/>
                  <a:pt x="11" y="8"/>
                </a:cubicBezTo>
                <a:cubicBezTo>
                  <a:pt x="11" y="9"/>
                  <a:pt x="11" y="9"/>
                  <a:pt x="11" y="9"/>
                </a:cubicBezTo>
                <a:cubicBezTo>
                  <a:pt x="11" y="10"/>
                  <a:pt x="11" y="10"/>
                  <a:pt x="11" y="10"/>
                </a:cubicBezTo>
                <a:cubicBezTo>
                  <a:pt x="10" y="10"/>
                  <a:pt x="10" y="10"/>
                  <a:pt x="10" y="10"/>
                </a:cubicBezTo>
                <a:cubicBezTo>
                  <a:pt x="10" y="9"/>
                  <a:pt x="10" y="9"/>
                  <a:pt x="10" y="9"/>
                </a:cubicBezTo>
                <a:cubicBezTo>
                  <a:pt x="10" y="9"/>
                  <a:pt x="10" y="7"/>
                  <a:pt x="10" y="7"/>
                </a:cubicBezTo>
                <a:close/>
                <a:moveTo>
                  <a:pt x="9" y="16"/>
                </a:moveTo>
                <a:cubicBezTo>
                  <a:pt x="10" y="15"/>
                  <a:pt x="10" y="15"/>
                  <a:pt x="10" y="15"/>
                </a:cubicBezTo>
                <a:cubicBezTo>
                  <a:pt x="11" y="16"/>
                  <a:pt x="11" y="16"/>
                  <a:pt x="11" y="16"/>
                </a:cubicBezTo>
                <a:cubicBezTo>
                  <a:pt x="11" y="17"/>
                  <a:pt x="11" y="17"/>
                  <a:pt x="11" y="17"/>
                </a:cubicBezTo>
                <a:cubicBezTo>
                  <a:pt x="9" y="17"/>
                  <a:pt x="9" y="17"/>
                  <a:pt x="9" y="17"/>
                </a:cubicBezTo>
                <a:cubicBezTo>
                  <a:pt x="9" y="16"/>
                  <a:pt x="9" y="16"/>
                  <a:pt x="9" y="16"/>
                </a:cubicBezTo>
                <a:close/>
                <a:moveTo>
                  <a:pt x="8" y="13"/>
                </a:moveTo>
                <a:cubicBezTo>
                  <a:pt x="10" y="12"/>
                  <a:pt x="10" y="12"/>
                  <a:pt x="10" y="12"/>
                </a:cubicBezTo>
                <a:cubicBezTo>
                  <a:pt x="10" y="13"/>
                  <a:pt x="10" y="13"/>
                  <a:pt x="10" y="13"/>
                </a:cubicBezTo>
                <a:cubicBezTo>
                  <a:pt x="11" y="13"/>
                  <a:pt x="11" y="13"/>
                  <a:pt x="11" y="13"/>
                </a:cubicBezTo>
                <a:cubicBezTo>
                  <a:pt x="10" y="14"/>
                  <a:pt x="10" y="14"/>
                  <a:pt x="10" y="14"/>
                </a:cubicBezTo>
                <a:cubicBezTo>
                  <a:pt x="10" y="14"/>
                  <a:pt x="10" y="14"/>
                  <a:pt x="10" y="14"/>
                </a:cubicBezTo>
                <a:cubicBezTo>
                  <a:pt x="9" y="14"/>
                  <a:pt x="9" y="14"/>
                  <a:pt x="9" y="14"/>
                </a:cubicBezTo>
                <a:cubicBezTo>
                  <a:pt x="9" y="14"/>
                  <a:pt x="9" y="14"/>
                  <a:pt x="9" y="14"/>
                </a:cubicBezTo>
                <a:cubicBezTo>
                  <a:pt x="8" y="14"/>
                  <a:pt x="8" y="14"/>
                  <a:pt x="8" y="14"/>
                </a:cubicBezTo>
                <a:cubicBezTo>
                  <a:pt x="8" y="13"/>
                  <a:pt x="8" y="13"/>
                  <a:pt x="8" y="13"/>
                </a:cubicBezTo>
                <a:close/>
                <a:moveTo>
                  <a:pt x="4" y="10"/>
                </a:moveTo>
                <a:cubicBezTo>
                  <a:pt x="5" y="10"/>
                  <a:pt x="5" y="10"/>
                  <a:pt x="5" y="10"/>
                </a:cubicBezTo>
                <a:cubicBezTo>
                  <a:pt x="6" y="11"/>
                  <a:pt x="6" y="11"/>
                  <a:pt x="6" y="11"/>
                </a:cubicBezTo>
                <a:cubicBezTo>
                  <a:pt x="6" y="12"/>
                  <a:pt x="6" y="12"/>
                  <a:pt x="6" y="12"/>
                </a:cubicBezTo>
                <a:cubicBezTo>
                  <a:pt x="7" y="13"/>
                  <a:pt x="7" y="13"/>
                  <a:pt x="7" y="13"/>
                </a:cubicBezTo>
                <a:cubicBezTo>
                  <a:pt x="7" y="14"/>
                  <a:pt x="7" y="14"/>
                  <a:pt x="7" y="14"/>
                </a:cubicBezTo>
                <a:cubicBezTo>
                  <a:pt x="6" y="15"/>
                  <a:pt x="6" y="15"/>
                  <a:pt x="6" y="15"/>
                </a:cubicBezTo>
                <a:cubicBezTo>
                  <a:pt x="5" y="15"/>
                  <a:pt x="5" y="15"/>
                  <a:pt x="5" y="15"/>
                </a:cubicBezTo>
                <a:cubicBezTo>
                  <a:pt x="4" y="14"/>
                  <a:pt x="4" y="14"/>
                  <a:pt x="4" y="14"/>
                </a:cubicBezTo>
                <a:cubicBezTo>
                  <a:pt x="5" y="13"/>
                  <a:pt x="5" y="13"/>
                  <a:pt x="5" y="13"/>
                </a:cubicBezTo>
                <a:cubicBezTo>
                  <a:pt x="5" y="12"/>
                  <a:pt x="5" y="12"/>
                  <a:pt x="5" y="12"/>
                </a:cubicBezTo>
                <a:cubicBezTo>
                  <a:pt x="4" y="11"/>
                  <a:pt x="4" y="11"/>
                  <a:pt x="4" y="11"/>
                </a:cubicBezTo>
                <a:cubicBezTo>
                  <a:pt x="4" y="11"/>
                  <a:pt x="4" y="11"/>
                  <a:pt x="4" y="11"/>
                </a:cubicBezTo>
                <a:cubicBezTo>
                  <a:pt x="3" y="10"/>
                  <a:pt x="3" y="10"/>
                  <a:pt x="3" y="10"/>
                </a:cubicBezTo>
                <a:cubicBezTo>
                  <a:pt x="4" y="10"/>
                  <a:pt x="4" y="10"/>
                  <a:pt x="4" y="10"/>
                </a:cubicBezTo>
                <a:close/>
                <a:moveTo>
                  <a:pt x="1" y="0"/>
                </a:moveTo>
                <a:cubicBezTo>
                  <a:pt x="0" y="3"/>
                  <a:pt x="0" y="3"/>
                  <a:pt x="0" y="3"/>
                </a:cubicBezTo>
                <a:cubicBezTo>
                  <a:pt x="0" y="5"/>
                  <a:pt x="0" y="5"/>
                  <a:pt x="0" y="5"/>
                </a:cubicBezTo>
                <a:cubicBezTo>
                  <a:pt x="0" y="6"/>
                  <a:pt x="0" y="6"/>
                  <a:pt x="0" y="6"/>
                </a:cubicBezTo>
                <a:cubicBezTo>
                  <a:pt x="1" y="8"/>
                  <a:pt x="1" y="8"/>
                  <a:pt x="1" y="8"/>
                </a:cubicBezTo>
                <a:cubicBezTo>
                  <a:pt x="2" y="8"/>
                  <a:pt x="2" y="8"/>
                  <a:pt x="2" y="8"/>
                </a:cubicBezTo>
                <a:cubicBezTo>
                  <a:pt x="3" y="7"/>
                  <a:pt x="3" y="7"/>
                  <a:pt x="3" y="7"/>
                </a:cubicBezTo>
                <a:cubicBezTo>
                  <a:pt x="3" y="7"/>
                  <a:pt x="3" y="7"/>
                  <a:pt x="3" y="7"/>
                </a:cubicBezTo>
                <a:cubicBezTo>
                  <a:pt x="4" y="7"/>
                  <a:pt x="4" y="7"/>
                  <a:pt x="4" y="7"/>
                </a:cubicBezTo>
                <a:cubicBezTo>
                  <a:pt x="4" y="5"/>
                  <a:pt x="4" y="5"/>
                  <a:pt x="4" y="5"/>
                </a:cubicBezTo>
                <a:cubicBezTo>
                  <a:pt x="4" y="4"/>
                  <a:pt x="4" y="4"/>
                  <a:pt x="4" y="4"/>
                </a:cubicBezTo>
                <a:cubicBezTo>
                  <a:pt x="4" y="3"/>
                  <a:pt x="4" y="3"/>
                  <a:pt x="4" y="3"/>
                </a:cubicBezTo>
                <a:cubicBezTo>
                  <a:pt x="3" y="2"/>
                  <a:pt x="3" y="2"/>
                  <a:pt x="3" y="2"/>
                </a:cubicBezTo>
                <a:cubicBezTo>
                  <a:pt x="3" y="3"/>
                  <a:pt x="3" y="3"/>
                  <a:pt x="3" y="3"/>
                </a:cubicBezTo>
                <a:cubicBezTo>
                  <a:pt x="3" y="4"/>
                  <a:pt x="3" y="4"/>
                  <a:pt x="3" y="4"/>
                </a:cubicBezTo>
                <a:cubicBezTo>
                  <a:pt x="2" y="4"/>
                  <a:pt x="2" y="4"/>
                  <a:pt x="2" y="4"/>
                </a:cubicBezTo>
                <a:cubicBezTo>
                  <a:pt x="2" y="4"/>
                  <a:pt x="2" y="4"/>
                  <a:pt x="2" y="4"/>
                </a:cubicBezTo>
                <a:cubicBezTo>
                  <a:pt x="1" y="1"/>
                  <a:pt x="1" y="1"/>
                  <a:pt x="1" y="1"/>
                </a:cubicBezTo>
                <a:cubicBezTo>
                  <a:pt x="1" y="1"/>
                  <a:pt x="1" y="0"/>
                  <a:pt x="1" y="0"/>
                </a:cubicBez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4" name="Freeform 22">
            <a:extLst>
              <a:ext uri="{FF2B5EF4-FFF2-40B4-BE49-F238E27FC236}">
                <a16:creationId xmlns:a16="http://schemas.microsoft.com/office/drawing/2014/main" id="{9A3DB824-8FD4-9DC9-8887-63FC23D99567}"/>
              </a:ext>
            </a:extLst>
          </p:cNvPr>
          <p:cNvSpPr>
            <a:spLocks noEditPoints="1"/>
          </p:cNvSpPr>
          <p:nvPr userDrawn="1"/>
        </p:nvSpPr>
        <p:spPr bwMode="auto">
          <a:xfrm>
            <a:off x="22944231" y="9794161"/>
            <a:ext cx="603211" cy="368302"/>
          </a:xfrm>
          <a:custGeom>
            <a:avLst/>
            <a:gdLst>
              <a:gd name="T0" fmla="*/ 60 w 61"/>
              <a:gd name="T1" fmla="*/ 30 h 37"/>
              <a:gd name="T2" fmla="*/ 58 w 61"/>
              <a:gd name="T3" fmla="*/ 32 h 37"/>
              <a:gd name="T4" fmla="*/ 24 w 61"/>
              <a:gd name="T5" fmla="*/ 36 h 37"/>
              <a:gd name="T6" fmla="*/ 25 w 61"/>
              <a:gd name="T7" fmla="*/ 37 h 37"/>
              <a:gd name="T8" fmla="*/ 23 w 61"/>
              <a:gd name="T9" fmla="*/ 36 h 37"/>
              <a:gd name="T10" fmla="*/ 33 w 61"/>
              <a:gd name="T11" fmla="*/ 27 h 37"/>
              <a:gd name="T12" fmla="*/ 37 w 61"/>
              <a:gd name="T13" fmla="*/ 30 h 37"/>
              <a:gd name="T14" fmla="*/ 36 w 61"/>
              <a:gd name="T15" fmla="*/ 32 h 37"/>
              <a:gd name="T16" fmla="*/ 32 w 61"/>
              <a:gd name="T17" fmla="*/ 28 h 37"/>
              <a:gd name="T18" fmla="*/ 23 w 61"/>
              <a:gd name="T19" fmla="*/ 21 h 37"/>
              <a:gd name="T20" fmla="*/ 28 w 61"/>
              <a:gd name="T21" fmla="*/ 23 h 37"/>
              <a:gd name="T22" fmla="*/ 28 w 61"/>
              <a:gd name="T23" fmla="*/ 25 h 37"/>
              <a:gd name="T24" fmla="*/ 24 w 61"/>
              <a:gd name="T25" fmla="*/ 24 h 37"/>
              <a:gd name="T26" fmla="*/ 22 w 61"/>
              <a:gd name="T27" fmla="*/ 20 h 37"/>
              <a:gd name="T28" fmla="*/ 25 w 61"/>
              <a:gd name="T29" fmla="*/ 18 h 37"/>
              <a:gd name="T30" fmla="*/ 26 w 61"/>
              <a:gd name="T31" fmla="*/ 19 h 37"/>
              <a:gd name="T32" fmla="*/ 28 w 61"/>
              <a:gd name="T33" fmla="*/ 15 h 37"/>
              <a:gd name="T34" fmla="*/ 29 w 61"/>
              <a:gd name="T35" fmla="*/ 19 h 37"/>
              <a:gd name="T36" fmla="*/ 33 w 61"/>
              <a:gd name="T37" fmla="*/ 23 h 37"/>
              <a:gd name="T38" fmla="*/ 33 w 61"/>
              <a:gd name="T39" fmla="*/ 20 h 37"/>
              <a:gd name="T40" fmla="*/ 30 w 61"/>
              <a:gd name="T41" fmla="*/ 17 h 37"/>
              <a:gd name="T42" fmla="*/ 27 w 61"/>
              <a:gd name="T43" fmla="*/ 14 h 37"/>
              <a:gd name="T44" fmla="*/ 18 w 61"/>
              <a:gd name="T45" fmla="*/ 10 h 37"/>
              <a:gd name="T46" fmla="*/ 22 w 61"/>
              <a:gd name="T47" fmla="*/ 14 h 37"/>
              <a:gd name="T48" fmla="*/ 21 w 61"/>
              <a:gd name="T49" fmla="*/ 15 h 37"/>
              <a:gd name="T50" fmla="*/ 19 w 61"/>
              <a:gd name="T51" fmla="*/ 13 h 37"/>
              <a:gd name="T52" fmla="*/ 11 w 61"/>
              <a:gd name="T53" fmla="*/ 16 h 37"/>
              <a:gd name="T54" fmla="*/ 11 w 61"/>
              <a:gd name="T55" fmla="*/ 17 h 37"/>
              <a:gd name="T56" fmla="*/ 7 w 61"/>
              <a:gd name="T57" fmla="*/ 15 h 37"/>
              <a:gd name="T58" fmla="*/ 8 w 61"/>
              <a:gd name="T59" fmla="*/ 16 h 37"/>
              <a:gd name="T60" fmla="*/ 8 w 61"/>
              <a:gd name="T61" fmla="*/ 14 h 37"/>
              <a:gd name="T62" fmla="*/ 10 w 61"/>
              <a:gd name="T63" fmla="*/ 15 h 37"/>
              <a:gd name="T64" fmla="*/ 10 w 61"/>
              <a:gd name="T65" fmla="*/ 13 h 37"/>
              <a:gd name="T66" fmla="*/ 8 w 61"/>
              <a:gd name="T67" fmla="*/ 11 h 37"/>
              <a:gd name="T68" fmla="*/ 5 w 61"/>
              <a:gd name="T69" fmla="*/ 11 h 37"/>
              <a:gd name="T70" fmla="*/ 7 w 61"/>
              <a:gd name="T71" fmla="*/ 12 h 37"/>
              <a:gd name="T72" fmla="*/ 5 w 61"/>
              <a:gd name="T73" fmla="*/ 11 h 37"/>
              <a:gd name="T74" fmla="*/ 4 w 61"/>
              <a:gd name="T75" fmla="*/ 11 h 37"/>
              <a:gd name="T76" fmla="*/ 3 w 61"/>
              <a:gd name="T77" fmla="*/ 10 h 37"/>
              <a:gd name="T78" fmla="*/ 1 w 61"/>
              <a:gd name="T79" fmla="*/ 2 h 37"/>
              <a:gd name="T80" fmla="*/ 3 w 61"/>
              <a:gd name="T81" fmla="*/ 2 h 37"/>
              <a:gd name="T82" fmla="*/ 5 w 61"/>
              <a:gd name="T83" fmla="*/ 6 h 37"/>
              <a:gd name="T84" fmla="*/ 9 w 61"/>
              <a:gd name="T85" fmla="*/ 8 h 37"/>
              <a:gd name="T86" fmla="*/ 7 w 61"/>
              <a:gd name="T87" fmla="*/ 5 h 37"/>
              <a:gd name="T88" fmla="*/ 4 w 61"/>
              <a:gd name="T89" fmla="*/ 4 h 37"/>
              <a:gd name="T90" fmla="*/ 0 w 61"/>
              <a:gd name="T91" fmla="*/ 4 h 37"/>
              <a:gd name="T92" fmla="*/ 0 w 61"/>
              <a:gd name="T93" fmla="*/ 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 h="37">
                <a:moveTo>
                  <a:pt x="58" y="31"/>
                </a:moveTo>
                <a:cubicBezTo>
                  <a:pt x="59" y="30"/>
                  <a:pt x="59" y="30"/>
                  <a:pt x="59" y="30"/>
                </a:cubicBezTo>
                <a:cubicBezTo>
                  <a:pt x="60" y="30"/>
                  <a:pt x="60" y="30"/>
                  <a:pt x="60" y="30"/>
                </a:cubicBezTo>
                <a:cubicBezTo>
                  <a:pt x="61" y="31"/>
                  <a:pt x="61" y="31"/>
                  <a:pt x="61" y="31"/>
                </a:cubicBezTo>
                <a:cubicBezTo>
                  <a:pt x="60" y="32"/>
                  <a:pt x="60" y="32"/>
                  <a:pt x="60" y="32"/>
                </a:cubicBezTo>
                <a:cubicBezTo>
                  <a:pt x="58" y="32"/>
                  <a:pt x="58" y="32"/>
                  <a:pt x="58" y="32"/>
                </a:cubicBezTo>
                <a:cubicBezTo>
                  <a:pt x="58" y="31"/>
                  <a:pt x="58" y="31"/>
                  <a:pt x="58" y="31"/>
                </a:cubicBezTo>
                <a:close/>
                <a:moveTo>
                  <a:pt x="23" y="36"/>
                </a:moveTo>
                <a:cubicBezTo>
                  <a:pt x="24" y="36"/>
                  <a:pt x="24" y="36"/>
                  <a:pt x="24" y="36"/>
                </a:cubicBezTo>
                <a:cubicBezTo>
                  <a:pt x="25" y="36"/>
                  <a:pt x="25" y="36"/>
                  <a:pt x="25" y="36"/>
                </a:cubicBezTo>
                <a:cubicBezTo>
                  <a:pt x="26" y="37"/>
                  <a:pt x="26" y="37"/>
                  <a:pt x="26" y="37"/>
                </a:cubicBezTo>
                <a:cubicBezTo>
                  <a:pt x="25" y="37"/>
                  <a:pt x="25" y="37"/>
                  <a:pt x="25" y="37"/>
                </a:cubicBezTo>
                <a:cubicBezTo>
                  <a:pt x="24" y="37"/>
                  <a:pt x="24" y="37"/>
                  <a:pt x="24" y="37"/>
                </a:cubicBezTo>
                <a:cubicBezTo>
                  <a:pt x="23" y="37"/>
                  <a:pt x="23" y="37"/>
                  <a:pt x="23" y="37"/>
                </a:cubicBezTo>
                <a:cubicBezTo>
                  <a:pt x="23" y="36"/>
                  <a:pt x="23" y="36"/>
                  <a:pt x="23" y="36"/>
                </a:cubicBezTo>
                <a:cubicBezTo>
                  <a:pt x="23" y="36"/>
                  <a:pt x="23" y="36"/>
                  <a:pt x="23" y="36"/>
                </a:cubicBezTo>
                <a:close/>
                <a:moveTo>
                  <a:pt x="31" y="27"/>
                </a:moveTo>
                <a:cubicBezTo>
                  <a:pt x="33" y="27"/>
                  <a:pt x="33" y="27"/>
                  <a:pt x="33" y="27"/>
                </a:cubicBezTo>
                <a:cubicBezTo>
                  <a:pt x="34" y="29"/>
                  <a:pt x="34" y="29"/>
                  <a:pt x="34" y="29"/>
                </a:cubicBezTo>
                <a:cubicBezTo>
                  <a:pt x="36" y="29"/>
                  <a:pt x="36" y="29"/>
                  <a:pt x="36" y="29"/>
                </a:cubicBezTo>
                <a:cubicBezTo>
                  <a:pt x="37" y="30"/>
                  <a:pt x="37" y="30"/>
                  <a:pt x="37" y="30"/>
                </a:cubicBezTo>
                <a:cubicBezTo>
                  <a:pt x="37" y="31"/>
                  <a:pt x="37" y="31"/>
                  <a:pt x="37" y="31"/>
                </a:cubicBezTo>
                <a:cubicBezTo>
                  <a:pt x="37" y="32"/>
                  <a:pt x="37" y="32"/>
                  <a:pt x="37" y="32"/>
                </a:cubicBezTo>
                <a:cubicBezTo>
                  <a:pt x="36" y="32"/>
                  <a:pt x="36" y="32"/>
                  <a:pt x="36" y="32"/>
                </a:cubicBezTo>
                <a:cubicBezTo>
                  <a:pt x="34" y="31"/>
                  <a:pt x="34" y="31"/>
                  <a:pt x="34" y="31"/>
                </a:cubicBezTo>
                <a:cubicBezTo>
                  <a:pt x="32" y="29"/>
                  <a:pt x="32" y="29"/>
                  <a:pt x="32" y="29"/>
                </a:cubicBezTo>
                <a:cubicBezTo>
                  <a:pt x="32" y="28"/>
                  <a:pt x="32" y="28"/>
                  <a:pt x="32" y="28"/>
                </a:cubicBezTo>
                <a:cubicBezTo>
                  <a:pt x="31" y="27"/>
                  <a:pt x="31" y="27"/>
                  <a:pt x="31" y="27"/>
                </a:cubicBezTo>
                <a:close/>
                <a:moveTo>
                  <a:pt x="22" y="20"/>
                </a:moveTo>
                <a:cubicBezTo>
                  <a:pt x="23" y="21"/>
                  <a:pt x="23" y="21"/>
                  <a:pt x="23" y="21"/>
                </a:cubicBezTo>
                <a:cubicBezTo>
                  <a:pt x="25" y="21"/>
                  <a:pt x="25" y="21"/>
                  <a:pt x="25" y="21"/>
                </a:cubicBezTo>
                <a:cubicBezTo>
                  <a:pt x="27" y="22"/>
                  <a:pt x="27" y="22"/>
                  <a:pt x="27" y="22"/>
                </a:cubicBezTo>
                <a:cubicBezTo>
                  <a:pt x="28" y="23"/>
                  <a:pt x="28" y="23"/>
                  <a:pt x="28" y="23"/>
                </a:cubicBezTo>
                <a:cubicBezTo>
                  <a:pt x="28" y="23"/>
                  <a:pt x="28" y="23"/>
                  <a:pt x="28" y="23"/>
                </a:cubicBezTo>
                <a:cubicBezTo>
                  <a:pt x="29" y="24"/>
                  <a:pt x="29" y="24"/>
                  <a:pt x="29" y="24"/>
                </a:cubicBezTo>
                <a:cubicBezTo>
                  <a:pt x="28" y="25"/>
                  <a:pt x="28" y="25"/>
                  <a:pt x="28" y="25"/>
                </a:cubicBezTo>
                <a:cubicBezTo>
                  <a:pt x="27" y="25"/>
                  <a:pt x="27" y="25"/>
                  <a:pt x="27" y="25"/>
                </a:cubicBezTo>
                <a:cubicBezTo>
                  <a:pt x="26" y="24"/>
                  <a:pt x="26" y="24"/>
                  <a:pt x="26" y="24"/>
                </a:cubicBezTo>
                <a:cubicBezTo>
                  <a:pt x="24" y="24"/>
                  <a:pt x="24" y="24"/>
                  <a:pt x="24" y="24"/>
                </a:cubicBezTo>
                <a:cubicBezTo>
                  <a:pt x="23" y="24"/>
                  <a:pt x="23" y="24"/>
                  <a:pt x="23" y="24"/>
                </a:cubicBezTo>
                <a:cubicBezTo>
                  <a:pt x="21" y="22"/>
                  <a:pt x="21" y="22"/>
                  <a:pt x="21" y="22"/>
                </a:cubicBezTo>
                <a:cubicBezTo>
                  <a:pt x="22" y="20"/>
                  <a:pt x="22" y="20"/>
                  <a:pt x="22" y="20"/>
                </a:cubicBezTo>
                <a:cubicBezTo>
                  <a:pt x="22" y="20"/>
                  <a:pt x="22" y="20"/>
                  <a:pt x="22" y="20"/>
                </a:cubicBezTo>
                <a:close/>
                <a:moveTo>
                  <a:pt x="26" y="19"/>
                </a:moveTo>
                <a:cubicBezTo>
                  <a:pt x="25" y="18"/>
                  <a:pt x="25" y="18"/>
                  <a:pt x="25" y="18"/>
                </a:cubicBezTo>
                <a:cubicBezTo>
                  <a:pt x="25" y="19"/>
                  <a:pt x="25" y="19"/>
                  <a:pt x="25" y="19"/>
                </a:cubicBezTo>
                <a:cubicBezTo>
                  <a:pt x="27" y="20"/>
                  <a:pt x="27" y="20"/>
                  <a:pt x="27" y="20"/>
                </a:cubicBezTo>
                <a:cubicBezTo>
                  <a:pt x="26" y="19"/>
                  <a:pt x="26" y="19"/>
                  <a:pt x="26" y="19"/>
                </a:cubicBezTo>
                <a:close/>
                <a:moveTo>
                  <a:pt x="27" y="14"/>
                </a:moveTo>
                <a:cubicBezTo>
                  <a:pt x="27" y="15"/>
                  <a:pt x="27" y="15"/>
                  <a:pt x="27" y="15"/>
                </a:cubicBezTo>
                <a:cubicBezTo>
                  <a:pt x="28" y="15"/>
                  <a:pt x="28" y="15"/>
                  <a:pt x="28" y="15"/>
                </a:cubicBezTo>
                <a:cubicBezTo>
                  <a:pt x="28" y="16"/>
                  <a:pt x="28" y="16"/>
                  <a:pt x="28" y="16"/>
                </a:cubicBezTo>
                <a:cubicBezTo>
                  <a:pt x="29" y="17"/>
                  <a:pt x="29" y="17"/>
                  <a:pt x="29" y="17"/>
                </a:cubicBezTo>
                <a:cubicBezTo>
                  <a:pt x="29" y="19"/>
                  <a:pt x="29" y="19"/>
                  <a:pt x="29" y="19"/>
                </a:cubicBezTo>
                <a:cubicBezTo>
                  <a:pt x="31" y="21"/>
                  <a:pt x="31" y="21"/>
                  <a:pt x="31" y="21"/>
                </a:cubicBezTo>
                <a:cubicBezTo>
                  <a:pt x="32" y="22"/>
                  <a:pt x="32" y="22"/>
                  <a:pt x="32" y="22"/>
                </a:cubicBezTo>
                <a:cubicBezTo>
                  <a:pt x="33" y="23"/>
                  <a:pt x="33" y="23"/>
                  <a:pt x="33" y="23"/>
                </a:cubicBezTo>
                <a:cubicBezTo>
                  <a:pt x="34" y="23"/>
                  <a:pt x="34" y="23"/>
                  <a:pt x="34" y="23"/>
                </a:cubicBezTo>
                <a:cubicBezTo>
                  <a:pt x="34" y="22"/>
                  <a:pt x="34" y="22"/>
                  <a:pt x="34" y="22"/>
                </a:cubicBezTo>
                <a:cubicBezTo>
                  <a:pt x="33" y="20"/>
                  <a:pt x="33" y="20"/>
                  <a:pt x="33" y="20"/>
                </a:cubicBezTo>
                <a:cubicBezTo>
                  <a:pt x="32" y="20"/>
                  <a:pt x="32" y="20"/>
                  <a:pt x="32" y="20"/>
                </a:cubicBezTo>
                <a:cubicBezTo>
                  <a:pt x="31" y="19"/>
                  <a:pt x="31" y="19"/>
                  <a:pt x="31" y="19"/>
                </a:cubicBezTo>
                <a:cubicBezTo>
                  <a:pt x="30" y="17"/>
                  <a:pt x="30" y="17"/>
                  <a:pt x="30" y="17"/>
                </a:cubicBezTo>
                <a:cubicBezTo>
                  <a:pt x="30" y="16"/>
                  <a:pt x="30" y="16"/>
                  <a:pt x="30" y="16"/>
                </a:cubicBezTo>
                <a:cubicBezTo>
                  <a:pt x="29" y="14"/>
                  <a:pt x="29" y="14"/>
                  <a:pt x="29" y="14"/>
                </a:cubicBezTo>
                <a:cubicBezTo>
                  <a:pt x="27" y="14"/>
                  <a:pt x="27" y="14"/>
                  <a:pt x="27" y="14"/>
                </a:cubicBezTo>
                <a:close/>
                <a:moveTo>
                  <a:pt x="14" y="9"/>
                </a:moveTo>
                <a:cubicBezTo>
                  <a:pt x="17" y="9"/>
                  <a:pt x="17" y="9"/>
                  <a:pt x="17" y="9"/>
                </a:cubicBezTo>
                <a:cubicBezTo>
                  <a:pt x="18" y="10"/>
                  <a:pt x="18" y="10"/>
                  <a:pt x="18" y="10"/>
                </a:cubicBezTo>
                <a:cubicBezTo>
                  <a:pt x="20" y="11"/>
                  <a:pt x="20" y="11"/>
                  <a:pt x="20" y="11"/>
                </a:cubicBezTo>
                <a:cubicBezTo>
                  <a:pt x="23" y="14"/>
                  <a:pt x="23" y="14"/>
                  <a:pt x="23" y="14"/>
                </a:cubicBezTo>
                <a:cubicBezTo>
                  <a:pt x="22" y="14"/>
                  <a:pt x="22" y="14"/>
                  <a:pt x="22" y="14"/>
                </a:cubicBezTo>
                <a:cubicBezTo>
                  <a:pt x="22" y="15"/>
                  <a:pt x="22" y="15"/>
                  <a:pt x="22" y="15"/>
                </a:cubicBezTo>
                <a:cubicBezTo>
                  <a:pt x="22" y="15"/>
                  <a:pt x="22" y="15"/>
                  <a:pt x="22" y="15"/>
                </a:cubicBezTo>
                <a:cubicBezTo>
                  <a:pt x="21" y="15"/>
                  <a:pt x="21" y="15"/>
                  <a:pt x="21" y="15"/>
                </a:cubicBezTo>
                <a:cubicBezTo>
                  <a:pt x="21" y="14"/>
                  <a:pt x="21" y="14"/>
                  <a:pt x="21" y="14"/>
                </a:cubicBezTo>
                <a:cubicBezTo>
                  <a:pt x="20" y="14"/>
                  <a:pt x="20" y="14"/>
                  <a:pt x="20" y="14"/>
                </a:cubicBezTo>
                <a:cubicBezTo>
                  <a:pt x="19" y="13"/>
                  <a:pt x="19" y="13"/>
                  <a:pt x="19" y="13"/>
                </a:cubicBezTo>
                <a:cubicBezTo>
                  <a:pt x="16" y="10"/>
                  <a:pt x="16" y="10"/>
                  <a:pt x="16" y="10"/>
                </a:cubicBezTo>
                <a:cubicBezTo>
                  <a:pt x="16" y="10"/>
                  <a:pt x="14" y="9"/>
                  <a:pt x="14" y="9"/>
                </a:cubicBezTo>
                <a:close/>
                <a:moveTo>
                  <a:pt x="11" y="16"/>
                </a:moveTo>
                <a:cubicBezTo>
                  <a:pt x="12" y="16"/>
                  <a:pt x="12" y="16"/>
                  <a:pt x="12" y="16"/>
                </a:cubicBezTo>
                <a:cubicBezTo>
                  <a:pt x="12" y="17"/>
                  <a:pt x="12" y="17"/>
                  <a:pt x="12" y="17"/>
                </a:cubicBezTo>
                <a:cubicBezTo>
                  <a:pt x="11" y="17"/>
                  <a:pt x="11" y="17"/>
                  <a:pt x="11" y="17"/>
                </a:cubicBezTo>
                <a:cubicBezTo>
                  <a:pt x="11" y="16"/>
                  <a:pt x="11" y="16"/>
                  <a:pt x="11" y="16"/>
                </a:cubicBezTo>
                <a:cubicBezTo>
                  <a:pt x="11" y="16"/>
                  <a:pt x="11" y="16"/>
                  <a:pt x="11" y="16"/>
                </a:cubicBezTo>
                <a:close/>
                <a:moveTo>
                  <a:pt x="7" y="15"/>
                </a:moveTo>
                <a:cubicBezTo>
                  <a:pt x="7" y="15"/>
                  <a:pt x="7" y="15"/>
                  <a:pt x="7" y="15"/>
                </a:cubicBezTo>
                <a:cubicBezTo>
                  <a:pt x="8" y="15"/>
                  <a:pt x="8" y="15"/>
                  <a:pt x="8" y="15"/>
                </a:cubicBezTo>
                <a:cubicBezTo>
                  <a:pt x="8" y="16"/>
                  <a:pt x="8" y="16"/>
                  <a:pt x="8" y="16"/>
                </a:cubicBezTo>
                <a:cubicBezTo>
                  <a:pt x="7" y="15"/>
                  <a:pt x="7" y="15"/>
                  <a:pt x="7" y="15"/>
                </a:cubicBezTo>
                <a:close/>
                <a:moveTo>
                  <a:pt x="7" y="14"/>
                </a:moveTo>
                <a:cubicBezTo>
                  <a:pt x="8" y="14"/>
                  <a:pt x="8" y="14"/>
                  <a:pt x="8" y="14"/>
                </a:cubicBezTo>
                <a:cubicBezTo>
                  <a:pt x="9" y="14"/>
                  <a:pt x="9" y="14"/>
                  <a:pt x="9" y="14"/>
                </a:cubicBezTo>
                <a:cubicBezTo>
                  <a:pt x="9" y="15"/>
                  <a:pt x="9" y="15"/>
                  <a:pt x="9" y="15"/>
                </a:cubicBezTo>
                <a:cubicBezTo>
                  <a:pt x="10" y="15"/>
                  <a:pt x="10" y="15"/>
                  <a:pt x="10" y="15"/>
                </a:cubicBezTo>
                <a:cubicBezTo>
                  <a:pt x="10" y="15"/>
                  <a:pt x="10" y="15"/>
                  <a:pt x="10" y="15"/>
                </a:cubicBezTo>
                <a:cubicBezTo>
                  <a:pt x="11" y="14"/>
                  <a:pt x="11" y="14"/>
                  <a:pt x="11" y="14"/>
                </a:cubicBezTo>
                <a:cubicBezTo>
                  <a:pt x="10" y="13"/>
                  <a:pt x="10" y="13"/>
                  <a:pt x="10" y="13"/>
                </a:cubicBezTo>
                <a:cubicBezTo>
                  <a:pt x="9" y="13"/>
                  <a:pt x="9" y="13"/>
                  <a:pt x="9" y="13"/>
                </a:cubicBezTo>
                <a:cubicBezTo>
                  <a:pt x="9" y="12"/>
                  <a:pt x="9" y="12"/>
                  <a:pt x="9" y="12"/>
                </a:cubicBezTo>
                <a:cubicBezTo>
                  <a:pt x="8" y="11"/>
                  <a:pt x="8" y="11"/>
                  <a:pt x="8" y="11"/>
                </a:cubicBezTo>
                <a:cubicBezTo>
                  <a:pt x="7" y="12"/>
                  <a:pt x="7" y="12"/>
                  <a:pt x="7" y="12"/>
                </a:cubicBezTo>
                <a:cubicBezTo>
                  <a:pt x="7" y="14"/>
                  <a:pt x="7" y="14"/>
                  <a:pt x="7" y="14"/>
                </a:cubicBezTo>
                <a:close/>
                <a:moveTo>
                  <a:pt x="5" y="11"/>
                </a:moveTo>
                <a:cubicBezTo>
                  <a:pt x="6" y="11"/>
                  <a:pt x="6" y="11"/>
                  <a:pt x="6" y="11"/>
                </a:cubicBezTo>
                <a:cubicBezTo>
                  <a:pt x="7" y="11"/>
                  <a:pt x="7" y="11"/>
                  <a:pt x="7" y="11"/>
                </a:cubicBezTo>
                <a:cubicBezTo>
                  <a:pt x="7" y="12"/>
                  <a:pt x="7" y="12"/>
                  <a:pt x="7" y="12"/>
                </a:cubicBezTo>
                <a:cubicBezTo>
                  <a:pt x="6" y="12"/>
                  <a:pt x="6" y="12"/>
                  <a:pt x="6" y="12"/>
                </a:cubicBezTo>
                <a:cubicBezTo>
                  <a:pt x="5" y="12"/>
                  <a:pt x="5" y="12"/>
                  <a:pt x="5" y="12"/>
                </a:cubicBezTo>
                <a:cubicBezTo>
                  <a:pt x="5" y="12"/>
                  <a:pt x="5" y="11"/>
                  <a:pt x="5" y="11"/>
                </a:cubicBezTo>
                <a:close/>
                <a:moveTo>
                  <a:pt x="3" y="9"/>
                </a:moveTo>
                <a:cubicBezTo>
                  <a:pt x="4" y="10"/>
                  <a:pt x="4" y="10"/>
                  <a:pt x="4" y="10"/>
                </a:cubicBezTo>
                <a:cubicBezTo>
                  <a:pt x="4" y="11"/>
                  <a:pt x="4" y="11"/>
                  <a:pt x="4" y="11"/>
                </a:cubicBezTo>
                <a:cubicBezTo>
                  <a:pt x="3" y="11"/>
                  <a:pt x="3" y="11"/>
                  <a:pt x="3" y="11"/>
                </a:cubicBezTo>
                <a:cubicBezTo>
                  <a:pt x="3" y="11"/>
                  <a:pt x="3" y="11"/>
                  <a:pt x="3" y="11"/>
                </a:cubicBezTo>
                <a:cubicBezTo>
                  <a:pt x="3" y="10"/>
                  <a:pt x="3" y="10"/>
                  <a:pt x="3" y="10"/>
                </a:cubicBezTo>
                <a:cubicBezTo>
                  <a:pt x="3" y="9"/>
                  <a:pt x="3" y="9"/>
                  <a:pt x="3" y="9"/>
                </a:cubicBezTo>
                <a:close/>
                <a:moveTo>
                  <a:pt x="3" y="0"/>
                </a:moveTo>
                <a:cubicBezTo>
                  <a:pt x="1" y="2"/>
                  <a:pt x="1" y="2"/>
                  <a:pt x="1" y="2"/>
                </a:cubicBezTo>
                <a:cubicBezTo>
                  <a:pt x="3" y="1"/>
                  <a:pt x="3" y="1"/>
                  <a:pt x="3" y="1"/>
                </a:cubicBezTo>
                <a:cubicBezTo>
                  <a:pt x="3" y="0"/>
                  <a:pt x="3" y="0"/>
                  <a:pt x="3" y="0"/>
                </a:cubicBezTo>
                <a:close/>
                <a:moveTo>
                  <a:pt x="3" y="2"/>
                </a:moveTo>
                <a:cubicBezTo>
                  <a:pt x="2" y="3"/>
                  <a:pt x="2" y="3"/>
                  <a:pt x="2" y="3"/>
                </a:cubicBezTo>
                <a:cubicBezTo>
                  <a:pt x="3" y="5"/>
                  <a:pt x="3" y="5"/>
                  <a:pt x="3" y="5"/>
                </a:cubicBezTo>
                <a:cubicBezTo>
                  <a:pt x="5" y="6"/>
                  <a:pt x="5" y="6"/>
                  <a:pt x="5" y="6"/>
                </a:cubicBezTo>
                <a:cubicBezTo>
                  <a:pt x="6" y="7"/>
                  <a:pt x="6" y="7"/>
                  <a:pt x="6" y="7"/>
                </a:cubicBezTo>
                <a:cubicBezTo>
                  <a:pt x="8" y="8"/>
                  <a:pt x="8" y="8"/>
                  <a:pt x="8" y="8"/>
                </a:cubicBezTo>
                <a:cubicBezTo>
                  <a:pt x="9" y="8"/>
                  <a:pt x="9" y="8"/>
                  <a:pt x="9" y="8"/>
                </a:cubicBezTo>
                <a:cubicBezTo>
                  <a:pt x="9" y="7"/>
                  <a:pt x="9" y="7"/>
                  <a:pt x="9" y="7"/>
                </a:cubicBezTo>
                <a:cubicBezTo>
                  <a:pt x="8" y="6"/>
                  <a:pt x="8" y="6"/>
                  <a:pt x="8" y="6"/>
                </a:cubicBezTo>
                <a:cubicBezTo>
                  <a:pt x="7" y="5"/>
                  <a:pt x="7" y="5"/>
                  <a:pt x="7" y="5"/>
                </a:cubicBezTo>
                <a:cubicBezTo>
                  <a:pt x="7" y="4"/>
                  <a:pt x="7" y="4"/>
                  <a:pt x="7" y="4"/>
                </a:cubicBezTo>
                <a:cubicBezTo>
                  <a:pt x="6" y="4"/>
                  <a:pt x="6" y="4"/>
                  <a:pt x="6" y="4"/>
                </a:cubicBezTo>
                <a:cubicBezTo>
                  <a:pt x="4" y="4"/>
                  <a:pt x="4" y="4"/>
                  <a:pt x="4" y="4"/>
                </a:cubicBezTo>
                <a:cubicBezTo>
                  <a:pt x="3" y="2"/>
                  <a:pt x="3" y="2"/>
                  <a:pt x="3" y="2"/>
                </a:cubicBezTo>
                <a:cubicBezTo>
                  <a:pt x="3" y="2"/>
                  <a:pt x="3" y="2"/>
                  <a:pt x="3" y="2"/>
                </a:cubicBezTo>
                <a:close/>
                <a:moveTo>
                  <a:pt x="0" y="4"/>
                </a:moveTo>
                <a:cubicBezTo>
                  <a:pt x="0" y="4"/>
                  <a:pt x="0" y="4"/>
                  <a:pt x="0" y="4"/>
                </a:cubicBezTo>
                <a:cubicBezTo>
                  <a:pt x="0" y="5"/>
                  <a:pt x="0" y="5"/>
                  <a:pt x="0" y="5"/>
                </a:cubicBezTo>
                <a:lnTo>
                  <a:pt x="0" y="4"/>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5" name="Freeform 23">
            <a:extLst>
              <a:ext uri="{FF2B5EF4-FFF2-40B4-BE49-F238E27FC236}">
                <a16:creationId xmlns:a16="http://schemas.microsoft.com/office/drawing/2014/main" id="{1E796FBD-548D-43BF-1AC7-9B8F89690705}"/>
              </a:ext>
            </a:extLst>
          </p:cNvPr>
          <p:cNvSpPr>
            <a:spLocks noEditPoints="1"/>
          </p:cNvSpPr>
          <p:nvPr userDrawn="1"/>
        </p:nvSpPr>
        <p:spPr bwMode="auto">
          <a:xfrm>
            <a:off x="21991790" y="9467137"/>
            <a:ext cx="942915" cy="695326"/>
          </a:xfrm>
          <a:custGeom>
            <a:avLst/>
            <a:gdLst>
              <a:gd name="T0" fmla="*/ 76 w 95"/>
              <a:gd name="T1" fmla="*/ 68 h 70"/>
              <a:gd name="T2" fmla="*/ 76 w 95"/>
              <a:gd name="T3" fmla="*/ 68 h 70"/>
              <a:gd name="T4" fmla="*/ 40 w 95"/>
              <a:gd name="T5" fmla="*/ 7 h 70"/>
              <a:gd name="T6" fmla="*/ 90 w 95"/>
              <a:gd name="T7" fmla="*/ 31 h 70"/>
              <a:gd name="T8" fmla="*/ 91 w 95"/>
              <a:gd name="T9" fmla="*/ 37 h 70"/>
              <a:gd name="T10" fmla="*/ 88 w 95"/>
              <a:gd name="T11" fmla="*/ 28 h 70"/>
              <a:gd name="T12" fmla="*/ 84 w 95"/>
              <a:gd name="T13" fmla="*/ 22 h 70"/>
              <a:gd name="T14" fmla="*/ 66 w 95"/>
              <a:gd name="T15" fmla="*/ 11 h 70"/>
              <a:gd name="T16" fmla="*/ 77 w 95"/>
              <a:gd name="T17" fmla="*/ 20 h 70"/>
              <a:gd name="T18" fmla="*/ 74 w 95"/>
              <a:gd name="T19" fmla="*/ 17 h 70"/>
              <a:gd name="T20" fmla="*/ 56 w 95"/>
              <a:gd name="T21" fmla="*/ 0 h 70"/>
              <a:gd name="T22" fmla="*/ 61 w 95"/>
              <a:gd name="T23" fmla="*/ 11 h 70"/>
              <a:gd name="T24" fmla="*/ 58 w 95"/>
              <a:gd name="T25" fmla="*/ 24 h 70"/>
              <a:gd name="T26" fmla="*/ 52 w 95"/>
              <a:gd name="T27" fmla="*/ 33 h 70"/>
              <a:gd name="T28" fmla="*/ 63 w 95"/>
              <a:gd name="T29" fmla="*/ 34 h 70"/>
              <a:gd name="T30" fmla="*/ 71 w 95"/>
              <a:gd name="T31" fmla="*/ 29 h 70"/>
              <a:gd name="T32" fmla="*/ 72 w 95"/>
              <a:gd name="T33" fmla="*/ 20 h 70"/>
              <a:gd name="T34" fmla="*/ 68 w 95"/>
              <a:gd name="T35" fmla="*/ 25 h 70"/>
              <a:gd name="T36" fmla="*/ 60 w 95"/>
              <a:gd name="T37" fmla="*/ 28 h 70"/>
              <a:gd name="T38" fmla="*/ 56 w 95"/>
              <a:gd name="T39" fmla="*/ 28 h 70"/>
              <a:gd name="T40" fmla="*/ 43 w 95"/>
              <a:gd name="T41" fmla="*/ 29 h 70"/>
              <a:gd name="T42" fmla="*/ 39 w 95"/>
              <a:gd name="T43" fmla="*/ 28 h 70"/>
              <a:gd name="T44" fmla="*/ 33 w 95"/>
              <a:gd name="T45" fmla="*/ 23 h 70"/>
              <a:gd name="T46" fmla="*/ 73 w 95"/>
              <a:gd name="T47" fmla="*/ 51 h 70"/>
              <a:gd name="T48" fmla="*/ 65 w 95"/>
              <a:gd name="T49" fmla="*/ 49 h 70"/>
              <a:gd name="T50" fmla="*/ 63 w 95"/>
              <a:gd name="T51" fmla="*/ 58 h 70"/>
              <a:gd name="T52" fmla="*/ 62 w 95"/>
              <a:gd name="T53" fmla="*/ 58 h 70"/>
              <a:gd name="T54" fmla="*/ 62 w 95"/>
              <a:gd name="T55" fmla="*/ 56 h 70"/>
              <a:gd name="T56" fmla="*/ 60 w 95"/>
              <a:gd name="T57" fmla="*/ 54 h 70"/>
              <a:gd name="T58" fmla="*/ 59 w 95"/>
              <a:gd name="T59" fmla="*/ 53 h 70"/>
              <a:gd name="T60" fmla="*/ 23 w 95"/>
              <a:gd name="T61" fmla="*/ 43 h 70"/>
              <a:gd name="T62" fmla="*/ 23 w 95"/>
              <a:gd name="T63" fmla="*/ 43 h 70"/>
              <a:gd name="T64" fmla="*/ 19 w 95"/>
              <a:gd name="T65" fmla="*/ 44 h 70"/>
              <a:gd name="T66" fmla="*/ 16 w 95"/>
              <a:gd name="T67" fmla="*/ 49 h 70"/>
              <a:gd name="T68" fmla="*/ 14 w 95"/>
              <a:gd name="T69" fmla="*/ 49 h 70"/>
              <a:gd name="T70" fmla="*/ 16 w 95"/>
              <a:gd name="T71" fmla="*/ 46 h 70"/>
              <a:gd name="T72" fmla="*/ 1 w 95"/>
              <a:gd name="T73" fmla="*/ 10 h 70"/>
              <a:gd name="T74" fmla="*/ 4 w 95"/>
              <a:gd name="T75" fmla="*/ 52 h 70"/>
              <a:gd name="T76" fmla="*/ 14 w 95"/>
              <a:gd name="T77" fmla="*/ 52 h 70"/>
              <a:gd name="T78" fmla="*/ 8 w 95"/>
              <a:gd name="T79" fmla="*/ 47 h 70"/>
              <a:gd name="T80" fmla="*/ 4 w 95"/>
              <a:gd name="T81" fmla="*/ 42 h 70"/>
              <a:gd name="T82" fmla="*/ 10 w 95"/>
              <a:gd name="T83" fmla="*/ 48 h 70"/>
              <a:gd name="T84" fmla="*/ 15 w 95"/>
              <a:gd name="T85" fmla="*/ 45 h 70"/>
              <a:gd name="T86" fmla="*/ 17 w 95"/>
              <a:gd name="T87" fmla="*/ 44 h 70"/>
              <a:gd name="T88" fmla="*/ 19 w 95"/>
              <a:gd name="T89" fmla="*/ 43 h 70"/>
              <a:gd name="T90" fmla="*/ 21 w 95"/>
              <a:gd name="T91" fmla="*/ 42 h 70"/>
              <a:gd name="T92" fmla="*/ 26 w 95"/>
              <a:gd name="T93" fmla="*/ 42 h 70"/>
              <a:gd name="T94" fmla="*/ 34 w 95"/>
              <a:gd name="T95" fmla="*/ 49 h 70"/>
              <a:gd name="T96" fmla="*/ 42 w 95"/>
              <a:gd name="T97" fmla="*/ 59 h 70"/>
              <a:gd name="T98" fmla="*/ 52 w 95"/>
              <a:gd name="T99" fmla="*/ 60 h 70"/>
              <a:gd name="T100" fmla="*/ 58 w 95"/>
              <a:gd name="T101" fmla="*/ 63 h 70"/>
              <a:gd name="T102" fmla="*/ 61 w 95"/>
              <a:gd name="T103" fmla="*/ 60 h 70"/>
              <a:gd name="T104" fmla="*/ 56 w 95"/>
              <a:gd name="T105" fmla="*/ 56 h 70"/>
              <a:gd name="T106" fmla="*/ 51 w 95"/>
              <a:gd name="T107" fmla="*/ 52 h 70"/>
              <a:gd name="T108" fmla="*/ 45 w 95"/>
              <a:gd name="T109" fmla="*/ 45 h 70"/>
              <a:gd name="T110" fmla="*/ 38 w 95"/>
              <a:gd name="T111" fmla="*/ 38 h 70"/>
              <a:gd name="T112" fmla="*/ 40 w 95"/>
              <a:gd name="T113" fmla="*/ 32 h 70"/>
              <a:gd name="T114" fmla="*/ 31 w 95"/>
              <a:gd name="T115" fmla="*/ 25 h 70"/>
              <a:gd name="T116" fmla="*/ 24 w 95"/>
              <a:gd name="T117" fmla="*/ 19 h 70"/>
              <a:gd name="T118" fmla="*/ 12 w 95"/>
              <a:gd name="T119" fmla="*/ 14 h 70"/>
              <a:gd name="T120" fmla="*/ 2 w 95"/>
              <a:gd name="T121" fmla="*/ 1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 h="70">
                <a:moveTo>
                  <a:pt x="81" y="68"/>
                </a:moveTo>
                <a:cubicBezTo>
                  <a:pt x="82" y="67"/>
                  <a:pt x="82" y="67"/>
                  <a:pt x="82" y="67"/>
                </a:cubicBezTo>
                <a:cubicBezTo>
                  <a:pt x="83" y="67"/>
                  <a:pt x="83" y="67"/>
                  <a:pt x="83" y="67"/>
                </a:cubicBezTo>
                <a:cubicBezTo>
                  <a:pt x="83" y="68"/>
                  <a:pt x="83" y="68"/>
                  <a:pt x="83" y="68"/>
                </a:cubicBezTo>
                <a:cubicBezTo>
                  <a:pt x="82" y="68"/>
                  <a:pt x="82" y="68"/>
                  <a:pt x="82" y="68"/>
                </a:cubicBezTo>
                <a:cubicBezTo>
                  <a:pt x="81" y="68"/>
                  <a:pt x="81" y="68"/>
                  <a:pt x="81" y="68"/>
                </a:cubicBezTo>
                <a:cubicBezTo>
                  <a:pt x="81" y="68"/>
                  <a:pt x="81" y="68"/>
                  <a:pt x="81" y="68"/>
                </a:cubicBezTo>
                <a:close/>
                <a:moveTo>
                  <a:pt x="76" y="68"/>
                </a:moveTo>
                <a:cubicBezTo>
                  <a:pt x="78" y="69"/>
                  <a:pt x="78" y="69"/>
                  <a:pt x="78" y="69"/>
                </a:cubicBezTo>
                <a:cubicBezTo>
                  <a:pt x="78" y="69"/>
                  <a:pt x="78" y="69"/>
                  <a:pt x="78" y="69"/>
                </a:cubicBezTo>
                <a:cubicBezTo>
                  <a:pt x="79" y="70"/>
                  <a:pt x="79" y="70"/>
                  <a:pt x="79" y="70"/>
                </a:cubicBezTo>
                <a:cubicBezTo>
                  <a:pt x="80" y="69"/>
                  <a:pt x="80" y="69"/>
                  <a:pt x="80" y="69"/>
                </a:cubicBezTo>
                <a:cubicBezTo>
                  <a:pt x="79" y="69"/>
                  <a:pt x="79" y="69"/>
                  <a:pt x="79" y="69"/>
                </a:cubicBezTo>
                <a:cubicBezTo>
                  <a:pt x="78" y="69"/>
                  <a:pt x="78" y="69"/>
                  <a:pt x="78" y="69"/>
                </a:cubicBezTo>
                <a:cubicBezTo>
                  <a:pt x="77" y="68"/>
                  <a:pt x="77" y="68"/>
                  <a:pt x="77" y="68"/>
                </a:cubicBezTo>
                <a:cubicBezTo>
                  <a:pt x="76" y="68"/>
                  <a:pt x="76" y="68"/>
                  <a:pt x="76" y="68"/>
                </a:cubicBezTo>
                <a:close/>
                <a:moveTo>
                  <a:pt x="37" y="6"/>
                </a:moveTo>
                <a:cubicBezTo>
                  <a:pt x="37" y="5"/>
                  <a:pt x="37" y="5"/>
                  <a:pt x="37" y="5"/>
                </a:cubicBezTo>
                <a:cubicBezTo>
                  <a:pt x="38" y="5"/>
                  <a:pt x="38" y="5"/>
                  <a:pt x="38" y="5"/>
                </a:cubicBezTo>
                <a:cubicBezTo>
                  <a:pt x="39" y="5"/>
                  <a:pt x="39" y="5"/>
                  <a:pt x="39" y="5"/>
                </a:cubicBezTo>
                <a:cubicBezTo>
                  <a:pt x="40" y="6"/>
                  <a:pt x="40" y="6"/>
                  <a:pt x="40" y="6"/>
                </a:cubicBezTo>
                <a:cubicBezTo>
                  <a:pt x="41" y="5"/>
                  <a:pt x="41" y="5"/>
                  <a:pt x="41" y="5"/>
                </a:cubicBezTo>
                <a:cubicBezTo>
                  <a:pt x="41" y="6"/>
                  <a:pt x="41" y="6"/>
                  <a:pt x="41" y="6"/>
                </a:cubicBezTo>
                <a:cubicBezTo>
                  <a:pt x="40" y="7"/>
                  <a:pt x="40" y="7"/>
                  <a:pt x="40" y="7"/>
                </a:cubicBezTo>
                <a:cubicBezTo>
                  <a:pt x="39" y="7"/>
                  <a:pt x="39" y="7"/>
                  <a:pt x="39" y="7"/>
                </a:cubicBezTo>
                <a:cubicBezTo>
                  <a:pt x="38" y="7"/>
                  <a:pt x="38" y="7"/>
                  <a:pt x="38" y="7"/>
                </a:cubicBezTo>
                <a:cubicBezTo>
                  <a:pt x="37" y="7"/>
                  <a:pt x="37" y="7"/>
                  <a:pt x="37" y="7"/>
                </a:cubicBezTo>
                <a:cubicBezTo>
                  <a:pt x="37" y="7"/>
                  <a:pt x="37" y="6"/>
                  <a:pt x="37" y="6"/>
                </a:cubicBezTo>
                <a:close/>
                <a:moveTo>
                  <a:pt x="88" y="28"/>
                </a:moveTo>
                <a:cubicBezTo>
                  <a:pt x="89" y="28"/>
                  <a:pt x="89" y="28"/>
                  <a:pt x="89" y="28"/>
                </a:cubicBezTo>
                <a:cubicBezTo>
                  <a:pt x="90" y="29"/>
                  <a:pt x="90" y="29"/>
                  <a:pt x="90" y="29"/>
                </a:cubicBezTo>
                <a:cubicBezTo>
                  <a:pt x="90" y="31"/>
                  <a:pt x="90" y="31"/>
                  <a:pt x="90" y="31"/>
                </a:cubicBezTo>
                <a:cubicBezTo>
                  <a:pt x="92" y="31"/>
                  <a:pt x="92" y="31"/>
                  <a:pt x="92" y="31"/>
                </a:cubicBezTo>
                <a:cubicBezTo>
                  <a:pt x="94" y="33"/>
                  <a:pt x="94" y="33"/>
                  <a:pt x="94" y="33"/>
                </a:cubicBezTo>
                <a:cubicBezTo>
                  <a:pt x="95" y="34"/>
                  <a:pt x="95" y="34"/>
                  <a:pt x="95" y="34"/>
                </a:cubicBezTo>
                <a:cubicBezTo>
                  <a:pt x="95" y="36"/>
                  <a:pt x="95" y="36"/>
                  <a:pt x="95" y="36"/>
                </a:cubicBezTo>
                <a:cubicBezTo>
                  <a:pt x="94" y="36"/>
                  <a:pt x="94" y="36"/>
                  <a:pt x="94" y="36"/>
                </a:cubicBezTo>
                <a:cubicBezTo>
                  <a:pt x="94" y="37"/>
                  <a:pt x="94" y="37"/>
                  <a:pt x="94" y="37"/>
                </a:cubicBezTo>
                <a:cubicBezTo>
                  <a:pt x="92" y="37"/>
                  <a:pt x="92" y="37"/>
                  <a:pt x="92" y="37"/>
                </a:cubicBezTo>
                <a:cubicBezTo>
                  <a:pt x="91" y="37"/>
                  <a:pt x="91" y="37"/>
                  <a:pt x="91" y="37"/>
                </a:cubicBezTo>
                <a:cubicBezTo>
                  <a:pt x="90" y="37"/>
                  <a:pt x="90" y="37"/>
                  <a:pt x="90" y="37"/>
                </a:cubicBezTo>
                <a:cubicBezTo>
                  <a:pt x="90" y="36"/>
                  <a:pt x="90" y="36"/>
                  <a:pt x="90" y="36"/>
                </a:cubicBezTo>
                <a:cubicBezTo>
                  <a:pt x="90" y="35"/>
                  <a:pt x="90" y="35"/>
                  <a:pt x="90" y="35"/>
                </a:cubicBezTo>
                <a:cubicBezTo>
                  <a:pt x="89" y="33"/>
                  <a:pt x="89" y="33"/>
                  <a:pt x="89" y="33"/>
                </a:cubicBezTo>
                <a:cubicBezTo>
                  <a:pt x="88" y="32"/>
                  <a:pt x="88" y="32"/>
                  <a:pt x="88" y="32"/>
                </a:cubicBezTo>
                <a:cubicBezTo>
                  <a:pt x="88" y="30"/>
                  <a:pt x="88" y="30"/>
                  <a:pt x="88" y="30"/>
                </a:cubicBezTo>
                <a:cubicBezTo>
                  <a:pt x="87" y="29"/>
                  <a:pt x="87" y="29"/>
                  <a:pt x="87" y="29"/>
                </a:cubicBezTo>
                <a:cubicBezTo>
                  <a:pt x="88" y="28"/>
                  <a:pt x="88" y="28"/>
                  <a:pt x="88" y="28"/>
                </a:cubicBezTo>
                <a:close/>
                <a:moveTo>
                  <a:pt x="86" y="25"/>
                </a:moveTo>
                <a:cubicBezTo>
                  <a:pt x="86" y="26"/>
                  <a:pt x="86" y="26"/>
                  <a:pt x="86" y="26"/>
                </a:cubicBezTo>
                <a:cubicBezTo>
                  <a:pt x="87" y="27"/>
                  <a:pt x="87" y="27"/>
                  <a:pt x="87" y="27"/>
                </a:cubicBezTo>
                <a:cubicBezTo>
                  <a:pt x="87" y="28"/>
                  <a:pt x="87" y="28"/>
                  <a:pt x="87" y="28"/>
                </a:cubicBezTo>
                <a:cubicBezTo>
                  <a:pt x="87" y="27"/>
                  <a:pt x="87" y="27"/>
                  <a:pt x="87" y="27"/>
                </a:cubicBezTo>
                <a:cubicBezTo>
                  <a:pt x="87" y="25"/>
                  <a:pt x="87" y="25"/>
                  <a:pt x="87" y="25"/>
                </a:cubicBezTo>
                <a:cubicBezTo>
                  <a:pt x="86" y="25"/>
                  <a:pt x="86" y="25"/>
                  <a:pt x="86" y="25"/>
                </a:cubicBezTo>
                <a:close/>
                <a:moveTo>
                  <a:pt x="84" y="22"/>
                </a:moveTo>
                <a:cubicBezTo>
                  <a:pt x="85" y="22"/>
                  <a:pt x="85" y="22"/>
                  <a:pt x="85" y="22"/>
                </a:cubicBezTo>
                <a:cubicBezTo>
                  <a:pt x="85" y="21"/>
                  <a:pt x="85" y="21"/>
                  <a:pt x="85" y="21"/>
                </a:cubicBezTo>
                <a:cubicBezTo>
                  <a:pt x="86" y="22"/>
                  <a:pt x="86" y="22"/>
                  <a:pt x="86" y="22"/>
                </a:cubicBezTo>
                <a:cubicBezTo>
                  <a:pt x="85" y="23"/>
                  <a:pt x="85" y="23"/>
                  <a:pt x="85" y="23"/>
                </a:cubicBezTo>
                <a:cubicBezTo>
                  <a:pt x="84" y="23"/>
                  <a:pt x="84" y="23"/>
                  <a:pt x="84" y="23"/>
                </a:cubicBezTo>
                <a:cubicBezTo>
                  <a:pt x="84" y="22"/>
                  <a:pt x="84" y="22"/>
                  <a:pt x="84" y="22"/>
                </a:cubicBezTo>
                <a:close/>
                <a:moveTo>
                  <a:pt x="63" y="10"/>
                </a:moveTo>
                <a:cubicBezTo>
                  <a:pt x="66" y="11"/>
                  <a:pt x="66" y="11"/>
                  <a:pt x="66" y="11"/>
                </a:cubicBezTo>
                <a:cubicBezTo>
                  <a:pt x="68" y="12"/>
                  <a:pt x="68" y="12"/>
                  <a:pt x="68" y="12"/>
                </a:cubicBezTo>
                <a:cubicBezTo>
                  <a:pt x="70" y="14"/>
                  <a:pt x="70" y="14"/>
                  <a:pt x="70" y="14"/>
                </a:cubicBezTo>
                <a:cubicBezTo>
                  <a:pt x="72" y="14"/>
                  <a:pt x="72" y="14"/>
                  <a:pt x="72" y="14"/>
                </a:cubicBezTo>
                <a:cubicBezTo>
                  <a:pt x="73" y="15"/>
                  <a:pt x="73" y="15"/>
                  <a:pt x="73" y="15"/>
                </a:cubicBezTo>
                <a:cubicBezTo>
                  <a:pt x="74" y="16"/>
                  <a:pt x="74" y="16"/>
                  <a:pt x="74" y="16"/>
                </a:cubicBezTo>
                <a:cubicBezTo>
                  <a:pt x="75" y="18"/>
                  <a:pt x="75" y="18"/>
                  <a:pt x="75" y="18"/>
                </a:cubicBezTo>
                <a:cubicBezTo>
                  <a:pt x="76" y="18"/>
                  <a:pt x="76" y="18"/>
                  <a:pt x="76" y="18"/>
                </a:cubicBezTo>
                <a:cubicBezTo>
                  <a:pt x="77" y="20"/>
                  <a:pt x="77" y="20"/>
                  <a:pt x="77" y="20"/>
                </a:cubicBezTo>
                <a:cubicBezTo>
                  <a:pt x="78" y="21"/>
                  <a:pt x="78" y="21"/>
                  <a:pt x="78" y="21"/>
                </a:cubicBezTo>
                <a:cubicBezTo>
                  <a:pt x="78" y="22"/>
                  <a:pt x="78" y="22"/>
                  <a:pt x="78" y="22"/>
                </a:cubicBezTo>
                <a:cubicBezTo>
                  <a:pt x="77" y="23"/>
                  <a:pt x="77" y="23"/>
                  <a:pt x="77" y="23"/>
                </a:cubicBezTo>
                <a:cubicBezTo>
                  <a:pt x="77" y="24"/>
                  <a:pt x="77" y="24"/>
                  <a:pt x="77" y="24"/>
                </a:cubicBezTo>
                <a:cubicBezTo>
                  <a:pt x="75" y="23"/>
                  <a:pt x="75" y="23"/>
                  <a:pt x="75" y="23"/>
                </a:cubicBezTo>
                <a:cubicBezTo>
                  <a:pt x="75" y="22"/>
                  <a:pt x="75" y="22"/>
                  <a:pt x="75" y="22"/>
                </a:cubicBezTo>
                <a:cubicBezTo>
                  <a:pt x="75" y="21"/>
                  <a:pt x="75" y="21"/>
                  <a:pt x="75" y="21"/>
                </a:cubicBezTo>
                <a:cubicBezTo>
                  <a:pt x="74" y="17"/>
                  <a:pt x="74" y="17"/>
                  <a:pt x="74" y="17"/>
                </a:cubicBezTo>
                <a:cubicBezTo>
                  <a:pt x="72" y="15"/>
                  <a:pt x="72" y="15"/>
                  <a:pt x="72" y="15"/>
                </a:cubicBezTo>
                <a:cubicBezTo>
                  <a:pt x="71" y="15"/>
                  <a:pt x="71" y="15"/>
                  <a:pt x="71" y="15"/>
                </a:cubicBezTo>
                <a:cubicBezTo>
                  <a:pt x="68" y="14"/>
                  <a:pt x="68" y="14"/>
                  <a:pt x="68" y="14"/>
                </a:cubicBezTo>
                <a:cubicBezTo>
                  <a:pt x="64" y="11"/>
                  <a:pt x="64" y="11"/>
                  <a:pt x="64" y="11"/>
                </a:cubicBezTo>
                <a:cubicBezTo>
                  <a:pt x="63" y="10"/>
                  <a:pt x="63" y="10"/>
                  <a:pt x="63" y="10"/>
                </a:cubicBezTo>
                <a:cubicBezTo>
                  <a:pt x="63" y="10"/>
                  <a:pt x="63" y="10"/>
                  <a:pt x="63" y="10"/>
                </a:cubicBezTo>
                <a:close/>
                <a:moveTo>
                  <a:pt x="55" y="0"/>
                </a:moveTo>
                <a:cubicBezTo>
                  <a:pt x="56" y="0"/>
                  <a:pt x="56" y="0"/>
                  <a:pt x="56" y="0"/>
                </a:cubicBezTo>
                <a:cubicBezTo>
                  <a:pt x="56" y="1"/>
                  <a:pt x="56" y="1"/>
                  <a:pt x="56" y="1"/>
                </a:cubicBezTo>
                <a:cubicBezTo>
                  <a:pt x="56" y="2"/>
                  <a:pt x="56" y="2"/>
                  <a:pt x="56" y="2"/>
                </a:cubicBezTo>
                <a:cubicBezTo>
                  <a:pt x="55" y="1"/>
                  <a:pt x="55" y="1"/>
                  <a:pt x="55" y="1"/>
                </a:cubicBezTo>
                <a:cubicBezTo>
                  <a:pt x="55" y="0"/>
                  <a:pt x="55" y="0"/>
                  <a:pt x="55" y="0"/>
                </a:cubicBezTo>
                <a:close/>
                <a:moveTo>
                  <a:pt x="58" y="9"/>
                </a:moveTo>
                <a:cubicBezTo>
                  <a:pt x="60" y="9"/>
                  <a:pt x="60" y="9"/>
                  <a:pt x="60" y="9"/>
                </a:cubicBezTo>
                <a:cubicBezTo>
                  <a:pt x="61" y="9"/>
                  <a:pt x="61" y="9"/>
                  <a:pt x="61" y="9"/>
                </a:cubicBezTo>
                <a:cubicBezTo>
                  <a:pt x="61" y="11"/>
                  <a:pt x="61" y="11"/>
                  <a:pt x="61" y="11"/>
                </a:cubicBezTo>
                <a:cubicBezTo>
                  <a:pt x="59" y="11"/>
                  <a:pt x="59" y="11"/>
                  <a:pt x="59" y="11"/>
                </a:cubicBezTo>
                <a:cubicBezTo>
                  <a:pt x="58" y="10"/>
                  <a:pt x="58" y="10"/>
                  <a:pt x="58" y="10"/>
                </a:cubicBezTo>
                <a:cubicBezTo>
                  <a:pt x="58" y="9"/>
                  <a:pt x="58" y="9"/>
                  <a:pt x="58" y="9"/>
                </a:cubicBezTo>
                <a:close/>
                <a:moveTo>
                  <a:pt x="58" y="25"/>
                </a:moveTo>
                <a:cubicBezTo>
                  <a:pt x="59" y="26"/>
                  <a:pt x="59" y="26"/>
                  <a:pt x="59" y="26"/>
                </a:cubicBezTo>
                <a:cubicBezTo>
                  <a:pt x="60" y="25"/>
                  <a:pt x="60" y="25"/>
                  <a:pt x="60" y="25"/>
                </a:cubicBezTo>
                <a:cubicBezTo>
                  <a:pt x="59" y="24"/>
                  <a:pt x="59" y="24"/>
                  <a:pt x="59" y="24"/>
                </a:cubicBezTo>
                <a:cubicBezTo>
                  <a:pt x="58" y="24"/>
                  <a:pt x="58" y="24"/>
                  <a:pt x="58" y="24"/>
                </a:cubicBezTo>
                <a:cubicBezTo>
                  <a:pt x="58" y="25"/>
                  <a:pt x="58" y="25"/>
                  <a:pt x="58" y="25"/>
                </a:cubicBezTo>
                <a:close/>
                <a:moveTo>
                  <a:pt x="47" y="28"/>
                </a:moveTo>
                <a:cubicBezTo>
                  <a:pt x="47" y="29"/>
                  <a:pt x="47" y="29"/>
                  <a:pt x="47" y="29"/>
                </a:cubicBezTo>
                <a:cubicBezTo>
                  <a:pt x="48" y="31"/>
                  <a:pt x="48" y="31"/>
                  <a:pt x="48" y="31"/>
                </a:cubicBezTo>
                <a:cubicBezTo>
                  <a:pt x="49" y="31"/>
                  <a:pt x="49" y="31"/>
                  <a:pt x="49" y="31"/>
                </a:cubicBezTo>
                <a:cubicBezTo>
                  <a:pt x="51" y="32"/>
                  <a:pt x="51" y="32"/>
                  <a:pt x="51" y="32"/>
                </a:cubicBezTo>
                <a:cubicBezTo>
                  <a:pt x="51" y="33"/>
                  <a:pt x="51" y="33"/>
                  <a:pt x="51" y="33"/>
                </a:cubicBezTo>
                <a:cubicBezTo>
                  <a:pt x="52" y="33"/>
                  <a:pt x="52" y="33"/>
                  <a:pt x="52" y="33"/>
                </a:cubicBezTo>
                <a:cubicBezTo>
                  <a:pt x="54" y="33"/>
                  <a:pt x="54" y="33"/>
                  <a:pt x="54" y="33"/>
                </a:cubicBezTo>
                <a:cubicBezTo>
                  <a:pt x="55" y="34"/>
                  <a:pt x="55" y="34"/>
                  <a:pt x="55" y="34"/>
                </a:cubicBezTo>
                <a:cubicBezTo>
                  <a:pt x="56" y="34"/>
                  <a:pt x="56" y="34"/>
                  <a:pt x="56" y="34"/>
                </a:cubicBezTo>
                <a:cubicBezTo>
                  <a:pt x="57" y="34"/>
                  <a:pt x="57" y="34"/>
                  <a:pt x="57" y="34"/>
                </a:cubicBezTo>
                <a:cubicBezTo>
                  <a:pt x="60" y="33"/>
                  <a:pt x="60" y="33"/>
                  <a:pt x="60" y="33"/>
                </a:cubicBezTo>
                <a:cubicBezTo>
                  <a:pt x="61" y="34"/>
                  <a:pt x="61" y="34"/>
                  <a:pt x="61" y="34"/>
                </a:cubicBezTo>
                <a:cubicBezTo>
                  <a:pt x="62" y="33"/>
                  <a:pt x="62" y="33"/>
                  <a:pt x="62" y="33"/>
                </a:cubicBezTo>
                <a:cubicBezTo>
                  <a:pt x="63" y="34"/>
                  <a:pt x="63" y="34"/>
                  <a:pt x="63" y="34"/>
                </a:cubicBezTo>
                <a:cubicBezTo>
                  <a:pt x="64" y="33"/>
                  <a:pt x="64" y="33"/>
                  <a:pt x="64" y="33"/>
                </a:cubicBezTo>
                <a:cubicBezTo>
                  <a:pt x="64" y="32"/>
                  <a:pt x="64" y="32"/>
                  <a:pt x="64" y="32"/>
                </a:cubicBezTo>
                <a:cubicBezTo>
                  <a:pt x="66" y="32"/>
                  <a:pt x="66" y="32"/>
                  <a:pt x="66" y="32"/>
                </a:cubicBezTo>
                <a:cubicBezTo>
                  <a:pt x="68" y="30"/>
                  <a:pt x="68" y="30"/>
                  <a:pt x="68" y="30"/>
                </a:cubicBezTo>
                <a:cubicBezTo>
                  <a:pt x="68" y="29"/>
                  <a:pt x="68" y="29"/>
                  <a:pt x="68" y="29"/>
                </a:cubicBezTo>
                <a:cubicBezTo>
                  <a:pt x="69" y="28"/>
                  <a:pt x="69" y="28"/>
                  <a:pt x="69" y="28"/>
                </a:cubicBezTo>
                <a:cubicBezTo>
                  <a:pt x="69" y="29"/>
                  <a:pt x="69" y="29"/>
                  <a:pt x="69" y="29"/>
                </a:cubicBezTo>
                <a:cubicBezTo>
                  <a:pt x="71" y="29"/>
                  <a:pt x="71" y="29"/>
                  <a:pt x="71" y="29"/>
                </a:cubicBezTo>
                <a:cubicBezTo>
                  <a:pt x="72" y="27"/>
                  <a:pt x="72" y="27"/>
                  <a:pt x="72" y="27"/>
                </a:cubicBezTo>
                <a:cubicBezTo>
                  <a:pt x="70" y="26"/>
                  <a:pt x="70" y="26"/>
                  <a:pt x="70" y="26"/>
                </a:cubicBezTo>
                <a:cubicBezTo>
                  <a:pt x="70" y="25"/>
                  <a:pt x="70" y="25"/>
                  <a:pt x="70" y="25"/>
                </a:cubicBezTo>
                <a:cubicBezTo>
                  <a:pt x="71" y="25"/>
                  <a:pt x="71" y="25"/>
                  <a:pt x="71" y="25"/>
                </a:cubicBezTo>
                <a:cubicBezTo>
                  <a:pt x="72" y="25"/>
                  <a:pt x="72" y="25"/>
                  <a:pt x="72" y="25"/>
                </a:cubicBezTo>
                <a:cubicBezTo>
                  <a:pt x="73" y="24"/>
                  <a:pt x="73" y="24"/>
                  <a:pt x="73" y="24"/>
                </a:cubicBezTo>
                <a:cubicBezTo>
                  <a:pt x="73" y="21"/>
                  <a:pt x="73" y="21"/>
                  <a:pt x="73" y="21"/>
                </a:cubicBezTo>
                <a:cubicBezTo>
                  <a:pt x="72" y="20"/>
                  <a:pt x="72" y="20"/>
                  <a:pt x="72" y="20"/>
                </a:cubicBezTo>
                <a:cubicBezTo>
                  <a:pt x="71" y="20"/>
                  <a:pt x="71" y="20"/>
                  <a:pt x="71" y="20"/>
                </a:cubicBezTo>
                <a:cubicBezTo>
                  <a:pt x="71" y="21"/>
                  <a:pt x="71" y="21"/>
                  <a:pt x="71" y="21"/>
                </a:cubicBezTo>
                <a:cubicBezTo>
                  <a:pt x="70" y="20"/>
                  <a:pt x="70" y="20"/>
                  <a:pt x="70" y="20"/>
                </a:cubicBezTo>
                <a:cubicBezTo>
                  <a:pt x="68" y="20"/>
                  <a:pt x="68" y="20"/>
                  <a:pt x="68" y="20"/>
                </a:cubicBezTo>
                <a:cubicBezTo>
                  <a:pt x="68" y="21"/>
                  <a:pt x="68" y="21"/>
                  <a:pt x="68" y="21"/>
                </a:cubicBezTo>
                <a:cubicBezTo>
                  <a:pt x="68" y="24"/>
                  <a:pt x="68" y="24"/>
                  <a:pt x="68" y="24"/>
                </a:cubicBezTo>
                <a:cubicBezTo>
                  <a:pt x="69" y="24"/>
                  <a:pt x="69" y="24"/>
                  <a:pt x="69" y="24"/>
                </a:cubicBezTo>
                <a:cubicBezTo>
                  <a:pt x="68" y="25"/>
                  <a:pt x="68" y="25"/>
                  <a:pt x="68" y="25"/>
                </a:cubicBezTo>
                <a:cubicBezTo>
                  <a:pt x="67" y="25"/>
                  <a:pt x="67" y="25"/>
                  <a:pt x="67" y="25"/>
                </a:cubicBezTo>
                <a:cubicBezTo>
                  <a:pt x="65" y="27"/>
                  <a:pt x="65" y="27"/>
                  <a:pt x="65" y="27"/>
                </a:cubicBezTo>
                <a:cubicBezTo>
                  <a:pt x="64" y="28"/>
                  <a:pt x="64" y="28"/>
                  <a:pt x="64" y="28"/>
                </a:cubicBezTo>
                <a:cubicBezTo>
                  <a:pt x="63" y="29"/>
                  <a:pt x="63" y="29"/>
                  <a:pt x="63" y="29"/>
                </a:cubicBezTo>
                <a:cubicBezTo>
                  <a:pt x="63" y="28"/>
                  <a:pt x="63" y="28"/>
                  <a:pt x="63" y="28"/>
                </a:cubicBezTo>
                <a:cubicBezTo>
                  <a:pt x="62" y="29"/>
                  <a:pt x="62" y="29"/>
                  <a:pt x="62" y="29"/>
                </a:cubicBezTo>
                <a:cubicBezTo>
                  <a:pt x="61" y="28"/>
                  <a:pt x="61" y="28"/>
                  <a:pt x="61" y="28"/>
                </a:cubicBezTo>
                <a:cubicBezTo>
                  <a:pt x="60" y="28"/>
                  <a:pt x="60" y="28"/>
                  <a:pt x="60" y="28"/>
                </a:cubicBezTo>
                <a:cubicBezTo>
                  <a:pt x="59" y="29"/>
                  <a:pt x="59" y="29"/>
                  <a:pt x="59" y="29"/>
                </a:cubicBezTo>
                <a:cubicBezTo>
                  <a:pt x="58" y="29"/>
                  <a:pt x="58" y="29"/>
                  <a:pt x="58" y="29"/>
                </a:cubicBezTo>
                <a:cubicBezTo>
                  <a:pt x="58" y="28"/>
                  <a:pt x="58" y="28"/>
                  <a:pt x="58" y="28"/>
                </a:cubicBezTo>
                <a:cubicBezTo>
                  <a:pt x="58" y="27"/>
                  <a:pt x="58" y="27"/>
                  <a:pt x="58" y="27"/>
                </a:cubicBezTo>
                <a:cubicBezTo>
                  <a:pt x="57" y="26"/>
                  <a:pt x="57" y="26"/>
                  <a:pt x="57" y="26"/>
                </a:cubicBezTo>
                <a:cubicBezTo>
                  <a:pt x="57" y="27"/>
                  <a:pt x="57" y="27"/>
                  <a:pt x="57" y="27"/>
                </a:cubicBezTo>
                <a:cubicBezTo>
                  <a:pt x="57" y="28"/>
                  <a:pt x="57" y="28"/>
                  <a:pt x="57" y="28"/>
                </a:cubicBezTo>
                <a:cubicBezTo>
                  <a:pt x="56" y="28"/>
                  <a:pt x="56" y="28"/>
                  <a:pt x="56" y="28"/>
                </a:cubicBezTo>
                <a:cubicBezTo>
                  <a:pt x="55" y="28"/>
                  <a:pt x="55" y="28"/>
                  <a:pt x="55" y="28"/>
                </a:cubicBezTo>
                <a:cubicBezTo>
                  <a:pt x="53" y="29"/>
                  <a:pt x="53" y="29"/>
                  <a:pt x="53" y="29"/>
                </a:cubicBezTo>
                <a:cubicBezTo>
                  <a:pt x="52" y="29"/>
                  <a:pt x="52" y="29"/>
                  <a:pt x="52" y="29"/>
                </a:cubicBezTo>
                <a:cubicBezTo>
                  <a:pt x="51" y="28"/>
                  <a:pt x="51" y="28"/>
                  <a:pt x="51" y="28"/>
                </a:cubicBezTo>
                <a:cubicBezTo>
                  <a:pt x="50" y="28"/>
                  <a:pt x="50" y="28"/>
                  <a:pt x="50" y="28"/>
                </a:cubicBezTo>
                <a:cubicBezTo>
                  <a:pt x="49" y="28"/>
                  <a:pt x="49" y="28"/>
                  <a:pt x="49" y="28"/>
                </a:cubicBezTo>
                <a:cubicBezTo>
                  <a:pt x="47" y="28"/>
                  <a:pt x="47" y="28"/>
                  <a:pt x="47" y="28"/>
                </a:cubicBezTo>
                <a:close/>
                <a:moveTo>
                  <a:pt x="43" y="29"/>
                </a:moveTo>
                <a:cubicBezTo>
                  <a:pt x="44" y="28"/>
                  <a:pt x="44" y="28"/>
                  <a:pt x="44" y="28"/>
                </a:cubicBezTo>
                <a:cubicBezTo>
                  <a:pt x="45" y="29"/>
                  <a:pt x="45" y="29"/>
                  <a:pt x="45" y="29"/>
                </a:cubicBezTo>
                <a:cubicBezTo>
                  <a:pt x="45" y="30"/>
                  <a:pt x="45" y="30"/>
                  <a:pt x="45" y="30"/>
                </a:cubicBezTo>
                <a:cubicBezTo>
                  <a:pt x="45" y="31"/>
                  <a:pt x="45" y="31"/>
                  <a:pt x="45" y="31"/>
                </a:cubicBezTo>
                <a:cubicBezTo>
                  <a:pt x="44" y="30"/>
                  <a:pt x="44" y="30"/>
                  <a:pt x="44" y="30"/>
                </a:cubicBezTo>
                <a:cubicBezTo>
                  <a:pt x="43" y="29"/>
                  <a:pt x="43" y="29"/>
                  <a:pt x="43" y="29"/>
                </a:cubicBezTo>
                <a:close/>
                <a:moveTo>
                  <a:pt x="39" y="27"/>
                </a:moveTo>
                <a:cubicBezTo>
                  <a:pt x="39" y="28"/>
                  <a:pt x="39" y="28"/>
                  <a:pt x="39" y="28"/>
                </a:cubicBezTo>
                <a:cubicBezTo>
                  <a:pt x="39" y="28"/>
                  <a:pt x="39" y="28"/>
                  <a:pt x="39" y="28"/>
                </a:cubicBezTo>
                <a:cubicBezTo>
                  <a:pt x="40" y="28"/>
                  <a:pt x="40" y="28"/>
                  <a:pt x="40" y="28"/>
                </a:cubicBezTo>
                <a:cubicBezTo>
                  <a:pt x="40" y="27"/>
                  <a:pt x="40" y="27"/>
                  <a:pt x="40" y="27"/>
                </a:cubicBezTo>
                <a:cubicBezTo>
                  <a:pt x="39" y="27"/>
                  <a:pt x="39" y="27"/>
                  <a:pt x="39" y="27"/>
                </a:cubicBezTo>
                <a:close/>
                <a:moveTo>
                  <a:pt x="33" y="22"/>
                </a:moveTo>
                <a:cubicBezTo>
                  <a:pt x="32" y="23"/>
                  <a:pt x="32" y="23"/>
                  <a:pt x="32" y="23"/>
                </a:cubicBezTo>
                <a:cubicBezTo>
                  <a:pt x="32" y="24"/>
                  <a:pt x="32" y="24"/>
                  <a:pt x="32" y="24"/>
                </a:cubicBezTo>
                <a:cubicBezTo>
                  <a:pt x="33" y="23"/>
                  <a:pt x="33" y="23"/>
                  <a:pt x="33" y="23"/>
                </a:cubicBezTo>
                <a:cubicBezTo>
                  <a:pt x="33" y="22"/>
                  <a:pt x="33" y="22"/>
                  <a:pt x="33" y="22"/>
                </a:cubicBezTo>
                <a:close/>
                <a:moveTo>
                  <a:pt x="73" y="51"/>
                </a:moveTo>
                <a:cubicBezTo>
                  <a:pt x="73" y="52"/>
                  <a:pt x="73" y="52"/>
                  <a:pt x="73" y="52"/>
                </a:cubicBezTo>
                <a:cubicBezTo>
                  <a:pt x="73" y="53"/>
                  <a:pt x="73" y="53"/>
                  <a:pt x="73" y="53"/>
                </a:cubicBezTo>
                <a:cubicBezTo>
                  <a:pt x="74" y="53"/>
                  <a:pt x="74" y="53"/>
                  <a:pt x="74" y="53"/>
                </a:cubicBezTo>
                <a:cubicBezTo>
                  <a:pt x="75" y="54"/>
                  <a:pt x="75" y="54"/>
                  <a:pt x="75" y="54"/>
                </a:cubicBezTo>
                <a:cubicBezTo>
                  <a:pt x="75" y="53"/>
                  <a:pt x="75" y="53"/>
                  <a:pt x="75" y="53"/>
                </a:cubicBezTo>
                <a:cubicBezTo>
                  <a:pt x="73" y="51"/>
                  <a:pt x="73" y="51"/>
                  <a:pt x="73" y="51"/>
                </a:cubicBezTo>
                <a:close/>
                <a:moveTo>
                  <a:pt x="64" y="47"/>
                </a:moveTo>
                <a:cubicBezTo>
                  <a:pt x="63" y="48"/>
                  <a:pt x="63" y="48"/>
                  <a:pt x="63" y="48"/>
                </a:cubicBezTo>
                <a:cubicBezTo>
                  <a:pt x="64" y="49"/>
                  <a:pt x="64" y="49"/>
                  <a:pt x="64" y="49"/>
                </a:cubicBezTo>
                <a:cubicBezTo>
                  <a:pt x="64" y="49"/>
                  <a:pt x="64" y="49"/>
                  <a:pt x="64" y="49"/>
                </a:cubicBezTo>
                <a:cubicBezTo>
                  <a:pt x="64" y="50"/>
                  <a:pt x="64" y="50"/>
                  <a:pt x="64" y="50"/>
                </a:cubicBezTo>
                <a:cubicBezTo>
                  <a:pt x="64" y="50"/>
                  <a:pt x="64" y="50"/>
                  <a:pt x="64" y="50"/>
                </a:cubicBezTo>
                <a:cubicBezTo>
                  <a:pt x="64" y="50"/>
                  <a:pt x="64" y="50"/>
                  <a:pt x="64" y="50"/>
                </a:cubicBezTo>
                <a:cubicBezTo>
                  <a:pt x="65" y="49"/>
                  <a:pt x="65" y="49"/>
                  <a:pt x="65" y="49"/>
                </a:cubicBezTo>
                <a:cubicBezTo>
                  <a:pt x="64" y="47"/>
                  <a:pt x="64" y="47"/>
                  <a:pt x="64" y="47"/>
                </a:cubicBezTo>
                <a:cubicBezTo>
                  <a:pt x="64" y="47"/>
                  <a:pt x="64" y="47"/>
                  <a:pt x="64" y="47"/>
                </a:cubicBezTo>
                <a:close/>
                <a:moveTo>
                  <a:pt x="61" y="57"/>
                </a:moveTo>
                <a:cubicBezTo>
                  <a:pt x="62" y="57"/>
                  <a:pt x="62" y="57"/>
                  <a:pt x="62" y="57"/>
                </a:cubicBezTo>
                <a:cubicBezTo>
                  <a:pt x="62" y="57"/>
                  <a:pt x="62" y="57"/>
                  <a:pt x="62" y="57"/>
                </a:cubicBezTo>
                <a:cubicBezTo>
                  <a:pt x="63" y="58"/>
                  <a:pt x="63" y="58"/>
                  <a:pt x="63" y="58"/>
                </a:cubicBezTo>
                <a:cubicBezTo>
                  <a:pt x="63" y="58"/>
                  <a:pt x="63" y="58"/>
                  <a:pt x="63" y="58"/>
                </a:cubicBezTo>
                <a:cubicBezTo>
                  <a:pt x="63" y="58"/>
                  <a:pt x="63" y="58"/>
                  <a:pt x="63" y="58"/>
                </a:cubicBezTo>
                <a:cubicBezTo>
                  <a:pt x="64" y="58"/>
                  <a:pt x="64" y="58"/>
                  <a:pt x="64" y="58"/>
                </a:cubicBezTo>
                <a:cubicBezTo>
                  <a:pt x="65" y="58"/>
                  <a:pt x="65" y="58"/>
                  <a:pt x="65" y="58"/>
                </a:cubicBezTo>
                <a:cubicBezTo>
                  <a:pt x="65" y="58"/>
                  <a:pt x="65" y="58"/>
                  <a:pt x="65" y="58"/>
                </a:cubicBezTo>
                <a:cubicBezTo>
                  <a:pt x="64" y="59"/>
                  <a:pt x="64" y="59"/>
                  <a:pt x="64" y="59"/>
                </a:cubicBezTo>
                <a:cubicBezTo>
                  <a:pt x="64" y="59"/>
                  <a:pt x="64" y="59"/>
                  <a:pt x="64" y="59"/>
                </a:cubicBezTo>
                <a:cubicBezTo>
                  <a:pt x="63" y="59"/>
                  <a:pt x="63" y="59"/>
                  <a:pt x="63" y="59"/>
                </a:cubicBezTo>
                <a:cubicBezTo>
                  <a:pt x="62" y="59"/>
                  <a:pt x="62" y="59"/>
                  <a:pt x="62" y="59"/>
                </a:cubicBezTo>
                <a:cubicBezTo>
                  <a:pt x="62" y="58"/>
                  <a:pt x="62" y="58"/>
                  <a:pt x="62" y="58"/>
                </a:cubicBezTo>
                <a:cubicBezTo>
                  <a:pt x="62" y="58"/>
                  <a:pt x="62" y="58"/>
                  <a:pt x="62" y="58"/>
                </a:cubicBezTo>
                <a:cubicBezTo>
                  <a:pt x="62" y="57"/>
                  <a:pt x="62" y="57"/>
                  <a:pt x="62" y="57"/>
                </a:cubicBezTo>
                <a:cubicBezTo>
                  <a:pt x="61" y="57"/>
                  <a:pt x="61" y="57"/>
                  <a:pt x="61" y="57"/>
                </a:cubicBezTo>
                <a:cubicBezTo>
                  <a:pt x="61" y="57"/>
                  <a:pt x="61" y="57"/>
                  <a:pt x="61" y="57"/>
                </a:cubicBezTo>
                <a:close/>
                <a:moveTo>
                  <a:pt x="60" y="55"/>
                </a:moveTo>
                <a:cubicBezTo>
                  <a:pt x="60" y="56"/>
                  <a:pt x="60" y="56"/>
                  <a:pt x="60" y="56"/>
                </a:cubicBezTo>
                <a:cubicBezTo>
                  <a:pt x="61" y="56"/>
                  <a:pt x="61" y="56"/>
                  <a:pt x="61" y="56"/>
                </a:cubicBezTo>
                <a:cubicBezTo>
                  <a:pt x="62" y="56"/>
                  <a:pt x="62" y="56"/>
                  <a:pt x="62" y="56"/>
                </a:cubicBezTo>
                <a:cubicBezTo>
                  <a:pt x="62" y="56"/>
                  <a:pt x="62" y="56"/>
                  <a:pt x="62" y="56"/>
                </a:cubicBezTo>
                <a:cubicBezTo>
                  <a:pt x="62" y="56"/>
                  <a:pt x="62" y="56"/>
                  <a:pt x="62" y="56"/>
                </a:cubicBezTo>
                <a:cubicBezTo>
                  <a:pt x="62" y="55"/>
                  <a:pt x="62" y="55"/>
                  <a:pt x="62" y="55"/>
                </a:cubicBezTo>
                <a:cubicBezTo>
                  <a:pt x="62" y="55"/>
                  <a:pt x="62" y="55"/>
                  <a:pt x="62" y="55"/>
                </a:cubicBezTo>
                <a:cubicBezTo>
                  <a:pt x="62" y="55"/>
                  <a:pt x="62" y="55"/>
                  <a:pt x="62" y="55"/>
                </a:cubicBezTo>
                <a:cubicBezTo>
                  <a:pt x="61" y="55"/>
                  <a:pt x="61" y="55"/>
                  <a:pt x="61" y="55"/>
                </a:cubicBezTo>
                <a:cubicBezTo>
                  <a:pt x="61" y="55"/>
                  <a:pt x="61" y="55"/>
                  <a:pt x="61" y="55"/>
                </a:cubicBezTo>
                <a:cubicBezTo>
                  <a:pt x="60" y="54"/>
                  <a:pt x="60" y="54"/>
                  <a:pt x="60" y="54"/>
                </a:cubicBezTo>
                <a:cubicBezTo>
                  <a:pt x="60" y="55"/>
                  <a:pt x="60" y="55"/>
                  <a:pt x="60" y="55"/>
                </a:cubicBezTo>
                <a:close/>
                <a:moveTo>
                  <a:pt x="57" y="54"/>
                </a:moveTo>
                <a:cubicBezTo>
                  <a:pt x="58" y="55"/>
                  <a:pt x="58" y="55"/>
                  <a:pt x="58" y="55"/>
                </a:cubicBezTo>
                <a:cubicBezTo>
                  <a:pt x="58" y="55"/>
                  <a:pt x="58" y="55"/>
                  <a:pt x="58" y="55"/>
                </a:cubicBezTo>
                <a:cubicBezTo>
                  <a:pt x="59" y="55"/>
                  <a:pt x="59" y="55"/>
                  <a:pt x="59" y="55"/>
                </a:cubicBezTo>
                <a:cubicBezTo>
                  <a:pt x="59" y="55"/>
                  <a:pt x="59" y="55"/>
                  <a:pt x="59" y="55"/>
                </a:cubicBezTo>
                <a:cubicBezTo>
                  <a:pt x="59" y="55"/>
                  <a:pt x="59" y="55"/>
                  <a:pt x="59" y="55"/>
                </a:cubicBezTo>
                <a:cubicBezTo>
                  <a:pt x="59" y="53"/>
                  <a:pt x="59" y="53"/>
                  <a:pt x="59" y="53"/>
                </a:cubicBezTo>
                <a:cubicBezTo>
                  <a:pt x="58" y="53"/>
                  <a:pt x="58" y="53"/>
                  <a:pt x="58" y="53"/>
                </a:cubicBezTo>
                <a:cubicBezTo>
                  <a:pt x="57" y="54"/>
                  <a:pt x="57" y="54"/>
                  <a:pt x="57" y="54"/>
                </a:cubicBezTo>
                <a:close/>
                <a:moveTo>
                  <a:pt x="26" y="43"/>
                </a:moveTo>
                <a:cubicBezTo>
                  <a:pt x="25" y="43"/>
                  <a:pt x="25" y="43"/>
                  <a:pt x="25" y="43"/>
                </a:cubicBezTo>
                <a:cubicBezTo>
                  <a:pt x="26" y="44"/>
                  <a:pt x="26" y="44"/>
                  <a:pt x="26" y="44"/>
                </a:cubicBezTo>
                <a:cubicBezTo>
                  <a:pt x="26" y="44"/>
                  <a:pt x="26" y="43"/>
                  <a:pt x="26" y="43"/>
                </a:cubicBezTo>
                <a:close/>
                <a:moveTo>
                  <a:pt x="23" y="43"/>
                </a:moveTo>
                <a:cubicBezTo>
                  <a:pt x="23" y="43"/>
                  <a:pt x="23" y="43"/>
                  <a:pt x="23" y="43"/>
                </a:cubicBezTo>
                <a:cubicBezTo>
                  <a:pt x="24" y="43"/>
                  <a:pt x="24" y="43"/>
                  <a:pt x="24" y="43"/>
                </a:cubicBezTo>
                <a:cubicBezTo>
                  <a:pt x="23" y="43"/>
                  <a:pt x="23" y="43"/>
                  <a:pt x="23" y="43"/>
                </a:cubicBezTo>
                <a:close/>
                <a:moveTo>
                  <a:pt x="21" y="43"/>
                </a:moveTo>
                <a:cubicBezTo>
                  <a:pt x="21" y="44"/>
                  <a:pt x="21" y="44"/>
                  <a:pt x="21" y="44"/>
                </a:cubicBezTo>
                <a:cubicBezTo>
                  <a:pt x="22" y="44"/>
                  <a:pt x="22" y="44"/>
                  <a:pt x="22" y="44"/>
                </a:cubicBezTo>
                <a:cubicBezTo>
                  <a:pt x="22" y="43"/>
                  <a:pt x="22" y="43"/>
                  <a:pt x="22" y="43"/>
                </a:cubicBezTo>
                <a:cubicBezTo>
                  <a:pt x="21" y="43"/>
                  <a:pt x="21" y="43"/>
                  <a:pt x="21" y="43"/>
                </a:cubicBezTo>
                <a:close/>
                <a:moveTo>
                  <a:pt x="23" y="43"/>
                </a:moveTo>
                <a:cubicBezTo>
                  <a:pt x="22" y="43"/>
                  <a:pt x="22" y="43"/>
                  <a:pt x="22" y="43"/>
                </a:cubicBezTo>
                <a:cubicBezTo>
                  <a:pt x="22" y="42"/>
                  <a:pt x="22" y="42"/>
                  <a:pt x="22" y="42"/>
                </a:cubicBezTo>
                <a:cubicBezTo>
                  <a:pt x="23" y="42"/>
                  <a:pt x="23" y="42"/>
                  <a:pt x="23" y="42"/>
                </a:cubicBezTo>
                <a:cubicBezTo>
                  <a:pt x="23" y="43"/>
                  <a:pt x="23" y="43"/>
                  <a:pt x="23" y="43"/>
                </a:cubicBezTo>
                <a:cubicBezTo>
                  <a:pt x="23" y="43"/>
                  <a:pt x="23" y="43"/>
                  <a:pt x="23" y="43"/>
                </a:cubicBezTo>
                <a:close/>
                <a:moveTo>
                  <a:pt x="18" y="43"/>
                </a:moveTo>
                <a:cubicBezTo>
                  <a:pt x="19" y="44"/>
                  <a:pt x="19" y="44"/>
                  <a:pt x="19" y="44"/>
                </a:cubicBezTo>
                <a:cubicBezTo>
                  <a:pt x="19" y="44"/>
                  <a:pt x="19" y="44"/>
                  <a:pt x="19" y="44"/>
                </a:cubicBezTo>
                <a:cubicBezTo>
                  <a:pt x="19" y="44"/>
                  <a:pt x="19" y="44"/>
                  <a:pt x="19" y="44"/>
                </a:cubicBezTo>
                <a:cubicBezTo>
                  <a:pt x="18" y="43"/>
                  <a:pt x="18" y="43"/>
                  <a:pt x="18" y="43"/>
                </a:cubicBezTo>
                <a:close/>
                <a:moveTo>
                  <a:pt x="16" y="48"/>
                </a:moveTo>
                <a:cubicBezTo>
                  <a:pt x="17" y="48"/>
                  <a:pt x="17" y="48"/>
                  <a:pt x="17" y="48"/>
                </a:cubicBezTo>
                <a:cubicBezTo>
                  <a:pt x="18" y="48"/>
                  <a:pt x="18" y="48"/>
                  <a:pt x="18" y="48"/>
                </a:cubicBezTo>
                <a:cubicBezTo>
                  <a:pt x="18" y="48"/>
                  <a:pt x="18" y="48"/>
                  <a:pt x="18" y="48"/>
                </a:cubicBezTo>
                <a:cubicBezTo>
                  <a:pt x="18" y="48"/>
                  <a:pt x="16" y="48"/>
                  <a:pt x="16" y="48"/>
                </a:cubicBezTo>
                <a:close/>
                <a:moveTo>
                  <a:pt x="16" y="49"/>
                </a:moveTo>
                <a:cubicBezTo>
                  <a:pt x="17" y="49"/>
                  <a:pt x="17" y="49"/>
                  <a:pt x="17" y="49"/>
                </a:cubicBezTo>
                <a:cubicBezTo>
                  <a:pt x="17" y="49"/>
                  <a:pt x="17" y="49"/>
                  <a:pt x="17" y="49"/>
                </a:cubicBezTo>
                <a:cubicBezTo>
                  <a:pt x="16" y="49"/>
                  <a:pt x="16" y="49"/>
                  <a:pt x="16" y="49"/>
                </a:cubicBezTo>
                <a:close/>
                <a:moveTo>
                  <a:pt x="15" y="48"/>
                </a:moveTo>
                <a:cubicBezTo>
                  <a:pt x="15" y="49"/>
                  <a:pt x="15" y="49"/>
                  <a:pt x="15" y="49"/>
                </a:cubicBezTo>
                <a:cubicBezTo>
                  <a:pt x="16" y="48"/>
                  <a:pt x="16" y="48"/>
                  <a:pt x="16" y="48"/>
                </a:cubicBezTo>
                <a:cubicBezTo>
                  <a:pt x="15" y="48"/>
                  <a:pt x="15" y="48"/>
                  <a:pt x="15" y="48"/>
                </a:cubicBezTo>
                <a:close/>
                <a:moveTo>
                  <a:pt x="14" y="49"/>
                </a:moveTo>
                <a:cubicBezTo>
                  <a:pt x="14" y="49"/>
                  <a:pt x="16" y="50"/>
                  <a:pt x="16" y="50"/>
                </a:cubicBezTo>
                <a:cubicBezTo>
                  <a:pt x="17" y="51"/>
                  <a:pt x="17" y="51"/>
                  <a:pt x="17" y="51"/>
                </a:cubicBezTo>
                <a:cubicBezTo>
                  <a:pt x="14" y="49"/>
                  <a:pt x="14" y="49"/>
                  <a:pt x="14" y="49"/>
                </a:cubicBezTo>
                <a:close/>
                <a:moveTo>
                  <a:pt x="16" y="46"/>
                </a:moveTo>
                <a:cubicBezTo>
                  <a:pt x="17" y="46"/>
                  <a:pt x="17" y="46"/>
                  <a:pt x="17" y="46"/>
                </a:cubicBezTo>
                <a:cubicBezTo>
                  <a:pt x="17" y="46"/>
                  <a:pt x="17" y="46"/>
                  <a:pt x="17" y="46"/>
                </a:cubicBezTo>
                <a:cubicBezTo>
                  <a:pt x="16" y="46"/>
                  <a:pt x="16" y="46"/>
                  <a:pt x="16" y="46"/>
                </a:cubicBezTo>
                <a:cubicBezTo>
                  <a:pt x="16" y="46"/>
                  <a:pt x="16" y="46"/>
                  <a:pt x="16" y="46"/>
                </a:cubicBezTo>
                <a:close/>
                <a:moveTo>
                  <a:pt x="18" y="46"/>
                </a:moveTo>
                <a:cubicBezTo>
                  <a:pt x="17" y="45"/>
                  <a:pt x="17" y="45"/>
                  <a:pt x="17" y="45"/>
                </a:cubicBezTo>
                <a:cubicBezTo>
                  <a:pt x="17" y="44"/>
                  <a:pt x="17" y="44"/>
                  <a:pt x="17" y="44"/>
                </a:cubicBezTo>
                <a:cubicBezTo>
                  <a:pt x="18" y="44"/>
                  <a:pt x="18" y="44"/>
                  <a:pt x="18" y="44"/>
                </a:cubicBezTo>
                <a:cubicBezTo>
                  <a:pt x="18" y="45"/>
                  <a:pt x="18" y="45"/>
                  <a:pt x="18" y="45"/>
                </a:cubicBezTo>
                <a:cubicBezTo>
                  <a:pt x="18" y="46"/>
                  <a:pt x="18" y="46"/>
                  <a:pt x="18" y="46"/>
                </a:cubicBezTo>
                <a:cubicBezTo>
                  <a:pt x="18" y="46"/>
                  <a:pt x="18" y="46"/>
                  <a:pt x="18" y="46"/>
                </a:cubicBezTo>
                <a:close/>
                <a:moveTo>
                  <a:pt x="1" y="10"/>
                </a:moveTo>
                <a:cubicBezTo>
                  <a:pt x="0" y="34"/>
                  <a:pt x="0" y="34"/>
                  <a:pt x="0" y="34"/>
                </a:cubicBezTo>
                <a:cubicBezTo>
                  <a:pt x="0" y="36"/>
                  <a:pt x="0" y="36"/>
                  <a:pt x="0" y="36"/>
                </a:cubicBezTo>
                <a:cubicBezTo>
                  <a:pt x="0" y="37"/>
                  <a:pt x="0" y="37"/>
                  <a:pt x="0" y="37"/>
                </a:cubicBezTo>
                <a:cubicBezTo>
                  <a:pt x="0" y="37"/>
                  <a:pt x="0" y="37"/>
                  <a:pt x="0" y="37"/>
                </a:cubicBezTo>
                <a:cubicBezTo>
                  <a:pt x="0" y="52"/>
                  <a:pt x="0" y="52"/>
                  <a:pt x="0" y="52"/>
                </a:cubicBezTo>
                <a:cubicBezTo>
                  <a:pt x="2" y="52"/>
                  <a:pt x="2" y="52"/>
                  <a:pt x="2" y="52"/>
                </a:cubicBezTo>
                <a:cubicBezTo>
                  <a:pt x="3" y="53"/>
                  <a:pt x="3" y="53"/>
                  <a:pt x="3" y="53"/>
                </a:cubicBezTo>
                <a:cubicBezTo>
                  <a:pt x="4" y="52"/>
                  <a:pt x="4" y="52"/>
                  <a:pt x="4" y="52"/>
                </a:cubicBezTo>
                <a:cubicBezTo>
                  <a:pt x="7" y="53"/>
                  <a:pt x="7" y="53"/>
                  <a:pt x="7" y="53"/>
                </a:cubicBezTo>
                <a:cubicBezTo>
                  <a:pt x="8" y="52"/>
                  <a:pt x="8" y="52"/>
                  <a:pt x="8" y="52"/>
                </a:cubicBezTo>
                <a:cubicBezTo>
                  <a:pt x="8" y="53"/>
                  <a:pt x="8" y="53"/>
                  <a:pt x="8" y="53"/>
                </a:cubicBezTo>
                <a:cubicBezTo>
                  <a:pt x="9" y="54"/>
                  <a:pt x="9" y="54"/>
                  <a:pt x="9" y="54"/>
                </a:cubicBezTo>
                <a:cubicBezTo>
                  <a:pt x="10" y="54"/>
                  <a:pt x="10" y="54"/>
                  <a:pt x="10" y="54"/>
                </a:cubicBezTo>
                <a:cubicBezTo>
                  <a:pt x="11" y="53"/>
                  <a:pt x="11" y="53"/>
                  <a:pt x="11" y="53"/>
                </a:cubicBezTo>
                <a:cubicBezTo>
                  <a:pt x="13" y="53"/>
                  <a:pt x="13" y="53"/>
                  <a:pt x="13" y="53"/>
                </a:cubicBezTo>
                <a:cubicBezTo>
                  <a:pt x="14" y="52"/>
                  <a:pt x="14" y="52"/>
                  <a:pt x="14" y="52"/>
                </a:cubicBezTo>
                <a:cubicBezTo>
                  <a:pt x="14" y="53"/>
                  <a:pt x="14" y="53"/>
                  <a:pt x="14" y="53"/>
                </a:cubicBezTo>
                <a:cubicBezTo>
                  <a:pt x="15" y="52"/>
                  <a:pt x="15" y="52"/>
                  <a:pt x="15" y="52"/>
                </a:cubicBezTo>
                <a:cubicBezTo>
                  <a:pt x="15" y="50"/>
                  <a:pt x="15" y="50"/>
                  <a:pt x="15" y="50"/>
                </a:cubicBezTo>
                <a:cubicBezTo>
                  <a:pt x="13" y="49"/>
                  <a:pt x="13" y="49"/>
                  <a:pt x="13" y="49"/>
                </a:cubicBezTo>
                <a:cubicBezTo>
                  <a:pt x="11" y="48"/>
                  <a:pt x="11" y="48"/>
                  <a:pt x="11" y="48"/>
                </a:cubicBezTo>
                <a:cubicBezTo>
                  <a:pt x="10" y="48"/>
                  <a:pt x="10" y="48"/>
                  <a:pt x="10" y="48"/>
                </a:cubicBezTo>
                <a:cubicBezTo>
                  <a:pt x="9" y="47"/>
                  <a:pt x="9" y="47"/>
                  <a:pt x="9" y="47"/>
                </a:cubicBezTo>
                <a:cubicBezTo>
                  <a:pt x="8" y="47"/>
                  <a:pt x="8" y="47"/>
                  <a:pt x="8" y="47"/>
                </a:cubicBezTo>
                <a:cubicBezTo>
                  <a:pt x="8" y="47"/>
                  <a:pt x="8" y="47"/>
                  <a:pt x="8" y="47"/>
                </a:cubicBezTo>
                <a:cubicBezTo>
                  <a:pt x="7" y="47"/>
                  <a:pt x="7" y="47"/>
                  <a:pt x="7" y="47"/>
                </a:cubicBezTo>
                <a:cubicBezTo>
                  <a:pt x="7" y="45"/>
                  <a:pt x="7" y="45"/>
                  <a:pt x="7" y="45"/>
                </a:cubicBezTo>
                <a:cubicBezTo>
                  <a:pt x="6" y="44"/>
                  <a:pt x="6" y="44"/>
                  <a:pt x="6" y="44"/>
                </a:cubicBezTo>
                <a:cubicBezTo>
                  <a:pt x="5" y="43"/>
                  <a:pt x="5" y="43"/>
                  <a:pt x="5" y="43"/>
                </a:cubicBezTo>
                <a:cubicBezTo>
                  <a:pt x="4" y="42"/>
                  <a:pt x="4" y="42"/>
                  <a:pt x="4" y="42"/>
                </a:cubicBezTo>
                <a:cubicBezTo>
                  <a:pt x="4" y="42"/>
                  <a:pt x="4" y="42"/>
                  <a:pt x="4" y="42"/>
                </a:cubicBezTo>
                <a:cubicBezTo>
                  <a:pt x="4" y="42"/>
                  <a:pt x="4" y="42"/>
                  <a:pt x="4" y="42"/>
                </a:cubicBezTo>
                <a:cubicBezTo>
                  <a:pt x="5" y="43"/>
                  <a:pt x="5" y="43"/>
                  <a:pt x="5" y="43"/>
                </a:cubicBezTo>
                <a:cubicBezTo>
                  <a:pt x="5" y="43"/>
                  <a:pt x="5" y="43"/>
                  <a:pt x="5" y="43"/>
                </a:cubicBezTo>
                <a:cubicBezTo>
                  <a:pt x="7" y="44"/>
                  <a:pt x="7" y="44"/>
                  <a:pt x="7" y="44"/>
                </a:cubicBezTo>
                <a:cubicBezTo>
                  <a:pt x="7" y="45"/>
                  <a:pt x="7" y="45"/>
                  <a:pt x="7" y="45"/>
                </a:cubicBezTo>
                <a:cubicBezTo>
                  <a:pt x="7" y="46"/>
                  <a:pt x="7" y="46"/>
                  <a:pt x="7" y="46"/>
                </a:cubicBezTo>
                <a:cubicBezTo>
                  <a:pt x="8" y="46"/>
                  <a:pt x="8" y="46"/>
                  <a:pt x="8" y="46"/>
                </a:cubicBezTo>
                <a:cubicBezTo>
                  <a:pt x="9" y="47"/>
                  <a:pt x="9" y="47"/>
                  <a:pt x="9" y="47"/>
                </a:cubicBezTo>
                <a:cubicBezTo>
                  <a:pt x="10" y="48"/>
                  <a:pt x="10" y="48"/>
                  <a:pt x="10" y="48"/>
                </a:cubicBezTo>
                <a:cubicBezTo>
                  <a:pt x="11" y="48"/>
                  <a:pt x="11" y="48"/>
                  <a:pt x="11" y="48"/>
                </a:cubicBezTo>
                <a:cubicBezTo>
                  <a:pt x="12" y="48"/>
                  <a:pt x="12" y="48"/>
                  <a:pt x="12" y="48"/>
                </a:cubicBezTo>
                <a:cubicBezTo>
                  <a:pt x="14" y="47"/>
                  <a:pt x="14" y="47"/>
                  <a:pt x="14" y="47"/>
                </a:cubicBezTo>
                <a:cubicBezTo>
                  <a:pt x="15" y="47"/>
                  <a:pt x="15" y="47"/>
                  <a:pt x="15" y="47"/>
                </a:cubicBezTo>
                <a:cubicBezTo>
                  <a:pt x="16" y="47"/>
                  <a:pt x="16" y="47"/>
                  <a:pt x="16" y="47"/>
                </a:cubicBezTo>
                <a:cubicBezTo>
                  <a:pt x="16" y="46"/>
                  <a:pt x="16" y="46"/>
                  <a:pt x="16" y="46"/>
                </a:cubicBezTo>
                <a:cubicBezTo>
                  <a:pt x="15" y="46"/>
                  <a:pt x="15" y="46"/>
                  <a:pt x="15" y="46"/>
                </a:cubicBezTo>
                <a:cubicBezTo>
                  <a:pt x="15" y="45"/>
                  <a:pt x="15" y="45"/>
                  <a:pt x="15" y="45"/>
                </a:cubicBezTo>
                <a:cubicBezTo>
                  <a:pt x="14" y="45"/>
                  <a:pt x="14" y="45"/>
                  <a:pt x="14" y="45"/>
                </a:cubicBezTo>
                <a:cubicBezTo>
                  <a:pt x="13" y="44"/>
                  <a:pt x="13" y="44"/>
                  <a:pt x="13" y="44"/>
                </a:cubicBezTo>
                <a:cubicBezTo>
                  <a:pt x="14" y="45"/>
                  <a:pt x="14" y="45"/>
                  <a:pt x="14" y="45"/>
                </a:cubicBezTo>
                <a:cubicBezTo>
                  <a:pt x="15" y="44"/>
                  <a:pt x="15" y="44"/>
                  <a:pt x="15" y="44"/>
                </a:cubicBezTo>
                <a:cubicBezTo>
                  <a:pt x="16" y="46"/>
                  <a:pt x="16" y="46"/>
                  <a:pt x="16" y="46"/>
                </a:cubicBezTo>
                <a:cubicBezTo>
                  <a:pt x="17" y="46"/>
                  <a:pt x="17" y="46"/>
                  <a:pt x="17" y="46"/>
                </a:cubicBezTo>
                <a:cubicBezTo>
                  <a:pt x="17" y="45"/>
                  <a:pt x="17" y="45"/>
                  <a:pt x="17" y="45"/>
                </a:cubicBezTo>
                <a:cubicBezTo>
                  <a:pt x="17" y="44"/>
                  <a:pt x="17" y="44"/>
                  <a:pt x="17" y="44"/>
                </a:cubicBezTo>
                <a:cubicBezTo>
                  <a:pt x="17" y="44"/>
                  <a:pt x="17" y="44"/>
                  <a:pt x="17" y="44"/>
                </a:cubicBezTo>
                <a:cubicBezTo>
                  <a:pt x="18" y="43"/>
                  <a:pt x="18" y="43"/>
                  <a:pt x="18" y="43"/>
                </a:cubicBezTo>
                <a:cubicBezTo>
                  <a:pt x="17" y="42"/>
                  <a:pt x="17" y="42"/>
                  <a:pt x="17" y="42"/>
                </a:cubicBezTo>
                <a:cubicBezTo>
                  <a:pt x="17" y="41"/>
                  <a:pt x="17" y="41"/>
                  <a:pt x="17" y="41"/>
                </a:cubicBezTo>
                <a:cubicBezTo>
                  <a:pt x="17" y="41"/>
                  <a:pt x="17" y="41"/>
                  <a:pt x="17" y="41"/>
                </a:cubicBezTo>
                <a:cubicBezTo>
                  <a:pt x="18" y="41"/>
                  <a:pt x="18" y="41"/>
                  <a:pt x="18" y="41"/>
                </a:cubicBezTo>
                <a:cubicBezTo>
                  <a:pt x="18" y="42"/>
                  <a:pt x="18" y="42"/>
                  <a:pt x="18" y="42"/>
                </a:cubicBezTo>
                <a:cubicBezTo>
                  <a:pt x="19" y="43"/>
                  <a:pt x="19" y="43"/>
                  <a:pt x="19" y="43"/>
                </a:cubicBezTo>
                <a:cubicBezTo>
                  <a:pt x="20" y="43"/>
                  <a:pt x="20" y="43"/>
                  <a:pt x="20" y="43"/>
                </a:cubicBezTo>
                <a:cubicBezTo>
                  <a:pt x="20" y="43"/>
                  <a:pt x="20" y="43"/>
                  <a:pt x="20" y="43"/>
                </a:cubicBezTo>
                <a:cubicBezTo>
                  <a:pt x="20" y="42"/>
                  <a:pt x="20" y="42"/>
                  <a:pt x="20" y="42"/>
                </a:cubicBezTo>
                <a:cubicBezTo>
                  <a:pt x="20" y="42"/>
                  <a:pt x="20" y="42"/>
                  <a:pt x="20" y="42"/>
                </a:cubicBezTo>
                <a:cubicBezTo>
                  <a:pt x="21" y="43"/>
                  <a:pt x="21" y="43"/>
                  <a:pt x="21" y="43"/>
                </a:cubicBezTo>
                <a:cubicBezTo>
                  <a:pt x="21" y="43"/>
                  <a:pt x="21" y="43"/>
                  <a:pt x="21" y="43"/>
                </a:cubicBezTo>
                <a:cubicBezTo>
                  <a:pt x="21" y="42"/>
                  <a:pt x="21" y="42"/>
                  <a:pt x="21" y="42"/>
                </a:cubicBezTo>
                <a:cubicBezTo>
                  <a:pt x="21" y="42"/>
                  <a:pt x="21" y="42"/>
                  <a:pt x="21" y="42"/>
                </a:cubicBezTo>
                <a:cubicBezTo>
                  <a:pt x="21" y="40"/>
                  <a:pt x="21" y="40"/>
                  <a:pt x="21" y="40"/>
                </a:cubicBezTo>
                <a:cubicBezTo>
                  <a:pt x="22" y="41"/>
                  <a:pt x="22" y="41"/>
                  <a:pt x="22" y="41"/>
                </a:cubicBezTo>
                <a:cubicBezTo>
                  <a:pt x="23" y="42"/>
                  <a:pt x="23" y="42"/>
                  <a:pt x="23" y="42"/>
                </a:cubicBezTo>
                <a:cubicBezTo>
                  <a:pt x="24" y="42"/>
                  <a:pt x="24" y="42"/>
                  <a:pt x="24" y="42"/>
                </a:cubicBezTo>
                <a:cubicBezTo>
                  <a:pt x="24" y="43"/>
                  <a:pt x="24" y="43"/>
                  <a:pt x="24" y="43"/>
                </a:cubicBezTo>
                <a:cubicBezTo>
                  <a:pt x="25" y="43"/>
                  <a:pt x="25" y="43"/>
                  <a:pt x="25" y="43"/>
                </a:cubicBezTo>
                <a:cubicBezTo>
                  <a:pt x="26" y="43"/>
                  <a:pt x="26" y="43"/>
                  <a:pt x="26" y="43"/>
                </a:cubicBezTo>
                <a:cubicBezTo>
                  <a:pt x="26" y="42"/>
                  <a:pt x="26" y="42"/>
                  <a:pt x="26" y="42"/>
                </a:cubicBezTo>
                <a:cubicBezTo>
                  <a:pt x="26" y="43"/>
                  <a:pt x="26" y="43"/>
                  <a:pt x="26" y="43"/>
                </a:cubicBezTo>
                <a:cubicBezTo>
                  <a:pt x="26" y="44"/>
                  <a:pt x="26" y="44"/>
                  <a:pt x="26" y="44"/>
                </a:cubicBezTo>
                <a:cubicBezTo>
                  <a:pt x="27" y="44"/>
                  <a:pt x="27" y="44"/>
                  <a:pt x="27" y="44"/>
                </a:cubicBezTo>
                <a:cubicBezTo>
                  <a:pt x="28" y="45"/>
                  <a:pt x="28" y="45"/>
                  <a:pt x="28" y="45"/>
                </a:cubicBezTo>
                <a:cubicBezTo>
                  <a:pt x="31" y="46"/>
                  <a:pt x="31" y="46"/>
                  <a:pt x="31" y="46"/>
                </a:cubicBezTo>
                <a:cubicBezTo>
                  <a:pt x="32" y="46"/>
                  <a:pt x="32" y="46"/>
                  <a:pt x="32" y="46"/>
                </a:cubicBezTo>
                <a:cubicBezTo>
                  <a:pt x="33" y="47"/>
                  <a:pt x="33" y="47"/>
                  <a:pt x="33" y="47"/>
                </a:cubicBezTo>
                <a:cubicBezTo>
                  <a:pt x="34" y="49"/>
                  <a:pt x="34" y="49"/>
                  <a:pt x="34" y="49"/>
                </a:cubicBezTo>
                <a:cubicBezTo>
                  <a:pt x="35" y="51"/>
                  <a:pt x="35" y="51"/>
                  <a:pt x="35" y="51"/>
                </a:cubicBezTo>
                <a:cubicBezTo>
                  <a:pt x="35" y="52"/>
                  <a:pt x="35" y="52"/>
                  <a:pt x="35" y="52"/>
                </a:cubicBezTo>
                <a:cubicBezTo>
                  <a:pt x="37" y="52"/>
                  <a:pt x="37" y="52"/>
                  <a:pt x="37" y="52"/>
                </a:cubicBezTo>
                <a:cubicBezTo>
                  <a:pt x="37" y="53"/>
                  <a:pt x="37" y="53"/>
                  <a:pt x="37" y="53"/>
                </a:cubicBezTo>
                <a:cubicBezTo>
                  <a:pt x="38" y="54"/>
                  <a:pt x="38" y="54"/>
                  <a:pt x="38" y="54"/>
                </a:cubicBezTo>
                <a:cubicBezTo>
                  <a:pt x="40" y="57"/>
                  <a:pt x="40" y="57"/>
                  <a:pt x="40" y="57"/>
                </a:cubicBezTo>
                <a:cubicBezTo>
                  <a:pt x="41" y="58"/>
                  <a:pt x="41" y="58"/>
                  <a:pt x="41" y="58"/>
                </a:cubicBezTo>
                <a:cubicBezTo>
                  <a:pt x="42" y="59"/>
                  <a:pt x="42" y="59"/>
                  <a:pt x="42" y="59"/>
                </a:cubicBezTo>
                <a:cubicBezTo>
                  <a:pt x="43" y="59"/>
                  <a:pt x="43" y="59"/>
                  <a:pt x="43" y="59"/>
                </a:cubicBezTo>
                <a:cubicBezTo>
                  <a:pt x="44" y="59"/>
                  <a:pt x="44" y="59"/>
                  <a:pt x="44" y="59"/>
                </a:cubicBezTo>
                <a:cubicBezTo>
                  <a:pt x="45" y="59"/>
                  <a:pt x="45" y="59"/>
                  <a:pt x="45" y="59"/>
                </a:cubicBezTo>
                <a:cubicBezTo>
                  <a:pt x="46" y="60"/>
                  <a:pt x="46" y="60"/>
                  <a:pt x="46" y="60"/>
                </a:cubicBezTo>
                <a:cubicBezTo>
                  <a:pt x="48" y="59"/>
                  <a:pt x="48" y="59"/>
                  <a:pt x="48" y="59"/>
                </a:cubicBezTo>
                <a:cubicBezTo>
                  <a:pt x="49" y="60"/>
                  <a:pt x="49" y="60"/>
                  <a:pt x="49" y="60"/>
                </a:cubicBezTo>
                <a:cubicBezTo>
                  <a:pt x="50" y="60"/>
                  <a:pt x="50" y="60"/>
                  <a:pt x="50" y="60"/>
                </a:cubicBezTo>
                <a:cubicBezTo>
                  <a:pt x="52" y="60"/>
                  <a:pt x="52" y="60"/>
                  <a:pt x="52" y="60"/>
                </a:cubicBezTo>
                <a:cubicBezTo>
                  <a:pt x="53" y="61"/>
                  <a:pt x="53" y="61"/>
                  <a:pt x="53" y="61"/>
                </a:cubicBezTo>
                <a:cubicBezTo>
                  <a:pt x="54" y="60"/>
                  <a:pt x="54" y="60"/>
                  <a:pt x="54" y="60"/>
                </a:cubicBezTo>
                <a:cubicBezTo>
                  <a:pt x="55" y="61"/>
                  <a:pt x="55" y="61"/>
                  <a:pt x="55" y="61"/>
                </a:cubicBezTo>
                <a:cubicBezTo>
                  <a:pt x="56" y="61"/>
                  <a:pt x="56" y="61"/>
                  <a:pt x="56" y="61"/>
                </a:cubicBezTo>
                <a:cubicBezTo>
                  <a:pt x="56" y="61"/>
                  <a:pt x="56" y="61"/>
                  <a:pt x="56" y="61"/>
                </a:cubicBezTo>
                <a:cubicBezTo>
                  <a:pt x="56" y="62"/>
                  <a:pt x="56" y="62"/>
                  <a:pt x="56" y="62"/>
                </a:cubicBezTo>
                <a:cubicBezTo>
                  <a:pt x="57" y="62"/>
                  <a:pt x="57" y="62"/>
                  <a:pt x="57" y="62"/>
                </a:cubicBezTo>
                <a:cubicBezTo>
                  <a:pt x="58" y="63"/>
                  <a:pt x="58" y="63"/>
                  <a:pt x="58" y="63"/>
                </a:cubicBezTo>
                <a:cubicBezTo>
                  <a:pt x="60" y="63"/>
                  <a:pt x="60" y="63"/>
                  <a:pt x="60" y="63"/>
                </a:cubicBezTo>
                <a:cubicBezTo>
                  <a:pt x="60" y="62"/>
                  <a:pt x="60" y="62"/>
                  <a:pt x="60" y="62"/>
                </a:cubicBezTo>
                <a:cubicBezTo>
                  <a:pt x="59" y="61"/>
                  <a:pt x="59" y="61"/>
                  <a:pt x="59" y="61"/>
                </a:cubicBezTo>
                <a:cubicBezTo>
                  <a:pt x="58" y="61"/>
                  <a:pt x="58" y="61"/>
                  <a:pt x="58" y="61"/>
                </a:cubicBezTo>
                <a:cubicBezTo>
                  <a:pt x="58" y="60"/>
                  <a:pt x="58" y="60"/>
                  <a:pt x="58" y="60"/>
                </a:cubicBezTo>
                <a:cubicBezTo>
                  <a:pt x="59" y="60"/>
                  <a:pt x="59" y="60"/>
                  <a:pt x="59" y="60"/>
                </a:cubicBezTo>
                <a:cubicBezTo>
                  <a:pt x="60" y="61"/>
                  <a:pt x="60" y="61"/>
                  <a:pt x="60" y="61"/>
                </a:cubicBezTo>
                <a:cubicBezTo>
                  <a:pt x="61" y="60"/>
                  <a:pt x="61" y="60"/>
                  <a:pt x="61" y="60"/>
                </a:cubicBezTo>
                <a:cubicBezTo>
                  <a:pt x="59" y="59"/>
                  <a:pt x="59" y="59"/>
                  <a:pt x="59" y="59"/>
                </a:cubicBezTo>
                <a:cubicBezTo>
                  <a:pt x="56" y="59"/>
                  <a:pt x="56" y="59"/>
                  <a:pt x="56" y="59"/>
                </a:cubicBezTo>
                <a:cubicBezTo>
                  <a:pt x="55" y="58"/>
                  <a:pt x="55" y="58"/>
                  <a:pt x="55" y="58"/>
                </a:cubicBezTo>
                <a:cubicBezTo>
                  <a:pt x="54" y="57"/>
                  <a:pt x="54" y="57"/>
                  <a:pt x="54" y="57"/>
                </a:cubicBezTo>
                <a:cubicBezTo>
                  <a:pt x="56" y="57"/>
                  <a:pt x="56" y="57"/>
                  <a:pt x="56" y="57"/>
                </a:cubicBezTo>
                <a:cubicBezTo>
                  <a:pt x="56" y="57"/>
                  <a:pt x="56" y="57"/>
                  <a:pt x="56" y="57"/>
                </a:cubicBezTo>
                <a:cubicBezTo>
                  <a:pt x="57" y="56"/>
                  <a:pt x="57" y="56"/>
                  <a:pt x="57" y="56"/>
                </a:cubicBezTo>
                <a:cubicBezTo>
                  <a:pt x="56" y="56"/>
                  <a:pt x="56" y="56"/>
                  <a:pt x="56" y="56"/>
                </a:cubicBezTo>
                <a:cubicBezTo>
                  <a:pt x="54" y="56"/>
                  <a:pt x="54" y="56"/>
                  <a:pt x="54" y="56"/>
                </a:cubicBezTo>
                <a:cubicBezTo>
                  <a:pt x="52" y="56"/>
                  <a:pt x="52" y="56"/>
                  <a:pt x="52" y="56"/>
                </a:cubicBezTo>
                <a:cubicBezTo>
                  <a:pt x="51" y="55"/>
                  <a:pt x="51" y="55"/>
                  <a:pt x="51" y="55"/>
                </a:cubicBezTo>
                <a:cubicBezTo>
                  <a:pt x="51" y="54"/>
                  <a:pt x="51" y="54"/>
                  <a:pt x="51" y="54"/>
                </a:cubicBezTo>
                <a:cubicBezTo>
                  <a:pt x="52" y="53"/>
                  <a:pt x="52" y="53"/>
                  <a:pt x="52" y="53"/>
                </a:cubicBezTo>
                <a:cubicBezTo>
                  <a:pt x="52" y="52"/>
                  <a:pt x="52" y="52"/>
                  <a:pt x="52" y="52"/>
                </a:cubicBezTo>
                <a:cubicBezTo>
                  <a:pt x="52" y="52"/>
                  <a:pt x="52" y="52"/>
                  <a:pt x="52" y="52"/>
                </a:cubicBezTo>
                <a:cubicBezTo>
                  <a:pt x="51" y="52"/>
                  <a:pt x="51" y="52"/>
                  <a:pt x="51" y="52"/>
                </a:cubicBezTo>
                <a:cubicBezTo>
                  <a:pt x="50" y="52"/>
                  <a:pt x="50" y="52"/>
                  <a:pt x="50" y="52"/>
                </a:cubicBezTo>
                <a:cubicBezTo>
                  <a:pt x="49" y="52"/>
                  <a:pt x="49" y="52"/>
                  <a:pt x="49" y="52"/>
                </a:cubicBezTo>
                <a:cubicBezTo>
                  <a:pt x="49" y="52"/>
                  <a:pt x="49" y="52"/>
                  <a:pt x="49" y="52"/>
                </a:cubicBezTo>
                <a:cubicBezTo>
                  <a:pt x="47" y="51"/>
                  <a:pt x="47" y="51"/>
                  <a:pt x="47" y="51"/>
                </a:cubicBezTo>
                <a:cubicBezTo>
                  <a:pt x="47" y="49"/>
                  <a:pt x="47" y="49"/>
                  <a:pt x="47" y="49"/>
                </a:cubicBezTo>
                <a:cubicBezTo>
                  <a:pt x="46" y="48"/>
                  <a:pt x="46" y="48"/>
                  <a:pt x="46" y="48"/>
                </a:cubicBezTo>
                <a:cubicBezTo>
                  <a:pt x="45" y="46"/>
                  <a:pt x="45" y="46"/>
                  <a:pt x="45" y="46"/>
                </a:cubicBezTo>
                <a:cubicBezTo>
                  <a:pt x="45" y="45"/>
                  <a:pt x="45" y="45"/>
                  <a:pt x="45" y="45"/>
                </a:cubicBezTo>
                <a:cubicBezTo>
                  <a:pt x="44" y="44"/>
                  <a:pt x="44" y="44"/>
                  <a:pt x="44" y="44"/>
                </a:cubicBezTo>
                <a:cubicBezTo>
                  <a:pt x="43" y="44"/>
                  <a:pt x="43" y="44"/>
                  <a:pt x="43" y="44"/>
                </a:cubicBezTo>
                <a:cubicBezTo>
                  <a:pt x="42" y="44"/>
                  <a:pt x="42" y="44"/>
                  <a:pt x="42" y="44"/>
                </a:cubicBezTo>
                <a:cubicBezTo>
                  <a:pt x="41" y="43"/>
                  <a:pt x="41" y="43"/>
                  <a:pt x="41" y="43"/>
                </a:cubicBezTo>
                <a:cubicBezTo>
                  <a:pt x="40" y="41"/>
                  <a:pt x="40" y="41"/>
                  <a:pt x="40" y="41"/>
                </a:cubicBezTo>
                <a:cubicBezTo>
                  <a:pt x="40" y="40"/>
                  <a:pt x="40" y="40"/>
                  <a:pt x="40" y="40"/>
                </a:cubicBezTo>
                <a:cubicBezTo>
                  <a:pt x="39" y="39"/>
                  <a:pt x="39" y="39"/>
                  <a:pt x="39" y="39"/>
                </a:cubicBezTo>
                <a:cubicBezTo>
                  <a:pt x="38" y="38"/>
                  <a:pt x="38" y="38"/>
                  <a:pt x="38" y="38"/>
                </a:cubicBezTo>
                <a:cubicBezTo>
                  <a:pt x="38" y="37"/>
                  <a:pt x="38" y="37"/>
                  <a:pt x="38" y="37"/>
                </a:cubicBezTo>
                <a:cubicBezTo>
                  <a:pt x="41" y="37"/>
                  <a:pt x="41" y="37"/>
                  <a:pt x="41" y="37"/>
                </a:cubicBezTo>
                <a:cubicBezTo>
                  <a:pt x="43" y="36"/>
                  <a:pt x="43" y="36"/>
                  <a:pt x="43" y="36"/>
                </a:cubicBezTo>
                <a:cubicBezTo>
                  <a:pt x="44" y="35"/>
                  <a:pt x="44" y="35"/>
                  <a:pt x="44" y="35"/>
                </a:cubicBezTo>
                <a:cubicBezTo>
                  <a:pt x="43" y="34"/>
                  <a:pt x="43" y="34"/>
                  <a:pt x="43" y="34"/>
                </a:cubicBezTo>
                <a:cubicBezTo>
                  <a:pt x="42" y="32"/>
                  <a:pt x="42" y="32"/>
                  <a:pt x="42" y="32"/>
                </a:cubicBezTo>
                <a:cubicBezTo>
                  <a:pt x="40" y="32"/>
                  <a:pt x="40" y="32"/>
                  <a:pt x="40" y="32"/>
                </a:cubicBezTo>
                <a:cubicBezTo>
                  <a:pt x="40" y="32"/>
                  <a:pt x="40" y="32"/>
                  <a:pt x="40" y="32"/>
                </a:cubicBezTo>
                <a:cubicBezTo>
                  <a:pt x="38" y="31"/>
                  <a:pt x="38" y="31"/>
                  <a:pt x="38" y="31"/>
                </a:cubicBezTo>
                <a:cubicBezTo>
                  <a:pt x="36" y="30"/>
                  <a:pt x="36" y="30"/>
                  <a:pt x="36" y="30"/>
                </a:cubicBezTo>
                <a:cubicBezTo>
                  <a:pt x="35" y="29"/>
                  <a:pt x="35" y="29"/>
                  <a:pt x="35" y="29"/>
                </a:cubicBezTo>
                <a:cubicBezTo>
                  <a:pt x="34" y="29"/>
                  <a:pt x="34" y="29"/>
                  <a:pt x="34" y="29"/>
                </a:cubicBezTo>
                <a:cubicBezTo>
                  <a:pt x="31" y="28"/>
                  <a:pt x="31" y="28"/>
                  <a:pt x="31" y="28"/>
                </a:cubicBezTo>
                <a:cubicBezTo>
                  <a:pt x="30" y="27"/>
                  <a:pt x="30" y="27"/>
                  <a:pt x="30" y="27"/>
                </a:cubicBezTo>
                <a:cubicBezTo>
                  <a:pt x="31" y="26"/>
                  <a:pt x="31" y="26"/>
                  <a:pt x="31" y="26"/>
                </a:cubicBezTo>
                <a:cubicBezTo>
                  <a:pt x="31" y="25"/>
                  <a:pt x="31" y="25"/>
                  <a:pt x="31" y="25"/>
                </a:cubicBezTo>
                <a:cubicBezTo>
                  <a:pt x="31" y="24"/>
                  <a:pt x="31" y="24"/>
                  <a:pt x="31" y="24"/>
                </a:cubicBezTo>
                <a:cubicBezTo>
                  <a:pt x="28" y="21"/>
                  <a:pt x="28" y="21"/>
                  <a:pt x="28" y="21"/>
                </a:cubicBezTo>
                <a:cubicBezTo>
                  <a:pt x="28" y="22"/>
                  <a:pt x="28" y="22"/>
                  <a:pt x="28" y="22"/>
                </a:cubicBezTo>
                <a:cubicBezTo>
                  <a:pt x="27" y="22"/>
                  <a:pt x="27" y="22"/>
                  <a:pt x="27" y="22"/>
                </a:cubicBezTo>
                <a:cubicBezTo>
                  <a:pt x="27" y="21"/>
                  <a:pt x="27" y="21"/>
                  <a:pt x="27" y="21"/>
                </a:cubicBezTo>
                <a:cubicBezTo>
                  <a:pt x="25" y="20"/>
                  <a:pt x="25" y="20"/>
                  <a:pt x="25" y="20"/>
                </a:cubicBezTo>
                <a:cubicBezTo>
                  <a:pt x="25" y="19"/>
                  <a:pt x="25" y="19"/>
                  <a:pt x="25" y="19"/>
                </a:cubicBezTo>
                <a:cubicBezTo>
                  <a:pt x="24" y="19"/>
                  <a:pt x="24" y="19"/>
                  <a:pt x="24" y="19"/>
                </a:cubicBezTo>
                <a:cubicBezTo>
                  <a:pt x="23" y="18"/>
                  <a:pt x="23" y="18"/>
                  <a:pt x="23" y="18"/>
                </a:cubicBezTo>
                <a:cubicBezTo>
                  <a:pt x="22" y="18"/>
                  <a:pt x="22" y="18"/>
                  <a:pt x="22" y="18"/>
                </a:cubicBezTo>
                <a:cubicBezTo>
                  <a:pt x="21" y="18"/>
                  <a:pt x="21" y="18"/>
                  <a:pt x="21" y="18"/>
                </a:cubicBezTo>
                <a:cubicBezTo>
                  <a:pt x="20" y="17"/>
                  <a:pt x="20" y="17"/>
                  <a:pt x="20" y="17"/>
                </a:cubicBezTo>
                <a:cubicBezTo>
                  <a:pt x="19" y="16"/>
                  <a:pt x="19" y="16"/>
                  <a:pt x="19" y="16"/>
                </a:cubicBezTo>
                <a:cubicBezTo>
                  <a:pt x="17" y="16"/>
                  <a:pt x="17" y="16"/>
                  <a:pt x="17" y="16"/>
                </a:cubicBezTo>
                <a:cubicBezTo>
                  <a:pt x="15" y="15"/>
                  <a:pt x="15" y="15"/>
                  <a:pt x="15" y="15"/>
                </a:cubicBezTo>
                <a:cubicBezTo>
                  <a:pt x="12" y="14"/>
                  <a:pt x="12" y="14"/>
                  <a:pt x="12" y="14"/>
                </a:cubicBezTo>
                <a:cubicBezTo>
                  <a:pt x="10" y="14"/>
                  <a:pt x="10" y="14"/>
                  <a:pt x="10" y="14"/>
                </a:cubicBezTo>
                <a:cubicBezTo>
                  <a:pt x="10" y="13"/>
                  <a:pt x="10" y="13"/>
                  <a:pt x="10" y="13"/>
                </a:cubicBezTo>
                <a:cubicBezTo>
                  <a:pt x="9" y="13"/>
                  <a:pt x="9" y="13"/>
                  <a:pt x="9" y="13"/>
                </a:cubicBezTo>
                <a:cubicBezTo>
                  <a:pt x="8" y="13"/>
                  <a:pt x="8" y="13"/>
                  <a:pt x="8" y="13"/>
                </a:cubicBezTo>
                <a:cubicBezTo>
                  <a:pt x="6" y="12"/>
                  <a:pt x="6" y="12"/>
                  <a:pt x="6" y="12"/>
                </a:cubicBezTo>
                <a:cubicBezTo>
                  <a:pt x="5" y="12"/>
                  <a:pt x="5" y="12"/>
                  <a:pt x="5" y="12"/>
                </a:cubicBezTo>
                <a:cubicBezTo>
                  <a:pt x="4" y="11"/>
                  <a:pt x="4" y="11"/>
                  <a:pt x="4" y="11"/>
                </a:cubicBezTo>
                <a:cubicBezTo>
                  <a:pt x="2" y="10"/>
                  <a:pt x="2" y="10"/>
                  <a:pt x="2" y="10"/>
                </a:cubicBezTo>
                <a:lnTo>
                  <a:pt x="1" y="1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6" name="Freeform 24">
            <a:extLst>
              <a:ext uri="{FF2B5EF4-FFF2-40B4-BE49-F238E27FC236}">
                <a16:creationId xmlns:a16="http://schemas.microsoft.com/office/drawing/2014/main" id="{8EC4C9CB-57F1-766C-15C0-FBD3D101837B}"/>
              </a:ext>
            </a:extLst>
          </p:cNvPr>
          <p:cNvSpPr>
            <a:spLocks noEditPoints="1"/>
          </p:cNvSpPr>
          <p:nvPr userDrawn="1"/>
        </p:nvSpPr>
        <p:spPr bwMode="auto">
          <a:xfrm>
            <a:off x="20471065" y="8095533"/>
            <a:ext cx="625437" cy="933450"/>
          </a:xfrm>
          <a:custGeom>
            <a:avLst/>
            <a:gdLst>
              <a:gd name="T0" fmla="*/ 24 w 63"/>
              <a:gd name="T1" fmla="*/ 1 h 94"/>
              <a:gd name="T2" fmla="*/ 32 w 63"/>
              <a:gd name="T3" fmla="*/ 37 h 94"/>
              <a:gd name="T4" fmla="*/ 40 w 63"/>
              <a:gd name="T5" fmla="*/ 38 h 94"/>
              <a:gd name="T6" fmla="*/ 44 w 63"/>
              <a:gd name="T7" fmla="*/ 44 h 94"/>
              <a:gd name="T8" fmla="*/ 43 w 63"/>
              <a:gd name="T9" fmla="*/ 46 h 94"/>
              <a:gd name="T10" fmla="*/ 34 w 63"/>
              <a:gd name="T11" fmla="*/ 39 h 94"/>
              <a:gd name="T12" fmla="*/ 26 w 63"/>
              <a:gd name="T13" fmla="*/ 41 h 94"/>
              <a:gd name="T14" fmla="*/ 22 w 63"/>
              <a:gd name="T15" fmla="*/ 35 h 94"/>
              <a:gd name="T16" fmla="*/ 18 w 63"/>
              <a:gd name="T17" fmla="*/ 32 h 94"/>
              <a:gd name="T18" fmla="*/ 17 w 63"/>
              <a:gd name="T19" fmla="*/ 23 h 94"/>
              <a:gd name="T20" fmla="*/ 24 w 63"/>
              <a:gd name="T21" fmla="*/ 7 h 94"/>
              <a:gd name="T22" fmla="*/ 29 w 63"/>
              <a:gd name="T23" fmla="*/ 12 h 94"/>
              <a:gd name="T24" fmla="*/ 29 w 63"/>
              <a:gd name="T25" fmla="*/ 23 h 94"/>
              <a:gd name="T26" fmla="*/ 30 w 63"/>
              <a:gd name="T27" fmla="*/ 35 h 94"/>
              <a:gd name="T28" fmla="*/ 31 w 63"/>
              <a:gd name="T29" fmla="*/ 30 h 94"/>
              <a:gd name="T30" fmla="*/ 21 w 63"/>
              <a:gd name="T31" fmla="*/ 42 h 94"/>
              <a:gd name="T32" fmla="*/ 28 w 63"/>
              <a:gd name="T33" fmla="*/ 48 h 94"/>
              <a:gd name="T34" fmla="*/ 44 w 63"/>
              <a:gd name="T35" fmla="*/ 37 h 94"/>
              <a:gd name="T36" fmla="*/ 31 w 63"/>
              <a:gd name="T37" fmla="*/ 42 h 94"/>
              <a:gd name="T38" fmla="*/ 33 w 63"/>
              <a:gd name="T39" fmla="*/ 49 h 94"/>
              <a:gd name="T40" fmla="*/ 38 w 63"/>
              <a:gd name="T41" fmla="*/ 43 h 94"/>
              <a:gd name="T42" fmla="*/ 41 w 63"/>
              <a:gd name="T43" fmla="*/ 47 h 94"/>
              <a:gd name="T44" fmla="*/ 41 w 63"/>
              <a:gd name="T45" fmla="*/ 48 h 94"/>
              <a:gd name="T46" fmla="*/ 32 w 63"/>
              <a:gd name="T47" fmla="*/ 62 h 94"/>
              <a:gd name="T48" fmla="*/ 34 w 63"/>
              <a:gd name="T49" fmla="*/ 53 h 94"/>
              <a:gd name="T50" fmla="*/ 38 w 63"/>
              <a:gd name="T51" fmla="*/ 57 h 94"/>
              <a:gd name="T52" fmla="*/ 37 w 63"/>
              <a:gd name="T53" fmla="*/ 61 h 94"/>
              <a:gd name="T54" fmla="*/ 45 w 63"/>
              <a:gd name="T55" fmla="*/ 61 h 94"/>
              <a:gd name="T56" fmla="*/ 41 w 63"/>
              <a:gd name="T57" fmla="*/ 68 h 94"/>
              <a:gd name="T58" fmla="*/ 38 w 63"/>
              <a:gd name="T59" fmla="*/ 61 h 94"/>
              <a:gd name="T60" fmla="*/ 41 w 63"/>
              <a:gd name="T61" fmla="*/ 70 h 94"/>
              <a:gd name="T62" fmla="*/ 48 w 63"/>
              <a:gd name="T63" fmla="*/ 64 h 94"/>
              <a:gd name="T64" fmla="*/ 53 w 63"/>
              <a:gd name="T65" fmla="*/ 65 h 94"/>
              <a:gd name="T66" fmla="*/ 48 w 63"/>
              <a:gd name="T67" fmla="*/ 55 h 94"/>
              <a:gd name="T68" fmla="*/ 56 w 63"/>
              <a:gd name="T69" fmla="*/ 57 h 94"/>
              <a:gd name="T70" fmla="*/ 51 w 63"/>
              <a:gd name="T71" fmla="*/ 47 h 94"/>
              <a:gd name="T72" fmla="*/ 51 w 63"/>
              <a:gd name="T73" fmla="*/ 54 h 94"/>
              <a:gd name="T74" fmla="*/ 47 w 63"/>
              <a:gd name="T75" fmla="*/ 57 h 94"/>
              <a:gd name="T76" fmla="*/ 53 w 63"/>
              <a:gd name="T77" fmla="*/ 63 h 94"/>
              <a:gd name="T78" fmla="*/ 56 w 63"/>
              <a:gd name="T79" fmla="*/ 59 h 94"/>
              <a:gd name="T80" fmla="*/ 56 w 63"/>
              <a:gd name="T81" fmla="*/ 62 h 94"/>
              <a:gd name="T82" fmla="*/ 58 w 63"/>
              <a:gd name="T83" fmla="*/ 67 h 94"/>
              <a:gd name="T84" fmla="*/ 34 w 63"/>
              <a:gd name="T85" fmla="*/ 81 h 94"/>
              <a:gd name="T86" fmla="*/ 43 w 63"/>
              <a:gd name="T87" fmla="*/ 73 h 94"/>
              <a:gd name="T88" fmla="*/ 51 w 63"/>
              <a:gd name="T89" fmla="*/ 74 h 94"/>
              <a:gd name="T90" fmla="*/ 54 w 63"/>
              <a:gd name="T91" fmla="*/ 66 h 94"/>
              <a:gd name="T92" fmla="*/ 59 w 63"/>
              <a:gd name="T93" fmla="*/ 74 h 94"/>
              <a:gd name="T94" fmla="*/ 62 w 63"/>
              <a:gd name="T95" fmla="*/ 85 h 94"/>
              <a:gd name="T96" fmla="*/ 60 w 63"/>
              <a:gd name="T97" fmla="*/ 86 h 94"/>
              <a:gd name="T98" fmla="*/ 56 w 63"/>
              <a:gd name="T99" fmla="*/ 94 h 94"/>
              <a:gd name="T100" fmla="*/ 49 w 63"/>
              <a:gd name="T101" fmla="*/ 91 h 94"/>
              <a:gd name="T102" fmla="*/ 47 w 63"/>
              <a:gd name="T103" fmla="*/ 83 h 94"/>
              <a:gd name="T104" fmla="*/ 41 w 63"/>
              <a:gd name="T105" fmla="*/ 82 h 94"/>
              <a:gd name="T106" fmla="*/ 37 w 63"/>
              <a:gd name="T107" fmla="*/ 80 h 94"/>
              <a:gd name="T108" fmla="*/ 35 w 63"/>
              <a:gd name="T109" fmla="*/ 87 h 94"/>
              <a:gd name="T110" fmla="*/ 20 w 63"/>
              <a:gd name="T111" fmla="*/ 51 h 94"/>
              <a:gd name="T112" fmla="*/ 17 w 63"/>
              <a:gd name="T113" fmla="*/ 52 h 94"/>
              <a:gd name="T114" fmla="*/ 4 w 63"/>
              <a:gd name="T115" fmla="*/ 74 h 94"/>
              <a:gd name="T116" fmla="*/ 14 w 63"/>
              <a:gd name="T117" fmla="*/ 65 h 94"/>
              <a:gd name="T118" fmla="*/ 15 w 63"/>
              <a:gd name="T119" fmla="*/ 60 h 94"/>
              <a:gd name="T120" fmla="*/ 6 w 63"/>
              <a:gd name="T121" fmla="*/ 70 h 94"/>
              <a:gd name="T122" fmla="*/ 3 w 63"/>
              <a:gd name="T123" fmla="*/ 7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 h="94">
                <a:moveTo>
                  <a:pt x="23" y="4"/>
                </a:moveTo>
                <a:cubicBezTo>
                  <a:pt x="24" y="4"/>
                  <a:pt x="24" y="4"/>
                  <a:pt x="24" y="4"/>
                </a:cubicBezTo>
                <a:cubicBezTo>
                  <a:pt x="23" y="5"/>
                  <a:pt x="23" y="5"/>
                  <a:pt x="23" y="5"/>
                </a:cubicBezTo>
                <a:cubicBezTo>
                  <a:pt x="23" y="4"/>
                  <a:pt x="23" y="4"/>
                  <a:pt x="23" y="4"/>
                </a:cubicBezTo>
                <a:close/>
                <a:moveTo>
                  <a:pt x="22" y="2"/>
                </a:moveTo>
                <a:cubicBezTo>
                  <a:pt x="23" y="2"/>
                  <a:pt x="23" y="2"/>
                  <a:pt x="23" y="2"/>
                </a:cubicBezTo>
                <a:cubicBezTo>
                  <a:pt x="22" y="3"/>
                  <a:pt x="22" y="3"/>
                  <a:pt x="22" y="3"/>
                </a:cubicBezTo>
                <a:cubicBezTo>
                  <a:pt x="22" y="2"/>
                  <a:pt x="22" y="2"/>
                  <a:pt x="22" y="2"/>
                </a:cubicBezTo>
                <a:close/>
                <a:moveTo>
                  <a:pt x="24" y="0"/>
                </a:moveTo>
                <a:cubicBezTo>
                  <a:pt x="24" y="1"/>
                  <a:pt x="24" y="1"/>
                  <a:pt x="24" y="1"/>
                </a:cubicBezTo>
                <a:cubicBezTo>
                  <a:pt x="24" y="1"/>
                  <a:pt x="24" y="1"/>
                  <a:pt x="24" y="1"/>
                </a:cubicBezTo>
                <a:cubicBezTo>
                  <a:pt x="24" y="0"/>
                  <a:pt x="24" y="0"/>
                  <a:pt x="24" y="0"/>
                </a:cubicBezTo>
                <a:close/>
                <a:moveTo>
                  <a:pt x="27" y="3"/>
                </a:moveTo>
                <a:cubicBezTo>
                  <a:pt x="26" y="4"/>
                  <a:pt x="26" y="4"/>
                  <a:pt x="26" y="4"/>
                </a:cubicBezTo>
                <a:cubicBezTo>
                  <a:pt x="27" y="5"/>
                  <a:pt x="27" y="5"/>
                  <a:pt x="27" y="5"/>
                </a:cubicBezTo>
                <a:cubicBezTo>
                  <a:pt x="28" y="4"/>
                  <a:pt x="28" y="4"/>
                  <a:pt x="28" y="4"/>
                </a:cubicBezTo>
                <a:cubicBezTo>
                  <a:pt x="28" y="4"/>
                  <a:pt x="27" y="3"/>
                  <a:pt x="27" y="3"/>
                </a:cubicBezTo>
                <a:close/>
                <a:moveTo>
                  <a:pt x="28" y="35"/>
                </a:moveTo>
                <a:cubicBezTo>
                  <a:pt x="29" y="36"/>
                  <a:pt x="29" y="36"/>
                  <a:pt x="29" y="36"/>
                </a:cubicBezTo>
                <a:cubicBezTo>
                  <a:pt x="29" y="37"/>
                  <a:pt x="29" y="37"/>
                  <a:pt x="29" y="37"/>
                </a:cubicBezTo>
                <a:cubicBezTo>
                  <a:pt x="31" y="37"/>
                  <a:pt x="31" y="37"/>
                  <a:pt x="31" y="37"/>
                </a:cubicBezTo>
                <a:cubicBezTo>
                  <a:pt x="32" y="37"/>
                  <a:pt x="32" y="37"/>
                  <a:pt x="32" y="37"/>
                </a:cubicBezTo>
                <a:cubicBezTo>
                  <a:pt x="32" y="36"/>
                  <a:pt x="32" y="36"/>
                  <a:pt x="32" y="36"/>
                </a:cubicBezTo>
                <a:cubicBezTo>
                  <a:pt x="34" y="35"/>
                  <a:pt x="34" y="35"/>
                  <a:pt x="34" y="35"/>
                </a:cubicBezTo>
                <a:cubicBezTo>
                  <a:pt x="35" y="35"/>
                  <a:pt x="35" y="35"/>
                  <a:pt x="35" y="35"/>
                </a:cubicBezTo>
                <a:cubicBezTo>
                  <a:pt x="37" y="36"/>
                  <a:pt x="37" y="36"/>
                  <a:pt x="37" y="36"/>
                </a:cubicBezTo>
                <a:cubicBezTo>
                  <a:pt x="38" y="37"/>
                  <a:pt x="38" y="37"/>
                  <a:pt x="38" y="37"/>
                </a:cubicBezTo>
                <a:cubicBezTo>
                  <a:pt x="37" y="39"/>
                  <a:pt x="37" y="39"/>
                  <a:pt x="37" y="39"/>
                </a:cubicBezTo>
                <a:cubicBezTo>
                  <a:pt x="38" y="39"/>
                  <a:pt x="38" y="39"/>
                  <a:pt x="38" y="39"/>
                </a:cubicBezTo>
                <a:cubicBezTo>
                  <a:pt x="39" y="39"/>
                  <a:pt x="39" y="39"/>
                  <a:pt x="39" y="39"/>
                </a:cubicBezTo>
                <a:cubicBezTo>
                  <a:pt x="39" y="38"/>
                  <a:pt x="39" y="38"/>
                  <a:pt x="39" y="38"/>
                </a:cubicBezTo>
                <a:cubicBezTo>
                  <a:pt x="39" y="37"/>
                  <a:pt x="39" y="37"/>
                  <a:pt x="39" y="37"/>
                </a:cubicBezTo>
                <a:cubicBezTo>
                  <a:pt x="40" y="38"/>
                  <a:pt x="40" y="38"/>
                  <a:pt x="40" y="38"/>
                </a:cubicBezTo>
                <a:cubicBezTo>
                  <a:pt x="41" y="38"/>
                  <a:pt x="41" y="38"/>
                  <a:pt x="41" y="38"/>
                </a:cubicBezTo>
                <a:cubicBezTo>
                  <a:pt x="43" y="39"/>
                  <a:pt x="43" y="39"/>
                  <a:pt x="43" y="39"/>
                </a:cubicBezTo>
                <a:cubicBezTo>
                  <a:pt x="43" y="40"/>
                  <a:pt x="43" y="40"/>
                  <a:pt x="43" y="40"/>
                </a:cubicBezTo>
                <a:cubicBezTo>
                  <a:pt x="42" y="40"/>
                  <a:pt x="42" y="40"/>
                  <a:pt x="42" y="40"/>
                </a:cubicBezTo>
                <a:cubicBezTo>
                  <a:pt x="41" y="39"/>
                  <a:pt x="41" y="39"/>
                  <a:pt x="41" y="39"/>
                </a:cubicBezTo>
                <a:cubicBezTo>
                  <a:pt x="41" y="40"/>
                  <a:pt x="41" y="40"/>
                  <a:pt x="41" y="40"/>
                </a:cubicBezTo>
                <a:cubicBezTo>
                  <a:pt x="41" y="41"/>
                  <a:pt x="41" y="41"/>
                  <a:pt x="41" y="41"/>
                </a:cubicBezTo>
                <a:cubicBezTo>
                  <a:pt x="42" y="43"/>
                  <a:pt x="42" y="43"/>
                  <a:pt x="42" y="43"/>
                </a:cubicBezTo>
                <a:cubicBezTo>
                  <a:pt x="42" y="44"/>
                  <a:pt x="42" y="44"/>
                  <a:pt x="42" y="44"/>
                </a:cubicBezTo>
                <a:cubicBezTo>
                  <a:pt x="43" y="44"/>
                  <a:pt x="43" y="44"/>
                  <a:pt x="43" y="44"/>
                </a:cubicBezTo>
                <a:cubicBezTo>
                  <a:pt x="44" y="44"/>
                  <a:pt x="44" y="44"/>
                  <a:pt x="44" y="44"/>
                </a:cubicBezTo>
                <a:cubicBezTo>
                  <a:pt x="45" y="44"/>
                  <a:pt x="45" y="44"/>
                  <a:pt x="45" y="44"/>
                </a:cubicBezTo>
                <a:cubicBezTo>
                  <a:pt x="46" y="45"/>
                  <a:pt x="46" y="45"/>
                  <a:pt x="46" y="45"/>
                </a:cubicBezTo>
                <a:cubicBezTo>
                  <a:pt x="45" y="46"/>
                  <a:pt x="45" y="46"/>
                  <a:pt x="45" y="46"/>
                </a:cubicBezTo>
                <a:cubicBezTo>
                  <a:pt x="45" y="46"/>
                  <a:pt x="45" y="46"/>
                  <a:pt x="45" y="46"/>
                </a:cubicBezTo>
                <a:cubicBezTo>
                  <a:pt x="45" y="48"/>
                  <a:pt x="45" y="48"/>
                  <a:pt x="45" y="48"/>
                </a:cubicBezTo>
                <a:cubicBezTo>
                  <a:pt x="44" y="48"/>
                  <a:pt x="44" y="48"/>
                  <a:pt x="44" y="48"/>
                </a:cubicBezTo>
                <a:cubicBezTo>
                  <a:pt x="43" y="47"/>
                  <a:pt x="43" y="47"/>
                  <a:pt x="43" y="47"/>
                </a:cubicBezTo>
                <a:cubicBezTo>
                  <a:pt x="44" y="46"/>
                  <a:pt x="44" y="46"/>
                  <a:pt x="44" y="46"/>
                </a:cubicBezTo>
                <a:cubicBezTo>
                  <a:pt x="44" y="45"/>
                  <a:pt x="44" y="45"/>
                  <a:pt x="44" y="45"/>
                </a:cubicBezTo>
                <a:cubicBezTo>
                  <a:pt x="43" y="45"/>
                  <a:pt x="43" y="45"/>
                  <a:pt x="43" y="45"/>
                </a:cubicBezTo>
                <a:cubicBezTo>
                  <a:pt x="43" y="46"/>
                  <a:pt x="43" y="46"/>
                  <a:pt x="43" y="46"/>
                </a:cubicBezTo>
                <a:cubicBezTo>
                  <a:pt x="42" y="46"/>
                  <a:pt x="42" y="46"/>
                  <a:pt x="42" y="46"/>
                </a:cubicBezTo>
                <a:cubicBezTo>
                  <a:pt x="40" y="44"/>
                  <a:pt x="40" y="44"/>
                  <a:pt x="40" y="44"/>
                </a:cubicBezTo>
                <a:cubicBezTo>
                  <a:pt x="39" y="44"/>
                  <a:pt x="39" y="44"/>
                  <a:pt x="39" y="44"/>
                </a:cubicBezTo>
                <a:cubicBezTo>
                  <a:pt x="39" y="43"/>
                  <a:pt x="39" y="43"/>
                  <a:pt x="39" y="43"/>
                </a:cubicBezTo>
                <a:cubicBezTo>
                  <a:pt x="39" y="41"/>
                  <a:pt x="39" y="41"/>
                  <a:pt x="39" y="41"/>
                </a:cubicBezTo>
                <a:cubicBezTo>
                  <a:pt x="37" y="41"/>
                  <a:pt x="37" y="41"/>
                  <a:pt x="37" y="41"/>
                </a:cubicBezTo>
                <a:cubicBezTo>
                  <a:pt x="36" y="39"/>
                  <a:pt x="36" y="39"/>
                  <a:pt x="36" y="39"/>
                </a:cubicBezTo>
                <a:cubicBezTo>
                  <a:pt x="35" y="39"/>
                  <a:pt x="35" y="39"/>
                  <a:pt x="35" y="39"/>
                </a:cubicBezTo>
                <a:cubicBezTo>
                  <a:pt x="35" y="38"/>
                  <a:pt x="35" y="38"/>
                  <a:pt x="35" y="38"/>
                </a:cubicBezTo>
                <a:cubicBezTo>
                  <a:pt x="34" y="38"/>
                  <a:pt x="34" y="38"/>
                  <a:pt x="34" y="38"/>
                </a:cubicBezTo>
                <a:cubicBezTo>
                  <a:pt x="34" y="39"/>
                  <a:pt x="34" y="39"/>
                  <a:pt x="34" y="39"/>
                </a:cubicBezTo>
                <a:cubicBezTo>
                  <a:pt x="35" y="41"/>
                  <a:pt x="35" y="41"/>
                  <a:pt x="35" y="41"/>
                </a:cubicBezTo>
                <a:cubicBezTo>
                  <a:pt x="35" y="43"/>
                  <a:pt x="35" y="43"/>
                  <a:pt x="35" y="43"/>
                </a:cubicBezTo>
                <a:cubicBezTo>
                  <a:pt x="35" y="43"/>
                  <a:pt x="35" y="43"/>
                  <a:pt x="35" y="43"/>
                </a:cubicBezTo>
                <a:cubicBezTo>
                  <a:pt x="34" y="41"/>
                  <a:pt x="34" y="41"/>
                  <a:pt x="34" y="41"/>
                </a:cubicBezTo>
                <a:cubicBezTo>
                  <a:pt x="32" y="40"/>
                  <a:pt x="32" y="40"/>
                  <a:pt x="32" y="40"/>
                </a:cubicBezTo>
                <a:cubicBezTo>
                  <a:pt x="32" y="39"/>
                  <a:pt x="32" y="39"/>
                  <a:pt x="32" y="39"/>
                </a:cubicBezTo>
                <a:cubicBezTo>
                  <a:pt x="29" y="38"/>
                  <a:pt x="29" y="38"/>
                  <a:pt x="29" y="38"/>
                </a:cubicBezTo>
                <a:cubicBezTo>
                  <a:pt x="28" y="38"/>
                  <a:pt x="28" y="38"/>
                  <a:pt x="28" y="38"/>
                </a:cubicBezTo>
                <a:cubicBezTo>
                  <a:pt x="27" y="39"/>
                  <a:pt x="27" y="39"/>
                  <a:pt x="27" y="39"/>
                </a:cubicBezTo>
                <a:cubicBezTo>
                  <a:pt x="28" y="40"/>
                  <a:pt x="28" y="40"/>
                  <a:pt x="28" y="40"/>
                </a:cubicBezTo>
                <a:cubicBezTo>
                  <a:pt x="26" y="41"/>
                  <a:pt x="26" y="41"/>
                  <a:pt x="26" y="41"/>
                </a:cubicBezTo>
                <a:cubicBezTo>
                  <a:pt x="25" y="39"/>
                  <a:pt x="25" y="39"/>
                  <a:pt x="25" y="39"/>
                </a:cubicBezTo>
                <a:cubicBezTo>
                  <a:pt x="24" y="40"/>
                  <a:pt x="24" y="40"/>
                  <a:pt x="24" y="40"/>
                </a:cubicBezTo>
                <a:cubicBezTo>
                  <a:pt x="23" y="40"/>
                  <a:pt x="23" y="40"/>
                  <a:pt x="23" y="40"/>
                </a:cubicBezTo>
                <a:cubicBezTo>
                  <a:pt x="24" y="39"/>
                  <a:pt x="24" y="39"/>
                  <a:pt x="24" y="39"/>
                </a:cubicBezTo>
                <a:cubicBezTo>
                  <a:pt x="23" y="38"/>
                  <a:pt x="23" y="38"/>
                  <a:pt x="23" y="38"/>
                </a:cubicBezTo>
                <a:cubicBezTo>
                  <a:pt x="22" y="38"/>
                  <a:pt x="22" y="38"/>
                  <a:pt x="22" y="38"/>
                </a:cubicBezTo>
                <a:cubicBezTo>
                  <a:pt x="22" y="40"/>
                  <a:pt x="22" y="40"/>
                  <a:pt x="22" y="40"/>
                </a:cubicBezTo>
                <a:cubicBezTo>
                  <a:pt x="21" y="38"/>
                  <a:pt x="21" y="38"/>
                  <a:pt x="21" y="38"/>
                </a:cubicBezTo>
                <a:cubicBezTo>
                  <a:pt x="21" y="37"/>
                  <a:pt x="21" y="37"/>
                  <a:pt x="21" y="37"/>
                </a:cubicBezTo>
                <a:cubicBezTo>
                  <a:pt x="21" y="36"/>
                  <a:pt x="21" y="36"/>
                  <a:pt x="21" y="36"/>
                </a:cubicBezTo>
                <a:cubicBezTo>
                  <a:pt x="22" y="35"/>
                  <a:pt x="22" y="35"/>
                  <a:pt x="22" y="35"/>
                </a:cubicBezTo>
                <a:cubicBezTo>
                  <a:pt x="23" y="33"/>
                  <a:pt x="23" y="33"/>
                  <a:pt x="23" y="33"/>
                </a:cubicBezTo>
                <a:cubicBezTo>
                  <a:pt x="22" y="33"/>
                  <a:pt x="22" y="33"/>
                  <a:pt x="22" y="33"/>
                </a:cubicBezTo>
                <a:cubicBezTo>
                  <a:pt x="21" y="32"/>
                  <a:pt x="21" y="32"/>
                  <a:pt x="21" y="32"/>
                </a:cubicBezTo>
                <a:cubicBezTo>
                  <a:pt x="21" y="33"/>
                  <a:pt x="21" y="33"/>
                  <a:pt x="21" y="33"/>
                </a:cubicBezTo>
                <a:cubicBezTo>
                  <a:pt x="21" y="34"/>
                  <a:pt x="21" y="34"/>
                  <a:pt x="21" y="34"/>
                </a:cubicBezTo>
                <a:cubicBezTo>
                  <a:pt x="21" y="35"/>
                  <a:pt x="21" y="35"/>
                  <a:pt x="21" y="35"/>
                </a:cubicBezTo>
                <a:cubicBezTo>
                  <a:pt x="20" y="35"/>
                  <a:pt x="20" y="35"/>
                  <a:pt x="20" y="35"/>
                </a:cubicBezTo>
                <a:cubicBezTo>
                  <a:pt x="19" y="33"/>
                  <a:pt x="19" y="33"/>
                  <a:pt x="19" y="33"/>
                </a:cubicBezTo>
                <a:cubicBezTo>
                  <a:pt x="19" y="32"/>
                  <a:pt x="19" y="32"/>
                  <a:pt x="19" y="32"/>
                </a:cubicBezTo>
                <a:cubicBezTo>
                  <a:pt x="18" y="32"/>
                  <a:pt x="18" y="32"/>
                  <a:pt x="18" y="32"/>
                </a:cubicBezTo>
                <a:cubicBezTo>
                  <a:pt x="18" y="32"/>
                  <a:pt x="18" y="32"/>
                  <a:pt x="18" y="32"/>
                </a:cubicBezTo>
                <a:cubicBezTo>
                  <a:pt x="17" y="32"/>
                  <a:pt x="17" y="32"/>
                  <a:pt x="17" y="32"/>
                </a:cubicBezTo>
                <a:cubicBezTo>
                  <a:pt x="17" y="29"/>
                  <a:pt x="17" y="29"/>
                  <a:pt x="17" y="29"/>
                </a:cubicBezTo>
                <a:cubicBezTo>
                  <a:pt x="16" y="28"/>
                  <a:pt x="16" y="28"/>
                  <a:pt x="16" y="28"/>
                </a:cubicBezTo>
                <a:cubicBezTo>
                  <a:pt x="16" y="26"/>
                  <a:pt x="16" y="26"/>
                  <a:pt x="16" y="26"/>
                </a:cubicBezTo>
                <a:cubicBezTo>
                  <a:pt x="16" y="25"/>
                  <a:pt x="16" y="25"/>
                  <a:pt x="16" y="25"/>
                </a:cubicBezTo>
                <a:cubicBezTo>
                  <a:pt x="16" y="25"/>
                  <a:pt x="16" y="25"/>
                  <a:pt x="16" y="25"/>
                </a:cubicBezTo>
                <a:cubicBezTo>
                  <a:pt x="15" y="25"/>
                  <a:pt x="15" y="25"/>
                  <a:pt x="15" y="25"/>
                </a:cubicBezTo>
                <a:cubicBezTo>
                  <a:pt x="15" y="23"/>
                  <a:pt x="15" y="23"/>
                  <a:pt x="15" y="23"/>
                </a:cubicBezTo>
                <a:cubicBezTo>
                  <a:pt x="15" y="22"/>
                  <a:pt x="15" y="22"/>
                  <a:pt x="15" y="22"/>
                </a:cubicBezTo>
                <a:cubicBezTo>
                  <a:pt x="16" y="23"/>
                  <a:pt x="16" y="23"/>
                  <a:pt x="16" y="23"/>
                </a:cubicBezTo>
                <a:cubicBezTo>
                  <a:pt x="17" y="23"/>
                  <a:pt x="17" y="23"/>
                  <a:pt x="17" y="23"/>
                </a:cubicBezTo>
                <a:cubicBezTo>
                  <a:pt x="18" y="22"/>
                  <a:pt x="18" y="22"/>
                  <a:pt x="18" y="22"/>
                </a:cubicBezTo>
                <a:cubicBezTo>
                  <a:pt x="18" y="22"/>
                  <a:pt x="18" y="22"/>
                  <a:pt x="18" y="22"/>
                </a:cubicBezTo>
                <a:cubicBezTo>
                  <a:pt x="17" y="19"/>
                  <a:pt x="17" y="19"/>
                  <a:pt x="17" y="19"/>
                </a:cubicBezTo>
                <a:cubicBezTo>
                  <a:pt x="18" y="18"/>
                  <a:pt x="18" y="18"/>
                  <a:pt x="18" y="18"/>
                </a:cubicBezTo>
                <a:cubicBezTo>
                  <a:pt x="18" y="15"/>
                  <a:pt x="18" y="15"/>
                  <a:pt x="18" y="15"/>
                </a:cubicBezTo>
                <a:cubicBezTo>
                  <a:pt x="18" y="12"/>
                  <a:pt x="18" y="12"/>
                  <a:pt x="18" y="12"/>
                </a:cubicBezTo>
                <a:cubicBezTo>
                  <a:pt x="18" y="11"/>
                  <a:pt x="18" y="11"/>
                  <a:pt x="18" y="11"/>
                </a:cubicBezTo>
                <a:cubicBezTo>
                  <a:pt x="19" y="8"/>
                  <a:pt x="19" y="8"/>
                  <a:pt x="19" y="8"/>
                </a:cubicBezTo>
                <a:cubicBezTo>
                  <a:pt x="19" y="7"/>
                  <a:pt x="19" y="7"/>
                  <a:pt x="19" y="7"/>
                </a:cubicBezTo>
                <a:cubicBezTo>
                  <a:pt x="21" y="6"/>
                  <a:pt x="21" y="6"/>
                  <a:pt x="21" y="6"/>
                </a:cubicBezTo>
                <a:cubicBezTo>
                  <a:pt x="24" y="7"/>
                  <a:pt x="24" y="7"/>
                  <a:pt x="24" y="7"/>
                </a:cubicBezTo>
                <a:cubicBezTo>
                  <a:pt x="25" y="8"/>
                  <a:pt x="25" y="8"/>
                  <a:pt x="25" y="8"/>
                </a:cubicBezTo>
                <a:cubicBezTo>
                  <a:pt x="25" y="8"/>
                  <a:pt x="25" y="8"/>
                  <a:pt x="25" y="8"/>
                </a:cubicBezTo>
                <a:cubicBezTo>
                  <a:pt x="26" y="8"/>
                  <a:pt x="26" y="8"/>
                  <a:pt x="26" y="8"/>
                </a:cubicBezTo>
                <a:cubicBezTo>
                  <a:pt x="28" y="8"/>
                  <a:pt x="28" y="8"/>
                  <a:pt x="28" y="8"/>
                </a:cubicBezTo>
                <a:cubicBezTo>
                  <a:pt x="28" y="7"/>
                  <a:pt x="28" y="7"/>
                  <a:pt x="28" y="7"/>
                </a:cubicBezTo>
                <a:cubicBezTo>
                  <a:pt x="29" y="6"/>
                  <a:pt x="29" y="6"/>
                  <a:pt x="29" y="6"/>
                </a:cubicBezTo>
                <a:cubicBezTo>
                  <a:pt x="29" y="6"/>
                  <a:pt x="29" y="6"/>
                  <a:pt x="29" y="6"/>
                </a:cubicBezTo>
                <a:cubicBezTo>
                  <a:pt x="30" y="7"/>
                  <a:pt x="30" y="7"/>
                  <a:pt x="30" y="7"/>
                </a:cubicBezTo>
                <a:cubicBezTo>
                  <a:pt x="30" y="8"/>
                  <a:pt x="30" y="8"/>
                  <a:pt x="30" y="8"/>
                </a:cubicBezTo>
                <a:cubicBezTo>
                  <a:pt x="29" y="9"/>
                  <a:pt x="29" y="9"/>
                  <a:pt x="29" y="9"/>
                </a:cubicBezTo>
                <a:cubicBezTo>
                  <a:pt x="29" y="12"/>
                  <a:pt x="29" y="12"/>
                  <a:pt x="29" y="12"/>
                </a:cubicBezTo>
                <a:cubicBezTo>
                  <a:pt x="30" y="13"/>
                  <a:pt x="30" y="13"/>
                  <a:pt x="30" y="13"/>
                </a:cubicBezTo>
                <a:cubicBezTo>
                  <a:pt x="31" y="14"/>
                  <a:pt x="31" y="14"/>
                  <a:pt x="31" y="14"/>
                </a:cubicBezTo>
                <a:cubicBezTo>
                  <a:pt x="31" y="15"/>
                  <a:pt x="31" y="15"/>
                  <a:pt x="31" y="15"/>
                </a:cubicBezTo>
                <a:cubicBezTo>
                  <a:pt x="32" y="16"/>
                  <a:pt x="32" y="16"/>
                  <a:pt x="32" y="16"/>
                </a:cubicBezTo>
                <a:cubicBezTo>
                  <a:pt x="31" y="19"/>
                  <a:pt x="31" y="19"/>
                  <a:pt x="31" y="19"/>
                </a:cubicBezTo>
                <a:cubicBezTo>
                  <a:pt x="30" y="21"/>
                  <a:pt x="30" y="21"/>
                  <a:pt x="30" y="21"/>
                </a:cubicBezTo>
                <a:cubicBezTo>
                  <a:pt x="31" y="22"/>
                  <a:pt x="31" y="22"/>
                  <a:pt x="31" y="22"/>
                </a:cubicBezTo>
                <a:cubicBezTo>
                  <a:pt x="30" y="24"/>
                  <a:pt x="30" y="24"/>
                  <a:pt x="30" y="24"/>
                </a:cubicBezTo>
                <a:cubicBezTo>
                  <a:pt x="30" y="23"/>
                  <a:pt x="30" y="23"/>
                  <a:pt x="30" y="23"/>
                </a:cubicBezTo>
                <a:cubicBezTo>
                  <a:pt x="30" y="22"/>
                  <a:pt x="30" y="22"/>
                  <a:pt x="30" y="22"/>
                </a:cubicBezTo>
                <a:cubicBezTo>
                  <a:pt x="29" y="23"/>
                  <a:pt x="29" y="23"/>
                  <a:pt x="29" y="23"/>
                </a:cubicBezTo>
                <a:cubicBezTo>
                  <a:pt x="27" y="25"/>
                  <a:pt x="27" y="25"/>
                  <a:pt x="27" y="25"/>
                </a:cubicBezTo>
                <a:cubicBezTo>
                  <a:pt x="27" y="26"/>
                  <a:pt x="27" y="26"/>
                  <a:pt x="27" y="26"/>
                </a:cubicBezTo>
                <a:cubicBezTo>
                  <a:pt x="27" y="27"/>
                  <a:pt x="27" y="27"/>
                  <a:pt x="27" y="27"/>
                </a:cubicBezTo>
                <a:cubicBezTo>
                  <a:pt x="26" y="28"/>
                  <a:pt x="26" y="28"/>
                  <a:pt x="26" y="28"/>
                </a:cubicBezTo>
                <a:cubicBezTo>
                  <a:pt x="26" y="30"/>
                  <a:pt x="26" y="30"/>
                  <a:pt x="26" y="30"/>
                </a:cubicBezTo>
                <a:cubicBezTo>
                  <a:pt x="27" y="30"/>
                  <a:pt x="27" y="30"/>
                  <a:pt x="27" y="30"/>
                </a:cubicBezTo>
                <a:cubicBezTo>
                  <a:pt x="27" y="32"/>
                  <a:pt x="27" y="32"/>
                  <a:pt x="27" y="32"/>
                </a:cubicBezTo>
                <a:cubicBezTo>
                  <a:pt x="28" y="33"/>
                  <a:pt x="28" y="33"/>
                  <a:pt x="28" y="33"/>
                </a:cubicBezTo>
                <a:cubicBezTo>
                  <a:pt x="28" y="34"/>
                  <a:pt x="28" y="34"/>
                  <a:pt x="28" y="34"/>
                </a:cubicBezTo>
                <a:cubicBezTo>
                  <a:pt x="28" y="35"/>
                  <a:pt x="28" y="35"/>
                  <a:pt x="28" y="35"/>
                </a:cubicBezTo>
                <a:close/>
                <a:moveTo>
                  <a:pt x="30" y="35"/>
                </a:moveTo>
                <a:cubicBezTo>
                  <a:pt x="30" y="36"/>
                  <a:pt x="30" y="36"/>
                  <a:pt x="30" y="36"/>
                </a:cubicBezTo>
                <a:cubicBezTo>
                  <a:pt x="31" y="37"/>
                  <a:pt x="31" y="37"/>
                  <a:pt x="31" y="37"/>
                </a:cubicBezTo>
                <a:cubicBezTo>
                  <a:pt x="31" y="36"/>
                  <a:pt x="31" y="36"/>
                  <a:pt x="31" y="36"/>
                </a:cubicBezTo>
                <a:cubicBezTo>
                  <a:pt x="30" y="35"/>
                  <a:pt x="30" y="35"/>
                  <a:pt x="30" y="35"/>
                </a:cubicBezTo>
                <a:close/>
                <a:moveTo>
                  <a:pt x="29" y="31"/>
                </a:moveTo>
                <a:cubicBezTo>
                  <a:pt x="30" y="32"/>
                  <a:pt x="30" y="32"/>
                  <a:pt x="30" y="32"/>
                </a:cubicBezTo>
                <a:cubicBezTo>
                  <a:pt x="29" y="33"/>
                  <a:pt x="29" y="33"/>
                  <a:pt x="29" y="33"/>
                </a:cubicBezTo>
                <a:cubicBezTo>
                  <a:pt x="30" y="34"/>
                  <a:pt x="30" y="34"/>
                  <a:pt x="30" y="34"/>
                </a:cubicBezTo>
                <a:cubicBezTo>
                  <a:pt x="31" y="33"/>
                  <a:pt x="31" y="33"/>
                  <a:pt x="31" y="33"/>
                </a:cubicBezTo>
                <a:cubicBezTo>
                  <a:pt x="31" y="31"/>
                  <a:pt x="31" y="31"/>
                  <a:pt x="31" y="31"/>
                </a:cubicBezTo>
                <a:cubicBezTo>
                  <a:pt x="31" y="30"/>
                  <a:pt x="31" y="30"/>
                  <a:pt x="31" y="30"/>
                </a:cubicBezTo>
                <a:cubicBezTo>
                  <a:pt x="30" y="30"/>
                  <a:pt x="30" y="30"/>
                  <a:pt x="30" y="30"/>
                </a:cubicBezTo>
                <a:cubicBezTo>
                  <a:pt x="29" y="31"/>
                  <a:pt x="29" y="31"/>
                  <a:pt x="29" y="31"/>
                </a:cubicBezTo>
                <a:close/>
                <a:moveTo>
                  <a:pt x="18" y="39"/>
                </a:moveTo>
                <a:cubicBezTo>
                  <a:pt x="18" y="39"/>
                  <a:pt x="18" y="39"/>
                  <a:pt x="18" y="39"/>
                </a:cubicBezTo>
                <a:cubicBezTo>
                  <a:pt x="20" y="40"/>
                  <a:pt x="20" y="40"/>
                  <a:pt x="20" y="40"/>
                </a:cubicBezTo>
                <a:cubicBezTo>
                  <a:pt x="20" y="40"/>
                  <a:pt x="20" y="40"/>
                  <a:pt x="20" y="40"/>
                </a:cubicBezTo>
                <a:cubicBezTo>
                  <a:pt x="19" y="39"/>
                  <a:pt x="19" y="39"/>
                  <a:pt x="19" y="39"/>
                </a:cubicBezTo>
                <a:cubicBezTo>
                  <a:pt x="18" y="39"/>
                  <a:pt x="18" y="39"/>
                  <a:pt x="18" y="39"/>
                </a:cubicBezTo>
                <a:close/>
                <a:moveTo>
                  <a:pt x="20" y="41"/>
                </a:moveTo>
                <a:cubicBezTo>
                  <a:pt x="20" y="42"/>
                  <a:pt x="20" y="42"/>
                  <a:pt x="20" y="42"/>
                </a:cubicBezTo>
                <a:cubicBezTo>
                  <a:pt x="21" y="42"/>
                  <a:pt x="21" y="42"/>
                  <a:pt x="21" y="42"/>
                </a:cubicBezTo>
                <a:cubicBezTo>
                  <a:pt x="21" y="43"/>
                  <a:pt x="21" y="43"/>
                  <a:pt x="21" y="43"/>
                </a:cubicBezTo>
                <a:cubicBezTo>
                  <a:pt x="22" y="44"/>
                  <a:pt x="22" y="44"/>
                  <a:pt x="22" y="44"/>
                </a:cubicBezTo>
                <a:cubicBezTo>
                  <a:pt x="23" y="45"/>
                  <a:pt x="23" y="45"/>
                  <a:pt x="23" y="45"/>
                </a:cubicBezTo>
                <a:cubicBezTo>
                  <a:pt x="23" y="47"/>
                  <a:pt x="23" y="47"/>
                  <a:pt x="23" y="47"/>
                </a:cubicBezTo>
                <a:cubicBezTo>
                  <a:pt x="24" y="47"/>
                  <a:pt x="24" y="47"/>
                  <a:pt x="24" y="47"/>
                </a:cubicBezTo>
                <a:cubicBezTo>
                  <a:pt x="24" y="48"/>
                  <a:pt x="24" y="48"/>
                  <a:pt x="24" y="48"/>
                </a:cubicBezTo>
                <a:cubicBezTo>
                  <a:pt x="25" y="50"/>
                  <a:pt x="25" y="50"/>
                  <a:pt x="25" y="50"/>
                </a:cubicBezTo>
                <a:cubicBezTo>
                  <a:pt x="26" y="50"/>
                  <a:pt x="26" y="50"/>
                  <a:pt x="26" y="50"/>
                </a:cubicBezTo>
                <a:cubicBezTo>
                  <a:pt x="28" y="49"/>
                  <a:pt x="28" y="49"/>
                  <a:pt x="28" y="49"/>
                </a:cubicBezTo>
                <a:cubicBezTo>
                  <a:pt x="28" y="48"/>
                  <a:pt x="28" y="48"/>
                  <a:pt x="28" y="48"/>
                </a:cubicBezTo>
                <a:cubicBezTo>
                  <a:pt x="28" y="48"/>
                  <a:pt x="28" y="48"/>
                  <a:pt x="28" y="48"/>
                </a:cubicBezTo>
                <a:cubicBezTo>
                  <a:pt x="28" y="47"/>
                  <a:pt x="28" y="47"/>
                  <a:pt x="28" y="47"/>
                </a:cubicBezTo>
                <a:cubicBezTo>
                  <a:pt x="28" y="46"/>
                  <a:pt x="28" y="46"/>
                  <a:pt x="28" y="46"/>
                </a:cubicBezTo>
                <a:cubicBezTo>
                  <a:pt x="28" y="45"/>
                  <a:pt x="28" y="45"/>
                  <a:pt x="28" y="45"/>
                </a:cubicBezTo>
                <a:cubicBezTo>
                  <a:pt x="28" y="44"/>
                  <a:pt x="28" y="44"/>
                  <a:pt x="28" y="44"/>
                </a:cubicBezTo>
                <a:cubicBezTo>
                  <a:pt x="27" y="43"/>
                  <a:pt x="27" y="43"/>
                  <a:pt x="27" y="43"/>
                </a:cubicBezTo>
                <a:cubicBezTo>
                  <a:pt x="24" y="41"/>
                  <a:pt x="24" y="41"/>
                  <a:pt x="24" y="41"/>
                </a:cubicBezTo>
                <a:cubicBezTo>
                  <a:pt x="23" y="41"/>
                  <a:pt x="23" y="41"/>
                  <a:pt x="23" y="41"/>
                </a:cubicBezTo>
                <a:cubicBezTo>
                  <a:pt x="21" y="41"/>
                  <a:pt x="21" y="41"/>
                  <a:pt x="21" y="41"/>
                </a:cubicBezTo>
                <a:cubicBezTo>
                  <a:pt x="20" y="41"/>
                  <a:pt x="20" y="41"/>
                  <a:pt x="20" y="41"/>
                </a:cubicBezTo>
                <a:close/>
                <a:moveTo>
                  <a:pt x="45" y="37"/>
                </a:moveTo>
                <a:cubicBezTo>
                  <a:pt x="44" y="37"/>
                  <a:pt x="44" y="37"/>
                  <a:pt x="44" y="37"/>
                </a:cubicBezTo>
                <a:cubicBezTo>
                  <a:pt x="45" y="39"/>
                  <a:pt x="45" y="39"/>
                  <a:pt x="45" y="39"/>
                </a:cubicBezTo>
                <a:cubicBezTo>
                  <a:pt x="44" y="40"/>
                  <a:pt x="44" y="40"/>
                  <a:pt x="44" y="40"/>
                </a:cubicBezTo>
                <a:cubicBezTo>
                  <a:pt x="44" y="40"/>
                  <a:pt x="44" y="40"/>
                  <a:pt x="44" y="40"/>
                </a:cubicBezTo>
                <a:cubicBezTo>
                  <a:pt x="44" y="41"/>
                  <a:pt x="44" y="41"/>
                  <a:pt x="44" y="41"/>
                </a:cubicBezTo>
                <a:cubicBezTo>
                  <a:pt x="46" y="40"/>
                  <a:pt x="46" y="40"/>
                  <a:pt x="46" y="40"/>
                </a:cubicBezTo>
                <a:cubicBezTo>
                  <a:pt x="46" y="39"/>
                  <a:pt x="46" y="39"/>
                  <a:pt x="46" y="39"/>
                </a:cubicBezTo>
                <a:cubicBezTo>
                  <a:pt x="46" y="38"/>
                  <a:pt x="46" y="38"/>
                  <a:pt x="46" y="38"/>
                </a:cubicBezTo>
                <a:cubicBezTo>
                  <a:pt x="45" y="37"/>
                  <a:pt x="45" y="37"/>
                  <a:pt x="45" y="37"/>
                </a:cubicBezTo>
                <a:close/>
                <a:moveTo>
                  <a:pt x="30" y="42"/>
                </a:moveTo>
                <a:cubicBezTo>
                  <a:pt x="31" y="43"/>
                  <a:pt x="31" y="43"/>
                  <a:pt x="31" y="43"/>
                </a:cubicBezTo>
                <a:cubicBezTo>
                  <a:pt x="31" y="42"/>
                  <a:pt x="31" y="42"/>
                  <a:pt x="31" y="42"/>
                </a:cubicBezTo>
                <a:cubicBezTo>
                  <a:pt x="32" y="42"/>
                  <a:pt x="32" y="42"/>
                  <a:pt x="32" y="42"/>
                </a:cubicBezTo>
                <a:cubicBezTo>
                  <a:pt x="31" y="41"/>
                  <a:pt x="31" y="41"/>
                  <a:pt x="31" y="41"/>
                </a:cubicBezTo>
                <a:cubicBezTo>
                  <a:pt x="30" y="40"/>
                  <a:pt x="30" y="40"/>
                  <a:pt x="30" y="40"/>
                </a:cubicBezTo>
                <a:cubicBezTo>
                  <a:pt x="30" y="41"/>
                  <a:pt x="30" y="41"/>
                  <a:pt x="30" y="41"/>
                </a:cubicBezTo>
                <a:cubicBezTo>
                  <a:pt x="30" y="42"/>
                  <a:pt x="30" y="42"/>
                  <a:pt x="30" y="42"/>
                </a:cubicBezTo>
                <a:close/>
                <a:moveTo>
                  <a:pt x="32" y="47"/>
                </a:moveTo>
                <a:cubicBezTo>
                  <a:pt x="32" y="48"/>
                  <a:pt x="32" y="48"/>
                  <a:pt x="32" y="48"/>
                </a:cubicBezTo>
                <a:cubicBezTo>
                  <a:pt x="31" y="49"/>
                  <a:pt x="31" y="49"/>
                  <a:pt x="31" y="49"/>
                </a:cubicBezTo>
                <a:cubicBezTo>
                  <a:pt x="32" y="51"/>
                  <a:pt x="32" y="51"/>
                  <a:pt x="32" y="51"/>
                </a:cubicBezTo>
                <a:cubicBezTo>
                  <a:pt x="32" y="50"/>
                  <a:pt x="32" y="50"/>
                  <a:pt x="32" y="50"/>
                </a:cubicBezTo>
                <a:cubicBezTo>
                  <a:pt x="33" y="49"/>
                  <a:pt x="33" y="49"/>
                  <a:pt x="33" y="49"/>
                </a:cubicBezTo>
                <a:cubicBezTo>
                  <a:pt x="32" y="48"/>
                  <a:pt x="32" y="48"/>
                  <a:pt x="32" y="48"/>
                </a:cubicBezTo>
                <a:cubicBezTo>
                  <a:pt x="33" y="46"/>
                  <a:pt x="33" y="46"/>
                  <a:pt x="33" y="46"/>
                </a:cubicBezTo>
                <a:cubicBezTo>
                  <a:pt x="32" y="47"/>
                  <a:pt x="32" y="47"/>
                  <a:pt x="32" y="47"/>
                </a:cubicBezTo>
                <a:close/>
                <a:moveTo>
                  <a:pt x="35" y="48"/>
                </a:moveTo>
                <a:cubicBezTo>
                  <a:pt x="35" y="48"/>
                  <a:pt x="35" y="48"/>
                  <a:pt x="35" y="48"/>
                </a:cubicBezTo>
                <a:cubicBezTo>
                  <a:pt x="35" y="49"/>
                  <a:pt x="35" y="49"/>
                  <a:pt x="35" y="49"/>
                </a:cubicBezTo>
                <a:cubicBezTo>
                  <a:pt x="36" y="49"/>
                  <a:pt x="36" y="49"/>
                  <a:pt x="36" y="49"/>
                </a:cubicBezTo>
                <a:cubicBezTo>
                  <a:pt x="36" y="48"/>
                  <a:pt x="36" y="48"/>
                  <a:pt x="36" y="48"/>
                </a:cubicBezTo>
                <a:cubicBezTo>
                  <a:pt x="35" y="48"/>
                  <a:pt x="35" y="48"/>
                  <a:pt x="35" y="48"/>
                </a:cubicBezTo>
                <a:close/>
                <a:moveTo>
                  <a:pt x="39" y="45"/>
                </a:moveTo>
                <a:cubicBezTo>
                  <a:pt x="38" y="43"/>
                  <a:pt x="38" y="43"/>
                  <a:pt x="38" y="43"/>
                </a:cubicBezTo>
                <a:cubicBezTo>
                  <a:pt x="37" y="44"/>
                  <a:pt x="37" y="44"/>
                  <a:pt x="37" y="44"/>
                </a:cubicBezTo>
                <a:cubicBezTo>
                  <a:pt x="37" y="44"/>
                  <a:pt x="37" y="44"/>
                  <a:pt x="37" y="44"/>
                </a:cubicBezTo>
                <a:cubicBezTo>
                  <a:pt x="39" y="46"/>
                  <a:pt x="39" y="46"/>
                  <a:pt x="39" y="46"/>
                </a:cubicBezTo>
                <a:cubicBezTo>
                  <a:pt x="39" y="45"/>
                  <a:pt x="39" y="45"/>
                  <a:pt x="39" y="45"/>
                </a:cubicBezTo>
                <a:cubicBezTo>
                  <a:pt x="39" y="45"/>
                  <a:pt x="39" y="45"/>
                  <a:pt x="39" y="45"/>
                </a:cubicBezTo>
                <a:close/>
                <a:moveTo>
                  <a:pt x="41" y="47"/>
                </a:moveTo>
                <a:cubicBezTo>
                  <a:pt x="42" y="48"/>
                  <a:pt x="42" y="48"/>
                  <a:pt x="42" y="48"/>
                </a:cubicBezTo>
                <a:cubicBezTo>
                  <a:pt x="43" y="49"/>
                  <a:pt x="43" y="49"/>
                  <a:pt x="43" y="49"/>
                </a:cubicBezTo>
                <a:cubicBezTo>
                  <a:pt x="43" y="49"/>
                  <a:pt x="43" y="49"/>
                  <a:pt x="43" y="49"/>
                </a:cubicBezTo>
                <a:cubicBezTo>
                  <a:pt x="42" y="47"/>
                  <a:pt x="42" y="47"/>
                  <a:pt x="42" y="47"/>
                </a:cubicBezTo>
                <a:cubicBezTo>
                  <a:pt x="41" y="47"/>
                  <a:pt x="41" y="47"/>
                  <a:pt x="41" y="47"/>
                </a:cubicBezTo>
                <a:close/>
                <a:moveTo>
                  <a:pt x="39" y="52"/>
                </a:moveTo>
                <a:cubicBezTo>
                  <a:pt x="40" y="50"/>
                  <a:pt x="40" y="50"/>
                  <a:pt x="40" y="50"/>
                </a:cubicBezTo>
                <a:cubicBezTo>
                  <a:pt x="41" y="50"/>
                  <a:pt x="41" y="50"/>
                  <a:pt x="41" y="50"/>
                </a:cubicBezTo>
                <a:cubicBezTo>
                  <a:pt x="43" y="52"/>
                  <a:pt x="43" y="52"/>
                  <a:pt x="43" y="52"/>
                </a:cubicBezTo>
                <a:cubicBezTo>
                  <a:pt x="44" y="52"/>
                  <a:pt x="44" y="52"/>
                  <a:pt x="44" y="52"/>
                </a:cubicBezTo>
                <a:cubicBezTo>
                  <a:pt x="45" y="52"/>
                  <a:pt x="45" y="52"/>
                  <a:pt x="45" y="52"/>
                </a:cubicBezTo>
                <a:cubicBezTo>
                  <a:pt x="45" y="51"/>
                  <a:pt x="45" y="51"/>
                  <a:pt x="45" y="51"/>
                </a:cubicBezTo>
                <a:cubicBezTo>
                  <a:pt x="44" y="50"/>
                  <a:pt x="44" y="50"/>
                  <a:pt x="44" y="50"/>
                </a:cubicBezTo>
                <a:cubicBezTo>
                  <a:pt x="42" y="49"/>
                  <a:pt x="42" y="49"/>
                  <a:pt x="42" y="49"/>
                </a:cubicBezTo>
                <a:cubicBezTo>
                  <a:pt x="42" y="49"/>
                  <a:pt x="42" y="49"/>
                  <a:pt x="42" y="49"/>
                </a:cubicBezTo>
                <a:cubicBezTo>
                  <a:pt x="41" y="48"/>
                  <a:pt x="41" y="48"/>
                  <a:pt x="41" y="48"/>
                </a:cubicBezTo>
                <a:cubicBezTo>
                  <a:pt x="40" y="48"/>
                  <a:pt x="40" y="48"/>
                  <a:pt x="40" y="48"/>
                </a:cubicBezTo>
                <a:cubicBezTo>
                  <a:pt x="40" y="48"/>
                  <a:pt x="40" y="48"/>
                  <a:pt x="40" y="48"/>
                </a:cubicBezTo>
                <a:cubicBezTo>
                  <a:pt x="39" y="47"/>
                  <a:pt x="39" y="47"/>
                  <a:pt x="39" y="47"/>
                </a:cubicBezTo>
                <a:cubicBezTo>
                  <a:pt x="39" y="49"/>
                  <a:pt x="39" y="49"/>
                  <a:pt x="39" y="49"/>
                </a:cubicBezTo>
                <a:cubicBezTo>
                  <a:pt x="40" y="50"/>
                  <a:pt x="40" y="50"/>
                  <a:pt x="40" y="50"/>
                </a:cubicBezTo>
                <a:cubicBezTo>
                  <a:pt x="39" y="50"/>
                  <a:pt x="39" y="50"/>
                  <a:pt x="39" y="50"/>
                </a:cubicBezTo>
                <a:cubicBezTo>
                  <a:pt x="39" y="51"/>
                  <a:pt x="39" y="51"/>
                  <a:pt x="39" y="51"/>
                </a:cubicBezTo>
                <a:cubicBezTo>
                  <a:pt x="39" y="52"/>
                  <a:pt x="39" y="52"/>
                  <a:pt x="39" y="52"/>
                </a:cubicBezTo>
                <a:close/>
                <a:moveTo>
                  <a:pt x="33" y="61"/>
                </a:moveTo>
                <a:cubicBezTo>
                  <a:pt x="33" y="61"/>
                  <a:pt x="33" y="61"/>
                  <a:pt x="33" y="61"/>
                </a:cubicBezTo>
                <a:cubicBezTo>
                  <a:pt x="32" y="62"/>
                  <a:pt x="32" y="62"/>
                  <a:pt x="32" y="62"/>
                </a:cubicBezTo>
                <a:cubicBezTo>
                  <a:pt x="32" y="59"/>
                  <a:pt x="32" y="59"/>
                  <a:pt x="32" y="59"/>
                </a:cubicBezTo>
                <a:cubicBezTo>
                  <a:pt x="32" y="58"/>
                  <a:pt x="32" y="58"/>
                  <a:pt x="32" y="58"/>
                </a:cubicBezTo>
                <a:cubicBezTo>
                  <a:pt x="32" y="56"/>
                  <a:pt x="32" y="56"/>
                  <a:pt x="32" y="56"/>
                </a:cubicBezTo>
                <a:cubicBezTo>
                  <a:pt x="32" y="55"/>
                  <a:pt x="32" y="55"/>
                  <a:pt x="32" y="55"/>
                </a:cubicBezTo>
                <a:cubicBezTo>
                  <a:pt x="32" y="53"/>
                  <a:pt x="32" y="53"/>
                  <a:pt x="32" y="53"/>
                </a:cubicBezTo>
                <a:cubicBezTo>
                  <a:pt x="32" y="53"/>
                  <a:pt x="32" y="53"/>
                  <a:pt x="32" y="53"/>
                </a:cubicBezTo>
                <a:cubicBezTo>
                  <a:pt x="30" y="53"/>
                  <a:pt x="30" y="53"/>
                  <a:pt x="30" y="53"/>
                </a:cubicBezTo>
                <a:cubicBezTo>
                  <a:pt x="31" y="52"/>
                  <a:pt x="31" y="52"/>
                  <a:pt x="31" y="52"/>
                </a:cubicBezTo>
                <a:cubicBezTo>
                  <a:pt x="32" y="52"/>
                  <a:pt x="32" y="52"/>
                  <a:pt x="32" y="52"/>
                </a:cubicBezTo>
                <a:cubicBezTo>
                  <a:pt x="33" y="53"/>
                  <a:pt x="33" y="53"/>
                  <a:pt x="33" y="53"/>
                </a:cubicBezTo>
                <a:cubicBezTo>
                  <a:pt x="34" y="53"/>
                  <a:pt x="34" y="53"/>
                  <a:pt x="34" y="53"/>
                </a:cubicBezTo>
                <a:cubicBezTo>
                  <a:pt x="34" y="54"/>
                  <a:pt x="34" y="54"/>
                  <a:pt x="34" y="54"/>
                </a:cubicBezTo>
                <a:cubicBezTo>
                  <a:pt x="35" y="54"/>
                  <a:pt x="35" y="54"/>
                  <a:pt x="35" y="54"/>
                </a:cubicBezTo>
                <a:cubicBezTo>
                  <a:pt x="36" y="54"/>
                  <a:pt x="36" y="54"/>
                  <a:pt x="36" y="54"/>
                </a:cubicBezTo>
                <a:cubicBezTo>
                  <a:pt x="37" y="54"/>
                  <a:pt x="37" y="54"/>
                  <a:pt x="37" y="54"/>
                </a:cubicBezTo>
                <a:cubicBezTo>
                  <a:pt x="38" y="55"/>
                  <a:pt x="38" y="55"/>
                  <a:pt x="38" y="55"/>
                </a:cubicBezTo>
                <a:cubicBezTo>
                  <a:pt x="38" y="54"/>
                  <a:pt x="38" y="54"/>
                  <a:pt x="38" y="54"/>
                </a:cubicBezTo>
                <a:cubicBezTo>
                  <a:pt x="39" y="54"/>
                  <a:pt x="39" y="54"/>
                  <a:pt x="39" y="54"/>
                </a:cubicBezTo>
                <a:cubicBezTo>
                  <a:pt x="40" y="55"/>
                  <a:pt x="40" y="55"/>
                  <a:pt x="40" y="55"/>
                </a:cubicBezTo>
                <a:cubicBezTo>
                  <a:pt x="39" y="56"/>
                  <a:pt x="39" y="56"/>
                  <a:pt x="39" y="56"/>
                </a:cubicBezTo>
                <a:cubicBezTo>
                  <a:pt x="39" y="56"/>
                  <a:pt x="39" y="56"/>
                  <a:pt x="39" y="56"/>
                </a:cubicBezTo>
                <a:cubicBezTo>
                  <a:pt x="38" y="57"/>
                  <a:pt x="38" y="57"/>
                  <a:pt x="38" y="57"/>
                </a:cubicBezTo>
                <a:cubicBezTo>
                  <a:pt x="37" y="59"/>
                  <a:pt x="37" y="59"/>
                  <a:pt x="37" y="59"/>
                </a:cubicBezTo>
                <a:cubicBezTo>
                  <a:pt x="36" y="60"/>
                  <a:pt x="36" y="60"/>
                  <a:pt x="36" y="60"/>
                </a:cubicBezTo>
                <a:cubicBezTo>
                  <a:pt x="36" y="60"/>
                  <a:pt x="36" y="60"/>
                  <a:pt x="36" y="60"/>
                </a:cubicBezTo>
                <a:cubicBezTo>
                  <a:pt x="35" y="60"/>
                  <a:pt x="35" y="60"/>
                  <a:pt x="35" y="60"/>
                </a:cubicBezTo>
                <a:cubicBezTo>
                  <a:pt x="35" y="60"/>
                  <a:pt x="35" y="60"/>
                  <a:pt x="35" y="60"/>
                </a:cubicBezTo>
                <a:cubicBezTo>
                  <a:pt x="33" y="61"/>
                  <a:pt x="33" y="61"/>
                  <a:pt x="33" y="61"/>
                </a:cubicBezTo>
                <a:close/>
                <a:moveTo>
                  <a:pt x="36" y="60"/>
                </a:moveTo>
                <a:cubicBezTo>
                  <a:pt x="35" y="60"/>
                  <a:pt x="35" y="60"/>
                  <a:pt x="35" y="60"/>
                </a:cubicBezTo>
                <a:cubicBezTo>
                  <a:pt x="35" y="62"/>
                  <a:pt x="35" y="62"/>
                  <a:pt x="35" y="62"/>
                </a:cubicBezTo>
                <a:cubicBezTo>
                  <a:pt x="36" y="62"/>
                  <a:pt x="36" y="62"/>
                  <a:pt x="36" y="62"/>
                </a:cubicBezTo>
                <a:cubicBezTo>
                  <a:pt x="37" y="61"/>
                  <a:pt x="37" y="61"/>
                  <a:pt x="37" y="61"/>
                </a:cubicBezTo>
                <a:cubicBezTo>
                  <a:pt x="37" y="60"/>
                  <a:pt x="37" y="60"/>
                  <a:pt x="37" y="60"/>
                </a:cubicBezTo>
                <a:cubicBezTo>
                  <a:pt x="36" y="60"/>
                  <a:pt x="36" y="60"/>
                  <a:pt x="36" y="60"/>
                </a:cubicBezTo>
                <a:close/>
                <a:moveTo>
                  <a:pt x="47" y="60"/>
                </a:moveTo>
                <a:cubicBezTo>
                  <a:pt x="47" y="61"/>
                  <a:pt x="47" y="61"/>
                  <a:pt x="47" y="61"/>
                </a:cubicBezTo>
                <a:cubicBezTo>
                  <a:pt x="46" y="60"/>
                  <a:pt x="46" y="60"/>
                  <a:pt x="46" y="60"/>
                </a:cubicBezTo>
                <a:cubicBezTo>
                  <a:pt x="47" y="60"/>
                  <a:pt x="47" y="60"/>
                  <a:pt x="47" y="60"/>
                </a:cubicBezTo>
                <a:close/>
                <a:moveTo>
                  <a:pt x="41" y="68"/>
                </a:moveTo>
                <a:cubicBezTo>
                  <a:pt x="42" y="67"/>
                  <a:pt x="42" y="67"/>
                  <a:pt x="42" y="67"/>
                </a:cubicBezTo>
                <a:cubicBezTo>
                  <a:pt x="43" y="64"/>
                  <a:pt x="43" y="64"/>
                  <a:pt x="43" y="64"/>
                </a:cubicBezTo>
                <a:cubicBezTo>
                  <a:pt x="45" y="62"/>
                  <a:pt x="45" y="62"/>
                  <a:pt x="45" y="62"/>
                </a:cubicBezTo>
                <a:cubicBezTo>
                  <a:pt x="45" y="61"/>
                  <a:pt x="45" y="61"/>
                  <a:pt x="45" y="61"/>
                </a:cubicBezTo>
                <a:cubicBezTo>
                  <a:pt x="45" y="60"/>
                  <a:pt x="45" y="60"/>
                  <a:pt x="45" y="60"/>
                </a:cubicBezTo>
                <a:cubicBezTo>
                  <a:pt x="45" y="59"/>
                  <a:pt x="45" y="59"/>
                  <a:pt x="45" y="59"/>
                </a:cubicBezTo>
                <a:cubicBezTo>
                  <a:pt x="45" y="57"/>
                  <a:pt x="45" y="57"/>
                  <a:pt x="45" y="57"/>
                </a:cubicBezTo>
                <a:cubicBezTo>
                  <a:pt x="44" y="57"/>
                  <a:pt x="44" y="57"/>
                  <a:pt x="44" y="57"/>
                </a:cubicBezTo>
                <a:cubicBezTo>
                  <a:pt x="44" y="59"/>
                  <a:pt x="44" y="59"/>
                  <a:pt x="44" y="59"/>
                </a:cubicBezTo>
                <a:cubicBezTo>
                  <a:pt x="43" y="61"/>
                  <a:pt x="43" y="61"/>
                  <a:pt x="43" y="61"/>
                </a:cubicBezTo>
                <a:cubicBezTo>
                  <a:pt x="43" y="63"/>
                  <a:pt x="43" y="63"/>
                  <a:pt x="43" y="63"/>
                </a:cubicBezTo>
                <a:cubicBezTo>
                  <a:pt x="42" y="64"/>
                  <a:pt x="42" y="64"/>
                  <a:pt x="42" y="64"/>
                </a:cubicBezTo>
                <a:cubicBezTo>
                  <a:pt x="41" y="66"/>
                  <a:pt x="41" y="66"/>
                  <a:pt x="41" y="66"/>
                </a:cubicBezTo>
                <a:cubicBezTo>
                  <a:pt x="41" y="67"/>
                  <a:pt x="41" y="67"/>
                  <a:pt x="41" y="67"/>
                </a:cubicBezTo>
                <a:cubicBezTo>
                  <a:pt x="41" y="68"/>
                  <a:pt x="41" y="68"/>
                  <a:pt x="41" y="68"/>
                </a:cubicBezTo>
                <a:close/>
                <a:moveTo>
                  <a:pt x="40" y="67"/>
                </a:moveTo>
                <a:cubicBezTo>
                  <a:pt x="40" y="65"/>
                  <a:pt x="40" y="65"/>
                  <a:pt x="40" y="65"/>
                </a:cubicBezTo>
                <a:cubicBezTo>
                  <a:pt x="41" y="61"/>
                  <a:pt x="41" y="61"/>
                  <a:pt x="41" y="61"/>
                </a:cubicBezTo>
                <a:cubicBezTo>
                  <a:pt x="42" y="60"/>
                  <a:pt x="42" y="60"/>
                  <a:pt x="42" y="60"/>
                </a:cubicBezTo>
                <a:cubicBezTo>
                  <a:pt x="42" y="59"/>
                  <a:pt x="42" y="59"/>
                  <a:pt x="42" y="59"/>
                </a:cubicBezTo>
                <a:cubicBezTo>
                  <a:pt x="41" y="58"/>
                  <a:pt x="41" y="58"/>
                  <a:pt x="41" y="58"/>
                </a:cubicBezTo>
                <a:cubicBezTo>
                  <a:pt x="40" y="59"/>
                  <a:pt x="40" y="59"/>
                  <a:pt x="40" y="59"/>
                </a:cubicBezTo>
                <a:cubicBezTo>
                  <a:pt x="40" y="58"/>
                  <a:pt x="40" y="58"/>
                  <a:pt x="40" y="58"/>
                </a:cubicBezTo>
                <a:cubicBezTo>
                  <a:pt x="39" y="59"/>
                  <a:pt x="39" y="59"/>
                  <a:pt x="39" y="59"/>
                </a:cubicBezTo>
                <a:cubicBezTo>
                  <a:pt x="39" y="60"/>
                  <a:pt x="39" y="60"/>
                  <a:pt x="39" y="60"/>
                </a:cubicBezTo>
                <a:cubicBezTo>
                  <a:pt x="38" y="61"/>
                  <a:pt x="38" y="61"/>
                  <a:pt x="38" y="61"/>
                </a:cubicBezTo>
                <a:cubicBezTo>
                  <a:pt x="38" y="63"/>
                  <a:pt x="38" y="63"/>
                  <a:pt x="38" y="63"/>
                </a:cubicBezTo>
                <a:cubicBezTo>
                  <a:pt x="37" y="65"/>
                  <a:pt x="37" y="65"/>
                  <a:pt x="37" y="65"/>
                </a:cubicBezTo>
                <a:cubicBezTo>
                  <a:pt x="35" y="65"/>
                  <a:pt x="35" y="65"/>
                  <a:pt x="35" y="65"/>
                </a:cubicBezTo>
                <a:cubicBezTo>
                  <a:pt x="35" y="66"/>
                  <a:pt x="35" y="66"/>
                  <a:pt x="35" y="66"/>
                </a:cubicBezTo>
                <a:cubicBezTo>
                  <a:pt x="35" y="68"/>
                  <a:pt x="35" y="68"/>
                  <a:pt x="35" y="68"/>
                </a:cubicBezTo>
                <a:cubicBezTo>
                  <a:pt x="36" y="68"/>
                  <a:pt x="36" y="68"/>
                  <a:pt x="36" y="68"/>
                </a:cubicBezTo>
                <a:cubicBezTo>
                  <a:pt x="37" y="69"/>
                  <a:pt x="37" y="69"/>
                  <a:pt x="37" y="69"/>
                </a:cubicBezTo>
                <a:cubicBezTo>
                  <a:pt x="39" y="69"/>
                  <a:pt x="39" y="69"/>
                  <a:pt x="39" y="69"/>
                </a:cubicBezTo>
                <a:cubicBezTo>
                  <a:pt x="39" y="70"/>
                  <a:pt x="39" y="70"/>
                  <a:pt x="39" y="70"/>
                </a:cubicBezTo>
                <a:cubicBezTo>
                  <a:pt x="40" y="71"/>
                  <a:pt x="40" y="71"/>
                  <a:pt x="40" y="71"/>
                </a:cubicBezTo>
                <a:cubicBezTo>
                  <a:pt x="41" y="70"/>
                  <a:pt x="41" y="70"/>
                  <a:pt x="41" y="70"/>
                </a:cubicBezTo>
                <a:cubicBezTo>
                  <a:pt x="41" y="69"/>
                  <a:pt x="41" y="69"/>
                  <a:pt x="41" y="69"/>
                </a:cubicBezTo>
                <a:cubicBezTo>
                  <a:pt x="40" y="67"/>
                  <a:pt x="40" y="67"/>
                  <a:pt x="40" y="67"/>
                </a:cubicBezTo>
                <a:close/>
                <a:moveTo>
                  <a:pt x="43" y="69"/>
                </a:moveTo>
                <a:cubicBezTo>
                  <a:pt x="44" y="70"/>
                  <a:pt x="44" y="70"/>
                  <a:pt x="44" y="70"/>
                </a:cubicBezTo>
                <a:cubicBezTo>
                  <a:pt x="44" y="71"/>
                  <a:pt x="44" y="71"/>
                  <a:pt x="44" y="71"/>
                </a:cubicBezTo>
                <a:cubicBezTo>
                  <a:pt x="43" y="71"/>
                  <a:pt x="43" y="71"/>
                  <a:pt x="43" y="71"/>
                </a:cubicBezTo>
                <a:cubicBezTo>
                  <a:pt x="42" y="70"/>
                  <a:pt x="42" y="70"/>
                  <a:pt x="42" y="70"/>
                </a:cubicBezTo>
                <a:cubicBezTo>
                  <a:pt x="42" y="70"/>
                  <a:pt x="42" y="70"/>
                  <a:pt x="42" y="70"/>
                </a:cubicBezTo>
                <a:cubicBezTo>
                  <a:pt x="43" y="69"/>
                  <a:pt x="43" y="69"/>
                  <a:pt x="43" y="69"/>
                </a:cubicBezTo>
                <a:close/>
                <a:moveTo>
                  <a:pt x="47" y="64"/>
                </a:moveTo>
                <a:cubicBezTo>
                  <a:pt x="48" y="64"/>
                  <a:pt x="48" y="64"/>
                  <a:pt x="48" y="64"/>
                </a:cubicBezTo>
                <a:cubicBezTo>
                  <a:pt x="49" y="64"/>
                  <a:pt x="49" y="64"/>
                  <a:pt x="49" y="64"/>
                </a:cubicBezTo>
                <a:cubicBezTo>
                  <a:pt x="49" y="66"/>
                  <a:pt x="49" y="66"/>
                  <a:pt x="49" y="66"/>
                </a:cubicBezTo>
                <a:cubicBezTo>
                  <a:pt x="48" y="66"/>
                  <a:pt x="48" y="66"/>
                  <a:pt x="48" y="66"/>
                </a:cubicBezTo>
                <a:cubicBezTo>
                  <a:pt x="46" y="67"/>
                  <a:pt x="46" y="67"/>
                  <a:pt x="46" y="67"/>
                </a:cubicBezTo>
                <a:cubicBezTo>
                  <a:pt x="45" y="67"/>
                  <a:pt x="45" y="67"/>
                  <a:pt x="45" y="67"/>
                </a:cubicBezTo>
                <a:cubicBezTo>
                  <a:pt x="45" y="67"/>
                  <a:pt x="45" y="67"/>
                  <a:pt x="45" y="67"/>
                </a:cubicBezTo>
                <a:cubicBezTo>
                  <a:pt x="44" y="66"/>
                  <a:pt x="44" y="66"/>
                  <a:pt x="44" y="66"/>
                </a:cubicBezTo>
                <a:cubicBezTo>
                  <a:pt x="45" y="65"/>
                  <a:pt x="45" y="65"/>
                  <a:pt x="45" y="65"/>
                </a:cubicBezTo>
                <a:cubicBezTo>
                  <a:pt x="47" y="64"/>
                  <a:pt x="47" y="64"/>
                  <a:pt x="47" y="64"/>
                </a:cubicBezTo>
                <a:close/>
                <a:moveTo>
                  <a:pt x="53" y="64"/>
                </a:moveTo>
                <a:cubicBezTo>
                  <a:pt x="53" y="65"/>
                  <a:pt x="53" y="65"/>
                  <a:pt x="53" y="65"/>
                </a:cubicBezTo>
                <a:cubicBezTo>
                  <a:pt x="53" y="66"/>
                  <a:pt x="53" y="66"/>
                  <a:pt x="53" y="66"/>
                </a:cubicBezTo>
                <a:cubicBezTo>
                  <a:pt x="53" y="65"/>
                  <a:pt x="53" y="65"/>
                  <a:pt x="53" y="65"/>
                </a:cubicBezTo>
                <a:cubicBezTo>
                  <a:pt x="53" y="64"/>
                  <a:pt x="53" y="64"/>
                  <a:pt x="53" y="64"/>
                </a:cubicBezTo>
                <a:close/>
                <a:moveTo>
                  <a:pt x="49" y="69"/>
                </a:moveTo>
                <a:cubicBezTo>
                  <a:pt x="50" y="70"/>
                  <a:pt x="50" y="70"/>
                  <a:pt x="50" y="70"/>
                </a:cubicBezTo>
                <a:cubicBezTo>
                  <a:pt x="50" y="71"/>
                  <a:pt x="50" y="71"/>
                  <a:pt x="50" y="71"/>
                </a:cubicBezTo>
                <a:cubicBezTo>
                  <a:pt x="49" y="70"/>
                  <a:pt x="49" y="70"/>
                  <a:pt x="49" y="70"/>
                </a:cubicBezTo>
                <a:cubicBezTo>
                  <a:pt x="49" y="69"/>
                  <a:pt x="49" y="69"/>
                  <a:pt x="49" y="69"/>
                </a:cubicBezTo>
                <a:cubicBezTo>
                  <a:pt x="49" y="69"/>
                  <a:pt x="49" y="69"/>
                  <a:pt x="49" y="69"/>
                </a:cubicBezTo>
                <a:close/>
                <a:moveTo>
                  <a:pt x="48" y="54"/>
                </a:moveTo>
                <a:cubicBezTo>
                  <a:pt x="48" y="55"/>
                  <a:pt x="48" y="55"/>
                  <a:pt x="48" y="55"/>
                </a:cubicBezTo>
                <a:cubicBezTo>
                  <a:pt x="47" y="55"/>
                  <a:pt x="47" y="55"/>
                  <a:pt x="47" y="55"/>
                </a:cubicBezTo>
                <a:cubicBezTo>
                  <a:pt x="46" y="55"/>
                  <a:pt x="46" y="55"/>
                  <a:pt x="46" y="55"/>
                </a:cubicBezTo>
                <a:cubicBezTo>
                  <a:pt x="47" y="54"/>
                  <a:pt x="47" y="54"/>
                  <a:pt x="47" y="54"/>
                </a:cubicBezTo>
                <a:cubicBezTo>
                  <a:pt x="48" y="54"/>
                  <a:pt x="48" y="54"/>
                  <a:pt x="48" y="54"/>
                </a:cubicBezTo>
                <a:close/>
                <a:moveTo>
                  <a:pt x="51" y="56"/>
                </a:moveTo>
                <a:cubicBezTo>
                  <a:pt x="52" y="56"/>
                  <a:pt x="52" y="56"/>
                  <a:pt x="52" y="56"/>
                </a:cubicBezTo>
                <a:cubicBezTo>
                  <a:pt x="52" y="57"/>
                  <a:pt x="52" y="57"/>
                  <a:pt x="52" y="57"/>
                </a:cubicBezTo>
                <a:cubicBezTo>
                  <a:pt x="54" y="57"/>
                  <a:pt x="54" y="57"/>
                  <a:pt x="54" y="57"/>
                </a:cubicBezTo>
                <a:cubicBezTo>
                  <a:pt x="55" y="57"/>
                  <a:pt x="55" y="57"/>
                  <a:pt x="55" y="57"/>
                </a:cubicBezTo>
                <a:cubicBezTo>
                  <a:pt x="55" y="57"/>
                  <a:pt x="55" y="57"/>
                  <a:pt x="55" y="57"/>
                </a:cubicBezTo>
                <a:cubicBezTo>
                  <a:pt x="56" y="57"/>
                  <a:pt x="56" y="57"/>
                  <a:pt x="56" y="57"/>
                </a:cubicBezTo>
                <a:cubicBezTo>
                  <a:pt x="55" y="57"/>
                  <a:pt x="55" y="57"/>
                  <a:pt x="55" y="57"/>
                </a:cubicBezTo>
                <a:cubicBezTo>
                  <a:pt x="55" y="55"/>
                  <a:pt x="55" y="55"/>
                  <a:pt x="55" y="55"/>
                </a:cubicBezTo>
                <a:cubicBezTo>
                  <a:pt x="54" y="55"/>
                  <a:pt x="54" y="55"/>
                  <a:pt x="54" y="55"/>
                </a:cubicBezTo>
                <a:cubicBezTo>
                  <a:pt x="54" y="53"/>
                  <a:pt x="54" y="53"/>
                  <a:pt x="54" y="53"/>
                </a:cubicBezTo>
                <a:cubicBezTo>
                  <a:pt x="54" y="51"/>
                  <a:pt x="54" y="51"/>
                  <a:pt x="54" y="51"/>
                </a:cubicBezTo>
                <a:cubicBezTo>
                  <a:pt x="54" y="50"/>
                  <a:pt x="54" y="50"/>
                  <a:pt x="54" y="50"/>
                </a:cubicBezTo>
                <a:cubicBezTo>
                  <a:pt x="53" y="50"/>
                  <a:pt x="53" y="50"/>
                  <a:pt x="53" y="50"/>
                </a:cubicBezTo>
                <a:cubicBezTo>
                  <a:pt x="52" y="48"/>
                  <a:pt x="52" y="48"/>
                  <a:pt x="52" y="48"/>
                </a:cubicBezTo>
                <a:cubicBezTo>
                  <a:pt x="52" y="47"/>
                  <a:pt x="52" y="47"/>
                  <a:pt x="52" y="47"/>
                </a:cubicBezTo>
                <a:cubicBezTo>
                  <a:pt x="51" y="47"/>
                  <a:pt x="51" y="47"/>
                  <a:pt x="51" y="47"/>
                </a:cubicBezTo>
                <a:cubicBezTo>
                  <a:pt x="51" y="47"/>
                  <a:pt x="51" y="47"/>
                  <a:pt x="51" y="47"/>
                </a:cubicBezTo>
                <a:cubicBezTo>
                  <a:pt x="50" y="47"/>
                  <a:pt x="50" y="47"/>
                  <a:pt x="50" y="47"/>
                </a:cubicBezTo>
                <a:cubicBezTo>
                  <a:pt x="49" y="47"/>
                  <a:pt x="49" y="47"/>
                  <a:pt x="49" y="47"/>
                </a:cubicBezTo>
                <a:cubicBezTo>
                  <a:pt x="49" y="48"/>
                  <a:pt x="49" y="48"/>
                  <a:pt x="49" y="48"/>
                </a:cubicBezTo>
                <a:cubicBezTo>
                  <a:pt x="48" y="48"/>
                  <a:pt x="48" y="48"/>
                  <a:pt x="48" y="48"/>
                </a:cubicBezTo>
                <a:cubicBezTo>
                  <a:pt x="47" y="48"/>
                  <a:pt x="47" y="48"/>
                  <a:pt x="47" y="48"/>
                </a:cubicBezTo>
                <a:cubicBezTo>
                  <a:pt x="46" y="47"/>
                  <a:pt x="46" y="47"/>
                  <a:pt x="46" y="47"/>
                </a:cubicBezTo>
                <a:cubicBezTo>
                  <a:pt x="46" y="48"/>
                  <a:pt x="46" y="48"/>
                  <a:pt x="46" y="48"/>
                </a:cubicBezTo>
                <a:cubicBezTo>
                  <a:pt x="47" y="50"/>
                  <a:pt x="47" y="50"/>
                  <a:pt x="47" y="50"/>
                </a:cubicBezTo>
                <a:cubicBezTo>
                  <a:pt x="49" y="51"/>
                  <a:pt x="49" y="51"/>
                  <a:pt x="49" y="51"/>
                </a:cubicBezTo>
                <a:cubicBezTo>
                  <a:pt x="50" y="53"/>
                  <a:pt x="50" y="53"/>
                  <a:pt x="50" y="53"/>
                </a:cubicBezTo>
                <a:cubicBezTo>
                  <a:pt x="51" y="54"/>
                  <a:pt x="51" y="54"/>
                  <a:pt x="51" y="54"/>
                </a:cubicBezTo>
                <a:cubicBezTo>
                  <a:pt x="51" y="54"/>
                  <a:pt x="51" y="54"/>
                  <a:pt x="51" y="54"/>
                </a:cubicBezTo>
                <a:cubicBezTo>
                  <a:pt x="50" y="55"/>
                  <a:pt x="50" y="55"/>
                  <a:pt x="50" y="55"/>
                </a:cubicBezTo>
                <a:cubicBezTo>
                  <a:pt x="50" y="55"/>
                  <a:pt x="50" y="55"/>
                  <a:pt x="50" y="55"/>
                </a:cubicBezTo>
                <a:cubicBezTo>
                  <a:pt x="50" y="55"/>
                  <a:pt x="50" y="55"/>
                  <a:pt x="50" y="55"/>
                </a:cubicBezTo>
                <a:cubicBezTo>
                  <a:pt x="51" y="55"/>
                  <a:pt x="51" y="55"/>
                  <a:pt x="51" y="55"/>
                </a:cubicBezTo>
                <a:cubicBezTo>
                  <a:pt x="51" y="56"/>
                  <a:pt x="51" y="56"/>
                  <a:pt x="51" y="56"/>
                </a:cubicBezTo>
                <a:close/>
                <a:moveTo>
                  <a:pt x="50" y="56"/>
                </a:moveTo>
                <a:cubicBezTo>
                  <a:pt x="49" y="56"/>
                  <a:pt x="49" y="56"/>
                  <a:pt x="49" y="56"/>
                </a:cubicBezTo>
                <a:cubicBezTo>
                  <a:pt x="48" y="56"/>
                  <a:pt x="48" y="56"/>
                  <a:pt x="48" y="56"/>
                </a:cubicBezTo>
                <a:cubicBezTo>
                  <a:pt x="47" y="56"/>
                  <a:pt x="47" y="56"/>
                  <a:pt x="47" y="56"/>
                </a:cubicBezTo>
                <a:cubicBezTo>
                  <a:pt x="47" y="57"/>
                  <a:pt x="47" y="57"/>
                  <a:pt x="47" y="57"/>
                </a:cubicBezTo>
                <a:cubicBezTo>
                  <a:pt x="47" y="58"/>
                  <a:pt x="47" y="58"/>
                  <a:pt x="47" y="58"/>
                </a:cubicBezTo>
                <a:cubicBezTo>
                  <a:pt x="48" y="59"/>
                  <a:pt x="48" y="59"/>
                  <a:pt x="48" y="59"/>
                </a:cubicBezTo>
                <a:cubicBezTo>
                  <a:pt x="49" y="58"/>
                  <a:pt x="49" y="58"/>
                  <a:pt x="49" y="58"/>
                </a:cubicBezTo>
                <a:cubicBezTo>
                  <a:pt x="49" y="59"/>
                  <a:pt x="49" y="59"/>
                  <a:pt x="49" y="59"/>
                </a:cubicBezTo>
                <a:cubicBezTo>
                  <a:pt x="49" y="61"/>
                  <a:pt x="49" y="61"/>
                  <a:pt x="49" y="61"/>
                </a:cubicBezTo>
                <a:cubicBezTo>
                  <a:pt x="50" y="62"/>
                  <a:pt x="50" y="62"/>
                  <a:pt x="50" y="62"/>
                </a:cubicBezTo>
                <a:cubicBezTo>
                  <a:pt x="50" y="64"/>
                  <a:pt x="50" y="64"/>
                  <a:pt x="50" y="64"/>
                </a:cubicBezTo>
                <a:cubicBezTo>
                  <a:pt x="51" y="64"/>
                  <a:pt x="51" y="64"/>
                  <a:pt x="51" y="64"/>
                </a:cubicBezTo>
                <a:cubicBezTo>
                  <a:pt x="51" y="63"/>
                  <a:pt x="51" y="63"/>
                  <a:pt x="51" y="63"/>
                </a:cubicBezTo>
                <a:cubicBezTo>
                  <a:pt x="52" y="64"/>
                  <a:pt x="52" y="64"/>
                  <a:pt x="52" y="64"/>
                </a:cubicBezTo>
                <a:cubicBezTo>
                  <a:pt x="53" y="63"/>
                  <a:pt x="53" y="63"/>
                  <a:pt x="53" y="63"/>
                </a:cubicBezTo>
                <a:cubicBezTo>
                  <a:pt x="53" y="62"/>
                  <a:pt x="53" y="62"/>
                  <a:pt x="53" y="62"/>
                </a:cubicBezTo>
                <a:cubicBezTo>
                  <a:pt x="52" y="60"/>
                  <a:pt x="52" y="60"/>
                  <a:pt x="52" y="60"/>
                </a:cubicBezTo>
                <a:cubicBezTo>
                  <a:pt x="51" y="60"/>
                  <a:pt x="51" y="60"/>
                  <a:pt x="51" y="60"/>
                </a:cubicBezTo>
                <a:cubicBezTo>
                  <a:pt x="51" y="58"/>
                  <a:pt x="51" y="58"/>
                  <a:pt x="51" y="58"/>
                </a:cubicBezTo>
                <a:cubicBezTo>
                  <a:pt x="50" y="56"/>
                  <a:pt x="50" y="56"/>
                  <a:pt x="50" y="56"/>
                </a:cubicBezTo>
                <a:cubicBezTo>
                  <a:pt x="50" y="56"/>
                  <a:pt x="50" y="56"/>
                  <a:pt x="50" y="56"/>
                </a:cubicBezTo>
                <a:close/>
                <a:moveTo>
                  <a:pt x="56" y="59"/>
                </a:moveTo>
                <a:cubicBezTo>
                  <a:pt x="57" y="59"/>
                  <a:pt x="57" y="59"/>
                  <a:pt x="57" y="59"/>
                </a:cubicBezTo>
                <a:cubicBezTo>
                  <a:pt x="56" y="58"/>
                  <a:pt x="56" y="58"/>
                  <a:pt x="56" y="58"/>
                </a:cubicBezTo>
                <a:cubicBezTo>
                  <a:pt x="56" y="58"/>
                  <a:pt x="56" y="58"/>
                  <a:pt x="56" y="58"/>
                </a:cubicBezTo>
                <a:cubicBezTo>
                  <a:pt x="56" y="59"/>
                  <a:pt x="56" y="59"/>
                  <a:pt x="56" y="59"/>
                </a:cubicBezTo>
                <a:close/>
                <a:moveTo>
                  <a:pt x="56" y="60"/>
                </a:moveTo>
                <a:cubicBezTo>
                  <a:pt x="56" y="60"/>
                  <a:pt x="56" y="60"/>
                  <a:pt x="56" y="60"/>
                </a:cubicBezTo>
                <a:cubicBezTo>
                  <a:pt x="56" y="60"/>
                  <a:pt x="56" y="60"/>
                  <a:pt x="56" y="60"/>
                </a:cubicBezTo>
                <a:cubicBezTo>
                  <a:pt x="56" y="61"/>
                  <a:pt x="56" y="61"/>
                  <a:pt x="56" y="61"/>
                </a:cubicBezTo>
                <a:cubicBezTo>
                  <a:pt x="56" y="60"/>
                  <a:pt x="56" y="60"/>
                  <a:pt x="56" y="60"/>
                </a:cubicBezTo>
                <a:close/>
                <a:moveTo>
                  <a:pt x="56" y="66"/>
                </a:moveTo>
                <a:cubicBezTo>
                  <a:pt x="56" y="65"/>
                  <a:pt x="56" y="65"/>
                  <a:pt x="56" y="65"/>
                </a:cubicBezTo>
                <a:cubicBezTo>
                  <a:pt x="56" y="64"/>
                  <a:pt x="56" y="64"/>
                  <a:pt x="56" y="64"/>
                </a:cubicBezTo>
                <a:cubicBezTo>
                  <a:pt x="56" y="63"/>
                  <a:pt x="56" y="63"/>
                  <a:pt x="56" y="63"/>
                </a:cubicBezTo>
                <a:cubicBezTo>
                  <a:pt x="56" y="62"/>
                  <a:pt x="56" y="62"/>
                  <a:pt x="56" y="62"/>
                </a:cubicBezTo>
                <a:cubicBezTo>
                  <a:pt x="56" y="62"/>
                  <a:pt x="56" y="62"/>
                  <a:pt x="56" y="62"/>
                </a:cubicBezTo>
                <a:cubicBezTo>
                  <a:pt x="55" y="62"/>
                  <a:pt x="55" y="62"/>
                  <a:pt x="55" y="62"/>
                </a:cubicBezTo>
                <a:cubicBezTo>
                  <a:pt x="55" y="63"/>
                  <a:pt x="55" y="63"/>
                  <a:pt x="55" y="63"/>
                </a:cubicBezTo>
                <a:cubicBezTo>
                  <a:pt x="56" y="65"/>
                  <a:pt x="56" y="65"/>
                  <a:pt x="56" y="65"/>
                </a:cubicBezTo>
                <a:cubicBezTo>
                  <a:pt x="55" y="65"/>
                  <a:pt x="55" y="65"/>
                  <a:pt x="55" y="65"/>
                </a:cubicBezTo>
                <a:cubicBezTo>
                  <a:pt x="56" y="66"/>
                  <a:pt x="56" y="66"/>
                  <a:pt x="56" y="66"/>
                </a:cubicBezTo>
                <a:cubicBezTo>
                  <a:pt x="56" y="66"/>
                  <a:pt x="56" y="66"/>
                  <a:pt x="56" y="66"/>
                </a:cubicBezTo>
                <a:close/>
                <a:moveTo>
                  <a:pt x="58" y="67"/>
                </a:moveTo>
                <a:cubicBezTo>
                  <a:pt x="57" y="67"/>
                  <a:pt x="57" y="67"/>
                  <a:pt x="57" y="67"/>
                </a:cubicBezTo>
                <a:cubicBezTo>
                  <a:pt x="58" y="68"/>
                  <a:pt x="58" y="68"/>
                  <a:pt x="58" y="68"/>
                </a:cubicBezTo>
                <a:cubicBezTo>
                  <a:pt x="58" y="67"/>
                  <a:pt x="58" y="67"/>
                  <a:pt x="58" y="67"/>
                </a:cubicBezTo>
                <a:cubicBezTo>
                  <a:pt x="58" y="67"/>
                  <a:pt x="58" y="67"/>
                  <a:pt x="58" y="67"/>
                </a:cubicBezTo>
                <a:close/>
                <a:moveTo>
                  <a:pt x="58" y="64"/>
                </a:moveTo>
                <a:cubicBezTo>
                  <a:pt x="58" y="65"/>
                  <a:pt x="58" y="65"/>
                  <a:pt x="58" y="65"/>
                </a:cubicBezTo>
                <a:cubicBezTo>
                  <a:pt x="58" y="66"/>
                  <a:pt x="58" y="66"/>
                  <a:pt x="58" y="66"/>
                </a:cubicBezTo>
                <a:cubicBezTo>
                  <a:pt x="59" y="66"/>
                  <a:pt x="59" y="66"/>
                  <a:pt x="59" y="66"/>
                </a:cubicBezTo>
                <a:cubicBezTo>
                  <a:pt x="59" y="66"/>
                  <a:pt x="59" y="66"/>
                  <a:pt x="59" y="66"/>
                </a:cubicBezTo>
                <a:cubicBezTo>
                  <a:pt x="59" y="65"/>
                  <a:pt x="59" y="65"/>
                  <a:pt x="59" y="65"/>
                </a:cubicBezTo>
                <a:cubicBezTo>
                  <a:pt x="58" y="64"/>
                  <a:pt x="58" y="64"/>
                  <a:pt x="58" y="64"/>
                </a:cubicBezTo>
                <a:close/>
                <a:moveTo>
                  <a:pt x="34" y="86"/>
                </a:moveTo>
                <a:cubicBezTo>
                  <a:pt x="33" y="84"/>
                  <a:pt x="33" y="84"/>
                  <a:pt x="33" y="84"/>
                </a:cubicBezTo>
                <a:cubicBezTo>
                  <a:pt x="33" y="83"/>
                  <a:pt x="33" y="83"/>
                  <a:pt x="33" y="83"/>
                </a:cubicBezTo>
                <a:cubicBezTo>
                  <a:pt x="34" y="81"/>
                  <a:pt x="34" y="81"/>
                  <a:pt x="34" y="81"/>
                </a:cubicBezTo>
                <a:cubicBezTo>
                  <a:pt x="33" y="80"/>
                  <a:pt x="33" y="80"/>
                  <a:pt x="33" y="80"/>
                </a:cubicBezTo>
                <a:cubicBezTo>
                  <a:pt x="35" y="79"/>
                  <a:pt x="35" y="79"/>
                  <a:pt x="35" y="79"/>
                </a:cubicBezTo>
                <a:cubicBezTo>
                  <a:pt x="36" y="78"/>
                  <a:pt x="36" y="78"/>
                  <a:pt x="36" y="78"/>
                </a:cubicBezTo>
                <a:cubicBezTo>
                  <a:pt x="37" y="77"/>
                  <a:pt x="37" y="77"/>
                  <a:pt x="37" y="77"/>
                </a:cubicBezTo>
                <a:cubicBezTo>
                  <a:pt x="38" y="78"/>
                  <a:pt x="38" y="78"/>
                  <a:pt x="38" y="78"/>
                </a:cubicBezTo>
                <a:cubicBezTo>
                  <a:pt x="40" y="77"/>
                  <a:pt x="40" y="77"/>
                  <a:pt x="40" y="77"/>
                </a:cubicBezTo>
                <a:cubicBezTo>
                  <a:pt x="39" y="76"/>
                  <a:pt x="39" y="76"/>
                  <a:pt x="39" y="76"/>
                </a:cubicBezTo>
                <a:cubicBezTo>
                  <a:pt x="40" y="75"/>
                  <a:pt x="40" y="75"/>
                  <a:pt x="40" y="75"/>
                </a:cubicBezTo>
                <a:cubicBezTo>
                  <a:pt x="41" y="74"/>
                  <a:pt x="41" y="74"/>
                  <a:pt x="41" y="74"/>
                </a:cubicBezTo>
                <a:cubicBezTo>
                  <a:pt x="42" y="73"/>
                  <a:pt x="42" y="73"/>
                  <a:pt x="42" y="73"/>
                </a:cubicBezTo>
                <a:cubicBezTo>
                  <a:pt x="43" y="73"/>
                  <a:pt x="43" y="73"/>
                  <a:pt x="43" y="73"/>
                </a:cubicBezTo>
                <a:cubicBezTo>
                  <a:pt x="45" y="75"/>
                  <a:pt x="45" y="75"/>
                  <a:pt x="45" y="75"/>
                </a:cubicBezTo>
                <a:cubicBezTo>
                  <a:pt x="45" y="77"/>
                  <a:pt x="45" y="77"/>
                  <a:pt x="45" y="77"/>
                </a:cubicBezTo>
                <a:cubicBezTo>
                  <a:pt x="43" y="79"/>
                  <a:pt x="43" y="79"/>
                  <a:pt x="43" y="79"/>
                </a:cubicBezTo>
                <a:cubicBezTo>
                  <a:pt x="44" y="78"/>
                  <a:pt x="44" y="78"/>
                  <a:pt x="44" y="78"/>
                </a:cubicBezTo>
                <a:cubicBezTo>
                  <a:pt x="46" y="77"/>
                  <a:pt x="46" y="77"/>
                  <a:pt x="46" y="77"/>
                </a:cubicBezTo>
                <a:cubicBezTo>
                  <a:pt x="47" y="77"/>
                  <a:pt x="47" y="77"/>
                  <a:pt x="47" y="77"/>
                </a:cubicBezTo>
                <a:cubicBezTo>
                  <a:pt x="48" y="74"/>
                  <a:pt x="48" y="74"/>
                  <a:pt x="48" y="74"/>
                </a:cubicBezTo>
                <a:cubicBezTo>
                  <a:pt x="49" y="74"/>
                  <a:pt x="49" y="74"/>
                  <a:pt x="49" y="74"/>
                </a:cubicBezTo>
                <a:cubicBezTo>
                  <a:pt x="50" y="75"/>
                  <a:pt x="50" y="75"/>
                  <a:pt x="50" y="75"/>
                </a:cubicBezTo>
                <a:cubicBezTo>
                  <a:pt x="50" y="75"/>
                  <a:pt x="50" y="75"/>
                  <a:pt x="50" y="75"/>
                </a:cubicBezTo>
                <a:cubicBezTo>
                  <a:pt x="51" y="74"/>
                  <a:pt x="51" y="74"/>
                  <a:pt x="51" y="74"/>
                </a:cubicBezTo>
                <a:cubicBezTo>
                  <a:pt x="50" y="74"/>
                  <a:pt x="50" y="74"/>
                  <a:pt x="50" y="74"/>
                </a:cubicBezTo>
                <a:cubicBezTo>
                  <a:pt x="51" y="71"/>
                  <a:pt x="51" y="71"/>
                  <a:pt x="51" y="71"/>
                </a:cubicBezTo>
                <a:cubicBezTo>
                  <a:pt x="52" y="72"/>
                  <a:pt x="52" y="72"/>
                  <a:pt x="52" y="72"/>
                </a:cubicBezTo>
                <a:cubicBezTo>
                  <a:pt x="53" y="72"/>
                  <a:pt x="53" y="72"/>
                  <a:pt x="53" y="72"/>
                </a:cubicBezTo>
                <a:cubicBezTo>
                  <a:pt x="53" y="72"/>
                  <a:pt x="53" y="72"/>
                  <a:pt x="53" y="72"/>
                </a:cubicBezTo>
                <a:cubicBezTo>
                  <a:pt x="53" y="70"/>
                  <a:pt x="53" y="70"/>
                  <a:pt x="53" y="70"/>
                </a:cubicBezTo>
                <a:cubicBezTo>
                  <a:pt x="54" y="70"/>
                  <a:pt x="54" y="70"/>
                  <a:pt x="54" y="70"/>
                </a:cubicBezTo>
                <a:cubicBezTo>
                  <a:pt x="55" y="71"/>
                  <a:pt x="55" y="71"/>
                  <a:pt x="55" y="71"/>
                </a:cubicBezTo>
                <a:cubicBezTo>
                  <a:pt x="55" y="70"/>
                  <a:pt x="55" y="70"/>
                  <a:pt x="55" y="70"/>
                </a:cubicBezTo>
                <a:cubicBezTo>
                  <a:pt x="54" y="68"/>
                  <a:pt x="54" y="68"/>
                  <a:pt x="54" y="68"/>
                </a:cubicBezTo>
                <a:cubicBezTo>
                  <a:pt x="54" y="66"/>
                  <a:pt x="54" y="66"/>
                  <a:pt x="54" y="66"/>
                </a:cubicBezTo>
                <a:cubicBezTo>
                  <a:pt x="55" y="66"/>
                  <a:pt x="55" y="66"/>
                  <a:pt x="55" y="66"/>
                </a:cubicBezTo>
                <a:cubicBezTo>
                  <a:pt x="56" y="66"/>
                  <a:pt x="56" y="66"/>
                  <a:pt x="56" y="66"/>
                </a:cubicBezTo>
                <a:cubicBezTo>
                  <a:pt x="56" y="67"/>
                  <a:pt x="56" y="67"/>
                  <a:pt x="56" y="67"/>
                </a:cubicBezTo>
                <a:cubicBezTo>
                  <a:pt x="58" y="69"/>
                  <a:pt x="58" y="69"/>
                  <a:pt x="58" y="69"/>
                </a:cubicBezTo>
                <a:cubicBezTo>
                  <a:pt x="59" y="70"/>
                  <a:pt x="59" y="70"/>
                  <a:pt x="59" y="70"/>
                </a:cubicBezTo>
                <a:cubicBezTo>
                  <a:pt x="60" y="69"/>
                  <a:pt x="60" y="69"/>
                  <a:pt x="60" y="69"/>
                </a:cubicBezTo>
                <a:cubicBezTo>
                  <a:pt x="60" y="70"/>
                  <a:pt x="60" y="70"/>
                  <a:pt x="60" y="70"/>
                </a:cubicBezTo>
                <a:cubicBezTo>
                  <a:pt x="60" y="72"/>
                  <a:pt x="60" y="72"/>
                  <a:pt x="60" y="72"/>
                </a:cubicBezTo>
                <a:cubicBezTo>
                  <a:pt x="60" y="73"/>
                  <a:pt x="60" y="73"/>
                  <a:pt x="60" y="73"/>
                </a:cubicBezTo>
                <a:cubicBezTo>
                  <a:pt x="60" y="73"/>
                  <a:pt x="60" y="73"/>
                  <a:pt x="60" y="73"/>
                </a:cubicBezTo>
                <a:cubicBezTo>
                  <a:pt x="59" y="74"/>
                  <a:pt x="59" y="74"/>
                  <a:pt x="59" y="74"/>
                </a:cubicBezTo>
                <a:cubicBezTo>
                  <a:pt x="60" y="75"/>
                  <a:pt x="60" y="75"/>
                  <a:pt x="60" y="75"/>
                </a:cubicBezTo>
                <a:cubicBezTo>
                  <a:pt x="61" y="75"/>
                  <a:pt x="61" y="75"/>
                  <a:pt x="61" y="75"/>
                </a:cubicBezTo>
                <a:cubicBezTo>
                  <a:pt x="60" y="75"/>
                  <a:pt x="60" y="75"/>
                  <a:pt x="60" y="75"/>
                </a:cubicBezTo>
                <a:cubicBezTo>
                  <a:pt x="61" y="77"/>
                  <a:pt x="61" y="77"/>
                  <a:pt x="61" y="77"/>
                </a:cubicBezTo>
                <a:cubicBezTo>
                  <a:pt x="61" y="76"/>
                  <a:pt x="61" y="76"/>
                  <a:pt x="61" y="76"/>
                </a:cubicBezTo>
                <a:cubicBezTo>
                  <a:pt x="61" y="78"/>
                  <a:pt x="61" y="78"/>
                  <a:pt x="61" y="78"/>
                </a:cubicBezTo>
                <a:cubicBezTo>
                  <a:pt x="61" y="79"/>
                  <a:pt x="61" y="79"/>
                  <a:pt x="61" y="79"/>
                </a:cubicBezTo>
                <a:cubicBezTo>
                  <a:pt x="62" y="80"/>
                  <a:pt x="62" y="80"/>
                  <a:pt x="62" y="80"/>
                </a:cubicBezTo>
                <a:cubicBezTo>
                  <a:pt x="63" y="81"/>
                  <a:pt x="63" y="81"/>
                  <a:pt x="63" y="81"/>
                </a:cubicBezTo>
                <a:cubicBezTo>
                  <a:pt x="63" y="83"/>
                  <a:pt x="63" y="83"/>
                  <a:pt x="63" y="83"/>
                </a:cubicBezTo>
                <a:cubicBezTo>
                  <a:pt x="62" y="85"/>
                  <a:pt x="62" y="85"/>
                  <a:pt x="62" y="85"/>
                </a:cubicBezTo>
                <a:cubicBezTo>
                  <a:pt x="62" y="85"/>
                  <a:pt x="62" y="85"/>
                  <a:pt x="62" y="85"/>
                </a:cubicBezTo>
                <a:cubicBezTo>
                  <a:pt x="62" y="86"/>
                  <a:pt x="62" y="86"/>
                  <a:pt x="62" y="86"/>
                </a:cubicBezTo>
                <a:cubicBezTo>
                  <a:pt x="61" y="85"/>
                  <a:pt x="61" y="85"/>
                  <a:pt x="61" y="85"/>
                </a:cubicBezTo>
                <a:cubicBezTo>
                  <a:pt x="61" y="85"/>
                  <a:pt x="61" y="85"/>
                  <a:pt x="61" y="85"/>
                </a:cubicBezTo>
                <a:cubicBezTo>
                  <a:pt x="60" y="86"/>
                  <a:pt x="60" y="86"/>
                  <a:pt x="60" y="86"/>
                </a:cubicBezTo>
                <a:cubicBezTo>
                  <a:pt x="61" y="88"/>
                  <a:pt x="61" y="88"/>
                  <a:pt x="61" y="88"/>
                </a:cubicBezTo>
                <a:cubicBezTo>
                  <a:pt x="61" y="89"/>
                  <a:pt x="61" y="89"/>
                  <a:pt x="61" y="89"/>
                </a:cubicBezTo>
                <a:cubicBezTo>
                  <a:pt x="61" y="90"/>
                  <a:pt x="61" y="90"/>
                  <a:pt x="61" y="90"/>
                </a:cubicBezTo>
                <a:cubicBezTo>
                  <a:pt x="60" y="89"/>
                  <a:pt x="60" y="89"/>
                  <a:pt x="60" y="89"/>
                </a:cubicBezTo>
                <a:cubicBezTo>
                  <a:pt x="60" y="87"/>
                  <a:pt x="60" y="87"/>
                  <a:pt x="60" y="87"/>
                </a:cubicBezTo>
                <a:cubicBezTo>
                  <a:pt x="60" y="86"/>
                  <a:pt x="60" y="86"/>
                  <a:pt x="60" y="86"/>
                </a:cubicBezTo>
                <a:cubicBezTo>
                  <a:pt x="59" y="85"/>
                  <a:pt x="59" y="85"/>
                  <a:pt x="59" y="85"/>
                </a:cubicBezTo>
                <a:cubicBezTo>
                  <a:pt x="59" y="84"/>
                  <a:pt x="59" y="84"/>
                  <a:pt x="59" y="84"/>
                </a:cubicBezTo>
                <a:cubicBezTo>
                  <a:pt x="58" y="83"/>
                  <a:pt x="58" y="83"/>
                  <a:pt x="58" y="83"/>
                </a:cubicBezTo>
                <a:cubicBezTo>
                  <a:pt x="57" y="83"/>
                  <a:pt x="57" y="83"/>
                  <a:pt x="57" y="83"/>
                </a:cubicBezTo>
                <a:cubicBezTo>
                  <a:pt x="55" y="86"/>
                  <a:pt x="55" y="86"/>
                  <a:pt x="55" y="86"/>
                </a:cubicBezTo>
                <a:cubicBezTo>
                  <a:pt x="55" y="87"/>
                  <a:pt x="55" y="87"/>
                  <a:pt x="55" y="87"/>
                </a:cubicBezTo>
                <a:cubicBezTo>
                  <a:pt x="56" y="88"/>
                  <a:pt x="56" y="88"/>
                  <a:pt x="56" y="88"/>
                </a:cubicBezTo>
                <a:cubicBezTo>
                  <a:pt x="57" y="89"/>
                  <a:pt x="57" y="89"/>
                  <a:pt x="57" y="89"/>
                </a:cubicBezTo>
                <a:cubicBezTo>
                  <a:pt x="58" y="90"/>
                  <a:pt x="58" y="90"/>
                  <a:pt x="58" y="90"/>
                </a:cubicBezTo>
                <a:cubicBezTo>
                  <a:pt x="58" y="91"/>
                  <a:pt x="58" y="91"/>
                  <a:pt x="58" y="91"/>
                </a:cubicBezTo>
                <a:cubicBezTo>
                  <a:pt x="56" y="94"/>
                  <a:pt x="56" y="94"/>
                  <a:pt x="56" y="94"/>
                </a:cubicBezTo>
                <a:cubicBezTo>
                  <a:pt x="55" y="94"/>
                  <a:pt x="55" y="94"/>
                  <a:pt x="55" y="94"/>
                </a:cubicBezTo>
                <a:cubicBezTo>
                  <a:pt x="55" y="94"/>
                  <a:pt x="55" y="94"/>
                  <a:pt x="55" y="94"/>
                </a:cubicBezTo>
                <a:cubicBezTo>
                  <a:pt x="54" y="93"/>
                  <a:pt x="54" y="93"/>
                  <a:pt x="54" y="93"/>
                </a:cubicBezTo>
                <a:cubicBezTo>
                  <a:pt x="55" y="92"/>
                  <a:pt x="55" y="92"/>
                  <a:pt x="55" y="92"/>
                </a:cubicBezTo>
                <a:cubicBezTo>
                  <a:pt x="54" y="91"/>
                  <a:pt x="54" y="91"/>
                  <a:pt x="54" y="91"/>
                </a:cubicBezTo>
                <a:cubicBezTo>
                  <a:pt x="54" y="92"/>
                  <a:pt x="54" y="92"/>
                  <a:pt x="54" y="92"/>
                </a:cubicBezTo>
                <a:cubicBezTo>
                  <a:pt x="53" y="92"/>
                  <a:pt x="53" y="92"/>
                  <a:pt x="53" y="92"/>
                </a:cubicBezTo>
                <a:cubicBezTo>
                  <a:pt x="52" y="93"/>
                  <a:pt x="52" y="93"/>
                  <a:pt x="52" y="93"/>
                </a:cubicBezTo>
                <a:cubicBezTo>
                  <a:pt x="51" y="92"/>
                  <a:pt x="51" y="92"/>
                  <a:pt x="51" y="92"/>
                </a:cubicBezTo>
                <a:cubicBezTo>
                  <a:pt x="50" y="91"/>
                  <a:pt x="50" y="91"/>
                  <a:pt x="50" y="91"/>
                </a:cubicBezTo>
                <a:cubicBezTo>
                  <a:pt x="49" y="91"/>
                  <a:pt x="49" y="91"/>
                  <a:pt x="49" y="91"/>
                </a:cubicBezTo>
                <a:cubicBezTo>
                  <a:pt x="47" y="90"/>
                  <a:pt x="47" y="90"/>
                  <a:pt x="47" y="90"/>
                </a:cubicBezTo>
                <a:cubicBezTo>
                  <a:pt x="47" y="89"/>
                  <a:pt x="47" y="89"/>
                  <a:pt x="47" y="89"/>
                </a:cubicBezTo>
                <a:cubicBezTo>
                  <a:pt x="46" y="88"/>
                  <a:pt x="46" y="88"/>
                  <a:pt x="46" y="88"/>
                </a:cubicBezTo>
                <a:cubicBezTo>
                  <a:pt x="47" y="87"/>
                  <a:pt x="47" y="87"/>
                  <a:pt x="47" y="87"/>
                </a:cubicBezTo>
                <a:cubicBezTo>
                  <a:pt x="46" y="86"/>
                  <a:pt x="46" y="86"/>
                  <a:pt x="46" y="86"/>
                </a:cubicBezTo>
                <a:cubicBezTo>
                  <a:pt x="46" y="85"/>
                  <a:pt x="46" y="85"/>
                  <a:pt x="46" y="85"/>
                </a:cubicBezTo>
                <a:cubicBezTo>
                  <a:pt x="46" y="85"/>
                  <a:pt x="46" y="85"/>
                  <a:pt x="46" y="85"/>
                </a:cubicBezTo>
                <a:cubicBezTo>
                  <a:pt x="46" y="84"/>
                  <a:pt x="46" y="84"/>
                  <a:pt x="46" y="84"/>
                </a:cubicBezTo>
                <a:cubicBezTo>
                  <a:pt x="47" y="84"/>
                  <a:pt x="47" y="84"/>
                  <a:pt x="47" y="84"/>
                </a:cubicBezTo>
                <a:cubicBezTo>
                  <a:pt x="48" y="84"/>
                  <a:pt x="48" y="84"/>
                  <a:pt x="48" y="84"/>
                </a:cubicBezTo>
                <a:cubicBezTo>
                  <a:pt x="47" y="83"/>
                  <a:pt x="47" y="83"/>
                  <a:pt x="47" y="83"/>
                </a:cubicBezTo>
                <a:cubicBezTo>
                  <a:pt x="47" y="82"/>
                  <a:pt x="47" y="82"/>
                  <a:pt x="47" y="82"/>
                </a:cubicBezTo>
                <a:cubicBezTo>
                  <a:pt x="45" y="81"/>
                  <a:pt x="45" y="81"/>
                  <a:pt x="45" y="81"/>
                </a:cubicBezTo>
                <a:cubicBezTo>
                  <a:pt x="44" y="81"/>
                  <a:pt x="44" y="81"/>
                  <a:pt x="44" y="81"/>
                </a:cubicBezTo>
                <a:cubicBezTo>
                  <a:pt x="43" y="80"/>
                  <a:pt x="43" y="80"/>
                  <a:pt x="43" y="80"/>
                </a:cubicBezTo>
                <a:cubicBezTo>
                  <a:pt x="43" y="80"/>
                  <a:pt x="43" y="80"/>
                  <a:pt x="43" y="80"/>
                </a:cubicBezTo>
                <a:cubicBezTo>
                  <a:pt x="42" y="80"/>
                  <a:pt x="42" y="80"/>
                  <a:pt x="42" y="80"/>
                </a:cubicBezTo>
                <a:cubicBezTo>
                  <a:pt x="42" y="81"/>
                  <a:pt x="42" y="81"/>
                  <a:pt x="42" y="81"/>
                </a:cubicBezTo>
                <a:cubicBezTo>
                  <a:pt x="42" y="82"/>
                  <a:pt x="42" y="82"/>
                  <a:pt x="42" y="82"/>
                </a:cubicBezTo>
                <a:cubicBezTo>
                  <a:pt x="43" y="83"/>
                  <a:pt x="43" y="83"/>
                  <a:pt x="43" y="83"/>
                </a:cubicBezTo>
                <a:cubicBezTo>
                  <a:pt x="42" y="82"/>
                  <a:pt x="42" y="82"/>
                  <a:pt x="42" y="82"/>
                </a:cubicBezTo>
                <a:cubicBezTo>
                  <a:pt x="41" y="82"/>
                  <a:pt x="41" y="82"/>
                  <a:pt x="41" y="82"/>
                </a:cubicBezTo>
                <a:cubicBezTo>
                  <a:pt x="41" y="82"/>
                  <a:pt x="41" y="82"/>
                  <a:pt x="41" y="82"/>
                </a:cubicBezTo>
                <a:cubicBezTo>
                  <a:pt x="41" y="81"/>
                  <a:pt x="41" y="81"/>
                  <a:pt x="41" y="81"/>
                </a:cubicBezTo>
                <a:cubicBezTo>
                  <a:pt x="40" y="81"/>
                  <a:pt x="40" y="81"/>
                  <a:pt x="40" y="81"/>
                </a:cubicBezTo>
                <a:cubicBezTo>
                  <a:pt x="40" y="81"/>
                  <a:pt x="40" y="81"/>
                  <a:pt x="40" y="81"/>
                </a:cubicBezTo>
                <a:cubicBezTo>
                  <a:pt x="40" y="82"/>
                  <a:pt x="40" y="82"/>
                  <a:pt x="40" y="82"/>
                </a:cubicBezTo>
                <a:cubicBezTo>
                  <a:pt x="39" y="82"/>
                  <a:pt x="39" y="82"/>
                  <a:pt x="39" y="82"/>
                </a:cubicBezTo>
                <a:cubicBezTo>
                  <a:pt x="38" y="82"/>
                  <a:pt x="38" y="82"/>
                  <a:pt x="38" y="82"/>
                </a:cubicBezTo>
                <a:cubicBezTo>
                  <a:pt x="38" y="82"/>
                  <a:pt x="38" y="82"/>
                  <a:pt x="38" y="82"/>
                </a:cubicBezTo>
                <a:cubicBezTo>
                  <a:pt x="38" y="81"/>
                  <a:pt x="38" y="81"/>
                  <a:pt x="38" y="81"/>
                </a:cubicBezTo>
                <a:cubicBezTo>
                  <a:pt x="37" y="80"/>
                  <a:pt x="37" y="80"/>
                  <a:pt x="37" y="80"/>
                </a:cubicBezTo>
                <a:cubicBezTo>
                  <a:pt x="37" y="80"/>
                  <a:pt x="37" y="80"/>
                  <a:pt x="37" y="80"/>
                </a:cubicBezTo>
                <a:cubicBezTo>
                  <a:pt x="36" y="82"/>
                  <a:pt x="36" y="82"/>
                  <a:pt x="36" y="82"/>
                </a:cubicBezTo>
                <a:cubicBezTo>
                  <a:pt x="35" y="82"/>
                  <a:pt x="35" y="82"/>
                  <a:pt x="35" y="82"/>
                </a:cubicBezTo>
                <a:cubicBezTo>
                  <a:pt x="34" y="85"/>
                  <a:pt x="34" y="85"/>
                  <a:pt x="34" y="85"/>
                </a:cubicBezTo>
                <a:cubicBezTo>
                  <a:pt x="34" y="86"/>
                  <a:pt x="34" y="86"/>
                  <a:pt x="34" y="86"/>
                </a:cubicBezTo>
                <a:close/>
                <a:moveTo>
                  <a:pt x="32" y="87"/>
                </a:moveTo>
                <a:cubicBezTo>
                  <a:pt x="32" y="88"/>
                  <a:pt x="32" y="88"/>
                  <a:pt x="32" y="88"/>
                </a:cubicBezTo>
                <a:cubicBezTo>
                  <a:pt x="33" y="89"/>
                  <a:pt x="33" y="89"/>
                  <a:pt x="33" y="89"/>
                </a:cubicBezTo>
                <a:cubicBezTo>
                  <a:pt x="34" y="89"/>
                  <a:pt x="34" y="89"/>
                  <a:pt x="34" y="89"/>
                </a:cubicBezTo>
                <a:cubicBezTo>
                  <a:pt x="35" y="88"/>
                  <a:pt x="35" y="88"/>
                  <a:pt x="35" y="88"/>
                </a:cubicBezTo>
                <a:cubicBezTo>
                  <a:pt x="35" y="87"/>
                  <a:pt x="35" y="87"/>
                  <a:pt x="35" y="87"/>
                </a:cubicBezTo>
                <a:cubicBezTo>
                  <a:pt x="35" y="87"/>
                  <a:pt x="35" y="87"/>
                  <a:pt x="35" y="87"/>
                </a:cubicBezTo>
                <a:cubicBezTo>
                  <a:pt x="34" y="87"/>
                  <a:pt x="34" y="87"/>
                  <a:pt x="34" y="87"/>
                </a:cubicBezTo>
                <a:cubicBezTo>
                  <a:pt x="33" y="87"/>
                  <a:pt x="33" y="87"/>
                  <a:pt x="33" y="87"/>
                </a:cubicBezTo>
                <a:cubicBezTo>
                  <a:pt x="32" y="87"/>
                  <a:pt x="32" y="87"/>
                  <a:pt x="32" y="87"/>
                </a:cubicBezTo>
                <a:close/>
                <a:moveTo>
                  <a:pt x="18" y="51"/>
                </a:moveTo>
                <a:cubicBezTo>
                  <a:pt x="17" y="50"/>
                  <a:pt x="17" y="50"/>
                  <a:pt x="17" y="50"/>
                </a:cubicBezTo>
                <a:cubicBezTo>
                  <a:pt x="17" y="50"/>
                  <a:pt x="17" y="50"/>
                  <a:pt x="17" y="50"/>
                </a:cubicBezTo>
                <a:cubicBezTo>
                  <a:pt x="17" y="49"/>
                  <a:pt x="17" y="49"/>
                  <a:pt x="17" y="49"/>
                </a:cubicBezTo>
                <a:cubicBezTo>
                  <a:pt x="18" y="49"/>
                  <a:pt x="18" y="49"/>
                  <a:pt x="18" y="49"/>
                </a:cubicBezTo>
                <a:cubicBezTo>
                  <a:pt x="19" y="50"/>
                  <a:pt x="19" y="50"/>
                  <a:pt x="19" y="50"/>
                </a:cubicBezTo>
                <a:cubicBezTo>
                  <a:pt x="20" y="50"/>
                  <a:pt x="20" y="50"/>
                  <a:pt x="20" y="50"/>
                </a:cubicBezTo>
                <a:cubicBezTo>
                  <a:pt x="20" y="51"/>
                  <a:pt x="20" y="51"/>
                  <a:pt x="20" y="51"/>
                </a:cubicBezTo>
                <a:cubicBezTo>
                  <a:pt x="20" y="52"/>
                  <a:pt x="20" y="52"/>
                  <a:pt x="20" y="52"/>
                </a:cubicBezTo>
                <a:cubicBezTo>
                  <a:pt x="19" y="51"/>
                  <a:pt x="19" y="51"/>
                  <a:pt x="19" y="51"/>
                </a:cubicBezTo>
                <a:cubicBezTo>
                  <a:pt x="18" y="51"/>
                  <a:pt x="18" y="51"/>
                  <a:pt x="18" y="51"/>
                </a:cubicBezTo>
                <a:close/>
                <a:moveTo>
                  <a:pt x="17" y="52"/>
                </a:moveTo>
                <a:cubicBezTo>
                  <a:pt x="18" y="52"/>
                  <a:pt x="18" y="52"/>
                  <a:pt x="18" y="52"/>
                </a:cubicBezTo>
                <a:cubicBezTo>
                  <a:pt x="19" y="53"/>
                  <a:pt x="19" y="53"/>
                  <a:pt x="19" y="53"/>
                </a:cubicBezTo>
                <a:cubicBezTo>
                  <a:pt x="18" y="53"/>
                  <a:pt x="18" y="53"/>
                  <a:pt x="18" y="53"/>
                </a:cubicBezTo>
                <a:cubicBezTo>
                  <a:pt x="18" y="54"/>
                  <a:pt x="18" y="54"/>
                  <a:pt x="18" y="54"/>
                </a:cubicBezTo>
                <a:cubicBezTo>
                  <a:pt x="17" y="54"/>
                  <a:pt x="17" y="54"/>
                  <a:pt x="17" y="54"/>
                </a:cubicBezTo>
                <a:cubicBezTo>
                  <a:pt x="17" y="52"/>
                  <a:pt x="17" y="52"/>
                  <a:pt x="17" y="52"/>
                </a:cubicBezTo>
                <a:cubicBezTo>
                  <a:pt x="17" y="52"/>
                  <a:pt x="17" y="52"/>
                  <a:pt x="17" y="52"/>
                </a:cubicBezTo>
                <a:close/>
                <a:moveTo>
                  <a:pt x="18" y="61"/>
                </a:moveTo>
                <a:cubicBezTo>
                  <a:pt x="18" y="61"/>
                  <a:pt x="18" y="61"/>
                  <a:pt x="18" y="61"/>
                </a:cubicBezTo>
                <a:cubicBezTo>
                  <a:pt x="18" y="60"/>
                  <a:pt x="18" y="60"/>
                  <a:pt x="18" y="60"/>
                </a:cubicBezTo>
                <a:cubicBezTo>
                  <a:pt x="19" y="61"/>
                  <a:pt x="19" y="61"/>
                  <a:pt x="19" y="61"/>
                </a:cubicBezTo>
                <a:cubicBezTo>
                  <a:pt x="19" y="61"/>
                  <a:pt x="19" y="61"/>
                  <a:pt x="19" y="61"/>
                </a:cubicBezTo>
                <a:cubicBezTo>
                  <a:pt x="19" y="62"/>
                  <a:pt x="19" y="62"/>
                  <a:pt x="19" y="62"/>
                </a:cubicBezTo>
                <a:cubicBezTo>
                  <a:pt x="18" y="62"/>
                  <a:pt x="18" y="62"/>
                  <a:pt x="18" y="62"/>
                </a:cubicBezTo>
                <a:cubicBezTo>
                  <a:pt x="17" y="62"/>
                  <a:pt x="17" y="62"/>
                  <a:pt x="17" y="62"/>
                </a:cubicBezTo>
                <a:cubicBezTo>
                  <a:pt x="18" y="61"/>
                  <a:pt x="18" y="61"/>
                  <a:pt x="18" y="61"/>
                </a:cubicBezTo>
                <a:close/>
                <a:moveTo>
                  <a:pt x="2" y="75"/>
                </a:moveTo>
                <a:cubicBezTo>
                  <a:pt x="4" y="74"/>
                  <a:pt x="4" y="74"/>
                  <a:pt x="4" y="74"/>
                </a:cubicBezTo>
                <a:cubicBezTo>
                  <a:pt x="4" y="74"/>
                  <a:pt x="4" y="74"/>
                  <a:pt x="4" y="74"/>
                </a:cubicBezTo>
                <a:cubicBezTo>
                  <a:pt x="5" y="73"/>
                  <a:pt x="5" y="73"/>
                  <a:pt x="5" y="73"/>
                </a:cubicBezTo>
                <a:cubicBezTo>
                  <a:pt x="7" y="73"/>
                  <a:pt x="7" y="73"/>
                  <a:pt x="7" y="73"/>
                </a:cubicBezTo>
                <a:cubicBezTo>
                  <a:pt x="8" y="71"/>
                  <a:pt x="8" y="71"/>
                  <a:pt x="8" y="71"/>
                </a:cubicBezTo>
                <a:cubicBezTo>
                  <a:pt x="9" y="70"/>
                  <a:pt x="9" y="70"/>
                  <a:pt x="9" y="70"/>
                </a:cubicBezTo>
                <a:cubicBezTo>
                  <a:pt x="10" y="69"/>
                  <a:pt x="10" y="69"/>
                  <a:pt x="10" y="69"/>
                </a:cubicBezTo>
                <a:cubicBezTo>
                  <a:pt x="11" y="69"/>
                  <a:pt x="11" y="69"/>
                  <a:pt x="11" y="69"/>
                </a:cubicBezTo>
                <a:cubicBezTo>
                  <a:pt x="11" y="68"/>
                  <a:pt x="11" y="68"/>
                  <a:pt x="11" y="68"/>
                </a:cubicBezTo>
                <a:cubicBezTo>
                  <a:pt x="11" y="66"/>
                  <a:pt x="11" y="66"/>
                  <a:pt x="11" y="66"/>
                </a:cubicBezTo>
                <a:cubicBezTo>
                  <a:pt x="12" y="65"/>
                  <a:pt x="12" y="65"/>
                  <a:pt x="12" y="65"/>
                </a:cubicBezTo>
                <a:cubicBezTo>
                  <a:pt x="14" y="65"/>
                  <a:pt x="14" y="65"/>
                  <a:pt x="14" y="65"/>
                </a:cubicBezTo>
                <a:cubicBezTo>
                  <a:pt x="14" y="63"/>
                  <a:pt x="14" y="63"/>
                  <a:pt x="14" y="63"/>
                </a:cubicBezTo>
                <a:cubicBezTo>
                  <a:pt x="15" y="62"/>
                  <a:pt x="15" y="62"/>
                  <a:pt x="15" y="62"/>
                </a:cubicBezTo>
                <a:cubicBezTo>
                  <a:pt x="16" y="62"/>
                  <a:pt x="16" y="62"/>
                  <a:pt x="16" y="62"/>
                </a:cubicBezTo>
                <a:cubicBezTo>
                  <a:pt x="17" y="61"/>
                  <a:pt x="17" y="61"/>
                  <a:pt x="17" y="61"/>
                </a:cubicBezTo>
                <a:cubicBezTo>
                  <a:pt x="16" y="60"/>
                  <a:pt x="16" y="60"/>
                  <a:pt x="16" y="60"/>
                </a:cubicBezTo>
                <a:cubicBezTo>
                  <a:pt x="15" y="59"/>
                  <a:pt x="15" y="59"/>
                  <a:pt x="15" y="59"/>
                </a:cubicBezTo>
                <a:cubicBezTo>
                  <a:pt x="15" y="57"/>
                  <a:pt x="15" y="57"/>
                  <a:pt x="15" y="57"/>
                </a:cubicBezTo>
                <a:cubicBezTo>
                  <a:pt x="15" y="56"/>
                  <a:pt x="15" y="56"/>
                  <a:pt x="15" y="56"/>
                </a:cubicBezTo>
                <a:cubicBezTo>
                  <a:pt x="15" y="56"/>
                  <a:pt x="15" y="56"/>
                  <a:pt x="15" y="56"/>
                </a:cubicBezTo>
                <a:cubicBezTo>
                  <a:pt x="14" y="58"/>
                  <a:pt x="14" y="58"/>
                  <a:pt x="14" y="58"/>
                </a:cubicBezTo>
                <a:cubicBezTo>
                  <a:pt x="15" y="60"/>
                  <a:pt x="15" y="60"/>
                  <a:pt x="15" y="60"/>
                </a:cubicBezTo>
                <a:cubicBezTo>
                  <a:pt x="14" y="59"/>
                  <a:pt x="14" y="59"/>
                  <a:pt x="14" y="59"/>
                </a:cubicBezTo>
                <a:cubicBezTo>
                  <a:pt x="14" y="60"/>
                  <a:pt x="14" y="60"/>
                  <a:pt x="14" y="60"/>
                </a:cubicBezTo>
                <a:cubicBezTo>
                  <a:pt x="14" y="61"/>
                  <a:pt x="14" y="61"/>
                  <a:pt x="14" y="61"/>
                </a:cubicBezTo>
                <a:cubicBezTo>
                  <a:pt x="13" y="62"/>
                  <a:pt x="13" y="62"/>
                  <a:pt x="13" y="62"/>
                </a:cubicBezTo>
                <a:cubicBezTo>
                  <a:pt x="13" y="62"/>
                  <a:pt x="13" y="62"/>
                  <a:pt x="13" y="62"/>
                </a:cubicBezTo>
                <a:cubicBezTo>
                  <a:pt x="11" y="64"/>
                  <a:pt x="11" y="64"/>
                  <a:pt x="11" y="64"/>
                </a:cubicBezTo>
                <a:cubicBezTo>
                  <a:pt x="11" y="64"/>
                  <a:pt x="11" y="64"/>
                  <a:pt x="11" y="64"/>
                </a:cubicBezTo>
                <a:cubicBezTo>
                  <a:pt x="10" y="65"/>
                  <a:pt x="10" y="65"/>
                  <a:pt x="10" y="65"/>
                </a:cubicBezTo>
                <a:cubicBezTo>
                  <a:pt x="9" y="68"/>
                  <a:pt x="9" y="68"/>
                  <a:pt x="9" y="68"/>
                </a:cubicBezTo>
                <a:cubicBezTo>
                  <a:pt x="7" y="70"/>
                  <a:pt x="7" y="70"/>
                  <a:pt x="7" y="70"/>
                </a:cubicBezTo>
                <a:cubicBezTo>
                  <a:pt x="6" y="70"/>
                  <a:pt x="6" y="70"/>
                  <a:pt x="6" y="70"/>
                </a:cubicBezTo>
                <a:cubicBezTo>
                  <a:pt x="5" y="72"/>
                  <a:pt x="5" y="72"/>
                  <a:pt x="5" y="72"/>
                </a:cubicBezTo>
                <a:cubicBezTo>
                  <a:pt x="4" y="72"/>
                  <a:pt x="4" y="72"/>
                  <a:pt x="4" y="72"/>
                </a:cubicBezTo>
                <a:cubicBezTo>
                  <a:pt x="3" y="74"/>
                  <a:pt x="3" y="74"/>
                  <a:pt x="3" y="74"/>
                </a:cubicBezTo>
                <a:cubicBezTo>
                  <a:pt x="2" y="75"/>
                  <a:pt x="2" y="75"/>
                  <a:pt x="2" y="75"/>
                </a:cubicBezTo>
                <a:cubicBezTo>
                  <a:pt x="2" y="75"/>
                  <a:pt x="2" y="75"/>
                  <a:pt x="2" y="75"/>
                </a:cubicBezTo>
                <a:close/>
                <a:moveTo>
                  <a:pt x="3" y="76"/>
                </a:moveTo>
                <a:cubicBezTo>
                  <a:pt x="2" y="76"/>
                  <a:pt x="2" y="76"/>
                  <a:pt x="2" y="76"/>
                </a:cubicBezTo>
                <a:cubicBezTo>
                  <a:pt x="3" y="76"/>
                  <a:pt x="3" y="76"/>
                  <a:pt x="3" y="76"/>
                </a:cubicBezTo>
                <a:cubicBezTo>
                  <a:pt x="3" y="76"/>
                  <a:pt x="3" y="76"/>
                  <a:pt x="3" y="76"/>
                </a:cubicBezTo>
                <a:close/>
                <a:moveTo>
                  <a:pt x="3" y="76"/>
                </a:moveTo>
                <a:cubicBezTo>
                  <a:pt x="3" y="76"/>
                  <a:pt x="3" y="76"/>
                  <a:pt x="3" y="76"/>
                </a:cubicBezTo>
                <a:cubicBezTo>
                  <a:pt x="3" y="77"/>
                  <a:pt x="3" y="77"/>
                  <a:pt x="3" y="77"/>
                </a:cubicBezTo>
                <a:cubicBezTo>
                  <a:pt x="3" y="76"/>
                  <a:pt x="3" y="76"/>
                  <a:pt x="3" y="76"/>
                </a:cubicBezTo>
                <a:close/>
                <a:moveTo>
                  <a:pt x="1" y="77"/>
                </a:moveTo>
                <a:cubicBezTo>
                  <a:pt x="0" y="78"/>
                  <a:pt x="0" y="78"/>
                  <a:pt x="0" y="78"/>
                </a:cubicBezTo>
                <a:cubicBezTo>
                  <a:pt x="0" y="79"/>
                  <a:pt x="0" y="79"/>
                  <a:pt x="0" y="79"/>
                </a:cubicBezTo>
                <a:cubicBezTo>
                  <a:pt x="1" y="80"/>
                  <a:pt x="1" y="80"/>
                  <a:pt x="1" y="80"/>
                </a:cubicBezTo>
                <a:cubicBezTo>
                  <a:pt x="2" y="80"/>
                  <a:pt x="2" y="80"/>
                  <a:pt x="2" y="80"/>
                </a:cubicBezTo>
                <a:cubicBezTo>
                  <a:pt x="2" y="78"/>
                  <a:pt x="2" y="78"/>
                  <a:pt x="2" y="78"/>
                </a:cubicBezTo>
                <a:cubicBezTo>
                  <a:pt x="2" y="78"/>
                  <a:pt x="2" y="78"/>
                  <a:pt x="2" y="78"/>
                </a:cubicBezTo>
                <a:lnTo>
                  <a:pt x="1" y="77"/>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7" name="Freeform 25">
            <a:extLst>
              <a:ext uri="{FF2B5EF4-FFF2-40B4-BE49-F238E27FC236}">
                <a16:creationId xmlns:a16="http://schemas.microsoft.com/office/drawing/2014/main" id="{8981A820-1401-4BFF-CBAF-D3AD2D0B5D85}"/>
              </a:ext>
            </a:extLst>
          </p:cNvPr>
          <p:cNvSpPr>
            <a:spLocks noEditPoints="1"/>
          </p:cNvSpPr>
          <p:nvPr userDrawn="1"/>
        </p:nvSpPr>
        <p:spPr bwMode="auto">
          <a:xfrm>
            <a:off x="19131303" y="8968656"/>
            <a:ext cx="2870013" cy="1143000"/>
          </a:xfrm>
          <a:custGeom>
            <a:avLst/>
            <a:gdLst>
              <a:gd name="T0" fmla="*/ 276 w 289"/>
              <a:gd name="T1" fmla="*/ 90 h 115"/>
              <a:gd name="T2" fmla="*/ 261 w 289"/>
              <a:gd name="T3" fmla="*/ 74 h 115"/>
              <a:gd name="T4" fmla="*/ 240 w 289"/>
              <a:gd name="T5" fmla="*/ 70 h 115"/>
              <a:gd name="T6" fmla="*/ 238 w 289"/>
              <a:gd name="T7" fmla="*/ 58 h 115"/>
              <a:gd name="T8" fmla="*/ 247 w 289"/>
              <a:gd name="T9" fmla="*/ 51 h 115"/>
              <a:gd name="T10" fmla="*/ 265 w 289"/>
              <a:gd name="T11" fmla="*/ 56 h 115"/>
              <a:gd name="T12" fmla="*/ 224 w 289"/>
              <a:gd name="T13" fmla="*/ 44 h 115"/>
              <a:gd name="T14" fmla="*/ 190 w 289"/>
              <a:gd name="T15" fmla="*/ 21 h 115"/>
              <a:gd name="T16" fmla="*/ 207 w 289"/>
              <a:gd name="T17" fmla="*/ 47 h 115"/>
              <a:gd name="T18" fmla="*/ 212 w 289"/>
              <a:gd name="T19" fmla="*/ 33 h 115"/>
              <a:gd name="T20" fmla="*/ 204 w 289"/>
              <a:gd name="T21" fmla="*/ 49 h 115"/>
              <a:gd name="T22" fmla="*/ 210 w 289"/>
              <a:gd name="T23" fmla="*/ 67 h 115"/>
              <a:gd name="T24" fmla="*/ 221 w 289"/>
              <a:gd name="T25" fmla="*/ 67 h 115"/>
              <a:gd name="T26" fmla="*/ 194 w 289"/>
              <a:gd name="T27" fmla="*/ 67 h 115"/>
              <a:gd name="T28" fmla="*/ 192 w 289"/>
              <a:gd name="T29" fmla="*/ 56 h 115"/>
              <a:gd name="T30" fmla="*/ 175 w 289"/>
              <a:gd name="T31" fmla="*/ 77 h 115"/>
              <a:gd name="T32" fmla="*/ 175 w 289"/>
              <a:gd name="T33" fmla="*/ 56 h 115"/>
              <a:gd name="T34" fmla="*/ 168 w 289"/>
              <a:gd name="T35" fmla="*/ 47 h 115"/>
              <a:gd name="T36" fmla="*/ 185 w 289"/>
              <a:gd name="T37" fmla="*/ 35 h 115"/>
              <a:gd name="T38" fmla="*/ 155 w 289"/>
              <a:gd name="T39" fmla="*/ 48 h 115"/>
              <a:gd name="T40" fmla="*/ 153 w 289"/>
              <a:gd name="T41" fmla="*/ 80 h 115"/>
              <a:gd name="T42" fmla="*/ 165 w 289"/>
              <a:gd name="T43" fmla="*/ 71 h 115"/>
              <a:gd name="T44" fmla="*/ 171 w 289"/>
              <a:gd name="T45" fmla="*/ 65 h 115"/>
              <a:gd name="T46" fmla="*/ 171 w 289"/>
              <a:gd name="T47" fmla="*/ 48 h 115"/>
              <a:gd name="T48" fmla="*/ 151 w 289"/>
              <a:gd name="T49" fmla="*/ 12 h 115"/>
              <a:gd name="T50" fmla="*/ 132 w 289"/>
              <a:gd name="T51" fmla="*/ 68 h 115"/>
              <a:gd name="T52" fmla="*/ 90 w 289"/>
              <a:gd name="T53" fmla="*/ 52 h 115"/>
              <a:gd name="T54" fmla="*/ 130 w 289"/>
              <a:gd name="T55" fmla="*/ 16 h 115"/>
              <a:gd name="T56" fmla="*/ 146 w 289"/>
              <a:gd name="T57" fmla="*/ 35 h 115"/>
              <a:gd name="T58" fmla="*/ 132 w 289"/>
              <a:gd name="T59" fmla="*/ 56 h 115"/>
              <a:gd name="T60" fmla="*/ 117 w 289"/>
              <a:gd name="T61" fmla="*/ 66 h 115"/>
              <a:gd name="T62" fmla="*/ 95 w 289"/>
              <a:gd name="T63" fmla="*/ 61 h 115"/>
              <a:gd name="T64" fmla="*/ 250 w 289"/>
              <a:gd name="T65" fmla="*/ 49 h 115"/>
              <a:gd name="T66" fmla="*/ 256 w 289"/>
              <a:gd name="T67" fmla="*/ 47 h 115"/>
              <a:gd name="T68" fmla="*/ 247 w 289"/>
              <a:gd name="T69" fmla="*/ 87 h 115"/>
              <a:gd name="T70" fmla="*/ 245 w 289"/>
              <a:gd name="T71" fmla="*/ 80 h 115"/>
              <a:gd name="T72" fmla="*/ 224 w 289"/>
              <a:gd name="T73" fmla="*/ 92 h 115"/>
              <a:gd name="T74" fmla="*/ 219 w 289"/>
              <a:gd name="T75" fmla="*/ 84 h 115"/>
              <a:gd name="T76" fmla="*/ 201 w 289"/>
              <a:gd name="T77" fmla="*/ 93 h 115"/>
              <a:gd name="T78" fmla="*/ 183 w 289"/>
              <a:gd name="T79" fmla="*/ 104 h 115"/>
              <a:gd name="T80" fmla="*/ 166 w 289"/>
              <a:gd name="T81" fmla="*/ 111 h 115"/>
              <a:gd name="T82" fmla="*/ 127 w 289"/>
              <a:gd name="T83" fmla="*/ 88 h 115"/>
              <a:gd name="T84" fmla="*/ 186 w 289"/>
              <a:gd name="T85" fmla="*/ 97 h 115"/>
              <a:gd name="T86" fmla="*/ 153 w 289"/>
              <a:gd name="T87" fmla="*/ 98 h 115"/>
              <a:gd name="T88" fmla="*/ 157 w 289"/>
              <a:gd name="T89" fmla="*/ 101 h 115"/>
              <a:gd name="T90" fmla="*/ 148 w 289"/>
              <a:gd name="T91" fmla="*/ 101 h 115"/>
              <a:gd name="T92" fmla="*/ 133 w 289"/>
              <a:gd name="T93" fmla="*/ 101 h 115"/>
              <a:gd name="T94" fmla="*/ 274 w 289"/>
              <a:gd name="T95" fmla="*/ 96 h 115"/>
              <a:gd name="T96" fmla="*/ 115 w 289"/>
              <a:gd name="T97" fmla="*/ 89 h 115"/>
              <a:gd name="T98" fmla="*/ 96 w 289"/>
              <a:gd name="T99" fmla="*/ 88 h 115"/>
              <a:gd name="T100" fmla="*/ 115 w 289"/>
              <a:gd name="T101" fmla="*/ 98 h 115"/>
              <a:gd name="T102" fmla="*/ 70 w 289"/>
              <a:gd name="T103" fmla="*/ 89 h 115"/>
              <a:gd name="T104" fmla="*/ 67 w 289"/>
              <a:gd name="T105" fmla="*/ 23 h 115"/>
              <a:gd name="T106" fmla="*/ 79 w 289"/>
              <a:gd name="T107" fmla="*/ 65 h 115"/>
              <a:gd name="T108" fmla="*/ 69 w 289"/>
              <a:gd name="T109" fmla="*/ 55 h 115"/>
              <a:gd name="T110" fmla="*/ 44 w 289"/>
              <a:gd name="T111" fmla="*/ 34 h 115"/>
              <a:gd name="T112" fmla="*/ 21 w 289"/>
              <a:gd name="T113" fmla="*/ 51 h 115"/>
              <a:gd name="T114" fmla="*/ 12 w 289"/>
              <a:gd name="T115" fmla="*/ 34 h 115"/>
              <a:gd name="T116" fmla="*/ 23 w 289"/>
              <a:gd name="T117" fmla="*/ 32 h 115"/>
              <a:gd name="T118" fmla="*/ 59 w 289"/>
              <a:gd name="T119" fmla="*/ 81 h 115"/>
              <a:gd name="T120" fmla="*/ 60 w 289"/>
              <a:gd name="T121" fmla="*/ 55 h 115"/>
              <a:gd name="T122" fmla="*/ 42 w 289"/>
              <a:gd name="T123" fmla="*/ 33 h 115"/>
              <a:gd name="T124" fmla="*/ 6 w 289"/>
              <a:gd name="T125" fmla="*/ 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9" h="115">
                <a:moveTo>
                  <a:pt x="289" y="60"/>
                </a:moveTo>
                <a:cubicBezTo>
                  <a:pt x="288" y="84"/>
                  <a:pt x="288" y="84"/>
                  <a:pt x="288" y="84"/>
                </a:cubicBezTo>
                <a:cubicBezTo>
                  <a:pt x="288" y="86"/>
                  <a:pt x="288" y="86"/>
                  <a:pt x="288" y="86"/>
                </a:cubicBezTo>
                <a:cubicBezTo>
                  <a:pt x="288" y="87"/>
                  <a:pt x="288" y="87"/>
                  <a:pt x="288" y="87"/>
                </a:cubicBezTo>
                <a:cubicBezTo>
                  <a:pt x="288" y="87"/>
                  <a:pt x="288" y="87"/>
                  <a:pt x="288" y="87"/>
                </a:cubicBezTo>
                <a:cubicBezTo>
                  <a:pt x="288" y="102"/>
                  <a:pt x="288" y="102"/>
                  <a:pt x="288" y="102"/>
                </a:cubicBezTo>
                <a:cubicBezTo>
                  <a:pt x="287" y="102"/>
                  <a:pt x="287" y="102"/>
                  <a:pt x="287" y="102"/>
                </a:cubicBezTo>
                <a:cubicBezTo>
                  <a:pt x="286" y="102"/>
                  <a:pt x="286" y="102"/>
                  <a:pt x="286" y="102"/>
                </a:cubicBezTo>
                <a:cubicBezTo>
                  <a:pt x="284" y="100"/>
                  <a:pt x="284" y="100"/>
                  <a:pt x="284" y="100"/>
                </a:cubicBezTo>
                <a:cubicBezTo>
                  <a:pt x="284" y="99"/>
                  <a:pt x="284" y="99"/>
                  <a:pt x="284" y="99"/>
                </a:cubicBezTo>
                <a:cubicBezTo>
                  <a:pt x="284" y="99"/>
                  <a:pt x="284" y="99"/>
                  <a:pt x="284" y="99"/>
                </a:cubicBezTo>
                <a:cubicBezTo>
                  <a:pt x="282" y="97"/>
                  <a:pt x="282" y="97"/>
                  <a:pt x="282" y="97"/>
                </a:cubicBezTo>
                <a:cubicBezTo>
                  <a:pt x="282" y="97"/>
                  <a:pt x="282" y="97"/>
                  <a:pt x="282" y="97"/>
                </a:cubicBezTo>
                <a:cubicBezTo>
                  <a:pt x="282" y="96"/>
                  <a:pt x="282" y="96"/>
                  <a:pt x="282" y="96"/>
                </a:cubicBezTo>
                <a:cubicBezTo>
                  <a:pt x="282" y="95"/>
                  <a:pt x="282" y="95"/>
                  <a:pt x="282" y="95"/>
                </a:cubicBezTo>
                <a:cubicBezTo>
                  <a:pt x="282" y="94"/>
                  <a:pt x="282" y="94"/>
                  <a:pt x="282" y="94"/>
                </a:cubicBezTo>
                <a:cubicBezTo>
                  <a:pt x="282" y="95"/>
                  <a:pt x="282" y="95"/>
                  <a:pt x="282" y="95"/>
                </a:cubicBezTo>
                <a:cubicBezTo>
                  <a:pt x="281" y="96"/>
                  <a:pt x="281" y="96"/>
                  <a:pt x="281" y="96"/>
                </a:cubicBezTo>
                <a:cubicBezTo>
                  <a:pt x="279" y="96"/>
                  <a:pt x="279" y="96"/>
                  <a:pt x="279" y="96"/>
                </a:cubicBezTo>
                <a:cubicBezTo>
                  <a:pt x="278" y="96"/>
                  <a:pt x="278" y="96"/>
                  <a:pt x="278" y="96"/>
                </a:cubicBezTo>
                <a:cubicBezTo>
                  <a:pt x="277" y="96"/>
                  <a:pt x="277" y="96"/>
                  <a:pt x="277" y="96"/>
                </a:cubicBezTo>
                <a:cubicBezTo>
                  <a:pt x="277" y="96"/>
                  <a:pt x="277" y="96"/>
                  <a:pt x="277" y="96"/>
                </a:cubicBezTo>
                <a:cubicBezTo>
                  <a:pt x="275" y="96"/>
                  <a:pt x="275" y="96"/>
                  <a:pt x="275" y="96"/>
                </a:cubicBezTo>
                <a:cubicBezTo>
                  <a:pt x="274" y="95"/>
                  <a:pt x="274" y="95"/>
                  <a:pt x="274" y="95"/>
                </a:cubicBezTo>
                <a:cubicBezTo>
                  <a:pt x="275" y="95"/>
                  <a:pt x="275" y="95"/>
                  <a:pt x="275" y="95"/>
                </a:cubicBezTo>
                <a:cubicBezTo>
                  <a:pt x="275" y="94"/>
                  <a:pt x="275" y="94"/>
                  <a:pt x="275" y="94"/>
                </a:cubicBezTo>
                <a:cubicBezTo>
                  <a:pt x="275" y="93"/>
                  <a:pt x="275" y="93"/>
                  <a:pt x="275" y="93"/>
                </a:cubicBezTo>
                <a:cubicBezTo>
                  <a:pt x="276" y="93"/>
                  <a:pt x="276" y="93"/>
                  <a:pt x="276" y="93"/>
                </a:cubicBezTo>
                <a:cubicBezTo>
                  <a:pt x="276" y="91"/>
                  <a:pt x="276" y="91"/>
                  <a:pt x="276" y="91"/>
                </a:cubicBezTo>
                <a:cubicBezTo>
                  <a:pt x="275" y="91"/>
                  <a:pt x="275" y="91"/>
                  <a:pt x="275" y="91"/>
                </a:cubicBezTo>
                <a:cubicBezTo>
                  <a:pt x="274" y="90"/>
                  <a:pt x="274" y="90"/>
                  <a:pt x="274" y="90"/>
                </a:cubicBezTo>
                <a:cubicBezTo>
                  <a:pt x="275" y="90"/>
                  <a:pt x="275" y="90"/>
                  <a:pt x="275" y="90"/>
                </a:cubicBezTo>
                <a:cubicBezTo>
                  <a:pt x="276" y="90"/>
                  <a:pt x="276" y="90"/>
                  <a:pt x="276" y="90"/>
                </a:cubicBezTo>
                <a:cubicBezTo>
                  <a:pt x="277" y="90"/>
                  <a:pt x="277" y="90"/>
                  <a:pt x="277" y="90"/>
                </a:cubicBezTo>
                <a:cubicBezTo>
                  <a:pt x="278" y="90"/>
                  <a:pt x="278" y="90"/>
                  <a:pt x="278" y="90"/>
                </a:cubicBezTo>
                <a:cubicBezTo>
                  <a:pt x="277" y="89"/>
                  <a:pt x="277" y="89"/>
                  <a:pt x="277" y="89"/>
                </a:cubicBezTo>
                <a:cubicBezTo>
                  <a:pt x="275" y="90"/>
                  <a:pt x="275" y="90"/>
                  <a:pt x="275" y="90"/>
                </a:cubicBezTo>
                <a:cubicBezTo>
                  <a:pt x="274" y="89"/>
                  <a:pt x="274" y="89"/>
                  <a:pt x="274" y="89"/>
                </a:cubicBezTo>
                <a:cubicBezTo>
                  <a:pt x="273" y="88"/>
                  <a:pt x="273" y="88"/>
                  <a:pt x="273" y="88"/>
                </a:cubicBezTo>
                <a:cubicBezTo>
                  <a:pt x="273" y="87"/>
                  <a:pt x="273" y="87"/>
                  <a:pt x="273" y="87"/>
                </a:cubicBezTo>
                <a:cubicBezTo>
                  <a:pt x="274" y="87"/>
                  <a:pt x="274" y="87"/>
                  <a:pt x="274" y="87"/>
                </a:cubicBezTo>
                <a:cubicBezTo>
                  <a:pt x="275" y="87"/>
                  <a:pt x="275" y="87"/>
                  <a:pt x="275" y="87"/>
                </a:cubicBezTo>
                <a:cubicBezTo>
                  <a:pt x="275" y="87"/>
                  <a:pt x="275" y="87"/>
                  <a:pt x="275" y="87"/>
                </a:cubicBezTo>
                <a:cubicBezTo>
                  <a:pt x="273" y="86"/>
                  <a:pt x="273" y="86"/>
                  <a:pt x="273" y="86"/>
                </a:cubicBezTo>
                <a:cubicBezTo>
                  <a:pt x="272" y="85"/>
                  <a:pt x="272" y="85"/>
                  <a:pt x="272" y="85"/>
                </a:cubicBezTo>
                <a:cubicBezTo>
                  <a:pt x="271" y="84"/>
                  <a:pt x="271" y="84"/>
                  <a:pt x="271" y="84"/>
                </a:cubicBezTo>
                <a:cubicBezTo>
                  <a:pt x="272" y="83"/>
                  <a:pt x="272" y="83"/>
                  <a:pt x="272" y="83"/>
                </a:cubicBezTo>
                <a:cubicBezTo>
                  <a:pt x="270" y="81"/>
                  <a:pt x="270" y="81"/>
                  <a:pt x="270" y="81"/>
                </a:cubicBezTo>
                <a:cubicBezTo>
                  <a:pt x="270" y="81"/>
                  <a:pt x="270" y="81"/>
                  <a:pt x="270" y="81"/>
                </a:cubicBezTo>
                <a:cubicBezTo>
                  <a:pt x="272" y="80"/>
                  <a:pt x="272" y="80"/>
                  <a:pt x="272" y="80"/>
                </a:cubicBezTo>
                <a:cubicBezTo>
                  <a:pt x="270" y="80"/>
                  <a:pt x="270" y="80"/>
                  <a:pt x="270" y="80"/>
                </a:cubicBezTo>
                <a:cubicBezTo>
                  <a:pt x="270" y="79"/>
                  <a:pt x="270" y="79"/>
                  <a:pt x="270" y="79"/>
                </a:cubicBezTo>
                <a:cubicBezTo>
                  <a:pt x="270" y="79"/>
                  <a:pt x="270" y="79"/>
                  <a:pt x="270" y="79"/>
                </a:cubicBezTo>
                <a:cubicBezTo>
                  <a:pt x="270" y="78"/>
                  <a:pt x="270" y="78"/>
                  <a:pt x="270" y="78"/>
                </a:cubicBezTo>
                <a:cubicBezTo>
                  <a:pt x="270" y="78"/>
                  <a:pt x="270" y="78"/>
                  <a:pt x="270" y="78"/>
                </a:cubicBezTo>
                <a:cubicBezTo>
                  <a:pt x="269" y="78"/>
                  <a:pt x="269" y="78"/>
                  <a:pt x="269" y="78"/>
                </a:cubicBezTo>
                <a:cubicBezTo>
                  <a:pt x="269" y="77"/>
                  <a:pt x="269" y="77"/>
                  <a:pt x="269" y="77"/>
                </a:cubicBezTo>
                <a:cubicBezTo>
                  <a:pt x="268" y="78"/>
                  <a:pt x="268" y="78"/>
                  <a:pt x="268" y="78"/>
                </a:cubicBezTo>
                <a:cubicBezTo>
                  <a:pt x="267" y="77"/>
                  <a:pt x="267" y="77"/>
                  <a:pt x="267" y="77"/>
                </a:cubicBezTo>
                <a:cubicBezTo>
                  <a:pt x="268" y="76"/>
                  <a:pt x="268" y="76"/>
                  <a:pt x="268" y="76"/>
                </a:cubicBezTo>
                <a:cubicBezTo>
                  <a:pt x="268" y="77"/>
                  <a:pt x="268" y="77"/>
                  <a:pt x="268" y="77"/>
                </a:cubicBezTo>
                <a:cubicBezTo>
                  <a:pt x="266" y="77"/>
                  <a:pt x="266" y="77"/>
                  <a:pt x="266" y="77"/>
                </a:cubicBezTo>
                <a:cubicBezTo>
                  <a:pt x="265" y="76"/>
                  <a:pt x="265" y="76"/>
                  <a:pt x="265" y="76"/>
                </a:cubicBezTo>
                <a:cubicBezTo>
                  <a:pt x="264" y="75"/>
                  <a:pt x="264" y="75"/>
                  <a:pt x="264" y="75"/>
                </a:cubicBezTo>
                <a:cubicBezTo>
                  <a:pt x="263" y="74"/>
                  <a:pt x="263" y="74"/>
                  <a:pt x="263" y="74"/>
                </a:cubicBezTo>
                <a:cubicBezTo>
                  <a:pt x="261" y="74"/>
                  <a:pt x="261" y="74"/>
                  <a:pt x="261" y="74"/>
                </a:cubicBezTo>
                <a:cubicBezTo>
                  <a:pt x="258" y="73"/>
                  <a:pt x="258" y="73"/>
                  <a:pt x="258" y="73"/>
                </a:cubicBezTo>
                <a:cubicBezTo>
                  <a:pt x="254" y="72"/>
                  <a:pt x="254" y="72"/>
                  <a:pt x="254" y="72"/>
                </a:cubicBezTo>
                <a:cubicBezTo>
                  <a:pt x="252" y="72"/>
                  <a:pt x="252" y="72"/>
                  <a:pt x="252" y="72"/>
                </a:cubicBezTo>
                <a:cubicBezTo>
                  <a:pt x="251" y="71"/>
                  <a:pt x="251" y="71"/>
                  <a:pt x="251" y="71"/>
                </a:cubicBezTo>
                <a:cubicBezTo>
                  <a:pt x="250" y="71"/>
                  <a:pt x="250" y="71"/>
                  <a:pt x="250" y="71"/>
                </a:cubicBezTo>
                <a:cubicBezTo>
                  <a:pt x="250" y="70"/>
                  <a:pt x="250" y="70"/>
                  <a:pt x="250" y="70"/>
                </a:cubicBezTo>
                <a:cubicBezTo>
                  <a:pt x="249" y="70"/>
                  <a:pt x="249" y="70"/>
                  <a:pt x="249" y="70"/>
                </a:cubicBezTo>
                <a:cubicBezTo>
                  <a:pt x="249" y="69"/>
                  <a:pt x="249" y="69"/>
                  <a:pt x="249" y="69"/>
                </a:cubicBezTo>
                <a:cubicBezTo>
                  <a:pt x="250" y="69"/>
                  <a:pt x="250" y="69"/>
                  <a:pt x="250" y="69"/>
                </a:cubicBezTo>
                <a:cubicBezTo>
                  <a:pt x="250" y="69"/>
                  <a:pt x="250" y="69"/>
                  <a:pt x="250" y="69"/>
                </a:cubicBezTo>
                <a:cubicBezTo>
                  <a:pt x="250" y="69"/>
                  <a:pt x="250" y="69"/>
                  <a:pt x="250" y="69"/>
                </a:cubicBezTo>
                <a:cubicBezTo>
                  <a:pt x="249" y="69"/>
                  <a:pt x="249" y="69"/>
                  <a:pt x="249" y="69"/>
                </a:cubicBezTo>
                <a:cubicBezTo>
                  <a:pt x="248" y="69"/>
                  <a:pt x="248" y="69"/>
                  <a:pt x="248" y="69"/>
                </a:cubicBezTo>
                <a:cubicBezTo>
                  <a:pt x="247" y="69"/>
                  <a:pt x="247" y="69"/>
                  <a:pt x="247" y="69"/>
                </a:cubicBezTo>
                <a:cubicBezTo>
                  <a:pt x="247" y="68"/>
                  <a:pt x="247" y="68"/>
                  <a:pt x="247" y="68"/>
                </a:cubicBezTo>
                <a:cubicBezTo>
                  <a:pt x="247" y="68"/>
                  <a:pt x="247" y="68"/>
                  <a:pt x="247" y="68"/>
                </a:cubicBezTo>
                <a:cubicBezTo>
                  <a:pt x="246" y="69"/>
                  <a:pt x="246" y="69"/>
                  <a:pt x="246" y="69"/>
                </a:cubicBezTo>
                <a:cubicBezTo>
                  <a:pt x="246" y="67"/>
                  <a:pt x="246" y="67"/>
                  <a:pt x="246" y="67"/>
                </a:cubicBezTo>
                <a:cubicBezTo>
                  <a:pt x="245" y="67"/>
                  <a:pt x="245" y="67"/>
                  <a:pt x="245" y="67"/>
                </a:cubicBezTo>
                <a:cubicBezTo>
                  <a:pt x="245" y="67"/>
                  <a:pt x="245" y="67"/>
                  <a:pt x="245" y="67"/>
                </a:cubicBezTo>
                <a:cubicBezTo>
                  <a:pt x="244" y="68"/>
                  <a:pt x="244" y="68"/>
                  <a:pt x="244" y="68"/>
                </a:cubicBezTo>
                <a:cubicBezTo>
                  <a:pt x="244" y="67"/>
                  <a:pt x="244" y="67"/>
                  <a:pt x="244" y="67"/>
                </a:cubicBezTo>
                <a:cubicBezTo>
                  <a:pt x="243" y="65"/>
                  <a:pt x="243" y="65"/>
                  <a:pt x="243" y="65"/>
                </a:cubicBezTo>
                <a:cubicBezTo>
                  <a:pt x="243" y="64"/>
                  <a:pt x="243" y="64"/>
                  <a:pt x="243" y="64"/>
                </a:cubicBezTo>
                <a:cubicBezTo>
                  <a:pt x="244" y="63"/>
                  <a:pt x="244" y="63"/>
                  <a:pt x="244" y="63"/>
                </a:cubicBezTo>
                <a:cubicBezTo>
                  <a:pt x="244" y="62"/>
                  <a:pt x="244" y="62"/>
                  <a:pt x="244" y="62"/>
                </a:cubicBezTo>
                <a:cubicBezTo>
                  <a:pt x="243" y="63"/>
                  <a:pt x="243" y="63"/>
                  <a:pt x="243" y="63"/>
                </a:cubicBezTo>
                <a:cubicBezTo>
                  <a:pt x="242" y="64"/>
                  <a:pt x="242" y="64"/>
                  <a:pt x="242" y="64"/>
                </a:cubicBezTo>
                <a:cubicBezTo>
                  <a:pt x="242" y="65"/>
                  <a:pt x="242" y="65"/>
                  <a:pt x="242" y="65"/>
                </a:cubicBezTo>
                <a:cubicBezTo>
                  <a:pt x="242" y="65"/>
                  <a:pt x="242" y="65"/>
                  <a:pt x="242" y="65"/>
                </a:cubicBezTo>
                <a:cubicBezTo>
                  <a:pt x="241" y="67"/>
                  <a:pt x="241" y="67"/>
                  <a:pt x="241" y="67"/>
                </a:cubicBezTo>
                <a:cubicBezTo>
                  <a:pt x="241" y="68"/>
                  <a:pt x="241" y="68"/>
                  <a:pt x="241" y="68"/>
                </a:cubicBezTo>
                <a:cubicBezTo>
                  <a:pt x="240" y="70"/>
                  <a:pt x="240" y="70"/>
                  <a:pt x="240" y="70"/>
                </a:cubicBezTo>
                <a:cubicBezTo>
                  <a:pt x="238" y="70"/>
                  <a:pt x="238" y="70"/>
                  <a:pt x="238" y="70"/>
                </a:cubicBezTo>
                <a:cubicBezTo>
                  <a:pt x="237" y="70"/>
                  <a:pt x="237" y="70"/>
                  <a:pt x="237" y="70"/>
                </a:cubicBezTo>
                <a:cubicBezTo>
                  <a:pt x="236" y="68"/>
                  <a:pt x="236" y="68"/>
                  <a:pt x="236" y="68"/>
                </a:cubicBezTo>
                <a:cubicBezTo>
                  <a:pt x="236" y="67"/>
                  <a:pt x="236" y="67"/>
                  <a:pt x="236" y="67"/>
                </a:cubicBezTo>
                <a:cubicBezTo>
                  <a:pt x="237" y="67"/>
                  <a:pt x="237" y="67"/>
                  <a:pt x="237" y="67"/>
                </a:cubicBezTo>
                <a:cubicBezTo>
                  <a:pt x="237" y="66"/>
                  <a:pt x="237" y="66"/>
                  <a:pt x="237" y="66"/>
                </a:cubicBezTo>
                <a:cubicBezTo>
                  <a:pt x="237" y="65"/>
                  <a:pt x="237" y="65"/>
                  <a:pt x="237" y="65"/>
                </a:cubicBezTo>
                <a:cubicBezTo>
                  <a:pt x="236" y="65"/>
                  <a:pt x="236" y="65"/>
                  <a:pt x="236" y="65"/>
                </a:cubicBezTo>
                <a:cubicBezTo>
                  <a:pt x="236" y="65"/>
                  <a:pt x="236" y="65"/>
                  <a:pt x="236" y="65"/>
                </a:cubicBezTo>
                <a:cubicBezTo>
                  <a:pt x="235" y="63"/>
                  <a:pt x="235" y="63"/>
                  <a:pt x="235" y="63"/>
                </a:cubicBezTo>
                <a:cubicBezTo>
                  <a:pt x="234" y="63"/>
                  <a:pt x="234" y="63"/>
                  <a:pt x="234" y="63"/>
                </a:cubicBezTo>
                <a:cubicBezTo>
                  <a:pt x="232" y="62"/>
                  <a:pt x="232" y="62"/>
                  <a:pt x="232" y="62"/>
                </a:cubicBezTo>
                <a:cubicBezTo>
                  <a:pt x="232" y="62"/>
                  <a:pt x="232" y="62"/>
                  <a:pt x="232" y="62"/>
                </a:cubicBezTo>
                <a:cubicBezTo>
                  <a:pt x="233" y="61"/>
                  <a:pt x="233" y="61"/>
                  <a:pt x="233" y="61"/>
                </a:cubicBezTo>
                <a:cubicBezTo>
                  <a:pt x="234" y="61"/>
                  <a:pt x="234" y="61"/>
                  <a:pt x="234" y="61"/>
                </a:cubicBezTo>
                <a:cubicBezTo>
                  <a:pt x="235" y="61"/>
                  <a:pt x="235" y="61"/>
                  <a:pt x="235" y="61"/>
                </a:cubicBezTo>
                <a:cubicBezTo>
                  <a:pt x="236" y="61"/>
                  <a:pt x="236" y="61"/>
                  <a:pt x="236" y="61"/>
                </a:cubicBezTo>
                <a:cubicBezTo>
                  <a:pt x="237" y="62"/>
                  <a:pt x="237" y="62"/>
                  <a:pt x="237" y="62"/>
                </a:cubicBezTo>
                <a:cubicBezTo>
                  <a:pt x="238" y="61"/>
                  <a:pt x="238" y="61"/>
                  <a:pt x="238" y="61"/>
                </a:cubicBezTo>
                <a:cubicBezTo>
                  <a:pt x="239" y="60"/>
                  <a:pt x="239" y="60"/>
                  <a:pt x="239" y="60"/>
                </a:cubicBezTo>
                <a:cubicBezTo>
                  <a:pt x="240" y="59"/>
                  <a:pt x="240" y="59"/>
                  <a:pt x="240" y="59"/>
                </a:cubicBezTo>
                <a:cubicBezTo>
                  <a:pt x="242" y="60"/>
                  <a:pt x="242" y="60"/>
                  <a:pt x="242" y="60"/>
                </a:cubicBezTo>
                <a:cubicBezTo>
                  <a:pt x="242" y="61"/>
                  <a:pt x="242" y="61"/>
                  <a:pt x="242" y="61"/>
                </a:cubicBezTo>
                <a:cubicBezTo>
                  <a:pt x="243" y="60"/>
                  <a:pt x="243" y="60"/>
                  <a:pt x="243" y="60"/>
                </a:cubicBezTo>
                <a:cubicBezTo>
                  <a:pt x="243" y="59"/>
                  <a:pt x="243" y="59"/>
                  <a:pt x="243" y="59"/>
                </a:cubicBezTo>
                <a:cubicBezTo>
                  <a:pt x="244" y="59"/>
                  <a:pt x="244" y="59"/>
                  <a:pt x="244" y="59"/>
                </a:cubicBezTo>
                <a:cubicBezTo>
                  <a:pt x="244" y="58"/>
                  <a:pt x="244" y="58"/>
                  <a:pt x="244" y="58"/>
                </a:cubicBezTo>
                <a:cubicBezTo>
                  <a:pt x="244" y="57"/>
                  <a:pt x="244" y="57"/>
                  <a:pt x="244" y="57"/>
                </a:cubicBezTo>
                <a:cubicBezTo>
                  <a:pt x="241" y="57"/>
                  <a:pt x="241" y="57"/>
                  <a:pt x="241" y="57"/>
                </a:cubicBezTo>
                <a:cubicBezTo>
                  <a:pt x="241" y="57"/>
                  <a:pt x="241" y="57"/>
                  <a:pt x="241" y="57"/>
                </a:cubicBezTo>
                <a:cubicBezTo>
                  <a:pt x="240" y="58"/>
                  <a:pt x="240" y="58"/>
                  <a:pt x="240" y="58"/>
                </a:cubicBezTo>
                <a:cubicBezTo>
                  <a:pt x="240" y="57"/>
                  <a:pt x="240" y="57"/>
                  <a:pt x="240" y="57"/>
                </a:cubicBezTo>
                <a:cubicBezTo>
                  <a:pt x="238" y="58"/>
                  <a:pt x="238" y="58"/>
                  <a:pt x="238" y="58"/>
                </a:cubicBezTo>
                <a:cubicBezTo>
                  <a:pt x="237" y="58"/>
                  <a:pt x="237" y="58"/>
                  <a:pt x="237" y="58"/>
                </a:cubicBezTo>
                <a:cubicBezTo>
                  <a:pt x="236" y="58"/>
                  <a:pt x="236" y="58"/>
                  <a:pt x="236" y="58"/>
                </a:cubicBezTo>
                <a:cubicBezTo>
                  <a:pt x="236" y="58"/>
                  <a:pt x="236" y="58"/>
                  <a:pt x="236" y="58"/>
                </a:cubicBezTo>
                <a:cubicBezTo>
                  <a:pt x="234" y="58"/>
                  <a:pt x="234" y="58"/>
                  <a:pt x="234" y="58"/>
                </a:cubicBezTo>
                <a:cubicBezTo>
                  <a:pt x="233" y="58"/>
                  <a:pt x="233" y="58"/>
                  <a:pt x="233" y="58"/>
                </a:cubicBezTo>
                <a:cubicBezTo>
                  <a:pt x="232" y="57"/>
                  <a:pt x="232" y="57"/>
                  <a:pt x="232" y="57"/>
                </a:cubicBezTo>
                <a:cubicBezTo>
                  <a:pt x="232" y="55"/>
                  <a:pt x="232" y="55"/>
                  <a:pt x="232" y="55"/>
                </a:cubicBezTo>
                <a:cubicBezTo>
                  <a:pt x="232" y="55"/>
                  <a:pt x="232" y="55"/>
                  <a:pt x="232" y="55"/>
                </a:cubicBezTo>
                <a:cubicBezTo>
                  <a:pt x="231" y="54"/>
                  <a:pt x="231" y="54"/>
                  <a:pt x="231" y="54"/>
                </a:cubicBezTo>
                <a:cubicBezTo>
                  <a:pt x="229" y="53"/>
                  <a:pt x="229" y="53"/>
                  <a:pt x="229" y="53"/>
                </a:cubicBezTo>
                <a:cubicBezTo>
                  <a:pt x="229" y="52"/>
                  <a:pt x="229" y="52"/>
                  <a:pt x="229" y="52"/>
                </a:cubicBezTo>
                <a:cubicBezTo>
                  <a:pt x="228" y="52"/>
                  <a:pt x="228" y="52"/>
                  <a:pt x="228" y="52"/>
                </a:cubicBezTo>
                <a:cubicBezTo>
                  <a:pt x="227" y="53"/>
                  <a:pt x="227" y="53"/>
                  <a:pt x="227" y="53"/>
                </a:cubicBezTo>
                <a:cubicBezTo>
                  <a:pt x="226" y="53"/>
                  <a:pt x="226" y="53"/>
                  <a:pt x="226" y="53"/>
                </a:cubicBezTo>
                <a:cubicBezTo>
                  <a:pt x="226" y="52"/>
                  <a:pt x="226" y="52"/>
                  <a:pt x="226" y="52"/>
                </a:cubicBezTo>
                <a:cubicBezTo>
                  <a:pt x="228" y="51"/>
                  <a:pt x="228" y="51"/>
                  <a:pt x="228" y="51"/>
                </a:cubicBezTo>
                <a:cubicBezTo>
                  <a:pt x="228" y="50"/>
                  <a:pt x="228" y="50"/>
                  <a:pt x="228" y="50"/>
                </a:cubicBezTo>
                <a:cubicBezTo>
                  <a:pt x="227" y="49"/>
                  <a:pt x="227" y="49"/>
                  <a:pt x="227" y="49"/>
                </a:cubicBezTo>
                <a:cubicBezTo>
                  <a:pt x="228" y="48"/>
                  <a:pt x="228" y="48"/>
                  <a:pt x="228" y="48"/>
                </a:cubicBezTo>
                <a:cubicBezTo>
                  <a:pt x="230" y="48"/>
                  <a:pt x="230" y="48"/>
                  <a:pt x="230" y="48"/>
                </a:cubicBezTo>
                <a:cubicBezTo>
                  <a:pt x="231" y="48"/>
                  <a:pt x="231" y="48"/>
                  <a:pt x="231" y="48"/>
                </a:cubicBezTo>
                <a:cubicBezTo>
                  <a:pt x="232" y="47"/>
                  <a:pt x="232" y="47"/>
                  <a:pt x="232" y="47"/>
                </a:cubicBezTo>
                <a:cubicBezTo>
                  <a:pt x="234" y="46"/>
                  <a:pt x="234" y="46"/>
                  <a:pt x="234" y="46"/>
                </a:cubicBezTo>
                <a:cubicBezTo>
                  <a:pt x="234" y="46"/>
                  <a:pt x="234" y="46"/>
                  <a:pt x="234" y="46"/>
                </a:cubicBezTo>
                <a:cubicBezTo>
                  <a:pt x="236" y="45"/>
                  <a:pt x="236" y="45"/>
                  <a:pt x="236" y="45"/>
                </a:cubicBezTo>
                <a:cubicBezTo>
                  <a:pt x="239" y="46"/>
                  <a:pt x="239" y="46"/>
                  <a:pt x="239" y="46"/>
                </a:cubicBezTo>
                <a:cubicBezTo>
                  <a:pt x="241" y="48"/>
                  <a:pt x="241" y="48"/>
                  <a:pt x="241" y="48"/>
                </a:cubicBezTo>
                <a:cubicBezTo>
                  <a:pt x="243" y="48"/>
                  <a:pt x="243" y="48"/>
                  <a:pt x="243" y="48"/>
                </a:cubicBezTo>
                <a:cubicBezTo>
                  <a:pt x="245" y="48"/>
                  <a:pt x="245" y="48"/>
                  <a:pt x="245" y="48"/>
                </a:cubicBezTo>
                <a:cubicBezTo>
                  <a:pt x="246" y="48"/>
                  <a:pt x="246" y="48"/>
                  <a:pt x="246" y="48"/>
                </a:cubicBezTo>
                <a:cubicBezTo>
                  <a:pt x="245" y="49"/>
                  <a:pt x="245" y="49"/>
                  <a:pt x="245" y="49"/>
                </a:cubicBezTo>
                <a:cubicBezTo>
                  <a:pt x="245" y="51"/>
                  <a:pt x="245" y="51"/>
                  <a:pt x="245" y="51"/>
                </a:cubicBezTo>
                <a:cubicBezTo>
                  <a:pt x="247" y="51"/>
                  <a:pt x="247" y="51"/>
                  <a:pt x="247" y="51"/>
                </a:cubicBezTo>
                <a:cubicBezTo>
                  <a:pt x="247" y="53"/>
                  <a:pt x="247" y="53"/>
                  <a:pt x="247" y="53"/>
                </a:cubicBezTo>
                <a:cubicBezTo>
                  <a:pt x="246" y="54"/>
                  <a:pt x="246" y="54"/>
                  <a:pt x="246" y="54"/>
                </a:cubicBezTo>
                <a:cubicBezTo>
                  <a:pt x="245" y="55"/>
                  <a:pt x="245" y="55"/>
                  <a:pt x="245" y="55"/>
                </a:cubicBezTo>
                <a:cubicBezTo>
                  <a:pt x="246" y="57"/>
                  <a:pt x="246" y="57"/>
                  <a:pt x="246" y="57"/>
                </a:cubicBezTo>
                <a:cubicBezTo>
                  <a:pt x="246" y="59"/>
                  <a:pt x="246" y="59"/>
                  <a:pt x="246" y="59"/>
                </a:cubicBezTo>
                <a:cubicBezTo>
                  <a:pt x="247" y="61"/>
                  <a:pt x="247" y="61"/>
                  <a:pt x="247" y="61"/>
                </a:cubicBezTo>
                <a:cubicBezTo>
                  <a:pt x="248" y="62"/>
                  <a:pt x="248" y="62"/>
                  <a:pt x="248" y="62"/>
                </a:cubicBezTo>
                <a:cubicBezTo>
                  <a:pt x="248" y="62"/>
                  <a:pt x="248" y="62"/>
                  <a:pt x="248" y="62"/>
                </a:cubicBezTo>
                <a:cubicBezTo>
                  <a:pt x="248" y="60"/>
                  <a:pt x="248" y="60"/>
                  <a:pt x="248" y="60"/>
                </a:cubicBezTo>
                <a:cubicBezTo>
                  <a:pt x="249" y="60"/>
                  <a:pt x="249" y="60"/>
                  <a:pt x="249" y="60"/>
                </a:cubicBezTo>
                <a:cubicBezTo>
                  <a:pt x="249" y="60"/>
                  <a:pt x="249" y="60"/>
                  <a:pt x="249" y="60"/>
                </a:cubicBezTo>
                <a:cubicBezTo>
                  <a:pt x="249" y="61"/>
                  <a:pt x="249" y="61"/>
                  <a:pt x="249" y="61"/>
                </a:cubicBezTo>
                <a:cubicBezTo>
                  <a:pt x="250" y="63"/>
                  <a:pt x="250" y="63"/>
                  <a:pt x="250" y="63"/>
                </a:cubicBezTo>
                <a:cubicBezTo>
                  <a:pt x="250" y="62"/>
                  <a:pt x="250" y="62"/>
                  <a:pt x="250" y="62"/>
                </a:cubicBezTo>
                <a:cubicBezTo>
                  <a:pt x="250" y="63"/>
                  <a:pt x="250" y="63"/>
                  <a:pt x="250" y="63"/>
                </a:cubicBezTo>
                <a:cubicBezTo>
                  <a:pt x="252" y="65"/>
                  <a:pt x="252" y="65"/>
                  <a:pt x="252" y="65"/>
                </a:cubicBezTo>
                <a:cubicBezTo>
                  <a:pt x="253" y="65"/>
                  <a:pt x="253" y="65"/>
                  <a:pt x="253" y="65"/>
                </a:cubicBezTo>
                <a:cubicBezTo>
                  <a:pt x="254" y="65"/>
                  <a:pt x="254" y="65"/>
                  <a:pt x="254" y="65"/>
                </a:cubicBezTo>
                <a:cubicBezTo>
                  <a:pt x="255" y="65"/>
                  <a:pt x="255" y="65"/>
                  <a:pt x="255" y="65"/>
                </a:cubicBezTo>
                <a:cubicBezTo>
                  <a:pt x="255" y="64"/>
                  <a:pt x="255" y="64"/>
                  <a:pt x="255" y="64"/>
                </a:cubicBezTo>
                <a:cubicBezTo>
                  <a:pt x="256" y="63"/>
                  <a:pt x="256" y="63"/>
                  <a:pt x="256" y="63"/>
                </a:cubicBezTo>
                <a:cubicBezTo>
                  <a:pt x="257" y="63"/>
                  <a:pt x="257" y="63"/>
                  <a:pt x="257" y="63"/>
                </a:cubicBezTo>
                <a:cubicBezTo>
                  <a:pt x="257" y="61"/>
                  <a:pt x="257" y="61"/>
                  <a:pt x="257" y="61"/>
                </a:cubicBezTo>
                <a:cubicBezTo>
                  <a:pt x="257" y="60"/>
                  <a:pt x="257" y="60"/>
                  <a:pt x="257" y="60"/>
                </a:cubicBezTo>
                <a:cubicBezTo>
                  <a:pt x="259" y="60"/>
                  <a:pt x="259" y="60"/>
                  <a:pt x="259" y="60"/>
                </a:cubicBezTo>
                <a:cubicBezTo>
                  <a:pt x="260" y="59"/>
                  <a:pt x="260" y="59"/>
                  <a:pt x="260" y="59"/>
                </a:cubicBezTo>
                <a:cubicBezTo>
                  <a:pt x="260" y="58"/>
                  <a:pt x="260" y="58"/>
                  <a:pt x="260" y="58"/>
                </a:cubicBezTo>
                <a:cubicBezTo>
                  <a:pt x="260" y="57"/>
                  <a:pt x="260" y="57"/>
                  <a:pt x="260" y="57"/>
                </a:cubicBezTo>
                <a:cubicBezTo>
                  <a:pt x="261" y="58"/>
                  <a:pt x="261" y="58"/>
                  <a:pt x="261" y="58"/>
                </a:cubicBezTo>
                <a:cubicBezTo>
                  <a:pt x="262" y="58"/>
                  <a:pt x="262" y="58"/>
                  <a:pt x="262" y="58"/>
                </a:cubicBezTo>
                <a:cubicBezTo>
                  <a:pt x="263" y="57"/>
                  <a:pt x="263" y="57"/>
                  <a:pt x="263" y="57"/>
                </a:cubicBezTo>
                <a:cubicBezTo>
                  <a:pt x="265" y="57"/>
                  <a:pt x="265" y="57"/>
                  <a:pt x="265" y="57"/>
                </a:cubicBezTo>
                <a:cubicBezTo>
                  <a:pt x="265" y="56"/>
                  <a:pt x="265" y="56"/>
                  <a:pt x="265" y="56"/>
                </a:cubicBezTo>
                <a:cubicBezTo>
                  <a:pt x="264" y="55"/>
                  <a:pt x="264" y="55"/>
                  <a:pt x="264" y="55"/>
                </a:cubicBezTo>
                <a:cubicBezTo>
                  <a:pt x="265" y="54"/>
                  <a:pt x="265" y="54"/>
                  <a:pt x="265" y="54"/>
                </a:cubicBezTo>
                <a:cubicBezTo>
                  <a:pt x="268" y="52"/>
                  <a:pt x="268" y="52"/>
                  <a:pt x="268" y="52"/>
                </a:cubicBezTo>
                <a:cubicBezTo>
                  <a:pt x="269" y="53"/>
                  <a:pt x="269" y="53"/>
                  <a:pt x="269" y="53"/>
                </a:cubicBezTo>
                <a:cubicBezTo>
                  <a:pt x="270" y="53"/>
                  <a:pt x="270" y="53"/>
                  <a:pt x="270" y="53"/>
                </a:cubicBezTo>
                <a:cubicBezTo>
                  <a:pt x="272" y="54"/>
                  <a:pt x="272" y="54"/>
                  <a:pt x="272" y="54"/>
                </a:cubicBezTo>
                <a:cubicBezTo>
                  <a:pt x="274" y="55"/>
                  <a:pt x="274" y="55"/>
                  <a:pt x="274" y="55"/>
                </a:cubicBezTo>
                <a:cubicBezTo>
                  <a:pt x="275" y="56"/>
                  <a:pt x="275" y="56"/>
                  <a:pt x="275" y="56"/>
                </a:cubicBezTo>
                <a:cubicBezTo>
                  <a:pt x="277" y="56"/>
                  <a:pt x="277" y="56"/>
                  <a:pt x="277" y="56"/>
                </a:cubicBezTo>
                <a:cubicBezTo>
                  <a:pt x="278" y="56"/>
                  <a:pt x="278" y="56"/>
                  <a:pt x="278" y="56"/>
                </a:cubicBezTo>
                <a:cubicBezTo>
                  <a:pt x="282" y="58"/>
                  <a:pt x="282" y="58"/>
                  <a:pt x="282" y="58"/>
                </a:cubicBezTo>
                <a:cubicBezTo>
                  <a:pt x="283" y="58"/>
                  <a:pt x="283" y="58"/>
                  <a:pt x="283" y="58"/>
                </a:cubicBezTo>
                <a:cubicBezTo>
                  <a:pt x="284" y="58"/>
                  <a:pt x="284" y="58"/>
                  <a:pt x="284" y="58"/>
                </a:cubicBezTo>
                <a:cubicBezTo>
                  <a:pt x="285" y="58"/>
                  <a:pt x="285" y="58"/>
                  <a:pt x="285" y="58"/>
                </a:cubicBezTo>
                <a:cubicBezTo>
                  <a:pt x="286" y="58"/>
                  <a:pt x="286" y="58"/>
                  <a:pt x="286" y="58"/>
                </a:cubicBezTo>
                <a:cubicBezTo>
                  <a:pt x="287" y="59"/>
                  <a:pt x="287" y="59"/>
                  <a:pt x="287" y="59"/>
                </a:cubicBezTo>
                <a:cubicBezTo>
                  <a:pt x="287" y="60"/>
                  <a:pt x="287" y="60"/>
                  <a:pt x="287" y="60"/>
                </a:cubicBezTo>
                <a:cubicBezTo>
                  <a:pt x="287" y="60"/>
                  <a:pt x="287" y="60"/>
                  <a:pt x="287" y="60"/>
                </a:cubicBezTo>
                <a:cubicBezTo>
                  <a:pt x="288" y="61"/>
                  <a:pt x="288" y="61"/>
                  <a:pt x="288" y="61"/>
                </a:cubicBezTo>
                <a:cubicBezTo>
                  <a:pt x="289" y="60"/>
                  <a:pt x="289" y="60"/>
                  <a:pt x="289" y="60"/>
                </a:cubicBezTo>
                <a:cubicBezTo>
                  <a:pt x="289" y="60"/>
                  <a:pt x="289" y="60"/>
                  <a:pt x="289" y="60"/>
                </a:cubicBezTo>
                <a:close/>
                <a:moveTo>
                  <a:pt x="214" y="43"/>
                </a:moveTo>
                <a:cubicBezTo>
                  <a:pt x="217" y="44"/>
                  <a:pt x="217" y="44"/>
                  <a:pt x="217" y="44"/>
                </a:cubicBezTo>
                <a:cubicBezTo>
                  <a:pt x="217" y="45"/>
                  <a:pt x="217" y="45"/>
                  <a:pt x="217" y="45"/>
                </a:cubicBezTo>
                <a:cubicBezTo>
                  <a:pt x="215" y="44"/>
                  <a:pt x="215" y="44"/>
                  <a:pt x="215" y="44"/>
                </a:cubicBezTo>
                <a:cubicBezTo>
                  <a:pt x="214" y="43"/>
                  <a:pt x="214" y="43"/>
                  <a:pt x="214" y="43"/>
                </a:cubicBezTo>
                <a:close/>
                <a:moveTo>
                  <a:pt x="227" y="45"/>
                </a:moveTo>
                <a:cubicBezTo>
                  <a:pt x="228" y="46"/>
                  <a:pt x="228" y="46"/>
                  <a:pt x="228" y="46"/>
                </a:cubicBezTo>
                <a:cubicBezTo>
                  <a:pt x="229" y="45"/>
                  <a:pt x="229" y="45"/>
                  <a:pt x="229" y="45"/>
                </a:cubicBezTo>
                <a:cubicBezTo>
                  <a:pt x="228" y="44"/>
                  <a:pt x="228" y="44"/>
                  <a:pt x="228" y="44"/>
                </a:cubicBezTo>
                <a:cubicBezTo>
                  <a:pt x="227" y="43"/>
                  <a:pt x="227" y="43"/>
                  <a:pt x="227" y="43"/>
                </a:cubicBezTo>
                <a:cubicBezTo>
                  <a:pt x="225" y="43"/>
                  <a:pt x="225" y="43"/>
                  <a:pt x="225" y="43"/>
                </a:cubicBezTo>
                <a:cubicBezTo>
                  <a:pt x="224" y="44"/>
                  <a:pt x="224" y="44"/>
                  <a:pt x="224" y="44"/>
                </a:cubicBezTo>
                <a:cubicBezTo>
                  <a:pt x="223" y="44"/>
                  <a:pt x="223" y="44"/>
                  <a:pt x="223" y="44"/>
                </a:cubicBezTo>
                <a:cubicBezTo>
                  <a:pt x="222" y="44"/>
                  <a:pt x="222" y="44"/>
                  <a:pt x="222" y="44"/>
                </a:cubicBezTo>
                <a:cubicBezTo>
                  <a:pt x="223" y="45"/>
                  <a:pt x="223" y="45"/>
                  <a:pt x="223" y="45"/>
                </a:cubicBezTo>
                <a:cubicBezTo>
                  <a:pt x="222" y="45"/>
                  <a:pt x="222" y="45"/>
                  <a:pt x="222" y="45"/>
                </a:cubicBezTo>
                <a:cubicBezTo>
                  <a:pt x="224" y="45"/>
                  <a:pt x="224" y="45"/>
                  <a:pt x="224" y="45"/>
                </a:cubicBezTo>
                <a:cubicBezTo>
                  <a:pt x="225" y="46"/>
                  <a:pt x="225" y="46"/>
                  <a:pt x="225" y="46"/>
                </a:cubicBezTo>
                <a:cubicBezTo>
                  <a:pt x="226" y="46"/>
                  <a:pt x="226" y="46"/>
                  <a:pt x="226" y="46"/>
                </a:cubicBezTo>
                <a:cubicBezTo>
                  <a:pt x="226" y="45"/>
                  <a:pt x="226" y="45"/>
                  <a:pt x="226" y="45"/>
                </a:cubicBezTo>
                <a:cubicBezTo>
                  <a:pt x="225" y="45"/>
                  <a:pt x="225" y="45"/>
                  <a:pt x="225" y="45"/>
                </a:cubicBezTo>
                <a:cubicBezTo>
                  <a:pt x="225" y="45"/>
                  <a:pt x="225" y="45"/>
                  <a:pt x="225" y="45"/>
                </a:cubicBezTo>
                <a:cubicBezTo>
                  <a:pt x="225" y="44"/>
                  <a:pt x="225" y="44"/>
                  <a:pt x="225" y="44"/>
                </a:cubicBezTo>
                <a:cubicBezTo>
                  <a:pt x="227" y="45"/>
                  <a:pt x="227" y="45"/>
                  <a:pt x="227" y="45"/>
                </a:cubicBezTo>
                <a:close/>
                <a:moveTo>
                  <a:pt x="225" y="49"/>
                </a:moveTo>
                <a:cubicBezTo>
                  <a:pt x="224" y="49"/>
                  <a:pt x="224" y="49"/>
                  <a:pt x="224" y="49"/>
                </a:cubicBezTo>
                <a:cubicBezTo>
                  <a:pt x="222" y="49"/>
                  <a:pt x="222" y="49"/>
                  <a:pt x="222" y="49"/>
                </a:cubicBezTo>
                <a:cubicBezTo>
                  <a:pt x="223" y="49"/>
                  <a:pt x="223" y="49"/>
                  <a:pt x="223" y="49"/>
                </a:cubicBezTo>
                <a:cubicBezTo>
                  <a:pt x="225" y="49"/>
                  <a:pt x="225" y="49"/>
                  <a:pt x="225" y="49"/>
                </a:cubicBezTo>
                <a:close/>
                <a:moveTo>
                  <a:pt x="226" y="48"/>
                </a:moveTo>
                <a:cubicBezTo>
                  <a:pt x="225" y="49"/>
                  <a:pt x="225" y="49"/>
                  <a:pt x="225" y="49"/>
                </a:cubicBezTo>
                <a:cubicBezTo>
                  <a:pt x="225" y="48"/>
                  <a:pt x="225" y="48"/>
                  <a:pt x="225" y="48"/>
                </a:cubicBezTo>
                <a:cubicBezTo>
                  <a:pt x="226" y="48"/>
                  <a:pt x="226" y="48"/>
                  <a:pt x="226" y="48"/>
                </a:cubicBezTo>
                <a:close/>
                <a:moveTo>
                  <a:pt x="226" y="49"/>
                </a:moveTo>
                <a:cubicBezTo>
                  <a:pt x="224" y="50"/>
                  <a:pt x="224" y="50"/>
                  <a:pt x="224" y="50"/>
                </a:cubicBezTo>
                <a:cubicBezTo>
                  <a:pt x="224" y="52"/>
                  <a:pt x="224" y="52"/>
                  <a:pt x="224" y="52"/>
                </a:cubicBezTo>
                <a:cubicBezTo>
                  <a:pt x="226" y="52"/>
                  <a:pt x="226" y="52"/>
                  <a:pt x="226" y="52"/>
                </a:cubicBezTo>
                <a:cubicBezTo>
                  <a:pt x="226" y="52"/>
                  <a:pt x="226" y="52"/>
                  <a:pt x="226" y="52"/>
                </a:cubicBezTo>
                <a:cubicBezTo>
                  <a:pt x="226" y="49"/>
                  <a:pt x="226" y="49"/>
                  <a:pt x="226" y="49"/>
                </a:cubicBezTo>
                <a:cubicBezTo>
                  <a:pt x="226" y="49"/>
                  <a:pt x="226" y="49"/>
                  <a:pt x="226" y="49"/>
                </a:cubicBezTo>
                <a:close/>
                <a:moveTo>
                  <a:pt x="190" y="18"/>
                </a:moveTo>
                <a:cubicBezTo>
                  <a:pt x="192" y="20"/>
                  <a:pt x="192" y="20"/>
                  <a:pt x="192" y="20"/>
                </a:cubicBezTo>
                <a:cubicBezTo>
                  <a:pt x="192" y="21"/>
                  <a:pt x="192" y="21"/>
                  <a:pt x="192" y="21"/>
                </a:cubicBezTo>
                <a:cubicBezTo>
                  <a:pt x="192" y="22"/>
                  <a:pt x="192" y="22"/>
                  <a:pt x="192" y="22"/>
                </a:cubicBezTo>
                <a:cubicBezTo>
                  <a:pt x="190" y="21"/>
                  <a:pt x="190" y="21"/>
                  <a:pt x="190" y="21"/>
                </a:cubicBezTo>
                <a:cubicBezTo>
                  <a:pt x="190" y="19"/>
                  <a:pt x="190" y="19"/>
                  <a:pt x="190" y="19"/>
                </a:cubicBezTo>
                <a:cubicBezTo>
                  <a:pt x="190" y="18"/>
                  <a:pt x="190" y="18"/>
                  <a:pt x="190" y="18"/>
                </a:cubicBezTo>
                <a:close/>
                <a:moveTo>
                  <a:pt x="198" y="14"/>
                </a:moveTo>
                <a:cubicBezTo>
                  <a:pt x="199" y="15"/>
                  <a:pt x="199" y="15"/>
                  <a:pt x="199" y="15"/>
                </a:cubicBezTo>
                <a:cubicBezTo>
                  <a:pt x="199" y="17"/>
                  <a:pt x="199" y="17"/>
                  <a:pt x="199" y="17"/>
                </a:cubicBezTo>
                <a:cubicBezTo>
                  <a:pt x="199" y="16"/>
                  <a:pt x="199" y="16"/>
                  <a:pt x="199" y="16"/>
                </a:cubicBezTo>
                <a:cubicBezTo>
                  <a:pt x="200" y="15"/>
                  <a:pt x="200" y="15"/>
                  <a:pt x="200" y="15"/>
                </a:cubicBezTo>
                <a:cubicBezTo>
                  <a:pt x="200" y="14"/>
                  <a:pt x="200" y="14"/>
                  <a:pt x="200" y="14"/>
                </a:cubicBezTo>
                <a:cubicBezTo>
                  <a:pt x="199" y="13"/>
                  <a:pt x="199" y="13"/>
                  <a:pt x="199" y="13"/>
                </a:cubicBezTo>
                <a:cubicBezTo>
                  <a:pt x="198" y="14"/>
                  <a:pt x="198" y="14"/>
                  <a:pt x="198" y="14"/>
                </a:cubicBezTo>
                <a:close/>
                <a:moveTo>
                  <a:pt x="198" y="17"/>
                </a:moveTo>
                <a:cubicBezTo>
                  <a:pt x="199" y="17"/>
                  <a:pt x="199" y="17"/>
                  <a:pt x="199" y="17"/>
                </a:cubicBezTo>
                <a:cubicBezTo>
                  <a:pt x="199" y="18"/>
                  <a:pt x="199" y="18"/>
                  <a:pt x="199" y="18"/>
                </a:cubicBezTo>
                <a:cubicBezTo>
                  <a:pt x="199" y="18"/>
                  <a:pt x="199" y="18"/>
                  <a:pt x="199" y="18"/>
                </a:cubicBezTo>
                <a:cubicBezTo>
                  <a:pt x="199" y="18"/>
                  <a:pt x="198" y="17"/>
                  <a:pt x="198" y="17"/>
                </a:cubicBezTo>
                <a:close/>
                <a:moveTo>
                  <a:pt x="208" y="29"/>
                </a:moveTo>
                <a:cubicBezTo>
                  <a:pt x="209" y="31"/>
                  <a:pt x="209" y="31"/>
                  <a:pt x="209" y="31"/>
                </a:cubicBezTo>
                <a:cubicBezTo>
                  <a:pt x="209" y="30"/>
                  <a:pt x="209" y="30"/>
                  <a:pt x="209" y="30"/>
                </a:cubicBezTo>
                <a:cubicBezTo>
                  <a:pt x="210" y="30"/>
                  <a:pt x="210" y="30"/>
                  <a:pt x="210" y="30"/>
                </a:cubicBezTo>
                <a:cubicBezTo>
                  <a:pt x="211" y="29"/>
                  <a:pt x="211" y="29"/>
                  <a:pt x="211" y="29"/>
                </a:cubicBezTo>
                <a:cubicBezTo>
                  <a:pt x="211" y="28"/>
                  <a:pt x="211" y="28"/>
                  <a:pt x="211" y="28"/>
                </a:cubicBezTo>
                <a:cubicBezTo>
                  <a:pt x="210" y="28"/>
                  <a:pt x="210" y="28"/>
                  <a:pt x="210" y="28"/>
                </a:cubicBezTo>
                <a:cubicBezTo>
                  <a:pt x="209" y="28"/>
                  <a:pt x="209" y="28"/>
                  <a:pt x="209" y="28"/>
                </a:cubicBezTo>
                <a:cubicBezTo>
                  <a:pt x="208" y="29"/>
                  <a:pt x="208" y="29"/>
                  <a:pt x="208" y="29"/>
                </a:cubicBezTo>
                <a:close/>
                <a:moveTo>
                  <a:pt x="207" y="45"/>
                </a:moveTo>
                <a:cubicBezTo>
                  <a:pt x="208" y="47"/>
                  <a:pt x="208" y="47"/>
                  <a:pt x="208" y="47"/>
                </a:cubicBezTo>
                <a:cubicBezTo>
                  <a:pt x="209" y="49"/>
                  <a:pt x="209" y="49"/>
                  <a:pt x="209" y="49"/>
                </a:cubicBezTo>
                <a:cubicBezTo>
                  <a:pt x="210" y="49"/>
                  <a:pt x="210" y="49"/>
                  <a:pt x="210" y="49"/>
                </a:cubicBezTo>
                <a:cubicBezTo>
                  <a:pt x="209" y="49"/>
                  <a:pt x="209" y="49"/>
                  <a:pt x="209" y="49"/>
                </a:cubicBezTo>
                <a:cubicBezTo>
                  <a:pt x="209" y="50"/>
                  <a:pt x="209" y="50"/>
                  <a:pt x="209" y="50"/>
                </a:cubicBezTo>
                <a:cubicBezTo>
                  <a:pt x="209" y="49"/>
                  <a:pt x="209" y="49"/>
                  <a:pt x="209" y="49"/>
                </a:cubicBezTo>
                <a:cubicBezTo>
                  <a:pt x="208" y="49"/>
                  <a:pt x="208" y="49"/>
                  <a:pt x="208" y="49"/>
                </a:cubicBezTo>
                <a:cubicBezTo>
                  <a:pt x="207" y="47"/>
                  <a:pt x="207" y="47"/>
                  <a:pt x="207" y="47"/>
                </a:cubicBezTo>
                <a:cubicBezTo>
                  <a:pt x="205" y="46"/>
                  <a:pt x="205" y="46"/>
                  <a:pt x="205" y="46"/>
                </a:cubicBezTo>
                <a:cubicBezTo>
                  <a:pt x="204" y="44"/>
                  <a:pt x="204" y="44"/>
                  <a:pt x="204" y="44"/>
                </a:cubicBezTo>
                <a:cubicBezTo>
                  <a:pt x="205" y="43"/>
                  <a:pt x="205" y="43"/>
                  <a:pt x="205" y="43"/>
                </a:cubicBezTo>
                <a:cubicBezTo>
                  <a:pt x="205" y="42"/>
                  <a:pt x="205" y="42"/>
                  <a:pt x="205" y="42"/>
                </a:cubicBezTo>
                <a:cubicBezTo>
                  <a:pt x="205" y="42"/>
                  <a:pt x="205" y="42"/>
                  <a:pt x="205" y="42"/>
                </a:cubicBezTo>
                <a:cubicBezTo>
                  <a:pt x="204" y="41"/>
                  <a:pt x="204" y="41"/>
                  <a:pt x="204" y="41"/>
                </a:cubicBezTo>
                <a:cubicBezTo>
                  <a:pt x="204" y="39"/>
                  <a:pt x="204" y="39"/>
                  <a:pt x="204" y="39"/>
                </a:cubicBezTo>
                <a:cubicBezTo>
                  <a:pt x="204" y="39"/>
                  <a:pt x="204" y="39"/>
                  <a:pt x="204" y="39"/>
                </a:cubicBezTo>
                <a:cubicBezTo>
                  <a:pt x="204" y="37"/>
                  <a:pt x="204" y="37"/>
                  <a:pt x="204" y="37"/>
                </a:cubicBezTo>
                <a:cubicBezTo>
                  <a:pt x="203" y="36"/>
                  <a:pt x="203" y="36"/>
                  <a:pt x="203" y="36"/>
                </a:cubicBezTo>
                <a:cubicBezTo>
                  <a:pt x="203" y="35"/>
                  <a:pt x="203" y="35"/>
                  <a:pt x="203" y="35"/>
                </a:cubicBezTo>
                <a:cubicBezTo>
                  <a:pt x="204" y="34"/>
                  <a:pt x="204" y="34"/>
                  <a:pt x="204" y="34"/>
                </a:cubicBezTo>
                <a:cubicBezTo>
                  <a:pt x="204" y="33"/>
                  <a:pt x="204" y="33"/>
                  <a:pt x="204" y="33"/>
                </a:cubicBezTo>
                <a:cubicBezTo>
                  <a:pt x="205" y="31"/>
                  <a:pt x="205" y="31"/>
                  <a:pt x="205" y="31"/>
                </a:cubicBezTo>
                <a:cubicBezTo>
                  <a:pt x="206" y="29"/>
                  <a:pt x="206" y="29"/>
                  <a:pt x="206" y="29"/>
                </a:cubicBezTo>
                <a:cubicBezTo>
                  <a:pt x="207" y="29"/>
                  <a:pt x="207" y="29"/>
                  <a:pt x="207" y="29"/>
                </a:cubicBezTo>
                <a:cubicBezTo>
                  <a:pt x="207" y="30"/>
                  <a:pt x="207" y="30"/>
                  <a:pt x="207" y="30"/>
                </a:cubicBezTo>
                <a:cubicBezTo>
                  <a:pt x="206" y="31"/>
                  <a:pt x="206" y="31"/>
                  <a:pt x="206" y="31"/>
                </a:cubicBezTo>
                <a:cubicBezTo>
                  <a:pt x="206" y="32"/>
                  <a:pt x="206" y="32"/>
                  <a:pt x="206" y="32"/>
                </a:cubicBezTo>
                <a:cubicBezTo>
                  <a:pt x="207" y="32"/>
                  <a:pt x="207" y="32"/>
                  <a:pt x="207" y="32"/>
                </a:cubicBezTo>
                <a:cubicBezTo>
                  <a:pt x="207" y="34"/>
                  <a:pt x="207" y="34"/>
                  <a:pt x="207" y="34"/>
                </a:cubicBezTo>
                <a:cubicBezTo>
                  <a:pt x="207" y="36"/>
                  <a:pt x="207" y="36"/>
                  <a:pt x="207" y="36"/>
                </a:cubicBezTo>
                <a:cubicBezTo>
                  <a:pt x="206" y="36"/>
                  <a:pt x="206" y="36"/>
                  <a:pt x="206" y="36"/>
                </a:cubicBezTo>
                <a:cubicBezTo>
                  <a:pt x="205" y="36"/>
                  <a:pt x="205" y="36"/>
                  <a:pt x="205" y="36"/>
                </a:cubicBezTo>
                <a:cubicBezTo>
                  <a:pt x="205" y="38"/>
                  <a:pt x="205" y="38"/>
                  <a:pt x="205" y="38"/>
                </a:cubicBezTo>
                <a:cubicBezTo>
                  <a:pt x="206" y="37"/>
                  <a:pt x="206" y="37"/>
                  <a:pt x="206" y="37"/>
                </a:cubicBezTo>
                <a:cubicBezTo>
                  <a:pt x="207" y="36"/>
                  <a:pt x="207" y="36"/>
                  <a:pt x="207" y="36"/>
                </a:cubicBezTo>
                <a:cubicBezTo>
                  <a:pt x="208" y="36"/>
                  <a:pt x="208" y="36"/>
                  <a:pt x="208" y="36"/>
                </a:cubicBezTo>
                <a:cubicBezTo>
                  <a:pt x="208" y="35"/>
                  <a:pt x="208" y="35"/>
                  <a:pt x="208" y="35"/>
                </a:cubicBezTo>
                <a:cubicBezTo>
                  <a:pt x="208" y="35"/>
                  <a:pt x="208" y="35"/>
                  <a:pt x="208" y="35"/>
                </a:cubicBezTo>
                <a:cubicBezTo>
                  <a:pt x="208" y="34"/>
                  <a:pt x="208" y="34"/>
                  <a:pt x="208" y="34"/>
                </a:cubicBezTo>
                <a:cubicBezTo>
                  <a:pt x="210" y="33"/>
                  <a:pt x="210" y="33"/>
                  <a:pt x="210" y="33"/>
                </a:cubicBezTo>
                <a:cubicBezTo>
                  <a:pt x="212" y="33"/>
                  <a:pt x="212" y="33"/>
                  <a:pt x="212" y="33"/>
                </a:cubicBezTo>
                <a:cubicBezTo>
                  <a:pt x="212" y="33"/>
                  <a:pt x="212" y="33"/>
                  <a:pt x="212" y="33"/>
                </a:cubicBezTo>
                <a:cubicBezTo>
                  <a:pt x="212" y="34"/>
                  <a:pt x="212" y="34"/>
                  <a:pt x="212" y="34"/>
                </a:cubicBezTo>
                <a:cubicBezTo>
                  <a:pt x="211" y="37"/>
                  <a:pt x="211" y="37"/>
                  <a:pt x="211" y="37"/>
                </a:cubicBezTo>
                <a:cubicBezTo>
                  <a:pt x="209" y="37"/>
                  <a:pt x="209" y="37"/>
                  <a:pt x="209" y="37"/>
                </a:cubicBezTo>
                <a:cubicBezTo>
                  <a:pt x="208" y="38"/>
                  <a:pt x="208" y="38"/>
                  <a:pt x="208" y="38"/>
                </a:cubicBezTo>
                <a:cubicBezTo>
                  <a:pt x="209" y="39"/>
                  <a:pt x="209" y="39"/>
                  <a:pt x="209" y="39"/>
                </a:cubicBezTo>
                <a:cubicBezTo>
                  <a:pt x="210" y="39"/>
                  <a:pt x="210" y="39"/>
                  <a:pt x="210" y="39"/>
                </a:cubicBezTo>
                <a:cubicBezTo>
                  <a:pt x="211" y="40"/>
                  <a:pt x="211" y="40"/>
                  <a:pt x="211" y="40"/>
                </a:cubicBezTo>
                <a:cubicBezTo>
                  <a:pt x="211" y="41"/>
                  <a:pt x="211" y="41"/>
                  <a:pt x="211" y="41"/>
                </a:cubicBezTo>
                <a:cubicBezTo>
                  <a:pt x="212" y="42"/>
                  <a:pt x="212" y="42"/>
                  <a:pt x="212" y="42"/>
                </a:cubicBezTo>
                <a:cubicBezTo>
                  <a:pt x="211" y="42"/>
                  <a:pt x="211" y="42"/>
                  <a:pt x="211" y="42"/>
                </a:cubicBezTo>
                <a:cubicBezTo>
                  <a:pt x="210" y="41"/>
                  <a:pt x="210" y="41"/>
                  <a:pt x="210" y="41"/>
                </a:cubicBezTo>
                <a:cubicBezTo>
                  <a:pt x="208" y="41"/>
                  <a:pt x="208" y="41"/>
                  <a:pt x="208" y="41"/>
                </a:cubicBezTo>
                <a:cubicBezTo>
                  <a:pt x="207" y="41"/>
                  <a:pt x="207" y="41"/>
                  <a:pt x="207" y="41"/>
                </a:cubicBezTo>
                <a:cubicBezTo>
                  <a:pt x="206" y="41"/>
                  <a:pt x="206" y="41"/>
                  <a:pt x="206" y="41"/>
                </a:cubicBezTo>
                <a:cubicBezTo>
                  <a:pt x="206" y="43"/>
                  <a:pt x="206" y="43"/>
                  <a:pt x="206" y="43"/>
                </a:cubicBezTo>
                <a:cubicBezTo>
                  <a:pt x="207" y="45"/>
                  <a:pt x="207" y="45"/>
                  <a:pt x="207" y="45"/>
                </a:cubicBezTo>
                <a:close/>
                <a:moveTo>
                  <a:pt x="202" y="48"/>
                </a:moveTo>
                <a:cubicBezTo>
                  <a:pt x="202" y="49"/>
                  <a:pt x="202" y="49"/>
                  <a:pt x="202" y="49"/>
                </a:cubicBezTo>
                <a:cubicBezTo>
                  <a:pt x="201" y="49"/>
                  <a:pt x="201" y="49"/>
                  <a:pt x="201" y="49"/>
                </a:cubicBezTo>
                <a:cubicBezTo>
                  <a:pt x="202" y="48"/>
                  <a:pt x="202" y="48"/>
                  <a:pt x="202" y="48"/>
                </a:cubicBezTo>
                <a:cubicBezTo>
                  <a:pt x="202" y="48"/>
                  <a:pt x="202" y="48"/>
                  <a:pt x="202" y="48"/>
                </a:cubicBezTo>
                <a:close/>
                <a:moveTo>
                  <a:pt x="202" y="46"/>
                </a:moveTo>
                <a:cubicBezTo>
                  <a:pt x="201" y="46"/>
                  <a:pt x="201" y="46"/>
                  <a:pt x="201" y="46"/>
                </a:cubicBezTo>
                <a:cubicBezTo>
                  <a:pt x="201" y="47"/>
                  <a:pt x="201" y="47"/>
                  <a:pt x="201" y="47"/>
                </a:cubicBezTo>
                <a:cubicBezTo>
                  <a:pt x="202" y="47"/>
                  <a:pt x="202" y="47"/>
                  <a:pt x="202" y="47"/>
                </a:cubicBezTo>
                <a:cubicBezTo>
                  <a:pt x="202" y="46"/>
                  <a:pt x="202" y="46"/>
                  <a:pt x="202" y="46"/>
                </a:cubicBezTo>
                <a:cubicBezTo>
                  <a:pt x="202" y="46"/>
                  <a:pt x="202" y="46"/>
                  <a:pt x="202" y="46"/>
                </a:cubicBezTo>
                <a:close/>
                <a:moveTo>
                  <a:pt x="203" y="46"/>
                </a:moveTo>
                <a:cubicBezTo>
                  <a:pt x="203" y="47"/>
                  <a:pt x="203" y="47"/>
                  <a:pt x="203" y="47"/>
                </a:cubicBezTo>
                <a:cubicBezTo>
                  <a:pt x="203" y="48"/>
                  <a:pt x="203" y="48"/>
                  <a:pt x="203" y="48"/>
                </a:cubicBezTo>
                <a:cubicBezTo>
                  <a:pt x="203" y="49"/>
                  <a:pt x="203" y="49"/>
                  <a:pt x="203" y="49"/>
                </a:cubicBezTo>
                <a:cubicBezTo>
                  <a:pt x="204" y="49"/>
                  <a:pt x="204" y="49"/>
                  <a:pt x="204" y="49"/>
                </a:cubicBezTo>
                <a:cubicBezTo>
                  <a:pt x="205" y="49"/>
                  <a:pt x="205" y="49"/>
                  <a:pt x="205" y="49"/>
                </a:cubicBezTo>
                <a:cubicBezTo>
                  <a:pt x="206" y="49"/>
                  <a:pt x="206" y="49"/>
                  <a:pt x="206" y="49"/>
                </a:cubicBezTo>
                <a:cubicBezTo>
                  <a:pt x="205" y="48"/>
                  <a:pt x="205" y="48"/>
                  <a:pt x="205" y="48"/>
                </a:cubicBezTo>
                <a:cubicBezTo>
                  <a:pt x="204" y="48"/>
                  <a:pt x="204" y="48"/>
                  <a:pt x="204" y="48"/>
                </a:cubicBezTo>
                <a:cubicBezTo>
                  <a:pt x="205" y="47"/>
                  <a:pt x="205" y="47"/>
                  <a:pt x="205" y="47"/>
                </a:cubicBezTo>
                <a:cubicBezTo>
                  <a:pt x="204" y="46"/>
                  <a:pt x="204" y="46"/>
                  <a:pt x="204" y="46"/>
                </a:cubicBezTo>
                <a:cubicBezTo>
                  <a:pt x="203" y="46"/>
                  <a:pt x="203" y="46"/>
                  <a:pt x="203" y="46"/>
                </a:cubicBezTo>
                <a:close/>
                <a:moveTo>
                  <a:pt x="203" y="54"/>
                </a:moveTo>
                <a:cubicBezTo>
                  <a:pt x="205" y="52"/>
                  <a:pt x="205" y="52"/>
                  <a:pt x="205" y="52"/>
                </a:cubicBezTo>
                <a:cubicBezTo>
                  <a:pt x="206" y="52"/>
                  <a:pt x="206" y="52"/>
                  <a:pt x="206" y="52"/>
                </a:cubicBezTo>
                <a:cubicBezTo>
                  <a:pt x="208" y="54"/>
                  <a:pt x="208" y="54"/>
                  <a:pt x="208" y="54"/>
                </a:cubicBezTo>
                <a:cubicBezTo>
                  <a:pt x="207" y="55"/>
                  <a:pt x="207" y="55"/>
                  <a:pt x="207" y="55"/>
                </a:cubicBezTo>
                <a:cubicBezTo>
                  <a:pt x="206" y="55"/>
                  <a:pt x="206" y="55"/>
                  <a:pt x="206" y="55"/>
                </a:cubicBezTo>
                <a:cubicBezTo>
                  <a:pt x="205" y="55"/>
                  <a:pt x="205" y="55"/>
                  <a:pt x="205" y="55"/>
                </a:cubicBezTo>
                <a:cubicBezTo>
                  <a:pt x="205" y="55"/>
                  <a:pt x="205" y="55"/>
                  <a:pt x="205" y="55"/>
                </a:cubicBezTo>
                <a:cubicBezTo>
                  <a:pt x="203" y="54"/>
                  <a:pt x="203" y="54"/>
                  <a:pt x="203" y="54"/>
                </a:cubicBezTo>
                <a:cubicBezTo>
                  <a:pt x="203" y="54"/>
                  <a:pt x="203" y="54"/>
                  <a:pt x="203" y="54"/>
                </a:cubicBezTo>
                <a:close/>
                <a:moveTo>
                  <a:pt x="221" y="54"/>
                </a:moveTo>
                <a:cubicBezTo>
                  <a:pt x="219" y="55"/>
                  <a:pt x="219" y="55"/>
                  <a:pt x="219" y="55"/>
                </a:cubicBezTo>
                <a:cubicBezTo>
                  <a:pt x="218" y="55"/>
                  <a:pt x="218" y="55"/>
                  <a:pt x="218" y="55"/>
                </a:cubicBezTo>
                <a:cubicBezTo>
                  <a:pt x="218" y="56"/>
                  <a:pt x="218" y="56"/>
                  <a:pt x="218" y="56"/>
                </a:cubicBezTo>
                <a:cubicBezTo>
                  <a:pt x="220" y="57"/>
                  <a:pt x="220" y="57"/>
                  <a:pt x="220" y="57"/>
                </a:cubicBezTo>
                <a:cubicBezTo>
                  <a:pt x="222" y="56"/>
                  <a:pt x="222" y="56"/>
                  <a:pt x="222" y="56"/>
                </a:cubicBezTo>
                <a:cubicBezTo>
                  <a:pt x="222" y="56"/>
                  <a:pt x="222" y="56"/>
                  <a:pt x="222" y="56"/>
                </a:cubicBezTo>
                <a:cubicBezTo>
                  <a:pt x="221" y="55"/>
                  <a:pt x="221" y="55"/>
                  <a:pt x="221" y="55"/>
                </a:cubicBezTo>
                <a:cubicBezTo>
                  <a:pt x="221" y="54"/>
                  <a:pt x="221" y="54"/>
                  <a:pt x="221" y="54"/>
                </a:cubicBezTo>
                <a:close/>
                <a:moveTo>
                  <a:pt x="210" y="67"/>
                </a:moveTo>
                <a:cubicBezTo>
                  <a:pt x="211" y="66"/>
                  <a:pt x="211" y="66"/>
                  <a:pt x="211" y="66"/>
                </a:cubicBezTo>
                <a:cubicBezTo>
                  <a:pt x="211" y="67"/>
                  <a:pt x="211" y="67"/>
                  <a:pt x="211" y="67"/>
                </a:cubicBezTo>
                <a:cubicBezTo>
                  <a:pt x="210" y="67"/>
                  <a:pt x="210" y="67"/>
                  <a:pt x="210" y="67"/>
                </a:cubicBezTo>
                <a:cubicBezTo>
                  <a:pt x="210" y="67"/>
                  <a:pt x="210" y="67"/>
                  <a:pt x="210" y="67"/>
                </a:cubicBezTo>
                <a:close/>
                <a:moveTo>
                  <a:pt x="209" y="67"/>
                </a:moveTo>
                <a:cubicBezTo>
                  <a:pt x="210" y="67"/>
                  <a:pt x="210" y="67"/>
                  <a:pt x="210" y="67"/>
                </a:cubicBezTo>
                <a:cubicBezTo>
                  <a:pt x="210" y="67"/>
                  <a:pt x="210" y="67"/>
                  <a:pt x="210" y="67"/>
                </a:cubicBezTo>
                <a:cubicBezTo>
                  <a:pt x="209" y="67"/>
                  <a:pt x="209" y="67"/>
                  <a:pt x="209" y="67"/>
                </a:cubicBezTo>
                <a:cubicBezTo>
                  <a:pt x="209" y="67"/>
                  <a:pt x="209" y="67"/>
                  <a:pt x="209" y="67"/>
                </a:cubicBezTo>
                <a:close/>
                <a:moveTo>
                  <a:pt x="206" y="67"/>
                </a:moveTo>
                <a:cubicBezTo>
                  <a:pt x="207" y="67"/>
                  <a:pt x="207" y="67"/>
                  <a:pt x="207" y="67"/>
                </a:cubicBezTo>
                <a:cubicBezTo>
                  <a:pt x="208" y="66"/>
                  <a:pt x="208" y="66"/>
                  <a:pt x="208" y="66"/>
                </a:cubicBezTo>
                <a:cubicBezTo>
                  <a:pt x="208" y="67"/>
                  <a:pt x="208" y="67"/>
                  <a:pt x="208" y="67"/>
                </a:cubicBezTo>
                <a:cubicBezTo>
                  <a:pt x="208" y="68"/>
                  <a:pt x="208" y="68"/>
                  <a:pt x="208" y="68"/>
                </a:cubicBezTo>
                <a:cubicBezTo>
                  <a:pt x="207" y="67"/>
                  <a:pt x="207" y="67"/>
                  <a:pt x="207" y="67"/>
                </a:cubicBezTo>
                <a:cubicBezTo>
                  <a:pt x="207" y="68"/>
                  <a:pt x="207" y="68"/>
                  <a:pt x="207" y="68"/>
                </a:cubicBezTo>
                <a:cubicBezTo>
                  <a:pt x="206" y="67"/>
                  <a:pt x="206" y="67"/>
                  <a:pt x="206" y="67"/>
                </a:cubicBezTo>
                <a:close/>
                <a:moveTo>
                  <a:pt x="205" y="63"/>
                </a:moveTo>
                <a:cubicBezTo>
                  <a:pt x="205" y="64"/>
                  <a:pt x="205" y="64"/>
                  <a:pt x="205" y="64"/>
                </a:cubicBezTo>
                <a:cubicBezTo>
                  <a:pt x="205" y="64"/>
                  <a:pt x="205" y="64"/>
                  <a:pt x="205" y="64"/>
                </a:cubicBezTo>
                <a:cubicBezTo>
                  <a:pt x="205" y="63"/>
                  <a:pt x="205" y="63"/>
                  <a:pt x="205" y="63"/>
                </a:cubicBezTo>
                <a:close/>
                <a:moveTo>
                  <a:pt x="207" y="62"/>
                </a:moveTo>
                <a:cubicBezTo>
                  <a:pt x="205" y="62"/>
                  <a:pt x="205" y="62"/>
                  <a:pt x="205" y="62"/>
                </a:cubicBezTo>
                <a:cubicBezTo>
                  <a:pt x="206" y="63"/>
                  <a:pt x="206" y="63"/>
                  <a:pt x="206" y="63"/>
                </a:cubicBezTo>
                <a:cubicBezTo>
                  <a:pt x="206" y="63"/>
                  <a:pt x="206" y="63"/>
                  <a:pt x="206" y="63"/>
                </a:cubicBezTo>
                <a:cubicBezTo>
                  <a:pt x="207" y="62"/>
                  <a:pt x="207" y="62"/>
                  <a:pt x="207" y="62"/>
                </a:cubicBezTo>
                <a:close/>
                <a:moveTo>
                  <a:pt x="207" y="66"/>
                </a:moveTo>
                <a:cubicBezTo>
                  <a:pt x="208" y="64"/>
                  <a:pt x="208" y="64"/>
                  <a:pt x="208" y="64"/>
                </a:cubicBezTo>
                <a:cubicBezTo>
                  <a:pt x="209" y="65"/>
                  <a:pt x="209" y="65"/>
                  <a:pt x="209" y="65"/>
                </a:cubicBezTo>
                <a:cubicBezTo>
                  <a:pt x="210" y="66"/>
                  <a:pt x="210" y="66"/>
                  <a:pt x="210" y="66"/>
                </a:cubicBezTo>
                <a:cubicBezTo>
                  <a:pt x="211" y="66"/>
                  <a:pt x="211" y="66"/>
                  <a:pt x="211" y="66"/>
                </a:cubicBezTo>
                <a:cubicBezTo>
                  <a:pt x="212" y="64"/>
                  <a:pt x="212" y="64"/>
                  <a:pt x="212" y="64"/>
                </a:cubicBezTo>
                <a:cubicBezTo>
                  <a:pt x="213" y="64"/>
                  <a:pt x="213" y="64"/>
                  <a:pt x="213" y="64"/>
                </a:cubicBezTo>
                <a:cubicBezTo>
                  <a:pt x="213" y="66"/>
                  <a:pt x="213" y="66"/>
                  <a:pt x="213" y="66"/>
                </a:cubicBezTo>
                <a:cubicBezTo>
                  <a:pt x="216" y="66"/>
                  <a:pt x="216" y="66"/>
                  <a:pt x="216" y="66"/>
                </a:cubicBezTo>
                <a:cubicBezTo>
                  <a:pt x="217" y="65"/>
                  <a:pt x="217" y="65"/>
                  <a:pt x="217" y="65"/>
                </a:cubicBezTo>
                <a:cubicBezTo>
                  <a:pt x="218" y="65"/>
                  <a:pt x="218" y="65"/>
                  <a:pt x="218" y="65"/>
                </a:cubicBezTo>
                <a:cubicBezTo>
                  <a:pt x="220" y="67"/>
                  <a:pt x="220" y="67"/>
                  <a:pt x="220" y="67"/>
                </a:cubicBezTo>
                <a:cubicBezTo>
                  <a:pt x="221" y="67"/>
                  <a:pt x="221" y="67"/>
                  <a:pt x="221" y="67"/>
                </a:cubicBezTo>
                <a:cubicBezTo>
                  <a:pt x="223" y="68"/>
                  <a:pt x="223" y="68"/>
                  <a:pt x="223" y="68"/>
                </a:cubicBezTo>
                <a:cubicBezTo>
                  <a:pt x="224" y="68"/>
                  <a:pt x="224" y="68"/>
                  <a:pt x="224" y="68"/>
                </a:cubicBezTo>
                <a:cubicBezTo>
                  <a:pt x="225" y="67"/>
                  <a:pt x="225" y="67"/>
                  <a:pt x="225" y="67"/>
                </a:cubicBezTo>
                <a:cubicBezTo>
                  <a:pt x="224" y="65"/>
                  <a:pt x="224" y="65"/>
                  <a:pt x="224" y="65"/>
                </a:cubicBezTo>
                <a:cubicBezTo>
                  <a:pt x="221" y="63"/>
                  <a:pt x="221" y="63"/>
                  <a:pt x="221" y="63"/>
                </a:cubicBezTo>
                <a:cubicBezTo>
                  <a:pt x="218" y="63"/>
                  <a:pt x="218" y="63"/>
                  <a:pt x="218" y="63"/>
                </a:cubicBezTo>
                <a:cubicBezTo>
                  <a:pt x="217" y="61"/>
                  <a:pt x="217" y="61"/>
                  <a:pt x="217" y="61"/>
                </a:cubicBezTo>
                <a:cubicBezTo>
                  <a:pt x="216" y="61"/>
                  <a:pt x="216" y="61"/>
                  <a:pt x="216" y="61"/>
                </a:cubicBezTo>
                <a:cubicBezTo>
                  <a:pt x="215" y="62"/>
                  <a:pt x="215" y="62"/>
                  <a:pt x="215" y="62"/>
                </a:cubicBezTo>
                <a:cubicBezTo>
                  <a:pt x="213" y="62"/>
                  <a:pt x="213" y="62"/>
                  <a:pt x="213" y="62"/>
                </a:cubicBezTo>
                <a:cubicBezTo>
                  <a:pt x="212" y="62"/>
                  <a:pt x="212" y="62"/>
                  <a:pt x="212" y="62"/>
                </a:cubicBezTo>
                <a:cubicBezTo>
                  <a:pt x="211" y="62"/>
                  <a:pt x="211" y="62"/>
                  <a:pt x="211" y="62"/>
                </a:cubicBezTo>
                <a:cubicBezTo>
                  <a:pt x="208" y="62"/>
                  <a:pt x="208" y="62"/>
                  <a:pt x="208" y="62"/>
                </a:cubicBezTo>
                <a:cubicBezTo>
                  <a:pt x="207" y="63"/>
                  <a:pt x="207" y="63"/>
                  <a:pt x="207" y="63"/>
                </a:cubicBezTo>
                <a:cubicBezTo>
                  <a:pt x="207" y="63"/>
                  <a:pt x="207" y="63"/>
                  <a:pt x="207" y="63"/>
                </a:cubicBezTo>
                <a:cubicBezTo>
                  <a:pt x="206" y="64"/>
                  <a:pt x="206" y="64"/>
                  <a:pt x="206" y="64"/>
                </a:cubicBezTo>
                <a:cubicBezTo>
                  <a:pt x="206" y="65"/>
                  <a:pt x="206" y="65"/>
                  <a:pt x="206" y="65"/>
                </a:cubicBezTo>
                <a:cubicBezTo>
                  <a:pt x="206" y="66"/>
                  <a:pt x="206" y="66"/>
                  <a:pt x="206" y="66"/>
                </a:cubicBezTo>
                <a:cubicBezTo>
                  <a:pt x="207" y="66"/>
                  <a:pt x="207" y="66"/>
                  <a:pt x="207" y="66"/>
                </a:cubicBezTo>
                <a:close/>
                <a:moveTo>
                  <a:pt x="195" y="64"/>
                </a:moveTo>
                <a:cubicBezTo>
                  <a:pt x="196" y="64"/>
                  <a:pt x="196" y="64"/>
                  <a:pt x="196" y="64"/>
                </a:cubicBezTo>
                <a:cubicBezTo>
                  <a:pt x="197" y="63"/>
                  <a:pt x="197" y="63"/>
                  <a:pt x="197" y="63"/>
                </a:cubicBezTo>
                <a:cubicBezTo>
                  <a:pt x="199" y="63"/>
                  <a:pt x="199" y="63"/>
                  <a:pt x="199" y="63"/>
                </a:cubicBezTo>
                <a:cubicBezTo>
                  <a:pt x="201" y="64"/>
                  <a:pt x="201" y="64"/>
                  <a:pt x="201" y="64"/>
                </a:cubicBezTo>
                <a:cubicBezTo>
                  <a:pt x="201" y="65"/>
                  <a:pt x="201" y="65"/>
                  <a:pt x="201" y="65"/>
                </a:cubicBezTo>
                <a:cubicBezTo>
                  <a:pt x="202" y="66"/>
                  <a:pt x="202" y="66"/>
                  <a:pt x="202" y="66"/>
                </a:cubicBezTo>
                <a:cubicBezTo>
                  <a:pt x="202" y="67"/>
                  <a:pt x="202" y="67"/>
                  <a:pt x="202" y="67"/>
                </a:cubicBezTo>
                <a:cubicBezTo>
                  <a:pt x="201" y="67"/>
                  <a:pt x="201" y="67"/>
                  <a:pt x="201" y="67"/>
                </a:cubicBezTo>
                <a:cubicBezTo>
                  <a:pt x="200" y="68"/>
                  <a:pt x="200" y="68"/>
                  <a:pt x="200" y="68"/>
                </a:cubicBezTo>
                <a:cubicBezTo>
                  <a:pt x="198" y="68"/>
                  <a:pt x="198" y="68"/>
                  <a:pt x="198" y="68"/>
                </a:cubicBezTo>
                <a:cubicBezTo>
                  <a:pt x="197" y="68"/>
                  <a:pt x="197" y="68"/>
                  <a:pt x="197" y="68"/>
                </a:cubicBezTo>
                <a:cubicBezTo>
                  <a:pt x="196" y="68"/>
                  <a:pt x="196" y="68"/>
                  <a:pt x="196" y="68"/>
                </a:cubicBezTo>
                <a:cubicBezTo>
                  <a:pt x="194" y="67"/>
                  <a:pt x="194" y="67"/>
                  <a:pt x="194" y="67"/>
                </a:cubicBezTo>
                <a:cubicBezTo>
                  <a:pt x="193" y="66"/>
                  <a:pt x="193" y="66"/>
                  <a:pt x="193" y="66"/>
                </a:cubicBezTo>
                <a:cubicBezTo>
                  <a:pt x="193" y="64"/>
                  <a:pt x="193" y="64"/>
                  <a:pt x="193" y="64"/>
                </a:cubicBezTo>
                <a:cubicBezTo>
                  <a:pt x="195" y="64"/>
                  <a:pt x="195" y="64"/>
                  <a:pt x="195" y="64"/>
                </a:cubicBezTo>
                <a:close/>
                <a:moveTo>
                  <a:pt x="160" y="90"/>
                </a:moveTo>
                <a:cubicBezTo>
                  <a:pt x="159" y="89"/>
                  <a:pt x="159" y="89"/>
                  <a:pt x="159" y="89"/>
                </a:cubicBezTo>
                <a:cubicBezTo>
                  <a:pt x="158" y="90"/>
                  <a:pt x="158" y="90"/>
                  <a:pt x="158" y="90"/>
                </a:cubicBezTo>
                <a:cubicBezTo>
                  <a:pt x="159" y="90"/>
                  <a:pt x="159" y="90"/>
                  <a:pt x="159" y="90"/>
                </a:cubicBezTo>
                <a:cubicBezTo>
                  <a:pt x="160" y="90"/>
                  <a:pt x="160" y="90"/>
                  <a:pt x="160" y="90"/>
                </a:cubicBezTo>
                <a:close/>
                <a:moveTo>
                  <a:pt x="158" y="81"/>
                </a:moveTo>
                <a:cubicBezTo>
                  <a:pt x="159" y="83"/>
                  <a:pt x="159" y="83"/>
                  <a:pt x="159" y="83"/>
                </a:cubicBezTo>
                <a:cubicBezTo>
                  <a:pt x="159" y="84"/>
                  <a:pt x="159" y="84"/>
                  <a:pt x="159" y="84"/>
                </a:cubicBezTo>
                <a:cubicBezTo>
                  <a:pt x="159" y="85"/>
                  <a:pt x="159" y="85"/>
                  <a:pt x="159" y="85"/>
                </a:cubicBezTo>
                <a:cubicBezTo>
                  <a:pt x="158" y="84"/>
                  <a:pt x="158" y="84"/>
                  <a:pt x="158" y="84"/>
                </a:cubicBezTo>
                <a:cubicBezTo>
                  <a:pt x="158" y="83"/>
                  <a:pt x="158" y="83"/>
                  <a:pt x="158" y="83"/>
                </a:cubicBezTo>
                <a:cubicBezTo>
                  <a:pt x="158" y="82"/>
                  <a:pt x="158" y="82"/>
                  <a:pt x="158" y="82"/>
                </a:cubicBezTo>
                <a:cubicBezTo>
                  <a:pt x="158" y="81"/>
                  <a:pt x="158" y="81"/>
                  <a:pt x="158" y="81"/>
                </a:cubicBezTo>
                <a:cubicBezTo>
                  <a:pt x="158" y="81"/>
                  <a:pt x="158" y="81"/>
                  <a:pt x="158" y="81"/>
                </a:cubicBezTo>
                <a:close/>
                <a:moveTo>
                  <a:pt x="193" y="57"/>
                </a:moveTo>
                <a:cubicBezTo>
                  <a:pt x="193" y="58"/>
                  <a:pt x="193" y="58"/>
                  <a:pt x="193" y="58"/>
                </a:cubicBezTo>
                <a:cubicBezTo>
                  <a:pt x="194" y="59"/>
                  <a:pt x="194" y="59"/>
                  <a:pt x="194" y="59"/>
                </a:cubicBezTo>
                <a:cubicBezTo>
                  <a:pt x="194" y="60"/>
                  <a:pt x="194" y="60"/>
                  <a:pt x="194" y="60"/>
                </a:cubicBezTo>
                <a:cubicBezTo>
                  <a:pt x="194" y="59"/>
                  <a:pt x="194" y="59"/>
                  <a:pt x="194" y="59"/>
                </a:cubicBezTo>
                <a:cubicBezTo>
                  <a:pt x="193" y="58"/>
                  <a:pt x="193" y="58"/>
                  <a:pt x="193" y="58"/>
                </a:cubicBezTo>
                <a:cubicBezTo>
                  <a:pt x="193" y="57"/>
                  <a:pt x="193" y="57"/>
                  <a:pt x="193" y="57"/>
                </a:cubicBezTo>
                <a:cubicBezTo>
                  <a:pt x="193" y="57"/>
                  <a:pt x="193" y="57"/>
                  <a:pt x="193" y="57"/>
                </a:cubicBezTo>
                <a:close/>
                <a:moveTo>
                  <a:pt x="190" y="55"/>
                </a:moveTo>
                <a:cubicBezTo>
                  <a:pt x="191" y="55"/>
                  <a:pt x="191" y="55"/>
                  <a:pt x="191" y="55"/>
                </a:cubicBezTo>
                <a:cubicBezTo>
                  <a:pt x="192" y="55"/>
                  <a:pt x="192" y="55"/>
                  <a:pt x="192" y="55"/>
                </a:cubicBezTo>
                <a:cubicBezTo>
                  <a:pt x="192" y="55"/>
                  <a:pt x="192" y="55"/>
                  <a:pt x="192" y="55"/>
                </a:cubicBezTo>
                <a:cubicBezTo>
                  <a:pt x="195" y="55"/>
                  <a:pt x="195" y="55"/>
                  <a:pt x="195" y="55"/>
                </a:cubicBezTo>
                <a:cubicBezTo>
                  <a:pt x="196" y="55"/>
                  <a:pt x="196" y="55"/>
                  <a:pt x="196" y="55"/>
                </a:cubicBezTo>
                <a:cubicBezTo>
                  <a:pt x="195" y="56"/>
                  <a:pt x="195" y="56"/>
                  <a:pt x="195" y="56"/>
                </a:cubicBezTo>
                <a:cubicBezTo>
                  <a:pt x="192" y="56"/>
                  <a:pt x="192" y="56"/>
                  <a:pt x="192" y="56"/>
                </a:cubicBezTo>
                <a:cubicBezTo>
                  <a:pt x="190" y="56"/>
                  <a:pt x="190" y="56"/>
                  <a:pt x="190" y="56"/>
                </a:cubicBezTo>
                <a:cubicBezTo>
                  <a:pt x="190" y="55"/>
                  <a:pt x="190" y="55"/>
                  <a:pt x="190" y="55"/>
                </a:cubicBezTo>
                <a:cubicBezTo>
                  <a:pt x="190" y="55"/>
                  <a:pt x="190" y="55"/>
                  <a:pt x="190" y="55"/>
                </a:cubicBezTo>
                <a:close/>
                <a:moveTo>
                  <a:pt x="184" y="55"/>
                </a:moveTo>
                <a:cubicBezTo>
                  <a:pt x="184" y="54"/>
                  <a:pt x="184" y="54"/>
                  <a:pt x="184" y="54"/>
                </a:cubicBezTo>
                <a:cubicBezTo>
                  <a:pt x="185" y="55"/>
                  <a:pt x="185" y="55"/>
                  <a:pt x="185" y="55"/>
                </a:cubicBezTo>
                <a:cubicBezTo>
                  <a:pt x="186" y="54"/>
                  <a:pt x="186" y="54"/>
                  <a:pt x="186" y="54"/>
                </a:cubicBezTo>
                <a:cubicBezTo>
                  <a:pt x="187" y="55"/>
                  <a:pt x="187" y="55"/>
                  <a:pt x="187" y="55"/>
                </a:cubicBezTo>
                <a:cubicBezTo>
                  <a:pt x="188" y="55"/>
                  <a:pt x="188" y="55"/>
                  <a:pt x="188" y="55"/>
                </a:cubicBezTo>
                <a:cubicBezTo>
                  <a:pt x="189" y="54"/>
                  <a:pt x="189" y="54"/>
                  <a:pt x="189" y="54"/>
                </a:cubicBezTo>
                <a:cubicBezTo>
                  <a:pt x="190" y="55"/>
                  <a:pt x="190" y="55"/>
                  <a:pt x="190" y="55"/>
                </a:cubicBezTo>
                <a:cubicBezTo>
                  <a:pt x="190" y="56"/>
                  <a:pt x="190" y="56"/>
                  <a:pt x="190" y="56"/>
                </a:cubicBezTo>
                <a:cubicBezTo>
                  <a:pt x="189" y="56"/>
                  <a:pt x="189" y="56"/>
                  <a:pt x="189" y="56"/>
                </a:cubicBezTo>
                <a:cubicBezTo>
                  <a:pt x="187" y="56"/>
                  <a:pt x="187" y="56"/>
                  <a:pt x="187" y="56"/>
                </a:cubicBezTo>
                <a:cubicBezTo>
                  <a:pt x="187" y="56"/>
                  <a:pt x="187" y="56"/>
                  <a:pt x="187" y="56"/>
                </a:cubicBezTo>
                <a:cubicBezTo>
                  <a:pt x="185" y="57"/>
                  <a:pt x="185" y="57"/>
                  <a:pt x="185" y="57"/>
                </a:cubicBezTo>
                <a:cubicBezTo>
                  <a:pt x="184" y="56"/>
                  <a:pt x="184" y="56"/>
                  <a:pt x="184" y="56"/>
                </a:cubicBezTo>
                <a:cubicBezTo>
                  <a:pt x="184" y="56"/>
                  <a:pt x="184" y="56"/>
                  <a:pt x="184" y="56"/>
                </a:cubicBezTo>
                <a:cubicBezTo>
                  <a:pt x="184" y="55"/>
                  <a:pt x="184" y="55"/>
                  <a:pt x="184" y="55"/>
                </a:cubicBezTo>
                <a:close/>
                <a:moveTo>
                  <a:pt x="173" y="78"/>
                </a:moveTo>
                <a:cubicBezTo>
                  <a:pt x="174" y="77"/>
                  <a:pt x="174" y="77"/>
                  <a:pt x="174" y="77"/>
                </a:cubicBezTo>
                <a:cubicBezTo>
                  <a:pt x="174" y="75"/>
                  <a:pt x="174" y="75"/>
                  <a:pt x="174" y="75"/>
                </a:cubicBezTo>
                <a:cubicBezTo>
                  <a:pt x="174" y="73"/>
                  <a:pt x="174" y="73"/>
                  <a:pt x="174" y="73"/>
                </a:cubicBezTo>
                <a:cubicBezTo>
                  <a:pt x="175" y="72"/>
                  <a:pt x="175" y="72"/>
                  <a:pt x="175" y="72"/>
                </a:cubicBezTo>
                <a:cubicBezTo>
                  <a:pt x="176" y="72"/>
                  <a:pt x="176" y="72"/>
                  <a:pt x="176" y="72"/>
                </a:cubicBezTo>
                <a:cubicBezTo>
                  <a:pt x="176" y="73"/>
                  <a:pt x="176" y="73"/>
                  <a:pt x="176" y="73"/>
                </a:cubicBezTo>
                <a:cubicBezTo>
                  <a:pt x="176" y="74"/>
                  <a:pt x="176" y="74"/>
                  <a:pt x="176" y="74"/>
                </a:cubicBezTo>
                <a:cubicBezTo>
                  <a:pt x="176" y="75"/>
                  <a:pt x="176" y="75"/>
                  <a:pt x="176" y="75"/>
                </a:cubicBezTo>
                <a:cubicBezTo>
                  <a:pt x="176" y="74"/>
                  <a:pt x="176" y="74"/>
                  <a:pt x="176" y="74"/>
                </a:cubicBezTo>
                <a:cubicBezTo>
                  <a:pt x="176" y="75"/>
                  <a:pt x="176" y="75"/>
                  <a:pt x="176" y="75"/>
                </a:cubicBezTo>
                <a:cubicBezTo>
                  <a:pt x="175" y="75"/>
                  <a:pt x="175" y="75"/>
                  <a:pt x="175" y="75"/>
                </a:cubicBezTo>
                <a:cubicBezTo>
                  <a:pt x="174" y="76"/>
                  <a:pt x="174" y="76"/>
                  <a:pt x="174" y="76"/>
                </a:cubicBezTo>
                <a:cubicBezTo>
                  <a:pt x="175" y="77"/>
                  <a:pt x="175" y="77"/>
                  <a:pt x="175" y="77"/>
                </a:cubicBezTo>
                <a:cubicBezTo>
                  <a:pt x="176" y="77"/>
                  <a:pt x="176" y="77"/>
                  <a:pt x="176" y="77"/>
                </a:cubicBezTo>
                <a:cubicBezTo>
                  <a:pt x="176" y="77"/>
                  <a:pt x="176" y="77"/>
                  <a:pt x="176" y="77"/>
                </a:cubicBezTo>
                <a:cubicBezTo>
                  <a:pt x="176" y="78"/>
                  <a:pt x="176" y="78"/>
                  <a:pt x="176" y="78"/>
                </a:cubicBezTo>
                <a:cubicBezTo>
                  <a:pt x="175" y="78"/>
                  <a:pt x="175" y="78"/>
                  <a:pt x="175" y="78"/>
                </a:cubicBezTo>
                <a:cubicBezTo>
                  <a:pt x="174" y="79"/>
                  <a:pt x="174" y="79"/>
                  <a:pt x="174" y="79"/>
                </a:cubicBezTo>
                <a:cubicBezTo>
                  <a:pt x="173" y="80"/>
                  <a:pt x="173" y="80"/>
                  <a:pt x="173" y="80"/>
                </a:cubicBezTo>
                <a:cubicBezTo>
                  <a:pt x="172" y="79"/>
                  <a:pt x="172" y="79"/>
                  <a:pt x="172" y="79"/>
                </a:cubicBezTo>
                <a:cubicBezTo>
                  <a:pt x="173" y="78"/>
                  <a:pt x="173" y="78"/>
                  <a:pt x="173" y="78"/>
                </a:cubicBezTo>
                <a:close/>
                <a:moveTo>
                  <a:pt x="170" y="77"/>
                </a:moveTo>
                <a:cubicBezTo>
                  <a:pt x="170" y="77"/>
                  <a:pt x="170" y="78"/>
                  <a:pt x="170" y="78"/>
                </a:cubicBezTo>
                <a:cubicBezTo>
                  <a:pt x="170" y="78"/>
                  <a:pt x="170" y="78"/>
                  <a:pt x="170" y="78"/>
                </a:cubicBezTo>
                <a:cubicBezTo>
                  <a:pt x="171" y="78"/>
                  <a:pt x="171" y="78"/>
                  <a:pt x="171" y="78"/>
                </a:cubicBezTo>
                <a:cubicBezTo>
                  <a:pt x="172" y="77"/>
                  <a:pt x="172" y="77"/>
                  <a:pt x="172" y="77"/>
                </a:cubicBezTo>
                <a:cubicBezTo>
                  <a:pt x="172" y="77"/>
                  <a:pt x="172" y="77"/>
                  <a:pt x="172" y="77"/>
                </a:cubicBezTo>
                <a:cubicBezTo>
                  <a:pt x="172" y="76"/>
                  <a:pt x="172" y="76"/>
                  <a:pt x="172" y="76"/>
                </a:cubicBezTo>
                <a:cubicBezTo>
                  <a:pt x="173" y="75"/>
                  <a:pt x="173" y="75"/>
                  <a:pt x="173" y="75"/>
                </a:cubicBezTo>
                <a:cubicBezTo>
                  <a:pt x="173" y="75"/>
                  <a:pt x="173" y="75"/>
                  <a:pt x="173" y="75"/>
                </a:cubicBezTo>
                <a:cubicBezTo>
                  <a:pt x="172" y="74"/>
                  <a:pt x="172" y="74"/>
                  <a:pt x="172" y="74"/>
                </a:cubicBezTo>
                <a:cubicBezTo>
                  <a:pt x="171" y="74"/>
                  <a:pt x="171" y="74"/>
                  <a:pt x="171" y="74"/>
                </a:cubicBezTo>
                <a:cubicBezTo>
                  <a:pt x="170" y="75"/>
                  <a:pt x="170" y="75"/>
                  <a:pt x="170" y="75"/>
                </a:cubicBezTo>
                <a:cubicBezTo>
                  <a:pt x="171" y="76"/>
                  <a:pt x="171" y="76"/>
                  <a:pt x="171" y="76"/>
                </a:cubicBezTo>
                <a:cubicBezTo>
                  <a:pt x="170" y="77"/>
                  <a:pt x="170" y="77"/>
                  <a:pt x="170" y="77"/>
                </a:cubicBezTo>
                <a:close/>
                <a:moveTo>
                  <a:pt x="167" y="76"/>
                </a:moveTo>
                <a:cubicBezTo>
                  <a:pt x="167" y="77"/>
                  <a:pt x="167" y="77"/>
                  <a:pt x="167" y="77"/>
                </a:cubicBezTo>
                <a:cubicBezTo>
                  <a:pt x="167" y="77"/>
                  <a:pt x="167" y="77"/>
                  <a:pt x="167" y="77"/>
                </a:cubicBezTo>
                <a:cubicBezTo>
                  <a:pt x="167" y="79"/>
                  <a:pt x="167" y="79"/>
                  <a:pt x="167" y="79"/>
                </a:cubicBezTo>
                <a:cubicBezTo>
                  <a:pt x="168" y="79"/>
                  <a:pt x="168" y="79"/>
                  <a:pt x="168" y="79"/>
                </a:cubicBezTo>
                <a:cubicBezTo>
                  <a:pt x="168" y="78"/>
                  <a:pt x="168" y="78"/>
                  <a:pt x="168" y="78"/>
                </a:cubicBezTo>
                <a:cubicBezTo>
                  <a:pt x="168" y="77"/>
                  <a:pt x="168" y="77"/>
                  <a:pt x="168" y="77"/>
                </a:cubicBezTo>
                <a:cubicBezTo>
                  <a:pt x="167" y="76"/>
                  <a:pt x="167" y="76"/>
                  <a:pt x="167" y="76"/>
                </a:cubicBezTo>
                <a:cubicBezTo>
                  <a:pt x="167" y="76"/>
                  <a:pt x="167" y="76"/>
                  <a:pt x="167" y="76"/>
                </a:cubicBezTo>
                <a:close/>
                <a:moveTo>
                  <a:pt x="176" y="56"/>
                </a:moveTo>
                <a:cubicBezTo>
                  <a:pt x="175" y="56"/>
                  <a:pt x="175" y="56"/>
                  <a:pt x="175" y="56"/>
                </a:cubicBezTo>
                <a:cubicBezTo>
                  <a:pt x="176" y="56"/>
                  <a:pt x="176" y="56"/>
                  <a:pt x="176" y="56"/>
                </a:cubicBezTo>
                <a:cubicBezTo>
                  <a:pt x="176" y="56"/>
                  <a:pt x="176" y="56"/>
                  <a:pt x="176" y="56"/>
                </a:cubicBezTo>
                <a:close/>
                <a:moveTo>
                  <a:pt x="177" y="55"/>
                </a:moveTo>
                <a:cubicBezTo>
                  <a:pt x="177" y="55"/>
                  <a:pt x="177" y="55"/>
                  <a:pt x="177" y="55"/>
                </a:cubicBezTo>
                <a:cubicBezTo>
                  <a:pt x="178" y="55"/>
                  <a:pt x="178" y="55"/>
                  <a:pt x="178" y="55"/>
                </a:cubicBezTo>
                <a:cubicBezTo>
                  <a:pt x="177" y="55"/>
                  <a:pt x="177" y="55"/>
                  <a:pt x="177" y="55"/>
                </a:cubicBezTo>
                <a:close/>
                <a:moveTo>
                  <a:pt x="179" y="54"/>
                </a:moveTo>
                <a:cubicBezTo>
                  <a:pt x="178" y="54"/>
                  <a:pt x="178" y="54"/>
                  <a:pt x="178" y="54"/>
                </a:cubicBezTo>
                <a:cubicBezTo>
                  <a:pt x="179" y="54"/>
                  <a:pt x="179" y="54"/>
                  <a:pt x="179" y="54"/>
                </a:cubicBezTo>
                <a:cubicBezTo>
                  <a:pt x="179" y="54"/>
                  <a:pt x="179" y="54"/>
                  <a:pt x="179" y="54"/>
                </a:cubicBezTo>
                <a:close/>
                <a:moveTo>
                  <a:pt x="174" y="52"/>
                </a:moveTo>
                <a:cubicBezTo>
                  <a:pt x="175" y="51"/>
                  <a:pt x="175" y="51"/>
                  <a:pt x="175" y="51"/>
                </a:cubicBezTo>
                <a:cubicBezTo>
                  <a:pt x="177" y="51"/>
                  <a:pt x="177" y="51"/>
                  <a:pt x="177" y="51"/>
                </a:cubicBezTo>
                <a:cubicBezTo>
                  <a:pt x="177" y="52"/>
                  <a:pt x="177" y="52"/>
                  <a:pt x="177" y="52"/>
                </a:cubicBezTo>
                <a:cubicBezTo>
                  <a:pt x="177" y="53"/>
                  <a:pt x="177" y="53"/>
                  <a:pt x="177" y="53"/>
                </a:cubicBezTo>
                <a:cubicBezTo>
                  <a:pt x="178" y="52"/>
                  <a:pt x="178" y="52"/>
                  <a:pt x="178" y="52"/>
                </a:cubicBezTo>
                <a:cubicBezTo>
                  <a:pt x="178" y="52"/>
                  <a:pt x="178" y="52"/>
                  <a:pt x="178" y="52"/>
                </a:cubicBezTo>
                <a:cubicBezTo>
                  <a:pt x="179" y="52"/>
                  <a:pt x="179" y="52"/>
                  <a:pt x="179" y="52"/>
                </a:cubicBezTo>
                <a:cubicBezTo>
                  <a:pt x="179" y="53"/>
                  <a:pt x="179" y="53"/>
                  <a:pt x="179" y="53"/>
                </a:cubicBezTo>
                <a:cubicBezTo>
                  <a:pt x="178" y="54"/>
                  <a:pt x="178" y="54"/>
                  <a:pt x="178" y="54"/>
                </a:cubicBezTo>
                <a:cubicBezTo>
                  <a:pt x="177" y="53"/>
                  <a:pt x="177" y="53"/>
                  <a:pt x="177" y="53"/>
                </a:cubicBezTo>
                <a:cubicBezTo>
                  <a:pt x="177" y="54"/>
                  <a:pt x="177" y="54"/>
                  <a:pt x="177" y="54"/>
                </a:cubicBezTo>
                <a:cubicBezTo>
                  <a:pt x="176" y="53"/>
                  <a:pt x="176" y="53"/>
                  <a:pt x="176" y="53"/>
                </a:cubicBezTo>
                <a:cubicBezTo>
                  <a:pt x="175" y="54"/>
                  <a:pt x="175" y="54"/>
                  <a:pt x="175" y="54"/>
                </a:cubicBezTo>
                <a:cubicBezTo>
                  <a:pt x="174" y="53"/>
                  <a:pt x="174" y="53"/>
                  <a:pt x="174" y="53"/>
                </a:cubicBezTo>
                <a:cubicBezTo>
                  <a:pt x="174" y="52"/>
                  <a:pt x="174" y="52"/>
                  <a:pt x="174" y="52"/>
                </a:cubicBezTo>
                <a:close/>
                <a:moveTo>
                  <a:pt x="167" y="46"/>
                </a:moveTo>
                <a:cubicBezTo>
                  <a:pt x="168" y="46"/>
                  <a:pt x="168" y="46"/>
                  <a:pt x="168" y="46"/>
                </a:cubicBezTo>
                <a:cubicBezTo>
                  <a:pt x="168" y="46"/>
                  <a:pt x="168" y="46"/>
                  <a:pt x="168" y="46"/>
                </a:cubicBezTo>
                <a:cubicBezTo>
                  <a:pt x="168" y="46"/>
                  <a:pt x="167" y="46"/>
                  <a:pt x="167" y="46"/>
                </a:cubicBezTo>
                <a:close/>
                <a:moveTo>
                  <a:pt x="166" y="46"/>
                </a:moveTo>
                <a:cubicBezTo>
                  <a:pt x="167" y="46"/>
                  <a:pt x="167" y="46"/>
                  <a:pt x="167" y="46"/>
                </a:cubicBezTo>
                <a:cubicBezTo>
                  <a:pt x="168" y="47"/>
                  <a:pt x="168" y="47"/>
                  <a:pt x="168" y="47"/>
                </a:cubicBezTo>
                <a:cubicBezTo>
                  <a:pt x="167" y="47"/>
                  <a:pt x="167" y="47"/>
                  <a:pt x="167" y="47"/>
                </a:cubicBezTo>
                <a:cubicBezTo>
                  <a:pt x="166" y="46"/>
                  <a:pt x="166" y="46"/>
                  <a:pt x="166" y="46"/>
                </a:cubicBezTo>
                <a:close/>
                <a:moveTo>
                  <a:pt x="158" y="41"/>
                </a:moveTo>
                <a:cubicBezTo>
                  <a:pt x="160" y="40"/>
                  <a:pt x="160" y="40"/>
                  <a:pt x="160" y="40"/>
                </a:cubicBezTo>
                <a:cubicBezTo>
                  <a:pt x="162" y="41"/>
                  <a:pt x="162" y="41"/>
                  <a:pt x="162" y="41"/>
                </a:cubicBezTo>
                <a:cubicBezTo>
                  <a:pt x="164" y="41"/>
                  <a:pt x="164" y="41"/>
                  <a:pt x="164" y="41"/>
                </a:cubicBezTo>
                <a:cubicBezTo>
                  <a:pt x="166" y="40"/>
                  <a:pt x="166" y="40"/>
                  <a:pt x="166" y="40"/>
                </a:cubicBezTo>
                <a:cubicBezTo>
                  <a:pt x="167" y="40"/>
                  <a:pt x="167" y="40"/>
                  <a:pt x="167" y="40"/>
                </a:cubicBezTo>
                <a:cubicBezTo>
                  <a:pt x="168" y="41"/>
                  <a:pt x="168" y="41"/>
                  <a:pt x="168" y="41"/>
                </a:cubicBezTo>
                <a:cubicBezTo>
                  <a:pt x="169" y="41"/>
                  <a:pt x="169" y="41"/>
                  <a:pt x="169" y="41"/>
                </a:cubicBezTo>
                <a:cubicBezTo>
                  <a:pt x="170" y="41"/>
                  <a:pt x="170" y="41"/>
                  <a:pt x="170" y="41"/>
                </a:cubicBezTo>
                <a:cubicBezTo>
                  <a:pt x="173" y="41"/>
                  <a:pt x="173" y="41"/>
                  <a:pt x="173" y="41"/>
                </a:cubicBezTo>
                <a:cubicBezTo>
                  <a:pt x="174" y="41"/>
                  <a:pt x="174" y="41"/>
                  <a:pt x="174" y="41"/>
                </a:cubicBezTo>
                <a:cubicBezTo>
                  <a:pt x="174" y="40"/>
                  <a:pt x="174" y="40"/>
                  <a:pt x="174" y="40"/>
                </a:cubicBezTo>
                <a:cubicBezTo>
                  <a:pt x="176" y="40"/>
                  <a:pt x="176" y="40"/>
                  <a:pt x="176" y="40"/>
                </a:cubicBezTo>
                <a:cubicBezTo>
                  <a:pt x="177" y="41"/>
                  <a:pt x="177" y="41"/>
                  <a:pt x="177" y="41"/>
                </a:cubicBezTo>
                <a:cubicBezTo>
                  <a:pt x="177" y="42"/>
                  <a:pt x="177" y="42"/>
                  <a:pt x="177" y="42"/>
                </a:cubicBezTo>
                <a:cubicBezTo>
                  <a:pt x="178" y="42"/>
                  <a:pt x="178" y="42"/>
                  <a:pt x="178" y="42"/>
                </a:cubicBezTo>
                <a:cubicBezTo>
                  <a:pt x="183" y="41"/>
                  <a:pt x="183" y="41"/>
                  <a:pt x="183" y="41"/>
                </a:cubicBezTo>
                <a:cubicBezTo>
                  <a:pt x="185" y="40"/>
                  <a:pt x="185" y="40"/>
                  <a:pt x="185" y="40"/>
                </a:cubicBezTo>
                <a:cubicBezTo>
                  <a:pt x="186" y="38"/>
                  <a:pt x="186" y="38"/>
                  <a:pt x="186" y="38"/>
                </a:cubicBezTo>
                <a:cubicBezTo>
                  <a:pt x="187" y="38"/>
                  <a:pt x="187" y="38"/>
                  <a:pt x="187" y="38"/>
                </a:cubicBezTo>
                <a:cubicBezTo>
                  <a:pt x="187" y="38"/>
                  <a:pt x="187" y="38"/>
                  <a:pt x="187" y="38"/>
                </a:cubicBezTo>
                <a:cubicBezTo>
                  <a:pt x="188" y="37"/>
                  <a:pt x="188" y="37"/>
                  <a:pt x="188" y="37"/>
                </a:cubicBezTo>
                <a:cubicBezTo>
                  <a:pt x="188" y="36"/>
                  <a:pt x="188" y="36"/>
                  <a:pt x="188" y="36"/>
                </a:cubicBezTo>
                <a:cubicBezTo>
                  <a:pt x="189" y="35"/>
                  <a:pt x="189" y="35"/>
                  <a:pt x="189" y="35"/>
                </a:cubicBezTo>
                <a:cubicBezTo>
                  <a:pt x="190" y="35"/>
                  <a:pt x="190" y="35"/>
                  <a:pt x="190" y="35"/>
                </a:cubicBezTo>
                <a:cubicBezTo>
                  <a:pt x="189" y="34"/>
                  <a:pt x="189" y="34"/>
                  <a:pt x="189" y="34"/>
                </a:cubicBezTo>
                <a:cubicBezTo>
                  <a:pt x="189" y="33"/>
                  <a:pt x="189" y="33"/>
                  <a:pt x="189" y="33"/>
                </a:cubicBezTo>
                <a:cubicBezTo>
                  <a:pt x="187" y="33"/>
                  <a:pt x="187" y="33"/>
                  <a:pt x="187" y="33"/>
                </a:cubicBezTo>
                <a:cubicBezTo>
                  <a:pt x="186" y="33"/>
                  <a:pt x="186" y="33"/>
                  <a:pt x="186" y="33"/>
                </a:cubicBezTo>
                <a:cubicBezTo>
                  <a:pt x="186" y="34"/>
                  <a:pt x="186" y="34"/>
                  <a:pt x="186" y="34"/>
                </a:cubicBezTo>
                <a:cubicBezTo>
                  <a:pt x="185" y="35"/>
                  <a:pt x="185" y="35"/>
                  <a:pt x="185" y="35"/>
                </a:cubicBezTo>
                <a:cubicBezTo>
                  <a:pt x="185" y="36"/>
                  <a:pt x="185" y="36"/>
                  <a:pt x="185" y="36"/>
                </a:cubicBezTo>
                <a:cubicBezTo>
                  <a:pt x="183" y="37"/>
                  <a:pt x="183" y="37"/>
                  <a:pt x="183" y="37"/>
                </a:cubicBezTo>
                <a:cubicBezTo>
                  <a:pt x="182" y="37"/>
                  <a:pt x="182" y="37"/>
                  <a:pt x="182" y="37"/>
                </a:cubicBezTo>
                <a:cubicBezTo>
                  <a:pt x="182" y="38"/>
                  <a:pt x="182" y="38"/>
                  <a:pt x="182" y="38"/>
                </a:cubicBezTo>
                <a:cubicBezTo>
                  <a:pt x="180" y="38"/>
                  <a:pt x="180" y="38"/>
                  <a:pt x="180" y="38"/>
                </a:cubicBezTo>
                <a:cubicBezTo>
                  <a:pt x="177" y="38"/>
                  <a:pt x="177" y="38"/>
                  <a:pt x="177" y="38"/>
                </a:cubicBezTo>
                <a:cubicBezTo>
                  <a:pt x="175" y="37"/>
                  <a:pt x="175" y="37"/>
                  <a:pt x="175" y="37"/>
                </a:cubicBezTo>
                <a:cubicBezTo>
                  <a:pt x="174" y="38"/>
                  <a:pt x="174" y="38"/>
                  <a:pt x="174" y="38"/>
                </a:cubicBezTo>
                <a:cubicBezTo>
                  <a:pt x="174" y="38"/>
                  <a:pt x="174" y="38"/>
                  <a:pt x="174" y="38"/>
                </a:cubicBezTo>
                <a:cubicBezTo>
                  <a:pt x="172" y="37"/>
                  <a:pt x="172" y="37"/>
                  <a:pt x="172" y="37"/>
                </a:cubicBezTo>
                <a:cubicBezTo>
                  <a:pt x="171" y="37"/>
                  <a:pt x="171" y="37"/>
                  <a:pt x="171" y="37"/>
                </a:cubicBezTo>
                <a:cubicBezTo>
                  <a:pt x="170" y="37"/>
                  <a:pt x="170" y="37"/>
                  <a:pt x="170" y="37"/>
                </a:cubicBezTo>
                <a:cubicBezTo>
                  <a:pt x="169" y="37"/>
                  <a:pt x="169" y="37"/>
                  <a:pt x="169" y="37"/>
                </a:cubicBezTo>
                <a:cubicBezTo>
                  <a:pt x="168" y="36"/>
                  <a:pt x="168" y="36"/>
                  <a:pt x="168" y="36"/>
                </a:cubicBezTo>
                <a:cubicBezTo>
                  <a:pt x="167" y="37"/>
                  <a:pt x="167" y="37"/>
                  <a:pt x="167" y="37"/>
                </a:cubicBezTo>
                <a:cubicBezTo>
                  <a:pt x="166" y="36"/>
                  <a:pt x="166" y="36"/>
                  <a:pt x="166" y="36"/>
                </a:cubicBezTo>
                <a:cubicBezTo>
                  <a:pt x="165" y="35"/>
                  <a:pt x="165" y="35"/>
                  <a:pt x="165" y="35"/>
                </a:cubicBezTo>
                <a:cubicBezTo>
                  <a:pt x="163" y="35"/>
                  <a:pt x="163" y="35"/>
                  <a:pt x="163" y="35"/>
                </a:cubicBezTo>
                <a:cubicBezTo>
                  <a:pt x="162" y="35"/>
                  <a:pt x="162" y="35"/>
                  <a:pt x="162" y="35"/>
                </a:cubicBezTo>
                <a:cubicBezTo>
                  <a:pt x="162" y="36"/>
                  <a:pt x="162" y="36"/>
                  <a:pt x="162" y="36"/>
                </a:cubicBezTo>
                <a:cubicBezTo>
                  <a:pt x="161" y="37"/>
                  <a:pt x="161" y="37"/>
                  <a:pt x="161" y="37"/>
                </a:cubicBezTo>
                <a:cubicBezTo>
                  <a:pt x="160" y="38"/>
                  <a:pt x="160" y="38"/>
                  <a:pt x="160" y="38"/>
                </a:cubicBezTo>
                <a:cubicBezTo>
                  <a:pt x="159" y="39"/>
                  <a:pt x="159" y="39"/>
                  <a:pt x="159" y="39"/>
                </a:cubicBezTo>
                <a:cubicBezTo>
                  <a:pt x="158" y="38"/>
                  <a:pt x="158" y="38"/>
                  <a:pt x="158" y="38"/>
                </a:cubicBezTo>
                <a:cubicBezTo>
                  <a:pt x="156" y="39"/>
                  <a:pt x="156" y="39"/>
                  <a:pt x="156" y="39"/>
                </a:cubicBezTo>
                <a:cubicBezTo>
                  <a:pt x="156" y="39"/>
                  <a:pt x="156" y="39"/>
                  <a:pt x="156" y="39"/>
                </a:cubicBezTo>
                <a:cubicBezTo>
                  <a:pt x="156" y="40"/>
                  <a:pt x="156" y="40"/>
                  <a:pt x="156" y="40"/>
                </a:cubicBezTo>
                <a:cubicBezTo>
                  <a:pt x="154" y="41"/>
                  <a:pt x="154" y="41"/>
                  <a:pt x="154" y="41"/>
                </a:cubicBezTo>
                <a:cubicBezTo>
                  <a:pt x="154" y="43"/>
                  <a:pt x="154" y="43"/>
                  <a:pt x="154" y="43"/>
                </a:cubicBezTo>
                <a:cubicBezTo>
                  <a:pt x="154" y="44"/>
                  <a:pt x="154" y="44"/>
                  <a:pt x="154" y="44"/>
                </a:cubicBezTo>
                <a:cubicBezTo>
                  <a:pt x="154" y="46"/>
                  <a:pt x="154" y="46"/>
                  <a:pt x="154" y="46"/>
                </a:cubicBezTo>
                <a:cubicBezTo>
                  <a:pt x="154" y="47"/>
                  <a:pt x="154" y="47"/>
                  <a:pt x="154" y="47"/>
                </a:cubicBezTo>
                <a:cubicBezTo>
                  <a:pt x="155" y="48"/>
                  <a:pt x="155" y="48"/>
                  <a:pt x="155" y="48"/>
                </a:cubicBezTo>
                <a:cubicBezTo>
                  <a:pt x="155" y="50"/>
                  <a:pt x="155" y="50"/>
                  <a:pt x="155" y="50"/>
                </a:cubicBezTo>
                <a:cubicBezTo>
                  <a:pt x="154" y="49"/>
                  <a:pt x="154" y="49"/>
                  <a:pt x="154" y="49"/>
                </a:cubicBezTo>
                <a:cubicBezTo>
                  <a:pt x="154" y="48"/>
                  <a:pt x="154" y="48"/>
                  <a:pt x="154" y="48"/>
                </a:cubicBezTo>
                <a:cubicBezTo>
                  <a:pt x="153" y="48"/>
                  <a:pt x="153" y="48"/>
                  <a:pt x="153" y="48"/>
                </a:cubicBezTo>
                <a:cubicBezTo>
                  <a:pt x="152" y="49"/>
                  <a:pt x="152" y="49"/>
                  <a:pt x="152" y="49"/>
                </a:cubicBezTo>
                <a:cubicBezTo>
                  <a:pt x="151" y="50"/>
                  <a:pt x="151" y="50"/>
                  <a:pt x="151" y="50"/>
                </a:cubicBezTo>
                <a:cubicBezTo>
                  <a:pt x="151" y="51"/>
                  <a:pt x="151" y="51"/>
                  <a:pt x="151" y="51"/>
                </a:cubicBezTo>
                <a:cubicBezTo>
                  <a:pt x="151" y="52"/>
                  <a:pt x="151" y="52"/>
                  <a:pt x="151" y="52"/>
                </a:cubicBezTo>
                <a:cubicBezTo>
                  <a:pt x="151" y="53"/>
                  <a:pt x="151" y="53"/>
                  <a:pt x="151" y="53"/>
                </a:cubicBezTo>
                <a:cubicBezTo>
                  <a:pt x="151" y="56"/>
                  <a:pt x="151" y="56"/>
                  <a:pt x="151" y="56"/>
                </a:cubicBezTo>
                <a:cubicBezTo>
                  <a:pt x="151" y="57"/>
                  <a:pt x="151" y="57"/>
                  <a:pt x="151" y="57"/>
                </a:cubicBezTo>
                <a:cubicBezTo>
                  <a:pt x="151" y="58"/>
                  <a:pt x="151" y="58"/>
                  <a:pt x="151" y="58"/>
                </a:cubicBezTo>
                <a:cubicBezTo>
                  <a:pt x="150" y="58"/>
                  <a:pt x="150" y="58"/>
                  <a:pt x="150" y="58"/>
                </a:cubicBezTo>
                <a:cubicBezTo>
                  <a:pt x="150" y="60"/>
                  <a:pt x="150" y="60"/>
                  <a:pt x="150" y="60"/>
                </a:cubicBezTo>
                <a:cubicBezTo>
                  <a:pt x="148" y="61"/>
                  <a:pt x="148" y="61"/>
                  <a:pt x="148" y="61"/>
                </a:cubicBezTo>
                <a:cubicBezTo>
                  <a:pt x="148" y="62"/>
                  <a:pt x="148" y="62"/>
                  <a:pt x="148" y="62"/>
                </a:cubicBezTo>
                <a:cubicBezTo>
                  <a:pt x="148" y="63"/>
                  <a:pt x="148" y="63"/>
                  <a:pt x="148" y="63"/>
                </a:cubicBezTo>
                <a:cubicBezTo>
                  <a:pt x="148" y="64"/>
                  <a:pt x="148" y="64"/>
                  <a:pt x="148" y="64"/>
                </a:cubicBezTo>
                <a:cubicBezTo>
                  <a:pt x="148" y="66"/>
                  <a:pt x="148" y="66"/>
                  <a:pt x="148" y="66"/>
                </a:cubicBezTo>
                <a:cubicBezTo>
                  <a:pt x="149" y="67"/>
                  <a:pt x="149" y="67"/>
                  <a:pt x="149" y="67"/>
                </a:cubicBezTo>
                <a:cubicBezTo>
                  <a:pt x="150" y="66"/>
                  <a:pt x="150" y="66"/>
                  <a:pt x="150" y="66"/>
                </a:cubicBezTo>
                <a:cubicBezTo>
                  <a:pt x="150" y="66"/>
                  <a:pt x="150" y="66"/>
                  <a:pt x="150" y="66"/>
                </a:cubicBezTo>
                <a:cubicBezTo>
                  <a:pt x="151" y="66"/>
                  <a:pt x="151" y="66"/>
                  <a:pt x="151" y="66"/>
                </a:cubicBezTo>
                <a:cubicBezTo>
                  <a:pt x="152" y="66"/>
                  <a:pt x="152" y="66"/>
                  <a:pt x="152" y="66"/>
                </a:cubicBezTo>
                <a:cubicBezTo>
                  <a:pt x="152" y="68"/>
                  <a:pt x="152" y="68"/>
                  <a:pt x="152" y="68"/>
                </a:cubicBezTo>
                <a:cubicBezTo>
                  <a:pt x="153" y="71"/>
                  <a:pt x="153" y="71"/>
                  <a:pt x="153" y="71"/>
                </a:cubicBezTo>
                <a:cubicBezTo>
                  <a:pt x="153" y="71"/>
                  <a:pt x="153" y="71"/>
                  <a:pt x="153" y="71"/>
                </a:cubicBezTo>
                <a:cubicBezTo>
                  <a:pt x="152" y="73"/>
                  <a:pt x="152" y="73"/>
                  <a:pt x="152" y="73"/>
                </a:cubicBezTo>
                <a:cubicBezTo>
                  <a:pt x="152" y="74"/>
                  <a:pt x="152" y="74"/>
                  <a:pt x="152" y="74"/>
                </a:cubicBezTo>
                <a:cubicBezTo>
                  <a:pt x="151" y="77"/>
                  <a:pt x="151" y="77"/>
                  <a:pt x="151" y="77"/>
                </a:cubicBezTo>
                <a:cubicBezTo>
                  <a:pt x="152" y="79"/>
                  <a:pt x="152" y="79"/>
                  <a:pt x="152" y="79"/>
                </a:cubicBezTo>
                <a:cubicBezTo>
                  <a:pt x="152" y="79"/>
                  <a:pt x="152" y="79"/>
                  <a:pt x="152" y="79"/>
                </a:cubicBezTo>
                <a:cubicBezTo>
                  <a:pt x="153" y="80"/>
                  <a:pt x="153" y="80"/>
                  <a:pt x="153" y="80"/>
                </a:cubicBezTo>
                <a:cubicBezTo>
                  <a:pt x="154" y="80"/>
                  <a:pt x="154" y="80"/>
                  <a:pt x="154" y="80"/>
                </a:cubicBezTo>
                <a:cubicBezTo>
                  <a:pt x="155" y="79"/>
                  <a:pt x="155" y="79"/>
                  <a:pt x="155" y="79"/>
                </a:cubicBezTo>
                <a:cubicBezTo>
                  <a:pt x="156" y="79"/>
                  <a:pt x="156" y="79"/>
                  <a:pt x="156" y="79"/>
                </a:cubicBezTo>
                <a:cubicBezTo>
                  <a:pt x="157" y="79"/>
                  <a:pt x="157" y="79"/>
                  <a:pt x="157" y="79"/>
                </a:cubicBezTo>
                <a:cubicBezTo>
                  <a:pt x="158" y="80"/>
                  <a:pt x="158" y="80"/>
                  <a:pt x="158" y="80"/>
                </a:cubicBezTo>
                <a:cubicBezTo>
                  <a:pt x="158" y="79"/>
                  <a:pt x="158" y="79"/>
                  <a:pt x="158" y="79"/>
                </a:cubicBezTo>
                <a:cubicBezTo>
                  <a:pt x="158" y="78"/>
                  <a:pt x="158" y="78"/>
                  <a:pt x="158" y="78"/>
                </a:cubicBezTo>
                <a:cubicBezTo>
                  <a:pt x="157" y="77"/>
                  <a:pt x="157" y="77"/>
                  <a:pt x="157" y="77"/>
                </a:cubicBezTo>
                <a:cubicBezTo>
                  <a:pt x="157" y="75"/>
                  <a:pt x="157" y="75"/>
                  <a:pt x="157" y="75"/>
                </a:cubicBezTo>
                <a:cubicBezTo>
                  <a:pt x="158" y="74"/>
                  <a:pt x="158" y="74"/>
                  <a:pt x="158" y="74"/>
                </a:cubicBezTo>
                <a:cubicBezTo>
                  <a:pt x="158" y="72"/>
                  <a:pt x="158" y="72"/>
                  <a:pt x="158" y="72"/>
                </a:cubicBezTo>
                <a:cubicBezTo>
                  <a:pt x="158" y="70"/>
                  <a:pt x="158" y="70"/>
                  <a:pt x="158" y="70"/>
                </a:cubicBezTo>
                <a:cubicBezTo>
                  <a:pt x="157" y="70"/>
                  <a:pt x="157" y="70"/>
                  <a:pt x="157" y="70"/>
                </a:cubicBezTo>
                <a:cubicBezTo>
                  <a:pt x="159" y="68"/>
                  <a:pt x="159" y="68"/>
                  <a:pt x="159" y="68"/>
                </a:cubicBezTo>
                <a:cubicBezTo>
                  <a:pt x="159" y="66"/>
                  <a:pt x="159" y="66"/>
                  <a:pt x="159" y="66"/>
                </a:cubicBezTo>
                <a:cubicBezTo>
                  <a:pt x="159" y="64"/>
                  <a:pt x="159" y="64"/>
                  <a:pt x="159" y="64"/>
                </a:cubicBezTo>
                <a:cubicBezTo>
                  <a:pt x="158" y="63"/>
                  <a:pt x="158" y="63"/>
                  <a:pt x="158" y="63"/>
                </a:cubicBezTo>
                <a:cubicBezTo>
                  <a:pt x="158" y="63"/>
                  <a:pt x="158" y="63"/>
                  <a:pt x="158" y="63"/>
                </a:cubicBezTo>
                <a:cubicBezTo>
                  <a:pt x="159" y="62"/>
                  <a:pt x="159" y="62"/>
                  <a:pt x="159" y="62"/>
                </a:cubicBezTo>
                <a:cubicBezTo>
                  <a:pt x="160" y="61"/>
                  <a:pt x="160" y="61"/>
                  <a:pt x="160" y="61"/>
                </a:cubicBezTo>
                <a:cubicBezTo>
                  <a:pt x="161" y="61"/>
                  <a:pt x="161" y="61"/>
                  <a:pt x="161" y="61"/>
                </a:cubicBezTo>
                <a:cubicBezTo>
                  <a:pt x="162" y="61"/>
                  <a:pt x="162" y="61"/>
                  <a:pt x="162" y="61"/>
                </a:cubicBezTo>
                <a:cubicBezTo>
                  <a:pt x="162" y="62"/>
                  <a:pt x="162" y="62"/>
                  <a:pt x="162" y="62"/>
                </a:cubicBezTo>
                <a:cubicBezTo>
                  <a:pt x="163" y="63"/>
                  <a:pt x="163" y="63"/>
                  <a:pt x="163" y="63"/>
                </a:cubicBezTo>
                <a:cubicBezTo>
                  <a:pt x="163" y="64"/>
                  <a:pt x="163" y="64"/>
                  <a:pt x="163" y="64"/>
                </a:cubicBezTo>
                <a:cubicBezTo>
                  <a:pt x="162" y="65"/>
                  <a:pt x="162" y="65"/>
                  <a:pt x="162" y="65"/>
                </a:cubicBezTo>
                <a:cubicBezTo>
                  <a:pt x="161" y="67"/>
                  <a:pt x="161" y="67"/>
                  <a:pt x="161" y="67"/>
                </a:cubicBezTo>
                <a:cubicBezTo>
                  <a:pt x="162" y="68"/>
                  <a:pt x="162" y="68"/>
                  <a:pt x="162" y="68"/>
                </a:cubicBezTo>
                <a:cubicBezTo>
                  <a:pt x="163" y="68"/>
                  <a:pt x="163" y="68"/>
                  <a:pt x="163" y="68"/>
                </a:cubicBezTo>
                <a:cubicBezTo>
                  <a:pt x="164" y="69"/>
                  <a:pt x="164" y="69"/>
                  <a:pt x="164" y="69"/>
                </a:cubicBezTo>
                <a:cubicBezTo>
                  <a:pt x="165" y="70"/>
                  <a:pt x="165" y="70"/>
                  <a:pt x="165" y="70"/>
                </a:cubicBezTo>
                <a:cubicBezTo>
                  <a:pt x="165" y="71"/>
                  <a:pt x="165" y="71"/>
                  <a:pt x="165" y="71"/>
                </a:cubicBezTo>
                <a:cubicBezTo>
                  <a:pt x="165" y="71"/>
                  <a:pt x="165" y="71"/>
                  <a:pt x="165" y="71"/>
                </a:cubicBezTo>
                <a:cubicBezTo>
                  <a:pt x="165" y="73"/>
                  <a:pt x="165" y="73"/>
                  <a:pt x="165" y="73"/>
                </a:cubicBezTo>
                <a:cubicBezTo>
                  <a:pt x="165" y="74"/>
                  <a:pt x="165" y="74"/>
                  <a:pt x="165" y="74"/>
                </a:cubicBezTo>
                <a:cubicBezTo>
                  <a:pt x="166" y="75"/>
                  <a:pt x="166" y="75"/>
                  <a:pt x="166" y="75"/>
                </a:cubicBezTo>
                <a:cubicBezTo>
                  <a:pt x="167" y="75"/>
                  <a:pt x="167" y="75"/>
                  <a:pt x="167" y="75"/>
                </a:cubicBezTo>
                <a:cubicBezTo>
                  <a:pt x="168" y="75"/>
                  <a:pt x="168" y="75"/>
                  <a:pt x="168" y="75"/>
                </a:cubicBezTo>
                <a:cubicBezTo>
                  <a:pt x="169" y="75"/>
                  <a:pt x="169" y="75"/>
                  <a:pt x="169" y="75"/>
                </a:cubicBezTo>
                <a:cubicBezTo>
                  <a:pt x="169" y="74"/>
                  <a:pt x="169" y="74"/>
                  <a:pt x="169" y="74"/>
                </a:cubicBezTo>
                <a:cubicBezTo>
                  <a:pt x="169" y="74"/>
                  <a:pt x="169" y="74"/>
                  <a:pt x="169" y="74"/>
                </a:cubicBezTo>
                <a:cubicBezTo>
                  <a:pt x="170" y="73"/>
                  <a:pt x="170" y="73"/>
                  <a:pt x="170" y="73"/>
                </a:cubicBezTo>
                <a:cubicBezTo>
                  <a:pt x="171" y="72"/>
                  <a:pt x="171" y="72"/>
                  <a:pt x="171" y="72"/>
                </a:cubicBezTo>
                <a:cubicBezTo>
                  <a:pt x="172" y="71"/>
                  <a:pt x="172" y="71"/>
                  <a:pt x="172" y="71"/>
                </a:cubicBezTo>
                <a:cubicBezTo>
                  <a:pt x="174" y="72"/>
                  <a:pt x="174" y="72"/>
                  <a:pt x="174" y="72"/>
                </a:cubicBezTo>
                <a:cubicBezTo>
                  <a:pt x="175" y="71"/>
                  <a:pt x="175" y="71"/>
                  <a:pt x="175" y="71"/>
                </a:cubicBezTo>
                <a:cubicBezTo>
                  <a:pt x="175" y="71"/>
                  <a:pt x="175" y="71"/>
                  <a:pt x="175" y="71"/>
                </a:cubicBezTo>
                <a:cubicBezTo>
                  <a:pt x="176" y="71"/>
                  <a:pt x="176" y="71"/>
                  <a:pt x="176" y="71"/>
                </a:cubicBezTo>
                <a:cubicBezTo>
                  <a:pt x="177" y="70"/>
                  <a:pt x="177" y="70"/>
                  <a:pt x="177" y="70"/>
                </a:cubicBezTo>
                <a:cubicBezTo>
                  <a:pt x="177" y="70"/>
                  <a:pt x="177" y="70"/>
                  <a:pt x="177" y="70"/>
                </a:cubicBezTo>
                <a:cubicBezTo>
                  <a:pt x="175" y="70"/>
                  <a:pt x="175" y="70"/>
                  <a:pt x="175" y="70"/>
                </a:cubicBezTo>
                <a:cubicBezTo>
                  <a:pt x="174" y="70"/>
                  <a:pt x="174" y="70"/>
                  <a:pt x="174" y="70"/>
                </a:cubicBezTo>
                <a:cubicBezTo>
                  <a:pt x="174" y="70"/>
                  <a:pt x="174" y="70"/>
                  <a:pt x="174" y="70"/>
                </a:cubicBezTo>
                <a:cubicBezTo>
                  <a:pt x="173" y="70"/>
                  <a:pt x="173" y="70"/>
                  <a:pt x="173" y="70"/>
                </a:cubicBezTo>
                <a:cubicBezTo>
                  <a:pt x="173" y="69"/>
                  <a:pt x="173" y="69"/>
                  <a:pt x="173" y="69"/>
                </a:cubicBezTo>
                <a:cubicBezTo>
                  <a:pt x="172" y="69"/>
                  <a:pt x="172" y="69"/>
                  <a:pt x="172" y="69"/>
                </a:cubicBezTo>
                <a:cubicBezTo>
                  <a:pt x="172" y="68"/>
                  <a:pt x="172" y="68"/>
                  <a:pt x="172" y="68"/>
                </a:cubicBezTo>
                <a:cubicBezTo>
                  <a:pt x="172" y="68"/>
                  <a:pt x="172" y="68"/>
                  <a:pt x="172" y="68"/>
                </a:cubicBezTo>
                <a:cubicBezTo>
                  <a:pt x="171" y="68"/>
                  <a:pt x="171" y="68"/>
                  <a:pt x="171" y="68"/>
                </a:cubicBezTo>
                <a:cubicBezTo>
                  <a:pt x="171" y="68"/>
                  <a:pt x="171" y="68"/>
                  <a:pt x="171" y="68"/>
                </a:cubicBezTo>
                <a:cubicBezTo>
                  <a:pt x="170" y="67"/>
                  <a:pt x="170" y="67"/>
                  <a:pt x="170" y="67"/>
                </a:cubicBezTo>
                <a:cubicBezTo>
                  <a:pt x="169" y="67"/>
                  <a:pt x="169" y="67"/>
                  <a:pt x="169" y="67"/>
                </a:cubicBezTo>
                <a:cubicBezTo>
                  <a:pt x="170" y="66"/>
                  <a:pt x="170" y="66"/>
                  <a:pt x="170" y="66"/>
                </a:cubicBezTo>
                <a:cubicBezTo>
                  <a:pt x="170" y="65"/>
                  <a:pt x="170" y="65"/>
                  <a:pt x="170" y="65"/>
                </a:cubicBezTo>
                <a:cubicBezTo>
                  <a:pt x="171" y="65"/>
                  <a:pt x="171" y="65"/>
                  <a:pt x="171" y="65"/>
                </a:cubicBezTo>
                <a:cubicBezTo>
                  <a:pt x="171" y="65"/>
                  <a:pt x="171" y="65"/>
                  <a:pt x="171" y="65"/>
                </a:cubicBezTo>
                <a:cubicBezTo>
                  <a:pt x="171" y="65"/>
                  <a:pt x="171" y="65"/>
                  <a:pt x="171" y="65"/>
                </a:cubicBezTo>
                <a:cubicBezTo>
                  <a:pt x="171" y="64"/>
                  <a:pt x="171" y="64"/>
                  <a:pt x="171" y="64"/>
                </a:cubicBezTo>
                <a:cubicBezTo>
                  <a:pt x="171" y="63"/>
                  <a:pt x="171" y="63"/>
                  <a:pt x="171" y="63"/>
                </a:cubicBezTo>
                <a:cubicBezTo>
                  <a:pt x="170" y="63"/>
                  <a:pt x="170" y="63"/>
                  <a:pt x="170" y="63"/>
                </a:cubicBezTo>
                <a:cubicBezTo>
                  <a:pt x="170" y="62"/>
                  <a:pt x="170" y="62"/>
                  <a:pt x="170" y="62"/>
                </a:cubicBezTo>
                <a:cubicBezTo>
                  <a:pt x="170" y="62"/>
                  <a:pt x="170" y="62"/>
                  <a:pt x="170" y="62"/>
                </a:cubicBezTo>
                <a:cubicBezTo>
                  <a:pt x="169" y="61"/>
                  <a:pt x="169" y="61"/>
                  <a:pt x="169" y="61"/>
                </a:cubicBezTo>
                <a:cubicBezTo>
                  <a:pt x="168" y="61"/>
                  <a:pt x="168" y="61"/>
                  <a:pt x="168" y="61"/>
                </a:cubicBezTo>
                <a:cubicBezTo>
                  <a:pt x="168" y="60"/>
                  <a:pt x="168" y="60"/>
                  <a:pt x="168" y="60"/>
                </a:cubicBezTo>
                <a:cubicBezTo>
                  <a:pt x="166" y="58"/>
                  <a:pt x="166" y="58"/>
                  <a:pt x="166" y="58"/>
                </a:cubicBezTo>
                <a:cubicBezTo>
                  <a:pt x="165" y="57"/>
                  <a:pt x="165" y="57"/>
                  <a:pt x="165" y="57"/>
                </a:cubicBezTo>
                <a:cubicBezTo>
                  <a:pt x="165" y="56"/>
                  <a:pt x="165" y="56"/>
                  <a:pt x="165" y="56"/>
                </a:cubicBezTo>
                <a:cubicBezTo>
                  <a:pt x="165" y="56"/>
                  <a:pt x="165" y="56"/>
                  <a:pt x="165" y="56"/>
                </a:cubicBezTo>
                <a:cubicBezTo>
                  <a:pt x="165" y="56"/>
                  <a:pt x="165" y="56"/>
                  <a:pt x="165" y="56"/>
                </a:cubicBezTo>
                <a:cubicBezTo>
                  <a:pt x="166" y="56"/>
                  <a:pt x="166" y="56"/>
                  <a:pt x="166" y="56"/>
                </a:cubicBezTo>
                <a:cubicBezTo>
                  <a:pt x="167" y="56"/>
                  <a:pt x="167" y="56"/>
                  <a:pt x="167" y="56"/>
                </a:cubicBezTo>
                <a:cubicBezTo>
                  <a:pt x="168" y="56"/>
                  <a:pt x="168" y="56"/>
                  <a:pt x="168" y="56"/>
                </a:cubicBezTo>
                <a:cubicBezTo>
                  <a:pt x="168" y="55"/>
                  <a:pt x="168" y="55"/>
                  <a:pt x="168" y="55"/>
                </a:cubicBezTo>
                <a:cubicBezTo>
                  <a:pt x="170" y="54"/>
                  <a:pt x="170" y="54"/>
                  <a:pt x="170" y="54"/>
                </a:cubicBezTo>
                <a:cubicBezTo>
                  <a:pt x="172" y="52"/>
                  <a:pt x="172" y="52"/>
                  <a:pt x="172" y="52"/>
                </a:cubicBezTo>
                <a:cubicBezTo>
                  <a:pt x="173" y="51"/>
                  <a:pt x="173" y="51"/>
                  <a:pt x="173" y="51"/>
                </a:cubicBezTo>
                <a:cubicBezTo>
                  <a:pt x="174" y="50"/>
                  <a:pt x="174" y="50"/>
                  <a:pt x="174" y="50"/>
                </a:cubicBezTo>
                <a:cubicBezTo>
                  <a:pt x="174" y="50"/>
                  <a:pt x="174" y="50"/>
                  <a:pt x="174" y="50"/>
                </a:cubicBezTo>
                <a:cubicBezTo>
                  <a:pt x="176" y="49"/>
                  <a:pt x="176" y="49"/>
                  <a:pt x="176" y="49"/>
                </a:cubicBezTo>
                <a:cubicBezTo>
                  <a:pt x="177" y="50"/>
                  <a:pt x="177" y="50"/>
                  <a:pt x="177" y="50"/>
                </a:cubicBezTo>
                <a:cubicBezTo>
                  <a:pt x="178" y="50"/>
                  <a:pt x="178" y="50"/>
                  <a:pt x="178" y="50"/>
                </a:cubicBezTo>
                <a:cubicBezTo>
                  <a:pt x="179" y="48"/>
                  <a:pt x="179" y="48"/>
                  <a:pt x="179" y="48"/>
                </a:cubicBezTo>
                <a:cubicBezTo>
                  <a:pt x="179" y="47"/>
                  <a:pt x="179" y="47"/>
                  <a:pt x="179" y="47"/>
                </a:cubicBezTo>
                <a:cubicBezTo>
                  <a:pt x="177" y="47"/>
                  <a:pt x="177" y="47"/>
                  <a:pt x="177" y="47"/>
                </a:cubicBezTo>
                <a:cubicBezTo>
                  <a:pt x="175" y="47"/>
                  <a:pt x="175" y="47"/>
                  <a:pt x="175" y="47"/>
                </a:cubicBezTo>
                <a:cubicBezTo>
                  <a:pt x="173" y="48"/>
                  <a:pt x="173" y="48"/>
                  <a:pt x="173" y="48"/>
                </a:cubicBezTo>
                <a:cubicBezTo>
                  <a:pt x="172" y="48"/>
                  <a:pt x="172" y="48"/>
                  <a:pt x="172" y="48"/>
                </a:cubicBezTo>
                <a:cubicBezTo>
                  <a:pt x="171" y="48"/>
                  <a:pt x="171" y="48"/>
                  <a:pt x="171" y="48"/>
                </a:cubicBezTo>
                <a:cubicBezTo>
                  <a:pt x="170" y="49"/>
                  <a:pt x="170" y="49"/>
                  <a:pt x="170" y="49"/>
                </a:cubicBezTo>
                <a:cubicBezTo>
                  <a:pt x="168" y="49"/>
                  <a:pt x="168" y="49"/>
                  <a:pt x="168" y="49"/>
                </a:cubicBezTo>
                <a:cubicBezTo>
                  <a:pt x="167" y="50"/>
                  <a:pt x="167" y="50"/>
                  <a:pt x="167" y="50"/>
                </a:cubicBezTo>
                <a:cubicBezTo>
                  <a:pt x="166" y="49"/>
                  <a:pt x="166" y="49"/>
                  <a:pt x="166" y="49"/>
                </a:cubicBezTo>
                <a:cubicBezTo>
                  <a:pt x="165" y="49"/>
                  <a:pt x="165" y="49"/>
                  <a:pt x="165" y="49"/>
                </a:cubicBezTo>
                <a:cubicBezTo>
                  <a:pt x="164" y="50"/>
                  <a:pt x="164" y="50"/>
                  <a:pt x="164" y="50"/>
                </a:cubicBezTo>
                <a:cubicBezTo>
                  <a:pt x="163" y="52"/>
                  <a:pt x="163" y="52"/>
                  <a:pt x="163" y="52"/>
                </a:cubicBezTo>
                <a:cubicBezTo>
                  <a:pt x="162" y="53"/>
                  <a:pt x="162" y="53"/>
                  <a:pt x="162" y="53"/>
                </a:cubicBezTo>
                <a:cubicBezTo>
                  <a:pt x="161" y="53"/>
                  <a:pt x="161" y="53"/>
                  <a:pt x="161" y="53"/>
                </a:cubicBezTo>
                <a:cubicBezTo>
                  <a:pt x="160" y="52"/>
                  <a:pt x="160" y="52"/>
                  <a:pt x="160" y="52"/>
                </a:cubicBezTo>
                <a:cubicBezTo>
                  <a:pt x="159" y="50"/>
                  <a:pt x="159" y="50"/>
                  <a:pt x="159" y="50"/>
                </a:cubicBezTo>
                <a:cubicBezTo>
                  <a:pt x="157" y="49"/>
                  <a:pt x="157" y="49"/>
                  <a:pt x="157" y="49"/>
                </a:cubicBezTo>
                <a:cubicBezTo>
                  <a:pt x="156" y="47"/>
                  <a:pt x="156" y="47"/>
                  <a:pt x="156" y="47"/>
                </a:cubicBezTo>
                <a:cubicBezTo>
                  <a:pt x="156" y="44"/>
                  <a:pt x="156" y="44"/>
                  <a:pt x="156" y="44"/>
                </a:cubicBezTo>
                <a:cubicBezTo>
                  <a:pt x="157" y="42"/>
                  <a:pt x="157" y="42"/>
                  <a:pt x="157" y="42"/>
                </a:cubicBezTo>
                <a:cubicBezTo>
                  <a:pt x="158" y="41"/>
                  <a:pt x="158" y="41"/>
                  <a:pt x="158" y="41"/>
                </a:cubicBezTo>
                <a:close/>
                <a:moveTo>
                  <a:pt x="160" y="0"/>
                </a:moveTo>
                <a:cubicBezTo>
                  <a:pt x="159" y="1"/>
                  <a:pt x="159" y="1"/>
                  <a:pt x="159" y="1"/>
                </a:cubicBezTo>
                <a:cubicBezTo>
                  <a:pt x="160" y="1"/>
                  <a:pt x="160" y="1"/>
                  <a:pt x="160" y="1"/>
                </a:cubicBezTo>
                <a:cubicBezTo>
                  <a:pt x="160" y="1"/>
                  <a:pt x="160" y="1"/>
                  <a:pt x="160" y="1"/>
                </a:cubicBezTo>
                <a:cubicBezTo>
                  <a:pt x="160" y="0"/>
                  <a:pt x="160" y="0"/>
                  <a:pt x="160" y="0"/>
                </a:cubicBezTo>
                <a:close/>
                <a:moveTo>
                  <a:pt x="161" y="4"/>
                </a:moveTo>
                <a:cubicBezTo>
                  <a:pt x="162" y="4"/>
                  <a:pt x="162" y="4"/>
                  <a:pt x="162" y="4"/>
                </a:cubicBezTo>
                <a:cubicBezTo>
                  <a:pt x="163" y="4"/>
                  <a:pt x="163" y="4"/>
                  <a:pt x="163" y="4"/>
                </a:cubicBezTo>
                <a:cubicBezTo>
                  <a:pt x="163" y="4"/>
                  <a:pt x="163" y="4"/>
                  <a:pt x="163" y="4"/>
                </a:cubicBezTo>
                <a:cubicBezTo>
                  <a:pt x="164" y="4"/>
                  <a:pt x="164" y="4"/>
                  <a:pt x="164" y="4"/>
                </a:cubicBezTo>
                <a:cubicBezTo>
                  <a:pt x="164" y="3"/>
                  <a:pt x="164" y="3"/>
                  <a:pt x="164" y="3"/>
                </a:cubicBezTo>
                <a:cubicBezTo>
                  <a:pt x="163" y="3"/>
                  <a:pt x="163" y="3"/>
                  <a:pt x="163" y="3"/>
                </a:cubicBezTo>
                <a:cubicBezTo>
                  <a:pt x="161" y="3"/>
                  <a:pt x="161" y="3"/>
                  <a:pt x="161" y="3"/>
                </a:cubicBezTo>
                <a:cubicBezTo>
                  <a:pt x="161" y="4"/>
                  <a:pt x="161" y="4"/>
                  <a:pt x="161" y="4"/>
                </a:cubicBezTo>
                <a:cubicBezTo>
                  <a:pt x="161" y="4"/>
                  <a:pt x="161" y="4"/>
                  <a:pt x="161" y="4"/>
                </a:cubicBezTo>
                <a:close/>
                <a:moveTo>
                  <a:pt x="152" y="11"/>
                </a:moveTo>
                <a:cubicBezTo>
                  <a:pt x="151" y="12"/>
                  <a:pt x="151" y="12"/>
                  <a:pt x="151" y="12"/>
                </a:cubicBezTo>
                <a:cubicBezTo>
                  <a:pt x="152" y="13"/>
                  <a:pt x="152" y="13"/>
                  <a:pt x="152" y="13"/>
                </a:cubicBezTo>
                <a:cubicBezTo>
                  <a:pt x="152" y="12"/>
                  <a:pt x="152" y="12"/>
                  <a:pt x="152" y="12"/>
                </a:cubicBezTo>
                <a:cubicBezTo>
                  <a:pt x="152" y="11"/>
                  <a:pt x="152" y="11"/>
                  <a:pt x="152" y="11"/>
                </a:cubicBezTo>
                <a:close/>
                <a:moveTo>
                  <a:pt x="154" y="9"/>
                </a:moveTo>
                <a:cubicBezTo>
                  <a:pt x="156" y="8"/>
                  <a:pt x="156" y="8"/>
                  <a:pt x="156" y="8"/>
                </a:cubicBezTo>
                <a:cubicBezTo>
                  <a:pt x="157" y="8"/>
                  <a:pt x="157" y="8"/>
                  <a:pt x="157" y="8"/>
                </a:cubicBezTo>
                <a:cubicBezTo>
                  <a:pt x="157" y="9"/>
                  <a:pt x="157" y="9"/>
                  <a:pt x="157" y="9"/>
                </a:cubicBezTo>
                <a:cubicBezTo>
                  <a:pt x="156" y="10"/>
                  <a:pt x="156" y="10"/>
                  <a:pt x="156" y="10"/>
                </a:cubicBezTo>
                <a:cubicBezTo>
                  <a:pt x="154" y="10"/>
                  <a:pt x="154" y="10"/>
                  <a:pt x="154" y="10"/>
                </a:cubicBezTo>
                <a:cubicBezTo>
                  <a:pt x="154" y="9"/>
                  <a:pt x="154" y="9"/>
                  <a:pt x="154" y="9"/>
                </a:cubicBezTo>
                <a:close/>
                <a:moveTo>
                  <a:pt x="141" y="16"/>
                </a:moveTo>
                <a:cubicBezTo>
                  <a:pt x="141" y="17"/>
                  <a:pt x="141" y="17"/>
                  <a:pt x="141" y="17"/>
                </a:cubicBezTo>
                <a:cubicBezTo>
                  <a:pt x="141" y="17"/>
                  <a:pt x="141" y="17"/>
                  <a:pt x="141" y="17"/>
                </a:cubicBezTo>
                <a:cubicBezTo>
                  <a:pt x="141" y="16"/>
                  <a:pt x="141" y="16"/>
                  <a:pt x="141" y="16"/>
                </a:cubicBezTo>
                <a:close/>
                <a:moveTo>
                  <a:pt x="141" y="16"/>
                </a:moveTo>
                <a:cubicBezTo>
                  <a:pt x="141" y="16"/>
                  <a:pt x="141" y="16"/>
                  <a:pt x="141" y="16"/>
                </a:cubicBezTo>
                <a:cubicBezTo>
                  <a:pt x="141" y="16"/>
                  <a:pt x="141" y="16"/>
                  <a:pt x="141" y="16"/>
                </a:cubicBezTo>
                <a:cubicBezTo>
                  <a:pt x="142" y="17"/>
                  <a:pt x="142" y="17"/>
                  <a:pt x="142" y="17"/>
                </a:cubicBezTo>
                <a:cubicBezTo>
                  <a:pt x="142" y="16"/>
                  <a:pt x="142" y="16"/>
                  <a:pt x="142" y="16"/>
                </a:cubicBezTo>
                <a:cubicBezTo>
                  <a:pt x="141" y="16"/>
                  <a:pt x="141" y="16"/>
                  <a:pt x="141" y="16"/>
                </a:cubicBezTo>
                <a:close/>
                <a:moveTo>
                  <a:pt x="142" y="19"/>
                </a:moveTo>
                <a:cubicBezTo>
                  <a:pt x="140" y="19"/>
                  <a:pt x="140" y="19"/>
                  <a:pt x="140" y="19"/>
                </a:cubicBezTo>
                <a:cubicBezTo>
                  <a:pt x="141" y="20"/>
                  <a:pt x="141" y="20"/>
                  <a:pt x="141" y="20"/>
                </a:cubicBezTo>
                <a:cubicBezTo>
                  <a:pt x="142" y="19"/>
                  <a:pt x="142" y="19"/>
                  <a:pt x="142" y="19"/>
                </a:cubicBezTo>
                <a:close/>
                <a:moveTo>
                  <a:pt x="140" y="20"/>
                </a:moveTo>
                <a:cubicBezTo>
                  <a:pt x="141" y="21"/>
                  <a:pt x="141" y="21"/>
                  <a:pt x="141" y="21"/>
                </a:cubicBezTo>
                <a:cubicBezTo>
                  <a:pt x="141" y="22"/>
                  <a:pt x="141" y="22"/>
                  <a:pt x="141" y="22"/>
                </a:cubicBezTo>
                <a:cubicBezTo>
                  <a:pt x="141" y="22"/>
                  <a:pt x="141" y="22"/>
                  <a:pt x="141" y="22"/>
                </a:cubicBezTo>
                <a:cubicBezTo>
                  <a:pt x="140" y="20"/>
                  <a:pt x="140" y="20"/>
                  <a:pt x="140" y="20"/>
                </a:cubicBezTo>
                <a:close/>
                <a:moveTo>
                  <a:pt x="133" y="66"/>
                </a:moveTo>
                <a:cubicBezTo>
                  <a:pt x="133" y="66"/>
                  <a:pt x="133" y="66"/>
                  <a:pt x="133" y="66"/>
                </a:cubicBezTo>
                <a:cubicBezTo>
                  <a:pt x="133" y="68"/>
                  <a:pt x="133" y="68"/>
                  <a:pt x="133" y="68"/>
                </a:cubicBezTo>
                <a:cubicBezTo>
                  <a:pt x="132" y="68"/>
                  <a:pt x="132" y="68"/>
                  <a:pt x="132" y="68"/>
                </a:cubicBezTo>
                <a:cubicBezTo>
                  <a:pt x="132" y="66"/>
                  <a:pt x="132" y="66"/>
                  <a:pt x="132" y="66"/>
                </a:cubicBezTo>
                <a:cubicBezTo>
                  <a:pt x="133" y="66"/>
                  <a:pt x="133" y="66"/>
                  <a:pt x="133" y="66"/>
                </a:cubicBezTo>
                <a:close/>
                <a:moveTo>
                  <a:pt x="132" y="66"/>
                </a:moveTo>
                <a:cubicBezTo>
                  <a:pt x="132" y="68"/>
                  <a:pt x="132" y="68"/>
                  <a:pt x="132" y="68"/>
                </a:cubicBezTo>
                <a:cubicBezTo>
                  <a:pt x="132" y="69"/>
                  <a:pt x="132" y="69"/>
                  <a:pt x="132" y="69"/>
                </a:cubicBezTo>
                <a:cubicBezTo>
                  <a:pt x="131" y="70"/>
                  <a:pt x="131" y="70"/>
                  <a:pt x="131" y="70"/>
                </a:cubicBezTo>
                <a:cubicBezTo>
                  <a:pt x="130" y="69"/>
                  <a:pt x="130" y="69"/>
                  <a:pt x="130" y="69"/>
                </a:cubicBezTo>
                <a:cubicBezTo>
                  <a:pt x="130" y="67"/>
                  <a:pt x="130" y="67"/>
                  <a:pt x="130" y="67"/>
                </a:cubicBezTo>
                <a:cubicBezTo>
                  <a:pt x="131" y="66"/>
                  <a:pt x="131" y="66"/>
                  <a:pt x="131" y="66"/>
                </a:cubicBezTo>
                <a:cubicBezTo>
                  <a:pt x="132" y="65"/>
                  <a:pt x="132" y="65"/>
                  <a:pt x="132" y="65"/>
                </a:cubicBezTo>
                <a:cubicBezTo>
                  <a:pt x="132" y="66"/>
                  <a:pt x="132" y="66"/>
                  <a:pt x="132" y="66"/>
                </a:cubicBezTo>
                <a:close/>
                <a:moveTo>
                  <a:pt x="89" y="46"/>
                </a:moveTo>
                <a:cubicBezTo>
                  <a:pt x="90" y="46"/>
                  <a:pt x="90" y="46"/>
                  <a:pt x="90" y="46"/>
                </a:cubicBezTo>
                <a:cubicBezTo>
                  <a:pt x="90" y="47"/>
                  <a:pt x="90" y="47"/>
                  <a:pt x="90" y="47"/>
                </a:cubicBezTo>
                <a:cubicBezTo>
                  <a:pt x="90" y="47"/>
                  <a:pt x="90" y="47"/>
                  <a:pt x="90" y="47"/>
                </a:cubicBezTo>
                <a:cubicBezTo>
                  <a:pt x="89" y="47"/>
                  <a:pt x="89" y="47"/>
                  <a:pt x="89" y="47"/>
                </a:cubicBezTo>
                <a:cubicBezTo>
                  <a:pt x="88" y="46"/>
                  <a:pt x="88" y="46"/>
                  <a:pt x="88" y="46"/>
                </a:cubicBezTo>
                <a:cubicBezTo>
                  <a:pt x="89" y="46"/>
                  <a:pt x="89" y="46"/>
                  <a:pt x="89" y="46"/>
                </a:cubicBezTo>
                <a:close/>
                <a:moveTo>
                  <a:pt x="89" y="49"/>
                </a:moveTo>
                <a:cubicBezTo>
                  <a:pt x="91" y="49"/>
                  <a:pt x="91" y="49"/>
                  <a:pt x="91" y="49"/>
                </a:cubicBezTo>
                <a:cubicBezTo>
                  <a:pt x="91" y="50"/>
                  <a:pt x="91" y="50"/>
                  <a:pt x="91" y="50"/>
                </a:cubicBezTo>
                <a:cubicBezTo>
                  <a:pt x="92" y="50"/>
                  <a:pt x="92" y="50"/>
                  <a:pt x="92" y="50"/>
                </a:cubicBezTo>
                <a:cubicBezTo>
                  <a:pt x="92" y="50"/>
                  <a:pt x="92" y="50"/>
                  <a:pt x="92" y="50"/>
                </a:cubicBezTo>
                <a:cubicBezTo>
                  <a:pt x="90" y="50"/>
                  <a:pt x="90" y="50"/>
                  <a:pt x="90" y="50"/>
                </a:cubicBezTo>
                <a:cubicBezTo>
                  <a:pt x="90" y="50"/>
                  <a:pt x="90" y="50"/>
                  <a:pt x="90" y="50"/>
                </a:cubicBezTo>
                <a:cubicBezTo>
                  <a:pt x="89" y="49"/>
                  <a:pt x="89" y="49"/>
                  <a:pt x="89" y="49"/>
                </a:cubicBezTo>
                <a:cubicBezTo>
                  <a:pt x="89" y="49"/>
                  <a:pt x="89" y="49"/>
                  <a:pt x="89" y="49"/>
                </a:cubicBezTo>
                <a:close/>
                <a:moveTo>
                  <a:pt x="90" y="51"/>
                </a:moveTo>
                <a:cubicBezTo>
                  <a:pt x="92" y="51"/>
                  <a:pt x="92" y="51"/>
                  <a:pt x="92" y="51"/>
                </a:cubicBezTo>
                <a:cubicBezTo>
                  <a:pt x="93" y="51"/>
                  <a:pt x="93" y="51"/>
                  <a:pt x="93" y="51"/>
                </a:cubicBezTo>
                <a:cubicBezTo>
                  <a:pt x="92" y="53"/>
                  <a:pt x="92" y="53"/>
                  <a:pt x="92" y="53"/>
                </a:cubicBezTo>
                <a:cubicBezTo>
                  <a:pt x="91" y="53"/>
                  <a:pt x="91" y="53"/>
                  <a:pt x="91" y="53"/>
                </a:cubicBezTo>
                <a:cubicBezTo>
                  <a:pt x="90" y="52"/>
                  <a:pt x="90" y="52"/>
                  <a:pt x="90" y="52"/>
                </a:cubicBezTo>
                <a:cubicBezTo>
                  <a:pt x="91" y="51"/>
                  <a:pt x="91" y="51"/>
                  <a:pt x="91" y="51"/>
                </a:cubicBezTo>
                <a:cubicBezTo>
                  <a:pt x="91" y="51"/>
                  <a:pt x="90" y="51"/>
                  <a:pt x="90" y="51"/>
                </a:cubicBezTo>
                <a:close/>
                <a:moveTo>
                  <a:pt x="87" y="36"/>
                </a:moveTo>
                <a:cubicBezTo>
                  <a:pt x="88" y="34"/>
                  <a:pt x="88" y="34"/>
                  <a:pt x="88" y="34"/>
                </a:cubicBezTo>
                <a:cubicBezTo>
                  <a:pt x="90" y="32"/>
                  <a:pt x="90" y="32"/>
                  <a:pt x="90" y="32"/>
                </a:cubicBezTo>
                <a:cubicBezTo>
                  <a:pt x="91" y="31"/>
                  <a:pt x="91" y="31"/>
                  <a:pt x="91" y="31"/>
                </a:cubicBezTo>
                <a:cubicBezTo>
                  <a:pt x="92" y="31"/>
                  <a:pt x="92" y="31"/>
                  <a:pt x="92" y="31"/>
                </a:cubicBezTo>
                <a:cubicBezTo>
                  <a:pt x="93" y="33"/>
                  <a:pt x="93" y="33"/>
                  <a:pt x="93" y="33"/>
                </a:cubicBezTo>
                <a:cubicBezTo>
                  <a:pt x="95" y="34"/>
                  <a:pt x="95" y="34"/>
                  <a:pt x="95" y="34"/>
                </a:cubicBezTo>
                <a:cubicBezTo>
                  <a:pt x="95" y="35"/>
                  <a:pt x="95" y="35"/>
                  <a:pt x="95" y="35"/>
                </a:cubicBezTo>
                <a:cubicBezTo>
                  <a:pt x="96" y="36"/>
                  <a:pt x="96" y="36"/>
                  <a:pt x="96" y="36"/>
                </a:cubicBezTo>
                <a:cubicBezTo>
                  <a:pt x="97" y="37"/>
                  <a:pt x="97" y="37"/>
                  <a:pt x="97" y="37"/>
                </a:cubicBezTo>
                <a:cubicBezTo>
                  <a:pt x="98" y="37"/>
                  <a:pt x="98" y="37"/>
                  <a:pt x="98" y="37"/>
                </a:cubicBezTo>
                <a:cubicBezTo>
                  <a:pt x="100" y="37"/>
                  <a:pt x="100" y="37"/>
                  <a:pt x="100" y="37"/>
                </a:cubicBezTo>
                <a:cubicBezTo>
                  <a:pt x="100" y="36"/>
                  <a:pt x="100" y="36"/>
                  <a:pt x="100" y="36"/>
                </a:cubicBezTo>
                <a:cubicBezTo>
                  <a:pt x="101" y="36"/>
                  <a:pt x="101" y="36"/>
                  <a:pt x="101" y="36"/>
                </a:cubicBezTo>
                <a:cubicBezTo>
                  <a:pt x="102" y="36"/>
                  <a:pt x="102" y="36"/>
                  <a:pt x="102" y="36"/>
                </a:cubicBezTo>
                <a:cubicBezTo>
                  <a:pt x="106" y="36"/>
                  <a:pt x="106" y="36"/>
                  <a:pt x="106" y="36"/>
                </a:cubicBezTo>
                <a:cubicBezTo>
                  <a:pt x="109" y="35"/>
                  <a:pt x="109" y="35"/>
                  <a:pt x="109" y="35"/>
                </a:cubicBezTo>
                <a:cubicBezTo>
                  <a:pt x="110" y="34"/>
                  <a:pt x="110" y="34"/>
                  <a:pt x="110" y="34"/>
                </a:cubicBezTo>
                <a:cubicBezTo>
                  <a:pt x="113" y="34"/>
                  <a:pt x="113" y="34"/>
                  <a:pt x="113" y="34"/>
                </a:cubicBezTo>
                <a:cubicBezTo>
                  <a:pt x="115" y="34"/>
                  <a:pt x="115" y="34"/>
                  <a:pt x="115" y="34"/>
                </a:cubicBezTo>
                <a:cubicBezTo>
                  <a:pt x="115" y="35"/>
                  <a:pt x="115" y="35"/>
                  <a:pt x="115" y="35"/>
                </a:cubicBezTo>
                <a:cubicBezTo>
                  <a:pt x="117" y="35"/>
                  <a:pt x="117" y="35"/>
                  <a:pt x="117" y="35"/>
                </a:cubicBezTo>
                <a:cubicBezTo>
                  <a:pt x="119" y="34"/>
                  <a:pt x="119" y="34"/>
                  <a:pt x="119" y="34"/>
                </a:cubicBezTo>
                <a:cubicBezTo>
                  <a:pt x="122" y="33"/>
                  <a:pt x="122" y="33"/>
                  <a:pt x="122" y="33"/>
                </a:cubicBezTo>
                <a:cubicBezTo>
                  <a:pt x="122" y="32"/>
                  <a:pt x="122" y="32"/>
                  <a:pt x="122" y="32"/>
                </a:cubicBezTo>
                <a:cubicBezTo>
                  <a:pt x="125" y="29"/>
                  <a:pt x="125" y="29"/>
                  <a:pt x="125" y="29"/>
                </a:cubicBezTo>
                <a:cubicBezTo>
                  <a:pt x="126" y="26"/>
                  <a:pt x="126" y="26"/>
                  <a:pt x="126" y="26"/>
                </a:cubicBezTo>
                <a:cubicBezTo>
                  <a:pt x="128" y="23"/>
                  <a:pt x="128" y="23"/>
                  <a:pt x="128" y="23"/>
                </a:cubicBezTo>
                <a:cubicBezTo>
                  <a:pt x="129" y="18"/>
                  <a:pt x="129" y="18"/>
                  <a:pt x="129" y="18"/>
                </a:cubicBezTo>
                <a:cubicBezTo>
                  <a:pt x="129" y="17"/>
                  <a:pt x="129" y="17"/>
                  <a:pt x="129" y="17"/>
                </a:cubicBezTo>
                <a:cubicBezTo>
                  <a:pt x="130" y="16"/>
                  <a:pt x="130" y="16"/>
                  <a:pt x="130" y="16"/>
                </a:cubicBezTo>
                <a:cubicBezTo>
                  <a:pt x="130" y="15"/>
                  <a:pt x="130" y="15"/>
                  <a:pt x="130" y="15"/>
                </a:cubicBezTo>
                <a:cubicBezTo>
                  <a:pt x="131" y="14"/>
                  <a:pt x="131" y="14"/>
                  <a:pt x="131" y="14"/>
                </a:cubicBezTo>
                <a:cubicBezTo>
                  <a:pt x="132" y="14"/>
                  <a:pt x="132" y="14"/>
                  <a:pt x="132" y="14"/>
                </a:cubicBezTo>
                <a:cubicBezTo>
                  <a:pt x="134" y="14"/>
                  <a:pt x="134" y="14"/>
                  <a:pt x="134" y="14"/>
                </a:cubicBezTo>
                <a:cubicBezTo>
                  <a:pt x="137" y="14"/>
                  <a:pt x="137" y="14"/>
                  <a:pt x="137" y="14"/>
                </a:cubicBezTo>
                <a:cubicBezTo>
                  <a:pt x="137" y="15"/>
                  <a:pt x="137" y="15"/>
                  <a:pt x="137" y="15"/>
                </a:cubicBezTo>
                <a:cubicBezTo>
                  <a:pt x="139" y="15"/>
                  <a:pt x="139" y="15"/>
                  <a:pt x="139" y="15"/>
                </a:cubicBezTo>
                <a:cubicBezTo>
                  <a:pt x="140" y="15"/>
                  <a:pt x="140" y="15"/>
                  <a:pt x="140" y="15"/>
                </a:cubicBezTo>
                <a:cubicBezTo>
                  <a:pt x="140" y="15"/>
                  <a:pt x="140" y="15"/>
                  <a:pt x="140" y="15"/>
                </a:cubicBezTo>
                <a:cubicBezTo>
                  <a:pt x="140" y="15"/>
                  <a:pt x="140" y="15"/>
                  <a:pt x="140" y="15"/>
                </a:cubicBezTo>
                <a:cubicBezTo>
                  <a:pt x="140" y="16"/>
                  <a:pt x="140" y="16"/>
                  <a:pt x="140" y="16"/>
                </a:cubicBezTo>
                <a:cubicBezTo>
                  <a:pt x="139" y="17"/>
                  <a:pt x="139" y="17"/>
                  <a:pt x="139" y="17"/>
                </a:cubicBezTo>
                <a:cubicBezTo>
                  <a:pt x="141" y="17"/>
                  <a:pt x="141" y="17"/>
                  <a:pt x="141" y="17"/>
                </a:cubicBezTo>
                <a:cubicBezTo>
                  <a:pt x="142" y="19"/>
                  <a:pt x="142" y="19"/>
                  <a:pt x="142" y="19"/>
                </a:cubicBezTo>
                <a:cubicBezTo>
                  <a:pt x="141" y="19"/>
                  <a:pt x="141" y="19"/>
                  <a:pt x="141" y="19"/>
                </a:cubicBezTo>
                <a:cubicBezTo>
                  <a:pt x="139" y="19"/>
                  <a:pt x="139" y="19"/>
                  <a:pt x="139" y="19"/>
                </a:cubicBezTo>
                <a:cubicBezTo>
                  <a:pt x="139" y="19"/>
                  <a:pt x="139" y="19"/>
                  <a:pt x="139" y="19"/>
                </a:cubicBezTo>
                <a:cubicBezTo>
                  <a:pt x="140" y="20"/>
                  <a:pt x="140" y="20"/>
                  <a:pt x="140" y="20"/>
                </a:cubicBezTo>
                <a:cubicBezTo>
                  <a:pt x="140" y="21"/>
                  <a:pt x="140" y="21"/>
                  <a:pt x="140" y="21"/>
                </a:cubicBezTo>
                <a:cubicBezTo>
                  <a:pt x="140" y="21"/>
                  <a:pt x="140" y="21"/>
                  <a:pt x="140" y="21"/>
                </a:cubicBezTo>
                <a:cubicBezTo>
                  <a:pt x="140" y="21"/>
                  <a:pt x="140" y="21"/>
                  <a:pt x="140" y="21"/>
                </a:cubicBezTo>
                <a:cubicBezTo>
                  <a:pt x="139" y="22"/>
                  <a:pt x="139" y="22"/>
                  <a:pt x="139" y="22"/>
                </a:cubicBezTo>
                <a:cubicBezTo>
                  <a:pt x="140" y="23"/>
                  <a:pt x="140" y="23"/>
                  <a:pt x="140" y="23"/>
                </a:cubicBezTo>
                <a:cubicBezTo>
                  <a:pt x="141" y="25"/>
                  <a:pt x="141" y="25"/>
                  <a:pt x="141" y="25"/>
                </a:cubicBezTo>
                <a:cubicBezTo>
                  <a:pt x="143" y="27"/>
                  <a:pt x="143" y="27"/>
                  <a:pt x="143" y="27"/>
                </a:cubicBezTo>
                <a:cubicBezTo>
                  <a:pt x="144" y="28"/>
                  <a:pt x="144" y="28"/>
                  <a:pt x="144" y="28"/>
                </a:cubicBezTo>
                <a:cubicBezTo>
                  <a:pt x="143" y="29"/>
                  <a:pt x="143" y="29"/>
                  <a:pt x="143" y="29"/>
                </a:cubicBezTo>
                <a:cubicBezTo>
                  <a:pt x="141" y="29"/>
                  <a:pt x="141" y="29"/>
                  <a:pt x="141" y="29"/>
                </a:cubicBezTo>
                <a:cubicBezTo>
                  <a:pt x="141" y="30"/>
                  <a:pt x="141" y="30"/>
                  <a:pt x="141" y="30"/>
                </a:cubicBezTo>
                <a:cubicBezTo>
                  <a:pt x="142" y="30"/>
                  <a:pt x="142" y="30"/>
                  <a:pt x="142" y="30"/>
                </a:cubicBezTo>
                <a:cubicBezTo>
                  <a:pt x="142" y="32"/>
                  <a:pt x="142" y="32"/>
                  <a:pt x="142" y="32"/>
                </a:cubicBezTo>
                <a:cubicBezTo>
                  <a:pt x="143" y="32"/>
                  <a:pt x="143" y="32"/>
                  <a:pt x="143" y="32"/>
                </a:cubicBezTo>
                <a:cubicBezTo>
                  <a:pt x="146" y="35"/>
                  <a:pt x="146" y="35"/>
                  <a:pt x="146" y="35"/>
                </a:cubicBezTo>
                <a:cubicBezTo>
                  <a:pt x="147" y="35"/>
                  <a:pt x="147" y="35"/>
                  <a:pt x="147" y="35"/>
                </a:cubicBezTo>
                <a:cubicBezTo>
                  <a:pt x="148" y="36"/>
                  <a:pt x="148" y="36"/>
                  <a:pt x="148" y="36"/>
                </a:cubicBezTo>
                <a:cubicBezTo>
                  <a:pt x="148" y="36"/>
                  <a:pt x="148" y="36"/>
                  <a:pt x="148" y="36"/>
                </a:cubicBezTo>
                <a:cubicBezTo>
                  <a:pt x="149" y="37"/>
                  <a:pt x="149" y="37"/>
                  <a:pt x="149" y="37"/>
                </a:cubicBezTo>
                <a:cubicBezTo>
                  <a:pt x="149" y="38"/>
                  <a:pt x="149" y="38"/>
                  <a:pt x="149" y="38"/>
                </a:cubicBezTo>
                <a:cubicBezTo>
                  <a:pt x="148" y="38"/>
                  <a:pt x="148" y="38"/>
                  <a:pt x="148" y="38"/>
                </a:cubicBezTo>
                <a:cubicBezTo>
                  <a:pt x="147" y="38"/>
                  <a:pt x="147" y="38"/>
                  <a:pt x="147" y="38"/>
                </a:cubicBezTo>
                <a:cubicBezTo>
                  <a:pt x="146" y="39"/>
                  <a:pt x="146" y="39"/>
                  <a:pt x="146" y="39"/>
                </a:cubicBezTo>
                <a:cubicBezTo>
                  <a:pt x="145" y="38"/>
                  <a:pt x="145" y="38"/>
                  <a:pt x="145" y="38"/>
                </a:cubicBezTo>
                <a:cubicBezTo>
                  <a:pt x="143" y="36"/>
                  <a:pt x="143" y="36"/>
                  <a:pt x="143" y="36"/>
                </a:cubicBezTo>
                <a:cubicBezTo>
                  <a:pt x="143" y="38"/>
                  <a:pt x="143" y="38"/>
                  <a:pt x="143" y="38"/>
                </a:cubicBezTo>
                <a:cubicBezTo>
                  <a:pt x="143" y="39"/>
                  <a:pt x="143" y="39"/>
                  <a:pt x="143" y="39"/>
                </a:cubicBezTo>
                <a:cubicBezTo>
                  <a:pt x="142" y="38"/>
                  <a:pt x="142" y="38"/>
                  <a:pt x="142" y="38"/>
                </a:cubicBezTo>
                <a:cubicBezTo>
                  <a:pt x="141" y="39"/>
                  <a:pt x="141" y="39"/>
                  <a:pt x="141" y="39"/>
                </a:cubicBezTo>
                <a:cubicBezTo>
                  <a:pt x="141" y="40"/>
                  <a:pt x="141" y="40"/>
                  <a:pt x="141" y="40"/>
                </a:cubicBezTo>
                <a:cubicBezTo>
                  <a:pt x="140" y="41"/>
                  <a:pt x="140" y="41"/>
                  <a:pt x="140" y="41"/>
                </a:cubicBezTo>
                <a:cubicBezTo>
                  <a:pt x="140" y="43"/>
                  <a:pt x="140" y="43"/>
                  <a:pt x="140" y="43"/>
                </a:cubicBezTo>
                <a:cubicBezTo>
                  <a:pt x="139" y="44"/>
                  <a:pt x="139" y="44"/>
                  <a:pt x="139" y="44"/>
                </a:cubicBezTo>
                <a:cubicBezTo>
                  <a:pt x="139" y="46"/>
                  <a:pt x="139" y="46"/>
                  <a:pt x="139" y="46"/>
                </a:cubicBezTo>
                <a:cubicBezTo>
                  <a:pt x="137" y="48"/>
                  <a:pt x="137" y="48"/>
                  <a:pt x="137" y="48"/>
                </a:cubicBezTo>
                <a:cubicBezTo>
                  <a:pt x="138" y="49"/>
                  <a:pt x="138" y="49"/>
                  <a:pt x="138" y="49"/>
                </a:cubicBezTo>
                <a:cubicBezTo>
                  <a:pt x="137" y="50"/>
                  <a:pt x="137" y="50"/>
                  <a:pt x="137" y="50"/>
                </a:cubicBezTo>
                <a:cubicBezTo>
                  <a:pt x="136" y="51"/>
                  <a:pt x="136" y="51"/>
                  <a:pt x="136" y="51"/>
                </a:cubicBezTo>
                <a:cubicBezTo>
                  <a:pt x="136" y="50"/>
                  <a:pt x="136" y="50"/>
                  <a:pt x="136" y="50"/>
                </a:cubicBezTo>
                <a:cubicBezTo>
                  <a:pt x="135" y="50"/>
                  <a:pt x="135" y="50"/>
                  <a:pt x="135" y="50"/>
                </a:cubicBezTo>
                <a:cubicBezTo>
                  <a:pt x="135" y="51"/>
                  <a:pt x="135" y="51"/>
                  <a:pt x="135" y="51"/>
                </a:cubicBezTo>
                <a:cubicBezTo>
                  <a:pt x="135" y="52"/>
                  <a:pt x="135" y="52"/>
                  <a:pt x="135" y="52"/>
                </a:cubicBezTo>
                <a:cubicBezTo>
                  <a:pt x="134" y="53"/>
                  <a:pt x="134" y="53"/>
                  <a:pt x="134" y="53"/>
                </a:cubicBezTo>
                <a:cubicBezTo>
                  <a:pt x="134" y="54"/>
                  <a:pt x="134" y="54"/>
                  <a:pt x="134" y="54"/>
                </a:cubicBezTo>
                <a:cubicBezTo>
                  <a:pt x="133" y="55"/>
                  <a:pt x="133" y="55"/>
                  <a:pt x="133" y="55"/>
                </a:cubicBezTo>
                <a:cubicBezTo>
                  <a:pt x="132" y="55"/>
                  <a:pt x="132" y="55"/>
                  <a:pt x="132" y="55"/>
                </a:cubicBezTo>
                <a:cubicBezTo>
                  <a:pt x="132" y="55"/>
                  <a:pt x="132" y="55"/>
                  <a:pt x="132" y="55"/>
                </a:cubicBezTo>
                <a:cubicBezTo>
                  <a:pt x="132" y="56"/>
                  <a:pt x="132" y="56"/>
                  <a:pt x="132" y="56"/>
                </a:cubicBezTo>
                <a:cubicBezTo>
                  <a:pt x="133" y="56"/>
                  <a:pt x="133" y="56"/>
                  <a:pt x="133" y="56"/>
                </a:cubicBezTo>
                <a:cubicBezTo>
                  <a:pt x="133" y="56"/>
                  <a:pt x="133" y="56"/>
                  <a:pt x="133" y="56"/>
                </a:cubicBezTo>
                <a:cubicBezTo>
                  <a:pt x="133" y="57"/>
                  <a:pt x="133" y="57"/>
                  <a:pt x="133" y="57"/>
                </a:cubicBezTo>
                <a:cubicBezTo>
                  <a:pt x="132" y="58"/>
                  <a:pt x="132" y="58"/>
                  <a:pt x="132" y="58"/>
                </a:cubicBezTo>
                <a:cubicBezTo>
                  <a:pt x="133" y="58"/>
                  <a:pt x="133" y="58"/>
                  <a:pt x="133" y="58"/>
                </a:cubicBezTo>
                <a:cubicBezTo>
                  <a:pt x="134" y="58"/>
                  <a:pt x="134" y="58"/>
                  <a:pt x="134" y="58"/>
                </a:cubicBezTo>
                <a:cubicBezTo>
                  <a:pt x="134" y="59"/>
                  <a:pt x="134" y="59"/>
                  <a:pt x="134" y="59"/>
                </a:cubicBezTo>
                <a:cubicBezTo>
                  <a:pt x="133" y="60"/>
                  <a:pt x="133" y="60"/>
                  <a:pt x="133" y="60"/>
                </a:cubicBezTo>
                <a:cubicBezTo>
                  <a:pt x="132" y="60"/>
                  <a:pt x="132" y="60"/>
                  <a:pt x="132" y="60"/>
                </a:cubicBezTo>
                <a:cubicBezTo>
                  <a:pt x="132" y="59"/>
                  <a:pt x="132" y="59"/>
                  <a:pt x="132" y="59"/>
                </a:cubicBezTo>
                <a:cubicBezTo>
                  <a:pt x="132" y="60"/>
                  <a:pt x="132" y="60"/>
                  <a:pt x="132" y="60"/>
                </a:cubicBezTo>
                <a:cubicBezTo>
                  <a:pt x="133" y="60"/>
                  <a:pt x="133" y="60"/>
                  <a:pt x="133" y="60"/>
                </a:cubicBezTo>
                <a:cubicBezTo>
                  <a:pt x="133" y="61"/>
                  <a:pt x="133" y="61"/>
                  <a:pt x="133" y="61"/>
                </a:cubicBezTo>
                <a:cubicBezTo>
                  <a:pt x="132" y="63"/>
                  <a:pt x="132" y="63"/>
                  <a:pt x="132" y="63"/>
                </a:cubicBezTo>
                <a:cubicBezTo>
                  <a:pt x="131" y="63"/>
                  <a:pt x="131" y="63"/>
                  <a:pt x="131" y="63"/>
                </a:cubicBezTo>
                <a:cubicBezTo>
                  <a:pt x="131" y="62"/>
                  <a:pt x="131" y="62"/>
                  <a:pt x="131" y="62"/>
                </a:cubicBezTo>
                <a:cubicBezTo>
                  <a:pt x="131" y="64"/>
                  <a:pt x="131" y="64"/>
                  <a:pt x="131" y="64"/>
                </a:cubicBezTo>
                <a:cubicBezTo>
                  <a:pt x="131" y="65"/>
                  <a:pt x="131" y="65"/>
                  <a:pt x="131" y="65"/>
                </a:cubicBezTo>
                <a:cubicBezTo>
                  <a:pt x="130" y="67"/>
                  <a:pt x="130" y="67"/>
                  <a:pt x="130" y="67"/>
                </a:cubicBezTo>
                <a:cubicBezTo>
                  <a:pt x="127" y="69"/>
                  <a:pt x="127" y="69"/>
                  <a:pt x="127" y="69"/>
                </a:cubicBezTo>
                <a:cubicBezTo>
                  <a:pt x="126" y="69"/>
                  <a:pt x="126" y="69"/>
                  <a:pt x="126" y="69"/>
                </a:cubicBezTo>
                <a:cubicBezTo>
                  <a:pt x="123" y="70"/>
                  <a:pt x="123" y="70"/>
                  <a:pt x="123" y="70"/>
                </a:cubicBezTo>
                <a:cubicBezTo>
                  <a:pt x="122" y="70"/>
                  <a:pt x="122" y="70"/>
                  <a:pt x="122" y="70"/>
                </a:cubicBezTo>
                <a:cubicBezTo>
                  <a:pt x="121" y="69"/>
                  <a:pt x="121" y="69"/>
                  <a:pt x="121" y="69"/>
                </a:cubicBezTo>
                <a:cubicBezTo>
                  <a:pt x="122" y="68"/>
                  <a:pt x="122" y="68"/>
                  <a:pt x="122" y="68"/>
                </a:cubicBezTo>
                <a:cubicBezTo>
                  <a:pt x="121" y="67"/>
                  <a:pt x="121" y="67"/>
                  <a:pt x="121" y="67"/>
                </a:cubicBezTo>
                <a:cubicBezTo>
                  <a:pt x="121" y="66"/>
                  <a:pt x="121" y="66"/>
                  <a:pt x="121" y="66"/>
                </a:cubicBezTo>
                <a:cubicBezTo>
                  <a:pt x="120" y="66"/>
                  <a:pt x="120" y="66"/>
                  <a:pt x="120" y="66"/>
                </a:cubicBezTo>
                <a:cubicBezTo>
                  <a:pt x="120" y="66"/>
                  <a:pt x="120" y="66"/>
                  <a:pt x="120" y="66"/>
                </a:cubicBezTo>
                <a:cubicBezTo>
                  <a:pt x="119" y="66"/>
                  <a:pt x="119" y="66"/>
                  <a:pt x="119" y="66"/>
                </a:cubicBezTo>
                <a:cubicBezTo>
                  <a:pt x="118" y="66"/>
                  <a:pt x="118" y="66"/>
                  <a:pt x="118" y="66"/>
                </a:cubicBezTo>
                <a:cubicBezTo>
                  <a:pt x="117" y="65"/>
                  <a:pt x="117" y="65"/>
                  <a:pt x="117" y="65"/>
                </a:cubicBezTo>
                <a:cubicBezTo>
                  <a:pt x="117" y="66"/>
                  <a:pt x="117" y="66"/>
                  <a:pt x="117" y="66"/>
                </a:cubicBezTo>
                <a:cubicBezTo>
                  <a:pt x="117" y="66"/>
                  <a:pt x="117" y="66"/>
                  <a:pt x="117" y="66"/>
                </a:cubicBezTo>
                <a:cubicBezTo>
                  <a:pt x="116" y="66"/>
                  <a:pt x="116" y="66"/>
                  <a:pt x="116" y="66"/>
                </a:cubicBezTo>
                <a:cubicBezTo>
                  <a:pt x="116" y="65"/>
                  <a:pt x="116" y="65"/>
                  <a:pt x="116" y="65"/>
                </a:cubicBezTo>
                <a:cubicBezTo>
                  <a:pt x="116" y="64"/>
                  <a:pt x="116" y="64"/>
                  <a:pt x="116" y="64"/>
                </a:cubicBezTo>
                <a:cubicBezTo>
                  <a:pt x="115" y="64"/>
                  <a:pt x="115" y="64"/>
                  <a:pt x="115" y="64"/>
                </a:cubicBezTo>
                <a:cubicBezTo>
                  <a:pt x="114" y="64"/>
                  <a:pt x="114" y="64"/>
                  <a:pt x="114" y="64"/>
                </a:cubicBezTo>
                <a:cubicBezTo>
                  <a:pt x="113" y="64"/>
                  <a:pt x="113" y="64"/>
                  <a:pt x="113" y="64"/>
                </a:cubicBezTo>
                <a:cubicBezTo>
                  <a:pt x="113" y="64"/>
                  <a:pt x="113" y="64"/>
                  <a:pt x="113" y="64"/>
                </a:cubicBezTo>
                <a:cubicBezTo>
                  <a:pt x="112" y="65"/>
                  <a:pt x="112" y="65"/>
                  <a:pt x="112" y="65"/>
                </a:cubicBezTo>
                <a:cubicBezTo>
                  <a:pt x="110" y="65"/>
                  <a:pt x="110" y="65"/>
                  <a:pt x="110" y="65"/>
                </a:cubicBezTo>
                <a:cubicBezTo>
                  <a:pt x="110" y="66"/>
                  <a:pt x="110" y="66"/>
                  <a:pt x="110" y="66"/>
                </a:cubicBezTo>
                <a:cubicBezTo>
                  <a:pt x="109" y="66"/>
                  <a:pt x="109" y="66"/>
                  <a:pt x="109" y="66"/>
                </a:cubicBezTo>
                <a:cubicBezTo>
                  <a:pt x="108" y="65"/>
                  <a:pt x="108" y="65"/>
                  <a:pt x="108" y="65"/>
                </a:cubicBezTo>
                <a:cubicBezTo>
                  <a:pt x="107" y="65"/>
                  <a:pt x="107" y="65"/>
                  <a:pt x="107" y="65"/>
                </a:cubicBezTo>
                <a:cubicBezTo>
                  <a:pt x="106" y="67"/>
                  <a:pt x="106" y="67"/>
                  <a:pt x="106" y="67"/>
                </a:cubicBezTo>
                <a:cubicBezTo>
                  <a:pt x="105" y="67"/>
                  <a:pt x="105" y="67"/>
                  <a:pt x="105" y="67"/>
                </a:cubicBezTo>
                <a:cubicBezTo>
                  <a:pt x="105" y="66"/>
                  <a:pt x="105" y="66"/>
                  <a:pt x="105" y="66"/>
                </a:cubicBezTo>
                <a:cubicBezTo>
                  <a:pt x="105" y="64"/>
                  <a:pt x="105" y="64"/>
                  <a:pt x="105" y="64"/>
                </a:cubicBezTo>
                <a:cubicBezTo>
                  <a:pt x="105" y="62"/>
                  <a:pt x="105" y="62"/>
                  <a:pt x="105" y="62"/>
                </a:cubicBezTo>
                <a:cubicBezTo>
                  <a:pt x="105" y="61"/>
                  <a:pt x="105" y="61"/>
                  <a:pt x="105" y="61"/>
                </a:cubicBezTo>
                <a:cubicBezTo>
                  <a:pt x="104" y="61"/>
                  <a:pt x="104" y="61"/>
                  <a:pt x="104" y="61"/>
                </a:cubicBezTo>
                <a:cubicBezTo>
                  <a:pt x="105" y="61"/>
                  <a:pt x="105" y="61"/>
                  <a:pt x="105" y="61"/>
                </a:cubicBezTo>
                <a:cubicBezTo>
                  <a:pt x="104" y="62"/>
                  <a:pt x="104" y="62"/>
                  <a:pt x="104" y="62"/>
                </a:cubicBezTo>
                <a:cubicBezTo>
                  <a:pt x="103" y="63"/>
                  <a:pt x="103" y="63"/>
                  <a:pt x="103" y="63"/>
                </a:cubicBezTo>
                <a:cubicBezTo>
                  <a:pt x="102" y="62"/>
                  <a:pt x="102" y="62"/>
                  <a:pt x="102" y="62"/>
                </a:cubicBezTo>
                <a:cubicBezTo>
                  <a:pt x="101" y="63"/>
                  <a:pt x="101" y="63"/>
                  <a:pt x="101" y="63"/>
                </a:cubicBezTo>
                <a:cubicBezTo>
                  <a:pt x="100" y="63"/>
                  <a:pt x="100" y="63"/>
                  <a:pt x="100" y="63"/>
                </a:cubicBezTo>
                <a:cubicBezTo>
                  <a:pt x="99" y="63"/>
                  <a:pt x="99" y="63"/>
                  <a:pt x="99" y="63"/>
                </a:cubicBezTo>
                <a:cubicBezTo>
                  <a:pt x="97" y="63"/>
                  <a:pt x="97" y="63"/>
                  <a:pt x="97" y="63"/>
                </a:cubicBezTo>
                <a:cubicBezTo>
                  <a:pt x="97" y="62"/>
                  <a:pt x="97" y="62"/>
                  <a:pt x="97" y="62"/>
                </a:cubicBezTo>
                <a:cubicBezTo>
                  <a:pt x="96" y="63"/>
                  <a:pt x="96" y="63"/>
                  <a:pt x="96" y="63"/>
                </a:cubicBezTo>
                <a:cubicBezTo>
                  <a:pt x="95" y="63"/>
                  <a:pt x="95" y="63"/>
                  <a:pt x="95" y="63"/>
                </a:cubicBezTo>
                <a:cubicBezTo>
                  <a:pt x="95" y="61"/>
                  <a:pt x="95" y="61"/>
                  <a:pt x="95" y="61"/>
                </a:cubicBezTo>
                <a:cubicBezTo>
                  <a:pt x="95" y="60"/>
                  <a:pt x="95" y="60"/>
                  <a:pt x="95" y="60"/>
                </a:cubicBezTo>
                <a:cubicBezTo>
                  <a:pt x="94" y="57"/>
                  <a:pt x="94" y="57"/>
                  <a:pt x="94" y="57"/>
                </a:cubicBezTo>
                <a:cubicBezTo>
                  <a:pt x="93" y="56"/>
                  <a:pt x="93" y="56"/>
                  <a:pt x="93" y="56"/>
                </a:cubicBezTo>
                <a:cubicBezTo>
                  <a:pt x="93" y="55"/>
                  <a:pt x="93" y="55"/>
                  <a:pt x="93" y="55"/>
                </a:cubicBezTo>
                <a:cubicBezTo>
                  <a:pt x="94" y="55"/>
                  <a:pt x="94" y="55"/>
                  <a:pt x="94" y="55"/>
                </a:cubicBezTo>
                <a:cubicBezTo>
                  <a:pt x="94" y="53"/>
                  <a:pt x="94" y="53"/>
                  <a:pt x="94" y="53"/>
                </a:cubicBezTo>
                <a:cubicBezTo>
                  <a:pt x="94" y="52"/>
                  <a:pt x="94" y="52"/>
                  <a:pt x="94" y="52"/>
                </a:cubicBezTo>
                <a:cubicBezTo>
                  <a:pt x="94" y="51"/>
                  <a:pt x="94" y="51"/>
                  <a:pt x="94" y="51"/>
                </a:cubicBezTo>
                <a:cubicBezTo>
                  <a:pt x="92" y="49"/>
                  <a:pt x="92" y="49"/>
                  <a:pt x="92" y="49"/>
                </a:cubicBezTo>
                <a:cubicBezTo>
                  <a:pt x="90" y="48"/>
                  <a:pt x="90" y="48"/>
                  <a:pt x="90" y="48"/>
                </a:cubicBezTo>
                <a:cubicBezTo>
                  <a:pt x="89" y="48"/>
                  <a:pt x="89" y="48"/>
                  <a:pt x="89" y="48"/>
                </a:cubicBezTo>
                <a:cubicBezTo>
                  <a:pt x="89" y="48"/>
                  <a:pt x="89" y="48"/>
                  <a:pt x="89" y="48"/>
                </a:cubicBezTo>
                <a:cubicBezTo>
                  <a:pt x="90" y="47"/>
                  <a:pt x="90" y="47"/>
                  <a:pt x="90" y="47"/>
                </a:cubicBezTo>
                <a:cubicBezTo>
                  <a:pt x="91" y="47"/>
                  <a:pt x="91" y="47"/>
                  <a:pt x="91" y="47"/>
                </a:cubicBezTo>
                <a:cubicBezTo>
                  <a:pt x="93" y="46"/>
                  <a:pt x="93" y="46"/>
                  <a:pt x="93" y="46"/>
                </a:cubicBezTo>
                <a:cubicBezTo>
                  <a:pt x="95" y="45"/>
                  <a:pt x="95" y="45"/>
                  <a:pt x="95" y="45"/>
                </a:cubicBezTo>
                <a:cubicBezTo>
                  <a:pt x="96" y="45"/>
                  <a:pt x="96" y="45"/>
                  <a:pt x="96" y="45"/>
                </a:cubicBezTo>
                <a:cubicBezTo>
                  <a:pt x="95" y="45"/>
                  <a:pt x="95" y="45"/>
                  <a:pt x="95" y="45"/>
                </a:cubicBezTo>
                <a:cubicBezTo>
                  <a:pt x="93" y="46"/>
                  <a:pt x="93" y="46"/>
                  <a:pt x="93" y="46"/>
                </a:cubicBezTo>
                <a:cubicBezTo>
                  <a:pt x="91" y="46"/>
                  <a:pt x="91" y="46"/>
                  <a:pt x="91" y="46"/>
                </a:cubicBezTo>
                <a:cubicBezTo>
                  <a:pt x="90" y="46"/>
                  <a:pt x="90" y="46"/>
                  <a:pt x="90" y="46"/>
                </a:cubicBezTo>
                <a:cubicBezTo>
                  <a:pt x="89" y="46"/>
                  <a:pt x="89" y="46"/>
                  <a:pt x="89" y="46"/>
                </a:cubicBezTo>
                <a:cubicBezTo>
                  <a:pt x="88" y="44"/>
                  <a:pt x="88" y="44"/>
                  <a:pt x="88" y="44"/>
                </a:cubicBezTo>
                <a:cubicBezTo>
                  <a:pt x="89" y="44"/>
                  <a:pt x="89" y="44"/>
                  <a:pt x="89" y="44"/>
                </a:cubicBezTo>
                <a:cubicBezTo>
                  <a:pt x="89" y="44"/>
                  <a:pt x="89" y="44"/>
                  <a:pt x="89" y="44"/>
                </a:cubicBezTo>
                <a:cubicBezTo>
                  <a:pt x="89" y="43"/>
                  <a:pt x="89" y="43"/>
                  <a:pt x="89" y="43"/>
                </a:cubicBezTo>
                <a:cubicBezTo>
                  <a:pt x="87" y="41"/>
                  <a:pt x="87" y="41"/>
                  <a:pt x="87" y="41"/>
                </a:cubicBezTo>
                <a:cubicBezTo>
                  <a:pt x="87" y="39"/>
                  <a:pt x="87" y="39"/>
                  <a:pt x="87" y="39"/>
                </a:cubicBezTo>
                <a:cubicBezTo>
                  <a:pt x="88" y="38"/>
                  <a:pt x="88" y="38"/>
                  <a:pt x="88" y="38"/>
                </a:cubicBezTo>
                <a:cubicBezTo>
                  <a:pt x="88" y="37"/>
                  <a:pt x="88" y="37"/>
                  <a:pt x="88" y="37"/>
                </a:cubicBezTo>
                <a:cubicBezTo>
                  <a:pt x="87" y="36"/>
                  <a:pt x="87" y="36"/>
                  <a:pt x="87" y="36"/>
                </a:cubicBezTo>
                <a:cubicBezTo>
                  <a:pt x="87" y="36"/>
                  <a:pt x="87" y="36"/>
                  <a:pt x="87" y="36"/>
                </a:cubicBezTo>
                <a:close/>
                <a:moveTo>
                  <a:pt x="250" y="49"/>
                </a:moveTo>
                <a:cubicBezTo>
                  <a:pt x="249" y="49"/>
                  <a:pt x="249" y="49"/>
                  <a:pt x="249" y="49"/>
                </a:cubicBezTo>
                <a:cubicBezTo>
                  <a:pt x="250" y="50"/>
                  <a:pt x="250" y="50"/>
                  <a:pt x="250" y="50"/>
                </a:cubicBezTo>
                <a:cubicBezTo>
                  <a:pt x="251" y="50"/>
                  <a:pt x="251" y="50"/>
                  <a:pt x="251" y="50"/>
                </a:cubicBezTo>
                <a:cubicBezTo>
                  <a:pt x="250" y="49"/>
                  <a:pt x="250" y="49"/>
                  <a:pt x="250" y="49"/>
                </a:cubicBezTo>
                <a:close/>
                <a:moveTo>
                  <a:pt x="253" y="53"/>
                </a:moveTo>
                <a:cubicBezTo>
                  <a:pt x="251" y="53"/>
                  <a:pt x="251" y="53"/>
                  <a:pt x="251" y="53"/>
                </a:cubicBezTo>
                <a:cubicBezTo>
                  <a:pt x="252" y="53"/>
                  <a:pt x="252" y="53"/>
                  <a:pt x="252" y="53"/>
                </a:cubicBezTo>
                <a:cubicBezTo>
                  <a:pt x="253" y="53"/>
                  <a:pt x="253" y="53"/>
                  <a:pt x="253" y="53"/>
                </a:cubicBezTo>
                <a:close/>
                <a:moveTo>
                  <a:pt x="254" y="54"/>
                </a:moveTo>
                <a:cubicBezTo>
                  <a:pt x="254" y="53"/>
                  <a:pt x="254" y="54"/>
                  <a:pt x="254" y="54"/>
                </a:cubicBezTo>
                <a:cubicBezTo>
                  <a:pt x="256" y="55"/>
                  <a:pt x="256" y="55"/>
                  <a:pt x="256" y="55"/>
                </a:cubicBezTo>
                <a:cubicBezTo>
                  <a:pt x="259" y="55"/>
                  <a:pt x="259" y="55"/>
                  <a:pt x="259" y="55"/>
                </a:cubicBezTo>
                <a:cubicBezTo>
                  <a:pt x="262" y="55"/>
                  <a:pt x="262" y="55"/>
                  <a:pt x="262" y="55"/>
                </a:cubicBezTo>
                <a:cubicBezTo>
                  <a:pt x="262" y="54"/>
                  <a:pt x="262" y="54"/>
                  <a:pt x="262" y="54"/>
                </a:cubicBezTo>
                <a:cubicBezTo>
                  <a:pt x="260" y="54"/>
                  <a:pt x="260" y="54"/>
                  <a:pt x="260" y="54"/>
                </a:cubicBezTo>
                <a:cubicBezTo>
                  <a:pt x="259" y="54"/>
                  <a:pt x="259" y="54"/>
                  <a:pt x="259" y="54"/>
                </a:cubicBezTo>
                <a:cubicBezTo>
                  <a:pt x="257" y="54"/>
                  <a:pt x="257" y="54"/>
                  <a:pt x="257" y="54"/>
                </a:cubicBezTo>
                <a:cubicBezTo>
                  <a:pt x="256" y="54"/>
                  <a:pt x="256" y="54"/>
                  <a:pt x="256" y="54"/>
                </a:cubicBezTo>
                <a:cubicBezTo>
                  <a:pt x="254" y="54"/>
                  <a:pt x="254" y="54"/>
                  <a:pt x="254" y="54"/>
                </a:cubicBezTo>
                <a:close/>
                <a:moveTo>
                  <a:pt x="254" y="48"/>
                </a:moveTo>
                <a:cubicBezTo>
                  <a:pt x="255" y="49"/>
                  <a:pt x="255" y="49"/>
                  <a:pt x="255" y="49"/>
                </a:cubicBezTo>
                <a:cubicBezTo>
                  <a:pt x="255" y="48"/>
                  <a:pt x="255" y="48"/>
                  <a:pt x="255" y="48"/>
                </a:cubicBezTo>
                <a:cubicBezTo>
                  <a:pt x="255" y="48"/>
                  <a:pt x="255" y="48"/>
                  <a:pt x="255" y="48"/>
                </a:cubicBezTo>
                <a:cubicBezTo>
                  <a:pt x="256" y="49"/>
                  <a:pt x="256" y="49"/>
                  <a:pt x="256" y="49"/>
                </a:cubicBezTo>
                <a:cubicBezTo>
                  <a:pt x="256" y="50"/>
                  <a:pt x="256" y="50"/>
                  <a:pt x="256" y="50"/>
                </a:cubicBezTo>
                <a:cubicBezTo>
                  <a:pt x="257" y="50"/>
                  <a:pt x="257" y="50"/>
                  <a:pt x="257" y="50"/>
                </a:cubicBezTo>
                <a:cubicBezTo>
                  <a:pt x="258" y="50"/>
                  <a:pt x="258" y="50"/>
                  <a:pt x="258" y="50"/>
                </a:cubicBezTo>
                <a:cubicBezTo>
                  <a:pt x="258" y="51"/>
                  <a:pt x="258" y="51"/>
                  <a:pt x="258" y="51"/>
                </a:cubicBezTo>
                <a:cubicBezTo>
                  <a:pt x="260" y="50"/>
                  <a:pt x="260" y="50"/>
                  <a:pt x="260" y="50"/>
                </a:cubicBezTo>
                <a:cubicBezTo>
                  <a:pt x="259" y="50"/>
                  <a:pt x="259" y="50"/>
                  <a:pt x="259" y="50"/>
                </a:cubicBezTo>
                <a:cubicBezTo>
                  <a:pt x="258" y="49"/>
                  <a:pt x="258" y="49"/>
                  <a:pt x="258" y="49"/>
                </a:cubicBezTo>
                <a:cubicBezTo>
                  <a:pt x="257" y="48"/>
                  <a:pt x="257" y="48"/>
                  <a:pt x="257" y="48"/>
                </a:cubicBezTo>
                <a:cubicBezTo>
                  <a:pt x="256" y="47"/>
                  <a:pt x="256" y="47"/>
                  <a:pt x="256" y="47"/>
                </a:cubicBezTo>
                <a:cubicBezTo>
                  <a:pt x="255" y="47"/>
                  <a:pt x="255" y="47"/>
                  <a:pt x="255" y="47"/>
                </a:cubicBezTo>
                <a:cubicBezTo>
                  <a:pt x="254" y="47"/>
                  <a:pt x="254" y="47"/>
                  <a:pt x="254" y="47"/>
                </a:cubicBezTo>
                <a:cubicBezTo>
                  <a:pt x="254" y="48"/>
                  <a:pt x="254" y="48"/>
                  <a:pt x="254" y="48"/>
                </a:cubicBezTo>
                <a:close/>
                <a:moveTo>
                  <a:pt x="236" y="79"/>
                </a:moveTo>
                <a:cubicBezTo>
                  <a:pt x="236" y="80"/>
                  <a:pt x="236" y="80"/>
                  <a:pt x="236" y="80"/>
                </a:cubicBezTo>
                <a:cubicBezTo>
                  <a:pt x="236" y="81"/>
                  <a:pt x="236" y="81"/>
                  <a:pt x="236" y="81"/>
                </a:cubicBezTo>
                <a:cubicBezTo>
                  <a:pt x="236" y="82"/>
                  <a:pt x="236" y="82"/>
                  <a:pt x="236" y="82"/>
                </a:cubicBezTo>
                <a:cubicBezTo>
                  <a:pt x="236" y="80"/>
                  <a:pt x="236" y="80"/>
                  <a:pt x="236" y="80"/>
                </a:cubicBezTo>
                <a:cubicBezTo>
                  <a:pt x="236" y="79"/>
                  <a:pt x="236" y="79"/>
                  <a:pt x="236" y="79"/>
                </a:cubicBezTo>
                <a:close/>
                <a:moveTo>
                  <a:pt x="239" y="78"/>
                </a:moveTo>
                <a:cubicBezTo>
                  <a:pt x="238" y="78"/>
                  <a:pt x="238" y="78"/>
                  <a:pt x="238" y="78"/>
                </a:cubicBezTo>
                <a:cubicBezTo>
                  <a:pt x="237" y="81"/>
                  <a:pt x="237" y="81"/>
                  <a:pt x="237" y="81"/>
                </a:cubicBezTo>
                <a:cubicBezTo>
                  <a:pt x="237" y="82"/>
                  <a:pt x="237" y="82"/>
                  <a:pt x="237" y="82"/>
                </a:cubicBezTo>
                <a:cubicBezTo>
                  <a:pt x="238" y="81"/>
                  <a:pt x="238" y="81"/>
                  <a:pt x="238" y="81"/>
                </a:cubicBezTo>
                <a:cubicBezTo>
                  <a:pt x="238" y="79"/>
                  <a:pt x="238" y="79"/>
                  <a:pt x="238" y="79"/>
                </a:cubicBezTo>
                <a:cubicBezTo>
                  <a:pt x="239" y="78"/>
                  <a:pt x="239" y="78"/>
                  <a:pt x="239" y="78"/>
                </a:cubicBezTo>
                <a:close/>
                <a:moveTo>
                  <a:pt x="249" y="86"/>
                </a:moveTo>
                <a:cubicBezTo>
                  <a:pt x="248" y="87"/>
                  <a:pt x="248" y="87"/>
                  <a:pt x="248" y="87"/>
                </a:cubicBezTo>
                <a:cubicBezTo>
                  <a:pt x="249" y="87"/>
                  <a:pt x="249" y="87"/>
                  <a:pt x="249" y="87"/>
                </a:cubicBezTo>
                <a:cubicBezTo>
                  <a:pt x="249" y="87"/>
                  <a:pt x="249" y="87"/>
                  <a:pt x="249" y="87"/>
                </a:cubicBezTo>
                <a:cubicBezTo>
                  <a:pt x="249" y="86"/>
                  <a:pt x="249" y="86"/>
                  <a:pt x="249" y="86"/>
                </a:cubicBezTo>
                <a:close/>
                <a:moveTo>
                  <a:pt x="245" y="84"/>
                </a:moveTo>
                <a:cubicBezTo>
                  <a:pt x="245" y="84"/>
                  <a:pt x="245" y="84"/>
                  <a:pt x="245" y="84"/>
                </a:cubicBezTo>
                <a:cubicBezTo>
                  <a:pt x="245" y="84"/>
                  <a:pt x="245" y="84"/>
                  <a:pt x="245" y="84"/>
                </a:cubicBezTo>
                <a:cubicBezTo>
                  <a:pt x="245" y="85"/>
                  <a:pt x="245" y="85"/>
                  <a:pt x="245" y="85"/>
                </a:cubicBezTo>
                <a:cubicBezTo>
                  <a:pt x="245" y="86"/>
                  <a:pt x="245" y="86"/>
                  <a:pt x="245" y="86"/>
                </a:cubicBezTo>
                <a:cubicBezTo>
                  <a:pt x="246" y="86"/>
                  <a:pt x="246" y="86"/>
                  <a:pt x="246" y="86"/>
                </a:cubicBezTo>
                <a:cubicBezTo>
                  <a:pt x="245" y="86"/>
                  <a:pt x="245" y="86"/>
                  <a:pt x="245" y="86"/>
                </a:cubicBezTo>
                <a:cubicBezTo>
                  <a:pt x="245" y="86"/>
                  <a:pt x="245" y="86"/>
                  <a:pt x="245" y="86"/>
                </a:cubicBezTo>
                <a:cubicBezTo>
                  <a:pt x="245" y="87"/>
                  <a:pt x="245" y="87"/>
                  <a:pt x="245" y="87"/>
                </a:cubicBezTo>
                <a:cubicBezTo>
                  <a:pt x="245" y="88"/>
                  <a:pt x="245" y="88"/>
                  <a:pt x="245" y="88"/>
                </a:cubicBezTo>
                <a:cubicBezTo>
                  <a:pt x="246" y="88"/>
                  <a:pt x="246" y="88"/>
                  <a:pt x="246" y="88"/>
                </a:cubicBezTo>
                <a:cubicBezTo>
                  <a:pt x="247" y="87"/>
                  <a:pt x="247" y="87"/>
                  <a:pt x="247" y="87"/>
                </a:cubicBezTo>
                <a:cubicBezTo>
                  <a:pt x="247" y="86"/>
                  <a:pt x="247" y="86"/>
                  <a:pt x="247" y="86"/>
                </a:cubicBezTo>
                <a:cubicBezTo>
                  <a:pt x="247" y="86"/>
                  <a:pt x="247" y="86"/>
                  <a:pt x="247" y="86"/>
                </a:cubicBezTo>
                <a:cubicBezTo>
                  <a:pt x="246" y="85"/>
                  <a:pt x="246" y="85"/>
                  <a:pt x="246" y="85"/>
                </a:cubicBezTo>
                <a:cubicBezTo>
                  <a:pt x="245" y="84"/>
                  <a:pt x="245" y="84"/>
                  <a:pt x="245" y="84"/>
                </a:cubicBezTo>
                <a:close/>
                <a:moveTo>
                  <a:pt x="247" y="84"/>
                </a:moveTo>
                <a:cubicBezTo>
                  <a:pt x="247" y="84"/>
                  <a:pt x="247" y="85"/>
                  <a:pt x="247" y="85"/>
                </a:cubicBezTo>
                <a:cubicBezTo>
                  <a:pt x="247" y="85"/>
                  <a:pt x="247" y="85"/>
                  <a:pt x="247" y="85"/>
                </a:cubicBezTo>
                <a:cubicBezTo>
                  <a:pt x="248" y="86"/>
                  <a:pt x="248" y="86"/>
                  <a:pt x="248" y="86"/>
                </a:cubicBezTo>
                <a:cubicBezTo>
                  <a:pt x="248" y="85"/>
                  <a:pt x="248" y="85"/>
                  <a:pt x="248" y="85"/>
                </a:cubicBezTo>
                <a:cubicBezTo>
                  <a:pt x="248" y="85"/>
                  <a:pt x="248" y="85"/>
                  <a:pt x="248" y="85"/>
                </a:cubicBezTo>
                <a:cubicBezTo>
                  <a:pt x="247" y="84"/>
                  <a:pt x="247" y="84"/>
                  <a:pt x="247" y="84"/>
                </a:cubicBezTo>
                <a:close/>
                <a:moveTo>
                  <a:pt x="246" y="82"/>
                </a:moveTo>
                <a:cubicBezTo>
                  <a:pt x="245" y="82"/>
                  <a:pt x="245" y="82"/>
                  <a:pt x="245" y="82"/>
                </a:cubicBezTo>
                <a:cubicBezTo>
                  <a:pt x="245" y="83"/>
                  <a:pt x="245" y="83"/>
                  <a:pt x="245" y="83"/>
                </a:cubicBezTo>
                <a:cubicBezTo>
                  <a:pt x="246" y="84"/>
                  <a:pt x="246" y="84"/>
                  <a:pt x="246" y="84"/>
                </a:cubicBezTo>
                <a:cubicBezTo>
                  <a:pt x="247" y="84"/>
                  <a:pt x="247" y="84"/>
                  <a:pt x="247" y="84"/>
                </a:cubicBezTo>
                <a:cubicBezTo>
                  <a:pt x="247" y="84"/>
                  <a:pt x="247" y="84"/>
                  <a:pt x="247" y="84"/>
                </a:cubicBezTo>
                <a:cubicBezTo>
                  <a:pt x="246" y="83"/>
                  <a:pt x="246" y="83"/>
                  <a:pt x="246" y="83"/>
                </a:cubicBezTo>
                <a:cubicBezTo>
                  <a:pt x="246" y="82"/>
                  <a:pt x="246" y="82"/>
                  <a:pt x="246" y="82"/>
                </a:cubicBezTo>
                <a:close/>
                <a:moveTo>
                  <a:pt x="248" y="82"/>
                </a:moveTo>
                <a:cubicBezTo>
                  <a:pt x="247" y="82"/>
                  <a:pt x="247" y="82"/>
                  <a:pt x="247" y="82"/>
                </a:cubicBezTo>
                <a:cubicBezTo>
                  <a:pt x="246" y="83"/>
                  <a:pt x="246" y="83"/>
                  <a:pt x="246" y="83"/>
                </a:cubicBezTo>
                <a:cubicBezTo>
                  <a:pt x="246" y="83"/>
                  <a:pt x="246" y="83"/>
                  <a:pt x="246" y="83"/>
                </a:cubicBezTo>
                <a:cubicBezTo>
                  <a:pt x="248" y="84"/>
                  <a:pt x="248" y="84"/>
                  <a:pt x="248" y="84"/>
                </a:cubicBezTo>
                <a:cubicBezTo>
                  <a:pt x="248" y="84"/>
                  <a:pt x="248" y="84"/>
                  <a:pt x="248" y="84"/>
                </a:cubicBezTo>
                <a:cubicBezTo>
                  <a:pt x="249" y="83"/>
                  <a:pt x="249" y="83"/>
                  <a:pt x="249" y="83"/>
                </a:cubicBezTo>
                <a:cubicBezTo>
                  <a:pt x="249" y="83"/>
                  <a:pt x="249" y="83"/>
                  <a:pt x="249" y="83"/>
                </a:cubicBezTo>
                <a:cubicBezTo>
                  <a:pt x="249" y="82"/>
                  <a:pt x="249" y="82"/>
                  <a:pt x="249" y="82"/>
                </a:cubicBezTo>
                <a:cubicBezTo>
                  <a:pt x="249" y="82"/>
                  <a:pt x="249" y="82"/>
                  <a:pt x="249" y="82"/>
                </a:cubicBezTo>
                <a:cubicBezTo>
                  <a:pt x="248" y="82"/>
                  <a:pt x="248" y="82"/>
                  <a:pt x="248" y="82"/>
                </a:cubicBezTo>
                <a:cubicBezTo>
                  <a:pt x="248" y="82"/>
                  <a:pt x="248" y="82"/>
                  <a:pt x="248" y="82"/>
                </a:cubicBezTo>
                <a:close/>
                <a:moveTo>
                  <a:pt x="246" y="80"/>
                </a:moveTo>
                <a:cubicBezTo>
                  <a:pt x="245" y="80"/>
                  <a:pt x="245" y="80"/>
                  <a:pt x="245" y="80"/>
                </a:cubicBezTo>
                <a:cubicBezTo>
                  <a:pt x="245" y="81"/>
                  <a:pt x="245" y="81"/>
                  <a:pt x="245" y="81"/>
                </a:cubicBezTo>
                <a:cubicBezTo>
                  <a:pt x="246" y="81"/>
                  <a:pt x="246" y="81"/>
                  <a:pt x="246" y="81"/>
                </a:cubicBezTo>
                <a:cubicBezTo>
                  <a:pt x="246" y="80"/>
                  <a:pt x="246" y="80"/>
                  <a:pt x="246" y="80"/>
                </a:cubicBezTo>
                <a:close/>
                <a:moveTo>
                  <a:pt x="248" y="78"/>
                </a:moveTo>
                <a:cubicBezTo>
                  <a:pt x="248" y="79"/>
                  <a:pt x="248" y="79"/>
                  <a:pt x="248" y="79"/>
                </a:cubicBezTo>
                <a:cubicBezTo>
                  <a:pt x="249" y="79"/>
                  <a:pt x="249" y="79"/>
                  <a:pt x="249" y="79"/>
                </a:cubicBezTo>
                <a:cubicBezTo>
                  <a:pt x="248" y="78"/>
                  <a:pt x="248" y="78"/>
                  <a:pt x="248" y="78"/>
                </a:cubicBezTo>
                <a:cubicBezTo>
                  <a:pt x="248" y="78"/>
                  <a:pt x="248" y="78"/>
                  <a:pt x="248" y="78"/>
                </a:cubicBezTo>
                <a:close/>
                <a:moveTo>
                  <a:pt x="247" y="79"/>
                </a:moveTo>
                <a:cubicBezTo>
                  <a:pt x="247" y="79"/>
                  <a:pt x="247" y="79"/>
                  <a:pt x="247" y="79"/>
                </a:cubicBezTo>
                <a:cubicBezTo>
                  <a:pt x="246" y="80"/>
                  <a:pt x="246" y="80"/>
                  <a:pt x="246" y="80"/>
                </a:cubicBezTo>
                <a:cubicBezTo>
                  <a:pt x="246" y="80"/>
                  <a:pt x="246" y="80"/>
                  <a:pt x="246" y="80"/>
                </a:cubicBezTo>
                <a:cubicBezTo>
                  <a:pt x="246" y="80"/>
                  <a:pt x="246" y="80"/>
                  <a:pt x="246" y="80"/>
                </a:cubicBezTo>
                <a:cubicBezTo>
                  <a:pt x="246" y="80"/>
                  <a:pt x="246" y="80"/>
                  <a:pt x="246" y="80"/>
                </a:cubicBezTo>
                <a:cubicBezTo>
                  <a:pt x="247" y="80"/>
                  <a:pt x="247" y="80"/>
                  <a:pt x="247" y="80"/>
                </a:cubicBezTo>
                <a:cubicBezTo>
                  <a:pt x="246" y="81"/>
                  <a:pt x="246" y="81"/>
                  <a:pt x="246" y="81"/>
                </a:cubicBezTo>
                <a:cubicBezTo>
                  <a:pt x="246" y="82"/>
                  <a:pt x="246" y="82"/>
                  <a:pt x="246" y="82"/>
                </a:cubicBezTo>
                <a:cubicBezTo>
                  <a:pt x="247" y="82"/>
                  <a:pt x="247" y="82"/>
                  <a:pt x="247" y="82"/>
                </a:cubicBezTo>
                <a:cubicBezTo>
                  <a:pt x="248" y="81"/>
                  <a:pt x="248" y="81"/>
                  <a:pt x="248" y="81"/>
                </a:cubicBezTo>
                <a:cubicBezTo>
                  <a:pt x="248" y="81"/>
                  <a:pt x="248" y="81"/>
                  <a:pt x="248" y="81"/>
                </a:cubicBezTo>
                <a:cubicBezTo>
                  <a:pt x="249" y="80"/>
                  <a:pt x="249" y="80"/>
                  <a:pt x="249" y="80"/>
                </a:cubicBezTo>
                <a:cubicBezTo>
                  <a:pt x="249" y="79"/>
                  <a:pt x="249" y="79"/>
                  <a:pt x="249" y="79"/>
                </a:cubicBezTo>
                <a:cubicBezTo>
                  <a:pt x="248" y="79"/>
                  <a:pt x="248" y="79"/>
                  <a:pt x="248" y="79"/>
                </a:cubicBezTo>
                <a:cubicBezTo>
                  <a:pt x="247" y="79"/>
                  <a:pt x="247" y="79"/>
                  <a:pt x="247" y="79"/>
                </a:cubicBezTo>
                <a:close/>
                <a:moveTo>
                  <a:pt x="231" y="89"/>
                </a:moveTo>
                <a:cubicBezTo>
                  <a:pt x="232" y="88"/>
                  <a:pt x="232" y="88"/>
                  <a:pt x="232" y="88"/>
                </a:cubicBezTo>
                <a:cubicBezTo>
                  <a:pt x="231" y="88"/>
                  <a:pt x="231" y="88"/>
                  <a:pt x="231" y="88"/>
                </a:cubicBezTo>
                <a:cubicBezTo>
                  <a:pt x="231" y="89"/>
                  <a:pt x="231" y="89"/>
                  <a:pt x="231" y="89"/>
                </a:cubicBezTo>
                <a:close/>
                <a:moveTo>
                  <a:pt x="230" y="89"/>
                </a:moveTo>
                <a:cubicBezTo>
                  <a:pt x="231" y="90"/>
                  <a:pt x="231" y="90"/>
                  <a:pt x="231" y="90"/>
                </a:cubicBezTo>
                <a:cubicBezTo>
                  <a:pt x="231" y="89"/>
                  <a:pt x="231" y="89"/>
                  <a:pt x="231" y="89"/>
                </a:cubicBezTo>
                <a:cubicBezTo>
                  <a:pt x="230" y="89"/>
                  <a:pt x="230" y="89"/>
                  <a:pt x="230" y="89"/>
                </a:cubicBezTo>
                <a:close/>
                <a:moveTo>
                  <a:pt x="224" y="92"/>
                </a:moveTo>
                <a:cubicBezTo>
                  <a:pt x="224" y="92"/>
                  <a:pt x="224" y="92"/>
                  <a:pt x="224" y="92"/>
                </a:cubicBezTo>
                <a:cubicBezTo>
                  <a:pt x="224" y="92"/>
                  <a:pt x="224" y="92"/>
                  <a:pt x="224" y="92"/>
                </a:cubicBezTo>
                <a:cubicBezTo>
                  <a:pt x="224" y="92"/>
                  <a:pt x="224" y="92"/>
                  <a:pt x="224" y="92"/>
                </a:cubicBezTo>
                <a:close/>
                <a:moveTo>
                  <a:pt x="226" y="91"/>
                </a:moveTo>
                <a:cubicBezTo>
                  <a:pt x="224" y="91"/>
                  <a:pt x="224" y="91"/>
                  <a:pt x="224" y="91"/>
                </a:cubicBezTo>
                <a:cubicBezTo>
                  <a:pt x="225" y="92"/>
                  <a:pt x="225" y="92"/>
                  <a:pt x="225" y="92"/>
                </a:cubicBezTo>
                <a:cubicBezTo>
                  <a:pt x="226" y="91"/>
                  <a:pt x="226" y="91"/>
                  <a:pt x="226" y="91"/>
                </a:cubicBezTo>
                <a:cubicBezTo>
                  <a:pt x="226" y="91"/>
                  <a:pt x="226" y="91"/>
                  <a:pt x="226" y="91"/>
                </a:cubicBezTo>
                <a:close/>
                <a:moveTo>
                  <a:pt x="226" y="96"/>
                </a:moveTo>
                <a:cubicBezTo>
                  <a:pt x="225" y="96"/>
                  <a:pt x="225" y="96"/>
                  <a:pt x="225" y="96"/>
                </a:cubicBezTo>
                <a:cubicBezTo>
                  <a:pt x="224" y="96"/>
                  <a:pt x="224" y="96"/>
                  <a:pt x="224" y="96"/>
                </a:cubicBezTo>
                <a:cubicBezTo>
                  <a:pt x="224" y="97"/>
                  <a:pt x="224" y="97"/>
                  <a:pt x="224" y="97"/>
                </a:cubicBezTo>
                <a:cubicBezTo>
                  <a:pt x="225" y="97"/>
                  <a:pt x="225" y="97"/>
                  <a:pt x="225" y="97"/>
                </a:cubicBezTo>
                <a:cubicBezTo>
                  <a:pt x="226" y="96"/>
                  <a:pt x="226" y="96"/>
                  <a:pt x="226" y="96"/>
                </a:cubicBezTo>
                <a:cubicBezTo>
                  <a:pt x="226" y="96"/>
                  <a:pt x="226" y="96"/>
                  <a:pt x="226" y="96"/>
                </a:cubicBezTo>
                <a:close/>
                <a:moveTo>
                  <a:pt x="228" y="90"/>
                </a:moveTo>
                <a:cubicBezTo>
                  <a:pt x="226" y="92"/>
                  <a:pt x="226" y="92"/>
                  <a:pt x="226" y="92"/>
                </a:cubicBezTo>
                <a:cubicBezTo>
                  <a:pt x="226" y="93"/>
                  <a:pt x="226" y="93"/>
                  <a:pt x="226" y="93"/>
                </a:cubicBezTo>
                <a:cubicBezTo>
                  <a:pt x="226" y="93"/>
                  <a:pt x="226" y="93"/>
                  <a:pt x="226" y="93"/>
                </a:cubicBezTo>
                <a:cubicBezTo>
                  <a:pt x="226" y="94"/>
                  <a:pt x="226" y="94"/>
                  <a:pt x="226" y="94"/>
                </a:cubicBezTo>
                <a:cubicBezTo>
                  <a:pt x="226" y="95"/>
                  <a:pt x="226" y="95"/>
                  <a:pt x="226" y="95"/>
                </a:cubicBezTo>
                <a:cubicBezTo>
                  <a:pt x="227" y="95"/>
                  <a:pt x="227" y="95"/>
                  <a:pt x="227" y="95"/>
                </a:cubicBezTo>
                <a:cubicBezTo>
                  <a:pt x="227" y="95"/>
                  <a:pt x="227" y="95"/>
                  <a:pt x="227" y="95"/>
                </a:cubicBezTo>
                <a:cubicBezTo>
                  <a:pt x="229" y="93"/>
                  <a:pt x="229" y="93"/>
                  <a:pt x="229" y="93"/>
                </a:cubicBezTo>
                <a:cubicBezTo>
                  <a:pt x="229" y="92"/>
                  <a:pt x="229" y="92"/>
                  <a:pt x="229" y="92"/>
                </a:cubicBezTo>
                <a:cubicBezTo>
                  <a:pt x="229" y="91"/>
                  <a:pt x="229" y="91"/>
                  <a:pt x="229" y="91"/>
                </a:cubicBezTo>
                <a:cubicBezTo>
                  <a:pt x="229" y="90"/>
                  <a:pt x="229" y="90"/>
                  <a:pt x="229" y="90"/>
                </a:cubicBezTo>
                <a:cubicBezTo>
                  <a:pt x="229" y="90"/>
                  <a:pt x="229" y="90"/>
                  <a:pt x="229" y="90"/>
                </a:cubicBezTo>
                <a:cubicBezTo>
                  <a:pt x="229" y="90"/>
                  <a:pt x="229" y="90"/>
                  <a:pt x="229" y="90"/>
                </a:cubicBezTo>
                <a:cubicBezTo>
                  <a:pt x="228" y="90"/>
                  <a:pt x="228" y="90"/>
                  <a:pt x="228" y="90"/>
                </a:cubicBezTo>
                <a:cubicBezTo>
                  <a:pt x="228" y="90"/>
                  <a:pt x="228" y="90"/>
                  <a:pt x="228" y="90"/>
                </a:cubicBezTo>
                <a:close/>
                <a:moveTo>
                  <a:pt x="219" y="84"/>
                </a:moveTo>
                <a:cubicBezTo>
                  <a:pt x="219" y="84"/>
                  <a:pt x="219" y="84"/>
                  <a:pt x="219" y="84"/>
                </a:cubicBezTo>
                <a:cubicBezTo>
                  <a:pt x="219" y="83"/>
                  <a:pt x="219" y="83"/>
                  <a:pt x="219" y="83"/>
                </a:cubicBezTo>
                <a:cubicBezTo>
                  <a:pt x="219" y="84"/>
                  <a:pt x="219" y="84"/>
                  <a:pt x="219" y="84"/>
                </a:cubicBezTo>
                <a:close/>
                <a:moveTo>
                  <a:pt x="216" y="86"/>
                </a:moveTo>
                <a:cubicBezTo>
                  <a:pt x="215" y="87"/>
                  <a:pt x="215" y="87"/>
                  <a:pt x="215" y="87"/>
                </a:cubicBezTo>
                <a:cubicBezTo>
                  <a:pt x="216" y="87"/>
                  <a:pt x="216" y="87"/>
                  <a:pt x="216" y="87"/>
                </a:cubicBezTo>
                <a:cubicBezTo>
                  <a:pt x="216" y="86"/>
                  <a:pt x="216" y="86"/>
                  <a:pt x="216" y="86"/>
                </a:cubicBezTo>
                <a:close/>
                <a:moveTo>
                  <a:pt x="218" y="96"/>
                </a:moveTo>
                <a:cubicBezTo>
                  <a:pt x="217" y="96"/>
                  <a:pt x="217" y="96"/>
                  <a:pt x="217" y="96"/>
                </a:cubicBezTo>
                <a:cubicBezTo>
                  <a:pt x="217" y="96"/>
                  <a:pt x="217" y="96"/>
                  <a:pt x="217" y="96"/>
                </a:cubicBezTo>
                <a:cubicBezTo>
                  <a:pt x="218" y="96"/>
                  <a:pt x="218" y="96"/>
                  <a:pt x="218" y="96"/>
                </a:cubicBezTo>
                <a:close/>
                <a:moveTo>
                  <a:pt x="216" y="94"/>
                </a:moveTo>
                <a:cubicBezTo>
                  <a:pt x="217" y="93"/>
                  <a:pt x="217" y="93"/>
                  <a:pt x="217" y="93"/>
                </a:cubicBezTo>
                <a:cubicBezTo>
                  <a:pt x="217" y="94"/>
                  <a:pt x="217" y="94"/>
                  <a:pt x="217" y="94"/>
                </a:cubicBezTo>
                <a:cubicBezTo>
                  <a:pt x="218" y="95"/>
                  <a:pt x="218" y="95"/>
                  <a:pt x="218" y="95"/>
                </a:cubicBezTo>
                <a:cubicBezTo>
                  <a:pt x="217" y="95"/>
                  <a:pt x="217" y="95"/>
                  <a:pt x="217" y="95"/>
                </a:cubicBezTo>
                <a:cubicBezTo>
                  <a:pt x="216" y="95"/>
                  <a:pt x="216" y="95"/>
                  <a:pt x="216" y="95"/>
                </a:cubicBezTo>
                <a:cubicBezTo>
                  <a:pt x="216" y="94"/>
                  <a:pt x="216" y="94"/>
                  <a:pt x="216" y="94"/>
                </a:cubicBezTo>
                <a:close/>
                <a:moveTo>
                  <a:pt x="209" y="90"/>
                </a:moveTo>
                <a:cubicBezTo>
                  <a:pt x="210" y="89"/>
                  <a:pt x="210" y="89"/>
                  <a:pt x="210" y="89"/>
                </a:cubicBezTo>
                <a:cubicBezTo>
                  <a:pt x="210" y="90"/>
                  <a:pt x="210" y="90"/>
                  <a:pt x="210" y="90"/>
                </a:cubicBezTo>
                <a:cubicBezTo>
                  <a:pt x="210" y="90"/>
                  <a:pt x="210" y="90"/>
                  <a:pt x="210" y="90"/>
                </a:cubicBezTo>
                <a:cubicBezTo>
                  <a:pt x="209" y="90"/>
                  <a:pt x="209" y="90"/>
                  <a:pt x="209" y="90"/>
                </a:cubicBezTo>
                <a:cubicBezTo>
                  <a:pt x="209" y="90"/>
                  <a:pt x="209" y="90"/>
                  <a:pt x="209" y="90"/>
                </a:cubicBezTo>
                <a:close/>
                <a:moveTo>
                  <a:pt x="211" y="97"/>
                </a:moveTo>
                <a:cubicBezTo>
                  <a:pt x="212" y="97"/>
                  <a:pt x="212" y="97"/>
                  <a:pt x="212" y="97"/>
                </a:cubicBezTo>
                <a:cubicBezTo>
                  <a:pt x="212" y="97"/>
                  <a:pt x="212" y="97"/>
                  <a:pt x="212" y="97"/>
                </a:cubicBezTo>
                <a:cubicBezTo>
                  <a:pt x="211" y="97"/>
                  <a:pt x="211" y="97"/>
                  <a:pt x="211" y="97"/>
                </a:cubicBezTo>
                <a:cubicBezTo>
                  <a:pt x="211" y="97"/>
                  <a:pt x="211" y="97"/>
                  <a:pt x="211" y="97"/>
                </a:cubicBezTo>
                <a:close/>
                <a:moveTo>
                  <a:pt x="201" y="93"/>
                </a:moveTo>
                <a:cubicBezTo>
                  <a:pt x="202" y="92"/>
                  <a:pt x="202" y="92"/>
                  <a:pt x="202" y="92"/>
                </a:cubicBezTo>
                <a:cubicBezTo>
                  <a:pt x="201" y="91"/>
                  <a:pt x="201" y="91"/>
                  <a:pt x="201" y="91"/>
                </a:cubicBezTo>
                <a:cubicBezTo>
                  <a:pt x="201" y="92"/>
                  <a:pt x="201" y="92"/>
                  <a:pt x="201" y="92"/>
                </a:cubicBezTo>
                <a:cubicBezTo>
                  <a:pt x="201" y="93"/>
                  <a:pt x="201" y="93"/>
                  <a:pt x="201" y="93"/>
                </a:cubicBezTo>
                <a:close/>
                <a:moveTo>
                  <a:pt x="204" y="96"/>
                </a:moveTo>
                <a:cubicBezTo>
                  <a:pt x="206" y="96"/>
                  <a:pt x="206" y="96"/>
                  <a:pt x="206" y="96"/>
                </a:cubicBezTo>
                <a:cubicBezTo>
                  <a:pt x="207" y="96"/>
                  <a:pt x="207" y="96"/>
                  <a:pt x="207" y="96"/>
                </a:cubicBezTo>
                <a:cubicBezTo>
                  <a:pt x="207" y="97"/>
                  <a:pt x="207" y="97"/>
                  <a:pt x="207" y="97"/>
                </a:cubicBezTo>
                <a:cubicBezTo>
                  <a:pt x="206" y="97"/>
                  <a:pt x="206" y="97"/>
                  <a:pt x="206" y="97"/>
                </a:cubicBezTo>
                <a:cubicBezTo>
                  <a:pt x="204" y="97"/>
                  <a:pt x="204" y="97"/>
                  <a:pt x="204" y="97"/>
                </a:cubicBezTo>
                <a:cubicBezTo>
                  <a:pt x="204" y="96"/>
                  <a:pt x="204" y="96"/>
                  <a:pt x="204" y="96"/>
                </a:cubicBezTo>
                <a:close/>
                <a:moveTo>
                  <a:pt x="202" y="97"/>
                </a:moveTo>
                <a:cubicBezTo>
                  <a:pt x="203" y="96"/>
                  <a:pt x="203" y="96"/>
                  <a:pt x="203" y="96"/>
                </a:cubicBezTo>
                <a:cubicBezTo>
                  <a:pt x="203" y="97"/>
                  <a:pt x="203" y="97"/>
                  <a:pt x="203" y="97"/>
                </a:cubicBezTo>
                <a:cubicBezTo>
                  <a:pt x="202" y="97"/>
                  <a:pt x="202" y="97"/>
                  <a:pt x="202" y="97"/>
                </a:cubicBezTo>
                <a:close/>
                <a:moveTo>
                  <a:pt x="200" y="96"/>
                </a:moveTo>
                <a:cubicBezTo>
                  <a:pt x="200" y="96"/>
                  <a:pt x="200" y="96"/>
                  <a:pt x="200" y="96"/>
                </a:cubicBezTo>
                <a:cubicBezTo>
                  <a:pt x="201" y="96"/>
                  <a:pt x="201" y="96"/>
                  <a:pt x="201" y="96"/>
                </a:cubicBezTo>
                <a:cubicBezTo>
                  <a:pt x="200" y="97"/>
                  <a:pt x="200" y="97"/>
                  <a:pt x="200" y="97"/>
                </a:cubicBezTo>
                <a:cubicBezTo>
                  <a:pt x="200" y="96"/>
                  <a:pt x="200" y="96"/>
                  <a:pt x="200" y="96"/>
                </a:cubicBezTo>
                <a:close/>
                <a:moveTo>
                  <a:pt x="176" y="109"/>
                </a:moveTo>
                <a:cubicBezTo>
                  <a:pt x="176" y="111"/>
                  <a:pt x="176" y="111"/>
                  <a:pt x="176" y="111"/>
                </a:cubicBezTo>
                <a:cubicBezTo>
                  <a:pt x="176" y="111"/>
                  <a:pt x="176" y="111"/>
                  <a:pt x="176" y="111"/>
                </a:cubicBezTo>
                <a:cubicBezTo>
                  <a:pt x="178" y="111"/>
                  <a:pt x="178" y="111"/>
                  <a:pt x="178" y="111"/>
                </a:cubicBezTo>
                <a:cubicBezTo>
                  <a:pt x="180" y="110"/>
                  <a:pt x="180" y="110"/>
                  <a:pt x="180" y="110"/>
                </a:cubicBezTo>
                <a:cubicBezTo>
                  <a:pt x="181" y="110"/>
                  <a:pt x="181" y="110"/>
                  <a:pt x="181" y="110"/>
                </a:cubicBezTo>
                <a:cubicBezTo>
                  <a:pt x="182" y="110"/>
                  <a:pt x="182" y="110"/>
                  <a:pt x="182" y="110"/>
                </a:cubicBezTo>
                <a:cubicBezTo>
                  <a:pt x="184" y="109"/>
                  <a:pt x="184" y="109"/>
                  <a:pt x="184" y="109"/>
                </a:cubicBezTo>
                <a:cubicBezTo>
                  <a:pt x="184" y="108"/>
                  <a:pt x="184" y="108"/>
                  <a:pt x="184" y="108"/>
                </a:cubicBezTo>
                <a:cubicBezTo>
                  <a:pt x="187" y="106"/>
                  <a:pt x="187" y="106"/>
                  <a:pt x="187" y="106"/>
                </a:cubicBezTo>
                <a:cubicBezTo>
                  <a:pt x="187" y="105"/>
                  <a:pt x="187" y="105"/>
                  <a:pt x="187" y="105"/>
                </a:cubicBezTo>
                <a:cubicBezTo>
                  <a:pt x="188" y="105"/>
                  <a:pt x="188" y="105"/>
                  <a:pt x="188" y="105"/>
                </a:cubicBezTo>
                <a:cubicBezTo>
                  <a:pt x="186" y="104"/>
                  <a:pt x="186" y="104"/>
                  <a:pt x="186" y="104"/>
                </a:cubicBezTo>
                <a:cubicBezTo>
                  <a:pt x="185" y="102"/>
                  <a:pt x="185" y="102"/>
                  <a:pt x="185" y="102"/>
                </a:cubicBezTo>
                <a:cubicBezTo>
                  <a:pt x="185" y="102"/>
                  <a:pt x="185" y="102"/>
                  <a:pt x="185" y="102"/>
                </a:cubicBezTo>
                <a:cubicBezTo>
                  <a:pt x="183" y="103"/>
                  <a:pt x="183" y="103"/>
                  <a:pt x="183" y="103"/>
                </a:cubicBezTo>
                <a:cubicBezTo>
                  <a:pt x="183" y="104"/>
                  <a:pt x="183" y="104"/>
                  <a:pt x="183" y="104"/>
                </a:cubicBezTo>
                <a:cubicBezTo>
                  <a:pt x="182" y="104"/>
                  <a:pt x="182" y="104"/>
                  <a:pt x="182" y="104"/>
                </a:cubicBezTo>
                <a:cubicBezTo>
                  <a:pt x="181" y="105"/>
                  <a:pt x="181" y="105"/>
                  <a:pt x="181" y="105"/>
                </a:cubicBezTo>
                <a:cubicBezTo>
                  <a:pt x="180" y="104"/>
                  <a:pt x="180" y="104"/>
                  <a:pt x="180" y="104"/>
                </a:cubicBezTo>
                <a:cubicBezTo>
                  <a:pt x="180" y="104"/>
                  <a:pt x="180" y="104"/>
                  <a:pt x="180" y="104"/>
                </a:cubicBezTo>
                <a:cubicBezTo>
                  <a:pt x="178" y="105"/>
                  <a:pt x="178" y="105"/>
                  <a:pt x="178" y="105"/>
                </a:cubicBezTo>
                <a:cubicBezTo>
                  <a:pt x="178" y="106"/>
                  <a:pt x="178" y="106"/>
                  <a:pt x="178" y="106"/>
                </a:cubicBezTo>
                <a:cubicBezTo>
                  <a:pt x="177" y="108"/>
                  <a:pt x="177" y="108"/>
                  <a:pt x="177" y="108"/>
                </a:cubicBezTo>
                <a:cubicBezTo>
                  <a:pt x="177" y="109"/>
                  <a:pt x="177" y="109"/>
                  <a:pt x="177" y="109"/>
                </a:cubicBezTo>
                <a:cubicBezTo>
                  <a:pt x="177" y="109"/>
                  <a:pt x="177" y="109"/>
                  <a:pt x="177" y="109"/>
                </a:cubicBezTo>
                <a:cubicBezTo>
                  <a:pt x="177" y="110"/>
                  <a:pt x="177" y="110"/>
                  <a:pt x="177" y="110"/>
                </a:cubicBezTo>
                <a:cubicBezTo>
                  <a:pt x="177" y="110"/>
                  <a:pt x="177" y="110"/>
                  <a:pt x="177" y="110"/>
                </a:cubicBezTo>
                <a:cubicBezTo>
                  <a:pt x="176" y="109"/>
                  <a:pt x="176" y="109"/>
                  <a:pt x="176" y="109"/>
                </a:cubicBezTo>
                <a:close/>
                <a:moveTo>
                  <a:pt x="175" y="111"/>
                </a:moveTo>
                <a:cubicBezTo>
                  <a:pt x="175" y="110"/>
                  <a:pt x="175" y="110"/>
                  <a:pt x="175" y="110"/>
                </a:cubicBezTo>
                <a:cubicBezTo>
                  <a:pt x="175" y="110"/>
                  <a:pt x="175" y="110"/>
                  <a:pt x="175" y="110"/>
                </a:cubicBezTo>
                <a:cubicBezTo>
                  <a:pt x="174" y="111"/>
                  <a:pt x="174" y="111"/>
                  <a:pt x="174" y="111"/>
                </a:cubicBezTo>
                <a:cubicBezTo>
                  <a:pt x="175" y="111"/>
                  <a:pt x="175" y="111"/>
                  <a:pt x="175" y="111"/>
                </a:cubicBezTo>
                <a:close/>
                <a:moveTo>
                  <a:pt x="175" y="112"/>
                </a:moveTo>
                <a:cubicBezTo>
                  <a:pt x="174" y="112"/>
                  <a:pt x="174" y="112"/>
                  <a:pt x="174" y="112"/>
                </a:cubicBezTo>
                <a:cubicBezTo>
                  <a:pt x="174" y="113"/>
                  <a:pt x="174" y="113"/>
                  <a:pt x="174" y="113"/>
                </a:cubicBezTo>
                <a:cubicBezTo>
                  <a:pt x="172" y="113"/>
                  <a:pt x="172" y="113"/>
                  <a:pt x="172" y="113"/>
                </a:cubicBezTo>
                <a:cubicBezTo>
                  <a:pt x="171" y="114"/>
                  <a:pt x="171" y="114"/>
                  <a:pt x="171" y="114"/>
                </a:cubicBezTo>
                <a:cubicBezTo>
                  <a:pt x="172" y="115"/>
                  <a:pt x="172" y="115"/>
                  <a:pt x="172" y="115"/>
                </a:cubicBezTo>
                <a:cubicBezTo>
                  <a:pt x="175" y="113"/>
                  <a:pt x="175" y="113"/>
                  <a:pt x="175" y="113"/>
                </a:cubicBezTo>
                <a:cubicBezTo>
                  <a:pt x="175" y="112"/>
                  <a:pt x="175" y="112"/>
                  <a:pt x="175" y="112"/>
                </a:cubicBezTo>
                <a:cubicBezTo>
                  <a:pt x="175" y="112"/>
                  <a:pt x="175" y="112"/>
                  <a:pt x="175" y="112"/>
                </a:cubicBezTo>
                <a:close/>
                <a:moveTo>
                  <a:pt x="166" y="111"/>
                </a:moveTo>
                <a:cubicBezTo>
                  <a:pt x="166" y="112"/>
                  <a:pt x="166" y="112"/>
                  <a:pt x="166" y="112"/>
                </a:cubicBezTo>
                <a:cubicBezTo>
                  <a:pt x="167" y="113"/>
                  <a:pt x="167" y="113"/>
                  <a:pt x="167" y="113"/>
                </a:cubicBezTo>
                <a:cubicBezTo>
                  <a:pt x="166" y="113"/>
                  <a:pt x="166" y="113"/>
                  <a:pt x="166" y="113"/>
                </a:cubicBezTo>
                <a:cubicBezTo>
                  <a:pt x="165" y="113"/>
                  <a:pt x="165" y="113"/>
                  <a:pt x="165" y="113"/>
                </a:cubicBezTo>
                <a:cubicBezTo>
                  <a:pt x="165" y="112"/>
                  <a:pt x="165" y="112"/>
                  <a:pt x="165" y="112"/>
                </a:cubicBezTo>
                <a:cubicBezTo>
                  <a:pt x="166" y="111"/>
                  <a:pt x="166" y="111"/>
                  <a:pt x="166" y="111"/>
                </a:cubicBezTo>
                <a:close/>
                <a:moveTo>
                  <a:pt x="148" y="105"/>
                </a:moveTo>
                <a:cubicBezTo>
                  <a:pt x="150" y="103"/>
                  <a:pt x="150" y="103"/>
                  <a:pt x="150" y="103"/>
                </a:cubicBezTo>
                <a:cubicBezTo>
                  <a:pt x="152" y="105"/>
                  <a:pt x="152" y="105"/>
                  <a:pt x="152" y="105"/>
                </a:cubicBezTo>
                <a:cubicBezTo>
                  <a:pt x="153" y="105"/>
                  <a:pt x="153" y="105"/>
                  <a:pt x="153" y="105"/>
                </a:cubicBezTo>
                <a:cubicBezTo>
                  <a:pt x="154" y="104"/>
                  <a:pt x="154" y="104"/>
                  <a:pt x="154" y="104"/>
                </a:cubicBezTo>
                <a:cubicBezTo>
                  <a:pt x="156" y="105"/>
                  <a:pt x="156" y="105"/>
                  <a:pt x="156" y="105"/>
                </a:cubicBezTo>
                <a:cubicBezTo>
                  <a:pt x="156" y="106"/>
                  <a:pt x="156" y="106"/>
                  <a:pt x="156" y="106"/>
                </a:cubicBezTo>
                <a:cubicBezTo>
                  <a:pt x="157" y="106"/>
                  <a:pt x="157" y="106"/>
                  <a:pt x="157" y="106"/>
                </a:cubicBezTo>
                <a:cubicBezTo>
                  <a:pt x="158" y="108"/>
                  <a:pt x="158" y="108"/>
                  <a:pt x="158" y="108"/>
                </a:cubicBezTo>
                <a:cubicBezTo>
                  <a:pt x="159" y="108"/>
                  <a:pt x="159" y="108"/>
                  <a:pt x="159" y="108"/>
                </a:cubicBezTo>
                <a:cubicBezTo>
                  <a:pt x="159" y="109"/>
                  <a:pt x="159" y="109"/>
                  <a:pt x="159" y="109"/>
                </a:cubicBezTo>
                <a:cubicBezTo>
                  <a:pt x="158" y="110"/>
                  <a:pt x="158" y="110"/>
                  <a:pt x="158" y="110"/>
                </a:cubicBezTo>
                <a:cubicBezTo>
                  <a:pt x="156" y="110"/>
                  <a:pt x="156" y="110"/>
                  <a:pt x="156" y="110"/>
                </a:cubicBezTo>
                <a:cubicBezTo>
                  <a:pt x="155" y="110"/>
                  <a:pt x="155" y="110"/>
                  <a:pt x="155" y="110"/>
                </a:cubicBezTo>
                <a:cubicBezTo>
                  <a:pt x="154" y="108"/>
                  <a:pt x="154" y="108"/>
                  <a:pt x="154" y="108"/>
                </a:cubicBezTo>
                <a:cubicBezTo>
                  <a:pt x="153" y="108"/>
                  <a:pt x="153" y="108"/>
                  <a:pt x="153" y="108"/>
                </a:cubicBezTo>
                <a:cubicBezTo>
                  <a:pt x="152" y="107"/>
                  <a:pt x="152" y="107"/>
                  <a:pt x="152" y="107"/>
                </a:cubicBezTo>
                <a:cubicBezTo>
                  <a:pt x="150" y="107"/>
                  <a:pt x="150" y="107"/>
                  <a:pt x="150" y="107"/>
                </a:cubicBezTo>
                <a:cubicBezTo>
                  <a:pt x="148" y="107"/>
                  <a:pt x="148" y="107"/>
                  <a:pt x="148" y="107"/>
                </a:cubicBezTo>
                <a:cubicBezTo>
                  <a:pt x="147" y="106"/>
                  <a:pt x="147" y="106"/>
                  <a:pt x="147" y="106"/>
                </a:cubicBezTo>
                <a:cubicBezTo>
                  <a:pt x="148" y="105"/>
                  <a:pt x="148" y="105"/>
                  <a:pt x="148" y="105"/>
                </a:cubicBezTo>
                <a:close/>
                <a:moveTo>
                  <a:pt x="128" y="90"/>
                </a:moveTo>
                <a:cubicBezTo>
                  <a:pt x="129" y="90"/>
                  <a:pt x="129" y="90"/>
                  <a:pt x="129" y="90"/>
                </a:cubicBezTo>
                <a:cubicBezTo>
                  <a:pt x="129" y="90"/>
                  <a:pt x="129" y="90"/>
                  <a:pt x="129" y="90"/>
                </a:cubicBezTo>
                <a:cubicBezTo>
                  <a:pt x="129" y="91"/>
                  <a:pt x="129" y="91"/>
                  <a:pt x="129" y="91"/>
                </a:cubicBezTo>
                <a:cubicBezTo>
                  <a:pt x="128" y="91"/>
                  <a:pt x="128" y="91"/>
                  <a:pt x="128" y="91"/>
                </a:cubicBezTo>
                <a:cubicBezTo>
                  <a:pt x="128" y="90"/>
                  <a:pt x="128" y="90"/>
                  <a:pt x="128" y="90"/>
                </a:cubicBezTo>
                <a:close/>
                <a:moveTo>
                  <a:pt x="124" y="88"/>
                </a:moveTo>
                <a:cubicBezTo>
                  <a:pt x="125" y="89"/>
                  <a:pt x="125" y="89"/>
                  <a:pt x="125" y="89"/>
                </a:cubicBezTo>
                <a:cubicBezTo>
                  <a:pt x="126" y="88"/>
                  <a:pt x="126" y="88"/>
                  <a:pt x="126" y="88"/>
                </a:cubicBezTo>
                <a:cubicBezTo>
                  <a:pt x="127" y="89"/>
                  <a:pt x="127" y="89"/>
                  <a:pt x="127" y="89"/>
                </a:cubicBezTo>
                <a:cubicBezTo>
                  <a:pt x="127" y="89"/>
                  <a:pt x="127" y="89"/>
                  <a:pt x="127" y="89"/>
                </a:cubicBezTo>
                <a:cubicBezTo>
                  <a:pt x="127" y="88"/>
                  <a:pt x="127" y="88"/>
                  <a:pt x="127" y="88"/>
                </a:cubicBezTo>
                <a:cubicBezTo>
                  <a:pt x="126" y="88"/>
                  <a:pt x="126" y="88"/>
                  <a:pt x="126" y="88"/>
                </a:cubicBezTo>
                <a:cubicBezTo>
                  <a:pt x="125" y="88"/>
                  <a:pt x="125" y="88"/>
                  <a:pt x="125" y="88"/>
                </a:cubicBezTo>
                <a:cubicBezTo>
                  <a:pt x="124" y="88"/>
                  <a:pt x="124" y="88"/>
                  <a:pt x="124" y="88"/>
                </a:cubicBezTo>
                <a:cubicBezTo>
                  <a:pt x="124" y="88"/>
                  <a:pt x="124" y="88"/>
                  <a:pt x="124" y="88"/>
                </a:cubicBezTo>
                <a:close/>
                <a:moveTo>
                  <a:pt x="192" y="95"/>
                </a:moveTo>
                <a:cubicBezTo>
                  <a:pt x="193" y="94"/>
                  <a:pt x="193" y="94"/>
                  <a:pt x="193" y="94"/>
                </a:cubicBezTo>
                <a:cubicBezTo>
                  <a:pt x="195" y="94"/>
                  <a:pt x="195" y="94"/>
                  <a:pt x="195" y="94"/>
                </a:cubicBezTo>
                <a:cubicBezTo>
                  <a:pt x="196" y="95"/>
                  <a:pt x="196" y="95"/>
                  <a:pt x="196" y="95"/>
                </a:cubicBezTo>
                <a:cubicBezTo>
                  <a:pt x="196" y="94"/>
                  <a:pt x="196" y="94"/>
                  <a:pt x="196" y="94"/>
                </a:cubicBezTo>
                <a:cubicBezTo>
                  <a:pt x="197" y="94"/>
                  <a:pt x="197" y="94"/>
                  <a:pt x="197" y="94"/>
                </a:cubicBezTo>
                <a:cubicBezTo>
                  <a:pt x="198" y="93"/>
                  <a:pt x="198" y="93"/>
                  <a:pt x="198" y="93"/>
                </a:cubicBezTo>
                <a:cubicBezTo>
                  <a:pt x="198" y="93"/>
                  <a:pt x="198" y="93"/>
                  <a:pt x="198" y="93"/>
                </a:cubicBezTo>
                <a:cubicBezTo>
                  <a:pt x="197" y="92"/>
                  <a:pt x="197" y="92"/>
                  <a:pt x="197" y="92"/>
                </a:cubicBezTo>
                <a:cubicBezTo>
                  <a:pt x="196" y="93"/>
                  <a:pt x="196" y="93"/>
                  <a:pt x="196" y="93"/>
                </a:cubicBezTo>
                <a:cubicBezTo>
                  <a:pt x="194" y="93"/>
                  <a:pt x="194" y="93"/>
                  <a:pt x="194" y="93"/>
                </a:cubicBezTo>
                <a:cubicBezTo>
                  <a:pt x="193" y="92"/>
                  <a:pt x="193" y="92"/>
                  <a:pt x="193" y="92"/>
                </a:cubicBezTo>
                <a:cubicBezTo>
                  <a:pt x="192" y="93"/>
                  <a:pt x="192" y="93"/>
                  <a:pt x="192" y="93"/>
                </a:cubicBezTo>
                <a:cubicBezTo>
                  <a:pt x="192" y="94"/>
                  <a:pt x="192" y="94"/>
                  <a:pt x="192" y="94"/>
                </a:cubicBezTo>
                <a:cubicBezTo>
                  <a:pt x="192" y="95"/>
                  <a:pt x="192" y="95"/>
                  <a:pt x="192" y="95"/>
                </a:cubicBezTo>
                <a:close/>
                <a:moveTo>
                  <a:pt x="190" y="97"/>
                </a:moveTo>
                <a:cubicBezTo>
                  <a:pt x="190" y="97"/>
                  <a:pt x="190" y="97"/>
                  <a:pt x="190" y="97"/>
                </a:cubicBezTo>
                <a:cubicBezTo>
                  <a:pt x="190" y="97"/>
                  <a:pt x="190" y="97"/>
                  <a:pt x="190" y="97"/>
                </a:cubicBezTo>
                <a:cubicBezTo>
                  <a:pt x="190" y="97"/>
                  <a:pt x="190" y="97"/>
                  <a:pt x="190" y="97"/>
                </a:cubicBezTo>
                <a:cubicBezTo>
                  <a:pt x="190" y="97"/>
                  <a:pt x="190" y="97"/>
                  <a:pt x="190" y="97"/>
                </a:cubicBezTo>
                <a:close/>
                <a:moveTo>
                  <a:pt x="184" y="96"/>
                </a:moveTo>
                <a:cubicBezTo>
                  <a:pt x="183" y="97"/>
                  <a:pt x="183" y="97"/>
                  <a:pt x="183" y="97"/>
                </a:cubicBezTo>
                <a:cubicBezTo>
                  <a:pt x="183" y="97"/>
                  <a:pt x="183" y="97"/>
                  <a:pt x="183" y="97"/>
                </a:cubicBezTo>
                <a:cubicBezTo>
                  <a:pt x="183" y="98"/>
                  <a:pt x="183" y="98"/>
                  <a:pt x="183" y="98"/>
                </a:cubicBezTo>
                <a:cubicBezTo>
                  <a:pt x="183" y="98"/>
                  <a:pt x="183" y="98"/>
                  <a:pt x="183" y="98"/>
                </a:cubicBezTo>
                <a:cubicBezTo>
                  <a:pt x="184" y="99"/>
                  <a:pt x="184" y="99"/>
                  <a:pt x="184" y="99"/>
                </a:cubicBezTo>
                <a:cubicBezTo>
                  <a:pt x="186" y="98"/>
                  <a:pt x="186" y="98"/>
                  <a:pt x="186" y="98"/>
                </a:cubicBezTo>
                <a:cubicBezTo>
                  <a:pt x="187" y="97"/>
                  <a:pt x="187" y="97"/>
                  <a:pt x="187" y="97"/>
                </a:cubicBezTo>
                <a:cubicBezTo>
                  <a:pt x="186" y="97"/>
                  <a:pt x="186" y="97"/>
                  <a:pt x="186" y="97"/>
                </a:cubicBezTo>
                <a:cubicBezTo>
                  <a:pt x="185" y="97"/>
                  <a:pt x="185" y="97"/>
                  <a:pt x="185" y="97"/>
                </a:cubicBezTo>
                <a:cubicBezTo>
                  <a:pt x="184" y="96"/>
                  <a:pt x="184" y="96"/>
                  <a:pt x="184" y="96"/>
                </a:cubicBezTo>
                <a:close/>
                <a:moveTo>
                  <a:pt x="180" y="99"/>
                </a:moveTo>
                <a:cubicBezTo>
                  <a:pt x="180" y="99"/>
                  <a:pt x="180" y="99"/>
                  <a:pt x="180" y="99"/>
                </a:cubicBezTo>
                <a:cubicBezTo>
                  <a:pt x="181" y="99"/>
                  <a:pt x="181" y="99"/>
                  <a:pt x="181" y="99"/>
                </a:cubicBezTo>
                <a:cubicBezTo>
                  <a:pt x="182" y="98"/>
                  <a:pt x="182" y="98"/>
                  <a:pt x="182" y="98"/>
                </a:cubicBezTo>
                <a:cubicBezTo>
                  <a:pt x="182" y="98"/>
                  <a:pt x="182" y="98"/>
                  <a:pt x="182" y="98"/>
                </a:cubicBezTo>
                <a:cubicBezTo>
                  <a:pt x="181" y="98"/>
                  <a:pt x="181" y="98"/>
                  <a:pt x="181" y="98"/>
                </a:cubicBezTo>
                <a:cubicBezTo>
                  <a:pt x="180" y="98"/>
                  <a:pt x="180" y="98"/>
                  <a:pt x="180" y="98"/>
                </a:cubicBezTo>
                <a:cubicBezTo>
                  <a:pt x="180" y="99"/>
                  <a:pt x="180" y="99"/>
                  <a:pt x="180" y="99"/>
                </a:cubicBezTo>
                <a:close/>
                <a:moveTo>
                  <a:pt x="176" y="99"/>
                </a:moveTo>
                <a:cubicBezTo>
                  <a:pt x="177" y="98"/>
                  <a:pt x="177" y="98"/>
                  <a:pt x="177" y="98"/>
                </a:cubicBezTo>
                <a:cubicBezTo>
                  <a:pt x="177" y="98"/>
                  <a:pt x="177" y="98"/>
                  <a:pt x="177" y="98"/>
                </a:cubicBezTo>
                <a:cubicBezTo>
                  <a:pt x="177" y="97"/>
                  <a:pt x="177" y="97"/>
                  <a:pt x="177" y="97"/>
                </a:cubicBezTo>
                <a:cubicBezTo>
                  <a:pt x="178" y="98"/>
                  <a:pt x="178" y="98"/>
                  <a:pt x="178" y="98"/>
                </a:cubicBezTo>
                <a:cubicBezTo>
                  <a:pt x="179" y="97"/>
                  <a:pt x="179" y="97"/>
                  <a:pt x="179" y="97"/>
                </a:cubicBezTo>
                <a:cubicBezTo>
                  <a:pt x="179" y="97"/>
                  <a:pt x="179" y="97"/>
                  <a:pt x="179" y="97"/>
                </a:cubicBezTo>
                <a:cubicBezTo>
                  <a:pt x="178" y="99"/>
                  <a:pt x="178" y="99"/>
                  <a:pt x="178" y="99"/>
                </a:cubicBezTo>
                <a:cubicBezTo>
                  <a:pt x="178" y="99"/>
                  <a:pt x="178" y="99"/>
                  <a:pt x="178" y="99"/>
                </a:cubicBezTo>
                <a:cubicBezTo>
                  <a:pt x="176" y="100"/>
                  <a:pt x="176" y="100"/>
                  <a:pt x="176" y="100"/>
                </a:cubicBezTo>
                <a:cubicBezTo>
                  <a:pt x="176" y="99"/>
                  <a:pt x="176" y="99"/>
                  <a:pt x="176" y="99"/>
                </a:cubicBezTo>
                <a:close/>
                <a:moveTo>
                  <a:pt x="175" y="99"/>
                </a:moveTo>
                <a:cubicBezTo>
                  <a:pt x="173" y="99"/>
                  <a:pt x="173" y="99"/>
                  <a:pt x="173" y="99"/>
                </a:cubicBezTo>
                <a:cubicBezTo>
                  <a:pt x="173" y="100"/>
                  <a:pt x="173" y="100"/>
                  <a:pt x="173" y="100"/>
                </a:cubicBezTo>
                <a:cubicBezTo>
                  <a:pt x="174" y="99"/>
                  <a:pt x="174" y="99"/>
                  <a:pt x="174" y="99"/>
                </a:cubicBezTo>
                <a:cubicBezTo>
                  <a:pt x="175" y="99"/>
                  <a:pt x="175" y="99"/>
                  <a:pt x="175" y="99"/>
                </a:cubicBezTo>
                <a:close/>
                <a:moveTo>
                  <a:pt x="175" y="97"/>
                </a:moveTo>
                <a:cubicBezTo>
                  <a:pt x="175" y="98"/>
                  <a:pt x="175" y="98"/>
                  <a:pt x="175" y="98"/>
                </a:cubicBezTo>
                <a:cubicBezTo>
                  <a:pt x="175" y="98"/>
                  <a:pt x="175" y="98"/>
                  <a:pt x="175" y="98"/>
                </a:cubicBezTo>
                <a:cubicBezTo>
                  <a:pt x="176" y="97"/>
                  <a:pt x="176" y="97"/>
                  <a:pt x="176" y="97"/>
                </a:cubicBezTo>
                <a:cubicBezTo>
                  <a:pt x="175" y="97"/>
                  <a:pt x="175" y="97"/>
                  <a:pt x="175" y="97"/>
                </a:cubicBezTo>
                <a:close/>
                <a:moveTo>
                  <a:pt x="153" y="99"/>
                </a:moveTo>
                <a:cubicBezTo>
                  <a:pt x="153" y="99"/>
                  <a:pt x="153" y="98"/>
                  <a:pt x="153" y="98"/>
                </a:cubicBezTo>
                <a:cubicBezTo>
                  <a:pt x="155" y="97"/>
                  <a:pt x="155" y="97"/>
                  <a:pt x="155" y="97"/>
                </a:cubicBezTo>
                <a:cubicBezTo>
                  <a:pt x="158" y="97"/>
                  <a:pt x="158" y="97"/>
                  <a:pt x="158" y="97"/>
                </a:cubicBezTo>
                <a:cubicBezTo>
                  <a:pt x="160" y="97"/>
                  <a:pt x="160" y="97"/>
                  <a:pt x="160" y="97"/>
                </a:cubicBezTo>
                <a:cubicBezTo>
                  <a:pt x="161" y="97"/>
                  <a:pt x="161" y="97"/>
                  <a:pt x="161" y="97"/>
                </a:cubicBezTo>
                <a:cubicBezTo>
                  <a:pt x="162" y="98"/>
                  <a:pt x="162" y="98"/>
                  <a:pt x="162" y="98"/>
                </a:cubicBezTo>
                <a:cubicBezTo>
                  <a:pt x="164" y="99"/>
                  <a:pt x="164" y="99"/>
                  <a:pt x="164" y="99"/>
                </a:cubicBezTo>
                <a:cubicBezTo>
                  <a:pt x="165" y="98"/>
                  <a:pt x="165" y="98"/>
                  <a:pt x="165" y="98"/>
                </a:cubicBezTo>
                <a:cubicBezTo>
                  <a:pt x="167" y="98"/>
                  <a:pt x="167" y="98"/>
                  <a:pt x="167" y="98"/>
                </a:cubicBezTo>
                <a:cubicBezTo>
                  <a:pt x="168" y="99"/>
                  <a:pt x="168" y="99"/>
                  <a:pt x="168" y="99"/>
                </a:cubicBezTo>
                <a:cubicBezTo>
                  <a:pt x="169" y="99"/>
                  <a:pt x="169" y="99"/>
                  <a:pt x="169" y="99"/>
                </a:cubicBezTo>
                <a:cubicBezTo>
                  <a:pt x="170" y="98"/>
                  <a:pt x="170" y="98"/>
                  <a:pt x="170" y="98"/>
                </a:cubicBezTo>
                <a:cubicBezTo>
                  <a:pt x="171" y="98"/>
                  <a:pt x="171" y="98"/>
                  <a:pt x="171" y="98"/>
                </a:cubicBezTo>
                <a:cubicBezTo>
                  <a:pt x="172" y="96"/>
                  <a:pt x="172" y="96"/>
                  <a:pt x="172" y="96"/>
                </a:cubicBezTo>
                <a:cubicBezTo>
                  <a:pt x="172" y="96"/>
                  <a:pt x="172" y="96"/>
                  <a:pt x="172" y="96"/>
                </a:cubicBezTo>
                <a:cubicBezTo>
                  <a:pt x="173" y="95"/>
                  <a:pt x="173" y="95"/>
                  <a:pt x="173" y="95"/>
                </a:cubicBezTo>
                <a:cubicBezTo>
                  <a:pt x="174" y="96"/>
                  <a:pt x="174" y="96"/>
                  <a:pt x="174" y="96"/>
                </a:cubicBezTo>
                <a:cubicBezTo>
                  <a:pt x="174" y="97"/>
                  <a:pt x="174" y="97"/>
                  <a:pt x="174" y="97"/>
                </a:cubicBezTo>
                <a:cubicBezTo>
                  <a:pt x="173" y="98"/>
                  <a:pt x="173" y="98"/>
                  <a:pt x="173" y="98"/>
                </a:cubicBezTo>
                <a:cubicBezTo>
                  <a:pt x="173" y="99"/>
                  <a:pt x="173" y="99"/>
                  <a:pt x="173" y="99"/>
                </a:cubicBezTo>
                <a:cubicBezTo>
                  <a:pt x="172" y="100"/>
                  <a:pt x="172" y="100"/>
                  <a:pt x="172" y="100"/>
                </a:cubicBezTo>
                <a:cubicBezTo>
                  <a:pt x="170" y="100"/>
                  <a:pt x="170" y="100"/>
                  <a:pt x="170" y="100"/>
                </a:cubicBezTo>
                <a:cubicBezTo>
                  <a:pt x="170" y="100"/>
                  <a:pt x="170" y="100"/>
                  <a:pt x="170" y="100"/>
                </a:cubicBezTo>
                <a:cubicBezTo>
                  <a:pt x="169" y="100"/>
                  <a:pt x="169" y="100"/>
                  <a:pt x="169" y="100"/>
                </a:cubicBezTo>
                <a:cubicBezTo>
                  <a:pt x="167" y="100"/>
                  <a:pt x="167" y="100"/>
                  <a:pt x="167" y="100"/>
                </a:cubicBezTo>
                <a:cubicBezTo>
                  <a:pt x="165" y="101"/>
                  <a:pt x="165" y="101"/>
                  <a:pt x="165" y="101"/>
                </a:cubicBezTo>
                <a:cubicBezTo>
                  <a:pt x="163" y="101"/>
                  <a:pt x="163" y="101"/>
                  <a:pt x="163" y="101"/>
                </a:cubicBezTo>
                <a:cubicBezTo>
                  <a:pt x="162" y="101"/>
                  <a:pt x="162" y="101"/>
                  <a:pt x="162" y="101"/>
                </a:cubicBezTo>
                <a:cubicBezTo>
                  <a:pt x="162" y="101"/>
                  <a:pt x="162" y="101"/>
                  <a:pt x="162" y="101"/>
                </a:cubicBezTo>
                <a:cubicBezTo>
                  <a:pt x="161" y="101"/>
                  <a:pt x="161" y="101"/>
                  <a:pt x="161" y="101"/>
                </a:cubicBezTo>
                <a:cubicBezTo>
                  <a:pt x="160" y="101"/>
                  <a:pt x="160" y="101"/>
                  <a:pt x="160" y="101"/>
                </a:cubicBezTo>
                <a:cubicBezTo>
                  <a:pt x="159" y="102"/>
                  <a:pt x="159" y="102"/>
                  <a:pt x="159" y="102"/>
                </a:cubicBezTo>
                <a:cubicBezTo>
                  <a:pt x="158" y="101"/>
                  <a:pt x="158" y="101"/>
                  <a:pt x="158" y="101"/>
                </a:cubicBezTo>
                <a:cubicBezTo>
                  <a:pt x="157" y="101"/>
                  <a:pt x="157" y="101"/>
                  <a:pt x="157" y="101"/>
                </a:cubicBezTo>
                <a:cubicBezTo>
                  <a:pt x="156" y="101"/>
                  <a:pt x="156" y="101"/>
                  <a:pt x="156" y="101"/>
                </a:cubicBezTo>
                <a:cubicBezTo>
                  <a:pt x="155" y="101"/>
                  <a:pt x="155" y="101"/>
                  <a:pt x="155" y="101"/>
                </a:cubicBezTo>
                <a:cubicBezTo>
                  <a:pt x="154" y="101"/>
                  <a:pt x="154" y="101"/>
                  <a:pt x="154" y="101"/>
                </a:cubicBezTo>
                <a:cubicBezTo>
                  <a:pt x="153" y="101"/>
                  <a:pt x="153" y="101"/>
                  <a:pt x="153" y="101"/>
                </a:cubicBezTo>
                <a:cubicBezTo>
                  <a:pt x="153" y="99"/>
                  <a:pt x="153" y="99"/>
                  <a:pt x="153" y="99"/>
                </a:cubicBezTo>
                <a:close/>
                <a:moveTo>
                  <a:pt x="152" y="99"/>
                </a:moveTo>
                <a:cubicBezTo>
                  <a:pt x="152" y="101"/>
                  <a:pt x="152" y="101"/>
                  <a:pt x="152" y="101"/>
                </a:cubicBezTo>
                <a:cubicBezTo>
                  <a:pt x="153" y="100"/>
                  <a:pt x="153" y="100"/>
                  <a:pt x="153" y="100"/>
                </a:cubicBezTo>
                <a:cubicBezTo>
                  <a:pt x="153" y="100"/>
                  <a:pt x="153" y="100"/>
                  <a:pt x="153" y="100"/>
                </a:cubicBezTo>
                <a:cubicBezTo>
                  <a:pt x="152" y="99"/>
                  <a:pt x="152" y="99"/>
                  <a:pt x="152" y="99"/>
                </a:cubicBezTo>
                <a:close/>
                <a:moveTo>
                  <a:pt x="152" y="99"/>
                </a:moveTo>
                <a:cubicBezTo>
                  <a:pt x="151" y="98"/>
                  <a:pt x="151" y="98"/>
                  <a:pt x="151" y="98"/>
                </a:cubicBezTo>
                <a:cubicBezTo>
                  <a:pt x="150" y="100"/>
                  <a:pt x="150" y="100"/>
                  <a:pt x="150" y="100"/>
                </a:cubicBezTo>
                <a:cubicBezTo>
                  <a:pt x="151" y="101"/>
                  <a:pt x="151" y="101"/>
                  <a:pt x="151" y="101"/>
                </a:cubicBezTo>
                <a:cubicBezTo>
                  <a:pt x="151" y="99"/>
                  <a:pt x="151" y="99"/>
                  <a:pt x="151" y="99"/>
                </a:cubicBezTo>
                <a:cubicBezTo>
                  <a:pt x="152" y="99"/>
                  <a:pt x="152" y="99"/>
                  <a:pt x="152" y="99"/>
                </a:cubicBezTo>
                <a:close/>
                <a:moveTo>
                  <a:pt x="134" y="100"/>
                </a:moveTo>
                <a:cubicBezTo>
                  <a:pt x="134" y="100"/>
                  <a:pt x="134" y="100"/>
                  <a:pt x="134" y="100"/>
                </a:cubicBezTo>
                <a:cubicBezTo>
                  <a:pt x="134" y="101"/>
                  <a:pt x="134" y="101"/>
                  <a:pt x="134" y="101"/>
                </a:cubicBezTo>
                <a:cubicBezTo>
                  <a:pt x="134" y="101"/>
                  <a:pt x="134" y="101"/>
                  <a:pt x="134" y="101"/>
                </a:cubicBezTo>
                <a:cubicBezTo>
                  <a:pt x="134" y="102"/>
                  <a:pt x="134" y="102"/>
                  <a:pt x="134" y="102"/>
                </a:cubicBezTo>
                <a:cubicBezTo>
                  <a:pt x="135" y="103"/>
                  <a:pt x="135" y="103"/>
                  <a:pt x="135" y="103"/>
                </a:cubicBezTo>
                <a:cubicBezTo>
                  <a:pt x="137" y="102"/>
                  <a:pt x="137" y="102"/>
                  <a:pt x="137" y="102"/>
                </a:cubicBezTo>
                <a:cubicBezTo>
                  <a:pt x="138" y="103"/>
                  <a:pt x="138" y="103"/>
                  <a:pt x="138" y="103"/>
                </a:cubicBezTo>
                <a:cubicBezTo>
                  <a:pt x="139" y="102"/>
                  <a:pt x="139" y="102"/>
                  <a:pt x="139" y="102"/>
                </a:cubicBezTo>
                <a:cubicBezTo>
                  <a:pt x="140" y="101"/>
                  <a:pt x="140" y="101"/>
                  <a:pt x="140" y="101"/>
                </a:cubicBezTo>
                <a:cubicBezTo>
                  <a:pt x="141" y="102"/>
                  <a:pt x="141" y="102"/>
                  <a:pt x="141" y="102"/>
                </a:cubicBezTo>
                <a:cubicBezTo>
                  <a:pt x="142" y="101"/>
                  <a:pt x="142" y="101"/>
                  <a:pt x="142" y="101"/>
                </a:cubicBezTo>
                <a:cubicBezTo>
                  <a:pt x="143" y="101"/>
                  <a:pt x="143" y="101"/>
                  <a:pt x="143" y="101"/>
                </a:cubicBezTo>
                <a:cubicBezTo>
                  <a:pt x="145" y="100"/>
                  <a:pt x="145" y="100"/>
                  <a:pt x="145" y="100"/>
                </a:cubicBezTo>
                <a:cubicBezTo>
                  <a:pt x="145" y="101"/>
                  <a:pt x="145" y="101"/>
                  <a:pt x="145" y="101"/>
                </a:cubicBezTo>
                <a:cubicBezTo>
                  <a:pt x="146" y="101"/>
                  <a:pt x="146" y="101"/>
                  <a:pt x="146" y="101"/>
                </a:cubicBezTo>
                <a:cubicBezTo>
                  <a:pt x="148" y="101"/>
                  <a:pt x="148" y="101"/>
                  <a:pt x="148" y="101"/>
                </a:cubicBezTo>
                <a:cubicBezTo>
                  <a:pt x="147" y="100"/>
                  <a:pt x="147" y="100"/>
                  <a:pt x="147" y="100"/>
                </a:cubicBezTo>
                <a:cubicBezTo>
                  <a:pt x="149" y="100"/>
                  <a:pt x="149" y="100"/>
                  <a:pt x="149" y="100"/>
                </a:cubicBezTo>
                <a:cubicBezTo>
                  <a:pt x="149" y="99"/>
                  <a:pt x="149" y="99"/>
                  <a:pt x="149" y="99"/>
                </a:cubicBezTo>
                <a:cubicBezTo>
                  <a:pt x="149" y="100"/>
                  <a:pt x="149" y="100"/>
                  <a:pt x="149" y="100"/>
                </a:cubicBezTo>
                <a:cubicBezTo>
                  <a:pt x="148" y="99"/>
                  <a:pt x="148" y="99"/>
                  <a:pt x="148" y="99"/>
                </a:cubicBezTo>
                <a:cubicBezTo>
                  <a:pt x="148" y="98"/>
                  <a:pt x="148" y="98"/>
                  <a:pt x="148" y="98"/>
                </a:cubicBezTo>
                <a:cubicBezTo>
                  <a:pt x="147" y="97"/>
                  <a:pt x="147" y="97"/>
                  <a:pt x="147" y="97"/>
                </a:cubicBezTo>
                <a:cubicBezTo>
                  <a:pt x="147" y="98"/>
                  <a:pt x="147" y="98"/>
                  <a:pt x="147" y="98"/>
                </a:cubicBezTo>
                <a:cubicBezTo>
                  <a:pt x="147" y="98"/>
                  <a:pt x="147" y="98"/>
                  <a:pt x="147" y="98"/>
                </a:cubicBezTo>
                <a:cubicBezTo>
                  <a:pt x="147" y="97"/>
                  <a:pt x="147" y="97"/>
                  <a:pt x="147" y="97"/>
                </a:cubicBezTo>
                <a:cubicBezTo>
                  <a:pt x="145" y="97"/>
                  <a:pt x="145" y="97"/>
                  <a:pt x="145" y="97"/>
                </a:cubicBezTo>
                <a:cubicBezTo>
                  <a:pt x="144" y="97"/>
                  <a:pt x="144" y="97"/>
                  <a:pt x="144" y="97"/>
                </a:cubicBezTo>
                <a:cubicBezTo>
                  <a:pt x="143" y="96"/>
                  <a:pt x="143" y="96"/>
                  <a:pt x="143" y="96"/>
                </a:cubicBezTo>
                <a:cubicBezTo>
                  <a:pt x="142" y="96"/>
                  <a:pt x="142" y="96"/>
                  <a:pt x="142" y="96"/>
                </a:cubicBezTo>
                <a:cubicBezTo>
                  <a:pt x="140" y="97"/>
                  <a:pt x="140" y="97"/>
                  <a:pt x="140" y="97"/>
                </a:cubicBezTo>
                <a:cubicBezTo>
                  <a:pt x="140" y="98"/>
                  <a:pt x="140" y="98"/>
                  <a:pt x="140" y="98"/>
                </a:cubicBezTo>
                <a:cubicBezTo>
                  <a:pt x="143" y="98"/>
                  <a:pt x="143" y="98"/>
                  <a:pt x="143" y="98"/>
                </a:cubicBezTo>
                <a:cubicBezTo>
                  <a:pt x="144" y="99"/>
                  <a:pt x="144" y="99"/>
                  <a:pt x="144" y="99"/>
                </a:cubicBezTo>
                <a:cubicBezTo>
                  <a:pt x="142" y="100"/>
                  <a:pt x="142" y="100"/>
                  <a:pt x="142" y="100"/>
                </a:cubicBezTo>
                <a:cubicBezTo>
                  <a:pt x="141" y="100"/>
                  <a:pt x="141" y="100"/>
                  <a:pt x="141" y="100"/>
                </a:cubicBezTo>
                <a:cubicBezTo>
                  <a:pt x="140" y="99"/>
                  <a:pt x="140" y="99"/>
                  <a:pt x="140" y="99"/>
                </a:cubicBezTo>
                <a:cubicBezTo>
                  <a:pt x="139" y="98"/>
                  <a:pt x="139" y="98"/>
                  <a:pt x="139" y="98"/>
                </a:cubicBezTo>
                <a:cubicBezTo>
                  <a:pt x="138" y="98"/>
                  <a:pt x="138" y="98"/>
                  <a:pt x="138" y="98"/>
                </a:cubicBezTo>
                <a:cubicBezTo>
                  <a:pt x="137" y="98"/>
                  <a:pt x="137" y="98"/>
                  <a:pt x="137" y="98"/>
                </a:cubicBezTo>
                <a:cubicBezTo>
                  <a:pt x="136" y="98"/>
                  <a:pt x="136" y="98"/>
                  <a:pt x="136" y="98"/>
                </a:cubicBezTo>
                <a:cubicBezTo>
                  <a:pt x="135" y="99"/>
                  <a:pt x="135" y="99"/>
                  <a:pt x="135" y="99"/>
                </a:cubicBezTo>
                <a:cubicBezTo>
                  <a:pt x="135" y="99"/>
                  <a:pt x="134" y="100"/>
                  <a:pt x="134" y="100"/>
                </a:cubicBezTo>
                <a:close/>
                <a:moveTo>
                  <a:pt x="130" y="98"/>
                </a:moveTo>
                <a:cubicBezTo>
                  <a:pt x="131" y="97"/>
                  <a:pt x="131" y="97"/>
                  <a:pt x="131" y="97"/>
                </a:cubicBezTo>
                <a:cubicBezTo>
                  <a:pt x="133" y="98"/>
                  <a:pt x="133" y="98"/>
                  <a:pt x="133" y="98"/>
                </a:cubicBezTo>
                <a:cubicBezTo>
                  <a:pt x="133" y="99"/>
                  <a:pt x="133" y="99"/>
                  <a:pt x="133" y="99"/>
                </a:cubicBezTo>
                <a:cubicBezTo>
                  <a:pt x="132" y="100"/>
                  <a:pt x="132" y="100"/>
                  <a:pt x="132" y="100"/>
                </a:cubicBezTo>
                <a:cubicBezTo>
                  <a:pt x="133" y="101"/>
                  <a:pt x="133" y="101"/>
                  <a:pt x="133" y="101"/>
                </a:cubicBezTo>
                <a:cubicBezTo>
                  <a:pt x="132" y="101"/>
                  <a:pt x="132" y="101"/>
                  <a:pt x="132" y="101"/>
                </a:cubicBezTo>
                <a:cubicBezTo>
                  <a:pt x="131" y="101"/>
                  <a:pt x="131" y="101"/>
                  <a:pt x="131" y="101"/>
                </a:cubicBezTo>
                <a:cubicBezTo>
                  <a:pt x="129" y="101"/>
                  <a:pt x="129" y="101"/>
                  <a:pt x="129" y="101"/>
                </a:cubicBezTo>
                <a:cubicBezTo>
                  <a:pt x="128" y="100"/>
                  <a:pt x="128" y="100"/>
                  <a:pt x="128" y="100"/>
                </a:cubicBezTo>
                <a:cubicBezTo>
                  <a:pt x="129" y="100"/>
                  <a:pt x="129" y="100"/>
                  <a:pt x="129" y="100"/>
                </a:cubicBezTo>
                <a:cubicBezTo>
                  <a:pt x="130" y="100"/>
                  <a:pt x="130" y="100"/>
                  <a:pt x="130" y="100"/>
                </a:cubicBezTo>
                <a:cubicBezTo>
                  <a:pt x="130" y="98"/>
                  <a:pt x="130" y="98"/>
                  <a:pt x="130" y="98"/>
                </a:cubicBezTo>
                <a:close/>
                <a:moveTo>
                  <a:pt x="126" y="100"/>
                </a:moveTo>
                <a:cubicBezTo>
                  <a:pt x="127" y="99"/>
                  <a:pt x="127" y="99"/>
                  <a:pt x="127" y="99"/>
                </a:cubicBezTo>
                <a:cubicBezTo>
                  <a:pt x="127" y="100"/>
                  <a:pt x="127" y="100"/>
                  <a:pt x="127" y="100"/>
                </a:cubicBezTo>
                <a:cubicBezTo>
                  <a:pt x="126" y="100"/>
                  <a:pt x="126" y="100"/>
                  <a:pt x="126" y="100"/>
                </a:cubicBezTo>
                <a:cubicBezTo>
                  <a:pt x="126" y="100"/>
                  <a:pt x="126" y="100"/>
                  <a:pt x="126" y="100"/>
                </a:cubicBezTo>
                <a:close/>
                <a:moveTo>
                  <a:pt x="120" y="96"/>
                </a:moveTo>
                <a:cubicBezTo>
                  <a:pt x="120" y="97"/>
                  <a:pt x="120" y="97"/>
                  <a:pt x="120" y="97"/>
                </a:cubicBezTo>
                <a:cubicBezTo>
                  <a:pt x="121" y="98"/>
                  <a:pt x="121" y="98"/>
                  <a:pt x="121" y="98"/>
                </a:cubicBezTo>
                <a:cubicBezTo>
                  <a:pt x="122" y="98"/>
                  <a:pt x="122" y="98"/>
                  <a:pt x="122" y="98"/>
                </a:cubicBezTo>
                <a:cubicBezTo>
                  <a:pt x="124" y="99"/>
                  <a:pt x="124" y="99"/>
                  <a:pt x="124" y="99"/>
                </a:cubicBezTo>
                <a:cubicBezTo>
                  <a:pt x="124" y="100"/>
                  <a:pt x="124" y="100"/>
                  <a:pt x="124" y="100"/>
                </a:cubicBezTo>
                <a:cubicBezTo>
                  <a:pt x="125" y="99"/>
                  <a:pt x="125" y="99"/>
                  <a:pt x="125" y="99"/>
                </a:cubicBezTo>
                <a:cubicBezTo>
                  <a:pt x="126" y="99"/>
                  <a:pt x="126" y="99"/>
                  <a:pt x="126" y="99"/>
                </a:cubicBezTo>
                <a:cubicBezTo>
                  <a:pt x="126" y="98"/>
                  <a:pt x="126" y="98"/>
                  <a:pt x="126" y="98"/>
                </a:cubicBezTo>
                <a:cubicBezTo>
                  <a:pt x="127" y="98"/>
                  <a:pt x="127" y="98"/>
                  <a:pt x="127" y="98"/>
                </a:cubicBezTo>
                <a:cubicBezTo>
                  <a:pt x="128" y="98"/>
                  <a:pt x="128" y="98"/>
                  <a:pt x="128" y="98"/>
                </a:cubicBezTo>
                <a:cubicBezTo>
                  <a:pt x="126" y="96"/>
                  <a:pt x="126" y="96"/>
                  <a:pt x="126" y="96"/>
                </a:cubicBezTo>
                <a:cubicBezTo>
                  <a:pt x="125" y="96"/>
                  <a:pt x="125" y="96"/>
                  <a:pt x="125" y="96"/>
                </a:cubicBezTo>
                <a:cubicBezTo>
                  <a:pt x="123" y="96"/>
                  <a:pt x="123" y="96"/>
                  <a:pt x="123" y="96"/>
                </a:cubicBezTo>
                <a:cubicBezTo>
                  <a:pt x="121" y="96"/>
                  <a:pt x="121" y="96"/>
                  <a:pt x="121" y="96"/>
                </a:cubicBezTo>
                <a:cubicBezTo>
                  <a:pt x="120" y="96"/>
                  <a:pt x="120" y="96"/>
                  <a:pt x="120" y="96"/>
                </a:cubicBezTo>
                <a:close/>
                <a:moveTo>
                  <a:pt x="273" y="97"/>
                </a:moveTo>
                <a:cubicBezTo>
                  <a:pt x="273" y="97"/>
                  <a:pt x="273" y="97"/>
                  <a:pt x="273" y="97"/>
                </a:cubicBezTo>
                <a:cubicBezTo>
                  <a:pt x="274" y="98"/>
                  <a:pt x="274" y="98"/>
                  <a:pt x="274" y="98"/>
                </a:cubicBezTo>
                <a:cubicBezTo>
                  <a:pt x="275" y="97"/>
                  <a:pt x="275" y="97"/>
                  <a:pt x="275" y="97"/>
                </a:cubicBezTo>
                <a:cubicBezTo>
                  <a:pt x="274" y="96"/>
                  <a:pt x="274" y="96"/>
                  <a:pt x="274" y="96"/>
                </a:cubicBezTo>
                <a:cubicBezTo>
                  <a:pt x="274" y="96"/>
                  <a:pt x="274" y="96"/>
                  <a:pt x="274" y="96"/>
                </a:cubicBezTo>
                <a:cubicBezTo>
                  <a:pt x="273" y="96"/>
                  <a:pt x="273" y="96"/>
                  <a:pt x="273" y="96"/>
                </a:cubicBezTo>
                <a:cubicBezTo>
                  <a:pt x="273" y="97"/>
                  <a:pt x="273" y="97"/>
                  <a:pt x="273" y="97"/>
                </a:cubicBezTo>
                <a:close/>
                <a:moveTo>
                  <a:pt x="266" y="97"/>
                </a:moveTo>
                <a:cubicBezTo>
                  <a:pt x="266" y="97"/>
                  <a:pt x="268" y="97"/>
                  <a:pt x="268" y="97"/>
                </a:cubicBezTo>
                <a:cubicBezTo>
                  <a:pt x="269" y="97"/>
                  <a:pt x="269" y="97"/>
                  <a:pt x="269" y="97"/>
                </a:cubicBezTo>
                <a:cubicBezTo>
                  <a:pt x="271" y="97"/>
                  <a:pt x="271" y="97"/>
                  <a:pt x="271" y="97"/>
                </a:cubicBezTo>
                <a:cubicBezTo>
                  <a:pt x="272" y="97"/>
                  <a:pt x="272" y="97"/>
                  <a:pt x="272" y="97"/>
                </a:cubicBezTo>
                <a:cubicBezTo>
                  <a:pt x="273" y="96"/>
                  <a:pt x="273" y="96"/>
                  <a:pt x="273" y="96"/>
                </a:cubicBezTo>
                <a:cubicBezTo>
                  <a:pt x="274" y="95"/>
                  <a:pt x="274" y="95"/>
                  <a:pt x="274" y="95"/>
                </a:cubicBezTo>
                <a:cubicBezTo>
                  <a:pt x="274" y="95"/>
                  <a:pt x="274" y="95"/>
                  <a:pt x="274" y="95"/>
                </a:cubicBezTo>
                <a:cubicBezTo>
                  <a:pt x="274" y="94"/>
                  <a:pt x="274" y="94"/>
                  <a:pt x="274" y="94"/>
                </a:cubicBezTo>
                <a:cubicBezTo>
                  <a:pt x="275" y="94"/>
                  <a:pt x="275" y="94"/>
                  <a:pt x="275" y="94"/>
                </a:cubicBezTo>
                <a:cubicBezTo>
                  <a:pt x="275" y="93"/>
                  <a:pt x="275" y="93"/>
                  <a:pt x="275" y="93"/>
                </a:cubicBezTo>
                <a:cubicBezTo>
                  <a:pt x="275" y="92"/>
                  <a:pt x="275" y="92"/>
                  <a:pt x="275" y="92"/>
                </a:cubicBezTo>
                <a:cubicBezTo>
                  <a:pt x="274" y="91"/>
                  <a:pt x="274" y="91"/>
                  <a:pt x="274" y="91"/>
                </a:cubicBezTo>
                <a:cubicBezTo>
                  <a:pt x="274" y="91"/>
                  <a:pt x="274" y="91"/>
                  <a:pt x="274" y="91"/>
                </a:cubicBezTo>
                <a:cubicBezTo>
                  <a:pt x="272" y="91"/>
                  <a:pt x="272" y="91"/>
                  <a:pt x="272" y="91"/>
                </a:cubicBezTo>
                <a:cubicBezTo>
                  <a:pt x="270" y="92"/>
                  <a:pt x="270" y="92"/>
                  <a:pt x="270" y="92"/>
                </a:cubicBezTo>
                <a:cubicBezTo>
                  <a:pt x="270" y="93"/>
                  <a:pt x="270" y="93"/>
                  <a:pt x="270" y="93"/>
                </a:cubicBezTo>
                <a:cubicBezTo>
                  <a:pt x="269" y="95"/>
                  <a:pt x="269" y="95"/>
                  <a:pt x="269" y="95"/>
                </a:cubicBezTo>
                <a:cubicBezTo>
                  <a:pt x="266" y="97"/>
                  <a:pt x="266" y="97"/>
                  <a:pt x="266" y="97"/>
                </a:cubicBezTo>
                <a:close/>
                <a:moveTo>
                  <a:pt x="110" y="88"/>
                </a:moveTo>
                <a:cubicBezTo>
                  <a:pt x="110" y="89"/>
                  <a:pt x="110" y="89"/>
                  <a:pt x="110" y="89"/>
                </a:cubicBezTo>
                <a:cubicBezTo>
                  <a:pt x="111" y="90"/>
                  <a:pt x="111" y="90"/>
                  <a:pt x="111" y="90"/>
                </a:cubicBezTo>
                <a:cubicBezTo>
                  <a:pt x="112" y="90"/>
                  <a:pt x="112" y="90"/>
                  <a:pt x="112" y="90"/>
                </a:cubicBezTo>
                <a:cubicBezTo>
                  <a:pt x="113" y="90"/>
                  <a:pt x="113" y="90"/>
                  <a:pt x="113" y="90"/>
                </a:cubicBezTo>
                <a:cubicBezTo>
                  <a:pt x="115" y="90"/>
                  <a:pt x="115" y="90"/>
                  <a:pt x="115" y="90"/>
                </a:cubicBezTo>
                <a:cubicBezTo>
                  <a:pt x="116" y="90"/>
                  <a:pt x="116" y="90"/>
                  <a:pt x="116" y="90"/>
                </a:cubicBezTo>
                <a:cubicBezTo>
                  <a:pt x="117" y="89"/>
                  <a:pt x="117" y="89"/>
                  <a:pt x="117" y="89"/>
                </a:cubicBezTo>
                <a:cubicBezTo>
                  <a:pt x="118" y="89"/>
                  <a:pt x="118" y="89"/>
                  <a:pt x="118" y="89"/>
                </a:cubicBezTo>
                <a:cubicBezTo>
                  <a:pt x="117" y="88"/>
                  <a:pt x="117" y="88"/>
                  <a:pt x="117" y="88"/>
                </a:cubicBezTo>
                <a:cubicBezTo>
                  <a:pt x="115" y="89"/>
                  <a:pt x="115" y="89"/>
                  <a:pt x="115" y="89"/>
                </a:cubicBezTo>
                <a:cubicBezTo>
                  <a:pt x="114" y="88"/>
                  <a:pt x="114" y="88"/>
                  <a:pt x="114" y="88"/>
                </a:cubicBezTo>
                <a:cubicBezTo>
                  <a:pt x="111" y="88"/>
                  <a:pt x="111" y="88"/>
                  <a:pt x="111" y="88"/>
                </a:cubicBezTo>
                <a:cubicBezTo>
                  <a:pt x="110" y="88"/>
                  <a:pt x="110" y="88"/>
                  <a:pt x="110" y="88"/>
                </a:cubicBezTo>
                <a:close/>
                <a:moveTo>
                  <a:pt x="63" y="86"/>
                </a:moveTo>
                <a:cubicBezTo>
                  <a:pt x="63" y="86"/>
                  <a:pt x="63" y="86"/>
                  <a:pt x="63" y="86"/>
                </a:cubicBezTo>
                <a:cubicBezTo>
                  <a:pt x="64" y="86"/>
                  <a:pt x="64" y="86"/>
                  <a:pt x="64" y="86"/>
                </a:cubicBezTo>
                <a:cubicBezTo>
                  <a:pt x="64" y="86"/>
                  <a:pt x="64" y="86"/>
                  <a:pt x="64" y="86"/>
                </a:cubicBezTo>
                <a:cubicBezTo>
                  <a:pt x="63" y="86"/>
                  <a:pt x="63" y="86"/>
                  <a:pt x="63" y="86"/>
                </a:cubicBezTo>
                <a:close/>
                <a:moveTo>
                  <a:pt x="64" y="87"/>
                </a:moveTo>
                <a:cubicBezTo>
                  <a:pt x="65" y="87"/>
                  <a:pt x="65" y="87"/>
                  <a:pt x="65" y="87"/>
                </a:cubicBezTo>
                <a:cubicBezTo>
                  <a:pt x="65" y="87"/>
                  <a:pt x="65" y="87"/>
                  <a:pt x="65" y="87"/>
                </a:cubicBezTo>
                <a:cubicBezTo>
                  <a:pt x="66" y="85"/>
                  <a:pt x="66" y="85"/>
                  <a:pt x="66" y="85"/>
                </a:cubicBezTo>
                <a:cubicBezTo>
                  <a:pt x="67" y="85"/>
                  <a:pt x="67" y="85"/>
                  <a:pt x="67" y="85"/>
                </a:cubicBezTo>
                <a:cubicBezTo>
                  <a:pt x="68" y="84"/>
                  <a:pt x="68" y="84"/>
                  <a:pt x="68" y="84"/>
                </a:cubicBezTo>
                <a:cubicBezTo>
                  <a:pt x="67" y="83"/>
                  <a:pt x="67" y="83"/>
                  <a:pt x="67" y="83"/>
                </a:cubicBezTo>
                <a:cubicBezTo>
                  <a:pt x="69" y="81"/>
                  <a:pt x="69" y="81"/>
                  <a:pt x="69" y="81"/>
                </a:cubicBezTo>
                <a:cubicBezTo>
                  <a:pt x="69" y="82"/>
                  <a:pt x="69" y="82"/>
                  <a:pt x="69" y="82"/>
                </a:cubicBezTo>
                <a:cubicBezTo>
                  <a:pt x="71" y="82"/>
                  <a:pt x="71" y="82"/>
                  <a:pt x="71" y="82"/>
                </a:cubicBezTo>
                <a:cubicBezTo>
                  <a:pt x="73" y="82"/>
                  <a:pt x="73" y="82"/>
                  <a:pt x="73" y="82"/>
                </a:cubicBezTo>
                <a:cubicBezTo>
                  <a:pt x="74" y="83"/>
                  <a:pt x="74" y="83"/>
                  <a:pt x="74" y="83"/>
                </a:cubicBezTo>
                <a:cubicBezTo>
                  <a:pt x="74" y="82"/>
                  <a:pt x="74" y="82"/>
                  <a:pt x="74" y="82"/>
                </a:cubicBezTo>
                <a:cubicBezTo>
                  <a:pt x="75" y="82"/>
                  <a:pt x="75" y="82"/>
                  <a:pt x="75" y="82"/>
                </a:cubicBezTo>
                <a:cubicBezTo>
                  <a:pt x="77" y="82"/>
                  <a:pt x="77" y="82"/>
                  <a:pt x="77" y="82"/>
                </a:cubicBezTo>
                <a:cubicBezTo>
                  <a:pt x="78" y="83"/>
                  <a:pt x="78" y="83"/>
                  <a:pt x="78" y="83"/>
                </a:cubicBezTo>
                <a:cubicBezTo>
                  <a:pt x="80" y="83"/>
                  <a:pt x="80" y="83"/>
                  <a:pt x="80" y="83"/>
                </a:cubicBezTo>
                <a:cubicBezTo>
                  <a:pt x="83" y="84"/>
                  <a:pt x="83" y="84"/>
                  <a:pt x="83" y="84"/>
                </a:cubicBezTo>
                <a:cubicBezTo>
                  <a:pt x="84" y="85"/>
                  <a:pt x="84" y="85"/>
                  <a:pt x="84" y="85"/>
                </a:cubicBezTo>
                <a:cubicBezTo>
                  <a:pt x="83" y="86"/>
                  <a:pt x="83" y="86"/>
                  <a:pt x="83" y="86"/>
                </a:cubicBezTo>
                <a:cubicBezTo>
                  <a:pt x="84" y="87"/>
                  <a:pt x="84" y="87"/>
                  <a:pt x="84" y="87"/>
                </a:cubicBezTo>
                <a:cubicBezTo>
                  <a:pt x="86" y="88"/>
                  <a:pt x="86" y="88"/>
                  <a:pt x="86" y="88"/>
                </a:cubicBezTo>
                <a:cubicBezTo>
                  <a:pt x="90" y="88"/>
                  <a:pt x="90" y="88"/>
                  <a:pt x="90" y="88"/>
                </a:cubicBezTo>
                <a:cubicBezTo>
                  <a:pt x="93" y="88"/>
                  <a:pt x="93" y="88"/>
                  <a:pt x="93" y="88"/>
                </a:cubicBezTo>
                <a:cubicBezTo>
                  <a:pt x="96" y="88"/>
                  <a:pt x="96" y="88"/>
                  <a:pt x="96" y="88"/>
                </a:cubicBezTo>
                <a:cubicBezTo>
                  <a:pt x="97" y="87"/>
                  <a:pt x="97" y="87"/>
                  <a:pt x="97" y="87"/>
                </a:cubicBezTo>
                <a:cubicBezTo>
                  <a:pt x="97" y="84"/>
                  <a:pt x="97" y="84"/>
                  <a:pt x="97" y="84"/>
                </a:cubicBezTo>
                <a:cubicBezTo>
                  <a:pt x="98" y="84"/>
                  <a:pt x="98" y="84"/>
                  <a:pt x="98" y="84"/>
                </a:cubicBezTo>
                <a:cubicBezTo>
                  <a:pt x="100" y="86"/>
                  <a:pt x="100" y="86"/>
                  <a:pt x="100" y="86"/>
                </a:cubicBezTo>
                <a:cubicBezTo>
                  <a:pt x="101" y="86"/>
                  <a:pt x="101" y="86"/>
                  <a:pt x="101" y="86"/>
                </a:cubicBezTo>
                <a:cubicBezTo>
                  <a:pt x="102" y="86"/>
                  <a:pt x="102" y="86"/>
                  <a:pt x="102" y="86"/>
                </a:cubicBezTo>
                <a:cubicBezTo>
                  <a:pt x="103" y="86"/>
                  <a:pt x="103" y="86"/>
                  <a:pt x="103" y="86"/>
                </a:cubicBezTo>
                <a:cubicBezTo>
                  <a:pt x="104" y="87"/>
                  <a:pt x="104" y="87"/>
                  <a:pt x="104" y="87"/>
                </a:cubicBezTo>
                <a:cubicBezTo>
                  <a:pt x="105" y="87"/>
                  <a:pt x="105" y="87"/>
                  <a:pt x="105" y="87"/>
                </a:cubicBezTo>
                <a:cubicBezTo>
                  <a:pt x="106" y="88"/>
                  <a:pt x="106" y="88"/>
                  <a:pt x="106" y="88"/>
                </a:cubicBezTo>
                <a:cubicBezTo>
                  <a:pt x="107" y="88"/>
                  <a:pt x="107" y="88"/>
                  <a:pt x="107" y="88"/>
                </a:cubicBezTo>
                <a:cubicBezTo>
                  <a:pt x="109" y="88"/>
                  <a:pt x="109" y="88"/>
                  <a:pt x="109" y="88"/>
                </a:cubicBezTo>
                <a:cubicBezTo>
                  <a:pt x="109" y="89"/>
                  <a:pt x="109" y="89"/>
                  <a:pt x="109" y="89"/>
                </a:cubicBezTo>
                <a:cubicBezTo>
                  <a:pt x="110" y="91"/>
                  <a:pt x="110" y="91"/>
                  <a:pt x="110" y="91"/>
                </a:cubicBezTo>
                <a:cubicBezTo>
                  <a:pt x="110" y="92"/>
                  <a:pt x="110" y="92"/>
                  <a:pt x="110" y="92"/>
                </a:cubicBezTo>
                <a:cubicBezTo>
                  <a:pt x="111" y="93"/>
                  <a:pt x="111" y="93"/>
                  <a:pt x="111" y="93"/>
                </a:cubicBezTo>
                <a:cubicBezTo>
                  <a:pt x="112" y="94"/>
                  <a:pt x="112" y="94"/>
                  <a:pt x="112" y="94"/>
                </a:cubicBezTo>
                <a:cubicBezTo>
                  <a:pt x="114" y="93"/>
                  <a:pt x="114" y="93"/>
                  <a:pt x="114" y="93"/>
                </a:cubicBezTo>
                <a:cubicBezTo>
                  <a:pt x="115" y="94"/>
                  <a:pt x="115" y="94"/>
                  <a:pt x="115" y="94"/>
                </a:cubicBezTo>
                <a:cubicBezTo>
                  <a:pt x="116" y="94"/>
                  <a:pt x="116" y="94"/>
                  <a:pt x="116" y="94"/>
                </a:cubicBezTo>
                <a:cubicBezTo>
                  <a:pt x="116" y="93"/>
                  <a:pt x="116" y="93"/>
                  <a:pt x="116" y="93"/>
                </a:cubicBezTo>
                <a:cubicBezTo>
                  <a:pt x="118" y="93"/>
                  <a:pt x="118" y="93"/>
                  <a:pt x="118" y="93"/>
                </a:cubicBezTo>
                <a:cubicBezTo>
                  <a:pt x="118" y="94"/>
                  <a:pt x="118" y="94"/>
                  <a:pt x="118" y="94"/>
                </a:cubicBezTo>
                <a:cubicBezTo>
                  <a:pt x="119" y="94"/>
                  <a:pt x="119" y="94"/>
                  <a:pt x="119" y="94"/>
                </a:cubicBezTo>
                <a:cubicBezTo>
                  <a:pt x="120" y="94"/>
                  <a:pt x="120" y="94"/>
                  <a:pt x="120" y="94"/>
                </a:cubicBezTo>
                <a:cubicBezTo>
                  <a:pt x="119" y="97"/>
                  <a:pt x="119" y="97"/>
                  <a:pt x="119" y="97"/>
                </a:cubicBezTo>
                <a:cubicBezTo>
                  <a:pt x="119" y="98"/>
                  <a:pt x="119" y="98"/>
                  <a:pt x="119" y="98"/>
                </a:cubicBezTo>
                <a:cubicBezTo>
                  <a:pt x="119" y="98"/>
                  <a:pt x="119" y="98"/>
                  <a:pt x="119" y="98"/>
                </a:cubicBezTo>
                <a:cubicBezTo>
                  <a:pt x="120" y="100"/>
                  <a:pt x="120" y="100"/>
                  <a:pt x="120" y="100"/>
                </a:cubicBezTo>
                <a:cubicBezTo>
                  <a:pt x="119" y="101"/>
                  <a:pt x="119" y="101"/>
                  <a:pt x="119" y="101"/>
                </a:cubicBezTo>
                <a:cubicBezTo>
                  <a:pt x="118" y="100"/>
                  <a:pt x="118" y="100"/>
                  <a:pt x="118" y="100"/>
                </a:cubicBezTo>
                <a:cubicBezTo>
                  <a:pt x="117" y="100"/>
                  <a:pt x="117" y="100"/>
                  <a:pt x="117" y="100"/>
                </a:cubicBezTo>
                <a:cubicBezTo>
                  <a:pt x="115" y="98"/>
                  <a:pt x="115" y="98"/>
                  <a:pt x="115" y="98"/>
                </a:cubicBezTo>
                <a:cubicBezTo>
                  <a:pt x="114" y="98"/>
                  <a:pt x="114" y="98"/>
                  <a:pt x="114" y="98"/>
                </a:cubicBezTo>
                <a:cubicBezTo>
                  <a:pt x="112" y="97"/>
                  <a:pt x="112" y="97"/>
                  <a:pt x="112" y="97"/>
                </a:cubicBezTo>
                <a:cubicBezTo>
                  <a:pt x="112" y="97"/>
                  <a:pt x="112" y="97"/>
                  <a:pt x="112" y="97"/>
                </a:cubicBezTo>
                <a:cubicBezTo>
                  <a:pt x="110" y="98"/>
                  <a:pt x="110" y="98"/>
                  <a:pt x="110" y="98"/>
                </a:cubicBezTo>
                <a:cubicBezTo>
                  <a:pt x="108" y="98"/>
                  <a:pt x="108" y="98"/>
                  <a:pt x="108" y="98"/>
                </a:cubicBezTo>
                <a:cubicBezTo>
                  <a:pt x="106" y="97"/>
                  <a:pt x="106" y="97"/>
                  <a:pt x="106" y="97"/>
                </a:cubicBezTo>
                <a:cubicBezTo>
                  <a:pt x="104" y="97"/>
                  <a:pt x="104" y="97"/>
                  <a:pt x="104" y="97"/>
                </a:cubicBezTo>
                <a:cubicBezTo>
                  <a:pt x="103" y="98"/>
                  <a:pt x="103" y="98"/>
                  <a:pt x="103" y="98"/>
                </a:cubicBezTo>
                <a:cubicBezTo>
                  <a:pt x="101" y="97"/>
                  <a:pt x="101" y="97"/>
                  <a:pt x="101" y="97"/>
                </a:cubicBezTo>
                <a:cubicBezTo>
                  <a:pt x="99" y="97"/>
                  <a:pt x="99" y="97"/>
                  <a:pt x="99" y="97"/>
                </a:cubicBezTo>
                <a:cubicBezTo>
                  <a:pt x="98" y="97"/>
                  <a:pt x="98" y="97"/>
                  <a:pt x="98" y="97"/>
                </a:cubicBezTo>
                <a:cubicBezTo>
                  <a:pt x="95" y="96"/>
                  <a:pt x="95" y="96"/>
                  <a:pt x="95" y="96"/>
                </a:cubicBezTo>
                <a:cubicBezTo>
                  <a:pt x="92" y="94"/>
                  <a:pt x="92" y="94"/>
                  <a:pt x="92" y="94"/>
                </a:cubicBezTo>
                <a:cubicBezTo>
                  <a:pt x="90" y="94"/>
                  <a:pt x="90" y="94"/>
                  <a:pt x="90" y="94"/>
                </a:cubicBezTo>
                <a:cubicBezTo>
                  <a:pt x="88" y="93"/>
                  <a:pt x="88" y="93"/>
                  <a:pt x="88" y="93"/>
                </a:cubicBezTo>
                <a:cubicBezTo>
                  <a:pt x="87" y="93"/>
                  <a:pt x="87" y="93"/>
                  <a:pt x="87" y="93"/>
                </a:cubicBezTo>
                <a:cubicBezTo>
                  <a:pt x="86" y="94"/>
                  <a:pt x="86" y="94"/>
                  <a:pt x="86" y="94"/>
                </a:cubicBezTo>
                <a:cubicBezTo>
                  <a:pt x="85" y="94"/>
                  <a:pt x="85" y="94"/>
                  <a:pt x="85" y="94"/>
                </a:cubicBezTo>
                <a:cubicBezTo>
                  <a:pt x="84" y="93"/>
                  <a:pt x="84" y="93"/>
                  <a:pt x="84" y="93"/>
                </a:cubicBezTo>
                <a:cubicBezTo>
                  <a:pt x="83" y="93"/>
                  <a:pt x="83" y="93"/>
                  <a:pt x="83" y="93"/>
                </a:cubicBezTo>
                <a:cubicBezTo>
                  <a:pt x="82" y="94"/>
                  <a:pt x="82" y="94"/>
                  <a:pt x="82" y="94"/>
                </a:cubicBezTo>
                <a:cubicBezTo>
                  <a:pt x="80" y="93"/>
                  <a:pt x="80" y="93"/>
                  <a:pt x="80" y="93"/>
                </a:cubicBezTo>
                <a:cubicBezTo>
                  <a:pt x="78" y="92"/>
                  <a:pt x="78" y="92"/>
                  <a:pt x="78" y="92"/>
                </a:cubicBezTo>
                <a:cubicBezTo>
                  <a:pt x="76" y="92"/>
                  <a:pt x="76" y="92"/>
                  <a:pt x="76" y="92"/>
                </a:cubicBezTo>
                <a:cubicBezTo>
                  <a:pt x="75" y="91"/>
                  <a:pt x="75" y="91"/>
                  <a:pt x="75" y="91"/>
                </a:cubicBezTo>
                <a:cubicBezTo>
                  <a:pt x="74" y="92"/>
                  <a:pt x="74" y="92"/>
                  <a:pt x="74" y="92"/>
                </a:cubicBezTo>
                <a:cubicBezTo>
                  <a:pt x="72" y="92"/>
                  <a:pt x="72" y="92"/>
                  <a:pt x="72" y="92"/>
                </a:cubicBezTo>
                <a:cubicBezTo>
                  <a:pt x="71" y="91"/>
                  <a:pt x="71" y="91"/>
                  <a:pt x="71" y="91"/>
                </a:cubicBezTo>
                <a:cubicBezTo>
                  <a:pt x="70" y="91"/>
                  <a:pt x="70" y="91"/>
                  <a:pt x="70" y="91"/>
                </a:cubicBezTo>
                <a:cubicBezTo>
                  <a:pt x="71" y="89"/>
                  <a:pt x="71" y="89"/>
                  <a:pt x="71" y="89"/>
                </a:cubicBezTo>
                <a:cubicBezTo>
                  <a:pt x="71" y="89"/>
                  <a:pt x="71" y="89"/>
                  <a:pt x="71" y="89"/>
                </a:cubicBezTo>
                <a:cubicBezTo>
                  <a:pt x="71" y="89"/>
                  <a:pt x="71" y="89"/>
                  <a:pt x="71" y="89"/>
                </a:cubicBezTo>
                <a:cubicBezTo>
                  <a:pt x="70" y="89"/>
                  <a:pt x="70" y="89"/>
                  <a:pt x="70" y="89"/>
                </a:cubicBezTo>
                <a:cubicBezTo>
                  <a:pt x="69" y="88"/>
                  <a:pt x="69" y="88"/>
                  <a:pt x="69" y="88"/>
                </a:cubicBezTo>
                <a:cubicBezTo>
                  <a:pt x="68" y="87"/>
                  <a:pt x="68" y="87"/>
                  <a:pt x="68" y="87"/>
                </a:cubicBezTo>
                <a:cubicBezTo>
                  <a:pt x="67" y="88"/>
                  <a:pt x="67" y="88"/>
                  <a:pt x="67" y="88"/>
                </a:cubicBezTo>
                <a:cubicBezTo>
                  <a:pt x="64" y="88"/>
                  <a:pt x="64" y="88"/>
                  <a:pt x="64" y="88"/>
                </a:cubicBezTo>
                <a:cubicBezTo>
                  <a:pt x="64" y="87"/>
                  <a:pt x="64" y="87"/>
                  <a:pt x="64" y="87"/>
                </a:cubicBezTo>
                <a:cubicBezTo>
                  <a:pt x="64" y="87"/>
                  <a:pt x="64" y="87"/>
                  <a:pt x="64" y="87"/>
                </a:cubicBezTo>
                <a:cubicBezTo>
                  <a:pt x="64" y="87"/>
                  <a:pt x="64" y="87"/>
                  <a:pt x="64" y="87"/>
                </a:cubicBezTo>
                <a:close/>
                <a:moveTo>
                  <a:pt x="80" y="16"/>
                </a:moveTo>
                <a:cubicBezTo>
                  <a:pt x="82" y="17"/>
                  <a:pt x="82" y="17"/>
                  <a:pt x="82" y="17"/>
                </a:cubicBezTo>
                <a:cubicBezTo>
                  <a:pt x="82" y="17"/>
                  <a:pt x="82" y="17"/>
                  <a:pt x="82" y="17"/>
                </a:cubicBezTo>
                <a:cubicBezTo>
                  <a:pt x="82" y="18"/>
                  <a:pt x="82" y="18"/>
                  <a:pt x="82" y="18"/>
                </a:cubicBezTo>
                <a:cubicBezTo>
                  <a:pt x="83" y="18"/>
                  <a:pt x="83" y="18"/>
                  <a:pt x="83" y="18"/>
                </a:cubicBezTo>
                <a:cubicBezTo>
                  <a:pt x="83" y="16"/>
                  <a:pt x="83" y="16"/>
                  <a:pt x="83" y="16"/>
                </a:cubicBezTo>
                <a:cubicBezTo>
                  <a:pt x="82" y="14"/>
                  <a:pt x="82" y="14"/>
                  <a:pt x="82" y="14"/>
                </a:cubicBezTo>
                <a:cubicBezTo>
                  <a:pt x="81" y="15"/>
                  <a:pt x="81" y="15"/>
                  <a:pt x="81" y="15"/>
                </a:cubicBezTo>
                <a:cubicBezTo>
                  <a:pt x="80" y="16"/>
                  <a:pt x="80" y="16"/>
                  <a:pt x="80" y="16"/>
                </a:cubicBezTo>
                <a:close/>
                <a:moveTo>
                  <a:pt x="70" y="24"/>
                </a:moveTo>
                <a:cubicBezTo>
                  <a:pt x="70" y="25"/>
                  <a:pt x="70" y="25"/>
                  <a:pt x="70" y="25"/>
                </a:cubicBezTo>
                <a:cubicBezTo>
                  <a:pt x="71" y="24"/>
                  <a:pt x="71" y="24"/>
                  <a:pt x="71" y="24"/>
                </a:cubicBezTo>
                <a:cubicBezTo>
                  <a:pt x="70" y="24"/>
                  <a:pt x="70" y="24"/>
                  <a:pt x="70" y="24"/>
                </a:cubicBezTo>
                <a:close/>
                <a:moveTo>
                  <a:pt x="70" y="21"/>
                </a:moveTo>
                <a:cubicBezTo>
                  <a:pt x="71" y="20"/>
                  <a:pt x="71" y="20"/>
                  <a:pt x="71" y="20"/>
                </a:cubicBezTo>
                <a:cubicBezTo>
                  <a:pt x="70" y="20"/>
                  <a:pt x="70" y="20"/>
                  <a:pt x="70" y="20"/>
                </a:cubicBezTo>
                <a:cubicBezTo>
                  <a:pt x="70" y="21"/>
                  <a:pt x="70" y="21"/>
                  <a:pt x="70" y="21"/>
                </a:cubicBezTo>
                <a:close/>
                <a:moveTo>
                  <a:pt x="70" y="22"/>
                </a:moveTo>
                <a:cubicBezTo>
                  <a:pt x="70" y="22"/>
                  <a:pt x="70" y="22"/>
                  <a:pt x="70" y="22"/>
                </a:cubicBezTo>
                <a:cubicBezTo>
                  <a:pt x="70" y="22"/>
                  <a:pt x="70" y="22"/>
                  <a:pt x="70" y="22"/>
                </a:cubicBezTo>
                <a:cubicBezTo>
                  <a:pt x="70" y="22"/>
                  <a:pt x="70" y="22"/>
                  <a:pt x="70" y="22"/>
                </a:cubicBezTo>
                <a:close/>
                <a:moveTo>
                  <a:pt x="66" y="23"/>
                </a:moveTo>
                <a:cubicBezTo>
                  <a:pt x="66" y="24"/>
                  <a:pt x="66" y="24"/>
                  <a:pt x="66" y="24"/>
                </a:cubicBezTo>
                <a:cubicBezTo>
                  <a:pt x="67" y="24"/>
                  <a:pt x="67" y="24"/>
                  <a:pt x="67" y="24"/>
                </a:cubicBezTo>
                <a:cubicBezTo>
                  <a:pt x="68" y="23"/>
                  <a:pt x="68" y="23"/>
                  <a:pt x="68" y="23"/>
                </a:cubicBezTo>
                <a:cubicBezTo>
                  <a:pt x="67" y="23"/>
                  <a:pt x="67" y="23"/>
                  <a:pt x="67" y="23"/>
                </a:cubicBezTo>
                <a:cubicBezTo>
                  <a:pt x="66" y="23"/>
                  <a:pt x="66" y="23"/>
                  <a:pt x="66" y="23"/>
                </a:cubicBezTo>
                <a:close/>
                <a:moveTo>
                  <a:pt x="55" y="37"/>
                </a:moveTo>
                <a:cubicBezTo>
                  <a:pt x="57" y="37"/>
                  <a:pt x="57" y="37"/>
                  <a:pt x="57" y="37"/>
                </a:cubicBezTo>
                <a:cubicBezTo>
                  <a:pt x="57" y="36"/>
                  <a:pt x="57" y="36"/>
                  <a:pt x="57" y="36"/>
                </a:cubicBezTo>
                <a:cubicBezTo>
                  <a:pt x="57" y="35"/>
                  <a:pt x="57" y="35"/>
                  <a:pt x="57" y="35"/>
                </a:cubicBezTo>
                <a:cubicBezTo>
                  <a:pt x="55" y="37"/>
                  <a:pt x="55" y="37"/>
                  <a:pt x="55" y="37"/>
                </a:cubicBezTo>
                <a:close/>
                <a:moveTo>
                  <a:pt x="58" y="35"/>
                </a:moveTo>
                <a:cubicBezTo>
                  <a:pt x="58" y="37"/>
                  <a:pt x="58" y="37"/>
                  <a:pt x="58" y="37"/>
                </a:cubicBezTo>
                <a:cubicBezTo>
                  <a:pt x="59" y="37"/>
                  <a:pt x="59" y="37"/>
                  <a:pt x="59" y="37"/>
                </a:cubicBezTo>
                <a:cubicBezTo>
                  <a:pt x="60" y="39"/>
                  <a:pt x="60" y="39"/>
                  <a:pt x="60" y="39"/>
                </a:cubicBezTo>
                <a:cubicBezTo>
                  <a:pt x="60" y="38"/>
                  <a:pt x="60" y="38"/>
                  <a:pt x="60" y="38"/>
                </a:cubicBezTo>
                <a:cubicBezTo>
                  <a:pt x="61" y="36"/>
                  <a:pt x="61" y="36"/>
                  <a:pt x="61" y="36"/>
                </a:cubicBezTo>
                <a:cubicBezTo>
                  <a:pt x="60" y="36"/>
                  <a:pt x="60" y="36"/>
                  <a:pt x="60" y="36"/>
                </a:cubicBezTo>
                <a:cubicBezTo>
                  <a:pt x="61" y="35"/>
                  <a:pt x="61" y="35"/>
                  <a:pt x="61" y="35"/>
                </a:cubicBezTo>
                <a:cubicBezTo>
                  <a:pt x="60" y="35"/>
                  <a:pt x="60" y="35"/>
                  <a:pt x="60" y="35"/>
                </a:cubicBezTo>
                <a:cubicBezTo>
                  <a:pt x="59" y="35"/>
                  <a:pt x="59" y="35"/>
                  <a:pt x="59" y="35"/>
                </a:cubicBezTo>
                <a:cubicBezTo>
                  <a:pt x="58" y="35"/>
                  <a:pt x="58" y="35"/>
                  <a:pt x="58" y="35"/>
                </a:cubicBezTo>
                <a:close/>
                <a:moveTo>
                  <a:pt x="86" y="54"/>
                </a:moveTo>
                <a:cubicBezTo>
                  <a:pt x="86" y="55"/>
                  <a:pt x="86" y="55"/>
                  <a:pt x="86" y="55"/>
                </a:cubicBezTo>
                <a:cubicBezTo>
                  <a:pt x="87" y="55"/>
                  <a:pt x="87" y="55"/>
                  <a:pt x="87" y="55"/>
                </a:cubicBezTo>
                <a:cubicBezTo>
                  <a:pt x="88" y="55"/>
                  <a:pt x="88" y="55"/>
                  <a:pt x="88" y="55"/>
                </a:cubicBezTo>
                <a:cubicBezTo>
                  <a:pt x="87" y="54"/>
                  <a:pt x="87" y="54"/>
                  <a:pt x="87" y="54"/>
                </a:cubicBezTo>
                <a:cubicBezTo>
                  <a:pt x="86" y="54"/>
                  <a:pt x="86" y="54"/>
                  <a:pt x="86" y="54"/>
                </a:cubicBezTo>
                <a:close/>
                <a:moveTo>
                  <a:pt x="78" y="60"/>
                </a:moveTo>
                <a:cubicBezTo>
                  <a:pt x="78" y="61"/>
                  <a:pt x="78" y="61"/>
                  <a:pt x="78" y="61"/>
                </a:cubicBezTo>
                <a:cubicBezTo>
                  <a:pt x="78" y="62"/>
                  <a:pt x="78" y="62"/>
                  <a:pt x="78" y="62"/>
                </a:cubicBezTo>
                <a:cubicBezTo>
                  <a:pt x="77" y="62"/>
                  <a:pt x="77" y="62"/>
                  <a:pt x="77" y="62"/>
                </a:cubicBezTo>
                <a:cubicBezTo>
                  <a:pt x="77" y="63"/>
                  <a:pt x="77" y="63"/>
                  <a:pt x="77" y="63"/>
                </a:cubicBezTo>
                <a:cubicBezTo>
                  <a:pt x="78" y="63"/>
                  <a:pt x="78" y="63"/>
                  <a:pt x="78" y="63"/>
                </a:cubicBezTo>
                <a:cubicBezTo>
                  <a:pt x="78" y="62"/>
                  <a:pt x="78" y="62"/>
                  <a:pt x="78" y="62"/>
                </a:cubicBezTo>
                <a:cubicBezTo>
                  <a:pt x="78" y="62"/>
                  <a:pt x="78" y="62"/>
                  <a:pt x="78" y="62"/>
                </a:cubicBezTo>
                <a:cubicBezTo>
                  <a:pt x="78" y="64"/>
                  <a:pt x="78" y="64"/>
                  <a:pt x="78" y="64"/>
                </a:cubicBezTo>
                <a:cubicBezTo>
                  <a:pt x="79" y="65"/>
                  <a:pt x="79" y="65"/>
                  <a:pt x="79" y="65"/>
                </a:cubicBezTo>
                <a:cubicBezTo>
                  <a:pt x="80" y="63"/>
                  <a:pt x="80" y="63"/>
                  <a:pt x="80" y="63"/>
                </a:cubicBezTo>
                <a:cubicBezTo>
                  <a:pt x="81" y="64"/>
                  <a:pt x="81" y="64"/>
                  <a:pt x="81" y="64"/>
                </a:cubicBezTo>
                <a:cubicBezTo>
                  <a:pt x="82" y="64"/>
                  <a:pt x="82" y="64"/>
                  <a:pt x="82" y="64"/>
                </a:cubicBezTo>
                <a:cubicBezTo>
                  <a:pt x="82" y="63"/>
                  <a:pt x="82" y="63"/>
                  <a:pt x="82" y="63"/>
                </a:cubicBezTo>
                <a:cubicBezTo>
                  <a:pt x="83" y="63"/>
                  <a:pt x="83" y="63"/>
                  <a:pt x="83" y="63"/>
                </a:cubicBezTo>
                <a:cubicBezTo>
                  <a:pt x="83" y="62"/>
                  <a:pt x="83" y="62"/>
                  <a:pt x="83" y="62"/>
                </a:cubicBezTo>
                <a:cubicBezTo>
                  <a:pt x="81" y="60"/>
                  <a:pt x="81" y="60"/>
                  <a:pt x="81" y="60"/>
                </a:cubicBezTo>
                <a:cubicBezTo>
                  <a:pt x="79" y="60"/>
                  <a:pt x="79" y="60"/>
                  <a:pt x="79" y="60"/>
                </a:cubicBezTo>
                <a:cubicBezTo>
                  <a:pt x="78" y="60"/>
                  <a:pt x="78" y="60"/>
                  <a:pt x="78" y="60"/>
                </a:cubicBezTo>
                <a:close/>
                <a:moveTo>
                  <a:pt x="74" y="62"/>
                </a:moveTo>
                <a:cubicBezTo>
                  <a:pt x="74" y="63"/>
                  <a:pt x="74" y="63"/>
                  <a:pt x="74" y="63"/>
                </a:cubicBezTo>
                <a:cubicBezTo>
                  <a:pt x="75" y="63"/>
                  <a:pt x="75" y="63"/>
                  <a:pt x="75" y="63"/>
                </a:cubicBezTo>
                <a:cubicBezTo>
                  <a:pt x="74" y="62"/>
                  <a:pt x="74" y="62"/>
                  <a:pt x="74" y="62"/>
                </a:cubicBezTo>
                <a:close/>
                <a:moveTo>
                  <a:pt x="65" y="54"/>
                </a:moveTo>
                <a:cubicBezTo>
                  <a:pt x="65" y="55"/>
                  <a:pt x="65" y="55"/>
                  <a:pt x="65" y="55"/>
                </a:cubicBezTo>
                <a:cubicBezTo>
                  <a:pt x="64" y="56"/>
                  <a:pt x="64" y="56"/>
                  <a:pt x="64" y="56"/>
                </a:cubicBezTo>
                <a:cubicBezTo>
                  <a:pt x="65" y="57"/>
                  <a:pt x="65" y="57"/>
                  <a:pt x="65" y="57"/>
                </a:cubicBezTo>
                <a:cubicBezTo>
                  <a:pt x="67" y="58"/>
                  <a:pt x="67" y="58"/>
                  <a:pt x="67" y="58"/>
                </a:cubicBezTo>
                <a:cubicBezTo>
                  <a:pt x="67" y="58"/>
                  <a:pt x="67" y="58"/>
                  <a:pt x="67" y="58"/>
                </a:cubicBezTo>
                <a:cubicBezTo>
                  <a:pt x="67" y="59"/>
                  <a:pt x="67" y="59"/>
                  <a:pt x="67" y="59"/>
                </a:cubicBezTo>
                <a:cubicBezTo>
                  <a:pt x="68" y="60"/>
                  <a:pt x="68" y="60"/>
                  <a:pt x="68" y="60"/>
                </a:cubicBezTo>
                <a:cubicBezTo>
                  <a:pt x="69" y="61"/>
                  <a:pt x="69" y="61"/>
                  <a:pt x="69" y="61"/>
                </a:cubicBezTo>
                <a:cubicBezTo>
                  <a:pt x="70" y="62"/>
                  <a:pt x="70" y="62"/>
                  <a:pt x="70" y="62"/>
                </a:cubicBezTo>
                <a:cubicBezTo>
                  <a:pt x="71" y="62"/>
                  <a:pt x="71" y="62"/>
                  <a:pt x="71" y="62"/>
                </a:cubicBezTo>
                <a:cubicBezTo>
                  <a:pt x="72" y="63"/>
                  <a:pt x="72" y="63"/>
                  <a:pt x="72" y="63"/>
                </a:cubicBezTo>
                <a:cubicBezTo>
                  <a:pt x="72" y="64"/>
                  <a:pt x="72" y="64"/>
                  <a:pt x="72" y="64"/>
                </a:cubicBezTo>
                <a:cubicBezTo>
                  <a:pt x="73" y="63"/>
                  <a:pt x="73" y="63"/>
                  <a:pt x="73" y="63"/>
                </a:cubicBezTo>
                <a:cubicBezTo>
                  <a:pt x="72" y="62"/>
                  <a:pt x="72" y="62"/>
                  <a:pt x="72" y="62"/>
                </a:cubicBezTo>
                <a:cubicBezTo>
                  <a:pt x="73" y="60"/>
                  <a:pt x="73" y="60"/>
                  <a:pt x="73" y="60"/>
                </a:cubicBezTo>
                <a:cubicBezTo>
                  <a:pt x="71" y="60"/>
                  <a:pt x="71" y="60"/>
                  <a:pt x="71" y="60"/>
                </a:cubicBezTo>
                <a:cubicBezTo>
                  <a:pt x="70" y="58"/>
                  <a:pt x="70" y="58"/>
                  <a:pt x="70" y="58"/>
                </a:cubicBezTo>
                <a:cubicBezTo>
                  <a:pt x="69" y="55"/>
                  <a:pt x="69" y="55"/>
                  <a:pt x="69" y="55"/>
                </a:cubicBezTo>
                <a:cubicBezTo>
                  <a:pt x="69" y="55"/>
                  <a:pt x="69" y="55"/>
                  <a:pt x="69" y="55"/>
                </a:cubicBezTo>
                <a:cubicBezTo>
                  <a:pt x="68" y="54"/>
                  <a:pt x="68" y="54"/>
                  <a:pt x="68" y="54"/>
                </a:cubicBezTo>
                <a:cubicBezTo>
                  <a:pt x="68" y="54"/>
                  <a:pt x="68" y="54"/>
                  <a:pt x="68" y="54"/>
                </a:cubicBezTo>
                <a:cubicBezTo>
                  <a:pt x="67" y="54"/>
                  <a:pt x="67" y="54"/>
                  <a:pt x="67" y="54"/>
                </a:cubicBezTo>
                <a:cubicBezTo>
                  <a:pt x="67" y="55"/>
                  <a:pt x="67" y="55"/>
                  <a:pt x="67" y="55"/>
                </a:cubicBezTo>
                <a:cubicBezTo>
                  <a:pt x="67" y="55"/>
                  <a:pt x="67" y="55"/>
                  <a:pt x="67" y="55"/>
                </a:cubicBezTo>
                <a:cubicBezTo>
                  <a:pt x="66" y="55"/>
                  <a:pt x="66" y="55"/>
                  <a:pt x="66" y="55"/>
                </a:cubicBezTo>
                <a:cubicBezTo>
                  <a:pt x="65" y="54"/>
                  <a:pt x="65" y="54"/>
                  <a:pt x="65" y="54"/>
                </a:cubicBezTo>
                <a:cubicBezTo>
                  <a:pt x="65" y="54"/>
                  <a:pt x="65" y="54"/>
                  <a:pt x="65" y="54"/>
                </a:cubicBezTo>
                <a:close/>
                <a:moveTo>
                  <a:pt x="59" y="47"/>
                </a:moveTo>
                <a:cubicBezTo>
                  <a:pt x="58" y="48"/>
                  <a:pt x="58" y="48"/>
                  <a:pt x="58" y="48"/>
                </a:cubicBezTo>
                <a:cubicBezTo>
                  <a:pt x="59" y="48"/>
                  <a:pt x="59" y="48"/>
                  <a:pt x="59" y="48"/>
                </a:cubicBezTo>
                <a:cubicBezTo>
                  <a:pt x="60" y="48"/>
                  <a:pt x="60" y="48"/>
                  <a:pt x="60" y="48"/>
                </a:cubicBezTo>
                <a:cubicBezTo>
                  <a:pt x="60" y="47"/>
                  <a:pt x="60" y="47"/>
                  <a:pt x="60" y="47"/>
                </a:cubicBezTo>
                <a:cubicBezTo>
                  <a:pt x="59" y="47"/>
                  <a:pt x="59" y="47"/>
                  <a:pt x="59" y="47"/>
                </a:cubicBezTo>
                <a:close/>
                <a:moveTo>
                  <a:pt x="60" y="44"/>
                </a:moveTo>
                <a:cubicBezTo>
                  <a:pt x="59" y="45"/>
                  <a:pt x="59" y="45"/>
                  <a:pt x="59" y="45"/>
                </a:cubicBezTo>
                <a:cubicBezTo>
                  <a:pt x="60" y="46"/>
                  <a:pt x="60" y="46"/>
                  <a:pt x="60" y="46"/>
                </a:cubicBezTo>
                <a:cubicBezTo>
                  <a:pt x="61" y="46"/>
                  <a:pt x="61" y="46"/>
                  <a:pt x="61" y="46"/>
                </a:cubicBezTo>
                <a:cubicBezTo>
                  <a:pt x="62" y="46"/>
                  <a:pt x="62" y="46"/>
                  <a:pt x="62" y="46"/>
                </a:cubicBezTo>
                <a:cubicBezTo>
                  <a:pt x="63" y="46"/>
                  <a:pt x="63" y="46"/>
                  <a:pt x="63" y="46"/>
                </a:cubicBezTo>
                <a:cubicBezTo>
                  <a:pt x="61" y="44"/>
                  <a:pt x="61" y="44"/>
                  <a:pt x="61" y="44"/>
                </a:cubicBezTo>
                <a:cubicBezTo>
                  <a:pt x="60" y="44"/>
                  <a:pt x="60" y="44"/>
                  <a:pt x="60" y="44"/>
                </a:cubicBezTo>
                <a:close/>
                <a:moveTo>
                  <a:pt x="47" y="36"/>
                </a:moveTo>
                <a:cubicBezTo>
                  <a:pt x="46" y="37"/>
                  <a:pt x="46" y="37"/>
                  <a:pt x="46" y="37"/>
                </a:cubicBezTo>
                <a:cubicBezTo>
                  <a:pt x="47" y="38"/>
                  <a:pt x="47" y="38"/>
                  <a:pt x="47" y="38"/>
                </a:cubicBezTo>
                <a:cubicBezTo>
                  <a:pt x="49" y="39"/>
                  <a:pt x="49" y="39"/>
                  <a:pt x="49" y="39"/>
                </a:cubicBezTo>
                <a:cubicBezTo>
                  <a:pt x="50" y="39"/>
                  <a:pt x="50" y="39"/>
                  <a:pt x="50" y="39"/>
                </a:cubicBezTo>
                <a:cubicBezTo>
                  <a:pt x="51" y="39"/>
                  <a:pt x="51" y="39"/>
                  <a:pt x="51" y="39"/>
                </a:cubicBezTo>
                <a:cubicBezTo>
                  <a:pt x="50" y="37"/>
                  <a:pt x="50" y="37"/>
                  <a:pt x="50" y="37"/>
                </a:cubicBezTo>
                <a:cubicBezTo>
                  <a:pt x="49" y="36"/>
                  <a:pt x="49" y="36"/>
                  <a:pt x="49" y="36"/>
                </a:cubicBezTo>
                <a:cubicBezTo>
                  <a:pt x="47" y="36"/>
                  <a:pt x="47" y="36"/>
                  <a:pt x="47" y="36"/>
                </a:cubicBezTo>
                <a:close/>
                <a:moveTo>
                  <a:pt x="44" y="34"/>
                </a:moveTo>
                <a:cubicBezTo>
                  <a:pt x="44" y="34"/>
                  <a:pt x="44" y="34"/>
                  <a:pt x="44" y="34"/>
                </a:cubicBezTo>
                <a:cubicBezTo>
                  <a:pt x="46" y="34"/>
                  <a:pt x="46" y="34"/>
                  <a:pt x="46" y="34"/>
                </a:cubicBezTo>
                <a:cubicBezTo>
                  <a:pt x="47" y="35"/>
                  <a:pt x="47" y="35"/>
                  <a:pt x="47" y="35"/>
                </a:cubicBezTo>
                <a:cubicBezTo>
                  <a:pt x="46" y="36"/>
                  <a:pt x="46" y="36"/>
                  <a:pt x="46" y="36"/>
                </a:cubicBezTo>
                <a:cubicBezTo>
                  <a:pt x="45" y="36"/>
                  <a:pt x="45" y="36"/>
                  <a:pt x="45" y="36"/>
                </a:cubicBezTo>
                <a:cubicBezTo>
                  <a:pt x="44" y="34"/>
                  <a:pt x="44" y="34"/>
                  <a:pt x="44" y="34"/>
                </a:cubicBezTo>
                <a:close/>
                <a:moveTo>
                  <a:pt x="39" y="31"/>
                </a:moveTo>
                <a:cubicBezTo>
                  <a:pt x="40" y="32"/>
                  <a:pt x="40" y="32"/>
                  <a:pt x="40" y="32"/>
                </a:cubicBezTo>
                <a:cubicBezTo>
                  <a:pt x="41" y="32"/>
                  <a:pt x="41" y="32"/>
                  <a:pt x="41" y="32"/>
                </a:cubicBezTo>
                <a:cubicBezTo>
                  <a:pt x="42" y="31"/>
                  <a:pt x="42" y="31"/>
                  <a:pt x="42" y="31"/>
                </a:cubicBezTo>
                <a:cubicBezTo>
                  <a:pt x="41" y="30"/>
                  <a:pt x="41" y="30"/>
                  <a:pt x="41" y="30"/>
                </a:cubicBezTo>
                <a:cubicBezTo>
                  <a:pt x="41" y="30"/>
                  <a:pt x="41" y="30"/>
                  <a:pt x="41" y="30"/>
                </a:cubicBezTo>
                <a:cubicBezTo>
                  <a:pt x="39" y="31"/>
                  <a:pt x="39" y="31"/>
                  <a:pt x="39" y="31"/>
                </a:cubicBezTo>
                <a:close/>
                <a:moveTo>
                  <a:pt x="44" y="78"/>
                </a:moveTo>
                <a:cubicBezTo>
                  <a:pt x="45" y="79"/>
                  <a:pt x="45" y="79"/>
                  <a:pt x="45" y="79"/>
                </a:cubicBezTo>
                <a:cubicBezTo>
                  <a:pt x="45" y="78"/>
                  <a:pt x="45" y="78"/>
                  <a:pt x="45" y="78"/>
                </a:cubicBezTo>
                <a:cubicBezTo>
                  <a:pt x="45" y="77"/>
                  <a:pt x="45" y="77"/>
                  <a:pt x="45" y="77"/>
                </a:cubicBezTo>
                <a:cubicBezTo>
                  <a:pt x="44" y="78"/>
                  <a:pt x="44" y="78"/>
                  <a:pt x="44" y="78"/>
                </a:cubicBezTo>
                <a:close/>
                <a:moveTo>
                  <a:pt x="32" y="62"/>
                </a:moveTo>
                <a:cubicBezTo>
                  <a:pt x="31" y="63"/>
                  <a:pt x="31" y="63"/>
                  <a:pt x="31" y="63"/>
                </a:cubicBezTo>
                <a:cubicBezTo>
                  <a:pt x="34" y="65"/>
                  <a:pt x="34" y="65"/>
                  <a:pt x="34" y="65"/>
                </a:cubicBezTo>
                <a:cubicBezTo>
                  <a:pt x="33" y="64"/>
                  <a:pt x="33" y="64"/>
                  <a:pt x="33" y="64"/>
                </a:cubicBezTo>
                <a:cubicBezTo>
                  <a:pt x="34" y="63"/>
                  <a:pt x="34" y="63"/>
                  <a:pt x="34" y="63"/>
                </a:cubicBezTo>
                <a:cubicBezTo>
                  <a:pt x="32" y="62"/>
                  <a:pt x="32" y="62"/>
                  <a:pt x="32" y="62"/>
                </a:cubicBezTo>
                <a:close/>
                <a:moveTo>
                  <a:pt x="30" y="61"/>
                </a:moveTo>
                <a:cubicBezTo>
                  <a:pt x="31" y="61"/>
                  <a:pt x="31" y="61"/>
                  <a:pt x="31" y="61"/>
                </a:cubicBezTo>
                <a:cubicBezTo>
                  <a:pt x="31" y="62"/>
                  <a:pt x="31" y="62"/>
                  <a:pt x="31" y="62"/>
                </a:cubicBezTo>
                <a:cubicBezTo>
                  <a:pt x="30" y="61"/>
                  <a:pt x="30" y="61"/>
                  <a:pt x="30" y="61"/>
                </a:cubicBezTo>
                <a:close/>
                <a:moveTo>
                  <a:pt x="28" y="57"/>
                </a:moveTo>
                <a:cubicBezTo>
                  <a:pt x="27" y="57"/>
                  <a:pt x="27" y="57"/>
                  <a:pt x="27" y="57"/>
                </a:cubicBezTo>
                <a:cubicBezTo>
                  <a:pt x="28" y="58"/>
                  <a:pt x="28" y="58"/>
                  <a:pt x="28" y="58"/>
                </a:cubicBezTo>
                <a:cubicBezTo>
                  <a:pt x="30" y="59"/>
                  <a:pt x="30" y="59"/>
                  <a:pt x="30" y="59"/>
                </a:cubicBezTo>
                <a:cubicBezTo>
                  <a:pt x="28" y="57"/>
                  <a:pt x="28" y="57"/>
                  <a:pt x="28" y="57"/>
                </a:cubicBezTo>
                <a:close/>
                <a:moveTo>
                  <a:pt x="21" y="51"/>
                </a:moveTo>
                <a:cubicBezTo>
                  <a:pt x="21" y="52"/>
                  <a:pt x="21" y="52"/>
                  <a:pt x="21" y="52"/>
                </a:cubicBezTo>
                <a:cubicBezTo>
                  <a:pt x="23" y="52"/>
                  <a:pt x="23" y="52"/>
                  <a:pt x="23" y="52"/>
                </a:cubicBezTo>
                <a:cubicBezTo>
                  <a:pt x="24" y="55"/>
                  <a:pt x="24" y="55"/>
                  <a:pt x="24" y="55"/>
                </a:cubicBezTo>
                <a:cubicBezTo>
                  <a:pt x="26" y="55"/>
                  <a:pt x="26" y="55"/>
                  <a:pt x="26" y="55"/>
                </a:cubicBezTo>
                <a:cubicBezTo>
                  <a:pt x="26" y="53"/>
                  <a:pt x="26" y="53"/>
                  <a:pt x="26" y="53"/>
                </a:cubicBezTo>
                <a:cubicBezTo>
                  <a:pt x="24" y="50"/>
                  <a:pt x="24" y="50"/>
                  <a:pt x="24" y="50"/>
                </a:cubicBezTo>
                <a:cubicBezTo>
                  <a:pt x="23" y="50"/>
                  <a:pt x="23" y="50"/>
                  <a:pt x="23" y="50"/>
                </a:cubicBezTo>
                <a:cubicBezTo>
                  <a:pt x="21" y="51"/>
                  <a:pt x="21" y="51"/>
                  <a:pt x="21" y="51"/>
                </a:cubicBezTo>
                <a:close/>
                <a:moveTo>
                  <a:pt x="20" y="46"/>
                </a:moveTo>
                <a:cubicBezTo>
                  <a:pt x="20" y="48"/>
                  <a:pt x="20" y="48"/>
                  <a:pt x="20" y="48"/>
                </a:cubicBezTo>
                <a:cubicBezTo>
                  <a:pt x="20" y="48"/>
                  <a:pt x="20" y="48"/>
                  <a:pt x="20" y="48"/>
                </a:cubicBezTo>
                <a:cubicBezTo>
                  <a:pt x="21" y="48"/>
                  <a:pt x="21" y="48"/>
                  <a:pt x="21" y="48"/>
                </a:cubicBezTo>
                <a:cubicBezTo>
                  <a:pt x="21" y="47"/>
                  <a:pt x="21" y="47"/>
                  <a:pt x="21" y="47"/>
                </a:cubicBezTo>
                <a:cubicBezTo>
                  <a:pt x="20" y="46"/>
                  <a:pt x="20" y="46"/>
                  <a:pt x="20" y="46"/>
                </a:cubicBezTo>
                <a:close/>
                <a:moveTo>
                  <a:pt x="21" y="43"/>
                </a:moveTo>
                <a:cubicBezTo>
                  <a:pt x="23" y="43"/>
                  <a:pt x="23" y="43"/>
                  <a:pt x="23" y="43"/>
                </a:cubicBezTo>
                <a:cubicBezTo>
                  <a:pt x="23" y="43"/>
                  <a:pt x="23" y="43"/>
                  <a:pt x="23" y="43"/>
                </a:cubicBezTo>
                <a:cubicBezTo>
                  <a:pt x="23" y="42"/>
                  <a:pt x="23" y="42"/>
                  <a:pt x="23" y="42"/>
                </a:cubicBezTo>
                <a:cubicBezTo>
                  <a:pt x="22" y="42"/>
                  <a:pt x="22" y="42"/>
                  <a:pt x="22" y="42"/>
                </a:cubicBezTo>
                <a:cubicBezTo>
                  <a:pt x="21" y="43"/>
                  <a:pt x="21" y="43"/>
                  <a:pt x="21" y="43"/>
                </a:cubicBezTo>
                <a:close/>
                <a:moveTo>
                  <a:pt x="12" y="34"/>
                </a:moveTo>
                <a:cubicBezTo>
                  <a:pt x="13" y="34"/>
                  <a:pt x="13" y="34"/>
                  <a:pt x="13" y="34"/>
                </a:cubicBezTo>
                <a:cubicBezTo>
                  <a:pt x="14" y="34"/>
                  <a:pt x="14" y="34"/>
                  <a:pt x="14" y="34"/>
                </a:cubicBezTo>
                <a:cubicBezTo>
                  <a:pt x="15" y="34"/>
                  <a:pt x="15" y="34"/>
                  <a:pt x="15" y="34"/>
                </a:cubicBezTo>
                <a:cubicBezTo>
                  <a:pt x="16" y="36"/>
                  <a:pt x="16" y="36"/>
                  <a:pt x="16" y="36"/>
                </a:cubicBezTo>
                <a:cubicBezTo>
                  <a:pt x="17" y="37"/>
                  <a:pt x="17" y="37"/>
                  <a:pt x="17" y="37"/>
                </a:cubicBezTo>
                <a:cubicBezTo>
                  <a:pt x="17" y="38"/>
                  <a:pt x="17" y="38"/>
                  <a:pt x="17" y="38"/>
                </a:cubicBezTo>
                <a:cubicBezTo>
                  <a:pt x="17" y="39"/>
                  <a:pt x="17" y="39"/>
                  <a:pt x="17" y="39"/>
                </a:cubicBezTo>
                <a:cubicBezTo>
                  <a:pt x="16" y="40"/>
                  <a:pt x="16" y="40"/>
                  <a:pt x="16" y="40"/>
                </a:cubicBezTo>
                <a:cubicBezTo>
                  <a:pt x="15" y="37"/>
                  <a:pt x="15" y="37"/>
                  <a:pt x="15" y="37"/>
                </a:cubicBezTo>
                <a:cubicBezTo>
                  <a:pt x="14" y="37"/>
                  <a:pt x="14" y="37"/>
                  <a:pt x="14" y="37"/>
                </a:cubicBezTo>
                <a:cubicBezTo>
                  <a:pt x="14" y="36"/>
                  <a:pt x="14" y="36"/>
                  <a:pt x="14" y="36"/>
                </a:cubicBezTo>
                <a:cubicBezTo>
                  <a:pt x="12" y="34"/>
                  <a:pt x="12" y="34"/>
                  <a:pt x="12" y="34"/>
                </a:cubicBezTo>
                <a:close/>
                <a:moveTo>
                  <a:pt x="12" y="30"/>
                </a:moveTo>
                <a:cubicBezTo>
                  <a:pt x="14" y="30"/>
                  <a:pt x="14" y="30"/>
                  <a:pt x="14" y="30"/>
                </a:cubicBezTo>
                <a:cubicBezTo>
                  <a:pt x="13" y="29"/>
                  <a:pt x="13" y="29"/>
                  <a:pt x="13" y="29"/>
                </a:cubicBezTo>
                <a:cubicBezTo>
                  <a:pt x="12" y="30"/>
                  <a:pt x="12" y="30"/>
                  <a:pt x="12" y="30"/>
                </a:cubicBezTo>
                <a:close/>
                <a:moveTo>
                  <a:pt x="4" y="24"/>
                </a:moveTo>
                <a:cubicBezTo>
                  <a:pt x="3" y="25"/>
                  <a:pt x="3" y="25"/>
                  <a:pt x="3" y="25"/>
                </a:cubicBezTo>
                <a:cubicBezTo>
                  <a:pt x="3" y="25"/>
                  <a:pt x="3" y="25"/>
                  <a:pt x="3" y="25"/>
                </a:cubicBezTo>
                <a:cubicBezTo>
                  <a:pt x="4" y="26"/>
                  <a:pt x="4" y="26"/>
                  <a:pt x="4" y="26"/>
                </a:cubicBezTo>
                <a:cubicBezTo>
                  <a:pt x="5" y="26"/>
                  <a:pt x="5" y="26"/>
                  <a:pt x="5" y="26"/>
                </a:cubicBezTo>
                <a:cubicBezTo>
                  <a:pt x="5" y="25"/>
                  <a:pt x="5" y="25"/>
                  <a:pt x="5" y="25"/>
                </a:cubicBezTo>
                <a:cubicBezTo>
                  <a:pt x="4" y="24"/>
                  <a:pt x="4" y="24"/>
                  <a:pt x="4" y="24"/>
                </a:cubicBezTo>
                <a:close/>
                <a:moveTo>
                  <a:pt x="0" y="6"/>
                </a:moveTo>
                <a:cubicBezTo>
                  <a:pt x="0" y="7"/>
                  <a:pt x="0" y="7"/>
                  <a:pt x="0" y="7"/>
                </a:cubicBezTo>
                <a:cubicBezTo>
                  <a:pt x="0" y="9"/>
                  <a:pt x="0" y="9"/>
                  <a:pt x="0" y="9"/>
                </a:cubicBezTo>
                <a:cubicBezTo>
                  <a:pt x="2" y="12"/>
                  <a:pt x="2" y="12"/>
                  <a:pt x="2" y="12"/>
                </a:cubicBezTo>
                <a:cubicBezTo>
                  <a:pt x="3" y="13"/>
                  <a:pt x="3" y="13"/>
                  <a:pt x="3" y="13"/>
                </a:cubicBezTo>
                <a:cubicBezTo>
                  <a:pt x="5" y="16"/>
                  <a:pt x="5" y="16"/>
                  <a:pt x="5" y="16"/>
                </a:cubicBezTo>
                <a:cubicBezTo>
                  <a:pt x="6" y="16"/>
                  <a:pt x="6" y="16"/>
                  <a:pt x="6" y="16"/>
                </a:cubicBezTo>
                <a:cubicBezTo>
                  <a:pt x="8" y="18"/>
                  <a:pt x="8" y="18"/>
                  <a:pt x="8" y="18"/>
                </a:cubicBezTo>
                <a:cubicBezTo>
                  <a:pt x="9" y="18"/>
                  <a:pt x="9" y="18"/>
                  <a:pt x="9" y="18"/>
                </a:cubicBezTo>
                <a:cubicBezTo>
                  <a:pt x="10" y="18"/>
                  <a:pt x="10" y="18"/>
                  <a:pt x="10" y="18"/>
                </a:cubicBezTo>
                <a:cubicBezTo>
                  <a:pt x="12" y="20"/>
                  <a:pt x="12" y="20"/>
                  <a:pt x="12" y="20"/>
                </a:cubicBezTo>
                <a:cubicBezTo>
                  <a:pt x="14" y="23"/>
                  <a:pt x="14" y="23"/>
                  <a:pt x="14" y="23"/>
                </a:cubicBezTo>
                <a:cubicBezTo>
                  <a:pt x="16" y="25"/>
                  <a:pt x="16" y="25"/>
                  <a:pt x="16" y="25"/>
                </a:cubicBezTo>
                <a:cubicBezTo>
                  <a:pt x="17" y="25"/>
                  <a:pt x="17" y="25"/>
                  <a:pt x="17" y="25"/>
                </a:cubicBezTo>
                <a:cubicBezTo>
                  <a:pt x="17" y="27"/>
                  <a:pt x="17" y="27"/>
                  <a:pt x="17" y="27"/>
                </a:cubicBezTo>
                <a:cubicBezTo>
                  <a:pt x="17" y="27"/>
                  <a:pt x="17" y="27"/>
                  <a:pt x="17" y="27"/>
                </a:cubicBezTo>
                <a:cubicBezTo>
                  <a:pt x="18" y="29"/>
                  <a:pt x="18" y="29"/>
                  <a:pt x="18" y="29"/>
                </a:cubicBezTo>
                <a:cubicBezTo>
                  <a:pt x="18" y="30"/>
                  <a:pt x="18" y="30"/>
                  <a:pt x="18" y="30"/>
                </a:cubicBezTo>
                <a:cubicBezTo>
                  <a:pt x="20" y="30"/>
                  <a:pt x="20" y="30"/>
                  <a:pt x="20" y="30"/>
                </a:cubicBezTo>
                <a:cubicBezTo>
                  <a:pt x="21" y="32"/>
                  <a:pt x="21" y="32"/>
                  <a:pt x="21" y="32"/>
                </a:cubicBezTo>
                <a:cubicBezTo>
                  <a:pt x="22" y="32"/>
                  <a:pt x="22" y="32"/>
                  <a:pt x="22" y="32"/>
                </a:cubicBezTo>
                <a:cubicBezTo>
                  <a:pt x="23" y="32"/>
                  <a:pt x="23" y="32"/>
                  <a:pt x="23" y="32"/>
                </a:cubicBezTo>
                <a:cubicBezTo>
                  <a:pt x="23" y="33"/>
                  <a:pt x="23" y="33"/>
                  <a:pt x="23" y="33"/>
                </a:cubicBezTo>
                <a:cubicBezTo>
                  <a:pt x="23" y="34"/>
                  <a:pt x="23" y="34"/>
                  <a:pt x="23" y="34"/>
                </a:cubicBezTo>
                <a:cubicBezTo>
                  <a:pt x="23" y="35"/>
                  <a:pt x="23" y="35"/>
                  <a:pt x="23" y="35"/>
                </a:cubicBezTo>
                <a:cubicBezTo>
                  <a:pt x="24" y="36"/>
                  <a:pt x="24" y="36"/>
                  <a:pt x="24" y="36"/>
                </a:cubicBezTo>
                <a:cubicBezTo>
                  <a:pt x="24" y="37"/>
                  <a:pt x="24" y="37"/>
                  <a:pt x="24" y="37"/>
                </a:cubicBezTo>
                <a:cubicBezTo>
                  <a:pt x="25" y="40"/>
                  <a:pt x="25" y="40"/>
                  <a:pt x="25" y="40"/>
                </a:cubicBezTo>
                <a:cubicBezTo>
                  <a:pt x="26" y="42"/>
                  <a:pt x="26" y="42"/>
                  <a:pt x="26" y="42"/>
                </a:cubicBezTo>
                <a:cubicBezTo>
                  <a:pt x="27" y="42"/>
                  <a:pt x="27" y="42"/>
                  <a:pt x="27" y="42"/>
                </a:cubicBezTo>
                <a:cubicBezTo>
                  <a:pt x="29" y="44"/>
                  <a:pt x="29" y="44"/>
                  <a:pt x="29" y="44"/>
                </a:cubicBezTo>
                <a:cubicBezTo>
                  <a:pt x="29" y="45"/>
                  <a:pt x="29" y="45"/>
                  <a:pt x="29" y="45"/>
                </a:cubicBezTo>
                <a:cubicBezTo>
                  <a:pt x="31" y="47"/>
                  <a:pt x="31" y="47"/>
                  <a:pt x="31" y="47"/>
                </a:cubicBezTo>
                <a:cubicBezTo>
                  <a:pt x="32" y="48"/>
                  <a:pt x="32" y="48"/>
                  <a:pt x="32" y="48"/>
                </a:cubicBezTo>
                <a:cubicBezTo>
                  <a:pt x="33" y="52"/>
                  <a:pt x="33" y="52"/>
                  <a:pt x="33" y="52"/>
                </a:cubicBezTo>
                <a:cubicBezTo>
                  <a:pt x="35" y="56"/>
                  <a:pt x="35" y="56"/>
                  <a:pt x="35" y="56"/>
                </a:cubicBezTo>
                <a:cubicBezTo>
                  <a:pt x="35" y="58"/>
                  <a:pt x="35" y="58"/>
                  <a:pt x="35" y="58"/>
                </a:cubicBezTo>
                <a:cubicBezTo>
                  <a:pt x="35" y="59"/>
                  <a:pt x="35" y="59"/>
                  <a:pt x="35" y="59"/>
                </a:cubicBezTo>
                <a:cubicBezTo>
                  <a:pt x="38" y="61"/>
                  <a:pt x="38" y="61"/>
                  <a:pt x="38" y="61"/>
                </a:cubicBezTo>
                <a:cubicBezTo>
                  <a:pt x="40" y="64"/>
                  <a:pt x="40" y="64"/>
                  <a:pt x="40" y="64"/>
                </a:cubicBezTo>
                <a:cubicBezTo>
                  <a:pt x="41" y="65"/>
                  <a:pt x="41" y="65"/>
                  <a:pt x="41" y="65"/>
                </a:cubicBezTo>
                <a:cubicBezTo>
                  <a:pt x="42" y="66"/>
                  <a:pt x="42" y="66"/>
                  <a:pt x="42" y="66"/>
                </a:cubicBezTo>
                <a:cubicBezTo>
                  <a:pt x="43" y="66"/>
                  <a:pt x="43" y="66"/>
                  <a:pt x="43" y="66"/>
                </a:cubicBezTo>
                <a:cubicBezTo>
                  <a:pt x="45" y="67"/>
                  <a:pt x="45" y="67"/>
                  <a:pt x="45" y="67"/>
                </a:cubicBezTo>
                <a:cubicBezTo>
                  <a:pt x="45" y="69"/>
                  <a:pt x="45" y="69"/>
                  <a:pt x="45" y="69"/>
                </a:cubicBezTo>
                <a:cubicBezTo>
                  <a:pt x="46" y="70"/>
                  <a:pt x="46" y="70"/>
                  <a:pt x="46" y="70"/>
                </a:cubicBezTo>
                <a:cubicBezTo>
                  <a:pt x="48" y="72"/>
                  <a:pt x="48" y="72"/>
                  <a:pt x="48" y="72"/>
                </a:cubicBezTo>
                <a:cubicBezTo>
                  <a:pt x="51" y="74"/>
                  <a:pt x="51" y="74"/>
                  <a:pt x="51" y="74"/>
                </a:cubicBezTo>
                <a:cubicBezTo>
                  <a:pt x="51" y="75"/>
                  <a:pt x="51" y="75"/>
                  <a:pt x="51" y="75"/>
                </a:cubicBezTo>
                <a:cubicBezTo>
                  <a:pt x="53" y="75"/>
                  <a:pt x="53" y="75"/>
                  <a:pt x="53" y="75"/>
                </a:cubicBezTo>
                <a:cubicBezTo>
                  <a:pt x="57" y="79"/>
                  <a:pt x="57" y="79"/>
                  <a:pt x="57" y="79"/>
                </a:cubicBezTo>
                <a:cubicBezTo>
                  <a:pt x="57" y="80"/>
                  <a:pt x="57" y="80"/>
                  <a:pt x="57" y="80"/>
                </a:cubicBezTo>
                <a:cubicBezTo>
                  <a:pt x="58" y="80"/>
                  <a:pt x="58" y="80"/>
                  <a:pt x="58" y="80"/>
                </a:cubicBezTo>
                <a:cubicBezTo>
                  <a:pt x="59" y="82"/>
                  <a:pt x="59" y="82"/>
                  <a:pt x="59" y="82"/>
                </a:cubicBezTo>
                <a:cubicBezTo>
                  <a:pt x="59" y="81"/>
                  <a:pt x="59" y="81"/>
                  <a:pt x="59" y="81"/>
                </a:cubicBezTo>
                <a:cubicBezTo>
                  <a:pt x="59" y="80"/>
                  <a:pt x="59" y="80"/>
                  <a:pt x="59" y="80"/>
                </a:cubicBezTo>
                <a:cubicBezTo>
                  <a:pt x="59" y="79"/>
                  <a:pt x="59" y="79"/>
                  <a:pt x="59" y="79"/>
                </a:cubicBezTo>
                <a:cubicBezTo>
                  <a:pt x="59" y="79"/>
                  <a:pt x="59" y="79"/>
                  <a:pt x="59" y="79"/>
                </a:cubicBezTo>
                <a:cubicBezTo>
                  <a:pt x="60" y="79"/>
                  <a:pt x="60" y="79"/>
                  <a:pt x="60" y="79"/>
                </a:cubicBezTo>
                <a:cubicBezTo>
                  <a:pt x="62" y="81"/>
                  <a:pt x="62" y="81"/>
                  <a:pt x="62" y="81"/>
                </a:cubicBezTo>
                <a:cubicBezTo>
                  <a:pt x="63" y="81"/>
                  <a:pt x="63" y="81"/>
                  <a:pt x="63" y="81"/>
                </a:cubicBezTo>
                <a:cubicBezTo>
                  <a:pt x="63" y="79"/>
                  <a:pt x="63" y="79"/>
                  <a:pt x="63" y="79"/>
                </a:cubicBezTo>
                <a:cubicBezTo>
                  <a:pt x="63" y="78"/>
                  <a:pt x="63" y="78"/>
                  <a:pt x="63" y="78"/>
                </a:cubicBezTo>
                <a:cubicBezTo>
                  <a:pt x="64" y="79"/>
                  <a:pt x="64" y="79"/>
                  <a:pt x="64" y="79"/>
                </a:cubicBezTo>
                <a:cubicBezTo>
                  <a:pt x="66" y="80"/>
                  <a:pt x="66" y="80"/>
                  <a:pt x="66" y="80"/>
                </a:cubicBezTo>
                <a:cubicBezTo>
                  <a:pt x="66" y="81"/>
                  <a:pt x="66" y="81"/>
                  <a:pt x="66" y="81"/>
                </a:cubicBezTo>
                <a:cubicBezTo>
                  <a:pt x="67" y="80"/>
                  <a:pt x="67" y="80"/>
                  <a:pt x="67" y="80"/>
                </a:cubicBezTo>
                <a:cubicBezTo>
                  <a:pt x="67" y="77"/>
                  <a:pt x="67" y="77"/>
                  <a:pt x="67" y="77"/>
                </a:cubicBezTo>
                <a:cubicBezTo>
                  <a:pt x="68" y="74"/>
                  <a:pt x="68" y="74"/>
                  <a:pt x="68" y="74"/>
                </a:cubicBezTo>
                <a:cubicBezTo>
                  <a:pt x="67" y="71"/>
                  <a:pt x="67" y="71"/>
                  <a:pt x="67" y="71"/>
                </a:cubicBezTo>
                <a:cubicBezTo>
                  <a:pt x="68" y="69"/>
                  <a:pt x="68" y="69"/>
                  <a:pt x="68" y="69"/>
                </a:cubicBezTo>
                <a:cubicBezTo>
                  <a:pt x="67" y="68"/>
                  <a:pt x="67" y="68"/>
                  <a:pt x="67" y="68"/>
                </a:cubicBezTo>
                <a:cubicBezTo>
                  <a:pt x="68" y="66"/>
                  <a:pt x="68" y="66"/>
                  <a:pt x="68" y="66"/>
                </a:cubicBezTo>
                <a:cubicBezTo>
                  <a:pt x="69" y="65"/>
                  <a:pt x="69" y="65"/>
                  <a:pt x="69" y="65"/>
                </a:cubicBezTo>
                <a:cubicBezTo>
                  <a:pt x="69" y="64"/>
                  <a:pt x="69" y="64"/>
                  <a:pt x="69" y="64"/>
                </a:cubicBezTo>
                <a:cubicBezTo>
                  <a:pt x="69" y="63"/>
                  <a:pt x="69" y="63"/>
                  <a:pt x="69" y="63"/>
                </a:cubicBezTo>
                <a:cubicBezTo>
                  <a:pt x="68" y="63"/>
                  <a:pt x="68" y="63"/>
                  <a:pt x="68" y="63"/>
                </a:cubicBezTo>
                <a:cubicBezTo>
                  <a:pt x="67" y="62"/>
                  <a:pt x="67" y="62"/>
                  <a:pt x="67" y="62"/>
                </a:cubicBezTo>
                <a:cubicBezTo>
                  <a:pt x="66" y="60"/>
                  <a:pt x="66" y="60"/>
                  <a:pt x="66" y="60"/>
                </a:cubicBezTo>
                <a:cubicBezTo>
                  <a:pt x="66" y="60"/>
                  <a:pt x="66" y="60"/>
                  <a:pt x="66" y="60"/>
                </a:cubicBezTo>
                <a:cubicBezTo>
                  <a:pt x="65" y="59"/>
                  <a:pt x="65" y="59"/>
                  <a:pt x="65" y="59"/>
                </a:cubicBezTo>
                <a:cubicBezTo>
                  <a:pt x="64" y="59"/>
                  <a:pt x="64" y="59"/>
                  <a:pt x="64" y="59"/>
                </a:cubicBezTo>
                <a:cubicBezTo>
                  <a:pt x="62" y="59"/>
                  <a:pt x="62" y="59"/>
                  <a:pt x="62" y="59"/>
                </a:cubicBezTo>
                <a:cubicBezTo>
                  <a:pt x="61" y="59"/>
                  <a:pt x="61" y="59"/>
                  <a:pt x="61" y="59"/>
                </a:cubicBezTo>
                <a:cubicBezTo>
                  <a:pt x="61" y="57"/>
                  <a:pt x="61" y="57"/>
                  <a:pt x="61" y="57"/>
                </a:cubicBezTo>
                <a:cubicBezTo>
                  <a:pt x="60" y="56"/>
                  <a:pt x="60" y="56"/>
                  <a:pt x="60" y="56"/>
                </a:cubicBezTo>
                <a:cubicBezTo>
                  <a:pt x="59" y="56"/>
                  <a:pt x="59" y="56"/>
                  <a:pt x="59" y="56"/>
                </a:cubicBezTo>
                <a:cubicBezTo>
                  <a:pt x="60" y="55"/>
                  <a:pt x="60" y="55"/>
                  <a:pt x="60" y="55"/>
                </a:cubicBezTo>
                <a:cubicBezTo>
                  <a:pt x="59" y="53"/>
                  <a:pt x="59" y="53"/>
                  <a:pt x="59" y="53"/>
                </a:cubicBezTo>
                <a:cubicBezTo>
                  <a:pt x="59" y="50"/>
                  <a:pt x="59" y="50"/>
                  <a:pt x="59" y="50"/>
                </a:cubicBezTo>
                <a:cubicBezTo>
                  <a:pt x="58" y="51"/>
                  <a:pt x="58" y="51"/>
                  <a:pt x="58" y="51"/>
                </a:cubicBezTo>
                <a:cubicBezTo>
                  <a:pt x="57" y="50"/>
                  <a:pt x="57" y="50"/>
                  <a:pt x="57" y="50"/>
                </a:cubicBezTo>
                <a:cubicBezTo>
                  <a:pt x="54" y="50"/>
                  <a:pt x="54" y="50"/>
                  <a:pt x="54" y="50"/>
                </a:cubicBezTo>
                <a:cubicBezTo>
                  <a:pt x="52" y="49"/>
                  <a:pt x="52" y="49"/>
                  <a:pt x="52" y="49"/>
                </a:cubicBezTo>
                <a:cubicBezTo>
                  <a:pt x="52" y="48"/>
                  <a:pt x="52" y="48"/>
                  <a:pt x="52" y="48"/>
                </a:cubicBezTo>
                <a:cubicBezTo>
                  <a:pt x="54" y="47"/>
                  <a:pt x="54" y="47"/>
                  <a:pt x="54" y="47"/>
                </a:cubicBezTo>
                <a:cubicBezTo>
                  <a:pt x="55" y="46"/>
                  <a:pt x="55" y="46"/>
                  <a:pt x="55" y="46"/>
                </a:cubicBezTo>
                <a:cubicBezTo>
                  <a:pt x="54" y="46"/>
                  <a:pt x="54" y="46"/>
                  <a:pt x="54" y="46"/>
                </a:cubicBezTo>
                <a:cubicBezTo>
                  <a:pt x="53" y="46"/>
                  <a:pt x="53" y="46"/>
                  <a:pt x="53" y="46"/>
                </a:cubicBezTo>
                <a:cubicBezTo>
                  <a:pt x="52" y="46"/>
                  <a:pt x="52" y="46"/>
                  <a:pt x="52" y="46"/>
                </a:cubicBezTo>
                <a:cubicBezTo>
                  <a:pt x="51" y="46"/>
                  <a:pt x="51" y="46"/>
                  <a:pt x="51" y="46"/>
                </a:cubicBezTo>
                <a:cubicBezTo>
                  <a:pt x="52" y="45"/>
                  <a:pt x="52" y="45"/>
                  <a:pt x="52" y="45"/>
                </a:cubicBezTo>
                <a:cubicBezTo>
                  <a:pt x="53" y="44"/>
                  <a:pt x="53" y="44"/>
                  <a:pt x="53" y="44"/>
                </a:cubicBezTo>
                <a:cubicBezTo>
                  <a:pt x="55" y="44"/>
                  <a:pt x="55" y="44"/>
                  <a:pt x="55" y="44"/>
                </a:cubicBezTo>
                <a:cubicBezTo>
                  <a:pt x="55" y="43"/>
                  <a:pt x="55" y="43"/>
                  <a:pt x="55" y="43"/>
                </a:cubicBezTo>
                <a:cubicBezTo>
                  <a:pt x="53" y="41"/>
                  <a:pt x="53" y="41"/>
                  <a:pt x="53" y="41"/>
                </a:cubicBezTo>
                <a:cubicBezTo>
                  <a:pt x="52" y="41"/>
                  <a:pt x="52" y="41"/>
                  <a:pt x="52" y="41"/>
                </a:cubicBezTo>
                <a:cubicBezTo>
                  <a:pt x="50" y="41"/>
                  <a:pt x="50" y="41"/>
                  <a:pt x="50" y="41"/>
                </a:cubicBezTo>
                <a:cubicBezTo>
                  <a:pt x="49" y="42"/>
                  <a:pt x="49" y="42"/>
                  <a:pt x="49" y="42"/>
                </a:cubicBezTo>
                <a:cubicBezTo>
                  <a:pt x="47" y="42"/>
                  <a:pt x="47" y="42"/>
                  <a:pt x="47" y="42"/>
                </a:cubicBezTo>
                <a:cubicBezTo>
                  <a:pt x="48" y="42"/>
                  <a:pt x="48" y="42"/>
                  <a:pt x="48" y="42"/>
                </a:cubicBezTo>
                <a:cubicBezTo>
                  <a:pt x="49" y="42"/>
                  <a:pt x="49" y="42"/>
                  <a:pt x="49" y="42"/>
                </a:cubicBezTo>
                <a:cubicBezTo>
                  <a:pt x="49" y="41"/>
                  <a:pt x="49" y="41"/>
                  <a:pt x="49" y="41"/>
                </a:cubicBezTo>
                <a:cubicBezTo>
                  <a:pt x="50" y="41"/>
                  <a:pt x="50" y="41"/>
                  <a:pt x="50" y="41"/>
                </a:cubicBezTo>
                <a:cubicBezTo>
                  <a:pt x="50" y="40"/>
                  <a:pt x="50" y="40"/>
                  <a:pt x="50" y="40"/>
                </a:cubicBezTo>
                <a:cubicBezTo>
                  <a:pt x="48" y="39"/>
                  <a:pt x="48" y="39"/>
                  <a:pt x="48" y="39"/>
                </a:cubicBezTo>
                <a:cubicBezTo>
                  <a:pt x="46" y="39"/>
                  <a:pt x="46" y="39"/>
                  <a:pt x="46" y="39"/>
                </a:cubicBezTo>
                <a:cubicBezTo>
                  <a:pt x="44" y="38"/>
                  <a:pt x="44" y="38"/>
                  <a:pt x="44" y="38"/>
                </a:cubicBezTo>
                <a:cubicBezTo>
                  <a:pt x="44" y="37"/>
                  <a:pt x="44" y="37"/>
                  <a:pt x="44" y="37"/>
                </a:cubicBezTo>
                <a:cubicBezTo>
                  <a:pt x="44" y="35"/>
                  <a:pt x="44" y="35"/>
                  <a:pt x="44" y="35"/>
                </a:cubicBezTo>
                <a:cubicBezTo>
                  <a:pt x="42" y="33"/>
                  <a:pt x="42" y="33"/>
                  <a:pt x="42" y="33"/>
                </a:cubicBezTo>
                <a:cubicBezTo>
                  <a:pt x="41" y="33"/>
                  <a:pt x="41" y="33"/>
                  <a:pt x="41" y="33"/>
                </a:cubicBezTo>
                <a:cubicBezTo>
                  <a:pt x="40" y="33"/>
                  <a:pt x="40" y="33"/>
                  <a:pt x="40" y="33"/>
                </a:cubicBezTo>
                <a:cubicBezTo>
                  <a:pt x="39" y="32"/>
                  <a:pt x="39" y="32"/>
                  <a:pt x="39" y="32"/>
                </a:cubicBezTo>
                <a:cubicBezTo>
                  <a:pt x="39" y="30"/>
                  <a:pt x="39" y="30"/>
                  <a:pt x="39" y="30"/>
                </a:cubicBezTo>
                <a:cubicBezTo>
                  <a:pt x="37" y="28"/>
                  <a:pt x="37" y="28"/>
                  <a:pt x="37" y="28"/>
                </a:cubicBezTo>
                <a:cubicBezTo>
                  <a:pt x="35" y="27"/>
                  <a:pt x="35" y="27"/>
                  <a:pt x="35" y="27"/>
                </a:cubicBezTo>
                <a:cubicBezTo>
                  <a:pt x="33" y="27"/>
                  <a:pt x="33" y="27"/>
                  <a:pt x="33" y="27"/>
                </a:cubicBezTo>
                <a:cubicBezTo>
                  <a:pt x="33" y="27"/>
                  <a:pt x="33" y="27"/>
                  <a:pt x="33" y="27"/>
                </a:cubicBezTo>
                <a:cubicBezTo>
                  <a:pt x="32" y="27"/>
                  <a:pt x="32" y="27"/>
                  <a:pt x="32" y="27"/>
                </a:cubicBezTo>
                <a:cubicBezTo>
                  <a:pt x="32" y="25"/>
                  <a:pt x="32" y="25"/>
                  <a:pt x="32" y="25"/>
                </a:cubicBezTo>
                <a:cubicBezTo>
                  <a:pt x="31" y="26"/>
                  <a:pt x="31" y="26"/>
                  <a:pt x="31" y="26"/>
                </a:cubicBezTo>
                <a:cubicBezTo>
                  <a:pt x="30" y="25"/>
                  <a:pt x="30" y="25"/>
                  <a:pt x="30" y="25"/>
                </a:cubicBezTo>
                <a:cubicBezTo>
                  <a:pt x="30" y="23"/>
                  <a:pt x="30" y="23"/>
                  <a:pt x="30" y="23"/>
                </a:cubicBezTo>
                <a:cubicBezTo>
                  <a:pt x="29" y="22"/>
                  <a:pt x="29" y="22"/>
                  <a:pt x="29" y="22"/>
                </a:cubicBezTo>
                <a:cubicBezTo>
                  <a:pt x="28" y="21"/>
                  <a:pt x="28" y="21"/>
                  <a:pt x="28" y="21"/>
                </a:cubicBezTo>
                <a:cubicBezTo>
                  <a:pt x="27" y="21"/>
                  <a:pt x="27" y="21"/>
                  <a:pt x="27" y="21"/>
                </a:cubicBezTo>
                <a:cubicBezTo>
                  <a:pt x="23" y="18"/>
                  <a:pt x="23" y="18"/>
                  <a:pt x="23" y="18"/>
                </a:cubicBezTo>
                <a:cubicBezTo>
                  <a:pt x="22" y="18"/>
                  <a:pt x="22" y="18"/>
                  <a:pt x="22" y="18"/>
                </a:cubicBezTo>
                <a:cubicBezTo>
                  <a:pt x="21" y="16"/>
                  <a:pt x="21" y="16"/>
                  <a:pt x="21" y="16"/>
                </a:cubicBezTo>
                <a:cubicBezTo>
                  <a:pt x="19" y="16"/>
                  <a:pt x="19" y="16"/>
                  <a:pt x="19" y="16"/>
                </a:cubicBezTo>
                <a:cubicBezTo>
                  <a:pt x="19" y="15"/>
                  <a:pt x="19" y="15"/>
                  <a:pt x="19" y="15"/>
                </a:cubicBezTo>
                <a:cubicBezTo>
                  <a:pt x="18" y="13"/>
                  <a:pt x="18" y="13"/>
                  <a:pt x="18" y="13"/>
                </a:cubicBezTo>
                <a:cubicBezTo>
                  <a:pt x="17" y="12"/>
                  <a:pt x="17" y="12"/>
                  <a:pt x="17" y="12"/>
                </a:cubicBezTo>
                <a:cubicBezTo>
                  <a:pt x="16" y="11"/>
                  <a:pt x="16" y="11"/>
                  <a:pt x="16" y="11"/>
                </a:cubicBezTo>
                <a:cubicBezTo>
                  <a:pt x="16" y="11"/>
                  <a:pt x="16" y="11"/>
                  <a:pt x="16" y="11"/>
                </a:cubicBezTo>
                <a:cubicBezTo>
                  <a:pt x="15" y="9"/>
                  <a:pt x="15" y="9"/>
                  <a:pt x="15" y="9"/>
                </a:cubicBezTo>
                <a:cubicBezTo>
                  <a:pt x="14" y="9"/>
                  <a:pt x="14" y="9"/>
                  <a:pt x="14" y="9"/>
                </a:cubicBezTo>
                <a:cubicBezTo>
                  <a:pt x="12" y="9"/>
                  <a:pt x="12" y="9"/>
                  <a:pt x="12" y="9"/>
                </a:cubicBezTo>
                <a:cubicBezTo>
                  <a:pt x="11" y="9"/>
                  <a:pt x="11" y="9"/>
                  <a:pt x="11" y="9"/>
                </a:cubicBezTo>
                <a:cubicBezTo>
                  <a:pt x="11" y="8"/>
                  <a:pt x="11" y="8"/>
                  <a:pt x="11" y="8"/>
                </a:cubicBezTo>
                <a:cubicBezTo>
                  <a:pt x="9" y="8"/>
                  <a:pt x="9" y="8"/>
                  <a:pt x="9" y="8"/>
                </a:cubicBezTo>
                <a:cubicBezTo>
                  <a:pt x="7" y="9"/>
                  <a:pt x="7" y="9"/>
                  <a:pt x="7" y="9"/>
                </a:cubicBezTo>
                <a:cubicBezTo>
                  <a:pt x="6" y="8"/>
                  <a:pt x="6" y="8"/>
                  <a:pt x="6" y="8"/>
                </a:cubicBezTo>
                <a:cubicBezTo>
                  <a:pt x="4" y="6"/>
                  <a:pt x="4" y="6"/>
                  <a:pt x="4" y="6"/>
                </a:cubicBezTo>
                <a:cubicBezTo>
                  <a:pt x="1" y="6"/>
                  <a:pt x="1" y="6"/>
                  <a:pt x="1" y="6"/>
                </a:cubicBezTo>
                <a:lnTo>
                  <a:pt x="0" y="6"/>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8" name="Freeform 26">
            <a:extLst>
              <a:ext uri="{FF2B5EF4-FFF2-40B4-BE49-F238E27FC236}">
                <a16:creationId xmlns:a16="http://schemas.microsoft.com/office/drawing/2014/main" id="{81E89C95-1C67-9E6E-807A-2A86F8BA12AF}"/>
              </a:ext>
            </a:extLst>
          </p:cNvPr>
          <p:cNvSpPr>
            <a:spLocks noEditPoints="1"/>
          </p:cNvSpPr>
          <p:nvPr userDrawn="1"/>
        </p:nvSpPr>
        <p:spPr bwMode="auto">
          <a:xfrm>
            <a:off x="20918713" y="9952911"/>
            <a:ext cx="200013" cy="60326"/>
          </a:xfrm>
          <a:custGeom>
            <a:avLst/>
            <a:gdLst>
              <a:gd name="T0" fmla="*/ 0 w 63"/>
              <a:gd name="T1" fmla="*/ 16 h 19"/>
              <a:gd name="T2" fmla="*/ 3 w 63"/>
              <a:gd name="T3" fmla="*/ 19 h 19"/>
              <a:gd name="T4" fmla="*/ 6 w 63"/>
              <a:gd name="T5" fmla="*/ 16 h 19"/>
              <a:gd name="T6" fmla="*/ 9 w 63"/>
              <a:gd name="T7" fmla="*/ 16 h 19"/>
              <a:gd name="T8" fmla="*/ 9 w 63"/>
              <a:gd name="T9" fmla="*/ 12 h 19"/>
              <a:gd name="T10" fmla="*/ 9 w 63"/>
              <a:gd name="T11" fmla="*/ 12 h 19"/>
              <a:gd name="T12" fmla="*/ 3 w 63"/>
              <a:gd name="T13" fmla="*/ 12 h 19"/>
              <a:gd name="T14" fmla="*/ 0 w 63"/>
              <a:gd name="T15" fmla="*/ 16 h 19"/>
              <a:gd name="T16" fmla="*/ 0 w 63"/>
              <a:gd name="T17" fmla="*/ 16 h 19"/>
              <a:gd name="T18" fmla="*/ 16 w 63"/>
              <a:gd name="T19" fmla="*/ 9 h 19"/>
              <a:gd name="T20" fmla="*/ 19 w 63"/>
              <a:gd name="T21" fmla="*/ 16 h 19"/>
              <a:gd name="T22" fmla="*/ 25 w 63"/>
              <a:gd name="T23" fmla="*/ 19 h 19"/>
              <a:gd name="T24" fmla="*/ 25 w 63"/>
              <a:gd name="T25" fmla="*/ 19 h 19"/>
              <a:gd name="T26" fmla="*/ 28 w 63"/>
              <a:gd name="T27" fmla="*/ 16 h 19"/>
              <a:gd name="T28" fmla="*/ 31 w 63"/>
              <a:gd name="T29" fmla="*/ 12 h 19"/>
              <a:gd name="T30" fmla="*/ 34 w 63"/>
              <a:gd name="T31" fmla="*/ 12 h 19"/>
              <a:gd name="T32" fmla="*/ 44 w 63"/>
              <a:gd name="T33" fmla="*/ 12 h 19"/>
              <a:gd name="T34" fmla="*/ 50 w 63"/>
              <a:gd name="T35" fmla="*/ 9 h 19"/>
              <a:gd name="T36" fmla="*/ 56 w 63"/>
              <a:gd name="T37" fmla="*/ 6 h 19"/>
              <a:gd name="T38" fmla="*/ 56 w 63"/>
              <a:gd name="T39" fmla="*/ 6 h 19"/>
              <a:gd name="T40" fmla="*/ 59 w 63"/>
              <a:gd name="T41" fmla="*/ 6 h 19"/>
              <a:gd name="T42" fmla="*/ 63 w 63"/>
              <a:gd name="T43" fmla="*/ 3 h 19"/>
              <a:gd name="T44" fmla="*/ 63 w 63"/>
              <a:gd name="T45" fmla="*/ 0 h 19"/>
              <a:gd name="T46" fmla="*/ 59 w 63"/>
              <a:gd name="T47" fmla="*/ 0 h 19"/>
              <a:gd name="T48" fmla="*/ 53 w 63"/>
              <a:gd name="T49" fmla="*/ 0 h 19"/>
              <a:gd name="T50" fmla="*/ 50 w 63"/>
              <a:gd name="T51" fmla="*/ 0 h 19"/>
              <a:gd name="T52" fmla="*/ 44 w 63"/>
              <a:gd name="T53" fmla="*/ 0 h 19"/>
              <a:gd name="T54" fmla="*/ 41 w 63"/>
              <a:gd name="T55" fmla="*/ 0 h 19"/>
              <a:gd name="T56" fmla="*/ 34 w 63"/>
              <a:gd name="T57" fmla="*/ 3 h 19"/>
              <a:gd name="T58" fmla="*/ 28 w 63"/>
              <a:gd name="T59" fmla="*/ 3 h 19"/>
              <a:gd name="T60" fmla="*/ 22 w 63"/>
              <a:gd name="T61" fmla="*/ 6 h 19"/>
              <a:gd name="T62" fmla="*/ 16 w 63"/>
              <a:gd name="T6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 h="19">
                <a:moveTo>
                  <a:pt x="0" y="16"/>
                </a:moveTo>
                <a:lnTo>
                  <a:pt x="3" y="19"/>
                </a:lnTo>
                <a:lnTo>
                  <a:pt x="6" y="16"/>
                </a:lnTo>
                <a:lnTo>
                  <a:pt x="9" y="16"/>
                </a:lnTo>
                <a:lnTo>
                  <a:pt x="9" y="12"/>
                </a:lnTo>
                <a:lnTo>
                  <a:pt x="9" y="12"/>
                </a:lnTo>
                <a:lnTo>
                  <a:pt x="3" y="12"/>
                </a:lnTo>
                <a:lnTo>
                  <a:pt x="0" y="16"/>
                </a:lnTo>
                <a:lnTo>
                  <a:pt x="0" y="16"/>
                </a:lnTo>
                <a:close/>
                <a:moveTo>
                  <a:pt x="16" y="9"/>
                </a:moveTo>
                <a:lnTo>
                  <a:pt x="19" y="16"/>
                </a:lnTo>
                <a:lnTo>
                  <a:pt x="25" y="19"/>
                </a:lnTo>
                <a:lnTo>
                  <a:pt x="25" y="19"/>
                </a:lnTo>
                <a:lnTo>
                  <a:pt x="28" y="16"/>
                </a:lnTo>
                <a:lnTo>
                  <a:pt x="31" y="12"/>
                </a:lnTo>
                <a:lnTo>
                  <a:pt x="34" y="12"/>
                </a:lnTo>
                <a:lnTo>
                  <a:pt x="44" y="12"/>
                </a:lnTo>
                <a:lnTo>
                  <a:pt x="50" y="9"/>
                </a:lnTo>
                <a:lnTo>
                  <a:pt x="56" y="6"/>
                </a:lnTo>
                <a:lnTo>
                  <a:pt x="56" y="6"/>
                </a:lnTo>
                <a:lnTo>
                  <a:pt x="59" y="6"/>
                </a:lnTo>
                <a:lnTo>
                  <a:pt x="63" y="3"/>
                </a:lnTo>
                <a:lnTo>
                  <a:pt x="63" y="0"/>
                </a:lnTo>
                <a:lnTo>
                  <a:pt x="59" y="0"/>
                </a:lnTo>
                <a:lnTo>
                  <a:pt x="53" y="0"/>
                </a:lnTo>
                <a:lnTo>
                  <a:pt x="50" y="0"/>
                </a:lnTo>
                <a:lnTo>
                  <a:pt x="44" y="0"/>
                </a:lnTo>
                <a:lnTo>
                  <a:pt x="41" y="0"/>
                </a:lnTo>
                <a:lnTo>
                  <a:pt x="34" y="3"/>
                </a:lnTo>
                <a:lnTo>
                  <a:pt x="28" y="3"/>
                </a:lnTo>
                <a:lnTo>
                  <a:pt x="22" y="6"/>
                </a:lnTo>
                <a:lnTo>
                  <a:pt x="16" y="9"/>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29" name="Freeform 27">
            <a:extLst>
              <a:ext uri="{FF2B5EF4-FFF2-40B4-BE49-F238E27FC236}">
                <a16:creationId xmlns:a16="http://schemas.microsoft.com/office/drawing/2014/main" id="{578AF1DD-6F84-6DC2-B445-5EB34D916CF6}"/>
              </a:ext>
            </a:extLst>
          </p:cNvPr>
          <p:cNvSpPr>
            <a:spLocks noEditPoints="1"/>
          </p:cNvSpPr>
          <p:nvPr userDrawn="1"/>
        </p:nvSpPr>
        <p:spPr bwMode="auto">
          <a:xfrm>
            <a:off x="19429734" y="8921035"/>
            <a:ext cx="1200072" cy="415926"/>
          </a:xfrm>
          <a:custGeom>
            <a:avLst/>
            <a:gdLst>
              <a:gd name="T0" fmla="*/ 228 w 378"/>
              <a:gd name="T1" fmla="*/ 97 h 131"/>
              <a:gd name="T2" fmla="*/ 3 w 378"/>
              <a:gd name="T3" fmla="*/ 40 h 131"/>
              <a:gd name="T4" fmla="*/ 0 w 378"/>
              <a:gd name="T5" fmla="*/ 34 h 131"/>
              <a:gd name="T6" fmla="*/ 207 w 378"/>
              <a:gd name="T7" fmla="*/ 128 h 131"/>
              <a:gd name="T8" fmla="*/ 222 w 378"/>
              <a:gd name="T9" fmla="*/ 128 h 131"/>
              <a:gd name="T10" fmla="*/ 260 w 378"/>
              <a:gd name="T11" fmla="*/ 122 h 131"/>
              <a:gd name="T12" fmla="*/ 288 w 378"/>
              <a:gd name="T13" fmla="*/ 118 h 131"/>
              <a:gd name="T14" fmla="*/ 310 w 378"/>
              <a:gd name="T15" fmla="*/ 71 h 131"/>
              <a:gd name="T16" fmla="*/ 319 w 378"/>
              <a:gd name="T17" fmla="*/ 59 h 131"/>
              <a:gd name="T18" fmla="*/ 344 w 378"/>
              <a:gd name="T19" fmla="*/ 62 h 131"/>
              <a:gd name="T20" fmla="*/ 363 w 378"/>
              <a:gd name="T21" fmla="*/ 62 h 131"/>
              <a:gd name="T22" fmla="*/ 369 w 378"/>
              <a:gd name="T23" fmla="*/ 50 h 131"/>
              <a:gd name="T24" fmla="*/ 369 w 378"/>
              <a:gd name="T25" fmla="*/ 40 h 131"/>
              <a:gd name="T26" fmla="*/ 353 w 378"/>
              <a:gd name="T27" fmla="*/ 34 h 131"/>
              <a:gd name="T28" fmla="*/ 347 w 378"/>
              <a:gd name="T29" fmla="*/ 31 h 131"/>
              <a:gd name="T30" fmla="*/ 347 w 378"/>
              <a:gd name="T31" fmla="*/ 18 h 131"/>
              <a:gd name="T32" fmla="*/ 335 w 378"/>
              <a:gd name="T33" fmla="*/ 6 h 131"/>
              <a:gd name="T34" fmla="*/ 328 w 378"/>
              <a:gd name="T35" fmla="*/ 12 h 131"/>
              <a:gd name="T36" fmla="*/ 316 w 378"/>
              <a:gd name="T37" fmla="*/ 28 h 131"/>
              <a:gd name="T38" fmla="*/ 297 w 378"/>
              <a:gd name="T39" fmla="*/ 43 h 131"/>
              <a:gd name="T40" fmla="*/ 303 w 378"/>
              <a:gd name="T41" fmla="*/ 46 h 131"/>
              <a:gd name="T42" fmla="*/ 300 w 378"/>
              <a:gd name="T43" fmla="*/ 62 h 131"/>
              <a:gd name="T44" fmla="*/ 297 w 378"/>
              <a:gd name="T45" fmla="*/ 53 h 131"/>
              <a:gd name="T46" fmla="*/ 288 w 378"/>
              <a:gd name="T47" fmla="*/ 62 h 131"/>
              <a:gd name="T48" fmla="*/ 275 w 378"/>
              <a:gd name="T49" fmla="*/ 62 h 131"/>
              <a:gd name="T50" fmla="*/ 257 w 378"/>
              <a:gd name="T51" fmla="*/ 84 h 131"/>
              <a:gd name="T52" fmla="*/ 238 w 378"/>
              <a:gd name="T53" fmla="*/ 103 h 131"/>
              <a:gd name="T54" fmla="*/ 225 w 378"/>
              <a:gd name="T55" fmla="*/ 109 h 131"/>
              <a:gd name="T56" fmla="*/ 207 w 378"/>
              <a:gd name="T57" fmla="*/ 118 h 131"/>
              <a:gd name="T58" fmla="*/ 194 w 378"/>
              <a:gd name="T59" fmla="*/ 112 h 131"/>
              <a:gd name="T60" fmla="*/ 332 w 378"/>
              <a:gd name="T61" fmla="*/ 0 h 131"/>
              <a:gd name="T62" fmla="*/ 338 w 378"/>
              <a:gd name="T63" fmla="*/ 3 h 131"/>
              <a:gd name="T64" fmla="*/ 225 w 378"/>
              <a:gd name="T65" fmla="*/ 103 h 131"/>
              <a:gd name="T66" fmla="*/ 228 w 378"/>
              <a:gd name="T67" fmla="*/ 103 h 131"/>
              <a:gd name="T68" fmla="*/ 235 w 378"/>
              <a:gd name="T69" fmla="*/ 93 h 131"/>
              <a:gd name="T70" fmla="*/ 232 w 378"/>
              <a:gd name="T71" fmla="*/ 97 h 131"/>
              <a:gd name="T72" fmla="*/ 3 w 378"/>
              <a:gd name="T73" fmla="*/ 12 h 131"/>
              <a:gd name="T74" fmla="*/ 19 w 378"/>
              <a:gd name="T75" fmla="*/ 18 h 131"/>
              <a:gd name="T76" fmla="*/ 25 w 378"/>
              <a:gd name="T77" fmla="*/ 31 h 131"/>
              <a:gd name="T78" fmla="*/ 38 w 378"/>
              <a:gd name="T79" fmla="*/ 25 h 131"/>
              <a:gd name="T80" fmla="*/ 44 w 378"/>
              <a:gd name="T81" fmla="*/ 21 h 131"/>
              <a:gd name="T82" fmla="*/ 66 w 378"/>
              <a:gd name="T83" fmla="*/ 59 h 131"/>
              <a:gd name="T84" fmla="*/ 69 w 378"/>
              <a:gd name="T85" fmla="*/ 84 h 131"/>
              <a:gd name="T86" fmla="*/ 78 w 378"/>
              <a:gd name="T87" fmla="*/ 97 h 131"/>
              <a:gd name="T88" fmla="*/ 82 w 378"/>
              <a:gd name="T89" fmla="*/ 109 h 131"/>
              <a:gd name="T90" fmla="*/ 85 w 378"/>
              <a:gd name="T91" fmla="*/ 118 h 131"/>
              <a:gd name="T92" fmla="*/ 82 w 378"/>
              <a:gd name="T93" fmla="*/ 118 h 131"/>
              <a:gd name="T94" fmla="*/ 72 w 378"/>
              <a:gd name="T95" fmla="*/ 122 h 131"/>
              <a:gd name="T96" fmla="*/ 53 w 378"/>
              <a:gd name="T97" fmla="*/ 109 h 131"/>
              <a:gd name="T98" fmla="*/ 38 w 378"/>
              <a:gd name="T99" fmla="*/ 97 h 131"/>
              <a:gd name="T100" fmla="*/ 28 w 378"/>
              <a:gd name="T101" fmla="*/ 81 h 131"/>
              <a:gd name="T102" fmla="*/ 13 w 378"/>
              <a:gd name="T103" fmla="*/ 65 h 131"/>
              <a:gd name="T104" fmla="*/ 10 w 378"/>
              <a:gd name="T105" fmla="*/ 4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8" h="131">
                <a:moveTo>
                  <a:pt x="228" y="97"/>
                </a:moveTo>
                <a:lnTo>
                  <a:pt x="228" y="100"/>
                </a:lnTo>
                <a:lnTo>
                  <a:pt x="228" y="100"/>
                </a:lnTo>
                <a:lnTo>
                  <a:pt x="228" y="97"/>
                </a:lnTo>
                <a:lnTo>
                  <a:pt x="228" y="97"/>
                </a:lnTo>
                <a:lnTo>
                  <a:pt x="228" y="97"/>
                </a:lnTo>
                <a:lnTo>
                  <a:pt x="228" y="97"/>
                </a:lnTo>
                <a:close/>
                <a:moveTo>
                  <a:pt x="0" y="34"/>
                </a:moveTo>
                <a:lnTo>
                  <a:pt x="3" y="40"/>
                </a:lnTo>
                <a:lnTo>
                  <a:pt x="3" y="40"/>
                </a:lnTo>
                <a:lnTo>
                  <a:pt x="7" y="40"/>
                </a:lnTo>
                <a:lnTo>
                  <a:pt x="7" y="37"/>
                </a:lnTo>
                <a:lnTo>
                  <a:pt x="3" y="34"/>
                </a:lnTo>
                <a:lnTo>
                  <a:pt x="0" y="34"/>
                </a:lnTo>
                <a:lnTo>
                  <a:pt x="0" y="34"/>
                </a:lnTo>
                <a:close/>
                <a:moveTo>
                  <a:pt x="194" y="112"/>
                </a:moveTo>
                <a:lnTo>
                  <a:pt x="197" y="118"/>
                </a:lnTo>
                <a:lnTo>
                  <a:pt x="203" y="122"/>
                </a:lnTo>
                <a:lnTo>
                  <a:pt x="203" y="125"/>
                </a:lnTo>
                <a:lnTo>
                  <a:pt x="207" y="128"/>
                </a:lnTo>
                <a:lnTo>
                  <a:pt x="210" y="131"/>
                </a:lnTo>
                <a:lnTo>
                  <a:pt x="213" y="131"/>
                </a:lnTo>
                <a:lnTo>
                  <a:pt x="219" y="131"/>
                </a:lnTo>
                <a:lnTo>
                  <a:pt x="219" y="128"/>
                </a:lnTo>
                <a:lnTo>
                  <a:pt x="222" y="128"/>
                </a:lnTo>
                <a:lnTo>
                  <a:pt x="225" y="128"/>
                </a:lnTo>
                <a:lnTo>
                  <a:pt x="238" y="128"/>
                </a:lnTo>
                <a:lnTo>
                  <a:pt x="247" y="125"/>
                </a:lnTo>
                <a:lnTo>
                  <a:pt x="250" y="122"/>
                </a:lnTo>
                <a:lnTo>
                  <a:pt x="260" y="122"/>
                </a:lnTo>
                <a:lnTo>
                  <a:pt x="266" y="122"/>
                </a:lnTo>
                <a:lnTo>
                  <a:pt x="266" y="125"/>
                </a:lnTo>
                <a:lnTo>
                  <a:pt x="272" y="125"/>
                </a:lnTo>
                <a:lnTo>
                  <a:pt x="278" y="122"/>
                </a:lnTo>
                <a:lnTo>
                  <a:pt x="288" y="118"/>
                </a:lnTo>
                <a:lnTo>
                  <a:pt x="288" y="115"/>
                </a:lnTo>
                <a:lnTo>
                  <a:pt x="297" y="106"/>
                </a:lnTo>
                <a:lnTo>
                  <a:pt x="300" y="97"/>
                </a:lnTo>
                <a:lnTo>
                  <a:pt x="307" y="87"/>
                </a:lnTo>
                <a:lnTo>
                  <a:pt x="310" y="71"/>
                </a:lnTo>
                <a:lnTo>
                  <a:pt x="310" y="68"/>
                </a:lnTo>
                <a:lnTo>
                  <a:pt x="313" y="65"/>
                </a:lnTo>
                <a:lnTo>
                  <a:pt x="313" y="62"/>
                </a:lnTo>
                <a:lnTo>
                  <a:pt x="316" y="59"/>
                </a:lnTo>
                <a:lnTo>
                  <a:pt x="319" y="59"/>
                </a:lnTo>
                <a:lnTo>
                  <a:pt x="325" y="59"/>
                </a:lnTo>
                <a:lnTo>
                  <a:pt x="335" y="59"/>
                </a:lnTo>
                <a:lnTo>
                  <a:pt x="335" y="62"/>
                </a:lnTo>
                <a:lnTo>
                  <a:pt x="341" y="62"/>
                </a:lnTo>
                <a:lnTo>
                  <a:pt x="344" y="62"/>
                </a:lnTo>
                <a:lnTo>
                  <a:pt x="347" y="59"/>
                </a:lnTo>
                <a:lnTo>
                  <a:pt x="350" y="62"/>
                </a:lnTo>
                <a:lnTo>
                  <a:pt x="353" y="65"/>
                </a:lnTo>
                <a:lnTo>
                  <a:pt x="357" y="62"/>
                </a:lnTo>
                <a:lnTo>
                  <a:pt x="363" y="62"/>
                </a:lnTo>
                <a:lnTo>
                  <a:pt x="363" y="59"/>
                </a:lnTo>
                <a:lnTo>
                  <a:pt x="357" y="56"/>
                </a:lnTo>
                <a:lnTo>
                  <a:pt x="357" y="50"/>
                </a:lnTo>
                <a:lnTo>
                  <a:pt x="360" y="46"/>
                </a:lnTo>
                <a:lnTo>
                  <a:pt x="369" y="50"/>
                </a:lnTo>
                <a:lnTo>
                  <a:pt x="375" y="46"/>
                </a:lnTo>
                <a:lnTo>
                  <a:pt x="378" y="43"/>
                </a:lnTo>
                <a:lnTo>
                  <a:pt x="378" y="40"/>
                </a:lnTo>
                <a:lnTo>
                  <a:pt x="375" y="40"/>
                </a:lnTo>
                <a:lnTo>
                  <a:pt x="369" y="40"/>
                </a:lnTo>
                <a:lnTo>
                  <a:pt x="366" y="37"/>
                </a:lnTo>
                <a:lnTo>
                  <a:pt x="363" y="37"/>
                </a:lnTo>
                <a:lnTo>
                  <a:pt x="360" y="31"/>
                </a:lnTo>
                <a:lnTo>
                  <a:pt x="357" y="31"/>
                </a:lnTo>
                <a:lnTo>
                  <a:pt x="353" y="34"/>
                </a:lnTo>
                <a:lnTo>
                  <a:pt x="350" y="34"/>
                </a:lnTo>
                <a:lnTo>
                  <a:pt x="357" y="31"/>
                </a:lnTo>
                <a:lnTo>
                  <a:pt x="353" y="28"/>
                </a:lnTo>
                <a:lnTo>
                  <a:pt x="350" y="28"/>
                </a:lnTo>
                <a:lnTo>
                  <a:pt x="347" y="31"/>
                </a:lnTo>
                <a:lnTo>
                  <a:pt x="347" y="31"/>
                </a:lnTo>
                <a:lnTo>
                  <a:pt x="344" y="28"/>
                </a:lnTo>
                <a:lnTo>
                  <a:pt x="344" y="25"/>
                </a:lnTo>
                <a:lnTo>
                  <a:pt x="350" y="21"/>
                </a:lnTo>
                <a:lnTo>
                  <a:pt x="347" y="18"/>
                </a:lnTo>
                <a:lnTo>
                  <a:pt x="344" y="15"/>
                </a:lnTo>
                <a:lnTo>
                  <a:pt x="341" y="18"/>
                </a:lnTo>
                <a:lnTo>
                  <a:pt x="338" y="15"/>
                </a:lnTo>
                <a:lnTo>
                  <a:pt x="338" y="9"/>
                </a:lnTo>
                <a:lnTo>
                  <a:pt x="335" y="6"/>
                </a:lnTo>
                <a:lnTo>
                  <a:pt x="332" y="6"/>
                </a:lnTo>
                <a:lnTo>
                  <a:pt x="335" y="12"/>
                </a:lnTo>
                <a:lnTo>
                  <a:pt x="328" y="15"/>
                </a:lnTo>
                <a:lnTo>
                  <a:pt x="328" y="15"/>
                </a:lnTo>
                <a:lnTo>
                  <a:pt x="328" y="12"/>
                </a:lnTo>
                <a:lnTo>
                  <a:pt x="328" y="9"/>
                </a:lnTo>
                <a:lnTo>
                  <a:pt x="325" y="9"/>
                </a:lnTo>
                <a:lnTo>
                  <a:pt x="322" y="15"/>
                </a:lnTo>
                <a:lnTo>
                  <a:pt x="319" y="18"/>
                </a:lnTo>
                <a:lnTo>
                  <a:pt x="316" y="28"/>
                </a:lnTo>
                <a:lnTo>
                  <a:pt x="316" y="31"/>
                </a:lnTo>
                <a:lnTo>
                  <a:pt x="310" y="40"/>
                </a:lnTo>
                <a:lnTo>
                  <a:pt x="307" y="40"/>
                </a:lnTo>
                <a:lnTo>
                  <a:pt x="300" y="40"/>
                </a:lnTo>
                <a:lnTo>
                  <a:pt x="297" y="43"/>
                </a:lnTo>
                <a:lnTo>
                  <a:pt x="300" y="43"/>
                </a:lnTo>
                <a:lnTo>
                  <a:pt x="297" y="46"/>
                </a:lnTo>
                <a:lnTo>
                  <a:pt x="300" y="46"/>
                </a:lnTo>
                <a:lnTo>
                  <a:pt x="303" y="46"/>
                </a:lnTo>
                <a:lnTo>
                  <a:pt x="303" y="46"/>
                </a:lnTo>
                <a:lnTo>
                  <a:pt x="300" y="50"/>
                </a:lnTo>
                <a:lnTo>
                  <a:pt x="300" y="50"/>
                </a:lnTo>
                <a:lnTo>
                  <a:pt x="300" y="53"/>
                </a:lnTo>
                <a:lnTo>
                  <a:pt x="303" y="59"/>
                </a:lnTo>
                <a:lnTo>
                  <a:pt x="300" y="62"/>
                </a:lnTo>
                <a:lnTo>
                  <a:pt x="297" y="59"/>
                </a:lnTo>
                <a:lnTo>
                  <a:pt x="297" y="56"/>
                </a:lnTo>
                <a:lnTo>
                  <a:pt x="297" y="53"/>
                </a:lnTo>
                <a:lnTo>
                  <a:pt x="297" y="53"/>
                </a:lnTo>
                <a:lnTo>
                  <a:pt x="297" y="53"/>
                </a:lnTo>
                <a:lnTo>
                  <a:pt x="294" y="53"/>
                </a:lnTo>
                <a:lnTo>
                  <a:pt x="291" y="56"/>
                </a:lnTo>
                <a:lnTo>
                  <a:pt x="294" y="62"/>
                </a:lnTo>
                <a:lnTo>
                  <a:pt x="291" y="65"/>
                </a:lnTo>
                <a:lnTo>
                  <a:pt x="288" y="62"/>
                </a:lnTo>
                <a:lnTo>
                  <a:pt x="285" y="56"/>
                </a:lnTo>
                <a:lnTo>
                  <a:pt x="282" y="56"/>
                </a:lnTo>
                <a:lnTo>
                  <a:pt x="278" y="53"/>
                </a:lnTo>
                <a:lnTo>
                  <a:pt x="275" y="59"/>
                </a:lnTo>
                <a:lnTo>
                  <a:pt x="275" y="62"/>
                </a:lnTo>
                <a:lnTo>
                  <a:pt x="272" y="65"/>
                </a:lnTo>
                <a:lnTo>
                  <a:pt x="269" y="71"/>
                </a:lnTo>
                <a:lnTo>
                  <a:pt x="263" y="75"/>
                </a:lnTo>
                <a:lnTo>
                  <a:pt x="263" y="81"/>
                </a:lnTo>
                <a:lnTo>
                  <a:pt x="257" y="84"/>
                </a:lnTo>
                <a:lnTo>
                  <a:pt x="253" y="90"/>
                </a:lnTo>
                <a:lnTo>
                  <a:pt x="238" y="93"/>
                </a:lnTo>
                <a:lnTo>
                  <a:pt x="235" y="93"/>
                </a:lnTo>
                <a:lnTo>
                  <a:pt x="235" y="100"/>
                </a:lnTo>
                <a:lnTo>
                  <a:pt x="238" y="103"/>
                </a:lnTo>
                <a:lnTo>
                  <a:pt x="235" y="100"/>
                </a:lnTo>
                <a:lnTo>
                  <a:pt x="232" y="103"/>
                </a:lnTo>
                <a:lnTo>
                  <a:pt x="228" y="103"/>
                </a:lnTo>
                <a:lnTo>
                  <a:pt x="225" y="106"/>
                </a:lnTo>
                <a:lnTo>
                  <a:pt x="225" y="109"/>
                </a:lnTo>
                <a:lnTo>
                  <a:pt x="225" y="115"/>
                </a:lnTo>
                <a:lnTo>
                  <a:pt x="222" y="118"/>
                </a:lnTo>
                <a:lnTo>
                  <a:pt x="222" y="122"/>
                </a:lnTo>
                <a:lnTo>
                  <a:pt x="213" y="122"/>
                </a:lnTo>
                <a:lnTo>
                  <a:pt x="207" y="118"/>
                </a:lnTo>
                <a:lnTo>
                  <a:pt x="200" y="118"/>
                </a:lnTo>
                <a:lnTo>
                  <a:pt x="197" y="115"/>
                </a:lnTo>
                <a:lnTo>
                  <a:pt x="194" y="112"/>
                </a:lnTo>
                <a:lnTo>
                  <a:pt x="194" y="112"/>
                </a:lnTo>
                <a:lnTo>
                  <a:pt x="194" y="112"/>
                </a:lnTo>
                <a:close/>
                <a:moveTo>
                  <a:pt x="332" y="0"/>
                </a:moveTo>
                <a:lnTo>
                  <a:pt x="328" y="3"/>
                </a:lnTo>
                <a:lnTo>
                  <a:pt x="328" y="3"/>
                </a:lnTo>
                <a:lnTo>
                  <a:pt x="332" y="0"/>
                </a:lnTo>
                <a:lnTo>
                  <a:pt x="332" y="0"/>
                </a:lnTo>
                <a:lnTo>
                  <a:pt x="332" y="0"/>
                </a:lnTo>
                <a:close/>
                <a:moveTo>
                  <a:pt x="338" y="0"/>
                </a:moveTo>
                <a:lnTo>
                  <a:pt x="335" y="3"/>
                </a:lnTo>
                <a:lnTo>
                  <a:pt x="335" y="3"/>
                </a:lnTo>
                <a:lnTo>
                  <a:pt x="338" y="3"/>
                </a:lnTo>
                <a:lnTo>
                  <a:pt x="338" y="0"/>
                </a:lnTo>
                <a:lnTo>
                  <a:pt x="338" y="0"/>
                </a:lnTo>
                <a:lnTo>
                  <a:pt x="338" y="0"/>
                </a:lnTo>
                <a:close/>
                <a:moveTo>
                  <a:pt x="228" y="103"/>
                </a:moveTo>
                <a:lnTo>
                  <a:pt x="225" y="103"/>
                </a:lnTo>
                <a:lnTo>
                  <a:pt x="228" y="100"/>
                </a:lnTo>
                <a:lnTo>
                  <a:pt x="228" y="103"/>
                </a:lnTo>
                <a:lnTo>
                  <a:pt x="228" y="103"/>
                </a:lnTo>
                <a:close/>
                <a:moveTo>
                  <a:pt x="232" y="100"/>
                </a:moveTo>
                <a:lnTo>
                  <a:pt x="228" y="103"/>
                </a:lnTo>
                <a:lnTo>
                  <a:pt x="228" y="100"/>
                </a:lnTo>
                <a:lnTo>
                  <a:pt x="228" y="100"/>
                </a:lnTo>
                <a:lnTo>
                  <a:pt x="232" y="100"/>
                </a:lnTo>
                <a:lnTo>
                  <a:pt x="232" y="100"/>
                </a:lnTo>
                <a:close/>
                <a:moveTo>
                  <a:pt x="235" y="93"/>
                </a:moveTo>
                <a:lnTo>
                  <a:pt x="235" y="100"/>
                </a:lnTo>
                <a:lnTo>
                  <a:pt x="232" y="100"/>
                </a:lnTo>
                <a:lnTo>
                  <a:pt x="228" y="97"/>
                </a:lnTo>
                <a:lnTo>
                  <a:pt x="228" y="97"/>
                </a:lnTo>
                <a:lnTo>
                  <a:pt x="232" y="97"/>
                </a:lnTo>
                <a:lnTo>
                  <a:pt x="232" y="97"/>
                </a:lnTo>
                <a:lnTo>
                  <a:pt x="235" y="93"/>
                </a:lnTo>
                <a:lnTo>
                  <a:pt x="235" y="93"/>
                </a:lnTo>
                <a:close/>
                <a:moveTo>
                  <a:pt x="3" y="18"/>
                </a:moveTo>
                <a:lnTo>
                  <a:pt x="3" y="12"/>
                </a:lnTo>
                <a:lnTo>
                  <a:pt x="7" y="9"/>
                </a:lnTo>
                <a:lnTo>
                  <a:pt x="10" y="12"/>
                </a:lnTo>
                <a:lnTo>
                  <a:pt x="16" y="15"/>
                </a:lnTo>
                <a:lnTo>
                  <a:pt x="16" y="18"/>
                </a:lnTo>
                <a:lnTo>
                  <a:pt x="19" y="18"/>
                </a:lnTo>
                <a:lnTo>
                  <a:pt x="22" y="18"/>
                </a:lnTo>
                <a:lnTo>
                  <a:pt x="22" y="25"/>
                </a:lnTo>
                <a:lnTo>
                  <a:pt x="19" y="28"/>
                </a:lnTo>
                <a:lnTo>
                  <a:pt x="19" y="31"/>
                </a:lnTo>
                <a:lnTo>
                  <a:pt x="25" y="31"/>
                </a:lnTo>
                <a:lnTo>
                  <a:pt x="28" y="28"/>
                </a:lnTo>
                <a:lnTo>
                  <a:pt x="32" y="28"/>
                </a:lnTo>
                <a:lnTo>
                  <a:pt x="35" y="31"/>
                </a:lnTo>
                <a:lnTo>
                  <a:pt x="38" y="28"/>
                </a:lnTo>
                <a:lnTo>
                  <a:pt x="38" y="25"/>
                </a:lnTo>
                <a:lnTo>
                  <a:pt x="38" y="25"/>
                </a:lnTo>
                <a:lnTo>
                  <a:pt x="38" y="25"/>
                </a:lnTo>
                <a:lnTo>
                  <a:pt x="41" y="25"/>
                </a:lnTo>
                <a:lnTo>
                  <a:pt x="44" y="21"/>
                </a:lnTo>
                <a:lnTo>
                  <a:pt x="44" y="21"/>
                </a:lnTo>
                <a:lnTo>
                  <a:pt x="47" y="28"/>
                </a:lnTo>
                <a:lnTo>
                  <a:pt x="63" y="40"/>
                </a:lnTo>
                <a:lnTo>
                  <a:pt x="66" y="50"/>
                </a:lnTo>
                <a:lnTo>
                  <a:pt x="69" y="56"/>
                </a:lnTo>
                <a:lnTo>
                  <a:pt x="66" y="59"/>
                </a:lnTo>
                <a:lnTo>
                  <a:pt x="69" y="68"/>
                </a:lnTo>
                <a:lnTo>
                  <a:pt x="66" y="68"/>
                </a:lnTo>
                <a:lnTo>
                  <a:pt x="66" y="71"/>
                </a:lnTo>
                <a:lnTo>
                  <a:pt x="69" y="75"/>
                </a:lnTo>
                <a:lnTo>
                  <a:pt x="69" y="84"/>
                </a:lnTo>
                <a:lnTo>
                  <a:pt x="72" y="90"/>
                </a:lnTo>
                <a:lnTo>
                  <a:pt x="75" y="93"/>
                </a:lnTo>
                <a:lnTo>
                  <a:pt x="78" y="93"/>
                </a:lnTo>
                <a:lnTo>
                  <a:pt x="78" y="97"/>
                </a:lnTo>
                <a:lnTo>
                  <a:pt x="78" y="97"/>
                </a:lnTo>
                <a:lnTo>
                  <a:pt x="78" y="103"/>
                </a:lnTo>
                <a:lnTo>
                  <a:pt x="82" y="106"/>
                </a:lnTo>
                <a:lnTo>
                  <a:pt x="82" y="106"/>
                </a:lnTo>
                <a:lnTo>
                  <a:pt x="82" y="106"/>
                </a:lnTo>
                <a:lnTo>
                  <a:pt x="82" y="109"/>
                </a:lnTo>
                <a:lnTo>
                  <a:pt x="88" y="115"/>
                </a:lnTo>
                <a:lnTo>
                  <a:pt x="88" y="122"/>
                </a:lnTo>
                <a:lnTo>
                  <a:pt x="85" y="122"/>
                </a:lnTo>
                <a:lnTo>
                  <a:pt x="85" y="118"/>
                </a:lnTo>
                <a:lnTo>
                  <a:pt x="85" y="118"/>
                </a:lnTo>
                <a:lnTo>
                  <a:pt x="82" y="115"/>
                </a:lnTo>
                <a:lnTo>
                  <a:pt x="82" y="115"/>
                </a:lnTo>
                <a:lnTo>
                  <a:pt x="82" y="118"/>
                </a:lnTo>
                <a:lnTo>
                  <a:pt x="82" y="118"/>
                </a:lnTo>
                <a:lnTo>
                  <a:pt x="82" y="118"/>
                </a:lnTo>
                <a:lnTo>
                  <a:pt x="82" y="122"/>
                </a:lnTo>
                <a:lnTo>
                  <a:pt x="78" y="122"/>
                </a:lnTo>
                <a:lnTo>
                  <a:pt x="78" y="122"/>
                </a:lnTo>
                <a:lnTo>
                  <a:pt x="75" y="122"/>
                </a:lnTo>
                <a:lnTo>
                  <a:pt x="72" y="122"/>
                </a:lnTo>
                <a:lnTo>
                  <a:pt x="69" y="118"/>
                </a:lnTo>
                <a:lnTo>
                  <a:pt x="63" y="115"/>
                </a:lnTo>
                <a:lnTo>
                  <a:pt x="57" y="112"/>
                </a:lnTo>
                <a:lnTo>
                  <a:pt x="53" y="109"/>
                </a:lnTo>
                <a:lnTo>
                  <a:pt x="53" y="109"/>
                </a:lnTo>
                <a:lnTo>
                  <a:pt x="50" y="109"/>
                </a:lnTo>
                <a:lnTo>
                  <a:pt x="47" y="109"/>
                </a:lnTo>
                <a:lnTo>
                  <a:pt x="41" y="103"/>
                </a:lnTo>
                <a:lnTo>
                  <a:pt x="41" y="100"/>
                </a:lnTo>
                <a:lnTo>
                  <a:pt x="38" y="97"/>
                </a:lnTo>
                <a:lnTo>
                  <a:pt x="28" y="93"/>
                </a:lnTo>
                <a:lnTo>
                  <a:pt x="28" y="90"/>
                </a:lnTo>
                <a:lnTo>
                  <a:pt x="28" y="87"/>
                </a:lnTo>
                <a:lnTo>
                  <a:pt x="32" y="84"/>
                </a:lnTo>
                <a:lnTo>
                  <a:pt x="28" y="81"/>
                </a:lnTo>
                <a:lnTo>
                  <a:pt x="25" y="78"/>
                </a:lnTo>
                <a:lnTo>
                  <a:pt x="22" y="75"/>
                </a:lnTo>
                <a:lnTo>
                  <a:pt x="16" y="71"/>
                </a:lnTo>
                <a:lnTo>
                  <a:pt x="13" y="68"/>
                </a:lnTo>
                <a:lnTo>
                  <a:pt x="13" y="65"/>
                </a:lnTo>
                <a:lnTo>
                  <a:pt x="13" y="62"/>
                </a:lnTo>
                <a:lnTo>
                  <a:pt x="10" y="59"/>
                </a:lnTo>
                <a:lnTo>
                  <a:pt x="13" y="56"/>
                </a:lnTo>
                <a:lnTo>
                  <a:pt x="13" y="50"/>
                </a:lnTo>
                <a:lnTo>
                  <a:pt x="10" y="46"/>
                </a:lnTo>
                <a:lnTo>
                  <a:pt x="10" y="40"/>
                </a:lnTo>
                <a:lnTo>
                  <a:pt x="7" y="25"/>
                </a:lnTo>
                <a:lnTo>
                  <a:pt x="3" y="18"/>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0" name="Freeform 28">
            <a:extLst>
              <a:ext uri="{FF2B5EF4-FFF2-40B4-BE49-F238E27FC236}">
                <a16:creationId xmlns:a16="http://schemas.microsoft.com/office/drawing/2014/main" id="{A9BA29C8-B3F5-FF8E-C2B3-D6A79D1980CF}"/>
              </a:ext>
            </a:extLst>
          </p:cNvPr>
          <p:cNvSpPr>
            <a:spLocks noEditPoints="1"/>
          </p:cNvSpPr>
          <p:nvPr userDrawn="1"/>
        </p:nvSpPr>
        <p:spPr bwMode="auto">
          <a:xfrm>
            <a:off x="20312324" y="9067085"/>
            <a:ext cx="79371" cy="60326"/>
          </a:xfrm>
          <a:custGeom>
            <a:avLst/>
            <a:gdLst>
              <a:gd name="T0" fmla="*/ 0 w 25"/>
              <a:gd name="T1" fmla="*/ 7 h 19"/>
              <a:gd name="T2" fmla="*/ 4 w 25"/>
              <a:gd name="T3" fmla="*/ 10 h 19"/>
              <a:gd name="T4" fmla="*/ 7 w 25"/>
              <a:gd name="T5" fmla="*/ 10 h 19"/>
              <a:gd name="T6" fmla="*/ 10 w 25"/>
              <a:gd name="T7" fmla="*/ 16 h 19"/>
              <a:gd name="T8" fmla="*/ 13 w 25"/>
              <a:gd name="T9" fmla="*/ 19 h 19"/>
              <a:gd name="T10" fmla="*/ 16 w 25"/>
              <a:gd name="T11" fmla="*/ 16 h 19"/>
              <a:gd name="T12" fmla="*/ 13 w 25"/>
              <a:gd name="T13" fmla="*/ 10 h 19"/>
              <a:gd name="T14" fmla="*/ 16 w 25"/>
              <a:gd name="T15" fmla="*/ 7 h 19"/>
              <a:gd name="T16" fmla="*/ 19 w 25"/>
              <a:gd name="T17" fmla="*/ 7 h 19"/>
              <a:gd name="T18" fmla="*/ 19 w 25"/>
              <a:gd name="T19" fmla="*/ 4 h 19"/>
              <a:gd name="T20" fmla="*/ 16 w 25"/>
              <a:gd name="T21" fmla="*/ 0 h 19"/>
              <a:gd name="T22" fmla="*/ 13 w 25"/>
              <a:gd name="T23" fmla="*/ 0 h 19"/>
              <a:gd name="T24" fmla="*/ 10 w 25"/>
              <a:gd name="T25" fmla="*/ 4 h 19"/>
              <a:gd name="T26" fmla="*/ 0 w 25"/>
              <a:gd name="T27" fmla="*/ 7 h 19"/>
              <a:gd name="T28" fmla="*/ 0 w 25"/>
              <a:gd name="T29" fmla="*/ 7 h 19"/>
              <a:gd name="T30" fmla="*/ 0 w 25"/>
              <a:gd name="T31" fmla="*/ 7 h 19"/>
              <a:gd name="T32" fmla="*/ 19 w 25"/>
              <a:gd name="T33" fmla="*/ 7 h 19"/>
              <a:gd name="T34" fmla="*/ 19 w 25"/>
              <a:gd name="T35" fmla="*/ 10 h 19"/>
              <a:gd name="T36" fmla="*/ 19 w 25"/>
              <a:gd name="T37" fmla="*/ 13 h 19"/>
              <a:gd name="T38" fmla="*/ 22 w 25"/>
              <a:gd name="T39" fmla="*/ 16 h 19"/>
              <a:gd name="T40" fmla="*/ 25 w 25"/>
              <a:gd name="T41" fmla="*/ 13 h 19"/>
              <a:gd name="T42" fmla="*/ 22 w 25"/>
              <a:gd name="T43" fmla="*/ 7 h 19"/>
              <a:gd name="T44" fmla="*/ 22 w 25"/>
              <a:gd name="T45" fmla="*/ 4 h 19"/>
              <a:gd name="T46" fmla="*/ 19 w 25"/>
              <a:gd name="T47" fmla="*/ 7 h 19"/>
              <a:gd name="T48" fmla="*/ 19 w 25"/>
              <a:gd name="T49"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19">
                <a:moveTo>
                  <a:pt x="0" y="7"/>
                </a:moveTo>
                <a:lnTo>
                  <a:pt x="4" y="10"/>
                </a:lnTo>
                <a:lnTo>
                  <a:pt x="7" y="10"/>
                </a:lnTo>
                <a:lnTo>
                  <a:pt x="10" y="16"/>
                </a:lnTo>
                <a:lnTo>
                  <a:pt x="13" y="19"/>
                </a:lnTo>
                <a:lnTo>
                  <a:pt x="16" y="16"/>
                </a:lnTo>
                <a:lnTo>
                  <a:pt x="13" y="10"/>
                </a:lnTo>
                <a:lnTo>
                  <a:pt x="16" y="7"/>
                </a:lnTo>
                <a:lnTo>
                  <a:pt x="19" y="7"/>
                </a:lnTo>
                <a:lnTo>
                  <a:pt x="19" y="4"/>
                </a:lnTo>
                <a:lnTo>
                  <a:pt x="16" y="0"/>
                </a:lnTo>
                <a:lnTo>
                  <a:pt x="13" y="0"/>
                </a:lnTo>
                <a:lnTo>
                  <a:pt x="10" y="4"/>
                </a:lnTo>
                <a:lnTo>
                  <a:pt x="0" y="7"/>
                </a:lnTo>
                <a:lnTo>
                  <a:pt x="0" y="7"/>
                </a:lnTo>
                <a:lnTo>
                  <a:pt x="0" y="7"/>
                </a:lnTo>
                <a:close/>
                <a:moveTo>
                  <a:pt x="19" y="7"/>
                </a:moveTo>
                <a:lnTo>
                  <a:pt x="19" y="10"/>
                </a:lnTo>
                <a:lnTo>
                  <a:pt x="19" y="13"/>
                </a:lnTo>
                <a:lnTo>
                  <a:pt x="22" y="16"/>
                </a:lnTo>
                <a:lnTo>
                  <a:pt x="25" y="13"/>
                </a:lnTo>
                <a:lnTo>
                  <a:pt x="22" y="7"/>
                </a:lnTo>
                <a:lnTo>
                  <a:pt x="22" y="4"/>
                </a:lnTo>
                <a:lnTo>
                  <a:pt x="19" y="7"/>
                </a:lnTo>
                <a:lnTo>
                  <a:pt x="19" y="7"/>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1" name="Freeform 29">
            <a:extLst>
              <a:ext uri="{FF2B5EF4-FFF2-40B4-BE49-F238E27FC236}">
                <a16:creationId xmlns:a16="http://schemas.microsoft.com/office/drawing/2014/main" id="{2FF733F3-75A2-2CF4-86FD-B99CCF367FE6}"/>
              </a:ext>
            </a:extLst>
          </p:cNvPr>
          <p:cNvSpPr>
            <a:spLocks noEditPoints="1"/>
          </p:cNvSpPr>
          <p:nvPr userDrawn="1"/>
        </p:nvSpPr>
        <p:spPr bwMode="auto">
          <a:xfrm>
            <a:off x="19490055" y="7838359"/>
            <a:ext cx="504793" cy="1003302"/>
          </a:xfrm>
          <a:custGeom>
            <a:avLst/>
            <a:gdLst>
              <a:gd name="T0" fmla="*/ 6 w 159"/>
              <a:gd name="T1" fmla="*/ 15 h 316"/>
              <a:gd name="T2" fmla="*/ 16 w 159"/>
              <a:gd name="T3" fmla="*/ 18 h 316"/>
              <a:gd name="T4" fmla="*/ 28 w 159"/>
              <a:gd name="T5" fmla="*/ 15 h 316"/>
              <a:gd name="T6" fmla="*/ 44 w 159"/>
              <a:gd name="T7" fmla="*/ 12 h 316"/>
              <a:gd name="T8" fmla="*/ 59 w 159"/>
              <a:gd name="T9" fmla="*/ 0 h 316"/>
              <a:gd name="T10" fmla="*/ 81 w 159"/>
              <a:gd name="T11" fmla="*/ 9 h 316"/>
              <a:gd name="T12" fmla="*/ 88 w 159"/>
              <a:gd name="T13" fmla="*/ 15 h 316"/>
              <a:gd name="T14" fmla="*/ 97 w 159"/>
              <a:gd name="T15" fmla="*/ 34 h 316"/>
              <a:gd name="T16" fmla="*/ 113 w 159"/>
              <a:gd name="T17" fmla="*/ 37 h 316"/>
              <a:gd name="T18" fmla="*/ 113 w 159"/>
              <a:gd name="T19" fmla="*/ 43 h 316"/>
              <a:gd name="T20" fmla="*/ 100 w 159"/>
              <a:gd name="T21" fmla="*/ 46 h 316"/>
              <a:gd name="T22" fmla="*/ 94 w 159"/>
              <a:gd name="T23" fmla="*/ 53 h 316"/>
              <a:gd name="T24" fmla="*/ 88 w 159"/>
              <a:gd name="T25" fmla="*/ 56 h 316"/>
              <a:gd name="T26" fmla="*/ 88 w 159"/>
              <a:gd name="T27" fmla="*/ 65 h 316"/>
              <a:gd name="T28" fmla="*/ 78 w 159"/>
              <a:gd name="T29" fmla="*/ 75 h 316"/>
              <a:gd name="T30" fmla="*/ 75 w 159"/>
              <a:gd name="T31" fmla="*/ 81 h 316"/>
              <a:gd name="T32" fmla="*/ 72 w 159"/>
              <a:gd name="T33" fmla="*/ 97 h 316"/>
              <a:gd name="T34" fmla="*/ 81 w 159"/>
              <a:gd name="T35" fmla="*/ 106 h 316"/>
              <a:gd name="T36" fmla="*/ 91 w 159"/>
              <a:gd name="T37" fmla="*/ 118 h 316"/>
              <a:gd name="T38" fmla="*/ 106 w 159"/>
              <a:gd name="T39" fmla="*/ 137 h 316"/>
              <a:gd name="T40" fmla="*/ 141 w 159"/>
              <a:gd name="T41" fmla="*/ 165 h 316"/>
              <a:gd name="T42" fmla="*/ 147 w 159"/>
              <a:gd name="T43" fmla="*/ 178 h 316"/>
              <a:gd name="T44" fmla="*/ 150 w 159"/>
              <a:gd name="T45" fmla="*/ 194 h 316"/>
              <a:gd name="T46" fmla="*/ 156 w 159"/>
              <a:gd name="T47" fmla="*/ 209 h 316"/>
              <a:gd name="T48" fmla="*/ 159 w 159"/>
              <a:gd name="T49" fmla="*/ 222 h 316"/>
              <a:gd name="T50" fmla="*/ 159 w 159"/>
              <a:gd name="T51" fmla="*/ 225 h 316"/>
              <a:gd name="T52" fmla="*/ 156 w 159"/>
              <a:gd name="T53" fmla="*/ 234 h 316"/>
              <a:gd name="T54" fmla="*/ 156 w 159"/>
              <a:gd name="T55" fmla="*/ 250 h 316"/>
              <a:gd name="T56" fmla="*/ 144 w 159"/>
              <a:gd name="T57" fmla="*/ 262 h 316"/>
              <a:gd name="T58" fmla="*/ 131 w 159"/>
              <a:gd name="T59" fmla="*/ 272 h 316"/>
              <a:gd name="T60" fmla="*/ 109 w 159"/>
              <a:gd name="T61" fmla="*/ 278 h 316"/>
              <a:gd name="T62" fmla="*/ 106 w 159"/>
              <a:gd name="T63" fmla="*/ 275 h 316"/>
              <a:gd name="T64" fmla="*/ 109 w 159"/>
              <a:gd name="T65" fmla="*/ 281 h 316"/>
              <a:gd name="T66" fmla="*/ 106 w 159"/>
              <a:gd name="T67" fmla="*/ 287 h 316"/>
              <a:gd name="T68" fmla="*/ 97 w 159"/>
              <a:gd name="T69" fmla="*/ 290 h 316"/>
              <a:gd name="T70" fmla="*/ 97 w 159"/>
              <a:gd name="T71" fmla="*/ 297 h 316"/>
              <a:gd name="T72" fmla="*/ 88 w 159"/>
              <a:gd name="T73" fmla="*/ 303 h 316"/>
              <a:gd name="T74" fmla="*/ 75 w 159"/>
              <a:gd name="T75" fmla="*/ 316 h 316"/>
              <a:gd name="T76" fmla="*/ 75 w 159"/>
              <a:gd name="T77" fmla="*/ 309 h 316"/>
              <a:gd name="T78" fmla="*/ 75 w 159"/>
              <a:gd name="T79" fmla="*/ 297 h 316"/>
              <a:gd name="T80" fmla="*/ 81 w 159"/>
              <a:gd name="T81" fmla="*/ 281 h 316"/>
              <a:gd name="T82" fmla="*/ 66 w 159"/>
              <a:gd name="T83" fmla="*/ 281 h 316"/>
              <a:gd name="T84" fmla="*/ 72 w 159"/>
              <a:gd name="T85" fmla="*/ 272 h 316"/>
              <a:gd name="T86" fmla="*/ 94 w 159"/>
              <a:gd name="T87" fmla="*/ 265 h 316"/>
              <a:gd name="T88" fmla="*/ 97 w 159"/>
              <a:gd name="T89" fmla="*/ 259 h 316"/>
              <a:gd name="T90" fmla="*/ 106 w 159"/>
              <a:gd name="T91" fmla="*/ 244 h 316"/>
              <a:gd name="T92" fmla="*/ 122 w 159"/>
              <a:gd name="T93" fmla="*/ 228 h 316"/>
              <a:gd name="T94" fmla="*/ 119 w 159"/>
              <a:gd name="T95" fmla="*/ 200 h 316"/>
              <a:gd name="T96" fmla="*/ 119 w 159"/>
              <a:gd name="T97" fmla="*/ 184 h 316"/>
              <a:gd name="T98" fmla="*/ 119 w 159"/>
              <a:gd name="T99" fmla="*/ 168 h 316"/>
              <a:gd name="T100" fmla="*/ 116 w 159"/>
              <a:gd name="T101" fmla="*/ 156 h 316"/>
              <a:gd name="T102" fmla="*/ 106 w 159"/>
              <a:gd name="T103" fmla="*/ 147 h 316"/>
              <a:gd name="T104" fmla="*/ 94 w 159"/>
              <a:gd name="T105" fmla="*/ 137 h 316"/>
              <a:gd name="T106" fmla="*/ 81 w 159"/>
              <a:gd name="T107" fmla="*/ 122 h 316"/>
              <a:gd name="T108" fmla="*/ 56 w 159"/>
              <a:gd name="T109" fmla="*/ 103 h 316"/>
              <a:gd name="T110" fmla="*/ 47 w 159"/>
              <a:gd name="T111" fmla="*/ 90 h 316"/>
              <a:gd name="T112" fmla="*/ 53 w 159"/>
              <a:gd name="T113" fmla="*/ 81 h 316"/>
              <a:gd name="T114" fmla="*/ 56 w 159"/>
              <a:gd name="T115" fmla="*/ 65 h 316"/>
              <a:gd name="T116" fmla="*/ 41 w 159"/>
              <a:gd name="T117" fmla="*/ 53 h 316"/>
              <a:gd name="T118" fmla="*/ 13 w 159"/>
              <a:gd name="T119" fmla="*/ 40 h 316"/>
              <a:gd name="T120" fmla="*/ 0 w 159"/>
              <a:gd name="T121" fmla="*/ 25 h 316"/>
              <a:gd name="T122" fmla="*/ 53 w 159"/>
              <a:gd name="T123" fmla="*/ 281 h 316"/>
              <a:gd name="T124" fmla="*/ 56 w 159"/>
              <a:gd name="T125" fmla="*/ 275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9" h="316">
                <a:moveTo>
                  <a:pt x="0" y="21"/>
                </a:moveTo>
                <a:lnTo>
                  <a:pt x="0" y="18"/>
                </a:lnTo>
                <a:lnTo>
                  <a:pt x="3" y="18"/>
                </a:lnTo>
                <a:lnTo>
                  <a:pt x="3" y="18"/>
                </a:lnTo>
                <a:lnTo>
                  <a:pt x="6" y="15"/>
                </a:lnTo>
                <a:lnTo>
                  <a:pt x="9" y="15"/>
                </a:lnTo>
                <a:lnTo>
                  <a:pt x="13" y="15"/>
                </a:lnTo>
                <a:lnTo>
                  <a:pt x="13" y="18"/>
                </a:lnTo>
                <a:lnTo>
                  <a:pt x="13" y="18"/>
                </a:lnTo>
                <a:lnTo>
                  <a:pt x="16" y="18"/>
                </a:lnTo>
                <a:lnTo>
                  <a:pt x="16" y="15"/>
                </a:lnTo>
                <a:lnTo>
                  <a:pt x="19" y="12"/>
                </a:lnTo>
                <a:lnTo>
                  <a:pt x="25" y="15"/>
                </a:lnTo>
                <a:lnTo>
                  <a:pt x="25" y="15"/>
                </a:lnTo>
                <a:lnTo>
                  <a:pt x="28" y="15"/>
                </a:lnTo>
                <a:lnTo>
                  <a:pt x="28" y="15"/>
                </a:lnTo>
                <a:lnTo>
                  <a:pt x="34" y="15"/>
                </a:lnTo>
                <a:lnTo>
                  <a:pt x="34" y="12"/>
                </a:lnTo>
                <a:lnTo>
                  <a:pt x="38" y="9"/>
                </a:lnTo>
                <a:lnTo>
                  <a:pt x="44" y="12"/>
                </a:lnTo>
                <a:lnTo>
                  <a:pt x="50" y="9"/>
                </a:lnTo>
                <a:lnTo>
                  <a:pt x="50" y="3"/>
                </a:lnTo>
                <a:lnTo>
                  <a:pt x="53" y="3"/>
                </a:lnTo>
                <a:lnTo>
                  <a:pt x="59" y="3"/>
                </a:lnTo>
                <a:lnTo>
                  <a:pt x="59" y="0"/>
                </a:lnTo>
                <a:lnTo>
                  <a:pt x="66" y="3"/>
                </a:lnTo>
                <a:lnTo>
                  <a:pt x="66" y="6"/>
                </a:lnTo>
                <a:lnTo>
                  <a:pt x="69" y="6"/>
                </a:lnTo>
                <a:lnTo>
                  <a:pt x="72" y="9"/>
                </a:lnTo>
                <a:lnTo>
                  <a:pt x="81" y="9"/>
                </a:lnTo>
                <a:lnTo>
                  <a:pt x="81" y="9"/>
                </a:lnTo>
                <a:lnTo>
                  <a:pt x="88" y="9"/>
                </a:lnTo>
                <a:lnTo>
                  <a:pt x="91" y="12"/>
                </a:lnTo>
                <a:lnTo>
                  <a:pt x="91" y="15"/>
                </a:lnTo>
                <a:lnTo>
                  <a:pt x="88" y="15"/>
                </a:lnTo>
                <a:lnTo>
                  <a:pt x="84" y="21"/>
                </a:lnTo>
                <a:lnTo>
                  <a:pt x="88" y="25"/>
                </a:lnTo>
                <a:lnTo>
                  <a:pt x="88" y="28"/>
                </a:lnTo>
                <a:lnTo>
                  <a:pt x="97" y="31"/>
                </a:lnTo>
                <a:lnTo>
                  <a:pt x="97" y="34"/>
                </a:lnTo>
                <a:lnTo>
                  <a:pt x="100" y="34"/>
                </a:lnTo>
                <a:lnTo>
                  <a:pt x="103" y="37"/>
                </a:lnTo>
                <a:lnTo>
                  <a:pt x="109" y="34"/>
                </a:lnTo>
                <a:lnTo>
                  <a:pt x="109" y="37"/>
                </a:lnTo>
                <a:lnTo>
                  <a:pt x="113" y="37"/>
                </a:lnTo>
                <a:lnTo>
                  <a:pt x="116" y="37"/>
                </a:lnTo>
                <a:lnTo>
                  <a:pt x="116" y="37"/>
                </a:lnTo>
                <a:lnTo>
                  <a:pt x="116" y="40"/>
                </a:lnTo>
                <a:lnTo>
                  <a:pt x="116" y="40"/>
                </a:lnTo>
                <a:lnTo>
                  <a:pt x="113" y="43"/>
                </a:lnTo>
                <a:lnTo>
                  <a:pt x="113" y="43"/>
                </a:lnTo>
                <a:lnTo>
                  <a:pt x="109" y="43"/>
                </a:lnTo>
                <a:lnTo>
                  <a:pt x="106" y="43"/>
                </a:lnTo>
                <a:lnTo>
                  <a:pt x="100" y="46"/>
                </a:lnTo>
                <a:lnTo>
                  <a:pt x="100" y="46"/>
                </a:lnTo>
                <a:lnTo>
                  <a:pt x="100" y="50"/>
                </a:lnTo>
                <a:lnTo>
                  <a:pt x="100" y="50"/>
                </a:lnTo>
                <a:lnTo>
                  <a:pt x="97" y="53"/>
                </a:lnTo>
                <a:lnTo>
                  <a:pt x="97" y="50"/>
                </a:lnTo>
                <a:lnTo>
                  <a:pt x="94" y="53"/>
                </a:lnTo>
                <a:lnTo>
                  <a:pt x="91" y="53"/>
                </a:lnTo>
                <a:lnTo>
                  <a:pt x="91" y="53"/>
                </a:lnTo>
                <a:lnTo>
                  <a:pt x="91" y="53"/>
                </a:lnTo>
                <a:lnTo>
                  <a:pt x="88" y="53"/>
                </a:lnTo>
                <a:lnTo>
                  <a:pt x="88" y="56"/>
                </a:lnTo>
                <a:lnTo>
                  <a:pt x="88" y="56"/>
                </a:lnTo>
                <a:lnTo>
                  <a:pt x="88" y="59"/>
                </a:lnTo>
                <a:lnTo>
                  <a:pt x="88" y="62"/>
                </a:lnTo>
                <a:lnTo>
                  <a:pt x="88" y="65"/>
                </a:lnTo>
                <a:lnTo>
                  <a:pt x="88" y="65"/>
                </a:lnTo>
                <a:lnTo>
                  <a:pt x="88" y="68"/>
                </a:lnTo>
                <a:lnTo>
                  <a:pt x="88" y="68"/>
                </a:lnTo>
                <a:lnTo>
                  <a:pt x="84" y="68"/>
                </a:lnTo>
                <a:lnTo>
                  <a:pt x="81" y="75"/>
                </a:lnTo>
                <a:lnTo>
                  <a:pt x="78" y="75"/>
                </a:lnTo>
                <a:lnTo>
                  <a:pt x="78" y="72"/>
                </a:lnTo>
                <a:lnTo>
                  <a:pt x="78" y="75"/>
                </a:lnTo>
                <a:lnTo>
                  <a:pt x="75" y="75"/>
                </a:lnTo>
                <a:lnTo>
                  <a:pt x="75" y="78"/>
                </a:lnTo>
                <a:lnTo>
                  <a:pt x="75" y="81"/>
                </a:lnTo>
                <a:lnTo>
                  <a:pt x="75" y="84"/>
                </a:lnTo>
                <a:lnTo>
                  <a:pt x="75" y="84"/>
                </a:lnTo>
                <a:lnTo>
                  <a:pt x="78" y="87"/>
                </a:lnTo>
                <a:lnTo>
                  <a:pt x="75" y="93"/>
                </a:lnTo>
                <a:lnTo>
                  <a:pt x="72" y="97"/>
                </a:lnTo>
                <a:lnTo>
                  <a:pt x="78" y="100"/>
                </a:lnTo>
                <a:lnTo>
                  <a:pt x="75" y="103"/>
                </a:lnTo>
                <a:lnTo>
                  <a:pt x="72" y="103"/>
                </a:lnTo>
                <a:lnTo>
                  <a:pt x="75" y="103"/>
                </a:lnTo>
                <a:lnTo>
                  <a:pt x="81" y="106"/>
                </a:lnTo>
                <a:lnTo>
                  <a:pt x="88" y="112"/>
                </a:lnTo>
                <a:lnTo>
                  <a:pt x="91" y="112"/>
                </a:lnTo>
                <a:lnTo>
                  <a:pt x="91" y="115"/>
                </a:lnTo>
                <a:lnTo>
                  <a:pt x="91" y="118"/>
                </a:lnTo>
                <a:lnTo>
                  <a:pt x="91" y="118"/>
                </a:lnTo>
                <a:lnTo>
                  <a:pt x="94" y="125"/>
                </a:lnTo>
                <a:lnTo>
                  <a:pt x="94" y="128"/>
                </a:lnTo>
                <a:lnTo>
                  <a:pt x="100" y="134"/>
                </a:lnTo>
                <a:lnTo>
                  <a:pt x="106" y="134"/>
                </a:lnTo>
                <a:lnTo>
                  <a:pt x="106" y="137"/>
                </a:lnTo>
                <a:lnTo>
                  <a:pt x="116" y="143"/>
                </a:lnTo>
                <a:lnTo>
                  <a:pt x="125" y="150"/>
                </a:lnTo>
                <a:lnTo>
                  <a:pt x="128" y="153"/>
                </a:lnTo>
                <a:lnTo>
                  <a:pt x="138" y="159"/>
                </a:lnTo>
                <a:lnTo>
                  <a:pt x="141" y="165"/>
                </a:lnTo>
                <a:lnTo>
                  <a:pt x="141" y="168"/>
                </a:lnTo>
                <a:lnTo>
                  <a:pt x="141" y="168"/>
                </a:lnTo>
                <a:lnTo>
                  <a:pt x="141" y="172"/>
                </a:lnTo>
                <a:lnTo>
                  <a:pt x="147" y="175"/>
                </a:lnTo>
                <a:lnTo>
                  <a:pt x="147" y="178"/>
                </a:lnTo>
                <a:lnTo>
                  <a:pt x="147" y="178"/>
                </a:lnTo>
                <a:lnTo>
                  <a:pt x="147" y="181"/>
                </a:lnTo>
                <a:lnTo>
                  <a:pt x="150" y="184"/>
                </a:lnTo>
                <a:lnTo>
                  <a:pt x="150" y="190"/>
                </a:lnTo>
                <a:lnTo>
                  <a:pt x="150" y="194"/>
                </a:lnTo>
                <a:lnTo>
                  <a:pt x="153" y="200"/>
                </a:lnTo>
                <a:lnTo>
                  <a:pt x="153" y="200"/>
                </a:lnTo>
                <a:lnTo>
                  <a:pt x="153" y="203"/>
                </a:lnTo>
                <a:lnTo>
                  <a:pt x="153" y="206"/>
                </a:lnTo>
                <a:lnTo>
                  <a:pt x="156" y="209"/>
                </a:lnTo>
                <a:lnTo>
                  <a:pt x="153" y="212"/>
                </a:lnTo>
                <a:lnTo>
                  <a:pt x="156" y="215"/>
                </a:lnTo>
                <a:lnTo>
                  <a:pt x="156" y="219"/>
                </a:lnTo>
                <a:lnTo>
                  <a:pt x="156" y="219"/>
                </a:lnTo>
                <a:lnTo>
                  <a:pt x="159" y="222"/>
                </a:lnTo>
                <a:lnTo>
                  <a:pt x="159" y="225"/>
                </a:lnTo>
                <a:lnTo>
                  <a:pt x="159" y="228"/>
                </a:lnTo>
                <a:lnTo>
                  <a:pt x="159" y="228"/>
                </a:lnTo>
                <a:lnTo>
                  <a:pt x="159" y="228"/>
                </a:lnTo>
                <a:lnTo>
                  <a:pt x="159" y="225"/>
                </a:lnTo>
                <a:lnTo>
                  <a:pt x="156" y="228"/>
                </a:lnTo>
                <a:lnTo>
                  <a:pt x="156" y="231"/>
                </a:lnTo>
                <a:lnTo>
                  <a:pt x="159" y="231"/>
                </a:lnTo>
                <a:lnTo>
                  <a:pt x="159" y="234"/>
                </a:lnTo>
                <a:lnTo>
                  <a:pt x="156" y="234"/>
                </a:lnTo>
                <a:lnTo>
                  <a:pt x="156" y="237"/>
                </a:lnTo>
                <a:lnTo>
                  <a:pt x="153" y="240"/>
                </a:lnTo>
                <a:lnTo>
                  <a:pt x="156" y="244"/>
                </a:lnTo>
                <a:lnTo>
                  <a:pt x="153" y="247"/>
                </a:lnTo>
                <a:lnTo>
                  <a:pt x="156" y="250"/>
                </a:lnTo>
                <a:lnTo>
                  <a:pt x="153" y="250"/>
                </a:lnTo>
                <a:lnTo>
                  <a:pt x="150" y="253"/>
                </a:lnTo>
                <a:lnTo>
                  <a:pt x="150" y="256"/>
                </a:lnTo>
                <a:lnTo>
                  <a:pt x="147" y="259"/>
                </a:lnTo>
                <a:lnTo>
                  <a:pt x="144" y="262"/>
                </a:lnTo>
                <a:lnTo>
                  <a:pt x="141" y="262"/>
                </a:lnTo>
                <a:lnTo>
                  <a:pt x="138" y="265"/>
                </a:lnTo>
                <a:lnTo>
                  <a:pt x="138" y="269"/>
                </a:lnTo>
                <a:lnTo>
                  <a:pt x="131" y="269"/>
                </a:lnTo>
                <a:lnTo>
                  <a:pt x="131" y="272"/>
                </a:lnTo>
                <a:lnTo>
                  <a:pt x="122" y="278"/>
                </a:lnTo>
                <a:lnTo>
                  <a:pt x="116" y="278"/>
                </a:lnTo>
                <a:lnTo>
                  <a:pt x="116" y="278"/>
                </a:lnTo>
                <a:lnTo>
                  <a:pt x="109" y="278"/>
                </a:lnTo>
                <a:lnTo>
                  <a:pt x="109" y="278"/>
                </a:lnTo>
                <a:lnTo>
                  <a:pt x="109" y="275"/>
                </a:lnTo>
                <a:lnTo>
                  <a:pt x="109" y="272"/>
                </a:lnTo>
                <a:lnTo>
                  <a:pt x="109" y="275"/>
                </a:lnTo>
                <a:lnTo>
                  <a:pt x="109" y="275"/>
                </a:lnTo>
                <a:lnTo>
                  <a:pt x="106" y="275"/>
                </a:lnTo>
                <a:lnTo>
                  <a:pt x="109" y="278"/>
                </a:lnTo>
                <a:lnTo>
                  <a:pt x="109" y="278"/>
                </a:lnTo>
                <a:lnTo>
                  <a:pt x="106" y="278"/>
                </a:lnTo>
                <a:lnTo>
                  <a:pt x="103" y="278"/>
                </a:lnTo>
                <a:lnTo>
                  <a:pt x="109" y="281"/>
                </a:lnTo>
                <a:lnTo>
                  <a:pt x="106" y="281"/>
                </a:lnTo>
                <a:lnTo>
                  <a:pt x="109" y="284"/>
                </a:lnTo>
                <a:lnTo>
                  <a:pt x="106" y="287"/>
                </a:lnTo>
                <a:lnTo>
                  <a:pt x="103" y="284"/>
                </a:lnTo>
                <a:lnTo>
                  <a:pt x="106" y="287"/>
                </a:lnTo>
                <a:lnTo>
                  <a:pt x="106" y="290"/>
                </a:lnTo>
                <a:lnTo>
                  <a:pt x="103" y="290"/>
                </a:lnTo>
                <a:lnTo>
                  <a:pt x="103" y="290"/>
                </a:lnTo>
                <a:lnTo>
                  <a:pt x="100" y="287"/>
                </a:lnTo>
                <a:lnTo>
                  <a:pt x="97" y="290"/>
                </a:lnTo>
                <a:lnTo>
                  <a:pt x="100" y="294"/>
                </a:lnTo>
                <a:lnTo>
                  <a:pt x="100" y="294"/>
                </a:lnTo>
                <a:lnTo>
                  <a:pt x="100" y="294"/>
                </a:lnTo>
                <a:lnTo>
                  <a:pt x="97" y="297"/>
                </a:lnTo>
                <a:lnTo>
                  <a:pt x="97" y="297"/>
                </a:lnTo>
                <a:lnTo>
                  <a:pt x="97" y="297"/>
                </a:lnTo>
                <a:lnTo>
                  <a:pt x="91" y="300"/>
                </a:lnTo>
                <a:lnTo>
                  <a:pt x="91" y="300"/>
                </a:lnTo>
                <a:lnTo>
                  <a:pt x="88" y="300"/>
                </a:lnTo>
                <a:lnTo>
                  <a:pt x="88" y="303"/>
                </a:lnTo>
                <a:lnTo>
                  <a:pt x="88" y="306"/>
                </a:lnTo>
                <a:lnTo>
                  <a:pt x="84" y="309"/>
                </a:lnTo>
                <a:lnTo>
                  <a:pt x="81" y="309"/>
                </a:lnTo>
                <a:lnTo>
                  <a:pt x="81" y="309"/>
                </a:lnTo>
                <a:lnTo>
                  <a:pt x="75" y="316"/>
                </a:lnTo>
                <a:lnTo>
                  <a:pt x="69" y="312"/>
                </a:lnTo>
                <a:lnTo>
                  <a:pt x="72" y="312"/>
                </a:lnTo>
                <a:lnTo>
                  <a:pt x="75" y="309"/>
                </a:lnTo>
                <a:lnTo>
                  <a:pt x="78" y="309"/>
                </a:lnTo>
                <a:lnTo>
                  <a:pt x="75" y="309"/>
                </a:lnTo>
                <a:lnTo>
                  <a:pt x="72" y="306"/>
                </a:lnTo>
                <a:lnTo>
                  <a:pt x="75" y="300"/>
                </a:lnTo>
                <a:lnTo>
                  <a:pt x="75" y="300"/>
                </a:lnTo>
                <a:lnTo>
                  <a:pt x="72" y="300"/>
                </a:lnTo>
                <a:lnTo>
                  <a:pt x="75" y="297"/>
                </a:lnTo>
                <a:lnTo>
                  <a:pt x="72" y="290"/>
                </a:lnTo>
                <a:lnTo>
                  <a:pt x="75" y="287"/>
                </a:lnTo>
                <a:lnTo>
                  <a:pt x="81" y="281"/>
                </a:lnTo>
                <a:lnTo>
                  <a:pt x="84" y="281"/>
                </a:lnTo>
                <a:lnTo>
                  <a:pt x="81" y="281"/>
                </a:lnTo>
                <a:lnTo>
                  <a:pt x="75" y="281"/>
                </a:lnTo>
                <a:lnTo>
                  <a:pt x="75" y="281"/>
                </a:lnTo>
                <a:lnTo>
                  <a:pt x="72" y="281"/>
                </a:lnTo>
                <a:lnTo>
                  <a:pt x="69" y="281"/>
                </a:lnTo>
                <a:lnTo>
                  <a:pt x="66" y="281"/>
                </a:lnTo>
                <a:lnTo>
                  <a:pt x="66" y="281"/>
                </a:lnTo>
                <a:lnTo>
                  <a:pt x="66" y="278"/>
                </a:lnTo>
                <a:lnTo>
                  <a:pt x="66" y="275"/>
                </a:lnTo>
                <a:lnTo>
                  <a:pt x="69" y="272"/>
                </a:lnTo>
                <a:lnTo>
                  <a:pt x="72" y="272"/>
                </a:lnTo>
                <a:lnTo>
                  <a:pt x="75" y="265"/>
                </a:lnTo>
                <a:lnTo>
                  <a:pt x="78" y="265"/>
                </a:lnTo>
                <a:lnTo>
                  <a:pt x="81" y="265"/>
                </a:lnTo>
                <a:lnTo>
                  <a:pt x="91" y="265"/>
                </a:lnTo>
                <a:lnTo>
                  <a:pt x="94" y="265"/>
                </a:lnTo>
                <a:lnTo>
                  <a:pt x="97" y="269"/>
                </a:lnTo>
                <a:lnTo>
                  <a:pt x="103" y="269"/>
                </a:lnTo>
                <a:lnTo>
                  <a:pt x="100" y="265"/>
                </a:lnTo>
                <a:lnTo>
                  <a:pt x="100" y="262"/>
                </a:lnTo>
                <a:lnTo>
                  <a:pt x="97" y="259"/>
                </a:lnTo>
                <a:lnTo>
                  <a:pt x="94" y="256"/>
                </a:lnTo>
                <a:lnTo>
                  <a:pt x="91" y="250"/>
                </a:lnTo>
                <a:lnTo>
                  <a:pt x="97" y="247"/>
                </a:lnTo>
                <a:lnTo>
                  <a:pt x="103" y="247"/>
                </a:lnTo>
                <a:lnTo>
                  <a:pt x="106" y="244"/>
                </a:lnTo>
                <a:lnTo>
                  <a:pt x="109" y="240"/>
                </a:lnTo>
                <a:lnTo>
                  <a:pt x="116" y="237"/>
                </a:lnTo>
                <a:lnTo>
                  <a:pt x="116" y="234"/>
                </a:lnTo>
                <a:lnTo>
                  <a:pt x="119" y="234"/>
                </a:lnTo>
                <a:lnTo>
                  <a:pt x="122" y="228"/>
                </a:lnTo>
                <a:lnTo>
                  <a:pt x="122" y="225"/>
                </a:lnTo>
                <a:lnTo>
                  <a:pt x="125" y="219"/>
                </a:lnTo>
                <a:lnTo>
                  <a:pt x="122" y="215"/>
                </a:lnTo>
                <a:lnTo>
                  <a:pt x="122" y="209"/>
                </a:lnTo>
                <a:lnTo>
                  <a:pt x="119" y="200"/>
                </a:lnTo>
                <a:lnTo>
                  <a:pt x="116" y="200"/>
                </a:lnTo>
                <a:lnTo>
                  <a:pt x="113" y="194"/>
                </a:lnTo>
                <a:lnTo>
                  <a:pt x="116" y="194"/>
                </a:lnTo>
                <a:lnTo>
                  <a:pt x="119" y="190"/>
                </a:lnTo>
                <a:lnTo>
                  <a:pt x="119" y="184"/>
                </a:lnTo>
                <a:lnTo>
                  <a:pt x="116" y="181"/>
                </a:lnTo>
                <a:lnTo>
                  <a:pt x="116" y="178"/>
                </a:lnTo>
                <a:lnTo>
                  <a:pt x="122" y="172"/>
                </a:lnTo>
                <a:lnTo>
                  <a:pt x="122" y="168"/>
                </a:lnTo>
                <a:lnTo>
                  <a:pt x="119" y="168"/>
                </a:lnTo>
                <a:lnTo>
                  <a:pt x="116" y="165"/>
                </a:lnTo>
                <a:lnTo>
                  <a:pt x="116" y="159"/>
                </a:lnTo>
                <a:lnTo>
                  <a:pt x="119" y="156"/>
                </a:lnTo>
                <a:lnTo>
                  <a:pt x="119" y="156"/>
                </a:lnTo>
                <a:lnTo>
                  <a:pt x="116" y="156"/>
                </a:lnTo>
                <a:lnTo>
                  <a:pt x="113" y="156"/>
                </a:lnTo>
                <a:lnTo>
                  <a:pt x="109" y="153"/>
                </a:lnTo>
                <a:lnTo>
                  <a:pt x="106" y="153"/>
                </a:lnTo>
                <a:lnTo>
                  <a:pt x="103" y="150"/>
                </a:lnTo>
                <a:lnTo>
                  <a:pt x="106" y="147"/>
                </a:lnTo>
                <a:lnTo>
                  <a:pt x="103" y="147"/>
                </a:lnTo>
                <a:lnTo>
                  <a:pt x="100" y="147"/>
                </a:lnTo>
                <a:lnTo>
                  <a:pt x="97" y="143"/>
                </a:lnTo>
                <a:lnTo>
                  <a:pt x="97" y="140"/>
                </a:lnTo>
                <a:lnTo>
                  <a:pt x="94" y="137"/>
                </a:lnTo>
                <a:lnTo>
                  <a:pt x="91" y="137"/>
                </a:lnTo>
                <a:lnTo>
                  <a:pt x="88" y="134"/>
                </a:lnTo>
                <a:lnTo>
                  <a:pt x="88" y="131"/>
                </a:lnTo>
                <a:lnTo>
                  <a:pt x="81" y="125"/>
                </a:lnTo>
                <a:lnTo>
                  <a:pt x="81" y="122"/>
                </a:lnTo>
                <a:lnTo>
                  <a:pt x="75" y="115"/>
                </a:lnTo>
                <a:lnTo>
                  <a:pt x="72" y="112"/>
                </a:lnTo>
                <a:lnTo>
                  <a:pt x="66" y="106"/>
                </a:lnTo>
                <a:lnTo>
                  <a:pt x="63" y="106"/>
                </a:lnTo>
                <a:lnTo>
                  <a:pt x="56" y="103"/>
                </a:lnTo>
                <a:lnTo>
                  <a:pt x="50" y="103"/>
                </a:lnTo>
                <a:lnTo>
                  <a:pt x="47" y="97"/>
                </a:lnTo>
                <a:lnTo>
                  <a:pt x="44" y="97"/>
                </a:lnTo>
                <a:lnTo>
                  <a:pt x="44" y="93"/>
                </a:lnTo>
                <a:lnTo>
                  <a:pt x="47" y="90"/>
                </a:lnTo>
                <a:lnTo>
                  <a:pt x="41" y="87"/>
                </a:lnTo>
                <a:lnTo>
                  <a:pt x="41" y="84"/>
                </a:lnTo>
                <a:lnTo>
                  <a:pt x="44" y="84"/>
                </a:lnTo>
                <a:lnTo>
                  <a:pt x="50" y="81"/>
                </a:lnTo>
                <a:lnTo>
                  <a:pt x="53" y="81"/>
                </a:lnTo>
                <a:lnTo>
                  <a:pt x="56" y="78"/>
                </a:lnTo>
                <a:lnTo>
                  <a:pt x="59" y="72"/>
                </a:lnTo>
                <a:lnTo>
                  <a:pt x="59" y="68"/>
                </a:lnTo>
                <a:lnTo>
                  <a:pt x="59" y="65"/>
                </a:lnTo>
                <a:lnTo>
                  <a:pt x="56" y="65"/>
                </a:lnTo>
                <a:lnTo>
                  <a:pt x="56" y="62"/>
                </a:lnTo>
                <a:lnTo>
                  <a:pt x="53" y="59"/>
                </a:lnTo>
                <a:lnTo>
                  <a:pt x="50" y="56"/>
                </a:lnTo>
                <a:lnTo>
                  <a:pt x="47" y="53"/>
                </a:lnTo>
                <a:lnTo>
                  <a:pt x="41" y="53"/>
                </a:lnTo>
                <a:lnTo>
                  <a:pt x="38" y="56"/>
                </a:lnTo>
                <a:lnTo>
                  <a:pt x="31" y="56"/>
                </a:lnTo>
                <a:lnTo>
                  <a:pt x="25" y="56"/>
                </a:lnTo>
                <a:lnTo>
                  <a:pt x="19" y="46"/>
                </a:lnTo>
                <a:lnTo>
                  <a:pt x="13" y="40"/>
                </a:lnTo>
                <a:lnTo>
                  <a:pt x="16" y="37"/>
                </a:lnTo>
                <a:lnTo>
                  <a:pt x="13" y="34"/>
                </a:lnTo>
                <a:lnTo>
                  <a:pt x="9" y="31"/>
                </a:lnTo>
                <a:lnTo>
                  <a:pt x="6" y="25"/>
                </a:lnTo>
                <a:lnTo>
                  <a:pt x="0" y="25"/>
                </a:lnTo>
                <a:lnTo>
                  <a:pt x="0" y="21"/>
                </a:lnTo>
                <a:lnTo>
                  <a:pt x="0" y="21"/>
                </a:lnTo>
                <a:close/>
                <a:moveTo>
                  <a:pt x="53" y="278"/>
                </a:moveTo>
                <a:lnTo>
                  <a:pt x="56" y="281"/>
                </a:lnTo>
                <a:lnTo>
                  <a:pt x="53" y="281"/>
                </a:lnTo>
                <a:lnTo>
                  <a:pt x="56" y="284"/>
                </a:lnTo>
                <a:lnTo>
                  <a:pt x="59" y="284"/>
                </a:lnTo>
                <a:lnTo>
                  <a:pt x="59" y="278"/>
                </a:lnTo>
                <a:lnTo>
                  <a:pt x="59" y="278"/>
                </a:lnTo>
                <a:lnTo>
                  <a:pt x="56" y="275"/>
                </a:lnTo>
                <a:lnTo>
                  <a:pt x="53" y="278"/>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2" name="Freeform 30">
            <a:extLst>
              <a:ext uri="{FF2B5EF4-FFF2-40B4-BE49-F238E27FC236}">
                <a16:creationId xmlns:a16="http://schemas.microsoft.com/office/drawing/2014/main" id="{5B5DC421-4FEA-4078-66DB-AA31031477B4}"/>
              </a:ext>
            </a:extLst>
          </p:cNvPr>
          <p:cNvSpPr>
            <a:spLocks/>
          </p:cNvSpPr>
          <p:nvPr userDrawn="1"/>
        </p:nvSpPr>
        <p:spPr bwMode="auto">
          <a:xfrm>
            <a:off x="19550379" y="8432080"/>
            <a:ext cx="336528" cy="279400"/>
          </a:xfrm>
          <a:custGeom>
            <a:avLst/>
            <a:gdLst>
              <a:gd name="T0" fmla="*/ 50 w 106"/>
              <a:gd name="T1" fmla="*/ 85 h 88"/>
              <a:gd name="T2" fmla="*/ 56 w 106"/>
              <a:gd name="T3" fmla="*/ 78 h 88"/>
              <a:gd name="T4" fmla="*/ 62 w 106"/>
              <a:gd name="T5" fmla="*/ 78 h 88"/>
              <a:gd name="T6" fmla="*/ 75 w 106"/>
              <a:gd name="T7" fmla="*/ 78 h 88"/>
              <a:gd name="T8" fmla="*/ 84 w 106"/>
              <a:gd name="T9" fmla="*/ 82 h 88"/>
              <a:gd name="T10" fmla="*/ 81 w 106"/>
              <a:gd name="T11" fmla="*/ 75 h 88"/>
              <a:gd name="T12" fmla="*/ 75 w 106"/>
              <a:gd name="T13" fmla="*/ 69 h 88"/>
              <a:gd name="T14" fmla="*/ 78 w 106"/>
              <a:gd name="T15" fmla="*/ 60 h 88"/>
              <a:gd name="T16" fmla="*/ 87 w 106"/>
              <a:gd name="T17" fmla="*/ 57 h 88"/>
              <a:gd name="T18" fmla="*/ 97 w 106"/>
              <a:gd name="T19" fmla="*/ 50 h 88"/>
              <a:gd name="T20" fmla="*/ 100 w 106"/>
              <a:gd name="T21" fmla="*/ 47 h 88"/>
              <a:gd name="T22" fmla="*/ 103 w 106"/>
              <a:gd name="T23" fmla="*/ 38 h 88"/>
              <a:gd name="T24" fmla="*/ 103 w 106"/>
              <a:gd name="T25" fmla="*/ 28 h 88"/>
              <a:gd name="T26" fmla="*/ 100 w 106"/>
              <a:gd name="T27" fmla="*/ 13 h 88"/>
              <a:gd name="T28" fmla="*/ 94 w 106"/>
              <a:gd name="T29" fmla="*/ 7 h 88"/>
              <a:gd name="T30" fmla="*/ 87 w 106"/>
              <a:gd name="T31" fmla="*/ 3 h 88"/>
              <a:gd name="T32" fmla="*/ 84 w 106"/>
              <a:gd name="T33" fmla="*/ 0 h 88"/>
              <a:gd name="T34" fmla="*/ 72 w 106"/>
              <a:gd name="T35" fmla="*/ 3 h 88"/>
              <a:gd name="T36" fmla="*/ 78 w 106"/>
              <a:gd name="T37" fmla="*/ 13 h 88"/>
              <a:gd name="T38" fmla="*/ 78 w 106"/>
              <a:gd name="T39" fmla="*/ 19 h 88"/>
              <a:gd name="T40" fmla="*/ 69 w 106"/>
              <a:gd name="T41" fmla="*/ 10 h 88"/>
              <a:gd name="T42" fmla="*/ 59 w 106"/>
              <a:gd name="T43" fmla="*/ 7 h 88"/>
              <a:gd name="T44" fmla="*/ 53 w 106"/>
              <a:gd name="T45" fmla="*/ 7 h 88"/>
              <a:gd name="T46" fmla="*/ 44 w 106"/>
              <a:gd name="T47" fmla="*/ 3 h 88"/>
              <a:gd name="T48" fmla="*/ 37 w 106"/>
              <a:gd name="T49" fmla="*/ 3 h 88"/>
              <a:gd name="T50" fmla="*/ 28 w 106"/>
              <a:gd name="T51" fmla="*/ 3 h 88"/>
              <a:gd name="T52" fmla="*/ 15 w 106"/>
              <a:gd name="T53" fmla="*/ 7 h 88"/>
              <a:gd name="T54" fmla="*/ 6 w 106"/>
              <a:gd name="T55" fmla="*/ 13 h 88"/>
              <a:gd name="T56" fmla="*/ 3 w 106"/>
              <a:gd name="T57" fmla="*/ 22 h 88"/>
              <a:gd name="T58" fmla="*/ 3 w 106"/>
              <a:gd name="T59" fmla="*/ 38 h 88"/>
              <a:gd name="T60" fmla="*/ 9 w 106"/>
              <a:gd name="T61" fmla="*/ 44 h 88"/>
              <a:gd name="T62" fmla="*/ 6 w 106"/>
              <a:gd name="T63" fmla="*/ 53 h 88"/>
              <a:gd name="T64" fmla="*/ 9 w 106"/>
              <a:gd name="T65" fmla="*/ 57 h 88"/>
              <a:gd name="T66" fmla="*/ 12 w 106"/>
              <a:gd name="T67" fmla="*/ 63 h 88"/>
              <a:gd name="T68" fmla="*/ 15 w 106"/>
              <a:gd name="T69" fmla="*/ 69 h 88"/>
              <a:gd name="T70" fmla="*/ 19 w 106"/>
              <a:gd name="T71" fmla="*/ 72 h 88"/>
              <a:gd name="T72" fmla="*/ 19 w 106"/>
              <a:gd name="T73" fmla="*/ 78 h 88"/>
              <a:gd name="T74" fmla="*/ 22 w 106"/>
              <a:gd name="T75" fmla="*/ 82 h 88"/>
              <a:gd name="T76" fmla="*/ 25 w 106"/>
              <a:gd name="T77" fmla="*/ 78 h 88"/>
              <a:gd name="T78" fmla="*/ 31 w 106"/>
              <a:gd name="T79" fmla="*/ 75 h 88"/>
              <a:gd name="T80" fmla="*/ 31 w 106"/>
              <a:gd name="T81" fmla="*/ 78 h 88"/>
              <a:gd name="T82" fmla="*/ 28 w 106"/>
              <a:gd name="T83" fmla="*/ 85 h 88"/>
              <a:gd name="T84" fmla="*/ 31 w 106"/>
              <a:gd name="T85" fmla="*/ 88 h 88"/>
              <a:gd name="T86" fmla="*/ 34 w 106"/>
              <a:gd name="T87" fmla="*/ 85 h 88"/>
              <a:gd name="T88" fmla="*/ 37 w 106"/>
              <a:gd name="T89" fmla="*/ 85 h 88"/>
              <a:gd name="T90" fmla="*/ 44 w 106"/>
              <a:gd name="T91" fmla="*/ 8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88">
                <a:moveTo>
                  <a:pt x="47" y="88"/>
                </a:moveTo>
                <a:lnTo>
                  <a:pt x="50" y="85"/>
                </a:lnTo>
                <a:lnTo>
                  <a:pt x="53" y="85"/>
                </a:lnTo>
                <a:lnTo>
                  <a:pt x="56" y="78"/>
                </a:lnTo>
                <a:lnTo>
                  <a:pt x="59" y="78"/>
                </a:lnTo>
                <a:lnTo>
                  <a:pt x="62" y="78"/>
                </a:lnTo>
                <a:lnTo>
                  <a:pt x="72" y="78"/>
                </a:lnTo>
                <a:lnTo>
                  <a:pt x="75" y="78"/>
                </a:lnTo>
                <a:lnTo>
                  <a:pt x="78" y="82"/>
                </a:lnTo>
                <a:lnTo>
                  <a:pt x="84" y="82"/>
                </a:lnTo>
                <a:lnTo>
                  <a:pt x="81" y="78"/>
                </a:lnTo>
                <a:lnTo>
                  <a:pt x="81" y="75"/>
                </a:lnTo>
                <a:lnTo>
                  <a:pt x="78" y="72"/>
                </a:lnTo>
                <a:lnTo>
                  <a:pt x="75" y="69"/>
                </a:lnTo>
                <a:lnTo>
                  <a:pt x="72" y="63"/>
                </a:lnTo>
                <a:lnTo>
                  <a:pt x="78" y="60"/>
                </a:lnTo>
                <a:lnTo>
                  <a:pt x="84" y="60"/>
                </a:lnTo>
                <a:lnTo>
                  <a:pt x="87" y="57"/>
                </a:lnTo>
                <a:lnTo>
                  <a:pt x="90" y="53"/>
                </a:lnTo>
                <a:lnTo>
                  <a:pt x="97" y="50"/>
                </a:lnTo>
                <a:lnTo>
                  <a:pt x="97" y="47"/>
                </a:lnTo>
                <a:lnTo>
                  <a:pt x="100" y="47"/>
                </a:lnTo>
                <a:lnTo>
                  <a:pt x="103" y="41"/>
                </a:lnTo>
                <a:lnTo>
                  <a:pt x="103" y="38"/>
                </a:lnTo>
                <a:lnTo>
                  <a:pt x="106" y="32"/>
                </a:lnTo>
                <a:lnTo>
                  <a:pt x="103" y="28"/>
                </a:lnTo>
                <a:lnTo>
                  <a:pt x="103" y="22"/>
                </a:lnTo>
                <a:lnTo>
                  <a:pt x="100" y="13"/>
                </a:lnTo>
                <a:lnTo>
                  <a:pt x="97" y="13"/>
                </a:lnTo>
                <a:lnTo>
                  <a:pt x="94" y="7"/>
                </a:lnTo>
                <a:lnTo>
                  <a:pt x="90" y="7"/>
                </a:lnTo>
                <a:lnTo>
                  <a:pt x="87" y="3"/>
                </a:lnTo>
                <a:lnTo>
                  <a:pt x="84" y="3"/>
                </a:lnTo>
                <a:lnTo>
                  <a:pt x="84" y="0"/>
                </a:lnTo>
                <a:lnTo>
                  <a:pt x="78" y="0"/>
                </a:lnTo>
                <a:lnTo>
                  <a:pt x="72" y="3"/>
                </a:lnTo>
                <a:lnTo>
                  <a:pt x="78" y="10"/>
                </a:lnTo>
                <a:lnTo>
                  <a:pt x="78" y="13"/>
                </a:lnTo>
                <a:lnTo>
                  <a:pt x="78" y="16"/>
                </a:lnTo>
                <a:lnTo>
                  <a:pt x="78" y="19"/>
                </a:lnTo>
                <a:lnTo>
                  <a:pt x="72" y="16"/>
                </a:lnTo>
                <a:lnTo>
                  <a:pt x="69" y="10"/>
                </a:lnTo>
                <a:lnTo>
                  <a:pt x="62" y="10"/>
                </a:lnTo>
                <a:lnTo>
                  <a:pt x="59" y="7"/>
                </a:lnTo>
                <a:lnTo>
                  <a:pt x="56" y="3"/>
                </a:lnTo>
                <a:lnTo>
                  <a:pt x="53" y="7"/>
                </a:lnTo>
                <a:lnTo>
                  <a:pt x="50" y="3"/>
                </a:lnTo>
                <a:lnTo>
                  <a:pt x="44" y="3"/>
                </a:lnTo>
                <a:lnTo>
                  <a:pt x="40" y="3"/>
                </a:lnTo>
                <a:lnTo>
                  <a:pt x="37" y="3"/>
                </a:lnTo>
                <a:lnTo>
                  <a:pt x="31" y="3"/>
                </a:lnTo>
                <a:lnTo>
                  <a:pt x="28" y="3"/>
                </a:lnTo>
                <a:lnTo>
                  <a:pt x="25" y="3"/>
                </a:lnTo>
                <a:lnTo>
                  <a:pt x="15" y="7"/>
                </a:lnTo>
                <a:lnTo>
                  <a:pt x="9" y="7"/>
                </a:lnTo>
                <a:lnTo>
                  <a:pt x="6" y="13"/>
                </a:lnTo>
                <a:lnTo>
                  <a:pt x="6" y="16"/>
                </a:lnTo>
                <a:lnTo>
                  <a:pt x="3" y="22"/>
                </a:lnTo>
                <a:lnTo>
                  <a:pt x="0" y="28"/>
                </a:lnTo>
                <a:lnTo>
                  <a:pt x="3" y="38"/>
                </a:lnTo>
                <a:lnTo>
                  <a:pt x="6" y="38"/>
                </a:lnTo>
                <a:lnTo>
                  <a:pt x="9" y="44"/>
                </a:lnTo>
                <a:lnTo>
                  <a:pt x="9" y="50"/>
                </a:lnTo>
                <a:lnTo>
                  <a:pt x="6" y="53"/>
                </a:lnTo>
                <a:lnTo>
                  <a:pt x="6" y="53"/>
                </a:lnTo>
                <a:lnTo>
                  <a:pt x="9" y="57"/>
                </a:lnTo>
                <a:lnTo>
                  <a:pt x="9" y="60"/>
                </a:lnTo>
                <a:lnTo>
                  <a:pt x="12" y="63"/>
                </a:lnTo>
                <a:lnTo>
                  <a:pt x="12" y="66"/>
                </a:lnTo>
                <a:lnTo>
                  <a:pt x="15" y="69"/>
                </a:lnTo>
                <a:lnTo>
                  <a:pt x="19" y="69"/>
                </a:lnTo>
                <a:lnTo>
                  <a:pt x="19" y="72"/>
                </a:lnTo>
                <a:lnTo>
                  <a:pt x="19" y="75"/>
                </a:lnTo>
                <a:lnTo>
                  <a:pt x="19" y="78"/>
                </a:lnTo>
                <a:lnTo>
                  <a:pt x="22" y="82"/>
                </a:lnTo>
                <a:lnTo>
                  <a:pt x="22" y="82"/>
                </a:lnTo>
                <a:lnTo>
                  <a:pt x="25" y="82"/>
                </a:lnTo>
                <a:lnTo>
                  <a:pt x="25" y="78"/>
                </a:lnTo>
                <a:lnTo>
                  <a:pt x="28" y="75"/>
                </a:lnTo>
                <a:lnTo>
                  <a:pt x="31" y="75"/>
                </a:lnTo>
                <a:lnTo>
                  <a:pt x="31" y="75"/>
                </a:lnTo>
                <a:lnTo>
                  <a:pt x="31" y="78"/>
                </a:lnTo>
                <a:lnTo>
                  <a:pt x="31" y="82"/>
                </a:lnTo>
                <a:lnTo>
                  <a:pt x="28" y="85"/>
                </a:lnTo>
                <a:lnTo>
                  <a:pt x="31" y="88"/>
                </a:lnTo>
                <a:lnTo>
                  <a:pt x="31" y="88"/>
                </a:lnTo>
                <a:lnTo>
                  <a:pt x="31" y="88"/>
                </a:lnTo>
                <a:lnTo>
                  <a:pt x="34" y="85"/>
                </a:lnTo>
                <a:lnTo>
                  <a:pt x="34" y="85"/>
                </a:lnTo>
                <a:lnTo>
                  <a:pt x="37" y="85"/>
                </a:lnTo>
                <a:lnTo>
                  <a:pt x="40" y="88"/>
                </a:lnTo>
                <a:lnTo>
                  <a:pt x="44" y="85"/>
                </a:lnTo>
                <a:lnTo>
                  <a:pt x="47" y="88"/>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3" name="Freeform 31">
            <a:extLst>
              <a:ext uri="{FF2B5EF4-FFF2-40B4-BE49-F238E27FC236}">
                <a16:creationId xmlns:a16="http://schemas.microsoft.com/office/drawing/2014/main" id="{B0DA7401-571D-4CFB-428F-412B0AD5D588}"/>
              </a:ext>
            </a:extLst>
          </p:cNvPr>
          <p:cNvSpPr>
            <a:spLocks/>
          </p:cNvSpPr>
          <p:nvPr userDrawn="1"/>
        </p:nvSpPr>
        <p:spPr bwMode="auto">
          <a:xfrm>
            <a:off x="19359887" y="7905032"/>
            <a:ext cx="517492" cy="587376"/>
          </a:xfrm>
          <a:custGeom>
            <a:avLst/>
            <a:gdLst>
              <a:gd name="T0" fmla="*/ 25 w 163"/>
              <a:gd name="T1" fmla="*/ 25 h 185"/>
              <a:gd name="T2" fmla="*/ 32 w 163"/>
              <a:gd name="T3" fmla="*/ 19 h 185"/>
              <a:gd name="T4" fmla="*/ 29 w 163"/>
              <a:gd name="T5" fmla="*/ 4 h 185"/>
              <a:gd name="T6" fmla="*/ 41 w 163"/>
              <a:gd name="T7" fmla="*/ 0 h 185"/>
              <a:gd name="T8" fmla="*/ 50 w 163"/>
              <a:gd name="T9" fmla="*/ 10 h 185"/>
              <a:gd name="T10" fmla="*/ 54 w 163"/>
              <a:gd name="T11" fmla="*/ 19 h 185"/>
              <a:gd name="T12" fmla="*/ 72 w 163"/>
              <a:gd name="T13" fmla="*/ 35 h 185"/>
              <a:gd name="T14" fmla="*/ 88 w 163"/>
              <a:gd name="T15" fmla="*/ 32 h 185"/>
              <a:gd name="T16" fmla="*/ 97 w 163"/>
              <a:gd name="T17" fmla="*/ 41 h 185"/>
              <a:gd name="T18" fmla="*/ 100 w 163"/>
              <a:gd name="T19" fmla="*/ 47 h 185"/>
              <a:gd name="T20" fmla="*/ 94 w 163"/>
              <a:gd name="T21" fmla="*/ 60 h 185"/>
              <a:gd name="T22" fmla="*/ 82 w 163"/>
              <a:gd name="T23" fmla="*/ 63 h 185"/>
              <a:gd name="T24" fmla="*/ 85 w 163"/>
              <a:gd name="T25" fmla="*/ 72 h 185"/>
              <a:gd name="T26" fmla="*/ 91 w 163"/>
              <a:gd name="T27" fmla="*/ 82 h 185"/>
              <a:gd name="T28" fmla="*/ 107 w 163"/>
              <a:gd name="T29" fmla="*/ 85 h 185"/>
              <a:gd name="T30" fmla="*/ 122 w 163"/>
              <a:gd name="T31" fmla="*/ 101 h 185"/>
              <a:gd name="T32" fmla="*/ 129 w 163"/>
              <a:gd name="T33" fmla="*/ 113 h 185"/>
              <a:gd name="T34" fmla="*/ 138 w 163"/>
              <a:gd name="T35" fmla="*/ 119 h 185"/>
              <a:gd name="T36" fmla="*/ 144 w 163"/>
              <a:gd name="T37" fmla="*/ 126 h 185"/>
              <a:gd name="T38" fmla="*/ 147 w 163"/>
              <a:gd name="T39" fmla="*/ 132 h 185"/>
              <a:gd name="T40" fmla="*/ 157 w 163"/>
              <a:gd name="T41" fmla="*/ 135 h 185"/>
              <a:gd name="T42" fmla="*/ 157 w 163"/>
              <a:gd name="T43" fmla="*/ 138 h 185"/>
              <a:gd name="T44" fmla="*/ 163 w 163"/>
              <a:gd name="T45" fmla="*/ 147 h 185"/>
              <a:gd name="T46" fmla="*/ 157 w 163"/>
              <a:gd name="T47" fmla="*/ 160 h 185"/>
              <a:gd name="T48" fmla="*/ 157 w 163"/>
              <a:gd name="T49" fmla="*/ 173 h 185"/>
              <a:gd name="T50" fmla="*/ 144 w 163"/>
              <a:gd name="T51" fmla="*/ 169 h 185"/>
              <a:gd name="T52" fmla="*/ 132 w 163"/>
              <a:gd name="T53" fmla="*/ 169 h 185"/>
              <a:gd name="T54" fmla="*/ 138 w 163"/>
              <a:gd name="T55" fmla="*/ 182 h 185"/>
              <a:gd name="T56" fmla="*/ 129 w 163"/>
              <a:gd name="T57" fmla="*/ 176 h 185"/>
              <a:gd name="T58" fmla="*/ 116 w 163"/>
              <a:gd name="T59" fmla="*/ 169 h 185"/>
              <a:gd name="T60" fmla="*/ 122 w 163"/>
              <a:gd name="T61" fmla="*/ 160 h 185"/>
              <a:gd name="T62" fmla="*/ 122 w 163"/>
              <a:gd name="T63" fmla="*/ 151 h 185"/>
              <a:gd name="T64" fmla="*/ 116 w 163"/>
              <a:gd name="T65" fmla="*/ 141 h 185"/>
              <a:gd name="T66" fmla="*/ 110 w 163"/>
              <a:gd name="T67" fmla="*/ 135 h 185"/>
              <a:gd name="T68" fmla="*/ 104 w 163"/>
              <a:gd name="T69" fmla="*/ 126 h 185"/>
              <a:gd name="T70" fmla="*/ 104 w 163"/>
              <a:gd name="T71" fmla="*/ 113 h 185"/>
              <a:gd name="T72" fmla="*/ 97 w 163"/>
              <a:gd name="T73" fmla="*/ 104 h 185"/>
              <a:gd name="T74" fmla="*/ 79 w 163"/>
              <a:gd name="T75" fmla="*/ 88 h 185"/>
              <a:gd name="T76" fmla="*/ 60 w 163"/>
              <a:gd name="T77" fmla="*/ 101 h 185"/>
              <a:gd name="T78" fmla="*/ 44 w 163"/>
              <a:gd name="T79" fmla="*/ 91 h 185"/>
              <a:gd name="T80" fmla="*/ 32 w 163"/>
              <a:gd name="T81" fmla="*/ 101 h 185"/>
              <a:gd name="T82" fmla="*/ 29 w 163"/>
              <a:gd name="T83" fmla="*/ 85 h 185"/>
              <a:gd name="T84" fmla="*/ 29 w 163"/>
              <a:gd name="T85" fmla="*/ 76 h 185"/>
              <a:gd name="T86" fmla="*/ 29 w 163"/>
              <a:gd name="T87" fmla="*/ 63 h 185"/>
              <a:gd name="T88" fmla="*/ 13 w 163"/>
              <a:gd name="T89" fmla="*/ 63 h 185"/>
              <a:gd name="T90" fmla="*/ 13 w 163"/>
              <a:gd name="T91" fmla="*/ 51 h 185"/>
              <a:gd name="T92" fmla="*/ 0 w 163"/>
              <a:gd name="T93" fmla="*/ 41 h 185"/>
              <a:gd name="T94" fmla="*/ 10 w 163"/>
              <a:gd name="T95" fmla="*/ 35 h 185"/>
              <a:gd name="T96" fmla="*/ 10 w 163"/>
              <a:gd name="T97" fmla="*/ 2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3" h="185">
                <a:moveTo>
                  <a:pt x="19" y="19"/>
                </a:moveTo>
                <a:lnTo>
                  <a:pt x="22" y="22"/>
                </a:lnTo>
                <a:lnTo>
                  <a:pt x="25" y="25"/>
                </a:lnTo>
                <a:lnTo>
                  <a:pt x="29" y="25"/>
                </a:lnTo>
                <a:lnTo>
                  <a:pt x="32" y="25"/>
                </a:lnTo>
                <a:lnTo>
                  <a:pt x="32" y="19"/>
                </a:lnTo>
                <a:lnTo>
                  <a:pt x="32" y="16"/>
                </a:lnTo>
                <a:lnTo>
                  <a:pt x="29" y="10"/>
                </a:lnTo>
                <a:lnTo>
                  <a:pt x="29" y="4"/>
                </a:lnTo>
                <a:lnTo>
                  <a:pt x="32" y="4"/>
                </a:lnTo>
                <a:lnTo>
                  <a:pt x="32" y="0"/>
                </a:lnTo>
                <a:lnTo>
                  <a:pt x="41" y="0"/>
                </a:lnTo>
                <a:lnTo>
                  <a:pt x="41" y="4"/>
                </a:lnTo>
                <a:lnTo>
                  <a:pt x="47" y="4"/>
                </a:lnTo>
                <a:lnTo>
                  <a:pt x="50" y="10"/>
                </a:lnTo>
                <a:lnTo>
                  <a:pt x="54" y="13"/>
                </a:lnTo>
                <a:lnTo>
                  <a:pt x="57" y="16"/>
                </a:lnTo>
                <a:lnTo>
                  <a:pt x="54" y="19"/>
                </a:lnTo>
                <a:lnTo>
                  <a:pt x="60" y="25"/>
                </a:lnTo>
                <a:lnTo>
                  <a:pt x="66" y="35"/>
                </a:lnTo>
                <a:lnTo>
                  <a:pt x="72" y="35"/>
                </a:lnTo>
                <a:lnTo>
                  <a:pt x="79" y="35"/>
                </a:lnTo>
                <a:lnTo>
                  <a:pt x="82" y="32"/>
                </a:lnTo>
                <a:lnTo>
                  <a:pt x="88" y="32"/>
                </a:lnTo>
                <a:lnTo>
                  <a:pt x="91" y="35"/>
                </a:lnTo>
                <a:lnTo>
                  <a:pt x="94" y="38"/>
                </a:lnTo>
                <a:lnTo>
                  <a:pt x="97" y="41"/>
                </a:lnTo>
                <a:lnTo>
                  <a:pt x="97" y="44"/>
                </a:lnTo>
                <a:lnTo>
                  <a:pt x="100" y="44"/>
                </a:lnTo>
                <a:lnTo>
                  <a:pt x="100" y="47"/>
                </a:lnTo>
                <a:lnTo>
                  <a:pt x="100" y="51"/>
                </a:lnTo>
                <a:lnTo>
                  <a:pt x="97" y="57"/>
                </a:lnTo>
                <a:lnTo>
                  <a:pt x="94" y="60"/>
                </a:lnTo>
                <a:lnTo>
                  <a:pt x="91" y="60"/>
                </a:lnTo>
                <a:lnTo>
                  <a:pt x="85" y="63"/>
                </a:lnTo>
                <a:lnTo>
                  <a:pt x="82" y="63"/>
                </a:lnTo>
                <a:lnTo>
                  <a:pt x="82" y="66"/>
                </a:lnTo>
                <a:lnTo>
                  <a:pt x="88" y="69"/>
                </a:lnTo>
                <a:lnTo>
                  <a:pt x="85" y="72"/>
                </a:lnTo>
                <a:lnTo>
                  <a:pt x="85" y="76"/>
                </a:lnTo>
                <a:lnTo>
                  <a:pt x="88" y="76"/>
                </a:lnTo>
                <a:lnTo>
                  <a:pt x="91" y="82"/>
                </a:lnTo>
                <a:lnTo>
                  <a:pt x="97" y="82"/>
                </a:lnTo>
                <a:lnTo>
                  <a:pt x="104" y="85"/>
                </a:lnTo>
                <a:lnTo>
                  <a:pt x="107" y="85"/>
                </a:lnTo>
                <a:lnTo>
                  <a:pt x="113" y="91"/>
                </a:lnTo>
                <a:lnTo>
                  <a:pt x="116" y="94"/>
                </a:lnTo>
                <a:lnTo>
                  <a:pt x="122" y="101"/>
                </a:lnTo>
                <a:lnTo>
                  <a:pt x="122" y="104"/>
                </a:lnTo>
                <a:lnTo>
                  <a:pt x="129" y="110"/>
                </a:lnTo>
                <a:lnTo>
                  <a:pt x="129" y="113"/>
                </a:lnTo>
                <a:lnTo>
                  <a:pt x="132" y="116"/>
                </a:lnTo>
                <a:lnTo>
                  <a:pt x="135" y="116"/>
                </a:lnTo>
                <a:lnTo>
                  <a:pt x="138" y="119"/>
                </a:lnTo>
                <a:lnTo>
                  <a:pt x="138" y="122"/>
                </a:lnTo>
                <a:lnTo>
                  <a:pt x="141" y="126"/>
                </a:lnTo>
                <a:lnTo>
                  <a:pt x="144" y="126"/>
                </a:lnTo>
                <a:lnTo>
                  <a:pt x="147" y="126"/>
                </a:lnTo>
                <a:lnTo>
                  <a:pt x="144" y="129"/>
                </a:lnTo>
                <a:lnTo>
                  <a:pt x="147" y="132"/>
                </a:lnTo>
                <a:lnTo>
                  <a:pt x="150" y="132"/>
                </a:lnTo>
                <a:lnTo>
                  <a:pt x="154" y="135"/>
                </a:lnTo>
                <a:lnTo>
                  <a:pt x="157" y="135"/>
                </a:lnTo>
                <a:lnTo>
                  <a:pt x="160" y="135"/>
                </a:lnTo>
                <a:lnTo>
                  <a:pt x="160" y="135"/>
                </a:lnTo>
                <a:lnTo>
                  <a:pt x="157" y="138"/>
                </a:lnTo>
                <a:lnTo>
                  <a:pt x="157" y="144"/>
                </a:lnTo>
                <a:lnTo>
                  <a:pt x="160" y="147"/>
                </a:lnTo>
                <a:lnTo>
                  <a:pt x="163" y="147"/>
                </a:lnTo>
                <a:lnTo>
                  <a:pt x="163" y="151"/>
                </a:lnTo>
                <a:lnTo>
                  <a:pt x="157" y="157"/>
                </a:lnTo>
                <a:lnTo>
                  <a:pt x="157" y="160"/>
                </a:lnTo>
                <a:lnTo>
                  <a:pt x="160" y="163"/>
                </a:lnTo>
                <a:lnTo>
                  <a:pt x="160" y="169"/>
                </a:lnTo>
                <a:lnTo>
                  <a:pt x="157" y="173"/>
                </a:lnTo>
                <a:lnTo>
                  <a:pt x="150" y="173"/>
                </a:lnTo>
                <a:lnTo>
                  <a:pt x="147" y="169"/>
                </a:lnTo>
                <a:lnTo>
                  <a:pt x="144" y="169"/>
                </a:lnTo>
                <a:lnTo>
                  <a:pt x="144" y="166"/>
                </a:lnTo>
                <a:lnTo>
                  <a:pt x="138" y="166"/>
                </a:lnTo>
                <a:lnTo>
                  <a:pt x="132" y="169"/>
                </a:lnTo>
                <a:lnTo>
                  <a:pt x="138" y="176"/>
                </a:lnTo>
                <a:lnTo>
                  <a:pt x="138" y="179"/>
                </a:lnTo>
                <a:lnTo>
                  <a:pt x="138" y="182"/>
                </a:lnTo>
                <a:lnTo>
                  <a:pt x="138" y="185"/>
                </a:lnTo>
                <a:lnTo>
                  <a:pt x="132" y="182"/>
                </a:lnTo>
                <a:lnTo>
                  <a:pt x="129" y="176"/>
                </a:lnTo>
                <a:lnTo>
                  <a:pt x="122" y="176"/>
                </a:lnTo>
                <a:lnTo>
                  <a:pt x="119" y="173"/>
                </a:lnTo>
                <a:lnTo>
                  <a:pt x="116" y="169"/>
                </a:lnTo>
                <a:lnTo>
                  <a:pt x="119" y="169"/>
                </a:lnTo>
                <a:lnTo>
                  <a:pt x="122" y="166"/>
                </a:lnTo>
                <a:lnTo>
                  <a:pt x="122" y="160"/>
                </a:lnTo>
                <a:lnTo>
                  <a:pt x="119" y="157"/>
                </a:lnTo>
                <a:lnTo>
                  <a:pt x="122" y="154"/>
                </a:lnTo>
                <a:lnTo>
                  <a:pt x="122" y="151"/>
                </a:lnTo>
                <a:lnTo>
                  <a:pt x="122" y="144"/>
                </a:lnTo>
                <a:lnTo>
                  <a:pt x="122" y="144"/>
                </a:lnTo>
                <a:lnTo>
                  <a:pt x="116" y="141"/>
                </a:lnTo>
                <a:lnTo>
                  <a:pt x="116" y="138"/>
                </a:lnTo>
                <a:lnTo>
                  <a:pt x="113" y="135"/>
                </a:lnTo>
                <a:lnTo>
                  <a:pt x="110" y="135"/>
                </a:lnTo>
                <a:lnTo>
                  <a:pt x="107" y="132"/>
                </a:lnTo>
                <a:lnTo>
                  <a:pt x="104" y="129"/>
                </a:lnTo>
                <a:lnTo>
                  <a:pt x="104" y="126"/>
                </a:lnTo>
                <a:lnTo>
                  <a:pt x="104" y="119"/>
                </a:lnTo>
                <a:lnTo>
                  <a:pt x="104" y="116"/>
                </a:lnTo>
                <a:lnTo>
                  <a:pt x="104" y="113"/>
                </a:lnTo>
                <a:lnTo>
                  <a:pt x="104" y="110"/>
                </a:lnTo>
                <a:lnTo>
                  <a:pt x="104" y="107"/>
                </a:lnTo>
                <a:lnTo>
                  <a:pt x="97" y="104"/>
                </a:lnTo>
                <a:lnTo>
                  <a:pt x="88" y="97"/>
                </a:lnTo>
                <a:lnTo>
                  <a:pt x="85" y="91"/>
                </a:lnTo>
                <a:lnTo>
                  <a:pt x="79" y="88"/>
                </a:lnTo>
                <a:lnTo>
                  <a:pt x="69" y="88"/>
                </a:lnTo>
                <a:lnTo>
                  <a:pt x="66" y="97"/>
                </a:lnTo>
                <a:lnTo>
                  <a:pt x="60" y="101"/>
                </a:lnTo>
                <a:lnTo>
                  <a:pt x="54" y="94"/>
                </a:lnTo>
                <a:lnTo>
                  <a:pt x="50" y="94"/>
                </a:lnTo>
                <a:lnTo>
                  <a:pt x="44" y="91"/>
                </a:lnTo>
                <a:lnTo>
                  <a:pt x="38" y="94"/>
                </a:lnTo>
                <a:lnTo>
                  <a:pt x="38" y="97"/>
                </a:lnTo>
                <a:lnTo>
                  <a:pt x="32" y="101"/>
                </a:lnTo>
                <a:lnTo>
                  <a:pt x="29" y="104"/>
                </a:lnTo>
                <a:lnTo>
                  <a:pt x="29" y="91"/>
                </a:lnTo>
                <a:lnTo>
                  <a:pt x="29" y="85"/>
                </a:lnTo>
                <a:lnTo>
                  <a:pt x="25" y="82"/>
                </a:lnTo>
                <a:lnTo>
                  <a:pt x="29" y="79"/>
                </a:lnTo>
                <a:lnTo>
                  <a:pt x="29" y="76"/>
                </a:lnTo>
                <a:lnTo>
                  <a:pt x="25" y="69"/>
                </a:lnTo>
                <a:lnTo>
                  <a:pt x="29" y="66"/>
                </a:lnTo>
                <a:lnTo>
                  <a:pt x="29" y="63"/>
                </a:lnTo>
                <a:lnTo>
                  <a:pt x="19" y="63"/>
                </a:lnTo>
                <a:lnTo>
                  <a:pt x="16" y="66"/>
                </a:lnTo>
                <a:lnTo>
                  <a:pt x="13" y="63"/>
                </a:lnTo>
                <a:lnTo>
                  <a:pt x="10" y="60"/>
                </a:lnTo>
                <a:lnTo>
                  <a:pt x="13" y="57"/>
                </a:lnTo>
                <a:lnTo>
                  <a:pt x="13" y="51"/>
                </a:lnTo>
                <a:lnTo>
                  <a:pt x="10" y="47"/>
                </a:lnTo>
                <a:lnTo>
                  <a:pt x="4" y="47"/>
                </a:lnTo>
                <a:lnTo>
                  <a:pt x="0" y="41"/>
                </a:lnTo>
                <a:lnTo>
                  <a:pt x="4" y="38"/>
                </a:lnTo>
                <a:lnTo>
                  <a:pt x="7" y="38"/>
                </a:lnTo>
                <a:lnTo>
                  <a:pt x="10" y="35"/>
                </a:lnTo>
                <a:lnTo>
                  <a:pt x="10" y="32"/>
                </a:lnTo>
                <a:lnTo>
                  <a:pt x="10" y="29"/>
                </a:lnTo>
                <a:lnTo>
                  <a:pt x="10" y="25"/>
                </a:lnTo>
                <a:lnTo>
                  <a:pt x="16" y="22"/>
                </a:lnTo>
                <a:lnTo>
                  <a:pt x="19" y="19"/>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4" name="Freeform 32">
            <a:extLst>
              <a:ext uri="{FF2B5EF4-FFF2-40B4-BE49-F238E27FC236}">
                <a16:creationId xmlns:a16="http://schemas.microsoft.com/office/drawing/2014/main" id="{1A74BC14-32A2-B748-1B3C-54B1484DF7FB}"/>
              </a:ext>
            </a:extLst>
          </p:cNvPr>
          <p:cNvSpPr>
            <a:spLocks noEditPoints="1"/>
          </p:cNvSpPr>
          <p:nvPr userDrawn="1"/>
        </p:nvSpPr>
        <p:spPr bwMode="auto">
          <a:xfrm>
            <a:off x="19210670" y="8035211"/>
            <a:ext cx="536541" cy="984250"/>
          </a:xfrm>
          <a:custGeom>
            <a:avLst/>
            <a:gdLst>
              <a:gd name="T0" fmla="*/ 19 w 54"/>
              <a:gd name="T1" fmla="*/ 5 h 99"/>
              <a:gd name="T2" fmla="*/ 24 w 54"/>
              <a:gd name="T3" fmla="*/ 7 h 99"/>
              <a:gd name="T4" fmla="*/ 23 w 54"/>
              <a:gd name="T5" fmla="*/ 13 h 99"/>
              <a:gd name="T6" fmla="*/ 27 w 54"/>
              <a:gd name="T7" fmla="*/ 18 h 99"/>
              <a:gd name="T8" fmla="*/ 34 w 54"/>
              <a:gd name="T9" fmla="*/ 19 h 99"/>
              <a:gd name="T10" fmla="*/ 43 w 54"/>
              <a:gd name="T11" fmla="*/ 18 h 99"/>
              <a:gd name="T12" fmla="*/ 48 w 54"/>
              <a:gd name="T13" fmla="*/ 24 h 99"/>
              <a:gd name="T14" fmla="*/ 50 w 54"/>
              <a:gd name="T15" fmla="*/ 30 h 99"/>
              <a:gd name="T16" fmla="*/ 54 w 54"/>
              <a:gd name="T17" fmla="*/ 33 h 99"/>
              <a:gd name="T18" fmla="*/ 54 w 54"/>
              <a:gd name="T19" fmla="*/ 40 h 99"/>
              <a:gd name="T20" fmla="*/ 47 w 54"/>
              <a:gd name="T21" fmla="*/ 41 h 99"/>
              <a:gd name="T22" fmla="*/ 39 w 54"/>
              <a:gd name="T23" fmla="*/ 42 h 99"/>
              <a:gd name="T24" fmla="*/ 34 w 54"/>
              <a:gd name="T25" fmla="*/ 49 h 99"/>
              <a:gd name="T26" fmla="*/ 36 w 54"/>
              <a:gd name="T27" fmla="*/ 57 h 99"/>
              <a:gd name="T28" fmla="*/ 34 w 54"/>
              <a:gd name="T29" fmla="*/ 56 h 99"/>
              <a:gd name="T30" fmla="*/ 30 w 54"/>
              <a:gd name="T31" fmla="*/ 53 h 99"/>
              <a:gd name="T32" fmla="*/ 28 w 54"/>
              <a:gd name="T33" fmla="*/ 54 h 99"/>
              <a:gd name="T34" fmla="*/ 25 w 54"/>
              <a:gd name="T35" fmla="*/ 53 h 99"/>
              <a:gd name="T36" fmla="*/ 24 w 54"/>
              <a:gd name="T37" fmla="*/ 48 h 99"/>
              <a:gd name="T38" fmla="*/ 21 w 54"/>
              <a:gd name="T39" fmla="*/ 49 h 99"/>
              <a:gd name="T40" fmla="*/ 19 w 54"/>
              <a:gd name="T41" fmla="*/ 49 h 99"/>
              <a:gd name="T42" fmla="*/ 19 w 54"/>
              <a:gd name="T43" fmla="*/ 54 h 99"/>
              <a:gd name="T44" fmla="*/ 18 w 54"/>
              <a:gd name="T45" fmla="*/ 59 h 99"/>
              <a:gd name="T46" fmla="*/ 15 w 54"/>
              <a:gd name="T47" fmla="*/ 70 h 99"/>
              <a:gd name="T48" fmla="*/ 16 w 54"/>
              <a:gd name="T49" fmla="*/ 73 h 99"/>
              <a:gd name="T50" fmla="*/ 17 w 54"/>
              <a:gd name="T51" fmla="*/ 77 h 99"/>
              <a:gd name="T52" fmla="*/ 20 w 54"/>
              <a:gd name="T53" fmla="*/ 77 h 99"/>
              <a:gd name="T54" fmla="*/ 22 w 54"/>
              <a:gd name="T55" fmla="*/ 82 h 99"/>
              <a:gd name="T56" fmla="*/ 24 w 54"/>
              <a:gd name="T57" fmla="*/ 82 h 99"/>
              <a:gd name="T58" fmla="*/ 24 w 54"/>
              <a:gd name="T59" fmla="*/ 87 h 99"/>
              <a:gd name="T60" fmla="*/ 25 w 54"/>
              <a:gd name="T61" fmla="*/ 88 h 99"/>
              <a:gd name="T62" fmla="*/ 29 w 54"/>
              <a:gd name="T63" fmla="*/ 92 h 99"/>
              <a:gd name="T64" fmla="*/ 33 w 54"/>
              <a:gd name="T65" fmla="*/ 95 h 99"/>
              <a:gd name="T66" fmla="*/ 33 w 54"/>
              <a:gd name="T67" fmla="*/ 99 h 99"/>
              <a:gd name="T68" fmla="*/ 28 w 54"/>
              <a:gd name="T69" fmla="*/ 98 h 99"/>
              <a:gd name="T70" fmla="*/ 27 w 54"/>
              <a:gd name="T71" fmla="*/ 94 h 99"/>
              <a:gd name="T72" fmla="*/ 22 w 54"/>
              <a:gd name="T73" fmla="*/ 94 h 99"/>
              <a:gd name="T74" fmla="*/ 19 w 54"/>
              <a:gd name="T75" fmla="*/ 90 h 99"/>
              <a:gd name="T76" fmla="*/ 15 w 54"/>
              <a:gd name="T77" fmla="*/ 86 h 99"/>
              <a:gd name="T78" fmla="*/ 13 w 54"/>
              <a:gd name="T79" fmla="*/ 82 h 99"/>
              <a:gd name="T80" fmla="*/ 10 w 54"/>
              <a:gd name="T81" fmla="*/ 80 h 99"/>
              <a:gd name="T82" fmla="*/ 11 w 54"/>
              <a:gd name="T83" fmla="*/ 75 h 99"/>
              <a:gd name="T84" fmla="*/ 13 w 54"/>
              <a:gd name="T85" fmla="*/ 71 h 99"/>
              <a:gd name="T86" fmla="*/ 13 w 54"/>
              <a:gd name="T87" fmla="*/ 65 h 99"/>
              <a:gd name="T88" fmla="*/ 16 w 54"/>
              <a:gd name="T89" fmla="*/ 57 h 99"/>
              <a:gd name="T90" fmla="*/ 15 w 54"/>
              <a:gd name="T91" fmla="*/ 50 h 99"/>
              <a:gd name="T92" fmla="*/ 10 w 54"/>
              <a:gd name="T93" fmla="*/ 42 h 99"/>
              <a:gd name="T94" fmla="*/ 9 w 54"/>
              <a:gd name="T95" fmla="*/ 34 h 99"/>
              <a:gd name="T96" fmla="*/ 9 w 54"/>
              <a:gd name="T97" fmla="*/ 28 h 99"/>
              <a:gd name="T98" fmla="*/ 4 w 54"/>
              <a:gd name="T99" fmla="*/ 20 h 99"/>
              <a:gd name="T100" fmla="*/ 0 w 54"/>
              <a:gd name="T101" fmla="*/ 15 h 99"/>
              <a:gd name="T102" fmla="*/ 4 w 54"/>
              <a:gd name="T103" fmla="*/ 10 h 99"/>
              <a:gd name="T104" fmla="*/ 10 w 54"/>
              <a:gd name="T105" fmla="*/ 6 h 99"/>
              <a:gd name="T106" fmla="*/ 13 w 54"/>
              <a:gd name="T107" fmla="*/ 3 h 99"/>
              <a:gd name="T108" fmla="*/ 15 w 54"/>
              <a:gd name="T109" fmla="*/ 0 h 99"/>
              <a:gd name="T110" fmla="*/ 19 w 54"/>
              <a:gd name="T111" fmla="*/ 93 h 99"/>
              <a:gd name="T112" fmla="*/ 15 w 54"/>
              <a:gd name="T113" fmla="*/ 87 h 99"/>
              <a:gd name="T114" fmla="*/ 10 w 54"/>
              <a:gd name="T115" fmla="*/ 86 h 99"/>
              <a:gd name="T116" fmla="*/ 33 w 54"/>
              <a:gd name="T117" fmla="*/ 58 h 99"/>
              <a:gd name="T118" fmla="*/ 20 w 54"/>
              <a:gd name="T119" fmla="*/ 73 h 99"/>
              <a:gd name="T120" fmla="*/ 20 w 54"/>
              <a:gd name="T121" fmla="*/ 7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 h="99">
                <a:moveTo>
                  <a:pt x="15" y="0"/>
                </a:moveTo>
                <a:cubicBezTo>
                  <a:pt x="16" y="2"/>
                  <a:pt x="16" y="2"/>
                  <a:pt x="16" y="2"/>
                </a:cubicBezTo>
                <a:cubicBezTo>
                  <a:pt x="18" y="2"/>
                  <a:pt x="18" y="2"/>
                  <a:pt x="18" y="2"/>
                </a:cubicBezTo>
                <a:cubicBezTo>
                  <a:pt x="19" y="3"/>
                  <a:pt x="19" y="3"/>
                  <a:pt x="19" y="3"/>
                </a:cubicBezTo>
                <a:cubicBezTo>
                  <a:pt x="19" y="5"/>
                  <a:pt x="19" y="5"/>
                  <a:pt x="19" y="5"/>
                </a:cubicBezTo>
                <a:cubicBezTo>
                  <a:pt x="18" y="6"/>
                  <a:pt x="18" y="6"/>
                  <a:pt x="18" y="6"/>
                </a:cubicBezTo>
                <a:cubicBezTo>
                  <a:pt x="19" y="7"/>
                  <a:pt x="19" y="7"/>
                  <a:pt x="19" y="7"/>
                </a:cubicBezTo>
                <a:cubicBezTo>
                  <a:pt x="20" y="8"/>
                  <a:pt x="20" y="8"/>
                  <a:pt x="20" y="8"/>
                </a:cubicBezTo>
                <a:cubicBezTo>
                  <a:pt x="21" y="7"/>
                  <a:pt x="21" y="7"/>
                  <a:pt x="21" y="7"/>
                </a:cubicBezTo>
                <a:cubicBezTo>
                  <a:pt x="24" y="7"/>
                  <a:pt x="24" y="7"/>
                  <a:pt x="24" y="7"/>
                </a:cubicBezTo>
                <a:cubicBezTo>
                  <a:pt x="24" y="8"/>
                  <a:pt x="24" y="8"/>
                  <a:pt x="24" y="8"/>
                </a:cubicBezTo>
                <a:cubicBezTo>
                  <a:pt x="23" y="9"/>
                  <a:pt x="23" y="9"/>
                  <a:pt x="23" y="9"/>
                </a:cubicBezTo>
                <a:cubicBezTo>
                  <a:pt x="24" y="11"/>
                  <a:pt x="24" y="11"/>
                  <a:pt x="24" y="11"/>
                </a:cubicBezTo>
                <a:cubicBezTo>
                  <a:pt x="24" y="12"/>
                  <a:pt x="24" y="12"/>
                  <a:pt x="24" y="12"/>
                </a:cubicBezTo>
                <a:cubicBezTo>
                  <a:pt x="23" y="13"/>
                  <a:pt x="23" y="13"/>
                  <a:pt x="23" y="13"/>
                </a:cubicBezTo>
                <a:cubicBezTo>
                  <a:pt x="24" y="14"/>
                  <a:pt x="24" y="14"/>
                  <a:pt x="24" y="14"/>
                </a:cubicBezTo>
                <a:cubicBezTo>
                  <a:pt x="24" y="16"/>
                  <a:pt x="24" y="16"/>
                  <a:pt x="24" y="16"/>
                </a:cubicBezTo>
                <a:cubicBezTo>
                  <a:pt x="24" y="20"/>
                  <a:pt x="24" y="20"/>
                  <a:pt x="24" y="20"/>
                </a:cubicBezTo>
                <a:cubicBezTo>
                  <a:pt x="25" y="19"/>
                  <a:pt x="25" y="19"/>
                  <a:pt x="25" y="19"/>
                </a:cubicBezTo>
                <a:cubicBezTo>
                  <a:pt x="27" y="18"/>
                  <a:pt x="27" y="18"/>
                  <a:pt x="27" y="18"/>
                </a:cubicBezTo>
                <a:cubicBezTo>
                  <a:pt x="27" y="17"/>
                  <a:pt x="27" y="17"/>
                  <a:pt x="27" y="17"/>
                </a:cubicBezTo>
                <a:cubicBezTo>
                  <a:pt x="29" y="16"/>
                  <a:pt x="29" y="16"/>
                  <a:pt x="29" y="16"/>
                </a:cubicBezTo>
                <a:cubicBezTo>
                  <a:pt x="31" y="17"/>
                  <a:pt x="31" y="17"/>
                  <a:pt x="31" y="17"/>
                </a:cubicBezTo>
                <a:cubicBezTo>
                  <a:pt x="32" y="17"/>
                  <a:pt x="32" y="17"/>
                  <a:pt x="32" y="17"/>
                </a:cubicBezTo>
                <a:cubicBezTo>
                  <a:pt x="34" y="19"/>
                  <a:pt x="34" y="19"/>
                  <a:pt x="34" y="19"/>
                </a:cubicBezTo>
                <a:cubicBezTo>
                  <a:pt x="36" y="18"/>
                  <a:pt x="36" y="18"/>
                  <a:pt x="36" y="18"/>
                </a:cubicBezTo>
                <a:cubicBezTo>
                  <a:pt x="37" y="15"/>
                  <a:pt x="37" y="15"/>
                  <a:pt x="37" y="15"/>
                </a:cubicBezTo>
                <a:cubicBezTo>
                  <a:pt x="40" y="15"/>
                  <a:pt x="40" y="15"/>
                  <a:pt x="40" y="15"/>
                </a:cubicBezTo>
                <a:cubicBezTo>
                  <a:pt x="42" y="16"/>
                  <a:pt x="42" y="16"/>
                  <a:pt x="42" y="16"/>
                </a:cubicBezTo>
                <a:cubicBezTo>
                  <a:pt x="43" y="18"/>
                  <a:pt x="43" y="18"/>
                  <a:pt x="43" y="18"/>
                </a:cubicBezTo>
                <a:cubicBezTo>
                  <a:pt x="46" y="20"/>
                  <a:pt x="46" y="20"/>
                  <a:pt x="46" y="20"/>
                </a:cubicBezTo>
                <a:cubicBezTo>
                  <a:pt x="48" y="21"/>
                  <a:pt x="48" y="21"/>
                  <a:pt x="48" y="21"/>
                </a:cubicBezTo>
                <a:cubicBezTo>
                  <a:pt x="48" y="22"/>
                  <a:pt x="48" y="22"/>
                  <a:pt x="48" y="22"/>
                </a:cubicBezTo>
                <a:cubicBezTo>
                  <a:pt x="48" y="23"/>
                  <a:pt x="48" y="23"/>
                  <a:pt x="48" y="23"/>
                </a:cubicBezTo>
                <a:cubicBezTo>
                  <a:pt x="48" y="24"/>
                  <a:pt x="48" y="24"/>
                  <a:pt x="48" y="24"/>
                </a:cubicBezTo>
                <a:cubicBezTo>
                  <a:pt x="48" y="25"/>
                  <a:pt x="48" y="25"/>
                  <a:pt x="48" y="25"/>
                </a:cubicBezTo>
                <a:cubicBezTo>
                  <a:pt x="48" y="27"/>
                  <a:pt x="48" y="27"/>
                  <a:pt x="48" y="27"/>
                </a:cubicBezTo>
                <a:cubicBezTo>
                  <a:pt x="48" y="28"/>
                  <a:pt x="48" y="28"/>
                  <a:pt x="48" y="28"/>
                </a:cubicBezTo>
                <a:cubicBezTo>
                  <a:pt x="49" y="29"/>
                  <a:pt x="49" y="29"/>
                  <a:pt x="49" y="29"/>
                </a:cubicBezTo>
                <a:cubicBezTo>
                  <a:pt x="50" y="30"/>
                  <a:pt x="50" y="30"/>
                  <a:pt x="50" y="30"/>
                </a:cubicBezTo>
                <a:cubicBezTo>
                  <a:pt x="51" y="30"/>
                  <a:pt x="51" y="30"/>
                  <a:pt x="51" y="30"/>
                </a:cubicBezTo>
                <a:cubicBezTo>
                  <a:pt x="52" y="31"/>
                  <a:pt x="52" y="31"/>
                  <a:pt x="52" y="31"/>
                </a:cubicBezTo>
                <a:cubicBezTo>
                  <a:pt x="52" y="32"/>
                  <a:pt x="52" y="32"/>
                  <a:pt x="52" y="32"/>
                </a:cubicBezTo>
                <a:cubicBezTo>
                  <a:pt x="54" y="33"/>
                  <a:pt x="54" y="33"/>
                  <a:pt x="54" y="33"/>
                </a:cubicBezTo>
                <a:cubicBezTo>
                  <a:pt x="54" y="33"/>
                  <a:pt x="54" y="33"/>
                  <a:pt x="54" y="33"/>
                </a:cubicBezTo>
                <a:cubicBezTo>
                  <a:pt x="54" y="35"/>
                  <a:pt x="54" y="35"/>
                  <a:pt x="54" y="35"/>
                </a:cubicBezTo>
                <a:cubicBezTo>
                  <a:pt x="54" y="36"/>
                  <a:pt x="54" y="36"/>
                  <a:pt x="54" y="36"/>
                </a:cubicBezTo>
                <a:cubicBezTo>
                  <a:pt x="53" y="37"/>
                  <a:pt x="53" y="37"/>
                  <a:pt x="53" y="37"/>
                </a:cubicBezTo>
                <a:cubicBezTo>
                  <a:pt x="54" y="38"/>
                  <a:pt x="54" y="38"/>
                  <a:pt x="54" y="38"/>
                </a:cubicBezTo>
                <a:cubicBezTo>
                  <a:pt x="54" y="40"/>
                  <a:pt x="54" y="40"/>
                  <a:pt x="54" y="40"/>
                </a:cubicBezTo>
                <a:cubicBezTo>
                  <a:pt x="53" y="41"/>
                  <a:pt x="53" y="41"/>
                  <a:pt x="53" y="41"/>
                </a:cubicBezTo>
                <a:cubicBezTo>
                  <a:pt x="51" y="42"/>
                  <a:pt x="51" y="42"/>
                  <a:pt x="51" y="42"/>
                </a:cubicBezTo>
                <a:cubicBezTo>
                  <a:pt x="50" y="41"/>
                  <a:pt x="50" y="41"/>
                  <a:pt x="50" y="41"/>
                </a:cubicBezTo>
                <a:cubicBezTo>
                  <a:pt x="48" y="41"/>
                  <a:pt x="48" y="41"/>
                  <a:pt x="48" y="41"/>
                </a:cubicBezTo>
                <a:cubicBezTo>
                  <a:pt x="47" y="41"/>
                  <a:pt x="47" y="41"/>
                  <a:pt x="47" y="41"/>
                </a:cubicBezTo>
                <a:cubicBezTo>
                  <a:pt x="46" y="41"/>
                  <a:pt x="46" y="41"/>
                  <a:pt x="46" y="41"/>
                </a:cubicBezTo>
                <a:cubicBezTo>
                  <a:pt x="44" y="41"/>
                  <a:pt x="44" y="41"/>
                  <a:pt x="44" y="41"/>
                </a:cubicBezTo>
                <a:cubicBezTo>
                  <a:pt x="43" y="41"/>
                  <a:pt x="43" y="41"/>
                  <a:pt x="43" y="41"/>
                </a:cubicBezTo>
                <a:cubicBezTo>
                  <a:pt x="42" y="41"/>
                  <a:pt x="42" y="41"/>
                  <a:pt x="42" y="41"/>
                </a:cubicBezTo>
                <a:cubicBezTo>
                  <a:pt x="39" y="42"/>
                  <a:pt x="39" y="42"/>
                  <a:pt x="39" y="42"/>
                </a:cubicBezTo>
                <a:cubicBezTo>
                  <a:pt x="37" y="42"/>
                  <a:pt x="37" y="42"/>
                  <a:pt x="37" y="42"/>
                </a:cubicBezTo>
                <a:cubicBezTo>
                  <a:pt x="36" y="44"/>
                  <a:pt x="36" y="44"/>
                  <a:pt x="36" y="44"/>
                </a:cubicBezTo>
                <a:cubicBezTo>
                  <a:pt x="36" y="45"/>
                  <a:pt x="36" y="45"/>
                  <a:pt x="36" y="45"/>
                </a:cubicBezTo>
                <a:cubicBezTo>
                  <a:pt x="35" y="47"/>
                  <a:pt x="35" y="47"/>
                  <a:pt x="35" y="47"/>
                </a:cubicBezTo>
                <a:cubicBezTo>
                  <a:pt x="34" y="49"/>
                  <a:pt x="34" y="49"/>
                  <a:pt x="34" y="49"/>
                </a:cubicBezTo>
                <a:cubicBezTo>
                  <a:pt x="35" y="52"/>
                  <a:pt x="35" y="52"/>
                  <a:pt x="35" y="52"/>
                </a:cubicBezTo>
                <a:cubicBezTo>
                  <a:pt x="36" y="52"/>
                  <a:pt x="36" y="52"/>
                  <a:pt x="36" y="52"/>
                </a:cubicBezTo>
                <a:cubicBezTo>
                  <a:pt x="37" y="54"/>
                  <a:pt x="37" y="54"/>
                  <a:pt x="37" y="54"/>
                </a:cubicBezTo>
                <a:cubicBezTo>
                  <a:pt x="37" y="56"/>
                  <a:pt x="37" y="56"/>
                  <a:pt x="37" y="56"/>
                </a:cubicBezTo>
                <a:cubicBezTo>
                  <a:pt x="36" y="57"/>
                  <a:pt x="36" y="57"/>
                  <a:pt x="36" y="57"/>
                </a:cubicBezTo>
                <a:cubicBezTo>
                  <a:pt x="36" y="57"/>
                  <a:pt x="36" y="57"/>
                  <a:pt x="36" y="57"/>
                </a:cubicBezTo>
                <a:cubicBezTo>
                  <a:pt x="36" y="58"/>
                  <a:pt x="36" y="58"/>
                  <a:pt x="36" y="58"/>
                </a:cubicBezTo>
                <a:cubicBezTo>
                  <a:pt x="36" y="58"/>
                  <a:pt x="36" y="58"/>
                  <a:pt x="36" y="58"/>
                </a:cubicBezTo>
                <a:cubicBezTo>
                  <a:pt x="35" y="57"/>
                  <a:pt x="35" y="57"/>
                  <a:pt x="35" y="57"/>
                </a:cubicBezTo>
                <a:cubicBezTo>
                  <a:pt x="34" y="56"/>
                  <a:pt x="34" y="56"/>
                  <a:pt x="34" y="56"/>
                </a:cubicBezTo>
                <a:cubicBezTo>
                  <a:pt x="34" y="56"/>
                  <a:pt x="34" y="56"/>
                  <a:pt x="34" y="56"/>
                </a:cubicBezTo>
                <a:cubicBezTo>
                  <a:pt x="34" y="56"/>
                  <a:pt x="34" y="56"/>
                  <a:pt x="34" y="56"/>
                </a:cubicBezTo>
                <a:cubicBezTo>
                  <a:pt x="33" y="55"/>
                  <a:pt x="33" y="55"/>
                  <a:pt x="33" y="55"/>
                </a:cubicBezTo>
                <a:cubicBezTo>
                  <a:pt x="31" y="54"/>
                  <a:pt x="31" y="54"/>
                  <a:pt x="31" y="54"/>
                </a:cubicBezTo>
                <a:cubicBezTo>
                  <a:pt x="30" y="53"/>
                  <a:pt x="30" y="53"/>
                  <a:pt x="30" y="53"/>
                </a:cubicBezTo>
                <a:cubicBezTo>
                  <a:pt x="30" y="54"/>
                  <a:pt x="30" y="54"/>
                  <a:pt x="30" y="54"/>
                </a:cubicBezTo>
                <a:cubicBezTo>
                  <a:pt x="30" y="54"/>
                  <a:pt x="30" y="54"/>
                  <a:pt x="30" y="54"/>
                </a:cubicBezTo>
                <a:cubicBezTo>
                  <a:pt x="30" y="55"/>
                  <a:pt x="30" y="55"/>
                  <a:pt x="30" y="55"/>
                </a:cubicBezTo>
                <a:cubicBezTo>
                  <a:pt x="29" y="54"/>
                  <a:pt x="29" y="54"/>
                  <a:pt x="29" y="54"/>
                </a:cubicBezTo>
                <a:cubicBezTo>
                  <a:pt x="28" y="54"/>
                  <a:pt x="28" y="54"/>
                  <a:pt x="28" y="54"/>
                </a:cubicBezTo>
                <a:cubicBezTo>
                  <a:pt x="26" y="54"/>
                  <a:pt x="26" y="54"/>
                  <a:pt x="26" y="54"/>
                </a:cubicBezTo>
                <a:cubicBezTo>
                  <a:pt x="26" y="54"/>
                  <a:pt x="26" y="54"/>
                  <a:pt x="26" y="54"/>
                </a:cubicBezTo>
                <a:cubicBezTo>
                  <a:pt x="25" y="54"/>
                  <a:pt x="25" y="54"/>
                  <a:pt x="25" y="54"/>
                </a:cubicBezTo>
                <a:cubicBezTo>
                  <a:pt x="25" y="53"/>
                  <a:pt x="25" y="53"/>
                  <a:pt x="25" y="53"/>
                </a:cubicBezTo>
                <a:cubicBezTo>
                  <a:pt x="25" y="53"/>
                  <a:pt x="25" y="53"/>
                  <a:pt x="25" y="53"/>
                </a:cubicBezTo>
                <a:cubicBezTo>
                  <a:pt x="25" y="52"/>
                  <a:pt x="25" y="52"/>
                  <a:pt x="25" y="52"/>
                </a:cubicBezTo>
                <a:cubicBezTo>
                  <a:pt x="25" y="50"/>
                  <a:pt x="25" y="50"/>
                  <a:pt x="25" y="50"/>
                </a:cubicBezTo>
                <a:cubicBezTo>
                  <a:pt x="25" y="49"/>
                  <a:pt x="25" y="49"/>
                  <a:pt x="25" y="49"/>
                </a:cubicBezTo>
                <a:cubicBezTo>
                  <a:pt x="25" y="49"/>
                  <a:pt x="25" y="49"/>
                  <a:pt x="25" y="49"/>
                </a:cubicBezTo>
                <a:cubicBezTo>
                  <a:pt x="24" y="48"/>
                  <a:pt x="24" y="48"/>
                  <a:pt x="24" y="48"/>
                </a:cubicBezTo>
                <a:cubicBezTo>
                  <a:pt x="24" y="48"/>
                  <a:pt x="24" y="48"/>
                  <a:pt x="24" y="48"/>
                </a:cubicBezTo>
                <a:cubicBezTo>
                  <a:pt x="23" y="48"/>
                  <a:pt x="23" y="48"/>
                  <a:pt x="23" y="48"/>
                </a:cubicBezTo>
                <a:cubicBezTo>
                  <a:pt x="23" y="48"/>
                  <a:pt x="23" y="48"/>
                  <a:pt x="23" y="48"/>
                </a:cubicBezTo>
                <a:cubicBezTo>
                  <a:pt x="22" y="49"/>
                  <a:pt x="22" y="49"/>
                  <a:pt x="22" y="49"/>
                </a:cubicBezTo>
                <a:cubicBezTo>
                  <a:pt x="21" y="49"/>
                  <a:pt x="21" y="49"/>
                  <a:pt x="21" y="49"/>
                </a:cubicBezTo>
                <a:cubicBezTo>
                  <a:pt x="21" y="48"/>
                  <a:pt x="21" y="48"/>
                  <a:pt x="21" y="48"/>
                </a:cubicBezTo>
                <a:cubicBezTo>
                  <a:pt x="20" y="49"/>
                  <a:pt x="20" y="49"/>
                  <a:pt x="20" y="49"/>
                </a:cubicBezTo>
                <a:cubicBezTo>
                  <a:pt x="19" y="49"/>
                  <a:pt x="19" y="49"/>
                  <a:pt x="19" y="49"/>
                </a:cubicBezTo>
                <a:cubicBezTo>
                  <a:pt x="19" y="49"/>
                  <a:pt x="19" y="49"/>
                  <a:pt x="19" y="49"/>
                </a:cubicBezTo>
                <a:cubicBezTo>
                  <a:pt x="19" y="49"/>
                  <a:pt x="19" y="49"/>
                  <a:pt x="19" y="49"/>
                </a:cubicBezTo>
                <a:cubicBezTo>
                  <a:pt x="19" y="50"/>
                  <a:pt x="19" y="50"/>
                  <a:pt x="19" y="50"/>
                </a:cubicBezTo>
                <a:cubicBezTo>
                  <a:pt x="20" y="50"/>
                  <a:pt x="20" y="50"/>
                  <a:pt x="20" y="50"/>
                </a:cubicBezTo>
                <a:cubicBezTo>
                  <a:pt x="20" y="51"/>
                  <a:pt x="20" y="51"/>
                  <a:pt x="20" y="51"/>
                </a:cubicBezTo>
                <a:cubicBezTo>
                  <a:pt x="19" y="52"/>
                  <a:pt x="19" y="52"/>
                  <a:pt x="19" y="52"/>
                </a:cubicBezTo>
                <a:cubicBezTo>
                  <a:pt x="19" y="54"/>
                  <a:pt x="19" y="54"/>
                  <a:pt x="19" y="54"/>
                </a:cubicBezTo>
                <a:cubicBezTo>
                  <a:pt x="19" y="55"/>
                  <a:pt x="19" y="55"/>
                  <a:pt x="19" y="55"/>
                </a:cubicBezTo>
                <a:cubicBezTo>
                  <a:pt x="20" y="55"/>
                  <a:pt x="20" y="55"/>
                  <a:pt x="20" y="55"/>
                </a:cubicBezTo>
                <a:cubicBezTo>
                  <a:pt x="19" y="57"/>
                  <a:pt x="19" y="57"/>
                  <a:pt x="19" y="57"/>
                </a:cubicBezTo>
                <a:cubicBezTo>
                  <a:pt x="19" y="58"/>
                  <a:pt x="19" y="58"/>
                  <a:pt x="19" y="58"/>
                </a:cubicBezTo>
                <a:cubicBezTo>
                  <a:pt x="18" y="59"/>
                  <a:pt x="18" y="59"/>
                  <a:pt x="18" y="59"/>
                </a:cubicBezTo>
                <a:cubicBezTo>
                  <a:pt x="17" y="60"/>
                  <a:pt x="17" y="60"/>
                  <a:pt x="17" y="60"/>
                </a:cubicBezTo>
                <a:cubicBezTo>
                  <a:pt x="17" y="65"/>
                  <a:pt x="17" y="65"/>
                  <a:pt x="17" y="65"/>
                </a:cubicBezTo>
                <a:cubicBezTo>
                  <a:pt x="16" y="67"/>
                  <a:pt x="16" y="67"/>
                  <a:pt x="16" y="67"/>
                </a:cubicBezTo>
                <a:cubicBezTo>
                  <a:pt x="16" y="68"/>
                  <a:pt x="16" y="68"/>
                  <a:pt x="16" y="68"/>
                </a:cubicBezTo>
                <a:cubicBezTo>
                  <a:pt x="15" y="70"/>
                  <a:pt x="15" y="70"/>
                  <a:pt x="15" y="70"/>
                </a:cubicBezTo>
                <a:cubicBezTo>
                  <a:pt x="16" y="70"/>
                  <a:pt x="16" y="70"/>
                  <a:pt x="16" y="70"/>
                </a:cubicBezTo>
                <a:cubicBezTo>
                  <a:pt x="16" y="70"/>
                  <a:pt x="16" y="70"/>
                  <a:pt x="16" y="70"/>
                </a:cubicBezTo>
                <a:cubicBezTo>
                  <a:pt x="15" y="71"/>
                  <a:pt x="15" y="71"/>
                  <a:pt x="15" y="71"/>
                </a:cubicBezTo>
                <a:cubicBezTo>
                  <a:pt x="15" y="71"/>
                  <a:pt x="15" y="71"/>
                  <a:pt x="15" y="71"/>
                </a:cubicBezTo>
                <a:cubicBezTo>
                  <a:pt x="16" y="73"/>
                  <a:pt x="16" y="73"/>
                  <a:pt x="16" y="73"/>
                </a:cubicBezTo>
                <a:cubicBezTo>
                  <a:pt x="16" y="74"/>
                  <a:pt x="16" y="74"/>
                  <a:pt x="16" y="74"/>
                </a:cubicBezTo>
                <a:cubicBezTo>
                  <a:pt x="17" y="75"/>
                  <a:pt x="17" y="75"/>
                  <a:pt x="17" y="75"/>
                </a:cubicBezTo>
                <a:cubicBezTo>
                  <a:pt x="16" y="77"/>
                  <a:pt x="16" y="77"/>
                  <a:pt x="16" y="77"/>
                </a:cubicBezTo>
                <a:cubicBezTo>
                  <a:pt x="17" y="77"/>
                  <a:pt x="17" y="77"/>
                  <a:pt x="17" y="77"/>
                </a:cubicBezTo>
                <a:cubicBezTo>
                  <a:pt x="17" y="77"/>
                  <a:pt x="17" y="77"/>
                  <a:pt x="17" y="77"/>
                </a:cubicBezTo>
                <a:cubicBezTo>
                  <a:pt x="17" y="76"/>
                  <a:pt x="17" y="76"/>
                  <a:pt x="17" y="76"/>
                </a:cubicBezTo>
                <a:cubicBezTo>
                  <a:pt x="18" y="76"/>
                  <a:pt x="18" y="76"/>
                  <a:pt x="18" y="76"/>
                </a:cubicBezTo>
                <a:cubicBezTo>
                  <a:pt x="18" y="76"/>
                  <a:pt x="18" y="76"/>
                  <a:pt x="18" y="76"/>
                </a:cubicBezTo>
                <a:cubicBezTo>
                  <a:pt x="19" y="76"/>
                  <a:pt x="19" y="76"/>
                  <a:pt x="19" y="76"/>
                </a:cubicBezTo>
                <a:cubicBezTo>
                  <a:pt x="20" y="77"/>
                  <a:pt x="20" y="77"/>
                  <a:pt x="20" y="77"/>
                </a:cubicBezTo>
                <a:cubicBezTo>
                  <a:pt x="20" y="78"/>
                  <a:pt x="20" y="78"/>
                  <a:pt x="20" y="78"/>
                </a:cubicBezTo>
                <a:cubicBezTo>
                  <a:pt x="21" y="79"/>
                  <a:pt x="21" y="79"/>
                  <a:pt x="21" y="79"/>
                </a:cubicBezTo>
                <a:cubicBezTo>
                  <a:pt x="20" y="80"/>
                  <a:pt x="20" y="80"/>
                  <a:pt x="20" y="80"/>
                </a:cubicBezTo>
                <a:cubicBezTo>
                  <a:pt x="21" y="80"/>
                  <a:pt x="21" y="80"/>
                  <a:pt x="21" y="80"/>
                </a:cubicBezTo>
                <a:cubicBezTo>
                  <a:pt x="22" y="82"/>
                  <a:pt x="22" y="82"/>
                  <a:pt x="22" y="82"/>
                </a:cubicBezTo>
                <a:cubicBezTo>
                  <a:pt x="22" y="82"/>
                  <a:pt x="22" y="82"/>
                  <a:pt x="22" y="82"/>
                </a:cubicBezTo>
                <a:cubicBezTo>
                  <a:pt x="22" y="81"/>
                  <a:pt x="22" y="81"/>
                  <a:pt x="22" y="81"/>
                </a:cubicBezTo>
                <a:cubicBezTo>
                  <a:pt x="23" y="80"/>
                  <a:pt x="23" y="80"/>
                  <a:pt x="23" y="80"/>
                </a:cubicBezTo>
                <a:cubicBezTo>
                  <a:pt x="23" y="81"/>
                  <a:pt x="23" y="81"/>
                  <a:pt x="23" y="81"/>
                </a:cubicBezTo>
                <a:cubicBezTo>
                  <a:pt x="24" y="82"/>
                  <a:pt x="24" y="82"/>
                  <a:pt x="24" y="82"/>
                </a:cubicBezTo>
                <a:cubicBezTo>
                  <a:pt x="24" y="83"/>
                  <a:pt x="24" y="83"/>
                  <a:pt x="24" y="83"/>
                </a:cubicBezTo>
                <a:cubicBezTo>
                  <a:pt x="24" y="84"/>
                  <a:pt x="24" y="84"/>
                  <a:pt x="24" y="84"/>
                </a:cubicBezTo>
                <a:cubicBezTo>
                  <a:pt x="25" y="86"/>
                  <a:pt x="25" y="86"/>
                  <a:pt x="25" y="86"/>
                </a:cubicBezTo>
                <a:cubicBezTo>
                  <a:pt x="24" y="87"/>
                  <a:pt x="24" y="87"/>
                  <a:pt x="24" y="87"/>
                </a:cubicBezTo>
                <a:cubicBezTo>
                  <a:pt x="24" y="87"/>
                  <a:pt x="24" y="87"/>
                  <a:pt x="24" y="87"/>
                </a:cubicBezTo>
                <a:cubicBezTo>
                  <a:pt x="24" y="87"/>
                  <a:pt x="24" y="87"/>
                  <a:pt x="24" y="87"/>
                </a:cubicBezTo>
                <a:cubicBezTo>
                  <a:pt x="23" y="87"/>
                  <a:pt x="23" y="87"/>
                  <a:pt x="23" y="87"/>
                </a:cubicBezTo>
                <a:cubicBezTo>
                  <a:pt x="23" y="88"/>
                  <a:pt x="23" y="88"/>
                  <a:pt x="23" y="88"/>
                </a:cubicBezTo>
                <a:cubicBezTo>
                  <a:pt x="25" y="89"/>
                  <a:pt x="25" y="89"/>
                  <a:pt x="25" y="89"/>
                </a:cubicBezTo>
                <a:cubicBezTo>
                  <a:pt x="25" y="88"/>
                  <a:pt x="25" y="88"/>
                  <a:pt x="25" y="88"/>
                </a:cubicBezTo>
                <a:cubicBezTo>
                  <a:pt x="25" y="88"/>
                  <a:pt x="25" y="88"/>
                  <a:pt x="25" y="88"/>
                </a:cubicBezTo>
                <a:cubicBezTo>
                  <a:pt x="25" y="89"/>
                  <a:pt x="25" y="89"/>
                  <a:pt x="25" y="89"/>
                </a:cubicBezTo>
                <a:cubicBezTo>
                  <a:pt x="26" y="90"/>
                  <a:pt x="26" y="90"/>
                  <a:pt x="26" y="90"/>
                </a:cubicBezTo>
                <a:cubicBezTo>
                  <a:pt x="28" y="92"/>
                  <a:pt x="28" y="92"/>
                  <a:pt x="28" y="92"/>
                </a:cubicBezTo>
                <a:cubicBezTo>
                  <a:pt x="29" y="92"/>
                  <a:pt x="29" y="92"/>
                  <a:pt x="29" y="92"/>
                </a:cubicBezTo>
                <a:cubicBezTo>
                  <a:pt x="29" y="92"/>
                  <a:pt x="29" y="92"/>
                  <a:pt x="29" y="92"/>
                </a:cubicBezTo>
                <a:cubicBezTo>
                  <a:pt x="30" y="92"/>
                  <a:pt x="30" y="92"/>
                  <a:pt x="30" y="92"/>
                </a:cubicBezTo>
                <a:cubicBezTo>
                  <a:pt x="32" y="93"/>
                  <a:pt x="32" y="93"/>
                  <a:pt x="32" y="93"/>
                </a:cubicBezTo>
                <a:cubicBezTo>
                  <a:pt x="32" y="95"/>
                  <a:pt x="32" y="95"/>
                  <a:pt x="32" y="95"/>
                </a:cubicBezTo>
                <a:cubicBezTo>
                  <a:pt x="33" y="95"/>
                  <a:pt x="33" y="95"/>
                  <a:pt x="33" y="95"/>
                </a:cubicBezTo>
                <a:cubicBezTo>
                  <a:pt x="34" y="96"/>
                  <a:pt x="34" y="96"/>
                  <a:pt x="34" y="96"/>
                </a:cubicBezTo>
                <a:cubicBezTo>
                  <a:pt x="34" y="97"/>
                  <a:pt x="34" y="97"/>
                  <a:pt x="34" y="97"/>
                </a:cubicBezTo>
                <a:cubicBezTo>
                  <a:pt x="34" y="97"/>
                  <a:pt x="34" y="97"/>
                  <a:pt x="34" y="97"/>
                </a:cubicBezTo>
                <a:cubicBezTo>
                  <a:pt x="34" y="98"/>
                  <a:pt x="34" y="98"/>
                  <a:pt x="34" y="98"/>
                </a:cubicBezTo>
                <a:cubicBezTo>
                  <a:pt x="33" y="99"/>
                  <a:pt x="33" y="99"/>
                  <a:pt x="33" y="99"/>
                </a:cubicBezTo>
                <a:cubicBezTo>
                  <a:pt x="32" y="98"/>
                  <a:pt x="32" y="98"/>
                  <a:pt x="32" y="98"/>
                </a:cubicBezTo>
                <a:cubicBezTo>
                  <a:pt x="31" y="98"/>
                  <a:pt x="31" y="98"/>
                  <a:pt x="31" y="98"/>
                </a:cubicBezTo>
                <a:cubicBezTo>
                  <a:pt x="30" y="99"/>
                  <a:pt x="30" y="99"/>
                  <a:pt x="30" y="99"/>
                </a:cubicBezTo>
                <a:cubicBezTo>
                  <a:pt x="28" y="99"/>
                  <a:pt x="28" y="99"/>
                  <a:pt x="28" y="99"/>
                </a:cubicBezTo>
                <a:cubicBezTo>
                  <a:pt x="28" y="98"/>
                  <a:pt x="28" y="98"/>
                  <a:pt x="28" y="98"/>
                </a:cubicBezTo>
                <a:cubicBezTo>
                  <a:pt x="29" y="97"/>
                  <a:pt x="29" y="97"/>
                  <a:pt x="29" y="97"/>
                </a:cubicBezTo>
                <a:cubicBezTo>
                  <a:pt x="29" y="95"/>
                  <a:pt x="29" y="95"/>
                  <a:pt x="29" y="95"/>
                </a:cubicBezTo>
                <a:cubicBezTo>
                  <a:pt x="28" y="95"/>
                  <a:pt x="28" y="95"/>
                  <a:pt x="28" y="95"/>
                </a:cubicBezTo>
                <a:cubicBezTo>
                  <a:pt x="27" y="95"/>
                  <a:pt x="27" y="95"/>
                  <a:pt x="27" y="95"/>
                </a:cubicBezTo>
                <a:cubicBezTo>
                  <a:pt x="27" y="94"/>
                  <a:pt x="27" y="94"/>
                  <a:pt x="27" y="94"/>
                </a:cubicBezTo>
                <a:cubicBezTo>
                  <a:pt x="25" y="93"/>
                  <a:pt x="25" y="93"/>
                  <a:pt x="25" y="93"/>
                </a:cubicBezTo>
                <a:cubicBezTo>
                  <a:pt x="24" y="92"/>
                  <a:pt x="24" y="92"/>
                  <a:pt x="24" y="92"/>
                </a:cubicBezTo>
                <a:cubicBezTo>
                  <a:pt x="23" y="93"/>
                  <a:pt x="23" y="93"/>
                  <a:pt x="23" y="93"/>
                </a:cubicBezTo>
                <a:cubicBezTo>
                  <a:pt x="23" y="95"/>
                  <a:pt x="23" y="95"/>
                  <a:pt x="23" y="95"/>
                </a:cubicBezTo>
                <a:cubicBezTo>
                  <a:pt x="22" y="94"/>
                  <a:pt x="22" y="94"/>
                  <a:pt x="22" y="94"/>
                </a:cubicBezTo>
                <a:cubicBezTo>
                  <a:pt x="19" y="92"/>
                  <a:pt x="19" y="92"/>
                  <a:pt x="19" y="92"/>
                </a:cubicBezTo>
                <a:cubicBezTo>
                  <a:pt x="19" y="92"/>
                  <a:pt x="19" y="92"/>
                  <a:pt x="19" y="92"/>
                </a:cubicBezTo>
                <a:cubicBezTo>
                  <a:pt x="20" y="91"/>
                  <a:pt x="20" y="91"/>
                  <a:pt x="20" y="91"/>
                </a:cubicBezTo>
                <a:cubicBezTo>
                  <a:pt x="20" y="90"/>
                  <a:pt x="20" y="90"/>
                  <a:pt x="20" y="90"/>
                </a:cubicBezTo>
                <a:cubicBezTo>
                  <a:pt x="19" y="90"/>
                  <a:pt x="19" y="90"/>
                  <a:pt x="19" y="90"/>
                </a:cubicBezTo>
                <a:cubicBezTo>
                  <a:pt x="19" y="89"/>
                  <a:pt x="19" y="89"/>
                  <a:pt x="19" y="89"/>
                </a:cubicBezTo>
                <a:cubicBezTo>
                  <a:pt x="18" y="89"/>
                  <a:pt x="18" y="89"/>
                  <a:pt x="18" y="89"/>
                </a:cubicBezTo>
                <a:cubicBezTo>
                  <a:pt x="18" y="88"/>
                  <a:pt x="18" y="88"/>
                  <a:pt x="18" y="88"/>
                </a:cubicBezTo>
                <a:cubicBezTo>
                  <a:pt x="16" y="86"/>
                  <a:pt x="16" y="86"/>
                  <a:pt x="16" y="86"/>
                </a:cubicBezTo>
                <a:cubicBezTo>
                  <a:pt x="15" y="86"/>
                  <a:pt x="15" y="86"/>
                  <a:pt x="15" y="86"/>
                </a:cubicBezTo>
                <a:cubicBezTo>
                  <a:pt x="14" y="84"/>
                  <a:pt x="14" y="84"/>
                  <a:pt x="14" y="84"/>
                </a:cubicBezTo>
                <a:cubicBezTo>
                  <a:pt x="13" y="84"/>
                  <a:pt x="13" y="84"/>
                  <a:pt x="13" y="84"/>
                </a:cubicBezTo>
                <a:cubicBezTo>
                  <a:pt x="13" y="83"/>
                  <a:pt x="13" y="83"/>
                  <a:pt x="13" y="83"/>
                </a:cubicBezTo>
                <a:cubicBezTo>
                  <a:pt x="13" y="82"/>
                  <a:pt x="13" y="82"/>
                  <a:pt x="13" y="82"/>
                </a:cubicBezTo>
                <a:cubicBezTo>
                  <a:pt x="13" y="82"/>
                  <a:pt x="13" y="82"/>
                  <a:pt x="13" y="82"/>
                </a:cubicBezTo>
                <a:cubicBezTo>
                  <a:pt x="11" y="82"/>
                  <a:pt x="11" y="82"/>
                  <a:pt x="11" y="82"/>
                </a:cubicBezTo>
                <a:cubicBezTo>
                  <a:pt x="12" y="83"/>
                  <a:pt x="12" y="83"/>
                  <a:pt x="12" y="83"/>
                </a:cubicBezTo>
                <a:cubicBezTo>
                  <a:pt x="11" y="83"/>
                  <a:pt x="11" y="83"/>
                  <a:pt x="11" y="83"/>
                </a:cubicBezTo>
                <a:cubicBezTo>
                  <a:pt x="10" y="82"/>
                  <a:pt x="10" y="82"/>
                  <a:pt x="10" y="82"/>
                </a:cubicBezTo>
                <a:cubicBezTo>
                  <a:pt x="10" y="80"/>
                  <a:pt x="10" y="80"/>
                  <a:pt x="10" y="80"/>
                </a:cubicBezTo>
                <a:cubicBezTo>
                  <a:pt x="10" y="80"/>
                  <a:pt x="10" y="80"/>
                  <a:pt x="10" y="80"/>
                </a:cubicBezTo>
                <a:cubicBezTo>
                  <a:pt x="10" y="78"/>
                  <a:pt x="10" y="78"/>
                  <a:pt x="10" y="78"/>
                </a:cubicBezTo>
                <a:cubicBezTo>
                  <a:pt x="11" y="78"/>
                  <a:pt x="11" y="78"/>
                  <a:pt x="11" y="78"/>
                </a:cubicBezTo>
                <a:cubicBezTo>
                  <a:pt x="11" y="75"/>
                  <a:pt x="11" y="75"/>
                  <a:pt x="11" y="75"/>
                </a:cubicBezTo>
                <a:cubicBezTo>
                  <a:pt x="11" y="75"/>
                  <a:pt x="11" y="75"/>
                  <a:pt x="11" y="75"/>
                </a:cubicBezTo>
                <a:cubicBezTo>
                  <a:pt x="12" y="74"/>
                  <a:pt x="12" y="74"/>
                  <a:pt x="12" y="74"/>
                </a:cubicBezTo>
                <a:cubicBezTo>
                  <a:pt x="11" y="74"/>
                  <a:pt x="11" y="74"/>
                  <a:pt x="11" y="74"/>
                </a:cubicBezTo>
                <a:cubicBezTo>
                  <a:pt x="12" y="73"/>
                  <a:pt x="12" y="73"/>
                  <a:pt x="12" y="73"/>
                </a:cubicBezTo>
                <a:cubicBezTo>
                  <a:pt x="12" y="72"/>
                  <a:pt x="12" y="72"/>
                  <a:pt x="12" y="72"/>
                </a:cubicBezTo>
                <a:cubicBezTo>
                  <a:pt x="13" y="71"/>
                  <a:pt x="13" y="71"/>
                  <a:pt x="13" y="71"/>
                </a:cubicBezTo>
                <a:cubicBezTo>
                  <a:pt x="12" y="71"/>
                  <a:pt x="12" y="71"/>
                  <a:pt x="12" y="71"/>
                </a:cubicBezTo>
                <a:cubicBezTo>
                  <a:pt x="12" y="69"/>
                  <a:pt x="12" y="69"/>
                  <a:pt x="12" y="69"/>
                </a:cubicBezTo>
                <a:cubicBezTo>
                  <a:pt x="12" y="68"/>
                  <a:pt x="12" y="68"/>
                  <a:pt x="12" y="68"/>
                </a:cubicBezTo>
                <a:cubicBezTo>
                  <a:pt x="13" y="67"/>
                  <a:pt x="13" y="67"/>
                  <a:pt x="13" y="67"/>
                </a:cubicBezTo>
                <a:cubicBezTo>
                  <a:pt x="13" y="65"/>
                  <a:pt x="13" y="65"/>
                  <a:pt x="13" y="65"/>
                </a:cubicBezTo>
                <a:cubicBezTo>
                  <a:pt x="15" y="64"/>
                  <a:pt x="15" y="64"/>
                  <a:pt x="15" y="64"/>
                </a:cubicBezTo>
                <a:cubicBezTo>
                  <a:pt x="16" y="61"/>
                  <a:pt x="16" y="61"/>
                  <a:pt x="16" y="61"/>
                </a:cubicBezTo>
                <a:cubicBezTo>
                  <a:pt x="17" y="60"/>
                  <a:pt x="17" y="60"/>
                  <a:pt x="17" y="60"/>
                </a:cubicBezTo>
                <a:cubicBezTo>
                  <a:pt x="17" y="58"/>
                  <a:pt x="17" y="58"/>
                  <a:pt x="17" y="58"/>
                </a:cubicBezTo>
                <a:cubicBezTo>
                  <a:pt x="16" y="57"/>
                  <a:pt x="16" y="57"/>
                  <a:pt x="16" y="57"/>
                </a:cubicBezTo>
                <a:cubicBezTo>
                  <a:pt x="16" y="55"/>
                  <a:pt x="16" y="55"/>
                  <a:pt x="16" y="55"/>
                </a:cubicBezTo>
                <a:cubicBezTo>
                  <a:pt x="16" y="54"/>
                  <a:pt x="16" y="54"/>
                  <a:pt x="16" y="54"/>
                </a:cubicBezTo>
                <a:cubicBezTo>
                  <a:pt x="15" y="52"/>
                  <a:pt x="15" y="52"/>
                  <a:pt x="15" y="52"/>
                </a:cubicBezTo>
                <a:cubicBezTo>
                  <a:pt x="15" y="51"/>
                  <a:pt x="15" y="51"/>
                  <a:pt x="15" y="51"/>
                </a:cubicBezTo>
                <a:cubicBezTo>
                  <a:pt x="15" y="50"/>
                  <a:pt x="15" y="50"/>
                  <a:pt x="15" y="50"/>
                </a:cubicBezTo>
                <a:cubicBezTo>
                  <a:pt x="14" y="48"/>
                  <a:pt x="14" y="48"/>
                  <a:pt x="14" y="48"/>
                </a:cubicBezTo>
                <a:cubicBezTo>
                  <a:pt x="15" y="47"/>
                  <a:pt x="15" y="47"/>
                  <a:pt x="15" y="47"/>
                </a:cubicBezTo>
                <a:cubicBezTo>
                  <a:pt x="14" y="45"/>
                  <a:pt x="14" y="45"/>
                  <a:pt x="14" y="45"/>
                </a:cubicBezTo>
                <a:cubicBezTo>
                  <a:pt x="12" y="43"/>
                  <a:pt x="12" y="43"/>
                  <a:pt x="12" y="43"/>
                </a:cubicBezTo>
                <a:cubicBezTo>
                  <a:pt x="10" y="42"/>
                  <a:pt x="10" y="42"/>
                  <a:pt x="10" y="42"/>
                </a:cubicBezTo>
                <a:cubicBezTo>
                  <a:pt x="9" y="40"/>
                  <a:pt x="9" y="40"/>
                  <a:pt x="9" y="40"/>
                </a:cubicBezTo>
                <a:cubicBezTo>
                  <a:pt x="9" y="38"/>
                  <a:pt x="9" y="38"/>
                  <a:pt x="9" y="38"/>
                </a:cubicBezTo>
                <a:cubicBezTo>
                  <a:pt x="8" y="36"/>
                  <a:pt x="8" y="36"/>
                  <a:pt x="8" y="36"/>
                </a:cubicBezTo>
                <a:cubicBezTo>
                  <a:pt x="9" y="35"/>
                  <a:pt x="9" y="35"/>
                  <a:pt x="9" y="35"/>
                </a:cubicBezTo>
                <a:cubicBezTo>
                  <a:pt x="9" y="34"/>
                  <a:pt x="9" y="34"/>
                  <a:pt x="9" y="34"/>
                </a:cubicBezTo>
                <a:cubicBezTo>
                  <a:pt x="9" y="31"/>
                  <a:pt x="9" y="31"/>
                  <a:pt x="9" y="31"/>
                </a:cubicBezTo>
                <a:cubicBezTo>
                  <a:pt x="9" y="30"/>
                  <a:pt x="9" y="30"/>
                  <a:pt x="9" y="30"/>
                </a:cubicBezTo>
                <a:cubicBezTo>
                  <a:pt x="10" y="30"/>
                  <a:pt x="10" y="30"/>
                  <a:pt x="10" y="30"/>
                </a:cubicBezTo>
                <a:cubicBezTo>
                  <a:pt x="10" y="28"/>
                  <a:pt x="10" y="28"/>
                  <a:pt x="10" y="28"/>
                </a:cubicBezTo>
                <a:cubicBezTo>
                  <a:pt x="9" y="28"/>
                  <a:pt x="9" y="28"/>
                  <a:pt x="9" y="28"/>
                </a:cubicBezTo>
                <a:cubicBezTo>
                  <a:pt x="9" y="26"/>
                  <a:pt x="9" y="26"/>
                  <a:pt x="9" y="26"/>
                </a:cubicBezTo>
                <a:cubicBezTo>
                  <a:pt x="8" y="25"/>
                  <a:pt x="8" y="25"/>
                  <a:pt x="8" y="25"/>
                </a:cubicBezTo>
                <a:cubicBezTo>
                  <a:pt x="7" y="24"/>
                  <a:pt x="7" y="24"/>
                  <a:pt x="7" y="24"/>
                </a:cubicBezTo>
                <a:cubicBezTo>
                  <a:pt x="5" y="21"/>
                  <a:pt x="5" y="21"/>
                  <a:pt x="5" y="21"/>
                </a:cubicBezTo>
                <a:cubicBezTo>
                  <a:pt x="4" y="20"/>
                  <a:pt x="4" y="20"/>
                  <a:pt x="4" y="20"/>
                </a:cubicBezTo>
                <a:cubicBezTo>
                  <a:pt x="3" y="19"/>
                  <a:pt x="3" y="19"/>
                  <a:pt x="3" y="19"/>
                </a:cubicBezTo>
                <a:cubicBezTo>
                  <a:pt x="3" y="18"/>
                  <a:pt x="3" y="18"/>
                  <a:pt x="3" y="18"/>
                </a:cubicBezTo>
                <a:cubicBezTo>
                  <a:pt x="1" y="16"/>
                  <a:pt x="1" y="16"/>
                  <a:pt x="1" y="16"/>
                </a:cubicBezTo>
                <a:cubicBezTo>
                  <a:pt x="1" y="16"/>
                  <a:pt x="1" y="16"/>
                  <a:pt x="1" y="16"/>
                </a:cubicBezTo>
                <a:cubicBezTo>
                  <a:pt x="0" y="15"/>
                  <a:pt x="0" y="15"/>
                  <a:pt x="0" y="15"/>
                </a:cubicBezTo>
                <a:cubicBezTo>
                  <a:pt x="2" y="15"/>
                  <a:pt x="2" y="15"/>
                  <a:pt x="2" y="15"/>
                </a:cubicBezTo>
                <a:cubicBezTo>
                  <a:pt x="3" y="14"/>
                  <a:pt x="3" y="14"/>
                  <a:pt x="3" y="14"/>
                </a:cubicBezTo>
                <a:cubicBezTo>
                  <a:pt x="3" y="13"/>
                  <a:pt x="3" y="13"/>
                  <a:pt x="3" y="13"/>
                </a:cubicBezTo>
                <a:cubicBezTo>
                  <a:pt x="3" y="11"/>
                  <a:pt x="3" y="11"/>
                  <a:pt x="3" y="11"/>
                </a:cubicBezTo>
                <a:cubicBezTo>
                  <a:pt x="4" y="10"/>
                  <a:pt x="4" y="10"/>
                  <a:pt x="4" y="10"/>
                </a:cubicBezTo>
                <a:cubicBezTo>
                  <a:pt x="3" y="8"/>
                  <a:pt x="3" y="8"/>
                  <a:pt x="3" y="8"/>
                </a:cubicBezTo>
                <a:cubicBezTo>
                  <a:pt x="4" y="6"/>
                  <a:pt x="4" y="6"/>
                  <a:pt x="4" y="6"/>
                </a:cubicBezTo>
                <a:cubicBezTo>
                  <a:pt x="7" y="7"/>
                  <a:pt x="7" y="7"/>
                  <a:pt x="7" y="7"/>
                </a:cubicBezTo>
                <a:cubicBezTo>
                  <a:pt x="8" y="6"/>
                  <a:pt x="8" y="6"/>
                  <a:pt x="8" y="6"/>
                </a:cubicBezTo>
                <a:cubicBezTo>
                  <a:pt x="10" y="6"/>
                  <a:pt x="10" y="6"/>
                  <a:pt x="10" y="6"/>
                </a:cubicBezTo>
                <a:cubicBezTo>
                  <a:pt x="10" y="6"/>
                  <a:pt x="10" y="6"/>
                  <a:pt x="10" y="6"/>
                </a:cubicBezTo>
                <a:cubicBezTo>
                  <a:pt x="10" y="4"/>
                  <a:pt x="10" y="4"/>
                  <a:pt x="10" y="4"/>
                </a:cubicBezTo>
                <a:cubicBezTo>
                  <a:pt x="11" y="3"/>
                  <a:pt x="11" y="3"/>
                  <a:pt x="11" y="3"/>
                </a:cubicBezTo>
                <a:cubicBezTo>
                  <a:pt x="12" y="3"/>
                  <a:pt x="12" y="3"/>
                  <a:pt x="12" y="3"/>
                </a:cubicBezTo>
                <a:cubicBezTo>
                  <a:pt x="13" y="3"/>
                  <a:pt x="13" y="3"/>
                  <a:pt x="13" y="3"/>
                </a:cubicBezTo>
                <a:cubicBezTo>
                  <a:pt x="12" y="2"/>
                  <a:pt x="12" y="2"/>
                  <a:pt x="12" y="2"/>
                </a:cubicBezTo>
                <a:cubicBezTo>
                  <a:pt x="12" y="1"/>
                  <a:pt x="12" y="1"/>
                  <a:pt x="12" y="1"/>
                </a:cubicBezTo>
                <a:cubicBezTo>
                  <a:pt x="14" y="1"/>
                  <a:pt x="14" y="1"/>
                  <a:pt x="14" y="1"/>
                </a:cubicBezTo>
                <a:cubicBezTo>
                  <a:pt x="15" y="1"/>
                  <a:pt x="15" y="1"/>
                  <a:pt x="15" y="1"/>
                </a:cubicBezTo>
                <a:cubicBezTo>
                  <a:pt x="15" y="0"/>
                  <a:pt x="15" y="0"/>
                  <a:pt x="15" y="0"/>
                </a:cubicBezTo>
                <a:close/>
                <a:moveTo>
                  <a:pt x="19" y="93"/>
                </a:moveTo>
                <a:cubicBezTo>
                  <a:pt x="19" y="94"/>
                  <a:pt x="19" y="94"/>
                  <a:pt x="19" y="94"/>
                </a:cubicBezTo>
                <a:cubicBezTo>
                  <a:pt x="20" y="94"/>
                  <a:pt x="20" y="94"/>
                  <a:pt x="20" y="94"/>
                </a:cubicBezTo>
                <a:cubicBezTo>
                  <a:pt x="20" y="93"/>
                  <a:pt x="20" y="93"/>
                  <a:pt x="20" y="93"/>
                </a:cubicBezTo>
                <a:cubicBezTo>
                  <a:pt x="19" y="93"/>
                  <a:pt x="19" y="93"/>
                  <a:pt x="19" y="93"/>
                </a:cubicBezTo>
                <a:cubicBezTo>
                  <a:pt x="19" y="93"/>
                  <a:pt x="19" y="93"/>
                  <a:pt x="19" y="93"/>
                </a:cubicBezTo>
                <a:close/>
                <a:moveTo>
                  <a:pt x="15" y="87"/>
                </a:moveTo>
                <a:cubicBezTo>
                  <a:pt x="15" y="88"/>
                  <a:pt x="15" y="88"/>
                  <a:pt x="15" y="88"/>
                </a:cubicBezTo>
                <a:cubicBezTo>
                  <a:pt x="15" y="87"/>
                  <a:pt x="15" y="87"/>
                  <a:pt x="15" y="87"/>
                </a:cubicBezTo>
                <a:cubicBezTo>
                  <a:pt x="15" y="87"/>
                  <a:pt x="15" y="87"/>
                  <a:pt x="15" y="87"/>
                </a:cubicBezTo>
                <a:cubicBezTo>
                  <a:pt x="15" y="87"/>
                  <a:pt x="15" y="87"/>
                  <a:pt x="15" y="87"/>
                </a:cubicBezTo>
                <a:close/>
                <a:moveTo>
                  <a:pt x="11" y="84"/>
                </a:moveTo>
                <a:cubicBezTo>
                  <a:pt x="10" y="85"/>
                  <a:pt x="10" y="85"/>
                  <a:pt x="10" y="85"/>
                </a:cubicBezTo>
                <a:cubicBezTo>
                  <a:pt x="11" y="85"/>
                  <a:pt x="11" y="85"/>
                  <a:pt x="11" y="85"/>
                </a:cubicBezTo>
                <a:cubicBezTo>
                  <a:pt x="10" y="86"/>
                  <a:pt x="10" y="86"/>
                  <a:pt x="10" y="86"/>
                </a:cubicBezTo>
                <a:cubicBezTo>
                  <a:pt x="11" y="85"/>
                  <a:pt x="11" y="85"/>
                  <a:pt x="11" y="85"/>
                </a:cubicBezTo>
                <a:cubicBezTo>
                  <a:pt x="11" y="84"/>
                  <a:pt x="11" y="84"/>
                  <a:pt x="11" y="84"/>
                </a:cubicBezTo>
                <a:cubicBezTo>
                  <a:pt x="11" y="84"/>
                  <a:pt x="11" y="84"/>
                  <a:pt x="11" y="84"/>
                </a:cubicBezTo>
                <a:close/>
                <a:moveTo>
                  <a:pt x="33" y="57"/>
                </a:moveTo>
                <a:cubicBezTo>
                  <a:pt x="33" y="58"/>
                  <a:pt x="33" y="58"/>
                  <a:pt x="33" y="58"/>
                </a:cubicBezTo>
                <a:cubicBezTo>
                  <a:pt x="34" y="59"/>
                  <a:pt x="34" y="59"/>
                  <a:pt x="34" y="59"/>
                </a:cubicBezTo>
                <a:cubicBezTo>
                  <a:pt x="35" y="58"/>
                  <a:pt x="35" y="58"/>
                  <a:pt x="35" y="58"/>
                </a:cubicBezTo>
                <a:cubicBezTo>
                  <a:pt x="33" y="57"/>
                  <a:pt x="33" y="57"/>
                  <a:pt x="33" y="57"/>
                </a:cubicBezTo>
                <a:close/>
                <a:moveTo>
                  <a:pt x="21" y="72"/>
                </a:moveTo>
                <a:cubicBezTo>
                  <a:pt x="20" y="73"/>
                  <a:pt x="20" y="73"/>
                  <a:pt x="20" y="73"/>
                </a:cubicBezTo>
                <a:cubicBezTo>
                  <a:pt x="21" y="73"/>
                  <a:pt x="21" y="73"/>
                  <a:pt x="21" y="73"/>
                </a:cubicBezTo>
                <a:cubicBezTo>
                  <a:pt x="21" y="72"/>
                  <a:pt x="21" y="72"/>
                  <a:pt x="21" y="72"/>
                </a:cubicBezTo>
                <a:close/>
                <a:moveTo>
                  <a:pt x="21" y="74"/>
                </a:moveTo>
                <a:cubicBezTo>
                  <a:pt x="20" y="74"/>
                  <a:pt x="20" y="74"/>
                  <a:pt x="20" y="74"/>
                </a:cubicBezTo>
                <a:cubicBezTo>
                  <a:pt x="20" y="75"/>
                  <a:pt x="20" y="75"/>
                  <a:pt x="20" y="75"/>
                </a:cubicBezTo>
                <a:cubicBezTo>
                  <a:pt x="21" y="76"/>
                  <a:pt x="21" y="76"/>
                  <a:pt x="21" y="76"/>
                </a:cubicBezTo>
                <a:cubicBezTo>
                  <a:pt x="22" y="74"/>
                  <a:pt x="22" y="74"/>
                  <a:pt x="22" y="74"/>
                </a:cubicBezTo>
                <a:lnTo>
                  <a:pt x="21" y="74"/>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5" name="Freeform 33">
            <a:extLst>
              <a:ext uri="{FF2B5EF4-FFF2-40B4-BE49-F238E27FC236}">
                <a16:creationId xmlns:a16="http://schemas.microsoft.com/office/drawing/2014/main" id="{95E54B2B-62DF-FF2A-C6C5-E98F2F592D05}"/>
              </a:ext>
            </a:extLst>
          </p:cNvPr>
          <p:cNvSpPr>
            <a:spLocks noEditPoints="1"/>
          </p:cNvSpPr>
          <p:nvPr userDrawn="1"/>
        </p:nvSpPr>
        <p:spPr bwMode="auto">
          <a:xfrm>
            <a:off x="18874144" y="7498635"/>
            <a:ext cx="555590" cy="1250950"/>
          </a:xfrm>
          <a:custGeom>
            <a:avLst/>
            <a:gdLst>
              <a:gd name="T0" fmla="*/ 97 w 175"/>
              <a:gd name="T1" fmla="*/ 6 h 394"/>
              <a:gd name="T2" fmla="*/ 113 w 175"/>
              <a:gd name="T3" fmla="*/ 31 h 394"/>
              <a:gd name="T4" fmla="*/ 106 w 175"/>
              <a:gd name="T5" fmla="*/ 60 h 394"/>
              <a:gd name="T6" fmla="*/ 97 w 175"/>
              <a:gd name="T7" fmla="*/ 69 h 394"/>
              <a:gd name="T8" fmla="*/ 100 w 175"/>
              <a:gd name="T9" fmla="*/ 85 h 394"/>
              <a:gd name="T10" fmla="*/ 119 w 175"/>
              <a:gd name="T11" fmla="*/ 94 h 394"/>
              <a:gd name="T12" fmla="*/ 128 w 175"/>
              <a:gd name="T13" fmla="*/ 110 h 394"/>
              <a:gd name="T14" fmla="*/ 144 w 175"/>
              <a:gd name="T15" fmla="*/ 113 h 394"/>
              <a:gd name="T16" fmla="*/ 135 w 175"/>
              <a:gd name="T17" fmla="*/ 135 h 394"/>
              <a:gd name="T18" fmla="*/ 150 w 175"/>
              <a:gd name="T19" fmla="*/ 141 h 394"/>
              <a:gd name="T20" fmla="*/ 175 w 175"/>
              <a:gd name="T21" fmla="*/ 144 h 394"/>
              <a:gd name="T22" fmla="*/ 163 w 175"/>
              <a:gd name="T23" fmla="*/ 163 h 394"/>
              <a:gd name="T24" fmla="*/ 144 w 175"/>
              <a:gd name="T25" fmla="*/ 175 h 394"/>
              <a:gd name="T26" fmla="*/ 138 w 175"/>
              <a:gd name="T27" fmla="*/ 188 h 394"/>
              <a:gd name="T28" fmla="*/ 116 w 175"/>
              <a:gd name="T29" fmla="*/ 204 h 394"/>
              <a:gd name="T30" fmla="*/ 110 w 175"/>
              <a:gd name="T31" fmla="*/ 219 h 394"/>
              <a:gd name="T32" fmla="*/ 132 w 175"/>
              <a:gd name="T33" fmla="*/ 247 h 394"/>
              <a:gd name="T34" fmla="*/ 135 w 175"/>
              <a:gd name="T35" fmla="*/ 266 h 394"/>
              <a:gd name="T36" fmla="*/ 138 w 175"/>
              <a:gd name="T37" fmla="*/ 301 h 394"/>
              <a:gd name="T38" fmla="*/ 153 w 175"/>
              <a:gd name="T39" fmla="*/ 329 h 394"/>
              <a:gd name="T40" fmla="*/ 160 w 175"/>
              <a:gd name="T41" fmla="*/ 357 h 394"/>
              <a:gd name="T42" fmla="*/ 144 w 175"/>
              <a:gd name="T43" fmla="*/ 385 h 394"/>
              <a:gd name="T44" fmla="*/ 138 w 175"/>
              <a:gd name="T45" fmla="*/ 379 h 394"/>
              <a:gd name="T46" fmla="*/ 144 w 175"/>
              <a:gd name="T47" fmla="*/ 369 h 394"/>
              <a:gd name="T48" fmla="*/ 144 w 175"/>
              <a:gd name="T49" fmla="*/ 351 h 394"/>
              <a:gd name="T50" fmla="*/ 138 w 175"/>
              <a:gd name="T51" fmla="*/ 322 h 394"/>
              <a:gd name="T52" fmla="*/ 132 w 175"/>
              <a:gd name="T53" fmla="*/ 316 h 394"/>
              <a:gd name="T54" fmla="*/ 122 w 175"/>
              <a:gd name="T55" fmla="*/ 291 h 394"/>
              <a:gd name="T56" fmla="*/ 116 w 175"/>
              <a:gd name="T57" fmla="*/ 266 h 394"/>
              <a:gd name="T58" fmla="*/ 113 w 175"/>
              <a:gd name="T59" fmla="*/ 257 h 394"/>
              <a:gd name="T60" fmla="*/ 100 w 175"/>
              <a:gd name="T61" fmla="*/ 241 h 394"/>
              <a:gd name="T62" fmla="*/ 100 w 175"/>
              <a:gd name="T63" fmla="*/ 244 h 394"/>
              <a:gd name="T64" fmla="*/ 88 w 175"/>
              <a:gd name="T65" fmla="*/ 254 h 394"/>
              <a:gd name="T66" fmla="*/ 85 w 175"/>
              <a:gd name="T67" fmla="*/ 260 h 394"/>
              <a:gd name="T68" fmla="*/ 66 w 175"/>
              <a:gd name="T69" fmla="*/ 269 h 394"/>
              <a:gd name="T70" fmla="*/ 56 w 175"/>
              <a:gd name="T71" fmla="*/ 272 h 394"/>
              <a:gd name="T72" fmla="*/ 53 w 175"/>
              <a:gd name="T73" fmla="*/ 266 h 394"/>
              <a:gd name="T74" fmla="*/ 56 w 175"/>
              <a:gd name="T75" fmla="*/ 241 h 394"/>
              <a:gd name="T76" fmla="*/ 47 w 175"/>
              <a:gd name="T77" fmla="*/ 219 h 394"/>
              <a:gd name="T78" fmla="*/ 35 w 175"/>
              <a:gd name="T79" fmla="*/ 197 h 394"/>
              <a:gd name="T80" fmla="*/ 22 w 175"/>
              <a:gd name="T81" fmla="*/ 197 h 394"/>
              <a:gd name="T82" fmla="*/ 31 w 175"/>
              <a:gd name="T83" fmla="*/ 197 h 394"/>
              <a:gd name="T84" fmla="*/ 31 w 175"/>
              <a:gd name="T85" fmla="*/ 185 h 394"/>
              <a:gd name="T86" fmla="*/ 16 w 175"/>
              <a:gd name="T87" fmla="*/ 182 h 394"/>
              <a:gd name="T88" fmla="*/ 13 w 175"/>
              <a:gd name="T89" fmla="*/ 179 h 394"/>
              <a:gd name="T90" fmla="*/ 0 w 175"/>
              <a:gd name="T91" fmla="*/ 157 h 394"/>
              <a:gd name="T92" fmla="*/ 13 w 175"/>
              <a:gd name="T93" fmla="*/ 138 h 394"/>
              <a:gd name="T94" fmla="*/ 19 w 175"/>
              <a:gd name="T95" fmla="*/ 119 h 394"/>
              <a:gd name="T96" fmla="*/ 28 w 175"/>
              <a:gd name="T97" fmla="*/ 97 h 394"/>
              <a:gd name="T98" fmla="*/ 41 w 175"/>
              <a:gd name="T99" fmla="*/ 57 h 394"/>
              <a:gd name="T100" fmla="*/ 56 w 175"/>
              <a:gd name="T101" fmla="*/ 25 h 394"/>
              <a:gd name="T102" fmla="*/ 75 w 175"/>
              <a:gd name="T103" fmla="*/ 16 h 394"/>
              <a:gd name="T104" fmla="*/ 25 w 175"/>
              <a:gd name="T105" fmla="*/ 2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5" h="394">
                <a:moveTo>
                  <a:pt x="78" y="3"/>
                </a:moveTo>
                <a:lnTo>
                  <a:pt x="81" y="0"/>
                </a:lnTo>
                <a:lnTo>
                  <a:pt x="88" y="3"/>
                </a:lnTo>
                <a:lnTo>
                  <a:pt x="91" y="0"/>
                </a:lnTo>
                <a:lnTo>
                  <a:pt x="94" y="0"/>
                </a:lnTo>
                <a:lnTo>
                  <a:pt x="97" y="6"/>
                </a:lnTo>
                <a:lnTo>
                  <a:pt x="100" y="10"/>
                </a:lnTo>
                <a:lnTo>
                  <a:pt x="103" y="16"/>
                </a:lnTo>
                <a:lnTo>
                  <a:pt x="106" y="16"/>
                </a:lnTo>
                <a:lnTo>
                  <a:pt x="110" y="19"/>
                </a:lnTo>
                <a:lnTo>
                  <a:pt x="110" y="25"/>
                </a:lnTo>
                <a:lnTo>
                  <a:pt x="113" y="31"/>
                </a:lnTo>
                <a:lnTo>
                  <a:pt x="113" y="38"/>
                </a:lnTo>
                <a:lnTo>
                  <a:pt x="113" y="47"/>
                </a:lnTo>
                <a:lnTo>
                  <a:pt x="113" y="50"/>
                </a:lnTo>
                <a:lnTo>
                  <a:pt x="110" y="53"/>
                </a:lnTo>
                <a:lnTo>
                  <a:pt x="106" y="53"/>
                </a:lnTo>
                <a:lnTo>
                  <a:pt x="106" y="60"/>
                </a:lnTo>
                <a:lnTo>
                  <a:pt x="103" y="60"/>
                </a:lnTo>
                <a:lnTo>
                  <a:pt x="103" y="63"/>
                </a:lnTo>
                <a:lnTo>
                  <a:pt x="106" y="66"/>
                </a:lnTo>
                <a:lnTo>
                  <a:pt x="103" y="69"/>
                </a:lnTo>
                <a:lnTo>
                  <a:pt x="100" y="66"/>
                </a:lnTo>
                <a:lnTo>
                  <a:pt x="97" y="69"/>
                </a:lnTo>
                <a:lnTo>
                  <a:pt x="97" y="72"/>
                </a:lnTo>
                <a:lnTo>
                  <a:pt x="97" y="75"/>
                </a:lnTo>
                <a:lnTo>
                  <a:pt x="97" y="78"/>
                </a:lnTo>
                <a:lnTo>
                  <a:pt x="97" y="82"/>
                </a:lnTo>
                <a:lnTo>
                  <a:pt x="100" y="82"/>
                </a:lnTo>
                <a:lnTo>
                  <a:pt x="100" y="85"/>
                </a:lnTo>
                <a:lnTo>
                  <a:pt x="103" y="88"/>
                </a:lnTo>
                <a:lnTo>
                  <a:pt x="103" y="94"/>
                </a:lnTo>
                <a:lnTo>
                  <a:pt x="106" y="97"/>
                </a:lnTo>
                <a:lnTo>
                  <a:pt x="110" y="94"/>
                </a:lnTo>
                <a:lnTo>
                  <a:pt x="119" y="91"/>
                </a:lnTo>
                <a:lnTo>
                  <a:pt x="119" y="94"/>
                </a:lnTo>
                <a:lnTo>
                  <a:pt x="119" y="97"/>
                </a:lnTo>
                <a:lnTo>
                  <a:pt x="122" y="100"/>
                </a:lnTo>
                <a:lnTo>
                  <a:pt x="125" y="97"/>
                </a:lnTo>
                <a:lnTo>
                  <a:pt x="128" y="100"/>
                </a:lnTo>
                <a:lnTo>
                  <a:pt x="125" y="107"/>
                </a:lnTo>
                <a:lnTo>
                  <a:pt x="128" y="110"/>
                </a:lnTo>
                <a:lnTo>
                  <a:pt x="135" y="110"/>
                </a:lnTo>
                <a:lnTo>
                  <a:pt x="132" y="110"/>
                </a:lnTo>
                <a:lnTo>
                  <a:pt x="135" y="113"/>
                </a:lnTo>
                <a:lnTo>
                  <a:pt x="135" y="113"/>
                </a:lnTo>
                <a:lnTo>
                  <a:pt x="141" y="113"/>
                </a:lnTo>
                <a:lnTo>
                  <a:pt x="144" y="113"/>
                </a:lnTo>
                <a:lnTo>
                  <a:pt x="144" y="116"/>
                </a:lnTo>
                <a:lnTo>
                  <a:pt x="141" y="119"/>
                </a:lnTo>
                <a:lnTo>
                  <a:pt x="141" y="122"/>
                </a:lnTo>
                <a:lnTo>
                  <a:pt x="138" y="128"/>
                </a:lnTo>
                <a:lnTo>
                  <a:pt x="135" y="135"/>
                </a:lnTo>
                <a:lnTo>
                  <a:pt x="135" y="135"/>
                </a:lnTo>
                <a:lnTo>
                  <a:pt x="138" y="135"/>
                </a:lnTo>
                <a:lnTo>
                  <a:pt x="144" y="135"/>
                </a:lnTo>
                <a:lnTo>
                  <a:pt x="144" y="138"/>
                </a:lnTo>
                <a:lnTo>
                  <a:pt x="147" y="135"/>
                </a:lnTo>
                <a:lnTo>
                  <a:pt x="150" y="138"/>
                </a:lnTo>
                <a:lnTo>
                  <a:pt x="150" y="141"/>
                </a:lnTo>
                <a:lnTo>
                  <a:pt x="150" y="147"/>
                </a:lnTo>
                <a:lnTo>
                  <a:pt x="157" y="147"/>
                </a:lnTo>
                <a:lnTo>
                  <a:pt x="160" y="147"/>
                </a:lnTo>
                <a:lnTo>
                  <a:pt x="163" y="147"/>
                </a:lnTo>
                <a:lnTo>
                  <a:pt x="172" y="141"/>
                </a:lnTo>
                <a:lnTo>
                  <a:pt x="175" y="144"/>
                </a:lnTo>
                <a:lnTo>
                  <a:pt x="175" y="147"/>
                </a:lnTo>
                <a:lnTo>
                  <a:pt x="169" y="150"/>
                </a:lnTo>
                <a:lnTo>
                  <a:pt x="163" y="153"/>
                </a:lnTo>
                <a:lnTo>
                  <a:pt x="163" y="157"/>
                </a:lnTo>
                <a:lnTo>
                  <a:pt x="163" y="160"/>
                </a:lnTo>
                <a:lnTo>
                  <a:pt x="163" y="163"/>
                </a:lnTo>
                <a:lnTo>
                  <a:pt x="160" y="166"/>
                </a:lnTo>
                <a:lnTo>
                  <a:pt x="157" y="166"/>
                </a:lnTo>
                <a:lnTo>
                  <a:pt x="153" y="172"/>
                </a:lnTo>
                <a:lnTo>
                  <a:pt x="150" y="172"/>
                </a:lnTo>
                <a:lnTo>
                  <a:pt x="144" y="172"/>
                </a:lnTo>
                <a:lnTo>
                  <a:pt x="144" y="175"/>
                </a:lnTo>
                <a:lnTo>
                  <a:pt x="147" y="179"/>
                </a:lnTo>
                <a:lnTo>
                  <a:pt x="144" y="179"/>
                </a:lnTo>
                <a:lnTo>
                  <a:pt x="141" y="179"/>
                </a:lnTo>
                <a:lnTo>
                  <a:pt x="138" y="182"/>
                </a:lnTo>
                <a:lnTo>
                  <a:pt x="138" y="188"/>
                </a:lnTo>
                <a:lnTo>
                  <a:pt x="138" y="188"/>
                </a:lnTo>
                <a:lnTo>
                  <a:pt x="132" y="188"/>
                </a:lnTo>
                <a:lnTo>
                  <a:pt x="128" y="191"/>
                </a:lnTo>
                <a:lnTo>
                  <a:pt x="119" y="188"/>
                </a:lnTo>
                <a:lnTo>
                  <a:pt x="116" y="194"/>
                </a:lnTo>
                <a:lnTo>
                  <a:pt x="119" y="200"/>
                </a:lnTo>
                <a:lnTo>
                  <a:pt x="116" y="204"/>
                </a:lnTo>
                <a:lnTo>
                  <a:pt x="116" y="210"/>
                </a:lnTo>
                <a:lnTo>
                  <a:pt x="116" y="213"/>
                </a:lnTo>
                <a:lnTo>
                  <a:pt x="113" y="216"/>
                </a:lnTo>
                <a:lnTo>
                  <a:pt x="106" y="216"/>
                </a:lnTo>
                <a:lnTo>
                  <a:pt x="110" y="219"/>
                </a:lnTo>
                <a:lnTo>
                  <a:pt x="110" y="219"/>
                </a:lnTo>
                <a:lnTo>
                  <a:pt x="116" y="225"/>
                </a:lnTo>
                <a:lnTo>
                  <a:pt x="116" y="229"/>
                </a:lnTo>
                <a:lnTo>
                  <a:pt x="119" y="232"/>
                </a:lnTo>
                <a:lnTo>
                  <a:pt x="122" y="235"/>
                </a:lnTo>
                <a:lnTo>
                  <a:pt x="128" y="244"/>
                </a:lnTo>
                <a:lnTo>
                  <a:pt x="132" y="247"/>
                </a:lnTo>
                <a:lnTo>
                  <a:pt x="135" y="250"/>
                </a:lnTo>
                <a:lnTo>
                  <a:pt x="135" y="257"/>
                </a:lnTo>
                <a:lnTo>
                  <a:pt x="138" y="257"/>
                </a:lnTo>
                <a:lnTo>
                  <a:pt x="138" y="263"/>
                </a:lnTo>
                <a:lnTo>
                  <a:pt x="135" y="263"/>
                </a:lnTo>
                <a:lnTo>
                  <a:pt x="135" y="266"/>
                </a:lnTo>
                <a:lnTo>
                  <a:pt x="135" y="275"/>
                </a:lnTo>
                <a:lnTo>
                  <a:pt x="135" y="279"/>
                </a:lnTo>
                <a:lnTo>
                  <a:pt x="132" y="282"/>
                </a:lnTo>
                <a:lnTo>
                  <a:pt x="135" y="288"/>
                </a:lnTo>
                <a:lnTo>
                  <a:pt x="135" y="294"/>
                </a:lnTo>
                <a:lnTo>
                  <a:pt x="138" y="301"/>
                </a:lnTo>
                <a:lnTo>
                  <a:pt x="144" y="304"/>
                </a:lnTo>
                <a:lnTo>
                  <a:pt x="150" y="310"/>
                </a:lnTo>
                <a:lnTo>
                  <a:pt x="153" y="316"/>
                </a:lnTo>
                <a:lnTo>
                  <a:pt x="150" y="319"/>
                </a:lnTo>
                <a:lnTo>
                  <a:pt x="153" y="326"/>
                </a:lnTo>
                <a:lnTo>
                  <a:pt x="153" y="329"/>
                </a:lnTo>
                <a:lnTo>
                  <a:pt x="153" y="332"/>
                </a:lnTo>
                <a:lnTo>
                  <a:pt x="157" y="338"/>
                </a:lnTo>
                <a:lnTo>
                  <a:pt x="157" y="341"/>
                </a:lnTo>
                <a:lnTo>
                  <a:pt x="157" y="347"/>
                </a:lnTo>
                <a:lnTo>
                  <a:pt x="160" y="351"/>
                </a:lnTo>
                <a:lnTo>
                  <a:pt x="160" y="357"/>
                </a:lnTo>
                <a:lnTo>
                  <a:pt x="157" y="360"/>
                </a:lnTo>
                <a:lnTo>
                  <a:pt x="153" y="369"/>
                </a:lnTo>
                <a:lnTo>
                  <a:pt x="147" y="372"/>
                </a:lnTo>
                <a:lnTo>
                  <a:pt x="147" y="379"/>
                </a:lnTo>
                <a:lnTo>
                  <a:pt x="144" y="382"/>
                </a:lnTo>
                <a:lnTo>
                  <a:pt x="144" y="385"/>
                </a:lnTo>
                <a:lnTo>
                  <a:pt x="144" y="385"/>
                </a:lnTo>
                <a:lnTo>
                  <a:pt x="144" y="388"/>
                </a:lnTo>
                <a:lnTo>
                  <a:pt x="141" y="394"/>
                </a:lnTo>
                <a:lnTo>
                  <a:pt x="141" y="388"/>
                </a:lnTo>
                <a:lnTo>
                  <a:pt x="141" y="382"/>
                </a:lnTo>
                <a:lnTo>
                  <a:pt x="138" y="379"/>
                </a:lnTo>
                <a:lnTo>
                  <a:pt x="138" y="379"/>
                </a:lnTo>
                <a:lnTo>
                  <a:pt x="141" y="379"/>
                </a:lnTo>
                <a:lnTo>
                  <a:pt x="141" y="379"/>
                </a:lnTo>
                <a:lnTo>
                  <a:pt x="144" y="372"/>
                </a:lnTo>
                <a:lnTo>
                  <a:pt x="144" y="369"/>
                </a:lnTo>
                <a:lnTo>
                  <a:pt x="144" y="369"/>
                </a:lnTo>
                <a:lnTo>
                  <a:pt x="144" y="363"/>
                </a:lnTo>
                <a:lnTo>
                  <a:pt x="144" y="363"/>
                </a:lnTo>
                <a:lnTo>
                  <a:pt x="144" y="360"/>
                </a:lnTo>
                <a:lnTo>
                  <a:pt x="144" y="357"/>
                </a:lnTo>
                <a:lnTo>
                  <a:pt x="147" y="354"/>
                </a:lnTo>
                <a:lnTo>
                  <a:pt x="144" y="351"/>
                </a:lnTo>
                <a:lnTo>
                  <a:pt x="141" y="347"/>
                </a:lnTo>
                <a:lnTo>
                  <a:pt x="141" y="341"/>
                </a:lnTo>
                <a:lnTo>
                  <a:pt x="144" y="341"/>
                </a:lnTo>
                <a:lnTo>
                  <a:pt x="141" y="338"/>
                </a:lnTo>
                <a:lnTo>
                  <a:pt x="141" y="335"/>
                </a:lnTo>
                <a:lnTo>
                  <a:pt x="138" y="322"/>
                </a:lnTo>
                <a:lnTo>
                  <a:pt x="135" y="322"/>
                </a:lnTo>
                <a:lnTo>
                  <a:pt x="135" y="316"/>
                </a:lnTo>
                <a:lnTo>
                  <a:pt x="132" y="313"/>
                </a:lnTo>
                <a:lnTo>
                  <a:pt x="132" y="319"/>
                </a:lnTo>
                <a:lnTo>
                  <a:pt x="132" y="319"/>
                </a:lnTo>
                <a:lnTo>
                  <a:pt x="132" y="316"/>
                </a:lnTo>
                <a:lnTo>
                  <a:pt x="128" y="313"/>
                </a:lnTo>
                <a:lnTo>
                  <a:pt x="128" y="304"/>
                </a:lnTo>
                <a:lnTo>
                  <a:pt x="125" y="301"/>
                </a:lnTo>
                <a:lnTo>
                  <a:pt x="125" y="297"/>
                </a:lnTo>
                <a:lnTo>
                  <a:pt x="128" y="294"/>
                </a:lnTo>
                <a:lnTo>
                  <a:pt x="122" y="291"/>
                </a:lnTo>
                <a:lnTo>
                  <a:pt x="122" y="285"/>
                </a:lnTo>
                <a:lnTo>
                  <a:pt x="122" y="285"/>
                </a:lnTo>
                <a:lnTo>
                  <a:pt x="119" y="269"/>
                </a:lnTo>
                <a:lnTo>
                  <a:pt x="116" y="269"/>
                </a:lnTo>
                <a:lnTo>
                  <a:pt x="116" y="266"/>
                </a:lnTo>
                <a:lnTo>
                  <a:pt x="116" y="266"/>
                </a:lnTo>
                <a:lnTo>
                  <a:pt x="116" y="263"/>
                </a:lnTo>
                <a:lnTo>
                  <a:pt x="116" y="257"/>
                </a:lnTo>
                <a:lnTo>
                  <a:pt x="116" y="257"/>
                </a:lnTo>
                <a:lnTo>
                  <a:pt x="116" y="254"/>
                </a:lnTo>
                <a:lnTo>
                  <a:pt x="116" y="257"/>
                </a:lnTo>
                <a:lnTo>
                  <a:pt x="113" y="257"/>
                </a:lnTo>
                <a:lnTo>
                  <a:pt x="110" y="257"/>
                </a:lnTo>
                <a:lnTo>
                  <a:pt x="106" y="254"/>
                </a:lnTo>
                <a:lnTo>
                  <a:pt x="106" y="250"/>
                </a:lnTo>
                <a:lnTo>
                  <a:pt x="103" y="241"/>
                </a:lnTo>
                <a:lnTo>
                  <a:pt x="100" y="241"/>
                </a:lnTo>
                <a:lnTo>
                  <a:pt x="100" y="241"/>
                </a:lnTo>
                <a:lnTo>
                  <a:pt x="100" y="238"/>
                </a:lnTo>
                <a:lnTo>
                  <a:pt x="97" y="235"/>
                </a:lnTo>
                <a:lnTo>
                  <a:pt x="97" y="238"/>
                </a:lnTo>
                <a:lnTo>
                  <a:pt x="97" y="241"/>
                </a:lnTo>
                <a:lnTo>
                  <a:pt x="97" y="241"/>
                </a:lnTo>
                <a:lnTo>
                  <a:pt x="100" y="244"/>
                </a:lnTo>
                <a:lnTo>
                  <a:pt x="100" y="247"/>
                </a:lnTo>
                <a:lnTo>
                  <a:pt x="97" y="250"/>
                </a:lnTo>
                <a:lnTo>
                  <a:pt x="97" y="254"/>
                </a:lnTo>
                <a:lnTo>
                  <a:pt x="94" y="257"/>
                </a:lnTo>
                <a:lnTo>
                  <a:pt x="91" y="257"/>
                </a:lnTo>
                <a:lnTo>
                  <a:pt x="88" y="254"/>
                </a:lnTo>
                <a:lnTo>
                  <a:pt x="85" y="254"/>
                </a:lnTo>
                <a:lnTo>
                  <a:pt x="88" y="257"/>
                </a:lnTo>
                <a:lnTo>
                  <a:pt x="88" y="257"/>
                </a:lnTo>
                <a:lnTo>
                  <a:pt x="91" y="257"/>
                </a:lnTo>
                <a:lnTo>
                  <a:pt x="85" y="260"/>
                </a:lnTo>
                <a:lnTo>
                  <a:pt x="85" y="260"/>
                </a:lnTo>
                <a:lnTo>
                  <a:pt x="81" y="260"/>
                </a:lnTo>
                <a:lnTo>
                  <a:pt x="81" y="263"/>
                </a:lnTo>
                <a:lnTo>
                  <a:pt x="72" y="269"/>
                </a:lnTo>
                <a:lnTo>
                  <a:pt x="69" y="269"/>
                </a:lnTo>
                <a:lnTo>
                  <a:pt x="69" y="269"/>
                </a:lnTo>
                <a:lnTo>
                  <a:pt x="66" y="269"/>
                </a:lnTo>
                <a:lnTo>
                  <a:pt x="66" y="266"/>
                </a:lnTo>
                <a:lnTo>
                  <a:pt x="66" y="269"/>
                </a:lnTo>
                <a:lnTo>
                  <a:pt x="63" y="269"/>
                </a:lnTo>
                <a:lnTo>
                  <a:pt x="60" y="266"/>
                </a:lnTo>
                <a:lnTo>
                  <a:pt x="56" y="269"/>
                </a:lnTo>
                <a:lnTo>
                  <a:pt x="56" y="272"/>
                </a:lnTo>
                <a:lnTo>
                  <a:pt x="53" y="272"/>
                </a:lnTo>
                <a:lnTo>
                  <a:pt x="53" y="266"/>
                </a:lnTo>
                <a:lnTo>
                  <a:pt x="60" y="263"/>
                </a:lnTo>
                <a:lnTo>
                  <a:pt x="60" y="257"/>
                </a:lnTo>
                <a:lnTo>
                  <a:pt x="56" y="263"/>
                </a:lnTo>
                <a:lnTo>
                  <a:pt x="53" y="266"/>
                </a:lnTo>
                <a:lnTo>
                  <a:pt x="50" y="269"/>
                </a:lnTo>
                <a:lnTo>
                  <a:pt x="47" y="269"/>
                </a:lnTo>
                <a:lnTo>
                  <a:pt x="50" y="266"/>
                </a:lnTo>
                <a:lnTo>
                  <a:pt x="47" y="263"/>
                </a:lnTo>
                <a:lnTo>
                  <a:pt x="50" y="244"/>
                </a:lnTo>
                <a:lnTo>
                  <a:pt x="56" y="241"/>
                </a:lnTo>
                <a:lnTo>
                  <a:pt x="53" y="238"/>
                </a:lnTo>
                <a:lnTo>
                  <a:pt x="50" y="232"/>
                </a:lnTo>
                <a:lnTo>
                  <a:pt x="50" y="222"/>
                </a:lnTo>
                <a:lnTo>
                  <a:pt x="47" y="222"/>
                </a:lnTo>
                <a:lnTo>
                  <a:pt x="47" y="219"/>
                </a:lnTo>
                <a:lnTo>
                  <a:pt x="47" y="219"/>
                </a:lnTo>
                <a:lnTo>
                  <a:pt x="44" y="216"/>
                </a:lnTo>
                <a:lnTo>
                  <a:pt x="44" y="210"/>
                </a:lnTo>
                <a:lnTo>
                  <a:pt x="41" y="207"/>
                </a:lnTo>
                <a:lnTo>
                  <a:pt x="41" y="204"/>
                </a:lnTo>
                <a:lnTo>
                  <a:pt x="41" y="200"/>
                </a:lnTo>
                <a:lnTo>
                  <a:pt x="35" y="197"/>
                </a:lnTo>
                <a:lnTo>
                  <a:pt x="38" y="200"/>
                </a:lnTo>
                <a:lnTo>
                  <a:pt x="38" y="210"/>
                </a:lnTo>
                <a:lnTo>
                  <a:pt x="31" y="207"/>
                </a:lnTo>
                <a:lnTo>
                  <a:pt x="28" y="204"/>
                </a:lnTo>
                <a:lnTo>
                  <a:pt x="25" y="200"/>
                </a:lnTo>
                <a:lnTo>
                  <a:pt x="22" y="197"/>
                </a:lnTo>
                <a:lnTo>
                  <a:pt x="22" y="194"/>
                </a:lnTo>
                <a:lnTo>
                  <a:pt x="25" y="194"/>
                </a:lnTo>
                <a:lnTo>
                  <a:pt x="28" y="197"/>
                </a:lnTo>
                <a:lnTo>
                  <a:pt x="31" y="200"/>
                </a:lnTo>
                <a:lnTo>
                  <a:pt x="31" y="197"/>
                </a:lnTo>
                <a:lnTo>
                  <a:pt x="31" y="197"/>
                </a:lnTo>
                <a:lnTo>
                  <a:pt x="28" y="194"/>
                </a:lnTo>
                <a:lnTo>
                  <a:pt x="31" y="194"/>
                </a:lnTo>
                <a:lnTo>
                  <a:pt x="31" y="194"/>
                </a:lnTo>
                <a:lnTo>
                  <a:pt x="35" y="194"/>
                </a:lnTo>
                <a:lnTo>
                  <a:pt x="35" y="191"/>
                </a:lnTo>
                <a:lnTo>
                  <a:pt x="31" y="185"/>
                </a:lnTo>
                <a:lnTo>
                  <a:pt x="25" y="185"/>
                </a:lnTo>
                <a:lnTo>
                  <a:pt x="22" y="182"/>
                </a:lnTo>
                <a:lnTo>
                  <a:pt x="19" y="182"/>
                </a:lnTo>
                <a:lnTo>
                  <a:pt x="19" y="179"/>
                </a:lnTo>
                <a:lnTo>
                  <a:pt x="19" y="182"/>
                </a:lnTo>
                <a:lnTo>
                  <a:pt x="16" y="182"/>
                </a:lnTo>
                <a:lnTo>
                  <a:pt x="16" y="179"/>
                </a:lnTo>
                <a:lnTo>
                  <a:pt x="19" y="175"/>
                </a:lnTo>
                <a:lnTo>
                  <a:pt x="13" y="175"/>
                </a:lnTo>
                <a:lnTo>
                  <a:pt x="10" y="175"/>
                </a:lnTo>
                <a:lnTo>
                  <a:pt x="10" y="175"/>
                </a:lnTo>
                <a:lnTo>
                  <a:pt x="13" y="179"/>
                </a:lnTo>
                <a:lnTo>
                  <a:pt x="3" y="172"/>
                </a:lnTo>
                <a:lnTo>
                  <a:pt x="3" y="166"/>
                </a:lnTo>
                <a:lnTo>
                  <a:pt x="0" y="163"/>
                </a:lnTo>
                <a:lnTo>
                  <a:pt x="0" y="163"/>
                </a:lnTo>
                <a:lnTo>
                  <a:pt x="0" y="160"/>
                </a:lnTo>
                <a:lnTo>
                  <a:pt x="0" y="157"/>
                </a:lnTo>
                <a:lnTo>
                  <a:pt x="3" y="153"/>
                </a:lnTo>
                <a:lnTo>
                  <a:pt x="6" y="153"/>
                </a:lnTo>
                <a:lnTo>
                  <a:pt x="10" y="150"/>
                </a:lnTo>
                <a:lnTo>
                  <a:pt x="10" y="141"/>
                </a:lnTo>
                <a:lnTo>
                  <a:pt x="10" y="138"/>
                </a:lnTo>
                <a:lnTo>
                  <a:pt x="13" y="138"/>
                </a:lnTo>
                <a:lnTo>
                  <a:pt x="13" y="138"/>
                </a:lnTo>
                <a:lnTo>
                  <a:pt x="16" y="132"/>
                </a:lnTo>
                <a:lnTo>
                  <a:pt x="16" y="128"/>
                </a:lnTo>
                <a:lnTo>
                  <a:pt x="16" y="122"/>
                </a:lnTo>
                <a:lnTo>
                  <a:pt x="16" y="119"/>
                </a:lnTo>
                <a:lnTo>
                  <a:pt x="19" y="119"/>
                </a:lnTo>
                <a:lnTo>
                  <a:pt x="19" y="110"/>
                </a:lnTo>
                <a:lnTo>
                  <a:pt x="19" y="107"/>
                </a:lnTo>
                <a:lnTo>
                  <a:pt x="16" y="97"/>
                </a:lnTo>
                <a:lnTo>
                  <a:pt x="22" y="97"/>
                </a:lnTo>
                <a:lnTo>
                  <a:pt x="25" y="97"/>
                </a:lnTo>
                <a:lnTo>
                  <a:pt x="28" y="97"/>
                </a:lnTo>
                <a:lnTo>
                  <a:pt x="31" y="91"/>
                </a:lnTo>
                <a:lnTo>
                  <a:pt x="35" y="82"/>
                </a:lnTo>
                <a:lnTo>
                  <a:pt x="38" y="72"/>
                </a:lnTo>
                <a:lnTo>
                  <a:pt x="35" y="69"/>
                </a:lnTo>
                <a:lnTo>
                  <a:pt x="35" y="66"/>
                </a:lnTo>
                <a:lnTo>
                  <a:pt x="41" y="57"/>
                </a:lnTo>
                <a:lnTo>
                  <a:pt x="41" y="50"/>
                </a:lnTo>
                <a:lnTo>
                  <a:pt x="41" y="47"/>
                </a:lnTo>
                <a:lnTo>
                  <a:pt x="41" y="44"/>
                </a:lnTo>
                <a:lnTo>
                  <a:pt x="47" y="31"/>
                </a:lnTo>
                <a:lnTo>
                  <a:pt x="53" y="31"/>
                </a:lnTo>
                <a:lnTo>
                  <a:pt x="56" y="25"/>
                </a:lnTo>
                <a:lnTo>
                  <a:pt x="60" y="19"/>
                </a:lnTo>
                <a:lnTo>
                  <a:pt x="66" y="19"/>
                </a:lnTo>
                <a:lnTo>
                  <a:pt x="69" y="16"/>
                </a:lnTo>
                <a:lnTo>
                  <a:pt x="75" y="16"/>
                </a:lnTo>
                <a:lnTo>
                  <a:pt x="78" y="19"/>
                </a:lnTo>
                <a:lnTo>
                  <a:pt x="75" y="16"/>
                </a:lnTo>
                <a:lnTo>
                  <a:pt x="75" y="10"/>
                </a:lnTo>
                <a:lnTo>
                  <a:pt x="81" y="6"/>
                </a:lnTo>
                <a:lnTo>
                  <a:pt x="78" y="3"/>
                </a:lnTo>
                <a:lnTo>
                  <a:pt x="78" y="3"/>
                </a:lnTo>
                <a:lnTo>
                  <a:pt x="78" y="3"/>
                </a:lnTo>
                <a:close/>
                <a:moveTo>
                  <a:pt x="25" y="210"/>
                </a:moveTo>
                <a:lnTo>
                  <a:pt x="28" y="213"/>
                </a:lnTo>
                <a:lnTo>
                  <a:pt x="31" y="216"/>
                </a:lnTo>
                <a:lnTo>
                  <a:pt x="31" y="213"/>
                </a:lnTo>
                <a:lnTo>
                  <a:pt x="28" y="210"/>
                </a:lnTo>
                <a:lnTo>
                  <a:pt x="25" y="21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6" name="Freeform 34">
            <a:extLst>
              <a:ext uri="{FF2B5EF4-FFF2-40B4-BE49-F238E27FC236}">
                <a16:creationId xmlns:a16="http://schemas.microsoft.com/office/drawing/2014/main" id="{05631AEE-C463-EC61-914A-B345926258E6}"/>
              </a:ext>
            </a:extLst>
          </p:cNvPr>
          <p:cNvSpPr>
            <a:spLocks noEditPoints="1"/>
          </p:cNvSpPr>
          <p:nvPr userDrawn="1"/>
        </p:nvSpPr>
        <p:spPr bwMode="auto">
          <a:xfrm>
            <a:off x="18150292" y="8759109"/>
            <a:ext cx="139693" cy="250826"/>
          </a:xfrm>
          <a:custGeom>
            <a:avLst/>
            <a:gdLst>
              <a:gd name="T0" fmla="*/ 0 w 44"/>
              <a:gd name="T1" fmla="*/ 35 h 79"/>
              <a:gd name="T2" fmla="*/ 3 w 44"/>
              <a:gd name="T3" fmla="*/ 29 h 79"/>
              <a:gd name="T4" fmla="*/ 0 w 44"/>
              <a:gd name="T5" fmla="*/ 32 h 79"/>
              <a:gd name="T6" fmla="*/ 0 w 44"/>
              <a:gd name="T7" fmla="*/ 38 h 79"/>
              <a:gd name="T8" fmla="*/ 6 w 44"/>
              <a:gd name="T9" fmla="*/ 7 h 79"/>
              <a:gd name="T10" fmla="*/ 3 w 44"/>
              <a:gd name="T11" fmla="*/ 0 h 79"/>
              <a:gd name="T12" fmla="*/ 9 w 44"/>
              <a:gd name="T13" fmla="*/ 0 h 79"/>
              <a:gd name="T14" fmla="*/ 6 w 44"/>
              <a:gd name="T15" fmla="*/ 4 h 79"/>
              <a:gd name="T16" fmla="*/ 6 w 44"/>
              <a:gd name="T17" fmla="*/ 7 h 79"/>
              <a:gd name="T18" fmla="*/ 16 w 44"/>
              <a:gd name="T19" fmla="*/ 0 h 79"/>
              <a:gd name="T20" fmla="*/ 19 w 44"/>
              <a:gd name="T21" fmla="*/ 7 h 79"/>
              <a:gd name="T22" fmla="*/ 19 w 44"/>
              <a:gd name="T23" fmla="*/ 7 h 79"/>
              <a:gd name="T24" fmla="*/ 16 w 44"/>
              <a:gd name="T25" fmla="*/ 7 h 79"/>
              <a:gd name="T26" fmla="*/ 9 w 44"/>
              <a:gd name="T27" fmla="*/ 4 h 79"/>
              <a:gd name="T28" fmla="*/ 13 w 44"/>
              <a:gd name="T29" fmla="*/ 4 h 79"/>
              <a:gd name="T30" fmla="*/ 13 w 44"/>
              <a:gd name="T31" fmla="*/ 0 h 79"/>
              <a:gd name="T32" fmla="*/ 9 w 44"/>
              <a:gd name="T33" fmla="*/ 7 h 79"/>
              <a:gd name="T34" fmla="*/ 9 w 44"/>
              <a:gd name="T35" fmla="*/ 10 h 79"/>
              <a:gd name="T36" fmla="*/ 9 w 44"/>
              <a:gd name="T37" fmla="*/ 13 h 79"/>
              <a:gd name="T38" fmla="*/ 6 w 44"/>
              <a:gd name="T39" fmla="*/ 19 h 79"/>
              <a:gd name="T40" fmla="*/ 3 w 44"/>
              <a:gd name="T41" fmla="*/ 16 h 79"/>
              <a:gd name="T42" fmla="*/ 0 w 44"/>
              <a:gd name="T43" fmla="*/ 16 h 79"/>
              <a:gd name="T44" fmla="*/ 3 w 44"/>
              <a:gd name="T45" fmla="*/ 19 h 79"/>
              <a:gd name="T46" fmla="*/ 3 w 44"/>
              <a:gd name="T47" fmla="*/ 22 h 79"/>
              <a:gd name="T48" fmla="*/ 3 w 44"/>
              <a:gd name="T49" fmla="*/ 32 h 79"/>
              <a:gd name="T50" fmla="*/ 3 w 44"/>
              <a:gd name="T51" fmla="*/ 41 h 79"/>
              <a:gd name="T52" fmla="*/ 3 w 44"/>
              <a:gd name="T53" fmla="*/ 51 h 79"/>
              <a:gd name="T54" fmla="*/ 6 w 44"/>
              <a:gd name="T55" fmla="*/ 63 h 79"/>
              <a:gd name="T56" fmla="*/ 13 w 44"/>
              <a:gd name="T57" fmla="*/ 79 h 79"/>
              <a:gd name="T58" fmla="*/ 19 w 44"/>
              <a:gd name="T59" fmla="*/ 79 h 79"/>
              <a:gd name="T60" fmla="*/ 31 w 44"/>
              <a:gd name="T61" fmla="*/ 76 h 79"/>
              <a:gd name="T62" fmla="*/ 41 w 44"/>
              <a:gd name="T63" fmla="*/ 63 h 79"/>
              <a:gd name="T64" fmla="*/ 44 w 44"/>
              <a:gd name="T65" fmla="*/ 57 h 79"/>
              <a:gd name="T66" fmla="*/ 44 w 44"/>
              <a:gd name="T67" fmla="*/ 51 h 79"/>
              <a:gd name="T68" fmla="*/ 44 w 44"/>
              <a:gd name="T69" fmla="*/ 44 h 79"/>
              <a:gd name="T70" fmla="*/ 38 w 44"/>
              <a:gd name="T71" fmla="*/ 35 h 79"/>
              <a:gd name="T72" fmla="*/ 31 w 44"/>
              <a:gd name="T73" fmla="*/ 29 h 79"/>
              <a:gd name="T74" fmla="*/ 28 w 44"/>
              <a:gd name="T75" fmla="*/ 29 h 79"/>
              <a:gd name="T76" fmla="*/ 31 w 44"/>
              <a:gd name="T77" fmla="*/ 22 h 79"/>
              <a:gd name="T78" fmla="*/ 25 w 44"/>
              <a:gd name="T79" fmla="*/ 19 h 79"/>
              <a:gd name="T80" fmla="*/ 22 w 44"/>
              <a:gd name="T81" fmla="*/ 16 h 79"/>
              <a:gd name="T82" fmla="*/ 22 w 44"/>
              <a:gd name="T83" fmla="*/ 10 h 79"/>
              <a:gd name="T84" fmla="*/ 16 w 44"/>
              <a:gd name="T85" fmla="*/ 10 h 79"/>
              <a:gd name="T86" fmla="*/ 13 w 44"/>
              <a:gd name="T87" fmla="*/ 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 h="79">
                <a:moveTo>
                  <a:pt x="0" y="38"/>
                </a:moveTo>
                <a:lnTo>
                  <a:pt x="0" y="35"/>
                </a:lnTo>
                <a:lnTo>
                  <a:pt x="0" y="32"/>
                </a:lnTo>
                <a:lnTo>
                  <a:pt x="3" y="29"/>
                </a:lnTo>
                <a:lnTo>
                  <a:pt x="3" y="32"/>
                </a:lnTo>
                <a:lnTo>
                  <a:pt x="0" y="32"/>
                </a:lnTo>
                <a:lnTo>
                  <a:pt x="3" y="35"/>
                </a:lnTo>
                <a:lnTo>
                  <a:pt x="0" y="38"/>
                </a:lnTo>
                <a:lnTo>
                  <a:pt x="0" y="38"/>
                </a:lnTo>
                <a:close/>
                <a:moveTo>
                  <a:pt x="6" y="7"/>
                </a:moveTo>
                <a:lnTo>
                  <a:pt x="3" y="4"/>
                </a:lnTo>
                <a:lnTo>
                  <a:pt x="3" y="0"/>
                </a:lnTo>
                <a:lnTo>
                  <a:pt x="9" y="0"/>
                </a:lnTo>
                <a:lnTo>
                  <a:pt x="9" y="0"/>
                </a:lnTo>
                <a:lnTo>
                  <a:pt x="9" y="4"/>
                </a:lnTo>
                <a:lnTo>
                  <a:pt x="6" y="4"/>
                </a:lnTo>
                <a:lnTo>
                  <a:pt x="6" y="7"/>
                </a:lnTo>
                <a:lnTo>
                  <a:pt x="6" y="7"/>
                </a:lnTo>
                <a:close/>
                <a:moveTo>
                  <a:pt x="13" y="0"/>
                </a:moveTo>
                <a:lnTo>
                  <a:pt x="16" y="0"/>
                </a:lnTo>
                <a:lnTo>
                  <a:pt x="16" y="4"/>
                </a:lnTo>
                <a:lnTo>
                  <a:pt x="19" y="7"/>
                </a:lnTo>
                <a:lnTo>
                  <a:pt x="22" y="10"/>
                </a:lnTo>
                <a:lnTo>
                  <a:pt x="19" y="7"/>
                </a:lnTo>
                <a:lnTo>
                  <a:pt x="16" y="7"/>
                </a:lnTo>
                <a:lnTo>
                  <a:pt x="16" y="7"/>
                </a:lnTo>
                <a:lnTo>
                  <a:pt x="9" y="4"/>
                </a:lnTo>
                <a:lnTo>
                  <a:pt x="9" y="4"/>
                </a:lnTo>
                <a:lnTo>
                  <a:pt x="13" y="4"/>
                </a:lnTo>
                <a:lnTo>
                  <a:pt x="13" y="4"/>
                </a:lnTo>
                <a:lnTo>
                  <a:pt x="13" y="0"/>
                </a:lnTo>
                <a:lnTo>
                  <a:pt x="13" y="0"/>
                </a:lnTo>
                <a:close/>
                <a:moveTo>
                  <a:pt x="9" y="7"/>
                </a:moveTo>
                <a:lnTo>
                  <a:pt x="9" y="7"/>
                </a:lnTo>
                <a:lnTo>
                  <a:pt x="9" y="10"/>
                </a:lnTo>
                <a:lnTo>
                  <a:pt x="9" y="10"/>
                </a:lnTo>
                <a:lnTo>
                  <a:pt x="9" y="10"/>
                </a:lnTo>
                <a:lnTo>
                  <a:pt x="9" y="13"/>
                </a:lnTo>
                <a:lnTo>
                  <a:pt x="9" y="13"/>
                </a:lnTo>
                <a:lnTo>
                  <a:pt x="6" y="19"/>
                </a:lnTo>
                <a:lnTo>
                  <a:pt x="6" y="16"/>
                </a:lnTo>
                <a:lnTo>
                  <a:pt x="3" y="16"/>
                </a:lnTo>
                <a:lnTo>
                  <a:pt x="0" y="16"/>
                </a:lnTo>
                <a:lnTo>
                  <a:pt x="0" y="16"/>
                </a:lnTo>
                <a:lnTo>
                  <a:pt x="3" y="16"/>
                </a:lnTo>
                <a:lnTo>
                  <a:pt x="3" y="19"/>
                </a:lnTo>
                <a:lnTo>
                  <a:pt x="3" y="19"/>
                </a:lnTo>
                <a:lnTo>
                  <a:pt x="3" y="22"/>
                </a:lnTo>
                <a:lnTo>
                  <a:pt x="3" y="29"/>
                </a:lnTo>
                <a:lnTo>
                  <a:pt x="3" y="32"/>
                </a:lnTo>
                <a:lnTo>
                  <a:pt x="3" y="41"/>
                </a:lnTo>
                <a:lnTo>
                  <a:pt x="3" y="41"/>
                </a:lnTo>
                <a:lnTo>
                  <a:pt x="0" y="44"/>
                </a:lnTo>
                <a:lnTo>
                  <a:pt x="3" y="51"/>
                </a:lnTo>
                <a:lnTo>
                  <a:pt x="3" y="54"/>
                </a:lnTo>
                <a:lnTo>
                  <a:pt x="6" y="63"/>
                </a:lnTo>
                <a:lnTo>
                  <a:pt x="9" y="72"/>
                </a:lnTo>
                <a:lnTo>
                  <a:pt x="13" y="79"/>
                </a:lnTo>
                <a:lnTo>
                  <a:pt x="16" y="79"/>
                </a:lnTo>
                <a:lnTo>
                  <a:pt x="19" y="79"/>
                </a:lnTo>
                <a:lnTo>
                  <a:pt x="25" y="79"/>
                </a:lnTo>
                <a:lnTo>
                  <a:pt x="31" y="76"/>
                </a:lnTo>
                <a:lnTo>
                  <a:pt x="38" y="69"/>
                </a:lnTo>
                <a:lnTo>
                  <a:pt x="41" y="63"/>
                </a:lnTo>
                <a:lnTo>
                  <a:pt x="44" y="60"/>
                </a:lnTo>
                <a:lnTo>
                  <a:pt x="44" y="57"/>
                </a:lnTo>
                <a:lnTo>
                  <a:pt x="44" y="57"/>
                </a:lnTo>
                <a:lnTo>
                  <a:pt x="44" y="51"/>
                </a:lnTo>
                <a:lnTo>
                  <a:pt x="41" y="47"/>
                </a:lnTo>
                <a:lnTo>
                  <a:pt x="44" y="44"/>
                </a:lnTo>
                <a:lnTo>
                  <a:pt x="41" y="44"/>
                </a:lnTo>
                <a:lnTo>
                  <a:pt x="38" y="35"/>
                </a:lnTo>
                <a:lnTo>
                  <a:pt x="34" y="29"/>
                </a:lnTo>
                <a:lnTo>
                  <a:pt x="31" y="29"/>
                </a:lnTo>
                <a:lnTo>
                  <a:pt x="31" y="29"/>
                </a:lnTo>
                <a:lnTo>
                  <a:pt x="28" y="29"/>
                </a:lnTo>
                <a:lnTo>
                  <a:pt x="31" y="26"/>
                </a:lnTo>
                <a:lnTo>
                  <a:pt x="31" y="22"/>
                </a:lnTo>
                <a:lnTo>
                  <a:pt x="28" y="22"/>
                </a:lnTo>
                <a:lnTo>
                  <a:pt x="25" y="19"/>
                </a:lnTo>
                <a:lnTo>
                  <a:pt x="25" y="19"/>
                </a:lnTo>
                <a:lnTo>
                  <a:pt x="22" y="16"/>
                </a:lnTo>
                <a:lnTo>
                  <a:pt x="22" y="13"/>
                </a:lnTo>
                <a:lnTo>
                  <a:pt x="22" y="10"/>
                </a:lnTo>
                <a:lnTo>
                  <a:pt x="16" y="10"/>
                </a:lnTo>
                <a:lnTo>
                  <a:pt x="16" y="10"/>
                </a:lnTo>
                <a:lnTo>
                  <a:pt x="13" y="10"/>
                </a:lnTo>
                <a:lnTo>
                  <a:pt x="13" y="7"/>
                </a:lnTo>
                <a:lnTo>
                  <a:pt x="9" y="7"/>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7" name="Freeform 35">
            <a:extLst>
              <a:ext uri="{FF2B5EF4-FFF2-40B4-BE49-F238E27FC236}">
                <a16:creationId xmlns:a16="http://schemas.microsoft.com/office/drawing/2014/main" id="{0EBC6A7B-56C6-A77E-D094-FBBC13C53B83}"/>
              </a:ext>
            </a:extLst>
          </p:cNvPr>
          <p:cNvSpPr>
            <a:spLocks noEditPoints="1"/>
          </p:cNvSpPr>
          <p:nvPr userDrawn="1"/>
        </p:nvSpPr>
        <p:spPr bwMode="auto">
          <a:xfrm>
            <a:off x="17375639" y="7162085"/>
            <a:ext cx="1755662" cy="1708150"/>
          </a:xfrm>
          <a:custGeom>
            <a:avLst/>
            <a:gdLst>
              <a:gd name="T0" fmla="*/ 188 w 553"/>
              <a:gd name="T1" fmla="*/ 47 h 538"/>
              <a:gd name="T2" fmla="*/ 219 w 553"/>
              <a:gd name="T3" fmla="*/ 62 h 538"/>
              <a:gd name="T4" fmla="*/ 225 w 553"/>
              <a:gd name="T5" fmla="*/ 103 h 538"/>
              <a:gd name="T6" fmla="*/ 288 w 553"/>
              <a:gd name="T7" fmla="*/ 128 h 538"/>
              <a:gd name="T8" fmla="*/ 360 w 553"/>
              <a:gd name="T9" fmla="*/ 147 h 538"/>
              <a:gd name="T10" fmla="*/ 388 w 553"/>
              <a:gd name="T11" fmla="*/ 119 h 538"/>
              <a:gd name="T12" fmla="*/ 419 w 553"/>
              <a:gd name="T13" fmla="*/ 144 h 538"/>
              <a:gd name="T14" fmla="*/ 444 w 553"/>
              <a:gd name="T15" fmla="*/ 122 h 538"/>
              <a:gd name="T16" fmla="*/ 472 w 553"/>
              <a:gd name="T17" fmla="*/ 100 h 538"/>
              <a:gd name="T18" fmla="*/ 513 w 553"/>
              <a:gd name="T19" fmla="*/ 87 h 538"/>
              <a:gd name="T20" fmla="*/ 535 w 553"/>
              <a:gd name="T21" fmla="*/ 87 h 538"/>
              <a:gd name="T22" fmla="*/ 550 w 553"/>
              <a:gd name="T23" fmla="*/ 109 h 538"/>
              <a:gd name="T24" fmla="*/ 525 w 553"/>
              <a:gd name="T25" fmla="*/ 137 h 538"/>
              <a:gd name="T26" fmla="*/ 503 w 553"/>
              <a:gd name="T27" fmla="*/ 197 h 538"/>
              <a:gd name="T28" fmla="*/ 488 w 553"/>
              <a:gd name="T29" fmla="*/ 234 h 538"/>
              <a:gd name="T30" fmla="*/ 478 w 553"/>
              <a:gd name="T31" fmla="*/ 244 h 538"/>
              <a:gd name="T32" fmla="*/ 463 w 553"/>
              <a:gd name="T33" fmla="*/ 209 h 538"/>
              <a:gd name="T34" fmla="*/ 450 w 553"/>
              <a:gd name="T35" fmla="*/ 216 h 538"/>
              <a:gd name="T36" fmla="*/ 457 w 553"/>
              <a:gd name="T37" fmla="*/ 200 h 538"/>
              <a:gd name="T38" fmla="*/ 453 w 553"/>
              <a:gd name="T39" fmla="*/ 175 h 538"/>
              <a:gd name="T40" fmla="*/ 413 w 553"/>
              <a:gd name="T41" fmla="*/ 163 h 538"/>
              <a:gd name="T42" fmla="*/ 400 w 553"/>
              <a:gd name="T43" fmla="*/ 153 h 538"/>
              <a:gd name="T44" fmla="*/ 388 w 553"/>
              <a:gd name="T45" fmla="*/ 150 h 538"/>
              <a:gd name="T46" fmla="*/ 394 w 553"/>
              <a:gd name="T47" fmla="*/ 175 h 538"/>
              <a:gd name="T48" fmla="*/ 400 w 553"/>
              <a:gd name="T49" fmla="*/ 219 h 538"/>
              <a:gd name="T50" fmla="*/ 407 w 553"/>
              <a:gd name="T51" fmla="*/ 256 h 538"/>
              <a:gd name="T52" fmla="*/ 391 w 553"/>
              <a:gd name="T53" fmla="*/ 250 h 538"/>
              <a:gd name="T54" fmla="*/ 388 w 553"/>
              <a:gd name="T55" fmla="*/ 250 h 538"/>
              <a:gd name="T56" fmla="*/ 366 w 553"/>
              <a:gd name="T57" fmla="*/ 278 h 538"/>
              <a:gd name="T58" fmla="*/ 341 w 553"/>
              <a:gd name="T59" fmla="*/ 294 h 538"/>
              <a:gd name="T60" fmla="*/ 303 w 553"/>
              <a:gd name="T61" fmla="*/ 341 h 538"/>
              <a:gd name="T62" fmla="*/ 269 w 553"/>
              <a:gd name="T63" fmla="*/ 375 h 538"/>
              <a:gd name="T64" fmla="*/ 247 w 553"/>
              <a:gd name="T65" fmla="*/ 413 h 538"/>
              <a:gd name="T66" fmla="*/ 244 w 553"/>
              <a:gd name="T67" fmla="*/ 494 h 538"/>
              <a:gd name="T68" fmla="*/ 238 w 553"/>
              <a:gd name="T69" fmla="*/ 519 h 538"/>
              <a:gd name="T70" fmla="*/ 213 w 553"/>
              <a:gd name="T71" fmla="*/ 535 h 538"/>
              <a:gd name="T72" fmla="*/ 169 w 553"/>
              <a:gd name="T73" fmla="*/ 485 h 538"/>
              <a:gd name="T74" fmla="*/ 144 w 553"/>
              <a:gd name="T75" fmla="*/ 438 h 538"/>
              <a:gd name="T76" fmla="*/ 122 w 553"/>
              <a:gd name="T77" fmla="*/ 391 h 538"/>
              <a:gd name="T78" fmla="*/ 103 w 553"/>
              <a:gd name="T79" fmla="*/ 331 h 538"/>
              <a:gd name="T80" fmla="*/ 91 w 553"/>
              <a:gd name="T81" fmla="*/ 288 h 538"/>
              <a:gd name="T82" fmla="*/ 88 w 553"/>
              <a:gd name="T83" fmla="*/ 256 h 538"/>
              <a:gd name="T84" fmla="*/ 88 w 553"/>
              <a:gd name="T85" fmla="*/ 241 h 538"/>
              <a:gd name="T86" fmla="*/ 72 w 553"/>
              <a:gd name="T87" fmla="*/ 272 h 538"/>
              <a:gd name="T88" fmla="*/ 13 w 553"/>
              <a:gd name="T89" fmla="*/ 244 h 538"/>
              <a:gd name="T90" fmla="*/ 28 w 553"/>
              <a:gd name="T91" fmla="*/ 244 h 538"/>
              <a:gd name="T92" fmla="*/ 32 w 553"/>
              <a:gd name="T93" fmla="*/ 234 h 538"/>
              <a:gd name="T94" fmla="*/ 0 w 553"/>
              <a:gd name="T95" fmla="*/ 216 h 538"/>
              <a:gd name="T96" fmla="*/ 44 w 553"/>
              <a:gd name="T97" fmla="*/ 197 h 538"/>
              <a:gd name="T98" fmla="*/ 41 w 553"/>
              <a:gd name="T99" fmla="*/ 169 h 538"/>
              <a:gd name="T100" fmla="*/ 13 w 553"/>
              <a:gd name="T101" fmla="*/ 144 h 538"/>
              <a:gd name="T102" fmla="*/ 47 w 553"/>
              <a:gd name="T103" fmla="*/ 122 h 538"/>
              <a:gd name="T104" fmla="*/ 91 w 553"/>
              <a:gd name="T105" fmla="*/ 69 h 538"/>
              <a:gd name="T106" fmla="*/ 110 w 553"/>
              <a:gd name="T107" fmla="*/ 25 h 538"/>
              <a:gd name="T108" fmla="*/ 163 w 553"/>
              <a:gd name="T109" fmla="*/ 6 h 538"/>
              <a:gd name="T110" fmla="*/ 400 w 553"/>
              <a:gd name="T111" fmla="*/ 253 h 538"/>
              <a:gd name="T112" fmla="*/ 394 w 553"/>
              <a:gd name="T113" fmla="*/ 259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3" h="538">
                <a:moveTo>
                  <a:pt x="178" y="15"/>
                </a:moveTo>
                <a:lnTo>
                  <a:pt x="178" y="19"/>
                </a:lnTo>
                <a:lnTo>
                  <a:pt x="178" y="22"/>
                </a:lnTo>
                <a:lnTo>
                  <a:pt x="185" y="25"/>
                </a:lnTo>
                <a:lnTo>
                  <a:pt x="185" y="31"/>
                </a:lnTo>
                <a:lnTo>
                  <a:pt x="185" y="34"/>
                </a:lnTo>
                <a:lnTo>
                  <a:pt x="185" y="37"/>
                </a:lnTo>
                <a:lnTo>
                  <a:pt x="188" y="41"/>
                </a:lnTo>
                <a:lnTo>
                  <a:pt x="188" y="44"/>
                </a:lnTo>
                <a:lnTo>
                  <a:pt x="188" y="47"/>
                </a:lnTo>
                <a:lnTo>
                  <a:pt x="191" y="47"/>
                </a:lnTo>
                <a:lnTo>
                  <a:pt x="191" y="50"/>
                </a:lnTo>
                <a:lnTo>
                  <a:pt x="197" y="53"/>
                </a:lnTo>
                <a:lnTo>
                  <a:pt x="197" y="50"/>
                </a:lnTo>
                <a:lnTo>
                  <a:pt x="203" y="50"/>
                </a:lnTo>
                <a:lnTo>
                  <a:pt x="203" y="50"/>
                </a:lnTo>
                <a:lnTo>
                  <a:pt x="210" y="53"/>
                </a:lnTo>
                <a:lnTo>
                  <a:pt x="213" y="56"/>
                </a:lnTo>
                <a:lnTo>
                  <a:pt x="216" y="56"/>
                </a:lnTo>
                <a:lnTo>
                  <a:pt x="219" y="62"/>
                </a:lnTo>
                <a:lnTo>
                  <a:pt x="222" y="62"/>
                </a:lnTo>
                <a:lnTo>
                  <a:pt x="222" y="66"/>
                </a:lnTo>
                <a:lnTo>
                  <a:pt x="222" y="66"/>
                </a:lnTo>
                <a:lnTo>
                  <a:pt x="225" y="72"/>
                </a:lnTo>
                <a:lnTo>
                  <a:pt x="222" y="81"/>
                </a:lnTo>
                <a:lnTo>
                  <a:pt x="222" y="87"/>
                </a:lnTo>
                <a:lnTo>
                  <a:pt x="216" y="97"/>
                </a:lnTo>
                <a:lnTo>
                  <a:pt x="219" y="100"/>
                </a:lnTo>
                <a:lnTo>
                  <a:pt x="222" y="100"/>
                </a:lnTo>
                <a:lnTo>
                  <a:pt x="225" y="103"/>
                </a:lnTo>
                <a:lnTo>
                  <a:pt x="228" y="103"/>
                </a:lnTo>
                <a:lnTo>
                  <a:pt x="232" y="106"/>
                </a:lnTo>
                <a:lnTo>
                  <a:pt x="238" y="109"/>
                </a:lnTo>
                <a:lnTo>
                  <a:pt x="247" y="112"/>
                </a:lnTo>
                <a:lnTo>
                  <a:pt x="253" y="122"/>
                </a:lnTo>
                <a:lnTo>
                  <a:pt x="263" y="122"/>
                </a:lnTo>
                <a:lnTo>
                  <a:pt x="266" y="125"/>
                </a:lnTo>
                <a:lnTo>
                  <a:pt x="272" y="125"/>
                </a:lnTo>
                <a:lnTo>
                  <a:pt x="278" y="131"/>
                </a:lnTo>
                <a:lnTo>
                  <a:pt x="288" y="128"/>
                </a:lnTo>
                <a:lnTo>
                  <a:pt x="291" y="131"/>
                </a:lnTo>
                <a:lnTo>
                  <a:pt x="300" y="128"/>
                </a:lnTo>
                <a:lnTo>
                  <a:pt x="310" y="131"/>
                </a:lnTo>
                <a:lnTo>
                  <a:pt x="313" y="137"/>
                </a:lnTo>
                <a:lnTo>
                  <a:pt x="316" y="141"/>
                </a:lnTo>
                <a:lnTo>
                  <a:pt x="328" y="144"/>
                </a:lnTo>
                <a:lnTo>
                  <a:pt x="332" y="141"/>
                </a:lnTo>
                <a:lnTo>
                  <a:pt x="338" y="141"/>
                </a:lnTo>
                <a:lnTo>
                  <a:pt x="353" y="147"/>
                </a:lnTo>
                <a:lnTo>
                  <a:pt x="360" y="147"/>
                </a:lnTo>
                <a:lnTo>
                  <a:pt x="366" y="150"/>
                </a:lnTo>
                <a:lnTo>
                  <a:pt x="378" y="147"/>
                </a:lnTo>
                <a:lnTo>
                  <a:pt x="378" y="137"/>
                </a:lnTo>
                <a:lnTo>
                  <a:pt x="375" y="131"/>
                </a:lnTo>
                <a:lnTo>
                  <a:pt x="378" y="122"/>
                </a:lnTo>
                <a:lnTo>
                  <a:pt x="375" y="116"/>
                </a:lnTo>
                <a:lnTo>
                  <a:pt x="375" y="116"/>
                </a:lnTo>
                <a:lnTo>
                  <a:pt x="382" y="112"/>
                </a:lnTo>
                <a:lnTo>
                  <a:pt x="385" y="112"/>
                </a:lnTo>
                <a:lnTo>
                  <a:pt x="388" y="119"/>
                </a:lnTo>
                <a:lnTo>
                  <a:pt x="388" y="122"/>
                </a:lnTo>
                <a:lnTo>
                  <a:pt x="391" y="125"/>
                </a:lnTo>
                <a:lnTo>
                  <a:pt x="391" y="125"/>
                </a:lnTo>
                <a:lnTo>
                  <a:pt x="391" y="128"/>
                </a:lnTo>
                <a:lnTo>
                  <a:pt x="391" y="134"/>
                </a:lnTo>
                <a:lnTo>
                  <a:pt x="394" y="137"/>
                </a:lnTo>
                <a:lnTo>
                  <a:pt x="400" y="141"/>
                </a:lnTo>
                <a:lnTo>
                  <a:pt x="403" y="137"/>
                </a:lnTo>
                <a:lnTo>
                  <a:pt x="413" y="144"/>
                </a:lnTo>
                <a:lnTo>
                  <a:pt x="419" y="144"/>
                </a:lnTo>
                <a:lnTo>
                  <a:pt x="422" y="141"/>
                </a:lnTo>
                <a:lnTo>
                  <a:pt x="425" y="137"/>
                </a:lnTo>
                <a:lnTo>
                  <a:pt x="428" y="141"/>
                </a:lnTo>
                <a:lnTo>
                  <a:pt x="438" y="137"/>
                </a:lnTo>
                <a:lnTo>
                  <a:pt x="441" y="137"/>
                </a:lnTo>
                <a:lnTo>
                  <a:pt x="450" y="137"/>
                </a:lnTo>
                <a:lnTo>
                  <a:pt x="450" y="134"/>
                </a:lnTo>
                <a:lnTo>
                  <a:pt x="450" y="128"/>
                </a:lnTo>
                <a:lnTo>
                  <a:pt x="444" y="125"/>
                </a:lnTo>
                <a:lnTo>
                  <a:pt x="444" y="122"/>
                </a:lnTo>
                <a:lnTo>
                  <a:pt x="444" y="116"/>
                </a:lnTo>
                <a:lnTo>
                  <a:pt x="447" y="116"/>
                </a:lnTo>
                <a:lnTo>
                  <a:pt x="453" y="116"/>
                </a:lnTo>
                <a:lnTo>
                  <a:pt x="457" y="116"/>
                </a:lnTo>
                <a:lnTo>
                  <a:pt x="460" y="109"/>
                </a:lnTo>
                <a:lnTo>
                  <a:pt x="463" y="106"/>
                </a:lnTo>
                <a:lnTo>
                  <a:pt x="466" y="109"/>
                </a:lnTo>
                <a:lnTo>
                  <a:pt x="466" y="106"/>
                </a:lnTo>
                <a:lnTo>
                  <a:pt x="469" y="103"/>
                </a:lnTo>
                <a:lnTo>
                  <a:pt x="472" y="100"/>
                </a:lnTo>
                <a:lnTo>
                  <a:pt x="475" y="97"/>
                </a:lnTo>
                <a:lnTo>
                  <a:pt x="478" y="97"/>
                </a:lnTo>
                <a:lnTo>
                  <a:pt x="485" y="94"/>
                </a:lnTo>
                <a:lnTo>
                  <a:pt x="491" y="87"/>
                </a:lnTo>
                <a:lnTo>
                  <a:pt x="491" y="84"/>
                </a:lnTo>
                <a:lnTo>
                  <a:pt x="494" y="84"/>
                </a:lnTo>
                <a:lnTo>
                  <a:pt x="497" y="81"/>
                </a:lnTo>
                <a:lnTo>
                  <a:pt x="500" y="84"/>
                </a:lnTo>
                <a:lnTo>
                  <a:pt x="507" y="84"/>
                </a:lnTo>
                <a:lnTo>
                  <a:pt x="513" y="87"/>
                </a:lnTo>
                <a:lnTo>
                  <a:pt x="516" y="84"/>
                </a:lnTo>
                <a:lnTo>
                  <a:pt x="516" y="81"/>
                </a:lnTo>
                <a:lnTo>
                  <a:pt x="522" y="75"/>
                </a:lnTo>
                <a:lnTo>
                  <a:pt x="525" y="78"/>
                </a:lnTo>
                <a:lnTo>
                  <a:pt x="528" y="81"/>
                </a:lnTo>
                <a:lnTo>
                  <a:pt x="532" y="78"/>
                </a:lnTo>
                <a:lnTo>
                  <a:pt x="532" y="81"/>
                </a:lnTo>
                <a:lnTo>
                  <a:pt x="528" y="87"/>
                </a:lnTo>
                <a:lnTo>
                  <a:pt x="532" y="91"/>
                </a:lnTo>
                <a:lnTo>
                  <a:pt x="535" y="87"/>
                </a:lnTo>
                <a:lnTo>
                  <a:pt x="535" y="87"/>
                </a:lnTo>
                <a:lnTo>
                  <a:pt x="538" y="91"/>
                </a:lnTo>
                <a:lnTo>
                  <a:pt x="541" y="94"/>
                </a:lnTo>
                <a:lnTo>
                  <a:pt x="541" y="97"/>
                </a:lnTo>
                <a:lnTo>
                  <a:pt x="538" y="100"/>
                </a:lnTo>
                <a:lnTo>
                  <a:pt x="538" y="103"/>
                </a:lnTo>
                <a:lnTo>
                  <a:pt x="541" y="106"/>
                </a:lnTo>
                <a:lnTo>
                  <a:pt x="544" y="103"/>
                </a:lnTo>
                <a:lnTo>
                  <a:pt x="547" y="106"/>
                </a:lnTo>
                <a:lnTo>
                  <a:pt x="550" y="109"/>
                </a:lnTo>
                <a:lnTo>
                  <a:pt x="553" y="112"/>
                </a:lnTo>
                <a:lnTo>
                  <a:pt x="547" y="116"/>
                </a:lnTo>
                <a:lnTo>
                  <a:pt x="547" y="122"/>
                </a:lnTo>
                <a:lnTo>
                  <a:pt x="550" y="125"/>
                </a:lnTo>
                <a:lnTo>
                  <a:pt x="547" y="122"/>
                </a:lnTo>
                <a:lnTo>
                  <a:pt x="541" y="122"/>
                </a:lnTo>
                <a:lnTo>
                  <a:pt x="538" y="125"/>
                </a:lnTo>
                <a:lnTo>
                  <a:pt x="532" y="125"/>
                </a:lnTo>
                <a:lnTo>
                  <a:pt x="528" y="131"/>
                </a:lnTo>
                <a:lnTo>
                  <a:pt x="525" y="137"/>
                </a:lnTo>
                <a:lnTo>
                  <a:pt x="519" y="137"/>
                </a:lnTo>
                <a:lnTo>
                  <a:pt x="513" y="150"/>
                </a:lnTo>
                <a:lnTo>
                  <a:pt x="513" y="153"/>
                </a:lnTo>
                <a:lnTo>
                  <a:pt x="513" y="156"/>
                </a:lnTo>
                <a:lnTo>
                  <a:pt x="513" y="163"/>
                </a:lnTo>
                <a:lnTo>
                  <a:pt x="507" y="172"/>
                </a:lnTo>
                <a:lnTo>
                  <a:pt x="507" y="175"/>
                </a:lnTo>
                <a:lnTo>
                  <a:pt x="510" y="178"/>
                </a:lnTo>
                <a:lnTo>
                  <a:pt x="507" y="188"/>
                </a:lnTo>
                <a:lnTo>
                  <a:pt x="503" y="197"/>
                </a:lnTo>
                <a:lnTo>
                  <a:pt x="500" y="203"/>
                </a:lnTo>
                <a:lnTo>
                  <a:pt x="497" y="203"/>
                </a:lnTo>
                <a:lnTo>
                  <a:pt x="494" y="203"/>
                </a:lnTo>
                <a:lnTo>
                  <a:pt x="488" y="203"/>
                </a:lnTo>
                <a:lnTo>
                  <a:pt x="491" y="213"/>
                </a:lnTo>
                <a:lnTo>
                  <a:pt x="491" y="216"/>
                </a:lnTo>
                <a:lnTo>
                  <a:pt x="491" y="225"/>
                </a:lnTo>
                <a:lnTo>
                  <a:pt x="488" y="225"/>
                </a:lnTo>
                <a:lnTo>
                  <a:pt x="488" y="228"/>
                </a:lnTo>
                <a:lnTo>
                  <a:pt x="488" y="234"/>
                </a:lnTo>
                <a:lnTo>
                  <a:pt x="488" y="238"/>
                </a:lnTo>
                <a:lnTo>
                  <a:pt x="485" y="244"/>
                </a:lnTo>
                <a:lnTo>
                  <a:pt x="485" y="244"/>
                </a:lnTo>
                <a:lnTo>
                  <a:pt x="482" y="244"/>
                </a:lnTo>
                <a:lnTo>
                  <a:pt x="482" y="247"/>
                </a:lnTo>
                <a:lnTo>
                  <a:pt x="482" y="250"/>
                </a:lnTo>
                <a:lnTo>
                  <a:pt x="478" y="250"/>
                </a:lnTo>
                <a:lnTo>
                  <a:pt x="478" y="247"/>
                </a:lnTo>
                <a:lnTo>
                  <a:pt x="478" y="247"/>
                </a:lnTo>
                <a:lnTo>
                  <a:pt x="478" y="244"/>
                </a:lnTo>
                <a:lnTo>
                  <a:pt x="475" y="241"/>
                </a:lnTo>
                <a:lnTo>
                  <a:pt x="475" y="238"/>
                </a:lnTo>
                <a:lnTo>
                  <a:pt x="472" y="228"/>
                </a:lnTo>
                <a:lnTo>
                  <a:pt x="472" y="225"/>
                </a:lnTo>
                <a:lnTo>
                  <a:pt x="472" y="222"/>
                </a:lnTo>
                <a:lnTo>
                  <a:pt x="472" y="216"/>
                </a:lnTo>
                <a:lnTo>
                  <a:pt x="469" y="213"/>
                </a:lnTo>
                <a:lnTo>
                  <a:pt x="469" y="213"/>
                </a:lnTo>
                <a:lnTo>
                  <a:pt x="466" y="213"/>
                </a:lnTo>
                <a:lnTo>
                  <a:pt x="463" y="209"/>
                </a:lnTo>
                <a:lnTo>
                  <a:pt x="460" y="213"/>
                </a:lnTo>
                <a:lnTo>
                  <a:pt x="463" y="213"/>
                </a:lnTo>
                <a:lnTo>
                  <a:pt x="460" y="216"/>
                </a:lnTo>
                <a:lnTo>
                  <a:pt x="460" y="216"/>
                </a:lnTo>
                <a:lnTo>
                  <a:pt x="460" y="219"/>
                </a:lnTo>
                <a:lnTo>
                  <a:pt x="460" y="222"/>
                </a:lnTo>
                <a:lnTo>
                  <a:pt x="460" y="225"/>
                </a:lnTo>
                <a:lnTo>
                  <a:pt x="457" y="225"/>
                </a:lnTo>
                <a:lnTo>
                  <a:pt x="453" y="219"/>
                </a:lnTo>
                <a:lnTo>
                  <a:pt x="450" y="216"/>
                </a:lnTo>
                <a:lnTo>
                  <a:pt x="450" y="216"/>
                </a:lnTo>
                <a:lnTo>
                  <a:pt x="447" y="213"/>
                </a:lnTo>
                <a:lnTo>
                  <a:pt x="447" y="209"/>
                </a:lnTo>
                <a:lnTo>
                  <a:pt x="447" y="206"/>
                </a:lnTo>
                <a:lnTo>
                  <a:pt x="447" y="203"/>
                </a:lnTo>
                <a:lnTo>
                  <a:pt x="450" y="203"/>
                </a:lnTo>
                <a:lnTo>
                  <a:pt x="453" y="200"/>
                </a:lnTo>
                <a:lnTo>
                  <a:pt x="453" y="200"/>
                </a:lnTo>
                <a:lnTo>
                  <a:pt x="457" y="200"/>
                </a:lnTo>
                <a:lnTo>
                  <a:pt x="457" y="200"/>
                </a:lnTo>
                <a:lnTo>
                  <a:pt x="457" y="197"/>
                </a:lnTo>
                <a:lnTo>
                  <a:pt x="460" y="194"/>
                </a:lnTo>
                <a:lnTo>
                  <a:pt x="463" y="188"/>
                </a:lnTo>
                <a:lnTo>
                  <a:pt x="463" y="184"/>
                </a:lnTo>
                <a:lnTo>
                  <a:pt x="466" y="178"/>
                </a:lnTo>
                <a:lnTo>
                  <a:pt x="463" y="178"/>
                </a:lnTo>
                <a:lnTo>
                  <a:pt x="460" y="175"/>
                </a:lnTo>
                <a:lnTo>
                  <a:pt x="457" y="175"/>
                </a:lnTo>
                <a:lnTo>
                  <a:pt x="457" y="175"/>
                </a:lnTo>
                <a:lnTo>
                  <a:pt x="453" y="175"/>
                </a:lnTo>
                <a:lnTo>
                  <a:pt x="447" y="175"/>
                </a:lnTo>
                <a:lnTo>
                  <a:pt x="441" y="175"/>
                </a:lnTo>
                <a:lnTo>
                  <a:pt x="432" y="175"/>
                </a:lnTo>
                <a:lnTo>
                  <a:pt x="428" y="175"/>
                </a:lnTo>
                <a:lnTo>
                  <a:pt x="422" y="172"/>
                </a:lnTo>
                <a:lnTo>
                  <a:pt x="419" y="175"/>
                </a:lnTo>
                <a:lnTo>
                  <a:pt x="416" y="172"/>
                </a:lnTo>
                <a:lnTo>
                  <a:pt x="416" y="169"/>
                </a:lnTo>
                <a:lnTo>
                  <a:pt x="416" y="166"/>
                </a:lnTo>
                <a:lnTo>
                  <a:pt x="413" y="163"/>
                </a:lnTo>
                <a:lnTo>
                  <a:pt x="413" y="159"/>
                </a:lnTo>
                <a:lnTo>
                  <a:pt x="410" y="153"/>
                </a:lnTo>
                <a:lnTo>
                  <a:pt x="410" y="153"/>
                </a:lnTo>
                <a:lnTo>
                  <a:pt x="410" y="156"/>
                </a:lnTo>
                <a:lnTo>
                  <a:pt x="403" y="153"/>
                </a:lnTo>
                <a:lnTo>
                  <a:pt x="403" y="153"/>
                </a:lnTo>
                <a:lnTo>
                  <a:pt x="400" y="150"/>
                </a:lnTo>
                <a:lnTo>
                  <a:pt x="397" y="150"/>
                </a:lnTo>
                <a:lnTo>
                  <a:pt x="397" y="153"/>
                </a:lnTo>
                <a:lnTo>
                  <a:pt x="400" y="153"/>
                </a:lnTo>
                <a:lnTo>
                  <a:pt x="397" y="153"/>
                </a:lnTo>
                <a:lnTo>
                  <a:pt x="394" y="153"/>
                </a:lnTo>
                <a:lnTo>
                  <a:pt x="391" y="150"/>
                </a:lnTo>
                <a:lnTo>
                  <a:pt x="391" y="147"/>
                </a:lnTo>
                <a:lnTo>
                  <a:pt x="388" y="144"/>
                </a:lnTo>
                <a:lnTo>
                  <a:pt x="388" y="144"/>
                </a:lnTo>
                <a:lnTo>
                  <a:pt x="385" y="147"/>
                </a:lnTo>
                <a:lnTo>
                  <a:pt x="385" y="147"/>
                </a:lnTo>
                <a:lnTo>
                  <a:pt x="385" y="147"/>
                </a:lnTo>
                <a:lnTo>
                  <a:pt x="388" y="150"/>
                </a:lnTo>
                <a:lnTo>
                  <a:pt x="385" y="156"/>
                </a:lnTo>
                <a:lnTo>
                  <a:pt x="382" y="159"/>
                </a:lnTo>
                <a:lnTo>
                  <a:pt x="382" y="166"/>
                </a:lnTo>
                <a:lnTo>
                  <a:pt x="388" y="169"/>
                </a:lnTo>
                <a:lnTo>
                  <a:pt x="394" y="166"/>
                </a:lnTo>
                <a:lnTo>
                  <a:pt x="397" y="166"/>
                </a:lnTo>
                <a:lnTo>
                  <a:pt x="397" y="169"/>
                </a:lnTo>
                <a:lnTo>
                  <a:pt x="397" y="175"/>
                </a:lnTo>
                <a:lnTo>
                  <a:pt x="394" y="175"/>
                </a:lnTo>
                <a:lnTo>
                  <a:pt x="394" y="175"/>
                </a:lnTo>
                <a:lnTo>
                  <a:pt x="391" y="178"/>
                </a:lnTo>
                <a:lnTo>
                  <a:pt x="388" y="181"/>
                </a:lnTo>
                <a:lnTo>
                  <a:pt x="385" y="184"/>
                </a:lnTo>
                <a:lnTo>
                  <a:pt x="385" y="191"/>
                </a:lnTo>
                <a:lnTo>
                  <a:pt x="388" y="197"/>
                </a:lnTo>
                <a:lnTo>
                  <a:pt x="394" y="197"/>
                </a:lnTo>
                <a:lnTo>
                  <a:pt x="400" y="203"/>
                </a:lnTo>
                <a:lnTo>
                  <a:pt x="400" y="209"/>
                </a:lnTo>
                <a:lnTo>
                  <a:pt x="400" y="216"/>
                </a:lnTo>
                <a:lnTo>
                  <a:pt x="400" y="219"/>
                </a:lnTo>
                <a:lnTo>
                  <a:pt x="400" y="225"/>
                </a:lnTo>
                <a:lnTo>
                  <a:pt x="407" y="234"/>
                </a:lnTo>
                <a:lnTo>
                  <a:pt x="407" y="238"/>
                </a:lnTo>
                <a:lnTo>
                  <a:pt x="410" y="241"/>
                </a:lnTo>
                <a:lnTo>
                  <a:pt x="410" y="247"/>
                </a:lnTo>
                <a:lnTo>
                  <a:pt x="407" y="247"/>
                </a:lnTo>
                <a:lnTo>
                  <a:pt x="410" y="253"/>
                </a:lnTo>
                <a:lnTo>
                  <a:pt x="410" y="256"/>
                </a:lnTo>
                <a:lnTo>
                  <a:pt x="407" y="253"/>
                </a:lnTo>
                <a:lnTo>
                  <a:pt x="407" y="256"/>
                </a:lnTo>
                <a:lnTo>
                  <a:pt x="403" y="253"/>
                </a:lnTo>
                <a:lnTo>
                  <a:pt x="400" y="250"/>
                </a:lnTo>
                <a:lnTo>
                  <a:pt x="400" y="247"/>
                </a:lnTo>
                <a:lnTo>
                  <a:pt x="400" y="250"/>
                </a:lnTo>
                <a:lnTo>
                  <a:pt x="400" y="250"/>
                </a:lnTo>
                <a:lnTo>
                  <a:pt x="400" y="250"/>
                </a:lnTo>
                <a:lnTo>
                  <a:pt x="397" y="250"/>
                </a:lnTo>
                <a:lnTo>
                  <a:pt x="394" y="250"/>
                </a:lnTo>
                <a:lnTo>
                  <a:pt x="394" y="253"/>
                </a:lnTo>
                <a:lnTo>
                  <a:pt x="391" y="250"/>
                </a:lnTo>
                <a:lnTo>
                  <a:pt x="391" y="247"/>
                </a:lnTo>
                <a:lnTo>
                  <a:pt x="391" y="244"/>
                </a:lnTo>
                <a:lnTo>
                  <a:pt x="388" y="241"/>
                </a:lnTo>
                <a:lnTo>
                  <a:pt x="385" y="241"/>
                </a:lnTo>
                <a:lnTo>
                  <a:pt x="385" y="241"/>
                </a:lnTo>
                <a:lnTo>
                  <a:pt x="388" y="241"/>
                </a:lnTo>
                <a:lnTo>
                  <a:pt x="391" y="244"/>
                </a:lnTo>
                <a:lnTo>
                  <a:pt x="388" y="244"/>
                </a:lnTo>
                <a:lnTo>
                  <a:pt x="388" y="247"/>
                </a:lnTo>
                <a:lnTo>
                  <a:pt x="388" y="250"/>
                </a:lnTo>
                <a:lnTo>
                  <a:pt x="385" y="253"/>
                </a:lnTo>
                <a:lnTo>
                  <a:pt x="372" y="259"/>
                </a:lnTo>
                <a:lnTo>
                  <a:pt x="369" y="259"/>
                </a:lnTo>
                <a:lnTo>
                  <a:pt x="369" y="263"/>
                </a:lnTo>
                <a:lnTo>
                  <a:pt x="366" y="266"/>
                </a:lnTo>
                <a:lnTo>
                  <a:pt x="369" y="269"/>
                </a:lnTo>
                <a:lnTo>
                  <a:pt x="369" y="272"/>
                </a:lnTo>
                <a:lnTo>
                  <a:pt x="369" y="275"/>
                </a:lnTo>
                <a:lnTo>
                  <a:pt x="369" y="275"/>
                </a:lnTo>
                <a:lnTo>
                  <a:pt x="366" y="278"/>
                </a:lnTo>
                <a:lnTo>
                  <a:pt x="366" y="281"/>
                </a:lnTo>
                <a:lnTo>
                  <a:pt x="363" y="285"/>
                </a:lnTo>
                <a:lnTo>
                  <a:pt x="363" y="285"/>
                </a:lnTo>
                <a:lnTo>
                  <a:pt x="357" y="291"/>
                </a:lnTo>
                <a:lnTo>
                  <a:pt x="357" y="294"/>
                </a:lnTo>
                <a:lnTo>
                  <a:pt x="347" y="297"/>
                </a:lnTo>
                <a:lnTo>
                  <a:pt x="344" y="297"/>
                </a:lnTo>
                <a:lnTo>
                  <a:pt x="344" y="294"/>
                </a:lnTo>
                <a:lnTo>
                  <a:pt x="344" y="294"/>
                </a:lnTo>
                <a:lnTo>
                  <a:pt x="341" y="294"/>
                </a:lnTo>
                <a:lnTo>
                  <a:pt x="338" y="297"/>
                </a:lnTo>
                <a:lnTo>
                  <a:pt x="338" y="297"/>
                </a:lnTo>
                <a:lnTo>
                  <a:pt x="335" y="303"/>
                </a:lnTo>
                <a:lnTo>
                  <a:pt x="338" y="300"/>
                </a:lnTo>
                <a:lnTo>
                  <a:pt x="341" y="300"/>
                </a:lnTo>
                <a:lnTo>
                  <a:pt x="341" y="300"/>
                </a:lnTo>
                <a:lnTo>
                  <a:pt x="328" y="313"/>
                </a:lnTo>
                <a:lnTo>
                  <a:pt x="325" y="322"/>
                </a:lnTo>
                <a:lnTo>
                  <a:pt x="307" y="335"/>
                </a:lnTo>
                <a:lnTo>
                  <a:pt x="303" y="341"/>
                </a:lnTo>
                <a:lnTo>
                  <a:pt x="300" y="344"/>
                </a:lnTo>
                <a:lnTo>
                  <a:pt x="294" y="347"/>
                </a:lnTo>
                <a:lnTo>
                  <a:pt x="288" y="353"/>
                </a:lnTo>
                <a:lnTo>
                  <a:pt x="288" y="356"/>
                </a:lnTo>
                <a:lnTo>
                  <a:pt x="288" y="360"/>
                </a:lnTo>
                <a:lnTo>
                  <a:pt x="285" y="366"/>
                </a:lnTo>
                <a:lnTo>
                  <a:pt x="282" y="369"/>
                </a:lnTo>
                <a:lnTo>
                  <a:pt x="272" y="366"/>
                </a:lnTo>
                <a:lnTo>
                  <a:pt x="269" y="369"/>
                </a:lnTo>
                <a:lnTo>
                  <a:pt x="269" y="375"/>
                </a:lnTo>
                <a:lnTo>
                  <a:pt x="263" y="381"/>
                </a:lnTo>
                <a:lnTo>
                  <a:pt x="260" y="381"/>
                </a:lnTo>
                <a:lnTo>
                  <a:pt x="257" y="378"/>
                </a:lnTo>
                <a:lnTo>
                  <a:pt x="257" y="378"/>
                </a:lnTo>
                <a:lnTo>
                  <a:pt x="250" y="385"/>
                </a:lnTo>
                <a:lnTo>
                  <a:pt x="247" y="388"/>
                </a:lnTo>
                <a:lnTo>
                  <a:pt x="247" y="394"/>
                </a:lnTo>
                <a:lnTo>
                  <a:pt x="250" y="403"/>
                </a:lnTo>
                <a:lnTo>
                  <a:pt x="247" y="410"/>
                </a:lnTo>
                <a:lnTo>
                  <a:pt x="247" y="413"/>
                </a:lnTo>
                <a:lnTo>
                  <a:pt x="247" y="428"/>
                </a:lnTo>
                <a:lnTo>
                  <a:pt x="253" y="432"/>
                </a:lnTo>
                <a:lnTo>
                  <a:pt x="253" y="441"/>
                </a:lnTo>
                <a:lnTo>
                  <a:pt x="250" y="453"/>
                </a:lnTo>
                <a:lnTo>
                  <a:pt x="244" y="463"/>
                </a:lnTo>
                <a:lnTo>
                  <a:pt x="244" y="469"/>
                </a:lnTo>
                <a:lnTo>
                  <a:pt x="247" y="472"/>
                </a:lnTo>
                <a:lnTo>
                  <a:pt x="247" y="488"/>
                </a:lnTo>
                <a:lnTo>
                  <a:pt x="247" y="494"/>
                </a:lnTo>
                <a:lnTo>
                  <a:pt x="244" y="494"/>
                </a:lnTo>
                <a:lnTo>
                  <a:pt x="241" y="494"/>
                </a:lnTo>
                <a:lnTo>
                  <a:pt x="238" y="494"/>
                </a:lnTo>
                <a:lnTo>
                  <a:pt x="235" y="497"/>
                </a:lnTo>
                <a:lnTo>
                  <a:pt x="235" y="500"/>
                </a:lnTo>
                <a:lnTo>
                  <a:pt x="232" y="507"/>
                </a:lnTo>
                <a:lnTo>
                  <a:pt x="228" y="510"/>
                </a:lnTo>
                <a:lnTo>
                  <a:pt x="228" y="513"/>
                </a:lnTo>
                <a:lnTo>
                  <a:pt x="235" y="516"/>
                </a:lnTo>
                <a:lnTo>
                  <a:pt x="238" y="516"/>
                </a:lnTo>
                <a:lnTo>
                  <a:pt x="238" y="519"/>
                </a:lnTo>
                <a:lnTo>
                  <a:pt x="235" y="516"/>
                </a:lnTo>
                <a:lnTo>
                  <a:pt x="232" y="516"/>
                </a:lnTo>
                <a:lnTo>
                  <a:pt x="225" y="519"/>
                </a:lnTo>
                <a:lnTo>
                  <a:pt x="222" y="516"/>
                </a:lnTo>
                <a:lnTo>
                  <a:pt x="216" y="519"/>
                </a:lnTo>
                <a:lnTo>
                  <a:pt x="213" y="525"/>
                </a:lnTo>
                <a:lnTo>
                  <a:pt x="213" y="525"/>
                </a:lnTo>
                <a:lnTo>
                  <a:pt x="213" y="529"/>
                </a:lnTo>
                <a:lnTo>
                  <a:pt x="213" y="529"/>
                </a:lnTo>
                <a:lnTo>
                  <a:pt x="213" y="535"/>
                </a:lnTo>
                <a:lnTo>
                  <a:pt x="203" y="538"/>
                </a:lnTo>
                <a:lnTo>
                  <a:pt x="197" y="538"/>
                </a:lnTo>
                <a:lnTo>
                  <a:pt x="191" y="535"/>
                </a:lnTo>
                <a:lnTo>
                  <a:pt x="185" y="525"/>
                </a:lnTo>
                <a:lnTo>
                  <a:pt x="178" y="513"/>
                </a:lnTo>
                <a:lnTo>
                  <a:pt x="178" y="503"/>
                </a:lnTo>
                <a:lnTo>
                  <a:pt x="175" y="497"/>
                </a:lnTo>
                <a:lnTo>
                  <a:pt x="172" y="488"/>
                </a:lnTo>
                <a:lnTo>
                  <a:pt x="172" y="485"/>
                </a:lnTo>
                <a:lnTo>
                  <a:pt x="169" y="485"/>
                </a:lnTo>
                <a:lnTo>
                  <a:pt x="169" y="478"/>
                </a:lnTo>
                <a:lnTo>
                  <a:pt x="166" y="472"/>
                </a:lnTo>
                <a:lnTo>
                  <a:pt x="160" y="466"/>
                </a:lnTo>
                <a:lnTo>
                  <a:pt x="157" y="460"/>
                </a:lnTo>
                <a:lnTo>
                  <a:pt x="157" y="460"/>
                </a:lnTo>
                <a:lnTo>
                  <a:pt x="150" y="453"/>
                </a:lnTo>
                <a:lnTo>
                  <a:pt x="147" y="450"/>
                </a:lnTo>
                <a:lnTo>
                  <a:pt x="147" y="447"/>
                </a:lnTo>
                <a:lnTo>
                  <a:pt x="147" y="441"/>
                </a:lnTo>
                <a:lnTo>
                  <a:pt x="144" y="438"/>
                </a:lnTo>
                <a:lnTo>
                  <a:pt x="141" y="428"/>
                </a:lnTo>
                <a:lnTo>
                  <a:pt x="138" y="422"/>
                </a:lnTo>
                <a:lnTo>
                  <a:pt x="138" y="416"/>
                </a:lnTo>
                <a:lnTo>
                  <a:pt x="135" y="413"/>
                </a:lnTo>
                <a:lnTo>
                  <a:pt x="135" y="407"/>
                </a:lnTo>
                <a:lnTo>
                  <a:pt x="135" y="407"/>
                </a:lnTo>
                <a:lnTo>
                  <a:pt x="128" y="400"/>
                </a:lnTo>
                <a:lnTo>
                  <a:pt x="128" y="397"/>
                </a:lnTo>
                <a:lnTo>
                  <a:pt x="128" y="397"/>
                </a:lnTo>
                <a:lnTo>
                  <a:pt x="122" y="391"/>
                </a:lnTo>
                <a:lnTo>
                  <a:pt x="122" y="388"/>
                </a:lnTo>
                <a:lnTo>
                  <a:pt x="119" y="385"/>
                </a:lnTo>
                <a:lnTo>
                  <a:pt x="119" y="381"/>
                </a:lnTo>
                <a:lnTo>
                  <a:pt x="116" y="378"/>
                </a:lnTo>
                <a:lnTo>
                  <a:pt x="113" y="369"/>
                </a:lnTo>
                <a:lnTo>
                  <a:pt x="113" y="360"/>
                </a:lnTo>
                <a:lnTo>
                  <a:pt x="103" y="341"/>
                </a:lnTo>
                <a:lnTo>
                  <a:pt x="103" y="338"/>
                </a:lnTo>
                <a:lnTo>
                  <a:pt x="100" y="331"/>
                </a:lnTo>
                <a:lnTo>
                  <a:pt x="103" y="331"/>
                </a:lnTo>
                <a:lnTo>
                  <a:pt x="97" y="322"/>
                </a:lnTo>
                <a:lnTo>
                  <a:pt x="97" y="319"/>
                </a:lnTo>
                <a:lnTo>
                  <a:pt x="100" y="319"/>
                </a:lnTo>
                <a:lnTo>
                  <a:pt x="100" y="316"/>
                </a:lnTo>
                <a:lnTo>
                  <a:pt x="97" y="313"/>
                </a:lnTo>
                <a:lnTo>
                  <a:pt x="94" y="300"/>
                </a:lnTo>
                <a:lnTo>
                  <a:pt x="91" y="294"/>
                </a:lnTo>
                <a:lnTo>
                  <a:pt x="94" y="294"/>
                </a:lnTo>
                <a:lnTo>
                  <a:pt x="91" y="291"/>
                </a:lnTo>
                <a:lnTo>
                  <a:pt x="91" y="288"/>
                </a:lnTo>
                <a:lnTo>
                  <a:pt x="94" y="285"/>
                </a:lnTo>
                <a:lnTo>
                  <a:pt x="94" y="278"/>
                </a:lnTo>
                <a:lnTo>
                  <a:pt x="91" y="272"/>
                </a:lnTo>
                <a:lnTo>
                  <a:pt x="91" y="272"/>
                </a:lnTo>
                <a:lnTo>
                  <a:pt x="88" y="263"/>
                </a:lnTo>
                <a:lnTo>
                  <a:pt x="91" y="259"/>
                </a:lnTo>
                <a:lnTo>
                  <a:pt x="94" y="256"/>
                </a:lnTo>
                <a:lnTo>
                  <a:pt x="97" y="256"/>
                </a:lnTo>
                <a:lnTo>
                  <a:pt x="94" y="256"/>
                </a:lnTo>
                <a:lnTo>
                  <a:pt x="88" y="256"/>
                </a:lnTo>
                <a:lnTo>
                  <a:pt x="88" y="256"/>
                </a:lnTo>
                <a:lnTo>
                  <a:pt x="88" y="253"/>
                </a:lnTo>
                <a:lnTo>
                  <a:pt x="85" y="250"/>
                </a:lnTo>
                <a:lnTo>
                  <a:pt x="85" y="247"/>
                </a:lnTo>
                <a:lnTo>
                  <a:pt x="88" y="244"/>
                </a:lnTo>
                <a:lnTo>
                  <a:pt x="88" y="244"/>
                </a:lnTo>
                <a:lnTo>
                  <a:pt x="94" y="241"/>
                </a:lnTo>
                <a:lnTo>
                  <a:pt x="94" y="241"/>
                </a:lnTo>
                <a:lnTo>
                  <a:pt x="91" y="241"/>
                </a:lnTo>
                <a:lnTo>
                  <a:pt x="88" y="241"/>
                </a:lnTo>
                <a:lnTo>
                  <a:pt x="85" y="241"/>
                </a:lnTo>
                <a:lnTo>
                  <a:pt x="82" y="238"/>
                </a:lnTo>
                <a:lnTo>
                  <a:pt x="82" y="241"/>
                </a:lnTo>
                <a:lnTo>
                  <a:pt x="82" y="244"/>
                </a:lnTo>
                <a:lnTo>
                  <a:pt x="78" y="253"/>
                </a:lnTo>
                <a:lnTo>
                  <a:pt x="82" y="256"/>
                </a:lnTo>
                <a:lnTo>
                  <a:pt x="82" y="263"/>
                </a:lnTo>
                <a:lnTo>
                  <a:pt x="78" y="266"/>
                </a:lnTo>
                <a:lnTo>
                  <a:pt x="78" y="269"/>
                </a:lnTo>
                <a:lnTo>
                  <a:pt x="72" y="272"/>
                </a:lnTo>
                <a:lnTo>
                  <a:pt x="60" y="278"/>
                </a:lnTo>
                <a:lnTo>
                  <a:pt x="57" y="278"/>
                </a:lnTo>
                <a:lnTo>
                  <a:pt x="50" y="278"/>
                </a:lnTo>
                <a:lnTo>
                  <a:pt x="35" y="266"/>
                </a:lnTo>
                <a:lnTo>
                  <a:pt x="28" y="256"/>
                </a:lnTo>
                <a:lnTo>
                  <a:pt x="28" y="256"/>
                </a:lnTo>
                <a:lnTo>
                  <a:pt x="25" y="256"/>
                </a:lnTo>
                <a:lnTo>
                  <a:pt x="22" y="253"/>
                </a:lnTo>
                <a:lnTo>
                  <a:pt x="16" y="247"/>
                </a:lnTo>
                <a:lnTo>
                  <a:pt x="13" y="244"/>
                </a:lnTo>
                <a:lnTo>
                  <a:pt x="16" y="241"/>
                </a:lnTo>
                <a:lnTo>
                  <a:pt x="16" y="241"/>
                </a:lnTo>
                <a:lnTo>
                  <a:pt x="19" y="241"/>
                </a:lnTo>
                <a:lnTo>
                  <a:pt x="19" y="241"/>
                </a:lnTo>
                <a:lnTo>
                  <a:pt x="19" y="247"/>
                </a:lnTo>
                <a:lnTo>
                  <a:pt x="22" y="247"/>
                </a:lnTo>
                <a:lnTo>
                  <a:pt x="25" y="244"/>
                </a:lnTo>
                <a:lnTo>
                  <a:pt x="25" y="244"/>
                </a:lnTo>
                <a:lnTo>
                  <a:pt x="28" y="247"/>
                </a:lnTo>
                <a:lnTo>
                  <a:pt x="28" y="244"/>
                </a:lnTo>
                <a:lnTo>
                  <a:pt x="38" y="238"/>
                </a:lnTo>
                <a:lnTo>
                  <a:pt x="41" y="238"/>
                </a:lnTo>
                <a:lnTo>
                  <a:pt x="44" y="231"/>
                </a:lnTo>
                <a:lnTo>
                  <a:pt x="44" y="231"/>
                </a:lnTo>
                <a:lnTo>
                  <a:pt x="47" y="228"/>
                </a:lnTo>
                <a:lnTo>
                  <a:pt x="41" y="228"/>
                </a:lnTo>
                <a:lnTo>
                  <a:pt x="41" y="228"/>
                </a:lnTo>
                <a:lnTo>
                  <a:pt x="41" y="228"/>
                </a:lnTo>
                <a:lnTo>
                  <a:pt x="41" y="231"/>
                </a:lnTo>
                <a:lnTo>
                  <a:pt x="32" y="234"/>
                </a:lnTo>
                <a:lnTo>
                  <a:pt x="28" y="234"/>
                </a:lnTo>
                <a:lnTo>
                  <a:pt x="25" y="234"/>
                </a:lnTo>
                <a:lnTo>
                  <a:pt x="13" y="231"/>
                </a:lnTo>
                <a:lnTo>
                  <a:pt x="7" y="225"/>
                </a:lnTo>
                <a:lnTo>
                  <a:pt x="3" y="222"/>
                </a:lnTo>
                <a:lnTo>
                  <a:pt x="3" y="219"/>
                </a:lnTo>
                <a:lnTo>
                  <a:pt x="7" y="213"/>
                </a:lnTo>
                <a:lnTo>
                  <a:pt x="13" y="213"/>
                </a:lnTo>
                <a:lnTo>
                  <a:pt x="7" y="213"/>
                </a:lnTo>
                <a:lnTo>
                  <a:pt x="0" y="216"/>
                </a:lnTo>
                <a:lnTo>
                  <a:pt x="0" y="209"/>
                </a:lnTo>
                <a:lnTo>
                  <a:pt x="3" y="209"/>
                </a:lnTo>
                <a:lnTo>
                  <a:pt x="7" y="206"/>
                </a:lnTo>
                <a:lnTo>
                  <a:pt x="10" y="203"/>
                </a:lnTo>
                <a:lnTo>
                  <a:pt x="13" y="203"/>
                </a:lnTo>
                <a:lnTo>
                  <a:pt x="16" y="200"/>
                </a:lnTo>
                <a:lnTo>
                  <a:pt x="28" y="203"/>
                </a:lnTo>
                <a:lnTo>
                  <a:pt x="38" y="200"/>
                </a:lnTo>
                <a:lnTo>
                  <a:pt x="38" y="197"/>
                </a:lnTo>
                <a:lnTo>
                  <a:pt x="44" y="197"/>
                </a:lnTo>
                <a:lnTo>
                  <a:pt x="41" y="200"/>
                </a:lnTo>
                <a:lnTo>
                  <a:pt x="44" y="200"/>
                </a:lnTo>
                <a:lnTo>
                  <a:pt x="47" y="200"/>
                </a:lnTo>
                <a:lnTo>
                  <a:pt x="50" y="197"/>
                </a:lnTo>
                <a:lnTo>
                  <a:pt x="50" y="197"/>
                </a:lnTo>
                <a:lnTo>
                  <a:pt x="50" y="194"/>
                </a:lnTo>
                <a:lnTo>
                  <a:pt x="47" y="181"/>
                </a:lnTo>
                <a:lnTo>
                  <a:pt x="41" y="175"/>
                </a:lnTo>
                <a:lnTo>
                  <a:pt x="44" y="172"/>
                </a:lnTo>
                <a:lnTo>
                  <a:pt x="41" y="169"/>
                </a:lnTo>
                <a:lnTo>
                  <a:pt x="38" y="172"/>
                </a:lnTo>
                <a:lnTo>
                  <a:pt x="32" y="166"/>
                </a:lnTo>
                <a:lnTo>
                  <a:pt x="28" y="159"/>
                </a:lnTo>
                <a:lnTo>
                  <a:pt x="28" y="153"/>
                </a:lnTo>
                <a:lnTo>
                  <a:pt x="25" y="147"/>
                </a:lnTo>
                <a:lnTo>
                  <a:pt x="22" y="147"/>
                </a:lnTo>
                <a:lnTo>
                  <a:pt x="22" y="150"/>
                </a:lnTo>
                <a:lnTo>
                  <a:pt x="16" y="147"/>
                </a:lnTo>
                <a:lnTo>
                  <a:pt x="13" y="147"/>
                </a:lnTo>
                <a:lnTo>
                  <a:pt x="13" y="144"/>
                </a:lnTo>
                <a:lnTo>
                  <a:pt x="16" y="134"/>
                </a:lnTo>
                <a:lnTo>
                  <a:pt x="19" y="134"/>
                </a:lnTo>
                <a:lnTo>
                  <a:pt x="25" y="125"/>
                </a:lnTo>
                <a:lnTo>
                  <a:pt x="25" y="122"/>
                </a:lnTo>
                <a:lnTo>
                  <a:pt x="28" y="122"/>
                </a:lnTo>
                <a:lnTo>
                  <a:pt x="32" y="119"/>
                </a:lnTo>
                <a:lnTo>
                  <a:pt x="35" y="122"/>
                </a:lnTo>
                <a:lnTo>
                  <a:pt x="38" y="125"/>
                </a:lnTo>
                <a:lnTo>
                  <a:pt x="38" y="125"/>
                </a:lnTo>
                <a:lnTo>
                  <a:pt x="47" y="122"/>
                </a:lnTo>
                <a:lnTo>
                  <a:pt x="57" y="122"/>
                </a:lnTo>
                <a:lnTo>
                  <a:pt x="63" y="116"/>
                </a:lnTo>
                <a:lnTo>
                  <a:pt x="66" y="103"/>
                </a:lnTo>
                <a:lnTo>
                  <a:pt x="75" y="97"/>
                </a:lnTo>
                <a:lnTo>
                  <a:pt x="78" y="91"/>
                </a:lnTo>
                <a:lnTo>
                  <a:pt x="78" y="84"/>
                </a:lnTo>
                <a:lnTo>
                  <a:pt x="85" y="78"/>
                </a:lnTo>
                <a:lnTo>
                  <a:pt x="91" y="75"/>
                </a:lnTo>
                <a:lnTo>
                  <a:pt x="91" y="72"/>
                </a:lnTo>
                <a:lnTo>
                  <a:pt x="91" y="69"/>
                </a:lnTo>
                <a:lnTo>
                  <a:pt x="91" y="66"/>
                </a:lnTo>
                <a:lnTo>
                  <a:pt x="94" y="59"/>
                </a:lnTo>
                <a:lnTo>
                  <a:pt x="97" y="56"/>
                </a:lnTo>
                <a:lnTo>
                  <a:pt x="97" y="53"/>
                </a:lnTo>
                <a:lnTo>
                  <a:pt x="100" y="44"/>
                </a:lnTo>
                <a:lnTo>
                  <a:pt x="97" y="34"/>
                </a:lnTo>
                <a:lnTo>
                  <a:pt x="97" y="34"/>
                </a:lnTo>
                <a:lnTo>
                  <a:pt x="103" y="28"/>
                </a:lnTo>
                <a:lnTo>
                  <a:pt x="107" y="28"/>
                </a:lnTo>
                <a:lnTo>
                  <a:pt x="110" y="25"/>
                </a:lnTo>
                <a:lnTo>
                  <a:pt x="113" y="25"/>
                </a:lnTo>
                <a:lnTo>
                  <a:pt x="119" y="19"/>
                </a:lnTo>
                <a:lnTo>
                  <a:pt x="122" y="9"/>
                </a:lnTo>
                <a:lnTo>
                  <a:pt x="128" y="3"/>
                </a:lnTo>
                <a:lnTo>
                  <a:pt x="135" y="3"/>
                </a:lnTo>
                <a:lnTo>
                  <a:pt x="138" y="0"/>
                </a:lnTo>
                <a:lnTo>
                  <a:pt x="141" y="0"/>
                </a:lnTo>
                <a:lnTo>
                  <a:pt x="150" y="6"/>
                </a:lnTo>
                <a:lnTo>
                  <a:pt x="157" y="3"/>
                </a:lnTo>
                <a:lnTo>
                  <a:pt x="163" y="6"/>
                </a:lnTo>
                <a:lnTo>
                  <a:pt x="166" y="12"/>
                </a:lnTo>
                <a:lnTo>
                  <a:pt x="169" y="9"/>
                </a:lnTo>
                <a:lnTo>
                  <a:pt x="178" y="15"/>
                </a:lnTo>
                <a:lnTo>
                  <a:pt x="178" y="15"/>
                </a:lnTo>
                <a:lnTo>
                  <a:pt x="178" y="15"/>
                </a:lnTo>
                <a:close/>
                <a:moveTo>
                  <a:pt x="400" y="253"/>
                </a:moveTo>
                <a:lnTo>
                  <a:pt x="400" y="256"/>
                </a:lnTo>
                <a:lnTo>
                  <a:pt x="400" y="256"/>
                </a:lnTo>
                <a:lnTo>
                  <a:pt x="400" y="253"/>
                </a:lnTo>
                <a:lnTo>
                  <a:pt x="400" y="253"/>
                </a:lnTo>
                <a:close/>
                <a:moveTo>
                  <a:pt x="397" y="253"/>
                </a:moveTo>
                <a:lnTo>
                  <a:pt x="397" y="253"/>
                </a:lnTo>
                <a:lnTo>
                  <a:pt x="397" y="256"/>
                </a:lnTo>
                <a:lnTo>
                  <a:pt x="397" y="256"/>
                </a:lnTo>
                <a:lnTo>
                  <a:pt x="397" y="253"/>
                </a:lnTo>
                <a:lnTo>
                  <a:pt x="397" y="253"/>
                </a:lnTo>
                <a:lnTo>
                  <a:pt x="397" y="253"/>
                </a:lnTo>
                <a:close/>
                <a:moveTo>
                  <a:pt x="394" y="253"/>
                </a:moveTo>
                <a:lnTo>
                  <a:pt x="394" y="256"/>
                </a:lnTo>
                <a:lnTo>
                  <a:pt x="394" y="259"/>
                </a:lnTo>
                <a:lnTo>
                  <a:pt x="394" y="256"/>
                </a:lnTo>
                <a:lnTo>
                  <a:pt x="394" y="253"/>
                </a:lnTo>
                <a:lnTo>
                  <a:pt x="394" y="253"/>
                </a:lnTo>
                <a:close/>
                <a:moveTo>
                  <a:pt x="388" y="253"/>
                </a:moveTo>
                <a:lnTo>
                  <a:pt x="388" y="256"/>
                </a:lnTo>
                <a:lnTo>
                  <a:pt x="388" y="256"/>
                </a:lnTo>
                <a:lnTo>
                  <a:pt x="391" y="250"/>
                </a:lnTo>
                <a:lnTo>
                  <a:pt x="391" y="250"/>
                </a:lnTo>
                <a:lnTo>
                  <a:pt x="388" y="253"/>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8" name="Freeform 36">
            <a:extLst>
              <a:ext uri="{FF2B5EF4-FFF2-40B4-BE49-F238E27FC236}">
                <a16:creationId xmlns:a16="http://schemas.microsoft.com/office/drawing/2014/main" id="{81877DC8-D975-B54F-5496-4F957CEBC3AC}"/>
              </a:ext>
            </a:extLst>
          </p:cNvPr>
          <p:cNvSpPr>
            <a:spLocks noEditPoints="1"/>
          </p:cNvSpPr>
          <p:nvPr userDrawn="1"/>
        </p:nvSpPr>
        <p:spPr bwMode="auto">
          <a:xfrm>
            <a:off x="18588413" y="7619285"/>
            <a:ext cx="317481" cy="415926"/>
          </a:xfrm>
          <a:custGeom>
            <a:avLst/>
            <a:gdLst>
              <a:gd name="T0" fmla="*/ 31 w 32"/>
              <a:gd name="T1" fmla="*/ 37 h 42"/>
              <a:gd name="T2" fmla="*/ 29 w 32"/>
              <a:gd name="T3" fmla="*/ 39 h 42"/>
              <a:gd name="T4" fmla="*/ 29 w 32"/>
              <a:gd name="T5" fmla="*/ 42 h 42"/>
              <a:gd name="T6" fmla="*/ 27 w 32"/>
              <a:gd name="T7" fmla="*/ 38 h 42"/>
              <a:gd name="T8" fmla="*/ 27 w 32"/>
              <a:gd name="T9" fmla="*/ 35 h 42"/>
              <a:gd name="T10" fmla="*/ 26 w 32"/>
              <a:gd name="T11" fmla="*/ 36 h 42"/>
              <a:gd name="T12" fmla="*/ 26 w 32"/>
              <a:gd name="T13" fmla="*/ 33 h 42"/>
              <a:gd name="T14" fmla="*/ 23 w 32"/>
              <a:gd name="T15" fmla="*/ 27 h 42"/>
              <a:gd name="T16" fmla="*/ 22 w 32"/>
              <a:gd name="T17" fmla="*/ 27 h 42"/>
              <a:gd name="T18" fmla="*/ 19 w 32"/>
              <a:gd name="T19" fmla="*/ 26 h 42"/>
              <a:gd name="T20" fmla="*/ 16 w 32"/>
              <a:gd name="T21" fmla="*/ 24 h 42"/>
              <a:gd name="T22" fmla="*/ 17 w 32"/>
              <a:gd name="T23" fmla="*/ 28 h 42"/>
              <a:gd name="T24" fmla="*/ 18 w 32"/>
              <a:gd name="T25" fmla="*/ 30 h 42"/>
              <a:gd name="T26" fmla="*/ 15 w 32"/>
              <a:gd name="T27" fmla="*/ 34 h 42"/>
              <a:gd name="T28" fmla="*/ 15 w 32"/>
              <a:gd name="T29" fmla="*/ 32 h 42"/>
              <a:gd name="T30" fmla="*/ 14 w 32"/>
              <a:gd name="T31" fmla="*/ 33 h 42"/>
              <a:gd name="T32" fmla="*/ 14 w 32"/>
              <a:gd name="T33" fmla="*/ 29 h 42"/>
              <a:gd name="T34" fmla="*/ 13 w 32"/>
              <a:gd name="T35" fmla="*/ 30 h 42"/>
              <a:gd name="T36" fmla="*/ 13 w 32"/>
              <a:gd name="T37" fmla="*/ 33 h 42"/>
              <a:gd name="T38" fmla="*/ 13 w 32"/>
              <a:gd name="T39" fmla="*/ 34 h 42"/>
              <a:gd name="T40" fmla="*/ 11 w 32"/>
              <a:gd name="T41" fmla="*/ 35 h 42"/>
              <a:gd name="T42" fmla="*/ 9 w 32"/>
              <a:gd name="T43" fmla="*/ 33 h 42"/>
              <a:gd name="T44" fmla="*/ 8 w 32"/>
              <a:gd name="T45" fmla="*/ 30 h 42"/>
              <a:gd name="T46" fmla="*/ 6 w 32"/>
              <a:gd name="T47" fmla="*/ 24 h 42"/>
              <a:gd name="T48" fmla="*/ 6 w 32"/>
              <a:gd name="T49" fmla="*/ 19 h 42"/>
              <a:gd name="T50" fmla="*/ 1 w 32"/>
              <a:gd name="T51" fmla="*/ 15 h 42"/>
              <a:gd name="T52" fmla="*/ 3 w 32"/>
              <a:gd name="T53" fmla="*/ 11 h 42"/>
              <a:gd name="T54" fmla="*/ 5 w 32"/>
              <a:gd name="T55" fmla="*/ 10 h 42"/>
              <a:gd name="T56" fmla="*/ 4 w 32"/>
              <a:gd name="T57" fmla="*/ 7 h 42"/>
              <a:gd name="T58" fmla="*/ 0 w 32"/>
              <a:gd name="T59" fmla="*/ 5 h 42"/>
              <a:gd name="T60" fmla="*/ 1 w 32"/>
              <a:gd name="T61" fmla="*/ 1 h 42"/>
              <a:gd name="T62" fmla="*/ 2 w 32"/>
              <a:gd name="T63" fmla="*/ 0 h 42"/>
              <a:gd name="T64" fmla="*/ 3 w 32"/>
              <a:gd name="T65" fmla="*/ 2 h 42"/>
              <a:gd name="T66" fmla="*/ 6 w 32"/>
              <a:gd name="T67" fmla="*/ 3 h 42"/>
              <a:gd name="T68" fmla="*/ 6 w 32"/>
              <a:gd name="T69" fmla="*/ 2 h 42"/>
              <a:gd name="T70" fmla="*/ 9 w 32"/>
              <a:gd name="T71" fmla="*/ 4 h 42"/>
              <a:gd name="T72" fmla="*/ 10 w 32"/>
              <a:gd name="T73" fmla="*/ 5 h 42"/>
              <a:gd name="T74" fmla="*/ 11 w 32"/>
              <a:gd name="T75" fmla="*/ 8 h 42"/>
              <a:gd name="T76" fmla="*/ 13 w 32"/>
              <a:gd name="T77" fmla="*/ 9 h 42"/>
              <a:gd name="T78" fmla="*/ 19 w 32"/>
              <a:gd name="T79" fmla="*/ 10 h 42"/>
              <a:gd name="T80" fmla="*/ 24 w 32"/>
              <a:gd name="T81" fmla="*/ 10 h 42"/>
              <a:gd name="T82" fmla="*/ 26 w 32"/>
              <a:gd name="T83" fmla="*/ 11 h 42"/>
              <a:gd name="T84" fmla="*/ 26 w 32"/>
              <a:gd name="T85" fmla="*/ 14 h 42"/>
              <a:gd name="T86" fmla="*/ 24 w 32"/>
              <a:gd name="T87" fmla="*/ 18 h 42"/>
              <a:gd name="T88" fmla="*/ 23 w 32"/>
              <a:gd name="T89" fmla="*/ 18 h 42"/>
              <a:gd name="T90" fmla="*/ 21 w 32"/>
              <a:gd name="T91" fmla="*/ 20 h 42"/>
              <a:gd name="T92" fmla="*/ 22 w 32"/>
              <a:gd name="T93" fmla="*/ 23 h 42"/>
              <a:gd name="T94" fmla="*/ 24 w 32"/>
              <a:gd name="T95" fmla="*/ 26 h 42"/>
              <a:gd name="T96" fmla="*/ 25 w 32"/>
              <a:gd name="T97" fmla="*/ 24 h 42"/>
              <a:gd name="T98" fmla="*/ 26 w 32"/>
              <a:gd name="T99" fmla="*/ 22 h 42"/>
              <a:gd name="T100" fmla="*/ 27 w 32"/>
              <a:gd name="T101" fmla="*/ 22 h 42"/>
              <a:gd name="T102" fmla="*/ 29 w 32"/>
              <a:gd name="T103" fmla="*/ 23 h 42"/>
              <a:gd name="T104" fmla="*/ 29 w 32"/>
              <a:gd name="T105" fmla="*/ 27 h 42"/>
              <a:gd name="T106" fmla="*/ 31 w 32"/>
              <a:gd name="T107" fmla="*/ 32 h 42"/>
              <a:gd name="T108" fmla="*/ 31 w 32"/>
              <a:gd name="T109" fmla="*/ 34 h 42"/>
              <a:gd name="T110" fmla="*/ 23 w 32"/>
              <a:gd name="T111" fmla="*/ 29 h 42"/>
              <a:gd name="T112" fmla="*/ 23 w 32"/>
              <a:gd name="T113" fmla="*/ 30 h 42"/>
              <a:gd name="T114" fmla="*/ 21 w 32"/>
              <a:gd name="T115" fmla="*/ 30 h 42"/>
              <a:gd name="T116" fmla="*/ 22 w 32"/>
              <a:gd name="T117" fmla="*/ 30 h 42"/>
              <a:gd name="T118" fmla="*/ 20 w 32"/>
              <a:gd name="T119" fmla="*/ 29 h 42"/>
              <a:gd name="T120" fmla="*/ 18 w 32"/>
              <a:gd name="T121" fmla="*/ 29 h 42"/>
              <a:gd name="T122" fmla="*/ 19 w 32"/>
              <a:gd name="T123" fmla="*/ 2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 h="42">
                <a:moveTo>
                  <a:pt x="32" y="34"/>
                </a:moveTo>
                <a:cubicBezTo>
                  <a:pt x="32" y="36"/>
                  <a:pt x="32" y="36"/>
                  <a:pt x="32" y="36"/>
                </a:cubicBezTo>
                <a:cubicBezTo>
                  <a:pt x="31" y="37"/>
                  <a:pt x="31" y="37"/>
                  <a:pt x="31" y="37"/>
                </a:cubicBezTo>
                <a:cubicBezTo>
                  <a:pt x="30" y="37"/>
                  <a:pt x="30" y="37"/>
                  <a:pt x="30" y="37"/>
                </a:cubicBezTo>
                <a:cubicBezTo>
                  <a:pt x="29" y="38"/>
                  <a:pt x="29" y="38"/>
                  <a:pt x="29" y="38"/>
                </a:cubicBezTo>
                <a:cubicBezTo>
                  <a:pt x="29" y="39"/>
                  <a:pt x="29" y="39"/>
                  <a:pt x="29" y="39"/>
                </a:cubicBezTo>
                <a:cubicBezTo>
                  <a:pt x="29" y="40"/>
                  <a:pt x="29" y="40"/>
                  <a:pt x="29" y="40"/>
                </a:cubicBezTo>
                <a:cubicBezTo>
                  <a:pt x="29" y="40"/>
                  <a:pt x="29" y="40"/>
                  <a:pt x="29" y="40"/>
                </a:cubicBezTo>
                <a:cubicBezTo>
                  <a:pt x="29" y="42"/>
                  <a:pt x="29" y="42"/>
                  <a:pt x="29" y="42"/>
                </a:cubicBezTo>
                <a:cubicBezTo>
                  <a:pt x="29" y="42"/>
                  <a:pt x="29" y="42"/>
                  <a:pt x="29" y="42"/>
                </a:cubicBezTo>
                <a:cubicBezTo>
                  <a:pt x="28" y="39"/>
                  <a:pt x="28" y="39"/>
                  <a:pt x="28" y="39"/>
                </a:cubicBezTo>
                <a:cubicBezTo>
                  <a:pt x="27" y="38"/>
                  <a:pt x="27" y="38"/>
                  <a:pt x="27" y="38"/>
                </a:cubicBezTo>
                <a:cubicBezTo>
                  <a:pt x="27" y="37"/>
                  <a:pt x="27" y="37"/>
                  <a:pt x="27" y="37"/>
                </a:cubicBezTo>
                <a:cubicBezTo>
                  <a:pt x="27" y="36"/>
                  <a:pt x="27" y="36"/>
                  <a:pt x="27" y="36"/>
                </a:cubicBezTo>
                <a:cubicBezTo>
                  <a:pt x="27" y="35"/>
                  <a:pt x="27" y="35"/>
                  <a:pt x="27" y="35"/>
                </a:cubicBezTo>
                <a:cubicBezTo>
                  <a:pt x="27" y="36"/>
                  <a:pt x="27" y="36"/>
                  <a:pt x="27" y="36"/>
                </a:cubicBezTo>
                <a:cubicBezTo>
                  <a:pt x="26" y="37"/>
                  <a:pt x="26" y="37"/>
                  <a:pt x="26" y="37"/>
                </a:cubicBezTo>
                <a:cubicBezTo>
                  <a:pt x="26" y="36"/>
                  <a:pt x="26" y="36"/>
                  <a:pt x="26" y="36"/>
                </a:cubicBezTo>
                <a:cubicBezTo>
                  <a:pt x="26" y="34"/>
                  <a:pt x="26" y="34"/>
                  <a:pt x="26" y="34"/>
                </a:cubicBezTo>
                <a:cubicBezTo>
                  <a:pt x="26" y="34"/>
                  <a:pt x="26" y="34"/>
                  <a:pt x="26" y="34"/>
                </a:cubicBezTo>
                <a:cubicBezTo>
                  <a:pt x="26" y="33"/>
                  <a:pt x="26" y="33"/>
                  <a:pt x="26" y="33"/>
                </a:cubicBezTo>
                <a:cubicBezTo>
                  <a:pt x="26" y="32"/>
                  <a:pt x="26" y="32"/>
                  <a:pt x="26" y="32"/>
                </a:cubicBezTo>
                <a:cubicBezTo>
                  <a:pt x="25" y="31"/>
                  <a:pt x="25" y="31"/>
                  <a:pt x="25" y="31"/>
                </a:cubicBezTo>
                <a:cubicBezTo>
                  <a:pt x="23" y="27"/>
                  <a:pt x="23" y="27"/>
                  <a:pt x="23" y="27"/>
                </a:cubicBezTo>
                <a:cubicBezTo>
                  <a:pt x="23" y="27"/>
                  <a:pt x="23" y="27"/>
                  <a:pt x="23" y="27"/>
                </a:cubicBezTo>
                <a:cubicBezTo>
                  <a:pt x="23" y="27"/>
                  <a:pt x="23" y="27"/>
                  <a:pt x="23" y="27"/>
                </a:cubicBezTo>
                <a:cubicBezTo>
                  <a:pt x="22" y="27"/>
                  <a:pt x="22" y="27"/>
                  <a:pt x="22" y="27"/>
                </a:cubicBezTo>
                <a:cubicBezTo>
                  <a:pt x="21" y="28"/>
                  <a:pt x="21" y="28"/>
                  <a:pt x="21" y="28"/>
                </a:cubicBezTo>
                <a:cubicBezTo>
                  <a:pt x="19" y="27"/>
                  <a:pt x="19" y="27"/>
                  <a:pt x="19" y="27"/>
                </a:cubicBezTo>
                <a:cubicBezTo>
                  <a:pt x="19" y="26"/>
                  <a:pt x="19" y="26"/>
                  <a:pt x="19" y="26"/>
                </a:cubicBezTo>
                <a:cubicBezTo>
                  <a:pt x="18" y="26"/>
                  <a:pt x="18" y="26"/>
                  <a:pt x="18" y="26"/>
                </a:cubicBezTo>
                <a:cubicBezTo>
                  <a:pt x="17" y="25"/>
                  <a:pt x="17" y="25"/>
                  <a:pt x="17" y="25"/>
                </a:cubicBezTo>
                <a:cubicBezTo>
                  <a:pt x="16" y="24"/>
                  <a:pt x="16" y="24"/>
                  <a:pt x="16" y="24"/>
                </a:cubicBezTo>
                <a:cubicBezTo>
                  <a:pt x="17" y="26"/>
                  <a:pt x="17" y="26"/>
                  <a:pt x="17" y="26"/>
                </a:cubicBezTo>
                <a:cubicBezTo>
                  <a:pt x="17" y="27"/>
                  <a:pt x="17" y="27"/>
                  <a:pt x="17" y="27"/>
                </a:cubicBezTo>
                <a:cubicBezTo>
                  <a:pt x="17" y="28"/>
                  <a:pt x="17" y="28"/>
                  <a:pt x="17" y="28"/>
                </a:cubicBezTo>
                <a:cubicBezTo>
                  <a:pt x="16" y="28"/>
                  <a:pt x="16" y="28"/>
                  <a:pt x="16" y="28"/>
                </a:cubicBezTo>
                <a:cubicBezTo>
                  <a:pt x="17" y="28"/>
                  <a:pt x="17" y="28"/>
                  <a:pt x="17" y="28"/>
                </a:cubicBezTo>
                <a:cubicBezTo>
                  <a:pt x="18" y="30"/>
                  <a:pt x="18" y="30"/>
                  <a:pt x="18" y="30"/>
                </a:cubicBezTo>
                <a:cubicBezTo>
                  <a:pt x="17" y="32"/>
                  <a:pt x="17" y="32"/>
                  <a:pt x="17" y="32"/>
                </a:cubicBezTo>
                <a:cubicBezTo>
                  <a:pt x="16" y="32"/>
                  <a:pt x="16" y="32"/>
                  <a:pt x="16" y="32"/>
                </a:cubicBezTo>
                <a:cubicBezTo>
                  <a:pt x="15" y="34"/>
                  <a:pt x="15" y="34"/>
                  <a:pt x="15" y="34"/>
                </a:cubicBezTo>
                <a:cubicBezTo>
                  <a:pt x="14" y="33"/>
                  <a:pt x="14" y="33"/>
                  <a:pt x="14" y="33"/>
                </a:cubicBezTo>
                <a:cubicBezTo>
                  <a:pt x="15" y="32"/>
                  <a:pt x="15" y="32"/>
                  <a:pt x="15" y="32"/>
                </a:cubicBezTo>
                <a:cubicBezTo>
                  <a:pt x="15" y="32"/>
                  <a:pt x="15" y="32"/>
                  <a:pt x="15" y="32"/>
                </a:cubicBezTo>
                <a:cubicBezTo>
                  <a:pt x="16" y="31"/>
                  <a:pt x="16" y="31"/>
                  <a:pt x="16" y="31"/>
                </a:cubicBezTo>
                <a:cubicBezTo>
                  <a:pt x="15" y="32"/>
                  <a:pt x="15" y="32"/>
                  <a:pt x="15" y="32"/>
                </a:cubicBezTo>
                <a:cubicBezTo>
                  <a:pt x="14" y="33"/>
                  <a:pt x="14" y="33"/>
                  <a:pt x="14" y="33"/>
                </a:cubicBezTo>
                <a:cubicBezTo>
                  <a:pt x="13" y="32"/>
                  <a:pt x="13" y="32"/>
                  <a:pt x="13" y="32"/>
                </a:cubicBezTo>
                <a:cubicBezTo>
                  <a:pt x="14" y="30"/>
                  <a:pt x="14" y="30"/>
                  <a:pt x="14" y="30"/>
                </a:cubicBezTo>
                <a:cubicBezTo>
                  <a:pt x="14" y="29"/>
                  <a:pt x="14" y="29"/>
                  <a:pt x="14" y="29"/>
                </a:cubicBezTo>
                <a:cubicBezTo>
                  <a:pt x="13" y="29"/>
                  <a:pt x="13" y="29"/>
                  <a:pt x="13" y="29"/>
                </a:cubicBezTo>
                <a:cubicBezTo>
                  <a:pt x="14" y="29"/>
                  <a:pt x="14" y="29"/>
                  <a:pt x="14" y="29"/>
                </a:cubicBezTo>
                <a:cubicBezTo>
                  <a:pt x="13" y="30"/>
                  <a:pt x="13" y="30"/>
                  <a:pt x="13" y="30"/>
                </a:cubicBezTo>
                <a:cubicBezTo>
                  <a:pt x="13" y="31"/>
                  <a:pt x="13" y="31"/>
                  <a:pt x="13" y="31"/>
                </a:cubicBezTo>
                <a:cubicBezTo>
                  <a:pt x="13" y="32"/>
                  <a:pt x="13" y="32"/>
                  <a:pt x="13" y="32"/>
                </a:cubicBezTo>
                <a:cubicBezTo>
                  <a:pt x="13" y="33"/>
                  <a:pt x="13" y="33"/>
                  <a:pt x="13" y="33"/>
                </a:cubicBezTo>
                <a:cubicBezTo>
                  <a:pt x="13" y="34"/>
                  <a:pt x="13" y="34"/>
                  <a:pt x="13" y="34"/>
                </a:cubicBezTo>
                <a:cubicBezTo>
                  <a:pt x="13" y="34"/>
                  <a:pt x="13" y="34"/>
                  <a:pt x="13" y="34"/>
                </a:cubicBezTo>
                <a:cubicBezTo>
                  <a:pt x="13" y="34"/>
                  <a:pt x="13" y="34"/>
                  <a:pt x="13" y="34"/>
                </a:cubicBezTo>
                <a:cubicBezTo>
                  <a:pt x="12" y="34"/>
                  <a:pt x="12" y="34"/>
                  <a:pt x="12" y="34"/>
                </a:cubicBezTo>
                <a:cubicBezTo>
                  <a:pt x="11" y="34"/>
                  <a:pt x="11" y="34"/>
                  <a:pt x="11" y="34"/>
                </a:cubicBezTo>
                <a:cubicBezTo>
                  <a:pt x="11" y="35"/>
                  <a:pt x="11" y="35"/>
                  <a:pt x="11" y="35"/>
                </a:cubicBezTo>
                <a:cubicBezTo>
                  <a:pt x="10" y="35"/>
                  <a:pt x="10" y="35"/>
                  <a:pt x="10" y="35"/>
                </a:cubicBezTo>
                <a:cubicBezTo>
                  <a:pt x="10" y="34"/>
                  <a:pt x="10" y="34"/>
                  <a:pt x="10" y="34"/>
                </a:cubicBezTo>
                <a:cubicBezTo>
                  <a:pt x="9" y="33"/>
                  <a:pt x="9" y="33"/>
                  <a:pt x="9" y="33"/>
                </a:cubicBezTo>
                <a:cubicBezTo>
                  <a:pt x="9" y="33"/>
                  <a:pt x="9" y="33"/>
                  <a:pt x="9" y="33"/>
                </a:cubicBezTo>
                <a:cubicBezTo>
                  <a:pt x="9" y="31"/>
                  <a:pt x="9" y="31"/>
                  <a:pt x="9" y="31"/>
                </a:cubicBezTo>
                <a:cubicBezTo>
                  <a:pt x="8" y="30"/>
                  <a:pt x="8" y="30"/>
                  <a:pt x="8" y="30"/>
                </a:cubicBezTo>
                <a:cubicBezTo>
                  <a:pt x="8" y="29"/>
                  <a:pt x="8" y="29"/>
                  <a:pt x="8" y="29"/>
                </a:cubicBezTo>
                <a:cubicBezTo>
                  <a:pt x="6" y="26"/>
                  <a:pt x="6" y="26"/>
                  <a:pt x="6" y="26"/>
                </a:cubicBezTo>
                <a:cubicBezTo>
                  <a:pt x="6" y="24"/>
                  <a:pt x="6" y="24"/>
                  <a:pt x="6" y="24"/>
                </a:cubicBezTo>
                <a:cubicBezTo>
                  <a:pt x="6" y="23"/>
                  <a:pt x="6" y="23"/>
                  <a:pt x="6" y="23"/>
                </a:cubicBezTo>
                <a:cubicBezTo>
                  <a:pt x="6" y="21"/>
                  <a:pt x="6" y="21"/>
                  <a:pt x="6" y="21"/>
                </a:cubicBezTo>
                <a:cubicBezTo>
                  <a:pt x="6" y="19"/>
                  <a:pt x="6" y="19"/>
                  <a:pt x="6" y="19"/>
                </a:cubicBezTo>
                <a:cubicBezTo>
                  <a:pt x="4" y="17"/>
                  <a:pt x="4" y="17"/>
                  <a:pt x="4" y="17"/>
                </a:cubicBezTo>
                <a:cubicBezTo>
                  <a:pt x="2" y="17"/>
                  <a:pt x="2" y="17"/>
                  <a:pt x="2" y="17"/>
                </a:cubicBezTo>
                <a:cubicBezTo>
                  <a:pt x="1" y="15"/>
                  <a:pt x="1" y="15"/>
                  <a:pt x="1" y="15"/>
                </a:cubicBezTo>
                <a:cubicBezTo>
                  <a:pt x="1" y="13"/>
                  <a:pt x="1" y="13"/>
                  <a:pt x="1" y="13"/>
                </a:cubicBezTo>
                <a:cubicBezTo>
                  <a:pt x="2" y="12"/>
                  <a:pt x="2" y="12"/>
                  <a:pt x="2" y="12"/>
                </a:cubicBezTo>
                <a:cubicBezTo>
                  <a:pt x="3" y="11"/>
                  <a:pt x="3" y="11"/>
                  <a:pt x="3" y="11"/>
                </a:cubicBezTo>
                <a:cubicBezTo>
                  <a:pt x="4" y="10"/>
                  <a:pt x="4" y="10"/>
                  <a:pt x="4" y="10"/>
                </a:cubicBezTo>
                <a:cubicBezTo>
                  <a:pt x="4" y="10"/>
                  <a:pt x="4" y="10"/>
                  <a:pt x="4" y="10"/>
                </a:cubicBezTo>
                <a:cubicBezTo>
                  <a:pt x="5" y="10"/>
                  <a:pt x="5" y="10"/>
                  <a:pt x="5" y="10"/>
                </a:cubicBezTo>
                <a:cubicBezTo>
                  <a:pt x="5" y="8"/>
                  <a:pt x="5" y="8"/>
                  <a:pt x="5" y="8"/>
                </a:cubicBezTo>
                <a:cubicBezTo>
                  <a:pt x="5" y="7"/>
                  <a:pt x="5" y="7"/>
                  <a:pt x="5" y="7"/>
                </a:cubicBezTo>
                <a:cubicBezTo>
                  <a:pt x="4" y="7"/>
                  <a:pt x="4" y="7"/>
                  <a:pt x="4" y="7"/>
                </a:cubicBezTo>
                <a:cubicBezTo>
                  <a:pt x="2" y="8"/>
                  <a:pt x="2" y="8"/>
                  <a:pt x="2" y="8"/>
                </a:cubicBezTo>
                <a:cubicBezTo>
                  <a:pt x="0" y="7"/>
                  <a:pt x="0" y="7"/>
                  <a:pt x="0" y="7"/>
                </a:cubicBezTo>
                <a:cubicBezTo>
                  <a:pt x="0" y="5"/>
                  <a:pt x="0" y="5"/>
                  <a:pt x="0" y="5"/>
                </a:cubicBezTo>
                <a:cubicBezTo>
                  <a:pt x="1" y="4"/>
                  <a:pt x="1" y="4"/>
                  <a:pt x="1" y="4"/>
                </a:cubicBezTo>
                <a:cubicBezTo>
                  <a:pt x="2" y="2"/>
                  <a:pt x="2" y="2"/>
                  <a:pt x="2" y="2"/>
                </a:cubicBezTo>
                <a:cubicBezTo>
                  <a:pt x="1" y="1"/>
                  <a:pt x="1" y="1"/>
                  <a:pt x="1" y="1"/>
                </a:cubicBezTo>
                <a:cubicBezTo>
                  <a:pt x="1" y="1"/>
                  <a:pt x="1" y="1"/>
                  <a:pt x="1" y="1"/>
                </a:cubicBezTo>
                <a:cubicBezTo>
                  <a:pt x="1" y="1"/>
                  <a:pt x="1" y="1"/>
                  <a:pt x="1" y="1"/>
                </a:cubicBezTo>
                <a:cubicBezTo>
                  <a:pt x="2" y="0"/>
                  <a:pt x="2" y="0"/>
                  <a:pt x="2" y="0"/>
                </a:cubicBezTo>
                <a:cubicBezTo>
                  <a:pt x="2" y="0"/>
                  <a:pt x="2" y="0"/>
                  <a:pt x="2" y="0"/>
                </a:cubicBezTo>
                <a:cubicBezTo>
                  <a:pt x="3" y="1"/>
                  <a:pt x="3" y="1"/>
                  <a:pt x="3" y="1"/>
                </a:cubicBezTo>
                <a:cubicBezTo>
                  <a:pt x="3" y="2"/>
                  <a:pt x="3" y="2"/>
                  <a:pt x="3" y="2"/>
                </a:cubicBezTo>
                <a:cubicBezTo>
                  <a:pt x="4" y="3"/>
                  <a:pt x="4" y="3"/>
                  <a:pt x="4" y="3"/>
                </a:cubicBezTo>
                <a:cubicBezTo>
                  <a:pt x="5" y="3"/>
                  <a:pt x="5" y="3"/>
                  <a:pt x="5" y="3"/>
                </a:cubicBezTo>
                <a:cubicBezTo>
                  <a:pt x="6" y="3"/>
                  <a:pt x="6" y="3"/>
                  <a:pt x="6" y="3"/>
                </a:cubicBezTo>
                <a:cubicBezTo>
                  <a:pt x="5" y="3"/>
                  <a:pt x="5" y="3"/>
                  <a:pt x="5" y="3"/>
                </a:cubicBezTo>
                <a:cubicBezTo>
                  <a:pt x="5" y="2"/>
                  <a:pt x="5" y="2"/>
                  <a:pt x="5" y="2"/>
                </a:cubicBezTo>
                <a:cubicBezTo>
                  <a:pt x="6" y="2"/>
                  <a:pt x="6" y="2"/>
                  <a:pt x="6" y="2"/>
                </a:cubicBezTo>
                <a:cubicBezTo>
                  <a:pt x="7" y="3"/>
                  <a:pt x="7" y="3"/>
                  <a:pt x="7" y="3"/>
                </a:cubicBezTo>
                <a:cubicBezTo>
                  <a:pt x="7" y="3"/>
                  <a:pt x="7" y="3"/>
                  <a:pt x="7" y="3"/>
                </a:cubicBezTo>
                <a:cubicBezTo>
                  <a:pt x="9" y="4"/>
                  <a:pt x="9" y="4"/>
                  <a:pt x="9" y="4"/>
                </a:cubicBezTo>
                <a:cubicBezTo>
                  <a:pt x="9" y="3"/>
                  <a:pt x="9" y="3"/>
                  <a:pt x="9" y="3"/>
                </a:cubicBezTo>
                <a:cubicBezTo>
                  <a:pt x="9" y="3"/>
                  <a:pt x="9" y="3"/>
                  <a:pt x="9" y="3"/>
                </a:cubicBezTo>
                <a:cubicBezTo>
                  <a:pt x="10" y="5"/>
                  <a:pt x="10" y="5"/>
                  <a:pt x="10" y="5"/>
                </a:cubicBezTo>
                <a:cubicBezTo>
                  <a:pt x="10" y="6"/>
                  <a:pt x="10" y="6"/>
                  <a:pt x="10" y="6"/>
                </a:cubicBezTo>
                <a:cubicBezTo>
                  <a:pt x="11" y="7"/>
                  <a:pt x="11" y="7"/>
                  <a:pt x="11" y="7"/>
                </a:cubicBezTo>
                <a:cubicBezTo>
                  <a:pt x="11" y="8"/>
                  <a:pt x="11" y="8"/>
                  <a:pt x="11" y="8"/>
                </a:cubicBezTo>
                <a:cubicBezTo>
                  <a:pt x="11" y="9"/>
                  <a:pt x="11" y="9"/>
                  <a:pt x="11" y="9"/>
                </a:cubicBezTo>
                <a:cubicBezTo>
                  <a:pt x="12" y="10"/>
                  <a:pt x="12" y="10"/>
                  <a:pt x="12" y="10"/>
                </a:cubicBezTo>
                <a:cubicBezTo>
                  <a:pt x="13" y="9"/>
                  <a:pt x="13" y="9"/>
                  <a:pt x="13" y="9"/>
                </a:cubicBezTo>
                <a:cubicBezTo>
                  <a:pt x="15" y="10"/>
                  <a:pt x="15" y="10"/>
                  <a:pt x="15" y="10"/>
                </a:cubicBezTo>
                <a:cubicBezTo>
                  <a:pt x="16" y="10"/>
                  <a:pt x="16" y="10"/>
                  <a:pt x="16" y="10"/>
                </a:cubicBezTo>
                <a:cubicBezTo>
                  <a:pt x="19" y="10"/>
                  <a:pt x="19" y="10"/>
                  <a:pt x="19" y="10"/>
                </a:cubicBezTo>
                <a:cubicBezTo>
                  <a:pt x="21" y="10"/>
                  <a:pt x="21" y="10"/>
                  <a:pt x="21" y="10"/>
                </a:cubicBezTo>
                <a:cubicBezTo>
                  <a:pt x="23" y="10"/>
                  <a:pt x="23" y="10"/>
                  <a:pt x="23" y="10"/>
                </a:cubicBezTo>
                <a:cubicBezTo>
                  <a:pt x="24" y="10"/>
                  <a:pt x="24" y="10"/>
                  <a:pt x="24" y="10"/>
                </a:cubicBezTo>
                <a:cubicBezTo>
                  <a:pt x="24" y="10"/>
                  <a:pt x="24" y="10"/>
                  <a:pt x="24" y="10"/>
                </a:cubicBezTo>
                <a:cubicBezTo>
                  <a:pt x="25" y="10"/>
                  <a:pt x="25" y="10"/>
                  <a:pt x="25" y="10"/>
                </a:cubicBezTo>
                <a:cubicBezTo>
                  <a:pt x="26" y="11"/>
                  <a:pt x="26" y="11"/>
                  <a:pt x="26" y="11"/>
                </a:cubicBezTo>
                <a:cubicBezTo>
                  <a:pt x="27" y="11"/>
                  <a:pt x="27" y="11"/>
                  <a:pt x="27" y="11"/>
                </a:cubicBezTo>
                <a:cubicBezTo>
                  <a:pt x="26" y="13"/>
                  <a:pt x="26" y="13"/>
                  <a:pt x="26" y="13"/>
                </a:cubicBezTo>
                <a:cubicBezTo>
                  <a:pt x="26" y="14"/>
                  <a:pt x="26" y="14"/>
                  <a:pt x="26" y="14"/>
                </a:cubicBezTo>
                <a:cubicBezTo>
                  <a:pt x="25" y="16"/>
                  <a:pt x="25" y="16"/>
                  <a:pt x="25" y="16"/>
                </a:cubicBezTo>
                <a:cubicBezTo>
                  <a:pt x="24" y="17"/>
                  <a:pt x="24" y="17"/>
                  <a:pt x="24" y="17"/>
                </a:cubicBezTo>
                <a:cubicBezTo>
                  <a:pt x="24" y="18"/>
                  <a:pt x="24" y="18"/>
                  <a:pt x="24" y="18"/>
                </a:cubicBezTo>
                <a:cubicBezTo>
                  <a:pt x="24" y="18"/>
                  <a:pt x="24" y="18"/>
                  <a:pt x="24" y="18"/>
                </a:cubicBezTo>
                <a:cubicBezTo>
                  <a:pt x="23" y="18"/>
                  <a:pt x="23" y="18"/>
                  <a:pt x="23" y="18"/>
                </a:cubicBezTo>
                <a:cubicBezTo>
                  <a:pt x="23" y="18"/>
                  <a:pt x="23" y="18"/>
                  <a:pt x="23" y="18"/>
                </a:cubicBezTo>
                <a:cubicBezTo>
                  <a:pt x="22" y="19"/>
                  <a:pt x="22" y="19"/>
                  <a:pt x="22" y="19"/>
                </a:cubicBezTo>
                <a:cubicBezTo>
                  <a:pt x="21" y="19"/>
                  <a:pt x="21" y="19"/>
                  <a:pt x="21" y="19"/>
                </a:cubicBezTo>
                <a:cubicBezTo>
                  <a:pt x="21" y="20"/>
                  <a:pt x="21" y="20"/>
                  <a:pt x="21" y="20"/>
                </a:cubicBezTo>
                <a:cubicBezTo>
                  <a:pt x="21" y="21"/>
                  <a:pt x="21" y="21"/>
                  <a:pt x="21" y="21"/>
                </a:cubicBezTo>
                <a:cubicBezTo>
                  <a:pt x="21" y="22"/>
                  <a:pt x="21" y="22"/>
                  <a:pt x="21" y="22"/>
                </a:cubicBezTo>
                <a:cubicBezTo>
                  <a:pt x="22" y="23"/>
                  <a:pt x="22" y="23"/>
                  <a:pt x="22" y="23"/>
                </a:cubicBezTo>
                <a:cubicBezTo>
                  <a:pt x="22" y="23"/>
                  <a:pt x="22" y="23"/>
                  <a:pt x="22" y="23"/>
                </a:cubicBezTo>
                <a:cubicBezTo>
                  <a:pt x="23" y="24"/>
                  <a:pt x="23" y="24"/>
                  <a:pt x="23" y="24"/>
                </a:cubicBezTo>
                <a:cubicBezTo>
                  <a:pt x="24" y="26"/>
                  <a:pt x="24" y="26"/>
                  <a:pt x="24" y="26"/>
                </a:cubicBezTo>
                <a:cubicBezTo>
                  <a:pt x="25" y="26"/>
                  <a:pt x="25" y="26"/>
                  <a:pt x="25" y="26"/>
                </a:cubicBezTo>
                <a:cubicBezTo>
                  <a:pt x="25" y="25"/>
                  <a:pt x="25" y="25"/>
                  <a:pt x="25" y="25"/>
                </a:cubicBezTo>
                <a:cubicBezTo>
                  <a:pt x="25" y="24"/>
                  <a:pt x="25" y="24"/>
                  <a:pt x="25" y="24"/>
                </a:cubicBezTo>
                <a:cubicBezTo>
                  <a:pt x="25" y="23"/>
                  <a:pt x="25" y="23"/>
                  <a:pt x="25" y="23"/>
                </a:cubicBezTo>
                <a:cubicBezTo>
                  <a:pt x="25" y="23"/>
                  <a:pt x="25" y="23"/>
                  <a:pt x="25" y="23"/>
                </a:cubicBezTo>
                <a:cubicBezTo>
                  <a:pt x="26" y="22"/>
                  <a:pt x="26" y="22"/>
                  <a:pt x="26" y="22"/>
                </a:cubicBezTo>
                <a:cubicBezTo>
                  <a:pt x="25" y="22"/>
                  <a:pt x="25" y="22"/>
                  <a:pt x="25" y="22"/>
                </a:cubicBezTo>
                <a:cubicBezTo>
                  <a:pt x="26" y="21"/>
                  <a:pt x="26" y="21"/>
                  <a:pt x="26" y="21"/>
                </a:cubicBezTo>
                <a:cubicBezTo>
                  <a:pt x="27" y="22"/>
                  <a:pt x="27" y="22"/>
                  <a:pt x="27" y="22"/>
                </a:cubicBezTo>
                <a:cubicBezTo>
                  <a:pt x="28" y="22"/>
                  <a:pt x="28" y="22"/>
                  <a:pt x="28" y="22"/>
                </a:cubicBezTo>
                <a:cubicBezTo>
                  <a:pt x="28" y="22"/>
                  <a:pt x="28" y="22"/>
                  <a:pt x="28" y="22"/>
                </a:cubicBezTo>
                <a:cubicBezTo>
                  <a:pt x="29" y="23"/>
                  <a:pt x="29" y="23"/>
                  <a:pt x="29" y="23"/>
                </a:cubicBezTo>
                <a:cubicBezTo>
                  <a:pt x="29" y="25"/>
                  <a:pt x="29" y="25"/>
                  <a:pt x="29" y="25"/>
                </a:cubicBezTo>
                <a:cubicBezTo>
                  <a:pt x="29" y="26"/>
                  <a:pt x="29" y="26"/>
                  <a:pt x="29" y="26"/>
                </a:cubicBezTo>
                <a:cubicBezTo>
                  <a:pt x="29" y="27"/>
                  <a:pt x="29" y="27"/>
                  <a:pt x="29" y="27"/>
                </a:cubicBezTo>
                <a:cubicBezTo>
                  <a:pt x="30" y="30"/>
                  <a:pt x="30" y="30"/>
                  <a:pt x="30" y="30"/>
                </a:cubicBezTo>
                <a:cubicBezTo>
                  <a:pt x="30" y="31"/>
                  <a:pt x="30" y="31"/>
                  <a:pt x="30" y="31"/>
                </a:cubicBezTo>
                <a:cubicBezTo>
                  <a:pt x="31" y="32"/>
                  <a:pt x="31" y="32"/>
                  <a:pt x="31" y="32"/>
                </a:cubicBezTo>
                <a:cubicBezTo>
                  <a:pt x="31" y="33"/>
                  <a:pt x="31" y="33"/>
                  <a:pt x="31" y="33"/>
                </a:cubicBezTo>
                <a:cubicBezTo>
                  <a:pt x="31" y="33"/>
                  <a:pt x="31" y="33"/>
                  <a:pt x="31" y="33"/>
                </a:cubicBezTo>
                <a:cubicBezTo>
                  <a:pt x="31" y="34"/>
                  <a:pt x="31" y="34"/>
                  <a:pt x="31" y="34"/>
                </a:cubicBezTo>
                <a:cubicBezTo>
                  <a:pt x="32" y="34"/>
                  <a:pt x="32" y="34"/>
                  <a:pt x="32" y="34"/>
                </a:cubicBezTo>
                <a:close/>
                <a:moveTo>
                  <a:pt x="23" y="29"/>
                </a:moveTo>
                <a:cubicBezTo>
                  <a:pt x="23" y="29"/>
                  <a:pt x="23" y="29"/>
                  <a:pt x="23" y="29"/>
                </a:cubicBezTo>
                <a:cubicBezTo>
                  <a:pt x="22" y="29"/>
                  <a:pt x="22" y="29"/>
                  <a:pt x="22" y="29"/>
                </a:cubicBezTo>
                <a:cubicBezTo>
                  <a:pt x="22" y="30"/>
                  <a:pt x="22" y="30"/>
                  <a:pt x="22" y="30"/>
                </a:cubicBezTo>
                <a:cubicBezTo>
                  <a:pt x="23" y="30"/>
                  <a:pt x="23" y="30"/>
                  <a:pt x="23" y="30"/>
                </a:cubicBezTo>
                <a:cubicBezTo>
                  <a:pt x="23" y="29"/>
                  <a:pt x="23" y="29"/>
                  <a:pt x="23" y="29"/>
                </a:cubicBezTo>
                <a:close/>
                <a:moveTo>
                  <a:pt x="20" y="29"/>
                </a:moveTo>
                <a:cubicBezTo>
                  <a:pt x="21" y="30"/>
                  <a:pt x="21" y="30"/>
                  <a:pt x="21" y="30"/>
                </a:cubicBezTo>
                <a:cubicBezTo>
                  <a:pt x="20" y="31"/>
                  <a:pt x="20" y="31"/>
                  <a:pt x="20" y="31"/>
                </a:cubicBezTo>
                <a:cubicBezTo>
                  <a:pt x="21" y="32"/>
                  <a:pt x="21" y="32"/>
                  <a:pt x="21" y="32"/>
                </a:cubicBezTo>
                <a:cubicBezTo>
                  <a:pt x="22" y="30"/>
                  <a:pt x="22" y="30"/>
                  <a:pt x="22" y="30"/>
                </a:cubicBezTo>
                <a:cubicBezTo>
                  <a:pt x="21" y="29"/>
                  <a:pt x="21" y="29"/>
                  <a:pt x="21" y="29"/>
                </a:cubicBezTo>
                <a:cubicBezTo>
                  <a:pt x="20" y="28"/>
                  <a:pt x="20" y="28"/>
                  <a:pt x="20" y="28"/>
                </a:cubicBezTo>
                <a:cubicBezTo>
                  <a:pt x="20" y="28"/>
                  <a:pt x="20" y="29"/>
                  <a:pt x="20" y="29"/>
                </a:cubicBezTo>
                <a:close/>
                <a:moveTo>
                  <a:pt x="19" y="28"/>
                </a:moveTo>
                <a:cubicBezTo>
                  <a:pt x="17" y="28"/>
                  <a:pt x="17" y="28"/>
                  <a:pt x="17" y="28"/>
                </a:cubicBezTo>
                <a:cubicBezTo>
                  <a:pt x="18" y="29"/>
                  <a:pt x="18" y="29"/>
                  <a:pt x="18" y="29"/>
                </a:cubicBezTo>
                <a:cubicBezTo>
                  <a:pt x="18" y="31"/>
                  <a:pt x="18" y="31"/>
                  <a:pt x="18" y="31"/>
                </a:cubicBezTo>
                <a:cubicBezTo>
                  <a:pt x="20" y="31"/>
                  <a:pt x="20" y="31"/>
                  <a:pt x="20" y="31"/>
                </a:cubicBezTo>
                <a:cubicBezTo>
                  <a:pt x="19" y="29"/>
                  <a:pt x="19" y="29"/>
                  <a:pt x="19" y="29"/>
                </a:cubicBezTo>
                <a:lnTo>
                  <a:pt x="19" y="28"/>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39" name="Freeform 37">
            <a:extLst>
              <a:ext uri="{FF2B5EF4-FFF2-40B4-BE49-F238E27FC236}">
                <a16:creationId xmlns:a16="http://schemas.microsoft.com/office/drawing/2014/main" id="{11CF9471-B7F1-C599-0021-134AD647234B}"/>
              </a:ext>
            </a:extLst>
          </p:cNvPr>
          <p:cNvSpPr>
            <a:spLocks/>
          </p:cNvSpPr>
          <p:nvPr userDrawn="1"/>
        </p:nvSpPr>
        <p:spPr bwMode="auto">
          <a:xfrm>
            <a:off x="18616987" y="7508159"/>
            <a:ext cx="187314" cy="111126"/>
          </a:xfrm>
          <a:custGeom>
            <a:avLst/>
            <a:gdLst>
              <a:gd name="T0" fmla="*/ 0 w 59"/>
              <a:gd name="T1" fmla="*/ 16 h 35"/>
              <a:gd name="T2" fmla="*/ 3 w 59"/>
              <a:gd name="T3" fmla="*/ 13 h 35"/>
              <a:gd name="T4" fmla="*/ 9 w 59"/>
              <a:gd name="T5" fmla="*/ 7 h 35"/>
              <a:gd name="T6" fmla="*/ 19 w 59"/>
              <a:gd name="T7" fmla="*/ 0 h 35"/>
              <a:gd name="T8" fmla="*/ 25 w 59"/>
              <a:gd name="T9" fmla="*/ 0 h 35"/>
              <a:gd name="T10" fmla="*/ 28 w 59"/>
              <a:gd name="T11" fmla="*/ 3 h 35"/>
              <a:gd name="T12" fmla="*/ 37 w 59"/>
              <a:gd name="T13" fmla="*/ 3 h 35"/>
              <a:gd name="T14" fmla="*/ 41 w 59"/>
              <a:gd name="T15" fmla="*/ 3 h 35"/>
              <a:gd name="T16" fmla="*/ 44 w 59"/>
              <a:gd name="T17" fmla="*/ 3 h 35"/>
              <a:gd name="T18" fmla="*/ 50 w 59"/>
              <a:gd name="T19" fmla="*/ 3 h 35"/>
              <a:gd name="T20" fmla="*/ 53 w 59"/>
              <a:gd name="T21" fmla="*/ 7 h 35"/>
              <a:gd name="T22" fmla="*/ 53 w 59"/>
              <a:gd name="T23" fmla="*/ 7 h 35"/>
              <a:gd name="T24" fmla="*/ 53 w 59"/>
              <a:gd name="T25" fmla="*/ 13 h 35"/>
              <a:gd name="T26" fmla="*/ 53 w 59"/>
              <a:gd name="T27" fmla="*/ 16 h 35"/>
              <a:gd name="T28" fmla="*/ 59 w 59"/>
              <a:gd name="T29" fmla="*/ 19 h 35"/>
              <a:gd name="T30" fmla="*/ 59 w 59"/>
              <a:gd name="T31" fmla="*/ 25 h 35"/>
              <a:gd name="T32" fmla="*/ 59 w 59"/>
              <a:gd name="T33" fmla="*/ 28 h 35"/>
              <a:gd name="T34" fmla="*/ 50 w 59"/>
              <a:gd name="T35" fmla="*/ 28 h 35"/>
              <a:gd name="T36" fmla="*/ 47 w 59"/>
              <a:gd name="T37" fmla="*/ 28 h 35"/>
              <a:gd name="T38" fmla="*/ 37 w 59"/>
              <a:gd name="T39" fmla="*/ 32 h 35"/>
              <a:gd name="T40" fmla="*/ 34 w 59"/>
              <a:gd name="T41" fmla="*/ 28 h 35"/>
              <a:gd name="T42" fmla="*/ 31 w 59"/>
              <a:gd name="T43" fmla="*/ 32 h 35"/>
              <a:gd name="T44" fmla="*/ 28 w 59"/>
              <a:gd name="T45" fmla="*/ 35 h 35"/>
              <a:gd name="T46" fmla="*/ 22 w 59"/>
              <a:gd name="T47" fmla="*/ 35 h 35"/>
              <a:gd name="T48" fmla="*/ 12 w 59"/>
              <a:gd name="T49" fmla="*/ 28 h 35"/>
              <a:gd name="T50" fmla="*/ 9 w 59"/>
              <a:gd name="T51" fmla="*/ 32 h 35"/>
              <a:gd name="T52" fmla="*/ 3 w 59"/>
              <a:gd name="T53" fmla="*/ 28 h 35"/>
              <a:gd name="T54" fmla="*/ 0 w 59"/>
              <a:gd name="T55" fmla="*/ 25 h 35"/>
              <a:gd name="T56" fmla="*/ 0 w 59"/>
              <a:gd name="T57" fmla="*/ 19 h 35"/>
              <a:gd name="T58" fmla="*/ 0 w 59"/>
              <a:gd name="T59" fmla="*/ 1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9" h="35">
                <a:moveTo>
                  <a:pt x="0" y="16"/>
                </a:moveTo>
                <a:lnTo>
                  <a:pt x="3" y="13"/>
                </a:lnTo>
                <a:lnTo>
                  <a:pt x="9" y="7"/>
                </a:lnTo>
                <a:lnTo>
                  <a:pt x="19" y="0"/>
                </a:lnTo>
                <a:lnTo>
                  <a:pt x="25" y="0"/>
                </a:lnTo>
                <a:lnTo>
                  <a:pt x="28" y="3"/>
                </a:lnTo>
                <a:lnTo>
                  <a:pt x="37" y="3"/>
                </a:lnTo>
                <a:lnTo>
                  <a:pt x="41" y="3"/>
                </a:lnTo>
                <a:lnTo>
                  <a:pt x="44" y="3"/>
                </a:lnTo>
                <a:lnTo>
                  <a:pt x="50" y="3"/>
                </a:lnTo>
                <a:lnTo>
                  <a:pt x="53" y="7"/>
                </a:lnTo>
                <a:lnTo>
                  <a:pt x="53" y="7"/>
                </a:lnTo>
                <a:lnTo>
                  <a:pt x="53" y="13"/>
                </a:lnTo>
                <a:lnTo>
                  <a:pt x="53" y="16"/>
                </a:lnTo>
                <a:lnTo>
                  <a:pt x="59" y="19"/>
                </a:lnTo>
                <a:lnTo>
                  <a:pt x="59" y="25"/>
                </a:lnTo>
                <a:lnTo>
                  <a:pt x="59" y="28"/>
                </a:lnTo>
                <a:lnTo>
                  <a:pt x="50" y="28"/>
                </a:lnTo>
                <a:lnTo>
                  <a:pt x="47" y="28"/>
                </a:lnTo>
                <a:lnTo>
                  <a:pt x="37" y="32"/>
                </a:lnTo>
                <a:lnTo>
                  <a:pt x="34" y="28"/>
                </a:lnTo>
                <a:lnTo>
                  <a:pt x="31" y="32"/>
                </a:lnTo>
                <a:lnTo>
                  <a:pt x="28" y="35"/>
                </a:lnTo>
                <a:lnTo>
                  <a:pt x="22" y="35"/>
                </a:lnTo>
                <a:lnTo>
                  <a:pt x="12" y="28"/>
                </a:lnTo>
                <a:lnTo>
                  <a:pt x="9" y="32"/>
                </a:lnTo>
                <a:lnTo>
                  <a:pt x="3" y="28"/>
                </a:lnTo>
                <a:lnTo>
                  <a:pt x="0" y="25"/>
                </a:lnTo>
                <a:lnTo>
                  <a:pt x="0" y="19"/>
                </a:lnTo>
                <a:lnTo>
                  <a:pt x="0" y="16"/>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0" name="Freeform 38">
            <a:extLst>
              <a:ext uri="{FF2B5EF4-FFF2-40B4-BE49-F238E27FC236}">
                <a16:creationId xmlns:a16="http://schemas.microsoft.com/office/drawing/2014/main" id="{F14DD383-CD13-C224-A9E6-3BFF9D6B5D46}"/>
              </a:ext>
            </a:extLst>
          </p:cNvPr>
          <p:cNvSpPr>
            <a:spLocks/>
          </p:cNvSpPr>
          <p:nvPr userDrawn="1"/>
        </p:nvSpPr>
        <p:spPr bwMode="auto">
          <a:xfrm>
            <a:off x="18061399" y="7358932"/>
            <a:ext cx="514317" cy="279400"/>
          </a:xfrm>
          <a:custGeom>
            <a:avLst/>
            <a:gdLst>
              <a:gd name="T0" fmla="*/ 9 w 162"/>
              <a:gd name="T1" fmla="*/ 0 h 88"/>
              <a:gd name="T2" fmla="*/ 16 w 162"/>
              <a:gd name="T3" fmla="*/ 7 h 88"/>
              <a:gd name="T4" fmla="*/ 22 w 162"/>
              <a:gd name="T5" fmla="*/ 7 h 88"/>
              <a:gd name="T6" fmla="*/ 28 w 162"/>
              <a:gd name="T7" fmla="*/ 4 h 88"/>
              <a:gd name="T8" fmla="*/ 37 w 162"/>
              <a:gd name="T9" fmla="*/ 10 h 88"/>
              <a:gd name="T10" fmla="*/ 47 w 162"/>
              <a:gd name="T11" fmla="*/ 10 h 88"/>
              <a:gd name="T12" fmla="*/ 56 w 162"/>
              <a:gd name="T13" fmla="*/ 16 h 88"/>
              <a:gd name="T14" fmla="*/ 62 w 162"/>
              <a:gd name="T15" fmla="*/ 22 h 88"/>
              <a:gd name="T16" fmla="*/ 66 w 162"/>
              <a:gd name="T17" fmla="*/ 29 h 88"/>
              <a:gd name="T18" fmla="*/ 69 w 162"/>
              <a:gd name="T19" fmla="*/ 22 h 88"/>
              <a:gd name="T20" fmla="*/ 72 w 162"/>
              <a:gd name="T21" fmla="*/ 22 h 88"/>
              <a:gd name="T22" fmla="*/ 81 w 162"/>
              <a:gd name="T23" fmla="*/ 25 h 88"/>
              <a:gd name="T24" fmla="*/ 87 w 162"/>
              <a:gd name="T25" fmla="*/ 35 h 88"/>
              <a:gd name="T26" fmla="*/ 97 w 162"/>
              <a:gd name="T27" fmla="*/ 35 h 88"/>
              <a:gd name="T28" fmla="*/ 100 w 162"/>
              <a:gd name="T29" fmla="*/ 47 h 88"/>
              <a:gd name="T30" fmla="*/ 109 w 162"/>
              <a:gd name="T31" fmla="*/ 47 h 88"/>
              <a:gd name="T32" fmla="*/ 116 w 162"/>
              <a:gd name="T33" fmla="*/ 44 h 88"/>
              <a:gd name="T34" fmla="*/ 125 w 162"/>
              <a:gd name="T35" fmla="*/ 41 h 88"/>
              <a:gd name="T36" fmla="*/ 131 w 162"/>
              <a:gd name="T37" fmla="*/ 50 h 88"/>
              <a:gd name="T38" fmla="*/ 141 w 162"/>
              <a:gd name="T39" fmla="*/ 57 h 88"/>
              <a:gd name="T40" fmla="*/ 150 w 162"/>
              <a:gd name="T41" fmla="*/ 57 h 88"/>
              <a:gd name="T42" fmla="*/ 156 w 162"/>
              <a:gd name="T43" fmla="*/ 54 h 88"/>
              <a:gd name="T44" fmla="*/ 162 w 162"/>
              <a:gd name="T45" fmla="*/ 60 h 88"/>
              <a:gd name="T46" fmla="*/ 162 w 162"/>
              <a:gd name="T47" fmla="*/ 75 h 88"/>
              <a:gd name="T48" fmla="*/ 150 w 162"/>
              <a:gd name="T49" fmla="*/ 88 h 88"/>
              <a:gd name="T50" fmla="*/ 137 w 162"/>
              <a:gd name="T51" fmla="*/ 85 h 88"/>
              <a:gd name="T52" fmla="*/ 116 w 162"/>
              <a:gd name="T53" fmla="*/ 79 h 88"/>
              <a:gd name="T54" fmla="*/ 100 w 162"/>
              <a:gd name="T55" fmla="*/ 79 h 88"/>
              <a:gd name="T56" fmla="*/ 94 w 162"/>
              <a:gd name="T57" fmla="*/ 69 h 88"/>
              <a:gd name="T58" fmla="*/ 75 w 162"/>
              <a:gd name="T59" fmla="*/ 69 h 88"/>
              <a:gd name="T60" fmla="*/ 62 w 162"/>
              <a:gd name="T61" fmla="*/ 69 h 88"/>
              <a:gd name="T62" fmla="*/ 50 w 162"/>
              <a:gd name="T63" fmla="*/ 63 h 88"/>
              <a:gd name="T64" fmla="*/ 37 w 162"/>
              <a:gd name="T65" fmla="*/ 60 h 88"/>
              <a:gd name="T66" fmla="*/ 22 w 162"/>
              <a:gd name="T67" fmla="*/ 47 h 88"/>
              <a:gd name="T68" fmla="*/ 12 w 162"/>
              <a:gd name="T69" fmla="*/ 41 h 88"/>
              <a:gd name="T70" fmla="*/ 6 w 162"/>
              <a:gd name="T71" fmla="*/ 38 h 88"/>
              <a:gd name="T72" fmla="*/ 0 w 162"/>
              <a:gd name="T73" fmla="*/ 35 h 88"/>
              <a:gd name="T74" fmla="*/ 6 w 162"/>
              <a:gd name="T75" fmla="*/ 19 h 88"/>
              <a:gd name="T76" fmla="*/ 6 w 162"/>
              <a:gd name="T77" fmla="*/ 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88">
                <a:moveTo>
                  <a:pt x="6" y="4"/>
                </a:moveTo>
                <a:lnTo>
                  <a:pt x="9" y="0"/>
                </a:lnTo>
                <a:lnTo>
                  <a:pt x="16" y="4"/>
                </a:lnTo>
                <a:lnTo>
                  <a:pt x="16" y="7"/>
                </a:lnTo>
                <a:lnTo>
                  <a:pt x="19" y="7"/>
                </a:lnTo>
                <a:lnTo>
                  <a:pt x="22" y="7"/>
                </a:lnTo>
                <a:lnTo>
                  <a:pt x="25" y="4"/>
                </a:lnTo>
                <a:lnTo>
                  <a:pt x="28" y="4"/>
                </a:lnTo>
                <a:lnTo>
                  <a:pt x="37" y="7"/>
                </a:lnTo>
                <a:lnTo>
                  <a:pt x="37" y="10"/>
                </a:lnTo>
                <a:lnTo>
                  <a:pt x="44" y="10"/>
                </a:lnTo>
                <a:lnTo>
                  <a:pt x="47" y="10"/>
                </a:lnTo>
                <a:lnTo>
                  <a:pt x="53" y="16"/>
                </a:lnTo>
                <a:lnTo>
                  <a:pt x="56" y="16"/>
                </a:lnTo>
                <a:lnTo>
                  <a:pt x="59" y="19"/>
                </a:lnTo>
                <a:lnTo>
                  <a:pt x="62" y="22"/>
                </a:lnTo>
                <a:lnTo>
                  <a:pt x="66" y="25"/>
                </a:lnTo>
                <a:lnTo>
                  <a:pt x="66" y="29"/>
                </a:lnTo>
                <a:lnTo>
                  <a:pt x="69" y="29"/>
                </a:lnTo>
                <a:lnTo>
                  <a:pt x="69" y="22"/>
                </a:lnTo>
                <a:lnTo>
                  <a:pt x="72" y="22"/>
                </a:lnTo>
                <a:lnTo>
                  <a:pt x="72" y="22"/>
                </a:lnTo>
                <a:lnTo>
                  <a:pt x="78" y="22"/>
                </a:lnTo>
                <a:lnTo>
                  <a:pt x="81" y="25"/>
                </a:lnTo>
                <a:lnTo>
                  <a:pt x="81" y="32"/>
                </a:lnTo>
                <a:lnTo>
                  <a:pt x="87" y="35"/>
                </a:lnTo>
                <a:lnTo>
                  <a:pt x="94" y="35"/>
                </a:lnTo>
                <a:lnTo>
                  <a:pt x="97" y="35"/>
                </a:lnTo>
                <a:lnTo>
                  <a:pt x="97" y="41"/>
                </a:lnTo>
                <a:lnTo>
                  <a:pt x="100" y="47"/>
                </a:lnTo>
                <a:lnTo>
                  <a:pt x="103" y="47"/>
                </a:lnTo>
                <a:lnTo>
                  <a:pt x="109" y="47"/>
                </a:lnTo>
                <a:lnTo>
                  <a:pt x="109" y="47"/>
                </a:lnTo>
                <a:lnTo>
                  <a:pt x="116" y="44"/>
                </a:lnTo>
                <a:lnTo>
                  <a:pt x="119" y="41"/>
                </a:lnTo>
                <a:lnTo>
                  <a:pt x="125" y="41"/>
                </a:lnTo>
                <a:lnTo>
                  <a:pt x="131" y="44"/>
                </a:lnTo>
                <a:lnTo>
                  <a:pt x="131" y="50"/>
                </a:lnTo>
                <a:lnTo>
                  <a:pt x="137" y="50"/>
                </a:lnTo>
                <a:lnTo>
                  <a:pt x="141" y="57"/>
                </a:lnTo>
                <a:lnTo>
                  <a:pt x="144" y="57"/>
                </a:lnTo>
                <a:lnTo>
                  <a:pt x="150" y="57"/>
                </a:lnTo>
                <a:lnTo>
                  <a:pt x="150" y="57"/>
                </a:lnTo>
                <a:lnTo>
                  <a:pt x="156" y="54"/>
                </a:lnTo>
                <a:lnTo>
                  <a:pt x="159" y="54"/>
                </a:lnTo>
                <a:lnTo>
                  <a:pt x="162" y="60"/>
                </a:lnTo>
                <a:lnTo>
                  <a:pt x="159" y="69"/>
                </a:lnTo>
                <a:lnTo>
                  <a:pt x="162" y="75"/>
                </a:lnTo>
                <a:lnTo>
                  <a:pt x="162" y="85"/>
                </a:lnTo>
                <a:lnTo>
                  <a:pt x="150" y="88"/>
                </a:lnTo>
                <a:lnTo>
                  <a:pt x="144" y="85"/>
                </a:lnTo>
                <a:lnTo>
                  <a:pt x="137" y="85"/>
                </a:lnTo>
                <a:lnTo>
                  <a:pt x="122" y="79"/>
                </a:lnTo>
                <a:lnTo>
                  <a:pt x="116" y="79"/>
                </a:lnTo>
                <a:lnTo>
                  <a:pt x="112" y="82"/>
                </a:lnTo>
                <a:lnTo>
                  <a:pt x="100" y="79"/>
                </a:lnTo>
                <a:lnTo>
                  <a:pt x="97" y="75"/>
                </a:lnTo>
                <a:lnTo>
                  <a:pt x="94" y="69"/>
                </a:lnTo>
                <a:lnTo>
                  <a:pt x="84" y="66"/>
                </a:lnTo>
                <a:lnTo>
                  <a:pt x="75" y="69"/>
                </a:lnTo>
                <a:lnTo>
                  <a:pt x="72" y="66"/>
                </a:lnTo>
                <a:lnTo>
                  <a:pt x="62" y="69"/>
                </a:lnTo>
                <a:lnTo>
                  <a:pt x="56" y="63"/>
                </a:lnTo>
                <a:lnTo>
                  <a:pt x="50" y="63"/>
                </a:lnTo>
                <a:lnTo>
                  <a:pt x="47" y="60"/>
                </a:lnTo>
                <a:lnTo>
                  <a:pt x="37" y="60"/>
                </a:lnTo>
                <a:lnTo>
                  <a:pt x="31" y="50"/>
                </a:lnTo>
                <a:lnTo>
                  <a:pt x="22" y="47"/>
                </a:lnTo>
                <a:lnTo>
                  <a:pt x="16" y="44"/>
                </a:lnTo>
                <a:lnTo>
                  <a:pt x="12" y="41"/>
                </a:lnTo>
                <a:lnTo>
                  <a:pt x="9" y="41"/>
                </a:lnTo>
                <a:lnTo>
                  <a:pt x="6" y="38"/>
                </a:lnTo>
                <a:lnTo>
                  <a:pt x="3" y="38"/>
                </a:lnTo>
                <a:lnTo>
                  <a:pt x="0" y="35"/>
                </a:lnTo>
                <a:lnTo>
                  <a:pt x="6" y="25"/>
                </a:lnTo>
                <a:lnTo>
                  <a:pt x="6" y="19"/>
                </a:lnTo>
                <a:lnTo>
                  <a:pt x="9" y="10"/>
                </a:lnTo>
                <a:lnTo>
                  <a:pt x="6" y="4"/>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1" name="Freeform 39">
            <a:extLst>
              <a:ext uri="{FF2B5EF4-FFF2-40B4-BE49-F238E27FC236}">
                <a16:creationId xmlns:a16="http://schemas.microsoft.com/office/drawing/2014/main" id="{E1CD081F-6D7B-1DAE-9FD8-3557668C3584}"/>
              </a:ext>
            </a:extLst>
          </p:cNvPr>
          <p:cNvSpPr>
            <a:spLocks/>
          </p:cNvSpPr>
          <p:nvPr userDrawn="1"/>
        </p:nvSpPr>
        <p:spPr bwMode="auto">
          <a:xfrm>
            <a:off x="16880371" y="6904909"/>
            <a:ext cx="863544" cy="952502"/>
          </a:xfrm>
          <a:custGeom>
            <a:avLst/>
            <a:gdLst>
              <a:gd name="T0" fmla="*/ 163 w 272"/>
              <a:gd name="T1" fmla="*/ 287 h 300"/>
              <a:gd name="T2" fmla="*/ 184 w 272"/>
              <a:gd name="T3" fmla="*/ 284 h 300"/>
              <a:gd name="T4" fmla="*/ 197 w 272"/>
              <a:gd name="T5" fmla="*/ 281 h 300"/>
              <a:gd name="T6" fmla="*/ 206 w 272"/>
              <a:gd name="T7" fmla="*/ 278 h 300"/>
              <a:gd name="T8" fmla="*/ 200 w 272"/>
              <a:gd name="T9" fmla="*/ 253 h 300"/>
              <a:gd name="T10" fmla="*/ 184 w 272"/>
              <a:gd name="T11" fmla="*/ 240 h 300"/>
              <a:gd name="T12" fmla="*/ 178 w 272"/>
              <a:gd name="T13" fmla="*/ 231 h 300"/>
              <a:gd name="T14" fmla="*/ 172 w 272"/>
              <a:gd name="T15" fmla="*/ 215 h 300"/>
              <a:gd name="T16" fmla="*/ 184 w 272"/>
              <a:gd name="T17" fmla="*/ 203 h 300"/>
              <a:gd name="T18" fmla="*/ 194 w 272"/>
              <a:gd name="T19" fmla="*/ 206 h 300"/>
              <a:gd name="T20" fmla="*/ 222 w 272"/>
              <a:gd name="T21" fmla="*/ 184 h 300"/>
              <a:gd name="T22" fmla="*/ 241 w 272"/>
              <a:gd name="T23" fmla="*/ 159 h 300"/>
              <a:gd name="T24" fmla="*/ 247 w 272"/>
              <a:gd name="T25" fmla="*/ 147 h 300"/>
              <a:gd name="T26" fmla="*/ 256 w 272"/>
              <a:gd name="T27" fmla="*/ 125 h 300"/>
              <a:gd name="T28" fmla="*/ 263 w 272"/>
              <a:gd name="T29" fmla="*/ 109 h 300"/>
              <a:gd name="T30" fmla="*/ 272 w 272"/>
              <a:gd name="T31" fmla="*/ 96 h 300"/>
              <a:gd name="T32" fmla="*/ 253 w 272"/>
              <a:gd name="T33" fmla="*/ 90 h 300"/>
              <a:gd name="T34" fmla="*/ 231 w 272"/>
              <a:gd name="T35" fmla="*/ 75 h 300"/>
              <a:gd name="T36" fmla="*/ 228 w 272"/>
              <a:gd name="T37" fmla="*/ 46 h 300"/>
              <a:gd name="T38" fmla="*/ 228 w 272"/>
              <a:gd name="T39" fmla="*/ 34 h 300"/>
              <a:gd name="T40" fmla="*/ 213 w 272"/>
              <a:gd name="T41" fmla="*/ 18 h 300"/>
              <a:gd name="T42" fmla="*/ 203 w 272"/>
              <a:gd name="T43" fmla="*/ 9 h 300"/>
              <a:gd name="T44" fmla="*/ 200 w 272"/>
              <a:gd name="T45" fmla="*/ 0 h 300"/>
              <a:gd name="T46" fmla="*/ 181 w 272"/>
              <a:gd name="T47" fmla="*/ 12 h 300"/>
              <a:gd name="T48" fmla="*/ 175 w 272"/>
              <a:gd name="T49" fmla="*/ 46 h 300"/>
              <a:gd name="T50" fmla="*/ 169 w 272"/>
              <a:gd name="T51" fmla="*/ 65 h 300"/>
              <a:gd name="T52" fmla="*/ 163 w 272"/>
              <a:gd name="T53" fmla="*/ 71 h 300"/>
              <a:gd name="T54" fmla="*/ 156 w 272"/>
              <a:gd name="T55" fmla="*/ 84 h 300"/>
              <a:gd name="T56" fmla="*/ 153 w 272"/>
              <a:gd name="T57" fmla="*/ 103 h 300"/>
              <a:gd name="T58" fmla="*/ 144 w 272"/>
              <a:gd name="T59" fmla="*/ 112 h 300"/>
              <a:gd name="T60" fmla="*/ 134 w 272"/>
              <a:gd name="T61" fmla="*/ 115 h 300"/>
              <a:gd name="T62" fmla="*/ 125 w 272"/>
              <a:gd name="T63" fmla="*/ 125 h 300"/>
              <a:gd name="T64" fmla="*/ 109 w 272"/>
              <a:gd name="T65" fmla="*/ 131 h 300"/>
              <a:gd name="T66" fmla="*/ 100 w 272"/>
              <a:gd name="T67" fmla="*/ 140 h 300"/>
              <a:gd name="T68" fmla="*/ 103 w 272"/>
              <a:gd name="T69" fmla="*/ 159 h 300"/>
              <a:gd name="T70" fmla="*/ 81 w 272"/>
              <a:gd name="T71" fmla="*/ 168 h 300"/>
              <a:gd name="T72" fmla="*/ 56 w 272"/>
              <a:gd name="T73" fmla="*/ 172 h 300"/>
              <a:gd name="T74" fmla="*/ 0 w 272"/>
              <a:gd name="T75" fmla="*/ 165 h 300"/>
              <a:gd name="T76" fmla="*/ 22 w 272"/>
              <a:gd name="T77" fmla="*/ 193 h 300"/>
              <a:gd name="T78" fmla="*/ 34 w 272"/>
              <a:gd name="T79" fmla="*/ 200 h 300"/>
              <a:gd name="T80" fmla="*/ 41 w 272"/>
              <a:gd name="T81" fmla="*/ 215 h 300"/>
              <a:gd name="T82" fmla="*/ 53 w 272"/>
              <a:gd name="T83" fmla="*/ 231 h 300"/>
              <a:gd name="T84" fmla="*/ 34 w 272"/>
              <a:gd name="T85" fmla="*/ 234 h 300"/>
              <a:gd name="T86" fmla="*/ 22 w 272"/>
              <a:gd name="T87" fmla="*/ 250 h 300"/>
              <a:gd name="T88" fmla="*/ 25 w 272"/>
              <a:gd name="T89" fmla="*/ 265 h 300"/>
              <a:gd name="T90" fmla="*/ 37 w 272"/>
              <a:gd name="T91" fmla="*/ 265 h 300"/>
              <a:gd name="T92" fmla="*/ 47 w 272"/>
              <a:gd name="T93" fmla="*/ 262 h 300"/>
              <a:gd name="T94" fmla="*/ 56 w 272"/>
              <a:gd name="T95" fmla="*/ 262 h 300"/>
              <a:gd name="T96" fmla="*/ 66 w 272"/>
              <a:gd name="T97" fmla="*/ 262 h 300"/>
              <a:gd name="T98" fmla="*/ 72 w 272"/>
              <a:gd name="T99" fmla="*/ 262 h 300"/>
              <a:gd name="T100" fmla="*/ 87 w 272"/>
              <a:gd name="T101" fmla="*/ 259 h 300"/>
              <a:gd name="T102" fmla="*/ 97 w 272"/>
              <a:gd name="T103" fmla="*/ 259 h 300"/>
              <a:gd name="T104" fmla="*/ 116 w 272"/>
              <a:gd name="T105" fmla="*/ 259 h 300"/>
              <a:gd name="T106" fmla="*/ 122 w 272"/>
              <a:gd name="T107" fmla="*/ 269 h 300"/>
              <a:gd name="T108" fmla="*/ 128 w 272"/>
              <a:gd name="T109" fmla="*/ 269 h 300"/>
              <a:gd name="T110" fmla="*/ 134 w 272"/>
              <a:gd name="T111" fmla="*/ 284 h 300"/>
              <a:gd name="T112" fmla="*/ 137 w 272"/>
              <a:gd name="T113" fmla="*/ 290 h 300"/>
              <a:gd name="T114" fmla="*/ 153 w 272"/>
              <a:gd name="T115" fmla="*/ 29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2" h="300">
                <a:moveTo>
                  <a:pt x="156" y="297"/>
                </a:moveTo>
                <a:lnTo>
                  <a:pt x="156" y="290"/>
                </a:lnTo>
                <a:lnTo>
                  <a:pt x="159" y="290"/>
                </a:lnTo>
                <a:lnTo>
                  <a:pt x="163" y="287"/>
                </a:lnTo>
                <a:lnTo>
                  <a:pt x="166" y="284"/>
                </a:lnTo>
                <a:lnTo>
                  <a:pt x="169" y="284"/>
                </a:lnTo>
                <a:lnTo>
                  <a:pt x="172" y="281"/>
                </a:lnTo>
                <a:lnTo>
                  <a:pt x="184" y="284"/>
                </a:lnTo>
                <a:lnTo>
                  <a:pt x="194" y="281"/>
                </a:lnTo>
                <a:lnTo>
                  <a:pt x="194" y="278"/>
                </a:lnTo>
                <a:lnTo>
                  <a:pt x="200" y="278"/>
                </a:lnTo>
                <a:lnTo>
                  <a:pt x="197" y="281"/>
                </a:lnTo>
                <a:lnTo>
                  <a:pt x="200" y="281"/>
                </a:lnTo>
                <a:lnTo>
                  <a:pt x="203" y="281"/>
                </a:lnTo>
                <a:lnTo>
                  <a:pt x="206" y="278"/>
                </a:lnTo>
                <a:lnTo>
                  <a:pt x="206" y="278"/>
                </a:lnTo>
                <a:lnTo>
                  <a:pt x="206" y="275"/>
                </a:lnTo>
                <a:lnTo>
                  <a:pt x="203" y="262"/>
                </a:lnTo>
                <a:lnTo>
                  <a:pt x="197" y="256"/>
                </a:lnTo>
                <a:lnTo>
                  <a:pt x="200" y="253"/>
                </a:lnTo>
                <a:lnTo>
                  <a:pt x="197" y="250"/>
                </a:lnTo>
                <a:lnTo>
                  <a:pt x="194" y="253"/>
                </a:lnTo>
                <a:lnTo>
                  <a:pt x="188" y="247"/>
                </a:lnTo>
                <a:lnTo>
                  <a:pt x="184" y="240"/>
                </a:lnTo>
                <a:lnTo>
                  <a:pt x="184" y="234"/>
                </a:lnTo>
                <a:lnTo>
                  <a:pt x="181" y="228"/>
                </a:lnTo>
                <a:lnTo>
                  <a:pt x="178" y="228"/>
                </a:lnTo>
                <a:lnTo>
                  <a:pt x="178" y="231"/>
                </a:lnTo>
                <a:lnTo>
                  <a:pt x="172" y="228"/>
                </a:lnTo>
                <a:lnTo>
                  <a:pt x="169" y="228"/>
                </a:lnTo>
                <a:lnTo>
                  <a:pt x="169" y="225"/>
                </a:lnTo>
                <a:lnTo>
                  <a:pt x="172" y="215"/>
                </a:lnTo>
                <a:lnTo>
                  <a:pt x="175" y="215"/>
                </a:lnTo>
                <a:lnTo>
                  <a:pt x="181" y="206"/>
                </a:lnTo>
                <a:lnTo>
                  <a:pt x="181" y="203"/>
                </a:lnTo>
                <a:lnTo>
                  <a:pt x="184" y="203"/>
                </a:lnTo>
                <a:lnTo>
                  <a:pt x="188" y="200"/>
                </a:lnTo>
                <a:lnTo>
                  <a:pt x="191" y="203"/>
                </a:lnTo>
                <a:lnTo>
                  <a:pt x="194" y="206"/>
                </a:lnTo>
                <a:lnTo>
                  <a:pt x="194" y="206"/>
                </a:lnTo>
                <a:lnTo>
                  <a:pt x="203" y="203"/>
                </a:lnTo>
                <a:lnTo>
                  <a:pt x="213" y="203"/>
                </a:lnTo>
                <a:lnTo>
                  <a:pt x="219" y="197"/>
                </a:lnTo>
                <a:lnTo>
                  <a:pt x="222" y="184"/>
                </a:lnTo>
                <a:lnTo>
                  <a:pt x="231" y="178"/>
                </a:lnTo>
                <a:lnTo>
                  <a:pt x="234" y="172"/>
                </a:lnTo>
                <a:lnTo>
                  <a:pt x="234" y="165"/>
                </a:lnTo>
                <a:lnTo>
                  <a:pt x="241" y="159"/>
                </a:lnTo>
                <a:lnTo>
                  <a:pt x="247" y="156"/>
                </a:lnTo>
                <a:lnTo>
                  <a:pt x="247" y="153"/>
                </a:lnTo>
                <a:lnTo>
                  <a:pt x="247" y="150"/>
                </a:lnTo>
                <a:lnTo>
                  <a:pt x="247" y="147"/>
                </a:lnTo>
                <a:lnTo>
                  <a:pt x="250" y="140"/>
                </a:lnTo>
                <a:lnTo>
                  <a:pt x="253" y="137"/>
                </a:lnTo>
                <a:lnTo>
                  <a:pt x="253" y="134"/>
                </a:lnTo>
                <a:lnTo>
                  <a:pt x="256" y="125"/>
                </a:lnTo>
                <a:lnTo>
                  <a:pt x="253" y="115"/>
                </a:lnTo>
                <a:lnTo>
                  <a:pt x="253" y="115"/>
                </a:lnTo>
                <a:lnTo>
                  <a:pt x="259" y="109"/>
                </a:lnTo>
                <a:lnTo>
                  <a:pt x="263" y="109"/>
                </a:lnTo>
                <a:lnTo>
                  <a:pt x="266" y="106"/>
                </a:lnTo>
                <a:lnTo>
                  <a:pt x="269" y="106"/>
                </a:lnTo>
                <a:lnTo>
                  <a:pt x="272" y="103"/>
                </a:lnTo>
                <a:lnTo>
                  <a:pt x="272" y="96"/>
                </a:lnTo>
                <a:lnTo>
                  <a:pt x="266" y="96"/>
                </a:lnTo>
                <a:lnTo>
                  <a:pt x="263" y="96"/>
                </a:lnTo>
                <a:lnTo>
                  <a:pt x="256" y="96"/>
                </a:lnTo>
                <a:lnTo>
                  <a:pt x="253" y="90"/>
                </a:lnTo>
                <a:lnTo>
                  <a:pt x="247" y="87"/>
                </a:lnTo>
                <a:lnTo>
                  <a:pt x="241" y="87"/>
                </a:lnTo>
                <a:lnTo>
                  <a:pt x="231" y="81"/>
                </a:lnTo>
                <a:lnTo>
                  <a:pt x="231" y="75"/>
                </a:lnTo>
                <a:lnTo>
                  <a:pt x="228" y="62"/>
                </a:lnTo>
                <a:lnTo>
                  <a:pt x="225" y="56"/>
                </a:lnTo>
                <a:lnTo>
                  <a:pt x="225" y="50"/>
                </a:lnTo>
                <a:lnTo>
                  <a:pt x="228" y="46"/>
                </a:lnTo>
                <a:lnTo>
                  <a:pt x="228" y="43"/>
                </a:lnTo>
                <a:lnTo>
                  <a:pt x="234" y="40"/>
                </a:lnTo>
                <a:lnTo>
                  <a:pt x="234" y="37"/>
                </a:lnTo>
                <a:lnTo>
                  <a:pt x="228" y="34"/>
                </a:lnTo>
                <a:lnTo>
                  <a:pt x="228" y="31"/>
                </a:lnTo>
                <a:lnTo>
                  <a:pt x="222" y="28"/>
                </a:lnTo>
                <a:lnTo>
                  <a:pt x="216" y="21"/>
                </a:lnTo>
                <a:lnTo>
                  <a:pt x="213" y="18"/>
                </a:lnTo>
                <a:lnTo>
                  <a:pt x="209" y="18"/>
                </a:lnTo>
                <a:lnTo>
                  <a:pt x="206" y="21"/>
                </a:lnTo>
                <a:lnTo>
                  <a:pt x="203" y="18"/>
                </a:lnTo>
                <a:lnTo>
                  <a:pt x="203" y="9"/>
                </a:lnTo>
                <a:lnTo>
                  <a:pt x="213" y="3"/>
                </a:lnTo>
                <a:lnTo>
                  <a:pt x="209" y="0"/>
                </a:lnTo>
                <a:lnTo>
                  <a:pt x="206" y="0"/>
                </a:lnTo>
                <a:lnTo>
                  <a:pt x="200" y="0"/>
                </a:lnTo>
                <a:lnTo>
                  <a:pt x="194" y="3"/>
                </a:lnTo>
                <a:lnTo>
                  <a:pt x="188" y="6"/>
                </a:lnTo>
                <a:lnTo>
                  <a:pt x="184" y="6"/>
                </a:lnTo>
                <a:lnTo>
                  <a:pt x="181" y="12"/>
                </a:lnTo>
                <a:lnTo>
                  <a:pt x="178" y="15"/>
                </a:lnTo>
                <a:lnTo>
                  <a:pt x="184" y="28"/>
                </a:lnTo>
                <a:lnTo>
                  <a:pt x="184" y="34"/>
                </a:lnTo>
                <a:lnTo>
                  <a:pt x="175" y="46"/>
                </a:lnTo>
                <a:lnTo>
                  <a:pt x="181" y="53"/>
                </a:lnTo>
                <a:lnTo>
                  <a:pt x="181" y="59"/>
                </a:lnTo>
                <a:lnTo>
                  <a:pt x="175" y="65"/>
                </a:lnTo>
                <a:lnTo>
                  <a:pt x="169" y="65"/>
                </a:lnTo>
                <a:lnTo>
                  <a:pt x="163" y="62"/>
                </a:lnTo>
                <a:lnTo>
                  <a:pt x="156" y="65"/>
                </a:lnTo>
                <a:lnTo>
                  <a:pt x="159" y="71"/>
                </a:lnTo>
                <a:lnTo>
                  <a:pt x="163" y="71"/>
                </a:lnTo>
                <a:lnTo>
                  <a:pt x="166" y="78"/>
                </a:lnTo>
                <a:lnTo>
                  <a:pt x="166" y="81"/>
                </a:lnTo>
                <a:lnTo>
                  <a:pt x="159" y="84"/>
                </a:lnTo>
                <a:lnTo>
                  <a:pt x="156" y="84"/>
                </a:lnTo>
                <a:lnTo>
                  <a:pt x="153" y="87"/>
                </a:lnTo>
                <a:lnTo>
                  <a:pt x="153" y="93"/>
                </a:lnTo>
                <a:lnTo>
                  <a:pt x="153" y="100"/>
                </a:lnTo>
                <a:lnTo>
                  <a:pt x="153" y="103"/>
                </a:lnTo>
                <a:lnTo>
                  <a:pt x="150" y="103"/>
                </a:lnTo>
                <a:lnTo>
                  <a:pt x="153" y="112"/>
                </a:lnTo>
                <a:lnTo>
                  <a:pt x="147" y="118"/>
                </a:lnTo>
                <a:lnTo>
                  <a:pt x="144" y="112"/>
                </a:lnTo>
                <a:lnTo>
                  <a:pt x="141" y="112"/>
                </a:lnTo>
                <a:lnTo>
                  <a:pt x="141" y="115"/>
                </a:lnTo>
                <a:lnTo>
                  <a:pt x="137" y="115"/>
                </a:lnTo>
                <a:lnTo>
                  <a:pt x="134" y="115"/>
                </a:lnTo>
                <a:lnTo>
                  <a:pt x="131" y="115"/>
                </a:lnTo>
                <a:lnTo>
                  <a:pt x="128" y="118"/>
                </a:lnTo>
                <a:lnTo>
                  <a:pt x="122" y="122"/>
                </a:lnTo>
                <a:lnTo>
                  <a:pt x="125" y="125"/>
                </a:lnTo>
                <a:lnTo>
                  <a:pt x="122" y="128"/>
                </a:lnTo>
                <a:lnTo>
                  <a:pt x="116" y="131"/>
                </a:lnTo>
                <a:lnTo>
                  <a:pt x="112" y="128"/>
                </a:lnTo>
                <a:lnTo>
                  <a:pt x="109" y="131"/>
                </a:lnTo>
                <a:lnTo>
                  <a:pt x="106" y="131"/>
                </a:lnTo>
                <a:lnTo>
                  <a:pt x="106" y="134"/>
                </a:lnTo>
                <a:lnTo>
                  <a:pt x="103" y="137"/>
                </a:lnTo>
                <a:lnTo>
                  <a:pt x="100" y="140"/>
                </a:lnTo>
                <a:lnTo>
                  <a:pt x="100" y="147"/>
                </a:lnTo>
                <a:lnTo>
                  <a:pt x="100" y="153"/>
                </a:lnTo>
                <a:lnTo>
                  <a:pt x="100" y="156"/>
                </a:lnTo>
                <a:lnTo>
                  <a:pt x="103" y="159"/>
                </a:lnTo>
                <a:lnTo>
                  <a:pt x="100" y="162"/>
                </a:lnTo>
                <a:lnTo>
                  <a:pt x="94" y="165"/>
                </a:lnTo>
                <a:lnTo>
                  <a:pt x="87" y="165"/>
                </a:lnTo>
                <a:lnTo>
                  <a:pt x="81" y="168"/>
                </a:lnTo>
                <a:lnTo>
                  <a:pt x="69" y="168"/>
                </a:lnTo>
                <a:lnTo>
                  <a:pt x="62" y="168"/>
                </a:lnTo>
                <a:lnTo>
                  <a:pt x="62" y="172"/>
                </a:lnTo>
                <a:lnTo>
                  <a:pt x="56" y="172"/>
                </a:lnTo>
                <a:lnTo>
                  <a:pt x="47" y="175"/>
                </a:lnTo>
                <a:lnTo>
                  <a:pt x="25" y="175"/>
                </a:lnTo>
                <a:lnTo>
                  <a:pt x="0" y="165"/>
                </a:lnTo>
                <a:lnTo>
                  <a:pt x="0" y="165"/>
                </a:lnTo>
                <a:lnTo>
                  <a:pt x="9" y="181"/>
                </a:lnTo>
                <a:lnTo>
                  <a:pt x="12" y="184"/>
                </a:lnTo>
                <a:lnTo>
                  <a:pt x="16" y="190"/>
                </a:lnTo>
                <a:lnTo>
                  <a:pt x="22" y="193"/>
                </a:lnTo>
                <a:lnTo>
                  <a:pt x="22" y="193"/>
                </a:lnTo>
                <a:lnTo>
                  <a:pt x="28" y="193"/>
                </a:lnTo>
                <a:lnTo>
                  <a:pt x="34" y="197"/>
                </a:lnTo>
                <a:lnTo>
                  <a:pt x="34" y="200"/>
                </a:lnTo>
                <a:lnTo>
                  <a:pt x="37" y="200"/>
                </a:lnTo>
                <a:lnTo>
                  <a:pt x="37" y="206"/>
                </a:lnTo>
                <a:lnTo>
                  <a:pt x="41" y="209"/>
                </a:lnTo>
                <a:lnTo>
                  <a:pt x="41" y="215"/>
                </a:lnTo>
                <a:lnTo>
                  <a:pt x="41" y="218"/>
                </a:lnTo>
                <a:lnTo>
                  <a:pt x="47" y="218"/>
                </a:lnTo>
                <a:lnTo>
                  <a:pt x="53" y="222"/>
                </a:lnTo>
                <a:lnTo>
                  <a:pt x="53" y="231"/>
                </a:lnTo>
                <a:lnTo>
                  <a:pt x="50" y="234"/>
                </a:lnTo>
                <a:lnTo>
                  <a:pt x="44" y="231"/>
                </a:lnTo>
                <a:lnTo>
                  <a:pt x="34" y="234"/>
                </a:lnTo>
                <a:lnTo>
                  <a:pt x="34" y="234"/>
                </a:lnTo>
                <a:lnTo>
                  <a:pt x="28" y="237"/>
                </a:lnTo>
                <a:lnTo>
                  <a:pt x="25" y="240"/>
                </a:lnTo>
                <a:lnTo>
                  <a:pt x="25" y="247"/>
                </a:lnTo>
                <a:lnTo>
                  <a:pt x="22" y="250"/>
                </a:lnTo>
                <a:lnTo>
                  <a:pt x="25" y="253"/>
                </a:lnTo>
                <a:lnTo>
                  <a:pt x="25" y="262"/>
                </a:lnTo>
                <a:lnTo>
                  <a:pt x="25" y="265"/>
                </a:lnTo>
                <a:lnTo>
                  <a:pt x="25" y="265"/>
                </a:lnTo>
                <a:lnTo>
                  <a:pt x="25" y="269"/>
                </a:lnTo>
                <a:lnTo>
                  <a:pt x="28" y="269"/>
                </a:lnTo>
                <a:lnTo>
                  <a:pt x="34" y="265"/>
                </a:lnTo>
                <a:lnTo>
                  <a:pt x="37" y="265"/>
                </a:lnTo>
                <a:lnTo>
                  <a:pt x="37" y="265"/>
                </a:lnTo>
                <a:lnTo>
                  <a:pt x="41" y="265"/>
                </a:lnTo>
                <a:lnTo>
                  <a:pt x="44" y="262"/>
                </a:lnTo>
                <a:lnTo>
                  <a:pt x="47" y="262"/>
                </a:lnTo>
                <a:lnTo>
                  <a:pt x="50" y="262"/>
                </a:lnTo>
                <a:lnTo>
                  <a:pt x="53" y="262"/>
                </a:lnTo>
                <a:lnTo>
                  <a:pt x="53" y="262"/>
                </a:lnTo>
                <a:lnTo>
                  <a:pt x="56" y="262"/>
                </a:lnTo>
                <a:lnTo>
                  <a:pt x="56" y="262"/>
                </a:lnTo>
                <a:lnTo>
                  <a:pt x="59" y="259"/>
                </a:lnTo>
                <a:lnTo>
                  <a:pt x="62" y="262"/>
                </a:lnTo>
                <a:lnTo>
                  <a:pt x="66" y="262"/>
                </a:lnTo>
                <a:lnTo>
                  <a:pt x="66" y="259"/>
                </a:lnTo>
                <a:lnTo>
                  <a:pt x="69" y="259"/>
                </a:lnTo>
                <a:lnTo>
                  <a:pt x="69" y="262"/>
                </a:lnTo>
                <a:lnTo>
                  <a:pt x="72" y="262"/>
                </a:lnTo>
                <a:lnTo>
                  <a:pt x="75" y="265"/>
                </a:lnTo>
                <a:lnTo>
                  <a:pt x="78" y="265"/>
                </a:lnTo>
                <a:lnTo>
                  <a:pt x="81" y="259"/>
                </a:lnTo>
                <a:lnTo>
                  <a:pt x="87" y="259"/>
                </a:lnTo>
                <a:lnTo>
                  <a:pt x="91" y="262"/>
                </a:lnTo>
                <a:lnTo>
                  <a:pt x="94" y="259"/>
                </a:lnTo>
                <a:lnTo>
                  <a:pt x="97" y="259"/>
                </a:lnTo>
                <a:lnTo>
                  <a:pt x="97" y="259"/>
                </a:lnTo>
                <a:lnTo>
                  <a:pt x="100" y="259"/>
                </a:lnTo>
                <a:lnTo>
                  <a:pt x="103" y="259"/>
                </a:lnTo>
                <a:lnTo>
                  <a:pt x="109" y="259"/>
                </a:lnTo>
                <a:lnTo>
                  <a:pt x="116" y="259"/>
                </a:lnTo>
                <a:lnTo>
                  <a:pt x="119" y="262"/>
                </a:lnTo>
                <a:lnTo>
                  <a:pt x="122" y="265"/>
                </a:lnTo>
                <a:lnTo>
                  <a:pt x="122" y="269"/>
                </a:lnTo>
                <a:lnTo>
                  <a:pt x="122" y="269"/>
                </a:lnTo>
                <a:lnTo>
                  <a:pt x="119" y="269"/>
                </a:lnTo>
                <a:lnTo>
                  <a:pt x="119" y="272"/>
                </a:lnTo>
                <a:lnTo>
                  <a:pt x="122" y="272"/>
                </a:lnTo>
                <a:lnTo>
                  <a:pt x="128" y="269"/>
                </a:lnTo>
                <a:lnTo>
                  <a:pt x="128" y="272"/>
                </a:lnTo>
                <a:lnTo>
                  <a:pt x="134" y="278"/>
                </a:lnTo>
                <a:lnTo>
                  <a:pt x="134" y="284"/>
                </a:lnTo>
                <a:lnTo>
                  <a:pt x="134" y="284"/>
                </a:lnTo>
                <a:lnTo>
                  <a:pt x="134" y="287"/>
                </a:lnTo>
                <a:lnTo>
                  <a:pt x="134" y="290"/>
                </a:lnTo>
                <a:lnTo>
                  <a:pt x="134" y="290"/>
                </a:lnTo>
                <a:lnTo>
                  <a:pt x="137" y="290"/>
                </a:lnTo>
                <a:lnTo>
                  <a:pt x="137" y="294"/>
                </a:lnTo>
                <a:lnTo>
                  <a:pt x="141" y="294"/>
                </a:lnTo>
                <a:lnTo>
                  <a:pt x="147" y="294"/>
                </a:lnTo>
                <a:lnTo>
                  <a:pt x="153" y="297"/>
                </a:lnTo>
                <a:lnTo>
                  <a:pt x="153" y="300"/>
                </a:lnTo>
                <a:lnTo>
                  <a:pt x="156" y="297"/>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2" name="Freeform 40">
            <a:extLst>
              <a:ext uri="{FF2B5EF4-FFF2-40B4-BE49-F238E27FC236}">
                <a16:creationId xmlns:a16="http://schemas.microsoft.com/office/drawing/2014/main" id="{EF75F18B-48DB-3DA4-661D-37CB0987743A}"/>
              </a:ext>
            </a:extLst>
          </p:cNvPr>
          <p:cNvSpPr>
            <a:spLocks/>
          </p:cNvSpPr>
          <p:nvPr userDrawn="1"/>
        </p:nvSpPr>
        <p:spPr bwMode="auto">
          <a:xfrm>
            <a:off x="17524857" y="6854111"/>
            <a:ext cx="457170" cy="377826"/>
          </a:xfrm>
          <a:custGeom>
            <a:avLst/>
            <a:gdLst>
              <a:gd name="T0" fmla="*/ 72 w 144"/>
              <a:gd name="T1" fmla="*/ 116 h 119"/>
              <a:gd name="T2" fmla="*/ 81 w 144"/>
              <a:gd name="T3" fmla="*/ 100 h 119"/>
              <a:gd name="T4" fmla="*/ 91 w 144"/>
              <a:gd name="T5" fmla="*/ 97 h 119"/>
              <a:gd name="T6" fmla="*/ 103 w 144"/>
              <a:gd name="T7" fmla="*/ 103 h 119"/>
              <a:gd name="T8" fmla="*/ 116 w 144"/>
              <a:gd name="T9" fmla="*/ 103 h 119"/>
              <a:gd name="T10" fmla="*/ 122 w 144"/>
              <a:gd name="T11" fmla="*/ 106 h 119"/>
              <a:gd name="T12" fmla="*/ 138 w 144"/>
              <a:gd name="T13" fmla="*/ 106 h 119"/>
              <a:gd name="T14" fmla="*/ 141 w 144"/>
              <a:gd name="T15" fmla="*/ 109 h 119"/>
              <a:gd name="T16" fmla="*/ 141 w 144"/>
              <a:gd name="T17" fmla="*/ 100 h 119"/>
              <a:gd name="T18" fmla="*/ 135 w 144"/>
              <a:gd name="T19" fmla="*/ 91 h 119"/>
              <a:gd name="T20" fmla="*/ 131 w 144"/>
              <a:gd name="T21" fmla="*/ 72 h 119"/>
              <a:gd name="T22" fmla="*/ 122 w 144"/>
              <a:gd name="T23" fmla="*/ 62 h 119"/>
              <a:gd name="T24" fmla="*/ 113 w 144"/>
              <a:gd name="T25" fmla="*/ 47 h 119"/>
              <a:gd name="T26" fmla="*/ 100 w 144"/>
              <a:gd name="T27" fmla="*/ 41 h 119"/>
              <a:gd name="T28" fmla="*/ 94 w 144"/>
              <a:gd name="T29" fmla="*/ 34 h 119"/>
              <a:gd name="T30" fmla="*/ 78 w 144"/>
              <a:gd name="T31" fmla="*/ 34 h 119"/>
              <a:gd name="T32" fmla="*/ 72 w 144"/>
              <a:gd name="T33" fmla="*/ 31 h 119"/>
              <a:gd name="T34" fmla="*/ 69 w 144"/>
              <a:gd name="T35" fmla="*/ 22 h 119"/>
              <a:gd name="T36" fmla="*/ 56 w 144"/>
              <a:gd name="T37" fmla="*/ 3 h 119"/>
              <a:gd name="T38" fmla="*/ 50 w 144"/>
              <a:gd name="T39" fmla="*/ 0 h 119"/>
              <a:gd name="T40" fmla="*/ 47 w 144"/>
              <a:gd name="T41" fmla="*/ 3 h 119"/>
              <a:gd name="T42" fmla="*/ 41 w 144"/>
              <a:gd name="T43" fmla="*/ 3 h 119"/>
              <a:gd name="T44" fmla="*/ 35 w 144"/>
              <a:gd name="T45" fmla="*/ 0 h 119"/>
              <a:gd name="T46" fmla="*/ 35 w 144"/>
              <a:gd name="T47" fmla="*/ 3 h 119"/>
              <a:gd name="T48" fmla="*/ 22 w 144"/>
              <a:gd name="T49" fmla="*/ 12 h 119"/>
              <a:gd name="T50" fmla="*/ 10 w 144"/>
              <a:gd name="T51" fmla="*/ 19 h 119"/>
              <a:gd name="T52" fmla="*/ 0 w 144"/>
              <a:gd name="T53" fmla="*/ 34 h 119"/>
              <a:gd name="T54" fmla="*/ 6 w 144"/>
              <a:gd name="T55" fmla="*/ 34 h 119"/>
              <a:gd name="T56" fmla="*/ 13 w 144"/>
              <a:gd name="T57" fmla="*/ 37 h 119"/>
              <a:gd name="T58" fmla="*/ 25 w 144"/>
              <a:gd name="T59" fmla="*/ 47 h 119"/>
              <a:gd name="T60" fmla="*/ 31 w 144"/>
              <a:gd name="T61" fmla="*/ 53 h 119"/>
              <a:gd name="T62" fmla="*/ 25 w 144"/>
              <a:gd name="T63" fmla="*/ 59 h 119"/>
              <a:gd name="T64" fmla="*/ 22 w 144"/>
              <a:gd name="T65" fmla="*/ 66 h 119"/>
              <a:gd name="T66" fmla="*/ 25 w 144"/>
              <a:gd name="T67" fmla="*/ 78 h 119"/>
              <a:gd name="T68" fmla="*/ 28 w 144"/>
              <a:gd name="T69" fmla="*/ 97 h 119"/>
              <a:gd name="T70" fmla="*/ 44 w 144"/>
              <a:gd name="T71" fmla="*/ 103 h 119"/>
              <a:gd name="T72" fmla="*/ 53 w 144"/>
              <a:gd name="T73" fmla="*/ 112 h 119"/>
              <a:gd name="T74" fmla="*/ 63 w 144"/>
              <a:gd name="T75" fmla="*/ 112 h 119"/>
              <a:gd name="T76" fmla="*/ 69 w 144"/>
              <a:gd name="T7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4" h="119">
                <a:moveTo>
                  <a:pt x="69" y="119"/>
                </a:moveTo>
                <a:lnTo>
                  <a:pt x="72" y="116"/>
                </a:lnTo>
                <a:lnTo>
                  <a:pt x="75" y="106"/>
                </a:lnTo>
                <a:lnTo>
                  <a:pt x="81" y="100"/>
                </a:lnTo>
                <a:lnTo>
                  <a:pt x="88" y="100"/>
                </a:lnTo>
                <a:lnTo>
                  <a:pt x="91" y="97"/>
                </a:lnTo>
                <a:lnTo>
                  <a:pt x="94" y="97"/>
                </a:lnTo>
                <a:lnTo>
                  <a:pt x="103" y="103"/>
                </a:lnTo>
                <a:lnTo>
                  <a:pt x="110" y="100"/>
                </a:lnTo>
                <a:lnTo>
                  <a:pt x="116" y="103"/>
                </a:lnTo>
                <a:lnTo>
                  <a:pt x="119" y="109"/>
                </a:lnTo>
                <a:lnTo>
                  <a:pt x="122" y="106"/>
                </a:lnTo>
                <a:lnTo>
                  <a:pt x="131" y="112"/>
                </a:lnTo>
                <a:lnTo>
                  <a:pt x="138" y="106"/>
                </a:lnTo>
                <a:lnTo>
                  <a:pt x="141" y="106"/>
                </a:lnTo>
                <a:lnTo>
                  <a:pt x="141" y="109"/>
                </a:lnTo>
                <a:lnTo>
                  <a:pt x="144" y="106"/>
                </a:lnTo>
                <a:lnTo>
                  <a:pt x="141" y="100"/>
                </a:lnTo>
                <a:lnTo>
                  <a:pt x="138" y="91"/>
                </a:lnTo>
                <a:lnTo>
                  <a:pt x="135" y="91"/>
                </a:lnTo>
                <a:lnTo>
                  <a:pt x="131" y="81"/>
                </a:lnTo>
                <a:lnTo>
                  <a:pt x="131" y="72"/>
                </a:lnTo>
                <a:lnTo>
                  <a:pt x="128" y="66"/>
                </a:lnTo>
                <a:lnTo>
                  <a:pt x="122" y="62"/>
                </a:lnTo>
                <a:lnTo>
                  <a:pt x="116" y="56"/>
                </a:lnTo>
                <a:lnTo>
                  <a:pt x="113" y="47"/>
                </a:lnTo>
                <a:lnTo>
                  <a:pt x="106" y="44"/>
                </a:lnTo>
                <a:lnTo>
                  <a:pt x="100" y="41"/>
                </a:lnTo>
                <a:lnTo>
                  <a:pt x="97" y="37"/>
                </a:lnTo>
                <a:lnTo>
                  <a:pt x="94" y="34"/>
                </a:lnTo>
                <a:lnTo>
                  <a:pt x="88" y="37"/>
                </a:lnTo>
                <a:lnTo>
                  <a:pt x="78" y="34"/>
                </a:lnTo>
                <a:lnTo>
                  <a:pt x="75" y="31"/>
                </a:lnTo>
                <a:lnTo>
                  <a:pt x="72" y="31"/>
                </a:lnTo>
                <a:lnTo>
                  <a:pt x="72" y="25"/>
                </a:lnTo>
                <a:lnTo>
                  <a:pt x="69" y="22"/>
                </a:lnTo>
                <a:lnTo>
                  <a:pt x="60" y="9"/>
                </a:lnTo>
                <a:lnTo>
                  <a:pt x="56" y="3"/>
                </a:lnTo>
                <a:lnTo>
                  <a:pt x="53" y="0"/>
                </a:lnTo>
                <a:lnTo>
                  <a:pt x="50" y="0"/>
                </a:lnTo>
                <a:lnTo>
                  <a:pt x="50" y="0"/>
                </a:lnTo>
                <a:lnTo>
                  <a:pt x="47" y="3"/>
                </a:lnTo>
                <a:lnTo>
                  <a:pt x="44" y="3"/>
                </a:lnTo>
                <a:lnTo>
                  <a:pt x="41" y="3"/>
                </a:lnTo>
                <a:lnTo>
                  <a:pt x="38" y="0"/>
                </a:lnTo>
                <a:lnTo>
                  <a:pt x="35" y="0"/>
                </a:lnTo>
                <a:lnTo>
                  <a:pt x="35" y="3"/>
                </a:lnTo>
                <a:lnTo>
                  <a:pt x="35" y="3"/>
                </a:lnTo>
                <a:lnTo>
                  <a:pt x="31" y="9"/>
                </a:lnTo>
                <a:lnTo>
                  <a:pt x="22" y="12"/>
                </a:lnTo>
                <a:lnTo>
                  <a:pt x="6" y="16"/>
                </a:lnTo>
                <a:lnTo>
                  <a:pt x="10" y="19"/>
                </a:lnTo>
                <a:lnTo>
                  <a:pt x="0" y="25"/>
                </a:lnTo>
                <a:lnTo>
                  <a:pt x="0" y="34"/>
                </a:lnTo>
                <a:lnTo>
                  <a:pt x="3" y="37"/>
                </a:lnTo>
                <a:lnTo>
                  <a:pt x="6" y="34"/>
                </a:lnTo>
                <a:lnTo>
                  <a:pt x="10" y="34"/>
                </a:lnTo>
                <a:lnTo>
                  <a:pt x="13" y="37"/>
                </a:lnTo>
                <a:lnTo>
                  <a:pt x="19" y="44"/>
                </a:lnTo>
                <a:lnTo>
                  <a:pt x="25" y="47"/>
                </a:lnTo>
                <a:lnTo>
                  <a:pt x="25" y="50"/>
                </a:lnTo>
                <a:lnTo>
                  <a:pt x="31" y="53"/>
                </a:lnTo>
                <a:lnTo>
                  <a:pt x="31" y="56"/>
                </a:lnTo>
                <a:lnTo>
                  <a:pt x="25" y="59"/>
                </a:lnTo>
                <a:lnTo>
                  <a:pt x="25" y="62"/>
                </a:lnTo>
                <a:lnTo>
                  <a:pt x="22" y="66"/>
                </a:lnTo>
                <a:lnTo>
                  <a:pt x="22" y="72"/>
                </a:lnTo>
                <a:lnTo>
                  <a:pt x="25" y="78"/>
                </a:lnTo>
                <a:lnTo>
                  <a:pt x="28" y="91"/>
                </a:lnTo>
                <a:lnTo>
                  <a:pt x="28" y="97"/>
                </a:lnTo>
                <a:lnTo>
                  <a:pt x="38" y="103"/>
                </a:lnTo>
                <a:lnTo>
                  <a:pt x="44" y="103"/>
                </a:lnTo>
                <a:lnTo>
                  <a:pt x="50" y="106"/>
                </a:lnTo>
                <a:lnTo>
                  <a:pt x="53" y="112"/>
                </a:lnTo>
                <a:lnTo>
                  <a:pt x="60" y="112"/>
                </a:lnTo>
                <a:lnTo>
                  <a:pt x="63" y="112"/>
                </a:lnTo>
                <a:lnTo>
                  <a:pt x="69" y="112"/>
                </a:lnTo>
                <a:lnTo>
                  <a:pt x="69" y="119"/>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3" name="Freeform 41">
            <a:extLst>
              <a:ext uri="{FF2B5EF4-FFF2-40B4-BE49-F238E27FC236}">
                <a16:creationId xmlns:a16="http://schemas.microsoft.com/office/drawing/2014/main" id="{CEB80832-BD29-51A3-376B-BB36B7A8A1EC}"/>
              </a:ext>
            </a:extLst>
          </p:cNvPr>
          <p:cNvSpPr>
            <a:spLocks/>
          </p:cNvSpPr>
          <p:nvPr userDrawn="1"/>
        </p:nvSpPr>
        <p:spPr bwMode="auto">
          <a:xfrm>
            <a:off x="16810533" y="6765211"/>
            <a:ext cx="834972" cy="695326"/>
          </a:xfrm>
          <a:custGeom>
            <a:avLst/>
            <a:gdLst>
              <a:gd name="T0" fmla="*/ 241 w 263"/>
              <a:gd name="T1" fmla="*/ 22 h 219"/>
              <a:gd name="T2" fmla="*/ 253 w 263"/>
              <a:gd name="T3" fmla="*/ 22 h 219"/>
              <a:gd name="T4" fmla="*/ 256 w 263"/>
              <a:gd name="T5" fmla="*/ 31 h 219"/>
              <a:gd name="T6" fmla="*/ 247 w 263"/>
              <a:gd name="T7" fmla="*/ 40 h 219"/>
              <a:gd name="T8" fmla="*/ 216 w 263"/>
              <a:gd name="T9" fmla="*/ 47 h 219"/>
              <a:gd name="T10" fmla="*/ 203 w 263"/>
              <a:gd name="T11" fmla="*/ 56 h 219"/>
              <a:gd name="T12" fmla="*/ 206 w 263"/>
              <a:gd name="T13" fmla="*/ 78 h 219"/>
              <a:gd name="T14" fmla="*/ 203 w 263"/>
              <a:gd name="T15" fmla="*/ 103 h 219"/>
              <a:gd name="T16" fmla="*/ 185 w 263"/>
              <a:gd name="T17" fmla="*/ 106 h 219"/>
              <a:gd name="T18" fmla="*/ 185 w 263"/>
              <a:gd name="T19" fmla="*/ 115 h 219"/>
              <a:gd name="T20" fmla="*/ 181 w 263"/>
              <a:gd name="T21" fmla="*/ 128 h 219"/>
              <a:gd name="T22" fmla="*/ 175 w 263"/>
              <a:gd name="T23" fmla="*/ 137 h 219"/>
              <a:gd name="T24" fmla="*/ 172 w 263"/>
              <a:gd name="T25" fmla="*/ 147 h 219"/>
              <a:gd name="T26" fmla="*/ 166 w 263"/>
              <a:gd name="T27" fmla="*/ 156 h 219"/>
              <a:gd name="T28" fmla="*/ 159 w 263"/>
              <a:gd name="T29" fmla="*/ 159 h 219"/>
              <a:gd name="T30" fmla="*/ 150 w 263"/>
              <a:gd name="T31" fmla="*/ 162 h 219"/>
              <a:gd name="T32" fmla="*/ 144 w 263"/>
              <a:gd name="T33" fmla="*/ 172 h 219"/>
              <a:gd name="T34" fmla="*/ 131 w 263"/>
              <a:gd name="T35" fmla="*/ 175 h 219"/>
              <a:gd name="T36" fmla="*/ 125 w 263"/>
              <a:gd name="T37" fmla="*/ 181 h 219"/>
              <a:gd name="T38" fmla="*/ 122 w 263"/>
              <a:gd name="T39" fmla="*/ 197 h 219"/>
              <a:gd name="T40" fmla="*/ 122 w 263"/>
              <a:gd name="T41" fmla="*/ 206 h 219"/>
              <a:gd name="T42" fmla="*/ 103 w 263"/>
              <a:gd name="T43" fmla="*/ 212 h 219"/>
              <a:gd name="T44" fmla="*/ 84 w 263"/>
              <a:gd name="T45" fmla="*/ 216 h 219"/>
              <a:gd name="T46" fmla="*/ 47 w 263"/>
              <a:gd name="T47" fmla="*/ 219 h 219"/>
              <a:gd name="T48" fmla="*/ 38 w 263"/>
              <a:gd name="T49" fmla="*/ 187 h 219"/>
              <a:gd name="T50" fmla="*/ 31 w 263"/>
              <a:gd name="T51" fmla="*/ 169 h 219"/>
              <a:gd name="T52" fmla="*/ 13 w 263"/>
              <a:gd name="T53" fmla="*/ 156 h 219"/>
              <a:gd name="T54" fmla="*/ 6 w 263"/>
              <a:gd name="T55" fmla="*/ 134 h 219"/>
              <a:gd name="T56" fmla="*/ 13 w 263"/>
              <a:gd name="T57" fmla="*/ 122 h 219"/>
              <a:gd name="T58" fmla="*/ 3 w 263"/>
              <a:gd name="T59" fmla="*/ 109 h 219"/>
              <a:gd name="T60" fmla="*/ 3 w 263"/>
              <a:gd name="T61" fmla="*/ 100 h 219"/>
              <a:gd name="T62" fmla="*/ 9 w 263"/>
              <a:gd name="T63" fmla="*/ 94 h 219"/>
              <a:gd name="T64" fmla="*/ 9 w 263"/>
              <a:gd name="T65" fmla="*/ 87 h 219"/>
              <a:gd name="T66" fmla="*/ 9 w 263"/>
              <a:gd name="T67" fmla="*/ 75 h 219"/>
              <a:gd name="T68" fmla="*/ 16 w 263"/>
              <a:gd name="T69" fmla="*/ 75 h 219"/>
              <a:gd name="T70" fmla="*/ 25 w 263"/>
              <a:gd name="T71" fmla="*/ 75 h 219"/>
              <a:gd name="T72" fmla="*/ 34 w 263"/>
              <a:gd name="T73" fmla="*/ 81 h 219"/>
              <a:gd name="T74" fmla="*/ 44 w 263"/>
              <a:gd name="T75" fmla="*/ 81 h 219"/>
              <a:gd name="T76" fmla="*/ 50 w 263"/>
              <a:gd name="T77" fmla="*/ 72 h 219"/>
              <a:gd name="T78" fmla="*/ 63 w 263"/>
              <a:gd name="T79" fmla="*/ 65 h 219"/>
              <a:gd name="T80" fmla="*/ 69 w 263"/>
              <a:gd name="T81" fmla="*/ 59 h 219"/>
              <a:gd name="T82" fmla="*/ 75 w 263"/>
              <a:gd name="T83" fmla="*/ 44 h 219"/>
              <a:gd name="T84" fmla="*/ 72 w 263"/>
              <a:gd name="T85" fmla="*/ 37 h 219"/>
              <a:gd name="T86" fmla="*/ 81 w 263"/>
              <a:gd name="T87" fmla="*/ 34 h 219"/>
              <a:gd name="T88" fmla="*/ 94 w 263"/>
              <a:gd name="T89" fmla="*/ 28 h 219"/>
              <a:gd name="T90" fmla="*/ 103 w 263"/>
              <a:gd name="T91" fmla="*/ 31 h 219"/>
              <a:gd name="T92" fmla="*/ 116 w 263"/>
              <a:gd name="T93" fmla="*/ 34 h 219"/>
              <a:gd name="T94" fmla="*/ 125 w 263"/>
              <a:gd name="T95" fmla="*/ 31 h 219"/>
              <a:gd name="T96" fmla="*/ 141 w 263"/>
              <a:gd name="T97" fmla="*/ 37 h 219"/>
              <a:gd name="T98" fmla="*/ 150 w 263"/>
              <a:gd name="T99" fmla="*/ 31 h 219"/>
              <a:gd name="T100" fmla="*/ 156 w 263"/>
              <a:gd name="T101" fmla="*/ 34 h 219"/>
              <a:gd name="T102" fmla="*/ 159 w 263"/>
              <a:gd name="T103" fmla="*/ 28 h 219"/>
              <a:gd name="T104" fmla="*/ 166 w 263"/>
              <a:gd name="T105" fmla="*/ 22 h 219"/>
              <a:gd name="T106" fmla="*/ 172 w 263"/>
              <a:gd name="T107" fmla="*/ 25 h 219"/>
              <a:gd name="T108" fmla="*/ 175 w 263"/>
              <a:gd name="T109" fmla="*/ 12 h 219"/>
              <a:gd name="T110" fmla="*/ 181 w 263"/>
              <a:gd name="T111" fmla="*/ 0 h 219"/>
              <a:gd name="T112" fmla="*/ 194 w 263"/>
              <a:gd name="T113" fmla="*/ 6 h 219"/>
              <a:gd name="T114" fmla="*/ 194 w 263"/>
              <a:gd name="T115" fmla="*/ 15 h 219"/>
              <a:gd name="T116" fmla="*/ 197 w 263"/>
              <a:gd name="T117" fmla="*/ 25 h 219"/>
              <a:gd name="T118" fmla="*/ 200 w 263"/>
              <a:gd name="T119" fmla="*/ 40 h 219"/>
              <a:gd name="T120" fmla="*/ 210 w 263"/>
              <a:gd name="T121" fmla="*/ 44 h 219"/>
              <a:gd name="T122" fmla="*/ 222 w 263"/>
              <a:gd name="T123" fmla="*/ 37 h 219"/>
              <a:gd name="T124" fmla="*/ 228 w 263"/>
              <a:gd name="T125" fmla="*/ 28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3" h="219">
                <a:moveTo>
                  <a:pt x="228" y="28"/>
                </a:moveTo>
                <a:lnTo>
                  <a:pt x="238" y="22"/>
                </a:lnTo>
                <a:lnTo>
                  <a:pt x="241" y="22"/>
                </a:lnTo>
                <a:lnTo>
                  <a:pt x="244" y="25"/>
                </a:lnTo>
                <a:lnTo>
                  <a:pt x="250" y="25"/>
                </a:lnTo>
                <a:lnTo>
                  <a:pt x="253" y="22"/>
                </a:lnTo>
                <a:lnTo>
                  <a:pt x="260" y="22"/>
                </a:lnTo>
                <a:lnTo>
                  <a:pt x="263" y="25"/>
                </a:lnTo>
                <a:lnTo>
                  <a:pt x="256" y="31"/>
                </a:lnTo>
                <a:lnTo>
                  <a:pt x="260" y="31"/>
                </a:lnTo>
                <a:lnTo>
                  <a:pt x="256" y="37"/>
                </a:lnTo>
                <a:lnTo>
                  <a:pt x="247" y="40"/>
                </a:lnTo>
                <a:lnTo>
                  <a:pt x="228" y="44"/>
                </a:lnTo>
                <a:lnTo>
                  <a:pt x="222" y="44"/>
                </a:lnTo>
                <a:lnTo>
                  <a:pt x="216" y="47"/>
                </a:lnTo>
                <a:lnTo>
                  <a:pt x="210" y="50"/>
                </a:lnTo>
                <a:lnTo>
                  <a:pt x="206" y="50"/>
                </a:lnTo>
                <a:lnTo>
                  <a:pt x="203" y="56"/>
                </a:lnTo>
                <a:lnTo>
                  <a:pt x="200" y="59"/>
                </a:lnTo>
                <a:lnTo>
                  <a:pt x="206" y="72"/>
                </a:lnTo>
                <a:lnTo>
                  <a:pt x="206" y="78"/>
                </a:lnTo>
                <a:lnTo>
                  <a:pt x="197" y="90"/>
                </a:lnTo>
                <a:lnTo>
                  <a:pt x="203" y="97"/>
                </a:lnTo>
                <a:lnTo>
                  <a:pt x="203" y="103"/>
                </a:lnTo>
                <a:lnTo>
                  <a:pt x="197" y="109"/>
                </a:lnTo>
                <a:lnTo>
                  <a:pt x="191" y="109"/>
                </a:lnTo>
                <a:lnTo>
                  <a:pt x="185" y="106"/>
                </a:lnTo>
                <a:lnTo>
                  <a:pt x="178" y="109"/>
                </a:lnTo>
                <a:lnTo>
                  <a:pt x="181" y="115"/>
                </a:lnTo>
                <a:lnTo>
                  <a:pt x="185" y="115"/>
                </a:lnTo>
                <a:lnTo>
                  <a:pt x="188" y="122"/>
                </a:lnTo>
                <a:lnTo>
                  <a:pt x="188" y="125"/>
                </a:lnTo>
                <a:lnTo>
                  <a:pt x="181" y="128"/>
                </a:lnTo>
                <a:lnTo>
                  <a:pt x="178" y="128"/>
                </a:lnTo>
                <a:lnTo>
                  <a:pt x="175" y="131"/>
                </a:lnTo>
                <a:lnTo>
                  <a:pt x="175" y="137"/>
                </a:lnTo>
                <a:lnTo>
                  <a:pt x="175" y="144"/>
                </a:lnTo>
                <a:lnTo>
                  <a:pt x="175" y="147"/>
                </a:lnTo>
                <a:lnTo>
                  <a:pt x="172" y="147"/>
                </a:lnTo>
                <a:lnTo>
                  <a:pt x="175" y="156"/>
                </a:lnTo>
                <a:lnTo>
                  <a:pt x="169" y="162"/>
                </a:lnTo>
                <a:lnTo>
                  <a:pt x="166" y="156"/>
                </a:lnTo>
                <a:lnTo>
                  <a:pt x="163" y="156"/>
                </a:lnTo>
                <a:lnTo>
                  <a:pt x="163" y="159"/>
                </a:lnTo>
                <a:lnTo>
                  <a:pt x="159" y="159"/>
                </a:lnTo>
                <a:lnTo>
                  <a:pt x="156" y="159"/>
                </a:lnTo>
                <a:lnTo>
                  <a:pt x="153" y="159"/>
                </a:lnTo>
                <a:lnTo>
                  <a:pt x="150" y="162"/>
                </a:lnTo>
                <a:lnTo>
                  <a:pt x="144" y="166"/>
                </a:lnTo>
                <a:lnTo>
                  <a:pt x="147" y="169"/>
                </a:lnTo>
                <a:lnTo>
                  <a:pt x="144" y="172"/>
                </a:lnTo>
                <a:lnTo>
                  <a:pt x="138" y="175"/>
                </a:lnTo>
                <a:lnTo>
                  <a:pt x="134" y="172"/>
                </a:lnTo>
                <a:lnTo>
                  <a:pt x="131" y="175"/>
                </a:lnTo>
                <a:lnTo>
                  <a:pt x="128" y="175"/>
                </a:lnTo>
                <a:lnTo>
                  <a:pt x="128" y="178"/>
                </a:lnTo>
                <a:lnTo>
                  <a:pt x="125" y="181"/>
                </a:lnTo>
                <a:lnTo>
                  <a:pt x="122" y="184"/>
                </a:lnTo>
                <a:lnTo>
                  <a:pt x="122" y="191"/>
                </a:lnTo>
                <a:lnTo>
                  <a:pt x="122" y="197"/>
                </a:lnTo>
                <a:lnTo>
                  <a:pt x="122" y="200"/>
                </a:lnTo>
                <a:lnTo>
                  <a:pt x="125" y="203"/>
                </a:lnTo>
                <a:lnTo>
                  <a:pt x="122" y="206"/>
                </a:lnTo>
                <a:lnTo>
                  <a:pt x="116" y="209"/>
                </a:lnTo>
                <a:lnTo>
                  <a:pt x="109" y="209"/>
                </a:lnTo>
                <a:lnTo>
                  <a:pt x="103" y="212"/>
                </a:lnTo>
                <a:lnTo>
                  <a:pt x="91" y="212"/>
                </a:lnTo>
                <a:lnTo>
                  <a:pt x="84" y="212"/>
                </a:lnTo>
                <a:lnTo>
                  <a:pt x="84" y="216"/>
                </a:lnTo>
                <a:lnTo>
                  <a:pt x="78" y="216"/>
                </a:lnTo>
                <a:lnTo>
                  <a:pt x="69" y="219"/>
                </a:lnTo>
                <a:lnTo>
                  <a:pt x="47" y="219"/>
                </a:lnTo>
                <a:lnTo>
                  <a:pt x="22" y="209"/>
                </a:lnTo>
                <a:lnTo>
                  <a:pt x="34" y="191"/>
                </a:lnTo>
                <a:lnTo>
                  <a:pt x="38" y="187"/>
                </a:lnTo>
                <a:lnTo>
                  <a:pt x="34" y="181"/>
                </a:lnTo>
                <a:lnTo>
                  <a:pt x="34" y="175"/>
                </a:lnTo>
                <a:lnTo>
                  <a:pt x="31" y="169"/>
                </a:lnTo>
                <a:lnTo>
                  <a:pt x="16" y="169"/>
                </a:lnTo>
                <a:lnTo>
                  <a:pt x="16" y="159"/>
                </a:lnTo>
                <a:lnTo>
                  <a:pt x="13" y="156"/>
                </a:lnTo>
                <a:lnTo>
                  <a:pt x="13" y="153"/>
                </a:lnTo>
                <a:lnTo>
                  <a:pt x="13" y="144"/>
                </a:lnTo>
                <a:lnTo>
                  <a:pt x="6" y="134"/>
                </a:lnTo>
                <a:lnTo>
                  <a:pt x="6" y="131"/>
                </a:lnTo>
                <a:lnTo>
                  <a:pt x="13" y="122"/>
                </a:lnTo>
                <a:lnTo>
                  <a:pt x="13" y="122"/>
                </a:lnTo>
                <a:lnTo>
                  <a:pt x="3" y="122"/>
                </a:lnTo>
                <a:lnTo>
                  <a:pt x="3" y="115"/>
                </a:lnTo>
                <a:lnTo>
                  <a:pt x="3" y="109"/>
                </a:lnTo>
                <a:lnTo>
                  <a:pt x="3" y="109"/>
                </a:lnTo>
                <a:lnTo>
                  <a:pt x="6" y="103"/>
                </a:lnTo>
                <a:lnTo>
                  <a:pt x="3" y="100"/>
                </a:lnTo>
                <a:lnTo>
                  <a:pt x="0" y="100"/>
                </a:lnTo>
                <a:lnTo>
                  <a:pt x="6" y="97"/>
                </a:lnTo>
                <a:lnTo>
                  <a:pt x="9" y="94"/>
                </a:lnTo>
                <a:lnTo>
                  <a:pt x="9" y="90"/>
                </a:lnTo>
                <a:lnTo>
                  <a:pt x="13" y="90"/>
                </a:lnTo>
                <a:lnTo>
                  <a:pt x="9" y="87"/>
                </a:lnTo>
                <a:lnTo>
                  <a:pt x="9" y="84"/>
                </a:lnTo>
                <a:lnTo>
                  <a:pt x="9" y="81"/>
                </a:lnTo>
                <a:lnTo>
                  <a:pt x="9" y="75"/>
                </a:lnTo>
                <a:lnTo>
                  <a:pt x="9" y="75"/>
                </a:lnTo>
                <a:lnTo>
                  <a:pt x="13" y="75"/>
                </a:lnTo>
                <a:lnTo>
                  <a:pt x="16" y="75"/>
                </a:lnTo>
                <a:lnTo>
                  <a:pt x="19" y="78"/>
                </a:lnTo>
                <a:lnTo>
                  <a:pt x="22" y="78"/>
                </a:lnTo>
                <a:lnTo>
                  <a:pt x="25" y="75"/>
                </a:lnTo>
                <a:lnTo>
                  <a:pt x="28" y="75"/>
                </a:lnTo>
                <a:lnTo>
                  <a:pt x="31" y="78"/>
                </a:lnTo>
                <a:lnTo>
                  <a:pt x="34" y="81"/>
                </a:lnTo>
                <a:lnTo>
                  <a:pt x="34" y="84"/>
                </a:lnTo>
                <a:lnTo>
                  <a:pt x="38" y="81"/>
                </a:lnTo>
                <a:lnTo>
                  <a:pt x="44" y="81"/>
                </a:lnTo>
                <a:lnTo>
                  <a:pt x="47" y="78"/>
                </a:lnTo>
                <a:lnTo>
                  <a:pt x="47" y="75"/>
                </a:lnTo>
                <a:lnTo>
                  <a:pt x="50" y="72"/>
                </a:lnTo>
                <a:lnTo>
                  <a:pt x="47" y="69"/>
                </a:lnTo>
                <a:lnTo>
                  <a:pt x="53" y="65"/>
                </a:lnTo>
                <a:lnTo>
                  <a:pt x="63" y="65"/>
                </a:lnTo>
                <a:lnTo>
                  <a:pt x="63" y="62"/>
                </a:lnTo>
                <a:lnTo>
                  <a:pt x="66" y="59"/>
                </a:lnTo>
                <a:lnTo>
                  <a:pt x="69" y="59"/>
                </a:lnTo>
                <a:lnTo>
                  <a:pt x="69" y="53"/>
                </a:lnTo>
                <a:lnTo>
                  <a:pt x="69" y="50"/>
                </a:lnTo>
                <a:lnTo>
                  <a:pt x="75" y="44"/>
                </a:lnTo>
                <a:lnTo>
                  <a:pt x="75" y="40"/>
                </a:lnTo>
                <a:lnTo>
                  <a:pt x="72" y="40"/>
                </a:lnTo>
                <a:lnTo>
                  <a:pt x="72" y="37"/>
                </a:lnTo>
                <a:lnTo>
                  <a:pt x="75" y="37"/>
                </a:lnTo>
                <a:lnTo>
                  <a:pt x="78" y="34"/>
                </a:lnTo>
                <a:lnTo>
                  <a:pt x="81" y="34"/>
                </a:lnTo>
                <a:lnTo>
                  <a:pt x="84" y="34"/>
                </a:lnTo>
                <a:lnTo>
                  <a:pt x="91" y="28"/>
                </a:lnTo>
                <a:lnTo>
                  <a:pt x="94" y="28"/>
                </a:lnTo>
                <a:lnTo>
                  <a:pt x="97" y="31"/>
                </a:lnTo>
                <a:lnTo>
                  <a:pt x="103" y="28"/>
                </a:lnTo>
                <a:lnTo>
                  <a:pt x="103" y="31"/>
                </a:lnTo>
                <a:lnTo>
                  <a:pt x="109" y="28"/>
                </a:lnTo>
                <a:lnTo>
                  <a:pt x="116" y="31"/>
                </a:lnTo>
                <a:lnTo>
                  <a:pt x="116" y="34"/>
                </a:lnTo>
                <a:lnTo>
                  <a:pt x="119" y="34"/>
                </a:lnTo>
                <a:lnTo>
                  <a:pt x="122" y="31"/>
                </a:lnTo>
                <a:lnTo>
                  <a:pt x="125" y="31"/>
                </a:lnTo>
                <a:lnTo>
                  <a:pt x="131" y="37"/>
                </a:lnTo>
                <a:lnTo>
                  <a:pt x="134" y="37"/>
                </a:lnTo>
                <a:lnTo>
                  <a:pt x="141" y="37"/>
                </a:lnTo>
                <a:lnTo>
                  <a:pt x="144" y="34"/>
                </a:lnTo>
                <a:lnTo>
                  <a:pt x="147" y="31"/>
                </a:lnTo>
                <a:lnTo>
                  <a:pt x="150" y="31"/>
                </a:lnTo>
                <a:lnTo>
                  <a:pt x="150" y="28"/>
                </a:lnTo>
                <a:lnTo>
                  <a:pt x="153" y="31"/>
                </a:lnTo>
                <a:lnTo>
                  <a:pt x="156" y="34"/>
                </a:lnTo>
                <a:lnTo>
                  <a:pt x="163" y="34"/>
                </a:lnTo>
                <a:lnTo>
                  <a:pt x="163" y="31"/>
                </a:lnTo>
                <a:lnTo>
                  <a:pt x="159" y="28"/>
                </a:lnTo>
                <a:lnTo>
                  <a:pt x="159" y="25"/>
                </a:lnTo>
                <a:lnTo>
                  <a:pt x="166" y="25"/>
                </a:lnTo>
                <a:lnTo>
                  <a:pt x="166" y="22"/>
                </a:lnTo>
                <a:lnTo>
                  <a:pt x="169" y="22"/>
                </a:lnTo>
                <a:lnTo>
                  <a:pt x="169" y="25"/>
                </a:lnTo>
                <a:lnTo>
                  <a:pt x="172" y="25"/>
                </a:lnTo>
                <a:lnTo>
                  <a:pt x="175" y="22"/>
                </a:lnTo>
                <a:lnTo>
                  <a:pt x="175" y="15"/>
                </a:lnTo>
                <a:lnTo>
                  <a:pt x="175" y="12"/>
                </a:lnTo>
                <a:lnTo>
                  <a:pt x="178" y="9"/>
                </a:lnTo>
                <a:lnTo>
                  <a:pt x="178" y="3"/>
                </a:lnTo>
                <a:lnTo>
                  <a:pt x="181" y="0"/>
                </a:lnTo>
                <a:lnTo>
                  <a:pt x="185" y="0"/>
                </a:lnTo>
                <a:lnTo>
                  <a:pt x="188" y="3"/>
                </a:lnTo>
                <a:lnTo>
                  <a:pt x="194" y="6"/>
                </a:lnTo>
                <a:lnTo>
                  <a:pt x="194" y="9"/>
                </a:lnTo>
                <a:lnTo>
                  <a:pt x="191" y="12"/>
                </a:lnTo>
                <a:lnTo>
                  <a:pt x="194" y="15"/>
                </a:lnTo>
                <a:lnTo>
                  <a:pt x="197" y="15"/>
                </a:lnTo>
                <a:lnTo>
                  <a:pt x="197" y="18"/>
                </a:lnTo>
                <a:lnTo>
                  <a:pt x="197" y="25"/>
                </a:lnTo>
                <a:lnTo>
                  <a:pt x="197" y="28"/>
                </a:lnTo>
                <a:lnTo>
                  <a:pt x="197" y="37"/>
                </a:lnTo>
                <a:lnTo>
                  <a:pt x="200" y="40"/>
                </a:lnTo>
                <a:lnTo>
                  <a:pt x="200" y="44"/>
                </a:lnTo>
                <a:lnTo>
                  <a:pt x="203" y="44"/>
                </a:lnTo>
                <a:lnTo>
                  <a:pt x="210" y="44"/>
                </a:lnTo>
                <a:lnTo>
                  <a:pt x="213" y="40"/>
                </a:lnTo>
                <a:lnTo>
                  <a:pt x="213" y="40"/>
                </a:lnTo>
                <a:lnTo>
                  <a:pt x="222" y="37"/>
                </a:lnTo>
                <a:lnTo>
                  <a:pt x="225" y="34"/>
                </a:lnTo>
                <a:lnTo>
                  <a:pt x="225" y="31"/>
                </a:lnTo>
                <a:lnTo>
                  <a:pt x="228" y="28"/>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4" name="Freeform 42">
            <a:extLst>
              <a:ext uri="{FF2B5EF4-FFF2-40B4-BE49-F238E27FC236}">
                <a16:creationId xmlns:a16="http://schemas.microsoft.com/office/drawing/2014/main" id="{3ACBBCA8-3F6C-4F52-B72A-1D059B9D4D77}"/>
              </a:ext>
            </a:extLst>
          </p:cNvPr>
          <p:cNvSpPr>
            <a:spLocks noEditPoints="1"/>
          </p:cNvSpPr>
          <p:nvPr userDrawn="1"/>
        </p:nvSpPr>
        <p:spPr bwMode="auto">
          <a:xfrm>
            <a:off x="13584941" y="5285656"/>
            <a:ext cx="387325" cy="307976"/>
          </a:xfrm>
          <a:custGeom>
            <a:avLst/>
            <a:gdLst>
              <a:gd name="T0" fmla="*/ 30 w 39"/>
              <a:gd name="T1" fmla="*/ 30 h 31"/>
              <a:gd name="T2" fmla="*/ 31 w 39"/>
              <a:gd name="T3" fmla="*/ 28 h 31"/>
              <a:gd name="T4" fmla="*/ 28 w 39"/>
              <a:gd name="T5" fmla="*/ 28 h 31"/>
              <a:gd name="T6" fmla="*/ 28 w 39"/>
              <a:gd name="T7" fmla="*/ 29 h 31"/>
              <a:gd name="T8" fmla="*/ 37 w 39"/>
              <a:gd name="T9" fmla="*/ 24 h 31"/>
              <a:gd name="T10" fmla="*/ 37 w 39"/>
              <a:gd name="T11" fmla="*/ 22 h 31"/>
              <a:gd name="T12" fmla="*/ 25 w 39"/>
              <a:gd name="T13" fmla="*/ 19 h 31"/>
              <a:gd name="T14" fmla="*/ 21 w 39"/>
              <a:gd name="T15" fmla="*/ 24 h 31"/>
              <a:gd name="T16" fmla="*/ 18 w 39"/>
              <a:gd name="T17" fmla="*/ 22 h 31"/>
              <a:gd name="T18" fmla="*/ 18 w 39"/>
              <a:gd name="T19" fmla="*/ 19 h 31"/>
              <a:gd name="T20" fmla="*/ 19 w 39"/>
              <a:gd name="T21" fmla="*/ 19 h 31"/>
              <a:gd name="T22" fmla="*/ 22 w 39"/>
              <a:gd name="T23" fmla="*/ 19 h 31"/>
              <a:gd name="T24" fmla="*/ 22 w 39"/>
              <a:gd name="T25" fmla="*/ 16 h 31"/>
              <a:gd name="T26" fmla="*/ 24 w 39"/>
              <a:gd name="T27" fmla="*/ 20 h 31"/>
              <a:gd name="T28" fmla="*/ 24 w 39"/>
              <a:gd name="T29" fmla="*/ 22 h 31"/>
              <a:gd name="T30" fmla="*/ 22 w 39"/>
              <a:gd name="T31" fmla="*/ 25 h 31"/>
              <a:gd name="T32" fmla="*/ 24 w 39"/>
              <a:gd name="T33" fmla="*/ 25 h 31"/>
              <a:gd name="T34" fmla="*/ 18 w 39"/>
              <a:gd name="T35" fmla="*/ 25 h 31"/>
              <a:gd name="T36" fmla="*/ 21 w 39"/>
              <a:gd name="T37" fmla="*/ 26 h 31"/>
              <a:gd name="T38" fmla="*/ 22 w 39"/>
              <a:gd name="T39" fmla="*/ 27 h 31"/>
              <a:gd name="T40" fmla="*/ 20 w 39"/>
              <a:gd name="T41" fmla="*/ 28 h 31"/>
              <a:gd name="T42" fmla="*/ 17 w 39"/>
              <a:gd name="T43" fmla="*/ 27 h 31"/>
              <a:gd name="T44" fmla="*/ 13 w 39"/>
              <a:gd name="T45" fmla="*/ 19 h 31"/>
              <a:gd name="T46" fmla="*/ 14 w 39"/>
              <a:gd name="T47" fmla="*/ 19 h 31"/>
              <a:gd name="T48" fmla="*/ 14 w 39"/>
              <a:gd name="T49" fmla="*/ 26 h 31"/>
              <a:gd name="T50" fmla="*/ 15 w 39"/>
              <a:gd name="T51" fmla="*/ 26 h 31"/>
              <a:gd name="T52" fmla="*/ 15 w 39"/>
              <a:gd name="T53" fmla="*/ 24 h 31"/>
              <a:gd name="T54" fmla="*/ 14 w 39"/>
              <a:gd name="T55" fmla="*/ 21 h 31"/>
              <a:gd name="T56" fmla="*/ 13 w 39"/>
              <a:gd name="T57" fmla="*/ 25 h 31"/>
              <a:gd name="T58" fmla="*/ 9 w 39"/>
              <a:gd name="T59" fmla="*/ 22 h 31"/>
              <a:gd name="T60" fmla="*/ 17 w 39"/>
              <a:gd name="T61" fmla="*/ 4 h 31"/>
              <a:gd name="T62" fmla="*/ 3 w 39"/>
              <a:gd name="T63" fmla="*/ 9 h 31"/>
              <a:gd name="T64" fmla="*/ 4 w 39"/>
              <a:gd name="T65" fmla="*/ 10 h 31"/>
              <a:gd name="T66" fmla="*/ 3 w 39"/>
              <a:gd name="T67" fmla="*/ 9 h 31"/>
              <a:gd name="T68" fmla="*/ 8 w 39"/>
              <a:gd name="T69" fmla="*/ 8 h 31"/>
              <a:gd name="T70" fmla="*/ 12 w 39"/>
              <a:gd name="T71" fmla="*/ 8 h 31"/>
              <a:gd name="T72" fmla="*/ 13 w 39"/>
              <a:gd name="T73" fmla="*/ 2 h 31"/>
              <a:gd name="T74" fmla="*/ 10 w 39"/>
              <a:gd name="T75" fmla="*/ 3 h 31"/>
              <a:gd name="T76" fmla="*/ 6 w 39"/>
              <a:gd name="T77" fmla="*/ 6 h 31"/>
              <a:gd name="T78" fmla="*/ 2 w 39"/>
              <a:gd name="T79" fmla="*/ 7 h 31"/>
              <a:gd name="T80" fmla="*/ 2 w 39"/>
              <a:gd name="T81" fmla="*/ 10 h 31"/>
              <a:gd name="T82" fmla="*/ 9 w 39"/>
              <a:gd name="T83" fmla="*/ 25 h 31"/>
              <a:gd name="T84" fmla="*/ 8 w 39"/>
              <a:gd name="T85" fmla="*/ 23 h 31"/>
              <a:gd name="T86" fmla="*/ 10 w 39"/>
              <a:gd name="T87" fmla="*/ 20 h 31"/>
              <a:gd name="T88" fmla="*/ 12 w 39"/>
              <a:gd name="T89" fmla="*/ 18 h 31"/>
              <a:gd name="T90" fmla="*/ 14 w 39"/>
              <a:gd name="T91" fmla="*/ 14 h 31"/>
              <a:gd name="T92" fmla="*/ 16 w 39"/>
              <a:gd name="T93" fmla="*/ 14 h 31"/>
              <a:gd name="T94" fmla="*/ 13 w 39"/>
              <a:gd name="T95" fmla="*/ 13 h 31"/>
              <a:gd name="T96" fmla="*/ 11 w 39"/>
              <a:gd name="T97" fmla="*/ 10 h 31"/>
              <a:gd name="T98" fmla="*/ 7 w 39"/>
              <a:gd name="T99" fmla="*/ 8 h 31"/>
              <a:gd name="T100" fmla="*/ 7 w 39"/>
              <a:gd name="T101" fmla="*/ 11 h 31"/>
              <a:gd name="T102" fmla="*/ 6 w 39"/>
              <a:gd name="T103" fmla="*/ 12 h 31"/>
              <a:gd name="T104" fmla="*/ 5 w 39"/>
              <a:gd name="T105" fmla="*/ 10 h 31"/>
              <a:gd name="T106" fmla="*/ 3 w 39"/>
              <a:gd name="T107" fmla="*/ 12 h 31"/>
              <a:gd name="T108" fmla="*/ 2 w 39"/>
              <a:gd name="T109" fmla="*/ 13 h 31"/>
              <a:gd name="T110" fmla="*/ 0 w 39"/>
              <a:gd name="T111" fmla="*/ 16 h 31"/>
              <a:gd name="T112" fmla="*/ 0 w 39"/>
              <a:gd name="T113" fmla="*/ 19 h 31"/>
              <a:gd name="T114" fmla="*/ 3 w 39"/>
              <a:gd name="T115" fmla="*/ 22 h 31"/>
              <a:gd name="T116" fmla="*/ 4 w 39"/>
              <a:gd name="T117"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 h="31">
                <a:moveTo>
                  <a:pt x="28" y="30"/>
                </a:moveTo>
                <a:cubicBezTo>
                  <a:pt x="28" y="31"/>
                  <a:pt x="28" y="31"/>
                  <a:pt x="28" y="31"/>
                </a:cubicBezTo>
                <a:cubicBezTo>
                  <a:pt x="30" y="31"/>
                  <a:pt x="30" y="31"/>
                  <a:pt x="30" y="31"/>
                </a:cubicBezTo>
                <a:cubicBezTo>
                  <a:pt x="30" y="30"/>
                  <a:pt x="30" y="30"/>
                  <a:pt x="30" y="30"/>
                </a:cubicBezTo>
                <a:cubicBezTo>
                  <a:pt x="31" y="30"/>
                  <a:pt x="31" y="30"/>
                  <a:pt x="31" y="30"/>
                </a:cubicBezTo>
                <a:cubicBezTo>
                  <a:pt x="31" y="30"/>
                  <a:pt x="31" y="30"/>
                  <a:pt x="31" y="30"/>
                </a:cubicBezTo>
                <a:cubicBezTo>
                  <a:pt x="31" y="29"/>
                  <a:pt x="31" y="29"/>
                  <a:pt x="31" y="29"/>
                </a:cubicBezTo>
                <a:cubicBezTo>
                  <a:pt x="31" y="28"/>
                  <a:pt x="31" y="28"/>
                  <a:pt x="31" y="28"/>
                </a:cubicBezTo>
                <a:cubicBezTo>
                  <a:pt x="30" y="28"/>
                  <a:pt x="30" y="28"/>
                  <a:pt x="30" y="28"/>
                </a:cubicBezTo>
                <a:cubicBezTo>
                  <a:pt x="30" y="28"/>
                  <a:pt x="30" y="28"/>
                  <a:pt x="30" y="28"/>
                </a:cubicBezTo>
                <a:cubicBezTo>
                  <a:pt x="29" y="28"/>
                  <a:pt x="29" y="28"/>
                  <a:pt x="29" y="28"/>
                </a:cubicBezTo>
                <a:cubicBezTo>
                  <a:pt x="28" y="28"/>
                  <a:pt x="28" y="28"/>
                  <a:pt x="28" y="28"/>
                </a:cubicBezTo>
                <a:cubicBezTo>
                  <a:pt x="28" y="29"/>
                  <a:pt x="28" y="29"/>
                  <a:pt x="28" y="29"/>
                </a:cubicBezTo>
                <a:cubicBezTo>
                  <a:pt x="29" y="29"/>
                  <a:pt x="29" y="29"/>
                  <a:pt x="29" y="29"/>
                </a:cubicBezTo>
                <a:cubicBezTo>
                  <a:pt x="29" y="29"/>
                  <a:pt x="29" y="29"/>
                  <a:pt x="29" y="29"/>
                </a:cubicBezTo>
                <a:cubicBezTo>
                  <a:pt x="28" y="29"/>
                  <a:pt x="28" y="29"/>
                  <a:pt x="28" y="29"/>
                </a:cubicBezTo>
                <a:cubicBezTo>
                  <a:pt x="28" y="30"/>
                  <a:pt x="28" y="30"/>
                  <a:pt x="28" y="30"/>
                </a:cubicBezTo>
                <a:close/>
                <a:moveTo>
                  <a:pt x="37" y="22"/>
                </a:moveTo>
                <a:cubicBezTo>
                  <a:pt x="37" y="23"/>
                  <a:pt x="37" y="23"/>
                  <a:pt x="37" y="23"/>
                </a:cubicBezTo>
                <a:cubicBezTo>
                  <a:pt x="37" y="24"/>
                  <a:pt x="37" y="24"/>
                  <a:pt x="37" y="24"/>
                </a:cubicBezTo>
                <a:cubicBezTo>
                  <a:pt x="39" y="25"/>
                  <a:pt x="39" y="25"/>
                  <a:pt x="39" y="25"/>
                </a:cubicBezTo>
                <a:cubicBezTo>
                  <a:pt x="39" y="24"/>
                  <a:pt x="39" y="24"/>
                  <a:pt x="39" y="24"/>
                </a:cubicBezTo>
                <a:cubicBezTo>
                  <a:pt x="38" y="22"/>
                  <a:pt x="38" y="22"/>
                  <a:pt x="38" y="22"/>
                </a:cubicBezTo>
                <a:cubicBezTo>
                  <a:pt x="37" y="22"/>
                  <a:pt x="37" y="22"/>
                  <a:pt x="37" y="22"/>
                </a:cubicBezTo>
                <a:close/>
                <a:moveTo>
                  <a:pt x="25" y="19"/>
                </a:moveTo>
                <a:cubicBezTo>
                  <a:pt x="24" y="20"/>
                  <a:pt x="24" y="20"/>
                  <a:pt x="24" y="20"/>
                </a:cubicBezTo>
                <a:cubicBezTo>
                  <a:pt x="25" y="20"/>
                  <a:pt x="25" y="20"/>
                  <a:pt x="25" y="20"/>
                </a:cubicBezTo>
                <a:cubicBezTo>
                  <a:pt x="25" y="19"/>
                  <a:pt x="25" y="19"/>
                  <a:pt x="25" y="19"/>
                </a:cubicBezTo>
                <a:close/>
                <a:moveTo>
                  <a:pt x="22" y="25"/>
                </a:moveTo>
                <a:cubicBezTo>
                  <a:pt x="21" y="25"/>
                  <a:pt x="21" y="25"/>
                  <a:pt x="21" y="25"/>
                </a:cubicBezTo>
                <a:cubicBezTo>
                  <a:pt x="20" y="24"/>
                  <a:pt x="20" y="24"/>
                  <a:pt x="20" y="24"/>
                </a:cubicBezTo>
                <a:cubicBezTo>
                  <a:pt x="21" y="24"/>
                  <a:pt x="21" y="24"/>
                  <a:pt x="21" y="24"/>
                </a:cubicBezTo>
                <a:cubicBezTo>
                  <a:pt x="21" y="23"/>
                  <a:pt x="21" y="23"/>
                  <a:pt x="21" y="23"/>
                </a:cubicBezTo>
                <a:cubicBezTo>
                  <a:pt x="19" y="23"/>
                  <a:pt x="19" y="23"/>
                  <a:pt x="19" y="23"/>
                </a:cubicBezTo>
                <a:cubicBezTo>
                  <a:pt x="18" y="23"/>
                  <a:pt x="18" y="23"/>
                  <a:pt x="18" y="23"/>
                </a:cubicBezTo>
                <a:cubicBezTo>
                  <a:pt x="18" y="22"/>
                  <a:pt x="18" y="22"/>
                  <a:pt x="18" y="22"/>
                </a:cubicBezTo>
                <a:cubicBezTo>
                  <a:pt x="18" y="21"/>
                  <a:pt x="18" y="21"/>
                  <a:pt x="18" y="21"/>
                </a:cubicBezTo>
                <a:cubicBezTo>
                  <a:pt x="17" y="20"/>
                  <a:pt x="17" y="20"/>
                  <a:pt x="17" y="20"/>
                </a:cubicBezTo>
                <a:cubicBezTo>
                  <a:pt x="17" y="19"/>
                  <a:pt x="17" y="19"/>
                  <a:pt x="17" y="19"/>
                </a:cubicBezTo>
                <a:cubicBezTo>
                  <a:pt x="18" y="19"/>
                  <a:pt x="18" y="19"/>
                  <a:pt x="18" y="19"/>
                </a:cubicBezTo>
                <a:cubicBezTo>
                  <a:pt x="18" y="18"/>
                  <a:pt x="18" y="18"/>
                  <a:pt x="18" y="18"/>
                </a:cubicBezTo>
                <a:cubicBezTo>
                  <a:pt x="19" y="17"/>
                  <a:pt x="19" y="17"/>
                  <a:pt x="19" y="17"/>
                </a:cubicBezTo>
                <a:cubicBezTo>
                  <a:pt x="19" y="18"/>
                  <a:pt x="19" y="18"/>
                  <a:pt x="19" y="18"/>
                </a:cubicBezTo>
                <a:cubicBezTo>
                  <a:pt x="19" y="19"/>
                  <a:pt x="19" y="19"/>
                  <a:pt x="19" y="19"/>
                </a:cubicBezTo>
                <a:cubicBezTo>
                  <a:pt x="21" y="19"/>
                  <a:pt x="21" y="19"/>
                  <a:pt x="21" y="19"/>
                </a:cubicBezTo>
                <a:cubicBezTo>
                  <a:pt x="21" y="19"/>
                  <a:pt x="21" y="19"/>
                  <a:pt x="21" y="19"/>
                </a:cubicBezTo>
                <a:cubicBezTo>
                  <a:pt x="22" y="19"/>
                  <a:pt x="22" y="19"/>
                  <a:pt x="22" y="19"/>
                </a:cubicBezTo>
                <a:cubicBezTo>
                  <a:pt x="22" y="19"/>
                  <a:pt x="22" y="19"/>
                  <a:pt x="22" y="19"/>
                </a:cubicBezTo>
                <a:cubicBezTo>
                  <a:pt x="21" y="18"/>
                  <a:pt x="21" y="18"/>
                  <a:pt x="21" y="18"/>
                </a:cubicBezTo>
                <a:cubicBezTo>
                  <a:pt x="20" y="17"/>
                  <a:pt x="20" y="17"/>
                  <a:pt x="20" y="17"/>
                </a:cubicBezTo>
                <a:cubicBezTo>
                  <a:pt x="21" y="16"/>
                  <a:pt x="21" y="16"/>
                  <a:pt x="21" y="16"/>
                </a:cubicBezTo>
                <a:cubicBezTo>
                  <a:pt x="22" y="16"/>
                  <a:pt x="22" y="16"/>
                  <a:pt x="22" y="16"/>
                </a:cubicBezTo>
                <a:cubicBezTo>
                  <a:pt x="24" y="16"/>
                  <a:pt x="24" y="16"/>
                  <a:pt x="24" y="16"/>
                </a:cubicBezTo>
                <a:cubicBezTo>
                  <a:pt x="24" y="17"/>
                  <a:pt x="24" y="17"/>
                  <a:pt x="24" y="17"/>
                </a:cubicBezTo>
                <a:cubicBezTo>
                  <a:pt x="24" y="18"/>
                  <a:pt x="24" y="18"/>
                  <a:pt x="24" y="18"/>
                </a:cubicBezTo>
                <a:cubicBezTo>
                  <a:pt x="24" y="20"/>
                  <a:pt x="24" y="20"/>
                  <a:pt x="24" y="20"/>
                </a:cubicBezTo>
                <a:cubicBezTo>
                  <a:pt x="23" y="20"/>
                  <a:pt x="23" y="20"/>
                  <a:pt x="23" y="20"/>
                </a:cubicBezTo>
                <a:cubicBezTo>
                  <a:pt x="23" y="21"/>
                  <a:pt x="23" y="21"/>
                  <a:pt x="23" y="21"/>
                </a:cubicBezTo>
                <a:cubicBezTo>
                  <a:pt x="24" y="22"/>
                  <a:pt x="24" y="22"/>
                  <a:pt x="24" y="22"/>
                </a:cubicBezTo>
                <a:cubicBezTo>
                  <a:pt x="24" y="22"/>
                  <a:pt x="24" y="22"/>
                  <a:pt x="24" y="22"/>
                </a:cubicBezTo>
                <a:cubicBezTo>
                  <a:pt x="23" y="23"/>
                  <a:pt x="23" y="23"/>
                  <a:pt x="23" y="23"/>
                </a:cubicBezTo>
                <a:cubicBezTo>
                  <a:pt x="22" y="23"/>
                  <a:pt x="22" y="23"/>
                  <a:pt x="22" y="23"/>
                </a:cubicBezTo>
                <a:cubicBezTo>
                  <a:pt x="22" y="24"/>
                  <a:pt x="22" y="24"/>
                  <a:pt x="22" y="24"/>
                </a:cubicBezTo>
                <a:cubicBezTo>
                  <a:pt x="22" y="25"/>
                  <a:pt x="22" y="25"/>
                  <a:pt x="22" y="25"/>
                </a:cubicBezTo>
                <a:close/>
                <a:moveTo>
                  <a:pt x="22" y="25"/>
                </a:moveTo>
                <a:cubicBezTo>
                  <a:pt x="23" y="26"/>
                  <a:pt x="23" y="26"/>
                  <a:pt x="23" y="26"/>
                </a:cubicBezTo>
                <a:cubicBezTo>
                  <a:pt x="23" y="25"/>
                  <a:pt x="23" y="25"/>
                  <a:pt x="23" y="25"/>
                </a:cubicBezTo>
                <a:cubicBezTo>
                  <a:pt x="24" y="25"/>
                  <a:pt x="24" y="25"/>
                  <a:pt x="24" y="25"/>
                </a:cubicBezTo>
                <a:cubicBezTo>
                  <a:pt x="24" y="24"/>
                  <a:pt x="24" y="24"/>
                  <a:pt x="24" y="24"/>
                </a:cubicBezTo>
                <a:cubicBezTo>
                  <a:pt x="23" y="25"/>
                  <a:pt x="23" y="25"/>
                  <a:pt x="23" y="25"/>
                </a:cubicBezTo>
                <a:cubicBezTo>
                  <a:pt x="22" y="25"/>
                  <a:pt x="22" y="25"/>
                  <a:pt x="22" y="25"/>
                </a:cubicBezTo>
                <a:close/>
                <a:moveTo>
                  <a:pt x="18" y="25"/>
                </a:moveTo>
                <a:cubicBezTo>
                  <a:pt x="19" y="27"/>
                  <a:pt x="19" y="27"/>
                  <a:pt x="19" y="27"/>
                </a:cubicBezTo>
                <a:cubicBezTo>
                  <a:pt x="20" y="27"/>
                  <a:pt x="20" y="27"/>
                  <a:pt x="20" y="27"/>
                </a:cubicBezTo>
                <a:cubicBezTo>
                  <a:pt x="20" y="27"/>
                  <a:pt x="20" y="27"/>
                  <a:pt x="20" y="27"/>
                </a:cubicBezTo>
                <a:cubicBezTo>
                  <a:pt x="21" y="26"/>
                  <a:pt x="21" y="26"/>
                  <a:pt x="21" y="26"/>
                </a:cubicBezTo>
                <a:cubicBezTo>
                  <a:pt x="22" y="26"/>
                  <a:pt x="22" y="26"/>
                  <a:pt x="22" y="26"/>
                </a:cubicBezTo>
                <a:cubicBezTo>
                  <a:pt x="22" y="25"/>
                  <a:pt x="22" y="25"/>
                  <a:pt x="22" y="25"/>
                </a:cubicBezTo>
                <a:cubicBezTo>
                  <a:pt x="22" y="26"/>
                  <a:pt x="22" y="26"/>
                  <a:pt x="22" y="26"/>
                </a:cubicBezTo>
                <a:cubicBezTo>
                  <a:pt x="22" y="27"/>
                  <a:pt x="22" y="27"/>
                  <a:pt x="22" y="27"/>
                </a:cubicBezTo>
                <a:cubicBezTo>
                  <a:pt x="22" y="28"/>
                  <a:pt x="22" y="28"/>
                  <a:pt x="22" y="28"/>
                </a:cubicBezTo>
                <a:cubicBezTo>
                  <a:pt x="21" y="28"/>
                  <a:pt x="21" y="28"/>
                  <a:pt x="21" y="28"/>
                </a:cubicBezTo>
                <a:cubicBezTo>
                  <a:pt x="21" y="27"/>
                  <a:pt x="21" y="27"/>
                  <a:pt x="21" y="27"/>
                </a:cubicBezTo>
                <a:cubicBezTo>
                  <a:pt x="20" y="28"/>
                  <a:pt x="20" y="28"/>
                  <a:pt x="20" y="28"/>
                </a:cubicBezTo>
                <a:cubicBezTo>
                  <a:pt x="19" y="28"/>
                  <a:pt x="19" y="28"/>
                  <a:pt x="19" y="28"/>
                </a:cubicBezTo>
                <a:cubicBezTo>
                  <a:pt x="17" y="28"/>
                  <a:pt x="17" y="28"/>
                  <a:pt x="17" y="28"/>
                </a:cubicBezTo>
                <a:cubicBezTo>
                  <a:pt x="16" y="27"/>
                  <a:pt x="16" y="27"/>
                  <a:pt x="16" y="27"/>
                </a:cubicBezTo>
                <a:cubicBezTo>
                  <a:pt x="17" y="27"/>
                  <a:pt x="17" y="27"/>
                  <a:pt x="17" y="27"/>
                </a:cubicBezTo>
                <a:cubicBezTo>
                  <a:pt x="17" y="26"/>
                  <a:pt x="17" y="26"/>
                  <a:pt x="17" y="26"/>
                </a:cubicBezTo>
                <a:cubicBezTo>
                  <a:pt x="17" y="25"/>
                  <a:pt x="17" y="25"/>
                  <a:pt x="17" y="25"/>
                </a:cubicBezTo>
                <a:cubicBezTo>
                  <a:pt x="18" y="25"/>
                  <a:pt x="18" y="25"/>
                  <a:pt x="18" y="25"/>
                </a:cubicBezTo>
                <a:close/>
                <a:moveTo>
                  <a:pt x="13" y="19"/>
                </a:moveTo>
                <a:cubicBezTo>
                  <a:pt x="14" y="18"/>
                  <a:pt x="14" y="18"/>
                  <a:pt x="14" y="18"/>
                </a:cubicBezTo>
                <a:cubicBezTo>
                  <a:pt x="14" y="16"/>
                  <a:pt x="14" y="16"/>
                  <a:pt x="14" y="16"/>
                </a:cubicBezTo>
                <a:cubicBezTo>
                  <a:pt x="14" y="18"/>
                  <a:pt x="14" y="18"/>
                  <a:pt x="14" y="18"/>
                </a:cubicBezTo>
                <a:cubicBezTo>
                  <a:pt x="14" y="19"/>
                  <a:pt x="14" y="19"/>
                  <a:pt x="14" y="19"/>
                </a:cubicBezTo>
                <a:cubicBezTo>
                  <a:pt x="13" y="19"/>
                  <a:pt x="13" y="19"/>
                  <a:pt x="13" y="19"/>
                </a:cubicBezTo>
                <a:close/>
                <a:moveTo>
                  <a:pt x="13" y="26"/>
                </a:moveTo>
                <a:cubicBezTo>
                  <a:pt x="14" y="27"/>
                  <a:pt x="14" y="27"/>
                  <a:pt x="14" y="27"/>
                </a:cubicBezTo>
                <a:cubicBezTo>
                  <a:pt x="14" y="26"/>
                  <a:pt x="14" y="26"/>
                  <a:pt x="14" y="26"/>
                </a:cubicBezTo>
                <a:cubicBezTo>
                  <a:pt x="13" y="26"/>
                  <a:pt x="13" y="26"/>
                  <a:pt x="13" y="26"/>
                </a:cubicBezTo>
                <a:close/>
                <a:moveTo>
                  <a:pt x="15" y="24"/>
                </a:moveTo>
                <a:cubicBezTo>
                  <a:pt x="15" y="25"/>
                  <a:pt x="15" y="25"/>
                  <a:pt x="15" y="25"/>
                </a:cubicBezTo>
                <a:cubicBezTo>
                  <a:pt x="15" y="26"/>
                  <a:pt x="15" y="26"/>
                  <a:pt x="15" y="26"/>
                </a:cubicBezTo>
                <a:cubicBezTo>
                  <a:pt x="15" y="27"/>
                  <a:pt x="15" y="27"/>
                  <a:pt x="15" y="27"/>
                </a:cubicBezTo>
                <a:cubicBezTo>
                  <a:pt x="16" y="26"/>
                  <a:pt x="16" y="26"/>
                  <a:pt x="16" y="26"/>
                </a:cubicBezTo>
                <a:cubicBezTo>
                  <a:pt x="16" y="25"/>
                  <a:pt x="16" y="25"/>
                  <a:pt x="16" y="25"/>
                </a:cubicBezTo>
                <a:cubicBezTo>
                  <a:pt x="16" y="25"/>
                  <a:pt x="15" y="24"/>
                  <a:pt x="15" y="24"/>
                </a:cubicBezTo>
                <a:close/>
                <a:moveTo>
                  <a:pt x="10" y="20"/>
                </a:moveTo>
                <a:cubicBezTo>
                  <a:pt x="12" y="20"/>
                  <a:pt x="12" y="20"/>
                  <a:pt x="12" y="20"/>
                </a:cubicBezTo>
                <a:cubicBezTo>
                  <a:pt x="13" y="21"/>
                  <a:pt x="13" y="21"/>
                  <a:pt x="13" y="21"/>
                </a:cubicBezTo>
                <a:cubicBezTo>
                  <a:pt x="14" y="21"/>
                  <a:pt x="14" y="21"/>
                  <a:pt x="14" y="21"/>
                </a:cubicBezTo>
                <a:cubicBezTo>
                  <a:pt x="15" y="22"/>
                  <a:pt x="15" y="22"/>
                  <a:pt x="15" y="22"/>
                </a:cubicBezTo>
                <a:cubicBezTo>
                  <a:pt x="15" y="23"/>
                  <a:pt x="15" y="23"/>
                  <a:pt x="15" y="23"/>
                </a:cubicBezTo>
                <a:cubicBezTo>
                  <a:pt x="14" y="25"/>
                  <a:pt x="14" y="25"/>
                  <a:pt x="14" y="25"/>
                </a:cubicBezTo>
                <a:cubicBezTo>
                  <a:pt x="13" y="25"/>
                  <a:pt x="13" y="25"/>
                  <a:pt x="13" y="25"/>
                </a:cubicBezTo>
                <a:cubicBezTo>
                  <a:pt x="12" y="25"/>
                  <a:pt x="12" y="25"/>
                  <a:pt x="12" y="25"/>
                </a:cubicBezTo>
                <a:cubicBezTo>
                  <a:pt x="11" y="25"/>
                  <a:pt x="11" y="25"/>
                  <a:pt x="11" y="25"/>
                </a:cubicBezTo>
                <a:cubicBezTo>
                  <a:pt x="10" y="23"/>
                  <a:pt x="10" y="23"/>
                  <a:pt x="10" y="23"/>
                </a:cubicBezTo>
                <a:cubicBezTo>
                  <a:pt x="9" y="22"/>
                  <a:pt x="9" y="22"/>
                  <a:pt x="9" y="22"/>
                </a:cubicBezTo>
                <a:cubicBezTo>
                  <a:pt x="10" y="20"/>
                  <a:pt x="10" y="20"/>
                  <a:pt x="10" y="20"/>
                </a:cubicBezTo>
                <a:close/>
                <a:moveTo>
                  <a:pt x="15" y="5"/>
                </a:moveTo>
                <a:cubicBezTo>
                  <a:pt x="15" y="4"/>
                  <a:pt x="15" y="4"/>
                  <a:pt x="15" y="4"/>
                </a:cubicBezTo>
                <a:cubicBezTo>
                  <a:pt x="17" y="4"/>
                  <a:pt x="17" y="4"/>
                  <a:pt x="17" y="4"/>
                </a:cubicBezTo>
                <a:cubicBezTo>
                  <a:pt x="16" y="5"/>
                  <a:pt x="16" y="5"/>
                  <a:pt x="16" y="5"/>
                </a:cubicBezTo>
                <a:cubicBezTo>
                  <a:pt x="15" y="5"/>
                  <a:pt x="15" y="5"/>
                  <a:pt x="15" y="5"/>
                </a:cubicBezTo>
                <a:close/>
                <a:moveTo>
                  <a:pt x="4" y="11"/>
                </a:moveTo>
                <a:cubicBezTo>
                  <a:pt x="3" y="9"/>
                  <a:pt x="3" y="9"/>
                  <a:pt x="3" y="9"/>
                </a:cubicBezTo>
                <a:cubicBezTo>
                  <a:pt x="4" y="8"/>
                  <a:pt x="4" y="8"/>
                  <a:pt x="4" y="8"/>
                </a:cubicBezTo>
                <a:cubicBezTo>
                  <a:pt x="5" y="8"/>
                  <a:pt x="5" y="8"/>
                  <a:pt x="5" y="8"/>
                </a:cubicBezTo>
                <a:cubicBezTo>
                  <a:pt x="5" y="9"/>
                  <a:pt x="5" y="9"/>
                  <a:pt x="5" y="9"/>
                </a:cubicBezTo>
                <a:cubicBezTo>
                  <a:pt x="4" y="10"/>
                  <a:pt x="4" y="10"/>
                  <a:pt x="4" y="10"/>
                </a:cubicBezTo>
                <a:cubicBezTo>
                  <a:pt x="4" y="11"/>
                  <a:pt x="4" y="11"/>
                  <a:pt x="4" y="11"/>
                </a:cubicBezTo>
                <a:close/>
                <a:moveTo>
                  <a:pt x="3" y="11"/>
                </a:moveTo>
                <a:cubicBezTo>
                  <a:pt x="3" y="10"/>
                  <a:pt x="3" y="10"/>
                  <a:pt x="3" y="10"/>
                </a:cubicBezTo>
                <a:cubicBezTo>
                  <a:pt x="3" y="9"/>
                  <a:pt x="3" y="9"/>
                  <a:pt x="3" y="9"/>
                </a:cubicBezTo>
                <a:cubicBezTo>
                  <a:pt x="5" y="7"/>
                  <a:pt x="5" y="7"/>
                  <a:pt x="5" y="7"/>
                </a:cubicBezTo>
                <a:cubicBezTo>
                  <a:pt x="5" y="8"/>
                  <a:pt x="5" y="8"/>
                  <a:pt x="5" y="8"/>
                </a:cubicBezTo>
                <a:cubicBezTo>
                  <a:pt x="7" y="7"/>
                  <a:pt x="7" y="7"/>
                  <a:pt x="7" y="7"/>
                </a:cubicBezTo>
                <a:cubicBezTo>
                  <a:pt x="8" y="8"/>
                  <a:pt x="8" y="8"/>
                  <a:pt x="8" y="8"/>
                </a:cubicBezTo>
                <a:cubicBezTo>
                  <a:pt x="9" y="7"/>
                  <a:pt x="9" y="7"/>
                  <a:pt x="9" y="7"/>
                </a:cubicBezTo>
                <a:cubicBezTo>
                  <a:pt x="10" y="7"/>
                  <a:pt x="10" y="7"/>
                  <a:pt x="10" y="7"/>
                </a:cubicBezTo>
                <a:cubicBezTo>
                  <a:pt x="11" y="8"/>
                  <a:pt x="11" y="8"/>
                  <a:pt x="11" y="8"/>
                </a:cubicBezTo>
                <a:cubicBezTo>
                  <a:pt x="12" y="8"/>
                  <a:pt x="12" y="8"/>
                  <a:pt x="12" y="8"/>
                </a:cubicBezTo>
                <a:cubicBezTo>
                  <a:pt x="13" y="5"/>
                  <a:pt x="13" y="5"/>
                  <a:pt x="13" y="5"/>
                </a:cubicBezTo>
                <a:cubicBezTo>
                  <a:pt x="13" y="4"/>
                  <a:pt x="13" y="4"/>
                  <a:pt x="13" y="4"/>
                </a:cubicBezTo>
                <a:cubicBezTo>
                  <a:pt x="13" y="4"/>
                  <a:pt x="13" y="4"/>
                  <a:pt x="13" y="4"/>
                </a:cubicBezTo>
                <a:cubicBezTo>
                  <a:pt x="13" y="2"/>
                  <a:pt x="13" y="2"/>
                  <a:pt x="13" y="2"/>
                </a:cubicBezTo>
                <a:cubicBezTo>
                  <a:pt x="14" y="1"/>
                  <a:pt x="14" y="1"/>
                  <a:pt x="14" y="1"/>
                </a:cubicBezTo>
                <a:cubicBezTo>
                  <a:pt x="13" y="0"/>
                  <a:pt x="13" y="0"/>
                  <a:pt x="13" y="0"/>
                </a:cubicBezTo>
                <a:cubicBezTo>
                  <a:pt x="12" y="2"/>
                  <a:pt x="12" y="2"/>
                  <a:pt x="12" y="2"/>
                </a:cubicBezTo>
                <a:cubicBezTo>
                  <a:pt x="10" y="3"/>
                  <a:pt x="10" y="3"/>
                  <a:pt x="10" y="3"/>
                </a:cubicBezTo>
                <a:cubicBezTo>
                  <a:pt x="9" y="3"/>
                  <a:pt x="9" y="3"/>
                  <a:pt x="9" y="3"/>
                </a:cubicBezTo>
                <a:cubicBezTo>
                  <a:pt x="8" y="4"/>
                  <a:pt x="8" y="4"/>
                  <a:pt x="8" y="4"/>
                </a:cubicBezTo>
                <a:cubicBezTo>
                  <a:pt x="8" y="5"/>
                  <a:pt x="8" y="5"/>
                  <a:pt x="8" y="5"/>
                </a:cubicBezTo>
                <a:cubicBezTo>
                  <a:pt x="6" y="6"/>
                  <a:pt x="6" y="6"/>
                  <a:pt x="6" y="6"/>
                </a:cubicBezTo>
                <a:cubicBezTo>
                  <a:pt x="5" y="6"/>
                  <a:pt x="5" y="6"/>
                  <a:pt x="5" y="6"/>
                </a:cubicBezTo>
                <a:cubicBezTo>
                  <a:pt x="3" y="7"/>
                  <a:pt x="3" y="7"/>
                  <a:pt x="3" y="7"/>
                </a:cubicBezTo>
                <a:cubicBezTo>
                  <a:pt x="3" y="7"/>
                  <a:pt x="3" y="7"/>
                  <a:pt x="3" y="7"/>
                </a:cubicBezTo>
                <a:cubicBezTo>
                  <a:pt x="2" y="7"/>
                  <a:pt x="2" y="7"/>
                  <a:pt x="2" y="7"/>
                </a:cubicBezTo>
                <a:cubicBezTo>
                  <a:pt x="2" y="9"/>
                  <a:pt x="2" y="9"/>
                  <a:pt x="2" y="9"/>
                </a:cubicBezTo>
                <a:cubicBezTo>
                  <a:pt x="1" y="10"/>
                  <a:pt x="1" y="10"/>
                  <a:pt x="1" y="10"/>
                </a:cubicBezTo>
                <a:cubicBezTo>
                  <a:pt x="1" y="10"/>
                  <a:pt x="1" y="10"/>
                  <a:pt x="1" y="10"/>
                </a:cubicBezTo>
                <a:cubicBezTo>
                  <a:pt x="2" y="10"/>
                  <a:pt x="2" y="10"/>
                  <a:pt x="2" y="10"/>
                </a:cubicBezTo>
                <a:cubicBezTo>
                  <a:pt x="3" y="11"/>
                  <a:pt x="3" y="11"/>
                  <a:pt x="3" y="11"/>
                </a:cubicBezTo>
                <a:close/>
                <a:moveTo>
                  <a:pt x="9" y="26"/>
                </a:moveTo>
                <a:cubicBezTo>
                  <a:pt x="8" y="26"/>
                  <a:pt x="8" y="26"/>
                  <a:pt x="8" y="26"/>
                </a:cubicBezTo>
                <a:cubicBezTo>
                  <a:pt x="9" y="25"/>
                  <a:pt x="9" y="25"/>
                  <a:pt x="9" y="25"/>
                </a:cubicBezTo>
                <a:cubicBezTo>
                  <a:pt x="8" y="24"/>
                  <a:pt x="8" y="24"/>
                  <a:pt x="8" y="24"/>
                </a:cubicBezTo>
                <a:cubicBezTo>
                  <a:pt x="7" y="24"/>
                  <a:pt x="7" y="24"/>
                  <a:pt x="7" y="24"/>
                </a:cubicBezTo>
                <a:cubicBezTo>
                  <a:pt x="8" y="24"/>
                  <a:pt x="8" y="24"/>
                  <a:pt x="8" y="24"/>
                </a:cubicBezTo>
                <a:cubicBezTo>
                  <a:pt x="8" y="23"/>
                  <a:pt x="8" y="23"/>
                  <a:pt x="8" y="23"/>
                </a:cubicBezTo>
                <a:cubicBezTo>
                  <a:pt x="8" y="22"/>
                  <a:pt x="8" y="22"/>
                  <a:pt x="8" y="22"/>
                </a:cubicBezTo>
                <a:cubicBezTo>
                  <a:pt x="8" y="22"/>
                  <a:pt x="8" y="22"/>
                  <a:pt x="8" y="22"/>
                </a:cubicBezTo>
                <a:cubicBezTo>
                  <a:pt x="8" y="21"/>
                  <a:pt x="8" y="21"/>
                  <a:pt x="8" y="21"/>
                </a:cubicBezTo>
                <a:cubicBezTo>
                  <a:pt x="10" y="20"/>
                  <a:pt x="10" y="20"/>
                  <a:pt x="10" y="20"/>
                </a:cubicBezTo>
                <a:cubicBezTo>
                  <a:pt x="10" y="19"/>
                  <a:pt x="10" y="19"/>
                  <a:pt x="10" y="19"/>
                </a:cubicBezTo>
                <a:cubicBezTo>
                  <a:pt x="11" y="18"/>
                  <a:pt x="11" y="18"/>
                  <a:pt x="11" y="18"/>
                </a:cubicBezTo>
                <a:cubicBezTo>
                  <a:pt x="11" y="18"/>
                  <a:pt x="11" y="18"/>
                  <a:pt x="11" y="18"/>
                </a:cubicBezTo>
                <a:cubicBezTo>
                  <a:pt x="12" y="18"/>
                  <a:pt x="12" y="18"/>
                  <a:pt x="12" y="18"/>
                </a:cubicBezTo>
                <a:cubicBezTo>
                  <a:pt x="12" y="16"/>
                  <a:pt x="12" y="16"/>
                  <a:pt x="12" y="16"/>
                </a:cubicBezTo>
                <a:cubicBezTo>
                  <a:pt x="12" y="15"/>
                  <a:pt x="12" y="15"/>
                  <a:pt x="12" y="15"/>
                </a:cubicBezTo>
                <a:cubicBezTo>
                  <a:pt x="13" y="14"/>
                  <a:pt x="13" y="14"/>
                  <a:pt x="13" y="14"/>
                </a:cubicBezTo>
                <a:cubicBezTo>
                  <a:pt x="14" y="14"/>
                  <a:pt x="14" y="14"/>
                  <a:pt x="14" y="14"/>
                </a:cubicBezTo>
                <a:cubicBezTo>
                  <a:pt x="14" y="15"/>
                  <a:pt x="14" y="15"/>
                  <a:pt x="14" y="15"/>
                </a:cubicBezTo>
                <a:cubicBezTo>
                  <a:pt x="15" y="15"/>
                  <a:pt x="15" y="15"/>
                  <a:pt x="15" y="15"/>
                </a:cubicBezTo>
                <a:cubicBezTo>
                  <a:pt x="15" y="15"/>
                  <a:pt x="15" y="15"/>
                  <a:pt x="15" y="15"/>
                </a:cubicBezTo>
                <a:cubicBezTo>
                  <a:pt x="16" y="14"/>
                  <a:pt x="16" y="14"/>
                  <a:pt x="16" y="14"/>
                </a:cubicBezTo>
                <a:cubicBezTo>
                  <a:pt x="16" y="13"/>
                  <a:pt x="16" y="13"/>
                  <a:pt x="16" y="13"/>
                </a:cubicBezTo>
                <a:cubicBezTo>
                  <a:pt x="15" y="12"/>
                  <a:pt x="15" y="12"/>
                  <a:pt x="15" y="12"/>
                </a:cubicBezTo>
                <a:cubicBezTo>
                  <a:pt x="14" y="13"/>
                  <a:pt x="14" y="13"/>
                  <a:pt x="14" y="13"/>
                </a:cubicBezTo>
                <a:cubicBezTo>
                  <a:pt x="13" y="13"/>
                  <a:pt x="13" y="13"/>
                  <a:pt x="13" y="13"/>
                </a:cubicBezTo>
                <a:cubicBezTo>
                  <a:pt x="12" y="12"/>
                  <a:pt x="12" y="12"/>
                  <a:pt x="12" y="12"/>
                </a:cubicBezTo>
                <a:cubicBezTo>
                  <a:pt x="12" y="11"/>
                  <a:pt x="12" y="11"/>
                  <a:pt x="12" y="11"/>
                </a:cubicBezTo>
                <a:cubicBezTo>
                  <a:pt x="11" y="11"/>
                  <a:pt x="11" y="11"/>
                  <a:pt x="11" y="11"/>
                </a:cubicBezTo>
                <a:cubicBezTo>
                  <a:pt x="11" y="10"/>
                  <a:pt x="11" y="10"/>
                  <a:pt x="11" y="10"/>
                </a:cubicBezTo>
                <a:cubicBezTo>
                  <a:pt x="11" y="9"/>
                  <a:pt x="11" y="9"/>
                  <a:pt x="11" y="9"/>
                </a:cubicBezTo>
                <a:cubicBezTo>
                  <a:pt x="10" y="8"/>
                  <a:pt x="10" y="8"/>
                  <a:pt x="10" y="8"/>
                </a:cubicBezTo>
                <a:cubicBezTo>
                  <a:pt x="8" y="8"/>
                  <a:pt x="8" y="8"/>
                  <a:pt x="8" y="8"/>
                </a:cubicBezTo>
                <a:cubicBezTo>
                  <a:pt x="7" y="8"/>
                  <a:pt x="7" y="8"/>
                  <a:pt x="7" y="8"/>
                </a:cubicBezTo>
                <a:cubicBezTo>
                  <a:pt x="6" y="8"/>
                  <a:pt x="6" y="8"/>
                  <a:pt x="6" y="8"/>
                </a:cubicBezTo>
                <a:cubicBezTo>
                  <a:pt x="6" y="9"/>
                  <a:pt x="6" y="9"/>
                  <a:pt x="6" y="9"/>
                </a:cubicBezTo>
                <a:cubicBezTo>
                  <a:pt x="7" y="10"/>
                  <a:pt x="7" y="10"/>
                  <a:pt x="7" y="10"/>
                </a:cubicBezTo>
                <a:cubicBezTo>
                  <a:pt x="7" y="11"/>
                  <a:pt x="7" y="11"/>
                  <a:pt x="7" y="11"/>
                </a:cubicBezTo>
                <a:cubicBezTo>
                  <a:pt x="8" y="12"/>
                  <a:pt x="8" y="12"/>
                  <a:pt x="8" y="12"/>
                </a:cubicBezTo>
                <a:cubicBezTo>
                  <a:pt x="8" y="12"/>
                  <a:pt x="8" y="12"/>
                  <a:pt x="8" y="12"/>
                </a:cubicBezTo>
                <a:cubicBezTo>
                  <a:pt x="7" y="12"/>
                  <a:pt x="7" y="12"/>
                  <a:pt x="7" y="12"/>
                </a:cubicBezTo>
                <a:cubicBezTo>
                  <a:pt x="6" y="12"/>
                  <a:pt x="6" y="12"/>
                  <a:pt x="6" y="12"/>
                </a:cubicBezTo>
                <a:cubicBezTo>
                  <a:pt x="5" y="12"/>
                  <a:pt x="5" y="12"/>
                  <a:pt x="5" y="12"/>
                </a:cubicBezTo>
                <a:cubicBezTo>
                  <a:pt x="6" y="11"/>
                  <a:pt x="6" y="11"/>
                  <a:pt x="6" y="11"/>
                </a:cubicBezTo>
                <a:cubicBezTo>
                  <a:pt x="5" y="10"/>
                  <a:pt x="5" y="10"/>
                  <a:pt x="5" y="10"/>
                </a:cubicBezTo>
                <a:cubicBezTo>
                  <a:pt x="5" y="10"/>
                  <a:pt x="5" y="10"/>
                  <a:pt x="5" y="10"/>
                </a:cubicBezTo>
                <a:cubicBezTo>
                  <a:pt x="4" y="11"/>
                  <a:pt x="4" y="11"/>
                  <a:pt x="4" y="11"/>
                </a:cubicBezTo>
                <a:cubicBezTo>
                  <a:pt x="5" y="12"/>
                  <a:pt x="5" y="12"/>
                  <a:pt x="5" y="12"/>
                </a:cubicBezTo>
                <a:cubicBezTo>
                  <a:pt x="4" y="13"/>
                  <a:pt x="4" y="13"/>
                  <a:pt x="4" y="13"/>
                </a:cubicBezTo>
                <a:cubicBezTo>
                  <a:pt x="3" y="12"/>
                  <a:pt x="3" y="12"/>
                  <a:pt x="3" y="12"/>
                </a:cubicBezTo>
                <a:cubicBezTo>
                  <a:pt x="2" y="12"/>
                  <a:pt x="2" y="12"/>
                  <a:pt x="2" y="12"/>
                </a:cubicBezTo>
                <a:cubicBezTo>
                  <a:pt x="1" y="11"/>
                  <a:pt x="1" y="11"/>
                  <a:pt x="1" y="11"/>
                </a:cubicBezTo>
                <a:cubicBezTo>
                  <a:pt x="0" y="12"/>
                  <a:pt x="0" y="12"/>
                  <a:pt x="0" y="12"/>
                </a:cubicBezTo>
                <a:cubicBezTo>
                  <a:pt x="2" y="13"/>
                  <a:pt x="2" y="13"/>
                  <a:pt x="2" y="13"/>
                </a:cubicBezTo>
                <a:cubicBezTo>
                  <a:pt x="2" y="15"/>
                  <a:pt x="2" y="15"/>
                  <a:pt x="2" y="15"/>
                </a:cubicBezTo>
                <a:cubicBezTo>
                  <a:pt x="1" y="14"/>
                  <a:pt x="1" y="14"/>
                  <a:pt x="1" y="14"/>
                </a:cubicBezTo>
                <a:cubicBezTo>
                  <a:pt x="0" y="14"/>
                  <a:pt x="0" y="14"/>
                  <a:pt x="0" y="14"/>
                </a:cubicBezTo>
                <a:cubicBezTo>
                  <a:pt x="0" y="16"/>
                  <a:pt x="0" y="16"/>
                  <a:pt x="0" y="16"/>
                </a:cubicBezTo>
                <a:cubicBezTo>
                  <a:pt x="1" y="16"/>
                  <a:pt x="1" y="16"/>
                  <a:pt x="1" y="16"/>
                </a:cubicBezTo>
                <a:cubicBezTo>
                  <a:pt x="1" y="18"/>
                  <a:pt x="1" y="18"/>
                  <a:pt x="1" y="18"/>
                </a:cubicBezTo>
                <a:cubicBezTo>
                  <a:pt x="2" y="18"/>
                  <a:pt x="2" y="18"/>
                  <a:pt x="2" y="18"/>
                </a:cubicBezTo>
                <a:cubicBezTo>
                  <a:pt x="0" y="19"/>
                  <a:pt x="0" y="19"/>
                  <a:pt x="0" y="19"/>
                </a:cubicBezTo>
                <a:cubicBezTo>
                  <a:pt x="0" y="21"/>
                  <a:pt x="0" y="21"/>
                  <a:pt x="0" y="21"/>
                </a:cubicBezTo>
                <a:cubicBezTo>
                  <a:pt x="0" y="21"/>
                  <a:pt x="0" y="21"/>
                  <a:pt x="0" y="21"/>
                </a:cubicBezTo>
                <a:cubicBezTo>
                  <a:pt x="1" y="21"/>
                  <a:pt x="1" y="21"/>
                  <a:pt x="1" y="21"/>
                </a:cubicBezTo>
                <a:cubicBezTo>
                  <a:pt x="3" y="22"/>
                  <a:pt x="3" y="22"/>
                  <a:pt x="3" y="22"/>
                </a:cubicBezTo>
                <a:cubicBezTo>
                  <a:pt x="3" y="24"/>
                  <a:pt x="3" y="24"/>
                  <a:pt x="3" y="24"/>
                </a:cubicBezTo>
                <a:cubicBezTo>
                  <a:pt x="3" y="24"/>
                  <a:pt x="3" y="24"/>
                  <a:pt x="3" y="24"/>
                </a:cubicBezTo>
                <a:cubicBezTo>
                  <a:pt x="3" y="25"/>
                  <a:pt x="3" y="25"/>
                  <a:pt x="3" y="25"/>
                </a:cubicBezTo>
                <a:cubicBezTo>
                  <a:pt x="4" y="25"/>
                  <a:pt x="4" y="25"/>
                  <a:pt x="4" y="25"/>
                </a:cubicBezTo>
                <a:cubicBezTo>
                  <a:pt x="7" y="26"/>
                  <a:pt x="7" y="26"/>
                  <a:pt x="7" y="26"/>
                </a:cubicBezTo>
                <a:cubicBezTo>
                  <a:pt x="7" y="26"/>
                  <a:pt x="7" y="26"/>
                  <a:pt x="7" y="26"/>
                </a:cubicBezTo>
                <a:lnTo>
                  <a:pt x="9" y="26"/>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5" name="Freeform 43">
            <a:extLst>
              <a:ext uri="{FF2B5EF4-FFF2-40B4-BE49-F238E27FC236}">
                <a16:creationId xmlns:a16="http://schemas.microsoft.com/office/drawing/2014/main" id="{0E7476C6-83FD-51F6-1CFF-62791C16F857}"/>
              </a:ext>
            </a:extLst>
          </p:cNvPr>
          <p:cNvSpPr>
            <a:spLocks noEditPoints="1"/>
          </p:cNvSpPr>
          <p:nvPr userDrawn="1"/>
        </p:nvSpPr>
        <p:spPr bwMode="auto">
          <a:xfrm>
            <a:off x="13388104" y="3815635"/>
            <a:ext cx="1260396" cy="1457326"/>
          </a:xfrm>
          <a:custGeom>
            <a:avLst/>
            <a:gdLst>
              <a:gd name="T0" fmla="*/ 122 w 127"/>
              <a:gd name="T1" fmla="*/ 18 h 147"/>
              <a:gd name="T2" fmla="*/ 126 w 127"/>
              <a:gd name="T3" fmla="*/ 10 h 147"/>
              <a:gd name="T4" fmla="*/ 117 w 127"/>
              <a:gd name="T5" fmla="*/ 6 h 147"/>
              <a:gd name="T6" fmla="*/ 111 w 127"/>
              <a:gd name="T7" fmla="*/ 7 h 147"/>
              <a:gd name="T8" fmla="*/ 108 w 127"/>
              <a:gd name="T9" fmla="*/ 0 h 147"/>
              <a:gd name="T10" fmla="*/ 104 w 127"/>
              <a:gd name="T11" fmla="*/ 9 h 147"/>
              <a:gd name="T12" fmla="*/ 95 w 127"/>
              <a:gd name="T13" fmla="*/ 13 h 147"/>
              <a:gd name="T14" fmla="*/ 91 w 127"/>
              <a:gd name="T15" fmla="*/ 5 h 147"/>
              <a:gd name="T16" fmla="*/ 88 w 127"/>
              <a:gd name="T17" fmla="*/ 15 h 147"/>
              <a:gd name="T18" fmla="*/ 81 w 127"/>
              <a:gd name="T19" fmla="*/ 17 h 147"/>
              <a:gd name="T20" fmla="*/ 72 w 127"/>
              <a:gd name="T21" fmla="*/ 25 h 147"/>
              <a:gd name="T22" fmla="*/ 69 w 127"/>
              <a:gd name="T23" fmla="*/ 27 h 147"/>
              <a:gd name="T24" fmla="*/ 62 w 127"/>
              <a:gd name="T25" fmla="*/ 27 h 147"/>
              <a:gd name="T26" fmla="*/ 56 w 127"/>
              <a:gd name="T27" fmla="*/ 36 h 147"/>
              <a:gd name="T28" fmla="*/ 55 w 127"/>
              <a:gd name="T29" fmla="*/ 40 h 147"/>
              <a:gd name="T30" fmla="*/ 49 w 127"/>
              <a:gd name="T31" fmla="*/ 45 h 147"/>
              <a:gd name="T32" fmla="*/ 50 w 127"/>
              <a:gd name="T33" fmla="*/ 50 h 147"/>
              <a:gd name="T34" fmla="*/ 44 w 127"/>
              <a:gd name="T35" fmla="*/ 57 h 147"/>
              <a:gd name="T36" fmla="*/ 43 w 127"/>
              <a:gd name="T37" fmla="*/ 62 h 147"/>
              <a:gd name="T38" fmla="*/ 40 w 127"/>
              <a:gd name="T39" fmla="*/ 71 h 147"/>
              <a:gd name="T40" fmla="*/ 33 w 127"/>
              <a:gd name="T41" fmla="*/ 79 h 147"/>
              <a:gd name="T42" fmla="*/ 25 w 127"/>
              <a:gd name="T43" fmla="*/ 89 h 147"/>
              <a:gd name="T44" fmla="*/ 34 w 127"/>
              <a:gd name="T45" fmla="*/ 88 h 147"/>
              <a:gd name="T46" fmla="*/ 23 w 127"/>
              <a:gd name="T47" fmla="*/ 92 h 147"/>
              <a:gd name="T48" fmla="*/ 20 w 127"/>
              <a:gd name="T49" fmla="*/ 98 h 147"/>
              <a:gd name="T50" fmla="*/ 14 w 127"/>
              <a:gd name="T51" fmla="*/ 99 h 147"/>
              <a:gd name="T52" fmla="*/ 12 w 127"/>
              <a:gd name="T53" fmla="*/ 104 h 147"/>
              <a:gd name="T54" fmla="*/ 2 w 127"/>
              <a:gd name="T55" fmla="*/ 106 h 147"/>
              <a:gd name="T56" fmla="*/ 3 w 127"/>
              <a:gd name="T57" fmla="*/ 112 h 147"/>
              <a:gd name="T58" fmla="*/ 9 w 127"/>
              <a:gd name="T59" fmla="*/ 114 h 147"/>
              <a:gd name="T60" fmla="*/ 12 w 127"/>
              <a:gd name="T61" fmla="*/ 117 h 147"/>
              <a:gd name="T62" fmla="*/ 3 w 127"/>
              <a:gd name="T63" fmla="*/ 120 h 147"/>
              <a:gd name="T64" fmla="*/ 11 w 127"/>
              <a:gd name="T65" fmla="*/ 122 h 147"/>
              <a:gd name="T66" fmla="*/ 5 w 127"/>
              <a:gd name="T67" fmla="*/ 131 h 147"/>
              <a:gd name="T68" fmla="*/ 9 w 127"/>
              <a:gd name="T69" fmla="*/ 138 h 147"/>
              <a:gd name="T70" fmla="*/ 15 w 127"/>
              <a:gd name="T71" fmla="*/ 147 h 147"/>
              <a:gd name="T72" fmla="*/ 26 w 127"/>
              <a:gd name="T73" fmla="*/ 136 h 147"/>
              <a:gd name="T74" fmla="*/ 31 w 127"/>
              <a:gd name="T75" fmla="*/ 132 h 147"/>
              <a:gd name="T76" fmla="*/ 39 w 127"/>
              <a:gd name="T77" fmla="*/ 137 h 147"/>
              <a:gd name="T78" fmla="*/ 40 w 127"/>
              <a:gd name="T79" fmla="*/ 103 h 147"/>
              <a:gd name="T80" fmla="*/ 48 w 127"/>
              <a:gd name="T81" fmla="*/ 62 h 147"/>
              <a:gd name="T82" fmla="*/ 64 w 127"/>
              <a:gd name="T83" fmla="*/ 38 h 147"/>
              <a:gd name="T84" fmla="*/ 75 w 127"/>
              <a:gd name="T85" fmla="*/ 28 h 147"/>
              <a:gd name="T86" fmla="*/ 97 w 127"/>
              <a:gd name="T87" fmla="*/ 31 h 147"/>
              <a:gd name="T88" fmla="*/ 112 w 127"/>
              <a:gd name="T89" fmla="*/ 15 h 147"/>
              <a:gd name="T90" fmla="*/ 4 w 127"/>
              <a:gd name="T91" fmla="*/ 127 h 147"/>
              <a:gd name="T92" fmla="*/ 2 w 127"/>
              <a:gd name="T93" fmla="*/ 124 h 147"/>
              <a:gd name="T94" fmla="*/ 5 w 127"/>
              <a:gd name="T95" fmla="*/ 104 h 147"/>
              <a:gd name="T96" fmla="*/ 22 w 127"/>
              <a:gd name="T97" fmla="*/ 90 h 147"/>
              <a:gd name="T98" fmla="*/ 37 w 127"/>
              <a:gd name="T99" fmla="*/ 68 h 147"/>
              <a:gd name="T100" fmla="*/ 38 w 127"/>
              <a:gd name="T101" fmla="*/ 46 h 147"/>
              <a:gd name="T102" fmla="*/ 47 w 127"/>
              <a:gd name="T103" fmla="*/ 35 h 147"/>
              <a:gd name="T104" fmla="*/ 51 w 127"/>
              <a:gd name="T105" fmla="*/ 30 h 147"/>
              <a:gd name="T106" fmla="*/ 50 w 127"/>
              <a:gd name="T107" fmla="*/ 34 h 147"/>
              <a:gd name="T108" fmla="*/ 62 w 127"/>
              <a:gd name="T109" fmla="*/ 25 h 147"/>
              <a:gd name="T110" fmla="*/ 62 w 127"/>
              <a:gd name="T111" fmla="*/ 25 h 147"/>
              <a:gd name="T112" fmla="*/ 69 w 127"/>
              <a:gd name="T113" fmla="*/ 19 h 147"/>
              <a:gd name="T114" fmla="*/ 72 w 127"/>
              <a:gd name="T115" fmla="*/ 15 h 147"/>
              <a:gd name="T116" fmla="*/ 88 w 127"/>
              <a:gd name="T117" fmla="*/ 9 h 147"/>
              <a:gd name="T118" fmla="*/ 88 w 127"/>
              <a:gd name="T119" fmla="*/ 6 h 147"/>
              <a:gd name="T120" fmla="*/ 100 w 127"/>
              <a:gd name="T121" fmla="*/ 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7" h="147">
                <a:moveTo>
                  <a:pt x="118" y="26"/>
                </a:moveTo>
                <a:cubicBezTo>
                  <a:pt x="119" y="26"/>
                  <a:pt x="119" y="26"/>
                  <a:pt x="119" y="26"/>
                </a:cubicBezTo>
                <a:cubicBezTo>
                  <a:pt x="119" y="24"/>
                  <a:pt x="119" y="24"/>
                  <a:pt x="119" y="24"/>
                </a:cubicBezTo>
                <a:cubicBezTo>
                  <a:pt x="121" y="22"/>
                  <a:pt x="121" y="22"/>
                  <a:pt x="121" y="22"/>
                </a:cubicBezTo>
                <a:cubicBezTo>
                  <a:pt x="122" y="22"/>
                  <a:pt x="122" y="22"/>
                  <a:pt x="122" y="22"/>
                </a:cubicBezTo>
                <a:cubicBezTo>
                  <a:pt x="123" y="21"/>
                  <a:pt x="123" y="21"/>
                  <a:pt x="123" y="21"/>
                </a:cubicBezTo>
                <a:cubicBezTo>
                  <a:pt x="123" y="19"/>
                  <a:pt x="123" y="19"/>
                  <a:pt x="123" y="19"/>
                </a:cubicBezTo>
                <a:cubicBezTo>
                  <a:pt x="124" y="19"/>
                  <a:pt x="124" y="19"/>
                  <a:pt x="124" y="19"/>
                </a:cubicBezTo>
                <a:cubicBezTo>
                  <a:pt x="125" y="19"/>
                  <a:pt x="125" y="19"/>
                  <a:pt x="125" y="19"/>
                </a:cubicBezTo>
                <a:cubicBezTo>
                  <a:pt x="126" y="18"/>
                  <a:pt x="126" y="18"/>
                  <a:pt x="126" y="18"/>
                </a:cubicBezTo>
                <a:cubicBezTo>
                  <a:pt x="126" y="17"/>
                  <a:pt x="126" y="17"/>
                  <a:pt x="126" y="17"/>
                </a:cubicBezTo>
                <a:cubicBezTo>
                  <a:pt x="126" y="17"/>
                  <a:pt x="126" y="17"/>
                  <a:pt x="126" y="17"/>
                </a:cubicBezTo>
                <a:cubicBezTo>
                  <a:pt x="125" y="16"/>
                  <a:pt x="125" y="16"/>
                  <a:pt x="125" y="16"/>
                </a:cubicBezTo>
                <a:cubicBezTo>
                  <a:pt x="124" y="16"/>
                  <a:pt x="124" y="16"/>
                  <a:pt x="124" y="16"/>
                </a:cubicBezTo>
                <a:cubicBezTo>
                  <a:pt x="124" y="17"/>
                  <a:pt x="124" y="17"/>
                  <a:pt x="124" y="17"/>
                </a:cubicBezTo>
                <a:cubicBezTo>
                  <a:pt x="124" y="17"/>
                  <a:pt x="124" y="17"/>
                  <a:pt x="124" y="17"/>
                </a:cubicBezTo>
                <a:cubicBezTo>
                  <a:pt x="123" y="17"/>
                  <a:pt x="123" y="17"/>
                  <a:pt x="123" y="17"/>
                </a:cubicBezTo>
                <a:cubicBezTo>
                  <a:pt x="123" y="16"/>
                  <a:pt x="123" y="16"/>
                  <a:pt x="123" y="16"/>
                </a:cubicBezTo>
                <a:cubicBezTo>
                  <a:pt x="122" y="16"/>
                  <a:pt x="122" y="16"/>
                  <a:pt x="122" y="16"/>
                </a:cubicBezTo>
                <a:cubicBezTo>
                  <a:pt x="123" y="17"/>
                  <a:pt x="123" y="17"/>
                  <a:pt x="123" y="17"/>
                </a:cubicBezTo>
                <a:cubicBezTo>
                  <a:pt x="122" y="18"/>
                  <a:pt x="122" y="18"/>
                  <a:pt x="122" y="18"/>
                </a:cubicBezTo>
                <a:cubicBezTo>
                  <a:pt x="122" y="18"/>
                  <a:pt x="122" y="18"/>
                  <a:pt x="122" y="18"/>
                </a:cubicBezTo>
                <a:cubicBezTo>
                  <a:pt x="121" y="17"/>
                  <a:pt x="121" y="17"/>
                  <a:pt x="121" y="17"/>
                </a:cubicBezTo>
                <a:cubicBezTo>
                  <a:pt x="120" y="18"/>
                  <a:pt x="120" y="18"/>
                  <a:pt x="120" y="18"/>
                </a:cubicBezTo>
                <a:cubicBezTo>
                  <a:pt x="120" y="18"/>
                  <a:pt x="120" y="18"/>
                  <a:pt x="120" y="18"/>
                </a:cubicBezTo>
                <a:cubicBezTo>
                  <a:pt x="120" y="17"/>
                  <a:pt x="120" y="17"/>
                  <a:pt x="120" y="17"/>
                </a:cubicBezTo>
                <a:cubicBezTo>
                  <a:pt x="120" y="16"/>
                  <a:pt x="120" y="16"/>
                  <a:pt x="120" y="16"/>
                </a:cubicBezTo>
                <a:cubicBezTo>
                  <a:pt x="119" y="16"/>
                  <a:pt x="119" y="16"/>
                  <a:pt x="119" y="16"/>
                </a:cubicBezTo>
                <a:cubicBezTo>
                  <a:pt x="119" y="15"/>
                  <a:pt x="119" y="15"/>
                  <a:pt x="119" y="15"/>
                </a:cubicBezTo>
                <a:cubicBezTo>
                  <a:pt x="118" y="14"/>
                  <a:pt x="118" y="14"/>
                  <a:pt x="118" y="14"/>
                </a:cubicBezTo>
                <a:cubicBezTo>
                  <a:pt x="117" y="14"/>
                  <a:pt x="117" y="14"/>
                  <a:pt x="117" y="14"/>
                </a:cubicBezTo>
                <a:cubicBezTo>
                  <a:pt x="116" y="14"/>
                  <a:pt x="116" y="14"/>
                  <a:pt x="116" y="14"/>
                </a:cubicBezTo>
                <a:cubicBezTo>
                  <a:pt x="115" y="14"/>
                  <a:pt x="115" y="14"/>
                  <a:pt x="115" y="14"/>
                </a:cubicBezTo>
                <a:cubicBezTo>
                  <a:pt x="114" y="13"/>
                  <a:pt x="114" y="13"/>
                  <a:pt x="114" y="13"/>
                </a:cubicBezTo>
                <a:cubicBezTo>
                  <a:pt x="114" y="13"/>
                  <a:pt x="114" y="13"/>
                  <a:pt x="114" y="13"/>
                </a:cubicBezTo>
                <a:cubicBezTo>
                  <a:pt x="116" y="13"/>
                  <a:pt x="116" y="13"/>
                  <a:pt x="116" y="13"/>
                </a:cubicBezTo>
                <a:cubicBezTo>
                  <a:pt x="118" y="13"/>
                  <a:pt x="118" y="13"/>
                  <a:pt x="118" y="13"/>
                </a:cubicBezTo>
                <a:cubicBezTo>
                  <a:pt x="119" y="13"/>
                  <a:pt x="119" y="13"/>
                  <a:pt x="119" y="13"/>
                </a:cubicBezTo>
                <a:cubicBezTo>
                  <a:pt x="121" y="14"/>
                  <a:pt x="121" y="14"/>
                  <a:pt x="121" y="14"/>
                </a:cubicBezTo>
                <a:cubicBezTo>
                  <a:pt x="123" y="13"/>
                  <a:pt x="123" y="13"/>
                  <a:pt x="123" y="13"/>
                </a:cubicBezTo>
                <a:cubicBezTo>
                  <a:pt x="124" y="11"/>
                  <a:pt x="124" y="11"/>
                  <a:pt x="124" y="11"/>
                </a:cubicBezTo>
                <a:cubicBezTo>
                  <a:pt x="126" y="10"/>
                  <a:pt x="126" y="10"/>
                  <a:pt x="126" y="10"/>
                </a:cubicBezTo>
                <a:cubicBezTo>
                  <a:pt x="127" y="9"/>
                  <a:pt x="127" y="9"/>
                  <a:pt x="127" y="9"/>
                </a:cubicBezTo>
                <a:cubicBezTo>
                  <a:pt x="127" y="9"/>
                  <a:pt x="127" y="9"/>
                  <a:pt x="127" y="9"/>
                </a:cubicBezTo>
                <a:cubicBezTo>
                  <a:pt x="127" y="9"/>
                  <a:pt x="127" y="9"/>
                  <a:pt x="127" y="9"/>
                </a:cubicBezTo>
                <a:cubicBezTo>
                  <a:pt x="126" y="8"/>
                  <a:pt x="126" y="8"/>
                  <a:pt x="126" y="8"/>
                </a:cubicBezTo>
                <a:cubicBezTo>
                  <a:pt x="126" y="8"/>
                  <a:pt x="126" y="8"/>
                  <a:pt x="126" y="8"/>
                </a:cubicBezTo>
                <a:cubicBezTo>
                  <a:pt x="125" y="8"/>
                  <a:pt x="125" y="8"/>
                  <a:pt x="125" y="8"/>
                </a:cubicBezTo>
                <a:cubicBezTo>
                  <a:pt x="123" y="7"/>
                  <a:pt x="123" y="7"/>
                  <a:pt x="123" y="7"/>
                </a:cubicBezTo>
                <a:cubicBezTo>
                  <a:pt x="122" y="7"/>
                  <a:pt x="122" y="7"/>
                  <a:pt x="122" y="7"/>
                </a:cubicBezTo>
                <a:cubicBezTo>
                  <a:pt x="121" y="8"/>
                  <a:pt x="121" y="8"/>
                  <a:pt x="121" y="8"/>
                </a:cubicBezTo>
                <a:cubicBezTo>
                  <a:pt x="121" y="8"/>
                  <a:pt x="121" y="8"/>
                  <a:pt x="121" y="8"/>
                </a:cubicBezTo>
                <a:cubicBezTo>
                  <a:pt x="120" y="7"/>
                  <a:pt x="120" y="7"/>
                  <a:pt x="120" y="7"/>
                </a:cubicBezTo>
                <a:cubicBezTo>
                  <a:pt x="121" y="7"/>
                  <a:pt x="121" y="7"/>
                  <a:pt x="121" y="7"/>
                </a:cubicBezTo>
                <a:cubicBezTo>
                  <a:pt x="121" y="6"/>
                  <a:pt x="121" y="6"/>
                  <a:pt x="121" y="6"/>
                </a:cubicBezTo>
                <a:cubicBezTo>
                  <a:pt x="120" y="5"/>
                  <a:pt x="120" y="5"/>
                  <a:pt x="120" y="5"/>
                </a:cubicBezTo>
                <a:cubicBezTo>
                  <a:pt x="120" y="5"/>
                  <a:pt x="120" y="5"/>
                  <a:pt x="120" y="5"/>
                </a:cubicBezTo>
                <a:cubicBezTo>
                  <a:pt x="119" y="5"/>
                  <a:pt x="119" y="5"/>
                  <a:pt x="119" y="5"/>
                </a:cubicBezTo>
                <a:cubicBezTo>
                  <a:pt x="118" y="7"/>
                  <a:pt x="118" y="7"/>
                  <a:pt x="118" y="7"/>
                </a:cubicBezTo>
                <a:cubicBezTo>
                  <a:pt x="118" y="7"/>
                  <a:pt x="118" y="7"/>
                  <a:pt x="118" y="7"/>
                </a:cubicBezTo>
                <a:cubicBezTo>
                  <a:pt x="118" y="6"/>
                  <a:pt x="118" y="6"/>
                  <a:pt x="118" y="6"/>
                </a:cubicBezTo>
                <a:cubicBezTo>
                  <a:pt x="117" y="6"/>
                  <a:pt x="117" y="6"/>
                  <a:pt x="117" y="6"/>
                </a:cubicBezTo>
                <a:cubicBezTo>
                  <a:pt x="117" y="6"/>
                  <a:pt x="117" y="6"/>
                  <a:pt x="117" y="6"/>
                </a:cubicBezTo>
                <a:cubicBezTo>
                  <a:pt x="116" y="6"/>
                  <a:pt x="116" y="6"/>
                  <a:pt x="116" y="6"/>
                </a:cubicBezTo>
                <a:cubicBezTo>
                  <a:pt x="116" y="6"/>
                  <a:pt x="116" y="6"/>
                  <a:pt x="116" y="6"/>
                </a:cubicBezTo>
                <a:cubicBezTo>
                  <a:pt x="117" y="5"/>
                  <a:pt x="117" y="5"/>
                  <a:pt x="117" y="5"/>
                </a:cubicBezTo>
                <a:cubicBezTo>
                  <a:pt x="117" y="4"/>
                  <a:pt x="117" y="4"/>
                  <a:pt x="117" y="4"/>
                </a:cubicBezTo>
                <a:cubicBezTo>
                  <a:pt x="116" y="4"/>
                  <a:pt x="116" y="4"/>
                  <a:pt x="116" y="4"/>
                </a:cubicBezTo>
                <a:cubicBezTo>
                  <a:pt x="115" y="4"/>
                  <a:pt x="115" y="4"/>
                  <a:pt x="115" y="4"/>
                </a:cubicBezTo>
                <a:cubicBezTo>
                  <a:pt x="114" y="4"/>
                  <a:pt x="114" y="4"/>
                  <a:pt x="114" y="4"/>
                </a:cubicBezTo>
                <a:cubicBezTo>
                  <a:pt x="114" y="6"/>
                  <a:pt x="114" y="6"/>
                  <a:pt x="114" y="6"/>
                </a:cubicBezTo>
                <a:cubicBezTo>
                  <a:pt x="113" y="6"/>
                  <a:pt x="113" y="6"/>
                  <a:pt x="113" y="6"/>
                </a:cubicBezTo>
                <a:cubicBezTo>
                  <a:pt x="113" y="7"/>
                  <a:pt x="113" y="7"/>
                  <a:pt x="113" y="7"/>
                </a:cubicBezTo>
                <a:cubicBezTo>
                  <a:pt x="114" y="9"/>
                  <a:pt x="114" y="9"/>
                  <a:pt x="114" y="9"/>
                </a:cubicBezTo>
                <a:cubicBezTo>
                  <a:pt x="113" y="9"/>
                  <a:pt x="113" y="9"/>
                  <a:pt x="113" y="9"/>
                </a:cubicBezTo>
                <a:cubicBezTo>
                  <a:pt x="113" y="10"/>
                  <a:pt x="113" y="10"/>
                  <a:pt x="113" y="10"/>
                </a:cubicBezTo>
                <a:cubicBezTo>
                  <a:pt x="112" y="9"/>
                  <a:pt x="112" y="9"/>
                  <a:pt x="112" y="9"/>
                </a:cubicBezTo>
                <a:cubicBezTo>
                  <a:pt x="112" y="9"/>
                  <a:pt x="112" y="9"/>
                  <a:pt x="112" y="9"/>
                </a:cubicBezTo>
                <a:cubicBezTo>
                  <a:pt x="111" y="9"/>
                  <a:pt x="111" y="9"/>
                  <a:pt x="111" y="9"/>
                </a:cubicBezTo>
                <a:cubicBezTo>
                  <a:pt x="110" y="9"/>
                  <a:pt x="110" y="9"/>
                  <a:pt x="110" y="9"/>
                </a:cubicBezTo>
                <a:cubicBezTo>
                  <a:pt x="109" y="10"/>
                  <a:pt x="109" y="10"/>
                  <a:pt x="109" y="10"/>
                </a:cubicBezTo>
                <a:cubicBezTo>
                  <a:pt x="110" y="8"/>
                  <a:pt x="110" y="8"/>
                  <a:pt x="110" y="8"/>
                </a:cubicBezTo>
                <a:cubicBezTo>
                  <a:pt x="111" y="8"/>
                  <a:pt x="111" y="8"/>
                  <a:pt x="111" y="8"/>
                </a:cubicBezTo>
                <a:cubicBezTo>
                  <a:pt x="111" y="7"/>
                  <a:pt x="111" y="7"/>
                  <a:pt x="111" y="7"/>
                </a:cubicBezTo>
                <a:cubicBezTo>
                  <a:pt x="111" y="6"/>
                  <a:pt x="111" y="6"/>
                  <a:pt x="111" y="6"/>
                </a:cubicBezTo>
                <a:cubicBezTo>
                  <a:pt x="111" y="6"/>
                  <a:pt x="111" y="6"/>
                  <a:pt x="111" y="6"/>
                </a:cubicBezTo>
                <a:cubicBezTo>
                  <a:pt x="110" y="7"/>
                  <a:pt x="110" y="7"/>
                  <a:pt x="110" y="7"/>
                </a:cubicBezTo>
                <a:cubicBezTo>
                  <a:pt x="109" y="7"/>
                  <a:pt x="109" y="7"/>
                  <a:pt x="109" y="7"/>
                </a:cubicBezTo>
                <a:cubicBezTo>
                  <a:pt x="109" y="6"/>
                  <a:pt x="109" y="6"/>
                  <a:pt x="109" y="6"/>
                </a:cubicBezTo>
                <a:cubicBezTo>
                  <a:pt x="110" y="6"/>
                  <a:pt x="110" y="6"/>
                  <a:pt x="110" y="6"/>
                </a:cubicBezTo>
                <a:cubicBezTo>
                  <a:pt x="110" y="5"/>
                  <a:pt x="110" y="5"/>
                  <a:pt x="110" y="5"/>
                </a:cubicBezTo>
                <a:cubicBezTo>
                  <a:pt x="109" y="5"/>
                  <a:pt x="109" y="5"/>
                  <a:pt x="109" y="5"/>
                </a:cubicBezTo>
                <a:cubicBezTo>
                  <a:pt x="109" y="4"/>
                  <a:pt x="109" y="4"/>
                  <a:pt x="109" y="4"/>
                </a:cubicBezTo>
                <a:cubicBezTo>
                  <a:pt x="110" y="4"/>
                  <a:pt x="110" y="4"/>
                  <a:pt x="110" y="4"/>
                </a:cubicBezTo>
                <a:cubicBezTo>
                  <a:pt x="110" y="4"/>
                  <a:pt x="110" y="4"/>
                  <a:pt x="110" y="4"/>
                </a:cubicBezTo>
                <a:cubicBezTo>
                  <a:pt x="111" y="4"/>
                  <a:pt x="111" y="4"/>
                  <a:pt x="111" y="4"/>
                </a:cubicBezTo>
                <a:cubicBezTo>
                  <a:pt x="112" y="2"/>
                  <a:pt x="112" y="2"/>
                  <a:pt x="112" y="2"/>
                </a:cubicBezTo>
                <a:cubicBezTo>
                  <a:pt x="112" y="2"/>
                  <a:pt x="112" y="2"/>
                  <a:pt x="112" y="2"/>
                </a:cubicBezTo>
                <a:cubicBezTo>
                  <a:pt x="111" y="2"/>
                  <a:pt x="111" y="2"/>
                  <a:pt x="111" y="2"/>
                </a:cubicBezTo>
                <a:cubicBezTo>
                  <a:pt x="110" y="2"/>
                  <a:pt x="110" y="2"/>
                  <a:pt x="110" y="2"/>
                </a:cubicBezTo>
                <a:cubicBezTo>
                  <a:pt x="110" y="1"/>
                  <a:pt x="110" y="1"/>
                  <a:pt x="110" y="1"/>
                </a:cubicBezTo>
                <a:cubicBezTo>
                  <a:pt x="110" y="0"/>
                  <a:pt x="110" y="0"/>
                  <a:pt x="110" y="0"/>
                </a:cubicBezTo>
                <a:cubicBezTo>
                  <a:pt x="109" y="1"/>
                  <a:pt x="109" y="1"/>
                  <a:pt x="109" y="1"/>
                </a:cubicBezTo>
                <a:cubicBezTo>
                  <a:pt x="108" y="0"/>
                  <a:pt x="108" y="0"/>
                  <a:pt x="108" y="0"/>
                </a:cubicBezTo>
                <a:cubicBezTo>
                  <a:pt x="108" y="0"/>
                  <a:pt x="108" y="0"/>
                  <a:pt x="108" y="0"/>
                </a:cubicBezTo>
                <a:cubicBezTo>
                  <a:pt x="107" y="1"/>
                  <a:pt x="107" y="1"/>
                  <a:pt x="107" y="1"/>
                </a:cubicBezTo>
                <a:cubicBezTo>
                  <a:pt x="107" y="1"/>
                  <a:pt x="107" y="1"/>
                  <a:pt x="107" y="1"/>
                </a:cubicBezTo>
                <a:cubicBezTo>
                  <a:pt x="108" y="2"/>
                  <a:pt x="108" y="2"/>
                  <a:pt x="108" y="2"/>
                </a:cubicBezTo>
                <a:cubicBezTo>
                  <a:pt x="107" y="3"/>
                  <a:pt x="107" y="3"/>
                  <a:pt x="107" y="3"/>
                </a:cubicBezTo>
                <a:cubicBezTo>
                  <a:pt x="107" y="3"/>
                  <a:pt x="107" y="3"/>
                  <a:pt x="107" y="3"/>
                </a:cubicBezTo>
                <a:cubicBezTo>
                  <a:pt x="106" y="2"/>
                  <a:pt x="106" y="2"/>
                  <a:pt x="106" y="2"/>
                </a:cubicBezTo>
                <a:cubicBezTo>
                  <a:pt x="105" y="2"/>
                  <a:pt x="105" y="2"/>
                  <a:pt x="105" y="2"/>
                </a:cubicBezTo>
                <a:cubicBezTo>
                  <a:pt x="105" y="3"/>
                  <a:pt x="105" y="3"/>
                  <a:pt x="105" y="3"/>
                </a:cubicBezTo>
                <a:cubicBezTo>
                  <a:pt x="105" y="4"/>
                  <a:pt x="105" y="4"/>
                  <a:pt x="105" y="4"/>
                </a:cubicBezTo>
                <a:cubicBezTo>
                  <a:pt x="106" y="4"/>
                  <a:pt x="106" y="4"/>
                  <a:pt x="106" y="4"/>
                </a:cubicBezTo>
                <a:cubicBezTo>
                  <a:pt x="106" y="4"/>
                  <a:pt x="106" y="4"/>
                  <a:pt x="106" y="4"/>
                </a:cubicBezTo>
                <a:cubicBezTo>
                  <a:pt x="106" y="5"/>
                  <a:pt x="106" y="5"/>
                  <a:pt x="106" y="5"/>
                </a:cubicBezTo>
                <a:cubicBezTo>
                  <a:pt x="106" y="5"/>
                  <a:pt x="106" y="5"/>
                  <a:pt x="106" y="5"/>
                </a:cubicBezTo>
                <a:cubicBezTo>
                  <a:pt x="106" y="6"/>
                  <a:pt x="106" y="6"/>
                  <a:pt x="106" y="6"/>
                </a:cubicBezTo>
                <a:cubicBezTo>
                  <a:pt x="105" y="6"/>
                  <a:pt x="105" y="6"/>
                  <a:pt x="105" y="6"/>
                </a:cubicBezTo>
                <a:cubicBezTo>
                  <a:pt x="105" y="7"/>
                  <a:pt x="105" y="7"/>
                  <a:pt x="105" y="7"/>
                </a:cubicBezTo>
                <a:cubicBezTo>
                  <a:pt x="105" y="8"/>
                  <a:pt x="105" y="8"/>
                  <a:pt x="105" y="8"/>
                </a:cubicBezTo>
                <a:cubicBezTo>
                  <a:pt x="104" y="8"/>
                  <a:pt x="104" y="8"/>
                  <a:pt x="104" y="8"/>
                </a:cubicBezTo>
                <a:cubicBezTo>
                  <a:pt x="105" y="9"/>
                  <a:pt x="105" y="9"/>
                  <a:pt x="105" y="9"/>
                </a:cubicBezTo>
                <a:cubicBezTo>
                  <a:pt x="104" y="10"/>
                  <a:pt x="104" y="10"/>
                  <a:pt x="104" y="10"/>
                </a:cubicBezTo>
                <a:cubicBezTo>
                  <a:pt x="104" y="9"/>
                  <a:pt x="104" y="9"/>
                  <a:pt x="104" y="9"/>
                </a:cubicBezTo>
                <a:cubicBezTo>
                  <a:pt x="103" y="10"/>
                  <a:pt x="103" y="10"/>
                  <a:pt x="103" y="10"/>
                </a:cubicBezTo>
                <a:cubicBezTo>
                  <a:pt x="103" y="10"/>
                  <a:pt x="103" y="10"/>
                  <a:pt x="103" y="10"/>
                </a:cubicBezTo>
                <a:cubicBezTo>
                  <a:pt x="102" y="11"/>
                  <a:pt x="102" y="11"/>
                  <a:pt x="102" y="11"/>
                </a:cubicBezTo>
                <a:cubicBezTo>
                  <a:pt x="102" y="9"/>
                  <a:pt x="102" y="9"/>
                  <a:pt x="102" y="9"/>
                </a:cubicBezTo>
                <a:cubicBezTo>
                  <a:pt x="103" y="7"/>
                  <a:pt x="103" y="7"/>
                  <a:pt x="103" y="7"/>
                </a:cubicBezTo>
                <a:cubicBezTo>
                  <a:pt x="102" y="7"/>
                  <a:pt x="102" y="7"/>
                  <a:pt x="102" y="7"/>
                </a:cubicBezTo>
                <a:cubicBezTo>
                  <a:pt x="102" y="6"/>
                  <a:pt x="102" y="6"/>
                  <a:pt x="102" y="6"/>
                </a:cubicBezTo>
                <a:cubicBezTo>
                  <a:pt x="103" y="6"/>
                  <a:pt x="103" y="6"/>
                  <a:pt x="103" y="6"/>
                </a:cubicBezTo>
                <a:cubicBezTo>
                  <a:pt x="103" y="4"/>
                  <a:pt x="103" y="4"/>
                  <a:pt x="103" y="4"/>
                </a:cubicBezTo>
                <a:cubicBezTo>
                  <a:pt x="102" y="3"/>
                  <a:pt x="102" y="3"/>
                  <a:pt x="102" y="3"/>
                </a:cubicBezTo>
                <a:cubicBezTo>
                  <a:pt x="102" y="3"/>
                  <a:pt x="102" y="3"/>
                  <a:pt x="102" y="3"/>
                </a:cubicBezTo>
                <a:cubicBezTo>
                  <a:pt x="100" y="6"/>
                  <a:pt x="100" y="6"/>
                  <a:pt x="100" y="6"/>
                </a:cubicBezTo>
                <a:cubicBezTo>
                  <a:pt x="100" y="7"/>
                  <a:pt x="100" y="7"/>
                  <a:pt x="100" y="7"/>
                </a:cubicBezTo>
                <a:cubicBezTo>
                  <a:pt x="99" y="9"/>
                  <a:pt x="99" y="9"/>
                  <a:pt x="99" y="9"/>
                </a:cubicBezTo>
                <a:cubicBezTo>
                  <a:pt x="98" y="11"/>
                  <a:pt x="98" y="11"/>
                  <a:pt x="98" y="11"/>
                </a:cubicBezTo>
                <a:cubicBezTo>
                  <a:pt x="98" y="12"/>
                  <a:pt x="98" y="12"/>
                  <a:pt x="98" y="12"/>
                </a:cubicBezTo>
                <a:cubicBezTo>
                  <a:pt x="98" y="13"/>
                  <a:pt x="98" y="13"/>
                  <a:pt x="98" y="13"/>
                </a:cubicBezTo>
                <a:cubicBezTo>
                  <a:pt x="97" y="15"/>
                  <a:pt x="97" y="15"/>
                  <a:pt x="97" y="15"/>
                </a:cubicBezTo>
                <a:cubicBezTo>
                  <a:pt x="96" y="15"/>
                  <a:pt x="96" y="15"/>
                  <a:pt x="96" y="15"/>
                </a:cubicBezTo>
                <a:cubicBezTo>
                  <a:pt x="96" y="14"/>
                  <a:pt x="96" y="14"/>
                  <a:pt x="96" y="14"/>
                </a:cubicBezTo>
                <a:cubicBezTo>
                  <a:pt x="95" y="13"/>
                  <a:pt x="95" y="13"/>
                  <a:pt x="95" y="13"/>
                </a:cubicBezTo>
                <a:cubicBezTo>
                  <a:pt x="97" y="11"/>
                  <a:pt x="97" y="11"/>
                  <a:pt x="97" y="11"/>
                </a:cubicBezTo>
                <a:cubicBezTo>
                  <a:pt x="96" y="10"/>
                  <a:pt x="96" y="10"/>
                  <a:pt x="96" y="10"/>
                </a:cubicBezTo>
                <a:cubicBezTo>
                  <a:pt x="97" y="10"/>
                  <a:pt x="97" y="10"/>
                  <a:pt x="97" y="10"/>
                </a:cubicBezTo>
                <a:cubicBezTo>
                  <a:pt x="96" y="8"/>
                  <a:pt x="96" y="8"/>
                  <a:pt x="96" y="8"/>
                </a:cubicBezTo>
                <a:cubicBezTo>
                  <a:pt x="98" y="6"/>
                  <a:pt x="98" y="6"/>
                  <a:pt x="98" y="6"/>
                </a:cubicBezTo>
                <a:cubicBezTo>
                  <a:pt x="98" y="5"/>
                  <a:pt x="98" y="5"/>
                  <a:pt x="98" y="5"/>
                </a:cubicBezTo>
                <a:cubicBezTo>
                  <a:pt x="99" y="5"/>
                  <a:pt x="99" y="5"/>
                  <a:pt x="99" y="5"/>
                </a:cubicBezTo>
                <a:cubicBezTo>
                  <a:pt x="99" y="4"/>
                  <a:pt x="99" y="4"/>
                  <a:pt x="99" y="4"/>
                </a:cubicBezTo>
                <a:cubicBezTo>
                  <a:pt x="98" y="4"/>
                  <a:pt x="98" y="4"/>
                  <a:pt x="98" y="4"/>
                </a:cubicBezTo>
                <a:cubicBezTo>
                  <a:pt x="97" y="3"/>
                  <a:pt x="97" y="3"/>
                  <a:pt x="97" y="3"/>
                </a:cubicBezTo>
                <a:cubicBezTo>
                  <a:pt x="96" y="3"/>
                  <a:pt x="96" y="3"/>
                  <a:pt x="96" y="3"/>
                </a:cubicBezTo>
                <a:cubicBezTo>
                  <a:pt x="96" y="4"/>
                  <a:pt x="96" y="4"/>
                  <a:pt x="96" y="4"/>
                </a:cubicBezTo>
                <a:cubicBezTo>
                  <a:pt x="96" y="5"/>
                  <a:pt x="96" y="5"/>
                  <a:pt x="96" y="5"/>
                </a:cubicBezTo>
                <a:cubicBezTo>
                  <a:pt x="95" y="4"/>
                  <a:pt x="95" y="4"/>
                  <a:pt x="95" y="4"/>
                </a:cubicBezTo>
                <a:cubicBezTo>
                  <a:pt x="95" y="3"/>
                  <a:pt x="95" y="3"/>
                  <a:pt x="95" y="3"/>
                </a:cubicBezTo>
                <a:cubicBezTo>
                  <a:pt x="94" y="3"/>
                  <a:pt x="94" y="3"/>
                  <a:pt x="94" y="3"/>
                </a:cubicBezTo>
                <a:cubicBezTo>
                  <a:pt x="93" y="4"/>
                  <a:pt x="93" y="4"/>
                  <a:pt x="93" y="4"/>
                </a:cubicBezTo>
                <a:cubicBezTo>
                  <a:pt x="93" y="5"/>
                  <a:pt x="93" y="5"/>
                  <a:pt x="93" y="5"/>
                </a:cubicBezTo>
                <a:cubicBezTo>
                  <a:pt x="93" y="6"/>
                  <a:pt x="93" y="6"/>
                  <a:pt x="93" y="6"/>
                </a:cubicBezTo>
                <a:cubicBezTo>
                  <a:pt x="92" y="5"/>
                  <a:pt x="92" y="5"/>
                  <a:pt x="92" y="5"/>
                </a:cubicBezTo>
                <a:cubicBezTo>
                  <a:pt x="91" y="5"/>
                  <a:pt x="91" y="5"/>
                  <a:pt x="91" y="5"/>
                </a:cubicBezTo>
                <a:cubicBezTo>
                  <a:pt x="91" y="5"/>
                  <a:pt x="91" y="5"/>
                  <a:pt x="91" y="5"/>
                </a:cubicBezTo>
                <a:cubicBezTo>
                  <a:pt x="91" y="6"/>
                  <a:pt x="91" y="6"/>
                  <a:pt x="91" y="6"/>
                </a:cubicBezTo>
                <a:cubicBezTo>
                  <a:pt x="93" y="7"/>
                  <a:pt x="93" y="7"/>
                  <a:pt x="93" y="7"/>
                </a:cubicBezTo>
                <a:cubicBezTo>
                  <a:pt x="93" y="8"/>
                  <a:pt x="93" y="8"/>
                  <a:pt x="93" y="8"/>
                </a:cubicBezTo>
                <a:cubicBezTo>
                  <a:pt x="93" y="8"/>
                  <a:pt x="93" y="8"/>
                  <a:pt x="93" y="8"/>
                </a:cubicBezTo>
                <a:cubicBezTo>
                  <a:pt x="92" y="8"/>
                  <a:pt x="92" y="8"/>
                  <a:pt x="92" y="8"/>
                </a:cubicBezTo>
                <a:cubicBezTo>
                  <a:pt x="91" y="8"/>
                  <a:pt x="91" y="8"/>
                  <a:pt x="91" y="8"/>
                </a:cubicBezTo>
                <a:cubicBezTo>
                  <a:pt x="91" y="9"/>
                  <a:pt x="91" y="9"/>
                  <a:pt x="91" y="9"/>
                </a:cubicBezTo>
                <a:cubicBezTo>
                  <a:pt x="91" y="9"/>
                  <a:pt x="91" y="9"/>
                  <a:pt x="91" y="9"/>
                </a:cubicBezTo>
                <a:cubicBezTo>
                  <a:pt x="91" y="10"/>
                  <a:pt x="91" y="10"/>
                  <a:pt x="91" y="10"/>
                </a:cubicBezTo>
                <a:cubicBezTo>
                  <a:pt x="90" y="9"/>
                  <a:pt x="90" y="9"/>
                  <a:pt x="90" y="9"/>
                </a:cubicBezTo>
                <a:cubicBezTo>
                  <a:pt x="89" y="9"/>
                  <a:pt x="89" y="9"/>
                  <a:pt x="89" y="9"/>
                </a:cubicBezTo>
                <a:cubicBezTo>
                  <a:pt x="89" y="10"/>
                  <a:pt x="89" y="10"/>
                  <a:pt x="89" y="10"/>
                </a:cubicBezTo>
                <a:cubicBezTo>
                  <a:pt x="88" y="11"/>
                  <a:pt x="88" y="11"/>
                  <a:pt x="88" y="11"/>
                </a:cubicBezTo>
                <a:cubicBezTo>
                  <a:pt x="88" y="11"/>
                  <a:pt x="88" y="11"/>
                  <a:pt x="88" y="11"/>
                </a:cubicBezTo>
                <a:cubicBezTo>
                  <a:pt x="88" y="12"/>
                  <a:pt x="88" y="12"/>
                  <a:pt x="88" y="12"/>
                </a:cubicBezTo>
                <a:cubicBezTo>
                  <a:pt x="87" y="12"/>
                  <a:pt x="87" y="12"/>
                  <a:pt x="87" y="12"/>
                </a:cubicBezTo>
                <a:cubicBezTo>
                  <a:pt x="87" y="13"/>
                  <a:pt x="87" y="13"/>
                  <a:pt x="87" y="13"/>
                </a:cubicBezTo>
                <a:cubicBezTo>
                  <a:pt x="88" y="14"/>
                  <a:pt x="88" y="14"/>
                  <a:pt x="88" y="14"/>
                </a:cubicBezTo>
                <a:cubicBezTo>
                  <a:pt x="87" y="15"/>
                  <a:pt x="87" y="15"/>
                  <a:pt x="87" y="15"/>
                </a:cubicBezTo>
                <a:cubicBezTo>
                  <a:pt x="88" y="15"/>
                  <a:pt x="88" y="15"/>
                  <a:pt x="88" y="15"/>
                </a:cubicBezTo>
                <a:cubicBezTo>
                  <a:pt x="89" y="16"/>
                  <a:pt x="89" y="16"/>
                  <a:pt x="89" y="16"/>
                </a:cubicBezTo>
                <a:cubicBezTo>
                  <a:pt x="88" y="16"/>
                  <a:pt x="88" y="16"/>
                  <a:pt x="88" y="16"/>
                </a:cubicBezTo>
                <a:cubicBezTo>
                  <a:pt x="86" y="16"/>
                  <a:pt x="86" y="16"/>
                  <a:pt x="86" y="16"/>
                </a:cubicBezTo>
                <a:cubicBezTo>
                  <a:pt x="86" y="15"/>
                  <a:pt x="86" y="15"/>
                  <a:pt x="86" y="15"/>
                </a:cubicBezTo>
                <a:cubicBezTo>
                  <a:pt x="85" y="14"/>
                  <a:pt x="85" y="14"/>
                  <a:pt x="85" y="14"/>
                </a:cubicBezTo>
                <a:cubicBezTo>
                  <a:pt x="86" y="14"/>
                  <a:pt x="86" y="14"/>
                  <a:pt x="86" y="14"/>
                </a:cubicBezTo>
                <a:cubicBezTo>
                  <a:pt x="85" y="13"/>
                  <a:pt x="85" y="13"/>
                  <a:pt x="85" y="13"/>
                </a:cubicBezTo>
                <a:cubicBezTo>
                  <a:pt x="84" y="13"/>
                  <a:pt x="84" y="13"/>
                  <a:pt x="84" y="13"/>
                </a:cubicBezTo>
                <a:cubicBezTo>
                  <a:pt x="83" y="13"/>
                  <a:pt x="83" y="13"/>
                  <a:pt x="83" y="13"/>
                </a:cubicBezTo>
                <a:cubicBezTo>
                  <a:pt x="81" y="12"/>
                  <a:pt x="81" y="12"/>
                  <a:pt x="81" y="12"/>
                </a:cubicBezTo>
                <a:cubicBezTo>
                  <a:pt x="80" y="12"/>
                  <a:pt x="80" y="12"/>
                  <a:pt x="80" y="12"/>
                </a:cubicBezTo>
                <a:cubicBezTo>
                  <a:pt x="80" y="12"/>
                  <a:pt x="80" y="12"/>
                  <a:pt x="80" y="12"/>
                </a:cubicBezTo>
                <a:cubicBezTo>
                  <a:pt x="79" y="12"/>
                  <a:pt x="79" y="12"/>
                  <a:pt x="79" y="12"/>
                </a:cubicBezTo>
                <a:cubicBezTo>
                  <a:pt x="78" y="12"/>
                  <a:pt x="78" y="12"/>
                  <a:pt x="78" y="12"/>
                </a:cubicBezTo>
                <a:cubicBezTo>
                  <a:pt x="77" y="13"/>
                  <a:pt x="77" y="13"/>
                  <a:pt x="77" y="13"/>
                </a:cubicBezTo>
                <a:cubicBezTo>
                  <a:pt x="77" y="13"/>
                  <a:pt x="77" y="13"/>
                  <a:pt x="77" y="13"/>
                </a:cubicBezTo>
                <a:cubicBezTo>
                  <a:pt x="78" y="15"/>
                  <a:pt x="78" y="15"/>
                  <a:pt x="78" y="15"/>
                </a:cubicBezTo>
                <a:cubicBezTo>
                  <a:pt x="79" y="15"/>
                  <a:pt x="79" y="15"/>
                  <a:pt x="79" y="15"/>
                </a:cubicBezTo>
                <a:cubicBezTo>
                  <a:pt x="80" y="15"/>
                  <a:pt x="80" y="15"/>
                  <a:pt x="80" y="15"/>
                </a:cubicBezTo>
                <a:cubicBezTo>
                  <a:pt x="81" y="16"/>
                  <a:pt x="81" y="16"/>
                  <a:pt x="81" y="16"/>
                </a:cubicBezTo>
                <a:cubicBezTo>
                  <a:pt x="81" y="17"/>
                  <a:pt x="81" y="17"/>
                  <a:pt x="81" y="17"/>
                </a:cubicBezTo>
                <a:cubicBezTo>
                  <a:pt x="81" y="18"/>
                  <a:pt x="81" y="18"/>
                  <a:pt x="81" y="18"/>
                </a:cubicBezTo>
                <a:cubicBezTo>
                  <a:pt x="82" y="19"/>
                  <a:pt x="82" y="19"/>
                  <a:pt x="82" y="19"/>
                </a:cubicBezTo>
                <a:cubicBezTo>
                  <a:pt x="81" y="20"/>
                  <a:pt x="81" y="20"/>
                  <a:pt x="81" y="20"/>
                </a:cubicBezTo>
                <a:cubicBezTo>
                  <a:pt x="81" y="19"/>
                  <a:pt x="81" y="19"/>
                  <a:pt x="81" y="19"/>
                </a:cubicBezTo>
                <a:cubicBezTo>
                  <a:pt x="80" y="18"/>
                  <a:pt x="80" y="18"/>
                  <a:pt x="80" y="18"/>
                </a:cubicBezTo>
                <a:cubicBezTo>
                  <a:pt x="79" y="17"/>
                  <a:pt x="79" y="17"/>
                  <a:pt x="79" y="17"/>
                </a:cubicBezTo>
                <a:cubicBezTo>
                  <a:pt x="78" y="17"/>
                  <a:pt x="78" y="17"/>
                  <a:pt x="78" y="17"/>
                </a:cubicBezTo>
                <a:cubicBezTo>
                  <a:pt x="78" y="18"/>
                  <a:pt x="78" y="18"/>
                  <a:pt x="78" y="18"/>
                </a:cubicBezTo>
                <a:cubicBezTo>
                  <a:pt x="77" y="19"/>
                  <a:pt x="77" y="19"/>
                  <a:pt x="77" y="19"/>
                </a:cubicBezTo>
                <a:cubicBezTo>
                  <a:pt x="77" y="17"/>
                  <a:pt x="77" y="17"/>
                  <a:pt x="77" y="17"/>
                </a:cubicBezTo>
                <a:cubicBezTo>
                  <a:pt x="76" y="18"/>
                  <a:pt x="76" y="18"/>
                  <a:pt x="76" y="18"/>
                </a:cubicBezTo>
                <a:cubicBezTo>
                  <a:pt x="76" y="18"/>
                  <a:pt x="76" y="18"/>
                  <a:pt x="76" y="18"/>
                </a:cubicBezTo>
                <a:cubicBezTo>
                  <a:pt x="75" y="19"/>
                  <a:pt x="75" y="19"/>
                  <a:pt x="75" y="19"/>
                </a:cubicBezTo>
                <a:cubicBezTo>
                  <a:pt x="75" y="20"/>
                  <a:pt x="75" y="20"/>
                  <a:pt x="75" y="20"/>
                </a:cubicBezTo>
                <a:cubicBezTo>
                  <a:pt x="76" y="21"/>
                  <a:pt x="76" y="21"/>
                  <a:pt x="76" y="21"/>
                </a:cubicBezTo>
                <a:cubicBezTo>
                  <a:pt x="77" y="22"/>
                  <a:pt x="77" y="22"/>
                  <a:pt x="77" y="22"/>
                </a:cubicBezTo>
                <a:cubicBezTo>
                  <a:pt x="76" y="22"/>
                  <a:pt x="76" y="22"/>
                  <a:pt x="76" y="22"/>
                </a:cubicBezTo>
                <a:cubicBezTo>
                  <a:pt x="75" y="21"/>
                  <a:pt x="75" y="21"/>
                  <a:pt x="75" y="21"/>
                </a:cubicBezTo>
                <a:cubicBezTo>
                  <a:pt x="74" y="23"/>
                  <a:pt x="74" y="23"/>
                  <a:pt x="74" y="23"/>
                </a:cubicBezTo>
                <a:cubicBezTo>
                  <a:pt x="74" y="24"/>
                  <a:pt x="74" y="24"/>
                  <a:pt x="74" y="24"/>
                </a:cubicBezTo>
                <a:cubicBezTo>
                  <a:pt x="72" y="25"/>
                  <a:pt x="72" y="25"/>
                  <a:pt x="72" y="25"/>
                </a:cubicBezTo>
                <a:cubicBezTo>
                  <a:pt x="72" y="24"/>
                  <a:pt x="72" y="24"/>
                  <a:pt x="72" y="24"/>
                </a:cubicBezTo>
                <a:cubicBezTo>
                  <a:pt x="73" y="23"/>
                  <a:pt x="73" y="23"/>
                  <a:pt x="73" y="23"/>
                </a:cubicBezTo>
                <a:cubicBezTo>
                  <a:pt x="73" y="23"/>
                  <a:pt x="73" y="23"/>
                  <a:pt x="73" y="23"/>
                </a:cubicBezTo>
                <a:cubicBezTo>
                  <a:pt x="74" y="21"/>
                  <a:pt x="74" y="21"/>
                  <a:pt x="74" y="21"/>
                </a:cubicBezTo>
                <a:cubicBezTo>
                  <a:pt x="73" y="17"/>
                  <a:pt x="73" y="17"/>
                  <a:pt x="73" y="17"/>
                </a:cubicBezTo>
                <a:cubicBezTo>
                  <a:pt x="72" y="18"/>
                  <a:pt x="72" y="18"/>
                  <a:pt x="72" y="18"/>
                </a:cubicBezTo>
                <a:cubicBezTo>
                  <a:pt x="71" y="20"/>
                  <a:pt x="71" y="20"/>
                  <a:pt x="71" y="20"/>
                </a:cubicBezTo>
                <a:cubicBezTo>
                  <a:pt x="71" y="22"/>
                  <a:pt x="71" y="22"/>
                  <a:pt x="71" y="22"/>
                </a:cubicBezTo>
                <a:cubicBezTo>
                  <a:pt x="71" y="22"/>
                  <a:pt x="71" y="22"/>
                  <a:pt x="71" y="22"/>
                </a:cubicBezTo>
                <a:cubicBezTo>
                  <a:pt x="70" y="24"/>
                  <a:pt x="70" y="24"/>
                  <a:pt x="70" y="24"/>
                </a:cubicBezTo>
                <a:cubicBezTo>
                  <a:pt x="70" y="22"/>
                  <a:pt x="70" y="22"/>
                  <a:pt x="70" y="22"/>
                </a:cubicBezTo>
                <a:cubicBezTo>
                  <a:pt x="71" y="21"/>
                  <a:pt x="71" y="21"/>
                  <a:pt x="71" y="21"/>
                </a:cubicBezTo>
                <a:cubicBezTo>
                  <a:pt x="70" y="19"/>
                  <a:pt x="70" y="19"/>
                  <a:pt x="70" y="19"/>
                </a:cubicBezTo>
                <a:cubicBezTo>
                  <a:pt x="70" y="19"/>
                  <a:pt x="70" y="19"/>
                  <a:pt x="70" y="19"/>
                </a:cubicBezTo>
                <a:cubicBezTo>
                  <a:pt x="68" y="20"/>
                  <a:pt x="68" y="20"/>
                  <a:pt x="68" y="20"/>
                </a:cubicBezTo>
                <a:cubicBezTo>
                  <a:pt x="67" y="22"/>
                  <a:pt x="67" y="22"/>
                  <a:pt x="67" y="22"/>
                </a:cubicBezTo>
                <a:cubicBezTo>
                  <a:pt x="68" y="23"/>
                  <a:pt x="68" y="23"/>
                  <a:pt x="68" y="23"/>
                </a:cubicBezTo>
                <a:cubicBezTo>
                  <a:pt x="68" y="24"/>
                  <a:pt x="68" y="24"/>
                  <a:pt x="68" y="24"/>
                </a:cubicBezTo>
                <a:cubicBezTo>
                  <a:pt x="70" y="25"/>
                  <a:pt x="70" y="25"/>
                  <a:pt x="70" y="25"/>
                </a:cubicBezTo>
                <a:cubicBezTo>
                  <a:pt x="70" y="26"/>
                  <a:pt x="70" y="26"/>
                  <a:pt x="70" y="26"/>
                </a:cubicBezTo>
                <a:cubicBezTo>
                  <a:pt x="69" y="27"/>
                  <a:pt x="69" y="27"/>
                  <a:pt x="69" y="27"/>
                </a:cubicBezTo>
                <a:cubicBezTo>
                  <a:pt x="69" y="26"/>
                  <a:pt x="69" y="26"/>
                  <a:pt x="69" y="26"/>
                </a:cubicBezTo>
                <a:cubicBezTo>
                  <a:pt x="68" y="25"/>
                  <a:pt x="68" y="25"/>
                  <a:pt x="68" y="25"/>
                </a:cubicBezTo>
                <a:cubicBezTo>
                  <a:pt x="67" y="23"/>
                  <a:pt x="67" y="23"/>
                  <a:pt x="67" y="23"/>
                </a:cubicBezTo>
                <a:cubicBezTo>
                  <a:pt x="66" y="23"/>
                  <a:pt x="66" y="23"/>
                  <a:pt x="66" y="23"/>
                </a:cubicBezTo>
                <a:cubicBezTo>
                  <a:pt x="65" y="23"/>
                  <a:pt x="65" y="23"/>
                  <a:pt x="65" y="23"/>
                </a:cubicBezTo>
                <a:cubicBezTo>
                  <a:pt x="65" y="24"/>
                  <a:pt x="65" y="24"/>
                  <a:pt x="65" y="24"/>
                </a:cubicBezTo>
                <a:cubicBezTo>
                  <a:pt x="66" y="25"/>
                  <a:pt x="66" y="25"/>
                  <a:pt x="66" y="25"/>
                </a:cubicBezTo>
                <a:cubicBezTo>
                  <a:pt x="67" y="25"/>
                  <a:pt x="67" y="25"/>
                  <a:pt x="67" y="25"/>
                </a:cubicBezTo>
                <a:cubicBezTo>
                  <a:pt x="67" y="26"/>
                  <a:pt x="67" y="26"/>
                  <a:pt x="67" y="26"/>
                </a:cubicBezTo>
                <a:cubicBezTo>
                  <a:pt x="66" y="26"/>
                  <a:pt x="66" y="26"/>
                  <a:pt x="66" y="26"/>
                </a:cubicBezTo>
                <a:cubicBezTo>
                  <a:pt x="65" y="26"/>
                  <a:pt x="65" y="26"/>
                  <a:pt x="65" y="26"/>
                </a:cubicBezTo>
                <a:cubicBezTo>
                  <a:pt x="66" y="27"/>
                  <a:pt x="66" y="27"/>
                  <a:pt x="66" y="27"/>
                </a:cubicBezTo>
                <a:cubicBezTo>
                  <a:pt x="65" y="26"/>
                  <a:pt x="65" y="26"/>
                  <a:pt x="65" y="26"/>
                </a:cubicBezTo>
                <a:cubicBezTo>
                  <a:pt x="65" y="25"/>
                  <a:pt x="65" y="25"/>
                  <a:pt x="65" y="25"/>
                </a:cubicBezTo>
                <a:cubicBezTo>
                  <a:pt x="64" y="24"/>
                  <a:pt x="64" y="24"/>
                  <a:pt x="64" y="24"/>
                </a:cubicBezTo>
                <a:cubicBezTo>
                  <a:pt x="64" y="24"/>
                  <a:pt x="64" y="24"/>
                  <a:pt x="64" y="24"/>
                </a:cubicBezTo>
                <a:cubicBezTo>
                  <a:pt x="63" y="24"/>
                  <a:pt x="63" y="24"/>
                  <a:pt x="63" y="24"/>
                </a:cubicBezTo>
                <a:cubicBezTo>
                  <a:pt x="63" y="26"/>
                  <a:pt x="63" y="26"/>
                  <a:pt x="63" y="26"/>
                </a:cubicBezTo>
                <a:cubicBezTo>
                  <a:pt x="63" y="26"/>
                  <a:pt x="63" y="26"/>
                  <a:pt x="63" y="26"/>
                </a:cubicBezTo>
                <a:cubicBezTo>
                  <a:pt x="63" y="28"/>
                  <a:pt x="63" y="28"/>
                  <a:pt x="63" y="28"/>
                </a:cubicBezTo>
                <a:cubicBezTo>
                  <a:pt x="62" y="27"/>
                  <a:pt x="62" y="27"/>
                  <a:pt x="62" y="27"/>
                </a:cubicBezTo>
                <a:cubicBezTo>
                  <a:pt x="61" y="27"/>
                  <a:pt x="61" y="27"/>
                  <a:pt x="61" y="27"/>
                </a:cubicBezTo>
                <a:cubicBezTo>
                  <a:pt x="60" y="29"/>
                  <a:pt x="60" y="29"/>
                  <a:pt x="60" y="29"/>
                </a:cubicBezTo>
                <a:cubicBezTo>
                  <a:pt x="60" y="29"/>
                  <a:pt x="60" y="29"/>
                  <a:pt x="60" y="29"/>
                </a:cubicBezTo>
                <a:cubicBezTo>
                  <a:pt x="61" y="29"/>
                  <a:pt x="61" y="29"/>
                  <a:pt x="61" y="29"/>
                </a:cubicBezTo>
                <a:cubicBezTo>
                  <a:pt x="62" y="30"/>
                  <a:pt x="62" y="30"/>
                  <a:pt x="62" y="30"/>
                </a:cubicBezTo>
                <a:cubicBezTo>
                  <a:pt x="61" y="30"/>
                  <a:pt x="61" y="30"/>
                  <a:pt x="61" y="30"/>
                </a:cubicBezTo>
                <a:cubicBezTo>
                  <a:pt x="60" y="30"/>
                  <a:pt x="60" y="30"/>
                  <a:pt x="60" y="30"/>
                </a:cubicBezTo>
                <a:cubicBezTo>
                  <a:pt x="61" y="31"/>
                  <a:pt x="61" y="31"/>
                  <a:pt x="61" y="31"/>
                </a:cubicBezTo>
                <a:cubicBezTo>
                  <a:pt x="61" y="32"/>
                  <a:pt x="61" y="32"/>
                  <a:pt x="61" y="32"/>
                </a:cubicBezTo>
                <a:cubicBezTo>
                  <a:pt x="60" y="32"/>
                  <a:pt x="60" y="32"/>
                  <a:pt x="60" y="32"/>
                </a:cubicBezTo>
                <a:cubicBezTo>
                  <a:pt x="60" y="32"/>
                  <a:pt x="60" y="32"/>
                  <a:pt x="60" y="32"/>
                </a:cubicBezTo>
                <a:cubicBezTo>
                  <a:pt x="60" y="32"/>
                  <a:pt x="60" y="32"/>
                  <a:pt x="60" y="32"/>
                </a:cubicBezTo>
                <a:cubicBezTo>
                  <a:pt x="59" y="33"/>
                  <a:pt x="59" y="33"/>
                  <a:pt x="59" y="33"/>
                </a:cubicBezTo>
                <a:cubicBezTo>
                  <a:pt x="59" y="32"/>
                  <a:pt x="59" y="32"/>
                  <a:pt x="59" y="32"/>
                </a:cubicBezTo>
                <a:cubicBezTo>
                  <a:pt x="58" y="32"/>
                  <a:pt x="58" y="32"/>
                  <a:pt x="58" y="32"/>
                </a:cubicBezTo>
                <a:cubicBezTo>
                  <a:pt x="57" y="33"/>
                  <a:pt x="57" y="33"/>
                  <a:pt x="57" y="33"/>
                </a:cubicBezTo>
                <a:cubicBezTo>
                  <a:pt x="57" y="34"/>
                  <a:pt x="57" y="34"/>
                  <a:pt x="57" y="34"/>
                </a:cubicBezTo>
                <a:cubicBezTo>
                  <a:pt x="57" y="34"/>
                  <a:pt x="57" y="34"/>
                  <a:pt x="57" y="34"/>
                </a:cubicBezTo>
                <a:cubicBezTo>
                  <a:pt x="56" y="34"/>
                  <a:pt x="56" y="34"/>
                  <a:pt x="56" y="34"/>
                </a:cubicBezTo>
                <a:cubicBezTo>
                  <a:pt x="55" y="36"/>
                  <a:pt x="55" y="36"/>
                  <a:pt x="55" y="36"/>
                </a:cubicBezTo>
                <a:cubicBezTo>
                  <a:pt x="56" y="36"/>
                  <a:pt x="56" y="36"/>
                  <a:pt x="56" y="36"/>
                </a:cubicBezTo>
                <a:cubicBezTo>
                  <a:pt x="59" y="35"/>
                  <a:pt x="59" y="35"/>
                  <a:pt x="59" y="35"/>
                </a:cubicBezTo>
                <a:cubicBezTo>
                  <a:pt x="59" y="35"/>
                  <a:pt x="59" y="35"/>
                  <a:pt x="59" y="35"/>
                </a:cubicBezTo>
                <a:cubicBezTo>
                  <a:pt x="61" y="35"/>
                  <a:pt x="61" y="35"/>
                  <a:pt x="61" y="35"/>
                </a:cubicBezTo>
                <a:cubicBezTo>
                  <a:pt x="61" y="35"/>
                  <a:pt x="61" y="35"/>
                  <a:pt x="61" y="35"/>
                </a:cubicBezTo>
                <a:cubicBezTo>
                  <a:pt x="61" y="36"/>
                  <a:pt x="61" y="36"/>
                  <a:pt x="61" y="36"/>
                </a:cubicBezTo>
                <a:cubicBezTo>
                  <a:pt x="61" y="37"/>
                  <a:pt x="61" y="37"/>
                  <a:pt x="61" y="37"/>
                </a:cubicBezTo>
                <a:cubicBezTo>
                  <a:pt x="60" y="38"/>
                  <a:pt x="60" y="38"/>
                  <a:pt x="60" y="38"/>
                </a:cubicBezTo>
                <a:cubicBezTo>
                  <a:pt x="60" y="39"/>
                  <a:pt x="60" y="39"/>
                  <a:pt x="60" y="39"/>
                </a:cubicBezTo>
                <a:cubicBezTo>
                  <a:pt x="60" y="38"/>
                  <a:pt x="60" y="38"/>
                  <a:pt x="60" y="38"/>
                </a:cubicBezTo>
                <a:cubicBezTo>
                  <a:pt x="59" y="37"/>
                  <a:pt x="59" y="37"/>
                  <a:pt x="59" y="37"/>
                </a:cubicBezTo>
                <a:cubicBezTo>
                  <a:pt x="58" y="37"/>
                  <a:pt x="58" y="37"/>
                  <a:pt x="58" y="37"/>
                </a:cubicBezTo>
                <a:cubicBezTo>
                  <a:pt x="58" y="37"/>
                  <a:pt x="58" y="37"/>
                  <a:pt x="58" y="37"/>
                </a:cubicBezTo>
                <a:cubicBezTo>
                  <a:pt x="57" y="37"/>
                  <a:pt x="57" y="37"/>
                  <a:pt x="57" y="37"/>
                </a:cubicBezTo>
                <a:cubicBezTo>
                  <a:pt x="57" y="37"/>
                  <a:pt x="57" y="37"/>
                  <a:pt x="57" y="37"/>
                </a:cubicBezTo>
                <a:cubicBezTo>
                  <a:pt x="57" y="38"/>
                  <a:pt x="57" y="38"/>
                  <a:pt x="57" y="38"/>
                </a:cubicBezTo>
                <a:cubicBezTo>
                  <a:pt x="56" y="37"/>
                  <a:pt x="56" y="37"/>
                  <a:pt x="56" y="37"/>
                </a:cubicBezTo>
                <a:cubicBezTo>
                  <a:pt x="55" y="38"/>
                  <a:pt x="55" y="38"/>
                  <a:pt x="55" y="38"/>
                </a:cubicBezTo>
                <a:cubicBezTo>
                  <a:pt x="56" y="38"/>
                  <a:pt x="56" y="38"/>
                  <a:pt x="56" y="38"/>
                </a:cubicBezTo>
                <a:cubicBezTo>
                  <a:pt x="56" y="39"/>
                  <a:pt x="56" y="39"/>
                  <a:pt x="56" y="39"/>
                </a:cubicBezTo>
                <a:cubicBezTo>
                  <a:pt x="56" y="39"/>
                  <a:pt x="56" y="39"/>
                  <a:pt x="56" y="39"/>
                </a:cubicBezTo>
                <a:cubicBezTo>
                  <a:pt x="55" y="40"/>
                  <a:pt x="55" y="40"/>
                  <a:pt x="55" y="40"/>
                </a:cubicBezTo>
                <a:cubicBezTo>
                  <a:pt x="56" y="41"/>
                  <a:pt x="56" y="41"/>
                  <a:pt x="56" y="41"/>
                </a:cubicBezTo>
                <a:cubicBezTo>
                  <a:pt x="55" y="41"/>
                  <a:pt x="55" y="41"/>
                  <a:pt x="55" y="41"/>
                </a:cubicBezTo>
                <a:cubicBezTo>
                  <a:pt x="55" y="41"/>
                  <a:pt x="55" y="41"/>
                  <a:pt x="55" y="41"/>
                </a:cubicBezTo>
                <a:cubicBezTo>
                  <a:pt x="55" y="40"/>
                  <a:pt x="55" y="40"/>
                  <a:pt x="55" y="40"/>
                </a:cubicBezTo>
                <a:cubicBezTo>
                  <a:pt x="54" y="38"/>
                  <a:pt x="54" y="38"/>
                  <a:pt x="54" y="38"/>
                </a:cubicBezTo>
                <a:cubicBezTo>
                  <a:pt x="53" y="39"/>
                  <a:pt x="53" y="39"/>
                  <a:pt x="53" y="39"/>
                </a:cubicBezTo>
                <a:cubicBezTo>
                  <a:pt x="52" y="40"/>
                  <a:pt x="52" y="40"/>
                  <a:pt x="52" y="40"/>
                </a:cubicBezTo>
                <a:cubicBezTo>
                  <a:pt x="52" y="39"/>
                  <a:pt x="52" y="39"/>
                  <a:pt x="52" y="39"/>
                </a:cubicBezTo>
                <a:cubicBezTo>
                  <a:pt x="52" y="38"/>
                  <a:pt x="52" y="38"/>
                  <a:pt x="52" y="38"/>
                </a:cubicBezTo>
                <a:cubicBezTo>
                  <a:pt x="51" y="38"/>
                  <a:pt x="51" y="38"/>
                  <a:pt x="51" y="38"/>
                </a:cubicBezTo>
                <a:cubicBezTo>
                  <a:pt x="50" y="39"/>
                  <a:pt x="50" y="39"/>
                  <a:pt x="50" y="39"/>
                </a:cubicBezTo>
                <a:cubicBezTo>
                  <a:pt x="51" y="40"/>
                  <a:pt x="51" y="40"/>
                  <a:pt x="51" y="40"/>
                </a:cubicBezTo>
                <a:cubicBezTo>
                  <a:pt x="53" y="40"/>
                  <a:pt x="53" y="40"/>
                  <a:pt x="53" y="40"/>
                </a:cubicBezTo>
                <a:cubicBezTo>
                  <a:pt x="54" y="41"/>
                  <a:pt x="54" y="41"/>
                  <a:pt x="54" y="41"/>
                </a:cubicBezTo>
                <a:cubicBezTo>
                  <a:pt x="53" y="42"/>
                  <a:pt x="53" y="42"/>
                  <a:pt x="53" y="42"/>
                </a:cubicBezTo>
                <a:cubicBezTo>
                  <a:pt x="51" y="42"/>
                  <a:pt x="51" y="42"/>
                  <a:pt x="51" y="42"/>
                </a:cubicBezTo>
                <a:cubicBezTo>
                  <a:pt x="50" y="42"/>
                  <a:pt x="50" y="42"/>
                  <a:pt x="50" y="42"/>
                </a:cubicBezTo>
                <a:cubicBezTo>
                  <a:pt x="49" y="42"/>
                  <a:pt x="49" y="42"/>
                  <a:pt x="49" y="42"/>
                </a:cubicBezTo>
                <a:cubicBezTo>
                  <a:pt x="49" y="43"/>
                  <a:pt x="49" y="43"/>
                  <a:pt x="49" y="43"/>
                </a:cubicBezTo>
                <a:cubicBezTo>
                  <a:pt x="50" y="44"/>
                  <a:pt x="50" y="44"/>
                  <a:pt x="50" y="44"/>
                </a:cubicBezTo>
                <a:cubicBezTo>
                  <a:pt x="49" y="45"/>
                  <a:pt x="49" y="45"/>
                  <a:pt x="49" y="45"/>
                </a:cubicBezTo>
                <a:cubicBezTo>
                  <a:pt x="50" y="44"/>
                  <a:pt x="50" y="44"/>
                  <a:pt x="50" y="44"/>
                </a:cubicBezTo>
                <a:cubicBezTo>
                  <a:pt x="51" y="43"/>
                  <a:pt x="51" y="43"/>
                  <a:pt x="51" y="43"/>
                </a:cubicBezTo>
                <a:cubicBezTo>
                  <a:pt x="52" y="43"/>
                  <a:pt x="52" y="43"/>
                  <a:pt x="52" y="43"/>
                </a:cubicBezTo>
                <a:cubicBezTo>
                  <a:pt x="53" y="44"/>
                  <a:pt x="53" y="44"/>
                  <a:pt x="53" y="44"/>
                </a:cubicBezTo>
                <a:cubicBezTo>
                  <a:pt x="51" y="44"/>
                  <a:pt x="51" y="44"/>
                  <a:pt x="51" y="44"/>
                </a:cubicBezTo>
                <a:cubicBezTo>
                  <a:pt x="51" y="45"/>
                  <a:pt x="51" y="45"/>
                  <a:pt x="51" y="45"/>
                </a:cubicBezTo>
                <a:cubicBezTo>
                  <a:pt x="51" y="46"/>
                  <a:pt x="51" y="46"/>
                  <a:pt x="51" y="46"/>
                </a:cubicBezTo>
                <a:cubicBezTo>
                  <a:pt x="53" y="47"/>
                  <a:pt x="53" y="47"/>
                  <a:pt x="53" y="47"/>
                </a:cubicBezTo>
                <a:cubicBezTo>
                  <a:pt x="53" y="48"/>
                  <a:pt x="53" y="48"/>
                  <a:pt x="53" y="48"/>
                </a:cubicBezTo>
                <a:cubicBezTo>
                  <a:pt x="52" y="47"/>
                  <a:pt x="52" y="47"/>
                  <a:pt x="52" y="47"/>
                </a:cubicBezTo>
                <a:cubicBezTo>
                  <a:pt x="51" y="47"/>
                  <a:pt x="51" y="47"/>
                  <a:pt x="51" y="47"/>
                </a:cubicBezTo>
                <a:cubicBezTo>
                  <a:pt x="50" y="46"/>
                  <a:pt x="50" y="46"/>
                  <a:pt x="50" y="46"/>
                </a:cubicBezTo>
                <a:cubicBezTo>
                  <a:pt x="49" y="46"/>
                  <a:pt x="49" y="46"/>
                  <a:pt x="49" y="46"/>
                </a:cubicBezTo>
                <a:cubicBezTo>
                  <a:pt x="49" y="47"/>
                  <a:pt x="49" y="47"/>
                  <a:pt x="49" y="47"/>
                </a:cubicBezTo>
                <a:cubicBezTo>
                  <a:pt x="50" y="48"/>
                  <a:pt x="50" y="48"/>
                  <a:pt x="50" y="48"/>
                </a:cubicBezTo>
                <a:cubicBezTo>
                  <a:pt x="48" y="48"/>
                  <a:pt x="48" y="48"/>
                  <a:pt x="48" y="48"/>
                </a:cubicBezTo>
                <a:cubicBezTo>
                  <a:pt x="47" y="49"/>
                  <a:pt x="47" y="49"/>
                  <a:pt x="47" y="49"/>
                </a:cubicBezTo>
                <a:cubicBezTo>
                  <a:pt x="47" y="49"/>
                  <a:pt x="47" y="49"/>
                  <a:pt x="47" y="49"/>
                </a:cubicBezTo>
                <a:cubicBezTo>
                  <a:pt x="48" y="50"/>
                  <a:pt x="48" y="50"/>
                  <a:pt x="48" y="50"/>
                </a:cubicBezTo>
                <a:cubicBezTo>
                  <a:pt x="49" y="49"/>
                  <a:pt x="49" y="49"/>
                  <a:pt x="49" y="49"/>
                </a:cubicBezTo>
                <a:cubicBezTo>
                  <a:pt x="50" y="50"/>
                  <a:pt x="50" y="50"/>
                  <a:pt x="50" y="50"/>
                </a:cubicBezTo>
                <a:cubicBezTo>
                  <a:pt x="51" y="50"/>
                  <a:pt x="51" y="50"/>
                  <a:pt x="51" y="50"/>
                </a:cubicBezTo>
                <a:cubicBezTo>
                  <a:pt x="52" y="51"/>
                  <a:pt x="52" y="51"/>
                  <a:pt x="52" y="51"/>
                </a:cubicBezTo>
                <a:cubicBezTo>
                  <a:pt x="52" y="51"/>
                  <a:pt x="52" y="51"/>
                  <a:pt x="52" y="51"/>
                </a:cubicBezTo>
                <a:cubicBezTo>
                  <a:pt x="52" y="52"/>
                  <a:pt x="52" y="52"/>
                  <a:pt x="52" y="52"/>
                </a:cubicBezTo>
                <a:cubicBezTo>
                  <a:pt x="51" y="51"/>
                  <a:pt x="51" y="51"/>
                  <a:pt x="51" y="51"/>
                </a:cubicBezTo>
                <a:cubicBezTo>
                  <a:pt x="49" y="51"/>
                  <a:pt x="49" y="51"/>
                  <a:pt x="49" y="51"/>
                </a:cubicBezTo>
                <a:cubicBezTo>
                  <a:pt x="49" y="51"/>
                  <a:pt x="49" y="51"/>
                  <a:pt x="49" y="51"/>
                </a:cubicBezTo>
                <a:cubicBezTo>
                  <a:pt x="47" y="51"/>
                  <a:pt x="47" y="51"/>
                  <a:pt x="47" y="51"/>
                </a:cubicBezTo>
                <a:cubicBezTo>
                  <a:pt x="47" y="52"/>
                  <a:pt x="47" y="52"/>
                  <a:pt x="47" y="52"/>
                </a:cubicBezTo>
                <a:cubicBezTo>
                  <a:pt x="46" y="53"/>
                  <a:pt x="46" y="53"/>
                  <a:pt x="46" y="53"/>
                </a:cubicBezTo>
                <a:cubicBezTo>
                  <a:pt x="46" y="52"/>
                  <a:pt x="46" y="52"/>
                  <a:pt x="46" y="52"/>
                </a:cubicBezTo>
                <a:cubicBezTo>
                  <a:pt x="44" y="53"/>
                  <a:pt x="44" y="53"/>
                  <a:pt x="44" y="53"/>
                </a:cubicBezTo>
                <a:cubicBezTo>
                  <a:pt x="43" y="53"/>
                  <a:pt x="43" y="53"/>
                  <a:pt x="43" y="53"/>
                </a:cubicBezTo>
                <a:cubicBezTo>
                  <a:pt x="43" y="54"/>
                  <a:pt x="43" y="54"/>
                  <a:pt x="43" y="54"/>
                </a:cubicBezTo>
                <a:cubicBezTo>
                  <a:pt x="44" y="54"/>
                  <a:pt x="44" y="54"/>
                  <a:pt x="44" y="54"/>
                </a:cubicBezTo>
                <a:cubicBezTo>
                  <a:pt x="45" y="55"/>
                  <a:pt x="45" y="55"/>
                  <a:pt x="45" y="55"/>
                </a:cubicBezTo>
                <a:cubicBezTo>
                  <a:pt x="44" y="55"/>
                  <a:pt x="44" y="55"/>
                  <a:pt x="44" y="55"/>
                </a:cubicBezTo>
                <a:cubicBezTo>
                  <a:pt x="43" y="55"/>
                  <a:pt x="43" y="55"/>
                  <a:pt x="43" y="55"/>
                </a:cubicBezTo>
                <a:cubicBezTo>
                  <a:pt x="43" y="56"/>
                  <a:pt x="43" y="56"/>
                  <a:pt x="43" y="56"/>
                </a:cubicBezTo>
                <a:cubicBezTo>
                  <a:pt x="44" y="56"/>
                  <a:pt x="44" y="56"/>
                  <a:pt x="44" y="56"/>
                </a:cubicBezTo>
                <a:cubicBezTo>
                  <a:pt x="44" y="57"/>
                  <a:pt x="44" y="57"/>
                  <a:pt x="44" y="57"/>
                </a:cubicBezTo>
                <a:cubicBezTo>
                  <a:pt x="42" y="57"/>
                  <a:pt x="42" y="57"/>
                  <a:pt x="42" y="57"/>
                </a:cubicBezTo>
                <a:cubicBezTo>
                  <a:pt x="42" y="56"/>
                  <a:pt x="42" y="56"/>
                  <a:pt x="42" y="56"/>
                </a:cubicBezTo>
                <a:cubicBezTo>
                  <a:pt x="42" y="57"/>
                  <a:pt x="42" y="57"/>
                  <a:pt x="42" y="57"/>
                </a:cubicBezTo>
                <a:cubicBezTo>
                  <a:pt x="43" y="57"/>
                  <a:pt x="43" y="57"/>
                  <a:pt x="43" y="57"/>
                </a:cubicBezTo>
                <a:cubicBezTo>
                  <a:pt x="42" y="58"/>
                  <a:pt x="42" y="58"/>
                  <a:pt x="42" y="58"/>
                </a:cubicBezTo>
                <a:cubicBezTo>
                  <a:pt x="42" y="58"/>
                  <a:pt x="42" y="58"/>
                  <a:pt x="42" y="58"/>
                </a:cubicBezTo>
                <a:cubicBezTo>
                  <a:pt x="43" y="58"/>
                  <a:pt x="43" y="58"/>
                  <a:pt x="43" y="58"/>
                </a:cubicBezTo>
                <a:cubicBezTo>
                  <a:pt x="42" y="59"/>
                  <a:pt x="42" y="59"/>
                  <a:pt x="42" y="59"/>
                </a:cubicBezTo>
                <a:cubicBezTo>
                  <a:pt x="42" y="59"/>
                  <a:pt x="42" y="59"/>
                  <a:pt x="42" y="59"/>
                </a:cubicBezTo>
                <a:cubicBezTo>
                  <a:pt x="41" y="59"/>
                  <a:pt x="41" y="59"/>
                  <a:pt x="41" y="59"/>
                </a:cubicBezTo>
                <a:cubicBezTo>
                  <a:pt x="41" y="59"/>
                  <a:pt x="41" y="59"/>
                  <a:pt x="41" y="59"/>
                </a:cubicBezTo>
                <a:cubicBezTo>
                  <a:pt x="41" y="60"/>
                  <a:pt x="41" y="60"/>
                  <a:pt x="41" y="60"/>
                </a:cubicBezTo>
                <a:cubicBezTo>
                  <a:pt x="41" y="60"/>
                  <a:pt x="41" y="60"/>
                  <a:pt x="41" y="60"/>
                </a:cubicBezTo>
                <a:cubicBezTo>
                  <a:pt x="43" y="61"/>
                  <a:pt x="43" y="61"/>
                  <a:pt x="43" y="61"/>
                </a:cubicBezTo>
                <a:cubicBezTo>
                  <a:pt x="43" y="62"/>
                  <a:pt x="43" y="62"/>
                  <a:pt x="43" y="62"/>
                </a:cubicBezTo>
                <a:cubicBezTo>
                  <a:pt x="44" y="62"/>
                  <a:pt x="44" y="62"/>
                  <a:pt x="44" y="62"/>
                </a:cubicBezTo>
                <a:cubicBezTo>
                  <a:pt x="45" y="61"/>
                  <a:pt x="45" y="61"/>
                  <a:pt x="45" y="61"/>
                </a:cubicBezTo>
                <a:cubicBezTo>
                  <a:pt x="44" y="62"/>
                  <a:pt x="44" y="62"/>
                  <a:pt x="44" y="62"/>
                </a:cubicBezTo>
                <a:cubicBezTo>
                  <a:pt x="44" y="63"/>
                  <a:pt x="44" y="63"/>
                  <a:pt x="44" y="63"/>
                </a:cubicBezTo>
                <a:cubicBezTo>
                  <a:pt x="43" y="63"/>
                  <a:pt x="43" y="63"/>
                  <a:pt x="43" y="63"/>
                </a:cubicBezTo>
                <a:cubicBezTo>
                  <a:pt x="43" y="62"/>
                  <a:pt x="43" y="62"/>
                  <a:pt x="43" y="62"/>
                </a:cubicBezTo>
                <a:cubicBezTo>
                  <a:pt x="41" y="62"/>
                  <a:pt x="41" y="62"/>
                  <a:pt x="41" y="62"/>
                </a:cubicBezTo>
                <a:cubicBezTo>
                  <a:pt x="40" y="63"/>
                  <a:pt x="40" y="63"/>
                  <a:pt x="40" y="63"/>
                </a:cubicBezTo>
                <a:cubicBezTo>
                  <a:pt x="40" y="64"/>
                  <a:pt x="40" y="64"/>
                  <a:pt x="40" y="64"/>
                </a:cubicBezTo>
                <a:cubicBezTo>
                  <a:pt x="41" y="64"/>
                  <a:pt x="41" y="64"/>
                  <a:pt x="41" y="64"/>
                </a:cubicBezTo>
                <a:cubicBezTo>
                  <a:pt x="41" y="64"/>
                  <a:pt x="41" y="64"/>
                  <a:pt x="41" y="64"/>
                </a:cubicBezTo>
                <a:cubicBezTo>
                  <a:pt x="42" y="65"/>
                  <a:pt x="42" y="65"/>
                  <a:pt x="42" y="65"/>
                </a:cubicBezTo>
                <a:cubicBezTo>
                  <a:pt x="42" y="66"/>
                  <a:pt x="42" y="66"/>
                  <a:pt x="42" y="66"/>
                </a:cubicBezTo>
                <a:cubicBezTo>
                  <a:pt x="41" y="65"/>
                  <a:pt x="41" y="65"/>
                  <a:pt x="41" y="65"/>
                </a:cubicBezTo>
                <a:cubicBezTo>
                  <a:pt x="41" y="65"/>
                  <a:pt x="41" y="65"/>
                  <a:pt x="41" y="65"/>
                </a:cubicBezTo>
                <a:cubicBezTo>
                  <a:pt x="40" y="66"/>
                  <a:pt x="40" y="66"/>
                  <a:pt x="40" y="66"/>
                </a:cubicBezTo>
                <a:cubicBezTo>
                  <a:pt x="40" y="67"/>
                  <a:pt x="40" y="67"/>
                  <a:pt x="40" y="67"/>
                </a:cubicBezTo>
                <a:cubicBezTo>
                  <a:pt x="40" y="67"/>
                  <a:pt x="40" y="67"/>
                  <a:pt x="40" y="67"/>
                </a:cubicBezTo>
                <a:cubicBezTo>
                  <a:pt x="40" y="68"/>
                  <a:pt x="40" y="68"/>
                  <a:pt x="40" y="68"/>
                </a:cubicBezTo>
                <a:cubicBezTo>
                  <a:pt x="41" y="68"/>
                  <a:pt x="41" y="68"/>
                  <a:pt x="41" y="68"/>
                </a:cubicBezTo>
                <a:cubicBezTo>
                  <a:pt x="40" y="68"/>
                  <a:pt x="40" y="68"/>
                  <a:pt x="40" y="68"/>
                </a:cubicBezTo>
                <a:cubicBezTo>
                  <a:pt x="39" y="68"/>
                  <a:pt x="39" y="68"/>
                  <a:pt x="39" y="68"/>
                </a:cubicBezTo>
                <a:cubicBezTo>
                  <a:pt x="39" y="68"/>
                  <a:pt x="39" y="68"/>
                  <a:pt x="39" y="68"/>
                </a:cubicBezTo>
                <a:cubicBezTo>
                  <a:pt x="39" y="69"/>
                  <a:pt x="39" y="69"/>
                  <a:pt x="39" y="69"/>
                </a:cubicBezTo>
                <a:cubicBezTo>
                  <a:pt x="40" y="69"/>
                  <a:pt x="40" y="69"/>
                  <a:pt x="40" y="69"/>
                </a:cubicBezTo>
                <a:cubicBezTo>
                  <a:pt x="40" y="70"/>
                  <a:pt x="40" y="70"/>
                  <a:pt x="40" y="70"/>
                </a:cubicBezTo>
                <a:cubicBezTo>
                  <a:pt x="40" y="71"/>
                  <a:pt x="40" y="71"/>
                  <a:pt x="40" y="71"/>
                </a:cubicBezTo>
                <a:cubicBezTo>
                  <a:pt x="39" y="70"/>
                  <a:pt x="39" y="70"/>
                  <a:pt x="39" y="70"/>
                </a:cubicBezTo>
                <a:cubicBezTo>
                  <a:pt x="38" y="70"/>
                  <a:pt x="38" y="70"/>
                  <a:pt x="38" y="70"/>
                </a:cubicBezTo>
                <a:cubicBezTo>
                  <a:pt x="38" y="71"/>
                  <a:pt x="38" y="71"/>
                  <a:pt x="38" y="71"/>
                </a:cubicBezTo>
                <a:cubicBezTo>
                  <a:pt x="39" y="71"/>
                  <a:pt x="39" y="71"/>
                  <a:pt x="39" y="71"/>
                </a:cubicBezTo>
                <a:cubicBezTo>
                  <a:pt x="39" y="72"/>
                  <a:pt x="39" y="72"/>
                  <a:pt x="39" y="72"/>
                </a:cubicBezTo>
                <a:cubicBezTo>
                  <a:pt x="39" y="73"/>
                  <a:pt x="39" y="73"/>
                  <a:pt x="39" y="73"/>
                </a:cubicBezTo>
                <a:cubicBezTo>
                  <a:pt x="40" y="73"/>
                  <a:pt x="40" y="73"/>
                  <a:pt x="40" y="73"/>
                </a:cubicBezTo>
                <a:cubicBezTo>
                  <a:pt x="40" y="72"/>
                  <a:pt x="40" y="72"/>
                  <a:pt x="40" y="72"/>
                </a:cubicBezTo>
                <a:cubicBezTo>
                  <a:pt x="41" y="72"/>
                  <a:pt x="41" y="72"/>
                  <a:pt x="41" y="72"/>
                </a:cubicBezTo>
                <a:cubicBezTo>
                  <a:pt x="40" y="74"/>
                  <a:pt x="40" y="74"/>
                  <a:pt x="40" y="74"/>
                </a:cubicBezTo>
                <a:cubicBezTo>
                  <a:pt x="39" y="74"/>
                  <a:pt x="39" y="74"/>
                  <a:pt x="39" y="74"/>
                </a:cubicBezTo>
                <a:cubicBezTo>
                  <a:pt x="38" y="75"/>
                  <a:pt x="38" y="75"/>
                  <a:pt x="38" y="75"/>
                </a:cubicBezTo>
                <a:cubicBezTo>
                  <a:pt x="38" y="75"/>
                  <a:pt x="38" y="75"/>
                  <a:pt x="38" y="75"/>
                </a:cubicBezTo>
                <a:cubicBezTo>
                  <a:pt x="37" y="75"/>
                  <a:pt x="37" y="75"/>
                  <a:pt x="37" y="75"/>
                </a:cubicBezTo>
                <a:cubicBezTo>
                  <a:pt x="37" y="76"/>
                  <a:pt x="37" y="76"/>
                  <a:pt x="37" y="76"/>
                </a:cubicBezTo>
                <a:cubicBezTo>
                  <a:pt x="36" y="76"/>
                  <a:pt x="36" y="76"/>
                  <a:pt x="36" y="76"/>
                </a:cubicBezTo>
                <a:cubicBezTo>
                  <a:pt x="35" y="77"/>
                  <a:pt x="35" y="77"/>
                  <a:pt x="35" y="77"/>
                </a:cubicBezTo>
                <a:cubicBezTo>
                  <a:pt x="36" y="77"/>
                  <a:pt x="36" y="77"/>
                  <a:pt x="36" y="77"/>
                </a:cubicBezTo>
                <a:cubicBezTo>
                  <a:pt x="36" y="78"/>
                  <a:pt x="36" y="78"/>
                  <a:pt x="36" y="78"/>
                </a:cubicBezTo>
                <a:cubicBezTo>
                  <a:pt x="34" y="78"/>
                  <a:pt x="34" y="78"/>
                  <a:pt x="34" y="78"/>
                </a:cubicBezTo>
                <a:cubicBezTo>
                  <a:pt x="33" y="79"/>
                  <a:pt x="33" y="79"/>
                  <a:pt x="33" y="79"/>
                </a:cubicBezTo>
                <a:cubicBezTo>
                  <a:pt x="33" y="80"/>
                  <a:pt x="33" y="80"/>
                  <a:pt x="33" y="80"/>
                </a:cubicBezTo>
                <a:cubicBezTo>
                  <a:pt x="35" y="80"/>
                  <a:pt x="35" y="80"/>
                  <a:pt x="35" y="80"/>
                </a:cubicBezTo>
                <a:cubicBezTo>
                  <a:pt x="34" y="80"/>
                  <a:pt x="34" y="80"/>
                  <a:pt x="34" y="80"/>
                </a:cubicBezTo>
                <a:cubicBezTo>
                  <a:pt x="33" y="81"/>
                  <a:pt x="33" y="81"/>
                  <a:pt x="33" y="81"/>
                </a:cubicBezTo>
                <a:cubicBezTo>
                  <a:pt x="32" y="82"/>
                  <a:pt x="32" y="82"/>
                  <a:pt x="32" y="82"/>
                </a:cubicBezTo>
                <a:cubicBezTo>
                  <a:pt x="32" y="81"/>
                  <a:pt x="32" y="81"/>
                  <a:pt x="32" y="81"/>
                </a:cubicBezTo>
                <a:cubicBezTo>
                  <a:pt x="31" y="80"/>
                  <a:pt x="31" y="80"/>
                  <a:pt x="31" y="80"/>
                </a:cubicBezTo>
                <a:cubicBezTo>
                  <a:pt x="31" y="81"/>
                  <a:pt x="31" y="81"/>
                  <a:pt x="31" y="81"/>
                </a:cubicBezTo>
                <a:cubicBezTo>
                  <a:pt x="30" y="81"/>
                  <a:pt x="30" y="81"/>
                  <a:pt x="30" y="81"/>
                </a:cubicBezTo>
                <a:cubicBezTo>
                  <a:pt x="30" y="81"/>
                  <a:pt x="30" y="81"/>
                  <a:pt x="30" y="81"/>
                </a:cubicBezTo>
                <a:cubicBezTo>
                  <a:pt x="30" y="82"/>
                  <a:pt x="30" y="82"/>
                  <a:pt x="30" y="82"/>
                </a:cubicBezTo>
                <a:cubicBezTo>
                  <a:pt x="30" y="83"/>
                  <a:pt x="30" y="83"/>
                  <a:pt x="30" y="83"/>
                </a:cubicBezTo>
                <a:cubicBezTo>
                  <a:pt x="30" y="83"/>
                  <a:pt x="30" y="83"/>
                  <a:pt x="30" y="83"/>
                </a:cubicBezTo>
                <a:cubicBezTo>
                  <a:pt x="29" y="83"/>
                  <a:pt x="29" y="83"/>
                  <a:pt x="29" y="83"/>
                </a:cubicBezTo>
                <a:cubicBezTo>
                  <a:pt x="28" y="84"/>
                  <a:pt x="28" y="84"/>
                  <a:pt x="28" y="84"/>
                </a:cubicBezTo>
                <a:cubicBezTo>
                  <a:pt x="28" y="85"/>
                  <a:pt x="28" y="85"/>
                  <a:pt x="28" y="85"/>
                </a:cubicBezTo>
                <a:cubicBezTo>
                  <a:pt x="27" y="86"/>
                  <a:pt x="27" y="86"/>
                  <a:pt x="27" y="86"/>
                </a:cubicBezTo>
                <a:cubicBezTo>
                  <a:pt x="27" y="86"/>
                  <a:pt x="27" y="86"/>
                  <a:pt x="27" y="86"/>
                </a:cubicBezTo>
                <a:cubicBezTo>
                  <a:pt x="27" y="87"/>
                  <a:pt x="27" y="87"/>
                  <a:pt x="27" y="87"/>
                </a:cubicBezTo>
                <a:cubicBezTo>
                  <a:pt x="26" y="88"/>
                  <a:pt x="26" y="88"/>
                  <a:pt x="26" y="88"/>
                </a:cubicBezTo>
                <a:cubicBezTo>
                  <a:pt x="25" y="89"/>
                  <a:pt x="25" y="89"/>
                  <a:pt x="25" y="89"/>
                </a:cubicBezTo>
                <a:cubicBezTo>
                  <a:pt x="25" y="90"/>
                  <a:pt x="25" y="90"/>
                  <a:pt x="25" y="90"/>
                </a:cubicBezTo>
                <a:cubicBezTo>
                  <a:pt x="27" y="89"/>
                  <a:pt x="27" y="89"/>
                  <a:pt x="27" y="89"/>
                </a:cubicBezTo>
                <a:cubicBezTo>
                  <a:pt x="27" y="89"/>
                  <a:pt x="27" y="89"/>
                  <a:pt x="27" y="89"/>
                </a:cubicBezTo>
                <a:cubicBezTo>
                  <a:pt x="27" y="89"/>
                  <a:pt x="27" y="89"/>
                  <a:pt x="27" y="89"/>
                </a:cubicBezTo>
                <a:cubicBezTo>
                  <a:pt x="26" y="90"/>
                  <a:pt x="26" y="90"/>
                  <a:pt x="26" y="90"/>
                </a:cubicBezTo>
                <a:cubicBezTo>
                  <a:pt x="26" y="91"/>
                  <a:pt x="26" y="91"/>
                  <a:pt x="26" y="91"/>
                </a:cubicBezTo>
                <a:cubicBezTo>
                  <a:pt x="27" y="92"/>
                  <a:pt x="27" y="92"/>
                  <a:pt x="27" y="92"/>
                </a:cubicBezTo>
                <a:cubicBezTo>
                  <a:pt x="28" y="91"/>
                  <a:pt x="28" y="91"/>
                  <a:pt x="28" y="91"/>
                </a:cubicBezTo>
                <a:cubicBezTo>
                  <a:pt x="30" y="91"/>
                  <a:pt x="30" y="91"/>
                  <a:pt x="30" y="91"/>
                </a:cubicBezTo>
                <a:cubicBezTo>
                  <a:pt x="32" y="89"/>
                  <a:pt x="32" y="89"/>
                  <a:pt x="32" y="89"/>
                </a:cubicBezTo>
                <a:cubicBezTo>
                  <a:pt x="32" y="88"/>
                  <a:pt x="32" y="88"/>
                  <a:pt x="32" y="88"/>
                </a:cubicBezTo>
                <a:cubicBezTo>
                  <a:pt x="31" y="89"/>
                  <a:pt x="31" y="89"/>
                  <a:pt x="31" y="89"/>
                </a:cubicBezTo>
                <a:cubicBezTo>
                  <a:pt x="32" y="88"/>
                  <a:pt x="32" y="88"/>
                  <a:pt x="32" y="88"/>
                </a:cubicBezTo>
                <a:cubicBezTo>
                  <a:pt x="32" y="86"/>
                  <a:pt x="32" y="86"/>
                  <a:pt x="32" y="86"/>
                </a:cubicBezTo>
                <a:cubicBezTo>
                  <a:pt x="32" y="86"/>
                  <a:pt x="32" y="86"/>
                  <a:pt x="32" y="86"/>
                </a:cubicBezTo>
                <a:cubicBezTo>
                  <a:pt x="33" y="86"/>
                  <a:pt x="33" y="86"/>
                  <a:pt x="33" y="86"/>
                </a:cubicBezTo>
                <a:cubicBezTo>
                  <a:pt x="34" y="86"/>
                  <a:pt x="34" y="86"/>
                  <a:pt x="34" y="86"/>
                </a:cubicBezTo>
                <a:cubicBezTo>
                  <a:pt x="35" y="86"/>
                  <a:pt x="35" y="86"/>
                  <a:pt x="35" y="86"/>
                </a:cubicBezTo>
                <a:cubicBezTo>
                  <a:pt x="33" y="87"/>
                  <a:pt x="33" y="87"/>
                  <a:pt x="33" y="87"/>
                </a:cubicBezTo>
                <a:cubicBezTo>
                  <a:pt x="33" y="88"/>
                  <a:pt x="33" y="88"/>
                  <a:pt x="33" y="88"/>
                </a:cubicBezTo>
                <a:cubicBezTo>
                  <a:pt x="34" y="88"/>
                  <a:pt x="34" y="88"/>
                  <a:pt x="34" y="88"/>
                </a:cubicBezTo>
                <a:cubicBezTo>
                  <a:pt x="34" y="89"/>
                  <a:pt x="34" y="89"/>
                  <a:pt x="34" y="89"/>
                </a:cubicBezTo>
                <a:cubicBezTo>
                  <a:pt x="33" y="89"/>
                  <a:pt x="33" y="89"/>
                  <a:pt x="33" y="89"/>
                </a:cubicBezTo>
                <a:cubicBezTo>
                  <a:pt x="31" y="91"/>
                  <a:pt x="31" y="91"/>
                  <a:pt x="31" y="91"/>
                </a:cubicBezTo>
                <a:cubicBezTo>
                  <a:pt x="32" y="91"/>
                  <a:pt x="32" y="91"/>
                  <a:pt x="32" y="91"/>
                </a:cubicBezTo>
                <a:cubicBezTo>
                  <a:pt x="32" y="92"/>
                  <a:pt x="32" y="92"/>
                  <a:pt x="32" y="92"/>
                </a:cubicBezTo>
                <a:cubicBezTo>
                  <a:pt x="32" y="93"/>
                  <a:pt x="32" y="93"/>
                  <a:pt x="32" y="93"/>
                </a:cubicBezTo>
                <a:cubicBezTo>
                  <a:pt x="31" y="93"/>
                  <a:pt x="31" y="93"/>
                  <a:pt x="31" y="93"/>
                </a:cubicBezTo>
                <a:cubicBezTo>
                  <a:pt x="30" y="92"/>
                  <a:pt x="30" y="92"/>
                  <a:pt x="30" y="92"/>
                </a:cubicBezTo>
                <a:cubicBezTo>
                  <a:pt x="28" y="92"/>
                  <a:pt x="28" y="92"/>
                  <a:pt x="28" y="92"/>
                </a:cubicBezTo>
                <a:cubicBezTo>
                  <a:pt x="28" y="93"/>
                  <a:pt x="28" y="93"/>
                  <a:pt x="28" y="93"/>
                </a:cubicBezTo>
                <a:cubicBezTo>
                  <a:pt x="28" y="94"/>
                  <a:pt x="28" y="94"/>
                  <a:pt x="28" y="94"/>
                </a:cubicBezTo>
                <a:cubicBezTo>
                  <a:pt x="27" y="95"/>
                  <a:pt x="27" y="95"/>
                  <a:pt x="27" y="95"/>
                </a:cubicBezTo>
                <a:cubicBezTo>
                  <a:pt x="26" y="95"/>
                  <a:pt x="26" y="95"/>
                  <a:pt x="26" y="95"/>
                </a:cubicBezTo>
                <a:cubicBezTo>
                  <a:pt x="26" y="94"/>
                  <a:pt x="26" y="94"/>
                  <a:pt x="26" y="94"/>
                </a:cubicBezTo>
                <a:cubicBezTo>
                  <a:pt x="27" y="94"/>
                  <a:pt x="27" y="94"/>
                  <a:pt x="27" y="94"/>
                </a:cubicBezTo>
                <a:cubicBezTo>
                  <a:pt x="26" y="93"/>
                  <a:pt x="26" y="93"/>
                  <a:pt x="26" y="93"/>
                </a:cubicBezTo>
                <a:cubicBezTo>
                  <a:pt x="26" y="92"/>
                  <a:pt x="26" y="92"/>
                  <a:pt x="26" y="92"/>
                </a:cubicBezTo>
                <a:cubicBezTo>
                  <a:pt x="25" y="91"/>
                  <a:pt x="25" y="91"/>
                  <a:pt x="25" y="91"/>
                </a:cubicBezTo>
                <a:cubicBezTo>
                  <a:pt x="24" y="91"/>
                  <a:pt x="24" y="91"/>
                  <a:pt x="24" y="91"/>
                </a:cubicBezTo>
                <a:cubicBezTo>
                  <a:pt x="24" y="91"/>
                  <a:pt x="24" y="91"/>
                  <a:pt x="24" y="91"/>
                </a:cubicBezTo>
                <a:cubicBezTo>
                  <a:pt x="23" y="92"/>
                  <a:pt x="23" y="92"/>
                  <a:pt x="23" y="92"/>
                </a:cubicBezTo>
                <a:cubicBezTo>
                  <a:pt x="23" y="92"/>
                  <a:pt x="23" y="92"/>
                  <a:pt x="23" y="92"/>
                </a:cubicBezTo>
                <a:cubicBezTo>
                  <a:pt x="24" y="92"/>
                  <a:pt x="24" y="92"/>
                  <a:pt x="24" y="92"/>
                </a:cubicBezTo>
                <a:cubicBezTo>
                  <a:pt x="23" y="94"/>
                  <a:pt x="23" y="94"/>
                  <a:pt x="23" y="94"/>
                </a:cubicBezTo>
                <a:cubicBezTo>
                  <a:pt x="22" y="93"/>
                  <a:pt x="22" y="93"/>
                  <a:pt x="22" y="93"/>
                </a:cubicBezTo>
                <a:cubicBezTo>
                  <a:pt x="21" y="93"/>
                  <a:pt x="21" y="93"/>
                  <a:pt x="21" y="93"/>
                </a:cubicBezTo>
                <a:cubicBezTo>
                  <a:pt x="20" y="94"/>
                  <a:pt x="20" y="94"/>
                  <a:pt x="20" y="94"/>
                </a:cubicBezTo>
                <a:cubicBezTo>
                  <a:pt x="20" y="95"/>
                  <a:pt x="20" y="95"/>
                  <a:pt x="20" y="95"/>
                </a:cubicBezTo>
                <a:cubicBezTo>
                  <a:pt x="21" y="94"/>
                  <a:pt x="21" y="94"/>
                  <a:pt x="21" y="94"/>
                </a:cubicBezTo>
                <a:cubicBezTo>
                  <a:pt x="21" y="95"/>
                  <a:pt x="21" y="95"/>
                  <a:pt x="21" y="95"/>
                </a:cubicBezTo>
                <a:cubicBezTo>
                  <a:pt x="20" y="95"/>
                  <a:pt x="20" y="95"/>
                  <a:pt x="20" y="95"/>
                </a:cubicBezTo>
                <a:cubicBezTo>
                  <a:pt x="19" y="96"/>
                  <a:pt x="19" y="96"/>
                  <a:pt x="19" y="96"/>
                </a:cubicBezTo>
                <a:cubicBezTo>
                  <a:pt x="19" y="96"/>
                  <a:pt x="19" y="96"/>
                  <a:pt x="19" y="96"/>
                </a:cubicBezTo>
                <a:cubicBezTo>
                  <a:pt x="18" y="96"/>
                  <a:pt x="18" y="96"/>
                  <a:pt x="18" y="96"/>
                </a:cubicBezTo>
                <a:cubicBezTo>
                  <a:pt x="18" y="96"/>
                  <a:pt x="18" y="96"/>
                  <a:pt x="18" y="96"/>
                </a:cubicBezTo>
                <a:cubicBezTo>
                  <a:pt x="19" y="97"/>
                  <a:pt x="19" y="97"/>
                  <a:pt x="19" y="97"/>
                </a:cubicBezTo>
                <a:cubicBezTo>
                  <a:pt x="21" y="97"/>
                  <a:pt x="21" y="97"/>
                  <a:pt x="21" y="97"/>
                </a:cubicBezTo>
                <a:cubicBezTo>
                  <a:pt x="21" y="98"/>
                  <a:pt x="21" y="98"/>
                  <a:pt x="21" y="98"/>
                </a:cubicBezTo>
                <a:cubicBezTo>
                  <a:pt x="21" y="98"/>
                  <a:pt x="21" y="98"/>
                  <a:pt x="21" y="98"/>
                </a:cubicBezTo>
                <a:cubicBezTo>
                  <a:pt x="21" y="99"/>
                  <a:pt x="21" y="99"/>
                  <a:pt x="21" y="99"/>
                </a:cubicBezTo>
                <a:cubicBezTo>
                  <a:pt x="20" y="98"/>
                  <a:pt x="20" y="98"/>
                  <a:pt x="20" y="98"/>
                </a:cubicBezTo>
                <a:cubicBezTo>
                  <a:pt x="20" y="98"/>
                  <a:pt x="20" y="98"/>
                  <a:pt x="20" y="98"/>
                </a:cubicBezTo>
                <a:cubicBezTo>
                  <a:pt x="18" y="98"/>
                  <a:pt x="18" y="98"/>
                  <a:pt x="18" y="98"/>
                </a:cubicBezTo>
                <a:cubicBezTo>
                  <a:pt x="17" y="97"/>
                  <a:pt x="17" y="97"/>
                  <a:pt x="17" y="97"/>
                </a:cubicBezTo>
                <a:cubicBezTo>
                  <a:pt x="17" y="96"/>
                  <a:pt x="17" y="96"/>
                  <a:pt x="17" y="96"/>
                </a:cubicBezTo>
                <a:cubicBezTo>
                  <a:pt x="17" y="96"/>
                  <a:pt x="17" y="96"/>
                  <a:pt x="17" y="96"/>
                </a:cubicBezTo>
                <a:cubicBezTo>
                  <a:pt x="16" y="97"/>
                  <a:pt x="16" y="97"/>
                  <a:pt x="16" y="97"/>
                </a:cubicBezTo>
                <a:cubicBezTo>
                  <a:pt x="18" y="98"/>
                  <a:pt x="18" y="98"/>
                  <a:pt x="18" y="98"/>
                </a:cubicBezTo>
                <a:cubicBezTo>
                  <a:pt x="19" y="99"/>
                  <a:pt x="19" y="99"/>
                  <a:pt x="19" y="99"/>
                </a:cubicBezTo>
                <a:cubicBezTo>
                  <a:pt x="20" y="99"/>
                  <a:pt x="20" y="99"/>
                  <a:pt x="20" y="99"/>
                </a:cubicBezTo>
                <a:cubicBezTo>
                  <a:pt x="20" y="100"/>
                  <a:pt x="20" y="100"/>
                  <a:pt x="20" y="100"/>
                </a:cubicBezTo>
                <a:cubicBezTo>
                  <a:pt x="19" y="100"/>
                  <a:pt x="19" y="100"/>
                  <a:pt x="19" y="100"/>
                </a:cubicBezTo>
                <a:cubicBezTo>
                  <a:pt x="17" y="99"/>
                  <a:pt x="17" y="99"/>
                  <a:pt x="17" y="99"/>
                </a:cubicBezTo>
                <a:cubicBezTo>
                  <a:pt x="16" y="97"/>
                  <a:pt x="16" y="97"/>
                  <a:pt x="16" y="97"/>
                </a:cubicBezTo>
                <a:cubicBezTo>
                  <a:pt x="15" y="98"/>
                  <a:pt x="15" y="98"/>
                  <a:pt x="15" y="98"/>
                </a:cubicBezTo>
                <a:cubicBezTo>
                  <a:pt x="14" y="97"/>
                  <a:pt x="14" y="97"/>
                  <a:pt x="14" y="97"/>
                </a:cubicBezTo>
                <a:cubicBezTo>
                  <a:pt x="13" y="97"/>
                  <a:pt x="13" y="97"/>
                  <a:pt x="13" y="97"/>
                </a:cubicBezTo>
                <a:cubicBezTo>
                  <a:pt x="12" y="97"/>
                  <a:pt x="12" y="97"/>
                  <a:pt x="12" y="97"/>
                </a:cubicBezTo>
                <a:cubicBezTo>
                  <a:pt x="12" y="97"/>
                  <a:pt x="12" y="97"/>
                  <a:pt x="12" y="97"/>
                </a:cubicBezTo>
                <a:cubicBezTo>
                  <a:pt x="12" y="98"/>
                  <a:pt x="12" y="98"/>
                  <a:pt x="12" y="98"/>
                </a:cubicBezTo>
                <a:cubicBezTo>
                  <a:pt x="11" y="99"/>
                  <a:pt x="11" y="99"/>
                  <a:pt x="11" y="99"/>
                </a:cubicBezTo>
                <a:cubicBezTo>
                  <a:pt x="12" y="100"/>
                  <a:pt x="12" y="100"/>
                  <a:pt x="12" y="100"/>
                </a:cubicBezTo>
                <a:cubicBezTo>
                  <a:pt x="14" y="99"/>
                  <a:pt x="14" y="99"/>
                  <a:pt x="14" y="99"/>
                </a:cubicBezTo>
                <a:cubicBezTo>
                  <a:pt x="15" y="100"/>
                  <a:pt x="15" y="100"/>
                  <a:pt x="15" y="100"/>
                </a:cubicBezTo>
                <a:cubicBezTo>
                  <a:pt x="14" y="100"/>
                  <a:pt x="14" y="100"/>
                  <a:pt x="14" y="100"/>
                </a:cubicBezTo>
                <a:cubicBezTo>
                  <a:pt x="14" y="100"/>
                  <a:pt x="14" y="100"/>
                  <a:pt x="14" y="100"/>
                </a:cubicBezTo>
                <a:cubicBezTo>
                  <a:pt x="16" y="100"/>
                  <a:pt x="16" y="100"/>
                  <a:pt x="16" y="100"/>
                </a:cubicBezTo>
                <a:cubicBezTo>
                  <a:pt x="16" y="100"/>
                  <a:pt x="16" y="100"/>
                  <a:pt x="16" y="100"/>
                </a:cubicBezTo>
                <a:cubicBezTo>
                  <a:pt x="16" y="100"/>
                  <a:pt x="16" y="100"/>
                  <a:pt x="16" y="100"/>
                </a:cubicBezTo>
                <a:cubicBezTo>
                  <a:pt x="14" y="101"/>
                  <a:pt x="14" y="101"/>
                  <a:pt x="14" y="101"/>
                </a:cubicBezTo>
                <a:cubicBezTo>
                  <a:pt x="14" y="102"/>
                  <a:pt x="14" y="102"/>
                  <a:pt x="14" y="102"/>
                </a:cubicBezTo>
                <a:cubicBezTo>
                  <a:pt x="12" y="102"/>
                  <a:pt x="12" y="102"/>
                  <a:pt x="12" y="102"/>
                </a:cubicBezTo>
                <a:cubicBezTo>
                  <a:pt x="11" y="100"/>
                  <a:pt x="11" y="100"/>
                  <a:pt x="11" y="100"/>
                </a:cubicBezTo>
                <a:cubicBezTo>
                  <a:pt x="11" y="100"/>
                  <a:pt x="11" y="100"/>
                  <a:pt x="11" y="100"/>
                </a:cubicBezTo>
                <a:cubicBezTo>
                  <a:pt x="10" y="101"/>
                  <a:pt x="10" y="101"/>
                  <a:pt x="10" y="101"/>
                </a:cubicBezTo>
                <a:cubicBezTo>
                  <a:pt x="9" y="100"/>
                  <a:pt x="9" y="100"/>
                  <a:pt x="9" y="100"/>
                </a:cubicBezTo>
                <a:cubicBezTo>
                  <a:pt x="8" y="101"/>
                  <a:pt x="8" y="101"/>
                  <a:pt x="8" y="101"/>
                </a:cubicBezTo>
                <a:cubicBezTo>
                  <a:pt x="8" y="100"/>
                  <a:pt x="8" y="100"/>
                  <a:pt x="8" y="100"/>
                </a:cubicBezTo>
                <a:cubicBezTo>
                  <a:pt x="7" y="101"/>
                  <a:pt x="7" y="101"/>
                  <a:pt x="7" y="101"/>
                </a:cubicBezTo>
                <a:cubicBezTo>
                  <a:pt x="7" y="101"/>
                  <a:pt x="7" y="101"/>
                  <a:pt x="7" y="101"/>
                </a:cubicBezTo>
                <a:cubicBezTo>
                  <a:pt x="9" y="102"/>
                  <a:pt x="9" y="102"/>
                  <a:pt x="9" y="102"/>
                </a:cubicBezTo>
                <a:cubicBezTo>
                  <a:pt x="10" y="102"/>
                  <a:pt x="10" y="102"/>
                  <a:pt x="10" y="102"/>
                </a:cubicBezTo>
                <a:cubicBezTo>
                  <a:pt x="12" y="103"/>
                  <a:pt x="12" y="103"/>
                  <a:pt x="12" y="103"/>
                </a:cubicBezTo>
                <a:cubicBezTo>
                  <a:pt x="12" y="104"/>
                  <a:pt x="12" y="104"/>
                  <a:pt x="12" y="104"/>
                </a:cubicBezTo>
                <a:cubicBezTo>
                  <a:pt x="12" y="105"/>
                  <a:pt x="12" y="105"/>
                  <a:pt x="12" y="105"/>
                </a:cubicBezTo>
                <a:cubicBezTo>
                  <a:pt x="11" y="106"/>
                  <a:pt x="11" y="106"/>
                  <a:pt x="11" y="106"/>
                </a:cubicBezTo>
                <a:cubicBezTo>
                  <a:pt x="11" y="105"/>
                  <a:pt x="11" y="105"/>
                  <a:pt x="11" y="105"/>
                </a:cubicBezTo>
                <a:cubicBezTo>
                  <a:pt x="11" y="103"/>
                  <a:pt x="11" y="103"/>
                  <a:pt x="11" y="103"/>
                </a:cubicBezTo>
                <a:cubicBezTo>
                  <a:pt x="10" y="103"/>
                  <a:pt x="10" y="103"/>
                  <a:pt x="10" y="103"/>
                </a:cubicBezTo>
                <a:cubicBezTo>
                  <a:pt x="9" y="103"/>
                  <a:pt x="9" y="103"/>
                  <a:pt x="9" y="103"/>
                </a:cubicBezTo>
                <a:cubicBezTo>
                  <a:pt x="9" y="104"/>
                  <a:pt x="9" y="104"/>
                  <a:pt x="9" y="104"/>
                </a:cubicBezTo>
                <a:cubicBezTo>
                  <a:pt x="9" y="105"/>
                  <a:pt x="9" y="105"/>
                  <a:pt x="9" y="105"/>
                </a:cubicBezTo>
                <a:cubicBezTo>
                  <a:pt x="7" y="104"/>
                  <a:pt x="7" y="104"/>
                  <a:pt x="7" y="104"/>
                </a:cubicBezTo>
                <a:cubicBezTo>
                  <a:pt x="6" y="105"/>
                  <a:pt x="6" y="105"/>
                  <a:pt x="6" y="105"/>
                </a:cubicBezTo>
                <a:cubicBezTo>
                  <a:pt x="7" y="106"/>
                  <a:pt x="7" y="106"/>
                  <a:pt x="7" y="106"/>
                </a:cubicBezTo>
                <a:cubicBezTo>
                  <a:pt x="6" y="106"/>
                  <a:pt x="6" y="106"/>
                  <a:pt x="6" y="106"/>
                </a:cubicBezTo>
                <a:cubicBezTo>
                  <a:pt x="6" y="106"/>
                  <a:pt x="6" y="106"/>
                  <a:pt x="6" y="106"/>
                </a:cubicBezTo>
                <a:cubicBezTo>
                  <a:pt x="5" y="105"/>
                  <a:pt x="5" y="105"/>
                  <a:pt x="5" y="105"/>
                </a:cubicBezTo>
                <a:cubicBezTo>
                  <a:pt x="4" y="105"/>
                  <a:pt x="4" y="105"/>
                  <a:pt x="4" y="105"/>
                </a:cubicBezTo>
                <a:cubicBezTo>
                  <a:pt x="4" y="106"/>
                  <a:pt x="4" y="106"/>
                  <a:pt x="4" y="106"/>
                </a:cubicBezTo>
                <a:cubicBezTo>
                  <a:pt x="4" y="107"/>
                  <a:pt x="4" y="107"/>
                  <a:pt x="4" y="107"/>
                </a:cubicBezTo>
                <a:cubicBezTo>
                  <a:pt x="3" y="106"/>
                  <a:pt x="3" y="106"/>
                  <a:pt x="3" y="106"/>
                </a:cubicBezTo>
                <a:cubicBezTo>
                  <a:pt x="2" y="105"/>
                  <a:pt x="2" y="105"/>
                  <a:pt x="2" y="105"/>
                </a:cubicBezTo>
                <a:cubicBezTo>
                  <a:pt x="2" y="105"/>
                  <a:pt x="2" y="105"/>
                  <a:pt x="2" y="105"/>
                </a:cubicBezTo>
                <a:cubicBezTo>
                  <a:pt x="2" y="106"/>
                  <a:pt x="2" y="106"/>
                  <a:pt x="2" y="106"/>
                </a:cubicBezTo>
                <a:cubicBezTo>
                  <a:pt x="3" y="107"/>
                  <a:pt x="3" y="107"/>
                  <a:pt x="3" y="107"/>
                </a:cubicBezTo>
                <a:cubicBezTo>
                  <a:pt x="2" y="107"/>
                  <a:pt x="2" y="107"/>
                  <a:pt x="2" y="107"/>
                </a:cubicBezTo>
                <a:cubicBezTo>
                  <a:pt x="3" y="108"/>
                  <a:pt x="3" y="108"/>
                  <a:pt x="3" y="108"/>
                </a:cubicBezTo>
                <a:cubicBezTo>
                  <a:pt x="4" y="107"/>
                  <a:pt x="4" y="107"/>
                  <a:pt x="4" y="107"/>
                </a:cubicBezTo>
                <a:cubicBezTo>
                  <a:pt x="6" y="108"/>
                  <a:pt x="6" y="108"/>
                  <a:pt x="6" y="108"/>
                </a:cubicBezTo>
                <a:cubicBezTo>
                  <a:pt x="7" y="109"/>
                  <a:pt x="7" y="109"/>
                  <a:pt x="7" y="109"/>
                </a:cubicBezTo>
                <a:cubicBezTo>
                  <a:pt x="9" y="109"/>
                  <a:pt x="9" y="109"/>
                  <a:pt x="9" y="109"/>
                </a:cubicBezTo>
                <a:cubicBezTo>
                  <a:pt x="10" y="108"/>
                  <a:pt x="10" y="108"/>
                  <a:pt x="10" y="108"/>
                </a:cubicBezTo>
                <a:cubicBezTo>
                  <a:pt x="11" y="108"/>
                  <a:pt x="11" y="108"/>
                  <a:pt x="11" y="108"/>
                </a:cubicBezTo>
                <a:cubicBezTo>
                  <a:pt x="9" y="109"/>
                  <a:pt x="9" y="109"/>
                  <a:pt x="9" y="109"/>
                </a:cubicBezTo>
                <a:cubicBezTo>
                  <a:pt x="8" y="109"/>
                  <a:pt x="8" y="109"/>
                  <a:pt x="8" y="109"/>
                </a:cubicBezTo>
                <a:cubicBezTo>
                  <a:pt x="7" y="109"/>
                  <a:pt x="7" y="109"/>
                  <a:pt x="7" y="109"/>
                </a:cubicBezTo>
                <a:cubicBezTo>
                  <a:pt x="5" y="108"/>
                  <a:pt x="5" y="108"/>
                  <a:pt x="5" y="108"/>
                </a:cubicBezTo>
                <a:cubicBezTo>
                  <a:pt x="4" y="109"/>
                  <a:pt x="4" y="109"/>
                  <a:pt x="4" y="109"/>
                </a:cubicBezTo>
                <a:cubicBezTo>
                  <a:pt x="3" y="108"/>
                  <a:pt x="3" y="108"/>
                  <a:pt x="3" y="108"/>
                </a:cubicBezTo>
                <a:cubicBezTo>
                  <a:pt x="2" y="109"/>
                  <a:pt x="2" y="109"/>
                  <a:pt x="2" y="109"/>
                </a:cubicBezTo>
                <a:cubicBezTo>
                  <a:pt x="1" y="109"/>
                  <a:pt x="1" y="109"/>
                  <a:pt x="1" y="109"/>
                </a:cubicBezTo>
                <a:cubicBezTo>
                  <a:pt x="1" y="110"/>
                  <a:pt x="1" y="110"/>
                  <a:pt x="1" y="110"/>
                </a:cubicBezTo>
                <a:cubicBezTo>
                  <a:pt x="3" y="111"/>
                  <a:pt x="3" y="111"/>
                  <a:pt x="3" y="111"/>
                </a:cubicBezTo>
                <a:cubicBezTo>
                  <a:pt x="2" y="112"/>
                  <a:pt x="2" y="112"/>
                  <a:pt x="2" y="112"/>
                </a:cubicBezTo>
                <a:cubicBezTo>
                  <a:pt x="3" y="112"/>
                  <a:pt x="3" y="112"/>
                  <a:pt x="3" y="112"/>
                </a:cubicBezTo>
                <a:cubicBezTo>
                  <a:pt x="4" y="112"/>
                  <a:pt x="4" y="112"/>
                  <a:pt x="4" y="112"/>
                </a:cubicBezTo>
                <a:cubicBezTo>
                  <a:pt x="6" y="112"/>
                  <a:pt x="6" y="112"/>
                  <a:pt x="6" y="112"/>
                </a:cubicBezTo>
                <a:cubicBezTo>
                  <a:pt x="4" y="112"/>
                  <a:pt x="4" y="112"/>
                  <a:pt x="4" y="112"/>
                </a:cubicBezTo>
                <a:cubicBezTo>
                  <a:pt x="3" y="112"/>
                  <a:pt x="3" y="112"/>
                  <a:pt x="3" y="112"/>
                </a:cubicBezTo>
                <a:cubicBezTo>
                  <a:pt x="2" y="113"/>
                  <a:pt x="2" y="113"/>
                  <a:pt x="2" y="113"/>
                </a:cubicBezTo>
                <a:cubicBezTo>
                  <a:pt x="2" y="112"/>
                  <a:pt x="2" y="112"/>
                  <a:pt x="2" y="112"/>
                </a:cubicBezTo>
                <a:cubicBezTo>
                  <a:pt x="2" y="113"/>
                  <a:pt x="2" y="113"/>
                  <a:pt x="2" y="113"/>
                </a:cubicBezTo>
                <a:cubicBezTo>
                  <a:pt x="3" y="113"/>
                  <a:pt x="3" y="113"/>
                  <a:pt x="3" y="113"/>
                </a:cubicBezTo>
                <a:cubicBezTo>
                  <a:pt x="3" y="113"/>
                  <a:pt x="3" y="113"/>
                  <a:pt x="3" y="113"/>
                </a:cubicBezTo>
                <a:cubicBezTo>
                  <a:pt x="2" y="114"/>
                  <a:pt x="2" y="114"/>
                  <a:pt x="2" y="114"/>
                </a:cubicBezTo>
                <a:cubicBezTo>
                  <a:pt x="2" y="114"/>
                  <a:pt x="2" y="114"/>
                  <a:pt x="2" y="114"/>
                </a:cubicBezTo>
                <a:cubicBezTo>
                  <a:pt x="2" y="115"/>
                  <a:pt x="2" y="115"/>
                  <a:pt x="2" y="115"/>
                </a:cubicBezTo>
                <a:cubicBezTo>
                  <a:pt x="2" y="115"/>
                  <a:pt x="2" y="115"/>
                  <a:pt x="2" y="115"/>
                </a:cubicBezTo>
                <a:cubicBezTo>
                  <a:pt x="3" y="116"/>
                  <a:pt x="3" y="116"/>
                  <a:pt x="3" y="116"/>
                </a:cubicBezTo>
                <a:cubicBezTo>
                  <a:pt x="4" y="116"/>
                  <a:pt x="4" y="116"/>
                  <a:pt x="4" y="116"/>
                </a:cubicBezTo>
                <a:cubicBezTo>
                  <a:pt x="5" y="115"/>
                  <a:pt x="5" y="115"/>
                  <a:pt x="5" y="115"/>
                </a:cubicBezTo>
                <a:cubicBezTo>
                  <a:pt x="7" y="115"/>
                  <a:pt x="7" y="115"/>
                  <a:pt x="7" y="115"/>
                </a:cubicBezTo>
                <a:cubicBezTo>
                  <a:pt x="8" y="115"/>
                  <a:pt x="8" y="115"/>
                  <a:pt x="8" y="115"/>
                </a:cubicBezTo>
                <a:cubicBezTo>
                  <a:pt x="9" y="115"/>
                  <a:pt x="9" y="115"/>
                  <a:pt x="9" y="115"/>
                </a:cubicBezTo>
                <a:cubicBezTo>
                  <a:pt x="9" y="115"/>
                  <a:pt x="9" y="115"/>
                  <a:pt x="9" y="115"/>
                </a:cubicBezTo>
                <a:cubicBezTo>
                  <a:pt x="9" y="114"/>
                  <a:pt x="9" y="114"/>
                  <a:pt x="9" y="114"/>
                </a:cubicBezTo>
                <a:cubicBezTo>
                  <a:pt x="10" y="114"/>
                  <a:pt x="10" y="114"/>
                  <a:pt x="10" y="114"/>
                </a:cubicBezTo>
                <a:cubicBezTo>
                  <a:pt x="11" y="115"/>
                  <a:pt x="11" y="115"/>
                  <a:pt x="11" y="115"/>
                </a:cubicBezTo>
                <a:cubicBezTo>
                  <a:pt x="12" y="115"/>
                  <a:pt x="12" y="115"/>
                  <a:pt x="12" y="115"/>
                </a:cubicBezTo>
                <a:cubicBezTo>
                  <a:pt x="13" y="114"/>
                  <a:pt x="13" y="114"/>
                  <a:pt x="13" y="114"/>
                </a:cubicBezTo>
                <a:cubicBezTo>
                  <a:pt x="13" y="114"/>
                  <a:pt x="13" y="114"/>
                  <a:pt x="13" y="114"/>
                </a:cubicBezTo>
                <a:cubicBezTo>
                  <a:pt x="13" y="114"/>
                  <a:pt x="13" y="114"/>
                  <a:pt x="13" y="114"/>
                </a:cubicBezTo>
                <a:cubicBezTo>
                  <a:pt x="13" y="115"/>
                  <a:pt x="13" y="115"/>
                  <a:pt x="13" y="115"/>
                </a:cubicBezTo>
                <a:cubicBezTo>
                  <a:pt x="14" y="115"/>
                  <a:pt x="14" y="115"/>
                  <a:pt x="14" y="115"/>
                </a:cubicBezTo>
                <a:cubicBezTo>
                  <a:pt x="14" y="114"/>
                  <a:pt x="14" y="114"/>
                  <a:pt x="14" y="114"/>
                </a:cubicBezTo>
                <a:cubicBezTo>
                  <a:pt x="14" y="114"/>
                  <a:pt x="14" y="114"/>
                  <a:pt x="14" y="114"/>
                </a:cubicBezTo>
                <a:cubicBezTo>
                  <a:pt x="15" y="112"/>
                  <a:pt x="15" y="112"/>
                  <a:pt x="15" y="112"/>
                </a:cubicBezTo>
                <a:cubicBezTo>
                  <a:pt x="15" y="113"/>
                  <a:pt x="15" y="113"/>
                  <a:pt x="15" y="113"/>
                </a:cubicBezTo>
                <a:cubicBezTo>
                  <a:pt x="16" y="115"/>
                  <a:pt x="16" y="115"/>
                  <a:pt x="16" y="115"/>
                </a:cubicBezTo>
                <a:cubicBezTo>
                  <a:pt x="15" y="116"/>
                  <a:pt x="15" y="116"/>
                  <a:pt x="15" y="116"/>
                </a:cubicBezTo>
                <a:cubicBezTo>
                  <a:pt x="13" y="116"/>
                  <a:pt x="13" y="116"/>
                  <a:pt x="13" y="116"/>
                </a:cubicBezTo>
                <a:cubicBezTo>
                  <a:pt x="13" y="117"/>
                  <a:pt x="13" y="117"/>
                  <a:pt x="13" y="117"/>
                </a:cubicBezTo>
                <a:cubicBezTo>
                  <a:pt x="13" y="117"/>
                  <a:pt x="13" y="117"/>
                  <a:pt x="13" y="117"/>
                </a:cubicBezTo>
                <a:cubicBezTo>
                  <a:pt x="12" y="118"/>
                  <a:pt x="12" y="118"/>
                  <a:pt x="12" y="118"/>
                </a:cubicBezTo>
                <a:cubicBezTo>
                  <a:pt x="11" y="118"/>
                  <a:pt x="11" y="118"/>
                  <a:pt x="11" y="118"/>
                </a:cubicBezTo>
                <a:cubicBezTo>
                  <a:pt x="11" y="117"/>
                  <a:pt x="11" y="117"/>
                  <a:pt x="11" y="117"/>
                </a:cubicBezTo>
                <a:cubicBezTo>
                  <a:pt x="12" y="117"/>
                  <a:pt x="12" y="117"/>
                  <a:pt x="12" y="117"/>
                </a:cubicBezTo>
                <a:cubicBezTo>
                  <a:pt x="12" y="116"/>
                  <a:pt x="12" y="116"/>
                  <a:pt x="12" y="116"/>
                </a:cubicBezTo>
                <a:cubicBezTo>
                  <a:pt x="10" y="116"/>
                  <a:pt x="10" y="116"/>
                  <a:pt x="10" y="116"/>
                </a:cubicBezTo>
                <a:cubicBezTo>
                  <a:pt x="9" y="117"/>
                  <a:pt x="9" y="117"/>
                  <a:pt x="9" y="117"/>
                </a:cubicBezTo>
                <a:cubicBezTo>
                  <a:pt x="9" y="117"/>
                  <a:pt x="9" y="117"/>
                  <a:pt x="9" y="117"/>
                </a:cubicBezTo>
                <a:cubicBezTo>
                  <a:pt x="8" y="116"/>
                  <a:pt x="8" y="116"/>
                  <a:pt x="8" y="116"/>
                </a:cubicBezTo>
                <a:cubicBezTo>
                  <a:pt x="7" y="116"/>
                  <a:pt x="7" y="116"/>
                  <a:pt x="7" y="116"/>
                </a:cubicBezTo>
                <a:cubicBezTo>
                  <a:pt x="6" y="116"/>
                  <a:pt x="6" y="116"/>
                  <a:pt x="6" y="116"/>
                </a:cubicBezTo>
                <a:cubicBezTo>
                  <a:pt x="5" y="116"/>
                  <a:pt x="5" y="116"/>
                  <a:pt x="5" y="116"/>
                </a:cubicBezTo>
                <a:cubicBezTo>
                  <a:pt x="3" y="117"/>
                  <a:pt x="3" y="117"/>
                  <a:pt x="3" y="117"/>
                </a:cubicBezTo>
                <a:cubicBezTo>
                  <a:pt x="3" y="117"/>
                  <a:pt x="3" y="117"/>
                  <a:pt x="3" y="117"/>
                </a:cubicBezTo>
                <a:cubicBezTo>
                  <a:pt x="2" y="116"/>
                  <a:pt x="2" y="116"/>
                  <a:pt x="2" y="116"/>
                </a:cubicBezTo>
                <a:cubicBezTo>
                  <a:pt x="1" y="116"/>
                  <a:pt x="1" y="116"/>
                  <a:pt x="1" y="116"/>
                </a:cubicBezTo>
                <a:cubicBezTo>
                  <a:pt x="2" y="118"/>
                  <a:pt x="2" y="118"/>
                  <a:pt x="2" y="118"/>
                </a:cubicBezTo>
                <a:cubicBezTo>
                  <a:pt x="1" y="118"/>
                  <a:pt x="1" y="118"/>
                  <a:pt x="1" y="118"/>
                </a:cubicBezTo>
                <a:cubicBezTo>
                  <a:pt x="2" y="119"/>
                  <a:pt x="2" y="119"/>
                  <a:pt x="2" y="119"/>
                </a:cubicBezTo>
                <a:cubicBezTo>
                  <a:pt x="3" y="118"/>
                  <a:pt x="3" y="118"/>
                  <a:pt x="3" y="118"/>
                </a:cubicBezTo>
                <a:cubicBezTo>
                  <a:pt x="3" y="118"/>
                  <a:pt x="3" y="118"/>
                  <a:pt x="3" y="118"/>
                </a:cubicBezTo>
                <a:cubicBezTo>
                  <a:pt x="4" y="118"/>
                  <a:pt x="4" y="118"/>
                  <a:pt x="4" y="118"/>
                </a:cubicBezTo>
                <a:cubicBezTo>
                  <a:pt x="3" y="119"/>
                  <a:pt x="3" y="119"/>
                  <a:pt x="3" y="119"/>
                </a:cubicBezTo>
                <a:cubicBezTo>
                  <a:pt x="3" y="120"/>
                  <a:pt x="3" y="120"/>
                  <a:pt x="3" y="120"/>
                </a:cubicBezTo>
                <a:cubicBezTo>
                  <a:pt x="3" y="120"/>
                  <a:pt x="3" y="120"/>
                  <a:pt x="3" y="120"/>
                </a:cubicBezTo>
                <a:cubicBezTo>
                  <a:pt x="2" y="120"/>
                  <a:pt x="2" y="120"/>
                  <a:pt x="2" y="120"/>
                </a:cubicBezTo>
                <a:cubicBezTo>
                  <a:pt x="2" y="121"/>
                  <a:pt x="2" y="121"/>
                  <a:pt x="2" y="121"/>
                </a:cubicBezTo>
                <a:cubicBezTo>
                  <a:pt x="3" y="122"/>
                  <a:pt x="3" y="122"/>
                  <a:pt x="3" y="122"/>
                </a:cubicBezTo>
                <a:cubicBezTo>
                  <a:pt x="5" y="120"/>
                  <a:pt x="5" y="120"/>
                  <a:pt x="5" y="120"/>
                </a:cubicBezTo>
                <a:cubicBezTo>
                  <a:pt x="6" y="120"/>
                  <a:pt x="6" y="120"/>
                  <a:pt x="6" y="120"/>
                </a:cubicBezTo>
                <a:cubicBezTo>
                  <a:pt x="6" y="121"/>
                  <a:pt x="6" y="121"/>
                  <a:pt x="6" y="121"/>
                </a:cubicBezTo>
                <a:cubicBezTo>
                  <a:pt x="6" y="122"/>
                  <a:pt x="6" y="122"/>
                  <a:pt x="6" y="122"/>
                </a:cubicBezTo>
                <a:cubicBezTo>
                  <a:pt x="4" y="123"/>
                  <a:pt x="4" y="123"/>
                  <a:pt x="4" y="123"/>
                </a:cubicBezTo>
                <a:cubicBezTo>
                  <a:pt x="5" y="123"/>
                  <a:pt x="5" y="123"/>
                  <a:pt x="5" y="123"/>
                </a:cubicBezTo>
                <a:cubicBezTo>
                  <a:pt x="5" y="123"/>
                  <a:pt x="5" y="123"/>
                  <a:pt x="5" y="123"/>
                </a:cubicBezTo>
                <a:cubicBezTo>
                  <a:pt x="5" y="124"/>
                  <a:pt x="5" y="124"/>
                  <a:pt x="5" y="124"/>
                </a:cubicBezTo>
                <a:cubicBezTo>
                  <a:pt x="6" y="125"/>
                  <a:pt x="6" y="125"/>
                  <a:pt x="6" y="125"/>
                </a:cubicBezTo>
                <a:cubicBezTo>
                  <a:pt x="5" y="126"/>
                  <a:pt x="5" y="126"/>
                  <a:pt x="5" y="126"/>
                </a:cubicBezTo>
                <a:cubicBezTo>
                  <a:pt x="6" y="126"/>
                  <a:pt x="6" y="126"/>
                  <a:pt x="6" y="126"/>
                </a:cubicBezTo>
                <a:cubicBezTo>
                  <a:pt x="7" y="125"/>
                  <a:pt x="7" y="125"/>
                  <a:pt x="7" y="125"/>
                </a:cubicBezTo>
                <a:cubicBezTo>
                  <a:pt x="7" y="124"/>
                  <a:pt x="7" y="124"/>
                  <a:pt x="7" y="124"/>
                </a:cubicBezTo>
                <a:cubicBezTo>
                  <a:pt x="8" y="123"/>
                  <a:pt x="8" y="123"/>
                  <a:pt x="8" y="123"/>
                </a:cubicBezTo>
                <a:cubicBezTo>
                  <a:pt x="10" y="122"/>
                  <a:pt x="10" y="122"/>
                  <a:pt x="10" y="122"/>
                </a:cubicBezTo>
                <a:cubicBezTo>
                  <a:pt x="11" y="122"/>
                  <a:pt x="11" y="122"/>
                  <a:pt x="11" y="122"/>
                </a:cubicBezTo>
                <a:cubicBezTo>
                  <a:pt x="12" y="122"/>
                  <a:pt x="12" y="122"/>
                  <a:pt x="12" y="122"/>
                </a:cubicBezTo>
                <a:cubicBezTo>
                  <a:pt x="11" y="122"/>
                  <a:pt x="11" y="122"/>
                  <a:pt x="11" y="122"/>
                </a:cubicBezTo>
                <a:cubicBezTo>
                  <a:pt x="10" y="123"/>
                  <a:pt x="10" y="123"/>
                  <a:pt x="10" y="123"/>
                </a:cubicBezTo>
                <a:cubicBezTo>
                  <a:pt x="10" y="125"/>
                  <a:pt x="10" y="125"/>
                  <a:pt x="10" y="125"/>
                </a:cubicBezTo>
                <a:cubicBezTo>
                  <a:pt x="10" y="125"/>
                  <a:pt x="10" y="125"/>
                  <a:pt x="10" y="125"/>
                </a:cubicBezTo>
                <a:cubicBezTo>
                  <a:pt x="10" y="125"/>
                  <a:pt x="10" y="125"/>
                  <a:pt x="10" y="125"/>
                </a:cubicBezTo>
                <a:cubicBezTo>
                  <a:pt x="9" y="123"/>
                  <a:pt x="9" y="123"/>
                  <a:pt x="9" y="123"/>
                </a:cubicBezTo>
                <a:cubicBezTo>
                  <a:pt x="9" y="123"/>
                  <a:pt x="9" y="123"/>
                  <a:pt x="9" y="123"/>
                </a:cubicBezTo>
                <a:cubicBezTo>
                  <a:pt x="8" y="125"/>
                  <a:pt x="8" y="125"/>
                  <a:pt x="8" y="125"/>
                </a:cubicBezTo>
                <a:cubicBezTo>
                  <a:pt x="7" y="125"/>
                  <a:pt x="7" y="125"/>
                  <a:pt x="7" y="125"/>
                </a:cubicBezTo>
                <a:cubicBezTo>
                  <a:pt x="8" y="125"/>
                  <a:pt x="8" y="125"/>
                  <a:pt x="8" y="125"/>
                </a:cubicBezTo>
                <a:cubicBezTo>
                  <a:pt x="7" y="127"/>
                  <a:pt x="7" y="127"/>
                  <a:pt x="7" y="127"/>
                </a:cubicBezTo>
                <a:cubicBezTo>
                  <a:pt x="7" y="127"/>
                  <a:pt x="7" y="127"/>
                  <a:pt x="7" y="127"/>
                </a:cubicBezTo>
                <a:cubicBezTo>
                  <a:pt x="6" y="128"/>
                  <a:pt x="6" y="128"/>
                  <a:pt x="6" y="128"/>
                </a:cubicBezTo>
                <a:cubicBezTo>
                  <a:pt x="7" y="128"/>
                  <a:pt x="7" y="128"/>
                  <a:pt x="7" y="128"/>
                </a:cubicBezTo>
                <a:cubicBezTo>
                  <a:pt x="9" y="128"/>
                  <a:pt x="9" y="128"/>
                  <a:pt x="9" y="128"/>
                </a:cubicBezTo>
                <a:cubicBezTo>
                  <a:pt x="9" y="129"/>
                  <a:pt x="9" y="129"/>
                  <a:pt x="9" y="129"/>
                </a:cubicBezTo>
                <a:cubicBezTo>
                  <a:pt x="8" y="129"/>
                  <a:pt x="8" y="129"/>
                  <a:pt x="8" y="129"/>
                </a:cubicBezTo>
                <a:cubicBezTo>
                  <a:pt x="7" y="129"/>
                  <a:pt x="7" y="129"/>
                  <a:pt x="7" y="129"/>
                </a:cubicBezTo>
                <a:cubicBezTo>
                  <a:pt x="7" y="130"/>
                  <a:pt x="7" y="130"/>
                  <a:pt x="7" y="130"/>
                </a:cubicBezTo>
                <a:cubicBezTo>
                  <a:pt x="6" y="129"/>
                  <a:pt x="6" y="129"/>
                  <a:pt x="6" y="129"/>
                </a:cubicBezTo>
                <a:cubicBezTo>
                  <a:pt x="5" y="130"/>
                  <a:pt x="5" y="130"/>
                  <a:pt x="5" y="130"/>
                </a:cubicBezTo>
                <a:cubicBezTo>
                  <a:pt x="5" y="131"/>
                  <a:pt x="5" y="131"/>
                  <a:pt x="5" y="131"/>
                </a:cubicBezTo>
                <a:cubicBezTo>
                  <a:pt x="5" y="130"/>
                  <a:pt x="5" y="130"/>
                  <a:pt x="5" y="130"/>
                </a:cubicBezTo>
                <a:cubicBezTo>
                  <a:pt x="4" y="130"/>
                  <a:pt x="4" y="130"/>
                  <a:pt x="4" y="130"/>
                </a:cubicBezTo>
                <a:cubicBezTo>
                  <a:pt x="3" y="132"/>
                  <a:pt x="3" y="132"/>
                  <a:pt x="3" y="132"/>
                </a:cubicBezTo>
                <a:cubicBezTo>
                  <a:pt x="3" y="133"/>
                  <a:pt x="3" y="133"/>
                  <a:pt x="3" y="133"/>
                </a:cubicBezTo>
                <a:cubicBezTo>
                  <a:pt x="5" y="134"/>
                  <a:pt x="5" y="134"/>
                  <a:pt x="5" y="134"/>
                </a:cubicBezTo>
                <a:cubicBezTo>
                  <a:pt x="5" y="133"/>
                  <a:pt x="5" y="133"/>
                  <a:pt x="5" y="133"/>
                </a:cubicBezTo>
                <a:cubicBezTo>
                  <a:pt x="6" y="134"/>
                  <a:pt x="6" y="134"/>
                  <a:pt x="6" y="134"/>
                </a:cubicBezTo>
                <a:cubicBezTo>
                  <a:pt x="7" y="133"/>
                  <a:pt x="7" y="133"/>
                  <a:pt x="7" y="133"/>
                </a:cubicBezTo>
                <a:cubicBezTo>
                  <a:pt x="6" y="133"/>
                  <a:pt x="6" y="133"/>
                  <a:pt x="6" y="133"/>
                </a:cubicBezTo>
                <a:cubicBezTo>
                  <a:pt x="7" y="132"/>
                  <a:pt x="7" y="132"/>
                  <a:pt x="7" y="132"/>
                </a:cubicBezTo>
                <a:cubicBezTo>
                  <a:pt x="8" y="133"/>
                  <a:pt x="8" y="133"/>
                  <a:pt x="8" y="133"/>
                </a:cubicBezTo>
                <a:cubicBezTo>
                  <a:pt x="8" y="133"/>
                  <a:pt x="8" y="133"/>
                  <a:pt x="8" y="133"/>
                </a:cubicBezTo>
                <a:cubicBezTo>
                  <a:pt x="8" y="134"/>
                  <a:pt x="8" y="134"/>
                  <a:pt x="8" y="134"/>
                </a:cubicBezTo>
                <a:cubicBezTo>
                  <a:pt x="8" y="135"/>
                  <a:pt x="8" y="135"/>
                  <a:pt x="8" y="135"/>
                </a:cubicBezTo>
                <a:cubicBezTo>
                  <a:pt x="7" y="135"/>
                  <a:pt x="7" y="135"/>
                  <a:pt x="7" y="135"/>
                </a:cubicBezTo>
                <a:cubicBezTo>
                  <a:pt x="8" y="137"/>
                  <a:pt x="8" y="137"/>
                  <a:pt x="8" y="137"/>
                </a:cubicBezTo>
                <a:cubicBezTo>
                  <a:pt x="9" y="137"/>
                  <a:pt x="9" y="137"/>
                  <a:pt x="9" y="137"/>
                </a:cubicBezTo>
                <a:cubicBezTo>
                  <a:pt x="10" y="136"/>
                  <a:pt x="10" y="136"/>
                  <a:pt x="10" y="136"/>
                </a:cubicBezTo>
                <a:cubicBezTo>
                  <a:pt x="11" y="137"/>
                  <a:pt x="11" y="137"/>
                  <a:pt x="11" y="137"/>
                </a:cubicBezTo>
                <a:cubicBezTo>
                  <a:pt x="9" y="137"/>
                  <a:pt x="9" y="137"/>
                  <a:pt x="9" y="137"/>
                </a:cubicBezTo>
                <a:cubicBezTo>
                  <a:pt x="9" y="138"/>
                  <a:pt x="9" y="138"/>
                  <a:pt x="9" y="138"/>
                </a:cubicBezTo>
                <a:cubicBezTo>
                  <a:pt x="9" y="139"/>
                  <a:pt x="9" y="139"/>
                  <a:pt x="9" y="139"/>
                </a:cubicBezTo>
                <a:cubicBezTo>
                  <a:pt x="9" y="139"/>
                  <a:pt x="9" y="139"/>
                  <a:pt x="9" y="139"/>
                </a:cubicBezTo>
                <a:cubicBezTo>
                  <a:pt x="7" y="137"/>
                  <a:pt x="7" y="137"/>
                  <a:pt x="7" y="137"/>
                </a:cubicBezTo>
                <a:cubicBezTo>
                  <a:pt x="6" y="138"/>
                  <a:pt x="6" y="138"/>
                  <a:pt x="6" y="138"/>
                </a:cubicBezTo>
                <a:cubicBezTo>
                  <a:pt x="6" y="137"/>
                  <a:pt x="6" y="137"/>
                  <a:pt x="6" y="137"/>
                </a:cubicBezTo>
                <a:cubicBezTo>
                  <a:pt x="5" y="137"/>
                  <a:pt x="5" y="137"/>
                  <a:pt x="5" y="137"/>
                </a:cubicBezTo>
                <a:cubicBezTo>
                  <a:pt x="5" y="138"/>
                  <a:pt x="5" y="138"/>
                  <a:pt x="5" y="138"/>
                </a:cubicBezTo>
                <a:cubicBezTo>
                  <a:pt x="4" y="139"/>
                  <a:pt x="4" y="139"/>
                  <a:pt x="4" y="139"/>
                </a:cubicBezTo>
                <a:cubicBezTo>
                  <a:pt x="6" y="141"/>
                  <a:pt x="6" y="141"/>
                  <a:pt x="6" y="141"/>
                </a:cubicBezTo>
                <a:cubicBezTo>
                  <a:pt x="7" y="142"/>
                  <a:pt x="7" y="142"/>
                  <a:pt x="7" y="142"/>
                </a:cubicBezTo>
                <a:cubicBezTo>
                  <a:pt x="9" y="143"/>
                  <a:pt x="9" y="143"/>
                  <a:pt x="9" y="143"/>
                </a:cubicBezTo>
                <a:cubicBezTo>
                  <a:pt x="11" y="144"/>
                  <a:pt x="11" y="144"/>
                  <a:pt x="11" y="144"/>
                </a:cubicBezTo>
                <a:cubicBezTo>
                  <a:pt x="11" y="145"/>
                  <a:pt x="11" y="145"/>
                  <a:pt x="11" y="145"/>
                </a:cubicBezTo>
                <a:cubicBezTo>
                  <a:pt x="11" y="145"/>
                  <a:pt x="11" y="145"/>
                  <a:pt x="11" y="145"/>
                </a:cubicBezTo>
                <a:cubicBezTo>
                  <a:pt x="12" y="146"/>
                  <a:pt x="12" y="146"/>
                  <a:pt x="12" y="146"/>
                </a:cubicBezTo>
                <a:cubicBezTo>
                  <a:pt x="12" y="146"/>
                  <a:pt x="12" y="146"/>
                  <a:pt x="12" y="146"/>
                </a:cubicBezTo>
                <a:cubicBezTo>
                  <a:pt x="12" y="144"/>
                  <a:pt x="12" y="144"/>
                  <a:pt x="12" y="144"/>
                </a:cubicBezTo>
                <a:cubicBezTo>
                  <a:pt x="13" y="144"/>
                  <a:pt x="13" y="144"/>
                  <a:pt x="13" y="144"/>
                </a:cubicBezTo>
                <a:cubicBezTo>
                  <a:pt x="14" y="145"/>
                  <a:pt x="14" y="145"/>
                  <a:pt x="14" y="145"/>
                </a:cubicBezTo>
                <a:cubicBezTo>
                  <a:pt x="13" y="145"/>
                  <a:pt x="13" y="145"/>
                  <a:pt x="13" y="145"/>
                </a:cubicBezTo>
                <a:cubicBezTo>
                  <a:pt x="15" y="147"/>
                  <a:pt x="15" y="147"/>
                  <a:pt x="15" y="147"/>
                </a:cubicBezTo>
                <a:cubicBezTo>
                  <a:pt x="15" y="146"/>
                  <a:pt x="15" y="146"/>
                  <a:pt x="15" y="146"/>
                </a:cubicBezTo>
                <a:cubicBezTo>
                  <a:pt x="16" y="146"/>
                  <a:pt x="16" y="146"/>
                  <a:pt x="16" y="146"/>
                </a:cubicBezTo>
                <a:cubicBezTo>
                  <a:pt x="17" y="146"/>
                  <a:pt x="17" y="146"/>
                  <a:pt x="17" y="146"/>
                </a:cubicBezTo>
                <a:cubicBezTo>
                  <a:pt x="18" y="145"/>
                  <a:pt x="18" y="145"/>
                  <a:pt x="18" y="145"/>
                </a:cubicBezTo>
                <a:cubicBezTo>
                  <a:pt x="19" y="145"/>
                  <a:pt x="19" y="145"/>
                  <a:pt x="19" y="145"/>
                </a:cubicBezTo>
                <a:cubicBezTo>
                  <a:pt x="19" y="144"/>
                  <a:pt x="19" y="144"/>
                  <a:pt x="19" y="144"/>
                </a:cubicBezTo>
                <a:cubicBezTo>
                  <a:pt x="19" y="144"/>
                  <a:pt x="19" y="144"/>
                  <a:pt x="19" y="144"/>
                </a:cubicBezTo>
                <a:cubicBezTo>
                  <a:pt x="20" y="145"/>
                  <a:pt x="20" y="145"/>
                  <a:pt x="20" y="145"/>
                </a:cubicBezTo>
                <a:cubicBezTo>
                  <a:pt x="21" y="145"/>
                  <a:pt x="21" y="145"/>
                  <a:pt x="21" y="145"/>
                </a:cubicBezTo>
                <a:cubicBezTo>
                  <a:pt x="23" y="143"/>
                  <a:pt x="23" y="143"/>
                  <a:pt x="23" y="143"/>
                </a:cubicBezTo>
                <a:cubicBezTo>
                  <a:pt x="23" y="142"/>
                  <a:pt x="23" y="142"/>
                  <a:pt x="23" y="142"/>
                </a:cubicBezTo>
                <a:cubicBezTo>
                  <a:pt x="22" y="141"/>
                  <a:pt x="22" y="141"/>
                  <a:pt x="22" y="141"/>
                </a:cubicBezTo>
                <a:cubicBezTo>
                  <a:pt x="23" y="142"/>
                  <a:pt x="23" y="142"/>
                  <a:pt x="23" y="142"/>
                </a:cubicBezTo>
                <a:cubicBezTo>
                  <a:pt x="25" y="141"/>
                  <a:pt x="25" y="141"/>
                  <a:pt x="25" y="141"/>
                </a:cubicBezTo>
                <a:cubicBezTo>
                  <a:pt x="24" y="140"/>
                  <a:pt x="24" y="140"/>
                  <a:pt x="24" y="140"/>
                </a:cubicBezTo>
                <a:cubicBezTo>
                  <a:pt x="25" y="140"/>
                  <a:pt x="25" y="140"/>
                  <a:pt x="25" y="140"/>
                </a:cubicBezTo>
                <a:cubicBezTo>
                  <a:pt x="25" y="139"/>
                  <a:pt x="25" y="139"/>
                  <a:pt x="25" y="139"/>
                </a:cubicBezTo>
                <a:cubicBezTo>
                  <a:pt x="26" y="138"/>
                  <a:pt x="26" y="138"/>
                  <a:pt x="26" y="138"/>
                </a:cubicBezTo>
                <a:cubicBezTo>
                  <a:pt x="27" y="138"/>
                  <a:pt x="27" y="138"/>
                  <a:pt x="27" y="138"/>
                </a:cubicBezTo>
                <a:cubicBezTo>
                  <a:pt x="27" y="137"/>
                  <a:pt x="27" y="137"/>
                  <a:pt x="27" y="137"/>
                </a:cubicBezTo>
                <a:cubicBezTo>
                  <a:pt x="26" y="136"/>
                  <a:pt x="26" y="136"/>
                  <a:pt x="26" y="136"/>
                </a:cubicBezTo>
                <a:cubicBezTo>
                  <a:pt x="27" y="135"/>
                  <a:pt x="27" y="135"/>
                  <a:pt x="27" y="135"/>
                </a:cubicBezTo>
                <a:cubicBezTo>
                  <a:pt x="26" y="134"/>
                  <a:pt x="26" y="134"/>
                  <a:pt x="26" y="134"/>
                </a:cubicBezTo>
                <a:cubicBezTo>
                  <a:pt x="25" y="133"/>
                  <a:pt x="25" y="133"/>
                  <a:pt x="25" y="133"/>
                </a:cubicBezTo>
                <a:cubicBezTo>
                  <a:pt x="25" y="132"/>
                  <a:pt x="25" y="132"/>
                  <a:pt x="25" y="132"/>
                </a:cubicBezTo>
                <a:cubicBezTo>
                  <a:pt x="25" y="133"/>
                  <a:pt x="25" y="133"/>
                  <a:pt x="25" y="133"/>
                </a:cubicBezTo>
                <a:cubicBezTo>
                  <a:pt x="26" y="134"/>
                  <a:pt x="26" y="134"/>
                  <a:pt x="26" y="134"/>
                </a:cubicBezTo>
                <a:cubicBezTo>
                  <a:pt x="27" y="136"/>
                  <a:pt x="27" y="136"/>
                  <a:pt x="27" y="136"/>
                </a:cubicBezTo>
                <a:cubicBezTo>
                  <a:pt x="27" y="136"/>
                  <a:pt x="27" y="136"/>
                  <a:pt x="27" y="136"/>
                </a:cubicBezTo>
                <a:cubicBezTo>
                  <a:pt x="28" y="136"/>
                  <a:pt x="28" y="136"/>
                  <a:pt x="28" y="136"/>
                </a:cubicBezTo>
                <a:cubicBezTo>
                  <a:pt x="28" y="137"/>
                  <a:pt x="28" y="137"/>
                  <a:pt x="28" y="137"/>
                </a:cubicBezTo>
                <a:cubicBezTo>
                  <a:pt x="28" y="138"/>
                  <a:pt x="28" y="138"/>
                  <a:pt x="28" y="138"/>
                </a:cubicBezTo>
                <a:cubicBezTo>
                  <a:pt x="30" y="137"/>
                  <a:pt x="30" y="137"/>
                  <a:pt x="30" y="137"/>
                </a:cubicBezTo>
                <a:cubicBezTo>
                  <a:pt x="29" y="136"/>
                  <a:pt x="29" y="136"/>
                  <a:pt x="29" y="136"/>
                </a:cubicBezTo>
                <a:cubicBezTo>
                  <a:pt x="29" y="136"/>
                  <a:pt x="29" y="136"/>
                  <a:pt x="29" y="136"/>
                </a:cubicBezTo>
                <a:cubicBezTo>
                  <a:pt x="29" y="135"/>
                  <a:pt x="29" y="135"/>
                  <a:pt x="29" y="135"/>
                </a:cubicBezTo>
                <a:cubicBezTo>
                  <a:pt x="30" y="136"/>
                  <a:pt x="30" y="136"/>
                  <a:pt x="30" y="136"/>
                </a:cubicBezTo>
                <a:cubicBezTo>
                  <a:pt x="30" y="137"/>
                  <a:pt x="30" y="137"/>
                  <a:pt x="30" y="137"/>
                </a:cubicBezTo>
                <a:cubicBezTo>
                  <a:pt x="32" y="135"/>
                  <a:pt x="32" y="135"/>
                  <a:pt x="32" y="135"/>
                </a:cubicBezTo>
                <a:cubicBezTo>
                  <a:pt x="32" y="134"/>
                  <a:pt x="32" y="134"/>
                  <a:pt x="32" y="134"/>
                </a:cubicBezTo>
                <a:cubicBezTo>
                  <a:pt x="32" y="132"/>
                  <a:pt x="32" y="132"/>
                  <a:pt x="32" y="132"/>
                </a:cubicBezTo>
                <a:cubicBezTo>
                  <a:pt x="31" y="132"/>
                  <a:pt x="31" y="132"/>
                  <a:pt x="31" y="132"/>
                </a:cubicBezTo>
                <a:cubicBezTo>
                  <a:pt x="31" y="131"/>
                  <a:pt x="31" y="131"/>
                  <a:pt x="31" y="131"/>
                </a:cubicBezTo>
                <a:cubicBezTo>
                  <a:pt x="31" y="131"/>
                  <a:pt x="31" y="131"/>
                  <a:pt x="31" y="131"/>
                </a:cubicBezTo>
                <a:cubicBezTo>
                  <a:pt x="31" y="131"/>
                  <a:pt x="31" y="131"/>
                  <a:pt x="31" y="131"/>
                </a:cubicBezTo>
                <a:cubicBezTo>
                  <a:pt x="32" y="130"/>
                  <a:pt x="32" y="130"/>
                  <a:pt x="32" y="130"/>
                </a:cubicBezTo>
                <a:cubicBezTo>
                  <a:pt x="32" y="130"/>
                  <a:pt x="32" y="130"/>
                  <a:pt x="32" y="130"/>
                </a:cubicBezTo>
                <a:cubicBezTo>
                  <a:pt x="32" y="129"/>
                  <a:pt x="32" y="129"/>
                  <a:pt x="32" y="129"/>
                </a:cubicBezTo>
                <a:cubicBezTo>
                  <a:pt x="32" y="128"/>
                  <a:pt x="32" y="128"/>
                  <a:pt x="32" y="128"/>
                </a:cubicBezTo>
                <a:cubicBezTo>
                  <a:pt x="33" y="127"/>
                  <a:pt x="33" y="127"/>
                  <a:pt x="33" y="127"/>
                </a:cubicBezTo>
                <a:cubicBezTo>
                  <a:pt x="34" y="128"/>
                  <a:pt x="34" y="128"/>
                  <a:pt x="34" y="128"/>
                </a:cubicBezTo>
                <a:cubicBezTo>
                  <a:pt x="33" y="129"/>
                  <a:pt x="33" y="129"/>
                  <a:pt x="33" y="129"/>
                </a:cubicBezTo>
                <a:cubicBezTo>
                  <a:pt x="33" y="131"/>
                  <a:pt x="33" y="131"/>
                  <a:pt x="33" y="131"/>
                </a:cubicBezTo>
                <a:cubicBezTo>
                  <a:pt x="33" y="132"/>
                  <a:pt x="33" y="132"/>
                  <a:pt x="33" y="132"/>
                </a:cubicBezTo>
                <a:cubicBezTo>
                  <a:pt x="34" y="133"/>
                  <a:pt x="34" y="133"/>
                  <a:pt x="34" y="133"/>
                </a:cubicBezTo>
                <a:cubicBezTo>
                  <a:pt x="34" y="134"/>
                  <a:pt x="34" y="134"/>
                  <a:pt x="34" y="134"/>
                </a:cubicBezTo>
                <a:cubicBezTo>
                  <a:pt x="35" y="135"/>
                  <a:pt x="35" y="135"/>
                  <a:pt x="35" y="135"/>
                </a:cubicBezTo>
                <a:cubicBezTo>
                  <a:pt x="37" y="135"/>
                  <a:pt x="37" y="135"/>
                  <a:pt x="37" y="135"/>
                </a:cubicBezTo>
                <a:cubicBezTo>
                  <a:pt x="37" y="135"/>
                  <a:pt x="37" y="135"/>
                  <a:pt x="37" y="135"/>
                </a:cubicBezTo>
                <a:cubicBezTo>
                  <a:pt x="37" y="136"/>
                  <a:pt x="37" y="136"/>
                  <a:pt x="37" y="136"/>
                </a:cubicBezTo>
                <a:cubicBezTo>
                  <a:pt x="38" y="137"/>
                  <a:pt x="38" y="137"/>
                  <a:pt x="38" y="137"/>
                </a:cubicBezTo>
                <a:cubicBezTo>
                  <a:pt x="38" y="138"/>
                  <a:pt x="38" y="138"/>
                  <a:pt x="38" y="138"/>
                </a:cubicBezTo>
                <a:cubicBezTo>
                  <a:pt x="39" y="137"/>
                  <a:pt x="39" y="137"/>
                  <a:pt x="39" y="137"/>
                </a:cubicBezTo>
                <a:cubicBezTo>
                  <a:pt x="39" y="133"/>
                  <a:pt x="39" y="133"/>
                  <a:pt x="39" y="133"/>
                </a:cubicBezTo>
                <a:cubicBezTo>
                  <a:pt x="38" y="131"/>
                  <a:pt x="38" y="131"/>
                  <a:pt x="38" y="131"/>
                </a:cubicBezTo>
                <a:cubicBezTo>
                  <a:pt x="38" y="130"/>
                  <a:pt x="38" y="130"/>
                  <a:pt x="38" y="130"/>
                </a:cubicBezTo>
                <a:cubicBezTo>
                  <a:pt x="39" y="129"/>
                  <a:pt x="39" y="129"/>
                  <a:pt x="39" y="129"/>
                </a:cubicBezTo>
                <a:cubicBezTo>
                  <a:pt x="39" y="128"/>
                  <a:pt x="39" y="128"/>
                  <a:pt x="39" y="128"/>
                </a:cubicBezTo>
                <a:cubicBezTo>
                  <a:pt x="39" y="127"/>
                  <a:pt x="39" y="127"/>
                  <a:pt x="39" y="127"/>
                </a:cubicBezTo>
                <a:cubicBezTo>
                  <a:pt x="41" y="127"/>
                  <a:pt x="41" y="127"/>
                  <a:pt x="41" y="127"/>
                </a:cubicBezTo>
                <a:cubicBezTo>
                  <a:pt x="41" y="126"/>
                  <a:pt x="41" y="126"/>
                  <a:pt x="41" y="126"/>
                </a:cubicBezTo>
                <a:cubicBezTo>
                  <a:pt x="41" y="125"/>
                  <a:pt x="41" y="125"/>
                  <a:pt x="41" y="125"/>
                </a:cubicBezTo>
                <a:cubicBezTo>
                  <a:pt x="42" y="123"/>
                  <a:pt x="42" y="123"/>
                  <a:pt x="42" y="123"/>
                </a:cubicBezTo>
                <a:cubicBezTo>
                  <a:pt x="41" y="122"/>
                  <a:pt x="41" y="122"/>
                  <a:pt x="41" y="122"/>
                </a:cubicBezTo>
                <a:cubicBezTo>
                  <a:pt x="41" y="119"/>
                  <a:pt x="41" y="119"/>
                  <a:pt x="41" y="119"/>
                </a:cubicBezTo>
                <a:cubicBezTo>
                  <a:pt x="40" y="117"/>
                  <a:pt x="40" y="117"/>
                  <a:pt x="40" y="117"/>
                </a:cubicBezTo>
                <a:cubicBezTo>
                  <a:pt x="40" y="116"/>
                  <a:pt x="40" y="116"/>
                  <a:pt x="40" y="116"/>
                </a:cubicBezTo>
                <a:cubicBezTo>
                  <a:pt x="43" y="115"/>
                  <a:pt x="43" y="115"/>
                  <a:pt x="43" y="115"/>
                </a:cubicBezTo>
                <a:cubicBezTo>
                  <a:pt x="43" y="113"/>
                  <a:pt x="43" y="113"/>
                  <a:pt x="43" y="113"/>
                </a:cubicBezTo>
                <a:cubicBezTo>
                  <a:pt x="43" y="111"/>
                  <a:pt x="43" y="111"/>
                  <a:pt x="43" y="111"/>
                </a:cubicBezTo>
                <a:cubicBezTo>
                  <a:pt x="41" y="109"/>
                  <a:pt x="41" y="109"/>
                  <a:pt x="41" y="109"/>
                </a:cubicBezTo>
                <a:cubicBezTo>
                  <a:pt x="39" y="108"/>
                  <a:pt x="39" y="108"/>
                  <a:pt x="39" y="108"/>
                </a:cubicBezTo>
                <a:cubicBezTo>
                  <a:pt x="39" y="106"/>
                  <a:pt x="39" y="106"/>
                  <a:pt x="39" y="106"/>
                </a:cubicBezTo>
                <a:cubicBezTo>
                  <a:pt x="40" y="103"/>
                  <a:pt x="40" y="103"/>
                  <a:pt x="40" y="103"/>
                </a:cubicBezTo>
                <a:cubicBezTo>
                  <a:pt x="39" y="101"/>
                  <a:pt x="39" y="101"/>
                  <a:pt x="39" y="101"/>
                </a:cubicBezTo>
                <a:cubicBezTo>
                  <a:pt x="39" y="99"/>
                  <a:pt x="39" y="99"/>
                  <a:pt x="39" y="99"/>
                </a:cubicBezTo>
                <a:cubicBezTo>
                  <a:pt x="39" y="97"/>
                  <a:pt x="39" y="97"/>
                  <a:pt x="39" y="97"/>
                </a:cubicBezTo>
                <a:cubicBezTo>
                  <a:pt x="39" y="94"/>
                  <a:pt x="39" y="94"/>
                  <a:pt x="39" y="94"/>
                </a:cubicBezTo>
                <a:cubicBezTo>
                  <a:pt x="38" y="91"/>
                  <a:pt x="38" y="91"/>
                  <a:pt x="38" y="91"/>
                </a:cubicBezTo>
                <a:cubicBezTo>
                  <a:pt x="39" y="88"/>
                  <a:pt x="39" y="88"/>
                  <a:pt x="39" y="88"/>
                </a:cubicBezTo>
                <a:cubicBezTo>
                  <a:pt x="40" y="85"/>
                  <a:pt x="40" y="85"/>
                  <a:pt x="40" y="85"/>
                </a:cubicBezTo>
                <a:cubicBezTo>
                  <a:pt x="41" y="84"/>
                  <a:pt x="41" y="84"/>
                  <a:pt x="41" y="84"/>
                </a:cubicBezTo>
                <a:cubicBezTo>
                  <a:pt x="43" y="85"/>
                  <a:pt x="43" y="85"/>
                  <a:pt x="43" y="85"/>
                </a:cubicBezTo>
                <a:cubicBezTo>
                  <a:pt x="45" y="85"/>
                  <a:pt x="45" y="85"/>
                  <a:pt x="45" y="85"/>
                </a:cubicBezTo>
                <a:cubicBezTo>
                  <a:pt x="46" y="83"/>
                  <a:pt x="46" y="83"/>
                  <a:pt x="46" y="83"/>
                </a:cubicBezTo>
                <a:cubicBezTo>
                  <a:pt x="46" y="81"/>
                  <a:pt x="46" y="81"/>
                  <a:pt x="46" y="81"/>
                </a:cubicBezTo>
                <a:cubicBezTo>
                  <a:pt x="46" y="80"/>
                  <a:pt x="46" y="80"/>
                  <a:pt x="46" y="80"/>
                </a:cubicBezTo>
                <a:cubicBezTo>
                  <a:pt x="46" y="79"/>
                  <a:pt x="46" y="79"/>
                  <a:pt x="46" y="79"/>
                </a:cubicBezTo>
                <a:cubicBezTo>
                  <a:pt x="48" y="73"/>
                  <a:pt x="48" y="73"/>
                  <a:pt x="48" y="73"/>
                </a:cubicBezTo>
                <a:cubicBezTo>
                  <a:pt x="48" y="70"/>
                  <a:pt x="48" y="70"/>
                  <a:pt x="48" y="70"/>
                </a:cubicBezTo>
                <a:cubicBezTo>
                  <a:pt x="48" y="68"/>
                  <a:pt x="48" y="68"/>
                  <a:pt x="48" y="68"/>
                </a:cubicBezTo>
                <a:cubicBezTo>
                  <a:pt x="49" y="66"/>
                  <a:pt x="49" y="66"/>
                  <a:pt x="49" y="66"/>
                </a:cubicBezTo>
                <a:cubicBezTo>
                  <a:pt x="49" y="64"/>
                  <a:pt x="49" y="64"/>
                  <a:pt x="49" y="64"/>
                </a:cubicBezTo>
                <a:cubicBezTo>
                  <a:pt x="48" y="63"/>
                  <a:pt x="48" y="63"/>
                  <a:pt x="48" y="63"/>
                </a:cubicBezTo>
                <a:cubicBezTo>
                  <a:pt x="48" y="62"/>
                  <a:pt x="48" y="62"/>
                  <a:pt x="48" y="62"/>
                </a:cubicBezTo>
                <a:cubicBezTo>
                  <a:pt x="50" y="61"/>
                  <a:pt x="50" y="61"/>
                  <a:pt x="50" y="61"/>
                </a:cubicBezTo>
                <a:cubicBezTo>
                  <a:pt x="52" y="60"/>
                  <a:pt x="52" y="60"/>
                  <a:pt x="52" y="60"/>
                </a:cubicBezTo>
                <a:cubicBezTo>
                  <a:pt x="53" y="59"/>
                  <a:pt x="53" y="59"/>
                  <a:pt x="53" y="59"/>
                </a:cubicBezTo>
                <a:cubicBezTo>
                  <a:pt x="53" y="58"/>
                  <a:pt x="53" y="58"/>
                  <a:pt x="53" y="58"/>
                </a:cubicBezTo>
                <a:cubicBezTo>
                  <a:pt x="55" y="55"/>
                  <a:pt x="55" y="55"/>
                  <a:pt x="55" y="55"/>
                </a:cubicBezTo>
                <a:cubicBezTo>
                  <a:pt x="57" y="53"/>
                  <a:pt x="57" y="53"/>
                  <a:pt x="57" y="53"/>
                </a:cubicBezTo>
                <a:cubicBezTo>
                  <a:pt x="57" y="51"/>
                  <a:pt x="57" y="51"/>
                  <a:pt x="57" y="51"/>
                </a:cubicBezTo>
                <a:cubicBezTo>
                  <a:pt x="57" y="49"/>
                  <a:pt x="57" y="49"/>
                  <a:pt x="57" y="49"/>
                </a:cubicBezTo>
                <a:cubicBezTo>
                  <a:pt x="56" y="49"/>
                  <a:pt x="56" y="49"/>
                  <a:pt x="56" y="49"/>
                </a:cubicBezTo>
                <a:cubicBezTo>
                  <a:pt x="56" y="46"/>
                  <a:pt x="56" y="46"/>
                  <a:pt x="56" y="46"/>
                </a:cubicBezTo>
                <a:cubicBezTo>
                  <a:pt x="57" y="45"/>
                  <a:pt x="57" y="45"/>
                  <a:pt x="57" y="45"/>
                </a:cubicBezTo>
                <a:cubicBezTo>
                  <a:pt x="58" y="44"/>
                  <a:pt x="58" y="44"/>
                  <a:pt x="58" y="44"/>
                </a:cubicBezTo>
                <a:cubicBezTo>
                  <a:pt x="58" y="43"/>
                  <a:pt x="58" y="43"/>
                  <a:pt x="58" y="43"/>
                </a:cubicBezTo>
                <a:cubicBezTo>
                  <a:pt x="59" y="42"/>
                  <a:pt x="59" y="42"/>
                  <a:pt x="59" y="42"/>
                </a:cubicBezTo>
                <a:cubicBezTo>
                  <a:pt x="60" y="40"/>
                  <a:pt x="60" y="40"/>
                  <a:pt x="60" y="40"/>
                </a:cubicBezTo>
                <a:cubicBezTo>
                  <a:pt x="61" y="39"/>
                  <a:pt x="61" y="39"/>
                  <a:pt x="61" y="39"/>
                </a:cubicBezTo>
                <a:cubicBezTo>
                  <a:pt x="63" y="40"/>
                  <a:pt x="63" y="40"/>
                  <a:pt x="63" y="40"/>
                </a:cubicBezTo>
                <a:cubicBezTo>
                  <a:pt x="63" y="41"/>
                  <a:pt x="63" y="41"/>
                  <a:pt x="63" y="41"/>
                </a:cubicBezTo>
                <a:cubicBezTo>
                  <a:pt x="64" y="40"/>
                  <a:pt x="64" y="40"/>
                  <a:pt x="64" y="40"/>
                </a:cubicBezTo>
                <a:cubicBezTo>
                  <a:pt x="65" y="40"/>
                  <a:pt x="65" y="40"/>
                  <a:pt x="65" y="40"/>
                </a:cubicBezTo>
                <a:cubicBezTo>
                  <a:pt x="64" y="38"/>
                  <a:pt x="64" y="38"/>
                  <a:pt x="64" y="38"/>
                </a:cubicBezTo>
                <a:cubicBezTo>
                  <a:pt x="65" y="38"/>
                  <a:pt x="65" y="38"/>
                  <a:pt x="65" y="38"/>
                </a:cubicBezTo>
                <a:cubicBezTo>
                  <a:pt x="65" y="37"/>
                  <a:pt x="65" y="37"/>
                  <a:pt x="65" y="37"/>
                </a:cubicBezTo>
                <a:cubicBezTo>
                  <a:pt x="65" y="36"/>
                  <a:pt x="65" y="36"/>
                  <a:pt x="65" y="36"/>
                </a:cubicBezTo>
                <a:cubicBezTo>
                  <a:pt x="64" y="35"/>
                  <a:pt x="64" y="35"/>
                  <a:pt x="64" y="35"/>
                </a:cubicBezTo>
                <a:cubicBezTo>
                  <a:pt x="65" y="34"/>
                  <a:pt x="65" y="34"/>
                  <a:pt x="65" y="34"/>
                </a:cubicBezTo>
                <a:cubicBezTo>
                  <a:pt x="67" y="34"/>
                  <a:pt x="67" y="34"/>
                  <a:pt x="67" y="34"/>
                </a:cubicBezTo>
                <a:cubicBezTo>
                  <a:pt x="68" y="33"/>
                  <a:pt x="68" y="33"/>
                  <a:pt x="68" y="33"/>
                </a:cubicBezTo>
                <a:cubicBezTo>
                  <a:pt x="70" y="34"/>
                  <a:pt x="70" y="34"/>
                  <a:pt x="70" y="34"/>
                </a:cubicBezTo>
                <a:cubicBezTo>
                  <a:pt x="71" y="35"/>
                  <a:pt x="71" y="35"/>
                  <a:pt x="71" y="35"/>
                </a:cubicBezTo>
                <a:cubicBezTo>
                  <a:pt x="73" y="35"/>
                  <a:pt x="73" y="35"/>
                  <a:pt x="73" y="35"/>
                </a:cubicBezTo>
                <a:cubicBezTo>
                  <a:pt x="74" y="36"/>
                  <a:pt x="74" y="36"/>
                  <a:pt x="74" y="36"/>
                </a:cubicBezTo>
                <a:cubicBezTo>
                  <a:pt x="74" y="35"/>
                  <a:pt x="74" y="35"/>
                  <a:pt x="74" y="35"/>
                </a:cubicBezTo>
                <a:cubicBezTo>
                  <a:pt x="75" y="36"/>
                  <a:pt x="75" y="36"/>
                  <a:pt x="75" y="36"/>
                </a:cubicBezTo>
                <a:cubicBezTo>
                  <a:pt x="75" y="34"/>
                  <a:pt x="75" y="34"/>
                  <a:pt x="75" y="34"/>
                </a:cubicBezTo>
                <a:cubicBezTo>
                  <a:pt x="74" y="33"/>
                  <a:pt x="74" y="33"/>
                  <a:pt x="74" y="33"/>
                </a:cubicBezTo>
                <a:cubicBezTo>
                  <a:pt x="74" y="31"/>
                  <a:pt x="74" y="31"/>
                  <a:pt x="74" y="31"/>
                </a:cubicBezTo>
                <a:cubicBezTo>
                  <a:pt x="75" y="31"/>
                  <a:pt x="75" y="31"/>
                  <a:pt x="75" y="31"/>
                </a:cubicBezTo>
                <a:cubicBezTo>
                  <a:pt x="75" y="30"/>
                  <a:pt x="75" y="30"/>
                  <a:pt x="75" y="30"/>
                </a:cubicBezTo>
                <a:cubicBezTo>
                  <a:pt x="74" y="29"/>
                  <a:pt x="74" y="29"/>
                  <a:pt x="74" y="29"/>
                </a:cubicBezTo>
                <a:cubicBezTo>
                  <a:pt x="74" y="28"/>
                  <a:pt x="74" y="28"/>
                  <a:pt x="74" y="28"/>
                </a:cubicBezTo>
                <a:cubicBezTo>
                  <a:pt x="75" y="28"/>
                  <a:pt x="75" y="28"/>
                  <a:pt x="75" y="28"/>
                </a:cubicBezTo>
                <a:cubicBezTo>
                  <a:pt x="77" y="28"/>
                  <a:pt x="77" y="28"/>
                  <a:pt x="77" y="28"/>
                </a:cubicBezTo>
                <a:cubicBezTo>
                  <a:pt x="77" y="28"/>
                  <a:pt x="77" y="28"/>
                  <a:pt x="77" y="28"/>
                </a:cubicBezTo>
                <a:cubicBezTo>
                  <a:pt x="77" y="28"/>
                  <a:pt x="77" y="28"/>
                  <a:pt x="77" y="28"/>
                </a:cubicBezTo>
                <a:cubicBezTo>
                  <a:pt x="77" y="27"/>
                  <a:pt x="77" y="27"/>
                  <a:pt x="77" y="27"/>
                </a:cubicBezTo>
                <a:cubicBezTo>
                  <a:pt x="78" y="28"/>
                  <a:pt x="78" y="28"/>
                  <a:pt x="78" y="28"/>
                </a:cubicBezTo>
                <a:cubicBezTo>
                  <a:pt x="78" y="27"/>
                  <a:pt x="78" y="27"/>
                  <a:pt x="78" y="27"/>
                </a:cubicBezTo>
                <a:cubicBezTo>
                  <a:pt x="78" y="26"/>
                  <a:pt x="78" y="26"/>
                  <a:pt x="78" y="26"/>
                </a:cubicBezTo>
                <a:cubicBezTo>
                  <a:pt x="78" y="25"/>
                  <a:pt x="78" y="25"/>
                  <a:pt x="78" y="25"/>
                </a:cubicBezTo>
                <a:cubicBezTo>
                  <a:pt x="79" y="24"/>
                  <a:pt x="79" y="24"/>
                  <a:pt x="79" y="24"/>
                </a:cubicBezTo>
                <a:cubicBezTo>
                  <a:pt x="80" y="25"/>
                  <a:pt x="80" y="25"/>
                  <a:pt x="80" y="25"/>
                </a:cubicBezTo>
                <a:cubicBezTo>
                  <a:pt x="81" y="26"/>
                  <a:pt x="81" y="26"/>
                  <a:pt x="81" y="26"/>
                </a:cubicBezTo>
                <a:cubicBezTo>
                  <a:pt x="84" y="28"/>
                  <a:pt x="84" y="28"/>
                  <a:pt x="84" y="28"/>
                </a:cubicBezTo>
                <a:cubicBezTo>
                  <a:pt x="84" y="30"/>
                  <a:pt x="84" y="30"/>
                  <a:pt x="84" y="30"/>
                </a:cubicBezTo>
                <a:cubicBezTo>
                  <a:pt x="85" y="31"/>
                  <a:pt x="85" y="31"/>
                  <a:pt x="85" y="31"/>
                </a:cubicBezTo>
                <a:cubicBezTo>
                  <a:pt x="87" y="32"/>
                  <a:pt x="87" y="32"/>
                  <a:pt x="87" y="32"/>
                </a:cubicBezTo>
                <a:cubicBezTo>
                  <a:pt x="90" y="32"/>
                  <a:pt x="90" y="32"/>
                  <a:pt x="90" y="32"/>
                </a:cubicBezTo>
                <a:cubicBezTo>
                  <a:pt x="92" y="30"/>
                  <a:pt x="92" y="30"/>
                  <a:pt x="92" y="30"/>
                </a:cubicBezTo>
                <a:cubicBezTo>
                  <a:pt x="93" y="29"/>
                  <a:pt x="93" y="29"/>
                  <a:pt x="93" y="29"/>
                </a:cubicBezTo>
                <a:cubicBezTo>
                  <a:pt x="94" y="29"/>
                  <a:pt x="94" y="29"/>
                  <a:pt x="94" y="29"/>
                </a:cubicBezTo>
                <a:cubicBezTo>
                  <a:pt x="96" y="31"/>
                  <a:pt x="96" y="31"/>
                  <a:pt x="96" y="31"/>
                </a:cubicBezTo>
                <a:cubicBezTo>
                  <a:pt x="97" y="31"/>
                  <a:pt x="97" y="31"/>
                  <a:pt x="97" y="31"/>
                </a:cubicBezTo>
                <a:cubicBezTo>
                  <a:pt x="98" y="30"/>
                  <a:pt x="98" y="30"/>
                  <a:pt x="98" y="30"/>
                </a:cubicBezTo>
                <a:cubicBezTo>
                  <a:pt x="99" y="29"/>
                  <a:pt x="99" y="29"/>
                  <a:pt x="99" y="29"/>
                </a:cubicBezTo>
                <a:cubicBezTo>
                  <a:pt x="100" y="28"/>
                  <a:pt x="100" y="28"/>
                  <a:pt x="100" y="28"/>
                </a:cubicBezTo>
                <a:cubicBezTo>
                  <a:pt x="101" y="28"/>
                  <a:pt x="101" y="28"/>
                  <a:pt x="101" y="28"/>
                </a:cubicBezTo>
                <a:cubicBezTo>
                  <a:pt x="102" y="28"/>
                  <a:pt x="102" y="28"/>
                  <a:pt x="102" y="28"/>
                </a:cubicBezTo>
                <a:cubicBezTo>
                  <a:pt x="102" y="27"/>
                  <a:pt x="102" y="27"/>
                  <a:pt x="102" y="27"/>
                </a:cubicBezTo>
                <a:cubicBezTo>
                  <a:pt x="102" y="26"/>
                  <a:pt x="102" y="26"/>
                  <a:pt x="102" y="26"/>
                </a:cubicBezTo>
                <a:cubicBezTo>
                  <a:pt x="101" y="24"/>
                  <a:pt x="101" y="24"/>
                  <a:pt x="101" y="24"/>
                </a:cubicBezTo>
                <a:cubicBezTo>
                  <a:pt x="102" y="21"/>
                  <a:pt x="102" y="21"/>
                  <a:pt x="102" y="21"/>
                </a:cubicBezTo>
                <a:cubicBezTo>
                  <a:pt x="102" y="20"/>
                  <a:pt x="102" y="20"/>
                  <a:pt x="102" y="20"/>
                </a:cubicBezTo>
                <a:cubicBezTo>
                  <a:pt x="102" y="19"/>
                  <a:pt x="102" y="19"/>
                  <a:pt x="102" y="19"/>
                </a:cubicBezTo>
                <a:cubicBezTo>
                  <a:pt x="102" y="18"/>
                  <a:pt x="102" y="18"/>
                  <a:pt x="102" y="18"/>
                </a:cubicBezTo>
                <a:cubicBezTo>
                  <a:pt x="103" y="17"/>
                  <a:pt x="103" y="17"/>
                  <a:pt x="103" y="17"/>
                </a:cubicBezTo>
                <a:cubicBezTo>
                  <a:pt x="103" y="16"/>
                  <a:pt x="103" y="16"/>
                  <a:pt x="103" y="16"/>
                </a:cubicBezTo>
                <a:cubicBezTo>
                  <a:pt x="104" y="16"/>
                  <a:pt x="104" y="16"/>
                  <a:pt x="104" y="16"/>
                </a:cubicBezTo>
                <a:cubicBezTo>
                  <a:pt x="106" y="16"/>
                  <a:pt x="106" y="16"/>
                  <a:pt x="106" y="16"/>
                </a:cubicBezTo>
                <a:cubicBezTo>
                  <a:pt x="107" y="16"/>
                  <a:pt x="107" y="16"/>
                  <a:pt x="107" y="16"/>
                </a:cubicBezTo>
                <a:cubicBezTo>
                  <a:pt x="107" y="15"/>
                  <a:pt x="107" y="15"/>
                  <a:pt x="107" y="15"/>
                </a:cubicBezTo>
                <a:cubicBezTo>
                  <a:pt x="108" y="14"/>
                  <a:pt x="108" y="14"/>
                  <a:pt x="108" y="14"/>
                </a:cubicBezTo>
                <a:cubicBezTo>
                  <a:pt x="111" y="14"/>
                  <a:pt x="111" y="14"/>
                  <a:pt x="111" y="14"/>
                </a:cubicBezTo>
                <a:cubicBezTo>
                  <a:pt x="112" y="15"/>
                  <a:pt x="112" y="15"/>
                  <a:pt x="112" y="15"/>
                </a:cubicBezTo>
                <a:cubicBezTo>
                  <a:pt x="113" y="17"/>
                  <a:pt x="113" y="17"/>
                  <a:pt x="113" y="17"/>
                </a:cubicBezTo>
                <a:cubicBezTo>
                  <a:pt x="114" y="18"/>
                  <a:pt x="114" y="18"/>
                  <a:pt x="114" y="18"/>
                </a:cubicBezTo>
                <a:cubicBezTo>
                  <a:pt x="116" y="18"/>
                  <a:pt x="116" y="18"/>
                  <a:pt x="116" y="18"/>
                </a:cubicBezTo>
                <a:cubicBezTo>
                  <a:pt x="118" y="18"/>
                  <a:pt x="118" y="18"/>
                  <a:pt x="118" y="18"/>
                </a:cubicBezTo>
                <a:cubicBezTo>
                  <a:pt x="118" y="19"/>
                  <a:pt x="118" y="19"/>
                  <a:pt x="118" y="19"/>
                </a:cubicBezTo>
                <a:cubicBezTo>
                  <a:pt x="119" y="21"/>
                  <a:pt x="119" y="21"/>
                  <a:pt x="119" y="21"/>
                </a:cubicBezTo>
                <a:cubicBezTo>
                  <a:pt x="119" y="22"/>
                  <a:pt x="119" y="22"/>
                  <a:pt x="119" y="22"/>
                </a:cubicBezTo>
                <a:cubicBezTo>
                  <a:pt x="118" y="24"/>
                  <a:pt x="118" y="24"/>
                  <a:pt x="118" y="24"/>
                </a:cubicBezTo>
                <a:cubicBezTo>
                  <a:pt x="118" y="26"/>
                  <a:pt x="118" y="26"/>
                  <a:pt x="118" y="26"/>
                </a:cubicBezTo>
                <a:close/>
                <a:moveTo>
                  <a:pt x="5" y="135"/>
                </a:moveTo>
                <a:cubicBezTo>
                  <a:pt x="6" y="136"/>
                  <a:pt x="6" y="136"/>
                  <a:pt x="6" y="136"/>
                </a:cubicBezTo>
                <a:cubicBezTo>
                  <a:pt x="5" y="136"/>
                  <a:pt x="5" y="136"/>
                  <a:pt x="5" y="136"/>
                </a:cubicBezTo>
                <a:cubicBezTo>
                  <a:pt x="5" y="135"/>
                  <a:pt x="5" y="135"/>
                  <a:pt x="5" y="135"/>
                </a:cubicBezTo>
                <a:close/>
                <a:moveTo>
                  <a:pt x="2" y="128"/>
                </a:moveTo>
                <a:cubicBezTo>
                  <a:pt x="2" y="128"/>
                  <a:pt x="3" y="128"/>
                  <a:pt x="3" y="128"/>
                </a:cubicBezTo>
                <a:cubicBezTo>
                  <a:pt x="4" y="129"/>
                  <a:pt x="4" y="129"/>
                  <a:pt x="4" y="129"/>
                </a:cubicBezTo>
                <a:cubicBezTo>
                  <a:pt x="3" y="130"/>
                  <a:pt x="3" y="130"/>
                  <a:pt x="3" y="130"/>
                </a:cubicBezTo>
                <a:cubicBezTo>
                  <a:pt x="2" y="128"/>
                  <a:pt x="2" y="128"/>
                  <a:pt x="2" y="128"/>
                </a:cubicBezTo>
                <a:close/>
                <a:moveTo>
                  <a:pt x="5" y="126"/>
                </a:moveTo>
                <a:cubicBezTo>
                  <a:pt x="5" y="127"/>
                  <a:pt x="5" y="127"/>
                  <a:pt x="5" y="127"/>
                </a:cubicBezTo>
                <a:cubicBezTo>
                  <a:pt x="4" y="127"/>
                  <a:pt x="4" y="127"/>
                  <a:pt x="4" y="127"/>
                </a:cubicBezTo>
                <a:cubicBezTo>
                  <a:pt x="5" y="126"/>
                  <a:pt x="5" y="126"/>
                  <a:pt x="5" y="126"/>
                </a:cubicBezTo>
                <a:close/>
                <a:moveTo>
                  <a:pt x="4" y="125"/>
                </a:moveTo>
                <a:cubicBezTo>
                  <a:pt x="3" y="126"/>
                  <a:pt x="3" y="126"/>
                  <a:pt x="3" y="126"/>
                </a:cubicBezTo>
                <a:cubicBezTo>
                  <a:pt x="2" y="126"/>
                  <a:pt x="2" y="126"/>
                  <a:pt x="2" y="126"/>
                </a:cubicBezTo>
                <a:cubicBezTo>
                  <a:pt x="4" y="125"/>
                  <a:pt x="4" y="125"/>
                  <a:pt x="4" y="125"/>
                </a:cubicBezTo>
                <a:close/>
                <a:moveTo>
                  <a:pt x="1" y="120"/>
                </a:moveTo>
                <a:cubicBezTo>
                  <a:pt x="0" y="120"/>
                  <a:pt x="0" y="120"/>
                  <a:pt x="0" y="120"/>
                </a:cubicBezTo>
                <a:cubicBezTo>
                  <a:pt x="1" y="119"/>
                  <a:pt x="1" y="119"/>
                  <a:pt x="1" y="119"/>
                </a:cubicBezTo>
                <a:cubicBezTo>
                  <a:pt x="1" y="119"/>
                  <a:pt x="1" y="120"/>
                  <a:pt x="1" y="120"/>
                </a:cubicBezTo>
                <a:close/>
                <a:moveTo>
                  <a:pt x="1" y="121"/>
                </a:moveTo>
                <a:cubicBezTo>
                  <a:pt x="2" y="121"/>
                  <a:pt x="2" y="121"/>
                  <a:pt x="2" y="121"/>
                </a:cubicBezTo>
                <a:cubicBezTo>
                  <a:pt x="1" y="122"/>
                  <a:pt x="1" y="122"/>
                  <a:pt x="1" y="122"/>
                </a:cubicBezTo>
                <a:cubicBezTo>
                  <a:pt x="1" y="121"/>
                  <a:pt x="1" y="121"/>
                  <a:pt x="1" y="121"/>
                </a:cubicBezTo>
                <a:close/>
                <a:moveTo>
                  <a:pt x="3" y="123"/>
                </a:moveTo>
                <a:cubicBezTo>
                  <a:pt x="3" y="123"/>
                  <a:pt x="4" y="124"/>
                  <a:pt x="4" y="124"/>
                </a:cubicBezTo>
                <a:cubicBezTo>
                  <a:pt x="4" y="125"/>
                  <a:pt x="4" y="125"/>
                  <a:pt x="4" y="125"/>
                </a:cubicBezTo>
                <a:cubicBezTo>
                  <a:pt x="3" y="123"/>
                  <a:pt x="3" y="123"/>
                  <a:pt x="3" y="123"/>
                </a:cubicBezTo>
                <a:close/>
                <a:moveTo>
                  <a:pt x="2" y="124"/>
                </a:moveTo>
                <a:cubicBezTo>
                  <a:pt x="1" y="123"/>
                  <a:pt x="1" y="123"/>
                  <a:pt x="1" y="123"/>
                </a:cubicBezTo>
                <a:cubicBezTo>
                  <a:pt x="2" y="123"/>
                  <a:pt x="2" y="123"/>
                  <a:pt x="2" y="123"/>
                </a:cubicBezTo>
                <a:cubicBezTo>
                  <a:pt x="2" y="124"/>
                  <a:pt x="2" y="124"/>
                  <a:pt x="2" y="124"/>
                </a:cubicBezTo>
                <a:close/>
                <a:moveTo>
                  <a:pt x="1" y="117"/>
                </a:moveTo>
                <a:cubicBezTo>
                  <a:pt x="0" y="118"/>
                  <a:pt x="0" y="118"/>
                  <a:pt x="0" y="118"/>
                </a:cubicBezTo>
                <a:cubicBezTo>
                  <a:pt x="0" y="118"/>
                  <a:pt x="0" y="118"/>
                  <a:pt x="0" y="118"/>
                </a:cubicBezTo>
                <a:cubicBezTo>
                  <a:pt x="1" y="117"/>
                  <a:pt x="1" y="117"/>
                  <a:pt x="1" y="117"/>
                </a:cubicBezTo>
                <a:cubicBezTo>
                  <a:pt x="1" y="117"/>
                  <a:pt x="1" y="117"/>
                  <a:pt x="1" y="117"/>
                </a:cubicBezTo>
                <a:close/>
                <a:moveTo>
                  <a:pt x="0" y="108"/>
                </a:moveTo>
                <a:cubicBezTo>
                  <a:pt x="2" y="109"/>
                  <a:pt x="2" y="109"/>
                  <a:pt x="2" y="109"/>
                </a:cubicBezTo>
                <a:cubicBezTo>
                  <a:pt x="1" y="109"/>
                  <a:pt x="1" y="109"/>
                  <a:pt x="1" y="109"/>
                </a:cubicBezTo>
                <a:cubicBezTo>
                  <a:pt x="0" y="108"/>
                  <a:pt x="0" y="108"/>
                  <a:pt x="0" y="108"/>
                </a:cubicBezTo>
                <a:close/>
                <a:moveTo>
                  <a:pt x="1" y="106"/>
                </a:moveTo>
                <a:cubicBezTo>
                  <a:pt x="2" y="107"/>
                  <a:pt x="2" y="107"/>
                  <a:pt x="2" y="107"/>
                </a:cubicBezTo>
                <a:cubicBezTo>
                  <a:pt x="1" y="107"/>
                  <a:pt x="1" y="107"/>
                  <a:pt x="1" y="107"/>
                </a:cubicBezTo>
                <a:cubicBezTo>
                  <a:pt x="1" y="106"/>
                  <a:pt x="1" y="106"/>
                  <a:pt x="1" y="106"/>
                </a:cubicBezTo>
                <a:close/>
                <a:moveTo>
                  <a:pt x="4" y="103"/>
                </a:moveTo>
                <a:cubicBezTo>
                  <a:pt x="5" y="104"/>
                  <a:pt x="5" y="104"/>
                  <a:pt x="5" y="104"/>
                </a:cubicBezTo>
                <a:cubicBezTo>
                  <a:pt x="3" y="104"/>
                  <a:pt x="3" y="104"/>
                  <a:pt x="3" y="104"/>
                </a:cubicBezTo>
                <a:cubicBezTo>
                  <a:pt x="4" y="103"/>
                  <a:pt x="4" y="103"/>
                  <a:pt x="4" y="103"/>
                </a:cubicBezTo>
                <a:close/>
                <a:moveTo>
                  <a:pt x="5" y="103"/>
                </a:moveTo>
                <a:cubicBezTo>
                  <a:pt x="6" y="103"/>
                  <a:pt x="6" y="103"/>
                  <a:pt x="6" y="103"/>
                </a:cubicBezTo>
                <a:cubicBezTo>
                  <a:pt x="7" y="104"/>
                  <a:pt x="7" y="104"/>
                  <a:pt x="7" y="104"/>
                </a:cubicBezTo>
                <a:cubicBezTo>
                  <a:pt x="5" y="104"/>
                  <a:pt x="5" y="104"/>
                  <a:pt x="5" y="104"/>
                </a:cubicBezTo>
                <a:cubicBezTo>
                  <a:pt x="5" y="103"/>
                  <a:pt x="5" y="103"/>
                  <a:pt x="5" y="103"/>
                </a:cubicBezTo>
                <a:close/>
                <a:moveTo>
                  <a:pt x="16" y="95"/>
                </a:moveTo>
                <a:cubicBezTo>
                  <a:pt x="16" y="95"/>
                  <a:pt x="18" y="94"/>
                  <a:pt x="18" y="94"/>
                </a:cubicBezTo>
                <a:cubicBezTo>
                  <a:pt x="18" y="95"/>
                  <a:pt x="18" y="95"/>
                  <a:pt x="18" y="95"/>
                </a:cubicBezTo>
                <a:cubicBezTo>
                  <a:pt x="17" y="95"/>
                  <a:pt x="17" y="95"/>
                  <a:pt x="17" y="95"/>
                </a:cubicBezTo>
                <a:cubicBezTo>
                  <a:pt x="16" y="95"/>
                  <a:pt x="16" y="95"/>
                  <a:pt x="16" y="95"/>
                </a:cubicBezTo>
                <a:close/>
                <a:moveTo>
                  <a:pt x="17" y="93"/>
                </a:moveTo>
                <a:cubicBezTo>
                  <a:pt x="17" y="93"/>
                  <a:pt x="16" y="93"/>
                  <a:pt x="16" y="93"/>
                </a:cubicBezTo>
                <a:cubicBezTo>
                  <a:pt x="15" y="92"/>
                  <a:pt x="15" y="92"/>
                  <a:pt x="15" y="92"/>
                </a:cubicBezTo>
                <a:cubicBezTo>
                  <a:pt x="16" y="92"/>
                  <a:pt x="16" y="92"/>
                  <a:pt x="16" y="92"/>
                </a:cubicBezTo>
                <a:cubicBezTo>
                  <a:pt x="17" y="93"/>
                  <a:pt x="17" y="93"/>
                  <a:pt x="17" y="93"/>
                </a:cubicBezTo>
                <a:close/>
                <a:moveTo>
                  <a:pt x="18" y="90"/>
                </a:moveTo>
                <a:cubicBezTo>
                  <a:pt x="20" y="88"/>
                  <a:pt x="20" y="88"/>
                  <a:pt x="20" y="88"/>
                </a:cubicBezTo>
                <a:cubicBezTo>
                  <a:pt x="21" y="89"/>
                  <a:pt x="21" y="89"/>
                  <a:pt x="21" y="89"/>
                </a:cubicBezTo>
                <a:cubicBezTo>
                  <a:pt x="20" y="90"/>
                  <a:pt x="20" y="90"/>
                  <a:pt x="20" y="90"/>
                </a:cubicBezTo>
                <a:cubicBezTo>
                  <a:pt x="18" y="90"/>
                  <a:pt x="18" y="90"/>
                  <a:pt x="18" y="90"/>
                </a:cubicBezTo>
                <a:close/>
                <a:moveTo>
                  <a:pt x="18" y="92"/>
                </a:moveTo>
                <a:cubicBezTo>
                  <a:pt x="19" y="91"/>
                  <a:pt x="19" y="91"/>
                  <a:pt x="19" y="91"/>
                </a:cubicBezTo>
                <a:cubicBezTo>
                  <a:pt x="20" y="91"/>
                  <a:pt x="20" y="91"/>
                  <a:pt x="20" y="91"/>
                </a:cubicBezTo>
                <a:cubicBezTo>
                  <a:pt x="21" y="90"/>
                  <a:pt x="21" y="90"/>
                  <a:pt x="21" y="90"/>
                </a:cubicBezTo>
                <a:cubicBezTo>
                  <a:pt x="22" y="90"/>
                  <a:pt x="22" y="90"/>
                  <a:pt x="22" y="90"/>
                </a:cubicBezTo>
                <a:cubicBezTo>
                  <a:pt x="22" y="91"/>
                  <a:pt x="22" y="91"/>
                  <a:pt x="22" y="91"/>
                </a:cubicBezTo>
                <a:cubicBezTo>
                  <a:pt x="21" y="92"/>
                  <a:pt x="21" y="92"/>
                  <a:pt x="21" y="92"/>
                </a:cubicBezTo>
                <a:cubicBezTo>
                  <a:pt x="20" y="92"/>
                  <a:pt x="20" y="92"/>
                  <a:pt x="20" y="92"/>
                </a:cubicBezTo>
                <a:cubicBezTo>
                  <a:pt x="19" y="92"/>
                  <a:pt x="19" y="92"/>
                  <a:pt x="19" y="92"/>
                </a:cubicBezTo>
                <a:cubicBezTo>
                  <a:pt x="18" y="92"/>
                  <a:pt x="18" y="92"/>
                  <a:pt x="18" y="92"/>
                </a:cubicBezTo>
                <a:close/>
                <a:moveTo>
                  <a:pt x="35" y="75"/>
                </a:moveTo>
                <a:cubicBezTo>
                  <a:pt x="35" y="74"/>
                  <a:pt x="35" y="74"/>
                  <a:pt x="35" y="74"/>
                </a:cubicBezTo>
                <a:cubicBezTo>
                  <a:pt x="37" y="73"/>
                  <a:pt x="37" y="73"/>
                  <a:pt x="37" y="73"/>
                </a:cubicBezTo>
                <a:cubicBezTo>
                  <a:pt x="35" y="75"/>
                  <a:pt x="35" y="75"/>
                  <a:pt x="35" y="75"/>
                </a:cubicBezTo>
                <a:cubicBezTo>
                  <a:pt x="35" y="75"/>
                  <a:pt x="35" y="75"/>
                  <a:pt x="35" y="75"/>
                </a:cubicBezTo>
                <a:close/>
                <a:moveTo>
                  <a:pt x="33" y="78"/>
                </a:moveTo>
                <a:cubicBezTo>
                  <a:pt x="33" y="77"/>
                  <a:pt x="33" y="77"/>
                  <a:pt x="33" y="77"/>
                </a:cubicBezTo>
                <a:cubicBezTo>
                  <a:pt x="32" y="77"/>
                  <a:pt x="32" y="77"/>
                  <a:pt x="32" y="77"/>
                </a:cubicBezTo>
                <a:cubicBezTo>
                  <a:pt x="33" y="76"/>
                  <a:pt x="33" y="76"/>
                  <a:pt x="33" y="76"/>
                </a:cubicBezTo>
                <a:cubicBezTo>
                  <a:pt x="34" y="76"/>
                  <a:pt x="34" y="76"/>
                  <a:pt x="34" y="76"/>
                </a:cubicBezTo>
                <a:cubicBezTo>
                  <a:pt x="35" y="75"/>
                  <a:pt x="35" y="75"/>
                  <a:pt x="35" y="75"/>
                </a:cubicBezTo>
                <a:cubicBezTo>
                  <a:pt x="34" y="77"/>
                  <a:pt x="34" y="77"/>
                  <a:pt x="34" y="77"/>
                </a:cubicBezTo>
                <a:cubicBezTo>
                  <a:pt x="33" y="78"/>
                  <a:pt x="33" y="78"/>
                  <a:pt x="33" y="78"/>
                </a:cubicBezTo>
                <a:close/>
                <a:moveTo>
                  <a:pt x="36" y="67"/>
                </a:moveTo>
                <a:cubicBezTo>
                  <a:pt x="37" y="67"/>
                  <a:pt x="37" y="67"/>
                  <a:pt x="37" y="67"/>
                </a:cubicBezTo>
                <a:cubicBezTo>
                  <a:pt x="37" y="68"/>
                  <a:pt x="37" y="68"/>
                  <a:pt x="37" y="68"/>
                </a:cubicBezTo>
                <a:cubicBezTo>
                  <a:pt x="36" y="69"/>
                  <a:pt x="36" y="69"/>
                  <a:pt x="36" y="69"/>
                </a:cubicBezTo>
                <a:cubicBezTo>
                  <a:pt x="36" y="68"/>
                  <a:pt x="36" y="68"/>
                  <a:pt x="36" y="68"/>
                </a:cubicBezTo>
                <a:cubicBezTo>
                  <a:pt x="36" y="67"/>
                  <a:pt x="36" y="67"/>
                  <a:pt x="36" y="67"/>
                </a:cubicBezTo>
                <a:close/>
                <a:moveTo>
                  <a:pt x="39" y="65"/>
                </a:moveTo>
                <a:cubicBezTo>
                  <a:pt x="39" y="64"/>
                  <a:pt x="39" y="64"/>
                  <a:pt x="39" y="64"/>
                </a:cubicBezTo>
                <a:cubicBezTo>
                  <a:pt x="40" y="64"/>
                  <a:pt x="40" y="64"/>
                  <a:pt x="40" y="64"/>
                </a:cubicBezTo>
                <a:cubicBezTo>
                  <a:pt x="39" y="65"/>
                  <a:pt x="39" y="65"/>
                  <a:pt x="39" y="65"/>
                </a:cubicBezTo>
                <a:cubicBezTo>
                  <a:pt x="39" y="65"/>
                  <a:pt x="39" y="65"/>
                  <a:pt x="39" y="65"/>
                </a:cubicBezTo>
                <a:close/>
                <a:moveTo>
                  <a:pt x="38" y="62"/>
                </a:moveTo>
                <a:cubicBezTo>
                  <a:pt x="39" y="61"/>
                  <a:pt x="39" y="61"/>
                  <a:pt x="39" y="61"/>
                </a:cubicBezTo>
                <a:cubicBezTo>
                  <a:pt x="39" y="62"/>
                  <a:pt x="39" y="62"/>
                  <a:pt x="39" y="62"/>
                </a:cubicBezTo>
                <a:cubicBezTo>
                  <a:pt x="38" y="64"/>
                  <a:pt x="38" y="64"/>
                  <a:pt x="38" y="64"/>
                </a:cubicBezTo>
                <a:cubicBezTo>
                  <a:pt x="38" y="62"/>
                  <a:pt x="38" y="62"/>
                  <a:pt x="38" y="62"/>
                </a:cubicBezTo>
                <a:close/>
                <a:moveTo>
                  <a:pt x="46" y="51"/>
                </a:moveTo>
                <a:cubicBezTo>
                  <a:pt x="46" y="51"/>
                  <a:pt x="46" y="51"/>
                  <a:pt x="46" y="51"/>
                </a:cubicBezTo>
                <a:cubicBezTo>
                  <a:pt x="47" y="51"/>
                  <a:pt x="47" y="51"/>
                  <a:pt x="47" y="51"/>
                </a:cubicBezTo>
                <a:cubicBezTo>
                  <a:pt x="46" y="52"/>
                  <a:pt x="46" y="52"/>
                  <a:pt x="46" y="52"/>
                </a:cubicBezTo>
                <a:cubicBezTo>
                  <a:pt x="46" y="51"/>
                  <a:pt x="46" y="51"/>
                  <a:pt x="46" y="51"/>
                </a:cubicBezTo>
                <a:close/>
                <a:moveTo>
                  <a:pt x="38" y="45"/>
                </a:moveTo>
                <a:cubicBezTo>
                  <a:pt x="39" y="45"/>
                  <a:pt x="39" y="45"/>
                  <a:pt x="39" y="45"/>
                </a:cubicBezTo>
                <a:cubicBezTo>
                  <a:pt x="38" y="46"/>
                  <a:pt x="38" y="46"/>
                  <a:pt x="38" y="46"/>
                </a:cubicBezTo>
                <a:cubicBezTo>
                  <a:pt x="38" y="46"/>
                  <a:pt x="38" y="46"/>
                  <a:pt x="38" y="46"/>
                </a:cubicBezTo>
                <a:cubicBezTo>
                  <a:pt x="38" y="45"/>
                  <a:pt x="38" y="45"/>
                  <a:pt x="38" y="45"/>
                </a:cubicBezTo>
                <a:close/>
                <a:moveTo>
                  <a:pt x="40" y="42"/>
                </a:moveTo>
                <a:cubicBezTo>
                  <a:pt x="39" y="43"/>
                  <a:pt x="39" y="43"/>
                  <a:pt x="39" y="43"/>
                </a:cubicBezTo>
                <a:cubicBezTo>
                  <a:pt x="39" y="42"/>
                  <a:pt x="39" y="42"/>
                  <a:pt x="39" y="42"/>
                </a:cubicBezTo>
                <a:cubicBezTo>
                  <a:pt x="40" y="40"/>
                  <a:pt x="40" y="40"/>
                  <a:pt x="40" y="40"/>
                </a:cubicBezTo>
                <a:cubicBezTo>
                  <a:pt x="40" y="42"/>
                  <a:pt x="40" y="42"/>
                  <a:pt x="40" y="42"/>
                </a:cubicBezTo>
                <a:close/>
                <a:moveTo>
                  <a:pt x="41" y="41"/>
                </a:moveTo>
                <a:cubicBezTo>
                  <a:pt x="41" y="40"/>
                  <a:pt x="41" y="40"/>
                  <a:pt x="41" y="40"/>
                </a:cubicBezTo>
                <a:cubicBezTo>
                  <a:pt x="41" y="39"/>
                  <a:pt x="41" y="39"/>
                  <a:pt x="41" y="39"/>
                </a:cubicBezTo>
                <a:cubicBezTo>
                  <a:pt x="42" y="40"/>
                  <a:pt x="42" y="40"/>
                  <a:pt x="42" y="40"/>
                </a:cubicBezTo>
                <a:cubicBezTo>
                  <a:pt x="41" y="41"/>
                  <a:pt x="41" y="41"/>
                  <a:pt x="41" y="41"/>
                </a:cubicBezTo>
                <a:close/>
                <a:moveTo>
                  <a:pt x="45" y="38"/>
                </a:moveTo>
                <a:cubicBezTo>
                  <a:pt x="45" y="39"/>
                  <a:pt x="45" y="39"/>
                  <a:pt x="45" y="39"/>
                </a:cubicBezTo>
                <a:cubicBezTo>
                  <a:pt x="42" y="41"/>
                  <a:pt x="42" y="41"/>
                  <a:pt x="42" y="41"/>
                </a:cubicBezTo>
                <a:cubicBezTo>
                  <a:pt x="43" y="38"/>
                  <a:pt x="43" y="38"/>
                  <a:pt x="43" y="38"/>
                </a:cubicBezTo>
                <a:cubicBezTo>
                  <a:pt x="45" y="38"/>
                  <a:pt x="45" y="38"/>
                  <a:pt x="45" y="38"/>
                </a:cubicBezTo>
                <a:close/>
                <a:moveTo>
                  <a:pt x="47" y="35"/>
                </a:moveTo>
                <a:cubicBezTo>
                  <a:pt x="48" y="34"/>
                  <a:pt x="48" y="34"/>
                  <a:pt x="48" y="34"/>
                </a:cubicBezTo>
                <a:cubicBezTo>
                  <a:pt x="49" y="35"/>
                  <a:pt x="49" y="35"/>
                  <a:pt x="49" y="35"/>
                </a:cubicBezTo>
                <a:cubicBezTo>
                  <a:pt x="47" y="35"/>
                  <a:pt x="47" y="35"/>
                  <a:pt x="47" y="35"/>
                </a:cubicBezTo>
                <a:close/>
                <a:moveTo>
                  <a:pt x="48" y="36"/>
                </a:moveTo>
                <a:cubicBezTo>
                  <a:pt x="48" y="38"/>
                  <a:pt x="48" y="38"/>
                  <a:pt x="48" y="38"/>
                </a:cubicBezTo>
                <a:cubicBezTo>
                  <a:pt x="47" y="37"/>
                  <a:pt x="47" y="37"/>
                  <a:pt x="47" y="37"/>
                </a:cubicBezTo>
                <a:cubicBezTo>
                  <a:pt x="45" y="38"/>
                  <a:pt x="45" y="38"/>
                  <a:pt x="45" y="38"/>
                </a:cubicBezTo>
                <a:cubicBezTo>
                  <a:pt x="46" y="37"/>
                  <a:pt x="46" y="37"/>
                  <a:pt x="46" y="37"/>
                </a:cubicBezTo>
                <a:cubicBezTo>
                  <a:pt x="48" y="36"/>
                  <a:pt x="48" y="36"/>
                  <a:pt x="48" y="36"/>
                </a:cubicBezTo>
                <a:close/>
                <a:moveTo>
                  <a:pt x="49" y="29"/>
                </a:moveTo>
                <a:cubicBezTo>
                  <a:pt x="50" y="31"/>
                  <a:pt x="50" y="31"/>
                  <a:pt x="50" y="31"/>
                </a:cubicBezTo>
                <a:cubicBezTo>
                  <a:pt x="50" y="33"/>
                  <a:pt x="50" y="33"/>
                  <a:pt x="50" y="33"/>
                </a:cubicBezTo>
                <a:cubicBezTo>
                  <a:pt x="48" y="34"/>
                  <a:pt x="48" y="34"/>
                  <a:pt x="48" y="34"/>
                </a:cubicBezTo>
                <a:cubicBezTo>
                  <a:pt x="47" y="33"/>
                  <a:pt x="47" y="33"/>
                  <a:pt x="47" y="33"/>
                </a:cubicBezTo>
                <a:cubicBezTo>
                  <a:pt x="49" y="32"/>
                  <a:pt x="49" y="32"/>
                  <a:pt x="49" y="32"/>
                </a:cubicBezTo>
                <a:cubicBezTo>
                  <a:pt x="48" y="32"/>
                  <a:pt x="48" y="32"/>
                  <a:pt x="48" y="32"/>
                </a:cubicBezTo>
                <a:cubicBezTo>
                  <a:pt x="46" y="33"/>
                  <a:pt x="46" y="33"/>
                  <a:pt x="46" y="33"/>
                </a:cubicBezTo>
                <a:cubicBezTo>
                  <a:pt x="46" y="32"/>
                  <a:pt x="46" y="32"/>
                  <a:pt x="46" y="32"/>
                </a:cubicBezTo>
                <a:cubicBezTo>
                  <a:pt x="46" y="31"/>
                  <a:pt x="46" y="31"/>
                  <a:pt x="46" y="31"/>
                </a:cubicBezTo>
                <a:cubicBezTo>
                  <a:pt x="48" y="31"/>
                  <a:pt x="48" y="31"/>
                  <a:pt x="48" y="31"/>
                </a:cubicBezTo>
                <a:cubicBezTo>
                  <a:pt x="49" y="30"/>
                  <a:pt x="49" y="30"/>
                  <a:pt x="49" y="30"/>
                </a:cubicBezTo>
                <a:cubicBezTo>
                  <a:pt x="48" y="30"/>
                  <a:pt x="48" y="30"/>
                  <a:pt x="48" y="30"/>
                </a:cubicBezTo>
                <a:cubicBezTo>
                  <a:pt x="49" y="29"/>
                  <a:pt x="49" y="29"/>
                  <a:pt x="49" y="29"/>
                </a:cubicBezTo>
                <a:close/>
                <a:moveTo>
                  <a:pt x="51" y="30"/>
                </a:moveTo>
                <a:cubicBezTo>
                  <a:pt x="50" y="30"/>
                  <a:pt x="50" y="30"/>
                  <a:pt x="50" y="30"/>
                </a:cubicBezTo>
                <a:cubicBezTo>
                  <a:pt x="50" y="28"/>
                  <a:pt x="50" y="28"/>
                  <a:pt x="50" y="28"/>
                </a:cubicBezTo>
                <a:cubicBezTo>
                  <a:pt x="52" y="27"/>
                  <a:pt x="52" y="27"/>
                  <a:pt x="52" y="27"/>
                </a:cubicBezTo>
                <a:cubicBezTo>
                  <a:pt x="52" y="25"/>
                  <a:pt x="52" y="25"/>
                  <a:pt x="52" y="25"/>
                </a:cubicBezTo>
                <a:cubicBezTo>
                  <a:pt x="53" y="25"/>
                  <a:pt x="53" y="25"/>
                  <a:pt x="53" y="25"/>
                </a:cubicBezTo>
                <a:cubicBezTo>
                  <a:pt x="54" y="26"/>
                  <a:pt x="54" y="26"/>
                  <a:pt x="54" y="26"/>
                </a:cubicBezTo>
                <a:cubicBezTo>
                  <a:pt x="52" y="27"/>
                  <a:pt x="52" y="27"/>
                  <a:pt x="52" y="27"/>
                </a:cubicBezTo>
                <a:cubicBezTo>
                  <a:pt x="52" y="28"/>
                  <a:pt x="52" y="28"/>
                  <a:pt x="52" y="28"/>
                </a:cubicBezTo>
                <a:cubicBezTo>
                  <a:pt x="51" y="30"/>
                  <a:pt x="51" y="30"/>
                  <a:pt x="51" y="30"/>
                </a:cubicBezTo>
                <a:close/>
                <a:moveTo>
                  <a:pt x="55" y="31"/>
                </a:moveTo>
                <a:cubicBezTo>
                  <a:pt x="56" y="32"/>
                  <a:pt x="56" y="32"/>
                  <a:pt x="56" y="32"/>
                </a:cubicBezTo>
                <a:cubicBezTo>
                  <a:pt x="54" y="35"/>
                  <a:pt x="54" y="35"/>
                  <a:pt x="54" y="35"/>
                </a:cubicBezTo>
                <a:cubicBezTo>
                  <a:pt x="53" y="36"/>
                  <a:pt x="53" y="36"/>
                  <a:pt x="53" y="36"/>
                </a:cubicBezTo>
                <a:cubicBezTo>
                  <a:pt x="52" y="37"/>
                  <a:pt x="52" y="37"/>
                  <a:pt x="52" y="37"/>
                </a:cubicBezTo>
                <a:cubicBezTo>
                  <a:pt x="51" y="36"/>
                  <a:pt x="51" y="36"/>
                  <a:pt x="51" y="36"/>
                </a:cubicBezTo>
                <a:cubicBezTo>
                  <a:pt x="51" y="35"/>
                  <a:pt x="51" y="35"/>
                  <a:pt x="51" y="35"/>
                </a:cubicBezTo>
                <a:cubicBezTo>
                  <a:pt x="50" y="37"/>
                  <a:pt x="50" y="37"/>
                  <a:pt x="50" y="37"/>
                </a:cubicBezTo>
                <a:cubicBezTo>
                  <a:pt x="49" y="37"/>
                  <a:pt x="49" y="37"/>
                  <a:pt x="49" y="37"/>
                </a:cubicBezTo>
                <a:cubicBezTo>
                  <a:pt x="50" y="35"/>
                  <a:pt x="50" y="35"/>
                  <a:pt x="50" y="35"/>
                </a:cubicBezTo>
                <a:cubicBezTo>
                  <a:pt x="50" y="35"/>
                  <a:pt x="50" y="35"/>
                  <a:pt x="50" y="35"/>
                </a:cubicBezTo>
                <a:cubicBezTo>
                  <a:pt x="50" y="34"/>
                  <a:pt x="50" y="34"/>
                  <a:pt x="50" y="34"/>
                </a:cubicBezTo>
                <a:cubicBezTo>
                  <a:pt x="51" y="33"/>
                  <a:pt x="51" y="33"/>
                  <a:pt x="51" y="33"/>
                </a:cubicBezTo>
                <a:cubicBezTo>
                  <a:pt x="51" y="32"/>
                  <a:pt x="51" y="32"/>
                  <a:pt x="51" y="32"/>
                </a:cubicBezTo>
                <a:cubicBezTo>
                  <a:pt x="52" y="29"/>
                  <a:pt x="52" y="29"/>
                  <a:pt x="52" y="29"/>
                </a:cubicBezTo>
                <a:cubicBezTo>
                  <a:pt x="52" y="33"/>
                  <a:pt x="52" y="33"/>
                  <a:pt x="52" y="33"/>
                </a:cubicBezTo>
                <a:cubicBezTo>
                  <a:pt x="52" y="34"/>
                  <a:pt x="52" y="34"/>
                  <a:pt x="52" y="34"/>
                </a:cubicBezTo>
                <a:cubicBezTo>
                  <a:pt x="53" y="32"/>
                  <a:pt x="53" y="32"/>
                  <a:pt x="53" y="32"/>
                </a:cubicBezTo>
                <a:cubicBezTo>
                  <a:pt x="55" y="32"/>
                  <a:pt x="55" y="32"/>
                  <a:pt x="55" y="32"/>
                </a:cubicBezTo>
                <a:cubicBezTo>
                  <a:pt x="54" y="31"/>
                  <a:pt x="54" y="31"/>
                  <a:pt x="54" y="31"/>
                </a:cubicBezTo>
                <a:cubicBezTo>
                  <a:pt x="54" y="30"/>
                  <a:pt x="54" y="30"/>
                  <a:pt x="54" y="30"/>
                </a:cubicBezTo>
                <a:cubicBezTo>
                  <a:pt x="55" y="31"/>
                  <a:pt x="55" y="31"/>
                  <a:pt x="55" y="31"/>
                </a:cubicBezTo>
                <a:close/>
                <a:moveTo>
                  <a:pt x="55" y="29"/>
                </a:moveTo>
                <a:cubicBezTo>
                  <a:pt x="54" y="29"/>
                  <a:pt x="54" y="29"/>
                  <a:pt x="54" y="29"/>
                </a:cubicBezTo>
                <a:cubicBezTo>
                  <a:pt x="55" y="29"/>
                  <a:pt x="55" y="29"/>
                  <a:pt x="55" y="29"/>
                </a:cubicBezTo>
                <a:cubicBezTo>
                  <a:pt x="56" y="29"/>
                  <a:pt x="56" y="29"/>
                  <a:pt x="56" y="29"/>
                </a:cubicBezTo>
                <a:cubicBezTo>
                  <a:pt x="56" y="30"/>
                  <a:pt x="56" y="30"/>
                  <a:pt x="56" y="30"/>
                </a:cubicBezTo>
                <a:cubicBezTo>
                  <a:pt x="55" y="29"/>
                  <a:pt x="55" y="29"/>
                  <a:pt x="55" y="29"/>
                </a:cubicBezTo>
                <a:close/>
                <a:moveTo>
                  <a:pt x="58" y="31"/>
                </a:moveTo>
                <a:cubicBezTo>
                  <a:pt x="58" y="30"/>
                  <a:pt x="58" y="30"/>
                  <a:pt x="58" y="30"/>
                </a:cubicBezTo>
                <a:cubicBezTo>
                  <a:pt x="59" y="31"/>
                  <a:pt x="59" y="31"/>
                  <a:pt x="59" y="31"/>
                </a:cubicBezTo>
                <a:cubicBezTo>
                  <a:pt x="58" y="31"/>
                  <a:pt x="58" y="31"/>
                  <a:pt x="58" y="31"/>
                </a:cubicBezTo>
                <a:close/>
                <a:moveTo>
                  <a:pt x="62" y="25"/>
                </a:moveTo>
                <a:cubicBezTo>
                  <a:pt x="62" y="25"/>
                  <a:pt x="62" y="25"/>
                  <a:pt x="62" y="25"/>
                </a:cubicBezTo>
                <a:cubicBezTo>
                  <a:pt x="62" y="26"/>
                  <a:pt x="62" y="26"/>
                  <a:pt x="62" y="26"/>
                </a:cubicBezTo>
                <a:cubicBezTo>
                  <a:pt x="61" y="27"/>
                  <a:pt x="61" y="27"/>
                  <a:pt x="61" y="27"/>
                </a:cubicBezTo>
                <a:cubicBezTo>
                  <a:pt x="61" y="27"/>
                  <a:pt x="61" y="27"/>
                  <a:pt x="61" y="27"/>
                </a:cubicBezTo>
                <a:cubicBezTo>
                  <a:pt x="59" y="27"/>
                  <a:pt x="59" y="27"/>
                  <a:pt x="59" y="27"/>
                </a:cubicBezTo>
                <a:cubicBezTo>
                  <a:pt x="59" y="29"/>
                  <a:pt x="59" y="29"/>
                  <a:pt x="59" y="29"/>
                </a:cubicBezTo>
                <a:cubicBezTo>
                  <a:pt x="58" y="29"/>
                  <a:pt x="58" y="29"/>
                  <a:pt x="58" y="29"/>
                </a:cubicBezTo>
                <a:cubicBezTo>
                  <a:pt x="58" y="28"/>
                  <a:pt x="58" y="28"/>
                  <a:pt x="58" y="28"/>
                </a:cubicBezTo>
                <a:cubicBezTo>
                  <a:pt x="57" y="27"/>
                  <a:pt x="57" y="27"/>
                  <a:pt x="57" y="27"/>
                </a:cubicBezTo>
                <a:cubicBezTo>
                  <a:pt x="58" y="26"/>
                  <a:pt x="58" y="26"/>
                  <a:pt x="58" y="26"/>
                </a:cubicBezTo>
                <a:cubicBezTo>
                  <a:pt x="57" y="26"/>
                  <a:pt x="57" y="26"/>
                  <a:pt x="57" y="26"/>
                </a:cubicBezTo>
                <a:cubicBezTo>
                  <a:pt x="57" y="25"/>
                  <a:pt x="57" y="25"/>
                  <a:pt x="57" y="25"/>
                </a:cubicBezTo>
                <a:cubicBezTo>
                  <a:pt x="59" y="24"/>
                  <a:pt x="59" y="24"/>
                  <a:pt x="59" y="24"/>
                </a:cubicBezTo>
                <a:cubicBezTo>
                  <a:pt x="58" y="24"/>
                  <a:pt x="58" y="24"/>
                  <a:pt x="58" y="24"/>
                </a:cubicBezTo>
                <a:cubicBezTo>
                  <a:pt x="58" y="22"/>
                  <a:pt x="58" y="22"/>
                  <a:pt x="58" y="22"/>
                </a:cubicBezTo>
                <a:cubicBezTo>
                  <a:pt x="59" y="23"/>
                  <a:pt x="59" y="23"/>
                  <a:pt x="59" y="23"/>
                </a:cubicBezTo>
                <a:cubicBezTo>
                  <a:pt x="59" y="22"/>
                  <a:pt x="59" y="22"/>
                  <a:pt x="59" y="22"/>
                </a:cubicBezTo>
                <a:cubicBezTo>
                  <a:pt x="61" y="22"/>
                  <a:pt x="61" y="22"/>
                  <a:pt x="61" y="22"/>
                </a:cubicBezTo>
                <a:cubicBezTo>
                  <a:pt x="61" y="23"/>
                  <a:pt x="61" y="23"/>
                  <a:pt x="61" y="23"/>
                </a:cubicBezTo>
                <a:cubicBezTo>
                  <a:pt x="62" y="23"/>
                  <a:pt x="62" y="23"/>
                  <a:pt x="62" y="23"/>
                </a:cubicBezTo>
                <a:cubicBezTo>
                  <a:pt x="62" y="25"/>
                  <a:pt x="62" y="25"/>
                  <a:pt x="62" y="25"/>
                </a:cubicBezTo>
                <a:close/>
                <a:moveTo>
                  <a:pt x="62" y="21"/>
                </a:moveTo>
                <a:cubicBezTo>
                  <a:pt x="64" y="21"/>
                  <a:pt x="64" y="21"/>
                  <a:pt x="64" y="21"/>
                </a:cubicBezTo>
                <a:cubicBezTo>
                  <a:pt x="64" y="20"/>
                  <a:pt x="64" y="20"/>
                  <a:pt x="64" y="20"/>
                </a:cubicBezTo>
                <a:cubicBezTo>
                  <a:pt x="66" y="20"/>
                  <a:pt x="66" y="20"/>
                  <a:pt x="66" y="20"/>
                </a:cubicBezTo>
                <a:cubicBezTo>
                  <a:pt x="66" y="19"/>
                  <a:pt x="66" y="19"/>
                  <a:pt x="66" y="19"/>
                </a:cubicBezTo>
                <a:cubicBezTo>
                  <a:pt x="67" y="20"/>
                  <a:pt x="67" y="20"/>
                  <a:pt x="67" y="20"/>
                </a:cubicBezTo>
                <a:cubicBezTo>
                  <a:pt x="66" y="21"/>
                  <a:pt x="66" y="21"/>
                  <a:pt x="66" y="21"/>
                </a:cubicBezTo>
                <a:cubicBezTo>
                  <a:pt x="66" y="22"/>
                  <a:pt x="66" y="22"/>
                  <a:pt x="66" y="22"/>
                </a:cubicBezTo>
                <a:cubicBezTo>
                  <a:pt x="65" y="22"/>
                  <a:pt x="65" y="22"/>
                  <a:pt x="65" y="22"/>
                </a:cubicBezTo>
                <a:cubicBezTo>
                  <a:pt x="64" y="23"/>
                  <a:pt x="64" y="23"/>
                  <a:pt x="64" y="23"/>
                </a:cubicBezTo>
                <a:cubicBezTo>
                  <a:pt x="62" y="21"/>
                  <a:pt x="62" y="21"/>
                  <a:pt x="62" y="21"/>
                </a:cubicBezTo>
                <a:close/>
                <a:moveTo>
                  <a:pt x="67" y="14"/>
                </a:moveTo>
                <a:cubicBezTo>
                  <a:pt x="67" y="13"/>
                  <a:pt x="67" y="13"/>
                  <a:pt x="67" y="13"/>
                </a:cubicBezTo>
                <a:cubicBezTo>
                  <a:pt x="68" y="13"/>
                  <a:pt x="68" y="13"/>
                  <a:pt x="68" y="13"/>
                </a:cubicBezTo>
                <a:cubicBezTo>
                  <a:pt x="67" y="14"/>
                  <a:pt x="67" y="14"/>
                  <a:pt x="67" y="14"/>
                </a:cubicBezTo>
                <a:close/>
                <a:moveTo>
                  <a:pt x="65" y="16"/>
                </a:moveTo>
                <a:cubicBezTo>
                  <a:pt x="65" y="15"/>
                  <a:pt x="65" y="15"/>
                  <a:pt x="65" y="15"/>
                </a:cubicBezTo>
                <a:cubicBezTo>
                  <a:pt x="67" y="14"/>
                  <a:pt x="67" y="14"/>
                  <a:pt x="67" y="14"/>
                </a:cubicBezTo>
                <a:cubicBezTo>
                  <a:pt x="67" y="15"/>
                  <a:pt x="67" y="15"/>
                  <a:pt x="67" y="15"/>
                </a:cubicBezTo>
                <a:cubicBezTo>
                  <a:pt x="67" y="15"/>
                  <a:pt x="65" y="16"/>
                  <a:pt x="65" y="16"/>
                </a:cubicBezTo>
                <a:close/>
                <a:moveTo>
                  <a:pt x="69" y="19"/>
                </a:moveTo>
                <a:cubicBezTo>
                  <a:pt x="70" y="17"/>
                  <a:pt x="70" y="17"/>
                  <a:pt x="70" y="17"/>
                </a:cubicBezTo>
                <a:cubicBezTo>
                  <a:pt x="70" y="18"/>
                  <a:pt x="70" y="18"/>
                  <a:pt x="70" y="18"/>
                </a:cubicBezTo>
                <a:cubicBezTo>
                  <a:pt x="69" y="19"/>
                  <a:pt x="69" y="19"/>
                  <a:pt x="69" y="19"/>
                </a:cubicBezTo>
                <a:close/>
                <a:moveTo>
                  <a:pt x="69" y="18"/>
                </a:moveTo>
                <a:cubicBezTo>
                  <a:pt x="68" y="19"/>
                  <a:pt x="68" y="19"/>
                  <a:pt x="68" y="19"/>
                </a:cubicBezTo>
                <a:cubicBezTo>
                  <a:pt x="67" y="19"/>
                  <a:pt x="67" y="19"/>
                  <a:pt x="67" y="19"/>
                </a:cubicBezTo>
                <a:cubicBezTo>
                  <a:pt x="66" y="17"/>
                  <a:pt x="66" y="17"/>
                  <a:pt x="66" y="17"/>
                </a:cubicBezTo>
                <a:cubicBezTo>
                  <a:pt x="68" y="16"/>
                  <a:pt x="68" y="16"/>
                  <a:pt x="68" y="16"/>
                </a:cubicBezTo>
                <a:cubicBezTo>
                  <a:pt x="68" y="16"/>
                  <a:pt x="68" y="16"/>
                  <a:pt x="68" y="16"/>
                </a:cubicBezTo>
                <a:cubicBezTo>
                  <a:pt x="69" y="16"/>
                  <a:pt x="69" y="16"/>
                  <a:pt x="69" y="16"/>
                </a:cubicBezTo>
                <a:cubicBezTo>
                  <a:pt x="70" y="16"/>
                  <a:pt x="70" y="16"/>
                  <a:pt x="70" y="16"/>
                </a:cubicBezTo>
                <a:cubicBezTo>
                  <a:pt x="69" y="17"/>
                  <a:pt x="69" y="17"/>
                  <a:pt x="69" y="17"/>
                </a:cubicBezTo>
                <a:cubicBezTo>
                  <a:pt x="69" y="18"/>
                  <a:pt x="69" y="18"/>
                  <a:pt x="69" y="18"/>
                </a:cubicBezTo>
                <a:close/>
                <a:moveTo>
                  <a:pt x="72" y="15"/>
                </a:moveTo>
                <a:cubicBezTo>
                  <a:pt x="71" y="16"/>
                  <a:pt x="71" y="16"/>
                  <a:pt x="71" y="16"/>
                </a:cubicBezTo>
                <a:cubicBezTo>
                  <a:pt x="70" y="15"/>
                  <a:pt x="70" y="15"/>
                  <a:pt x="70" y="15"/>
                </a:cubicBezTo>
                <a:cubicBezTo>
                  <a:pt x="70" y="14"/>
                  <a:pt x="70" y="14"/>
                  <a:pt x="70" y="14"/>
                </a:cubicBezTo>
                <a:cubicBezTo>
                  <a:pt x="69" y="12"/>
                  <a:pt x="69" y="12"/>
                  <a:pt x="69" y="12"/>
                </a:cubicBezTo>
                <a:cubicBezTo>
                  <a:pt x="70" y="12"/>
                  <a:pt x="70" y="12"/>
                  <a:pt x="70" y="12"/>
                </a:cubicBezTo>
                <a:cubicBezTo>
                  <a:pt x="70" y="14"/>
                  <a:pt x="70" y="14"/>
                  <a:pt x="70" y="14"/>
                </a:cubicBezTo>
                <a:cubicBezTo>
                  <a:pt x="72" y="15"/>
                  <a:pt x="72" y="15"/>
                  <a:pt x="72" y="15"/>
                </a:cubicBezTo>
                <a:cubicBezTo>
                  <a:pt x="72" y="15"/>
                  <a:pt x="72" y="15"/>
                  <a:pt x="72" y="15"/>
                </a:cubicBezTo>
                <a:close/>
                <a:moveTo>
                  <a:pt x="75" y="17"/>
                </a:moveTo>
                <a:cubicBezTo>
                  <a:pt x="75" y="16"/>
                  <a:pt x="75" y="16"/>
                  <a:pt x="75" y="16"/>
                </a:cubicBezTo>
                <a:cubicBezTo>
                  <a:pt x="74" y="16"/>
                  <a:pt x="74" y="16"/>
                  <a:pt x="74" y="16"/>
                </a:cubicBezTo>
                <a:cubicBezTo>
                  <a:pt x="74" y="14"/>
                  <a:pt x="74" y="14"/>
                  <a:pt x="74" y="14"/>
                </a:cubicBezTo>
                <a:cubicBezTo>
                  <a:pt x="74" y="13"/>
                  <a:pt x="74" y="13"/>
                  <a:pt x="74" y="13"/>
                </a:cubicBezTo>
                <a:cubicBezTo>
                  <a:pt x="76" y="14"/>
                  <a:pt x="76" y="14"/>
                  <a:pt x="76" y="14"/>
                </a:cubicBezTo>
                <a:cubicBezTo>
                  <a:pt x="75" y="15"/>
                  <a:pt x="75" y="15"/>
                  <a:pt x="75" y="15"/>
                </a:cubicBezTo>
                <a:cubicBezTo>
                  <a:pt x="76" y="16"/>
                  <a:pt x="76" y="16"/>
                  <a:pt x="76" y="16"/>
                </a:cubicBezTo>
                <a:cubicBezTo>
                  <a:pt x="75" y="17"/>
                  <a:pt x="75" y="17"/>
                  <a:pt x="75" y="17"/>
                </a:cubicBezTo>
                <a:close/>
                <a:moveTo>
                  <a:pt x="85" y="12"/>
                </a:moveTo>
                <a:cubicBezTo>
                  <a:pt x="84" y="12"/>
                  <a:pt x="84" y="12"/>
                  <a:pt x="84" y="12"/>
                </a:cubicBezTo>
                <a:cubicBezTo>
                  <a:pt x="82" y="11"/>
                  <a:pt x="82" y="11"/>
                  <a:pt x="82" y="11"/>
                </a:cubicBezTo>
                <a:cubicBezTo>
                  <a:pt x="83" y="11"/>
                  <a:pt x="83" y="11"/>
                  <a:pt x="83" y="11"/>
                </a:cubicBezTo>
                <a:cubicBezTo>
                  <a:pt x="85" y="11"/>
                  <a:pt x="85" y="11"/>
                  <a:pt x="85" y="11"/>
                </a:cubicBezTo>
                <a:cubicBezTo>
                  <a:pt x="85" y="11"/>
                  <a:pt x="85" y="11"/>
                  <a:pt x="85" y="11"/>
                </a:cubicBezTo>
                <a:cubicBezTo>
                  <a:pt x="85" y="12"/>
                  <a:pt x="85" y="12"/>
                  <a:pt x="85" y="12"/>
                </a:cubicBezTo>
                <a:close/>
                <a:moveTo>
                  <a:pt x="86" y="11"/>
                </a:moveTo>
                <a:cubicBezTo>
                  <a:pt x="85" y="10"/>
                  <a:pt x="85" y="10"/>
                  <a:pt x="85" y="10"/>
                </a:cubicBezTo>
                <a:cubicBezTo>
                  <a:pt x="87" y="8"/>
                  <a:pt x="87" y="8"/>
                  <a:pt x="87" y="8"/>
                </a:cubicBezTo>
                <a:cubicBezTo>
                  <a:pt x="88" y="9"/>
                  <a:pt x="88" y="9"/>
                  <a:pt x="88" y="9"/>
                </a:cubicBezTo>
                <a:cubicBezTo>
                  <a:pt x="87" y="10"/>
                  <a:pt x="87" y="10"/>
                  <a:pt x="87" y="10"/>
                </a:cubicBezTo>
                <a:cubicBezTo>
                  <a:pt x="86" y="11"/>
                  <a:pt x="86" y="11"/>
                  <a:pt x="86" y="11"/>
                </a:cubicBezTo>
                <a:close/>
                <a:moveTo>
                  <a:pt x="84" y="9"/>
                </a:moveTo>
                <a:cubicBezTo>
                  <a:pt x="83" y="9"/>
                  <a:pt x="83" y="9"/>
                  <a:pt x="83" y="9"/>
                </a:cubicBezTo>
                <a:cubicBezTo>
                  <a:pt x="81" y="9"/>
                  <a:pt x="81" y="9"/>
                  <a:pt x="81" y="9"/>
                </a:cubicBezTo>
                <a:cubicBezTo>
                  <a:pt x="80" y="7"/>
                  <a:pt x="80" y="7"/>
                  <a:pt x="80" y="7"/>
                </a:cubicBezTo>
                <a:cubicBezTo>
                  <a:pt x="82" y="8"/>
                  <a:pt x="82" y="8"/>
                  <a:pt x="82" y="8"/>
                </a:cubicBezTo>
                <a:cubicBezTo>
                  <a:pt x="83" y="7"/>
                  <a:pt x="83" y="7"/>
                  <a:pt x="83" y="7"/>
                </a:cubicBezTo>
                <a:cubicBezTo>
                  <a:pt x="83" y="8"/>
                  <a:pt x="83" y="8"/>
                  <a:pt x="83" y="8"/>
                </a:cubicBezTo>
                <a:cubicBezTo>
                  <a:pt x="84" y="6"/>
                  <a:pt x="84" y="6"/>
                  <a:pt x="84" y="6"/>
                </a:cubicBezTo>
                <a:cubicBezTo>
                  <a:pt x="85" y="7"/>
                  <a:pt x="85" y="7"/>
                  <a:pt x="85" y="7"/>
                </a:cubicBezTo>
                <a:cubicBezTo>
                  <a:pt x="87" y="5"/>
                  <a:pt x="87" y="5"/>
                  <a:pt x="87" y="5"/>
                </a:cubicBezTo>
                <a:cubicBezTo>
                  <a:pt x="87" y="6"/>
                  <a:pt x="87" y="6"/>
                  <a:pt x="87" y="6"/>
                </a:cubicBezTo>
                <a:cubicBezTo>
                  <a:pt x="84" y="9"/>
                  <a:pt x="84" y="9"/>
                  <a:pt x="84" y="9"/>
                </a:cubicBezTo>
                <a:close/>
                <a:moveTo>
                  <a:pt x="88" y="6"/>
                </a:moveTo>
                <a:cubicBezTo>
                  <a:pt x="88" y="6"/>
                  <a:pt x="89" y="6"/>
                  <a:pt x="89" y="6"/>
                </a:cubicBezTo>
                <a:cubicBezTo>
                  <a:pt x="91" y="7"/>
                  <a:pt x="91" y="7"/>
                  <a:pt x="91" y="7"/>
                </a:cubicBezTo>
                <a:cubicBezTo>
                  <a:pt x="90" y="8"/>
                  <a:pt x="90" y="8"/>
                  <a:pt x="90" y="8"/>
                </a:cubicBezTo>
                <a:cubicBezTo>
                  <a:pt x="89" y="9"/>
                  <a:pt x="89" y="9"/>
                  <a:pt x="89" y="9"/>
                </a:cubicBezTo>
                <a:cubicBezTo>
                  <a:pt x="89" y="7"/>
                  <a:pt x="89" y="7"/>
                  <a:pt x="89" y="7"/>
                </a:cubicBezTo>
                <a:cubicBezTo>
                  <a:pt x="88" y="6"/>
                  <a:pt x="88" y="6"/>
                  <a:pt x="88" y="6"/>
                </a:cubicBezTo>
                <a:close/>
                <a:moveTo>
                  <a:pt x="91" y="3"/>
                </a:moveTo>
                <a:cubicBezTo>
                  <a:pt x="91" y="4"/>
                  <a:pt x="91" y="4"/>
                  <a:pt x="91" y="4"/>
                </a:cubicBezTo>
                <a:cubicBezTo>
                  <a:pt x="90" y="4"/>
                  <a:pt x="90" y="4"/>
                  <a:pt x="90" y="4"/>
                </a:cubicBezTo>
                <a:cubicBezTo>
                  <a:pt x="89" y="3"/>
                  <a:pt x="89" y="3"/>
                  <a:pt x="89" y="3"/>
                </a:cubicBezTo>
                <a:cubicBezTo>
                  <a:pt x="90" y="3"/>
                  <a:pt x="90" y="3"/>
                  <a:pt x="90" y="3"/>
                </a:cubicBezTo>
                <a:cubicBezTo>
                  <a:pt x="91" y="3"/>
                  <a:pt x="91" y="3"/>
                  <a:pt x="91" y="3"/>
                </a:cubicBezTo>
                <a:close/>
                <a:moveTo>
                  <a:pt x="94" y="2"/>
                </a:moveTo>
                <a:cubicBezTo>
                  <a:pt x="93" y="1"/>
                  <a:pt x="93" y="1"/>
                  <a:pt x="93" y="1"/>
                </a:cubicBezTo>
                <a:cubicBezTo>
                  <a:pt x="93" y="1"/>
                  <a:pt x="93" y="1"/>
                  <a:pt x="93" y="1"/>
                </a:cubicBezTo>
                <a:cubicBezTo>
                  <a:pt x="94" y="1"/>
                  <a:pt x="94" y="1"/>
                  <a:pt x="94" y="1"/>
                </a:cubicBezTo>
                <a:cubicBezTo>
                  <a:pt x="94" y="2"/>
                  <a:pt x="94" y="2"/>
                  <a:pt x="94" y="2"/>
                </a:cubicBezTo>
                <a:close/>
                <a:moveTo>
                  <a:pt x="96" y="2"/>
                </a:moveTo>
                <a:cubicBezTo>
                  <a:pt x="96" y="2"/>
                  <a:pt x="96" y="2"/>
                  <a:pt x="96" y="2"/>
                </a:cubicBezTo>
                <a:cubicBezTo>
                  <a:pt x="96" y="1"/>
                  <a:pt x="96" y="1"/>
                  <a:pt x="96" y="1"/>
                </a:cubicBezTo>
                <a:cubicBezTo>
                  <a:pt x="97" y="1"/>
                  <a:pt x="97" y="1"/>
                  <a:pt x="97" y="1"/>
                </a:cubicBezTo>
                <a:cubicBezTo>
                  <a:pt x="97" y="1"/>
                  <a:pt x="97" y="1"/>
                  <a:pt x="97" y="1"/>
                </a:cubicBezTo>
                <a:cubicBezTo>
                  <a:pt x="98" y="0"/>
                  <a:pt x="98" y="0"/>
                  <a:pt x="98" y="0"/>
                </a:cubicBezTo>
                <a:cubicBezTo>
                  <a:pt x="98" y="0"/>
                  <a:pt x="98" y="0"/>
                  <a:pt x="98" y="0"/>
                </a:cubicBezTo>
                <a:cubicBezTo>
                  <a:pt x="99" y="1"/>
                  <a:pt x="99" y="1"/>
                  <a:pt x="99" y="1"/>
                </a:cubicBezTo>
                <a:cubicBezTo>
                  <a:pt x="99" y="2"/>
                  <a:pt x="99" y="2"/>
                  <a:pt x="99" y="2"/>
                </a:cubicBezTo>
                <a:cubicBezTo>
                  <a:pt x="100" y="2"/>
                  <a:pt x="100" y="2"/>
                  <a:pt x="100" y="2"/>
                </a:cubicBezTo>
                <a:cubicBezTo>
                  <a:pt x="99" y="3"/>
                  <a:pt x="99" y="3"/>
                  <a:pt x="99" y="3"/>
                </a:cubicBezTo>
                <a:cubicBezTo>
                  <a:pt x="98" y="3"/>
                  <a:pt x="98" y="3"/>
                  <a:pt x="98" y="3"/>
                </a:cubicBezTo>
                <a:cubicBezTo>
                  <a:pt x="97" y="2"/>
                  <a:pt x="97" y="2"/>
                  <a:pt x="97" y="2"/>
                </a:cubicBezTo>
                <a:lnTo>
                  <a:pt x="96" y="2"/>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6" name="Freeform 44">
            <a:extLst>
              <a:ext uri="{FF2B5EF4-FFF2-40B4-BE49-F238E27FC236}">
                <a16:creationId xmlns:a16="http://schemas.microsoft.com/office/drawing/2014/main" id="{89FD7F2F-CD13-1839-AFAF-B688873840D2}"/>
              </a:ext>
            </a:extLst>
          </p:cNvPr>
          <p:cNvSpPr>
            <a:spLocks noEditPoints="1"/>
          </p:cNvSpPr>
          <p:nvPr userDrawn="1"/>
        </p:nvSpPr>
        <p:spPr bwMode="auto">
          <a:xfrm>
            <a:off x="13743678" y="4091856"/>
            <a:ext cx="615910" cy="1400176"/>
          </a:xfrm>
          <a:custGeom>
            <a:avLst/>
            <a:gdLst>
              <a:gd name="T0" fmla="*/ 7 w 194"/>
              <a:gd name="T1" fmla="*/ 319 h 441"/>
              <a:gd name="T2" fmla="*/ 19 w 194"/>
              <a:gd name="T3" fmla="*/ 297 h 441"/>
              <a:gd name="T4" fmla="*/ 22 w 194"/>
              <a:gd name="T5" fmla="*/ 260 h 441"/>
              <a:gd name="T6" fmla="*/ 10 w 194"/>
              <a:gd name="T7" fmla="*/ 216 h 441"/>
              <a:gd name="T8" fmla="*/ 28 w 194"/>
              <a:gd name="T9" fmla="*/ 179 h 441"/>
              <a:gd name="T10" fmla="*/ 38 w 194"/>
              <a:gd name="T11" fmla="*/ 125 h 441"/>
              <a:gd name="T12" fmla="*/ 53 w 194"/>
              <a:gd name="T13" fmla="*/ 97 h 441"/>
              <a:gd name="T14" fmla="*/ 63 w 194"/>
              <a:gd name="T15" fmla="*/ 57 h 441"/>
              <a:gd name="T16" fmla="*/ 85 w 194"/>
              <a:gd name="T17" fmla="*/ 38 h 441"/>
              <a:gd name="T18" fmla="*/ 91 w 194"/>
              <a:gd name="T19" fmla="*/ 25 h 441"/>
              <a:gd name="T20" fmla="*/ 116 w 194"/>
              <a:gd name="T21" fmla="*/ 22 h 441"/>
              <a:gd name="T22" fmla="*/ 122 w 194"/>
              <a:gd name="T23" fmla="*/ 10 h 441"/>
              <a:gd name="T24" fmla="*/ 132 w 194"/>
              <a:gd name="T25" fmla="*/ 3 h 441"/>
              <a:gd name="T26" fmla="*/ 166 w 194"/>
              <a:gd name="T27" fmla="*/ 25 h 441"/>
              <a:gd name="T28" fmla="*/ 178 w 194"/>
              <a:gd name="T29" fmla="*/ 41 h 441"/>
              <a:gd name="T30" fmla="*/ 182 w 194"/>
              <a:gd name="T31" fmla="*/ 66 h 441"/>
              <a:gd name="T32" fmla="*/ 188 w 194"/>
              <a:gd name="T33" fmla="*/ 100 h 441"/>
              <a:gd name="T34" fmla="*/ 188 w 194"/>
              <a:gd name="T35" fmla="*/ 116 h 441"/>
              <a:gd name="T36" fmla="*/ 169 w 194"/>
              <a:gd name="T37" fmla="*/ 116 h 441"/>
              <a:gd name="T38" fmla="*/ 157 w 194"/>
              <a:gd name="T39" fmla="*/ 119 h 441"/>
              <a:gd name="T40" fmla="*/ 157 w 194"/>
              <a:gd name="T41" fmla="*/ 135 h 441"/>
              <a:gd name="T42" fmla="*/ 157 w 194"/>
              <a:gd name="T43" fmla="*/ 138 h 441"/>
              <a:gd name="T44" fmla="*/ 157 w 194"/>
              <a:gd name="T45" fmla="*/ 157 h 441"/>
              <a:gd name="T46" fmla="*/ 150 w 194"/>
              <a:gd name="T47" fmla="*/ 175 h 441"/>
              <a:gd name="T48" fmla="*/ 135 w 194"/>
              <a:gd name="T49" fmla="*/ 194 h 441"/>
              <a:gd name="T50" fmla="*/ 122 w 194"/>
              <a:gd name="T51" fmla="*/ 207 h 441"/>
              <a:gd name="T52" fmla="*/ 110 w 194"/>
              <a:gd name="T53" fmla="*/ 210 h 441"/>
              <a:gd name="T54" fmla="*/ 100 w 194"/>
              <a:gd name="T55" fmla="*/ 229 h 441"/>
              <a:gd name="T56" fmla="*/ 97 w 194"/>
              <a:gd name="T57" fmla="*/ 250 h 441"/>
              <a:gd name="T58" fmla="*/ 97 w 194"/>
              <a:gd name="T59" fmla="*/ 266 h 441"/>
              <a:gd name="T60" fmla="*/ 100 w 194"/>
              <a:gd name="T61" fmla="*/ 285 h 441"/>
              <a:gd name="T62" fmla="*/ 119 w 194"/>
              <a:gd name="T63" fmla="*/ 297 h 441"/>
              <a:gd name="T64" fmla="*/ 119 w 194"/>
              <a:gd name="T65" fmla="*/ 326 h 441"/>
              <a:gd name="T66" fmla="*/ 100 w 194"/>
              <a:gd name="T67" fmla="*/ 319 h 441"/>
              <a:gd name="T68" fmla="*/ 85 w 194"/>
              <a:gd name="T69" fmla="*/ 322 h 441"/>
              <a:gd name="T70" fmla="*/ 97 w 194"/>
              <a:gd name="T71" fmla="*/ 326 h 441"/>
              <a:gd name="T72" fmla="*/ 119 w 194"/>
              <a:gd name="T73" fmla="*/ 332 h 441"/>
              <a:gd name="T74" fmla="*/ 110 w 194"/>
              <a:gd name="T75" fmla="*/ 335 h 441"/>
              <a:gd name="T76" fmla="*/ 97 w 194"/>
              <a:gd name="T77" fmla="*/ 347 h 441"/>
              <a:gd name="T78" fmla="*/ 91 w 194"/>
              <a:gd name="T79" fmla="*/ 357 h 441"/>
              <a:gd name="T80" fmla="*/ 94 w 194"/>
              <a:gd name="T81" fmla="*/ 372 h 441"/>
              <a:gd name="T82" fmla="*/ 94 w 194"/>
              <a:gd name="T83" fmla="*/ 397 h 441"/>
              <a:gd name="T84" fmla="*/ 78 w 194"/>
              <a:gd name="T85" fmla="*/ 419 h 441"/>
              <a:gd name="T86" fmla="*/ 57 w 194"/>
              <a:gd name="T87" fmla="*/ 435 h 441"/>
              <a:gd name="T88" fmla="*/ 35 w 194"/>
              <a:gd name="T89" fmla="*/ 438 h 441"/>
              <a:gd name="T90" fmla="*/ 35 w 194"/>
              <a:gd name="T91" fmla="*/ 413 h 441"/>
              <a:gd name="T92" fmla="*/ 16 w 194"/>
              <a:gd name="T93" fmla="*/ 388 h 441"/>
              <a:gd name="T94" fmla="*/ 10 w 194"/>
              <a:gd name="T95" fmla="*/ 369 h 441"/>
              <a:gd name="T96" fmla="*/ 7 w 194"/>
              <a:gd name="T97" fmla="*/ 360 h 441"/>
              <a:gd name="T98" fmla="*/ 0 w 194"/>
              <a:gd name="T99" fmla="*/ 347 h 441"/>
              <a:gd name="T100" fmla="*/ 122 w 194"/>
              <a:gd name="T101" fmla="*/ 332 h 441"/>
              <a:gd name="T102" fmla="*/ 7 w 194"/>
              <a:gd name="T103" fmla="*/ 366 h 441"/>
              <a:gd name="T104" fmla="*/ 138 w 194"/>
              <a:gd name="T105" fmla="*/ 357 h 441"/>
              <a:gd name="T106" fmla="*/ 141 w 194"/>
              <a:gd name="T107" fmla="*/ 372 h 441"/>
              <a:gd name="T108" fmla="*/ 128 w 194"/>
              <a:gd name="T109" fmla="*/ 401 h 441"/>
              <a:gd name="T110" fmla="*/ 135 w 194"/>
              <a:gd name="T111" fmla="*/ 385 h 441"/>
              <a:gd name="T112" fmla="*/ 128 w 194"/>
              <a:gd name="T113" fmla="*/ 376 h 441"/>
              <a:gd name="T114" fmla="*/ 125 w 194"/>
              <a:gd name="T115" fmla="*/ 394 h 441"/>
              <a:gd name="T116" fmla="*/ 94 w 194"/>
              <a:gd name="T117" fmla="*/ 419 h 441"/>
              <a:gd name="T118" fmla="*/ 100 w 194"/>
              <a:gd name="T119" fmla="*/ 39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4" h="441">
                <a:moveTo>
                  <a:pt x="3" y="338"/>
                </a:moveTo>
                <a:lnTo>
                  <a:pt x="7" y="341"/>
                </a:lnTo>
                <a:lnTo>
                  <a:pt x="7" y="344"/>
                </a:lnTo>
                <a:lnTo>
                  <a:pt x="10" y="341"/>
                </a:lnTo>
                <a:lnTo>
                  <a:pt x="10" y="329"/>
                </a:lnTo>
                <a:lnTo>
                  <a:pt x="7" y="322"/>
                </a:lnTo>
                <a:lnTo>
                  <a:pt x="7" y="319"/>
                </a:lnTo>
                <a:lnTo>
                  <a:pt x="10" y="316"/>
                </a:lnTo>
                <a:lnTo>
                  <a:pt x="10" y="313"/>
                </a:lnTo>
                <a:lnTo>
                  <a:pt x="10" y="310"/>
                </a:lnTo>
                <a:lnTo>
                  <a:pt x="16" y="310"/>
                </a:lnTo>
                <a:lnTo>
                  <a:pt x="16" y="307"/>
                </a:lnTo>
                <a:lnTo>
                  <a:pt x="16" y="304"/>
                </a:lnTo>
                <a:lnTo>
                  <a:pt x="19" y="297"/>
                </a:lnTo>
                <a:lnTo>
                  <a:pt x="16" y="294"/>
                </a:lnTo>
                <a:lnTo>
                  <a:pt x="16" y="285"/>
                </a:lnTo>
                <a:lnTo>
                  <a:pt x="13" y="279"/>
                </a:lnTo>
                <a:lnTo>
                  <a:pt x="13" y="275"/>
                </a:lnTo>
                <a:lnTo>
                  <a:pt x="22" y="272"/>
                </a:lnTo>
                <a:lnTo>
                  <a:pt x="22" y="266"/>
                </a:lnTo>
                <a:lnTo>
                  <a:pt x="22" y="260"/>
                </a:lnTo>
                <a:lnTo>
                  <a:pt x="16" y="254"/>
                </a:lnTo>
                <a:lnTo>
                  <a:pt x="10" y="250"/>
                </a:lnTo>
                <a:lnTo>
                  <a:pt x="10" y="244"/>
                </a:lnTo>
                <a:lnTo>
                  <a:pt x="13" y="235"/>
                </a:lnTo>
                <a:lnTo>
                  <a:pt x="10" y="229"/>
                </a:lnTo>
                <a:lnTo>
                  <a:pt x="10" y="222"/>
                </a:lnTo>
                <a:lnTo>
                  <a:pt x="10" y="216"/>
                </a:lnTo>
                <a:lnTo>
                  <a:pt x="10" y="207"/>
                </a:lnTo>
                <a:lnTo>
                  <a:pt x="7" y="197"/>
                </a:lnTo>
                <a:lnTo>
                  <a:pt x="10" y="188"/>
                </a:lnTo>
                <a:lnTo>
                  <a:pt x="13" y="179"/>
                </a:lnTo>
                <a:lnTo>
                  <a:pt x="16" y="175"/>
                </a:lnTo>
                <a:lnTo>
                  <a:pt x="22" y="179"/>
                </a:lnTo>
                <a:lnTo>
                  <a:pt x="28" y="179"/>
                </a:lnTo>
                <a:lnTo>
                  <a:pt x="32" y="172"/>
                </a:lnTo>
                <a:lnTo>
                  <a:pt x="32" y="166"/>
                </a:lnTo>
                <a:lnTo>
                  <a:pt x="32" y="163"/>
                </a:lnTo>
                <a:lnTo>
                  <a:pt x="32" y="160"/>
                </a:lnTo>
                <a:lnTo>
                  <a:pt x="38" y="141"/>
                </a:lnTo>
                <a:lnTo>
                  <a:pt x="38" y="132"/>
                </a:lnTo>
                <a:lnTo>
                  <a:pt x="38" y="125"/>
                </a:lnTo>
                <a:lnTo>
                  <a:pt x="41" y="119"/>
                </a:lnTo>
                <a:lnTo>
                  <a:pt x="41" y="113"/>
                </a:lnTo>
                <a:lnTo>
                  <a:pt x="38" y="110"/>
                </a:lnTo>
                <a:lnTo>
                  <a:pt x="38" y="107"/>
                </a:lnTo>
                <a:lnTo>
                  <a:pt x="44" y="103"/>
                </a:lnTo>
                <a:lnTo>
                  <a:pt x="50" y="100"/>
                </a:lnTo>
                <a:lnTo>
                  <a:pt x="53" y="97"/>
                </a:lnTo>
                <a:lnTo>
                  <a:pt x="53" y="94"/>
                </a:lnTo>
                <a:lnTo>
                  <a:pt x="60" y="85"/>
                </a:lnTo>
                <a:lnTo>
                  <a:pt x="66" y="78"/>
                </a:lnTo>
                <a:lnTo>
                  <a:pt x="66" y="72"/>
                </a:lnTo>
                <a:lnTo>
                  <a:pt x="66" y="66"/>
                </a:lnTo>
                <a:lnTo>
                  <a:pt x="63" y="66"/>
                </a:lnTo>
                <a:lnTo>
                  <a:pt x="63" y="57"/>
                </a:lnTo>
                <a:lnTo>
                  <a:pt x="66" y="53"/>
                </a:lnTo>
                <a:lnTo>
                  <a:pt x="69" y="50"/>
                </a:lnTo>
                <a:lnTo>
                  <a:pt x="69" y="47"/>
                </a:lnTo>
                <a:lnTo>
                  <a:pt x="72" y="44"/>
                </a:lnTo>
                <a:lnTo>
                  <a:pt x="75" y="38"/>
                </a:lnTo>
                <a:lnTo>
                  <a:pt x="78" y="35"/>
                </a:lnTo>
                <a:lnTo>
                  <a:pt x="85" y="38"/>
                </a:lnTo>
                <a:lnTo>
                  <a:pt x="85" y="41"/>
                </a:lnTo>
                <a:lnTo>
                  <a:pt x="88" y="38"/>
                </a:lnTo>
                <a:lnTo>
                  <a:pt x="91" y="38"/>
                </a:lnTo>
                <a:lnTo>
                  <a:pt x="88" y="31"/>
                </a:lnTo>
                <a:lnTo>
                  <a:pt x="91" y="31"/>
                </a:lnTo>
                <a:lnTo>
                  <a:pt x="91" y="28"/>
                </a:lnTo>
                <a:lnTo>
                  <a:pt x="91" y="25"/>
                </a:lnTo>
                <a:lnTo>
                  <a:pt x="88" y="22"/>
                </a:lnTo>
                <a:lnTo>
                  <a:pt x="91" y="19"/>
                </a:lnTo>
                <a:lnTo>
                  <a:pt x="97" y="19"/>
                </a:lnTo>
                <a:lnTo>
                  <a:pt x="100" y="16"/>
                </a:lnTo>
                <a:lnTo>
                  <a:pt x="107" y="19"/>
                </a:lnTo>
                <a:lnTo>
                  <a:pt x="110" y="22"/>
                </a:lnTo>
                <a:lnTo>
                  <a:pt x="116" y="22"/>
                </a:lnTo>
                <a:lnTo>
                  <a:pt x="119" y="25"/>
                </a:lnTo>
                <a:lnTo>
                  <a:pt x="119" y="22"/>
                </a:lnTo>
                <a:lnTo>
                  <a:pt x="122" y="25"/>
                </a:lnTo>
                <a:lnTo>
                  <a:pt x="122" y="19"/>
                </a:lnTo>
                <a:lnTo>
                  <a:pt x="119" y="16"/>
                </a:lnTo>
                <a:lnTo>
                  <a:pt x="119" y="10"/>
                </a:lnTo>
                <a:lnTo>
                  <a:pt x="122" y="10"/>
                </a:lnTo>
                <a:lnTo>
                  <a:pt x="122" y="6"/>
                </a:lnTo>
                <a:lnTo>
                  <a:pt x="119" y="3"/>
                </a:lnTo>
                <a:lnTo>
                  <a:pt x="119" y="0"/>
                </a:lnTo>
                <a:lnTo>
                  <a:pt x="122" y="0"/>
                </a:lnTo>
                <a:lnTo>
                  <a:pt x="128" y="0"/>
                </a:lnTo>
                <a:lnTo>
                  <a:pt x="128" y="0"/>
                </a:lnTo>
                <a:lnTo>
                  <a:pt x="132" y="3"/>
                </a:lnTo>
                <a:lnTo>
                  <a:pt x="138" y="6"/>
                </a:lnTo>
                <a:lnTo>
                  <a:pt x="144" y="13"/>
                </a:lnTo>
                <a:lnTo>
                  <a:pt x="150" y="16"/>
                </a:lnTo>
                <a:lnTo>
                  <a:pt x="157" y="19"/>
                </a:lnTo>
                <a:lnTo>
                  <a:pt x="160" y="19"/>
                </a:lnTo>
                <a:lnTo>
                  <a:pt x="163" y="19"/>
                </a:lnTo>
                <a:lnTo>
                  <a:pt x="166" y="25"/>
                </a:lnTo>
                <a:lnTo>
                  <a:pt x="169" y="28"/>
                </a:lnTo>
                <a:lnTo>
                  <a:pt x="169" y="28"/>
                </a:lnTo>
                <a:lnTo>
                  <a:pt x="172" y="28"/>
                </a:lnTo>
                <a:lnTo>
                  <a:pt x="175" y="35"/>
                </a:lnTo>
                <a:lnTo>
                  <a:pt x="178" y="35"/>
                </a:lnTo>
                <a:lnTo>
                  <a:pt x="178" y="38"/>
                </a:lnTo>
                <a:lnTo>
                  <a:pt x="178" y="41"/>
                </a:lnTo>
                <a:lnTo>
                  <a:pt x="178" y="44"/>
                </a:lnTo>
                <a:lnTo>
                  <a:pt x="175" y="50"/>
                </a:lnTo>
                <a:lnTo>
                  <a:pt x="178" y="53"/>
                </a:lnTo>
                <a:lnTo>
                  <a:pt x="182" y="53"/>
                </a:lnTo>
                <a:lnTo>
                  <a:pt x="185" y="60"/>
                </a:lnTo>
                <a:lnTo>
                  <a:pt x="182" y="63"/>
                </a:lnTo>
                <a:lnTo>
                  <a:pt x="182" y="66"/>
                </a:lnTo>
                <a:lnTo>
                  <a:pt x="185" y="69"/>
                </a:lnTo>
                <a:lnTo>
                  <a:pt x="185" y="78"/>
                </a:lnTo>
                <a:lnTo>
                  <a:pt x="185" y="82"/>
                </a:lnTo>
                <a:lnTo>
                  <a:pt x="185" y="85"/>
                </a:lnTo>
                <a:lnTo>
                  <a:pt x="185" y="91"/>
                </a:lnTo>
                <a:lnTo>
                  <a:pt x="185" y="94"/>
                </a:lnTo>
                <a:lnTo>
                  <a:pt x="188" y="100"/>
                </a:lnTo>
                <a:lnTo>
                  <a:pt x="191" y="100"/>
                </a:lnTo>
                <a:lnTo>
                  <a:pt x="194" y="107"/>
                </a:lnTo>
                <a:lnTo>
                  <a:pt x="194" y="110"/>
                </a:lnTo>
                <a:lnTo>
                  <a:pt x="194" y="116"/>
                </a:lnTo>
                <a:lnTo>
                  <a:pt x="194" y="116"/>
                </a:lnTo>
                <a:lnTo>
                  <a:pt x="194" y="116"/>
                </a:lnTo>
                <a:lnTo>
                  <a:pt x="188" y="116"/>
                </a:lnTo>
                <a:lnTo>
                  <a:pt x="188" y="113"/>
                </a:lnTo>
                <a:lnTo>
                  <a:pt x="182" y="116"/>
                </a:lnTo>
                <a:lnTo>
                  <a:pt x="178" y="116"/>
                </a:lnTo>
                <a:lnTo>
                  <a:pt x="178" y="119"/>
                </a:lnTo>
                <a:lnTo>
                  <a:pt x="175" y="116"/>
                </a:lnTo>
                <a:lnTo>
                  <a:pt x="172" y="113"/>
                </a:lnTo>
                <a:lnTo>
                  <a:pt x="169" y="116"/>
                </a:lnTo>
                <a:lnTo>
                  <a:pt x="166" y="113"/>
                </a:lnTo>
                <a:lnTo>
                  <a:pt x="166" y="116"/>
                </a:lnTo>
                <a:lnTo>
                  <a:pt x="166" y="119"/>
                </a:lnTo>
                <a:lnTo>
                  <a:pt x="163" y="122"/>
                </a:lnTo>
                <a:lnTo>
                  <a:pt x="160" y="122"/>
                </a:lnTo>
                <a:lnTo>
                  <a:pt x="160" y="119"/>
                </a:lnTo>
                <a:lnTo>
                  <a:pt x="157" y="119"/>
                </a:lnTo>
                <a:lnTo>
                  <a:pt x="160" y="122"/>
                </a:lnTo>
                <a:lnTo>
                  <a:pt x="160" y="125"/>
                </a:lnTo>
                <a:lnTo>
                  <a:pt x="157" y="128"/>
                </a:lnTo>
                <a:lnTo>
                  <a:pt x="153" y="128"/>
                </a:lnTo>
                <a:lnTo>
                  <a:pt x="150" y="128"/>
                </a:lnTo>
                <a:lnTo>
                  <a:pt x="157" y="132"/>
                </a:lnTo>
                <a:lnTo>
                  <a:pt x="157" y="135"/>
                </a:lnTo>
                <a:lnTo>
                  <a:pt x="153" y="135"/>
                </a:lnTo>
                <a:lnTo>
                  <a:pt x="153" y="132"/>
                </a:lnTo>
                <a:lnTo>
                  <a:pt x="150" y="132"/>
                </a:lnTo>
                <a:lnTo>
                  <a:pt x="150" y="132"/>
                </a:lnTo>
                <a:lnTo>
                  <a:pt x="150" y="135"/>
                </a:lnTo>
                <a:lnTo>
                  <a:pt x="153" y="135"/>
                </a:lnTo>
                <a:lnTo>
                  <a:pt x="157" y="138"/>
                </a:lnTo>
                <a:lnTo>
                  <a:pt x="153" y="141"/>
                </a:lnTo>
                <a:lnTo>
                  <a:pt x="150" y="147"/>
                </a:lnTo>
                <a:lnTo>
                  <a:pt x="153" y="150"/>
                </a:lnTo>
                <a:lnTo>
                  <a:pt x="147" y="150"/>
                </a:lnTo>
                <a:lnTo>
                  <a:pt x="150" y="153"/>
                </a:lnTo>
                <a:lnTo>
                  <a:pt x="153" y="153"/>
                </a:lnTo>
                <a:lnTo>
                  <a:pt x="157" y="157"/>
                </a:lnTo>
                <a:lnTo>
                  <a:pt x="153" y="157"/>
                </a:lnTo>
                <a:lnTo>
                  <a:pt x="157" y="160"/>
                </a:lnTo>
                <a:lnTo>
                  <a:pt x="160" y="160"/>
                </a:lnTo>
                <a:lnTo>
                  <a:pt x="153" y="166"/>
                </a:lnTo>
                <a:lnTo>
                  <a:pt x="153" y="166"/>
                </a:lnTo>
                <a:lnTo>
                  <a:pt x="150" y="169"/>
                </a:lnTo>
                <a:lnTo>
                  <a:pt x="150" y="175"/>
                </a:lnTo>
                <a:lnTo>
                  <a:pt x="147" y="182"/>
                </a:lnTo>
                <a:lnTo>
                  <a:pt x="144" y="182"/>
                </a:lnTo>
                <a:lnTo>
                  <a:pt x="141" y="188"/>
                </a:lnTo>
                <a:lnTo>
                  <a:pt x="138" y="185"/>
                </a:lnTo>
                <a:lnTo>
                  <a:pt x="138" y="188"/>
                </a:lnTo>
                <a:lnTo>
                  <a:pt x="138" y="191"/>
                </a:lnTo>
                <a:lnTo>
                  <a:pt x="135" y="194"/>
                </a:lnTo>
                <a:lnTo>
                  <a:pt x="132" y="197"/>
                </a:lnTo>
                <a:lnTo>
                  <a:pt x="128" y="197"/>
                </a:lnTo>
                <a:lnTo>
                  <a:pt x="128" y="194"/>
                </a:lnTo>
                <a:lnTo>
                  <a:pt x="125" y="194"/>
                </a:lnTo>
                <a:lnTo>
                  <a:pt x="125" y="197"/>
                </a:lnTo>
                <a:lnTo>
                  <a:pt x="125" y="204"/>
                </a:lnTo>
                <a:lnTo>
                  <a:pt x="122" y="207"/>
                </a:lnTo>
                <a:lnTo>
                  <a:pt x="119" y="204"/>
                </a:lnTo>
                <a:lnTo>
                  <a:pt x="119" y="204"/>
                </a:lnTo>
                <a:lnTo>
                  <a:pt x="116" y="207"/>
                </a:lnTo>
                <a:lnTo>
                  <a:pt x="116" y="207"/>
                </a:lnTo>
                <a:lnTo>
                  <a:pt x="113" y="207"/>
                </a:lnTo>
                <a:lnTo>
                  <a:pt x="110" y="207"/>
                </a:lnTo>
                <a:lnTo>
                  <a:pt x="110" y="210"/>
                </a:lnTo>
                <a:lnTo>
                  <a:pt x="113" y="213"/>
                </a:lnTo>
                <a:lnTo>
                  <a:pt x="113" y="213"/>
                </a:lnTo>
                <a:lnTo>
                  <a:pt x="107" y="219"/>
                </a:lnTo>
                <a:lnTo>
                  <a:pt x="103" y="219"/>
                </a:lnTo>
                <a:lnTo>
                  <a:pt x="103" y="219"/>
                </a:lnTo>
                <a:lnTo>
                  <a:pt x="103" y="222"/>
                </a:lnTo>
                <a:lnTo>
                  <a:pt x="100" y="229"/>
                </a:lnTo>
                <a:lnTo>
                  <a:pt x="94" y="229"/>
                </a:lnTo>
                <a:lnTo>
                  <a:pt x="91" y="229"/>
                </a:lnTo>
                <a:lnTo>
                  <a:pt x="97" y="235"/>
                </a:lnTo>
                <a:lnTo>
                  <a:pt x="97" y="238"/>
                </a:lnTo>
                <a:lnTo>
                  <a:pt x="97" y="241"/>
                </a:lnTo>
                <a:lnTo>
                  <a:pt x="97" y="244"/>
                </a:lnTo>
                <a:lnTo>
                  <a:pt x="97" y="250"/>
                </a:lnTo>
                <a:lnTo>
                  <a:pt x="97" y="254"/>
                </a:lnTo>
                <a:lnTo>
                  <a:pt x="97" y="257"/>
                </a:lnTo>
                <a:lnTo>
                  <a:pt x="97" y="254"/>
                </a:lnTo>
                <a:lnTo>
                  <a:pt x="94" y="257"/>
                </a:lnTo>
                <a:lnTo>
                  <a:pt x="97" y="263"/>
                </a:lnTo>
                <a:lnTo>
                  <a:pt x="94" y="266"/>
                </a:lnTo>
                <a:lnTo>
                  <a:pt x="97" y="266"/>
                </a:lnTo>
                <a:lnTo>
                  <a:pt x="97" y="269"/>
                </a:lnTo>
                <a:lnTo>
                  <a:pt x="94" y="269"/>
                </a:lnTo>
                <a:lnTo>
                  <a:pt x="97" y="275"/>
                </a:lnTo>
                <a:lnTo>
                  <a:pt x="94" y="279"/>
                </a:lnTo>
                <a:lnTo>
                  <a:pt x="97" y="282"/>
                </a:lnTo>
                <a:lnTo>
                  <a:pt x="97" y="282"/>
                </a:lnTo>
                <a:lnTo>
                  <a:pt x="100" y="285"/>
                </a:lnTo>
                <a:lnTo>
                  <a:pt x="100" y="288"/>
                </a:lnTo>
                <a:lnTo>
                  <a:pt x="103" y="285"/>
                </a:lnTo>
                <a:lnTo>
                  <a:pt x="103" y="291"/>
                </a:lnTo>
                <a:lnTo>
                  <a:pt x="107" y="285"/>
                </a:lnTo>
                <a:lnTo>
                  <a:pt x="110" y="288"/>
                </a:lnTo>
                <a:lnTo>
                  <a:pt x="113" y="291"/>
                </a:lnTo>
                <a:lnTo>
                  <a:pt x="119" y="297"/>
                </a:lnTo>
                <a:lnTo>
                  <a:pt x="116" y="301"/>
                </a:lnTo>
                <a:lnTo>
                  <a:pt x="122" y="304"/>
                </a:lnTo>
                <a:lnTo>
                  <a:pt x="122" y="307"/>
                </a:lnTo>
                <a:lnTo>
                  <a:pt x="128" y="310"/>
                </a:lnTo>
                <a:lnTo>
                  <a:pt x="125" y="316"/>
                </a:lnTo>
                <a:lnTo>
                  <a:pt x="119" y="319"/>
                </a:lnTo>
                <a:lnTo>
                  <a:pt x="119" y="326"/>
                </a:lnTo>
                <a:lnTo>
                  <a:pt x="113" y="326"/>
                </a:lnTo>
                <a:lnTo>
                  <a:pt x="110" y="322"/>
                </a:lnTo>
                <a:lnTo>
                  <a:pt x="110" y="322"/>
                </a:lnTo>
                <a:lnTo>
                  <a:pt x="107" y="319"/>
                </a:lnTo>
                <a:lnTo>
                  <a:pt x="103" y="319"/>
                </a:lnTo>
                <a:lnTo>
                  <a:pt x="103" y="319"/>
                </a:lnTo>
                <a:lnTo>
                  <a:pt x="100" y="319"/>
                </a:lnTo>
                <a:lnTo>
                  <a:pt x="100" y="319"/>
                </a:lnTo>
                <a:lnTo>
                  <a:pt x="97" y="319"/>
                </a:lnTo>
                <a:lnTo>
                  <a:pt x="94" y="319"/>
                </a:lnTo>
                <a:lnTo>
                  <a:pt x="91" y="322"/>
                </a:lnTo>
                <a:lnTo>
                  <a:pt x="91" y="319"/>
                </a:lnTo>
                <a:lnTo>
                  <a:pt x="88" y="322"/>
                </a:lnTo>
                <a:lnTo>
                  <a:pt x="85" y="322"/>
                </a:lnTo>
                <a:lnTo>
                  <a:pt x="82" y="322"/>
                </a:lnTo>
                <a:lnTo>
                  <a:pt x="82" y="326"/>
                </a:lnTo>
                <a:lnTo>
                  <a:pt x="88" y="326"/>
                </a:lnTo>
                <a:lnTo>
                  <a:pt x="88" y="326"/>
                </a:lnTo>
                <a:lnTo>
                  <a:pt x="88" y="326"/>
                </a:lnTo>
                <a:lnTo>
                  <a:pt x="94" y="326"/>
                </a:lnTo>
                <a:lnTo>
                  <a:pt x="97" y="326"/>
                </a:lnTo>
                <a:lnTo>
                  <a:pt x="100" y="326"/>
                </a:lnTo>
                <a:lnTo>
                  <a:pt x="103" y="329"/>
                </a:lnTo>
                <a:lnTo>
                  <a:pt x="107" y="329"/>
                </a:lnTo>
                <a:lnTo>
                  <a:pt x="110" y="329"/>
                </a:lnTo>
                <a:lnTo>
                  <a:pt x="113" y="326"/>
                </a:lnTo>
                <a:lnTo>
                  <a:pt x="116" y="329"/>
                </a:lnTo>
                <a:lnTo>
                  <a:pt x="119" y="332"/>
                </a:lnTo>
                <a:lnTo>
                  <a:pt x="119" y="335"/>
                </a:lnTo>
                <a:lnTo>
                  <a:pt x="116" y="335"/>
                </a:lnTo>
                <a:lnTo>
                  <a:pt x="116" y="335"/>
                </a:lnTo>
                <a:lnTo>
                  <a:pt x="110" y="341"/>
                </a:lnTo>
                <a:lnTo>
                  <a:pt x="110" y="341"/>
                </a:lnTo>
                <a:lnTo>
                  <a:pt x="110" y="338"/>
                </a:lnTo>
                <a:lnTo>
                  <a:pt x="110" y="335"/>
                </a:lnTo>
                <a:lnTo>
                  <a:pt x="107" y="338"/>
                </a:lnTo>
                <a:lnTo>
                  <a:pt x="107" y="341"/>
                </a:lnTo>
                <a:lnTo>
                  <a:pt x="103" y="341"/>
                </a:lnTo>
                <a:lnTo>
                  <a:pt x="103" y="344"/>
                </a:lnTo>
                <a:lnTo>
                  <a:pt x="100" y="347"/>
                </a:lnTo>
                <a:lnTo>
                  <a:pt x="97" y="344"/>
                </a:lnTo>
                <a:lnTo>
                  <a:pt x="97" y="347"/>
                </a:lnTo>
                <a:lnTo>
                  <a:pt x="97" y="351"/>
                </a:lnTo>
                <a:lnTo>
                  <a:pt x="94" y="351"/>
                </a:lnTo>
                <a:lnTo>
                  <a:pt x="94" y="351"/>
                </a:lnTo>
                <a:lnTo>
                  <a:pt x="91" y="351"/>
                </a:lnTo>
                <a:lnTo>
                  <a:pt x="94" y="354"/>
                </a:lnTo>
                <a:lnTo>
                  <a:pt x="97" y="357"/>
                </a:lnTo>
                <a:lnTo>
                  <a:pt x="91" y="357"/>
                </a:lnTo>
                <a:lnTo>
                  <a:pt x="97" y="360"/>
                </a:lnTo>
                <a:lnTo>
                  <a:pt x="97" y="360"/>
                </a:lnTo>
                <a:lnTo>
                  <a:pt x="94" y="366"/>
                </a:lnTo>
                <a:lnTo>
                  <a:pt x="100" y="369"/>
                </a:lnTo>
                <a:lnTo>
                  <a:pt x="94" y="369"/>
                </a:lnTo>
                <a:lnTo>
                  <a:pt x="91" y="369"/>
                </a:lnTo>
                <a:lnTo>
                  <a:pt x="94" y="372"/>
                </a:lnTo>
                <a:lnTo>
                  <a:pt x="91" y="376"/>
                </a:lnTo>
                <a:lnTo>
                  <a:pt x="94" y="379"/>
                </a:lnTo>
                <a:lnTo>
                  <a:pt x="91" y="382"/>
                </a:lnTo>
                <a:lnTo>
                  <a:pt x="94" y="385"/>
                </a:lnTo>
                <a:lnTo>
                  <a:pt x="91" y="388"/>
                </a:lnTo>
                <a:lnTo>
                  <a:pt x="91" y="394"/>
                </a:lnTo>
                <a:lnTo>
                  <a:pt x="94" y="397"/>
                </a:lnTo>
                <a:lnTo>
                  <a:pt x="94" y="401"/>
                </a:lnTo>
                <a:lnTo>
                  <a:pt x="91" y="410"/>
                </a:lnTo>
                <a:lnTo>
                  <a:pt x="88" y="413"/>
                </a:lnTo>
                <a:lnTo>
                  <a:pt x="88" y="419"/>
                </a:lnTo>
                <a:lnTo>
                  <a:pt x="85" y="426"/>
                </a:lnTo>
                <a:lnTo>
                  <a:pt x="82" y="423"/>
                </a:lnTo>
                <a:lnTo>
                  <a:pt x="78" y="419"/>
                </a:lnTo>
                <a:lnTo>
                  <a:pt x="72" y="423"/>
                </a:lnTo>
                <a:lnTo>
                  <a:pt x="66" y="423"/>
                </a:lnTo>
                <a:lnTo>
                  <a:pt x="66" y="419"/>
                </a:lnTo>
                <a:lnTo>
                  <a:pt x="63" y="426"/>
                </a:lnTo>
                <a:lnTo>
                  <a:pt x="57" y="426"/>
                </a:lnTo>
                <a:lnTo>
                  <a:pt x="57" y="432"/>
                </a:lnTo>
                <a:lnTo>
                  <a:pt x="57" y="435"/>
                </a:lnTo>
                <a:lnTo>
                  <a:pt x="57" y="438"/>
                </a:lnTo>
                <a:lnTo>
                  <a:pt x="53" y="441"/>
                </a:lnTo>
                <a:lnTo>
                  <a:pt x="50" y="438"/>
                </a:lnTo>
                <a:lnTo>
                  <a:pt x="38" y="441"/>
                </a:lnTo>
                <a:lnTo>
                  <a:pt x="35" y="441"/>
                </a:lnTo>
                <a:lnTo>
                  <a:pt x="32" y="441"/>
                </a:lnTo>
                <a:lnTo>
                  <a:pt x="35" y="438"/>
                </a:lnTo>
                <a:lnTo>
                  <a:pt x="35" y="429"/>
                </a:lnTo>
                <a:lnTo>
                  <a:pt x="28" y="426"/>
                </a:lnTo>
                <a:lnTo>
                  <a:pt x="28" y="423"/>
                </a:lnTo>
                <a:lnTo>
                  <a:pt x="25" y="423"/>
                </a:lnTo>
                <a:lnTo>
                  <a:pt x="25" y="419"/>
                </a:lnTo>
                <a:lnTo>
                  <a:pt x="32" y="419"/>
                </a:lnTo>
                <a:lnTo>
                  <a:pt x="35" y="413"/>
                </a:lnTo>
                <a:lnTo>
                  <a:pt x="35" y="407"/>
                </a:lnTo>
                <a:lnTo>
                  <a:pt x="28" y="410"/>
                </a:lnTo>
                <a:lnTo>
                  <a:pt x="25" y="407"/>
                </a:lnTo>
                <a:lnTo>
                  <a:pt x="25" y="404"/>
                </a:lnTo>
                <a:lnTo>
                  <a:pt x="19" y="401"/>
                </a:lnTo>
                <a:lnTo>
                  <a:pt x="19" y="397"/>
                </a:lnTo>
                <a:lnTo>
                  <a:pt x="16" y="388"/>
                </a:lnTo>
                <a:lnTo>
                  <a:pt x="16" y="388"/>
                </a:lnTo>
                <a:lnTo>
                  <a:pt x="13" y="382"/>
                </a:lnTo>
                <a:lnTo>
                  <a:pt x="10" y="382"/>
                </a:lnTo>
                <a:lnTo>
                  <a:pt x="7" y="379"/>
                </a:lnTo>
                <a:lnTo>
                  <a:pt x="10" y="376"/>
                </a:lnTo>
                <a:lnTo>
                  <a:pt x="10" y="372"/>
                </a:lnTo>
                <a:lnTo>
                  <a:pt x="10" y="369"/>
                </a:lnTo>
                <a:lnTo>
                  <a:pt x="10" y="366"/>
                </a:lnTo>
                <a:lnTo>
                  <a:pt x="13" y="363"/>
                </a:lnTo>
                <a:lnTo>
                  <a:pt x="13" y="360"/>
                </a:lnTo>
                <a:lnTo>
                  <a:pt x="10" y="360"/>
                </a:lnTo>
                <a:lnTo>
                  <a:pt x="10" y="357"/>
                </a:lnTo>
                <a:lnTo>
                  <a:pt x="7" y="357"/>
                </a:lnTo>
                <a:lnTo>
                  <a:pt x="7" y="360"/>
                </a:lnTo>
                <a:lnTo>
                  <a:pt x="10" y="363"/>
                </a:lnTo>
                <a:lnTo>
                  <a:pt x="7" y="363"/>
                </a:lnTo>
                <a:lnTo>
                  <a:pt x="7" y="360"/>
                </a:lnTo>
                <a:lnTo>
                  <a:pt x="7" y="360"/>
                </a:lnTo>
                <a:lnTo>
                  <a:pt x="3" y="357"/>
                </a:lnTo>
                <a:lnTo>
                  <a:pt x="3" y="351"/>
                </a:lnTo>
                <a:lnTo>
                  <a:pt x="0" y="347"/>
                </a:lnTo>
                <a:lnTo>
                  <a:pt x="0" y="341"/>
                </a:lnTo>
                <a:lnTo>
                  <a:pt x="3" y="338"/>
                </a:lnTo>
                <a:lnTo>
                  <a:pt x="3" y="338"/>
                </a:lnTo>
                <a:lnTo>
                  <a:pt x="3" y="338"/>
                </a:lnTo>
                <a:close/>
                <a:moveTo>
                  <a:pt x="119" y="326"/>
                </a:moveTo>
                <a:lnTo>
                  <a:pt x="122" y="332"/>
                </a:lnTo>
                <a:lnTo>
                  <a:pt x="122" y="332"/>
                </a:lnTo>
                <a:lnTo>
                  <a:pt x="122" y="329"/>
                </a:lnTo>
                <a:lnTo>
                  <a:pt x="125" y="326"/>
                </a:lnTo>
                <a:lnTo>
                  <a:pt x="125" y="319"/>
                </a:lnTo>
                <a:lnTo>
                  <a:pt x="122" y="319"/>
                </a:lnTo>
                <a:lnTo>
                  <a:pt x="119" y="326"/>
                </a:lnTo>
                <a:lnTo>
                  <a:pt x="119" y="326"/>
                </a:lnTo>
                <a:close/>
                <a:moveTo>
                  <a:pt x="7" y="366"/>
                </a:moveTo>
                <a:lnTo>
                  <a:pt x="3" y="369"/>
                </a:lnTo>
                <a:lnTo>
                  <a:pt x="7" y="369"/>
                </a:lnTo>
                <a:lnTo>
                  <a:pt x="7" y="366"/>
                </a:lnTo>
                <a:lnTo>
                  <a:pt x="7" y="366"/>
                </a:lnTo>
                <a:lnTo>
                  <a:pt x="7" y="366"/>
                </a:lnTo>
                <a:close/>
                <a:moveTo>
                  <a:pt x="135" y="354"/>
                </a:moveTo>
                <a:lnTo>
                  <a:pt x="138" y="357"/>
                </a:lnTo>
                <a:lnTo>
                  <a:pt x="138" y="354"/>
                </a:lnTo>
                <a:lnTo>
                  <a:pt x="138" y="354"/>
                </a:lnTo>
                <a:lnTo>
                  <a:pt x="135" y="354"/>
                </a:lnTo>
                <a:lnTo>
                  <a:pt x="135" y="354"/>
                </a:lnTo>
                <a:close/>
                <a:moveTo>
                  <a:pt x="138" y="372"/>
                </a:moveTo>
                <a:lnTo>
                  <a:pt x="138" y="372"/>
                </a:lnTo>
                <a:lnTo>
                  <a:pt x="141" y="372"/>
                </a:lnTo>
                <a:lnTo>
                  <a:pt x="144" y="369"/>
                </a:lnTo>
                <a:lnTo>
                  <a:pt x="144" y="369"/>
                </a:lnTo>
                <a:lnTo>
                  <a:pt x="138" y="369"/>
                </a:lnTo>
                <a:lnTo>
                  <a:pt x="138" y="372"/>
                </a:lnTo>
                <a:lnTo>
                  <a:pt x="138" y="372"/>
                </a:lnTo>
                <a:close/>
                <a:moveTo>
                  <a:pt x="122" y="401"/>
                </a:moveTo>
                <a:lnTo>
                  <a:pt x="128" y="401"/>
                </a:lnTo>
                <a:lnTo>
                  <a:pt x="128" y="397"/>
                </a:lnTo>
                <a:lnTo>
                  <a:pt x="128" y="397"/>
                </a:lnTo>
                <a:lnTo>
                  <a:pt x="128" y="394"/>
                </a:lnTo>
                <a:lnTo>
                  <a:pt x="132" y="391"/>
                </a:lnTo>
                <a:lnTo>
                  <a:pt x="135" y="388"/>
                </a:lnTo>
                <a:lnTo>
                  <a:pt x="135" y="385"/>
                </a:lnTo>
                <a:lnTo>
                  <a:pt x="135" y="385"/>
                </a:lnTo>
                <a:lnTo>
                  <a:pt x="132" y="382"/>
                </a:lnTo>
                <a:lnTo>
                  <a:pt x="135" y="379"/>
                </a:lnTo>
                <a:lnTo>
                  <a:pt x="135" y="376"/>
                </a:lnTo>
                <a:lnTo>
                  <a:pt x="138" y="376"/>
                </a:lnTo>
                <a:lnTo>
                  <a:pt x="135" y="372"/>
                </a:lnTo>
                <a:lnTo>
                  <a:pt x="132" y="376"/>
                </a:lnTo>
                <a:lnTo>
                  <a:pt x="128" y="376"/>
                </a:lnTo>
                <a:lnTo>
                  <a:pt x="125" y="379"/>
                </a:lnTo>
                <a:lnTo>
                  <a:pt x="122" y="382"/>
                </a:lnTo>
                <a:lnTo>
                  <a:pt x="122" y="385"/>
                </a:lnTo>
                <a:lnTo>
                  <a:pt x="122" y="388"/>
                </a:lnTo>
                <a:lnTo>
                  <a:pt x="119" y="388"/>
                </a:lnTo>
                <a:lnTo>
                  <a:pt x="125" y="394"/>
                </a:lnTo>
                <a:lnTo>
                  <a:pt x="125" y="394"/>
                </a:lnTo>
                <a:lnTo>
                  <a:pt x="125" y="397"/>
                </a:lnTo>
                <a:lnTo>
                  <a:pt x="122" y="401"/>
                </a:lnTo>
                <a:lnTo>
                  <a:pt x="122" y="401"/>
                </a:lnTo>
                <a:lnTo>
                  <a:pt x="122" y="401"/>
                </a:lnTo>
                <a:close/>
                <a:moveTo>
                  <a:pt x="94" y="413"/>
                </a:moveTo>
                <a:lnTo>
                  <a:pt x="94" y="416"/>
                </a:lnTo>
                <a:lnTo>
                  <a:pt x="94" y="419"/>
                </a:lnTo>
                <a:lnTo>
                  <a:pt x="97" y="423"/>
                </a:lnTo>
                <a:lnTo>
                  <a:pt x="97" y="419"/>
                </a:lnTo>
                <a:lnTo>
                  <a:pt x="100" y="413"/>
                </a:lnTo>
                <a:lnTo>
                  <a:pt x="100" y="404"/>
                </a:lnTo>
                <a:lnTo>
                  <a:pt x="103" y="397"/>
                </a:lnTo>
                <a:lnTo>
                  <a:pt x="103" y="394"/>
                </a:lnTo>
                <a:lnTo>
                  <a:pt x="100" y="391"/>
                </a:lnTo>
                <a:lnTo>
                  <a:pt x="97" y="394"/>
                </a:lnTo>
                <a:lnTo>
                  <a:pt x="100" y="397"/>
                </a:lnTo>
                <a:lnTo>
                  <a:pt x="97" y="401"/>
                </a:lnTo>
                <a:lnTo>
                  <a:pt x="94" y="404"/>
                </a:lnTo>
                <a:lnTo>
                  <a:pt x="94" y="413"/>
                </a:lnTo>
                <a:close/>
              </a:path>
            </a:pathLst>
          </a:custGeom>
          <a:solidFill>
            <a:schemeClr val="bg2"/>
          </a:solidFill>
          <a:ln>
            <a:solidFill>
              <a:schemeClr val="bg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7" name="Freeform 45">
            <a:extLst>
              <a:ext uri="{FF2B5EF4-FFF2-40B4-BE49-F238E27FC236}">
                <a16:creationId xmlns:a16="http://schemas.microsoft.com/office/drawing/2014/main" id="{3AD9F6E7-A387-2424-A86E-B39DF1D1198A}"/>
              </a:ext>
            </a:extLst>
          </p:cNvPr>
          <p:cNvSpPr>
            <a:spLocks noEditPoints="1"/>
          </p:cNvSpPr>
          <p:nvPr userDrawn="1"/>
        </p:nvSpPr>
        <p:spPr bwMode="auto">
          <a:xfrm>
            <a:off x="14150052" y="3952161"/>
            <a:ext cx="625437" cy="1123950"/>
          </a:xfrm>
          <a:custGeom>
            <a:avLst/>
            <a:gdLst>
              <a:gd name="T0" fmla="*/ 57 w 63"/>
              <a:gd name="T1" fmla="*/ 93 h 113"/>
              <a:gd name="T2" fmla="*/ 58 w 63"/>
              <a:gd name="T3" fmla="*/ 76 h 113"/>
              <a:gd name="T4" fmla="*/ 54 w 63"/>
              <a:gd name="T5" fmla="*/ 64 h 113"/>
              <a:gd name="T6" fmla="*/ 52 w 63"/>
              <a:gd name="T7" fmla="*/ 56 h 113"/>
              <a:gd name="T8" fmla="*/ 50 w 63"/>
              <a:gd name="T9" fmla="*/ 43 h 113"/>
              <a:gd name="T10" fmla="*/ 48 w 63"/>
              <a:gd name="T11" fmla="*/ 28 h 113"/>
              <a:gd name="T12" fmla="*/ 41 w 63"/>
              <a:gd name="T13" fmla="*/ 22 h 113"/>
              <a:gd name="T14" fmla="*/ 40 w 63"/>
              <a:gd name="T15" fmla="*/ 13 h 113"/>
              <a:gd name="T16" fmla="*/ 41 w 63"/>
              <a:gd name="T17" fmla="*/ 4 h 113"/>
              <a:gd name="T18" fmla="*/ 31 w 63"/>
              <a:gd name="T19" fmla="*/ 0 h 113"/>
              <a:gd name="T20" fmla="*/ 26 w 63"/>
              <a:gd name="T21" fmla="*/ 3 h 113"/>
              <a:gd name="T22" fmla="*/ 25 w 63"/>
              <a:gd name="T23" fmla="*/ 12 h 113"/>
              <a:gd name="T24" fmla="*/ 21 w 63"/>
              <a:gd name="T25" fmla="*/ 16 h 113"/>
              <a:gd name="T26" fmla="*/ 13 w 63"/>
              <a:gd name="T27" fmla="*/ 18 h 113"/>
              <a:gd name="T28" fmla="*/ 3 w 63"/>
              <a:gd name="T29" fmla="*/ 11 h 113"/>
              <a:gd name="T30" fmla="*/ 0 w 63"/>
              <a:gd name="T31" fmla="*/ 13 h 113"/>
              <a:gd name="T32" fmla="*/ 9 w 63"/>
              <a:gd name="T33" fmla="*/ 20 h 113"/>
              <a:gd name="T34" fmla="*/ 14 w 63"/>
              <a:gd name="T35" fmla="*/ 23 h 113"/>
              <a:gd name="T36" fmla="*/ 15 w 63"/>
              <a:gd name="T37" fmla="*/ 30 h 113"/>
              <a:gd name="T38" fmla="*/ 18 w 63"/>
              <a:gd name="T39" fmla="*/ 36 h 113"/>
              <a:gd name="T40" fmla="*/ 19 w 63"/>
              <a:gd name="T41" fmla="*/ 46 h 113"/>
              <a:gd name="T42" fmla="*/ 23 w 63"/>
              <a:gd name="T43" fmla="*/ 51 h 113"/>
              <a:gd name="T44" fmla="*/ 28 w 63"/>
              <a:gd name="T45" fmla="*/ 57 h 113"/>
              <a:gd name="T46" fmla="*/ 29 w 63"/>
              <a:gd name="T47" fmla="*/ 61 h 113"/>
              <a:gd name="T48" fmla="*/ 23 w 63"/>
              <a:gd name="T49" fmla="*/ 64 h 113"/>
              <a:gd name="T50" fmla="*/ 19 w 63"/>
              <a:gd name="T51" fmla="*/ 68 h 113"/>
              <a:gd name="T52" fmla="*/ 18 w 63"/>
              <a:gd name="T53" fmla="*/ 74 h 113"/>
              <a:gd name="T54" fmla="*/ 14 w 63"/>
              <a:gd name="T55" fmla="*/ 75 h 113"/>
              <a:gd name="T56" fmla="*/ 13 w 63"/>
              <a:gd name="T57" fmla="*/ 79 h 113"/>
              <a:gd name="T58" fmla="*/ 10 w 63"/>
              <a:gd name="T59" fmla="*/ 80 h 113"/>
              <a:gd name="T60" fmla="*/ 9 w 63"/>
              <a:gd name="T61" fmla="*/ 85 h 113"/>
              <a:gd name="T62" fmla="*/ 10 w 63"/>
              <a:gd name="T63" fmla="*/ 89 h 113"/>
              <a:gd name="T64" fmla="*/ 13 w 63"/>
              <a:gd name="T65" fmla="*/ 96 h 113"/>
              <a:gd name="T66" fmla="*/ 12 w 63"/>
              <a:gd name="T67" fmla="*/ 104 h 113"/>
              <a:gd name="T68" fmla="*/ 16 w 63"/>
              <a:gd name="T69" fmla="*/ 106 h 113"/>
              <a:gd name="T70" fmla="*/ 20 w 63"/>
              <a:gd name="T71" fmla="*/ 107 h 113"/>
              <a:gd name="T72" fmla="*/ 22 w 63"/>
              <a:gd name="T73" fmla="*/ 113 h 113"/>
              <a:gd name="T74" fmla="*/ 26 w 63"/>
              <a:gd name="T75" fmla="*/ 111 h 113"/>
              <a:gd name="T76" fmla="*/ 35 w 63"/>
              <a:gd name="T77" fmla="*/ 107 h 113"/>
              <a:gd name="T78" fmla="*/ 38 w 63"/>
              <a:gd name="T79" fmla="*/ 106 h 113"/>
              <a:gd name="T80" fmla="*/ 40 w 63"/>
              <a:gd name="T81" fmla="*/ 106 h 113"/>
              <a:gd name="T82" fmla="*/ 44 w 63"/>
              <a:gd name="T83" fmla="*/ 105 h 113"/>
              <a:gd name="T84" fmla="*/ 48 w 63"/>
              <a:gd name="T85" fmla="*/ 104 h 113"/>
              <a:gd name="T86" fmla="*/ 25 w 63"/>
              <a:gd name="T87" fmla="*/ 59 h 113"/>
              <a:gd name="T88" fmla="*/ 26 w 63"/>
              <a:gd name="T89" fmla="*/ 59 h 113"/>
              <a:gd name="T90" fmla="*/ 8 w 63"/>
              <a:gd name="T91" fmla="*/ 77 h 113"/>
              <a:gd name="T92" fmla="*/ 8 w 63"/>
              <a:gd name="T93" fmla="*/ 77 h 113"/>
              <a:gd name="T94" fmla="*/ 21 w 63"/>
              <a:gd name="T95" fmla="*/ 110 h 113"/>
              <a:gd name="T96" fmla="*/ 19 w 63"/>
              <a:gd name="T97" fmla="*/ 107 h 113"/>
              <a:gd name="T98" fmla="*/ 16 w 63"/>
              <a:gd name="T99" fmla="*/ 107 h 113"/>
              <a:gd name="T100" fmla="*/ 12 w 63"/>
              <a:gd name="T101" fmla="*/ 107 h 113"/>
              <a:gd name="T102" fmla="*/ 4 w 63"/>
              <a:gd name="T103" fmla="*/ 106 h 113"/>
              <a:gd name="T104" fmla="*/ 6 w 63"/>
              <a:gd name="T105" fmla="*/ 110 h 113"/>
              <a:gd name="T106" fmla="*/ 4 w 63"/>
              <a:gd name="T107" fmla="*/ 10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3" h="113">
                <a:moveTo>
                  <a:pt x="50" y="104"/>
                </a:moveTo>
                <a:cubicBezTo>
                  <a:pt x="50" y="103"/>
                  <a:pt x="50" y="103"/>
                  <a:pt x="50" y="103"/>
                </a:cubicBezTo>
                <a:cubicBezTo>
                  <a:pt x="53" y="100"/>
                  <a:pt x="53" y="100"/>
                  <a:pt x="53" y="100"/>
                </a:cubicBezTo>
                <a:cubicBezTo>
                  <a:pt x="54" y="99"/>
                  <a:pt x="54" y="99"/>
                  <a:pt x="54" y="99"/>
                </a:cubicBezTo>
                <a:cubicBezTo>
                  <a:pt x="56" y="96"/>
                  <a:pt x="56" y="96"/>
                  <a:pt x="56" y="96"/>
                </a:cubicBezTo>
                <a:cubicBezTo>
                  <a:pt x="57" y="93"/>
                  <a:pt x="57" y="93"/>
                  <a:pt x="57" y="93"/>
                </a:cubicBezTo>
                <a:cubicBezTo>
                  <a:pt x="59" y="90"/>
                  <a:pt x="59" y="90"/>
                  <a:pt x="59" y="90"/>
                </a:cubicBezTo>
                <a:cubicBezTo>
                  <a:pt x="61" y="86"/>
                  <a:pt x="61" y="86"/>
                  <a:pt x="61" y="86"/>
                </a:cubicBezTo>
                <a:cubicBezTo>
                  <a:pt x="63" y="82"/>
                  <a:pt x="63" y="82"/>
                  <a:pt x="63" y="82"/>
                </a:cubicBezTo>
                <a:cubicBezTo>
                  <a:pt x="63" y="80"/>
                  <a:pt x="63" y="80"/>
                  <a:pt x="63" y="80"/>
                </a:cubicBezTo>
                <a:cubicBezTo>
                  <a:pt x="60" y="77"/>
                  <a:pt x="60" y="77"/>
                  <a:pt x="60" y="77"/>
                </a:cubicBezTo>
                <a:cubicBezTo>
                  <a:pt x="58" y="76"/>
                  <a:pt x="58" y="76"/>
                  <a:pt x="58" y="76"/>
                </a:cubicBezTo>
                <a:cubicBezTo>
                  <a:pt x="55" y="72"/>
                  <a:pt x="55" y="72"/>
                  <a:pt x="55" y="72"/>
                </a:cubicBezTo>
                <a:cubicBezTo>
                  <a:pt x="56" y="70"/>
                  <a:pt x="56" y="70"/>
                  <a:pt x="56" y="70"/>
                </a:cubicBezTo>
                <a:cubicBezTo>
                  <a:pt x="57" y="68"/>
                  <a:pt x="57" y="68"/>
                  <a:pt x="57" y="68"/>
                </a:cubicBezTo>
                <a:cubicBezTo>
                  <a:pt x="57" y="67"/>
                  <a:pt x="57" y="67"/>
                  <a:pt x="57" y="67"/>
                </a:cubicBezTo>
                <a:cubicBezTo>
                  <a:pt x="55" y="65"/>
                  <a:pt x="55" y="65"/>
                  <a:pt x="55" y="65"/>
                </a:cubicBezTo>
                <a:cubicBezTo>
                  <a:pt x="54" y="64"/>
                  <a:pt x="54" y="64"/>
                  <a:pt x="54" y="64"/>
                </a:cubicBezTo>
                <a:cubicBezTo>
                  <a:pt x="54" y="62"/>
                  <a:pt x="54" y="62"/>
                  <a:pt x="54" y="62"/>
                </a:cubicBezTo>
                <a:cubicBezTo>
                  <a:pt x="55" y="61"/>
                  <a:pt x="55" y="61"/>
                  <a:pt x="55" y="61"/>
                </a:cubicBezTo>
                <a:cubicBezTo>
                  <a:pt x="54" y="60"/>
                  <a:pt x="54" y="60"/>
                  <a:pt x="54" y="60"/>
                </a:cubicBezTo>
                <a:cubicBezTo>
                  <a:pt x="53" y="59"/>
                  <a:pt x="53" y="59"/>
                  <a:pt x="53" y="59"/>
                </a:cubicBezTo>
                <a:cubicBezTo>
                  <a:pt x="52" y="58"/>
                  <a:pt x="52" y="58"/>
                  <a:pt x="52" y="58"/>
                </a:cubicBezTo>
                <a:cubicBezTo>
                  <a:pt x="52" y="56"/>
                  <a:pt x="52" y="56"/>
                  <a:pt x="52" y="56"/>
                </a:cubicBezTo>
                <a:cubicBezTo>
                  <a:pt x="53" y="55"/>
                  <a:pt x="53" y="55"/>
                  <a:pt x="53" y="55"/>
                </a:cubicBezTo>
                <a:cubicBezTo>
                  <a:pt x="52" y="55"/>
                  <a:pt x="52" y="55"/>
                  <a:pt x="52" y="55"/>
                </a:cubicBezTo>
                <a:cubicBezTo>
                  <a:pt x="52" y="54"/>
                  <a:pt x="52" y="54"/>
                  <a:pt x="52" y="54"/>
                </a:cubicBezTo>
                <a:cubicBezTo>
                  <a:pt x="52" y="50"/>
                  <a:pt x="52" y="50"/>
                  <a:pt x="52" y="50"/>
                </a:cubicBezTo>
                <a:cubicBezTo>
                  <a:pt x="53" y="49"/>
                  <a:pt x="53" y="49"/>
                  <a:pt x="53" y="49"/>
                </a:cubicBezTo>
                <a:cubicBezTo>
                  <a:pt x="50" y="43"/>
                  <a:pt x="50" y="43"/>
                  <a:pt x="50" y="43"/>
                </a:cubicBezTo>
                <a:cubicBezTo>
                  <a:pt x="48" y="38"/>
                  <a:pt x="48" y="38"/>
                  <a:pt x="48" y="38"/>
                </a:cubicBezTo>
                <a:cubicBezTo>
                  <a:pt x="47" y="36"/>
                  <a:pt x="47" y="36"/>
                  <a:pt x="47" y="36"/>
                </a:cubicBezTo>
                <a:cubicBezTo>
                  <a:pt x="46" y="35"/>
                  <a:pt x="46" y="35"/>
                  <a:pt x="46" y="35"/>
                </a:cubicBezTo>
                <a:cubicBezTo>
                  <a:pt x="47" y="32"/>
                  <a:pt x="47" y="32"/>
                  <a:pt x="47" y="32"/>
                </a:cubicBezTo>
                <a:cubicBezTo>
                  <a:pt x="48" y="30"/>
                  <a:pt x="48" y="30"/>
                  <a:pt x="48" y="30"/>
                </a:cubicBezTo>
                <a:cubicBezTo>
                  <a:pt x="48" y="28"/>
                  <a:pt x="48" y="28"/>
                  <a:pt x="48" y="28"/>
                </a:cubicBezTo>
                <a:cubicBezTo>
                  <a:pt x="48" y="27"/>
                  <a:pt x="48" y="27"/>
                  <a:pt x="48" y="27"/>
                </a:cubicBezTo>
                <a:cubicBezTo>
                  <a:pt x="45" y="25"/>
                  <a:pt x="45" y="25"/>
                  <a:pt x="45" y="25"/>
                </a:cubicBezTo>
                <a:cubicBezTo>
                  <a:pt x="44" y="24"/>
                  <a:pt x="44" y="24"/>
                  <a:pt x="44" y="24"/>
                </a:cubicBezTo>
                <a:cubicBezTo>
                  <a:pt x="43" y="23"/>
                  <a:pt x="43" y="23"/>
                  <a:pt x="43" y="23"/>
                </a:cubicBezTo>
                <a:cubicBezTo>
                  <a:pt x="42" y="22"/>
                  <a:pt x="42" y="22"/>
                  <a:pt x="42" y="22"/>
                </a:cubicBezTo>
                <a:cubicBezTo>
                  <a:pt x="41" y="22"/>
                  <a:pt x="41" y="22"/>
                  <a:pt x="41" y="22"/>
                </a:cubicBezTo>
                <a:cubicBezTo>
                  <a:pt x="40" y="19"/>
                  <a:pt x="40" y="19"/>
                  <a:pt x="40" y="19"/>
                </a:cubicBezTo>
                <a:cubicBezTo>
                  <a:pt x="39" y="18"/>
                  <a:pt x="39" y="18"/>
                  <a:pt x="39" y="18"/>
                </a:cubicBezTo>
                <a:cubicBezTo>
                  <a:pt x="39" y="16"/>
                  <a:pt x="39" y="16"/>
                  <a:pt x="39" y="16"/>
                </a:cubicBezTo>
                <a:cubicBezTo>
                  <a:pt x="40" y="14"/>
                  <a:pt x="40" y="14"/>
                  <a:pt x="40" y="14"/>
                </a:cubicBezTo>
                <a:cubicBezTo>
                  <a:pt x="39" y="14"/>
                  <a:pt x="39" y="14"/>
                  <a:pt x="39" y="14"/>
                </a:cubicBezTo>
                <a:cubicBezTo>
                  <a:pt x="40" y="13"/>
                  <a:pt x="40" y="13"/>
                  <a:pt x="40" y="13"/>
                </a:cubicBezTo>
                <a:cubicBezTo>
                  <a:pt x="41" y="12"/>
                  <a:pt x="41" y="12"/>
                  <a:pt x="41" y="12"/>
                </a:cubicBezTo>
                <a:cubicBezTo>
                  <a:pt x="41" y="10"/>
                  <a:pt x="41" y="10"/>
                  <a:pt x="41" y="10"/>
                </a:cubicBezTo>
                <a:cubicBezTo>
                  <a:pt x="42" y="8"/>
                  <a:pt x="42" y="8"/>
                  <a:pt x="42" y="8"/>
                </a:cubicBezTo>
                <a:cubicBezTo>
                  <a:pt x="42" y="7"/>
                  <a:pt x="42" y="7"/>
                  <a:pt x="42" y="7"/>
                </a:cubicBezTo>
                <a:cubicBezTo>
                  <a:pt x="41" y="5"/>
                  <a:pt x="41" y="5"/>
                  <a:pt x="41" y="5"/>
                </a:cubicBezTo>
                <a:cubicBezTo>
                  <a:pt x="41" y="4"/>
                  <a:pt x="41" y="4"/>
                  <a:pt x="41" y="4"/>
                </a:cubicBezTo>
                <a:cubicBezTo>
                  <a:pt x="39" y="4"/>
                  <a:pt x="39" y="4"/>
                  <a:pt x="39" y="4"/>
                </a:cubicBezTo>
                <a:cubicBezTo>
                  <a:pt x="37" y="4"/>
                  <a:pt x="37" y="4"/>
                  <a:pt x="37" y="4"/>
                </a:cubicBezTo>
                <a:cubicBezTo>
                  <a:pt x="36" y="3"/>
                  <a:pt x="36" y="3"/>
                  <a:pt x="36" y="3"/>
                </a:cubicBezTo>
                <a:cubicBezTo>
                  <a:pt x="35" y="1"/>
                  <a:pt x="35" y="1"/>
                  <a:pt x="35" y="1"/>
                </a:cubicBezTo>
                <a:cubicBezTo>
                  <a:pt x="34" y="0"/>
                  <a:pt x="34" y="0"/>
                  <a:pt x="34" y="0"/>
                </a:cubicBezTo>
                <a:cubicBezTo>
                  <a:pt x="31" y="0"/>
                  <a:pt x="31" y="0"/>
                  <a:pt x="31" y="0"/>
                </a:cubicBezTo>
                <a:cubicBezTo>
                  <a:pt x="30" y="1"/>
                  <a:pt x="30" y="1"/>
                  <a:pt x="30" y="1"/>
                </a:cubicBezTo>
                <a:cubicBezTo>
                  <a:pt x="30" y="2"/>
                  <a:pt x="30" y="2"/>
                  <a:pt x="30" y="2"/>
                </a:cubicBezTo>
                <a:cubicBezTo>
                  <a:pt x="29" y="2"/>
                  <a:pt x="29" y="2"/>
                  <a:pt x="29" y="2"/>
                </a:cubicBezTo>
                <a:cubicBezTo>
                  <a:pt x="27" y="2"/>
                  <a:pt x="27" y="2"/>
                  <a:pt x="27" y="2"/>
                </a:cubicBezTo>
                <a:cubicBezTo>
                  <a:pt x="26" y="2"/>
                  <a:pt x="26" y="2"/>
                  <a:pt x="26" y="2"/>
                </a:cubicBezTo>
                <a:cubicBezTo>
                  <a:pt x="26" y="3"/>
                  <a:pt x="26" y="3"/>
                  <a:pt x="26" y="3"/>
                </a:cubicBezTo>
                <a:cubicBezTo>
                  <a:pt x="25" y="4"/>
                  <a:pt x="25" y="4"/>
                  <a:pt x="25" y="4"/>
                </a:cubicBezTo>
                <a:cubicBezTo>
                  <a:pt x="25" y="5"/>
                  <a:pt x="25" y="5"/>
                  <a:pt x="25" y="5"/>
                </a:cubicBezTo>
                <a:cubicBezTo>
                  <a:pt x="25" y="6"/>
                  <a:pt x="25" y="6"/>
                  <a:pt x="25" y="6"/>
                </a:cubicBezTo>
                <a:cubicBezTo>
                  <a:pt x="25" y="7"/>
                  <a:pt x="25" y="7"/>
                  <a:pt x="25" y="7"/>
                </a:cubicBezTo>
                <a:cubicBezTo>
                  <a:pt x="24" y="10"/>
                  <a:pt x="24" y="10"/>
                  <a:pt x="24" y="10"/>
                </a:cubicBezTo>
                <a:cubicBezTo>
                  <a:pt x="25" y="12"/>
                  <a:pt x="25" y="12"/>
                  <a:pt x="25" y="12"/>
                </a:cubicBezTo>
                <a:cubicBezTo>
                  <a:pt x="25" y="13"/>
                  <a:pt x="25" y="13"/>
                  <a:pt x="25" y="13"/>
                </a:cubicBezTo>
                <a:cubicBezTo>
                  <a:pt x="25" y="14"/>
                  <a:pt x="25" y="14"/>
                  <a:pt x="25" y="14"/>
                </a:cubicBezTo>
                <a:cubicBezTo>
                  <a:pt x="24" y="14"/>
                  <a:pt x="24" y="14"/>
                  <a:pt x="24" y="14"/>
                </a:cubicBezTo>
                <a:cubicBezTo>
                  <a:pt x="23" y="14"/>
                  <a:pt x="23" y="14"/>
                  <a:pt x="23" y="14"/>
                </a:cubicBezTo>
                <a:cubicBezTo>
                  <a:pt x="22" y="15"/>
                  <a:pt x="22" y="15"/>
                  <a:pt x="22" y="15"/>
                </a:cubicBezTo>
                <a:cubicBezTo>
                  <a:pt x="21" y="16"/>
                  <a:pt x="21" y="16"/>
                  <a:pt x="21" y="16"/>
                </a:cubicBezTo>
                <a:cubicBezTo>
                  <a:pt x="20" y="17"/>
                  <a:pt x="20" y="17"/>
                  <a:pt x="20" y="17"/>
                </a:cubicBezTo>
                <a:cubicBezTo>
                  <a:pt x="19" y="17"/>
                  <a:pt x="19" y="17"/>
                  <a:pt x="19" y="17"/>
                </a:cubicBezTo>
                <a:cubicBezTo>
                  <a:pt x="17" y="15"/>
                  <a:pt x="17" y="15"/>
                  <a:pt x="17" y="15"/>
                </a:cubicBezTo>
                <a:cubicBezTo>
                  <a:pt x="16" y="15"/>
                  <a:pt x="16" y="15"/>
                  <a:pt x="16" y="15"/>
                </a:cubicBezTo>
                <a:cubicBezTo>
                  <a:pt x="15" y="16"/>
                  <a:pt x="15" y="16"/>
                  <a:pt x="15" y="16"/>
                </a:cubicBezTo>
                <a:cubicBezTo>
                  <a:pt x="13" y="18"/>
                  <a:pt x="13" y="18"/>
                  <a:pt x="13" y="18"/>
                </a:cubicBezTo>
                <a:cubicBezTo>
                  <a:pt x="10" y="18"/>
                  <a:pt x="10" y="18"/>
                  <a:pt x="10" y="18"/>
                </a:cubicBezTo>
                <a:cubicBezTo>
                  <a:pt x="8" y="17"/>
                  <a:pt x="8" y="17"/>
                  <a:pt x="8" y="17"/>
                </a:cubicBezTo>
                <a:cubicBezTo>
                  <a:pt x="7" y="16"/>
                  <a:pt x="7" y="16"/>
                  <a:pt x="7" y="16"/>
                </a:cubicBezTo>
                <a:cubicBezTo>
                  <a:pt x="7" y="14"/>
                  <a:pt x="7" y="14"/>
                  <a:pt x="7" y="14"/>
                </a:cubicBezTo>
                <a:cubicBezTo>
                  <a:pt x="4" y="12"/>
                  <a:pt x="4" y="12"/>
                  <a:pt x="4" y="12"/>
                </a:cubicBezTo>
                <a:cubicBezTo>
                  <a:pt x="3" y="11"/>
                  <a:pt x="3" y="11"/>
                  <a:pt x="3" y="11"/>
                </a:cubicBezTo>
                <a:cubicBezTo>
                  <a:pt x="2" y="10"/>
                  <a:pt x="2" y="10"/>
                  <a:pt x="2" y="10"/>
                </a:cubicBezTo>
                <a:cubicBezTo>
                  <a:pt x="1" y="11"/>
                  <a:pt x="1" y="11"/>
                  <a:pt x="1" y="11"/>
                </a:cubicBezTo>
                <a:cubicBezTo>
                  <a:pt x="1" y="12"/>
                  <a:pt x="1" y="12"/>
                  <a:pt x="1" y="12"/>
                </a:cubicBezTo>
                <a:cubicBezTo>
                  <a:pt x="1" y="13"/>
                  <a:pt x="1" y="13"/>
                  <a:pt x="1" y="13"/>
                </a:cubicBezTo>
                <a:cubicBezTo>
                  <a:pt x="1" y="14"/>
                  <a:pt x="1" y="14"/>
                  <a:pt x="1" y="14"/>
                </a:cubicBezTo>
                <a:cubicBezTo>
                  <a:pt x="0" y="13"/>
                  <a:pt x="0" y="13"/>
                  <a:pt x="0" y="13"/>
                </a:cubicBezTo>
                <a:cubicBezTo>
                  <a:pt x="0" y="14"/>
                  <a:pt x="0" y="14"/>
                  <a:pt x="0" y="14"/>
                </a:cubicBezTo>
                <a:cubicBezTo>
                  <a:pt x="1" y="15"/>
                  <a:pt x="1" y="15"/>
                  <a:pt x="1" y="15"/>
                </a:cubicBezTo>
                <a:cubicBezTo>
                  <a:pt x="3" y="16"/>
                  <a:pt x="3" y="16"/>
                  <a:pt x="3" y="16"/>
                </a:cubicBezTo>
                <a:cubicBezTo>
                  <a:pt x="5" y="18"/>
                  <a:pt x="5" y="18"/>
                  <a:pt x="5" y="18"/>
                </a:cubicBezTo>
                <a:cubicBezTo>
                  <a:pt x="7" y="19"/>
                  <a:pt x="7" y="19"/>
                  <a:pt x="7" y="19"/>
                </a:cubicBezTo>
                <a:cubicBezTo>
                  <a:pt x="9" y="20"/>
                  <a:pt x="9" y="20"/>
                  <a:pt x="9" y="20"/>
                </a:cubicBezTo>
                <a:cubicBezTo>
                  <a:pt x="10" y="20"/>
                  <a:pt x="10" y="20"/>
                  <a:pt x="10" y="20"/>
                </a:cubicBezTo>
                <a:cubicBezTo>
                  <a:pt x="11" y="20"/>
                  <a:pt x="11" y="20"/>
                  <a:pt x="11" y="20"/>
                </a:cubicBezTo>
                <a:cubicBezTo>
                  <a:pt x="12" y="22"/>
                  <a:pt x="12" y="22"/>
                  <a:pt x="12" y="22"/>
                </a:cubicBezTo>
                <a:cubicBezTo>
                  <a:pt x="13" y="23"/>
                  <a:pt x="13" y="23"/>
                  <a:pt x="13" y="23"/>
                </a:cubicBezTo>
                <a:cubicBezTo>
                  <a:pt x="13" y="23"/>
                  <a:pt x="13" y="23"/>
                  <a:pt x="13" y="23"/>
                </a:cubicBezTo>
                <a:cubicBezTo>
                  <a:pt x="14" y="23"/>
                  <a:pt x="14" y="23"/>
                  <a:pt x="14" y="23"/>
                </a:cubicBezTo>
                <a:cubicBezTo>
                  <a:pt x="15" y="25"/>
                  <a:pt x="15" y="25"/>
                  <a:pt x="15" y="25"/>
                </a:cubicBezTo>
                <a:cubicBezTo>
                  <a:pt x="16" y="25"/>
                  <a:pt x="16" y="25"/>
                  <a:pt x="16" y="25"/>
                </a:cubicBezTo>
                <a:cubicBezTo>
                  <a:pt x="16" y="26"/>
                  <a:pt x="16" y="26"/>
                  <a:pt x="16" y="26"/>
                </a:cubicBezTo>
                <a:cubicBezTo>
                  <a:pt x="16" y="27"/>
                  <a:pt x="16" y="27"/>
                  <a:pt x="16" y="27"/>
                </a:cubicBezTo>
                <a:cubicBezTo>
                  <a:pt x="16" y="28"/>
                  <a:pt x="16" y="28"/>
                  <a:pt x="16" y="28"/>
                </a:cubicBezTo>
                <a:cubicBezTo>
                  <a:pt x="15" y="30"/>
                  <a:pt x="15" y="30"/>
                  <a:pt x="15" y="30"/>
                </a:cubicBezTo>
                <a:cubicBezTo>
                  <a:pt x="16" y="31"/>
                  <a:pt x="16" y="31"/>
                  <a:pt x="16" y="31"/>
                </a:cubicBezTo>
                <a:cubicBezTo>
                  <a:pt x="17" y="31"/>
                  <a:pt x="17" y="31"/>
                  <a:pt x="17" y="31"/>
                </a:cubicBezTo>
                <a:cubicBezTo>
                  <a:pt x="18" y="33"/>
                  <a:pt x="18" y="33"/>
                  <a:pt x="18" y="33"/>
                </a:cubicBezTo>
                <a:cubicBezTo>
                  <a:pt x="17" y="34"/>
                  <a:pt x="17" y="34"/>
                  <a:pt x="17" y="34"/>
                </a:cubicBezTo>
                <a:cubicBezTo>
                  <a:pt x="17" y="35"/>
                  <a:pt x="17" y="35"/>
                  <a:pt x="17" y="35"/>
                </a:cubicBezTo>
                <a:cubicBezTo>
                  <a:pt x="18" y="36"/>
                  <a:pt x="18" y="36"/>
                  <a:pt x="18" y="36"/>
                </a:cubicBezTo>
                <a:cubicBezTo>
                  <a:pt x="18" y="39"/>
                  <a:pt x="18" y="39"/>
                  <a:pt x="18" y="39"/>
                </a:cubicBezTo>
                <a:cubicBezTo>
                  <a:pt x="18" y="40"/>
                  <a:pt x="18" y="40"/>
                  <a:pt x="18" y="40"/>
                </a:cubicBezTo>
                <a:cubicBezTo>
                  <a:pt x="18" y="41"/>
                  <a:pt x="18" y="41"/>
                  <a:pt x="18" y="41"/>
                </a:cubicBezTo>
                <a:cubicBezTo>
                  <a:pt x="18" y="43"/>
                  <a:pt x="18" y="43"/>
                  <a:pt x="18" y="43"/>
                </a:cubicBezTo>
                <a:cubicBezTo>
                  <a:pt x="18" y="44"/>
                  <a:pt x="18" y="44"/>
                  <a:pt x="18" y="44"/>
                </a:cubicBezTo>
                <a:cubicBezTo>
                  <a:pt x="19" y="46"/>
                  <a:pt x="19" y="46"/>
                  <a:pt x="19" y="46"/>
                </a:cubicBezTo>
                <a:cubicBezTo>
                  <a:pt x="20" y="46"/>
                  <a:pt x="20" y="46"/>
                  <a:pt x="20" y="46"/>
                </a:cubicBezTo>
                <a:cubicBezTo>
                  <a:pt x="21" y="48"/>
                  <a:pt x="21" y="48"/>
                  <a:pt x="21" y="48"/>
                </a:cubicBezTo>
                <a:cubicBezTo>
                  <a:pt x="21" y="49"/>
                  <a:pt x="21" y="49"/>
                  <a:pt x="21" y="49"/>
                </a:cubicBezTo>
                <a:cubicBezTo>
                  <a:pt x="21" y="51"/>
                  <a:pt x="21" y="51"/>
                  <a:pt x="21" y="51"/>
                </a:cubicBezTo>
                <a:cubicBezTo>
                  <a:pt x="22" y="51"/>
                  <a:pt x="22" y="51"/>
                  <a:pt x="22" y="51"/>
                </a:cubicBezTo>
                <a:cubicBezTo>
                  <a:pt x="23" y="51"/>
                  <a:pt x="23" y="51"/>
                  <a:pt x="23" y="51"/>
                </a:cubicBezTo>
                <a:cubicBezTo>
                  <a:pt x="24" y="52"/>
                  <a:pt x="24" y="52"/>
                  <a:pt x="24" y="52"/>
                </a:cubicBezTo>
                <a:cubicBezTo>
                  <a:pt x="27" y="52"/>
                  <a:pt x="27" y="52"/>
                  <a:pt x="27" y="52"/>
                </a:cubicBezTo>
                <a:cubicBezTo>
                  <a:pt x="28" y="54"/>
                  <a:pt x="28" y="54"/>
                  <a:pt x="28" y="54"/>
                </a:cubicBezTo>
                <a:cubicBezTo>
                  <a:pt x="27" y="54"/>
                  <a:pt x="27" y="54"/>
                  <a:pt x="27" y="54"/>
                </a:cubicBezTo>
                <a:cubicBezTo>
                  <a:pt x="28" y="55"/>
                  <a:pt x="28" y="55"/>
                  <a:pt x="28" y="55"/>
                </a:cubicBezTo>
                <a:cubicBezTo>
                  <a:pt x="28" y="57"/>
                  <a:pt x="28" y="57"/>
                  <a:pt x="28" y="57"/>
                </a:cubicBezTo>
                <a:cubicBezTo>
                  <a:pt x="28" y="57"/>
                  <a:pt x="28" y="57"/>
                  <a:pt x="28" y="57"/>
                </a:cubicBezTo>
                <a:cubicBezTo>
                  <a:pt x="29" y="59"/>
                  <a:pt x="29" y="59"/>
                  <a:pt x="29" y="59"/>
                </a:cubicBezTo>
                <a:cubicBezTo>
                  <a:pt x="28" y="59"/>
                  <a:pt x="28" y="59"/>
                  <a:pt x="28" y="59"/>
                </a:cubicBezTo>
                <a:cubicBezTo>
                  <a:pt x="28" y="59"/>
                  <a:pt x="28" y="59"/>
                  <a:pt x="28" y="59"/>
                </a:cubicBezTo>
                <a:cubicBezTo>
                  <a:pt x="29" y="60"/>
                  <a:pt x="29" y="60"/>
                  <a:pt x="29" y="60"/>
                </a:cubicBezTo>
                <a:cubicBezTo>
                  <a:pt x="29" y="61"/>
                  <a:pt x="29" y="61"/>
                  <a:pt x="29" y="61"/>
                </a:cubicBezTo>
                <a:cubicBezTo>
                  <a:pt x="27" y="60"/>
                  <a:pt x="27" y="60"/>
                  <a:pt x="27" y="60"/>
                </a:cubicBezTo>
                <a:cubicBezTo>
                  <a:pt x="26" y="60"/>
                  <a:pt x="26" y="60"/>
                  <a:pt x="26" y="60"/>
                </a:cubicBezTo>
                <a:cubicBezTo>
                  <a:pt x="24" y="61"/>
                  <a:pt x="24" y="61"/>
                  <a:pt x="24" y="61"/>
                </a:cubicBezTo>
                <a:cubicBezTo>
                  <a:pt x="24" y="62"/>
                  <a:pt x="24" y="62"/>
                  <a:pt x="24" y="62"/>
                </a:cubicBezTo>
                <a:cubicBezTo>
                  <a:pt x="23" y="63"/>
                  <a:pt x="23" y="63"/>
                  <a:pt x="23" y="63"/>
                </a:cubicBezTo>
                <a:cubicBezTo>
                  <a:pt x="23" y="64"/>
                  <a:pt x="23" y="64"/>
                  <a:pt x="23" y="64"/>
                </a:cubicBezTo>
                <a:cubicBezTo>
                  <a:pt x="22" y="65"/>
                  <a:pt x="22" y="65"/>
                  <a:pt x="22" y="65"/>
                </a:cubicBezTo>
                <a:cubicBezTo>
                  <a:pt x="21" y="67"/>
                  <a:pt x="21" y="67"/>
                  <a:pt x="21" y="67"/>
                </a:cubicBezTo>
                <a:cubicBezTo>
                  <a:pt x="20" y="69"/>
                  <a:pt x="20" y="69"/>
                  <a:pt x="20" y="69"/>
                </a:cubicBezTo>
                <a:cubicBezTo>
                  <a:pt x="20" y="69"/>
                  <a:pt x="20" y="69"/>
                  <a:pt x="20" y="69"/>
                </a:cubicBezTo>
                <a:cubicBezTo>
                  <a:pt x="19" y="68"/>
                  <a:pt x="19" y="68"/>
                  <a:pt x="19" y="68"/>
                </a:cubicBezTo>
                <a:cubicBezTo>
                  <a:pt x="19" y="68"/>
                  <a:pt x="19" y="68"/>
                  <a:pt x="19" y="68"/>
                </a:cubicBezTo>
                <a:cubicBezTo>
                  <a:pt x="19" y="70"/>
                  <a:pt x="19" y="70"/>
                  <a:pt x="19" y="70"/>
                </a:cubicBezTo>
                <a:cubicBezTo>
                  <a:pt x="19" y="71"/>
                  <a:pt x="19" y="71"/>
                  <a:pt x="19" y="71"/>
                </a:cubicBezTo>
                <a:cubicBezTo>
                  <a:pt x="18" y="71"/>
                  <a:pt x="18" y="71"/>
                  <a:pt x="18" y="71"/>
                </a:cubicBezTo>
                <a:cubicBezTo>
                  <a:pt x="17" y="72"/>
                  <a:pt x="17" y="72"/>
                  <a:pt x="17" y="72"/>
                </a:cubicBezTo>
                <a:cubicBezTo>
                  <a:pt x="17" y="73"/>
                  <a:pt x="17" y="73"/>
                  <a:pt x="17" y="73"/>
                </a:cubicBezTo>
                <a:cubicBezTo>
                  <a:pt x="18" y="74"/>
                  <a:pt x="18" y="74"/>
                  <a:pt x="18" y="74"/>
                </a:cubicBezTo>
                <a:cubicBezTo>
                  <a:pt x="17" y="74"/>
                  <a:pt x="17" y="74"/>
                  <a:pt x="17" y="74"/>
                </a:cubicBezTo>
                <a:cubicBezTo>
                  <a:pt x="16" y="73"/>
                  <a:pt x="16" y="73"/>
                  <a:pt x="16" y="73"/>
                </a:cubicBezTo>
                <a:cubicBezTo>
                  <a:pt x="15" y="73"/>
                  <a:pt x="15" y="73"/>
                  <a:pt x="15" y="73"/>
                </a:cubicBezTo>
                <a:cubicBezTo>
                  <a:pt x="15" y="75"/>
                  <a:pt x="15" y="75"/>
                  <a:pt x="15" y="75"/>
                </a:cubicBezTo>
                <a:cubicBezTo>
                  <a:pt x="15" y="75"/>
                  <a:pt x="15" y="75"/>
                  <a:pt x="15" y="75"/>
                </a:cubicBezTo>
                <a:cubicBezTo>
                  <a:pt x="14" y="75"/>
                  <a:pt x="14" y="75"/>
                  <a:pt x="14" y="75"/>
                </a:cubicBezTo>
                <a:cubicBezTo>
                  <a:pt x="14" y="75"/>
                  <a:pt x="14" y="75"/>
                  <a:pt x="14" y="75"/>
                </a:cubicBezTo>
                <a:cubicBezTo>
                  <a:pt x="15" y="76"/>
                  <a:pt x="15" y="76"/>
                  <a:pt x="15" y="76"/>
                </a:cubicBezTo>
                <a:cubicBezTo>
                  <a:pt x="15" y="77"/>
                  <a:pt x="15" y="77"/>
                  <a:pt x="15" y="77"/>
                </a:cubicBezTo>
                <a:cubicBezTo>
                  <a:pt x="14" y="78"/>
                  <a:pt x="14" y="78"/>
                  <a:pt x="14" y="78"/>
                </a:cubicBezTo>
                <a:cubicBezTo>
                  <a:pt x="14" y="78"/>
                  <a:pt x="14" y="78"/>
                  <a:pt x="14" y="78"/>
                </a:cubicBezTo>
                <a:cubicBezTo>
                  <a:pt x="13" y="79"/>
                  <a:pt x="13" y="79"/>
                  <a:pt x="13" y="79"/>
                </a:cubicBezTo>
                <a:cubicBezTo>
                  <a:pt x="12" y="79"/>
                  <a:pt x="12" y="79"/>
                  <a:pt x="12" y="79"/>
                </a:cubicBezTo>
                <a:cubicBezTo>
                  <a:pt x="12" y="78"/>
                  <a:pt x="12" y="78"/>
                  <a:pt x="12" y="78"/>
                </a:cubicBezTo>
                <a:cubicBezTo>
                  <a:pt x="11" y="78"/>
                  <a:pt x="11" y="78"/>
                  <a:pt x="11" y="78"/>
                </a:cubicBezTo>
                <a:cubicBezTo>
                  <a:pt x="10" y="78"/>
                  <a:pt x="10" y="78"/>
                  <a:pt x="10" y="78"/>
                </a:cubicBezTo>
                <a:cubicBezTo>
                  <a:pt x="10" y="79"/>
                  <a:pt x="10" y="79"/>
                  <a:pt x="10" y="79"/>
                </a:cubicBezTo>
                <a:cubicBezTo>
                  <a:pt x="10" y="80"/>
                  <a:pt x="10" y="80"/>
                  <a:pt x="10" y="80"/>
                </a:cubicBezTo>
                <a:cubicBezTo>
                  <a:pt x="10" y="81"/>
                  <a:pt x="10" y="81"/>
                  <a:pt x="10" y="81"/>
                </a:cubicBezTo>
                <a:cubicBezTo>
                  <a:pt x="10" y="82"/>
                  <a:pt x="10" y="82"/>
                  <a:pt x="10" y="82"/>
                </a:cubicBezTo>
                <a:cubicBezTo>
                  <a:pt x="9" y="82"/>
                  <a:pt x="9" y="82"/>
                  <a:pt x="9" y="82"/>
                </a:cubicBezTo>
                <a:cubicBezTo>
                  <a:pt x="9" y="83"/>
                  <a:pt x="9" y="83"/>
                  <a:pt x="9" y="83"/>
                </a:cubicBezTo>
                <a:cubicBezTo>
                  <a:pt x="9" y="85"/>
                  <a:pt x="9" y="85"/>
                  <a:pt x="9" y="85"/>
                </a:cubicBezTo>
                <a:cubicBezTo>
                  <a:pt x="9" y="85"/>
                  <a:pt x="9" y="85"/>
                  <a:pt x="9" y="85"/>
                </a:cubicBezTo>
                <a:cubicBezTo>
                  <a:pt x="9" y="86"/>
                  <a:pt x="9" y="86"/>
                  <a:pt x="9" y="86"/>
                </a:cubicBezTo>
                <a:cubicBezTo>
                  <a:pt x="9" y="87"/>
                  <a:pt x="9" y="87"/>
                  <a:pt x="9" y="87"/>
                </a:cubicBezTo>
                <a:cubicBezTo>
                  <a:pt x="10" y="87"/>
                  <a:pt x="10" y="87"/>
                  <a:pt x="10" y="87"/>
                </a:cubicBezTo>
                <a:cubicBezTo>
                  <a:pt x="11" y="87"/>
                  <a:pt x="11" y="87"/>
                  <a:pt x="11" y="87"/>
                </a:cubicBezTo>
                <a:cubicBezTo>
                  <a:pt x="10" y="89"/>
                  <a:pt x="10" y="89"/>
                  <a:pt x="10" y="89"/>
                </a:cubicBezTo>
                <a:cubicBezTo>
                  <a:pt x="10" y="89"/>
                  <a:pt x="10" y="89"/>
                  <a:pt x="10" y="89"/>
                </a:cubicBezTo>
                <a:cubicBezTo>
                  <a:pt x="11" y="91"/>
                  <a:pt x="11" y="91"/>
                  <a:pt x="11" y="91"/>
                </a:cubicBezTo>
                <a:cubicBezTo>
                  <a:pt x="10" y="91"/>
                  <a:pt x="10" y="91"/>
                  <a:pt x="10" y="91"/>
                </a:cubicBezTo>
                <a:cubicBezTo>
                  <a:pt x="12" y="93"/>
                  <a:pt x="12" y="93"/>
                  <a:pt x="12" y="93"/>
                </a:cubicBezTo>
                <a:cubicBezTo>
                  <a:pt x="12" y="94"/>
                  <a:pt x="12" y="94"/>
                  <a:pt x="12" y="94"/>
                </a:cubicBezTo>
                <a:cubicBezTo>
                  <a:pt x="12" y="94"/>
                  <a:pt x="12" y="94"/>
                  <a:pt x="12" y="94"/>
                </a:cubicBezTo>
                <a:cubicBezTo>
                  <a:pt x="13" y="96"/>
                  <a:pt x="13" y="96"/>
                  <a:pt x="13" y="96"/>
                </a:cubicBezTo>
                <a:cubicBezTo>
                  <a:pt x="12" y="96"/>
                  <a:pt x="12" y="96"/>
                  <a:pt x="12" y="96"/>
                </a:cubicBezTo>
                <a:cubicBezTo>
                  <a:pt x="12" y="98"/>
                  <a:pt x="12" y="98"/>
                  <a:pt x="12" y="98"/>
                </a:cubicBezTo>
                <a:cubicBezTo>
                  <a:pt x="12" y="99"/>
                  <a:pt x="12" y="99"/>
                  <a:pt x="12" y="99"/>
                </a:cubicBezTo>
                <a:cubicBezTo>
                  <a:pt x="11" y="102"/>
                  <a:pt x="11" y="102"/>
                  <a:pt x="11" y="102"/>
                </a:cubicBezTo>
                <a:cubicBezTo>
                  <a:pt x="12" y="102"/>
                  <a:pt x="12" y="102"/>
                  <a:pt x="12" y="102"/>
                </a:cubicBezTo>
                <a:cubicBezTo>
                  <a:pt x="12" y="104"/>
                  <a:pt x="12" y="104"/>
                  <a:pt x="12" y="104"/>
                </a:cubicBezTo>
                <a:cubicBezTo>
                  <a:pt x="12" y="105"/>
                  <a:pt x="12" y="105"/>
                  <a:pt x="12" y="105"/>
                </a:cubicBezTo>
                <a:cubicBezTo>
                  <a:pt x="12" y="105"/>
                  <a:pt x="12" y="105"/>
                  <a:pt x="12" y="105"/>
                </a:cubicBezTo>
                <a:cubicBezTo>
                  <a:pt x="14" y="105"/>
                  <a:pt x="14" y="105"/>
                  <a:pt x="14" y="105"/>
                </a:cubicBezTo>
                <a:cubicBezTo>
                  <a:pt x="14" y="105"/>
                  <a:pt x="14" y="105"/>
                  <a:pt x="14" y="105"/>
                </a:cubicBezTo>
                <a:cubicBezTo>
                  <a:pt x="15" y="104"/>
                  <a:pt x="15" y="104"/>
                  <a:pt x="15" y="104"/>
                </a:cubicBezTo>
                <a:cubicBezTo>
                  <a:pt x="16" y="106"/>
                  <a:pt x="16" y="106"/>
                  <a:pt x="16" y="106"/>
                </a:cubicBezTo>
                <a:cubicBezTo>
                  <a:pt x="17" y="106"/>
                  <a:pt x="17" y="106"/>
                  <a:pt x="17" y="106"/>
                </a:cubicBezTo>
                <a:cubicBezTo>
                  <a:pt x="18" y="107"/>
                  <a:pt x="18" y="107"/>
                  <a:pt x="18" y="107"/>
                </a:cubicBezTo>
                <a:cubicBezTo>
                  <a:pt x="19" y="106"/>
                  <a:pt x="19" y="106"/>
                  <a:pt x="19" y="106"/>
                </a:cubicBezTo>
                <a:cubicBezTo>
                  <a:pt x="20" y="107"/>
                  <a:pt x="20" y="107"/>
                  <a:pt x="20" y="107"/>
                </a:cubicBezTo>
                <a:cubicBezTo>
                  <a:pt x="20" y="107"/>
                  <a:pt x="20" y="107"/>
                  <a:pt x="20" y="107"/>
                </a:cubicBezTo>
                <a:cubicBezTo>
                  <a:pt x="20" y="107"/>
                  <a:pt x="20" y="107"/>
                  <a:pt x="20" y="107"/>
                </a:cubicBezTo>
                <a:cubicBezTo>
                  <a:pt x="22" y="106"/>
                  <a:pt x="22" y="106"/>
                  <a:pt x="22" y="106"/>
                </a:cubicBezTo>
                <a:cubicBezTo>
                  <a:pt x="22" y="107"/>
                  <a:pt x="22" y="107"/>
                  <a:pt x="22" y="107"/>
                </a:cubicBezTo>
                <a:cubicBezTo>
                  <a:pt x="21" y="108"/>
                  <a:pt x="21" y="108"/>
                  <a:pt x="21" y="108"/>
                </a:cubicBezTo>
                <a:cubicBezTo>
                  <a:pt x="23" y="111"/>
                  <a:pt x="23" y="111"/>
                  <a:pt x="23" y="111"/>
                </a:cubicBezTo>
                <a:cubicBezTo>
                  <a:pt x="23" y="111"/>
                  <a:pt x="23" y="111"/>
                  <a:pt x="23" y="111"/>
                </a:cubicBezTo>
                <a:cubicBezTo>
                  <a:pt x="22" y="113"/>
                  <a:pt x="22" y="113"/>
                  <a:pt x="22" y="113"/>
                </a:cubicBezTo>
                <a:cubicBezTo>
                  <a:pt x="23" y="113"/>
                  <a:pt x="23" y="113"/>
                  <a:pt x="23" y="113"/>
                </a:cubicBezTo>
                <a:cubicBezTo>
                  <a:pt x="24" y="111"/>
                  <a:pt x="24" y="111"/>
                  <a:pt x="24" y="111"/>
                </a:cubicBezTo>
                <a:cubicBezTo>
                  <a:pt x="24" y="111"/>
                  <a:pt x="24" y="111"/>
                  <a:pt x="24" y="111"/>
                </a:cubicBezTo>
                <a:cubicBezTo>
                  <a:pt x="24" y="111"/>
                  <a:pt x="24" y="111"/>
                  <a:pt x="24" y="111"/>
                </a:cubicBezTo>
                <a:cubicBezTo>
                  <a:pt x="26" y="111"/>
                  <a:pt x="26" y="111"/>
                  <a:pt x="26" y="111"/>
                </a:cubicBezTo>
                <a:cubicBezTo>
                  <a:pt x="26" y="111"/>
                  <a:pt x="26" y="111"/>
                  <a:pt x="26" y="111"/>
                </a:cubicBezTo>
                <a:cubicBezTo>
                  <a:pt x="28" y="109"/>
                  <a:pt x="28" y="109"/>
                  <a:pt x="28" y="109"/>
                </a:cubicBezTo>
                <a:cubicBezTo>
                  <a:pt x="30" y="109"/>
                  <a:pt x="30" y="109"/>
                  <a:pt x="30" y="109"/>
                </a:cubicBezTo>
                <a:cubicBezTo>
                  <a:pt x="32" y="108"/>
                  <a:pt x="32" y="108"/>
                  <a:pt x="32" y="108"/>
                </a:cubicBezTo>
                <a:cubicBezTo>
                  <a:pt x="32" y="107"/>
                  <a:pt x="32" y="107"/>
                  <a:pt x="32" y="107"/>
                </a:cubicBezTo>
                <a:cubicBezTo>
                  <a:pt x="34" y="108"/>
                  <a:pt x="34" y="108"/>
                  <a:pt x="34" y="108"/>
                </a:cubicBezTo>
                <a:cubicBezTo>
                  <a:pt x="35" y="107"/>
                  <a:pt x="35" y="107"/>
                  <a:pt x="35" y="107"/>
                </a:cubicBezTo>
                <a:cubicBezTo>
                  <a:pt x="36" y="106"/>
                  <a:pt x="36" y="106"/>
                  <a:pt x="36" y="106"/>
                </a:cubicBezTo>
                <a:cubicBezTo>
                  <a:pt x="36" y="106"/>
                  <a:pt x="36" y="106"/>
                  <a:pt x="36" y="106"/>
                </a:cubicBezTo>
                <a:cubicBezTo>
                  <a:pt x="36" y="107"/>
                  <a:pt x="36" y="107"/>
                  <a:pt x="36" y="107"/>
                </a:cubicBezTo>
                <a:cubicBezTo>
                  <a:pt x="36" y="108"/>
                  <a:pt x="36" y="108"/>
                  <a:pt x="36" y="108"/>
                </a:cubicBezTo>
                <a:cubicBezTo>
                  <a:pt x="37" y="106"/>
                  <a:pt x="37" y="106"/>
                  <a:pt x="37" y="106"/>
                </a:cubicBezTo>
                <a:cubicBezTo>
                  <a:pt x="38" y="106"/>
                  <a:pt x="38" y="106"/>
                  <a:pt x="38" y="106"/>
                </a:cubicBezTo>
                <a:cubicBezTo>
                  <a:pt x="37" y="105"/>
                  <a:pt x="37" y="105"/>
                  <a:pt x="37" y="105"/>
                </a:cubicBezTo>
                <a:cubicBezTo>
                  <a:pt x="38" y="105"/>
                  <a:pt x="38" y="105"/>
                  <a:pt x="38" y="105"/>
                </a:cubicBezTo>
                <a:cubicBezTo>
                  <a:pt x="38" y="106"/>
                  <a:pt x="38" y="106"/>
                  <a:pt x="38" y="106"/>
                </a:cubicBezTo>
                <a:cubicBezTo>
                  <a:pt x="39" y="106"/>
                  <a:pt x="39" y="106"/>
                  <a:pt x="39" y="106"/>
                </a:cubicBezTo>
                <a:cubicBezTo>
                  <a:pt x="39" y="105"/>
                  <a:pt x="39" y="105"/>
                  <a:pt x="39" y="105"/>
                </a:cubicBezTo>
                <a:cubicBezTo>
                  <a:pt x="40" y="106"/>
                  <a:pt x="40" y="106"/>
                  <a:pt x="40" y="106"/>
                </a:cubicBezTo>
                <a:cubicBezTo>
                  <a:pt x="41" y="106"/>
                  <a:pt x="41" y="106"/>
                  <a:pt x="41" y="106"/>
                </a:cubicBezTo>
                <a:cubicBezTo>
                  <a:pt x="41" y="105"/>
                  <a:pt x="41" y="105"/>
                  <a:pt x="41" y="105"/>
                </a:cubicBezTo>
                <a:cubicBezTo>
                  <a:pt x="41" y="105"/>
                  <a:pt x="41" y="105"/>
                  <a:pt x="41" y="105"/>
                </a:cubicBezTo>
                <a:cubicBezTo>
                  <a:pt x="42" y="106"/>
                  <a:pt x="42" y="106"/>
                  <a:pt x="42" y="106"/>
                </a:cubicBezTo>
                <a:cubicBezTo>
                  <a:pt x="42" y="105"/>
                  <a:pt x="42" y="105"/>
                  <a:pt x="42" y="105"/>
                </a:cubicBezTo>
                <a:cubicBezTo>
                  <a:pt x="44" y="105"/>
                  <a:pt x="44" y="105"/>
                  <a:pt x="44" y="105"/>
                </a:cubicBezTo>
                <a:cubicBezTo>
                  <a:pt x="45" y="106"/>
                  <a:pt x="45" y="106"/>
                  <a:pt x="45" y="106"/>
                </a:cubicBezTo>
                <a:cubicBezTo>
                  <a:pt x="47" y="106"/>
                  <a:pt x="47" y="106"/>
                  <a:pt x="47" y="106"/>
                </a:cubicBezTo>
                <a:cubicBezTo>
                  <a:pt x="47" y="105"/>
                  <a:pt x="47" y="105"/>
                  <a:pt x="47" y="105"/>
                </a:cubicBezTo>
                <a:cubicBezTo>
                  <a:pt x="47" y="104"/>
                  <a:pt x="47" y="104"/>
                  <a:pt x="47" y="104"/>
                </a:cubicBezTo>
                <a:cubicBezTo>
                  <a:pt x="47" y="104"/>
                  <a:pt x="47" y="104"/>
                  <a:pt x="47" y="104"/>
                </a:cubicBezTo>
                <a:cubicBezTo>
                  <a:pt x="48" y="104"/>
                  <a:pt x="48" y="104"/>
                  <a:pt x="48" y="104"/>
                </a:cubicBezTo>
                <a:cubicBezTo>
                  <a:pt x="48" y="105"/>
                  <a:pt x="48" y="105"/>
                  <a:pt x="48" y="105"/>
                </a:cubicBezTo>
                <a:cubicBezTo>
                  <a:pt x="49" y="105"/>
                  <a:pt x="49" y="105"/>
                  <a:pt x="49" y="105"/>
                </a:cubicBezTo>
                <a:cubicBezTo>
                  <a:pt x="49" y="105"/>
                  <a:pt x="50" y="105"/>
                  <a:pt x="50" y="104"/>
                </a:cubicBezTo>
                <a:close/>
                <a:moveTo>
                  <a:pt x="26" y="59"/>
                </a:moveTo>
                <a:cubicBezTo>
                  <a:pt x="26" y="59"/>
                  <a:pt x="26" y="59"/>
                  <a:pt x="26" y="59"/>
                </a:cubicBezTo>
                <a:cubicBezTo>
                  <a:pt x="25" y="59"/>
                  <a:pt x="25" y="59"/>
                  <a:pt x="25" y="59"/>
                </a:cubicBezTo>
                <a:cubicBezTo>
                  <a:pt x="24" y="58"/>
                  <a:pt x="24" y="58"/>
                  <a:pt x="24" y="58"/>
                </a:cubicBezTo>
                <a:cubicBezTo>
                  <a:pt x="25" y="57"/>
                  <a:pt x="25" y="57"/>
                  <a:pt x="25" y="57"/>
                </a:cubicBezTo>
                <a:cubicBezTo>
                  <a:pt x="27" y="57"/>
                  <a:pt x="27" y="57"/>
                  <a:pt x="27" y="57"/>
                </a:cubicBezTo>
                <a:cubicBezTo>
                  <a:pt x="27" y="58"/>
                  <a:pt x="27" y="58"/>
                  <a:pt x="27" y="58"/>
                </a:cubicBezTo>
                <a:cubicBezTo>
                  <a:pt x="26" y="58"/>
                  <a:pt x="26" y="58"/>
                  <a:pt x="26" y="58"/>
                </a:cubicBezTo>
                <a:cubicBezTo>
                  <a:pt x="26" y="59"/>
                  <a:pt x="26" y="59"/>
                  <a:pt x="26" y="59"/>
                </a:cubicBezTo>
                <a:close/>
                <a:moveTo>
                  <a:pt x="9" y="77"/>
                </a:moveTo>
                <a:cubicBezTo>
                  <a:pt x="9" y="76"/>
                  <a:pt x="9" y="76"/>
                  <a:pt x="9" y="76"/>
                </a:cubicBezTo>
                <a:cubicBezTo>
                  <a:pt x="10" y="76"/>
                  <a:pt x="10" y="76"/>
                  <a:pt x="10" y="76"/>
                </a:cubicBezTo>
                <a:cubicBezTo>
                  <a:pt x="9" y="77"/>
                  <a:pt x="9" y="77"/>
                  <a:pt x="9" y="77"/>
                </a:cubicBezTo>
                <a:cubicBezTo>
                  <a:pt x="9" y="77"/>
                  <a:pt x="9" y="77"/>
                  <a:pt x="9" y="77"/>
                </a:cubicBezTo>
                <a:close/>
                <a:moveTo>
                  <a:pt x="8" y="77"/>
                </a:moveTo>
                <a:cubicBezTo>
                  <a:pt x="9" y="78"/>
                  <a:pt x="9" y="78"/>
                  <a:pt x="9" y="78"/>
                </a:cubicBezTo>
                <a:cubicBezTo>
                  <a:pt x="10" y="78"/>
                  <a:pt x="10" y="78"/>
                  <a:pt x="10" y="78"/>
                </a:cubicBezTo>
                <a:cubicBezTo>
                  <a:pt x="10" y="79"/>
                  <a:pt x="10" y="79"/>
                  <a:pt x="10" y="79"/>
                </a:cubicBezTo>
                <a:cubicBezTo>
                  <a:pt x="9" y="79"/>
                  <a:pt x="9" y="79"/>
                  <a:pt x="9" y="79"/>
                </a:cubicBezTo>
                <a:cubicBezTo>
                  <a:pt x="8" y="78"/>
                  <a:pt x="8" y="78"/>
                  <a:pt x="8" y="78"/>
                </a:cubicBezTo>
                <a:cubicBezTo>
                  <a:pt x="8" y="77"/>
                  <a:pt x="8" y="77"/>
                  <a:pt x="8" y="77"/>
                </a:cubicBezTo>
                <a:close/>
                <a:moveTo>
                  <a:pt x="21" y="110"/>
                </a:moveTo>
                <a:cubicBezTo>
                  <a:pt x="21" y="111"/>
                  <a:pt x="21" y="111"/>
                  <a:pt x="21" y="111"/>
                </a:cubicBezTo>
                <a:cubicBezTo>
                  <a:pt x="21" y="112"/>
                  <a:pt x="21" y="112"/>
                  <a:pt x="21" y="112"/>
                </a:cubicBezTo>
                <a:cubicBezTo>
                  <a:pt x="20" y="111"/>
                  <a:pt x="20" y="111"/>
                  <a:pt x="20" y="111"/>
                </a:cubicBezTo>
                <a:cubicBezTo>
                  <a:pt x="21" y="111"/>
                  <a:pt x="21" y="111"/>
                  <a:pt x="21" y="111"/>
                </a:cubicBezTo>
                <a:cubicBezTo>
                  <a:pt x="21" y="110"/>
                  <a:pt x="21" y="110"/>
                  <a:pt x="21" y="110"/>
                </a:cubicBezTo>
                <a:close/>
                <a:moveTo>
                  <a:pt x="20" y="109"/>
                </a:moveTo>
                <a:cubicBezTo>
                  <a:pt x="20" y="109"/>
                  <a:pt x="20" y="110"/>
                  <a:pt x="20" y="110"/>
                </a:cubicBezTo>
                <a:cubicBezTo>
                  <a:pt x="19" y="110"/>
                  <a:pt x="19" y="110"/>
                  <a:pt x="19" y="110"/>
                </a:cubicBezTo>
                <a:cubicBezTo>
                  <a:pt x="20" y="109"/>
                  <a:pt x="20" y="109"/>
                  <a:pt x="20" y="109"/>
                </a:cubicBezTo>
                <a:close/>
                <a:moveTo>
                  <a:pt x="17" y="108"/>
                </a:moveTo>
                <a:cubicBezTo>
                  <a:pt x="19" y="107"/>
                  <a:pt x="19" y="107"/>
                  <a:pt x="19" y="107"/>
                </a:cubicBezTo>
                <a:cubicBezTo>
                  <a:pt x="19" y="108"/>
                  <a:pt x="19" y="108"/>
                  <a:pt x="19" y="108"/>
                </a:cubicBezTo>
                <a:cubicBezTo>
                  <a:pt x="18" y="109"/>
                  <a:pt x="18" y="109"/>
                  <a:pt x="18" y="109"/>
                </a:cubicBezTo>
                <a:cubicBezTo>
                  <a:pt x="17" y="108"/>
                  <a:pt x="17" y="108"/>
                  <a:pt x="17" y="108"/>
                </a:cubicBezTo>
                <a:cubicBezTo>
                  <a:pt x="17" y="108"/>
                  <a:pt x="17" y="108"/>
                  <a:pt x="17" y="108"/>
                </a:cubicBezTo>
                <a:close/>
                <a:moveTo>
                  <a:pt x="14" y="106"/>
                </a:moveTo>
                <a:cubicBezTo>
                  <a:pt x="16" y="107"/>
                  <a:pt x="16" y="107"/>
                  <a:pt x="16" y="107"/>
                </a:cubicBezTo>
                <a:cubicBezTo>
                  <a:pt x="15" y="107"/>
                  <a:pt x="15" y="107"/>
                  <a:pt x="15" y="107"/>
                </a:cubicBezTo>
                <a:cubicBezTo>
                  <a:pt x="14" y="107"/>
                  <a:pt x="14" y="107"/>
                  <a:pt x="14" y="107"/>
                </a:cubicBezTo>
                <a:cubicBezTo>
                  <a:pt x="14" y="106"/>
                  <a:pt x="14" y="106"/>
                  <a:pt x="14" y="106"/>
                </a:cubicBezTo>
                <a:close/>
                <a:moveTo>
                  <a:pt x="12" y="106"/>
                </a:moveTo>
                <a:cubicBezTo>
                  <a:pt x="13" y="106"/>
                  <a:pt x="13" y="106"/>
                  <a:pt x="13" y="106"/>
                </a:cubicBezTo>
                <a:cubicBezTo>
                  <a:pt x="12" y="107"/>
                  <a:pt x="12" y="107"/>
                  <a:pt x="12" y="107"/>
                </a:cubicBezTo>
                <a:cubicBezTo>
                  <a:pt x="12" y="107"/>
                  <a:pt x="12" y="106"/>
                  <a:pt x="12" y="106"/>
                </a:cubicBezTo>
                <a:close/>
                <a:moveTo>
                  <a:pt x="3" y="108"/>
                </a:moveTo>
                <a:cubicBezTo>
                  <a:pt x="5" y="108"/>
                  <a:pt x="5" y="108"/>
                  <a:pt x="5" y="108"/>
                </a:cubicBezTo>
                <a:cubicBezTo>
                  <a:pt x="5" y="108"/>
                  <a:pt x="5" y="108"/>
                  <a:pt x="5" y="108"/>
                </a:cubicBezTo>
                <a:cubicBezTo>
                  <a:pt x="4" y="107"/>
                  <a:pt x="4" y="107"/>
                  <a:pt x="4" y="107"/>
                </a:cubicBezTo>
                <a:cubicBezTo>
                  <a:pt x="4" y="106"/>
                  <a:pt x="4" y="106"/>
                  <a:pt x="4" y="106"/>
                </a:cubicBezTo>
                <a:cubicBezTo>
                  <a:pt x="5" y="106"/>
                  <a:pt x="5" y="106"/>
                  <a:pt x="5" y="106"/>
                </a:cubicBezTo>
                <a:cubicBezTo>
                  <a:pt x="7" y="107"/>
                  <a:pt x="7" y="107"/>
                  <a:pt x="7" y="107"/>
                </a:cubicBezTo>
                <a:cubicBezTo>
                  <a:pt x="7" y="108"/>
                  <a:pt x="7" y="108"/>
                  <a:pt x="7" y="108"/>
                </a:cubicBezTo>
                <a:cubicBezTo>
                  <a:pt x="6" y="108"/>
                  <a:pt x="6" y="108"/>
                  <a:pt x="6" y="108"/>
                </a:cubicBezTo>
                <a:cubicBezTo>
                  <a:pt x="6" y="109"/>
                  <a:pt x="6" y="109"/>
                  <a:pt x="6" y="109"/>
                </a:cubicBezTo>
                <a:cubicBezTo>
                  <a:pt x="6" y="110"/>
                  <a:pt x="6" y="110"/>
                  <a:pt x="6" y="110"/>
                </a:cubicBezTo>
                <a:cubicBezTo>
                  <a:pt x="7" y="110"/>
                  <a:pt x="7" y="110"/>
                  <a:pt x="7" y="110"/>
                </a:cubicBezTo>
                <a:cubicBezTo>
                  <a:pt x="7" y="111"/>
                  <a:pt x="7" y="111"/>
                  <a:pt x="7" y="111"/>
                </a:cubicBezTo>
                <a:cubicBezTo>
                  <a:pt x="7" y="111"/>
                  <a:pt x="7" y="111"/>
                  <a:pt x="7" y="111"/>
                </a:cubicBezTo>
                <a:cubicBezTo>
                  <a:pt x="5" y="110"/>
                  <a:pt x="5" y="110"/>
                  <a:pt x="5" y="110"/>
                </a:cubicBezTo>
                <a:cubicBezTo>
                  <a:pt x="4" y="110"/>
                  <a:pt x="4" y="110"/>
                  <a:pt x="4" y="110"/>
                </a:cubicBezTo>
                <a:cubicBezTo>
                  <a:pt x="4" y="109"/>
                  <a:pt x="4" y="109"/>
                  <a:pt x="4" y="109"/>
                </a:cubicBezTo>
                <a:cubicBezTo>
                  <a:pt x="3" y="109"/>
                  <a:pt x="3" y="109"/>
                  <a:pt x="3" y="109"/>
                </a:cubicBezTo>
                <a:lnTo>
                  <a:pt x="3" y="108"/>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8" name="Freeform 46">
            <a:extLst>
              <a:ext uri="{FF2B5EF4-FFF2-40B4-BE49-F238E27FC236}">
                <a16:creationId xmlns:a16="http://schemas.microsoft.com/office/drawing/2014/main" id="{BBD057DD-1111-FBC9-8E85-930CB025E0DE}"/>
              </a:ext>
            </a:extLst>
          </p:cNvPr>
          <p:cNvSpPr>
            <a:spLocks noEditPoints="1"/>
          </p:cNvSpPr>
          <p:nvPr userDrawn="1"/>
        </p:nvSpPr>
        <p:spPr bwMode="auto">
          <a:xfrm>
            <a:off x="14321493" y="5076108"/>
            <a:ext cx="336528" cy="228600"/>
          </a:xfrm>
          <a:custGeom>
            <a:avLst/>
            <a:gdLst>
              <a:gd name="T0" fmla="*/ 103 w 106"/>
              <a:gd name="T1" fmla="*/ 66 h 72"/>
              <a:gd name="T2" fmla="*/ 106 w 106"/>
              <a:gd name="T3" fmla="*/ 59 h 72"/>
              <a:gd name="T4" fmla="*/ 96 w 106"/>
              <a:gd name="T5" fmla="*/ 41 h 72"/>
              <a:gd name="T6" fmla="*/ 100 w 106"/>
              <a:gd name="T7" fmla="*/ 25 h 72"/>
              <a:gd name="T8" fmla="*/ 103 w 106"/>
              <a:gd name="T9" fmla="*/ 12 h 72"/>
              <a:gd name="T10" fmla="*/ 106 w 106"/>
              <a:gd name="T11" fmla="*/ 12 h 72"/>
              <a:gd name="T12" fmla="*/ 103 w 106"/>
              <a:gd name="T13" fmla="*/ 9 h 72"/>
              <a:gd name="T14" fmla="*/ 81 w 106"/>
              <a:gd name="T15" fmla="*/ 6 h 72"/>
              <a:gd name="T16" fmla="*/ 68 w 106"/>
              <a:gd name="T17" fmla="*/ 3 h 72"/>
              <a:gd name="T18" fmla="*/ 62 w 106"/>
              <a:gd name="T19" fmla="*/ 0 h 72"/>
              <a:gd name="T20" fmla="*/ 59 w 106"/>
              <a:gd name="T21" fmla="*/ 3 h 72"/>
              <a:gd name="T22" fmla="*/ 59 w 106"/>
              <a:gd name="T23" fmla="*/ 6 h 72"/>
              <a:gd name="T24" fmla="*/ 56 w 106"/>
              <a:gd name="T25" fmla="*/ 9 h 72"/>
              <a:gd name="T26" fmla="*/ 46 w 106"/>
              <a:gd name="T27" fmla="*/ 6 h 72"/>
              <a:gd name="T28" fmla="*/ 43 w 106"/>
              <a:gd name="T29" fmla="*/ 9 h 72"/>
              <a:gd name="T30" fmla="*/ 37 w 106"/>
              <a:gd name="T31" fmla="*/ 16 h 72"/>
              <a:gd name="T32" fmla="*/ 28 w 106"/>
              <a:gd name="T33" fmla="*/ 16 h 72"/>
              <a:gd name="T34" fmla="*/ 28 w 106"/>
              <a:gd name="T35" fmla="*/ 31 h 72"/>
              <a:gd name="T36" fmla="*/ 31 w 106"/>
              <a:gd name="T37" fmla="*/ 31 h 72"/>
              <a:gd name="T38" fmla="*/ 34 w 106"/>
              <a:gd name="T39" fmla="*/ 34 h 72"/>
              <a:gd name="T40" fmla="*/ 31 w 106"/>
              <a:gd name="T41" fmla="*/ 41 h 72"/>
              <a:gd name="T42" fmla="*/ 40 w 106"/>
              <a:gd name="T43" fmla="*/ 50 h 72"/>
              <a:gd name="T44" fmla="*/ 40 w 106"/>
              <a:gd name="T45" fmla="*/ 47 h 72"/>
              <a:gd name="T46" fmla="*/ 46 w 106"/>
              <a:gd name="T47" fmla="*/ 47 h 72"/>
              <a:gd name="T48" fmla="*/ 43 w 106"/>
              <a:gd name="T49" fmla="*/ 59 h 72"/>
              <a:gd name="T50" fmla="*/ 53 w 106"/>
              <a:gd name="T51" fmla="*/ 53 h 72"/>
              <a:gd name="T52" fmla="*/ 62 w 106"/>
              <a:gd name="T53" fmla="*/ 56 h 72"/>
              <a:gd name="T54" fmla="*/ 65 w 106"/>
              <a:gd name="T55" fmla="*/ 53 h 72"/>
              <a:gd name="T56" fmla="*/ 68 w 106"/>
              <a:gd name="T57" fmla="*/ 59 h 72"/>
              <a:gd name="T58" fmla="*/ 78 w 106"/>
              <a:gd name="T59" fmla="*/ 62 h 72"/>
              <a:gd name="T60" fmla="*/ 84 w 106"/>
              <a:gd name="T61" fmla="*/ 69 h 72"/>
              <a:gd name="T62" fmla="*/ 93 w 106"/>
              <a:gd name="T63" fmla="*/ 69 h 72"/>
              <a:gd name="T64" fmla="*/ 100 w 106"/>
              <a:gd name="T65" fmla="*/ 72 h 72"/>
              <a:gd name="T66" fmla="*/ 25 w 106"/>
              <a:gd name="T67" fmla="*/ 25 h 72"/>
              <a:gd name="T68" fmla="*/ 21 w 106"/>
              <a:gd name="T69" fmla="*/ 28 h 72"/>
              <a:gd name="T70" fmla="*/ 21 w 106"/>
              <a:gd name="T71" fmla="*/ 25 h 72"/>
              <a:gd name="T72" fmla="*/ 12 w 106"/>
              <a:gd name="T73" fmla="*/ 31 h 72"/>
              <a:gd name="T74" fmla="*/ 3 w 106"/>
              <a:gd name="T75" fmla="*/ 31 h 72"/>
              <a:gd name="T76" fmla="*/ 9 w 106"/>
              <a:gd name="T77" fmla="*/ 28 h 72"/>
              <a:gd name="T78" fmla="*/ 12 w 106"/>
              <a:gd name="T79" fmla="*/ 25 h 72"/>
              <a:gd name="T80" fmla="*/ 15 w 106"/>
              <a:gd name="T81" fmla="*/ 25 h 72"/>
              <a:gd name="T82" fmla="*/ 21 w 106"/>
              <a:gd name="T83" fmla="*/ 31 h 72"/>
              <a:gd name="T84" fmla="*/ 15 w 106"/>
              <a:gd name="T85" fmla="*/ 31 h 72"/>
              <a:gd name="T86" fmla="*/ 12 w 106"/>
              <a:gd name="T87" fmla="*/ 34 h 72"/>
              <a:gd name="T88" fmla="*/ 21 w 106"/>
              <a:gd name="T89" fmla="*/ 34 h 72"/>
              <a:gd name="T90" fmla="*/ 28 w 106"/>
              <a:gd name="T91" fmla="*/ 41 h 72"/>
              <a:gd name="T92" fmla="*/ 21 w 106"/>
              <a:gd name="T93" fmla="*/ 37 h 72"/>
              <a:gd name="T94" fmla="*/ 3 w 106"/>
              <a:gd name="T95" fmla="*/ 59 h 72"/>
              <a:gd name="T96" fmla="*/ 9 w 106"/>
              <a:gd name="T97" fmla="*/ 56 h 72"/>
              <a:gd name="T98" fmla="*/ 9 w 106"/>
              <a:gd name="T99" fmla="*/ 50 h 72"/>
              <a:gd name="T100" fmla="*/ 18 w 106"/>
              <a:gd name="T101" fmla="*/ 47 h 72"/>
              <a:gd name="T102" fmla="*/ 21 w 106"/>
              <a:gd name="T103" fmla="*/ 44 h 72"/>
              <a:gd name="T104" fmla="*/ 21 w 106"/>
              <a:gd name="T105" fmla="*/ 41 h 72"/>
              <a:gd name="T106" fmla="*/ 18 w 106"/>
              <a:gd name="T107" fmla="*/ 37 h 72"/>
              <a:gd name="T108" fmla="*/ 9 w 106"/>
              <a:gd name="T109" fmla="*/ 37 h 72"/>
              <a:gd name="T110" fmla="*/ 6 w 106"/>
              <a:gd name="T111" fmla="*/ 41 h 72"/>
              <a:gd name="T112" fmla="*/ 6 w 106"/>
              <a:gd name="T113" fmla="*/ 41 h 72"/>
              <a:gd name="T114" fmla="*/ 3 w 106"/>
              <a:gd name="T115" fmla="*/ 41 h 72"/>
              <a:gd name="T116" fmla="*/ 3 w 106"/>
              <a:gd name="T117" fmla="*/ 44 h 72"/>
              <a:gd name="T118" fmla="*/ 0 w 106"/>
              <a:gd name="T119" fmla="*/ 47 h 72"/>
              <a:gd name="T120" fmla="*/ 3 w 106"/>
              <a:gd name="T121" fmla="*/ 50 h 72"/>
              <a:gd name="T122" fmla="*/ 6 w 106"/>
              <a:gd name="T123" fmla="*/ 56 h 72"/>
              <a:gd name="T124" fmla="*/ 3 w 106"/>
              <a:gd name="T125" fmla="*/ 5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 h="72">
                <a:moveTo>
                  <a:pt x="100" y="72"/>
                </a:moveTo>
                <a:lnTo>
                  <a:pt x="103" y="66"/>
                </a:lnTo>
                <a:lnTo>
                  <a:pt x="103" y="62"/>
                </a:lnTo>
                <a:lnTo>
                  <a:pt x="106" y="59"/>
                </a:lnTo>
                <a:lnTo>
                  <a:pt x="106" y="56"/>
                </a:lnTo>
                <a:lnTo>
                  <a:pt x="96" y="41"/>
                </a:lnTo>
                <a:lnTo>
                  <a:pt x="96" y="25"/>
                </a:lnTo>
                <a:lnTo>
                  <a:pt x="100" y="25"/>
                </a:lnTo>
                <a:lnTo>
                  <a:pt x="100" y="19"/>
                </a:lnTo>
                <a:lnTo>
                  <a:pt x="103" y="12"/>
                </a:lnTo>
                <a:lnTo>
                  <a:pt x="106" y="12"/>
                </a:lnTo>
                <a:lnTo>
                  <a:pt x="106" y="12"/>
                </a:lnTo>
                <a:lnTo>
                  <a:pt x="103" y="9"/>
                </a:lnTo>
                <a:lnTo>
                  <a:pt x="103" y="9"/>
                </a:lnTo>
                <a:lnTo>
                  <a:pt x="87" y="9"/>
                </a:lnTo>
                <a:lnTo>
                  <a:pt x="81" y="6"/>
                </a:lnTo>
                <a:lnTo>
                  <a:pt x="71" y="6"/>
                </a:lnTo>
                <a:lnTo>
                  <a:pt x="68" y="3"/>
                </a:lnTo>
                <a:lnTo>
                  <a:pt x="65" y="6"/>
                </a:lnTo>
                <a:lnTo>
                  <a:pt x="62" y="0"/>
                </a:lnTo>
                <a:lnTo>
                  <a:pt x="62" y="3"/>
                </a:lnTo>
                <a:lnTo>
                  <a:pt x="59" y="3"/>
                </a:lnTo>
                <a:lnTo>
                  <a:pt x="59" y="6"/>
                </a:lnTo>
                <a:lnTo>
                  <a:pt x="59" y="6"/>
                </a:lnTo>
                <a:lnTo>
                  <a:pt x="56" y="9"/>
                </a:lnTo>
                <a:lnTo>
                  <a:pt x="56" y="9"/>
                </a:lnTo>
                <a:lnTo>
                  <a:pt x="46" y="9"/>
                </a:lnTo>
                <a:lnTo>
                  <a:pt x="46" y="6"/>
                </a:lnTo>
                <a:lnTo>
                  <a:pt x="46" y="9"/>
                </a:lnTo>
                <a:lnTo>
                  <a:pt x="43" y="9"/>
                </a:lnTo>
                <a:lnTo>
                  <a:pt x="37" y="9"/>
                </a:lnTo>
                <a:lnTo>
                  <a:pt x="37" y="16"/>
                </a:lnTo>
                <a:lnTo>
                  <a:pt x="34" y="12"/>
                </a:lnTo>
                <a:lnTo>
                  <a:pt x="28" y="16"/>
                </a:lnTo>
                <a:lnTo>
                  <a:pt x="28" y="19"/>
                </a:lnTo>
                <a:lnTo>
                  <a:pt x="28" y="31"/>
                </a:lnTo>
                <a:lnTo>
                  <a:pt x="31" y="34"/>
                </a:lnTo>
                <a:lnTo>
                  <a:pt x="31" y="31"/>
                </a:lnTo>
                <a:lnTo>
                  <a:pt x="34" y="31"/>
                </a:lnTo>
                <a:lnTo>
                  <a:pt x="34" y="34"/>
                </a:lnTo>
                <a:lnTo>
                  <a:pt x="31" y="34"/>
                </a:lnTo>
                <a:lnTo>
                  <a:pt x="31" y="41"/>
                </a:lnTo>
                <a:lnTo>
                  <a:pt x="34" y="44"/>
                </a:lnTo>
                <a:lnTo>
                  <a:pt x="40" y="50"/>
                </a:lnTo>
                <a:lnTo>
                  <a:pt x="40" y="50"/>
                </a:lnTo>
                <a:lnTo>
                  <a:pt x="40" y="47"/>
                </a:lnTo>
                <a:lnTo>
                  <a:pt x="43" y="44"/>
                </a:lnTo>
                <a:lnTo>
                  <a:pt x="46" y="47"/>
                </a:lnTo>
                <a:lnTo>
                  <a:pt x="43" y="56"/>
                </a:lnTo>
                <a:lnTo>
                  <a:pt x="43" y="59"/>
                </a:lnTo>
                <a:lnTo>
                  <a:pt x="46" y="59"/>
                </a:lnTo>
                <a:lnTo>
                  <a:pt x="53" y="53"/>
                </a:lnTo>
                <a:lnTo>
                  <a:pt x="56" y="53"/>
                </a:lnTo>
                <a:lnTo>
                  <a:pt x="62" y="56"/>
                </a:lnTo>
                <a:lnTo>
                  <a:pt x="65" y="56"/>
                </a:lnTo>
                <a:lnTo>
                  <a:pt x="65" y="53"/>
                </a:lnTo>
                <a:lnTo>
                  <a:pt x="68" y="56"/>
                </a:lnTo>
                <a:lnTo>
                  <a:pt x="68" y="59"/>
                </a:lnTo>
                <a:lnTo>
                  <a:pt x="71" y="59"/>
                </a:lnTo>
                <a:lnTo>
                  <a:pt x="78" y="62"/>
                </a:lnTo>
                <a:lnTo>
                  <a:pt x="81" y="66"/>
                </a:lnTo>
                <a:lnTo>
                  <a:pt x="84" y="69"/>
                </a:lnTo>
                <a:lnTo>
                  <a:pt x="87" y="72"/>
                </a:lnTo>
                <a:lnTo>
                  <a:pt x="93" y="69"/>
                </a:lnTo>
                <a:lnTo>
                  <a:pt x="100" y="72"/>
                </a:lnTo>
                <a:lnTo>
                  <a:pt x="100" y="72"/>
                </a:lnTo>
                <a:close/>
                <a:moveTo>
                  <a:pt x="21" y="25"/>
                </a:moveTo>
                <a:lnTo>
                  <a:pt x="25" y="25"/>
                </a:lnTo>
                <a:lnTo>
                  <a:pt x="25" y="28"/>
                </a:lnTo>
                <a:lnTo>
                  <a:pt x="21" y="28"/>
                </a:lnTo>
                <a:lnTo>
                  <a:pt x="21" y="25"/>
                </a:lnTo>
                <a:lnTo>
                  <a:pt x="21" y="25"/>
                </a:lnTo>
                <a:close/>
                <a:moveTo>
                  <a:pt x="12" y="34"/>
                </a:moveTo>
                <a:lnTo>
                  <a:pt x="12" y="31"/>
                </a:lnTo>
                <a:lnTo>
                  <a:pt x="9" y="31"/>
                </a:lnTo>
                <a:lnTo>
                  <a:pt x="3" y="31"/>
                </a:lnTo>
                <a:lnTo>
                  <a:pt x="3" y="31"/>
                </a:lnTo>
                <a:lnTo>
                  <a:pt x="9" y="28"/>
                </a:lnTo>
                <a:lnTo>
                  <a:pt x="12" y="25"/>
                </a:lnTo>
                <a:lnTo>
                  <a:pt x="12" y="25"/>
                </a:lnTo>
                <a:lnTo>
                  <a:pt x="12" y="25"/>
                </a:lnTo>
                <a:lnTo>
                  <a:pt x="15" y="25"/>
                </a:lnTo>
                <a:lnTo>
                  <a:pt x="18" y="28"/>
                </a:lnTo>
                <a:lnTo>
                  <a:pt x="21" y="31"/>
                </a:lnTo>
                <a:lnTo>
                  <a:pt x="18" y="31"/>
                </a:lnTo>
                <a:lnTo>
                  <a:pt x="15" y="31"/>
                </a:lnTo>
                <a:lnTo>
                  <a:pt x="12" y="34"/>
                </a:lnTo>
                <a:lnTo>
                  <a:pt x="12" y="34"/>
                </a:lnTo>
                <a:close/>
                <a:moveTo>
                  <a:pt x="21" y="37"/>
                </a:moveTo>
                <a:lnTo>
                  <a:pt x="21" y="34"/>
                </a:lnTo>
                <a:lnTo>
                  <a:pt x="25" y="34"/>
                </a:lnTo>
                <a:lnTo>
                  <a:pt x="28" y="41"/>
                </a:lnTo>
                <a:lnTo>
                  <a:pt x="25" y="41"/>
                </a:lnTo>
                <a:lnTo>
                  <a:pt x="21" y="37"/>
                </a:lnTo>
                <a:lnTo>
                  <a:pt x="21" y="37"/>
                </a:lnTo>
                <a:close/>
                <a:moveTo>
                  <a:pt x="3" y="59"/>
                </a:moveTo>
                <a:lnTo>
                  <a:pt x="6" y="59"/>
                </a:lnTo>
                <a:lnTo>
                  <a:pt x="9" y="56"/>
                </a:lnTo>
                <a:lnTo>
                  <a:pt x="9" y="56"/>
                </a:lnTo>
                <a:lnTo>
                  <a:pt x="9" y="50"/>
                </a:lnTo>
                <a:lnTo>
                  <a:pt x="15" y="50"/>
                </a:lnTo>
                <a:lnTo>
                  <a:pt x="18" y="47"/>
                </a:lnTo>
                <a:lnTo>
                  <a:pt x="21" y="44"/>
                </a:lnTo>
                <a:lnTo>
                  <a:pt x="21" y="44"/>
                </a:lnTo>
                <a:lnTo>
                  <a:pt x="25" y="44"/>
                </a:lnTo>
                <a:lnTo>
                  <a:pt x="21" y="41"/>
                </a:lnTo>
                <a:lnTo>
                  <a:pt x="21" y="41"/>
                </a:lnTo>
                <a:lnTo>
                  <a:pt x="18" y="37"/>
                </a:lnTo>
                <a:lnTo>
                  <a:pt x="12" y="37"/>
                </a:lnTo>
                <a:lnTo>
                  <a:pt x="9" y="37"/>
                </a:lnTo>
                <a:lnTo>
                  <a:pt x="9" y="41"/>
                </a:lnTo>
                <a:lnTo>
                  <a:pt x="6" y="41"/>
                </a:lnTo>
                <a:lnTo>
                  <a:pt x="6" y="41"/>
                </a:lnTo>
                <a:lnTo>
                  <a:pt x="6" y="41"/>
                </a:lnTo>
                <a:lnTo>
                  <a:pt x="3" y="41"/>
                </a:lnTo>
                <a:lnTo>
                  <a:pt x="3" y="41"/>
                </a:lnTo>
                <a:lnTo>
                  <a:pt x="0" y="41"/>
                </a:lnTo>
                <a:lnTo>
                  <a:pt x="3" y="44"/>
                </a:lnTo>
                <a:lnTo>
                  <a:pt x="3" y="44"/>
                </a:lnTo>
                <a:lnTo>
                  <a:pt x="0" y="47"/>
                </a:lnTo>
                <a:lnTo>
                  <a:pt x="0" y="47"/>
                </a:lnTo>
                <a:lnTo>
                  <a:pt x="3" y="50"/>
                </a:lnTo>
                <a:lnTo>
                  <a:pt x="6" y="53"/>
                </a:lnTo>
                <a:lnTo>
                  <a:pt x="6" y="56"/>
                </a:lnTo>
                <a:lnTo>
                  <a:pt x="6" y="56"/>
                </a:lnTo>
                <a:lnTo>
                  <a:pt x="3" y="59"/>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49" name="Freeform 47">
            <a:extLst>
              <a:ext uri="{FF2B5EF4-FFF2-40B4-BE49-F238E27FC236}">
                <a16:creationId xmlns:a16="http://schemas.microsoft.com/office/drawing/2014/main" id="{E31A3B04-C675-7E5F-6949-1BCE5871EB0F}"/>
              </a:ext>
            </a:extLst>
          </p:cNvPr>
          <p:cNvSpPr>
            <a:spLocks/>
          </p:cNvSpPr>
          <p:nvPr userDrawn="1"/>
        </p:nvSpPr>
        <p:spPr bwMode="auto">
          <a:xfrm>
            <a:off x="14289743" y="5244383"/>
            <a:ext cx="396852" cy="219078"/>
          </a:xfrm>
          <a:custGeom>
            <a:avLst/>
            <a:gdLst>
              <a:gd name="T0" fmla="*/ 125 w 125"/>
              <a:gd name="T1" fmla="*/ 47 h 69"/>
              <a:gd name="T2" fmla="*/ 119 w 125"/>
              <a:gd name="T3" fmla="*/ 38 h 69"/>
              <a:gd name="T4" fmla="*/ 116 w 125"/>
              <a:gd name="T5" fmla="*/ 31 h 69"/>
              <a:gd name="T6" fmla="*/ 116 w 125"/>
              <a:gd name="T7" fmla="*/ 25 h 69"/>
              <a:gd name="T8" fmla="*/ 113 w 125"/>
              <a:gd name="T9" fmla="*/ 22 h 69"/>
              <a:gd name="T10" fmla="*/ 103 w 125"/>
              <a:gd name="T11" fmla="*/ 16 h 69"/>
              <a:gd name="T12" fmla="*/ 94 w 125"/>
              <a:gd name="T13" fmla="*/ 16 h 69"/>
              <a:gd name="T14" fmla="*/ 88 w 125"/>
              <a:gd name="T15" fmla="*/ 9 h 69"/>
              <a:gd name="T16" fmla="*/ 78 w 125"/>
              <a:gd name="T17" fmla="*/ 6 h 69"/>
              <a:gd name="T18" fmla="*/ 75 w 125"/>
              <a:gd name="T19" fmla="*/ 0 h 69"/>
              <a:gd name="T20" fmla="*/ 72 w 125"/>
              <a:gd name="T21" fmla="*/ 3 h 69"/>
              <a:gd name="T22" fmla="*/ 63 w 125"/>
              <a:gd name="T23" fmla="*/ 0 h 69"/>
              <a:gd name="T24" fmla="*/ 53 w 125"/>
              <a:gd name="T25" fmla="*/ 6 h 69"/>
              <a:gd name="T26" fmla="*/ 56 w 125"/>
              <a:gd name="T27" fmla="*/ 19 h 69"/>
              <a:gd name="T28" fmla="*/ 47 w 125"/>
              <a:gd name="T29" fmla="*/ 31 h 69"/>
              <a:gd name="T30" fmla="*/ 38 w 125"/>
              <a:gd name="T31" fmla="*/ 28 h 69"/>
              <a:gd name="T32" fmla="*/ 28 w 125"/>
              <a:gd name="T33" fmla="*/ 16 h 69"/>
              <a:gd name="T34" fmla="*/ 25 w 125"/>
              <a:gd name="T35" fmla="*/ 9 h 69"/>
              <a:gd name="T36" fmla="*/ 19 w 125"/>
              <a:gd name="T37" fmla="*/ 16 h 69"/>
              <a:gd name="T38" fmla="*/ 13 w 125"/>
              <a:gd name="T39" fmla="*/ 16 h 69"/>
              <a:gd name="T40" fmla="*/ 10 w 125"/>
              <a:gd name="T41" fmla="*/ 25 h 69"/>
              <a:gd name="T42" fmla="*/ 6 w 125"/>
              <a:gd name="T43" fmla="*/ 31 h 69"/>
              <a:gd name="T44" fmla="*/ 3 w 125"/>
              <a:gd name="T45" fmla="*/ 41 h 69"/>
              <a:gd name="T46" fmla="*/ 0 w 125"/>
              <a:gd name="T47" fmla="*/ 47 h 69"/>
              <a:gd name="T48" fmla="*/ 3 w 125"/>
              <a:gd name="T49" fmla="*/ 60 h 69"/>
              <a:gd name="T50" fmla="*/ 6 w 125"/>
              <a:gd name="T51" fmla="*/ 60 h 69"/>
              <a:gd name="T52" fmla="*/ 16 w 125"/>
              <a:gd name="T53" fmla="*/ 50 h 69"/>
              <a:gd name="T54" fmla="*/ 31 w 125"/>
              <a:gd name="T55" fmla="*/ 47 h 69"/>
              <a:gd name="T56" fmla="*/ 38 w 125"/>
              <a:gd name="T57" fmla="*/ 50 h 69"/>
              <a:gd name="T58" fmla="*/ 44 w 125"/>
              <a:gd name="T59" fmla="*/ 47 h 69"/>
              <a:gd name="T60" fmla="*/ 50 w 125"/>
              <a:gd name="T61" fmla="*/ 50 h 69"/>
              <a:gd name="T62" fmla="*/ 60 w 125"/>
              <a:gd name="T63" fmla="*/ 53 h 69"/>
              <a:gd name="T64" fmla="*/ 66 w 125"/>
              <a:gd name="T65" fmla="*/ 50 h 69"/>
              <a:gd name="T66" fmla="*/ 81 w 125"/>
              <a:gd name="T67" fmla="*/ 53 h 69"/>
              <a:gd name="T68" fmla="*/ 91 w 125"/>
              <a:gd name="T69" fmla="*/ 60 h 69"/>
              <a:gd name="T70" fmla="*/ 100 w 125"/>
              <a:gd name="T71" fmla="*/ 66 h 69"/>
              <a:gd name="T72" fmla="*/ 100 w 125"/>
              <a:gd name="T73" fmla="*/ 69 h 69"/>
              <a:gd name="T74" fmla="*/ 116 w 125"/>
              <a:gd name="T75" fmla="*/ 63 h 69"/>
              <a:gd name="T76" fmla="*/ 119 w 125"/>
              <a:gd name="T77" fmla="*/ 56 h 69"/>
              <a:gd name="T78" fmla="*/ 125 w 125"/>
              <a:gd name="T79" fmla="*/ 5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5" h="69">
                <a:moveTo>
                  <a:pt x="125" y="53"/>
                </a:moveTo>
                <a:lnTo>
                  <a:pt x="125" y="47"/>
                </a:lnTo>
                <a:lnTo>
                  <a:pt x="122" y="44"/>
                </a:lnTo>
                <a:lnTo>
                  <a:pt x="119" y="38"/>
                </a:lnTo>
                <a:lnTo>
                  <a:pt x="119" y="34"/>
                </a:lnTo>
                <a:lnTo>
                  <a:pt x="116" y="31"/>
                </a:lnTo>
                <a:lnTo>
                  <a:pt x="116" y="28"/>
                </a:lnTo>
                <a:lnTo>
                  <a:pt x="116" y="25"/>
                </a:lnTo>
                <a:lnTo>
                  <a:pt x="113" y="25"/>
                </a:lnTo>
                <a:lnTo>
                  <a:pt x="113" y="22"/>
                </a:lnTo>
                <a:lnTo>
                  <a:pt x="113" y="19"/>
                </a:lnTo>
                <a:lnTo>
                  <a:pt x="103" y="16"/>
                </a:lnTo>
                <a:lnTo>
                  <a:pt x="97" y="19"/>
                </a:lnTo>
                <a:lnTo>
                  <a:pt x="94" y="16"/>
                </a:lnTo>
                <a:lnTo>
                  <a:pt x="91" y="13"/>
                </a:lnTo>
                <a:lnTo>
                  <a:pt x="88" y="9"/>
                </a:lnTo>
                <a:lnTo>
                  <a:pt x="81" y="6"/>
                </a:lnTo>
                <a:lnTo>
                  <a:pt x="78" y="6"/>
                </a:lnTo>
                <a:lnTo>
                  <a:pt x="78" y="3"/>
                </a:lnTo>
                <a:lnTo>
                  <a:pt x="75" y="0"/>
                </a:lnTo>
                <a:lnTo>
                  <a:pt x="75" y="3"/>
                </a:lnTo>
                <a:lnTo>
                  <a:pt x="72" y="3"/>
                </a:lnTo>
                <a:lnTo>
                  <a:pt x="66" y="0"/>
                </a:lnTo>
                <a:lnTo>
                  <a:pt x="63" y="0"/>
                </a:lnTo>
                <a:lnTo>
                  <a:pt x="56" y="6"/>
                </a:lnTo>
                <a:lnTo>
                  <a:pt x="53" y="6"/>
                </a:lnTo>
                <a:lnTo>
                  <a:pt x="53" y="9"/>
                </a:lnTo>
                <a:lnTo>
                  <a:pt x="56" y="19"/>
                </a:lnTo>
                <a:lnTo>
                  <a:pt x="53" y="25"/>
                </a:lnTo>
                <a:lnTo>
                  <a:pt x="47" y="31"/>
                </a:lnTo>
                <a:lnTo>
                  <a:pt x="44" y="31"/>
                </a:lnTo>
                <a:lnTo>
                  <a:pt x="38" y="28"/>
                </a:lnTo>
                <a:lnTo>
                  <a:pt x="38" y="25"/>
                </a:lnTo>
                <a:lnTo>
                  <a:pt x="28" y="16"/>
                </a:lnTo>
                <a:lnTo>
                  <a:pt x="28" y="9"/>
                </a:lnTo>
                <a:lnTo>
                  <a:pt x="25" y="9"/>
                </a:lnTo>
                <a:lnTo>
                  <a:pt x="22" y="13"/>
                </a:lnTo>
                <a:lnTo>
                  <a:pt x="19" y="16"/>
                </a:lnTo>
                <a:lnTo>
                  <a:pt x="16" y="16"/>
                </a:lnTo>
                <a:lnTo>
                  <a:pt x="13" y="16"/>
                </a:lnTo>
                <a:lnTo>
                  <a:pt x="10" y="22"/>
                </a:lnTo>
                <a:lnTo>
                  <a:pt x="10" y="25"/>
                </a:lnTo>
                <a:lnTo>
                  <a:pt x="6" y="25"/>
                </a:lnTo>
                <a:lnTo>
                  <a:pt x="6" y="31"/>
                </a:lnTo>
                <a:lnTo>
                  <a:pt x="3" y="38"/>
                </a:lnTo>
                <a:lnTo>
                  <a:pt x="3" y="41"/>
                </a:lnTo>
                <a:lnTo>
                  <a:pt x="3" y="44"/>
                </a:lnTo>
                <a:lnTo>
                  <a:pt x="0" y="47"/>
                </a:lnTo>
                <a:lnTo>
                  <a:pt x="0" y="56"/>
                </a:lnTo>
                <a:lnTo>
                  <a:pt x="3" y="60"/>
                </a:lnTo>
                <a:lnTo>
                  <a:pt x="3" y="60"/>
                </a:lnTo>
                <a:lnTo>
                  <a:pt x="6" y="60"/>
                </a:lnTo>
                <a:lnTo>
                  <a:pt x="10" y="53"/>
                </a:lnTo>
                <a:lnTo>
                  <a:pt x="16" y="50"/>
                </a:lnTo>
                <a:lnTo>
                  <a:pt x="22" y="47"/>
                </a:lnTo>
                <a:lnTo>
                  <a:pt x="31" y="47"/>
                </a:lnTo>
                <a:lnTo>
                  <a:pt x="35" y="47"/>
                </a:lnTo>
                <a:lnTo>
                  <a:pt x="38" y="50"/>
                </a:lnTo>
                <a:lnTo>
                  <a:pt x="41" y="47"/>
                </a:lnTo>
                <a:lnTo>
                  <a:pt x="44" y="47"/>
                </a:lnTo>
                <a:lnTo>
                  <a:pt x="47" y="50"/>
                </a:lnTo>
                <a:lnTo>
                  <a:pt x="50" y="50"/>
                </a:lnTo>
                <a:lnTo>
                  <a:pt x="53" y="53"/>
                </a:lnTo>
                <a:lnTo>
                  <a:pt x="60" y="53"/>
                </a:lnTo>
                <a:lnTo>
                  <a:pt x="60" y="53"/>
                </a:lnTo>
                <a:lnTo>
                  <a:pt x="66" y="50"/>
                </a:lnTo>
                <a:lnTo>
                  <a:pt x="75" y="53"/>
                </a:lnTo>
                <a:lnTo>
                  <a:pt x="81" y="53"/>
                </a:lnTo>
                <a:lnTo>
                  <a:pt x="85" y="60"/>
                </a:lnTo>
                <a:lnTo>
                  <a:pt x="91" y="60"/>
                </a:lnTo>
                <a:lnTo>
                  <a:pt x="94" y="66"/>
                </a:lnTo>
                <a:lnTo>
                  <a:pt x="100" y="66"/>
                </a:lnTo>
                <a:lnTo>
                  <a:pt x="100" y="69"/>
                </a:lnTo>
                <a:lnTo>
                  <a:pt x="100" y="69"/>
                </a:lnTo>
                <a:lnTo>
                  <a:pt x="106" y="66"/>
                </a:lnTo>
                <a:lnTo>
                  <a:pt x="116" y="63"/>
                </a:lnTo>
                <a:lnTo>
                  <a:pt x="116" y="60"/>
                </a:lnTo>
                <a:lnTo>
                  <a:pt x="119" y="56"/>
                </a:lnTo>
                <a:lnTo>
                  <a:pt x="122" y="53"/>
                </a:lnTo>
                <a:lnTo>
                  <a:pt x="125" y="53"/>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0" name="Freeform 48">
            <a:extLst>
              <a:ext uri="{FF2B5EF4-FFF2-40B4-BE49-F238E27FC236}">
                <a16:creationId xmlns:a16="http://schemas.microsoft.com/office/drawing/2014/main" id="{73478B3B-959B-2208-AE1D-39D80EC1055F}"/>
              </a:ext>
            </a:extLst>
          </p:cNvPr>
          <p:cNvSpPr>
            <a:spLocks/>
          </p:cNvSpPr>
          <p:nvPr userDrawn="1"/>
        </p:nvSpPr>
        <p:spPr bwMode="auto">
          <a:xfrm>
            <a:off x="14299267" y="5393608"/>
            <a:ext cx="307956" cy="228600"/>
          </a:xfrm>
          <a:custGeom>
            <a:avLst/>
            <a:gdLst>
              <a:gd name="T0" fmla="*/ 32 w 97"/>
              <a:gd name="T1" fmla="*/ 50 h 72"/>
              <a:gd name="T2" fmla="*/ 32 w 97"/>
              <a:gd name="T3" fmla="*/ 44 h 72"/>
              <a:gd name="T4" fmla="*/ 35 w 97"/>
              <a:gd name="T5" fmla="*/ 41 h 72"/>
              <a:gd name="T6" fmla="*/ 32 w 97"/>
              <a:gd name="T7" fmla="*/ 41 h 72"/>
              <a:gd name="T8" fmla="*/ 28 w 97"/>
              <a:gd name="T9" fmla="*/ 38 h 72"/>
              <a:gd name="T10" fmla="*/ 28 w 97"/>
              <a:gd name="T11" fmla="*/ 34 h 72"/>
              <a:gd name="T12" fmla="*/ 25 w 97"/>
              <a:gd name="T13" fmla="*/ 34 h 72"/>
              <a:gd name="T14" fmla="*/ 19 w 97"/>
              <a:gd name="T15" fmla="*/ 34 h 72"/>
              <a:gd name="T16" fmla="*/ 13 w 97"/>
              <a:gd name="T17" fmla="*/ 31 h 72"/>
              <a:gd name="T18" fmla="*/ 10 w 97"/>
              <a:gd name="T19" fmla="*/ 25 h 72"/>
              <a:gd name="T20" fmla="*/ 3 w 97"/>
              <a:gd name="T21" fmla="*/ 28 h 72"/>
              <a:gd name="T22" fmla="*/ 0 w 97"/>
              <a:gd name="T23" fmla="*/ 25 h 72"/>
              <a:gd name="T24" fmla="*/ 3 w 97"/>
              <a:gd name="T25" fmla="*/ 22 h 72"/>
              <a:gd name="T26" fmla="*/ 0 w 97"/>
              <a:gd name="T27" fmla="*/ 19 h 72"/>
              <a:gd name="T28" fmla="*/ 0 w 97"/>
              <a:gd name="T29" fmla="*/ 13 h 72"/>
              <a:gd name="T30" fmla="*/ 3 w 97"/>
              <a:gd name="T31" fmla="*/ 13 h 72"/>
              <a:gd name="T32" fmla="*/ 7 w 97"/>
              <a:gd name="T33" fmla="*/ 6 h 72"/>
              <a:gd name="T34" fmla="*/ 13 w 97"/>
              <a:gd name="T35" fmla="*/ 3 h 72"/>
              <a:gd name="T36" fmla="*/ 19 w 97"/>
              <a:gd name="T37" fmla="*/ 0 h 72"/>
              <a:gd name="T38" fmla="*/ 28 w 97"/>
              <a:gd name="T39" fmla="*/ 0 h 72"/>
              <a:gd name="T40" fmla="*/ 32 w 97"/>
              <a:gd name="T41" fmla="*/ 0 h 72"/>
              <a:gd name="T42" fmla="*/ 35 w 97"/>
              <a:gd name="T43" fmla="*/ 3 h 72"/>
              <a:gd name="T44" fmla="*/ 38 w 97"/>
              <a:gd name="T45" fmla="*/ 0 h 72"/>
              <a:gd name="T46" fmla="*/ 41 w 97"/>
              <a:gd name="T47" fmla="*/ 0 h 72"/>
              <a:gd name="T48" fmla="*/ 44 w 97"/>
              <a:gd name="T49" fmla="*/ 3 h 72"/>
              <a:gd name="T50" fmla="*/ 47 w 97"/>
              <a:gd name="T51" fmla="*/ 3 h 72"/>
              <a:gd name="T52" fmla="*/ 50 w 97"/>
              <a:gd name="T53" fmla="*/ 6 h 72"/>
              <a:gd name="T54" fmla="*/ 57 w 97"/>
              <a:gd name="T55" fmla="*/ 6 h 72"/>
              <a:gd name="T56" fmla="*/ 57 w 97"/>
              <a:gd name="T57" fmla="*/ 6 h 72"/>
              <a:gd name="T58" fmla="*/ 63 w 97"/>
              <a:gd name="T59" fmla="*/ 3 h 72"/>
              <a:gd name="T60" fmla="*/ 72 w 97"/>
              <a:gd name="T61" fmla="*/ 6 h 72"/>
              <a:gd name="T62" fmla="*/ 78 w 97"/>
              <a:gd name="T63" fmla="*/ 6 h 72"/>
              <a:gd name="T64" fmla="*/ 82 w 97"/>
              <a:gd name="T65" fmla="*/ 13 h 72"/>
              <a:gd name="T66" fmla="*/ 88 w 97"/>
              <a:gd name="T67" fmla="*/ 13 h 72"/>
              <a:gd name="T68" fmla="*/ 91 w 97"/>
              <a:gd name="T69" fmla="*/ 19 h 72"/>
              <a:gd name="T70" fmla="*/ 97 w 97"/>
              <a:gd name="T71" fmla="*/ 19 h 72"/>
              <a:gd name="T72" fmla="*/ 97 w 97"/>
              <a:gd name="T73" fmla="*/ 22 h 72"/>
              <a:gd name="T74" fmla="*/ 94 w 97"/>
              <a:gd name="T75" fmla="*/ 28 h 72"/>
              <a:gd name="T76" fmla="*/ 97 w 97"/>
              <a:gd name="T77" fmla="*/ 28 h 72"/>
              <a:gd name="T78" fmla="*/ 97 w 97"/>
              <a:gd name="T79" fmla="*/ 31 h 72"/>
              <a:gd name="T80" fmla="*/ 91 w 97"/>
              <a:gd name="T81" fmla="*/ 34 h 72"/>
              <a:gd name="T82" fmla="*/ 88 w 97"/>
              <a:gd name="T83" fmla="*/ 41 h 72"/>
              <a:gd name="T84" fmla="*/ 85 w 97"/>
              <a:gd name="T85" fmla="*/ 44 h 72"/>
              <a:gd name="T86" fmla="*/ 82 w 97"/>
              <a:gd name="T87" fmla="*/ 50 h 72"/>
              <a:gd name="T88" fmla="*/ 88 w 97"/>
              <a:gd name="T89" fmla="*/ 50 h 72"/>
              <a:gd name="T90" fmla="*/ 88 w 97"/>
              <a:gd name="T91" fmla="*/ 56 h 72"/>
              <a:gd name="T92" fmla="*/ 85 w 97"/>
              <a:gd name="T93" fmla="*/ 56 h 72"/>
              <a:gd name="T94" fmla="*/ 82 w 97"/>
              <a:gd name="T95" fmla="*/ 53 h 72"/>
              <a:gd name="T96" fmla="*/ 78 w 97"/>
              <a:gd name="T97" fmla="*/ 53 h 72"/>
              <a:gd name="T98" fmla="*/ 75 w 97"/>
              <a:gd name="T99" fmla="*/ 59 h 72"/>
              <a:gd name="T100" fmla="*/ 72 w 97"/>
              <a:gd name="T101" fmla="*/ 59 h 72"/>
              <a:gd name="T102" fmla="*/ 72 w 97"/>
              <a:gd name="T103" fmla="*/ 66 h 72"/>
              <a:gd name="T104" fmla="*/ 69 w 97"/>
              <a:gd name="T105" fmla="*/ 66 h 72"/>
              <a:gd name="T106" fmla="*/ 66 w 97"/>
              <a:gd name="T107" fmla="*/ 69 h 72"/>
              <a:gd name="T108" fmla="*/ 60 w 97"/>
              <a:gd name="T109" fmla="*/ 66 h 72"/>
              <a:gd name="T110" fmla="*/ 53 w 97"/>
              <a:gd name="T111" fmla="*/ 69 h 72"/>
              <a:gd name="T112" fmla="*/ 47 w 97"/>
              <a:gd name="T113" fmla="*/ 72 h 72"/>
              <a:gd name="T114" fmla="*/ 44 w 97"/>
              <a:gd name="T115" fmla="*/ 66 h 72"/>
              <a:gd name="T116" fmla="*/ 47 w 97"/>
              <a:gd name="T117" fmla="*/ 63 h 72"/>
              <a:gd name="T118" fmla="*/ 44 w 97"/>
              <a:gd name="T119" fmla="*/ 56 h 72"/>
              <a:gd name="T120" fmla="*/ 41 w 97"/>
              <a:gd name="T121" fmla="*/ 53 h 72"/>
              <a:gd name="T122" fmla="*/ 38 w 97"/>
              <a:gd name="T123" fmla="*/ 50 h 72"/>
              <a:gd name="T124" fmla="*/ 32 w 97"/>
              <a:gd name="T125" fmla="*/ 5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7" h="72">
                <a:moveTo>
                  <a:pt x="32" y="50"/>
                </a:moveTo>
                <a:lnTo>
                  <a:pt x="32" y="44"/>
                </a:lnTo>
                <a:lnTo>
                  <a:pt x="35" y="41"/>
                </a:lnTo>
                <a:lnTo>
                  <a:pt x="32" y="41"/>
                </a:lnTo>
                <a:lnTo>
                  <a:pt x="28" y="38"/>
                </a:lnTo>
                <a:lnTo>
                  <a:pt x="28" y="34"/>
                </a:lnTo>
                <a:lnTo>
                  <a:pt x="25" y="34"/>
                </a:lnTo>
                <a:lnTo>
                  <a:pt x="19" y="34"/>
                </a:lnTo>
                <a:lnTo>
                  <a:pt x="13" y="31"/>
                </a:lnTo>
                <a:lnTo>
                  <a:pt x="10" y="25"/>
                </a:lnTo>
                <a:lnTo>
                  <a:pt x="3" y="28"/>
                </a:lnTo>
                <a:lnTo>
                  <a:pt x="0" y="25"/>
                </a:lnTo>
                <a:lnTo>
                  <a:pt x="3" y="22"/>
                </a:lnTo>
                <a:lnTo>
                  <a:pt x="0" y="19"/>
                </a:lnTo>
                <a:lnTo>
                  <a:pt x="0" y="13"/>
                </a:lnTo>
                <a:lnTo>
                  <a:pt x="3" y="13"/>
                </a:lnTo>
                <a:lnTo>
                  <a:pt x="7" y="6"/>
                </a:lnTo>
                <a:lnTo>
                  <a:pt x="13" y="3"/>
                </a:lnTo>
                <a:lnTo>
                  <a:pt x="19" y="0"/>
                </a:lnTo>
                <a:lnTo>
                  <a:pt x="28" y="0"/>
                </a:lnTo>
                <a:lnTo>
                  <a:pt x="32" y="0"/>
                </a:lnTo>
                <a:lnTo>
                  <a:pt x="35" y="3"/>
                </a:lnTo>
                <a:lnTo>
                  <a:pt x="38" y="0"/>
                </a:lnTo>
                <a:lnTo>
                  <a:pt x="41" y="0"/>
                </a:lnTo>
                <a:lnTo>
                  <a:pt x="44" y="3"/>
                </a:lnTo>
                <a:lnTo>
                  <a:pt x="47" y="3"/>
                </a:lnTo>
                <a:lnTo>
                  <a:pt x="50" y="6"/>
                </a:lnTo>
                <a:lnTo>
                  <a:pt x="57" y="6"/>
                </a:lnTo>
                <a:lnTo>
                  <a:pt x="57" y="6"/>
                </a:lnTo>
                <a:lnTo>
                  <a:pt x="63" y="3"/>
                </a:lnTo>
                <a:lnTo>
                  <a:pt x="72" y="6"/>
                </a:lnTo>
                <a:lnTo>
                  <a:pt x="78" y="6"/>
                </a:lnTo>
                <a:lnTo>
                  <a:pt x="82" y="13"/>
                </a:lnTo>
                <a:lnTo>
                  <a:pt x="88" y="13"/>
                </a:lnTo>
                <a:lnTo>
                  <a:pt x="91" y="19"/>
                </a:lnTo>
                <a:lnTo>
                  <a:pt x="97" y="19"/>
                </a:lnTo>
                <a:lnTo>
                  <a:pt x="97" y="22"/>
                </a:lnTo>
                <a:lnTo>
                  <a:pt x="94" y="28"/>
                </a:lnTo>
                <a:lnTo>
                  <a:pt x="97" y="28"/>
                </a:lnTo>
                <a:lnTo>
                  <a:pt x="97" y="31"/>
                </a:lnTo>
                <a:lnTo>
                  <a:pt x="91" y="34"/>
                </a:lnTo>
                <a:lnTo>
                  <a:pt x="88" y="41"/>
                </a:lnTo>
                <a:lnTo>
                  <a:pt x="85" y="44"/>
                </a:lnTo>
                <a:lnTo>
                  <a:pt x="82" y="50"/>
                </a:lnTo>
                <a:lnTo>
                  <a:pt x="88" y="50"/>
                </a:lnTo>
                <a:lnTo>
                  <a:pt x="88" y="56"/>
                </a:lnTo>
                <a:lnTo>
                  <a:pt x="85" y="56"/>
                </a:lnTo>
                <a:lnTo>
                  <a:pt x="82" y="53"/>
                </a:lnTo>
                <a:lnTo>
                  <a:pt x="78" y="53"/>
                </a:lnTo>
                <a:lnTo>
                  <a:pt x="75" y="59"/>
                </a:lnTo>
                <a:lnTo>
                  <a:pt x="72" y="59"/>
                </a:lnTo>
                <a:lnTo>
                  <a:pt x="72" y="66"/>
                </a:lnTo>
                <a:lnTo>
                  <a:pt x="69" y="66"/>
                </a:lnTo>
                <a:lnTo>
                  <a:pt x="66" y="69"/>
                </a:lnTo>
                <a:lnTo>
                  <a:pt x="60" y="66"/>
                </a:lnTo>
                <a:lnTo>
                  <a:pt x="53" y="69"/>
                </a:lnTo>
                <a:lnTo>
                  <a:pt x="47" y="72"/>
                </a:lnTo>
                <a:lnTo>
                  <a:pt x="44" y="66"/>
                </a:lnTo>
                <a:lnTo>
                  <a:pt x="47" y="63"/>
                </a:lnTo>
                <a:lnTo>
                  <a:pt x="44" y="56"/>
                </a:lnTo>
                <a:lnTo>
                  <a:pt x="41" y="53"/>
                </a:lnTo>
                <a:lnTo>
                  <a:pt x="38" y="50"/>
                </a:lnTo>
                <a:lnTo>
                  <a:pt x="32" y="5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1" name="Freeform 49">
            <a:extLst>
              <a:ext uri="{FF2B5EF4-FFF2-40B4-BE49-F238E27FC236}">
                <a16:creationId xmlns:a16="http://schemas.microsoft.com/office/drawing/2014/main" id="{99298F62-8D5E-06AC-CB19-7CE5DF2B2E3F}"/>
              </a:ext>
            </a:extLst>
          </p:cNvPr>
          <p:cNvSpPr>
            <a:spLocks/>
          </p:cNvSpPr>
          <p:nvPr userDrawn="1"/>
        </p:nvSpPr>
        <p:spPr bwMode="auto">
          <a:xfrm>
            <a:off x="14448482" y="5412659"/>
            <a:ext cx="527016" cy="396878"/>
          </a:xfrm>
          <a:custGeom>
            <a:avLst/>
            <a:gdLst>
              <a:gd name="T0" fmla="*/ 6 w 166"/>
              <a:gd name="T1" fmla="*/ 63 h 125"/>
              <a:gd name="T2" fmla="*/ 19 w 166"/>
              <a:gd name="T3" fmla="*/ 63 h 125"/>
              <a:gd name="T4" fmla="*/ 25 w 166"/>
              <a:gd name="T5" fmla="*/ 60 h 125"/>
              <a:gd name="T6" fmla="*/ 28 w 166"/>
              <a:gd name="T7" fmla="*/ 53 h 125"/>
              <a:gd name="T8" fmla="*/ 35 w 166"/>
              <a:gd name="T9" fmla="*/ 47 h 125"/>
              <a:gd name="T10" fmla="*/ 41 w 166"/>
              <a:gd name="T11" fmla="*/ 50 h 125"/>
              <a:gd name="T12" fmla="*/ 35 w 166"/>
              <a:gd name="T13" fmla="*/ 44 h 125"/>
              <a:gd name="T14" fmla="*/ 41 w 166"/>
              <a:gd name="T15" fmla="*/ 35 h 125"/>
              <a:gd name="T16" fmla="*/ 50 w 166"/>
              <a:gd name="T17" fmla="*/ 25 h 125"/>
              <a:gd name="T18" fmla="*/ 47 w 166"/>
              <a:gd name="T19" fmla="*/ 22 h 125"/>
              <a:gd name="T20" fmla="*/ 56 w 166"/>
              <a:gd name="T21" fmla="*/ 13 h 125"/>
              <a:gd name="T22" fmla="*/ 66 w 166"/>
              <a:gd name="T23" fmla="*/ 7 h 125"/>
              <a:gd name="T24" fmla="*/ 72 w 166"/>
              <a:gd name="T25" fmla="*/ 0 h 125"/>
              <a:gd name="T26" fmla="*/ 78 w 166"/>
              <a:gd name="T27" fmla="*/ 0 h 125"/>
              <a:gd name="T28" fmla="*/ 88 w 166"/>
              <a:gd name="T29" fmla="*/ 7 h 125"/>
              <a:gd name="T30" fmla="*/ 97 w 166"/>
              <a:gd name="T31" fmla="*/ 3 h 125"/>
              <a:gd name="T32" fmla="*/ 106 w 166"/>
              <a:gd name="T33" fmla="*/ 7 h 125"/>
              <a:gd name="T34" fmla="*/ 113 w 166"/>
              <a:gd name="T35" fmla="*/ 7 h 125"/>
              <a:gd name="T36" fmla="*/ 125 w 166"/>
              <a:gd name="T37" fmla="*/ 10 h 125"/>
              <a:gd name="T38" fmla="*/ 125 w 166"/>
              <a:gd name="T39" fmla="*/ 19 h 125"/>
              <a:gd name="T40" fmla="*/ 128 w 166"/>
              <a:gd name="T41" fmla="*/ 28 h 125"/>
              <a:gd name="T42" fmla="*/ 135 w 166"/>
              <a:gd name="T43" fmla="*/ 41 h 125"/>
              <a:gd name="T44" fmla="*/ 144 w 166"/>
              <a:gd name="T45" fmla="*/ 50 h 125"/>
              <a:gd name="T46" fmla="*/ 153 w 166"/>
              <a:gd name="T47" fmla="*/ 60 h 125"/>
              <a:gd name="T48" fmla="*/ 160 w 166"/>
              <a:gd name="T49" fmla="*/ 69 h 125"/>
              <a:gd name="T50" fmla="*/ 163 w 166"/>
              <a:gd name="T51" fmla="*/ 72 h 125"/>
              <a:gd name="T52" fmla="*/ 150 w 166"/>
              <a:gd name="T53" fmla="*/ 82 h 125"/>
              <a:gd name="T54" fmla="*/ 144 w 166"/>
              <a:gd name="T55" fmla="*/ 82 h 125"/>
              <a:gd name="T56" fmla="*/ 147 w 166"/>
              <a:gd name="T57" fmla="*/ 91 h 125"/>
              <a:gd name="T58" fmla="*/ 150 w 166"/>
              <a:gd name="T59" fmla="*/ 103 h 125"/>
              <a:gd name="T60" fmla="*/ 150 w 166"/>
              <a:gd name="T61" fmla="*/ 107 h 125"/>
              <a:gd name="T62" fmla="*/ 138 w 166"/>
              <a:gd name="T63" fmla="*/ 110 h 125"/>
              <a:gd name="T64" fmla="*/ 135 w 166"/>
              <a:gd name="T65" fmla="*/ 125 h 125"/>
              <a:gd name="T66" fmla="*/ 125 w 166"/>
              <a:gd name="T67" fmla="*/ 122 h 125"/>
              <a:gd name="T68" fmla="*/ 116 w 166"/>
              <a:gd name="T69" fmla="*/ 122 h 125"/>
              <a:gd name="T70" fmla="*/ 110 w 166"/>
              <a:gd name="T71" fmla="*/ 125 h 125"/>
              <a:gd name="T72" fmla="*/ 103 w 166"/>
              <a:gd name="T73" fmla="*/ 122 h 125"/>
              <a:gd name="T74" fmla="*/ 94 w 166"/>
              <a:gd name="T75" fmla="*/ 125 h 125"/>
              <a:gd name="T76" fmla="*/ 85 w 166"/>
              <a:gd name="T77" fmla="*/ 122 h 125"/>
              <a:gd name="T78" fmla="*/ 81 w 166"/>
              <a:gd name="T79" fmla="*/ 122 h 125"/>
              <a:gd name="T80" fmla="*/ 69 w 166"/>
              <a:gd name="T81" fmla="*/ 122 h 125"/>
              <a:gd name="T82" fmla="*/ 66 w 166"/>
              <a:gd name="T83" fmla="*/ 119 h 125"/>
              <a:gd name="T84" fmla="*/ 47 w 166"/>
              <a:gd name="T85" fmla="*/ 113 h 125"/>
              <a:gd name="T86" fmla="*/ 41 w 166"/>
              <a:gd name="T87" fmla="*/ 119 h 125"/>
              <a:gd name="T88" fmla="*/ 22 w 166"/>
              <a:gd name="T89" fmla="*/ 119 h 125"/>
              <a:gd name="T90" fmla="*/ 13 w 166"/>
              <a:gd name="T91" fmla="*/ 119 h 125"/>
              <a:gd name="T92" fmla="*/ 10 w 166"/>
              <a:gd name="T93" fmla="*/ 116 h 125"/>
              <a:gd name="T94" fmla="*/ 3 w 166"/>
              <a:gd name="T95" fmla="*/ 103 h 125"/>
              <a:gd name="T96" fmla="*/ 10 w 166"/>
              <a:gd name="T97" fmla="*/ 97 h 125"/>
              <a:gd name="T98" fmla="*/ 10 w 166"/>
              <a:gd name="T99" fmla="*/ 85 h 125"/>
              <a:gd name="T100" fmla="*/ 3 w 166"/>
              <a:gd name="T101" fmla="*/ 75 h 125"/>
              <a:gd name="T102" fmla="*/ 0 w 166"/>
              <a:gd name="T103" fmla="*/ 6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6" h="125">
                <a:moveTo>
                  <a:pt x="0" y="66"/>
                </a:moveTo>
                <a:lnTo>
                  <a:pt x="6" y="63"/>
                </a:lnTo>
                <a:lnTo>
                  <a:pt x="13" y="60"/>
                </a:lnTo>
                <a:lnTo>
                  <a:pt x="19" y="63"/>
                </a:lnTo>
                <a:lnTo>
                  <a:pt x="22" y="60"/>
                </a:lnTo>
                <a:lnTo>
                  <a:pt x="25" y="60"/>
                </a:lnTo>
                <a:lnTo>
                  <a:pt x="25" y="53"/>
                </a:lnTo>
                <a:lnTo>
                  <a:pt x="28" y="53"/>
                </a:lnTo>
                <a:lnTo>
                  <a:pt x="31" y="47"/>
                </a:lnTo>
                <a:lnTo>
                  <a:pt x="35" y="47"/>
                </a:lnTo>
                <a:lnTo>
                  <a:pt x="38" y="50"/>
                </a:lnTo>
                <a:lnTo>
                  <a:pt x="41" y="50"/>
                </a:lnTo>
                <a:lnTo>
                  <a:pt x="41" y="44"/>
                </a:lnTo>
                <a:lnTo>
                  <a:pt x="35" y="44"/>
                </a:lnTo>
                <a:lnTo>
                  <a:pt x="38" y="38"/>
                </a:lnTo>
                <a:lnTo>
                  <a:pt x="41" y="35"/>
                </a:lnTo>
                <a:lnTo>
                  <a:pt x="44" y="28"/>
                </a:lnTo>
                <a:lnTo>
                  <a:pt x="50" y="25"/>
                </a:lnTo>
                <a:lnTo>
                  <a:pt x="50" y="22"/>
                </a:lnTo>
                <a:lnTo>
                  <a:pt x="47" y="22"/>
                </a:lnTo>
                <a:lnTo>
                  <a:pt x="50" y="16"/>
                </a:lnTo>
                <a:lnTo>
                  <a:pt x="56" y="13"/>
                </a:lnTo>
                <a:lnTo>
                  <a:pt x="66" y="10"/>
                </a:lnTo>
                <a:lnTo>
                  <a:pt x="66" y="7"/>
                </a:lnTo>
                <a:lnTo>
                  <a:pt x="69" y="3"/>
                </a:lnTo>
                <a:lnTo>
                  <a:pt x="72" y="0"/>
                </a:lnTo>
                <a:lnTo>
                  <a:pt x="75" y="0"/>
                </a:lnTo>
                <a:lnTo>
                  <a:pt x="78" y="0"/>
                </a:lnTo>
                <a:lnTo>
                  <a:pt x="85" y="0"/>
                </a:lnTo>
                <a:lnTo>
                  <a:pt x="88" y="7"/>
                </a:lnTo>
                <a:lnTo>
                  <a:pt x="94" y="3"/>
                </a:lnTo>
                <a:lnTo>
                  <a:pt x="97" y="3"/>
                </a:lnTo>
                <a:lnTo>
                  <a:pt x="100" y="10"/>
                </a:lnTo>
                <a:lnTo>
                  <a:pt x="106" y="7"/>
                </a:lnTo>
                <a:lnTo>
                  <a:pt x="113" y="3"/>
                </a:lnTo>
                <a:lnTo>
                  <a:pt x="113" y="7"/>
                </a:lnTo>
                <a:lnTo>
                  <a:pt x="116" y="7"/>
                </a:lnTo>
                <a:lnTo>
                  <a:pt x="125" y="10"/>
                </a:lnTo>
                <a:lnTo>
                  <a:pt x="125" y="16"/>
                </a:lnTo>
                <a:lnTo>
                  <a:pt x="125" y="19"/>
                </a:lnTo>
                <a:lnTo>
                  <a:pt x="128" y="25"/>
                </a:lnTo>
                <a:lnTo>
                  <a:pt x="128" y="28"/>
                </a:lnTo>
                <a:lnTo>
                  <a:pt x="131" y="35"/>
                </a:lnTo>
                <a:lnTo>
                  <a:pt x="135" y="41"/>
                </a:lnTo>
                <a:lnTo>
                  <a:pt x="141" y="47"/>
                </a:lnTo>
                <a:lnTo>
                  <a:pt x="144" y="50"/>
                </a:lnTo>
                <a:lnTo>
                  <a:pt x="147" y="57"/>
                </a:lnTo>
                <a:lnTo>
                  <a:pt x="153" y="60"/>
                </a:lnTo>
                <a:lnTo>
                  <a:pt x="160" y="66"/>
                </a:lnTo>
                <a:lnTo>
                  <a:pt x="160" y="69"/>
                </a:lnTo>
                <a:lnTo>
                  <a:pt x="166" y="72"/>
                </a:lnTo>
                <a:lnTo>
                  <a:pt x="163" y="72"/>
                </a:lnTo>
                <a:lnTo>
                  <a:pt x="160" y="82"/>
                </a:lnTo>
                <a:lnTo>
                  <a:pt x="150" y="82"/>
                </a:lnTo>
                <a:lnTo>
                  <a:pt x="144" y="78"/>
                </a:lnTo>
                <a:lnTo>
                  <a:pt x="144" y="82"/>
                </a:lnTo>
                <a:lnTo>
                  <a:pt x="144" y="85"/>
                </a:lnTo>
                <a:lnTo>
                  <a:pt x="147" y="91"/>
                </a:lnTo>
                <a:lnTo>
                  <a:pt x="147" y="97"/>
                </a:lnTo>
                <a:lnTo>
                  <a:pt x="150" y="103"/>
                </a:lnTo>
                <a:lnTo>
                  <a:pt x="150" y="107"/>
                </a:lnTo>
                <a:lnTo>
                  <a:pt x="150" y="107"/>
                </a:lnTo>
                <a:lnTo>
                  <a:pt x="141" y="110"/>
                </a:lnTo>
                <a:lnTo>
                  <a:pt x="138" y="110"/>
                </a:lnTo>
                <a:lnTo>
                  <a:pt x="135" y="116"/>
                </a:lnTo>
                <a:lnTo>
                  <a:pt x="135" y="125"/>
                </a:lnTo>
                <a:lnTo>
                  <a:pt x="128" y="125"/>
                </a:lnTo>
                <a:lnTo>
                  <a:pt x="125" y="122"/>
                </a:lnTo>
                <a:lnTo>
                  <a:pt x="119" y="122"/>
                </a:lnTo>
                <a:lnTo>
                  <a:pt x="116" y="122"/>
                </a:lnTo>
                <a:lnTo>
                  <a:pt x="113" y="122"/>
                </a:lnTo>
                <a:lnTo>
                  <a:pt x="110" y="125"/>
                </a:lnTo>
                <a:lnTo>
                  <a:pt x="106" y="125"/>
                </a:lnTo>
                <a:lnTo>
                  <a:pt x="103" y="122"/>
                </a:lnTo>
                <a:lnTo>
                  <a:pt x="100" y="119"/>
                </a:lnTo>
                <a:lnTo>
                  <a:pt x="94" y="125"/>
                </a:lnTo>
                <a:lnTo>
                  <a:pt x="91" y="122"/>
                </a:lnTo>
                <a:lnTo>
                  <a:pt x="85" y="122"/>
                </a:lnTo>
                <a:lnTo>
                  <a:pt x="81" y="122"/>
                </a:lnTo>
                <a:lnTo>
                  <a:pt x="81" y="122"/>
                </a:lnTo>
                <a:lnTo>
                  <a:pt x="78" y="122"/>
                </a:lnTo>
                <a:lnTo>
                  <a:pt x="69" y="122"/>
                </a:lnTo>
                <a:lnTo>
                  <a:pt x="69" y="122"/>
                </a:lnTo>
                <a:lnTo>
                  <a:pt x="66" y="119"/>
                </a:lnTo>
                <a:lnTo>
                  <a:pt x="53" y="116"/>
                </a:lnTo>
                <a:lnTo>
                  <a:pt x="47" y="113"/>
                </a:lnTo>
                <a:lnTo>
                  <a:pt x="47" y="113"/>
                </a:lnTo>
                <a:lnTo>
                  <a:pt x="41" y="119"/>
                </a:lnTo>
                <a:lnTo>
                  <a:pt x="35" y="119"/>
                </a:lnTo>
                <a:lnTo>
                  <a:pt x="22" y="119"/>
                </a:lnTo>
                <a:lnTo>
                  <a:pt x="19" y="122"/>
                </a:lnTo>
                <a:lnTo>
                  <a:pt x="13" y="119"/>
                </a:lnTo>
                <a:lnTo>
                  <a:pt x="10" y="119"/>
                </a:lnTo>
                <a:lnTo>
                  <a:pt x="10" y="116"/>
                </a:lnTo>
                <a:lnTo>
                  <a:pt x="6" y="110"/>
                </a:lnTo>
                <a:lnTo>
                  <a:pt x="3" y="103"/>
                </a:lnTo>
                <a:lnTo>
                  <a:pt x="6" y="100"/>
                </a:lnTo>
                <a:lnTo>
                  <a:pt x="10" y="97"/>
                </a:lnTo>
                <a:lnTo>
                  <a:pt x="10" y="85"/>
                </a:lnTo>
                <a:lnTo>
                  <a:pt x="10" y="85"/>
                </a:lnTo>
                <a:lnTo>
                  <a:pt x="6" y="78"/>
                </a:lnTo>
                <a:lnTo>
                  <a:pt x="3" y="75"/>
                </a:lnTo>
                <a:lnTo>
                  <a:pt x="3" y="66"/>
                </a:lnTo>
                <a:lnTo>
                  <a:pt x="0" y="66"/>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2" name="Freeform 50">
            <a:extLst>
              <a:ext uri="{FF2B5EF4-FFF2-40B4-BE49-F238E27FC236}">
                <a16:creationId xmlns:a16="http://schemas.microsoft.com/office/drawing/2014/main" id="{E040B357-EC93-20CD-95CC-92375C1BEA56}"/>
              </a:ext>
            </a:extLst>
          </p:cNvPr>
          <p:cNvSpPr>
            <a:spLocks/>
          </p:cNvSpPr>
          <p:nvPr userDrawn="1"/>
        </p:nvSpPr>
        <p:spPr bwMode="auto">
          <a:xfrm>
            <a:off x="14410385" y="5730156"/>
            <a:ext cx="1031811" cy="638176"/>
          </a:xfrm>
          <a:custGeom>
            <a:avLst/>
            <a:gdLst>
              <a:gd name="T0" fmla="*/ 47 w 325"/>
              <a:gd name="T1" fmla="*/ 19 h 201"/>
              <a:gd name="T2" fmla="*/ 78 w 325"/>
              <a:gd name="T3" fmla="*/ 19 h 201"/>
              <a:gd name="T4" fmla="*/ 93 w 325"/>
              <a:gd name="T5" fmla="*/ 22 h 201"/>
              <a:gd name="T6" fmla="*/ 115 w 325"/>
              <a:gd name="T7" fmla="*/ 22 h 201"/>
              <a:gd name="T8" fmla="*/ 131 w 325"/>
              <a:gd name="T9" fmla="*/ 22 h 201"/>
              <a:gd name="T10" fmla="*/ 150 w 325"/>
              <a:gd name="T11" fmla="*/ 10 h 201"/>
              <a:gd name="T12" fmla="*/ 172 w 325"/>
              <a:gd name="T13" fmla="*/ 3 h 201"/>
              <a:gd name="T14" fmla="*/ 203 w 325"/>
              <a:gd name="T15" fmla="*/ 0 h 201"/>
              <a:gd name="T16" fmla="*/ 225 w 325"/>
              <a:gd name="T17" fmla="*/ 22 h 201"/>
              <a:gd name="T18" fmla="*/ 234 w 325"/>
              <a:gd name="T19" fmla="*/ 44 h 201"/>
              <a:gd name="T20" fmla="*/ 262 w 325"/>
              <a:gd name="T21" fmla="*/ 50 h 201"/>
              <a:gd name="T22" fmla="*/ 284 w 325"/>
              <a:gd name="T23" fmla="*/ 63 h 201"/>
              <a:gd name="T24" fmla="*/ 306 w 325"/>
              <a:gd name="T25" fmla="*/ 63 h 201"/>
              <a:gd name="T26" fmla="*/ 325 w 325"/>
              <a:gd name="T27" fmla="*/ 69 h 201"/>
              <a:gd name="T28" fmla="*/ 322 w 325"/>
              <a:gd name="T29" fmla="*/ 94 h 201"/>
              <a:gd name="T30" fmla="*/ 306 w 325"/>
              <a:gd name="T31" fmla="*/ 113 h 201"/>
              <a:gd name="T32" fmla="*/ 297 w 325"/>
              <a:gd name="T33" fmla="*/ 132 h 201"/>
              <a:gd name="T34" fmla="*/ 278 w 325"/>
              <a:gd name="T35" fmla="*/ 138 h 201"/>
              <a:gd name="T36" fmla="*/ 262 w 325"/>
              <a:gd name="T37" fmla="*/ 144 h 201"/>
              <a:gd name="T38" fmla="*/ 247 w 325"/>
              <a:gd name="T39" fmla="*/ 144 h 201"/>
              <a:gd name="T40" fmla="*/ 243 w 325"/>
              <a:gd name="T41" fmla="*/ 157 h 201"/>
              <a:gd name="T42" fmla="*/ 243 w 325"/>
              <a:gd name="T43" fmla="*/ 151 h 201"/>
              <a:gd name="T44" fmla="*/ 231 w 325"/>
              <a:gd name="T45" fmla="*/ 160 h 201"/>
              <a:gd name="T46" fmla="*/ 215 w 325"/>
              <a:gd name="T47" fmla="*/ 160 h 201"/>
              <a:gd name="T48" fmla="*/ 231 w 325"/>
              <a:gd name="T49" fmla="*/ 166 h 201"/>
              <a:gd name="T50" fmla="*/ 234 w 325"/>
              <a:gd name="T51" fmla="*/ 172 h 201"/>
              <a:gd name="T52" fmla="*/ 243 w 325"/>
              <a:gd name="T53" fmla="*/ 179 h 201"/>
              <a:gd name="T54" fmla="*/ 234 w 325"/>
              <a:gd name="T55" fmla="*/ 160 h 201"/>
              <a:gd name="T56" fmla="*/ 253 w 325"/>
              <a:gd name="T57" fmla="*/ 182 h 201"/>
              <a:gd name="T58" fmla="*/ 268 w 325"/>
              <a:gd name="T59" fmla="*/ 176 h 201"/>
              <a:gd name="T60" fmla="*/ 268 w 325"/>
              <a:gd name="T61" fmla="*/ 185 h 201"/>
              <a:gd name="T62" fmla="*/ 240 w 325"/>
              <a:gd name="T63" fmla="*/ 191 h 201"/>
              <a:gd name="T64" fmla="*/ 215 w 325"/>
              <a:gd name="T65" fmla="*/ 197 h 201"/>
              <a:gd name="T66" fmla="*/ 206 w 325"/>
              <a:gd name="T67" fmla="*/ 182 h 201"/>
              <a:gd name="T68" fmla="*/ 215 w 325"/>
              <a:gd name="T69" fmla="*/ 169 h 201"/>
              <a:gd name="T70" fmla="*/ 212 w 325"/>
              <a:gd name="T71" fmla="*/ 163 h 201"/>
              <a:gd name="T72" fmla="*/ 190 w 325"/>
              <a:gd name="T73" fmla="*/ 160 h 201"/>
              <a:gd name="T74" fmla="*/ 181 w 325"/>
              <a:gd name="T75" fmla="*/ 154 h 201"/>
              <a:gd name="T76" fmla="*/ 187 w 325"/>
              <a:gd name="T77" fmla="*/ 151 h 201"/>
              <a:gd name="T78" fmla="*/ 184 w 325"/>
              <a:gd name="T79" fmla="*/ 144 h 201"/>
              <a:gd name="T80" fmla="*/ 175 w 325"/>
              <a:gd name="T81" fmla="*/ 147 h 201"/>
              <a:gd name="T82" fmla="*/ 162 w 325"/>
              <a:gd name="T83" fmla="*/ 157 h 201"/>
              <a:gd name="T84" fmla="*/ 147 w 325"/>
              <a:gd name="T85" fmla="*/ 176 h 201"/>
              <a:gd name="T86" fmla="*/ 147 w 325"/>
              <a:gd name="T87" fmla="*/ 182 h 201"/>
              <a:gd name="T88" fmla="*/ 128 w 325"/>
              <a:gd name="T89" fmla="*/ 182 h 201"/>
              <a:gd name="T90" fmla="*/ 125 w 325"/>
              <a:gd name="T91" fmla="*/ 172 h 201"/>
              <a:gd name="T92" fmla="*/ 134 w 325"/>
              <a:gd name="T93" fmla="*/ 154 h 201"/>
              <a:gd name="T94" fmla="*/ 147 w 325"/>
              <a:gd name="T95" fmla="*/ 147 h 201"/>
              <a:gd name="T96" fmla="*/ 134 w 325"/>
              <a:gd name="T97" fmla="*/ 132 h 201"/>
              <a:gd name="T98" fmla="*/ 118 w 325"/>
              <a:gd name="T99" fmla="*/ 110 h 201"/>
              <a:gd name="T100" fmla="*/ 100 w 325"/>
              <a:gd name="T101" fmla="*/ 104 h 201"/>
              <a:gd name="T102" fmla="*/ 84 w 325"/>
              <a:gd name="T103" fmla="*/ 100 h 201"/>
              <a:gd name="T104" fmla="*/ 81 w 325"/>
              <a:gd name="T105" fmla="*/ 113 h 201"/>
              <a:gd name="T106" fmla="*/ 53 w 325"/>
              <a:gd name="T107" fmla="*/ 125 h 201"/>
              <a:gd name="T108" fmla="*/ 28 w 325"/>
              <a:gd name="T109" fmla="*/ 119 h 201"/>
              <a:gd name="T110" fmla="*/ 9 w 325"/>
              <a:gd name="T111" fmla="*/ 113 h 201"/>
              <a:gd name="T112" fmla="*/ 6 w 325"/>
              <a:gd name="T113" fmla="*/ 91 h 201"/>
              <a:gd name="T114" fmla="*/ 25 w 325"/>
              <a:gd name="T115" fmla="*/ 60 h 201"/>
              <a:gd name="T116" fmla="*/ 28 w 325"/>
              <a:gd name="T117" fmla="*/ 44 h 201"/>
              <a:gd name="T118" fmla="*/ 22 w 325"/>
              <a:gd name="T119" fmla="*/ 2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5" h="201">
                <a:moveTo>
                  <a:pt x="22" y="19"/>
                </a:moveTo>
                <a:lnTo>
                  <a:pt x="25" y="19"/>
                </a:lnTo>
                <a:lnTo>
                  <a:pt x="31" y="22"/>
                </a:lnTo>
                <a:lnTo>
                  <a:pt x="34" y="19"/>
                </a:lnTo>
                <a:lnTo>
                  <a:pt x="47" y="19"/>
                </a:lnTo>
                <a:lnTo>
                  <a:pt x="53" y="19"/>
                </a:lnTo>
                <a:lnTo>
                  <a:pt x="59" y="13"/>
                </a:lnTo>
                <a:lnTo>
                  <a:pt x="59" y="13"/>
                </a:lnTo>
                <a:lnTo>
                  <a:pt x="65" y="16"/>
                </a:lnTo>
                <a:lnTo>
                  <a:pt x="78" y="19"/>
                </a:lnTo>
                <a:lnTo>
                  <a:pt x="81" y="22"/>
                </a:lnTo>
                <a:lnTo>
                  <a:pt x="81" y="22"/>
                </a:lnTo>
                <a:lnTo>
                  <a:pt x="90" y="22"/>
                </a:lnTo>
                <a:lnTo>
                  <a:pt x="93" y="22"/>
                </a:lnTo>
                <a:lnTo>
                  <a:pt x="93" y="22"/>
                </a:lnTo>
                <a:lnTo>
                  <a:pt x="97" y="22"/>
                </a:lnTo>
                <a:lnTo>
                  <a:pt x="103" y="22"/>
                </a:lnTo>
                <a:lnTo>
                  <a:pt x="106" y="25"/>
                </a:lnTo>
                <a:lnTo>
                  <a:pt x="112" y="19"/>
                </a:lnTo>
                <a:lnTo>
                  <a:pt x="115" y="22"/>
                </a:lnTo>
                <a:lnTo>
                  <a:pt x="118" y="25"/>
                </a:lnTo>
                <a:lnTo>
                  <a:pt x="122" y="25"/>
                </a:lnTo>
                <a:lnTo>
                  <a:pt x="125" y="22"/>
                </a:lnTo>
                <a:lnTo>
                  <a:pt x="128" y="22"/>
                </a:lnTo>
                <a:lnTo>
                  <a:pt x="131" y="22"/>
                </a:lnTo>
                <a:lnTo>
                  <a:pt x="137" y="22"/>
                </a:lnTo>
                <a:lnTo>
                  <a:pt x="140" y="25"/>
                </a:lnTo>
                <a:lnTo>
                  <a:pt x="147" y="25"/>
                </a:lnTo>
                <a:lnTo>
                  <a:pt x="147" y="16"/>
                </a:lnTo>
                <a:lnTo>
                  <a:pt x="150" y="10"/>
                </a:lnTo>
                <a:lnTo>
                  <a:pt x="153" y="10"/>
                </a:lnTo>
                <a:lnTo>
                  <a:pt x="162" y="7"/>
                </a:lnTo>
                <a:lnTo>
                  <a:pt x="165" y="7"/>
                </a:lnTo>
                <a:lnTo>
                  <a:pt x="172" y="7"/>
                </a:lnTo>
                <a:lnTo>
                  <a:pt x="172" y="3"/>
                </a:lnTo>
                <a:lnTo>
                  <a:pt x="175" y="0"/>
                </a:lnTo>
                <a:lnTo>
                  <a:pt x="184" y="3"/>
                </a:lnTo>
                <a:lnTo>
                  <a:pt x="193" y="3"/>
                </a:lnTo>
                <a:lnTo>
                  <a:pt x="197" y="0"/>
                </a:lnTo>
                <a:lnTo>
                  <a:pt x="203" y="0"/>
                </a:lnTo>
                <a:lnTo>
                  <a:pt x="206" y="10"/>
                </a:lnTo>
                <a:lnTo>
                  <a:pt x="209" y="13"/>
                </a:lnTo>
                <a:lnTo>
                  <a:pt x="206" y="19"/>
                </a:lnTo>
                <a:lnTo>
                  <a:pt x="212" y="25"/>
                </a:lnTo>
                <a:lnTo>
                  <a:pt x="225" y="22"/>
                </a:lnTo>
                <a:lnTo>
                  <a:pt x="228" y="25"/>
                </a:lnTo>
                <a:lnTo>
                  <a:pt x="228" y="32"/>
                </a:lnTo>
                <a:lnTo>
                  <a:pt x="231" y="32"/>
                </a:lnTo>
                <a:lnTo>
                  <a:pt x="231" y="38"/>
                </a:lnTo>
                <a:lnTo>
                  <a:pt x="234" y="44"/>
                </a:lnTo>
                <a:lnTo>
                  <a:pt x="243" y="50"/>
                </a:lnTo>
                <a:lnTo>
                  <a:pt x="247" y="47"/>
                </a:lnTo>
                <a:lnTo>
                  <a:pt x="253" y="50"/>
                </a:lnTo>
                <a:lnTo>
                  <a:pt x="256" y="50"/>
                </a:lnTo>
                <a:lnTo>
                  <a:pt x="262" y="50"/>
                </a:lnTo>
                <a:lnTo>
                  <a:pt x="268" y="44"/>
                </a:lnTo>
                <a:lnTo>
                  <a:pt x="272" y="44"/>
                </a:lnTo>
                <a:lnTo>
                  <a:pt x="275" y="54"/>
                </a:lnTo>
                <a:lnTo>
                  <a:pt x="281" y="60"/>
                </a:lnTo>
                <a:lnTo>
                  <a:pt x="284" y="63"/>
                </a:lnTo>
                <a:lnTo>
                  <a:pt x="284" y="60"/>
                </a:lnTo>
                <a:lnTo>
                  <a:pt x="293" y="60"/>
                </a:lnTo>
                <a:lnTo>
                  <a:pt x="297" y="60"/>
                </a:lnTo>
                <a:lnTo>
                  <a:pt x="303" y="63"/>
                </a:lnTo>
                <a:lnTo>
                  <a:pt x="306" y="63"/>
                </a:lnTo>
                <a:lnTo>
                  <a:pt x="312" y="66"/>
                </a:lnTo>
                <a:lnTo>
                  <a:pt x="315" y="66"/>
                </a:lnTo>
                <a:lnTo>
                  <a:pt x="319" y="63"/>
                </a:lnTo>
                <a:lnTo>
                  <a:pt x="322" y="69"/>
                </a:lnTo>
                <a:lnTo>
                  <a:pt x="325" y="69"/>
                </a:lnTo>
                <a:lnTo>
                  <a:pt x="325" y="75"/>
                </a:lnTo>
                <a:lnTo>
                  <a:pt x="322" y="79"/>
                </a:lnTo>
                <a:lnTo>
                  <a:pt x="315" y="82"/>
                </a:lnTo>
                <a:lnTo>
                  <a:pt x="315" y="88"/>
                </a:lnTo>
                <a:lnTo>
                  <a:pt x="322" y="94"/>
                </a:lnTo>
                <a:lnTo>
                  <a:pt x="322" y="97"/>
                </a:lnTo>
                <a:lnTo>
                  <a:pt x="319" y="107"/>
                </a:lnTo>
                <a:lnTo>
                  <a:pt x="322" y="110"/>
                </a:lnTo>
                <a:lnTo>
                  <a:pt x="315" y="113"/>
                </a:lnTo>
                <a:lnTo>
                  <a:pt x="306" y="113"/>
                </a:lnTo>
                <a:lnTo>
                  <a:pt x="303" y="122"/>
                </a:lnTo>
                <a:lnTo>
                  <a:pt x="300" y="122"/>
                </a:lnTo>
                <a:lnTo>
                  <a:pt x="300" y="132"/>
                </a:lnTo>
                <a:lnTo>
                  <a:pt x="297" y="132"/>
                </a:lnTo>
                <a:lnTo>
                  <a:pt x="297" y="132"/>
                </a:lnTo>
                <a:lnTo>
                  <a:pt x="293" y="132"/>
                </a:lnTo>
                <a:lnTo>
                  <a:pt x="287" y="132"/>
                </a:lnTo>
                <a:lnTo>
                  <a:pt x="284" y="132"/>
                </a:lnTo>
                <a:lnTo>
                  <a:pt x="281" y="135"/>
                </a:lnTo>
                <a:lnTo>
                  <a:pt x="278" y="138"/>
                </a:lnTo>
                <a:lnTo>
                  <a:pt x="275" y="138"/>
                </a:lnTo>
                <a:lnTo>
                  <a:pt x="272" y="141"/>
                </a:lnTo>
                <a:lnTo>
                  <a:pt x="268" y="144"/>
                </a:lnTo>
                <a:lnTo>
                  <a:pt x="268" y="144"/>
                </a:lnTo>
                <a:lnTo>
                  <a:pt x="262" y="144"/>
                </a:lnTo>
                <a:lnTo>
                  <a:pt x="259" y="147"/>
                </a:lnTo>
                <a:lnTo>
                  <a:pt x="256" y="147"/>
                </a:lnTo>
                <a:lnTo>
                  <a:pt x="250" y="147"/>
                </a:lnTo>
                <a:lnTo>
                  <a:pt x="250" y="147"/>
                </a:lnTo>
                <a:lnTo>
                  <a:pt x="247" y="144"/>
                </a:lnTo>
                <a:lnTo>
                  <a:pt x="243" y="144"/>
                </a:lnTo>
                <a:lnTo>
                  <a:pt x="247" y="147"/>
                </a:lnTo>
                <a:lnTo>
                  <a:pt x="247" y="151"/>
                </a:lnTo>
                <a:lnTo>
                  <a:pt x="247" y="151"/>
                </a:lnTo>
                <a:lnTo>
                  <a:pt x="243" y="157"/>
                </a:lnTo>
                <a:lnTo>
                  <a:pt x="240" y="160"/>
                </a:lnTo>
                <a:lnTo>
                  <a:pt x="240" y="157"/>
                </a:lnTo>
                <a:lnTo>
                  <a:pt x="240" y="157"/>
                </a:lnTo>
                <a:lnTo>
                  <a:pt x="243" y="151"/>
                </a:lnTo>
                <a:lnTo>
                  <a:pt x="243" y="151"/>
                </a:lnTo>
                <a:lnTo>
                  <a:pt x="240" y="151"/>
                </a:lnTo>
                <a:lnTo>
                  <a:pt x="240" y="151"/>
                </a:lnTo>
                <a:lnTo>
                  <a:pt x="234" y="157"/>
                </a:lnTo>
                <a:lnTo>
                  <a:pt x="231" y="157"/>
                </a:lnTo>
                <a:lnTo>
                  <a:pt x="231" y="160"/>
                </a:lnTo>
                <a:lnTo>
                  <a:pt x="228" y="160"/>
                </a:lnTo>
                <a:lnTo>
                  <a:pt x="225" y="160"/>
                </a:lnTo>
                <a:lnTo>
                  <a:pt x="222" y="160"/>
                </a:lnTo>
                <a:lnTo>
                  <a:pt x="218" y="160"/>
                </a:lnTo>
                <a:lnTo>
                  <a:pt x="215" y="160"/>
                </a:lnTo>
                <a:lnTo>
                  <a:pt x="218" y="163"/>
                </a:lnTo>
                <a:lnTo>
                  <a:pt x="225" y="163"/>
                </a:lnTo>
                <a:lnTo>
                  <a:pt x="228" y="166"/>
                </a:lnTo>
                <a:lnTo>
                  <a:pt x="231" y="166"/>
                </a:lnTo>
                <a:lnTo>
                  <a:pt x="231" y="166"/>
                </a:lnTo>
                <a:lnTo>
                  <a:pt x="234" y="169"/>
                </a:lnTo>
                <a:lnTo>
                  <a:pt x="231" y="169"/>
                </a:lnTo>
                <a:lnTo>
                  <a:pt x="231" y="172"/>
                </a:lnTo>
                <a:lnTo>
                  <a:pt x="234" y="172"/>
                </a:lnTo>
                <a:lnTo>
                  <a:pt x="234" y="172"/>
                </a:lnTo>
                <a:lnTo>
                  <a:pt x="234" y="176"/>
                </a:lnTo>
                <a:lnTo>
                  <a:pt x="237" y="172"/>
                </a:lnTo>
                <a:lnTo>
                  <a:pt x="240" y="172"/>
                </a:lnTo>
                <a:lnTo>
                  <a:pt x="240" y="179"/>
                </a:lnTo>
                <a:lnTo>
                  <a:pt x="243" y="179"/>
                </a:lnTo>
                <a:lnTo>
                  <a:pt x="247" y="182"/>
                </a:lnTo>
                <a:lnTo>
                  <a:pt x="250" y="182"/>
                </a:lnTo>
                <a:lnTo>
                  <a:pt x="243" y="176"/>
                </a:lnTo>
                <a:lnTo>
                  <a:pt x="234" y="166"/>
                </a:lnTo>
                <a:lnTo>
                  <a:pt x="234" y="160"/>
                </a:lnTo>
                <a:lnTo>
                  <a:pt x="234" y="160"/>
                </a:lnTo>
                <a:lnTo>
                  <a:pt x="237" y="163"/>
                </a:lnTo>
                <a:lnTo>
                  <a:pt x="240" y="169"/>
                </a:lnTo>
                <a:lnTo>
                  <a:pt x="250" y="179"/>
                </a:lnTo>
                <a:lnTo>
                  <a:pt x="253" y="182"/>
                </a:lnTo>
                <a:lnTo>
                  <a:pt x="256" y="176"/>
                </a:lnTo>
                <a:lnTo>
                  <a:pt x="256" y="176"/>
                </a:lnTo>
                <a:lnTo>
                  <a:pt x="259" y="179"/>
                </a:lnTo>
                <a:lnTo>
                  <a:pt x="262" y="176"/>
                </a:lnTo>
                <a:lnTo>
                  <a:pt x="268" y="176"/>
                </a:lnTo>
                <a:lnTo>
                  <a:pt x="275" y="176"/>
                </a:lnTo>
                <a:lnTo>
                  <a:pt x="272" y="179"/>
                </a:lnTo>
                <a:lnTo>
                  <a:pt x="272" y="179"/>
                </a:lnTo>
                <a:lnTo>
                  <a:pt x="272" y="182"/>
                </a:lnTo>
                <a:lnTo>
                  <a:pt x="268" y="185"/>
                </a:lnTo>
                <a:lnTo>
                  <a:pt x="262" y="185"/>
                </a:lnTo>
                <a:lnTo>
                  <a:pt x="256" y="185"/>
                </a:lnTo>
                <a:lnTo>
                  <a:pt x="250" y="188"/>
                </a:lnTo>
                <a:lnTo>
                  <a:pt x="247" y="191"/>
                </a:lnTo>
                <a:lnTo>
                  <a:pt x="240" y="191"/>
                </a:lnTo>
                <a:lnTo>
                  <a:pt x="231" y="197"/>
                </a:lnTo>
                <a:lnTo>
                  <a:pt x="225" y="201"/>
                </a:lnTo>
                <a:lnTo>
                  <a:pt x="218" y="201"/>
                </a:lnTo>
                <a:lnTo>
                  <a:pt x="215" y="197"/>
                </a:lnTo>
                <a:lnTo>
                  <a:pt x="215" y="197"/>
                </a:lnTo>
                <a:lnTo>
                  <a:pt x="218" y="191"/>
                </a:lnTo>
                <a:lnTo>
                  <a:pt x="218" y="188"/>
                </a:lnTo>
                <a:lnTo>
                  <a:pt x="212" y="182"/>
                </a:lnTo>
                <a:lnTo>
                  <a:pt x="209" y="182"/>
                </a:lnTo>
                <a:lnTo>
                  <a:pt x="206" y="182"/>
                </a:lnTo>
                <a:lnTo>
                  <a:pt x="203" y="182"/>
                </a:lnTo>
                <a:lnTo>
                  <a:pt x="200" y="182"/>
                </a:lnTo>
                <a:lnTo>
                  <a:pt x="203" y="176"/>
                </a:lnTo>
                <a:lnTo>
                  <a:pt x="209" y="172"/>
                </a:lnTo>
                <a:lnTo>
                  <a:pt x="215" y="169"/>
                </a:lnTo>
                <a:lnTo>
                  <a:pt x="218" y="169"/>
                </a:lnTo>
                <a:lnTo>
                  <a:pt x="215" y="166"/>
                </a:lnTo>
                <a:lnTo>
                  <a:pt x="215" y="160"/>
                </a:lnTo>
                <a:lnTo>
                  <a:pt x="212" y="160"/>
                </a:lnTo>
                <a:lnTo>
                  <a:pt x="212" y="163"/>
                </a:lnTo>
                <a:lnTo>
                  <a:pt x="209" y="163"/>
                </a:lnTo>
                <a:lnTo>
                  <a:pt x="203" y="160"/>
                </a:lnTo>
                <a:lnTo>
                  <a:pt x="200" y="160"/>
                </a:lnTo>
                <a:lnTo>
                  <a:pt x="193" y="163"/>
                </a:lnTo>
                <a:lnTo>
                  <a:pt x="190" y="160"/>
                </a:lnTo>
                <a:lnTo>
                  <a:pt x="187" y="160"/>
                </a:lnTo>
                <a:lnTo>
                  <a:pt x="184" y="157"/>
                </a:lnTo>
                <a:lnTo>
                  <a:pt x="187" y="157"/>
                </a:lnTo>
                <a:lnTo>
                  <a:pt x="187" y="154"/>
                </a:lnTo>
                <a:lnTo>
                  <a:pt x="181" y="154"/>
                </a:lnTo>
                <a:lnTo>
                  <a:pt x="175" y="154"/>
                </a:lnTo>
                <a:lnTo>
                  <a:pt x="175" y="151"/>
                </a:lnTo>
                <a:lnTo>
                  <a:pt x="178" y="151"/>
                </a:lnTo>
                <a:lnTo>
                  <a:pt x="184" y="151"/>
                </a:lnTo>
                <a:lnTo>
                  <a:pt x="187" y="151"/>
                </a:lnTo>
                <a:lnTo>
                  <a:pt x="190" y="151"/>
                </a:lnTo>
                <a:lnTo>
                  <a:pt x="193" y="147"/>
                </a:lnTo>
                <a:lnTo>
                  <a:pt x="190" y="147"/>
                </a:lnTo>
                <a:lnTo>
                  <a:pt x="187" y="147"/>
                </a:lnTo>
                <a:lnTo>
                  <a:pt x="184" y="144"/>
                </a:lnTo>
                <a:lnTo>
                  <a:pt x="181" y="144"/>
                </a:lnTo>
                <a:lnTo>
                  <a:pt x="181" y="147"/>
                </a:lnTo>
                <a:lnTo>
                  <a:pt x="178" y="147"/>
                </a:lnTo>
                <a:lnTo>
                  <a:pt x="175" y="147"/>
                </a:lnTo>
                <a:lnTo>
                  <a:pt x="175" y="147"/>
                </a:lnTo>
                <a:lnTo>
                  <a:pt x="175" y="144"/>
                </a:lnTo>
                <a:lnTo>
                  <a:pt x="168" y="151"/>
                </a:lnTo>
                <a:lnTo>
                  <a:pt x="165" y="151"/>
                </a:lnTo>
                <a:lnTo>
                  <a:pt x="162" y="154"/>
                </a:lnTo>
                <a:lnTo>
                  <a:pt x="162" y="157"/>
                </a:lnTo>
                <a:lnTo>
                  <a:pt x="159" y="163"/>
                </a:lnTo>
                <a:lnTo>
                  <a:pt x="156" y="163"/>
                </a:lnTo>
                <a:lnTo>
                  <a:pt x="156" y="166"/>
                </a:lnTo>
                <a:lnTo>
                  <a:pt x="150" y="176"/>
                </a:lnTo>
                <a:lnTo>
                  <a:pt x="147" y="176"/>
                </a:lnTo>
                <a:lnTo>
                  <a:pt x="147" y="172"/>
                </a:lnTo>
                <a:lnTo>
                  <a:pt x="147" y="176"/>
                </a:lnTo>
                <a:lnTo>
                  <a:pt x="143" y="176"/>
                </a:lnTo>
                <a:lnTo>
                  <a:pt x="147" y="179"/>
                </a:lnTo>
                <a:lnTo>
                  <a:pt x="147" y="182"/>
                </a:lnTo>
                <a:lnTo>
                  <a:pt x="147" y="182"/>
                </a:lnTo>
                <a:lnTo>
                  <a:pt x="143" y="179"/>
                </a:lnTo>
                <a:lnTo>
                  <a:pt x="137" y="182"/>
                </a:lnTo>
                <a:lnTo>
                  <a:pt x="134" y="182"/>
                </a:lnTo>
                <a:lnTo>
                  <a:pt x="128" y="182"/>
                </a:lnTo>
                <a:lnTo>
                  <a:pt x="122" y="182"/>
                </a:lnTo>
                <a:lnTo>
                  <a:pt x="118" y="176"/>
                </a:lnTo>
                <a:lnTo>
                  <a:pt x="122" y="172"/>
                </a:lnTo>
                <a:lnTo>
                  <a:pt x="125" y="176"/>
                </a:lnTo>
                <a:lnTo>
                  <a:pt x="125" y="172"/>
                </a:lnTo>
                <a:lnTo>
                  <a:pt x="128" y="166"/>
                </a:lnTo>
                <a:lnTo>
                  <a:pt x="131" y="166"/>
                </a:lnTo>
                <a:lnTo>
                  <a:pt x="131" y="160"/>
                </a:lnTo>
                <a:lnTo>
                  <a:pt x="131" y="154"/>
                </a:lnTo>
                <a:lnTo>
                  <a:pt x="134" y="154"/>
                </a:lnTo>
                <a:lnTo>
                  <a:pt x="140" y="151"/>
                </a:lnTo>
                <a:lnTo>
                  <a:pt x="143" y="154"/>
                </a:lnTo>
                <a:lnTo>
                  <a:pt x="147" y="154"/>
                </a:lnTo>
                <a:lnTo>
                  <a:pt x="150" y="151"/>
                </a:lnTo>
                <a:lnTo>
                  <a:pt x="147" y="147"/>
                </a:lnTo>
                <a:lnTo>
                  <a:pt x="147" y="144"/>
                </a:lnTo>
                <a:lnTo>
                  <a:pt x="147" y="141"/>
                </a:lnTo>
                <a:lnTo>
                  <a:pt x="140" y="138"/>
                </a:lnTo>
                <a:lnTo>
                  <a:pt x="137" y="135"/>
                </a:lnTo>
                <a:lnTo>
                  <a:pt x="134" y="132"/>
                </a:lnTo>
                <a:lnTo>
                  <a:pt x="131" y="129"/>
                </a:lnTo>
                <a:lnTo>
                  <a:pt x="131" y="125"/>
                </a:lnTo>
                <a:lnTo>
                  <a:pt x="131" y="116"/>
                </a:lnTo>
                <a:lnTo>
                  <a:pt x="125" y="116"/>
                </a:lnTo>
                <a:lnTo>
                  <a:pt x="118" y="110"/>
                </a:lnTo>
                <a:lnTo>
                  <a:pt x="118" y="110"/>
                </a:lnTo>
                <a:lnTo>
                  <a:pt x="115" y="110"/>
                </a:lnTo>
                <a:lnTo>
                  <a:pt x="109" y="110"/>
                </a:lnTo>
                <a:lnTo>
                  <a:pt x="103" y="104"/>
                </a:lnTo>
                <a:lnTo>
                  <a:pt x="100" y="104"/>
                </a:lnTo>
                <a:lnTo>
                  <a:pt x="97" y="100"/>
                </a:lnTo>
                <a:lnTo>
                  <a:pt x="93" y="100"/>
                </a:lnTo>
                <a:lnTo>
                  <a:pt x="90" y="100"/>
                </a:lnTo>
                <a:lnTo>
                  <a:pt x="87" y="104"/>
                </a:lnTo>
                <a:lnTo>
                  <a:pt x="84" y="100"/>
                </a:lnTo>
                <a:lnTo>
                  <a:pt x="84" y="104"/>
                </a:lnTo>
                <a:lnTo>
                  <a:pt x="81" y="100"/>
                </a:lnTo>
                <a:lnTo>
                  <a:pt x="81" y="107"/>
                </a:lnTo>
                <a:lnTo>
                  <a:pt x="81" y="110"/>
                </a:lnTo>
                <a:lnTo>
                  <a:pt x="81" y="113"/>
                </a:lnTo>
                <a:lnTo>
                  <a:pt x="78" y="116"/>
                </a:lnTo>
                <a:lnTo>
                  <a:pt x="72" y="116"/>
                </a:lnTo>
                <a:lnTo>
                  <a:pt x="59" y="119"/>
                </a:lnTo>
                <a:lnTo>
                  <a:pt x="56" y="122"/>
                </a:lnTo>
                <a:lnTo>
                  <a:pt x="53" y="125"/>
                </a:lnTo>
                <a:lnTo>
                  <a:pt x="47" y="125"/>
                </a:lnTo>
                <a:lnTo>
                  <a:pt x="40" y="125"/>
                </a:lnTo>
                <a:lnTo>
                  <a:pt x="40" y="122"/>
                </a:lnTo>
                <a:lnTo>
                  <a:pt x="34" y="119"/>
                </a:lnTo>
                <a:lnTo>
                  <a:pt x="28" y="119"/>
                </a:lnTo>
                <a:lnTo>
                  <a:pt x="22" y="113"/>
                </a:lnTo>
                <a:lnTo>
                  <a:pt x="18" y="113"/>
                </a:lnTo>
                <a:lnTo>
                  <a:pt x="15" y="116"/>
                </a:lnTo>
                <a:lnTo>
                  <a:pt x="12" y="116"/>
                </a:lnTo>
                <a:lnTo>
                  <a:pt x="9" y="113"/>
                </a:lnTo>
                <a:lnTo>
                  <a:pt x="6" y="110"/>
                </a:lnTo>
                <a:lnTo>
                  <a:pt x="0" y="107"/>
                </a:lnTo>
                <a:lnTo>
                  <a:pt x="3" y="104"/>
                </a:lnTo>
                <a:lnTo>
                  <a:pt x="3" y="97"/>
                </a:lnTo>
                <a:lnTo>
                  <a:pt x="6" y="91"/>
                </a:lnTo>
                <a:lnTo>
                  <a:pt x="9" y="91"/>
                </a:lnTo>
                <a:lnTo>
                  <a:pt x="12" y="85"/>
                </a:lnTo>
                <a:lnTo>
                  <a:pt x="9" y="79"/>
                </a:lnTo>
                <a:lnTo>
                  <a:pt x="22" y="66"/>
                </a:lnTo>
                <a:lnTo>
                  <a:pt x="25" y="60"/>
                </a:lnTo>
                <a:lnTo>
                  <a:pt x="28" y="57"/>
                </a:lnTo>
                <a:lnTo>
                  <a:pt x="31" y="57"/>
                </a:lnTo>
                <a:lnTo>
                  <a:pt x="31" y="50"/>
                </a:lnTo>
                <a:lnTo>
                  <a:pt x="31" y="47"/>
                </a:lnTo>
                <a:lnTo>
                  <a:pt x="28" y="44"/>
                </a:lnTo>
                <a:lnTo>
                  <a:pt x="31" y="41"/>
                </a:lnTo>
                <a:lnTo>
                  <a:pt x="25" y="41"/>
                </a:lnTo>
                <a:lnTo>
                  <a:pt x="25" y="35"/>
                </a:lnTo>
                <a:lnTo>
                  <a:pt x="22" y="32"/>
                </a:lnTo>
                <a:lnTo>
                  <a:pt x="22" y="22"/>
                </a:lnTo>
                <a:lnTo>
                  <a:pt x="22" y="19"/>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3" name="Freeform 51">
            <a:extLst>
              <a:ext uri="{FF2B5EF4-FFF2-40B4-BE49-F238E27FC236}">
                <a16:creationId xmlns:a16="http://schemas.microsoft.com/office/drawing/2014/main" id="{54ABFC5D-212F-F1EB-9626-435D73F29D21}"/>
              </a:ext>
            </a:extLst>
          </p:cNvPr>
          <p:cNvSpPr>
            <a:spLocks/>
          </p:cNvSpPr>
          <p:nvPr userDrawn="1"/>
        </p:nvSpPr>
        <p:spPr bwMode="auto">
          <a:xfrm>
            <a:off x="14667542" y="6047659"/>
            <a:ext cx="219064" cy="241302"/>
          </a:xfrm>
          <a:custGeom>
            <a:avLst/>
            <a:gdLst>
              <a:gd name="T0" fmla="*/ 0 w 69"/>
              <a:gd name="T1" fmla="*/ 13 h 76"/>
              <a:gd name="T2" fmla="*/ 0 w 69"/>
              <a:gd name="T3" fmla="*/ 10 h 76"/>
              <a:gd name="T4" fmla="*/ 0 w 69"/>
              <a:gd name="T5" fmla="*/ 7 h 76"/>
              <a:gd name="T6" fmla="*/ 0 w 69"/>
              <a:gd name="T7" fmla="*/ 0 h 76"/>
              <a:gd name="T8" fmla="*/ 3 w 69"/>
              <a:gd name="T9" fmla="*/ 4 h 76"/>
              <a:gd name="T10" fmla="*/ 3 w 69"/>
              <a:gd name="T11" fmla="*/ 0 h 76"/>
              <a:gd name="T12" fmla="*/ 6 w 69"/>
              <a:gd name="T13" fmla="*/ 4 h 76"/>
              <a:gd name="T14" fmla="*/ 9 w 69"/>
              <a:gd name="T15" fmla="*/ 0 h 76"/>
              <a:gd name="T16" fmla="*/ 12 w 69"/>
              <a:gd name="T17" fmla="*/ 0 h 76"/>
              <a:gd name="T18" fmla="*/ 16 w 69"/>
              <a:gd name="T19" fmla="*/ 0 h 76"/>
              <a:gd name="T20" fmla="*/ 19 w 69"/>
              <a:gd name="T21" fmla="*/ 4 h 76"/>
              <a:gd name="T22" fmla="*/ 22 w 69"/>
              <a:gd name="T23" fmla="*/ 4 h 76"/>
              <a:gd name="T24" fmla="*/ 28 w 69"/>
              <a:gd name="T25" fmla="*/ 10 h 76"/>
              <a:gd name="T26" fmla="*/ 34 w 69"/>
              <a:gd name="T27" fmla="*/ 10 h 76"/>
              <a:gd name="T28" fmla="*/ 37 w 69"/>
              <a:gd name="T29" fmla="*/ 10 h 76"/>
              <a:gd name="T30" fmla="*/ 37 w 69"/>
              <a:gd name="T31" fmla="*/ 10 h 76"/>
              <a:gd name="T32" fmla="*/ 44 w 69"/>
              <a:gd name="T33" fmla="*/ 16 h 76"/>
              <a:gd name="T34" fmla="*/ 50 w 69"/>
              <a:gd name="T35" fmla="*/ 16 h 76"/>
              <a:gd name="T36" fmla="*/ 50 w 69"/>
              <a:gd name="T37" fmla="*/ 25 h 76"/>
              <a:gd name="T38" fmla="*/ 50 w 69"/>
              <a:gd name="T39" fmla="*/ 29 h 76"/>
              <a:gd name="T40" fmla="*/ 53 w 69"/>
              <a:gd name="T41" fmla="*/ 32 h 76"/>
              <a:gd name="T42" fmla="*/ 56 w 69"/>
              <a:gd name="T43" fmla="*/ 35 h 76"/>
              <a:gd name="T44" fmla="*/ 59 w 69"/>
              <a:gd name="T45" fmla="*/ 38 h 76"/>
              <a:gd name="T46" fmla="*/ 66 w 69"/>
              <a:gd name="T47" fmla="*/ 41 h 76"/>
              <a:gd name="T48" fmla="*/ 66 w 69"/>
              <a:gd name="T49" fmla="*/ 44 h 76"/>
              <a:gd name="T50" fmla="*/ 66 w 69"/>
              <a:gd name="T51" fmla="*/ 47 h 76"/>
              <a:gd name="T52" fmla="*/ 69 w 69"/>
              <a:gd name="T53" fmla="*/ 51 h 76"/>
              <a:gd name="T54" fmla="*/ 66 w 69"/>
              <a:gd name="T55" fmla="*/ 54 h 76"/>
              <a:gd name="T56" fmla="*/ 62 w 69"/>
              <a:gd name="T57" fmla="*/ 54 h 76"/>
              <a:gd name="T58" fmla="*/ 59 w 69"/>
              <a:gd name="T59" fmla="*/ 51 h 76"/>
              <a:gd name="T60" fmla="*/ 53 w 69"/>
              <a:gd name="T61" fmla="*/ 54 h 76"/>
              <a:gd name="T62" fmla="*/ 50 w 69"/>
              <a:gd name="T63" fmla="*/ 54 h 76"/>
              <a:gd name="T64" fmla="*/ 50 w 69"/>
              <a:gd name="T65" fmla="*/ 60 h 76"/>
              <a:gd name="T66" fmla="*/ 50 w 69"/>
              <a:gd name="T67" fmla="*/ 66 h 76"/>
              <a:gd name="T68" fmla="*/ 47 w 69"/>
              <a:gd name="T69" fmla="*/ 66 h 76"/>
              <a:gd name="T70" fmla="*/ 44 w 69"/>
              <a:gd name="T71" fmla="*/ 72 h 76"/>
              <a:gd name="T72" fmla="*/ 44 w 69"/>
              <a:gd name="T73" fmla="*/ 76 h 76"/>
              <a:gd name="T74" fmla="*/ 41 w 69"/>
              <a:gd name="T75" fmla="*/ 72 h 76"/>
              <a:gd name="T76" fmla="*/ 37 w 69"/>
              <a:gd name="T77" fmla="*/ 76 h 76"/>
              <a:gd name="T78" fmla="*/ 37 w 69"/>
              <a:gd name="T79" fmla="*/ 76 h 76"/>
              <a:gd name="T80" fmla="*/ 34 w 69"/>
              <a:gd name="T81" fmla="*/ 69 h 76"/>
              <a:gd name="T82" fmla="*/ 34 w 69"/>
              <a:gd name="T83" fmla="*/ 51 h 76"/>
              <a:gd name="T84" fmla="*/ 31 w 69"/>
              <a:gd name="T85" fmla="*/ 47 h 76"/>
              <a:gd name="T86" fmla="*/ 31 w 69"/>
              <a:gd name="T87" fmla="*/ 41 h 76"/>
              <a:gd name="T88" fmla="*/ 19 w 69"/>
              <a:gd name="T89" fmla="*/ 32 h 76"/>
              <a:gd name="T90" fmla="*/ 19 w 69"/>
              <a:gd name="T91" fmla="*/ 29 h 76"/>
              <a:gd name="T92" fmla="*/ 9 w 69"/>
              <a:gd name="T93" fmla="*/ 22 h 76"/>
              <a:gd name="T94" fmla="*/ 9 w 69"/>
              <a:gd name="T95" fmla="*/ 13 h 76"/>
              <a:gd name="T96" fmla="*/ 0 w 69"/>
              <a:gd name="T97" fmla="*/ 1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 h="76">
                <a:moveTo>
                  <a:pt x="0" y="13"/>
                </a:moveTo>
                <a:lnTo>
                  <a:pt x="0" y="10"/>
                </a:lnTo>
                <a:lnTo>
                  <a:pt x="0" y="7"/>
                </a:lnTo>
                <a:lnTo>
                  <a:pt x="0" y="0"/>
                </a:lnTo>
                <a:lnTo>
                  <a:pt x="3" y="4"/>
                </a:lnTo>
                <a:lnTo>
                  <a:pt x="3" y="0"/>
                </a:lnTo>
                <a:lnTo>
                  <a:pt x="6" y="4"/>
                </a:lnTo>
                <a:lnTo>
                  <a:pt x="9" y="0"/>
                </a:lnTo>
                <a:lnTo>
                  <a:pt x="12" y="0"/>
                </a:lnTo>
                <a:lnTo>
                  <a:pt x="16" y="0"/>
                </a:lnTo>
                <a:lnTo>
                  <a:pt x="19" y="4"/>
                </a:lnTo>
                <a:lnTo>
                  <a:pt x="22" y="4"/>
                </a:lnTo>
                <a:lnTo>
                  <a:pt x="28" y="10"/>
                </a:lnTo>
                <a:lnTo>
                  <a:pt x="34" y="10"/>
                </a:lnTo>
                <a:lnTo>
                  <a:pt x="37" y="10"/>
                </a:lnTo>
                <a:lnTo>
                  <a:pt x="37" y="10"/>
                </a:lnTo>
                <a:lnTo>
                  <a:pt x="44" y="16"/>
                </a:lnTo>
                <a:lnTo>
                  <a:pt x="50" y="16"/>
                </a:lnTo>
                <a:lnTo>
                  <a:pt x="50" y="25"/>
                </a:lnTo>
                <a:lnTo>
                  <a:pt x="50" y="29"/>
                </a:lnTo>
                <a:lnTo>
                  <a:pt x="53" y="32"/>
                </a:lnTo>
                <a:lnTo>
                  <a:pt x="56" y="35"/>
                </a:lnTo>
                <a:lnTo>
                  <a:pt x="59" y="38"/>
                </a:lnTo>
                <a:lnTo>
                  <a:pt x="66" y="41"/>
                </a:lnTo>
                <a:lnTo>
                  <a:pt x="66" y="44"/>
                </a:lnTo>
                <a:lnTo>
                  <a:pt x="66" y="47"/>
                </a:lnTo>
                <a:lnTo>
                  <a:pt x="69" y="51"/>
                </a:lnTo>
                <a:lnTo>
                  <a:pt x="66" y="54"/>
                </a:lnTo>
                <a:lnTo>
                  <a:pt x="62" y="54"/>
                </a:lnTo>
                <a:lnTo>
                  <a:pt x="59" y="51"/>
                </a:lnTo>
                <a:lnTo>
                  <a:pt x="53" y="54"/>
                </a:lnTo>
                <a:lnTo>
                  <a:pt x="50" y="54"/>
                </a:lnTo>
                <a:lnTo>
                  <a:pt x="50" y="60"/>
                </a:lnTo>
                <a:lnTo>
                  <a:pt x="50" y="66"/>
                </a:lnTo>
                <a:lnTo>
                  <a:pt x="47" y="66"/>
                </a:lnTo>
                <a:lnTo>
                  <a:pt x="44" y="72"/>
                </a:lnTo>
                <a:lnTo>
                  <a:pt x="44" y="76"/>
                </a:lnTo>
                <a:lnTo>
                  <a:pt x="41" y="72"/>
                </a:lnTo>
                <a:lnTo>
                  <a:pt x="37" y="76"/>
                </a:lnTo>
                <a:lnTo>
                  <a:pt x="37" y="76"/>
                </a:lnTo>
                <a:lnTo>
                  <a:pt x="34" y="69"/>
                </a:lnTo>
                <a:lnTo>
                  <a:pt x="34" y="51"/>
                </a:lnTo>
                <a:lnTo>
                  <a:pt x="31" y="47"/>
                </a:lnTo>
                <a:lnTo>
                  <a:pt x="31" y="41"/>
                </a:lnTo>
                <a:lnTo>
                  <a:pt x="19" y="32"/>
                </a:lnTo>
                <a:lnTo>
                  <a:pt x="19" y="29"/>
                </a:lnTo>
                <a:lnTo>
                  <a:pt x="9" y="22"/>
                </a:lnTo>
                <a:lnTo>
                  <a:pt x="9" y="13"/>
                </a:lnTo>
                <a:lnTo>
                  <a:pt x="0" y="13"/>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4" name="Freeform 52">
            <a:extLst>
              <a:ext uri="{FF2B5EF4-FFF2-40B4-BE49-F238E27FC236}">
                <a16:creationId xmlns:a16="http://schemas.microsoft.com/office/drawing/2014/main" id="{2663AFAC-2AEC-512C-15F1-54599A3221FE}"/>
              </a:ext>
            </a:extLst>
          </p:cNvPr>
          <p:cNvSpPr>
            <a:spLocks/>
          </p:cNvSpPr>
          <p:nvPr userDrawn="1"/>
        </p:nvSpPr>
        <p:spPr bwMode="auto">
          <a:xfrm>
            <a:off x="14321493" y="6088935"/>
            <a:ext cx="555590" cy="346078"/>
          </a:xfrm>
          <a:custGeom>
            <a:avLst/>
            <a:gdLst>
              <a:gd name="T0" fmla="*/ 43 w 175"/>
              <a:gd name="T1" fmla="*/ 3 h 109"/>
              <a:gd name="T2" fmla="*/ 50 w 175"/>
              <a:gd name="T3" fmla="*/ 0 h 109"/>
              <a:gd name="T4" fmla="*/ 62 w 175"/>
              <a:gd name="T5" fmla="*/ 6 h 109"/>
              <a:gd name="T6" fmla="*/ 68 w 175"/>
              <a:gd name="T7" fmla="*/ 12 h 109"/>
              <a:gd name="T8" fmla="*/ 81 w 175"/>
              <a:gd name="T9" fmla="*/ 12 h 109"/>
              <a:gd name="T10" fmla="*/ 87 w 175"/>
              <a:gd name="T11" fmla="*/ 6 h 109"/>
              <a:gd name="T12" fmla="*/ 106 w 175"/>
              <a:gd name="T13" fmla="*/ 3 h 109"/>
              <a:gd name="T14" fmla="*/ 118 w 175"/>
              <a:gd name="T15" fmla="*/ 9 h 109"/>
              <a:gd name="T16" fmla="*/ 128 w 175"/>
              <a:gd name="T17" fmla="*/ 19 h 109"/>
              <a:gd name="T18" fmla="*/ 140 w 175"/>
              <a:gd name="T19" fmla="*/ 34 h 109"/>
              <a:gd name="T20" fmla="*/ 143 w 175"/>
              <a:gd name="T21" fmla="*/ 56 h 109"/>
              <a:gd name="T22" fmla="*/ 150 w 175"/>
              <a:gd name="T23" fmla="*/ 69 h 109"/>
              <a:gd name="T24" fmla="*/ 162 w 175"/>
              <a:gd name="T25" fmla="*/ 69 h 109"/>
              <a:gd name="T26" fmla="*/ 171 w 175"/>
              <a:gd name="T27" fmla="*/ 66 h 109"/>
              <a:gd name="T28" fmla="*/ 171 w 175"/>
              <a:gd name="T29" fmla="*/ 72 h 109"/>
              <a:gd name="T30" fmla="*/ 175 w 175"/>
              <a:gd name="T31" fmla="*/ 75 h 109"/>
              <a:gd name="T32" fmla="*/ 168 w 175"/>
              <a:gd name="T33" fmla="*/ 81 h 109"/>
              <a:gd name="T34" fmla="*/ 159 w 175"/>
              <a:gd name="T35" fmla="*/ 88 h 109"/>
              <a:gd name="T36" fmla="*/ 159 w 175"/>
              <a:gd name="T37" fmla="*/ 94 h 109"/>
              <a:gd name="T38" fmla="*/ 156 w 175"/>
              <a:gd name="T39" fmla="*/ 100 h 109"/>
              <a:gd name="T40" fmla="*/ 153 w 175"/>
              <a:gd name="T41" fmla="*/ 106 h 109"/>
              <a:gd name="T42" fmla="*/ 146 w 175"/>
              <a:gd name="T43" fmla="*/ 103 h 109"/>
              <a:gd name="T44" fmla="*/ 140 w 175"/>
              <a:gd name="T45" fmla="*/ 100 h 109"/>
              <a:gd name="T46" fmla="*/ 128 w 175"/>
              <a:gd name="T47" fmla="*/ 97 h 109"/>
              <a:gd name="T48" fmla="*/ 112 w 175"/>
              <a:gd name="T49" fmla="*/ 103 h 109"/>
              <a:gd name="T50" fmla="*/ 106 w 175"/>
              <a:gd name="T51" fmla="*/ 109 h 109"/>
              <a:gd name="T52" fmla="*/ 96 w 175"/>
              <a:gd name="T53" fmla="*/ 109 h 109"/>
              <a:gd name="T54" fmla="*/ 87 w 175"/>
              <a:gd name="T55" fmla="*/ 106 h 109"/>
              <a:gd name="T56" fmla="*/ 81 w 175"/>
              <a:gd name="T57" fmla="*/ 109 h 109"/>
              <a:gd name="T58" fmla="*/ 68 w 175"/>
              <a:gd name="T59" fmla="*/ 109 h 109"/>
              <a:gd name="T60" fmla="*/ 65 w 175"/>
              <a:gd name="T61" fmla="*/ 106 h 109"/>
              <a:gd name="T62" fmla="*/ 56 w 175"/>
              <a:gd name="T63" fmla="*/ 109 h 109"/>
              <a:gd name="T64" fmla="*/ 53 w 175"/>
              <a:gd name="T65" fmla="*/ 103 h 109"/>
              <a:gd name="T66" fmla="*/ 53 w 175"/>
              <a:gd name="T67" fmla="*/ 100 h 109"/>
              <a:gd name="T68" fmla="*/ 46 w 175"/>
              <a:gd name="T69" fmla="*/ 94 h 109"/>
              <a:gd name="T70" fmla="*/ 46 w 175"/>
              <a:gd name="T71" fmla="*/ 88 h 109"/>
              <a:gd name="T72" fmla="*/ 37 w 175"/>
              <a:gd name="T73" fmla="*/ 91 h 109"/>
              <a:gd name="T74" fmla="*/ 31 w 175"/>
              <a:gd name="T75" fmla="*/ 88 h 109"/>
              <a:gd name="T76" fmla="*/ 21 w 175"/>
              <a:gd name="T77" fmla="*/ 84 h 109"/>
              <a:gd name="T78" fmla="*/ 25 w 175"/>
              <a:gd name="T79" fmla="*/ 78 h 109"/>
              <a:gd name="T80" fmla="*/ 12 w 175"/>
              <a:gd name="T81" fmla="*/ 69 h 109"/>
              <a:gd name="T82" fmla="*/ 6 w 175"/>
              <a:gd name="T83" fmla="*/ 59 h 109"/>
              <a:gd name="T84" fmla="*/ 0 w 175"/>
              <a:gd name="T85" fmla="*/ 56 h 109"/>
              <a:gd name="T86" fmla="*/ 9 w 175"/>
              <a:gd name="T87" fmla="*/ 50 h 109"/>
              <a:gd name="T88" fmla="*/ 15 w 175"/>
              <a:gd name="T89" fmla="*/ 47 h 109"/>
              <a:gd name="T90" fmla="*/ 18 w 175"/>
              <a:gd name="T91" fmla="*/ 41 h 109"/>
              <a:gd name="T92" fmla="*/ 31 w 175"/>
              <a:gd name="T93" fmla="*/ 19 h 109"/>
              <a:gd name="T94" fmla="*/ 37 w 175"/>
              <a:gd name="T95" fmla="*/ 9 h 109"/>
              <a:gd name="T96" fmla="*/ 40 w 175"/>
              <a:gd name="T97" fmla="*/ 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5" h="109">
                <a:moveTo>
                  <a:pt x="40" y="3"/>
                </a:moveTo>
                <a:lnTo>
                  <a:pt x="43" y="3"/>
                </a:lnTo>
                <a:lnTo>
                  <a:pt x="46" y="0"/>
                </a:lnTo>
                <a:lnTo>
                  <a:pt x="50" y="0"/>
                </a:lnTo>
                <a:lnTo>
                  <a:pt x="56" y="6"/>
                </a:lnTo>
                <a:lnTo>
                  <a:pt x="62" y="6"/>
                </a:lnTo>
                <a:lnTo>
                  <a:pt x="68" y="9"/>
                </a:lnTo>
                <a:lnTo>
                  <a:pt x="68" y="12"/>
                </a:lnTo>
                <a:lnTo>
                  <a:pt x="75" y="12"/>
                </a:lnTo>
                <a:lnTo>
                  <a:pt x="81" y="12"/>
                </a:lnTo>
                <a:lnTo>
                  <a:pt x="84" y="9"/>
                </a:lnTo>
                <a:lnTo>
                  <a:pt x="87" y="6"/>
                </a:lnTo>
                <a:lnTo>
                  <a:pt x="100" y="3"/>
                </a:lnTo>
                <a:lnTo>
                  <a:pt x="106" y="3"/>
                </a:lnTo>
                <a:lnTo>
                  <a:pt x="118" y="0"/>
                </a:lnTo>
                <a:lnTo>
                  <a:pt x="118" y="9"/>
                </a:lnTo>
                <a:lnTo>
                  <a:pt x="128" y="16"/>
                </a:lnTo>
                <a:lnTo>
                  <a:pt x="128" y="19"/>
                </a:lnTo>
                <a:lnTo>
                  <a:pt x="140" y="28"/>
                </a:lnTo>
                <a:lnTo>
                  <a:pt x="140" y="34"/>
                </a:lnTo>
                <a:lnTo>
                  <a:pt x="143" y="38"/>
                </a:lnTo>
                <a:lnTo>
                  <a:pt x="143" y="56"/>
                </a:lnTo>
                <a:lnTo>
                  <a:pt x="146" y="63"/>
                </a:lnTo>
                <a:lnTo>
                  <a:pt x="150" y="69"/>
                </a:lnTo>
                <a:lnTo>
                  <a:pt x="156" y="69"/>
                </a:lnTo>
                <a:lnTo>
                  <a:pt x="162" y="69"/>
                </a:lnTo>
                <a:lnTo>
                  <a:pt x="165" y="69"/>
                </a:lnTo>
                <a:lnTo>
                  <a:pt x="171" y="66"/>
                </a:lnTo>
                <a:lnTo>
                  <a:pt x="175" y="69"/>
                </a:lnTo>
                <a:lnTo>
                  <a:pt x="171" y="72"/>
                </a:lnTo>
                <a:lnTo>
                  <a:pt x="175" y="72"/>
                </a:lnTo>
                <a:lnTo>
                  <a:pt x="175" y="75"/>
                </a:lnTo>
                <a:lnTo>
                  <a:pt x="171" y="81"/>
                </a:lnTo>
                <a:lnTo>
                  <a:pt x="168" y="81"/>
                </a:lnTo>
                <a:lnTo>
                  <a:pt x="159" y="81"/>
                </a:lnTo>
                <a:lnTo>
                  <a:pt x="159" y="88"/>
                </a:lnTo>
                <a:lnTo>
                  <a:pt x="156" y="91"/>
                </a:lnTo>
                <a:lnTo>
                  <a:pt x="159" y="94"/>
                </a:lnTo>
                <a:lnTo>
                  <a:pt x="159" y="97"/>
                </a:lnTo>
                <a:lnTo>
                  <a:pt x="156" y="100"/>
                </a:lnTo>
                <a:lnTo>
                  <a:pt x="159" y="106"/>
                </a:lnTo>
                <a:lnTo>
                  <a:pt x="153" y="106"/>
                </a:lnTo>
                <a:lnTo>
                  <a:pt x="153" y="103"/>
                </a:lnTo>
                <a:lnTo>
                  <a:pt x="146" y="103"/>
                </a:lnTo>
                <a:lnTo>
                  <a:pt x="143" y="103"/>
                </a:lnTo>
                <a:lnTo>
                  <a:pt x="140" y="100"/>
                </a:lnTo>
                <a:lnTo>
                  <a:pt x="134" y="97"/>
                </a:lnTo>
                <a:lnTo>
                  <a:pt x="128" y="97"/>
                </a:lnTo>
                <a:lnTo>
                  <a:pt x="125" y="100"/>
                </a:lnTo>
                <a:lnTo>
                  <a:pt x="112" y="103"/>
                </a:lnTo>
                <a:lnTo>
                  <a:pt x="109" y="106"/>
                </a:lnTo>
                <a:lnTo>
                  <a:pt x="106" y="109"/>
                </a:lnTo>
                <a:lnTo>
                  <a:pt x="103" y="109"/>
                </a:lnTo>
                <a:lnTo>
                  <a:pt x="96" y="109"/>
                </a:lnTo>
                <a:lnTo>
                  <a:pt x="93" y="109"/>
                </a:lnTo>
                <a:lnTo>
                  <a:pt x="87" y="106"/>
                </a:lnTo>
                <a:lnTo>
                  <a:pt x="84" y="109"/>
                </a:lnTo>
                <a:lnTo>
                  <a:pt x="81" y="109"/>
                </a:lnTo>
                <a:lnTo>
                  <a:pt x="75" y="109"/>
                </a:lnTo>
                <a:lnTo>
                  <a:pt x="68" y="109"/>
                </a:lnTo>
                <a:lnTo>
                  <a:pt x="65" y="109"/>
                </a:lnTo>
                <a:lnTo>
                  <a:pt x="65" y="106"/>
                </a:lnTo>
                <a:lnTo>
                  <a:pt x="59" y="106"/>
                </a:lnTo>
                <a:lnTo>
                  <a:pt x="56" y="109"/>
                </a:lnTo>
                <a:lnTo>
                  <a:pt x="53" y="106"/>
                </a:lnTo>
                <a:lnTo>
                  <a:pt x="53" y="103"/>
                </a:lnTo>
                <a:lnTo>
                  <a:pt x="53" y="100"/>
                </a:lnTo>
                <a:lnTo>
                  <a:pt x="53" y="100"/>
                </a:lnTo>
                <a:lnTo>
                  <a:pt x="46" y="97"/>
                </a:lnTo>
                <a:lnTo>
                  <a:pt x="46" y="94"/>
                </a:lnTo>
                <a:lnTo>
                  <a:pt x="43" y="91"/>
                </a:lnTo>
                <a:lnTo>
                  <a:pt x="46" y="88"/>
                </a:lnTo>
                <a:lnTo>
                  <a:pt x="40" y="84"/>
                </a:lnTo>
                <a:lnTo>
                  <a:pt x="37" y="91"/>
                </a:lnTo>
                <a:lnTo>
                  <a:pt x="34" y="88"/>
                </a:lnTo>
                <a:lnTo>
                  <a:pt x="31" y="88"/>
                </a:lnTo>
                <a:lnTo>
                  <a:pt x="28" y="84"/>
                </a:lnTo>
                <a:lnTo>
                  <a:pt x="21" y="84"/>
                </a:lnTo>
                <a:lnTo>
                  <a:pt x="21" y="81"/>
                </a:lnTo>
                <a:lnTo>
                  <a:pt x="25" y="78"/>
                </a:lnTo>
                <a:lnTo>
                  <a:pt x="18" y="72"/>
                </a:lnTo>
                <a:lnTo>
                  <a:pt x="12" y="69"/>
                </a:lnTo>
                <a:lnTo>
                  <a:pt x="12" y="66"/>
                </a:lnTo>
                <a:lnTo>
                  <a:pt x="6" y="59"/>
                </a:lnTo>
                <a:lnTo>
                  <a:pt x="6" y="56"/>
                </a:lnTo>
                <a:lnTo>
                  <a:pt x="0" y="56"/>
                </a:lnTo>
                <a:lnTo>
                  <a:pt x="6" y="50"/>
                </a:lnTo>
                <a:lnTo>
                  <a:pt x="9" y="50"/>
                </a:lnTo>
                <a:lnTo>
                  <a:pt x="9" y="47"/>
                </a:lnTo>
                <a:lnTo>
                  <a:pt x="15" y="47"/>
                </a:lnTo>
                <a:lnTo>
                  <a:pt x="18" y="44"/>
                </a:lnTo>
                <a:lnTo>
                  <a:pt x="18" y="41"/>
                </a:lnTo>
                <a:lnTo>
                  <a:pt x="25" y="31"/>
                </a:lnTo>
                <a:lnTo>
                  <a:pt x="31" y="19"/>
                </a:lnTo>
                <a:lnTo>
                  <a:pt x="34" y="9"/>
                </a:lnTo>
                <a:lnTo>
                  <a:pt x="37" y="9"/>
                </a:lnTo>
                <a:lnTo>
                  <a:pt x="40" y="6"/>
                </a:lnTo>
                <a:lnTo>
                  <a:pt x="40" y="3"/>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5" name="Freeform 53">
            <a:extLst>
              <a:ext uri="{FF2B5EF4-FFF2-40B4-BE49-F238E27FC236}">
                <a16:creationId xmlns:a16="http://schemas.microsoft.com/office/drawing/2014/main" id="{1D2E6A65-E949-A9BB-6C2C-70BA5DCB6AB9}"/>
              </a:ext>
            </a:extLst>
          </p:cNvPr>
          <p:cNvSpPr>
            <a:spLocks/>
          </p:cNvSpPr>
          <p:nvPr userDrawn="1"/>
        </p:nvSpPr>
        <p:spPr bwMode="auto">
          <a:xfrm>
            <a:off x="14092905" y="6069880"/>
            <a:ext cx="355577" cy="228600"/>
          </a:xfrm>
          <a:custGeom>
            <a:avLst/>
            <a:gdLst>
              <a:gd name="T0" fmla="*/ 72 w 112"/>
              <a:gd name="T1" fmla="*/ 62 h 72"/>
              <a:gd name="T2" fmla="*/ 78 w 112"/>
              <a:gd name="T3" fmla="*/ 56 h 72"/>
              <a:gd name="T4" fmla="*/ 81 w 112"/>
              <a:gd name="T5" fmla="*/ 56 h 72"/>
              <a:gd name="T6" fmla="*/ 81 w 112"/>
              <a:gd name="T7" fmla="*/ 53 h 72"/>
              <a:gd name="T8" fmla="*/ 87 w 112"/>
              <a:gd name="T9" fmla="*/ 53 h 72"/>
              <a:gd name="T10" fmla="*/ 90 w 112"/>
              <a:gd name="T11" fmla="*/ 50 h 72"/>
              <a:gd name="T12" fmla="*/ 90 w 112"/>
              <a:gd name="T13" fmla="*/ 47 h 72"/>
              <a:gd name="T14" fmla="*/ 97 w 112"/>
              <a:gd name="T15" fmla="*/ 37 h 72"/>
              <a:gd name="T16" fmla="*/ 103 w 112"/>
              <a:gd name="T17" fmla="*/ 25 h 72"/>
              <a:gd name="T18" fmla="*/ 106 w 112"/>
              <a:gd name="T19" fmla="*/ 15 h 72"/>
              <a:gd name="T20" fmla="*/ 109 w 112"/>
              <a:gd name="T21" fmla="*/ 15 h 72"/>
              <a:gd name="T22" fmla="*/ 112 w 112"/>
              <a:gd name="T23" fmla="*/ 12 h 72"/>
              <a:gd name="T24" fmla="*/ 109 w 112"/>
              <a:gd name="T25" fmla="*/ 6 h 72"/>
              <a:gd name="T26" fmla="*/ 106 w 112"/>
              <a:gd name="T27" fmla="*/ 3 h 72"/>
              <a:gd name="T28" fmla="*/ 100 w 112"/>
              <a:gd name="T29" fmla="*/ 0 h 72"/>
              <a:gd name="T30" fmla="*/ 97 w 112"/>
              <a:gd name="T31" fmla="*/ 3 h 72"/>
              <a:gd name="T32" fmla="*/ 90 w 112"/>
              <a:gd name="T33" fmla="*/ 0 h 72"/>
              <a:gd name="T34" fmla="*/ 84 w 112"/>
              <a:gd name="T35" fmla="*/ 0 h 72"/>
              <a:gd name="T36" fmla="*/ 78 w 112"/>
              <a:gd name="T37" fmla="*/ 0 h 72"/>
              <a:gd name="T38" fmla="*/ 72 w 112"/>
              <a:gd name="T39" fmla="*/ 0 h 72"/>
              <a:gd name="T40" fmla="*/ 68 w 112"/>
              <a:gd name="T41" fmla="*/ 6 h 72"/>
              <a:gd name="T42" fmla="*/ 65 w 112"/>
              <a:gd name="T43" fmla="*/ 9 h 72"/>
              <a:gd name="T44" fmla="*/ 65 w 112"/>
              <a:gd name="T45" fmla="*/ 12 h 72"/>
              <a:gd name="T46" fmla="*/ 59 w 112"/>
              <a:gd name="T47" fmla="*/ 6 h 72"/>
              <a:gd name="T48" fmla="*/ 53 w 112"/>
              <a:gd name="T49" fmla="*/ 12 h 72"/>
              <a:gd name="T50" fmla="*/ 47 w 112"/>
              <a:gd name="T51" fmla="*/ 12 h 72"/>
              <a:gd name="T52" fmla="*/ 47 w 112"/>
              <a:gd name="T53" fmla="*/ 15 h 72"/>
              <a:gd name="T54" fmla="*/ 37 w 112"/>
              <a:gd name="T55" fmla="*/ 18 h 72"/>
              <a:gd name="T56" fmla="*/ 28 w 112"/>
              <a:gd name="T57" fmla="*/ 18 h 72"/>
              <a:gd name="T58" fmla="*/ 22 w 112"/>
              <a:gd name="T59" fmla="*/ 18 h 72"/>
              <a:gd name="T60" fmla="*/ 9 w 112"/>
              <a:gd name="T61" fmla="*/ 12 h 72"/>
              <a:gd name="T62" fmla="*/ 9 w 112"/>
              <a:gd name="T63" fmla="*/ 12 h 72"/>
              <a:gd name="T64" fmla="*/ 9 w 112"/>
              <a:gd name="T65" fmla="*/ 18 h 72"/>
              <a:gd name="T66" fmla="*/ 9 w 112"/>
              <a:gd name="T67" fmla="*/ 22 h 72"/>
              <a:gd name="T68" fmla="*/ 0 w 112"/>
              <a:gd name="T69" fmla="*/ 22 h 72"/>
              <a:gd name="T70" fmla="*/ 0 w 112"/>
              <a:gd name="T71" fmla="*/ 25 h 72"/>
              <a:gd name="T72" fmla="*/ 3 w 112"/>
              <a:gd name="T73" fmla="*/ 28 h 72"/>
              <a:gd name="T74" fmla="*/ 3 w 112"/>
              <a:gd name="T75" fmla="*/ 31 h 72"/>
              <a:gd name="T76" fmla="*/ 3 w 112"/>
              <a:gd name="T77" fmla="*/ 34 h 72"/>
              <a:gd name="T78" fmla="*/ 3 w 112"/>
              <a:gd name="T79" fmla="*/ 40 h 72"/>
              <a:gd name="T80" fmla="*/ 0 w 112"/>
              <a:gd name="T81" fmla="*/ 44 h 72"/>
              <a:gd name="T82" fmla="*/ 0 w 112"/>
              <a:gd name="T83" fmla="*/ 44 h 72"/>
              <a:gd name="T84" fmla="*/ 6 w 112"/>
              <a:gd name="T85" fmla="*/ 50 h 72"/>
              <a:gd name="T86" fmla="*/ 6 w 112"/>
              <a:gd name="T87" fmla="*/ 56 h 72"/>
              <a:gd name="T88" fmla="*/ 9 w 112"/>
              <a:gd name="T89" fmla="*/ 56 h 72"/>
              <a:gd name="T90" fmla="*/ 15 w 112"/>
              <a:gd name="T91" fmla="*/ 62 h 72"/>
              <a:gd name="T92" fmla="*/ 22 w 112"/>
              <a:gd name="T93" fmla="*/ 65 h 72"/>
              <a:gd name="T94" fmla="*/ 25 w 112"/>
              <a:gd name="T95" fmla="*/ 69 h 72"/>
              <a:gd name="T96" fmla="*/ 34 w 112"/>
              <a:gd name="T97" fmla="*/ 69 h 72"/>
              <a:gd name="T98" fmla="*/ 40 w 112"/>
              <a:gd name="T99" fmla="*/ 72 h 72"/>
              <a:gd name="T100" fmla="*/ 43 w 112"/>
              <a:gd name="T101" fmla="*/ 69 h 72"/>
              <a:gd name="T102" fmla="*/ 47 w 112"/>
              <a:gd name="T103" fmla="*/ 69 h 72"/>
              <a:gd name="T104" fmla="*/ 50 w 112"/>
              <a:gd name="T105" fmla="*/ 65 h 72"/>
              <a:gd name="T106" fmla="*/ 53 w 112"/>
              <a:gd name="T107" fmla="*/ 65 h 72"/>
              <a:gd name="T108" fmla="*/ 56 w 112"/>
              <a:gd name="T109" fmla="*/ 65 h 72"/>
              <a:gd name="T110" fmla="*/ 59 w 112"/>
              <a:gd name="T111" fmla="*/ 62 h 72"/>
              <a:gd name="T112" fmla="*/ 62 w 112"/>
              <a:gd name="T113" fmla="*/ 59 h 72"/>
              <a:gd name="T114" fmla="*/ 65 w 112"/>
              <a:gd name="T115" fmla="*/ 59 h 72"/>
              <a:gd name="T116" fmla="*/ 72 w 112"/>
              <a:gd name="T117" fmla="*/ 59 h 72"/>
              <a:gd name="T118" fmla="*/ 72 w 112"/>
              <a:gd name="T119"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2" h="72">
                <a:moveTo>
                  <a:pt x="72" y="62"/>
                </a:moveTo>
                <a:lnTo>
                  <a:pt x="78" y="56"/>
                </a:lnTo>
                <a:lnTo>
                  <a:pt x="81" y="56"/>
                </a:lnTo>
                <a:lnTo>
                  <a:pt x="81" y="53"/>
                </a:lnTo>
                <a:lnTo>
                  <a:pt x="87" y="53"/>
                </a:lnTo>
                <a:lnTo>
                  <a:pt x="90" y="50"/>
                </a:lnTo>
                <a:lnTo>
                  <a:pt x="90" y="47"/>
                </a:lnTo>
                <a:lnTo>
                  <a:pt x="97" y="37"/>
                </a:lnTo>
                <a:lnTo>
                  <a:pt x="103" y="25"/>
                </a:lnTo>
                <a:lnTo>
                  <a:pt x="106" y="15"/>
                </a:lnTo>
                <a:lnTo>
                  <a:pt x="109" y="15"/>
                </a:lnTo>
                <a:lnTo>
                  <a:pt x="112" y="12"/>
                </a:lnTo>
                <a:lnTo>
                  <a:pt x="109" y="6"/>
                </a:lnTo>
                <a:lnTo>
                  <a:pt x="106" y="3"/>
                </a:lnTo>
                <a:lnTo>
                  <a:pt x="100" y="0"/>
                </a:lnTo>
                <a:lnTo>
                  <a:pt x="97" y="3"/>
                </a:lnTo>
                <a:lnTo>
                  <a:pt x="90" y="0"/>
                </a:lnTo>
                <a:lnTo>
                  <a:pt x="84" y="0"/>
                </a:lnTo>
                <a:lnTo>
                  <a:pt x="78" y="0"/>
                </a:lnTo>
                <a:lnTo>
                  <a:pt x="72" y="0"/>
                </a:lnTo>
                <a:lnTo>
                  <a:pt x="68" y="6"/>
                </a:lnTo>
                <a:lnTo>
                  <a:pt x="65" y="9"/>
                </a:lnTo>
                <a:lnTo>
                  <a:pt x="65" y="12"/>
                </a:lnTo>
                <a:lnTo>
                  <a:pt x="59" y="6"/>
                </a:lnTo>
                <a:lnTo>
                  <a:pt x="53" y="12"/>
                </a:lnTo>
                <a:lnTo>
                  <a:pt x="47" y="12"/>
                </a:lnTo>
                <a:lnTo>
                  <a:pt x="47" y="15"/>
                </a:lnTo>
                <a:lnTo>
                  <a:pt x="37" y="18"/>
                </a:lnTo>
                <a:lnTo>
                  <a:pt x="28" y="18"/>
                </a:lnTo>
                <a:lnTo>
                  <a:pt x="22" y="18"/>
                </a:lnTo>
                <a:lnTo>
                  <a:pt x="9" y="12"/>
                </a:lnTo>
                <a:lnTo>
                  <a:pt x="9" y="12"/>
                </a:lnTo>
                <a:lnTo>
                  <a:pt x="9" y="18"/>
                </a:lnTo>
                <a:lnTo>
                  <a:pt x="9" y="22"/>
                </a:lnTo>
                <a:lnTo>
                  <a:pt x="0" y="22"/>
                </a:lnTo>
                <a:lnTo>
                  <a:pt x="0" y="25"/>
                </a:lnTo>
                <a:lnTo>
                  <a:pt x="3" y="28"/>
                </a:lnTo>
                <a:lnTo>
                  <a:pt x="3" y="31"/>
                </a:lnTo>
                <a:lnTo>
                  <a:pt x="3" y="34"/>
                </a:lnTo>
                <a:lnTo>
                  <a:pt x="3" y="40"/>
                </a:lnTo>
                <a:lnTo>
                  <a:pt x="0" y="44"/>
                </a:lnTo>
                <a:lnTo>
                  <a:pt x="0" y="44"/>
                </a:lnTo>
                <a:lnTo>
                  <a:pt x="6" y="50"/>
                </a:lnTo>
                <a:lnTo>
                  <a:pt x="6" y="56"/>
                </a:lnTo>
                <a:lnTo>
                  <a:pt x="9" y="56"/>
                </a:lnTo>
                <a:lnTo>
                  <a:pt x="15" y="62"/>
                </a:lnTo>
                <a:lnTo>
                  <a:pt x="22" y="65"/>
                </a:lnTo>
                <a:lnTo>
                  <a:pt x="25" y="69"/>
                </a:lnTo>
                <a:lnTo>
                  <a:pt x="34" y="69"/>
                </a:lnTo>
                <a:lnTo>
                  <a:pt x="40" y="72"/>
                </a:lnTo>
                <a:lnTo>
                  <a:pt x="43" y="69"/>
                </a:lnTo>
                <a:lnTo>
                  <a:pt x="47" y="69"/>
                </a:lnTo>
                <a:lnTo>
                  <a:pt x="50" y="65"/>
                </a:lnTo>
                <a:lnTo>
                  <a:pt x="53" y="65"/>
                </a:lnTo>
                <a:lnTo>
                  <a:pt x="56" y="65"/>
                </a:lnTo>
                <a:lnTo>
                  <a:pt x="59" y="62"/>
                </a:lnTo>
                <a:lnTo>
                  <a:pt x="62" y="59"/>
                </a:lnTo>
                <a:lnTo>
                  <a:pt x="65" y="59"/>
                </a:lnTo>
                <a:lnTo>
                  <a:pt x="72" y="59"/>
                </a:lnTo>
                <a:lnTo>
                  <a:pt x="72" y="62"/>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6" name="Freeform 54">
            <a:extLst>
              <a:ext uri="{FF2B5EF4-FFF2-40B4-BE49-F238E27FC236}">
                <a16:creationId xmlns:a16="http://schemas.microsoft.com/office/drawing/2014/main" id="{B3F79F7F-C229-21C0-753A-FF664F1631B9}"/>
              </a:ext>
            </a:extLst>
          </p:cNvPr>
          <p:cNvSpPr>
            <a:spLocks/>
          </p:cNvSpPr>
          <p:nvPr userDrawn="1"/>
        </p:nvSpPr>
        <p:spPr bwMode="auto">
          <a:xfrm>
            <a:off x="14121479" y="6000032"/>
            <a:ext cx="307956" cy="127000"/>
          </a:xfrm>
          <a:custGeom>
            <a:avLst/>
            <a:gdLst>
              <a:gd name="T0" fmla="*/ 0 w 97"/>
              <a:gd name="T1" fmla="*/ 34 h 40"/>
              <a:gd name="T2" fmla="*/ 13 w 97"/>
              <a:gd name="T3" fmla="*/ 40 h 40"/>
              <a:gd name="T4" fmla="*/ 19 w 97"/>
              <a:gd name="T5" fmla="*/ 40 h 40"/>
              <a:gd name="T6" fmla="*/ 28 w 97"/>
              <a:gd name="T7" fmla="*/ 40 h 40"/>
              <a:gd name="T8" fmla="*/ 38 w 97"/>
              <a:gd name="T9" fmla="*/ 37 h 40"/>
              <a:gd name="T10" fmla="*/ 38 w 97"/>
              <a:gd name="T11" fmla="*/ 34 h 40"/>
              <a:gd name="T12" fmla="*/ 44 w 97"/>
              <a:gd name="T13" fmla="*/ 34 h 40"/>
              <a:gd name="T14" fmla="*/ 50 w 97"/>
              <a:gd name="T15" fmla="*/ 28 h 40"/>
              <a:gd name="T16" fmla="*/ 56 w 97"/>
              <a:gd name="T17" fmla="*/ 34 h 40"/>
              <a:gd name="T18" fmla="*/ 56 w 97"/>
              <a:gd name="T19" fmla="*/ 31 h 40"/>
              <a:gd name="T20" fmla="*/ 59 w 97"/>
              <a:gd name="T21" fmla="*/ 28 h 40"/>
              <a:gd name="T22" fmla="*/ 63 w 97"/>
              <a:gd name="T23" fmla="*/ 22 h 40"/>
              <a:gd name="T24" fmla="*/ 69 w 97"/>
              <a:gd name="T25" fmla="*/ 22 h 40"/>
              <a:gd name="T26" fmla="*/ 75 w 97"/>
              <a:gd name="T27" fmla="*/ 22 h 40"/>
              <a:gd name="T28" fmla="*/ 81 w 97"/>
              <a:gd name="T29" fmla="*/ 22 h 40"/>
              <a:gd name="T30" fmla="*/ 88 w 97"/>
              <a:gd name="T31" fmla="*/ 25 h 40"/>
              <a:gd name="T32" fmla="*/ 94 w 97"/>
              <a:gd name="T33" fmla="*/ 19 h 40"/>
              <a:gd name="T34" fmla="*/ 94 w 97"/>
              <a:gd name="T35" fmla="*/ 12 h 40"/>
              <a:gd name="T36" fmla="*/ 97 w 97"/>
              <a:gd name="T37" fmla="*/ 6 h 40"/>
              <a:gd name="T38" fmla="*/ 97 w 97"/>
              <a:gd name="T39" fmla="*/ 6 h 40"/>
              <a:gd name="T40" fmla="*/ 88 w 97"/>
              <a:gd name="T41" fmla="*/ 0 h 40"/>
              <a:gd name="T42" fmla="*/ 81 w 97"/>
              <a:gd name="T43" fmla="*/ 0 h 40"/>
              <a:gd name="T44" fmla="*/ 78 w 97"/>
              <a:gd name="T45" fmla="*/ 0 h 40"/>
              <a:gd name="T46" fmla="*/ 75 w 97"/>
              <a:gd name="T47" fmla="*/ 0 h 40"/>
              <a:gd name="T48" fmla="*/ 72 w 97"/>
              <a:gd name="T49" fmla="*/ 0 h 40"/>
              <a:gd name="T50" fmla="*/ 72 w 97"/>
              <a:gd name="T51" fmla="*/ 3 h 40"/>
              <a:gd name="T52" fmla="*/ 69 w 97"/>
              <a:gd name="T53" fmla="*/ 0 h 40"/>
              <a:gd name="T54" fmla="*/ 63 w 97"/>
              <a:gd name="T55" fmla="*/ 0 h 40"/>
              <a:gd name="T56" fmla="*/ 59 w 97"/>
              <a:gd name="T57" fmla="*/ 0 h 40"/>
              <a:gd name="T58" fmla="*/ 56 w 97"/>
              <a:gd name="T59" fmla="*/ 0 h 40"/>
              <a:gd name="T60" fmla="*/ 53 w 97"/>
              <a:gd name="T61" fmla="*/ 6 h 40"/>
              <a:gd name="T62" fmla="*/ 50 w 97"/>
              <a:gd name="T63" fmla="*/ 6 h 40"/>
              <a:gd name="T64" fmla="*/ 50 w 97"/>
              <a:gd name="T65" fmla="*/ 3 h 40"/>
              <a:gd name="T66" fmla="*/ 50 w 97"/>
              <a:gd name="T67" fmla="*/ 3 h 40"/>
              <a:gd name="T68" fmla="*/ 41 w 97"/>
              <a:gd name="T69" fmla="*/ 3 h 40"/>
              <a:gd name="T70" fmla="*/ 38 w 97"/>
              <a:gd name="T71" fmla="*/ 6 h 40"/>
              <a:gd name="T72" fmla="*/ 31 w 97"/>
              <a:gd name="T73" fmla="*/ 9 h 40"/>
              <a:gd name="T74" fmla="*/ 25 w 97"/>
              <a:gd name="T75" fmla="*/ 12 h 40"/>
              <a:gd name="T76" fmla="*/ 19 w 97"/>
              <a:gd name="T77" fmla="*/ 15 h 40"/>
              <a:gd name="T78" fmla="*/ 13 w 97"/>
              <a:gd name="T79" fmla="*/ 19 h 40"/>
              <a:gd name="T80" fmla="*/ 9 w 97"/>
              <a:gd name="T81" fmla="*/ 15 h 40"/>
              <a:gd name="T82" fmla="*/ 6 w 97"/>
              <a:gd name="T83" fmla="*/ 15 h 40"/>
              <a:gd name="T84" fmla="*/ 0 w 97"/>
              <a:gd name="T85" fmla="*/ 19 h 40"/>
              <a:gd name="T86" fmla="*/ 0 w 97"/>
              <a:gd name="T87" fmla="*/ 19 h 40"/>
              <a:gd name="T88" fmla="*/ 0 w 97"/>
              <a:gd name="T89" fmla="*/ 25 h 40"/>
              <a:gd name="T90" fmla="*/ 0 w 97"/>
              <a:gd name="T91" fmla="*/ 3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40">
                <a:moveTo>
                  <a:pt x="0" y="34"/>
                </a:moveTo>
                <a:lnTo>
                  <a:pt x="13" y="40"/>
                </a:lnTo>
                <a:lnTo>
                  <a:pt x="19" y="40"/>
                </a:lnTo>
                <a:lnTo>
                  <a:pt x="28" y="40"/>
                </a:lnTo>
                <a:lnTo>
                  <a:pt x="38" y="37"/>
                </a:lnTo>
                <a:lnTo>
                  <a:pt x="38" y="34"/>
                </a:lnTo>
                <a:lnTo>
                  <a:pt x="44" y="34"/>
                </a:lnTo>
                <a:lnTo>
                  <a:pt x="50" y="28"/>
                </a:lnTo>
                <a:lnTo>
                  <a:pt x="56" y="34"/>
                </a:lnTo>
                <a:lnTo>
                  <a:pt x="56" y="31"/>
                </a:lnTo>
                <a:lnTo>
                  <a:pt x="59" y="28"/>
                </a:lnTo>
                <a:lnTo>
                  <a:pt x="63" y="22"/>
                </a:lnTo>
                <a:lnTo>
                  <a:pt x="69" y="22"/>
                </a:lnTo>
                <a:lnTo>
                  <a:pt x="75" y="22"/>
                </a:lnTo>
                <a:lnTo>
                  <a:pt x="81" y="22"/>
                </a:lnTo>
                <a:lnTo>
                  <a:pt x="88" y="25"/>
                </a:lnTo>
                <a:lnTo>
                  <a:pt x="94" y="19"/>
                </a:lnTo>
                <a:lnTo>
                  <a:pt x="94" y="12"/>
                </a:lnTo>
                <a:lnTo>
                  <a:pt x="97" y="6"/>
                </a:lnTo>
                <a:lnTo>
                  <a:pt x="97" y="6"/>
                </a:lnTo>
                <a:lnTo>
                  <a:pt x="88" y="0"/>
                </a:lnTo>
                <a:lnTo>
                  <a:pt x="81" y="0"/>
                </a:lnTo>
                <a:lnTo>
                  <a:pt x="78" y="0"/>
                </a:lnTo>
                <a:lnTo>
                  <a:pt x="75" y="0"/>
                </a:lnTo>
                <a:lnTo>
                  <a:pt x="72" y="0"/>
                </a:lnTo>
                <a:lnTo>
                  <a:pt x="72" y="3"/>
                </a:lnTo>
                <a:lnTo>
                  <a:pt x="69" y="0"/>
                </a:lnTo>
                <a:lnTo>
                  <a:pt x="63" y="0"/>
                </a:lnTo>
                <a:lnTo>
                  <a:pt x="59" y="0"/>
                </a:lnTo>
                <a:lnTo>
                  <a:pt x="56" y="0"/>
                </a:lnTo>
                <a:lnTo>
                  <a:pt x="53" y="6"/>
                </a:lnTo>
                <a:lnTo>
                  <a:pt x="50" y="6"/>
                </a:lnTo>
                <a:lnTo>
                  <a:pt x="50" y="3"/>
                </a:lnTo>
                <a:lnTo>
                  <a:pt x="50" y="3"/>
                </a:lnTo>
                <a:lnTo>
                  <a:pt x="41" y="3"/>
                </a:lnTo>
                <a:lnTo>
                  <a:pt x="38" y="6"/>
                </a:lnTo>
                <a:lnTo>
                  <a:pt x="31" y="9"/>
                </a:lnTo>
                <a:lnTo>
                  <a:pt x="25" y="12"/>
                </a:lnTo>
                <a:lnTo>
                  <a:pt x="19" y="15"/>
                </a:lnTo>
                <a:lnTo>
                  <a:pt x="13" y="19"/>
                </a:lnTo>
                <a:lnTo>
                  <a:pt x="9" y="15"/>
                </a:lnTo>
                <a:lnTo>
                  <a:pt x="6" y="15"/>
                </a:lnTo>
                <a:lnTo>
                  <a:pt x="0" y="19"/>
                </a:lnTo>
                <a:lnTo>
                  <a:pt x="0" y="19"/>
                </a:lnTo>
                <a:lnTo>
                  <a:pt x="0" y="25"/>
                </a:lnTo>
                <a:lnTo>
                  <a:pt x="0" y="34"/>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7" name="Freeform 55">
            <a:extLst>
              <a:ext uri="{FF2B5EF4-FFF2-40B4-BE49-F238E27FC236}">
                <a16:creationId xmlns:a16="http://schemas.microsoft.com/office/drawing/2014/main" id="{6283180F-B03D-B8B6-D208-8180118EE81A}"/>
              </a:ext>
            </a:extLst>
          </p:cNvPr>
          <p:cNvSpPr>
            <a:spLocks/>
          </p:cNvSpPr>
          <p:nvPr userDrawn="1"/>
        </p:nvSpPr>
        <p:spPr bwMode="auto">
          <a:xfrm>
            <a:off x="14458010" y="6396908"/>
            <a:ext cx="368278" cy="228600"/>
          </a:xfrm>
          <a:custGeom>
            <a:avLst/>
            <a:gdLst>
              <a:gd name="T0" fmla="*/ 10 w 116"/>
              <a:gd name="T1" fmla="*/ 3 h 72"/>
              <a:gd name="T2" fmla="*/ 10 w 116"/>
              <a:gd name="T3" fmla="*/ 6 h 72"/>
              <a:gd name="T4" fmla="*/ 13 w 116"/>
              <a:gd name="T5" fmla="*/ 12 h 72"/>
              <a:gd name="T6" fmla="*/ 22 w 116"/>
              <a:gd name="T7" fmla="*/ 9 h 72"/>
              <a:gd name="T8" fmla="*/ 25 w 116"/>
              <a:gd name="T9" fmla="*/ 12 h 72"/>
              <a:gd name="T10" fmla="*/ 38 w 116"/>
              <a:gd name="T11" fmla="*/ 12 h 72"/>
              <a:gd name="T12" fmla="*/ 44 w 116"/>
              <a:gd name="T13" fmla="*/ 9 h 72"/>
              <a:gd name="T14" fmla="*/ 53 w 116"/>
              <a:gd name="T15" fmla="*/ 12 h 72"/>
              <a:gd name="T16" fmla="*/ 63 w 116"/>
              <a:gd name="T17" fmla="*/ 12 h 72"/>
              <a:gd name="T18" fmla="*/ 69 w 116"/>
              <a:gd name="T19" fmla="*/ 6 h 72"/>
              <a:gd name="T20" fmla="*/ 85 w 116"/>
              <a:gd name="T21" fmla="*/ 0 h 72"/>
              <a:gd name="T22" fmla="*/ 97 w 116"/>
              <a:gd name="T23" fmla="*/ 3 h 72"/>
              <a:gd name="T24" fmla="*/ 103 w 116"/>
              <a:gd name="T25" fmla="*/ 6 h 72"/>
              <a:gd name="T26" fmla="*/ 110 w 116"/>
              <a:gd name="T27" fmla="*/ 9 h 72"/>
              <a:gd name="T28" fmla="*/ 116 w 116"/>
              <a:gd name="T29" fmla="*/ 9 h 72"/>
              <a:gd name="T30" fmla="*/ 113 w 116"/>
              <a:gd name="T31" fmla="*/ 19 h 72"/>
              <a:gd name="T32" fmla="*/ 103 w 116"/>
              <a:gd name="T33" fmla="*/ 25 h 72"/>
              <a:gd name="T34" fmla="*/ 103 w 116"/>
              <a:gd name="T35" fmla="*/ 38 h 72"/>
              <a:gd name="T36" fmla="*/ 97 w 116"/>
              <a:gd name="T37" fmla="*/ 44 h 72"/>
              <a:gd name="T38" fmla="*/ 103 w 116"/>
              <a:gd name="T39" fmla="*/ 50 h 72"/>
              <a:gd name="T40" fmla="*/ 107 w 116"/>
              <a:gd name="T41" fmla="*/ 53 h 72"/>
              <a:gd name="T42" fmla="*/ 100 w 116"/>
              <a:gd name="T43" fmla="*/ 56 h 72"/>
              <a:gd name="T44" fmla="*/ 88 w 116"/>
              <a:gd name="T45" fmla="*/ 50 h 72"/>
              <a:gd name="T46" fmla="*/ 85 w 116"/>
              <a:gd name="T47" fmla="*/ 53 h 72"/>
              <a:gd name="T48" fmla="*/ 82 w 116"/>
              <a:gd name="T49" fmla="*/ 56 h 72"/>
              <a:gd name="T50" fmla="*/ 72 w 116"/>
              <a:gd name="T51" fmla="*/ 63 h 72"/>
              <a:gd name="T52" fmla="*/ 75 w 116"/>
              <a:gd name="T53" fmla="*/ 69 h 72"/>
              <a:gd name="T54" fmla="*/ 63 w 116"/>
              <a:gd name="T55" fmla="*/ 72 h 72"/>
              <a:gd name="T56" fmla="*/ 57 w 116"/>
              <a:gd name="T57" fmla="*/ 72 h 72"/>
              <a:gd name="T58" fmla="*/ 50 w 116"/>
              <a:gd name="T59" fmla="*/ 72 h 72"/>
              <a:gd name="T60" fmla="*/ 47 w 116"/>
              <a:gd name="T61" fmla="*/ 69 h 72"/>
              <a:gd name="T62" fmla="*/ 35 w 116"/>
              <a:gd name="T63" fmla="*/ 69 h 72"/>
              <a:gd name="T64" fmla="*/ 28 w 116"/>
              <a:gd name="T65" fmla="*/ 72 h 72"/>
              <a:gd name="T66" fmla="*/ 19 w 116"/>
              <a:gd name="T67" fmla="*/ 72 h 72"/>
              <a:gd name="T68" fmla="*/ 19 w 116"/>
              <a:gd name="T69" fmla="*/ 69 h 72"/>
              <a:gd name="T70" fmla="*/ 13 w 116"/>
              <a:gd name="T71" fmla="*/ 53 h 72"/>
              <a:gd name="T72" fmla="*/ 3 w 116"/>
              <a:gd name="T73" fmla="*/ 47 h 72"/>
              <a:gd name="T74" fmla="*/ 3 w 116"/>
              <a:gd name="T75" fmla="*/ 41 h 72"/>
              <a:gd name="T76" fmla="*/ 10 w 116"/>
              <a:gd name="T77" fmla="*/ 31 h 72"/>
              <a:gd name="T78" fmla="*/ 10 w 116"/>
              <a:gd name="T79" fmla="*/ 22 h 72"/>
              <a:gd name="T80" fmla="*/ 0 w 116"/>
              <a:gd name="T81" fmla="*/ 9 h 72"/>
              <a:gd name="T82" fmla="*/ 3 w 116"/>
              <a:gd name="T83"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6" h="72">
                <a:moveTo>
                  <a:pt x="3" y="0"/>
                </a:moveTo>
                <a:lnTo>
                  <a:pt x="10" y="3"/>
                </a:lnTo>
                <a:lnTo>
                  <a:pt x="10" y="3"/>
                </a:lnTo>
                <a:lnTo>
                  <a:pt x="10" y="6"/>
                </a:lnTo>
                <a:lnTo>
                  <a:pt x="10" y="9"/>
                </a:lnTo>
                <a:lnTo>
                  <a:pt x="13" y="12"/>
                </a:lnTo>
                <a:lnTo>
                  <a:pt x="16" y="9"/>
                </a:lnTo>
                <a:lnTo>
                  <a:pt x="22" y="9"/>
                </a:lnTo>
                <a:lnTo>
                  <a:pt x="22" y="12"/>
                </a:lnTo>
                <a:lnTo>
                  <a:pt x="25" y="12"/>
                </a:lnTo>
                <a:lnTo>
                  <a:pt x="32" y="12"/>
                </a:lnTo>
                <a:lnTo>
                  <a:pt x="38" y="12"/>
                </a:lnTo>
                <a:lnTo>
                  <a:pt x="41" y="12"/>
                </a:lnTo>
                <a:lnTo>
                  <a:pt x="44" y="9"/>
                </a:lnTo>
                <a:lnTo>
                  <a:pt x="50" y="12"/>
                </a:lnTo>
                <a:lnTo>
                  <a:pt x="53" y="12"/>
                </a:lnTo>
                <a:lnTo>
                  <a:pt x="60" y="12"/>
                </a:lnTo>
                <a:lnTo>
                  <a:pt x="63" y="12"/>
                </a:lnTo>
                <a:lnTo>
                  <a:pt x="66" y="9"/>
                </a:lnTo>
                <a:lnTo>
                  <a:pt x="69" y="6"/>
                </a:lnTo>
                <a:lnTo>
                  <a:pt x="82" y="3"/>
                </a:lnTo>
                <a:lnTo>
                  <a:pt x="85" y="0"/>
                </a:lnTo>
                <a:lnTo>
                  <a:pt x="91" y="0"/>
                </a:lnTo>
                <a:lnTo>
                  <a:pt x="97" y="3"/>
                </a:lnTo>
                <a:lnTo>
                  <a:pt x="100" y="6"/>
                </a:lnTo>
                <a:lnTo>
                  <a:pt x="103" y="6"/>
                </a:lnTo>
                <a:lnTo>
                  <a:pt x="110" y="6"/>
                </a:lnTo>
                <a:lnTo>
                  <a:pt x="110" y="9"/>
                </a:lnTo>
                <a:lnTo>
                  <a:pt x="116" y="9"/>
                </a:lnTo>
                <a:lnTo>
                  <a:pt x="116" y="9"/>
                </a:lnTo>
                <a:lnTo>
                  <a:pt x="113" y="19"/>
                </a:lnTo>
                <a:lnTo>
                  <a:pt x="113" y="19"/>
                </a:lnTo>
                <a:lnTo>
                  <a:pt x="107" y="19"/>
                </a:lnTo>
                <a:lnTo>
                  <a:pt x="103" y="25"/>
                </a:lnTo>
                <a:lnTo>
                  <a:pt x="103" y="34"/>
                </a:lnTo>
                <a:lnTo>
                  <a:pt x="103" y="38"/>
                </a:lnTo>
                <a:lnTo>
                  <a:pt x="97" y="41"/>
                </a:lnTo>
                <a:lnTo>
                  <a:pt x="97" y="44"/>
                </a:lnTo>
                <a:lnTo>
                  <a:pt x="100" y="44"/>
                </a:lnTo>
                <a:lnTo>
                  <a:pt x="103" y="50"/>
                </a:lnTo>
                <a:lnTo>
                  <a:pt x="107" y="53"/>
                </a:lnTo>
                <a:lnTo>
                  <a:pt x="107" y="53"/>
                </a:lnTo>
                <a:lnTo>
                  <a:pt x="103" y="53"/>
                </a:lnTo>
                <a:lnTo>
                  <a:pt x="100" y="56"/>
                </a:lnTo>
                <a:lnTo>
                  <a:pt x="94" y="50"/>
                </a:lnTo>
                <a:lnTo>
                  <a:pt x="88" y="50"/>
                </a:lnTo>
                <a:lnTo>
                  <a:pt x="88" y="53"/>
                </a:lnTo>
                <a:lnTo>
                  <a:pt x="85" y="53"/>
                </a:lnTo>
                <a:lnTo>
                  <a:pt x="82" y="56"/>
                </a:lnTo>
                <a:lnTo>
                  <a:pt x="82" y="56"/>
                </a:lnTo>
                <a:lnTo>
                  <a:pt x="78" y="56"/>
                </a:lnTo>
                <a:lnTo>
                  <a:pt x="72" y="63"/>
                </a:lnTo>
                <a:lnTo>
                  <a:pt x="72" y="66"/>
                </a:lnTo>
                <a:lnTo>
                  <a:pt x="75" y="69"/>
                </a:lnTo>
                <a:lnTo>
                  <a:pt x="72" y="72"/>
                </a:lnTo>
                <a:lnTo>
                  <a:pt x="63" y="72"/>
                </a:lnTo>
                <a:lnTo>
                  <a:pt x="60" y="72"/>
                </a:lnTo>
                <a:lnTo>
                  <a:pt x="57" y="72"/>
                </a:lnTo>
                <a:lnTo>
                  <a:pt x="53" y="72"/>
                </a:lnTo>
                <a:lnTo>
                  <a:pt x="50" y="72"/>
                </a:lnTo>
                <a:lnTo>
                  <a:pt x="47" y="72"/>
                </a:lnTo>
                <a:lnTo>
                  <a:pt x="47" y="69"/>
                </a:lnTo>
                <a:lnTo>
                  <a:pt x="41" y="69"/>
                </a:lnTo>
                <a:lnTo>
                  <a:pt x="35" y="69"/>
                </a:lnTo>
                <a:lnTo>
                  <a:pt x="32" y="72"/>
                </a:lnTo>
                <a:lnTo>
                  <a:pt x="28" y="72"/>
                </a:lnTo>
                <a:lnTo>
                  <a:pt x="22" y="72"/>
                </a:lnTo>
                <a:lnTo>
                  <a:pt x="19" y="72"/>
                </a:lnTo>
                <a:lnTo>
                  <a:pt x="19" y="72"/>
                </a:lnTo>
                <a:lnTo>
                  <a:pt x="19" y="69"/>
                </a:lnTo>
                <a:lnTo>
                  <a:pt x="19" y="63"/>
                </a:lnTo>
                <a:lnTo>
                  <a:pt x="13" y="53"/>
                </a:lnTo>
                <a:lnTo>
                  <a:pt x="3" y="47"/>
                </a:lnTo>
                <a:lnTo>
                  <a:pt x="3" y="47"/>
                </a:lnTo>
                <a:lnTo>
                  <a:pt x="7" y="44"/>
                </a:lnTo>
                <a:lnTo>
                  <a:pt x="3" y="41"/>
                </a:lnTo>
                <a:lnTo>
                  <a:pt x="3" y="38"/>
                </a:lnTo>
                <a:lnTo>
                  <a:pt x="10" y="31"/>
                </a:lnTo>
                <a:lnTo>
                  <a:pt x="13" y="28"/>
                </a:lnTo>
                <a:lnTo>
                  <a:pt x="10" y="22"/>
                </a:lnTo>
                <a:lnTo>
                  <a:pt x="3" y="16"/>
                </a:lnTo>
                <a:lnTo>
                  <a:pt x="0" y="9"/>
                </a:lnTo>
                <a:lnTo>
                  <a:pt x="3" y="6"/>
                </a:lnTo>
                <a:lnTo>
                  <a:pt x="3"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8" name="Freeform 56">
            <a:extLst>
              <a:ext uri="{FF2B5EF4-FFF2-40B4-BE49-F238E27FC236}">
                <a16:creationId xmlns:a16="http://schemas.microsoft.com/office/drawing/2014/main" id="{0C21C5A5-0BFD-47A6-7CA9-70A9477BAF06}"/>
              </a:ext>
            </a:extLst>
          </p:cNvPr>
          <p:cNvSpPr>
            <a:spLocks/>
          </p:cNvSpPr>
          <p:nvPr userDrawn="1"/>
        </p:nvSpPr>
        <p:spPr bwMode="auto">
          <a:xfrm>
            <a:off x="14359590" y="6546130"/>
            <a:ext cx="158740" cy="130176"/>
          </a:xfrm>
          <a:custGeom>
            <a:avLst/>
            <a:gdLst>
              <a:gd name="T0" fmla="*/ 34 w 50"/>
              <a:gd name="T1" fmla="*/ 0 h 41"/>
              <a:gd name="T2" fmla="*/ 44 w 50"/>
              <a:gd name="T3" fmla="*/ 6 h 41"/>
              <a:gd name="T4" fmla="*/ 50 w 50"/>
              <a:gd name="T5" fmla="*/ 16 h 41"/>
              <a:gd name="T6" fmla="*/ 50 w 50"/>
              <a:gd name="T7" fmla="*/ 22 h 41"/>
              <a:gd name="T8" fmla="*/ 50 w 50"/>
              <a:gd name="T9" fmla="*/ 25 h 41"/>
              <a:gd name="T10" fmla="*/ 47 w 50"/>
              <a:gd name="T11" fmla="*/ 28 h 41"/>
              <a:gd name="T12" fmla="*/ 44 w 50"/>
              <a:gd name="T13" fmla="*/ 28 h 41"/>
              <a:gd name="T14" fmla="*/ 41 w 50"/>
              <a:gd name="T15" fmla="*/ 31 h 41"/>
              <a:gd name="T16" fmla="*/ 31 w 50"/>
              <a:gd name="T17" fmla="*/ 31 h 41"/>
              <a:gd name="T18" fmla="*/ 25 w 50"/>
              <a:gd name="T19" fmla="*/ 31 h 41"/>
              <a:gd name="T20" fmla="*/ 25 w 50"/>
              <a:gd name="T21" fmla="*/ 34 h 41"/>
              <a:gd name="T22" fmla="*/ 19 w 50"/>
              <a:gd name="T23" fmla="*/ 34 h 41"/>
              <a:gd name="T24" fmla="*/ 13 w 50"/>
              <a:gd name="T25" fmla="*/ 41 h 41"/>
              <a:gd name="T26" fmla="*/ 13 w 50"/>
              <a:gd name="T27" fmla="*/ 41 h 41"/>
              <a:gd name="T28" fmla="*/ 9 w 50"/>
              <a:gd name="T29" fmla="*/ 37 h 41"/>
              <a:gd name="T30" fmla="*/ 6 w 50"/>
              <a:gd name="T31" fmla="*/ 34 h 41"/>
              <a:gd name="T32" fmla="*/ 3 w 50"/>
              <a:gd name="T33" fmla="*/ 28 h 41"/>
              <a:gd name="T34" fmla="*/ 0 w 50"/>
              <a:gd name="T35" fmla="*/ 22 h 41"/>
              <a:gd name="T36" fmla="*/ 3 w 50"/>
              <a:gd name="T37" fmla="*/ 12 h 41"/>
              <a:gd name="T38" fmla="*/ 3 w 50"/>
              <a:gd name="T39" fmla="*/ 16 h 41"/>
              <a:gd name="T40" fmla="*/ 3 w 50"/>
              <a:gd name="T41" fmla="*/ 12 h 41"/>
              <a:gd name="T42" fmla="*/ 3 w 50"/>
              <a:gd name="T43" fmla="*/ 9 h 41"/>
              <a:gd name="T44" fmla="*/ 9 w 50"/>
              <a:gd name="T45" fmla="*/ 6 h 41"/>
              <a:gd name="T46" fmla="*/ 13 w 50"/>
              <a:gd name="T47" fmla="*/ 6 h 41"/>
              <a:gd name="T48" fmla="*/ 16 w 50"/>
              <a:gd name="T49" fmla="*/ 3 h 41"/>
              <a:gd name="T50" fmla="*/ 25 w 50"/>
              <a:gd name="T51" fmla="*/ 3 h 41"/>
              <a:gd name="T52" fmla="*/ 28 w 50"/>
              <a:gd name="T53" fmla="*/ 3 h 41"/>
              <a:gd name="T54" fmla="*/ 31 w 50"/>
              <a:gd name="T55" fmla="*/ 0 h 41"/>
              <a:gd name="T56" fmla="*/ 34 w 50"/>
              <a:gd name="T5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1">
                <a:moveTo>
                  <a:pt x="34" y="0"/>
                </a:moveTo>
                <a:lnTo>
                  <a:pt x="44" y="6"/>
                </a:lnTo>
                <a:lnTo>
                  <a:pt x="50" y="16"/>
                </a:lnTo>
                <a:lnTo>
                  <a:pt x="50" y="22"/>
                </a:lnTo>
                <a:lnTo>
                  <a:pt x="50" y="25"/>
                </a:lnTo>
                <a:lnTo>
                  <a:pt x="47" y="28"/>
                </a:lnTo>
                <a:lnTo>
                  <a:pt x="44" y="28"/>
                </a:lnTo>
                <a:lnTo>
                  <a:pt x="41" y="31"/>
                </a:lnTo>
                <a:lnTo>
                  <a:pt x="31" y="31"/>
                </a:lnTo>
                <a:lnTo>
                  <a:pt x="25" y="31"/>
                </a:lnTo>
                <a:lnTo>
                  <a:pt x="25" y="34"/>
                </a:lnTo>
                <a:lnTo>
                  <a:pt x="19" y="34"/>
                </a:lnTo>
                <a:lnTo>
                  <a:pt x="13" y="41"/>
                </a:lnTo>
                <a:lnTo>
                  <a:pt x="13" y="41"/>
                </a:lnTo>
                <a:lnTo>
                  <a:pt x="9" y="37"/>
                </a:lnTo>
                <a:lnTo>
                  <a:pt x="6" y="34"/>
                </a:lnTo>
                <a:lnTo>
                  <a:pt x="3" y="28"/>
                </a:lnTo>
                <a:lnTo>
                  <a:pt x="0" y="22"/>
                </a:lnTo>
                <a:lnTo>
                  <a:pt x="3" y="12"/>
                </a:lnTo>
                <a:lnTo>
                  <a:pt x="3" y="16"/>
                </a:lnTo>
                <a:lnTo>
                  <a:pt x="3" y="12"/>
                </a:lnTo>
                <a:lnTo>
                  <a:pt x="3" y="9"/>
                </a:lnTo>
                <a:lnTo>
                  <a:pt x="9" y="6"/>
                </a:lnTo>
                <a:lnTo>
                  <a:pt x="13" y="6"/>
                </a:lnTo>
                <a:lnTo>
                  <a:pt x="16" y="3"/>
                </a:lnTo>
                <a:lnTo>
                  <a:pt x="25" y="3"/>
                </a:lnTo>
                <a:lnTo>
                  <a:pt x="28" y="3"/>
                </a:lnTo>
                <a:lnTo>
                  <a:pt x="31" y="0"/>
                </a:lnTo>
                <a:lnTo>
                  <a:pt x="34"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59" name="Freeform 57">
            <a:extLst>
              <a:ext uri="{FF2B5EF4-FFF2-40B4-BE49-F238E27FC236}">
                <a16:creationId xmlns:a16="http://schemas.microsoft.com/office/drawing/2014/main" id="{D0EE23B8-A6EA-FA9A-56A4-34888B259B72}"/>
              </a:ext>
            </a:extLst>
          </p:cNvPr>
          <p:cNvSpPr>
            <a:spLocks/>
          </p:cNvSpPr>
          <p:nvPr userDrawn="1"/>
        </p:nvSpPr>
        <p:spPr bwMode="auto">
          <a:xfrm>
            <a:off x="14280222" y="6527080"/>
            <a:ext cx="120642" cy="228600"/>
          </a:xfrm>
          <a:custGeom>
            <a:avLst/>
            <a:gdLst>
              <a:gd name="T0" fmla="*/ 28 w 38"/>
              <a:gd name="T1" fmla="*/ 18 h 72"/>
              <a:gd name="T2" fmla="*/ 25 w 38"/>
              <a:gd name="T3" fmla="*/ 28 h 72"/>
              <a:gd name="T4" fmla="*/ 28 w 38"/>
              <a:gd name="T5" fmla="*/ 34 h 72"/>
              <a:gd name="T6" fmla="*/ 31 w 38"/>
              <a:gd name="T7" fmla="*/ 40 h 72"/>
              <a:gd name="T8" fmla="*/ 34 w 38"/>
              <a:gd name="T9" fmla="*/ 43 h 72"/>
              <a:gd name="T10" fmla="*/ 38 w 38"/>
              <a:gd name="T11" fmla="*/ 47 h 72"/>
              <a:gd name="T12" fmla="*/ 38 w 38"/>
              <a:gd name="T13" fmla="*/ 53 h 72"/>
              <a:gd name="T14" fmla="*/ 34 w 38"/>
              <a:gd name="T15" fmla="*/ 59 h 72"/>
              <a:gd name="T16" fmla="*/ 25 w 38"/>
              <a:gd name="T17" fmla="*/ 59 h 72"/>
              <a:gd name="T18" fmla="*/ 25 w 38"/>
              <a:gd name="T19" fmla="*/ 65 h 72"/>
              <a:gd name="T20" fmla="*/ 22 w 38"/>
              <a:gd name="T21" fmla="*/ 72 h 72"/>
              <a:gd name="T22" fmla="*/ 19 w 38"/>
              <a:gd name="T23" fmla="*/ 72 h 72"/>
              <a:gd name="T24" fmla="*/ 16 w 38"/>
              <a:gd name="T25" fmla="*/ 68 h 72"/>
              <a:gd name="T26" fmla="*/ 13 w 38"/>
              <a:gd name="T27" fmla="*/ 59 h 72"/>
              <a:gd name="T28" fmla="*/ 6 w 38"/>
              <a:gd name="T29" fmla="*/ 59 h 72"/>
              <a:gd name="T30" fmla="*/ 3 w 38"/>
              <a:gd name="T31" fmla="*/ 56 h 72"/>
              <a:gd name="T32" fmla="*/ 6 w 38"/>
              <a:gd name="T33" fmla="*/ 53 h 72"/>
              <a:gd name="T34" fmla="*/ 3 w 38"/>
              <a:gd name="T35" fmla="*/ 50 h 72"/>
              <a:gd name="T36" fmla="*/ 3 w 38"/>
              <a:gd name="T37" fmla="*/ 43 h 72"/>
              <a:gd name="T38" fmla="*/ 6 w 38"/>
              <a:gd name="T39" fmla="*/ 40 h 72"/>
              <a:gd name="T40" fmla="*/ 3 w 38"/>
              <a:gd name="T41" fmla="*/ 34 h 72"/>
              <a:gd name="T42" fmla="*/ 3 w 38"/>
              <a:gd name="T43" fmla="*/ 25 h 72"/>
              <a:gd name="T44" fmla="*/ 6 w 38"/>
              <a:gd name="T45" fmla="*/ 25 h 72"/>
              <a:gd name="T46" fmla="*/ 6 w 38"/>
              <a:gd name="T47" fmla="*/ 22 h 72"/>
              <a:gd name="T48" fmla="*/ 0 w 38"/>
              <a:gd name="T49" fmla="*/ 18 h 72"/>
              <a:gd name="T50" fmla="*/ 0 w 38"/>
              <a:gd name="T51" fmla="*/ 12 h 72"/>
              <a:gd name="T52" fmla="*/ 3 w 38"/>
              <a:gd name="T53" fmla="*/ 6 h 72"/>
              <a:gd name="T54" fmla="*/ 9 w 38"/>
              <a:gd name="T55" fmla="*/ 0 h 72"/>
              <a:gd name="T56" fmla="*/ 9 w 38"/>
              <a:gd name="T57" fmla="*/ 3 h 72"/>
              <a:gd name="T58" fmla="*/ 13 w 38"/>
              <a:gd name="T59" fmla="*/ 6 h 72"/>
              <a:gd name="T60" fmla="*/ 16 w 38"/>
              <a:gd name="T61" fmla="*/ 0 h 72"/>
              <a:gd name="T62" fmla="*/ 16 w 38"/>
              <a:gd name="T63" fmla="*/ 0 h 72"/>
              <a:gd name="T64" fmla="*/ 16 w 38"/>
              <a:gd name="T65" fmla="*/ 3 h 72"/>
              <a:gd name="T66" fmla="*/ 19 w 38"/>
              <a:gd name="T67" fmla="*/ 6 h 72"/>
              <a:gd name="T68" fmla="*/ 22 w 38"/>
              <a:gd name="T69" fmla="*/ 6 h 72"/>
              <a:gd name="T70" fmla="*/ 25 w 38"/>
              <a:gd name="T71" fmla="*/ 9 h 72"/>
              <a:gd name="T72" fmla="*/ 25 w 38"/>
              <a:gd name="T73" fmla="*/ 12 h 72"/>
              <a:gd name="T74" fmla="*/ 25 w 38"/>
              <a:gd name="T75" fmla="*/ 18 h 72"/>
              <a:gd name="T76" fmla="*/ 28 w 38"/>
              <a:gd name="T77" fmla="*/ 1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 h="72">
                <a:moveTo>
                  <a:pt x="28" y="18"/>
                </a:moveTo>
                <a:lnTo>
                  <a:pt x="25" y="28"/>
                </a:lnTo>
                <a:lnTo>
                  <a:pt x="28" y="34"/>
                </a:lnTo>
                <a:lnTo>
                  <a:pt x="31" y="40"/>
                </a:lnTo>
                <a:lnTo>
                  <a:pt x="34" y="43"/>
                </a:lnTo>
                <a:lnTo>
                  <a:pt x="38" y="47"/>
                </a:lnTo>
                <a:lnTo>
                  <a:pt x="38" y="53"/>
                </a:lnTo>
                <a:lnTo>
                  <a:pt x="34" y="59"/>
                </a:lnTo>
                <a:lnTo>
                  <a:pt x="25" y="59"/>
                </a:lnTo>
                <a:lnTo>
                  <a:pt x="25" y="65"/>
                </a:lnTo>
                <a:lnTo>
                  <a:pt x="22" y="72"/>
                </a:lnTo>
                <a:lnTo>
                  <a:pt x="19" y="72"/>
                </a:lnTo>
                <a:lnTo>
                  <a:pt x="16" y="68"/>
                </a:lnTo>
                <a:lnTo>
                  <a:pt x="13" y="59"/>
                </a:lnTo>
                <a:lnTo>
                  <a:pt x="6" y="59"/>
                </a:lnTo>
                <a:lnTo>
                  <a:pt x="3" y="56"/>
                </a:lnTo>
                <a:lnTo>
                  <a:pt x="6" y="53"/>
                </a:lnTo>
                <a:lnTo>
                  <a:pt x="3" y="50"/>
                </a:lnTo>
                <a:lnTo>
                  <a:pt x="3" y="43"/>
                </a:lnTo>
                <a:lnTo>
                  <a:pt x="6" y="40"/>
                </a:lnTo>
                <a:lnTo>
                  <a:pt x="3" y="34"/>
                </a:lnTo>
                <a:lnTo>
                  <a:pt x="3" y="25"/>
                </a:lnTo>
                <a:lnTo>
                  <a:pt x="6" y="25"/>
                </a:lnTo>
                <a:lnTo>
                  <a:pt x="6" y="22"/>
                </a:lnTo>
                <a:lnTo>
                  <a:pt x="0" y="18"/>
                </a:lnTo>
                <a:lnTo>
                  <a:pt x="0" y="12"/>
                </a:lnTo>
                <a:lnTo>
                  <a:pt x="3" y="6"/>
                </a:lnTo>
                <a:lnTo>
                  <a:pt x="9" y="0"/>
                </a:lnTo>
                <a:lnTo>
                  <a:pt x="9" y="3"/>
                </a:lnTo>
                <a:lnTo>
                  <a:pt x="13" y="6"/>
                </a:lnTo>
                <a:lnTo>
                  <a:pt x="16" y="0"/>
                </a:lnTo>
                <a:lnTo>
                  <a:pt x="16" y="0"/>
                </a:lnTo>
                <a:lnTo>
                  <a:pt x="16" y="3"/>
                </a:lnTo>
                <a:lnTo>
                  <a:pt x="19" y="6"/>
                </a:lnTo>
                <a:lnTo>
                  <a:pt x="22" y="6"/>
                </a:lnTo>
                <a:lnTo>
                  <a:pt x="25" y="9"/>
                </a:lnTo>
                <a:lnTo>
                  <a:pt x="25" y="12"/>
                </a:lnTo>
                <a:lnTo>
                  <a:pt x="25" y="18"/>
                </a:lnTo>
                <a:lnTo>
                  <a:pt x="28" y="18"/>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0" name="Freeform 58">
            <a:extLst>
              <a:ext uri="{FF2B5EF4-FFF2-40B4-BE49-F238E27FC236}">
                <a16:creationId xmlns:a16="http://schemas.microsoft.com/office/drawing/2014/main" id="{8051A9B8-277E-1527-9635-3324B81C21D7}"/>
              </a:ext>
            </a:extLst>
          </p:cNvPr>
          <p:cNvSpPr>
            <a:spLocks/>
          </p:cNvSpPr>
          <p:nvPr userDrawn="1"/>
        </p:nvSpPr>
        <p:spPr bwMode="auto">
          <a:xfrm>
            <a:off x="14242119" y="6257211"/>
            <a:ext cx="257159" cy="339726"/>
          </a:xfrm>
          <a:custGeom>
            <a:avLst/>
            <a:gdLst>
              <a:gd name="T0" fmla="*/ 3 w 81"/>
              <a:gd name="T1" fmla="*/ 6 h 107"/>
              <a:gd name="T2" fmla="*/ 9 w 81"/>
              <a:gd name="T3" fmla="*/ 6 h 107"/>
              <a:gd name="T4" fmla="*/ 15 w 81"/>
              <a:gd name="T5" fmla="*/ 0 h 107"/>
              <a:gd name="T6" fmla="*/ 25 w 81"/>
              <a:gd name="T7" fmla="*/ 0 h 107"/>
              <a:gd name="T8" fmla="*/ 31 w 81"/>
              <a:gd name="T9" fmla="*/ 6 h 107"/>
              <a:gd name="T10" fmla="*/ 37 w 81"/>
              <a:gd name="T11" fmla="*/ 16 h 107"/>
              <a:gd name="T12" fmla="*/ 50 w 81"/>
              <a:gd name="T13" fmla="*/ 25 h 107"/>
              <a:gd name="T14" fmla="*/ 46 w 81"/>
              <a:gd name="T15" fmla="*/ 31 h 107"/>
              <a:gd name="T16" fmla="*/ 56 w 81"/>
              <a:gd name="T17" fmla="*/ 35 h 107"/>
              <a:gd name="T18" fmla="*/ 62 w 81"/>
              <a:gd name="T19" fmla="*/ 38 h 107"/>
              <a:gd name="T20" fmla="*/ 71 w 81"/>
              <a:gd name="T21" fmla="*/ 35 h 107"/>
              <a:gd name="T22" fmla="*/ 71 w 81"/>
              <a:gd name="T23" fmla="*/ 41 h 107"/>
              <a:gd name="T24" fmla="*/ 68 w 81"/>
              <a:gd name="T25" fmla="*/ 53 h 107"/>
              <a:gd name="T26" fmla="*/ 78 w 81"/>
              <a:gd name="T27" fmla="*/ 66 h 107"/>
              <a:gd name="T28" fmla="*/ 78 w 81"/>
              <a:gd name="T29" fmla="*/ 75 h 107"/>
              <a:gd name="T30" fmla="*/ 71 w 81"/>
              <a:gd name="T31" fmla="*/ 85 h 107"/>
              <a:gd name="T32" fmla="*/ 71 w 81"/>
              <a:gd name="T33" fmla="*/ 91 h 107"/>
              <a:gd name="T34" fmla="*/ 65 w 81"/>
              <a:gd name="T35" fmla="*/ 94 h 107"/>
              <a:gd name="T36" fmla="*/ 53 w 81"/>
              <a:gd name="T37" fmla="*/ 94 h 107"/>
              <a:gd name="T38" fmla="*/ 46 w 81"/>
              <a:gd name="T39" fmla="*/ 97 h 107"/>
              <a:gd name="T40" fmla="*/ 40 w 81"/>
              <a:gd name="T41" fmla="*/ 103 h 107"/>
              <a:gd name="T42" fmla="*/ 37 w 81"/>
              <a:gd name="T43" fmla="*/ 103 h 107"/>
              <a:gd name="T44" fmla="*/ 37 w 81"/>
              <a:gd name="T45" fmla="*/ 94 h 107"/>
              <a:gd name="T46" fmla="*/ 31 w 81"/>
              <a:gd name="T47" fmla="*/ 91 h 107"/>
              <a:gd name="T48" fmla="*/ 28 w 81"/>
              <a:gd name="T49" fmla="*/ 85 h 107"/>
              <a:gd name="T50" fmla="*/ 31 w 81"/>
              <a:gd name="T51" fmla="*/ 82 h 107"/>
              <a:gd name="T52" fmla="*/ 25 w 81"/>
              <a:gd name="T53" fmla="*/ 75 h 107"/>
              <a:gd name="T54" fmla="*/ 18 w 81"/>
              <a:gd name="T55" fmla="*/ 72 h 107"/>
              <a:gd name="T56" fmla="*/ 15 w 81"/>
              <a:gd name="T57" fmla="*/ 69 h 107"/>
              <a:gd name="T58" fmla="*/ 12 w 81"/>
              <a:gd name="T59" fmla="*/ 63 h 107"/>
              <a:gd name="T60" fmla="*/ 9 w 81"/>
              <a:gd name="T61" fmla="*/ 53 h 107"/>
              <a:gd name="T62" fmla="*/ 15 w 81"/>
              <a:gd name="T63" fmla="*/ 53 h 107"/>
              <a:gd name="T64" fmla="*/ 12 w 81"/>
              <a:gd name="T65" fmla="*/ 50 h 107"/>
              <a:gd name="T66" fmla="*/ 6 w 81"/>
              <a:gd name="T67" fmla="*/ 44 h 107"/>
              <a:gd name="T68" fmla="*/ 9 w 81"/>
              <a:gd name="T69" fmla="*/ 35 h 107"/>
              <a:gd name="T70" fmla="*/ 6 w 81"/>
              <a:gd name="T71" fmla="*/ 31 h 107"/>
              <a:gd name="T72" fmla="*/ 3 w 81"/>
              <a:gd name="T73" fmla="*/ 31 h 107"/>
              <a:gd name="T74" fmla="*/ 9 w 81"/>
              <a:gd name="T75" fmla="*/ 25 h 107"/>
              <a:gd name="T76" fmla="*/ 9 w 81"/>
              <a:gd name="T77" fmla="*/ 25 h 107"/>
              <a:gd name="T78" fmla="*/ 3 w 81"/>
              <a:gd name="T79" fmla="*/ 22 h 107"/>
              <a:gd name="T80" fmla="*/ 0 w 81"/>
              <a:gd name="T81" fmla="*/ 1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07">
                <a:moveTo>
                  <a:pt x="0" y="10"/>
                </a:moveTo>
                <a:lnTo>
                  <a:pt x="3" y="6"/>
                </a:lnTo>
                <a:lnTo>
                  <a:pt x="6" y="6"/>
                </a:lnTo>
                <a:lnTo>
                  <a:pt x="9" y="6"/>
                </a:lnTo>
                <a:lnTo>
                  <a:pt x="12" y="3"/>
                </a:lnTo>
                <a:lnTo>
                  <a:pt x="15" y="0"/>
                </a:lnTo>
                <a:lnTo>
                  <a:pt x="18" y="0"/>
                </a:lnTo>
                <a:lnTo>
                  <a:pt x="25" y="0"/>
                </a:lnTo>
                <a:lnTo>
                  <a:pt x="31" y="3"/>
                </a:lnTo>
                <a:lnTo>
                  <a:pt x="31" y="6"/>
                </a:lnTo>
                <a:lnTo>
                  <a:pt x="37" y="13"/>
                </a:lnTo>
                <a:lnTo>
                  <a:pt x="37" y="16"/>
                </a:lnTo>
                <a:lnTo>
                  <a:pt x="43" y="19"/>
                </a:lnTo>
                <a:lnTo>
                  <a:pt x="50" y="25"/>
                </a:lnTo>
                <a:lnTo>
                  <a:pt x="46" y="28"/>
                </a:lnTo>
                <a:lnTo>
                  <a:pt x="46" y="31"/>
                </a:lnTo>
                <a:lnTo>
                  <a:pt x="53" y="31"/>
                </a:lnTo>
                <a:lnTo>
                  <a:pt x="56" y="35"/>
                </a:lnTo>
                <a:lnTo>
                  <a:pt x="59" y="35"/>
                </a:lnTo>
                <a:lnTo>
                  <a:pt x="62" y="38"/>
                </a:lnTo>
                <a:lnTo>
                  <a:pt x="65" y="31"/>
                </a:lnTo>
                <a:lnTo>
                  <a:pt x="71" y="35"/>
                </a:lnTo>
                <a:lnTo>
                  <a:pt x="68" y="38"/>
                </a:lnTo>
                <a:lnTo>
                  <a:pt x="71" y="41"/>
                </a:lnTo>
                <a:lnTo>
                  <a:pt x="71" y="50"/>
                </a:lnTo>
                <a:lnTo>
                  <a:pt x="68" y="53"/>
                </a:lnTo>
                <a:lnTo>
                  <a:pt x="71" y="60"/>
                </a:lnTo>
                <a:lnTo>
                  <a:pt x="78" y="66"/>
                </a:lnTo>
                <a:lnTo>
                  <a:pt x="81" y="72"/>
                </a:lnTo>
                <a:lnTo>
                  <a:pt x="78" y="75"/>
                </a:lnTo>
                <a:lnTo>
                  <a:pt x="71" y="82"/>
                </a:lnTo>
                <a:lnTo>
                  <a:pt x="71" y="85"/>
                </a:lnTo>
                <a:lnTo>
                  <a:pt x="75" y="88"/>
                </a:lnTo>
                <a:lnTo>
                  <a:pt x="71" y="91"/>
                </a:lnTo>
                <a:lnTo>
                  <a:pt x="68" y="91"/>
                </a:lnTo>
                <a:lnTo>
                  <a:pt x="65" y="94"/>
                </a:lnTo>
                <a:lnTo>
                  <a:pt x="62" y="94"/>
                </a:lnTo>
                <a:lnTo>
                  <a:pt x="53" y="94"/>
                </a:lnTo>
                <a:lnTo>
                  <a:pt x="50" y="97"/>
                </a:lnTo>
                <a:lnTo>
                  <a:pt x="46" y="97"/>
                </a:lnTo>
                <a:lnTo>
                  <a:pt x="40" y="100"/>
                </a:lnTo>
                <a:lnTo>
                  <a:pt x="40" y="103"/>
                </a:lnTo>
                <a:lnTo>
                  <a:pt x="40" y="107"/>
                </a:lnTo>
                <a:lnTo>
                  <a:pt x="37" y="103"/>
                </a:lnTo>
                <a:lnTo>
                  <a:pt x="37" y="97"/>
                </a:lnTo>
                <a:lnTo>
                  <a:pt x="37" y="94"/>
                </a:lnTo>
                <a:lnTo>
                  <a:pt x="34" y="91"/>
                </a:lnTo>
                <a:lnTo>
                  <a:pt x="31" y="91"/>
                </a:lnTo>
                <a:lnTo>
                  <a:pt x="28" y="88"/>
                </a:lnTo>
                <a:lnTo>
                  <a:pt x="28" y="85"/>
                </a:lnTo>
                <a:lnTo>
                  <a:pt x="28" y="85"/>
                </a:lnTo>
                <a:lnTo>
                  <a:pt x="31" y="82"/>
                </a:lnTo>
                <a:lnTo>
                  <a:pt x="31" y="75"/>
                </a:lnTo>
                <a:lnTo>
                  <a:pt x="25" y="75"/>
                </a:lnTo>
                <a:lnTo>
                  <a:pt x="21" y="72"/>
                </a:lnTo>
                <a:lnTo>
                  <a:pt x="18" y="72"/>
                </a:lnTo>
                <a:lnTo>
                  <a:pt x="15" y="72"/>
                </a:lnTo>
                <a:lnTo>
                  <a:pt x="15" y="69"/>
                </a:lnTo>
                <a:lnTo>
                  <a:pt x="12" y="63"/>
                </a:lnTo>
                <a:lnTo>
                  <a:pt x="12" y="63"/>
                </a:lnTo>
                <a:lnTo>
                  <a:pt x="9" y="56"/>
                </a:lnTo>
                <a:lnTo>
                  <a:pt x="9" y="53"/>
                </a:lnTo>
                <a:lnTo>
                  <a:pt x="12" y="50"/>
                </a:lnTo>
                <a:lnTo>
                  <a:pt x="15" y="53"/>
                </a:lnTo>
                <a:lnTo>
                  <a:pt x="15" y="50"/>
                </a:lnTo>
                <a:lnTo>
                  <a:pt x="12" y="50"/>
                </a:lnTo>
                <a:lnTo>
                  <a:pt x="12" y="47"/>
                </a:lnTo>
                <a:lnTo>
                  <a:pt x="6" y="44"/>
                </a:lnTo>
                <a:lnTo>
                  <a:pt x="6" y="41"/>
                </a:lnTo>
                <a:lnTo>
                  <a:pt x="9" y="35"/>
                </a:lnTo>
                <a:lnTo>
                  <a:pt x="9" y="31"/>
                </a:lnTo>
                <a:lnTo>
                  <a:pt x="6" y="31"/>
                </a:lnTo>
                <a:lnTo>
                  <a:pt x="6" y="31"/>
                </a:lnTo>
                <a:lnTo>
                  <a:pt x="3" y="31"/>
                </a:lnTo>
                <a:lnTo>
                  <a:pt x="3" y="28"/>
                </a:lnTo>
                <a:lnTo>
                  <a:pt x="9" y="25"/>
                </a:lnTo>
                <a:lnTo>
                  <a:pt x="9" y="25"/>
                </a:lnTo>
                <a:lnTo>
                  <a:pt x="9" y="25"/>
                </a:lnTo>
                <a:lnTo>
                  <a:pt x="6" y="22"/>
                </a:lnTo>
                <a:lnTo>
                  <a:pt x="3" y="22"/>
                </a:lnTo>
                <a:lnTo>
                  <a:pt x="3" y="16"/>
                </a:lnTo>
                <a:lnTo>
                  <a:pt x="0" y="10"/>
                </a:lnTo>
                <a:lnTo>
                  <a:pt x="0" y="1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1" name="Freeform 59">
            <a:extLst>
              <a:ext uri="{FF2B5EF4-FFF2-40B4-BE49-F238E27FC236}">
                <a16:creationId xmlns:a16="http://schemas.microsoft.com/office/drawing/2014/main" id="{A8F52D4C-83F9-5B28-34EE-4D7D1A25460C}"/>
              </a:ext>
            </a:extLst>
          </p:cNvPr>
          <p:cNvSpPr>
            <a:spLocks/>
          </p:cNvSpPr>
          <p:nvPr userDrawn="1"/>
        </p:nvSpPr>
        <p:spPr bwMode="auto">
          <a:xfrm>
            <a:off x="14229423" y="6447713"/>
            <a:ext cx="111119" cy="136526"/>
          </a:xfrm>
          <a:custGeom>
            <a:avLst/>
            <a:gdLst>
              <a:gd name="T0" fmla="*/ 16 w 35"/>
              <a:gd name="T1" fmla="*/ 43 h 43"/>
              <a:gd name="T2" fmla="*/ 16 w 35"/>
              <a:gd name="T3" fmla="*/ 37 h 43"/>
              <a:gd name="T4" fmla="*/ 19 w 35"/>
              <a:gd name="T5" fmla="*/ 31 h 43"/>
              <a:gd name="T6" fmla="*/ 25 w 35"/>
              <a:gd name="T7" fmla="*/ 25 h 43"/>
              <a:gd name="T8" fmla="*/ 25 w 35"/>
              <a:gd name="T9" fmla="*/ 28 h 43"/>
              <a:gd name="T10" fmla="*/ 29 w 35"/>
              <a:gd name="T11" fmla="*/ 31 h 43"/>
              <a:gd name="T12" fmla="*/ 32 w 35"/>
              <a:gd name="T13" fmla="*/ 25 h 43"/>
              <a:gd name="T14" fmla="*/ 32 w 35"/>
              <a:gd name="T15" fmla="*/ 25 h 43"/>
              <a:gd name="T16" fmla="*/ 35 w 35"/>
              <a:gd name="T17" fmla="*/ 22 h 43"/>
              <a:gd name="T18" fmla="*/ 35 w 35"/>
              <a:gd name="T19" fmla="*/ 15 h 43"/>
              <a:gd name="T20" fmla="*/ 29 w 35"/>
              <a:gd name="T21" fmla="*/ 15 h 43"/>
              <a:gd name="T22" fmla="*/ 25 w 35"/>
              <a:gd name="T23" fmla="*/ 12 h 43"/>
              <a:gd name="T24" fmla="*/ 22 w 35"/>
              <a:gd name="T25" fmla="*/ 12 h 43"/>
              <a:gd name="T26" fmla="*/ 19 w 35"/>
              <a:gd name="T27" fmla="*/ 12 h 43"/>
              <a:gd name="T28" fmla="*/ 19 w 35"/>
              <a:gd name="T29" fmla="*/ 9 h 43"/>
              <a:gd name="T30" fmla="*/ 16 w 35"/>
              <a:gd name="T31" fmla="*/ 3 h 43"/>
              <a:gd name="T32" fmla="*/ 16 w 35"/>
              <a:gd name="T33" fmla="*/ 3 h 43"/>
              <a:gd name="T34" fmla="*/ 13 w 35"/>
              <a:gd name="T35" fmla="*/ 3 h 43"/>
              <a:gd name="T36" fmla="*/ 10 w 35"/>
              <a:gd name="T37" fmla="*/ 0 h 43"/>
              <a:gd name="T38" fmla="*/ 7 w 35"/>
              <a:gd name="T39" fmla="*/ 3 h 43"/>
              <a:gd name="T40" fmla="*/ 7 w 35"/>
              <a:gd name="T41" fmla="*/ 6 h 43"/>
              <a:gd name="T42" fmla="*/ 10 w 35"/>
              <a:gd name="T43" fmla="*/ 6 h 43"/>
              <a:gd name="T44" fmla="*/ 10 w 35"/>
              <a:gd name="T45" fmla="*/ 9 h 43"/>
              <a:gd name="T46" fmla="*/ 7 w 35"/>
              <a:gd name="T47" fmla="*/ 12 h 43"/>
              <a:gd name="T48" fmla="*/ 7 w 35"/>
              <a:gd name="T49" fmla="*/ 12 h 43"/>
              <a:gd name="T50" fmla="*/ 4 w 35"/>
              <a:gd name="T51" fmla="*/ 15 h 43"/>
              <a:gd name="T52" fmla="*/ 4 w 35"/>
              <a:gd name="T53" fmla="*/ 22 h 43"/>
              <a:gd name="T54" fmla="*/ 0 w 35"/>
              <a:gd name="T55" fmla="*/ 25 h 43"/>
              <a:gd name="T56" fmla="*/ 0 w 35"/>
              <a:gd name="T57" fmla="*/ 25 h 43"/>
              <a:gd name="T58" fmla="*/ 0 w 35"/>
              <a:gd name="T59" fmla="*/ 28 h 43"/>
              <a:gd name="T60" fmla="*/ 4 w 35"/>
              <a:gd name="T61" fmla="*/ 31 h 43"/>
              <a:gd name="T62" fmla="*/ 13 w 35"/>
              <a:gd name="T63" fmla="*/ 40 h 43"/>
              <a:gd name="T64" fmla="*/ 13 w 35"/>
              <a:gd name="T65" fmla="*/ 40 h 43"/>
              <a:gd name="T66" fmla="*/ 16 w 35"/>
              <a:gd name="T6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3">
                <a:moveTo>
                  <a:pt x="16" y="43"/>
                </a:moveTo>
                <a:lnTo>
                  <a:pt x="16" y="37"/>
                </a:lnTo>
                <a:lnTo>
                  <a:pt x="19" y="31"/>
                </a:lnTo>
                <a:lnTo>
                  <a:pt x="25" y="25"/>
                </a:lnTo>
                <a:lnTo>
                  <a:pt x="25" y="28"/>
                </a:lnTo>
                <a:lnTo>
                  <a:pt x="29" y="31"/>
                </a:lnTo>
                <a:lnTo>
                  <a:pt x="32" y="25"/>
                </a:lnTo>
                <a:lnTo>
                  <a:pt x="32" y="25"/>
                </a:lnTo>
                <a:lnTo>
                  <a:pt x="35" y="22"/>
                </a:lnTo>
                <a:lnTo>
                  <a:pt x="35" y="15"/>
                </a:lnTo>
                <a:lnTo>
                  <a:pt x="29" y="15"/>
                </a:lnTo>
                <a:lnTo>
                  <a:pt x="25" y="12"/>
                </a:lnTo>
                <a:lnTo>
                  <a:pt x="22" y="12"/>
                </a:lnTo>
                <a:lnTo>
                  <a:pt x="19" y="12"/>
                </a:lnTo>
                <a:lnTo>
                  <a:pt x="19" y="9"/>
                </a:lnTo>
                <a:lnTo>
                  <a:pt x="16" y="3"/>
                </a:lnTo>
                <a:lnTo>
                  <a:pt x="16" y="3"/>
                </a:lnTo>
                <a:lnTo>
                  <a:pt x="13" y="3"/>
                </a:lnTo>
                <a:lnTo>
                  <a:pt x="10" y="0"/>
                </a:lnTo>
                <a:lnTo>
                  <a:pt x="7" y="3"/>
                </a:lnTo>
                <a:lnTo>
                  <a:pt x="7" y="6"/>
                </a:lnTo>
                <a:lnTo>
                  <a:pt x="10" y="6"/>
                </a:lnTo>
                <a:lnTo>
                  <a:pt x="10" y="9"/>
                </a:lnTo>
                <a:lnTo>
                  <a:pt x="7" y="12"/>
                </a:lnTo>
                <a:lnTo>
                  <a:pt x="7" y="12"/>
                </a:lnTo>
                <a:lnTo>
                  <a:pt x="4" y="15"/>
                </a:lnTo>
                <a:lnTo>
                  <a:pt x="4" y="22"/>
                </a:lnTo>
                <a:lnTo>
                  <a:pt x="0" y="25"/>
                </a:lnTo>
                <a:lnTo>
                  <a:pt x="0" y="25"/>
                </a:lnTo>
                <a:lnTo>
                  <a:pt x="0" y="28"/>
                </a:lnTo>
                <a:lnTo>
                  <a:pt x="4" y="31"/>
                </a:lnTo>
                <a:lnTo>
                  <a:pt x="13" y="40"/>
                </a:lnTo>
                <a:lnTo>
                  <a:pt x="13" y="40"/>
                </a:lnTo>
                <a:lnTo>
                  <a:pt x="16" y="43"/>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2" name="Freeform 60">
            <a:extLst>
              <a:ext uri="{FF2B5EF4-FFF2-40B4-BE49-F238E27FC236}">
                <a16:creationId xmlns:a16="http://schemas.microsoft.com/office/drawing/2014/main" id="{6DEBDA55-8335-A6F8-E0E1-8BB6B3830C20}"/>
              </a:ext>
            </a:extLst>
          </p:cNvPr>
          <p:cNvSpPr>
            <a:spLocks noEditPoints="1"/>
          </p:cNvSpPr>
          <p:nvPr userDrawn="1"/>
        </p:nvSpPr>
        <p:spPr bwMode="auto">
          <a:xfrm>
            <a:off x="13934166" y="6247680"/>
            <a:ext cx="336528" cy="257176"/>
          </a:xfrm>
          <a:custGeom>
            <a:avLst/>
            <a:gdLst>
              <a:gd name="T0" fmla="*/ 34 w 34"/>
              <a:gd name="T1" fmla="*/ 9 h 26"/>
              <a:gd name="T2" fmla="*/ 33 w 34"/>
              <a:gd name="T3" fmla="*/ 8 h 26"/>
              <a:gd name="T4" fmla="*/ 31 w 34"/>
              <a:gd name="T5" fmla="*/ 4 h 26"/>
              <a:gd name="T6" fmla="*/ 27 w 34"/>
              <a:gd name="T7" fmla="*/ 4 h 26"/>
              <a:gd name="T8" fmla="*/ 21 w 34"/>
              <a:gd name="T9" fmla="*/ 2 h 26"/>
              <a:gd name="T10" fmla="*/ 18 w 34"/>
              <a:gd name="T11" fmla="*/ 0 h 26"/>
              <a:gd name="T12" fmla="*/ 11 w 34"/>
              <a:gd name="T13" fmla="*/ 4 h 26"/>
              <a:gd name="T14" fmla="*/ 7 w 34"/>
              <a:gd name="T15" fmla="*/ 7 h 26"/>
              <a:gd name="T16" fmla="*/ 2 w 34"/>
              <a:gd name="T17" fmla="*/ 7 h 26"/>
              <a:gd name="T18" fmla="*/ 0 w 34"/>
              <a:gd name="T19" fmla="*/ 10 h 26"/>
              <a:gd name="T20" fmla="*/ 2 w 34"/>
              <a:gd name="T21" fmla="*/ 12 h 26"/>
              <a:gd name="T22" fmla="*/ 5 w 34"/>
              <a:gd name="T23" fmla="*/ 8 h 26"/>
              <a:gd name="T24" fmla="*/ 8 w 34"/>
              <a:gd name="T25" fmla="*/ 10 h 26"/>
              <a:gd name="T26" fmla="*/ 11 w 34"/>
              <a:gd name="T27" fmla="*/ 15 h 26"/>
              <a:gd name="T28" fmla="*/ 12 w 34"/>
              <a:gd name="T29" fmla="*/ 16 h 26"/>
              <a:gd name="T30" fmla="*/ 11 w 34"/>
              <a:gd name="T31" fmla="*/ 18 h 26"/>
              <a:gd name="T32" fmla="*/ 15 w 34"/>
              <a:gd name="T33" fmla="*/ 20 h 26"/>
              <a:gd name="T34" fmla="*/ 17 w 34"/>
              <a:gd name="T35" fmla="*/ 22 h 26"/>
              <a:gd name="T36" fmla="*/ 25 w 34"/>
              <a:gd name="T37" fmla="*/ 26 h 26"/>
              <a:gd name="T38" fmla="*/ 23 w 34"/>
              <a:gd name="T39" fmla="*/ 26 h 26"/>
              <a:gd name="T40" fmla="*/ 25 w 34"/>
              <a:gd name="T41" fmla="*/ 25 h 26"/>
              <a:gd name="T42" fmla="*/ 15 w 34"/>
              <a:gd name="T43" fmla="*/ 15 h 26"/>
              <a:gd name="T44" fmla="*/ 15 w 34"/>
              <a:gd name="T45" fmla="*/ 13 h 26"/>
              <a:gd name="T46" fmla="*/ 13 w 34"/>
              <a:gd name="T47" fmla="*/ 10 h 26"/>
              <a:gd name="T48" fmla="*/ 14 w 34"/>
              <a:gd name="T49" fmla="*/ 8 h 26"/>
              <a:gd name="T50" fmla="*/ 16 w 34"/>
              <a:gd name="T51" fmla="*/ 10 h 26"/>
              <a:gd name="T52" fmla="*/ 18 w 34"/>
              <a:gd name="T53" fmla="*/ 9 h 26"/>
              <a:gd name="T54" fmla="*/ 21 w 34"/>
              <a:gd name="T55" fmla="*/ 8 h 26"/>
              <a:gd name="T56" fmla="*/ 23 w 34"/>
              <a:gd name="T57" fmla="*/ 9 h 26"/>
              <a:gd name="T58" fmla="*/ 26 w 34"/>
              <a:gd name="T59" fmla="*/ 9 h 26"/>
              <a:gd name="T60" fmla="*/ 29 w 34"/>
              <a:gd name="T61" fmla="*/ 9 h 26"/>
              <a:gd name="T62" fmla="*/ 32 w 34"/>
              <a:gd name="T63" fmla="*/ 11 h 26"/>
              <a:gd name="T64" fmla="*/ 22 w 34"/>
              <a:gd name="T65" fmla="*/ 26 h 26"/>
              <a:gd name="T66" fmla="*/ 18 w 34"/>
              <a:gd name="T67" fmla="*/ 24 h 26"/>
              <a:gd name="T68" fmla="*/ 18 w 34"/>
              <a:gd name="T69" fmla="*/ 24 h 26"/>
              <a:gd name="T70" fmla="*/ 21 w 34"/>
              <a:gd name="T71" fmla="*/ 23 h 26"/>
              <a:gd name="T72" fmla="*/ 18 w 34"/>
              <a:gd name="T73" fmla="*/ 23 h 26"/>
              <a:gd name="T74" fmla="*/ 11 w 34"/>
              <a:gd name="T75" fmla="*/ 16 h 26"/>
              <a:gd name="T76" fmla="*/ 8 w 34"/>
              <a:gd name="T77" fmla="*/ 13 h 26"/>
              <a:gd name="T78" fmla="*/ 8 w 34"/>
              <a:gd name="T79" fmla="*/ 13 h 26"/>
              <a:gd name="T80" fmla="*/ 10 w 34"/>
              <a:gd name="T81" fmla="*/ 19 h 26"/>
              <a:gd name="T82" fmla="*/ 8 w 34"/>
              <a:gd name="T83" fmla="*/ 15 h 26"/>
              <a:gd name="T84" fmla="*/ 5 w 34"/>
              <a:gd name="T85" fmla="*/ 11 h 26"/>
              <a:gd name="T86" fmla="*/ 6 w 34"/>
              <a:gd name="T87" fmla="*/ 14 h 26"/>
              <a:gd name="T88" fmla="*/ 5 w 34"/>
              <a:gd name="T89" fmla="*/ 11 h 26"/>
              <a:gd name="T90" fmla="*/ 6 w 34"/>
              <a:gd name="T91" fmla="*/ 12 h 26"/>
              <a:gd name="T92" fmla="*/ 5 w 34"/>
              <a:gd name="T93" fmla="*/ 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 h="26">
                <a:moveTo>
                  <a:pt x="32" y="11"/>
                </a:moveTo>
                <a:cubicBezTo>
                  <a:pt x="32" y="10"/>
                  <a:pt x="32" y="10"/>
                  <a:pt x="32" y="10"/>
                </a:cubicBezTo>
                <a:cubicBezTo>
                  <a:pt x="34" y="9"/>
                  <a:pt x="34" y="9"/>
                  <a:pt x="34" y="9"/>
                </a:cubicBezTo>
                <a:cubicBezTo>
                  <a:pt x="34" y="9"/>
                  <a:pt x="34" y="9"/>
                  <a:pt x="34" y="9"/>
                </a:cubicBezTo>
                <a:cubicBezTo>
                  <a:pt x="34" y="9"/>
                  <a:pt x="34" y="9"/>
                  <a:pt x="34" y="9"/>
                </a:cubicBezTo>
                <a:cubicBezTo>
                  <a:pt x="33" y="8"/>
                  <a:pt x="33" y="8"/>
                  <a:pt x="33" y="8"/>
                </a:cubicBezTo>
                <a:cubicBezTo>
                  <a:pt x="32" y="8"/>
                  <a:pt x="32" y="8"/>
                  <a:pt x="32" y="8"/>
                </a:cubicBezTo>
                <a:cubicBezTo>
                  <a:pt x="32" y="6"/>
                  <a:pt x="32" y="6"/>
                  <a:pt x="32" y="6"/>
                </a:cubicBezTo>
                <a:cubicBezTo>
                  <a:pt x="31" y="4"/>
                  <a:pt x="31" y="4"/>
                  <a:pt x="31" y="4"/>
                </a:cubicBezTo>
                <a:cubicBezTo>
                  <a:pt x="30" y="4"/>
                  <a:pt x="30" y="4"/>
                  <a:pt x="30" y="4"/>
                </a:cubicBezTo>
                <a:cubicBezTo>
                  <a:pt x="29" y="5"/>
                  <a:pt x="29" y="5"/>
                  <a:pt x="29" y="5"/>
                </a:cubicBezTo>
                <a:cubicBezTo>
                  <a:pt x="27" y="4"/>
                  <a:pt x="27" y="4"/>
                  <a:pt x="27" y="4"/>
                </a:cubicBezTo>
                <a:cubicBezTo>
                  <a:pt x="24" y="4"/>
                  <a:pt x="24" y="4"/>
                  <a:pt x="24" y="4"/>
                </a:cubicBezTo>
                <a:cubicBezTo>
                  <a:pt x="23" y="3"/>
                  <a:pt x="23" y="3"/>
                  <a:pt x="23" y="3"/>
                </a:cubicBezTo>
                <a:cubicBezTo>
                  <a:pt x="21" y="2"/>
                  <a:pt x="21" y="2"/>
                  <a:pt x="21" y="2"/>
                </a:cubicBezTo>
                <a:cubicBezTo>
                  <a:pt x="19" y="0"/>
                  <a:pt x="19" y="0"/>
                  <a:pt x="19" y="0"/>
                </a:cubicBezTo>
                <a:cubicBezTo>
                  <a:pt x="18" y="0"/>
                  <a:pt x="18" y="0"/>
                  <a:pt x="18" y="0"/>
                </a:cubicBezTo>
                <a:cubicBezTo>
                  <a:pt x="18" y="0"/>
                  <a:pt x="18" y="0"/>
                  <a:pt x="18" y="0"/>
                </a:cubicBezTo>
                <a:cubicBezTo>
                  <a:pt x="15" y="0"/>
                  <a:pt x="15" y="0"/>
                  <a:pt x="15" y="0"/>
                </a:cubicBezTo>
                <a:cubicBezTo>
                  <a:pt x="11" y="2"/>
                  <a:pt x="11" y="2"/>
                  <a:pt x="11" y="2"/>
                </a:cubicBezTo>
                <a:cubicBezTo>
                  <a:pt x="11" y="4"/>
                  <a:pt x="11" y="4"/>
                  <a:pt x="11" y="4"/>
                </a:cubicBezTo>
                <a:cubicBezTo>
                  <a:pt x="9" y="5"/>
                  <a:pt x="9" y="5"/>
                  <a:pt x="9" y="5"/>
                </a:cubicBezTo>
                <a:cubicBezTo>
                  <a:pt x="9" y="7"/>
                  <a:pt x="9" y="7"/>
                  <a:pt x="9" y="7"/>
                </a:cubicBezTo>
                <a:cubicBezTo>
                  <a:pt x="7" y="7"/>
                  <a:pt x="7" y="7"/>
                  <a:pt x="7" y="7"/>
                </a:cubicBezTo>
                <a:cubicBezTo>
                  <a:pt x="5" y="6"/>
                  <a:pt x="5" y="6"/>
                  <a:pt x="5" y="6"/>
                </a:cubicBezTo>
                <a:cubicBezTo>
                  <a:pt x="4" y="6"/>
                  <a:pt x="4" y="6"/>
                  <a:pt x="4" y="6"/>
                </a:cubicBezTo>
                <a:cubicBezTo>
                  <a:pt x="2" y="7"/>
                  <a:pt x="2" y="7"/>
                  <a:pt x="2" y="7"/>
                </a:cubicBezTo>
                <a:cubicBezTo>
                  <a:pt x="0" y="8"/>
                  <a:pt x="0" y="8"/>
                  <a:pt x="0" y="8"/>
                </a:cubicBezTo>
                <a:cubicBezTo>
                  <a:pt x="0" y="8"/>
                  <a:pt x="0" y="8"/>
                  <a:pt x="0" y="8"/>
                </a:cubicBezTo>
                <a:cubicBezTo>
                  <a:pt x="0" y="10"/>
                  <a:pt x="0" y="10"/>
                  <a:pt x="0" y="10"/>
                </a:cubicBezTo>
                <a:cubicBezTo>
                  <a:pt x="2" y="12"/>
                  <a:pt x="2" y="12"/>
                  <a:pt x="2" y="12"/>
                </a:cubicBezTo>
                <a:cubicBezTo>
                  <a:pt x="2" y="12"/>
                  <a:pt x="2" y="12"/>
                  <a:pt x="2" y="12"/>
                </a:cubicBezTo>
                <a:cubicBezTo>
                  <a:pt x="2" y="12"/>
                  <a:pt x="2" y="12"/>
                  <a:pt x="2" y="12"/>
                </a:cubicBezTo>
                <a:cubicBezTo>
                  <a:pt x="4" y="10"/>
                  <a:pt x="4" y="10"/>
                  <a:pt x="4" y="10"/>
                </a:cubicBezTo>
                <a:cubicBezTo>
                  <a:pt x="4" y="9"/>
                  <a:pt x="4" y="9"/>
                  <a:pt x="4" y="9"/>
                </a:cubicBezTo>
                <a:cubicBezTo>
                  <a:pt x="5" y="8"/>
                  <a:pt x="5" y="8"/>
                  <a:pt x="5" y="8"/>
                </a:cubicBezTo>
                <a:cubicBezTo>
                  <a:pt x="6" y="8"/>
                  <a:pt x="6" y="8"/>
                  <a:pt x="6" y="8"/>
                </a:cubicBezTo>
                <a:cubicBezTo>
                  <a:pt x="7" y="9"/>
                  <a:pt x="7" y="9"/>
                  <a:pt x="7" y="9"/>
                </a:cubicBezTo>
                <a:cubicBezTo>
                  <a:pt x="8" y="10"/>
                  <a:pt x="8" y="10"/>
                  <a:pt x="8" y="10"/>
                </a:cubicBezTo>
                <a:cubicBezTo>
                  <a:pt x="8" y="12"/>
                  <a:pt x="8" y="12"/>
                  <a:pt x="8" y="12"/>
                </a:cubicBezTo>
                <a:cubicBezTo>
                  <a:pt x="9" y="13"/>
                  <a:pt x="9" y="13"/>
                  <a:pt x="9" y="13"/>
                </a:cubicBezTo>
                <a:cubicBezTo>
                  <a:pt x="11" y="15"/>
                  <a:pt x="11" y="15"/>
                  <a:pt x="11" y="15"/>
                </a:cubicBezTo>
                <a:cubicBezTo>
                  <a:pt x="12" y="15"/>
                  <a:pt x="12" y="15"/>
                  <a:pt x="12" y="15"/>
                </a:cubicBezTo>
                <a:cubicBezTo>
                  <a:pt x="13" y="16"/>
                  <a:pt x="13" y="16"/>
                  <a:pt x="13" y="16"/>
                </a:cubicBezTo>
                <a:cubicBezTo>
                  <a:pt x="12" y="16"/>
                  <a:pt x="12" y="16"/>
                  <a:pt x="12" y="16"/>
                </a:cubicBezTo>
                <a:cubicBezTo>
                  <a:pt x="11" y="16"/>
                  <a:pt x="11" y="16"/>
                  <a:pt x="11" y="16"/>
                </a:cubicBezTo>
                <a:cubicBezTo>
                  <a:pt x="10" y="17"/>
                  <a:pt x="10" y="17"/>
                  <a:pt x="10" y="17"/>
                </a:cubicBezTo>
                <a:cubicBezTo>
                  <a:pt x="11" y="18"/>
                  <a:pt x="11" y="18"/>
                  <a:pt x="11" y="18"/>
                </a:cubicBezTo>
                <a:cubicBezTo>
                  <a:pt x="12" y="18"/>
                  <a:pt x="12" y="18"/>
                  <a:pt x="12" y="18"/>
                </a:cubicBezTo>
                <a:cubicBezTo>
                  <a:pt x="14" y="20"/>
                  <a:pt x="14" y="20"/>
                  <a:pt x="14" y="20"/>
                </a:cubicBezTo>
                <a:cubicBezTo>
                  <a:pt x="15" y="20"/>
                  <a:pt x="15" y="20"/>
                  <a:pt x="15" y="20"/>
                </a:cubicBezTo>
                <a:cubicBezTo>
                  <a:pt x="15" y="21"/>
                  <a:pt x="15" y="21"/>
                  <a:pt x="15" y="21"/>
                </a:cubicBezTo>
                <a:cubicBezTo>
                  <a:pt x="16" y="22"/>
                  <a:pt x="16" y="22"/>
                  <a:pt x="16" y="22"/>
                </a:cubicBezTo>
                <a:cubicBezTo>
                  <a:pt x="17" y="22"/>
                  <a:pt x="17" y="22"/>
                  <a:pt x="17" y="22"/>
                </a:cubicBezTo>
                <a:cubicBezTo>
                  <a:pt x="20" y="22"/>
                  <a:pt x="20" y="22"/>
                  <a:pt x="20" y="22"/>
                </a:cubicBezTo>
                <a:cubicBezTo>
                  <a:pt x="22" y="23"/>
                  <a:pt x="22" y="23"/>
                  <a:pt x="22" y="23"/>
                </a:cubicBezTo>
                <a:cubicBezTo>
                  <a:pt x="25" y="26"/>
                  <a:pt x="25" y="26"/>
                  <a:pt x="25" y="26"/>
                </a:cubicBezTo>
                <a:cubicBezTo>
                  <a:pt x="24" y="26"/>
                  <a:pt x="24" y="26"/>
                  <a:pt x="24" y="26"/>
                </a:cubicBezTo>
                <a:cubicBezTo>
                  <a:pt x="22" y="25"/>
                  <a:pt x="22" y="25"/>
                  <a:pt x="22" y="25"/>
                </a:cubicBezTo>
                <a:cubicBezTo>
                  <a:pt x="23" y="26"/>
                  <a:pt x="23" y="26"/>
                  <a:pt x="23" y="26"/>
                </a:cubicBezTo>
                <a:cubicBezTo>
                  <a:pt x="25" y="26"/>
                  <a:pt x="25" y="26"/>
                  <a:pt x="25" y="26"/>
                </a:cubicBezTo>
                <a:cubicBezTo>
                  <a:pt x="25" y="26"/>
                  <a:pt x="25" y="26"/>
                  <a:pt x="25" y="26"/>
                </a:cubicBezTo>
                <a:cubicBezTo>
                  <a:pt x="25" y="25"/>
                  <a:pt x="25" y="25"/>
                  <a:pt x="25" y="25"/>
                </a:cubicBezTo>
                <a:cubicBezTo>
                  <a:pt x="21" y="20"/>
                  <a:pt x="21" y="20"/>
                  <a:pt x="21" y="20"/>
                </a:cubicBezTo>
                <a:cubicBezTo>
                  <a:pt x="16" y="16"/>
                  <a:pt x="16" y="16"/>
                  <a:pt x="16" y="16"/>
                </a:cubicBezTo>
                <a:cubicBezTo>
                  <a:pt x="15" y="15"/>
                  <a:pt x="15" y="15"/>
                  <a:pt x="15" y="15"/>
                </a:cubicBezTo>
                <a:cubicBezTo>
                  <a:pt x="16" y="15"/>
                  <a:pt x="16" y="15"/>
                  <a:pt x="16" y="15"/>
                </a:cubicBezTo>
                <a:cubicBezTo>
                  <a:pt x="15" y="14"/>
                  <a:pt x="15" y="14"/>
                  <a:pt x="15" y="14"/>
                </a:cubicBezTo>
                <a:cubicBezTo>
                  <a:pt x="15" y="13"/>
                  <a:pt x="15" y="13"/>
                  <a:pt x="15" y="13"/>
                </a:cubicBezTo>
                <a:cubicBezTo>
                  <a:pt x="13" y="11"/>
                  <a:pt x="13" y="11"/>
                  <a:pt x="13" y="11"/>
                </a:cubicBezTo>
                <a:cubicBezTo>
                  <a:pt x="13" y="11"/>
                  <a:pt x="13" y="11"/>
                  <a:pt x="13" y="11"/>
                </a:cubicBezTo>
                <a:cubicBezTo>
                  <a:pt x="13" y="10"/>
                  <a:pt x="13" y="10"/>
                  <a:pt x="13" y="10"/>
                </a:cubicBezTo>
                <a:cubicBezTo>
                  <a:pt x="13" y="10"/>
                  <a:pt x="13" y="10"/>
                  <a:pt x="13" y="10"/>
                </a:cubicBezTo>
                <a:cubicBezTo>
                  <a:pt x="13" y="8"/>
                  <a:pt x="13" y="8"/>
                  <a:pt x="13" y="8"/>
                </a:cubicBezTo>
                <a:cubicBezTo>
                  <a:pt x="14" y="8"/>
                  <a:pt x="14" y="8"/>
                  <a:pt x="14" y="8"/>
                </a:cubicBezTo>
                <a:cubicBezTo>
                  <a:pt x="15" y="9"/>
                  <a:pt x="15" y="9"/>
                  <a:pt x="15" y="9"/>
                </a:cubicBezTo>
                <a:cubicBezTo>
                  <a:pt x="16" y="10"/>
                  <a:pt x="16" y="10"/>
                  <a:pt x="16" y="10"/>
                </a:cubicBezTo>
                <a:cubicBezTo>
                  <a:pt x="16" y="10"/>
                  <a:pt x="16" y="10"/>
                  <a:pt x="16" y="10"/>
                </a:cubicBezTo>
                <a:cubicBezTo>
                  <a:pt x="16" y="9"/>
                  <a:pt x="16" y="9"/>
                  <a:pt x="16" y="9"/>
                </a:cubicBezTo>
                <a:cubicBezTo>
                  <a:pt x="18" y="8"/>
                  <a:pt x="18" y="8"/>
                  <a:pt x="18" y="8"/>
                </a:cubicBezTo>
                <a:cubicBezTo>
                  <a:pt x="18" y="9"/>
                  <a:pt x="18" y="9"/>
                  <a:pt x="18" y="9"/>
                </a:cubicBezTo>
                <a:cubicBezTo>
                  <a:pt x="19" y="8"/>
                  <a:pt x="19" y="8"/>
                  <a:pt x="19" y="8"/>
                </a:cubicBezTo>
                <a:cubicBezTo>
                  <a:pt x="20" y="8"/>
                  <a:pt x="20" y="8"/>
                  <a:pt x="20" y="8"/>
                </a:cubicBezTo>
                <a:cubicBezTo>
                  <a:pt x="21" y="8"/>
                  <a:pt x="21" y="8"/>
                  <a:pt x="21" y="8"/>
                </a:cubicBezTo>
                <a:cubicBezTo>
                  <a:pt x="22" y="8"/>
                  <a:pt x="22" y="8"/>
                  <a:pt x="22" y="8"/>
                </a:cubicBezTo>
                <a:cubicBezTo>
                  <a:pt x="22" y="9"/>
                  <a:pt x="22" y="9"/>
                  <a:pt x="22" y="9"/>
                </a:cubicBezTo>
                <a:cubicBezTo>
                  <a:pt x="23" y="9"/>
                  <a:pt x="23" y="9"/>
                  <a:pt x="23" y="9"/>
                </a:cubicBezTo>
                <a:cubicBezTo>
                  <a:pt x="24" y="9"/>
                  <a:pt x="24" y="9"/>
                  <a:pt x="24" y="9"/>
                </a:cubicBezTo>
                <a:cubicBezTo>
                  <a:pt x="25" y="9"/>
                  <a:pt x="25" y="9"/>
                  <a:pt x="25" y="9"/>
                </a:cubicBezTo>
                <a:cubicBezTo>
                  <a:pt x="26" y="9"/>
                  <a:pt x="26" y="9"/>
                  <a:pt x="26" y="9"/>
                </a:cubicBezTo>
                <a:cubicBezTo>
                  <a:pt x="27" y="9"/>
                  <a:pt x="27" y="9"/>
                  <a:pt x="27" y="9"/>
                </a:cubicBezTo>
                <a:cubicBezTo>
                  <a:pt x="28" y="9"/>
                  <a:pt x="28" y="9"/>
                  <a:pt x="28" y="9"/>
                </a:cubicBezTo>
                <a:cubicBezTo>
                  <a:pt x="29" y="9"/>
                  <a:pt x="29" y="9"/>
                  <a:pt x="29" y="9"/>
                </a:cubicBezTo>
                <a:cubicBezTo>
                  <a:pt x="31" y="10"/>
                  <a:pt x="31" y="10"/>
                  <a:pt x="31" y="10"/>
                </a:cubicBezTo>
                <a:cubicBezTo>
                  <a:pt x="32" y="10"/>
                  <a:pt x="32" y="10"/>
                  <a:pt x="32" y="10"/>
                </a:cubicBezTo>
                <a:cubicBezTo>
                  <a:pt x="32" y="11"/>
                  <a:pt x="32" y="11"/>
                  <a:pt x="32" y="11"/>
                </a:cubicBezTo>
                <a:close/>
                <a:moveTo>
                  <a:pt x="19" y="25"/>
                </a:moveTo>
                <a:cubicBezTo>
                  <a:pt x="19" y="25"/>
                  <a:pt x="22" y="25"/>
                  <a:pt x="22" y="25"/>
                </a:cubicBezTo>
                <a:cubicBezTo>
                  <a:pt x="22" y="26"/>
                  <a:pt x="22" y="26"/>
                  <a:pt x="22" y="26"/>
                </a:cubicBezTo>
                <a:cubicBezTo>
                  <a:pt x="20" y="26"/>
                  <a:pt x="20" y="26"/>
                  <a:pt x="20" y="26"/>
                </a:cubicBezTo>
                <a:cubicBezTo>
                  <a:pt x="19" y="25"/>
                  <a:pt x="19" y="25"/>
                  <a:pt x="19" y="25"/>
                </a:cubicBezTo>
                <a:close/>
                <a:moveTo>
                  <a:pt x="18" y="24"/>
                </a:moveTo>
                <a:cubicBezTo>
                  <a:pt x="21" y="24"/>
                  <a:pt x="21" y="24"/>
                  <a:pt x="21" y="24"/>
                </a:cubicBezTo>
                <a:cubicBezTo>
                  <a:pt x="20" y="25"/>
                  <a:pt x="20" y="25"/>
                  <a:pt x="20" y="25"/>
                </a:cubicBezTo>
                <a:cubicBezTo>
                  <a:pt x="18" y="24"/>
                  <a:pt x="18" y="24"/>
                  <a:pt x="18" y="24"/>
                </a:cubicBezTo>
                <a:close/>
                <a:moveTo>
                  <a:pt x="18" y="23"/>
                </a:moveTo>
                <a:cubicBezTo>
                  <a:pt x="20" y="23"/>
                  <a:pt x="20" y="23"/>
                  <a:pt x="20" y="23"/>
                </a:cubicBezTo>
                <a:cubicBezTo>
                  <a:pt x="21" y="23"/>
                  <a:pt x="21" y="23"/>
                  <a:pt x="21" y="23"/>
                </a:cubicBezTo>
                <a:cubicBezTo>
                  <a:pt x="20" y="24"/>
                  <a:pt x="20" y="24"/>
                  <a:pt x="20" y="24"/>
                </a:cubicBezTo>
                <a:cubicBezTo>
                  <a:pt x="19" y="23"/>
                  <a:pt x="19" y="23"/>
                  <a:pt x="19" y="23"/>
                </a:cubicBezTo>
                <a:cubicBezTo>
                  <a:pt x="18" y="23"/>
                  <a:pt x="18" y="23"/>
                  <a:pt x="18" y="23"/>
                </a:cubicBezTo>
                <a:close/>
                <a:moveTo>
                  <a:pt x="9" y="15"/>
                </a:moveTo>
                <a:cubicBezTo>
                  <a:pt x="10" y="15"/>
                  <a:pt x="10" y="15"/>
                  <a:pt x="10" y="15"/>
                </a:cubicBezTo>
                <a:cubicBezTo>
                  <a:pt x="11" y="16"/>
                  <a:pt x="11" y="16"/>
                  <a:pt x="11" y="16"/>
                </a:cubicBezTo>
                <a:cubicBezTo>
                  <a:pt x="10" y="16"/>
                  <a:pt x="10" y="16"/>
                  <a:pt x="10" y="16"/>
                </a:cubicBezTo>
                <a:cubicBezTo>
                  <a:pt x="9" y="15"/>
                  <a:pt x="9" y="15"/>
                  <a:pt x="9" y="15"/>
                </a:cubicBezTo>
                <a:close/>
                <a:moveTo>
                  <a:pt x="8" y="13"/>
                </a:moveTo>
                <a:cubicBezTo>
                  <a:pt x="9" y="14"/>
                  <a:pt x="9" y="14"/>
                  <a:pt x="9" y="14"/>
                </a:cubicBezTo>
                <a:cubicBezTo>
                  <a:pt x="8" y="14"/>
                  <a:pt x="8" y="14"/>
                  <a:pt x="8" y="14"/>
                </a:cubicBezTo>
                <a:cubicBezTo>
                  <a:pt x="8" y="13"/>
                  <a:pt x="8" y="13"/>
                  <a:pt x="8" y="13"/>
                </a:cubicBezTo>
                <a:close/>
                <a:moveTo>
                  <a:pt x="8" y="17"/>
                </a:moveTo>
                <a:cubicBezTo>
                  <a:pt x="10" y="18"/>
                  <a:pt x="10" y="18"/>
                  <a:pt x="10" y="18"/>
                </a:cubicBezTo>
                <a:cubicBezTo>
                  <a:pt x="10" y="19"/>
                  <a:pt x="10" y="19"/>
                  <a:pt x="10" y="19"/>
                </a:cubicBezTo>
                <a:cubicBezTo>
                  <a:pt x="8" y="17"/>
                  <a:pt x="8" y="17"/>
                  <a:pt x="8" y="17"/>
                </a:cubicBezTo>
                <a:close/>
                <a:moveTo>
                  <a:pt x="7" y="15"/>
                </a:moveTo>
                <a:cubicBezTo>
                  <a:pt x="8" y="15"/>
                  <a:pt x="8" y="15"/>
                  <a:pt x="8" y="15"/>
                </a:cubicBezTo>
                <a:cubicBezTo>
                  <a:pt x="8" y="16"/>
                  <a:pt x="8" y="16"/>
                  <a:pt x="8" y="16"/>
                </a:cubicBezTo>
                <a:cubicBezTo>
                  <a:pt x="7" y="15"/>
                  <a:pt x="7" y="15"/>
                  <a:pt x="7" y="15"/>
                </a:cubicBezTo>
                <a:close/>
                <a:moveTo>
                  <a:pt x="5" y="11"/>
                </a:moveTo>
                <a:cubicBezTo>
                  <a:pt x="6" y="12"/>
                  <a:pt x="6" y="12"/>
                  <a:pt x="6" y="12"/>
                </a:cubicBezTo>
                <a:cubicBezTo>
                  <a:pt x="7" y="14"/>
                  <a:pt x="7" y="14"/>
                  <a:pt x="7" y="14"/>
                </a:cubicBezTo>
                <a:cubicBezTo>
                  <a:pt x="6" y="14"/>
                  <a:pt x="6" y="14"/>
                  <a:pt x="6" y="14"/>
                </a:cubicBezTo>
                <a:cubicBezTo>
                  <a:pt x="5" y="13"/>
                  <a:pt x="5" y="13"/>
                  <a:pt x="5" y="13"/>
                </a:cubicBezTo>
                <a:cubicBezTo>
                  <a:pt x="5" y="13"/>
                  <a:pt x="5" y="13"/>
                  <a:pt x="5" y="13"/>
                </a:cubicBezTo>
                <a:cubicBezTo>
                  <a:pt x="5" y="11"/>
                  <a:pt x="5" y="11"/>
                  <a:pt x="5" y="11"/>
                </a:cubicBezTo>
                <a:close/>
                <a:moveTo>
                  <a:pt x="6" y="9"/>
                </a:moveTo>
                <a:cubicBezTo>
                  <a:pt x="7" y="11"/>
                  <a:pt x="7" y="11"/>
                  <a:pt x="7" y="11"/>
                </a:cubicBezTo>
                <a:cubicBezTo>
                  <a:pt x="6" y="12"/>
                  <a:pt x="6" y="12"/>
                  <a:pt x="6" y="12"/>
                </a:cubicBezTo>
                <a:cubicBezTo>
                  <a:pt x="6" y="11"/>
                  <a:pt x="6" y="11"/>
                  <a:pt x="6" y="11"/>
                </a:cubicBezTo>
                <a:cubicBezTo>
                  <a:pt x="5" y="11"/>
                  <a:pt x="5" y="11"/>
                  <a:pt x="5" y="11"/>
                </a:cubicBezTo>
                <a:cubicBezTo>
                  <a:pt x="5" y="9"/>
                  <a:pt x="5" y="9"/>
                  <a:pt x="5" y="9"/>
                </a:cubicBezTo>
                <a:cubicBezTo>
                  <a:pt x="5" y="9"/>
                  <a:pt x="5" y="9"/>
                  <a:pt x="6" y="9"/>
                </a:cubicBez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3" name="Freeform 61">
            <a:extLst>
              <a:ext uri="{FF2B5EF4-FFF2-40B4-BE49-F238E27FC236}">
                <a16:creationId xmlns:a16="http://schemas.microsoft.com/office/drawing/2014/main" id="{AE1C3309-A63A-A2F1-86C8-ACE4C0326D5C}"/>
              </a:ext>
            </a:extLst>
          </p:cNvPr>
          <p:cNvSpPr>
            <a:spLocks/>
          </p:cNvSpPr>
          <p:nvPr userDrawn="1"/>
        </p:nvSpPr>
        <p:spPr bwMode="auto">
          <a:xfrm>
            <a:off x="14061155" y="6327061"/>
            <a:ext cx="228585" cy="200026"/>
          </a:xfrm>
          <a:custGeom>
            <a:avLst/>
            <a:gdLst>
              <a:gd name="T0" fmla="*/ 38 w 72"/>
              <a:gd name="T1" fmla="*/ 53 h 63"/>
              <a:gd name="T2" fmla="*/ 10 w 72"/>
              <a:gd name="T3" fmla="*/ 25 h 63"/>
              <a:gd name="T4" fmla="*/ 10 w 72"/>
              <a:gd name="T5" fmla="*/ 22 h 63"/>
              <a:gd name="T6" fmla="*/ 7 w 72"/>
              <a:gd name="T7" fmla="*/ 16 h 63"/>
              <a:gd name="T8" fmla="*/ 0 w 72"/>
              <a:gd name="T9" fmla="*/ 9 h 63"/>
              <a:gd name="T10" fmla="*/ 0 w 72"/>
              <a:gd name="T11" fmla="*/ 6 h 63"/>
              <a:gd name="T12" fmla="*/ 3 w 72"/>
              <a:gd name="T13" fmla="*/ 0 h 63"/>
              <a:gd name="T14" fmla="*/ 10 w 72"/>
              <a:gd name="T15" fmla="*/ 6 h 63"/>
              <a:gd name="T16" fmla="*/ 10 w 72"/>
              <a:gd name="T17" fmla="*/ 3 h 63"/>
              <a:gd name="T18" fmla="*/ 16 w 72"/>
              <a:gd name="T19" fmla="*/ 3 h 63"/>
              <a:gd name="T20" fmla="*/ 22 w 72"/>
              <a:gd name="T21" fmla="*/ 0 h 63"/>
              <a:gd name="T22" fmla="*/ 28 w 72"/>
              <a:gd name="T23" fmla="*/ 0 h 63"/>
              <a:gd name="T24" fmla="*/ 32 w 72"/>
              <a:gd name="T25" fmla="*/ 3 h 63"/>
              <a:gd name="T26" fmla="*/ 38 w 72"/>
              <a:gd name="T27" fmla="*/ 3 h 63"/>
              <a:gd name="T28" fmla="*/ 44 w 72"/>
              <a:gd name="T29" fmla="*/ 3 h 63"/>
              <a:gd name="T30" fmla="*/ 50 w 72"/>
              <a:gd name="T31" fmla="*/ 3 h 63"/>
              <a:gd name="T32" fmla="*/ 60 w 72"/>
              <a:gd name="T33" fmla="*/ 6 h 63"/>
              <a:gd name="T34" fmla="*/ 63 w 72"/>
              <a:gd name="T35" fmla="*/ 9 h 63"/>
              <a:gd name="T36" fmla="*/ 66 w 72"/>
              <a:gd name="T37" fmla="*/ 13 h 63"/>
              <a:gd name="T38" fmla="*/ 63 w 72"/>
              <a:gd name="T39" fmla="*/ 22 h 63"/>
              <a:gd name="T40" fmla="*/ 69 w 72"/>
              <a:gd name="T41" fmla="*/ 28 h 63"/>
              <a:gd name="T42" fmla="*/ 72 w 72"/>
              <a:gd name="T43" fmla="*/ 31 h 63"/>
              <a:gd name="T44" fmla="*/ 66 w 72"/>
              <a:gd name="T45" fmla="*/ 31 h 63"/>
              <a:gd name="T46" fmla="*/ 69 w 72"/>
              <a:gd name="T47" fmla="*/ 41 h 63"/>
              <a:gd name="T48" fmla="*/ 66 w 72"/>
              <a:gd name="T49" fmla="*/ 41 h 63"/>
              <a:gd name="T50" fmla="*/ 60 w 72"/>
              <a:gd name="T51" fmla="*/ 41 h 63"/>
              <a:gd name="T52" fmla="*/ 63 w 72"/>
              <a:gd name="T53" fmla="*/ 44 h 63"/>
              <a:gd name="T54" fmla="*/ 60 w 72"/>
              <a:gd name="T55" fmla="*/ 50 h 63"/>
              <a:gd name="T56" fmla="*/ 57 w 72"/>
              <a:gd name="T57" fmla="*/ 53 h 63"/>
              <a:gd name="T58" fmla="*/ 53 w 72"/>
              <a:gd name="T59" fmla="*/ 63 h 63"/>
              <a:gd name="T60" fmla="*/ 47 w 72"/>
              <a:gd name="T61" fmla="*/ 60 h 63"/>
              <a:gd name="T62" fmla="*/ 38 w 72"/>
              <a:gd name="T63" fmla="*/ 60 h 63"/>
              <a:gd name="T64" fmla="*/ 38 w 72"/>
              <a:gd name="T65" fmla="*/ 5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63">
                <a:moveTo>
                  <a:pt x="38" y="56"/>
                </a:moveTo>
                <a:lnTo>
                  <a:pt x="38" y="53"/>
                </a:lnTo>
                <a:lnTo>
                  <a:pt x="25" y="38"/>
                </a:lnTo>
                <a:lnTo>
                  <a:pt x="10" y="25"/>
                </a:lnTo>
                <a:lnTo>
                  <a:pt x="7" y="22"/>
                </a:lnTo>
                <a:lnTo>
                  <a:pt x="10" y="22"/>
                </a:lnTo>
                <a:lnTo>
                  <a:pt x="7" y="19"/>
                </a:lnTo>
                <a:lnTo>
                  <a:pt x="7" y="16"/>
                </a:lnTo>
                <a:lnTo>
                  <a:pt x="0" y="9"/>
                </a:lnTo>
                <a:lnTo>
                  <a:pt x="0" y="9"/>
                </a:lnTo>
                <a:lnTo>
                  <a:pt x="0" y="6"/>
                </a:lnTo>
                <a:lnTo>
                  <a:pt x="0" y="6"/>
                </a:lnTo>
                <a:lnTo>
                  <a:pt x="0" y="0"/>
                </a:lnTo>
                <a:lnTo>
                  <a:pt x="3" y="0"/>
                </a:lnTo>
                <a:lnTo>
                  <a:pt x="7" y="3"/>
                </a:lnTo>
                <a:lnTo>
                  <a:pt x="10" y="6"/>
                </a:lnTo>
                <a:lnTo>
                  <a:pt x="10" y="6"/>
                </a:lnTo>
                <a:lnTo>
                  <a:pt x="10" y="3"/>
                </a:lnTo>
                <a:lnTo>
                  <a:pt x="16" y="0"/>
                </a:lnTo>
                <a:lnTo>
                  <a:pt x="16" y="3"/>
                </a:lnTo>
                <a:lnTo>
                  <a:pt x="19" y="0"/>
                </a:lnTo>
                <a:lnTo>
                  <a:pt x="22" y="0"/>
                </a:lnTo>
                <a:lnTo>
                  <a:pt x="25" y="0"/>
                </a:lnTo>
                <a:lnTo>
                  <a:pt x="28" y="0"/>
                </a:lnTo>
                <a:lnTo>
                  <a:pt x="28" y="3"/>
                </a:lnTo>
                <a:lnTo>
                  <a:pt x="32" y="3"/>
                </a:lnTo>
                <a:lnTo>
                  <a:pt x="35" y="3"/>
                </a:lnTo>
                <a:lnTo>
                  <a:pt x="38" y="3"/>
                </a:lnTo>
                <a:lnTo>
                  <a:pt x="41" y="3"/>
                </a:lnTo>
                <a:lnTo>
                  <a:pt x="44" y="3"/>
                </a:lnTo>
                <a:lnTo>
                  <a:pt x="47" y="3"/>
                </a:lnTo>
                <a:lnTo>
                  <a:pt x="50" y="3"/>
                </a:lnTo>
                <a:lnTo>
                  <a:pt x="57" y="6"/>
                </a:lnTo>
                <a:lnTo>
                  <a:pt x="60" y="6"/>
                </a:lnTo>
                <a:lnTo>
                  <a:pt x="63" y="9"/>
                </a:lnTo>
                <a:lnTo>
                  <a:pt x="63" y="9"/>
                </a:lnTo>
                <a:lnTo>
                  <a:pt x="66" y="9"/>
                </a:lnTo>
                <a:lnTo>
                  <a:pt x="66" y="13"/>
                </a:lnTo>
                <a:lnTo>
                  <a:pt x="63" y="19"/>
                </a:lnTo>
                <a:lnTo>
                  <a:pt x="63" y="22"/>
                </a:lnTo>
                <a:lnTo>
                  <a:pt x="69" y="25"/>
                </a:lnTo>
                <a:lnTo>
                  <a:pt x="69" y="28"/>
                </a:lnTo>
                <a:lnTo>
                  <a:pt x="72" y="28"/>
                </a:lnTo>
                <a:lnTo>
                  <a:pt x="72" y="31"/>
                </a:lnTo>
                <a:lnTo>
                  <a:pt x="69" y="28"/>
                </a:lnTo>
                <a:lnTo>
                  <a:pt x="66" y="31"/>
                </a:lnTo>
                <a:lnTo>
                  <a:pt x="66" y="34"/>
                </a:lnTo>
                <a:lnTo>
                  <a:pt x="69" y="41"/>
                </a:lnTo>
                <a:lnTo>
                  <a:pt x="69" y="41"/>
                </a:lnTo>
                <a:lnTo>
                  <a:pt x="66" y="41"/>
                </a:lnTo>
                <a:lnTo>
                  <a:pt x="63" y="38"/>
                </a:lnTo>
                <a:lnTo>
                  <a:pt x="60" y="41"/>
                </a:lnTo>
                <a:lnTo>
                  <a:pt x="60" y="44"/>
                </a:lnTo>
                <a:lnTo>
                  <a:pt x="63" y="44"/>
                </a:lnTo>
                <a:lnTo>
                  <a:pt x="63" y="47"/>
                </a:lnTo>
                <a:lnTo>
                  <a:pt x="60" y="50"/>
                </a:lnTo>
                <a:lnTo>
                  <a:pt x="60" y="50"/>
                </a:lnTo>
                <a:lnTo>
                  <a:pt x="57" y="53"/>
                </a:lnTo>
                <a:lnTo>
                  <a:pt x="57" y="60"/>
                </a:lnTo>
                <a:lnTo>
                  <a:pt x="53" y="63"/>
                </a:lnTo>
                <a:lnTo>
                  <a:pt x="53" y="63"/>
                </a:lnTo>
                <a:lnTo>
                  <a:pt x="47" y="60"/>
                </a:lnTo>
                <a:lnTo>
                  <a:pt x="47" y="60"/>
                </a:lnTo>
                <a:lnTo>
                  <a:pt x="38" y="60"/>
                </a:lnTo>
                <a:lnTo>
                  <a:pt x="38" y="56"/>
                </a:lnTo>
                <a:lnTo>
                  <a:pt x="38" y="56"/>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4" name="Freeform 62">
            <a:extLst>
              <a:ext uri="{FF2B5EF4-FFF2-40B4-BE49-F238E27FC236}">
                <a16:creationId xmlns:a16="http://schemas.microsoft.com/office/drawing/2014/main" id="{97B7A77F-8433-BE01-679E-3BA4F6A72EB4}"/>
              </a:ext>
            </a:extLst>
          </p:cNvPr>
          <p:cNvSpPr>
            <a:spLocks/>
          </p:cNvSpPr>
          <p:nvPr userDrawn="1"/>
        </p:nvSpPr>
        <p:spPr bwMode="auto">
          <a:xfrm>
            <a:off x="13924645" y="6209583"/>
            <a:ext cx="187314" cy="117478"/>
          </a:xfrm>
          <a:custGeom>
            <a:avLst/>
            <a:gdLst>
              <a:gd name="T0" fmla="*/ 3 w 59"/>
              <a:gd name="T1" fmla="*/ 37 h 37"/>
              <a:gd name="T2" fmla="*/ 9 w 59"/>
              <a:gd name="T3" fmla="*/ 34 h 37"/>
              <a:gd name="T4" fmla="*/ 15 w 59"/>
              <a:gd name="T5" fmla="*/ 31 h 37"/>
              <a:gd name="T6" fmla="*/ 18 w 59"/>
              <a:gd name="T7" fmla="*/ 31 h 37"/>
              <a:gd name="T8" fmla="*/ 25 w 59"/>
              <a:gd name="T9" fmla="*/ 34 h 37"/>
              <a:gd name="T10" fmla="*/ 31 w 59"/>
              <a:gd name="T11" fmla="*/ 34 h 37"/>
              <a:gd name="T12" fmla="*/ 31 w 59"/>
              <a:gd name="T13" fmla="*/ 28 h 37"/>
              <a:gd name="T14" fmla="*/ 37 w 59"/>
              <a:gd name="T15" fmla="*/ 25 h 37"/>
              <a:gd name="T16" fmla="*/ 37 w 59"/>
              <a:gd name="T17" fmla="*/ 18 h 37"/>
              <a:gd name="T18" fmla="*/ 50 w 59"/>
              <a:gd name="T19" fmla="*/ 12 h 37"/>
              <a:gd name="T20" fmla="*/ 59 w 59"/>
              <a:gd name="T21" fmla="*/ 12 h 37"/>
              <a:gd name="T22" fmla="*/ 59 w 59"/>
              <a:gd name="T23" fmla="*/ 6 h 37"/>
              <a:gd name="T24" fmla="*/ 53 w 59"/>
              <a:gd name="T25" fmla="*/ 0 h 37"/>
              <a:gd name="T26" fmla="*/ 46 w 59"/>
              <a:gd name="T27" fmla="*/ 0 h 37"/>
              <a:gd name="T28" fmla="*/ 40 w 59"/>
              <a:gd name="T29" fmla="*/ 6 h 37"/>
              <a:gd name="T30" fmla="*/ 37 w 59"/>
              <a:gd name="T31" fmla="*/ 6 h 37"/>
              <a:gd name="T32" fmla="*/ 34 w 59"/>
              <a:gd name="T33" fmla="*/ 6 h 37"/>
              <a:gd name="T34" fmla="*/ 31 w 59"/>
              <a:gd name="T35" fmla="*/ 9 h 37"/>
              <a:gd name="T36" fmla="*/ 25 w 59"/>
              <a:gd name="T37" fmla="*/ 9 h 37"/>
              <a:gd name="T38" fmla="*/ 21 w 59"/>
              <a:gd name="T39" fmla="*/ 9 h 37"/>
              <a:gd name="T40" fmla="*/ 18 w 59"/>
              <a:gd name="T41" fmla="*/ 6 h 37"/>
              <a:gd name="T42" fmla="*/ 9 w 59"/>
              <a:gd name="T43" fmla="*/ 6 h 37"/>
              <a:gd name="T44" fmla="*/ 6 w 59"/>
              <a:gd name="T45" fmla="*/ 6 h 37"/>
              <a:gd name="T46" fmla="*/ 3 w 59"/>
              <a:gd name="T47" fmla="*/ 12 h 37"/>
              <a:gd name="T48" fmla="*/ 3 w 59"/>
              <a:gd name="T49" fmla="*/ 15 h 37"/>
              <a:gd name="T50" fmla="*/ 0 w 59"/>
              <a:gd name="T51" fmla="*/ 21 h 37"/>
              <a:gd name="T52" fmla="*/ 3 w 59"/>
              <a:gd name="T53" fmla="*/ 28 h 37"/>
              <a:gd name="T54" fmla="*/ 3 w 59"/>
              <a:gd name="T55" fmla="*/ 28 h 37"/>
              <a:gd name="T56" fmla="*/ 6 w 59"/>
              <a:gd name="T57" fmla="*/ 28 h 37"/>
              <a:gd name="T58" fmla="*/ 6 w 59"/>
              <a:gd name="T59" fmla="*/ 31 h 37"/>
              <a:gd name="T60" fmla="*/ 3 w 59"/>
              <a:gd name="T61" fmla="*/ 31 h 37"/>
              <a:gd name="T62" fmla="*/ 3 w 59"/>
              <a:gd name="T6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 h="37">
                <a:moveTo>
                  <a:pt x="3" y="37"/>
                </a:moveTo>
                <a:lnTo>
                  <a:pt x="9" y="34"/>
                </a:lnTo>
                <a:lnTo>
                  <a:pt x="15" y="31"/>
                </a:lnTo>
                <a:lnTo>
                  <a:pt x="18" y="31"/>
                </a:lnTo>
                <a:lnTo>
                  <a:pt x="25" y="34"/>
                </a:lnTo>
                <a:lnTo>
                  <a:pt x="31" y="34"/>
                </a:lnTo>
                <a:lnTo>
                  <a:pt x="31" y="28"/>
                </a:lnTo>
                <a:lnTo>
                  <a:pt x="37" y="25"/>
                </a:lnTo>
                <a:lnTo>
                  <a:pt x="37" y="18"/>
                </a:lnTo>
                <a:lnTo>
                  <a:pt x="50" y="12"/>
                </a:lnTo>
                <a:lnTo>
                  <a:pt x="59" y="12"/>
                </a:lnTo>
                <a:lnTo>
                  <a:pt x="59" y="6"/>
                </a:lnTo>
                <a:lnTo>
                  <a:pt x="53" y="0"/>
                </a:lnTo>
                <a:lnTo>
                  <a:pt x="46" y="0"/>
                </a:lnTo>
                <a:lnTo>
                  <a:pt x="40" y="6"/>
                </a:lnTo>
                <a:lnTo>
                  <a:pt x="37" y="6"/>
                </a:lnTo>
                <a:lnTo>
                  <a:pt x="34" y="6"/>
                </a:lnTo>
                <a:lnTo>
                  <a:pt x="31" y="9"/>
                </a:lnTo>
                <a:lnTo>
                  <a:pt x="25" y="9"/>
                </a:lnTo>
                <a:lnTo>
                  <a:pt x="21" y="9"/>
                </a:lnTo>
                <a:lnTo>
                  <a:pt x="18" y="6"/>
                </a:lnTo>
                <a:lnTo>
                  <a:pt x="9" y="6"/>
                </a:lnTo>
                <a:lnTo>
                  <a:pt x="6" y="6"/>
                </a:lnTo>
                <a:lnTo>
                  <a:pt x="3" y="12"/>
                </a:lnTo>
                <a:lnTo>
                  <a:pt x="3" y="15"/>
                </a:lnTo>
                <a:lnTo>
                  <a:pt x="0" y="21"/>
                </a:lnTo>
                <a:lnTo>
                  <a:pt x="3" y="28"/>
                </a:lnTo>
                <a:lnTo>
                  <a:pt x="3" y="28"/>
                </a:lnTo>
                <a:lnTo>
                  <a:pt x="6" y="28"/>
                </a:lnTo>
                <a:lnTo>
                  <a:pt x="6" y="31"/>
                </a:lnTo>
                <a:lnTo>
                  <a:pt x="3" y="31"/>
                </a:lnTo>
                <a:lnTo>
                  <a:pt x="3" y="37"/>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5" name="Freeform 63">
            <a:extLst>
              <a:ext uri="{FF2B5EF4-FFF2-40B4-BE49-F238E27FC236}">
                <a16:creationId xmlns:a16="http://schemas.microsoft.com/office/drawing/2014/main" id="{02F5B7E7-4EAA-829B-C130-6DBC8032A7BF}"/>
              </a:ext>
            </a:extLst>
          </p:cNvPr>
          <p:cNvSpPr>
            <a:spLocks/>
          </p:cNvSpPr>
          <p:nvPr userDrawn="1"/>
        </p:nvSpPr>
        <p:spPr bwMode="auto">
          <a:xfrm>
            <a:off x="13696060" y="6028611"/>
            <a:ext cx="425422" cy="209550"/>
          </a:xfrm>
          <a:custGeom>
            <a:avLst/>
            <a:gdLst>
              <a:gd name="T0" fmla="*/ 81 w 134"/>
              <a:gd name="T1" fmla="*/ 63 h 66"/>
              <a:gd name="T2" fmla="*/ 93 w 134"/>
              <a:gd name="T3" fmla="*/ 66 h 66"/>
              <a:gd name="T4" fmla="*/ 103 w 134"/>
              <a:gd name="T5" fmla="*/ 66 h 66"/>
              <a:gd name="T6" fmla="*/ 109 w 134"/>
              <a:gd name="T7" fmla="*/ 63 h 66"/>
              <a:gd name="T8" fmla="*/ 118 w 134"/>
              <a:gd name="T9" fmla="*/ 57 h 66"/>
              <a:gd name="T10" fmla="*/ 128 w 134"/>
              <a:gd name="T11" fmla="*/ 53 h 66"/>
              <a:gd name="T12" fmla="*/ 128 w 134"/>
              <a:gd name="T13" fmla="*/ 44 h 66"/>
              <a:gd name="T14" fmla="*/ 125 w 134"/>
              <a:gd name="T15" fmla="*/ 38 h 66"/>
              <a:gd name="T16" fmla="*/ 134 w 134"/>
              <a:gd name="T17" fmla="*/ 35 h 66"/>
              <a:gd name="T18" fmla="*/ 134 w 134"/>
              <a:gd name="T19" fmla="*/ 25 h 66"/>
              <a:gd name="T20" fmla="*/ 134 w 134"/>
              <a:gd name="T21" fmla="*/ 10 h 66"/>
              <a:gd name="T22" fmla="*/ 122 w 134"/>
              <a:gd name="T23" fmla="*/ 6 h 66"/>
              <a:gd name="T24" fmla="*/ 112 w 134"/>
              <a:gd name="T25" fmla="*/ 6 h 66"/>
              <a:gd name="T26" fmla="*/ 100 w 134"/>
              <a:gd name="T27" fmla="*/ 3 h 66"/>
              <a:gd name="T28" fmla="*/ 93 w 134"/>
              <a:gd name="T29" fmla="*/ 3 h 66"/>
              <a:gd name="T30" fmla="*/ 90 w 134"/>
              <a:gd name="T31" fmla="*/ 10 h 66"/>
              <a:gd name="T32" fmla="*/ 84 w 134"/>
              <a:gd name="T33" fmla="*/ 13 h 66"/>
              <a:gd name="T34" fmla="*/ 72 w 134"/>
              <a:gd name="T35" fmla="*/ 6 h 66"/>
              <a:gd name="T36" fmla="*/ 72 w 134"/>
              <a:gd name="T37" fmla="*/ 13 h 66"/>
              <a:gd name="T38" fmla="*/ 65 w 134"/>
              <a:gd name="T39" fmla="*/ 16 h 66"/>
              <a:gd name="T40" fmla="*/ 56 w 134"/>
              <a:gd name="T41" fmla="*/ 25 h 66"/>
              <a:gd name="T42" fmla="*/ 62 w 134"/>
              <a:gd name="T43" fmla="*/ 31 h 66"/>
              <a:gd name="T44" fmla="*/ 59 w 134"/>
              <a:gd name="T45" fmla="*/ 35 h 66"/>
              <a:gd name="T46" fmla="*/ 50 w 134"/>
              <a:gd name="T47" fmla="*/ 35 h 66"/>
              <a:gd name="T48" fmla="*/ 43 w 134"/>
              <a:gd name="T49" fmla="*/ 35 h 66"/>
              <a:gd name="T50" fmla="*/ 34 w 134"/>
              <a:gd name="T51" fmla="*/ 38 h 66"/>
              <a:gd name="T52" fmla="*/ 28 w 134"/>
              <a:gd name="T53" fmla="*/ 38 h 66"/>
              <a:gd name="T54" fmla="*/ 18 w 134"/>
              <a:gd name="T55" fmla="*/ 35 h 66"/>
              <a:gd name="T56" fmla="*/ 15 w 134"/>
              <a:gd name="T57" fmla="*/ 41 h 66"/>
              <a:gd name="T58" fmla="*/ 9 w 134"/>
              <a:gd name="T59" fmla="*/ 41 h 66"/>
              <a:gd name="T60" fmla="*/ 3 w 134"/>
              <a:gd name="T61" fmla="*/ 38 h 66"/>
              <a:gd name="T62" fmla="*/ 0 w 134"/>
              <a:gd name="T63" fmla="*/ 38 h 66"/>
              <a:gd name="T64" fmla="*/ 0 w 134"/>
              <a:gd name="T65" fmla="*/ 44 h 66"/>
              <a:gd name="T66" fmla="*/ 3 w 134"/>
              <a:gd name="T67" fmla="*/ 50 h 66"/>
              <a:gd name="T68" fmla="*/ 9 w 134"/>
              <a:gd name="T69" fmla="*/ 47 h 66"/>
              <a:gd name="T70" fmla="*/ 15 w 134"/>
              <a:gd name="T71" fmla="*/ 50 h 66"/>
              <a:gd name="T72" fmla="*/ 22 w 134"/>
              <a:gd name="T73" fmla="*/ 53 h 66"/>
              <a:gd name="T74" fmla="*/ 28 w 134"/>
              <a:gd name="T75" fmla="*/ 53 h 66"/>
              <a:gd name="T76" fmla="*/ 40 w 134"/>
              <a:gd name="T77" fmla="*/ 50 h 66"/>
              <a:gd name="T78" fmla="*/ 47 w 134"/>
              <a:gd name="T79" fmla="*/ 53 h 66"/>
              <a:gd name="T80" fmla="*/ 68 w 134"/>
              <a:gd name="T81" fmla="*/ 63 h 66"/>
              <a:gd name="T82" fmla="*/ 78 w 134"/>
              <a:gd name="T83" fmla="*/ 6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4" h="66">
                <a:moveTo>
                  <a:pt x="78" y="63"/>
                </a:moveTo>
                <a:lnTo>
                  <a:pt x="81" y="63"/>
                </a:lnTo>
                <a:lnTo>
                  <a:pt x="90" y="63"/>
                </a:lnTo>
                <a:lnTo>
                  <a:pt x="93" y="66"/>
                </a:lnTo>
                <a:lnTo>
                  <a:pt x="97" y="66"/>
                </a:lnTo>
                <a:lnTo>
                  <a:pt x="103" y="66"/>
                </a:lnTo>
                <a:lnTo>
                  <a:pt x="106" y="63"/>
                </a:lnTo>
                <a:lnTo>
                  <a:pt x="109" y="63"/>
                </a:lnTo>
                <a:lnTo>
                  <a:pt x="112" y="63"/>
                </a:lnTo>
                <a:lnTo>
                  <a:pt x="118" y="57"/>
                </a:lnTo>
                <a:lnTo>
                  <a:pt x="125" y="57"/>
                </a:lnTo>
                <a:lnTo>
                  <a:pt x="128" y="53"/>
                </a:lnTo>
                <a:lnTo>
                  <a:pt x="128" y="47"/>
                </a:lnTo>
                <a:lnTo>
                  <a:pt x="128" y="44"/>
                </a:lnTo>
                <a:lnTo>
                  <a:pt x="128" y="41"/>
                </a:lnTo>
                <a:lnTo>
                  <a:pt x="125" y="38"/>
                </a:lnTo>
                <a:lnTo>
                  <a:pt x="125" y="35"/>
                </a:lnTo>
                <a:lnTo>
                  <a:pt x="134" y="35"/>
                </a:lnTo>
                <a:lnTo>
                  <a:pt x="134" y="31"/>
                </a:lnTo>
                <a:lnTo>
                  <a:pt x="134" y="25"/>
                </a:lnTo>
                <a:lnTo>
                  <a:pt x="134" y="16"/>
                </a:lnTo>
                <a:lnTo>
                  <a:pt x="134" y="10"/>
                </a:lnTo>
                <a:lnTo>
                  <a:pt x="125" y="6"/>
                </a:lnTo>
                <a:lnTo>
                  <a:pt x="122" y="6"/>
                </a:lnTo>
                <a:lnTo>
                  <a:pt x="118" y="6"/>
                </a:lnTo>
                <a:lnTo>
                  <a:pt x="112" y="6"/>
                </a:lnTo>
                <a:lnTo>
                  <a:pt x="106" y="3"/>
                </a:lnTo>
                <a:lnTo>
                  <a:pt x="100" y="3"/>
                </a:lnTo>
                <a:lnTo>
                  <a:pt x="97" y="0"/>
                </a:lnTo>
                <a:lnTo>
                  <a:pt x="93" y="3"/>
                </a:lnTo>
                <a:lnTo>
                  <a:pt x="93" y="6"/>
                </a:lnTo>
                <a:lnTo>
                  <a:pt x="90" y="10"/>
                </a:lnTo>
                <a:lnTo>
                  <a:pt x="87" y="10"/>
                </a:lnTo>
                <a:lnTo>
                  <a:pt x="84" y="13"/>
                </a:lnTo>
                <a:lnTo>
                  <a:pt x="75" y="6"/>
                </a:lnTo>
                <a:lnTo>
                  <a:pt x="72" y="6"/>
                </a:lnTo>
                <a:lnTo>
                  <a:pt x="72" y="10"/>
                </a:lnTo>
                <a:lnTo>
                  <a:pt x="72" y="13"/>
                </a:lnTo>
                <a:lnTo>
                  <a:pt x="68" y="13"/>
                </a:lnTo>
                <a:lnTo>
                  <a:pt x="65" y="16"/>
                </a:lnTo>
                <a:lnTo>
                  <a:pt x="62" y="19"/>
                </a:lnTo>
                <a:lnTo>
                  <a:pt x="56" y="25"/>
                </a:lnTo>
                <a:lnTo>
                  <a:pt x="56" y="28"/>
                </a:lnTo>
                <a:lnTo>
                  <a:pt x="62" y="31"/>
                </a:lnTo>
                <a:lnTo>
                  <a:pt x="62" y="35"/>
                </a:lnTo>
                <a:lnTo>
                  <a:pt x="59" y="35"/>
                </a:lnTo>
                <a:lnTo>
                  <a:pt x="56" y="35"/>
                </a:lnTo>
                <a:lnTo>
                  <a:pt x="50" y="35"/>
                </a:lnTo>
                <a:lnTo>
                  <a:pt x="47" y="35"/>
                </a:lnTo>
                <a:lnTo>
                  <a:pt x="43" y="35"/>
                </a:lnTo>
                <a:lnTo>
                  <a:pt x="37" y="38"/>
                </a:lnTo>
                <a:lnTo>
                  <a:pt x="34" y="38"/>
                </a:lnTo>
                <a:lnTo>
                  <a:pt x="31" y="38"/>
                </a:lnTo>
                <a:lnTo>
                  <a:pt x="28" y="38"/>
                </a:lnTo>
                <a:lnTo>
                  <a:pt x="25" y="38"/>
                </a:lnTo>
                <a:lnTo>
                  <a:pt x="18" y="35"/>
                </a:lnTo>
                <a:lnTo>
                  <a:pt x="12" y="38"/>
                </a:lnTo>
                <a:lnTo>
                  <a:pt x="15" y="41"/>
                </a:lnTo>
                <a:lnTo>
                  <a:pt x="12" y="41"/>
                </a:lnTo>
                <a:lnTo>
                  <a:pt x="9" y="41"/>
                </a:lnTo>
                <a:lnTo>
                  <a:pt x="6" y="38"/>
                </a:lnTo>
                <a:lnTo>
                  <a:pt x="3" y="38"/>
                </a:lnTo>
                <a:lnTo>
                  <a:pt x="0" y="38"/>
                </a:lnTo>
                <a:lnTo>
                  <a:pt x="0" y="38"/>
                </a:lnTo>
                <a:lnTo>
                  <a:pt x="0" y="41"/>
                </a:lnTo>
                <a:lnTo>
                  <a:pt x="0" y="44"/>
                </a:lnTo>
                <a:lnTo>
                  <a:pt x="3" y="44"/>
                </a:lnTo>
                <a:lnTo>
                  <a:pt x="3" y="50"/>
                </a:lnTo>
                <a:lnTo>
                  <a:pt x="6" y="50"/>
                </a:lnTo>
                <a:lnTo>
                  <a:pt x="9" y="47"/>
                </a:lnTo>
                <a:lnTo>
                  <a:pt x="12" y="53"/>
                </a:lnTo>
                <a:lnTo>
                  <a:pt x="15" y="50"/>
                </a:lnTo>
                <a:lnTo>
                  <a:pt x="18" y="50"/>
                </a:lnTo>
                <a:lnTo>
                  <a:pt x="22" y="53"/>
                </a:lnTo>
                <a:lnTo>
                  <a:pt x="22" y="53"/>
                </a:lnTo>
                <a:lnTo>
                  <a:pt x="28" y="53"/>
                </a:lnTo>
                <a:lnTo>
                  <a:pt x="37" y="50"/>
                </a:lnTo>
                <a:lnTo>
                  <a:pt x="40" y="50"/>
                </a:lnTo>
                <a:lnTo>
                  <a:pt x="50" y="50"/>
                </a:lnTo>
                <a:lnTo>
                  <a:pt x="47" y="53"/>
                </a:lnTo>
                <a:lnTo>
                  <a:pt x="56" y="60"/>
                </a:lnTo>
                <a:lnTo>
                  <a:pt x="68" y="63"/>
                </a:lnTo>
                <a:lnTo>
                  <a:pt x="75" y="60"/>
                </a:lnTo>
                <a:lnTo>
                  <a:pt x="78" y="63"/>
                </a:lnTo>
                <a:lnTo>
                  <a:pt x="78" y="63"/>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6" name="Freeform 64">
            <a:extLst>
              <a:ext uri="{FF2B5EF4-FFF2-40B4-BE49-F238E27FC236}">
                <a16:creationId xmlns:a16="http://schemas.microsoft.com/office/drawing/2014/main" id="{A853D176-7B95-95F0-0F45-E7520FB6DEDD}"/>
              </a:ext>
            </a:extLst>
          </p:cNvPr>
          <p:cNvSpPr>
            <a:spLocks/>
          </p:cNvSpPr>
          <p:nvPr userDrawn="1"/>
        </p:nvSpPr>
        <p:spPr bwMode="auto">
          <a:xfrm>
            <a:off x="13934166" y="5533306"/>
            <a:ext cx="574641" cy="485776"/>
          </a:xfrm>
          <a:custGeom>
            <a:avLst/>
            <a:gdLst>
              <a:gd name="T0" fmla="*/ 109 w 181"/>
              <a:gd name="T1" fmla="*/ 153 h 153"/>
              <a:gd name="T2" fmla="*/ 115 w 181"/>
              <a:gd name="T3" fmla="*/ 147 h 153"/>
              <a:gd name="T4" fmla="*/ 122 w 181"/>
              <a:gd name="T5" fmla="*/ 147 h 153"/>
              <a:gd name="T6" fmla="*/ 131 w 181"/>
              <a:gd name="T7" fmla="*/ 150 h 153"/>
              <a:gd name="T8" fmla="*/ 134 w 181"/>
              <a:gd name="T9" fmla="*/ 147 h 153"/>
              <a:gd name="T10" fmla="*/ 140 w 181"/>
              <a:gd name="T11" fmla="*/ 147 h 153"/>
              <a:gd name="T12" fmla="*/ 156 w 181"/>
              <a:gd name="T13" fmla="*/ 153 h 153"/>
              <a:gd name="T14" fmla="*/ 162 w 181"/>
              <a:gd name="T15" fmla="*/ 147 h 153"/>
              <a:gd name="T16" fmla="*/ 172 w 181"/>
              <a:gd name="T17" fmla="*/ 128 h 153"/>
              <a:gd name="T18" fmla="*/ 178 w 181"/>
              <a:gd name="T19" fmla="*/ 119 h 153"/>
              <a:gd name="T20" fmla="*/ 181 w 181"/>
              <a:gd name="T21" fmla="*/ 112 h 153"/>
              <a:gd name="T22" fmla="*/ 178 w 181"/>
              <a:gd name="T23" fmla="*/ 106 h 153"/>
              <a:gd name="T24" fmla="*/ 175 w 181"/>
              <a:gd name="T25" fmla="*/ 103 h 153"/>
              <a:gd name="T26" fmla="*/ 172 w 181"/>
              <a:gd name="T27" fmla="*/ 94 h 153"/>
              <a:gd name="T28" fmla="*/ 172 w 181"/>
              <a:gd name="T29" fmla="*/ 78 h 153"/>
              <a:gd name="T30" fmla="*/ 165 w 181"/>
              <a:gd name="T31" fmla="*/ 65 h 153"/>
              <a:gd name="T32" fmla="*/ 172 w 181"/>
              <a:gd name="T33" fmla="*/ 59 h 153"/>
              <a:gd name="T34" fmla="*/ 172 w 181"/>
              <a:gd name="T35" fmla="*/ 47 h 153"/>
              <a:gd name="T36" fmla="*/ 165 w 181"/>
              <a:gd name="T37" fmla="*/ 37 h 153"/>
              <a:gd name="T38" fmla="*/ 159 w 181"/>
              <a:gd name="T39" fmla="*/ 22 h 153"/>
              <a:gd name="T40" fmla="*/ 159 w 181"/>
              <a:gd name="T41" fmla="*/ 12 h 153"/>
              <a:gd name="T42" fmla="*/ 153 w 181"/>
              <a:gd name="T43" fmla="*/ 6 h 153"/>
              <a:gd name="T44" fmla="*/ 100 w 181"/>
              <a:gd name="T45" fmla="*/ 9 h 153"/>
              <a:gd name="T46" fmla="*/ 90 w 181"/>
              <a:gd name="T47" fmla="*/ 15 h 153"/>
              <a:gd name="T48" fmla="*/ 84 w 181"/>
              <a:gd name="T49" fmla="*/ 15 h 153"/>
              <a:gd name="T50" fmla="*/ 97 w 181"/>
              <a:gd name="T51" fmla="*/ 6 h 153"/>
              <a:gd name="T52" fmla="*/ 90 w 181"/>
              <a:gd name="T53" fmla="*/ 12 h 153"/>
              <a:gd name="T54" fmla="*/ 75 w 181"/>
              <a:gd name="T55" fmla="*/ 12 h 153"/>
              <a:gd name="T56" fmla="*/ 75 w 181"/>
              <a:gd name="T57" fmla="*/ 3 h 153"/>
              <a:gd name="T58" fmla="*/ 81 w 181"/>
              <a:gd name="T59" fmla="*/ 6 h 153"/>
              <a:gd name="T60" fmla="*/ 75 w 181"/>
              <a:gd name="T61" fmla="*/ 3 h 153"/>
              <a:gd name="T62" fmla="*/ 56 w 181"/>
              <a:gd name="T63" fmla="*/ 3 h 153"/>
              <a:gd name="T64" fmla="*/ 47 w 181"/>
              <a:gd name="T65" fmla="*/ 6 h 153"/>
              <a:gd name="T66" fmla="*/ 37 w 181"/>
              <a:gd name="T67" fmla="*/ 9 h 153"/>
              <a:gd name="T68" fmla="*/ 34 w 181"/>
              <a:gd name="T69" fmla="*/ 19 h 153"/>
              <a:gd name="T70" fmla="*/ 18 w 181"/>
              <a:gd name="T71" fmla="*/ 22 h 153"/>
              <a:gd name="T72" fmla="*/ 9 w 181"/>
              <a:gd name="T73" fmla="*/ 28 h 153"/>
              <a:gd name="T74" fmla="*/ 6 w 181"/>
              <a:gd name="T75" fmla="*/ 34 h 153"/>
              <a:gd name="T76" fmla="*/ 6 w 181"/>
              <a:gd name="T77" fmla="*/ 34 h 153"/>
              <a:gd name="T78" fmla="*/ 6 w 181"/>
              <a:gd name="T79" fmla="*/ 50 h 153"/>
              <a:gd name="T80" fmla="*/ 0 w 181"/>
              <a:gd name="T81" fmla="*/ 56 h 153"/>
              <a:gd name="T82" fmla="*/ 6 w 181"/>
              <a:gd name="T83" fmla="*/ 65 h 153"/>
              <a:gd name="T84" fmla="*/ 9 w 181"/>
              <a:gd name="T85" fmla="*/ 75 h 153"/>
              <a:gd name="T86" fmla="*/ 9 w 181"/>
              <a:gd name="T87" fmla="*/ 81 h 153"/>
              <a:gd name="T88" fmla="*/ 15 w 181"/>
              <a:gd name="T89" fmla="*/ 91 h 153"/>
              <a:gd name="T90" fmla="*/ 18 w 181"/>
              <a:gd name="T91" fmla="*/ 103 h 153"/>
              <a:gd name="T92" fmla="*/ 18 w 181"/>
              <a:gd name="T93" fmla="*/ 109 h 153"/>
              <a:gd name="T94" fmla="*/ 22 w 181"/>
              <a:gd name="T95" fmla="*/ 106 h 153"/>
              <a:gd name="T96" fmla="*/ 34 w 181"/>
              <a:gd name="T97" fmla="*/ 106 h 153"/>
              <a:gd name="T98" fmla="*/ 37 w 181"/>
              <a:gd name="T99" fmla="*/ 112 h 153"/>
              <a:gd name="T100" fmla="*/ 43 w 181"/>
              <a:gd name="T101" fmla="*/ 116 h 153"/>
              <a:gd name="T102" fmla="*/ 40 w 181"/>
              <a:gd name="T103" fmla="*/ 122 h 153"/>
              <a:gd name="T104" fmla="*/ 43 w 181"/>
              <a:gd name="T105" fmla="*/ 128 h 153"/>
              <a:gd name="T106" fmla="*/ 47 w 181"/>
              <a:gd name="T107" fmla="*/ 125 h 153"/>
              <a:gd name="T108" fmla="*/ 47 w 181"/>
              <a:gd name="T109" fmla="*/ 119 h 153"/>
              <a:gd name="T110" fmla="*/ 56 w 181"/>
              <a:gd name="T111" fmla="*/ 125 h 153"/>
              <a:gd name="T112" fmla="*/ 62 w 181"/>
              <a:gd name="T113" fmla="*/ 125 h 153"/>
              <a:gd name="T114" fmla="*/ 72 w 181"/>
              <a:gd name="T115" fmla="*/ 128 h 153"/>
              <a:gd name="T116" fmla="*/ 90 w 181"/>
              <a:gd name="T117" fmla="*/ 137 h 153"/>
              <a:gd name="T118" fmla="*/ 97 w 181"/>
              <a:gd name="T119" fmla="*/ 144 h 153"/>
              <a:gd name="T120" fmla="*/ 106 w 181"/>
              <a:gd name="T121" fmla="*/ 144 h 153"/>
              <a:gd name="T122" fmla="*/ 109 w 181"/>
              <a:gd name="T123" fmla="*/ 1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 h="153">
                <a:moveTo>
                  <a:pt x="109" y="150"/>
                </a:moveTo>
                <a:lnTo>
                  <a:pt x="109" y="153"/>
                </a:lnTo>
                <a:lnTo>
                  <a:pt x="112" y="153"/>
                </a:lnTo>
                <a:lnTo>
                  <a:pt x="115" y="147"/>
                </a:lnTo>
                <a:lnTo>
                  <a:pt x="118" y="147"/>
                </a:lnTo>
                <a:lnTo>
                  <a:pt x="122" y="147"/>
                </a:lnTo>
                <a:lnTo>
                  <a:pt x="128" y="147"/>
                </a:lnTo>
                <a:lnTo>
                  <a:pt x="131" y="150"/>
                </a:lnTo>
                <a:lnTo>
                  <a:pt x="131" y="147"/>
                </a:lnTo>
                <a:lnTo>
                  <a:pt x="134" y="147"/>
                </a:lnTo>
                <a:lnTo>
                  <a:pt x="137" y="147"/>
                </a:lnTo>
                <a:lnTo>
                  <a:pt x="140" y="147"/>
                </a:lnTo>
                <a:lnTo>
                  <a:pt x="147" y="147"/>
                </a:lnTo>
                <a:lnTo>
                  <a:pt x="156" y="153"/>
                </a:lnTo>
                <a:lnTo>
                  <a:pt x="159" y="153"/>
                </a:lnTo>
                <a:lnTo>
                  <a:pt x="162" y="147"/>
                </a:lnTo>
                <a:lnTo>
                  <a:pt x="159" y="141"/>
                </a:lnTo>
                <a:lnTo>
                  <a:pt x="172" y="128"/>
                </a:lnTo>
                <a:lnTo>
                  <a:pt x="175" y="122"/>
                </a:lnTo>
                <a:lnTo>
                  <a:pt x="178" y="119"/>
                </a:lnTo>
                <a:lnTo>
                  <a:pt x="181" y="119"/>
                </a:lnTo>
                <a:lnTo>
                  <a:pt x="181" y="112"/>
                </a:lnTo>
                <a:lnTo>
                  <a:pt x="181" y="109"/>
                </a:lnTo>
                <a:lnTo>
                  <a:pt x="178" y="106"/>
                </a:lnTo>
                <a:lnTo>
                  <a:pt x="181" y="103"/>
                </a:lnTo>
                <a:lnTo>
                  <a:pt x="175" y="103"/>
                </a:lnTo>
                <a:lnTo>
                  <a:pt x="175" y="97"/>
                </a:lnTo>
                <a:lnTo>
                  <a:pt x="172" y="94"/>
                </a:lnTo>
                <a:lnTo>
                  <a:pt x="172" y="84"/>
                </a:lnTo>
                <a:lnTo>
                  <a:pt x="172" y="78"/>
                </a:lnTo>
                <a:lnTo>
                  <a:pt x="168" y="72"/>
                </a:lnTo>
                <a:lnTo>
                  <a:pt x="165" y="65"/>
                </a:lnTo>
                <a:lnTo>
                  <a:pt x="168" y="62"/>
                </a:lnTo>
                <a:lnTo>
                  <a:pt x="172" y="59"/>
                </a:lnTo>
                <a:lnTo>
                  <a:pt x="172" y="47"/>
                </a:lnTo>
                <a:lnTo>
                  <a:pt x="172" y="47"/>
                </a:lnTo>
                <a:lnTo>
                  <a:pt x="168" y="40"/>
                </a:lnTo>
                <a:lnTo>
                  <a:pt x="165" y="37"/>
                </a:lnTo>
                <a:lnTo>
                  <a:pt x="165" y="28"/>
                </a:lnTo>
                <a:lnTo>
                  <a:pt x="159" y="22"/>
                </a:lnTo>
                <a:lnTo>
                  <a:pt x="162" y="19"/>
                </a:lnTo>
                <a:lnTo>
                  <a:pt x="159" y="12"/>
                </a:lnTo>
                <a:lnTo>
                  <a:pt x="156" y="9"/>
                </a:lnTo>
                <a:lnTo>
                  <a:pt x="153" y="6"/>
                </a:lnTo>
                <a:lnTo>
                  <a:pt x="125" y="9"/>
                </a:lnTo>
                <a:lnTo>
                  <a:pt x="100" y="9"/>
                </a:lnTo>
                <a:lnTo>
                  <a:pt x="100" y="9"/>
                </a:lnTo>
                <a:lnTo>
                  <a:pt x="90" y="15"/>
                </a:lnTo>
                <a:lnTo>
                  <a:pt x="87" y="15"/>
                </a:lnTo>
                <a:lnTo>
                  <a:pt x="84" y="15"/>
                </a:lnTo>
                <a:lnTo>
                  <a:pt x="90" y="12"/>
                </a:lnTo>
                <a:lnTo>
                  <a:pt x="97" y="6"/>
                </a:lnTo>
                <a:lnTo>
                  <a:pt x="93" y="6"/>
                </a:lnTo>
                <a:lnTo>
                  <a:pt x="90" y="12"/>
                </a:lnTo>
                <a:lnTo>
                  <a:pt x="81" y="15"/>
                </a:lnTo>
                <a:lnTo>
                  <a:pt x="75" y="12"/>
                </a:lnTo>
                <a:lnTo>
                  <a:pt x="72" y="6"/>
                </a:lnTo>
                <a:lnTo>
                  <a:pt x="75" y="3"/>
                </a:lnTo>
                <a:lnTo>
                  <a:pt x="78" y="6"/>
                </a:lnTo>
                <a:lnTo>
                  <a:pt x="81" y="6"/>
                </a:lnTo>
                <a:lnTo>
                  <a:pt x="81" y="6"/>
                </a:lnTo>
                <a:lnTo>
                  <a:pt x="75" y="3"/>
                </a:lnTo>
                <a:lnTo>
                  <a:pt x="65" y="0"/>
                </a:lnTo>
                <a:lnTo>
                  <a:pt x="56" y="3"/>
                </a:lnTo>
                <a:lnTo>
                  <a:pt x="53" y="3"/>
                </a:lnTo>
                <a:lnTo>
                  <a:pt x="47" y="6"/>
                </a:lnTo>
                <a:lnTo>
                  <a:pt x="43" y="9"/>
                </a:lnTo>
                <a:lnTo>
                  <a:pt x="37" y="9"/>
                </a:lnTo>
                <a:lnTo>
                  <a:pt x="34" y="15"/>
                </a:lnTo>
                <a:lnTo>
                  <a:pt x="34" y="19"/>
                </a:lnTo>
                <a:lnTo>
                  <a:pt x="28" y="19"/>
                </a:lnTo>
                <a:lnTo>
                  <a:pt x="18" y="22"/>
                </a:lnTo>
                <a:lnTo>
                  <a:pt x="12" y="22"/>
                </a:lnTo>
                <a:lnTo>
                  <a:pt x="9" y="28"/>
                </a:lnTo>
                <a:lnTo>
                  <a:pt x="6" y="31"/>
                </a:lnTo>
                <a:lnTo>
                  <a:pt x="6" y="34"/>
                </a:lnTo>
                <a:lnTo>
                  <a:pt x="6" y="34"/>
                </a:lnTo>
                <a:lnTo>
                  <a:pt x="6" y="34"/>
                </a:lnTo>
                <a:lnTo>
                  <a:pt x="6" y="44"/>
                </a:lnTo>
                <a:lnTo>
                  <a:pt x="6" y="50"/>
                </a:lnTo>
                <a:lnTo>
                  <a:pt x="0" y="53"/>
                </a:lnTo>
                <a:lnTo>
                  <a:pt x="0" y="56"/>
                </a:lnTo>
                <a:lnTo>
                  <a:pt x="6" y="62"/>
                </a:lnTo>
                <a:lnTo>
                  <a:pt x="6" y="65"/>
                </a:lnTo>
                <a:lnTo>
                  <a:pt x="9" y="72"/>
                </a:lnTo>
                <a:lnTo>
                  <a:pt x="9" y="75"/>
                </a:lnTo>
                <a:lnTo>
                  <a:pt x="9" y="78"/>
                </a:lnTo>
                <a:lnTo>
                  <a:pt x="9" y="81"/>
                </a:lnTo>
                <a:lnTo>
                  <a:pt x="12" y="87"/>
                </a:lnTo>
                <a:lnTo>
                  <a:pt x="15" y="91"/>
                </a:lnTo>
                <a:lnTo>
                  <a:pt x="18" y="94"/>
                </a:lnTo>
                <a:lnTo>
                  <a:pt x="18" y="103"/>
                </a:lnTo>
                <a:lnTo>
                  <a:pt x="15" y="106"/>
                </a:lnTo>
                <a:lnTo>
                  <a:pt x="18" y="109"/>
                </a:lnTo>
                <a:lnTo>
                  <a:pt x="18" y="106"/>
                </a:lnTo>
                <a:lnTo>
                  <a:pt x="22" y="106"/>
                </a:lnTo>
                <a:lnTo>
                  <a:pt x="25" y="106"/>
                </a:lnTo>
                <a:lnTo>
                  <a:pt x="34" y="106"/>
                </a:lnTo>
                <a:lnTo>
                  <a:pt x="34" y="109"/>
                </a:lnTo>
                <a:lnTo>
                  <a:pt x="37" y="112"/>
                </a:lnTo>
                <a:lnTo>
                  <a:pt x="40" y="112"/>
                </a:lnTo>
                <a:lnTo>
                  <a:pt x="43" y="116"/>
                </a:lnTo>
                <a:lnTo>
                  <a:pt x="40" y="119"/>
                </a:lnTo>
                <a:lnTo>
                  <a:pt x="40" y="122"/>
                </a:lnTo>
                <a:lnTo>
                  <a:pt x="43" y="122"/>
                </a:lnTo>
                <a:lnTo>
                  <a:pt x="43" y="128"/>
                </a:lnTo>
                <a:lnTo>
                  <a:pt x="47" y="128"/>
                </a:lnTo>
                <a:lnTo>
                  <a:pt x="47" y="125"/>
                </a:lnTo>
                <a:lnTo>
                  <a:pt x="50" y="125"/>
                </a:lnTo>
                <a:lnTo>
                  <a:pt x="47" y="119"/>
                </a:lnTo>
                <a:lnTo>
                  <a:pt x="47" y="119"/>
                </a:lnTo>
                <a:lnTo>
                  <a:pt x="56" y="125"/>
                </a:lnTo>
                <a:lnTo>
                  <a:pt x="62" y="122"/>
                </a:lnTo>
                <a:lnTo>
                  <a:pt x="62" y="125"/>
                </a:lnTo>
                <a:lnTo>
                  <a:pt x="65" y="131"/>
                </a:lnTo>
                <a:lnTo>
                  <a:pt x="72" y="128"/>
                </a:lnTo>
                <a:lnTo>
                  <a:pt x="78" y="131"/>
                </a:lnTo>
                <a:lnTo>
                  <a:pt x="90" y="137"/>
                </a:lnTo>
                <a:lnTo>
                  <a:pt x="93" y="144"/>
                </a:lnTo>
                <a:lnTo>
                  <a:pt x="97" y="144"/>
                </a:lnTo>
                <a:lnTo>
                  <a:pt x="100" y="144"/>
                </a:lnTo>
                <a:lnTo>
                  <a:pt x="106" y="144"/>
                </a:lnTo>
                <a:lnTo>
                  <a:pt x="109" y="147"/>
                </a:lnTo>
                <a:lnTo>
                  <a:pt x="109" y="15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7" name="Freeform 65">
            <a:extLst>
              <a:ext uri="{FF2B5EF4-FFF2-40B4-BE49-F238E27FC236}">
                <a16:creationId xmlns:a16="http://schemas.microsoft.com/office/drawing/2014/main" id="{D0EED0F1-2DF2-07D5-4365-4462ECF724FC}"/>
              </a:ext>
            </a:extLst>
          </p:cNvPr>
          <p:cNvSpPr>
            <a:spLocks/>
          </p:cNvSpPr>
          <p:nvPr userDrawn="1"/>
        </p:nvSpPr>
        <p:spPr bwMode="auto">
          <a:xfrm>
            <a:off x="13823046" y="5869861"/>
            <a:ext cx="457170" cy="200026"/>
          </a:xfrm>
          <a:custGeom>
            <a:avLst/>
            <a:gdLst>
              <a:gd name="T0" fmla="*/ 53 w 144"/>
              <a:gd name="T1" fmla="*/ 3 h 63"/>
              <a:gd name="T2" fmla="*/ 57 w 144"/>
              <a:gd name="T3" fmla="*/ 0 h 63"/>
              <a:gd name="T4" fmla="*/ 69 w 144"/>
              <a:gd name="T5" fmla="*/ 0 h 63"/>
              <a:gd name="T6" fmla="*/ 72 w 144"/>
              <a:gd name="T7" fmla="*/ 6 h 63"/>
              <a:gd name="T8" fmla="*/ 78 w 144"/>
              <a:gd name="T9" fmla="*/ 10 h 63"/>
              <a:gd name="T10" fmla="*/ 75 w 144"/>
              <a:gd name="T11" fmla="*/ 16 h 63"/>
              <a:gd name="T12" fmla="*/ 78 w 144"/>
              <a:gd name="T13" fmla="*/ 22 h 63"/>
              <a:gd name="T14" fmla="*/ 82 w 144"/>
              <a:gd name="T15" fmla="*/ 19 h 63"/>
              <a:gd name="T16" fmla="*/ 82 w 144"/>
              <a:gd name="T17" fmla="*/ 13 h 63"/>
              <a:gd name="T18" fmla="*/ 91 w 144"/>
              <a:gd name="T19" fmla="*/ 19 h 63"/>
              <a:gd name="T20" fmla="*/ 97 w 144"/>
              <a:gd name="T21" fmla="*/ 19 h 63"/>
              <a:gd name="T22" fmla="*/ 107 w 144"/>
              <a:gd name="T23" fmla="*/ 22 h 63"/>
              <a:gd name="T24" fmla="*/ 125 w 144"/>
              <a:gd name="T25" fmla="*/ 31 h 63"/>
              <a:gd name="T26" fmla="*/ 132 w 144"/>
              <a:gd name="T27" fmla="*/ 38 h 63"/>
              <a:gd name="T28" fmla="*/ 141 w 144"/>
              <a:gd name="T29" fmla="*/ 38 h 63"/>
              <a:gd name="T30" fmla="*/ 144 w 144"/>
              <a:gd name="T31" fmla="*/ 44 h 63"/>
              <a:gd name="T32" fmla="*/ 132 w 144"/>
              <a:gd name="T33" fmla="*/ 47 h 63"/>
              <a:gd name="T34" fmla="*/ 119 w 144"/>
              <a:gd name="T35" fmla="*/ 53 h 63"/>
              <a:gd name="T36" fmla="*/ 107 w 144"/>
              <a:gd name="T37" fmla="*/ 60 h 63"/>
              <a:gd name="T38" fmla="*/ 100 w 144"/>
              <a:gd name="T39" fmla="*/ 56 h 63"/>
              <a:gd name="T40" fmla="*/ 85 w 144"/>
              <a:gd name="T41" fmla="*/ 56 h 63"/>
              <a:gd name="T42" fmla="*/ 78 w 144"/>
              <a:gd name="T43" fmla="*/ 56 h 63"/>
              <a:gd name="T44" fmla="*/ 66 w 144"/>
              <a:gd name="T45" fmla="*/ 53 h 63"/>
              <a:gd name="T46" fmla="*/ 57 w 144"/>
              <a:gd name="T47" fmla="*/ 50 h 63"/>
              <a:gd name="T48" fmla="*/ 53 w 144"/>
              <a:gd name="T49" fmla="*/ 56 h 63"/>
              <a:gd name="T50" fmla="*/ 47 w 144"/>
              <a:gd name="T51" fmla="*/ 60 h 63"/>
              <a:gd name="T52" fmla="*/ 35 w 144"/>
              <a:gd name="T53" fmla="*/ 56 h 63"/>
              <a:gd name="T54" fmla="*/ 32 w 144"/>
              <a:gd name="T55" fmla="*/ 56 h 63"/>
              <a:gd name="T56" fmla="*/ 19 w 144"/>
              <a:gd name="T57" fmla="*/ 44 h 63"/>
              <a:gd name="T58" fmla="*/ 10 w 144"/>
              <a:gd name="T59" fmla="*/ 38 h 63"/>
              <a:gd name="T60" fmla="*/ 10 w 144"/>
              <a:gd name="T61" fmla="*/ 28 h 63"/>
              <a:gd name="T62" fmla="*/ 0 w 144"/>
              <a:gd name="T63" fmla="*/ 19 h 63"/>
              <a:gd name="T64" fmla="*/ 0 w 144"/>
              <a:gd name="T65" fmla="*/ 16 h 63"/>
              <a:gd name="T66" fmla="*/ 7 w 144"/>
              <a:gd name="T67" fmla="*/ 19 h 63"/>
              <a:gd name="T68" fmla="*/ 16 w 144"/>
              <a:gd name="T69" fmla="*/ 13 h 63"/>
              <a:gd name="T70" fmla="*/ 25 w 144"/>
              <a:gd name="T71" fmla="*/ 6 h 63"/>
              <a:gd name="T72" fmla="*/ 35 w 144"/>
              <a:gd name="T73" fmla="*/ 3 h 63"/>
              <a:gd name="T74" fmla="*/ 38 w 144"/>
              <a:gd name="T75" fmla="*/ 3 h 63"/>
              <a:gd name="T76" fmla="*/ 44 w 144"/>
              <a:gd name="T77" fmla="*/ 0 h 63"/>
              <a:gd name="T78" fmla="*/ 50 w 144"/>
              <a:gd name="T7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4" h="63">
                <a:moveTo>
                  <a:pt x="50" y="0"/>
                </a:moveTo>
                <a:lnTo>
                  <a:pt x="53" y="3"/>
                </a:lnTo>
                <a:lnTo>
                  <a:pt x="53" y="0"/>
                </a:lnTo>
                <a:lnTo>
                  <a:pt x="57" y="0"/>
                </a:lnTo>
                <a:lnTo>
                  <a:pt x="60" y="0"/>
                </a:lnTo>
                <a:lnTo>
                  <a:pt x="69" y="0"/>
                </a:lnTo>
                <a:lnTo>
                  <a:pt x="69" y="3"/>
                </a:lnTo>
                <a:lnTo>
                  <a:pt x="72" y="6"/>
                </a:lnTo>
                <a:lnTo>
                  <a:pt x="75" y="6"/>
                </a:lnTo>
                <a:lnTo>
                  <a:pt x="78" y="10"/>
                </a:lnTo>
                <a:lnTo>
                  <a:pt x="75" y="13"/>
                </a:lnTo>
                <a:lnTo>
                  <a:pt x="75" y="16"/>
                </a:lnTo>
                <a:lnTo>
                  <a:pt x="78" y="16"/>
                </a:lnTo>
                <a:lnTo>
                  <a:pt x="78" y="22"/>
                </a:lnTo>
                <a:lnTo>
                  <a:pt x="82" y="22"/>
                </a:lnTo>
                <a:lnTo>
                  <a:pt x="82" y="19"/>
                </a:lnTo>
                <a:lnTo>
                  <a:pt x="85" y="19"/>
                </a:lnTo>
                <a:lnTo>
                  <a:pt x="82" y="13"/>
                </a:lnTo>
                <a:lnTo>
                  <a:pt x="82" y="13"/>
                </a:lnTo>
                <a:lnTo>
                  <a:pt x="91" y="19"/>
                </a:lnTo>
                <a:lnTo>
                  <a:pt x="97" y="16"/>
                </a:lnTo>
                <a:lnTo>
                  <a:pt x="97" y="19"/>
                </a:lnTo>
                <a:lnTo>
                  <a:pt x="100" y="25"/>
                </a:lnTo>
                <a:lnTo>
                  <a:pt x="107" y="22"/>
                </a:lnTo>
                <a:lnTo>
                  <a:pt x="113" y="25"/>
                </a:lnTo>
                <a:lnTo>
                  <a:pt x="125" y="31"/>
                </a:lnTo>
                <a:lnTo>
                  <a:pt x="128" y="38"/>
                </a:lnTo>
                <a:lnTo>
                  <a:pt x="132" y="38"/>
                </a:lnTo>
                <a:lnTo>
                  <a:pt x="135" y="38"/>
                </a:lnTo>
                <a:lnTo>
                  <a:pt x="141" y="38"/>
                </a:lnTo>
                <a:lnTo>
                  <a:pt x="144" y="41"/>
                </a:lnTo>
                <a:lnTo>
                  <a:pt x="144" y="44"/>
                </a:lnTo>
                <a:lnTo>
                  <a:pt x="135" y="44"/>
                </a:lnTo>
                <a:lnTo>
                  <a:pt x="132" y="47"/>
                </a:lnTo>
                <a:lnTo>
                  <a:pt x="125" y="50"/>
                </a:lnTo>
                <a:lnTo>
                  <a:pt x="119" y="53"/>
                </a:lnTo>
                <a:lnTo>
                  <a:pt x="113" y="56"/>
                </a:lnTo>
                <a:lnTo>
                  <a:pt x="107" y="60"/>
                </a:lnTo>
                <a:lnTo>
                  <a:pt x="103" y="56"/>
                </a:lnTo>
                <a:lnTo>
                  <a:pt x="100" y="56"/>
                </a:lnTo>
                <a:lnTo>
                  <a:pt x="94" y="60"/>
                </a:lnTo>
                <a:lnTo>
                  <a:pt x="85" y="56"/>
                </a:lnTo>
                <a:lnTo>
                  <a:pt x="82" y="56"/>
                </a:lnTo>
                <a:lnTo>
                  <a:pt x="78" y="56"/>
                </a:lnTo>
                <a:lnTo>
                  <a:pt x="72" y="56"/>
                </a:lnTo>
                <a:lnTo>
                  <a:pt x="66" y="53"/>
                </a:lnTo>
                <a:lnTo>
                  <a:pt x="60" y="53"/>
                </a:lnTo>
                <a:lnTo>
                  <a:pt x="57" y="50"/>
                </a:lnTo>
                <a:lnTo>
                  <a:pt x="53" y="53"/>
                </a:lnTo>
                <a:lnTo>
                  <a:pt x="53" y="56"/>
                </a:lnTo>
                <a:lnTo>
                  <a:pt x="50" y="60"/>
                </a:lnTo>
                <a:lnTo>
                  <a:pt x="47" y="60"/>
                </a:lnTo>
                <a:lnTo>
                  <a:pt x="44" y="63"/>
                </a:lnTo>
                <a:lnTo>
                  <a:pt x="35" y="56"/>
                </a:lnTo>
                <a:lnTo>
                  <a:pt x="32" y="56"/>
                </a:lnTo>
                <a:lnTo>
                  <a:pt x="32" y="56"/>
                </a:lnTo>
                <a:lnTo>
                  <a:pt x="25" y="47"/>
                </a:lnTo>
                <a:lnTo>
                  <a:pt x="19" y="44"/>
                </a:lnTo>
                <a:lnTo>
                  <a:pt x="13" y="41"/>
                </a:lnTo>
                <a:lnTo>
                  <a:pt x="10" y="38"/>
                </a:lnTo>
                <a:lnTo>
                  <a:pt x="10" y="35"/>
                </a:lnTo>
                <a:lnTo>
                  <a:pt x="10" y="28"/>
                </a:lnTo>
                <a:lnTo>
                  <a:pt x="3" y="22"/>
                </a:lnTo>
                <a:lnTo>
                  <a:pt x="0" y="19"/>
                </a:lnTo>
                <a:lnTo>
                  <a:pt x="0" y="16"/>
                </a:lnTo>
                <a:lnTo>
                  <a:pt x="0" y="16"/>
                </a:lnTo>
                <a:lnTo>
                  <a:pt x="3" y="19"/>
                </a:lnTo>
                <a:lnTo>
                  <a:pt x="7" y="19"/>
                </a:lnTo>
                <a:lnTo>
                  <a:pt x="13" y="13"/>
                </a:lnTo>
                <a:lnTo>
                  <a:pt x="16" y="13"/>
                </a:lnTo>
                <a:lnTo>
                  <a:pt x="19" y="6"/>
                </a:lnTo>
                <a:lnTo>
                  <a:pt x="25" y="6"/>
                </a:lnTo>
                <a:lnTo>
                  <a:pt x="25" y="3"/>
                </a:lnTo>
                <a:lnTo>
                  <a:pt x="35" y="3"/>
                </a:lnTo>
                <a:lnTo>
                  <a:pt x="35" y="6"/>
                </a:lnTo>
                <a:lnTo>
                  <a:pt x="38" y="3"/>
                </a:lnTo>
                <a:lnTo>
                  <a:pt x="38" y="0"/>
                </a:lnTo>
                <a:lnTo>
                  <a:pt x="44" y="0"/>
                </a:lnTo>
                <a:lnTo>
                  <a:pt x="47" y="0"/>
                </a:lnTo>
                <a:lnTo>
                  <a:pt x="50" y="0"/>
                </a:lnTo>
                <a:lnTo>
                  <a:pt x="50" y="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8" name="Freeform 66">
            <a:extLst>
              <a:ext uri="{FF2B5EF4-FFF2-40B4-BE49-F238E27FC236}">
                <a16:creationId xmlns:a16="http://schemas.microsoft.com/office/drawing/2014/main" id="{3BAF052D-6FEE-BAA5-C27F-8C70DFCE5D77}"/>
              </a:ext>
            </a:extLst>
          </p:cNvPr>
          <p:cNvSpPr>
            <a:spLocks/>
          </p:cNvSpPr>
          <p:nvPr userDrawn="1"/>
        </p:nvSpPr>
        <p:spPr bwMode="auto">
          <a:xfrm>
            <a:off x="13467470" y="5533309"/>
            <a:ext cx="523844" cy="625478"/>
          </a:xfrm>
          <a:custGeom>
            <a:avLst/>
            <a:gdLst>
              <a:gd name="T0" fmla="*/ 59 w 165"/>
              <a:gd name="T1" fmla="*/ 3 h 197"/>
              <a:gd name="T2" fmla="*/ 69 w 165"/>
              <a:gd name="T3" fmla="*/ 12 h 197"/>
              <a:gd name="T4" fmla="*/ 72 w 165"/>
              <a:gd name="T5" fmla="*/ 22 h 197"/>
              <a:gd name="T6" fmla="*/ 81 w 165"/>
              <a:gd name="T7" fmla="*/ 19 h 197"/>
              <a:gd name="T8" fmla="*/ 90 w 165"/>
              <a:gd name="T9" fmla="*/ 19 h 197"/>
              <a:gd name="T10" fmla="*/ 84 w 165"/>
              <a:gd name="T11" fmla="*/ 25 h 197"/>
              <a:gd name="T12" fmla="*/ 94 w 165"/>
              <a:gd name="T13" fmla="*/ 28 h 197"/>
              <a:gd name="T14" fmla="*/ 109 w 165"/>
              <a:gd name="T15" fmla="*/ 22 h 197"/>
              <a:gd name="T16" fmla="*/ 115 w 165"/>
              <a:gd name="T17" fmla="*/ 15 h 197"/>
              <a:gd name="T18" fmla="*/ 115 w 165"/>
              <a:gd name="T19" fmla="*/ 19 h 197"/>
              <a:gd name="T20" fmla="*/ 122 w 165"/>
              <a:gd name="T21" fmla="*/ 19 h 197"/>
              <a:gd name="T22" fmla="*/ 134 w 165"/>
              <a:gd name="T23" fmla="*/ 25 h 197"/>
              <a:gd name="T24" fmla="*/ 144 w 165"/>
              <a:gd name="T25" fmla="*/ 34 h 197"/>
              <a:gd name="T26" fmla="*/ 153 w 165"/>
              <a:gd name="T27" fmla="*/ 44 h 197"/>
              <a:gd name="T28" fmla="*/ 153 w 165"/>
              <a:gd name="T29" fmla="*/ 62 h 197"/>
              <a:gd name="T30" fmla="*/ 156 w 165"/>
              <a:gd name="T31" fmla="*/ 78 h 197"/>
              <a:gd name="T32" fmla="*/ 165 w 165"/>
              <a:gd name="T33" fmla="*/ 94 h 197"/>
              <a:gd name="T34" fmla="*/ 156 w 165"/>
              <a:gd name="T35" fmla="*/ 106 h 197"/>
              <a:gd name="T36" fmla="*/ 147 w 165"/>
              <a:gd name="T37" fmla="*/ 109 h 197"/>
              <a:gd name="T38" fmla="*/ 128 w 165"/>
              <a:gd name="T39" fmla="*/ 119 h 197"/>
              <a:gd name="T40" fmla="*/ 112 w 165"/>
              <a:gd name="T41" fmla="*/ 122 h 197"/>
              <a:gd name="T42" fmla="*/ 122 w 165"/>
              <a:gd name="T43" fmla="*/ 134 h 197"/>
              <a:gd name="T44" fmla="*/ 131 w 165"/>
              <a:gd name="T45" fmla="*/ 150 h 197"/>
              <a:gd name="T46" fmla="*/ 144 w 165"/>
              <a:gd name="T47" fmla="*/ 169 h 197"/>
              <a:gd name="T48" fmla="*/ 128 w 165"/>
              <a:gd name="T49" fmla="*/ 181 h 197"/>
              <a:gd name="T50" fmla="*/ 131 w 165"/>
              <a:gd name="T51" fmla="*/ 191 h 197"/>
              <a:gd name="T52" fmla="*/ 115 w 165"/>
              <a:gd name="T53" fmla="*/ 191 h 197"/>
              <a:gd name="T54" fmla="*/ 100 w 165"/>
              <a:gd name="T55" fmla="*/ 194 h 197"/>
              <a:gd name="T56" fmla="*/ 87 w 165"/>
              <a:gd name="T57" fmla="*/ 197 h 197"/>
              <a:gd name="T58" fmla="*/ 75 w 165"/>
              <a:gd name="T59" fmla="*/ 194 h 197"/>
              <a:gd name="T60" fmla="*/ 62 w 165"/>
              <a:gd name="T61" fmla="*/ 191 h 197"/>
              <a:gd name="T62" fmla="*/ 56 w 165"/>
              <a:gd name="T63" fmla="*/ 187 h 197"/>
              <a:gd name="T64" fmla="*/ 44 w 165"/>
              <a:gd name="T65" fmla="*/ 191 h 197"/>
              <a:gd name="T66" fmla="*/ 37 w 165"/>
              <a:gd name="T67" fmla="*/ 187 h 197"/>
              <a:gd name="T68" fmla="*/ 37 w 165"/>
              <a:gd name="T69" fmla="*/ 172 h 197"/>
              <a:gd name="T70" fmla="*/ 40 w 165"/>
              <a:gd name="T71" fmla="*/ 156 h 197"/>
              <a:gd name="T72" fmla="*/ 25 w 165"/>
              <a:gd name="T73" fmla="*/ 153 h 197"/>
              <a:gd name="T74" fmla="*/ 15 w 165"/>
              <a:gd name="T75" fmla="*/ 150 h 197"/>
              <a:gd name="T76" fmla="*/ 9 w 165"/>
              <a:gd name="T77" fmla="*/ 137 h 197"/>
              <a:gd name="T78" fmla="*/ 6 w 165"/>
              <a:gd name="T79" fmla="*/ 122 h 197"/>
              <a:gd name="T80" fmla="*/ 3 w 165"/>
              <a:gd name="T81" fmla="*/ 109 h 197"/>
              <a:gd name="T82" fmla="*/ 3 w 165"/>
              <a:gd name="T83" fmla="*/ 91 h 197"/>
              <a:gd name="T84" fmla="*/ 19 w 165"/>
              <a:gd name="T85" fmla="*/ 84 h 197"/>
              <a:gd name="T86" fmla="*/ 22 w 165"/>
              <a:gd name="T87" fmla="*/ 72 h 197"/>
              <a:gd name="T88" fmla="*/ 15 w 165"/>
              <a:gd name="T89" fmla="*/ 65 h 197"/>
              <a:gd name="T90" fmla="*/ 25 w 165"/>
              <a:gd name="T91" fmla="*/ 59 h 197"/>
              <a:gd name="T92" fmla="*/ 28 w 165"/>
              <a:gd name="T93" fmla="*/ 50 h 197"/>
              <a:gd name="T94" fmla="*/ 22 w 165"/>
              <a:gd name="T95" fmla="*/ 44 h 197"/>
              <a:gd name="T96" fmla="*/ 37 w 165"/>
              <a:gd name="T97" fmla="*/ 37 h 197"/>
              <a:gd name="T98" fmla="*/ 40 w 165"/>
              <a:gd name="T99" fmla="*/ 40 h 197"/>
              <a:gd name="T100" fmla="*/ 44 w 165"/>
              <a:gd name="T101" fmla="*/ 44 h 197"/>
              <a:gd name="T102" fmla="*/ 47 w 165"/>
              <a:gd name="T103" fmla="*/ 37 h 197"/>
              <a:gd name="T104" fmla="*/ 59 w 165"/>
              <a:gd name="T105" fmla="*/ 31 h 197"/>
              <a:gd name="T106" fmla="*/ 59 w 165"/>
              <a:gd name="T107" fmla="*/ 31 h 197"/>
              <a:gd name="T108" fmla="*/ 56 w 165"/>
              <a:gd name="T109" fmla="*/ 25 h 197"/>
              <a:gd name="T110" fmla="*/ 47 w 165"/>
              <a:gd name="T111" fmla="*/ 15 h 197"/>
              <a:gd name="T112" fmla="*/ 50 w 165"/>
              <a:gd name="T113" fmla="*/ 6 h 197"/>
              <a:gd name="T114" fmla="*/ 47 w 165"/>
              <a:gd name="T11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5" h="197">
                <a:moveTo>
                  <a:pt x="47" y="0"/>
                </a:moveTo>
                <a:lnTo>
                  <a:pt x="50" y="0"/>
                </a:lnTo>
                <a:lnTo>
                  <a:pt x="59" y="3"/>
                </a:lnTo>
                <a:lnTo>
                  <a:pt x="59" y="3"/>
                </a:lnTo>
                <a:lnTo>
                  <a:pt x="65" y="3"/>
                </a:lnTo>
                <a:lnTo>
                  <a:pt x="69" y="6"/>
                </a:lnTo>
                <a:lnTo>
                  <a:pt x="72" y="6"/>
                </a:lnTo>
                <a:lnTo>
                  <a:pt x="69" y="12"/>
                </a:lnTo>
                <a:lnTo>
                  <a:pt x="69" y="15"/>
                </a:lnTo>
                <a:lnTo>
                  <a:pt x="69" y="15"/>
                </a:lnTo>
                <a:lnTo>
                  <a:pt x="72" y="19"/>
                </a:lnTo>
                <a:lnTo>
                  <a:pt x="72" y="22"/>
                </a:lnTo>
                <a:lnTo>
                  <a:pt x="75" y="19"/>
                </a:lnTo>
                <a:lnTo>
                  <a:pt x="78" y="15"/>
                </a:lnTo>
                <a:lnTo>
                  <a:pt x="78" y="15"/>
                </a:lnTo>
                <a:lnTo>
                  <a:pt x="81" y="19"/>
                </a:lnTo>
                <a:lnTo>
                  <a:pt x="84" y="22"/>
                </a:lnTo>
                <a:lnTo>
                  <a:pt x="87" y="19"/>
                </a:lnTo>
                <a:lnTo>
                  <a:pt x="90" y="15"/>
                </a:lnTo>
                <a:lnTo>
                  <a:pt x="90" y="19"/>
                </a:lnTo>
                <a:lnTo>
                  <a:pt x="90" y="22"/>
                </a:lnTo>
                <a:lnTo>
                  <a:pt x="87" y="25"/>
                </a:lnTo>
                <a:lnTo>
                  <a:pt x="87" y="25"/>
                </a:lnTo>
                <a:lnTo>
                  <a:pt x="84" y="25"/>
                </a:lnTo>
                <a:lnTo>
                  <a:pt x="87" y="28"/>
                </a:lnTo>
                <a:lnTo>
                  <a:pt x="90" y="28"/>
                </a:lnTo>
                <a:lnTo>
                  <a:pt x="94" y="28"/>
                </a:lnTo>
                <a:lnTo>
                  <a:pt x="94" y="28"/>
                </a:lnTo>
                <a:lnTo>
                  <a:pt x="100" y="28"/>
                </a:lnTo>
                <a:lnTo>
                  <a:pt x="100" y="25"/>
                </a:lnTo>
                <a:lnTo>
                  <a:pt x="103" y="22"/>
                </a:lnTo>
                <a:lnTo>
                  <a:pt x="109" y="22"/>
                </a:lnTo>
                <a:lnTo>
                  <a:pt x="109" y="19"/>
                </a:lnTo>
                <a:lnTo>
                  <a:pt x="112" y="19"/>
                </a:lnTo>
                <a:lnTo>
                  <a:pt x="112" y="15"/>
                </a:lnTo>
                <a:lnTo>
                  <a:pt x="115" y="15"/>
                </a:lnTo>
                <a:lnTo>
                  <a:pt x="122" y="15"/>
                </a:lnTo>
                <a:lnTo>
                  <a:pt x="115" y="15"/>
                </a:lnTo>
                <a:lnTo>
                  <a:pt x="115" y="19"/>
                </a:lnTo>
                <a:lnTo>
                  <a:pt x="115" y="19"/>
                </a:lnTo>
                <a:lnTo>
                  <a:pt x="112" y="19"/>
                </a:lnTo>
                <a:lnTo>
                  <a:pt x="112" y="22"/>
                </a:lnTo>
                <a:lnTo>
                  <a:pt x="119" y="19"/>
                </a:lnTo>
                <a:lnTo>
                  <a:pt x="122" y="19"/>
                </a:lnTo>
                <a:lnTo>
                  <a:pt x="125" y="19"/>
                </a:lnTo>
                <a:lnTo>
                  <a:pt x="125" y="19"/>
                </a:lnTo>
                <a:lnTo>
                  <a:pt x="128" y="19"/>
                </a:lnTo>
                <a:lnTo>
                  <a:pt x="134" y="25"/>
                </a:lnTo>
                <a:lnTo>
                  <a:pt x="137" y="25"/>
                </a:lnTo>
                <a:lnTo>
                  <a:pt x="140" y="28"/>
                </a:lnTo>
                <a:lnTo>
                  <a:pt x="137" y="31"/>
                </a:lnTo>
                <a:lnTo>
                  <a:pt x="144" y="34"/>
                </a:lnTo>
                <a:lnTo>
                  <a:pt x="147" y="34"/>
                </a:lnTo>
                <a:lnTo>
                  <a:pt x="147" y="34"/>
                </a:lnTo>
                <a:lnTo>
                  <a:pt x="153" y="34"/>
                </a:lnTo>
                <a:lnTo>
                  <a:pt x="153" y="44"/>
                </a:lnTo>
                <a:lnTo>
                  <a:pt x="153" y="50"/>
                </a:lnTo>
                <a:lnTo>
                  <a:pt x="147" y="53"/>
                </a:lnTo>
                <a:lnTo>
                  <a:pt x="147" y="56"/>
                </a:lnTo>
                <a:lnTo>
                  <a:pt x="153" y="62"/>
                </a:lnTo>
                <a:lnTo>
                  <a:pt x="153" y="65"/>
                </a:lnTo>
                <a:lnTo>
                  <a:pt x="156" y="72"/>
                </a:lnTo>
                <a:lnTo>
                  <a:pt x="156" y="75"/>
                </a:lnTo>
                <a:lnTo>
                  <a:pt x="156" y="78"/>
                </a:lnTo>
                <a:lnTo>
                  <a:pt x="156" y="81"/>
                </a:lnTo>
                <a:lnTo>
                  <a:pt x="159" y="87"/>
                </a:lnTo>
                <a:lnTo>
                  <a:pt x="162" y="91"/>
                </a:lnTo>
                <a:lnTo>
                  <a:pt x="165" y="94"/>
                </a:lnTo>
                <a:lnTo>
                  <a:pt x="165" y="103"/>
                </a:lnTo>
                <a:lnTo>
                  <a:pt x="162" y="106"/>
                </a:lnTo>
                <a:lnTo>
                  <a:pt x="159" y="106"/>
                </a:lnTo>
                <a:lnTo>
                  <a:pt x="156" y="106"/>
                </a:lnTo>
                <a:lnTo>
                  <a:pt x="150" y="106"/>
                </a:lnTo>
                <a:lnTo>
                  <a:pt x="150" y="109"/>
                </a:lnTo>
                <a:lnTo>
                  <a:pt x="147" y="112"/>
                </a:lnTo>
                <a:lnTo>
                  <a:pt x="147" y="109"/>
                </a:lnTo>
                <a:lnTo>
                  <a:pt x="137" y="109"/>
                </a:lnTo>
                <a:lnTo>
                  <a:pt x="137" y="112"/>
                </a:lnTo>
                <a:lnTo>
                  <a:pt x="131" y="112"/>
                </a:lnTo>
                <a:lnTo>
                  <a:pt x="128" y="119"/>
                </a:lnTo>
                <a:lnTo>
                  <a:pt x="125" y="119"/>
                </a:lnTo>
                <a:lnTo>
                  <a:pt x="119" y="125"/>
                </a:lnTo>
                <a:lnTo>
                  <a:pt x="115" y="125"/>
                </a:lnTo>
                <a:lnTo>
                  <a:pt x="112" y="122"/>
                </a:lnTo>
                <a:lnTo>
                  <a:pt x="112" y="122"/>
                </a:lnTo>
                <a:lnTo>
                  <a:pt x="112" y="125"/>
                </a:lnTo>
                <a:lnTo>
                  <a:pt x="115" y="128"/>
                </a:lnTo>
                <a:lnTo>
                  <a:pt x="122" y="134"/>
                </a:lnTo>
                <a:lnTo>
                  <a:pt x="122" y="141"/>
                </a:lnTo>
                <a:lnTo>
                  <a:pt x="122" y="144"/>
                </a:lnTo>
                <a:lnTo>
                  <a:pt x="125" y="147"/>
                </a:lnTo>
                <a:lnTo>
                  <a:pt x="131" y="150"/>
                </a:lnTo>
                <a:lnTo>
                  <a:pt x="137" y="153"/>
                </a:lnTo>
                <a:lnTo>
                  <a:pt x="144" y="162"/>
                </a:lnTo>
                <a:lnTo>
                  <a:pt x="144" y="166"/>
                </a:lnTo>
                <a:lnTo>
                  <a:pt x="144" y="169"/>
                </a:lnTo>
                <a:lnTo>
                  <a:pt x="140" y="169"/>
                </a:lnTo>
                <a:lnTo>
                  <a:pt x="137" y="172"/>
                </a:lnTo>
                <a:lnTo>
                  <a:pt x="134" y="175"/>
                </a:lnTo>
                <a:lnTo>
                  <a:pt x="128" y="181"/>
                </a:lnTo>
                <a:lnTo>
                  <a:pt x="128" y="184"/>
                </a:lnTo>
                <a:lnTo>
                  <a:pt x="134" y="187"/>
                </a:lnTo>
                <a:lnTo>
                  <a:pt x="134" y="191"/>
                </a:lnTo>
                <a:lnTo>
                  <a:pt x="131" y="191"/>
                </a:lnTo>
                <a:lnTo>
                  <a:pt x="128" y="191"/>
                </a:lnTo>
                <a:lnTo>
                  <a:pt x="122" y="191"/>
                </a:lnTo>
                <a:lnTo>
                  <a:pt x="119" y="191"/>
                </a:lnTo>
                <a:lnTo>
                  <a:pt x="115" y="191"/>
                </a:lnTo>
                <a:lnTo>
                  <a:pt x="109" y="194"/>
                </a:lnTo>
                <a:lnTo>
                  <a:pt x="106" y="194"/>
                </a:lnTo>
                <a:lnTo>
                  <a:pt x="103" y="194"/>
                </a:lnTo>
                <a:lnTo>
                  <a:pt x="100" y="194"/>
                </a:lnTo>
                <a:lnTo>
                  <a:pt x="97" y="194"/>
                </a:lnTo>
                <a:lnTo>
                  <a:pt x="90" y="191"/>
                </a:lnTo>
                <a:lnTo>
                  <a:pt x="84" y="194"/>
                </a:lnTo>
                <a:lnTo>
                  <a:pt x="87" y="197"/>
                </a:lnTo>
                <a:lnTo>
                  <a:pt x="84" y="197"/>
                </a:lnTo>
                <a:lnTo>
                  <a:pt x="81" y="197"/>
                </a:lnTo>
                <a:lnTo>
                  <a:pt x="78" y="194"/>
                </a:lnTo>
                <a:lnTo>
                  <a:pt x="75" y="194"/>
                </a:lnTo>
                <a:lnTo>
                  <a:pt x="72" y="194"/>
                </a:lnTo>
                <a:lnTo>
                  <a:pt x="72" y="194"/>
                </a:lnTo>
                <a:lnTo>
                  <a:pt x="69" y="194"/>
                </a:lnTo>
                <a:lnTo>
                  <a:pt x="62" y="191"/>
                </a:lnTo>
                <a:lnTo>
                  <a:pt x="59" y="191"/>
                </a:lnTo>
                <a:lnTo>
                  <a:pt x="59" y="191"/>
                </a:lnTo>
                <a:lnTo>
                  <a:pt x="56" y="191"/>
                </a:lnTo>
                <a:lnTo>
                  <a:pt x="56" y="187"/>
                </a:lnTo>
                <a:lnTo>
                  <a:pt x="50" y="187"/>
                </a:lnTo>
                <a:lnTo>
                  <a:pt x="50" y="191"/>
                </a:lnTo>
                <a:lnTo>
                  <a:pt x="50" y="194"/>
                </a:lnTo>
                <a:lnTo>
                  <a:pt x="44" y="191"/>
                </a:lnTo>
                <a:lnTo>
                  <a:pt x="40" y="194"/>
                </a:lnTo>
                <a:lnTo>
                  <a:pt x="37" y="194"/>
                </a:lnTo>
                <a:lnTo>
                  <a:pt x="37" y="194"/>
                </a:lnTo>
                <a:lnTo>
                  <a:pt x="37" y="187"/>
                </a:lnTo>
                <a:lnTo>
                  <a:pt x="34" y="187"/>
                </a:lnTo>
                <a:lnTo>
                  <a:pt x="34" y="181"/>
                </a:lnTo>
                <a:lnTo>
                  <a:pt x="34" y="175"/>
                </a:lnTo>
                <a:lnTo>
                  <a:pt x="37" y="172"/>
                </a:lnTo>
                <a:lnTo>
                  <a:pt x="37" y="169"/>
                </a:lnTo>
                <a:lnTo>
                  <a:pt x="40" y="162"/>
                </a:lnTo>
                <a:lnTo>
                  <a:pt x="44" y="159"/>
                </a:lnTo>
                <a:lnTo>
                  <a:pt x="40" y="156"/>
                </a:lnTo>
                <a:lnTo>
                  <a:pt x="37" y="156"/>
                </a:lnTo>
                <a:lnTo>
                  <a:pt x="31" y="153"/>
                </a:lnTo>
                <a:lnTo>
                  <a:pt x="28" y="153"/>
                </a:lnTo>
                <a:lnTo>
                  <a:pt x="25" y="153"/>
                </a:lnTo>
                <a:lnTo>
                  <a:pt x="22" y="153"/>
                </a:lnTo>
                <a:lnTo>
                  <a:pt x="19" y="156"/>
                </a:lnTo>
                <a:lnTo>
                  <a:pt x="15" y="153"/>
                </a:lnTo>
                <a:lnTo>
                  <a:pt x="15" y="150"/>
                </a:lnTo>
                <a:lnTo>
                  <a:pt x="12" y="147"/>
                </a:lnTo>
                <a:lnTo>
                  <a:pt x="12" y="147"/>
                </a:lnTo>
                <a:lnTo>
                  <a:pt x="12" y="141"/>
                </a:lnTo>
                <a:lnTo>
                  <a:pt x="9" y="137"/>
                </a:lnTo>
                <a:lnTo>
                  <a:pt x="9" y="134"/>
                </a:lnTo>
                <a:lnTo>
                  <a:pt x="6" y="128"/>
                </a:lnTo>
                <a:lnTo>
                  <a:pt x="3" y="128"/>
                </a:lnTo>
                <a:lnTo>
                  <a:pt x="6" y="122"/>
                </a:lnTo>
                <a:lnTo>
                  <a:pt x="3" y="119"/>
                </a:lnTo>
                <a:lnTo>
                  <a:pt x="3" y="116"/>
                </a:lnTo>
                <a:lnTo>
                  <a:pt x="0" y="112"/>
                </a:lnTo>
                <a:lnTo>
                  <a:pt x="3" y="109"/>
                </a:lnTo>
                <a:lnTo>
                  <a:pt x="0" y="109"/>
                </a:lnTo>
                <a:lnTo>
                  <a:pt x="3" y="103"/>
                </a:lnTo>
                <a:lnTo>
                  <a:pt x="3" y="97"/>
                </a:lnTo>
                <a:lnTo>
                  <a:pt x="3" y="91"/>
                </a:lnTo>
                <a:lnTo>
                  <a:pt x="6" y="87"/>
                </a:lnTo>
                <a:lnTo>
                  <a:pt x="9" y="84"/>
                </a:lnTo>
                <a:lnTo>
                  <a:pt x="12" y="84"/>
                </a:lnTo>
                <a:lnTo>
                  <a:pt x="19" y="84"/>
                </a:lnTo>
                <a:lnTo>
                  <a:pt x="22" y="81"/>
                </a:lnTo>
                <a:lnTo>
                  <a:pt x="19" y="78"/>
                </a:lnTo>
                <a:lnTo>
                  <a:pt x="22" y="78"/>
                </a:lnTo>
                <a:lnTo>
                  <a:pt x="22" y="72"/>
                </a:lnTo>
                <a:lnTo>
                  <a:pt x="22" y="72"/>
                </a:lnTo>
                <a:lnTo>
                  <a:pt x="22" y="69"/>
                </a:lnTo>
                <a:lnTo>
                  <a:pt x="15" y="69"/>
                </a:lnTo>
                <a:lnTo>
                  <a:pt x="15" y="65"/>
                </a:lnTo>
                <a:lnTo>
                  <a:pt x="19" y="62"/>
                </a:lnTo>
                <a:lnTo>
                  <a:pt x="22" y="65"/>
                </a:lnTo>
                <a:lnTo>
                  <a:pt x="25" y="62"/>
                </a:lnTo>
                <a:lnTo>
                  <a:pt x="25" y="59"/>
                </a:lnTo>
                <a:lnTo>
                  <a:pt x="25" y="56"/>
                </a:lnTo>
                <a:lnTo>
                  <a:pt x="25" y="53"/>
                </a:lnTo>
                <a:lnTo>
                  <a:pt x="28" y="50"/>
                </a:lnTo>
                <a:lnTo>
                  <a:pt x="28" y="50"/>
                </a:lnTo>
                <a:lnTo>
                  <a:pt x="28" y="50"/>
                </a:lnTo>
                <a:lnTo>
                  <a:pt x="28" y="47"/>
                </a:lnTo>
                <a:lnTo>
                  <a:pt x="22" y="47"/>
                </a:lnTo>
                <a:lnTo>
                  <a:pt x="22" y="44"/>
                </a:lnTo>
                <a:lnTo>
                  <a:pt x="22" y="37"/>
                </a:lnTo>
                <a:lnTo>
                  <a:pt x="31" y="37"/>
                </a:lnTo>
                <a:lnTo>
                  <a:pt x="31" y="34"/>
                </a:lnTo>
                <a:lnTo>
                  <a:pt x="37" y="37"/>
                </a:lnTo>
                <a:lnTo>
                  <a:pt x="37" y="44"/>
                </a:lnTo>
                <a:lnTo>
                  <a:pt x="40" y="47"/>
                </a:lnTo>
                <a:lnTo>
                  <a:pt x="44" y="44"/>
                </a:lnTo>
                <a:lnTo>
                  <a:pt x="40" y="40"/>
                </a:lnTo>
                <a:lnTo>
                  <a:pt x="40" y="37"/>
                </a:lnTo>
                <a:lnTo>
                  <a:pt x="44" y="37"/>
                </a:lnTo>
                <a:lnTo>
                  <a:pt x="44" y="40"/>
                </a:lnTo>
                <a:lnTo>
                  <a:pt x="44" y="44"/>
                </a:lnTo>
                <a:lnTo>
                  <a:pt x="50" y="50"/>
                </a:lnTo>
                <a:lnTo>
                  <a:pt x="47" y="47"/>
                </a:lnTo>
                <a:lnTo>
                  <a:pt x="47" y="40"/>
                </a:lnTo>
                <a:lnTo>
                  <a:pt x="47" y="37"/>
                </a:lnTo>
                <a:lnTo>
                  <a:pt x="50" y="34"/>
                </a:lnTo>
                <a:lnTo>
                  <a:pt x="53" y="31"/>
                </a:lnTo>
                <a:lnTo>
                  <a:pt x="56" y="34"/>
                </a:lnTo>
                <a:lnTo>
                  <a:pt x="59" y="31"/>
                </a:lnTo>
                <a:lnTo>
                  <a:pt x="65" y="40"/>
                </a:lnTo>
                <a:lnTo>
                  <a:pt x="75" y="40"/>
                </a:lnTo>
                <a:lnTo>
                  <a:pt x="65" y="37"/>
                </a:lnTo>
                <a:lnTo>
                  <a:pt x="59" y="31"/>
                </a:lnTo>
                <a:lnTo>
                  <a:pt x="56" y="31"/>
                </a:lnTo>
                <a:lnTo>
                  <a:pt x="53" y="28"/>
                </a:lnTo>
                <a:lnTo>
                  <a:pt x="53" y="25"/>
                </a:lnTo>
                <a:lnTo>
                  <a:pt x="56" y="25"/>
                </a:lnTo>
                <a:lnTo>
                  <a:pt x="53" y="22"/>
                </a:lnTo>
                <a:lnTo>
                  <a:pt x="53" y="19"/>
                </a:lnTo>
                <a:lnTo>
                  <a:pt x="47" y="19"/>
                </a:lnTo>
                <a:lnTo>
                  <a:pt x="47" y="15"/>
                </a:lnTo>
                <a:lnTo>
                  <a:pt x="50" y="15"/>
                </a:lnTo>
                <a:lnTo>
                  <a:pt x="56" y="12"/>
                </a:lnTo>
                <a:lnTo>
                  <a:pt x="50" y="9"/>
                </a:lnTo>
                <a:lnTo>
                  <a:pt x="50" y="6"/>
                </a:lnTo>
                <a:lnTo>
                  <a:pt x="50" y="6"/>
                </a:lnTo>
                <a:lnTo>
                  <a:pt x="47" y="6"/>
                </a:lnTo>
                <a:lnTo>
                  <a:pt x="47" y="3"/>
                </a:lnTo>
                <a:lnTo>
                  <a:pt x="47" y="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69" name="Freeform 67">
            <a:extLst>
              <a:ext uri="{FF2B5EF4-FFF2-40B4-BE49-F238E27FC236}">
                <a16:creationId xmlns:a16="http://schemas.microsoft.com/office/drawing/2014/main" id="{E4FBC5A0-5349-97B7-A00A-2FDB0A2347A5}"/>
              </a:ext>
            </a:extLst>
          </p:cNvPr>
          <p:cNvSpPr>
            <a:spLocks/>
          </p:cNvSpPr>
          <p:nvPr userDrawn="1"/>
        </p:nvSpPr>
        <p:spPr bwMode="auto">
          <a:xfrm>
            <a:off x="13696058" y="6168309"/>
            <a:ext cx="9525" cy="19050"/>
          </a:xfrm>
          <a:custGeom>
            <a:avLst/>
            <a:gdLst>
              <a:gd name="T0" fmla="*/ 0 w 3"/>
              <a:gd name="T1" fmla="*/ 0 h 6"/>
              <a:gd name="T2" fmla="*/ 3 w 3"/>
              <a:gd name="T3" fmla="*/ 0 h 6"/>
              <a:gd name="T4" fmla="*/ 3 w 3"/>
              <a:gd name="T5" fmla="*/ 6 h 6"/>
              <a:gd name="T6" fmla="*/ 0 w 3"/>
              <a:gd name="T7" fmla="*/ 6 h 6"/>
              <a:gd name="T8" fmla="*/ 0 w 3"/>
              <a:gd name="T9" fmla="*/ 3 h 6"/>
              <a:gd name="T10" fmla="*/ 0 w 3"/>
              <a:gd name="T11" fmla="*/ 0 h 6"/>
              <a:gd name="T12" fmla="*/ 0 w 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 h="6">
                <a:moveTo>
                  <a:pt x="0" y="0"/>
                </a:moveTo>
                <a:lnTo>
                  <a:pt x="3" y="0"/>
                </a:lnTo>
                <a:lnTo>
                  <a:pt x="3" y="6"/>
                </a:lnTo>
                <a:lnTo>
                  <a:pt x="0" y="6"/>
                </a:lnTo>
                <a:lnTo>
                  <a:pt x="0" y="3"/>
                </a:lnTo>
                <a:lnTo>
                  <a:pt x="0" y="0"/>
                </a:lnTo>
                <a:lnTo>
                  <a:pt x="0" y="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0" name="Freeform 68">
            <a:extLst>
              <a:ext uri="{FF2B5EF4-FFF2-40B4-BE49-F238E27FC236}">
                <a16:creationId xmlns:a16="http://schemas.microsoft.com/office/drawing/2014/main" id="{7DDF81D5-4C50-6EC4-D10E-3377107E7EF7}"/>
              </a:ext>
            </a:extLst>
          </p:cNvPr>
          <p:cNvSpPr>
            <a:spLocks/>
          </p:cNvSpPr>
          <p:nvPr userDrawn="1"/>
        </p:nvSpPr>
        <p:spPr bwMode="auto">
          <a:xfrm>
            <a:off x="13477000" y="6127035"/>
            <a:ext cx="288907" cy="161926"/>
          </a:xfrm>
          <a:custGeom>
            <a:avLst/>
            <a:gdLst>
              <a:gd name="T0" fmla="*/ 37 w 91"/>
              <a:gd name="T1" fmla="*/ 7 h 51"/>
              <a:gd name="T2" fmla="*/ 47 w 91"/>
              <a:gd name="T3" fmla="*/ 7 h 51"/>
              <a:gd name="T4" fmla="*/ 47 w 91"/>
              <a:gd name="T5" fmla="*/ 0 h 51"/>
              <a:gd name="T6" fmla="*/ 53 w 91"/>
              <a:gd name="T7" fmla="*/ 4 h 51"/>
              <a:gd name="T8" fmla="*/ 56 w 91"/>
              <a:gd name="T9" fmla="*/ 4 h 51"/>
              <a:gd name="T10" fmla="*/ 66 w 91"/>
              <a:gd name="T11" fmla="*/ 7 h 51"/>
              <a:gd name="T12" fmla="*/ 69 w 91"/>
              <a:gd name="T13" fmla="*/ 13 h 51"/>
              <a:gd name="T14" fmla="*/ 69 w 91"/>
              <a:gd name="T15" fmla="*/ 19 h 51"/>
              <a:gd name="T16" fmla="*/ 78 w 91"/>
              <a:gd name="T17" fmla="*/ 16 h 51"/>
              <a:gd name="T18" fmla="*/ 84 w 91"/>
              <a:gd name="T19" fmla="*/ 19 h 51"/>
              <a:gd name="T20" fmla="*/ 91 w 91"/>
              <a:gd name="T21" fmla="*/ 22 h 51"/>
              <a:gd name="T22" fmla="*/ 87 w 91"/>
              <a:gd name="T23" fmla="*/ 32 h 51"/>
              <a:gd name="T24" fmla="*/ 78 w 91"/>
              <a:gd name="T25" fmla="*/ 41 h 51"/>
              <a:gd name="T26" fmla="*/ 72 w 91"/>
              <a:gd name="T27" fmla="*/ 38 h 51"/>
              <a:gd name="T28" fmla="*/ 62 w 91"/>
              <a:gd name="T29" fmla="*/ 41 h 51"/>
              <a:gd name="T30" fmla="*/ 59 w 91"/>
              <a:gd name="T31" fmla="*/ 44 h 51"/>
              <a:gd name="T32" fmla="*/ 53 w 91"/>
              <a:gd name="T33" fmla="*/ 38 h 51"/>
              <a:gd name="T34" fmla="*/ 41 w 91"/>
              <a:gd name="T35" fmla="*/ 47 h 51"/>
              <a:gd name="T36" fmla="*/ 28 w 91"/>
              <a:gd name="T37" fmla="*/ 51 h 51"/>
              <a:gd name="T38" fmla="*/ 22 w 91"/>
              <a:gd name="T39" fmla="*/ 44 h 51"/>
              <a:gd name="T40" fmla="*/ 19 w 91"/>
              <a:gd name="T41" fmla="*/ 38 h 51"/>
              <a:gd name="T42" fmla="*/ 12 w 91"/>
              <a:gd name="T43" fmla="*/ 35 h 51"/>
              <a:gd name="T44" fmla="*/ 9 w 91"/>
              <a:gd name="T45" fmla="*/ 41 h 51"/>
              <a:gd name="T46" fmla="*/ 3 w 91"/>
              <a:gd name="T47" fmla="*/ 44 h 51"/>
              <a:gd name="T48" fmla="*/ 3 w 91"/>
              <a:gd name="T49" fmla="*/ 38 h 51"/>
              <a:gd name="T50" fmla="*/ 6 w 91"/>
              <a:gd name="T51" fmla="*/ 35 h 51"/>
              <a:gd name="T52" fmla="*/ 12 w 91"/>
              <a:gd name="T53" fmla="*/ 22 h 51"/>
              <a:gd name="T54" fmla="*/ 19 w 91"/>
              <a:gd name="T55" fmla="*/ 16 h 51"/>
              <a:gd name="T56" fmla="*/ 22 w 91"/>
              <a:gd name="T57" fmla="*/ 10 h 51"/>
              <a:gd name="T58" fmla="*/ 19 w 91"/>
              <a:gd name="T59" fmla="*/ 4 h 51"/>
              <a:gd name="T60" fmla="*/ 25 w 91"/>
              <a:gd name="T61" fmla="*/ 7 h 51"/>
              <a:gd name="T62" fmla="*/ 34 w 91"/>
              <a:gd name="T63" fmla="*/ 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51">
                <a:moveTo>
                  <a:pt x="34" y="7"/>
                </a:moveTo>
                <a:lnTo>
                  <a:pt x="37" y="7"/>
                </a:lnTo>
                <a:lnTo>
                  <a:pt x="41" y="4"/>
                </a:lnTo>
                <a:lnTo>
                  <a:pt x="47" y="7"/>
                </a:lnTo>
                <a:lnTo>
                  <a:pt x="47" y="4"/>
                </a:lnTo>
                <a:lnTo>
                  <a:pt x="47" y="0"/>
                </a:lnTo>
                <a:lnTo>
                  <a:pt x="53" y="0"/>
                </a:lnTo>
                <a:lnTo>
                  <a:pt x="53" y="4"/>
                </a:lnTo>
                <a:lnTo>
                  <a:pt x="56" y="4"/>
                </a:lnTo>
                <a:lnTo>
                  <a:pt x="56" y="4"/>
                </a:lnTo>
                <a:lnTo>
                  <a:pt x="59" y="4"/>
                </a:lnTo>
                <a:lnTo>
                  <a:pt x="66" y="7"/>
                </a:lnTo>
                <a:lnTo>
                  <a:pt x="69" y="10"/>
                </a:lnTo>
                <a:lnTo>
                  <a:pt x="69" y="13"/>
                </a:lnTo>
                <a:lnTo>
                  <a:pt x="69" y="16"/>
                </a:lnTo>
                <a:lnTo>
                  <a:pt x="69" y="19"/>
                </a:lnTo>
                <a:lnTo>
                  <a:pt x="75" y="19"/>
                </a:lnTo>
                <a:lnTo>
                  <a:pt x="78" y="16"/>
                </a:lnTo>
                <a:lnTo>
                  <a:pt x="81" y="22"/>
                </a:lnTo>
                <a:lnTo>
                  <a:pt x="84" y="19"/>
                </a:lnTo>
                <a:lnTo>
                  <a:pt x="87" y="19"/>
                </a:lnTo>
                <a:lnTo>
                  <a:pt x="91" y="22"/>
                </a:lnTo>
                <a:lnTo>
                  <a:pt x="84" y="26"/>
                </a:lnTo>
                <a:lnTo>
                  <a:pt x="87" y="32"/>
                </a:lnTo>
                <a:lnTo>
                  <a:pt x="81" y="35"/>
                </a:lnTo>
                <a:lnTo>
                  <a:pt x="78" y="41"/>
                </a:lnTo>
                <a:lnTo>
                  <a:pt x="75" y="38"/>
                </a:lnTo>
                <a:lnTo>
                  <a:pt x="72" y="38"/>
                </a:lnTo>
                <a:lnTo>
                  <a:pt x="62" y="35"/>
                </a:lnTo>
                <a:lnTo>
                  <a:pt x="62" y="41"/>
                </a:lnTo>
                <a:lnTo>
                  <a:pt x="59" y="47"/>
                </a:lnTo>
                <a:lnTo>
                  <a:pt x="59" y="44"/>
                </a:lnTo>
                <a:lnTo>
                  <a:pt x="53" y="41"/>
                </a:lnTo>
                <a:lnTo>
                  <a:pt x="53" y="38"/>
                </a:lnTo>
                <a:lnTo>
                  <a:pt x="47" y="35"/>
                </a:lnTo>
                <a:lnTo>
                  <a:pt x="41" y="47"/>
                </a:lnTo>
                <a:lnTo>
                  <a:pt x="34" y="44"/>
                </a:lnTo>
                <a:lnTo>
                  <a:pt x="28" y="51"/>
                </a:lnTo>
                <a:lnTo>
                  <a:pt x="25" y="47"/>
                </a:lnTo>
                <a:lnTo>
                  <a:pt x="22" y="44"/>
                </a:lnTo>
                <a:lnTo>
                  <a:pt x="22" y="44"/>
                </a:lnTo>
                <a:lnTo>
                  <a:pt x="19" y="38"/>
                </a:lnTo>
                <a:lnTo>
                  <a:pt x="19" y="35"/>
                </a:lnTo>
                <a:lnTo>
                  <a:pt x="12" y="35"/>
                </a:lnTo>
                <a:lnTo>
                  <a:pt x="9" y="38"/>
                </a:lnTo>
                <a:lnTo>
                  <a:pt x="9" y="41"/>
                </a:lnTo>
                <a:lnTo>
                  <a:pt x="6" y="44"/>
                </a:lnTo>
                <a:lnTo>
                  <a:pt x="3" y="44"/>
                </a:lnTo>
                <a:lnTo>
                  <a:pt x="0" y="41"/>
                </a:lnTo>
                <a:lnTo>
                  <a:pt x="3" y="38"/>
                </a:lnTo>
                <a:lnTo>
                  <a:pt x="6" y="38"/>
                </a:lnTo>
                <a:lnTo>
                  <a:pt x="6" y="35"/>
                </a:lnTo>
                <a:lnTo>
                  <a:pt x="6" y="29"/>
                </a:lnTo>
                <a:lnTo>
                  <a:pt x="12" y="22"/>
                </a:lnTo>
                <a:lnTo>
                  <a:pt x="16" y="19"/>
                </a:lnTo>
                <a:lnTo>
                  <a:pt x="19" y="16"/>
                </a:lnTo>
                <a:lnTo>
                  <a:pt x="22" y="13"/>
                </a:lnTo>
                <a:lnTo>
                  <a:pt x="22" y="10"/>
                </a:lnTo>
                <a:lnTo>
                  <a:pt x="19" y="7"/>
                </a:lnTo>
                <a:lnTo>
                  <a:pt x="19" y="4"/>
                </a:lnTo>
                <a:lnTo>
                  <a:pt x="25" y="4"/>
                </a:lnTo>
                <a:lnTo>
                  <a:pt x="25" y="7"/>
                </a:lnTo>
                <a:lnTo>
                  <a:pt x="28" y="7"/>
                </a:lnTo>
                <a:lnTo>
                  <a:pt x="34" y="7"/>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1" name="Freeform 69">
            <a:extLst>
              <a:ext uri="{FF2B5EF4-FFF2-40B4-BE49-F238E27FC236}">
                <a16:creationId xmlns:a16="http://schemas.microsoft.com/office/drawing/2014/main" id="{B36EF9A7-06E3-9340-8321-C72B67438A75}"/>
              </a:ext>
            </a:extLst>
          </p:cNvPr>
          <p:cNvSpPr>
            <a:spLocks noEditPoints="1"/>
          </p:cNvSpPr>
          <p:nvPr userDrawn="1"/>
        </p:nvSpPr>
        <p:spPr bwMode="auto">
          <a:xfrm>
            <a:off x="13327779" y="5673008"/>
            <a:ext cx="228585" cy="206376"/>
          </a:xfrm>
          <a:custGeom>
            <a:avLst/>
            <a:gdLst>
              <a:gd name="T0" fmla="*/ 47 w 72"/>
              <a:gd name="T1" fmla="*/ 59 h 65"/>
              <a:gd name="T2" fmla="*/ 47 w 72"/>
              <a:gd name="T3" fmla="*/ 47 h 65"/>
              <a:gd name="T4" fmla="*/ 53 w 72"/>
              <a:gd name="T5" fmla="*/ 40 h 65"/>
              <a:gd name="T6" fmla="*/ 63 w 72"/>
              <a:gd name="T7" fmla="*/ 40 h 65"/>
              <a:gd name="T8" fmla="*/ 63 w 72"/>
              <a:gd name="T9" fmla="*/ 34 h 65"/>
              <a:gd name="T10" fmla="*/ 66 w 72"/>
              <a:gd name="T11" fmla="*/ 28 h 65"/>
              <a:gd name="T12" fmla="*/ 66 w 72"/>
              <a:gd name="T13" fmla="*/ 25 h 65"/>
              <a:gd name="T14" fmla="*/ 59 w 72"/>
              <a:gd name="T15" fmla="*/ 21 h 65"/>
              <a:gd name="T16" fmla="*/ 66 w 72"/>
              <a:gd name="T17" fmla="*/ 21 h 65"/>
              <a:gd name="T18" fmla="*/ 69 w 72"/>
              <a:gd name="T19" fmla="*/ 15 h 65"/>
              <a:gd name="T20" fmla="*/ 69 w 72"/>
              <a:gd name="T21" fmla="*/ 9 h 65"/>
              <a:gd name="T22" fmla="*/ 72 w 72"/>
              <a:gd name="T23" fmla="*/ 6 h 65"/>
              <a:gd name="T24" fmla="*/ 66 w 72"/>
              <a:gd name="T25" fmla="*/ 3 h 65"/>
              <a:gd name="T26" fmla="*/ 53 w 72"/>
              <a:gd name="T27" fmla="*/ 0 h 65"/>
              <a:gd name="T28" fmla="*/ 47 w 72"/>
              <a:gd name="T29" fmla="*/ 3 h 65"/>
              <a:gd name="T30" fmla="*/ 41 w 72"/>
              <a:gd name="T31" fmla="*/ 3 h 65"/>
              <a:gd name="T32" fmla="*/ 28 w 72"/>
              <a:gd name="T33" fmla="*/ 12 h 65"/>
              <a:gd name="T34" fmla="*/ 22 w 72"/>
              <a:gd name="T35" fmla="*/ 12 h 65"/>
              <a:gd name="T36" fmla="*/ 19 w 72"/>
              <a:gd name="T37" fmla="*/ 21 h 65"/>
              <a:gd name="T38" fmla="*/ 19 w 72"/>
              <a:gd name="T39" fmla="*/ 31 h 65"/>
              <a:gd name="T40" fmla="*/ 16 w 72"/>
              <a:gd name="T41" fmla="*/ 34 h 65"/>
              <a:gd name="T42" fmla="*/ 12 w 72"/>
              <a:gd name="T43" fmla="*/ 40 h 65"/>
              <a:gd name="T44" fmla="*/ 22 w 72"/>
              <a:gd name="T45" fmla="*/ 47 h 65"/>
              <a:gd name="T46" fmla="*/ 16 w 72"/>
              <a:gd name="T47" fmla="*/ 47 h 65"/>
              <a:gd name="T48" fmla="*/ 16 w 72"/>
              <a:gd name="T49" fmla="*/ 50 h 65"/>
              <a:gd name="T50" fmla="*/ 19 w 72"/>
              <a:gd name="T51" fmla="*/ 53 h 65"/>
              <a:gd name="T52" fmla="*/ 9 w 72"/>
              <a:gd name="T53" fmla="*/ 50 h 65"/>
              <a:gd name="T54" fmla="*/ 3 w 72"/>
              <a:gd name="T55" fmla="*/ 50 h 65"/>
              <a:gd name="T56" fmla="*/ 9 w 72"/>
              <a:gd name="T57" fmla="*/ 53 h 65"/>
              <a:gd name="T58" fmla="*/ 12 w 72"/>
              <a:gd name="T59" fmla="*/ 53 h 65"/>
              <a:gd name="T60" fmla="*/ 12 w 72"/>
              <a:gd name="T61" fmla="*/ 56 h 65"/>
              <a:gd name="T62" fmla="*/ 6 w 72"/>
              <a:gd name="T63" fmla="*/ 53 h 65"/>
              <a:gd name="T64" fmla="*/ 0 w 72"/>
              <a:gd name="T65" fmla="*/ 53 h 65"/>
              <a:gd name="T66" fmla="*/ 6 w 72"/>
              <a:gd name="T67" fmla="*/ 59 h 65"/>
              <a:gd name="T68" fmla="*/ 9 w 72"/>
              <a:gd name="T69" fmla="*/ 59 h 65"/>
              <a:gd name="T70" fmla="*/ 16 w 72"/>
              <a:gd name="T71" fmla="*/ 56 h 65"/>
              <a:gd name="T72" fmla="*/ 19 w 72"/>
              <a:gd name="T73" fmla="*/ 56 h 65"/>
              <a:gd name="T74" fmla="*/ 28 w 72"/>
              <a:gd name="T75" fmla="*/ 53 h 65"/>
              <a:gd name="T76" fmla="*/ 34 w 72"/>
              <a:gd name="T77" fmla="*/ 56 h 65"/>
              <a:gd name="T78" fmla="*/ 41 w 72"/>
              <a:gd name="T79" fmla="*/ 56 h 65"/>
              <a:gd name="T80" fmla="*/ 41 w 72"/>
              <a:gd name="T81" fmla="*/ 62 h 65"/>
              <a:gd name="T82" fmla="*/ 44 w 72"/>
              <a:gd name="T83" fmla="*/ 65 h 65"/>
              <a:gd name="T84" fmla="*/ 12 w 72"/>
              <a:gd name="T85" fmla="*/ 47 h 65"/>
              <a:gd name="T86" fmla="*/ 9 w 72"/>
              <a:gd name="T87" fmla="*/ 50 h 65"/>
              <a:gd name="T88" fmla="*/ 6 w 72"/>
              <a:gd name="T89" fmla="*/ 47 h 65"/>
              <a:gd name="T90" fmla="*/ 9 w 72"/>
              <a:gd name="T91" fmla="*/ 43 h 65"/>
              <a:gd name="T92" fmla="*/ 16 w 72"/>
              <a:gd name="T93" fmla="*/ 43 h 65"/>
              <a:gd name="T94" fmla="*/ 12 w 72"/>
              <a:gd name="T95" fmla="*/ 47 h 65"/>
              <a:gd name="T96" fmla="*/ 9 w 72"/>
              <a:gd name="T97" fmla="*/ 4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 h="65">
                <a:moveTo>
                  <a:pt x="44" y="65"/>
                </a:moveTo>
                <a:lnTo>
                  <a:pt x="47" y="59"/>
                </a:lnTo>
                <a:lnTo>
                  <a:pt x="47" y="53"/>
                </a:lnTo>
                <a:lnTo>
                  <a:pt x="47" y="47"/>
                </a:lnTo>
                <a:lnTo>
                  <a:pt x="50" y="43"/>
                </a:lnTo>
                <a:lnTo>
                  <a:pt x="53" y="40"/>
                </a:lnTo>
                <a:lnTo>
                  <a:pt x="56" y="40"/>
                </a:lnTo>
                <a:lnTo>
                  <a:pt x="63" y="40"/>
                </a:lnTo>
                <a:lnTo>
                  <a:pt x="66" y="37"/>
                </a:lnTo>
                <a:lnTo>
                  <a:pt x="63" y="34"/>
                </a:lnTo>
                <a:lnTo>
                  <a:pt x="66" y="34"/>
                </a:lnTo>
                <a:lnTo>
                  <a:pt x="66" y="28"/>
                </a:lnTo>
                <a:lnTo>
                  <a:pt x="66" y="28"/>
                </a:lnTo>
                <a:lnTo>
                  <a:pt x="66" y="25"/>
                </a:lnTo>
                <a:lnTo>
                  <a:pt x="59" y="25"/>
                </a:lnTo>
                <a:lnTo>
                  <a:pt x="59" y="21"/>
                </a:lnTo>
                <a:lnTo>
                  <a:pt x="63" y="18"/>
                </a:lnTo>
                <a:lnTo>
                  <a:pt x="66" y="21"/>
                </a:lnTo>
                <a:lnTo>
                  <a:pt x="69" y="18"/>
                </a:lnTo>
                <a:lnTo>
                  <a:pt x="69" y="15"/>
                </a:lnTo>
                <a:lnTo>
                  <a:pt x="69" y="12"/>
                </a:lnTo>
                <a:lnTo>
                  <a:pt x="69" y="9"/>
                </a:lnTo>
                <a:lnTo>
                  <a:pt x="72" y="6"/>
                </a:lnTo>
                <a:lnTo>
                  <a:pt x="72" y="6"/>
                </a:lnTo>
                <a:lnTo>
                  <a:pt x="69" y="6"/>
                </a:lnTo>
                <a:lnTo>
                  <a:pt x="66" y="3"/>
                </a:lnTo>
                <a:lnTo>
                  <a:pt x="59" y="0"/>
                </a:lnTo>
                <a:lnTo>
                  <a:pt x="53" y="0"/>
                </a:lnTo>
                <a:lnTo>
                  <a:pt x="50" y="3"/>
                </a:lnTo>
                <a:lnTo>
                  <a:pt x="47" y="3"/>
                </a:lnTo>
                <a:lnTo>
                  <a:pt x="44" y="3"/>
                </a:lnTo>
                <a:lnTo>
                  <a:pt x="41" y="3"/>
                </a:lnTo>
                <a:lnTo>
                  <a:pt x="34" y="9"/>
                </a:lnTo>
                <a:lnTo>
                  <a:pt x="28" y="12"/>
                </a:lnTo>
                <a:lnTo>
                  <a:pt x="25" y="12"/>
                </a:lnTo>
                <a:lnTo>
                  <a:pt x="22" y="12"/>
                </a:lnTo>
                <a:lnTo>
                  <a:pt x="22" y="18"/>
                </a:lnTo>
                <a:lnTo>
                  <a:pt x="19" y="21"/>
                </a:lnTo>
                <a:lnTo>
                  <a:pt x="19" y="25"/>
                </a:lnTo>
                <a:lnTo>
                  <a:pt x="19" y="31"/>
                </a:lnTo>
                <a:lnTo>
                  <a:pt x="16" y="34"/>
                </a:lnTo>
                <a:lnTo>
                  <a:pt x="16" y="34"/>
                </a:lnTo>
                <a:lnTo>
                  <a:pt x="12" y="37"/>
                </a:lnTo>
                <a:lnTo>
                  <a:pt x="12" y="40"/>
                </a:lnTo>
                <a:lnTo>
                  <a:pt x="19" y="43"/>
                </a:lnTo>
                <a:lnTo>
                  <a:pt x="22" y="47"/>
                </a:lnTo>
                <a:lnTo>
                  <a:pt x="16" y="47"/>
                </a:lnTo>
                <a:lnTo>
                  <a:pt x="16" y="47"/>
                </a:lnTo>
                <a:lnTo>
                  <a:pt x="12" y="50"/>
                </a:lnTo>
                <a:lnTo>
                  <a:pt x="16" y="50"/>
                </a:lnTo>
                <a:lnTo>
                  <a:pt x="19" y="53"/>
                </a:lnTo>
                <a:lnTo>
                  <a:pt x="19" y="53"/>
                </a:lnTo>
                <a:lnTo>
                  <a:pt x="12" y="53"/>
                </a:lnTo>
                <a:lnTo>
                  <a:pt x="9" y="50"/>
                </a:lnTo>
                <a:lnTo>
                  <a:pt x="6" y="50"/>
                </a:lnTo>
                <a:lnTo>
                  <a:pt x="3" y="50"/>
                </a:lnTo>
                <a:lnTo>
                  <a:pt x="6" y="53"/>
                </a:lnTo>
                <a:lnTo>
                  <a:pt x="9" y="53"/>
                </a:lnTo>
                <a:lnTo>
                  <a:pt x="12" y="56"/>
                </a:lnTo>
                <a:lnTo>
                  <a:pt x="12" y="53"/>
                </a:lnTo>
                <a:lnTo>
                  <a:pt x="16" y="56"/>
                </a:lnTo>
                <a:lnTo>
                  <a:pt x="12" y="56"/>
                </a:lnTo>
                <a:lnTo>
                  <a:pt x="9" y="56"/>
                </a:lnTo>
                <a:lnTo>
                  <a:pt x="6" y="53"/>
                </a:lnTo>
                <a:lnTo>
                  <a:pt x="0" y="53"/>
                </a:lnTo>
                <a:lnTo>
                  <a:pt x="0" y="53"/>
                </a:lnTo>
                <a:lnTo>
                  <a:pt x="3" y="56"/>
                </a:lnTo>
                <a:lnTo>
                  <a:pt x="6" y="59"/>
                </a:lnTo>
                <a:lnTo>
                  <a:pt x="9" y="59"/>
                </a:lnTo>
                <a:lnTo>
                  <a:pt x="9" y="59"/>
                </a:lnTo>
                <a:lnTo>
                  <a:pt x="12" y="59"/>
                </a:lnTo>
                <a:lnTo>
                  <a:pt x="16" y="56"/>
                </a:lnTo>
                <a:lnTo>
                  <a:pt x="16" y="56"/>
                </a:lnTo>
                <a:lnTo>
                  <a:pt x="19" y="56"/>
                </a:lnTo>
                <a:lnTo>
                  <a:pt x="22" y="53"/>
                </a:lnTo>
                <a:lnTo>
                  <a:pt x="28" y="53"/>
                </a:lnTo>
                <a:lnTo>
                  <a:pt x="31" y="56"/>
                </a:lnTo>
                <a:lnTo>
                  <a:pt x="34" y="56"/>
                </a:lnTo>
                <a:lnTo>
                  <a:pt x="34" y="59"/>
                </a:lnTo>
                <a:lnTo>
                  <a:pt x="41" y="56"/>
                </a:lnTo>
                <a:lnTo>
                  <a:pt x="41" y="59"/>
                </a:lnTo>
                <a:lnTo>
                  <a:pt x="41" y="62"/>
                </a:lnTo>
                <a:lnTo>
                  <a:pt x="44" y="65"/>
                </a:lnTo>
                <a:lnTo>
                  <a:pt x="44" y="65"/>
                </a:lnTo>
                <a:close/>
                <a:moveTo>
                  <a:pt x="6" y="47"/>
                </a:moveTo>
                <a:lnTo>
                  <a:pt x="12" y="47"/>
                </a:lnTo>
                <a:lnTo>
                  <a:pt x="12" y="47"/>
                </a:lnTo>
                <a:lnTo>
                  <a:pt x="9" y="50"/>
                </a:lnTo>
                <a:lnTo>
                  <a:pt x="9" y="47"/>
                </a:lnTo>
                <a:lnTo>
                  <a:pt x="6" y="47"/>
                </a:lnTo>
                <a:lnTo>
                  <a:pt x="6" y="47"/>
                </a:lnTo>
                <a:close/>
                <a:moveTo>
                  <a:pt x="9" y="43"/>
                </a:moveTo>
                <a:lnTo>
                  <a:pt x="12" y="43"/>
                </a:lnTo>
                <a:lnTo>
                  <a:pt x="16" y="43"/>
                </a:lnTo>
                <a:lnTo>
                  <a:pt x="16" y="47"/>
                </a:lnTo>
                <a:lnTo>
                  <a:pt x="12" y="47"/>
                </a:lnTo>
                <a:lnTo>
                  <a:pt x="12" y="43"/>
                </a:lnTo>
                <a:lnTo>
                  <a:pt x="9" y="43"/>
                </a:lnTo>
                <a:lnTo>
                  <a:pt x="9" y="43"/>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2" name="Freeform 70">
            <a:extLst>
              <a:ext uri="{FF2B5EF4-FFF2-40B4-BE49-F238E27FC236}">
                <a16:creationId xmlns:a16="http://schemas.microsoft.com/office/drawing/2014/main" id="{DAC5685F-802A-EC37-2518-BD6487F9D724}"/>
              </a:ext>
            </a:extLst>
          </p:cNvPr>
          <p:cNvSpPr>
            <a:spLocks/>
          </p:cNvSpPr>
          <p:nvPr userDrawn="1"/>
        </p:nvSpPr>
        <p:spPr bwMode="auto">
          <a:xfrm>
            <a:off x="13308732" y="5841285"/>
            <a:ext cx="177788" cy="149226"/>
          </a:xfrm>
          <a:custGeom>
            <a:avLst/>
            <a:gdLst>
              <a:gd name="T0" fmla="*/ 53 w 56"/>
              <a:gd name="T1" fmla="*/ 31 h 47"/>
              <a:gd name="T2" fmla="*/ 56 w 56"/>
              <a:gd name="T3" fmla="*/ 25 h 47"/>
              <a:gd name="T4" fmla="*/ 53 w 56"/>
              <a:gd name="T5" fmla="*/ 22 h 47"/>
              <a:gd name="T6" fmla="*/ 53 w 56"/>
              <a:gd name="T7" fmla="*/ 19 h 47"/>
              <a:gd name="T8" fmla="*/ 50 w 56"/>
              <a:gd name="T9" fmla="*/ 15 h 47"/>
              <a:gd name="T10" fmla="*/ 53 w 56"/>
              <a:gd name="T11" fmla="*/ 12 h 47"/>
              <a:gd name="T12" fmla="*/ 47 w 56"/>
              <a:gd name="T13" fmla="*/ 9 h 47"/>
              <a:gd name="T14" fmla="*/ 47 w 56"/>
              <a:gd name="T15" fmla="*/ 6 h 47"/>
              <a:gd name="T16" fmla="*/ 47 w 56"/>
              <a:gd name="T17" fmla="*/ 3 h 47"/>
              <a:gd name="T18" fmla="*/ 40 w 56"/>
              <a:gd name="T19" fmla="*/ 6 h 47"/>
              <a:gd name="T20" fmla="*/ 40 w 56"/>
              <a:gd name="T21" fmla="*/ 3 h 47"/>
              <a:gd name="T22" fmla="*/ 37 w 56"/>
              <a:gd name="T23" fmla="*/ 3 h 47"/>
              <a:gd name="T24" fmla="*/ 34 w 56"/>
              <a:gd name="T25" fmla="*/ 0 h 47"/>
              <a:gd name="T26" fmla="*/ 28 w 56"/>
              <a:gd name="T27" fmla="*/ 0 h 47"/>
              <a:gd name="T28" fmla="*/ 25 w 56"/>
              <a:gd name="T29" fmla="*/ 3 h 47"/>
              <a:gd name="T30" fmla="*/ 22 w 56"/>
              <a:gd name="T31" fmla="*/ 3 h 47"/>
              <a:gd name="T32" fmla="*/ 22 w 56"/>
              <a:gd name="T33" fmla="*/ 3 h 47"/>
              <a:gd name="T34" fmla="*/ 18 w 56"/>
              <a:gd name="T35" fmla="*/ 6 h 47"/>
              <a:gd name="T36" fmla="*/ 15 w 56"/>
              <a:gd name="T37" fmla="*/ 6 h 47"/>
              <a:gd name="T38" fmla="*/ 15 w 56"/>
              <a:gd name="T39" fmla="*/ 6 h 47"/>
              <a:gd name="T40" fmla="*/ 12 w 56"/>
              <a:gd name="T41" fmla="*/ 6 h 47"/>
              <a:gd name="T42" fmla="*/ 9 w 56"/>
              <a:gd name="T43" fmla="*/ 3 h 47"/>
              <a:gd name="T44" fmla="*/ 6 w 56"/>
              <a:gd name="T45" fmla="*/ 0 h 47"/>
              <a:gd name="T46" fmla="*/ 3 w 56"/>
              <a:gd name="T47" fmla="*/ 3 h 47"/>
              <a:gd name="T48" fmla="*/ 0 w 56"/>
              <a:gd name="T49" fmla="*/ 9 h 47"/>
              <a:gd name="T50" fmla="*/ 3 w 56"/>
              <a:gd name="T51" fmla="*/ 9 h 47"/>
              <a:gd name="T52" fmla="*/ 3 w 56"/>
              <a:gd name="T53" fmla="*/ 19 h 47"/>
              <a:gd name="T54" fmla="*/ 9 w 56"/>
              <a:gd name="T55" fmla="*/ 19 h 47"/>
              <a:gd name="T56" fmla="*/ 9 w 56"/>
              <a:gd name="T57" fmla="*/ 22 h 47"/>
              <a:gd name="T58" fmla="*/ 15 w 56"/>
              <a:gd name="T59" fmla="*/ 28 h 47"/>
              <a:gd name="T60" fmla="*/ 15 w 56"/>
              <a:gd name="T61" fmla="*/ 28 h 47"/>
              <a:gd name="T62" fmla="*/ 18 w 56"/>
              <a:gd name="T63" fmla="*/ 28 h 47"/>
              <a:gd name="T64" fmla="*/ 22 w 56"/>
              <a:gd name="T65" fmla="*/ 31 h 47"/>
              <a:gd name="T66" fmla="*/ 22 w 56"/>
              <a:gd name="T67" fmla="*/ 34 h 47"/>
              <a:gd name="T68" fmla="*/ 25 w 56"/>
              <a:gd name="T69" fmla="*/ 37 h 47"/>
              <a:gd name="T70" fmla="*/ 28 w 56"/>
              <a:gd name="T71" fmla="*/ 37 h 47"/>
              <a:gd name="T72" fmla="*/ 31 w 56"/>
              <a:gd name="T73" fmla="*/ 37 h 47"/>
              <a:gd name="T74" fmla="*/ 31 w 56"/>
              <a:gd name="T75" fmla="*/ 37 h 47"/>
              <a:gd name="T76" fmla="*/ 34 w 56"/>
              <a:gd name="T77" fmla="*/ 37 h 47"/>
              <a:gd name="T78" fmla="*/ 40 w 56"/>
              <a:gd name="T79" fmla="*/ 44 h 47"/>
              <a:gd name="T80" fmla="*/ 43 w 56"/>
              <a:gd name="T81" fmla="*/ 44 h 47"/>
              <a:gd name="T82" fmla="*/ 47 w 56"/>
              <a:gd name="T83" fmla="*/ 47 h 47"/>
              <a:gd name="T84" fmla="*/ 50 w 56"/>
              <a:gd name="T85" fmla="*/ 47 h 47"/>
              <a:gd name="T86" fmla="*/ 53 w 56"/>
              <a:gd name="T87" fmla="*/ 47 h 47"/>
              <a:gd name="T88" fmla="*/ 53 w 56"/>
              <a:gd name="T89" fmla="*/ 44 h 47"/>
              <a:gd name="T90" fmla="*/ 50 w 56"/>
              <a:gd name="T91" fmla="*/ 44 h 47"/>
              <a:gd name="T92" fmla="*/ 50 w 56"/>
              <a:gd name="T93" fmla="*/ 40 h 47"/>
              <a:gd name="T94" fmla="*/ 50 w 56"/>
              <a:gd name="T95" fmla="*/ 37 h 47"/>
              <a:gd name="T96" fmla="*/ 50 w 56"/>
              <a:gd name="T97" fmla="*/ 34 h 47"/>
              <a:gd name="T98" fmla="*/ 53 w 56"/>
              <a:gd name="T99" fmla="*/ 31 h 47"/>
              <a:gd name="T100" fmla="*/ 53 w 56"/>
              <a:gd name="T101" fmla="*/ 3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 h="47">
                <a:moveTo>
                  <a:pt x="53" y="31"/>
                </a:moveTo>
                <a:lnTo>
                  <a:pt x="56" y="25"/>
                </a:lnTo>
                <a:lnTo>
                  <a:pt x="53" y="22"/>
                </a:lnTo>
                <a:lnTo>
                  <a:pt x="53" y="19"/>
                </a:lnTo>
                <a:lnTo>
                  <a:pt x="50" y="15"/>
                </a:lnTo>
                <a:lnTo>
                  <a:pt x="53" y="12"/>
                </a:lnTo>
                <a:lnTo>
                  <a:pt x="47" y="9"/>
                </a:lnTo>
                <a:lnTo>
                  <a:pt x="47" y="6"/>
                </a:lnTo>
                <a:lnTo>
                  <a:pt x="47" y="3"/>
                </a:lnTo>
                <a:lnTo>
                  <a:pt x="40" y="6"/>
                </a:lnTo>
                <a:lnTo>
                  <a:pt x="40" y="3"/>
                </a:lnTo>
                <a:lnTo>
                  <a:pt x="37" y="3"/>
                </a:lnTo>
                <a:lnTo>
                  <a:pt x="34" y="0"/>
                </a:lnTo>
                <a:lnTo>
                  <a:pt x="28" y="0"/>
                </a:lnTo>
                <a:lnTo>
                  <a:pt x="25" y="3"/>
                </a:lnTo>
                <a:lnTo>
                  <a:pt x="22" y="3"/>
                </a:lnTo>
                <a:lnTo>
                  <a:pt x="22" y="3"/>
                </a:lnTo>
                <a:lnTo>
                  <a:pt x="18" y="6"/>
                </a:lnTo>
                <a:lnTo>
                  <a:pt x="15" y="6"/>
                </a:lnTo>
                <a:lnTo>
                  <a:pt x="15" y="6"/>
                </a:lnTo>
                <a:lnTo>
                  <a:pt x="12" y="6"/>
                </a:lnTo>
                <a:lnTo>
                  <a:pt x="9" y="3"/>
                </a:lnTo>
                <a:lnTo>
                  <a:pt x="6" y="0"/>
                </a:lnTo>
                <a:lnTo>
                  <a:pt x="3" y="3"/>
                </a:lnTo>
                <a:lnTo>
                  <a:pt x="0" y="9"/>
                </a:lnTo>
                <a:lnTo>
                  <a:pt x="3" y="9"/>
                </a:lnTo>
                <a:lnTo>
                  <a:pt x="3" y="19"/>
                </a:lnTo>
                <a:lnTo>
                  <a:pt x="9" y="19"/>
                </a:lnTo>
                <a:lnTo>
                  <a:pt x="9" y="22"/>
                </a:lnTo>
                <a:lnTo>
                  <a:pt x="15" y="28"/>
                </a:lnTo>
                <a:lnTo>
                  <a:pt x="15" y="28"/>
                </a:lnTo>
                <a:lnTo>
                  <a:pt x="18" y="28"/>
                </a:lnTo>
                <a:lnTo>
                  <a:pt x="22" y="31"/>
                </a:lnTo>
                <a:lnTo>
                  <a:pt x="22" y="34"/>
                </a:lnTo>
                <a:lnTo>
                  <a:pt x="25" y="37"/>
                </a:lnTo>
                <a:lnTo>
                  <a:pt x="28" y="37"/>
                </a:lnTo>
                <a:lnTo>
                  <a:pt x="31" y="37"/>
                </a:lnTo>
                <a:lnTo>
                  <a:pt x="31" y="37"/>
                </a:lnTo>
                <a:lnTo>
                  <a:pt x="34" y="37"/>
                </a:lnTo>
                <a:lnTo>
                  <a:pt x="40" y="44"/>
                </a:lnTo>
                <a:lnTo>
                  <a:pt x="43" y="44"/>
                </a:lnTo>
                <a:lnTo>
                  <a:pt x="47" y="47"/>
                </a:lnTo>
                <a:lnTo>
                  <a:pt x="50" y="47"/>
                </a:lnTo>
                <a:lnTo>
                  <a:pt x="53" y="47"/>
                </a:lnTo>
                <a:lnTo>
                  <a:pt x="53" y="44"/>
                </a:lnTo>
                <a:lnTo>
                  <a:pt x="50" y="44"/>
                </a:lnTo>
                <a:lnTo>
                  <a:pt x="50" y="40"/>
                </a:lnTo>
                <a:lnTo>
                  <a:pt x="50" y="37"/>
                </a:lnTo>
                <a:lnTo>
                  <a:pt x="50" y="34"/>
                </a:lnTo>
                <a:lnTo>
                  <a:pt x="53" y="31"/>
                </a:lnTo>
                <a:lnTo>
                  <a:pt x="53" y="31"/>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3" name="Freeform 71">
            <a:extLst>
              <a:ext uri="{FF2B5EF4-FFF2-40B4-BE49-F238E27FC236}">
                <a16:creationId xmlns:a16="http://schemas.microsoft.com/office/drawing/2014/main" id="{A4177FDA-15C5-3B80-EC95-D1F92566B90F}"/>
              </a:ext>
            </a:extLst>
          </p:cNvPr>
          <p:cNvSpPr>
            <a:spLocks/>
          </p:cNvSpPr>
          <p:nvPr userDrawn="1"/>
        </p:nvSpPr>
        <p:spPr bwMode="auto">
          <a:xfrm>
            <a:off x="13467470" y="5939711"/>
            <a:ext cx="38100" cy="60326"/>
          </a:xfrm>
          <a:custGeom>
            <a:avLst/>
            <a:gdLst>
              <a:gd name="T0" fmla="*/ 3 w 12"/>
              <a:gd name="T1" fmla="*/ 16 h 19"/>
              <a:gd name="T2" fmla="*/ 3 w 12"/>
              <a:gd name="T3" fmla="*/ 13 h 19"/>
              <a:gd name="T4" fmla="*/ 0 w 12"/>
              <a:gd name="T5" fmla="*/ 13 h 19"/>
              <a:gd name="T6" fmla="*/ 0 w 12"/>
              <a:gd name="T7" fmla="*/ 9 h 19"/>
              <a:gd name="T8" fmla="*/ 0 w 12"/>
              <a:gd name="T9" fmla="*/ 6 h 19"/>
              <a:gd name="T10" fmla="*/ 0 w 12"/>
              <a:gd name="T11" fmla="*/ 3 h 19"/>
              <a:gd name="T12" fmla="*/ 3 w 12"/>
              <a:gd name="T13" fmla="*/ 0 h 19"/>
              <a:gd name="T14" fmla="*/ 6 w 12"/>
              <a:gd name="T15" fmla="*/ 0 h 19"/>
              <a:gd name="T16" fmla="*/ 9 w 12"/>
              <a:gd name="T17" fmla="*/ 6 h 19"/>
              <a:gd name="T18" fmla="*/ 9 w 12"/>
              <a:gd name="T19" fmla="*/ 9 h 19"/>
              <a:gd name="T20" fmla="*/ 12 w 12"/>
              <a:gd name="T21" fmla="*/ 13 h 19"/>
              <a:gd name="T22" fmla="*/ 12 w 12"/>
              <a:gd name="T23" fmla="*/ 19 h 19"/>
              <a:gd name="T24" fmla="*/ 9 w 12"/>
              <a:gd name="T25" fmla="*/ 19 h 19"/>
              <a:gd name="T26" fmla="*/ 3 w 12"/>
              <a:gd name="T27" fmla="*/ 19 h 19"/>
              <a:gd name="T28" fmla="*/ 3 w 12"/>
              <a:gd name="T29" fmla="*/ 16 h 19"/>
              <a:gd name="T30" fmla="*/ 3 w 12"/>
              <a:gd name="T31"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9">
                <a:moveTo>
                  <a:pt x="3" y="16"/>
                </a:moveTo>
                <a:lnTo>
                  <a:pt x="3" y="13"/>
                </a:lnTo>
                <a:lnTo>
                  <a:pt x="0" y="13"/>
                </a:lnTo>
                <a:lnTo>
                  <a:pt x="0" y="9"/>
                </a:lnTo>
                <a:lnTo>
                  <a:pt x="0" y="6"/>
                </a:lnTo>
                <a:lnTo>
                  <a:pt x="0" y="3"/>
                </a:lnTo>
                <a:lnTo>
                  <a:pt x="3" y="0"/>
                </a:lnTo>
                <a:lnTo>
                  <a:pt x="6" y="0"/>
                </a:lnTo>
                <a:lnTo>
                  <a:pt x="9" y="6"/>
                </a:lnTo>
                <a:lnTo>
                  <a:pt x="9" y="9"/>
                </a:lnTo>
                <a:lnTo>
                  <a:pt x="12" y="13"/>
                </a:lnTo>
                <a:lnTo>
                  <a:pt x="12" y="19"/>
                </a:lnTo>
                <a:lnTo>
                  <a:pt x="9" y="19"/>
                </a:lnTo>
                <a:lnTo>
                  <a:pt x="3" y="19"/>
                </a:lnTo>
                <a:lnTo>
                  <a:pt x="3" y="16"/>
                </a:lnTo>
                <a:lnTo>
                  <a:pt x="3" y="16"/>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4" name="Freeform 72">
            <a:extLst>
              <a:ext uri="{FF2B5EF4-FFF2-40B4-BE49-F238E27FC236}">
                <a16:creationId xmlns:a16="http://schemas.microsoft.com/office/drawing/2014/main" id="{F79750A8-9725-333F-BE2E-01353D19D9DC}"/>
              </a:ext>
            </a:extLst>
          </p:cNvPr>
          <p:cNvSpPr>
            <a:spLocks noEditPoints="1"/>
          </p:cNvSpPr>
          <p:nvPr userDrawn="1"/>
        </p:nvSpPr>
        <p:spPr bwMode="auto">
          <a:xfrm>
            <a:off x="12772187" y="4837985"/>
            <a:ext cx="38100" cy="98426"/>
          </a:xfrm>
          <a:custGeom>
            <a:avLst/>
            <a:gdLst>
              <a:gd name="T0" fmla="*/ 2 w 4"/>
              <a:gd name="T1" fmla="*/ 8 h 10"/>
              <a:gd name="T2" fmla="*/ 3 w 4"/>
              <a:gd name="T3" fmla="*/ 10 h 10"/>
              <a:gd name="T4" fmla="*/ 3 w 4"/>
              <a:gd name="T5" fmla="*/ 9 h 10"/>
              <a:gd name="T6" fmla="*/ 3 w 4"/>
              <a:gd name="T7" fmla="*/ 8 h 10"/>
              <a:gd name="T8" fmla="*/ 2 w 4"/>
              <a:gd name="T9" fmla="*/ 8 h 10"/>
              <a:gd name="T10" fmla="*/ 3 w 4"/>
              <a:gd name="T11" fmla="*/ 5 h 10"/>
              <a:gd name="T12" fmla="*/ 2 w 4"/>
              <a:gd name="T13" fmla="*/ 5 h 10"/>
              <a:gd name="T14" fmla="*/ 3 w 4"/>
              <a:gd name="T15" fmla="*/ 6 h 10"/>
              <a:gd name="T16" fmla="*/ 3 w 4"/>
              <a:gd name="T17" fmla="*/ 5 h 10"/>
              <a:gd name="T18" fmla="*/ 3 w 4"/>
              <a:gd name="T19" fmla="*/ 5 h 10"/>
              <a:gd name="T20" fmla="*/ 0 w 4"/>
              <a:gd name="T21" fmla="*/ 1 h 10"/>
              <a:gd name="T22" fmla="*/ 0 w 4"/>
              <a:gd name="T23" fmla="*/ 2 h 10"/>
              <a:gd name="T24" fmla="*/ 1 w 4"/>
              <a:gd name="T25" fmla="*/ 3 h 10"/>
              <a:gd name="T26" fmla="*/ 0 w 4"/>
              <a:gd name="T27" fmla="*/ 1 h 10"/>
              <a:gd name="T28" fmla="*/ 3 w 4"/>
              <a:gd name="T29" fmla="*/ 0 h 10"/>
              <a:gd name="T30" fmla="*/ 4 w 4"/>
              <a:gd name="T31" fmla="*/ 1 h 10"/>
              <a:gd name="T32" fmla="*/ 4 w 4"/>
              <a:gd name="T33" fmla="*/ 0 h 10"/>
              <a:gd name="T34" fmla="*/ 3 w 4"/>
              <a:gd name="T35" fmla="*/ 0 h 10"/>
              <a:gd name="T36" fmla="*/ 1 w 4"/>
              <a:gd name="T37" fmla="*/ 0 h 10"/>
              <a:gd name="T38" fmla="*/ 2 w 4"/>
              <a:gd name="T39" fmla="*/ 0 h 10"/>
              <a:gd name="T40" fmla="*/ 3 w 4"/>
              <a:gd name="T41" fmla="*/ 1 h 10"/>
              <a:gd name="T42" fmla="*/ 3 w 4"/>
              <a:gd name="T43" fmla="*/ 2 h 10"/>
              <a:gd name="T44" fmla="*/ 2 w 4"/>
              <a:gd name="T45" fmla="*/ 1 h 10"/>
              <a:gd name="T46" fmla="*/ 1 w 4"/>
              <a:gd name="T47" fmla="*/ 0 h 10"/>
              <a:gd name="T48" fmla="*/ 1 w 4"/>
              <a:gd name="T49" fmla="*/ 0 h 10"/>
              <a:gd name="T50" fmla="*/ 3 w 4"/>
              <a:gd name="T51" fmla="*/ 3 h 10"/>
              <a:gd name="T52" fmla="*/ 4 w 4"/>
              <a:gd name="T53" fmla="*/ 4 h 10"/>
              <a:gd name="T54" fmla="*/ 3 w 4"/>
              <a:gd name="T55" fmla="*/ 4 h 10"/>
              <a:gd name="T56" fmla="*/ 1 w 4"/>
              <a:gd name="T57" fmla="*/ 2 h 10"/>
              <a:gd name="T58" fmla="*/ 1 w 4"/>
              <a:gd name="T59" fmla="*/ 1 h 10"/>
              <a:gd name="T60" fmla="*/ 1 w 4"/>
              <a:gd name="T6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 h="10">
                <a:moveTo>
                  <a:pt x="2" y="8"/>
                </a:moveTo>
                <a:cubicBezTo>
                  <a:pt x="3" y="10"/>
                  <a:pt x="3" y="10"/>
                  <a:pt x="3" y="10"/>
                </a:cubicBezTo>
                <a:cubicBezTo>
                  <a:pt x="3" y="9"/>
                  <a:pt x="3" y="9"/>
                  <a:pt x="3" y="9"/>
                </a:cubicBezTo>
                <a:cubicBezTo>
                  <a:pt x="3" y="8"/>
                  <a:pt x="3" y="8"/>
                  <a:pt x="3" y="8"/>
                </a:cubicBezTo>
                <a:cubicBezTo>
                  <a:pt x="2" y="8"/>
                  <a:pt x="2" y="8"/>
                  <a:pt x="2" y="8"/>
                </a:cubicBezTo>
                <a:close/>
                <a:moveTo>
                  <a:pt x="3" y="5"/>
                </a:moveTo>
                <a:cubicBezTo>
                  <a:pt x="2" y="5"/>
                  <a:pt x="2" y="5"/>
                  <a:pt x="2" y="5"/>
                </a:cubicBezTo>
                <a:cubicBezTo>
                  <a:pt x="3" y="6"/>
                  <a:pt x="3" y="6"/>
                  <a:pt x="3" y="6"/>
                </a:cubicBezTo>
                <a:cubicBezTo>
                  <a:pt x="3" y="5"/>
                  <a:pt x="3" y="5"/>
                  <a:pt x="3" y="5"/>
                </a:cubicBezTo>
                <a:cubicBezTo>
                  <a:pt x="3" y="5"/>
                  <a:pt x="3" y="5"/>
                  <a:pt x="3" y="5"/>
                </a:cubicBezTo>
                <a:close/>
                <a:moveTo>
                  <a:pt x="0" y="1"/>
                </a:moveTo>
                <a:cubicBezTo>
                  <a:pt x="0" y="2"/>
                  <a:pt x="0" y="2"/>
                  <a:pt x="0" y="2"/>
                </a:cubicBezTo>
                <a:cubicBezTo>
                  <a:pt x="1" y="3"/>
                  <a:pt x="1" y="3"/>
                  <a:pt x="1" y="3"/>
                </a:cubicBezTo>
                <a:cubicBezTo>
                  <a:pt x="0" y="1"/>
                  <a:pt x="0" y="1"/>
                  <a:pt x="0" y="1"/>
                </a:cubicBezTo>
                <a:close/>
                <a:moveTo>
                  <a:pt x="3" y="0"/>
                </a:moveTo>
                <a:cubicBezTo>
                  <a:pt x="4" y="1"/>
                  <a:pt x="4" y="1"/>
                  <a:pt x="4" y="1"/>
                </a:cubicBezTo>
                <a:cubicBezTo>
                  <a:pt x="4" y="0"/>
                  <a:pt x="4" y="0"/>
                  <a:pt x="4" y="0"/>
                </a:cubicBezTo>
                <a:cubicBezTo>
                  <a:pt x="3" y="0"/>
                  <a:pt x="3" y="0"/>
                  <a:pt x="3" y="0"/>
                </a:cubicBezTo>
                <a:close/>
                <a:moveTo>
                  <a:pt x="1" y="0"/>
                </a:moveTo>
                <a:cubicBezTo>
                  <a:pt x="1" y="0"/>
                  <a:pt x="2" y="0"/>
                  <a:pt x="2" y="0"/>
                </a:cubicBezTo>
                <a:cubicBezTo>
                  <a:pt x="3" y="1"/>
                  <a:pt x="3" y="1"/>
                  <a:pt x="3" y="1"/>
                </a:cubicBezTo>
                <a:cubicBezTo>
                  <a:pt x="3" y="2"/>
                  <a:pt x="3" y="2"/>
                  <a:pt x="3" y="2"/>
                </a:cubicBezTo>
                <a:cubicBezTo>
                  <a:pt x="2" y="1"/>
                  <a:pt x="2" y="1"/>
                  <a:pt x="2" y="1"/>
                </a:cubicBezTo>
                <a:cubicBezTo>
                  <a:pt x="1" y="0"/>
                  <a:pt x="1" y="0"/>
                  <a:pt x="1" y="0"/>
                </a:cubicBezTo>
                <a:close/>
                <a:moveTo>
                  <a:pt x="1" y="0"/>
                </a:moveTo>
                <a:cubicBezTo>
                  <a:pt x="3" y="3"/>
                  <a:pt x="3" y="3"/>
                  <a:pt x="3" y="3"/>
                </a:cubicBezTo>
                <a:cubicBezTo>
                  <a:pt x="4" y="4"/>
                  <a:pt x="4" y="4"/>
                  <a:pt x="4" y="4"/>
                </a:cubicBezTo>
                <a:cubicBezTo>
                  <a:pt x="3" y="4"/>
                  <a:pt x="3" y="4"/>
                  <a:pt x="3" y="4"/>
                </a:cubicBezTo>
                <a:cubicBezTo>
                  <a:pt x="1" y="2"/>
                  <a:pt x="1" y="2"/>
                  <a:pt x="1" y="2"/>
                </a:cubicBezTo>
                <a:cubicBezTo>
                  <a:pt x="1" y="1"/>
                  <a:pt x="1" y="1"/>
                  <a:pt x="1" y="1"/>
                </a:cubicBezTo>
                <a:lnTo>
                  <a:pt x="1"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5" name="Freeform 73">
            <a:extLst>
              <a:ext uri="{FF2B5EF4-FFF2-40B4-BE49-F238E27FC236}">
                <a16:creationId xmlns:a16="http://schemas.microsoft.com/office/drawing/2014/main" id="{2BA1BC17-A3E3-8031-DDB4-979C88C0B844}"/>
              </a:ext>
            </a:extLst>
          </p:cNvPr>
          <p:cNvSpPr>
            <a:spLocks/>
          </p:cNvSpPr>
          <p:nvPr userDrawn="1"/>
        </p:nvSpPr>
        <p:spPr bwMode="auto">
          <a:xfrm>
            <a:off x="12572183" y="5492035"/>
            <a:ext cx="250810" cy="339726"/>
          </a:xfrm>
          <a:custGeom>
            <a:avLst/>
            <a:gdLst>
              <a:gd name="T0" fmla="*/ 35 w 79"/>
              <a:gd name="T1" fmla="*/ 104 h 107"/>
              <a:gd name="T2" fmla="*/ 41 w 79"/>
              <a:gd name="T3" fmla="*/ 97 h 107"/>
              <a:gd name="T4" fmla="*/ 47 w 79"/>
              <a:gd name="T5" fmla="*/ 94 h 107"/>
              <a:gd name="T6" fmla="*/ 60 w 79"/>
              <a:gd name="T7" fmla="*/ 91 h 107"/>
              <a:gd name="T8" fmla="*/ 66 w 79"/>
              <a:gd name="T9" fmla="*/ 88 h 107"/>
              <a:gd name="T10" fmla="*/ 69 w 79"/>
              <a:gd name="T11" fmla="*/ 85 h 107"/>
              <a:gd name="T12" fmla="*/ 75 w 79"/>
              <a:gd name="T13" fmla="*/ 75 h 107"/>
              <a:gd name="T14" fmla="*/ 79 w 79"/>
              <a:gd name="T15" fmla="*/ 60 h 107"/>
              <a:gd name="T16" fmla="*/ 79 w 79"/>
              <a:gd name="T17" fmla="*/ 53 h 107"/>
              <a:gd name="T18" fmla="*/ 72 w 79"/>
              <a:gd name="T19" fmla="*/ 41 h 107"/>
              <a:gd name="T20" fmla="*/ 72 w 79"/>
              <a:gd name="T21" fmla="*/ 38 h 107"/>
              <a:gd name="T22" fmla="*/ 60 w 79"/>
              <a:gd name="T23" fmla="*/ 25 h 107"/>
              <a:gd name="T24" fmla="*/ 54 w 79"/>
              <a:gd name="T25" fmla="*/ 35 h 107"/>
              <a:gd name="T26" fmla="*/ 54 w 79"/>
              <a:gd name="T27" fmla="*/ 16 h 107"/>
              <a:gd name="T28" fmla="*/ 60 w 79"/>
              <a:gd name="T29" fmla="*/ 10 h 107"/>
              <a:gd name="T30" fmla="*/ 66 w 79"/>
              <a:gd name="T31" fmla="*/ 7 h 107"/>
              <a:gd name="T32" fmla="*/ 60 w 79"/>
              <a:gd name="T33" fmla="*/ 3 h 107"/>
              <a:gd name="T34" fmla="*/ 54 w 79"/>
              <a:gd name="T35" fmla="*/ 13 h 107"/>
              <a:gd name="T36" fmla="*/ 54 w 79"/>
              <a:gd name="T37" fmla="*/ 3 h 107"/>
              <a:gd name="T38" fmla="*/ 50 w 79"/>
              <a:gd name="T39" fmla="*/ 7 h 107"/>
              <a:gd name="T40" fmla="*/ 44 w 79"/>
              <a:gd name="T41" fmla="*/ 10 h 107"/>
              <a:gd name="T42" fmla="*/ 44 w 79"/>
              <a:gd name="T43" fmla="*/ 13 h 107"/>
              <a:gd name="T44" fmla="*/ 41 w 79"/>
              <a:gd name="T45" fmla="*/ 16 h 107"/>
              <a:gd name="T46" fmla="*/ 41 w 79"/>
              <a:gd name="T47" fmla="*/ 22 h 107"/>
              <a:gd name="T48" fmla="*/ 47 w 79"/>
              <a:gd name="T49" fmla="*/ 22 h 107"/>
              <a:gd name="T50" fmla="*/ 38 w 79"/>
              <a:gd name="T51" fmla="*/ 28 h 107"/>
              <a:gd name="T52" fmla="*/ 29 w 79"/>
              <a:gd name="T53" fmla="*/ 32 h 107"/>
              <a:gd name="T54" fmla="*/ 16 w 79"/>
              <a:gd name="T55" fmla="*/ 28 h 107"/>
              <a:gd name="T56" fmla="*/ 13 w 79"/>
              <a:gd name="T57" fmla="*/ 32 h 107"/>
              <a:gd name="T58" fmla="*/ 16 w 79"/>
              <a:gd name="T59" fmla="*/ 38 h 107"/>
              <a:gd name="T60" fmla="*/ 10 w 79"/>
              <a:gd name="T61" fmla="*/ 35 h 107"/>
              <a:gd name="T62" fmla="*/ 19 w 79"/>
              <a:gd name="T63" fmla="*/ 41 h 107"/>
              <a:gd name="T64" fmla="*/ 16 w 79"/>
              <a:gd name="T65" fmla="*/ 47 h 107"/>
              <a:gd name="T66" fmla="*/ 10 w 79"/>
              <a:gd name="T67" fmla="*/ 50 h 107"/>
              <a:gd name="T68" fmla="*/ 13 w 79"/>
              <a:gd name="T69" fmla="*/ 53 h 107"/>
              <a:gd name="T70" fmla="*/ 29 w 79"/>
              <a:gd name="T71" fmla="*/ 57 h 107"/>
              <a:gd name="T72" fmla="*/ 19 w 79"/>
              <a:gd name="T73" fmla="*/ 66 h 107"/>
              <a:gd name="T74" fmla="*/ 10 w 79"/>
              <a:gd name="T75" fmla="*/ 75 h 107"/>
              <a:gd name="T76" fmla="*/ 19 w 79"/>
              <a:gd name="T77" fmla="*/ 75 h 107"/>
              <a:gd name="T78" fmla="*/ 29 w 79"/>
              <a:gd name="T79" fmla="*/ 72 h 107"/>
              <a:gd name="T80" fmla="*/ 16 w 79"/>
              <a:gd name="T81" fmla="*/ 75 h 107"/>
              <a:gd name="T82" fmla="*/ 13 w 79"/>
              <a:gd name="T83" fmla="*/ 82 h 107"/>
              <a:gd name="T84" fmla="*/ 10 w 79"/>
              <a:gd name="T85" fmla="*/ 85 h 107"/>
              <a:gd name="T86" fmla="*/ 7 w 79"/>
              <a:gd name="T87" fmla="*/ 82 h 107"/>
              <a:gd name="T88" fmla="*/ 13 w 79"/>
              <a:gd name="T89" fmla="*/ 88 h 107"/>
              <a:gd name="T90" fmla="*/ 4 w 79"/>
              <a:gd name="T91" fmla="*/ 94 h 107"/>
              <a:gd name="T92" fmla="*/ 16 w 79"/>
              <a:gd name="T93" fmla="*/ 94 h 107"/>
              <a:gd name="T94" fmla="*/ 10 w 79"/>
              <a:gd name="T95" fmla="*/ 100 h 107"/>
              <a:gd name="T96" fmla="*/ 10 w 79"/>
              <a:gd name="T97" fmla="*/ 104 h 107"/>
              <a:gd name="T98" fmla="*/ 19 w 79"/>
              <a:gd name="T99" fmla="*/ 10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 h="107">
                <a:moveTo>
                  <a:pt x="19" y="107"/>
                </a:moveTo>
                <a:lnTo>
                  <a:pt x="29" y="104"/>
                </a:lnTo>
                <a:lnTo>
                  <a:pt x="35" y="104"/>
                </a:lnTo>
                <a:lnTo>
                  <a:pt x="38" y="100"/>
                </a:lnTo>
                <a:lnTo>
                  <a:pt x="38" y="94"/>
                </a:lnTo>
                <a:lnTo>
                  <a:pt x="41" y="97"/>
                </a:lnTo>
                <a:lnTo>
                  <a:pt x="38" y="97"/>
                </a:lnTo>
                <a:lnTo>
                  <a:pt x="44" y="97"/>
                </a:lnTo>
                <a:lnTo>
                  <a:pt x="47" y="94"/>
                </a:lnTo>
                <a:lnTo>
                  <a:pt x="50" y="94"/>
                </a:lnTo>
                <a:lnTo>
                  <a:pt x="50" y="91"/>
                </a:lnTo>
                <a:lnTo>
                  <a:pt x="60" y="91"/>
                </a:lnTo>
                <a:lnTo>
                  <a:pt x="63" y="88"/>
                </a:lnTo>
                <a:lnTo>
                  <a:pt x="63" y="91"/>
                </a:lnTo>
                <a:lnTo>
                  <a:pt x="66" y="88"/>
                </a:lnTo>
                <a:lnTo>
                  <a:pt x="69" y="88"/>
                </a:lnTo>
                <a:lnTo>
                  <a:pt x="75" y="88"/>
                </a:lnTo>
                <a:lnTo>
                  <a:pt x="69" y="85"/>
                </a:lnTo>
                <a:lnTo>
                  <a:pt x="72" y="82"/>
                </a:lnTo>
                <a:lnTo>
                  <a:pt x="75" y="78"/>
                </a:lnTo>
                <a:lnTo>
                  <a:pt x="75" y="75"/>
                </a:lnTo>
                <a:lnTo>
                  <a:pt x="79" y="72"/>
                </a:lnTo>
                <a:lnTo>
                  <a:pt x="79" y="69"/>
                </a:lnTo>
                <a:lnTo>
                  <a:pt x="79" y="60"/>
                </a:lnTo>
                <a:lnTo>
                  <a:pt x="75" y="57"/>
                </a:lnTo>
                <a:lnTo>
                  <a:pt x="79" y="57"/>
                </a:lnTo>
                <a:lnTo>
                  <a:pt x="79" y="53"/>
                </a:lnTo>
                <a:lnTo>
                  <a:pt x="75" y="47"/>
                </a:lnTo>
                <a:lnTo>
                  <a:pt x="75" y="44"/>
                </a:lnTo>
                <a:lnTo>
                  <a:pt x="72" y="41"/>
                </a:lnTo>
                <a:lnTo>
                  <a:pt x="75" y="41"/>
                </a:lnTo>
                <a:lnTo>
                  <a:pt x="79" y="41"/>
                </a:lnTo>
                <a:lnTo>
                  <a:pt x="72" y="38"/>
                </a:lnTo>
                <a:lnTo>
                  <a:pt x="69" y="38"/>
                </a:lnTo>
                <a:lnTo>
                  <a:pt x="66" y="28"/>
                </a:lnTo>
                <a:lnTo>
                  <a:pt x="60" y="25"/>
                </a:lnTo>
                <a:lnTo>
                  <a:pt x="60" y="28"/>
                </a:lnTo>
                <a:lnTo>
                  <a:pt x="57" y="35"/>
                </a:lnTo>
                <a:lnTo>
                  <a:pt x="54" y="35"/>
                </a:lnTo>
                <a:lnTo>
                  <a:pt x="47" y="25"/>
                </a:lnTo>
                <a:lnTo>
                  <a:pt x="50" y="19"/>
                </a:lnTo>
                <a:lnTo>
                  <a:pt x="54" y="16"/>
                </a:lnTo>
                <a:lnTo>
                  <a:pt x="57" y="13"/>
                </a:lnTo>
                <a:lnTo>
                  <a:pt x="60" y="13"/>
                </a:lnTo>
                <a:lnTo>
                  <a:pt x="60" y="10"/>
                </a:lnTo>
                <a:lnTo>
                  <a:pt x="60" y="10"/>
                </a:lnTo>
                <a:lnTo>
                  <a:pt x="63" y="7"/>
                </a:lnTo>
                <a:lnTo>
                  <a:pt x="66" y="7"/>
                </a:lnTo>
                <a:lnTo>
                  <a:pt x="63" y="3"/>
                </a:lnTo>
                <a:lnTo>
                  <a:pt x="60" y="0"/>
                </a:lnTo>
                <a:lnTo>
                  <a:pt x="60" y="3"/>
                </a:lnTo>
                <a:lnTo>
                  <a:pt x="57" y="3"/>
                </a:lnTo>
                <a:lnTo>
                  <a:pt x="57" y="7"/>
                </a:lnTo>
                <a:lnTo>
                  <a:pt x="54" y="13"/>
                </a:lnTo>
                <a:lnTo>
                  <a:pt x="54" y="10"/>
                </a:lnTo>
                <a:lnTo>
                  <a:pt x="57" y="7"/>
                </a:lnTo>
                <a:lnTo>
                  <a:pt x="54" y="3"/>
                </a:lnTo>
                <a:lnTo>
                  <a:pt x="50" y="3"/>
                </a:lnTo>
                <a:lnTo>
                  <a:pt x="54" y="7"/>
                </a:lnTo>
                <a:lnTo>
                  <a:pt x="50" y="7"/>
                </a:lnTo>
                <a:lnTo>
                  <a:pt x="47" y="7"/>
                </a:lnTo>
                <a:lnTo>
                  <a:pt x="44" y="7"/>
                </a:lnTo>
                <a:lnTo>
                  <a:pt x="44" y="10"/>
                </a:lnTo>
                <a:lnTo>
                  <a:pt x="41" y="10"/>
                </a:lnTo>
                <a:lnTo>
                  <a:pt x="41" y="13"/>
                </a:lnTo>
                <a:lnTo>
                  <a:pt x="44" y="13"/>
                </a:lnTo>
                <a:lnTo>
                  <a:pt x="41" y="16"/>
                </a:lnTo>
                <a:lnTo>
                  <a:pt x="38" y="16"/>
                </a:lnTo>
                <a:lnTo>
                  <a:pt x="41" y="16"/>
                </a:lnTo>
                <a:lnTo>
                  <a:pt x="35" y="19"/>
                </a:lnTo>
                <a:lnTo>
                  <a:pt x="38" y="22"/>
                </a:lnTo>
                <a:lnTo>
                  <a:pt x="41" y="22"/>
                </a:lnTo>
                <a:lnTo>
                  <a:pt x="41" y="22"/>
                </a:lnTo>
                <a:lnTo>
                  <a:pt x="44" y="22"/>
                </a:lnTo>
                <a:lnTo>
                  <a:pt x="47" y="22"/>
                </a:lnTo>
                <a:lnTo>
                  <a:pt x="41" y="25"/>
                </a:lnTo>
                <a:lnTo>
                  <a:pt x="35" y="28"/>
                </a:lnTo>
                <a:lnTo>
                  <a:pt x="38" y="28"/>
                </a:lnTo>
                <a:lnTo>
                  <a:pt x="32" y="32"/>
                </a:lnTo>
                <a:lnTo>
                  <a:pt x="29" y="28"/>
                </a:lnTo>
                <a:lnTo>
                  <a:pt x="29" y="32"/>
                </a:lnTo>
                <a:lnTo>
                  <a:pt x="25" y="28"/>
                </a:lnTo>
                <a:lnTo>
                  <a:pt x="16" y="28"/>
                </a:lnTo>
                <a:lnTo>
                  <a:pt x="16" y="28"/>
                </a:lnTo>
                <a:lnTo>
                  <a:pt x="13" y="28"/>
                </a:lnTo>
                <a:lnTo>
                  <a:pt x="10" y="32"/>
                </a:lnTo>
                <a:lnTo>
                  <a:pt x="13" y="32"/>
                </a:lnTo>
                <a:lnTo>
                  <a:pt x="13" y="35"/>
                </a:lnTo>
                <a:lnTo>
                  <a:pt x="16" y="35"/>
                </a:lnTo>
                <a:lnTo>
                  <a:pt x="16" y="38"/>
                </a:lnTo>
                <a:lnTo>
                  <a:pt x="13" y="38"/>
                </a:lnTo>
                <a:lnTo>
                  <a:pt x="13" y="35"/>
                </a:lnTo>
                <a:lnTo>
                  <a:pt x="10" y="35"/>
                </a:lnTo>
                <a:lnTo>
                  <a:pt x="16" y="41"/>
                </a:lnTo>
                <a:lnTo>
                  <a:pt x="19" y="38"/>
                </a:lnTo>
                <a:lnTo>
                  <a:pt x="19" y="41"/>
                </a:lnTo>
                <a:lnTo>
                  <a:pt x="16" y="44"/>
                </a:lnTo>
                <a:lnTo>
                  <a:pt x="13" y="44"/>
                </a:lnTo>
                <a:lnTo>
                  <a:pt x="16" y="47"/>
                </a:lnTo>
                <a:lnTo>
                  <a:pt x="10" y="47"/>
                </a:lnTo>
                <a:lnTo>
                  <a:pt x="10" y="50"/>
                </a:lnTo>
                <a:lnTo>
                  <a:pt x="10" y="50"/>
                </a:lnTo>
                <a:lnTo>
                  <a:pt x="13" y="53"/>
                </a:lnTo>
                <a:lnTo>
                  <a:pt x="16" y="53"/>
                </a:lnTo>
                <a:lnTo>
                  <a:pt x="13" y="53"/>
                </a:lnTo>
                <a:lnTo>
                  <a:pt x="19" y="53"/>
                </a:lnTo>
                <a:lnTo>
                  <a:pt x="19" y="57"/>
                </a:lnTo>
                <a:lnTo>
                  <a:pt x="29" y="57"/>
                </a:lnTo>
                <a:lnTo>
                  <a:pt x="25" y="63"/>
                </a:lnTo>
                <a:lnTo>
                  <a:pt x="22" y="60"/>
                </a:lnTo>
                <a:lnTo>
                  <a:pt x="19" y="66"/>
                </a:lnTo>
                <a:lnTo>
                  <a:pt x="22" y="66"/>
                </a:lnTo>
                <a:lnTo>
                  <a:pt x="19" y="72"/>
                </a:lnTo>
                <a:lnTo>
                  <a:pt x="10" y="75"/>
                </a:lnTo>
                <a:lnTo>
                  <a:pt x="13" y="75"/>
                </a:lnTo>
                <a:lnTo>
                  <a:pt x="19" y="72"/>
                </a:lnTo>
                <a:lnTo>
                  <a:pt x="19" y="75"/>
                </a:lnTo>
                <a:lnTo>
                  <a:pt x="25" y="75"/>
                </a:lnTo>
                <a:lnTo>
                  <a:pt x="29" y="72"/>
                </a:lnTo>
                <a:lnTo>
                  <a:pt x="29" y="72"/>
                </a:lnTo>
                <a:lnTo>
                  <a:pt x="32" y="72"/>
                </a:lnTo>
                <a:lnTo>
                  <a:pt x="22" y="75"/>
                </a:lnTo>
                <a:lnTo>
                  <a:pt x="16" y="75"/>
                </a:lnTo>
                <a:lnTo>
                  <a:pt x="16" y="78"/>
                </a:lnTo>
                <a:lnTo>
                  <a:pt x="10" y="78"/>
                </a:lnTo>
                <a:lnTo>
                  <a:pt x="13" y="82"/>
                </a:lnTo>
                <a:lnTo>
                  <a:pt x="13" y="85"/>
                </a:lnTo>
                <a:lnTo>
                  <a:pt x="13" y="85"/>
                </a:lnTo>
                <a:lnTo>
                  <a:pt x="10" y="85"/>
                </a:lnTo>
                <a:lnTo>
                  <a:pt x="7" y="82"/>
                </a:lnTo>
                <a:lnTo>
                  <a:pt x="7" y="85"/>
                </a:lnTo>
                <a:lnTo>
                  <a:pt x="7" y="82"/>
                </a:lnTo>
                <a:lnTo>
                  <a:pt x="0" y="85"/>
                </a:lnTo>
                <a:lnTo>
                  <a:pt x="0" y="88"/>
                </a:lnTo>
                <a:lnTo>
                  <a:pt x="13" y="88"/>
                </a:lnTo>
                <a:lnTo>
                  <a:pt x="10" y="91"/>
                </a:lnTo>
                <a:lnTo>
                  <a:pt x="4" y="91"/>
                </a:lnTo>
                <a:lnTo>
                  <a:pt x="4" y="94"/>
                </a:lnTo>
                <a:lnTo>
                  <a:pt x="7" y="94"/>
                </a:lnTo>
                <a:lnTo>
                  <a:pt x="7" y="97"/>
                </a:lnTo>
                <a:lnTo>
                  <a:pt x="16" y="94"/>
                </a:lnTo>
                <a:lnTo>
                  <a:pt x="10" y="100"/>
                </a:lnTo>
                <a:lnTo>
                  <a:pt x="7" y="100"/>
                </a:lnTo>
                <a:lnTo>
                  <a:pt x="10" y="100"/>
                </a:lnTo>
                <a:lnTo>
                  <a:pt x="16" y="97"/>
                </a:lnTo>
                <a:lnTo>
                  <a:pt x="16" y="100"/>
                </a:lnTo>
                <a:lnTo>
                  <a:pt x="10" y="104"/>
                </a:lnTo>
                <a:lnTo>
                  <a:pt x="13" y="104"/>
                </a:lnTo>
                <a:lnTo>
                  <a:pt x="13" y="104"/>
                </a:lnTo>
                <a:lnTo>
                  <a:pt x="19" y="104"/>
                </a:lnTo>
                <a:lnTo>
                  <a:pt x="19" y="107"/>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6" name="Freeform 74">
            <a:extLst>
              <a:ext uri="{FF2B5EF4-FFF2-40B4-BE49-F238E27FC236}">
                <a16:creationId xmlns:a16="http://schemas.microsoft.com/office/drawing/2014/main" id="{DC1883C7-77E8-DEE7-E566-29F0A9830EBA}"/>
              </a:ext>
            </a:extLst>
          </p:cNvPr>
          <p:cNvSpPr>
            <a:spLocks noEditPoints="1"/>
          </p:cNvSpPr>
          <p:nvPr userDrawn="1"/>
        </p:nvSpPr>
        <p:spPr bwMode="auto">
          <a:xfrm>
            <a:off x="12721394" y="4987207"/>
            <a:ext cx="536541" cy="981078"/>
          </a:xfrm>
          <a:custGeom>
            <a:avLst/>
            <a:gdLst>
              <a:gd name="T0" fmla="*/ 2 w 54"/>
              <a:gd name="T1" fmla="*/ 56 h 99"/>
              <a:gd name="T2" fmla="*/ 12 w 54"/>
              <a:gd name="T3" fmla="*/ 57 h 99"/>
              <a:gd name="T4" fmla="*/ 11 w 54"/>
              <a:gd name="T5" fmla="*/ 62 h 99"/>
              <a:gd name="T6" fmla="*/ 39 w 54"/>
              <a:gd name="T7" fmla="*/ 0 h 99"/>
              <a:gd name="T8" fmla="*/ 38 w 54"/>
              <a:gd name="T9" fmla="*/ 1 h 99"/>
              <a:gd name="T10" fmla="*/ 36 w 54"/>
              <a:gd name="T11" fmla="*/ 4 h 99"/>
              <a:gd name="T12" fmla="*/ 50 w 54"/>
              <a:gd name="T13" fmla="*/ 86 h 99"/>
              <a:gd name="T14" fmla="*/ 36 w 54"/>
              <a:gd name="T15" fmla="*/ 93 h 99"/>
              <a:gd name="T16" fmla="*/ 6 w 54"/>
              <a:gd name="T17" fmla="*/ 41 h 99"/>
              <a:gd name="T18" fmla="*/ 9 w 54"/>
              <a:gd name="T19" fmla="*/ 37 h 99"/>
              <a:gd name="T20" fmla="*/ 26 w 54"/>
              <a:gd name="T21" fmla="*/ 19 h 99"/>
              <a:gd name="T22" fmla="*/ 25 w 54"/>
              <a:gd name="T23" fmla="*/ 22 h 99"/>
              <a:gd name="T24" fmla="*/ 11 w 54"/>
              <a:gd name="T25" fmla="*/ 26 h 99"/>
              <a:gd name="T26" fmla="*/ 7 w 54"/>
              <a:gd name="T27" fmla="*/ 29 h 99"/>
              <a:gd name="T28" fmla="*/ 4 w 54"/>
              <a:gd name="T29" fmla="*/ 33 h 99"/>
              <a:gd name="T30" fmla="*/ 5 w 54"/>
              <a:gd name="T31" fmla="*/ 35 h 99"/>
              <a:gd name="T32" fmla="*/ 9 w 54"/>
              <a:gd name="T33" fmla="*/ 34 h 99"/>
              <a:gd name="T34" fmla="*/ 11 w 54"/>
              <a:gd name="T35" fmla="*/ 34 h 99"/>
              <a:gd name="T36" fmla="*/ 12 w 54"/>
              <a:gd name="T37" fmla="*/ 42 h 99"/>
              <a:gd name="T38" fmla="*/ 12 w 54"/>
              <a:gd name="T39" fmla="*/ 47 h 99"/>
              <a:gd name="T40" fmla="*/ 16 w 54"/>
              <a:gd name="T41" fmla="*/ 52 h 99"/>
              <a:gd name="T42" fmla="*/ 17 w 54"/>
              <a:gd name="T43" fmla="*/ 63 h 99"/>
              <a:gd name="T44" fmla="*/ 16 w 54"/>
              <a:gd name="T45" fmla="*/ 98 h 99"/>
              <a:gd name="T46" fmla="*/ 24 w 54"/>
              <a:gd name="T47" fmla="*/ 97 h 99"/>
              <a:gd name="T48" fmla="*/ 31 w 54"/>
              <a:gd name="T49" fmla="*/ 93 h 99"/>
              <a:gd name="T50" fmla="*/ 40 w 54"/>
              <a:gd name="T51" fmla="*/ 92 h 99"/>
              <a:gd name="T52" fmla="*/ 51 w 54"/>
              <a:gd name="T53" fmla="*/ 89 h 99"/>
              <a:gd name="T54" fmla="*/ 48 w 54"/>
              <a:gd name="T55" fmla="*/ 86 h 99"/>
              <a:gd name="T56" fmla="*/ 50 w 54"/>
              <a:gd name="T57" fmla="*/ 82 h 99"/>
              <a:gd name="T58" fmla="*/ 53 w 54"/>
              <a:gd name="T59" fmla="*/ 80 h 99"/>
              <a:gd name="T60" fmla="*/ 44 w 54"/>
              <a:gd name="T61" fmla="*/ 73 h 99"/>
              <a:gd name="T62" fmla="*/ 40 w 54"/>
              <a:gd name="T63" fmla="*/ 66 h 99"/>
              <a:gd name="T64" fmla="*/ 42 w 54"/>
              <a:gd name="T65" fmla="*/ 62 h 99"/>
              <a:gd name="T66" fmla="*/ 33 w 54"/>
              <a:gd name="T67" fmla="*/ 50 h 99"/>
              <a:gd name="T68" fmla="*/ 23 w 54"/>
              <a:gd name="T69" fmla="*/ 45 h 99"/>
              <a:gd name="T70" fmla="*/ 25 w 54"/>
              <a:gd name="T71" fmla="*/ 43 h 99"/>
              <a:gd name="T72" fmla="*/ 31 w 54"/>
              <a:gd name="T73" fmla="*/ 34 h 99"/>
              <a:gd name="T74" fmla="*/ 24 w 54"/>
              <a:gd name="T75" fmla="*/ 32 h 99"/>
              <a:gd name="T76" fmla="*/ 21 w 54"/>
              <a:gd name="T77" fmla="*/ 29 h 99"/>
              <a:gd name="T78" fmla="*/ 22 w 54"/>
              <a:gd name="T79" fmla="*/ 24 h 99"/>
              <a:gd name="T80" fmla="*/ 16 w 54"/>
              <a:gd name="T81" fmla="*/ 24 h 99"/>
              <a:gd name="T82" fmla="*/ 14 w 54"/>
              <a:gd name="T83" fmla="*/ 30 h 99"/>
              <a:gd name="T84" fmla="*/ 13 w 54"/>
              <a:gd name="T85" fmla="*/ 33 h 99"/>
              <a:gd name="T86" fmla="*/ 13 w 54"/>
              <a:gd name="T87" fmla="*/ 35 h 99"/>
              <a:gd name="T88" fmla="*/ 12 w 54"/>
              <a:gd name="T89" fmla="*/ 39 h 99"/>
              <a:gd name="T90" fmla="*/ 13 w 54"/>
              <a:gd name="T91" fmla="*/ 42 h 99"/>
              <a:gd name="T92" fmla="*/ 13 w 54"/>
              <a:gd name="T93" fmla="*/ 48 h 99"/>
              <a:gd name="T94" fmla="*/ 14 w 54"/>
              <a:gd name="T95" fmla="*/ 48 h 99"/>
              <a:gd name="T96" fmla="*/ 17 w 54"/>
              <a:gd name="T97" fmla="*/ 45 h 99"/>
              <a:gd name="T98" fmla="*/ 16 w 54"/>
              <a:gd name="T99" fmla="*/ 56 h 99"/>
              <a:gd name="T100" fmla="*/ 22 w 54"/>
              <a:gd name="T101" fmla="*/ 57 h 99"/>
              <a:gd name="T102" fmla="*/ 28 w 54"/>
              <a:gd name="T103" fmla="*/ 62 h 99"/>
              <a:gd name="T104" fmla="*/ 27 w 54"/>
              <a:gd name="T105" fmla="*/ 69 h 99"/>
              <a:gd name="T106" fmla="*/ 17 w 54"/>
              <a:gd name="T107" fmla="*/ 74 h 99"/>
              <a:gd name="T108" fmla="*/ 19 w 54"/>
              <a:gd name="T109" fmla="*/ 80 h 99"/>
              <a:gd name="T110" fmla="*/ 16 w 54"/>
              <a:gd name="T111" fmla="*/ 85 h 99"/>
              <a:gd name="T112" fmla="*/ 24 w 54"/>
              <a:gd name="T113" fmla="*/ 86 h 99"/>
              <a:gd name="T114" fmla="*/ 27 w 54"/>
              <a:gd name="T115" fmla="*/ 89 h 99"/>
              <a:gd name="T116" fmla="*/ 16 w 54"/>
              <a:gd name="T117" fmla="*/ 94 h 99"/>
              <a:gd name="T118" fmla="*/ 15 w 54"/>
              <a:gd name="T119"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 h="99">
                <a:moveTo>
                  <a:pt x="10" y="64"/>
                </a:moveTo>
                <a:cubicBezTo>
                  <a:pt x="8" y="63"/>
                  <a:pt x="8" y="63"/>
                  <a:pt x="8" y="63"/>
                </a:cubicBezTo>
                <a:cubicBezTo>
                  <a:pt x="7" y="63"/>
                  <a:pt x="7" y="63"/>
                  <a:pt x="7" y="63"/>
                </a:cubicBezTo>
                <a:cubicBezTo>
                  <a:pt x="6" y="60"/>
                  <a:pt x="6" y="60"/>
                  <a:pt x="6" y="60"/>
                </a:cubicBezTo>
                <a:cubicBezTo>
                  <a:pt x="4" y="59"/>
                  <a:pt x="4" y="59"/>
                  <a:pt x="4" y="59"/>
                </a:cubicBezTo>
                <a:cubicBezTo>
                  <a:pt x="4" y="60"/>
                  <a:pt x="4" y="60"/>
                  <a:pt x="4" y="60"/>
                </a:cubicBezTo>
                <a:cubicBezTo>
                  <a:pt x="3" y="62"/>
                  <a:pt x="3" y="62"/>
                  <a:pt x="3" y="62"/>
                </a:cubicBezTo>
                <a:cubicBezTo>
                  <a:pt x="2" y="62"/>
                  <a:pt x="2" y="62"/>
                  <a:pt x="2" y="62"/>
                </a:cubicBezTo>
                <a:cubicBezTo>
                  <a:pt x="0" y="59"/>
                  <a:pt x="0" y="59"/>
                  <a:pt x="0" y="59"/>
                </a:cubicBezTo>
                <a:cubicBezTo>
                  <a:pt x="1" y="57"/>
                  <a:pt x="1" y="57"/>
                  <a:pt x="1" y="57"/>
                </a:cubicBezTo>
                <a:cubicBezTo>
                  <a:pt x="2" y="56"/>
                  <a:pt x="2" y="56"/>
                  <a:pt x="2" y="56"/>
                </a:cubicBezTo>
                <a:cubicBezTo>
                  <a:pt x="3" y="55"/>
                  <a:pt x="3" y="55"/>
                  <a:pt x="3" y="55"/>
                </a:cubicBezTo>
                <a:cubicBezTo>
                  <a:pt x="4" y="55"/>
                  <a:pt x="4" y="55"/>
                  <a:pt x="4" y="55"/>
                </a:cubicBezTo>
                <a:cubicBezTo>
                  <a:pt x="4" y="54"/>
                  <a:pt x="4" y="54"/>
                  <a:pt x="4" y="54"/>
                </a:cubicBezTo>
                <a:cubicBezTo>
                  <a:pt x="5" y="54"/>
                  <a:pt x="5" y="54"/>
                  <a:pt x="5" y="54"/>
                </a:cubicBezTo>
                <a:cubicBezTo>
                  <a:pt x="6" y="54"/>
                  <a:pt x="6" y="54"/>
                  <a:pt x="6" y="54"/>
                </a:cubicBezTo>
                <a:cubicBezTo>
                  <a:pt x="7" y="54"/>
                  <a:pt x="7" y="54"/>
                  <a:pt x="7" y="54"/>
                </a:cubicBezTo>
                <a:cubicBezTo>
                  <a:pt x="8" y="53"/>
                  <a:pt x="8" y="53"/>
                  <a:pt x="8" y="53"/>
                </a:cubicBezTo>
                <a:cubicBezTo>
                  <a:pt x="10" y="53"/>
                  <a:pt x="10" y="53"/>
                  <a:pt x="10" y="53"/>
                </a:cubicBezTo>
                <a:cubicBezTo>
                  <a:pt x="11" y="53"/>
                  <a:pt x="11" y="53"/>
                  <a:pt x="11" y="53"/>
                </a:cubicBezTo>
                <a:cubicBezTo>
                  <a:pt x="11" y="55"/>
                  <a:pt x="11" y="55"/>
                  <a:pt x="11" y="55"/>
                </a:cubicBezTo>
                <a:cubicBezTo>
                  <a:pt x="12" y="57"/>
                  <a:pt x="12" y="57"/>
                  <a:pt x="12" y="57"/>
                </a:cubicBezTo>
                <a:cubicBezTo>
                  <a:pt x="12" y="58"/>
                  <a:pt x="12" y="58"/>
                  <a:pt x="12" y="58"/>
                </a:cubicBezTo>
                <a:cubicBezTo>
                  <a:pt x="13" y="58"/>
                  <a:pt x="13" y="58"/>
                  <a:pt x="13" y="58"/>
                </a:cubicBezTo>
                <a:cubicBezTo>
                  <a:pt x="14" y="61"/>
                  <a:pt x="14" y="61"/>
                  <a:pt x="14" y="61"/>
                </a:cubicBezTo>
                <a:cubicBezTo>
                  <a:pt x="13" y="59"/>
                  <a:pt x="13" y="59"/>
                  <a:pt x="13" y="59"/>
                </a:cubicBezTo>
                <a:cubicBezTo>
                  <a:pt x="12" y="59"/>
                  <a:pt x="12" y="59"/>
                  <a:pt x="12" y="59"/>
                </a:cubicBezTo>
                <a:cubicBezTo>
                  <a:pt x="13" y="59"/>
                  <a:pt x="13" y="59"/>
                  <a:pt x="13" y="59"/>
                </a:cubicBezTo>
                <a:cubicBezTo>
                  <a:pt x="12" y="60"/>
                  <a:pt x="12" y="60"/>
                  <a:pt x="12" y="60"/>
                </a:cubicBezTo>
                <a:cubicBezTo>
                  <a:pt x="13" y="61"/>
                  <a:pt x="13" y="61"/>
                  <a:pt x="13" y="61"/>
                </a:cubicBezTo>
                <a:cubicBezTo>
                  <a:pt x="13" y="62"/>
                  <a:pt x="13" y="62"/>
                  <a:pt x="13" y="62"/>
                </a:cubicBezTo>
                <a:cubicBezTo>
                  <a:pt x="11" y="61"/>
                  <a:pt x="11" y="61"/>
                  <a:pt x="11" y="61"/>
                </a:cubicBezTo>
                <a:cubicBezTo>
                  <a:pt x="11" y="62"/>
                  <a:pt x="11" y="62"/>
                  <a:pt x="11" y="62"/>
                </a:cubicBezTo>
                <a:cubicBezTo>
                  <a:pt x="10" y="63"/>
                  <a:pt x="10" y="63"/>
                  <a:pt x="10" y="63"/>
                </a:cubicBezTo>
                <a:cubicBezTo>
                  <a:pt x="10" y="63"/>
                  <a:pt x="10" y="63"/>
                  <a:pt x="10" y="63"/>
                </a:cubicBezTo>
                <a:cubicBezTo>
                  <a:pt x="10" y="64"/>
                  <a:pt x="10" y="64"/>
                  <a:pt x="10" y="64"/>
                </a:cubicBezTo>
                <a:cubicBezTo>
                  <a:pt x="10" y="64"/>
                  <a:pt x="10" y="64"/>
                  <a:pt x="10" y="64"/>
                </a:cubicBezTo>
                <a:close/>
                <a:moveTo>
                  <a:pt x="36" y="9"/>
                </a:moveTo>
                <a:cubicBezTo>
                  <a:pt x="37" y="8"/>
                  <a:pt x="37" y="8"/>
                  <a:pt x="37" y="8"/>
                </a:cubicBezTo>
                <a:cubicBezTo>
                  <a:pt x="37" y="8"/>
                  <a:pt x="37" y="8"/>
                  <a:pt x="37" y="8"/>
                </a:cubicBezTo>
                <a:cubicBezTo>
                  <a:pt x="36" y="9"/>
                  <a:pt x="36" y="9"/>
                  <a:pt x="36" y="9"/>
                </a:cubicBezTo>
                <a:close/>
                <a:moveTo>
                  <a:pt x="38" y="1"/>
                </a:moveTo>
                <a:cubicBezTo>
                  <a:pt x="38" y="1"/>
                  <a:pt x="38" y="1"/>
                  <a:pt x="38" y="1"/>
                </a:cubicBezTo>
                <a:cubicBezTo>
                  <a:pt x="39" y="0"/>
                  <a:pt x="39" y="0"/>
                  <a:pt x="39" y="0"/>
                </a:cubicBezTo>
                <a:cubicBezTo>
                  <a:pt x="38" y="1"/>
                  <a:pt x="38" y="1"/>
                  <a:pt x="38" y="1"/>
                </a:cubicBezTo>
                <a:close/>
                <a:moveTo>
                  <a:pt x="36" y="4"/>
                </a:moveTo>
                <a:cubicBezTo>
                  <a:pt x="36" y="3"/>
                  <a:pt x="36" y="3"/>
                  <a:pt x="36" y="3"/>
                </a:cubicBezTo>
                <a:cubicBezTo>
                  <a:pt x="35" y="3"/>
                  <a:pt x="35" y="3"/>
                  <a:pt x="35" y="3"/>
                </a:cubicBezTo>
                <a:cubicBezTo>
                  <a:pt x="35" y="4"/>
                  <a:pt x="35" y="4"/>
                  <a:pt x="35" y="4"/>
                </a:cubicBezTo>
                <a:cubicBezTo>
                  <a:pt x="35" y="4"/>
                  <a:pt x="36" y="4"/>
                  <a:pt x="36" y="4"/>
                </a:cubicBezTo>
                <a:close/>
                <a:moveTo>
                  <a:pt x="37" y="3"/>
                </a:moveTo>
                <a:cubicBezTo>
                  <a:pt x="36" y="3"/>
                  <a:pt x="36" y="3"/>
                  <a:pt x="36" y="3"/>
                </a:cubicBezTo>
                <a:cubicBezTo>
                  <a:pt x="37" y="2"/>
                  <a:pt x="37" y="2"/>
                  <a:pt x="37" y="2"/>
                </a:cubicBezTo>
                <a:cubicBezTo>
                  <a:pt x="37" y="1"/>
                  <a:pt x="37" y="1"/>
                  <a:pt x="37" y="1"/>
                </a:cubicBezTo>
                <a:cubicBezTo>
                  <a:pt x="38" y="1"/>
                  <a:pt x="38" y="1"/>
                  <a:pt x="38" y="1"/>
                </a:cubicBezTo>
                <a:cubicBezTo>
                  <a:pt x="38" y="3"/>
                  <a:pt x="38" y="3"/>
                  <a:pt x="38" y="3"/>
                </a:cubicBezTo>
                <a:cubicBezTo>
                  <a:pt x="37" y="3"/>
                  <a:pt x="37" y="3"/>
                  <a:pt x="37" y="3"/>
                </a:cubicBezTo>
                <a:close/>
                <a:moveTo>
                  <a:pt x="37" y="7"/>
                </a:moveTo>
                <a:cubicBezTo>
                  <a:pt x="36" y="6"/>
                  <a:pt x="36" y="6"/>
                  <a:pt x="36" y="6"/>
                </a:cubicBezTo>
                <a:cubicBezTo>
                  <a:pt x="35" y="6"/>
                  <a:pt x="35" y="6"/>
                  <a:pt x="35" y="6"/>
                </a:cubicBezTo>
                <a:cubicBezTo>
                  <a:pt x="34" y="5"/>
                  <a:pt x="34" y="5"/>
                  <a:pt x="34" y="5"/>
                </a:cubicBezTo>
                <a:cubicBezTo>
                  <a:pt x="35" y="5"/>
                  <a:pt x="35" y="5"/>
                  <a:pt x="35" y="5"/>
                </a:cubicBezTo>
                <a:cubicBezTo>
                  <a:pt x="36" y="5"/>
                  <a:pt x="36" y="5"/>
                  <a:pt x="36" y="5"/>
                </a:cubicBezTo>
                <a:cubicBezTo>
                  <a:pt x="36" y="5"/>
                  <a:pt x="36" y="5"/>
                  <a:pt x="36" y="5"/>
                </a:cubicBezTo>
                <a:cubicBezTo>
                  <a:pt x="36" y="4"/>
                  <a:pt x="36" y="4"/>
                  <a:pt x="36" y="4"/>
                </a:cubicBezTo>
                <a:cubicBezTo>
                  <a:pt x="36" y="4"/>
                  <a:pt x="36" y="4"/>
                  <a:pt x="36" y="4"/>
                </a:cubicBezTo>
                <a:cubicBezTo>
                  <a:pt x="37" y="4"/>
                  <a:pt x="37" y="4"/>
                  <a:pt x="37" y="4"/>
                </a:cubicBezTo>
                <a:cubicBezTo>
                  <a:pt x="38" y="4"/>
                  <a:pt x="38" y="4"/>
                  <a:pt x="38" y="4"/>
                </a:cubicBezTo>
                <a:cubicBezTo>
                  <a:pt x="37" y="5"/>
                  <a:pt x="37" y="5"/>
                  <a:pt x="37" y="5"/>
                </a:cubicBezTo>
                <a:cubicBezTo>
                  <a:pt x="38" y="6"/>
                  <a:pt x="38" y="6"/>
                  <a:pt x="38" y="6"/>
                </a:cubicBezTo>
                <a:cubicBezTo>
                  <a:pt x="37" y="6"/>
                  <a:pt x="37" y="6"/>
                  <a:pt x="37" y="6"/>
                </a:cubicBezTo>
                <a:cubicBezTo>
                  <a:pt x="37" y="7"/>
                  <a:pt x="37" y="7"/>
                  <a:pt x="37" y="7"/>
                </a:cubicBezTo>
                <a:cubicBezTo>
                  <a:pt x="37" y="7"/>
                  <a:pt x="37" y="7"/>
                  <a:pt x="37" y="7"/>
                </a:cubicBezTo>
                <a:close/>
                <a:moveTo>
                  <a:pt x="49" y="86"/>
                </a:moveTo>
                <a:cubicBezTo>
                  <a:pt x="49" y="86"/>
                  <a:pt x="49" y="86"/>
                  <a:pt x="49" y="86"/>
                </a:cubicBezTo>
                <a:cubicBezTo>
                  <a:pt x="50" y="86"/>
                  <a:pt x="50" y="86"/>
                  <a:pt x="50" y="86"/>
                </a:cubicBezTo>
                <a:cubicBezTo>
                  <a:pt x="50" y="86"/>
                  <a:pt x="50" y="86"/>
                  <a:pt x="50" y="86"/>
                </a:cubicBezTo>
                <a:cubicBezTo>
                  <a:pt x="49" y="85"/>
                  <a:pt x="49" y="85"/>
                  <a:pt x="49" y="85"/>
                </a:cubicBezTo>
                <a:cubicBezTo>
                  <a:pt x="49" y="86"/>
                  <a:pt x="49" y="86"/>
                  <a:pt x="49" y="86"/>
                </a:cubicBezTo>
                <a:close/>
                <a:moveTo>
                  <a:pt x="36" y="93"/>
                </a:moveTo>
                <a:cubicBezTo>
                  <a:pt x="37" y="92"/>
                  <a:pt x="37" y="92"/>
                  <a:pt x="37" y="92"/>
                </a:cubicBezTo>
                <a:cubicBezTo>
                  <a:pt x="38" y="92"/>
                  <a:pt x="38" y="92"/>
                  <a:pt x="38" y="92"/>
                </a:cubicBezTo>
                <a:cubicBezTo>
                  <a:pt x="39" y="92"/>
                  <a:pt x="39" y="92"/>
                  <a:pt x="39" y="92"/>
                </a:cubicBezTo>
                <a:cubicBezTo>
                  <a:pt x="38" y="93"/>
                  <a:pt x="38" y="93"/>
                  <a:pt x="38" y="93"/>
                </a:cubicBezTo>
                <a:cubicBezTo>
                  <a:pt x="38" y="94"/>
                  <a:pt x="38" y="94"/>
                  <a:pt x="38" y="94"/>
                </a:cubicBezTo>
                <a:cubicBezTo>
                  <a:pt x="37" y="94"/>
                  <a:pt x="37" y="94"/>
                  <a:pt x="37" y="94"/>
                </a:cubicBezTo>
                <a:cubicBezTo>
                  <a:pt x="37" y="93"/>
                  <a:pt x="37" y="93"/>
                  <a:pt x="37" y="93"/>
                </a:cubicBezTo>
                <a:cubicBezTo>
                  <a:pt x="36" y="93"/>
                  <a:pt x="36" y="93"/>
                  <a:pt x="36" y="93"/>
                </a:cubicBezTo>
                <a:close/>
                <a:moveTo>
                  <a:pt x="16" y="47"/>
                </a:moveTo>
                <a:cubicBezTo>
                  <a:pt x="15" y="48"/>
                  <a:pt x="15" y="48"/>
                  <a:pt x="15" y="48"/>
                </a:cubicBezTo>
                <a:cubicBezTo>
                  <a:pt x="16" y="49"/>
                  <a:pt x="16" y="49"/>
                  <a:pt x="16" y="49"/>
                </a:cubicBezTo>
                <a:cubicBezTo>
                  <a:pt x="16" y="48"/>
                  <a:pt x="16" y="48"/>
                  <a:pt x="16" y="48"/>
                </a:cubicBezTo>
                <a:cubicBezTo>
                  <a:pt x="16" y="47"/>
                  <a:pt x="16" y="47"/>
                  <a:pt x="16" y="47"/>
                </a:cubicBezTo>
                <a:close/>
                <a:moveTo>
                  <a:pt x="10" y="46"/>
                </a:moveTo>
                <a:cubicBezTo>
                  <a:pt x="10" y="45"/>
                  <a:pt x="10" y="45"/>
                  <a:pt x="10" y="45"/>
                </a:cubicBezTo>
                <a:cubicBezTo>
                  <a:pt x="10" y="46"/>
                  <a:pt x="10" y="46"/>
                  <a:pt x="10" y="46"/>
                </a:cubicBezTo>
                <a:cubicBezTo>
                  <a:pt x="10" y="46"/>
                  <a:pt x="10" y="46"/>
                  <a:pt x="10" y="46"/>
                </a:cubicBezTo>
                <a:close/>
                <a:moveTo>
                  <a:pt x="6" y="42"/>
                </a:moveTo>
                <a:cubicBezTo>
                  <a:pt x="6" y="41"/>
                  <a:pt x="6" y="41"/>
                  <a:pt x="6" y="41"/>
                </a:cubicBezTo>
                <a:cubicBezTo>
                  <a:pt x="7" y="41"/>
                  <a:pt x="7" y="41"/>
                  <a:pt x="7" y="41"/>
                </a:cubicBezTo>
                <a:cubicBezTo>
                  <a:pt x="6" y="42"/>
                  <a:pt x="6" y="42"/>
                  <a:pt x="6" y="42"/>
                </a:cubicBezTo>
                <a:close/>
                <a:moveTo>
                  <a:pt x="8" y="41"/>
                </a:moveTo>
                <a:cubicBezTo>
                  <a:pt x="9" y="40"/>
                  <a:pt x="9" y="40"/>
                  <a:pt x="9" y="40"/>
                </a:cubicBezTo>
                <a:cubicBezTo>
                  <a:pt x="9" y="41"/>
                  <a:pt x="9" y="41"/>
                  <a:pt x="9" y="41"/>
                </a:cubicBezTo>
                <a:cubicBezTo>
                  <a:pt x="8" y="41"/>
                  <a:pt x="8" y="41"/>
                  <a:pt x="8" y="41"/>
                </a:cubicBezTo>
                <a:close/>
                <a:moveTo>
                  <a:pt x="10" y="39"/>
                </a:moveTo>
                <a:cubicBezTo>
                  <a:pt x="11" y="38"/>
                  <a:pt x="11" y="38"/>
                  <a:pt x="11" y="38"/>
                </a:cubicBezTo>
                <a:cubicBezTo>
                  <a:pt x="10" y="38"/>
                  <a:pt x="10" y="38"/>
                  <a:pt x="10" y="38"/>
                </a:cubicBezTo>
                <a:cubicBezTo>
                  <a:pt x="10" y="39"/>
                  <a:pt x="10" y="39"/>
                  <a:pt x="10" y="39"/>
                </a:cubicBezTo>
                <a:close/>
                <a:moveTo>
                  <a:pt x="9" y="37"/>
                </a:moveTo>
                <a:cubicBezTo>
                  <a:pt x="10" y="38"/>
                  <a:pt x="10" y="38"/>
                  <a:pt x="10" y="38"/>
                </a:cubicBezTo>
                <a:cubicBezTo>
                  <a:pt x="10" y="38"/>
                  <a:pt x="10" y="38"/>
                  <a:pt x="10" y="38"/>
                </a:cubicBezTo>
                <a:cubicBezTo>
                  <a:pt x="10" y="37"/>
                  <a:pt x="10" y="37"/>
                  <a:pt x="10" y="37"/>
                </a:cubicBezTo>
                <a:cubicBezTo>
                  <a:pt x="9" y="37"/>
                  <a:pt x="9" y="37"/>
                  <a:pt x="9" y="37"/>
                </a:cubicBezTo>
                <a:close/>
                <a:moveTo>
                  <a:pt x="25" y="18"/>
                </a:moveTo>
                <a:cubicBezTo>
                  <a:pt x="26" y="19"/>
                  <a:pt x="26" y="19"/>
                  <a:pt x="26" y="19"/>
                </a:cubicBezTo>
                <a:cubicBezTo>
                  <a:pt x="26" y="18"/>
                  <a:pt x="26" y="18"/>
                  <a:pt x="26" y="18"/>
                </a:cubicBezTo>
                <a:cubicBezTo>
                  <a:pt x="25" y="18"/>
                  <a:pt x="25" y="18"/>
                  <a:pt x="25" y="18"/>
                </a:cubicBezTo>
                <a:close/>
                <a:moveTo>
                  <a:pt x="24" y="19"/>
                </a:moveTo>
                <a:cubicBezTo>
                  <a:pt x="25" y="19"/>
                  <a:pt x="25" y="19"/>
                  <a:pt x="25" y="19"/>
                </a:cubicBezTo>
                <a:cubicBezTo>
                  <a:pt x="26" y="19"/>
                  <a:pt x="26" y="19"/>
                  <a:pt x="26" y="19"/>
                </a:cubicBezTo>
                <a:cubicBezTo>
                  <a:pt x="25" y="20"/>
                  <a:pt x="25" y="20"/>
                  <a:pt x="25" y="20"/>
                </a:cubicBezTo>
                <a:cubicBezTo>
                  <a:pt x="27" y="20"/>
                  <a:pt x="27" y="20"/>
                  <a:pt x="27" y="20"/>
                </a:cubicBezTo>
                <a:cubicBezTo>
                  <a:pt x="27" y="21"/>
                  <a:pt x="27" y="21"/>
                  <a:pt x="27" y="21"/>
                </a:cubicBezTo>
                <a:cubicBezTo>
                  <a:pt x="26" y="20"/>
                  <a:pt x="26" y="20"/>
                  <a:pt x="26" y="20"/>
                </a:cubicBezTo>
                <a:cubicBezTo>
                  <a:pt x="25" y="20"/>
                  <a:pt x="25" y="20"/>
                  <a:pt x="25" y="20"/>
                </a:cubicBezTo>
                <a:cubicBezTo>
                  <a:pt x="25" y="20"/>
                  <a:pt x="25" y="20"/>
                  <a:pt x="25" y="20"/>
                </a:cubicBezTo>
                <a:cubicBezTo>
                  <a:pt x="25" y="20"/>
                  <a:pt x="25" y="20"/>
                  <a:pt x="25" y="20"/>
                </a:cubicBezTo>
                <a:cubicBezTo>
                  <a:pt x="24" y="20"/>
                  <a:pt x="24" y="20"/>
                  <a:pt x="24" y="20"/>
                </a:cubicBezTo>
                <a:cubicBezTo>
                  <a:pt x="24" y="19"/>
                  <a:pt x="24" y="19"/>
                  <a:pt x="24" y="19"/>
                </a:cubicBezTo>
                <a:close/>
                <a:moveTo>
                  <a:pt x="24" y="21"/>
                </a:moveTo>
                <a:cubicBezTo>
                  <a:pt x="25" y="22"/>
                  <a:pt x="25" y="22"/>
                  <a:pt x="25" y="22"/>
                </a:cubicBezTo>
                <a:cubicBezTo>
                  <a:pt x="25" y="21"/>
                  <a:pt x="25" y="21"/>
                  <a:pt x="25" y="21"/>
                </a:cubicBezTo>
                <a:cubicBezTo>
                  <a:pt x="25" y="21"/>
                  <a:pt x="25" y="21"/>
                  <a:pt x="25" y="21"/>
                </a:cubicBezTo>
                <a:cubicBezTo>
                  <a:pt x="24" y="21"/>
                  <a:pt x="24" y="21"/>
                  <a:pt x="24" y="21"/>
                </a:cubicBezTo>
                <a:close/>
                <a:moveTo>
                  <a:pt x="6" y="28"/>
                </a:moveTo>
                <a:cubicBezTo>
                  <a:pt x="7" y="28"/>
                  <a:pt x="7" y="28"/>
                  <a:pt x="7" y="28"/>
                </a:cubicBezTo>
                <a:cubicBezTo>
                  <a:pt x="6" y="27"/>
                  <a:pt x="6" y="27"/>
                  <a:pt x="6" y="27"/>
                </a:cubicBezTo>
                <a:cubicBezTo>
                  <a:pt x="7" y="26"/>
                  <a:pt x="7" y="26"/>
                  <a:pt x="7" y="26"/>
                </a:cubicBezTo>
                <a:cubicBezTo>
                  <a:pt x="8" y="27"/>
                  <a:pt x="8" y="27"/>
                  <a:pt x="8" y="27"/>
                </a:cubicBezTo>
                <a:cubicBezTo>
                  <a:pt x="8" y="26"/>
                  <a:pt x="8" y="26"/>
                  <a:pt x="8" y="26"/>
                </a:cubicBezTo>
                <a:cubicBezTo>
                  <a:pt x="10" y="24"/>
                  <a:pt x="10" y="24"/>
                  <a:pt x="10" y="24"/>
                </a:cubicBezTo>
                <a:cubicBezTo>
                  <a:pt x="11" y="26"/>
                  <a:pt x="11" y="26"/>
                  <a:pt x="11" y="26"/>
                </a:cubicBezTo>
                <a:cubicBezTo>
                  <a:pt x="10" y="27"/>
                  <a:pt x="10" y="27"/>
                  <a:pt x="10" y="27"/>
                </a:cubicBezTo>
                <a:cubicBezTo>
                  <a:pt x="9" y="28"/>
                  <a:pt x="9" y="28"/>
                  <a:pt x="9" y="28"/>
                </a:cubicBezTo>
                <a:cubicBezTo>
                  <a:pt x="10" y="28"/>
                  <a:pt x="10" y="28"/>
                  <a:pt x="10" y="28"/>
                </a:cubicBezTo>
                <a:cubicBezTo>
                  <a:pt x="9" y="29"/>
                  <a:pt x="9" y="29"/>
                  <a:pt x="9" y="29"/>
                </a:cubicBezTo>
                <a:cubicBezTo>
                  <a:pt x="8" y="29"/>
                  <a:pt x="8" y="29"/>
                  <a:pt x="8" y="29"/>
                </a:cubicBezTo>
                <a:cubicBezTo>
                  <a:pt x="7" y="29"/>
                  <a:pt x="7" y="29"/>
                  <a:pt x="7" y="29"/>
                </a:cubicBezTo>
                <a:cubicBezTo>
                  <a:pt x="6" y="28"/>
                  <a:pt x="6" y="28"/>
                  <a:pt x="6" y="28"/>
                </a:cubicBezTo>
                <a:close/>
                <a:moveTo>
                  <a:pt x="6" y="30"/>
                </a:moveTo>
                <a:cubicBezTo>
                  <a:pt x="7" y="31"/>
                  <a:pt x="7" y="31"/>
                  <a:pt x="7" y="31"/>
                </a:cubicBezTo>
                <a:cubicBezTo>
                  <a:pt x="8" y="30"/>
                  <a:pt x="8" y="30"/>
                  <a:pt x="8" y="30"/>
                </a:cubicBezTo>
                <a:cubicBezTo>
                  <a:pt x="7" y="29"/>
                  <a:pt x="7" y="29"/>
                  <a:pt x="7" y="29"/>
                </a:cubicBezTo>
                <a:cubicBezTo>
                  <a:pt x="7" y="29"/>
                  <a:pt x="7" y="29"/>
                  <a:pt x="7" y="29"/>
                </a:cubicBezTo>
                <a:cubicBezTo>
                  <a:pt x="6" y="30"/>
                  <a:pt x="6" y="30"/>
                  <a:pt x="6" y="30"/>
                </a:cubicBezTo>
                <a:cubicBezTo>
                  <a:pt x="6" y="30"/>
                  <a:pt x="6" y="30"/>
                  <a:pt x="6" y="30"/>
                </a:cubicBezTo>
                <a:close/>
                <a:moveTo>
                  <a:pt x="6" y="32"/>
                </a:moveTo>
                <a:cubicBezTo>
                  <a:pt x="5" y="32"/>
                  <a:pt x="5" y="32"/>
                  <a:pt x="5" y="32"/>
                </a:cubicBezTo>
                <a:cubicBezTo>
                  <a:pt x="4" y="32"/>
                  <a:pt x="4" y="32"/>
                  <a:pt x="4" y="32"/>
                </a:cubicBezTo>
                <a:cubicBezTo>
                  <a:pt x="4" y="31"/>
                  <a:pt x="4" y="31"/>
                  <a:pt x="4" y="31"/>
                </a:cubicBezTo>
                <a:cubicBezTo>
                  <a:pt x="6" y="31"/>
                  <a:pt x="6" y="31"/>
                  <a:pt x="6" y="31"/>
                </a:cubicBezTo>
                <a:cubicBezTo>
                  <a:pt x="6" y="32"/>
                  <a:pt x="6" y="32"/>
                  <a:pt x="6" y="32"/>
                </a:cubicBezTo>
                <a:close/>
                <a:moveTo>
                  <a:pt x="5" y="34"/>
                </a:moveTo>
                <a:cubicBezTo>
                  <a:pt x="4" y="33"/>
                  <a:pt x="4" y="33"/>
                  <a:pt x="4" y="33"/>
                </a:cubicBezTo>
                <a:cubicBezTo>
                  <a:pt x="4" y="33"/>
                  <a:pt x="4" y="33"/>
                  <a:pt x="4" y="33"/>
                </a:cubicBezTo>
                <a:cubicBezTo>
                  <a:pt x="5" y="33"/>
                  <a:pt x="5" y="33"/>
                  <a:pt x="5" y="33"/>
                </a:cubicBezTo>
                <a:cubicBezTo>
                  <a:pt x="5" y="34"/>
                  <a:pt x="5" y="34"/>
                  <a:pt x="5" y="34"/>
                </a:cubicBezTo>
                <a:close/>
                <a:moveTo>
                  <a:pt x="4" y="37"/>
                </a:moveTo>
                <a:cubicBezTo>
                  <a:pt x="4" y="37"/>
                  <a:pt x="4" y="37"/>
                  <a:pt x="4" y="37"/>
                </a:cubicBezTo>
                <a:cubicBezTo>
                  <a:pt x="3" y="38"/>
                  <a:pt x="3" y="38"/>
                  <a:pt x="3" y="38"/>
                </a:cubicBezTo>
                <a:cubicBezTo>
                  <a:pt x="3" y="37"/>
                  <a:pt x="3" y="37"/>
                  <a:pt x="3" y="37"/>
                </a:cubicBezTo>
                <a:cubicBezTo>
                  <a:pt x="4" y="37"/>
                  <a:pt x="4" y="37"/>
                  <a:pt x="4" y="37"/>
                </a:cubicBezTo>
                <a:close/>
                <a:moveTo>
                  <a:pt x="5" y="36"/>
                </a:moveTo>
                <a:cubicBezTo>
                  <a:pt x="5" y="35"/>
                  <a:pt x="5" y="35"/>
                  <a:pt x="5" y="35"/>
                </a:cubicBezTo>
                <a:cubicBezTo>
                  <a:pt x="5" y="35"/>
                  <a:pt x="5" y="35"/>
                  <a:pt x="5" y="35"/>
                </a:cubicBezTo>
                <a:cubicBezTo>
                  <a:pt x="5" y="34"/>
                  <a:pt x="5" y="34"/>
                  <a:pt x="5" y="34"/>
                </a:cubicBezTo>
                <a:cubicBezTo>
                  <a:pt x="4" y="34"/>
                  <a:pt x="4" y="34"/>
                  <a:pt x="4" y="34"/>
                </a:cubicBezTo>
                <a:cubicBezTo>
                  <a:pt x="4" y="34"/>
                  <a:pt x="4" y="34"/>
                  <a:pt x="4" y="34"/>
                </a:cubicBezTo>
                <a:cubicBezTo>
                  <a:pt x="4" y="35"/>
                  <a:pt x="4" y="35"/>
                  <a:pt x="4" y="35"/>
                </a:cubicBezTo>
                <a:cubicBezTo>
                  <a:pt x="4" y="36"/>
                  <a:pt x="4" y="36"/>
                  <a:pt x="4" y="36"/>
                </a:cubicBezTo>
                <a:cubicBezTo>
                  <a:pt x="5" y="36"/>
                  <a:pt x="5" y="36"/>
                  <a:pt x="5" y="36"/>
                </a:cubicBezTo>
                <a:close/>
                <a:moveTo>
                  <a:pt x="11" y="37"/>
                </a:moveTo>
                <a:cubicBezTo>
                  <a:pt x="11" y="36"/>
                  <a:pt x="11" y="36"/>
                  <a:pt x="11" y="36"/>
                </a:cubicBezTo>
                <a:cubicBezTo>
                  <a:pt x="10" y="36"/>
                  <a:pt x="10" y="36"/>
                  <a:pt x="10" y="36"/>
                </a:cubicBezTo>
                <a:cubicBezTo>
                  <a:pt x="9" y="34"/>
                  <a:pt x="9" y="34"/>
                  <a:pt x="9" y="34"/>
                </a:cubicBezTo>
                <a:cubicBezTo>
                  <a:pt x="9" y="34"/>
                  <a:pt x="9" y="34"/>
                  <a:pt x="9" y="34"/>
                </a:cubicBezTo>
                <a:cubicBezTo>
                  <a:pt x="9" y="34"/>
                  <a:pt x="9" y="34"/>
                  <a:pt x="9" y="34"/>
                </a:cubicBezTo>
                <a:cubicBezTo>
                  <a:pt x="9" y="34"/>
                  <a:pt x="9" y="34"/>
                  <a:pt x="9" y="34"/>
                </a:cubicBezTo>
                <a:cubicBezTo>
                  <a:pt x="7" y="33"/>
                  <a:pt x="7" y="33"/>
                  <a:pt x="7" y="33"/>
                </a:cubicBezTo>
                <a:cubicBezTo>
                  <a:pt x="8" y="33"/>
                  <a:pt x="8" y="33"/>
                  <a:pt x="8" y="33"/>
                </a:cubicBezTo>
                <a:cubicBezTo>
                  <a:pt x="8" y="33"/>
                  <a:pt x="8" y="33"/>
                  <a:pt x="8" y="33"/>
                </a:cubicBezTo>
                <a:cubicBezTo>
                  <a:pt x="8" y="32"/>
                  <a:pt x="8" y="32"/>
                  <a:pt x="8" y="32"/>
                </a:cubicBezTo>
                <a:cubicBezTo>
                  <a:pt x="10" y="33"/>
                  <a:pt x="10" y="33"/>
                  <a:pt x="10" y="33"/>
                </a:cubicBezTo>
                <a:cubicBezTo>
                  <a:pt x="9" y="32"/>
                  <a:pt x="9" y="32"/>
                  <a:pt x="9" y="32"/>
                </a:cubicBezTo>
                <a:cubicBezTo>
                  <a:pt x="10" y="31"/>
                  <a:pt x="10" y="31"/>
                  <a:pt x="10" y="31"/>
                </a:cubicBezTo>
                <a:cubicBezTo>
                  <a:pt x="11" y="32"/>
                  <a:pt x="11" y="32"/>
                  <a:pt x="11" y="32"/>
                </a:cubicBezTo>
                <a:cubicBezTo>
                  <a:pt x="11" y="34"/>
                  <a:pt x="11" y="34"/>
                  <a:pt x="11" y="34"/>
                </a:cubicBezTo>
                <a:cubicBezTo>
                  <a:pt x="12" y="35"/>
                  <a:pt x="12" y="35"/>
                  <a:pt x="12" y="35"/>
                </a:cubicBezTo>
                <a:cubicBezTo>
                  <a:pt x="12" y="35"/>
                  <a:pt x="12" y="35"/>
                  <a:pt x="12" y="35"/>
                </a:cubicBezTo>
                <a:cubicBezTo>
                  <a:pt x="13" y="35"/>
                  <a:pt x="13" y="35"/>
                  <a:pt x="13" y="35"/>
                </a:cubicBezTo>
                <a:cubicBezTo>
                  <a:pt x="12" y="36"/>
                  <a:pt x="12" y="36"/>
                  <a:pt x="12" y="36"/>
                </a:cubicBezTo>
                <a:cubicBezTo>
                  <a:pt x="12" y="37"/>
                  <a:pt x="12" y="37"/>
                  <a:pt x="12" y="37"/>
                </a:cubicBezTo>
                <a:cubicBezTo>
                  <a:pt x="11" y="37"/>
                  <a:pt x="11" y="37"/>
                  <a:pt x="11" y="37"/>
                </a:cubicBezTo>
                <a:close/>
                <a:moveTo>
                  <a:pt x="9" y="44"/>
                </a:moveTo>
                <a:cubicBezTo>
                  <a:pt x="12" y="43"/>
                  <a:pt x="12" y="43"/>
                  <a:pt x="12" y="43"/>
                </a:cubicBezTo>
                <a:cubicBezTo>
                  <a:pt x="12" y="44"/>
                  <a:pt x="12" y="44"/>
                  <a:pt x="12" y="44"/>
                </a:cubicBezTo>
                <a:cubicBezTo>
                  <a:pt x="13" y="43"/>
                  <a:pt x="13" y="43"/>
                  <a:pt x="13" y="43"/>
                </a:cubicBezTo>
                <a:cubicBezTo>
                  <a:pt x="12" y="42"/>
                  <a:pt x="12" y="42"/>
                  <a:pt x="12" y="42"/>
                </a:cubicBezTo>
                <a:cubicBezTo>
                  <a:pt x="12" y="42"/>
                  <a:pt x="12" y="42"/>
                  <a:pt x="12" y="42"/>
                </a:cubicBezTo>
                <a:cubicBezTo>
                  <a:pt x="11" y="40"/>
                  <a:pt x="11" y="40"/>
                  <a:pt x="11" y="40"/>
                </a:cubicBezTo>
                <a:cubicBezTo>
                  <a:pt x="9" y="41"/>
                  <a:pt x="9" y="41"/>
                  <a:pt x="9" y="41"/>
                </a:cubicBezTo>
                <a:cubicBezTo>
                  <a:pt x="11" y="42"/>
                  <a:pt x="11" y="42"/>
                  <a:pt x="11" y="42"/>
                </a:cubicBezTo>
                <a:cubicBezTo>
                  <a:pt x="10" y="43"/>
                  <a:pt x="10" y="43"/>
                  <a:pt x="10" y="43"/>
                </a:cubicBezTo>
                <a:cubicBezTo>
                  <a:pt x="10" y="43"/>
                  <a:pt x="10" y="43"/>
                  <a:pt x="10" y="43"/>
                </a:cubicBezTo>
                <a:cubicBezTo>
                  <a:pt x="9" y="44"/>
                  <a:pt x="9" y="44"/>
                  <a:pt x="9" y="44"/>
                </a:cubicBezTo>
                <a:close/>
                <a:moveTo>
                  <a:pt x="11" y="48"/>
                </a:moveTo>
                <a:cubicBezTo>
                  <a:pt x="11" y="47"/>
                  <a:pt x="11" y="47"/>
                  <a:pt x="11" y="47"/>
                </a:cubicBezTo>
                <a:cubicBezTo>
                  <a:pt x="13" y="45"/>
                  <a:pt x="13" y="45"/>
                  <a:pt x="13" y="45"/>
                </a:cubicBezTo>
                <a:cubicBezTo>
                  <a:pt x="12" y="47"/>
                  <a:pt x="12" y="47"/>
                  <a:pt x="12" y="47"/>
                </a:cubicBezTo>
                <a:cubicBezTo>
                  <a:pt x="11" y="48"/>
                  <a:pt x="11" y="48"/>
                  <a:pt x="11" y="48"/>
                </a:cubicBezTo>
                <a:close/>
                <a:moveTo>
                  <a:pt x="9" y="50"/>
                </a:moveTo>
                <a:cubicBezTo>
                  <a:pt x="11" y="49"/>
                  <a:pt x="11" y="49"/>
                  <a:pt x="11" y="49"/>
                </a:cubicBezTo>
                <a:cubicBezTo>
                  <a:pt x="10" y="47"/>
                  <a:pt x="10" y="47"/>
                  <a:pt x="10" y="47"/>
                </a:cubicBezTo>
                <a:cubicBezTo>
                  <a:pt x="8" y="48"/>
                  <a:pt x="8" y="48"/>
                  <a:pt x="8" y="48"/>
                </a:cubicBezTo>
                <a:cubicBezTo>
                  <a:pt x="8" y="49"/>
                  <a:pt x="8" y="49"/>
                  <a:pt x="8" y="49"/>
                </a:cubicBezTo>
                <a:cubicBezTo>
                  <a:pt x="10" y="48"/>
                  <a:pt x="10" y="48"/>
                  <a:pt x="10" y="48"/>
                </a:cubicBezTo>
                <a:cubicBezTo>
                  <a:pt x="9" y="50"/>
                  <a:pt x="9" y="50"/>
                  <a:pt x="9" y="50"/>
                </a:cubicBezTo>
                <a:close/>
                <a:moveTo>
                  <a:pt x="14" y="49"/>
                </a:moveTo>
                <a:cubicBezTo>
                  <a:pt x="14" y="51"/>
                  <a:pt x="14" y="51"/>
                  <a:pt x="14" y="51"/>
                </a:cubicBezTo>
                <a:cubicBezTo>
                  <a:pt x="16" y="52"/>
                  <a:pt x="16" y="52"/>
                  <a:pt x="16" y="52"/>
                </a:cubicBezTo>
                <a:cubicBezTo>
                  <a:pt x="16" y="50"/>
                  <a:pt x="16" y="50"/>
                  <a:pt x="16" y="50"/>
                </a:cubicBezTo>
                <a:cubicBezTo>
                  <a:pt x="15" y="49"/>
                  <a:pt x="15" y="49"/>
                  <a:pt x="15" y="49"/>
                </a:cubicBezTo>
                <a:cubicBezTo>
                  <a:pt x="14" y="49"/>
                  <a:pt x="14" y="49"/>
                  <a:pt x="14" y="49"/>
                </a:cubicBezTo>
                <a:close/>
                <a:moveTo>
                  <a:pt x="18" y="70"/>
                </a:moveTo>
                <a:cubicBezTo>
                  <a:pt x="20" y="71"/>
                  <a:pt x="20" y="71"/>
                  <a:pt x="20" y="71"/>
                </a:cubicBezTo>
                <a:cubicBezTo>
                  <a:pt x="21" y="70"/>
                  <a:pt x="21" y="70"/>
                  <a:pt x="21" y="70"/>
                </a:cubicBezTo>
                <a:cubicBezTo>
                  <a:pt x="20" y="70"/>
                  <a:pt x="20" y="70"/>
                  <a:pt x="20" y="70"/>
                </a:cubicBezTo>
                <a:cubicBezTo>
                  <a:pt x="20" y="69"/>
                  <a:pt x="20" y="69"/>
                  <a:pt x="20" y="69"/>
                </a:cubicBezTo>
                <a:cubicBezTo>
                  <a:pt x="19" y="69"/>
                  <a:pt x="19" y="69"/>
                  <a:pt x="19" y="69"/>
                </a:cubicBezTo>
                <a:cubicBezTo>
                  <a:pt x="19" y="69"/>
                  <a:pt x="18" y="70"/>
                  <a:pt x="18" y="70"/>
                </a:cubicBezTo>
                <a:close/>
                <a:moveTo>
                  <a:pt x="17" y="63"/>
                </a:moveTo>
                <a:cubicBezTo>
                  <a:pt x="17" y="62"/>
                  <a:pt x="17" y="62"/>
                  <a:pt x="17" y="62"/>
                </a:cubicBezTo>
                <a:cubicBezTo>
                  <a:pt x="20" y="60"/>
                  <a:pt x="20" y="60"/>
                  <a:pt x="20" y="60"/>
                </a:cubicBezTo>
                <a:cubicBezTo>
                  <a:pt x="19" y="61"/>
                  <a:pt x="19" y="61"/>
                  <a:pt x="19" y="61"/>
                </a:cubicBezTo>
                <a:cubicBezTo>
                  <a:pt x="20" y="62"/>
                  <a:pt x="20" y="62"/>
                  <a:pt x="20" y="62"/>
                </a:cubicBezTo>
                <a:cubicBezTo>
                  <a:pt x="18" y="63"/>
                  <a:pt x="18" y="63"/>
                  <a:pt x="18" y="63"/>
                </a:cubicBezTo>
                <a:cubicBezTo>
                  <a:pt x="17" y="63"/>
                  <a:pt x="17" y="63"/>
                  <a:pt x="17" y="63"/>
                </a:cubicBezTo>
                <a:close/>
                <a:moveTo>
                  <a:pt x="15" y="99"/>
                </a:moveTo>
                <a:cubicBezTo>
                  <a:pt x="15" y="98"/>
                  <a:pt x="15" y="98"/>
                  <a:pt x="15" y="98"/>
                </a:cubicBezTo>
                <a:cubicBezTo>
                  <a:pt x="15" y="98"/>
                  <a:pt x="15" y="98"/>
                  <a:pt x="15" y="98"/>
                </a:cubicBezTo>
                <a:cubicBezTo>
                  <a:pt x="16" y="97"/>
                  <a:pt x="16" y="97"/>
                  <a:pt x="16" y="97"/>
                </a:cubicBezTo>
                <a:cubicBezTo>
                  <a:pt x="16" y="98"/>
                  <a:pt x="16" y="98"/>
                  <a:pt x="16" y="98"/>
                </a:cubicBezTo>
                <a:cubicBezTo>
                  <a:pt x="17" y="97"/>
                  <a:pt x="17" y="97"/>
                  <a:pt x="17" y="97"/>
                </a:cubicBezTo>
                <a:cubicBezTo>
                  <a:pt x="17" y="97"/>
                  <a:pt x="17" y="97"/>
                  <a:pt x="17" y="97"/>
                </a:cubicBezTo>
                <a:cubicBezTo>
                  <a:pt x="18" y="96"/>
                  <a:pt x="18" y="96"/>
                  <a:pt x="18" y="96"/>
                </a:cubicBezTo>
                <a:cubicBezTo>
                  <a:pt x="19" y="96"/>
                  <a:pt x="19" y="96"/>
                  <a:pt x="19" y="96"/>
                </a:cubicBezTo>
                <a:cubicBezTo>
                  <a:pt x="20" y="96"/>
                  <a:pt x="20" y="96"/>
                  <a:pt x="20" y="96"/>
                </a:cubicBezTo>
                <a:cubicBezTo>
                  <a:pt x="20" y="96"/>
                  <a:pt x="20" y="96"/>
                  <a:pt x="20" y="96"/>
                </a:cubicBezTo>
                <a:cubicBezTo>
                  <a:pt x="21" y="96"/>
                  <a:pt x="21" y="96"/>
                  <a:pt x="21" y="96"/>
                </a:cubicBezTo>
                <a:cubicBezTo>
                  <a:pt x="21" y="96"/>
                  <a:pt x="21" y="96"/>
                  <a:pt x="21" y="96"/>
                </a:cubicBezTo>
                <a:cubicBezTo>
                  <a:pt x="22" y="96"/>
                  <a:pt x="22" y="96"/>
                  <a:pt x="22" y="96"/>
                </a:cubicBezTo>
                <a:cubicBezTo>
                  <a:pt x="23" y="97"/>
                  <a:pt x="23" y="97"/>
                  <a:pt x="23" y="97"/>
                </a:cubicBezTo>
                <a:cubicBezTo>
                  <a:pt x="24" y="97"/>
                  <a:pt x="24" y="97"/>
                  <a:pt x="24" y="97"/>
                </a:cubicBezTo>
                <a:cubicBezTo>
                  <a:pt x="24" y="96"/>
                  <a:pt x="24" y="96"/>
                  <a:pt x="24" y="96"/>
                </a:cubicBezTo>
                <a:cubicBezTo>
                  <a:pt x="25" y="96"/>
                  <a:pt x="25" y="96"/>
                  <a:pt x="25" y="96"/>
                </a:cubicBezTo>
                <a:cubicBezTo>
                  <a:pt x="25" y="95"/>
                  <a:pt x="25" y="95"/>
                  <a:pt x="25" y="95"/>
                </a:cubicBezTo>
                <a:cubicBezTo>
                  <a:pt x="25" y="94"/>
                  <a:pt x="25" y="94"/>
                  <a:pt x="25" y="94"/>
                </a:cubicBezTo>
                <a:cubicBezTo>
                  <a:pt x="25" y="94"/>
                  <a:pt x="25" y="94"/>
                  <a:pt x="25" y="94"/>
                </a:cubicBezTo>
                <a:cubicBezTo>
                  <a:pt x="26" y="93"/>
                  <a:pt x="26" y="93"/>
                  <a:pt x="26" y="93"/>
                </a:cubicBezTo>
                <a:cubicBezTo>
                  <a:pt x="26" y="93"/>
                  <a:pt x="26" y="93"/>
                  <a:pt x="26" y="93"/>
                </a:cubicBezTo>
                <a:cubicBezTo>
                  <a:pt x="28" y="93"/>
                  <a:pt x="28" y="93"/>
                  <a:pt x="28" y="93"/>
                </a:cubicBezTo>
                <a:cubicBezTo>
                  <a:pt x="29" y="93"/>
                  <a:pt x="29" y="93"/>
                  <a:pt x="29" y="93"/>
                </a:cubicBezTo>
                <a:cubicBezTo>
                  <a:pt x="31" y="94"/>
                  <a:pt x="31" y="94"/>
                  <a:pt x="31" y="94"/>
                </a:cubicBezTo>
                <a:cubicBezTo>
                  <a:pt x="31" y="93"/>
                  <a:pt x="31" y="93"/>
                  <a:pt x="31" y="93"/>
                </a:cubicBezTo>
                <a:cubicBezTo>
                  <a:pt x="33" y="93"/>
                  <a:pt x="33" y="93"/>
                  <a:pt x="33" y="93"/>
                </a:cubicBezTo>
                <a:cubicBezTo>
                  <a:pt x="34" y="94"/>
                  <a:pt x="34" y="94"/>
                  <a:pt x="34" y="94"/>
                </a:cubicBezTo>
                <a:cubicBezTo>
                  <a:pt x="34" y="93"/>
                  <a:pt x="34" y="93"/>
                  <a:pt x="34" y="93"/>
                </a:cubicBezTo>
                <a:cubicBezTo>
                  <a:pt x="35" y="92"/>
                  <a:pt x="35" y="92"/>
                  <a:pt x="35" y="92"/>
                </a:cubicBezTo>
                <a:cubicBezTo>
                  <a:pt x="36" y="92"/>
                  <a:pt x="36" y="92"/>
                  <a:pt x="36" y="92"/>
                </a:cubicBezTo>
                <a:cubicBezTo>
                  <a:pt x="37" y="91"/>
                  <a:pt x="37" y="91"/>
                  <a:pt x="37" y="91"/>
                </a:cubicBezTo>
                <a:cubicBezTo>
                  <a:pt x="38" y="92"/>
                  <a:pt x="38" y="92"/>
                  <a:pt x="38" y="92"/>
                </a:cubicBezTo>
                <a:cubicBezTo>
                  <a:pt x="39" y="92"/>
                  <a:pt x="39" y="92"/>
                  <a:pt x="39" y="92"/>
                </a:cubicBezTo>
                <a:cubicBezTo>
                  <a:pt x="40" y="91"/>
                  <a:pt x="40" y="91"/>
                  <a:pt x="40" y="91"/>
                </a:cubicBezTo>
                <a:cubicBezTo>
                  <a:pt x="40" y="92"/>
                  <a:pt x="40" y="92"/>
                  <a:pt x="40" y="92"/>
                </a:cubicBezTo>
                <a:cubicBezTo>
                  <a:pt x="40" y="92"/>
                  <a:pt x="40" y="92"/>
                  <a:pt x="40" y="92"/>
                </a:cubicBezTo>
                <a:cubicBezTo>
                  <a:pt x="41" y="91"/>
                  <a:pt x="41" y="91"/>
                  <a:pt x="41" y="91"/>
                </a:cubicBezTo>
                <a:cubicBezTo>
                  <a:pt x="43" y="91"/>
                  <a:pt x="43" y="91"/>
                  <a:pt x="43" y="91"/>
                </a:cubicBezTo>
                <a:cubicBezTo>
                  <a:pt x="45" y="91"/>
                  <a:pt x="45" y="91"/>
                  <a:pt x="45" y="91"/>
                </a:cubicBezTo>
                <a:cubicBezTo>
                  <a:pt x="46" y="92"/>
                  <a:pt x="46" y="92"/>
                  <a:pt x="46" y="92"/>
                </a:cubicBezTo>
                <a:cubicBezTo>
                  <a:pt x="47" y="92"/>
                  <a:pt x="47" y="92"/>
                  <a:pt x="47" y="92"/>
                </a:cubicBezTo>
                <a:cubicBezTo>
                  <a:pt x="47" y="91"/>
                  <a:pt x="47" y="91"/>
                  <a:pt x="47" y="91"/>
                </a:cubicBezTo>
                <a:cubicBezTo>
                  <a:pt x="49" y="91"/>
                  <a:pt x="49" y="91"/>
                  <a:pt x="49" y="91"/>
                </a:cubicBezTo>
                <a:cubicBezTo>
                  <a:pt x="49" y="90"/>
                  <a:pt x="49" y="90"/>
                  <a:pt x="49" y="90"/>
                </a:cubicBezTo>
                <a:cubicBezTo>
                  <a:pt x="50" y="90"/>
                  <a:pt x="50" y="90"/>
                  <a:pt x="50" y="90"/>
                </a:cubicBezTo>
                <a:cubicBezTo>
                  <a:pt x="51" y="90"/>
                  <a:pt x="51" y="90"/>
                  <a:pt x="51" y="90"/>
                </a:cubicBezTo>
                <a:cubicBezTo>
                  <a:pt x="51" y="89"/>
                  <a:pt x="51" y="89"/>
                  <a:pt x="51" y="89"/>
                </a:cubicBezTo>
                <a:cubicBezTo>
                  <a:pt x="52" y="88"/>
                  <a:pt x="52" y="88"/>
                  <a:pt x="52" y="88"/>
                </a:cubicBezTo>
                <a:cubicBezTo>
                  <a:pt x="53" y="88"/>
                  <a:pt x="53" y="88"/>
                  <a:pt x="53" y="88"/>
                </a:cubicBezTo>
                <a:cubicBezTo>
                  <a:pt x="53" y="87"/>
                  <a:pt x="53" y="87"/>
                  <a:pt x="53" y="87"/>
                </a:cubicBezTo>
                <a:cubicBezTo>
                  <a:pt x="53" y="87"/>
                  <a:pt x="53" y="87"/>
                  <a:pt x="53" y="87"/>
                </a:cubicBezTo>
                <a:cubicBezTo>
                  <a:pt x="53" y="86"/>
                  <a:pt x="53" y="86"/>
                  <a:pt x="53" y="86"/>
                </a:cubicBezTo>
                <a:cubicBezTo>
                  <a:pt x="51" y="86"/>
                  <a:pt x="51" y="86"/>
                  <a:pt x="51" y="86"/>
                </a:cubicBezTo>
                <a:cubicBezTo>
                  <a:pt x="50" y="86"/>
                  <a:pt x="50" y="86"/>
                  <a:pt x="50" y="86"/>
                </a:cubicBezTo>
                <a:cubicBezTo>
                  <a:pt x="50" y="86"/>
                  <a:pt x="50" y="86"/>
                  <a:pt x="50" y="86"/>
                </a:cubicBezTo>
                <a:cubicBezTo>
                  <a:pt x="48" y="86"/>
                  <a:pt x="48" y="86"/>
                  <a:pt x="48" y="86"/>
                </a:cubicBezTo>
                <a:cubicBezTo>
                  <a:pt x="48" y="86"/>
                  <a:pt x="48" y="86"/>
                  <a:pt x="48" y="86"/>
                </a:cubicBezTo>
                <a:cubicBezTo>
                  <a:pt x="48" y="86"/>
                  <a:pt x="48" y="86"/>
                  <a:pt x="48" y="86"/>
                </a:cubicBezTo>
                <a:cubicBezTo>
                  <a:pt x="49" y="85"/>
                  <a:pt x="49" y="85"/>
                  <a:pt x="49" y="85"/>
                </a:cubicBezTo>
                <a:cubicBezTo>
                  <a:pt x="49" y="85"/>
                  <a:pt x="49" y="85"/>
                  <a:pt x="49" y="85"/>
                </a:cubicBezTo>
                <a:cubicBezTo>
                  <a:pt x="48" y="85"/>
                  <a:pt x="48" y="85"/>
                  <a:pt x="48" y="85"/>
                </a:cubicBezTo>
                <a:cubicBezTo>
                  <a:pt x="47" y="85"/>
                  <a:pt x="47" y="85"/>
                  <a:pt x="47" y="85"/>
                </a:cubicBezTo>
                <a:cubicBezTo>
                  <a:pt x="48" y="84"/>
                  <a:pt x="48" y="84"/>
                  <a:pt x="48" y="84"/>
                </a:cubicBezTo>
                <a:cubicBezTo>
                  <a:pt x="49" y="85"/>
                  <a:pt x="49" y="85"/>
                  <a:pt x="49" y="85"/>
                </a:cubicBezTo>
                <a:cubicBezTo>
                  <a:pt x="50" y="84"/>
                  <a:pt x="50" y="84"/>
                  <a:pt x="50" y="84"/>
                </a:cubicBezTo>
                <a:cubicBezTo>
                  <a:pt x="50" y="83"/>
                  <a:pt x="50" y="83"/>
                  <a:pt x="50" y="83"/>
                </a:cubicBezTo>
                <a:cubicBezTo>
                  <a:pt x="49" y="83"/>
                  <a:pt x="49" y="83"/>
                  <a:pt x="49" y="83"/>
                </a:cubicBezTo>
                <a:cubicBezTo>
                  <a:pt x="49" y="83"/>
                  <a:pt x="49" y="83"/>
                  <a:pt x="49" y="83"/>
                </a:cubicBezTo>
                <a:cubicBezTo>
                  <a:pt x="50" y="82"/>
                  <a:pt x="50" y="82"/>
                  <a:pt x="50" y="82"/>
                </a:cubicBezTo>
                <a:cubicBezTo>
                  <a:pt x="51" y="83"/>
                  <a:pt x="51" y="83"/>
                  <a:pt x="51" y="83"/>
                </a:cubicBezTo>
                <a:cubicBezTo>
                  <a:pt x="51" y="82"/>
                  <a:pt x="51" y="82"/>
                  <a:pt x="51" y="82"/>
                </a:cubicBezTo>
                <a:cubicBezTo>
                  <a:pt x="52" y="81"/>
                  <a:pt x="52" y="81"/>
                  <a:pt x="52" y="81"/>
                </a:cubicBezTo>
                <a:cubicBezTo>
                  <a:pt x="51" y="81"/>
                  <a:pt x="51" y="81"/>
                  <a:pt x="51" y="81"/>
                </a:cubicBezTo>
                <a:cubicBezTo>
                  <a:pt x="52" y="81"/>
                  <a:pt x="52" y="81"/>
                  <a:pt x="52" y="81"/>
                </a:cubicBezTo>
                <a:cubicBezTo>
                  <a:pt x="51" y="81"/>
                  <a:pt x="51" y="81"/>
                  <a:pt x="51" y="81"/>
                </a:cubicBezTo>
                <a:cubicBezTo>
                  <a:pt x="51" y="80"/>
                  <a:pt x="51" y="80"/>
                  <a:pt x="51" y="80"/>
                </a:cubicBezTo>
                <a:cubicBezTo>
                  <a:pt x="52" y="80"/>
                  <a:pt x="52" y="80"/>
                  <a:pt x="52" y="80"/>
                </a:cubicBezTo>
                <a:cubicBezTo>
                  <a:pt x="52" y="81"/>
                  <a:pt x="52" y="81"/>
                  <a:pt x="52" y="81"/>
                </a:cubicBezTo>
                <a:cubicBezTo>
                  <a:pt x="53" y="80"/>
                  <a:pt x="53" y="80"/>
                  <a:pt x="53" y="80"/>
                </a:cubicBezTo>
                <a:cubicBezTo>
                  <a:pt x="53" y="80"/>
                  <a:pt x="53" y="80"/>
                  <a:pt x="53" y="80"/>
                </a:cubicBezTo>
                <a:cubicBezTo>
                  <a:pt x="53" y="78"/>
                  <a:pt x="53" y="78"/>
                  <a:pt x="53" y="78"/>
                </a:cubicBezTo>
                <a:cubicBezTo>
                  <a:pt x="54" y="76"/>
                  <a:pt x="54" y="76"/>
                  <a:pt x="54" y="76"/>
                </a:cubicBezTo>
                <a:cubicBezTo>
                  <a:pt x="54" y="75"/>
                  <a:pt x="54" y="75"/>
                  <a:pt x="54" y="75"/>
                </a:cubicBezTo>
                <a:cubicBezTo>
                  <a:pt x="53" y="74"/>
                  <a:pt x="53" y="74"/>
                  <a:pt x="53" y="74"/>
                </a:cubicBezTo>
                <a:cubicBezTo>
                  <a:pt x="51" y="72"/>
                  <a:pt x="51" y="72"/>
                  <a:pt x="51" y="72"/>
                </a:cubicBezTo>
                <a:cubicBezTo>
                  <a:pt x="48" y="72"/>
                  <a:pt x="48" y="72"/>
                  <a:pt x="48" y="72"/>
                </a:cubicBezTo>
                <a:cubicBezTo>
                  <a:pt x="46" y="72"/>
                  <a:pt x="46" y="72"/>
                  <a:pt x="46" y="72"/>
                </a:cubicBezTo>
                <a:cubicBezTo>
                  <a:pt x="46" y="73"/>
                  <a:pt x="46" y="73"/>
                  <a:pt x="46" y="73"/>
                </a:cubicBezTo>
                <a:cubicBezTo>
                  <a:pt x="46" y="74"/>
                  <a:pt x="46" y="74"/>
                  <a:pt x="46" y="74"/>
                </a:cubicBezTo>
                <a:cubicBezTo>
                  <a:pt x="45" y="73"/>
                  <a:pt x="45" y="73"/>
                  <a:pt x="45" y="73"/>
                </a:cubicBezTo>
                <a:cubicBezTo>
                  <a:pt x="44" y="73"/>
                  <a:pt x="44" y="73"/>
                  <a:pt x="44" y="73"/>
                </a:cubicBezTo>
                <a:cubicBezTo>
                  <a:pt x="46" y="71"/>
                  <a:pt x="46" y="71"/>
                  <a:pt x="46" y="71"/>
                </a:cubicBezTo>
                <a:cubicBezTo>
                  <a:pt x="46" y="70"/>
                  <a:pt x="46" y="70"/>
                  <a:pt x="46" y="70"/>
                </a:cubicBezTo>
                <a:cubicBezTo>
                  <a:pt x="44" y="68"/>
                  <a:pt x="44" y="68"/>
                  <a:pt x="44" y="68"/>
                </a:cubicBezTo>
                <a:cubicBezTo>
                  <a:pt x="44" y="68"/>
                  <a:pt x="44" y="68"/>
                  <a:pt x="44" y="68"/>
                </a:cubicBezTo>
                <a:cubicBezTo>
                  <a:pt x="42" y="67"/>
                  <a:pt x="42" y="67"/>
                  <a:pt x="42" y="67"/>
                </a:cubicBezTo>
                <a:cubicBezTo>
                  <a:pt x="42" y="66"/>
                  <a:pt x="42" y="66"/>
                  <a:pt x="42" y="66"/>
                </a:cubicBezTo>
                <a:cubicBezTo>
                  <a:pt x="41" y="66"/>
                  <a:pt x="41" y="66"/>
                  <a:pt x="41" y="66"/>
                </a:cubicBezTo>
                <a:cubicBezTo>
                  <a:pt x="41" y="66"/>
                  <a:pt x="41" y="66"/>
                  <a:pt x="41" y="66"/>
                </a:cubicBezTo>
                <a:cubicBezTo>
                  <a:pt x="40" y="66"/>
                  <a:pt x="40" y="66"/>
                  <a:pt x="40" y="66"/>
                </a:cubicBezTo>
                <a:cubicBezTo>
                  <a:pt x="39" y="66"/>
                  <a:pt x="39" y="66"/>
                  <a:pt x="39" y="66"/>
                </a:cubicBezTo>
                <a:cubicBezTo>
                  <a:pt x="40" y="66"/>
                  <a:pt x="40" y="66"/>
                  <a:pt x="40" y="66"/>
                </a:cubicBezTo>
                <a:cubicBezTo>
                  <a:pt x="41" y="66"/>
                  <a:pt x="41" y="66"/>
                  <a:pt x="41" y="66"/>
                </a:cubicBezTo>
                <a:cubicBezTo>
                  <a:pt x="42" y="66"/>
                  <a:pt x="42" y="66"/>
                  <a:pt x="42" y="66"/>
                </a:cubicBezTo>
                <a:cubicBezTo>
                  <a:pt x="42" y="66"/>
                  <a:pt x="42" y="66"/>
                  <a:pt x="42" y="66"/>
                </a:cubicBezTo>
                <a:cubicBezTo>
                  <a:pt x="43" y="66"/>
                  <a:pt x="43" y="66"/>
                  <a:pt x="43" y="66"/>
                </a:cubicBezTo>
                <a:cubicBezTo>
                  <a:pt x="43" y="66"/>
                  <a:pt x="43" y="66"/>
                  <a:pt x="43" y="66"/>
                </a:cubicBezTo>
                <a:cubicBezTo>
                  <a:pt x="44" y="66"/>
                  <a:pt x="44" y="66"/>
                  <a:pt x="44" y="66"/>
                </a:cubicBezTo>
                <a:cubicBezTo>
                  <a:pt x="42" y="64"/>
                  <a:pt x="42" y="64"/>
                  <a:pt x="42" y="64"/>
                </a:cubicBezTo>
                <a:cubicBezTo>
                  <a:pt x="42" y="63"/>
                  <a:pt x="42" y="63"/>
                  <a:pt x="42" y="63"/>
                </a:cubicBezTo>
                <a:cubicBezTo>
                  <a:pt x="42" y="63"/>
                  <a:pt x="42" y="63"/>
                  <a:pt x="42" y="63"/>
                </a:cubicBezTo>
                <a:cubicBezTo>
                  <a:pt x="43" y="62"/>
                  <a:pt x="43" y="62"/>
                  <a:pt x="43" y="62"/>
                </a:cubicBezTo>
                <a:cubicBezTo>
                  <a:pt x="42" y="62"/>
                  <a:pt x="42" y="62"/>
                  <a:pt x="42" y="62"/>
                </a:cubicBezTo>
                <a:cubicBezTo>
                  <a:pt x="41" y="61"/>
                  <a:pt x="41" y="61"/>
                  <a:pt x="41" y="61"/>
                </a:cubicBezTo>
                <a:cubicBezTo>
                  <a:pt x="41" y="61"/>
                  <a:pt x="41" y="61"/>
                  <a:pt x="41" y="61"/>
                </a:cubicBezTo>
                <a:cubicBezTo>
                  <a:pt x="40" y="59"/>
                  <a:pt x="40" y="59"/>
                  <a:pt x="40" y="59"/>
                </a:cubicBezTo>
                <a:cubicBezTo>
                  <a:pt x="39" y="59"/>
                  <a:pt x="39" y="59"/>
                  <a:pt x="39" y="59"/>
                </a:cubicBezTo>
                <a:cubicBezTo>
                  <a:pt x="36" y="58"/>
                  <a:pt x="36" y="58"/>
                  <a:pt x="36" y="58"/>
                </a:cubicBezTo>
                <a:cubicBezTo>
                  <a:pt x="36" y="57"/>
                  <a:pt x="36" y="57"/>
                  <a:pt x="36" y="57"/>
                </a:cubicBezTo>
                <a:cubicBezTo>
                  <a:pt x="36" y="57"/>
                  <a:pt x="36" y="57"/>
                  <a:pt x="36" y="57"/>
                </a:cubicBezTo>
                <a:cubicBezTo>
                  <a:pt x="35" y="55"/>
                  <a:pt x="35" y="55"/>
                  <a:pt x="35" y="55"/>
                </a:cubicBezTo>
                <a:cubicBezTo>
                  <a:pt x="34" y="54"/>
                  <a:pt x="34" y="54"/>
                  <a:pt x="34" y="54"/>
                </a:cubicBezTo>
                <a:cubicBezTo>
                  <a:pt x="34" y="51"/>
                  <a:pt x="34" y="51"/>
                  <a:pt x="34" y="51"/>
                </a:cubicBezTo>
                <a:cubicBezTo>
                  <a:pt x="33" y="50"/>
                  <a:pt x="33" y="50"/>
                  <a:pt x="33" y="50"/>
                </a:cubicBezTo>
                <a:cubicBezTo>
                  <a:pt x="33" y="50"/>
                  <a:pt x="33" y="50"/>
                  <a:pt x="33" y="50"/>
                </a:cubicBezTo>
                <a:cubicBezTo>
                  <a:pt x="31" y="47"/>
                  <a:pt x="31" y="47"/>
                  <a:pt x="31" y="47"/>
                </a:cubicBezTo>
                <a:cubicBezTo>
                  <a:pt x="30" y="47"/>
                  <a:pt x="30" y="47"/>
                  <a:pt x="30" y="47"/>
                </a:cubicBezTo>
                <a:cubicBezTo>
                  <a:pt x="29" y="46"/>
                  <a:pt x="29" y="46"/>
                  <a:pt x="29" y="46"/>
                </a:cubicBezTo>
                <a:cubicBezTo>
                  <a:pt x="28" y="46"/>
                  <a:pt x="28" y="46"/>
                  <a:pt x="28" y="46"/>
                </a:cubicBezTo>
                <a:cubicBezTo>
                  <a:pt x="27" y="46"/>
                  <a:pt x="27" y="46"/>
                  <a:pt x="27" y="46"/>
                </a:cubicBezTo>
                <a:cubicBezTo>
                  <a:pt x="26" y="47"/>
                  <a:pt x="26" y="47"/>
                  <a:pt x="26" y="47"/>
                </a:cubicBezTo>
                <a:cubicBezTo>
                  <a:pt x="25" y="46"/>
                  <a:pt x="25" y="46"/>
                  <a:pt x="25" y="46"/>
                </a:cubicBezTo>
                <a:cubicBezTo>
                  <a:pt x="24" y="46"/>
                  <a:pt x="24" y="46"/>
                  <a:pt x="24" y="46"/>
                </a:cubicBezTo>
                <a:cubicBezTo>
                  <a:pt x="23" y="46"/>
                  <a:pt x="23" y="46"/>
                  <a:pt x="23" y="46"/>
                </a:cubicBezTo>
                <a:cubicBezTo>
                  <a:pt x="23" y="45"/>
                  <a:pt x="23" y="45"/>
                  <a:pt x="23" y="45"/>
                </a:cubicBezTo>
                <a:cubicBezTo>
                  <a:pt x="23" y="46"/>
                  <a:pt x="23" y="46"/>
                  <a:pt x="23" y="46"/>
                </a:cubicBezTo>
                <a:cubicBezTo>
                  <a:pt x="25" y="46"/>
                  <a:pt x="25" y="46"/>
                  <a:pt x="25" y="46"/>
                </a:cubicBezTo>
                <a:cubicBezTo>
                  <a:pt x="26" y="45"/>
                  <a:pt x="26" y="45"/>
                  <a:pt x="26" y="45"/>
                </a:cubicBezTo>
                <a:cubicBezTo>
                  <a:pt x="26" y="45"/>
                  <a:pt x="26" y="45"/>
                  <a:pt x="26" y="45"/>
                </a:cubicBezTo>
                <a:cubicBezTo>
                  <a:pt x="27" y="45"/>
                  <a:pt x="27" y="45"/>
                  <a:pt x="27" y="45"/>
                </a:cubicBezTo>
                <a:cubicBezTo>
                  <a:pt x="28" y="44"/>
                  <a:pt x="28" y="44"/>
                  <a:pt x="28" y="44"/>
                </a:cubicBezTo>
                <a:cubicBezTo>
                  <a:pt x="27" y="43"/>
                  <a:pt x="27" y="43"/>
                  <a:pt x="27" y="43"/>
                </a:cubicBezTo>
                <a:cubicBezTo>
                  <a:pt x="27" y="43"/>
                  <a:pt x="27" y="43"/>
                  <a:pt x="27" y="43"/>
                </a:cubicBezTo>
                <a:cubicBezTo>
                  <a:pt x="27" y="42"/>
                  <a:pt x="27" y="42"/>
                  <a:pt x="27" y="42"/>
                </a:cubicBezTo>
                <a:cubicBezTo>
                  <a:pt x="25" y="43"/>
                  <a:pt x="25" y="43"/>
                  <a:pt x="25" y="43"/>
                </a:cubicBezTo>
                <a:cubicBezTo>
                  <a:pt x="25" y="43"/>
                  <a:pt x="25" y="43"/>
                  <a:pt x="25" y="43"/>
                </a:cubicBezTo>
                <a:cubicBezTo>
                  <a:pt x="26" y="42"/>
                  <a:pt x="26" y="42"/>
                  <a:pt x="26" y="42"/>
                </a:cubicBezTo>
                <a:cubicBezTo>
                  <a:pt x="28" y="42"/>
                  <a:pt x="28" y="42"/>
                  <a:pt x="28" y="42"/>
                </a:cubicBezTo>
                <a:cubicBezTo>
                  <a:pt x="28" y="41"/>
                  <a:pt x="28" y="41"/>
                  <a:pt x="28" y="41"/>
                </a:cubicBezTo>
                <a:cubicBezTo>
                  <a:pt x="29" y="41"/>
                  <a:pt x="29" y="41"/>
                  <a:pt x="29" y="41"/>
                </a:cubicBezTo>
                <a:cubicBezTo>
                  <a:pt x="29" y="40"/>
                  <a:pt x="29" y="40"/>
                  <a:pt x="29" y="40"/>
                </a:cubicBezTo>
                <a:cubicBezTo>
                  <a:pt x="30" y="39"/>
                  <a:pt x="30" y="39"/>
                  <a:pt x="30" y="39"/>
                </a:cubicBezTo>
                <a:cubicBezTo>
                  <a:pt x="31" y="38"/>
                  <a:pt x="31" y="38"/>
                  <a:pt x="31" y="38"/>
                </a:cubicBezTo>
                <a:cubicBezTo>
                  <a:pt x="30" y="37"/>
                  <a:pt x="30" y="37"/>
                  <a:pt x="30" y="37"/>
                </a:cubicBezTo>
                <a:cubicBezTo>
                  <a:pt x="31" y="36"/>
                  <a:pt x="31" y="36"/>
                  <a:pt x="31" y="36"/>
                </a:cubicBezTo>
                <a:cubicBezTo>
                  <a:pt x="31" y="36"/>
                  <a:pt x="31" y="36"/>
                  <a:pt x="31" y="36"/>
                </a:cubicBezTo>
                <a:cubicBezTo>
                  <a:pt x="31" y="34"/>
                  <a:pt x="31" y="34"/>
                  <a:pt x="31" y="34"/>
                </a:cubicBezTo>
                <a:cubicBezTo>
                  <a:pt x="32" y="33"/>
                  <a:pt x="32" y="33"/>
                  <a:pt x="32" y="33"/>
                </a:cubicBezTo>
                <a:cubicBezTo>
                  <a:pt x="32" y="33"/>
                  <a:pt x="32" y="33"/>
                  <a:pt x="32" y="33"/>
                </a:cubicBezTo>
                <a:cubicBezTo>
                  <a:pt x="31" y="31"/>
                  <a:pt x="31" y="31"/>
                  <a:pt x="31" y="31"/>
                </a:cubicBezTo>
                <a:cubicBezTo>
                  <a:pt x="31" y="31"/>
                  <a:pt x="31" y="31"/>
                  <a:pt x="31" y="31"/>
                </a:cubicBezTo>
                <a:cubicBezTo>
                  <a:pt x="28" y="31"/>
                  <a:pt x="28" y="31"/>
                  <a:pt x="28" y="31"/>
                </a:cubicBezTo>
                <a:cubicBezTo>
                  <a:pt x="27" y="31"/>
                  <a:pt x="27" y="31"/>
                  <a:pt x="27" y="31"/>
                </a:cubicBezTo>
                <a:cubicBezTo>
                  <a:pt x="26" y="32"/>
                  <a:pt x="26" y="32"/>
                  <a:pt x="26" y="32"/>
                </a:cubicBezTo>
                <a:cubicBezTo>
                  <a:pt x="25" y="32"/>
                  <a:pt x="25" y="32"/>
                  <a:pt x="25" y="32"/>
                </a:cubicBezTo>
                <a:cubicBezTo>
                  <a:pt x="24" y="31"/>
                  <a:pt x="24" y="31"/>
                  <a:pt x="24" y="31"/>
                </a:cubicBezTo>
                <a:cubicBezTo>
                  <a:pt x="24" y="31"/>
                  <a:pt x="24" y="31"/>
                  <a:pt x="24" y="31"/>
                </a:cubicBezTo>
                <a:cubicBezTo>
                  <a:pt x="24" y="32"/>
                  <a:pt x="24" y="32"/>
                  <a:pt x="24" y="32"/>
                </a:cubicBezTo>
                <a:cubicBezTo>
                  <a:pt x="23" y="32"/>
                  <a:pt x="23" y="32"/>
                  <a:pt x="23" y="32"/>
                </a:cubicBezTo>
                <a:cubicBezTo>
                  <a:pt x="22" y="32"/>
                  <a:pt x="22" y="32"/>
                  <a:pt x="22" y="32"/>
                </a:cubicBezTo>
                <a:cubicBezTo>
                  <a:pt x="21" y="32"/>
                  <a:pt x="21" y="32"/>
                  <a:pt x="21" y="32"/>
                </a:cubicBezTo>
                <a:cubicBezTo>
                  <a:pt x="21" y="33"/>
                  <a:pt x="21" y="33"/>
                  <a:pt x="21" y="33"/>
                </a:cubicBezTo>
                <a:cubicBezTo>
                  <a:pt x="20" y="33"/>
                  <a:pt x="20" y="33"/>
                  <a:pt x="20" y="33"/>
                </a:cubicBezTo>
                <a:cubicBezTo>
                  <a:pt x="21" y="32"/>
                  <a:pt x="21" y="32"/>
                  <a:pt x="21" y="32"/>
                </a:cubicBezTo>
                <a:cubicBezTo>
                  <a:pt x="22" y="30"/>
                  <a:pt x="22" y="30"/>
                  <a:pt x="22" y="30"/>
                </a:cubicBezTo>
                <a:cubicBezTo>
                  <a:pt x="22" y="30"/>
                  <a:pt x="22" y="30"/>
                  <a:pt x="22" y="30"/>
                </a:cubicBezTo>
                <a:cubicBezTo>
                  <a:pt x="21" y="30"/>
                  <a:pt x="21" y="30"/>
                  <a:pt x="21" y="30"/>
                </a:cubicBezTo>
                <a:cubicBezTo>
                  <a:pt x="21" y="30"/>
                  <a:pt x="21" y="30"/>
                  <a:pt x="21" y="30"/>
                </a:cubicBezTo>
                <a:cubicBezTo>
                  <a:pt x="21" y="29"/>
                  <a:pt x="21" y="29"/>
                  <a:pt x="21" y="29"/>
                </a:cubicBezTo>
                <a:cubicBezTo>
                  <a:pt x="24" y="27"/>
                  <a:pt x="24" y="27"/>
                  <a:pt x="24" y="27"/>
                </a:cubicBezTo>
                <a:cubicBezTo>
                  <a:pt x="25" y="26"/>
                  <a:pt x="25" y="26"/>
                  <a:pt x="25" y="26"/>
                </a:cubicBezTo>
                <a:cubicBezTo>
                  <a:pt x="25" y="26"/>
                  <a:pt x="25" y="26"/>
                  <a:pt x="25" y="26"/>
                </a:cubicBezTo>
                <a:cubicBezTo>
                  <a:pt x="26" y="25"/>
                  <a:pt x="26" y="25"/>
                  <a:pt x="26" y="25"/>
                </a:cubicBezTo>
                <a:cubicBezTo>
                  <a:pt x="25" y="24"/>
                  <a:pt x="25" y="24"/>
                  <a:pt x="25" y="24"/>
                </a:cubicBezTo>
                <a:cubicBezTo>
                  <a:pt x="26" y="23"/>
                  <a:pt x="26" y="23"/>
                  <a:pt x="26" y="23"/>
                </a:cubicBezTo>
                <a:cubicBezTo>
                  <a:pt x="26" y="23"/>
                  <a:pt x="26" y="23"/>
                  <a:pt x="26" y="23"/>
                </a:cubicBezTo>
                <a:cubicBezTo>
                  <a:pt x="25" y="23"/>
                  <a:pt x="25" y="23"/>
                  <a:pt x="25" y="23"/>
                </a:cubicBezTo>
                <a:cubicBezTo>
                  <a:pt x="24" y="23"/>
                  <a:pt x="24" y="23"/>
                  <a:pt x="24" y="23"/>
                </a:cubicBezTo>
                <a:cubicBezTo>
                  <a:pt x="23" y="23"/>
                  <a:pt x="23" y="23"/>
                  <a:pt x="23" y="23"/>
                </a:cubicBezTo>
                <a:cubicBezTo>
                  <a:pt x="22" y="24"/>
                  <a:pt x="22" y="24"/>
                  <a:pt x="22" y="24"/>
                </a:cubicBezTo>
                <a:cubicBezTo>
                  <a:pt x="21" y="24"/>
                  <a:pt x="21" y="24"/>
                  <a:pt x="21" y="24"/>
                </a:cubicBezTo>
                <a:cubicBezTo>
                  <a:pt x="20" y="24"/>
                  <a:pt x="20" y="24"/>
                  <a:pt x="20" y="24"/>
                </a:cubicBezTo>
                <a:cubicBezTo>
                  <a:pt x="20" y="24"/>
                  <a:pt x="20" y="24"/>
                  <a:pt x="20" y="24"/>
                </a:cubicBezTo>
                <a:cubicBezTo>
                  <a:pt x="19" y="25"/>
                  <a:pt x="19" y="25"/>
                  <a:pt x="19" y="25"/>
                </a:cubicBezTo>
                <a:cubicBezTo>
                  <a:pt x="19" y="24"/>
                  <a:pt x="19" y="24"/>
                  <a:pt x="19" y="24"/>
                </a:cubicBezTo>
                <a:cubicBezTo>
                  <a:pt x="19" y="24"/>
                  <a:pt x="19" y="24"/>
                  <a:pt x="19" y="24"/>
                </a:cubicBezTo>
                <a:cubicBezTo>
                  <a:pt x="18" y="25"/>
                  <a:pt x="18" y="25"/>
                  <a:pt x="18" y="25"/>
                </a:cubicBezTo>
                <a:cubicBezTo>
                  <a:pt x="18" y="24"/>
                  <a:pt x="18" y="24"/>
                  <a:pt x="18" y="24"/>
                </a:cubicBezTo>
                <a:cubicBezTo>
                  <a:pt x="16" y="23"/>
                  <a:pt x="16" y="23"/>
                  <a:pt x="16" y="23"/>
                </a:cubicBezTo>
                <a:cubicBezTo>
                  <a:pt x="16" y="24"/>
                  <a:pt x="16" y="24"/>
                  <a:pt x="16" y="24"/>
                </a:cubicBezTo>
                <a:cubicBezTo>
                  <a:pt x="16" y="24"/>
                  <a:pt x="16" y="24"/>
                  <a:pt x="16" y="24"/>
                </a:cubicBezTo>
                <a:cubicBezTo>
                  <a:pt x="16" y="25"/>
                  <a:pt x="16" y="25"/>
                  <a:pt x="16" y="25"/>
                </a:cubicBezTo>
                <a:cubicBezTo>
                  <a:pt x="16" y="25"/>
                  <a:pt x="16" y="25"/>
                  <a:pt x="16" y="25"/>
                </a:cubicBezTo>
                <a:cubicBezTo>
                  <a:pt x="16" y="26"/>
                  <a:pt x="16" y="26"/>
                  <a:pt x="16" y="26"/>
                </a:cubicBezTo>
                <a:cubicBezTo>
                  <a:pt x="15" y="26"/>
                  <a:pt x="15" y="26"/>
                  <a:pt x="15" y="26"/>
                </a:cubicBezTo>
                <a:cubicBezTo>
                  <a:pt x="15" y="27"/>
                  <a:pt x="15" y="27"/>
                  <a:pt x="15" y="27"/>
                </a:cubicBezTo>
                <a:cubicBezTo>
                  <a:pt x="15" y="28"/>
                  <a:pt x="15" y="28"/>
                  <a:pt x="15" y="28"/>
                </a:cubicBezTo>
                <a:cubicBezTo>
                  <a:pt x="14" y="28"/>
                  <a:pt x="14" y="28"/>
                  <a:pt x="14" y="28"/>
                </a:cubicBezTo>
                <a:cubicBezTo>
                  <a:pt x="15" y="29"/>
                  <a:pt x="15" y="29"/>
                  <a:pt x="15" y="29"/>
                </a:cubicBezTo>
                <a:cubicBezTo>
                  <a:pt x="16" y="30"/>
                  <a:pt x="16" y="30"/>
                  <a:pt x="16" y="30"/>
                </a:cubicBezTo>
                <a:cubicBezTo>
                  <a:pt x="15" y="29"/>
                  <a:pt x="15" y="29"/>
                  <a:pt x="15" y="29"/>
                </a:cubicBezTo>
                <a:cubicBezTo>
                  <a:pt x="14" y="30"/>
                  <a:pt x="14" y="30"/>
                  <a:pt x="14" y="30"/>
                </a:cubicBezTo>
                <a:cubicBezTo>
                  <a:pt x="13" y="29"/>
                  <a:pt x="13" y="29"/>
                  <a:pt x="13" y="29"/>
                </a:cubicBezTo>
                <a:cubicBezTo>
                  <a:pt x="13" y="30"/>
                  <a:pt x="13" y="30"/>
                  <a:pt x="13" y="30"/>
                </a:cubicBezTo>
                <a:cubicBezTo>
                  <a:pt x="13" y="30"/>
                  <a:pt x="13" y="30"/>
                  <a:pt x="13" y="30"/>
                </a:cubicBezTo>
                <a:cubicBezTo>
                  <a:pt x="13" y="31"/>
                  <a:pt x="13" y="31"/>
                  <a:pt x="13" y="31"/>
                </a:cubicBezTo>
                <a:cubicBezTo>
                  <a:pt x="13" y="30"/>
                  <a:pt x="13" y="30"/>
                  <a:pt x="13" y="30"/>
                </a:cubicBezTo>
                <a:cubicBezTo>
                  <a:pt x="12" y="31"/>
                  <a:pt x="12" y="31"/>
                  <a:pt x="12" y="31"/>
                </a:cubicBezTo>
                <a:cubicBezTo>
                  <a:pt x="13" y="31"/>
                  <a:pt x="13" y="31"/>
                  <a:pt x="13" y="31"/>
                </a:cubicBezTo>
                <a:cubicBezTo>
                  <a:pt x="12" y="32"/>
                  <a:pt x="12" y="32"/>
                  <a:pt x="12" y="32"/>
                </a:cubicBezTo>
                <a:cubicBezTo>
                  <a:pt x="13" y="33"/>
                  <a:pt x="13" y="33"/>
                  <a:pt x="13" y="33"/>
                </a:cubicBezTo>
                <a:cubicBezTo>
                  <a:pt x="14" y="33"/>
                  <a:pt x="14" y="33"/>
                  <a:pt x="14" y="33"/>
                </a:cubicBezTo>
                <a:cubicBezTo>
                  <a:pt x="13" y="33"/>
                  <a:pt x="13" y="33"/>
                  <a:pt x="13" y="33"/>
                </a:cubicBezTo>
                <a:cubicBezTo>
                  <a:pt x="12" y="32"/>
                  <a:pt x="12" y="32"/>
                  <a:pt x="12" y="32"/>
                </a:cubicBezTo>
                <a:cubicBezTo>
                  <a:pt x="12" y="34"/>
                  <a:pt x="12" y="34"/>
                  <a:pt x="12" y="34"/>
                </a:cubicBezTo>
                <a:cubicBezTo>
                  <a:pt x="12" y="34"/>
                  <a:pt x="12" y="34"/>
                  <a:pt x="12" y="34"/>
                </a:cubicBezTo>
                <a:cubicBezTo>
                  <a:pt x="14" y="34"/>
                  <a:pt x="14" y="34"/>
                  <a:pt x="14" y="34"/>
                </a:cubicBezTo>
                <a:cubicBezTo>
                  <a:pt x="13" y="35"/>
                  <a:pt x="13" y="35"/>
                  <a:pt x="13" y="35"/>
                </a:cubicBezTo>
                <a:cubicBezTo>
                  <a:pt x="13" y="35"/>
                  <a:pt x="13" y="35"/>
                  <a:pt x="13" y="35"/>
                </a:cubicBezTo>
                <a:cubicBezTo>
                  <a:pt x="13" y="35"/>
                  <a:pt x="13" y="35"/>
                  <a:pt x="13" y="35"/>
                </a:cubicBezTo>
                <a:cubicBezTo>
                  <a:pt x="14" y="35"/>
                  <a:pt x="14" y="35"/>
                  <a:pt x="14" y="35"/>
                </a:cubicBezTo>
                <a:cubicBezTo>
                  <a:pt x="14" y="35"/>
                  <a:pt x="14" y="35"/>
                  <a:pt x="14" y="35"/>
                </a:cubicBezTo>
                <a:cubicBezTo>
                  <a:pt x="14" y="35"/>
                  <a:pt x="14" y="35"/>
                  <a:pt x="14" y="35"/>
                </a:cubicBezTo>
                <a:cubicBezTo>
                  <a:pt x="13" y="35"/>
                  <a:pt x="13" y="35"/>
                  <a:pt x="13" y="35"/>
                </a:cubicBezTo>
                <a:cubicBezTo>
                  <a:pt x="13" y="35"/>
                  <a:pt x="13" y="35"/>
                  <a:pt x="13" y="35"/>
                </a:cubicBezTo>
                <a:cubicBezTo>
                  <a:pt x="13" y="36"/>
                  <a:pt x="13" y="36"/>
                  <a:pt x="13" y="36"/>
                </a:cubicBezTo>
                <a:cubicBezTo>
                  <a:pt x="13" y="36"/>
                  <a:pt x="13" y="36"/>
                  <a:pt x="13" y="36"/>
                </a:cubicBezTo>
                <a:cubicBezTo>
                  <a:pt x="13" y="36"/>
                  <a:pt x="13" y="36"/>
                  <a:pt x="13" y="36"/>
                </a:cubicBezTo>
                <a:cubicBezTo>
                  <a:pt x="12" y="37"/>
                  <a:pt x="12" y="37"/>
                  <a:pt x="12" y="37"/>
                </a:cubicBezTo>
                <a:cubicBezTo>
                  <a:pt x="13" y="37"/>
                  <a:pt x="13" y="37"/>
                  <a:pt x="13" y="37"/>
                </a:cubicBezTo>
                <a:cubicBezTo>
                  <a:pt x="13" y="38"/>
                  <a:pt x="13" y="38"/>
                  <a:pt x="13" y="38"/>
                </a:cubicBezTo>
                <a:cubicBezTo>
                  <a:pt x="12" y="37"/>
                  <a:pt x="12" y="37"/>
                  <a:pt x="12" y="37"/>
                </a:cubicBezTo>
                <a:cubicBezTo>
                  <a:pt x="12" y="38"/>
                  <a:pt x="12" y="38"/>
                  <a:pt x="12" y="38"/>
                </a:cubicBezTo>
                <a:cubicBezTo>
                  <a:pt x="12" y="38"/>
                  <a:pt x="12" y="38"/>
                  <a:pt x="12" y="38"/>
                </a:cubicBezTo>
                <a:cubicBezTo>
                  <a:pt x="12" y="39"/>
                  <a:pt x="12" y="39"/>
                  <a:pt x="12" y="39"/>
                </a:cubicBezTo>
                <a:cubicBezTo>
                  <a:pt x="12" y="39"/>
                  <a:pt x="12" y="39"/>
                  <a:pt x="12" y="39"/>
                </a:cubicBezTo>
                <a:cubicBezTo>
                  <a:pt x="10" y="39"/>
                  <a:pt x="10" y="39"/>
                  <a:pt x="10" y="39"/>
                </a:cubicBezTo>
                <a:cubicBezTo>
                  <a:pt x="10" y="40"/>
                  <a:pt x="10" y="40"/>
                  <a:pt x="10" y="40"/>
                </a:cubicBezTo>
                <a:cubicBezTo>
                  <a:pt x="10" y="40"/>
                  <a:pt x="10" y="40"/>
                  <a:pt x="10" y="40"/>
                </a:cubicBezTo>
                <a:cubicBezTo>
                  <a:pt x="11" y="40"/>
                  <a:pt x="11" y="40"/>
                  <a:pt x="11" y="40"/>
                </a:cubicBezTo>
                <a:cubicBezTo>
                  <a:pt x="12" y="40"/>
                  <a:pt x="12" y="40"/>
                  <a:pt x="12" y="40"/>
                </a:cubicBezTo>
                <a:cubicBezTo>
                  <a:pt x="12" y="40"/>
                  <a:pt x="12" y="40"/>
                  <a:pt x="12" y="40"/>
                </a:cubicBezTo>
                <a:cubicBezTo>
                  <a:pt x="11" y="40"/>
                  <a:pt x="11" y="40"/>
                  <a:pt x="11" y="40"/>
                </a:cubicBezTo>
                <a:cubicBezTo>
                  <a:pt x="12" y="41"/>
                  <a:pt x="12" y="41"/>
                  <a:pt x="12" y="41"/>
                </a:cubicBezTo>
                <a:cubicBezTo>
                  <a:pt x="12" y="41"/>
                  <a:pt x="12" y="41"/>
                  <a:pt x="12" y="41"/>
                </a:cubicBezTo>
                <a:cubicBezTo>
                  <a:pt x="13" y="42"/>
                  <a:pt x="13" y="42"/>
                  <a:pt x="13" y="42"/>
                </a:cubicBezTo>
                <a:cubicBezTo>
                  <a:pt x="15" y="39"/>
                  <a:pt x="15" y="39"/>
                  <a:pt x="15" y="39"/>
                </a:cubicBezTo>
                <a:cubicBezTo>
                  <a:pt x="15" y="40"/>
                  <a:pt x="15" y="40"/>
                  <a:pt x="15" y="40"/>
                </a:cubicBezTo>
                <a:cubicBezTo>
                  <a:pt x="15" y="40"/>
                  <a:pt x="15" y="40"/>
                  <a:pt x="15" y="40"/>
                </a:cubicBezTo>
                <a:cubicBezTo>
                  <a:pt x="15" y="40"/>
                  <a:pt x="15" y="40"/>
                  <a:pt x="15" y="40"/>
                </a:cubicBezTo>
                <a:cubicBezTo>
                  <a:pt x="14" y="42"/>
                  <a:pt x="14" y="42"/>
                  <a:pt x="14" y="42"/>
                </a:cubicBezTo>
                <a:cubicBezTo>
                  <a:pt x="14" y="42"/>
                  <a:pt x="14" y="42"/>
                  <a:pt x="14" y="42"/>
                </a:cubicBezTo>
                <a:cubicBezTo>
                  <a:pt x="13" y="44"/>
                  <a:pt x="13" y="44"/>
                  <a:pt x="13" y="44"/>
                </a:cubicBezTo>
                <a:cubicBezTo>
                  <a:pt x="14" y="44"/>
                  <a:pt x="14" y="44"/>
                  <a:pt x="14" y="44"/>
                </a:cubicBezTo>
                <a:cubicBezTo>
                  <a:pt x="13" y="46"/>
                  <a:pt x="13" y="46"/>
                  <a:pt x="13" y="46"/>
                </a:cubicBezTo>
                <a:cubicBezTo>
                  <a:pt x="13" y="47"/>
                  <a:pt x="13" y="47"/>
                  <a:pt x="13" y="47"/>
                </a:cubicBezTo>
                <a:cubicBezTo>
                  <a:pt x="13" y="48"/>
                  <a:pt x="13" y="48"/>
                  <a:pt x="13" y="48"/>
                </a:cubicBezTo>
                <a:cubicBezTo>
                  <a:pt x="13" y="48"/>
                  <a:pt x="13" y="48"/>
                  <a:pt x="13" y="48"/>
                </a:cubicBezTo>
                <a:cubicBezTo>
                  <a:pt x="13" y="48"/>
                  <a:pt x="13" y="48"/>
                  <a:pt x="13" y="48"/>
                </a:cubicBezTo>
                <a:cubicBezTo>
                  <a:pt x="13" y="49"/>
                  <a:pt x="13" y="49"/>
                  <a:pt x="13" y="49"/>
                </a:cubicBezTo>
                <a:cubicBezTo>
                  <a:pt x="13" y="51"/>
                  <a:pt x="13" y="51"/>
                  <a:pt x="13" y="51"/>
                </a:cubicBezTo>
                <a:cubicBezTo>
                  <a:pt x="12" y="52"/>
                  <a:pt x="12" y="52"/>
                  <a:pt x="12" y="52"/>
                </a:cubicBezTo>
                <a:cubicBezTo>
                  <a:pt x="12" y="52"/>
                  <a:pt x="12" y="52"/>
                  <a:pt x="12" y="52"/>
                </a:cubicBezTo>
                <a:cubicBezTo>
                  <a:pt x="13" y="52"/>
                  <a:pt x="13" y="52"/>
                  <a:pt x="13" y="52"/>
                </a:cubicBezTo>
                <a:cubicBezTo>
                  <a:pt x="13" y="51"/>
                  <a:pt x="13" y="51"/>
                  <a:pt x="13" y="51"/>
                </a:cubicBezTo>
                <a:cubicBezTo>
                  <a:pt x="14" y="50"/>
                  <a:pt x="14" y="50"/>
                  <a:pt x="14" y="50"/>
                </a:cubicBezTo>
                <a:cubicBezTo>
                  <a:pt x="14" y="49"/>
                  <a:pt x="14" y="49"/>
                  <a:pt x="14" y="49"/>
                </a:cubicBezTo>
                <a:cubicBezTo>
                  <a:pt x="14" y="48"/>
                  <a:pt x="14" y="48"/>
                  <a:pt x="14" y="48"/>
                </a:cubicBezTo>
                <a:cubicBezTo>
                  <a:pt x="14" y="46"/>
                  <a:pt x="14" y="46"/>
                  <a:pt x="14" y="46"/>
                </a:cubicBezTo>
                <a:cubicBezTo>
                  <a:pt x="14" y="46"/>
                  <a:pt x="14" y="46"/>
                  <a:pt x="14" y="46"/>
                </a:cubicBezTo>
                <a:cubicBezTo>
                  <a:pt x="16" y="44"/>
                  <a:pt x="16" y="44"/>
                  <a:pt x="16" y="44"/>
                </a:cubicBezTo>
                <a:cubicBezTo>
                  <a:pt x="15" y="46"/>
                  <a:pt x="15" y="46"/>
                  <a:pt x="15" y="46"/>
                </a:cubicBezTo>
                <a:cubicBezTo>
                  <a:pt x="15" y="47"/>
                  <a:pt x="15" y="47"/>
                  <a:pt x="15" y="47"/>
                </a:cubicBezTo>
                <a:cubicBezTo>
                  <a:pt x="15" y="47"/>
                  <a:pt x="15" y="47"/>
                  <a:pt x="15" y="47"/>
                </a:cubicBezTo>
                <a:cubicBezTo>
                  <a:pt x="15" y="47"/>
                  <a:pt x="15" y="47"/>
                  <a:pt x="15" y="47"/>
                </a:cubicBezTo>
                <a:cubicBezTo>
                  <a:pt x="16" y="46"/>
                  <a:pt x="16" y="46"/>
                  <a:pt x="16" y="46"/>
                </a:cubicBezTo>
                <a:cubicBezTo>
                  <a:pt x="16" y="47"/>
                  <a:pt x="16" y="47"/>
                  <a:pt x="16" y="47"/>
                </a:cubicBezTo>
                <a:cubicBezTo>
                  <a:pt x="17" y="46"/>
                  <a:pt x="17" y="46"/>
                  <a:pt x="17" y="46"/>
                </a:cubicBezTo>
                <a:cubicBezTo>
                  <a:pt x="17" y="45"/>
                  <a:pt x="17" y="45"/>
                  <a:pt x="17" y="45"/>
                </a:cubicBezTo>
                <a:cubicBezTo>
                  <a:pt x="17" y="44"/>
                  <a:pt x="17" y="44"/>
                  <a:pt x="17" y="44"/>
                </a:cubicBezTo>
                <a:cubicBezTo>
                  <a:pt x="17" y="46"/>
                  <a:pt x="17" y="46"/>
                  <a:pt x="17" y="46"/>
                </a:cubicBezTo>
                <a:cubicBezTo>
                  <a:pt x="18" y="47"/>
                  <a:pt x="18" y="47"/>
                  <a:pt x="18" y="47"/>
                </a:cubicBezTo>
                <a:cubicBezTo>
                  <a:pt x="17" y="46"/>
                  <a:pt x="17" y="46"/>
                  <a:pt x="17" y="46"/>
                </a:cubicBezTo>
                <a:cubicBezTo>
                  <a:pt x="17" y="48"/>
                  <a:pt x="17" y="48"/>
                  <a:pt x="17" y="48"/>
                </a:cubicBezTo>
                <a:cubicBezTo>
                  <a:pt x="17" y="49"/>
                  <a:pt x="17" y="49"/>
                  <a:pt x="17" y="49"/>
                </a:cubicBezTo>
                <a:cubicBezTo>
                  <a:pt x="18" y="50"/>
                  <a:pt x="18" y="50"/>
                  <a:pt x="18" y="50"/>
                </a:cubicBezTo>
                <a:cubicBezTo>
                  <a:pt x="18" y="51"/>
                  <a:pt x="18" y="51"/>
                  <a:pt x="18" y="51"/>
                </a:cubicBezTo>
                <a:cubicBezTo>
                  <a:pt x="17" y="52"/>
                  <a:pt x="17" y="52"/>
                  <a:pt x="17" y="52"/>
                </a:cubicBezTo>
                <a:cubicBezTo>
                  <a:pt x="16" y="54"/>
                  <a:pt x="16" y="54"/>
                  <a:pt x="16" y="54"/>
                </a:cubicBezTo>
                <a:cubicBezTo>
                  <a:pt x="16" y="56"/>
                  <a:pt x="16" y="56"/>
                  <a:pt x="16" y="56"/>
                </a:cubicBezTo>
                <a:cubicBezTo>
                  <a:pt x="15" y="55"/>
                  <a:pt x="15" y="55"/>
                  <a:pt x="15" y="55"/>
                </a:cubicBezTo>
                <a:cubicBezTo>
                  <a:pt x="16" y="56"/>
                  <a:pt x="16" y="56"/>
                  <a:pt x="16" y="56"/>
                </a:cubicBezTo>
                <a:cubicBezTo>
                  <a:pt x="17" y="58"/>
                  <a:pt x="17" y="58"/>
                  <a:pt x="17" y="58"/>
                </a:cubicBezTo>
                <a:cubicBezTo>
                  <a:pt x="16" y="56"/>
                  <a:pt x="16" y="56"/>
                  <a:pt x="16" y="56"/>
                </a:cubicBezTo>
                <a:cubicBezTo>
                  <a:pt x="17" y="56"/>
                  <a:pt x="17" y="56"/>
                  <a:pt x="17" y="56"/>
                </a:cubicBezTo>
                <a:cubicBezTo>
                  <a:pt x="19" y="58"/>
                  <a:pt x="19" y="58"/>
                  <a:pt x="19" y="58"/>
                </a:cubicBezTo>
                <a:cubicBezTo>
                  <a:pt x="19" y="57"/>
                  <a:pt x="19" y="57"/>
                  <a:pt x="19" y="57"/>
                </a:cubicBezTo>
                <a:cubicBezTo>
                  <a:pt x="19" y="56"/>
                  <a:pt x="19" y="56"/>
                  <a:pt x="19" y="56"/>
                </a:cubicBezTo>
                <a:cubicBezTo>
                  <a:pt x="19" y="56"/>
                  <a:pt x="19" y="56"/>
                  <a:pt x="19" y="56"/>
                </a:cubicBezTo>
                <a:cubicBezTo>
                  <a:pt x="21" y="57"/>
                  <a:pt x="21" y="57"/>
                  <a:pt x="21" y="57"/>
                </a:cubicBezTo>
                <a:cubicBezTo>
                  <a:pt x="22" y="57"/>
                  <a:pt x="22" y="57"/>
                  <a:pt x="22" y="57"/>
                </a:cubicBezTo>
                <a:cubicBezTo>
                  <a:pt x="22" y="56"/>
                  <a:pt x="22" y="56"/>
                  <a:pt x="22" y="56"/>
                </a:cubicBezTo>
                <a:cubicBezTo>
                  <a:pt x="23" y="56"/>
                  <a:pt x="23" y="56"/>
                  <a:pt x="23" y="56"/>
                </a:cubicBezTo>
                <a:cubicBezTo>
                  <a:pt x="24" y="55"/>
                  <a:pt x="24" y="55"/>
                  <a:pt x="24" y="55"/>
                </a:cubicBezTo>
                <a:cubicBezTo>
                  <a:pt x="27" y="55"/>
                  <a:pt x="27" y="55"/>
                  <a:pt x="27" y="55"/>
                </a:cubicBezTo>
                <a:cubicBezTo>
                  <a:pt x="25" y="56"/>
                  <a:pt x="25" y="56"/>
                  <a:pt x="25" y="56"/>
                </a:cubicBezTo>
                <a:cubicBezTo>
                  <a:pt x="23" y="59"/>
                  <a:pt x="23" y="59"/>
                  <a:pt x="23" y="59"/>
                </a:cubicBezTo>
                <a:cubicBezTo>
                  <a:pt x="25" y="62"/>
                  <a:pt x="25" y="62"/>
                  <a:pt x="25" y="62"/>
                </a:cubicBezTo>
                <a:cubicBezTo>
                  <a:pt x="26" y="62"/>
                  <a:pt x="26" y="62"/>
                  <a:pt x="26" y="62"/>
                </a:cubicBezTo>
                <a:cubicBezTo>
                  <a:pt x="26" y="63"/>
                  <a:pt x="26" y="63"/>
                  <a:pt x="26" y="63"/>
                </a:cubicBezTo>
                <a:cubicBezTo>
                  <a:pt x="27" y="62"/>
                  <a:pt x="27" y="62"/>
                  <a:pt x="27" y="62"/>
                </a:cubicBezTo>
                <a:cubicBezTo>
                  <a:pt x="28" y="62"/>
                  <a:pt x="28" y="62"/>
                  <a:pt x="28" y="62"/>
                </a:cubicBezTo>
                <a:cubicBezTo>
                  <a:pt x="28" y="63"/>
                  <a:pt x="28" y="63"/>
                  <a:pt x="28" y="63"/>
                </a:cubicBezTo>
                <a:cubicBezTo>
                  <a:pt x="28" y="64"/>
                  <a:pt x="28" y="64"/>
                  <a:pt x="28" y="64"/>
                </a:cubicBezTo>
                <a:cubicBezTo>
                  <a:pt x="27" y="65"/>
                  <a:pt x="27" y="65"/>
                  <a:pt x="27" y="65"/>
                </a:cubicBezTo>
                <a:cubicBezTo>
                  <a:pt x="27" y="66"/>
                  <a:pt x="27" y="66"/>
                  <a:pt x="27" y="66"/>
                </a:cubicBezTo>
                <a:cubicBezTo>
                  <a:pt x="26" y="68"/>
                  <a:pt x="26" y="68"/>
                  <a:pt x="26" y="68"/>
                </a:cubicBezTo>
                <a:cubicBezTo>
                  <a:pt x="27" y="69"/>
                  <a:pt x="27" y="69"/>
                  <a:pt x="27" y="69"/>
                </a:cubicBezTo>
                <a:cubicBezTo>
                  <a:pt x="28" y="69"/>
                  <a:pt x="28" y="69"/>
                  <a:pt x="28" y="69"/>
                </a:cubicBezTo>
                <a:cubicBezTo>
                  <a:pt x="29" y="70"/>
                  <a:pt x="29" y="70"/>
                  <a:pt x="29" y="70"/>
                </a:cubicBezTo>
                <a:cubicBezTo>
                  <a:pt x="28" y="70"/>
                  <a:pt x="28" y="70"/>
                  <a:pt x="28" y="70"/>
                </a:cubicBezTo>
                <a:cubicBezTo>
                  <a:pt x="27" y="70"/>
                  <a:pt x="27" y="70"/>
                  <a:pt x="27" y="70"/>
                </a:cubicBezTo>
                <a:cubicBezTo>
                  <a:pt x="27" y="69"/>
                  <a:pt x="27" y="69"/>
                  <a:pt x="27" y="69"/>
                </a:cubicBezTo>
                <a:cubicBezTo>
                  <a:pt x="26" y="69"/>
                  <a:pt x="26" y="69"/>
                  <a:pt x="26" y="69"/>
                </a:cubicBezTo>
                <a:cubicBezTo>
                  <a:pt x="27" y="70"/>
                  <a:pt x="27" y="70"/>
                  <a:pt x="27" y="70"/>
                </a:cubicBezTo>
                <a:cubicBezTo>
                  <a:pt x="27" y="71"/>
                  <a:pt x="27" y="71"/>
                  <a:pt x="27" y="71"/>
                </a:cubicBezTo>
                <a:cubicBezTo>
                  <a:pt x="26" y="70"/>
                  <a:pt x="26" y="70"/>
                  <a:pt x="26" y="70"/>
                </a:cubicBezTo>
                <a:cubicBezTo>
                  <a:pt x="25" y="70"/>
                  <a:pt x="25" y="70"/>
                  <a:pt x="25" y="70"/>
                </a:cubicBezTo>
                <a:cubicBezTo>
                  <a:pt x="23" y="70"/>
                  <a:pt x="23" y="70"/>
                  <a:pt x="23" y="70"/>
                </a:cubicBezTo>
                <a:cubicBezTo>
                  <a:pt x="23" y="70"/>
                  <a:pt x="23" y="70"/>
                  <a:pt x="23" y="70"/>
                </a:cubicBezTo>
                <a:cubicBezTo>
                  <a:pt x="21" y="71"/>
                  <a:pt x="21" y="71"/>
                  <a:pt x="21" y="71"/>
                </a:cubicBezTo>
                <a:cubicBezTo>
                  <a:pt x="19" y="73"/>
                  <a:pt x="19" y="73"/>
                  <a:pt x="19" y="73"/>
                </a:cubicBezTo>
                <a:cubicBezTo>
                  <a:pt x="18" y="74"/>
                  <a:pt x="18" y="74"/>
                  <a:pt x="18" y="74"/>
                </a:cubicBezTo>
                <a:cubicBezTo>
                  <a:pt x="17" y="74"/>
                  <a:pt x="17" y="74"/>
                  <a:pt x="17" y="74"/>
                </a:cubicBezTo>
                <a:cubicBezTo>
                  <a:pt x="18" y="74"/>
                  <a:pt x="18" y="74"/>
                  <a:pt x="18" y="74"/>
                </a:cubicBezTo>
                <a:cubicBezTo>
                  <a:pt x="19" y="74"/>
                  <a:pt x="19" y="74"/>
                  <a:pt x="19" y="74"/>
                </a:cubicBezTo>
                <a:cubicBezTo>
                  <a:pt x="19" y="74"/>
                  <a:pt x="19" y="74"/>
                  <a:pt x="19" y="74"/>
                </a:cubicBezTo>
                <a:cubicBezTo>
                  <a:pt x="21" y="73"/>
                  <a:pt x="21" y="73"/>
                  <a:pt x="21" y="73"/>
                </a:cubicBezTo>
                <a:cubicBezTo>
                  <a:pt x="21" y="74"/>
                  <a:pt x="21" y="74"/>
                  <a:pt x="21" y="74"/>
                </a:cubicBezTo>
                <a:cubicBezTo>
                  <a:pt x="22" y="75"/>
                  <a:pt x="22" y="75"/>
                  <a:pt x="22" y="75"/>
                </a:cubicBezTo>
                <a:cubicBezTo>
                  <a:pt x="21" y="76"/>
                  <a:pt x="21" y="76"/>
                  <a:pt x="21" y="76"/>
                </a:cubicBezTo>
                <a:cubicBezTo>
                  <a:pt x="21" y="77"/>
                  <a:pt x="21" y="77"/>
                  <a:pt x="21" y="77"/>
                </a:cubicBezTo>
                <a:cubicBezTo>
                  <a:pt x="22" y="77"/>
                  <a:pt x="22" y="77"/>
                  <a:pt x="22" y="77"/>
                </a:cubicBezTo>
                <a:cubicBezTo>
                  <a:pt x="20" y="79"/>
                  <a:pt x="20" y="79"/>
                  <a:pt x="20" y="79"/>
                </a:cubicBezTo>
                <a:cubicBezTo>
                  <a:pt x="19" y="80"/>
                  <a:pt x="19" y="80"/>
                  <a:pt x="19" y="80"/>
                </a:cubicBezTo>
                <a:cubicBezTo>
                  <a:pt x="18" y="80"/>
                  <a:pt x="18" y="80"/>
                  <a:pt x="18" y="80"/>
                </a:cubicBezTo>
                <a:cubicBezTo>
                  <a:pt x="18" y="80"/>
                  <a:pt x="18" y="80"/>
                  <a:pt x="18" y="80"/>
                </a:cubicBezTo>
                <a:cubicBezTo>
                  <a:pt x="17" y="81"/>
                  <a:pt x="17" y="81"/>
                  <a:pt x="17" y="81"/>
                </a:cubicBezTo>
                <a:cubicBezTo>
                  <a:pt x="16" y="81"/>
                  <a:pt x="16" y="81"/>
                  <a:pt x="16" y="81"/>
                </a:cubicBezTo>
                <a:cubicBezTo>
                  <a:pt x="14" y="82"/>
                  <a:pt x="14" y="82"/>
                  <a:pt x="14" y="82"/>
                </a:cubicBezTo>
                <a:cubicBezTo>
                  <a:pt x="15" y="82"/>
                  <a:pt x="15" y="82"/>
                  <a:pt x="15" y="82"/>
                </a:cubicBezTo>
                <a:cubicBezTo>
                  <a:pt x="15" y="83"/>
                  <a:pt x="15" y="83"/>
                  <a:pt x="15" y="83"/>
                </a:cubicBezTo>
                <a:cubicBezTo>
                  <a:pt x="15" y="84"/>
                  <a:pt x="15" y="84"/>
                  <a:pt x="15" y="84"/>
                </a:cubicBezTo>
                <a:cubicBezTo>
                  <a:pt x="16" y="84"/>
                  <a:pt x="16" y="84"/>
                  <a:pt x="16" y="84"/>
                </a:cubicBezTo>
                <a:cubicBezTo>
                  <a:pt x="16" y="84"/>
                  <a:pt x="16" y="84"/>
                  <a:pt x="16" y="84"/>
                </a:cubicBezTo>
                <a:cubicBezTo>
                  <a:pt x="16" y="85"/>
                  <a:pt x="16" y="85"/>
                  <a:pt x="16" y="85"/>
                </a:cubicBezTo>
                <a:cubicBezTo>
                  <a:pt x="17" y="84"/>
                  <a:pt x="17" y="84"/>
                  <a:pt x="17" y="84"/>
                </a:cubicBezTo>
                <a:cubicBezTo>
                  <a:pt x="18" y="84"/>
                  <a:pt x="18" y="84"/>
                  <a:pt x="18" y="84"/>
                </a:cubicBezTo>
                <a:cubicBezTo>
                  <a:pt x="20" y="83"/>
                  <a:pt x="20" y="83"/>
                  <a:pt x="20" y="83"/>
                </a:cubicBezTo>
                <a:cubicBezTo>
                  <a:pt x="20" y="84"/>
                  <a:pt x="20" y="84"/>
                  <a:pt x="20" y="84"/>
                </a:cubicBezTo>
                <a:cubicBezTo>
                  <a:pt x="21" y="84"/>
                  <a:pt x="21" y="84"/>
                  <a:pt x="21" y="84"/>
                </a:cubicBezTo>
                <a:cubicBezTo>
                  <a:pt x="20" y="85"/>
                  <a:pt x="20" y="85"/>
                  <a:pt x="20" y="85"/>
                </a:cubicBezTo>
                <a:cubicBezTo>
                  <a:pt x="20" y="85"/>
                  <a:pt x="20" y="85"/>
                  <a:pt x="20" y="85"/>
                </a:cubicBezTo>
                <a:cubicBezTo>
                  <a:pt x="22" y="85"/>
                  <a:pt x="22" y="85"/>
                  <a:pt x="22" y="85"/>
                </a:cubicBezTo>
                <a:cubicBezTo>
                  <a:pt x="22" y="85"/>
                  <a:pt x="22" y="85"/>
                  <a:pt x="22" y="85"/>
                </a:cubicBezTo>
                <a:cubicBezTo>
                  <a:pt x="23" y="85"/>
                  <a:pt x="23" y="85"/>
                  <a:pt x="23" y="85"/>
                </a:cubicBezTo>
                <a:cubicBezTo>
                  <a:pt x="24" y="86"/>
                  <a:pt x="24" y="86"/>
                  <a:pt x="24" y="86"/>
                </a:cubicBezTo>
                <a:cubicBezTo>
                  <a:pt x="24" y="87"/>
                  <a:pt x="24" y="87"/>
                  <a:pt x="24" y="87"/>
                </a:cubicBezTo>
                <a:cubicBezTo>
                  <a:pt x="26" y="87"/>
                  <a:pt x="26" y="87"/>
                  <a:pt x="26" y="87"/>
                </a:cubicBezTo>
                <a:cubicBezTo>
                  <a:pt x="27" y="86"/>
                  <a:pt x="27" y="86"/>
                  <a:pt x="27" y="86"/>
                </a:cubicBezTo>
                <a:cubicBezTo>
                  <a:pt x="28" y="85"/>
                  <a:pt x="28" y="85"/>
                  <a:pt x="28" y="85"/>
                </a:cubicBezTo>
                <a:cubicBezTo>
                  <a:pt x="29" y="85"/>
                  <a:pt x="29" y="85"/>
                  <a:pt x="29" y="85"/>
                </a:cubicBezTo>
                <a:cubicBezTo>
                  <a:pt x="30" y="84"/>
                  <a:pt x="30" y="84"/>
                  <a:pt x="30" y="84"/>
                </a:cubicBezTo>
                <a:cubicBezTo>
                  <a:pt x="31" y="84"/>
                  <a:pt x="31" y="84"/>
                  <a:pt x="31" y="84"/>
                </a:cubicBezTo>
                <a:cubicBezTo>
                  <a:pt x="29" y="85"/>
                  <a:pt x="29" y="85"/>
                  <a:pt x="29" y="85"/>
                </a:cubicBezTo>
                <a:cubicBezTo>
                  <a:pt x="28" y="87"/>
                  <a:pt x="28" y="87"/>
                  <a:pt x="28" y="87"/>
                </a:cubicBezTo>
                <a:cubicBezTo>
                  <a:pt x="28" y="89"/>
                  <a:pt x="28" y="89"/>
                  <a:pt x="28" y="89"/>
                </a:cubicBezTo>
                <a:cubicBezTo>
                  <a:pt x="27" y="89"/>
                  <a:pt x="27" y="89"/>
                  <a:pt x="27" y="89"/>
                </a:cubicBezTo>
                <a:cubicBezTo>
                  <a:pt x="26" y="89"/>
                  <a:pt x="26" y="89"/>
                  <a:pt x="26" y="89"/>
                </a:cubicBezTo>
                <a:cubicBezTo>
                  <a:pt x="25" y="88"/>
                  <a:pt x="25" y="88"/>
                  <a:pt x="25" y="88"/>
                </a:cubicBezTo>
                <a:cubicBezTo>
                  <a:pt x="22" y="88"/>
                  <a:pt x="22" y="88"/>
                  <a:pt x="22" y="88"/>
                </a:cubicBezTo>
                <a:cubicBezTo>
                  <a:pt x="20" y="89"/>
                  <a:pt x="20" y="89"/>
                  <a:pt x="20" y="89"/>
                </a:cubicBezTo>
                <a:cubicBezTo>
                  <a:pt x="20" y="89"/>
                  <a:pt x="20" y="89"/>
                  <a:pt x="20" y="89"/>
                </a:cubicBezTo>
                <a:cubicBezTo>
                  <a:pt x="20" y="90"/>
                  <a:pt x="20" y="90"/>
                  <a:pt x="20" y="90"/>
                </a:cubicBezTo>
                <a:cubicBezTo>
                  <a:pt x="19" y="90"/>
                  <a:pt x="19" y="90"/>
                  <a:pt x="19" y="90"/>
                </a:cubicBezTo>
                <a:cubicBezTo>
                  <a:pt x="18" y="92"/>
                  <a:pt x="18" y="92"/>
                  <a:pt x="18" y="92"/>
                </a:cubicBezTo>
                <a:cubicBezTo>
                  <a:pt x="17" y="93"/>
                  <a:pt x="17" y="93"/>
                  <a:pt x="17" y="93"/>
                </a:cubicBezTo>
                <a:cubicBezTo>
                  <a:pt x="17" y="94"/>
                  <a:pt x="17" y="94"/>
                  <a:pt x="17" y="94"/>
                </a:cubicBezTo>
                <a:cubicBezTo>
                  <a:pt x="16" y="94"/>
                  <a:pt x="16" y="94"/>
                  <a:pt x="16" y="94"/>
                </a:cubicBezTo>
                <a:cubicBezTo>
                  <a:pt x="16" y="95"/>
                  <a:pt x="16" y="95"/>
                  <a:pt x="16" y="95"/>
                </a:cubicBezTo>
                <a:cubicBezTo>
                  <a:pt x="15" y="95"/>
                  <a:pt x="15" y="95"/>
                  <a:pt x="15" y="95"/>
                </a:cubicBezTo>
                <a:cubicBezTo>
                  <a:pt x="15" y="96"/>
                  <a:pt x="15" y="96"/>
                  <a:pt x="15" y="96"/>
                </a:cubicBezTo>
                <a:cubicBezTo>
                  <a:pt x="13" y="97"/>
                  <a:pt x="13" y="97"/>
                  <a:pt x="13" y="97"/>
                </a:cubicBezTo>
                <a:cubicBezTo>
                  <a:pt x="13" y="97"/>
                  <a:pt x="13" y="97"/>
                  <a:pt x="13" y="97"/>
                </a:cubicBezTo>
                <a:cubicBezTo>
                  <a:pt x="12" y="98"/>
                  <a:pt x="12" y="98"/>
                  <a:pt x="12" y="98"/>
                </a:cubicBezTo>
                <a:cubicBezTo>
                  <a:pt x="12" y="99"/>
                  <a:pt x="12" y="99"/>
                  <a:pt x="12" y="99"/>
                </a:cubicBezTo>
                <a:cubicBezTo>
                  <a:pt x="13" y="99"/>
                  <a:pt x="13" y="99"/>
                  <a:pt x="13" y="99"/>
                </a:cubicBezTo>
                <a:cubicBezTo>
                  <a:pt x="13" y="98"/>
                  <a:pt x="13" y="98"/>
                  <a:pt x="13" y="98"/>
                </a:cubicBezTo>
                <a:cubicBezTo>
                  <a:pt x="14" y="98"/>
                  <a:pt x="14" y="98"/>
                  <a:pt x="14" y="98"/>
                </a:cubicBezTo>
                <a:lnTo>
                  <a:pt x="15" y="99"/>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7" name="Freeform 75">
            <a:extLst>
              <a:ext uri="{FF2B5EF4-FFF2-40B4-BE49-F238E27FC236}">
                <a16:creationId xmlns:a16="http://schemas.microsoft.com/office/drawing/2014/main" id="{3E1B5730-BCA9-FC8A-FC99-A7AEB9E18597}"/>
              </a:ext>
            </a:extLst>
          </p:cNvPr>
          <p:cNvSpPr>
            <a:spLocks noEditPoints="1"/>
          </p:cNvSpPr>
          <p:nvPr userDrawn="1"/>
        </p:nvSpPr>
        <p:spPr bwMode="auto">
          <a:xfrm>
            <a:off x="12889659" y="5869863"/>
            <a:ext cx="815923" cy="755650"/>
          </a:xfrm>
          <a:custGeom>
            <a:avLst/>
            <a:gdLst>
              <a:gd name="T0" fmla="*/ 204 w 257"/>
              <a:gd name="T1" fmla="*/ 116 h 238"/>
              <a:gd name="T2" fmla="*/ 188 w 257"/>
              <a:gd name="T3" fmla="*/ 125 h 238"/>
              <a:gd name="T4" fmla="*/ 191 w 257"/>
              <a:gd name="T5" fmla="*/ 110 h 238"/>
              <a:gd name="T6" fmla="*/ 207 w 257"/>
              <a:gd name="T7" fmla="*/ 91 h 238"/>
              <a:gd name="T8" fmla="*/ 213 w 257"/>
              <a:gd name="T9" fmla="*/ 88 h 238"/>
              <a:gd name="T10" fmla="*/ 216 w 257"/>
              <a:gd name="T11" fmla="*/ 69 h 238"/>
              <a:gd name="T12" fmla="*/ 222 w 257"/>
              <a:gd name="T13" fmla="*/ 50 h 238"/>
              <a:gd name="T14" fmla="*/ 204 w 257"/>
              <a:gd name="T15" fmla="*/ 47 h 238"/>
              <a:gd name="T16" fmla="*/ 191 w 257"/>
              <a:gd name="T17" fmla="*/ 41 h 238"/>
              <a:gd name="T18" fmla="*/ 175 w 257"/>
              <a:gd name="T19" fmla="*/ 35 h 238"/>
              <a:gd name="T20" fmla="*/ 160 w 257"/>
              <a:gd name="T21" fmla="*/ 28 h 238"/>
              <a:gd name="T22" fmla="*/ 147 w 257"/>
              <a:gd name="T23" fmla="*/ 19 h 238"/>
              <a:gd name="T24" fmla="*/ 135 w 257"/>
              <a:gd name="T25" fmla="*/ 0 h 238"/>
              <a:gd name="T26" fmla="*/ 119 w 257"/>
              <a:gd name="T27" fmla="*/ 6 h 238"/>
              <a:gd name="T28" fmla="*/ 110 w 257"/>
              <a:gd name="T29" fmla="*/ 28 h 238"/>
              <a:gd name="T30" fmla="*/ 88 w 257"/>
              <a:gd name="T31" fmla="*/ 38 h 238"/>
              <a:gd name="T32" fmla="*/ 75 w 257"/>
              <a:gd name="T33" fmla="*/ 44 h 238"/>
              <a:gd name="T34" fmla="*/ 66 w 257"/>
              <a:gd name="T35" fmla="*/ 35 h 238"/>
              <a:gd name="T36" fmla="*/ 54 w 257"/>
              <a:gd name="T37" fmla="*/ 38 h 238"/>
              <a:gd name="T38" fmla="*/ 60 w 257"/>
              <a:gd name="T39" fmla="*/ 56 h 238"/>
              <a:gd name="T40" fmla="*/ 50 w 257"/>
              <a:gd name="T41" fmla="*/ 60 h 238"/>
              <a:gd name="T42" fmla="*/ 32 w 257"/>
              <a:gd name="T43" fmla="*/ 56 h 238"/>
              <a:gd name="T44" fmla="*/ 16 w 257"/>
              <a:gd name="T45" fmla="*/ 60 h 238"/>
              <a:gd name="T46" fmla="*/ 4 w 257"/>
              <a:gd name="T47" fmla="*/ 69 h 238"/>
              <a:gd name="T48" fmla="*/ 7 w 257"/>
              <a:gd name="T49" fmla="*/ 69 h 238"/>
              <a:gd name="T50" fmla="*/ 10 w 257"/>
              <a:gd name="T51" fmla="*/ 75 h 238"/>
              <a:gd name="T52" fmla="*/ 10 w 257"/>
              <a:gd name="T53" fmla="*/ 85 h 238"/>
              <a:gd name="T54" fmla="*/ 25 w 257"/>
              <a:gd name="T55" fmla="*/ 85 h 238"/>
              <a:gd name="T56" fmla="*/ 38 w 257"/>
              <a:gd name="T57" fmla="*/ 88 h 238"/>
              <a:gd name="T58" fmla="*/ 44 w 257"/>
              <a:gd name="T59" fmla="*/ 97 h 238"/>
              <a:gd name="T60" fmla="*/ 54 w 257"/>
              <a:gd name="T61" fmla="*/ 97 h 238"/>
              <a:gd name="T62" fmla="*/ 47 w 257"/>
              <a:gd name="T63" fmla="*/ 107 h 238"/>
              <a:gd name="T64" fmla="*/ 66 w 257"/>
              <a:gd name="T65" fmla="*/ 119 h 238"/>
              <a:gd name="T66" fmla="*/ 66 w 257"/>
              <a:gd name="T67" fmla="*/ 135 h 238"/>
              <a:gd name="T68" fmla="*/ 72 w 257"/>
              <a:gd name="T69" fmla="*/ 141 h 238"/>
              <a:gd name="T70" fmla="*/ 69 w 257"/>
              <a:gd name="T71" fmla="*/ 160 h 238"/>
              <a:gd name="T72" fmla="*/ 60 w 257"/>
              <a:gd name="T73" fmla="*/ 191 h 238"/>
              <a:gd name="T74" fmla="*/ 69 w 257"/>
              <a:gd name="T75" fmla="*/ 197 h 238"/>
              <a:gd name="T76" fmla="*/ 94 w 257"/>
              <a:gd name="T77" fmla="*/ 207 h 238"/>
              <a:gd name="T78" fmla="*/ 116 w 257"/>
              <a:gd name="T79" fmla="*/ 207 h 238"/>
              <a:gd name="T80" fmla="*/ 141 w 257"/>
              <a:gd name="T81" fmla="*/ 213 h 238"/>
              <a:gd name="T82" fmla="*/ 154 w 257"/>
              <a:gd name="T83" fmla="*/ 185 h 238"/>
              <a:gd name="T84" fmla="*/ 169 w 257"/>
              <a:gd name="T85" fmla="*/ 191 h 238"/>
              <a:gd name="T86" fmla="*/ 201 w 257"/>
              <a:gd name="T87" fmla="*/ 197 h 238"/>
              <a:gd name="T88" fmla="*/ 219 w 257"/>
              <a:gd name="T89" fmla="*/ 178 h 238"/>
              <a:gd name="T90" fmla="*/ 207 w 257"/>
              <a:gd name="T91" fmla="*/ 153 h 238"/>
              <a:gd name="T92" fmla="*/ 207 w 257"/>
              <a:gd name="T93" fmla="*/ 135 h 238"/>
              <a:gd name="T94" fmla="*/ 251 w 257"/>
              <a:gd name="T95" fmla="*/ 238 h 238"/>
              <a:gd name="T96" fmla="*/ 244 w 257"/>
              <a:gd name="T97" fmla="*/ 229 h 238"/>
              <a:gd name="T98" fmla="*/ 241 w 257"/>
              <a:gd name="T99" fmla="*/ 222 h 238"/>
              <a:gd name="T100" fmla="*/ 241 w 257"/>
              <a:gd name="T101" fmla="*/ 216 h 238"/>
              <a:gd name="T102" fmla="*/ 251 w 257"/>
              <a:gd name="T103" fmla="*/ 207 h 238"/>
              <a:gd name="T104" fmla="*/ 254 w 257"/>
              <a:gd name="T105" fmla="*/ 197 h 238"/>
              <a:gd name="T106" fmla="*/ 257 w 257"/>
              <a:gd name="T107" fmla="*/ 22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7" h="238">
                <a:moveTo>
                  <a:pt x="210" y="128"/>
                </a:moveTo>
                <a:lnTo>
                  <a:pt x="207" y="125"/>
                </a:lnTo>
                <a:lnTo>
                  <a:pt x="207" y="125"/>
                </a:lnTo>
                <a:lnTo>
                  <a:pt x="204" y="119"/>
                </a:lnTo>
                <a:lnTo>
                  <a:pt x="204" y="116"/>
                </a:lnTo>
                <a:lnTo>
                  <a:pt x="197" y="116"/>
                </a:lnTo>
                <a:lnTo>
                  <a:pt x="194" y="119"/>
                </a:lnTo>
                <a:lnTo>
                  <a:pt x="194" y="122"/>
                </a:lnTo>
                <a:lnTo>
                  <a:pt x="191" y="125"/>
                </a:lnTo>
                <a:lnTo>
                  <a:pt x="188" y="125"/>
                </a:lnTo>
                <a:lnTo>
                  <a:pt x="185" y="122"/>
                </a:lnTo>
                <a:lnTo>
                  <a:pt x="188" y="119"/>
                </a:lnTo>
                <a:lnTo>
                  <a:pt x="191" y="119"/>
                </a:lnTo>
                <a:lnTo>
                  <a:pt x="191" y="116"/>
                </a:lnTo>
                <a:lnTo>
                  <a:pt x="191" y="110"/>
                </a:lnTo>
                <a:lnTo>
                  <a:pt x="197" y="103"/>
                </a:lnTo>
                <a:lnTo>
                  <a:pt x="201" y="100"/>
                </a:lnTo>
                <a:lnTo>
                  <a:pt x="204" y="97"/>
                </a:lnTo>
                <a:lnTo>
                  <a:pt x="207" y="94"/>
                </a:lnTo>
                <a:lnTo>
                  <a:pt x="207" y="91"/>
                </a:lnTo>
                <a:lnTo>
                  <a:pt x="204" y="88"/>
                </a:lnTo>
                <a:lnTo>
                  <a:pt x="204" y="85"/>
                </a:lnTo>
                <a:lnTo>
                  <a:pt x="210" y="85"/>
                </a:lnTo>
                <a:lnTo>
                  <a:pt x="210" y="88"/>
                </a:lnTo>
                <a:lnTo>
                  <a:pt x="213" y="88"/>
                </a:lnTo>
                <a:lnTo>
                  <a:pt x="219" y="88"/>
                </a:lnTo>
                <a:lnTo>
                  <a:pt x="219" y="81"/>
                </a:lnTo>
                <a:lnTo>
                  <a:pt x="216" y="81"/>
                </a:lnTo>
                <a:lnTo>
                  <a:pt x="216" y="75"/>
                </a:lnTo>
                <a:lnTo>
                  <a:pt x="216" y="69"/>
                </a:lnTo>
                <a:lnTo>
                  <a:pt x="219" y="66"/>
                </a:lnTo>
                <a:lnTo>
                  <a:pt x="219" y="63"/>
                </a:lnTo>
                <a:lnTo>
                  <a:pt x="222" y="56"/>
                </a:lnTo>
                <a:lnTo>
                  <a:pt x="226" y="53"/>
                </a:lnTo>
                <a:lnTo>
                  <a:pt x="222" y="50"/>
                </a:lnTo>
                <a:lnTo>
                  <a:pt x="219" y="50"/>
                </a:lnTo>
                <a:lnTo>
                  <a:pt x="213" y="47"/>
                </a:lnTo>
                <a:lnTo>
                  <a:pt x="210" y="47"/>
                </a:lnTo>
                <a:lnTo>
                  <a:pt x="207" y="47"/>
                </a:lnTo>
                <a:lnTo>
                  <a:pt x="204" y="47"/>
                </a:lnTo>
                <a:lnTo>
                  <a:pt x="201" y="50"/>
                </a:lnTo>
                <a:lnTo>
                  <a:pt x="197" y="47"/>
                </a:lnTo>
                <a:lnTo>
                  <a:pt x="197" y="44"/>
                </a:lnTo>
                <a:lnTo>
                  <a:pt x="194" y="41"/>
                </a:lnTo>
                <a:lnTo>
                  <a:pt x="191" y="41"/>
                </a:lnTo>
                <a:lnTo>
                  <a:pt x="185" y="41"/>
                </a:lnTo>
                <a:lnTo>
                  <a:pt x="185" y="38"/>
                </a:lnTo>
                <a:lnTo>
                  <a:pt x="182" y="38"/>
                </a:lnTo>
                <a:lnTo>
                  <a:pt x="179" y="38"/>
                </a:lnTo>
                <a:lnTo>
                  <a:pt x="175" y="35"/>
                </a:lnTo>
                <a:lnTo>
                  <a:pt x="172" y="35"/>
                </a:lnTo>
                <a:lnTo>
                  <a:pt x="166" y="28"/>
                </a:lnTo>
                <a:lnTo>
                  <a:pt x="163" y="28"/>
                </a:lnTo>
                <a:lnTo>
                  <a:pt x="163" y="28"/>
                </a:lnTo>
                <a:lnTo>
                  <a:pt x="160" y="28"/>
                </a:lnTo>
                <a:lnTo>
                  <a:pt x="157" y="28"/>
                </a:lnTo>
                <a:lnTo>
                  <a:pt x="154" y="25"/>
                </a:lnTo>
                <a:lnTo>
                  <a:pt x="154" y="22"/>
                </a:lnTo>
                <a:lnTo>
                  <a:pt x="150" y="19"/>
                </a:lnTo>
                <a:lnTo>
                  <a:pt x="147" y="19"/>
                </a:lnTo>
                <a:lnTo>
                  <a:pt x="147" y="19"/>
                </a:lnTo>
                <a:lnTo>
                  <a:pt x="141" y="13"/>
                </a:lnTo>
                <a:lnTo>
                  <a:pt x="141" y="10"/>
                </a:lnTo>
                <a:lnTo>
                  <a:pt x="135" y="10"/>
                </a:lnTo>
                <a:lnTo>
                  <a:pt x="135" y="0"/>
                </a:lnTo>
                <a:lnTo>
                  <a:pt x="132" y="0"/>
                </a:lnTo>
                <a:lnTo>
                  <a:pt x="132" y="0"/>
                </a:lnTo>
                <a:lnTo>
                  <a:pt x="125" y="3"/>
                </a:lnTo>
                <a:lnTo>
                  <a:pt x="122" y="3"/>
                </a:lnTo>
                <a:lnTo>
                  <a:pt x="119" y="6"/>
                </a:lnTo>
                <a:lnTo>
                  <a:pt x="116" y="10"/>
                </a:lnTo>
                <a:lnTo>
                  <a:pt x="116" y="13"/>
                </a:lnTo>
                <a:lnTo>
                  <a:pt x="116" y="22"/>
                </a:lnTo>
                <a:lnTo>
                  <a:pt x="110" y="25"/>
                </a:lnTo>
                <a:lnTo>
                  <a:pt x="110" y="28"/>
                </a:lnTo>
                <a:lnTo>
                  <a:pt x="104" y="31"/>
                </a:lnTo>
                <a:lnTo>
                  <a:pt x="100" y="31"/>
                </a:lnTo>
                <a:lnTo>
                  <a:pt x="97" y="28"/>
                </a:lnTo>
                <a:lnTo>
                  <a:pt x="91" y="35"/>
                </a:lnTo>
                <a:lnTo>
                  <a:pt x="88" y="38"/>
                </a:lnTo>
                <a:lnTo>
                  <a:pt x="88" y="38"/>
                </a:lnTo>
                <a:lnTo>
                  <a:pt x="94" y="41"/>
                </a:lnTo>
                <a:lnTo>
                  <a:pt x="88" y="44"/>
                </a:lnTo>
                <a:lnTo>
                  <a:pt x="82" y="44"/>
                </a:lnTo>
                <a:lnTo>
                  <a:pt x="75" y="44"/>
                </a:lnTo>
                <a:lnTo>
                  <a:pt x="72" y="41"/>
                </a:lnTo>
                <a:lnTo>
                  <a:pt x="69" y="44"/>
                </a:lnTo>
                <a:lnTo>
                  <a:pt x="66" y="41"/>
                </a:lnTo>
                <a:lnTo>
                  <a:pt x="66" y="38"/>
                </a:lnTo>
                <a:lnTo>
                  <a:pt x="66" y="35"/>
                </a:lnTo>
                <a:lnTo>
                  <a:pt x="63" y="35"/>
                </a:lnTo>
                <a:lnTo>
                  <a:pt x="60" y="35"/>
                </a:lnTo>
                <a:lnTo>
                  <a:pt x="57" y="35"/>
                </a:lnTo>
                <a:lnTo>
                  <a:pt x="54" y="35"/>
                </a:lnTo>
                <a:lnTo>
                  <a:pt x="54" y="38"/>
                </a:lnTo>
                <a:lnTo>
                  <a:pt x="54" y="41"/>
                </a:lnTo>
                <a:lnTo>
                  <a:pt x="60" y="47"/>
                </a:lnTo>
                <a:lnTo>
                  <a:pt x="60" y="50"/>
                </a:lnTo>
                <a:lnTo>
                  <a:pt x="60" y="53"/>
                </a:lnTo>
                <a:lnTo>
                  <a:pt x="60" y="56"/>
                </a:lnTo>
                <a:lnTo>
                  <a:pt x="60" y="56"/>
                </a:lnTo>
                <a:lnTo>
                  <a:pt x="63" y="60"/>
                </a:lnTo>
                <a:lnTo>
                  <a:pt x="54" y="60"/>
                </a:lnTo>
                <a:lnTo>
                  <a:pt x="50" y="63"/>
                </a:lnTo>
                <a:lnTo>
                  <a:pt x="50" y="60"/>
                </a:lnTo>
                <a:lnTo>
                  <a:pt x="44" y="63"/>
                </a:lnTo>
                <a:lnTo>
                  <a:pt x="44" y="60"/>
                </a:lnTo>
                <a:lnTo>
                  <a:pt x="41" y="63"/>
                </a:lnTo>
                <a:lnTo>
                  <a:pt x="35" y="56"/>
                </a:lnTo>
                <a:lnTo>
                  <a:pt x="32" y="56"/>
                </a:lnTo>
                <a:lnTo>
                  <a:pt x="25" y="56"/>
                </a:lnTo>
                <a:lnTo>
                  <a:pt x="22" y="60"/>
                </a:lnTo>
                <a:lnTo>
                  <a:pt x="22" y="60"/>
                </a:lnTo>
                <a:lnTo>
                  <a:pt x="19" y="60"/>
                </a:lnTo>
                <a:lnTo>
                  <a:pt x="16" y="60"/>
                </a:lnTo>
                <a:lnTo>
                  <a:pt x="13" y="60"/>
                </a:lnTo>
                <a:lnTo>
                  <a:pt x="10" y="63"/>
                </a:lnTo>
                <a:lnTo>
                  <a:pt x="4" y="63"/>
                </a:lnTo>
                <a:lnTo>
                  <a:pt x="0" y="66"/>
                </a:lnTo>
                <a:lnTo>
                  <a:pt x="4" y="69"/>
                </a:lnTo>
                <a:lnTo>
                  <a:pt x="7" y="66"/>
                </a:lnTo>
                <a:lnTo>
                  <a:pt x="10" y="69"/>
                </a:lnTo>
                <a:lnTo>
                  <a:pt x="10" y="69"/>
                </a:lnTo>
                <a:lnTo>
                  <a:pt x="7" y="69"/>
                </a:lnTo>
                <a:lnTo>
                  <a:pt x="7" y="69"/>
                </a:lnTo>
                <a:lnTo>
                  <a:pt x="7" y="72"/>
                </a:lnTo>
                <a:lnTo>
                  <a:pt x="7" y="69"/>
                </a:lnTo>
                <a:lnTo>
                  <a:pt x="10" y="72"/>
                </a:lnTo>
                <a:lnTo>
                  <a:pt x="10" y="72"/>
                </a:lnTo>
                <a:lnTo>
                  <a:pt x="10" y="75"/>
                </a:lnTo>
                <a:lnTo>
                  <a:pt x="4" y="75"/>
                </a:lnTo>
                <a:lnTo>
                  <a:pt x="4" y="75"/>
                </a:lnTo>
                <a:lnTo>
                  <a:pt x="10" y="75"/>
                </a:lnTo>
                <a:lnTo>
                  <a:pt x="10" y="81"/>
                </a:lnTo>
                <a:lnTo>
                  <a:pt x="10" y="85"/>
                </a:lnTo>
                <a:lnTo>
                  <a:pt x="13" y="81"/>
                </a:lnTo>
                <a:lnTo>
                  <a:pt x="16" y="81"/>
                </a:lnTo>
                <a:lnTo>
                  <a:pt x="19" y="81"/>
                </a:lnTo>
                <a:lnTo>
                  <a:pt x="25" y="85"/>
                </a:lnTo>
                <a:lnTo>
                  <a:pt x="25" y="85"/>
                </a:lnTo>
                <a:lnTo>
                  <a:pt x="29" y="85"/>
                </a:lnTo>
                <a:lnTo>
                  <a:pt x="32" y="88"/>
                </a:lnTo>
                <a:lnTo>
                  <a:pt x="35" y="85"/>
                </a:lnTo>
                <a:lnTo>
                  <a:pt x="38" y="85"/>
                </a:lnTo>
                <a:lnTo>
                  <a:pt x="38" y="88"/>
                </a:lnTo>
                <a:lnTo>
                  <a:pt x="38" y="91"/>
                </a:lnTo>
                <a:lnTo>
                  <a:pt x="41" y="88"/>
                </a:lnTo>
                <a:lnTo>
                  <a:pt x="44" y="91"/>
                </a:lnTo>
                <a:lnTo>
                  <a:pt x="41" y="94"/>
                </a:lnTo>
                <a:lnTo>
                  <a:pt x="44" y="97"/>
                </a:lnTo>
                <a:lnTo>
                  <a:pt x="47" y="97"/>
                </a:lnTo>
                <a:lnTo>
                  <a:pt x="50" y="94"/>
                </a:lnTo>
                <a:lnTo>
                  <a:pt x="54" y="94"/>
                </a:lnTo>
                <a:lnTo>
                  <a:pt x="57" y="97"/>
                </a:lnTo>
                <a:lnTo>
                  <a:pt x="54" y="97"/>
                </a:lnTo>
                <a:lnTo>
                  <a:pt x="50" y="97"/>
                </a:lnTo>
                <a:lnTo>
                  <a:pt x="47" y="100"/>
                </a:lnTo>
                <a:lnTo>
                  <a:pt x="50" y="100"/>
                </a:lnTo>
                <a:lnTo>
                  <a:pt x="50" y="103"/>
                </a:lnTo>
                <a:lnTo>
                  <a:pt x="47" y="107"/>
                </a:lnTo>
                <a:lnTo>
                  <a:pt x="50" y="110"/>
                </a:lnTo>
                <a:lnTo>
                  <a:pt x="54" y="110"/>
                </a:lnTo>
                <a:lnTo>
                  <a:pt x="57" y="116"/>
                </a:lnTo>
                <a:lnTo>
                  <a:pt x="63" y="116"/>
                </a:lnTo>
                <a:lnTo>
                  <a:pt x="66" y="119"/>
                </a:lnTo>
                <a:lnTo>
                  <a:pt x="66" y="122"/>
                </a:lnTo>
                <a:lnTo>
                  <a:pt x="69" y="125"/>
                </a:lnTo>
                <a:lnTo>
                  <a:pt x="66" y="132"/>
                </a:lnTo>
                <a:lnTo>
                  <a:pt x="66" y="132"/>
                </a:lnTo>
                <a:lnTo>
                  <a:pt x="66" y="135"/>
                </a:lnTo>
                <a:lnTo>
                  <a:pt x="69" y="135"/>
                </a:lnTo>
                <a:lnTo>
                  <a:pt x="75" y="138"/>
                </a:lnTo>
                <a:lnTo>
                  <a:pt x="79" y="150"/>
                </a:lnTo>
                <a:lnTo>
                  <a:pt x="75" y="144"/>
                </a:lnTo>
                <a:lnTo>
                  <a:pt x="72" y="141"/>
                </a:lnTo>
                <a:lnTo>
                  <a:pt x="69" y="138"/>
                </a:lnTo>
                <a:lnTo>
                  <a:pt x="66" y="141"/>
                </a:lnTo>
                <a:lnTo>
                  <a:pt x="66" y="150"/>
                </a:lnTo>
                <a:lnTo>
                  <a:pt x="66" y="157"/>
                </a:lnTo>
                <a:lnTo>
                  <a:pt x="69" y="160"/>
                </a:lnTo>
                <a:lnTo>
                  <a:pt x="66" y="160"/>
                </a:lnTo>
                <a:lnTo>
                  <a:pt x="63" y="175"/>
                </a:lnTo>
                <a:lnTo>
                  <a:pt x="60" y="185"/>
                </a:lnTo>
                <a:lnTo>
                  <a:pt x="57" y="188"/>
                </a:lnTo>
                <a:lnTo>
                  <a:pt x="60" y="191"/>
                </a:lnTo>
                <a:lnTo>
                  <a:pt x="60" y="191"/>
                </a:lnTo>
                <a:lnTo>
                  <a:pt x="63" y="191"/>
                </a:lnTo>
                <a:lnTo>
                  <a:pt x="63" y="197"/>
                </a:lnTo>
                <a:lnTo>
                  <a:pt x="63" y="200"/>
                </a:lnTo>
                <a:lnTo>
                  <a:pt x="69" y="197"/>
                </a:lnTo>
                <a:lnTo>
                  <a:pt x="75" y="200"/>
                </a:lnTo>
                <a:lnTo>
                  <a:pt x="79" y="207"/>
                </a:lnTo>
                <a:lnTo>
                  <a:pt x="85" y="204"/>
                </a:lnTo>
                <a:lnTo>
                  <a:pt x="88" y="210"/>
                </a:lnTo>
                <a:lnTo>
                  <a:pt x="94" y="207"/>
                </a:lnTo>
                <a:lnTo>
                  <a:pt x="97" y="210"/>
                </a:lnTo>
                <a:lnTo>
                  <a:pt x="100" y="207"/>
                </a:lnTo>
                <a:lnTo>
                  <a:pt x="110" y="207"/>
                </a:lnTo>
                <a:lnTo>
                  <a:pt x="113" y="207"/>
                </a:lnTo>
                <a:lnTo>
                  <a:pt x="116" y="207"/>
                </a:lnTo>
                <a:lnTo>
                  <a:pt x="122" y="210"/>
                </a:lnTo>
                <a:lnTo>
                  <a:pt x="132" y="210"/>
                </a:lnTo>
                <a:lnTo>
                  <a:pt x="138" y="213"/>
                </a:lnTo>
                <a:lnTo>
                  <a:pt x="141" y="213"/>
                </a:lnTo>
                <a:lnTo>
                  <a:pt x="141" y="213"/>
                </a:lnTo>
                <a:lnTo>
                  <a:pt x="141" y="207"/>
                </a:lnTo>
                <a:lnTo>
                  <a:pt x="141" y="200"/>
                </a:lnTo>
                <a:lnTo>
                  <a:pt x="141" y="197"/>
                </a:lnTo>
                <a:lnTo>
                  <a:pt x="147" y="191"/>
                </a:lnTo>
                <a:lnTo>
                  <a:pt x="154" y="185"/>
                </a:lnTo>
                <a:lnTo>
                  <a:pt x="154" y="185"/>
                </a:lnTo>
                <a:lnTo>
                  <a:pt x="157" y="188"/>
                </a:lnTo>
                <a:lnTo>
                  <a:pt x="163" y="188"/>
                </a:lnTo>
                <a:lnTo>
                  <a:pt x="166" y="191"/>
                </a:lnTo>
                <a:lnTo>
                  <a:pt x="169" y="191"/>
                </a:lnTo>
                <a:lnTo>
                  <a:pt x="172" y="188"/>
                </a:lnTo>
                <a:lnTo>
                  <a:pt x="175" y="188"/>
                </a:lnTo>
                <a:lnTo>
                  <a:pt x="188" y="194"/>
                </a:lnTo>
                <a:lnTo>
                  <a:pt x="191" y="197"/>
                </a:lnTo>
                <a:lnTo>
                  <a:pt x="201" y="197"/>
                </a:lnTo>
                <a:lnTo>
                  <a:pt x="204" y="194"/>
                </a:lnTo>
                <a:lnTo>
                  <a:pt x="204" y="194"/>
                </a:lnTo>
                <a:lnTo>
                  <a:pt x="207" y="188"/>
                </a:lnTo>
                <a:lnTo>
                  <a:pt x="219" y="178"/>
                </a:lnTo>
                <a:lnTo>
                  <a:pt x="219" y="178"/>
                </a:lnTo>
                <a:lnTo>
                  <a:pt x="216" y="175"/>
                </a:lnTo>
                <a:lnTo>
                  <a:pt x="219" y="169"/>
                </a:lnTo>
                <a:lnTo>
                  <a:pt x="213" y="169"/>
                </a:lnTo>
                <a:lnTo>
                  <a:pt x="207" y="166"/>
                </a:lnTo>
                <a:lnTo>
                  <a:pt x="207" y="153"/>
                </a:lnTo>
                <a:lnTo>
                  <a:pt x="204" y="150"/>
                </a:lnTo>
                <a:lnTo>
                  <a:pt x="204" y="147"/>
                </a:lnTo>
                <a:lnTo>
                  <a:pt x="210" y="147"/>
                </a:lnTo>
                <a:lnTo>
                  <a:pt x="210" y="141"/>
                </a:lnTo>
                <a:lnTo>
                  <a:pt x="207" y="135"/>
                </a:lnTo>
                <a:lnTo>
                  <a:pt x="207" y="132"/>
                </a:lnTo>
                <a:lnTo>
                  <a:pt x="207" y="128"/>
                </a:lnTo>
                <a:lnTo>
                  <a:pt x="210" y="128"/>
                </a:lnTo>
                <a:lnTo>
                  <a:pt x="210" y="128"/>
                </a:lnTo>
                <a:close/>
                <a:moveTo>
                  <a:pt x="251" y="238"/>
                </a:moveTo>
                <a:lnTo>
                  <a:pt x="244" y="235"/>
                </a:lnTo>
                <a:lnTo>
                  <a:pt x="241" y="232"/>
                </a:lnTo>
                <a:lnTo>
                  <a:pt x="244" y="232"/>
                </a:lnTo>
                <a:lnTo>
                  <a:pt x="244" y="232"/>
                </a:lnTo>
                <a:lnTo>
                  <a:pt x="244" y="229"/>
                </a:lnTo>
                <a:lnTo>
                  <a:pt x="244" y="229"/>
                </a:lnTo>
                <a:lnTo>
                  <a:pt x="244" y="225"/>
                </a:lnTo>
                <a:lnTo>
                  <a:pt x="241" y="225"/>
                </a:lnTo>
                <a:lnTo>
                  <a:pt x="238" y="222"/>
                </a:lnTo>
                <a:lnTo>
                  <a:pt x="241" y="222"/>
                </a:lnTo>
                <a:lnTo>
                  <a:pt x="241" y="222"/>
                </a:lnTo>
                <a:lnTo>
                  <a:pt x="238" y="219"/>
                </a:lnTo>
                <a:lnTo>
                  <a:pt x="238" y="216"/>
                </a:lnTo>
                <a:lnTo>
                  <a:pt x="238" y="216"/>
                </a:lnTo>
                <a:lnTo>
                  <a:pt x="241" y="216"/>
                </a:lnTo>
                <a:lnTo>
                  <a:pt x="238" y="213"/>
                </a:lnTo>
                <a:lnTo>
                  <a:pt x="241" y="207"/>
                </a:lnTo>
                <a:lnTo>
                  <a:pt x="247" y="207"/>
                </a:lnTo>
                <a:lnTo>
                  <a:pt x="247" y="204"/>
                </a:lnTo>
                <a:lnTo>
                  <a:pt x="251" y="207"/>
                </a:lnTo>
                <a:lnTo>
                  <a:pt x="254" y="207"/>
                </a:lnTo>
                <a:lnTo>
                  <a:pt x="254" y="204"/>
                </a:lnTo>
                <a:lnTo>
                  <a:pt x="254" y="200"/>
                </a:lnTo>
                <a:lnTo>
                  <a:pt x="254" y="197"/>
                </a:lnTo>
                <a:lnTo>
                  <a:pt x="254" y="197"/>
                </a:lnTo>
                <a:lnTo>
                  <a:pt x="257" y="204"/>
                </a:lnTo>
                <a:lnTo>
                  <a:pt x="257" y="207"/>
                </a:lnTo>
                <a:lnTo>
                  <a:pt x="257" y="216"/>
                </a:lnTo>
                <a:lnTo>
                  <a:pt x="254" y="225"/>
                </a:lnTo>
                <a:lnTo>
                  <a:pt x="257" y="229"/>
                </a:lnTo>
                <a:lnTo>
                  <a:pt x="254" y="235"/>
                </a:lnTo>
                <a:lnTo>
                  <a:pt x="251" y="238"/>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8" name="Freeform 76">
            <a:extLst>
              <a:ext uri="{FF2B5EF4-FFF2-40B4-BE49-F238E27FC236}">
                <a16:creationId xmlns:a16="http://schemas.microsoft.com/office/drawing/2014/main" id="{F08762F7-E9B7-93CF-639B-C3CE9FA8BB2D}"/>
              </a:ext>
            </a:extLst>
          </p:cNvPr>
          <p:cNvSpPr>
            <a:spLocks/>
          </p:cNvSpPr>
          <p:nvPr userDrawn="1"/>
        </p:nvSpPr>
        <p:spPr bwMode="auto">
          <a:xfrm>
            <a:off x="14013539" y="7031909"/>
            <a:ext cx="19049" cy="19050"/>
          </a:xfrm>
          <a:custGeom>
            <a:avLst/>
            <a:gdLst>
              <a:gd name="T0" fmla="*/ 0 w 6"/>
              <a:gd name="T1" fmla="*/ 0 h 6"/>
              <a:gd name="T2" fmla="*/ 0 w 6"/>
              <a:gd name="T3" fmla="*/ 3 h 6"/>
              <a:gd name="T4" fmla="*/ 3 w 6"/>
              <a:gd name="T5" fmla="*/ 6 h 6"/>
              <a:gd name="T6" fmla="*/ 6 w 6"/>
              <a:gd name="T7" fmla="*/ 3 h 6"/>
              <a:gd name="T8" fmla="*/ 6 w 6"/>
              <a:gd name="T9" fmla="*/ 0 h 6"/>
              <a:gd name="T10" fmla="*/ 0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0" y="0"/>
                </a:moveTo>
                <a:lnTo>
                  <a:pt x="0" y="3"/>
                </a:lnTo>
                <a:lnTo>
                  <a:pt x="3" y="6"/>
                </a:lnTo>
                <a:lnTo>
                  <a:pt x="6" y="3"/>
                </a:lnTo>
                <a:lnTo>
                  <a:pt x="6" y="0"/>
                </a:lnTo>
                <a:lnTo>
                  <a:pt x="0" y="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79" name="Freeform 77">
            <a:extLst>
              <a:ext uri="{FF2B5EF4-FFF2-40B4-BE49-F238E27FC236}">
                <a16:creationId xmlns:a16="http://schemas.microsoft.com/office/drawing/2014/main" id="{F33C48FF-74FE-7EC6-0B97-DCB2E5F08E2B}"/>
              </a:ext>
            </a:extLst>
          </p:cNvPr>
          <p:cNvSpPr>
            <a:spLocks noEditPoints="1"/>
          </p:cNvSpPr>
          <p:nvPr userDrawn="1"/>
        </p:nvSpPr>
        <p:spPr bwMode="auto">
          <a:xfrm>
            <a:off x="13537322" y="6187361"/>
            <a:ext cx="704804" cy="796926"/>
          </a:xfrm>
          <a:custGeom>
            <a:avLst/>
            <a:gdLst>
              <a:gd name="T0" fmla="*/ 3 w 222"/>
              <a:gd name="T1" fmla="*/ 66 h 251"/>
              <a:gd name="T2" fmla="*/ 6 w 222"/>
              <a:gd name="T3" fmla="*/ 41 h 251"/>
              <a:gd name="T4" fmla="*/ 15 w 222"/>
              <a:gd name="T5" fmla="*/ 25 h 251"/>
              <a:gd name="T6" fmla="*/ 40 w 222"/>
              <a:gd name="T7" fmla="*/ 25 h 251"/>
              <a:gd name="T8" fmla="*/ 56 w 222"/>
              <a:gd name="T9" fmla="*/ 19 h 251"/>
              <a:gd name="T10" fmla="*/ 72 w 222"/>
              <a:gd name="T11" fmla="*/ 3 h 251"/>
              <a:gd name="T12" fmla="*/ 97 w 222"/>
              <a:gd name="T13" fmla="*/ 3 h 251"/>
              <a:gd name="T14" fmla="*/ 125 w 222"/>
              <a:gd name="T15" fmla="*/ 19 h 251"/>
              <a:gd name="T16" fmla="*/ 115 w 222"/>
              <a:gd name="T17" fmla="*/ 35 h 251"/>
              <a:gd name="T18" fmla="*/ 100 w 222"/>
              <a:gd name="T19" fmla="*/ 44 h 251"/>
              <a:gd name="T20" fmla="*/ 103 w 222"/>
              <a:gd name="T21" fmla="*/ 63 h 251"/>
              <a:gd name="T22" fmla="*/ 122 w 222"/>
              <a:gd name="T23" fmla="*/ 82 h 251"/>
              <a:gd name="T24" fmla="*/ 137 w 222"/>
              <a:gd name="T25" fmla="*/ 107 h 251"/>
              <a:gd name="T26" fmla="*/ 156 w 222"/>
              <a:gd name="T27" fmla="*/ 122 h 251"/>
              <a:gd name="T28" fmla="*/ 178 w 222"/>
              <a:gd name="T29" fmla="*/ 125 h 251"/>
              <a:gd name="T30" fmla="*/ 178 w 222"/>
              <a:gd name="T31" fmla="*/ 138 h 251"/>
              <a:gd name="T32" fmla="*/ 218 w 222"/>
              <a:gd name="T33" fmla="*/ 157 h 251"/>
              <a:gd name="T34" fmla="*/ 222 w 222"/>
              <a:gd name="T35" fmla="*/ 172 h 251"/>
              <a:gd name="T36" fmla="*/ 212 w 222"/>
              <a:gd name="T37" fmla="*/ 166 h 251"/>
              <a:gd name="T38" fmla="*/ 197 w 222"/>
              <a:gd name="T39" fmla="*/ 160 h 251"/>
              <a:gd name="T40" fmla="*/ 190 w 222"/>
              <a:gd name="T41" fmla="*/ 169 h 251"/>
              <a:gd name="T42" fmla="*/ 190 w 222"/>
              <a:gd name="T43" fmla="*/ 179 h 251"/>
              <a:gd name="T44" fmla="*/ 197 w 222"/>
              <a:gd name="T45" fmla="*/ 197 h 251"/>
              <a:gd name="T46" fmla="*/ 184 w 222"/>
              <a:gd name="T47" fmla="*/ 219 h 251"/>
              <a:gd name="T48" fmla="*/ 172 w 222"/>
              <a:gd name="T49" fmla="*/ 213 h 251"/>
              <a:gd name="T50" fmla="*/ 178 w 222"/>
              <a:gd name="T51" fmla="*/ 200 h 251"/>
              <a:gd name="T52" fmla="*/ 178 w 222"/>
              <a:gd name="T53" fmla="*/ 185 h 251"/>
              <a:gd name="T54" fmla="*/ 168 w 222"/>
              <a:gd name="T55" fmla="*/ 169 h 251"/>
              <a:gd name="T56" fmla="*/ 156 w 222"/>
              <a:gd name="T57" fmla="*/ 163 h 251"/>
              <a:gd name="T58" fmla="*/ 147 w 222"/>
              <a:gd name="T59" fmla="*/ 150 h 251"/>
              <a:gd name="T60" fmla="*/ 131 w 222"/>
              <a:gd name="T61" fmla="*/ 141 h 251"/>
              <a:gd name="T62" fmla="*/ 118 w 222"/>
              <a:gd name="T63" fmla="*/ 138 h 251"/>
              <a:gd name="T64" fmla="*/ 93 w 222"/>
              <a:gd name="T65" fmla="*/ 116 h 251"/>
              <a:gd name="T66" fmla="*/ 75 w 222"/>
              <a:gd name="T67" fmla="*/ 100 h 251"/>
              <a:gd name="T68" fmla="*/ 65 w 222"/>
              <a:gd name="T69" fmla="*/ 82 h 251"/>
              <a:gd name="T70" fmla="*/ 50 w 222"/>
              <a:gd name="T71" fmla="*/ 69 h 251"/>
              <a:gd name="T72" fmla="*/ 15 w 222"/>
              <a:gd name="T73" fmla="*/ 78 h 251"/>
              <a:gd name="T74" fmla="*/ 34 w 222"/>
              <a:gd name="T75" fmla="*/ 141 h 251"/>
              <a:gd name="T76" fmla="*/ 28 w 222"/>
              <a:gd name="T77" fmla="*/ 144 h 251"/>
              <a:gd name="T78" fmla="*/ 78 w 222"/>
              <a:gd name="T79" fmla="*/ 113 h 251"/>
              <a:gd name="T80" fmla="*/ 72 w 222"/>
              <a:gd name="T81" fmla="*/ 104 h 251"/>
              <a:gd name="T82" fmla="*/ 62 w 222"/>
              <a:gd name="T83" fmla="*/ 104 h 251"/>
              <a:gd name="T84" fmla="*/ 47 w 222"/>
              <a:gd name="T85" fmla="*/ 194 h 251"/>
              <a:gd name="T86" fmla="*/ 56 w 222"/>
              <a:gd name="T87" fmla="*/ 191 h 251"/>
              <a:gd name="T88" fmla="*/ 53 w 222"/>
              <a:gd name="T89" fmla="*/ 160 h 251"/>
              <a:gd name="T90" fmla="*/ 53 w 222"/>
              <a:gd name="T91" fmla="*/ 144 h 251"/>
              <a:gd name="T92" fmla="*/ 34 w 222"/>
              <a:gd name="T93" fmla="*/ 150 h 251"/>
              <a:gd name="T94" fmla="*/ 31 w 222"/>
              <a:gd name="T95" fmla="*/ 160 h 251"/>
              <a:gd name="T96" fmla="*/ 37 w 222"/>
              <a:gd name="T97" fmla="*/ 172 h 251"/>
              <a:gd name="T98" fmla="*/ 37 w 222"/>
              <a:gd name="T99" fmla="*/ 194 h 251"/>
              <a:gd name="T100" fmla="*/ 165 w 222"/>
              <a:gd name="T101" fmla="*/ 244 h 251"/>
              <a:gd name="T102" fmla="*/ 168 w 222"/>
              <a:gd name="T103" fmla="*/ 216 h 251"/>
              <a:gd name="T104" fmla="*/ 150 w 222"/>
              <a:gd name="T105" fmla="*/ 219 h 251"/>
              <a:gd name="T106" fmla="*/ 122 w 222"/>
              <a:gd name="T107" fmla="*/ 216 h 251"/>
              <a:gd name="T108" fmla="*/ 115 w 222"/>
              <a:gd name="T109" fmla="*/ 229 h 251"/>
              <a:gd name="T110" fmla="*/ 143 w 222"/>
              <a:gd name="T111" fmla="*/ 241 h 251"/>
              <a:gd name="T112" fmla="*/ 162 w 222"/>
              <a:gd name="T113" fmla="*/ 251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2" h="251">
                <a:moveTo>
                  <a:pt x="15" y="78"/>
                </a:moveTo>
                <a:lnTo>
                  <a:pt x="12" y="75"/>
                </a:lnTo>
                <a:lnTo>
                  <a:pt x="15" y="69"/>
                </a:lnTo>
                <a:lnTo>
                  <a:pt x="9" y="69"/>
                </a:lnTo>
                <a:lnTo>
                  <a:pt x="3" y="66"/>
                </a:lnTo>
                <a:lnTo>
                  <a:pt x="3" y="53"/>
                </a:lnTo>
                <a:lnTo>
                  <a:pt x="0" y="50"/>
                </a:lnTo>
                <a:lnTo>
                  <a:pt x="0" y="47"/>
                </a:lnTo>
                <a:lnTo>
                  <a:pt x="6" y="47"/>
                </a:lnTo>
                <a:lnTo>
                  <a:pt x="6" y="41"/>
                </a:lnTo>
                <a:lnTo>
                  <a:pt x="3" y="35"/>
                </a:lnTo>
                <a:lnTo>
                  <a:pt x="3" y="32"/>
                </a:lnTo>
                <a:lnTo>
                  <a:pt x="3" y="28"/>
                </a:lnTo>
                <a:lnTo>
                  <a:pt x="9" y="32"/>
                </a:lnTo>
                <a:lnTo>
                  <a:pt x="15" y="25"/>
                </a:lnTo>
                <a:lnTo>
                  <a:pt x="22" y="28"/>
                </a:lnTo>
                <a:lnTo>
                  <a:pt x="28" y="16"/>
                </a:lnTo>
                <a:lnTo>
                  <a:pt x="34" y="19"/>
                </a:lnTo>
                <a:lnTo>
                  <a:pt x="34" y="22"/>
                </a:lnTo>
                <a:lnTo>
                  <a:pt x="40" y="25"/>
                </a:lnTo>
                <a:lnTo>
                  <a:pt x="40" y="28"/>
                </a:lnTo>
                <a:lnTo>
                  <a:pt x="43" y="22"/>
                </a:lnTo>
                <a:lnTo>
                  <a:pt x="43" y="16"/>
                </a:lnTo>
                <a:lnTo>
                  <a:pt x="53" y="19"/>
                </a:lnTo>
                <a:lnTo>
                  <a:pt x="56" y="19"/>
                </a:lnTo>
                <a:lnTo>
                  <a:pt x="59" y="22"/>
                </a:lnTo>
                <a:lnTo>
                  <a:pt x="62" y="16"/>
                </a:lnTo>
                <a:lnTo>
                  <a:pt x="68" y="13"/>
                </a:lnTo>
                <a:lnTo>
                  <a:pt x="65" y="7"/>
                </a:lnTo>
                <a:lnTo>
                  <a:pt x="72" y="3"/>
                </a:lnTo>
                <a:lnTo>
                  <a:pt x="78" y="3"/>
                </a:lnTo>
                <a:lnTo>
                  <a:pt x="87" y="0"/>
                </a:lnTo>
                <a:lnTo>
                  <a:pt x="90" y="0"/>
                </a:lnTo>
                <a:lnTo>
                  <a:pt x="100" y="0"/>
                </a:lnTo>
                <a:lnTo>
                  <a:pt x="97" y="3"/>
                </a:lnTo>
                <a:lnTo>
                  <a:pt x="106" y="10"/>
                </a:lnTo>
                <a:lnTo>
                  <a:pt x="118" y="13"/>
                </a:lnTo>
                <a:lnTo>
                  <a:pt x="125" y="10"/>
                </a:lnTo>
                <a:lnTo>
                  <a:pt x="128" y="13"/>
                </a:lnTo>
                <a:lnTo>
                  <a:pt x="125" y="19"/>
                </a:lnTo>
                <a:lnTo>
                  <a:pt x="125" y="22"/>
                </a:lnTo>
                <a:lnTo>
                  <a:pt x="122" y="28"/>
                </a:lnTo>
                <a:lnTo>
                  <a:pt x="125" y="35"/>
                </a:lnTo>
                <a:lnTo>
                  <a:pt x="118" y="32"/>
                </a:lnTo>
                <a:lnTo>
                  <a:pt x="115" y="35"/>
                </a:lnTo>
                <a:lnTo>
                  <a:pt x="115" y="38"/>
                </a:lnTo>
                <a:lnTo>
                  <a:pt x="109" y="38"/>
                </a:lnTo>
                <a:lnTo>
                  <a:pt x="106" y="41"/>
                </a:lnTo>
                <a:lnTo>
                  <a:pt x="103" y="41"/>
                </a:lnTo>
                <a:lnTo>
                  <a:pt x="100" y="44"/>
                </a:lnTo>
                <a:lnTo>
                  <a:pt x="103" y="47"/>
                </a:lnTo>
                <a:lnTo>
                  <a:pt x="106" y="50"/>
                </a:lnTo>
                <a:lnTo>
                  <a:pt x="103" y="57"/>
                </a:lnTo>
                <a:lnTo>
                  <a:pt x="100" y="57"/>
                </a:lnTo>
                <a:lnTo>
                  <a:pt x="103" y="63"/>
                </a:lnTo>
                <a:lnTo>
                  <a:pt x="103" y="69"/>
                </a:lnTo>
                <a:lnTo>
                  <a:pt x="106" y="72"/>
                </a:lnTo>
                <a:lnTo>
                  <a:pt x="112" y="75"/>
                </a:lnTo>
                <a:lnTo>
                  <a:pt x="118" y="78"/>
                </a:lnTo>
                <a:lnTo>
                  <a:pt x="122" y="82"/>
                </a:lnTo>
                <a:lnTo>
                  <a:pt x="134" y="94"/>
                </a:lnTo>
                <a:lnTo>
                  <a:pt x="134" y="97"/>
                </a:lnTo>
                <a:lnTo>
                  <a:pt x="134" y="97"/>
                </a:lnTo>
                <a:lnTo>
                  <a:pt x="134" y="104"/>
                </a:lnTo>
                <a:lnTo>
                  <a:pt x="137" y="107"/>
                </a:lnTo>
                <a:lnTo>
                  <a:pt x="140" y="110"/>
                </a:lnTo>
                <a:lnTo>
                  <a:pt x="143" y="116"/>
                </a:lnTo>
                <a:lnTo>
                  <a:pt x="150" y="119"/>
                </a:lnTo>
                <a:lnTo>
                  <a:pt x="153" y="122"/>
                </a:lnTo>
                <a:lnTo>
                  <a:pt x="156" y="122"/>
                </a:lnTo>
                <a:lnTo>
                  <a:pt x="159" y="125"/>
                </a:lnTo>
                <a:lnTo>
                  <a:pt x="165" y="125"/>
                </a:lnTo>
                <a:lnTo>
                  <a:pt x="168" y="125"/>
                </a:lnTo>
                <a:lnTo>
                  <a:pt x="175" y="125"/>
                </a:lnTo>
                <a:lnTo>
                  <a:pt x="178" y="125"/>
                </a:lnTo>
                <a:lnTo>
                  <a:pt x="178" y="129"/>
                </a:lnTo>
                <a:lnTo>
                  <a:pt x="172" y="132"/>
                </a:lnTo>
                <a:lnTo>
                  <a:pt x="172" y="135"/>
                </a:lnTo>
                <a:lnTo>
                  <a:pt x="175" y="138"/>
                </a:lnTo>
                <a:lnTo>
                  <a:pt x="178" y="138"/>
                </a:lnTo>
                <a:lnTo>
                  <a:pt x="184" y="138"/>
                </a:lnTo>
                <a:lnTo>
                  <a:pt x="200" y="147"/>
                </a:lnTo>
                <a:lnTo>
                  <a:pt x="206" y="150"/>
                </a:lnTo>
                <a:lnTo>
                  <a:pt x="212" y="157"/>
                </a:lnTo>
                <a:lnTo>
                  <a:pt x="218" y="157"/>
                </a:lnTo>
                <a:lnTo>
                  <a:pt x="222" y="160"/>
                </a:lnTo>
                <a:lnTo>
                  <a:pt x="222" y="163"/>
                </a:lnTo>
                <a:lnTo>
                  <a:pt x="222" y="166"/>
                </a:lnTo>
                <a:lnTo>
                  <a:pt x="218" y="169"/>
                </a:lnTo>
                <a:lnTo>
                  <a:pt x="222" y="172"/>
                </a:lnTo>
                <a:lnTo>
                  <a:pt x="218" y="172"/>
                </a:lnTo>
                <a:lnTo>
                  <a:pt x="218" y="175"/>
                </a:lnTo>
                <a:lnTo>
                  <a:pt x="215" y="172"/>
                </a:lnTo>
                <a:lnTo>
                  <a:pt x="212" y="169"/>
                </a:lnTo>
                <a:lnTo>
                  <a:pt x="212" y="166"/>
                </a:lnTo>
                <a:lnTo>
                  <a:pt x="212" y="163"/>
                </a:lnTo>
                <a:lnTo>
                  <a:pt x="209" y="163"/>
                </a:lnTo>
                <a:lnTo>
                  <a:pt x="203" y="163"/>
                </a:lnTo>
                <a:lnTo>
                  <a:pt x="203" y="160"/>
                </a:lnTo>
                <a:lnTo>
                  <a:pt x="197" y="160"/>
                </a:lnTo>
                <a:lnTo>
                  <a:pt x="197" y="160"/>
                </a:lnTo>
                <a:lnTo>
                  <a:pt x="193" y="160"/>
                </a:lnTo>
                <a:lnTo>
                  <a:pt x="193" y="166"/>
                </a:lnTo>
                <a:lnTo>
                  <a:pt x="190" y="166"/>
                </a:lnTo>
                <a:lnTo>
                  <a:pt x="190" y="169"/>
                </a:lnTo>
                <a:lnTo>
                  <a:pt x="190" y="172"/>
                </a:lnTo>
                <a:lnTo>
                  <a:pt x="187" y="175"/>
                </a:lnTo>
                <a:lnTo>
                  <a:pt x="187" y="179"/>
                </a:lnTo>
                <a:lnTo>
                  <a:pt x="187" y="179"/>
                </a:lnTo>
                <a:lnTo>
                  <a:pt x="190" y="179"/>
                </a:lnTo>
                <a:lnTo>
                  <a:pt x="197" y="185"/>
                </a:lnTo>
                <a:lnTo>
                  <a:pt x="197" y="188"/>
                </a:lnTo>
                <a:lnTo>
                  <a:pt x="197" y="191"/>
                </a:lnTo>
                <a:lnTo>
                  <a:pt x="200" y="194"/>
                </a:lnTo>
                <a:lnTo>
                  <a:pt x="197" y="197"/>
                </a:lnTo>
                <a:lnTo>
                  <a:pt x="193" y="197"/>
                </a:lnTo>
                <a:lnTo>
                  <a:pt x="190" y="200"/>
                </a:lnTo>
                <a:lnTo>
                  <a:pt x="190" y="210"/>
                </a:lnTo>
                <a:lnTo>
                  <a:pt x="184" y="213"/>
                </a:lnTo>
                <a:lnTo>
                  <a:pt x="184" y="219"/>
                </a:lnTo>
                <a:lnTo>
                  <a:pt x="181" y="222"/>
                </a:lnTo>
                <a:lnTo>
                  <a:pt x="175" y="222"/>
                </a:lnTo>
                <a:lnTo>
                  <a:pt x="172" y="219"/>
                </a:lnTo>
                <a:lnTo>
                  <a:pt x="172" y="216"/>
                </a:lnTo>
                <a:lnTo>
                  <a:pt x="172" y="213"/>
                </a:lnTo>
                <a:lnTo>
                  <a:pt x="175" y="213"/>
                </a:lnTo>
                <a:lnTo>
                  <a:pt x="178" y="210"/>
                </a:lnTo>
                <a:lnTo>
                  <a:pt x="178" y="207"/>
                </a:lnTo>
                <a:lnTo>
                  <a:pt x="178" y="204"/>
                </a:lnTo>
                <a:lnTo>
                  <a:pt x="178" y="200"/>
                </a:lnTo>
                <a:lnTo>
                  <a:pt x="178" y="200"/>
                </a:lnTo>
                <a:lnTo>
                  <a:pt x="181" y="200"/>
                </a:lnTo>
                <a:lnTo>
                  <a:pt x="181" y="194"/>
                </a:lnTo>
                <a:lnTo>
                  <a:pt x="178" y="191"/>
                </a:lnTo>
                <a:lnTo>
                  <a:pt x="178" y="185"/>
                </a:lnTo>
                <a:lnTo>
                  <a:pt x="175" y="182"/>
                </a:lnTo>
                <a:lnTo>
                  <a:pt x="175" y="175"/>
                </a:lnTo>
                <a:lnTo>
                  <a:pt x="172" y="169"/>
                </a:lnTo>
                <a:lnTo>
                  <a:pt x="168" y="169"/>
                </a:lnTo>
                <a:lnTo>
                  <a:pt x="168" y="169"/>
                </a:lnTo>
                <a:lnTo>
                  <a:pt x="162" y="169"/>
                </a:lnTo>
                <a:lnTo>
                  <a:pt x="162" y="166"/>
                </a:lnTo>
                <a:lnTo>
                  <a:pt x="156" y="166"/>
                </a:lnTo>
                <a:lnTo>
                  <a:pt x="156" y="163"/>
                </a:lnTo>
                <a:lnTo>
                  <a:pt x="156" y="163"/>
                </a:lnTo>
                <a:lnTo>
                  <a:pt x="156" y="157"/>
                </a:lnTo>
                <a:lnTo>
                  <a:pt x="153" y="154"/>
                </a:lnTo>
                <a:lnTo>
                  <a:pt x="150" y="154"/>
                </a:lnTo>
                <a:lnTo>
                  <a:pt x="147" y="154"/>
                </a:lnTo>
                <a:lnTo>
                  <a:pt x="147" y="150"/>
                </a:lnTo>
                <a:lnTo>
                  <a:pt x="143" y="150"/>
                </a:lnTo>
                <a:lnTo>
                  <a:pt x="140" y="150"/>
                </a:lnTo>
                <a:lnTo>
                  <a:pt x="140" y="150"/>
                </a:lnTo>
                <a:lnTo>
                  <a:pt x="134" y="141"/>
                </a:lnTo>
                <a:lnTo>
                  <a:pt x="131" y="141"/>
                </a:lnTo>
                <a:lnTo>
                  <a:pt x="128" y="141"/>
                </a:lnTo>
                <a:lnTo>
                  <a:pt x="125" y="144"/>
                </a:lnTo>
                <a:lnTo>
                  <a:pt x="122" y="144"/>
                </a:lnTo>
                <a:lnTo>
                  <a:pt x="122" y="138"/>
                </a:lnTo>
                <a:lnTo>
                  <a:pt x="118" y="138"/>
                </a:lnTo>
                <a:lnTo>
                  <a:pt x="112" y="138"/>
                </a:lnTo>
                <a:lnTo>
                  <a:pt x="106" y="132"/>
                </a:lnTo>
                <a:lnTo>
                  <a:pt x="97" y="119"/>
                </a:lnTo>
                <a:lnTo>
                  <a:pt x="97" y="119"/>
                </a:lnTo>
                <a:lnTo>
                  <a:pt x="93" y="116"/>
                </a:lnTo>
                <a:lnTo>
                  <a:pt x="90" y="113"/>
                </a:lnTo>
                <a:lnTo>
                  <a:pt x="84" y="113"/>
                </a:lnTo>
                <a:lnTo>
                  <a:pt x="84" y="107"/>
                </a:lnTo>
                <a:lnTo>
                  <a:pt x="78" y="104"/>
                </a:lnTo>
                <a:lnTo>
                  <a:pt x="75" y="100"/>
                </a:lnTo>
                <a:lnTo>
                  <a:pt x="72" y="97"/>
                </a:lnTo>
                <a:lnTo>
                  <a:pt x="72" y="91"/>
                </a:lnTo>
                <a:lnTo>
                  <a:pt x="68" y="91"/>
                </a:lnTo>
                <a:lnTo>
                  <a:pt x="68" y="85"/>
                </a:lnTo>
                <a:lnTo>
                  <a:pt x="65" y="82"/>
                </a:lnTo>
                <a:lnTo>
                  <a:pt x="62" y="78"/>
                </a:lnTo>
                <a:lnTo>
                  <a:pt x="62" y="75"/>
                </a:lnTo>
                <a:lnTo>
                  <a:pt x="62" y="72"/>
                </a:lnTo>
                <a:lnTo>
                  <a:pt x="56" y="69"/>
                </a:lnTo>
                <a:lnTo>
                  <a:pt x="50" y="69"/>
                </a:lnTo>
                <a:lnTo>
                  <a:pt x="37" y="66"/>
                </a:lnTo>
                <a:lnTo>
                  <a:pt x="28" y="69"/>
                </a:lnTo>
                <a:lnTo>
                  <a:pt x="28" y="72"/>
                </a:lnTo>
                <a:lnTo>
                  <a:pt x="25" y="78"/>
                </a:lnTo>
                <a:lnTo>
                  <a:pt x="15" y="78"/>
                </a:lnTo>
                <a:lnTo>
                  <a:pt x="15" y="78"/>
                </a:lnTo>
                <a:close/>
                <a:moveTo>
                  <a:pt x="28" y="144"/>
                </a:moveTo>
                <a:lnTo>
                  <a:pt x="31" y="144"/>
                </a:lnTo>
                <a:lnTo>
                  <a:pt x="31" y="144"/>
                </a:lnTo>
                <a:lnTo>
                  <a:pt x="34" y="141"/>
                </a:lnTo>
                <a:lnTo>
                  <a:pt x="31" y="141"/>
                </a:lnTo>
                <a:lnTo>
                  <a:pt x="31" y="141"/>
                </a:lnTo>
                <a:lnTo>
                  <a:pt x="28" y="144"/>
                </a:lnTo>
                <a:lnTo>
                  <a:pt x="28" y="144"/>
                </a:lnTo>
                <a:lnTo>
                  <a:pt x="28" y="144"/>
                </a:lnTo>
                <a:close/>
                <a:moveTo>
                  <a:pt x="78" y="113"/>
                </a:moveTo>
                <a:lnTo>
                  <a:pt x="81" y="116"/>
                </a:lnTo>
                <a:lnTo>
                  <a:pt x="81" y="113"/>
                </a:lnTo>
                <a:lnTo>
                  <a:pt x="78" y="113"/>
                </a:lnTo>
                <a:lnTo>
                  <a:pt x="78" y="113"/>
                </a:lnTo>
                <a:close/>
                <a:moveTo>
                  <a:pt x="62" y="104"/>
                </a:moveTo>
                <a:lnTo>
                  <a:pt x="62" y="104"/>
                </a:lnTo>
                <a:lnTo>
                  <a:pt x="65" y="107"/>
                </a:lnTo>
                <a:lnTo>
                  <a:pt x="68" y="104"/>
                </a:lnTo>
                <a:lnTo>
                  <a:pt x="72" y="104"/>
                </a:lnTo>
                <a:lnTo>
                  <a:pt x="72" y="100"/>
                </a:lnTo>
                <a:lnTo>
                  <a:pt x="68" y="100"/>
                </a:lnTo>
                <a:lnTo>
                  <a:pt x="68" y="100"/>
                </a:lnTo>
                <a:lnTo>
                  <a:pt x="62" y="104"/>
                </a:lnTo>
                <a:lnTo>
                  <a:pt x="62" y="104"/>
                </a:lnTo>
                <a:close/>
                <a:moveTo>
                  <a:pt x="40" y="197"/>
                </a:moveTo>
                <a:lnTo>
                  <a:pt x="40" y="197"/>
                </a:lnTo>
                <a:lnTo>
                  <a:pt x="43" y="197"/>
                </a:lnTo>
                <a:lnTo>
                  <a:pt x="47" y="197"/>
                </a:lnTo>
                <a:lnTo>
                  <a:pt x="47" y="194"/>
                </a:lnTo>
                <a:lnTo>
                  <a:pt x="47" y="191"/>
                </a:lnTo>
                <a:lnTo>
                  <a:pt x="50" y="191"/>
                </a:lnTo>
                <a:lnTo>
                  <a:pt x="53" y="194"/>
                </a:lnTo>
                <a:lnTo>
                  <a:pt x="56" y="194"/>
                </a:lnTo>
                <a:lnTo>
                  <a:pt x="56" y="191"/>
                </a:lnTo>
                <a:lnTo>
                  <a:pt x="56" y="182"/>
                </a:lnTo>
                <a:lnTo>
                  <a:pt x="59" y="182"/>
                </a:lnTo>
                <a:lnTo>
                  <a:pt x="56" y="172"/>
                </a:lnTo>
                <a:lnTo>
                  <a:pt x="59" y="166"/>
                </a:lnTo>
                <a:lnTo>
                  <a:pt x="53" y="160"/>
                </a:lnTo>
                <a:lnTo>
                  <a:pt x="59" y="160"/>
                </a:lnTo>
                <a:lnTo>
                  <a:pt x="59" y="157"/>
                </a:lnTo>
                <a:lnTo>
                  <a:pt x="56" y="150"/>
                </a:lnTo>
                <a:lnTo>
                  <a:pt x="56" y="147"/>
                </a:lnTo>
                <a:lnTo>
                  <a:pt x="53" y="144"/>
                </a:lnTo>
                <a:lnTo>
                  <a:pt x="50" y="144"/>
                </a:lnTo>
                <a:lnTo>
                  <a:pt x="47" y="141"/>
                </a:lnTo>
                <a:lnTo>
                  <a:pt x="43" y="141"/>
                </a:lnTo>
                <a:lnTo>
                  <a:pt x="37" y="150"/>
                </a:lnTo>
                <a:lnTo>
                  <a:pt x="34" y="150"/>
                </a:lnTo>
                <a:lnTo>
                  <a:pt x="28" y="147"/>
                </a:lnTo>
                <a:lnTo>
                  <a:pt x="28" y="154"/>
                </a:lnTo>
                <a:lnTo>
                  <a:pt x="28" y="154"/>
                </a:lnTo>
                <a:lnTo>
                  <a:pt x="31" y="157"/>
                </a:lnTo>
                <a:lnTo>
                  <a:pt x="31" y="160"/>
                </a:lnTo>
                <a:lnTo>
                  <a:pt x="34" y="163"/>
                </a:lnTo>
                <a:lnTo>
                  <a:pt x="34" y="169"/>
                </a:lnTo>
                <a:lnTo>
                  <a:pt x="31" y="172"/>
                </a:lnTo>
                <a:lnTo>
                  <a:pt x="34" y="172"/>
                </a:lnTo>
                <a:lnTo>
                  <a:pt x="37" y="172"/>
                </a:lnTo>
                <a:lnTo>
                  <a:pt x="37" y="175"/>
                </a:lnTo>
                <a:lnTo>
                  <a:pt x="34" y="179"/>
                </a:lnTo>
                <a:lnTo>
                  <a:pt x="34" y="185"/>
                </a:lnTo>
                <a:lnTo>
                  <a:pt x="34" y="188"/>
                </a:lnTo>
                <a:lnTo>
                  <a:pt x="37" y="194"/>
                </a:lnTo>
                <a:lnTo>
                  <a:pt x="40" y="197"/>
                </a:lnTo>
                <a:lnTo>
                  <a:pt x="40" y="197"/>
                </a:lnTo>
                <a:close/>
                <a:moveTo>
                  <a:pt x="162" y="251"/>
                </a:moveTo>
                <a:lnTo>
                  <a:pt x="162" y="244"/>
                </a:lnTo>
                <a:lnTo>
                  <a:pt x="165" y="244"/>
                </a:lnTo>
                <a:lnTo>
                  <a:pt x="165" y="238"/>
                </a:lnTo>
                <a:lnTo>
                  <a:pt x="162" y="235"/>
                </a:lnTo>
                <a:lnTo>
                  <a:pt x="165" y="226"/>
                </a:lnTo>
                <a:lnTo>
                  <a:pt x="168" y="222"/>
                </a:lnTo>
                <a:lnTo>
                  <a:pt x="168" y="216"/>
                </a:lnTo>
                <a:lnTo>
                  <a:pt x="165" y="213"/>
                </a:lnTo>
                <a:lnTo>
                  <a:pt x="162" y="216"/>
                </a:lnTo>
                <a:lnTo>
                  <a:pt x="159" y="216"/>
                </a:lnTo>
                <a:lnTo>
                  <a:pt x="156" y="213"/>
                </a:lnTo>
                <a:lnTo>
                  <a:pt x="150" y="219"/>
                </a:lnTo>
                <a:lnTo>
                  <a:pt x="140" y="219"/>
                </a:lnTo>
                <a:lnTo>
                  <a:pt x="134" y="219"/>
                </a:lnTo>
                <a:lnTo>
                  <a:pt x="128" y="219"/>
                </a:lnTo>
                <a:lnTo>
                  <a:pt x="125" y="216"/>
                </a:lnTo>
                <a:lnTo>
                  <a:pt x="122" y="216"/>
                </a:lnTo>
                <a:lnTo>
                  <a:pt x="118" y="219"/>
                </a:lnTo>
                <a:lnTo>
                  <a:pt x="118" y="216"/>
                </a:lnTo>
                <a:lnTo>
                  <a:pt x="112" y="219"/>
                </a:lnTo>
                <a:lnTo>
                  <a:pt x="112" y="226"/>
                </a:lnTo>
                <a:lnTo>
                  <a:pt x="115" y="229"/>
                </a:lnTo>
                <a:lnTo>
                  <a:pt x="122" y="229"/>
                </a:lnTo>
                <a:lnTo>
                  <a:pt x="128" y="235"/>
                </a:lnTo>
                <a:lnTo>
                  <a:pt x="131" y="235"/>
                </a:lnTo>
                <a:lnTo>
                  <a:pt x="137" y="238"/>
                </a:lnTo>
                <a:lnTo>
                  <a:pt x="143" y="241"/>
                </a:lnTo>
                <a:lnTo>
                  <a:pt x="147" y="241"/>
                </a:lnTo>
                <a:lnTo>
                  <a:pt x="150" y="244"/>
                </a:lnTo>
                <a:lnTo>
                  <a:pt x="150" y="247"/>
                </a:lnTo>
                <a:lnTo>
                  <a:pt x="159" y="251"/>
                </a:lnTo>
                <a:lnTo>
                  <a:pt x="162" y="251"/>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0" name="Freeform 78">
            <a:extLst>
              <a:ext uri="{FF2B5EF4-FFF2-40B4-BE49-F238E27FC236}">
                <a16:creationId xmlns:a16="http://schemas.microsoft.com/office/drawing/2014/main" id="{4AED8873-22A0-5B23-479A-4AF076176712}"/>
              </a:ext>
            </a:extLst>
          </p:cNvPr>
          <p:cNvSpPr>
            <a:spLocks noEditPoints="1"/>
          </p:cNvSpPr>
          <p:nvPr userDrawn="1"/>
        </p:nvSpPr>
        <p:spPr bwMode="auto">
          <a:xfrm>
            <a:off x="12632503" y="6435008"/>
            <a:ext cx="774652" cy="587376"/>
          </a:xfrm>
          <a:custGeom>
            <a:avLst/>
            <a:gdLst>
              <a:gd name="T0" fmla="*/ 45 w 78"/>
              <a:gd name="T1" fmla="*/ 4 h 59"/>
              <a:gd name="T2" fmla="*/ 46 w 78"/>
              <a:gd name="T3" fmla="*/ 7 h 59"/>
              <a:gd name="T4" fmla="*/ 51 w 78"/>
              <a:gd name="T5" fmla="*/ 9 h 59"/>
              <a:gd name="T6" fmla="*/ 56 w 78"/>
              <a:gd name="T7" fmla="*/ 9 h 59"/>
              <a:gd name="T8" fmla="*/ 61 w 78"/>
              <a:gd name="T9" fmla="*/ 9 h 59"/>
              <a:gd name="T10" fmla="*/ 65 w 78"/>
              <a:gd name="T11" fmla="*/ 10 h 59"/>
              <a:gd name="T12" fmla="*/ 71 w 78"/>
              <a:gd name="T13" fmla="*/ 11 h 59"/>
              <a:gd name="T14" fmla="*/ 70 w 78"/>
              <a:gd name="T15" fmla="*/ 15 h 59"/>
              <a:gd name="T16" fmla="*/ 67 w 78"/>
              <a:gd name="T17" fmla="*/ 19 h 59"/>
              <a:gd name="T18" fmla="*/ 62 w 78"/>
              <a:gd name="T19" fmla="*/ 21 h 59"/>
              <a:gd name="T20" fmla="*/ 60 w 78"/>
              <a:gd name="T21" fmla="*/ 23 h 59"/>
              <a:gd name="T22" fmla="*/ 58 w 78"/>
              <a:gd name="T23" fmla="*/ 25 h 59"/>
              <a:gd name="T24" fmla="*/ 56 w 78"/>
              <a:gd name="T25" fmla="*/ 28 h 59"/>
              <a:gd name="T26" fmla="*/ 52 w 78"/>
              <a:gd name="T27" fmla="*/ 33 h 59"/>
              <a:gd name="T28" fmla="*/ 54 w 78"/>
              <a:gd name="T29" fmla="*/ 37 h 59"/>
              <a:gd name="T30" fmla="*/ 52 w 78"/>
              <a:gd name="T31" fmla="*/ 41 h 59"/>
              <a:gd name="T32" fmla="*/ 50 w 78"/>
              <a:gd name="T33" fmla="*/ 47 h 59"/>
              <a:gd name="T34" fmla="*/ 48 w 78"/>
              <a:gd name="T35" fmla="*/ 49 h 59"/>
              <a:gd name="T36" fmla="*/ 42 w 78"/>
              <a:gd name="T37" fmla="*/ 54 h 59"/>
              <a:gd name="T38" fmla="*/ 39 w 78"/>
              <a:gd name="T39" fmla="*/ 53 h 59"/>
              <a:gd name="T40" fmla="*/ 36 w 78"/>
              <a:gd name="T41" fmla="*/ 53 h 59"/>
              <a:gd name="T42" fmla="*/ 31 w 78"/>
              <a:gd name="T43" fmla="*/ 53 h 59"/>
              <a:gd name="T44" fmla="*/ 26 w 78"/>
              <a:gd name="T45" fmla="*/ 56 h 59"/>
              <a:gd name="T46" fmla="*/ 23 w 78"/>
              <a:gd name="T47" fmla="*/ 58 h 59"/>
              <a:gd name="T48" fmla="*/ 17 w 78"/>
              <a:gd name="T49" fmla="*/ 57 h 59"/>
              <a:gd name="T50" fmla="*/ 13 w 78"/>
              <a:gd name="T51" fmla="*/ 51 h 59"/>
              <a:gd name="T52" fmla="*/ 10 w 78"/>
              <a:gd name="T53" fmla="*/ 49 h 59"/>
              <a:gd name="T54" fmla="*/ 13 w 78"/>
              <a:gd name="T55" fmla="*/ 43 h 59"/>
              <a:gd name="T56" fmla="*/ 10 w 78"/>
              <a:gd name="T57" fmla="*/ 40 h 59"/>
              <a:gd name="T58" fmla="*/ 11 w 78"/>
              <a:gd name="T59" fmla="*/ 35 h 59"/>
              <a:gd name="T60" fmla="*/ 12 w 78"/>
              <a:gd name="T61" fmla="*/ 32 h 59"/>
              <a:gd name="T62" fmla="*/ 14 w 78"/>
              <a:gd name="T63" fmla="*/ 27 h 59"/>
              <a:gd name="T64" fmla="*/ 16 w 78"/>
              <a:gd name="T65" fmla="*/ 19 h 59"/>
              <a:gd name="T66" fmla="*/ 16 w 78"/>
              <a:gd name="T67" fmla="*/ 16 h 59"/>
              <a:gd name="T68" fmla="*/ 12 w 78"/>
              <a:gd name="T69" fmla="*/ 15 h 59"/>
              <a:gd name="T70" fmla="*/ 6 w 78"/>
              <a:gd name="T71" fmla="*/ 15 h 59"/>
              <a:gd name="T72" fmla="*/ 2 w 78"/>
              <a:gd name="T73" fmla="*/ 13 h 59"/>
              <a:gd name="T74" fmla="*/ 2 w 78"/>
              <a:gd name="T75" fmla="*/ 12 h 59"/>
              <a:gd name="T76" fmla="*/ 3 w 78"/>
              <a:gd name="T77" fmla="*/ 9 h 59"/>
              <a:gd name="T78" fmla="*/ 2 w 78"/>
              <a:gd name="T79" fmla="*/ 8 h 59"/>
              <a:gd name="T80" fmla="*/ 0 w 78"/>
              <a:gd name="T81" fmla="*/ 7 h 59"/>
              <a:gd name="T82" fmla="*/ 3 w 78"/>
              <a:gd name="T83" fmla="*/ 4 h 59"/>
              <a:gd name="T84" fmla="*/ 7 w 78"/>
              <a:gd name="T85" fmla="*/ 3 h 59"/>
              <a:gd name="T86" fmla="*/ 8 w 78"/>
              <a:gd name="T87" fmla="*/ 1 h 59"/>
              <a:gd name="T88" fmla="*/ 11 w 78"/>
              <a:gd name="T89" fmla="*/ 1 h 59"/>
              <a:gd name="T90" fmla="*/ 15 w 78"/>
              <a:gd name="T91" fmla="*/ 1 h 59"/>
              <a:gd name="T92" fmla="*/ 20 w 78"/>
              <a:gd name="T93" fmla="*/ 1 h 59"/>
              <a:gd name="T94" fmla="*/ 26 w 78"/>
              <a:gd name="T95" fmla="*/ 3 h 59"/>
              <a:gd name="T96" fmla="*/ 34 w 78"/>
              <a:gd name="T97" fmla="*/ 2 h 59"/>
              <a:gd name="T98" fmla="*/ 37 w 78"/>
              <a:gd name="T99" fmla="*/ 3 h 59"/>
              <a:gd name="T100" fmla="*/ 42 w 78"/>
              <a:gd name="T101" fmla="*/ 4 h 59"/>
              <a:gd name="T102" fmla="*/ 74 w 78"/>
              <a:gd name="T103" fmla="*/ 31 h 59"/>
              <a:gd name="T104" fmla="*/ 78 w 78"/>
              <a:gd name="T105" fmla="*/ 31 h 59"/>
              <a:gd name="T106" fmla="*/ 74 w 78"/>
              <a:gd name="T107" fmla="*/ 31 h 59"/>
              <a:gd name="T108" fmla="*/ 73 w 78"/>
              <a:gd name="T109" fmla="*/ 32 h 59"/>
              <a:gd name="T110" fmla="*/ 69 w 78"/>
              <a:gd name="T111" fmla="*/ 33 h 59"/>
              <a:gd name="T112" fmla="*/ 71 w 78"/>
              <a:gd name="T113" fmla="*/ 35 h 59"/>
              <a:gd name="T114" fmla="*/ 64 w 78"/>
              <a:gd name="T115" fmla="*/ 37 h 59"/>
              <a:gd name="T116" fmla="*/ 62 w 78"/>
              <a:gd name="T117" fmla="*/ 3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 h="59">
                <a:moveTo>
                  <a:pt x="44" y="3"/>
                </a:moveTo>
                <a:cubicBezTo>
                  <a:pt x="45" y="4"/>
                  <a:pt x="45" y="4"/>
                  <a:pt x="45" y="4"/>
                </a:cubicBezTo>
                <a:cubicBezTo>
                  <a:pt x="45" y="4"/>
                  <a:pt x="45" y="4"/>
                  <a:pt x="45" y="4"/>
                </a:cubicBezTo>
                <a:cubicBezTo>
                  <a:pt x="46" y="4"/>
                  <a:pt x="46" y="4"/>
                  <a:pt x="46" y="4"/>
                </a:cubicBezTo>
                <a:cubicBezTo>
                  <a:pt x="46" y="6"/>
                  <a:pt x="46" y="6"/>
                  <a:pt x="46" y="6"/>
                </a:cubicBezTo>
                <a:cubicBezTo>
                  <a:pt x="46" y="7"/>
                  <a:pt x="46" y="7"/>
                  <a:pt x="46" y="7"/>
                </a:cubicBezTo>
                <a:cubicBezTo>
                  <a:pt x="48" y="6"/>
                  <a:pt x="48" y="6"/>
                  <a:pt x="48" y="6"/>
                </a:cubicBezTo>
                <a:cubicBezTo>
                  <a:pt x="50" y="7"/>
                  <a:pt x="50" y="7"/>
                  <a:pt x="50" y="7"/>
                </a:cubicBezTo>
                <a:cubicBezTo>
                  <a:pt x="51" y="9"/>
                  <a:pt x="51" y="9"/>
                  <a:pt x="51" y="9"/>
                </a:cubicBezTo>
                <a:cubicBezTo>
                  <a:pt x="53" y="8"/>
                  <a:pt x="53" y="8"/>
                  <a:pt x="53" y="8"/>
                </a:cubicBezTo>
                <a:cubicBezTo>
                  <a:pt x="54" y="10"/>
                  <a:pt x="54" y="10"/>
                  <a:pt x="54" y="10"/>
                </a:cubicBezTo>
                <a:cubicBezTo>
                  <a:pt x="56" y="9"/>
                  <a:pt x="56" y="9"/>
                  <a:pt x="56" y="9"/>
                </a:cubicBezTo>
                <a:cubicBezTo>
                  <a:pt x="57" y="10"/>
                  <a:pt x="57" y="10"/>
                  <a:pt x="57" y="10"/>
                </a:cubicBezTo>
                <a:cubicBezTo>
                  <a:pt x="58" y="9"/>
                  <a:pt x="58" y="9"/>
                  <a:pt x="58" y="9"/>
                </a:cubicBezTo>
                <a:cubicBezTo>
                  <a:pt x="61" y="9"/>
                  <a:pt x="61" y="9"/>
                  <a:pt x="61" y="9"/>
                </a:cubicBezTo>
                <a:cubicBezTo>
                  <a:pt x="62" y="9"/>
                  <a:pt x="62" y="9"/>
                  <a:pt x="62" y="9"/>
                </a:cubicBezTo>
                <a:cubicBezTo>
                  <a:pt x="63" y="9"/>
                  <a:pt x="63" y="9"/>
                  <a:pt x="63" y="9"/>
                </a:cubicBezTo>
                <a:cubicBezTo>
                  <a:pt x="65" y="10"/>
                  <a:pt x="65" y="10"/>
                  <a:pt x="65" y="10"/>
                </a:cubicBezTo>
                <a:cubicBezTo>
                  <a:pt x="68" y="10"/>
                  <a:pt x="68" y="10"/>
                  <a:pt x="68" y="10"/>
                </a:cubicBezTo>
                <a:cubicBezTo>
                  <a:pt x="70" y="11"/>
                  <a:pt x="70" y="11"/>
                  <a:pt x="70" y="11"/>
                </a:cubicBezTo>
                <a:cubicBezTo>
                  <a:pt x="71" y="11"/>
                  <a:pt x="71" y="11"/>
                  <a:pt x="71" y="11"/>
                </a:cubicBezTo>
                <a:cubicBezTo>
                  <a:pt x="71" y="12"/>
                  <a:pt x="71" y="12"/>
                  <a:pt x="71" y="12"/>
                </a:cubicBezTo>
                <a:cubicBezTo>
                  <a:pt x="70" y="13"/>
                  <a:pt x="70" y="13"/>
                  <a:pt x="70" y="13"/>
                </a:cubicBezTo>
                <a:cubicBezTo>
                  <a:pt x="70" y="15"/>
                  <a:pt x="70" y="15"/>
                  <a:pt x="70" y="15"/>
                </a:cubicBezTo>
                <a:cubicBezTo>
                  <a:pt x="70" y="16"/>
                  <a:pt x="70" y="16"/>
                  <a:pt x="70" y="16"/>
                </a:cubicBezTo>
                <a:cubicBezTo>
                  <a:pt x="70" y="17"/>
                  <a:pt x="70" y="17"/>
                  <a:pt x="70" y="17"/>
                </a:cubicBezTo>
                <a:cubicBezTo>
                  <a:pt x="67" y="19"/>
                  <a:pt x="67" y="19"/>
                  <a:pt x="67" y="19"/>
                </a:cubicBezTo>
                <a:cubicBezTo>
                  <a:pt x="67" y="19"/>
                  <a:pt x="66" y="20"/>
                  <a:pt x="66" y="20"/>
                </a:cubicBezTo>
                <a:cubicBezTo>
                  <a:pt x="66" y="20"/>
                  <a:pt x="64" y="21"/>
                  <a:pt x="64" y="21"/>
                </a:cubicBezTo>
                <a:cubicBezTo>
                  <a:pt x="62" y="21"/>
                  <a:pt x="62" y="21"/>
                  <a:pt x="62" y="21"/>
                </a:cubicBezTo>
                <a:cubicBezTo>
                  <a:pt x="60" y="22"/>
                  <a:pt x="60" y="22"/>
                  <a:pt x="60" y="22"/>
                </a:cubicBezTo>
                <a:cubicBezTo>
                  <a:pt x="59" y="23"/>
                  <a:pt x="59" y="23"/>
                  <a:pt x="59" y="23"/>
                </a:cubicBezTo>
                <a:cubicBezTo>
                  <a:pt x="60" y="23"/>
                  <a:pt x="60" y="23"/>
                  <a:pt x="60" y="23"/>
                </a:cubicBezTo>
                <a:cubicBezTo>
                  <a:pt x="59" y="25"/>
                  <a:pt x="59" y="25"/>
                  <a:pt x="59" y="25"/>
                </a:cubicBezTo>
                <a:cubicBezTo>
                  <a:pt x="58" y="25"/>
                  <a:pt x="58" y="25"/>
                  <a:pt x="58" y="25"/>
                </a:cubicBezTo>
                <a:cubicBezTo>
                  <a:pt x="58" y="25"/>
                  <a:pt x="58" y="25"/>
                  <a:pt x="58" y="25"/>
                </a:cubicBezTo>
                <a:cubicBezTo>
                  <a:pt x="58" y="25"/>
                  <a:pt x="58" y="25"/>
                  <a:pt x="58" y="25"/>
                </a:cubicBezTo>
                <a:cubicBezTo>
                  <a:pt x="58" y="25"/>
                  <a:pt x="58" y="25"/>
                  <a:pt x="58" y="25"/>
                </a:cubicBezTo>
                <a:cubicBezTo>
                  <a:pt x="56" y="28"/>
                  <a:pt x="56" y="28"/>
                  <a:pt x="56" y="28"/>
                </a:cubicBezTo>
                <a:cubicBezTo>
                  <a:pt x="55" y="28"/>
                  <a:pt x="55" y="28"/>
                  <a:pt x="55" y="28"/>
                </a:cubicBezTo>
                <a:cubicBezTo>
                  <a:pt x="52" y="32"/>
                  <a:pt x="52" y="32"/>
                  <a:pt x="52" y="32"/>
                </a:cubicBezTo>
                <a:cubicBezTo>
                  <a:pt x="52" y="33"/>
                  <a:pt x="52" y="33"/>
                  <a:pt x="52" y="33"/>
                </a:cubicBezTo>
                <a:cubicBezTo>
                  <a:pt x="53" y="35"/>
                  <a:pt x="53" y="35"/>
                  <a:pt x="53" y="35"/>
                </a:cubicBezTo>
                <a:cubicBezTo>
                  <a:pt x="53" y="36"/>
                  <a:pt x="53" y="36"/>
                  <a:pt x="53" y="36"/>
                </a:cubicBezTo>
                <a:cubicBezTo>
                  <a:pt x="54" y="37"/>
                  <a:pt x="54" y="37"/>
                  <a:pt x="54" y="37"/>
                </a:cubicBezTo>
                <a:cubicBezTo>
                  <a:pt x="55" y="39"/>
                  <a:pt x="55" y="39"/>
                  <a:pt x="55" y="39"/>
                </a:cubicBezTo>
                <a:cubicBezTo>
                  <a:pt x="54" y="40"/>
                  <a:pt x="54" y="40"/>
                  <a:pt x="54" y="40"/>
                </a:cubicBezTo>
                <a:cubicBezTo>
                  <a:pt x="52" y="41"/>
                  <a:pt x="52" y="41"/>
                  <a:pt x="52" y="41"/>
                </a:cubicBezTo>
                <a:cubicBezTo>
                  <a:pt x="52" y="42"/>
                  <a:pt x="52" y="42"/>
                  <a:pt x="52" y="42"/>
                </a:cubicBezTo>
                <a:cubicBezTo>
                  <a:pt x="50" y="45"/>
                  <a:pt x="50" y="45"/>
                  <a:pt x="50" y="45"/>
                </a:cubicBezTo>
                <a:cubicBezTo>
                  <a:pt x="50" y="47"/>
                  <a:pt x="50" y="47"/>
                  <a:pt x="50" y="47"/>
                </a:cubicBezTo>
                <a:cubicBezTo>
                  <a:pt x="50" y="48"/>
                  <a:pt x="50" y="48"/>
                  <a:pt x="50" y="48"/>
                </a:cubicBezTo>
                <a:cubicBezTo>
                  <a:pt x="50" y="48"/>
                  <a:pt x="50" y="48"/>
                  <a:pt x="50" y="48"/>
                </a:cubicBezTo>
                <a:cubicBezTo>
                  <a:pt x="48" y="49"/>
                  <a:pt x="48" y="49"/>
                  <a:pt x="48" y="49"/>
                </a:cubicBezTo>
                <a:cubicBezTo>
                  <a:pt x="44" y="50"/>
                  <a:pt x="44" y="50"/>
                  <a:pt x="44" y="50"/>
                </a:cubicBezTo>
                <a:cubicBezTo>
                  <a:pt x="44" y="52"/>
                  <a:pt x="44" y="52"/>
                  <a:pt x="44" y="52"/>
                </a:cubicBezTo>
                <a:cubicBezTo>
                  <a:pt x="42" y="54"/>
                  <a:pt x="42" y="54"/>
                  <a:pt x="42" y="54"/>
                </a:cubicBezTo>
                <a:cubicBezTo>
                  <a:pt x="41" y="53"/>
                  <a:pt x="41" y="53"/>
                  <a:pt x="41" y="53"/>
                </a:cubicBezTo>
                <a:cubicBezTo>
                  <a:pt x="40" y="52"/>
                  <a:pt x="40" y="52"/>
                  <a:pt x="40" y="52"/>
                </a:cubicBezTo>
                <a:cubicBezTo>
                  <a:pt x="39" y="53"/>
                  <a:pt x="39" y="53"/>
                  <a:pt x="39" y="53"/>
                </a:cubicBezTo>
                <a:cubicBezTo>
                  <a:pt x="38" y="54"/>
                  <a:pt x="38" y="54"/>
                  <a:pt x="38" y="54"/>
                </a:cubicBezTo>
                <a:cubicBezTo>
                  <a:pt x="37" y="53"/>
                  <a:pt x="37" y="53"/>
                  <a:pt x="37" y="53"/>
                </a:cubicBezTo>
                <a:cubicBezTo>
                  <a:pt x="36" y="53"/>
                  <a:pt x="36" y="53"/>
                  <a:pt x="36" y="53"/>
                </a:cubicBezTo>
                <a:cubicBezTo>
                  <a:pt x="36" y="54"/>
                  <a:pt x="36" y="54"/>
                  <a:pt x="36" y="54"/>
                </a:cubicBezTo>
                <a:cubicBezTo>
                  <a:pt x="34" y="54"/>
                  <a:pt x="34" y="54"/>
                  <a:pt x="34" y="54"/>
                </a:cubicBezTo>
                <a:cubicBezTo>
                  <a:pt x="31" y="53"/>
                  <a:pt x="31" y="53"/>
                  <a:pt x="31" y="53"/>
                </a:cubicBezTo>
                <a:cubicBezTo>
                  <a:pt x="30" y="54"/>
                  <a:pt x="30" y="54"/>
                  <a:pt x="30" y="54"/>
                </a:cubicBezTo>
                <a:cubicBezTo>
                  <a:pt x="28" y="54"/>
                  <a:pt x="28" y="54"/>
                  <a:pt x="28" y="54"/>
                </a:cubicBezTo>
                <a:cubicBezTo>
                  <a:pt x="26" y="56"/>
                  <a:pt x="26" y="56"/>
                  <a:pt x="26" y="56"/>
                </a:cubicBezTo>
                <a:cubicBezTo>
                  <a:pt x="24" y="56"/>
                  <a:pt x="24" y="56"/>
                  <a:pt x="24" y="56"/>
                </a:cubicBezTo>
                <a:cubicBezTo>
                  <a:pt x="23" y="57"/>
                  <a:pt x="23" y="57"/>
                  <a:pt x="23" y="57"/>
                </a:cubicBezTo>
                <a:cubicBezTo>
                  <a:pt x="23" y="58"/>
                  <a:pt x="23" y="58"/>
                  <a:pt x="23" y="58"/>
                </a:cubicBezTo>
                <a:cubicBezTo>
                  <a:pt x="21" y="59"/>
                  <a:pt x="21" y="59"/>
                  <a:pt x="21" y="59"/>
                </a:cubicBezTo>
                <a:cubicBezTo>
                  <a:pt x="19" y="59"/>
                  <a:pt x="19" y="59"/>
                  <a:pt x="19" y="59"/>
                </a:cubicBezTo>
                <a:cubicBezTo>
                  <a:pt x="17" y="57"/>
                  <a:pt x="17" y="57"/>
                  <a:pt x="17" y="57"/>
                </a:cubicBezTo>
                <a:cubicBezTo>
                  <a:pt x="16" y="54"/>
                  <a:pt x="16" y="54"/>
                  <a:pt x="16" y="54"/>
                </a:cubicBezTo>
                <a:cubicBezTo>
                  <a:pt x="16" y="53"/>
                  <a:pt x="16" y="53"/>
                  <a:pt x="16" y="53"/>
                </a:cubicBezTo>
                <a:cubicBezTo>
                  <a:pt x="13" y="51"/>
                  <a:pt x="13" y="51"/>
                  <a:pt x="13" y="51"/>
                </a:cubicBezTo>
                <a:cubicBezTo>
                  <a:pt x="12" y="51"/>
                  <a:pt x="12" y="51"/>
                  <a:pt x="12" y="51"/>
                </a:cubicBezTo>
                <a:cubicBezTo>
                  <a:pt x="11" y="50"/>
                  <a:pt x="11" y="50"/>
                  <a:pt x="11" y="50"/>
                </a:cubicBezTo>
                <a:cubicBezTo>
                  <a:pt x="10" y="49"/>
                  <a:pt x="10" y="49"/>
                  <a:pt x="10" y="49"/>
                </a:cubicBezTo>
                <a:cubicBezTo>
                  <a:pt x="10" y="47"/>
                  <a:pt x="10" y="47"/>
                  <a:pt x="10" y="47"/>
                </a:cubicBezTo>
                <a:cubicBezTo>
                  <a:pt x="11" y="45"/>
                  <a:pt x="11" y="45"/>
                  <a:pt x="11" y="45"/>
                </a:cubicBezTo>
                <a:cubicBezTo>
                  <a:pt x="13" y="43"/>
                  <a:pt x="13" y="43"/>
                  <a:pt x="13" y="43"/>
                </a:cubicBezTo>
                <a:cubicBezTo>
                  <a:pt x="13" y="42"/>
                  <a:pt x="13" y="42"/>
                  <a:pt x="13" y="42"/>
                </a:cubicBezTo>
                <a:cubicBezTo>
                  <a:pt x="11" y="42"/>
                  <a:pt x="11" y="42"/>
                  <a:pt x="11" y="42"/>
                </a:cubicBezTo>
                <a:cubicBezTo>
                  <a:pt x="10" y="40"/>
                  <a:pt x="10" y="40"/>
                  <a:pt x="10" y="40"/>
                </a:cubicBezTo>
                <a:cubicBezTo>
                  <a:pt x="12" y="38"/>
                  <a:pt x="12" y="38"/>
                  <a:pt x="12" y="38"/>
                </a:cubicBezTo>
                <a:cubicBezTo>
                  <a:pt x="12" y="36"/>
                  <a:pt x="12" y="36"/>
                  <a:pt x="12" y="36"/>
                </a:cubicBezTo>
                <a:cubicBezTo>
                  <a:pt x="11" y="35"/>
                  <a:pt x="11" y="35"/>
                  <a:pt x="11" y="35"/>
                </a:cubicBezTo>
                <a:cubicBezTo>
                  <a:pt x="9" y="32"/>
                  <a:pt x="9" y="32"/>
                  <a:pt x="9" y="32"/>
                </a:cubicBezTo>
                <a:cubicBezTo>
                  <a:pt x="11" y="31"/>
                  <a:pt x="11" y="31"/>
                  <a:pt x="11" y="31"/>
                </a:cubicBezTo>
                <a:cubicBezTo>
                  <a:pt x="12" y="32"/>
                  <a:pt x="12" y="32"/>
                  <a:pt x="12" y="32"/>
                </a:cubicBezTo>
                <a:cubicBezTo>
                  <a:pt x="14" y="29"/>
                  <a:pt x="14" y="29"/>
                  <a:pt x="14" y="29"/>
                </a:cubicBezTo>
                <a:cubicBezTo>
                  <a:pt x="12" y="28"/>
                  <a:pt x="12" y="28"/>
                  <a:pt x="12" y="28"/>
                </a:cubicBezTo>
                <a:cubicBezTo>
                  <a:pt x="14" y="27"/>
                  <a:pt x="14" y="27"/>
                  <a:pt x="14" y="27"/>
                </a:cubicBezTo>
                <a:cubicBezTo>
                  <a:pt x="14" y="23"/>
                  <a:pt x="14" y="23"/>
                  <a:pt x="14" y="23"/>
                </a:cubicBezTo>
                <a:cubicBezTo>
                  <a:pt x="14" y="21"/>
                  <a:pt x="14" y="21"/>
                  <a:pt x="14" y="21"/>
                </a:cubicBezTo>
                <a:cubicBezTo>
                  <a:pt x="16" y="19"/>
                  <a:pt x="16" y="19"/>
                  <a:pt x="16" y="19"/>
                </a:cubicBezTo>
                <a:cubicBezTo>
                  <a:pt x="17" y="19"/>
                  <a:pt x="17" y="19"/>
                  <a:pt x="17" y="19"/>
                </a:cubicBezTo>
                <a:cubicBezTo>
                  <a:pt x="17" y="18"/>
                  <a:pt x="17" y="18"/>
                  <a:pt x="17" y="18"/>
                </a:cubicBezTo>
                <a:cubicBezTo>
                  <a:pt x="16" y="16"/>
                  <a:pt x="16" y="16"/>
                  <a:pt x="16" y="16"/>
                </a:cubicBezTo>
                <a:cubicBezTo>
                  <a:pt x="16" y="14"/>
                  <a:pt x="16" y="14"/>
                  <a:pt x="16" y="14"/>
                </a:cubicBezTo>
                <a:cubicBezTo>
                  <a:pt x="13" y="14"/>
                  <a:pt x="13" y="14"/>
                  <a:pt x="13" y="14"/>
                </a:cubicBezTo>
                <a:cubicBezTo>
                  <a:pt x="12" y="15"/>
                  <a:pt x="12" y="15"/>
                  <a:pt x="12" y="15"/>
                </a:cubicBezTo>
                <a:cubicBezTo>
                  <a:pt x="8" y="14"/>
                  <a:pt x="8" y="14"/>
                  <a:pt x="8" y="14"/>
                </a:cubicBezTo>
                <a:cubicBezTo>
                  <a:pt x="6" y="16"/>
                  <a:pt x="6" y="16"/>
                  <a:pt x="6" y="16"/>
                </a:cubicBezTo>
                <a:cubicBezTo>
                  <a:pt x="6" y="15"/>
                  <a:pt x="6" y="15"/>
                  <a:pt x="6" y="15"/>
                </a:cubicBezTo>
                <a:cubicBezTo>
                  <a:pt x="6" y="13"/>
                  <a:pt x="6" y="13"/>
                  <a:pt x="6" y="13"/>
                </a:cubicBezTo>
                <a:cubicBezTo>
                  <a:pt x="5" y="13"/>
                  <a:pt x="5" y="13"/>
                  <a:pt x="5" y="13"/>
                </a:cubicBezTo>
                <a:cubicBezTo>
                  <a:pt x="2" y="13"/>
                  <a:pt x="2" y="13"/>
                  <a:pt x="2" y="13"/>
                </a:cubicBezTo>
                <a:cubicBezTo>
                  <a:pt x="2" y="13"/>
                  <a:pt x="2" y="13"/>
                  <a:pt x="2" y="13"/>
                </a:cubicBezTo>
                <a:cubicBezTo>
                  <a:pt x="3" y="12"/>
                  <a:pt x="3" y="12"/>
                  <a:pt x="3" y="12"/>
                </a:cubicBezTo>
                <a:cubicBezTo>
                  <a:pt x="2" y="12"/>
                  <a:pt x="2" y="12"/>
                  <a:pt x="2" y="12"/>
                </a:cubicBezTo>
                <a:cubicBezTo>
                  <a:pt x="3" y="11"/>
                  <a:pt x="3" y="11"/>
                  <a:pt x="3" y="11"/>
                </a:cubicBezTo>
                <a:cubicBezTo>
                  <a:pt x="3" y="10"/>
                  <a:pt x="3" y="10"/>
                  <a:pt x="3" y="10"/>
                </a:cubicBezTo>
                <a:cubicBezTo>
                  <a:pt x="3" y="9"/>
                  <a:pt x="3" y="9"/>
                  <a:pt x="3" y="9"/>
                </a:cubicBezTo>
                <a:cubicBezTo>
                  <a:pt x="2" y="10"/>
                  <a:pt x="2" y="10"/>
                  <a:pt x="2" y="10"/>
                </a:cubicBezTo>
                <a:cubicBezTo>
                  <a:pt x="1" y="10"/>
                  <a:pt x="1" y="10"/>
                  <a:pt x="1" y="10"/>
                </a:cubicBezTo>
                <a:cubicBezTo>
                  <a:pt x="2" y="8"/>
                  <a:pt x="2" y="8"/>
                  <a:pt x="2" y="8"/>
                </a:cubicBezTo>
                <a:cubicBezTo>
                  <a:pt x="1" y="8"/>
                  <a:pt x="1" y="8"/>
                  <a:pt x="1" y="8"/>
                </a:cubicBezTo>
                <a:cubicBezTo>
                  <a:pt x="1" y="7"/>
                  <a:pt x="1" y="7"/>
                  <a:pt x="1" y="7"/>
                </a:cubicBezTo>
                <a:cubicBezTo>
                  <a:pt x="0" y="7"/>
                  <a:pt x="0" y="7"/>
                  <a:pt x="0" y="7"/>
                </a:cubicBezTo>
                <a:cubicBezTo>
                  <a:pt x="0" y="6"/>
                  <a:pt x="0" y="6"/>
                  <a:pt x="0" y="6"/>
                </a:cubicBezTo>
                <a:cubicBezTo>
                  <a:pt x="1" y="5"/>
                  <a:pt x="1" y="5"/>
                  <a:pt x="1" y="5"/>
                </a:cubicBezTo>
                <a:cubicBezTo>
                  <a:pt x="3" y="4"/>
                  <a:pt x="3" y="4"/>
                  <a:pt x="3" y="4"/>
                </a:cubicBezTo>
                <a:cubicBezTo>
                  <a:pt x="4" y="4"/>
                  <a:pt x="4" y="4"/>
                  <a:pt x="4" y="4"/>
                </a:cubicBezTo>
                <a:cubicBezTo>
                  <a:pt x="6" y="4"/>
                  <a:pt x="6" y="4"/>
                  <a:pt x="6" y="4"/>
                </a:cubicBezTo>
                <a:cubicBezTo>
                  <a:pt x="7" y="3"/>
                  <a:pt x="7" y="3"/>
                  <a:pt x="7" y="3"/>
                </a:cubicBezTo>
                <a:cubicBezTo>
                  <a:pt x="6" y="3"/>
                  <a:pt x="6" y="3"/>
                  <a:pt x="6" y="3"/>
                </a:cubicBezTo>
                <a:cubicBezTo>
                  <a:pt x="6" y="2"/>
                  <a:pt x="6" y="2"/>
                  <a:pt x="6" y="2"/>
                </a:cubicBezTo>
                <a:cubicBezTo>
                  <a:pt x="8" y="1"/>
                  <a:pt x="8" y="1"/>
                  <a:pt x="8" y="1"/>
                </a:cubicBezTo>
                <a:cubicBezTo>
                  <a:pt x="8" y="1"/>
                  <a:pt x="8" y="1"/>
                  <a:pt x="8" y="1"/>
                </a:cubicBezTo>
                <a:cubicBezTo>
                  <a:pt x="9" y="0"/>
                  <a:pt x="9" y="0"/>
                  <a:pt x="9" y="0"/>
                </a:cubicBezTo>
                <a:cubicBezTo>
                  <a:pt x="11" y="1"/>
                  <a:pt x="11" y="1"/>
                  <a:pt x="11" y="1"/>
                </a:cubicBezTo>
                <a:cubicBezTo>
                  <a:pt x="12" y="2"/>
                  <a:pt x="12" y="2"/>
                  <a:pt x="12" y="2"/>
                </a:cubicBezTo>
                <a:cubicBezTo>
                  <a:pt x="13" y="1"/>
                  <a:pt x="13" y="1"/>
                  <a:pt x="13" y="1"/>
                </a:cubicBezTo>
                <a:cubicBezTo>
                  <a:pt x="15" y="1"/>
                  <a:pt x="15" y="1"/>
                  <a:pt x="15" y="1"/>
                </a:cubicBezTo>
                <a:cubicBezTo>
                  <a:pt x="16" y="2"/>
                  <a:pt x="16" y="2"/>
                  <a:pt x="16" y="2"/>
                </a:cubicBezTo>
                <a:cubicBezTo>
                  <a:pt x="18" y="1"/>
                  <a:pt x="18" y="1"/>
                  <a:pt x="18" y="1"/>
                </a:cubicBezTo>
                <a:cubicBezTo>
                  <a:pt x="20" y="1"/>
                  <a:pt x="20" y="1"/>
                  <a:pt x="20" y="1"/>
                </a:cubicBezTo>
                <a:cubicBezTo>
                  <a:pt x="20" y="1"/>
                  <a:pt x="20" y="1"/>
                  <a:pt x="20" y="1"/>
                </a:cubicBezTo>
                <a:cubicBezTo>
                  <a:pt x="22" y="2"/>
                  <a:pt x="22" y="2"/>
                  <a:pt x="22" y="2"/>
                </a:cubicBezTo>
                <a:cubicBezTo>
                  <a:pt x="26" y="3"/>
                  <a:pt x="26" y="3"/>
                  <a:pt x="26" y="3"/>
                </a:cubicBezTo>
                <a:cubicBezTo>
                  <a:pt x="28" y="3"/>
                  <a:pt x="28" y="3"/>
                  <a:pt x="28" y="3"/>
                </a:cubicBezTo>
                <a:cubicBezTo>
                  <a:pt x="31" y="2"/>
                  <a:pt x="31" y="2"/>
                  <a:pt x="31" y="2"/>
                </a:cubicBezTo>
                <a:cubicBezTo>
                  <a:pt x="34" y="2"/>
                  <a:pt x="34" y="2"/>
                  <a:pt x="34" y="2"/>
                </a:cubicBezTo>
                <a:cubicBezTo>
                  <a:pt x="34" y="3"/>
                  <a:pt x="34" y="3"/>
                  <a:pt x="34" y="3"/>
                </a:cubicBezTo>
                <a:cubicBezTo>
                  <a:pt x="36" y="4"/>
                  <a:pt x="36" y="4"/>
                  <a:pt x="36" y="4"/>
                </a:cubicBezTo>
                <a:cubicBezTo>
                  <a:pt x="37" y="3"/>
                  <a:pt x="37" y="3"/>
                  <a:pt x="37" y="3"/>
                </a:cubicBezTo>
                <a:cubicBezTo>
                  <a:pt x="39" y="3"/>
                  <a:pt x="39" y="3"/>
                  <a:pt x="39" y="3"/>
                </a:cubicBezTo>
                <a:cubicBezTo>
                  <a:pt x="42" y="5"/>
                  <a:pt x="42" y="5"/>
                  <a:pt x="42" y="5"/>
                </a:cubicBezTo>
                <a:cubicBezTo>
                  <a:pt x="42" y="4"/>
                  <a:pt x="42" y="4"/>
                  <a:pt x="42" y="4"/>
                </a:cubicBezTo>
                <a:cubicBezTo>
                  <a:pt x="43" y="4"/>
                  <a:pt x="43" y="4"/>
                  <a:pt x="43" y="4"/>
                </a:cubicBezTo>
                <a:cubicBezTo>
                  <a:pt x="44" y="3"/>
                  <a:pt x="44" y="3"/>
                  <a:pt x="44" y="3"/>
                </a:cubicBezTo>
                <a:close/>
                <a:moveTo>
                  <a:pt x="74" y="31"/>
                </a:moveTo>
                <a:cubicBezTo>
                  <a:pt x="76" y="31"/>
                  <a:pt x="76" y="31"/>
                  <a:pt x="76" y="31"/>
                </a:cubicBezTo>
                <a:cubicBezTo>
                  <a:pt x="77" y="31"/>
                  <a:pt x="77" y="31"/>
                  <a:pt x="77" y="31"/>
                </a:cubicBezTo>
                <a:cubicBezTo>
                  <a:pt x="78" y="31"/>
                  <a:pt x="78" y="31"/>
                  <a:pt x="78" y="31"/>
                </a:cubicBezTo>
                <a:cubicBezTo>
                  <a:pt x="76" y="30"/>
                  <a:pt x="76" y="30"/>
                  <a:pt x="76" y="30"/>
                </a:cubicBezTo>
                <a:cubicBezTo>
                  <a:pt x="74" y="30"/>
                  <a:pt x="74" y="30"/>
                  <a:pt x="74" y="30"/>
                </a:cubicBezTo>
                <a:cubicBezTo>
                  <a:pt x="74" y="31"/>
                  <a:pt x="74" y="31"/>
                  <a:pt x="74" y="31"/>
                </a:cubicBezTo>
                <a:close/>
                <a:moveTo>
                  <a:pt x="71" y="35"/>
                </a:moveTo>
                <a:cubicBezTo>
                  <a:pt x="71" y="33"/>
                  <a:pt x="71" y="33"/>
                  <a:pt x="71" y="33"/>
                </a:cubicBezTo>
                <a:cubicBezTo>
                  <a:pt x="73" y="32"/>
                  <a:pt x="73" y="32"/>
                  <a:pt x="73" y="32"/>
                </a:cubicBezTo>
                <a:cubicBezTo>
                  <a:pt x="71" y="32"/>
                  <a:pt x="71" y="32"/>
                  <a:pt x="71" y="32"/>
                </a:cubicBezTo>
                <a:cubicBezTo>
                  <a:pt x="70" y="32"/>
                  <a:pt x="70" y="32"/>
                  <a:pt x="70" y="32"/>
                </a:cubicBezTo>
                <a:cubicBezTo>
                  <a:pt x="69" y="33"/>
                  <a:pt x="69" y="33"/>
                  <a:pt x="69" y="33"/>
                </a:cubicBezTo>
                <a:cubicBezTo>
                  <a:pt x="68" y="34"/>
                  <a:pt x="68" y="34"/>
                  <a:pt x="68" y="34"/>
                </a:cubicBezTo>
                <a:cubicBezTo>
                  <a:pt x="70" y="34"/>
                  <a:pt x="70" y="34"/>
                  <a:pt x="70" y="34"/>
                </a:cubicBezTo>
                <a:cubicBezTo>
                  <a:pt x="71" y="35"/>
                  <a:pt x="71" y="35"/>
                  <a:pt x="71" y="35"/>
                </a:cubicBezTo>
                <a:close/>
                <a:moveTo>
                  <a:pt x="63" y="39"/>
                </a:moveTo>
                <a:cubicBezTo>
                  <a:pt x="64" y="38"/>
                  <a:pt x="64" y="38"/>
                  <a:pt x="64" y="38"/>
                </a:cubicBezTo>
                <a:cubicBezTo>
                  <a:pt x="64" y="37"/>
                  <a:pt x="64" y="37"/>
                  <a:pt x="64" y="37"/>
                </a:cubicBezTo>
                <a:cubicBezTo>
                  <a:pt x="64" y="37"/>
                  <a:pt x="64" y="37"/>
                  <a:pt x="64" y="37"/>
                </a:cubicBezTo>
                <a:cubicBezTo>
                  <a:pt x="62" y="37"/>
                  <a:pt x="62" y="37"/>
                  <a:pt x="62" y="37"/>
                </a:cubicBezTo>
                <a:cubicBezTo>
                  <a:pt x="62" y="38"/>
                  <a:pt x="62" y="38"/>
                  <a:pt x="62" y="38"/>
                </a:cubicBezTo>
                <a:lnTo>
                  <a:pt x="63" y="39"/>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1" name="Freeform 79">
            <a:extLst>
              <a:ext uri="{FF2B5EF4-FFF2-40B4-BE49-F238E27FC236}">
                <a16:creationId xmlns:a16="http://schemas.microsoft.com/office/drawing/2014/main" id="{0C2E9019-2DB8-DB83-A415-165CE5E5A2E3}"/>
              </a:ext>
            </a:extLst>
          </p:cNvPr>
          <p:cNvSpPr>
            <a:spLocks/>
          </p:cNvSpPr>
          <p:nvPr userDrawn="1"/>
        </p:nvSpPr>
        <p:spPr bwMode="auto">
          <a:xfrm>
            <a:off x="12613456" y="6565183"/>
            <a:ext cx="187314" cy="387350"/>
          </a:xfrm>
          <a:custGeom>
            <a:avLst/>
            <a:gdLst>
              <a:gd name="T0" fmla="*/ 37 w 59"/>
              <a:gd name="T1" fmla="*/ 113 h 122"/>
              <a:gd name="T2" fmla="*/ 41 w 59"/>
              <a:gd name="T3" fmla="*/ 100 h 122"/>
              <a:gd name="T4" fmla="*/ 47 w 59"/>
              <a:gd name="T5" fmla="*/ 91 h 122"/>
              <a:gd name="T6" fmla="*/ 37 w 59"/>
              <a:gd name="T7" fmla="*/ 85 h 122"/>
              <a:gd name="T8" fmla="*/ 44 w 59"/>
              <a:gd name="T9" fmla="*/ 72 h 122"/>
              <a:gd name="T10" fmla="*/ 34 w 59"/>
              <a:gd name="T11" fmla="*/ 60 h 122"/>
              <a:gd name="T12" fmla="*/ 44 w 59"/>
              <a:gd name="T13" fmla="*/ 60 h 122"/>
              <a:gd name="T14" fmla="*/ 44 w 59"/>
              <a:gd name="T15" fmla="*/ 47 h 122"/>
              <a:gd name="T16" fmla="*/ 50 w 59"/>
              <a:gd name="T17" fmla="*/ 31 h 122"/>
              <a:gd name="T18" fmla="*/ 56 w 59"/>
              <a:gd name="T19" fmla="*/ 19 h 122"/>
              <a:gd name="T20" fmla="*/ 59 w 59"/>
              <a:gd name="T21" fmla="*/ 16 h 122"/>
              <a:gd name="T22" fmla="*/ 56 w 59"/>
              <a:gd name="T23" fmla="*/ 3 h 122"/>
              <a:gd name="T24" fmla="*/ 44 w 59"/>
              <a:gd name="T25" fmla="*/ 6 h 122"/>
              <a:gd name="T26" fmla="*/ 25 w 59"/>
              <a:gd name="T27" fmla="*/ 10 h 122"/>
              <a:gd name="T28" fmla="*/ 25 w 59"/>
              <a:gd name="T29" fmla="*/ 0 h 122"/>
              <a:gd name="T30" fmla="*/ 12 w 59"/>
              <a:gd name="T31" fmla="*/ 0 h 122"/>
              <a:gd name="T32" fmla="*/ 16 w 59"/>
              <a:gd name="T33" fmla="*/ 13 h 122"/>
              <a:gd name="T34" fmla="*/ 16 w 59"/>
              <a:gd name="T35" fmla="*/ 25 h 122"/>
              <a:gd name="T36" fmla="*/ 16 w 59"/>
              <a:gd name="T37" fmla="*/ 35 h 122"/>
              <a:gd name="T38" fmla="*/ 12 w 59"/>
              <a:gd name="T39" fmla="*/ 44 h 122"/>
              <a:gd name="T40" fmla="*/ 6 w 59"/>
              <a:gd name="T41" fmla="*/ 56 h 122"/>
              <a:gd name="T42" fmla="*/ 3 w 59"/>
              <a:gd name="T43" fmla="*/ 66 h 122"/>
              <a:gd name="T44" fmla="*/ 0 w 59"/>
              <a:gd name="T45" fmla="*/ 81 h 122"/>
              <a:gd name="T46" fmla="*/ 6 w 59"/>
              <a:gd name="T47" fmla="*/ 78 h 122"/>
              <a:gd name="T48" fmla="*/ 9 w 59"/>
              <a:gd name="T49" fmla="*/ 78 h 122"/>
              <a:gd name="T50" fmla="*/ 3 w 59"/>
              <a:gd name="T51" fmla="*/ 85 h 122"/>
              <a:gd name="T52" fmla="*/ 6 w 59"/>
              <a:gd name="T53" fmla="*/ 91 h 122"/>
              <a:gd name="T54" fmla="*/ 12 w 59"/>
              <a:gd name="T55" fmla="*/ 88 h 122"/>
              <a:gd name="T56" fmla="*/ 12 w 59"/>
              <a:gd name="T57" fmla="*/ 94 h 122"/>
              <a:gd name="T58" fmla="*/ 12 w 59"/>
              <a:gd name="T59" fmla="*/ 110 h 122"/>
              <a:gd name="T60" fmla="*/ 9 w 59"/>
              <a:gd name="T61" fmla="*/ 119 h 122"/>
              <a:gd name="T62" fmla="*/ 16 w 59"/>
              <a:gd name="T63" fmla="*/ 116 h 122"/>
              <a:gd name="T64" fmla="*/ 28 w 59"/>
              <a:gd name="T65" fmla="*/ 122 h 122"/>
              <a:gd name="T66" fmla="*/ 37 w 59"/>
              <a:gd name="T67" fmla="*/ 119 h 122"/>
              <a:gd name="T68" fmla="*/ 41 w 59"/>
              <a:gd name="T69" fmla="*/ 11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122">
                <a:moveTo>
                  <a:pt x="41" y="116"/>
                </a:moveTo>
                <a:lnTo>
                  <a:pt x="37" y="113"/>
                </a:lnTo>
                <a:lnTo>
                  <a:pt x="37" y="107"/>
                </a:lnTo>
                <a:lnTo>
                  <a:pt x="41" y="100"/>
                </a:lnTo>
                <a:lnTo>
                  <a:pt x="47" y="94"/>
                </a:lnTo>
                <a:lnTo>
                  <a:pt x="47" y="91"/>
                </a:lnTo>
                <a:lnTo>
                  <a:pt x="41" y="91"/>
                </a:lnTo>
                <a:lnTo>
                  <a:pt x="37" y="85"/>
                </a:lnTo>
                <a:lnTo>
                  <a:pt x="44" y="78"/>
                </a:lnTo>
                <a:lnTo>
                  <a:pt x="44" y="72"/>
                </a:lnTo>
                <a:lnTo>
                  <a:pt x="41" y="69"/>
                </a:lnTo>
                <a:lnTo>
                  <a:pt x="34" y="60"/>
                </a:lnTo>
                <a:lnTo>
                  <a:pt x="41" y="56"/>
                </a:lnTo>
                <a:lnTo>
                  <a:pt x="44" y="60"/>
                </a:lnTo>
                <a:lnTo>
                  <a:pt x="50" y="50"/>
                </a:lnTo>
                <a:lnTo>
                  <a:pt x="44" y="47"/>
                </a:lnTo>
                <a:lnTo>
                  <a:pt x="50" y="44"/>
                </a:lnTo>
                <a:lnTo>
                  <a:pt x="50" y="31"/>
                </a:lnTo>
                <a:lnTo>
                  <a:pt x="50" y="25"/>
                </a:lnTo>
                <a:lnTo>
                  <a:pt x="56" y="19"/>
                </a:lnTo>
                <a:lnTo>
                  <a:pt x="59" y="19"/>
                </a:lnTo>
                <a:lnTo>
                  <a:pt x="59" y="16"/>
                </a:lnTo>
                <a:lnTo>
                  <a:pt x="56" y="10"/>
                </a:lnTo>
                <a:lnTo>
                  <a:pt x="56" y="3"/>
                </a:lnTo>
                <a:lnTo>
                  <a:pt x="47" y="3"/>
                </a:lnTo>
                <a:lnTo>
                  <a:pt x="44" y="6"/>
                </a:lnTo>
                <a:lnTo>
                  <a:pt x="31" y="3"/>
                </a:lnTo>
                <a:lnTo>
                  <a:pt x="25" y="10"/>
                </a:lnTo>
                <a:lnTo>
                  <a:pt x="25" y="6"/>
                </a:lnTo>
                <a:lnTo>
                  <a:pt x="25" y="0"/>
                </a:lnTo>
                <a:lnTo>
                  <a:pt x="22" y="0"/>
                </a:lnTo>
                <a:lnTo>
                  <a:pt x="12" y="0"/>
                </a:lnTo>
                <a:lnTo>
                  <a:pt x="12" y="6"/>
                </a:lnTo>
                <a:lnTo>
                  <a:pt x="16" y="13"/>
                </a:lnTo>
                <a:lnTo>
                  <a:pt x="16" y="25"/>
                </a:lnTo>
                <a:lnTo>
                  <a:pt x="16" y="25"/>
                </a:lnTo>
                <a:lnTo>
                  <a:pt x="12" y="31"/>
                </a:lnTo>
                <a:lnTo>
                  <a:pt x="16" y="35"/>
                </a:lnTo>
                <a:lnTo>
                  <a:pt x="16" y="38"/>
                </a:lnTo>
                <a:lnTo>
                  <a:pt x="12" y="44"/>
                </a:lnTo>
                <a:lnTo>
                  <a:pt x="12" y="50"/>
                </a:lnTo>
                <a:lnTo>
                  <a:pt x="6" y="56"/>
                </a:lnTo>
                <a:lnTo>
                  <a:pt x="6" y="60"/>
                </a:lnTo>
                <a:lnTo>
                  <a:pt x="3" y="66"/>
                </a:lnTo>
                <a:lnTo>
                  <a:pt x="0" y="78"/>
                </a:lnTo>
                <a:lnTo>
                  <a:pt x="0" y="81"/>
                </a:lnTo>
                <a:lnTo>
                  <a:pt x="3" y="81"/>
                </a:lnTo>
                <a:lnTo>
                  <a:pt x="6" y="78"/>
                </a:lnTo>
                <a:lnTo>
                  <a:pt x="9" y="75"/>
                </a:lnTo>
                <a:lnTo>
                  <a:pt x="9" y="78"/>
                </a:lnTo>
                <a:lnTo>
                  <a:pt x="9" y="81"/>
                </a:lnTo>
                <a:lnTo>
                  <a:pt x="3" y="85"/>
                </a:lnTo>
                <a:lnTo>
                  <a:pt x="3" y="88"/>
                </a:lnTo>
                <a:lnTo>
                  <a:pt x="6" y="91"/>
                </a:lnTo>
                <a:lnTo>
                  <a:pt x="9" y="88"/>
                </a:lnTo>
                <a:lnTo>
                  <a:pt x="12" y="88"/>
                </a:lnTo>
                <a:lnTo>
                  <a:pt x="12" y="91"/>
                </a:lnTo>
                <a:lnTo>
                  <a:pt x="12" y="94"/>
                </a:lnTo>
                <a:lnTo>
                  <a:pt x="12" y="100"/>
                </a:lnTo>
                <a:lnTo>
                  <a:pt x="12" y="110"/>
                </a:lnTo>
                <a:lnTo>
                  <a:pt x="9" y="116"/>
                </a:lnTo>
                <a:lnTo>
                  <a:pt x="9" y="119"/>
                </a:lnTo>
                <a:lnTo>
                  <a:pt x="9" y="119"/>
                </a:lnTo>
                <a:lnTo>
                  <a:pt x="16" y="116"/>
                </a:lnTo>
                <a:lnTo>
                  <a:pt x="22" y="119"/>
                </a:lnTo>
                <a:lnTo>
                  <a:pt x="28" y="122"/>
                </a:lnTo>
                <a:lnTo>
                  <a:pt x="34" y="119"/>
                </a:lnTo>
                <a:lnTo>
                  <a:pt x="37" y="119"/>
                </a:lnTo>
                <a:lnTo>
                  <a:pt x="37" y="116"/>
                </a:lnTo>
                <a:lnTo>
                  <a:pt x="41" y="116"/>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2" name="Freeform 80">
            <a:extLst>
              <a:ext uri="{FF2B5EF4-FFF2-40B4-BE49-F238E27FC236}">
                <a16:creationId xmlns:a16="http://schemas.microsoft.com/office/drawing/2014/main" id="{CA301A15-4F2F-F086-955C-468CB385F47F}"/>
              </a:ext>
            </a:extLst>
          </p:cNvPr>
          <p:cNvSpPr>
            <a:spLocks noEditPoints="1"/>
          </p:cNvSpPr>
          <p:nvPr userDrawn="1"/>
        </p:nvSpPr>
        <p:spPr bwMode="auto">
          <a:xfrm>
            <a:off x="14308789" y="6574709"/>
            <a:ext cx="536541" cy="527050"/>
          </a:xfrm>
          <a:custGeom>
            <a:avLst/>
            <a:gdLst>
              <a:gd name="T0" fmla="*/ 33 w 54"/>
              <a:gd name="T1" fmla="*/ 5 h 53"/>
              <a:gd name="T2" fmla="*/ 22 w 54"/>
              <a:gd name="T3" fmla="*/ 5 h 53"/>
              <a:gd name="T4" fmla="*/ 9 w 54"/>
              <a:gd name="T5" fmla="*/ 10 h 53"/>
              <a:gd name="T6" fmla="*/ 6 w 54"/>
              <a:gd name="T7" fmla="*/ 22 h 53"/>
              <a:gd name="T8" fmla="*/ 14 w 54"/>
              <a:gd name="T9" fmla="*/ 29 h 53"/>
              <a:gd name="T10" fmla="*/ 20 w 54"/>
              <a:gd name="T11" fmla="*/ 31 h 53"/>
              <a:gd name="T12" fmla="*/ 10 w 54"/>
              <a:gd name="T13" fmla="*/ 31 h 53"/>
              <a:gd name="T14" fmla="*/ 16 w 54"/>
              <a:gd name="T15" fmla="*/ 40 h 53"/>
              <a:gd name="T16" fmla="*/ 19 w 54"/>
              <a:gd name="T17" fmla="*/ 41 h 53"/>
              <a:gd name="T18" fmla="*/ 20 w 54"/>
              <a:gd name="T19" fmla="*/ 35 h 53"/>
              <a:gd name="T20" fmla="*/ 24 w 54"/>
              <a:gd name="T21" fmla="*/ 35 h 53"/>
              <a:gd name="T22" fmla="*/ 26 w 54"/>
              <a:gd name="T23" fmla="*/ 32 h 53"/>
              <a:gd name="T24" fmla="*/ 22 w 54"/>
              <a:gd name="T25" fmla="*/ 26 h 53"/>
              <a:gd name="T26" fmla="*/ 20 w 54"/>
              <a:gd name="T27" fmla="*/ 21 h 53"/>
              <a:gd name="T28" fmla="*/ 20 w 54"/>
              <a:gd name="T29" fmla="*/ 18 h 53"/>
              <a:gd name="T30" fmla="*/ 19 w 54"/>
              <a:gd name="T31" fmla="*/ 12 h 53"/>
              <a:gd name="T32" fmla="*/ 24 w 54"/>
              <a:gd name="T33" fmla="*/ 14 h 53"/>
              <a:gd name="T34" fmla="*/ 28 w 54"/>
              <a:gd name="T35" fmla="*/ 13 h 53"/>
              <a:gd name="T36" fmla="*/ 30 w 54"/>
              <a:gd name="T37" fmla="*/ 9 h 53"/>
              <a:gd name="T38" fmla="*/ 40 w 54"/>
              <a:gd name="T39" fmla="*/ 7 h 53"/>
              <a:gd name="T40" fmla="*/ 26 w 54"/>
              <a:gd name="T41" fmla="*/ 50 h 53"/>
              <a:gd name="T42" fmla="*/ 35 w 54"/>
              <a:gd name="T43" fmla="*/ 53 h 53"/>
              <a:gd name="T44" fmla="*/ 42 w 54"/>
              <a:gd name="T45" fmla="*/ 50 h 53"/>
              <a:gd name="T46" fmla="*/ 37 w 54"/>
              <a:gd name="T47" fmla="*/ 49 h 53"/>
              <a:gd name="T48" fmla="*/ 29 w 54"/>
              <a:gd name="T49" fmla="*/ 48 h 53"/>
              <a:gd name="T50" fmla="*/ 27 w 54"/>
              <a:gd name="T51" fmla="*/ 49 h 53"/>
              <a:gd name="T52" fmla="*/ 1 w 54"/>
              <a:gd name="T53" fmla="*/ 19 h 53"/>
              <a:gd name="T54" fmla="*/ 7 w 54"/>
              <a:gd name="T55" fmla="*/ 25 h 53"/>
              <a:gd name="T56" fmla="*/ 7 w 54"/>
              <a:gd name="T57" fmla="*/ 29 h 53"/>
              <a:gd name="T58" fmla="*/ 6 w 54"/>
              <a:gd name="T59" fmla="*/ 30 h 53"/>
              <a:gd name="T60" fmla="*/ 8 w 54"/>
              <a:gd name="T61" fmla="*/ 34 h 53"/>
              <a:gd name="T62" fmla="*/ 48 w 54"/>
              <a:gd name="T63" fmla="*/ 46 h 53"/>
              <a:gd name="T64" fmla="*/ 48 w 54"/>
              <a:gd name="T65" fmla="*/ 50 h 53"/>
              <a:gd name="T66" fmla="*/ 54 w 54"/>
              <a:gd name="T67" fmla="*/ 42 h 53"/>
              <a:gd name="T68" fmla="*/ 51 w 54"/>
              <a:gd name="T69" fmla="*/ 46 h 53"/>
              <a:gd name="T70" fmla="*/ 43 w 54"/>
              <a:gd name="T71" fmla="*/ 32 h 53"/>
              <a:gd name="T72" fmla="*/ 43 w 54"/>
              <a:gd name="T73" fmla="*/ 33 h 53"/>
              <a:gd name="T74" fmla="*/ 39 w 54"/>
              <a:gd name="T75" fmla="*/ 28 h 53"/>
              <a:gd name="T76" fmla="*/ 38 w 54"/>
              <a:gd name="T77" fmla="*/ 22 h 53"/>
              <a:gd name="T78" fmla="*/ 42 w 54"/>
              <a:gd name="T79" fmla="*/ 23 h 53"/>
              <a:gd name="T80" fmla="*/ 39 w 54"/>
              <a:gd name="T81" fmla="*/ 23 h 53"/>
              <a:gd name="T82" fmla="*/ 33 w 54"/>
              <a:gd name="T83" fmla="*/ 15 h 53"/>
              <a:gd name="T84" fmla="*/ 33 w 54"/>
              <a:gd name="T85" fmla="*/ 16 h 53"/>
              <a:gd name="T86" fmla="*/ 29 w 54"/>
              <a:gd name="T87" fmla="*/ 10 h 53"/>
              <a:gd name="T88" fmla="*/ 23 w 54"/>
              <a:gd name="T89" fmla="*/ 22 h 53"/>
              <a:gd name="T90" fmla="*/ 31 w 54"/>
              <a:gd name="T91" fmla="*/ 25 h 53"/>
              <a:gd name="T92" fmla="*/ 40 w 54"/>
              <a:gd name="T93" fmla="*/ 35 h 53"/>
              <a:gd name="T94" fmla="*/ 31 w 54"/>
              <a:gd name="T95" fmla="*/ 38 h 53"/>
              <a:gd name="T96" fmla="*/ 30 w 54"/>
              <a:gd name="T97" fmla="*/ 34 h 53"/>
              <a:gd name="T98" fmla="*/ 37 w 54"/>
              <a:gd name="T99" fmla="*/ 39 h 53"/>
              <a:gd name="T100" fmla="*/ 37 w 54"/>
              <a:gd name="T101" fmla="*/ 35 h 53"/>
              <a:gd name="T102" fmla="*/ 32 w 54"/>
              <a:gd name="T103" fmla="*/ 32 h 53"/>
              <a:gd name="T104" fmla="*/ 21 w 54"/>
              <a:gd name="T105" fmla="*/ 23 h 53"/>
              <a:gd name="T106" fmla="*/ 29 w 54"/>
              <a:gd name="T107" fmla="*/ 28 h 53"/>
              <a:gd name="T108" fmla="*/ 30 w 54"/>
              <a:gd name="T109" fmla="*/ 32 h 53"/>
              <a:gd name="T110" fmla="*/ 24 w 54"/>
              <a:gd name="T111" fmla="*/ 26 h 53"/>
              <a:gd name="T112" fmla="*/ 22 w 54"/>
              <a:gd name="T113" fmla="*/ 42 h 53"/>
              <a:gd name="T114" fmla="*/ 22 w 54"/>
              <a:gd name="T115" fmla="*/ 4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53">
                <a:moveTo>
                  <a:pt x="41" y="0"/>
                </a:moveTo>
                <a:cubicBezTo>
                  <a:pt x="40" y="0"/>
                  <a:pt x="40" y="0"/>
                  <a:pt x="40" y="0"/>
                </a:cubicBezTo>
                <a:cubicBezTo>
                  <a:pt x="38" y="2"/>
                  <a:pt x="38" y="2"/>
                  <a:pt x="38" y="2"/>
                </a:cubicBezTo>
                <a:cubicBezTo>
                  <a:pt x="38" y="3"/>
                  <a:pt x="38" y="3"/>
                  <a:pt x="38" y="3"/>
                </a:cubicBezTo>
                <a:cubicBezTo>
                  <a:pt x="39" y="4"/>
                  <a:pt x="39" y="4"/>
                  <a:pt x="39" y="4"/>
                </a:cubicBezTo>
                <a:cubicBezTo>
                  <a:pt x="38" y="5"/>
                  <a:pt x="38" y="5"/>
                  <a:pt x="38" y="5"/>
                </a:cubicBezTo>
                <a:cubicBezTo>
                  <a:pt x="35" y="5"/>
                  <a:pt x="35" y="5"/>
                  <a:pt x="35" y="5"/>
                </a:cubicBezTo>
                <a:cubicBezTo>
                  <a:pt x="34" y="5"/>
                  <a:pt x="34" y="5"/>
                  <a:pt x="34" y="5"/>
                </a:cubicBezTo>
                <a:cubicBezTo>
                  <a:pt x="33" y="5"/>
                  <a:pt x="33" y="5"/>
                  <a:pt x="33" y="5"/>
                </a:cubicBezTo>
                <a:cubicBezTo>
                  <a:pt x="32" y="5"/>
                  <a:pt x="32" y="5"/>
                  <a:pt x="32" y="5"/>
                </a:cubicBezTo>
                <a:cubicBezTo>
                  <a:pt x="31" y="5"/>
                  <a:pt x="31" y="5"/>
                  <a:pt x="31" y="5"/>
                </a:cubicBezTo>
                <a:cubicBezTo>
                  <a:pt x="30" y="5"/>
                  <a:pt x="30" y="5"/>
                  <a:pt x="30" y="5"/>
                </a:cubicBezTo>
                <a:cubicBezTo>
                  <a:pt x="30" y="4"/>
                  <a:pt x="30" y="4"/>
                  <a:pt x="30" y="4"/>
                </a:cubicBezTo>
                <a:cubicBezTo>
                  <a:pt x="28" y="4"/>
                  <a:pt x="28" y="4"/>
                  <a:pt x="28" y="4"/>
                </a:cubicBezTo>
                <a:cubicBezTo>
                  <a:pt x="26" y="4"/>
                  <a:pt x="26" y="4"/>
                  <a:pt x="26" y="4"/>
                </a:cubicBezTo>
                <a:cubicBezTo>
                  <a:pt x="25" y="5"/>
                  <a:pt x="25" y="5"/>
                  <a:pt x="25" y="5"/>
                </a:cubicBezTo>
                <a:cubicBezTo>
                  <a:pt x="24" y="5"/>
                  <a:pt x="24" y="5"/>
                  <a:pt x="24" y="5"/>
                </a:cubicBezTo>
                <a:cubicBezTo>
                  <a:pt x="22" y="5"/>
                  <a:pt x="22" y="5"/>
                  <a:pt x="22" y="5"/>
                </a:cubicBezTo>
                <a:cubicBezTo>
                  <a:pt x="21" y="5"/>
                  <a:pt x="21" y="5"/>
                  <a:pt x="21" y="5"/>
                </a:cubicBezTo>
                <a:cubicBezTo>
                  <a:pt x="20" y="6"/>
                  <a:pt x="20" y="6"/>
                  <a:pt x="20" y="6"/>
                </a:cubicBezTo>
                <a:cubicBezTo>
                  <a:pt x="19" y="6"/>
                  <a:pt x="19" y="6"/>
                  <a:pt x="19" y="6"/>
                </a:cubicBezTo>
                <a:cubicBezTo>
                  <a:pt x="18" y="7"/>
                  <a:pt x="18" y="7"/>
                  <a:pt x="18" y="7"/>
                </a:cubicBezTo>
                <a:cubicBezTo>
                  <a:pt x="15" y="7"/>
                  <a:pt x="15" y="7"/>
                  <a:pt x="15" y="7"/>
                </a:cubicBezTo>
                <a:cubicBezTo>
                  <a:pt x="13" y="7"/>
                  <a:pt x="13" y="7"/>
                  <a:pt x="13" y="7"/>
                </a:cubicBezTo>
                <a:cubicBezTo>
                  <a:pt x="13" y="8"/>
                  <a:pt x="13" y="8"/>
                  <a:pt x="13" y="8"/>
                </a:cubicBezTo>
                <a:cubicBezTo>
                  <a:pt x="11" y="8"/>
                  <a:pt x="11" y="8"/>
                  <a:pt x="11" y="8"/>
                </a:cubicBezTo>
                <a:cubicBezTo>
                  <a:pt x="9" y="10"/>
                  <a:pt x="9" y="10"/>
                  <a:pt x="9" y="10"/>
                </a:cubicBezTo>
                <a:cubicBezTo>
                  <a:pt x="9" y="12"/>
                  <a:pt x="9" y="12"/>
                  <a:pt x="9" y="12"/>
                </a:cubicBezTo>
                <a:cubicBezTo>
                  <a:pt x="8" y="14"/>
                  <a:pt x="8" y="14"/>
                  <a:pt x="8" y="14"/>
                </a:cubicBezTo>
                <a:cubicBezTo>
                  <a:pt x="5" y="14"/>
                  <a:pt x="5" y="14"/>
                  <a:pt x="5" y="14"/>
                </a:cubicBezTo>
                <a:cubicBezTo>
                  <a:pt x="5" y="16"/>
                  <a:pt x="5" y="16"/>
                  <a:pt x="5" y="16"/>
                </a:cubicBezTo>
                <a:cubicBezTo>
                  <a:pt x="4" y="18"/>
                  <a:pt x="4" y="18"/>
                  <a:pt x="4" y="18"/>
                </a:cubicBezTo>
                <a:cubicBezTo>
                  <a:pt x="3" y="18"/>
                  <a:pt x="3" y="18"/>
                  <a:pt x="3" y="18"/>
                </a:cubicBezTo>
                <a:cubicBezTo>
                  <a:pt x="4" y="18"/>
                  <a:pt x="4" y="18"/>
                  <a:pt x="4" y="18"/>
                </a:cubicBezTo>
                <a:cubicBezTo>
                  <a:pt x="4" y="20"/>
                  <a:pt x="4" y="20"/>
                  <a:pt x="4" y="20"/>
                </a:cubicBezTo>
                <a:cubicBezTo>
                  <a:pt x="6" y="22"/>
                  <a:pt x="6" y="22"/>
                  <a:pt x="6" y="22"/>
                </a:cubicBezTo>
                <a:cubicBezTo>
                  <a:pt x="7" y="24"/>
                  <a:pt x="7" y="24"/>
                  <a:pt x="7" y="24"/>
                </a:cubicBezTo>
                <a:cubicBezTo>
                  <a:pt x="8" y="24"/>
                  <a:pt x="8" y="24"/>
                  <a:pt x="8" y="24"/>
                </a:cubicBezTo>
                <a:cubicBezTo>
                  <a:pt x="8" y="24"/>
                  <a:pt x="8" y="24"/>
                  <a:pt x="8" y="24"/>
                </a:cubicBezTo>
                <a:cubicBezTo>
                  <a:pt x="9" y="27"/>
                  <a:pt x="9" y="27"/>
                  <a:pt x="9" y="27"/>
                </a:cubicBezTo>
                <a:cubicBezTo>
                  <a:pt x="10" y="28"/>
                  <a:pt x="10" y="28"/>
                  <a:pt x="10" y="28"/>
                </a:cubicBezTo>
                <a:cubicBezTo>
                  <a:pt x="11" y="29"/>
                  <a:pt x="11" y="29"/>
                  <a:pt x="11" y="29"/>
                </a:cubicBezTo>
                <a:cubicBezTo>
                  <a:pt x="12" y="27"/>
                  <a:pt x="12" y="27"/>
                  <a:pt x="12" y="27"/>
                </a:cubicBezTo>
                <a:cubicBezTo>
                  <a:pt x="13" y="29"/>
                  <a:pt x="13" y="29"/>
                  <a:pt x="13" y="29"/>
                </a:cubicBezTo>
                <a:cubicBezTo>
                  <a:pt x="14" y="29"/>
                  <a:pt x="14" y="29"/>
                  <a:pt x="14" y="29"/>
                </a:cubicBezTo>
                <a:cubicBezTo>
                  <a:pt x="15" y="28"/>
                  <a:pt x="15" y="28"/>
                  <a:pt x="15" y="28"/>
                </a:cubicBezTo>
                <a:cubicBezTo>
                  <a:pt x="16" y="28"/>
                  <a:pt x="16" y="28"/>
                  <a:pt x="16" y="28"/>
                </a:cubicBezTo>
                <a:cubicBezTo>
                  <a:pt x="17" y="29"/>
                  <a:pt x="17" y="29"/>
                  <a:pt x="17" y="29"/>
                </a:cubicBezTo>
                <a:cubicBezTo>
                  <a:pt x="18" y="29"/>
                  <a:pt x="18" y="29"/>
                  <a:pt x="18" y="29"/>
                </a:cubicBezTo>
                <a:cubicBezTo>
                  <a:pt x="19" y="29"/>
                  <a:pt x="19" y="29"/>
                  <a:pt x="19" y="29"/>
                </a:cubicBezTo>
                <a:cubicBezTo>
                  <a:pt x="19" y="29"/>
                  <a:pt x="19" y="29"/>
                  <a:pt x="19" y="29"/>
                </a:cubicBezTo>
                <a:cubicBezTo>
                  <a:pt x="20" y="30"/>
                  <a:pt x="20" y="30"/>
                  <a:pt x="20" y="30"/>
                </a:cubicBezTo>
                <a:cubicBezTo>
                  <a:pt x="21" y="30"/>
                  <a:pt x="21" y="30"/>
                  <a:pt x="21" y="30"/>
                </a:cubicBezTo>
                <a:cubicBezTo>
                  <a:pt x="20" y="31"/>
                  <a:pt x="20" y="31"/>
                  <a:pt x="20" y="31"/>
                </a:cubicBezTo>
                <a:cubicBezTo>
                  <a:pt x="20" y="32"/>
                  <a:pt x="20" y="32"/>
                  <a:pt x="20" y="32"/>
                </a:cubicBezTo>
                <a:cubicBezTo>
                  <a:pt x="19" y="31"/>
                  <a:pt x="19" y="31"/>
                  <a:pt x="19" y="31"/>
                </a:cubicBezTo>
                <a:cubicBezTo>
                  <a:pt x="18" y="31"/>
                  <a:pt x="18" y="31"/>
                  <a:pt x="18" y="31"/>
                </a:cubicBezTo>
                <a:cubicBezTo>
                  <a:pt x="15" y="29"/>
                  <a:pt x="15" y="29"/>
                  <a:pt x="15" y="29"/>
                </a:cubicBezTo>
                <a:cubicBezTo>
                  <a:pt x="14" y="29"/>
                  <a:pt x="14" y="29"/>
                  <a:pt x="14" y="29"/>
                </a:cubicBezTo>
                <a:cubicBezTo>
                  <a:pt x="13" y="30"/>
                  <a:pt x="13" y="30"/>
                  <a:pt x="13" y="30"/>
                </a:cubicBezTo>
                <a:cubicBezTo>
                  <a:pt x="12" y="29"/>
                  <a:pt x="12" y="29"/>
                  <a:pt x="12" y="29"/>
                </a:cubicBezTo>
                <a:cubicBezTo>
                  <a:pt x="11" y="31"/>
                  <a:pt x="11" y="31"/>
                  <a:pt x="11" y="31"/>
                </a:cubicBezTo>
                <a:cubicBezTo>
                  <a:pt x="10" y="31"/>
                  <a:pt x="10" y="31"/>
                  <a:pt x="10" y="31"/>
                </a:cubicBezTo>
                <a:cubicBezTo>
                  <a:pt x="10" y="32"/>
                  <a:pt x="10" y="32"/>
                  <a:pt x="10" y="32"/>
                </a:cubicBezTo>
                <a:cubicBezTo>
                  <a:pt x="11" y="33"/>
                  <a:pt x="11" y="33"/>
                  <a:pt x="11" y="33"/>
                </a:cubicBezTo>
                <a:cubicBezTo>
                  <a:pt x="13" y="34"/>
                  <a:pt x="13" y="34"/>
                  <a:pt x="13" y="34"/>
                </a:cubicBezTo>
                <a:cubicBezTo>
                  <a:pt x="14" y="35"/>
                  <a:pt x="14" y="35"/>
                  <a:pt x="14" y="35"/>
                </a:cubicBezTo>
                <a:cubicBezTo>
                  <a:pt x="14" y="36"/>
                  <a:pt x="14" y="36"/>
                  <a:pt x="14" y="36"/>
                </a:cubicBezTo>
                <a:cubicBezTo>
                  <a:pt x="14" y="37"/>
                  <a:pt x="14" y="37"/>
                  <a:pt x="14" y="37"/>
                </a:cubicBezTo>
                <a:cubicBezTo>
                  <a:pt x="14" y="38"/>
                  <a:pt x="14" y="38"/>
                  <a:pt x="14" y="38"/>
                </a:cubicBezTo>
                <a:cubicBezTo>
                  <a:pt x="15" y="39"/>
                  <a:pt x="15" y="39"/>
                  <a:pt x="15" y="39"/>
                </a:cubicBezTo>
                <a:cubicBezTo>
                  <a:pt x="16" y="40"/>
                  <a:pt x="16" y="40"/>
                  <a:pt x="16" y="40"/>
                </a:cubicBezTo>
                <a:cubicBezTo>
                  <a:pt x="16" y="39"/>
                  <a:pt x="16" y="39"/>
                  <a:pt x="16" y="39"/>
                </a:cubicBezTo>
                <a:cubicBezTo>
                  <a:pt x="16" y="39"/>
                  <a:pt x="16" y="39"/>
                  <a:pt x="16" y="39"/>
                </a:cubicBezTo>
                <a:cubicBezTo>
                  <a:pt x="16" y="38"/>
                  <a:pt x="16" y="38"/>
                  <a:pt x="16" y="38"/>
                </a:cubicBezTo>
                <a:cubicBezTo>
                  <a:pt x="17" y="39"/>
                  <a:pt x="17" y="39"/>
                  <a:pt x="17" y="39"/>
                </a:cubicBezTo>
                <a:cubicBezTo>
                  <a:pt x="18" y="40"/>
                  <a:pt x="18" y="40"/>
                  <a:pt x="18" y="40"/>
                </a:cubicBezTo>
                <a:cubicBezTo>
                  <a:pt x="19" y="41"/>
                  <a:pt x="19" y="41"/>
                  <a:pt x="19" y="41"/>
                </a:cubicBezTo>
                <a:cubicBezTo>
                  <a:pt x="18" y="42"/>
                  <a:pt x="18" y="42"/>
                  <a:pt x="18" y="42"/>
                </a:cubicBezTo>
                <a:cubicBezTo>
                  <a:pt x="19" y="43"/>
                  <a:pt x="19" y="43"/>
                  <a:pt x="19" y="43"/>
                </a:cubicBezTo>
                <a:cubicBezTo>
                  <a:pt x="19" y="41"/>
                  <a:pt x="19" y="41"/>
                  <a:pt x="19" y="41"/>
                </a:cubicBezTo>
                <a:cubicBezTo>
                  <a:pt x="20" y="39"/>
                  <a:pt x="20" y="39"/>
                  <a:pt x="20" y="39"/>
                </a:cubicBezTo>
                <a:cubicBezTo>
                  <a:pt x="21" y="39"/>
                  <a:pt x="21" y="39"/>
                  <a:pt x="21" y="39"/>
                </a:cubicBezTo>
                <a:cubicBezTo>
                  <a:pt x="21" y="41"/>
                  <a:pt x="21" y="41"/>
                  <a:pt x="21" y="41"/>
                </a:cubicBezTo>
                <a:cubicBezTo>
                  <a:pt x="23" y="42"/>
                  <a:pt x="23" y="42"/>
                  <a:pt x="23" y="42"/>
                </a:cubicBezTo>
                <a:cubicBezTo>
                  <a:pt x="22" y="41"/>
                  <a:pt x="22" y="41"/>
                  <a:pt x="22" y="41"/>
                </a:cubicBezTo>
                <a:cubicBezTo>
                  <a:pt x="22" y="40"/>
                  <a:pt x="22" y="40"/>
                  <a:pt x="22" y="40"/>
                </a:cubicBezTo>
                <a:cubicBezTo>
                  <a:pt x="22" y="38"/>
                  <a:pt x="22" y="38"/>
                  <a:pt x="22" y="38"/>
                </a:cubicBezTo>
                <a:cubicBezTo>
                  <a:pt x="21" y="36"/>
                  <a:pt x="21" y="36"/>
                  <a:pt x="21" y="36"/>
                </a:cubicBezTo>
                <a:cubicBezTo>
                  <a:pt x="20" y="35"/>
                  <a:pt x="20" y="35"/>
                  <a:pt x="20" y="35"/>
                </a:cubicBezTo>
                <a:cubicBezTo>
                  <a:pt x="20" y="35"/>
                  <a:pt x="20" y="35"/>
                  <a:pt x="20" y="35"/>
                </a:cubicBezTo>
                <a:cubicBezTo>
                  <a:pt x="21" y="35"/>
                  <a:pt x="21" y="35"/>
                  <a:pt x="21" y="35"/>
                </a:cubicBezTo>
                <a:cubicBezTo>
                  <a:pt x="22" y="35"/>
                  <a:pt x="22" y="35"/>
                  <a:pt x="22" y="35"/>
                </a:cubicBezTo>
                <a:cubicBezTo>
                  <a:pt x="22" y="36"/>
                  <a:pt x="22" y="36"/>
                  <a:pt x="22" y="36"/>
                </a:cubicBezTo>
                <a:cubicBezTo>
                  <a:pt x="22" y="36"/>
                  <a:pt x="22" y="36"/>
                  <a:pt x="22" y="36"/>
                </a:cubicBezTo>
                <a:cubicBezTo>
                  <a:pt x="23" y="36"/>
                  <a:pt x="23" y="36"/>
                  <a:pt x="23" y="36"/>
                </a:cubicBezTo>
                <a:cubicBezTo>
                  <a:pt x="25" y="36"/>
                  <a:pt x="25" y="36"/>
                  <a:pt x="25" y="36"/>
                </a:cubicBezTo>
                <a:cubicBezTo>
                  <a:pt x="25" y="36"/>
                  <a:pt x="25" y="36"/>
                  <a:pt x="25" y="36"/>
                </a:cubicBezTo>
                <a:cubicBezTo>
                  <a:pt x="24" y="35"/>
                  <a:pt x="24" y="35"/>
                  <a:pt x="24" y="35"/>
                </a:cubicBezTo>
                <a:cubicBezTo>
                  <a:pt x="24" y="35"/>
                  <a:pt x="24" y="35"/>
                  <a:pt x="24" y="35"/>
                </a:cubicBezTo>
                <a:cubicBezTo>
                  <a:pt x="23" y="35"/>
                  <a:pt x="23" y="35"/>
                  <a:pt x="23" y="35"/>
                </a:cubicBezTo>
                <a:cubicBezTo>
                  <a:pt x="22" y="34"/>
                  <a:pt x="22" y="34"/>
                  <a:pt x="22" y="34"/>
                </a:cubicBezTo>
                <a:cubicBezTo>
                  <a:pt x="22" y="33"/>
                  <a:pt x="22" y="33"/>
                  <a:pt x="22" y="33"/>
                </a:cubicBezTo>
                <a:cubicBezTo>
                  <a:pt x="21" y="32"/>
                  <a:pt x="21" y="32"/>
                  <a:pt x="21" y="32"/>
                </a:cubicBezTo>
                <a:cubicBezTo>
                  <a:pt x="22" y="32"/>
                  <a:pt x="22" y="32"/>
                  <a:pt x="22" y="32"/>
                </a:cubicBezTo>
                <a:cubicBezTo>
                  <a:pt x="23" y="32"/>
                  <a:pt x="23" y="32"/>
                  <a:pt x="23" y="32"/>
                </a:cubicBezTo>
                <a:cubicBezTo>
                  <a:pt x="24" y="31"/>
                  <a:pt x="24" y="31"/>
                  <a:pt x="24" y="31"/>
                </a:cubicBezTo>
                <a:cubicBezTo>
                  <a:pt x="26" y="32"/>
                  <a:pt x="26" y="32"/>
                  <a:pt x="26" y="32"/>
                </a:cubicBezTo>
                <a:cubicBezTo>
                  <a:pt x="26" y="33"/>
                  <a:pt x="26" y="33"/>
                  <a:pt x="26" y="33"/>
                </a:cubicBezTo>
                <a:cubicBezTo>
                  <a:pt x="27" y="33"/>
                  <a:pt x="27" y="33"/>
                  <a:pt x="27" y="33"/>
                </a:cubicBezTo>
                <a:cubicBezTo>
                  <a:pt x="28" y="32"/>
                  <a:pt x="28" y="32"/>
                  <a:pt x="28" y="32"/>
                </a:cubicBezTo>
                <a:cubicBezTo>
                  <a:pt x="27" y="31"/>
                  <a:pt x="27" y="31"/>
                  <a:pt x="27" y="31"/>
                </a:cubicBezTo>
                <a:cubicBezTo>
                  <a:pt x="27" y="29"/>
                  <a:pt x="27" y="29"/>
                  <a:pt x="27" y="29"/>
                </a:cubicBezTo>
                <a:cubicBezTo>
                  <a:pt x="26" y="29"/>
                  <a:pt x="26" y="29"/>
                  <a:pt x="26" y="29"/>
                </a:cubicBezTo>
                <a:cubicBezTo>
                  <a:pt x="23" y="27"/>
                  <a:pt x="23" y="27"/>
                  <a:pt x="23" y="27"/>
                </a:cubicBezTo>
                <a:cubicBezTo>
                  <a:pt x="23" y="27"/>
                  <a:pt x="23" y="27"/>
                  <a:pt x="23" y="27"/>
                </a:cubicBezTo>
                <a:cubicBezTo>
                  <a:pt x="22" y="26"/>
                  <a:pt x="22" y="26"/>
                  <a:pt x="22" y="26"/>
                </a:cubicBezTo>
                <a:cubicBezTo>
                  <a:pt x="21" y="26"/>
                  <a:pt x="21" y="26"/>
                  <a:pt x="21" y="26"/>
                </a:cubicBezTo>
                <a:cubicBezTo>
                  <a:pt x="21" y="25"/>
                  <a:pt x="21" y="25"/>
                  <a:pt x="21" y="25"/>
                </a:cubicBezTo>
                <a:cubicBezTo>
                  <a:pt x="20" y="25"/>
                  <a:pt x="20" y="25"/>
                  <a:pt x="20" y="25"/>
                </a:cubicBezTo>
                <a:cubicBezTo>
                  <a:pt x="18" y="24"/>
                  <a:pt x="18" y="24"/>
                  <a:pt x="18" y="24"/>
                </a:cubicBezTo>
                <a:cubicBezTo>
                  <a:pt x="20" y="24"/>
                  <a:pt x="20" y="24"/>
                  <a:pt x="20" y="24"/>
                </a:cubicBezTo>
                <a:cubicBezTo>
                  <a:pt x="20" y="23"/>
                  <a:pt x="20" y="23"/>
                  <a:pt x="20" y="23"/>
                </a:cubicBezTo>
                <a:cubicBezTo>
                  <a:pt x="20" y="22"/>
                  <a:pt x="20" y="22"/>
                  <a:pt x="20" y="22"/>
                </a:cubicBezTo>
                <a:cubicBezTo>
                  <a:pt x="19" y="22"/>
                  <a:pt x="19" y="22"/>
                  <a:pt x="19" y="22"/>
                </a:cubicBezTo>
                <a:cubicBezTo>
                  <a:pt x="20" y="21"/>
                  <a:pt x="20" y="21"/>
                  <a:pt x="20" y="21"/>
                </a:cubicBezTo>
                <a:cubicBezTo>
                  <a:pt x="20" y="20"/>
                  <a:pt x="20" y="20"/>
                  <a:pt x="20" y="20"/>
                </a:cubicBezTo>
                <a:cubicBezTo>
                  <a:pt x="21" y="21"/>
                  <a:pt x="21" y="21"/>
                  <a:pt x="21" y="21"/>
                </a:cubicBezTo>
                <a:cubicBezTo>
                  <a:pt x="22" y="21"/>
                  <a:pt x="22" y="21"/>
                  <a:pt x="22" y="21"/>
                </a:cubicBezTo>
                <a:cubicBezTo>
                  <a:pt x="21" y="22"/>
                  <a:pt x="21" y="22"/>
                  <a:pt x="21" y="22"/>
                </a:cubicBezTo>
                <a:cubicBezTo>
                  <a:pt x="21" y="23"/>
                  <a:pt x="21" y="23"/>
                  <a:pt x="21" y="23"/>
                </a:cubicBezTo>
                <a:cubicBezTo>
                  <a:pt x="22" y="23"/>
                  <a:pt x="22" y="23"/>
                  <a:pt x="22" y="23"/>
                </a:cubicBezTo>
                <a:cubicBezTo>
                  <a:pt x="22" y="21"/>
                  <a:pt x="22" y="21"/>
                  <a:pt x="22" y="21"/>
                </a:cubicBezTo>
                <a:cubicBezTo>
                  <a:pt x="22" y="20"/>
                  <a:pt x="22" y="20"/>
                  <a:pt x="22" y="20"/>
                </a:cubicBezTo>
                <a:cubicBezTo>
                  <a:pt x="20" y="18"/>
                  <a:pt x="20" y="18"/>
                  <a:pt x="20" y="18"/>
                </a:cubicBezTo>
                <a:cubicBezTo>
                  <a:pt x="19" y="17"/>
                  <a:pt x="19" y="17"/>
                  <a:pt x="19" y="17"/>
                </a:cubicBezTo>
                <a:cubicBezTo>
                  <a:pt x="19" y="16"/>
                  <a:pt x="19" y="16"/>
                  <a:pt x="19" y="16"/>
                </a:cubicBezTo>
                <a:cubicBezTo>
                  <a:pt x="17" y="15"/>
                  <a:pt x="17" y="15"/>
                  <a:pt x="17" y="15"/>
                </a:cubicBezTo>
                <a:cubicBezTo>
                  <a:pt x="18" y="14"/>
                  <a:pt x="18" y="14"/>
                  <a:pt x="18" y="14"/>
                </a:cubicBezTo>
                <a:cubicBezTo>
                  <a:pt x="17" y="12"/>
                  <a:pt x="17" y="12"/>
                  <a:pt x="17" y="12"/>
                </a:cubicBezTo>
                <a:cubicBezTo>
                  <a:pt x="18" y="11"/>
                  <a:pt x="18" y="11"/>
                  <a:pt x="18" y="11"/>
                </a:cubicBezTo>
                <a:cubicBezTo>
                  <a:pt x="20" y="10"/>
                  <a:pt x="20" y="10"/>
                  <a:pt x="20" y="10"/>
                </a:cubicBezTo>
                <a:cubicBezTo>
                  <a:pt x="20" y="12"/>
                  <a:pt x="20" y="12"/>
                  <a:pt x="20" y="12"/>
                </a:cubicBezTo>
                <a:cubicBezTo>
                  <a:pt x="19" y="12"/>
                  <a:pt x="19" y="12"/>
                  <a:pt x="19" y="12"/>
                </a:cubicBezTo>
                <a:cubicBezTo>
                  <a:pt x="19" y="12"/>
                  <a:pt x="19" y="12"/>
                  <a:pt x="19" y="12"/>
                </a:cubicBezTo>
                <a:cubicBezTo>
                  <a:pt x="21" y="13"/>
                  <a:pt x="21" y="13"/>
                  <a:pt x="21" y="13"/>
                </a:cubicBezTo>
                <a:cubicBezTo>
                  <a:pt x="22" y="15"/>
                  <a:pt x="22" y="15"/>
                  <a:pt x="22" y="15"/>
                </a:cubicBezTo>
                <a:cubicBezTo>
                  <a:pt x="23" y="16"/>
                  <a:pt x="23" y="16"/>
                  <a:pt x="23" y="16"/>
                </a:cubicBezTo>
                <a:cubicBezTo>
                  <a:pt x="24" y="16"/>
                  <a:pt x="24" y="16"/>
                  <a:pt x="24" y="16"/>
                </a:cubicBezTo>
                <a:cubicBezTo>
                  <a:pt x="23" y="15"/>
                  <a:pt x="23" y="15"/>
                  <a:pt x="23" y="15"/>
                </a:cubicBezTo>
                <a:cubicBezTo>
                  <a:pt x="23" y="14"/>
                  <a:pt x="23" y="14"/>
                  <a:pt x="23" y="14"/>
                </a:cubicBezTo>
                <a:cubicBezTo>
                  <a:pt x="23" y="13"/>
                  <a:pt x="23" y="13"/>
                  <a:pt x="23" y="13"/>
                </a:cubicBezTo>
                <a:cubicBezTo>
                  <a:pt x="24" y="14"/>
                  <a:pt x="24" y="14"/>
                  <a:pt x="24" y="14"/>
                </a:cubicBezTo>
                <a:cubicBezTo>
                  <a:pt x="25" y="15"/>
                  <a:pt x="25" y="15"/>
                  <a:pt x="25" y="15"/>
                </a:cubicBezTo>
                <a:cubicBezTo>
                  <a:pt x="26" y="15"/>
                  <a:pt x="26" y="15"/>
                  <a:pt x="26" y="15"/>
                </a:cubicBezTo>
                <a:cubicBezTo>
                  <a:pt x="26" y="14"/>
                  <a:pt x="26" y="14"/>
                  <a:pt x="26" y="14"/>
                </a:cubicBezTo>
                <a:cubicBezTo>
                  <a:pt x="26" y="14"/>
                  <a:pt x="26" y="14"/>
                  <a:pt x="26" y="14"/>
                </a:cubicBezTo>
                <a:cubicBezTo>
                  <a:pt x="25" y="13"/>
                  <a:pt x="25" y="13"/>
                  <a:pt x="25" y="13"/>
                </a:cubicBezTo>
                <a:cubicBezTo>
                  <a:pt x="25" y="13"/>
                  <a:pt x="25" y="13"/>
                  <a:pt x="25" y="13"/>
                </a:cubicBezTo>
                <a:cubicBezTo>
                  <a:pt x="27" y="13"/>
                  <a:pt x="27" y="13"/>
                  <a:pt x="27" y="13"/>
                </a:cubicBezTo>
                <a:cubicBezTo>
                  <a:pt x="28" y="14"/>
                  <a:pt x="28" y="14"/>
                  <a:pt x="28" y="14"/>
                </a:cubicBezTo>
                <a:cubicBezTo>
                  <a:pt x="28" y="13"/>
                  <a:pt x="28" y="13"/>
                  <a:pt x="28" y="13"/>
                </a:cubicBezTo>
                <a:cubicBezTo>
                  <a:pt x="27" y="12"/>
                  <a:pt x="27" y="12"/>
                  <a:pt x="27" y="12"/>
                </a:cubicBezTo>
                <a:cubicBezTo>
                  <a:pt x="26" y="12"/>
                  <a:pt x="26" y="12"/>
                  <a:pt x="26" y="12"/>
                </a:cubicBezTo>
                <a:cubicBezTo>
                  <a:pt x="24" y="10"/>
                  <a:pt x="24" y="10"/>
                  <a:pt x="24" y="10"/>
                </a:cubicBezTo>
                <a:cubicBezTo>
                  <a:pt x="25" y="10"/>
                  <a:pt x="25" y="10"/>
                  <a:pt x="25" y="10"/>
                </a:cubicBezTo>
                <a:cubicBezTo>
                  <a:pt x="26" y="10"/>
                  <a:pt x="26" y="10"/>
                  <a:pt x="26" y="10"/>
                </a:cubicBezTo>
                <a:cubicBezTo>
                  <a:pt x="27" y="9"/>
                  <a:pt x="27" y="9"/>
                  <a:pt x="27" y="9"/>
                </a:cubicBezTo>
                <a:cubicBezTo>
                  <a:pt x="28" y="8"/>
                  <a:pt x="28" y="8"/>
                  <a:pt x="28" y="8"/>
                </a:cubicBezTo>
                <a:cubicBezTo>
                  <a:pt x="29" y="7"/>
                  <a:pt x="29" y="7"/>
                  <a:pt x="29" y="7"/>
                </a:cubicBezTo>
                <a:cubicBezTo>
                  <a:pt x="30" y="9"/>
                  <a:pt x="30" y="9"/>
                  <a:pt x="30" y="9"/>
                </a:cubicBezTo>
                <a:cubicBezTo>
                  <a:pt x="31" y="9"/>
                  <a:pt x="31" y="9"/>
                  <a:pt x="31" y="9"/>
                </a:cubicBezTo>
                <a:cubicBezTo>
                  <a:pt x="32" y="7"/>
                  <a:pt x="32" y="7"/>
                  <a:pt x="32" y="7"/>
                </a:cubicBezTo>
                <a:cubicBezTo>
                  <a:pt x="32" y="7"/>
                  <a:pt x="32" y="7"/>
                  <a:pt x="32" y="7"/>
                </a:cubicBezTo>
                <a:cubicBezTo>
                  <a:pt x="33" y="7"/>
                  <a:pt x="33" y="7"/>
                  <a:pt x="33" y="7"/>
                </a:cubicBezTo>
                <a:cubicBezTo>
                  <a:pt x="34" y="8"/>
                  <a:pt x="34" y="8"/>
                  <a:pt x="34" y="8"/>
                </a:cubicBezTo>
                <a:cubicBezTo>
                  <a:pt x="36" y="8"/>
                  <a:pt x="36" y="8"/>
                  <a:pt x="36" y="8"/>
                </a:cubicBezTo>
                <a:cubicBezTo>
                  <a:pt x="38" y="8"/>
                  <a:pt x="38" y="8"/>
                  <a:pt x="38" y="8"/>
                </a:cubicBezTo>
                <a:cubicBezTo>
                  <a:pt x="40" y="8"/>
                  <a:pt x="40" y="8"/>
                  <a:pt x="40" y="8"/>
                </a:cubicBezTo>
                <a:cubicBezTo>
                  <a:pt x="40" y="7"/>
                  <a:pt x="40" y="7"/>
                  <a:pt x="40" y="7"/>
                </a:cubicBezTo>
                <a:cubicBezTo>
                  <a:pt x="40" y="5"/>
                  <a:pt x="40" y="5"/>
                  <a:pt x="40" y="5"/>
                </a:cubicBezTo>
                <a:cubicBezTo>
                  <a:pt x="42" y="4"/>
                  <a:pt x="42" y="4"/>
                  <a:pt x="42" y="4"/>
                </a:cubicBezTo>
                <a:cubicBezTo>
                  <a:pt x="42" y="3"/>
                  <a:pt x="42" y="3"/>
                  <a:pt x="42" y="3"/>
                </a:cubicBezTo>
                <a:cubicBezTo>
                  <a:pt x="40" y="2"/>
                  <a:pt x="40" y="2"/>
                  <a:pt x="40" y="2"/>
                </a:cubicBezTo>
                <a:cubicBezTo>
                  <a:pt x="41" y="0"/>
                  <a:pt x="41" y="0"/>
                  <a:pt x="41" y="0"/>
                </a:cubicBezTo>
                <a:close/>
                <a:moveTo>
                  <a:pt x="27" y="49"/>
                </a:moveTo>
                <a:cubicBezTo>
                  <a:pt x="26" y="48"/>
                  <a:pt x="26" y="48"/>
                  <a:pt x="26" y="48"/>
                </a:cubicBezTo>
                <a:cubicBezTo>
                  <a:pt x="26" y="49"/>
                  <a:pt x="26" y="49"/>
                  <a:pt x="26" y="49"/>
                </a:cubicBezTo>
                <a:cubicBezTo>
                  <a:pt x="26" y="50"/>
                  <a:pt x="26" y="50"/>
                  <a:pt x="26" y="50"/>
                </a:cubicBezTo>
                <a:cubicBezTo>
                  <a:pt x="26" y="51"/>
                  <a:pt x="26" y="51"/>
                  <a:pt x="26" y="51"/>
                </a:cubicBezTo>
                <a:cubicBezTo>
                  <a:pt x="27" y="51"/>
                  <a:pt x="27" y="51"/>
                  <a:pt x="27" y="51"/>
                </a:cubicBezTo>
                <a:cubicBezTo>
                  <a:pt x="29" y="51"/>
                  <a:pt x="29" y="51"/>
                  <a:pt x="29" y="51"/>
                </a:cubicBezTo>
                <a:cubicBezTo>
                  <a:pt x="30" y="51"/>
                  <a:pt x="30" y="51"/>
                  <a:pt x="30" y="51"/>
                </a:cubicBezTo>
                <a:cubicBezTo>
                  <a:pt x="31" y="51"/>
                  <a:pt x="31" y="51"/>
                  <a:pt x="31" y="51"/>
                </a:cubicBezTo>
                <a:cubicBezTo>
                  <a:pt x="32" y="51"/>
                  <a:pt x="32" y="51"/>
                  <a:pt x="32" y="51"/>
                </a:cubicBezTo>
                <a:cubicBezTo>
                  <a:pt x="33" y="52"/>
                  <a:pt x="33" y="52"/>
                  <a:pt x="33" y="52"/>
                </a:cubicBezTo>
                <a:cubicBezTo>
                  <a:pt x="33" y="53"/>
                  <a:pt x="33" y="53"/>
                  <a:pt x="33" y="53"/>
                </a:cubicBezTo>
                <a:cubicBezTo>
                  <a:pt x="35" y="53"/>
                  <a:pt x="35" y="53"/>
                  <a:pt x="35" y="53"/>
                </a:cubicBezTo>
                <a:cubicBezTo>
                  <a:pt x="36" y="52"/>
                  <a:pt x="36" y="52"/>
                  <a:pt x="36" y="52"/>
                </a:cubicBezTo>
                <a:cubicBezTo>
                  <a:pt x="38" y="52"/>
                  <a:pt x="38" y="52"/>
                  <a:pt x="38" y="52"/>
                </a:cubicBezTo>
                <a:cubicBezTo>
                  <a:pt x="40" y="52"/>
                  <a:pt x="40" y="52"/>
                  <a:pt x="40" y="52"/>
                </a:cubicBezTo>
                <a:cubicBezTo>
                  <a:pt x="42" y="52"/>
                  <a:pt x="42" y="52"/>
                  <a:pt x="42" y="52"/>
                </a:cubicBezTo>
                <a:cubicBezTo>
                  <a:pt x="43" y="52"/>
                  <a:pt x="43" y="52"/>
                  <a:pt x="43" y="52"/>
                </a:cubicBezTo>
                <a:cubicBezTo>
                  <a:pt x="43" y="51"/>
                  <a:pt x="43" y="51"/>
                  <a:pt x="43" y="51"/>
                </a:cubicBezTo>
                <a:cubicBezTo>
                  <a:pt x="43" y="50"/>
                  <a:pt x="43" y="50"/>
                  <a:pt x="43" y="50"/>
                </a:cubicBezTo>
                <a:cubicBezTo>
                  <a:pt x="43" y="49"/>
                  <a:pt x="43" y="49"/>
                  <a:pt x="43" y="49"/>
                </a:cubicBezTo>
                <a:cubicBezTo>
                  <a:pt x="42" y="50"/>
                  <a:pt x="42" y="50"/>
                  <a:pt x="42" y="50"/>
                </a:cubicBezTo>
                <a:cubicBezTo>
                  <a:pt x="42" y="51"/>
                  <a:pt x="42" y="51"/>
                  <a:pt x="42" y="51"/>
                </a:cubicBezTo>
                <a:cubicBezTo>
                  <a:pt x="42" y="51"/>
                  <a:pt x="42" y="51"/>
                  <a:pt x="42" y="51"/>
                </a:cubicBezTo>
                <a:cubicBezTo>
                  <a:pt x="41" y="51"/>
                  <a:pt x="41" y="51"/>
                  <a:pt x="41" y="51"/>
                </a:cubicBezTo>
                <a:cubicBezTo>
                  <a:pt x="40" y="51"/>
                  <a:pt x="40" y="51"/>
                  <a:pt x="40" y="51"/>
                </a:cubicBezTo>
                <a:cubicBezTo>
                  <a:pt x="40" y="51"/>
                  <a:pt x="40" y="51"/>
                  <a:pt x="40" y="51"/>
                </a:cubicBezTo>
                <a:cubicBezTo>
                  <a:pt x="40" y="50"/>
                  <a:pt x="40" y="50"/>
                  <a:pt x="40" y="50"/>
                </a:cubicBezTo>
                <a:cubicBezTo>
                  <a:pt x="39" y="49"/>
                  <a:pt x="39" y="49"/>
                  <a:pt x="39" y="49"/>
                </a:cubicBezTo>
                <a:cubicBezTo>
                  <a:pt x="39" y="49"/>
                  <a:pt x="39" y="49"/>
                  <a:pt x="39" y="49"/>
                </a:cubicBezTo>
                <a:cubicBezTo>
                  <a:pt x="37" y="49"/>
                  <a:pt x="37" y="49"/>
                  <a:pt x="37" y="49"/>
                </a:cubicBezTo>
                <a:cubicBezTo>
                  <a:pt x="36" y="49"/>
                  <a:pt x="36" y="49"/>
                  <a:pt x="36" y="49"/>
                </a:cubicBezTo>
                <a:cubicBezTo>
                  <a:pt x="34" y="49"/>
                  <a:pt x="34" y="49"/>
                  <a:pt x="34" y="49"/>
                </a:cubicBezTo>
                <a:cubicBezTo>
                  <a:pt x="33" y="50"/>
                  <a:pt x="33" y="50"/>
                  <a:pt x="33" y="50"/>
                </a:cubicBezTo>
                <a:cubicBezTo>
                  <a:pt x="31" y="50"/>
                  <a:pt x="31" y="50"/>
                  <a:pt x="31" y="50"/>
                </a:cubicBezTo>
                <a:cubicBezTo>
                  <a:pt x="31" y="49"/>
                  <a:pt x="31" y="49"/>
                  <a:pt x="31" y="49"/>
                </a:cubicBezTo>
                <a:cubicBezTo>
                  <a:pt x="30" y="49"/>
                  <a:pt x="30" y="49"/>
                  <a:pt x="30" y="49"/>
                </a:cubicBezTo>
                <a:cubicBezTo>
                  <a:pt x="29" y="49"/>
                  <a:pt x="29" y="49"/>
                  <a:pt x="29" y="49"/>
                </a:cubicBezTo>
                <a:cubicBezTo>
                  <a:pt x="30" y="49"/>
                  <a:pt x="30" y="49"/>
                  <a:pt x="30" y="49"/>
                </a:cubicBezTo>
                <a:cubicBezTo>
                  <a:pt x="29" y="48"/>
                  <a:pt x="29" y="48"/>
                  <a:pt x="29" y="48"/>
                </a:cubicBezTo>
                <a:cubicBezTo>
                  <a:pt x="28" y="48"/>
                  <a:pt x="28" y="48"/>
                  <a:pt x="28" y="48"/>
                </a:cubicBezTo>
                <a:cubicBezTo>
                  <a:pt x="29" y="48"/>
                  <a:pt x="29" y="48"/>
                  <a:pt x="29" y="48"/>
                </a:cubicBezTo>
                <a:cubicBezTo>
                  <a:pt x="29" y="48"/>
                  <a:pt x="29" y="48"/>
                  <a:pt x="29" y="48"/>
                </a:cubicBezTo>
                <a:cubicBezTo>
                  <a:pt x="29" y="49"/>
                  <a:pt x="29" y="49"/>
                  <a:pt x="29" y="49"/>
                </a:cubicBezTo>
                <a:cubicBezTo>
                  <a:pt x="28" y="49"/>
                  <a:pt x="28" y="49"/>
                  <a:pt x="28" y="49"/>
                </a:cubicBezTo>
                <a:cubicBezTo>
                  <a:pt x="27" y="48"/>
                  <a:pt x="27" y="48"/>
                  <a:pt x="27" y="48"/>
                </a:cubicBezTo>
                <a:cubicBezTo>
                  <a:pt x="27" y="48"/>
                  <a:pt x="27" y="48"/>
                  <a:pt x="27" y="48"/>
                </a:cubicBezTo>
                <a:cubicBezTo>
                  <a:pt x="27" y="48"/>
                  <a:pt x="27" y="48"/>
                  <a:pt x="27" y="48"/>
                </a:cubicBezTo>
                <a:cubicBezTo>
                  <a:pt x="27" y="49"/>
                  <a:pt x="27" y="49"/>
                  <a:pt x="27" y="49"/>
                </a:cubicBezTo>
                <a:cubicBezTo>
                  <a:pt x="27" y="49"/>
                  <a:pt x="27" y="49"/>
                  <a:pt x="27" y="49"/>
                </a:cubicBezTo>
                <a:close/>
                <a:moveTo>
                  <a:pt x="2" y="17"/>
                </a:moveTo>
                <a:cubicBezTo>
                  <a:pt x="2" y="19"/>
                  <a:pt x="2" y="19"/>
                  <a:pt x="2" y="19"/>
                </a:cubicBezTo>
                <a:cubicBezTo>
                  <a:pt x="2" y="19"/>
                  <a:pt x="2" y="19"/>
                  <a:pt x="2" y="19"/>
                </a:cubicBezTo>
                <a:cubicBezTo>
                  <a:pt x="3" y="20"/>
                  <a:pt x="3" y="20"/>
                  <a:pt x="3" y="20"/>
                </a:cubicBezTo>
                <a:cubicBezTo>
                  <a:pt x="3" y="20"/>
                  <a:pt x="3" y="20"/>
                  <a:pt x="3" y="20"/>
                </a:cubicBezTo>
                <a:cubicBezTo>
                  <a:pt x="3" y="20"/>
                  <a:pt x="3" y="20"/>
                  <a:pt x="3" y="20"/>
                </a:cubicBezTo>
                <a:cubicBezTo>
                  <a:pt x="2" y="20"/>
                  <a:pt x="2" y="20"/>
                  <a:pt x="2" y="20"/>
                </a:cubicBezTo>
                <a:cubicBezTo>
                  <a:pt x="1" y="19"/>
                  <a:pt x="1" y="19"/>
                  <a:pt x="1" y="19"/>
                </a:cubicBezTo>
                <a:cubicBezTo>
                  <a:pt x="1" y="18"/>
                  <a:pt x="1" y="18"/>
                  <a:pt x="1" y="18"/>
                </a:cubicBezTo>
                <a:cubicBezTo>
                  <a:pt x="0" y="18"/>
                  <a:pt x="0" y="18"/>
                  <a:pt x="0" y="18"/>
                </a:cubicBezTo>
                <a:cubicBezTo>
                  <a:pt x="0" y="18"/>
                  <a:pt x="0" y="18"/>
                  <a:pt x="0" y="18"/>
                </a:cubicBezTo>
                <a:cubicBezTo>
                  <a:pt x="1" y="17"/>
                  <a:pt x="1" y="17"/>
                  <a:pt x="1" y="17"/>
                </a:cubicBezTo>
                <a:cubicBezTo>
                  <a:pt x="2" y="17"/>
                  <a:pt x="2" y="17"/>
                  <a:pt x="2" y="17"/>
                </a:cubicBezTo>
                <a:close/>
                <a:moveTo>
                  <a:pt x="6" y="26"/>
                </a:moveTo>
                <a:cubicBezTo>
                  <a:pt x="6" y="26"/>
                  <a:pt x="6" y="26"/>
                  <a:pt x="6" y="26"/>
                </a:cubicBezTo>
                <a:cubicBezTo>
                  <a:pt x="7" y="25"/>
                  <a:pt x="7" y="25"/>
                  <a:pt x="7" y="25"/>
                </a:cubicBezTo>
                <a:cubicBezTo>
                  <a:pt x="7" y="25"/>
                  <a:pt x="7" y="25"/>
                  <a:pt x="7" y="25"/>
                </a:cubicBezTo>
                <a:cubicBezTo>
                  <a:pt x="8" y="26"/>
                  <a:pt x="8" y="26"/>
                  <a:pt x="8" y="26"/>
                </a:cubicBezTo>
                <a:cubicBezTo>
                  <a:pt x="7" y="26"/>
                  <a:pt x="7" y="26"/>
                  <a:pt x="7" y="26"/>
                </a:cubicBezTo>
                <a:cubicBezTo>
                  <a:pt x="7" y="27"/>
                  <a:pt x="7" y="27"/>
                  <a:pt x="7" y="27"/>
                </a:cubicBezTo>
                <a:cubicBezTo>
                  <a:pt x="6" y="26"/>
                  <a:pt x="6" y="26"/>
                  <a:pt x="6" y="26"/>
                </a:cubicBezTo>
                <a:close/>
                <a:moveTo>
                  <a:pt x="7" y="28"/>
                </a:moveTo>
                <a:cubicBezTo>
                  <a:pt x="7" y="27"/>
                  <a:pt x="7" y="27"/>
                  <a:pt x="7" y="27"/>
                </a:cubicBezTo>
                <a:cubicBezTo>
                  <a:pt x="7" y="27"/>
                  <a:pt x="7" y="27"/>
                  <a:pt x="7" y="27"/>
                </a:cubicBezTo>
                <a:cubicBezTo>
                  <a:pt x="8" y="28"/>
                  <a:pt x="8" y="28"/>
                  <a:pt x="8" y="28"/>
                </a:cubicBezTo>
                <a:cubicBezTo>
                  <a:pt x="7" y="29"/>
                  <a:pt x="7" y="29"/>
                  <a:pt x="7" y="29"/>
                </a:cubicBezTo>
                <a:cubicBezTo>
                  <a:pt x="8" y="29"/>
                  <a:pt x="8" y="29"/>
                  <a:pt x="8" y="29"/>
                </a:cubicBezTo>
                <a:cubicBezTo>
                  <a:pt x="8" y="30"/>
                  <a:pt x="8" y="30"/>
                  <a:pt x="8" y="30"/>
                </a:cubicBezTo>
                <a:cubicBezTo>
                  <a:pt x="8" y="30"/>
                  <a:pt x="8" y="30"/>
                  <a:pt x="8" y="30"/>
                </a:cubicBezTo>
                <a:cubicBezTo>
                  <a:pt x="8" y="31"/>
                  <a:pt x="8" y="31"/>
                  <a:pt x="8" y="31"/>
                </a:cubicBezTo>
                <a:cubicBezTo>
                  <a:pt x="7" y="31"/>
                  <a:pt x="7" y="31"/>
                  <a:pt x="7" y="31"/>
                </a:cubicBezTo>
                <a:cubicBezTo>
                  <a:pt x="6" y="30"/>
                  <a:pt x="6" y="30"/>
                  <a:pt x="6" y="30"/>
                </a:cubicBezTo>
                <a:cubicBezTo>
                  <a:pt x="6" y="30"/>
                  <a:pt x="6" y="30"/>
                  <a:pt x="6" y="30"/>
                </a:cubicBezTo>
                <a:cubicBezTo>
                  <a:pt x="6" y="29"/>
                  <a:pt x="6" y="29"/>
                  <a:pt x="6" y="29"/>
                </a:cubicBezTo>
                <a:cubicBezTo>
                  <a:pt x="6" y="30"/>
                  <a:pt x="6" y="30"/>
                  <a:pt x="6" y="30"/>
                </a:cubicBezTo>
                <a:cubicBezTo>
                  <a:pt x="6" y="30"/>
                  <a:pt x="6" y="30"/>
                  <a:pt x="6" y="30"/>
                </a:cubicBezTo>
                <a:cubicBezTo>
                  <a:pt x="5" y="30"/>
                  <a:pt x="5" y="30"/>
                  <a:pt x="5" y="30"/>
                </a:cubicBezTo>
                <a:cubicBezTo>
                  <a:pt x="5" y="29"/>
                  <a:pt x="5" y="29"/>
                  <a:pt x="5" y="29"/>
                </a:cubicBezTo>
                <a:cubicBezTo>
                  <a:pt x="6" y="28"/>
                  <a:pt x="6" y="28"/>
                  <a:pt x="6" y="28"/>
                </a:cubicBezTo>
                <a:cubicBezTo>
                  <a:pt x="7" y="28"/>
                  <a:pt x="7" y="28"/>
                  <a:pt x="7" y="28"/>
                </a:cubicBezTo>
                <a:close/>
                <a:moveTo>
                  <a:pt x="9" y="33"/>
                </a:moveTo>
                <a:cubicBezTo>
                  <a:pt x="9" y="33"/>
                  <a:pt x="9" y="33"/>
                  <a:pt x="9" y="33"/>
                </a:cubicBezTo>
                <a:cubicBezTo>
                  <a:pt x="9" y="33"/>
                  <a:pt x="9" y="33"/>
                  <a:pt x="9" y="33"/>
                </a:cubicBezTo>
                <a:cubicBezTo>
                  <a:pt x="8" y="34"/>
                  <a:pt x="8" y="34"/>
                  <a:pt x="8" y="34"/>
                </a:cubicBezTo>
                <a:cubicBezTo>
                  <a:pt x="8" y="34"/>
                  <a:pt x="8" y="34"/>
                  <a:pt x="8" y="34"/>
                </a:cubicBezTo>
                <a:cubicBezTo>
                  <a:pt x="7" y="33"/>
                  <a:pt x="7" y="33"/>
                  <a:pt x="7" y="33"/>
                </a:cubicBezTo>
                <a:cubicBezTo>
                  <a:pt x="7" y="32"/>
                  <a:pt x="7" y="32"/>
                  <a:pt x="7" y="32"/>
                </a:cubicBezTo>
                <a:cubicBezTo>
                  <a:pt x="7" y="32"/>
                  <a:pt x="7" y="32"/>
                  <a:pt x="7" y="32"/>
                </a:cubicBezTo>
                <a:cubicBezTo>
                  <a:pt x="8" y="32"/>
                  <a:pt x="8" y="32"/>
                  <a:pt x="8" y="32"/>
                </a:cubicBezTo>
                <a:cubicBezTo>
                  <a:pt x="9" y="33"/>
                  <a:pt x="9" y="33"/>
                  <a:pt x="9" y="33"/>
                </a:cubicBezTo>
                <a:close/>
                <a:moveTo>
                  <a:pt x="48" y="47"/>
                </a:moveTo>
                <a:cubicBezTo>
                  <a:pt x="48" y="46"/>
                  <a:pt x="48" y="46"/>
                  <a:pt x="48" y="46"/>
                </a:cubicBezTo>
                <a:cubicBezTo>
                  <a:pt x="48" y="46"/>
                  <a:pt x="48" y="46"/>
                  <a:pt x="48" y="46"/>
                </a:cubicBezTo>
                <a:cubicBezTo>
                  <a:pt x="48" y="46"/>
                  <a:pt x="48" y="46"/>
                  <a:pt x="48" y="46"/>
                </a:cubicBezTo>
                <a:cubicBezTo>
                  <a:pt x="48" y="47"/>
                  <a:pt x="48" y="47"/>
                  <a:pt x="48" y="47"/>
                </a:cubicBezTo>
                <a:close/>
                <a:moveTo>
                  <a:pt x="48" y="50"/>
                </a:moveTo>
                <a:cubicBezTo>
                  <a:pt x="47" y="49"/>
                  <a:pt x="47" y="49"/>
                  <a:pt x="47" y="49"/>
                </a:cubicBezTo>
                <a:cubicBezTo>
                  <a:pt x="47" y="48"/>
                  <a:pt x="47" y="48"/>
                  <a:pt x="47" y="48"/>
                </a:cubicBezTo>
                <a:cubicBezTo>
                  <a:pt x="48" y="47"/>
                  <a:pt x="48" y="47"/>
                  <a:pt x="48" y="47"/>
                </a:cubicBezTo>
                <a:cubicBezTo>
                  <a:pt x="48" y="48"/>
                  <a:pt x="48" y="48"/>
                  <a:pt x="48" y="48"/>
                </a:cubicBezTo>
                <a:cubicBezTo>
                  <a:pt x="48" y="48"/>
                  <a:pt x="48" y="48"/>
                  <a:pt x="48" y="48"/>
                </a:cubicBezTo>
                <a:cubicBezTo>
                  <a:pt x="48" y="50"/>
                  <a:pt x="48" y="50"/>
                  <a:pt x="48" y="50"/>
                </a:cubicBezTo>
                <a:cubicBezTo>
                  <a:pt x="48" y="50"/>
                  <a:pt x="48" y="50"/>
                  <a:pt x="48" y="50"/>
                </a:cubicBezTo>
                <a:close/>
                <a:moveTo>
                  <a:pt x="51" y="46"/>
                </a:moveTo>
                <a:cubicBezTo>
                  <a:pt x="50" y="46"/>
                  <a:pt x="50" y="46"/>
                  <a:pt x="50" y="46"/>
                </a:cubicBezTo>
                <a:cubicBezTo>
                  <a:pt x="51" y="45"/>
                  <a:pt x="51" y="45"/>
                  <a:pt x="51" y="45"/>
                </a:cubicBezTo>
                <a:cubicBezTo>
                  <a:pt x="51" y="45"/>
                  <a:pt x="51" y="45"/>
                  <a:pt x="51" y="45"/>
                </a:cubicBezTo>
                <a:cubicBezTo>
                  <a:pt x="51" y="44"/>
                  <a:pt x="51" y="44"/>
                  <a:pt x="51" y="44"/>
                </a:cubicBezTo>
                <a:cubicBezTo>
                  <a:pt x="52" y="43"/>
                  <a:pt x="52" y="43"/>
                  <a:pt x="52" y="43"/>
                </a:cubicBezTo>
                <a:cubicBezTo>
                  <a:pt x="53" y="42"/>
                  <a:pt x="53" y="42"/>
                  <a:pt x="53" y="42"/>
                </a:cubicBezTo>
                <a:cubicBezTo>
                  <a:pt x="54" y="42"/>
                  <a:pt x="54" y="42"/>
                  <a:pt x="54" y="42"/>
                </a:cubicBezTo>
                <a:cubicBezTo>
                  <a:pt x="54" y="43"/>
                  <a:pt x="54" y="43"/>
                  <a:pt x="54" y="43"/>
                </a:cubicBezTo>
                <a:cubicBezTo>
                  <a:pt x="54" y="43"/>
                  <a:pt x="54" y="43"/>
                  <a:pt x="54" y="43"/>
                </a:cubicBezTo>
                <a:cubicBezTo>
                  <a:pt x="54" y="44"/>
                  <a:pt x="54" y="44"/>
                  <a:pt x="54" y="44"/>
                </a:cubicBezTo>
                <a:cubicBezTo>
                  <a:pt x="53" y="44"/>
                  <a:pt x="53" y="44"/>
                  <a:pt x="53" y="44"/>
                </a:cubicBezTo>
                <a:cubicBezTo>
                  <a:pt x="53" y="45"/>
                  <a:pt x="53" y="45"/>
                  <a:pt x="53" y="45"/>
                </a:cubicBezTo>
                <a:cubicBezTo>
                  <a:pt x="53" y="45"/>
                  <a:pt x="53" y="45"/>
                  <a:pt x="53" y="45"/>
                </a:cubicBezTo>
                <a:cubicBezTo>
                  <a:pt x="52" y="45"/>
                  <a:pt x="52" y="45"/>
                  <a:pt x="52" y="45"/>
                </a:cubicBezTo>
                <a:cubicBezTo>
                  <a:pt x="51" y="46"/>
                  <a:pt x="51" y="46"/>
                  <a:pt x="51" y="46"/>
                </a:cubicBezTo>
                <a:cubicBezTo>
                  <a:pt x="51" y="46"/>
                  <a:pt x="51" y="46"/>
                  <a:pt x="51" y="46"/>
                </a:cubicBezTo>
                <a:close/>
                <a:moveTo>
                  <a:pt x="42" y="42"/>
                </a:moveTo>
                <a:cubicBezTo>
                  <a:pt x="42" y="42"/>
                  <a:pt x="42" y="42"/>
                  <a:pt x="42" y="42"/>
                </a:cubicBezTo>
                <a:cubicBezTo>
                  <a:pt x="42" y="41"/>
                  <a:pt x="42" y="41"/>
                  <a:pt x="42" y="41"/>
                </a:cubicBezTo>
                <a:cubicBezTo>
                  <a:pt x="43" y="41"/>
                  <a:pt x="43" y="41"/>
                  <a:pt x="43" y="41"/>
                </a:cubicBezTo>
                <a:cubicBezTo>
                  <a:pt x="44" y="41"/>
                  <a:pt x="44" y="41"/>
                  <a:pt x="44" y="41"/>
                </a:cubicBezTo>
                <a:cubicBezTo>
                  <a:pt x="43" y="42"/>
                  <a:pt x="43" y="42"/>
                  <a:pt x="43" y="42"/>
                </a:cubicBezTo>
                <a:cubicBezTo>
                  <a:pt x="43" y="42"/>
                  <a:pt x="42" y="42"/>
                  <a:pt x="42" y="42"/>
                </a:cubicBezTo>
                <a:close/>
                <a:moveTo>
                  <a:pt x="42" y="33"/>
                </a:moveTo>
                <a:cubicBezTo>
                  <a:pt x="43" y="32"/>
                  <a:pt x="43" y="32"/>
                  <a:pt x="43" y="32"/>
                </a:cubicBezTo>
                <a:cubicBezTo>
                  <a:pt x="44" y="32"/>
                  <a:pt x="44" y="32"/>
                  <a:pt x="44" y="32"/>
                </a:cubicBezTo>
                <a:cubicBezTo>
                  <a:pt x="45" y="33"/>
                  <a:pt x="45" y="33"/>
                  <a:pt x="45" y="33"/>
                </a:cubicBezTo>
                <a:cubicBezTo>
                  <a:pt x="45" y="33"/>
                  <a:pt x="45" y="33"/>
                  <a:pt x="45" y="33"/>
                </a:cubicBezTo>
                <a:cubicBezTo>
                  <a:pt x="45" y="33"/>
                  <a:pt x="45" y="33"/>
                  <a:pt x="45" y="33"/>
                </a:cubicBezTo>
                <a:cubicBezTo>
                  <a:pt x="46" y="33"/>
                  <a:pt x="46" y="33"/>
                  <a:pt x="46" y="33"/>
                </a:cubicBezTo>
                <a:cubicBezTo>
                  <a:pt x="45" y="34"/>
                  <a:pt x="45" y="34"/>
                  <a:pt x="45" y="34"/>
                </a:cubicBezTo>
                <a:cubicBezTo>
                  <a:pt x="45" y="34"/>
                  <a:pt x="45" y="34"/>
                  <a:pt x="45" y="34"/>
                </a:cubicBezTo>
                <a:cubicBezTo>
                  <a:pt x="44" y="34"/>
                  <a:pt x="44" y="34"/>
                  <a:pt x="44" y="34"/>
                </a:cubicBezTo>
                <a:cubicBezTo>
                  <a:pt x="43" y="33"/>
                  <a:pt x="43" y="33"/>
                  <a:pt x="43" y="33"/>
                </a:cubicBezTo>
                <a:cubicBezTo>
                  <a:pt x="43" y="33"/>
                  <a:pt x="43" y="33"/>
                  <a:pt x="43" y="33"/>
                </a:cubicBezTo>
                <a:cubicBezTo>
                  <a:pt x="42" y="34"/>
                  <a:pt x="42" y="34"/>
                  <a:pt x="42" y="34"/>
                </a:cubicBezTo>
                <a:cubicBezTo>
                  <a:pt x="42" y="33"/>
                  <a:pt x="42" y="33"/>
                  <a:pt x="42" y="33"/>
                </a:cubicBezTo>
                <a:close/>
                <a:moveTo>
                  <a:pt x="40" y="26"/>
                </a:moveTo>
                <a:cubicBezTo>
                  <a:pt x="40" y="28"/>
                  <a:pt x="40" y="28"/>
                  <a:pt x="40" y="28"/>
                </a:cubicBezTo>
                <a:cubicBezTo>
                  <a:pt x="40" y="29"/>
                  <a:pt x="40" y="29"/>
                  <a:pt x="40" y="29"/>
                </a:cubicBezTo>
                <a:cubicBezTo>
                  <a:pt x="39" y="29"/>
                  <a:pt x="39" y="29"/>
                  <a:pt x="39" y="29"/>
                </a:cubicBezTo>
                <a:cubicBezTo>
                  <a:pt x="39" y="29"/>
                  <a:pt x="39" y="29"/>
                  <a:pt x="39" y="29"/>
                </a:cubicBezTo>
                <a:cubicBezTo>
                  <a:pt x="39" y="28"/>
                  <a:pt x="39" y="28"/>
                  <a:pt x="39" y="28"/>
                </a:cubicBezTo>
                <a:cubicBezTo>
                  <a:pt x="39" y="28"/>
                  <a:pt x="39" y="28"/>
                  <a:pt x="39" y="28"/>
                </a:cubicBezTo>
                <a:cubicBezTo>
                  <a:pt x="39" y="27"/>
                  <a:pt x="39" y="27"/>
                  <a:pt x="39" y="27"/>
                </a:cubicBezTo>
                <a:cubicBezTo>
                  <a:pt x="38" y="27"/>
                  <a:pt x="38" y="27"/>
                  <a:pt x="38" y="27"/>
                </a:cubicBezTo>
                <a:cubicBezTo>
                  <a:pt x="38" y="26"/>
                  <a:pt x="38" y="26"/>
                  <a:pt x="38" y="26"/>
                </a:cubicBezTo>
                <a:cubicBezTo>
                  <a:pt x="39" y="26"/>
                  <a:pt x="39" y="26"/>
                  <a:pt x="39" y="26"/>
                </a:cubicBezTo>
                <a:cubicBezTo>
                  <a:pt x="40" y="26"/>
                  <a:pt x="40" y="26"/>
                  <a:pt x="40" y="26"/>
                </a:cubicBezTo>
                <a:cubicBezTo>
                  <a:pt x="40" y="26"/>
                  <a:pt x="40" y="26"/>
                  <a:pt x="40" y="26"/>
                </a:cubicBezTo>
                <a:close/>
                <a:moveTo>
                  <a:pt x="39" y="23"/>
                </a:moveTo>
                <a:cubicBezTo>
                  <a:pt x="38" y="22"/>
                  <a:pt x="38" y="22"/>
                  <a:pt x="38" y="22"/>
                </a:cubicBezTo>
                <a:cubicBezTo>
                  <a:pt x="38" y="21"/>
                  <a:pt x="38" y="21"/>
                  <a:pt x="38" y="21"/>
                </a:cubicBezTo>
                <a:cubicBezTo>
                  <a:pt x="40" y="21"/>
                  <a:pt x="40" y="21"/>
                  <a:pt x="40" y="21"/>
                </a:cubicBezTo>
                <a:cubicBezTo>
                  <a:pt x="40" y="20"/>
                  <a:pt x="40" y="20"/>
                  <a:pt x="40" y="20"/>
                </a:cubicBezTo>
                <a:cubicBezTo>
                  <a:pt x="42" y="20"/>
                  <a:pt x="42" y="20"/>
                  <a:pt x="42" y="20"/>
                </a:cubicBezTo>
                <a:cubicBezTo>
                  <a:pt x="42" y="20"/>
                  <a:pt x="42" y="20"/>
                  <a:pt x="42" y="20"/>
                </a:cubicBezTo>
                <a:cubicBezTo>
                  <a:pt x="42" y="21"/>
                  <a:pt x="42" y="21"/>
                  <a:pt x="42" y="21"/>
                </a:cubicBezTo>
                <a:cubicBezTo>
                  <a:pt x="42" y="21"/>
                  <a:pt x="42" y="21"/>
                  <a:pt x="42" y="21"/>
                </a:cubicBezTo>
                <a:cubicBezTo>
                  <a:pt x="42" y="22"/>
                  <a:pt x="42" y="22"/>
                  <a:pt x="42" y="22"/>
                </a:cubicBezTo>
                <a:cubicBezTo>
                  <a:pt x="42" y="23"/>
                  <a:pt x="42" y="23"/>
                  <a:pt x="42" y="23"/>
                </a:cubicBezTo>
                <a:cubicBezTo>
                  <a:pt x="41" y="23"/>
                  <a:pt x="41" y="23"/>
                  <a:pt x="41" y="23"/>
                </a:cubicBezTo>
                <a:cubicBezTo>
                  <a:pt x="40" y="23"/>
                  <a:pt x="40" y="23"/>
                  <a:pt x="40" y="23"/>
                </a:cubicBezTo>
                <a:cubicBezTo>
                  <a:pt x="40" y="22"/>
                  <a:pt x="40" y="22"/>
                  <a:pt x="40" y="22"/>
                </a:cubicBezTo>
                <a:cubicBezTo>
                  <a:pt x="41" y="22"/>
                  <a:pt x="41" y="22"/>
                  <a:pt x="41" y="22"/>
                </a:cubicBezTo>
                <a:cubicBezTo>
                  <a:pt x="41" y="21"/>
                  <a:pt x="41" y="21"/>
                  <a:pt x="41" y="21"/>
                </a:cubicBezTo>
                <a:cubicBezTo>
                  <a:pt x="40" y="21"/>
                  <a:pt x="40" y="21"/>
                  <a:pt x="40" y="21"/>
                </a:cubicBezTo>
                <a:cubicBezTo>
                  <a:pt x="40" y="22"/>
                  <a:pt x="40" y="22"/>
                  <a:pt x="40" y="22"/>
                </a:cubicBezTo>
                <a:cubicBezTo>
                  <a:pt x="39" y="23"/>
                  <a:pt x="39" y="23"/>
                  <a:pt x="39" y="23"/>
                </a:cubicBezTo>
                <a:cubicBezTo>
                  <a:pt x="39" y="23"/>
                  <a:pt x="39" y="23"/>
                  <a:pt x="39" y="23"/>
                </a:cubicBezTo>
                <a:cubicBezTo>
                  <a:pt x="39" y="23"/>
                  <a:pt x="39" y="23"/>
                  <a:pt x="39" y="23"/>
                </a:cubicBezTo>
                <a:close/>
                <a:moveTo>
                  <a:pt x="35" y="11"/>
                </a:moveTo>
                <a:cubicBezTo>
                  <a:pt x="36" y="11"/>
                  <a:pt x="36" y="11"/>
                  <a:pt x="36" y="11"/>
                </a:cubicBezTo>
                <a:cubicBezTo>
                  <a:pt x="36" y="11"/>
                  <a:pt x="36" y="11"/>
                  <a:pt x="36" y="11"/>
                </a:cubicBezTo>
                <a:cubicBezTo>
                  <a:pt x="37" y="11"/>
                  <a:pt x="37" y="11"/>
                  <a:pt x="37" y="11"/>
                </a:cubicBezTo>
                <a:cubicBezTo>
                  <a:pt x="37" y="12"/>
                  <a:pt x="37" y="12"/>
                  <a:pt x="37" y="12"/>
                </a:cubicBezTo>
                <a:cubicBezTo>
                  <a:pt x="37" y="12"/>
                  <a:pt x="37" y="12"/>
                  <a:pt x="37" y="12"/>
                </a:cubicBezTo>
                <a:cubicBezTo>
                  <a:pt x="35" y="11"/>
                  <a:pt x="35" y="11"/>
                  <a:pt x="35" y="11"/>
                </a:cubicBezTo>
                <a:close/>
                <a:moveTo>
                  <a:pt x="33" y="15"/>
                </a:moveTo>
                <a:cubicBezTo>
                  <a:pt x="34" y="15"/>
                  <a:pt x="34" y="15"/>
                  <a:pt x="34" y="15"/>
                </a:cubicBezTo>
                <a:cubicBezTo>
                  <a:pt x="34" y="15"/>
                  <a:pt x="34" y="15"/>
                  <a:pt x="34" y="15"/>
                </a:cubicBezTo>
                <a:cubicBezTo>
                  <a:pt x="35" y="14"/>
                  <a:pt x="35" y="14"/>
                  <a:pt x="35" y="14"/>
                </a:cubicBezTo>
                <a:cubicBezTo>
                  <a:pt x="35" y="15"/>
                  <a:pt x="35" y="15"/>
                  <a:pt x="35" y="15"/>
                </a:cubicBezTo>
                <a:cubicBezTo>
                  <a:pt x="35" y="16"/>
                  <a:pt x="35" y="16"/>
                  <a:pt x="35" y="16"/>
                </a:cubicBezTo>
                <a:cubicBezTo>
                  <a:pt x="34" y="17"/>
                  <a:pt x="34" y="17"/>
                  <a:pt x="34" y="17"/>
                </a:cubicBezTo>
                <a:cubicBezTo>
                  <a:pt x="34" y="16"/>
                  <a:pt x="34" y="16"/>
                  <a:pt x="34" y="16"/>
                </a:cubicBezTo>
                <a:cubicBezTo>
                  <a:pt x="33" y="17"/>
                  <a:pt x="33" y="17"/>
                  <a:pt x="33" y="17"/>
                </a:cubicBezTo>
                <a:cubicBezTo>
                  <a:pt x="33" y="16"/>
                  <a:pt x="33" y="16"/>
                  <a:pt x="33" y="16"/>
                </a:cubicBezTo>
                <a:cubicBezTo>
                  <a:pt x="32" y="15"/>
                  <a:pt x="32" y="15"/>
                  <a:pt x="32" y="15"/>
                </a:cubicBezTo>
                <a:cubicBezTo>
                  <a:pt x="33" y="15"/>
                  <a:pt x="33" y="15"/>
                  <a:pt x="33" y="15"/>
                </a:cubicBezTo>
                <a:close/>
                <a:moveTo>
                  <a:pt x="30" y="9"/>
                </a:moveTo>
                <a:cubicBezTo>
                  <a:pt x="30" y="9"/>
                  <a:pt x="30" y="9"/>
                  <a:pt x="30" y="9"/>
                </a:cubicBezTo>
                <a:cubicBezTo>
                  <a:pt x="31" y="9"/>
                  <a:pt x="31" y="9"/>
                  <a:pt x="31" y="9"/>
                </a:cubicBezTo>
                <a:cubicBezTo>
                  <a:pt x="31" y="10"/>
                  <a:pt x="31" y="10"/>
                  <a:pt x="31" y="10"/>
                </a:cubicBezTo>
                <a:cubicBezTo>
                  <a:pt x="30" y="11"/>
                  <a:pt x="30" y="11"/>
                  <a:pt x="30" y="11"/>
                </a:cubicBezTo>
                <a:cubicBezTo>
                  <a:pt x="30" y="10"/>
                  <a:pt x="30" y="10"/>
                  <a:pt x="30" y="10"/>
                </a:cubicBezTo>
                <a:cubicBezTo>
                  <a:pt x="29" y="10"/>
                  <a:pt x="29" y="10"/>
                  <a:pt x="29" y="10"/>
                </a:cubicBezTo>
                <a:cubicBezTo>
                  <a:pt x="30" y="9"/>
                  <a:pt x="30" y="9"/>
                  <a:pt x="30" y="9"/>
                </a:cubicBezTo>
                <a:close/>
                <a:moveTo>
                  <a:pt x="24" y="22"/>
                </a:moveTo>
                <a:cubicBezTo>
                  <a:pt x="24" y="22"/>
                  <a:pt x="24" y="22"/>
                  <a:pt x="24" y="22"/>
                </a:cubicBezTo>
                <a:cubicBezTo>
                  <a:pt x="25" y="22"/>
                  <a:pt x="25" y="22"/>
                  <a:pt x="25" y="22"/>
                </a:cubicBezTo>
                <a:cubicBezTo>
                  <a:pt x="25" y="23"/>
                  <a:pt x="25" y="23"/>
                  <a:pt x="25" y="23"/>
                </a:cubicBezTo>
                <a:cubicBezTo>
                  <a:pt x="25" y="23"/>
                  <a:pt x="25" y="23"/>
                  <a:pt x="25" y="23"/>
                </a:cubicBezTo>
                <a:cubicBezTo>
                  <a:pt x="24" y="22"/>
                  <a:pt x="24" y="22"/>
                  <a:pt x="24" y="22"/>
                </a:cubicBezTo>
                <a:close/>
                <a:moveTo>
                  <a:pt x="23" y="22"/>
                </a:moveTo>
                <a:cubicBezTo>
                  <a:pt x="23" y="22"/>
                  <a:pt x="23" y="22"/>
                  <a:pt x="23" y="22"/>
                </a:cubicBezTo>
                <a:cubicBezTo>
                  <a:pt x="24" y="22"/>
                  <a:pt x="24" y="22"/>
                  <a:pt x="24" y="22"/>
                </a:cubicBezTo>
                <a:cubicBezTo>
                  <a:pt x="23" y="22"/>
                  <a:pt x="23" y="22"/>
                  <a:pt x="23" y="22"/>
                </a:cubicBezTo>
                <a:cubicBezTo>
                  <a:pt x="23" y="22"/>
                  <a:pt x="23" y="22"/>
                  <a:pt x="23" y="22"/>
                </a:cubicBezTo>
                <a:close/>
                <a:moveTo>
                  <a:pt x="30" y="23"/>
                </a:moveTo>
                <a:cubicBezTo>
                  <a:pt x="30" y="23"/>
                  <a:pt x="30" y="23"/>
                  <a:pt x="30" y="23"/>
                </a:cubicBezTo>
                <a:cubicBezTo>
                  <a:pt x="31" y="24"/>
                  <a:pt x="31" y="24"/>
                  <a:pt x="31" y="24"/>
                </a:cubicBezTo>
                <a:cubicBezTo>
                  <a:pt x="32" y="24"/>
                  <a:pt x="32" y="24"/>
                  <a:pt x="32" y="24"/>
                </a:cubicBezTo>
                <a:cubicBezTo>
                  <a:pt x="32" y="25"/>
                  <a:pt x="32" y="25"/>
                  <a:pt x="32" y="25"/>
                </a:cubicBezTo>
                <a:cubicBezTo>
                  <a:pt x="31" y="25"/>
                  <a:pt x="31" y="25"/>
                  <a:pt x="31" y="25"/>
                </a:cubicBezTo>
                <a:cubicBezTo>
                  <a:pt x="31" y="24"/>
                  <a:pt x="31" y="24"/>
                  <a:pt x="31" y="24"/>
                </a:cubicBezTo>
                <a:cubicBezTo>
                  <a:pt x="31" y="24"/>
                  <a:pt x="31" y="24"/>
                  <a:pt x="31" y="24"/>
                </a:cubicBezTo>
                <a:cubicBezTo>
                  <a:pt x="30" y="23"/>
                  <a:pt x="30" y="23"/>
                  <a:pt x="30" y="23"/>
                </a:cubicBezTo>
                <a:close/>
                <a:moveTo>
                  <a:pt x="40" y="35"/>
                </a:moveTo>
                <a:cubicBezTo>
                  <a:pt x="40" y="35"/>
                  <a:pt x="40" y="35"/>
                  <a:pt x="40" y="35"/>
                </a:cubicBezTo>
                <a:cubicBezTo>
                  <a:pt x="40" y="34"/>
                  <a:pt x="40" y="34"/>
                  <a:pt x="40" y="34"/>
                </a:cubicBezTo>
                <a:cubicBezTo>
                  <a:pt x="41" y="34"/>
                  <a:pt x="41" y="34"/>
                  <a:pt x="41" y="34"/>
                </a:cubicBezTo>
                <a:cubicBezTo>
                  <a:pt x="41" y="34"/>
                  <a:pt x="41" y="34"/>
                  <a:pt x="41" y="34"/>
                </a:cubicBezTo>
                <a:cubicBezTo>
                  <a:pt x="40" y="35"/>
                  <a:pt x="40" y="35"/>
                  <a:pt x="40" y="35"/>
                </a:cubicBezTo>
                <a:close/>
                <a:moveTo>
                  <a:pt x="30" y="42"/>
                </a:moveTo>
                <a:cubicBezTo>
                  <a:pt x="30" y="41"/>
                  <a:pt x="30" y="41"/>
                  <a:pt x="30" y="41"/>
                </a:cubicBezTo>
                <a:cubicBezTo>
                  <a:pt x="31" y="41"/>
                  <a:pt x="31" y="41"/>
                  <a:pt x="31" y="41"/>
                </a:cubicBezTo>
                <a:cubicBezTo>
                  <a:pt x="31" y="41"/>
                  <a:pt x="31" y="41"/>
                  <a:pt x="31" y="41"/>
                </a:cubicBezTo>
                <a:cubicBezTo>
                  <a:pt x="30" y="42"/>
                  <a:pt x="30" y="42"/>
                  <a:pt x="30" y="42"/>
                </a:cubicBezTo>
                <a:cubicBezTo>
                  <a:pt x="30" y="42"/>
                  <a:pt x="30" y="42"/>
                  <a:pt x="30" y="42"/>
                </a:cubicBezTo>
                <a:close/>
                <a:moveTo>
                  <a:pt x="30" y="38"/>
                </a:moveTo>
                <a:cubicBezTo>
                  <a:pt x="31" y="37"/>
                  <a:pt x="31" y="37"/>
                  <a:pt x="31" y="37"/>
                </a:cubicBezTo>
                <a:cubicBezTo>
                  <a:pt x="31" y="38"/>
                  <a:pt x="31" y="38"/>
                  <a:pt x="31" y="38"/>
                </a:cubicBezTo>
                <a:cubicBezTo>
                  <a:pt x="30" y="38"/>
                  <a:pt x="30" y="38"/>
                  <a:pt x="30" y="38"/>
                </a:cubicBezTo>
                <a:close/>
                <a:moveTo>
                  <a:pt x="30" y="37"/>
                </a:moveTo>
                <a:cubicBezTo>
                  <a:pt x="30" y="36"/>
                  <a:pt x="30" y="36"/>
                  <a:pt x="30" y="36"/>
                </a:cubicBezTo>
                <a:cubicBezTo>
                  <a:pt x="31" y="36"/>
                  <a:pt x="31" y="36"/>
                  <a:pt x="31" y="36"/>
                </a:cubicBezTo>
                <a:cubicBezTo>
                  <a:pt x="31" y="36"/>
                  <a:pt x="31" y="36"/>
                  <a:pt x="31" y="36"/>
                </a:cubicBezTo>
                <a:cubicBezTo>
                  <a:pt x="31" y="36"/>
                  <a:pt x="30" y="37"/>
                  <a:pt x="30" y="37"/>
                </a:cubicBezTo>
                <a:close/>
                <a:moveTo>
                  <a:pt x="29" y="35"/>
                </a:moveTo>
                <a:cubicBezTo>
                  <a:pt x="29" y="35"/>
                  <a:pt x="29" y="35"/>
                  <a:pt x="29" y="35"/>
                </a:cubicBezTo>
                <a:cubicBezTo>
                  <a:pt x="30" y="34"/>
                  <a:pt x="30" y="34"/>
                  <a:pt x="30" y="34"/>
                </a:cubicBezTo>
                <a:cubicBezTo>
                  <a:pt x="30" y="35"/>
                  <a:pt x="30" y="35"/>
                  <a:pt x="30" y="35"/>
                </a:cubicBezTo>
                <a:cubicBezTo>
                  <a:pt x="29" y="35"/>
                  <a:pt x="29" y="35"/>
                  <a:pt x="29" y="35"/>
                </a:cubicBezTo>
                <a:close/>
                <a:moveTo>
                  <a:pt x="35" y="39"/>
                </a:moveTo>
                <a:cubicBezTo>
                  <a:pt x="35" y="38"/>
                  <a:pt x="35" y="38"/>
                  <a:pt x="35" y="38"/>
                </a:cubicBezTo>
                <a:cubicBezTo>
                  <a:pt x="35" y="37"/>
                  <a:pt x="35" y="37"/>
                  <a:pt x="35" y="37"/>
                </a:cubicBezTo>
                <a:cubicBezTo>
                  <a:pt x="35" y="37"/>
                  <a:pt x="35" y="37"/>
                  <a:pt x="35" y="37"/>
                </a:cubicBezTo>
                <a:cubicBezTo>
                  <a:pt x="36" y="38"/>
                  <a:pt x="36" y="38"/>
                  <a:pt x="36" y="38"/>
                </a:cubicBezTo>
                <a:cubicBezTo>
                  <a:pt x="35" y="39"/>
                  <a:pt x="35" y="39"/>
                  <a:pt x="35" y="39"/>
                </a:cubicBezTo>
                <a:close/>
                <a:moveTo>
                  <a:pt x="37" y="39"/>
                </a:moveTo>
                <a:cubicBezTo>
                  <a:pt x="36" y="38"/>
                  <a:pt x="36" y="38"/>
                  <a:pt x="36" y="38"/>
                </a:cubicBezTo>
                <a:cubicBezTo>
                  <a:pt x="37" y="37"/>
                  <a:pt x="37" y="37"/>
                  <a:pt x="37" y="37"/>
                </a:cubicBezTo>
                <a:cubicBezTo>
                  <a:pt x="38" y="37"/>
                  <a:pt x="38" y="37"/>
                  <a:pt x="38" y="37"/>
                </a:cubicBezTo>
                <a:cubicBezTo>
                  <a:pt x="38" y="38"/>
                  <a:pt x="38" y="38"/>
                  <a:pt x="38" y="38"/>
                </a:cubicBezTo>
                <a:cubicBezTo>
                  <a:pt x="37" y="39"/>
                  <a:pt x="37" y="39"/>
                  <a:pt x="37" y="39"/>
                </a:cubicBezTo>
                <a:cubicBezTo>
                  <a:pt x="37" y="39"/>
                  <a:pt x="37" y="39"/>
                  <a:pt x="37" y="39"/>
                </a:cubicBezTo>
                <a:close/>
                <a:moveTo>
                  <a:pt x="36" y="36"/>
                </a:moveTo>
                <a:cubicBezTo>
                  <a:pt x="36" y="35"/>
                  <a:pt x="36" y="35"/>
                  <a:pt x="36" y="35"/>
                </a:cubicBezTo>
                <a:cubicBezTo>
                  <a:pt x="37" y="35"/>
                  <a:pt x="37" y="35"/>
                  <a:pt x="37" y="35"/>
                </a:cubicBezTo>
                <a:cubicBezTo>
                  <a:pt x="36" y="36"/>
                  <a:pt x="36" y="36"/>
                  <a:pt x="36" y="36"/>
                </a:cubicBezTo>
                <a:close/>
                <a:moveTo>
                  <a:pt x="34" y="34"/>
                </a:moveTo>
                <a:cubicBezTo>
                  <a:pt x="35" y="34"/>
                  <a:pt x="35" y="34"/>
                  <a:pt x="35" y="34"/>
                </a:cubicBezTo>
                <a:cubicBezTo>
                  <a:pt x="36" y="35"/>
                  <a:pt x="36" y="35"/>
                  <a:pt x="36" y="35"/>
                </a:cubicBezTo>
                <a:cubicBezTo>
                  <a:pt x="36" y="35"/>
                  <a:pt x="36" y="35"/>
                  <a:pt x="36" y="35"/>
                </a:cubicBezTo>
                <a:cubicBezTo>
                  <a:pt x="35" y="35"/>
                  <a:pt x="35" y="35"/>
                  <a:pt x="35" y="35"/>
                </a:cubicBezTo>
                <a:cubicBezTo>
                  <a:pt x="34" y="34"/>
                  <a:pt x="34" y="34"/>
                  <a:pt x="34" y="34"/>
                </a:cubicBezTo>
                <a:close/>
                <a:moveTo>
                  <a:pt x="32" y="32"/>
                </a:moveTo>
                <a:cubicBezTo>
                  <a:pt x="32" y="32"/>
                  <a:pt x="32" y="32"/>
                  <a:pt x="32" y="32"/>
                </a:cubicBezTo>
                <a:cubicBezTo>
                  <a:pt x="33" y="32"/>
                  <a:pt x="33" y="32"/>
                  <a:pt x="33" y="32"/>
                </a:cubicBezTo>
                <a:cubicBezTo>
                  <a:pt x="34" y="33"/>
                  <a:pt x="34" y="33"/>
                  <a:pt x="34" y="33"/>
                </a:cubicBezTo>
                <a:cubicBezTo>
                  <a:pt x="34" y="34"/>
                  <a:pt x="34" y="34"/>
                  <a:pt x="34" y="34"/>
                </a:cubicBezTo>
                <a:cubicBezTo>
                  <a:pt x="33" y="34"/>
                  <a:pt x="33" y="34"/>
                  <a:pt x="33" y="34"/>
                </a:cubicBezTo>
                <a:cubicBezTo>
                  <a:pt x="32" y="33"/>
                  <a:pt x="32" y="33"/>
                  <a:pt x="32" y="33"/>
                </a:cubicBezTo>
                <a:cubicBezTo>
                  <a:pt x="31" y="32"/>
                  <a:pt x="31" y="32"/>
                  <a:pt x="31" y="32"/>
                </a:cubicBezTo>
                <a:cubicBezTo>
                  <a:pt x="32" y="32"/>
                  <a:pt x="32" y="32"/>
                  <a:pt x="32" y="32"/>
                </a:cubicBezTo>
                <a:close/>
                <a:moveTo>
                  <a:pt x="20" y="24"/>
                </a:moveTo>
                <a:cubicBezTo>
                  <a:pt x="21" y="23"/>
                  <a:pt x="21" y="23"/>
                  <a:pt x="21" y="23"/>
                </a:cubicBezTo>
                <a:cubicBezTo>
                  <a:pt x="22" y="23"/>
                  <a:pt x="22" y="23"/>
                  <a:pt x="22" y="23"/>
                </a:cubicBezTo>
                <a:cubicBezTo>
                  <a:pt x="23" y="24"/>
                  <a:pt x="23" y="24"/>
                  <a:pt x="23" y="24"/>
                </a:cubicBezTo>
                <a:cubicBezTo>
                  <a:pt x="25" y="25"/>
                  <a:pt x="25" y="25"/>
                  <a:pt x="25" y="25"/>
                </a:cubicBezTo>
                <a:cubicBezTo>
                  <a:pt x="26" y="25"/>
                  <a:pt x="26" y="25"/>
                  <a:pt x="26" y="25"/>
                </a:cubicBezTo>
                <a:cubicBezTo>
                  <a:pt x="26" y="25"/>
                  <a:pt x="26" y="25"/>
                  <a:pt x="26" y="25"/>
                </a:cubicBezTo>
                <a:cubicBezTo>
                  <a:pt x="27" y="25"/>
                  <a:pt x="27" y="25"/>
                  <a:pt x="27" y="25"/>
                </a:cubicBezTo>
                <a:cubicBezTo>
                  <a:pt x="27" y="25"/>
                  <a:pt x="27" y="25"/>
                  <a:pt x="27" y="25"/>
                </a:cubicBezTo>
                <a:cubicBezTo>
                  <a:pt x="28" y="27"/>
                  <a:pt x="28" y="27"/>
                  <a:pt x="28" y="27"/>
                </a:cubicBezTo>
                <a:cubicBezTo>
                  <a:pt x="29" y="28"/>
                  <a:pt x="29" y="28"/>
                  <a:pt x="29" y="28"/>
                </a:cubicBezTo>
                <a:cubicBezTo>
                  <a:pt x="29" y="28"/>
                  <a:pt x="29" y="28"/>
                  <a:pt x="29" y="28"/>
                </a:cubicBezTo>
                <a:cubicBezTo>
                  <a:pt x="29" y="29"/>
                  <a:pt x="29" y="29"/>
                  <a:pt x="29" y="29"/>
                </a:cubicBezTo>
                <a:cubicBezTo>
                  <a:pt x="29" y="30"/>
                  <a:pt x="29" y="30"/>
                  <a:pt x="29" y="30"/>
                </a:cubicBezTo>
                <a:cubicBezTo>
                  <a:pt x="30" y="31"/>
                  <a:pt x="30" y="31"/>
                  <a:pt x="30" y="31"/>
                </a:cubicBezTo>
                <a:cubicBezTo>
                  <a:pt x="30" y="30"/>
                  <a:pt x="30" y="30"/>
                  <a:pt x="30" y="30"/>
                </a:cubicBezTo>
                <a:cubicBezTo>
                  <a:pt x="31" y="30"/>
                  <a:pt x="31" y="30"/>
                  <a:pt x="31" y="30"/>
                </a:cubicBezTo>
                <a:cubicBezTo>
                  <a:pt x="31" y="32"/>
                  <a:pt x="31" y="32"/>
                  <a:pt x="31" y="32"/>
                </a:cubicBezTo>
                <a:cubicBezTo>
                  <a:pt x="30" y="31"/>
                  <a:pt x="30" y="31"/>
                  <a:pt x="30" y="31"/>
                </a:cubicBezTo>
                <a:cubicBezTo>
                  <a:pt x="30" y="32"/>
                  <a:pt x="30" y="32"/>
                  <a:pt x="30" y="32"/>
                </a:cubicBezTo>
                <a:cubicBezTo>
                  <a:pt x="29" y="31"/>
                  <a:pt x="29" y="31"/>
                  <a:pt x="29" y="31"/>
                </a:cubicBezTo>
                <a:cubicBezTo>
                  <a:pt x="28" y="30"/>
                  <a:pt x="28" y="30"/>
                  <a:pt x="28" y="30"/>
                </a:cubicBezTo>
                <a:cubicBezTo>
                  <a:pt x="28" y="30"/>
                  <a:pt x="28" y="30"/>
                  <a:pt x="28" y="30"/>
                </a:cubicBezTo>
                <a:cubicBezTo>
                  <a:pt x="28" y="29"/>
                  <a:pt x="28" y="29"/>
                  <a:pt x="28" y="29"/>
                </a:cubicBezTo>
                <a:cubicBezTo>
                  <a:pt x="27" y="28"/>
                  <a:pt x="27" y="28"/>
                  <a:pt x="27" y="28"/>
                </a:cubicBezTo>
                <a:cubicBezTo>
                  <a:pt x="27" y="28"/>
                  <a:pt x="27" y="28"/>
                  <a:pt x="27" y="28"/>
                </a:cubicBezTo>
                <a:cubicBezTo>
                  <a:pt x="26" y="28"/>
                  <a:pt x="26" y="28"/>
                  <a:pt x="26" y="28"/>
                </a:cubicBezTo>
                <a:cubicBezTo>
                  <a:pt x="25" y="27"/>
                  <a:pt x="25" y="27"/>
                  <a:pt x="25" y="27"/>
                </a:cubicBezTo>
                <a:cubicBezTo>
                  <a:pt x="24" y="26"/>
                  <a:pt x="24" y="26"/>
                  <a:pt x="24" y="26"/>
                </a:cubicBezTo>
                <a:cubicBezTo>
                  <a:pt x="24" y="26"/>
                  <a:pt x="24" y="26"/>
                  <a:pt x="24" y="26"/>
                </a:cubicBezTo>
                <a:cubicBezTo>
                  <a:pt x="23" y="25"/>
                  <a:pt x="23" y="25"/>
                  <a:pt x="23" y="25"/>
                </a:cubicBezTo>
                <a:cubicBezTo>
                  <a:pt x="22" y="25"/>
                  <a:pt x="22" y="25"/>
                  <a:pt x="22" y="25"/>
                </a:cubicBezTo>
                <a:cubicBezTo>
                  <a:pt x="22" y="25"/>
                  <a:pt x="22" y="25"/>
                  <a:pt x="22" y="25"/>
                </a:cubicBezTo>
                <a:cubicBezTo>
                  <a:pt x="22" y="24"/>
                  <a:pt x="22" y="24"/>
                  <a:pt x="22" y="24"/>
                </a:cubicBezTo>
                <a:cubicBezTo>
                  <a:pt x="21" y="24"/>
                  <a:pt x="21" y="24"/>
                  <a:pt x="21" y="24"/>
                </a:cubicBezTo>
                <a:cubicBezTo>
                  <a:pt x="20" y="24"/>
                  <a:pt x="20" y="24"/>
                  <a:pt x="20" y="24"/>
                </a:cubicBezTo>
                <a:close/>
                <a:moveTo>
                  <a:pt x="22" y="43"/>
                </a:moveTo>
                <a:cubicBezTo>
                  <a:pt x="22" y="42"/>
                  <a:pt x="22" y="42"/>
                  <a:pt x="22" y="42"/>
                </a:cubicBezTo>
                <a:cubicBezTo>
                  <a:pt x="22" y="43"/>
                  <a:pt x="22" y="43"/>
                  <a:pt x="22" y="43"/>
                </a:cubicBezTo>
                <a:cubicBezTo>
                  <a:pt x="23" y="44"/>
                  <a:pt x="23" y="44"/>
                  <a:pt x="23" y="44"/>
                </a:cubicBezTo>
                <a:cubicBezTo>
                  <a:pt x="22" y="45"/>
                  <a:pt x="22" y="45"/>
                  <a:pt x="22" y="45"/>
                </a:cubicBezTo>
                <a:cubicBezTo>
                  <a:pt x="22" y="45"/>
                  <a:pt x="22" y="45"/>
                  <a:pt x="22" y="45"/>
                </a:cubicBezTo>
                <a:cubicBezTo>
                  <a:pt x="22" y="44"/>
                  <a:pt x="22" y="44"/>
                  <a:pt x="22" y="44"/>
                </a:cubicBezTo>
                <a:cubicBezTo>
                  <a:pt x="21" y="43"/>
                  <a:pt x="21" y="43"/>
                  <a:pt x="21" y="43"/>
                </a:cubicBezTo>
                <a:cubicBezTo>
                  <a:pt x="22" y="43"/>
                  <a:pt x="22" y="43"/>
                  <a:pt x="22" y="43"/>
                </a:cubicBezTo>
                <a:close/>
                <a:moveTo>
                  <a:pt x="22" y="42"/>
                </a:moveTo>
                <a:cubicBezTo>
                  <a:pt x="22" y="42"/>
                  <a:pt x="22" y="42"/>
                  <a:pt x="22" y="42"/>
                </a:cubicBezTo>
                <a:cubicBezTo>
                  <a:pt x="22" y="42"/>
                  <a:pt x="22" y="42"/>
                  <a:pt x="22" y="42"/>
                </a:cubicBez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3" name="Freeform 81">
            <a:extLst>
              <a:ext uri="{FF2B5EF4-FFF2-40B4-BE49-F238E27FC236}">
                <a16:creationId xmlns:a16="http://schemas.microsoft.com/office/drawing/2014/main" id="{EEECA377-8AC4-DACF-343B-9CF53DE9D8FF}"/>
              </a:ext>
            </a:extLst>
          </p:cNvPr>
          <p:cNvSpPr>
            <a:spLocks noEditPoints="1"/>
          </p:cNvSpPr>
          <p:nvPr userDrawn="1"/>
        </p:nvSpPr>
        <p:spPr bwMode="auto">
          <a:xfrm>
            <a:off x="15797773" y="6546137"/>
            <a:ext cx="339704" cy="288926"/>
          </a:xfrm>
          <a:custGeom>
            <a:avLst/>
            <a:gdLst>
              <a:gd name="T0" fmla="*/ 0 w 107"/>
              <a:gd name="T1" fmla="*/ 16 h 91"/>
              <a:gd name="T2" fmla="*/ 19 w 107"/>
              <a:gd name="T3" fmla="*/ 19 h 91"/>
              <a:gd name="T4" fmla="*/ 35 w 107"/>
              <a:gd name="T5" fmla="*/ 22 h 91"/>
              <a:gd name="T6" fmla="*/ 32 w 107"/>
              <a:gd name="T7" fmla="*/ 12 h 91"/>
              <a:gd name="T8" fmla="*/ 28 w 107"/>
              <a:gd name="T9" fmla="*/ 3 h 91"/>
              <a:gd name="T10" fmla="*/ 44 w 107"/>
              <a:gd name="T11" fmla="*/ 9 h 91"/>
              <a:gd name="T12" fmla="*/ 57 w 107"/>
              <a:gd name="T13" fmla="*/ 16 h 91"/>
              <a:gd name="T14" fmla="*/ 63 w 107"/>
              <a:gd name="T15" fmla="*/ 9 h 91"/>
              <a:gd name="T16" fmla="*/ 75 w 107"/>
              <a:gd name="T17" fmla="*/ 3 h 91"/>
              <a:gd name="T18" fmla="*/ 82 w 107"/>
              <a:gd name="T19" fmla="*/ 16 h 91"/>
              <a:gd name="T20" fmla="*/ 91 w 107"/>
              <a:gd name="T21" fmla="*/ 25 h 91"/>
              <a:gd name="T22" fmla="*/ 94 w 107"/>
              <a:gd name="T23" fmla="*/ 31 h 91"/>
              <a:gd name="T24" fmla="*/ 103 w 107"/>
              <a:gd name="T25" fmla="*/ 34 h 91"/>
              <a:gd name="T26" fmla="*/ 103 w 107"/>
              <a:gd name="T27" fmla="*/ 37 h 91"/>
              <a:gd name="T28" fmla="*/ 97 w 107"/>
              <a:gd name="T29" fmla="*/ 41 h 91"/>
              <a:gd name="T30" fmla="*/ 91 w 107"/>
              <a:gd name="T31" fmla="*/ 50 h 91"/>
              <a:gd name="T32" fmla="*/ 91 w 107"/>
              <a:gd name="T33" fmla="*/ 56 h 91"/>
              <a:gd name="T34" fmla="*/ 91 w 107"/>
              <a:gd name="T35" fmla="*/ 62 h 91"/>
              <a:gd name="T36" fmla="*/ 88 w 107"/>
              <a:gd name="T37" fmla="*/ 66 h 91"/>
              <a:gd name="T38" fmla="*/ 88 w 107"/>
              <a:gd name="T39" fmla="*/ 75 h 91"/>
              <a:gd name="T40" fmla="*/ 88 w 107"/>
              <a:gd name="T41" fmla="*/ 69 h 91"/>
              <a:gd name="T42" fmla="*/ 85 w 107"/>
              <a:gd name="T43" fmla="*/ 69 h 91"/>
              <a:gd name="T44" fmla="*/ 85 w 107"/>
              <a:gd name="T45" fmla="*/ 75 h 91"/>
              <a:gd name="T46" fmla="*/ 85 w 107"/>
              <a:gd name="T47" fmla="*/ 81 h 91"/>
              <a:gd name="T48" fmla="*/ 82 w 107"/>
              <a:gd name="T49" fmla="*/ 91 h 91"/>
              <a:gd name="T50" fmla="*/ 78 w 107"/>
              <a:gd name="T51" fmla="*/ 87 h 91"/>
              <a:gd name="T52" fmla="*/ 69 w 107"/>
              <a:gd name="T53" fmla="*/ 78 h 91"/>
              <a:gd name="T54" fmla="*/ 69 w 107"/>
              <a:gd name="T55" fmla="*/ 72 h 91"/>
              <a:gd name="T56" fmla="*/ 72 w 107"/>
              <a:gd name="T57" fmla="*/ 66 h 91"/>
              <a:gd name="T58" fmla="*/ 66 w 107"/>
              <a:gd name="T59" fmla="*/ 62 h 91"/>
              <a:gd name="T60" fmla="*/ 66 w 107"/>
              <a:gd name="T61" fmla="*/ 59 h 91"/>
              <a:gd name="T62" fmla="*/ 60 w 107"/>
              <a:gd name="T63" fmla="*/ 62 h 91"/>
              <a:gd name="T64" fmla="*/ 53 w 107"/>
              <a:gd name="T65" fmla="*/ 66 h 91"/>
              <a:gd name="T66" fmla="*/ 47 w 107"/>
              <a:gd name="T67" fmla="*/ 72 h 91"/>
              <a:gd name="T68" fmla="*/ 44 w 107"/>
              <a:gd name="T69" fmla="*/ 75 h 91"/>
              <a:gd name="T70" fmla="*/ 41 w 107"/>
              <a:gd name="T71" fmla="*/ 78 h 91"/>
              <a:gd name="T72" fmla="*/ 38 w 107"/>
              <a:gd name="T73" fmla="*/ 75 h 91"/>
              <a:gd name="T74" fmla="*/ 41 w 107"/>
              <a:gd name="T75" fmla="*/ 72 h 91"/>
              <a:gd name="T76" fmla="*/ 41 w 107"/>
              <a:gd name="T77" fmla="*/ 66 h 91"/>
              <a:gd name="T78" fmla="*/ 32 w 107"/>
              <a:gd name="T79" fmla="*/ 59 h 91"/>
              <a:gd name="T80" fmla="*/ 19 w 107"/>
              <a:gd name="T81" fmla="*/ 50 h 91"/>
              <a:gd name="T82" fmla="*/ 22 w 107"/>
              <a:gd name="T83" fmla="*/ 44 h 91"/>
              <a:gd name="T84" fmla="*/ 16 w 107"/>
              <a:gd name="T85" fmla="*/ 31 h 91"/>
              <a:gd name="T86" fmla="*/ 13 w 107"/>
              <a:gd name="T87" fmla="*/ 22 h 91"/>
              <a:gd name="T88" fmla="*/ 0 w 107"/>
              <a:gd name="T89" fmla="*/ 19 h 91"/>
              <a:gd name="T90" fmla="*/ 35 w 107"/>
              <a:gd name="T91" fmla="*/ 78 h 91"/>
              <a:gd name="T92" fmla="*/ 19 w 107"/>
              <a:gd name="T93" fmla="*/ 62 h 91"/>
              <a:gd name="T94" fmla="*/ 13 w 107"/>
              <a:gd name="T95" fmla="*/ 56 h 91"/>
              <a:gd name="T96" fmla="*/ 7 w 107"/>
              <a:gd name="T97" fmla="*/ 53 h 91"/>
              <a:gd name="T98" fmla="*/ 0 w 107"/>
              <a:gd name="T99" fmla="*/ 56 h 91"/>
              <a:gd name="T100" fmla="*/ 0 w 107"/>
              <a:gd name="T101" fmla="*/ 56 h 91"/>
              <a:gd name="T102" fmla="*/ 7 w 107"/>
              <a:gd name="T103" fmla="*/ 59 h 91"/>
              <a:gd name="T104" fmla="*/ 7 w 107"/>
              <a:gd name="T105" fmla="*/ 66 h 91"/>
              <a:gd name="T106" fmla="*/ 16 w 107"/>
              <a:gd name="T107" fmla="*/ 75 h 91"/>
              <a:gd name="T108" fmla="*/ 28 w 107"/>
              <a:gd name="T109" fmla="*/ 78 h 91"/>
              <a:gd name="T110" fmla="*/ 35 w 107"/>
              <a:gd name="T111" fmla="*/ 7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 h="91">
                <a:moveTo>
                  <a:pt x="0" y="19"/>
                </a:moveTo>
                <a:lnTo>
                  <a:pt x="0" y="16"/>
                </a:lnTo>
                <a:lnTo>
                  <a:pt x="10" y="12"/>
                </a:lnTo>
                <a:lnTo>
                  <a:pt x="19" y="19"/>
                </a:lnTo>
                <a:lnTo>
                  <a:pt x="28" y="19"/>
                </a:lnTo>
                <a:lnTo>
                  <a:pt x="35" y="22"/>
                </a:lnTo>
                <a:lnTo>
                  <a:pt x="35" y="16"/>
                </a:lnTo>
                <a:lnTo>
                  <a:pt x="32" y="12"/>
                </a:lnTo>
                <a:lnTo>
                  <a:pt x="28" y="9"/>
                </a:lnTo>
                <a:lnTo>
                  <a:pt x="28" y="3"/>
                </a:lnTo>
                <a:lnTo>
                  <a:pt x="35" y="3"/>
                </a:lnTo>
                <a:lnTo>
                  <a:pt x="44" y="9"/>
                </a:lnTo>
                <a:lnTo>
                  <a:pt x="47" y="16"/>
                </a:lnTo>
                <a:lnTo>
                  <a:pt x="57" y="16"/>
                </a:lnTo>
                <a:lnTo>
                  <a:pt x="57" y="12"/>
                </a:lnTo>
                <a:lnTo>
                  <a:pt x="63" y="9"/>
                </a:lnTo>
                <a:lnTo>
                  <a:pt x="69" y="0"/>
                </a:lnTo>
                <a:lnTo>
                  <a:pt x="75" y="3"/>
                </a:lnTo>
                <a:lnTo>
                  <a:pt x="82" y="12"/>
                </a:lnTo>
                <a:lnTo>
                  <a:pt x="82" y="16"/>
                </a:lnTo>
                <a:lnTo>
                  <a:pt x="82" y="22"/>
                </a:lnTo>
                <a:lnTo>
                  <a:pt x="91" y="25"/>
                </a:lnTo>
                <a:lnTo>
                  <a:pt x="91" y="28"/>
                </a:lnTo>
                <a:lnTo>
                  <a:pt x="94" y="31"/>
                </a:lnTo>
                <a:lnTo>
                  <a:pt x="100" y="31"/>
                </a:lnTo>
                <a:lnTo>
                  <a:pt x="103" y="34"/>
                </a:lnTo>
                <a:lnTo>
                  <a:pt x="107" y="37"/>
                </a:lnTo>
                <a:lnTo>
                  <a:pt x="103" y="37"/>
                </a:lnTo>
                <a:lnTo>
                  <a:pt x="103" y="41"/>
                </a:lnTo>
                <a:lnTo>
                  <a:pt x="97" y="41"/>
                </a:lnTo>
                <a:lnTo>
                  <a:pt x="91" y="44"/>
                </a:lnTo>
                <a:lnTo>
                  <a:pt x="91" y="50"/>
                </a:lnTo>
                <a:lnTo>
                  <a:pt x="91" y="53"/>
                </a:lnTo>
                <a:lnTo>
                  <a:pt x="91" y="56"/>
                </a:lnTo>
                <a:lnTo>
                  <a:pt x="91" y="59"/>
                </a:lnTo>
                <a:lnTo>
                  <a:pt x="91" y="62"/>
                </a:lnTo>
                <a:lnTo>
                  <a:pt x="91" y="66"/>
                </a:lnTo>
                <a:lnTo>
                  <a:pt x="88" y="66"/>
                </a:lnTo>
                <a:lnTo>
                  <a:pt x="88" y="72"/>
                </a:lnTo>
                <a:lnTo>
                  <a:pt x="88" y="75"/>
                </a:lnTo>
                <a:lnTo>
                  <a:pt x="88" y="75"/>
                </a:lnTo>
                <a:lnTo>
                  <a:pt x="88" y="69"/>
                </a:lnTo>
                <a:lnTo>
                  <a:pt x="85" y="66"/>
                </a:lnTo>
                <a:lnTo>
                  <a:pt x="85" y="69"/>
                </a:lnTo>
                <a:lnTo>
                  <a:pt x="82" y="72"/>
                </a:lnTo>
                <a:lnTo>
                  <a:pt x="85" y="75"/>
                </a:lnTo>
                <a:lnTo>
                  <a:pt x="85" y="78"/>
                </a:lnTo>
                <a:lnTo>
                  <a:pt x="85" y="81"/>
                </a:lnTo>
                <a:lnTo>
                  <a:pt x="85" y="87"/>
                </a:lnTo>
                <a:lnTo>
                  <a:pt x="82" y="91"/>
                </a:lnTo>
                <a:lnTo>
                  <a:pt x="78" y="87"/>
                </a:lnTo>
                <a:lnTo>
                  <a:pt x="78" y="87"/>
                </a:lnTo>
                <a:lnTo>
                  <a:pt x="75" y="84"/>
                </a:lnTo>
                <a:lnTo>
                  <a:pt x="69" y="78"/>
                </a:lnTo>
                <a:lnTo>
                  <a:pt x="75" y="72"/>
                </a:lnTo>
                <a:lnTo>
                  <a:pt x="69" y="72"/>
                </a:lnTo>
                <a:lnTo>
                  <a:pt x="69" y="69"/>
                </a:lnTo>
                <a:lnTo>
                  <a:pt x="72" y="66"/>
                </a:lnTo>
                <a:lnTo>
                  <a:pt x="69" y="62"/>
                </a:lnTo>
                <a:lnTo>
                  <a:pt x="66" y="62"/>
                </a:lnTo>
                <a:lnTo>
                  <a:pt x="66" y="59"/>
                </a:lnTo>
                <a:lnTo>
                  <a:pt x="66" y="59"/>
                </a:lnTo>
                <a:lnTo>
                  <a:pt x="63" y="59"/>
                </a:lnTo>
                <a:lnTo>
                  <a:pt x="60" y="62"/>
                </a:lnTo>
                <a:lnTo>
                  <a:pt x="57" y="62"/>
                </a:lnTo>
                <a:lnTo>
                  <a:pt x="53" y="66"/>
                </a:lnTo>
                <a:lnTo>
                  <a:pt x="53" y="66"/>
                </a:lnTo>
                <a:lnTo>
                  <a:pt x="47" y="72"/>
                </a:lnTo>
                <a:lnTo>
                  <a:pt x="47" y="72"/>
                </a:lnTo>
                <a:lnTo>
                  <a:pt x="44" y="75"/>
                </a:lnTo>
                <a:lnTo>
                  <a:pt x="44" y="75"/>
                </a:lnTo>
                <a:lnTo>
                  <a:pt x="41" y="78"/>
                </a:lnTo>
                <a:lnTo>
                  <a:pt x="38" y="75"/>
                </a:lnTo>
                <a:lnTo>
                  <a:pt x="38" y="75"/>
                </a:lnTo>
                <a:lnTo>
                  <a:pt x="38" y="72"/>
                </a:lnTo>
                <a:lnTo>
                  <a:pt x="41" y="72"/>
                </a:lnTo>
                <a:lnTo>
                  <a:pt x="38" y="66"/>
                </a:lnTo>
                <a:lnTo>
                  <a:pt x="41" y="66"/>
                </a:lnTo>
                <a:lnTo>
                  <a:pt x="38" y="59"/>
                </a:lnTo>
                <a:lnTo>
                  <a:pt x="32" y="59"/>
                </a:lnTo>
                <a:lnTo>
                  <a:pt x="22" y="56"/>
                </a:lnTo>
                <a:lnTo>
                  <a:pt x="19" y="50"/>
                </a:lnTo>
                <a:lnTo>
                  <a:pt x="22" y="47"/>
                </a:lnTo>
                <a:lnTo>
                  <a:pt x="22" y="44"/>
                </a:lnTo>
                <a:lnTo>
                  <a:pt x="16" y="34"/>
                </a:lnTo>
                <a:lnTo>
                  <a:pt x="16" y="31"/>
                </a:lnTo>
                <a:lnTo>
                  <a:pt x="16" y="28"/>
                </a:lnTo>
                <a:lnTo>
                  <a:pt x="13" y="22"/>
                </a:lnTo>
                <a:lnTo>
                  <a:pt x="3" y="22"/>
                </a:lnTo>
                <a:lnTo>
                  <a:pt x="0" y="19"/>
                </a:lnTo>
                <a:lnTo>
                  <a:pt x="0" y="19"/>
                </a:lnTo>
                <a:close/>
                <a:moveTo>
                  <a:pt x="35" y="78"/>
                </a:moveTo>
                <a:lnTo>
                  <a:pt x="25" y="62"/>
                </a:lnTo>
                <a:lnTo>
                  <a:pt x="19" y="62"/>
                </a:lnTo>
                <a:lnTo>
                  <a:pt x="16" y="56"/>
                </a:lnTo>
                <a:lnTo>
                  <a:pt x="13" y="56"/>
                </a:lnTo>
                <a:lnTo>
                  <a:pt x="13" y="59"/>
                </a:lnTo>
                <a:lnTo>
                  <a:pt x="7" y="53"/>
                </a:lnTo>
                <a:lnTo>
                  <a:pt x="3" y="56"/>
                </a:lnTo>
                <a:lnTo>
                  <a:pt x="0" y="56"/>
                </a:lnTo>
                <a:lnTo>
                  <a:pt x="0" y="56"/>
                </a:lnTo>
                <a:lnTo>
                  <a:pt x="0" y="56"/>
                </a:lnTo>
                <a:lnTo>
                  <a:pt x="3" y="59"/>
                </a:lnTo>
                <a:lnTo>
                  <a:pt x="7" y="59"/>
                </a:lnTo>
                <a:lnTo>
                  <a:pt x="10" y="62"/>
                </a:lnTo>
                <a:lnTo>
                  <a:pt x="7" y="66"/>
                </a:lnTo>
                <a:lnTo>
                  <a:pt x="16" y="72"/>
                </a:lnTo>
                <a:lnTo>
                  <a:pt x="16" y="75"/>
                </a:lnTo>
                <a:lnTo>
                  <a:pt x="22" y="78"/>
                </a:lnTo>
                <a:lnTo>
                  <a:pt x="28" y="78"/>
                </a:lnTo>
                <a:lnTo>
                  <a:pt x="32" y="81"/>
                </a:lnTo>
                <a:lnTo>
                  <a:pt x="35" y="78"/>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4" name="Freeform 82">
            <a:extLst>
              <a:ext uri="{FF2B5EF4-FFF2-40B4-BE49-F238E27FC236}">
                <a16:creationId xmlns:a16="http://schemas.microsoft.com/office/drawing/2014/main" id="{DE9BCCB0-08C2-2007-D231-67770D30D14F}"/>
              </a:ext>
            </a:extLst>
          </p:cNvPr>
          <p:cNvSpPr>
            <a:spLocks/>
          </p:cNvSpPr>
          <p:nvPr userDrawn="1"/>
        </p:nvSpPr>
        <p:spPr bwMode="auto">
          <a:xfrm>
            <a:off x="15769198" y="6723933"/>
            <a:ext cx="1279443" cy="1035050"/>
          </a:xfrm>
          <a:custGeom>
            <a:avLst/>
            <a:gdLst>
              <a:gd name="T0" fmla="*/ 19 w 403"/>
              <a:gd name="T1" fmla="*/ 6 h 326"/>
              <a:gd name="T2" fmla="*/ 37 w 403"/>
              <a:gd name="T3" fmla="*/ 22 h 326"/>
              <a:gd name="T4" fmla="*/ 50 w 403"/>
              <a:gd name="T5" fmla="*/ 22 h 326"/>
              <a:gd name="T6" fmla="*/ 62 w 403"/>
              <a:gd name="T7" fmla="*/ 10 h 326"/>
              <a:gd name="T8" fmla="*/ 75 w 403"/>
              <a:gd name="T9" fmla="*/ 3 h 326"/>
              <a:gd name="T10" fmla="*/ 78 w 403"/>
              <a:gd name="T11" fmla="*/ 13 h 326"/>
              <a:gd name="T12" fmla="*/ 87 w 403"/>
              <a:gd name="T13" fmla="*/ 31 h 326"/>
              <a:gd name="T14" fmla="*/ 97 w 403"/>
              <a:gd name="T15" fmla="*/ 38 h 326"/>
              <a:gd name="T16" fmla="*/ 103 w 403"/>
              <a:gd name="T17" fmla="*/ 53 h 326"/>
              <a:gd name="T18" fmla="*/ 125 w 403"/>
              <a:gd name="T19" fmla="*/ 57 h 326"/>
              <a:gd name="T20" fmla="*/ 153 w 403"/>
              <a:gd name="T21" fmla="*/ 72 h 326"/>
              <a:gd name="T22" fmla="*/ 200 w 403"/>
              <a:gd name="T23" fmla="*/ 69 h 326"/>
              <a:gd name="T24" fmla="*/ 209 w 403"/>
              <a:gd name="T25" fmla="*/ 50 h 326"/>
              <a:gd name="T26" fmla="*/ 234 w 403"/>
              <a:gd name="T27" fmla="*/ 35 h 326"/>
              <a:gd name="T28" fmla="*/ 253 w 403"/>
              <a:gd name="T29" fmla="*/ 31 h 326"/>
              <a:gd name="T30" fmla="*/ 284 w 403"/>
              <a:gd name="T31" fmla="*/ 44 h 326"/>
              <a:gd name="T32" fmla="*/ 303 w 403"/>
              <a:gd name="T33" fmla="*/ 53 h 326"/>
              <a:gd name="T34" fmla="*/ 334 w 403"/>
              <a:gd name="T35" fmla="*/ 75 h 326"/>
              <a:gd name="T36" fmla="*/ 337 w 403"/>
              <a:gd name="T37" fmla="*/ 94 h 326"/>
              <a:gd name="T38" fmla="*/ 337 w 403"/>
              <a:gd name="T39" fmla="*/ 107 h 326"/>
              <a:gd name="T40" fmla="*/ 331 w 403"/>
              <a:gd name="T41" fmla="*/ 122 h 326"/>
              <a:gd name="T42" fmla="*/ 341 w 403"/>
              <a:gd name="T43" fmla="*/ 135 h 326"/>
              <a:gd name="T44" fmla="*/ 341 w 403"/>
              <a:gd name="T45" fmla="*/ 169 h 326"/>
              <a:gd name="T46" fmla="*/ 362 w 403"/>
              <a:gd name="T47" fmla="*/ 194 h 326"/>
              <a:gd name="T48" fmla="*/ 362 w 403"/>
              <a:gd name="T49" fmla="*/ 241 h 326"/>
              <a:gd name="T50" fmla="*/ 384 w 403"/>
              <a:gd name="T51" fmla="*/ 254 h 326"/>
              <a:gd name="T52" fmla="*/ 391 w 403"/>
              <a:gd name="T53" fmla="*/ 272 h 326"/>
              <a:gd name="T54" fmla="*/ 400 w 403"/>
              <a:gd name="T55" fmla="*/ 291 h 326"/>
              <a:gd name="T56" fmla="*/ 375 w 403"/>
              <a:gd name="T57" fmla="*/ 297 h 326"/>
              <a:gd name="T58" fmla="*/ 375 w 403"/>
              <a:gd name="T59" fmla="*/ 322 h 326"/>
              <a:gd name="T60" fmla="*/ 356 w 403"/>
              <a:gd name="T61" fmla="*/ 319 h 326"/>
              <a:gd name="T62" fmla="*/ 347 w 403"/>
              <a:gd name="T63" fmla="*/ 319 h 326"/>
              <a:gd name="T64" fmla="*/ 319 w 403"/>
              <a:gd name="T65" fmla="*/ 316 h 326"/>
              <a:gd name="T66" fmla="*/ 297 w 403"/>
              <a:gd name="T67" fmla="*/ 313 h 326"/>
              <a:gd name="T68" fmla="*/ 281 w 403"/>
              <a:gd name="T69" fmla="*/ 297 h 326"/>
              <a:gd name="T70" fmla="*/ 272 w 403"/>
              <a:gd name="T71" fmla="*/ 282 h 326"/>
              <a:gd name="T72" fmla="*/ 253 w 403"/>
              <a:gd name="T73" fmla="*/ 282 h 326"/>
              <a:gd name="T74" fmla="*/ 222 w 403"/>
              <a:gd name="T75" fmla="*/ 288 h 326"/>
              <a:gd name="T76" fmla="*/ 203 w 403"/>
              <a:gd name="T77" fmla="*/ 282 h 326"/>
              <a:gd name="T78" fmla="*/ 191 w 403"/>
              <a:gd name="T79" fmla="*/ 272 h 326"/>
              <a:gd name="T80" fmla="*/ 169 w 403"/>
              <a:gd name="T81" fmla="*/ 266 h 326"/>
              <a:gd name="T82" fmla="*/ 153 w 403"/>
              <a:gd name="T83" fmla="*/ 244 h 326"/>
              <a:gd name="T84" fmla="*/ 153 w 403"/>
              <a:gd name="T85" fmla="*/ 241 h 326"/>
              <a:gd name="T86" fmla="*/ 137 w 403"/>
              <a:gd name="T87" fmla="*/ 216 h 326"/>
              <a:gd name="T88" fmla="*/ 125 w 403"/>
              <a:gd name="T89" fmla="*/ 216 h 326"/>
              <a:gd name="T90" fmla="*/ 116 w 403"/>
              <a:gd name="T91" fmla="*/ 213 h 326"/>
              <a:gd name="T92" fmla="*/ 112 w 403"/>
              <a:gd name="T93" fmla="*/ 219 h 326"/>
              <a:gd name="T94" fmla="*/ 103 w 403"/>
              <a:gd name="T95" fmla="*/ 213 h 326"/>
              <a:gd name="T96" fmla="*/ 91 w 403"/>
              <a:gd name="T97" fmla="*/ 188 h 326"/>
              <a:gd name="T98" fmla="*/ 81 w 403"/>
              <a:gd name="T99" fmla="*/ 163 h 326"/>
              <a:gd name="T100" fmla="*/ 53 w 403"/>
              <a:gd name="T101" fmla="*/ 153 h 326"/>
              <a:gd name="T102" fmla="*/ 50 w 403"/>
              <a:gd name="T103" fmla="*/ 141 h 326"/>
              <a:gd name="T104" fmla="*/ 44 w 403"/>
              <a:gd name="T105" fmla="*/ 132 h 326"/>
              <a:gd name="T106" fmla="*/ 47 w 403"/>
              <a:gd name="T107" fmla="*/ 113 h 326"/>
              <a:gd name="T108" fmla="*/ 50 w 403"/>
              <a:gd name="T109" fmla="*/ 97 h 326"/>
              <a:gd name="T110" fmla="*/ 53 w 403"/>
              <a:gd name="T111" fmla="*/ 91 h 326"/>
              <a:gd name="T112" fmla="*/ 31 w 403"/>
              <a:gd name="T113" fmla="*/ 85 h 326"/>
              <a:gd name="T114" fmla="*/ 22 w 403"/>
              <a:gd name="T115" fmla="*/ 69 h 326"/>
              <a:gd name="T116" fmla="*/ 16 w 403"/>
              <a:gd name="T117" fmla="*/ 57 h 326"/>
              <a:gd name="T118" fmla="*/ 9 w 403"/>
              <a:gd name="T119" fmla="*/ 35 h 326"/>
              <a:gd name="T120" fmla="*/ 3 w 403"/>
              <a:gd name="T121" fmla="*/ 13 h 326"/>
              <a:gd name="T122" fmla="*/ 9 w 403"/>
              <a:gd name="T123"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3" h="326">
                <a:moveTo>
                  <a:pt x="9" y="0"/>
                </a:moveTo>
                <a:lnTo>
                  <a:pt x="9" y="0"/>
                </a:lnTo>
                <a:lnTo>
                  <a:pt x="12" y="3"/>
                </a:lnTo>
                <a:lnTo>
                  <a:pt x="16" y="3"/>
                </a:lnTo>
                <a:lnTo>
                  <a:pt x="19" y="6"/>
                </a:lnTo>
                <a:lnTo>
                  <a:pt x="16" y="10"/>
                </a:lnTo>
                <a:lnTo>
                  <a:pt x="25" y="16"/>
                </a:lnTo>
                <a:lnTo>
                  <a:pt x="25" y="19"/>
                </a:lnTo>
                <a:lnTo>
                  <a:pt x="31" y="22"/>
                </a:lnTo>
                <a:lnTo>
                  <a:pt x="37" y="22"/>
                </a:lnTo>
                <a:lnTo>
                  <a:pt x="41" y="25"/>
                </a:lnTo>
                <a:lnTo>
                  <a:pt x="44" y="22"/>
                </a:lnTo>
                <a:lnTo>
                  <a:pt x="44" y="22"/>
                </a:lnTo>
                <a:lnTo>
                  <a:pt x="47" y="19"/>
                </a:lnTo>
                <a:lnTo>
                  <a:pt x="50" y="22"/>
                </a:lnTo>
                <a:lnTo>
                  <a:pt x="53" y="19"/>
                </a:lnTo>
                <a:lnTo>
                  <a:pt x="53" y="19"/>
                </a:lnTo>
                <a:lnTo>
                  <a:pt x="56" y="16"/>
                </a:lnTo>
                <a:lnTo>
                  <a:pt x="56" y="16"/>
                </a:lnTo>
                <a:lnTo>
                  <a:pt x="62" y="10"/>
                </a:lnTo>
                <a:lnTo>
                  <a:pt x="62" y="10"/>
                </a:lnTo>
                <a:lnTo>
                  <a:pt x="66" y="6"/>
                </a:lnTo>
                <a:lnTo>
                  <a:pt x="69" y="6"/>
                </a:lnTo>
                <a:lnTo>
                  <a:pt x="72" y="3"/>
                </a:lnTo>
                <a:lnTo>
                  <a:pt x="75" y="3"/>
                </a:lnTo>
                <a:lnTo>
                  <a:pt x="75" y="3"/>
                </a:lnTo>
                <a:lnTo>
                  <a:pt x="75" y="6"/>
                </a:lnTo>
                <a:lnTo>
                  <a:pt x="78" y="6"/>
                </a:lnTo>
                <a:lnTo>
                  <a:pt x="81" y="10"/>
                </a:lnTo>
                <a:lnTo>
                  <a:pt x="78" y="13"/>
                </a:lnTo>
                <a:lnTo>
                  <a:pt x="78" y="16"/>
                </a:lnTo>
                <a:lnTo>
                  <a:pt x="84" y="16"/>
                </a:lnTo>
                <a:lnTo>
                  <a:pt x="78" y="22"/>
                </a:lnTo>
                <a:lnTo>
                  <a:pt x="84" y="28"/>
                </a:lnTo>
                <a:lnTo>
                  <a:pt x="87" y="31"/>
                </a:lnTo>
                <a:lnTo>
                  <a:pt x="87" y="31"/>
                </a:lnTo>
                <a:lnTo>
                  <a:pt x="91" y="35"/>
                </a:lnTo>
                <a:lnTo>
                  <a:pt x="94" y="31"/>
                </a:lnTo>
                <a:lnTo>
                  <a:pt x="94" y="35"/>
                </a:lnTo>
                <a:lnTo>
                  <a:pt x="97" y="38"/>
                </a:lnTo>
                <a:lnTo>
                  <a:pt x="97" y="41"/>
                </a:lnTo>
                <a:lnTo>
                  <a:pt x="97" y="47"/>
                </a:lnTo>
                <a:lnTo>
                  <a:pt x="97" y="47"/>
                </a:lnTo>
                <a:lnTo>
                  <a:pt x="100" y="50"/>
                </a:lnTo>
                <a:lnTo>
                  <a:pt x="103" y="53"/>
                </a:lnTo>
                <a:lnTo>
                  <a:pt x="109" y="53"/>
                </a:lnTo>
                <a:lnTo>
                  <a:pt x="112" y="53"/>
                </a:lnTo>
                <a:lnTo>
                  <a:pt x="116" y="53"/>
                </a:lnTo>
                <a:lnTo>
                  <a:pt x="122" y="57"/>
                </a:lnTo>
                <a:lnTo>
                  <a:pt x="125" y="57"/>
                </a:lnTo>
                <a:lnTo>
                  <a:pt x="125" y="60"/>
                </a:lnTo>
                <a:lnTo>
                  <a:pt x="128" y="63"/>
                </a:lnTo>
                <a:lnTo>
                  <a:pt x="137" y="69"/>
                </a:lnTo>
                <a:lnTo>
                  <a:pt x="144" y="69"/>
                </a:lnTo>
                <a:lnTo>
                  <a:pt x="153" y="72"/>
                </a:lnTo>
                <a:lnTo>
                  <a:pt x="159" y="72"/>
                </a:lnTo>
                <a:lnTo>
                  <a:pt x="172" y="69"/>
                </a:lnTo>
                <a:lnTo>
                  <a:pt x="184" y="66"/>
                </a:lnTo>
                <a:lnTo>
                  <a:pt x="194" y="66"/>
                </a:lnTo>
                <a:lnTo>
                  <a:pt x="200" y="69"/>
                </a:lnTo>
                <a:lnTo>
                  <a:pt x="200" y="63"/>
                </a:lnTo>
                <a:lnTo>
                  <a:pt x="197" y="60"/>
                </a:lnTo>
                <a:lnTo>
                  <a:pt x="197" y="53"/>
                </a:lnTo>
                <a:lnTo>
                  <a:pt x="200" y="50"/>
                </a:lnTo>
                <a:lnTo>
                  <a:pt x="209" y="50"/>
                </a:lnTo>
                <a:lnTo>
                  <a:pt x="209" y="44"/>
                </a:lnTo>
                <a:lnTo>
                  <a:pt x="212" y="41"/>
                </a:lnTo>
                <a:lnTo>
                  <a:pt x="216" y="41"/>
                </a:lnTo>
                <a:lnTo>
                  <a:pt x="225" y="35"/>
                </a:lnTo>
                <a:lnTo>
                  <a:pt x="234" y="35"/>
                </a:lnTo>
                <a:lnTo>
                  <a:pt x="241" y="35"/>
                </a:lnTo>
                <a:lnTo>
                  <a:pt x="241" y="31"/>
                </a:lnTo>
                <a:lnTo>
                  <a:pt x="247" y="28"/>
                </a:lnTo>
                <a:lnTo>
                  <a:pt x="250" y="31"/>
                </a:lnTo>
                <a:lnTo>
                  <a:pt x="253" y="31"/>
                </a:lnTo>
                <a:lnTo>
                  <a:pt x="262" y="38"/>
                </a:lnTo>
                <a:lnTo>
                  <a:pt x="266" y="38"/>
                </a:lnTo>
                <a:lnTo>
                  <a:pt x="278" y="44"/>
                </a:lnTo>
                <a:lnTo>
                  <a:pt x="281" y="44"/>
                </a:lnTo>
                <a:lnTo>
                  <a:pt x="284" y="44"/>
                </a:lnTo>
                <a:lnTo>
                  <a:pt x="294" y="47"/>
                </a:lnTo>
                <a:lnTo>
                  <a:pt x="297" y="47"/>
                </a:lnTo>
                <a:lnTo>
                  <a:pt x="297" y="53"/>
                </a:lnTo>
                <a:lnTo>
                  <a:pt x="300" y="53"/>
                </a:lnTo>
                <a:lnTo>
                  <a:pt x="303" y="53"/>
                </a:lnTo>
                <a:lnTo>
                  <a:pt x="312" y="57"/>
                </a:lnTo>
                <a:lnTo>
                  <a:pt x="319" y="66"/>
                </a:lnTo>
                <a:lnTo>
                  <a:pt x="328" y="66"/>
                </a:lnTo>
                <a:lnTo>
                  <a:pt x="331" y="69"/>
                </a:lnTo>
                <a:lnTo>
                  <a:pt x="334" y="75"/>
                </a:lnTo>
                <a:lnTo>
                  <a:pt x="334" y="78"/>
                </a:lnTo>
                <a:lnTo>
                  <a:pt x="337" y="82"/>
                </a:lnTo>
                <a:lnTo>
                  <a:pt x="337" y="85"/>
                </a:lnTo>
                <a:lnTo>
                  <a:pt x="337" y="88"/>
                </a:lnTo>
                <a:lnTo>
                  <a:pt x="337" y="94"/>
                </a:lnTo>
                <a:lnTo>
                  <a:pt x="337" y="97"/>
                </a:lnTo>
                <a:lnTo>
                  <a:pt x="337" y="100"/>
                </a:lnTo>
                <a:lnTo>
                  <a:pt x="341" y="103"/>
                </a:lnTo>
                <a:lnTo>
                  <a:pt x="337" y="103"/>
                </a:lnTo>
                <a:lnTo>
                  <a:pt x="337" y="107"/>
                </a:lnTo>
                <a:lnTo>
                  <a:pt x="334" y="110"/>
                </a:lnTo>
                <a:lnTo>
                  <a:pt x="328" y="113"/>
                </a:lnTo>
                <a:lnTo>
                  <a:pt x="331" y="113"/>
                </a:lnTo>
                <a:lnTo>
                  <a:pt x="334" y="116"/>
                </a:lnTo>
                <a:lnTo>
                  <a:pt x="331" y="122"/>
                </a:lnTo>
                <a:lnTo>
                  <a:pt x="331" y="122"/>
                </a:lnTo>
                <a:lnTo>
                  <a:pt x="331" y="128"/>
                </a:lnTo>
                <a:lnTo>
                  <a:pt x="331" y="135"/>
                </a:lnTo>
                <a:lnTo>
                  <a:pt x="341" y="135"/>
                </a:lnTo>
                <a:lnTo>
                  <a:pt x="341" y="135"/>
                </a:lnTo>
                <a:lnTo>
                  <a:pt x="334" y="144"/>
                </a:lnTo>
                <a:lnTo>
                  <a:pt x="334" y="147"/>
                </a:lnTo>
                <a:lnTo>
                  <a:pt x="341" y="157"/>
                </a:lnTo>
                <a:lnTo>
                  <a:pt x="341" y="166"/>
                </a:lnTo>
                <a:lnTo>
                  <a:pt x="341" y="169"/>
                </a:lnTo>
                <a:lnTo>
                  <a:pt x="344" y="172"/>
                </a:lnTo>
                <a:lnTo>
                  <a:pt x="344" y="182"/>
                </a:lnTo>
                <a:lnTo>
                  <a:pt x="359" y="182"/>
                </a:lnTo>
                <a:lnTo>
                  <a:pt x="362" y="188"/>
                </a:lnTo>
                <a:lnTo>
                  <a:pt x="362" y="194"/>
                </a:lnTo>
                <a:lnTo>
                  <a:pt x="366" y="200"/>
                </a:lnTo>
                <a:lnTo>
                  <a:pt x="362" y="204"/>
                </a:lnTo>
                <a:lnTo>
                  <a:pt x="350" y="222"/>
                </a:lnTo>
                <a:lnTo>
                  <a:pt x="359" y="238"/>
                </a:lnTo>
                <a:lnTo>
                  <a:pt x="362" y="241"/>
                </a:lnTo>
                <a:lnTo>
                  <a:pt x="366" y="247"/>
                </a:lnTo>
                <a:lnTo>
                  <a:pt x="372" y="250"/>
                </a:lnTo>
                <a:lnTo>
                  <a:pt x="372" y="250"/>
                </a:lnTo>
                <a:lnTo>
                  <a:pt x="378" y="250"/>
                </a:lnTo>
                <a:lnTo>
                  <a:pt x="384" y="254"/>
                </a:lnTo>
                <a:lnTo>
                  <a:pt x="384" y="257"/>
                </a:lnTo>
                <a:lnTo>
                  <a:pt x="387" y="257"/>
                </a:lnTo>
                <a:lnTo>
                  <a:pt x="387" y="263"/>
                </a:lnTo>
                <a:lnTo>
                  <a:pt x="391" y="266"/>
                </a:lnTo>
                <a:lnTo>
                  <a:pt x="391" y="272"/>
                </a:lnTo>
                <a:lnTo>
                  <a:pt x="391" y="275"/>
                </a:lnTo>
                <a:lnTo>
                  <a:pt x="397" y="275"/>
                </a:lnTo>
                <a:lnTo>
                  <a:pt x="403" y="279"/>
                </a:lnTo>
                <a:lnTo>
                  <a:pt x="403" y="288"/>
                </a:lnTo>
                <a:lnTo>
                  <a:pt x="400" y="291"/>
                </a:lnTo>
                <a:lnTo>
                  <a:pt x="394" y="288"/>
                </a:lnTo>
                <a:lnTo>
                  <a:pt x="384" y="291"/>
                </a:lnTo>
                <a:lnTo>
                  <a:pt x="384" y="291"/>
                </a:lnTo>
                <a:lnTo>
                  <a:pt x="378" y="294"/>
                </a:lnTo>
                <a:lnTo>
                  <a:pt x="375" y="297"/>
                </a:lnTo>
                <a:lnTo>
                  <a:pt x="375" y="304"/>
                </a:lnTo>
                <a:lnTo>
                  <a:pt x="372" y="307"/>
                </a:lnTo>
                <a:lnTo>
                  <a:pt x="375" y="310"/>
                </a:lnTo>
                <a:lnTo>
                  <a:pt x="375" y="319"/>
                </a:lnTo>
                <a:lnTo>
                  <a:pt x="375" y="322"/>
                </a:lnTo>
                <a:lnTo>
                  <a:pt x="372" y="322"/>
                </a:lnTo>
                <a:lnTo>
                  <a:pt x="372" y="322"/>
                </a:lnTo>
                <a:lnTo>
                  <a:pt x="369" y="326"/>
                </a:lnTo>
                <a:lnTo>
                  <a:pt x="362" y="322"/>
                </a:lnTo>
                <a:lnTo>
                  <a:pt x="356" y="319"/>
                </a:lnTo>
                <a:lnTo>
                  <a:pt x="356" y="316"/>
                </a:lnTo>
                <a:lnTo>
                  <a:pt x="353" y="316"/>
                </a:lnTo>
                <a:lnTo>
                  <a:pt x="353" y="319"/>
                </a:lnTo>
                <a:lnTo>
                  <a:pt x="350" y="322"/>
                </a:lnTo>
                <a:lnTo>
                  <a:pt x="347" y="319"/>
                </a:lnTo>
                <a:lnTo>
                  <a:pt x="347" y="319"/>
                </a:lnTo>
                <a:lnTo>
                  <a:pt x="344" y="319"/>
                </a:lnTo>
                <a:lnTo>
                  <a:pt x="334" y="316"/>
                </a:lnTo>
                <a:lnTo>
                  <a:pt x="328" y="316"/>
                </a:lnTo>
                <a:lnTo>
                  <a:pt x="319" y="316"/>
                </a:lnTo>
                <a:lnTo>
                  <a:pt x="312" y="310"/>
                </a:lnTo>
                <a:lnTo>
                  <a:pt x="309" y="310"/>
                </a:lnTo>
                <a:lnTo>
                  <a:pt x="306" y="316"/>
                </a:lnTo>
                <a:lnTo>
                  <a:pt x="303" y="313"/>
                </a:lnTo>
                <a:lnTo>
                  <a:pt x="297" y="313"/>
                </a:lnTo>
                <a:lnTo>
                  <a:pt x="287" y="313"/>
                </a:lnTo>
                <a:lnTo>
                  <a:pt x="287" y="310"/>
                </a:lnTo>
                <a:lnTo>
                  <a:pt x="284" y="310"/>
                </a:lnTo>
                <a:lnTo>
                  <a:pt x="284" y="304"/>
                </a:lnTo>
                <a:lnTo>
                  <a:pt x="281" y="297"/>
                </a:lnTo>
                <a:lnTo>
                  <a:pt x="278" y="288"/>
                </a:lnTo>
                <a:lnTo>
                  <a:pt x="275" y="285"/>
                </a:lnTo>
                <a:lnTo>
                  <a:pt x="275" y="282"/>
                </a:lnTo>
                <a:lnTo>
                  <a:pt x="272" y="282"/>
                </a:lnTo>
                <a:lnTo>
                  <a:pt x="272" y="282"/>
                </a:lnTo>
                <a:lnTo>
                  <a:pt x="266" y="279"/>
                </a:lnTo>
                <a:lnTo>
                  <a:pt x="262" y="282"/>
                </a:lnTo>
                <a:lnTo>
                  <a:pt x="256" y="285"/>
                </a:lnTo>
                <a:lnTo>
                  <a:pt x="253" y="285"/>
                </a:lnTo>
                <a:lnTo>
                  <a:pt x="253" y="282"/>
                </a:lnTo>
                <a:lnTo>
                  <a:pt x="253" y="285"/>
                </a:lnTo>
                <a:lnTo>
                  <a:pt x="244" y="291"/>
                </a:lnTo>
                <a:lnTo>
                  <a:pt x="237" y="297"/>
                </a:lnTo>
                <a:lnTo>
                  <a:pt x="228" y="291"/>
                </a:lnTo>
                <a:lnTo>
                  <a:pt x="222" y="288"/>
                </a:lnTo>
                <a:lnTo>
                  <a:pt x="219" y="291"/>
                </a:lnTo>
                <a:lnTo>
                  <a:pt x="216" y="291"/>
                </a:lnTo>
                <a:lnTo>
                  <a:pt x="209" y="285"/>
                </a:lnTo>
                <a:lnTo>
                  <a:pt x="206" y="285"/>
                </a:lnTo>
                <a:lnTo>
                  <a:pt x="203" y="282"/>
                </a:lnTo>
                <a:lnTo>
                  <a:pt x="200" y="282"/>
                </a:lnTo>
                <a:lnTo>
                  <a:pt x="194" y="275"/>
                </a:lnTo>
                <a:lnTo>
                  <a:pt x="194" y="272"/>
                </a:lnTo>
                <a:lnTo>
                  <a:pt x="194" y="272"/>
                </a:lnTo>
                <a:lnTo>
                  <a:pt x="191" y="272"/>
                </a:lnTo>
                <a:lnTo>
                  <a:pt x="191" y="269"/>
                </a:lnTo>
                <a:lnTo>
                  <a:pt x="184" y="269"/>
                </a:lnTo>
                <a:lnTo>
                  <a:pt x="181" y="266"/>
                </a:lnTo>
                <a:lnTo>
                  <a:pt x="175" y="266"/>
                </a:lnTo>
                <a:lnTo>
                  <a:pt x="169" y="266"/>
                </a:lnTo>
                <a:lnTo>
                  <a:pt x="166" y="263"/>
                </a:lnTo>
                <a:lnTo>
                  <a:pt x="159" y="250"/>
                </a:lnTo>
                <a:lnTo>
                  <a:pt x="159" y="247"/>
                </a:lnTo>
                <a:lnTo>
                  <a:pt x="156" y="247"/>
                </a:lnTo>
                <a:lnTo>
                  <a:pt x="153" y="244"/>
                </a:lnTo>
                <a:lnTo>
                  <a:pt x="153" y="244"/>
                </a:lnTo>
                <a:lnTo>
                  <a:pt x="156" y="244"/>
                </a:lnTo>
                <a:lnTo>
                  <a:pt x="156" y="244"/>
                </a:lnTo>
                <a:lnTo>
                  <a:pt x="156" y="241"/>
                </a:lnTo>
                <a:lnTo>
                  <a:pt x="153" y="241"/>
                </a:lnTo>
                <a:lnTo>
                  <a:pt x="150" y="241"/>
                </a:lnTo>
                <a:lnTo>
                  <a:pt x="150" y="235"/>
                </a:lnTo>
                <a:lnTo>
                  <a:pt x="144" y="225"/>
                </a:lnTo>
                <a:lnTo>
                  <a:pt x="141" y="222"/>
                </a:lnTo>
                <a:lnTo>
                  <a:pt x="137" y="216"/>
                </a:lnTo>
                <a:lnTo>
                  <a:pt x="134" y="216"/>
                </a:lnTo>
                <a:lnTo>
                  <a:pt x="128" y="219"/>
                </a:lnTo>
                <a:lnTo>
                  <a:pt x="128" y="219"/>
                </a:lnTo>
                <a:lnTo>
                  <a:pt x="125" y="216"/>
                </a:lnTo>
                <a:lnTo>
                  <a:pt x="125" y="216"/>
                </a:lnTo>
                <a:lnTo>
                  <a:pt x="119" y="216"/>
                </a:lnTo>
                <a:lnTo>
                  <a:pt x="119" y="213"/>
                </a:lnTo>
                <a:lnTo>
                  <a:pt x="122" y="210"/>
                </a:lnTo>
                <a:lnTo>
                  <a:pt x="119" y="213"/>
                </a:lnTo>
                <a:lnTo>
                  <a:pt x="116" y="213"/>
                </a:lnTo>
                <a:lnTo>
                  <a:pt x="116" y="213"/>
                </a:lnTo>
                <a:lnTo>
                  <a:pt x="119" y="213"/>
                </a:lnTo>
                <a:lnTo>
                  <a:pt x="119" y="219"/>
                </a:lnTo>
                <a:lnTo>
                  <a:pt x="116" y="219"/>
                </a:lnTo>
                <a:lnTo>
                  <a:pt x="112" y="219"/>
                </a:lnTo>
                <a:lnTo>
                  <a:pt x="109" y="216"/>
                </a:lnTo>
                <a:lnTo>
                  <a:pt x="109" y="216"/>
                </a:lnTo>
                <a:lnTo>
                  <a:pt x="109" y="216"/>
                </a:lnTo>
                <a:lnTo>
                  <a:pt x="106" y="216"/>
                </a:lnTo>
                <a:lnTo>
                  <a:pt x="103" y="213"/>
                </a:lnTo>
                <a:lnTo>
                  <a:pt x="100" y="210"/>
                </a:lnTo>
                <a:lnTo>
                  <a:pt x="97" y="197"/>
                </a:lnTo>
                <a:lnTo>
                  <a:pt x="91" y="197"/>
                </a:lnTo>
                <a:lnTo>
                  <a:pt x="91" y="194"/>
                </a:lnTo>
                <a:lnTo>
                  <a:pt x="91" y="188"/>
                </a:lnTo>
                <a:lnTo>
                  <a:pt x="94" y="185"/>
                </a:lnTo>
                <a:lnTo>
                  <a:pt x="91" y="175"/>
                </a:lnTo>
                <a:lnTo>
                  <a:pt x="87" y="172"/>
                </a:lnTo>
                <a:lnTo>
                  <a:pt x="84" y="166"/>
                </a:lnTo>
                <a:lnTo>
                  <a:pt x="81" y="163"/>
                </a:lnTo>
                <a:lnTo>
                  <a:pt x="78" y="166"/>
                </a:lnTo>
                <a:lnTo>
                  <a:pt x="62" y="157"/>
                </a:lnTo>
                <a:lnTo>
                  <a:pt x="59" y="157"/>
                </a:lnTo>
                <a:lnTo>
                  <a:pt x="59" y="157"/>
                </a:lnTo>
                <a:lnTo>
                  <a:pt x="53" y="153"/>
                </a:lnTo>
                <a:lnTo>
                  <a:pt x="56" y="150"/>
                </a:lnTo>
                <a:lnTo>
                  <a:pt x="53" y="150"/>
                </a:lnTo>
                <a:lnTo>
                  <a:pt x="56" y="147"/>
                </a:lnTo>
                <a:lnTo>
                  <a:pt x="53" y="144"/>
                </a:lnTo>
                <a:lnTo>
                  <a:pt x="50" y="141"/>
                </a:lnTo>
                <a:lnTo>
                  <a:pt x="47" y="138"/>
                </a:lnTo>
                <a:lnTo>
                  <a:pt x="44" y="135"/>
                </a:lnTo>
                <a:lnTo>
                  <a:pt x="41" y="135"/>
                </a:lnTo>
                <a:lnTo>
                  <a:pt x="41" y="135"/>
                </a:lnTo>
                <a:lnTo>
                  <a:pt x="44" y="132"/>
                </a:lnTo>
                <a:lnTo>
                  <a:pt x="41" y="128"/>
                </a:lnTo>
                <a:lnTo>
                  <a:pt x="44" y="125"/>
                </a:lnTo>
                <a:lnTo>
                  <a:pt x="44" y="119"/>
                </a:lnTo>
                <a:lnTo>
                  <a:pt x="47" y="116"/>
                </a:lnTo>
                <a:lnTo>
                  <a:pt x="47" y="113"/>
                </a:lnTo>
                <a:lnTo>
                  <a:pt x="50" y="113"/>
                </a:lnTo>
                <a:lnTo>
                  <a:pt x="50" y="110"/>
                </a:lnTo>
                <a:lnTo>
                  <a:pt x="50" y="103"/>
                </a:lnTo>
                <a:lnTo>
                  <a:pt x="50" y="103"/>
                </a:lnTo>
                <a:lnTo>
                  <a:pt x="50" y="97"/>
                </a:lnTo>
                <a:lnTo>
                  <a:pt x="50" y="97"/>
                </a:lnTo>
                <a:lnTo>
                  <a:pt x="56" y="94"/>
                </a:lnTo>
                <a:lnTo>
                  <a:pt x="56" y="94"/>
                </a:lnTo>
                <a:lnTo>
                  <a:pt x="56" y="94"/>
                </a:lnTo>
                <a:lnTo>
                  <a:pt x="53" y="91"/>
                </a:lnTo>
                <a:lnTo>
                  <a:pt x="47" y="94"/>
                </a:lnTo>
                <a:lnTo>
                  <a:pt x="44" y="91"/>
                </a:lnTo>
                <a:lnTo>
                  <a:pt x="37" y="88"/>
                </a:lnTo>
                <a:lnTo>
                  <a:pt x="34" y="88"/>
                </a:lnTo>
                <a:lnTo>
                  <a:pt x="31" y="85"/>
                </a:lnTo>
                <a:lnTo>
                  <a:pt x="31" y="82"/>
                </a:lnTo>
                <a:lnTo>
                  <a:pt x="28" y="78"/>
                </a:lnTo>
                <a:lnTo>
                  <a:pt x="25" y="78"/>
                </a:lnTo>
                <a:lnTo>
                  <a:pt x="22" y="72"/>
                </a:lnTo>
                <a:lnTo>
                  <a:pt x="22" y="69"/>
                </a:lnTo>
                <a:lnTo>
                  <a:pt x="22" y="66"/>
                </a:lnTo>
                <a:lnTo>
                  <a:pt x="19" y="66"/>
                </a:lnTo>
                <a:lnTo>
                  <a:pt x="19" y="66"/>
                </a:lnTo>
                <a:lnTo>
                  <a:pt x="19" y="63"/>
                </a:lnTo>
                <a:lnTo>
                  <a:pt x="16" y="57"/>
                </a:lnTo>
                <a:lnTo>
                  <a:pt x="12" y="50"/>
                </a:lnTo>
                <a:lnTo>
                  <a:pt x="6" y="47"/>
                </a:lnTo>
                <a:lnTo>
                  <a:pt x="6" y="44"/>
                </a:lnTo>
                <a:lnTo>
                  <a:pt x="6" y="38"/>
                </a:lnTo>
                <a:lnTo>
                  <a:pt x="9" y="35"/>
                </a:lnTo>
                <a:lnTo>
                  <a:pt x="9" y="31"/>
                </a:lnTo>
                <a:lnTo>
                  <a:pt x="3" y="31"/>
                </a:lnTo>
                <a:lnTo>
                  <a:pt x="3" y="25"/>
                </a:lnTo>
                <a:lnTo>
                  <a:pt x="3" y="22"/>
                </a:lnTo>
                <a:lnTo>
                  <a:pt x="3" y="13"/>
                </a:lnTo>
                <a:lnTo>
                  <a:pt x="0" y="10"/>
                </a:lnTo>
                <a:lnTo>
                  <a:pt x="0" y="10"/>
                </a:lnTo>
                <a:lnTo>
                  <a:pt x="6" y="6"/>
                </a:lnTo>
                <a:lnTo>
                  <a:pt x="6" y="3"/>
                </a:lnTo>
                <a:lnTo>
                  <a:pt x="9" y="0"/>
                </a:lnTo>
                <a:lnTo>
                  <a:pt x="9" y="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5" name="Freeform 83">
            <a:extLst>
              <a:ext uri="{FF2B5EF4-FFF2-40B4-BE49-F238E27FC236}">
                <a16:creationId xmlns:a16="http://schemas.microsoft.com/office/drawing/2014/main" id="{81077EF9-181D-0F61-8857-1AEC3AF4FC7D}"/>
              </a:ext>
            </a:extLst>
          </p:cNvPr>
          <p:cNvSpPr>
            <a:spLocks/>
          </p:cNvSpPr>
          <p:nvPr userDrawn="1"/>
        </p:nvSpPr>
        <p:spPr bwMode="auto">
          <a:xfrm>
            <a:off x="15708874" y="6606463"/>
            <a:ext cx="219064" cy="187326"/>
          </a:xfrm>
          <a:custGeom>
            <a:avLst/>
            <a:gdLst>
              <a:gd name="T0" fmla="*/ 0 w 69"/>
              <a:gd name="T1" fmla="*/ 3 h 59"/>
              <a:gd name="T2" fmla="*/ 6 w 69"/>
              <a:gd name="T3" fmla="*/ 0 h 59"/>
              <a:gd name="T4" fmla="*/ 16 w 69"/>
              <a:gd name="T5" fmla="*/ 0 h 59"/>
              <a:gd name="T6" fmla="*/ 16 w 69"/>
              <a:gd name="T7" fmla="*/ 0 h 59"/>
              <a:gd name="T8" fmla="*/ 28 w 69"/>
              <a:gd name="T9" fmla="*/ 0 h 59"/>
              <a:gd name="T10" fmla="*/ 31 w 69"/>
              <a:gd name="T11" fmla="*/ 3 h 59"/>
              <a:gd name="T12" fmla="*/ 41 w 69"/>
              <a:gd name="T13" fmla="*/ 3 h 59"/>
              <a:gd name="T14" fmla="*/ 44 w 69"/>
              <a:gd name="T15" fmla="*/ 9 h 59"/>
              <a:gd name="T16" fmla="*/ 44 w 69"/>
              <a:gd name="T17" fmla="*/ 12 h 59"/>
              <a:gd name="T18" fmla="*/ 44 w 69"/>
              <a:gd name="T19" fmla="*/ 15 h 59"/>
              <a:gd name="T20" fmla="*/ 50 w 69"/>
              <a:gd name="T21" fmla="*/ 25 h 59"/>
              <a:gd name="T22" fmla="*/ 50 w 69"/>
              <a:gd name="T23" fmla="*/ 28 h 59"/>
              <a:gd name="T24" fmla="*/ 47 w 69"/>
              <a:gd name="T25" fmla="*/ 31 h 59"/>
              <a:gd name="T26" fmla="*/ 50 w 69"/>
              <a:gd name="T27" fmla="*/ 37 h 59"/>
              <a:gd name="T28" fmla="*/ 60 w 69"/>
              <a:gd name="T29" fmla="*/ 40 h 59"/>
              <a:gd name="T30" fmla="*/ 66 w 69"/>
              <a:gd name="T31" fmla="*/ 40 h 59"/>
              <a:gd name="T32" fmla="*/ 69 w 69"/>
              <a:gd name="T33" fmla="*/ 47 h 59"/>
              <a:gd name="T34" fmla="*/ 66 w 69"/>
              <a:gd name="T35" fmla="*/ 47 h 59"/>
              <a:gd name="T36" fmla="*/ 69 w 69"/>
              <a:gd name="T37" fmla="*/ 53 h 59"/>
              <a:gd name="T38" fmla="*/ 66 w 69"/>
              <a:gd name="T39" fmla="*/ 53 h 59"/>
              <a:gd name="T40" fmla="*/ 66 w 69"/>
              <a:gd name="T41" fmla="*/ 56 h 59"/>
              <a:gd name="T42" fmla="*/ 63 w 69"/>
              <a:gd name="T43" fmla="*/ 59 h 59"/>
              <a:gd name="T44" fmla="*/ 53 w 69"/>
              <a:gd name="T45" fmla="*/ 43 h 59"/>
              <a:gd name="T46" fmla="*/ 47 w 69"/>
              <a:gd name="T47" fmla="*/ 43 h 59"/>
              <a:gd name="T48" fmla="*/ 44 w 69"/>
              <a:gd name="T49" fmla="*/ 37 h 59"/>
              <a:gd name="T50" fmla="*/ 41 w 69"/>
              <a:gd name="T51" fmla="*/ 37 h 59"/>
              <a:gd name="T52" fmla="*/ 41 w 69"/>
              <a:gd name="T53" fmla="*/ 40 h 59"/>
              <a:gd name="T54" fmla="*/ 35 w 69"/>
              <a:gd name="T55" fmla="*/ 34 h 59"/>
              <a:gd name="T56" fmla="*/ 31 w 69"/>
              <a:gd name="T57" fmla="*/ 37 h 59"/>
              <a:gd name="T58" fmla="*/ 28 w 69"/>
              <a:gd name="T59" fmla="*/ 37 h 59"/>
              <a:gd name="T60" fmla="*/ 25 w 69"/>
              <a:gd name="T61" fmla="*/ 34 h 59"/>
              <a:gd name="T62" fmla="*/ 22 w 69"/>
              <a:gd name="T63" fmla="*/ 31 h 59"/>
              <a:gd name="T64" fmla="*/ 19 w 69"/>
              <a:gd name="T65" fmla="*/ 31 h 59"/>
              <a:gd name="T66" fmla="*/ 13 w 69"/>
              <a:gd name="T67" fmla="*/ 31 h 59"/>
              <a:gd name="T68" fmla="*/ 6 w 69"/>
              <a:gd name="T69" fmla="*/ 28 h 59"/>
              <a:gd name="T70" fmla="*/ 6 w 69"/>
              <a:gd name="T71" fmla="*/ 18 h 59"/>
              <a:gd name="T72" fmla="*/ 10 w 69"/>
              <a:gd name="T73" fmla="*/ 12 h 59"/>
              <a:gd name="T74" fmla="*/ 6 w 69"/>
              <a:gd name="T75" fmla="*/ 9 h 59"/>
              <a:gd name="T76" fmla="*/ 3 w 69"/>
              <a:gd name="T77" fmla="*/ 9 h 59"/>
              <a:gd name="T78" fmla="*/ 3 w 69"/>
              <a:gd name="T79" fmla="*/ 6 h 59"/>
              <a:gd name="T80" fmla="*/ 0 w 69"/>
              <a:gd name="T81"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9" h="59">
                <a:moveTo>
                  <a:pt x="0" y="3"/>
                </a:moveTo>
                <a:lnTo>
                  <a:pt x="6" y="0"/>
                </a:lnTo>
                <a:lnTo>
                  <a:pt x="16" y="0"/>
                </a:lnTo>
                <a:lnTo>
                  <a:pt x="16" y="0"/>
                </a:lnTo>
                <a:lnTo>
                  <a:pt x="28" y="0"/>
                </a:lnTo>
                <a:lnTo>
                  <a:pt x="31" y="3"/>
                </a:lnTo>
                <a:lnTo>
                  <a:pt x="41" y="3"/>
                </a:lnTo>
                <a:lnTo>
                  <a:pt x="44" y="9"/>
                </a:lnTo>
                <a:lnTo>
                  <a:pt x="44" y="12"/>
                </a:lnTo>
                <a:lnTo>
                  <a:pt x="44" y="15"/>
                </a:lnTo>
                <a:lnTo>
                  <a:pt x="50" y="25"/>
                </a:lnTo>
                <a:lnTo>
                  <a:pt x="50" y="28"/>
                </a:lnTo>
                <a:lnTo>
                  <a:pt x="47" y="31"/>
                </a:lnTo>
                <a:lnTo>
                  <a:pt x="50" y="37"/>
                </a:lnTo>
                <a:lnTo>
                  <a:pt x="60" y="40"/>
                </a:lnTo>
                <a:lnTo>
                  <a:pt x="66" y="40"/>
                </a:lnTo>
                <a:lnTo>
                  <a:pt x="69" y="47"/>
                </a:lnTo>
                <a:lnTo>
                  <a:pt x="66" y="47"/>
                </a:lnTo>
                <a:lnTo>
                  <a:pt x="69" y="53"/>
                </a:lnTo>
                <a:lnTo>
                  <a:pt x="66" y="53"/>
                </a:lnTo>
                <a:lnTo>
                  <a:pt x="66" y="56"/>
                </a:lnTo>
                <a:lnTo>
                  <a:pt x="63" y="59"/>
                </a:lnTo>
                <a:lnTo>
                  <a:pt x="53" y="43"/>
                </a:lnTo>
                <a:lnTo>
                  <a:pt x="47" y="43"/>
                </a:lnTo>
                <a:lnTo>
                  <a:pt x="44" y="37"/>
                </a:lnTo>
                <a:lnTo>
                  <a:pt x="41" y="37"/>
                </a:lnTo>
                <a:lnTo>
                  <a:pt x="41" y="40"/>
                </a:lnTo>
                <a:lnTo>
                  <a:pt x="35" y="34"/>
                </a:lnTo>
                <a:lnTo>
                  <a:pt x="31" y="37"/>
                </a:lnTo>
                <a:lnTo>
                  <a:pt x="28" y="37"/>
                </a:lnTo>
                <a:lnTo>
                  <a:pt x="25" y="34"/>
                </a:lnTo>
                <a:lnTo>
                  <a:pt x="22" y="31"/>
                </a:lnTo>
                <a:lnTo>
                  <a:pt x="19" y="31"/>
                </a:lnTo>
                <a:lnTo>
                  <a:pt x="13" y="31"/>
                </a:lnTo>
                <a:lnTo>
                  <a:pt x="6" y="28"/>
                </a:lnTo>
                <a:lnTo>
                  <a:pt x="6" y="18"/>
                </a:lnTo>
                <a:lnTo>
                  <a:pt x="10" y="12"/>
                </a:lnTo>
                <a:lnTo>
                  <a:pt x="6" y="9"/>
                </a:lnTo>
                <a:lnTo>
                  <a:pt x="3" y="9"/>
                </a:lnTo>
                <a:lnTo>
                  <a:pt x="3" y="6"/>
                </a:lnTo>
                <a:lnTo>
                  <a:pt x="0" y="3"/>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6" name="Freeform 84">
            <a:extLst>
              <a:ext uri="{FF2B5EF4-FFF2-40B4-BE49-F238E27FC236}">
                <a16:creationId xmlns:a16="http://schemas.microsoft.com/office/drawing/2014/main" id="{C6E24D87-74E0-8C03-D90B-BF66EDB66FAB}"/>
              </a:ext>
            </a:extLst>
          </p:cNvPr>
          <p:cNvSpPr>
            <a:spLocks noEditPoints="1"/>
          </p:cNvSpPr>
          <p:nvPr userDrawn="1"/>
        </p:nvSpPr>
        <p:spPr bwMode="auto">
          <a:xfrm>
            <a:off x="14667547" y="6555661"/>
            <a:ext cx="1161974" cy="466726"/>
          </a:xfrm>
          <a:custGeom>
            <a:avLst/>
            <a:gdLst>
              <a:gd name="T0" fmla="*/ 19 w 366"/>
              <a:gd name="T1" fmla="*/ 16 h 147"/>
              <a:gd name="T2" fmla="*/ 28 w 366"/>
              <a:gd name="T3" fmla="*/ 0 h 147"/>
              <a:gd name="T4" fmla="*/ 53 w 366"/>
              <a:gd name="T5" fmla="*/ 16 h 147"/>
              <a:gd name="T6" fmla="*/ 50 w 366"/>
              <a:gd name="T7" fmla="*/ 28 h 147"/>
              <a:gd name="T8" fmla="*/ 22 w 366"/>
              <a:gd name="T9" fmla="*/ 41 h 147"/>
              <a:gd name="T10" fmla="*/ 16 w 366"/>
              <a:gd name="T11" fmla="*/ 38 h 147"/>
              <a:gd name="T12" fmla="*/ 6 w 366"/>
              <a:gd name="T13" fmla="*/ 31 h 147"/>
              <a:gd name="T14" fmla="*/ 278 w 366"/>
              <a:gd name="T15" fmla="*/ 25 h 147"/>
              <a:gd name="T16" fmla="*/ 256 w 366"/>
              <a:gd name="T17" fmla="*/ 22 h 147"/>
              <a:gd name="T18" fmla="*/ 222 w 366"/>
              <a:gd name="T19" fmla="*/ 25 h 147"/>
              <a:gd name="T20" fmla="*/ 197 w 366"/>
              <a:gd name="T21" fmla="*/ 19 h 147"/>
              <a:gd name="T22" fmla="*/ 181 w 366"/>
              <a:gd name="T23" fmla="*/ 9 h 147"/>
              <a:gd name="T24" fmla="*/ 159 w 366"/>
              <a:gd name="T25" fmla="*/ 3 h 147"/>
              <a:gd name="T26" fmla="*/ 125 w 366"/>
              <a:gd name="T27" fmla="*/ 6 h 147"/>
              <a:gd name="T28" fmla="*/ 106 w 366"/>
              <a:gd name="T29" fmla="*/ 22 h 147"/>
              <a:gd name="T30" fmla="*/ 81 w 366"/>
              <a:gd name="T31" fmla="*/ 22 h 147"/>
              <a:gd name="T32" fmla="*/ 66 w 366"/>
              <a:gd name="T33" fmla="*/ 34 h 147"/>
              <a:gd name="T34" fmla="*/ 56 w 366"/>
              <a:gd name="T35" fmla="*/ 41 h 147"/>
              <a:gd name="T36" fmla="*/ 47 w 366"/>
              <a:gd name="T37" fmla="*/ 44 h 147"/>
              <a:gd name="T38" fmla="*/ 28 w 366"/>
              <a:gd name="T39" fmla="*/ 44 h 147"/>
              <a:gd name="T40" fmla="*/ 12 w 366"/>
              <a:gd name="T41" fmla="*/ 63 h 147"/>
              <a:gd name="T42" fmla="*/ 28 w 366"/>
              <a:gd name="T43" fmla="*/ 66 h 147"/>
              <a:gd name="T44" fmla="*/ 25 w 366"/>
              <a:gd name="T45" fmla="*/ 81 h 147"/>
              <a:gd name="T46" fmla="*/ 28 w 366"/>
              <a:gd name="T47" fmla="*/ 88 h 147"/>
              <a:gd name="T48" fmla="*/ 16 w 366"/>
              <a:gd name="T49" fmla="*/ 91 h 147"/>
              <a:gd name="T50" fmla="*/ 25 w 366"/>
              <a:gd name="T51" fmla="*/ 100 h 147"/>
              <a:gd name="T52" fmla="*/ 34 w 366"/>
              <a:gd name="T53" fmla="*/ 116 h 147"/>
              <a:gd name="T54" fmla="*/ 37 w 366"/>
              <a:gd name="T55" fmla="*/ 125 h 147"/>
              <a:gd name="T56" fmla="*/ 37 w 366"/>
              <a:gd name="T57" fmla="*/ 131 h 147"/>
              <a:gd name="T58" fmla="*/ 50 w 366"/>
              <a:gd name="T59" fmla="*/ 135 h 147"/>
              <a:gd name="T60" fmla="*/ 62 w 366"/>
              <a:gd name="T61" fmla="*/ 131 h 147"/>
              <a:gd name="T62" fmla="*/ 72 w 366"/>
              <a:gd name="T63" fmla="*/ 138 h 147"/>
              <a:gd name="T64" fmla="*/ 87 w 366"/>
              <a:gd name="T65" fmla="*/ 141 h 147"/>
              <a:gd name="T66" fmla="*/ 100 w 366"/>
              <a:gd name="T67" fmla="*/ 131 h 147"/>
              <a:gd name="T68" fmla="*/ 134 w 366"/>
              <a:gd name="T69" fmla="*/ 141 h 147"/>
              <a:gd name="T70" fmla="*/ 169 w 366"/>
              <a:gd name="T71" fmla="*/ 141 h 147"/>
              <a:gd name="T72" fmla="*/ 197 w 366"/>
              <a:gd name="T73" fmla="*/ 131 h 147"/>
              <a:gd name="T74" fmla="*/ 200 w 366"/>
              <a:gd name="T75" fmla="*/ 138 h 147"/>
              <a:gd name="T76" fmla="*/ 216 w 366"/>
              <a:gd name="T77" fmla="*/ 144 h 147"/>
              <a:gd name="T78" fmla="*/ 228 w 366"/>
              <a:gd name="T79" fmla="*/ 131 h 147"/>
              <a:gd name="T80" fmla="*/ 256 w 366"/>
              <a:gd name="T81" fmla="*/ 125 h 147"/>
              <a:gd name="T82" fmla="*/ 288 w 366"/>
              <a:gd name="T83" fmla="*/ 119 h 147"/>
              <a:gd name="T84" fmla="*/ 322 w 366"/>
              <a:gd name="T85" fmla="*/ 119 h 147"/>
              <a:gd name="T86" fmla="*/ 353 w 366"/>
              <a:gd name="T87" fmla="*/ 113 h 147"/>
              <a:gd name="T88" fmla="*/ 363 w 366"/>
              <a:gd name="T89" fmla="*/ 110 h 147"/>
              <a:gd name="T90" fmla="*/ 356 w 366"/>
              <a:gd name="T91" fmla="*/ 84 h 147"/>
              <a:gd name="T92" fmla="*/ 347 w 366"/>
              <a:gd name="T93" fmla="*/ 63 h 147"/>
              <a:gd name="T94" fmla="*/ 347 w 366"/>
              <a:gd name="T95" fmla="*/ 47 h 147"/>
              <a:gd name="T96" fmla="*/ 331 w 366"/>
              <a:gd name="T97" fmla="*/ 25 h 147"/>
              <a:gd name="T98" fmla="*/ 309 w 366"/>
              <a:gd name="T99" fmla="*/ 13 h 147"/>
              <a:gd name="T100" fmla="*/ 294 w 366"/>
              <a:gd name="T101" fmla="*/ 9 h 147"/>
              <a:gd name="T102" fmla="*/ 47 w 366"/>
              <a:gd name="T103" fmla="*/ 138 h 147"/>
              <a:gd name="T104" fmla="*/ 9 w 366"/>
              <a:gd name="T105" fmla="*/ 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6" h="147">
                <a:moveTo>
                  <a:pt x="6" y="31"/>
                </a:moveTo>
                <a:lnTo>
                  <a:pt x="12" y="31"/>
                </a:lnTo>
                <a:lnTo>
                  <a:pt x="12" y="28"/>
                </a:lnTo>
                <a:lnTo>
                  <a:pt x="12" y="22"/>
                </a:lnTo>
                <a:lnTo>
                  <a:pt x="19" y="19"/>
                </a:lnTo>
                <a:lnTo>
                  <a:pt x="19" y="16"/>
                </a:lnTo>
                <a:lnTo>
                  <a:pt x="12" y="13"/>
                </a:lnTo>
                <a:lnTo>
                  <a:pt x="16" y="6"/>
                </a:lnTo>
                <a:lnTo>
                  <a:pt x="19" y="3"/>
                </a:lnTo>
                <a:lnTo>
                  <a:pt x="22" y="3"/>
                </a:lnTo>
                <a:lnTo>
                  <a:pt x="22" y="0"/>
                </a:lnTo>
                <a:lnTo>
                  <a:pt x="28" y="0"/>
                </a:lnTo>
                <a:lnTo>
                  <a:pt x="34" y="6"/>
                </a:lnTo>
                <a:lnTo>
                  <a:pt x="37" y="3"/>
                </a:lnTo>
                <a:lnTo>
                  <a:pt x="41" y="3"/>
                </a:lnTo>
                <a:lnTo>
                  <a:pt x="41" y="13"/>
                </a:lnTo>
                <a:lnTo>
                  <a:pt x="47" y="16"/>
                </a:lnTo>
                <a:lnTo>
                  <a:pt x="53" y="16"/>
                </a:lnTo>
                <a:lnTo>
                  <a:pt x="56" y="22"/>
                </a:lnTo>
                <a:lnTo>
                  <a:pt x="59" y="25"/>
                </a:lnTo>
                <a:lnTo>
                  <a:pt x="59" y="25"/>
                </a:lnTo>
                <a:lnTo>
                  <a:pt x="56" y="31"/>
                </a:lnTo>
                <a:lnTo>
                  <a:pt x="53" y="28"/>
                </a:lnTo>
                <a:lnTo>
                  <a:pt x="50" y="28"/>
                </a:lnTo>
                <a:lnTo>
                  <a:pt x="44" y="28"/>
                </a:lnTo>
                <a:lnTo>
                  <a:pt x="44" y="28"/>
                </a:lnTo>
                <a:lnTo>
                  <a:pt x="37" y="28"/>
                </a:lnTo>
                <a:lnTo>
                  <a:pt x="34" y="31"/>
                </a:lnTo>
                <a:lnTo>
                  <a:pt x="31" y="38"/>
                </a:lnTo>
                <a:lnTo>
                  <a:pt x="22" y="41"/>
                </a:lnTo>
                <a:lnTo>
                  <a:pt x="12" y="50"/>
                </a:lnTo>
                <a:lnTo>
                  <a:pt x="12" y="47"/>
                </a:lnTo>
                <a:lnTo>
                  <a:pt x="12" y="41"/>
                </a:lnTo>
                <a:lnTo>
                  <a:pt x="16" y="41"/>
                </a:lnTo>
                <a:lnTo>
                  <a:pt x="19" y="38"/>
                </a:lnTo>
                <a:lnTo>
                  <a:pt x="16" y="38"/>
                </a:lnTo>
                <a:lnTo>
                  <a:pt x="12" y="38"/>
                </a:lnTo>
                <a:lnTo>
                  <a:pt x="12" y="38"/>
                </a:lnTo>
                <a:lnTo>
                  <a:pt x="9" y="34"/>
                </a:lnTo>
                <a:lnTo>
                  <a:pt x="6" y="31"/>
                </a:lnTo>
                <a:lnTo>
                  <a:pt x="6" y="31"/>
                </a:lnTo>
                <a:lnTo>
                  <a:pt x="6" y="31"/>
                </a:lnTo>
                <a:close/>
                <a:moveTo>
                  <a:pt x="294" y="9"/>
                </a:moveTo>
                <a:lnTo>
                  <a:pt x="294" y="9"/>
                </a:lnTo>
                <a:lnTo>
                  <a:pt x="291" y="16"/>
                </a:lnTo>
                <a:lnTo>
                  <a:pt x="288" y="19"/>
                </a:lnTo>
                <a:lnTo>
                  <a:pt x="281" y="22"/>
                </a:lnTo>
                <a:lnTo>
                  <a:pt x="278" y="25"/>
                </a:lnTo>
                <a:lnTo>
                  <a:pt x="272" y="25"/>
                </a:lnTo>
                <a:lnTo>
                  <a:pt x="269" y="25"/>
                </a:lnTo>
                <a:lnTo>
                  <a:pt x="263" y="25"/>
                </a:lnTo>
                <a:lnTo>
                  <a:pt x="259" y="22"/>
                </a:lnTo>
                <a:lnTo>
                  <a:pt x="256" y="22"/>
                </a:lnTo>
                <a:lnTo>
                  <a:pt x="256" y="22"/>
                </a:lnTo>
                <a:lnTo>
                  <a:pt x="253" y="22"/>
                </a:lnTo>
                <a:lnTo>
                  <a:pt x="244" y="25"/>
                </a:lnTo>
                <a:lnTo>
                  <a:pt x="238" y="28"/>
                </a:lnTo>
                <a:lnTo>
                  <a:pt x="231" y="25"/>
                </a:lnTo>
                <a:lnTo>
                  <a:pt x="225" y="22"/>
                </a:lnTo>
                <a:lnTo>
                  <a:pt x="222" y="25"/>
                </a:lnTo>
                <a:lnTo>
                  <a:pt x="216" y="22"/>
                </a:lnTo>
                <a:lnTo>
                  <a:pt x="212" y="19"/>
                </a:lnTo>
                <a:lnTo>
                  <a:pt x="203" y="16"/>
                </a:lnTo>
                <a:lnTo>
                  <a:pt x="203" y="16"/>
                </a:lnTo>
                <a:lnTo>
                  <a:pt x="200" y="19"/>
                </a:lnTo>
                <a:lnTo>
                  <a:pt x="197" y="19"/>
                </a:lnTo>
                <a:lnTo>
                  <a:pt x="194" y="13"/>
                </a:lnTo>
                <a:lnTo>
                  <a:pt x="194" y="9"/>
                </a:lnTo>
                <a:lnTo>
                  <a:pt x="191" y="6"/>
                </a:lnTo>
                <a:lnTo>
                  <a:pt x="187" y="6"/>
                </a:lnTo>
                <a:lnTo>
                  <a:pt x="184" y="9"/>
                </a:lnTo>
                <a:lnTo>
                  <a:pt x="181" y="9"/>
                </a:lnTo>
                <a:lnTo>
                  <a:pt x="181" y="9"/>
                </a:lnTo>
                <a:lnTo>
                  <a:pt x="172" y="3"/>
                </a:lnTo>
                <a:lnTo>
                  <a:pt x="172" y="0"/>
                </a:lnTo>
                <a:lnTo>
                  <a:pt x="172" y="0"/>
                </a:lnTo>
                <a:lnTo>
                  <a:pt x="166" y="3"/>
                </a:lnTo>
                <a:lnTo>
                  <a:pt x="159" y="3"/>
                </a:lnTo>
                <a:lnTo>
                  <a:pt x="156" y="0"/>
                </a:lnTo>
                <a:lnTo>
                  <a:pt x="153" y="3"/>
                </a:lnTo>
                <a:lnTo>
                  <a:pt x="144" y="3"/>
                </a:lnTo>
                <a:lnTo>
                  <a:pt x="137" y="3"/>
                </a:lnTo>
                <a:lnTo>
                  <a:pt x="128" y="6"/>
                </a:lnTo>
                <a:lnTo>
                  <a:pt x="125" y="6"/>
                </a:lnTo>
                <a:lnTo>
                  <a:pt x="119" y="9"/>
                </a:lnTo>
                <a:lnTo>
                  <a:pt x="116" y="13"/>
                </a:lnTo>
                <a:lnTo>
                  <a:pt x="112" y="13"/>
                </a:lnTo>
                <a:lnTo>
                  <a:pt x="109" y="16"/>
                </a:lnTo>
                <a:lnTo>
                  <a:pt x="106" y="16"/>
                </a:lnTo>
                <a:lnTo>
                  <a:pt x="106" y="22"/>
                </a:lnTo>
                <a:lnTo>
                  <a:pt x="103" y="22"/>
                </a:lnTo>
                <a:lnTo>
                  <a:pt x="103" y="25"/>
                </a:lnTo>
                <a:lnTo>
                  <a:pt x="97" y="25"/>
                </a:lnTo>
                <a:lnTo>
                  <a:pt x="87" y="22"/>
                </a:lnTo>
                <a:lnTo>
                  <a:pt x="84" y="22"/>
                </a:lnTo>
                <a:lnTo>
                  <a:pt x="81" y="22"/>
                </a:lnTo>
                <a:lnTo>
                  <a:pt x="78" y="22"/>
                </a:lnTo>
                <a:lnTo>
                  <a:pt x="72" y="25"/>
                </a:lnTo>
                <a:lnTo>
                  <a:pt x="69" y="22"/>
                </a:lnTo>
                <a:lnTo>
                  <a:pt x="62" y="25"/>
                </a:lnTo>
                <a:lnTo>
                  <a:pt x="62" y="28"/>
                </a:lnTo>
                <a:lnTo>
                  <a:pt x="66" y="34"/>
                </a:lnTo>
                <a:lnTo>
                  <a:pt x="72" y="34"/>
                </a:lnTo>
                <a:lnTo>
                  <a:pt x="75" y="34"/>
                </a:lnTo>
                <a:lnTo>
                  <a:pt x="75" y="34"/>
                </a:lnTo>
                <a:lnTo>
                  <a:pt x="66" y="38"/>
                </a:lnTo>
                <a:lnTo>
                  <a:pt x="59" y="38"/>
                </a:lnTo>
                <a:lnTo>
                  <a:pt x="56" y="41"/>
                </a:lnTo>
                <a:lnTo>
                  <a:pt x="59" y="44"/>
                </a:lnTo>
                <a:lnTo>
                  <a:pt x="62" y="41"/>
                </a:lnTo>
                <a:lnTo>
                  <a:pt x="66" y="44"/>
                </a:lnTo>
                <a:lnTo>
                  <a:pt x="62" y="47"/>
                </a:lnTo>
                <a:lnTo>
                  <a:pt x="53" y="47"/>
                </a:lnTo>
                <a:lnTo>
                  <a:pt x="47" y="44"/>
                </a:lnTo>
                <a:lnTo>
                  <a:pt x="44" y="47"/>
                </a:lnTo>
                <a:lnTo>
                  <a:pt x="41" y="44"/>
                </a:lnTo>
                <a:lnTo>
                  <a:pt x="37" y="44"/>
                </a:lnTo>
                <a:lnTo>
                  <a:pt x="34" y="47"/>
                </a:lnTo>
                <a:lnTo>
                  <a:pt x="31" y="47"/>
                </a:lnTo>
                <a:lnTo>
                  <a:pt x="28" y="44"/>
                </a:lnTo>
                <a:lnTo>
                  <a:pt x="22" y="44"/>
                </a:lnTo>
                <a:lnTo>
                  <a:pt x="12" y="50"/>
                </a:lnTo>
                <a:lnTo>
                  <a:pt x="12" y="53"/>
                </a:lnTo>
                <a:lnTo>
                  <a:pt x="12" y="56"/>
                </a:lnTo>
                <a:lnTo>
                  <a:pt x="12" y="59"/>
                </a:lnTo>
                <a:lnTo>
                  <a:pt x="12" y="63"/>
                </a:lnTo>
                <a:lnTo>
                  <a:pt x="12" y="66"/>
                </a:lnTo>
                <a:lnTo>
                  <a:pt x="12" y="66"/>
                </a:lnTo>
                <a:lnTo>
                  <a:pt x="19" y="66"/>
                </a:lnTo>
                <a:lnTo>
                  <a:pt x="19" y="66"/>
                </a:lnTo>
                <a:lnTo>
                  <a:pt x="22" y="66"/>
                </a:lnTo>
                <a:lnTo>
                  <a:pt x="28" y="66"/>
                </a:lnTo>
                <a:lnTo>
                  <a:pt x="22" y="69"/>
                </a:lnTo>
                <a:lnTo>
                  <a:pt x="25" y="72"/>
                </a:lnTo>
                <a:lnTo>
                  <a:pt x="25" y="75"/>
                </a:lnTo>
                <a:lnTo>
                  <a:pt x="25" y="78"/>
                </a:lnTo>
                <a:lnTo>
                  <a:pt x="25" y="78"/>
                </a:lnTo>
                <a:lnTo>
                  <a:pt x="25" y="81"/>
                </a:lnTo>
                <a:lnTo>
                  <a:pt x="31" y="78"/>
                </a:lnTo>
                <a:lnTo>
                  <a:pt x="31" y="81"/>
                </a:lnTo>
                <a:lnTo>
                  <a:pt x="28" y="81"/>
                </a:lnTo>
                <a:lnTo>
                  <a:pt x="22" y="84"/>
                </a:lnTo>
                <a:lnTo>
                  <a:pt x="25" y="88"/>
                </a:lnTo>
                <a:lnTo>
                  <a:pt x="28" y="88"/>
                </a:lnTo>
                <a:lnTo>
                  <a:pt x="25" y="88"/>
                </a:lnTo>
                <a:lnTo>
                  <a:pt x="22" y="91"/>
                </a:lnTo>
                <a:lnTo>
                  <a:pt x="22" y="91"/>
                </a:lnTo>
                <a:lnTo>
                  <a:pt x="19" y="88"/>
                </a:lnTo>
                <a:lnTo>
                  <a:pt x="19" y="88"/>
                </a:lnTo>
                <a:lnTo>
                  <a:pt x="16" y="91"/>
                </a:lnTo>
                <a:lnTo>
                  <a:pt x="19" y="94"/>
                </a:lnTo>
                <a:lnTo>
                  <a:pt x="16" y="94"/>
                </a:lnTo>
                <a:lnTo>
                  <a:pt x="16" y="97"/>
                </a:lnTo>
                <a:lnTo>
                  <a:pt x="19" y="100"/>
                </a:lnTo>
                <a:lnTo>
                  <a:pt x="22" y="97"/>
                </a:lnTo>
                <a:lnTo>
                  <a:pt x="25" y="100"/>
                </a:lnTo>
                <a:lnTo>
                  <a:pt x="28" y="100"/>
                </a:lnTo>
                <a:lnTo>
                  <a:pt x="31" y="103"/>
                </a:lnTo>
                <a:lnTo>
                  <a:pt x="34" y="110"/>
                </a:lnTo>
                <a:lnTo>
                  <a:pt x="31" y="113"/>
                </a:lnTo>
                <a:lnTo>
                  <a:pt x="34" y="113"/>
                </a:lnTo>
                <a:lnTo>
                  <a:pt x="34" y="116"/>
                </a:lnTo>
                <a:lnTo>
                  <a:pt x="34" y="116"/>
                </a:lnTo>
                <a:lnTo>
                  <a:pt x="41" y="122"/>
                </a:lnTo>
                <a:lnTo>
                  <a:pt x="37" y="125"/>
                </a:lnTo>
                <a:lnTo>
                  <a:pt x="34" y="122"/>
                </a:lnTo>
                <a:lnTo>
                  <a:pt x="34" y="125"/>
                </a:lnTo>
                <a:lnTo>
                  <a:pt x="37" y="125"/>
                </a:lnTo>
                <a:lnTo>
                  <a:pt x="44" y="125"/>
                </a:lnTo>
                <a:lnTo>
                  <a:pt x="50" y="125"/>
                </a:lnTo>
                <a:lnTo>
                  <a:pt x="50" y="125"/>
                </a:lnTo>
                <a:lnTo>
                  <a:pt x="50" y="128"/>
                </a:lnTo>
                <a:lnTo>
                  <a:pt x="44" y="131"/>
                </a:lnTo>
                <a:lnTo>
                  <a:pt x="37" y="131"/>
                </a:lnTo>
                <a:lnTo>
                  <a:pt x="37" y="131"/>
                </a:lnTo>
                <a:lnTo>
                  <a:pt x="41" y="135"/>
                </a:lnTo>
                <a:lnTo>
                  <a:pt x="44" y="131"/>
                </a:lnTo>
                <a:lnTo>
                  <a:pt x="47" y="131"/>
                </a:lnTo>
                <a:lnTo>
                  <a:pt x="50" y="131"/>
                </a:lnTo>
                <a:lnTo>
                  <a:pt x="50" y="135"/>
                </a:lnTo>
                <a:lnTo>
                  <a:pt x="50" y="135"/>
                </a:lnTo>
                <a:lnTo>
                  <a:pt x="53" y="131"/>
                </a:lnTo>
                <a:lnTo>
                  <a:pt x="56" y="128"/>
                </a:lnTo>
                <a:lnTo>
                  <a:pt x="59" y="128"/>
                </a:lnTo>
                <a:lnTo>
                  <a:pt x="59" y="131"/>
                </a:lnTo>
                <a:lnTo>
                  <a:pt x="62" y="131"/>
                </a:lnTo>
                <a:lnTo>
                  <a:pt x="66" y="135"/>
                </a:lnTo>
                <a:lnTo>
                  <a:pt x="69" y="131"/>
                </a:lnTo>
                <a:lnTo>
                  <a:pt x="72" y="131"/>
                </a:lnTo>
                <a:lnTo>
                  <a:pt x="72" y="135"/>
                </a:lnTo>
                <a:lnTo>
                  <a:pt x="69" y="135"/>
                </a:lnTo>
                <a:lnTo>
                  <a:pt x="72" y="138"/>
                </a:lnTo>
                <a:lnTo>
                  <a:pt x="72" y="141"/>
                </a:lnTo>
                <a:lnTo>
                  <a:pt x="75" y="144"/>
                </a:lnTo>
                <a:lnTo>
                  <a:pt x="78" y="141"/>
                </a:lnTo>
                <a:lnTo>
                  <a:pt x="81" y="144"/>
                </a:lnTo>
                <a:lnTo>
                  <a:pt x="87" y="144"/>
                </a:lnTo>
                <a:lnTo>
                  <a:pt x="87" y="141"/>
                </a:lnTo>
                <a:lnTo>
                  <a:pt x="91" y="141"/>
                </a:lnTo>
                <a:lnTo>
                  <a:pt x="94" y="141"/>
                </a:lnTo>
                <a:lnTo>
                  <a:pt x="97" y="141"/>
                </a:lnTo>
                <a:lnTo>
                  <a:pt x="100" y="141"/>
                </a:lnTo>
                <a:lnTo>
                  <a:pt x="100" y="135"/>
                </a:lnTo>
                <a:lnTo>
                  <a:pt x="100" y="131"/>
                </a:lnTo>
                <a:lnTo>
                  <a:pt x="100" y="128"/>
                </a:lnTo>
                <a:lnTo>
                  <a:pt x="109" y="128"/>
                </a:lnTo>
                <a:lnTo>
                  <a:pt x="116" y="128"/>
                </a:lnTo>
                <a:lnTo>
                  <a:pt x="125" y="135"/>
                </a:lnTo>
                <a:lnTo>
                  <a:pt x="128" y="135"/>
                </a:lnTo>
                <a:lnTo>
                  <a:pt x="134" y="141"/>
                </a:lnTo>
                <a:lnTo>
                  <a:pt x="141" y="144"/>
                </a:lnTo>
                <a:lnTo>
                  <a:pt x="156" y="144"/>
                </a:lnTo>
                <a:lnTo>
                  <a:pt x="162" y="141"/>
                </a:lnTo>
                <a:lnTo>
                  <a:pt x="166" y="141"/>
                </a:lnTo>
                <a:lnTo>
                  <a:pt x="166" y="141"/>
                </a:lnTo>
                <a:lnTo>
                  <a:pt x="169" y="141"/>
                </a:lnTo>
                <a:lnTo>
                  <a:pt x="169" y="138"/>
                </a:lnTo>
                <a:lnTo>
                  <a:pt x="178" y="125"/>
                </a:lnTo>
                <a:lnTo>
                  <a:pt x="178" y="125"/>
                </a:lnTo>
                <a:lnTo>
                  <a:pt x="187" y="128"/>
                </a:lnTo>
                <a:lnTo>
                  <a:pt x="194" y="131"/>
                </a:lnTo>
                <a:lnTo>
                  <a:pt x="197" y="131"/>
                </a:lnTo>
                <a:lnTo>
                  <a:pt x="200" y="128"/>
                </a:lnTo>
                <a:lnTo>
                  <a:pt x="203" y="125"/>
                </a:lnTo>
                <a:lnTo>
                  <a:pt x="206" y="125"/>
                </a:lnTo>
                <a:lnTo>
                  <a:pt x="206" y="128"/>
                </a:lnTo>
                <a:lnTo>
                  <a:pt x="203" y="135"/>
                </a:lnTo>
                <a:lnTo>
                  <a:pt x="200" y="138"/>
                </a:lnTo>
                <a:lnTo>
                  <a:pt x="200" y="138"/>
                </a:lnTo>
                <a:lnTo>
                  <a:pt x="203" y="144"/>
                </a:lnTo>
                <a:lnTo>
                  <a:pt x="203" y="147"/>
                </a:lnTo>
                <a:lnTo>
                  <a:pt x="206" y="147"/>
                </a:lnTo>
                <a:lnTo>
                  <a:pt x="209" y="147"/>
                </a:lnTo>
                <a:lnTo>
                  <a:pt x="216" y="144"/>
                </a:lnTo>
                <a:lnTo>
                  <a:pt x="216" y="141"/>
                </a:lnTo>
                <a:lnTo>
                  <a:pt x="216" y="138"/>
                </a:lnTo>
                <a:lnTo>
                  <a:pt x="216" y="131"/>
                </a:lnTo>
                <a:lnTo>
                  <a:pt x="219" y="128"/>
                </a:lnTo>
                <a:lnTo>
                  <a:pt x="225" y="128"/>
                </a:lnTo>
                <a:lnTo>
                  <a:pt x="228" y="131"/>
                </a:lnTo>
                <a:lnTo>
                  <a:pt x="238" y="125"/>
                </a:lnTo>
                <a:lnTo>
                  <a:pt x="238" y="125"/>
                </a:lnTo>
                <a:lnTo>
                  <a:pt x="241" y="125"/>
                </a:lnTo>
                <a:lnTo>
                  <a:pt x="253" y="122"/>
                </a:lnTo>
                <a:lnTo>
                  <a:pt x="256" y="125"/>
                </a:lnTo>
                <a:lnTo>
                  <a:pt x="256" y="125"/>
                </a:lnTo>
                <a:lnTo>
                  <a:pt x="263" y="128"/>
                </a:lnTo>
                <a:lnTo>
                  <a:pt x="272" y="128"/>
                </a:lnTo>
                <a:lnTo>
                  <a:pt x="275" y="125"/>
                </a:lnTo>
                <a:lnTo>
                  <a:pt x="278" y="125"/>
                </a:lnTo>
                <a:lnTo>
                  <a:pt x="281" y="122"/>
                </a:lnTo>
                <a:lnTo>
                  <a:pt x="288" y="119"/>
                </a:lnTo>
                <a:lnTo>
                  <a:pt x="294" y="119"/>
                </a:lnTo>
                <a:lnTo>
                  <a:pt x="297" y="119"/>
                </a:lnTo>
                <a:lnTo>
                  <a:pt x="306" y="119"/>
                </a:lnTo>
                <a:lnTo>
                  <a:pt x="316" y="116"/>
                </a:lnTo>
                <a:lnTo>
                  <a:pt x="322" y="116"/>
                </a:lnTo>
                <a:lnTo>
                  <a:pt x="322" y="119"/>
                </a:lnTo>
                <a:lnTo>
                  <a:pt x="328" y="113"/>
                </a:lnTo>
                <a:lnTo>
                  <a:pt x="331" y="113"/>
                </a:lnTo>
                <a:lnTo>
                  <a:pt x="334" y="113"/>
                </a:lnTo>
                <a:lnTo>
                  <a:pt x="341" y="113"/>
                </a:lnTo>
                <a:lnTo>
                  <a:pt x="350" y="113"/>
                </a:lnTo>
                <a:lnTo>
                  <a:pt x="353" y="113"/>
                </a:lnTo>
                <a:lnTo>
                  <a:pt x="356" y="113"/>
                </a:lnTo>
                <a:lnTo>
                  <a:pt x="356" y="119"/>
                </a:lnTo>
                <a:lnTo>
                  <a:pt x="359" y="119"/>
                </a:lnTo>
                <a:lnTo>
                  <a:pt x="366" y="119"/>
                </a:lnTo>
                <a:lnTo>
                  <a:pt x="366" y="116"/>
                </a:lnTo>
                <a:lnTo>
                  <a:pt x="363" y="110"/>
                </a:lnTo>
                <a:lnTo>
                  <a:pt x="359" y="103"/>
                </a:lnTo>
                <a:lnTo>
                  <a:pt x="353" y="100"/>
                </a:lnTo>
                <a:lnTo>
                  <a:pt x="353" y="97"/>
                </a:lnTo>
                <a:lnTo>
                  <a:pt x="353" y="91"/>
                </a:lnTo>
                <a:lnTo>
                  <a:pt x="356" y="88"/>
                </a:lnTo>
                <a:lnTo>
                  <a:pt x="356" y="84"/>
                </a:lnTo>
                <a:lnTo>
                  <a:pt x="350" y="84"/>
                </a:lnTo>
                <a:lnTo>
                  <a:pt x="350" y="78"/>
                </a:lnTo>
                <a:lnTo>
                  <a:pt x="350" y="75"/>
                </a:lnTo>
                <a:lnTo>
                  <a:pt x="350" y="66"/>
                </a:lnTo>
                <a:lnTo>
                  <a:pt x="347" y="63"/>
                </a:lnTo>
                <a:lnTo>
                  <a:pt x="347" y="63"/>
                </a:lnTo>
                <a:lnTo>
                  <a:pt x="353" y="59"/>
                </a:lnTo>
                <a:lnTo>
                  <a:pt x="353" y="56"/>
                </a:lnTo>
                <a:lnTo>
                  <a:pt x="356" y="53"/>
                </a:lnTo>
                <a:lnTo>
                  <a:pt x="353" y="50"/>
                </a:lnTo>
                <a:lnTo>
                  <a:pt x="350" y="47"/>
                </a:lnTo>
                <a:lnTo>
                  <a:pt x="347" y="47"/>
                </a:lnTo>
                <a:lnTo>
                  <a:pt x="341" y="47"/>
                </a:lnTo>
                <a:lnTo>
                  <a:pt x="334" y="44"/>
                </a:lnTo>
                <a:lnTo>
                  <a:pt x="334" y="34"/>
                </a:lnTo>
                <a:lnTo>
                  <a:pt x="338" y="28"/>
                </a:lnTo>
                <a:lnTo>
                  <a:pt x="334" y="25"/>
                </a:lnTo>
                <a:lnTo>
                  <a:pt x="331" y="25"/>
                </a:lnTo>
                <a:lnTo>
                  <a:pt x="331" y="22"/>
                </a:lnTo>
                <a:lnTo>
                  <a:pt x="328" y="19"/>
                </a:lnTo>
                <a:lnTo>
                  <a:pt x="325" y="19"/>
                </a:lnTo>
                <a:lnTo>
                  <a:pt x="316" y="9"/>
                </a:lnTo>
                <a:lnTo>
                  <a:pt x="313" y="9"/>
                </a:lnTo>
                <a:lnTo>
                  <a:pt x="309" y="13"/>
                </a:lnTo>
                <a:lnTo>
                  <a:pt x="306" y="13"/>
                </a:lnTo>
                <a:lnTo>
                  <a:pt x="303" y="9"/>
                </a:lnTo>
                <a:lnTo>
                  <a:pt x="300" y="13"/>
                </a:lnTo>
                <a:lnTo>
                  <a:pt x="297" y="13"/>
                </a:lnTo>
                <a:lnTo>
                  <a:pt x="297" y="9"/>
                </a:lnTo>
                <a:lnTo>
                  <a:pt x="294" y="9"/>
                </a:lnTo>
                <a:lnTo>
                  <a:pt x="294" y="9"/>
                </a:lnTo>
                <a:close/>
                <a:moveTo>
                  <a:pt x="44" y="135"/>
                </a:moveTo>
                <a:lnTo>
                  <a:pt x="47" y="135"/>
                </a:lnTo>
                <a:lnTo>
                  <a:pt x="47" y="135"/>
                </a:lnTo>
                <a:lnTo>
                  <a:pt x="47" y="135"/>
                </a:lnTo>
                <a:lnTo>
                  <a:pt x="47" y="138"/>
                </a:lnTo>
                <a:lnTo>
                  <a:pt x="44" y="135"/>
                </a:lnTo>
                <a:lnTo>
                  <a:pt x="44" y="135"/>
                </a:lnTo>
                <a:close/>
                <a:moveTo>
                  <a:pt x="0" y="47"/>
                </a:moveTo>
                <a:lnTo>
                  <a:pt x="3" y="50"/>
                </a:lnTo>
                <a:lnTo>
                  <a:pt x="9" y="47"/>
                </a:lnTo>
                <a:lnTo>
                  <a:pt x="9" y="47"/>
                </a:lnTo>
                <a:lnTo>
                  <a:pt x="6" y="44"/>
                </a:lnTo>
                <a:lnTo>
                  <a:pt x="6" y="47"/>
                </a:lnTo>
                <a:lnTo>
                  <a:pt x="3" y="47"/>
                </a:lnTo>
                <a:lnTo>
                  <a:pt x="0" y="47"/>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7" name="Freeform 85">
            <a:extLst>
              <a:ext uri="{FF2B5EF4-FFF2-40B4-BE49-F238E27FC236}">
                <a16:creationId xmlns:a16="http://schemas.microsoft.com/office/drawing/2014/main" id="{22EBD02A-0AE3-DF38-08C5-A9ADFFE9D284}"/>
              </a:ext>
            </a:extLst>
          </p:cNvPr>
          <p:cNvSpPr>
            <a:spLocks/>
          </p:cNvSpPr>
          <p:nvPr userDrawn="1"/>
        </p:nvSpPr>
        <p:spPr bwMode="auto">
          <a:xfrm>
            <a:off x="15512043" y="6914431"/>
            <a:ext cx="603211" cy="574678"/>
          </a:xfrm>
          <a:custGeom>
            <a:avLst/>
            <a:gdLst>
              <a:gd name="T0" fmla="*/ 187 w 190"/>
              <a:gd name="T1" fmla="*/ 156 h 181"/>
              <a:gd name="T2" fmla="*/ 181 w 190"/>
              <a:gd name="T3" fmla="*/ 150 h 181"/>
              <a:gd name="T4" fmla="*/ 172 w 190"/>
              <a:gd name="T5" fmla="*/ 137 h 181"/>
              <a:gd name="T6" fmla="*/ 172 w 190"/>
              <a:gd name="T7" fmla="*/ 128 h 181"/>
              <a:gd name="T8" fmla="*/ 172 w 190"/>
              <a:gd name="T9" fmla="*/ 115 h 181"/>
              <a:gd name="T10" fmla="*/ 165 w 190"/>
              <a:gd name="T11" fmla="*/ 106 h 181"/>
              <a:gd name="T12" fmla="*/ 159 w 190"/>
              <a:gd name="T13" fmla="*/ 106 h 181"/>
              <a:gd name="T14" fmla="*/ 140 w 190"/>
              <a:gd name="T15" fmla="*/ 97 h 181"/>
              <a:gd name="T16" fmla="*/ 134 w 190"/>
              <a:gd name="T17" fmla="*/ 93 h 181"/>
              <a:gd name="T18" fmla="*/ 134 w 190"/>
              <a:gd name="T19" fmla="*/ 90 h 181"/>
              <a:gd name="T20" fmla="*/ 134 w 190"/>
              <a:gd name="T21" fmla="*/ 84 h 181"/>
              <a:gd name="T22" fmla="*/ 128 w 190"/>
              <a:gd name="T23" fmla="*/ 78 h 181"/>
              <a:gd name="T24" fmla="*/ 122 w 190"/>
              <a:gd name="T25" fmla="*/ 75 h 181"/>
              <a:gd name="T26" fmla="*/ 125 w 190"/>
              <a:gd name="T27" fmla="*/ 72 h 181"/>
              <a:gd name="T28" fmla="*/ 125 w 190"/>
              <a:gd name="T29" fmla="*/ 65 h 181"/>
              <a:gd name="T30" fmla="*/ 128 w 190"/>
              <a:gd name="T31" fmla="*/ 56 h 181"/>
              <a:gd name="T32" fmla="*/ 131 w 190"/>
              <a:gd name="T33" fmla="*/ 53 h 181"/>
              <a:gd name="T34" fmla="*/ 131 w 190"/>
              <a:gd name="T35" fmla="*/ 43 h 181"/>
              <a:gd name="T36" fmla="*/ 131 w 190"/>
              <a:gd name="T37" fmla="*/ 37 h 181"/>
              <a:gd name="T38" fmla="*/ 137 w 190"/>
              <a:gd name="T39" fmla="*/ 34 h 181"/>
              <a:gd name="T40" fmla="*/ 137 w 190"/>
              <a:gd name="T41" fmla="*/ 34 h 181"/>
              <a:gd name="T42" fmla="*/ 128 w 190"/>
              <a:gd name="T43" fmla="*/ 34 h 181"/>
              <a:gd name="T44" fmla="*/ 118 w 190"/>
              <a:gd name="T45" fmla="*/ 28 h 181"/>
              <a:gd name="T46" fmla="*/ 112 w 190"/>
              <a:gd name="T47" fmla="*/ 25 h 181"/>
              <a:gd name="T48" fmla="*/ 109 w 190"/>
              <a:gd name="T49" fmla="*/ 18 h 181"/>
              <a:gd name="T50" fmla="*/ 103 w 190"/>
              <a:gd name="T51" fmla="*/ 12 h 181"/>
              <a:gd name="T52" fmla="*/ 103 w 190"/>
              <a:gd name="T53" fmla="*/ 6 h 181"/>
              <a:gd name="T54" fmla="*/ 93 w 190"/>
              <a:gd name="T55" fmla="*/ 6 h 181"/>
              <a:gd name="T56" fmla="*/ 90 w 190"/>
              <a:gd name="T57" fmla="*/ 0 h 181"/>
              <a:gd name="T58" fmla="*/ 84 w 190"/>
              <a:gd name="T59" fmla="*/ 0 h 181"/>
              <a:gd name="T60" fmla="*/ 68 w 190"/>
              <a:gd name="T61" fmla="*/ 0 h 181"/>
              <a:gd name="T62" fmla="*/ 62 w 190"/>
              <a:gd name="T63" fmla="*/ 0 h 181"/>
              <a:gd name="T64" fmla="*/ 56 w 190"/>
              <a:gd name="T65" fmla="*/ 6 h 181"/>
              <a:gd name="T66" fmla="*/ 53 w 190"/>
              <a:gd name="T67" fmla="*/ 9 h 181"/>
              <a:gd name="T68" fmla="*/ 40 w 190"/>
              <a:gd name="T69" fmla="*/ 15 h 181"/>
              <a:gd name="T70" fmla="*/ 37 w 190"/>
              <a:gd name="T71" fmla="*/ 28 h 181"/>
              <a:gd name="T72" fmla="*/ 40 w 190"/>
              <a:gd name="T73" fmla="*/ 40 h 181"/>
              <a:gd name="T74" fmla="*/ 37 w 190"/>
              <a:gd name="T75" fmla="*/ 50 h 181"/>
              <a:gd name="T76" fmla="*/ 34 w 190"/>
              <a:gd name="T77" fmla="*/ 62 h 181"/>
              <a:gd name="T78" fmla="*/ 0 w 190"/>
              <a:gd name="T79" fmla="*/ 90 h 181"/>
              <a:gd name="T80" fmla="*/ 0 w 190"/>
              <a:gd name="T81" fmla="*/ 90 h 181"/>
              <a:gd name="T82" fmla="*/ 25 w 190"/>
              <a:gd name="T83" fmla="*/ 115 h 181"/>
              <a:gd name="T84" fmla="*/ 156 w 190"/>
              <a:gd name="T85" fmla="*/ 181 h 181"/>
              <a:gd name="T86" fmla="*/ 162 w 190"/>
              <a:gd name="T87" fmla="*/ 162 h 181"/>
              <a:gd name="T88" fmla="*/ 178 w 190"/>
              <a:gd name="T89" fmla="*/ 162 h 181"/>
              <a:gd name="T90" fmla="*/ 184 w 190"/>
              <a:gd name="T91" fmla="*/ 162 h 181"/>
              <a:gd name="T92" fmla="*/ 190 w 190"/>
              <a:gd name="T93" fmla="*/ 15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0" h="181">
                <a:moveTo>
                  <a:pt x="190" y="156"/>
                </a:moveTo>
                <a:lnTo>
                  <a:pt x="187" y="156"/>
                </a:lnTo>
                <a:lnTo>
                  <a:pt x="184" y="153"/>
                </a:lnTo>
                <a:lnTo>
                  <a:pt x="181" y="150"/>
                </a:lnTo>
                <a:lnTo>
                  <a:pt x="178" y="137"/>
                </a:lnTo>
                <a:lnTo>
                  <a:pt x="172" y="137"/>
                </a:lnTo>
                <a:lnTo>
                  <a:pt x="172" y="134"/>
                </a:lnTo>
                <a:lnTo>
                  <a:pt x="172" y="128"/>
                </a:lnTo>
                <a:lnTo>
                  <a:pt x="175" y="125"/>
                </a:lnTo>
                <a:lnTo>
                  <a:pt x="172" y="115"/>
                </a:lnTo>
                <a:lnTo>
                  <a:pt x="168" y="112"/>
                </a:lnTo>
                <a:lnTo>
                  <a:pt x="165" y="106"/>
                </a:lnTo>
                <a:lnTo>
                  <a:pt x="162" y="103"/>
                </a:lnTo>
                <a:lnTo>
                  <a:pt x="159" y="106"/>
                </a:lnTo>
                <a:lnTo>
                  <a:pt x="143" y="97"/>
                </a:lnTo>
                <a:lnTo>
                  <a:pt x="140" y="97"/>
                </a:lnTo>
                <a:lnTo>
                  <a:pt x="140" y="97"/>
                </a:lnTo>
                <a:lnTo>
                  <a:pt x="134" y="93"/>
                </a:lnTo>
                <a:lnTo>
                  <a:pt x="137" y="90"/>
                </a:lnTo>
                <a:lnTo>
                  <a:pt x="134" y="90"/>
                </a:lnTo>
                <a:lnTo>
                  <a:pt x="137" y="87"/>
                </a:lnTo>
                <a:lnTo>
                  <a:pt x="134" y="84"/>
                </a:lnTo>
                <a:lnTo>
                  <a:pt x="131" y="81"/>
                </a:lnTo>
                <a:lnTo>
                  <a:pt x="128" y="78"/>
                </a:lnTo>
                <a:lnTo>
                  <a:pt x="125" y="75"/>
                </a:lnTo>
                <a:lnTo>
                  <a:pt x="122" y="75"/>
                </a:lnTo>
                <a:lnTo>
                  <a:pt x="122" y="75"/>
                </a:lnTo>
                <a:lnTo>
                  <a:pt x="125" y="72"/>
                </a:lnTo>
                <a:lnTo>
                  <a:pt x="122" y="68"/>
                </a:lnTo>
                <a:lnTo>
                  <a:pt x="125" y="65"/>
                </a:lnTo>
                <a:lnTo>
                  <a:pt x="125" y="59"/>
                </a:lnTo>
                <a:lnTo>
                  <a:pt x="128" y="56"/>
                </a:lnTo>
                <a:lnTo>
                  <a:pt x="128" y="53"/>
                </a:lnTo>
                <a:lnTo>
                  <a:pt x="131" y="53"/>
                </a:lnTo>
                <a:lnTo>
                  <a:pt x="131" y="50"/>
                </a:lnTo>
                <a:lnTo>
                  <a:pt x="131" y="43"/>
                </a:lnTo>
                <a:lnTo>
                  <a:pt x="131" y="43"/>
                </a:lnTo>
                <a:lnTo>
                  <a:pt x="131" y="37"/>
                </a:lnTo>
                <a:lnTo>
                  <a:pt x="131" y="37"/>
                </a:lnTo>
                <a:lnTo>
                  <a:pt x="137" y="34"/>
                </a:lnTo>
                <a:lnTo>
                  <a:pt x="137" y="34"/>
                </a:lnTo>
                <a:lnTo>
                  <a:pt x="137" y="34"/>
                </a:lnTo>
                <a:lnTo>
                  <a:pt x="134" y="31"/>
                </a:lnTo>
                <a:lnTo>
                  <a:pt x="128" y="34"/>
                </a:lnTo>
                <a:lnTo>
                  <a:pt x="125" y="31"/>
                </a:lnTo>
                <a:lnTo>
                  <a:pt x="118" y="28"/>
                </a:lnTo>
                <a:lnTo>
                  <a:pt x="115" y="28"/>
                </a:lnTo>
                <a:lnTo>
                  <a:pt x="112" y="25"/>
                </a:lnTo>
                <a:lnTo>
                  <a:pt x="112" y="22"/>
                </a:lnTo>
                <a:lnTo>
                  <a:pt x="109" y="18"/>
                </a:lnTo>
                <a:lnTo>
                  <a:pt x="106" y="18"/>
                </a:lnTo>
                <a:lnTo>
                  <a:pt x="103" y="12"/>
                </a:lnTo>
                <a:lnTo>
                  <a:pt x="103" y="9"/>
                </a:lnTo>
                <a:lnTo>
                  <a:pt x="103" y="6"/>
                </a:lnTo>
                <a:lnTo>
                  <a:pt x="100" y="6"/>
                </a:lnTo>
                <a:lnTo>
                  <a:pt x="93" y="6"/>
                </a:lnTo>
                <a:lnTo>
                  <a:pt x="90" y="6"/>
                </a:lnTo>
                <a:lnTo>
                  <a:pt x="90" y="0"/>
                </a:lnTo>
                <a:lnTo>
                  <a:pt x="87" y="0"/>
                </a:lnTo>
                <a:lnTo>
                  <a:pt x="84" y="0"/>
                </a:lnTo>
                <a:lnTo>
                  <a:pt x="75" y="0"/>
                </a:lnTo>
                <a:lnTo>
                  <a:pt x="68" y="0"/>
                </a:lnTo>
                <a:lnTo>
                  <a:pt x="65" y="0"/>
                </a:lnTo>
                <a:lnTo>
                  <a:pt x="62" y="0"/>
                </a:lnTo>
                <a:lnTo>
                  <a:pt x="56" y="6"/>
                </a:lnTo>
                <a:lnTo>
                  <a:pt x="56" y="6"/>
                </a:lnTo>
                <a:lnTo>
                  <a:pt x="56" y="9"/>
                </a:lnTo>
                <a:lnTo>
                  <a:pt x="53" y="9"/>
                </a:lnTo>
                <a:lnTo>
                  <a:pt x="50" y="12"/>
                </a:lnTo>
                <a:lnTo>
                  <a:pt x="40" y="15"/>
                </a:lnTo>
                <a:lnTo>
                  <a:pt x="37" y="22"/>
                </a:lnTo>
                <a:lnTo>
                  <a:pt x="37" y="28"/>
                </a:lnTo>
                <a:lnTo>
                  <a:pt x="40" y="34"/>
                </a:lnTo>
                <a:lnTo>
                  <a:pt x="40" y="40"/>
                </a:lnTo>
                <a:lnTo>
                  <a:pt x="37" y="47"/>
                </a:lnTo>
                <a:lnTo>
                  <a:pt x="37" y="50"/>
                </a:lnTo>
                <a:lnTo>
                  <a:pt x="37" y="56"/>
                </a:lnTo>
                <a:lnTo>
                  <a:pt x="34" y="62"/>
                </a:lnTo>
                <a:lnTo>
                  <a:pt x="34" y="65"/>
                </a:lnTo>
                <a:lnTo>
                  <a:pt x="0" y="90"/>
                </a:lnTo>
                <a:lnTo>
                  <a:pt x="0" y="90"/>
                </a:lnTo>
                <a:lnTo>
                  <a:pt x="0" y="90"/>
                </a:lnTo>
                <a:lnTo>
                  <a:pt x="9" y="115"/>
                </a:lnTo>
                <a:lnTo>
                  <a:pt x="25" y="115"/>
                </a:lnTo>
                <a:lnTo>
                  <a:pt x="118" y="181"/>
                </a:lnTo>
                <a:lnTo>
                  <a:pt x="156" y="181"/>
                </a:lnTo>
                <a:lnTo>
                  <a:pt x="159" y="172"/>
                </a:lnTo>
                <a:lnTo>
                  <a:pt x="162" y="162"/>
                </a:lnTo>
                <a:lnTo>
                  <a:pt x="172" y="159"/>
                </a:lnTo>
                <a:lnTo>
                  <a:pt x="178" y="162"/>
                </a:lnTo>
                <a:lnTo>
                  <a:pt x="184" y="159"/>
                </a:lnTo>
                <a:lnTo>
                  <a:pt x="184" y="162"/>
                </a:lnTo>
                <a:lnTo>
                  <a:pt x="187" y="156"/>
                </a:lnTo>
                <a:lnTo>
                  <a:pt x="190" y="156"/>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8" name="Freeform 86">
            <a:extLst>
              <a:ext uri="{FF2B5EF4-FFF2-40B4-BE49-F238E27FC236}">
                <a16:creationId xmlns:a16="http://schemas.microsoft.com/office/drawing/2014/main" id="{239BC775-BCCD-2BB4-6489-846312735CCE}"/>
              </a:ext>
            </a:extLst>
          </p:cNvPr>
          <p:cNvSpPr>
            <a:spLocks/>
          </p:cNvSpPr>
          <p:nvPr userDrawn="1"/>
        </p:nvSpPr>
        <p:spPr bwMode="auto">
          <a:xfrm>
            <a:off x="16007309" y="7419259"/>
            <a:ext cx="98420" cy="111126"/>
          </a:xfrm>
          <a:custGeom>
            <a:avLst/>
            <a:gdLst>
              <a:gd name="T0" fmla="*/ 0 w 31"/>
              <a:gd name="T1" fmla="*/ 22 h 35"/>
              <a:gd name="T2" fmla="*/ 3 w 31"/>
              <a:gd name="T3" fmla="*/ 13 h 35"/>
              <a:gd name="T4" fmla="*/ 6 w 31"/>
              <a:gd name="T5" fmla="*/ 3 h 35"/>
              <a:gd name="T6" fmla="*/ 16 w 31"/>
              <a:gd name="T7" fmla="*/ 0 h 35"/>
              <a:gd name="T8" fmla="*/ 22 w 31"/>
              <a:gd name="T9" fmla="*/ 3 h 35"/>
              <a:gd name="T10" fmla="*/ 28 w 31"/>
              <a:gd name="T11" fmla="*/ 0 h 35"/>
              <a:gd name="T12" fmla="*/ 28 w 31"/>
              <a:gd name="T13" fmla="*/ 3 h 35"/>
              <a:gd name="T14" fmla="*/ 28 w 31"/>
              <a:gd name="T15" fmla="*/ 3 h 35"/>
              <a:gd name="T16" fmla="*/ 31 w 31"/>
              <a:gd name="T17" fmla="*/ 13 h 35"/>
              <a:gd name="T18" fmla="*/ 19 w 31"/>
              <a:gd name="T19" fmla="*/ 16 h 35"/>
              <a:gd name="T20" fmla="*/ 28 w 31"/>
              <a:gd name="T21" fmla="*/ 19 h 35"/>
              <a:gd name="T22" fmla="*/ 28 w 31"/>
              <a:gd name="T23" fmla="*/ 19 h 35"/>
              <a:gd name="T24" fmla="*/ 28 w 31"/>
              <a:gd name="T25" fmla="*/ 22 h 35"/>
              <a:gd name="T26" fmla="*/ 28 w 31"/>
              <a:gd name="T27" fmla="*/ 25 h 35"/>
              <a:gd name="T28" fmla="*/ 31 w 31"/>
              <a:gd name="T29" fmla="*/ 25 h 35"/>
              <a:gd name="T30" fmla="*/ 31 w 31"/>
              <a:gd name="T31" fmla="*/ 25 h 35"/>
              <a:gd name="T32" fmla="*/ 31 w 31"/>
              <a:gd name="T33" fmla="*/ 28 h 35"/>
              <a:gd name="T34" fmla="*/ 31 w 31"/>
              <a:gd name="T35" fmla="*/ 28 h 35"/>
              <a:gd name="T36" fmla="*/ 19 w 31"/>
              <a:gd name="T37" fmla="*/ 35 h 35"/>
              <a:gd name="T38" fmla="*/ 19 w 31"/>
              <a:gd name="T39" fmla="*/ 28 h 35"/>
              <a:gd name="T40" fmla="*/ 0 w 31"/>
              <a:gd name="T41" fmla="*/ 22 h 35"/>
              <a:gd name="T42" fmla="*/ 0 w 31"/>
              <a:gd name="T43"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5">
                <a:moveTo>
                  <a:pt x="0" y="22"/>
                </a:moveTo>
                <a:lnTo>
                  <a:pt x="3" y="13"/>
                </a:lnTo>
                <a:lnTo>
                  <a:pt x="6" y="3"/>
                </a:lnTo>
                <a:lnTo>
                  <a:pt x="16" y="0"/>
                </a:lnTo>
                <a:lnTo>
                  <a:pt x="22" y="3"/>
                </a:lnTo>
                <a:lnTo>
                  <a:pt x="28" y="0"/>
                </a:lnTo>
                <a:lnTo>
                  <a:pt x="28" y="3"/>
                </a:lnTo>
                <a:lnTo>
                  <a:pt x="28" y="3"/>
                </a:lnTo>
                <a:lnTo>
                  <a:pt x="31" y="13"/>
                </a:lnTo>
                <a:lnTo>
                  <a:pt x="19" y="16"/>
                </a:lnTo>
                <a:lnTo>
                  <a:pt x="28" y="19"/>
                </a:lnTo>
                <a:lnTo>
                  <a:pt x="28" y="19"/>
                </a:lnTo>
                <a:lnTo>
                  <a:pt x="28" y="22"/>
                </a:lnTo>
                <a:lnTo>
                  <a:pt x="28" y="25"/>
                </a:lnTo>
                <a:lnTo>
                  <a:pt x="31" y="25"/>
                </a:lnTo>
                <a:lnTo>
                  <a:pt x="31" y="25"/>
                </a:lnTo>
                <a:lnTo>
                  <a:pt x="31" y="28"/>
                </a:lnTo>
                <a:lnTo>
                  <a:pt x="31" y="28"/>
                </a:lnTo>
                <a:lnTo>
                  <a:pt x="19" y="35"/>
                </a:lnTo>
                <a:lnTo>
                  <a:pt x="19" y="28"/>
                </a:lnTo>
                <a:lnTo>
                  <a:pt x="0" y="22"/>
                </a:lnTo>
                <a:lnTo>
                  <a:pt x="0" y="22"/>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89" name="Freeform 87">
            <a:extLst>
              <a:ext uri="{FF2B5EF4-FFF2-40B4-BE49-F238E27FC236}">
                <a16:creationId xmlns:a16="http://schemas.microsoft.com/office/drawing/2014/main" id="{6951549B-0CB6-8403-7057-290677120776}"/>
              </a:ext>
            </a:extLst>
          </p:cNvPr>
          <p:cNvSpPr>
            <a:spLocks/>
          </p:cNvSpPr>
          <p:nvPr userDrawn="1"/>
        </p:nvSpPr>
        <p:spPr bwMode="auto">
          <a:xfrm>
            <a:off x="15092967" y="7041432"/>
            <a:ext cx="139693" cy="79376"/>
          </a:xfrm>
          <a:custGeom>
            <a:avLst/>
            <a:gdLst>
              <a:gd name="T0" fmla="*/ 10 w 44"/>
              <a:gd name="T1" fmla="*/ 25 h 25"/>
              <a:gd name="T2" fmla="*/ 3 w 44"/>
              <a:gd name="T3" fmla="*/ 22 h 25"/>
              <a:gd name="T4" fmla="*/ 0 w 44"/>
              <a:gd name="T5" fmla="*/ 19 h 25"/>
              <a:gd name="T6" fmla="*/ 0 w 44"/>
              <a:gd name="T7" fmla="*/ 13 h 25"/>
              <a:gd name="T8" fmla="*/ 3 w 44"/>
              <a:gd name="T9" fmla="*/ 13 h 25"/>
              <a:gd name="T10" fmla="*/ 7 w 44"/>
              <a:gd name="T11" fmla="*/ 10 h 25"/>
              <a:gd name="T12" fmla="*/ 10 w 44"/>
              <a:gd name="T13" fmla="*/ 13 h 25"/>
              <a:gd name="T14" fmla="*/ 13 w 44"/>
              <a:gd name="T15" fmla="*/ 13 h 25"/>
              <a:gd name="T16" fmla="*/ 13 w 44"/>
              <a:gd name="T17" fmla="*/ 10 h 25"/>
              <a:gd name="T18" fmla="*/ 13 w 44"/>
              <a:gd name="T19" fmla="*/ 7 h 25"/>
              <a:gd name="T20" fmla="*/ 19 w 44"/>
              <a:gd name="T21" fmla="*/ 7 h 25"/>
              <a:gd name="T22" fmla="*/ 22 w 44"/>
              <a:gd name="T23" fmla="*/ 10 h 25"/>
              <a:gd name="T24" fmla="*/ 25 w 44"/>
              <a:gd name="T25" fmla="*/ 7 h 25"/>
              <a:gd name="T26" fmla="*/ 35 w 44"/>
              <a:gd name="T27" fmla="*/ 3 h 25"/>
              <a:gd name="T28" fmla="*/ 41 w 44"/>
              <a:gd name="T29" fmla="*/ 0 h 25"/>
              <a:gd name="T30" fmla="*/ 44 w 44"/>
              <a:gd name="T31" fmla="*/ 0 h 25"/>
              <a:gd name="T32" fmla="*/ 44 w 44"/>
              <a:gd name="T33" fmla="*/ 0 h 25"/>
              <a:gd name="T34" fmla="*/ 44 w 44"/>
              <a:gd name="T35" fmla="*/ 3 h 25"/>
              <a:gd name="T36" fmla="*/ 38 w 44"/>
              <a:gd name="T37" fmla="*/ 7 h 25"/>
              <a:gd name="T38" fmla="*/ 35 w 44"/>
              <a:gd name="T39" fmla="*/ 10 h 25"/>
              <a:gd name="T40" fmla="*/ 35 w 44"/>
              <a:gd name="T41" fmla="*/ 16 h 25"/>
              <a:gd name="T42" fmla="*/ 35 w 44"/>
              <a:gd name="T43" fmla="*/ 19 h 25"/>
              <a:gd name="T44" fmla="*/ 32 w 44"/>
              <a:gd name="T45" fmla="*/ 19 h 25"/>
              <a:gd name="T46" fmla="*/ 28 w 44"/>
              <a:gd name="T47" fmla="*/ 19 h 25"/>
              <a:gd name="T48" fmla="*/ 22 w 44"/>
              <a:gd name="T49" fmla="*/ 22 h 25"/>
              <a:gd name="T50" fmla="*/ 19 w 44"/>
              <a:gd name="T51" fmla="*/ 25 h 25"/>
              <a:gd name="T52" fmla="*/ 16 w 44"/>
              <a:gd name="T53" fmla="*/ 25 h 25"/>
              <a:gd name="T54" fmla="*/ 13 w 44"/>
              <a:gd name="T55" fmla="*/ 25 h 25"/>
              <a:gd name="T56" fmla="*/ 10 w 44"/>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 h="25">
                <a:moveTo>
                  <a:pt x="10" y="25"/>
                </a:moveTo>
                <a:lnTo>
                  <a:pt x="3" y="22"/>
                </a:lnTo>
                <a:lnTo>
                  <a:pt x="0" y="19"/>
                </a:lnTo>
                <a:lnTo>
                  <a:pt x="0" y="13"/>
                </a:lnTo>
                <a:lnTo>
                  <a:pt x="3" y="13"/>
                </a:lnTo>
                <a:lnTo>
                  <a:pt x="7" y="10"/>
                </a:lnTo>
                <a:lnTo>
                  <a:pt x="10" y="13"/>
                </a:lnTo>
                <a:lnTo>
                  <a:pt x="13" y="13"/>
                </a:lnTo>
                <a:lnTo>
                  <a:pt x="13" y="10"/>
                </a:lnTo>
                <a:lnTo>
                  <a:pt x="13" y="7"/>
                </a:lnTo>
                <a:lnTo>
                  <a:pt x="19" y="7"/>
                </a:lnTo>
                <a:lnTo>
                  <a:pt x="22" y="10"/>
                </a:lnTo>
                <a:lnTo>
                  <a:pt x="25" y="7"/>
                </a:lnTo>
                <a:lnTo>
                  <a:pt x="35" y="3"/>
                </a:lnTo>
                <a:lnTo>
                  <a:pt x="41" y="0"/>
                </a:lnTo>
                <a:lnTo>
                  <a:pt x="44" y="0"/>
                </a:lnTo>
                <a:lnTo>
                  <a:pt x="44" y="0"/>
                </a:lnTo>
                <a:lnTo>
                  <a:pt x="44" y="3"/>
                </a:lnTo>
                <a:lnTo>
                  <a:pt x="38" y="7"/>
                </a:lnTo>
                <a:lnTo>
                  <a:pt x="35" y="10"/>
                </a:lnTo>
                <a:lnTo>
                  <a:pt x="35" y="16"/>
                </a:lnTo>
                <a:lnTo>
                  <a:pt x="35" y="19"/>
                </a:lnTo>
                <a:lnTo>
                  <a:pt x="32" y="19"/>
                </a:lnTo>
                <a:lnTo>
                  <a:pt x="28" y="19"/>
                </a:lnTo>
                <a:lnTo>
                  <a:pt x="22" y="22"/>
                </a:lnTo>
                <a:lnTo>
                  <a:pt x="19" y="25"/>
                </a:lnTo>
                <a:lnTo>
                  <a:pt x="16" y="25"/>
                </a:lnTo>
                <a:lnTo>
                  <a:pt x="13" y="25"/>
                </a:lnTo>
                <a:lnTo>
                  <a:pt x="10" y="25"/>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0" name="Freeform 88">
            <a:extLst>
              <a:ext uri="{FF2B5EF4-FFF2-40B4-BE49-F238E27FC236}">
                <a16:creationId xmlns:a16="http://schemas.microsoft.com/office/drawing/2014/main" id="{A9F214AB-770D-1909-1CD0-6A6BC67938CE}"/>
              </a:ext>
            </a:extLst>
          </p:cNvPr>
          <p:cNvSpPr>
            <a:spLocks/>
          </p:cNvSpPr>
          <p:nvPr userDrawn="1"/>
        </p:nvSpPr>
        <p:spPr bwMode="auto">
          <a:xfrm>
            <a:off x="15302505" y="6923961"/>
            <a:ext cx="387325" cy="346078"/>
          </a:xfrm>
          <a:custGeom>
            <a:avLst/>
            <a:gdLst>
              <a:gd name="T0" fmla="*/ 100 w 122"/>
              <a:gd name="T1" fmla="*/ 62 h 109"/>
              <a:gd name="T2" fmla="*/ 103 w 122"/>
              <a:gd name="T3" fmla="*/ 53 h 109"/>
              <a:gd name="T4" fmla="*/ 103 w 122"/>
              <a:gd name="T5" fmla="*/ 44 h 109"/>
              <a:gd name="T6" fmla="*/ 106 w 122"/>
              <a:gd name="T7" fmla="*/ 31 h 109"/>
              <a:gd name="T8" fmla="*/ 103 w 122"/>
              <a:gd name="T9" fmla="*/ 19 h 109"/>
              <a:gd name="T10" fmla="*/ 116 w 122"/>
              <a:gd name="T11" fmla="*/ 9 h 109"/>
              <a:gd name="T12" fmla="*/ 122 w 122"/>
              <a:gd name="T13" fmla="*/ 6 h 109"/>
              <a:gd name="T14" fmla="*/ 122 w 122"/>
              <a:gd name="T15" fmla="*/ 0 h 109"/>
              <a:gd name="T16" fmla="*/ 106 w 122"/>
              <a:gd name="T17" fmla="*/ 3 h 109"/>
              <a:gd name="T18" fmla="*/ 94 w 122"/>
              <a:gd name="T19" fmla="*/ 3 h 109"/>
              <a:gd name="T20" fmla="*/ 81 w 122"/>
              <a:gd name="T21" fmla="*/ 6 h 109"/>
              <a:gd name="T22" fmla="*/ 75 w 122"/>
              <a:gd name="T23" fmla="*/ 9 h 109"/>
              <a:gd name="T24" fmla="*/ 63 w 122"/>
              <a:gd name="T25" fmla="*/ 12 h 109"/>
              <a:gd name="T26" fmla="*/ 56 w 122"/>
              <a:gd name="T27" fmla="*/ 9 h 109"/>
              <a:gd name="T28" fmla="*/ 41 w 122"/>
              <a:gd name="T29" fmla="*/ 9 h 109"/>
              <a:gd name="T30" fmla="*/ 38 w 122"/>
              <a:gd name="T31" fmla="*/ 9 h 109"/>
              <a:gd name="T32" fmla="*/ 25 w 122"/>
              <a:gd name="T33" fmla="*/ 12 h 109"/>
              <a:gd name="T34" fmla="*/ 16 w 122"/>
              <a:gd name="T35" fmla="*/ 15 h 109"/>
              <a:gd name="T36" fmla="*/ 16 w 122"/>
              <a:gd name="T37" fmla="*/ 25 h 109"/>
              <a:gd name="T38" fmla="*/ 9 w 122"/>
              <a:gd name="T39" fmla="*/ 31 h 109"/>
              <a:gd name="T40" fmla="*/ 3 w 122"/>
              <a:gd name="T41" fmla="*/ 31 h 109"/>
              <a:gd name="T42" fmla="*/ 0 w 122"/>
              <a:gd name="T43" fmla="*/ 31 h 109"/>
              <a:gd name="T44" fmla="*/ 3 w 122"/>
              <a:gd name="T45" fmla="*/ 44 h 109"/>
              <a:gd name="T46" fmla="*/ 3 w 122"/>
              <a:gd name="T47" fmla="*/ 53 h 109"/>
              <a:gd name="T48" fmla="*/ 12 w 122"/>
              <a:gd name="T49" fmla="*/ 62 h 109"/>
              <a:gd name="T50" fmla="*/ 19 w 122"/>
              <a:gd name="T51" fmla="*/ 65 h 109"/>
              <a:gd name="T52" fmla="*/ 19 w 122"/>
              <a:gd name="T53" fmla="*/ 75 h 109"/>
              <a:gd name="T54" fmla="*/ 16 w 122"/>
              <a:gd name="T55" fmla="*/ 78 h 109"/>
              <a:gd name="T56" fmla="*/ 9 w 122"/>
              <a:gd name="T57" fmla="*/ 84 h 109"/>
              <a:gd name="T58" fmla="*/ 6 w 122"/>
              <a:gd name="T59" fmla="*/ 87 h 109"/>
              <a:gd name="T60" fmla="*/ 9 w 122"/>
              <a:gd name="T61" fmla="*/ 94 h 109"/>
              <a:gd name="T62" fmla="*/ 9 w 122"/>
              <a:gd name="T63" fmla="*/ 103 h 109"/>
              <a:gd name="T64" fmla="*/ 19 w 122"/>
              <a:gd name="T65" fmla="*/ 106 h 109"/>
              <a:gd name="T66" fmla="*/ 22 w 122"/>
              <a:gd name="T67" fmla="*/ 109 h 109"/>
              <a:gd name="T68" fmla="*/ 66 w 122"/>
              <a:gd name="T69" fmla="*/ 8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2" h="109">
                <a:moveTo>
                  <a:pt x="66" y="87"/>
                </a:moveTo>
                <a:lnTo>
                  <a:pt x="100" y="62"/>
                </a:lnTo>
                <a:lnTo>
                  <a:pt x="100" y="59"/>
                </a:lnTo>
                <a:lnTo>
                  <a:pt x="103" y="53"/>
                </a:lnTo>
                <a:lnTo>
                  <a:pt x="103" y="47"/>
                </a:lnTo>
                <a:lnTo>
                  <a:pt x="103" y="44"/>
                </a:lnTo>
                <a:lnTo>
                  <a:pt x="106" y="37"/>
                </a:lnTo>
                <a:lnTo>
                  <a:pt x="106" y="31"/>
                </a:lnTo>
                <a:lnTo>
                  <a:pt x="103" y="25"/>
                </a:lnTo>
                <a:lnTo>
                  <a:pt x="103" y="19"/>
                </a:lnTo>
                <a:lnTo>
                  <a:pt x="106" y="12"/>
                </a:lnTo>
                <a:lnTo>
                  <a:pt x="116" y="9"/>
                </a:lnTo>
                <a:lnTo>
                  <a:pt x="119" y="6"/>
                </a:lnTo>
                <a:lnTo>
                  <a:pt x="122" y="6"/>
                </a:lnTo>
                <a:lnTo>
                  <a:pt x="122" y="3"/>
                </a:lnTo>
                <a:lnTo>
                  <a:pt x="122" y="0"/>
                </a:lnTo>
                <a:lnTo>
                  <a:pt x="116" y="0"/>
                </a:lnTo>
                <a:lnTo>
                  <a:pt x="106" y="3"/>
                </a:lnTo>
                <a:lnTo>
                  <a:pt x="97" y="3"/>
                </a:lnTo>
                <a:lnTo>
                  <a:pt x="94" y="3"/>
                </a:lnTo>
                <a:lnTo>
                  <a:pt x="88" y="3"/>
                </a:lnTo>
                <a:lnTo>
                  <a:pt x="81" y="6"/>
                </a:lnTo>
                <a:lnTo>
                  <a:pt x="78" y="9"/>
                </a:lnTo>
                <a:lnTo>
                  <a:pt x="75" y="9"/>
                </a:lnTo>
                <a:lnTo>
                  <a:pt x="72" y="12"/>
                </a:lnTo>
                <a:lnTo>
                  <a:pt x="63" y="12"/>
                </a:lnTo>
                <a:lnTo>
                  <a:pt x="56" y="9"/>
                </a:lnTo>
                <a:lnTo>
                  <a:pt x="56" y="9"/>
                </a:lnTo>
                <a:lnTo>
                  <a:pt x="53" y="6"/>
                </a:lnTo>
                <a:lnTo>
                  <a:pt x="41" y="9"/>
                </a:lnTo>
                <a:lnTo>
                  <a:pt x="38" y="9"/>
                </a:lnTo>
                <a:lnTo>
                  <a:pt x="38" y="9"/>
                </a:lnTo>
                <a:lnTo>
                  <a:pt x="28" y="15"/>
                </a:lnTo>
                <a:lnTo>
                  <a:pt x="25" y="12"/>
                </a:lnTo>
                <a:lnTo>
                  <a:pt x="19" y="12"/>
                </a:lnTo>
                <a:lnTo>
                  <a:pt x="16" y="15"/>
                </a:lnTo>
                <a:lnTo>
                  <a:pt x="16" y="22"/>
                </a:lnTo>
                <a:lnTo>
                  <a:pt x="16" y="25"/>
                </a:lnTo>
                <a:lnTo>
                  <a:pt x="16" y="28"/>
                </a:lnTo>
                <a:lnTo>
                  <a:pt x="9" y="31"/>
                </a:lnTo>
                <a:lnTo>
                  <a:pt x="6" y="31"/>
                </a:lnTo>
                <a:lnTo>
                  <a:pt x="3" y="31"/>
                </a:lnTo>
                <a:lnTo>
                  <a:pt x="3" y="31"/>
                </a:lnTo>
                <a:lnTo>
                  <a:pt x="0" y="31"/>
                </a:lnTo>
                <a:lnTo>
                  <a:pt x="0" y="37"/>
                </a:lnTo>
                <a:lnTo>
                  <a:pt x="3" y="44"/>
                </a:lnTo>
                <a:lnTo>
                  <a:pt x="6" y="50"/>
                </a:lnTo>
                <a:lnTo>
                  <a:pt x="3" y="53"/>
                </a:lnTo>
                <a:lnTo>
                  <a:pt x="3" y="59"/>
                </a:lnTo>
                <a:lnTo>
                  <a:pt x="12" y="62"/>
                </a:lnTo>
                <a:lnTo>
                  <a:pt x="16" y="65"/>
                </a:lnTo>
                <a:lnTo>
                  <a:pt x="19" y="65"/>
                </a:lnTo>
                <a:lnTo>
                  <a:pt x="19" y="72"/>
                </a:lnTo>
                <a:lnTo>
                  <a:pt x="19" y="75"/>
                </a:lnTo>
                <a:lnTo>
                  <a:pt x="16" y="78"/>
                </a:lnTo>
                <a:lnTo>
                  <a:pt x="16" y="78"/>
                </a:lnTo>
                <a:lnTo>
                  <a:pt x="9" y="78"/>
                </a:lnTo>
                <a:lnTo>
                  <a:pt x="9" y="84"/>
                </a:lnTo>
                <a:lnTo>
                  <a:pt x="6" y="87"/>
                </a:lnTo>
                <a:lnTo>
                  <a:pt x="6" y="87"/>
                </a:lnTo>
                <a:lnTo>
                  <a:pt x="6" y="90"/>
                </a:lnTo>
                <a:lnTo>
                  <a:pt x="9" y="94"/>
                </a:lnTo>
                <a:lnTo>
                  <a:pt x="9" y="100"/>
                </a:lnTo>
                <a:lnTo>
                  <a:pt x="9" y="103"/>
                </a:lnTo>
                <a:lnTo>
                  <a:pt x="12" y="103"/>
                </a:lnTo>
                <a:lnTo>
                  <a:pt x="19" y="106"/>
                </a:lnTo>
                <a:lnTo>
                  <a:pt x="22" y="109"/>
                </a:lnTo>
                <a:lnTo>
                  <a:pt x="22" y="109"/>
                </a:lnTo>
                <a:lnTo>
                  <a:pt x="25" y="109"/>
                </a:lnTo>
                <a:lnTo>
                  <a:pt x="66" y="87"/>
                </a:lnTo>
                <a:lnTo>
                  <a:pt x="66" y="87"/>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1" name="Freeform 89">
            <a:extLst>
              <a:ext uri="{FF2B5EF4-FFF2-40B4-BE49-F238E27FC236}">
                <a16:creationId xmlns:a16="http://schemas.microsoft.com/office/drawing/2014/main" id="{1F848FEE-3FEE-988B-C64F-C2442FDC3FCC}"/>
              </a:ext>
            </a:extLst>
          </p:cNvPr>
          <p:cNvSpPr>
            <a:spLocks/>
          </p:cNvSpPr>
          <p:nvPr userDrawn="1"/>
        </p:nvSpPr>
        <p:spPr bwMode="auto">
          <a:xfrm>
            <a:off x="15223132" y="7200182"/>
            <a:ext cx="98420" cy="279400"/>
          </a:xfrm>
          <a:custGeom>
            <a:avLst/>
            <a:gdLst>
              <a:gd name="T0" fmla="*/ 19 w 31"/>
              <a:gd name="T1" fmla="*/ 88 h 88"/>
              <a:gd name="T2" fmla="*/ 22 w 31"/>
              <a:gd name="T3" fmla="*/ 85 h 88"/>
              <a:gd name="T4" fmla="*/ 22 w 31"/>
              <a:gd name="T5" fmla="*/ 85 h 88"/>
              <a:gd name="T6" fmla="*/ 22 w 31"/>
              <a:gd name="T7" fmla="*/ 82 h 88"/>
              <a:gd name="T8" fmla="*/ 25 w 31"/>
              <a:gd name="T9" fmla="*/ 79 h 88"/>
              <a:gd name="T10" fmla="*/ 25 w 31"/>
              <a:gd name="T11" fmla="*/ 75 h 88"/>
              <a:gd name="T12" fmla="*/ 25 w 31"/>
              <a:gd name="T13" fmla="*/ 69 h 88"/>
              <a:gd name="T14" fmla="*/ 25 w 31"/>
              <a:gd name="T15" fmla="*/ 63 h 88"/>
              <a:gd name="T16" fmla="*/ 25 w 31"/>
              <a:gd name="T17" fmla="*/ 63 h 88"/>
              <a:gd name="T18" fmla="*/ 25 w 31"/>
              <a:gd name="T19" fmla="*/ 60 h 88"/>
              <a:gd name="T20" fmla="*/ 28 w 31"/>
              <a:gd name="T21" fmla="*/ 54 h 88"/>
              <a:gd name="T22" fmla="*/ 28 w 31"/>
              <a:gd name="T23" fmla="*/ 50 h 88"/>
              <a:gd name="T24" fmla="*/ 28 w 31"/>
              <a:gd name="T25" fmla="*/ 44 h 88"/>
              <a:gd name="T26" fmla="*/ 25 w 31"/>
              <a:gd name="T27" fmla="*/ 44 h 88"/>
              <a:gd name="T28" fmla="*/ 25 w 31"/>
              <a:gd name="T29" fmla="*/ 44 h 88"/>
              <a:gd name="T30" fmla="*/ 22 w 31"/>
              <a:gd name="T31" fmla="*/ 44 h 88"/>
              <a:gd name="T32" fmla="*/ 19 w 31"/>
              <a:gd name="T33" fmla="*/ 44 h 88"/>
              <a:gd name="T34" fmla="*/ 19 w 31"/>
              <a:gd name="T35" fmla="*/ 38 h 88"/>
              <a:gd name="T36" fmla="*/ 19 w 31"/>
              <a:gd name="T37" fmla="*/ 29 h 88"/>
              <a:gd name="T38" fmla="*/ 19 w 31"/>
              <a:gd name="T39" fmla="*/ 25 h 88"/>
              <a:gd name="T40" fmla="*/ 19 w 31"/>
              <a:gd name="T41" fmla="*/ 19 h 88"/>
              <a:gd name="T42" fmla="*/ 25 w 31"/>
              <a:gd name="T43" fmla="*/ 19 h 88"/>
              <a:gd name="T44" fmla="*/ 25 w 31"/>
              <a:gd name="T45" fmla="*/ 22 h 88"/>
              <a:gd name="T46" fmla="*/ 25 w 31"/>
              <a:gd name="T47" fmla="*/ 25 h 88"/>
              <a:gd name="T48" fmla="*/ 28 w 31"/>
              <a:gd name="T49" fmla="*/ 22 h 88"/>
              <a:gd name="T50" fmla="*/ 28 w 31"/>
              <a:gd name="T51" fmla="*/ 19 h 88"/>
              <a:gd name="T52" fmla="*/ 28 w 31"/>
              <a:gd name="T53" fmla="*/ 19 h 88"/>
              <a:gd name="T54" fmla="*/ 28 w 31"/>
              <a:gd name="T55" fmla="*/ 19 h 88"/>
              <a:gd name="T56" fmla="*/ 28 w 31"/>
              <a:gd name="T57" fmla="*/ 16 h 88"/>
              <a:gd name="T58" fmla="*/ 28 w 31"/>
              <a:gd name="T59" fmla="*/ 10 h 88"/>
              <a:gd name="T60" fmla="*/ 28 w 31"/>
              <a:gd name="T61" fmla="*/ 3 h 88"/>
              <a:gd name="T62" fmla="*/ 31 w 31"/>
              <a:gd name="T63" fmla="*/ 0 h 88"/>
              <a:gd name="T64" fmla="*/ 28 w 31"/>
              <a:gd name="T65" fmla="*/ 0 h 88"/>
              <a:gd name="T66" fmla="*/ 28 w 31"/>
              <a:gd name="T67" fmla="*/ 7 h 88"/>
              <a:gd name="T68" fmla="*/ 22 w 31"/>
              <a:gd name="T69" fmla="*/ 7 h 88"/>
              <a:gd name="T70" fmla="*/ 19 w 31"/>
              <a:gd name="T71" fmla="*/ 7 h 88"/>
              <a:gd name="T72" fmla="*/ 12 w 31"/>
              <a:gd name="T73" fmla="*/ 10 h 88"/>
              <a:gd name="T74" fmla="*/ 12 w 31"/>
              <a:gd name="T75" fmla="*/ 25 h 88"/>
              <a:gd name="T76" fmla="*/ 6 w 31"/>
              <a:gd name="T77" fmla="*/ 35 h 88"/>
              <a:gd name="T78" fmla="*/ 0 w 31"/>
              <a:gd name="T79" fmla="*/ 44 h 88"/>
              <a:gd name="T80" fmla="*/ 3 w 31"/>
              <a:gd name="T81" fmla="*/ 44 h 88"/>
              <a:gd name="T82" fmla="*/ 6 w 31"/>
              <a:gd name="T83" fmla="*/ 50 h 88"/>
              <a:gd name="T84" fmla="*/ 9 w 31"/>
              <a:gd name="T85" fmla="*/ 57 h 88"/>
              <a:gd name="T86" fmla="*/ 16 w 31"/>
              <a:gd name="T87" fmla="*/ 66 h 88"/>
              <a:gd name="T88" fmla="*/ 19 w 31"/>
              <a:gd name="T89" fmla="*/ 75 h 88"/>
              <a:gd name="T90" fmla="*/ 16 w 31"/>
              <a:gd name="T91" fmla="*/ 82 h 88"/>
              <a:gd name="T92" fmla="*/ 19 w 31"/>
              <a:gd name="T9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1" h="88">
                <a:moveTo>
                  <a:pt x="19" y="88"/>
                </a:moveTo>
                <a:lnTo>
                  <a:pt x="22" y="85"/>
                </a:lnTo>
                <a:lnTo>
                  <a:pt x="22" y="85"/>
                </a:lnTo>
                <a:lnTo>
                  <a:pt x="22" y="82"/>
                </a:lnTo>
                <a:lnTo>
                  <a:pt x="25" y="79"/>
                </a:lnTo>
                <a:lnTo>
                  <a:pt x="25" y="75"/>
                </a:lnTo>
                <a:lnTo>
                  <a:pt x="25" y="69"/>
                </a:lnTo>
                <a:lnTo>
                  <a:pt x="25" y="63"/>
                </a:lnTo>
                <a:lnTo>
                  <a:pt x="25" y="63"/>
                </a:lnTo>
                <a:lnTo>
                  <a:pt x="25" y="60"/>
                </a:lnTo>
                <a:lnTo>
                  <a:pt x="28" y="54"/>
                </a:lnTo>
                <a:lnTo>
                  <a:pt x="28" y="50"/>
                </a:lnTo>
                <a:lnTo>
                  <a:pt x="28" y="44"/>
                </a:lnTo>
                <a:lnTo>
                  <a:pt x="25" y="44"/>
                </a:lnTo>
                <a:lnTo>
                  <a:pt x="25" y="44"/>
                </a:lnTo>
                <a:lnTo>
                  <a:pt x="22" y="44"/>
                </a:lnTo>
                <a:lnTo>
                  <a:pt x="19" y="44"/>
                </a:lnTo>
                <a:lnTo>
                  <a:pt x="19" y="38"/>
                </a:lnTo>
                <a:lnTo>
                  <a:pt x="19" y="29"/>
                </a:lnTo>
                <a:lnTo>
                  <a:pt x="19" y="25"/>
                </a:lnTo>
                <a:lnTo>
                  <a:pt x="19" y="19"/>
                </a:lnTo>
                <a:lnTo>
                  <a:pt x="25" y="19"/>
                </a:lnTo>
                <a:lnTo>
                  <a:pt x="25" y="22"/>
                </a:lnTo>
                <a:lnTo>
                  <a:pt x="25" y="25"/>
                </a:lnTo>
                <a:lnTo>
                  <a:pt x="28" y="22"/>
                </a:lnTo>
                <a:lnTo>
                  <a:pt x="28" y="19"/>
                </a:lnTo>
                <a:lnTo>
                  <a:pt x="28" y="19"/>
                </a:lnTo>
                <a:lnTo>
                  <a:pt x="28" y="19"/>
                </a:lnTo>
                <a:lnTo>
                  <a:pt x="28" y="16"/>
                </a:lnTo>
                <a:lnTo>
                  <a:pt x="28" y="10"/>
                </a:lnTo>
                <a:lnTo>
                  <a:pt x="28" y="3"/>
                </a:lnTo>
                <a:lnTo>
                  <a:pt x="31" y="0"/>
                </a:lnTo>
                <a:lnTo>
                  <a:pt x="28" y="0"/>
                </a:lnTo>
                <a:lnTo>
                  <a:pt x="28" y="7"/>
                </a:lnTo>
                <a:lnTo>
                  <a:pt x="22" y="7"/>
                </a:lnTo>
                <a:lnTo>
                  <a:pt x="19" y="7"/>
                </a:lnTo>
                <a:lnTo>
                  <a:pt x="12" y="10"/>
                </a:lnTo>
                <a:lnTo>
                  <a:pt x="12" y="25"/>
                </a:lnTo>
                <a:lnTo>
                  <a:pt x="6" y="35"/>
                </a:lnTo>
                <a:lnTo>
                  <a:pt x="0" y="44"/>
                </a:lnTo>
                <a:lnTo>
                  <a:pt x="3" y="44"/>
                </a:lnTo>
                <a:lnTo>
                  <a:pt x="6" y="50"/>
                </a:lnTo>
                <a:lnTo>
                  <a:pt x="9" y="57"/>
                </a:lnTo>
                <a:lnTo>
                  <a:pt x="16" y="66"/>
                </a:lnTo>
                <a:lnTo>
                  <a:pt x="19" y="75"/>
                </a:lnTo>
                <a:lnTo>
                  <a:pt x="16" y="82"/>
                </a:lnTo>
                <a:lnTo>
                  <a:pt x="19" y="88"/>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2" name="Freeform 90">
            <a:extLst>
              <a:ext uri="{FF2B5EF4-FFF2-40B4-BE49-F238E27FC236}">
                <a16:creationId xmlns:a16="http://schemas.microsoft.com/office/drawing/2014/main" id="{CFFA66D9-E570-6028-038D-5E4D639F2DC9}"/>
              </a:ext>
            </a:extLst>
          </p:cNvPr>
          <p:cNvSpPr>
            <a:spLocks/>
          </p:cNvSpPr>
          <p:nvPr userDrawn="1"/>
        </p:nvSpPr>
        <p:spPr bwMode="auto">
          <a:xfrm>
            <a:off x="15312028" y="7200183"/>
            <a:ext cx="19049" cy="60326"/>
          </a:xfrm>
          <a:custGeom>
            <a:avLst/>
            <a:gdLst>
              <a:gd name="T0" fmla="*/ 0 w 6"/>
              <a:gd name="T1" fmla="*/ 19 h 19"/>
              <a:gd name="T2" fmla="*/ 0 w 6"/>
              <a:gd name="T3" fmla="*/ 19 h 19"/>
              <a:gd name="T4" fmla="*/ 0 w 6"/>
              <a:gd name="T5" fmla="*/ 16 h 19"/>
              <a:gd name="T6" fmla="*/ 0 w 6"/>
              <a:gd name="T7" fmla="*/ 10 h 19"/>
              <a:gd name="T8" fmla="*/ 0 w 6"/>
              <a:gd name="T9" fmla="*/ 3 h 19"/>
              <a:gd name="T10" fmla="*/ 3 w 6"/>
              <a:gd name="T11" fmla="*/ 0 h 19"/>
              <a:gd name="T12" fmla="*/ 3 w 6"/>
              <a:gd name="T13" fmla="*/ 0 h 19"/>
              <a:gd name="T14" fmla="*/ 3 w 6"/>
              <a:gd name="T15" fmla="*/ 3 h 19"/>
              <a:gd name="T16" fmla="*/ 6 w 6"/>
              <a:gd name="T17" fmla="*/ 7 h 19"/>
              <a:gd name="T18" fmla="*/ 6 w 6"/>
              <a:gd name="T19" fmla="*/ 13 h 19"/>
              <a:gd name="T20" fmla="*/ 6 w 6"/>
              <a:gd name="T21" fmla="*/ 16 h 19"/>
              <a:gd name="T22" fmla="*/ 6 w 6"/>
              <a:gd name="T23" fmla="*/ 16 h 19"/>
              <a:gd name="T24" fmla="*/ 3 w 6"/>
              <a:gd name="T25" fmla="*/ 19 h 19"/>
              <a:gd name="T26" fmla="*/ 3 w 6"/>
              <a:gd name="T27" fmla="*/ 19 h 19"/>
              <a:gd name="T28" fmla="*/ 0 w 6"/>
              <a:gd name="T2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19">
                <a:moveTo>
                  <a:pt x="0" y="19"/>
                </a:moveTo>
                <a:lnTo>
                  <a:pt x="0" y="19"/>
                </a:lnTo>
                <a:lnTo>
                  <a:pt x="0" y="16"/>
                </a:lnTo>
                <a:lnTo>
                  <a:pt x="0" y="10"/>
                </a:lnTo>
                <a:lnTo>
                  <a:pt x="0" y="3"/>
                </a:lnTo>
                <a:lnTo>
                  <a:pt x="3" y="0"/>
                </a:lnTo>
                <a:lnTo>
                  <a:pt x="3" y="0"/>
                </a:lnTo>
                <a:lnTo>
                  <a:pt x="3" y="3"/>
                </a:lnTo>
                <a:lnTo>
                  <a:pt x="6" y="7"/>
                </a:lnTo>
                <a:lnTo>
                  <a:pt x="6" y="13"/>
                </a:lnTo>
                <a:lnTo>
                  <a:pt x="6" y="16"/>
                </a:lnTo>
                <a:lnTo>
                  <a:pt x="6" y="16"/>
                </a:lnTo>
                <a:lnTo>
                  <a:pt x="3" y="19"/>
                </a:lnTo>
                <a:lnTo>
                  <a:pt x="3" y="19"/>
                </a:lnTo>
                <a:lnTo>
                  <a:pt x="0" y="19"/>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3" name="Freeform 91">
            <a:extLst>
              <a:ext uri="{FF2B5EF4-FFF2-40B4-BE49-F238E27FC236}">
                <a16:creationId xmlns:a16="http://schemas.microsoft.com/office/drawing/2014/main" id="{BE593F9C-1812-016E-E4FF-B02A0B51C4B1}"/>
              </a:ext>
            </a:extLst>
          </p:cNvPr>
          <p:cNvSpPr>
            <a:spLocks/>
          </p:cNvSpPr>
          <p:nvPr userDrawn="1"/>
        </p:nvSpPr>
        <p:spPr bwMode="auto">
          <a:xfrm>
            <a:off x="15283451" y="7260506"/>
            <a:ext cx="28574" cy="79376"/>
          </a:xfrm>
          <a:custGeom>
            <a:avLst/>
            <a:gdLst>
              <a:gd name="T0" fmla="*/ 6 w 9"/>
              <a:gd name="T1" fmla="*/ 25 h 25"/>
              <a:gd name="T2" fmla="*/ 6 w 9"/>
              <a:gd name="T3" fmla="*/ 25 h 25"/>
              <a:gd name="T4" fmla="*/ 3 w 9"/>
              <a:gd name="T5" fmla="*/ 25 h 25"/>
              <a:gd name="T6" fmla="*/ 0 w 9"/>
              <a:gd name="T7" fmla="*/ 25 h 25"/>
              <a:gd name="T8" fmla="*/ 0 w 9"/>
              <a:gd name="T9" fmla="*/ 19 h 25"/>
              <a:gd name="T10" fmla="*/ 0 w 9"/>
              <a:gd name="T11" fmla="*/ 10 h 25"/>
              <a:gd name="T12" fmla="*/ 0 w 9"/>
              <a:gd name="T13" fmla="*/ 6 h 25"/>
              <a:gd name="T14" fmla="*/ 0 w 9"/>
              <a:gd name="T15" fmla="*/ 0 h 25"/>
              <a:gd name="T16" fmla="*/ 6 w 9"/>
              <a:gd name="T17" fmla="*/ 0 h 25"/>
              <a:gd name="T18" fmla="*/ 6 w 9"/>
              <a:gd name="T19" fmla="*/ 3 h 25"/>
              <a:gd name="T20" fmla="*/ 6 w 9"/>
              <a:gd name="T21" fmla="*/ 6 h 25"/>
              <a:gd name="T22" fmla="*/ 9 w 9"/>
              <a:gd name="T23" fmla="*/ 3 h 25"/>
              <a:gd name="T24" fmla="*/ 9 w 9"/>
              <a:gd name="T25" fmla="*/ 3 h 25"/>
              <a:gd name="T26" fmla="*/ 9 w 9"/>
              <a:gd name="T27" fmla="*/ 6 h 25"/>
              <a:gd name="T28" fmla="*/ 9 w 9"/>
              <a:gd name="T29" fmla="*/ 10 h 25"/>
              <a:gd name="T30" fmla="*/ 9 w 9"/>
              <a:gd name="T31" fmla="*/ 13 h 25"/>
              <a:gd name="T32" fmla="*/ 9 w 9"/>
              <a:gd name="T33" fmla="*/ 16 h 25"/>
              <a:gd name="T34" fmla="*/ 9 w 9"/>
              <a:gd name="T35" fmla="*/ 25 h 25"/>
              <a:gd name="T36" fmla="*/ 6 w 9"/>
              <a:gd name="T3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25">
                <a:moveTo>
                  <a:pt x="6" y="25"/>
                </a:moveTo>
                <a:lnTo>
                  <a:pt x="6" y="25"/>
                </a:lnTo>
                <a:lnTo>
                  <a:pt x="3" y="25"/>
                </a:lnTo>
                <a:lnTo>
                  <a:pt x="0" y="25"/>
                </a:lnTo>
                <a:lnTo>
                  <a:pt x="0" y="19"/>
                </a:lnTo>
                <a:lnTo>
                  <a:pt x="0" y="10"/>
                </a:lnTo>
                <a:lnTo>
                  <a:pt x="0" y="6"/>
                </a:lnTo>
                <a:lnTo>
                  <a:pt x="0" y="0"/>
                </a:lnTo>
                <a:lnTo>
                  <a:pt x="6" y="0"/>
                </a:lnTo>
                <a:lnTo>
                  <a:pt x="6" y="3"/>
                </a:lnTo>
                <a:lnTo>
                  <a:pt x="6" y="6"/>
                </a:lnTo>
                <a:lnTo>
                  <a:pt x="9" y="3"/>
                </a:lnTo>
                <a:lnTo>
                  <a:pt x="9" y="3"/>
                </a:lnTo>
                <a:lnTo>
                  <a:pt x="9" y="6"/>
                </a:lnTo>
                <a:lnTo>
                  <a:pt x="9" y="10"/>
                </a:lnTo>
                <a:lnTo>
                  <a:pt x="9" y="13"/>
                </a:lnTo>
                <a:lnTo>
                  <a:pt x="9" y="16"/>
                </a:lnTo>
                <a:lnTo>
                  <a:pt x="9" y="25"/>
                </a:lnTo>
                <a:lnTo>
                  <a:pt x="6" y="25"/>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4" name="Freeform 92">
            <a:extLst>
              <a:ext uri="{FF2B5EF4-FFF2-40B4-BE49-F238E27FC236}">
                <a16:creationId xmlns:a16="http://schemas.microsoft.com/office/drawing/2014/main" id="{D925FD80-E3F1-940A-AEF5-6D54017A2971}"/>
              </a:ext>
            </a:extLst>
          </p:cNvPr>
          <p:cNvSpPr>
            <a:spLocks/>
          </p:cNvSpPr>
          <p:nvPr userDrawn="1"/>
        </p:nvSpPr>
        <p:spPr bwMode="auto">
          <a:xfrm>
            <a:off x="15283451" y="7111283"/>
            <a:ext cx="79371" cy="111126"/>
          </a:xfrm>
          <a:custGeom>
            <a:avLst/>
            <a:gdLst>
              <a:gd name="T0" fmla="*/ 0 w 25"/>
              <a:gd name="T1" fmla="*/ 35 h 35"/>
              <a:gd name="T2" fmla="*/ 3 w 25"/>
              <a:gd name="T3" fmla="*/ 35 h 35"/>
              <a:gd name="T4" fmla="*/ 9 w 25"/>
              <a:gd name="T5" fmla="*/ 35 h 35"/>
              <a:gd name="T6" fmla="*/ 9 w 25"/>
              <a:gd name="T7" fmla="*/ 28 h 35"/>
              <a:gd name="T8" fmla="*/ 12 w 25"/>
              <a:gd name="T9" fmla="*/ 28 h 35"/>
              <a:gd name="T10" fmla="*/ 15 w 25"/>
              <a:gd name="T11" fmla="*/ 25 h 35"/>
              <a:gd name="T12" fmla="*/ 15 w 25"/>
              <a:gd name="T13" fmla="*/ 19 h 35"/>
              <a:gd name="T14" fmla="*/ 22 w 25"/>
              <a:gd name="T15" fmla="*/ 19 h 35"/>
              <a:gd name="T16" fmla="*/ 22 w 25"/>
              <a:gd name="T17" fmla="*/ 19 h 35"/>
              <a:gd name="T18" fmla="*/ 25 w 25"/>
              <a:gd name="T19" fmla="*/ 16 h 35"/>
              <a:gd name="T20" fmla="*/ 25 w 25"/>
              <a:gd name="T21" fmla="*/ 13 h 35"/>
              <a:gd name="T22" fmla="*/ 25 w 25"/>
              <a:gd name="T23" fmla="*/ 6 h 35"/>
              <a:gd name="T24" fmla="*/ 22 w 25"/>
              <a:gd name="T25" fmla="*/ 6 h 35"/>
              <a:gd name="T26" fmla="*/ 18 w 25"/>
              <a:gd name="T27" fmla="*/ 3 h 35"/>
              <a:gd name="T28" fmla="*/ 9 w 25"/>
              <a:gd name="T29" fmla="*/ 0 h 35"/>
              <a:gd name="T30" fmla="*/ 9 w 25"/>
              <a:gd name="T31" fmla="*/ 3 h 35"/>
              <a:gd name="T32" fmla="*/ 6 w 25"/>
              <a:gd name="T33" fmla="*/ 3 h 35"/>
              <a:gd name="T34" fmla="*/ 6 w 25"/>
              <a:gd name="T35" fmla="*/ 16 h 35"/>
              <a:gd name="T36" fmla="*/ 3 w 25"/>
              <a:gd name="T37" fmla="*/ 22 h 35"/>
              <a:gd name="T38" fmla="*/ 0 w 25"/>
              <a:gd name="T39" fmla="*/ 28 h 35"/>
              <a:gd name="T40" fmla="*/ 0 w 25"/>
              <a:gd name="T41" fmla="*/ 31 h 35"/>
              <a:gd name="T42" fmla="*/ 0 w 25"/>
              <a:gd name="T4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35">
                <a:moveTo>
                  <a:pt x="0" y="35"/>
                </a:moveTo>
                <a:lnTo>
                  <a:pt x="3" y="35"/>
                </a:lnTo>
                <a:lnTo>
                  <a:pt x="9" y="35"/>
                </a:lnTo>
                <a:lnTo>
                  <a:pt x="9" y="28"/>
                </a:lnTo>
                <a:lnTo>
                  <a:pt x="12" y="28"/>
                </a:lnTo>
                <a:lnTo>
                  <a:pt x="15" y="25"/>
                </a:lnTo>
                <a:lnTo>
                  <a:pt x="15" y="19"/>
                </a:lnTo>
                <a:lnTo>
                  <a:pt x="22" y="19"/>
                </a:lnTo>
                <a:lnTo>
                  <a:pt x="22" y="19"/>
                </a:lnTo>
                <a:lnTo>
                  <a:pt x="25" y="16"/>
                </a:lnTo>
                <a:lnTo>
                  <a:pt x="25" y="13"/>
                </a:lnTo>
                <a:lnTo>
                  <a:pt x="25" y="6"/>
                </a:lnTo>
                <a:lnTo>
                  <a:pt x="22" y="6"/>
                </a:lnTo>
                <a:lnTo>
                  <a:pt x="18" y="3"/>
                </a:lnTo>
                <a:lnTo>
                  <a:pt x="9" y="0"/>
                </a:lnTo>
                <a:lnTo>
                  <a:pt x="9" y="3"/>
                </a:lnTo>
                <a:lnTo>
                  <a:pt x="6" y="3"/>
                </a:lnTo>
                <a:lnTo>
                  <a:pt x="6" y="16"/>
                </a:lnTo>
                <a:lnTo>
                  <a:pt x="3" y="22"/>
                </a:lnTo>
                <a:lnTo>
                  <a:pt x="0" y="28"/>
                </a:lnTo>
                <a:lnTo>
                  <a:pt x="0" y="31"/>
                </a:lnTo>
                <a:lnTo>
                  <a:pt x="0" y="35"/>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5" name="Freeform 93">
            <a:extLst>
              <a:ext uri="{FF2B5EF4-FFF2-40B4-BE49-F238E27FC236}">
                <a16:creationId xmlns:a16="http://schemas.microsoft.com/office/drawing/2014/main" id="{14B79F9A-3E2F-786E-C342-5B5A8613AD4C}"/>
              </a:ext>
            </a:extLst>
          </p:cNvPr>
          <p:cNvSpPr>
            <a:spLocks/>
          </p:cNvSpPr>
          <p:nvPr userDrawn="1"/>
        </p:nvSpPr>
        <p:spPr bwMode="auto">
          <a:xfrm>
            <a:off x="15283451" y="7200182"/>
            <a:ext cx="257159" cy="307976"/>
          </a:xfrm>
          <a:custGeom>
            <a:avLst/>
            <a:gdLst>
              <a:gd name="T0" fmla="*/ 3 w 81"/>
              <a:gd name="T1" fmla="*/ 85 h 97"/>
              <a:gd name="T2" fmla="*/ 3 w 81"/>
              <a:gd name="T3" fmla="*/ 85 h 97"/>
              <a:gd name="T4" fmla="*/ 3 w 81"/>
              <a:gd name="T5" fmla="*/ 82 h 97"/>
              <a:gd name="T6" fmla="*/ 6 w 81"/>
              <a:gd name="T7" fmla="*/ 79 h 97"/>
              <a:gd name="T8" fmla="*/ 6 w 81"/>
              <a:gd name="T9" fmla="*/ 75 h 97"/>
              <a:gd name="T10" fmla="*/ 6 w 81"/>
              <a:gd name="T11" fmla="*/ 69 h 97"/>
              <a:gd name="T12" fmla="*/ 6 w 81"/>
              <a:gd name="T13" fmla="*/ 63 h 97"/>
              <a:gd name="T14" fmla="*/ 6 w 81"/>
              <a:gd name="T15" fmla="*/ 63 h 97"/>
              <a:gd name="T16" fmla="*/ 6 w 81"/>
              <a:gd name="T17" fmla="*/ 60 h 97"/>
              <a:gd name="T18" fmla="*/ 9 w 81"/>
              <a:gd name="T19" fmla="*/ 54 h 97"/>
              <a:gd name="T20" fmla="*/ 9 w 81"/>
              <a:gd name="T21" fmla="*/ 50 h 97"/>
              <a:gd name="T22" fmla="*/ 9 w 81"/>
              <a:gd name="T23" fmla="*/ 35 h 97"/>
              <a:gd name="T24" fmla="*/ 9 w 81"/>
              <a:gd name="T25" fmla="*/ 32 h 97"/>
              <a:gd name="T26" fmla="*/ 9 w 81"/>
              <a:gd name="T27" fmla="*/ 29 h 97"/>
              <a:gd name="T28" fmla="*/ 9 w 81"/>
              <a:gd name="T29" fmla="*/ 25 h 97"/>
              <a:gd name="T30" fmla="*/ 9 w 81"/>
              <a:gd name="T31" fmla="*/ 22 h 97"/>
              <a:gd name="T32" fmla="*/ 9 w 81"/>
              <a:gd name="T33" fmla="*/ 19 h 97"/>
              <a:gd name="T34" fmla="*/ 12 w 81"/>
              <a:gd name="T35" fmla="*/ 19 h 97"/>
              <a:gd name="T36" fmla="*/ 12 w 81"/>
              <a:gd name="T37" fmla="*/ 19 h 97"/>
              <a:gd name="T38" fmla="*/ 15 w 81"/>
              <a:gd name="T39" fmla="*/ 16 h 97"/>
              <a:gd name="T40" fmla="*/ 18 w 81"/>
              <a:gd name="T41" fmla="*/ 16 h 97"/>
              <a:gd name="T42" fmla="*/ 25 w 81"/>
              <a:gd name="T43" fmla="*/ 19 h 97"/>
              <a:gd name="T44" fmla="*/ 28 w 81"/>
              <a:gd name="T45" fmla="*/ 22 h 97"/>
              <a:gd name="T46" fmla="*/ 28 w 81"/>
              <a:gd name="T47" fmla="*/ 22 h 97"/>
              <a:gd name="T48" fmla="*/ 31 w 81"/>
              <a:gd name="T49" fmla="*/ 22 h 97"/>
              <a:gd name="T50" fmla="*/ 72 w 81"/>
              <a:gd name="T51" fmla="*/ 0 h 97"/>
              <a:gd name="T52" fmla="*/ 81 w 81"/>
              <a:gd name="T53" fmla="*/ 25 h 97"/>
              <a:gd name="T54" fmla="*/ 78 w 81"/>
              <a:gd name="T55" fmla="*/ 25 h 97"/>
              <a:gd name="T56" fmla="*/ 72 w 81"/>
              <a:gd name="T57" fmla="*/ 32 h 97"/>
              <a:gd name="T58" fmla="*/ 44 w 81"/>
              <a:gd name="T59" fmla="*/ 41 h 97"/>
              <a:gd name="T60" fmla="*/ 65 w 81"/>
              <a:gd name="T61" fmla="*/ 66 h 97"/>
              <a:gd name="T62" fmla="*/ 56 w 81"/>
              <a:gd name="T63" fmla="*/ 75 h 97"/>
              <a:gd name="T64" fmla="*/ 56 w 81"/>
              <a:gd name="T65" fmla="*/ 82 h 97"/>
              <a:gd name="T66" fmla="*/ 40 w 81"/>
              <a:gd name="T67" fmla="*/ 82 h 97"/>
              <a:gd name="T68" fmla="*/ 28 w 81"/>
              <a:gd name="T69" fmla="*/ 97 h 97"/>
              <a:gd name="T70" fmla="*/ 6 w 81"/>
              <a:gd name="T71" fmla="*/ 91 h 97"/>
              <a:gd name="T72" fmla="*/ 0 w 81"/>
              <a:gd name="T73" fmla="*/ 91 h 97"/>
              <a:gd name="T74" fmla="*/ 3 w 81"/>
              <a:gd name="T75" fmla="*/ 91 h 97"/>
              <a:gd name="T76" fmla="*/ 3 w 81"/>
              <a:gd name="T77" fmla="*/ 85 h 97"/>
              <a:gd name="T78" fmla="*/ 3 w 81"/>
              <a:gd name="T79" fmla="*/ 85 h 97"/>
              <a:gd name="T80" fmla="*/ 3 w 81"/>
              <a:gd name="T81" fmla="*/ 8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97">
                <a:moveTo>
                  <a:pt x="3" y="85"/>
                </a:moveTo>
                <a:lnTo>
                  <a:pt x="3" y="85"/>
                </a:lnTo>
                <a:lnTo>
                  <a:pt x="3" y="82"/>
                </a:lnTo>
                <a:lnTo>
                  <a:pt x="6" y="79"/>
                </a:lnTo>
                <a:lnTo>
                  <a:pt x="6" y="75"/>
                </a:lnTo>
                <a:lnTo>
                  <a:pt x="6" y="69"/>
                </a:lnTo>
                <a:lnTo>
                  <a:pt x="6" y="63"/>
                </a:lnTo>
                <a:lnTo>
                  <a:pt x="6" y="63"/>
                </a:lnTo>
                <a:lnTo>
                  <a:pt x="6" y="60"/>
                </a:lnTo>
                <a:lnTo>
                  <a:pt x="9" y="54"/>
                </a:lnTo>
                <a:lnTo>
                  <a:pt x="9" y="50"/>
                </a:lnTo>
                <a:lnTo>
                  <a:pt x="9" y="35"/>
                </a:lnTo>
                <a:lnTo>
                  <a:pt x="9" y="32"/>
                </a:lnTo>
                <a:lnTo>
                  <a:pt x="9" y="29"/>
                </a:lnTo>
                <a:lnTo>
                  <a:pt x="9" y="25"/>
                </a:lnTo>
                <a:lnTo>
                  <a:pt x="9" y="22"/>
                </a:lnTo>
                <a:lnTo>
                  <a:pt x="9" y="19"/>
                </a:lnTo>
                <a:lnTo>
                  <a:pt x="12" y="19"/>
                </a:lnTo>
                <a:lnTo>
                  <a:pt x="12" y="19"/>
                </a:lnTo>
                <a:lnTo>
                  <a:pt x="15" y="16"/>
                </a:lnTo>
                <a:lnTo>
                  <a:pt x="18" y="16"/>
                </a:lnTo>
                <a:lnTo>
                  <a:pt x="25" y="19"/>
                </a:lnTo>
                <a:lnTo>
                  <a:pt x="28" y="22"/>
                </a:lnTo>
                <a:lnTo>
                  <a:pt x="28" y="22"/>
                </a:lnTo>
                <a:lnTo>
                  <a:pt x="31" y="22"/>
                </a:lnTo>
                <a:lnTo>
                  <a:pt x="72" y="0"/>
                </a:lnTo>
                <a:lnTo>
                  <a:pt x="81" y="25"/>
                </a:lnTo>
                <a:lnTo>
                  <a:pt x="78" y="25"/>
                </a:lnTo>
                <a:lnTo>
                  <a:pt x="72" y="32"/>
                </a:lnTo>
                <a:lnTo>
                  <a:pt x="44" y="41"/>
                </a:lnTo>
                <a:lnTo>
                  <a:pt x="65" y="66"/>
                </a:lnTo>
                <a:lnTo>
                  <a:pt x="56" y="75"/>
                </a:lnTo>
                <a:lnTo>
                  <a:pt x="56" y="82"/>
                </a:lnTo>
                <a:lnTo>
                  <a:pt x="40" y="82"/>
                </a:lnTo>
                <a:lnTo>
                  <a:pt x="28" y="97"/>
                </a:lnTo>
                <a:lnTo>
                  <a:pt x="6" y="91"/>
                </a:lnTo>
                <a:lnTo>
                  <a:pt x="0" y="91"/>
                </a:lnTo>
                <a:lnTo>
                  <a:pt x="3" y="91"/>
                </a:lnTo>
                <a:lnTo>
                  <a:pt x="3" y="85"/>
                </a:lnTo>
                <a:lnTo>
                  <a:pt x="3" y="85"/>
                </a:lnTo>
                <a:lnTo>
                  <a:pt x="3" y="85"/>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6" name="Freeform 94">
            <a:extLst>
              <a:ext uri="{FF2B5EF4-FFF2-40B4-BE49-F238E27FC236}">
                <a16:creationId xmlns:a16="http://schemas.microsoft.com/office/drawing/2014/main" id="{C128A7BA-E35E-E6E8-D3E8-8DB53DFC319A}"/>
              </a:ext>
            </a:extLst>
          </p:cNvPr>
          <p:cNvSpPr>
            <a:spLocks/>
          </p:cNvSpPr>
          <p:nvPr userDrawn="1"/>
        </p:nvSpPr>
        <p:spPr bwMode="auto">
          <a:xfrm>
            <a:off x="15283454" y="7279558"/>
            <a:ext cx="1288966" cy="1092200"/>
          </a:xfrm>
          <a:custGeom>
            <a:avLst/>
            <a:gdLst>
              <a:gd name="T0" fmla="*/ 247 w 406"/>
              <a:gd name="T1" fmla="*/ 72 h 344"/>
              <a:gd name="T2" fmla="*/ 97 w 406"/>
              <a:gd name="T3" fmla="*/ 0 h 344"/>
              <a:gd name="T4" fmla="*/ 44 w 406"/>
              <a:gd name="T5" fmla="*/ 16 h 344"/>
              <a:gd name="T6" fmla="*/ 56 w 406"/>
              <a:gd name="T7" fmla="*/ 57 h 344"/>
              <a:gd name="T8" fmla="*/ 6 w 406"/>
              <a:gd name="T9" fmla="*/ 66 h 344"/>
              <a:gd name="T10" fmla="*/ 0 w 406"/>
              <a:gd name="T11" fmla="*/ 82 h 344"/>
              <a:gd name="T12" fmla="*/ 3 w 406"/>
              <a:gd name="T13" fmla="*/ 88 h 344"/>
              <a:gd name="T14" fmla="*/ 9 w 406"/>
              <a:gd name="T15" fmla="*/ 91 h 344"/>
              <a:gd name="T16" fmla="*/ 18 w 406"/>
              <a:gd name="T17" fmla="*/ 107 h 344"/>
              <a:gd name="T18" fmla="*/ 25 w 406"/>
              <a:gd name="T19" fmla="*/ 113 h 344"/>
              <a:gd name="T20" fmla="*/ 34 w 406"/>
              <a:gd name="T21" fmla="*/ 129 h 344"/>
              <a:gd name="T22" fmla="*/ 37 w 406"/>
              <a:gd name="T23" fmla="*/ 135 h 344"/>
              <a:gd name="T24" fmla="*/ 50 w 406"/>
              <a:gd name="T25" fmla="*/ 151 h 344"/>
              <a:gd name="T26" fmla="*/ 53 w 406"/>
              <a:gd name="T27" fmla="*/ 160 h 344"/>
              <a:gd name="T28" fmla="*/ 56 w 406"/>
              <a:gd name="T29" fmla="*/ 169 h 344"/>
              <a:gd name="T30" fmla="*/ 65 w 406"/>
              <a:gd name="T31" fmla="*/ 172 h 344"/>
              <a:gd name="T32" fmla="*/ 78 w 406"/>
              <a:gd name="T33" fmla="*/ 185 h 344"/>
              <a:gd name="T34" fmla="*/ 81 w 406"/>
              <a:gd name="T35" fmla="*/ 191 h 344"/>
              <a:gd name="T36" fmla="*/ 90 w 406"/>
              <a:gd name="T37" fmla="*/ 207 h 344"/>
              <a:gd name="T38" fmla="*/ 87 w 406"/>
              <a:gd name="T39" fmla="*/ 216 h 344"/>
              <a:gd name="T40" fmla="*/ 90 w 406"/>
              <a:gd name="T41" fmla="*/ 235 h 344"/>
              <a:gd name="T42" fmla="*/ 106 w 406"/>
              <a:gd name="T43" fmla="*/ 251 h 344"/>
              <a:gd name="T44" fmla="*/ 115 w 406"/>
              <a:gd name="T45" fmla="*/ 257 h 344"/>
              <a:gd name="T46" fmla="*/ 125 w 406"/>
              <a:gd name="T47" fmla="*/ 266 h 344"/>
              <a:gd name="T48" fmla="*/ 131 w 406"/>
              <a:gd name="T49" fmla="*/ 269 h 344"/>
              <a:gd name="T50" fmla="*/ 140 w 406"/>
              <a:gd name="T51" fmla="*/ 294 h 344"/>
              <a:gd name="T52" fmla="*/ 159 w 406"/>
              <a:gd name="T53" fmla="*/ 319 h 344"/>
              <a:gd name="T54" fmla="*/ 172 w 406"/>
              <a:gd name="T55" fmla="*/ 329 h 344"/>
              <a:gd name="T56" fmla="*/ 181 w 406"/>
              <a:gd name="T57" fmla="*/ 323 h 344"/>
              <a:gd name="T58" fmla="*/ 184 w 406"/>
              <a:gd name="T59" fmla="*/ 307 h 344"/>
              <a:gd name="T60" fmla="*/ 222 w 406"/>
              <a:gd name="T61" fmla="*/ 316 h 344"/>
              <a:gd name="T62" fmla="*/ 275 w 406"/>
              <a:gd name="T63" fmla="*/ 294 h 344"/>
              <a:gd name="T64" fmla="*/ 403 w 406"/>
              <a:gd name="T65" fmla="*/ 197 h 344"/>
              <a:gd name="T66" fmla="*/ 337 w 406"/>
              <a:gd name="T67" fmla="*/ 194 h 344"/>
              <a:gd name="T68" fmla="*/ 331 w 406"/>
              <a:gd name="T69" fmla="*/ 169 h 344"/>
              <a:gd name="T70" fmla="*/ 328 w 406"/>
              <a:gd name="T71" fmla="*/ 166 h 344"/>
              <a:gd name="T72" fmla="*/ 325 w 406"/>
              <a:gd name="T73" fmla="*/ 160 h 344"/>
              <a:gd name="T74" fmla="*/ 315 w 406"/>
              <a:gd name="T75" fmla="*/ 157 h 344"/>
              <a:gd name="T76" fmla="*/ 309 w 406"/>
              <a:gd name="T77" fmla="*/ 151 h 344"/>
              <a:gd name="T78" fmla="*/ 297 w 406"/>
              <a:gd name="T79" fmla="*/ 129 h 344"/>
              <a:gd name="T80" fmla="*/ 297 w 406"/>
              <a:gd name="T81" fmla="*/ 119 h 344"/>
              <a:gd name="T82" fmla="*/ 290 w 406"/>
              <a:gd name="T83" fmla="*/ 113 h 344"/>
              <a:gd name="T84" fmla="*/ 281 w 406"/>
              <a:gd name="T85" fmla="*/ 100 h 344"/>
              <a:gd name="T86" fmla="*/ 284 w 406"/>
              <a:gd name="T87" fmla="*/ 97 h 344"/>
              <a:gd name="T88" fmla="*/ 272 w 406"/>
              <a:gd name="T89" fmla="*/ 94 h 344"/>
              <a:gd name="T90" fmla="*/ 262 w 406"/>
              <a:gd name="T91" fmla="*/ 79 h 344"/>
              <a:gd name="T92" fmla="*/ 259 w 406"/>
              <a:gd name="T93" fmla="*/ 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6" h="344">
                <a:moveTo>
                  <a:pt x="259" y="72"/>
                </a:moveTo>
                <a:lnTo>
                  <a:pt x="247" y="79"/>
                </a:lnTo>
                <a:lnTo>
                  <a:pt x="247" y="72"/>
                </a:lnTo>
                <a:lnTo>
                  <a:pt x="228" y="66"/>
                </a:lnTo>
                <a:lnTo>
                  <a:pt x="190" y="66"/>
                </a:lnTo>
                <a:lnTo>
                  <a:pt x="97" y="0"/>
                </a:lnTo>
                <a:lnTo>
                  <a:pt x="78" y="0"/>
                </a:lnTo>
                <a:lnTo>
                  <a:pt x="72" y="7"/>
                </a:lnTo>
                <a:lnTo>
                  <a:pt x="44" y="16"/>
                </a:lnTo>
                <a:lnTo>
                  <a:pt x="65" y="41"/>
                </a:lnTo>
                <a:lnTo>
                  <a:pt x="56" y="50"/>
                </a:lnTo>
                <a:lnTo>
                  <a:pt x="56" y="57"/>
                </a:lnTo>
                <a:lnTo>
                  <a:pt x="40" y="57"/>
                </a:lnTo>
                <a:lnTo>
                  <a:pt x="28" y="72"/>
                </a:lnTo>
                <a:lnTo>
                  <a:pt x="6" y="66"/>
                </a:lnTo>
                <a:lnTo>
                  <a:pt x="0" y="66"/>
                </a:lnTo>
                <a:lnTo>
                  <a:pt x="0" y="72"/>
                </a:lnTo>
                <a:lnTo>
                  <a:pt x="0" y="82"/>
                </a:lnTo>
                <a:lnTo>
                  <a:pt x="0" y="88"/>
                </a:lnTo>
                <a:lnTo>
                  <a:pt x="0" y="91"/>
                </a:lnTo>
                <a:lnTo>
                  <a:pt x="3" y="88"/>
                </a:lnTo>
                <a:lnTo>
                  <a:pt x="3" y="91"/>
                </a:lnTo>
                <a:lnTo>
                  <a:pt x="6" y="88"/>
                </a:lnTo>
                <a:lnTo>
                  <a:pt x="9" y="91"/>
                </a:lnTo>
                <a:lnTo>
                  <a:pt x="9" y="91"/>
                </a:lnTo>
                <a:lnTo>
                  <a:pt x="18" y="100"/>
                </a:lnTo>
                <a:lnTo>
                  <a:pt x="18" y="107"/>
                </a:lnTo>
                <a:lnTo>
                  <a:pt x="22" y="107"/>
                </a:lnTo>
                <a:lnTo>
                  <a:pt x="22" y="110"/>
                </a:lnTo>
                <a:lnTo>
                  <a:pt x="25" y="113"/>
                </a:lnTo>
                <a:lnTo>
                  <a:pt x="28" y="113"/>
                </a:lnTo>
                <a:lnTo>
                  <a:pt x="34" y="126"/>
                </a:lnTo>
                <a:lnTo>
                  <a:pt x="34" y="129"/>
                </a:lnTo>
                <a:lnTo>
                  <a:pt x="34" y="132"/>
                </a:lnTo>
                <a:lnTo>
                  <a:pt x="37" y="132"/>
                </a:lnTo>
                <a:lnTo>
                  <a:pt x="37" y="135"/>
                </a:lnTo>
                <a:lnTo>
                  <a:pt x="40" y="138"/>
                </a:lnTo>
                <a:lnTo>
                  <a:pt x="47" y="141"/>
                </a:lnTo>
                <a:lnTo>
                  <a:pt x="50" y="151"/>
                </a:lnTo>
                <a:lnTo>
                  <a:pt x="53" y="151"/>
                </a:lnTo>
                <a:lnTo>
                  <a:pt x="53" y="157"/>
                </a:lnTo>
                <a:lnTo>
                  <a:pt x="53" y="160"/>
                </a:lnTo>
                <a:lnTo>
                  <a:pt x="53" y="163"/>
                </a:lnTo>
                <a:lnTo>
                  <a:pt x="56" y="166"/>
                </a:lnTo>
                <a:lnTo>
                  <a:pt x="56" y="169"/>
                </a:lnTo>
                <a:lnTo>
                  <a:pt x="59" y="172"/>
                </a:lnTo>
                <a:lnTo>
                  <a:pt x="62" y="169"/>
                </a:lnTo>
                <a:lnTo>
                  <a:pt x="65" y="172"/>
                </a:lnTo>
                <a:lnTo>
                  <a:pt x="72" y="176"/>
                </a:lnTo>
                <a:lnTo>
                  <a:pt x="78" y="179"/>
                </a:lnTo>
                <a:lnTo>
                  <a:pt x="78" y="185"/>
                </a:lnTo>
                <a:lnTo>
                  <a:pt x="81" y="185"/>
                </a:lnTo>
                <a:lnTo>
                  <a:pt x="81" y="188"/>
                </a:lnTo>
                <a:lnTo>
                  <a:pt x="81" y="191"/>
                </a:lnTo>
                <a:lnTo>
                  <a:pt x="84" y="197"/>
                </a:lnTo>
                <a:lnTo>
                  <a:pt x="87" y="201"/>
                </a:lnTo>
                <a:lnTo>
                  <a:pt x="90" y="207"/>
                </a:lnTo>
                <a:lnTo>
                  <a:pt x="90" y="210"/>
                </a:lnTo>
                <a:lnTo>
                  <a:pt x="87" y="216"/>
                </a:lnTo>
                <a:lnTo>
                  <a:pt x="87" y="216"/>
                </a:lnTo>
                <a:lnTo>
                  <a:pt x="87" y="219"/>
                </a:lnTo>
                <a:lnTo>
                  <a:pt x="90" y="229"/>
                </a:lnTo>
                <a:lnTo>
                  <a:pt x="90" y="235"/>
                </a:lnTo>
                <a:lnTo>
                  <a:pt x="94" y="238"/>
                </a:lnTo>
                <a:lnTo>
                  <a:pt x="97" y="241"/>
                </a:lnTo>
                <a:lnTo>
                  <a:pt x="106" y="251"/>
                </a:lnTo>
                <a:lnTo>
                  <a:pt x="109" y="254"/>
                </a:lnTo>
                <a:lnTo>
                  <a:pt x="112" y="254"/>
                </a:lnTo>
                <a:lnTo>
                  <a:pt x="115" y="257"/>
                </a:lnTo>
                <a:lnTo>
                  <a:pt x="119" y="257"/>
                </a:lnTo>
                <a:lnTo>
                  <a:pt x="122" y="263"/>
                </a:lnTo>
                <a:lnTo>
                  <a:pt x="125" y="266"/>
                </a:lnTo>
                <a:lnTo>
                  <a:pt x="128" y="266"/>
                </a:lnTo>
                <a:lnTo>
                  <a:pt x="128" y="269"/>
                </a:lnTo>
                <a:lnTo>
                  <a:pt x="131" y="269"/>
                </a:lnTo>
                <a:lnTo>
                  <a:pt x="134" y="288"/>
                </a:lnTo>
                <a:lnTo>
                  <a:pt x="140" y="288"/>
                </a:lnTo>
                <a:lnTo>
                  <a:pt x="140" y="294"/>
                </a:lnTo>
                <a:lnTo>
                  <a:pt x="153" y="310"/>
                </a:lnTo>
                <a:lnTo>
                  <a:pt x="156" y="310"/>
                </a:lnTo>
                <a:lnTo>
                  <a:pt x="159" y="319"/>
                </a:lnTo>
                <a:lnTo>
                  <a:pt x="165" y="319"/>
                </a:lnTo>
                <a:lnTo>
                  <a:pt x="169" y="329"/>
                </a:lnTo>
                <a:lnTo>
                  <a:pt x="172" y="329"/>
                </a:lnTo>
                <a:lnTo>
                  <a:pt x="175" y="332"/>
                </a:lnTo>
                <a:lnTo>
                  <a:pt x="175" y="329"/>
                </a:lnTo>
                <a:lnTo>
                  <a:pt x="181" y="323"/>
                </a:lnTo>
                <a:lnTo>
                  <a:pt x="178" y="316"/>
                </a:lnTo>
                <a:lnTo>
                  <a:pt x="181" y="307"/>
                </a:lnTo>
                <a:lnTo>
                  <a:pt x="184" y="307"/>
                </a:lnTo>
                <a:lnTo>
                  <a:pt x="190" y="310"/>
                </a:lnTo>
                <a:lnTo>
                  <a:pt x="203" y="310"/>
                </a:lnTo>
                <a:lnTo>
                  <a:pt x="222" y="316"/>
                </a:lnTo>
                <a:lnTo>
                  <a:pt x="237" y="326"/>
                </a:lnTo>
                <a:lnTo>
                  <a:pt x="237" y="344"/>
                </a:lnTo>
                <a:lnTo>
                  <a:pt x="275" y="294"/>
                </a:lnTo>
                <a:lnTo>
                  <a:pt x="403" y="257"/>
                </a:lnTo>
                <a:lnTo>
                  <a:pt x="406" y="213"/>
                </a:lnTo>
                <a:lnTo>
                  <a:pt x="403" y="197"/>
                </a:lnTo>
                <a:lnTo>
                  <a:pt x="403" y="197"/>
                </a:lnTo>
                <a:lnTo>
                  <a:pt x="397" y="204"/>
                </a:lnTo>
                <a:lnTo>
                  <a:pt x="337" y="194"/>
                </a:lnTo>
                <a:lnTo>
                  <a:pt x="334" y="179"/>
                </a:lnTo>
                <a:lnTo>
                  <a:pt x="331" y="176"/>
                </a:lnTo>
                <a:lnTo>
                  <a:pt x="331" y="169"/>
                </a:lnTo>
                <a:lnTo>
                  <a:pt x="331" y="169"/>
                </a:lnTo>
                <a:lnTo>
                  <a:pt x="328" y="169"/>
                </a:lnTo>
                <a:lnTo>
                  <a:pt x="328" y="166"/>
                </a:lnTo>
                <a:lnTo>
                  <a:pt x="328" y="163"/>
                </a:lnTo>
                <a:lnTo>
                  <a:pt x="328" y="160"/>
                </a:lnTo>
                <a:lnTo>
                  <a:pt x="325" y="160"/>
                </a:lnTo>
                <a:lnTo>
                  <a:pt x="325" y="160"/>
                </a:lnTo>
                <a:lnTo>
                  <a:pt x="322" y="160"/>
                </a:lnTo>
                <a:lnTo>
                  <a:pt x="315" y="157"/>
                </a:lnTo>
                <a:lnTo>
                  <a:pt x="315" y="154"/>
                </a:lnTo>
                <a:lnTo>
                  <a:pt x="312" y="157"/>
                </a:lnTo>
                <a:lnTo>
                  <a:pt x="309" y="151"/>
                </a:lnTo>
                <a:lnTo>
                  <a:pt x="309" y="147"/>
                </a:lnTo>
                <a:lnTo>
                  <a:pt x="300" y="135"/>
                </a:lnTo>
                <a:lnTo>
                  <a:pt x="297" y="129"/>
                </a:lnTo>
                <a:lnTo>
                  <a:pt x="300" y="129"/>
                </a:lnTo>
                <a:lnTo>
                  <a:pt x="300" y="129"/>
                </a:lnTo>
                <a:lnTo>
                  <a:pt x="297" y="119"/>
                </a:lnTo>
                <a:lnTo>
                  <a:pt x="297" y="116"/>
                </a:lnTo>
                <a:lnTo>
                  <a:pt x="294" y="113"/>
                </a:lnTo>
                <a:lnTo>
                  <a:pt x="290" y="113"/>
                </a:lnTo>
                <a:lnTo>
                  <a:pt x="284" y="104"/>
                </a:lnTo>
                <a:lnTo>
                  <a:pt x="281" y="104"/>
                </a:lnTo>
                <a:lnTo>
                  <a:pt x="281" y="100"/>
                </a:lnTo>
                <a:lnTo>
                  <a:pt x="281" y="97"/>
                </a:lnTo>
                <a:lnTo>
                  <a:pt x="281" y="97"/>
                </a:lnTo>
                <a:lnTo>
                  <a:pt x="284" y="97"/>
                </a:lnTo>
                <a:lnTo>
                  <a:pt x="281" y="97"/>
                </a:lnTo>
                <a:lnTo>
                  <a:pt x="278" y="94"/>
                </a:lnTo>
                <a:lnTo>
                  <a:pt x="272" y="94"/>
                </a:lnTo>
                <a:lnTo>
                  <a:pt x="269" y="85"/>
                </a:lnTo>
                <a:lnTo>
                  <a:pt x="265" y="79"/>
                </a:lnTo>
                <a:lnTo>
                  <a:pt x="262" y="79"/>
                </a:lnTo>
                <a:lnTo>
                  <a:pt x="262" y="75"/>
                </a:lnTo>
                <a:lnTo>
                  <a:pt x="262" y="75"/>
                </a:lnTo>
                <a:lnTo>
                  <a:pt x="259" y="72"/>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7" name="Freeform 95">
            <a:extLst>
              <a:ext uri="{FF2B5EF4-FFF2-40B4-BE49-F238E27FC236}">
                <a16:creationId xmlns:a16="http://schemas.microsoft.com/office/drawing/2014/main" id="{C66698BB-650A-3C9C-6301-3E84B12E28A2}"/>
              </a:ext>
            </a:extLst>
          </p:cNvPr>
          <p:cNvSpPr>
            <a:spLocks/>
          </p:cNvSpPr>
          <p:nvPr userDrawn="1"/>
        </p:nvSpPr>
        <p:spPr bwMode="auto">
          <a:xfrm>
            <a:off x="16273987" y="7689133"/>
            <a:ext cx="50797" cy="98426"/>
          </a:xfrm>
          <a:custGeom>
            <a:avLst/>
            <a:gdLst>
              <a:gd name="T0" fmla="*/ 13 w 16"/>
              <a:gd name="T1" fmla="*/ 31 h 31"/>
              <a:gd name="T2" fmla="*/ 10 w 16"/>
              <a:gd name="T3" fmla="*/ 31 h 31"/>
              <a:gd name="T4" fmla="*/ 3 w 16"/>
              <a:gd name="T5" fmla="*/ 28 h 31"/>
              <a:gd name="T6" fmla="*/ 3 w 16"/>
              <a:gd name="T7" fmla="*/ 25 h 31"/>
              <a:gd name="T8" fmla="*/ 3 w 16"/>
              <a:gd name="T9" fmla="*/ 25 h 31"/>
              <a:gd name="T10" fmla="*/ 3 w 16"/>
              <a:gd name="T11" fmla="*/ 22 h 31"/>
              <a:gd name="T12" fmla="*/ 3 w 16"/>
              <a:gd name="T13" fmla="*/ 18 h 31"/>
              <a:gd name="T14" fmla="*/ 0 w 16"/>
              <a:gd name="T15" fmla="*/ 18 h 31"/>
              <a:gd name="T16" fmla="*/ 3 w 16"/>
              <a:gd name="T17" fmla="*/ 12 h 31"/>
              <a:gd name="T18" fmla="*/ 3 w 16"/>
              <a:gd name="T19" fmla="*/ 12 h 31"/>
              <a:gd name="T20" fmla="*/ 3 w 16"/>
              <a:gd name="T21" fmla="*/ 12 h 31"/>
              <a:gd name="T22" fmla="*/ 3 w 16"/>
              <a:gd name="T23" fmla="*/ 6 h 31"/>
              <a:gd name="T24" fmla="*/ 3 w 16"/>
              <a:gd name="T25" fmla="*/ 6 h 31"/>
              <a:gd name="T26" fmla="*/ 3 w 16"/>
              <a:gd name="T27" fmla="*/ 3 h 31"/>
              <a:gd name="T28" fmla="*/ 7 w 16"/>
              <a:gd name="T29" fmla="*/ 3 h 31"/>
              <a:gd name="T30" fmla="*/ 7 w 16"/>
              <a:gd name="T31" fmla="*/ 0 h 31"/>
              <a:gd name="T32" fmla="*/ 7 w 16"/>
              <a:gd name="T33" fmla="*/ 0 h 31"/>
              <a:gd name="T34" fmla="*/ 7 w 16"/>
              <a:gd name="T35" fmla="*/ 0 h 31"/>
              <a:gd name="T36" fmla="*/ 10 w 16"/>
              <a:gd name="T37" fmla="*/ 0 h 31"/>
              <a:gd name="T38" fmla="*/ 13 w 16"/>
              <a:gd name="T39" fmla="*/ 0 h 31"/>
              <a:gd name="T40" fmla="*/ 13 w 16"/>
              <a:gd name="T41" fmla="*/ 3 h 31"/>
              <a:gd name="T42" fmla="*/ 13 w 16"/>
              <a:gd name="T43" fmla="*/ 3 h 31"/>
              <a:gd name="T44" fmla="*/ 16 w 16"/>
              <a:gd name="T45" fmla="*/ 3 h 31"/>
              <a:gd name="T46" fmla="*/ 13 w 16"/>
              <a:gd name="T47" fmla="*/ 12 h 31"/>
              <a:gd name="T48" fmla="*/ 13 w 16"/>
              <a:gd name="T49" fmla="*/ 12 h 31"/>
              <a:gd name="T50" fmla="*/ 13 w 16"/>
              <a:gd name="T51" fmla="*/ 18 h 31"/>
              <a:gd name="T52" fmla="*/ 16 w 16"/>
              <a:gd name="T53" fmla="*/ 18 h 31"/>
              <a:gd name="T54" fmla="*/ 16 w 16"/>
              <a:gd name="T55" fmla="*/ 22 h 31"/>
              <a:gd name="T56" fmla="*/ 16 w 16"/>
              <a:gd name="T57" fmla="*/ 31 h 31"/>
              <a:gd name="T58" fmla="*/ 13 w 16"/>
              <a:gd name="T59" fmla="*/ 31 h 31"/>
              <a:gd name="T60" fmla="*/ 13 w 16"/>
              <a:gd name="T6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 h="31">
                <a:moveTo>
                  <a:pt x="13" y="31"/>
                </a:moveTo>
                <a:lnTo>
                  <a:pt x="10" y="31"/>
                </a:lnTo>
                <a:lnTo>
                  <a:pt x="3" y="28"/>
                </a:lnTo>
                <a:lnTo>
                  <a:pt x="3" y="25"/>
                </a:lnTo>
                <a:lnTo>
                  <a:pt x="3" y="25"/>
                </a:lnTo>
                <a:lnTo>
                  <a:pt x="3" y="22"/>
                </a:lnTo>
                <a:lnTo>
                  <a:pt x="3" y="18"/>
                </a:lnTo>
                <a:lnTo>
                  <a:pt x="0" y="18"/>
                </a:lnTo>
                <a:lnTo>
                  <a:pt x="3" y="12"/>
                </a:lnTo>
                <a:lnTo>
                  <a:pt x="3" y="12"/>
                </a:lnTo>
                <a:lnTo>
                  <a:pt x="3" y="12"/>
                </a:lnTo>
                <a:lnTo>
                  <a:pt x="3" y="6"/>
                </a:lnTo>
                <a:lnTo>
                  <a:pt x="3" y="6"/>
                </a:lnTo>
                <a:lnTo>
                  <a:pt x="3" y="3"/>
                </a:lnTo>
                <a:lnTo>
                  <a:pt x="7" y="3"/>
                </a:lnTo>
                <a:lnTo>
                  <a:pt x="7" y="0"/>
                </a:lnTo>
                <a:lnTo>
                  <a:pt x="7" y="0"/>
                </a:lnTo>
                <a:lnTo>
                  <a:pt x="7" y="0"/>
                </a:lnTo>
                <a:lnTo>
                  <a:pt x="10" y="0"/>
                </a:lnTo>
                <a:lnTo>
                  <a:pt x="13" y="0"/>
                </a:lnTo>
                <a:lnTo>
                  <a:pt x="13" y="3"/>
                </a:lnTo>
                <a:lnTo>
                  <a:pt x="13" y="3"/>
                </a:lnTo>
                <a:lnTo>
                  <a:pt x="16" y="3"/>
                </a:lnTo>
                <a:lnTo>
                  <a:pt x="13" y="12"/>
                </a:lnTo>
                <a:lnTo>
                  <a:pt x="13" y="12"/>
                </a:lnTo>
                <a:lnTo>
                  <a:pt x="13" y="18"/>
                </a:lnTo>
                <a:lnTo>
                  <a:pt x="16" y="18"/>
                </a:lnTo>
                <a:lnTo>
                  <a:pt x="16" y="22"/>
                </a:lnTo>
                <a:lnTo>
                  <a:pt x="16" y="31"/>
                </a:lnTo>
                <a:lnTo>
                  <a:pt x="13" y="31"/>
                </a:lnTo>
                <a:lnTo>
                  <a:pt x="13" y="31"/>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8" name="Freeform 96">
            <a:extLst>
              <a:ext uri="{FF2B5EF4-FFF2-40B4-BE49-F238E27FC236}">
                <a16:creationId xmlns:a16="http://schemas.microsoft.com/office/drawing/2014/main" id="{4D8C8FF9-133B-C058-D6F4-BB6AFBB2CE32}"/>
              </a:ext>
            </a:extLst>
          </p:cNvPr>
          <p:cNvSpPr>
            <a:spLocks/>
          </p:cNvSpPr>
          <p:nvPr userDrawn="1"/>
        </p:nvSpPr>
        <p:spPr bwMode="auto">
          <a:xfrm>
            <a:off x="16334312" y="7689137"/>
            <a:ext cx="298431" cy="238126"/>
          </a:xfrm>
          <a:custGeom>
            <a:avLst/>
            <a:gdLst>
              <a:gd name="T0" fmla="*/ 0 w 94"/>
              <a:gd name="T1" fmla="*/ 40 h 75"/>
              <a:gd name="T2" fmla="*/ 0 w 94"/>
              <a:gd name="T3" fmla="*/ 47 h 75"/>
              <a:gd name="T4" fmla="*/ 3 w 94"/>
              <a:gd name="T5" fmla="*/ 50 h 75"/>
              <a:gd name="T6" fmla="*/ 6 w 94"/>
              <a:gd name="T7" fmla="*/ 65 h 75"/>
              <a:gd name="T8" fmla="*/ 66 w 94"/>
              <a:gd name="T9" fmla="*/ 75 h 75"/>
              <a:gd name="T10" fmla="*/ 72 w 94"/>
              <a:gd name="T11" fmla="*/ 68 h 75"/>
              <a:gd name="T12" fmla="*/ 88 w 94"/>
              <a:gd name="T13" fmla="*/ 18 h 75"/>
              <a:gd name="T14" fmla="*/ 94 w 94"/>
              <a:gd name="T15" fmla="*/ 18 h 75"/>
              <a:gd name="T16" fmla="*/ 91 w 94"/>
              <a:gd name="T17" fmla="*/ 12 h 75"/>
              <a:gd name="T18" fmla="*/ 91 w 94"/>
              <a:gd name="T19" fmla="*/ 9 h 75"/>
              <a:gd name="T20" fmla="*/ 91 w 94"/>
              <a:gd name="T21" fmla="*/ 9 h 75"/>
              <a:gd name="T22" fmla="*/ 88 w 94"/>
              <a:gd name="T23" fmla="*/ 9 h 75"/>
              <a:gd name="T24" fmla="*/ 88 w 94"/>
              <a:gd name="T25" fmla="*/ 9 h 75"/>
              <a:gd name="T26" fmla="*/ 88 w 94"/>
              <a:gd name="T27" fmla="*/ 9 h 75"/>
              <a:gd name="T28" fmla="*/ 88 w 94"/>
              <a:gd name="T29" fmla="*/ 3 h 75"/>
              <a:gd name="T30" fmla="*/ 84 w 94"/>
              <a:gd name="T31" fmla="*/ 0 h 75"/>
              <a:gd name="T32" fmla="*/ 84 w 94"/>
              <a:gd name="T33" fmla="*/ 3 h 75"/>
              <a:gd name="T34" fmla="*/ 81 w 94"/>
              <a:gd name="T35" fmla="*/ 6 h 75"/>
              <a:gd name="T36" fmla="*/ 69 w 94"/>
              <a:gd name="T37" fmla="*/ 12 h 75"/>
              <a:gd name="T38" fmla="*/ 69 w 94"/>
              <a:gd name="T39" fmla="*/ 18 h 75"/>
              <a:gd name="T40" fmla="*/ 59 w 94"/>
              <a:gd name="T41" fmla="*/ 28 h 75"/>
              <a:gd name="T42" fmla="*/ 56 w 94"/>
              <a:gd name="T43" fmla="*/ 31 h 75"/>
              <a:gd name="T44" fmla="*/ 59 w 94"/>
              <a:gd name="T45" fmla="*/ 31 h 75"/>
              <a:gd name="T46" fmla="*/ 59 w 94"/>
              <a:gd name="T47" fmla="*/ 34 h 75"/>
              <a:gd name="T48" fmla="*/ 56 w 94"/>
              <a:gd name="T49" fmla="*/ 40 h 75"/>
              <a:gd name="T50" fmla="*/ 53 w 94"/>
              <a:gd name="T51" fmla="*/ 37 h 75"/>
              <a:gd name="T52" fmla="*/ 50 w 94"/>
              <a:gd name="T53" fmla="*/ 37 h 75"/>
              <a:gd name="T54" fmla="*/ 50 w 94"/>
              <a:gd name="T55" fmla="*/ 37 h 75"/>
              <a:gd name="T56" fmla="*/ 50 w 94"/>
              <a:gd name="T57" fmla="*/ 40 h 75"/>
              <a:gd name="T58" fmla="*/ 47 w 94"/>
              <a:gd name="T59" fmla="*/ 40 h 75"/>
              <a:gd name="T60" fmla="*/ 47 w 94"/>
              <a:gd name="T61" fmla="*/ 43 h 75"/>
              <a:gd name="T62" fmla="*/ 41 w 94"/>
              <a:gd name="T63" fmla="*/ 43 h 75"/>
              <a:gd name="T64" fmla="*/ 38 w 94"/>
              <a:gd name="T65" fmla="*/ 43 h 75"/>
              <a:gd name="T66" fmla="*/ 34 w 94"/>
              <a:gd name="T67" fmla="*/ 43 h 75"/>
              <a:gd name="T68" fmla="*/ 31 w 94"/>
              <a:gd name="T69" fmla="*/ 43 h 75"/>
              <a:gd name="T70" fmla="*/ 31 w 94"/>
              <a:gd name="T71" fmla="*/ 40 h 75"/>
              <a:gd name="T72" fmla="*/ 28 w 94"/>
              <a:gd name="T73" fmla="*/ 43 h 75"/>
              <a:gd name="T74" fmla="*/ 22 w 94"/>
              <a:gd name="T75" fmla="*/ 40 h 75"/>
              <a:gd name="T76" fmla="*/ 13 w 94"/>
              <a:gd name="T77" fmla="*/ 47 h 75"/>
              <a:gd name="T78" fmla="*/ 9 w 94"/>
              <a:gd name="T79" fmla="*/ 47 h 75"/>
              <a:gd name="T80" fmla="*/ 6 w 94"/>
              <a:gd name="T81" fmla="*/ 47 h 75"/>
              <a:gd name="T82" fmla="*/ 3 w 94"/>
              <a:gd name="T83" fmla="*/ 47 h 75"/>
              <a:gd name="T84" fmla="*/ 3 w 94"/>
              <a:gd name="T85" fmla="*/ 37 h 75"/>
              <a:gd name="T86" fmla="*/ 0 w 94"/>
              <a:gd name="T87" fmla="*/ 40 h 75"/>
              <a:gd name="T88" fmla="*/ 0 w 94"/>
              <a:gd name="T89" fmla="*/ 4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75">
                <a:moveTo>
                  <a:pt x="0" y="40"/>
                </a:moveTo>
                <a:lnTo>
                  <a:pt x="0" y="47"/>
                </a:lnTo>
                <a:lnTo>
                  <a:pt x="3" y="50"/>
                </a:lnTo>
                <a:lnTo>
                  <a:pt x="6" y="65"/>
                </a:lnTo>
                <a:lnTo>
                  <a:pt x="66" y="75"/>
                </a:lnTo>
                <a:lnTo>
                  <a:pt x="72" y="68"/>
                </a:lnTo>
                <a:lnTo>
                  <a:pt x="88" y="18"/>
                </a:lnTo>
                <a:lnTo>
                  <a:pt x="94" y="18"/>
                </a:lnTo>
                <a:lnTo>
                  <a:pt x="91" y="12"/>
                </a:lnTo>
                <a:lnTo>
                  <a:pt x="91" y="9"/>
                </a:lnTo>
                <a:lnTo>
                  <a:pt x="91" y="9"/>
                </a:lnTo>
                <a:lnTo>
                  <a:pt x="88" y="9"/>
                </a:lnTo>
                <a:lnTo>
                  <a:pt x="88" y="9"/>
                </a:lnTo>
                <a:lnTo>
                  <a:pt x="88" y="9"/>
                </a:lnTo>
                <a:lnTo>
                  <a:pt x="88" y="3"/>
                </a:lnTo>
                <a:lnTo>
                  <a:pt x="84" y="0"/>
                </a:lnTo>
                <a:lnTo>
                  <a:pt x="84" y="3"/>
                </a:lnTo>
                <a:lnTo>
                  <a:pt x="81" y="6"/>
                </a:lnTo>
                <a:lnTo>
                  <a:pt x="69" y="12"/>
                </a:lnTo>
                <a:lnTo>
                  <a:pt x="69" y="18"/>
                </a:lnTo>
                <a:lnTo>
                  <a:pt x="59" y="28"/>
                </a:lnTo>
                <a:lnTo>
                  <a:pt x="56" y="31"/>
                </a:lnTo>
                <a:lnTo>
                  <a:pt x="59" y="31"/>
                </a:lnTo>
                <a:lnTo>
                  <a:pt x="59" y="34"/>
                </a:lnTo>
                <a:lnTo>
                  <a:pt x="56" y="40"/>
                </a:lnTo>
                <a:lnTo>
                  <a:pt x="53" y="37"/>
                </a:lnTo>
                <a:lnTo>
                  <a:pt x="50" y="37"/>
                </a:lnTo>
                <a:lnTo>
                  <a:pt x="50" y="37"/>
                </a:lnTo>
                <a:lnTo>
                  <a:pt x="50" y="40"/>
                </a:lnTo>
                <a:lnTo>
                  <a:pt x="47" y="40"/>
                </a:lnTo>
                <a:lnTo>
                  <a:pt x="47" y="43"/>
                </a:lnTo>
                <a:lnTo>
                  <a:pt x="41" y="43"/>
                </a:lnTo>
                <a:lnTo>
                  <a:pt x="38" y="43"/>
                </a:lnTo>
                <a:lnTo>
                  <a:pt x="34" y="43"/>
                </a:lnTo>
                <a:lnTo>
                  <a:pt x="31" y="43"/>
                </a:lnTo>
                <a:lnTo>
                  <a:pt x="31" y="40"/>
                </a:lnTo>
                <a:lnTo>
                  <a:pt x="28" y="43"/>
                </a:lnTo>
                <a:lnTo>
                  <a:pt x="22" y="40"/>
                </a:lnTo>
                <a:lnTo>
                  <a:pt x="13" y="47"/>
                </a:lnTo>
                <a:lnTo>
                  <a:pt x="9" y="47"/>
                </a:lnTo>
                <a:lnTo>
                  <a:pt x="6" y="47"/>
                </a:lnTo>
                <a:lnTo>
                  <a:pt x="3" y="47"/>
                </a:lnTo>
                <a:lnTo>
                  <a:pt x="3" y="37"/>
                </a:lnTo>
                <a:lnTo>
                  <a:pt x="0" y="40"/>
                </a:lnTo>
                <a:lnTo>
                  <a:pt x="0" y="4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699" name="Freeform 97">
            <a:extLst>
              <a:ext uri="{FF2B5EF4-FFF2-40B4-BE49-F238E27FC236}">
                <a16:creationId xmlns:a16="http://schemas.microsoft.com/office/drawing/2014/main" id="{DBBE649A-91DD-412E-E9F9-4EC6B0209ACE}"/>
              </a:ext>
            </a:extLst>
          </p:cNvPr>
          <p:cNvSpPr>
            <a:spLocks noEditPoints="1"/>
          </p:cNvSpPr>
          <p:nvPr userDrawn="1"/>
        </p:nvSpPr>
        <p:spPr bwMode="auto">
          <a:xfrm>
            <a:off x="11470524" y="6812832"/>
            <a:ext cx="190490" cy="79376"/>
          </a:xfrm>
          <a:custGeom>
            <a:avLst/>
            <a:gdLst>
              <a:gd name="T0" fmla="*/ 25 w 60"/>
              <a:gd name="T1" fmla="*/ 0 h 25"/>
              <a:gd name="T2" fmla="*/ 29 w 60"/>
              <a:gd name="T3" fmla="*/ 0 h 25"/>
              <a:gd name="T4" fmla="*/ 29 w 60"/>
              <a:gd name="T5" fmla="*/ 0 h 25"/>
              <a:gd name="T6" fmla="*/ 25 w 60"/>
              <a:gd name="T7" fmla="*/ 0 h 25"/>
              <a:gd name="T8" fmla="*/ 25 w 60"/>
              <a:gd name="T9" fmla="*/ 0 h 25"/>
              <a:gd name="T10" fmla="*/ 25 w 60"/>
              <a:gd name="T11" fmla="*/ 0 h 25"/>
              <a:gd name="T12" fmla="*/ 7 w 60"/>
              <a:gd name="T13" fmla="*/ 0 h 25"/>
              <a:gd name="T14" fmla="*/ 13 w 60"/>
              <a:gd name="T15" fmla="*/ 3 h 25"/>
              <a:gd name="T16" fmla="*/ 10 w 60"/>
              <a:gd name="T17" fmla="*/ 0 h 25"/>
              <a:gd name="T18" fmla="*/ 7 w 60"/>
              <a:gd name="T19" fmla="*/ 0 h 25"/>
              <a:gd name="T20" fmla="*/ 7 w 60"/>
              <a:gd name="T21" fmla="*/ 0 h 25"/>
              <a:gd name="T22" fmla="*/ 0 w 60"/>
              <a:gd name="T23" fmla="*/ 3 h 25"/>
              <a:gd name="T24" fmla="*/ 0 w 60"/>
              <a:gd name="T25" fmla="*/ 7 h 25"/>
              <a:gd name="T26" fmla="*/ 7 w 60"/>
              <a:gd name="T27" fmla="*/ 7 h 25"/>
              <a:gd name="T28" fmla="*/ 7 w 60"/>
              <a:gd name="T29" fmla="*/ 7 h 25"/>
              <a:gd name="T30" fmla="*/ 4 w 60"/>
              <a:gd name="T31" fmla="*/ 3 h 25"/>
              <a:gd name="T32" fmla="*/ 0 w 60"/>
              <a:gd name="T33" fmla="*/ 3 h 25"/>
              <a:gd name="T34" fmla="*/ 0 w 60"/>
              <a:gd name="T35" fmla="*/ 3 h 25"/>
              <a:gd name="T36" fmla="*/ 54 w 60"/>
              <a:gd name="T37" fmla="*/ 22 h 25"/>
              <a:gd name="T38" fmla="*/ 51 w 60"/>
              <a:gd name="T39" fmla="*/ 22 h 25"/>
              <a:gd name="T40" fmla="*/ 54 w 60"/>
              <a:gd name="T41" fmla="*/ 25 h 25"/>
              <a:gd name="T42" fmla="*/ 57 w 60"/>
              <a:gd name="T43" fmla="*/ 25 h 25"/>
              <a:gd name="T44" fmla="*/ 60 w 60"/>
              <a:gd name="T45" fmla="*/ 22 h 25"/>
              <a:gd name="T46" fmla="*/ 57 w 60"/>
              <a:gd name="T47" fmla="*/ 22 h 25"/>
              <a:gd name="T48" fmla="*/ 54 w 60"/>
              <a:gd name="T49" fmla="*/ 2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25">
                <a:moveTo>
                  <a:pt x="25" y="0"/>
                </a:moveTo>
                <a:lnTo>
                  <a:pt x="29" y="0"/>
                </a:lnTo>
                <a:lnTo>
                  <a:pt x="29" y="0"/>
                </a:lnTo>
                <a:lnTo>
                  <a:pt x="25" y="0"/>
                </a:lnTo>
                <a:lnTo>
                  <a:pt x="25" y="0"/>
                </a:lnTo>
                <a:lnTo>
                  <a:pt x="25" y="0"/>
                </a:lnTo>
                <a:close/>
                <a:moveTo>
                  <a:pt x="7" y="0"/>
                </a:moveTo>
                <a:lnTo>
                  <a:pt x="13" y="3"/>
                </a:lnTo>
                <a:lnTo>
                  <a:pt x="10" y="0"/>
                </a:lnTo>
                <a:lnTo>
                  <a:pt x="7" y="0"/>
                </a:lnTo>
                <a:lnTo>
                  <a:pt x="7" y="0"/>
                </a:lnTo>
                <a:close/>
                <a:moveTo>
                  <a:pt x="0" y="3"/>
                </a:moveTo>
                <a:lnTo>
                  <a:pt x="0" y="7"/>
                </a:lnTo>
                <a:lnTo>
                  <a:pt x="7" y="7"/>
                </a:lnTo>
                <a:lnTo>
                  <a:pt x="7" y="7"/>
                </a:lnTo>
                <a:lnTo>
                  <a:pt x="4" y="3"/>
                </a:lnTo>
                <a:lnTo>
                  <a:pt x="0" y="3"/>
                </a:lnTo>
                <a:lnTo>
                  <a:pt x="0" y="3"/>
                </a:lnTo>
                <a:close/>
                <a:moveTo>
                  <a:pt x="54" y="22"/>
                </a:moveTo>
                <a:lnTo>
                  <a:pt x="51" y="22"/>
                </a:lnTo>
                <a:lnTo>
                  <a:pt x="54" y="25"/>
                </a:lnTo>
                <a:lnTo>
                  <a:pt x="57" y="25"/>
                </a:lnTo>
                <a:lnTo>
                  <a:pt x="60" y="22"/>
                </a:lnTo>
                <a:lnTo>
                  <a:pt x="57" y="22"/>
                </a:lnTo>
                <a:lnTo>
                  <a:pt x="54" y="22"/>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0" name="Freeform 98">
            <a:extLst>
              <a:ext uri="{FF2B5EF4-FFF2-40B4-BE49-F238E27FC236}">
                <a16:creationId xmlns:a16="http://schemas.microsoft.com/office/drawing/2014/main" id="{E579E179-B3FD-62F8-AFF8-4CD284D2A47B}"/>
              </a:ext>
            </a:extLst>
          </p:cNvPr>
          <p:cNvSpPr>
            <a:spLocks/>
          </p:cNvSpPr>
          <p:nvPr userDrawn="1"/>
        </p:nvSpPr>
        <p:spPr bwMode="auto">
          <a:xfrm>
            <a:off x="12137232" y="7241461"/>
            <a:ext cx="28574" cy="19050"/>
          </a:xfrm>
          <a:custGeom>
            <a:avLst/>
            <a:gdLst>
              <a:gd name="T0" fmla="*/ 2 w 3"/>
              <a:gd name="T1" fmla="*/ 2 h 2"/>
              <a:gd name="T2" fmla="*/ 1 w 3"/>
              <a:gd name="T3" fmla="*/ 1 h 2"/>
              <a:gd name="T4" fmla="*/ 0 w 3"/>
              <a:gd name="T5" fmla="*/ 1 h 2"/>
              <a:gd name="T6" fmla="*/ 2 w 3"/>
              <a:gd name="T7" fmla="*/ 0 h 2"/>
              <a:gd name="T8" fmla="*/ 3 w 3"/>
              <a:gd name="T9" fmla="*/ 2 h 2"/>
              <a:gd name="T10" fmla="*/ 2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2" y="2"/>
                </a:moveTo>
                <a:cubicBezTo>
                  <a:pt x="1" y="1"/>
                  <a:pt x="1" y="1"/>
                  <a:pt x="1" y="1"/>
                </a:cubicBezTo>
                <a:cubicBezTo>
                  <a:pt x="0" y="1"/>
                  <a:pt x="0" y="1"/>
                  <a:pt x="0" y="1"/>
                </a:cubicBezTo>
                <a:cubicBezTo>
                  <a:pt x="2" y="0"/>
                  <a:pt x="2" y="0"/>
                  <a:pt x="2" y="0"/>
                </a:cubicBezTo>
                <a:cubicBezTo>
                  <a:pt x="3" y="2"/>
                  <a:pt x="3" y="2"/>
                  <a:pt x="3" y="2"/>
                </a:cubicBezTo>
                <a:cubicBezTo>
                  <a:pt x="3" y="2"/>
                  <a:pt x="2" y="2"/>
                  <a:pt x="2" y="2"/>
                </a:cubicBez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1" name="Freeform 99">
            <a:extLst>
              <a:ext uri="{FF2B5EF4-FFF2-40B4-BE49-F238E27FC236}">
                <a16:creationId xmlns:a16="http://schemas.microsoft.com/office/drawing/2014/main" id="{B098398C-7962-95BC-3C49-7BB86C43B29D}"/>
              </a:ext>
            </a:extLst>
          </p:cNvPr>
          <p:cNvSpPr>
            <a:spLocks noEditPoints="1"/>
          </p:cNvSpPr>
          <p:nvPr userDrawn="1"/>
        </p:nvSpPr>
        <p:spPr bwMode="auto">
          <a:xfrm>
            <a:off x="12076917" y="7508156"/>
            <a:ext cx="288907" cy="101600"/>
          </a:xfrm>
          <a:custGeom>
            <a:avLst/>
            <a:gdLst>
              <a:gd name="T0" fmla="*/ 5 w 29"/>
              <a:gd name="T1" fmla="*/ 7 h 10"/>
              <a:gd name="T2" fmla="*/ 5 w 29"/>
              <a:gd name="T3" fmla="*/ 7 h 10"/>
              <a:gd name="T4" fmla="*/ 5 w 29"/>
              <a:gd name="T5" fmla="*/ 6 h 10"/>
              <a:gd name="T6" fmla="*/ 5 w 29"/>
              <a:gd name="T7" fmla="*/ 6 h 10"/>
              <a:gd name="T8" fmla="*/ 5 w 29"/>
              <a:gd name="T9" fmla="*/ 7 h 10"/>
              <a:gd name="T10" fmla="*/ 5 w 29"/>
              <a:gd name="T11" fmla="*/ 7 h 10"/>
              <a:gd name="T12" fmla="*/ 1 w 29"/>
              <a:gd name="T13" fmla="*/ 10 h 10"/>
              <a:gd name="T14" fmla="*/ 0 w 29"/>
              <a:gd name="T15" fmla="*/ 9 h 10"/>
              <a:gd name="T16" fmla="*/ 1 w 29"/>
              <a:gd name="T17" fmla="*/ 9 h 10"/>
              <a:gd name="T18" fmla="*/ 1 w 29"/>
              <a:gd name="T19" fmla="*/ 9 h 10"/>
              <a:gd name="T20" fmla="*/ 1 w 29"/>
              <a:gd name="T21" fmla="*/ 9 h 10"/>
              <a:gd name="T22" fmla="*/ 1 w 29"/>
              <a:gd name="T23" fmla="*/ 10 h 10"/>
              <a:gd name="T24" fmla="*/ 1 w 29"/>
              <a:gd name="T25" fmla="*/ 10 h 10"/>
              <a:gd name="T26" fmla="*/ 2 w 29"/>
              <a:gd name="T27" fmla="*/ 4 h 10"/>
              <a:gd name="T28" fmla="*/ 2 w 29"/>
              <a:gd name="T29" fmla="*/ 3 h 10"/>
              <a:gd name="T30" fmla="*/ 1 w 29"/>
              <a:gd name="T31" fmla="*/ 2 h 10"/>
              <a:gd name="T32" fmla="*/ 2 w 29"/>
              <a:gd name="T33" fmla="*/ 1 h 10"/>
              <a:gd name="T34" fmla="*/ 3 w 29"/>
              <a:gd name="T35" fmla="*/ 2 h 10"/>
              <a:gd name="T36" fmla="*/ 3 w 29"/>
              <a:gd name="T37" fmla="*/ 4 h 10"/>
              <a:gd name="T38" fmla="*/ 2 w 29"/>
              <a:gd name="T39" fmla="*/ 4 h 10"/>
              <a:gd name="T40" fmla="*/ 12 w 29"/>
              <a:gd name="T41" fmla="*/ 6 h 10"/>
              <a:gd name="T42" fmla="*/ 10 w 29"/>
              <a:gd name="T43" fmla="*/ 6 h 10"/>
              <a:gd name="T44" fmla="*/ 8 w 29"/>
              <a:gd name="T45" fmla="*/ 7 h 10"/>
              <a:gd name="T46" fmla="*/ 7 w 29"/>
              <a:gd name="T47" fmla="*/ 7 h 10"/>
              <a:gd name="T48" fmla="*/ 7 w 29"/>
              <a:gd name="T49" fmla="*/ 6 h 10"/>
              <a:gd name="T50" fmla="*/ 8 w 29"/>
              <a:gd name="T51" fmla="*/ 5 h 10"/>
              <a:gd name="T52" fmla="*/ 9 w 29"/>
              <a:gd name="T53" fmla="*/ 5 h 10"/>
              <a:gd name="T54" fmla="*/ 10 w 29"/>
              <a:gd name="T55" fmla="*/ 5 h 10"/>
              <a:gd name="T56" fmla="*/ 11 w 29"/>
              <a:gd name="T57" fmla="*/ 4 h 10"/>
              <a:gd name="T58" fmla="*/ 12 w 29"/>
              <a:gd name="T59" fmla="*/ 4 h 10"/>
              <a:gd name="T60" fmla="*/ 12 w 29"/>
              <a:gd name="T61" fmla="*/ 6 h 10"/>
              <a:gd name="T62" fmla="*/ 14 w 29"/>
              <a:gd name="T63" fmla="*/ 6 h 10"/>
              <a:gd name="T64" fmla="*/ 14 w 29"/>
              <a:gd name="T65" fmla="*/ 8 h 10"/>
              <a:gd name="T66" fmla="*/ 15 w 29"/>
              <a:gd name="T67" fmla="*/ 9 h 10"/>
              <a:gd name="T68" fmla="*/ 16 w 29"/>
              <a:gd name="T69" fmla="*/ 8 h 10"/>
              <a:gd name="T70" fmla="*/ 17 w 29"/>
              <a:gd name="T71" fmla="*/ 8 h 10"/>
              <a:gd name="T72" fmla="*/ 16 w 29"/>
              <a:gd name="T73" fmla="*/ 7 h 10"/>
              <a:gd name="T74" fmla="*/ 15 w 29"/>
              <a:gd name="T75" fmla="*/ 6 h 10"/>
              <a:gd name="T76" fmla="*/ 14 w 29"/>
              <a:gd name="T77" fmla="*/ 6 h 10"/>
              <a:gd name="T78" fmla="*/ 26 w 29"/>
              <a:gd name="T79" fmla="*/ 2 h 10"/>
              <a:gd name="T80" fmla="*/ 27 w 29"/>
              <a:gd name="T81" fmla="*/ 0 h 10"/>
              <a:gd name="T82" fmla="*/ 28 w 29"/>
              <a:gd name="T83" fmla="*/ 0 h 10"/>
              <a:gd name="T84" fmla="*/ 29 w 29"/>
              <a:gd name="T85" fmla="*/ 1 h 10"/>
              <a:gd name="T86" fmla="*/ 27 w 29"/>
              <a:gd name="T87" fmla="*/ 1 h 10"/>
              <a:gd name="T88" fmla="*/ 26 w 29"/>
              <a:gd name="T89" fmla="*/ 2 h 10"/>
              <a:gd name="T90" fmla="*/ 22 w 29"/>
              <a:gd name="T91" fmla="*/ 7 h 10"/>
              <a:gd name="T92" fmla="*/ 24 w 29"/>
              <a:gd name="T93" fmla="*/ 5 h 10"/>
              <a:gd name="T94" fmla="*/ 24 w 29"/>
              <a:gd name="T95" fmla="*/ 4 h 10"/>
              <a:gd name="T96" fmla="*/ 26 w 29"/>
              <a:gd name="T97" fmla="*/ 3 h 10"/>
              <a:gd name="T98" fmla="*/ 26 w 29"/>
              <a:gd name="T99" fmla="*/ 5 h 10"/>
              <a:gd name="T100" fmla="*/ 24 w 29"/>
              <a:gd name="T101" fmla="*/ 7 h 10"/>
              <a:gd name="T102" fmla="*/ 23 w 29"/>
              <a:gd name="T103" fmla="*/ 7 h 10"/>
              <a:gd name="T104" fmla="*/ 22 w 29"/>
              <a:gd name="T105"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 h="10">
                <a:moveTo>
                  <a:pt x="5" y="7"/>
                </a:moveTo>
                <a:cubicBezTo>
                  <a:pt x="5" y="7"/>
                  <a:pt x="5" y="7"/>
                  <a:pt x="5" y="7"/>
                </a:cubicBezTo>
                <a:cubicBezTo>
                  <a:pt x="5" y="6"/>
                  <a:pt x="5" y="6"/>
                  <a:pt x="5" y="6"/>
                </a:cubicBezTo>
                <a:cubicBezTo>
                  <a:pt x="5" y="6"/>
                  <a:pt x="5" y="6"/>
                  <a:pt x="5" y="6"/>
                </a:cubicBezTo>
                <a:cubicBezTo>
                  <a:pt x="5" y="7"/>
                  <a:pt x="5" y="7"/>
                  <a:pt x="5" y="7"/>
                </a:cubicBezTo>
                <a:cubicBezTo>
                  <a:pt x="5" y="7"/>
                  <a:pt x="5" y="7"/>
                  <a:pt x="5" y="7"/>
                </a:cubicBezTo>
                <a:close/>
                <a:moveTo>
                  <a:pt x="1" y="10"/>
                </a:moveTo>
                <a:cubicBezTo>
                  <a:pt x="0" y="9"/>
                  <a:pt x="0" y="9"/>
                  <a:pt x="0" y="9"/>
                </a:cubicBezTo>
                <a:cubicBezTo>
                  <a:pt x="1" y="9"/>
                  <a:pt x="1" y="9"/>
                  <a:pt x="1" y="9"/>
                </a:cubicBezTo>
                <a:cubicBezTo>
                  <a:pt x="1" y="9"/>
                  <a:pt x="1" y="9"/>
                  <a:pt x="1" y="9"/>
                </a:cubicBezTo>
                <a:cubicBezTo>
                  <a:pt x="1" y="9"/>
                  <a:pt x="1" y="9"/>
                  <a:pt x="1" y="9"/>
                </a:cubicBezTo>
                <a:cubicBezTo>
                  <a:pt x="1" y="10"/>
                  <a:pt x="1" y="10"/>
                  <a:pt x="1" y="10"/>
                </a:cubicBezTo>
                <a:cubicBezTo>
                  <a:pt x="1" y="10"/>
                  <a:pt x="1" y="10"/>
                  <a:pt x="1" y="10"/>
                </a:cubicBezTo>
                <a:close/>
                <a:moveTo>
                  <a:pt x="2" y="4"/>
                </a:moveTo>
                <a:cubicBezTo>
                  <a:pt x="2" y="3"/>
                  <a:pt x="2" y="3"/>
                  <a:pt x="2" y="3"/>
                </a:cubicBezTo>
                <a:cubicBezTo>
                  <a:pt x="1" y="2"/>
                  <a:pt x="1" y="2"/>
                  <a:pt x="1" y="2"/>
                </a:cubicBezTo>
                <a:cubicBezTo>
                  <a:pt x="1" y="2"/>
                  <a:pt x="2" y="1"/>
                  <a:pt x="2" y="1"/>
                </a:cubicBezTo>
                <a:cubicBezTo>
                  <a:pt x="2" y="1"/>
                  <a:pt x="3" y="2"/>
                  <a:pt x="3" y="2"/>
                </a:cubicBezTo>
                <a:cubicBezTo>
                  <a:pt x="3" y="4"/>
                  <a:pt x="3" y="4"/>
                  <a:pt x="3" y="4"/>
                </a:cubicBezTo>
                <a:cubicBezTo>
                  <a:pt x="3" y="4"/>
                  <a:pt x="2" y="4"/>
                  <a:pt x="2" y="4"/>
                </a:cubicBezTo>
                <a:close/>
                <a:moveTo>
                  <a:pt x="12" y="6"/>
                </a:moveTo>
                <a:cubicBezTo>
                  <a:pt x="10" y="6"/>
                  <a:pt x="10" y="6"/>
                  <a:pt x="10" y="6"/>
                </a:cubicBezTo>
                <a:cubicBezTo>
                  <a:pt x="8" y="7"/>
                  <a:pt x="8" y="7"/>
                  <a:pt x="8" y="7"/>
                </a:cubicBezTo>
                <a:cubicBezTo>
                  <a:pt x="7" y="7"/>
                  <a:pt x="7" y="7"/>
                  <a:pt x="7" y="7"/>
                </a:cubicBezTo>
                <a:cubicBezTo>
                  <a:pt x="7" y="6"/>
                  <a:pt x="7" y="6"/>
                  <a:pt x="7" y="6"/>
                </a:cubicBezTo>
                <a:cubicBezTo>
                  <a:pt x="8" y="5"/>
                  <a:pt x="8" y="5"/>
                  <a:pt x="8" y="5"/>
                </a:cubicBezTo>
                <a:cubicBezTo>
                  <a:pt x="9" y="5"/>
                  <a:pt x="9" y="5"/>
                  <a:pt x="9" y="5"/>
                </a:cubicBezTo>
                <a:cubicBezTo>
                  <a:pt x="10" y="5"/>
                  <a:pt x="10" y="5"/>
                  <a:pt x="10" y="5"/>
                </a:cubicBezTo>
                <a:cubicBezTo>
                  <a:pt x="11" y="4"/>
                  <a:pt x="11" y="4"/>
                  <a:pt x="11" y="4"/>
                </a:cubicBezTo>
                <a:cubicBezTo>
                  <a:pt x="12" y="4"/>
                  <a:pt x="12" y="4"/>
                  <a:pt x="12" y="4"/>
                </a:cubicBezTo>
                <a:cubicBezTo>
                  <a:pt x="12" y="6"/>
                  <a:pt x="12" y="6"/>
                  <a:pt x="12" y="6"/>
                </a:cubicBezTo>
                <a:close/>
                <a:moveTo>
                  <a:pt x="14" y="6"/>
                </a:moveTo>
                <a:cubicBezTo>
                  <a:pt x="14" y="8"/>
                  <a:pt x="14" y="8"/>
                  <a:pt x="14" y="8"/>
                </a:cubicBezTo>
                <a:cubicBezTo>
                  <a:pt x="15" y="9"/>
                  <a:pt x="15" y="9"/>
                  <a:pt x="15" y="9"/>
                </a:cubicBezTo>
                <a:cubicBezTo>
                  <a:pt x="16" y="8"/>
                  <a:pt x="16" y="8"/>
                  <a:pt x="16" y="8"/>
                </a:cubicBezTo>
                <a:cubicBezTo>
                  <a:pt x="17" y="8"/>
                  <a:pt x="17" y="8"/>
                  <a:pt x="17" y="8"/>
                </a:cubicBezTo>
                <a:cubicBezTo>
                  <a:pt x="16" y="7"/>
                  <a:pt x="16" y="7"/>
                  <a:pt x="16" y="7"/>
                </a:cubicBezTo>
                <a:cubicBezTo>
                  <a:pt x="15" y="6"/>
                  <a:pt x="15" y="6"/>
                  <a:pt x="15" y="6"/>
                </a:cubicBezTo>
                <a:cubicBezTo>
                  <a:pt x="14" y="6"/>
                  <a:pt x="14" y="6"/>
                  <a:pt x="14" y="6"/>
                </a:cubicBezTo>
                <a:close/>
                <a:moveTo>
                  <a:pt x="26" y="2"/>
                </a:moveTo>
                <a:cubicBezTo>
                  <a:pt x="27" y="0"/>
                  <a:pt x="27" y="0"/>
                  <a:pt x="27" y="0"/>
                </a:cubicBezTo>
                <a:cubicBezTo>
                  <a:pt x="28" y="0"/>
                  <a:pt x="28" y="0"/>
                  <a:pt x="28" y="0"/>
                </a:cubicBezTo>
                <a:cubicBezTo>
                  <a:pt x="29" y="1"/>
                  <a:pt x="29" y="1"/>
                  <a:pt x="29" y="1"/>
                </a:cubicBezTo>
                <a:cubicBezTo>
                  <a:pt x="27" y="1"/>
                  <a:pt x="27" y="1"/>
                  <a:pt x="27" y="1"/>
                </a:cubicBezTo>
                <a:cubicBezTo>
                  <a:pt x="26" y="2"/>
                  <a:pt x="26" y="2"/>
                  <a:pt x="26" y="2"/>
                </a:cubicBezTo>
                <a:close/>
                <a:moveTo>
                  <a:pt x="22" y="7"/>
                </a:moveTo>
                <a:cubicBezTo>
                  <a:pt x="24" y="5"/>
                  <a:pt x="24" y="5"/>
                  <a:pt x="24" y="5"/>
                </a:cubicBezTo>
                <a:cubicBezTo>
                  <a:pt x="24" y="4"/>
                  <a:pt x="24" y="4"/>
                  <a:pt x="24" y="4"/>
                </a:cubicBezTo>
                <a:cubicBezTo>
                  <a:pt x="26" y="3"/>
                  <a:pt x="26" y="3"/>
                  <a:pt x="26" y="3"/>
                </a:cubicBezTo>
                <a:cubicBezTo>
                  <a:pt x="26" y="5"/>
                  <a:pt x="26" y="5"/>
                  <a:pt x="26" y="5"/>
                </a:cubicBezTo>
                <a:cubicBezTo>
                  <a:pt x="24" y="7"/>
                  <a:pt x="24" y="7"/>
                  <a:pt x="24" y="7"/>
                </a:cubicBezTo>
                <a:cubicBezTo>
                  <a:pt x="23" y="7"/>
                  <a:pt x="23" y="7"/>
                  <a:pt x="23" y="7"/>
                </a:cubicBezTo>
                <a:lnTo>
                  <a:pt x="22" y="7"/>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2" name="Freeform 100">
            <a:extLst>
              <a:ext uri="{FF2B5EF4-FFF2-40B4-BE49-F238E27FC236}">
                <a16:creationId xmlns:a16="http://schemas.microsoft.com/office/drawing/2014/main" id="{CC0C2875-68AC-4012-FA16-ECCD3C8D43C7}"/>
              </a:ext>
            </a:extLst>
          </p:cNvPr>
          <p:cNvSpPr>
            <a:spLocks noEditPoints="1"/>
          </p:cNvSpPr>
          <p:nvPr userDrawn="1"/>
        </p:nvSpPr>
        <p:spPr bwMode="auto">
          <a:xfrm>
            <a:off x="11610217" y="8282861"/>
            <a:ext cx="158740" cy="149226"/>
          </a:xfrm>
          <a:custGeom>
            <a:avLst/>
            <a:gdLst>
              <a:gd name="T0" fmla="*/ 2 w 16"/>
              <a:gd name="T1" fmla="*/ 1 h 15"/>
              <a:gd name="T2" fmla="*/ 3 w 16"/>
              <a:gd name="T3" fmla="*/ 0 h 15"/>
              <a:gd name="T4" fmla="*/ 3 w 16"/>
              <a:gd name="T5" fmla="*/ 0 h 15"/>
              <a:gd name="T6" fmla="*/ 2 w 16"/>
              <a:gd name="T7" fmla="*/ 0 h 15"/>
              <a:gd name="T8" fmla="*/ 1 w 16"/>
              <a:gd name="T9" fmla="*/ 0 h 15"/>
              <a:gd name="T10" fmla="*/ 0 w 16"/>
              <a:gd name="T11" fmla="*/ 0 h 15"/>
              <a:gd name="T12" fmla="*/ 1 w 16"/>
              <a:gd name="T13" fmla="*/ 1 h 15"/>
              <a:gd name="T14" fmla="*/ 2 w 16"/>
              <a:gd name="T15" fmla="*/ 1 h 15"/>
              <a:gd name="T16" fmla="*/ 3 w 16"/>
              <a:gd name="T17" fmla="*/ 2 h 15"/>
              <a:gd name="T18" fmla="*/ 3 w 16"/>
              <a:gd name="T19" fmla="*/ 1 h 15"/>
              <a:gd name="T20" fmla="*/ 3 w 16"/>
              <a:gd name="T21" fmla="*/ 1 h 15"/>
              <a:gd name="T22" fmla="*/ 4 w 16"/>
              <a:gd name="T23" fmla="*/ 1 h 15"/>
              <a:gd name="T24" fmla="*/ 4 w 16"/>
              <a:gd name="T25" fmla="*/ 2 h 15"/>
              <a:gd name="T26" fmla="*/ 3 w 16"/>
              <a:gd name="T27" fmla="*/ 2 h 15"/>
              <a:gd name="T28" fmla="*/ 8 w 16"/>
              <a:gd name="T29" fmla="*/ 4 h 15"/>
              <a:gd name="T30" fmla="*/ 8 w 16"/>
              <a:gd name="T31" fmla="*/ 4 h 15"/>
              <a:gd name="T32" fmla="*/ 7 w 16"/>
              <a:gd name="T33" fmla="*/ 4 h 15"/>
              <a:gd name="T34" fmla="*/ 7 w 16"/>
              <a:gd name="T35" fmla="*/ 3 h 15"/>
              <a:gd name="T36" fmla="*/ 7 w 16"/>
              <a:gd name="T37" fmla="*/ 3 h 15"/>
              <a:gd name="T38" fmla="*/ 8 w 16"/>
              <a:gd name="T39" fmla="*/ 3 h 15"/>
              <a:gd name="T40" fmla="*/ 8 w 16"/>
              <a:gd name="T41" fmla="*/ 3 h 15"/>
              <a:gd name="T42" fmla="*/ 8 w 16"/>
              <a:gd name="T43" fmla="*/ 4 h 15"/>
              <a:gd name="T44" fmla="*/ 8 w 16"/>
              <a:gd name="T45" fmla="*/ 4 h 15"/>
              <a:gd name="T46" fmla="*/ 10 w 16"/>
              <a:gd name="T47" fmla="*/ 4 h 15"/>
              <a:gd name="T48" fmla="*/ 9 w 16"/>
              <a:gd name="T49" fmla="*/ 4 h 15"/>
              <a:gd name="T50" fmla="*/ 9 w 16"/>
              <a:gd name="T51" fmla="*/ 3 h 15"/>
              <a:gd name="T52" fmla="*/ 9 w 16"/>
              <a:gd name="T53" fmla="*/ 3 h 15"/>
              <a:gd name="T54" fmla="*/ 10 w 16"/>
              <a:gd name="T55" fmla="*/ 4 h 15"/>
              <a:gd name="T56" fmla="*/ 15 w 16"/>
              <a:gd name="T57" fmla="*/ 3 h 15"/>
              <a:gd name="T58" fmla="*/ 15 w 16"/>
              <a:gd name="T59" fmla="*/ 2 h 15"/>
              <a:gd name="T60" fmla="*/ 16 w 16"/>
              <a:gd name="T61" fmla="*/ 1 h 15"/>
              <a:gd name="T62" fmla="*/ 16 w 16"/>
              <a:gd name="T63" fmla="*/ 3 h 15"/>
              <a:gd name="T64" fmla="*/ 15 w 16"/>
              <a:gd name="T65" fmla="*/ 3 h 15"/>
              <a:gd name="T66" fmla="*/ 15 w 16"/>
              <a:gd name="T67" fmla="*/ 7 h 15"/>
              <a:gd name="T68" fmla="*/ 14 w 16"/>
              <a:gd name="T69" fmla="*/ 6 h 15"/>
              <a:gd name="T70" fmla="*/ 15 w 16"/>
              <a:gd name="T71" fmla="*/ 6 h 15"/>
              <a:gd name="T72" fmla="*/ 16 w 16"/>
              <a:gd name="T73" fmla="*/ 6 h 15"/>
              <a:gd name="T74" fmla="*/ 16 w 16"/>
              <a:gd name="T75" fmla="*/ 7 h 15"/>
              <a:gd name="T76" fmla="*/ 16 w 16"/>
              <a:gd name="T77" fmla="*/ 7 h 15"/>
              <a:gd name="T78" fmla="*/ 15 w 16"/>
              <a:gd name="T79" fmla="*/ 7 h 15"/>
              <a:gd name="T80" fmla="*/ 14 w 16"/>
              <a:gd name="T81" fmla="*/ 13 h 15"/>
              <a:gd name="T82" fmla="*/ 13 w 16"/>
              <a:gd name="T83" fmla="*/ 12 h 15"/>
              <a:gd name="T84" fmla="*/ 14 w 16"/>
              <a:gd name="T85" fmla="*/ 12 h 15"/>
              <a:gd name="T86" fmla="*/ 14 w 16"/>
              <a:gd name="T87" fmla="*/ 13 h 15"/>
              <a:gd name="T88" fmla="*/ 14 w 16"/>
              <a:gd name="T89" fmla="*/ 13 h 15"/>
              <a:gd name="T90" fmla="*/ 10 w 16"/>
              <a:gd name="T91" fmla="*/ 14 h 15"/>
              <a:gd name="T92" fmla="*/ 10 w 16"/>
              <a:gd name="T93" fmla="*/ 13 h 15"/>
              <a:gd name="T94" fmla="*/ 10 w 16"/>
              <a:gd name="T95" fmla="*/ 12 h 15"/>
              <a:gd name="T96" fmla="*/ 11 w 16"/>
              <a:gd name="T97" fmla="*/ 12 h 15"/>
              <a:gd name="T98" fmla="*/ 12 w 16"/>
              <a:gd name="T99" fmla="*/ 14 h 15"/>
              <a:gd name="T100" fmla="*/ 12 w 16"/>
              <a:gd name="T101" fmla="*/ 15 h 15"/>
              <a:gd name="T102" fmla="*/ 10 w 16"/>
              <a:gd name="T103"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 h="15">
                <a:moveTo>
                  <a:pt x="2" y="1"/>
                </a:moveTo>
                <a:cubicBezTo>
                  <a:pt x="3" y="0"/>
                  <a:pt x="3" y="0"/>
                  <a:pt x="3" y="0"/>
                </a:cubicBezTo>
                <a:cubicBezTo>
                  <a:pt x="3" y="0"/>
                  <a:pt x="3" y="0"/>
                  <a:pt x="3" y="0"/>
                </a:cubicBezTo>
                <a:cubicBezTo>
                  <a:pt x="2" y="0"/>
                  <a:pt x="2" y="0"/>
                  <a:pt x="2" y="0"/>
                </a:cubicBezTo>
                <a:cubicBezTo>
                  <a:pt x="1" y="0"/>
                  <a:pt x="1" y="0"/>
                  <a:pt x="1" y="0"/>
                </a:cubicBezTo>
                <a:cubicBezTo>
                  <a:pt x="0" y="0"/>
                  <a:pt x="0" y="0"/>
                  <a:pt x="0" y="0"/>
                </a:cubicBezTo>
                <a:cubicBezTo>
                  <a:pt x="1" y="1"/>
                  <a:pt x="1" y="1"/>
                  <a:pt x="1" y="1"/>
                </a:cubicBezTo>
                <a:cubicBezTo>
                  <a:pt x="1" y="1"/>
                  <a:pt x="1" y="1"/>
                  <a:pt x="2" y="1"/>
                </a:cubicBezTo>
                <a:close/>
                <a:moveTo>
                  <a:pt x="3" y="2"/>
                </a:moveTo>
                <a:cubicBezTo>
                  <a:pt x="3" y="1"/>
                  <a:pt x="3" y="1"/>
                  <a:pt x="3" y="1"/>
                </a:cubicBezTo>
                <a:cubicBezTo>
                  <a:pt x="3" y="1"/>
                  <a:pt x="3" y="1"/>
                  <a:pt x="3" y="1"/>
                </a:cubicBezTo>
                <a:cubicBezTo>
                  <a:pt x="4" y="1"/>
                  <a:pt x="4" y="1"/>
                  <a:pt x="4" y="1"/>
                </a:cubicBezTo>
                <a:cubicBezTo>
                  <a:pt x="4" y="2"/>
                  <a:pt x="4" y="2"/>
                  <a:pt x="4" y="2"/>
                </a:cubicBezTo>
                <a:cubicBezTo>
                  <a:pt x="4" y="2"/>
                  <a:pt x="3" y="2"/>
                  <a:pt x="3" y="2"/>
                </a:cubicBezTo>
                <a:close/>
                <a:moveTo>
                  <a:pt x="8" y="4"/>
                </a:moveTo>
                <a:cubicBezTo>
                  <a:pt x="8" y="4"/>
                  <a:pt x="8" y="4"/>
                  <a:pt x="8" y="4"/>
                </a:cubicBezTo>
                <a:cubicBezTo>
                  <a:pt x="7" y="4"/>
                  <a:pt x="7" y="4"/>
                  <a:pt x="7" y="4"/>
                </a:cubicBezTo>
                <a:cubicBezTo>
                  <a:pt x="7" y="3"/>
                  <a:pt x="7" y="3"/>
                  <a:pt x="7" y="3"/>
                </a:cubicBezTo>
                <a:cubicBezTo>
                  <a:pt x="7" y="3"/>
                  <a:pt x="7" y="3"/>
                  <a:pt x="7" y="3"/>
                </a:cubicBezTo>
                <a:cubicBezTo>
                  <a:pt x="8" y="3"/>
                  <a:pt x="8" y="3"/>
                  <a:pt x="8" y="3"/>
                </a:cubicBezTo>
                <a:cubicBezTo>
                  <a:pt x="8" y="3"/>
                  <a:pt x="8" y="3"/>
                  <a:pt x="8" y="3"/>
                </a:cubicBezTo>
                <a:cubicBezTo>
                  <a:pt x="8" y="4"/>
                  <a:pt x="8" y="4"/>
                  <a:pt x="8" y="4"/>
                </a:cubicBezTo>
                <a:cubicBezTo>
                  <a:pt x="8" y="4"/>
                  <a:pt x="8" y="4"/>
                  <a:pt x="8" y="4"/>
                </a:cubicBezTo>
                <a:close/>
                <a:moveTo>
                  <a:pt x="10" y="4"/>
                </a:moveTo>
                <a:cubicBezTo>
                  <a:pt x="9" y="4"/>
                  <a:pt x="9" y="4"/>
                  <a:pt x="9" y="4"/>
                </a:cubicBezTo>
                <a:cubicBezTo>
                  <a:pt x="9" y="3"/>
                  <a:pt x="9" y="3"/>
                  <a:pt x="9" y="3"/>
                </a:cubicBezTo>
                <a:cubicBezTo>
                  <a:pt x="9" y="3"/>
                  <a:pt x="9" y="3"/>
                  <a:pt x="9" y="3"/>
                </a:cubicBezTo>
                <a:cubicBezTo>
                  <a:pt x="10" y="4"/>
                  <a:pt x="10" y="4"/>
                  <a:pt x="10" y="4"/>
                </a:cubicBezTo>
                <a:close/>
                <a:moveTo>
                  <a:pt x="15" y="3"/>
                </a:moveTo>
                <a:cubicBezTo>
                  <a:pt x="15" y="2"/>
                  <a:pt x="15" y="2"/>
                  <a:pt x="15" y="2"/>
                </a:cubicBezTo>
                <a:cubicBezTo>
                  <a:pt x="16" y="1"/>
                  <a:pt x="16" y="1"/>
                  <a:pt x="16" y="1"/>
                </a:cubicBezTo>
                <a:cubicBezTo>
                  <a:pt x="16" y="3"/>
                  <a:pt x="16" y="3"/>
                  <a:pt x="16" y="3"/>
                </a:cubicBezTo>
                <a:cubicBezTo>
                  <a:pt x="15" y="3"/>
                  <a:pt x="15" y="3"/>
                  <a:pt x="15" y="3"/>
                </a:cubicBezTo>
                <a:close/>
                <a:moveTo>
                  <a:pt x="15" y="7"/>
                </a:moveTo>
                <a:cubicBezTo>
                  <a:pt x="14" y="6"/>
                  <a:pt x="14" y="6"/>
                  <a:pt x="14" y="6"/>
                </a:cubicBezTo>
                <a:cubicBezTo>
                  <a:pt x="15" y="6"/>
                  <a:pt x="15" y="6"/>
                  <a:pt x="15" y="6"/>
                </a:cubicBezTo>
                <a:cubicBezTo>
                  <a:pt x="16" y="6"/>
                  <a:pt x="16" y="6"/>
                  <a:pt x="16" y="6"/>
                </a:cubicBezTo>
                <a:cubicBezTo>
                  <a:pt x="16" y="7"/>
                  <a:pt x="16" y="7"/>
                  <a:pt x="16" y="7"/>
                </a:cubicBezTo>
                <a:cubicBezTo>
                  <a:pt x="16" y="7"/>
                  <a:pt x="16" y="7"/>
                  <a:pt x="16" y="7"/>
                </a:cubicBezTo>
                <a:cubicBezTo>
                  <a:pt x="15" y="7"/>
                  <a:pt x="15" y="7"/>
                  <a:pt x="15" y="7"/>
                </a:cubicBezTo>
                <a:close/>
                <a:moveTo>
                  <a:pt x="14" y="13"/>
                </a:moveTo>
                <a:cubicBezTo>
                  <a:pt x="13" y="12"/>
                  <a:pt x="13" y="12"/>
                  <a:pt x="13" y="12"/>
                </a:cubicBezTo>
                <a:cubicBezTo>
                  <a:pt x="14" y="12"/>
                  <a:pt x="14" y="12"/>
                  <a:pt x="14" y="12"/>
                </a:cubicBezTo>
                <a:cubicBezTo>
                  <a:pt x="14" y="13"/>
                  <a:pt x="14" y="13"/>
                  <a:pt x="14" y="13"/>
                </a:cubicBezTo>
                <a:cubicBezTo>
                  <a:pt x="14" y="13"/>
                  <a:pt x="14" y="13"/>
                  <a:pt x="14" y="13"/>
                </a:cubicBezTo>
                <a:close/>
                <a:moveTo>
                  <a:pt x="10" y="14"/>
                </a:moveTo>
                <a:cubicBezTo>
                  <a:pt x="10" y="13"/>
                  <a:pt x="10" y="13"/>
                  <a:pt x="10" y="13"/>
                </a:cubicBezTo>
                <a:cubicBezTo>
                  <a:pt x="10" y="12"/>
                  <a:pt x="10" y="12"/>
                  <a:pt x="10" y="12"/>
                </a:cubicBezTo>
                <a:cubicBezTo>
                  <a:pt x="11" y="12"/>
                  <a:pt x="11" y="12"/>
                  <a:pt x="11" y="12"/>
                </a:cubicBezTo>
                <a:cubicBezTo>
                  <a:pt x="12" y="14"/>
                  <a:pt x="12" y="14"/>
                  <a:pt x="12" y="14"/>
                </a:cubicBezTo>
                <a:cubicBezTo>
                  <a:pt x="12" y="15"/>
                  <a:pt x="12" y="15"/>
                  <a:pt x="12" y="15"/>
                </a:cubicBezTo>
                <a:lnTo>
                  <a:pt x="10" y="14"/>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3" name="Freeform 101">
            <a:extLst>
              <a:ext uri="{FF2B5EF4-FFF2-40B4-BE49-F238E27FC236}">
                <a16:creationId xmlns:a16="http://schemas.microsoft.com/office/drawing/2014/main" id="{79DD08C0-E6B2-D617-C333-B26FB0AC0D1B}"/>
              </a:ext>
            </a:extLst>
          </p:cNvPr>
          <p:cNvSpPr>
            <a:spLocks noEditPoints="1"/>
          </p:cNvSpPr>
          <p:nvPr userDrawn="1"/>
        </p:nvSpPr>
        <p:spPr bwMode="auto">
          <a:xfrm>
            <a:off x="16385104" y="7657385"/>
            <a:ext cx="466696" cy="666750"/>
          </a:xfrm>
          <a:custGeom>
            <a:avLst/>
            <a:gdLst>
              <a:gd name="T0" fmla="*/ 56 w 147"/>
              <a:gd name="T1" fmla="*/ 138 h 210"/>
              <a:gd name="T2" fmla="*/ 56 w 147"/>
              <a:gd name="T3" fmla="*/ 78 h 210"/>
              <a:gd name="T4" fmla="*/ 78 w 147"/>
              <a:gd name="T5" fmla="*/ 28 h 210"/>
              <a:gd name="T6" fmla="*/ 84 w 147"/>
              <a:gd name="T7" fmla="*/ 47 h 210"/>
              <a:gd name="T8" fmla="*/ 97 w 147"/>
              <a:gd name="T9" fmla="*/ 60 h 210"/>
              <a:gd name="T10" fmla="*/ 103 w 147"/>
              <a:gd name="T11" fmla="*/ 60 h 210"/>
              <a:gd name="T12" fmla="*/ 115 w 147"/>
              <a:gd name="T13" fmla="*/ 60 h 210"/>
              <a:gd name="T14" fmla="*/ 122 w 147"/>
              <a:gd name="T15" fmla="*/ 60 h 210"/>
              <a:gd name="T16" fmla="*/ 131 w 147"/>
              <a:gd name="T17" fmla="*/ 72 h 210"/>
              <a:gd name="T18" fmla="*/ 134 w 147"/>
              <a:gd name="T19" fmla="*/ 78 h 210"/>
              <a:gd name="T20" fmla="*/ 147 w 147"/>
              <a:gd name="T21" fmla="*/ 85 h 210"/>
              <a:gd name="T22" fmla="*/ 147 w 147"/>
              <a:gd name="T23" fmla="*/ 91 h 210"/>
              <a:gd name="T24" fmla="*/ 143 w 147"/>
              <a:gd name="T25" fmla="*/ 97 h 210"/>
              <a:gd name="T26" fmla="*/ 137 w 147"/>
              <a:gd name="T27" fmla="*/ 113 h 210"/>
              <a:gd name="T28" fmla="*/ 131 w 147"/>
              <a:gd name="T29" fmla="*/ 119 h 210"/>
              <a:gd name="T30" fmla="*/ 125 w 147"/>
              <a:gd name="T31" fmla="*/ 129 h 210"/>
              <a:gd name="T32" fmla="*/ 122 w 147"/>
              <a:gd name="T33" fmla="*/ 129 h 210"/>
              <a:gd name="T34" fmla="*/ 122 w 147"/>
              <a:gd name="T35" fmla="*/ 125 h 210"/>
              <a:gd name="T36" fmla="*/ 118 w 147"/>
              <a:gd name="T37" fmla="*/ 125 h 210"/>
              <a:gd name="T38" fmla="*/ 115 w 147"/>
              <a:gd name="T39" fmla="*/ 129 h 210"/>
              <a:gd name="T40" fmla="*/ 115 w 147"/>
              <a:gd name="T41" fmla="*/ 132 h 210"/>
              <a:gd name="T42" fmla="*/ 112 w 147"/>
              <a:gd name="T43" fmla="*/ 144 h 210"/>
              <a:gd name="T44" fmla="*/ 112 w 147"/>
              <a:gd name="T45" fmla="*/ 147 h 210"/>
              <a:gd name="T46" fmla="*/ 112 w 147"/>
              <a:gd name="T47" fmla="*/ 150 h 210"/>
              <a:gd name="T48" fmla="*/ 115 w 147"/>
              <a:gd name="T49" fmla="*/ 160 h 210"/>
              <a:gd name="T50" fmla="*/ 106 w 147"/>
              <a:gd name="T51" fmla="*/ 160 h 210"/>
              <a:gd name="T52" fmla="*/ 100 w 147"/>
              <a:gd name="T53" fmla="*/ 160 h 210"/>
              <a:gd name="T54" fmla="*/ 90 w 147"/>
              <a:gd name="T55" fmla="*/ 172 h 210"/>
              <a:gd name="T56" fmla="*/ 87 w 147"/>
              <a:gd name="T57" fmla="*/ 179 h 210"/>
              <a:gd name="T58" fmla="*/ 81 w 147"/>
              <a:gd name="T59" fmla="*/ 182 h 210"/>
              <a:gd name="T60" fmla="*/ 68 w 147"/>
              <a:gd name="T61" fmla="*/ 182 h 210"/>
              <a:gd name="T62" fmla="*/ 65 w 147"/>
              <a:gd name="T63" fmla="*/ 188 h 210"/>
              <a:gd name="T64" fmla="*/ 65 w 147"/>
              <a:gd name="T65" fmla="*/ 191 h 210"/>
              <a:gd name="T66" fmla="*/ 65 w 147"/>
              <a:gd name="T67" fmla="*/ 194 h 210"/>
              <a:gd name="T68" fmla="*/ 65 w 147"/>
              <a:gd name="T69" fmla="*/ 194 h 210"/>
              <a:gd name="T70" fmla="*/ 59 w 147"/>
              <a:gd name="T71" fmla="*/ 204 h 210"/>
              <a:gd name="T72" fmla="*/ 53 w 147"/>
              <a:gd name="T73" fmla="*/ 200 h 210"/>
              <a:gd name="T74" fmla="*/ 40 w 147"/>
              <a:gd name="T75" fmla="*/ 204 h 210"/>
              <a:gd name="T76" fmla="*/ 34 w 147"/>
              <a:gd name="T77" fmla="*/ 210 h 210"/>
              <a:gd name="T78" fmla="*/ 31 w 147"/>
              <a:gd name="T79" fmla="*/ 210 h 210"/>
              <a:gd name="T80" fmla="*/ 15 w 147"/>
              <a:gd name="T81" fmla="*/ 194 h 210"/>
              <a:gd name="T82" fmla="*/ 0 w 147"/>
              <a:gd name="T83" fmla="*/ 163 h 210"/>
              <a:gd name="T84" fmla="*/ 3 w 147"/>
              <a:gd name="T85" fmla="*/ 154 h 210"/>
              <a:gd name="T86" fmla="*/ 72 w 147"/>
              <a:gd name="T87" fmla="*/ 16 h 210"/>
              <a:gd name="T88" fmla="*/ 75 w 147"/>
              <a:gd name="T89" fmla="*/ 7 h 210"/>
              <a:gd name="T90" fmla="*/ 75 w 147"/>
              <a:gd name="T91" fmla="*/ 3 h 210"/>
              <a:gd name="T92" fmla="*/ 75 w 147"/>
              <a:gd name="T93" fmla="*/ 3 h 210"/>
              <a:gd name="T94" fmla="*/ 75 w 147"/>
              <a:gd name="T95" fmla="*/ 0 h 210"/>
              <a:gd name="T96" fmla="*/ 72 w 147"/>
              <a:gd name="T97" fmla="*/ 0 h 210"/>
              <a:gd name="T98" fmla="*/ 68 w 147"/>
              <a:gd name="T99" fmla="*/ 10 h 210"/>
              <a:gd name="T100" fmla="*/ 68 w 147"/>
              <a:gd name="T101" fmla="*/ 10 h 210"/>
              <a:gd name="T102" fmla="*/ 72 w 147"/>
              <a:gd name="T103" fmla="*/ 13 h 210"/>
              <a:gd name="T104" fmla="*/ 72 w 147"/>
              <a:gd name="T105" fmla="*/ 1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7" h="210">
                <a:moveTo>
                  <a:pt x="3" y="154"/>
                </a:moveTo>
                <a:lnTo>
                  <a:pt x="56" y="138"/>
                </a:lnTo>
                <a:lnTo>
                  <a:pt x="59" y="94"/>
                </a:lnTo>
                <a:lnTo>
                  <a:pt x="56" y="78"/>
                </a:lnTo>
                <a:lnTo>
                  <a:pt x="72" y="28"/>
                </a:lnTo>
                <a:lnTo>
                  <a:pt x="78" y="28"/>
                </a:lnTo>
                <a:lnTo>
                  <a:pt x="78" y="38"/>
                </a:lnTo>
                <a:lnTo>
                  <a:pt x="84" y="47"/>
                </a:lnTo>
                <a:lnTo>
                  <a:pt x="84" y="50"/>
                </a:lnTo>
                <a:lnTo>
                  <a:pt x="97" y="60"/>
                </a:lnTo>
                <a:lnTo>
                  <a:pt x="100" y="60"/>
                </a:lnTo>
                <a:lnTo>
                  <a:pt x="103" y="60"/>
                </a:lnTo>
                <a:lnTo>
                  <a:pt x="106" y="60"/>
                </a:lnTo>
                <a:lnTo>
                  <a:pt x="115" y="60"/>
                </a:lnTo>
                <a:lnTo>
                  <a:pt x="122" y="60"/>
                </a:lnTo>
                <a:lnTo>
                  <a:pt x="122" y="60"/>
                </a:lnTo>
                <a:lnTo>
                  <a:pt x="128" y="66"/>
                </a:lnTo>
                <a:lnTo>
                  <a:pt x="131" y="72"/>
                </a:lnTo>
                <a:lnTo>
                  <a:pt x="134" y="75"/>
                </a:lnTo>
                <a:lnTo>
                  <a:pt x="134" y="78"/>
                </a:lnTo>
                <a:lnTo>
                  <a:pt x="143" y="85"/>
                </a:lnTo>
                <a:lnTo>
                  <a:pt x="147" y="85"/>
                </a:lnTo>
                <a:lnTo>
                  <a:pt x="147" y="88"/>
                </a:lnTo>
                <a:lnTo>
                  <a:pt x="147" y="91"/>
                </a:lnTo>
                <a:lnTo>
                  <a:pt x="143" y="94"/>
                </a:lnTo>
                <a:lnTo>
                  <a:pt x="143" y="97"/>
                </a:lnTo>
                <a:lnTo>
                  <a:pt x="143" y="100"/>
                </a:lnTo>
                <a:lnTo>
                  <a:pt x="137" y="113"/>
                </a:lnTo>
                <a:lnTo>
                  <a:pt x="131" y="116"/>
                </a:lnTo>
                <a:lnTo>
                  <a:pt x="131" y="119"/>
                </a:lnTo>
                <a:lnTo>
                  <a:pt x="128" y="122"/>
                </a:lnTo>
                <a:lnTo>
                  <a:pt x="125" y="129"/>
                </a:lnTo>
                <a:lnTo>
                  <a:pt x="125" y="129"/>
                </a:lnTo>
                <a:lnTo>
                  <a:pt x="122" y="129"/>
                </a:lnTo>
                <a:lnTo>
                  <a:pt x="122" y="125"/>
                </a:lnTo>
                <a:lnTo>
                  <a:pt x="122" y="125"/>
                </a:lnTo>
                <a:lnTo>
                  <a:pt x="122" y="122"/>
                </a:lnTo>
                <a:lnTo>
                  <a:pt x="118" y="125"/>
                </a:lnTo>
                <a:lnTo>
                  <a:pt x="115" y="129"/>
                </a:lnTo>
                <a:lnTo>
                  <a:pt x="115" y="129"/>
                </a:lnTo>
                <a:lnTo>
                  <a:pt x="118" y="132"/>
                </a:lnTo>
                <a:lnTo>
                  <a:pt x="115" y="132"/>
                </a:lnTo>
                <a:lnTo>
                  <a:pt x="112" y="138"/>
                </a:lnTo>
                <a:lnTo>
                  <a:pt x="112" y="144"/>
                </a:lnTo>
                <a:lnTo>
                  <a:pt x="109" y="147"/>
                </a:lnTo>
                <a:lnTo>
                  <a:pt x="112" y="147"/>
                </a:lnTo>
                <a:lnTo>
                  <a:pt x="112" y="150"/>
                </a:lnTo>
                <a:lnTo>
                  <a:pt x="112" y="150"/>
                </a:lnTo>
                <a:lnTo>
                  <a:pt x="115" y="157"/>
                </a:lnTo>
                <a:lnTo>
                  <a:pt x="115" y="160"/>
                </a:lnTo>
                <a:lnTo>
                  <a:pt x="115" y="160"/>
                </a:lnTo>
                <a:lnTo>
                  <a:pt x="106" y="160"/>
                </a:lnTo>
                <a:lnTo>
                  <a:pt x="103" y="163"/>
                </a:lnTo>
                <a:lnTo>
                  <a:pt x="100" y="160"/>
                </a:lnTo>
                <a:lnTo>
                  <a:pt x="97" y="163"/>
                </a:lnTo>
                <a:lnTo>
                  <a:pt x="90" y="172"/>
                </a:lnTo>
                <a:lnTo>
                  <a:pt x="90" y="179"/>
                </a:lnTo>
                <a:lnTo>
                  <a:pt x="87" y="179"/>
                </a:lnTo>
                <a:lnTo>
                  <a:pt x="84" y="182"/>
                </a:lnTo>
                <a:lnTo>
                  <a:pt x="81" y="182"/>
                </a:lnTo>
                <a:lnTo>
                  <a:pt x="75" y="182"/>
                </a:lnTo>
                <a:lnTo>
                  <a:pt x="68" y="182"/>
                </a:lnTo>
                <a:lnTo>
                  <a:pt x="68" y="185"/>
                </a:lnTo>
                <a:lnTo>
                  <a:pt x="65" y="188"/>
                </a:lnTo>
                <a:lnTo>
                  <a:pt x="65" y="188"/>
                </a:lnTo>
                <a:lnTo>
                  <a:pt x="65" y="191"/>
                </a:lnTo>
                <a:lnTo>
                  <a:pt x="65" y="191"/>
                </a:lnTo>
                <a:lnTo>
                  <a:pt x="65" y="194"/>
                </a:lnTo>
                <a:lnTo>
                  <a:pt x="65" y="194"/>
                </a:lnTo>
                <a:lnTo>
                  <a:pt x="65" y="194"/>
                </a:lnTo>
                <a:lnTo>
                  <a:pt x="62" y="204"/>
                </a:lnTo>
                <a:lnTo>
                  <a:pt x="59" y="204"/>
                </a:lnTo>
                <a:lnTo>
                  <a:pt x="56" y="200"/>
                </a:lnTo>
                <a:lnTo>
                  <a:pt x="53" y="200"/>
                </a:lnTo>
                <a:lnTo>
                  <a:pt x="50" y="200"/>
                </a:lnTo>
                <a:lnTo>
                  <a:pt x="40" y="204"/>
                </a:lnTo>
                <a:lnTo>
                  <a:pt x="37" y="204"/>
                </a:lnTo>
                <a:lnTo>
                  <a:pt x="34" y="210"/>
                </a:lnTo>
                <a:lnTo>
                  <a:pt x="31" y="210"/>
                </a:lnTo>
                <a:lnTo>
                  <a:pt x="31" y="210"/>
                </a:lnTo>
                <a:lnTo>
                  <a:pt x="28" y="210"/>
                </a:lnTo>
                <a:lnTo>
                  <a:pt x="15" y="194"/>
                </a:lnTo>
                <a:lnTo>
                  <a:pt x="18" y="188"/>
                </a:lnTo>
                <a:lnTo>
                  <a:pt x="0" y="163"/>
                </a:lnTo>
                <a:lnTo>
                  <a:pt x="3" y="154"/>
                </a:lnTo>
                <a:lnTo>
                  <a:pt x="3" y="154"/>
                </a:lnTo>
                <a:close/>
                <a:moveTo>
                  <a:pt x="72" y="19"/>
                </a:moveTo>
                <a:lnTo>
                  <a:pt x="72" y="16"/>
                </a:lnTo>
                <a:lnTo>
                  <a:pt x="75" y="13"/>
                </a:lnTo>
                <a:lnTo>
                  <a:pt x="75" y="7"/>
                </a:lnTo>
                <a:lnTo>
                  <a:pt x="75" y="7"/>
                </a:lnTo>
                <a:lnTo>
                  <a:pt x="75" y="3"/>
                </a:lnTo>
                <a:lnTo>
                  <a:pt x="75" y="3"/>
                </a:lnTo>
                <a:lnTo>
                  <a:pt x="75" y="3"/>
                </a:lnTo>
                <a:lnTo>
                  <a:pt x="75" y="3"/>
                </a:lnTo>
                <a:lnTo>
                  <a:pt x="75" y="0"/>
                </a:lnTo>
                <a:lnTo>
                  <a:pt x="72" y="3"/>
                </a:lnTo>
                <a:lnTo>
                  <a:pt x="72" y="0"/>
                </a:lnTo>
                <a:lnTo>
                  <a:pt x="72" y="7"/>
                </a:lnTo>
                <a:lnTo>
                  <a:pt x="68" y="10"/>
                </a:lnTo>
                <a:lnTo>
                  <a:pt x="68" y="7"/>
                </a:lnTo>
                <a:lnTo>
                  <a:pt x="68" y="10"/>
                </a:lnTo>
                <a:lnTo>
                  <a:pt x="68" y="10"/>
                </a:lnTo>
                <a:lnTo>
                  <a:pt x="72" y="13"/>
                </a:lnTo>
                <a:lnTo>
                  <a:pt x="72" y="19"/>
                </a:lnTo>
                <a:lnTo>
                  <a:pt x="72" y="19"/>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4" name="Freeform 102">
            <a:extLst>
              <a:ext uri="{FF2B5EF4-FFF2-40B4-BE49-F238E27FC236}">
                <a16:creationId xmlns:a16="http://schemas.microsoft.com/office/drawing/2014/main" id="{AE2672CD-7498-1E06-78DD-70D596BE1FC3}"/>
              </a:ext>
            </a:extLst>
          </p:cNvPr>
          <p:cNvSpPr>
            <a:spLocks noEditPoints="1"/>
          </p:cNvSpPr>
          <p:nvPr userDrawn="1"/>
        </p:nvSpPr>
        <p:spPr bwMode="auto">
          <a:xfrm>
            <a:off x="15807296" y="8146333"/>
            <a:ext cx="755601" cy="466726"/>
          </a:xfrm>
          <a:custGeom>
            <a:avLst/>
            <a:gdLst>
              <a:gd name="T0" fmla="*/ 7 w 238"/>
              <a:gd name="T1" fmla="*/ 56 h 147"/>
              <a:gd name="T2" fmla="*/ 10 w 238"/>
              <a:gd name="T3" fmla="*/ 56 h 147"/>
              <a:gd name="T4" fmla="*/ 13 w 238"/>
              <a:gd name="T5" fmla="*/ 43 h 147"/>
              <a:gd name="T6" fmla="*/ 19 w 238"/>
              <a:gd name="T7" fmla="*/ 34 h 147"/>
              <a:gd name="T8" fmla="*/ 38 w 238"/>
              <a:gd name="T9" fmla="*/ 37 h 147"/>
              <a:gd name="T10" fmla="*/ 72 w 238"/>
              <a:gd name="T11" fmla="*/ 53 h 147"/>
              <a:gd name="T12" fmla="*/ 110 w 238"/>
              <a:gd name="T13" fmla="*/ 21 h 147"/>
              <a:gd name="T14" fmla="*/ 182 w 238"/>
              <a:gd name="T15" fmla="*/ 9 h 147"/>
              <a:gd name="T16" fmla="*/ 197 w 238"/>
              <a:gd name="T17" fmla="*/ 40 h 147"/>
              <a:gd name="T18" fmla="*/ 204 w 238"/>
              <a:gd name="T19" fmla="*/ 56 h 147"/>
              <a:gd name="T20" fmla="*/ 191 w 238"/>
              <a:gd name="T21" fmla="*/ 65 h 147"/>
              <a:gd name="T22" fmla="*/ 191 w 238"/>
              <a:gd name="T23" fmla="*/ 71 h 147"/>
              <a:gd name="T24" fmla="*/ 191 w 238"/>
              <a:gd name="T25" fmla="*/ 75 h 147"/>
              <a:gd name="T26" fmla="*/ 179 w 238"/>
              <a:gd name="T27" fmla="*/ 81 h 147"/>
              <a:gd name="T28" fmla="*/ 160 w 238"/>
              <a:gd name="T29" fmla="*/ 87 h 147"/>
              <a:gd name="T30" fmla="*/ 135 w 238"/>
              <a:gd name="T31" fmla="*/ 97 h 147"/>
              <a:gd name="T32" fmla="*/ 132 w 238"/>
              <a:gd name="T33" fmla="*/ 97 h 147"/>
              <a:gd name="T34" fmla="*/ 119 w 238"/>
              <a:gd name="T35" fmla="*/ 109 h 147"/>
              <a:gd name="T36" fmla="*/ 116 w 238"/>
              <a:gd name="T37" fmla="*/ 109 h 147"/>
              <a:gd name="T38" fmla="*/ 113 w 238"/>
              <a:gd name="T39" fmla="*/ 109 h 147"/>
              <a:gd name="T40" fmla="*/ 107 w 238"/>
              <a:gd name="T41" fmla="*/ 109 h 147"/>
              <a:gd name="T42" fmla="*/ 100 w 238"/>
              <a:gd name="T43" fmla="*/ 115 h 147"/>
              <a:gd name="T44" fmla="*/ 88 w 238"/>
              <a:gd name="T45" fmla="*/ 118 h 147"/>
              <a:gd name="T46" fmla="*/ 75 w 238"/>
              <a:gd name="T47" fmla="*/ 122 h 147"/>
              <a:gd name="T48" fmla="*/ 69 w 238"/>
              <a:gd name="T49" fmla="*/ 122 h 147"/>
              <a:gd name="T50" fmla="*/ 66 w 238"/>
              <a:gd name="T51" fmla="*/ 118 h 147"/>
              <a:gd name="T52" fmla="*/ 57 w 238"/>
              <a:gd name="T53" fmla="*/ 122 h 147"/>
              <a:gd name="T54" fmla="*/ 54 w 238"/>
              <a:gd name="T55" fmla="*/ 128 h 147"/>
              <a:gd name="T56" fmla="*/ 47 w 238"/>
              <a:gd name="T57" fmla="*/ 134 h 147"/>
              <a:gd name="T58" fmla="*/ 41 w 238"/>
              <a:gd name="T59" fmla="*/ 134 h 147"/>
              <a:gd name="T60" fmla="*/ 32 w 238"/>
              <a:gd name="T61" fmla="*/ 137 h 147"/>
              <a:gd name="T62" fmla="*/ 25 w 238"/>
              <a:gd name="T63" fmla="*/ 137 h 147"/>
              <a:gd name="T64" fmla="*/ 22 w 238"/>
              <a:gd name="T65" fmla="*/ 134 h 147"/>
              <a:gd name="T66" fmla="*/ 16 w 238"/>
              <a:gd name="T67" fmla="*/ 125 h 147"/>
              <a:gd name="T68" fmla="*/ 16 w 238"/>
              <a:gd name="T69" fmla="*/ 118 h 147"/>
              <a:gd name="T70" fmla="*/ 10 w 238"/>
              <a:gd name="T71" fmla="*/ 109 h 147"/>
              <a:gd name="T72" fmla="*/ 4 w 238"/>
              <a:gd name="T73" fmla="*/ 84 h 147"/>
              <a:gd name="T74" fmla="*/ 0 w 238"/>
              <a:gd name="T75" fmla="*/ 81 h 147"/>
              <a:gd name="T76" fmla="*/ 4 w 238"/>
              <a:gd name="T77" fmla="*/ 78 h 147"/>
              <a:gd name="T78" fmla="*/ 4 w 238"/>
              <a:gd name="T79" fmla="*/ 78 h 147"/>
              <a:gd name="T80" fmla="*/ 4 w 238"/>
              <a:gd name="T81" fmla="*/ 59 h 147"/>
              <a:gd name="T82" fmla="*/ 4 w 238"/>
              <a:gd name="T83" fmla="*/ 56 h 147"/>
              <a:gd name="T84" fmla="*/ 194 w 238"/>
              <a:gd name="T85" fmla="*/ 147 h 147"/>
              <a:gd name="T86" fmla="*/ 194 w 238"/>
              <a:gd name="T87" fmla="*/ 147 h 147"/>
              <a:gd name="T88" fmla="*/ 191 w 238"/>
              <a:gd name="T89" fmla="*/ 147 h 147"/>
              <a:gd name="T90" fmla="*/ 216 w 238"/>
              <a:gd name="T91" fmla="*/ 140 h 147"/>
              <a:gd name="T92" fmla="*/ 219 w 238"/>
              <a:gd name="T93" fmla="*/ 134 h 147"/>
              <a:gd name="T94" fmla="*/ 222 w 238"/>
              <a:gd name="T95" fmla="*/ 137 h 147"/>
              <a:gd name="T96" fmla="*/ 229 w 238"/>
              <a:gd name="T97" fmla="*/ 137 h 147"/>
              <a:gd name="T98" fmla="*/ 235 w 238"/>
              <a:gd name="T99" fmla="*/ 137 h 147"/>
              <a:gd name="T100" fmla="*/ 238 w 238"/>
              <a:gd name="T101" fmla="*/ 140 h 147"/>
              <a:gd name="T102" fmla="*/ 235 w 238"/>
              <a:gd name="T103" fmla="*/ 140 h 147"/>
              <a:gd name="T104" fmla="*/ 225 w 238"/>
              <a:gd name="T105" fmla="*/ 143 h 147"/>
              <a:gd name="T106" fmla="*/ 216 w 238"/>
              <a:gd name="T107" fmla="*/ 14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8" h="147">
                <a:moveTo>
                  <a:pt x="4" y="56"/>
                </a:moveTo>
                <a:lnTo>
                  <a:pt x="7" y="56"/>
                </a:lnTo>
                <a:lnTo>
                  <a:pt x="10" y="59"/>
                </a:lnTo>
                <a:lnTo>
                  <a:pt x="10" y="56"/>
                </a:lnTo>
                <a:lnTo>
                  <a:pt x="16" y="50"/>
                </a:lnTo>
                <a:lnTo>
                  <a:pt x="13" y="43"/>
                </a:lnTo>
                <a:lnTo>
                  <a:pt x="16" y="34"/>
                </a:lnTo>
                <a:lnTo>
                  <a:pt x="19" y="34"/>
                </a:lnTo>
                <a:lnTo>
                  <a:pt x="25" y="37"/>
                </a:lnTo>
                <a:lnTo>
                  <a:pt x="38" y="37"/>
                </a:lnTo>
                <a:lnTo>
                  <a:pt x="57" y="43"/>
                </a:lnTo>
                <a:lnTo>
                  <a:pt x="72" y="53"/>
                </a:lnTo>
                <a:lnTo>
                  <a:pt x="72" y="71"/>
                </a:lnTo>
                <a:lnTo>
                  <a:pt x="110" y="21"/>
                </a:lnTo>
                <a:lnTo>
                  <a:pt x="185" y="0"/>
                </a:lnTo>
                <a:lnTo>
                  <a:pt x="182" y="9"/>
                </a:lnTo>
                <a:lnTo>
                  <a:pt x="200" y="34"/>
                </a:lnTo>
                <a:lnTo>
                  <a:pt x="197" y="40"/>
                </a:lnTo>
                <a:lnTo>
                  <a:pt x="210" y="56"/>
                </a:lnTo>
                <a:lnTo>
                  <a:pt x="204" y="56"/>
                </a:lnTo>
                <a:lnTo>
                  <a:pt x="197" y="59"/>
                </a:lnTo>
                <a:lnTo>
                  <a:pt x="191" y="65"/>
                </a:lnTo>
                <a:lnTo>
                  <a:pt x="191" y="71"/>
                </a:lnTo>
                <a:lnTo>
                  <a:pt x="191" y="71"/>
                </a:lnTo>
                <a:lnTo>
                  <a:pt x="191" y="75"/>
                </a:lnTo>
                <a:lnTo>
                  <a:pt x="191" y="75"/>
                </a:lnTo>
                <a:lnTo>
                  <a:pt x="182" y="78"/>
                </a:lnTo>
                <a:lnTo>
                  <a:pt x="179" y="81"/>
                </a:lnTo>
                <a:lnTo>
                  <a:pt x="172" y="84"/>
                </a:lnTo>
                <a:lnTo>
                  <a:pt x="160" y="87"/>
                </a:lnTo>
                <a:lnTo>
                  <a:pt x="157" y="90"/>
                </a:lnTo>
                <a:lnTo>
                  <a:pt x="135" y="97"/>
                </a:lnTo>
                <a:lnTo>
                  <a:pt x="135" y="97"/>
                </a:lnTo>
                <a:lnTo>
                  <a:pt x="132" y="97"/>
                </a:lnTo>
                <a:lnTo>
                  <a:pt x="125" y="103"/>
                </a:lnTo>
                <a:lnTo>
                  <a:pt x="119" y="109"/>
                </a:lnTo>
                <a:lnTo>
                  <a:pt x="119" y="109"/>
                </a:lnTo>
                <a:lnTo>
                  <a:pt x="116" y="109"/>
                </a:lnTo>
                <a:lnTo>
                  <a:pt x="116" y="109"/>
                </a:lnTo>
                <a:lnTo>
                  <a:pt x="113" y="109"/>
                </a:lnTo>
                <a:lnTo>
                  <a:pt x="110" y="109"/>
                </a:lnTo>
                <a:lnTo>
                  <a:pt x="107" y="109"/>
                </a:lnTo>
                <a:lnTo>
                  <a:pt x="100" y="112"/>
                </a:lnTo>
                <a:lnTo>
                  <a:pt x="100" y="115"/>
                </a:lnTo>
                <a:lnTo>
                  <a:pt x="97" y="118"/>
                </a:lnTo>
                <a:lnTo>
                  <a:pt x="88" y="118"/>
                </a:lnTo>
                <a:lnTo>
                  <a:pt x="79" y="122"/>
                </a:lnTo>
                <a:lnTo>
                  <a:pt x="75" y="122"/>
                </a:lnTo>
                <a:lnTo>
                  <a:pt x="75" y="118"/>
                </a:lnTo>
                <a:lnTo>
                  <a:pt x="69" y="122"/>
                </a:lnTo>
                <a:lnTo>
                  <a:pt x="69" y="118"/>
                </a:lnTo>
                <a:lnTo>
                  <a:pt x="66" y="118"/>
                </a:lnTo>
                <a:lnTo>
                  <a:pt x="63" y="118"/>
                </a:lnTo>
                <a:lnTo>
                  <a:pt x="57" y="122"/>
                </a:lnTo>
                <a:lnTo>
                  <a:pt x="57" y="128"/>
                </a:lnTo>
                <a:lnTo>
                  <a:pt x="54" y="128"/>
                </a:lnTo>
                <a:lnTo>
                  <a:pt x="50" y="134"/>
                </a:lnTo>
                <a:lnTo>
                  <a:pt x="47" y="134"/>
                </a:lnTo>
                <a:lnTo>
                  <a:pt x="44" y="134"/>
                </a:lnTo>
                <a:lnTo>
                  <a:pt x="41" y="134"/>
                </a:lnTo>
                <a:lnTo>
                  <a:pt x="35" y="137"/>
                </a:lnTo>
                <a:lnTo>
                  <a:pt x="32" y="137"/>
                </a:lnTo>
                <a:lnTo>
                  <a:pt x="29" y="134"/>
                </a:lnTo>
                <a:lnTo>
                  <a:pt x="25" y="137"/>
                </a:lnTo>
                <a:lnTo>
                  <a:pt x="22" y="137"/>
                </a:lnTo>
                <a:lnTo>
                  <a:pt x="22" y="134"/>
                </a:lnTo>
                <a:lnTo>
                  <a:pt x="19" y="128"/>
                </a:lnTo>
                <a:lnTo>
                  <a:pt x="16" y="125"/>
                </a:lnTo>
                <a:lnTo>
                  <a:pt x="13" y="118"/>
                </a:lnTo>
                <a:lnTo>
                  <a:pt x="16" y="118"/>
                </a:lnTo>
                <a:lnTo>
                  <a:pt x="16" y="112"/>
                </a:lnTo>
                <a:lnTo>
                  <a:pt x="10" y="109"/>
                </a:lnTo>
                <a:lnTo>
                  <a:pt x="7" y="90"/>
                </a:lnTo>
                <a:lnTo>
                  <a:pt x="4" y="84"/>
                </a:lnTo>
                <a:lnTo>
                  <a:pt x="4" y="81"/>
                </a:lnTo>
                <a:lnTo>
                  <a:pt x="0" y="81"/>
                </a:lnTo>
                <a:lnTo>
                  <a:pt x="0" y="78"/>
                </a:lnTo>
                <a:lnTo>
                  <a:pt x="4" y="78"/>
                </a:lnTo>
                <a:lnTo>
                  <a:pt x="4" y="78"/>
                </a:lnTo>
                <a:lnTo>
                  <a:pt x="4" y="78"/>
                </a:lnTo>
                <a:lnTo>
                  <a:pt x="7" y="71"/>
                </a:lnTo>
                <a:lnTo>
                  <a:pt x="4" y="59"/>
                </a:lnTo>
                <a:lnTo>
                  <a:pt x="4" y="56"/>
                </a:lnTo>
                <a:lnTo>
                  <a:pt x="4" y="56"/>
                </a:lnTo>
                <a:close/>
                <a:moveTo>
                  <a:pt x="191" y="147"/>
                </a:moveTo>
                <a:lnTo>
                  <a:pt x="194" y="147"/>
                </a:lnTo>
                <a:lnTo>
                  <a:pt x="200" y="147"/>
                </a:lnTo>
                <a:lnTo>
                  <a:pt x="194" y="147"/>
                </a:lnTo>
                <a:lnTo>
                  <a:pt x="191" y="147"/>
                </a:lnTo>
                <a:lnTo>
                  <a:pt x="191" y="147"/>
                </a:lnTo>
                <a:close/>
                <a:moveTo>
                  <a:pt x="216" y="140"/>
                </a:moveTo>
                <a:lnTo>
                  <a:pt x="216" y="140"/>
                </a:lnTo>
                <a:lnTo>
                  <a:pt x="216" y="137"/>
                </a:lnTo>
                <a:lnTo>
                  <a:pt x="219" y="134"/>
                </a:lnTo>
                <a:lnTo>
                  <a:pt x="222" y="134"/>
                </a:lnTo>
                <a:lnTo>
                  <a:pt x="222" y="137"/>
                </a:lnTo>
                <a:lnTo>
                  <a:pt x="225" y="137"/>
                </a:lnTo>
                <a:lnTo>
                  <a:pt x="229" y="137"/>
                </a:lnTo>
                <a:lnTo>
                  <a:pt x="232" y="137"/>
                </a:lnTo>
                <a:lnTo>
                  <a:pt x="235" y="137"/>
                </a:lnTo>
                <a:lnTo>
                  <a:pt x="238" y="137"/>
                </a:lnTo>
                <a:lnTo>
                  <a:pt x="238" y="140"/>
                </a:lnTo>
                <a:lnTo>
                  <a:pt x="238" y="140"/>
                </a:lnTo>
                <a:lnTo>
                  <a:pt x="235" y="140"/>
                </a:lnTo>
                <a:lnTo>
                  <a:pt x="229" y="143"/>
                </a:lnTo>
                <a:lnTo>
                  <a:pt x="225" y="143"/>
                </a:lnTo>
                <a:lnTo>
                  <a:pt x="219" y="143"/>
                </a:lnTo>
                <a:lnTo>
                  <a:pt x="216" y="143"/>
                </a:lnTo>
                <a:lnTo>
                  <a:pt x="216" y="14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5" name="Freeform 103">
            <a:extLst>
              <a:ext uri="{FF2B5EF4-FFF2-40B4-BE49-F238E27FC236}">
                <a16:creationId xmlns:a16="http://schemas.microsoft.com/office/drawing/2014/main" id="{DFBB5B58-F92C-7E82-6714-7E6C209E4B74}"/>
              </a:ext>
            </a:extLst>
          </p:cNvPr>
          <p:cNvSpPr>
            <a:spLocks/>
          </p:cNvSpPr>
          <p:nvPr userDrawn="1"/>
        </p:nvSpPr>
        <p:spPr bwMode="auto">
          <a:xfrm>
            <a:off x="14658021" y="7320837"/>
            <a:ext cx="784175" cy="654050"/>
          </a:xfrm>
          <a:custGeom>
            <a:avLst/>
            <a:gdLst>
              <a:gd name="T0" fmla="*/ 197 w 247"/>
              <a:gd name="T1" fmla="*/ 37 h 206"/>
              <a:gd name="T2" fmla="*/ 184 w 247"/>
              <a:gd name="T3" fmla="*/ 12 h 206"/>
              <a:gd name="T4" fmla="*/ 175 w 247"/>
              <a:gd name="T5" fmla="*/ 9 h 206"/>
              <a:gd name="T6" fmla="*/ 150 w 247"/>
              <a:gd name="T7" fmla="*/ 12 h 206"/>
              <a:gd name="T8" fmla="*/ 144 w 247"/>
              <a:gd name="T9" fmla="*/ 16 h 206"/>
              <a:gd name="T10" fmla="*/ 137 w 247"/>
              <a:gd name="T11" fmla="*/ 9 h 206"/>
              <a:gd name="T12" fmla="*/ 134 w 247"/>
              <a:gd name="T13" fmla="*/ 3 h 206"/>
              <a:gd name="T14" fmla="*/ 122 w 247"/>
              <a:gd name="T15" fmla="*/ 3 h 206"/>
              <a:gd name="T16" fmla="*/ 125 w 247"/>
              <a:gd name="T17" fmla="*/ 6 h 206"/>
              <a:gd name="T18" fmla="*/ 112 w 247"/>
              <a:gd name="T19" fmla="*/ 6 h 206"/>
              <a:gd name="T20" fmla="*/ 115 w 247"/>
              <a:gd name="T21" fmla="*/ 3 h 206"/>
              <a:gd name="T22" fmla="*/ 109 w 247"/>
              <a:gd name="T23" fmla="*/ 3 h 206"/>
              <a:gd name="T24" fmla="*/ 100 w 247"/>
              <a:gd name="T25" fmla="*/ 9 h 206"/>
              <a:gd name="T26" fmla="*/ 87 w 247"/>
              <a:gd name="T27" fmla="*/ 16 h 206"/>
              <a:gd name="T28" fmla="*/ 72 w 247"/>
              <a:gd name="T29" fmla="*/ 12 h 206"/>
              <a:gd name="T30" fmla="*/ 56 w 247"/>
              <a:gd name="T31" fmla="*/ 9 h 206"/>
              <a:gd name="T32" fmla="*/ 40 w 247"/>
              <a:gd name="T33" fmla="*/ 6 h 206"/>
              <a:gd name="T34" fmla="*/ 9 w 247"/>
              <a:gd name="T35" fmla="*/ 3 h 206"/>
              <a:gd name="T36" fmla="*/ 6 w 247"/>
              <a:gd name="T37" fmla="*/ 6 h 206"/>
              <a:gd name="T38" fmla="*/ 6 w 247"/>
              <a:gd name="T39" fmla="*/ 25 h 206"/>
              <a:gd name="T40" fmla="*/ 3 w 247"/>
              <a:gd name="T41" fmla="*/ 41 h 206"/>
              <a:gd name="T42" fmla="*/ 247 w 247"/>
              <a:gd name="T43" fmla="*/ 206 h 206"/>
              <a:gd name="T44" fmla="*/ 241 w 247"/>
              <a:gd name="T45" fmla="*/ 200 h 206"/>
              <a:gd name="T46" fmla="*/ 231 w 247"/>
              <a:gd name="T47" fmla="*/ 191 h 206"/>
              <a:gd name="T48" fmla="*/ 219 w 247"/>
              <a:gd name="T49" fmla="*/ 188 h 206"/>
              <a:gd name="T50" fmla="*/ 215 w 247"/>
              <a:gd name="T51" fmla="*/ 169 h 206"/>
              <a:gd name="T52" fmla="*/ 219 w 247"/>
              <a:gd name="T53" fmla="*/ 166 h 206"/>
              <a:gd name="T54" fmla="*/ 219 w 247"/>
              <a:gd name="T55" fmla="*/ 166 h 206"/>
              <a:gd name="T56" fmla="*/ 215 w 247"/>
              <a:gd name="T57" fmla="*/ 159 h 206"/>
              <a:gd name="T58" fmla="*/ 203 w 247"/>
              <a:gd name="T59" fmla="*/ 141 h 206"/>
              <a:gd name="T60" fmla="*/ 187 w 247"/>
              <a:gd name="T61" fmla="*/ 116 h 206"/>
              <a:gd name="T62" fmla="*/ 184 w 247"/>
              <a:gd name="T63" fmla="*/ 100 h 206"/>
              <a:gd name="T64" fmla="*/ 175 w 247"/>
              <a:gd name="T65" fmla="*/ 87 h 206"/>
              <a:gd name="T66" fmla="*/ 172 w 247"/>
              <a:gd name="T67" fmla="*/ 78 h 206"/>
              <a:gd name="T68" fmla="*/ 153 w 247"/>
              <a:gd name="T69" fmla="*/ 56 h 206"/>
              <a:gd name="T70" fmla="*/ 150 w 247"/>
              <a:gd name="T71" fmla="*/ 44 h 206"/>
              <a:gd name="T72" fmla="*/ 150 w 247"/>
              <a:gd name="T73" fmla="*/ 41 h 206"/>
              <a:gd name="T74" fmla="*/ 156 w 247"/>
              <a:gd name="T75" fmla="*/ 50 h 206"/>
              <a:gd name="T76" fmla="*/ 165 w 247"/>
              <a:gd name="T77" fmla="*/ 62 h 206"/>
              <a:gd name="T78" fmla="*/ 172 w 247"/>
              <a:gd name="T79" fmla="*/ 72 h 206"/>
              <a:gd name="T80" fmla="*/ 187 w 247"/>
              <a:gd name="T81" fmla="*/ 84 h 206"/>
              <a:gd name="T82" fmla="*/ 194 w 247"/>
              <a:gd name="T83" fmla="*/ 75 h 206"/>
              <a:gd name="T84" fmla="*/ 194 w 247"/>
              <a:gd name="T85" fmla="*/ 6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7" h="206">
                <a:moveTo>
                  <a:pt x="197" y="50"/>
                </a:moveTo>
                <a:lnTo>
                  <a:pt x="194" y="44"/>
                </a:lnTo>
                <a:lnTo>
                  <a:pt x="197" y="37"/>
                </a:lnTo>
                <a:lnTo>
                  <a:pt x="194" y="28"/>
                </a:lnTo>
                <a:lnTo>
                  <a:pt x="187" y="19"/>
                </a:lnTo>
                <a:lnTo>
                  <a:pt x="184" y="12"/>
                </a:lnTo>
                <a:lnTo>
                  <a:pt x="181" y="6"/>
                </a:lnTo>
                <a:lnTo>
                  <a:pt x="178" y="6"/>
                </a:lnTo>
                <a:lnTo>
                  <a:pt x="175" y="9"/>
                </a:lnTo>
                <a:lnTo>
                  <a:pt x="172" y="12"/>
                </a:lnTo>
                <a:lnTo>
                  <a:pt x="159" y="9"/>
                </a:lnTo>
                <a:lnTo>
                  <a:pt x="150" y="12"/>
                </a:lnTo>
                <a:lnTo>
                  <a:pt x="140" y="6"/>
                </a:lnTo>
                <a:lnTo>
                  <a:pt x="140" y="9"/>
                </a:lnTo>
                <a:lnTo>
                  <a:pt x="144" y="16"/>
                </a:lnTo>
                <a:lnTo>
                  <a:pt x="144" y="16"/>
                </a:lnTo>
                <a:lnTo>
                  <a:pt x="140" y="12"/>
                </a:lnTo>
                <a:lnTo>
                  <a:pt x="137" y="9"/>
                </a:lnTo>
                <a:lnTo>
                  <a:pt x="134" y="6"/>
                </a:lnTo>
                <a:lnTo>
                  <a:pt x="137" y="6"/>
                </a:lnTo>
                <a:lnTo>
                  <a:pt x="134" y="3"/>
                </a:lnTo>
                <a:lnTo>
                  <a:pt x="131" y="6"/>
                </a:lnTo>
                <a:lnTo>
                  <a:pt x="128" y="3"/>
                </a:lnTo>
                <a:lnTo>
                  <a:pt x="122" y="3"/>
                </a:lnTo>
                <a:lnTo>
                  <a:pt x="122" y="3"/>
                </a:lnTo>
                <a:lnTo>
                  <a:pt x="125" y="3"/>
                </a:lnTo>
                <a:lnTo>
                  <a:pt x="125" y="6"/>
                </a:lnTo>
                <a:lnTo>
                  <a:pt x="122" y="6"/>
                </a:lnTo>
                <a:lnTo>
                  <a:pt x="115" y="6"/>
                </a:lnTo>
                <a:lnTo>
                  <a:pt x="112" y="6"/>
                </a:lnTo>
                <a:lnTo>
                  <a:pt x="112" y="6"/>
                </a:lnTo>
                <a:lnTo>
                  <a:pt x="112" y="3"/>
                </a:lnTo>
                <a:lnTo>
                  <a:pt x="115" y="3"/>
                </a:lnTo>
                <a:lnTo>
                  <a:pt x="119" y="3"/>
                </a:lnTo>
                <a:lnTo>
                  <a:pt x="115" y="3"/>
                </a:lnTo>
                <a:lnTo>
                  <a:pt x="109" y="3"/>
                </a:lnTo>
                <a:lnTo>
                  <a:pt x="106" y="6"/>
                </a:lnTo>
                <a:lnTo>
                  <a:pt x="100" y="9"/>
                </a:lnTo>
                <a:lnTo>
                  <a:pt x="100" y="9"/>
                </a:lnTo>
                <a:lnTo>
                  <a:pt x="94" y="12"/>
                </a:lnTo>
                <a:lnTo>
                  <a:pt x="90" y="16"/>
                </a:lnTo>
                <a:lnTo>
                  <a:pt x="87" y="16"/>
                </a:lnTo>
                <a:lnTo>
                  <a:pt x="81" y="16"/>
                </a:lnTo>
                <a:lnTo>
                  <a:pt x="75" y="12"/>
                </a:lnTo>
                <a:lnTo>
                  <a:pt x="72" y="12"/>
                </a:lnTo>
                <a:lnTo>
                  <a:pt x="62" y="12"/>
                </a:lnTo>
                <a:lnTo>
                  <a:pt x="59" y="9"/>
                </a:lnTo>
                <a:lnTo>
                  <a:pt x="56" y="9"/>
                </a:lnTo>
                <a:lnTo>
                  <a:pt x="53" y="9"/>
                </a:lnTo>
                <a:lnTo>
                  <a:pt x="47" y="6"/>
                </a:lnTo>
                <a:lnTo>
                  <a:pt x="40" y="6"/>
                </a:lnTo>
                <a:lnTo>
                  <a:pt x="25" y="3"/>
                </a:lnTo>
                <a:lnTo>
                  <a:pt x="19" y="0"/>
                </a:lnTo>
                <a:lnTo>
                  <a:pt x="9" y="3"/>
                </a:lnTo>
                <a:lnTo>
                  <a:pt x="6" y="3"/>
                </a:lnTo>
                <a:lnTo>
                  <a:pt x="6" y="3"/>
                </a:lnTo>
                <a:lnTo>
                  <a:pt x="6" y="6"/>
                </a:lnTo>
                <a:lnTo>
                  <a:pt x="3" y="12"/>
                </a:lnTo>
                <a:lnTo>
                  <a:pt x="6" y="19"/>
                </a:lnTo>
                <a:lnTo>
                  <a:pt x="6" y="25"/>
                </a:lnTo>
                <a:lnTo>
                  <a:pt x="3" y="31"/>
                </a:lnTo>
                <a:lnTo>
                  <a:pt x="0" y="37"/>
                </a:lnTo>
                <a:lnTo>
                  <a:pt x="3" y="41"/>
                </a:lnTo>
                <a:lnTo>
                  <a:pt x="6" y="53"/>
                </a:lnTo>
                <a:lnTo>
                  <a:pt x="12" y="206"/>
                </a:lnTo>
                <a:lnTo>
                  <a:pt x="247" y="206"/>
                </a:lnTo>
                <a:lnTo>
                  <a:pt x="247" y="206"/>
                </a:lnTo>
                <a:lnTo>
                  <a:pt x="244" y="203"/>
                </a:lnTo>
                <a:lnTo>
                  <a:pt x="241" y="200"/>
                </a:lnTo>
                <a:lnTo>
                  <a:pt x="237" y="197"/>
                </a:lnTo>
                <a:lnTo>
                  <a:pt x="234" y="197"/>
                </a:lnTo>
                <a:lnTo>
                  <a:pt x="231" y="191"/>
                </a:lnTo>
                <a:lnTo>
                  <a:pt x="228" y="191"/>
                </a:lnTo>
                <a:lnTo>
                  <a:pt x="225" y="191"/>
                </a:lnTo>
                <a:lnTo>
                  <a:pt x="219" y="188"/>
                </a:lnTo>
                <a:lnTo>
                  <a:pt x="215" y="178"/>
                </a:lnTo>
                <a:lnTo>
                  <a:pt x="215" y="175"/>
                </a:lnTo>
                <a:lnTo>
                  <a:pt x="215" y="169"/>
                </a:lnTo>
                <a:lnTo>
                  <a:pt x="215" y="166"/>
                </a:lnTo>
                <a:lnTo>
                  <a:pt x="215" y="166"/>
                </a:lnTo>
                <a:lnTo>
                  <a:pt x="219" y="166"/>
                </a:lnTo>
                <a:lnTo>
                  <a:pt x="222" y="166"/>
                </a:lnTo>
                <a:lnTo>
                  <a:pt x="222" y="166"/>
                </a:lnTo>
                <a:lnTo>
                  <a:pt x="219" y="166"/>
                </a:lnTo>
                <a:lnTo>
                  <a:pt x="215" y="159"/>
                </a:lnTo>
                <a:lnTo>
                  <a:pt x="215" y="159"/>
                </a:lnTo>
                <a:lnTo>
                  <a:pt x="215" y="159"/>
                </a:lnTo>
                <a:lnTo>
                  <a:pt x="212" y="156"/>
                </a:lnTo>
                <a:lnTo>
                  <a:pt x="209" y="153"/>
                </a:lnTo>
                <a:lnTo>
                  <a:pt x="203" y="141"/>
                </a:lnTo>
                <a:lnTo>
                  <a:pt x="200" y="138"/>
                </a:lnTo>
                <a:lnTo>
                  <a:pt x="197" y="131"/>
                </a:lnTo>
                <a:lnTo>
                  <a:pt x="187" y="116"/>
                </a:lnTo>
                <a:lnTo>
                  <a:pt x="187" y="109"/>
                </a:lnTo>
                <a:lnTo>
                  <a:pt x="184" y="106"/>
                </a:lnTo>
                <a:lnTo>
                  <a:pt x="184" y="100"/>
                </a:lnTo>
                <a:lnTo>
                  <a:pt x="181" y="97"/>
                </a:lnTo>
                <a:lnTo>
                  <a:pt x="181" y="94"/>
                </a:lnTo>
                <a:lnTo>
                  <a:pt x="175" y="87"/>
                </a:lnTo>
                <a:lnTo>
                  <a:pt x="175" y="84"/>
                </a:lnTo>
                <a:lnTo>
                  <a:pt x="175" y="81"/>
                </a:lnTo>
                <a:lnTo>
                  <a:pt x="172" y="78"/>
                </a:lnTo>
                <a:lnTo>
                  <a:pt x="162" y="69"/>
                </a:lnTo>
                <a:lnTo>
                  <a:pt x="162" y="66"/>
                </a:lnTo>
                <a:lnTo>
                  <a:pt x="153" y="56"/>
                </a:lnTo>
                <a:lnTo>
                  <a:pt x="153" y="53"/>
                </a:lnTo>
                <a:lnTo>
                  <a:pt x="150" y="47"/>
                </a:lnTo>
                <a:lnTo>
                  <a:pt x="150" y="44"/>
                </a:lnTo>
                <a:lnTo>
                  <a:pt x="150" y="41"/>
                </a:lnTo>
                <a:lnTo>
                  <a:pt x="150" y="41"/>
                </a:lnTo>
                <a:lnTo>
                  <a:pt x="150" y="41"/>
                </a:lnTo>
                <a:lnTo>
                  <a:pt x="153" y="41"/>
                </a:lnTo>
                <a:lnTo>
                  <a:pt x="153" y="47"/>
                </a:lnTo>
                <a:lnTo>
                  <a:pt x="156" y="50"/>
                </a:lnTo>
                <a:lnTo>
                  <a:pt x="156" y="50"/>
                </a:lnTo>
                <a:lnTo>
                  <a:pt x="165" y="59"/>
                </a:lnTo>
                <a:lnTo>
                  <a:pt x="165" y="62"/>
                </a:lnTo>
                <a:lnTo>
                  <a:pt x="165" y="66"/>
                </a:lnTo>
                <a:lnTo>
                  <a:pt x="172" y="69"/>
                </a:lnTo>
                <a:lnTo>
                  <a:pt x="172" y="72"/>
                </a:lnTo>
                <a:lnTo>
                  <a:pt x="181" y="81"/>
                </a:lnTo>
                <a:lnTo>
                  <a:pt x="187" y="84"/>
                </a:lnTo>
                <a:lnTo>
                  <a:pt x="187" y="84"/>
                </a:lnTo>
                <a:lnTo>
                  <a:pt x="187" y="84"/>
                </a:lnTo>
                <a:lnTo>
                  <a:pt x="190" y="81"/>
                </a:lnTo>
                <a:lnTo>
                  <a:pt x="194" y="75"/>
                </a:lnTo>
                <a:lnTo>
                  <a:pt x="190" y="72"/>
                </a:lnTo>
                <a:lnTo>
                  <a:pt x="194" y="66"/>
                </a:lnTo>
                <a:lnTo>
                  <a:pt x="194" y="62"/>
                </a:lnTo>
                <a:lnTo>
                  <a:pt x="197" y="50"/>
                </a:lnTo>
                <a:lnTo>
                  <a:pt x="197" y="5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6" name="Freeform 104">
            <a:extLst>
              <a:ext uri="{FF2B5EF4-FFF2-40B4-BE49-F238E27FC236}">
                <a16:creationId xmlns:a16="http://schemas.microsoft.com/office/drawing/2014/main" id="{D2717C56-0CA3-E711-DF12-62A7CBA3542F}"/>
              </a:ext>
            </a:extLst>
          </p:cNvPr>
          <p:cNvSpPr>
            <a:spLocks/>
          </p:cNvSpPr>
          <p:nvPr userDrawn="1"/>
        </p:nvSpPr>
        <p:spPr bwMode="auto">
          <a:xfrm>
            <a:off x="14518328" y="7974883"/>
            <a:ext cx="1031811" cy="1184278"/>
          </a:xfrm>
          <a:custGeom>
            <a:avLst/>
            <a:gdLst>
              <a:gd name="T0" fmla="*/ 291 w 325"/>
              <a:gd name="T1" fmla="*/ 3 h 373"/>
              <a:gd name="T2" fmla="*/ 294 w 325"/>
              <a:gd name="T3" fmla="*/ 13 h 373"/>
              <a:gd name="T4" fmla="*/ 294 w 325"/>
              <a:gd name="T5" fmla="*/ 16 h 373"/>
              <a:gd name="T6" fmla="*/ 300 w 325"/>
              <a:gd name="T7" fmla="*/ 50 h 373"/>
              <a:gd name="T8" fmla="*/ 316 w 325"/>
              <a:gd name="T9" fmla="*/ 75 h 373"/>
              <a:gd name="T10" fmla="*/ 325 w 325"/>
              <a:gd name="T11" fmla="*/ 85 h 373"/>
              <a:gd name="T12" fmla="*/ 310 w 325"/>
              <a:gd name="T13" fmla="*/ 91 h 373"/>
              <a:gd name="T14" fmla="*/ 300 w 325"/>
              <a:gd name="T15" fmla="*/ 97 h 373"/>
              <a:gd name="T16" fmla="*/ 300 w 325"/>
              <a:gd name="T17" fmla="*/ 113 h 373"/>
              <a:gd name="T18" fmla="*/ 291 w 325"/>
              <a:gd name="T19" fmla="*/ 138 h 373"/>
              <a:gd name="T20" fmla="*/ 291 w 325"/>
              <a:gd name="T21" fmla="*/ 157 h 373"/>
              <a:gd name="T22" fmla="*/ 281 w 325"/>
              <a:gd name="T23" fmla="*/ 188 h 373"/>
              <a:gd name="T24" fmla="*/ 269 w 325"/>
              <a:gd name="T25" fmla="*/ 201 h 373"/>
              <a:gd name="T26" fmla="*/ 253 w 325"/>
              <a:gd name="T27" fmla="*/ 226 h 373"/>
              <a:gd name="T28" fmla="*/ 250 w 325"/>
              <a:gd name="T29" fmla="*/ 244 h 373"/>
              <a:gd name="T30" fmla="*/ 244 w 325"/>
              <a:gd name="T31" fmla="*/ 273 h 373"/>
              <a:gd name="T32" fmla="*/ 228 w 325"/>
              <a:gd name="T33" fmla="*/ 273 h 373"/>
              <a:gd name="T34" fmla="*/ 228 w 325"/>
              <a:gd name="T35" fmla="*/ 288 h 373"/>
              <a:gd name="T36" fmla="*/ 244 w 325"/>
              <a:gd name="T37" fmla="*/ 298 h 373"/>
              <a:gd name="T38" fmla="*/ 256 w 325"/>
              <a:gd name="T39" fmla="*/ 307 h 373"/>
              <a:gd name="T40" fmla="*/ 266 w 325"/>
              <a:gd name="T41" fmla="*/ 329 h 373"/>
              <a:gd name="T42" fmla="*/ 250 w 325"/>
              <a:gd name="T43" fmla="*/ 351 h 373"/>
              <a:gd name="T44" fmla="*/ 241 w 325"/>
              <a:gd name="T45" fmla="*/ 360 h 373"/>
              <a:gd name="T46" fmla="*/ 219 w 325"/>
              <a:gd name="T47" fmla="*/ 366 h 373"/>
              <a:gd name="T48" fmla="*/ 209 w 325"/>
              <a:gd name="T49" fmla="*/ 373 h 373"/>
              <a:gd name="T50" fmla="*/ 194 w 325"/>
              <a:gd name="T51" fmla="*/ 369 h 373"/>
              <a:gd name="T52" fmla="*/ 184 w 325"/>
              <a:gd name="T53" fmla="*/ 373 h 373"/>
              <a:gd name="T54" fmla="*/ 175 w 325"/>
              <a:gd name="T55" fmla="*/ 369 h 373"/>
              <a:gd name="T56" fmla="*/ 166 w 325"/>
              <a:gd name="T57" fmla="*/ 357 h 373"/>
              <a:gd name="T58" fmla="*/ 153 w 325"/>
              <a:gd name="T59" fmla="*/ 348 h 373"/>
              <a:gd name="T60" fmla="*/ 144 w 325"/>
              <a:gd name="T61" fmla="*/ 354 h 373"/>
              <a:gd name="T62" fmla="*/ 131 w 325"/>
              <a:gd name="T63" fmla="*/ 357 h 373"/>
              <a:gd name="T64" fmla="*/ 116 w 325"/>
              <a:gd name="T65" fmla="*/ 348 h 373"/>
              <a:gd name="T66" fmla="*/ 109 w 325"/>
              <a:gd name="T67" fmla="*/ 338 h 373"/>
              <a:gd name="T68" fmla="*/ 97 w 325"/>
              <a:gd name="T69" fmla="*/ 323 h 373"/>
              <a:gd name="T70" fmla="*/ 88 w 325"/>
              <a:gd name="T71" fmla="*/ 313 h 373"/>
              <a:gd name="T72" fmla="*/ 75 w 325"/>
              <a:gd name="T73" fmla="*/ 301 h 373"/>
              <a:gd name="T74" fmla="*/ 69 w 325"/>
              <a:gd name="T75" fmla="*/ 294 h 373"/>
              <a:gd name="T76" fmla="*/ 63 w 325"/>
              <a:gd name="T77" fmla="*/ 285 h 373"/>
              <a:gd name="T78" fmla="*/ 47 w 325"/>
              <a:gd name="T79" fmla="*/ 276 h 373"/>
              <a:gd name="T80" fmla="*/ 41 w 325"/>
              <a:gd name="T81" fmla="*/ 269 h 373"/>
              <a:gd name="T82" fmla="*/ 34 w 325"/>
              <a:gd name="T83" fmla="*/ 254 h 373"/>
              <a:gd name="T84" fmla="*/ 25 w 325"/>
              <a:gd name="T85" fmla="*/ 232 h 373"/>
              <a:gd name="T86" fmla="*/ 19 w 325"/>
              <a:gd name="T87" fmla="*/ 219 h 373"/>
              <a:gd name="T88" fmla="*/ 13 w 325"/>
              <a:gd name="T89" fmla="*/ 207 h 373"/>
              <a:gd name="T90" fmla="*/ 9 w 325"/>
              <a:gd name="T91" fmla="*/ 191 h 373"/>
              <a:gd name="T92" fmla="*/ 0 w 325"/>
              <a:gd name="T93" fmla="*/ 185 h 373"/>
              <a:gd name="T94" fmla="*/ 6 w 325"/>
              <a:gd name="T95" fmla="*/ 166 h 373"/>
              <a:gd name="T96" fmla="*/ 13 w 325"/>
              <a:gd name="T97" fmla="*/ 151 h 373"/>
              <a:gd name="T98" fmla="*/ 22 w 325"/>
              <a:gd name="T99" fmla="*/ 132 h 373"/>
              <a:gd name="T100" fmla="*/ 41 w 325"/>
              <a:gd name="T101" fmla="*/ 125 h 373"/>
              <a:gd name="T102" fmla="*/ 56 w 325"/>
              <a:gd name="T103"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5" h="373">
                <a:moveTo>
                  <a:pt x="56" y="0"/>
                </a:moveTo>
                <a:lnTo>
                  <a:pt x="291" y="0"/>
                </a:lnTo>
                <a:lnTo>
                  <a:pt x="291" y="0"/>
                </a:lnTo>
                <a:lnTo>
                  <a:pt x="291" y="3"/>
                </a:lnTo>
                <a:lnTo>
                  <a:pt x="291" y="3"/>
                </a:lnTo>
                <a:lnTo>
                  <a:pt x="291" y="7"/>
                </a:lnTo>
                <a:lnTo>
                  <a:pt x="291" y="7"/>
                </a:lnTo>
                <a:lnTo>
                  <a:pt x="291" y="7"/>
                </a:lnTo>
                <a:lnTo>
                  <a:pt x="291" y="10"/>
                </a:lnTo>
                <a:lnTo>
                  <a:pt x="294" y="13"/>
                </a:lnTo>
                <a:lnTo>
                  <a:pt x="297" y="19"/>
                </a:lnTo>
                <a:lnTo>
                  <a:pt x="297" y="19"/>
                </a:lnTo>
                <a:lnTo>
                  <a:pt x="297" y="19"/>
                </a:lnTo>
                <a:lnTo>
                  <a:pt x="297" y="19"/>
                </a:lnTo>
                <a:lnTo>
                  <a:pt x="294" y="16"/>
                </a:lnTo>
                <a:lnTo>
                  <a:pt x="294" y="19"/>
                </a:lnTo>
                <a:lnTo>
                  <a:pt x="294" y="22"/>
                </a:lnTo>
                <a:lnTo>
                  <a:pt x="300" y="35"/>
                </a:lnTo>
                <a:lnTo>
                  <a:pt x="300" y="44"/>
                </a:lnTo>
                <a:lnTo>
                  <a:pt x="300" y="50"/>
                </a:lnTo>
                <a:lnTo>
                  <a:pt x="300" y="60"/>
                </a:lnTo>
                <a:lnTo>
                  <a:pt x="306" y="66"/>
                </a:lnTo>
                <a:lnTo>
                  <a:pt x="310" y="66"/>
                </a:lnTo>
                <a:lnTo>
                  <a:pt x="316" y="72"/>
                </a:lnTo>
                <a:lnTo>
                  <a:pt x="316" y="75"/>
                </a:lnTo>
                <a:lnTo>
                  <a:pt x="322" y="75"/>
                </a:lnTo>
                <a:lnTo>
                  <a:pt x="325" y="79"/>
                </a:lnTo>
                <a:lnTo>
                  <a:pt x="325" y="82"/>
                </a:lnTo>
                <a:lnTo>
                  <a:pt x="325" y="82"/>
                </a:lnTo>
                <a:lnTo>
                  <a:pt x="325" y="85"/>
                </a:lnTo>
                <a:lnTo>
                  <a:pt x="322" y="88"/>
                </a:lnTo>
                <a:lnTo>
                  <a:pt x="316" y="88"/>
                </a:lnTo>
                <a:lnTo>
                  <a:pt x="316" y="91"/>
                </a:lnTo>
                <a:lnTo>
                  <a:pt x="313" y="91"/>
                </a:lnTo>
                <a:lnTo>
                  <a:pt x="310" y="91"/>
                </a:lnTo>
                <a:lnTo>
                  <a:pt x="306" y="91"/>
                </a:lnTo>
                <a:lnTo>
                  <a:pt x="306" y="94"/>
                </a:lnTo>
                <a:lnTo>
                  <a:pt x="306" y="97"/>
                </a:lnTo>
                <a:lnTo>
                  <a:pt x="306" y="97"/>
                </a:lnTo>
                <a:lnTo>
                  <a:pt x="300" y="97"/>
                </a:lnTo>
                <a:lnTo>
                  <a:pt x="297" y="100"/>
                </a:lnTo>
                <a:lnTo>
                  <a:pt x="297" y="104"/>
                </a:lnTo>
                <a:lnTo>
                  <a:pt x="297" y="110"/>
                </a:lnTo>
                <a:lnTo>
                  <a:pt x="297" y="110"/>
                </a:lnTo>
                <a:lnTo>
                  <a:pt x="300" y="113"/>
                </a:lnTo>
                <a:lnTo>
                  <a:pt x="297" y="113"/>
                </a:lnTo>
                <a:lnTo>
                  <a:pt x="294" y="119"/>
                </a:lnTo>
                <a:lnTo>
                  <a:pt x="294" y="129"/>
                </a:lnTo>
                <a:lnTo>
                  <a:pt x="291" y="135"/>
                </a:lnTo>
                <a:lnTo>
                  <a:pt x="291" y="138"/>
                </a:lnTo>
                <a:lnTo>
                  <a:pt x="288" y="141"/>
                </a:lnTo>
                <a:lnTo>
                  <a:pt x="288" y="144"/>
                </a:lnTo>
                <a:lnTo>
                  <a:pt x="291" y="154"/>
                </a:lnTo>
                <a:lnTo>
                  <a:pt x="291" y="157"/>
                </a:lnTo>
                <a:lnTo>
                  <a:pt x="291" y="157"/>
                </a:lnTo>
                <a:lnTo>
                  <a:pt x="291" y="160"/>
                </a:lnTo>
                <a:lnTo>
                  <a:pt x="288" y="163"/>
                </a:lnTo>
                <a:lnTo>
                  <a:pt x="288" y="172"/>
                </a:lnTo>
                <a:lnTo>
                  <a:pt x="285" y="182"/>
                </a:lnTo>
                <a:lnTo>
                  <a:pt x="281" y="188"/>
                </a:lnTo>
                <a:lnTo>
                  <a:pt x="278" y="185"/>
                </a:lnTo>
                <a:lnTo>
                  <a:pt x="275" y="188"/>
                </a:lnTo>
                <a:lnTo>
                  <a:pt x="275" y="191"/>
                </a:lnTo>
                <a:lnTo>
                  <a:pt x="272" y="197"/>
                </a:lnTo>
                <a:lnTo>
                  <a:pt x="269" y="201"/>
                </a:lnTo>
                <a:lnTo>
                  <a:pt x="266" y="207"/>
                </a:lnTo>
                <a:lnTo>
                  <a:pt x="263" y="210"/>
                </a:lnTo>
                <a:lnTo>
                  <a:pt x="259" y="226"/>
                </a:lnTo>
                <a:lnTo>
                  <a:pt x="256" y="226"/>
                </a:lnTo>
                <a:lnTo>
                  <a:pt x="253" y="226"/>
                </a:lnTo>
                <a:lnTo>
                  <a:pt x="253" y="229"/>
                </a:lnTo>
                <a:lnTo>
                  <a:pt x="250" y="235"/>
                </a:lnTo>
                <a:lnTo>
                  <a:pt x="247" y="238"/>
                </a:lnTo>
                <a:lnTo>
                  <a:pt x="250" y="241"/>
                </a:lnTo>
                <a:lnTo>
                  <a:pt x="250" y="244"/>
                </a:lnTo>
                <a:lnTo>
                  <a:pt x="247" y="247"/>
                </a:lnTo>
                <a:lnTo>
                  <a:pt x="244" y="254"/>
                </a:lnTo>
                <a:lnTo>
                  <a:pt x="247" y="263"/>
                </a:lnTo>
                <a:lnTo>
                  <a:pt x="244" y="273"/>
                </a:lnTo>
                <a:lnTo>
                  <a:pt x="244" y="273"/>
                </a:lnTo>
                <a:lnTo>
                  <a:pt x="241" y="276"/>
                </a:lnTo>
                <a:lnTo>
                  <a:pt x="238" y="276"/>
                </a:lnTo>
                <a:lnTo>
                  <a:pt x="238" y="273"/>
                </a:lnTo>
                <a:lnTo>
                  <a:pt x="234" y="276"/>
                </a:lnTo>
                <a:lnTo>
                  <a:pt x="228" y="273"/>
                </a:lnTo>
                <a:lnTo>
                  <a:pt x="228" y="279"/>
                </a:lnTo>
                <a:lnTo>
                  <a:pt x="225" y="279"/>
                </a:lnTo>
                <a:lnTo>
                  <a:pt x="222" y="282"/>
                </a:lnTo>
                <a:lnTo>
                  <a:pt x="225" y="285"/>
                </a:lnTo>
                <a:lnTo>
                  <a:pt x="228" y="288"/>
                </a:lnTo>
                <a:lnTo>
                  <a:pt x="238" y="288"/>
                </a:lnTo>
                <a:lnTo>
                  <a:pt x="238" y="288"/>
                </a:lnTo>
                <a:lnTo>
                  <a:pt x="241" y="294"/>
                </a:lnTo>
                <a:lnTo>
                  <a:pt x="244" y="294"/>
                </a:lnTo>
                <a:lnTo>
                  <a:pt x="244" y="298"/>
                </a:lnTo>
                <a:lnTo>
                  <a:pt x="247" y="304"/>
                </a:lnTo>
                <a:lnTo>
                  <a:pt x="250" y="304"/>
                </a:lnTo>
                <a:lnTo>
                  <a:pt x="250" y="307"/>
                </a:lnTo>
                <a:lnTo>
                  <a:pt x="253" y="307"/>
                </a:lnTo>
                <a:lnTo>
                  <a:pt x="256" y="307"/>
                </a:lnTo>
                <a:lnTo>
                  <a:pt x="259" y="310"/>
                </a:lnTo>
                <a:lnTo>
                  <a:pt x="259" y="313"/>
                </a:lnTo>
                <a:lnTo>
                  <a:pt x="263" y="316"/>
                </a:lnTo>
                <a:lnTo>
                  <a:pt x="266" y="326"/>
                </a:lnTo>
                <a:lnTo>
                  <a:pt x="266" y="329"/>
                </a:lnTo>
                <a:lnTo>
                  <a:pt x="269" y="335"/>
                </a:lnTo>
                <a:lnTo>
                  <a:pt x="263" y="341"/>
                </a:lnTo>
                <a:lnTo>
                  <a:pt x="256" y="348"/>
                </a:lnTo>
                <a:lnTo>
                  <a:pt x="253" y="348"/>
                </a:lnTo>
                <a:lnTo>
                  <a:pt x="250" y="351"/>
                </a:lnTo>
                <a:lnTo>
                  <a:pt x="250" y="354"/>
                </a:lnTo>
                <a:lnTo>
                  <a:pt x="247" y="354"/>
                </a:lnTo>
                <a:lnTo>
                  <a:pt x="244" y="357"/>
                </a:lnTo>
                <a:lnTo>
                  <a:pt x="244" y="357"/>
                </a:lnTo>
                <a:lnTo>
                  <a:pt x="241" y="360"/>
                </a:lnTo>
                <a:lnTo>
                  <a:pt x="238" y="363"/>
                </a:lnTo>
                <a:lnTo>
                  <a:pt x="234" y="366"/>
                </a:lnTo>
                <a:lnTo>
                  <a:pt x="228" y="366"/>
                </a:lnTo>
                <a:lnTo>
                  <a:pt x="222" y="366"/>
                </a:lnTo>
                <a:lnTo>
                  <a:pt x="219" y="366"/>
                </a:lnTo>
                <a:lnTo>
                  <a:pt x="216" y="366"/>
                </a:lnTo>
                <a:lnTo>
                  <a:pt x="213" y="369"/>
                </a:lnTo>
                <a:lnTo>
                  <a:pt x="209" y="366"/>
                </a:lnTo>
                <a:lnTo>
                  <a:pt x="209" y="369"/>
                </a:lnTo>
                <a:lnTo>
                  <a:pt x="209" y="373"/>
                </a:lnTo>
                <a:lnTo>
                  <a:pt x="206" y="373"/>
                </a:lnTo>
                <a:lnTo>
                  <a:pt x="200" y="373"/>
                </a:lnTo>
                <a:lnTo>
                  <a:pt x="200" y="369"/>
                </a:lnTo>
                <a:lnTo>
                  <a:pt x="197" y="366"/>
                </a:lnTo>
                <a:lnTo>
                  <a:pt x="194" y="369"/>
                </a:lnTo>
                <a:lnTo>
                  <a:pt x="191" y="366"/>
                </a:lnTo>
                <a:lnTo>
                  <a:pt x="184" y="366"/>
                </a:lnTo>
                <a:lnTo>
                  <a:pt x="184" y="366"/>
                </a:lnTo>
                <a:lnTo>
                  <a:pt x="184" y="369"/>
                </a:lnTo>
                <a:lnTo>
                  <a:pt x="184" y="373"/>
                </a:lnTo>
                <a:lnTo>
                  <a:pt x="184" y="373"/>
                </a:lnTo>
                <a:lnTo>
                  <a:pt x="181" y="373"/>
                </a:lnTo>
                <a:lnTo>
                  <a:pt x="178" y="373"/>
                </a:lnTo>
                <a:lnTo>
                  <a:pt x="175" y="373"/>
                </a:lnTo>
                <a:lnTo>
                  <a:pt x="175" y="369"/>
                </a:lnTo>
                <a:lnTo>
                  <a:pt x="175" y="366"/>
                </a:lnTo>
                <a:lnTo>
                  <a:pt x="175" y="366"/>
                </a:lnTo>
                <a:lnTo>
                  <a:pt x="172" y="363"/>
                </a:lnTo>
                <a:lnTo>
                  <a:pt x="169" y="360"/>
                </a:lnTo>
                <a:lnTo>
                  <a:pt x="166" y="357"/>
                </a:lnTo>
                <a:lnTo>
                  <a:pt x="163" y="357"/>
                </a:lnTo>
                <a:lnTo>
                  <a:pt x="163" y="354"/>
                </a:lnTo>
                <a:lnTo>
                  <a:pt x="159" y="348"/>
                </a:lnTo>
                <a:lnTo>
                  <a:pt x="156" y="348"/>
                </a:lnTo>
                <a:lnTo>
                  <a:pt x="153" y="348"/>
                </a:lnTo>
                <a:lnTo>
                  <a:pt x="150" y="351"/>
                </a:lnTo>
                <a:lnTo>
                  <a:pt x="150" y="354"/>
                </a:lnTo>
                <a:lnTo>
                  <a:pt x="147" y="354"/>
                </a:lnTo>
                <a:lnTo>
                  <a:pt x="144" y="354"/>
                </a:lnTo>
                <a:lnTo>
                  <a:pt x="144" y="354"/>
                </a:lnTo>
                <a:lnTo>
                  <a:pt x="141" y="354"/>
                </a:lnTo>
                <a:lnTo>
                  <a:pt x="138" y="354"/>
                </a:lnTo>
                <a:lnTo>
                  <a:pt x="134" y="354"/>
                </a:lnTo>
                <a:lnTo>
                  <a:pt x="131" y="357"/>
                </a:lnTo>
                <a:lnTo>
                  <a:pt x="131" y="357"/>
                </a:lnTo>
                <a:lnTo>
                  <a:pt x="125" y="354"/>
                </a:lnTo>
                <a:lnTo>
                  <a:pt x="122" y="351"/>
                </a:lnTo>
                <a:lnTo>
                  <a:pt x="119" y="351"/>
                </a:lnTo>
                <a:lnTo>
                  <a:pt x="119" y="348"/>
                </a:lnTo>
                <a:lnTo>
                  <a:pt x="116" y="348"/>
                </a:lnTo>
                <a:lnTo>
                  <a:pt x="116" y="344"/>
                </a:lnTo>
                <a:lnTo>
                  <a:pt x="116" y="344"/>
                </a:lnTo>
                <a:lnTo>
                  <a:pt x="116" y="341"/>
                </a:lnTo>
                <a:lnTo>
                  <a:pt x="113" y="341"/>
                </a:lnTo>
                <a:lnTo>
                  <a:pt x="109" y="338"/>
                </a:lnTo>
                <a:lnTo>
                  <a:pt x="106" y="335"/>
                </a:lnTo>
                <a:lnTo>
                  <a:pt x="106" y="329"/>
                </a:lnTo>
                <a:lnTo>
                  <a:pt x="106" y="329"/>
                </a:lnTo>
                <a:lnTo>
                  <a:pt x="103" y="326"/>
                </a:lnTo>
                <a:lnTo>
                  <a:pt x="97" y="323"/>
                </a:lnTo>
                <a:lnTo>
                  <a:pt x="97" y="323"/>
                </a:lnTo>
                <a:lnTo>
                  <a:pt x="97" y="319"/>
                </a:lnTo>
                <a:lnTo>
                  <a:pt x="94" y="316"/>
                </a:lnTo>
                <a:lnTo>
                  <a:pt x="91" y="316"/>
                </a:lnTo>
                <a:lnTo>
                  <a:pt x="88" y="313"/>
                </a:lnTo>
                <a:lnTo>
                  <a:pt x="88" y="307"/>
                </a:lnTo>
                <a:lnTo>
                  <a:pt x="88" y="307"/>
                </a:lnTo>
                <a:lnTo>
                  <a:pt x="81" y="301"/>
                </a:lnTo>
                <a:lnTo>
                  <a:pt x="78" y="301"/>
                </a:lnTo>
                <a:lnTo>
                  <a:pt x="75" y="301"/>
                </a:lnTo>
                <a:lnTo>
                  <a:pt x="75" y="301"/>
                </a:lnTo>
                <a:lnTo>
                  <a:pt x="72" y="301"/>
                </a:lnTo>
                <a:lnTo>
                  <a:pt x="66" y="298"/>
                </a:lnTo>
                <a:lnTo>
                  <a:pt x="69" y="294"/>
                </a:lnTo>
                <a:lnTo>
                  <a:pt x="69" y="294"/>
                </a:lnTo>
                <a:lnTo>
                  <a:pt x="72" y="291"/>
                </a:lnTo>
                <a:lnTo>
                  <a:pt x="72" y="288"/>
                </a:lnTo>
                <a:lnTo>
                  <a:pt x="72" y="285"/>
                </a:lnTo>
                <a:lnTo>
                  <a:pt x="69" y="285"/>
                </a:lnTo>
                <a:lnTo>
                  <a:pt x="63" y="285"/>
                </a:lnTo>
                <a:lnTo>
                  <a:pt x="63" y="282"/>
                </a:lnTo>
                <a:lnTo>
                  <a:pt x="59" y="279"/>
                </a:lnTo>
                <a:lnTo>
                  <a:pt x="56" y="279"/>
                </a:lnTo>
                <a:lnTo>
                  <a:pt x="53" y="279"/>
                </a:lnTo>
                <a:lnTo>
                  <a:pt x="47" y="276"/>
                </a:lnTo>
                <a:lnTo>
                  <a:pt x="47" y="273"/>
                </a:lnTo>
                <a:lnTo>
                  <a:pt x="50" y="269"/>
                </a:lnTo>
                <a:lnTo>
                  <a:pt x="47" y="266"/>
                </a:lnTo>
                <a:lnTo>
                  <a:pt x="41" y="266"/>
                </a:lnTo>
                <a:lnTo>
                  <a:pt x="41" y="269"/>
                </a:lnTo>
                <a:lnTo>
                  <a:pt x="34" y="269"/>
                </a:lnTo>
                <a:lnTo>
                  <a:pt x="31" y="266"/>
                </a:lnTo>
                <a:lnTo>
                  <a:pt x="31" y="260"/>
                </a:lnTo>
                <a:lnTo>
                  <a:pt x="34" y="257"/>
                </a:lnTo>
                <a:lnTo>
                  <a:pt x="34" y="254"/>
                </a:lnTo>
                <a:lnTo>
                  <a:pt x="34" y="251"/>
                </a:lnTo>
                <a:lnTo>
                  <a:pt x="34" y="247"/>
                </a:lnTo>
                <a:lnTo>
                  <a:pt x="31" y="241"/>
                </a:lnTo>
                <a:lnTo>
                  <a:pt x="25" y="232"/>
                </a:lnTo>
                <a:lnTo>
                  <a:pt x="25" y="232"/>
                </a:lnTo>
                <a:lnTo>
                  <a:pt x="22" y="229"/>
                </a:lnTo>
                <a:lnTo>
                  <a:pt x="22" y="226"/>
                </a:lnTo>
                <a:lnTo>
                  <a:pt x="22" y="222"/>
                </a:lnTo>
                <a:lnTo>
                  <a:pt x="19" y="222"/>
                </a:lnTo>
                <a:lnTo>
                  <a:pt x="19" y="219"/>
                </a:lnTo>
                <a:lnTo>
                  <a:pt x="19" y="216"/>
                </a:lnTo>
                <a:lnTo>
                  <a:pt x="22" y="216"/>
                </a:lnTo>
                <a:lnTo>
                  <a:pt x="19" y="213"/>
                </a:lnTo>
                <a:lnTo>
                  <a:pt x="13" y="210"/>
                </a:lnTo>
                <a:lnTo>
                  <a:pt x="13" y="207"/>
                </a:lnTo>
                <a:lnTo>
                  <a:pt x="13" y="201"/>
                </a:lnTo>
                <a:lnTo>
                  <a:pt x="9" y="197"/>
                </a:lnTo>
                <a:lnTo>
                  <a:pt x="13" y="194"/>
                </a:lnTo>
                <a:lnTo>
                  <a:pt x="9" y="194"/>
                </a:lnTo>
                <a:lnTo>
                  <a:pt x="9" y="191"/>
                </a:lnTo>
                <a:lnTo>
                  <a:pt x="9" y="188"/>
                </a:lnTo>
                <a:lnTo>
                  <a:pt x="9" y="188"/>
                </a:lnTo>
                <a:lnTo>
                  <a:pt x="3" y="191"/>
                </a:lnTo>
                <a:lnTo>
                  <a:pt x="0" y="188"/>
                </a:lnTo>
                <a:lnTo>
                  <a:pt x="0" y="185"/>
                </a:lnTo>
                <a:lnTo>
                  <a:pt x="6" y="179"/>
                </a:lnTo>
                <a:lnTo>
                  <a:pt x="9" y="176"/>
                </a:lnTo>
                <a:lnTo>
                  <a:pt x="9" y="172"/>
                </a:lnTo>
                <a:lnTo>
                  <a:pt x="6" y="169"/>
                </a:lnTo>
                <a:lnTo>
                  <a:pt x="6" y="166"/>
                </a:lnTo>
                <a:lnTo>
                  <a:pt x="9" y="163"/>
                </a:lnTo>
                <a:lnTo>
                  <a:pt x="13" y="160"/>
                </a:lnTo>
                <a:lnTo>
                  <a:pt x="9" y="157"/>
                </a:lnTo>
                <a:lnTo>
                  <a:pt x="9" y="154"/>
                </a:lnTo>
                <a:lnTo>
                  <a:pt x="13" y="151"/>
                </a:lnTo>
                <a:lnTo>
                  <a:pt x="16" y="151"/>
                </a:lnTo>
                <a:lnTo>
                  <a:pt x="22" y="144"/>
                </a:lnTo>
                <a:lnTo>
                  <a:pt x="25" y="138"/>
                </a:lnTo>
                <a:lnTo>
                  <a:pt x="22" y="135"/>
                </a:lnTo>
                <a:lnTo>
                  <a:pt x="22" y="132"/>
                </a:lnTo>
                <a:lnTo>
                  <a:pt x="25" y="129"/>
                </a:lnTo>
                <a:lnTo>
                  <a:pt x="31" y="129"/>
                </a:lnTo>
                <a:lnTo>
                  <a:pt x="34" y="129"/>
                </a:lnTo>
                <a:lnTo>
                  <a:pt x="38" y="129"/>
                </a:lnTo>
                <a:lnTo>
                  <a:pt x="41" y="125"/>
                </a:lnTo>
                <a:lnTo>
                  <a:pt x="41" y="50"/>
                </a:lnTo>
                <a:lnTo>
                  <a:pt x="41" y="50"/>
                </a:lnTo>
                <a:lnTo>
                  <a:pt x="41" y="41"/>
                </a:lnTo>
                <a:lnTo>
                  <a:pt x="59" y="41"/>
                </a:lnTo>
                <a:lnTo>
                  <a:pt x="56"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7" name="Freeform 105">
            <a:extLst>
              <a:ext uri="{FF2B5EF4-FFF2-40B4-BE49-F238E27FC236}">
                <a16:creationId xmlns:a16="http://schemas.microsoft.com/office/drawing/2014/main" id="{78091744-904B-AC32-4490-3FC354D2570E}"/>
              </a:ext>
            </a:extLst>
          </p:cNvPr>
          <p:cNvSpPr>
            <a:spLocks/>
          </p:cNvSpPr>
          <p:nvPr userDrawn="1"/>
        </p:nvSpPr>
        <p:spPr bwMode="auto">
          <a:xfrm>
            <a:off x="15223130" y="8432083"/>
            <a:ext cx="952440" cy="727078"/>
          </a:xfrm>
          <a:custGeom>
            <a:avLst/>
            <a:gdLst>
              <a:gd name="T0" fmla="*/ 44 w 300"/>
              <a:gd name="T1" fmla="*/ 182 h 229"/>
              <a:gd name="T2" fmla="*/ 37 w 300"/>
              <a:gd name="T3" fmla="*/ 166 h 229"/>
              <a:gd name="T4" fmla="*/ 28 w 300"/>
              <a:gd name="T5" fmla="*/ 163 h 229"/>
              <a:gd name="T6" fmla="*/ 22 w 300"/>
              <a:gd name="T7" fmla="*/ 154 h 229"/>
              <a:gd name="T8" fmla="*/ 16 w 300"/>
              <a:gd name="T9" fmla="*/ 144 h 229"/>
              <a:gd name="T10" fmla="*/ 3 w 300"/>
              <a:gd name="T11" fmla="*/ 141 h 229"/>
              <a:gd name="T12" fmla="*/ 6 w 300"/>
              <a:gd name="T13" fmla="*/ 135 h 229"/>
              <a:gd name="T14" fmla="*/ 16 w 300"/>
              <a:gd name="T15" fmla="*/ 129 h 229"/>
              <a:gd name="T16" fmla="*/ 22 w 300"/>
              <a:gd name="T17" fmla="*/ 129 h 229"/>
              <a:gd name="T18" fmla="*/ 22 w 300"/>
              <a:gd name="T19" fmla="*/ 110 h 229"/>
              <a:gd name="T20" fmla="*/ 28 w 300"/>
              <a:gd name="T21" fmla="*/ 97 h 229"/>
              <a:gd name="T22" fmla="*/ 31 w 300"/>
              <a:gd name="T23" fmla="*/ 85 h 229"/>
              <a:gd name="T24" fmla="*/ 37 w 300"/>
              <a:gd name="T25" fmla="*/ 82 h 229"/>
              <a:gd name="T26" fmla="*/ 47 w 300"/>
              <a:gd name="T27" fmla="*/ 57 h 229"/>
              <a:gd name="T28" fmla="*/ 53 w 300"/>
              <a:gd name="T29" fmla="*/ 44 h 229"/>
              <a:gd name="T30" fmla="*/ 63 w 300"/>
              <a:gd name="T31" fmla="*/ 38 h 229"/>
              <a:gd name="T32" fmla="*/ 69 w 300"/>
              <a:gd name="T33" fmla="*/ 16 h 229"/>
              <a:gd name="T34" fmla="*/ 78 w 300"/>
              <a:gd name="T35" fmla="*/ 13 h 229"/>
              <a:gd name="T36" fmla="*/ 88 w 300"/>
              <a:gd name="T37" fmla="*/ 0 h 229"/>
              <a:gd name="T38" fmla="*/ 97 w 300"/>
              <a:gd name="T39" fmla="*/ 7 h 229"/>
              <a:gd name="T40" fmla="*/ 109 w 300"/>
              <a:gd name="T41" fmla="*/ 3 h 229"/>
              <a:gd name="T42" fmla="*/ 116 w 300"/>
              <a:gd name="T43" fmla="*/ 3 h 229"/>
              <a:gd name="T44" fmla="*/ 125 w 300"/>
              <a:gd name="T45" fmla="*/ 7 h 229"/>
              <a:gd name="T46" fmla="*/ 138 w 300"/>
              <a:gd name="T47" fmla="*/ 13 h 229"/>
              <a:gd name="T48" fmla="*/ 150 w 300"/>
              <a:gd name="T49" fmla="*/ 22 h 229"/>
              <a:gd name="T50" fmla="*/ 156 w 300"/>
              <a:gd name="T51" fmla="*/ 25 h 229"/>
              <a:gd name="T52" fmla="*/ 172 w 300"/>
              <a:gd name="T53" fmla="*/ 35 h 229"/>
              <a:gd name="T54" fmla="*/ 175 w 300"/>
              <a:gd name="T55" fmla="*/ 47 h 229"/>
              <a:gd name="T56" fmla="*/ 181 w 300"/>
              <a:gd name="T57" fmla="*/ 53 h 229"/>
              <a:gd name="T58" fmla="*/ 178 w 300"/>
              <a:gd name="T59" fmla="*/ 69 h 229"/>
              <a:gd name="T60" fmla="*/ 172 w 300"/>
              <a:gd name="T61" fmla="*/ 78 h 229"/>
              <a:gd name="T62" fmla="*/ 188 w 300"/>
              <a:gd name="T63" fmla="*/ 78 h 229"/>
              <a:gd name="T64" fmla="*/ 194 w 300"/>
              <a:gd name="T65" fmla="*/ 82 h 229"/>
              <a:gd name="T66" fmla="*/ 203 w 300"/>
              <a:gd name="T67" fmla="*/ 103 h 229"/>
              <a:gd name="T68" fmla="*/ 213 w 300"/>
              <a:gd name="T69" fmla="*/ 116 h 229"/>
              <a:gd name="T70" fmla="*/ 300 w 300"/>
              <a:gd name="T71" fmla="*/ 138 h 229"/>
              <a:gd name="T72" fmla="*/ 216 w 300"/>
              <a:gd name="T73" fmla="*/ 197 h 229"/>
              <a:gd name="T74" fmla="*/ 203 w 300"/>
              <a:gd name="T75" fmla="*/ 204 h 229"/>
              <a:gd name="T76" fmla="*/ 194 w 300"/>
              <a:gd name="T77" fmla="*/ 213 h 229"/>
              <a:gd name="T78" fmla="*/ 178 w 300"/>
              <a:gd name="T79" fmla="*/ 219 h 229"/>
              <a:gd name="T80" fmla="*/ 166 w 300"/>
              <a:gd name="T81" fmla="*/ 219 h 229"/>
              <a:gd name="T82" fmla="*/ 156 w 300"/>
              <a:gd name="T83" fmla="*/ 213 h 229"/>
              <a:gd name="T84" fmla="*/ 144 w 300"/>
              <a:gd name="T85" fmla="*/ 216 h 229"/>
              <a:gd name="T86" fmla="*/ 131 w 300"/>
              <a:gd name="T87" fmla="*/ 229 h 229"/>
              <a:gd name="T88" fmla="*/ 122 w 300"/>
              <a:gd name="T89" fmla="*/ 225 h 229"/>
              <a:gd name="T90" fmla="*/ 106 w 300"/>
              <a:gd name="T91" fmla="*/ 225 h 229"/>
              <a:gd name="T92" fmla="*/ 94 w 300"/>
              <a:gd name="T93" fmla="*/ 216 h 229"/>
              <a:gd name="T94" fmla="*/ 72 w 300"/>
              <a:gd name="T95" fmla="*/ 207 h 229"/>
              <a:gd name="T96" fmla="*/ 59 w 300"/>
              <a:gd name="T97" fmla="*/ 207 h 229"/>
              <a:gd name="T98" fmla="*/ 53 w 300"/>
              <a:gd name="T99" fmla="*/ 191 h 229"/>
              <a:gd name="T100" fmla="*/ 47 w 300"/>
              <a:gd name="T101" fmla="*/ 19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229">
                <a:moveTo>
                  <a:pt x="47" y="191"/>
                </a:moveTo>
                <a:lnTo>
                  <a:pt x="44" y="185"/>
                </a:lnTo>
                <a:lnTo>
                  <a:pt x="44" y="182"/>
                </a:lnTo>
                <a:lnTo>
                  <a:pt x="41" y="172"/>
                </a:lnTo>
                <a:lnTo>
                  <a:pt x="37" y="169"/>
                </a:lnTo>
                <a:lnTo>
                  <a:pt x="37" y="166"/>
                </a:lnTo>
                <a:lnTo>
                  <a:pt x="34" y="163"/>
                </a:lnTo>
                <a:lnTo>
                  <a:pt x="31" y="163"/>
                </a:lnTo>
                <a:lnTo>
                  <a:pt x="28" y="163"/>
                </a:lnTo>
                <a:lnTo>
                  <a:pt x="28" y="160"/>
                </a:lnTo>
                <a:lnTo>
                  <a:pt x="25" y="160"/>
                </a:lnTo>
                <a:lnTo>
                  <a:pt x="22" y="154"/>
                </a:lnTo>
                <a:lnTo>
                  <a:pt x="22" y="150"/>
                </a:lnTo>
                <a:lnTo>
                  <a:pt x="19" y="150"/>
                </a:lnTo>
                <a:lnTo>
                  <a:pt x="16" y="144"/>
                </a:lnTo>
                <a:lnTo>
                  <a:pt x="16" y="144"/>
                </a:lnTo>
                <a:lnTo>
                  <a:pt x="6" y="144"/>
                </a:lnTo>
                <a:lnTo>
                  <a:pt x="3" y="141"/>
                </a:lnTo>
                <a:lnTo>
                  <a:pt x="0" y="138"/>
                </a:lnTo>
                <a:lnTo>
                  <a:pt x="3" y="135"/>
                </a:lnTo>
                <a:lnTo>
                  <a:pt x="6" y="135"/>
                </a:lnTo>
                <a:lnTo>
                  <a:pt x="6" y="129"/>
                </a:lnTo>
                <a:lnTo>
                  <a:pt x="12" y="132"/>
                </a:lnTo>
                <a:lnTo>
                  <a:pt x="16" y="129"/>
                </a:lnTo>
                <a:lnTo>
                  <a:pt x="16" y="132"/>
                </a:lnTo>
                <a:lnTo>
                  <a:pt x="19" y="132"/>
                </a:lnTo>
                <a:lnTo>
                  <a:pt x="22" y="129"/>
                </a:lnTo>
                <a:lnTo>
                  <a:pt x="22" y="129"/>
                </a:lnTo>
                <a:lnTo>
                  <a:pt x="25" y="119"/>
                </a:lnTo>
                <a:lnTo>
                  <a:pt x="22" y="110"/>
                </a:lnTo>
                <a:lnTo>
                  <a:pt x="25" y="103"/>
                </a:lnTo>
                <a:lnTo>
                  <a:pt x="28" y="100"/>
                </a:lnTo>
                <a:lnTo>
                  <a:pt x="28" y="97"/>
                </a:lnTo>
                <a:lnTo>
                  <a:pt x="25" y="94"/>
                </a:lnTo>
                <a:lnTo>
                  <a:pt x="28" y="91"/>
                </a:lnTo>
                <a:lnTo>
                  <a:pt x="31" y="85"/>
                </a:lnTo>
                <a:lnTo>
                  <a:pt x="31" y="82"/>
                </a:lnTo>
                <a:lnTo>
                  <a:pt x="34" y="82"/>
                </a:lnTo>
                <a:lnTo>
                  <a:pt x="37" y="82"/>
                </a:lnTo>
                <a:lnTo>
                  <a:pt x="41" y="66"/>
                </a:lnTo>
                <a:lnTo>
                  <a:pt x="44" y="63"/>
                </a:lnTo>
                <a:lnTo>
                  <a:pt x="47" y="57"/>
                </a:lnTo>
                <a:lnTo>
                  <a:pt x="50" y="53"/>
                </a:lnTo>
                <a:lnTo>
                  <a:pt x="53" y="47"/>
                </a:lnTo>
                <a:lnTo>
                  <a:pt x="53" y="44"/>
                </a:lnTo>
                <a:lnTo>
                  <a:pt x="56" y="41"/>
                </a:lnTo>
                <a:lnTo>
                  <a:pt x="59" y="44"/>
                </a:lnTo>
                <a:lnTo>
                  <a:pt x="63" y="38"/>
                </a:lnTo>
                <a:lnTo>
                  <a:pt x="66" y="28"/>
                </a:lnTo>
                <a:lnTo>
                  <a:pt x="66" y="19"/>
                </a:lnTo>
                <a:lnTo>
                  <a:pt x="69" y="16"/>
                </a:lnTo>
                <a:lnTo>
                  <a:pt x="69" y="13"/>
                </a:lnTo>
                <a:lnTo>
                  <a:pt x="72" y="13"/>
                </a:lnTo>
                <a:lnTo>
                  <a:pt x="78" y="13"/>
                </a:lnTo>
                <a:lnTo>
                  <a:pt x="78" y="13"/>
                </a:lnTo>
                <a:lnTo>
                  <a:pt x="81" y="13"/>
                </a:lnTo>
                <a:lnTo>
                  <a:pt x="88" y="0"/>
                </a:lnTo>
                <a:lnTo>
                  <a:pt x="88" y="3"/>
                </a:lnTo>
                <a:lnTo>
                  <a:pt x="91" y="3"/>
                </a:lnTo>
                <a:lnTo>
                  <a:pt x="97" y="7"/>
                </a:lnTo>
                <a:lnTo>
                  <a:pt x="100" y="7"/>
                </a:lnTo>
                <a:lnTo>
                  <a:pt x="106" y="3"/>
                </a:lnTo>
                <a:lnTo>
                  <a:pt x="109" y="3"/>
                </a:lnTo>
                <a:lnTo>
                  <a:pt x="113" y="7"/>
                </a:lnTo>
                <a:lnTo>
                  <a:pt x="113" y="3"/>
                </a:lnTo>
                <a:lnTo>
                  <a:pt x="116" y="3"/>
                </a:lnTo>
                <a:lnTo>
                  <a:pt x="122" y="10"/>
                </a:lnTo>
                <a:lnTo>
                  <a:pt x="122" y="10"/>
                </a:lnTo>
                <a:lnTo>
                  <a:pt x="125" y="7"/>
                </a:lnTo>
                <a:lnTo>
                  <a:pt x="131" y="10"/>
                </a:lnTo>
                <a:lnTo>
                  <a:pt x="134" y="13"/>
                </a:lnTo>
                <a:lnTo>
                  <a:pt x="138" y="13"/>
                </a:lnTo>
                <a:lnTo>
                  <a:pt x="144" y="19"/>
                </a:lnTo>
                <a:lnTo>
                  <a:pt x="144" y="22"/>
                </a:lnTo>
                <a:lnTo>
                  <a:pt x="150" y="22"/>
                </a:lnTo>
                <a:lnTo>
                  <a:pt x="150" y="22"/>
                </a:lnTo>
                <a:lnTo>
                  <a:pt x="156" y="25"/>
                </a:lnTo>
                <a:lnTo>
                  <a:pt x="156" y="25"/>
                </a:lnTo>
                <a:lnTo>
                  <a:pt x="163" y="28"/>
                </a:lnTo>
                <a:lnTo>
                  <a:pt x="166" y="35"/>
                </a:lnTo>
                <a:lnTo>
                  <a:pt x="172" y="35"/>
                </a:lnTo>
                <a:lnTo>
                  <a:pt x="175" y="41"/>
                </a:lnTo>
                <a:lnTo>
                  <a:pt x="175" y="44"/>
                </a:lnTo>
                <a:lnTo>
                  <a:pt x="175" y="47"/>
                </a:lnTo>
                <a:lnTo>
                  <a:pt x="178" y="47"/>
                </a:lnTo>
                <a:lnTo>
                  <a:pt x="184" y="53"/>
                </a:lnTo>
                <a:lnTo>
                  <a:pt x="181" y="53"/>
                </a:lnTo>
                <a:lnTo>
                  <a:pt x="178" y="60"/>
                </a:lnTo>
                <a:lnTo>
                  <a:pt x="178" y="63"/>
                </a:lnTo>
                <a:lnTo>
                  <a:pt x="178" y="69"/>
                </a:lnTo>
                <a:lnTo>
                  <a:pt x="175" y="72"/>
                </a:lnTo>
                <a:lnTo>
                  <a:pt x="175" y="75"/>
                </a:lnTo>
                <a:lnTo>
                  <a:pt x="172" y="78"/>
                </a:lnTo>
                <a:lnTo>
                  <a:pt x="175" y="82"/>
                </a:lnTo>
                <a:lnTo>
                  <a:pt x="181" y="82"/>
                </a:lnTo>
                <a:lnTo>
                  <a:pt x="188" y="78"/>
                </a:lnTo>
                <a:lnTo>
                  <a:pt x="191" y="78"/>
                </a:lnTo>
                <a:lnTo>
                  <a:pt x="197" y="78"/>
                </a:lnTo>
                <a:lnTo>
                  <a:pt x="194" y="82"/>
                </a:lnTo>
                <a:lnTo>
                  <a:pt x="197" y="88"/>
                </a:lnTo>
                <a:lnTo>
                  <a:pt x="200" y="100"/>
                </a:lnTo>
                <a:lnTo>
                  <a:pt x="203" y="103"/>
                </a:lnTo>
                <a:lnTo>
                  <a:pt x="203" y="110"/>
                </a:lnTo>
                <a:lnTo>
                  <a:pt x="206" y="113"/>
                </a:lnTo>
                <a:lnTo>
                  <a:pt x="213" y="116"/>
                </a:lnTo>
                <a:lnTo>
                  <a:pt x="219" y="119"/>
                </a:lnTo>
                <a:lnTo>
                  <a:pt x="275" y="138"/>
                </a:lnTo>
                <a:lnTo>
                  <a:pt x="300" y="138"/>
                </a:lnTo>
                <a:lnTo>
                  <a:pt x="241" y="197"/>
                </a:lnTo>
                <a:lnTo>
                  <a:pt x="228" y="197"/>
                </a:lnTo>
                <a:lnTo>
                  <a:pt x="216" y="197"/>
                </a:lnTo>
                <a:lnTo>
                  <a:pt x="213" y="200"/>
                </a:lnTo>
                <a:lnTo>
                  <a:pt x="209" y="200"/>
                </a:lnTo>
                <a:lnTo>
                  <a:pt x="203" y="204"/>
                </a:lnTo>
                <a:lnTo>
                  <a:pt x="203" y="207"/>
                </a:lnTo>
                <a:lnTo>
                  <a:pt x="197" y="210"/>
                </a:lnTo>
                <a:lnTo>
                  <a:pt x="194" y="213"/>
                </a:lnTo>
                <a:lnTo>
                  <a:pt x="188" y="213"/>
                </a:lnTo>
                <a:lnTo>
                  <a:pt x="181" y="216"/>
                </a:lnTo>
                <a:lnTo>
                  <a:pt x="178" y="219"/>
                </a:lnTo>
                <a:lnTo>
                  <a:pt x="178" y="219"/>
                </a:lnTo>
                <a:lnTo>
                  <a:pt x="172" y="219"/>
                </a:lnTo>
                <a:lnTo>
                  <a:pt x="166" y="219"/>
                </a:lnTo>
                <a:lnTo>
                  <a:pt x="163" y="219"/>
                </a:lnTo>
                <a:lnTo>
                  <a:pt x="159" y="216"/>
                </a:lnTo>
                <a:lnTo>
                  <a:pt x="156" y="213"/>
                </a:lnTo>
                <a:lnTo>
                  <a:pt x="147" y="213"/>
                </a:lnTo>
                <a:lnTo>
                  <a:pt x="147" y="216"/>
                </a:lnTo>
                <a:lnTo>
                  <a:pt x="144" y="216"/>
                </a:lnTo>
                <a:lnTo>
                  <a:pt x="141" y="216"/>
                </a:lnTo>
                <a:lnTo>
                  <a:pt x="138" y="219"/>
                </a:lnTo>
                <a:lnTo>
                  <a:pt x="131" y="229"/>
                </a:lnTo>
                <a:lnTo>
                  <a:pt x="128" y="229"/>
                </a:lnTo>
                <a:lnTo>
                  <a:pt x="125" y="229"/>
                </a:lnTo>
                <a:lnTo>
                  <a:pt x="122" y="225"/>
                </a:lnTo>
                <a:lnTo>
                  <a:pt x="116" y="229"/>
                </a:lnTo>
                <a:lnTo>
                  <a:pt x="113" y="225"/>
                </a:lnTo>
                <a:lnTo>
                  <a:pt x="106" y="225"/>
                </a:lnTo>
                <a:lnTo>
                  <a:pt x="103" y="225"/>
                </a:lnTo>
                <a:lnTo>
                  <a:pt x="100" y="222"/>
                </a:lnTo>
                <a:lnTo>
                  <a:pt x="94" y="216"/>
                </a:lnTo>
                <a:lnTo>
                  <a:pt x="88" y="210"/>
                </a:lnTo>
                <a:lnTo>
                  <a:pt x="81" y="207"/>
                </a:lnTo>
                <a:lnTo>
                  <a:pt x="72" y="207"/>
                </a:lnTo>
                <a:lnTo>
                  <a:pt x="69" y="207"/>
                </a:lnTo>
                <a:lnTo>
                  <a:pt x="63" y="210"/>
                </a:lnTo>
                <a:lnTo>
                  <a:pt x="59" y="207"/>
                </a:lnTo>
                <a:lnTo>
                  <a:pt x="56" y="204"/>
                </a:lnTo>
                <a:lnTo>
                  <a:pt x="56" y="191"/>
                </a:lnTo>
                <a:lnTo>
                  <a:pt x="53" y="191"/>
                </a:lnTo>
                <a:lnTo>
                  <a:pt x="50" y="191"/>
                </a:lnTo>
                <a:lnTo>
                  <a:pt x="47" y="188"/>
                </a:lnTo>
                <a:lnTo>
                  <a:pt x="47" y="191"/>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8" name="Freeform 106">
            <a:extLst>
              <a:ext uri="{FF2B5EF4-FFF2-40B4-BE49-F238E27FC236}">
                <a16:creationId xmlns:a16="http://schemas.microsoft.com/office/drawing/2014/main" id="{A33C3AF8-0FFA-0F1B-D757-BDDA8E465DDB}"/>
              </a:ext>
            </a:extLst>
          </p:cNvPr>
          <p:cNvSpPr>
            <a:spLocks/>
          </p:cNvSpPr>
          <p:nvPr userDrawn="1"/>
        </p:nvSpPr>
        <p:spPr bwMode="auto">
          <a:xfrm>
            <a:off x="15432670" y="8235235"/>
            <a:ext cx="415899" cy="365126"/>
          </a:xfrm>
          <a:custGeom>
            <a:avLst/>
            <a:gdLst>
              <a:gd name="T0" fmla="*/ 112 w 131"/>
              <a:gd name="T1" fmla="*/ 109 h 115"/>
              <a:gd name="T2" fmla="*/ 109 w 131"/>
              <a:gd name="T3" fmla="*/ 106 h 115"/>
              <a:gd name="T4" fmla="*/ 106 w 131"/>
              <a:gd name="T5" fmla="*/ 97 h 115"/>
              <a:gd name="T6" fmla="*/ 97 w 131"/>
              <a:gd name="T7" fmla="*/ 90 h 115"/>
              <a:gd name="T8" fmla="*/ 90 w 131"/>
              <a:gd name="T9" fmla="*/ 87 h 115"/>
              <a:gd name="T10" fmla="*/ 84 w 131"/>
              <a:gd name="T11" fmla="*/ 84 h 115"/>
              <a:gd name="T12" fmla="*/ 78 w 131"/>
              <a:gd name="T13" fmla="*/ 81 h 115"/>
              <a:gd name="T14" fmla="*/ 68 w 131"/>
              <a:gd name="T15" fmla="*/ 75 h 115"/>
              <a:gd name="T16" fmla="*/ 59 w 131"/>
              <a:gd name="T17" fmla="*/ 69 h 115"/>
              <a:gd name="T18" fmla="*/ 56 w 131"/>
              <a:gd name="T19" fmla="*/ 72 h 115"/>
              <a:gd name="T20" fmla="*/ 47 w 131"/>
              <a:gd name="T21" fmla="*/ 65 h 115"/>
              <a:gd name="T22" fmla="*/ 43 w 131"/>
              <a:gd name="T23" fmla="*/ 65 h 115"/>
              <a:gd name="T24" fmla="*/ 34 w 131"/>
              <a:gd name="T25" fmla="*/ 69 h 115"/>
              <a:gd name="T26" fmla="*/ 25 w 131"/>
              <a:gd name="T27" fmla="*/ 65 h 115"/>
              <a:gd name="T28" fmla="*/ 22 w 131"/>
              <a:gd name="T29" fmla="*/ 62 h 115"/>
              <a:gd name="T30" fmla="*/ 12 w 131"/>
              <a:gd name="T31" fmla="*/ 75 h 115"/>
              <a:gd name="T32" fmla="*/ 6 w 131"/>
              <a:gd name="T33" fmla="*/ 75 h 115"/>
              <a:gd name="T34" fmla="*/ 3 w 131"/>
              <a:gd name="T35" fmla="*/ 72 h 115"/>
              <a:gd name="T36" fmla="*/ 0 w 131"/>
              <a:gd name="T37" fmla="*/ 59 h 115"/>
              <a:gd name="T38" fmla="*/ 3 w 131"/>
              <a:gd name="T39" fmla="*/ 53 h 115"/>
              <a:gd name="T40" fmla="*/ 6 w 131"/>
              <a:gd name="T41" fmla="*/ 37 h 115"/>
              <a:gd name="T42" fmla="*/ 12 w 131"/>
              <a:gd name="T43" fmla="*/ 31 h 115"/>
              <a:gd name="T44" fmla="*/ 9 w 131"/>
              <a:gd name="T45" fmla="*/ 28 h 115"/>
              <a:gd name="T46" fmla="*/ 9 w 131"/>
              <a:gd name="T47" fmla="*/ 18 h 115"/>
              <a:gd name="T48" fmla="*/ 18 w 131"/>
              <a:gd name="T49" fmla="*/ 15 h 115"/>
              <a:gd name="T50" fmla="*/ 18 w 131"/>
              <a:gd name="T51" fmla="*/ 12 h 115"/>
              <a:gd name="T52" fmla="*/ 22 w 131"/>
              <a:gd name="T53" fmla="*/ 9 h 115"/>
              <a:gd name="T54" fmla="*/ 28 w 131"/>
              <a:gd name="T55" fmla="*/ 9 h 115"/>
              <a:gd name="T56" fmla="*/ 34 w 131"/>
              <a:gd name="T57" fmla="*/ 6 h 115"/>
              <a:gd name="T58" fmla="*/ 37 w 131"/>
              <a:gd name="T59" fmla="*/ 0 h 115"/>
              <a:gd name="T60" fmla="*/ 43 w 131"/>
              <a:gd name="T61" fmla="*/ 3 h 115"/>
              <a:gd name="T62" fmla="*/ 53 w 131"/>
              <a:gd name="T63" fmla="*/ 40 h 115"/>
              <a:gd name="T64" fmla="*/ 56 w 131"/>
              <a:gd name="T65" fmla="*/ 47 h 115"/>
              <a:gd name="T66" fmla="*/ 59 w 131"/>
              <a:gd name="T67" fmla="*/ 47 h 115"/>
              <a:gd name="T68" fmla="*/ 62 w 131"/>
              <a:gd name="T69" fmla="*/ 59 h 115"/>
              <a:gd name="T70" fmla="*/ 65 w 131"/>
              <a:gd name="T71" fmla="*/ 53 h 115"/>
              <a:gd name="T72" fmla="*/ 65 w 131"/>
              <a:gd name="T73" fmla="*/ 50 h 115"/>
              <a:gd name="T74" fmla="*/ 68 w 131"/>
              <a:gd name="T75" fmla="*/ 53 h 115"/>
              <a:gd name="T76" fmla="*/ 72 w 131"/>
              <a:gd name="T77" fmla="*/ 59 h 115"/>
              <a:gd name="T78" fmla="*/ 75 w 131"/>
              <a:gd name="T79" fmla="*/ 62 h 115"/>
              <a:gd name="T80" fmla="*/ 81 w 131"/>
              <a:gd name="T81" fmla="*/ 62 h 115"/>
              <a:gd name="T82" fmla="*/ 87 w 131"/>
              <a:gd name="T83" fmla="*/ 65 h 115"/>
              <a:gd name="T84" fmla="*/ 93 w 131"/>
              <a:gd name="T85" fmla="*/ 69 h 115"/>
              <a:gd name="T86" fmla="*/ 100 w 131"/>
              <a:gd name="T87" fmla="*/ 78 h 115"/>
              <a:gd name="T88" fmla="*/ 109 w 131"/>
              <a:gd name="T89" fmla="*/ 84 h 115"/>
              <a:gd name="T90" fmla="*/ 112 w 131"/>
              <a:gd name="T91" fmla="*/ 87 h 115"/>
              <a:gd name="T92" fmla="*/ 115 w 131"/>
              <a:gd name="T93" fmla="*/ 90 h 115"/>
              <a:gd name="T94" fmla="*/ 118 w 131"/>
              <a:gd name="T95" fmla="*/ 97 h 115"/>
              <a:gd name="T96" fmla="*/ 122 w 131"/>
              <a:gd name="T97" fmla="*/ 103 h 115"/>
              <a:gd name="T98" fmla="*/ 125 w 131"/>
              <a:gd name="T99" fmla="*/ 106 h 115"/>
              <a:gd name="T100" fmla="*/ 128 w 131"/>
              <a:gd name="T101" fmla="*/ 106 h 115"/>
              <a:gd name="T102" fmla="*/ 131 w 131"/>
              <a:gd name="T103" fmla="*/ 109 h 115"/>
              <a:gd name="T104" fmla="*/ 125 w 131"/>
              <a:gd name="T105" fmla="*/ 112 h 115"/>
              <a:gd name="T106" fmla="*/ 118 w 131"/>
              <a:gd name="T10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1" h="115">
                <a:moveTo>
                  <a:pt x="118" y="115"/>
                </a:moveTo>
                <a:lnTo>
                  <a:pt x="112" y="109"/>
                </a:lnTo>
                <a:lnTo>
                  <a:pt x="109" y="109"/>
                </a:lnTo>
                <a:lnTo>
                  <a:pt x="109" y="106"/>
                </a:lnTo>
                <a:lnTo>
                  <a:pt x="109" y="103"/>
                </a:lnTo>
                <a:lnTo>
                  <a:pt x="106" y="97"/>
                </a:lnTo>
                <a:lnTo>
                  <a:pt x="100" y="97"/>
                </a:lnTo>
                <a:lnTo>
                  <a:pt x="97" y="90"/>
                </a:lnTo>
                <a:lnTo>
                  <a:pt x="90" y="87"/>
                </a:lnTo>
                <a:lnTo>
                  <a:pt x="90" y="87"/>
                </a:lnTo>
                <a:lnTo>
                  <a:pt x="84" y="84"/>
                </a:lnTo>
                <a:lnTo>
                  <a:pt x="84" y="84"/>
                </a:lnTo>
                <a:lnTo>
                  <a:pt x="78" y="84"/>
                </a:lnTo>
                <a:lnTo>
                  <a:pt x="78" y="81"/>
                </a:lnTo>
                <a:lnTo>
                  <a:pt x="72" y="75"/>
                </a:lnTo>
                <a:lnTo>
                  <a:pt x="68" y="75"/>
                </a:lnTo>
                <a:lnTo>
                  <a:pt x="65" y="72"/>
                </a:lnTo>
                <a:lnTo>
                  <a:pt x="59" y="69"/>
                </a:lnTo>
                <a:lnTo>
                  <a:pt x="56" y="72"/>
                </a:lnTo>
                <a:lnTo>
                  <a:pt x="56" y="72"/>
                </a:lnTo>
                <a:lnTo>
                  <a:pt x="50" y="65"/>
                </a:lnTo>
                <a:lnTo>
                  <a:pt x="47" y="65"/>
                </a:lnTo>
                <a:lnTo>
                  <a:pt x="47" y="69"/>
                </a:lnTo>
                <a:lnTo>
                  <a:pt x="43" y="65"/>
                </a:lnTo>
                <a:lnTo>
                  <a:pt x="40" y="65"/>
                </a:lnTo>
                <a:lnTo>
                  <a:pt x="34" y="69"/>
                </a:lnTo>
                <a:lnTo>
                  <a:pt x="31" y="69"/>
                </a:lnTo>
                <a:lnTo>
                  <a:pt x="25" y="65"/>
                </a:lnTo>
                <a:lnTo>
                  <a:pt x="22" y="65"/>
                </a:lnTo>
                <a:lnTo>
                  <a:pt x="22" y="62"/>
                </a:lnTo>
                <a:lnTo>
                  <a:pt x="15" y="75"/>
                </a:lnTo>
                <a:lnTo>
                  <a:pt x="12" y="75"/>
                </a:lnTo>
                <a:lnTo>
                  <a:pt x="12" y="75"/>
                </a:lnTo>
                <a:lnTo>
                  <a:pt x="6" y="75"/>
                </a:lnTo>
                <a:lnTo>
                  <a:pt x="3" y="75"/>
                </a:lnTo>
                <a:lnTo>
                  <a:pt x="3" y="72"/>
                </a:lnTo>
                <a:lnTo>
                  <a:pt x="0" y="62"/>
                </a:lnTo>
                <a:lnTo>
                  <a:pt x="0" y="59"/>
                </a:lnTo>
                <a:lnTo>
                  <a:pt x="3" y="56"/>
                </a:lnTo>
                <a:lnTo>
                  <a:pt x="3" y="53"/>
                </a:lnTo>
                <a:lnTo>
                  <a:pt x="6" y="47"/>
                </a:lnTo>
                <a:lnTo>
                  <a:pt x="6" y="37"/>
                </a:lnTo>
                <a:lnTo>
                  <a:pt x="9" y="31"/>
                </a:lnTo>
                <a:lnTo>
                  <a:pt x="12" y="31"/>
                </a:lnTo>
                <a:lnTo>
                  <a:pt x="9" y="28"/>
                </a:lnTo>
                <a:lnTo>
                  <a:pt x="9" y="28"/>
                </a:lnTo>
                <a:lnTo>
                  <a:pt x="9" y="22"/>
                </a:lnTo>
                <a:lnTo>
                  <a:pt x="9" y="18"/>
                </a:lnTo>
                <a:lnTo>
                  <a:pt x="12" y="15"/>
                </a:lnTo>
                <a:lnTo>
                  <a:pt x="18" y="15"/>
                </a:lnTo>
                <a:lnTo>
                  <a:pt x="18" y="15"/>
                </a:lnTo>
                <a:lnTo>
                  <a:pt x="18" y="12"/>
                </a:lnTo>
                <a:lnTo>
                  <a:pt x="18" y="9"/>
                </a:lnTo>
                <a:lnTo>
                  <a:pt x="22" y="9"/>
                </a:lnTo>
                <a:lnTo>
                  <a:pt x="25" y="9"/>
                </a:lnTo>
                <a:lnTo>
                  <a:pt x="28" y="9"/>
                </a:lnTo>
                <a:lnTo>
                  <a:pt x="28" y="6"/>
                </a:lnTo>
                <a:lnTo>
                  <a:pt x="34" y="6"/>
                </a:lnTo>
                <a:lnTo>
                  <a:pt x="37" y="3"/>
                </a:lnTo>
                <a:lnTo>
                  <a:pt x="37" y="0"/>
                </a:lnTo>
                <a:lnTo>
                  <a:pt x="37" y="0"/>
                </a:lnTo>
                <a:lnTo>
                  <a:pt x="43" y="3"/>
                </a:lnTo>
                <a:lnTo>
                  <a:pt x="53" y="25"/>
                </a:lnTo>
                <a:lnTo>
                  <a:pt x="53" y="40"/>
                </a:lnTo>
                <a:lnTo>
                  <a:pt x="56" y="40"/>
                </a:lnTo>
                <a:lnTo>
                  <a:pt x="56" y="47"/>
                </a:lnTo>
                <a:lnTo>
                  <a:pt x="56" y="47"/>
                </a:lnTo>
                <a:lnTo>
                  <a:pt x="59" y="47"/>
                </a:lnTo>
                <a:lnTo>
                  <a:pt x="62" y="53"/>
                </a:lnTo>
                <a:lnTo>
                  <a:pt x="62" y="59"/>
                </a:lnTo>
                <a:lnTo>
                  <a:pt x="65" y="59"/>
                </a:lnTo>
                <a:lnTo>
                  <a:pt x="65" y="53"/>
                </a:lnTo>
                <a:lnTo>
                  <a:pt x="65" y="53"/>
                </a:lnTo>
                <a:lnTo>
                  <a:pt x="65" y="50"/>
                </a:lnTo>
                <a:lnTo>
                  <a:pt x="65" y="50"/>
                </a:lnTo>
                <a:lnTo>
                  <a:pt x="68" y="53"/>
                </a:lnTo>
                <a:lnTo>
                  <a:pt x="68" y="56"/>
                </a:lnTo>
                <a:lnTo>
                  <a:pt x="72" y="59"/>
                </a:lnTo>
                <a:lnTo>
                  <a:pt x="75" y="62"/>
                </a:lnTo>
                <a:lnTo>
                  <a:pt x="75" y="62"/>
                </a:lnTo>
                <a:lnTo>
                  <a:pt x="78" y="62"/>
                </a:lnTo>
                <a:lnTo>
                  <a:pt x="81" y="62"/>
                </a:lnTo>
                <a:lnTo>
                  <a:pt x="81" y="62"/>
                </a:lnTo>
                <a:lnTo>
                  <a:pt x="87" y="65"/>
                </a:lnTo>
                <a:lnTo>
                  <a:pt x="87" y="69"/>
                </a:lnTo>
                <a:lnTo>
                  <a:pt x="93" y="69"/>
                </a:lnTo>
                <a:lnTo>
                  <a:pt x="93" y="72"/>
                </a:lnTo>
                <a:lnTo>
                  <a:pt x="100" y="78"/>
                </a:lnTo>
                <a:lnTo>
                  <a:pt x="103" y="84"/>
                </a:lnTo>
                <a:lnTo>
                  <a:pt x="109" y="84"/>
                </a:lnTo>
                <a:lnTo>
                  <a:pt x="112" y="87"/>
                </a:lnTo>
                <a:lnTo>
                  <a:pt x="112" y="87"/>
                </a:lnTo>
                <a:lnTo>
                  <a:pt x="112" y="87"/>
                </a:lnTo>
                <a:lnTo>
                  <a:pt x="115" y="90"/>
                </a:lnTo>
                <a:lnTo>
                  <a:pt x="118" y="97"/>
                </a:lnTo>
                <a:lnTo>
                  <a:pt x="118" y="97"/>
                </a:lnTo>
                <a:lnTo>
                  <a:pt x="122" y="103"/>
                </a:lnTo>
                <a:lnTo>
                  <a:pt x="122" y="103"/>
                </a:lnTo>
                <a:lnTo>
                  <a:pt x="125" y="106"/>
                </a:lnTo>
                <a:lnTo>
                  <a:pt x="125" y="106"/>
                </a:lnTo>
                <a:lnTo>
                  <a:pt x="128" y="106"/>
                </a:lnTo>
                <a:lnTo>
                  <a:pt x="128" y="106"/>
                </a:lnTo>
                <a:lnTo>
                  <a:pt x="131" y="106"/>
                </a:lnTo>
                <a:lnTo>
                  <a:pt x="131" y="109"/>
                </a:lnTo>
                <a:lnTo>
                  <a:pt x="128" y="112"/>
                </a:lnTo>
                <a:lnTo>
                  <a:pt x="125" y="112"/>
                </a:lnTo>
                <a:lnTo>
                  <a:pt x="122" y="115"/>
                </a:lnTo>
                <a:lnTo>
                  <a:pt x="118" y="115"/>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09" name="Freeform 107">
            <a:extLst>
              <a:ext uri="{FF2B5EF4-FFF2-40B4-BE49-F238E27FC236}">
                <a16:creationId xmlns:a16="http://schemas.microsoft.com/office/drawing/2014/main" id="{6C5E7DDC-1570-0808-97E9-35745D32FDAF}"/>
              </a:ext>
            </a:extLst>
          </p:cNvPr>
          <p:cNvSpPr>
            <a:spLocks/>
          </p:cNvSpPr>
          <p:nvPr userDrawn="1"/>
        </p:nvSpPr>
        <p:spPr bwMode="auto">
          <a:xfrm>
            <a:off x="15769196" y="8581311"/>
            <a:ext cx="98420" cy="111126"/>
          </a:xfrm>
          <a:custGeom>
            <a:avLst/>
            <a:gdLst>
              <a:gd name="T0" fmla="*/ 25 w 31"/>
              <a:gd name="T1" fmla="*/ 31 h 35"/>
              <a:gd name="T2" fmla="*/ 19 w 31"/>
              <a:gd name="T3" fmla="*/ 31 h 35"/>
              <a:gd name="T4" fmla="*/ 16 w 31"/>
              <a:gd name="T5" fmla="*/ 31 h 35"/>
              <a:gd name="T6" fmla="*/ 9 w 31"/>
              <a:gd name="T7" fmla="*/ 35 h 35"/>
              <a:gd name="T8" fmla="*/ 3 w 31"/>
              <a:gd name="T9" fmla="*/ 35 h 35"/>
              <a:gd name="T10" fmla="*/ 0 w 31"/>
              <a:gd name="T11" fmla="*/ 31 h 35"/>
              <a:gd name="T12" fmla="*/ 3 w 31"/>
              <a:gd name="T13" fmla="*/ 28 h 35"/>
              <a:gd name="T14" fmla="*/ 3 w 31"/>
              <a:gd name="T15" fmla="*/ 25 h 35"/>
              <a:gd name="T16" fmla="*/ 6 w 31"/>
              <a:gd name="T17" fmla="*/ 22 h 35"/>
              <a:gd name="T18" fmla="*/ 6 w 31"/>
              <a:gd name="T19" fmla="*/ 16 h 35"/>
              <a:gd name="T20" fmla="*/ 6 w 31"/>
              <a:gd name="T21" fmla="*/ 13 h 35"/>
              <a:gd name="T22" fmla="*/ 9 w 31"/>
              <a:gd name="T23" fmla="*/ 6 h 35"/>
              <a:gd name="T24" fmla="*/ 16 w 31"/>
              <a:gd name="T25" fmla="*/ 6 h 35"/>
              <a:gd name="T26" fmla="*/ 19 w 31"/>
              <a:gd name="T27" fmla="*/ 3 h 35"/>
              <a:gd name="T28" fmla="*/ 22 w 31"/>
              <a:gd name="T29" fmla="*/ 3 h 35"/>
              <a:gd name="T30" fmla="*/ 25 w 31"/>
              <a:gd name="T31" fmla="*/ 0 h 35"/>
              <a:gd name="T32" fmla="*/ 25 w 31"/>
              <a:gd name="T33" fmla="*/ 0 h 35"/>
              <a:gd name="T34" fmla="*/ 25 w 31"/>
              <a:gd name="T35" fmla="*/ 0 h 35"/>
              <a:gd name="T36" fmla="*/ 28 w 31"/>
              <a:gd name="T37" fmla="*/ 3 h 35"/>
              <a:gd name="T38" fmla="*/ 31 w 31"/>
              <a:gd name="T39" fmla="*/ 3 h 35"/>
              <a:gd name="T40" fmla="*/ 31 w 31"/>
              <a:gd name="T41" fmla="*/ 6 h 35"/>
              <a:gd name="T42" fmla="*/ 31 w 31"/>
              <a:gd name="T43" fmla="*/ 13 h 35"/>
              <a:gd name="T44" fmla="*/ 28 w 31"/>
              <a:gd name="T45" fmla="*/ 13 h 35"/>
              <a:gd name="T46" fmla="*/ 25 w 31"/>
              <a:gd name="T47" fmla="*/ 19 h 35"/>
              <a:gd name="T48" fmla="*/ 22 w 31"/>
              <a:gd name="T49" fmla="*/ 19 h 35"/>
              <a:gd name="T50" fmla="*/ 22 w 31"/>
              <a:gd name="T51" fmla="*/ 22 h 35"/>
              <a:gd name="T52" fmla="*/ 16 w 31"/>
              <a:gd name="T53" fmla="*/ 22 h 35"/>
              <a:gd name="T54" fmla="*/ 19 w 31"/>
              <a:gd name="T55" fmla="*/ 22 h 35"/>
              <a:gd name="T56" fmla="*/ 19 w 31"/>
              <a:gd name="T57" fmla="*/ 22 h 35"/>
              <a:gd name="T58" fmla="*/ 22 w 31"/>
              <a:gd name="T59" fmla="*/ 22 h 35"/>
              <a:gd name="T60" fmla="*/ 28 w 31"/>
              <a:gd name="T61" fmla="*/ 22 h 35"/>
              <a:gd name="T62" fmla="*/ 28 w 31"/>
              <a:gd name="T63" fmla="*/ 22 h 35"/>
              <a:gd name="T64" fmla="*/ 25 w 31"/>
              <a:gd name="T65" fmla="*/ 31 h 35"/>
              <a:gd name="T66" fmla="*/ 25 w 31"/>
              <a:gd name="T67"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 h="35">
                <a:moveTo>
                  <a:pt x="25" y="31"/>
                </a:moveTo>
                <a:lnTo>
                  <a:pt x="19" y="31"/>
                </a:lnTo>
                <a:lnTo>
                  <a:pt x="16" y="31"/>
                </a:lnTo>
                <a:lnTo>
                  <a:pt x="9" y="35"/>
                </a:lnTo>
                <a:lnTo>
                  <a:pt x="3" y="35"/>
                </a:lnTo>
                <a:lnTo>
                  <a:pt x="0" y="31"/>
                </a:lnTo>
                <a:lnTo>
                  <a:pt x="3" y="28"/>
                </a:lnTo>
                <a:lnTo>
                  <a:pt x="3" y="25"/>
                </a:lnTo>
                <a:lnTo>
                  <a:pt x="6" y="22"/>
                </a:lnTo>
                <a:lnTo>
                  <a:pt x="6" y="16"/>
                </a:lnTo>
                <a:lnTo>
                  <a:pt x="6" y="13"/>
                </a:lnTo>
                <a:lnTo>
                  <a:pt x="9" y="6"/>
                </a:lnTo>
                <a:lnTo>
                  <a:pt x="16" y="6"/>
                </a:lnTo>
                <a:lnTo>
                  <a:pt x="19" y="3"/>
                </a:lnTo>
                <a:lnTo>
                  <a:pt x="22" y="3"/>
                </a:lnTo>
                <a:lnTo>
                  <a:pt x="25" y="0"/>
                </a:lnTo>
                <a:lnTo>
                  <a:pt x="25" y="0"/>
                </a:lnTo>
                <a:lnTo>
                  <a:pt x="25" y="0"/>
                </a:lnTo>
                <a:lnTo>
                  <a:pt x="28" y="3"/>
                </a:lnTo>
                <a:lnTo>
                  <a:pt x="31" y="3"/>
                </a:lnTo>
                <a:lnTo>
                  <a:pt x="31" y="6"/>
                </a:lnTo>
                <a:lnTo>
                  <a:pt x="31" y="13"/>
                </a:lnTo>
                <a:lnTo>
                  <a:pt x="28" y="13"/>
                </a:lnTo>
                <a:lnTo>
                  <a:pt x="25" y="19"/>
                </a:lnTo>
                <a:lnTo>
                  <a:pt x="22" y="19"/>
                </a:lnTo>
                <a:lnTo>
                  <a:pt x="22" y="22"/>
                </a:lnTo>
                <a:lnTo>
                  <a:pt x="16" y="22"/>
                </a:lnTo>
                <a:lnTo>
                  <a:pt x="19" y="22"/>
                </a:lnTo>
                <a:lnTo>
                  <a:pt x="19" y="22"/>
                </a:lnTo>
                <a:lnTo>
                  <a:pt x="22" y="22"/>
                </a:lnTo>
                <a:lnTo>
                  <a:pt x="28" y="22"/>
                </a:lnTo>
                <a:lnTo>
                  <a:pt x="28" y="22"/>
                </a:lnTo>
                <a:lnTo>
                  <a:pt x="25" y="31"/>
                </a:lnTo>
                <a:lnTo>
                  <a:pt x="25" y="31"/>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0" name="Freeform 108">
            <a:extLst>
              <a:ext uri="{FF2B5EF4-FFF2-40B4-BE49-F238E27FC236}">
                <a16:creationId xmlns:a16="http://schemas.microsoft.com/office/drawing/2014/main" id="{D33FA7C1-8373-6F3E-717F-3BC291EFAC19}"/>
              </a:ext>
            </a:extLst>
          </p:cNvPr>
          <p:cNvSpPr>
            <a:spLocks/>
          </p:cNvSpPr>
          <p:nvPr userDrawn="1"/>
        </p:nvSpPr>
        <p:spPr bwMode="auto">
          <a:xfrm>
            <a:off x="15727923" y="8622585"/>
            <a:ext cx="647660" cy="854078"/>
          </a:xfrm>
          <a:custGeom>
            <a:avLst/>
            <a:gdLst>
              <a:gd name="T0" fmla="*/ 22 w 204"/>
              <a:gd name="T1" fmla="*/ 156 h 269"/>
              <a:gd name="T2" fmla="*/ 38 w 204"/>
              <a:gd name="T3" fmla="*/ 150 h 269"/>
              <a:gd name="T4" fmla="*/ 50 w 204"/>
              <a:gd name="T5" fmla="*/ 140 h 269"/>
              <a:gd name="T6" fmla="*/ 69 w 204"/>
              <a:gd name="T7" fmla="*/ 137 h 269"/>
              <a:gd name="T8" fmla="*/ 116 w 204"/>
              <a:gd name="T9" fmla="*/ 78 h 269"/>
              <a:gd name="T10" fmla="*/ 47 w 204"/>
              <a:gd name="T11" fmla="*/ 53 h 269"/>
              <a:gd name="T12" fmla="*/ 41 w 204"/>
              <a:gd name="T13" fmla="*/ 40 h 269"/>
              <a:gd name="T14" fmla="*/ 38 w 204"/>
              <a:gd name="T15" fmla="*/ 18 h 269"/>
              <a:gd name="T16" fmla="*/ 44 w 204"/>
              <a:gd name="T17" fmla="*/ 12 h 269"/>
              <a:gd name="T18" fmla="*/ 60 w 204"/>
              <a:gd name="T19" fmla="*/ 31 h 269"/>
              <a:gd name="T20" fmla="*/ 75 w 204"/>
              <a:gd name="T21" fmla="*/ 34 h 269"/>
              <a:gd name="T22" fmla="*/ 85 w 204"/>
              <a:gd name="T23" fmla="*/ 28 h 269"/>
              <a:gd name="T24" fmla="*/ 94 w 204"/>
              <a:gd name="T25" fmla="*/ 25 h 269"/>
              <a:gd name="T26" fmla="*/ 107 w 204"/>
              <a:gd name="T27" fmla="*/ 25 h 269"/>
              <a:gd name="T28" fmla="*/ 125 w 204"/>
              <a:gd name="T29" fmla="*/ 18 h 269"/>
              <a:gd name="T30" fmla="*/ 138 w 204"/>
              <a:gd name="T31" fmla="*/ 18 h 269"/>
              <a:gd name="T32" fmla="*/ 154 w 204"/>
              <a:gd name="T33" fmla="*/ 15 h 269"/>
              <a:gd name="T34" fmla="*/ 169 w 204"/>
              <a:gd name="T35" fmla="*/ 12 h 269"/>
              <a:gd name="T36" fmla="*/ 175 w 204"/>
              <a:gd name="T37" fmla="*/ 9 h 269"/>
              <a:gd name="T38" fmla="*/ 185 w 204"/>
              <a:gd name="T39" fmla="*/ 6 h 269"/>
              <a:gd name="T40" fmla="*/ 188 w 204"/>
              <a:gd name="T41" fmla="*/ 0 h 269"/>
              <a:gd name="T42" fmla="*/ 194 w 204"/>
              <a:gd name="T43" fmla="*/ 3 h 269"/>
              <a:gd name="T44" fmla="*/ 200 w 204"/>
              <a:gd name="T45" fmla="*/ 3 h 269"/>
              <a:gd name="T46" fmla="*/ 197 w 204"/>
              <a:gd name="T47" fmla="*/ 12 h 269"/>
              <a:gd name="T48" fmla="*/ 200 w 204"/>
              <a:gd name="T49" fmla="*/ 18 h 269"/>
              <a:gd name="T50" fmla="*/ 197 w 204"/>
              <a:gd name="T51" fmla="*/ 25 h 269"/>
              <a:gd name="T52" fmla="*/ 197 w 204"/>
              <a:gd name="T53" fmla="*/ 34 h 269"/>
              <a:gd name="T54" fmla="*/ 200 w 204"/>
              <a:gd name="T55" fmla="*/ 31 h 269"/>
              <a:gd name="T56" fmla="*/ 200 w 204"/>
              <a:gd name="T57" fmla="*/ 34 h 269"/>
              <a:gd name="T58" fmla="*/ 194 w 204"/>
              <a:gd name="T59" fmla="*/ 40 h 269"/>
              <a:gd name="T60" fmla="*/ 194 w 204"/>
              <a:gd name="T61" fmla="*/ 50 h 269"/>
              <a:gd name="T62" fmla="*/ 182 w 204"/>
              <a:gd name="T63" fmla="*/ 75 h 269"/>
              <a:gd name="T64" fmla="*/ 172 w 204"/>
              <a:gd name="T65" fmla="*/ 81 h 269"/>
              <a:gd name="T66" fmla="*/ 172 w 204"/>
              <a:gd name="T67" fmla="*/ 87 h 269"/>
              <a:gd name="T68" fmla="*/ 154 w 204"/>
              <a:gd name="T69" fmla="*/ 125 h 269"/>
              <a:gd name="T70" fmla="*/ 138 w 204"/>
              <a:gd name="T71" fmla="*/ 153 h 269"/>
              <a:gd name="T72" fmla="*/ 100 w 204"/>
              <a:gd name="T73" fmla="*/ 191 h 269"/>
              <a:gd name="T74" fmla="*/ 79 w 204"/>
              <a:gd name="T75" fmla="*/ 203 h 269"/>
              <a:gd name="T76" fmla="*/ 57 w 204"/>
              <a:gd name="T77" fmla="*/ 222 h 269"/>
              <a:gd name="T78" fmla="*/ 41 w 204"/>
              <a:gd name="T79" fmla="*/ 241 h 269"/>
              <a:gd name="T80" fmla="*/ 32 w 204"/>
              <a:gd name="T81" fmla="*/ 250 h 269"/>
              <a:gd name="T82" fmla="*/ 0 w 204"/>
              <a:gd name="T83" fmla="*/ 256 h 269"/>
              <a:gd name="T84" fmla="*/ 19 w 204"/>
              <a:gd name="T85" fmla="*/ 15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4" h="269">
                <a:moveTo>
                  <a:pt x="19" y="159"/>
                </a:moveTo>
                <a:lnTo>
                  <a:pt x="19" y="159"/>
                </a:lnTo>
                <a:lnTo>
                  <a:pt x="22" y="156"/>
                </a:lnTo>
                <a:lnTo>
                  <a:pt x="29" y="153"/>
                </a:lnTo>
                <a:lnTo>
                  <a:pt x="35" y="153"/>
                </a:lnTo>
                <a:lnTo>
                  <a:pt x="38" y="150"/>
                </a:lnTo>
                <a:lnTo>
                  <a:pt x="44" y="147"/>
                </a:lnTo>
                <a:lnTo>
                  <a:pt x="44" y="144"/>
                </a:lnTo>
                <a:lnTo>
                  <a:pt x="50" y="140"/>
                </a:lnTo>
                <a:lnTo>
                  <a:pt x="54" y="140"/>
                </a:lnTo>
                <a:lnTo>
                  <a:pt x="57" y="137"/>
                </a:lnTo>
                <a:lnTo>
                  <a:pt x="69" y="137"/>
                </a:lnTo>
                <a:lnTo>
                  <a:pt x="82" y="137"/>
                </a:lnTo>
                <a:lnTo>
                  <a:pt x="141" y="78"/>
                </a:lnTo>
                <a:lnTo>
                  <a:pt x="116" y="78"/>
                </a:lnTo>
                <a:lnTo>
                  <a:pt x="60" y="59"/>
                </a:lnTo>
                <a:lnTo>
                  <a:pt x="54" y="56"/>
                </a:lnTo>
                <a:lnTo>
                  <a:pt x="47" y="53"/>
                </a:lnTo>
                <a:lnTo>
                  <a:pt x="44" y="50"/>
                </a:lnTo>
                <a:lnTo>
                  <a:pt x="44" y="43"/>
                </a:lnTo>
                <a:lnTo>
                  <a:pt x="41" y="40"/>
                </a:lnTo>
                <a:lnTo>
                  <a:pt x="38" y="28"/>
                </a:lnTo>
                <a:lnTo>
                  <a:pt x="35" y="22"/>
                </a:lnTo>
                <a:lnTo>
                  <a:pt x="38" y="18"/>
                </a:lnTo>
                <a:lnTo>
                  <a:pt x="41" y="9"/>
                </a:lnTo>
                <a:lnTo>
                  <a:pt x="44" y="12"/>
                </a:lnTo>
                <a:lnTo>
                  <a:pt x="44" y="12"/>
                </a:lnTo>
                <a:lnTo>
                  <a:pt x="57" y="28"/>
                </a:lnTo>
                <a:lnTo>
                  <a:pt x="57" y="28"/>
                </a:lnTo>
                <a:lnTo>
                  <a:pt x="60" y="31"/>
                </a:lnTo>
                <a:lnTo>
                  <a:pt x="63" y="34"/>
                </a:lnTo>
                <a:lnTo>
                  <a:pt x="69" y="34"/>
                </a:lnTo>
                <a:lnTo>
                  <a:pt x="75" y="34"/>
                </a:lnTo>
                <a:lnTo>
                  <a:pt x="75" y="34"/>
                </a:lnTo>
                <a:lnTo>
                  <a:pt x="82" y="31"/>
                </a:lnTo>
                <a:lnTo>
                  <a:pt x="85" y="28"/>
                </a:lnTo>
                <a:lnTo>
                  <a:pt x="91" y="25"/>
                </a:lnTo>
                <a:lnTo>
                  <a:pt x="94" y="25"/>
                </a:lnTo>
                <a:lnTo>
                  <a:pt x="94" y="25"/>
                </a:lnTo>
                <a:lnTo>
                  <a:pt x="100" y="25"/>
                </a:lnTo>
                <a:lnTo>
                  <a:pt x="100" y="25"/>
                </a:lnTo>
                <a:lnTo>
                  <a:pt x="107" y="25"/>
                </a:lnTo>
                <a:lnTo>
                  <a:pt x="110" y="25"/>
                </a:lnTo>
                <a:lnTo>
                  <a:pt x="122" y="18"/>
                </a:lnTo>
                <a:lnTo>
                  <a:pt x="125" y="18"/>
                </a:lnTo>
                <a:lnTo>
                  <a:pt x="132" y="18"/>
                </a:lnTo>
                <a:lnTo>
                  <a:pt x="135" y="18"/>
                </a:lnTo>
                <a:lnTo>
                  <a:pt x="138" y="18"/>
                </a:lnTo>
                <a:lnTo>
                  <a:pt x="144" y="15"/>
                </a:lnTo>
                <a:lnTo>
                  <a:pt x="150" y="15"/>
                </a:lnTo>
                <a:lnTo>
                  <a:pt x="154" y="15"/>
                </a:lnTo>
                <a:lnTo>
                  <a:pt x="154" y="15"/>
                </a:lnTo>
                <a:lnTo>
                  <a:pt x="163" y="15"/>
                </a:lnTo>
                <a:lnTo>
                  <a:pt x="169" y="12"/>
                </a:lnTo>
                <a:lnTo>
                  <a:pt x="172" y="12"/>
                </a:lnTo>
                <a:lnTo>
                  <a:pt x="175" y="12"/>
                </a:lnTo>
                <a:lnTo>
                  <a:pt x="175" y="9"/>
                </a:lnTo>
                <a:lnTo>
                  <a:pt x="182" y="9"/>
                </a:lnTo>
                <a:lnTo>
                  <a:pt x="185" y="6"/>
                </a:lnTo>
                <a:lnTo>
                  <a:pt x="185" y="6"/>
                </a:lnTo>
                <a:lnTo>
                  <a:pt x="188" y="3"/>
                </a:lnTo>
                <a:lnTo>
                  <a:pt x="188" y="3"/>
                </a:lnTo>
                <a:lnTo>
                  <a:pt x="188" y="0"/>
                </a:lnTo>
                <a:lnTo>
                  <a:pt x="191" y="3"/>
                </a:lnTo>
                <a:lnTo>
                  <a:pt x="191" y="0"/>
                </a:lnTo>
                <a:lnTo>
                  <a:pt x="194" y="3"/>
                </a:lnTo>
                <a:lnTo>
                  <a:pt x="197" y="3"/>
                </a:lnTo>
                <a:lnTo>
                  <a:pt x="200" y="3"/>
                </a:lnTo>
                <a:lnTo>
                  <a:pt x="200" y="3"/>
                </a:lnTo>
                <a:lnTo>
                  <a:pt x="200" y="6"/>
                </a:lnTo>
                <a:lnTo>
                  <a:pt x="197" y="9"/>
                </a:lnTo>
                <a:lnTo>
                  <a:pt x="197" y="12"/>
                </a:lnTo>
                <a:lnTo>
                  <a:pt x="197" y="15"/>
                </a:lnTo>
                <a:lnTo>
                  <a:pt x="197" y="18"/>
                </a:lnTo>
                <a:lnTo>
                  <a:pt x="200" y="18"/>
                </a:lnTo>
                <a:lnTo>
                  <a:pt x="200" y="18"/>
                </a:lnTo>
                <a:lnTo>
                  <a:pt x="197" y="22"/>
                </a:lnTo>
                <a:lnTo>
                  <a:pt x="197" y="25"/>
                </a:lnTo>
                <a:lnTo>
                  <a:pt x="197" y="28"/>
                </a:lnTo>
                <a:lnTo>
                  <a:pt x="200" y="31"/>
                </a:lnTo>
                <a:lnTo>
                  <a:pt x="197" y="34"/>
                </a:lnTo>
                <a:lnTo>
                  <a:pt x="200" y="34"/>
                </a:lnTo>
                <a:lnTo>
                  <a:pt x="200" y="31"/>
                </a:lnTo>
                <a:lnTo>
                  <a:pt x="200" y="31"/>
                </a:lnTo>
                <a:lnTo>
                  <a:pt x="204" y="34"/>
                </a:lnTo>
                <a:lnTo>
                  <a:pt x="200" y="34"/>
                </a:lnTo>
                <a:lnTo>
                  <a:pt x="200" y="34"/>
                </a:lnTo>
                <a:lnTo>
                  <a:pt x="197" y="34"/>
                </a:lnTo>
                <a:lnTo>
                  <a:pt x="197" y="34"/>
                </a:lnTo>
                <a:lnTo>
                  <a:pt x="194" y="40"/>
                </a:lnTo>
                <a:lnTo>
                  <a:pt x="194" y="43"/>
                </a:lnTo>
                <a:lnTo>
                  <a:pt x="194" y="47"/>
                </a:lnTo>
                <a:lnTo>
                  <a:pt x="194" y="50"/>
                </a:lnTo>
                <a:lnTo>
                  <a:pt x="194" y="53"/>
                </a:lnTo>
                <a:lnTo>
                  <a:pt x="188" y="62"/>
                </a:lnTo>
                <a:lnTo>
                  <a:pt x="182" y="75"/>
                </a:lnTo>
                <a:lnTo>
                  <a:pt x="179" y="78"/>
                </a:lnTo>
                <a:lnTo>
                  <a:pt x="179" y="78"/>
                </a:lnTo>
                <a:lnTo>
                  <a:pt x="172" y="81"/>
                </a:lnTo>
                <a:lnTo>
                  <a:pt x="172" y="84"/>
                </a:lnTo>
                <a:lnTo>
                  <a:pt x="175" y="87"/>
                </a:lnTo>
                <a:lnTo>
                  <a:pt x="172" y="87"/>
                </a:lnTo>
                <a:lnTo>
                  <a:pt x="160" y="109"/>
                </a:lnTo>
                <a:lnTo>
                  <a:pt x="160" y="115"/>
                </a:lnTo>
                <a:lnTo>
                  <a:pt x="154" y="125"/>
                </a:lnTo>
                <a:lnTo>
                  <a:pt x="154" y="128"/>
                </a:lnTo>
                <a:lnTo>
                  <a:pt x="141" y="147"/>
                </a:lnTo>
                <a:lnTo>
                  <a:pt x="138" y="153"/>
                </a:lnTo>
                <a:lnTo>
                  <a:pt x="132" y="159"/>
                </a:lnTo>
                <a:lnTo>
                  <a:pt x="122" y="172"/>
                </a:lnTo>
                <a:lnTo>
                  <a:pt x="100" y="191"/>
                </a:lnTo>
                <a:lnTo>
                  <a:pt x="91" y="197"/>
                </a:lnTo>
                <a:lnTo>
                  <a:pt x="85" y="200"/>
                </a:lnTo>
                <a:lnTo>
                  <a:pt x="79" y="203"/>
                </a:lnTo>
                <a:lnTo>
                  <a:pt x="72" y="209"/>
                </a:lnTo>
                <a:lnTo>
                  <a:pt x="60" y="222"/>
                </a:lnTo>
                <a:lnTo>
                  <a:pt x="57" y="222"/>
                </a:lnTo>
                <a:lnTo>
                  <a:pt x="44" y="234"/>
                </a:lnTo>
                <a:lnTo>
                  <a:pt x="44" y="237"/>
                </a:lnTo>
                <a:lnTo>
                  <a:pt x="41" y="241"/>
                </a:lnTo>
                <a:lnTo>
                  <a:pt x="38" y="241"/>
                </a:lnTo>
                <a:lnTo>
                  <a:pt x="32" y="244"/>
                </a:lnTo>
                <a:lnTo>
                  <a:pt x="32" y="250"/>
                </a:lnTo>
                <a:lnTo>
                  <a:pt x="16" y="266"/>
                </a:lnTo>
                <a:lnTo>
                  <a:pt x="16" y="269"/>
                </a:lnTo>
                <a:lnTo>
                  <a:pt x="0" y="256"/>
                </a:lnTo>
                <a:lnTo>
                  <a:pt x="0" y="178"/>
                </a:lnTo>
                <a:lnTo>
                  <a:pt x="19" y="159"/>
                </a:lnTo>
                <a:lnTo>
                  <a:pt x="19" y="159"/>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1" name="Freeform 109">
            <a:extLst>
              <a:ext uri="{FF2B5EF4-FFF2-40B4-BE49-F238E27FC236}">
                <a16:creationId xmlns:a16="http://schemas.microsoft.com/office/drawing/2014/main" id="{03582BF7-9EC8-C967-E3A8-F7D8EE4EBBC9}"/>
              </a:ext>
            </a:extLst>
          </p:cNvPr>
          <p:cNvSpPr>
            <a:spLocks noEditPoints="1"/>
          </p:cNvSpPr>
          <p:nvPr userDrawn="1"/>
        </p:nvSpPr>
        <p:spPr bwMode="auto">
          <a:xfrm>
            <a:off x="15134242" y="9028982"/>
            <a:ext cx="654007" cy="635000"/>
          </a:xfrm>
          <a:custGeom>
            <a:avLst/>
            <a:gdLst>
              <a:gd name="T0" fmla="*/ 53 w 206"/>
              <a:gd name="T1" fmla="*/ 22 h 200"/>
              <a:gd name="T2" fmla="*/ 56 w 206"/>
              <a:gd name="T3" fmla="*/ 19 h 200"/>
              <a:gd name="T4" fmla="*/ 62 w 206"/>
              <a:gd name="T5" fmla="*/ 16 h 200"/>
              <a:gd name="T6" fmla="*/ 75 w 206"/>
              <a:gd name="T7" fmla="*/ 0 h 200"/>
              <a:gd name="T8" fmla="*/ 81 w 206"/>
              <a:gd name="T9" fmla="*/ 3 h 200"/>
              <a:gd name="T10" fmla="*/ 84 w 206"/>
              <a:gd name="T11" fmla="*/ 16 h 200"/>
              <a:gd name="T12" fmla="*/ 91 w 206"/>
              <a:gd name="T13" fmla="*/ 22 h 200"/>
              <a:gd name="T14" fmla="*/ 100 w 206"/>
              <a:gd name="T15" fmla="*/ 19 h 200"/>
              <a:gd name="T16" fmla="*/ 116 w 206"/>
              <a:gd name="T17" fmla="*/ 22 h 200"/>
              <a:gd name="T18" fmla="*/ 128 w 206"/>
              <a:gd name="T19" fmla="*/ 34 h 200"/>
              <a:gd name="T20" fmla="*/ 134 w 206"/>
              <a:gd name="T21" fmla="*/ 37 h 200"/>
              <a:gd name="T22" fmla="*/ 144 w 206"/>
              <a:gd name="T23" fmla="*/ 41 h 200"/>
              <a:gd name="T24" fmla="*/ 153 w 206"/>
              <a:gd name="T25" fmla="*/ 41 h 200"/>
              <a:gd name="T26" fmla="*/ 159 w 206"/>
              <a:gd name="T27" fmla="*/ 41 h 200"/>
              <a:gd name="T28" fmla="*/ 169 w 206"/>
              <a:gd name="T29" fmla="*/ 28 h 200"/>
              <a:gd name="T30" fmla="*/ 175 w 206"/>
              <a:gd name="T31" fmla="*/ 28 h 200"/>
              <a:gd name="T32" fmla="*/ 184 w 206"/>
              <a:gd name="T33" fmla="*/ 25 h 200"/>
              <a:gd name="T34" fmla="*/ 191 w 206"/>
              <a:gd name="T35" fmla="*/ 31 h 200"/>
              <a:gd name="T36" fmla="*/ 200 w 206"/>
              <a:gd name="T37" fmla="*/ 31 h 200"/>
              <a:gd name="T38" fmla="*/ 187 w 206"/>
              <a:gd name="T39" fmla="*/ 50 h 200"/>
              <a:gd name="T40" fmla="*/ 203 w 206"/>
              <a:gd name="T41" fmla="*/ 141 h 200"/>
              <a:gd name="T42" fmla="*/ 194 w 206"/>
              <a:gd name="T43" fmla="*/ 147 h 200"/>
              <a:gd name="T44" fmla="*/ 191 w 206"/>
              <a:gd name="T45" fmla="*/ 150 h 200"/>
              <a:gd name="T46" fmla="*/ 184 w 206"/>
              <a:gd name="T47" fmla="*/ 156 h 200"/>
              <a:gd name="T48" fmla="*/ 175 w 206"/>
              <a:gd name="T49" fmla="*/ 159 h 200"/>
              <a:gd name="T50" fmla="*/ 175 w 206"/>
              <a:gd name="T51" fmla="*/ 163 h 200"/>
              <a:gd name="T52" fmla="*/ 172 w 206"/>
              <a:gd name="T53" fmla="*/ 169 h 200"/>
              <a:gd name="T54" fmla="*/ 169 w 206"/>
              <a:gd name="T55" fmla="*/ 175 h 200"/>
              <a:gd name="T56" fmla="*/ 166 w 206"/>
              <a:gd name="T57" fmla="*/ 181 h 200"/>
              <a:gd name="T58" fmla="*/ 156 w 206"/>
              <a:gd name="T59" fmla="*/ 200 h 200"/>
              <a:gd name="T60" fmla="*/ 150 w 206"/>
              <a:gd name="T61" fmla="*/ 200 h 200"/>
              <a:gd name="T62" fmla="*/ 125 w 206"/>
              <a:gd name="T63" fmla="*/ 181 h 200"/>
              <a:gd name="T64" fmla="*/ 125 w 206"/>
              <a:gd name="T65" fmla="*/ 178 h 200"/>
              <a:gd name="T66" fmla="*/ 47 w 206"/>
              <a:gd name="T67" fmla="*/ 128 h 200"/>
              <a:gd name="T68" fmla="*/ 47 w 206"/>
              <a:gd name="T69" fmla="*/ 109 h 200"/>
              <a:gd name="T70" fmla="*/ 53 w 206"/>
              <a:gd name="T71" fmla="*/ 100 h 200"/>
              <a:gd name="T72" fmla="*/ 56 w 206"/>
              <a:gd name="T73" fmla="*/ 94 h 200"/>
              <a:gd name="T74" fmla="*/ 62 w 206"/>
              <a:gd name="T75" fmla="*/ 88 h 200"/>
              <a:gd name="T76" fmla="*/ 69 w 206"/>
              <a:gd name="T77" fmla="*/ 84 h 200"/>
              <a:gd name="T78" fmla="*/ 69 w 206"/>
              <a:gd name="T79" fmla="*/ 78 h 200"/>
              <a:gd name="T80" fmla="*/ 75 w 206"/>
              <a:gd name="T81" fmla="*/ 69 h 200"/>
              <a:gd name="T82" fmla="*/ 69 w 206"/>
              <a:gd name="T83" fmla="*/ 63 h 200"/>
              <a:gd name="T84" fmla="*/ 69 w 206"/>
              <a:gd name="T85" fmla="*/ 59 h 200"/>
              <a:gd name="T86" fmla="*/ 65 w 206"/>
              <a:gd name="T87" fmla="*/ 50 h 200"/>
              <a:gd name="T88" fmla="*/ 59 w 206"/>
              <a:gd name="T89" fmla="*/ 44 h 200"/>
              <a:gd name="T90" fmla="*/ 56 w 206"/>
              <a:gd name="T91" fmla="*/ 37 h 200"/>
              <a:gd name="T92" fmla="*/ 53 w 206"/>
              <a:gd name="T93" fmla="*/ 34 h 200"/>
              <a:gd name="T94" fmla="*/ 50 w 206"/>
              <a:gd name="T95" fmla="*/ 25 h 200"/>
              <a:gd name="T96" fmla="*/ 50 w 206"/>
              <a:gd name="T97" fmla="*/ 25 h 200"/>
              <a:gd name="T98" fmla="*/ 0 w 206"/>
              <a:gd name="T99" fmla="*/ 131 h 200"/>
              <a:gd name="T100" fmla="*/ 15 w 206"/>
              <a:gd name="T101" fmla="*/ 131 h 200"/>
              <a:gd name="T102" fmla="*/ 0 w 206"/>
              <a:gd name="T103" fmla="*/ 13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6" h="200">
                <a:moveTo>
                  <a:pt x="50" y="25"/>
                </a:moveTo>
                <a:lnTo>
                  <a:pt x="53" y="22"/>
                </a:lnTo>
                <a:lnTo>
                  <a:pt x="56" y="22"/>
                </a:lnTo>
                <a:lnTo>
                  <a:pt x="56" y="19"/>
                </a:lnTo>
                <a:lnTo>
                  <a:pt x="59" y="16"/>
                </a:lnTo>
                <a:lnTo>
                  <a:pt x="62" y="16"/>
                </a:lnTo>
                <a:lnTo>
                  <a:pt x="69" y="9"/>
                </a:lnTo>
                <a:lnTo>
                  <a:pt x="75" y="0"/>
                </a:lnTo>
                <a:lnTo>
                  <a:pt x="78" y="3"/>
                </a:lnTo>
                <a:lnTo>
                  <a:pt x="81" y="3"/>
                </a:lnTo>
                <a:lnTo>
                  <a:pt x="84" y="3"/>
                </a:lnTo>
                <a:lnTo>
                  <a:pt x="84" y="16"/>
                </a:lnTo>
                <a:lnTo>
                  <a:pt x="87" y="19"/>
                </a:lnTo>
                <a:lnTo>
                  <a:pt x="91" y="22"/>
                </a:lnTo>
                <a:lnTo>
                  <a:pt x="97" y="19"/>
                </a:lnTo>
                <a:lnTo>
                  <a:pt x="100" y="19"/>
                </a:lnTo>
                <a:lnTo>
                  <a:pt x="109" y="19"/>
                </a:lnTo>
                <a:lnTo>
                  <a:pt x="116" y="22"/>
                </a:lnTo>
                <a:lnTo>
                  <a:pt x="122" y="28"/>
                </a:lnTo>
                <a:lnTo>
                  <a:pt x="128" y="34"/>
                </a:lnTo>
                <a:lnTo>
                  <a:pt x="131" y="37"/>
                </a:lnTo>
                <a:lnTo>
                  <a:pt x="134" y="37"/>
                </a:lnTo>
                <a:lnTo>
                  <a:pt x="141" y="37"/>
                </a:lnTo>
                <a:lnTo>
                  <a:pt x="144" y="41"/>
                </a:lnTo>
                <a:lnTo>
                  <a:pt x="150" y="37"/>
                </a:lnTo>
                <a:lnTo>
                  <a:pt x="153" y="41"/>
                </a:lnTo>
                <a:lnTo>
                  <a:pt x="156" y="41"/>
                </a:lnTo>
                <a:lnTo>
                  <a:pt x="159" y="41"/>
                </a:lnTo>
                <a:lnTo>
                  <a:pt x="166" y="31"/>
                </a:lnTo>
                <a:lnTo>
                  <a:pt x="169" y="28"/>
                </a:lnTo>
                <a:lnTo>
                  <a:pt x="172" y="28"/>
                </a:lnTo>
                <a:lnTo>
                  <a:pt x="175" y="28"/>
                </a:lnTo>
                <a:lnTo>
                  <a:pt x="175" y="25"/>
                </a:lnTo>
                <a:lnTo>
                  <a:pt x="184" y="25"/>
                </a:lnTo>
                <a:lnTo>
                  <a:pt x="187" y="28"/>
                </a:lnTo>
                <a:lnTo>
                  <a:pt x="191" y="31"/>
                </a:lnTo>
                <a:lnTo>
                  <a:pt x="194" y="31"/>
                </a:lnTo>
                <a:lnTo>
                  <a:pt x="200" y="31"/>
                </a:lnTo>
                <a:lnTo>
                  <a:pt x="206" y="31"/>
                </a:lnTo>
                <a:lnTo>
                  <a:pt x="187" y="50"/>
                </a:lnTo>
                <a:lnTo>
                  <a:pt x="187" y="128"/>
                </a:lnTo>
                <a:lnTo>
                  <a:pt x="203" y="141"/>
                </a:lnTo>
                <a:lnTo>
                  <a:pt x="203" y="141"/>
                </a:lnTo>
                <a:lnTo>
                  <a:pt x="194" y="147"/>
                </a:lnTo>
                <a:lnTo>
                  <a:pt x="194" y="150"/>
                </a:lnTo>
                <a:lnTo>
                  <a:pt x="191" y="150"/>
                </a:lnTo>
                <a:lnTo>
                  <a:pt x="194" y="153"/>
                </a:lnTo>
                <a:lnTo>
                  <a:pt x="184" y="156"/>
                </a:lnTo>
                <a:lnTo>
                  <a:pt x="181" y="159"/>
                </a:lnTo>
                <a:lnTo>
                  <a:pt x="175" y="159"/>
                </a:lnTo>
                <a:lnTo>
                  <a:pt x="175" y="163"/>
                </a:lnTo>
                <a:lnTo>
                  <a:pt x="175" y="163"/>
                </a:lnTo>
                <a:lnTo>
                  <a:pt x="172" y="166"/>
                </a:lnTo>
                <a:lnTo>
                  <a:pt x="172" y="169"/>
                </a:lnTo>
                <a:lnTo>
                  <a:pt x="172" y="169"/>
                </a:lnTo>
                <a:lnTo>
                  <a:pt x="169" y="175"/>
                </a:lnTo>
                <a:lnTo>
                  <a:pt x="166" y="178"/>
                </a:lnTo>
                <a:lnTo>
                  <a:pt x="166" y="181"/>
                </a:lnTo>
                <a:lnTo>
                  <a:pt x="162" y="188"/>
                </a:lnTo>
                <a:lnTo>
                  <a:pt x="156" y="200"/>
                </a:lnTo>
                <a:lnTo>
                  <a:pt x="150" y="200"/>
                </a:lnTo>
                <a:lnTo>
                  <a:pt x="150" y="200"/>
                </a:lnTo>
                <a:lnTo>
                  <a:pt x="125" y="185"/>
                </a:lnTo>
                <a:lnTo>
                  <a:pt x="125" y="181"/>
                </a:lnTo>
                <a:lnTo>
                  <a:pt x="122" y="178"/>
                </a:lnTo>
                <a:lnTo>
                  <a:pt x="125" y="178"/>
                </a:lnTo>
                <a:lnTo>
                  <a:pt x="119" y="172"/>
                </a:lnTo>
                <a:lnTo>
                  <a:pt x="47" y="128"/>
                </a:lnTo>
                <a:lnTo>
                  <a:pt x="44" y="128"/>
                </a:lnTo>
                <a:lnTo>
                  <a:pt x="47" y="109"/>
                </a:lnTo>
                <a:lnTo>
                  <a:pt x="47" y="103"/>
                </a:lnTo>
                <a:lnTo>
                  <a:pt x="53" y="100"/>
                </a:lnTo>
                <a:lnTo>
                  <a:pt x="53" y="97"/>
                </a:lnTo>
                <a:lnTo>
                  <a:pt x="56" y="94"/>
                </a:lnTo>
                <a:lnTo>
                  <a:pt x="59" y="91"/>
                </a:lnTo>
                <a:lnTo>
                  <a:pt x="62" y="88"/>
                </a:lnTo>
                <a:lnTo>
                  <a:pt x="59" y="84"/>
                </a:lnTo>
                <a:lnTo>
                  <a:pt x="69" y="84"/>
                </a:lnTo>
                <a:lnTo>
                  <a:pt x="69" y="81"/>
                </a:lnTo>
                <a:lnTo>
                  <a:pt x="69" y="78"/>
                </a:lnTo>
                <a:lnTo>
                  <a:pt x="75" y="72"/>
                </a:lnTo>
                <a:lnTo>
                  <a:pt x="75" y="69"/>
                </a:lnTo>
                <a:lnTo>
                  <a:pt x="72" y="66"/>
                </a:lnTo>
                <a:lnTo>
                  <a:pt x="69" y="63"/>
                </a:lnTo>
                <a:lnTo>
                  <a:pt x="72" y="59"/>
                </a:lnTo>
                <a:lnTo>
                  <a:pt x="69" y="59"/>
                </a:lnTo>
                <a:lnTo>
                  <a:pt x="65" y="56"/>
                </a:lnTo>
                <a:lnTo>
                  <a:pt x="65" y="50"/>
                </a:lnTo>
                <a:lnTo>
                  <a:pt x="59" y="47"/>
                </a:lnTo>
                <a:lnTo>
                  <a:pt x="59" y="44"/>
                </a:lnTo>
                <a:lnTo>
                  <a:pt x="59" y="37"/>
                </a:lnTo>
                <a:lnTo>
                  <a:pt x="56" y="37"/>
                </a:lnTo>
                <a:lnTo>
                  <a:pt x="56" y="34"/>
                </a:lnTo>
                <a:lnTo>
                  <a:pt x="53" y="34"/>
                </a:lnTo>
                <a:lnTo>
                  <a:pt x="53" y="28"/>
                </a:lnTo>
                <a:lnTo>
                  <a:pt x="50" y="25"/>
                </a:lnTo>
                <a:lnTo>
                  <a:pt x="50" y="25"/>
                </a:lnTo>
                <a:lnTo>
                  <a:pt x="50" y="25"/>
                </a:lnTo>
                <a:lnTo>
                  <a:pt x="50" y="25"/>
                </a:lnTo>
                <a:close/>
                <a:moveTo>
                  <a:pt x="0" y="131"/>
                </a:moveTo>
                <a:lnTo>
                  <a:pt x="6" y="131"/>
                </a:lnTo>
                <a:lnTo>
                  <a:pt x="15" y="131"/>
                </a:lnTo>
                <a:lnTo>
                  <a:pt x="0" y="131"/>
                </a:lnTo>
                <a:lnTo>
                  <a:pt x="0" y="131"/>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2" name="Freeform 110">
            <a:extLst>
              <a:ext uri="{FF2B5EF4-FFF2-40B4-BE49-F238E27FC236}">
                <a16:creationId xmlns:a16="http://schemas.microsoft.com/office/drawing/2014/main" id="{E0EBD3E9-9003-52B9-FA3B-D9676863D9F0}"/>
              </a:ext>
            </a:extLst>
          </p:cNvPr>
          <p:cNvSpPr>
            <a:spLocks/>
          </p:cNvSpPr>
          <p:nvPr userDrawn="1"/>
        </p:nvSpPr>
        <p:spPr bwMode="auto">
          <a:xfrm>
            <a:off x="15004070" y="9108358"/>
            <a:ext cx="368278" cy="358776"/>
          </a:xfrm>
          <a:custGeom>
            <a:avLst/>
            <a:gdLst>
              <a:gd name="T0" fmla="*/ 88 w 116"/>
              <a:gd name="T1" fmla="*/ 78 h 113"/>
              <a:gd name="T2" fmla="*/ 94 w 116"/>
              <a:gd name="T3" fmla="*/ 72 h 113"/>
              <a:gd name="T4" fmla="*/ 100 w 116"/>
              <a:gd name="T5" fmla="*/ 66 h 113"/>
              <a:gd name="T6" fmla="*/ 100 w 116"/>
              <a:gd name="T7" fmla="*/ 59 h 113"/>
              <a:gd name="T8" fmla="*/ 110 w 116"/>
              <a:gd name="T9" fmla="*/ 56 h 113"/>
              <a:gd name="T10" fmla="*/ 116 w 116"/>
              <a:gd name="T11" fmla="*/ 47 h 113"/>
              <a:gd name="T12" fmla="*/ 113 w 116"/>
              <a:gd name="T13" fmla="*/ 41 h 113"/>
              <a:gd name="T14" fmla="*/ 113 w 116"/>
              <a:gd name="T15" fmla="*/ 34 h 113"/>
              <a:gd name="T16" fmla="*/ 106 w 116"/>
              <a:gd name="T17" fmla="*/ 31 h 113"/>
              <a:gd name="T18" fmla="*/ 100 w 116"/>
              <a:gd name="T19" fmla="*/ 22 h 113"/>
              <a:gd name="T20" fmla="*/ 100 w 116"/>
              <a:gd name="T21" fmla="*/ 12 h 113"/>
              <a:gd name="T22" fmla="*/ 97 w 116"/>
              <a:gd name="T23" fmla="*/ 9 h 113"/>
              <a:gd name="T24" fmla="*/ 94 w 116"/>
              <a:gd name="T25" fmla="*/ 3 h 113"/>
              <a:gd name="T26" fmla="*/ 88 w 116"/>
              <a:gd name="T27" fmla="*/ 3 h 113"/>
              <a:gd name="T28" fmla="*/ 81 w 116"/>
              <a:gd name="T29" fmla="*/ 9 h 113"/>
              <a:gd name="T30" fmla="*/ 69 w 116"/>
              <a:gd name="T31" fmla="*/ 9 h 113"/>
              <a:gd name="T32" fmla="*/ 63 w 116"/>
              <a:gd name="T33" fmla="*/ 9 h 113"/>
              <a:gd name="T34" fmla="*/ 56 w 116"/>
              <a:gd name="T35" fmla="*/ 9 h 113"/>
              <a:gd name="T36" fmla="*/ 56 w 116"/>
              <a:gd name="T37" fmla="*/ 16 h 113"/>
              <a:gd name="T38" fmla="*/ 47 w 116"/>
              <a:gd name="T39" fmla="*/ 16 h 113"/>
              <a:gd name="T40" fmla="*/ 44 w 116"/>
              <a:gd name="T41" fmla="*/ 9 h 113"/>
              <a:gd name="T42" fmla="*/ 38 w 116"/>
              <a:gd name="T43" fmla="*/ 9 h 113"/>
              <a:gd name="T44" fmla="*/ 31 w 116"/>
              <a:gd name="T45" fmla="*/ 9 h 113"/>
              <a:gd name="T46" fmla="*/ 31 w 116"/>
              <a:gd name="T47" fmla="*/ 16 h 113"/>
              <a:gd name="T48" fmla="*/ 31 w 116"/>
              <a:gd name="T49" fmla="*/ 16 h 113"/>
              <a:gd name="T50" fmla="*/ 28 w 116"/>
              <a:gd name="T51" fmla="*/ 22 h 113"/>
              <a:gd name="T52" fmla="*/ 25 w 116"/>
              <a:gd name="T53" fmla="*/ 34 h 113"/>
              <a:gd name="T54" fmla="*/ 28 w 116"/>
              <a:gd name="T55" fmla="*/ 41 h 113"/>
              <a:gd name="T56" fmla="*/ 31 w 116"/>
              <a:gd name="T57" fmla="*/ 47 h 113"/>
              <a:gd name="T58" fmla="*/ 22 w 116"/>
              <a:gd name="T59" fmla="*/ 63 h 113"/>
              <a:gd name="T60" fmla="*/ 13 w 116"/>
              <a:gd name="T61" fmla="*/ 72 h 113"/>
              <a:gd name="T62" fmla="*/ 3 w 116"/>
              <a:gd name="T63" fmla="*/ 88 h 113"/>
              <a:gd name="T64" fmla="*/ 3 w 116"/>
              <a:gd name="T65" fmla="*/ 100 h 113"/>
              <a:gd name="T66" fmla="*/ 0 w 116"/>
              <a:gd name="T67" fmla="*/ 113 h 113"/>
              <a:gd name="T68" fmla="*/ 0 w 116"/>
              <a:gd name="T69" fmla="*/ 113 h 113"/>
              <a:gd name="T70" fmla="*/ 10 w 116"/>
              <a:gd name="T71" fmla="*/ 109 h 113"/>
              <a:gd name="T72" fmla="*/ 13 w 116"/>
              <a:gd name="T73" fmla="*/ 113 h 113"/>
              <a:gd name="T74" fmla="*/ 16 w 116"/>
              <a:gd name="T75" fmla="*/ 113 h 113"/>
              <a:gd name="T76" fmla="*/ 19 w 116"/>
              <a:gd name="T77" fmla="*/ 109 h 113"/>
              <a:gd name="T78" fmla="*/ 22 w 116"/>
              <a:gd name="T79" fmla="*/ 106 h 113"/>
              <a:gd name="T80" fmla="*/ 25 w 116"/>
              <a:gd name="T81" fmla="*/ 106 h 113"/>
              <a:gd name="T82" fmla="*/ 41 w 116"/>
              <a:gd name="T83" fmla="*/ 106 h 113"/>
              <a:gd name="T84" fmla="*/ 85 w 116"/>
              <a:gd name="T85" fmla="*/ 10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6" h="113">
                <a:moveTo>
                  <a:pt x="88" y="84"/>
                </a:moveTo>
                <a:lnTo>
                  <a:pt x="88" y="78"/>
                </a:lnTo>
                <a:lnTo>
                  <a:pt x="94" y="75"/>
                </a:lnTo>
                <a:lnTo>
                  <a:pt x="94" y="72"/>
                </a:lnTo>
                <a:lnTo>
                  <a:pt x="97" y="69"/>
                </a:lnTo>
                <a:lnTo>
                  <a:pt x="100" y="66"/>
                </a:lnTo>
                <a:lnTo>
                  <a:pt x="103" y="63"/>
                </a:lnTo>
                <a:lnTo>
                  <a:pt x="100" y="59"/>
                </a:lnTo>
                <a:lnTo>
                  <a:pt x="110" y="59"/>
                </a:lnTo>
                <a:lnTo>
                  <a:pt x="110" y="56"/>
                </a:lnTo>
                <a:lnTo>
                  <a:pt x="110" y="53"/>
                </a:lnTo>
                <a:lnTo>
                  <a:pt x="116" y="47"/>
                </a:lnTo>
                <a:lnTo>
                  <a:pt x="116" y="44"/>
                </a:lnTo>
                <a:lnTo>
                  <a:pt x="113" y="41"/>
                </a:lnTo>
                <a:lnTo>
                  <a:pt x="110" y="38"/>
                </a:lnTo>
                <a:lnTo>
                  <a:pt x="113" y="34"/>
                </a:lnTo>
                <a:lnTo>
                  <a:pt x="110" y="34"/>
                </a:lnTo>
                <a:lnTo>
                  <a:pt x="106" y="31"/>
                </a:lnTo>
                <a:lnTo>
                  <a:pt x="106" y="25"/>
                </a:lnTo>
                <a:lnTo>
                  <a:pt x="100" y="22"/>
                </a:lnTo>
                <a:lnTo>
                  <a:pt x="100" y="19"/>
                </a:lnTo>
                <a:lnTo>
                  <a:pt x="100" y="12"/>
                </a:lnTo>
                <a:lnTo>
                  <a:pt x="97" y="12"/>
                </a:lnTo>
                <a:lnTo>
                  <a:pt x="97" y="9"/>
                </a:lnTo>
                <a:lnTo>
                  <a:pt x="94" y="9"/>
                </a:lnTo>
                <a:lnTo>
                  <a:pt x="94" y="3"/>
                </a:lnTo>
                <a:lnTo>
                  <a:pt x="91" y="0"/>
                </a:lnTo>
                <a:lnTo>
                  <a:pt x="88" y="3"/>
                </a:lnTo>
                <a:lnTo>
                  <a:pt x="85" y="6"/>
                </a:lnTo>
                <a:lnTo>
                  <a:pt x="81" y="9"/>
                </a:lnTo>
                <a:lnTo>
                  <a:pt x="75" y="9"/>
                </a:lnTo>
                <a:lnTo>
                  <a:pt x="69" y="9"/>
                </a:lnTo>
                <a:lnTo>
                  <a:pt x="66" y="9"/>
                </a:lnTo>
                <a:lnTo>
                  <a:pt x="63" y="9"/>
                </a:lnTo>
                <a:lnTo>
                  <a:pt x="60" y="12"/>
                </a:lnTo>
                <a:lnTo>
                  <a:pt x="56" y="9"/>
                </a:lnTo>
                <a:lnTo>
                  <a:pt x="56" y="12"/>
                </a:lnTo>
                <a:lnTo>
                  <a:pt x="56" y="16"/>
                </a:lnTo>
                <a:lnTo>
                  <a:pt x="53" y="16"/>
                </a:lnTo>
                <a:lnTo>
                  <a:pt x="47" y="16"/>
                </a:lnTo>
                <a:lnTo>
                  <a:pt x="47" y="12"/>
                </a:lnTo>
                <a:lnTo>
                  <a:pt x="44" y="9"/>
                </a:lnTo>
                <a:lnTo>
                  <a:pt x="41" y="12"/>
                </a:lnTo>
                <a:lnTo>
                  <a:pt x="38" y="9"/>
                </a:lnTo>
                <a:lnTo>
                  <a:pt x="31" y="9"/>
                </a:lnTo>
                <a:lnTo>
                  <a:pt x="31" y="9"/>
                </a:lnTo>
                <a:lnTo>
                  <a:pt x="31" y="12"/>
                </a:lnTo>
                <a:lnTo>
                  <a:pt x="31" y="16"/>
                </a:lnTo>
                <a:lnTo>
                  <a:pt x="31" y="16"/>
                </a:lnTo>
                <a:lnTo>
                  <a:pt x="31" y="16"/>
                </a:lnTo>
                <a:lnTo>
                  <a:pt x="28" y="19"/>
                </a:lnTo>
                <a:lnTo>
                  <a:pt x="28" y="22"/>
                </a:lnTo>
                <a:lnTo>
                  <a:pt x="28" y="28"/>
                </a:lnTo>
                <a:lnTo>
                  <a:pt x="25" y="34"/>
                </a:lnTo>
                <a:lnTo>
                  <a:pt x="25" y="38"/>
                </a:lnTo>
                <a:lnTo>
                  <a:pt x="28" y="41"/>
                </a:lnTo>
                <a:lnTo>
                  <a:pt x="31" y="44"/>
                </a:lnTo>
                <a:lnTo>
                  <a:pt x="31" y="47"/>
                </a:lnTo>
                <a:lnTo>
                  <a:pt x="31" y="50"/>
                </a:lnTo>
                <a:lnTo>
                  <a:pt x="22" y="63"/>
                </a:lnTo>
                <a:lnTo>
                  <a:pt x="16" y="69"/>
                </a:lnTo>
                <a:lnTo>
                  <a:pt x="13" y="72"/>
                </a:lnTo>
                <a:lnTo>
                  <a:pt x="6" y="84"/>
                </a:lnTo>
                <a:lnTo>
                  <a:pt x="3" y="88"/>
                </a:lnTo>
                <a:lnTo>
                  <a:pt x="3" y="94"/>
                </a:lnTo>
                <a:lnTo>
                  <a:pt x="3" y="100"/>
                </a:lnTo>
                <a:lnTo>
                  <a:pt x="0" y="106"/>
                </a:lnTo>
                <a:lnTo>
                  <a:pt x="0" y="113"/>
                </a:lnTo>
                <a:lnTo>
                  <a:pt x="0" y="113"/>
                </a:lnTo>
                <a:lnTo>
                  <a:pt x="0" y="113"/>
                </a:lnTo>
                <a:lnTo>
                  <a:pt x="3" y="113"/>
                </a:lnTo>
                <a:lnTo>
                  <a:pt x="10" y="109"/>
                </a:lnTo>
                <a:lnTo>
                  <a:pt x="10" y="113"/>
                </a:lnTo>
                <a:lnTo>
                  <a:pt x="13" y="113"/>
                </a:lnTo>
                <a:lnTo>
                  <a:pt x="16" y="113"/>
                </a:lnTo>
                <a:lnTo>
                  <a:pt x="16" y="113"/>
                </a:lnTo>
                <a:lnTo>
                  <a:pt x="16" y="109"/>
                </a:lnTo>
                <a:lnTo>
                  <a:pt x="19" y="109"/>
                </a:lnTo>
                <a:lnTo>
                  <a:pt x="19" y="109"/>
                </a:lnTo>
                <a:lnTo>
                  <a:pt x="22" y="106"/>
                </a:lnTo>
                <a:lnTo>
                  <a:pt x="22" y="106"/>
                </a:lnTo>
                <a:lnTo>
                  <a:pt x="25" y="106"/>
                </a:lnTo>
                <a:lnTo>
                  <a:pt x="41" y="106"/>
                </a:lnTo>
                <a:lnTo>
                  <a:pt x="41" y="106"/>
                </a:lnTo>
                <a:lnTo>
                  <a:pt x="56" y="106"/>
                </a:lnTo>
                <a:lnTo>
                  <a:pt x="85" y="103"/>
                </a:lnTo>
                <a:lnTo>
                  <a:pt x="88" y="84"/>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3" name="Freeform 111">
            <a:extLst>
              <a:ext uri="{FF2B5EF4-FFF2-40B4-BE49-F238E27FC236}">
                <a16:creationId xmlns:a16="http://schemas.microsoft.com/office/drawing/2014/main" id="{DB9F04C6-5A37-A0A1-C344-0C16117E3E28}"/>
              </a:ext>
            </a:extLst>
          </p:cNvPr>
          <p:cNvSpPr>
            <a:spLocks/>
          </p:cNvSpPr>
          <p:nvPr userDrawn="1"/>
        </p:nvSpPr>
        <p:spPr bwMode="auto">
          <a:xfrm>
            <a:off x="14070682" y="8679735"/>
            <a:ext cx="815923" cy="549278"/>
          </a:xfrm>
          <a:custGeom>
            <a:avLst/>
            <a:gdLst>
              <a:gd name="T0" fmla="*/ 163 w 257"/>
              <a:gd name="T1" fmla="*/ 7 h 173"/>
              <a:gd name="T2" fmla="*/ 175 w 257"/>
              <a:gd name="T3" fmla="*/ 25 h 173"/>
              <a:gd name="T4" fmla="*/ 172 w 257"/>
              <a:gd name="T5" fmla="*/ 38 h 173"/>
              <a:gd name="T6" fmla="*/ 182 w 257"/>
              <a:gd name="T7" fmla="*/ 44 h 173"/>
              <a:gd name="T8" fmla="*/ 188 w 257"/>
              <a:gd name="T9" fmla="*/ 54 h 173"/>
              <a:gd name="T10" fmla="*/ 204 w 257"/>
              <a:gd name="T11" fmla="*/ 60 h 173"/>
              <a:gd name="T12" fmla="*/ 213 w 257"/>
              <a:gd name="T13" fmla="*/ 66 h 173"/>
              <a:gd name="T14" fmla="*/ 207 w 257"/>
              <a:gd name="T15" fmla="*/ 76 h 173"/>
              <a:gd name="T16" fmla="*/ 219 w 257"/>
              <a:gd name="T17" fmla="*/ 79 h 173"/>
              <a:gd name="T18" fmla="*/ 229 w 257"/>
              <a:gd name="T19" fmla="*/ 91 h 173"/>
              <a:gd name="T20" fmla="*/ 238 w 257"/>
              <a:gd name="T21" fmla="*/ 101 h 173"/>
              <a:gd name="T22" fmla="*/ 247 w 257"/>
              <a:gd name="T23" fmla="*/ 107 h 173"/>
              <a:gd name="T24" fmla="*/ 257 w 257"/>
              <a:gd name="T25" fmla="*/ 119 h 173"/>
              <a:gd name="T26" fmla="*/ 247 w 257"/>
              <a:gd name="T27" fmla="*/ 119 h 173"/>
              <a:gd name="T28" fmla="*/ 229 w 257"/>
              <a:gd name="T29" fmla="*/ 119 h 173"/>
              <a:gd name="T30" fmla="*/ 219 w 257"/>
              <a:gd name="T31" fmla="*/ 116 h 173"/>
              <a:gd name="T32" fmla="*/ 213 w 257"/>
              <a:gd name="T33" fmla="*/ 116 h 173"/>
              <a:gd name="T34" fmla="*/ 200 w 257"/>
              <a:gd name="T35" fmla="*/ 122 h 173"/>
              <a:gd name="T36" fmla="*/ 194 w 257"/>
              <a:gd name="T37" fmla="*/ 122 h 173"/>
              <a:gd name="T38" fmla="*/ 182 w 257"/>
              <a:gd name="T39" fmla="*/ 126 h 173"/>
              <a:gd name="T40" fmla="*/ 166 w 257"/>
              <a:gd name="T41" fmla="*/ 126 h 173"/>
              <a:gd name="T42" fmla="*/ 154 w 257"/>
              <a:gd name="T43" fmla="*/ 132 h 173"/>
              <a:gd name="T44" fmla="*/ 150 w 257"/>
              <a:gd name="T45" fmla="*/ 138 h 173"/>
              <a:gd name="T46" fmla="*/ 138 w 257"/>
              <a:gd name="T47" fmla="*/ 135 h 173"/>
              <a:gd name="T48" fmla="*/ 122 w 257"/>
              <a:gd name="T49" fmla="*/ 132 h 173"/>
              <a:gd name="T50" fmla="*/ 110 w 257"/>
              <a:gd name="T51" fmla="*/ 126 h 173"/>
              <a:gd name="T52" fmla="*/ 97 w 257"/>
              <a:gd name="T53" fmla="*/ 119 h 173"/>
              <a:gd name="T54" fmla="*/ 88 w 257"/>
              <a:gd name="T55" fmla="*/ 122 h 173"/>
              <a:gd name="T56" fmla="*/ 85 w 257"/>
              <a:gd name="T57" fmla="*/ 132 h 173"/>
              <a:gd name="T58" fmla="*/ 82 w 257"/>
              <a:gd name="T59" fmla="*/ 141 h 173"/>
              <a:gd name="T60" fmla="*/ 79 w 257"/>
              <a:gd name="T61" fmla="*/ 147 h 173"/>
              <a:gd name="T62" fmla="*/ 69 w 257"/>
              <a:gd name="T63" fmla="*/ 144 h 173"/>
              <a:gd name="T64" fmla="*/ 50 w 257"/>
              <a:gd name="T65" fmla="*/ 151 h 173"/>
              <a:gd name="T66" fmla="*/ 32 w 257"/>
              <a:gd name="T67" fmla="*/ 173 h 173"/>
              <a:gd name="T68" fmla="*/ 32 w 257"/>
              <a:gd name="T69" fmla="*/ 163 h 173"/>
              <a:gd name="T70" fmla="*/ 16 w 257"/>
              <a:gd name="T71" fmla="*/ 144 h 173"/>
              <a:gd name="T72" fmla="*/ 4 w 257"/>
              <a:gd name="T73" fmla="*/ 132 h 173"/>
              <a:gd name="T74" fmla="*/ 0 w 257"/>
              <a:gd name="T75" fmla="*/ 110 h 173"/>
              <a:gd name="T76" fmla="*/ 4 w 257"/>
              <a:gd name="T77" fmla="*/ 94 h 173"/>
              <a:gd name="T78" fmla="*/ 16 w 257"/>
              <a:gd name="T79" fmla="*/ 76 h 173"/>
              <a:gd name="T80" fmla="*/ 22 w 257"/>
              <a:gd name="T81" fmla="*/ 69 h 173"/>
              <a:gd name="T82" fmla="*/ 35 w 257"/>
              <a:gd name="T83" fmla="*/ 72 h 173"/>
              <a:gd name="T84" fmla="*/ 44 w 257"/>
              <a:gd name="T85" fmla="*/ 63 h 173"/>
              <a:gd name="T86" fmla="*/ 54 w 257"/>
              <a:gd name="T87" fmla="*/ 66 h 173"/>
              <a:gd name="T88" fmla="*/ 82 w 257"/>
              <a:gd name="T89" fmla="*/ 57 h 173"/>
              <a:gd name="T90" fmla="*/ 88 w 257"/>
              <a:gd name="T91" fmla="*/ 47 h 173"/>
              <a:gd name="T92" fmla="*/ 91 w 257"/>
              <a:gd name="T93" fmla="*/ 41 h 173"/>
              <a:gd name="T94" fmla="*/ 110 w 257"/>
              <a:gd name="T95" fmla="*/ 41 h 173"/>
              <a:gd name="T96" fmla="*/ 122 w 257"/>
              <a:gd name="T97" fmla="*/ 32 h 173"/>
              <a:gd name="T98" fmla="*/ 125 w 257"/>
              <a:gd name="T99" fmla="*/ 22 h 173"/>
              <a:gd name="T100" fmla="*/ 138 w 257"/>
              <a:gd name="T101" fmla="*/ 13 h 173"/>
              <a:gd name="T102" fmla="*/ 144 w 257"/>
              <a:gd name="T103" fmla="*/ 4 h 173"/>
              <a:gd name="T104" fmla="*/ 160 w 257"/>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7" h="173">
                <a:moveTo>
                  <a:pt x="160" y="0"/>
                </a:moveTo>
                <a:lnTo>
                  <a:pt x="163" y="0"/>
                </a:lnTo>
                <a:lnTo>
                  <a:pt x="163" y="4"/>
                </a:lnTo>
                <a:lnTo>
                  <a:pt x="163" y="7"/>
                </a:lnTo>
                <a:lnTo>
                  <a:pt x="166" y="10"/>
                </a:lnTo>
                <a:lnTo>
                  <a:pt x="166" y="10"/>
                </a:lnTo>
                <a:lnTo>
                  <a:pt x="172" y="19"/>
                </a:lnTo>
                <a:lnTo>
                  <a:pt x="175" y="25"/>
                </a:lnTo>
                <a:lnTo>
                  <a:pt x="175" y="29"/>
                </a:lnTo>
                <a:lnTo>
                  <a:pt x="175" y="32"/>
                </a:lnTo>
                <a:lnTo>
                  <a:pt x="175" y="35"/>
                </a:lnTo>
                <a:lnTo>
                  <a:pt x="172" y="38"/>
                </a:lnTo>
                <a:lnTo>
                  <a:pt x="172" y="44"/>
                </a:lnTo>
                <a:lnTo>
                  <a:pt x="175" y="47"/>
                </a:lnTo>
                <a:lnTo>
                  <a:pt x="182" y="47"/>
                </a:lnTo>
                <a:lnTo>
                  <a:pt x="182" y="44"/>
                </a:lnTo>
                <a:lnTo>
                  <a:pt x="188" y="44"/>
                </a:lnTo>
                <a:lnTo>
                  <a:pt x="191" y="47"/>
                </a:lnTo>
                <a:lnTo>
                  <a:pt x="188" y="51"/>
                </a:lnTo>
                <a:lnTo>
                  <a:pt x="188" y="54"/>
                </a:lnTo>
                <a:lnTo>
                  <a:pt x="194" y="57"/>
                </a:lnTo>
                <a:lnTo>
                  <a:pt x="197" y="57"/>
                </a:lnTo>
                <a:lnTo>
                  <a:pt x="200" y="57"/>
                </a:lnTo>
                <a:lnTo>
                  <a:pt x="204" y="60"/>
                </a:lnTo>
                <a:lnTo>
                  <a:pt x="204" y="63"/>
                </a:lnTo>
                <a:lnTo>
                  <a:pt x="210" y="63"/>
                </a:lnTo>
                <a:lnTo>
                  <a:pt x="213" y="63"/>
                </a:lnTo>
                <a:lnTo>
                  <a:pt x="213" y="66"/>
                </a:lnTo>
                <a:lnTo>
                  <a:pt x="213" y="69"/>
                </a:lnTo>
                <a:lnTo>
                  <a:pt x="210" y="72"/>
                </a:lnTo>
                <a:lnTo>
                  <a:pt x="210" y="72"/>
                </a:lnTo>
                <a:lnTo>
                  <a:pt x="207" y="76"/>
                </a:lnTo>
                <a:lnTo>
                  <a:pt x="213" y="79"/>
                </a:lnTo>
                <a:lnTo>
                  <a:pt x="216" y="79"/>
                </a:lnTo>
                <a:lnTo>
                  <a:pt x="216" y="79"/>
                </a:lnTo>
                <a:lnTo>
                  <a:pt x="219" y="79"/>
                </a:lnTo>
                <a:lnTo>
                  <a:pt x="222" y="79"/>
                </a:lnTo>
                <a:lnTo>
                  <a:pt x="229" y="85"/>
                </a:lnTo>
                <a:lnTo>
                  <a:pt x="229" y="85"/>
                </a:lnTo>
                <a:lnTo>
                  <a:pt x="229" y="91"/>
                </a:lnTo>
                <a:lnTo>
                  <a:pt x="232" y="94"/>
                </a:lnTo>
                <a:lnTo>
                  <a:pt x="235" y="94"/>
                </a:lnTo>
                <a:lnTo>
                  <a:pt x="238" y="97"/>
                </a:lnTo>
                <a:lnTo>
                  <a:pt x="238" y="101"/>
                </a:lnTo>
                <a:lnTo>
                  <a:pt x="238" y="101"/>
                </a:lnTo>
                <a:lnTo>
                  <a:pt x="244" y="104"/>
                </a:lnTo>
                <a:lnTo>
                  <a:pt x="247" y="107"/>
                </a:lnTo>
                <a:lnTo>
                  <a:pt x="247" y="107"/>
                </a:lnTo>
                <a:lnTo>
                  <a:pt x="247" y="113"/>
                </a:lnTo>
                <a:lnTo>
                  <a:pt x="250" y="116"/>
                </a:lnTo>
                <a:lnTo>
                  <a:pt x="254" y="119"/>
                </a:lnTo>
                <a:lnTo>
                  <a:pt x="257" y="119"/>
                </a:lnTo>
                <a:lnTo>
                  <a:pt x="257" y="122"/>
                </a:lnTo>
                <a:lnTo>
                  <a:pt x="254" y="119"/>
                </a:lnTo>
                <a:lnTo>
                  <a:pt x="250" y="119"/>
                </a:lnTo>
                <a:lnTo>
                  <a:pt x="247" y="119"/>
                </a:lnTo>
                <a:lnTo>
                  <a:pt x="241" y="122"/>
                </a:lnTo>
                <a:lnTo>
                  <a:pt x="238" y="119"/>
                </a:lnTo>
                <a:lnTo>
                  <a:pt x="232" y="119"/>
                </a:lnTo>
                <a:lnTo>
                  <a:pt x="229" y="119"/>
                </a:lnTo>
                <a:lnTo>
                  <a:pt x="225" y="119"/>
                </a:lnTo>
                <a:lnTo>
                  <a:pt x="225" y="116"/>
                </a:lnTo>
                <a:lnTo>
                  <a:pt x="222" y="116"/>
                </a:lnTo>
                <a:lnTo>
                  <a:pt x="219" y="116"/>
                </a:lnTo>
                <a:lnTo>
                  <a:pt x="216" y="113"/>
                </a:lnTo>
                <a:lnTo>
                  <a:pt x="213" y="116"/>
                </a:lnTo>
                <a:lnTo>
                  <a:pt x="213" y="116"/>
                </a:lnTo>
                <a:lnTo>
                  <a:pt x="213" y="116"/>
                </a:lnTo>
                <a:lnTo>
                  <a:pt x="210" y="122"/>
                </a:lnTo>
                <a:lnTo>
                  <a:pt x="210" y="122"/>
                </a:lnTo>
                <a:lnTo>
                  <a:pt x="207" y="122"/>
                </a:lnTo>
                <a:lnTo>
                  <a:pt x="200" y="122"/>
                </a:lnTo>
                <a:lnTo>
                  <a:pt x="200" y="122"/>
                </a:lnTo>
                <a:lnTo>
                  <a:pt x="197" y="122"/>
                </a:lnTo>
                <a:lnTo>
                  <a:pt x="197" y="122"/>
                </a:lnTo>
                <a:lnTo>
                  <a:pt x="194" y="122"/>
                </a:lnTo>
                <a:lnTo>
                  <a:pt x="194" y="119"/>
                </a:lnTo>
                <a:lnTo>
                  <a:pt x="191" y="119"/>
                </a:lnTo>
                <a:lnTo>
                  <a:pt x="185" y="122"/>
                </a:lnTo>
                <a:lnTo>
                  <a:pt x="182" y="126"/>
                </a:lnTo>
                <a:lnTo>
                  <a:pt x="179" y="126"/>
                </a:lnTo>
                <a:lnTo>
                  <a:pt x="172" y="129"/>
                </a:lnTo>
                <a:lnTo>
                  <a:pt x="169" y="129"/>
                </a:lnTo>
                <a:lnTo>
                  <a:pt x="166" y="126"/>
                </a:lnTo>
                <a:lnTo>
                  <a:pt x="163" y="126"/>
                </a:lnTo>
                <a:lnTo>
                  <a:pt x="160" y="126"/>
                </a:lnTo>
                <a:lnTo>
                  <a:pt x="157" y="129"/>
                </a:lnTo>
                <a:lnTo>
                  <a:pt x="154" y="132"/>
                </a:lnTo>
                <a:lnTo>
                  <a:pt x="154" y="135"/>
                </a:lnTo>
                <a:lnTo>
                  <a:pt x="154" y="135"/>
                </a:lnTo>
                <a:lnTo>
                  <a:pt x="154" y="138"/>
                </a:lnTo>
                <a:lnTo>
                  <a:pt x="150" y="138"/>
                </a:lnTo>
                <a:lnTo>
                  <a:pt x="147" y="138"/>
                </a:lnTo>
                <a:lnTo>
                  <a:pt x="144" y="135"/>
                </a:lnTo>
                <a:lnTo>
                  <a:pt x="141" y="135"/>
                </a:lnTo>
                <a:lnTo>
                  <a:pt x="138" y="135"/>
                </a:lnTo>
                <a:lnTo>
                  <a:pt x="135" y="135"/>
                </a:lnTo>
                <a:lnTo>
                  <a:pt x="132" y="135"/>
                </a:lnTo>
                <a:lnTo>
                  <a:pt x="129" y="135"/>
                </a:lnTo>
                <a:lnTo>
                  <a:pt x="122" y="132"/>
                </a:lnTo>
                <a:lnTo>
                  <a:pt x="119" y="132"/>
                </a:lnTo>
                <a:lnTo>
                  <a:pt x="119" y="132"/>
                </a:lnTo>
                <a:lnTo>
                  <a:pt x="113" y="129"/>
                </a:lnTo>
                <a:lnTo>
                  <a:pt x="110" y="126"/>
                </a:lnTo>
                <a:lnTo>
                  <a:pt x="104" y="122"/>
                </a:lnTo>
                <a:lnTo>
                  <a:pt x="100" y="122"/>
                </a:lnTo>
                <a:lnTo>
                  <a:pt x="97" y="119"/>
                </a:lnTo>
                <a:lnTo>
                  <a:pt x="97" y="119"/>
                </a:lnTo>
                <a:lnTo>
                  <a:pt x="97" y="122"/>
                </a:lnTo>
                <a:lnTo>
                  <a:pt x="94" y="119"/>
                </a:lnTo>
                <a:lnTo>
                  <a:pt x="91" y="122"/>
                </a:lnTo>
                <a:lnTo>
                  <a:pt x="88" y="122"/>
                </a:lnTo>
                <a:lnTo>
                  <a:pt x="85" y="126"/>
                </a:lnTo>
                <a:lnTo>
                  <a:pt x="85" y="129"/>
                </a:lnTo>
                <a:lnTo>
                  <a:pt x="85" y="129"/>
                </a:lnTo>
                <a:lnTo>
                  <a:pt x="85" y="132"/>
                </a:lnTo>
                <a:lnTo>
                  <a:pt x="82" y="132"/>
                </a:lnTo>
                <a:lnTo>
                  <a:pt x="79" y="135"/>
                </a:lnTo>
                <a:lnTo>
                  <a:pt x="79" y="135"/>
                </a:lnTo>
                <a:lnTo>
                  <a:pt x="82" y="141"/>
                </a:lnTo>
                <a:lnTo>
                  <a:pt x="82" y="141"/>
                </a:lnTo>
                <a:lnTo>
                  <a:pt x="82" y="144"/>
                </a:lnTo>
                <a:lnTo>
                  <a:pt x="82" y="147"/>
                </a:lnTo>
                <a:lnTo>
                  <a:pt x="79" y="147"/>
                </a:lnTo>
                <a:lnTo>
                  <a:pt x="75" y="147"/>
                </a:lnTo>
                <a:lnTo>
                  <a:pt x="72" y="147"/>
                </a:lnTo>
                <a:lnTo>
                  <a:pt x="72" y="144"/>
                </a:lnTo>
                <a:lnTo>
                  <a:pt x="69" y="144"/>
                </a:lnTo>
                <a:lnTo>
                  <a:pt x="66" y="144"/>
                </a:lnTo>
                <a:lnTo>
                  <a:pt x="63" y="147"/>
                </a:lnTo>
                <a:lnTo>
                  <a:pt x="60" y="147"/>
                </a:lnTo>
                <a:lnTo>
                  <a:pt x="50" y="151"/>
                </a:lnTo>
                <a:lnTo>
                  <a:pt x="50" y="151"/>
                </a:lnTo>
                <a:lnTo>
                  <a:pt x="47" y="154"/>
                </a:lnTo>
                <a:lnTo>
                  <a:pt x="41" y="157"/>
                </a:lnTo>
                <a:lnTo>
                  <a:pt x="32" y="173"/>
                </a:lnTo>
                <a:lnTo>
                  <a:pt x="32" y="173"/>
                </a:lnTo>
                <a:lnTo>
                  <a:pt x="32" y="169"/>
                </a:lnTo>
                <a:lnTo>
                  <a:pt x="32" y="166"/>
                </a:lnTo>
                <a:lnTo>
                  <a:pt x="32" y="163"/>
                </a:lnTo>
                <a:lnTo>
                  <a:pt x="25" y="157"/>
                </a:lnTo>
                <a:lnTo>
                  <a:pt x="22" y="157"/>
                </a:lnTo>
                <a:lnTo>
                  <a:pt x="19" y="151"/>
                </a:lnTo>
                <a:lnTo>
                  <a:pt x="16" y="144"/>
                </a:lnTo>
                <a:lnTo>
                  <a:pt x="13" y="138"/>
                </a:lnTo>
                <a:lnTo>
                  <a:pt x="10" y="135"/>
                </a:lnTo>
                <a:lnTo>
                  <a:pt x="4" y="132"/>
                </a:lnTo>
                <a:lnTo>
                  <a:pt x="4" y="132"/>
                </a:lnTo>
                <a:lnTo>
                  <a:pt x="4" y="122"/>
                </a:lnTo>
                <a:lnTo>
                  <a:pt x="4" y="119"/>
                </a:lnTo>
                <a:lnTo>
                  <a:pt x="0" y="113"/>
                </a:lnTo>
                <a:lnTo>
                  <a:pt x="0" y="110"/>
                </a:lnTo>
                <a:lnTo>
                  <a:pt x="0" y="104"/>
                </a:lnTo>
                <a:lnTo>
                  <a:pt x="0" y="101"/>
                </a:lnTo>
                <a:lnTo>
                  <a:pt x="0" y="97"/>
                </a:lnTo>
                <a:lnTo>
                  <a:pt x="4" y="94"/>
                </a:lnTo>
                <a:lnTo>
                  <a:pt x="7" y="91"/>
                </a:lnTo>
                <a:lnTo>
                  <a:pt x="10" y="85"/>
                </a:lnTo>
                <a:lnTo>
                  <a:pt x="13" y="79"/>
                </a:lnTo>
                <a:lnTo>
                  <a:pt x="16" y="76"/>
                </a:lnTo>
                <a:lnTo>
                  <a:pt x="19" y="72"/>
                </a:lnTo>
                <a:lnTo>
                  <a:pt x="22" y="69"/>
                </a:lnTo>
                <a:lnTo>
                  <a:pt x="22" y="66"/>
                </a:lnTo>
                <a:lnTo>
                  <a:pt x="22" y="69"/>
                </a:lnTo>
                <a:lnTo>
                  <a:pt x="25" y="72"/>
                </a:lnTo>
                <a:lnTo>
                  <a:pt x="29" y="72"/>
                </a:lnTo>
                <a:lnTo>
                  <a:pt x="32" y="72"/>
                </a:lnTo>
                <a:lnTo>
                  <a:pt x="35" y="72"/>
                </a:lnTo>
                <a:lnTo>
                  <a:pt x="38" y="69"/>
                </a:lnTo>
                <a:lnTo>
                  <a:pt x="38" y="63"/>
                </a:lnTo>
                <a:lnTo>
                  <a:pt x="41" y="63"/>
                </a:lnTo>
                <a:lnTo>
                  <a:pt x="44" y="63"/>
                </a:lnTo>
                <a:lnTo>
                  <a:pt x="44" y="69"/>
                </a:lnTo>
                <a:lnTo>
                  <a:pt x="47" y="69"/>
                </a:lnTo>
                <a:lnTo>
                  <a:pt x="50" y="69"/>
                </a:lnTo>
                <a:lnTo>
                  <a:pt x="54" y="66"/>
                </a:lnTo>
                <a:lnTo>
                  <a:pt x="60" y="63"/>
                </a:lnTo>
                <a:lnTo>
                  <a:pt x="66" y="60"/>
                </a:lnTo>
                <a:lnTo>
                  <a:pt x="75" y="57"/>
                </a:lnTo>
                <a:lnTo>
                  <a:pt x="82" y="57"/>
                </a:lnTo>
                <a:lnTo>
                  <a:pt x="85" y="54"/>
                </a:lnTo>
                <a:lnTo>
                  <a:pt x="91" y="51"/>
                </a:lnTo>
                <a:lnTo>
                  <a:pt x="91" y="47"/>
                </a:lnTo>
                <a:lnTo>
                  <a:pt x="88" y="47"/>
                </a:lnTo>
                <a:lnTo>
                  <a:pt x="85" y="44"/>
                </a:lnTo>
                <a:lnTo>
                  <a:pt x="85" y="41"/>
                </a:lnTo>
                <a:lnTo>
                  <a:pt x="88" y="38"/>
                </a:lnTo>
                <a:lnTo>
                  <a:pt x="91" y="41"/>
                </a:lnTo>
                <a:lnTo>
                  <a:pt x="94" y="38"/>
                </a:lnTo>
                <a:lnTo>
                  <a:pt x="97" y="41"/>
                </a:lnTo>
                <a:lnTo>
                  <a:pt x="104" y="41"/>
                </a:lnTo>
                <a:lnTo>
                  <a:pt x="110" y="41"/>
                </a:lnTo>
                <a:lnTo>
                  <a:pt x="116" y="41"/>
                </a:lnTo>
                <a:lnTo>
                  <a:pt x="119" y="38"/>
                </a:lnTo>
                <a:lnTo>
                  <a:pt x="122" y="35"/>
                </a:lnTo>
                <a:lnTo>
                  <a:pt x="122" y="32"/>
                </a:lnTo>
                <a:lnTo>
                  <a:pt x="122" y="29"/>
                </a:lnTo>
                <a:lnTo>
                  <a:pt x="122" y="25"/>
                </a:lnTo>
                <a:lnTo>
                  <a:pt x="125" y="25"/>
                </a:lnTo>
                <a:lnTo>
                  <a:pt x="125" y="22"/>
                </a:lnTo>
                <a:lnTo>
                  <a:pt x="129" y="19"/>
                </a:lnTo>
                <a:lnTo>
                  <a:pt x="132" y="19"/>
                </a:lnTo>
                <a:lnTo>
                  <a:pt x="132" y="19"/>
                </a:lnTo>
                <a:lnTo>
                  <a:pt x="138" y="13"/>
                </a:lnTo>
                <a:lnTo>
                  <a:pt x="138" y="13"/>
                </a:lnTo>
                <a:lnTo>
                  <a:pt x="138" y="10"/>
                </a:lnTo>
                <a:lnTo>
                  <a:pt x="138" y="7"/>
                </a:lnTo>
                <a:lnTo>
                  <a:pt x="144" y="4"/>
                </a:lnTo>
                <a:lnTo>
                  <a:pt x="147" y="0"/>
                </a:lnTo>
                <a:lnTo>
                  <a:pt x="154" y="0"/>
                </a:lnTo>
                <a:lnTo>
                  <a:pt x="154" y="4"/>
                </a:lnTo>
                <a:lnTo>
                  <a:pt x="160" y="0"/>
                </a:lnTo>
                <a:lnTo>
                  <a:pt x="160"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4" name="Freeform 112">
            <a:extLst>
              <a:ext uri="{FF2B5EF4-FFF2-40B4-BE49-F238E27FC236}">
                <a16:creationId xmlns:a16="http://schemas.microsoft.com/office/drawing/2014/main" id="{2E9068E9-7B1C-2387-F7CF-B38D02113EB4}"/>
              </a:ext>
            </a:extLst>
          </p:cNvPr>
          <p:cNvSpPr>
            <a:spLocks/>
          </p:cNvSpPr>
          <p:nvPr userDrawn="1"/>
        </p:nvSpPr>
        <p:spPr bwMode="auto">
          <a:xfrm>
            <a:off x="13734159" y="7231933"/>
            <a:ext cx="971487" cy="901702"/>
          </a:xfrm>
          <a:custGeom>
            <a:avLst/>
            <a:gdLst>
              <a:gd name="T0" fmla="*/ 288 w 306"/>
              <a:gd name="T1" fmla="*/ 275 h 284"/>
              <a:gd name="T2" fmla="*/ 297 w 306"/>
              <a:gd name="T3" fmla="*/ 81 h 284"/>
              <a:gd name="T4" fmla="*/ 291 w 306"/>
              <a:gd name="T5" fmla="*/ 65 h 284"/>
              <a:gd name="T6" fmla="*/ 297 w 306"/>
              <a:gd name="T7" fmla="*/ 53 h 284"/>
              <a:gd name="T8" fmla="*/ 294 w 306"/>
              <a:gd name="T9" fmla="*/ 40 h 284"/>
              <a:gd name="T10" fmla="*/ 297 w 306"/>
              <a:gd name="T11" fmla="*/ 31 h 284"/>
              <a:gd name="T12" fmla="*/ 294 w 306"/>
              <a:gd name="T13" fmla="*/ 22 h 284"/>
              <a:gd name="T14" fmla="*/ 285 w 306"/>
              <a:gd name="T15" fmla="*/ 22 h 284"/>
              <a:gd name="T16" fmla="*/ 269 w 306"/>
              <a:gd name="T17" fmla="*/ 19 h 284"/>
              <a:gd name="T18" fmla="*/ 260 w 306"/>
              <a:gd name="T19" fmla="*/ 15 h 284"/>
              <a:gd name="T20" fmla="*/ 260 w 306"/>
              <a:gd name="T21" fmla="*/ 12 h 284"/>
              <a:gd name="T22" fmla="*/ 250 w 306"/>
              <a:gd name="T23" fmla="*/ 6 h 284"/>
              <a:gd name="T24" fmla="*/ 238 w 306"/>
              <a:gd name="T25" fmla="*/ 3 h 284"/>
              <a:gd name="T26" fmla="*/ 235 w 306"/>
              <a:gd name="T27" fmla="*/ 6 h 284"/>
              <a:gd name="T28" fmla="*/ 228 w 306"/>
              <a:gd name="T29" fmla="*/ 3 h 284"/>
              <a:gd name="T30" fmla="*/ 213 w 306"/>
              <a:gd name="T31" fmla="*/ 6 h 284"/>
              <a:gd name="T32" fmla="*/ 200 w 306"/>
              <a:gd name="T33" fmla="*/ 15 h 284"/>
              <a:gd name="T34" fmla="*/ 197 w 306"/>
              <a:gd name="T35" fmla="*/ 22 h 284"/>
              <a:gd name="T36" fmla="*/ 200 w 306"/>
              <a:gd name="T37" fmla="*/ 37 h 284"/>
              <a:gd name="T38" fmla="*/ 200 w 306"/>
              <a:gd name="T39" fmla="*/ 50 h 284"/>
              <a:gd name="T40" fmla="*/ 194 w 306"/>
              <a:gd name="T41" fmla="*/ 56 h 284"/>
              <a:gd name="T42" fmla="*/ 185 w 306"/>
              <a:gd name="T43" fmla="*/ 65 h 284"/>
              <a:gd name="T44" fmla="*/ 169 w 306"/>
              <a:gd name="T45" fmla="*/ 56 h 284"/>
              <a:gd name="T46" fmla="*/ 153 w 306"/>
              <a:gd name="T47" fmla="*/ 47 h 284"/>
              <a:gd name="T48" fmla="*/ 131 w 306"/>
              <a:gd name="T49" fmla="*/ 37 h 284"/>
              <a:gd name="T50" fmla="*/ 122 w 306"/>
              <a:gd name="T51" fmla="*/ 40 h 284"/>
              <a:gd name="T52" fmla="*/ 110 w 306"/>
              <a:gd name="T53" fmla="*/ 25 h 284"/>
              <a:gd name="T54" fmla="*/ 103 w 306"/>
              <a:gd name="T55" fmla="*/ 12 h 284"/>
              <a:gd name="T56" fmla="*/ 85 w 306"/>
              <a:gd name="T57" fmla="*/ 6 h 284"/>
              <a:gd name="T58" fmla="*/ 69 w 306"/>
              <a:gd name="T59" fmla="*/ 3 h 284"/>
              <a:gd name="T60" fmla="*/ 44 w 306"/>
              <a:gd name="T61" fmla="*/ 3 h 284"/>
              <a:gd name="T62" fmla="*/ 38 w 306"/>
              <a:gd name="T63" fmla="*/ 0 h 284"/>
              <a:gd name="T64" fmla="*/ 38 w 306"/>
              <a:gd name="T65" fmla="*/ 9 h 284"/>
              <a:gd name="T66" fmla="*/ 35 w 306"/>
              <a:gd name="T67" fmla="*/ 15 h 284"/>
              <a:gd name="T68" fmla="*/ 22 w 306"/>
              <a:gd name="T69" fmla="*/ 28 h 284"/>
              <a:gd name="T70" fmla="*/ 16 w 306"/>
              <a:gd name="T71" fmla="*/ 31 h 284"/>
              <a:gd name="T72" fmla="*/ 13 w 306"/>
              <a:gd name="T73" fmla="*/ 34 h 284"/>
              <a:gd name="T74" fmla="*/ 13 w 306"/>
              <a:gd name="T75" fmla="*/ 44 h 284"/>
              <a:gd name="T76" fmla="*/ 13 w 306"/>
              <a:gd name="T77" fmla="*/ 50 h 284"/>
              <a:gd name="T78" fmla="*/ 13 w 306"/>
              <a:gd name="T79" fmla="*/ 53 h 284"/>
              <a:gd name="T80" fmla="*/ 6 w 306"/>
              <a:gd name="T81" fmla="*/ 59 h 284"/>
              <a:gd name="T82" fmla="*/ 3 w 306"/>
              <a:gd name="T83" fmla="*/ 59 h 284"/>
              <a:gd name="T84" fmla="*/ 0 w 306"/>
              <a:gd name="T85" fmla="*/ 62 h 284"/>
              <a:gd name="T86" fmla="*/ 3 w 306"/>
              <a:gd name="T87" fmla="*/ 69 h 284"/>
              <a:gd name="T88" fmla="*/ 6 w 306"/>
              <a:gd name="T89" fmla="*/ 87 h 284"/>
              <a:gd name="T90" fmla="*/ 6 w 306"/>
              <a:gd name="T91" fmla="*/ 97 h 284"/>
              <a:gd name="T92" fmla="*/ 10 w 306"/>
              <a:gd name="T93" fmla="*/ 112 h 284"/>
              <a:gd name="T94" fmla="*/ 6 w 306"/>
              <a:gd name="T95" fmla="*/ 125 h 284"/>
              <a:gd name="T96" fmla="*/ 10 w 306"/>
              <a:gd name="T97" fmla="*/ 137 h 284"/>
              <a:gd name="T98" fmla="*/ 3 w 306"/>
              <a:gd name="T99" fmla="*/ 141 h 284"/>
              <a:gd name="T100" fmla="*/ 0 w 306"/>
              <a:gd name="T101" fmla="*/ 147 h 284"/>
              <a:gd name="T102" fmla="*/ 6 w 306"/>
              <a:gd name="T103" fmla="*/ 156 h 284"/>
              <a:gd name="T104" fmla="*/ 13 w 306"/>
              <a:gd name="T105" fmla="*/ 162 h 284"/>
              <a:gd name="T106" fmla="*/ 13 w 306"/>
              <a:gd name="T107" fmla="*/ 172 h 284"/>
              <a:gd name="T108" fmla="*/ 16 w 306"/>
              <a:gd name="T109" fmla="*/ 178 h 284"/>
              <a:gd name="T110" fmla="*/ 19 w 306"/>
              <a:gd name="T111" fmla="*/ 184 h 284"/>
              <a:gd name="T112" fmla="*/ 35 w 306"/>
              <a:gd name="T113" fmla="*/ 184 h 284"/>
              <a:gd name="T114" fmla="*/ 41 w 306"/>
              <a:gd name="T115" fmla="*/ 191 h 284"/>
              <a:gd name="T116" fmla="*/ 47 w 306"/>
              <a:gd name="T117" fmla="*/ 203 h 284"/>
              <a:gd name="T118" fmla="*/ 50 w 306"/>
              <a:gd name="T119" fmla="*/ 206 h 284"/>
              <a:gd name="T120" fmla="*/ 88 w 306"/>
              <a:gd name="T121" fmla="*/ 219 h 284"/>
              <a:gd name="T122" fmla="*/ 288 w 306"/>
              <a:gd name="T123" fmla="*/ 284 h 284"/>
              <a:gd name="T124" fmla="*/ 288 w 306"/>
              <a:gd name="T125"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 h="284">
                <a:moveTo>
                  <a:pt x="288" y="284"/>
                </a:moveTo>
                <a:lnTo>
                  <a:pt x="288" y="275"/>
                </a:lnTo>
                <a:lnTo>
                  <a:pt x="306" y="275"/>
                </a:lnTo>
                <a:lnTo>
                  <a:pt x="297" y="81"/>
                </a:lnTo>
                <a:lnTo>
                  <a:pt x="294" y="69"/>
                </a:lnTo>
                <a:lnTo>
                  <a:pt x="291" y="65"/>
                </a:lnTo>
                <a:lnTo>
                  <a:pt x="294" y="59"/>
                </a:lnTo>
                <a:lnTo>
                  <a:pt x="297" y="53"/>
                </a:lnTo>
                <a:lnTo>
                  <a:pt x="297" y="47"/>
                </a:lnTo>
                <a:lnTo>
                  <a:pt x="294" y="40"/>
                </a:lnTo>
                <a:lnTo>
                  <a:pt x="297" y="34"/>
                </a:lnTo>
                <a:lnTo>
                  <a:pt x="297" y="31"/>
                </a:lnTo>
                <a:lnTo>
                  <a:pt x="297" y="25"/>
                </a:lnTo>
                <a:lnTo>
                  <a:pt x="294" y="22"/>
                </a:lnTo>
                <a:lnTo>
                  <a:pt x="291" y="22"/>
                </a:lnTo>
                <a:lnTo>
                  <a:pt x="285" y="22"/>
                </a:lnTo>
                <a:lnTo>
                  <a:pt x="272" y="19"/>
                </a:lnTo>
                <a:lnTo>
                  <a:pt x="269" y="19"/>
                </a:lnTo>
                <a:lnTo>
                  <a:pt x="266" y="19"/>
                </a:lnTo>
                <a:lnTo>
                  <a:pt x="260" y="15"/>
                </a:lnTo>
                <a:lnTo>
                  <a:pt x="256" y="12"/>
                </a:lnTo>
                <a:lnTo>
                  <a:pt x="260" y="12"/>
                </a:lnTo>
                <a:lnTo>
                  <a:pt x="256" y="9"/>
                </a:lnTo>
                <a:lnTo>
                  <a:pt x="250" y="6"/>
                </a:lnTo>
                <a:lnTo>
                  <a:pt x="244" y="6"/>
                </a:lnTo>
                <a:lnTo>
                  <a:pt x="238" y="3"/>
                </a:lnTo>
                <a:lnTo>
                  <a:pt x="238" y="3"/>
                </a:lnTo>
                <a:lnTo>
                  <a:pt x="235" y="6"/>
                </a:lnTo>
                <a:lnTo>
                  <a:pt x="231" y="3"/>
                </a:lnTo>
                <a:lnTo>
                  <a:pt x="228" y="3"/>
                </a:lnTo>
                <a:lnTo>
                  <a:pt x="222" y="6"/>
                </a:lnTo>
                <a:lnTo>
                  <a:pt x="213" y="6"/>
                </a:lnTo>
                <a:lnTo>
                  <a:pt x="206" y="9"/>
                </a:lnTo>
                <a:lnTo>
                  <a:pt x="200" y="15"/>
                </a:lnTo>
                <a:lnTo>
                  <a:pt x="200" y="22"/>
                </a:lnTo>
                <a:lnTo>
                  <a:pt x="197" y="22"/>
                </a:lnTo>
                <a:lnTo>
                  <a:pt x="197" y="31"/>
                </a:lnTo>
                <a:lnTo>
                  <a:pt x="200" y="37"/>
                </a:lnTo>
                <a:lnTo>
                  <a:pt x="203" y="47"/>
                </a:lnTo>
                <a:lnTo>
                  <a:pt x="200" y="50"/>
                </a:lnTo>
                <a:lnTo>
                  <a:pt x="194" y="56"/>
                </a:lnTo>
                <a:lnTo>
                  <a:pt x="194" y="56"/>
                </a:lnTo>
                <a:lnTo>
                  <a:pt x="188" y="62"/>
                </a:lnTo>
                <a:lnTo>
                  <a:pt x="185" y="65"/>
                </a:lnTo>
                <a:lnTo>
                  <a:pt x="175" y="62"/>
                </a:lnTo>
                <a:lnTo>
                  <a:pt x="169" y="56"/>
                </a:lnTo>
                <a:lnTo>
                  <a:pt x="163" y="50"/>
                </a:lnTo>
                <a:lnTo>
                  <a:pt x="153" y="47"/>
                </a:lnTo>
                <a:lnTo>
                  <a:pt x="138" y="40"/>
                </a:lnTo>
                <a:lnTo>
                  <a:pt x="131" y="37"/>
                </a:lnTo>
                <a:lnTo>
                  <a:pt x="128" y="40"/>
                </a:lnTo>
                <a:lnTo>
                  <a:pt x="122" y="40"/>
                </a:lnTo>
                <a:lnTo>
                  <a:pt x="116" y="37"/>
                </a:lnTo>
                <a:lnTo>
                  <a:pt x="110" y="25"/>
                </a:lnTo>
                <a:lnTo>
                  <a:pt x="110" y="19"/>
                </a:lnTo>
                <a:lnTo>
                  <a:pt x="103" y="12"/>
                </a:lnTo>
                <a:lnTo>
                  <a:pt x="91" y="9"/>
                </a:lnTo>
                <a:lnTo>
                  <a:pt x="85" y="6"/>
                </a:lnTo>
                <a:lnTo>
                  <a:pt x="75" y="6"/>
                </a:lnTo>
                <a:lnTo>
                  <a:pt x="69" y="3"/>
                </a:lnTo>
                <a:lnTo>
                  <a:pt x="53" y="6"/>
                </a:lnTo>
                <a:lnTo>
                  <a:pt x="44" y="3"/>
                </a:lnTo>
                <a:lnTo>
                  <a:pt x="41" y="0"/>
                </a:lnTo>
                <a:lnTo>
                  <a:pt x="38" y="0"/>
                </a:lnTo>
                <a:lnTo>
                  <a:pt x="38" y="0"/>
                </a:lnTo>
                <a:lnTo>
                  <a:pt x="38" y="9"/>
                </a:lnTo>
                <a:lnTo>
                  <a:pt x="38" y="9"/>
                </a:lnTo>
                <a:lnTo>
                  <a:pt x="35" y="15"/>
                </a:lnTo>
                <a:lnTo>
                  <a:pt x="22" y="25"/>
                </a:lnTo>
                <a:lnTo>
                  <a:pt x="22" y="28"/>
                </a:lnTo>
                <a:lnTo>
                  <a:pt x="19" y="31"/>
                </a:lnTo>
                <a:lnTo>
                  <a:pt x="16" y="31"/>
                </a:lnTo>
                <a:lnTo>
                  <a:pt x="13" y="34"/>
                </a:lnTo>
                <a:lnTo>
                  <a:pt x="13" y="34"/>
                </a:lnTo>
                <a:lnTo>
                  <a:pt x="13" y="37"/>
                </a:lnTo>
                <a:lnTo>
                  <a:pt x="13" y="44"/>
                </a:lnTo>
                <a:lnTo>
                  <a:pt x="13" y="50"/>
                </a:lnTo>
                <a:lnTo>
                  <a:pt x="13" y="50"/>
                </a:lnTo>
                <a:lnTo>
                  <a:pt x="13" y="53"/>
                </a:lnTo>
                <a:lnTo>
                  <a:pt x="13" y="53"/>
                </a:lnTo>
                <a:lnTo>
                  <a:pt x="10" y="56"/>
                </a:lnTo>
                <a:lnTo>
                  <a:pt x="6" y="59"/>
                </a:lnTo>
                <a:lnTo>
                  <a:pt x="6" y="59"/>
                </a:lnTo>
                <a:lnTo>
                  <a:pt x="3" y="59"/>
                </a:lnTo>
                <a:lnTo>
                  <a:pt x="3" y="59"/>
                </a:lnTo>
                <a:lnTo>
                  <a:pt x="0" y="62"/>
                </a:lnTo>
                <a:lnTo>
                  <a:pt x="0" y="69"/>
                </a:lnTo>
                <a:lnTo>
                  <a:pt x="3" y="69"/>
                </a:lnTo>
                <a:lnTo>
                  <a:pt x="6" y="75"/>
                </a:lnTo>
                <a:lnTo>
                  <a:pt x="6" y="87"/>
                </a:lnTo>
                <a:lnTo>
                  <a:pt x="6" y="94"/>
                </a:lnTo>
                <a:lnTo>
                  <a:pt x="6" y="97"/>
                </a:lnTo>
                <a:lnTo>
                  <a:pt x="6" y="106"/>
                </a:lnTo>
                <a:lnTo>
                  <a:pt x="10" y="112"/>
                </a:lnTo>
                <a:lnTo>
                  <a:pt x="6" y="122"/>
                </a:lnTo>
                <a:lnTo>
                  <a:pt x="6" y="125"/>
                </a:lnTo>
                <a:lnTo>
                  <a:pt x="10" y="128"/>
                </a:lnTo>
                <a:lnTo>
                  <a:pt x="10" y="137"/>
                </a:lnTo>
                <a:lnTo>
                  <a:pt x="6" y="137"/>
                </a:lnTo>
                <a:lnTo>
                  <a:pt x="3" y="141"/>
                </a:lnTo>
                <a:lnTo>
                  <a:pt x="0" y="144"/>
                </a:lnTo>
                <a:lnTo>
                  <a:pt x="0" y="147"/>
                </a:lnTo>
                <a:lnTo>
                  <a:pt x="3" y="150"/>
                </a:lnTo>
                <a:lnTo>
                  <a:pt x="6" y="156"/>
                </a:lnTo>
                <a:lnTo>
                  <a:pt x="13" y="162"/>
                </a:lnTo>
                <a:lnTo>
                  <a:pt x="13" y="162"/>
                </a:lnTo>
                <a:lnTo>
                  <a:pt x="13" y="169"/>
                </a:lnTo>
                <a:lnTo>
                  <a:pt x="13" y="172"/>
                </a:lnTo>
                <a:lnTo>
                  <a:pt x="13" y="175"/>
                </a:lnTo>
                <a:lnTo>
                  <a:pt x="16" y="178"/>
                </a:lnTo>
                <a:lnTo>
                  <a:pt x="16" y="181"/>
                </a:lnTo>
                <a:lnTo>
                  <a:pt x="19" y="184"/>
                </a:lnTo>
                <a:lnTo>
                  <a:pt x="25" y="184"/>
                </a:lnTo>
                <a:lnTo>
                  <a:pt x="35" y="184"/>
                </a:lnTo>
                <a:lnTo>
                  <a:pt x="38" y="187"/>
                </a:lnTo>
                <a:lnTo>
                  <a:pt x="41" y="191"/>
                </a:lnTo>
                <a:lnTo>
                  <a:pt x="44" y="200"/>
                </a:lnTo>
                <a:lnTo>
                  <a:pt x="47" y="203"/>
                </a:lnTo>
                <a:lnTo>
                  <a:pt x="47" y="206"/>
                </a:lnTo>
                <a:lnTo>
                  <a:pt x="50" y="206"/>
                </a:lnTo>
                <a:lnTo>
                  <a:pt x="85" y="216"/>
                </a:lnTo>
                <a:lnTo>
                  <a:pt x="88" y="219"/>
                </a:lnTo>
                <a:lnTo>
                  <a:pt x="128" y="203"/>
                </a:lnTo>
                <a:lnTo>
                  <a:pt x="288" y="284"/>
                </a:lnTo>
                <a:lnTo>
                  <a:pt x="288" y="284"/>
                </a:lnTo>
                <a:lnTo>
                  <a:pt x="288" y="284"/>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5" name="Freeform 113">
            <a:extLst>
              <a:ext uri="{FF2B5EF4-FFF2-40B4-BE49-F238E27FC236}">
                <a16:creationId xmlns:a16="http://schemas.microsoft.com/office/drawing/2014/main" id="{110F2053-89AE-A154-378B-F0E5264E54C7}"/>
              </a:ext>
            </a:extLst>
          </p:cNvPr>
          <p:cNvSpPr>
            <a:spLocks noEditPoints="1"/>
          </p:cNvSpPr>
          <p:nvPr userDrawn="1"/>
        </p:nvSpPr>
        <p:spPr bwMode="auto">
          <a:xfrm>
            <a:off x="13616688" y="6933480"/>
            <a:ext cx="238111" cy="485776"/>
          </a:xfrm>
          <a:custGeom>
            <a:avLst/>
            <a:gdLst>
              <a:gd name="T0" fmla="*/ 43 w 75"/>
              <a:gd name="T1" fmla="*/ 153 h 153"/>
              <a:gd name="T2" fmla="*/ 47 w 75"/>
              <a:gd name="T3" fmla="*/ 150 h 153"/>
              <a:gd name="T4" fmla="*/ 50 w 75"/>
              <a:gd name="T5" fmla="*/ 147 h 153"/>
              <a:gd name="T6" fmla="*/ 50 w 75"/>
              <a:gd name="T7" fmla="*/ 144 h 153"/>
              <a:gd name="T8" fmla="*/ 50 w 75"/>
              <a:gd name="T9" fmla="*/ 131 h 153"/>
              <a:gd name="T10" fmla="*/ 50 w 75"/>
              <a:gd name="T11" fmla="*/ 128 h 153"/>
              <a:gd name="T12" fmla="*/ 56 w 75"/>
              <a:gd name="T13" fmla="*/ 125 h 153"/>
              <a:gd name="T14" fmla="*/ 59 w 75"/>
              <a:gd name="T15" fmla="*/ 119 h 153"/>
              <a:gd name="T16" fmla="*/ 75 w 75"/>
              <a:gd name="T17" fmla="*/ 103 h 153"/>
              <a:gd name="T18" fmla="*/ 75 w 75"/>
              <a:gd name="T19" fmla="*/ 94 h 153"/>
              <a:gd name="T20" fmla="*/ 72 w 75"/>
              <a:gd name="T21" fmla="*/ 94 h 153"/>
              <a:gd name="T22" fmla="*/ 65 w 75"/>
              <a:gd name="T23" fmla="*/ 87 h 153"/>
              <a:gd name="T24" fmla="*/ 62 w 75"/>
              <a:gd name="T25" fmla="*/ 84 h 153"/>
              <a:gd name="T26" fmla="*/ 62 w 75"/>
              <a:gd name="T27" fmla="*/ 84 h 153"/>
              <a:gd name="T28" fmla="*/ 56 w 75"/>
              <a:gd name="T29" fmla="*/ 84 h 153"/>
              <a:gd name="T30" fmla="*/ 53 w 75"/>
              <a:gd name="T31" fmla="*/ 84 h 153"/>
              <a:gd name="T32" fmla="*/ 43 w 75"/>
              <a:gd name="T33" fmla="*/ 72 h 153"/>
              <a:gd name="T34" fmla="*/ 56 w 75"/>
              <a:gd name="T35" fmla="*/ 59 h 153"/>
              <a:gd name="T36" fmla="*/ 62 w 75"/>
              <a:gd name="T37" fmla="*/ 53 h 153"/>
              <a:gd name="T38" fmla="*/ 62 w 75"/>
              <a:gd name="T39" fmla="*/ 50 h 153"/>
              <a:gd name="T40" fmla="*/ 62 w 75"/>
              <a:gd name="T41" fmla="*/ 44 h 153"/>
              <a:gd name="T42" fmla="*/ 56 w 75"/>
              <a:gd name="T43" fmla="*/ 37 h 153"/>
              <a:gd name="T44" fmla="*/ 53 w 75"/>
              <a:gd name="T45" fmla="*/ 25 h 153"/>
              <a:gd name="T46" fmla="*/ 56 w 75"/>
              <a:gd name="T47" fmla="*/ 19 h 153"/>
              <a:gd name="T48" fmla="*/ 59 w 75"/>
              <a:gd name="T49" fmla="*/ 9 h 153"/>
              <a:gd name="T50" fmla="*/ 53 w 75"/>
              <a:gd name="T51" fmla="*/ 12 h 153"/>
              <a:gd name="T52" fmla="*/ 47 w 75"/>
              <a:gd name="T53" fmla="*/ 16 h 153"/>
              <a:gd name="T54" fmla="*/ 43 w 75"/>
              <a:gd name="T55" fmla="*/ 6 h 153"/>
              <a:gd name="T56" fmla="*/ 40 w 75"/>
              <a:gd name="T57" fmla="*/ 0 h 153"/>
              <a:gd name="T58" fmla="*/ 37 w 75"/>
              <a:gd name="T59" fmla="*/ 3 h 153"/>
              <a:gd name="T60" fmla="*/ 28 w 75"/>
              <a:gd name="T61" fmla="*/ 3 h 153"/>
              <a:gd name="T62" fmla="*/ 15 w 75"/>
              <a:gd name="T63" fmla="*/ 9 h 153"/>
              <a:gd name="T64" fmla="*/ 15 w 75"/>
              <a:gd name="T65" fmla="*/ 12 h 153"/>
              <a:gd name="T66" fmla="*/ 15 w 75"/>
              <a:gd name="T67" fmla="*/ 22 h 153"/>
              <a:gd name="T68" fmla="*/ 12 w 75"/>
              <a:gd name="T69" fmla="*/ 37 h 153"/>
              <a:gd name="T70" fmla="*/ 15 w 75"/>
              <a:gd name="T71" fmla="*/ 47 h 153"/>
              <a:gd name="T72" fmla="*/ 15 w 75"/>
              <a:gd name="T73" fmla="*/ 47 h 153"/>
              <a:gd name="T74" fmla="*/ 15 w 75"/>
              <a:gd name="T75" fmla="*/ 53 h 153"/>
              <a:gd name="T76" fmla="*/ 12 w 75"/>
              <a:gd name="T77" fmla="*/ 62 h 153"/>
              <a:gd name="T78" fmla="*/ 9 w 75"/>
              <a:gd name="T79" fmla="*/ 66 h 153"/>
              <a:gd name="T80" fmla="*/ 3 w 75"/>
              <a:gd name="T81" fmla="*/ 72 h 153"/>
              <a:gd name="T82" fmla="*/ 0 w 75"/>
              <a:gd name="T83" fmla="*/ 84 h 153"/>
              <a:gd name="T84" fmla="*/ 3 w 75"/>
              <a:gd name="T85" fmla="*/ 91 h 153"/>
              <a:gd name="T86" fmla="*/ 6 w 75"/>
              <a:gd name="T87" fmla="*/ 94 h 153"/>
              <a:gd name="T88" fmla="*/ 12 w 75"/>
              <a:gd name="T89" fmla="*/ 103 h 153"/>
              <a:gd name="T90" fmla="*/ 18 w 75"/>
              <a:gd name="T91" fmla="*/ 109 h 153"/>
              <a:gd name="T92" fmla="*/ 28 w 75"/>
              <a:gd name="T93" fmla="*/ 116 h 153"/>
              <a:gd name="T94" fmla="*/ 40 w 75"/>
              <a:gd name="T95" fmla="*/ 153 h 153"/>
              <a:gd name="T96" fmla="*/ 59 w 75"/>
              <a:gd name="T97" fmla="*/ 78 h 153"/>
              <a:gd name="T98" fmla="*/ 62 w 75"/>
              <a:gd name="T99" fmla="*/ 81 h 153"/>
              <a:gd name="T100" fmla="*/ 56 w 75"/>
              <a:gd name="T101" fmla="*/ 7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5" h="153">
                <a:moveTo>
                  <a:pt x="40" y="153"/>
                </a:moveTo>
                <a:lnTo>
                  <a:pt x="43" y="153"/>
                </a:lnTo>
                <a:lnTo>
                  <a:pt x="43" y="153"/>
                </a:lnTo>
                <a:lnTo>
                  <a:pt x="47" y="150"/>
                </a:lnTo>
                <a:lnTo>
                  <a:pt x="50" y="147"/>
                </a:lnTo>
                <a:lnTo>
                  <a:pt x="50" y="147"/>
                </a:lnTo>
                <a:lnTo>
                  <a:pt x="50" y="144"/>
                </a:lnTo>
                <a:lnTo>
                  <a:pt x="50" y="144"/>
                </a:lnTo>
                <a:lnTo>
                  <a:pt x="50" y="138"/>
                </a:lnTo>
                <a:lnTo>
                  <a:pt x="50" y="131"/>
                </a:lnTo>
                <a:lnTo>
                  <a:pt x="50" y="128"/>
                </a:lnTo>
                <a:lnTo>
                  <a:pt x="50" y="128"/>
                </a:lnTo>
                <a:lnTo>
                  <a:pt x="53" y="125"/>
                </a:lnTo>
                <a:lnTo>
                  <a:pt x="56" y="125"/>
                </a:lnTo>
                <a:lnTo>
                  <a:pt x="59" y="122"/>
                </a:lnTo>
                <a:lnTo>
                  <a:pt x="59" y="119"/>
                </a:lnTo>
                <a:lnTo>
                  <a:pt x="72" y="109"/>
                </a:lnTo>
                <a:lnTo>
                  <a:pt x="75" y="103"/>
                </a:lnTo>
                <a:lnTo>
                  <a:pt x="75" y="103"/>
                </a:lnTo>
                <a:lnTo>
                  <a:pt x="75" y="94"/>
                </a:lnTo>
                <a:lnTo>
                  <a:pt x="75" y="94"/>
                </a:lnTo>
                <a:lnTo>
                  <a:pt x="72" y="94"/>
                </a:lnTo>
                <a:lnTo>
                  <a:pt x="65" y="91"/>
                </a:lnTo>
                <a:lnTo>
                  <a:pt x="65" y="87"/>
                </a:lnTo>
                <a:lnTo>
                  <a:pt x="65" y="84"/>
                </a:lnTo>
                <a:lnTo>
                  <a:pt x="62" y="84"/>
                </a:lnTo>
                <a:lnTo>
                  <a:pt x="62" y="84"/>
                </a:lnTo>
                <a:lnTo>
                  <a:pt x="62" y="84"/>
                </a:lnTo>
                <a:lnTo>
                  <a:pt x="59" y="87"/>
                </a:lnTo>
                <a:lnTo>
                  <a:pt x="56" y="84"/>
                </a:lnTo>
                <a:lnTo>
                  <a:pt x="56" y="81"/>
                </a:lnTo>
                <a:lnTo>
                  <a:pt x="53" y="84"/>
                </a:lnTo>
                <a:lnTo>
                  <a:pt x="47" y="78"/>
                </a:lnTo>
                <a:lnTo>
                  <a:pt x="43" y="72"/>
                </a:lnTo>
                <a:lnTo>
                  <a:pt x="47" y="66"/>
                </a:lnTo>
                <a:lnTo>
                  <a:pt x="56" y="59"/>
                </a:lnTo>
                <a:lnTo>
                  <a:pt x="62" y="53"/>
                </a:lnTo>
                <a:lnTo>
                  <a:pt x="62" y="53"/>
                </a:lnTo>
                <a:lnTo>
                  <a:pt x="62" y="50"/>
                </a:lnTo>
                <a:lnTo>
                  <a:pt x="62" y="50"/>
                </a:lnTo>
                <a:lnTo>
                  <a:pt x="62" y="47"/>
                </a:lnTo>
                <a:lnTo>
                  <a:pt x="62" y="44"/>
                </a:lnTo>
                <a:lnTo>
                  <a:pt x="62" y="37"/>
                </a:lnTo>
                <a:lnTo>
                  <a:pt x="56" y="37"/>
                </a:lnTo>
                <a:lnTo>
                  <a:pt x="50" y="28"/>
                </a:lnTo>
                <a:lnTo>
                  <a:pt x="53" y="25"/>
                </a:lnTo>
                <a:lnTo>
                  <a:pt x="56" y="22"/>
                </a:lnTo>
                <a:lnTo>
                  <a:pt x="56" y="19"/>
                </a:lnTo>
                <a:lnTo>
                  <a:pt x="59" y="12"/>
                </a:lnTo>
                <a:lnTo>
                  <a:pt x="59" y="9"/>
                </a:lnTo>
                <a:lnTo>
                  <a:pt x="59" y="6"/>
                </a:lnTo>
                <a:lnTo>
                  <a:pt x="53" y="12"/>
                </a:lnTo>
                <a:lnTo>
                  <a:pt x="50" y="16"/>
                </a:lnTo>
                <a:lnTo>
                  <a:pt x="47" y="16"/>
                </a:lnTo>
                <a:lnTo>
                  <a:pt x="43" y="6"/>
                </a:lnTo>
                <a:lnTo>
                  <a:pt x="43" y="6"/>
                </a:lnTo>
                <a:lnTo>
                  <a:pt x="43" y="3"/>
                </a:lnTo>
                <a:lnTo>
                  <a:pt x="40" y="0"/>
                </a:lnTo>
                <a:lnTo>
                  <a:pt x="37" y="3"/>
                </a:lnTo>
                <a:lnTo>
                  <a:pt x="37" y="3"/>
                </a:lnTo>
                <a:lnTo>
                  <a:pt x="34" y="3"/>
                </a:lnTo>
                <a:lnTo>
                  <a:pt x="28" y="3"/>
                </a:lnTo>
                <a:lnTo>
                  <a:pt x="22" y="6"/>
                </a:lnTo>
                <a:lnTo>
                  <a:pt x="15" y="9"/>
                </a:lnTo>
                <a:lnTo>
                  <a:pt x="15" y="9"/>
                </a:lnTo>
                <a:lnTo>
                  <a:pt x="15" y="12"/>
                </a:lnTo>
                <a:lnTo>
                  <a:pt x="15" y="16"/>
                </a:lnTo>
                <a:lnTo>
                  <a:pt x="15" y="22"/>
                </a:lnTo>
                <a:lnTo>
                  <a:pt x="15" y="28"/>
                </a:lnTo>
                <a:lnTo>
                  <a:pt x="12" y="37"/>
                </a:lnTo>
                <a:lnTo>
                  <a:pt x="12" y="44"/>
                </a:lnTo>
                <a:lnTo>
                  <a:pt x="15" y="47"/>
                </a:lnTo>
                <a:lnTo>
                  <a:pt x="15" y="47"/>
                </a:lnTo>
                <a:lnTo>
                  <a:pt x="15" y="47"/>
                </a:lnTo>
                <a:lnTo>
                  <a:pt x="12" y="50"/>
                </a:lnTo>
                <a:lnTo>
                  <a:pt x="15" y="53"/>
                </a:lnTo>
                <a:lnTo>
                  <a:pt x="15" y="56"/>
                </a:lnTo>
                <a:lnTo>
                  <a:pt x="12" y="62"/>
                </a:lnTo>
                <a:lnTo>
                  <a:pt x="9" y="66"/>
                </a:lnTo>
                <a:lnTo>
                  <a:pt x="9" y="66"/>
                </a:lnTo>
                <a:lnTo>
                  <a:pt x="6" y="69"/>
                </a:lnTo>
                <a:lnTo>
                  <a:pt x="3" y="72"/>
                </a:lnTo>
                <a:lnTo>
                  <a:pt x="0" y="81"/>
                </a:lnTo>
                <a:lnTo>
                  <a:pt x="0" y="84"/>
                </a:lnTo>
                <a:lnTo>
                  <a:pt x="3" y="87"/>
                </a:lnTo>
                <a:lnTo>
                  <a:pt x="3" y="91"/>
                </a:lnTo>
                <a:lnTo>
                  <a:pt x="6" y="94"/>
                </a:lnTo>
                <a:lnTo>
                  <a:pt x="6" y="94"/>
                </a:lnTo>
                <a:lnTo>
                  <a:pt x="12" y="100"/>
                </a:lnTo>
                <a:lnTo>
                  <a:pt x="12" y="103"/>
                </a:lnTo>
                <a:lnTo>
                  <a:pt x="18" y="106"/>
                </a:lnTo>
                <a:lnTo>
                  <a:pt x="18" y="109"/>
                </a:lnTo>
                <a:lnTo>
                  <a:pt x="22" y="109"/>
                </a:lnTo>
                <a:lnTo>
                  <a:pt x="28" y="116"/>
                </a:lnTo>
                <a:lnTo>
                  <a:pt x="40" y="153"/>
                </a:lnTo>
                <a:lnTo>
                  <a:pt x="40" y="153"/>
                </a:lnTo>
                <a:close/>
                <a:moveTo>
                  <a:pt x="56" y="78"/>
                </a:moveTo>
                <a:lnTo>
                  <a:pt x="59" y="78"/>
                </a:lnTo>
                <a:lnTo>
                  <a:pt x="62" y="78"/>
                </a:lnTo>
                <a:lnTo>
                  <a:pt x="62" y="81"/>
                </a:lnTo>
                <a:lnTo>
                  <a:pt x="59" y="81"/>
                </a:lnTo>
                <a:lnTo>
                  <a:pt x="56" y="78"/>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6" name="Freeform 114">
            <a:extLst>
              <a:ext uri="{FF2B5EF4-FFF2-40B4-BE49-F238E27FC236}">
                <a16:creationId xmlns:a16="http://schemas.microsoft.com/office/drawing/2014/main" id="{E920A03B-2FF5-5BCE-10F0-C715AC6434E3}"/>
              </a:ext>
            </a:extLst>
          </p:cNvPr>
          <p:cNvSpPr>
            <a:spLocks/>
          </p:cNvSpPr>
          <p:nvPr userDrawn="1"/>
        </p:nvSpPr>
        <p:spPr bwMode="auto">
          <a:xfrm>
            <a:off x="12642028" y="6952535"/>
            <a:ext cx="1250869" cy="1212850"/>
          </a:xfrm>
          <a:custGeom>
            <a:avLst/>
            <a:gdLst>
              <a:gd name="T0" fmla="*/ 391 w 394"/>
              <a:gd name="T1" fmla="*/ 291 h 382"/>
              <a:gd name="T2" fmla="*/ 382 w 394"/>
              <a:gd name="T3" fmla="*/ 275 h 382"/>
              <a:gd name="T4" fmla="*/ 363 w 394"/>
              <a:gd name="T5" fmla="*/ 272 h 382"/>
              <a:gd name="T6" fmla="*/ 357 w 394"/>
              <a:gd name="T7" fmla="*/ 263 h 382"/>
              <a:gd name="T8" fmla="*/ 357 w 394"/>
              <a:gd name="T9" fmla="*/ 250 h 382"/>
              <a:gd name="T10" fmla="*/ 347 w 394"/>
              <a:gd name="T11" fmla="*/ 238 h 382"/>
              <a:gd name="T12" fmla="*/ 347 w 394"/>
              <a:gd name="T13" fmla="*/ 229 h 382"/>
              <a:gd name="T14" fmla="*/ 354 w 394"/>
              <a:gd name="T15" fmla="*/ 216 h 382"/>
              <a:gd name="T16" fmla="*/ 354 w 394"/>
              <a:gd name="T17" fmla="*/ 200 h 382"/>
              <a:gd name="T18" fmla="*/ 350 w 394"/>
              <a:gd name="T19" fmla="*/ 182 h 382"/>
              <a:gd name="T20" fmla="*/ 347 w 394"/>
              <a:gd name="T21" fmla="*/ 157 h 382"/>
              <a:gd name="T22" fmla="*/ 347 w 394"/>
              <a:gd name="T23" fmla="*/ 147 h 382"/>
              <a:gd name="T24" fmla="*/ 325 w 394"/>
              <a:gd name="T25" fmla="*/ 103 h 382"/>
              <a:gd name="T26" fmla="*/ 319 w 394"/>
              <a:gd name="T27" fmla="*/ 94 h 382"/>
              <a:gd name="T28" fmla="*/ 310 w 394"/>
              <a:gd name="T29" fmla="*/ 85 h 382"/>
              <a:gd name="T30" fmla="*/ 307 w 394"/>
              <a:gd name="T31" fmla="*/ 75 h 382"/>
              <a:gd name="T32" fmla="*/ 316 w 394"/>
              <a:gd name="T33" fmla="*/ 60 h 382"/>
              <a:gd name="T34" fmla="*/ 322 w 394"/>
              <a:gd name="T35" fmla="*/ 50 h 382"/>
              <a:gd name="T36" fmla="*/ 322 w 394"/>
              <a:gd name="T37" fmla="*/ 41 h 382"/>
              <a:gd name="T38" fmla="*/ 319 w 394"/>
              <a:gd name="T39" fmla="*/ 38 h 382"/>
              <a:gd name="T40" fmla="*/ 322 w 394"/>
              <a:gd name="T41" fmla="*/ 16 h 382"/>
              <a:gd name="T42" fmla="*/ 322 w 394"/>
              <a:gd name="T43" fmla="*/ 3 h 382"/>
              <a:gd name="T44" fmla="*/ 313 w 394"/>
              <a:gd name="T45" fmla="*/ 3 h 382"/>
              <a:gd name="T46" fmla="*/ 297 w 394"/>
              <a:gd name="T47" fmla="*/ 0 h 382"/>
              <a:gd name="T48" fmla="*/ 285 w 394"/>
              <a:gd name="T49" fmla="*/ 6 h 382"/>
              <a:gd name="T50" fmla="*/ 279 w 394"/>
              <a:gd name="T51" fmla="*/ 0 h 382"/>
              <a:gd name="T52" fmla="*/ 272 w 394"/>
              <a:gd name="T53" fmla="*/ 6 h 382"/>
              <a:gd name="T54" fmla="*/ 263 w 394"/>
              <a:gd name="T55" fmla="*/ 10 h 382"/>
              <a:gd name="T56" fmla="*/ 250 w 394"/>
              <a:gd name="T57" fmla="*/ 6 h 382"/>
              <a:gd name="T58" fmla="*/ 238 w 394"/>
              <a:gd name="T59" fmla="*/ 6 h 382"/>
              <a:gd name="T60" fmla="*/ 232 w 394"/>
              <a:gd name="T61" fmla="*/ 3 h 382"/>
              <a:gd name="T62" fmla="*/ 219 w 394"/>
              <a:gd name="T63" fmla="*/ 6 h 382"/>
              <a:gd name="T64" fmla="*/ 207 w 394"/>
              <a:gd name="T65" fmla="*/ 10 h 382"/>
              <a:gd name="T66" fmla="*/ 191 w 394"/>
              <a:gd name="T67" fmla="*/ 10 h 382"/>
              <a:gd name="T68" fmla="*/ 175 w 394"/>
              <a:gd name="T69" fmla="*/ 19 h 382"/>
              <a:gd name="T70" fmla="*/ 166 w 394"/>
              <a:gd name="T71" fmla="*/ 28 h 382"/>
              <a:gd name="T72" fmla="*/ 160 w 394"/>
              <a:gd name="T73" fmla="*/ 28 h 382"/>
              <a:gd name="T74" fmla="*/ 150 w 394"/>
              <a:gd name="T75" fmla="*/ 31 h 382"/>
              <a:gd name="T76" fmla="*/ 144 w 394"/>
              <a:gd name="T77" fmla="*/ 38 h 382"/>
              <a:gd name="T78" fmla="*/ 128 w 394"/>
              <a:gd name="T79" fmla="*/ 44 h 382"/>
              <a:gd name="T80" fmla="*/ 135 w 394"/>
              <a:gd name="T81" fmla="*/ 50 h 382"/>
              <a:gd name="T82" fmla="*/ 135 w 394"/>
              <a:gd name="T83" fmla="*/ 63 h 382"/>
              <a:gd name="T84" fmla="*/ 138 w 394"/>
              <a:gd name="T85" fmla="*/ 88 h 382"/>
              <a:gd name="T86" fmla="*/ 144 w 394"/>
              <a:gd name="T87" fmla="*/ 97 h 382"/>
              <a:gd name="T88" fmla="*/ 150 w 394"/>
              <a:gd name="T89" fmla="*/ 100 h 382"/>
              <a:gd name="T90" fmla="*/ 144 w 394"/>
              <a:gd name="T91" fmla="*/ 113 h 382"/>
              <a:gd name="T92" fmla="*/ 113 w 394"/>
              <a:gd name="T93" fmla="*/ 119 h 382"/>
              <a:gd name="T94" fmla="*/ 107 w 394"/>
              <a:gd name="T95" fmla="*/ 135 h 382"/>
              <a:gd name="T96" fmla="*/ 72 w 394"/>
              <a:gd name="T97" fmla="*/ 160 h 382"/>
              <a:gd name="T98" fmla="*/ 41 w 394"/>
              <a:gd name="T99" fmla="*/ 172 h 382"/>
              <a:gd name="T100" fmla="*/ 19 w 394"/>
              <a:gd name="T101" fmla="*/ 175 h 382"/>
              <a:gd name="T102" fmla="*/ 0 w 394"/>
              <a:gd name="T103" fmla="*/ 191 h 382"/>
              <a:gd name="T104" fmla="*/ 0 w 394"/>
              <a:gd name="T105" fmla="*/ 213 h 382"/>
              <a:gd name="T106" fmla="*/ 72 w 394"/>
              <a:gd name="T107" fmla="*/ 260 h 382"/>
              <a:gd name="T108" fmla="*/ 203 w 394"/>
              <a:gd name="T109" fmla="*/ 354 h 382"/>
              <a:gd name="T110" fmla="*/ 219 w 394"/>
              <a:gd name="T111" fmla="*/ 360 h 382"/>
              <a:gd name="T112" fmla="*/ 232 w 394"/>
              <a:gd name="T113" fmla="*/ 369 h 382"/>
              <a:gd name="T114" fmla="*/ 232 w 394"/>
              <a:gd name="T115" fmla="*/ 382 h 382"/>
              <a:gd name="T116" fmla="*/ 253 w 394"/>
              <a:gd name="T117" fmla="*/ 379 h 382"/>
              <a:gd name="T118" fmla="*/ 282 w 394"/>
              <a:gd name="T119" fmla="*/ 372 h 382"/>
              <a:gd name="T120" fmla="*/ 394 w 394"/>
              <a:gd name="T121" fmla="*/ 294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4" h="382">
                <a:moveTo>
                  <a:pt x="394" y="294"/>
                </a:moveTo>
                <a:lnTo>
                  <a:pt x="391" y="294"/>
                </a:lnTo>
                <a:lnTo>
                  <a:pt x="391" y="291"/>
                </a:lnTo>
                <a:lnTo>
                  <a:pt x="388" y="288"/>
                </a:lnTo>
                <a:lnTo>
                  <a:pt x="385" y="279"/>
                </a:lnTo>
                <a:lnTo>
                  <a:pt x="382" y="275"/>
                </a:lnTo>
                <a:lnTo>
                  <a:pt x="379" y="272"/>
                </a:lnTo>
                <a:lnTo>
                  <a:pt x="369" y="272"/>
                </a:lnTo>
                <a:lnTo>
                  <a:pt x="363" y="272"/>
                </a:lnTo>
                <a:lnTo>
                  <a:pt x="360" y="269"/>
                </a:lnTo>
                <a:lnTo>
                  <a:pt x="360" y="266"/>
                </a:lnTo>
                <a:lnTo>
                  <a:pt x="357" y="263"/>
                </a:lnTo>
                <a:lnTo>
                  <a:pt x="357" y="260"/>
                </a:lnTo>
                <a:lnTo>
                  <a:pt x="357" y="257"/>
                </a:lnTo>
                <a:lnTo>
                  <a:pt x="357" y="250"/>
                </a:lnTo>
                <a:lnTo>
                  <a:pt x="357" y="250"/>
                </a:lnTo>
                <a:lnTo>
                  <a:pt x="350" y="244"/>
                </a:lnTo>
                <a:lnTo>
                  <a:pt x="347" y="238"/>
                </a:lnTo>
                <a:lnTo>
                  <a:pt x="344" y="235"/>
                </a:lnTo>
                <a:lnTo>
                  <a:pt x="344" y="232"/>
                </a:lnTo>
                <a:lnTo>
                  <a:pt x="347" y="229"/>
                </a:lnTo>
                <a:lnTo>
                  <a:pt x="350" y="225"/>
                </a:lnTo>
                <a:lnTo>
                  <a:pt x="354" y="225"/>
                </a:lnTo>
                <a:lnTo>
                  <a:pt x="354" y="216"/>
                </a:lnTo>
                <a:lnTo>
                  <a:pt x="350" y="213"/>
                </a:lnTo>
                <a:lnTo>
                  <a:pt x="350" y="210"/>
                </a:lnTo>
                <a:lnTo>
                  <a:pt x="354" y="200"/>
                </a:lnTo>
                <a:lnTo>
                  <a:pt x="350" y="194"/>
                </a:lnTo>
                <a:lnTo>
                  <a:pt x="350" y="185"/>
                </a:lnTo>
                <a:lnTo>
                  <a:pt x="350" y="182"/>
                </a:lnTo>
                <a:lnTo>
                  <a:pt x="350" y="175"/>
                </a:lnTo>
                <a:lnTo>
                  <a:pt x="350" y="163"/>
                </a:lnTo>
                <a:lnTo>
                  <a:pt x="347" y="157"/>
                </a:lnTo>
                <a:lnTo>
                  <a:pt x="344" y="157"/>
                </a:lnTo>
                <a:lnTo>
                  <a:pt x="344" y="150"/>
                </a:lnTo>
                <a:lnTo>
                  <a:pt x="347" y="147"/>
                </a:lnTo>
                <a:lnTo>
                  <a:pt x="335" y="110"/>
                </a:lnTo>
                <a:lnTo>
                  <a:pt x="329" y="103"/>
                </a:lnTo>
                <a:lnTo>
                  <a:pt x="325" y="103"/>
                </a:lnTo>
                <a:lnTo>
                  <a:pt x="325" y="100"/>
                </a:lnTo>
                <a:lnTo>
                  <a:pt x="319" y="97"/>
                </a:lnTo>
                <a:lnTo>
                  <a:pt x="319" y="94"/>
                </a:lnTo>
                <a:lnTo>
                  <a:pt x="313" y="88"/>
                </a:lnTo>
                <a:lnTo>
                  <a:pt x="313" y="88"/>
                </a:lnTo>
                <a:lnTo>
                  <a:pt x="310" y="85"/>
                </a:lnTo>
                <a:lnTo>
                  <a:pt x="310" y="81"/>
                </a:lnTo>
                <a:lnTo>
                  <a:pt x="307" y="78"/>
                </a:lnTo>
                <a:lnTo>
                  <a:pt x="307" y="75"/>
                </a:lnTo>
                <a:lnTo>
                  <a:pt x="310" y="66"/>
                </a:lnTo>
                <a:lnTo>
                  <a:pt x="313" y="63"/>
                </a:lnTo>
                <a:lnTo>
                  <a:pt x="316" y="60"/>
                </a:lnTo>
                <a:lnTo>
                  <a:pt x="316" y="60"/>
                </a:lnTo>
                <a:lnTo>
                  <a:pt x="319" y="56"/>
                </a:lnTo>
                <a:lnTo>
                  <a:pt x="322" y="50"/>
                </a:lnTo>
                <a:lnTo>
                  <a:pt x="322" y="47"/>
                </a:lnTo>
                <a:lnTo>
                  <a:pt x="319" y="44"/>
                </a:lnTo>
                <a:lnTo>
                  <a:pt x="322" y="41"/>
                </a:lnTo>
                <a:lnTo>
                  <a:pt x="322" y="41"/>
                </a:lnTo>
                <a:lnTo>
                  <a:pt x="322" y="41"/>
                </a:lnTo>
                <a:lnTo>
                  <a:pt x="319" y="38"/>
                </a:lnTo>
                <a:lnTo>
                  <a:pt x="319" y="31"/>
                </a:lnTo>
                <a:lnTo>
                  <a:pt x="322" y="22"/>
                </a:lnTo>
                <a:lnTo>
                  <a:pt x="322" y="16"/>
                </a:lnTo>
                <a:lnTo>
                  <a:pt x="322" y="10"/>
                </a:lnTo>
                <a:lnTo>
                  <a:pt x="322" y="6"/>
                </a:lnTo>
                <a:lnTo>
                  <a:pt x="322" y="3"/>
                </a:lnTo>
                <a:lnTo>
                  <a:pt x="322" y="3"/>
                </a:lnTo>
                <a:lnTo>
                  <a:pt x="316" y="3"/>
                </a:lnTo>
                <a:lnTo>
                  <a:pt x="313" y="3"/>
                </a:lnTo>
                <a:lnTo>
                  <a:pt x="307" y="6"/>
                </a:lnTo>
                <a:lnTo>
                  <a:pt x="300" y="3"/>
                </a:lnTo>
                <a:lnTo>
                  <a:pt x="297" y="0"/>
                </a:lnTo>
                <a:lnTo>
                  <a:pt x="297" y="3"/>
                </a:lnTo>
                <a:lnTo>
                  <a:pt x="291" y="6"/>
                </a:lnTo>
                <a:lnTo>
                  <a:pt x="285" y="6"/>
                </a:lnTo>
                <a:lnTo>
                  <a:pt x="285" y="3"/>
                </a:lnTo>
                <a:lnTo>
                  <a:pt x="282" y="0"/>
                </a:lnTo>
                <a:lnTo>
                  <a:pt x="279" y="0"/>
                </a:lnTo>
                <a:lnTo>
                  <a:pt x="279" y="3"/>
                </a:lnTo>
                <a:lnTo>
                  <a:pt x="272" y="3"/>
                </a:lnTo>
                <a:lnTo>
                  <a:pt x="272" y="6"/>
                </a:lnTo>
                <a:lnTo>
                  <a:pt x="269" y="6"/>
                </a:lnTo>
                <a:lnTo>
                  <a:pt x="266" y="6"/>
                </a:lnTo>
                <a:lnTo>
                  <a:pt x="263" y="10"/>
                </a:lnTo>
                <a:lnTo>
                  <a:pt x="257" y="10"/>
                </a:lnTo>
                <a:lnTo>
                  <a:pt x="257" y="6"/>
                </a:lnTo>
                <a:lnTo>
                  <a:pt x="250" y="6"/>
                </a:lnTo>
                <a:lnTo>
                  <a:pt x="247" y="3"/>
                </a:lnTo>
                <a:lnTo>
                  <a:pt x="241" y="6"/>
                </a:lnTo>
                <a:lnTo>
                  <a:pt x="238" y="6"/>
                </a:lnTo>
                <a:lnTo>
                  <a:pt x="235" y="6"/>
                </a:lnTo>
                <a:lnTo>
                  <a:pt x="232" y="3"/>
                </a:lnTo>
                <a:lnTo>
                  <a:pt x="232" y="3"/>
                </a:lnTo>
                <a:lnTo>
                  <a:pt x="228" y="10"/>
                </a:lnTo>
                <a:lnTo>
                  <a:pt x="225" y="10"/>
                </a:lnTo>
                <a:lnTo>
                  <a:pt x="219" y="6"/>
                </a:lnTo>
                <a:lnTo>
                  <a:pt x="216" y="13"/>
                </a:lnTo>
                <a:lnTo>
                  <a:pt x="213" y="13"/>
                </a:lnTo>
                <a:lnTo>
                  <a:pt x="207" y="10"/>
                </a:lnTo>
                <a:lnTo>
                  <a:pt x="203" y="10"/>
                </a:lnTo>
                <a:lnTo>
                  <a:pt x="197" y="13"/>
                </a:lnTo>
                <a:lnTo>
                  <a:pt x="191" y="10"/>
                </a:lnTo>
                <a:lnTo>
                  <a:pt x="182" y="19"/>
                </a:lnTo>
                <a:lnTo>
                  <a:pt x="175" y="19"/>
                </a:lnTo>
                <a:lnTo>
                  <a:pt x="175" y="19"/>
                </a:lnTo>
                <a:lnTo>
                  <a:pt x="169" y="22"/>
                </a:lnTo>
                <a:lnTo>
                  <a:pt x="169" y="25"/>
                </a:lnTo>
                <a:lnTo>
                  <a:pt x="166" y="28"/>
                </a:lnTo>
                <a:lnTo>
                  <a:pt x="166" y="28"/>
                </a:lnTo>
                <a:lnTo>
                  <a:pt x="163" y="28"/>
                </a:lnTo>
                <a:lnTo>
                  <a:pt x="160" y="28"/>
                </a:lnTo>
                <a:lnTo>
                  <a:pt x="160" y="28"/>
                </a:lnTo>
                <a:lnTo>
                  <a:pt x="157" y="31"/>
                </a:lnTo>
                <a:lnTo>
                  <a:pt x="150" y="31"/>
                </a:lnTo>
                <a:lnTo>
                  <a:pt x="147" y="31"/>
                </a:lnTo>
                <a:lnTo>
                  <a:pt x="144" y="35"/>
                </a:lnTo>
                <a:lnTo>
                  <a:pt x="144" y="38"/>
                </a:lnTo>
                <a:lnTo>
                  <a:pt x="141" y="41"/>
                </a:lnTo>
                <a:lnTo>
                  <a:pt x="135" y="44"/>
                </a:lnTo>
                <a:lnTo>
                  <a:pt x="128" y="44"/>
                </a:lnTo>
                <a:lnTo>
                  <a:pt x="132" y="47"/>
                </a:lnTo>
                <a:lnTo>
                  <a:pt x="132" y="47"/>
                </a:lnTo>
                <a:lnTo>
                  <a:pt x="135" y="50"/>
                </a:lnTo>
                <a:lnTo>
                  <a:pt x="135" y="53"/>
                </a:lnTo>
                <a:lnTo>
                  <a:pt x="135" y="56"/>
                </a:lnTo>
                <a:lnTo>
                  <a:pt x="135" y="63"/>
                </a:lnTo>
                <a:lnTo>
                  <a:pt x="135" y="69"/>
                </a:lnTo>
                <a:lnTo>
                  <a:pt x="135" y="72"/>
                </a:lnTo>
                <a:lnTo>
                  <a:pt x="138" y="88"/>
                </a:lnTo>
                <a:lnTo>
                  <a:pt x="141" y="94"/>
                </a:lnTo>
                <a:lnTo>
                  <a:pt x="141" y="97"/>
                </a:lnTo>
                <a:lnTo>
                  <a:pt x="144" y="97"/>
                </a:lnTo>
                <a:lnTo>
                  <a:pt x="147" y="100"/>
                </a:lnTo>
                <a:lnTo>
                  <a:pt x="147" y="100"/>
                </a:lnTo>
                <a:lnTo>
                  <a:pt x="150" y="100"/>
                </a:lnTo>
                <a:lnTo>
                  <a:pt x="147" y="107"/>
                </a:lnTo>
                <a:lnTo>
                  <a:pt x="147" y="107"/>
                </a:lnTo>
                <a:lnTo>
                  <a:pt x="144" y="113"/>
                </a:lnTo>
                <a:lnTo>
                  <a:pt x="122" y="113"/>
                </a:lnTo>
                <a:lnTo>
                  <a:pt x="119" y="113"/>
                </a:lnTo>
                <a:lnTo>
                  <a:pt x="113" y="119"/>
                </a:lnTo>
                <a:lnTo>
                  <a:pt x="110" y="122"/>
                </a:lnTo>
                <a:lnTo>
                  <a:pt x="107" y="128"/>
                </a:lnTo>
                <a:lnTo>
                  <a:pt x="107" y="135"/>
                </a:lnTo>
                <a:lnTo>
                  <a:pt x="107" y="138"/>
                </a:lnTo>
                <a:lnTo>
                  <a:pt x="91" y="147"/>
                </a:lnTo>
                <a:lnTo>
                  <a:pt x="72" y="160"/>
                </a:lnTo>
                <a:lnTo>
                  <a:pt x="53" y="169"/>
                </a:lnTo>
                <a:lnTo>
                  <a:pt x="47" y="172"/>
                </a:lnTo>
                <a:lnTo>
                  <a:pt x="41" y="172"/>
                </a:lnTo>
                <a:lnTo>
                  <a:pt x="35" y="172"/>
                </a:lnTo>
                <a:lnTo>
                  <a:pt x="32" y="172"/>
                </a:lnTo>
                <a:lnTo>
                  <a:pt x="19" y="175"/>
                </a:lnTo>
                <a:lnTo>
                  <a:pt x="13" y="178"/>
                </a:lnTo>
                <a:lnTo>
                  <a:pt x="10" y="182"/>
                </a:lnTo>
                <a:lnTo>
                  <a:pt x="0" y="191"/>
                </a:lnTo>
                <a:lnTo>
                  <a:pt x="0" y="207"/>
                </a:lnTo>
                <a:lnTo>
                  <a:pt x="0" y="207"/>
                </a:lnTo>
                <a:lnTo>
                  <a:pt x="0" y="213"/>
                </a:lnTo>
                <a:lnTo>
                  <a:pt x="0" y="213"/>
                </a:lnTo>
                <a:lnTo>
                  <a:pt x="0" y="213"/>
                </a:lnTo>
                <a:lnTo>
                  <a:pt x="72" y="260"/>
                </a:lnTo>
                <a:lnTo>
                  <a:pt x="72" y="260"/>
                </a:lnTo>
                <a:lnTo>
                  <a:pt x="200" y="344"/>
                </a:lnTo>
                <a:lnTo>
                  <a:pt x="203" y="354"/>
                </a:lnTo>
                <a:lnTo>
                  <a:pt x="207" y="357"/>
                </a:lnTo>
                <a:lnTo>
                  <a:pt x="213" y="357"/>
                </a:lnTo>
                <a:lnTo>
                  <a:pt x="219" y="360"/>
                </a:lnTo>
                <a:lnTo>
                  <a:pt x="222" y="363"/>
                </a:lnTo>
                <a:lnTo>
                  <a:pt x="228" y="366"/>
                </a:lnTo>
                <a:lnTo>
                  <a:pt x="232" y="369"/>
                </a:lnTo>
                <a:lnTo>
                  <a:pt x="232" y="372"/>
                </a:lnTo>
                <a:lnTo>
                  <a:pt x="228" y="379"/>
                </a:lnTo>
                <a:lnTo>
                  <a:pt x="232" y="382"/>
                </a:lnTo>
                <a:lnTo>
                  <a:pt x="235" y="382"/>
                </a:lnTo>
                <a:lnTo>
                  <a:pt x="244" y="382"/>
                </a:lnTo>
                <a:lnTo>
                  <a:pt x="253" y="379"/>
                </a:lnTo>
                <a:lnTo>
                  <a:pt x="253" y="379"/>
                </a:lnTo>
                <a:lnTo>
                  <a:pt x="253" y="379"/>
                </a:lnTo>
                <a:lnTo>
                  <a:pt x="282" y="372"/>
                </a:lnTo>
                <a:lnTo>
                  <a:pt x="307" y="351"/>
                </a:lnTo>
                <a:lnTo>
                  <a:pt x="394" y="294"/>
                </a:lnTo>
                <a:lnTo>
                  <a:pt x="394" y="294"/>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7" name="Freeform 115">
            <a:extLst>
              <a:ext uri="{FF2B5EF4-FFF2-40B4-BE49-F238E27FC236}">
                <a16:creationId xmlns:a16="http://schemas.microsoft.com/office/drawing/2014/main" id="{3178F600-193A-5956-2E3F-5727CB179D45}"/>
              </a:ext>
            </a:extLst>
          </p:cNvPr>
          <p:cNvSpPr>
            <a:spLocks/>
          </p:cNvSpPr>
          <p:nvPr userDrawn="1"/>
        </p:nvSpPr>
        <p:spPr bwMode="auto">
          <a:xfrm>
            <a:off x="12394392" y="7031909"/>
            <a:ext cx="723855" cy="577850"/>
          </a:xfrm>
          <a:custGeom>
            <a:avLst/>
            <a:gdLst>
              <a:gd name="T0" fmla="*/ 78 w 228"/>
              <a:gd name="T1" fmla="*/ 166 h 182"/>
              <a:gd name="T2" fmla="*/ 91 w 228"/>
              <a:gd name="T3" fmla="*/ 153 h 182"/>
              <a:gd name="T4" fmla="*/ 110 w 228"/>
              <a:gd name="T5" fmla="*/ 147 h 182"/>
              <a:gd name="T6" fmla="*/ 119 w 228"/>
              <a:gd name="T7" fmla="*/ 147 h 182"/>
              <a:gd name="T8" fmla="*/ 131 w 228"/>
              <a:gd name="T9" fmla="*/ 144 h 182"/>
              <a:gd name="T10" fmla="*/ 169 w 228"/>
              <a:gd name="T11" fmla="*/ 122 h 182"/>
              <a:gd name="T12" fmla="*/ 185 w 228"/>
              <a:gd name="T13" fmla="*/ 110 h 182"/>
              <a:gd name="T14" fmla="*/ 188 w 228"/>
              <a:gd name="T15" fmla="*/ 97 h 182"/>
              <a:gd name="T16" fmla="*/ 197 w 228"/>
              <a:gd name="T17" fmla="*/ 88 h 182"/>
              <a:gd name="T18" fmla="*/ 222 w 228"/>
              <a:gd name="T19" fmla="*/ 88 h 182"/>
              <a:gd name="T20" fmla="*/ 225 w 228"/>
              <a:gd name="T21" fmla="*/ 82 h 182"/>
              <a:gd name="T22" fmla="*/ 225 w 228"/>
              <a:gd name="T23" fmla="*/ 75 h 182"/>
              <a:gd name="T24" fmla="*/ 222 w 228"/>
              <a:gd name="T25" fmla="*/ 72 h 182"/>
              <a:gd name="T26" fmla="*/ 219 w 228"/>
              <a:gd name="T27" fmla="*/ 69 h 182"/>
              <a:gd name="T28" fmla="*/ 213 w 228"/>
              <a:gd name="T29" fmla="*/ 47 h 182"/>
              <a:gd name="T30" fmla="*/ 213 w 228"/>
              <a:gd name="T31" fmla="*/ 38 h 182"/>
              <a:gd name="T32" fmla="*/ 213 w 228"/>
              <a:gd name="T33" fmla="*/ 28 h 182"/>
              <a:gd name="T34" fmla="*/ 210 w 228"/>
              <a:gd name="T35" fmla="*/ 22 h 182"/>
              <a:gd name="T36" fmla="*/ 206 w 228"/>
              <a:gd name="T37" fmla="*/ 19 h 182"/>
              <a:gd name="T38" fmla="*/ 194 w 228"/>
              <a:gd name="T39" fmla="*/ 19 h 182"/>
              <a:gd name="T40" fmla="*/ 191 w 228"/>
              <a:gd name="T41" fmla="*/ 13 h 182"/>
              <a:gd name="T42" fmla="*/ 188 w 228"/>
              <a:gd name="T43" fmla="*/ 10 h 182"/>
              <a:gd name="T44" fmla="*/ 178 w 228"/>
              <a:gd name="T45" fmla="*/ 16 h 182"/>
              <a:gd name="T46" fmla="*/ 169 w 228"/>
              <a:gd name="T47" fmla="*/ 13 h 182"/>
              <a:gd name="T48" fmla="*/ 160 w 228"/>
              <a:gd name="T49" fmla="*/ 16 h 182"/>
              <a:gd name="T50" fmla="*/ 150 w 228"/>
              <a:gd name="T51" fmla="*/ 10 h 182"/>
              <a:gd name="T52" fmla="*/ 147 w 228"/>
              <a:gd name="T53" fmla="*/ 6 h 182"/>
              <a:gd name="T54" fmla="*/ 147 w 228"/>
              <a:gd name="T55" fmla="*/ 3 h 182"/>
              <a:gd name="T56" fmla="*/ 141 w 228"/>
              <a:gd name="T57" fmla="*/ 3 h 182"/>
              <a:gd name="T58" fmla="*/ 138 w 228"/>
              <a:gd name="T59" fmla="*/ 3 h 182"/>
              <a:gd name="T60" fmla="*/ 131 w 228"/>
              <a:gd name="T61" fmla="*/ 19 h 182"/>
              <a:gd name="T62" fmla="*/ 128 w 228"/>
              <a:gd name="T63" fmla="*/ 31 h 182"/>
              <a:gd name="T64" fmla="*/ 116 w 228"/>
              <a:gd name="T65" fmla="*/ 44 h 182"/>
              <a:gd name="T66" fmla="*/ 110 w 228"/>
              <a:gd name="T67" fmla="*/ 47 h 182"/>
              <a:gd name="T68" fmla="*/ 97 w 228"/>
              <a:gd name="T69" fmla="*/ 56 h 182"/>
              <a:gd name="T70" fmla="*/ 88 w 228"/>
              <a:gd name="T71" fmla="*/ 63 h 182"/>
              <a:gd name="T72" fmla="*/ 78 w 228"/>
              <a:gd name="T73" fmla="*/ 69 h 182"/>
              <a:gd name="T74" fmla="*/ 72 w 228"/>
              <a:gd name="T75" fmla="*/ 82 h 182"/>
              <a:gd name="T76" fmla="*/ 66 w 228"/>
              <a:gd name="T77" fmla="*/ 94 h 182"/>
              <a:gd name="T78" fmla="*/ 60 w 228"/>
              <a:gd name="T79" fmla="*/ 107 h 182"/>
              <a:gd name="T80" fmla="*/ 60 w 228"/>
              <a:gd name="T81" fmla="*/ 122 h 182"/>
              <a:gd name="T82" fmla="*/ 63 w 228"/>
              <a:gd name="T83" fmla="*/ 125 h 182"/>
              <a:gd name="T84" fmla="*/ 50 w 228"/>
              <a:gd name="T85" fmla="*/ 144 h 182"/>
              <a:gd name="T86" fmla="*/ 44 w 228"/>
              <a:gd name="T87" fmla="*/ 157 h 182"/>
              <a:gd name="T88" fmla="*/ 25 w 228"/>
              <a:gd name="T89" fmla="*/ 169 h 182"/>
              <a:gd name="T90" fmla="*/ 0 w 228"/>
              <a:gd name="T91" fmla="*/ 182 h 182"/>
              <a:gd name="T92" fmla="*/ 78 w 228"/>
              <a:gd name="T93"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8" h="182">
                <a:moveTo>
                  <a:pt x="78" y="182"/>
                </a:moveTo>
                <a:lnTo>
                  <a:pt x="78" y="166"/>
                </a:lnTo>
                <a:lnTo>
                  <a:pt x="88" y="157"/>
                </a:lnTo>
                <a:lnTo>
                  <a:pt x="91" y="153"/>
                </a:lnTo>
                <a:lnTo>
                  <a:pt x="97" y="150"/>
                </a:lnTo>
                <a:lnTo>
                  <a:pt x="110" y="147"/>
                </a:lnTo>
                <a:lnTo>
                  <a:pt x="113" y="147"/>
                </a:lnTo>
                <a:lnTo>
                  <a:pt x="119" y="147"/>
                </a:lnTo>
                <a:lnTo>
                  <a:pt x="125" y="147"/>
                </a:lnTo>
                <a:lnTo>
                  <a:pt x="131" y="144"/>
                </a:lnTo>
                <a:lnTo>
                  <a:pt x="150" y="135"/>
                </a:lnTo>
                <a:lnTo>
                  <a:pt x="169" y="122"/>
                </a:lnTo>
                <a:lnTo>
                  <a:pt x="185" y="113"/>
                </a:lnTo>
                <a:lnTo>
                  <a:pt x="185" y="110"/>
                </a:lnTo>
                <a:lnTo>
                  <a:pt x="185" y="103"/>
                </a:lnTo>
                <a:lnTo>
                  <a:pt x="188" y="97"/>
                </a:lnTo>
                <a:lnTo>
                  <a:pt x="191" y="94"/>
                </a:lnTo>
                <a:lnTo>
                  <a:pt x="197" y="88"/>
                </a:lnTo>
                <a:lnTo>
                  <a:pt x="200" y="88"/>
                </a:lnTo>
                <a:lnTo>
                  <a:pt x="222" y="88"/>
                </a:lnTo>
                <a:lnTo>
                  <a:pt x="225" y="82"/>
                </a:lnTo>
                <a:lnTo>
                  <a:pt x="225" y="82"/>
                </a:lnTo>
                <a:lnTo>
                  <a:pt x="228" y="75"/>
                </a:lnTo>
                <a:lnTo>
                  <a:pt x="225" y="75"/>
                </a:lnTo>
                <a:lnTo>
                  <a:pt x="225" y="75"/>
                </a:lnTo>
                <a:lnTo>
                  <a:pt x="222" y="72"/>
                </a:lnTo>
                <a:lnTo>
                  <a:pt x="219" y="72"/>
                </a:lnTo>
                <a:lnTo>
                  <a:pt x="219" y="69"/>
                </a:lnTo>
                <a:lnTo>
                  <a:pt x="216" y="63"/>
                </a:lnTo>
                <a:lnTo>
                  <a:pt x="213" y="47"/>
                </a:lnTo>
                <a:lnTo>
                  <a:pt x="213" y="44"/>
                </a:lnTo>
                <a:lnTo>
                  <a:pt x="213" y="38"/>
                </a:lnTo>
                <a:lnTo>
                  <a:pt x="213" y="31"/>
                </a:lnTo>
                <a:lnTo>
                  <a:pt x="213" y="28"/>
                </a:lnTo>
                <a:lnTo>
                  <a:pt x="213" y="25"/>
                </a:lnTo>
                <a:lnTo>
                  <a:pt x="210" y="22"/>
                </a:lnTo>
                <a:lnTo>
                  <a:pt x="210" y="22"/>
                </a:lnTo>
                <a:lnTo>
                  <a:pt x="206" y="19"/>
                </a:lnTo>
                <a:lnTo>
                  <a:pt x="203" y="19"/>
                </a:lnTo>
                <a:lnTo>
                  <a:pt x="194" y="19"/>
                </a:lnTo>
                <a:lnTo>
                  <a:pt x="191" y="16"/>
                </a:lnTo>
                <a:lnTo>
                  <a:pt x="191" y="13"/>
                </a:lnTo>
                <a:lnTo>
                  <a:pt x="188" y="10"/>
                </a:lnTo>
                <a:lnTo>
                  <a:pt x="188" y="10"/>
                </a:lnTo>
                <a:lnTo>
                  <a:pt x="185" y="16"/>
                </a:lnTo>
                <a:lnTo>
                  <a:pt x="178" y="16"/>
                </a:lnTo>
                <a:lnTo>
                  <a:pt x="172" y="16"/>
                </a:lnTo>
                <a:lnTo>
                  <a:pt x="169" y="13"/>
                </a:lnTo>
                <a:lnTo>
                  <a:pt x="166" y="16"/>
                </a:lnTo>
                <a:lnTo>
                  <a:pt x="160" y="16"/>
                </a:lnTo>
                <a:lnTo>
                  <a:pt x="153" y="16"/>
                </a:lnTo>
                <a:lnTo>
                  <a:pt x="150" y="10"/>
                </a:lnTo>
                <a:lnTo>
                  <a:pt x="147" y="10"/>
                </a:lnTo>
                <a:lnTo>
                  <a:pt x="147" y="6"/>
                </a:lnTo>
                <a:lnTo>
                  <a:pt x="147" y="3"/>
                </a:lnTo>
                <a:lnTo>
                  <a:pt x="147" y="3"/>
                </a:lnTo>
                <a:lnTo>
                  <a:pt x="144" y="0"/>
                </a:lnTo>
                <a:lnTo>
                  <a:pt x="141" y="3"/>
                </a:lnTo>
                <a:lnTo>
                  <a:pt x="141" y="3"/>
                </a:lnTo>
                <a:lnTo>
                  <a:pt x="138" y="3"/>
                </a:lnTo>
                <a:lnTo>
                  <a:pt x="135" y="6"/>
                </a:lnTo>
                <a:lnTo>
                  <a:pt x="131" y="19"/>
                </a:lnTo>
                <a:lnTo>
                  <a:pt x="128" y="25"/>
                </a:lnTo>
                <a:lnTo>
                  <a:pt x="128" y="31"/>
                </a:lnTo>
                <a:lnTo>
                  <a:pt x="125" y="38"/>
                </a:lnTo>
                <a:lnTo>
                  <a:pt x="116" y="44"/>
                </a:lnTo>
                <a:lnTo>
                  <a:pt x="113" y="44"/>
                </a:lnTo>
                <a:lnTo>
                  <a:pt x="110" y="47"/>
                </a:lnTo>
                <a:lnTo>
                  <a:pt x="103" y="50"/>
                </a:lnTo>
                <a:lnTo>
                  <a:pt x="97" y="56"/>
                </a:lnTo>
                <a:lnTo>
                  <a:pt x="94" y="56"/>
                </a:lnTo>
                <a:lnTo>
                  <a:pt x="88" y="63"/>
                </a:lnTo>
                <a:lnTo>
                  <a:pt x="81" y="63"/>
                </a:lnTo>
                <a:lnTo>
                  <a:pt x="78" y="69"/>
                </a:lnTo>
                <a:lnTo>
                  <a:pt x="69" y="75"/>
                </a:lnTo>
                <a:lnTo>
                  <a:pt x="72" y="82"/>
                </a:lnTo>
                <a:lnTo>
                  <a:pt x="72" y="85"/>
                </a:lnTo>
                <a:lnTo>
                  <a:pt x="66" y="94"/>
                </a:lnTo>
                <a:lnTo>
                  <a:pt x="60" y="103"/>
                </a:lnTo>
                <a:lnTo>
                  <a:pt x="60" y="107"/>
                </a:lnTo>
                <a:lnTo>
                  <a:pt x="63" y="113"/>
                </a:lnTo>
                <a:lnTo>
                  <a:pt x="60" y="122"/>
                </a:lnTo>
                <a:lnTo>
                  <a:pt x="63" y="122"/>
                </a:lnTo>
                <a:lnTo>
                  <a:pt x="63" y="125"/>
                </a:lnTo>
                <a:lnTo>
                  <a:pt x="63" y="132"/>
                </a:lnTo>
                <a:lnTo>
                  <a:pt x="50" y="144"/>
                </a:lnTo>
                <a:lnTo>
                  <a:pt x="50" y="150"/>
                </a:lnTo>
                <a:lnTo>
                  <a:pt x="44" y="157"/>
                </a:lnTo>
                <a:lnTo>
                  <a:pt x="38" y="157"/>
                </a:lnTo>
                <a:lnTo>
                  <a:pt x="25" y="169"/>
                </a:lnTo>
                <a:lnTo>
                  <a:pt x="3" y="172"/>
                </a:lnTo>
                <a:lnTo>
                  <a:pt x="0" y="182"/>
                </a:lnTo>
                <a:lnTo>
                  <a:pt x="78" y="182"/>
                </a:lnTo>
                <a:lnTo>
                  <a:pt x="78" y="182"/>
                </a:lnTo>
                <a:lnTo>
                  <a:pt x="78" y="182"/>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8" name="Freeform 116">
            <a:extLst>
              <a:ext uri="{FF2B5EF4-FFF2-40B4-BE49-F238E27FC236}">
                <a16:creationId xmlns:a16="http://schemas.microsoft.com/office/drawing/2014/main" id="{410972D6-96EE-C511-5928-A4D17BAEC05E}"/>
              </a:ext>
            </a:extLst>
          </p:cNvPr>
          <p:cNvSpPr>
            <a:spLocks/>
          </p:cNvSpPr>
          <p:nvPr userDrawn="1"/>
        </p:nvSpPr>
        <p:spPr bwMode="auto">
          <a:xfrm>
            <a:off x="12137235" y="7609756"/>
            <a:ext cx="504793" cy="406400"/>
          </a:xfrm>
          <a:custGeom>
            <a:avLst/>
            <a:gdLst>
              <a:gd name="T0" fmla="*/ 159 w 159"/>
              <a:gd name="T1" fmla="*/ 6 h 128"/>
              <a:gd name="T2" fmla="*/ 159 w 159"/>
              <a:gd name="T3" fmla="*/ 0 h 128"/>
              <a:gd name="T4" fmla="*/ 81 w 159"/>
              <a:gd name="T5" fmla="*/ 0 h 128"/>
              <a:gd name="T6" fmla="*/ 72 w 159"/>
              <a:gd name="T7" fmla="*/ 9 h 128"/>
              <a:gd name="T8" fmla="*/ 72 w 159"/>
              <a:gd name="T9" fmla="*/ 15 h 128"/>
              <a:gd name="T10" fmla="*/ 69 w 159"/>
              <a:gd name="T11" fmla="*/ 15 h 128"/>
              <a:gd name="T12" fmla="*/ 56 w 159"/>
              <a:gd name="T13" fmla="*/ 25 h 128"/>
              <a:gd name="T14" fmla="*/ 56 w 159"/>
              <a:gd name="T15" fmla="*/ 28 h 128"/>
              <a:gd name="T16" fmla="*/ 50 w 159"/>
              <a:gd name="T17" fmla="*/ 31 h 128"/>
              <a:gd name="T18" fmla="*/ 50 w 159"/>
              <a:gd name="T19" fmla="*/ 37 h 128"/>
              <a:gd name="T20" fmla="*/ 37 w 159"/>
              <a:gd name="T21" fmla="*/ 53 h 128"/>
              <a:gd name="T22" fmla="*/ 37 w 159"/>
              <a:gd name="T23" fmla="*/ 59 h 128"/>
              <a:gd name="T24" fmla="*/ 28 w 159"/>
              <a:gd name="T25" fmla="*/ 68 h 128"/>
              <a:gd name="T26" fmla="*/ 25 w 159"/>
              <a:gd name="T27" fmla="*/ 68 h 128"/>
              <a:gd name="T28" fmla="*/ 22 w 159"/>
              <a:gd name="T29" fmla="*/ 81 h 128"/>
              <a:gd name="T30" fmla="*/ 22 w 159"/>
              <a:gd name="T31" fmla="*/ 84 h 128"/>
              <a:gd name="T32" fmla="*/ 12 w 159"/>
              <a:gd name="T33" fmla="*/ 93 h 128"/>
              <a:gd name="T34" fmla="*/ 12 w 159"/>
              <a:gd name="T35" fmla="*/ 97 h 128"/>
              <a:gd name="T36" fmla="*/ 16 w 159"/>
              <a:gd name="T37" fmla="*/ 97 h 128"/>
              <a:gd name="T38" fmla="*/ 12 w 159"/>
              <a:gd name="T39" fmla="*/ 100 h 128"/>
              <a:gd name="T40" fmla="*/ 6 w 159"/>
              <a:gd name="T41" fmla="*/ 109 h 128"/>
              <a:gd name="T42" fmla="*/ 3 w 159"/>
              <a:gd name="T43" fmla="*/ 109 h 128"/>
              <a:gd name="T44" fmla="*/ 0 w 159"/>
              <a:gd name="T45" fmla="*/ 112 h 128"/>
              <a:gd name="T46" fmla="*/ 0 w 159"/>
              <a:gd name="T47" fmla="*/ 118 h 128"/>
              <a:gd name="T48" fmla="*/ 0 w 159"/>
              <a:gd name="T49" fmla="*/ 122 h 128"/>
              <a:gd name="T50" fmla="*/ 0 w 159"/>
              <a:gd name="T51" fmla="*/ 128 h 128"/>
              <a:gd name="T52" fmla="*/ 78 w 159"/>
              <a:gd name="T53" fmla="*/ 128 h 128"/>
              <a:gd name="T54" fmla="*/ 78 w 159"/>
              <a:gd name="T55" fmla="*/ 93 h 128"/>
              <a:gd name="T56" fmla="*/ 81 w 159"/>
              <a:gd name="T57" fmla="*/ 87 h 128"/>
              <a:gd name="T58" fmla="*/ 84 w 159"/>
              <a:gd name="T59" fmla="*/ 84 h 128"/>
              <a:gd name="T60" fmla="*/ 91 w 159"/>
              <a:gd name="T61" fmla="*/ 84 h 128"/>
              <a:gd name="T62" fmla="*/ 97 w 159"/>
              <a:gd name="T63" fmla="*/ 84 h 128"/>
              <a:gd name="T64" fmla="*/ 97 w 159"/>
              <a:gd name="T65" fmla="*/ 31 h 128"/>
              <a:gd name="T66" fmla="*/ 159 w 159"/>
              <a:gd name="T67" fmla="*/ 34 h 128"/>
              <a:gd name="T68" fmla="*/ 159 w 159"/>
              <a:gd name="T69" fmla="*/ 6 h 128"/>
              <a:gd name="T70" fmla="*/ 159 w 159"/>
              <a:gd name="T71" fmla="*/ 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28">
                <a:moveTo>
                  <a:pt x="159" y="6"/>
                </a:moveTo>
                <a:lnTo>
                  <a:pt x="159" y="0"/>
                </a:lnTo>
                <a:lnTo>
                  <a:pt x="81" y="0"/>
                </a:lnTo>
                <a:lnTo>
                  <a:pt x="72" y="9"/>
                </a:lnTo>
                <a:lnTo>
                  <a:pt x="72" y="15"/>
                </a:lnTo>
                <a:lnTo>
                  <a:pt x="69" y="15"/>
                </a:lnTo>
                <a:lnTo>
                  <a:pt x="56" y="25"/>
                </a:lnTo>
                <a:lnTo>
                  <a:pt x="56" y="28"/>
                </a:lnTo>
                <a:lnTo>
                  <a:pt x="50" y="31"/>
                </a:lnTo>
                <a:lnTo>
                  <a:pt x="50" y="37"/>
                </a:lnTo>
                <a:lnTo>
                  <a:pt x="37" y="53"/>
                </a:lnTo>
                <a:lnTo>
                  <a:pt x="37" y="59"/>
                </a:lnTo>
                <a:lnTo>
                  <a:pt x="28" y="68"/>
                </a:lnTo>
                <a:lnTo>
                  <a:pt x="25" y="68"/>
                </a:lnTo>
                <a:lnTo>
                  <a:pt x="22" y="81"/>
                </a:lnTo>
                <a:lnTo>
                  <a:pt x="22" y="84"/>
                </a:lnTo>
                <a:lnTo>
                  <a:pt x="12" y="93"/>
                </a:lnTo>
                <a:lnTo>
                  <a:pt x="12" y="97"/>
                </a:lnTo>
                <a:lnTo>
                  <a:pt x="16" y="97"/>
                </a:lnTo>
                <a:lnTo>
                  <a:pt x="12" y="100"/>
                </a:lnTo>
                <a:lnTo>
                  <a:pt x="6" y="109"/>
                </a:lnTo>
                <a:lnTo>
                  <a:pt x="3" y="109"/>
                </a:lnTo>
                <a:lnTo>
                  <a:pt x="0" y="112"/>
                </a:lnTo>
                <a:lnTo>
                  <a:pt x="0" y="118"/>
                </a:lnTo>
                <a:lnTo>
                  <a:pt x="0" y="122"/>
                </a:lnTo>
                <a:lnTo>
                  <a:pt x="0" y="128"/>
                </a:lnTo>
                <a:lnTo>
                  <a:pt x="78" y="128"/>
                </a:lnTo>
                <a:lnTo>
                  <a:pt x="78" y="93"/>
                </a:lnTo>
                <a:lnTo>
                  <a:pt x="81" y="87"/>
                </a:lnTo>
                <a:lnTo>
                  <a:pt x="84" y="84"/>
                </a:lnTo>
                <a:lnTo>
                  <a:pt x="91" y="84"/>
                </a:lnTo>
                <a:lnTo>
                  <a:pt x="97" y="84"/>
                </a:lnTo>
                <a:lnTo>
                  <a:pt x="97" y="31"/>
                </a:lnTo>
                <a:lnTo>
                  <a:pt x="159" y="34"/>
                </a:lnTo>
                <a:lnTo>
                  <a:pt x="159" y="6"/>
                </a:lnTo>
                <a:lnTo>
                  <a:pt x="159" y="6"/>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19" name="Freeform 117">
            <a:extLst>
              <a:ext uri="{FF2B5EF4-FFF2-40B4-BE49-F238E27FC236}">
                <a16:creationId xmlns:a16="http://schemas.microsoft.com/office/drawing/2014/main" id="{9F97AA04-E302-134D-90C9-36CDDF49BD4C}"/>
              </a:ext>
            </a:extLst>
          </p:cNvPr>
          <p:cNvSpPr>
            <a:spLocks/>
          </p:cNvSpPr>
          <p:nvPr userDrawn="1"/>
        </p:nvSpPr>
        <p:spPr bwMode="auto">
          <a:xfrm>
            <a:off x="12127709" y="7628809"/>
            <a:ext cx="742902" cy="803278"/>
          </a:xfrm>
          <a:custGeom>
            <a:avLst/>
            <a:gdLst>
              <a:gd name="T0" fmla="*/ 81 w 234"/>
              <a:gd name="T1" fmla="*/ 122 h 253"/>
              <a:gd name="T2" fmla="*/ 84 w 234"/>
              <a:gd name="T3" fmla="*/ 81 h 253"/>
              <a:gd name="T4" fmla="*/ 94 w 234"/>
              <a:gd name="T5" fmla="*/ 78 h 253"/>
              <a:gd name="T6" fmla="*/ 100 w 234"/>
              <a:gd name="T7" fmla="*/ 25 h 253"/>
              <a:gd name="T8" fmla="*/ 162 w 234"/>
              <a:gd name="T9" fmla="*/ 0 h 253"/>
              <a:gd name="T10" fmla="*/ 234 w 234"/>
              <a:gd name="T11" fmla="*/ 47 h 253"/>
              <a:gd name="T12" fmla="*/ 209 w 234"/>
              <a:gd name="T13" fmla="*/ 47 h 253"/>
              <a:gd name="T14" fmla="*/ 231 w 234"/>
              <a:gd name="T15" fmla="*/ 225 h 253"/>
              <a:gd name="T16" fmla="*/ 156 w 234"/>
              <a:gd name="T17" fmla="*/ 241 h 253"/>
              <a:gd name="T18" fmla="*/ 150 w 234"/>
              <a:gd name="T19" fmla="*/ 238 h 253"/>
              <a:gd name="T20" fmla="*/ 144 w 234"/>
              <a:gd name="T21" fmla="*/ 241 h 253"/>
              <a:gd name="T22" fmla="*/ 144 w 234"/>
              <a:gd name="T23" fmla="*/ 234 h 253"/>
              <a:gd name="T24" fmla="*/ 128 w 234"/>
              <a:gd name="T25" fmla="*/ 238 h 253"/>
              <a:gd name="T26" fmla="*/ 122 w 234"/>
              <a:gd name="T27" fmla="*/ 244 h 253"/>
              <a:gd name="T28" fmla="*/ 119 w 234"/>
              <a:gd name="T29" fmla="*/ 234 h 253"/>
              <a:gd name="T30" fmla="*/ 106 w 234"/>
              <a:gd name="T31" fmla="*/ 234 h 253"/>
              <a:gd name="T32" fmla="*/ 106 w 234"/>
              <a:gd name="T33" fmla="*/ 244 h 253"/>
              <a:gd name="T34" fmla="*/ 100 w 234"/>
              <a:gd name="T35" fmla="*/ 250 h 253"/>
              <a:gd name="T36" fmla="*/ 94 w 234"/>
              <a:gd name="T37" fmla="*/ 253 h 253"/>
              <a:gd name="T38" fmla="*/ 87 w 234"/>
              <a:gd name="T39" fmla="*/ 247 h 253"/>
              <a:gd name="T40" fmla="*/ 84 w 234"/>
              <a:gd name="T41" fmla="*/ 244 h 253"/>
              <a:gd name="T42" fmla="*/ 78 w 234"/>
              <a:gd name="T43" fmla="*/ 238 h 253"/>
              <a:gd name="T44" fmla="*/ 75 w 234"/>
              <a:gd name="T45" fmla="*/ 228 h 253"/>
              <a:gd name="T46" fmla="*/ 69 w 234"/>
              <a:gd name="T47" fmla="*/ 228 h 253"/>
              <a:gd name="T48" fmla="*/ 65 w 234"/>
              <a:gd name="T49" fmla="*/ 228 h 253"/>
              <a:gd name="T50" fmla="*/ 62 w 234"/>
              <a:gd name="T51" fmla="*/ 225 h 253"/>
              <a:gd name="T52" fmla="*/ 53 w 234"/>
              <a:gd name="T53" fmla="*/ 219 h 253"/>
              <a:gd name="T54" fmla="*/ 40 w 234"/>
              <a:gd name="T55" fmla="*/ 216 h 253"/>
              <a:gd name="T56" fmla="*/ 19 w 234"/>
              <a:gd name="T57" fmla="*/ 222 h 253"/>
              <a:gd name="T58" fmla="*/ 12 w 234"/>
              <a:gd name="T59" fmla="*/ 225 h 253"/>
              <a:gd name="T60" fmla="*/ 9 w 234"/>
              <a:gd name="T61" fmla="*/ 219 h 253"/>
              <a:gd name="T62" fmla="*/ 19 w 234"/>
              <a:gd name="T63" fmla="*/ 200 h 253"/>
              <a:gd name="T64" fmla="*/ 15 w 234"/>
              <a:gd name="T65" fmla="*/ 166 h 253"/>
              <a:gd name="T66" fmla="*/ 12 w 234"/>
              <a:gd name="T67" fmla="*/ 156 h 253"/>
              <a:gd name="T68" fmla="*/ 15 w 234"/>
              <a:gd name="T69" fmla="*/ 150 h 253"/>
              <a:gd name="T70" fmla="*/ 15 w 234"/>
              <a:gd name="T71" fmla="*/ 144 h 253"/>
              <a:gd name="T72" fmla="*/ 9 w 234"/>
              <a:gd name="T73" fmla="*/ 138 h 253"/>
              <a:gd name="T74" fmla="*/ 6 w 234"/>
              <a:gd name="T75" fmla="*/ 131 h 253"/>
              <a:gd name="T76" fmla="*/ 0 w 234"/>
              <a:gd name="T77" fmla="*/ 128 h 253"/>
              <a:gd name="T78" fmla="*/ 3 w 234"/>
              <a:gd name="T79" fmla="*/ 122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253">
                <a:moveTo>
                  <a:pt x="3" y="122"/>
                </a:moveTo>
                <a:lnTo>
                  <a:pt x="81" y="122"/>
                </a:lnTo>
                <a:lnTo>
                  <a:pt x="81" y="87"/>
                </a:lnTo>
                <a:lnTo>
                  <a:pt x="84" y="81"/>
                </a:lnTo>
                <a:lnTo>
                  <a:pt x="87" y="78"/>
                </a:lnTo>
                <a:lnTo>
                  <a:pt x="94" y="78"/>
                </a:lnTo>
                <a:lnTo>
                  <a:pt x="100" y="78"/>
                </a:lnTo>
                <a:lnTo>
                  <a:pt x="100" y="25"/>
                </a:lnTo>
                <a:lnTo>
                  <a:pt x="162" y="28"/>
                </a:lnTo>
                <a:lnTo>
                  <a:pt x="162" y="0"/>
                </a:lnTo>
                <a:lnTo>
                  <a:pt x="234" y="47"/>
                </a:lnTo>
                <a:lnTo>
                  <a:pt x="234" y="47"/>
                </a:lnTo>
                <a:lnTo>
                  <a:pt x="234" y="47"/>
                </a:lnTo>
                <a:lnTo>
                  <a:pt x="209" y="47"/>
                </a:lnTo>
                <a:lnTo>
                  <a:pt x="225" y="219"/>
                </a:lnTo>
                <a:lnTo>
                  <a:pt x="231" y="225"/>
                </a:lnTo>
                <a:lnTo>
                  <a:pt x="225" y="241"/>
                </a:lnTo>
                <a:lnTo>
                  <a:pt x="156" y="241"/>
                </a:lnTo>
                <a:lnTo>
                  <a:pt x="153" y="241"/>
                </a:lnTo>
                <a:lnTo>
                  <a:pt x="150" y="238"/>
                </a:lnTo>
                <a:lnTo>
                  <a:pt x="147" y="238"/>
                </a:lnTo>
                <a:lnTo>
                  <a:pt x="144" y="241"/>
                </a:lnTo>
                <a:lnTo>
                  <a:pt x="144" y="241"/>
                </a:lnTo>
                <a:lnTo>
                  <a:pt x="144" y="234"/>
                </a:lnTo>
                <a:lnTo>
                  <a:pt x="137" y="231"/>
                </a:lnTo>
                <a:lnTo>
                  <a:pt x="128" y="238"/>
                </a:lnTo>
                <a:lnTo>
                  <a:pt x="122" y="247"/>
                </a:lnTo>
                <a:lnTo>
                  <a:pt x="122" y="244"/>
                </a:lnTo>
                <a:lnTo>
                  <a:pt x="119" y="238"/>
                </a:lnTo>
                <a:lnTo>
                  <a:pt x="119" y="234"/>
                </a:lnTo>
                <a:lnTo>
                  <a:pt x="112" y="234"/>
                </a:lnTo>
                <a:lnTo>
                  <a:pt x="106" y="234"/>
                </a:lnTo>
                <a:lnTo>
                  <a:pt x="106" y="244"/>
                </a:lnTo>
                <a:lnTo>
                  <a:pt x="106" y="244"/>
                </a:lnTo>
                <a:lnTo>
                  <a:pt x="103" y="250"/>
                </a:lnTo>
                <a:lnTo>
                  <a:pt x="100" y="250"/>
                </a:lnTo>
                <a:lnTo>
                  <a:pt x="94" y="253"/>
                </a:lnTo>
                <a:lnTo>
                  <a:pt x="94" y="253"/>
                </a:lnTo>
                <a:lnTo>
                  <a:pt x="94" y="250"/>
                </a:lnTo>
                <a:lnTo>
                  <a:pt x="87" y="247"/>
                </a:lnTo>
                <a:lnTo>
                  <a:pt x="84" y="247"/>
                </a:lnTo>
                <a:lnTo>
                  <a:pt x="84" y="244"/>
                </a:lnTo>
                <a:lnTo>
                  <a:pt x="78" y="241"/>
                </a:lnTo>
                <a:lnTo>
                  <a:pt x="78" y="238"/>
                </a:lnTo>
                <a:lnTo>
                  <a:pt x="75" y="234"/>
                </a:lnTo>
                <a:lnTo>
                  <a:pt x="75" y="228"/>
                </a:lnTo>
                <a:lnTo>
                  <a:pt x="72" y="228"/>
                </a:lnTo>
                <a:lnTo>
                  <a:pt x="69" y="228"/>
                </a:lnTo>
                <a:lnTo>
                  <a:pt x="69" y="228"/>
                </a:lnTo>
                <a:lnTo>
                  <a:pt x="65" y="228"/>
                </a:lnTo>
                <a:lnTo>
                  <a:pt x="62" y="228"/>
                </a:lnTo>
                <a:lnTo>
                  <a:pt x="62" y="225"/>
                </a:lnTo>
                <a:lnTo>
                  <a:pt x="56" y="219"/>
                </a:lnTo>
                <a:lnTo>
                  <a:pt x="53" y="219"/>
                </a:lnTo>
                <a:lnTo>
                  <a:pt x="44" y="216"/>
                </a:lnTo>
                <a:lnTo>
                  <a:pt x="40" y="216"/>
                </a:lnTo>
                <a:lnTo>
                  <a:pt x="28" y="219"/>
                </a:lnTo>
                <a:lnTo>
                  <a:pt x="19" y="222"/>
                </a:lnTo>
                <a:lnTo>
                  <a:pt x="15" y="225"/>
                </a:lnTo>
                <a:lnTo>
                  <a:pt x="12" y="225"/>
                </a:lnTo>
                <a:lnTo>
                  <a:pt x="9" y="228"/>
                </a:lnTo>
                <a:lnTo>
                  <a:pt x="9" y="219"/>
                </a:lnTo>
                <a:lnTo>
                  <a:pt x="12" y="206"/>
                </a:lnTo>
                <a:lnTo>
                  <a:pt x="19" y="200"/>
                </a:lnTo>
                <a:lnTo>
                  <a:pt x="19" y="188"/>
                </a:lnTo>
                <a:lnTo>
                  <a:pt x="15" y="166"/>
                </a:lnTo>
                <a:lnTo>
                  <a:pt x="9" y="156"/>
                </a:lnTo>
                <a:lnTo>
                  <a:pt x="12" y="156"/>
                </a:lnTo>
                <a:lnTo>
                  <a:pt x="15" y="156"/>
                </a:lnTo>
                <a:lnTo>
                  <a:pt x="15" y="150"/>
                </a:lnTo>
                <a:lnTo>
                  <a:pt x="15" y="144"/>
                </a:lnTo>
                <a:lnTo>
                  <a:pt x="15" y="144"/>
                </a:lnTo>
                <a:lnTo>
                  <a:pt x="12" y="134"/>
                </a:lnTo>
                <a:lnTo>
                  <a:pt x="9" y="138"/>
                </a:lnTo>
                <a:lnTo>
                  <a:pt x="6" y="134"/>
                </a:lnTo>
                <a:lnTo>
                  <a:pt x="6" y="131"/>
                </a:lnTo>
                <a:lnTo>
                  <a:pt x="0" y="134"/>
                </a:lnTo>
                <a:lnTo>
                  <a:pt x="0" y="128"/>
                </a:lnTo>
                <a:lnTo>
                  <a:pt x="3" y="125"/>
                </a:lnTo>
                <a:lnTo>
                  <a:pt x="3" y="122"/>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0" name="Freeform 118">
            <a:extLst>
              <a:ext uri="{FF2B5EF4-FFF2-40B4-BE49-F238E27FC236}">
                <a16:creationId xmlns:a16="http://schemas.microsoft.com/office/drawing/2014/main" id="{71C38E70-D65E-47CF-03BC-BE49FD036274}"/>
              </a:ext>
            </a:extLst>
          </p:cNvPr>
          <p:cNvSpPr>
            <a:spLocks/>
          </p:cNvSpPr>
          <p:nvPr userDrawn="1"/>
        </p:nvSpPr>
        <p:spPr bwMode="auto">
          <a:xfrm>
            <a:off x="12426139" y="7778032"/>
            <a:ext cx="1019110" cy="942976"/>
          </a:xfrm>
          <a:custGeom>
            <a:avLst/>
            <a:gdLst>
              <a:gd name="T0" fmla="*/ 9 w 321"/>
              <a:gd name="T1" fmla="*/ 203 h 297"/>
              <a:gd name="T2" fmla="*/ 12 w 321"/>
              <a:gd name="T3" fmla="*/ 187 h 297"/>
              <a:gd name="T4" fmla="*/ 25 w 321"/>
              <a:gd name="T5" fmla="*/ 191 h 297"/>
              <a:gd name="T6" fmla="*/ 34 w 321"/>
              <a:gd name="T7" fmla="*/ 191 h 297"/>
              <a:gd name="T8" fmla="*/ 50 w 321"/>
              <a:gd name="T9" fmla="*/ 194 h 297"/>
              <a:gd name="T10" fmla="*/ 56 w 321"/>
              <a:gd name="T11" fmla="*/ 191 h 297"/>
              <a:gd name="T12" fmla="*/ 131 w 321"/>
              <a:gd name="T13" fmla="*/ 194 h 297"/>
              <a:gd name="T14" fmla="*/ 115 w 321"/>
              <a:gd name="T15" fmla="*/ 0 h 297"/>
              <a:gd name="T16" fmla="*/ 271 w 321"/>
              <a:gd name="T17" fmla="*/ 94 h 297"/>
              <a:gd name="T18" fmla="*/ 287 w 321"/>
              <a:gd name="T19" fmla="*/ 100 h 297"/>
              <a:gd name="T20" fmla="*/ 300 w 321"/>
              <a:gd name="T21" fmla="*/ 109 h 297"/>
              <a:gd name="T22" fmla="*/ 300 w 321"/>
              <a:gd name="T23" fmla="*/ 122 h 297"/>
              <a:gd name="T24" fmla="*/ 321 w 321"/>
              <a:gd name="T25" fmla="*/ 119 h 297"/>
              <a:gd name="T26" fmla="*/ 318 w 321"/>
              <a:gd name="T27" fmla="*/ 175 h 297"/>
              <a:gd name="T28" fmla="*/ 312 w 321"/>
              <a:gd name="T29" fmla="*/ 187 h 297"/>
              <a:gd name="T30" fmla="*/ 290 w 321"/>
              <a:gd name="T31" fmla="*/ 197 h 297"/>
              <a:gd name="T32" fmla="*/ 275 w 321"/>
              <a:gd name="T33" fmla="*/ 200 h 297"/>
              <a:gd name="T34" fmla="*/ 250 w 321"/>
              <a:gd name="T35" fmla="*/ 203 h 297"/>
              <a:gd name="T36" fmla="*/ 243 w 321"/>
              <a:gd name="T37" fmla="*/ 203 h 297"/>
              <a:gd name="T38" fmla="*/ 231 w 321"/>
              <a:gd name="T39" fmla="*/ 200 h 297"/>
              <a:gd name="T40" fmla="*/ 209 w 321"/>
              <a:gd name="T41" fmla="*/ 209 h 297"/>
              <a:gd name="T42" fmla="*/ 181 w 321"/>
              <a:gd name="T43" fmla="*/ 228 h 297"/>
              <a:gd name="T44" fmla="*/ 162 w 321"/>
              <a:gd name="T45" fmla="*/ 231 h 297"/>
              <a:gd name="T46" fmla="*/ 156 w 321"/>
              <a:gd name="T47" fmla="*/ 244 h 297"/>
              <a:gd name="T48" fmla="*/ 146 w 321"/>
              <a:gd name="T49" fmla="*/ 263 h 297"/>
              <a:gd name="T50" fmla="*/ 137 w 321"/>
              <a:gd name="T51" fmla="*/ 272 h 297"/>
              <a:gd name="T52" fmla="*/ 134 w 321"/>
              <a:gd name="T53" fmla="*/ 281 h 297"/>
              <a:gd name="T54" fmla="*/ 134 w 321"/>
              <a:gd name="T55" fmla="*/ 291 h 297"/>
              <a:gd name="T56" fmla="*/ 121 w 321"/>
              <a:gd name="T57" fmla="*/ 294 h 297"/>
              <a:gd name="T58" fmla="*/ 112 w 321"/>
              <a:gd name="T59" fmla="*/ 294 h 297"/>
              <a:gd name="T60" fmla="*/ 103 w 321"/>
              <a:gd name="T61" fmla="*/ 294 h 297"/>
              <a:gd name="T62" fmla="*/ 87 w 321"/>
              <a:gd name="T63" fmla="*/ 297 h 297"/>
              <a:gd name="T64" fmla="*/ 81 w 321"/>
              <a:gd name="T65" fmla="*/ 291 h 297"/>
              <a:gd name="T66" fmla="*/ 81 w 321"/>
              <a:gd name="T67" fmla="*/ 284 h 297"/>
              <a:gd name="T68" fmla="*/ 71 w 321"/>
              <a:gd name="T69" fmla="*/ 288 h 297"/>
              <a:gd name="T70" fmla="*/ 78 w 321"/>
              <a:gd name="T71" fmla="*/ 275 h 297"/>
              <a:gd name="T72" fmla="*/ 71 w 321"/>
              <a:gd name="T73" fmla="*/ 266 h 297"/>
              <a:gd name="T74" fmla="*/ 65 w 321"/>
              <a:gd name="T75" fmla="*/ 256 h 297"/>
              <a:gd name="T76" fmla="*/ 56 w 321"/>
              <a:gd name="T77" fmla="*/ 256 h 297"/>
              <a:gd name="T78" fmla="*/ 43 w 321"/>
              <a:gd name="T79" fmla="*/ 263 h 297"/>
              <a:gd name="T80" fmla="*/ 31 w 321"/>
              <a:gd name="T81" fmla="*/ 263 h 297"/>
              <a:gd name="T82" fmla="*/ 21 w 321"/>
              <a:gd name="T83" fmla="*/ 263 h 297"/>
              <a:gd name="T84" fmla="*/ 25 w 321"/>
              <a:gd name="T85" fmla="*/ 256 h 297"/>
              <a:gd name="T86" fmla="*/ 18 w 321"/>
              <a:gd name="T87" fmla="*/ 247 h 297"/>
              <a:gd name="T88" fmla="*/ 15 w 321"/>
              <a:gd name="T89" fmla="*/ 241 h 297"/>
              <a:gd name="T90" fmla="*/ 9 w 321"/>
              <a:gd name="T91" fmla="*/ 238 h 297"/>
              <a:gd name="T92" fmla="*/ 3 w 321"/>
              <a:gd name="T93" fmla="*/ 225 h 297"/>
              <a:gd name="T94" fmla="*/ 3 w 321"/>
              <a:gd name="T95" fmla="*/ 209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1" h="297">
                <a:moveTo>
                  <a:pt x="0" y="206"/>
                </a:moveTo>
                <a:lnTo>
                  <a:pt x="6" y="203"/>
                </a:lnTo>
                <a:lnTo>
                  <a:pt x="9" y="203"/>
                </a:lnTo>
                <a:lnTo>
                  <a:pt x="12" y="197"/>
                </a:lnTo>
                <a:lnTo>
                  <a:pt x="12" y="197"/>
                </a:lnTo>
                <a:lnTo>
                  <a:pt x="12" y="187"/>
                </a:lnTo>
                <a:lnTo>
                  <a:pt x="18" y="187"/>
                </a:lnTo>
                <a:lnTo>
                  <a:pt x="25" y="187"/>
                </a:lnTo>
                <a:lnTo>
                  <a:pt x="25" y="191"/>
                </a:lnTo>
                <a:lnTo>
                  <a:pt x="28" y="197"/>
                </a:lnTo>
                <a:lnTo>
                  <a:pt x="28" y="200"/>
                </a:lnTo>
                <a:lnTo>
                  <a:pt x="34" y="191"/>
                </a:lnTo>
                <a:lnTo>
                  <a:pt x="43" y="184"/>
                </a:lnTo>
                <a:lnTo>
                  <a:pt x="50" y="187"/>
                </a:lnTo>
                <a:lnTo>
                  <a:pt x="50" y="194"/>
                </a:lnTo>
                <a:lnTo>
                  <a:pt x="50" y="194"/>
                </a:lnTo>
                <a:lnTo>
                  <a:pt x="53" y="191"/>
                </a:lnTo>
                <a:lnTo>
                  <a:pt x="56" y="191"/>
                </a:lnTo>
                <a:lnTo>
                  <a:pt x="59" y="194"/>
                </a:lnTo>
                <a:lnTo>
                  <a:pt x="62" y="194"/>
                </a:lnTo>
                <a:lnTo>
                  <a:pt x="131" y="194"/>
                </a:lnTo>
                <a:lnTo>
                  <a:pt x="137" y="178"/>
                </a:lnTo>
                <a:lnTo>
                  <a:pt x="131" y="172"/>
                </a:lnTo>
                <a:lnTo>
                  <a:pt x="115" y="0"/>
                </a:lnTo>
                <a:lnTo>
                  <a:pt x="140" y="0"/>
                </a:lnTo>
                <a:lnTo>
                  <a:pt x="268" y="84"/>
                </a:lnTo>
                <a:lnTo>
                  <a:pt x="271" y="94"/>
                </a:lnTo>
                <a:lnTo>
                  <a:pt x="275" y="97"/>
                </a:lnTo>
                <a:lnTo>
                  <a:pt x="281" y="97"/>
                </a:lnTo>
                <a:lnTo>
                  <a:pt x="287" y="100"/>
                </a:lnTo>
                <a:lnTo>
                  <a:pt x="290" y="103"/>
                </a:lnTo>
                <a:lnTo>
                  <a:pt x="296" y="106"/>
                </a:lnTo>
                <a:lnTo>
                  <a:pt x="300" y="109"/>
                </a:lnTo>
                <a:lnTo>
                  <a:pt x="300" y="112"/>
                </a:lnTo>
                <a:lnTo>
                  <a:pt x="296" y="119"/>
                </a:lnTo>
                <a:lnTo>
                  <a:pt x="300" y="122"/>
                </a:lnTo>
                <a:lnTo>
                  <a:pt x="303" y="122"/>
                </a:lnTo>
                <a:lnTo>
                  <a:pt x="312" y="122"/>
                </a:lnTo>
                <a:lnTo>
                  <a:pt x="321" y="119"/>
                </a:lnTo>
                <a:lnTo>
                  <a:pt x="321" y="119"/>
                </a:lnTo>
                <a:lnTo>
                  <a:pt x="318" y="156"/>
                </a:lnTo>
                <a:lnTo>
                  <a:pt x="318" y="175"/>
                </a:lnTo>
                <a:lnTo>
                  <a:pt x="315" y="178"/>
                </a:lnTo>
                <a:lnTo>
                  <a:pt x="315" y="184"/>
                </a:lnTo>
                <a:lnTo>
                  <a:pt x="312" y="187"/>
                </a:lnTo>
                <a:lnTo>
                  <a:pt x="303" y="194"/>
                </a:lnTo>
                <a:lnTo>
                  <a:pt x="296" y="197"/>
                </a:lnTo>
                <a:lnTo>
                  <a:pt x="290" y="197"/>
                </a:lnTo>
                <a:lnTo>
                  <a:pt x="287" y="200"/>
                </a:lnTo>
                <a:lnTo>
                  <a:pt x="281" y="200"/>
                </a:lnTo>
                <a:lnTo>
                  <a:pt x="275" y="200"/>
                </a:lnTo>
                <a:lnTo>
                  <a:pt x="268" y="203"/>
                </a:lnTo>
                <a:lnTo>
                  <a:pt x="262" y="203"/>
                </a:lnTo>
                <a:lnTo>
                  <a:pt x="250" y="203"/>
                </a:lnTo>
                <a:lnTo>
                  <a:pt x="246" y="203"/>
                </a:lnTo>
                <a:lnTo>
                  <a:pt x="246" y="203"/>
                </a:lnTo>
                <a:lnTo>
                  <a:pt x="243" y="203"/>
                </a:lnTo>
                <a:lnTo>
                  <a:pt x="240" y="203"/>
                </a:lnTo>
                <a:lnTo>
                  <a:pt x="234" y="200"/>
                </a:lnTo>
                <a:lnTo>
                  <a:pt x="231" y="200"/>
                </a:lnTo>
                <a:lnTo>
                  <a:pt x="221" y="203"/>
                </a:lnTo>
                <a:lnTo>
                  <a:pt x="215" y="206"/>
                </a:lnTo>
                <a:lnTo>
                  <a:pt x="209" y="209"/>
                </a:lnTo>
                <a:lnTo>
                  <a:pt x="193" y="219"/>
                </a:lnTo>
                <a:lnTo>
                  <a:pt x="184" y="225"/>
                </a:lnTo>
                <a:lnTo>
                  <a:pt x="181" y="228"/>
                </a:lnTo>
                <a:lnTo>
                  <a:pt x="171" y="231"/>
                </a:lnTo>
                <a:lnTo>
                  <a:pt x="168" y="231"/>
                </a:lnTo>
                <a:lnTo>
                  <a:pt x="162" y="231"/>
                </a:lnTo>
                <a:lnTo>
                  <a:pt x="162" y="234"/>
                </a:lnTo>
                <a:lnTo>
                  <a:pt x="159" y="234"/>
                </a:lnTo>
                <a:lnTo>
                  <a:pt x="156" y="244"/>
                </a:lnTo>
                <a:lnTo>
                  <a:pt x="156" y="247"/>
                </a:lnTo>
                <a:lnTo>
                  <a:pt x="150" y="253"/>
                </a:lnTo>
                <a:lnTo>
                  <a:pt x="146" y="263"/>
                </a:lnTo>
                <a:lnTo>
                  <a:pt x="140" y="266"/>
                </a:lnTo>
                <a:lnTo>
                  <a:pt x="137" y="269"/>
                </a:lnTo>
                <a:lnTo>
                  <a:pt x="137" y="272"/>
                </a:lnTo>
                <a:lnTo>
                  <a:pt x="140" y="278"/>
                </a:lnTo>
                <a:lnTo>
                  <a:pt x="134" y="278"/>
                </a:lnTo>
                <a:lnTo>
                  <a:pt x="134" y="281"/>
                </a:lnTo>
                <a:lnTo>
                  <a:pt x="137" y="284"/>
                </a:lnTo>
                <a:lnTo>
                  <a:pt x="134" y="291"/>
                </a:lnTo>
                <a:lnTo>
                  <a:pt x="134" y="291"/>
                </a:lnTo>
                <a:lnTo>
                  <a:pt x="131" y="297"/>
                </a:lnTo>
                <a:lnTo>
                  <a:pt x="125" y="297"/>
                </a:lnTo>
                <a:lnTo>
                  <a:pt x="121" y="294"/>
                </a:lnTo>
                <a:lnTo>
                  <a:pt x="121" y="291"/>
                </a:lnTo>
                <a:lnTo>
                  <a:pt x="118" y="291"/>
                </a:lnTo>
                <a:lnTo>
                  <a:pt x="112" y="294"/>
                </a:lnTo>
                <a:lnTo>
                  <a:pt x="112" y="294"/>
                </a:lnTo>
                <a:lnTo>
                  <a:pt x="109" y="297"/>
                </a:lnTo>
                <a:lnTo>
                  <a:pt x="103" y="294"/>
                </a:lnTo>
                <a:lnTo>
                  <a:pt x="96" y="294"/>
                </a:lnTo>
                <a:lnTo>
                  <a:pt x="93" y="294"/>
                </a:lnTo>
                <a:lnTo>
                  <a:pt x="87" y="297"/>
                </a:lnTo>
                <a:lnTo>
                  <a:pt x="87" y="294"/>
                </a:lnTo>
                <a:lnTo>
                  <a:pt x="87" y="291"/>
                </a:lnTo>
                <a:lnTo>
                  <a:pt x="81" y="291"/>
                </a:lnTo>
                <a:lnTo>
                  <a:pt x="81" y="291"/>
                </a:lnTo>
                <a:lnTo>
                  <a:pt x="81" y="288"/>
                </a:lnTo>
                <a:lnTo>
                  <a:pt x="81" y="284"/>
                </a:lnTo>
                <a:lnTo>
                  <a:pt x="78" y="284"/>
                </a:lnTo>
                <a:lnTo>
                  <a:pt x="75" y="284"/>
                </a:lnTo>
                <a:lnTo>
                  <a:pt x="71" y="288"/>
                </a:lnTo>
                <a:lnTo>
                  <a:pt x="75" y="281"/>
                </a:lnTo>
                <a:lnTo>
                  <a:pt x="78" y="275"/>
                </a:lnTo>
                <a:lnTo>
                  <a:pt x="78" y="275"/>
                </a:lnTo>
                <a:lnTo>
                  <a:pt x="71" y="272"/>
                </a:lnTo>
                <a:lnTo>
                  <a:pt x="71" y="272"/>
                </a:lnTo>
                <a:lnTo>
                  <a:pt x="71" y="266"/>
                </a:lnTo>
                <a:lnTo>
                  <a:pt x="71" y="263"/>
                </a:lnTo>
                <a:lnTo>
                  <a:pt x="65" y="259"/>
                </a:lnTo>
                <a:lnTo>
                  <a:pt x="65" y="256"/>
                </a:lnTo>
                <a:lnTo>
                  <a:pt x="62" y="256"/>
                </a:lnTo>
                <a:lnTo>
                  <a:pt x="59" y="259"/>
                </a:lnTo>
                <a:lnTo>
                  <a:pt x="56" y="256"/>
                </a:lnTo>
                <a:lnTo>
                  <a:pt x="50" y="256"/>
                </a:lnTo>
                <a:lnTo>
                  <a:pt x="46" y="263"/>
                </a:lnTo>
                <a:lnTo>
                  <a:pt x="43" y="263"/>
                </a:lnTo>
                <a:lnTo>
                  <a:pt x="40" y="266"/>
                </a:lnTo>
                <a:lnTo>
                  <a:pt x="37" y="266"/>
                </a:lnTo>
                <a:lnTo>
                  <a:pt x="31" y="263"/>
                </a:lnTo>
                <a:lnTo>
                  <a:pt x="28" y="263"/>
                </a:lnTo>
                <a:lnTo>
                  <a:pt x="25" y="263"/>
                </a:lnTo>
                <a:lnTo>
                  <a:pt x="21" y="263"/>
                </a:lnTo>
                <a:lnTo>
                  <a:pt x="21" y="263"/>
                </a:lnTo>
                <a:lnTo>
                  <a:pt x="25" y="259"/>
                </a:lnTo>
                <a:lnTo>
                  <a:pt x="25" y="256"/>
                </a:lnTo>
                <a:lnTo>
                  <a:pt x="18" y="253"/>
                </a:lnTo>
                <a:lnTo>
                  <a:pt x="18" y="250"/>
                </a:lnTo>
                <a:lnTo>
                  <a:pt x="18" y="247"/>
                </a:lnTo>
                <a:lnTo>
                  <a:pt x="18" y="247"/>
                </a:lnTo>
                <a:lnTo>
                  <a:pt x="15" y="244"/>
                </a:lnTo>
                <a:lnTo>
                  <a:pt x="15" y="241"/>
                </a:lnTo>
                <a:lnTo>
                  <a:pt x="12" y="238"/>
                </a:lnTo>
                <a:lnTo>
                  <a:pt x="12" y="238"/>
                </a:lnTo>
                <a:lnTo>
                  <a:pt x="9" y="238"/>
                </a:lnTo>
                <a:lnTo>
                  <a:pt x="6" y="231"/>
                </a:lnTo>
                <a:lnTo>
                  <a:pt x="3" y="228"/>
                </a:lnTo>
                <a:lnTo>
                  <a:pt x="3" y="225"/>
                </a:lnTo>
                <a:lnTo>
                  <a:pt x="3" y="216"/>
                </a:lnTo>
                <a:lnTo>
                  <a:pt x="3" y="213"/>
                </a:lnTo>
                <a:lnTo>
                  <a:pt x="3" y="209"/>
                </a:lnTo>
                <a:lnTo>
                  <a:pt x="0" y="206"/>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1" name="Freeform 119">
            <a:extLst>
              <a:ext uri="{FF2B5EF4-FFF2-40B4-BE49-F238E27FC236}">
                <a16:creationId xmlns:a16="http://schemas.microsoft.com/office/drawing/2014/main" id="{F41BA9EA-3123-4343-6262-66564A7208E8}"/>
              </a:ext>
            </a:extLst>
          </p:cNvPr>
          <p:cNvSpPr>
            <a:spLocks/>
          </p:cNvSpPr>
          <p:nvPr userDrawn="1"/>
        </p:nvSpPr>
        <p:spPr bwMode="auto">
          <a:xfrm>
            <a:off x="12851565" y="8413033"/>
            <a:ext cx="476219" cy="346078"/>
          </a:xfrm>
          <a:custGeom>
            <a:avLst/>
            <a:gdLst>
              <a:gd name="T0" fmla="*/ 3 w 150"/>
              <a:gd name="T1" fmla="*/ 84 h 109"/>
              <a:gd name="T2" fmla="*/ 0 w 150"/>
              <a:gd name="T3" fmla="*/ 78 h 109"/>
              <a:gd name="T4" fmla="*/ 3 w 150"/>
              <a:gd name="T5" fmla="*/ 72 h 109"/>
              <a:gd name="T6" fmla="*/ 6 w 150"/>
              <a:gd name="T7" fmla="*/ 66 h 109"/>
              <a:gd name="T8" fmla="*/ 16 w 150"/>
              <a:gd name="T9" fmla="*/ 53 h 109"/>
              <a:gd name="T10" fmla="*/ 22 w 150"/>
              <a:gd name="T11" fmla="*/ 44 h 109"/>
              <a:gd name="T12" fmla="*/ 28 w 150"/>
              <a:gd name="T13" fmla="*/ 34 h 109"/>
              <a:gd name="T14" fmla="*/ 34 w 150"/>
              <a:gd name="T15" fmla="*/ 31 h 109"/>
              <a:gd name="T16" fmla="*/ 47 w 150"/>
              <a:gd name="T17" fmla="*/ 28 h 109"/>
              <a:gd name="T18" fmla="*/ 59 w 150"/>
              <a:gd name="T19" fmla="*/ 19 h 109"/>
              <a:gd name="T20" fmla="*/ 81 w 150"/>
              <a:gd name="T21" fmla="*/ 6 h 109"/>
              <a:gd name="T22" fmla="*/ 97 w 150"/>
              <a:gd name="T23" fmla="*/ 0 h 109"/>
              <a:gd name="T24" fmla="*/ 106 w 150"/>
              <a:gd name="T25" fmla="*/ 3 h 109"/>
              <a:gd name="T26" fmla="*/ 112 w 150"/>
              <a:gd name="T27" fmla="*/ 3 h 109"/>
              <a:gd name="T28" fmla="*/ 109 w 150"/>
              <a:gd name="T29" fmla="*/ 9 h 109"/>
              <a:gd name="T30" fmla="*/ 106 w 150"/>
              <a:gd name="T31" fmla="*/ 22 h 109"/>
              <a:gd name="T32" fmla="*/ 125 w 150"/>
              <a:gd name="T33" fmla="*/ 41 h 109"/>
              <a:gd name="T34" fmla="*/ 141 w 150"/>
              <a:gd name="T35" fmla="*/ 41 h 109"/>
              <a:gd name="T36" fmla="*/ 144 w 150"/>
              <a:gd name="T37" fmla="*/ 44 h 109"/>
              <a:gd name="T38" fmla="*/ 147 w 150"/>
              <a:gd name="T39" fmla="*/ 50 h 109"/>
              <a:gd name="T40" fmla="*/ 147 w 150"/>
              <a:gd name="T41" fmla="*/ 59 h 109"/>
              <a:gd name="T42" fmla="*/ 150 w 150"/>
              <a:gd name="T43" fmla="*/ 63 h 109"/>
              <a:gd name="T44" fmla="*/ 141 w 150"/>
              <a:gd name="T45" fmla="*/ 69 h 109"/>
              <a:gd name="T46" fmla="*/ 134 w 150"/>
              <a:gd name="T47" fmla="*/ 69 h 109"/>
              <a:gd name="T48" fmla="*/ 128 w 150"/>
              <a:gd name="T49" fmla="*/ 75 h 109"/>
              <a:gd name="T50" fmla="*/ 128 w 150"/>
              <a:gd name="T51" fmla="*/ 81 h 109"/>
              <a:gd name="T52" fmla="*/ 122 w 150"/>
              <a:gd name="T53" fmla="*/ 84 h 109"/>
              <a:gd name="T54" fmla="*/ 100 w 150"/>
              <a:gd name="T55" fmla="*/ 78 h 109"/>
              <a:gd name="T56" fmla="*/ 97 w 150"/>
              <a:gd name="T57" fmla="*/ 78 h 109"/>
              <a:gd name="T58" fmla="*/ 87 w 150"/>
              <a:gd name="T59" fmla="*/ 81 h 109"/>
              <a:gd name="T60" fmla="*/ 72 w 150"/>
              <a:gd name="T61" fmla="*/ 81 h 109"/>
              <a:gd name="T62" fmla="*/ 56 w 150"/>
              <a:gd name="T63" fmla="*/ 84 h 109"/>
              <a:gd name="T64" fmla="*/ 47 w 150"/>
              <a:gd name="T65" fmla="*/ 88 h 109"/>
              <a:gd name="T66" fmla="*/ 50 w 150"/>
              <a:gd name="T67" fmla="*/ 97 h 109"/>
              <a:gd name="T68" fmla="*/ 53 w 150"/>
              <a:gd name="T69" fmla="*/ 106 h 109"/>
              <a:gd name="T70" fmla="*/ 47 w 150"/>
              <a:gd name="T71" fmla="*/ 103 h 109"/>
              <a:gd name="T72" fmla="*/ 41 w 150"/>
              <a:gd name="T73" fmla="*/ 106 h 109"/>
              <a:gd name="T74" fmla="*/ 28 w 150"/>
              <a:gd name="T75" fmla="*/ 106 h 109"/>
              <a:gd name="T76" fmla="*/ 22 w 150"/>
              <a:gd name="T77" fmla="*/ 100 h 109"/>
              <a:gd name="T78" fmla="*/ 19 w 150"/>
              <a:gd name="T79" fmla="*/ 100 h 109"/>
              <a:gd name="T80" fmla="*/ 6 w 150"/>
              <a:gd name="T81" fmla="*/ 94 h 109"/>
              <a:gd name="T82" fmla="*/ 0 w 150"/>
              <a:gd name="T83" fmla="*/ 9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09">
                <a:moveTo>
                  <a:pt x="0" y="91"/>
                </a:moveTo>
                <a:lnTo>
                  <a:pt x="3" y="84"/>
                </a:lnTo>
                <a:lnTo>
                  <a:pt x="0" y="81"/>
                </a:lnTo>
                <a:lnTo>
                  <a:pt x="0" y="78"/>
                </a:lnTo>
                <a:lnTo>
                  <a:pt x="6" y="78"/>
                </a:lnTo>
                <a:lnTo>
                  <a:pt x="3" y="72"/>
                </a:lnTo>
                <a:lnTo>
                  <a:pt x="3" y="69"/>
                </a:lnTo>
                <a:lnTo>
                  <a:pt x="6" y="66"/>
                </a:lnTo>
                <a:lnTo>
                  <a:pt x="12" y="63"/>
                </a:lnTo>
                <a:lnTo>
                  <a:pt x="16" y="53"/>
                </a:lnTo>
                <a:lnTo>
                  <a:pt x="22" y="47"/>
                </a:lnTo>
                <a:lnTo>
                  <a:pt x="22" y="44"/>
                </a:lnTo>
                <a:lnTo>
                  <a:pt x="25" y="34"/>
                </a:lnTo>
                <a:lnTo>
                  <a:pt x="28" y="34"/>
                </a:lnTo>
                <a:lnTo>
                  <a:pt x="28" y="31"/>
                </a:lnTo>
                <a:lnTo>
                  <a:pt x="34" y="31"/>
                </a:lnTo>
                <a:lnTo>
                  <a:pt x="37" y="31"/>
                </a:lnTo>
                <a:lnTo>
                  <a:pt x="47" y="28"/>
                </a:lnTo>
                <a:lnTo>
                  <a:pt x="50" y="25"/>
                </a:lnTo>
                <a:lnTo>
                  <a:pt x="59" y="19"/>
                </a:lnTo>
                <a:lnTo>
                  <a:pt x="75" y="9"/>
                </a:lnTo>
                <a:lnTo>
                  <a:pt x="81" y="6"/>
                </a:lnTo>
                <a:lnTo>
                  <a:pt x="87" y="3"/>
                </a:lnTo>
                <a:lnTo>
                  <a:pt x="97" y="0"/>
                </a:lnTo>
                <a:lnTo>
                  <a:pt x="100" y="0"/>
                </a:lnTo>
                <a:lnTo>
                  <a:pt x="106" y="3"/>
                </a:lnTo>
                <a:lnTo>
                  <a:pt x="109" y="3"/>
                </a:lnTo>
                <a:lnTo>
                  <a:pt x="112" y="3"/>
                </a:lnTo>
                <a:lnTo>
                  <a:pt x="109" y="6"/>
                </a:lnTo>
                <a:lnTo>
                  <a:pt x="109" y="9"/>
                </a:lnTo>
                <a:lnTo>
                  <a:pt x="106" y="16"/>
                </a:lnTo>
                <a:lnTo>
                  <a:pt x="106" y="22"/>
                </a:lnTo>
                <a:lnTo>
                  <a:pt x="125" y="34"/>
                </a:lnTo>
                <a:lnTo>
                  <a:pt x="125" y="41"/>
                </a:lnTo>
                <a:lnTo>
                  <a:pt x="134" y="47"/>
                </a:lnTo>
                <a:lnTo>
                  <a:pt x="141" y="41"/>
                </a:lnTo>
                <a:lnTo>
                  <a:pt x="144" y="44"/>
                </a:lnTo>
                <a:lnTo>
                  <a:pt x="144" y="44"/>
                </a:lnTo>
                <a:lnTo>
                  <a:pt x="147" y="47"/>
                </a:lnTo>
                <a:lnTo>
                  <a:pt x="147" y="50"/>
                </a:lnTo>
                <a:lnTo>
                  <a:pt x="144" y="53"/>
                </a:lnTo>
                <a:lnTo>
                  <a:pt x="147" y="59"/>
                </a:lnTo>
                <a:lnTo>
                  <a:pt x="150" y="59"/>
                </a:lnTo>
                <a:lnTo>
                  <a:pt x="150" y="63"/>
                </a:lnTo>
                <a:lnTo>
                  <a:pt x="144" y="66"/>
                </a:lnTo>
                <a:lnTo>
                  <a:pt x="141" y="69"/>
                </a:lnTo>
                <a:lnTo>
                  <a:pt x="134" y="72"/>
                </a:lnTo>
                <a:lnTo>
                  <a:pt x="134" y="69"/>
                </a:lnTo>
                <a:lnTo>
                  <a:pt x="128" y="72"/>
                </a:lnTo>
                <a:lnTo>
                  <a:pt x="128" y="75"/>
                </a:lnTo>
                <a:lnTo>
                  <a:pt x="125" y="78"/>
                </a:lnTo>
                <a:lnTo>
                  <a:pt x="128" y="81"/>
                </a:lnTo>
                <a:lnTo>
                  <a:pt x="122" y="81"/>
                </a:lnTo>
                <a:lnTo>
                  <a:pt x="122" y="84"/>
                </a:lnTo>
                <a:lnTo>
                  <a:pt x="100" y="78"/>
                </a:lnTo>
                <a:lnTo>
                  <a:pt x="100" y="78"/>
                </a:lnTo>
                <a:lnTo>
                  <a:pt x="100" y="78"/>
                </a:lnTo>
                <a:lnTo>
                  <a:pt x="97" y="78"/>
                </a:lnTo>
                <a:lnTo>
                  <a:pt x="94" y="81"/>
                </a:lnTo>
                <a:lnTo>
                  <a:pt x="87" y="81"/>
                </a:lnTo>
                <a:lnTo>
                  <a:pt x="81" y="81"/>
                </a:lnTo>
                <a:lnTo>
                  <a:pt x="72" y="81"/>
                </a:lnTo>
                <a:lnTo>
                  <a:pt x="69" y="84"/>
                </a:lnTo>
                <a:lnTo>
                  <a:pt x="56" y="84"/>
                </a:lnTo>
                <a:lnTo>
                  <a:pt x="47" y="84"/>
                </a:lnTo>
                <a:lnTo>
                  <a:pt x="47" y="88"/>
                </a:lnTo>
                <a:lnTo>
                  <a:pt x="50" y="94"/>
                </a:lnTo>
                <a:lnTo>
                  <a:pt x="50" y="97"/>
                </a:lnTo>
                <a:lnTo>
                  <a:pt x="53" y="100"/>
                </a:lnTo>
                <a:lnTo>
                  <a:pt x="53" y="106"/>
                </a:lnTo>
                <a:lnTo>
                  <a:pt x="50" y="106"/>
                </a:lnTo>
                <a:lnTo>
                  <a:pt x="47" y="103"/>
                </a:lnTo>
                <a:lnTo>
                  <a:pt x="44" y="103"/>
                </a:lnTo>
                <a:lnTo>
                  <a:pt x="41" y="106"/>
                </a:lnTo>
                <a:lnTo>
                  <a:pt x="34" y="109"/>
                </a:lnTo>
                <a:lnTo>
                  <a:pt x="28" y="106"/>
                </a:lnTo>
                <a:lnTo>
                  <a:pt x="28" y="103"/>
                </a:lnTo>
                <a:lnTo>
                  <a:pt x="22" y="100"/>
                </a:lnTo>
                <a:lnTo>
                  <a:pt x="19" y="100"/>
                </a:lnTo>
                <a:lnTo>
                  <a:pt x="19" y="100"/>
                </a:lnTo>
                <a:lnTo>
                  <a:pt x="16" y="100"/>
                </a:lnTo>
                <a:lnTo>
                  <a:pt x="6" y="94"/>
                </a:lnTo>
                <a:lnTo>
                  <a:pt x="3" y="91"/>
                </a:lnTo>
                <a:lnTo>
                  <a:pt x="0" y="91"/>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2" name="Freeform 120">
            <a:extLst>
              <a:ext uri="{FF2B5EF4-FFF2-40B4-BE49-F238E27FC236}">
                <a16:creationId xmlns:a16="http://schemas.microsoft.com/office/drawing/2014/main" id="{4302D1DE-5C0F-9D2E-EF90-40F0AEB86807}"/>
              </a:ext>
            </a:extLst>
          </p:cNvPr>
          <p:cNvSpPr>
            <a:spLocks/>
          </p:cNvSpPr>
          <p:nvPr userDrawn="1"/>
        </p:nvSpPr>
        <p:spPr bwMode="auto">
          <a:xfrm>
            <a:off x="12095961" y="8314613"/>
            <a:ext cx="409549" cy="298450"/>
          </a:xfrm>
          <a:custGeom>
            <a:avLst/>
            <a:gdLst>
              <a:gd name="T0" fmla="*/ 22 w 129"/>
              <a:gd name="T1" fmla="*/ 9 h 94"/>
              <a:gd name="T2" fmla="*/ 29 w 129"/>
              <a:gd name="T3" fmla="*/ 6 h 94"/>
              <a:gd name="T4" fmla="*/ 50 w 129"/>
              <a:gd name="T5" fmla="*/ 0 h 94"/>
              <a:gd name="T6" fmla="*/ 63 w 129"/>
              <a:gd name="T7" fmla="*/ 3 h 94"/>
              <a:gd name="T8" fmla="*/ 72 w 129"/>
              <a:gd name="T9" fmla="*/ 9 h 94"/>
              <a:gd name="T10" fmla="*/ 75 w 129"/>
              <a:gd name="T11" fmla="*/ 12 h 94"/>
              <a:gd name="T12" fmla="*/ 79 w 129"/>
              <a:gd name="T13" fmla="*/ 12 h 94"/>
              <a:gd name="T14" fmla="*/ 85 w 129"/>
              <a:gd name="T15" fmla="*/ 12 h 94"/>
              <a:gd name="T16" fmla="*/ 88 w 129"/>
              <a:gd name="T17" fmla="*/ 22 h 94"/>
              <a:gd name="T18" fmla="*/ 94 w 129"/>
              <a:gd name="T19" fmla="*/ 28 h 94"/>
              <a:gd name="T20" fmla="*/ 97 w 129"/>
              <a:gd name="T21" fmla="*/ 31 h 94"/>
              <a:gd name="T22" fmla="*/ 104 w 129"/>
              <a:gd name="T23" fmla="*/ 37 h 94"/>
              <a:gd name="T24" fmla="*/ 107 w 129"/>
              <a:gd name="T25" fmla="*/ 44 h 94"/>
              <a:gd name="T26" fmla="*/ 107 w 129"/>
              <a:gd name="T27" fmla="*/ 56 h 94"/>
              <a:gd name="T28" fmla="*/ 110 w 129"/>
              <a:gd name="T29" fmla="*/ 62 h 94"/>
              <a:gd name="T30" fmla="*/ 116 w 129"/>
              <a:gd name="T31" fmla="*/ 69 h 94"/>
              <a:gd name="T32" fmla="*/ 119 w 129"/>
              <a:gd name="T33" fmla="*/ 72 h 94"/>
              <a:gd name="T34" fmla="*/ 122 w 129"/>
              <a:gd name="T35" fmla="*/ 78 h 94"/>
              <a:gd name="T36" fmla="*/ 122 w 129"/>
              <a:gd name="T37" fmla="*/ 81 h 94"/>
              <a:gd name="T38" fmla="*/ 129 w 129"/>
              <a:gd name="T39" fmla="*/ 87 h 94"/>
              <a:gd name="T40" fmla="*/ 125 w 129"/>
              <a:gd name="T41" fmla="*/ 94 h 94"/>
              <a:gd name="T42" fmla="*/ 122 w 129"/>
              <a:gd name="T43" fmla="*/ 90 h 94"/>
              <a:gd name="T44" fmla="*/ 116 w 129"/>
              <a:gd name="T45" fmla="*/ 87 h 94"/>
              <a:gd name="T46" fmla="*/ 107 w 129"/>
              <a:gd name="T47" fmla="*/ 87 h 94"/>
              <a:gd name="T48" fmla="*/ 97 w 129"/>
              <a:gd name="T49" fmla="*/ 84 h 94"/>
              <a:gd name="T50" fmla="*/ 75 w 129"/>
              <a:gd name="T51" fmla="*/ 81 h 94"/>
              <a:gd name="T52" fmla="*/ 72 w 129"/>
              <a:gd name="T53" fmla="*/ 81 h 94"/>
              <a:gd name="T54" fmla="*/ 50 w 129"/>
              <a:gd name="T55" fmla="*/ 78 h 94"/>
              <a:gd name="T56" fmla="*/ 41 w 129"/>
              <a:gd name="T57" fmla="*/ 87 h 94"/>
              <a:gd name="T58" fmla="*/ 19 w 129"/>
              <a:gd name="T59" fmla="*/ 87 h 94"/>
              <a:gd name="T60" fmla="*/ 16 w 129"/>
              <a:gd name="T61" fmla="*/ 84 h 94"/>
              <a:gd name="T62" fmla="*/ 16 w 129"/>
              <a:gd name="T63" fmla="*/ 84 h 94"/>
              <a:gd name="T64" fmla="*/ 22 w 129"/>
              <a:gd name="T65" fmla="*/ 81 h 94"/>
              <a:gd name="T66" fmla="*/ 13 w 129"/>
              <a:gd name="T67" fmla="*/ 81 h 94"/>
              <a:gd name="T68" fmla="*/ 13 w 129"/>
              <a:gd name="T69" fmla="*/ 78 h 94"/>
              <a:gd name="T70" fmla="*/ 16 w 129"/>
              <a:gd name="T71" fmla="*/ 72 h 94"/>
              <a:gd name="T72" fmla="*/ 32 w 129"/>
              <a:gd name="T73" fmla="*/ 69 h 94"/>
              <a:gd name="T74" fmla="*/ 38 w 129"/>
              <a:gd name="T75" fmla="*/ 62 h 94"/>
              <a:gd name="T76" fmla="*/ 41 w 129"/>
              <a:gd name="T77" fmla="*/ 65 h 94"/>
              <a:gd name="T78" fmla="*/ 47 w 129"/>
              <a:gd name="T79" fmla="*/ 62 h 94"/>
              <a:gd name="T80" fmla="*/ 57 w 129"/>
              <a:gd name="T81" fmla="*/ 65 h 94"/>
              <a:gd name="T82" fmla="*/ 66 w 129"/>
              <a:gd name="T83" fmla="*/ 69 h 94"/>
              <a:gd name="T84" fmla="*/ 72 w 129"/>
              <a:gd name="T85" fmla="*/ 65 h 94"/>
              <a:gd name="T86" fmla="*/ 69 w 129"/>
              <a:gd name="T87" fmla="*/ 65 h 94"/>
              <a:gd name="T88" fmla="*/ 57 w 129"/>
              <a:gd name="T89" fmla="*/ 59 h 94"/>
              <a:gd name="T90" fmla="*/ 47 w 129"/>
              <a:gd name="T91" fmla="*/ 56 h 94"/>
              <a:gd name="T92" fmla="*/ 38 w 129"/>
              <a:gd name="T93" fmla="*/ 56 h 94"/>
              <a:gd name="T94" fmla="*/ 29 w 129"/>
              <a:gd name="T95" fmla="*/ 62 h 94"/>
              <a:gd name="T96" fmla="*/ 16 w 129"/>
              <a:gd name="T97" fmla="*/ 62 h 94"/>
              <a:gd name="T98" fmla="*/ 19 w 129"/>
              <a:gd name="T99" fmla="*/ 59 h 94"/>
              <a:gd name="T100" fmla="*/ 16 w 129"/>
              <a:gd name="T101" fmla="*/ 56 h 94"/>
              <a:gd name="T102" fmla="*/ 13 w 129"/>
              <a:gd name="T103" fmla="*/ 53 h 94"/>
              <a:gd name="T104" fmla="*/ 0 w 129"/>
              <a:gd name="T105" fmla="*/ 37 h 94"/>
              <a:gd name="T106" fmla="*/ 19 w 129"/>
              <a:gd name="T107" fmla="*/ 1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9" h="94">
                <a:moveTo>
                  <a:pt x="19" y="12"/>
                </a:moveTo>
                <a:lnTo>
                  <a:pt x="22" y="9"/>
                </a:lnTo>
                <a:lnTo>
                  <a:pt x="25" y="9"/>
                </a:lnTo>
                <a:lnTo>
                  <a:pt x="29" y="6"/>
                </a:lnTo>
                <a:lnTo>
                  <a:pt x="38" y="3"/>
                </a:lnTo>
                <a:lnTo>
                  <a:pt x="50" y="0"/>
                </a:lnTo>
                <a:lnTo>
                  <a:pt x="54" y="0"/>
                </a:lnTo>
                <a:lnTo>
                  <a:pt x="63" y="3"/>
                </a:lnTo>
                <a:lnTo>
                  <a:pt x="66" y="3"/>
                </a:lnTo>
                <a:lnTo>
                  <a:pt x="72" y="9"/>
                </a:lnTo>
                <a:lnTo>
                  <a:pt x="72" y="12"/>
                </a:lnTo>
                <a:lnTo>
                  <a:pt x="75" y="12"/>
                </a:lnTo>
                <a:lnTo>
                  <a:pt x="79" y="12"/>
                </a:lnTo>
                <a:lnTo>
                  <a:pt x="79" y="12"/>
                </a:lnTo>
                <a:lnTo>
                  <a:pt x="82" y="12"/>
                </a:lnTo>
                <a:lnTo>
                  <a:pt x="85" y="12"/>
                </a:lnTo>
                <a:lnTo>
                  <a:pt x="85" y="18"/>
                </a:lnTo>
                <a:lnTo>
                  <a:pt x="88" y="22"/>
                </a:lnTo>
                <a:lnTo>
                  <a:pt x="88" y="25"/>
                </a:lnTo>
                <a:lnTo>
                  <a:pt x="94" y="28"/>
                </a:lnTo>
                <a:lnTo>
                  <a:pt x="94" y="31"/>
                </a:lnTo>
                <a:lnTo>
                  <a:pt x="97" y="31"/>
                </a:lnTo>
                <a:lnTo>
                  <a:pt x="104" y="34"/>
                </a:lnTo>
                <a:lnTo>
                  <a:pt x="104" y="37"/>
                </a:lnTo>
                <a:lnTo>
                  <a:pt x="107" y="40"/>
                </a:lnTo>
                <a:lnTo>
                  <a:pt x="107" y="44"/>
                </a:lnTo>
                <a:lnTo>
                  <a:pt x="107" y="47"/>
                </a:lnTo>
                <a:lnTo>
                  <a:pt x="107" y="56"/>
                </a:lnTo>
                <a:lnTo>
                  <a:pt x="107" y="59"/>
                </a:lnTo>
                <a:lnTo>
                  <a:pt x="110" y="62"/>
                </a:lnTo>
                <a:lnTo>
                  <a:pt x="113" y="69"/>
                </a:lnTo>
                <a:lnTo>
                  <a:pt x="116" y="69"/>
                </a:lnTo>
                <a:lnTo>
                  <a:pt x="116" y="69"/>
                </a:lnTo>
                <a:lnTo>
                  <a:pt x="119" y="72"/>
                </a:lnTo>
                <a:lnTo>
                  <a:pt x="119" y="75"/>
                </a:lnTo>
                <a:lnTo>
                  <a:pt x="122" y="78"/>
                </a:lnTo>
                <a:lnTo>
                  <a:pt x="122" y="78"/>
                </a:lnTo>
                <a:lnTo>
                  <a:pt x="122" y="81"/>
                </a:lnTo>
                <a:lnTo>
                  <a:pt x="122" y="84"/>
                </a:lnTo>
                <a:lnTo>
                  <a:pt x="129" y="87"/>
                </a:lnTo>
                <a:lnTo>
                  <a:pt x="129" y="90"/>
                </a:lnTo>
                <a:lnTo>
                  <a:pt x="125" y="94"/>
                </a:lnTo>
                <a:lnTo>
                  <a:pt x="125" y="90"/>
                </a:lnTo>
                <a:lnTo>
                  <a:pt x="122" y="90"/>
                </a:lnTo>
                <a:lnTo>
                  <a:pt x="119" y="87"/>
                </a:lnTo>
                <a:lnTo>
                  <a:pt x="116" y="87"/>
                </a:lnTo>
                <a:lnTo>
                  <a:pt x="113" y="87"/>
                </a:lnTo>
                <a:lnTo>
                  <a:pt x="107" y="87"/>
                </a:lnTo>
                <a:lnTo>
                  <a:pt x="100" y="87"/>
                </a:lnTo>
                <a:lnTo>
                  <a:pt x="97" y="84"/>
                </a:lnTo>
                <a:lnTo>
                  <a:pt x="88" y="81"/>
                </a:lnTo>
                <a:lnTo>
                  <a:pt x="75" y="81"/>
                </a:lnTo>
                <a:lnTo>
                  <a:pt x="72" y="81"/>
                </a:lnTo>
                <a:lnTo>
                  <a:pt x="72" y="81"/>
                </a:lnTo>
                <a:lnTo>
                  <a:pt x="69" y="78"/>
                </a:lnTo>
                <a:lnTo>
                  <a:pt x="50" y="78"/>
                </a:lnTo>
                <a:lnTo>
                  <a:pt x="44" y="81"/>
                </a:lnTo>
                <a:lnTo>
                  <a:pt x="41" y="87"/>
                </a:lnTo>
                <a:lnTo>
                  <a:pt x="25" y="84"/>
                </a:lnTo>
                <a:lnTo>
                  <a:pt x="19" y="87"/>
                </a:lnTo>
                <a:lnTo>
                  <a:pt x="16" y="87"/>
                </a:lnTo>
                <a:lnTo>
                  <a:pt x="16" y="84"/>
                </a:lnTo>
                <a:lnTo>
                  <a:pt x="13" y="81"/>
                </a:lnTo>
                <a:lnTo>
                  <a:pt x="16" y="84"/>
                </a:lnTo>
                <a:lnTo>
                  <a:pt x="19" y="84"/>
                </a:lnTo>
                <a:lnTo>
                  <a:pt x="22" y="81"/>
                </a:lnTo>
                <a:lnTo>
                  <a:pt x="16" y="78"/>
                </a:lnTo>
                <a:lnTo>
                  <a:pt x="13" y="81"/>
                </a:lnTo>
                <a:lnTo>
                  <a:pt x="10" y="81"/>
                </a:lnTo>
                <a:lnTo>
                  <a:pt x="13" y="78"/>
                </a:lnTo>
                <a:lnTo>
                  <a:pt x="13" y="72"/>
                </a:lnTo>
                <a:lnTo>
                  <a:pt x="16" y="72"/>
                </a:lnTo>
                <a:lnTo>
                  <a:pt x="29" y="72"/>
                </a:lnTo>
                <a:lnTo>
                  <a:pt x="32" y="69"/>
                </a:lnTo>
                <a:lnTo>
                  <a:pt x="35" y="65"/>
                </a:lnTo>
                <a:lnTo>
                  <a:pt x="38" y="62"/>
                </a:lnTo>
                <a:lnTo>
                  <a:pt x="41" y="65"/>
                </a:lnTo>
                <a:lnTo>
                  <a:pt x="41" y="65"/>
                </a:lnTo>
                <a:lnTo>
                  <a:pt x="44" y="62"/>
                </a:lnTo>
                <a:lnTo>
                  <a:pt x="47" y="62"/>
                </a:lnTo>
                <a:lnTo>
                  <a:pt x="50" y="65"/>
                </a:lnTo>
                <a:lnTo>
                  <a:pt x="57" y="65"/>
                </a:lnTo>
                <a:lnTo>
                  <a:pt x="60" y="65"/>
                </a:lnTo>
                <a:lnTo>
                  <a:pt x="66" y="69"/>
                </a:lnTo>
                <a:lnTo>
                  <a:pt x="72" y="69"/>
                </a:lnTo>
                <a:lnTo>
                  <a:pt x="72" y="65"/>
                </a:lnTo>
                <a:lnTo>
                  <a:pt x="72" y="65"/>
                </a:lnTo>
                <a:lnTo>
                  <a:pt x="69" y="65"/>
                </a:lnTo>
                <a:lnTo>
                  <a:pt x="63" y="59"/>
                </a:lnTo>
                <a:lnTo>
                  <a:pt x="57" y="59"/>
                </a:lnTo>
                <a:lnTo>
                  <a:pt x="50" y="56"/>
                </a:lnTo>
                <a:lnTo>
                  <a:pt x="47" y="56"/>
                </a:lnTo>
                <a:lnTo>
                  <a:pt x="44" y="53"/>
                </a:lnTo>
                <a:lnTo>
                  <a:pt x="38" y="56"/>
                </a:lnTo>
                <a:lnTo>
                  <a:pt x="32" y="62"/>
                </a:lnTo>
                <a:lnTo>
                  <a:pt x="29" y="62"/>
                </a:lnTo>
                <a:lnTo>
                  <a:pt x="25" y="62"/>
                </a:lnTo>
                <a:lnTo>
                  <a:pt x="16" y="62"/>
                </a:lnTo>
                <a:lnTo>
                  <a:pt x="16" y="62"/>
                </a:lnTo>
                <a:lnTo>
                  <a:pt x="19" y="59"/>
                </a:lnTo>
                <a:lnTo>
                  <a:pt x="13" y="56"/>
                </a:lnTo>
                <a:lnTo>
                  <a:pt x="16" y="56"/>
                </a:lnTo>
                <a:lnTo>
                  <a:pt x="16" y="53"/>
                </a:lnTo>
                <a:lnTo>
                  <a:pt x="13" y="53"/>
                </a:lnTo>
                <a:lnTo>
                  <a:pt x="7" y="44"/>
                </a:lnTo>
                <a:lnTo>
                  <a:pt x="0" y="37"/>
                </a:lnTo>
                <a:lnTo>
                  <a:pt x="13" y="28"/>
                </a:lnTo>
                <a:lnTo>
                  <a:pt x="19" y="18"/>
                </a:lnTo>
                <a:lnTo>
                  <a:pt x="19" y="12"/>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3" name="Freeform 121">
            <a:extLst>
              <a:ext uri="{FF2B5EF4-FFF2-40B4-BE49-F238E27FC236}">
                <a16:creationId xmlns:a16="http://schemas.microsoft.com/office/drawing/2014/main" id="{96F1264B-D7F3-A9BF-CB18-4FBBF2D2D0B0}"/>
              </a:ext>
            </a:extLst>
          </p:cNvPr>
          <p:cNvSpPr>
            <a:spLocks/>
          </p:cNvSpPr>
          <p:nvPr userDrawn="1"/>
        </p:nvSpPr>
        <p:spPr bwMode="auto">
          <a:xfrm>
            <a:off x="12127712" y="8482885"/>
            <a:ext cx="196837" cy="60326"/>
          </a:xfrm>
          <a:custGeom>
            <a:avLst/>
            <a:gdLst>
              <a:gd name="T0" fmla="*/ 3 w 62"/>
              <a:gd name="T1" fmla="*/ 19 h 19"/>
              <a:gd name="T2" fmla="*/ 6 w 62"/>
              <a:gd name="T3" fmla="*/ 19 h 19"/>
              <a:gd name="T4" fmla="*/ 19 w 62"/>
              <a:gd name="T5" fmla="*/ 19 h 19"/>
              <a:gd name="T6" fmla="*/ 22 w 62"/>
              <a:gd name="T7" fmla="*/ 16 h 19"/>
              <a:gd name="T8" fmla="*/ 25 w 62"/>
              <a:gd name="T9" fmla="*/ 12 h 19"/>
              <a:gd name="T10" fmla="*/ 28 w 62"/>
              <a:gd name="T11" fmla="*/ 9 h 19"/>
              <a:gd name="T12" fmla="*/ 31 w 62"/>
              <a:gd name="T13" fmla="*/ 12 h 19"/>
              <a:gd name="T14" fmla="*/ 31 w 62"/>
              <a:gd name="T15" fmla="*/ 12 h 19"/>
              <a:gd name="T16" fmla="*/ 34 w 62"/>
              <a:gd name="T17" fmla="*/ 9 h 19"/>
              <a:gd name="T18" fmla="*/ 37 w 62"/>
              <a:gd name="T19" fmla="*/ 9 h 19"/>
              <a:gd name="T20" fmla="*/ 40 w 62"/>
              <a:gd name="T21" fmla="*/ 12 h 19"/>
              <a:gd name="T22" fmla="*/ 47 w 62"/>
              <a:gd name="T23" fmla="*/ 12 h 19"/>
              <a:gd name="T24" fmla="*/ 50 w 62"/>
              <a:gd name="T25" fmla="*/ 12 h 19"/>
              <a:gd name="T26" fmla="*/ 56 w 62"/>
              <a:gd name="T27" fmla="*/ 16 h 19"/>
              <a:gd name="T28" fmla="*/ 62 w 62"/>
              <a:gd name="T29" fmla="*/ 16 h 19"/>
              <a:gd name="T30" fmla="*/ 62 w 62"/>
              <a:gd name="T31" fmla="*/ 12 h 19"/>
              <a:gd name="T32" fmla="*/ 62 w 62"/>
              <a:gd name="T33" fmla="*/ 12 h 19"/>
              <a:gd name="T34" fmla="*/ 59 w 62"/>
              <a:gd name="T35" fmla="*/ 12 h 19"/>
              <a:gd name="T36" fmla="*/ 53 w 62"/>
              <a:gd name="T37" fmla="*/ 6 h 19"/>
              <a:gd name="T38" fmla="*/ 47 w 62"/>
              <a:gd name="T39" fmla="*/ 6 h 19"/>
              <a:gd name="T40" fmla="*/ 40 w 62"/>
              <a:gd name="T41" fmla="*/ 3 h 19"/>
              <a:gd name="T42" fmla="*/ 37 w 62"/>
              <a:gd name="T43" fmla="*/ 3 h 19"/>
              <a:gd name="T44" fmla="*/ 34 w 62"/>
              <a:gd name="T45" fmla="*/ 0 h 19"/>
              <a:gd name="T46" fmla="*/ 28 w 62"/>
              <a:gd name="T47" fmla="*/ 3 h 19"/>
              <a:gd name="T48" fmla="*/ 22 w 62"/>
              <a:gd name="T49" fmla="*/ 9 h 19"/>
              <a:gd name="T50" fmla="*/ 19 w 62"/>
              <a:gd name="T51" fmla="*/ 9 h 19"/>
              <a:gd name="T52" fmla="*/ 15 w 62"/>
              <a:gd name="T53" fmla="*/ 9 h 19"/>
              <a:gd name="T54" fmla="*/ 6 w 62"/>
              <a:gd name="T55" fmla="*/ 9 h 19"/>
              <a:gd name="T56" fmla="*/ 6 w 62"/>
              <a:gd name="T57" fmla="*/ 12 h 19"/>
              <a:gd name="T58" fmla="*/ 12 w 62"/>
              <a:gd name="T59" fmla="*/ 16 h 19"/>
              <a:gd name="T60" fmla="*/ 15 w 62"/>
              <a:gd name="T61" fmla="*/ 16 h 19"/>
              <a:gd name="T62" fmla="*/ 12 w 62"/>
              <a:gd name="T63" fmla="*/ 19 h 19"/>
              <a:gd name="T64" fmla="*/ 9 w 62"/>
              <a:gd name="T65" fmla="*/ 19 h 19"/>
              <a:gd name="T66" fmla="*/ 3 w 62"/>
              <a:gd name="T67" fmla="*/ 12 h 19"/>
              <a:gd name="T68" fmla="*/ 0 w 62"/>
              <a:gd name="T69" fmla="*/ 16 h 19"/>
              <a:gd name="T70" fmla="*/ 3 w 62"/>
              <a:gd name="T71" fmla="*/ 19 h 19"/>
              <a:gd name="T72" fmla="*/ 3 w 62"/>
              <a:gd name="T7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19">
                <a:moveTo>
                  <a:pt x="3" y="19"/>
                </a:moveTo>
                <a:lnTo>
                  <a:pt x="6" y="19"/>
                </a:lnTo>
                <a:lnTo>
                  <a:pt x="19" y="19"/>
                </a:lnTo>
                <a:lnTo>
                  <a:pt x="22" y="16"/>
                </a:lnTo>
                <a:lnTo>
                  <a:pt x="25" y="12"/>
                </a:lnTo>
                <a:lnTo>
                  <a:pt x="28" y="9"/>
                </a:lnTo>
                <a:lnTo>
                  <a:pt x="31" y="12"/>
                </a:lnTo>
                <a:lnTo>
                  <a:pt x="31" y="12"/>
                </a:lnTo>
                <a:lnTo>
                  <a:pt x="34" y="9"/>
                </a:lnTo>
                <a:lnTo>
                  <a:pt x="37" y="9"/>
                </a:lnTo>
                <a:lnTo>
                  <a:pt x="40" y="12"/>
                </a:lnTo>
                <a:lnTo>
                  <a:pt x="47" y="12"/>
                </a:lnTo>
                <a:lnTo>
                  <a:pt x="50" y="12"/>
                </a:lnTo>
                <a:lnTo>
                  <a:pt x="56" y="16"/>
                </a:lnTo>
                <a:lnTo>
                  <a:pt x="62" y="16"/>
                </a:lnTo>
                <a:lnTo>
                  <a:pt x="62" y="12"/>
                </a:lnTo>
                <a:lnTo>
                  <a:pt x="62" y="12"/>
                </a:lnTo>
                <a:lnTo>
                  <a:pt x="59" y="12"/>
                </a:lnTo>
                <a:lnTo>
                  <a:pt x="53" y="6"/>
                </a:lnTo>
                <a:lnTo>
                  <a:pt x="47" y="6"/>
                </a:lnTo>
                <a:lnTo>
                  <a:pt x="40" y="3"/>
                </a:lnTo>
                <a:lnTo>
                  <a:pt x="37" y="3"/>
                </a:lnTo>
                <a:lnTo>
                  <a:pt x="34" y="0"/>
                </a:lnTo>
                <a:lnTo>
                  <a:pt x="28" y="3"/>
                </a:lnTo>
                <a:lnTo>
                  <a:pt x="22" y="9"/>
                </a:lnTo>
                <a:lnTo>
                  <a:pt x="19" y="9"/>
                </a:lnTo>
                <a:lnTo>
                  <a:pt x="15" y="9"/>
                </a:lnTo>
                <a:lnTo>
                  <a:pt x="6" y="9"/>
                </a:lnTo>
                <a:lnTo>
                  <a:pt x="6" y="12"/>
                </a:lnTo>
                <a:lnTo>
                  <a:pt x="12" y="16"/>
                </a:lnTo>
                <a:lnTo>
                  <a:pt x="15" y="16"/>
                </a:lnTo>
                <a:lnTo>
                  <a:pt x="12" y="19"/>
                </a:lnTo>
                <a:lnTo>
                  <a:pt x="9" y="19"/>
                </a:lnTo>
                <a:lnTo>
                  <a:pt x="3" y="12"/>
                </a:lnTo>
                <a:lnTo>
                  <a:pt x="0" y="16"/>
                </a:lnTo>
                <a:lnTo>
                  <a:pt x="3" y="19"/>
                </a:lnTo>
                <a:lnTo>
                  <a:pt x="3" y="19"/>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4" name="Freeform 122">
            <a:extLst>
              <a:ext uri="{FF2B5EF4-FFF2-40B4-BE49-F238E27FC236}">
                <a16:creationId xmlns:a16="http://schemas.microsoft.com/office/drawing/2014/main" id="{FFE84A1A-5839-392D-3923-150B65C9DA21}"/>
              </a:ext>
            </a:extLst>
          </p:cNvPr>
          <p:cNvSpPr>
            <a:spLocks/>
          </p:cNvSpPr>
          <p:nvPr userDrawn="1"/>
        </p:nvSpPr>
        <p:spPr bwMode="auto">
          <a:xfrm>
            <a:off x="12146758" y="8562259"/>
            <a:ext cx="187314" cy="117478"/>
          </a:xfrm>
          <a:custGeom>
            <a:avLst/>
            <a:gdLst>
              <a:gd name="T0" fmla="*/ 0 w 59"/>
              <a:gd name="T1" fmla="*/ 9 h 37"/>
              <a:gd name="T2" fmla="*/ 3 w 59"/>
              <a:gd name="T3" fmla="*/ 9 h 37"/>
              <a:gd name="T4" fmla="*/ 9 w 59"/>
              <a:gd name="T5" fmla="*/ 6 h 37"/>
              <a:gd name="T6" fmla="*/ 25 w 59"/>
              <a:gd name="T7" fmla="*/ 9 h 37"/>
              <a:gd name="T8" fmla="*/ 28 w 59"/>
              <a:gd name="T9" fmla="*/ 3 h 37"/>
              <a:gd name="T10" fmla="*/ 34 w 59"/>
              <a:gd name="T11" fmla="*/ 0 h 37"/>
              <a:gd name="T12" fmla="*/ 53 w 59"/>
              <a:gd name="T13" fmla="*/ 0 h 37"/>
              <a:gd name="T14" fmla="*/ 56 w 59"/>
              <a:gd name="T15" fmla="*/ 3 h 37"/>
              <a:gd name="T16" fmla="*/ 56 w 59"/>
              <a:gd name="T17" fmla="*/ 9 h 37"/>
              <a:gd name="T18" fmla="*/ 56 w 59"/>
              <a:gd name="T19" fmla="*/ 12 h 37"/>
              <a:gd name="T20" fmla="*/ 56 w 59"/>
              <a:gd name="T21" fmla="*/ 19 h 37"/>
              <a:gd name="T22" fmla="*/ 59 w 59"/>
              <a:gd name="T23" fmla="*/ 22 h 37"/>
              <a:gd name="T24" fmla="*/ 59 w 59"/>
              <a:gd name="T25" fmla="*/ 25 h 37"/>
              <a:gd name="T26" fmla="*/ 56 w 59"/>
              <a:gd name="T27" fmla="*/ 28 h 37"/>
              <a:gd name="T28" fmla="*/ 50 w 59"/>
              <a:gd name="T29" fmla="*/ 28 h 37"/>
              <a:gd name="T30" fmla="*/ 44 w 59"/>
              <a:gd name="T31" fmla="*/ 31 h 37"/>
              <a:gd name="T32" fmla="*/ 41 w 59"/>
              <a:gd name="T33" fmla="*/ 31 h 37"/>
              <a:gd name="T34" fmla="*/ 38 w 59"/>
              <a:gd name="T35" fmla="*/ 37 h 37"/>
              <a:gd name="T36" fmla="*/ 31 w 59"/>
              <a:gd name="T37" fmla="*/ 37 h 37"/>
              <a:gd name="T38" fmla="*/ 31 w 59"/>
              <a:gd name="T39" fmla="*/ 37 h 37"/>
              <a:gd name="T40" fmla="*/ 31 w 59"/>
              <a:gd name="T41" fmla="*/ 34 h 37"/>
              <a:gd name="T42" fmla="*/ 25 w 59"/>
              <a:gd name="T43" fmla="*/ 34 h 37"/>
              <a:gd name="T44" fmla="*/ 28 w 59"/>
              <a:gd name="T45" fmla="*/ 28 h 37"/>
              <a:gd name="T46" fmla="*/ 25 w 59"/>
              <a:gd name="T47" fmla="*/ 28 h 37"/>
              <a:gd name="T48" fmla="*/ 28 w 59"/>
              <a:gd name="T49" fmla="*/ 28 h 37"/>
              <a:gd name="T50" fmla="*/ 25 w 59"/>
              <a:gd name="T51" fmla="*/ 25 h 37"/>
              <a:gd name="T52" fmla="*/ 22 w 59"/>
              <a:gd name="T53" fmla="*/ 25 h 37"/>
              <a:gd name="T54" fmla="*/ 22 w 59"/>
              <a:gd name="T55" fmla="*/ 25 h 37"/>
              <a:gd name="T56" fmla="*/ 31 w 59"/>
              <a:gd name="T57" fmla="*/ 22 h 37"/>
              <a:gd name="T58" fmla="*/ 31 w 59"/>
              <a:gd name="T59" fmla="*/ 22 h 37"/>
              <a:gd name="T60" fmla="*/ 28 w 59"/>
              <a:gd name="T61" fmla="*/ 19 h 37"/>
              <a:gd name="T62" fmla="*/ 22 w 59"/>
              <a:gd name="T63" fmla="*/ 19 h 37"/>
              <a:gd name="T64" fmla="*/ 19 w 59"/>
              <a:gd name="T65" fmla="*/ 22 h 37"/>
              <a:gd name="T66" fmla="*/ 16 w 59"/>
              <a:gd name="T67" fmla="*/ 22 h 37"/>
              <a:gd name="T68" fmla="*/ 13 w 59"/>
              <a:gd name="T69" fmla="*/ 19 h 37"/>
              <a:gd name="T70" fmla="*/ 9 w 59"/>
              <a:gd name="T71" fmla="*/ 19 h 37"/>
              <a:gd name="T72" fmla="*/ 6 w 59"/>
              <a:gd name="T73" fmla="*/ 16 h 37"/>
              <a:gd name="T74" fmla="*/ 9 w 59"/>
              <a:gd name="T75" fmla="*/ 12 h 37"/>
              <a:gd name="T76" fmla="*/ 6 w 59"/>
              <a:gd name="T77" fmla="*/ 12 h 37"/>
              <a:gd name="T78" fmla="*/ 0 w 59"/>
              <a:gd name="T79" fmla="*/ 12 h 37"/>
              <a:gd name="T80" fmla="*/ 0 w 59"/>
              <a:gd name="T81" fmla="*/ 9 h 37"/>
              <a:gd name="T82" fmla="*/ 0 w 59"/>
              <a:gd name="T83" fmla="*/ 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9" h="37">
                <a:moveTo>
                  <a:pt x="0" y="9"/>
                </a:moveTo>
                <a:lnTo>
                  <a:pt x="3" y="9"/>
                </a:lnTo>
                <a:lnTo>
                  <a:pt x="9" y="6"/>
                </a:lnTo>
                <a:lnTo>
                  <a:pt x="25" y="9"/>
                </a:lnTo>
                <a:lnTo>
                  <a:pt x="28" y="3"/>
                </a:lnTo>
                <a:lnTo>
                  <a:pt x="34" y="0"/>
                </a:lnTo>
                <a:lnTo>
                  <a:pt x="53" y="0"/>
                </a:lnTo>
                <a:lnTo>
                  <a:pt x="56" y="3"/>
                </a:lnTo>
                <a:lnTo>
                  <a:pt x="56" y="9"/>
                </a:lnTo>
                <a:lnTo>
                  <a:pt x="56" y="12"/>
                </a:lnTo>
                <a:lnTo>
                  <a:pt x="56" y="19"/>
                </a:lnTo>
                <a:lnTo>
                  <a:pt x="59" y="22"/>
                </a:lnTo>
                <a:lnTo>
                  <a:pt x="59" y="25"/>
                </a:lnTo>
                <a:lnTo>
                  <a:pt x="56" y="28"/>
                </a:lnTo>
                <a:lnTo>
                  <a:pt x="50" y="28"/>
                </a:lnTo>
                <a:lnTo>
                  <a:pt x="44" y="31"/>
                </a:lnTo>
                <a:lnTo>
                  <a:pt x="41" y="31"/>
                </a:lnTo>
                <a:lnTo>
                  <a:pt x="38" y="37"/>
                </a:lnTo>
                <a:lnTo>
                  <a:pt x="31" y="37"/>
                </a:lnTo>
                <a:lnTo>
                  <a:pt x="31" y="37"/>
                </a:lnTo>
                <a:lnTo>
                  <a:pt x="31" y="34"/>
                </a:lnTo>
                <a:lnTo>
                  <a:pt x="25" y="34"/>
                </a:lnTo>
                <a:lnTo>
                  <a:pt x="28" y="28"/>
                </a:lnTo>
                <a:lnTo>
                  <a:pt x="25" y="28"/>
                </a:lnTo>
                <a:lnTo>
                  <a:pt x="28" y="28"/>
                </a:lnTo>
                <a:lnTo>
                  <a:pt x="25" y="25"/>
                </a:lnTo>
                <a:lnTo>
                  <a:pt x="22" y="25"/>
                </a:lnTo>
                <a:lnTo>
                  <a:pt x="22" y="25"/>
                </a:lnTo>
                <a:lnTo>
                  <a:pt x="31" y="22"/>
                </a:lnTo>
                <a:lnTo>
                  <a:pt x="31" y="22"/>
                </a:lnTo>
                <a:lnTo>
                  <a:pt x="28" y="19"/>
                </a:lnTo>
                <a:lnTo>
                  <a:pt x="22" y="19"/>
                </a:lnTo>
                <a:lnTo>
                  <a:pt x="19" y="22"/>
                </a:lnTo>
                <a:lnTo>
                  <a:pt x="16" y="22"/>
                </a:lnTo>
                <a:lnTo>
                  <a:pt x="13" y="19"/>
                </a:lnTo>
                <a:lnTo>
                  <a:pt x="9" y="19"/>
                </a:lnTo>
                <a:lnTo>
                  <a:pt x="6" y="16"/>
                </a:lnTo>
                <a:lnTo>
                  <a:pt x="9" y="12"/>
                </a:lnTo>
                <a:lnTo>
                  <a:pt x="6" y="12"/>
                </a:lnTo>
                <a:lnTo>
                  <a:pt x="0" y="12"/>
                </a:lnTo>
                <a:lnTo>
                  <a:pt x="0" y="9"/>
                </a:lnTo>
                <a:lnTo>
                  <a:pt x="0" y="9"/>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5" name="Freeform 123">
            <a:extLst>
              <a:ext uri="{FF2B5EF4-FFF2-40B4-BE49-F238E27FC236}">
                <a16:creationId xmlns:a16="http://schemas.microsoft.com/office/drawing/2014/main" id="{7A6F06F7-CA01-4CB6-1480-85CF1CC468AB}"/>
              </a:ext>
            </a:extLst>
          </p:cNvPr>
          <p:cNvSpPr>
            <a:spLocks/>
          </p:cNvSpPr>
          <p:nvPr userDrawn="1"/>
        </p:nvSpPr>
        <p:spPr bwMode="auto">
          <a:xfrm>
            <a:off x="12267399" y="8571783"/>
            <a:ext cx="434948" cy="438150"/>
          </a:xfrm>
          <a:custGeom>
            <a:avLst/>
            <a:gdLst>
              <a:gd name="T0" fmla="*/ 3 w 137"/>
              <a:gd name="T1" fmla="*/ 28 h 138"/>
              <a:gd name="T2" fmla="*/ 12 w 137"/>
              <a:gd name="T3" fmla="*/ 25 h 138"/>
              <a:gd name="T4" fmla="*/ 21 w 137"/>
              <a:gd name="T5" fmla="*/ 22 h 138"/>
              <a:gd name="T6" fmla="*/ 18 w 137"/>
              <a:gd name="T7" fmla="*/ 16 h 138"/>
              <a:gd name="T8" fmla="*/ 18 w 137"/>
              <a:gd name="T9" fmla="*/ 6 h 138"/>
              <a:gd name="T10" fmla="*/ 21 w 137"/>
              <a:gd name="T11" fmla="*/ 0 h 138"/>
              <a:gd name="T12" fmla="*/ 43 w 137"/>
              <a:gd name="T13" fmla="*/ 3 h 138"/>
              <a:gd name="T14" fmla="*/ 53 w 137"/>
              <a:gd name="T15" fmla="*/ 6 h 138"/>
              <a:gd name="T16" fmla="*/ 62 w 137"/>
              <a:gd name="T17" fmla="*/ 6 h 138"/>
              <a:gd name="T18" fmla="*/ 68 w 137"/>
              <a:gd name="T19" fmla="*/ 9 h 138"/>
              <a:gd name="T20" fmla="*/ 71 w 137"/>
              <a:gd name="T21" fmla="*/ 13 h 138"/>
              <a:gd name="T22" fmla="*/ 78 w 137"/>
              <a:gd name="T23" fmla="*/ 13 h 138"/>
              <a:gd name="T24" fmla="*/ 87 w 137"/>
              <a:gd name="T25" fmla="*/ 16 h 138"/>
              <a:gd name="T26" fmla="*/ 93 w 137"/>
              <a:gd name="T27" fmla="*/ 13 h 138"/>
              <a:gd name="T28" fmla="*/ 100 w 137"/>
              <a:gd name="T29" fmla="*/ 6 h 138"/>
              <a:gd name="T30" fmla="*/ 109 w 137"/>
              <a:gd name="T31" fmla="*/ 9 h 138"/>
              <a:gd name="T32" fmla="*/ 115 w 137"/>
              <a:gd name="T33" fmla="*/ 6 h 138"/>
              <a:gd name="T34" fmla="*/ 121 w 137"/>
              <a:gd name="T35" fmla="*/ 13 h 138"/>
              <a:gd name="T36" fmla="*/ 121 w 137"/>
              <a:gd name="T37" fmla="*/ 22 h 138"/>
              <a:gd name="T38" fmla="*/ 128 w 137"/>
              <a:gd name="T39" fmla="*/ 25 h 138"/>
              <a:gd name="T40" fmla="*/ 125 w 137"/>
              <a:gd name="T41" fmla="*/ 31 h 138"/>
              <a:gd name="T42" fmla="*/ 125 w 137"/>
              <a:gd name="T43" fmla="*/ 34 h 138"/>
              <a:gd name="T44" fmla="*/ 131 w 137"/>
              <a:gd name="T45" fmla="*/ 34 h 138"/>
              <a:gd name="T46" fmla="*/ 131 w 137"/>
              <a:gd name="T47" fmla="*/ 41 h 138"/>
              <a:gd name="T48" fmla="*/ 137 w 137"/>
              <a:gd name="T49" fmla="*/ 41 h 138"/>
              <a:gd name="T50" fmla="*/ 137 w 137"/>
              <a:gd name="T51" fmla="*/ 47 h 138"/>
              <a:gd name="T52" fmla="*/ 131 w 137"/>
              <a:gd name="T53" fmla="*/ 50 h 138"/>
              <a:gd name="T54" fmla="*/ 131 w 137"/>
              <a:gd name="T55" fmla="*/ 56 h 138"/>
              <a:gd name="T56" fmla="*/ 131 w 137"/>
              <a:gd name="T57" fmla="*/ 66 h 138"/>
              <a:gd name="T58" fmla="*/ 134 w 137"/>
              <a:gd name="T59" fmla="*/ 75 h 138"/>
              <a:gd name="T60" fmla="*/ 134 w 137"/>
              <a:gd name="T61" fmla="*/ 81 h 138"/>
              <a:gd name="T62" fmla="*/ 131 w 137"/>
              <a:gd name="T63" fmla="*/ 81 h 138"/>
              <a:gd name="T64" fmla="*/ 134 w 137"/>
              <a:gd name="T65" fmla="*/ 91 h 138"/>
              <a:gd name="T66" fmla="*/ 134 w 137"/>
              <a:gd name="T67" fmla="*/ 97 h 138"/>
              <a:gd name="T68" fmla="*/ 125 w 137"/>
              <a:gd name="T69" fmla="*/ 110 h 138"/>
              <a:gd name="T70" fmla="*/ 125 w 137"/>
              <a:gd name="T71" fmla="*/ 116 h 138"/>
              <a:gd name="T72" fmla="*/ 121 w 137"/>
              <a:gd name="T73" fmla="*/ 125 h 138"/>
              <a:gd name="T74" fmla="*/ 90 w 137"/>
              <a:gd name="T75" fmla="*/ 138 h 138"/>
              <a:gd name="T76" fmla="*/ 81 w 137"/>
              <a:gd name="T77" fmla="*/ 131 h 138"/>
              <a:gd name="T78" fmla="*/ 71 w 137"/>
              <a:gd name="T79" fmla="*/ 122 h 138"/>
              <a:gd name="T80" fmla="*/ 71 w 137"/>
              <a:gd name="T81" fmla="*/ 119 h 138"/>
              <a:gd name="T82" fmla="*/ 84 w 137"/>
              <a:gd name="T83" fmla="*/ 88 h 138"/>
              <a:gd name="T84" fmla="*/ 81 w 137"/>
              <a:gd name="T85" fmla="*/ 85 h 138"/>
              <a:gd name="T86" fmla="*/ 84 w 137"/>
              <a:gd name="T87" fmla="*/ 78 h 138"/>
              <a:gd name="T88" fmla="*/ 81 w 137"/>
              <a:gd name="T89" fmla="*/ 72 h 138"/>
              <a:gd name="T90" fmla="*/ 75 w 137"/>
              <a:gd name="T91" fmla="*/ 59 h 138"/>
              <a:gd name="T92" fmla="*/ 71 w 137"/>
              <a:gd name="T93" fmla="*/ 53 h 138"/>
              <a:gd name="T94" fmla="*/ 50 w 137"/>
              <a:gd name="T95" fmla="*/ 53 h 138"/>
              <a:gd name="T96" fmla="*/ 40 w 137"/>
              <a:gd name="T97" fmla="*/ 63 h 138"/>
              <a:gd name="T98" fmla="*/ 34 w 137"/>
              <a:gd name="T99" fmla="*/ 69 h 138"/>
              <a:gd name="T100" fmla="*/ 28 w 137"/>
              <a:gd name="T101" fmla="*/ 66 h 138"/>
              <a:gd name="T102" fmla="*/ 21 w 137"/>
              <a:gd name="T103" fmla="*/ 56 h 138"/>
              <a:gd name="T104" fmla="*/ 15 w 137"/>
              <a:gd name="T105" fmla="*/ 56 h 138"/>
              <a:gd name="T106" fmla="*/ 18 w 137"/>
              <a:gd name="T107" fmla="*/ 50 h 138"/>
              <a:gd name="T108" fmla="*/ 12 w 137"/>
              <a:gd name="T109" fmla="*/ 53 h 138"/>
              <a:gd name="T110" fmla="*/ 6 w 137"/>
              <a:gd name="T111" fmla="*/ 50 h 138"/>
              <a:gd name="T112" fmla="*/ 3 w 137"/>
              <a:gd name="T113" fmla="*/ 38 h 138"/>
              <a:gd name="T114" fmla="*/ 0 w 137"/>
              <a:gd name="T115" fmla="*/ 3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7" h="138">
                <a:moveTo>
                  <a:pt x="0" y="34"/>
                </a:moveTo>
                <a:lnTo>
                  <a:pt x="3" y="28"/>
                </a:lnTo>
                <a:lnTo>
                  <a:pt x="6" y="28"/>
                </a:lnTo>
                <a:lnTo>
                  <a:pt x="12" y="25"/>
                </a:lnTo>
                <a:lnTo>
                  <a:pt x="18" y="25"/>
                </a:lnTo>
                <a:lnTo>
                  <a:pt x="21" y="22"/>
                </a:lnTo>
                <a:lnTo>
                  <a:pt x="21" y="19"/>
                </a:lnTo>
                <a:lnTo>
                  <a:pt x="18" y="16"/>
                </a:lnTo>
                <a:lnTo>
                  <a:pt x="18" y="9"/>
                </a:lnTo>
                <a:lnTo>
                  <a:pt x="18" y="6"/>
                </a:lnTo>
                <a:lnTo>
                  <a:pt x="18" y="0"/>
                </a:lnTo>
                <a:lnTo>
                  <a:pt x="21" y="0"/>
                </a:lnTo>
                <a:lnTo>
                  <a:pt x="34" y="0"/>
                </a:lnTo>
                <a:lnTo>
                  <a:pt x="43" y="3"/>
                </a:lnTo>
                <a:lnTo>
                  <a:pt x="46" y="6"/>
                </a:lnTo>
                <a:lnTo>
                  <a:pt x="53" y="6"/>
                </a:lnTo>
                <a:lnTo>
                  <a:pt x="59" y="6"/>
                </a:lnTo>
                <a:lnTo>
                  <a:pt x="62" y="6"/>
                </a:lnTo>
                <a:lnTo>
                  <a:pt x="65" y="6"/>
                </a:lnTo>
                <a:lnTo>
                  <a:pt x="68" y="9"/>
                </a:lnTo>
                <a:lnTo>
                  <a:pt x="71" y="9"/>
                </a:lnTo>
                <a:lnTo>
                  <a:pt x="71" y="13"/>
                </a:lnTo>
                <a:lnTo>
                  <a:pt x="75" y="13"/>
                </a:lnTo>
                <a:lnTo>
                  <a:pt x="78" y="13"/>
                </a:lnTo>
                <a:lnTo>
                  <a:pt x="81" y="13"/>
                </a:lnTo>
                <a:lnTo>
                  <a:pt x="87" y="16"/>
                </a:lnTo>
                <a:lnTo>
                  <a:pt x="90" y="16"/>
                </a:lnTo>
                <a:lnTo>
                  <a:pt x="93" y="13"/>
                </a:lnTo>
                <a:lnTo>
                  <a:pt x="96" y="13"/>
                </a:lnTo>
                <a:lnTo>
                  <a:pt x="100" y="6"/>
                </a:lnTo>
                <a:lnTo>
                  <a:pt x="106" y="6"/>
                </a:lnTo>
                <a:lnTo>
                  <a:pt x="109" y="9"/>
                </a:lnTo>
                <a:lnTo>
                  <a:pt x="112" y="6"/>
                </a:lnTo>
                <a:lnTo>
                  <a:pt x="115" y="6"/>
                </a:lnTo>
                <a:lnTo>
                  <a:pt x="115" y="9"/>
                </a:lnTo>
                <a:lnTo>
                  <a:pt x="121" y="13"/>
                </a:lnTo>
                <a:lnTo>
                  <a:pt x="121" y="16"/>
                </a:lnTo>
                <a:lnTo>
                  <a:pt x="121" y="22"/>
                </a:lnTo>
                <a:lnTo>
                  <a:pt x="121" y="22"/>
                </a:lnTo>
                <a:lnTo>
                  <a:pt x="128" y="25"/>
                </a:lnTo>
                <a:lnTo>
                  <a:pt x="128" y="25"/>
                </a:lnTo>
                <a:lnTo>
                  <a:pt x="125" y="31"/>
                </a:lnTo>
                <a:lnTo>
                  <a:pt x="121" y="38"/>
                </a:lnTo>
                <a:lnTo>
                  <a:pt x="125" y="34"/>
                </a:lnTo>
                <a:lnTo>
                  <a:pt x="128" y="34"/>
                </a:lnTo>
                <a:lnTo>
                  <a:pt x="131" y="34"/>
                </a:lnTo>
                <a:lnTo>
                  <a:pt x="131" y="38"/>
                </a:lnTo>
                <a:lnTo>
                  <a:pt x="131" y="41"/>
                </a:lnTo>
                <a:lnTo>
                  <a:pt x="131" y="41"/>
                </a:lnTo>
                <a:lnTo>
                  <a:pt x="137" y="41"/>
                </a:lnTo>
                <a:lnTo>
                  <a:pt x="137" y="44"/>
                </a:lnTo>
                <a:lnTo>
                  <a:pt x="137" y="47"/>
                </a:lnTo>
                <a:lnTo>
                  <a:pt x="137" y="47"/>
                </a:lnTo>
                <a:lnTo>
                  <a:pt x="131" y="50"/>
                </a:lnTo>
                <a:lnTo>
                  <a:pt x="131" y="53"/>
                </a:lnTo>
                <a:lnTo>
                  <a:pt x="131" y="56"/>
                </a:lnTo>
                <a:lnTo>
                  <a:pt x="131" y="63"/>
                </a:lnTo>
                <a:lnTo>
                  <a:pt x="131" y="66"/>
                </a:lnTo>
                <a:lnTo>
                  <a:pt x="131" y="75"/>
                </a:lnTo>
                <a:lnTo>
                  <a:pt x="134" y="75"/>
                </a:lnTo>
                <a:lnTo>
                  <a:pt x="137" y="78"/>
                </a:lnTo>
                <a:lnTo>
                  <a:pt x="134" y="81"/>
                </a:lnTo>
                <a:lnTo>
                  <a:pt x="131" y="81"/>
                </a:lnTo>
                <a:lnTo>
                  <a:pt x="131" y="81"/>
                </a:lnTo>
                <a:lnTo>
                  <a:pt x="131" y="85"/>
                </a:lnTo>
                <a:lnTo>
                  <a:pt x="134" y="91"/>
                </a:lnTo>
                <a:lnTo>
                  <a:pt x="134" y="91"/>
                </a:lnTo>
                <a:lnTo>
                  <a:pt x="134" y="97"/>
                </a:lnTo>
                <a:lnTo>
                  <a:pt x="128" y="106"/>
                </a:lnTo>
                <a:lnTo>
                  <a:pt x="125" y="110"/>
                </a:lnTo>
                <a:lnTo>
                  <a:pt x="125" y="110"/>
                </a:lnTo>
                <a:lnTo>
                  <a:pt x="125" y="116"/>
                </a:lnTo>
                <a:lnTo>
                  <a:pt x="121" y="122"/>
                </a:lnTo>
                <a:lnTo>
                  <a:pt x="121" y="125"/>
                </a:lnTo>
                <a:lnTo>
                  <a:pt x="121" y="125"/>
                </a:lnTo>
                <a:lnTo>
                  <a:pt x="90" y="138"/>
                </a:lnTo>
                <a:lnTo>
                  <a:pt x="84" y="131"/>
                </a:lnTo>
                <a:lnTo>
                  <a:pt x="81" y="131"/>
                </a:lnTo>
                <a:lnTo>
                  <a:pt x="75" y="125"/>
                </a:lnTo>
                <a:lnTo>
                  <a:pt x="71" y="122"/>
                </a:lnTo>
                <a:lnTo>
                  <a:pt x="75" y="119"/>
                </a:lnTo>
                <a:lnTo>
                  <a:pt x="71" y="119"/>
                </a:lnTo>
                <a:lnTo>
                  <a:pt x="81" y="113"/>
                </a:lnTo>
                <a:lnTo>
                  <a:pt x="84" y="88"/>
                </a:lnTo>
                <a:lnTo>
                  <a:pt x="84" y="85"/>
                </a:lnTo>
                <a:lnTo>
                  <a:pt x="81" y="85"/>
                </a:lnTo>
                <a:lnTo>
                  <a:pt x="81" y="81"/>
                </a:lnTo>
                <a:lnTo>
                  <a:pt x="84" y="78"/>
                </a:lnTo>
                <a:lnTo>
                  <a:pt x="84" y="75"/>
                </a:lnTo>
                <a:lnTo>
                  <a:pt x="81" y="72"/>
                </a:lnTo>
                <a:lnTo>
                  <a:pt x="81" y="69"/>
                </a:lnTo>
                <a:lnTo>
                  <a:pt x="75" y="59"/>
                </a:lnTo>
                <a:lnTo>
                  <a:pt x="75" y="56"/>
                </a:lnTo>
                <a:lnTo>
                  <a:pt x="71" y="53"/>
                </a:lnTo>
                <a:lnTo>
                  <a:pt x="56" y="53"/>
                </a:lnTo>
                <a:lnTo>
                  <a:pt x="50" y="53"/>
                </a:lnTo>
                <a:lnTo>
                  <a:pt x="46" y="56"/>
                </a:lnTo>
                <a:lnTo>
                  <a:pt x="40" y="63"/>
                </a:lnTo>
                <a:lnTo>
                  <a:pt x="40" y="66"/>
                </a:lnTo>
                <a:lnTo>
                  <a:pt x="34" y="69"/>
                </a:lnTo>
                <a:lnTo>
                  <a:pt x="31" y="69"/>
                </a:lnTo>
                <a:lnTo>
                  <a:pt x="28" y="66"/>
                </a:lnTo>
                <a:lnTo>
                  <a:pt x="25" y="63"/>
                </a:lnTo>
                <a:lnTo>
                  <a:pt x="21" y="56"/>
                </a:lnTo>
                <a:lnTo>
                  <a:pt x="18" y="56"/>
                </a:lnTo>
                <a:lnTo>
                  <a:pt x="15" y="56"/>
                </a:lnTo>
                <a:lnTo>
                  <a:pt x="15" y="53"/>
                </a:lnTo>
                <a:lnTo>
                  <a:pt x="18" y="50"/>
                </a:lnTo>
                <a:lnTo>
                  <a:pt x="15" y="50"/>
                </a:lnTo>
                <a:lnTo>
                  <a:pt x="12" y="53"/>
                </a:lnTo>
                <a:lnTo>
                  <a:pt x="9" y="50"/>
                </a:lnTo>
                <a:lnTo>
                  <a:pt x="6" y="50"/>
                </a:lnTo>
                <a:lnTo>
                  <a:pt x="0" y="44"/>
                </a:lnTo>
                <a:lnTo>
                  <a:pt x="3" y="38"/>
                </a:lnTo>
                <a:lnTo>
                  <a:pt x="0" y="34"/>
                </a:lnTo>
                <a:lnTo>
                  <a:pt x="0" y="34"/>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6" name="Freeform 124">
            <a:extLst>
              <a:ext uri="{FF2B5EF4-FFF2-40B4-BE49-F238E27FC236}">
                <a16:creationId xmlns:a16="http://schemas.microsoft.com/office/drawing/2014/main" id="{B676D579-1110-A2E1-343B-10F06E0C65F2}"/>
              </a:ext>
            </a:extLst>
          </p:cNvPr>
          <p:cNvSpPr>
            <a:spLocks noEditPoints="1"/>
          </p:cNvSpPr>
          <p:nvPr userDrawn="1"/>
        </p:nvSpPr>
        <p:spPr bwMode="auto">
          <a:xfrm>
            <a:off x="12365816" y="8740063"/>
            <a:ext cx="168267" cy="209550"/>
          </a:xfrm>
          <a:custGeom>
            <a:avLst/>
            <a:gdLst>
              <a:gd name="T0" fmla="*/ 12 w 53"/>
              <a:gd name="T1" fmla="*/ 57 h 66"/>
              <a:gd name="T2" fmla="*/ 12 w 53"/>
              <a:gd name="T3" fmla="*/ 53 h 66"/>
              <a:gd name="T4" fmla="*/ 12 w 53"/>
              <a:gd name="T5" fmla="*/ 53 h 66"/>
              <a:gd name="T6" fmla="*/ 9 w 53"/>
              <a:gd name="T7" fmla="*/ 50 h 66"/>
              <a:gd name="T8" fmla="*/ 9 w 53"/>
              <a:gd name="T9" fmla="*/ 53 h 66"/>
              <a:gd name="T10" fmla="*/ 9 w 53"/>
              <a:gd name="T11" fmla="*/ 53 h 66"/>
              <a:gd name="T12" fmla="*/ 12 w 53"/>
              <a:gd name="T13" fmla="*/ 57 h 66"/>
              <a:gd name="T14" fmla="*/ 12 w 53"/>
              <a:gd name="T15" fmla="*/ 57 h 66"/>
              <a:gd name="T16" fmla="*/ 12 w 53"/>
              <a:gd name="T17" fmla="*/ 57 h 66"/>
              <a:gd name="T18" fmla="*/ 0 w 53"/>
              <a:gd name="T19" fmla="*/ 16 h 66"/>
              <a:gd name="T20" fmla="*/ 3 w 53"/>
              <a:gd name="T21" fmla="*/ 16 h 66"/>
              <a:gd name="T22" fmla="*/ 9 w 53"/>
              <a:gd name="T23" fmla="*/ 13 h 66"/>
              <a:gd name="T24" fmla="*/ 9 w 53"/>
              <a:gd name="T25" fmla="*/ 10 h 66"/>
              <a:gd name="T26" fmla="*/ 15 w 53"/>
              <a:gd name="T27" fmla="*/ 3 h 66"/>
              <a:gd name="T28" fmla="*/ 19 w 53"/>
              <a:gd name="T29" fmla="*/ 0 h 66"/>
              <a:gd name="T30" fmla="*/ 25 w 53"/>
              <a:gd name="T31" fmla="*/ 0 h 66"/>
              <a:gd name="T32" fmla="*/ 40 w 53"/>
              <a:gd name="T33" fmla="*/ 0 h 66"/>
              <a:gd name="T34" fmla="*/ 44 w 53"/>
              <a:gd name="T35" fmla="*/ 3 h 66"/>
              <a:gd name="T36" fmla="*/ 44 w 53"/>
              <a:gd name="T37" fmla="*/ 6 h 66"/>
              <a:gd name="T38" fmla="*/ 50 w 53"/>
              <a:gd name="T39" fmla="*/ 16 h 66"/>
              <a:gd name="T40" fmla="*/ 50 w 53"/>
              <a:gd name="T41" fmla="*/ 19 h 66"/>
              <a:gd name="T42" fmla="*/ 53 w 53"/>
              <a:gd name="T43" fmla="*/ 22 h 66"/>
              <a:gd name="T44" fmla="*/ 53 w 53"/>
              <a:gd name="T45" fmla="*/ 25 h 66"/>
              <a:gd name="T46" fmla="*/ 50 w 53"/>
              <a:gd name="T47" fmla="*/ 28 h 66"/>
              <a:gd name="T48" fmla="*/ 50 w 53"/>
              <a:gd name="T49" fmla="*/ 32 h 66"/>
              <a:gd name="T50" fmla="*/ 53 w 53"/>
              <a:gd name="T51" fmla="*/ 32 h 66"/>
              <a:gd name="T52" fmla="*/ 53 w 53"/>
              <a:gd name="T53" fmla="*/ 35 h 66"/>
              <a:gd name="T54" fmla="*/ 50 w 53"/>
              <a:gd name="T55" fmla="*/ 60 h 66"/>
              <a:gd name="T56" fmla="*/ 40 w 53"/>
              <a:gd name="T57" fmla="*/ 66 h 66"/>
              <a:gd name="T58" fmla="*/ 40 w 53"/>
              <a:gd name="T59" fmla="*/ 66 h 66"/>
              <a:gd name="T60" fmla="*/ 31 w 53"/>
              <a:gd name="T61" fmla="*/ 66 h 66"/>
              <a:gd name="T62" fmla="*/ 22 w 53"/>
              <a:gd name="T63" fmla="*/ 60 h 66"/>
              <a:gd name="T64" fmla="*/ 19 w 53"/>
              <a:gd name="T65" fmla="*/ 60 h 66"/>
              <a:gd name="T66" fmla="*/ 19 w 53"/>
              <a:gd name="T67" fmla="*/ 57 h 66"/>
              <a:gd name="T68" fmla="*/ 15 w 53"/>
              <a:gd name="T69" fmla="*/ 53 h 66"/>
              <a:gd name="T70" fmla="*/ 12 w 53"/>
              <a:gd name="T71" fmla="*/ 50 h 66"/>
              <a:gd name="T72" fmla="*/ 15 w 53"/>
              <a:gd name="T73" fmla="*/ 47 h 66"/>
              <a:gd name="T74" fmla="*/ 15 w 53"/>
              <a:gd name="T75" fmla="*/ 47 h 66"/>
              <a:gd name="T76" fmla="*/ 9 w 53"/>
              <a:gd name="T77" fmla="*/ 47 h 66"/>
              <a:gd name="T78" fmla="*/ 6 w 53"/>
              <a:gd name="T79" fmla="*/ 44 h 66"/>
              <a:gd name="T80" fmla="*/ 6 w 53"/>
              <a:gd name="T81" fmla="*/ 38 h 66"/>
              <a:gd name="T82" fmla="*/ 3 w 53"/>
              <a:gd name="T83" fmla="*/ 32 h 66"/>
              <a:gd name="T84" fmla="*/ 0 w 53"/>
              <a:gd name="T85" fmla="*/ 32 h 66"/>
              <a:gd name="T86" fmla="*/ 0 w 53"/>
              <a:gd name="T87" fmla="*/ 28 h 66"/>
              <a:gd name="T88" fmla="*/ 3 w 53"/>
              <a:gd name="T89" fmla="*/ 25 h 66"/>
              <a:gd name="T90" fmla="*/ 0 w 53"/>
              <a:gd name="T91" fmla="*/ 22 h 66"/>
              <a:gd name="T92" fmla="*/ 0 w 53"/>
              <a:gd name="T93" fmla="*/ 19 h 66"/>
              <a:gd name="T94" fmla="*/ 0 w 53"/>
              <a:gd name="T95" fmla="*/ 16 h 66"/>
              <a:gd name="T96" fmla="*/ 0 w 53"/>
              <a:gd name="T97"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66">
                <a:moveTo>
                  <a:pt x="12" y="57"/>
                </a:moveTo>
                <a:lnTo>
                  <a:pt x="12" y="53"/>
                </a:lnTo>
                <a:lnTo>
                  <a:pt x="12" y="53"/>
                </a:lnTo>
                <a:lnTo>
                  <a:pt x="9" y="50"/>
                </a:lnTo>
                <a:lnTo>
                  <a:pt x="9" y="53"/>
                </a:lnTo>
                <a:lnTo>
                  <a:pt x="9" y="53"/>
                </a:lnTo>
                <a:lnTo>
                  <a:pt x="12" y="57"/>
                </a:lnTo>
                <a:lnTo>
                  <a:pt x="12" y="57"/>
                </a:lnTo>
                <a:lnTo>
                  <a:pt x="12" y="57"/>
                </a:lnTo>
                <a:close/>
                <a:moveTo>
                  <a:pt x="0" y="16"/>
                </a:moveTo>
                <a:lnTo>
                  <a:pt x="3" y="16"/>
                </a:lnTo>
                <a:lnTo>
                  <a:pt x="9" y="13"/>
                </a:lnTo>
                <a:lnTo>
                  <a:pt x="9" y="10"/>
                </a:lnTo>
                <a:lnTo>
                  <a:pt x="15" y="3"/>
                </a:lnTo>
                <a:lnTo>
                  <a:pt x="19" y="0"/>
                </a:lnTo>
                <a:lnTo>
                  <a:pt x="25" y="0"/>
                </a:lnTo>
                <a:lnTo>
                  <a:pt x="40" y="0"/>
                </a:lnTo>
                <a:lnTo>
                  <a:pt x="44" y="3"/>
                </a:lnTo>
                <a:lnTo>
                  <a:pt x="44" y="6"/>
                </a:lnTo>
                <a:lnTo>
                  <a:pt x="50" y="16"/>
                </a:lnTo>
                <a:lnTo>
                  <a:pt x="50" y="19"/>
                </a:lnTo>
                <a:lnTo>
                  <a:pt x="53" y="22"/>
                </a:lnTo>
                <a:lnTo>
                  <a:pt x="53" y="25"/>
                </a:lnTo>
                <a:lnTo>
                  <a:pt x="50" y="28"/>
                </a:lnTo>
                <a:lnTo>
                  <a:pt x="50" y="32"/>
                </a:lnTo>
                <a:lnTo>
                  <a:pt x="53" y="32"/>
                </a:lnTo>
                <a:lnTo>
                  <a:pt x="53" y="35"/>
                </a:lnTo>
                <a:lnTo>
                  <a:pt x="50" y="60"/>
                </a:lnTo>
                <a:lnTo>
                  <a:pt x="40" y="66"/>
                </a:lnTo>
                <a:lnTo>
                  <a:pt x="40" y="66"/>
                </a:lnTo>
                <a:lnTo>
                  <a:pt x="31" y="66"/>
                </a:lnTo>
                <a:lnTo>
                  <a:pt x="22" y="60"/>
                </a:lnTo>
                <a:lnTo>
                  <a:pt x="19" y="60"/>
                </a:lnTo>
                <a:lnTo>
                  <a:pt x="19" y="57"/>
                </a:lnTo>
                <a:lnTo>
                  <a:pt x="15" y="53"/>
                </a:lnTo>
                <a:lnTo>
                  <a:pt x="12" y="50"/>
                </a:lnTo>
                <a:lnTo>
                  <a:pt x="15" y="47"/>
                </a:lnTo>
                <a:lnTo>
                  <a:pt x="15" y="47"/>
                </a:lnTo>
                <a:lnTo>
                  <a:pt x="9" y="47"/>
                </a:lnTo>
                <a:lnTo>
                  <a:pt x="6" y="44"/>
                </a:lnTo>
                <a:lnTo>
                  <a:pt x="6" y="38"/>
                </a:lnTo>
                <a:lnTo>
                  <a:pt x="3" y="32"/>
                </a:lnTo>
                <a:lnTo>
                  <a:pt x="0" y="32"/>
                </a:lnTo>
                <a:lnTo>
                  <a:pt x="0" y="28"/>
                </a:lnTo>
                <a:lnTo>
                  <a:pt x="3" y="25"/>
                </a:lnTo>
                <a:lnTo>
                  <a:pt x="0" y="22"/>
                </a:lnTo>
                <a:lnTo>
                  <a:pt x="0" y="19"/>
                </a:lnTo>
                <a:lnTo>
                  <a:pt x="0" y="16"/>
                </a:lnTo>
                <a:lnTo>
                  <a:pt x="0" y="16"/>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7" name="Freeform 125">
            <a:extLst>
              <a:ext uri="{FF2B5EF4-FFF2-40B4-BE49-F238E27FC236}">
                <a16:creationId xmlns:a16="http://schemas.microsoft.com/office/drawing/2014/main" id="{C7F7CED0-DA03-7A65-742A-A99592A7E76E}"/>
              </a:ext>
            </a:extLst>
          </p:cNvPr>
          <p:cNvSpPr>
            <a:spLocks/>
          </p:cNvSpPr>
          <p:nvPr userDrawn="1"/>
        </p:nvSpPr>
        <p:spPr bwMode="auto">
          <a:xfrm>
            <a:off x="12473761" y="8828958"/>
            <a:ext cx="247634" cy="279400"/>
          </a:xfrm>
          <a:custGeom>
            <a:avLst/>
            <a:gdLst>
              <a:gd name="T0" fmla="*/ 0 w 78"/>
              <a:gd name="T1" fmla="*/ 38 h 88"/>
              <a:gd name="T2" fmla="*/ 0 w 78"/>
              <a:gd name="T3" fmla="*/ 35 h 88"/>
              <a:gd name="T4" fmla="*/ 3 w 78"/>
              <a:gd name="T5" fmla="*/ 29 h 88"/>
              <a:gd name="T6" fmla="*/ 6 w 78"/>
              <a:gd name="T7" fmla="*/ 25 h 88"/>
              <a:gd name="T8" fmla="*/ 13 w 78"/>
              <a:gd name="T9" fmla="*/ 22 h 88"/>
              <a:gd name="T10" fmla="*/ 13 w 78"/>
              <a:gd name="T11" fmla="*/ 19 h 88"/>
              <a:gd name="T12" fmla="*/ 13 w 78"/>
              <a:gd name="T13" fmla="*/ 13 h 88"/>
              <a:gd name="T14" fmla="*/ 16 w 78"/>
              <a:gd name="T15" fmla="*/ 13 h 88"/>
              <a:gd name="T16" fmla="*/ 16 w 78"/>
              <a:gd name="T17" fmla="*/ 10 h 88"/>
              <a:gd name="T18" fmla="*/ 16 w 78"/>
              <a:gd name="T19" fmla="*/ 7 h 88"/>
              <a:gd name="T20" fmla="*/ 22 w 78"/>
              <a:gd name="T21" fmla="*/ 4 h 88"/>
              <a:gd name="T22" fmla="*/ 25 w 78"/>
              <a:gd name="T23" fmla="*/ 4 h 88"/>
              <a:gd name="T24" fmla="*/ 31 w 78"/>
              <a:gd name="T25" fmla="*/ 0 h 88"/>
              <a:gd name="T26" fmla="*/ 35 w 78"/>
              <a:gd name="T27" fmla="*/ 4 h 88"/>
              <a:gd name="T28" fmla="*/ 38 w 78"/>
              <a:gd name="T29" fmla="*/ 7 h 88"/>
              <a:gd name="T30" fmla="*/ 41 w 78"/>
              <a:gd name="T31" fmla="*/ 10 h 88"/>
              <a:gd name="T32" fmla="*/ 41 w 78"/>
              <a:gd name="T33" fmla="*/ 16 h 88"/>
              <a:gd name="T34" fmla="*/ 41 w 78"/>
              <a:gd name="T35" fmla="*/ 22 h 88"/>
              <a:gd name="T36" fmla="*/ 47 w 78"/>
              <a:gd name="T37" fmla="*/ 29 h 88"/>
              <a:gd name="T38" fmla="*/ 47 w 78"/>
              <a:gd name="T39" fmla="*/ 25 h 88"/>
              <a:gd name="T40" fmla="*/ 53 w 78"/>
              <a:gd name="T41" fmla="*/ 22 h 88"/>
              <a:gd name="T42" fmla="*/ 56 w 78"/>
              <a:gd name="T43" fmla="*/ 22 h 88"/>
              <a:gd name="T44" fmla="*/ 60 w 78"/>
              <a:gd name="T45" fmla="*/ 25 h 88"/>
              <a:gd name="T46" fmla="*/ 60 w 78"/>
              <a:gd name="T47" fmla="*/ 29 h 88"/>
              <a:gd name="T48" fmla="*/ 60 w 78"/>
              <a:gd name="T49" fmla="*/ 29 h 88"/>
              <a:gd name="T50" fmla="*/ 60 w 78"/>
              <a:gd name="T51" fmla="*/ 35 h 88"/>
              <a:gd name="T52" fmla="*/ 56 w 78"/>
              <a:gd name="T53" fmla="*/ 41 h 88"/>
              <a:gd name="T54" fmla="*/ 56 w 78"/>
              <a:gd name="T55" fmla="*/ 44 h 88"/>
              <a:gd name="T56" fmla="*/ 56 w 78"/>
              <a:gd name="T57" fmla="*/ 47 h 88"/>
              <a:gd name="T58" fmla="*/ 60 w 78"/>
              <a:gd name="T59" fmla="*/ 47 h 88"/>
              <a:gd name="T60" fmla="*/ 60 w 78"/>
              <a:gd name="T61" fmla="*/ 47 h 88"/>
              <a:gd name="T62" fmla="*/ 63 w 78"/>
              <a:gd name="T63" fmla="*/ 47 h 88"/>
              <a:gd name="T64" fmla="*/ 66 w 78"/>
              <a:gd name="T65" fmla="*/ 50 h 88"/>
              <a:gd name="T66" fmla="*/ 69 w 78"/>
              <a:gd name="T67" fmla="*/ 50 h 88"/>
              <a:gd name="T68" fmla="*/ 72 w 78"/>
              <a:gd name="T69" fmla="*/ 50 h 88"/>
              <a:gd name="T70" fmla="*/ 72 w 78"/>
              <a:gd name="T71" fmla="*/ 54 h 88"/>
              <a:gd name="T72" fmla="*/ 75 w 78"/>
              <a:gd name="T73" fmla="*/ 57 h 88"/>
              <a:gd name="T74" fmla="*/ 78 w 78"/>
              <a:gd name="T75" fmla="*/ 57 h 88"/>
              <a:gd name="T76" fmla="*/ 78 w 78"/>
              <a:gd name="T77" fmla="*/ 60 h 88"/>
              <a:gd name="T78" fmla="*/ 75 w 78"/>
              <a:gd name="T79" fmla="*/ 63 h 88"/>
              <a:gd name="T80" fmla="*/ 78 w 78"/>
              <a:gd name="T81" fmla="*/ 66 h 88"/>
              <a:gd name="T82" fmla="*/ 75 w 78"/>
              <a:gd name="T83" fmla="*/ 69 h 88"/>
              <a:gd name="T84" fmla="*/ 75 w 78"/>
              <a:gd name="T85" fmla="*/ 72 h 88"/>
              <a:gd name="T86" fmla="*/ 75 w 78"/>
              <a:gd name="T87" fmla="*/ 75 h 88"/>
              <a:gd name="T88" fmla="*/ 75 w 78"/>
              <a:gd name="T89" fmla="*/ 79 h 88"/>
              <a:gd name="T90" fmla="*/ 78 w 78"/>
              <a:gd name="T91" fmla="*/ 82 h 88"/>
              <a:gd name="T92" fmla="*/ 78 w 78"/>
              <a:gd name="T93" fmla="*/ 88 h 88"/>
              <a:gd name="T94" fmla="*/ 56 w 78"/>
              <a:gd name="T95" fmla="*/ 79 h 88"/>
              <a:gd name="T96" fmla="*/ 44 w 78"/>
              <a:gd name="T97" fmla="*/ 69 h 88"/>
              <a:gd name="T98" fmla="*/ 38 w 78"/>
              <a:gd name="T99" fmla="*/ 69 h 88"/>
              <a:gd name="T100" fmla="*/ 25 w 78"/>
              <a:gd name="T101" fmla="*/ 57 h 88"/>
              <a:gd name="T102" fmla="*/ 19 w 78"/>
              <a:gd name="T103" fmla="*/ 50 h 88"/>
              <a:gd name="T104" fmla="*/ 16 w 78"/>
              <a:gd name="T105" fmla="*/ 50 h 88"/>
              <a:gd name="T106" fmla="*/ 10 w 78"/>
              <a:gd name="T107" fmla="*/ 44 h 88"/>
              <a:gd name="T108" fmla="*/ 6 w 78"/>
              <a:gd name="T109" fmla="*/ 41 h 88"/>
              <a:gd name="T110" fmla="*/ 10 w 78"/>
              <a:gd name="T111" fmla="*/ 38 h 88"/>
              <a:gd name="T112" fmla="*/ 6 w 78"/>
              <a:gd name="T113" fmla="*/ 38 h 88"/>
              <a:gd name="T114" fmla="*/ 0 w 78"/>
              <a:gd name="T115" fmla="*/ 3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 h="88">
                <a:moveTo>
                  <a:pt x="0" y="38"/>
                </a:moveTo>
                <a:lnTo>
                  <a:pt x="0" y="35"/>
                </a:lnTo>
                <a:lnTo>
                  <a:pt x="3" y="29"/>
                </a:lnTo>
                <a:lnTo>
                  <a:pt x="6" y="25"/>
                </a:lnTo>
                <a:lnTo>
                  <a:pt x="13" y="22"/>
                </a:lnTo>
                <a:lnTo>
                  <a:pt x="13" y="19"/>
                </a:lnTo>
                <a:lnTo>
                  <a:pt x="13" y="13"/>
                </a:lnTo>
                <a:lnTo>
                  <a:pt x="16" y="13"/>
                </a:lnTo>
                <a:lnTo>
                  <a:pt x="16" y="10"/>
                </a:lnTo>
                <a:lnTo>
                  <a:pt x="16" y="7"/>
                </a:lnTo>
                <a:lnTo>
                  <a:pt x="22" y="4"/>
                </a:lnTo>
                <a:lnTo>
                  <a:pt x="25" y="4"/>
                </a:lnTo>
                <a:lnTo>
                  <a:pt x="31" y="0"/>
                </a:lnTo>
                <a:lnTo>
                  <a:pt x="35" y="4"/>
                </a:lnTo>
                <a:lnTo>
                  <a:pt x="38" y="7"/>
                </a:lnTo>
                <a:lnTo>
                  <a:pt x="41" y="10"/>
                </a:lnTo>
                <a:lnTo>
                  <a:pt x="41" y="16"/>
                </a:lnTo>
                <a:lnTo>
                  <a:pt x="41" y="22"/>
                </a:lnTo>
                <a:lnTo>
                  <a:pt x="47" y="29"/>
                </a:lnTo>
                <a:lnTo>
                  <a:pt x="47" y="25"/>
                </a:lnTo>
                <a:lnTo>
                  <a:pt x="53" y="22"/>
                </a:lnTo>
                <a:lnTo>
                  <a:pt x="56" y="22"/>
                </a:lnTo>
                <a:lnTo>
                  <a:pt x="60" y="25"/>
                </a:lnTo>
                <a:lnTo>
                  <a:pt x="60" y="29"/>
                </a:lnTo>
                <a:lnTo>
                  <a:pt x="60" y="29"/>
                </a:lnTo>
                <a:lnTo>
                  <a:pt x="60" y="35"/>
                </a:lnTo>
                <a:lnTo>
                  <a:pt x="56" y="41"/>
                </a:lnTo>
                <a:lnTo>
                  <a:pt x="56" y="44"/>
                </a:lnTo>
                <a:lnTo>
                  <a:pt x="56" y="47"/>
                </a:lnTo>
                <a:lnTo>
                  <a:pt x="60" y="47"/>
                </a:lnTo>
                <a:lnTo>
                  <a:pt x="60" y="47"/>
                </a:lnTo>
                <a:lnTo>
                  <a:pt x="63" y="47"/>
                </a:lnTo>
                <a:lnTo>
                  <a:pt x="66" y="50"/>
                </a:lnTo>
                <a:lnTo>
                  <a:pt x="69" y="50"/>
                </a:lnTo>
                <a:lnTo>
                  <a:pt x="72" y="50"/>
                </a:lnTo>
                <a:lnTo>
                  <a:pt x="72" y="54"/>
                </a:lnTo>
                <a:lnTo>
                  <a:pt x="75" y="57"/>
                </a:lnTo>
                <a:lnTo>
                  <a:pt x="78" y="57"/>
                </a:lnTo>
                <a:lnTo>
                  <a:pt x="78" y="60"/>
                </a:lnTo>
                <a:lnTo>
                  <a:pt x="75" y="63"/>
                </a:lnTo>
                <a:lnTo>
                  <a:pt x="78" y="66"/>
                </a:lnTo>
                <a:lnTo>
                  <a:pt x="75" y="69"/>
                </a:lnTo>
                <a:lnTo>
                  <a:pt x="75" y="72"/>
                </a:lnTo>
                <a:lnTo>
                  <a:pt x="75" y="75"/>
                </a:lnTo>
                <a:lnTo>
                  <a:pt x="75" y="79"/>
                </a:lnTo>
                <a:lnTo>
                  <a:pt x="78" y="82"/>
                </a:lnTo>
                <a:lnTo>
                  <a:pt x="78" y="88"/>
                </a:lnTo>
                <a:lnTo>
                  <a:pt x="56" y="79"/>
                </a:lnTo>
                <a:lnTo>
                  <a:pt x="44" y="69"/>
                </a:lnTo>
                <a:lnTo>
                  <a:pt x="38" y="69"/>
                </a:lnTo>
                <a:lnTo>
                  <a:pt x="25" y="57"/>
                </a:lnTo>
                <a:lnTo>
                  <a:pt x="19" y="50"/>
                </a:lnTo>
                <a:lnTo>
                  <a:pt x="16" y="50"/>
                </a:lnTo>
                <a:lnTo>
                  <a:pt x="10" y="44"/>
                </a:lnTo>
                <a:lnTo>
                  <a:pt x="6" y="41"/>
                </a:lnTo>
                <a:lnTo>
                  <a:pt x="10" y="38"/>
                </a:lnTo>
                <a:lnTo>
                  <a:pt x="6" y="38"/>
                </a:lnTo>
                <a:lnTo>
                  <a:pt x="0" y="38"/>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8" name="Freeform 126">
            <a:extLst>
              <a:ext uri="{FF2B5EF4-FFF2-40B4-BE49-F238E27FC236}">
                <a16:creationId xmlns:a16="http://schemas.microsoft.com/office/drawing/2014/main" id="{89769378-639F-4321-4969-B329792BDDFA}"/>
              </a:ext>
            </a:extLst>
          </p:cNvPr>
          <p:cNvSpPr>
            <a:spLocks/>
          </p:cNvSpPr>
          <p:nvPr userDrawn="1"/>
        </p:nvSpPr>
        <p:spPr bwMode="auto">
          <a:xfrm>
            <a:off x="12651549" y="8701956"/>
            <a:ext cx="387325" cy="406400"/>
          </a:xfrm>
          <a:custGeom>
            <a:avLst/>
            <a:gdLst>
              <a:gd name="T0" fmla="*/ 22 w 122"/>
              <a:gd name="T1" fmla="*/ 122 h 128"/>
              <a:gd name="T2" fmla="*/ 19 w 122"/>
              <a:gd name="T3" fmla="*/ 115 h 128"/>
              <a:gd name="T4" fmla="*/ 19 w 122"/>
              <a:gd name="T5" fmla="*/ 109 h 128"/>
              <a:gd name="T6" fmla="*/ 19 w 122"/>
              <a:gd name="T7" fmla="*/ 103 h 128"/>
              <a:gd name="T8" fmla="*/ 22 w 122"/>
              <a:gd name="T9" fmla="*/ 97 h 128"/>
              <a:gd name="T10" fmla="*/ 16 w 122"/>
              <a:gd name="T11" fmla="*/ 94 h 128"/>
              <a:gd name="T12" fmla="*/ 13 w 122"/>
              <a:gd name="T13" fmla="*/ 90 h 128"/>
              <a:gd name="T14" fmla="*/ 7 w 122"/>
              <a:gd name="T15" fmla="*/ 87 h 128"/>
              <a:gd name="T16" fmla="*/ 4 w 122"/>
              <a:gd name="T17" fmla="*/ 87 h 128"/>
              <a:gd name="T18" fmla="*/ 0 w 122"/>
              <a:gd name="T19" fmla="*/ 84 h 128"/>
              <a:gd name="T20" fmla="*/ 4 w 122"/>
              <a:gd name="T21" fmla="*/ 75 h 128"/>
              <a:gd name="T22" fmla="*/ 4 w 122"/>
              <a:gd name="T23" fmla="*/ 69 h 128"/>
              <a:gd name="T24" fmla="*/ 13 w 122"/>
              <a:gd name="T25" fmla="*/ 56 h 128"/>
              <a:gd name="T26" fmla="*/ 13 w 122"/>
              <a:gd name="T27" fmla="*/ 50 h 128"/>
              <a:gd name="T28" fmla="*/ 10 w 122"/>
              <a:gd name="T29" fmla="*/ 40 h 128"/>
              <a:gd name="T30" fmla="*/ 13 w 122"/>
              <a:gd name="T31" fmla="*/ 40 h 128"/>
              <a:gd name="T32" fmla="*/ 13 w 122"/>
              <a:gd name="T33" fmla="*/ 34 h 128"/>
              <a:gd name="T34" fmla="*/ 10 w 122"/>
              <a:gd name="T35" fmla="*/ 25 h 128"/>
              <a:gd name="T36" fmla="*/ 10 w 122"/>
              <a:gd name="T37" fmla="*/ 15 h 128"/>
              <a:gd name="T38" fmla="*/ 10 w 122"/>
              <a:gd name="T39" fmla="*/ 9 h 128"/>
              <a:gd name="T40" fmla="*/ 22 w 122"/>
              <a:gd name="T41" fmla="*/ 3 h 128"/>
              <a:gd name="T42" fmla="*/ 32 w 122"/>
              <a:gd name="T43" fmla="*/ 3 h 128"/>
              <a:gd name="T44" fmla="*/ 41 w 122"/>
              <a:gd name="T45" fmla="*/ 3 h 128"/>
              <a:gd name="T46" fmla="*/ 47 w 122"/>
              <a:gd name="T47" fmla="*/ 0 h 128"/>
              <a:gd name="T48" fmla="*/ 50 w 122"/>
              <a:gd name="T49" fmla="*/ 3 h 128"/>
              <a:gd name="T50" fmla="*/ 60 w 122"/>
              <a:gd name="T51" fmla="*/ 6 h 128"/>
              <a:gd name="T52" fmla="*/ 66 w 122"/>
              <a:gd name="T53" fmla="*/ 0 h 128"/>
              <a:gd name="T54" fmla="*/ 79 w 122"/>
              <a:gd name="T55" fmla="*/ 9 h 128"/>
              <a:gd name="T56" fmla="*/ 82 w 122"/>
              <a:gd name="T57" fmla="*/ 9 h 128"/>
              <a:gd name="T58" fmla="*/ 91 w 122"/>
              <a:gd name="T59" fmla="*/ 12 h 128"/>
              <a:gd name="T60" fmla="*/ 97 w 122"/>
              <a:gd name="T61" fmla="*/ 18 h 128"/>
              <a:gd name="T62" fmla="*/ 107 w 122"/>
              <a:gd name="T63" fmla="*/ 12 h 128"/>
              <a:gd name="T64" fmla="*/ 113 w 122"/>
              <a:gd name="T65" fmla="*/ 15 h 128"/>
              <a:gd name="T66" fmla="*/ 116 w 122"/>
              <a:gd name="T67" fmla="*/ 18 h 128"/>
              <a:gd name="T68" fmla="*/ 116 w 122"/>
              <a:gd name="T69" fmla="*/ 28 h 128"/>
              <a:gd name="T70" fmla="*/ 119 w 122"/>
              <a:gd name="T71" fmla="*/ 34 h 128"/>
              <a:gd name="T72" fmla="*/ 119 w 122"/>
              <a:gd name="T73" fmla="*/ 44 h 128"/>
              <a:gd name="T74" fmla="*/ 116 w 122"/>
              <a:gd name="T75" fmla="*/ 50 h 128"/>
              <a:gd name="T76" fmla="*/ 110 w 122"/>
              <a:gd name="T77" fmla="*/ 62 h 128"/>
              <a:gd name="T78" fmla="*/ 107 w 122"/>
              <a:gd name="T79" fmla="*/ 72 h 128"/>
              <a:gd name="T80" fmla="*/ 107 w 122"/>
              <a:gd name="T81" fmla="*/ 81 h 128"/>
              <a:gd name="T82" fmla="*/ 104 w 122"/>
              <a:gd name="T83" fmla="*/ 84 h 128"/>
              <a:gd name="T84" fmla="*/ 110 w 122"/>
              <a:gd name="T85" fmla="*/ 94 h 128"/>
              <a:gd name="T86" fmla="*/ 116 w 122"/>
              <a:gd name="T87" fmla="*/ 100 h 128"/>
              <a:gd name="T88" fmla="*/ 116 w 122"/>
              <a:gd name="T89" fmla="*/ 109 h 128"/>
              <a:gd name="T90" fmla="*/ 110 w 122"/>
              <a:gd name="T91" fmla="*/ 109 h 128"/>
              <a:gd name="T92" fmla="*/ 107 w 122"/>
              <a:gd name="T93" fmla="*/ 106 h 128"/>
              <a:gd name="T94" fmla="*/ 100 w 122"/>
              <a:gd name="T95" fmla="*/ 112 h 128"/>
              <a:gd name="T96" fmla="*/ 82 w 122"/>
              <a:gd name="T97" fmla="*/ 112 h 128"/>
              <a:gd name="T98" fmla="*/ 50 w 122"/>
              <a:gd name="T99" fmla="*/ 112 h 128"/>
              <a:gd name="T100" fmla="*/ 35 w 122"/>
              <a:gd name="T101" fmla="*/ 119 h 128"/>
              <a:gd name="T102" fmla="*/ 29 w 122"/>
              <a:gd name="T103" fmla="*/ 122 h 128"/>
              <a:gd name="T104" fmla="*/ 22 w 122"/>
              <a:gd name="T10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2" h="128">
                <a:moveTo>
                  <a:pt x="22" y="128"/>
                </a:moveTo>
                <a:lnTo>
                  <a:pt x="22" y="122"/>
                </a:lnTo>
                <a:lnTo>
                  <a:pt x="19" y="119"/>
                </a:lnTo>
                <a:lnTo>
                  <a:pt x="19" y="115"/>
                </a:lnTo>
                <a:lnTo>
                  <a:pt x="19" y="112"/>
                </a:lnTo>
                <a:lnTo>
                  <a:pt x="19" y="109"/>
                </a:lnTo>
                <a:lnTo>
                  <a:pt x="22" y="106"/>
                </a:lnTo>
                <a:lnTo>
                  <a:pt x="19" y="103"/>
                </a:lnTo>
                <a:lnTo>
                  <a:pt x="22" y="100"/>
                </a:lnTo>
                <a:lnTo>
                  <a:pt x="22" y="97"/>
                </a:lnTo>
                <a:lnTo>
                  <a:pt x="19" y="97"/>
                </a:lnTo>
                <a:lnTo>
                  <a:pt x="16" y="94"/>
                </a:lnTo>
                <a:lnTo>
                  <a:pt x="16" y="90"/>
                </a:lnTo>
                <a:lnTo>
                  <a:pt x="13" y="90"/>
                </a:lnTo>
                <a:lnTo>
                  <a:pt x="10" y="90"/>
                </a:lnTo>
                <a:lnTo>
                  <a:pt x="7" y="87"/>
                </a:lnTo>
                <a:lnTo>
                  <a:pt x="4" y="87"/>
                </a:lnTo>
                <a:lnTo>
                  <a:pt x="4" y="87"/>
                </a:lnTo>
                <a:lnTo>
                  <a:pt x="0" y="87"/>
                </a:lnTo>
                <a:lnTo>
                  <a:pt x="0" y="84"/>
                </a:lnTo>
                <a:lnTo>
                  <a:pt x="0" y="81"/>
                </a:lnTo>
                <a:lnTo>
                  <a:pt x="4" y="75"/>
                </a:lnTo>
                <a:lnTo>
                  <a:pt x="4" y="69"/>
                </a:lnTo>
                <a:lnTo>
                  <a:pt x="4" y="69"/>
                </a:lnTo>
                <a:lnTo>
                  <a:pt x="7" y="65"/>
                </a:lnTo>
                <a:lnTo>
                  <a:pt x="13" y="56"/>
                </a:lnTo>
                <a:lnTo>
                  <a:pt x="13" y="50"/>
                </a:lnTo>
                <a:lnTo>
                  <a:pt x="13" y="50"/>
                </a:lnTo>
                <a:lnTo>
                  <a:pt x="10" y="44"/>
                </a:lnTo>
                <a:lnTo>
                  <a:pt x="10" y="40"/>
                </a:lnTo>
                <a:lnTo>
                  <a:pt x="10" y="40"/>
                </a:lnTo>
                <a:lnTo>
                  <a:pt x="13" y="40"/>
                </a:lnTo>
                <a:lnTo>
                  <a:pt x="16" y="37"/>
                </a:lnTo>
                <a:lnTo>
                  <a:pt x="13" y="34"/>
                </a:lnTo>
                <a:lnTo>
                  <a:pt x="10" y="34"/>
                </a:lnTo>
                <a:lnTo>
                  <a:pt x="10" y="25"/>
                </a:lnTo>
                <a:lnTo>
                  <a:pt x="10" y="22"/>
                </a:lnTo>
                <a:lnTo>
                  <a:pt x="10" y="15"/>
                </a:lnTo>
                <a:lnTo>
                  <a:pt x="10" y="12"/>
                </a:lnTo>
                <a:lnTo>
                  <a:pt x="10" y="9"/>
                </a:lnTo>
                <a:lnTo>
                  <a:pt x="16" y="6"/>
                </a:lnTo>
                <a:lnTo>
                  <a:pt x="22" y="3"/>
                </a:lnTo>
                <a:lnTo>
                  <a:pt x="25" y="3"/>
                </a:lnTo>
                <a:lnTo>
                  <a:pt x="32" y="3"/>
                </a:lnTo>
                <a:lnTo>
                  <a:pt x="38" y="6"/>
                </a:lnTo>
                <a:lnTo>
                  <a:pt x="41" y="3"/>
                </a:lnTo>
                <a:lnTo>
                  <a:pt x="41" y="3"/>
                </a:lnTo>
                <a:lnTo>
                  <a:pt x="47" y="0"/>
                </a:lnTo>
                <a:lnTo>
                  <a:pt x="50" y="0"/>
                </a:lnTo>
                <a:lnTo>
                  <a:pt x="50" y="3"/>
                </a:lnTo>
                <a:lnTo>
                  <a:pt x="54" y="6"/>
                </a:lnTo>
                <a:lnTo>
                  <a:pt x="60" y="6"/>
                </a:lnTo>
                <a:lnTo>
                  <a:pt x="63" y="0"/>
                </a:lnTo>
                <a:lnTo>
                  <a:pt x="66" y="0"/>
                </a:lnTo>
                <a:lnTo>
                  <a:pt x="69" y="3"/>
                </a:lnTo>
                <a:lnTo>
                  <a:pt x="79" y="9"/>
                </a:lnTo>
                <a:lnTo>
                  <a:pt x="82" y="9"/>
                </a:lnTo>
                <a:lnTo>
                  <a:pt x="82" y="9"/>
                </a:lnTo>
                <a:lnTo>
                  <a:pt x="85" y="9"/>
                </a:lnTo>
                <a:lnTo>
                  <a:pt x="91" y="12"/>
                </a:lnTo>
                <a:lnTo>
                  <a:pt x="91" y="15"/>
                </a:lnTo>
                <a:lnTo>
                  <a:pt x="97" y="18"/>
                </a:lnTo>
                <a:lnTo>
                  <a:pt x="104" y="15"/>
                </a:lnTo>
                <a:lnTo>
                  <a:pt x="107" y="12"/>
                </a:lnTo>
                <a:lnTo>
                  <a:pt x="110" y="12"/>
                </a:lnTo>
                <a:lnTo>
                  <a:pt x="113" y="15"/>
                </a:lnTo>
                <a:lnTo>
                  <a:pt x="116" y="15"/>
                </a:lnTo>
                <a:lnTo>
                  <a:pt x="116" y="18"/>
                </a:lnTo>
                <a:lnTo>
                  <a:pt x="116" y="25"/>
                </a:lnTo>
                <a:lnTo>
                  <a:pt x="116" y="28"/>
                </a:lnTo>
                <a:lnTo>
                  <a:pt x="116" y="31"/>
                </a:lnTo>
                <a:lnTo>
                  <a:pt x="119" y="34"/>
                </a:lnTo>
                <a:lnTo>
                  <a:pt x="122" y="40"/>
                </a:lnTo>
                <a:lnTo>
                  <a:pt x="119" y="44"/>
                </a:lnTo>
                <a:lnTo>
                  <a:pt x="119" y="47"/>
                </a:lnTo>
                <a:lnTo>
                  <a:pt x="116" y="50"/>
                </a:lnTo>
                <a:lnTo>
                  <a:pt x="110" y="59"/>
                </a:lnTo>
                <a:lnTo>
                  <a:pt x="110" y="62"/>
                </a:lnTo>
                <a:lnTo>
                  <a:pt x="110" y="65"/>
                </a:lnTo>
                <a:lnTo>
                  <a:pt x="107" y="72"/>
                </a:lnTo>
                <a:lnTo>
                  <a:pt x="107" y="75"/>
                </a:lnTo>
                <a:lnTo>
                  <a:pt x="107" y="81"/>
                </a:lnTo>
                <a:lnTo>
                  <a:pt x="104" y="84"/>
                </a:lnTo>
                <a:lnTo>
                  <a:pt x="104" y="84"/>
                </a:lnTo>
                <a:lnTo>
                  <a:pt x="107" y="87"/>
                </a:lnTo>
                <a:lnTo>
                  <a:pt x="110" y="94"/>
                </a:lnTo>
                <a:lnTo>
                  <a:pt x="110" y="100"/>
                </a:lnTo>
                <a:lnTo>
                  <a:pt x="116" y="100"/>
                </a:lnTo>
                <a:lnTo>
                  <a:pt x="116" y="103"/>
                </a:lnTo>
                <a:lnTo>
                  <a:pt x="116" y="109"/>
                </a:lnTo>
                <a:lnTo>
                  <a:pt x="113" y="109"/>
                </a:lnTo>
                <a:lnTo>
                  <a:pt x="110" y="109"/>
                </a:lnTo>
                <a:lnTo>
                  <a:pt x="110" y="112"/>
                </a:lnTo>
                <a:lnTo>
                  <a:pt x="107" y="106"/>
                </a:lnTo>
                <a:lnTo>
                  <a:pt x="104" y="109"/>
                </a:lnTo>
                <a:lnTo>
                  <a:pt x="100" y="112"/>
                </a:lnTo>
                <a:lnTo>
                  <a:pt x="91" y="109"/>
                </a:lnTo>
                <a:lnTo>
                  <a:pt x="82" y="112"/>
                </a:lnTo>
                <a:lnTo>
                  <a:pt x="57" y="112"/>
                </a:lnTo>
                <a:lnTo>
                  <a:pt x="50" y="112"/>
                </a:lnTo>
                <a:lnTo>
                  <a:pt x="50" y="115"/>
                </a:lnTo>
                <a:lnTo>
                  <a:pt x="35" y="119"/>
                </a:lnTo>
                <a:lnTo>
                  <a:pt x="35" y="122"/>
                </a:lnTo>
                <a:lnTo>
                  <a:pt x="29" y="122"/>
                </a:lnTo>
                <a:lnTo>
                  <a:pt x="22" y="128"/>
                </a:lnTo>
                <a:lnTo>
                  <a:pt x="22" y="128"/>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29" name="Freeform 127">
            <a:extLst>
              <a:ext uri="{FF2B5EF4-FFF2-40B4-BE49-F238E27FC236}">
                <a16:creationId xmlns:a16="http://schemas.microsoft.com/office/drawing/2014/main" id="{15E9201F-2285-B51D-6933-6B8EB5BAA359}"/>
              </a:ext>
            </a:extLst>
          </p:cNvPr>
          <p:cNvSpPr>
            <a:spLocks/>
          </p:cNvSpPr>
          <p:nvPr userDrawn="1"/>
        </p:nvSpPr>
        <p:spPr bwMode="auto">
          <a:xfrm>
            <a:off x="12981730" y="8660683"/>
            <a:ext cx="266685" cy="419102"/>
          </a:xfrm>
          <a:custGeom>
            <a:avLst/>
            <a:gdLst>
              <a:gd name="T0" fmla="*/ 6 w 84"/>
              <a:gd name="T1" fmla="*/ 122 h 132"/>
              <a:gd name="T2" fmla="*/ 12 w 84"/>
              <a:gd name="T3" fmla="*/ 122 h 132"/>
              <a:gd name="T4" fmla="*/ 12 w 84"/>
              <a:gd name="T5" fmla="*/ 113 h 132"/>
              <a:gd name="T6" fmla="*/ 6 w 84"/>
              <a:gd name="T7" fmla="*/ 107 h 132"/>
              <a:gd name="T8" fmla="*/ 0 w 84"/>
              <a:gd name="T9" fmla="*/ 97 h 132"/>
              <a:gd name="T10" fmla="*/ 3 w 84"/>
              <a:gd name="T11" fmla="*/ 94 h 132"/>
              <a:gd name="T12" fmla="*/ 3 w 84"/>
              <a:gd name="T13" fmla="*/ 85 h 132"/>
              <a:gd name="T14" fmla="*/ 6 w 84"/>
              <a:gd name="T15" fmla="*/ 75 h 132"/>
              <a:gd name="T16" fmla="*/ 12 w 84"/>
              <a:gd name="T17" fmla="*/ 63 h 132"/>
              <a:gd name="T18" fmla="*/ 15 w 84"/>
              <a:gd name="T19" fmla="*/ 57 h 132"/>
              <a:gd name="T20" fmla="*/ 15 w 84"/>
              <a:gd name="T21" fmla="*/ 47 h 132"/>
              <a:gd name="T22" fmla="*/ 12 w 84"/>
              <a:gd name="T23" fmla="*/ 41 h 132"/>
              <a:gd name="T24" fmla="*/ 12 w 84"/>
              <a:gd name="T25" fmla="*/ 31 h 132"/>
              <a:gd name="T26" fmla="*/ 9 w 84"/>
              <a:gd name="T27" fmla="*/ 19 h 132"/>
              <a:gd name="T28" fmla="*/ 6 w 84"/>
              <a:gd name="T29" fmla="*/ 10 h 132"/>
              <a:gd name="T30" fmla="*/ 15 w 84"/>
              <a:gd name="T31" fmla="*/ 6 h 132"/>
              <a:gd name="T32" fmla="*/ 31 w 84"/>
              <a:gd name="T33" fmla="*/ 3 h 132"/>
              <a:gd name="T34" fmla="*/ 46 w 84"/>
              <a:gd name="T35" fmla="*/ 3 h 132"/>
              <a:gd name="T36" fmla="*/ 56 w 84"/>
              <a:gd name="T37" fmla="*/ 0 h 132"/>
              <a:gd name="T38" fmla="*/ 59 w 84"/>
              <a:gd name="T39" fmla="*/ 6 h 132"/>
              <a:gd name="T40" fmla="*/ 62 w 84"/>
              <a:gd name="T41" fmla="*/ 13 h 132"/>
              <a:gd name="T42" fmla="*/ 68 w 84"/>
              <a:gd name="T43" fmla="*/ 19 h 132"/>
              <a:gd name="T44" fmla="*/ 71 w 84"/>
              <a:gd name="T45" fmla="*/ 25 h 132"/>
              <a:gd name="T46" fmla="*/ 75 w 84"/>
              <a:gd name="T47" fmla="*/ 35 h 132"/>
              <a:gd name="T48" fmla="*/ 75 w 84"/>
              <a:gd name="T49" fmla="*/ 41 h 132"/>
              <a:gd name="T50" fmla="*/ 75 w 84"/>
              <a:gd name="T51" fmla="*/ 47 h 132"/>
              <a:gd name="T52" fmla="*/ 75 w 84"/>
              <a:gd name="T53" fmla="*/ 53 h 132"/>
              <a:gd name="T54" fmla="*/ 75 w 84"/>
              <a:gd name="T55" fmla="*/ 60 h 132"/>
              <a:gd name="T56" fmla="*/ 78 w 84"/>
              <a:gd name="T57" fmla="*/ 69 h 132"/>
              <a:gd name="T58" fmla="*/ 75 w 84"/>
              <a:gd name="T59" fmla="*/ 85 h 132"/>
              <a:gd name="T60" fmla="*/ 75 w 84"/>
              <a:gd name="T61" fmla="*/ 91 h 132"/>
              <a:gd name="T62" fmla="*/ 78 w 84"/>
              <a:gd name="T63" fmla="*/ 100 h 132"/>
              <a:gd name="T64" fmla="*/ 81 w 84"/>
              <a:gd name="T65" fmla="*/ 103 h 132"/>
              <a:gd name="T66" fmla="*/ 71 w 84"/>
              <a:gd name="T67" fmla="*/ 110 h 132"/>
              <a:gd name="T68" fmla="*/ 53 w 84"/>
              <a:gd name="T69" fmla="*/ 122 h 132"/>
              <a:gd name="T70" fmla="*/ 25 w 84"/>
              <a:gd name="T71" fmla="*/ 132 h 132"/>
              <a:gd name="T72" fmla="*/ 6 w 84"/>
              <a:gd name="T73" fmla="*/ 12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4" h="132">
                <a:moveTo>
                  <a:pt x="6" y="125"/>
                </a:moveTo>
                <a:lnTo>
                  <a:pt x="6" y="122"/>
                </a:lnTo>
                <a:lnTo>
                  <a:pt x="9" y="122"/>
                </a:lnTo>
                <a:lnTo>
                  <a:pt x="12" y="122"/>
                </a:lnTo>
                <a:lnTo>
                  <a:pt x="12" y="116"/>
                </a:lnTo>
                <a:lnTo>
                  <a:pt x="12" y="113"/>
                </a:lnTo>
                <a:lnTo>
                  <a:pt x="6" y="113"/>
                </a:lnTo>
                <a:lnTo>
                  <a:pt x="6" y="107"/>
                </a:lnTo>
                <a:lnTo>
                  <a:pt x="3" y="100"/>
                </a:lnTo>
                <a:lnTo>
                  <a:pt x="0" y="97"/>
                </a:lnTo>
                <a:lnTo>
                  <a:pt x="0" y="97"/>
                </a:lnTo>
                <a:lnTo>
                  <a:pt x="3" y="94"/>
                </a:lnTo>
                <a:lnTo>
                  <a:pt x="3" y="88"/>
                </a:lnTo>
                <a:lnTo>
                  <a:pt x="3" y="85"/>
                </a:lnTo>
                <a:lnTo>
                  <a:pt x="6" y="78"/>
                </a:lnTo>
                <a:lnTo>
                  <a:pt x="6" y="75"/>
                </a:lnTo>
                <a:lnTo>
                  <a:pt x="6" y="72"/>
                </a:lnTo>
                <a:lnTo>
                  <a:pt x="12" y="63"/>
                </a:lnTo>
                <a:lnTo>
                  <a:pt x="15" y="60"/>
                </a:lnTo>
                <a:lnTo>
                  <a:pt x="15" y="57"/>
                </a:lnTo>
                <a:lnTo>
                  <a:pt x="18" y="53"/>
                </a:lnTo>
                <a:lnTo>
                  <a:pt x="15" y="47"/>
                </a:lnTo>
                <a:lnTo>
                  <a:pt x="12" y="44"/>
                </a:lnTo>
                <a:lnTo>
                  <a:pt x="12" y="41"/>
                </a:lnTo>
                <a:lnTo>
                  <a:pt x="12" y="38"/>
                </a:lnTo>
                <a:lnTo>
                  <a:pt x="12" y="31"/>
                </a:lnTo>
                <a:lnTo>
                  <a:pt x="12" y="22"/>
                </a:lnTo>
                <a:lnTo>
                  <a:pt x="9" y="19"/>
                </a:lnTo>
                <a:lnTo>
                  <a:pt x="9" y="16"/>
                </a:lnTo>
                <a:lnTo>
                  <a:pt x="6" y="10"/>
                </a:lnTo>
                <a:lnTo>
                  <a:pt x="6" y="6"/>
                </a:lnTo>
                <a:lnTo>
                  <a:pt x="15" y="6"/>
                </a:lnTo>
                <a:lnTo>
                  <a:pt x="28" y="6"/>
                </a:lnTo>
                <a:lnTo>
                  <a:pt x="31" y="3"/>
                </a:lnTo>
                <a:lnTo>
                  <a:pt x="40" y="3"/>
                </a:lnTo>
                <a:lnTo>
                  <a:pt x="46" y="3"/>
                </a:lnTo>
                <a:lnTo>
                  <a:pt x="53" y="3"/>
                </a:lnTo>
                <a:lnTo>
                  <a:pt x="56" y="0"/>
                </a:lnTo>
                <a:lnTo>
                  <a:pt x="59" y="0"/>
                </a:lnTo>
                <a:lnTo>
                  <a:pt x="59" y="6"/>
                </a:lnTo>
                <a:lnTo>
                  <a:pt x="62" y="10"/>
                </a:lnTo>
                <a:lnTo>
                  <a:pt x="62" y="13"/>
                </a:lnTo>
                <a:lnTo>
                  <a:pt x="65" y="16"/>
                </a:lnTo>
                <a:lnTo>
                  <a:pt x="68" y="19"/>
                </a:lnTo>
                <a:lnTo>
                  <a:pt x="71" y="22"/>
                </a:lnTo>
                <a:lnTo>
                  <a:pt x="71" y="25"/>
                </a:lnTo>
                <a:lnTo>
                  <a:pt x="71" y="35"/>
                </a:lnTo>
                <a:lnTo>
                  <a:pt x="75" y="35"/>
                </a:lnTo>
                <a:lnTo>
                  <a:pt x="75" y="35"/>
                </a:lnTo>
                <a:lnTo>
                  <a:pt x="75" y="41"/>
                </a:lnTo>
                <a:lnTo>
                  <a:pt x="75" y="44"/>
                </a:lnTo>
                <a:lnTo>
                  <a:pt x="75" y="47"/>
                </a:lnTo>
                <a:lnTo>
                  <a:pt x="75" y="50"/>
                </a:lnTo>
                <a:lnTo>
                  <a:pt x="75" y="53"/>
                </a:lnTo>
                <a:lnTo>
                  <a:pt x="75" y="57"/>
                </a:lnTo>
                <a:lnTo>
                  <a:pt x="75" y="60"/>
                </a:lnTo>
                <a:lnTo>
                  <a:pt x="75" y="66"/>
                </a:lnTo>
                <a:lnTo>
                  <a:pt x="78" y="69"/>
                </a:lnTo>
                <a:lnTo>
                  <a:pt x="78" y="82"/>
                </a:lnTo>
                <a:lnTo>
                  <a:pt x="75" y="85"/>
                </a:lnTo>
                <a:lnTo>
                  <a:pt x="75" y="88"/>
                </a:lnTo>
                <a:lnTo>
                  <a:pt x="75" y="91"/>
                </a:lnTo>
                <a:lnTo>
                  <a:pt x="75" y="97"/>
                </a:lnTo>
                <a:lnTo>
                  <a:pt x="78" y="100"/>
                </a:lnTo>
                <a:lnTo>
                  <a:pt x="78" y="103"/>
                </a:lnTo>
                <a:lnTo>
                  <a:pt x="81" y="103"/>
                </a:lnTo>
                <a:lnTo>
                  <a:pt x="84" y="107"/>
                </a:lnTo>
                <a:lnTo>
                  <a:pt x="71" y="110"/>
                </a:lnTo>
                <a:lnTo>
                  <a:pt x="62" y="113"/>
                </a:lnTo>
                <a:lnTo>
                  <a:pt x="53" y="122"/>
                </a:lnTo>
                <a:lnTo>
                  <a:pt x="40" y="122"/>
                </a:lnTo>
                <a:lnTo>
                  <a:pt x="25" y="132"/>
                </a:lnTo>
                <a:lnTo>
                  <a:pt x="15" y="128"/>
                </a:lnTo>
                <a:lnTo>
                  <a:pt x="6" y="125"/>
                </a:lnTo>
                <a:lnTo>
                  <a:pt x="6" y="125"/>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0" name="Freeform 128">
            <a:extLst>
              <a:ext uri="{FF2B5EF4-FFF2-40B4-BE49-F238E27FC236}">
                <a16:creationId xmlns:a16="http://schemas.microsoft.com/office/drawing/2014/main" id="{1B4BEC92-97C8-F932-A108-33B3ADB34002}"/>
              </a:ext>
            </a:extLst>
          </p:cNvPr>
          <p:cNvSpPr>
            <a:spLocks/>
          </p:cNvSpPr>
          <p:nvPr userDrawn="1"/>
        </p:nvSpPr>
        <p:spPr bwMode="auto">
          <a:xfrm>
            <a:off x="13169040" y="8660687"/>
            <a:ext cx="117470" cy="339726"/>
          </a:xfrm>
          <a:custGeom>
            <a:avLst/>
            <a:gdLst>
              <a:gd name="T0" fmla="*/ 22 w 37"/>
              <a:gd name="T1" fmla="*/ 6 h 107"/>
              <a:gd name="T2" fmla="*/ 0 w 37"/>
              <a:gd name="T3" fmla="*/ 0 h 107"/>
              <a:gd name="T4" fmla="*/ 0 w 37"/>
              <a:gd name="T5" fmla="*/ 0 h 107"/>
              <a:gd name="T6" fmla="*/ 0 w 37"/>
              <a:gd name="T7" fmla="*/ 6 h 107"/>
              <a:gd name="T8" fmla="*/ 3 w 37"/>
              <a:gd name="T9" fmla="*/ 10 h 107"/>
              <a:gd name="T10" fmla="*/ 3 w 37"/>
              <a:gd name="T11" fmla="*/ 13 h 107"/>
              <a:gd name="T12" fmla="*/ 6 w 37"/>
              <a:gd name="T13" fmla="*/ 16 h 107"/>
              <a:gd name="T14" fmla="*/ 9 w 37"/>
              <a:gd name="T15" fmla="*/ 19 h 107"/>
              <a:gd name="T16" fmla="*/ 12 w 37"/>
              <a:gd name="T17" fmla="*/ 22 h 107"/>
              <a:gd name="T18" fmla="*/ 12 w 37"/>
              <a:gd name="T19" fmla="*/ 25 h 107"/>
              <a:gd name="T20" fmla="*/ 12 w 37"/>
              <a:gd name="T21" fmla="*/ 35 h 107"/>
              <a:gd name="T22" fmla="*/ 16 w 37"/>
              <a:gd name="T23" fmla="*/ 35 h 107"/>
              <a:gd name="T24" fmla="*/ 16 w 37"/>
              <a:gd name="T25" fmla="*/ 35 h 107"/>
              <a:gd name="T26" fmla="*/ 16 w 37"/>
              <a:gd name="T27" fmla="*/ 41 h 107"/>
              <a:gd name="T28" fmla="*/ 16 w 37"/>
              <a:gd name="T29" fmla="*/ 44 h 107"/>
              <a:gd name="T30" fmla="*/ 16 w 37"/>
              <a:gd name="T31" fmla="*/ 47 h 107"/>
              <a:gd name="T32" fmla="*/ 16 w 37"/>
              <a:gd name="T33" fmla="*/ 50 h 107"/>
              <a:gd name="T34" fmla="*/ 16 w 37"/>
              <a:gd name="T35" fmla="*/ 53 h 107"/>
              <a:gd name="T36" fmla="*/ 16 w 37"/>
              <a:gd name="T37" fmla="*/ 57 h 107"/>
              <a:gd name="T38" fmla="*/ 16 w 37"/>
              <a:gd name="T39" fmla="*/ 60 h 107"/>
              <a:gd name="T40" fmla="*/ 16 w 37"/>
              <a:gd name="T41" fmla="*/ 66 h 107"/>
              <a:gd name="T42" fmla="*/ 19 w 37"/>
              <a:gd name="T43" fmla="*/ 69 h 107"/>
              <a:gd name="T44" fmla="*/ 19 w 37"/>
              <a:gd name="T45" fmla="*/ 82 h 107"/>
              <a:gd name="T46" fmla="*/ 16 w 37"/>
              <a:gd name="T47" fmla="*/ 85 h 107"/>
              <a:gd name="T48" fmla="*/ 16 w 37"/>
              <a:gd name="T49" fmla="*/ 88 h 107"/>
              <a:gd name="T50" fmla="*/ 16 w 37"/>
              <a:gd name="T51" fmla="*/ 91 h 107"/>
              <a:gd name="T52" fmla="*/ 16 w 37"/>
              <a:gd name="T53" fmla="*/ 97 h 107"/>
              <a:gd name="T54" fmla="*/ 19 w 37"/>
              <a:gd name="T55" fmla="*/ 100 h 107"/>
              <a:gd name="T56" fmla="*/ 19 w 37"/>
              <a:gd name="T57" fmla="*/ 103 h 107"/>
              <a:gd name="T58" fmla="*/ 22 w 37"/>
              <a:gd name="T59" fmla="*/ 103 h 107"/>
              <a:gd name="T60" fmla="*/ 25 w 37"/>
              <a:gd name="T61" fmla="*/ 107 h 107"/>
              <a:gd name="T62" fmla="*/ 25 w 37"/>
              <a:gd name="T63" fmla="*/ 107 h 107"/>
              <a:gd name="T64" fmla="*/ 37 w 37"/>
              <a:gd name="T65" fmla="*/ 100 h 107"/>
              <a:gd name="T66" fmla="*/ 37 w 37"/>
              <a:gd name="T67" fmla="*/ 100 h 107"/>
              <a:gd name="T68" fmla="*/ 37 w 37"/>
              <a:gd name="T69" fmla="*/ 97 h 107"/>
              <a:gd name="T70" fmla="*/ 37 w 37"/>
              <a:gd name="T71" fmla="*/ 94 h 107"/>
              <a:gd name="T72" fmla="*/ 37 w 37"/>
              <a:gd name="T73" fmla="*/ 88 h 107"/>
              <a:gd name="T74" fmla="*/ 34 w 37"/>
              <a:gd name="T75" fmla="*/ 82 h 107"/>
              <a:gd name="T76" fmla="*/ 34 w 37"/>
              <a:gd name="T77" fmla="*/ 60 h 107"/>
              <a:gd name="T78" fmla="*/ 34 w 37"/>
              <a:gd name="T79" fmla="*/ 57 h 107"/>
              <a:gd name="T80" fmla="*/ 37 w 37"/>
              <a:gd name="T81" fmla="*/ 53 h 107"/>
              <a:gd name="T82" fmla="*/ 37 w 37"/>
              <a:gd name="T83" fmla="*/ 47 h 107"/>
              <a:gd name="T84" fmla="*/ 37 w 37"/>
              <a:gd name="T85" fmla="*/ 44 h 107"/>
              <a:gd name="T86" fmla="*/ 37 w 37"/>
              <a:gd name="T87" fmla="*/ 41 h 107"/>
              <a:gd name="T88" fmla="*/ 34 w 37"/>
              <a:gd name="T89" fmla="*/ 31 h 107"/>
              <a:gd name="T90" fmla="*/ 31 w 37"/>
              <a:gd name="T91" fmla="*/ 22 h 107"/>
              <a:gd name="T92" fmla="*/ 28 w 37"/>
              <a:gd name="T93" fmla="*/ 19 h 107"/>
              <a:gd name="T94" fmla="*/ 25 w 37"/>
              <a:gd name="T95" fmla="*/ 16 h 107"/>
              <a:gd name="T96" fmla="*/ 22 w 37"/>
              <a:gd name="T97" fmla="*/ 16 h 107"/>
              <a:gd name="T98" fmla="*/ 19 w 37"/>
              <a:gd name="T99" fmla="*/ 10 h 107"/>
              <a:gd name="T100" fmla="*/ 22 w 37"/>
              <a:gd name="T101" fmla="*/ 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 h="107">
                <a:moveTo>
                  <a:pt x="22" y="6"/>
                </a:moveTo>
                <a:lnTo>
                  <a:pt x="0" y="0"/>
                </a:lnTo>
                <a:lnTo>
                  <a:pt x="0" y="0"/>
                </a:lnTo>
                <a:lnTo>
                  <a:pt x="0" y="6"/>
                </a:lnTo>
                <a:lnTo>
                  <a:pt x="3" y="10"/>
                </a:lnTo>
                <a:lnTo>
                  <a:pt x="3" y="13"/>
                </a:lnTo>
                <a:lnTo>
                  <a:pt x="6" y="16"/>
                </a:lnTo>
                <a:lnTo>
                  <a:pt x="9" y="19"/>
                </a:lnTo>
                <a:lnTo>
                  <a:pt x="12" y="22"/>
                </a:lnTo>
                <a:lnTo>
                  <a:pt x="12" y="25"/>
                </a:lnTo>
                <a:lnTo>
                  <a:pt x="12" y="35"/>
                </a:lnTo>
                <a:lnTo>
                  <a:pt x="16" y="35"/>
                </a:lnTo>
                <a:lnTo>
                  <a:pt x="16" y="35"/>
                </a:lnTo>
                <a:lnTo>
                  <a:pt x="16" y="41"/>
                </a:lnTo>
                <a:lnTo>
                  <a:pt x="16" y="44"/>
                </a:lnTo>
                <a:lnTo>
                  <a:pt x="16" y="47"/>
                </a:lnTo>
                <a:lnTo>
                  <a:pt x="16" y="50"/>
                </a:lnTo>
                <a:lnTo>
                  <a:pt x="16" y="53"/>
                </a:lnTo>
                <a:lnTo>
                  <a:pt x="16" y="57"/>
                </a:lnTo>
                <a:lnTo>
                  <a:pt x="16" y="60"/>
                </a:lnTo>
                <a:lnTo>
                  <a:pt x="16" y="66"/>
                </a:lnTo>
                <a:lnTo>
                  <a:pt x="19" y="69"/>
                </a:lnTo>
                <a:lnTo>
                  <a:pt x="19" y="82"/>
                </a:lnTo>
                <a:lnTo>
                  <a:pt x="16" y="85"/>
                </a:lnTo>
                <a:lnTo>
                  <a:pt x="16" y="88"/>
                </a:lnTo>
                <a:lnTo>
                  <a:pt x="16" y="91"/>
                </a:lnTo>
                <a:lnTo>
                  <a:pt x="16" y="97"/>
                </a:lnTo>
                <a:lnTo>
                  <a:pt x="19" y="100"/>
                </a:lnTo>
                <a:lnTo>
                  <a:pt x="19" y="103"/>
                </a:lnTo>
                <a:lnTo>
                  <a:pt x="22" y="103"/>
                </a:lnTo>
                <a:lnTo>
                  <a:pt x="25" y="107"/>
                </a:lnTo>
                <a:lnTo>
                  <a:pt x="25" y="107"/>
                </a:lnTo>
                <a:lnTo>
                  <a:pt x="37" y="100"/>
                </a:lnTo>
                <a:lnTo>
                  <a:pt x="37" y="100"/>
                </a:lnTo>
                <a:lnTo>
                  <a:pt x="37" y="97"/>
                </a:lnTo>
                <a:lnTo>
                  <a:pt x="37" y="94"/>
                </a:lnTo>
                <a:lnTo>
                  <a:pt x="37" y="88"/>
                </a:lnTo>
                <a:lnTo>
                  <a:pt x="34" y="82"/>
                </a:lnTo>
                <a:lnTo>
                  <a:pt x="34" y="60"/>
                </a:lnTo>
                <a:lnTo>
                  <a:pt x="34" y="57"/>
                </a:lnTo>
                <a:lnTo>
                  <a:pt x="37" y="53"/>
                </a:lnTo>
                <a:lnTo>
                  <a:pt x="37" y="47"/>
                </a:lnTo>
                <a:lnTo>
                  <a:pt x="37" y="44"/>
                </a:lnTo>
                <a:lnTo>
                  <a:pt x="37" y="41"/>
                </a:lnTo>
                <a:lnTo>
                  <a:pt x="34" y="31"/>
                </a:lnTo>
                <a:lnTo>
                  <a:pt x="31" y="22"/>
                </a:lnTo>
                <a:lnTo>
                  <a:pt x="28" y="19"/>
                </a:lnTo>
                <a:lnTo>
                  <a:pt x="25" y="16"/>
                </a:lnTo>
                <a:lnTo>
                  <a:pt x="22" y="16"/>
                </a:lnTo>
                <a:lnTo>
                  <a:pt x="19" y="10"/>
                </a:lnTo>
                <a:lnTo>
                  <a:pt x="22" y="6"/>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1" name="Freeform 129">
            <a:extLst>
              <a:ext uri="{FF2B5EF4-FFF2-40B4-BE49-F238E27FC236}">
                <a16:creationId xmlns:a16="http://schemas.microsoft.com/office/drawing/2014/main" id="{DF9710B4-EED7-3A8B-9FE9-26463D806B2E}"/>
              </a:ext>
            </a:extLst>
          </p:cNvPr>
          <p:cNvSpPr>
            <a:spLocks/>
          </p:cNvSpPr>
          <p:nvPr userDrawn="1"/>
        </p:nvSpPr>
        <p:spPr bwMode="auto">
          <a:xfrm>
            <a:off x="13229366" y="8581306"/>
            <a:ext cx="196837" cy="406400"/>
          </a:xfrm>
          <a:custGeom>
            <a:avLst/>
            <a:gdLst>
              <a:gd name="T0" fmla="*/ 31 w 62"/>
              <a:gd name="T1" fmla="*/ 10 h 128"/>
              <a:gd name="T2" fmla="*/ 22 w 62"/>
              <a:gd name="T3" fmla="*/ 16 h 128"/>
              <a:gd name="T4" fmla="*/ 15 w 62"/>
              <a:gd name="T5" fmla="*/ 16 h 128"/>
              <a:gd name="T6" fmla="*/ 9 w 62"/>
              <a:gd name="T7" fmla="*/ 22 h 128"/>
              <a:gd name="T8" fmla="*/ 9 w 62"/>
              <a:gd name="T9" fmla="*/ 28 h 128"/>
              <a:gd name="T10" fmla="*/ 0 w 62"/>
              <a:gd name="T11" fmla="*/ 35 h 128"/>
              <a:gd name="T12" fmla="*/ 6 w 62"/>
              <a:gd name="T13" fmla="*/ 41 h 128"/>
              <a:gd name="T14" fmla="*/ 12 w 62"/>
              <a:gd name="T15" fmla="*/ 47 h 128"/>
              <a:gd name="T16" fmla="*/ 18 w 62"/>
              <a:gd name="T17" fmla="*/ 66 h 128"/>
              <a:gd name="T18" fmla="*/ 18 w 62"/>
              <a:gd name="T19" fmla="*/ 72 h 128"/>
              <a:gd name="T20" fmla="*/ 15 w 62"/>
              <a:gd name="T21" fmla="*/ 82 h 128"/>
              <a:gd name="T22" fmla="*/ 15 w 62"/>
              <a:gd name="T23" fmla="*/ 107 h 128"/>
              <a:gd name="T24" fmla="*/ 18 w 62"/>
              <a:gd name="T25" fmla="*/ 119 h 128"/>
              <a:gd name="T26" fmla="*/ 18 w 62"/>
              <a:gd name="T27" fmla="*/ 125 h 128"/>
              <a:gd name="T28" fmla="*/ 40 w 62"/>
              <a:gd name="T29" fmla="*/ 122 h 128"/>
              <a:gd name="T30" fmla="*/ 40 w 62"/>
              <a:gd name="T31" fmla="*/ 119 h 128"/>
              <a:gd name="T32" fmla="*/ 40 w 62"/>
              <a:gd name="T33" fmla="*/ 107 h 128"/>
              <a:gd name="T34" fmla="*/ 40 w 62"/>
              <a:gd name="T35" fmla="*/ 94 h 128"/>
              <a:gd name="T36" fmla="*/ 40 w 62"/>
              <a:gd name="T37" fmla="*/ 91 h 128"/>
              <a:gd name="T38" fmla="*/ 40 w 62"/>
              <a:gd name="T39" fmla="*/ 88 h 128"/>
              <a:gd name="T40" fmla="*/ 40 w 62"/>
              <a:gd name="T41" fmla="*/ 82 h 128"/>
              <a:gd name="T42" fmla="*/ 40 w 62"/>
              <a:gd name="T43" fmla="*/ 75 h 128"/>
              <a:gd name="T44" fmla="*/ 40 w 62"/>
              <a:gd name="T45" fmla="*/ 69 h 128"/>
              <a:gd name="T46" fmla="*/ 47 w 62"/>
              <a:gd name="T47" fmla="*/ 66 h 128"/>
              <a:gd name="T48" fmla="*/ 50 w 62"/>
              <a:gd name="T49" fmla="*/ 63 h 128"/>
              <a:gd name="T50" fmla="*/ 53 w 62"/>
              <a:gd name="T51" fmla="*/ 53 h 128"/>
              <a:gd name="T52" fmla="*/ 59 w 62"/>
              <a:gd name="T53" fmla="*/ 53 h 128"/>
              <a:gd name="T54" fmla="*/ 56 w 62"/>
              <a:gd name="T55" fmla="*/ 47 h 128"/>
              <a:gd name="T56" fmla="*/ 59 w 62"/>
              <a:gd name="T57" fmla="*/ 41 h 128"/>
              <a:gd name="T58" fmla="*/ 62 w 62"/>
              <a:gd name="T59" fmla="*/ 38 h 128"/>
              <a:gd name="T60" fmla="*/ 62 w 62"/>
              <a:gd name="T61" fmla="*/ 28 h 128"/>
              <a:gd name="T62" fmla="*/ 56 w 62"/>
              <a:gd name="T63" fmla="*/ 19 h 128"/>
              <a:gd name="T64" fmla="*/ 56 w 62"/>
              <a:gd name="T65" fmla="*/ 16 h 128"/>
              <a:gd name="T66" fmla="*/ 47 w 62"/>
              <a:gd name="T67" fmla="*/ 10 h 128"/>
              <a:gd name="T68" fmla="*/ 37 w 62"/>
              <a:gd name="T69" fmla="*/ 0 h 128"/>
              <a:gd name="T70" fmla="*/ 37 w 62"/>
              <a:gd name="T71" fmla="*/ 3 h 128"/>
              <a:gd name="T72" fmla="*/ 31 w 62"/>
              <a:gd name="T73" fmla="*/ 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128">
                <a:moveTo>
                  <a:pt x="31" y="6"/>
                </a:moveTo>
                <a:lnTo>
                  <a:pt x="31" y="10"/>
                </a:lnTo>
                <a:lnTo>
                  <a:pt x="25" y="13"/>
                </a:lnTo>
                <a:lnTo>
                  <a:pt x="22" y="16"/>
                </a:lnTo>
                <a:lnTo>
                  <a:pt x="15" y="19"/>
                </a:lnTo>
                <a:lnTo>
                  <a:pt x="15" y="16"/>
                </a:lnTo>
                <a:lnTo>
                  <a:pt x="9" y="19"/>
                </a:lnTo>
                <a:lnTo>
                  <a:pt x="9" y="22"/>
                </a:lnTo>
                <a:lnTo>
                  <a:pt x="6" y="25"/>
                </a:lnTo>
                <a:lnTo>
                  <a:pt x="9" y="28"/>
                </a:lnTo>
                <a:lnTo>
                  <a:pt x="3" y="28"/>
                </a:lnTo>
                <a:lnTo>
                  <a:pt x="0" y="35"/>
                </a:lnTo>
                <a:lnTo>
                  <a:pt x="3" y="41"/>
                </a:lnTo>
                <a:lnTo>
                  <a:pt x="6" y="41"/>
                </a:lnTo>
                <a:lnTo>
                  <a:pt x="9" y="44"/>
                </a:lnTo>
                <a:lnTo>
                  <a:pt x="12" y="47"/>
                </a:lnTo>
                <a:lnTo>
                  <a:pt x="15" y="56"/>
                </a:lnTo>
                <a:lnTo>
                  <a:pt x="18" y="66"/>
                </a:lnTo>
                <a:lnTo>
                  <a:pt x="18" y="69"/>
                </a:lnTo>
                <a:lnTo>
                  <a:pt x="18" y="72"/>
                </a:lnTo>
                <a:lnTo>
                  <a:pt x="18" y="78"/>
                </a:lnTo>
                <a:lnTo>
                  <a:pt x="15" y="82"/>
                </a:lnTo>
                <a:lnTo>
                  <a:pt x="15" y="85"/>
                </a:lnTo>
                <a:lnTo>
                  <a:pt x="15" y="107"/>
                </a:lnTo>
                <a:lnTo>
                  <a:pt x="18" y="113"/>
                </a:lnTo>
                <a:lnTo>
                  <a:pt x="18" y="119"/>
                </a:lnTo>
                <a:lnTo>
                  <a:pt x="18" y="122"/>
                </a:lnTo>
                <a:lnTo>
                  <a:pt x="18" y="125"/>
                </a:lnTo>
                <a:lnTo>
                  <a:pt x="28" y="128"/>
                </a:lnTo>
                <a:lnTo>
                  <a:pt x="40" y="122"/>
                </a:lnTo>
                <a:lnTo>
                  <a:pt x="40" y="122"/>
                </a:lnTo>
                <a:lnTo>
                  <a:pt x="40" y="119"/>
                </a:lnTo>
                <a:lnTo>
                  <a:pt x="40" y="110"/>
                </a:lnTo>
                <a:lnTo>
                  <a:pt x="40" y="107"/>
                </a:lnTo>
                <a:lnTo>
                  <a:pt x="40" y="103"/>
                </a:lnTo>
                <a:lnTo>
                  <a:pt x="40" y="94"/>
                </a:lnTo>
                <a:lnTo>
                  <a:pt x="40" y="91"/>
                </a:lnTo>
                <a:lnTo>
                  <a:pt x="40" y="91"/>
                </a:lnTo>
                <a:lnTo>
                  <a:pt x="40" y="88"/>
                </a:lnTo>
                <a:lnTo>
                  <a:pt x="40" y="88"/>
                </a:lnTo>
                <a:lnTo>
                  <a:pt x="40" y="85"/>
                </a:lnTo>
                <a:lnTo>
                  <a:pt x="40" y="82"/>
                </a:lnTo>
                <a:lnTo>
                  <a:pt x="40" y="78"/>
                </a:lnTo>
                <a:lnTo>
                  <a:pt x="40" y="75"/>
                </a:lnTo>
                <a:lnTo>
                  <a:pt x="40" y="72"/>
                </a:lnTo>
                <a:lnTo>
                  <a:pt x="40" y="69"/>
                </a:lnTo>
                <a:lnTo>
                  <a:pt x="43" y="69"/>
                </a:lnTo>
                <a:lnTo>
                  <a:pt x="47" y="66"/>
                </a:lnTo>
                <a:lnTo>
                  <a:pt x="50" y="66"/>
                </a:lnTo>
                <a:lnTo>
                  <a:pt x="50" y="63"/>
                </a:lnTo>
                <a:lnTo>
                  <a:pt x="53" y="56"/>
                </a:lnTo>
                <a:lnTo>
                  <a:pt x="53" y="53"/>
                </a:lnTo>
                <a:lnTo>
                  <a:pt x="56" y="53"/>
                </a:lnTo>
                <a:lnTo>
                  <a:pt x="59" y="53"/>
                </a:lnTo>
                <a:lnTo>
                  <a:pt x="59" y="50"/>
                </a:lnTo>
                <a:lnTo>
                  <a:pt x="56" y="47"/>
                </a:lnTo>
                <a:lnTo>
                  <a:pt x="56" y="44"/>
                </a:lnTo>
                <a:lnTo>
                  <a:pt x="59" y="41"/>
                </a:lnTo>
                <a:lnTo>
                  <a:pt x="62" y="41"/>
                </a:lnTo>
                <a:lnTo>
                  <a:pt x="62" y="38"/>
                </a:lnTo>
                <a:lnTo>
                  <a:pt x="62" y="31"/>
                </a:lnTo>
                <a:lnTo>
                  <a:pt x="62" y="28"/>
                </a:lnTo>
                <a:lnTo>
                  <a:pt x="56" y="22"/>
                </a:lnTo>
                <a:lnTo>
                  <a:pt x="56" y="19"/>
                </a:lnTo>
                <a:lnTo>
                  <a:pt x="56" y="16"/>
                </a:lnTo>
                <a:lnTo>
                  <a:pt x="56" y="16"/>
                </a:lnTo>
                <a:lnTo>
                  <a:pt x="53" y="10"/>
                </a:lnTo>
                <a:lnTo>
                  <a:pt x="47" y="10"/>
                </a:lnTo>
                <a:lnTo>
                  <a:pt x="43" y="3"/>
                </a:lnTo>
                <a:lnTo>
                  <a:pt x="37" y="0"/>
                </a:lnTo>
                <a:lnTo>
                  <a:pt x="34" y="3"/>
                </a:lnTo>
                <a:lnTo>
                  <a:pt x="37" y="3"/>
                </a:lnTo>
                <a:lnTo>
                  <a:pt x="31" y="6"/>
                </a:lnTo>
                <a:lnTo>
                  <a:pt x="31" y="6"/>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2" name="Freeform 130">
            <a:extLst>
              <a:ext uri="{FF2B5EF4-FFF2-40B4-BE49-F238E27FC236}">
                <a16:creationId xmlns:a16="http://schemas.microsoft.com/office/drawing/2014/main" id="{0DDA314E-1F4E-8AB7-B3F4-CBFEBA1F6917}"/>
              </a:ext>
            </a:extLst>
          </p:cNvPr>
          <p:cNvSpPr>
            <a:spLocks noEditPoints="1"/>
          </p:cNvSpPr>
          <p:nvPr userDrawn="1"/>
        </p:nvSpPr>
        <p:spPr bwMode="auto">
          <a:xfrm>
            <a:off x="13924645" y="7876459"/>
            <a:ext cx="723855" cy="1031878"/>
          </a:xfrm>
          <a:custGeom>
            <a:avLst/>
            <a:gdLst>
              <a:gd name="T0" fmla="*/ 228 w 228"/>
              <a:gd name="T1" fmla="*/ 81 h 325"/>
              <a:gd name="T2" fmla="*/ 221 w 228"/>
              <a:gd name="T3" fmla="*/ 160 h 325"/>
              <a:gd name="T4" fmla="*/ 209 w 228"/>
              <a:gd name="T5" fmla="*/ 163 h 325"/>
              <a:gd name="T6" fmla="*/ 209 w 228"/>
              <a:gd name="T7" fmla="*/ 175 h 325"/>
              <a:gd name="T8" fmla="*/ 196 w 228"/>
              <a:gd name="T9" fmla="*/ 185 h 325"/>
              <a:gd name="T10" fmla="*/ 196 w 228"/>
              <a:gd name="T11" fmla="*/ 194 h 325"/>
              <a:gd name="T12" fmla="*/ 196 w 228"/>
              <a:gd name="T13" fmla="*/ 203 h 325"/>
              <a:gd name="T14" fmla="*/ 187 w 228"/>
              <a:gd name="T15" fmla="*/ 216 h 325"/>
              <a:gd name="T16" fmla="*/ 196 w 228"/>
              <a:gd name="T17" fmla="*/ 219 h 325"/>
              <a:gd name="T18" fmla="*/ 196 w 228"/>
              <a:gd name="T19" fmla="*/ 225 h 325"/>
              <a:gd name="T20" fmla="*/ 200 w 228"/>
              <a:gd name="T21" fmla="*/ 232 h 325"/>
              <a:gd name="T22" fmla="*/ 206 w 228"/>
              <a:gd name="T23" fmla="*/ 244 h 325"/>
              <a:gd name="T24" fmla="*/ 206 w 228"/>
              <a:gd name="T25" fmla="*/ 250 h 325"/>
              <a:gd name="T26" fmla="*/ 200 w 228"/>
              <a:gd name="T27" fmla="*/ 253 h 325"/>
              <a:gd name="T28" fmla="*/ 184 w 228"/>
              <a:gd name="T29" fmla="*/ 260 h 325"/>
              <a:gd name="T30" fmla="*/ 184 w 228"/>
              <a:gd name="T31" fmla="*/ 266 h 325"/>
              <a:gd name="T32" fmla="*/ 175 w 228"/>
              <a:gd name="T33" fmla="*/ 272 h 325"/>
              <a:gd name="T34" fmla="*/ 168 w 228"/>
              <a:gd name="T35" fmla="*/ 278 h 325"/>
              <a:gd name="T36" fmla="*/ 168 w 228"/>
              <a:gd name="T37" fmla="*/ 288 h 325"/>
              <a:gd name="T38" fmla="*/ 156 w 228"/>
              <a:gd name="T39" fmla="*/ 294 h 325"/>
              <a:gd name="T40" fmla="*/ 140 w 228"/>
              <a:gd name="T41" fmla="*/ 291 h 325"/>
              <a:gd name="T42" fmla="*/ 131 w 228"/>
              <a:gd name="T43" fmla="*/ 294 h 325"/>
              <a:gd name="T44" fmla="*/ 137 w 228"/>
              <a:gd name="T45" fmla="*/ 300 h 325"/>
              <a:gd name="T46" fmla="*/ 128 w 228"/>
              <a:gd name="T47" fmla="*/ 310 h 325"/>
              <a:gd name="T48" fmla="*/ 106 w 228"/>
              <a:gd name="T49" fmla="*/ 316 h 325"/>
              <a:gd name="T50" fmla="*/ 93 w 228"/>
              <a:gd name="T51" fmla="*/ 322 h 325"/>
              <a:gd name="T52" fmla="*/ 87 w 228"/>
              <a:gd name="T53" fmla="*/ 316 h 325"/>
              <a:gd name="T54" fmla="*/ 81 w 228"/>
              <a:gd name="T55" fmla="*/ 325 h 325"/>
              <a:gd name="T56" fmla="*/ 71 w 228"/>
              <a:gd name="T57" fmla="*/ 325 h 325"/>
              <a:gd name="T58" fmla="*/ 68 w 228"/>
              <a:gd name="T59" fmla="*/ 316 h 325"/>
              <a:gd name="T60" fmla="*/ 59 w 228"/>
              <a:gd name="T61" fmla="*/ 304 h 325"/>
              <a:gd name="T62" fmla="*/ 40 w 228"/>
              <a:gd name="T63" fmla="*/ 288 h 325"/>
              <a:gd name="T64" fmla="*/ 37 w 228"/>
              <a:gd name="T65" fmla="*/ 285 h 325"/>
              <a:gd name="T66" fmla="*/ 37 w 228"/>
              <a:gd name="T67" fmla="*/ 275 h 325"/>
              <a:gd name="T68" fmla="*/ 46 w 228"/>
              <a:gd name="T69" fmla="*/ 275 h 325"/>
              <a:gd name="T70" fmla="*/ 56 w 228"/>
              <a:gd name="T71" fmla="*/ 275 h 325"/>
              <a:gd name="T72" fmla="*/ 65 w 228"/>
              <a:gd name="T73" fmla="*/ 275 h 325"/>
              <a:gd name="T74" fmla="*/ 59 w 228"/>
              <a:gd name="T75" fmla="*/ 269 h 325"/>
              <a:gd name="T76" fmla="*/ 53 w 228"/>
              <a:gd name="T77" fmla="*/ 260 h 325"/>
              <a:gd name="T78" fmla="*/ 56 w 228"/>
              <a:gd name="T79" fmla="*/ 247 h 325"/>
              <a:gd name="T80" fmla="*/ 56 w 228"/>
              <a:gd name="T81" fmla="*/ 241 h 325"/>
              <a:gd name="T82" fmla="*/ 53 w 228"/>
              <a:gd name="T83" fmla="*/ 232 h 325"/>
              <a:gd name="T84" fmla="*/ 43 w 228"/>
              <a:gd name="T85" fmla="*/ 219 h 325"/>
              <a:gd name="T86" fmla="*/ 31 w 228"/>
              <a:gd name="T87" fmla="*/ 210 h 325"/>
              <a:gd name="T88" fmla="*/ 21 w 228"/>
              <a:gd name="T89" fmla="*/ 175 h 325"/>
              <a:gd name="T90" fmla="*/ 28 w 228"/>
              <a:gd name="T91" fmla="*/ 172 h 325"/>
              <a:gd name="T92" fmla="*/ 59 w 228"/>
              <a:gd name="T93" fmla="*/ 110 h 325"/>
              <a:gd name="T94" fmla="*/ 68 w 228"/>
              <a:gd name="T95" fmla="*/ 63 h 325"/>
              <a:gd name="T96" fmla="*/ 59 w 228"/>
              <a:gd name="T97" fmla="*/ 38 h 325"/>
              <a:gd name="T98" fmla="*/ 46 w 228"/>
              <a:gd name="T99" fmla="*/ 9 h 325"/>
              <a:gd name="T100" fmla="*/ 0 w 228"/>
              <a:gd name="T101" fmla="*/ 21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8" h="325">
                <a:moveTo>
                  <a:pt x="46" y="9"/>
                </a:moveTo>
                <a:lnTo>
                  <a:pt x="68" y="0"/>
                </a:lnTo>
                <a:lnTo>
                  <a:pt x="228" y="81"/>
                </a:lnTo>
                <a:lnTo>
                  <a:pt x="228" y="156"/>
                </a:lnTo>
                <a:lnTo>
                  <a:pt x="225" y="160"/>
                </a:lnTo>
                <a:lnTo>
                  <a:pt x="221" y="160"/>
                </a:lnTo>
                <a:lnTo>
                  <a:pt x="218" y="160"/>
                </a:lnTo>
                <a:lnTo>
                  <a:pt x="212" y="160"/>
                </a:lnTo>
                <a:lnTo>
                  <a:pt x="209" y="163"/>
                </a:lnTo>
                <a:lnTo>
                  <a:pt x="209" y="166"/>
                </a:lnTo>
                <a:lnTo>
                  <a:pt x="212" y="169"/>
                </a:lnTo>
                <a:lnTo>
                  <a:pt x="209" y="175"/>
                </a:lnTo>
                <a:lnTo>
                  <a:pt x="203" y="182"/>
                </a:lnTo>
                <a:lnTo>
                  <a:pt x="200" y="182"/>
                </a:lnTo>
                <a:lnTo>
                  <a:pt x="196" y="185"/>
                </a:lnTo>
                <a:lnTo>
                  <a:pt x="196" y="188"/>
                </a:lnTo>
                <a:lnTo>
                  <a:pt x="200" y="191"/>
                </a:lnTo>
                <a:lnTo>
                  <a:pt x="196" y="194"/>
                </a:lnTo>
                <a:lnTo>
                  <a:pt x="193" y="197"/>
                </a:lnTo>
                <a:lnTo>
                  <a:pt x="193" y="200"/>
                </a:lnTo>
                <a:lnTo>
                  <a:pt x="196" y="203"/>
                </a:lnTo>
                <a:lnTo>
                  <a:pt x="196" y="207"/>
                </a:lnTo>
                <a:lnTo>
                  <a:pt x="193" y="210"/>
                </a:lnTo>
                <a:lnTo>
                  <a:pt x="187" y="216"/>
                </a:lnTo>
                <a:lnTo>
                  <a:pt x="187" y="219"/>
                </a:lnTo>
                <a:lnTo>
                  <a:pt x="190" y="222"/>
                </a:lnTo>
                <a:lnTo>
                  <a:pt x="196" y="219"/>
                </a:lnTo>
                <a:lnTo>
                  <a:pt x="196" y="219"/>
                </a:lnTo>
                <a:lnTo>
                  <a:pt x="196" y="222"/>
                </a:lnTo>
                <a:lnTo>
                  <a:pt x="196" y="225"/>
                </a:lnTo>
                <a:lnTo>
                  <a:pt x="200" y="225"/>
                </a:lnTo>
                <a:lnTo>
                  <a:pt x="196" y="228"/>
                </a:lnTo>
                <a:lnTo>
                  <a:pt x="200" y="232"/>
                </a:lnTo>
                <a:lnTo>
                  <a:pt x="200" y="238"/>
                </a:lnTo>
                <a:lnTo>
                  <a:pt x="200" y="241"/>
                </a:lnTo>
                <a:lnTo>
                  <a:pt x="206" y="244"/>
                </a:lnTo>
                <a:lnTo>
                  <a:pt x="209" y="247"/>
                </a:lnTo>
                <a:lnTo>
                  <a:pt x="206" y="247"/>
                </a:lnTo>
                <a:lnTo>
                  <a:pt x="206" y="250"/>
                </a:lnTo>
                <a:lnTo>
                  <a:pt x="206" y="253"/>
                </a:lnTo>
                <a:lnTo>
                  <a:pt x="200" y="257"/>
                </a:lnTo>
                <a:lnTo>
                  <a:pt x="200" y="253"/>
                </a:lnTo>
                <a:lnTo>
                  <a:pt x="193" y="253"/>
                </a:lnTo>
                <a:lnTo>
                  <a:pt x="190" y="257"/>
                </a:lnTo>
                <a:lnTo>
                  <a:pt x="184" y="260"/>
                </a:lnTo>
                <a:lnTo>
                  <a:pt x="184" y="263"/>
                </a:lnTo>
                <a:lnTo>
                  <a:pt x="184" y="266"/>
                </a:lnTo>
                <a:lnTo>
                  <a:pt x="184" y="266"/>
                </a:lnTo>
                <a:lnTo>
                  <a:pt x="178" y="272"/>
                </a:lnTo>
                <a:lnTo>
                  <a:pt x="178" y="272"/>
                </a:lnTo>
                <a:lnTo>
                  <a:pt x="175" y="272"/>
                </a:lnTo>
                <a:lnTo>
                  <a:pt x="171" y="275"/>
                </a:lnTo>
                <a:lnTo>
                  <a:pt x="171" y="278"/>
                </a:lnTo>
                <a:lnTo>
                  <a:pt x="168" y="278"/>
                </a:lnTo>
                <a:lnTo>
                  <a:pt x="168" y="282"/>
                </a:lnTo>
                <a:lnTo>
                  <a:pt x="168" y="285"/>
                </a:lnTo>
                <a:lnTo>
                  <a:pt x="168" y="288"/>
                </a:lnTo>
                <a:lnTo>
                  <a:pt x="165" y="291"/>
                </a:lnTo>
                <a:lnTo>
                  <a:pt x="162" y="294"/>
                </a:lnTo>
                <a:lnTo>
                  <a:pt x="156" y="294"/>
                </a:lnTo>
                <a:lnTo>
                  <a:pt x="150" y="294"/>
                </a:lnTo>
                <a:lnTo>
                  <a:pt x="143" y="294"/>
                </a:lnTo>
                <a:lnTo>
                  <a:pt x="140" y="291"/>
                </a:lnTo>
                <a:lnTo>
                  <a:pt x="137" y="294"/>
                </a:lnTo>
                <a:lnTo>
                  <a:pt x="134" y="291"/>
                </a:lnTo>
                <a:lnTo>
                  <a:pt x="131" y="294"/>
                </a:lnTo>
                <a:lnTo>
                  <a:pt x="131" y="297"/>
                </a:lnTo>
                <a:lnTo>
                  <a:pt x="134" y="300"/>
                </a:lnTo>
                <a:lnTo>
                  <a:pt x="137" y="300"/>
                </a:lnTo>
                <a:lnTo>
                  <a:pt x="137" y="304"/>
                </a:lnTo>
                <a:lnTo>
                  <a:pt x="131" y="307"/>
                </a:lnTo>
                <a:lnTo>
                  <a:pt x="128" y="310"/>
                </a:lnTo>
                <a:lnTo>
                  <a:pt x="121" y="310"/>
                </a:lnTo>
                <a:lnTo>
                  <a:pt x="112" y="313"/>
                </a:lnTo>
                <a:lnTo>
                  <a:pt x="106" y="316"/>
                </a:lnTo>
                <a:lnTo>
                  <a:pt x="100" y="319"/>
                </a:lnTo>
                <a:lnTo>
                  <a:pt x="96" y="322"/>
                </a:lnTo>
                <a:lnTo>
                  <a:pt x="93" y="322"/>
                </a:lnTo>
                <a:lnTo>
                  <a:pt x="90" y="322"/>
                </a:lnTo>
                <a:lnTo>
                  <a:pt x="90" y="316"/>
                </a:lnTo>
                <a:lnTo>
                  <a:pt x="87" y="316"/>
                </a:lnTo>
                <a:lnTo>
                  <a:pt x="84" y="316"/>
                </a:lnTo>
                <a:lnTo>
                  <a:pt x="84" y="322"/>
                </a:lnTo>
                <a:lnTo>
                  <a:pt x="81" y="325"/>
                </a:lnTo>
                <a:lnTo>
                  <a:pt x="78" y="325"/>
                </a:lnTo>
                <a:lnTo>
                  <a:pt x="75" y="325"/>
                </a:lnTo>
                <a:lnTo>
                  <a:pt x="71" y="325"/>
                </a:lnTo>
                <a:lnTo>
                  <a:pt x="68" y="322"/>
                </a:lnTo>
                <a:lnTo>
                  <a:pt x="68" y="319"/>
                </a:lnTo>
                <a:lnTo>
                  <a:pt x="68" y="316"/>
                </a:lnTo>
                <a:lnTo>
                  <a:pt x="65" y="313"/>
                </a:lnTo>
                <a:lnTo>
                  <a:pt x="62" y="307"/>
                </a:lnTo>
                <a:lnTo>
                  <a:pt x="59" y="304"/>
                </a:lnTo>
                <a:lnTo>
                  <a:pt x="50" y="297"/>
                </a:lnTo>
                <a:lnTo>
                  <a:pt x="43" y="291"/>
                </a:lnTo>
                <a:lnTo>
                  <a:pt x="40" y="288"/>
                </a:lnTo>
                <a:lnTo>
                  <a:pt x="40" y="288"/>
                </a:lnTo>
                <a:lnTo>
                  <a:pt x="37" y="285"/>
                </a:lnTo>
                <a:lnTo>
                  <a:pt x="37" y="285"/>
                </a:lnTo>
                <a:lnTo>
                  <a:pt x="37" y="278"/>
                </a:lnTo>
                <a:lnTo>
                  <a:pt x="37" y="278"/>
                </a:lnTo>
                <a:lnTo>
                  <a:pt x="37" y="275"/>
                </a:lnTo>
                <a:lnTo>
                  <a:pt x="40" y="275"/>
                </a:lnTo>
                <a:lnTo>
                  <a:pt x="43" y="275"/>
                </a:lnTo>
                <a:lnTo>
                  <a:pt x="46" y="275"/>
                </a:lnTo>
                <a:lnTo>
                  <a:pt x="50" y="275"/>
                </a:lnTo>
                <a:lnTo>
                  <a:pt x="53" y="275"/>
                </a:lnTo>
                <a:lnTo>
                  <a:pt x="56" y="275"/>
                </a:lnTo>
                <a:lnTo>
                  <a:pt x="59" y="275"/>
                </a:lnTo>
                <a:lnTo>
                  <a:pt x="62" y="275"/>
                </a:lnTo>
                <a:lnTo>
                  <a:pt x="65" y="275"/>
                </a:lnTo>
                <a:lnTo>
                  <a:pt x="65" y="275"/>
                </a:lnTo>
                <a:lnTo>
                  <a:pt x="65" y="275"/>
                </a:lnTo>
                <a:lnTo>
                  <a:pt x="59" y="269"/>
                </a:lnTo>
                <a:lnTo>
                  <a:pt x="59" y="266"/>
                </a:lnTo>
                <a:lnTo>
                  <a:pt x="56" y="266"/>
                </a:lnTo>
                <a:lnTo>
                  <a:pt x="53" y="260"/>
                </a:lnTo>
                <a:lnTo>
                  <a:pt x="53" y="257"/>
                </a:lnTo>
                <a:lnTo>
                  <a:pt x="56" y="253"/>
                </a:lnTo>
                <a:lnTo>
                  <a:pt x="56" y="247"/>
                </a:lnTo>
                <a:lnTo>
                  <a:pt x="53" y="247"/>
                </a:lnTo>
                <a:lnTo>
                  <a:pt x="53" y="244"/>
                </a:lnTo>
                <a:lnTo>
                  <a:pt x="56" y="241"/>
                </a:lnTo>
                <a:lnTo>
                  <a:pt x="56" y="238"/>
                </a:lnTo>
                <a:lnTo>
                  <a:pt x="53" y="235"/>
                </a:lnTo>
                <a:lnTo>
                  <a:pt x="53" y="232"/>
                </a:lnTo>
                <a:lnTo>
                  <a:pt x="50" y="228"/>
                </a:lnTo>
                <a:lnTo>
                  <a:pt x="50" y="222"/>
                </a:lnTo>
                <a:lnTo>
                  <a:pt x="43" y="219"/>
                </a:lnTo>
                <a:lnTo>
                  <a:pt x="34" y="213"/>
                </a:lnTo>
                <a:lnTo>
                  <a:pt x="34" y="213"/>
                </a:lnTo>
                <a:lnTo>
                  <a:pt x="31" y="210"/>
                </a:lnTo>
                <a:lnTo>
                  <a:pt x="28" y="203"/>
                </a:lnTo>
                <a:lnTo>
                  <a:pt x="25" y="200"/>
                </a:lnTo>
                <a:lnTo>
                  <a:pt x="21" y="175"/>
                </a:lnTo>
                <a:lnTo>
                  <a:pt x="25" y="175"/>
                </a:lnTo>
                <a:lnTo>
                  <a:pt x="25" y="175"/>
                </a:lnTo>
                <a:lnTo>
                  <a:pt x="28" y="172"/>
                </a:lnTo>
                <a:lnTo>
                  <a:pt x="28" y="172"/>
                </a:lnTo>
                <a:lnTo>
                  <a:pt x="62" y="138"/>
                </a:lnTo>
                <a:lnTo>
                  <a:pt x="59" y="110"/>
                </a:lnTo>
                <a:lnTo>
                  <a:pt x="65" y="72"/>
                </a:lnTo>
                <a:lnTo>
                  <a:pt x="68" y="69"/>
                </a:lnTo>
                <a:lnTo>
                  <a:pt x="68" y="63"/>
                </a:lnTo>
                <a:lnTo>
                  <a:pt x="56" y="47"/>
                </a:lnTo>
                <a:lnTo>
                  <a:pt x="56" y="44"/>
                </a:lnTo>
                <a:lnTo>
                  <a:pt x="59" y="38"/>
                </a:lnTo>
                <a:lnTo>
                  <a:pt x="46" y="13"/>
                </a:lnTo>
                <a:lnTo>
                  <a:pt x="46" y="9"/>
                </a:lnTo>
                <a:lnTo>
                  <a:pt x="46" y="9"/>
                </a:lnTo>
                <a:close/>
                <a:moveTo>
                  <a:pt x="6" y="210"/>
                </a:moveTo>
                <a:lnTo>
                  <a:pt x="3" y="213"/>
                </a:lnTo>
                <a:lnTo>
                  <a:pt x="0" y="216"/>
                </a:lnTo>
                <a:lnTo>
                  <a:pt x="0" y="213"/>
                </a:lnTo>
                <a:lnTo>
                  <a:pt x="6" y="21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3" name="Freeform 131">
            <a:extLst>
              <a:ext uri="{FF2B5EF4-FFF2-40B4-BE49-F238E27FC236}">
                <a16:creationId xmlns:a16="http://schemas.microsoft.com/office/drawing/2014/main" id="{11ADA199-9207-1AB8-7C7B-624A09F08C1D}"/>
              </a:ext>
            </a:extLst>
          </p:cNvPr>
          <p:cNvSpPr>
            <a:spLocks/>
          </p:cNvSpPr>
          <p:nvPr userDrawn="1"/>
        </p:nvSpPr>
        <p:spPr bwMode="auto">
          <a:xfrm>
            <a:off x="13188091" y="7885985"/>
            <a:ext cx="952440" cy="746126"/>
          </a:xfrm>
          <a:custGeom>
            <a:avLst/>
            <a:gdLst>
              <a:gd name="T0" fmla="*/ 66 w 300"/>
              <a:gd name="T1" fmla="*/ 229 h 235"/>
              <a:gd name="T2" fmla="*/ 56 w 300"/>
              <a:gd name="T3" fmla="*/ 222 h 235"/>
              <a:gd name="T4" fmla="*/ 47 w 300"/>
              <a:gd name="T5" fmla="*/ 222 h 235"/>
              <a:gd name="T6" fmla="*/ 44 w 300"/>
              <a:gd name="T7" fmla="*/ 225 h 235"/>
              <a:gd name="T8" fmla="*/ 38 w 300"/>
              <a:gd name="T9" fmla="*/ 219 h 235"/>
              <a:gd name="T10" fmla="*/ 41 w 300"/>
              <a:gd name="T11" fmla="*/ 213 h 235"/>
              <a:gd name="T12" fmla="*/ 38 w 300"/>
              <a:gd name="T13" fmla="*/ 210 h 235"/>
              <a:gd name="T14" fmla="*/ 28 w 300"/>
              <a:gd name="T15" fmla="*/ 213 h 235"/>
              <a:gd name="T16" fmla="*/ 19 w 300"/>
              <a:gd name="T17" fmla="*/ 200 h 235"/>
              <a:gd name="T18" fmla="*/ 0 w 300"/>
              <a:gd name="T19" fmla="*/ 182 h 235"/>
              <a:gd name="T20" fmla="*/ 3 w 300"/>
              <a:gd name="T21" fmla="*/ 172 h 235"/>
              <a:gd name="T22" fmla="*/ 10 w 300"/>
              <a:gd name="T23" fmla="*/ 169 h 235"/>
              <a:gd name="T24" fmla="*/ 28 w 300"/>
              <a:gd name="T25" fmla="*/ 169 h 235"/>
              <a:gd name="T26" fmla="*/ 41 w 300"/>
              <a:gd name="T27" fmla="*/ 166 h 235"/>
              <a:gd name="T28" fmla="*/ 50 w 300"/>
              <a:gd name="T29" fmla="*/ 163 h 235"/>
              <a:gd name="T30" fmla="*/ 63 w 300"/>
              <a:gd name="T31" fmla="*/ 160 h 235"/>
              <a:gd name="T32" fmla="*/ 75 w 300"/>
              <a:gd name="T33" fmla="*/ 150 h 235"/>
              <a:gd name="T34" fmla="*/ 78 w 300"/>
              <a:gd name="T35" fmla="*/ 141 h 235"/>
              <a:gd name="T36" fmla="*/ 81 w 300"/>
              <a:gd name="T37" fmla="*/ 85 h 235"/>
              <a:gd name="T38" fmla="*/ 135 w 300"/>
              <a:gd name="T39" fmla="*/ 57 h 235"/>
              <a:gd name="T40" fmla="*/ 257 w 300"/>
              <a:gd name="T41" fmla="*/ 10 h 235"/>
              <a:gd name="T42" fmla="*/ 278 w 300"/>
              <a:gd name="T43" fmla="*/ 6 h 235"/>
              <a:gd name="T44" fmla="*/ 291 w 300"/>
              <a:gd name="T45" fmla="*/ 35 h 235"/>
              <a:gd name="T46" fmla="*/ 288 w 300"/>
              <a:gd name="T47" fmla="*/ 44 h 235"/>
              <a:gd name="T48" fmla="*/ 300 w 300"/>
              <a:gd name="T49" fmla="*/ 66 h 235"/>
              <a:gd name="T50" fmla="*/ 291 w 300"/>
              <a:gd name="T51" fmla="*/ 107 h 235"/>
              <a:gd name="T52" fmla="*/ 260 w 300"/>
              <a:gd name="T53" fmla="*/ 169 h 235"/>
              <a:gd name="T54" fmla="*/ 257 w 300"/>
              <a:gd name="T55" fmla="*/ 172 h 235"/>
              <a:gd name="T56" fmla="*/ 253 w 300"/>
              <a:gd name="T57" fmla="*/ 172 h 235"/>
              <a:gd name="T58" fmla="*/ 253 w 300"/>
              <a:gd name="T59" fmla="*/ 197 h 235"/>
              <a:gd name="T60" fmla="*/ 250 w 300"/>
              <a:gd name="T61" fmla="*/ 204 h 235"/>
              <a:gd name="T62" fmla="*/ 244 w 300"/>
              <a:gd name="T63" fmla="*/ 204 h 235"/>
              <a:gd name="T64" fmla="*/ 241 w 300"/>
              <a:gd name="T65" fmla="*/ 207 h 235"/>
              <a:gd name="T66" fmla="*/ 238 w 300"/>
              <a:gd name="T67" fmla="*/ 207 h 235"/>
              <a:gd name="T68" fmla="*/ 228 w 300"/>
              <a:gd name="T69" fmla="*/ 210 h 235"/>
              <a:gd name="T70" fmla="*/ 216 w 300"/>
              <a:gd name="T71" fmla="*/ 207 h 235"/>
              <a:gd name="T72" fmla="*/ 203 w 300"/>
              <a:gd name="T73" fmla="*/ 207 h 235"/>
              <a:gd name="T74" fmla="*/ 188 w 300"/>
              <a:gd name="T75" fmla="*/ 207 h 235"/>
              <a:gd name="T76" fmla="*/ 178 w 300"/>
              <a:gd name="T77" fmla="*/ 216 h 235"/>
              <a:gd name="T78" fmla="*/ 169 w 300"/>
              <a:gd name="T79" fmla="*/ 213 h 235"/>
              <a:gd name="T80" fmla="*/ 157 w 300"/>
              <a:gd name="T81" fmla="*/ 210 h 235"/>
              <a:gd name="T82" fmla="*/ 153 w 300"/>
              <a:gd name="T83" fmla="*/ 207 h 235"/>
              <a:gd name="T84" fmla="*/ 147 w 300"/>
              <a:gd name="T85" fmla="*/ 204 h 235"/>
              <a:gd name="T86" fmla="*/ 141 w 300"/>
              <a:gd name="T87" fmla="*/ 207 h 235"/>
              <a:gd name="T88" fmla="*/ 135 w 300"/>
              <a:gd name="T89" fmla="*/ 207 h 235"/>
              <a:gd name="T90" fmla="*/ 132 w 300"/>
              <a:gd name="T91" fmla="*/ 210 h 235"/>
              <a:gd name="T92" fmla="*/ 122 w 300"/>
              <a:gd name="T93" fmla="*/ 200 h 235"/>
              <a:gd name="T94" fmla="*/ 116 w 300"/>
              <a:gd name="T95" fmla="*/ 197 h 235"/>
              <a:gd name="T96" fmla="*/ 110 w 300"/>
              <a:gd name="T97" fmla="*/ 194 h 235"/>
              <a:gd name="T98" fmla="*/ 100 w 300"/>
              <a:gd name="T99" fmla="*/ 194 h 235"/>
              <a:gd name="T100" fmla="*/ 97 w 300"/>
              <a:gd name="T101" fmla="*/ 194 h 235"/>
              <a:gd name="T102" fmla="*/ 88 w 300"/>
              <a:gd name="T103" fmla="*/ 194 h 235"/>
              <a:gd name="T104" fmla="*/ 81 w 300"/>
              <a:gd name="T105" fmla="*/ 197 h 235"/>
              <a:gd name="T106" fmla="*/ 78 w 300"/>
              <a:gd name="T107" fmla="*/ 197 h 235"/>
              <a:gd name="T108" fmla="*/ 72 w 300"/>
              <a:gd name="T109" fmla="*/ 204 h 235"/>
              <a:gd name="T110" fmla="*/ 72 w 300"/>
              <a:gd name="T111" fmla="*/ 207 h 235"/>
              <a:gd name="T112" fmla="*/ 75 w 300"/>
              <a:gd name="T113" fmla="*/ 213 h 235"/>
              <a:gd name="T114" fmla="*/ 75 w 300"/>
              <a:gd name="T115" fmla="*/ 216 h 235"/>
              <a:gd name="T116" fmla="*/ 69 w 300"/>
              <a:gd name="T117" fmla="*/ 219 h 235"/>
              <a:gd name="T118" fmla="*/ 66 w 300"/>
              <a:gd name="T119" fmla="*/ 225 h 235"/>
              <a:gd name="T120" fmla="*/ 72 w 300"/>
              <a:gd name="T121" fmla="*/ 229 h 235"/>
              <a:gd name="T122" fmla="*/ 69 w 300"/>
              <a:gd name="T123"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0" h="235">
                <a:moveTo>
                  <a:pt x="69" y="235"/>
                </a:moveTo>
                <a:lnTo>
                  <a:pt x="66" y="229"/>
                </a:lnTo>
                <a:lnTo>
                  <a:pt x="60" y="229"/>
                </a:lnTo>
                <a:lnTo>
                  <a:pt x="56" y="222"/>
                </a:lnTo>
                <a:lnTo>
                  <a:pt x="50" y="219"/>
                </a:lnTo>
                <a:lnTo>
                  <a:pt x="47" y="222"/>
                </a:lnTo>
                <a:lnTo>
                  <a:pt x="50" y="222"/>
                </a:lnTo>
                <a:lnTo>
                  <a:pt x="44" y="225"/>
                </a:lnTo>
                <a:lnTo>
                  <a:pt x="41" y="225"/>
                </a:lnTo>
                <a:lnTo>
                  <a:pt x="38" y="219"/>
                </a:lnTo>
                <a:lnTo>
                  <a:pt x="41" y="216"/>
                </a:lnTo>
                <a:lnTo>
                  <a:pt x="41" y="213"/>
                </a:lnTo>
                <a:lnTo>
                  <a:pt x="38" y="210"/>
                </a:lnTo>
                <a:lnTo>
                  <a:pt x="38" y="210"/>
                </a:lnTo>
                <a:lnTo>
                  <a:pt x="35" y="207"/>
                </a:lnTo>
                <a:lnTo>
                  <a:pt x="28" y="213"/>
                </a:lnTo>
                <a:lnTo>
                  <a:pt x="19" y="207"/>
                </a:lnTo>
                <a:lnTo>
                  <a:pt x="19" y="200"/>
                </a:lnTo>
                <a:lnTo>
                  <a:pt x="0" y="188"/>
                </a:lnTo>
                <a:lnTo>
                  <a:pt x="0" y="182"/>
                </a:lnTo>
                <a:lnTo>
                  <a:pt x="3" y="175"/>
                </a:lnTo>
                <a:lnTo>
                  <a:pt x="3" y="172"/>
                </a:lnTo>
                <a:lnTo>
                  <a:pt x="6" y="169"/>
                </a:lnTo>
                <a:lnTo>
                  <a:pt x="10" y="169"/>
                </a:lnTo>
                <a:lnTo>
                  <a:pt x="22" y="169"/>
                </a:lnTo>
                <a:lnTo>
                  <a:pt x="28" y="169"/>
                </a:lnTo>
                <a:lnTo>
                  <a:pt x="35" y="166"/>
                </a:lnTo>
                <a:lnTo>
                  <a:pt x="41" y="166"/>
                </a:lnTo>
                <a:lnTo>
                  <a:pt x="47" y="166"/>
                </a:lnTo>
                <a:lnTo>
                  <a:pt x="50" y="163"/>
                </a:lnTo>
                <a:lnTo>
                  <a:pt x="56" y="163"/>
                </a:lnTo>
                <a:lnTo>
                  <a:pt x="63" y="160"/>
                </a:lnTo>
                <a:lnTo>
                  <a:pt x="72" y="153"/>
                </a:lnTo>
                <a:lnTo>
                  <a:pt x="75" y="150"/>
                </a:lnTo>
                <a:lnTo>
                  <a:pt x="75" y="144"/>
                </a:lnTo>
                <a:lnTo>
                  <a:pt x="78" y="141"/>
                </a:lnTo>
                <a:lnTo>
                  <a:pt x="78" y="122"/>
                </a:lnTo>
                <a:lnTo>
                  <a:pt x="81" y="85"/>
                </a:lnTo>
                <a:lnTo>
                  <a:pt x="110" y="78"/>
                </a:lnTo>
                <a:lnTo>
                  <a:pt x="135" y="57"/>
                </a:lnTo>
                <a:lnTo>
                  <a:pt x="222" y="0"/>
                </a:lnTo>
                <a:lnTo>
                  <a:pt x="257" y="10"/>
                </a:lnTo>
                <a:lnTo>
                  <a:pt x="260" y="13"/>
                </a:lnTo>
                <a:lnTo>
                  <a:pt x="278" y="6"/>
                </a:lnTo>
                <a:lnTo>
                  <a:pt x="278" y="10"/>
                </a:lnTo>
                <a:lnTo>
                  <a:pt x="291" y="35"/>
                </a:lnTo>
                <a:lnTo>
                  <a:pt x="288" y="41"/>
                </a:lnTo>
                <a:lnTo>
                  <a:pt x="288" y="44"/>
                </a:lnTo>
                <a:lnTo>
                  <a:pt x="300" y="60"/>
                </a:lnTo>
                <a:lnTo>
                  <a:pt x="300" y="66"/>
                </a:lnTo>
                <a:lnTo>
                  <a:pt x="297" y="69"/>
                </a:lnTo>
                <a:lnTo>
                  <a:pt x="291" y="107"/>
                </a:lnTo>
                <a:lnTo>
                  <a:pt x="294" y="135"/>
                </a:lnTo>
                <a:lnTo>
                  <a:pt x="260" y="169"/>
                </a:lnTo>
                <a:lnTo>
                  <a:pt x="260" y="169"/>
                </a:lnTo>
                <a:lnTo>
                  <a:pt x="257" y="172"/>
                </a:lnTo>
                <a:lnTo>
                  <a:pt x="257" y="172"/>
                </a:lnTo>
                <a:lnTo>
                  <a:pt x="253" y="172"/>
                </a:lnTo>
                <a:lnTo>
                  <a:pt x="257" y="197"/>
                </a:lnTo>
                <a:lnTo>
                  <a:pt x="253" y="197"/>
                </a:lnTo>
                <a:lnTo>
                  <a:pt x="250" y="200"/>
                </a:lnTo>
                <a:lnTo>
                  <a:pt x="250" y="204"/>
                </a:lnTo>
                <a:lnTo>
                  <a:pt x="247" y="204"/>
                </a:lnTo>
                <a:lnTo>
                  <a:pt x="244" y="204"/>
                </a:lnTo>
                <a:lnTo>
                  <a:pt x="241" y="204"/>
                </a:lnTo>
                <a:lnTo>
                  <a:pt x="241" y="207"/>
                </a:lnTo>
                <a:lnTo>
                  <a:pt x="238" y="207"/>
                </a:lnTo>
                <a:lnTo>
                  <a:pt x="238" y="207"/>
                </a:lnTo>
                <a:lnTo>
                  <a:pt x="232" y="210"/>
                </a:lnTo>
                <a:lnTo>
                  <a:pt x="228" y="210"/>
                </a:lnTo>
                <a:lnTo>
                  <a:pt x="222" y="210"/>
                </a:lnTo>
                <a:lnTo>
                  <a:pt x="216" y="207"/>
                </a:lnTo>
                <a:lnTo>
                  <a:pt x="207" y="204"/>
                </a:lnTo>
                <a:lnTo>
                  <a:pt x="203" y="207"/>
                </a:lnTo>
                <a:lnTo>
                  <a:pt x="194" y="207"/>
                </a:lnTo>
                <a:lnTo>
                  <a:pt x="188" y="207"/>
                </a:lnTo>
                <a:lnTo>
                  <a:pt x="185" y="213"/>
                </a:lnTo>
                <a:lnTo>
                  <a:pt x="178" y="216"/>
                </a:lnTo>
                <a:lnTo>
                  <a:pt x="175" y="216"/>
                </a:lnTo>
                <a:lnTo>
                  <a:pt x="169" y="213"/>
                </a:lnTo>
                <a:lnTo>
                  <a:pt x="163" y="213"/>
                </a:lnTo>
                <a:lnTo>
                  <a:pt x="157" y="210"/>
                </a:lnTo>
                <a:lnTo>
                  <a:pt x="153" y="207"/>
                </a:lnTo>
                <a:lnTo>
                  <a:pt x="153" y="207"/>
                </a:lnTo>
                <a:lnTo>
                  <a:pt x="150" y="204"/>
                </a:lnTo>
                <a:lnTo>
                  <a:pt x="147" y="204"/>
                </a:lnTo>
                <a:lnTo>
                  <a:pt x="147" y="204"/>
                </a:lnTo>
                <a:lnTo>
                  <a:pt x="141" y="207"/>
                </a:lnTo>
                <a:lnTo>
                  <a:pt x="138" y="207"/>
                </a:lnTo>
                <a:lnTo>
                  <a:pt x="135" y="207"/>
                </a:lnTo>
                <a:lnTo>
                  <a:pt x="132" y="210"/>
                </a:lnTo>
                <a:lnTo>
                  <a:pt x="132" y="210"/>
                </a:lnTo>
                <a:lnTo>
                  <a:pt x="125" y="207"/>
                </a:lnTo>
                <a:lnTo>
                  <a:pt x="122" y="200"/>
                </a:lnTo>
                <a:lnTo>
                  <a:pt x="119" y="200"/>
                </a:lnTo>
                <a:lnTo>
                  <a:pt x="116" y="197"/>
                </a:lnTo>
                <a:lnTo>
                  <a:pt x="113" y="197"/>
                </a:lnTo>
                <a:lnTo>
                  <a:pt x="110" y="194"/>
                </a:lnTo>
                <a:lnTo>
                  <a:pt x="103" y="194"/>
                </a:lnTo>
                <a:lnTo>
                  <a:pt x="100" y="194"/>
                </a:lnTo>
                <a:lnTo>
                  <a:pt x="97" y="194"/>
                </a:lnTo>
                <a:lnTo>
                  <a:pt x="97" y="194"/>
                </a:lnTo>
                <a:lnTo>
                  <a:pt x="91" y="194"/>
                </a:lnTo>
                <a:lnTo>
                  <a:pt x="88" y="194"/>
                </a:lnTo>
                <a:lnTo>
                  <a:pt x="85" y="194"/>
                </a:lnTo>
                <a:lnTo>
                  <a:pt x="81" y="197"/>
                </a:lnTo>
                <a:lnTo>
                  <a:pt x="81" y="197"/>
                </a:lnTo>
                <a:lnTo>
                  <a:pt x="78" y="197"/>
                </a:lnTo>
                <a:lnTo>
                  <a:pt x="75" y="200"/>
                </a:lnTo>
                <a:lnTo>
                  <a:pt x="72" y="204"/>
                </a:lnTo>
                <a:lnTo>
                  <a:pt x="75" y="207"/>
                </a:lnTo>
                <a:lnTo>
                  <a:pt x="72" y="207"/>
                </a:lnTo>
                <a:lnTo>
                  <a:pt x="72" y="207"/>
                </a:lnTo>
                <a:lnTo>
                  <a:pt x="75" y="213"/>
                </a:lnTo>
                <a:lnTo>
                  <a:pt x="75" y="213"/>
                </a:lnTo>
                <a:lnTo>
                  <a:pt x="75" y="216"/>
                </a:lnTo>
                <a:lnTo>
                  <a:pt x="72" y="216"/>
                </a:lnTo>
                <a:lnTo>
                  <a:pt x="69" y="219"/>
                </a:lnTo>
                <a:lnTo>
                  <a:pt x="69" y="222"/>
                </a:lnTo>
                <a:lnTo>
                  <a:pt x="66" y="225"/>
                </a:lnTo>
                <a:lnTo>
                  <a:pt x="69" y="229"/>
                </a:lnTo>
                <a:lnTo>
                  <a:pt x="72" y="229"/>
                </a:lnTo>
                <a:lnTo>
                  <a:pt x="72" y="232"/>
                </a:lnTo>
                <a:lnTo>
                  <a:pt x="69" y="235"/>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4" name="Freeform 132">
            <a:extLst>
              <a:ext uri="{FF2B5EF4-FFF2-40B4-BE49-F238E27FC236}">
                <a16:creationId xmlns:a16="http://schemas.microsoft.com/office/drawing/2014/main" id="{1E18DCF6-8314-F925-1AE2-2A2115080ABB}"/>
              </a:ext>
            </a:extLst>
          </p:cNvPr>
          <p:cNvSpPr>
            <a:spLocks/>
          </p:cNvSpPr>
          <p:nvPr userDrawn="1"/>
        </p:nvSpPr>
        <p:spPr bwMode="auto">
          <a:xfrm>
            <a:off x="13356352" y="8501937"/>
            <a:ext cx="714330" cy="615950"/>
          </a:xfrm>
          <a:custGeom>
            <a:avLst/>
            <a:gdLst>
              <a:gd name="T0" fmla="*/ 210 w 225"/>
              <a:gd name="T1" fmla="*/ 13 h 194"/>
              <a:gd name="T2" fmla="*/ 197 w 225"/>
              <a:gd name="T3" fmla="*/ 6 h 194"/>
              <a:gd name="T4" fmla="*/ 191 w 225"/>
              <a:gd name="T5" fmla="*/ 10 h 194"/>
              <a:gd name="T6" fmla="*/ 185 w 225"/>
              <a:gd name="T7" fmla="*/ 13 h 194"/>
              <a:gd name="T8" fmla="*/ 175 w 225"/>
              <a:gd name="T9" fmla="*/ 16 h 194"/>
              <a:gd name="T10" fmla="*/ 154 w 225"/>
              <a:gd name="T11" fmla="*/ 10 h 194"/>
              <a:gd name="T12" fmla="*/ 135 w 225"/>
              <a:gd name="T13" fmla="*/ 13 h 194"/>
              <a:gd name="T14" fmla="*/ 122 w 225"/>
              <a:gd name="T15" fmla="*/ 22 h 194"/>
              <a:gd name="T16" fmla="*/ 104 w 225"/>
              <a:gd name="T17" fmla="*/ 16 h 194"/>
              <a:gd name="T18" fmla="*/ 97 w 225"/>
              <a:gd name="T19" fmla="*/ 10 h 194"/>
              <a:gd name="T20" fmla="*/ 88 w 225"/>
              <a:gd name="T21" fmla="*/ 13 h 194"/>
              <a:gd name="T22" fmla="*/ 79 w 225"/>
              <a:gd name="T23" fmla="*/ 16 h 194"/>
              <a:gd name="T24" fmla="*/ 69 w 225"/>
              <a:gd name="T25" fmla="*/ 6 h 194"/>
              <a:gd name="T26" fmla="*/ 60 w 225"/>
              <a:gd name="T27" fmla="*/ 3 h 194"/>
              <a:gd name="T28" fmla="*/ 47 w 225"/>
              <a:gd name="T29" fmla="*/ 0 h 194"/>
              <a:gd name="T30" fmla="*/ 38 w 225"/>
              <a:gd name="T31" fmla="*/ 0 h 194"/>
              <a:gd name="T32" fmla="*/ 28 w 225"/>
              <a:gd name="T33" fmla="*/ 3 h 194"/>
              <a:gd name="T34" fmla="*/ 22 w 225"/>
              <a:gd name="T35" fmla="*/ 6 h 194"/>
              <a:gd name="T36" fmla="*/ 19 w 225"/>
              <a:gd name="T37" fmla="*/ 13 h 194"/>
              <a:gd name="T38" fmla="*/ 22 w 225"/>
              <a:gd name="T39" fmla="*/ 19 h 194"/>
              <a:gd name="T40" fmla="*/ 16 w 225"/>
              <a:gd name="T41" fmla="*/ 25 h 194"/>
              <a:gd name="T42" fmla="*/ 16 w 225"/>
              <a:gd name="T43" fmla="*/ 35 h 194"/>
              <a:gd name="T44" fmla="*/ 16 w 225"/>
              <a:gd name="T45" fmla="*/ 41 h 194"/>
              <a:gd name="T46" fmla="*/ 22 w 225"/>
              <a:gd name="T47" fmla="*/ 53 h 194"/>
              <a:gd name="T48" fmla="*/ 22 w 225"/>
              <a:gd name="T49" fmla="*/ 66 h 194"/>
              <a:gd name="T50" fmla="*/ 16 w 225"/>
              <a:gd name="T51" fmla="*/ 72 h 194"/>
              <a:gd name="T52" fmla="*/ 16 w 225"/>
              <a:gd name="T53" fmla="*/ 78 h 194"/>
              <a:gd name="T54" fmla="*/ 10 w 225"/>
              <a:gd name="T55" fmla="*/ 88 h 194"/>
              <a:gd name="T56" fmla="*/ 3 w 225"/>
              <a:gd name="T57" fmla="*/ 94 h 194"/>
              <a:gd name="T58" fmla="*/ 0 w 225"/>
              <a:gd name="T59" fmla="*/ 100 h 194"/>
              <a:gd name="T60" fmla="*/ 0 w 225"/>
              <a:gd name="T61" fmla="*/ 110 h 194"/>
              <a:gd name="T62" fmla="*/ 0 w 225"/>
              <a:gd name="T63" fmla="*/ 116 h 194"/>
              <a:gd name="T64" fmla="*/ 0 w 225"/>
              <a:gd name="T65" fmla="*/ 128 h 194"/>
              <a:gd name="T66" fmla="*/ 0 w 225"/>
              <a:gd name="T67" fmla="*/ 144 h 194"/>
              <a:gd name="T68" fmla="*/ 16 w 225"/>
              <a:gd name="T69" fmla="*/ 147 h 194"/>
              <a:gd name="T70" fmla="*/ 41 w 225"/>
              <a:gd name="T71" fmla="*/ 172 h 194"/>
              <a:gd name="T72" fmla="*/ 47 w 225"/>
              <a:gd name="T73" fmla="*/ 188 h 194"/>
              <a:gd name="T74" fmla="*/ 79 w 225"/>
              <a:gd name="T75" fmla="*/ 191 h 194"/>
              <a:gd name="T76" fmla="*/ 94 w 225"/>
              <a:gd name="T77" fmla="*/ 188 h 194"/>
              <a:gd name="T78" fmla="*/ 104 w 225"/>
              <a:gd name="T79" fmla="*/ 182 h 194"/>
              <a:gd name="T80" fmla="*/ 110 w 225"/>
              <a:gd name="T81" fmla="*/ 185 h 194"/>
              <a:gd name="T82" fmla="*/ 116 w 225"/>
              <a:gd name="T83" fmla="*/ 172 h 194"/>
              <a:gd name="T84" fmla="*/ 116 w 225"/>
              <a:gd name="T85" fmla="*/ 163 h 194"/>
              <a:gd name="T86" fmla="*/ 125 w 225"/>
              <a:gd name="T87" fmla="*/ 153 h 194"/>
              <a:gd name="T88" fmla="*/ 132 w 225"/>
              <a:gd name="T89" fmla="*/ 144 h 194"/>
              <a:gd name="T90" fmla="*/ 138 w 225"/>
              <a:gd name="T91" fmla="*/ 138 h 194"/>
              <a:gd name="T92" fmla="*/ 147 w 225"/>
              <a:gd name="T93" fmla="*/ 141 h 194"/>
              <a:gd name="T94" fmla="*/ 157 w 225"/>
              <a:gd name="T95" fmla="*/ 150 h 194"/>
              <a:gd name="T96" fmla="*/ 166 w 225"/>
              <a:gd name="T97" fmla="*/ 144 h 194"/>
              <a:gd name="T98" fmla="*/ 169 w 225"/>
              <a:gd name="T99" fmla="*/ 138 h 194"/>
              <a:gd name="T100" fmla="*/ 172 w 225"/>
              <a:gd name="T101" fmla="*/ 128 h 194"/>
              <a:gd name="T102" fmla="*/ 179 w 225"/>
              <a:gd name="T103" fmla="*/ 116 h 194"/>
              <a:gd name="T104" fmla="*/ 191 w 225"/>
              <a:gd name="T105" fmla="*/ 103 h 194"/>
              <a:gd name="T106" fmla="*/ 191 w 225"/>
              <a:gd name="T107" fmla="*/ 91 h 194"/>
              <a:gd name="T108" fmla="*/ 204 w 225"/>
              <a:gd name="T109" fmla="*/ 81 h 194"/>
              <a:gd name="T110" fmla="*/ 204 w 225"/>
              <a:gd name="T111" fmla="*/ 69 h 194"/>
              <a:gd name="T112" fmla="*/ 210 w 225"/>
              <a:gd name="T113" fmla="*/ 56 h 194"/>
              <a:gd name="T114" fmla="*/ 216 w 225"/>
              <a:gd name="T115" fmla="*/ 53 h 194"/>
              <a:gd name="T116" fmla="*/ 225 w 225"/>
              <a:gd name="T117" fmla="*/ 47 h 194"/>
              <a:gd name="T118" fmla="*/ 222 w 225"/>
              <a:gd name="T119" fmla="*/ 35 h 194"/>
              <a:gd name="T120" fmla="*/ 216 w 225"/>
              <a:gd name="T121" fmla="*/ 25 h 194"/>
              <a:gd name="T122" fmla="*/ 213 w 225"/>
              <a:gd name="T123" fmla="*/ 1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5" h="194">
                <a:moveTo>
                  <a:pt x="213" y="16"/>
                </a:moveTo>
                <a:lnTo>
                  <a:pt x="213" y="16"/>
                </a:lnTo>
                <a:lnTo>
                  <a:pt x="210" y="13"/>
                </a:lnTo>
                <a:lnTo>
                  <a:pt x="207" y="6"/>
                </a:lnTo>
                <a:lnTo>
                  <a:pt x="200" y="3"/>
                </a:lnTo>
                <a:lnTo>
                  <a:pt x="197" y="6"/>
                </a:lnTo>
                <a:lnTo>
                  <a:pt x="197" y="10"/>
                </a:lnTo>
                <a:lnTo>
                  <a:pt x="194" y="10"/>
                </a:lnTo>
                <a:lnTo>
                  <a:pt x="191" y="10"/>
                </a:lnTo>
                <a:lnTo>
                  <a:pt x="188" y="10"/>
                </a:lnTo>
                <a:lnTo>
                  <a:pt x="188" y="13"/>
                </a:lnTo>
                <a:lnTo>
                  <a:pt x="185" y="13"/>
                </a:lnTo>
                <a:lnTo>
                  <a:pt x="182" y="16"/>
                </a:lnTo>
                <a:lnTo>
                  <a:pt x="179" y="19"/>
                </a:lnTo>
                <a:lnTo>
                  <a:pt x="175" y="16"/>
                </a:lnTo>
                <a:lnTo>
                  <a:pt x="169" y="16"/>
                </a:lnTo>
                <a:lnTo>
                  <a:pt x="163" y="13"/>
                </a:lnTo>
                <a:lnTo>
                  <a:pt x="154" y="10"/>
                </a:lnTo>
                <a:lnTo>
                  <a:pt x="150" y="13"/>
                </a:lnTo>
                <a:lnTo>
                  <a:pt x="141" y="13"/>
                </a:lnTo>
                <a:lnTo>
                  <a:pt x="135" y="13"/>
                </a:lnTo>
                <a:lnTo>
                  <a:pt x="132" y="19"/>
                </a:lnTo>
                <a:lnTo>
                  <a:pt x="125" y="22"/>
                </a:lnTo>
                <a:lnTo>
                  <a:pt x="122" y="22"/>
                </a:lnTo>
                <a:lnTo>
                  <a:pt x="116" y="19"/>
                </a:lnTo>
                <a:lnTo>
                  <a:pt x="110" y="19"/>
                </a:lnTo>
                <a:lnTo>
                  <a:pt x="104" y="16"/>
                </a:lnTo>
                <a:lnTo>
                  <a:pt x="100" y="13"/>
                </a:lnTo>
                <a:lnTo>
                  <a:pt x="100" y="13"/>
                </a:lnTo>
                <a:lnTo>
                  <a:pt x="97" y="10"/>
                </a:lnTo>
                <a:lnTo>
                  <a:pt x="94" y="10"/>
                </a:lnTo>
                <a:lnTo>
                  <a:pt x="94" y="10"/>
                </a:lnTo>
                <a:lnTo>
                  <a:pt x="88" y="13"/>
                </a:lnTo>
                <a:lnTo>
                  <a:pt x="85" y="13"/>
                </a:lnTo>
                <a:lnTo>
                  <a:pt x="82" y="13"/>
                </a:lnTo>
                <a:lnTo>
                  <a:pt x="79" y="16"/>
                </a:lnTo>
                <a:lnTo>
                  <a:pt x="79" y="16"/>
                </a:lnTo>
                <a:lnTo>
                  <a:pt x="72" y="13"/>
                </a:lnTo>
                <a:lnTo>
                  <a:pt x="69" y="6"/>
                </a:lnTo>
                <a:lnTo>
                  <a:pt x="66" y="6"/>
                </a:lnTo>
                <a:lnTo>
                  <a:pt x="63" y="3"/>
                </a:lnTo>
                <a:lnTo>
                  <a:pt x="60" y="3"/>
                </a:lnTo>
                <a:lnTo>
                  <a:pt x="57" y="0"/>
                </a:lnTo>
                <a:lnTo>
                  <a:pt x="50" y="0"/>
                </a:lnTo>
                <a:lnTo>
                  <a:pt x="47" y="0"/>
                </a:lnTo>
                <a:lnTo>
                  <a:pt x="44" y="0"/>
                </a:lnTo>
                <a:lnTo>
                  <a:pt x="44" y="0"/>
                </a:lnTo>
                <a:lnTo>
                  <a:pt x="38" y="0"/>
                </a:lnTo>
                <a:lnTo>
                  <a:pt x="35" y="0"/>
                </a:lnTo>
                <a:lnTo>
                  <a:pt x="32" y="0"/>
                </a:lnTo>
                <a:lnTo>
                  <a:pt x="28" y="3"/>
                </a:lnTo>
                <a:lnTo>
                  <a:pt x="28" y="3"/>
                </a:lnTo>
                <a:lnTo>
                  <a:pt x="25" y="3"/>
                </a:lnTo>
                <a:lnTo>
                  <a:pt x="22" y="6"/>
                </a:lnTo>
                <a:lnTo>
                  <a:pt x="19" y="10"/>
                </a:lnTo>
                <a:lnTo>
                  <a:pt x="22" y="13"/>
                </a:lnTo>
                <a:lnTo>
                  <a:pt x="19" y="13"/>
                </a:lnTo>
                <a:lnTo>
                  <a:pt x="19" y="13"/>
                </a:lnTo>
                <a:lnTo>
                  <a:pt x="22" y="19"/>
                </a:lnTo>
                <a:lnTo>
                  <a:pt x="22" y="19"/>
                </a:lnTo>
                <a:lnTo>
                  <a:pt x="22" y="22"/>
                </a:lnTo>
                <a:lnTo>
                  <a:pt x="19" y="22"/>
                </a:lnTo>
                <a:lnTo>
                  <a:pt x="16" y="25"/>
                </a:lnTo>
                <a:lnTo>
                  <a:pt x="16" y="28"/>
                </a:lnTo>
                <a:lnTo>
                  <a:pt x="13" y="31"/>
                </a:lnTo>
                <a:lnTo>
                  <a:pt x="16" y="35"/>
                </a:lnTo>
                <a:lnTo>
                  <a:pt x="19" y="35"/>
                </a:lnTo>
                <a:lnTo>
                  <a:pt x="19" y="38"/>
                </a:lnTo>
                <a:lnTo>
                  <a:pt x="16" y="41"/>
                </a:lnTo>
                <a:lnTo>
                  <a:pt x="16" y="44"/>
                </a:lnTo>
                <a:lnTo>
                  <a:pt x="16" y="47"/>
                </a:lnTo>
                <a:lnTo>
                  <a:pt x="22" y="53"/>
                </a:lnTo>
                <a:lnTo>
                  <a:pt x="22" y="56"/>
                </a:lnTo>
                <a:lnTo>
                  <a:pt x="22" y="63"/>
                </a:lnTo>
                <a:lnTo>
                  <a:pt x="22" y="66"/>
                </a:lnTo>
                <a:lnTo>
                  <a:pt x="19" y="66"/>
                </a:lnTo>
                <a:lnTo>
                  <a:pt x="16" y="69"/>
                </a:lnTo>
                <a:lnTo>
                  <a:pt x="16" y="72"/>
                </a:lnTo>
                <a:lnTo>
                  <a:pt x="19" y="75"/>
                </a:lnTo>
                <a:lnTo>
                  <a:pt x="19" y="78"/>
                </a:lnTo>
                <a:lnTo>
                  <a:pt x="16" y="78"/>
                </a:lnTo>
                <a:lnTo>
                  <a:pt x="13" y="78"/>
                </a:lnTo>
                <a:lnTo>
                  <a:pt x="13" y="81"/>
                </a:lnTo>
                <a:lnTo>
                  <a:pt x="10" y="88"/>
                </a:lnTo>
                <a:lnTo>
                  <a:pt x="10" y="91"/>
                </a:lnTo>
                <a:lnTo>
                  <a:pt x="7" y="91"/>
                </a:lnTo>
                <a:lnTo>
                  <a:pt x="3" y="94"/>
                </a:lnTo>
                <a:lnTo>
                  <a:pt x="0" y="94"/>
                </a:lnTo>
                <a:lnTo>
                  <a:pt x="0" y="97"/>
                </a:lnTo>
                <a:lnTo>
                  <a:pt x="0" y="100"/>
                </a:lnTo>
                <a:lnTo>
                  <a:pt x="0" y="103"/>
                </a:lnTo>
                <a:lnTo>
                  <a:pt x="0" y="107"/>
                </a:lnTo>
                <a:lnTo>
                  <a:pt x="0" y="110"/>
                </a:lnTo>
                <a:lnTo>
                  <a:pt x="0" y="113"/>
                </a:lnTo>
                <a:lnTo>
                  <a:pt x="0" y="113"/>
                </a:lnTo>
                <a:lnTo>
                  <a:pt x="0" y="116"/>
                </a:lnTo>
                <a:lnTo>
                  <a:pt x="0" y="116"/>
                </a:lnTo>
                <a:lnTo>
                  <a:pt x="0" y="119"/>
                </a:lnTo>
                <a:lnTo>
                  <a:pt x="0" y="128"/>
                </a:lnTo>
                <a:lnTo>
                  <a:pt x="0" y="132"/>
                </a:lnTo>
                <a:lnTo>
                  <a:pt x="0" y="135"/>
                </a:lnTo>
                <a:lnTo>
                  <a:pt x="0" y="144"/>
                </a:lnTo>
                <a:lnTo>
                  <a:pt x="0" y="147"/>
                </a:lnTo>
                <a:lnTo>
                  <a:pt x="10" y="150"/>
                </a:lnTo>
                <a:lnTo>
                  <a:pt x="16" y="147"/>
                </a:lnTo>
                <a:lnTo>
                  <a:pt x="28" y="153"/>
                </a:lnTo>
                <a:lnTo>
                  <a:pt x="38" y="163"/>
                </a:lnTo>
                <a:lnTo>
                  <a:pt x="41" y="172"/>
                </a:lnTo>
                <a:lnTo>
                  <a:pt x="41" y="178"/>
                </a:lnTo>
                <a:lnTo>
                  <a:pt x="44" y="178"/>
                </a:lnTo>
                <a:lnTo>
                  <a:pt x="47" y="188"/>
                </a:lnTo>
                <a:lnTo>
                  <a:pt x="50" y="191"/>
                </a:lnTo>
                <a:lnTo>
                  <a:pt x="60" y="194"/>
                </a:lnTo>
                <a:lnTo>
                  <a:pt x="79" y="191"/>
                </a:lnTo>
                <a:lnTo>
                  <a:pt x="82" y="191"/>
                </a:lnTo>
                <a:lnTo>
                  <a:pt x="85" y="191"/>
                </a:lnTo>
                <a:lnTo>
                  <a:pt x="94" y="188"/>
                </a:lnTo>
                <a:lnTo>
                  <a:pt x="97" y="188"/>
                </a:lnTo>
                <a:lnTo>
                  <a:pt x="100" y="188"/>
                </a:lnTo>
                <a:lnTo>
                  <a:pt x="104" y="182"/>
                </a:lnTo>
                <a:lnTo>
                  <a:pt x="107" y="185"/>
                </a:lnTo>
                <a:lnTo>
                  <a:pt x="110" y="185"/>
                </a:lnTo>
                <a:lnTo>
                  <a:pt x="110" y="185"/>
                </a:lnTo>
                <a:lnTo>
                  <a:pt x="110" y="182"/>
                </a:lnTo>
                <a:lnTo>
                  <a:pt x="113" y="175"/>
                </a:lnTo>
                <a:lnTo>
                  <a:pt x="116" y="172"/>
                </a:lnTo>
                <a:lnTo>
                  <a:pt x="116" y="166"/>
                </a:lnTo>
                <a:lnTo>
                  <a:pt x="116" y="163"/>
                </a:lnTo>
                <a:lnTo>
                  <a:pt x="116" y="163"/>
                </a:lnTo>
                <a:lnTo>
                  <a:pt x="116" y="160"/>
                </a:lnTo>
                <a:lnTo>
                  <a:pt x="119" y="157"/>
                </a:lnTo>
                <a:lnTo>
                  <a:pt x="125" y="153"/>
                </a:lnTo>
                <a:lnTo>
                  <a:pt x="125" y="150"/>
                </a:lnTo>
                <a:lnTo>
                  <a:pt x="132" y="147"/>
                </a:lnTo>
                <a:lnTo>
                  <a:pt x="132" y="144"/>
                </a:lnTo>
                <a:lnTo>
                  <a:pt x="132" y="141"/>
                </a:lnTo>
                <a:lnTo>
                  <a:pt x="138" y="141"/>
                </a:lnTo>
                <a:lnTo>
                  <a:pt x="138" y="138"/>
                </a:lnTo>
                <a:lnTo>
                  <a:pt x="138" y="138"/>
                </a:lnTo>
                <a:lnTo>
                  <a:pt x="144" y="141"/>
                </a:lnTo>
                <a:lnTo>
                  <a:pt x="147" y="141"/>
                </a:lnTo>
                <a:lnTo>
                  <a:pt x="150" y="144"/>
                </a:lnTo>
                <a:lnTo>
                  <a:pt x="154" y="147"/>
                </a:lnTo>
                <a:lnTo>
                  <a:pt x="157" y="150"/>
                </a:lnTo>
                <a:lnTo>
                  <a:pt x="157" y="150"/>
                </a:lnTo>
                <a:lnTo>
                  <a:pt x="163" y="147"/>
                </a:lnTo>
                <a:lnTo>
                  <a:pt x="166" y="144"/>
                </a:lnTo>
                <a:lnTo>
                  <a:pt x="166" y="141"/>
                </a:lnTo>
                <a:lnTo>
                  <a:pt x="166" y="138"/>
                </a:lnTo>
                <a:lnTo>
                  <a:pt x="169" y="138"/>
                </a:lnTo>
                <a:lnTo>
                  <a:pt x="172" y="135"/>
                </a:lnTo>
                <a:lnTo>
                  <a:pt x="172" y="132"/>
                </a:lnTo>
                <a:lnTo>
                  <a:pt x="172" y="128"/>
                </a:lnTo>
                <a:lnTo>
                  <a:pt x="179" y="122"/>
                </a:lnTo>
                <a:lnTo>
                  <a:pt x="179" y="119"/>
                </a:lnTo>
                <a:lnTo>
                  <a:pt x="179" y="116"/>
                </a:lnTo>
                <a:lnTo>
                  <a:pt x="182" y="113"/>
                </a:lnTo>
                <a:lnTo>
                  <a:pt x="185" y="107"/>
                </a:lnTo>
                <a:lnTo>
                  <a:pt x="191" y="103"/>
                </a:lnTo>
                <a:lnTo>
                  <a:pt x="191" y="100"/>
                </a:lnTo>
                <a:lnTo>
                  <a:pt x="191" y="97"/>
                </a:lnTo>
                <a:lnTo>
                  <a:pt x="191" y="91"/>
                </a:lnTo>
                <a:lnTo>
                  <a:pt x="194" y="88"/>
                </a:lnTo>
                <a:lnTo>
                  <a:pt x="200" y="88"/>
                </a:lnTo>
                <a:lnTo>
                  <a:pt x="204" y="81"/>
                </a:lnTo>
                <a:lnTo>
                  <a:pt x="204" y="78"/>
                </a:lnTo>
                <a:lnTo>
                  <a:pt x="204" y="72"/>
                </a:lnTo>
                <a:lnTo>
                  <a:pt x="204" y="69"/>
                </a:lnTo>
                <a:lnTo>
                  <a:pt x="204" y="66"/>
                </a:lnTo>
                <a:lnTo>
                  <a:pt x="207" y="60"/>
                </a:lnTo>
                <a:lnTo>
                  <a:pt x="210" y="56"/>
                </a:lnTo>
                <a:lnTo>
                  <a:pt x="210" y="56"/>
                </a:lnTo>
                <a:lnTo>
                  <a:pt x="213" y="53"/>
                </a:lnTo>
                <a:lnTo>
                  <a:pt x="216" y="53"/>
                </a:lnTo>
                <a:lnTo>
                  <a:pt x="219" y="50"/>
                </a:lnTo>
                <a:lnTo>
                  <a:pt x="222" y="47"/>
                </a:lnTo>
                <a:lnTo>
                  <a:pt x="225" y="47"/>
                </a:lnTo>
                <a:lnTo>
                  <a:pt x="222" y="41"/>
                </a:lnTo>
                <a:lnTo>
                  <a:pt x="222" y="38"/>
                </a:lnTo>
                <a:lnTo>
                  <a:pt x="222" y="35"/>
                </a:lnTo>
                <a:lnTo>
                  <a:pt x="219" y="35"/>
                </a:lnTo>
                <a:lnTo>
                  <a:pt x="216" y="31"/>
                </a:lnTo>
                <a:lnTo>
                  <a:pt x="216" y="25"/>
                </a:lnTo>
                <a:lnTo>
                  <a:pt x="216" y="22"/>
                </a:lnTo>
                <a:lnTo>
                  <a:pt x="213" y="16"/>
                </a:lnTo>
                <a:lnTo>
                  <a:pt x="213" y="16"/>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5" name="Freeform 133">
            <a:extLst>
              <a:ext uri="{FF2B5EF4-FFF2-40B4-BE49-F238E27FC236}">
                <a16:creationId xmlns:a16="http://schemas.microsoft.com/office/drawing/2014/main" id="{68D6163C-0D54-0E2F-2FAB-5AFDAEABC7D5}"/>
              </a:ext>
            </a:extLst>
          </p:cNvPr>
          <p:cNvSpPr>
            <a:spLocks/>
          </p:cNvSpPr>
          <p:nvPr userDrawn="1"/>
        </p:nvSpPr>
        <p:spPr bwMode="auto">
          <a:xfrm>
            <a:off x="13565892" y="9356011"/>
            <a:ext cx="19049" cy="19050"/>
          </a:xfrm>
          <a:custGeom>
            <a:avLst/>
            <a:gdLst>
              <a:gd name="T0" fmla="*/ 0 w 6"/>
              <a:gd name="T1" fmla="*/ 6 h 6"/>
              <a:gd name="T2" fmla="*/ 0 w 6"/>
              <a:gd name="T3" fmla="*/ 3 h 6"/>
              <a:gd name="T4" fmla="*/ 3 w 6"/>
              <a:gd name="T5" fmla="*/ 0 h 6"/>
              <a:gd name="T6" fmla="*/ 6 w 6"/>
              <a:gd name="T7" fmla="*/ 3 h 6"/>
              <a:gd name="T8" fmla="*/ 3 w 6"/>
              <a:gd name="T9" fmla="*/ 6 h 6"/>
              <a:gd name="T10" fmla="*/ 3 w 6"/>
              <a:gd name="T11" fmla="*/ 6 h 6"/>
              <a:gd name="T12" fmla="*/ 0 w 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0" y="6"/>
                </a:moveTo>
                <a:lnTo>
                  <a:pt x="0" y="3"/>
                </a:lnTo>
                <a:lnTo>
                  <a:pt x="3" y="0"/>
                </a:lnTo>
                <a:lnTo>
                  <a:pt x="6" y="3"/>
                </a:lnTo>
                <a:lnTo>
                  <a:pt x="3" y="6"/>
                </a:lnTo>
                <a:lnTo>
                  <a:pt x="3" y="6"/>
                </a:lnTo>
                <a:lnTo>
                  <a:pt x="0" y="6"/>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6" name="Freeform 134">
            <a:extLst>
              <a:ext uri="{FF2B5EF4-FFF2-40B4-BE49-F238E27FC236}">
                <a16:creationId xmlns:a16="http://schemas.microsoft.com/office/drawing/2014/main" id="{87E5841B-3162-DD42-A2CB-B9D2A1014310}"/>
              </a:ext>
            </a:extLst>
          </p:cNvPr>
          <p:cNvSpPr>
            <a:spLocks/>
          </p:cNvSpPr>
          <p:nvPr userDrawn="1"/>
        </p:nvSpPr>
        <p:spPr bwMode="auto">
          <a:xfrm>
            <a:off x="13686531" y="9136930"/>
            <a:ext cx="28574" cy="50800"/>
          </a:xfrm>
          <a:custGeom>
            <a:avLst/>
            <a:gdLst>
              <a:gd name="T0" fmla="*/ 0 w 9"/>
              <a:gd name="T1" fmla="*/ 13 h 16"/>
              <a:gd name="T2" fmla="*/ 0 w 9"/>
              <a:gd name="T3" fmla="*/ 10 h 16"/>
              <a:gd name="T4" fmla="*/ 3 w 9"/>
              <a:gd name="T5" fmla="*/ 10 h 16"/>
              <a:gd name="T6" fmla="*/ 3 w 9"/>
              <a:gd name="T7" fmla="*/ 3 h 16"/>
              <a:gd name="T8" fmla="*/ 9 w 9"/>
              <a:gd name="T9" fmla="*/ 0 h 16"/>
              <a:gd name="T10" fmla="*/ 9 w 9"/>
              <a:gd name="T11" fmla="*/ 0 h 16"/>
              <a:gd name="T12" fmla="*/ 9 w 9"/>
              <a:gd name="T13" fmla="*/ 7 h 16"/>
              <a:gd name="T14" fmla="*/ 6 w 9"/>
              <a:gd name="T15" fmla="*/ 16 h 16"/>
              <a:gd name="T16" fmla="*/ 3 w 9"/>
              <a:gd name="T17" fmla="*/ 13 h 16"/>
              <a:gd name="T18" fmla="*/ 0 w 9"/>
              <a:gd name="T19"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6">
                <a:moveTo>
                  <a:pt x="0" y="13"/>
                </a:moveTo>
                <a:lnTo>
                  <a:pt x="0" y="10"/>
                </a:lnTo>
                <a:lnTo>
                  <a:pt x="3" y="10"/>
                </a:lnTo>
                <a:lnTo>
                  <a:pt x="3" y="3"/>
                </a:lnTo>
                <a:lnTo>
                  <a:pt x="9" y="0"/>
                </a:lnTo>
                <a:lnTo>
                  <a:pt x="9" y="0"/>
                </a:lnTo>
                <a:lnTo>
                  <a:pt x="9" y="7"/>
                </a:lnTo>
                <a:lnTo>
                  <a:pt x="6" y="16"/>
                </a:lnTo>
                <a:lnTo>
                  <a:pt x="3" y="13"/>
                </a:lnTo>
                <a:lnTo>
                  <a:pt x="0" y="13"/>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7" name="Freeform 135">
            <a:extLst>
              <a:ext uri="{FF2B5EF4-FFF2-40B4-BE49-F238E27FC236}">
                <a16:creationId xmlns:a16="http://schemas.microsoft.com/office/drawing/2014/main" id="{BDEEEF07-47B2-25A7-7546-DAE48128F2D7}"/>
              </a:ext>
            </a:extLst>
          </p:cNvPr>
          <p:cNvSpPr>
            <a:spLocks/>
          </p:cNvSpPr>
          <p:nvPr userDrawn="1"/>
        </p:nvSpPr>
        <p:spPr bwMode="auto">
          <a:xfrm>
            <a:off x="13705583" y="8552732"/>
            <a:ext cx="466696" cy="714376"/>
          </a:xfrm>
          <a:custGeom>
            <a:avLst/>
            <a:gdLst>
              <a:gd name="T0" fmla="*/ 3 w 147"/>
              <a:gd name="T1" fmla="*/ 159 h 225"/>
              <a:gd name="T2" fmla="*/ 6 w 147"/>
              <a:gd name="T3" fmla="*/ 147 h 225"/>
              <a:gd name="T4" fmla="*/ 9 w 147"/>
              <a:gd name="T5" fmla="*/ 141 h 225"/>
              <a:gd name="T6" fmla="*/ 22 w 147"/>
              <a:gd name="T7" fmla="*/ 131 h 225"/>
              <a:gd name="T8" fmla="*/ 28 w 147"/>
              <a:gd name="T9" fmla="*/ 125 h 225"/>
              <a:gd name="T10" fmla="*/ 34 w 147"/>
              <a:gd name="T11" fmla="*/ 125 h 225"/>
              <a:gd name="T12" fmla="*/ 44 w 147"/>
              <a:gd name="T13" fmla="*/ 131 h 225"/>
              <a:gd name="T14" fmla="*/ 53 w 147"/>
              <a:gd name="T15" fmla="*/ 131 h 225"/>
              <a:gd name="T16" fmla="*/ 56 w 147"/>
              <a:gd name="T17" fmla="*/ 122 h 225"/>
              <a:gd name="T18" fmla="*/ 62 w 147"/>
              <a:gd name="T19" fmla="*/ 116 h 225"/>
              <a:gd name="T20" fmla="*/ 69 w 147"/>
              <a:gd name="T21" fmla="*/ 103 h 225"/>
              <a:gd name="T22" fmla="*/ 75 w 147"/>
              <a:gd name="T23" fmla="*/ 91 h 225"/>
              <a:gd name="T24" fmla="*/ 81 w 147"/>
              <a:gd name="T25" fmla="*/ 81 h 225"/>
              <a:gd name="T26" fmla="*/ 90 w 147"/>
              <a:gd name="T27" fmla="*/ 72 h 225"/>
              <a:gd name="T28" fmla="*/ 94 w 147"/>
              <a:gd name="T29" fmla="*/ 56 h 225"/>
              <a:gd name="T30" fmla="*/ 97 w 147"/>
              <a:gd name="T31" fmla="*/ 44 h 225"/>
              <a:gd name="T32" fmla="*/ 103 w 147"/>
              <a:gd name="T33" fmla="*/ 37 h 225"/>
              <a:gd name="T34" fmla="*/ 112 w 147"/>
              <a:gd name="T35" fmla="*/ 31 h 225"/>
              <a:gd name="T36" fmla="*/ 112 w 147"/>
              <a:gd name="T37" fmla="*/ 22 h 225"/>
              <a:gd name="T38" fmla="*/ 106 w 147"/>
              <a:gd name="T39" fmla="*/ 15 h 225"/>
              <a:gd name="T40" fmla="*/ 103 w 147"/>
              <a:gd name="T41" fmla="*/ 0 h 225"/>
              <a:gd name="T42" fmla="*/ 119 w 147"/>
              <a:gd name="T43" fmla="*/ 15 h 225"/>
              <a:gd name="T44" fmla="*/ 125 w 147"/>
              <a:gd name="T45" fmla="*/ 25 h 225"/>
              <a:gd name="T46" fmla="*/ 122 w 147"/>
              <a:gd name="T47" fmla="*/ 34 h 225"/>
              <a:gd name="T48" fmla="*/ 122 w 147"/>
              <a:gd name="T49" fmla="*/ 44 h 225"/>
              <a:gd name="T50" fmla="*/ 128 w 147"/>
              <a:gd name="T51" fmla="*/ 53 h 225"/>
              <a:gd name="T52" fmla="*/ 134 w 147"/>
              <a:gd name="T53" fmla="*/ 62 h 225"/>
              <a:gd name="T54" fmla="*/ 128 w 147"/>
              <a:gd name="T55" fmla="*/ 62 h 225"/>
              <a:gd name="T56" fmla="*/ 119 w 147"/>
              <a:gd name="T57" fmla="*/ 62 h 225"/>
              <a:gd name="T58" fmla="*/ 109 w 147"/>
              <a:gd name="T59" fmla="*/ 62 h 225"/>
              <a:gd name="T60" fmla="*/ 106 w 147"/>
              <a:gd name="T61" fmla="*/ 65 h 225"/>
              <a:gd name="T62" fmla="*/ 109 w 147"/>
              <a:gd name="T63" fmla="*/ 75 h 225"/>
              <a:gd name="T64" fmla="*/ 119 w 147"/>
              <a:gd name="T65" fmla="*/ 84 h 225"/>
              <a:gd name="T66" fmla="*/ 134 w 147"/>
              <a:gd name="T67" fmla="*/ 100 h 225"/>
              <a:gd name="T68" fmla="*/ 134 w 147"/>
              <a:gd name="T69" fmla="*/ 112 h 225"/>
              <a:gd name="T70" fmla="*/ 125 w 147"/>
              <a:gd name="T71" fmla="*/ 125 h 225"/>
              <a:gd name="T72" fmla="*/ 115 w 147"/>
              <a:gd name="T73" fmla="*/ 137 h 225"/>
              <a:gd name="T74" fmla="*/ 115 w 147"/>
              <a:gd name="T75" fmla="*/ 150 h 225"/>
              <a:gd name="T76" fmla="*/ 119 w 147"/>
              <a:gd name="T77" fmla="*/ 162 h 225"/>
              <a:gd name="T78" fmla="*/ 125 w 147"/>
              <a:gd name="T79" fmla="*/ 175 h 225"/>
              <a:gd name="T80" fmla="*/ 134 w 147"/>
              <a:gd name="T81" fmla="*/ 191 h 225"/>
              <a:gd name="T82" fmla="*/ 147 w 147"/>
              <a:gd name="T83" fmla="*/ 203 h 225"/>
              <a:gd name="T84" fmla="*/ 147 w 147"/>
              <a:gd name="T85" fmla="*/ 213 h 225"/>
              <a:gd name="T86" fmla="*/ 147 w 147"/>
              <a:gd name="T87" fmla="*/ 216 h 225"/>
              <a:gd name="T88" fmla="*/ 144 w 147"/>
              <a:gd name="T89" fmla="*/ 225 h 225"/>
              <a:gd name="T90" fmla="*/ 140 w 147"/>
              <a:gd name="T91" fmla="*/ 225 h 225"/>
              <a:gd name="T92" fmla="*/ 137 w 147"/>
              <a:gd name="T93" fmla="*/ 225 h 225"/>
              <a:gd name="T94" fmla="*/ 128 w 147"/>
              <a:gd name="T95" fmla="*/ 222 h 225"/>
              <a:gd name="T96" fmla="*/ 125 w 147"/>
              <a:gd name="T97" fmla="*/ 222 h 225"/>
              <a:gd name="T98" fmla="*/ 119 w 147"/>
              <a:gd name="T99" fmla="*/ 222 h 225"/>
              <a:gd name="T100" fmla="*/ 115 w 147"/>
              <a:gd name="T101" fmla="*/ 222 h 225"/>
              <a:gd name="T102" fmla="*/ 84 w 147"/>
              <a:gd name="T103" fmla="*/ 219 h 225"/>
              <a:gd name="T104" fmla="*/ 78 w 147"/>
              <a:gd name="T105" fmla="*/ 219 h 225"/>
              <a:gd name="T106" fmla="*/ 72 w 147"/>
              <a:gd name="T107" fmla="*/ 219 h 225"/>
              <a:gd name="T108" fmla="*/ 62 w 147"/>
              <a:gd name="T109" fmla="*/ 216 h 225"/>
              <a:gd name="T110" fmla="*/ 53 w 147"/>
              <a:gd name="T111" fmla="*/ 219 h 225"/>
              <a:gd name="T112" fmla="*/ 50 w 147"/>
              <a:gd name="T113" fmla="*/ 219 h 225"/>
              <a:gd name="T114" fmla="*/ 25 w 147"/>
              <a:gd name="T115" fmla="*/ 219 h 225"/>
              <a:gd name="T116" fmla="*/ 22 w 147"/>
              <a:gd name="T117" fmla="*/ 213 h 225"/>
              <a:gd name="T118" fmla="*/ 19 w 147"/>
              <a:gd name="T119" fmla="*/ 194 h 225"/>
              <a:gd name="T120" fmla="*/ 19 w 147"/>
              <a:gd name="T121" fmla="*/ 181 h 225"/>
              <a:gd name="T122" fmla="*/ 6 w 147"/>
              <a:gd name="T123" fmla="*/ 181 h 225"/>
              <a:gd name="T124" fmla="*/ 0 w 147"/>
              <a:gd name="T125" fmla="*/ 169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7" h="225">
                <a:moveTo>
                  <a:pt x="0" y="169"/>
                </a:moveTo>
                <a:lnTo>
                  <a:pt x="0" y="166"/>
                </a:lnTo>
                <a:lnTo>
                  <a:pt x="3" y="159"/>
                </a:lnTo>
                <a:lnTo>
                  <a:pt x="6" y="156"/>
                </a:lnTo>
                <a:lnTo>
                  <a:pt x="6" y="150"/>
                </a:lnTo>
                <a:lnTo>
                  <a:pt x="6" y="147"/>
                </a:lnTo>
                <a:lnTo>
                  <a:pt x="6" y="147"/>
                </a:lnTo>
                <a:lnTo>
                  <a:pt x="6" y="144"/>
                </a:lnTo>
                <a:lnTo>
                  <a:pt x="9" y="141"/>
                </a:lnTo>
                <a:lnTo>
                  <a:pt x="15" y="137"/>
                </a:lnTo>
                <a:lnTo>
                  <a:pt x="15" y="134"/>
                </a:lnTo>
                <a:lnTo>
                  <a:pt x="22" y="131"/>
                </a:lnTo>
                <a:lnTo>
                  <a:pt x="22" y="128"/>
                </a:lnTo>
                <a:lnTo>
                  <a:pt x="22" y="125"/>
                </a:lnTo>
                <a:lnTo>
                  <a:pt x="28" y="125"/>
                </a:lnTo>
                <a:lnTo>
                  <a:pt x="28" y="122"/>
                </a:lnTo>
                <a:lnTo>
                  <a:pt x="28" y="122"/>
                </a:lnTo>
                <a:lnTo>
                  <a:pt x="34" y="125"/>
                </a:lnTo>
                <a:lnTo>
                  <a:pt x="37" y="125"/>
                </a:lnTo>
                <a:lnTo>
                  <a:pt x="40" y="128"/>
                </a:lnTo>
                <a:lnTo>
                  <a:pt x="44" y="131"/>
                </a:lnTo>
                <a:lnTo>
                  <a:pt x="47" y="134"/>
                </a:lnTo>
                <a:lnTo>
                  <a:pt x="47" y="134"/>
                </a:lnTo>
                <a:lnTo>
                  <a:pt x="53" y="131"/>
                </a:lnTo>
                <a:lnTo>
                  <a:pt x="56" y="128"/>
                </a:lnTo>
                <a:lnTo>
                  <a:pt x="56" y="125"/>
                </a:lnTo>
                <a:lnTo>
                  <a:pt x="56" y="122"/>
                </a:lnTo>
                <a:lnTo>
                  <a:pt x="59" y="122"/>
                </a:lnTo>
                <a:lnTo>
                  <a:pt x="62" y="119"/>
                </a:lnTo>
                <a:lnTo>
                  <a:pt x="62" y="116"/>
                </a:lnTo>
                <a:lnTo>
                  <a:pt x="62" y="112"/>
                </a:lnTo>
                <a:lnTo>
                  <a:pt x="69" y="106"/>
                </a:lnTo>
                <a:lnTo>
                  <a:pt x="69" y="103"/>
                </a:lnTo>
                <a:lnTo>
                  <a:pt x="69" y="100"/>
                </a:lnTo>
                <a:lnTo>
                  <a:pt x="72" y="97"/>
                </a:lnTo>
                <a:lnTo>
                  <a:pt x="75" y="91"/>
                </a:lnTo>
                <a:lnTo>
                  <a:pt x="81" y="87"/>
                </a:lnTo>
                <a:lnTo>
                  <a:pt x="81" y="84"/>
                </a:lnTo>
                <a:lnTo>
                  <a:pt x="81" y="81"/>
                </a:lnTo>
                <a:lnTo>
                  <a:pt x="81" y="75"/>
                </a:lnTo>
                <a:lnTo>
                  <a:pt x="84" y="72"/>
                </a:lnTo>
                <a:lnTo>
                  <a:pt x="90" y="72"/>
                </a:lnTo>
                <a:lnTo>
                  <a:pt x="94" y="65"/>
                </a:lnTo>
                <a:lnTo>
                  <a:pt x="94" y="62"/>
                </a:lnTo>
                <a:lnTo>
                  <a:pt x="94" y="56"/>
                </a:lnTo>
                <a:lnTo>
                  <a:pt x="94" y="53"/>
                </a:lnTo>
                <a:lnTo>
                  <a:pt x="94" y="50"/>
                </a:lnTo>
                <a:lnTo>
                  <a:pt x="97" y="44"/>
                </a:lnTo>
                <a:lnTo>
                  <a:pt x="100" y="40"/>
                </a:lnTo>
                <a:lnTo>
                  <a:pt x="100" y="40"/>
                </a:lnTo>
                <a:lnTo>
                  <a:pt x="103" y="37"/>
                </a:lnTo>
                <a:lnTo>
                  <a:pt x="106" y="37"/>
                </a:lnTo>
                <a:lnTo>
                  <a:pt x="109" y="34"/>
                </a:lnTo>
                <a:lnTo>
                  <a:pt x="112" y="31"/>
                </a:lnTo>
                <a:lnTo>
                  <a:pt x="115" y="31"/>
                </a:lnTo>
                <a:lnTo>
                  <a:pt x="112" y="25"/>
                </a:lnTo>
                <a:lnTo>
                  <a:pt x="112" y="22"/>
                </a:lnTo>
                <a:lnTo>
                  <a:pt x="112" y="19"/>
                </a:lnTo>
                <a:lnTo>
                  <a:pt x="109" y="19"/>
                </a:lnTo>
                <a:lnTo>
                  <a:pt x="106" y="15"/>
                </a:lnTo>
                <a:lnTo>
                  <a:pt x="106" y="9"/>
                </a:lnTo>
                <a:lnTo>
                  <a:pt x="106" y="6"/>
                </a:lnTo>
                <a:lnTo>
                  <a:pt x="103" y="0"/>
                </a:lnTo>
                <a:lnTo>
                  <a:pt x="112" y="6"/>
                </a:lnTo>
                <a:lnTo>
                  <a:pt x="119" y="9"/>
                </a:lnTo>
                <a:lnTo>
                  <a:pt x="119" y="15"/>
                </a:lnTo>
                <a:lnTo>
                  <a:pt x="122" y="19"/>
                </a:lnTo>
                <a:lnTo>
                  <a:pt x="122" y="22"/>
                </a:lnTo>
                <a:lnTo>
                  <a:pt x="125" y="25"/>
                </a:lnTo>
                <a:lnTo>
                  <a:pt x="125" y="28"/>
                </a:lnTo>
                <a:lnTo>
                  <a:pt x="122" y="31"/>
                </a:lnTo>
                <a:lnTo>
                  <a:pt x="122" y="34"/>
                </a:lnTo>
                <a:lnTo>
                  <a:pt x="125" y="34"/>
                </a:lnTo>
                <a:lnTo>
                  <a:pt x="125" y="40"/>
                </a:lnTo>
                <a:lnTo>
                  <a:pt x="122" y="44"/>
                </a:lnTo>
                <a:lnTo>
                  <a:pt x="122" y="47"/>
                </a:lnTo>
                <a:lnTo>
                  <a:pt x="125" y="53"/>
                </a:lnTo>
                <a:lnTo>
                  <a:pt x="128" y="53"/>
                </a:lnTo>
                <a:lnTo>
                  <a:pt x="128" y="56"/>
                </a:lnTo>
                <a:lnTo>
                  <a:pt x="134" y="62"/>
                </a:lnTo>
                <a:lnTo>
                  <a:pt x="134" y="62"/>
                </a:lnTo>
                <a:lnTo>
                  <a:pt x="134" y="62"/>
                </a:lnTo>
                <a:lnTo>
                  <a:pt x="131" y="62"/>
                </a:lnTo>
                <a:lnTo>
                  <a:pt x="128" y="62"/>
                </a:lnTo>
                <a:lnTo>
                  <a:pt x="125" y="62"/>
                </a:lnTo>
                <a:lnTo>
                  <a:pt x="122" y="62"/>
                </a:lnTo>
                <a:lnTo>
                  <a:pt x="119" y="62"/>
                </a:lnTo>
                <a:lnTo>
                  <a:pt x="115" y="62"/>
                </a:lnTo>
                <a:lnTo>
                  <a:pt x="112" y="62"/>
                </a:lnTo>
                <a:lnTo>
                  <a:pt x="109" y="62"/>
                </a:lnTo>
                <a:lnTo>
                  <a:pt x="106" y="62"/>
                </a:lnTo>
                <a:lnTo>
                  <a:pt x="106" y="65"/>
                </a:lnTo>
                <a:lnTo>
                  <a:pt x="106" y="65"/>
                </a:lnTo>
                <a:lnTo>
                  <a:pt x="106" y="72"/>
                </a:lnTo>
                <a:lnTo>
                  <a:pt x="106" y="72"/>
                </a:lnTo>
                <a:lnTo>
                  <a:pt x="109" y="75"/>
                </a:lnTo>
                <a:lnTo>
                  <a:pt x="109" y="75"/>
                </a:lnTo>
                <a:lnTo>
                  <a:pt x="112" y="78"/>
                </a:lnTo>
                <a:lnTo>
                  <a:pt x="119" y="84"/>
                </a:lnTo>
                <a:lnTo>
                  <a:pt x="128" y="91"/>
                </a:lnTo>
                <a:lnTo>
                  <a:pt x="131" y="94"/>
                </a:lnTo>
                <a:lnTo>
                  <a:pt x="134" y="100"/>
                </a:lnTo>
                <a:lnTo>
                  <a:pt x="137" y="103"/>
                </a:lnTo>
                <a:lnTo>
                  <a:pt x="137" y="109"/>
                </a:lnTo>
                <a:lnTo>
                  <a:pt x="134" y="112"/>
                </a:lnTo>
                <a:lnTo>
                  <a:pt x="131" y="116"/>
                </a:lnTo>
                <a:lnTo>
                  <a:pt x="128" y="119"/>
                </a:lnTo>
                <a:lnTo>
                  <a:pt x="125" y="125"/>
                </a:lnTo>
                <a:lnTo>
                  <a:pt x="122" y="131"/>
                </a:lnTo>
                <a:lnTo>
                  <a:pt x="119" y="134"/>
                </a:lnTo>
                <a:lnTo>
                  <a:pt x="115" y="137"/>
                </a:lnTo>
                <a:lnTo>
                  <a:pt x="115" y="141"/>
                </a:lnTo>
                <a:lnTo>
                  <a:pt x="115" y="144"/>
                </a:lnTo>
                <a:lnTo>
                  <a:pt x="115" y="150"/>
                </a:lnTo>
                <a:lnTo>
                  <a:pt x="115" y="153"/>
                </a:lnTo>
                <a:lnTo>
                  <a:pt x="119" y="159"/>
                </a:lnTo>
                <a:lnTo>
                  <a:pt x="119" y="162"/>
                </a:lnTo>
                <a:lnTo>
                  <a:pt x="119" y="172"/>
                </a:lnTo>
                <a:lnTo>
                  <a:pt x="119" y="172"/>
                </a:lnTo>
                <a:lnTo>
                  <a:pt x="125" y="175"/>
                </a:lnTo>
                <a:lnTo>
                  <a:pt x="128" y="178"/>
                </a:lnTo>
                <a:lnTo>
                  <a:pt x="131" y="184"/>
                </a:lnTo>
                <a:lnTo>
                  <a:pt x="134" y="191"/>
                </a:lnTo>
                <a:lnTo>
                  <a:pt x="137" y="197"/>
                </a:lnTo>
                <a:lnTo>
                  <a:pt x="140" y="197"/>
                </a:lnTo>
                <a:lnTo>
                  <a:pt x="147" y="203"/>
                </a:lnTo>
                <a:lnTo>
                  <a:pt x="147" y="206"/>
                </a:lnTo>
                <a:lnTo>
                  <a:pt x="147" y="209"/>
                </a:lnTo>
                <a:lnTo>
                  <a:pt x="147" y="213"/>
                </a:lnTo>
                <a:lnTo>
                  <a:pt x="147" y="213"/>
                </a:lnTo>
                <a:lnTo>
                  <a:pt x="147" y="213"/>
                </a:lnTo>
                <a:lnTo>
                  <a:pt x="147" y="216"/>
                </a:lnTo>
                <a:lnTo>
                  <a:pt x="144" y="219"/>
                </a:lnTo>
                <a:lnTo>
                  <a:pt x="144" y="219"/>
                </a:lnTo>
                <a:lnTo>
                  <a:pt x="144" y="225"/>
                </a:lnTo>
                <a:lnTo>
                  <a:pt x="144" y="225"/>
                </a:lnTo>
                <a:lnTo>
                  <a:pt x="144" y="225"/>
                </a:lnTo>
                <a:lnTo>
                  <a:pt x="140" y="225"/>
                </a:lnTo>
                <a:lnTo>
                  <a:pt x="140" y="225"/>
                </a:lnTo>
                <a:lnTo>
                  <a:pt x="137" y="225"/>
                </a:lnTo>
                <a:lnTo>
                  <a:pt x="137" y="225"/>
                </a:lnTo>
                <a:lnTo>
                  <a:pt x="134" y="225"/>
                </a:lnTo>
                <a:lnTo>
                  <a:pt x="131" y="225"/>
                </a:lnTo>
                <a:lnTo>
                  <a:pt x="128" y="222"/>
                </a:lnTo>
                <a:lnTo>
                  <a:pt x="128" y="222"/>
                </a:lnTo>
                <a:lnTo>
                  <a:pt x="125" y="222"/>
                </a:lnTo>
                <a:lnTo>
                  <a:pt x="125" y="222"/>
                </a:lnTo>
                <a:lnTo>
                  <a:pt x="122" y="222"/>
                </a:lnTo>
                <a:lnTo>
                  <a:pt x="122" y="222"/>
                </a:lnTo>
                <a:lnTo>
                  <a:pt x="119" y="222"/>
                </a:lnTo>
                <a:lnTo>
                  <a:pt x="115" y="219"/>
                </a:lnTo>
                <a:lnTo>
                  <a:pt x="115" y="219"/>
                </a:lnTo>
                <a:lnTo>
                  <a:pt x="115" y="222"/>
                </a:lnTo>
                <a:lnTo>
                  <a:pt x="112" y="219"/>
                </a:lnTo>
                <a:lnTo>
                  <a:pt x="87" y="219"/>
                </a:lnTo>
                <a:lnTo>
                  <a:pt x="84" y="219"/>
                </a:lnTo>
                <a:lnTo>
                  <a:pt x="84" y="219"/>
                </a:lnTo>
                <a:lnTo>
                  <a:pt x="84" y="219"/>
                </a:lnTo>
                <a:lnTo>
                  <a:pt x="78" y="219"/>
                </a:lnTo>
                <a:lnTo>
                  <a:pt x="78" y="216"/>
                </a:lnTo>
                <a:lnTo>
                  <a:pt x="75" y="216"/>
                </a:lnTo>
                <a:lnTo>
                  <a:pt x="72" y="219"/>
                </a:lnTo>
                <a:lnTo>
                  <a:pt x="69" y="216"/>
                </a:lnTo>
                <a:lnTo>
                  <a:pt x="62" y="216"/>
                </a:lnTo>
                <a:lnTo>
                  <a:pt x="62" y="216"/>
                </a:lnTo>
                <a:lnTo>
                  <a:pt x="56" y="216"/>
                </a:lnTo>
                <a:lnTo>
                  <a:pt x="56" y="219"/>
                </a:lnTo>
                <a:lnTo>
                  <a:pt x="53" y="219"/>
                </a:lnTo>
                <a:lnTo>
                  <a:pt x="50" y="219"/>
                </a:lnTo>
                <a:lnTo>
                  <a:pt x="50" y="219"/>
                </a:lnTo>
                <a:lnTo>
                  <a:pt x="50" y="219"/>
                </a:lnTo>
                <a:lnTo>
                  <a:pt x="28" y="219"/>
                </a:lnTo>
                <a:lnTo>
                  <a:pt x="25" y="219"/>
                </a:lnTo>
                <a:lnTo>
                  <a:pt x="25" y="219"/>
                </a:lnTo>
                <a:lnTo>
                  <a:pt x="22" y="219"/>
                </a:lnTo>
                <a:lnTo>
                  <a:pt x="25" y="216"/>
                </a:lnTo>
                <a:lnTo>
                  <a:pt x="22" y="213"/>
                </a:lnTo>
                <a:lnTo>
                  <a:pt x="25" y="206"/>
                </a:lnTo>
                <a:lnTo>
                  <a:pt x="22" y="200"/>
                </a:lnTo>
                <a:lnTo>
                  <a:pt x="19" y="194"/>
                </a:lnTo>
                <a:lnTo>
                  <a:pt x="19" y="187"/>
                </a:lnTo>
                <a:lnTo>
                  <a:pt x="22" y="184"/>
                </a:lnTo>
                <a:lnTo>
                  <a:pt x="19" y="181"/>
                </a:lnTo>
                <a:lnTo>
                  <a:pt x="12" y="184"/>
                </a:lnTo>
                <a:lnTo>
                  <a:pt x="9" y="181"/>
                </a:lnTo>
                <a:lnTo>
                  <a:pt x="6" y="181"/>
                </a:lnTo>
                <a:lnTo>
                  <a:pt x="6" y="169"/>
                </a:lnTo>
                <a:lnTo>
                  <a:pt x="3" y="172"/>
                </a:lnTo>
                <a:lnTo>
                  <a:pt x="0" y="169"/>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8" name="Freeform 136">
            <a:extLst>
              <a:ext uri="{FF2B5EF4-FFF2-40B4-BE49-F238E27FC236}">
                <a16:creationId xmlns:a16="http://schemas.microsoft.com/office/drawing/2014/main" id="{5750FE4B-144F-4393-8D4B-31B30F8722CB}"/>
              </a:ext>
            </a:extLst>
          </p:cNvPr>
          <p:cNvSpPr>
            <a:spLocks/>
          </p:cNvSpPr>
          <p:nvPr userDrawn="1"/>
        </p:nvSpPr>
        <p:spPr bwMode="auto">
          <a:xfrm>
            <a:off x="13705578" y="9238535"/>
            <a:ext cx="355577" cy="387350"/>
          </a:xfrm>
          <a:custGeom>
            <a:avLst/>
            <a:gdLst>
              <a:gd name="T0" fmla="*/ 50 w 112"/>
              <a:gd name="T1" fmla="*/ 3 h 122"/>
              <a:gd name="T2" fmla="*/ 56 w 112"/>
              <a:gd name="T3" fmla="*/ 3 h 122"/>
              <a:gd name="T4" fmla="*/ 62 w 112"/>
              <a:gd name="T5" fmla="*/ 0 h 122"/>
              <a:gd name="T6" fmla="*/ 69 w 112"/>
              <a:gd name="T7" fmla="*/ 0 h 122"/>
              <a:gd name="T8" fmla="*/ 75 w 112"/>
              <a:gd name="T9" fmla="*/ 0 h 122"/>
              <a:gd name="T10" fmla="*/ 78 w 112"/>
              <a:gd name="T11" fmla="*/ 3 h 122"/>
              <a:gd name="T12" fmla="*/ 84 w 112"/>
              <a:gd name="T13" fmla="*/ 3 h 122"/>
              <a:gd name="T14" fmla="*/ 87 w 112"/>
              <a:gd name="T15" fmla="*/ 3 h 122"/>
              <a:gd name="T16" fmla="*/ 84 w 112"/>
              <a:gd name="T17" fmla="*/ 6 h 122"/>
              <a:gd name="T18" fmla="*/ 87 w 112"/>
              <a:gd name="T19" fmla="*/ 15 h 122"/>
              <a:gd name="T20" fmla="*/ 87 w 112"/>
              <a:gd name="T21" fmla="*/ 22 h 122"/>
              <a:gd name="T22" fmla="*/ 90 w 112"/>
              <a:gd name="T23" fmla="*/ 22 h 122"/>
              <a:gd name="T24" fmla="*/ 100 w 112"/>
              <a:gd name="T25" fmla="*/ 22 h 122"/>
              <a:gd name="T26" fmla="*/ 109 w 112"/>
              <a:gd name="T27" fmla="*/ 18 h 122"/>
              <a:gd name="T28" fmla="*/ 112 w 112"/>
              <a:gd name="T29" fmla="*/ 25 h 122"/>
              <a:gd name="T30" fmla="*/ 112 w 112"/>
              <a:gd name="T31" fmla="*/ 31 h 122"/>
              <a:gd name="T32" fmla="*/ 109 w 112"/>
              <a:gd name="T33" fmla="*/ 34 h 122"/>
              <a:gd name="T34" fmla="*/ 103 w 112"/>
              <a:gd name="T35" fmla="*/ 40 h 122"/>
              <a:gd name="T36" fmla="*/ 106 w 112"/>
              <a:gd name="T37" fmla="*/ 43 h 122"/>
              <a:gd name="T38" fmla="*/ 103 w 112"/>
              <a:gd name="T39" fmla="*/ 47 h 122"/>
              <a:gd name="T40" fmla="*/ 100 w 112"/>
              <a:gd name="T41" fmla="*/ 47 h 122"/>
              <a:gd name="T42" fmla="*/ 103 w 112"/>
              <a:gd name="T43" fmla="*/ 50 h 122"/>
              <a:gd name="T44" fmla="*/ 106 w 112"/>
              <a:gd name="T45" fmla="*/ 53 h 122"/>
              <a:gd name="T46" fmla="*/ 109 w 112"/>
              <a:gd name="T47" fmla="*/ 59 h 122"/>
              <a:gd name="T48" fmla="*/ 112 w 112"/>
              <a:gd name="T49" fmla="*/ 65 h 122"/>
              <a:gd name="T50" fmla="*/ 106 w 112"/>
              <a:gd name="T51" fmla="*/ 87 h 122"/>
              <a:gd name="T52" fmla="*/ 106 w 112"/>
              <a:gd name="T53" fmla="*/ 93 h 122"/>
              <a:gd name="T54" fmla="*/ 103 w 112"/>
              <a:gd name="T55" fmla="*/ 90 h 122"/>
              <a:gd name="T56" fmla="*/ 94 w 112"/>
              <a:gd name="T57" fmla="*/ 90 h 122"/>
              <a:gd name="T58" fmla="*/ 90 w 112"/>
              <a:gd name="T59" fmla="*/ 90 h 122"/>
              <a:gd name="T60" fmla="*/ 81 w 112"/>
              <a:gd name="T61" fmla="*/ 90 h 122"/>
              <a:gd name="T62" fmla="*/ 75 w 112"/>
              <a:gd name="T63" fmla="*/ 81 h 122"/>
              <a:gd name="T64" fmla="*/ 75 w 112"/>
              <a:gd name="T65" fmla="*/ 87 h 122"/>
              <a:gd name="T66" fmla="*/ 65 w 112"/>
              <a:gd name="T67" fmla="*/ 90 h 122"/>
              <a:gd name="T68" fmla="*/ 62 w 112"/>
              <a:gd name="T69" fmla="*/ 93 h 122"/>
              <a:gd name="T70" fmla="*/ 56 w 112"/>
              <a:gd name="T71" fmla="*/ 93 h 122"/>
              <a:gd name="T72" fmla="*/ 50 w 112"/>
              <a:gd name="T73" fmla="*/ 97 h 122"/>
              <a:gd name="T74" fmla="*/ 53 w 112"/>
              <a:gd name="T75" fmla="*/ 103 h 122"/>
              <a:gd name="T76" fmla="*/ 59 w 112"/>
              <a:gd name="T77" fmla="*/ 100 h 122"/>
              <a:gd name="T78" fmla="*/ 62 w 112"/>
              <a:gd name="T79" fmla="*/ 103 h 122"/>
              <a:gd name="T80" fmla="*/ 62 w 112"/>
              <a:gd name="T81" fmla="*/ 119 h 122"/>
              <a:gd name="T82" fmla="*/ 56 w 112"/>
              <a:gd name="T83" fmla="*/ 112 h 122"/>
              <a:gd name="T84" fmla="*/ 53 w 112"/>
              <a:gd name="T85" fmla="*/ 115 h 122"/>
              <a:gd name="T86" fmla="*/ 50 w 112"/>
              <a:gd name="T87" fmla="*/ 119 h 122"/>
              <a:gd name="T88" fmla="*/ 47 w 112"/>
              <a:gd name="T89" fmla="*/ 122 h 122"/>
              <a:gd name="T90" fmla="*/ 40 w 112"/>
              <a:gd name="T91" fmla="*/ 119 h 122"/>
              <a:gd name="T92" fmla="*/ 31 w 112"/>
              <a:gd name="T93" fmla="*/ 109 h 122"/>
              <a:gd name="T94" fmla="*/ 19 w 112"/>
              <a:gd name="T95" fmla="*/ 97 h 122"/>
              <a:gd name="T96" fmla="*/ 15 w 112"/>
              <a:gd name="T97" fmla="*/ 90 h 122"/>
              <a:gd name="T98" fmla="*/ 9 w 112"/>
              <a:gd name="T99" fmla="*/ 84 h 122"/>
              <a:gd name="T100" fmla="*/ 6 w 112"/>
              <a:gd name="T101" fmla="*/ 75 h 122"/>
              <a:gd name="T102" fmla="*/ 3 w 112"/>
              <a:gd name="T103" fmla="*/ 68 h 122"/>
              <a:gd name="T104" fmla="*/ 0 w 112"/>
              <a:gd name="T105" fmla="*/ 59 h 122"/>
              <a:gd name="T106" fmla="*/ 9 w 112"/>
              <a:gd name="T107" fmla="*/ 56 h 122"/>
              <a:gd name="T108" fmla="*/ 9 w 112"/>
              <a:gd name="T109" fmla="*/ 40 h 122"/>
              <a:gd name="T110" fmla="*/ 22 w 112"/>
              <a:gd name="T111" fmla="*/ 40 h 122"/>
              <a:gd name="T112" fmla="*/ 12 w 112"/>
              <a:gd name="T113" fmla="*/ 34 h 122"/>
              <a:gd name="T114" fmla="*/ 15 w 112"/>
              <a:gd name="T115" fmla="*/ 28 h 122"/>
              <a:gd name="T116" fmla="*/ 19 w 112"/>
              <a:gd name="T117" fmla="*/ 25 h 122"/>
              <a:gd name="T118" fmla="*/ 25 w 112"/>
              <a:gd name="T119" fmla="*/ 28 h 122"/>
              <a:gd name="T120" fmla="*/ 50 w 112"/>
              <a:gd name="T121" fmla="*/ 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2" h="122">
                <a:moveTo>
                  <a:pt x="50" y="3"/>
                </a:moveTo>
                <a:lnTo>
                  <a:pt x="50" y="3"/>
                </a:lnTo>
                <a:lnTo>
                  <a:pt x="53" y="3"/>
                </a:lnTo>
                <a:lnTo>
                  <a:pt x="56" y="3"/>
                </a:lnTo>
                <a:lnTo>
                  <a:pt x="56" y="0"/>
                </a:lnTo>
                <a:lnTo>
                  <a:pt x="62" y="0"/>
                </a:lnTo>
                <a:lnTo>
                  <a:pt x="62" y="0"/>
                </a:lnTo>
                <a:lnTo>
                  <a:pt x="69" y="0"/>
                </a:lnTo>
                <a:lnTo>
                  <a:pt x="72" y="3"/>
                </a:lnTo>
                <a:lnTo>
                  <a:pt x="75" y="0"/>
                </a:lnTo>
                <a:lnTo>
                  <a:pt x="78" y="0"/>
                </a:lnTo>
                <a:lnTo>
                  <a:pt x="78" y="3"/>
                </a:lnTo>
                <a:lnTo>
                  <a:pt x="84" y="3"/>
                </a:lnTo>
                <a:lnTo>
                  <a:pt x="84" y="3"/>
                </a:lnTo>
                <a:lnTo>
                  <a:pt x="84" y="3"/>
                </a:lnTo>
                <a:lnTo>
                  <a:pt x="87" y="3"/>
                </a:lnTo>
                <a:lnTo>
                  <a:pt x="87" y="3"/>
                </a:lnTo>
                <a:lnTo>
                  <a:pt x="84" y="6"/>
                </a:lnTo>
                <a:lnTo>
                  <a:pt x="87" y="12"/>
                </a:lnTo>
                <a:lnTo>
                  <a:pt x="87" y="15"/>
                </a:lnTo>
                <a:lnTo>
                  <a:pt x="87" y="18"/>
                </a:lnTo>
                <a:lnTo>
                  <a:pt x="87" y="22"/>
                </a:lnTo>
                <a:lnTo>
                  <a:pt x="87" y="22"/>
                </a:lnTo>
                <a:lnTo>
                  <a:pt x="90" y="22"/>
                </a:lnTo>
                <a:lnTo>
                  <a:pt x="94" y="22"/>
                </a:lnTo>
                <a:lnTo>
                  <a:pt x="100" y="22"/>
                </a:lnTo>
                <a:lnTo>
                  <a:pt x="103" y="18"/>
                </a:lnTo>
                <a:lnTo>
                  <a:pt x="109" y="18"/>
                </a:lnTo>
                <a:lnTo>
                  <a:pt x="112" y="22"/>
                </a:lnTo>
                <a:lnTo>
                  <a:pt x="112" y="25"/>
                </a:lnTo>
                <a:lnTo>
                  <a:pt x="109" y="28"/>
                </a:lnTo>
                <a:lnTo>
                  <a:pt x="112" y="31"/>
                </a:lnTo>
                <a:lnTo>
                  <a:pt x="112" y="34"/>
                </a:lnTo>
                <a:lnTo>
                  <a:pt x="109" y="34"/>
                </a:lnTo>
                <a:lnTo>
                  <a:pt x="103" y="37"/>
                </a:lnTo>
                <a:lnTo>
                  <a:pt x="103" y="40"/>
                </a:lnTo>
                <a:lnTo>
                  <a:pt x="103" y="40"/>
                </a:lnTo>
                <a:lnTo>
                  <a:pt x="106" y="43"/>
                </a:lnTo>
                <a:lnTo>
                  <a:pt x="103" y="43"/>
                </a:lnTo>
                <a:lnTo>
                  <a:pt x="103" y="47"/>
                </a:lnTo>
                <a:lnTo>
                  <a:pt x="100" y="47"/>
                </a:lnTo>
                <a:lnTo>
                  <a:pt x="100" y="47"/>
                </a:lnTo>
                <a:lnTo>
                  <a:pt x="103" y="50"/>
                </a:lnTo>
                <a:lnTo>
                  <a:pt x="103" y="50"/>
                </a:lnTo>
                <a:lnTo>
                  <a:pt x="106" y="53"/>
                </a:lnTo>
                <a:lnTo>
                  <a:pt x="106" y="53"/>
                </a:lnTo>
                <a:lnTo>
                  <a:pt x="109" y="56"/>
                </a:lnTo>
                <a:lnTo>
                  <a:pt x="109" y="59"/>
                </a:lnTo>
                <a:lnTo>
                  <a:pt x="112" y="62"/>
                </a:lnTo>
                <a:lnTo>
                  <a:pt x="112" y="65"/>
                </a:lnTo>
                <a:lnTo>
                  <a:pt x="109" y="72"/>
                </a:lnTo>
                <a:lnTo>
                  <a:pt x="106" y="87"/>
                </a:lnTo>
                <a:lnTo>
                  <a:pt x="106" y="90"/>
                </a:lnTo>
                <a:lnTo>
                  <a:pt x="106" y="93"/>
                </a:lnTo>
                <a:lnTo>
                  <a:pt x="103" y="93"/>
                </a:lnTo>
                <a:lnTo>
                  <a:pt x="103" y="90"/>
                </a:lnTo>
                <a:lnTo>
                  <a:pt x="100" y="90"/>
                </a:lnTo>
                <a:lnTo>
                  <a:pt x="94" y="90"/>
                </a:lnTo>
                <a:lnTo>
                  <a:pt x="94" y="90"/>
                </a:lnTo>
                <a:lnTo>
                  <a:pt x="90" y="90"/>
                </a:lnTo>
                <a:lnTo>
                  <a:pt x="84" y="93"/>
                </a:lnTo>
                <a:lnTo>
                  <a:pt x="81" y="90"/>
                </a:lnTo>
                <a:lnTo>
                  <a:pt x="78" y="81"/>
                </a:lnTo>
                <a:lnTo>
                  <a:pt x="75" y="81"/>
                </a:lnTo>
                <a:lnTo>
                  <a:pt x="75" y="84"/>
                </a:lnTo>
                <a:lnTo>
                  <a:pt x="75" y="87"/>
                </a:lnTo>
                <a:lnTo>
                  <a:pt x="75" y="90"/>
                </a:lnTo>
                <a:lnTo>
                  <a:pt x="65" y="90"/>
                </a:lnTo>
                <a:lnTo>
                  <a:pt x="62" y="90"/>
                </a:lnTo>
                <a:lnTo>
                  <a:pt x="62" y="93"/>
                </a:lnTo>
                <a:lnTo>
                  <a:pt x="59" y="93"/>
                </a:lnTo>
                <a:lnTo>
                  <a:pt x="56" y="93"/>
                </a:lnTo>
                <a:lnTo>
                  <a:pt x="53" y="93"/>
                </a:lnTo>
                <a:lnTo>
                  <a:pt x="50" y="97"/>
                </a:lnTo>
                <a:lnTo>
                  <a:pt x="53" y="97"/>
                </a:lnTo>
                <a:lnTo>
                  <a:pt x="53" y="103"/>
                </a:lnTo>
                <a:lnTo>
                  <a:pt x="56" y="100"/>
                </a:lnTo>
                <a:lnTo>
                  <a:pt x="59" y="100"/>
                </a:lnTo>
                <a:lnTo>
                  <a:pt x="59" y="103"/>
                </a:lnTo>
                <a:lnTo>
                  <a:pt x="62" y="103"/>
                </a:lnTo>
                <a:lnTo>
                  <a:pt x="62" y="115"/>
                </a:lnTo>
                <a:lnTo>
                  <a:pt x="62" y="119"/>
                </a:lnTo>
                <a:lnTo>
                  <a:pt x="59" y="112"/>
                </a:lnTo>
                <a:lnTo>
                  <a:pt x="56" y="112"/>
                </a:lnTo>
                <a:lnTo>
                  <a:pt x="56" y="115"/>
                </a:lnTo>
                <a:lnTo>
                  <a:pt x="53" y="115"/>
                </a:lnTo>
                <a:lnTo>
                  <a:pt x="50" y="115"/>
                </a:lnTo>
                <a:lnTo>
                  <a:pt x="50" y="119"/>
                </a:lnTo>
                <a:lnTo>
                  <a:pt x="47" y="122"/>
                </a:lnTo>
                <a:lnTo>
                  <a:pt x="47" y="122"/>
                </a:lnTo>
                <a:lnTo>
                  <a:pt x="44" y="122"/>
                </a:lnTo>
                <a:lnTo>
                  <a:pt x="40" y="119"/>
                </a:lnTo>
                <a:lnTo>
                  <a:pt x="34" y="115"/>
                </a:lnTo>
                <a:lnTo>
                  <a:pt x="31" y="109"/>
                </a:lnTo>
                <a:lnTo>
                  <a:pt x="25" y="103"/>
                </a:lnTo>
                <a:lnTo>
                  <a:pt x="19" y="97"/>
                </a:lnTo>
                <a:lnTo>
                  <a:pt x="19" y="97"/>
                </a:lnTo>
                <a:lnTo>
                  <a:pt x="15" y="90"/>
                </a:lnTo>
                <a:lnTo>
                  <a:pt x="12" y="87"/>
                </a:lnTo>
                <a:lnTo>
                  <a:pt x="9" y="84"/>
                </a:lnTo>
                <a:lnTo>
                  <a:pt x="9" y="78"/>
                </a:lnTo>
                <a:lnTo>
                  <a:pt x="6" y="75"/>
                </a:lnTo>
                <a:lnTo>
                  <a:pt x="6" y="72"/>
                </a:lnTo>
                <a:lnTo>
                  <a:pt x="3" y="68"/>
                </a:lnTo>
                <a:lnTo>
                  <a:pt x="0" y="59"/>
                </a:lnTo>
                <a:lnTo>
                  <a:pt x="0" y="59"/>
                </a:lnTo>
                <a:lnTo>
                  <a:pt x="6" y="59"/>
                </a:lnTo>
                <a:lnTo>
                  <a:pt x="9" y="56"/>
                </a:lnTo>
                <a:lnTo>
                  <a:pt x="9" y="47"/>
                </a:lnTo>
                <a:lnTo>
                  <a:pt x="9" y="40"/>
                </a:lnTo>
                <a:lnTo>
                  <a:pt x="12" y="43"/>
                </a:lnTo>
                <a:lnTo>
                  <a:pt x="22" y="40"/>
                </a:lnTo>
                <a:lnTo>
                  <a:pt x="15" y="40"/>
                </a:lnTo>
                <a:lnTo>
                  <a:pt x="12" y="34"/>
                </a:lnTo>
                <a:lnTo>
                  <a:pt x="15" y="31"/>
                </a:lnTo>
                <a:lnTo>
                  <a:pt x="15" y="28"/>
                </a:lnTo>
                <a:lnTo>
                  <a:pt x="19" y="28"/>
                </a:lnTo>
                <a:lnTo>
                  <a:pt x="19" y="25"/>
                </a:lnTo>
                <a:lnTo>
                  <a:pt x="22" y="25"/>
                </a:lnTo>
                <a:lnTo>
                  <a:pt x="25" y="28"/>
                </a:lnTo>
                <a:lnTo>
                  <a:pt x="50" y="28"/>
                </a:lnTo>
                <a:lnTo>
                  <a:pt x="50" y="3"/>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39" name="Freeform 137">
            <a:extLst>
              <a:ext uri="{FF2B5EF4-FFF2-40B4-BE49-F238E27FC236}">
                <a16:creationId xmlns:a16="http://schemas.microsoft.com/office/drawing/2014/main" id="{23A3A45C-16CF-0185-40AF-0A7FB1AE0688}"/>
              </a:ext>
            </a:extLst>
          </p:cNvPr>
          <p:cNvSpPr>
            <a:spLocks/>
          </p:cNvSpPr>
          <p:nvPr userDrawn="1"/>
        </p:nvSpPr>
        <p:spPr bwMode="auto">
          <a:xfrm>
            <a:off x="13734152" y="9248056"/>
            <a:ext cx="130168" cy="79376"/>
          </a:xfrm>
          <a:custGeom>
            <a:avLst/>
            <a:gdLst>
              <a:gd name="T0" fmla="*/ 6 w 41"/>
              <a:gd name="T1" fmla="*/ 25 h 25"/>
              <a:gd name="T2" fmla="*/ 10 w 41"/>
              <a:gd name="T3" fmla="*/ 25 h 25"/>
              <a:gd name="T4" fmla="*/ 10 w 41"/>
              <a:gd name="T5" fmla="*/ 22 h 25"/>
              <a:gd name="T6" fmla="*/ 13 w 41"/>
              <a:gd name="T7" fmla="*/ 22 h 25"/>
              <a:gd name="T8" fmla="*/ 16 w 41"/>
              <a:gd name="T9" fmla="*/ 25 h 25"/>
              <a:gd name="T10" fmla="*/ 41 w 41"/>
              <a:gd name="T11" fmla="*/ 25 h 25"/>
              <a:gd name="T12" fmla="*/ 41 w 41"/>
              <a:gd name="T13" fmla="*/ 0 h 25"/>
              <a:gd name="T14" fmla="*/ 19 w 41"/>
              <a:gd name="T15" fmla="*/ 0 h 25"/>
              <a:gd name="T16" fmla="*/ 16 w 41"/>
              <a:gd name="T17" fmla="*/ 0 h 25"/>
              <a:gd name="T18" fmla="*/ 16 w 41"/>
              <a:gd name="T19" fmla="*/ 0 h 25"/>
              <a:gd name="T20" fmla="*/ 13 w 41"/>
              <a:gd name="T21" fmla="*/ 0 h 25"/>
              <a:gd name="T22" fmla="*/ 10 w 41"/>
              <a:gd name="T23" fmla="*/ 0 h 25"/>
              <a:gd name="T24" fmla="*/ 13 w 41"/>
              <a:gd name="T25" fmla="*/ 3 h 25"/>
              <a:gd name="T26" fmla="*/ 6 w 41"/>
              <a:gd name="T27" fmla="*/ 12 h 25"/>
              <a:gd name="T28" fmla="*/ 0 w 41"/>
              <a:gd name="T29" fmla="*/ 22 h 25"/>
              <a:gd name="T30" fmla="*/ 6 w 41"/>
              <a:gd name="T31" fmla="*/ 22 h 25"/>
              <a:gd name="T32" fmla="*/ 6 w 41"/>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 h="25">
                <a:moveTo>
                  <a:pt x="6" y="25"/>
                </a:moveTo>
                <a:lnTo>
                  <a:pt x="10" y="25"/>
                </a:lnTo>
                <a:lnTo>
                  <a:pt x="10" y="22"/>
                </a:lnTo>
                <a:lnTo>
                  <a:pt x="13" y="22"/>
                </a:lnTo>
                <a:lnTo>
                  <a:pt x="16" y="25"/>
                </a:lnTo>
                <a:lnTo>
                  <a:pt x="41" y="25"/>
                </a:lnTo>
                <a:lnTo>
                  <a:pt x="41" y="0"/>
                </a:lnTo>
                <a:lnTo>
                  <a:pt x="19" y="0"/>
                </a:lnTo>
                <a:lnTo>
                  <a:pt x="16" y="0"/>
                </a:lnTo>
                <a:lnTo>
                  <a:pt x="16" y="0"/>
                </a:lnTo>
                <a:lnTo>
                  <a:pt x="13" y="0"/>
                </a:lnTo>
                <a:lnTo>
                  <a:pt x="10" y="0"/>
                </a:lnTo>
                <a:lnTo>
                  <a:pt x="13" y="3"/>
                </a:lnTo>
                <a:lnTo>
                  <a:pt x="6" y="12"/>
                </a:lnTo>
                <a:lnTo>
                  <a:pt x="0" y="22"/>
                </a:lnTo>
                <a:lnTo>
                  <a:pt x="6" y="22"/>
                </a:lnTo>
                <a:lnTo>
                  <a:pt x="6" y="25"/>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0" name="Freeform 138">
            <a:extLst>
              <a:ext uri="{FF2B5EF4-FFF2-40B4-BE49-F238E27FC236}">
                <a16:creationId xmlns:a16="http://schemas.microsoft.com/office/drawing/2014/main" id="{3915A2D3-2717-6D12-CE57-80FED6575B36}"/>
              </a:ext>
            </a:extLst>
          </p:cNvPr>
          <p:cNvSpPr>
            <a:spLocks/>
          </p:cNvSpPr>
          <p:nvPr userDrawn="1"/>
        </p:nvSpPr>
        <p:spPr bwMode="auto">
          <a:xfrm>
            <a:off x="13854797" y="9136935"/>
            <a:ext cx="476219" cy="568326"/>
          </a:xfrm>
          <a:custGeom>
            <a:avLst/>
            <a:gdLst>
              <a:gd name="T0" fmla="*/ 3 w 150"/>
              <a:gd name="T1" fmla="*/ 147 h 179"/>
              <a:gd name="T2" fmla="*/ 9 w 150"/>
              <a:gd name="T3" fmla="*/ 144 h 179"/>
              <a:gd name="T4" fmla="*/ 15 w 150"/>
              <a:gd name="T5" fmla="*/ 147 h 179"/>
              <a:gd name="T6" fmla="*/ 12 w 150"/>
              <a:gd name="T7" fmla="*/ 132 h 179"/>
              <a:gd name="T8" fmla="*/ 6 w 150"/>
              <a:gd name="T9" fmla="*/ 129 h 179"/>
              <a:gd name="T10" fmla="*/ 9 w 150"/>
              <a:gd name="T11" fmla="*/ 125 h 179"/>
              <a:gd name="T12" fmla="*/ 15 w 150"/>
              <a:gd name="T13" fmla="*/ 122 h 179"/>
              <a:gd name="T14" fmla="*/ 28 w 150"/>
              <a:gd name="T15" fmla="*/ 119 h 179"/>
              <a:gd name="T16" fmla="*/ 31 w 150"/>
              <a:gd name="T17" fmla="*/ 113 h 179"/>
              <a:gd name="T18" fmla="*/ 43 w 150"/>
              <a:gd name="T19" fmla="*/ 122 h 179"/>
              <a:gd name="T20" fmla="*/ 53 w 150"/>
              <a:gd name="T21" fmla="*/ 122 h 179"/>
              <a:gd name="T22" fmla="*/ 59 w 150"/>
              <a:gd name="T23" fmla="*/ 125 h 179"/>
              <a:gd name="T24" fmla="*/ 62 w 150"/>
              <a:gd name="T25" fmla="*/ 104 h 179"/>
              <a:gd name="T26" fmla="*/ 62 w 150"/>
              <a:gd name="T27" fmla="*/ 91 h 179"/>
              <a:gd name="T28" fmla="*/ 59 w 150"/>
              <a:gd name="T29" fmla="*/ 85 h 179"/>
              <a:gd name="T30" fmla="*/ 53 w 150"/>
              <a:gd name="T31" fmla="*/ 79 h 179"/>
              <a:gd name="T32" fmla="*/ 56 w 150"/>
              <a:gd name="T33" fmla="*/ 75 h 179"/>
              <a:gd name="T34" fmla="*/ 56 w 150"/>
              <a:gd name="T35" fmla="*/ 72 h 179"/>
              <a:gd name="T36" fmla="*/ 65 w 150"/>
              <a:gd name="T37" fmla="*/ 66 h 179"/>
              <a:gd name="T38" fmla="*/ 65 w 150"/>
              <a:gd name="T39" fmla="*/ 57 h 179"/>
              <a:gd name="T40" fmla="*/ 56 w 150"/>
              <a:gd name="T41" fmla="*/ 50 h 179"/>
              <a:gd name="T42" fmla="*/ 43 w 150"/>
              <a:gd name="T43" fmla="*/ 54 h 179"/>
              <a:gd name="T44" fmla="*/ 40 w 150"/>
              <a:gd name="T45" fmla="*/ 50 h 179"/>
              <a:gd name="T46" fmla="*/ 37 w 150"/>
              <a:gd name="T47" fmla="*/ 38 h 179"/>
              <a:gd name="T48" fmla="*/ 68 w 150"/>
              <a:gd name="T49" fmla="*/ 38 h 179"/>
              <a:gd name="T50" fmla="*/ 72 w 150"/>
              <a:gd name="T51" fmla="*/ 38 h 179"/>
              <a:gd name="T52" fmla="*/ 78 w 150"/>
              <a:gd name="T53" fmla="*/ 38 h 179"/>
              <a:gd name="T54" fmla="*/ 81 w 150"/>
              <a:gd name="T55" fmla="*/ 38 h 179"/>
              <a:gd name="T56" fmla="*/ 90 w 150"/>
              <a:gd name="T57" fmla="*/ 41 h 179"/>
              <a:gd name="T58" fmla="*/ 93 w 150"/>
              <a:gd name="T59" fmla="*/ 41 h 179"/>
              <a:gd name="T60" fmla="*/ 97 w 150"/>
              <a:gd name="T61" fmla="*/ 41 h 179"/>
              <a:gd name="T62" fmla="*/ 100 w 150"/>
              <a:gd name="T63" fmla="*/ 32 h 179"/>
              <a:gd name="T64" fmla="*/ 115 w 150"/>
              <a:gd name="T65" fmla="*/ 10 h 179"/>
              <a:gd name="T66" fmla="*/ 128 w 150"/>
              <a:gd name="T67" fmla="*/ 3 h 179"/>
              <a:gd name="T68" fmla="*/ 137 w 150"/>
              <a:gd name="T69" fmla="*/ 0 h 179"/>
              <a:gd name="T70" fmla="*/ 143 w 150"/>
              <a:gd name="T71" fmla="*/ 3 h 179"/>
              <a:gd name="T72" fmla="*/ 147 w 150"/>
              <a:gd name="T73" fmla="*/ 3 h 179"/>
              <a:gd name="T74" fmla="*/ 147 w 150"/>
              <a:gd name="T75" fmla="*/ 19 h 179"/>
              <a:gd name="T76" fmla="*/ 137 w 150"/>
              <a:gd name="T77" fmla="*/ 41 h 179"/>
              <a:gd name="T78" fmla="*/ 134 w 150"/>
              <a:gd name="T79" fmla="*/ 50 h 179"/>
              <a:gd name="T80" fmla="*/ 134 w 150"/>
              <a:gd name="T81" fmla="*/ 66 h 179"/>
              <a:gd name="T82" fmla="*/ 131 w 150"/>
              <a:gd name="T83" fmla="*/ 75 h 179"/>
              <a:gd name="T84" fmla="*/ 122 w 150"/>
              <a:gd name="T85" fmla="*/ 97 h 179"/>
              <a:gd name="T86" fmla="*/ 112 w 150"/>
              <a:gd name="T87" fmla="*/ 100 h 179"/>
              <a:gd name="T88" fmla="*/ 106 w 150"/>
              <a:gd name="T89" fmla="*/ 113 h 179"/>
              <a:gd name="T90" fmla="*/ 97 w 150"/>
              <a:gd name="T91" fmla="*/ 129 h 179"/>
              <a:gd name="T92" fmla="*/ 97 w 150"/>
              <a:gd name="T93" fmla="*/ 147 h 179"/>
              <a:gd name="T94" fmla="*/ 90 w 150"/>
              <a:gd name="T95" fmla="*/ 157 h 179"/>
              <a:gd name="T96" fmla="*/ 78 w 150"/>
              <a:gd name="T97" fmla="*/ 169 h 179"/>
              <a:gd name="T98" fmla="*/ 65 w 150"/>
              <a:gd name="T99" fmla="*/ 172 h 179"/>
              <a:gd name="T100" fmla="*/ 65 w 150"/>
              <a:gd name="T101" fmla="*/ 163 h 179"/>
              <a:gd name="T102" fmla="*/ 56 w 150"/>
              <a:gd name="T103" fmla="*/ 166 h 179"/>
              <a:gd name="T104" fmla="*/ 50 w 150"/>
              <a:gd name="T105" fmla="*/ 172 h 179"/>
              <a:gd name="T106" fmla="*/ 43 w 150"/>
              <a:gd name="T107" fmla="*/ 172 h 179"/>
              <a:gd name="T108" fmla="*/ 37 w 150"/>
              <a:gd name="T109" fmla="*/ 172 h 179"/>
              <a:gd name="T110" fmla="*/ 34 w 150"/>
              <a:gd name="T111" fmla="*/ 166 h 179"/>
              <a:gd name="T112" fmla="*/ 28 w 150"/>
              <a:gd name="T113" fmla="*/ 166 h 179"/>
              <a:gd name="T114" fmla="*/ 22 w 150"/>
              <a:gd name="T115" fmla="*/ 172 h 179"/>
              <a:gd name="T116" fmla="*/ 15 w 150"/>
              <a:gd name="T117" fmla="*/ 179 h 179"/>
              <a:gd name="T118" fmla="*/ 12 w 150"/>
              <a:gd name="T119" fmla="*/ 169 h 179"/>
              <a:gd name="T120" fmla="*/ 3 w 150"/>
              <a:gd name="T121" fmla="*/ 16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179">
                <a:moveTo>
                  <a:pt x="0" y="154"/>
                </a:moveTo>
                <a:lnTo>
                  <a:pt x="3" y="151"/>
                </a:lnTo>
                <a:lnTo>
                  <a:pt x="3" y="147"/>
                </a:lnTo>
                <a:lnTo>
                  <a:pt x="6" y="147"/>
                </a:lnTo>
                <a:lnTo>
                  <a:pt x="9" y="147"/>
                </a:lnTo>
                <a:lnTo>
                  <a:pt x="9" y="144"/>
                </a:lnTo>
                <a:lnTo>
                  <a:pt x="12" y="144"/>
                </a:lnTo>
                <a:lnTo>
                  <a:pt x="15" y="151"/>
                </a:lnTo>
                <a:lnTo>
                  <a:pt x="15" y="147"/>
                </a:lnTo>
                <a:lnTo>
                  <a:pt x="15" y="135"/>
                </a:lnTo>
                <a:lnTo>
                  <a:pt x="12" y="135"/>
                </a:lnTo>
                <a:lnTo>
                  <a:pt x="12" y="132"/>
                </a:lnTo>
                <a:lnTo>
                  <a:pt x="9" y="132"/>
                </a:lnTo>
                <a:lnTo>
                  <a:pt x="6" y="135"/>
                </a:lnTo>
                <a:lnTo>
                  <a:pt x="6" y="129"/>
                </a:lnTo>
                <a:lnTo>
                  <a:pt x="3" y="129"/>
                </a:lnTo>
                <a:lnTo>
                  <a:pt x="6" y="125"/>
                </a:lnTo>
                <a:lnTo>
                  <a:pt x="9" y="125"/>
                </a:lnTo>
                <a:lnTo>
                  <a:pt x="12" y="125"/>
                </a:lnTo>
                <a:lnTo>
                  <a:pt x="15" y="125"/>
                </a:lnTo>
                <a:lnTo>
                  <a:pt x="15" y="122"/>
                </a:lnTo>
                <a:lnTo>
                  <a:pt x="18" y="122"/>
                </a:lnTo>
                <a:lnTo>
                  <a:pt x="28" y="122"/>
                </a:lnTo>
                <a:lnTo>
                  <a:pt x="28" y="119"/>
                </a:lnTo>
                <a:lnTo>
                  <a:pt x="28" y="116"/>
                </a:lnTo>
                <a:lnTo>
                  <a:pt x="28" y="113"/>
                </a:lnTo>
                <a:lnTo>
                  <a:pt x="31" y="113"/>
                </a:lnTo>
                <a:lnTo>
                  <a:pt x="34" y="122"/>
                </a:lnTo>
                <a:lnTo>
                  <a:pt x="37" y="125"/>
                </a:lnTo>
                <a:lnTo>
                  <a:pt x="43" y="122"/>
                </a:lnTo>
                <a:lnTo>
                  <a:pt x="47" y="122"/>
                </a:lnTo>
                <a:lnTo>
                  <a:pt x="47" y="122"/>
                </a:lnTo>
                <a:lnTo>
                  <a:pt x="53" y="122"/>
                </a:lnTo>
                <a:lnTo>
                  <a:pt x="56" y="122"/>
                </a:lnTo>
                <a:lnTo>
                  <a:pt x="56" y="125"/>
                </a:lnTo>
                <a:lnTo>
                  <a:pt x="59" y="125"/>
                </a:lnTo>
                <a:lnTo>
                  <a:pt x="59" y="122"/>
                </a:lnTo>
                <a:lnTo>
                  <a:pt x="59" y="119"/>
                </a:lnTo>
                <a:lnTo>
                  <a:pt x="62" y="104"/>
                </a:lnTo>
                <a:lnTo>
                  <a:pt x="65" y="97"/>
                </a:lnTo>
                <a:lnTo>
                  <a:pt x="65" y="94"/>
                </a:lnTo>
                <a:lnTo>
                  <a:pt x="62" y="91"/>
                </a:lnTo>
                <a:lnTo>
                  <a:pt x="62" y="88"/>
                </a:lnTo>
                <a:lnTo>
                  <a:pt x="59" y="85"/>
                </a:lnTo>
                <a:lnTo>
                  <a:pt x="59" y="85"/>
                </a:lnTo>
                <a:lnTo>
                  <a:pt x="56" y="82"/>
                </a:lnTo>
                <a:lnTo>
                  <a:pt x="56" y="82"/>
                </a:lnTo>
                <a:lnTo>
                  <a:pt x="53" y="79"/>
                </a:lnTo>
                <a:lnTo>
                  <a:pt x="53" y="79"/>
                </a:lnTo>
                <a:lnTo>
                  <a:pt x="56" y="79"/>
                </a:lnTo>
                <a:lnTo>
                  <a:pt x="56" y="75"/>
                </a:lnTo>
                <a:lnTo>
                  <a:pt x="59" y="75"/>
                </a:lnTo>
                <a:lnTo>
                  <a:pt x="56" y="72"/>
                </a:lnTo>
                <a:lnTo>
                  <a:pt x="56" y="72"/>
                </a:lnTo>
                <a:lnTo>
                  <a:pt x="56" y="69"/>
                </a:lnTo>
                <a:lnTo>
                  <a:pt x="62" y="66"/>
                </a:lnTo>
                <a:lnTo>
                  <a:pt x="65" y="66"/>
                </a:lnTo>
                <a:lnTo>
                  <a:pt x="65" y="63"/>
                </a:lnTo>
                <a:lnTo>
                  <a:pt x="62" y="60"/>
                </a:lnTo>
                <a:lnTo>
                  <a:pt x="65" y="57"/>
                </a:lnTo>
                <a:lnTo>
                  <a:pt x="65" y="54"/>
                </a:lnTo>
                <a:lnTo>
                  <a:pt x="62" y="50"/>
                </a:lnTo>
                <a:lnTo>
                  <a:pt x="56" y="50"/>
                </a:lnTo>
                <a:lnTo>
                  <a:pt x="53" y="54"/>
                </a:lnTo>
                <a:lnTo>
                  <a:pt x="47" y="54"/>
                </a:lnTo>
                <a:lnTo>
                  <a:pt x="43" y="54"/>
                </a:lnTo>
                <a:lnTo>
                  <a:pt x="40" y="54"/>
                </a:lnTo>
                <a:lnTo>
                  <a:pt x="40" y="54"/>
                </a:lnTo>
                <a:lnTo>
                  <a:pt x="40" y="50"/>
                </a:lnTo>
                <a:lnTo>
                  <a:pt x="40" y="47"/>
                </a:lnTo>
                <a:lnTo>
                  <a:pt x="40" y="44"/>
                </a:lnTo>
                <a:lnTo>
                  <a:pt x="37" y="38"/>
                </a:lnTo>
                <a:lnTo>
                  <a:pt x="40" y="35"/>
                </a:lnTo>
                <a:lnTo>
                  <a:pt x="65" y="35"/>
                </a:lnTo>
                <a:lnTo>
                  <a:pt x="68" y="38"/>
                </a:lnTo>
                <a:lnTo>
                  <a:pt x="68" y="35"/>
                </a:lnTo>
                <a:lnTo>
                  <a:pt x="68" y="35"/>
                </a:lnTo>
                <a:lnTo>
                  <a:pt x="72" y="38"/>
                </a:lnTo>
                <a:lnTo>
                  <a:pt x="75" y="38"/>
                </a:lnTo>
                <a:lnTo>
                  <a:pt x="75" y="38"/>
                </a:lnTo>
                <a:lnTo>
                  <a:pt x="78" y="38"/>
                </a:lnTo>
                <a:lnTo>
                  <a:pt x="78" y="38"/>
                </a:lnTo>
                <a:lnTo>
                  <a:pt x="81" y="38"/>
                </a:lnTo>
                <a:lnTo>
                  <a:pt x="81" y="38"/>
                </a:lnTo>
                <a:lnTo>
                  <a:pt x="84" y="41"/>
                </a:lnTo>
                <a:lnTo>
                  <a:pt x="87" y="41"/>
                </a:lnTo>
                <a:lnTo>
                  <a:pt x="90" y="41"/>
                </a:lnTo>
                <a:lnTo>
                  <a:pt x="90" y="41"/>
                </a:lnTo>
                <a:lnTo>
                  <a:pt x="93" y="41"/>
                </a:lnTo>
                <a:lnTo>
                  <a:pt x="93" y="41"/>
                </a:lnTo>
                <a:lnTo>
                  <a:pt x="97" y="41"/>
                </a:lnTo>
                <a:lnTo>
                  <a:pt x="97" y="41"/>
                </a:lnTo>
                <a:lnTo>
                  <a:pt x="97" y="41"/>
                </a:lnTo>
                <a:lnTo>
                  <a:pt x="97" y="35"/>
                </a:lnTo>
                <a:lnTo>
                  <a:pt x="97" y="35"/>
                </a:lnTo>
                <a:lnTo>
                  <a:pt x="100" y="32"/>
                </a:lnTo>
                <a:lnTo>
                  <a:pt x="100" y="29"/>
                </a:lnTo>
                <a:lnTo>
                  <a:pt x="109" y="13"/>
                </a:lnTo>
                <a:lnTo>
                  <a:pt x="115" y="10"/>
                </a:lnTo>
                <a:lnTo>
                  <a:pt x="118" y="7"/>
                </a:lnTo>
                <a:lnTo>
                  <a:pt x="118" y="7"/>
                </a:lnTo>
                <a:lnTo>
                  <a:pt x="128" y="3"/>
                </a:lnTo>
                <a:lnTo>
                  <a:pt x="131" y="3"/>
                </a:lnTo>
                <a:lnTo>
                  <a:pt x="134" y="0"/>
                </a:lnTo>
                <a:lnTo>
                  <a:pt x="137" y="0"/>
                </a:lnTo>
                <a:lnTo>
                  <a:pt x="140" y="0"/>
                </a:lnTo>
                <a:lnTo>
                  <a:pt x="140" y="3"/>
                </a:lnTo>
                <a:lnTo>
                  <a:pt x="143" y="3"/>
                </a:lnTo>
                <a:lnTo>
                  <a:pt x="147" y="3"/>
                </a:lnTo>
                <a:lnTo>
                  <a:pt x="150" y="3"/>
                </a:lnTo>
                <a:lnTo>
                  <a:pt x="147" y="3"/>
                </a:lnTo>
                <a:lnTo>
                  <a:pt x="150" y="10"/>
                </a:lnTo>
                <a:lnTo>
                  <a:pt x="150" y="16"/>
                </a:lnTo>
                <a:lnTo>
                  <a:pt x="147" y="19"/>
                </a:lnTo>
                <a:lnTo>
                  <a:pt x="147" y="22"/>
                </a:lnTo>
                <a:lnTo>
                  <a:pt x="137" y="32"/>
                </a:lnTo>
                <a:lnTo>
                  <a:pt x="137" y="41"/>
                </a:lnTo>
                <a:lnTo>
                  <a:pt x="137" y="44"/>
                </a:lnTo>
                <a:lnTo>
                  <a:pt x="137" y="47"/>
                </a:lnTo>
                <a:lnTo>
                  <a:pt x="134" y="50"/>
                </a:lnTo>
                <a:lnTo>
                  <a:pt x="134" y="57"/>
                </a:lnTo>
                <a:lnTo>
                  <a:pt x="134" y="60"/>
                </a:lnTo>
                <a:lnTo>
                  <a:pt x="134" y="66"/>
                </a:lnTo>
                <a:lnTo>
                  <a:pt x="134" y="66"/>
                </a:lnTo>
                <a:lnTo>
                  <a:pt x="134" y="72"/>
                </a:lnTo>
                <a:lnTo>
                  <a:pt x="131" y="75"/>
                </a:lnTo>
                <a:lnTo>
                  <a:pt x="128" y="82"/>
                </a:lnTo>
                <a:lnTo>
                  <a:pt x="128" y="88"/>
                </a:lnTo>
                <a:lnTo>
                  <a:pt x="122" y="97"/>
                </a:lnTo>
                <a:lnTo>
                  <a:pt x="118" y="97"/>
                </a:lnTo>
                <a:lnTo>
                  <a:pt x="115" y="100"/>
                </a:lnTo>
                <a:lnTo>
                  <a:pt x="112" y="100"/>
                </a:lnTo>
                <a:lnTo>
                  <a:pt x="109" y="104"/>
                </a:lnTo>
                <a:lnTo>
                  <a:pt x="106" y="107"/>
                </a:lnTo>
                <a:lnTo>
                  <a:pt x="106" y="113"/>
                </a:lnTo>
                <a:lnTo>
                  <a:pt x="100" y="119"/>
                </a:lnTo>
                <a:lnTo>
                  <a:pt x="97" y="122"/>
                </a:lnTo>
                <a:lnTo>
                  <a:pt x="97" y="129"/>
                </a:lnTo>
                <a:lnTo>
                  <a:pt x="100" y="129"/>
                </a:lnTo>
                <a:lnTo>
                  <a:pt x="97" y="141"/>
                </a:lnTo>
                <a:lnTo>
                  <a:pt x="97" y="147"/>
                </a:lnTo>
                <a:lnTo>
                  <a:pt x="97" y="151"/>
                </a:lnTo>
                <a:lnTo>
                  <a:pt x="93" y="154"/>
                </a:lnTo>
                <a:lnTo>
                  <a:pt x="90" y="157"/>
                </a:lnTo>
                <a:lnTo>
                  <a:pt x="87" y="157"/>
                </a:lnTo>
                <a:lnTo>
                  <a:pt x="84" y="160"/>
                </a:lnTo>
                <a:lnTo>
                  <a:pt x="78" y="169"/>
                </a:lnTo>
                <a:lnTo>
                  <a:pt x="75" y="172"/>
                </a:lnTo>
                <a:lnTo>
                  <a:pt x="68" y="176"/>
                </a:lnTo>
                <a:lnTo>
                  <a:pt x="65" y="172"/>
                </a:lnTo>
                <a:lnTo>
                  <a:pt x="65" y="169"/>
                </a:lnTo>
                <a:lnTo>
                  <a:pt x="62" y="169"/>
                </a:lnTo>
                <a:lnTo>
                  <a:pt x="65" y="163"/>
                </a:lnTo>
                <a:lnTo>
                  <a:pt x="65" y="163"/>
                </a:lnTo>
                <a:lnTo>
                  <a:pt x="59" y="163"/>
                </a:lnTo>
                <a:lnTo>
                  <a:pt x="56" y="166"/>
                </a:lnTo>
                <a:lnTo>
                  <a:pt x="53" y="166"/>
                </a:lnTo>
                <a:lnTo>
                  <a:pt x="50" y="166"/>
                </a:lnTo>
                <a:lnTo>
                  <a:pt x="50" y="172"/>
                </a:lnTo>
                <a:lnTo>
                  <a:pt x="47" y="172"/>
                </a:lnTo>
                <a:lnTo>
                  <a:pt x="43" y="172"/>
                </a:lnTo>
                <a:lnTo>
                  <a:pt x="43" y="172"/>
                </a:lnTo>
                <a:lnTo>
                  <a:pt x="43" y="169"/>
                </a:lnTo>
                <a:lnTo>
                  <a:pt x="40" y="172"/>
                </a:lnTo>
                <a:lnTo>
                  <a:pt x="37" y="172"/>
                </a:lnTo>
                <a:lnTo>
                  <a:pt x="37" y="172"/>
                </a:lnTo>
                <a:lnTo>
                  <a:pt x="37" y="169"/>
                </a:lnTo>
                <a:lnTo>
                  <a:pt x="34" y="166"/>
                </a:lnTo>
                <a:lnTo>
                  <a:pt x="34" y="163"/>
                </a:lnTo>
                <a:lnTo>
                  <a:pt x="31" y="163"/>
                </a:lnTo>
                <a:lnTo>
                  <a:pt x="28" y="166"/>
                </a:lnTo>
                <a:lnTo>
                  <a:pt x="25" y="166"/>
                </a:lnTo>
                <a:lnTo>
                  <a:pt x="25" y="169"/>
                </a:lnTo>
                <a:lnTo>
                  <a:pt x="22" y="172"/>
                </a:lnTo>
                <a:lnTo>
                  <a:pt x="18" y="172"/>
                </a:lnTo>
                <a:lnTo>
                  <a:pt x="18" y="176"/>
                </a:lnTo>
                <a:lnTo>
                  <a:pt x="15" y="179"/>
                </a:lnTo>
                <a:lnTo>
                  <a:pt x="12" y="176"/>
                </a:lnTo>
                <a:lnTo>
                  <a:pt x="15" y="172"/>
                </a:lnTo>
                <a:lnTo>
                  <a:pt x="12" y="169"/>
                </a:lnTo>
                <a:lnTo>
                  <a:pt x="9" y="166"/>
                </a:lnTo>
                <a:lnTo>
                  <a:pt x="6" y="160"/>
                </a:lnTo>
                <a:lnTo>
                  <a:pt x="3" y="160"/>
                </a:lnTo>
                <a:lnTo>
                  <a:pt x="0" y="154"/>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1" name="Freeform 139">
            <a:extLst>
              <a:ext uri="{FF2B5EF4-FFF2-40B4-BE49-F238E27FC236}">
                <a16:creationId xmlns:a16="http://schemas.microsoft.com/office/drawing/2014/main" id="{8BB3328A-4187-DC58-CF07-F1BA02A53C40}"/>
              </a:ext>
            </a:extLst>
          </p:cNvPr>
          <p:cNvSpPr>
            <a:spLocks/>
          </p:cNvSpPr>
          <p:nvPr userDrawn="1"/>
        </p:nvSpPr>
        <p:spPr bwMode="auto">
          <a:xfrm>
            <a:off x="13902418" y="9654461"/>
            <a:ext cx="69845" cy="98426"/>
          </a:xfrm>
          <a:custGeom>
            <a:avLst/>
            <a:gdLst>
              <a:gd name="T0" fmla="*/ 22 w 22"/>
              <a:gd name="T1" fmla="*/ 9 h 31"/>
              <a:gd name="T2" fmla="*/ 22 w 22"/>
              <a:gd name="T3" fmla="*/ 6 h 31"/>
              <a:gd name="T4" fmla="*/ 19 w 22"/>
              <a:gd name="T5" fmla="*/ 3 h 31"/>
              <a:gd name="T6" fmla="*/ 19 w 22"/>
              <a:gd name="T7" fmla="*/ 0 h 31"/>
              <a:gd name="T8" fmla="*/ 16 w 22"/>
              <a:gd name="T9" fmla="*/ 0 h 31"/>
              <a:gd name="T10" fmla="*/ 13 w 22"/>
              <a:gd name="T11" fmla="*/ 3 h 31"/>
              <a:gd name="T12" fmla="*/ 10 w 22"/>
              <a:gd name="T13" fmla="*/ 3 h 31"/>
              <a:gd name="T14" fmla="*/ 10 w 22"/>
              <a:gd name="T15" fmla="*/ 6 h 31"/>
              <a:gd name="T16" fmla="*/ 7 w 22"/>
              <a:gd name="T17" fmla="*/ 9 h 31"/>
              <a:gd name="T18" fmla="*/ 3 w 22"/>
              <a:gd name="T19" fmla="*/ 9 h 31"/>
              <a:gd name="T20" fmla="*/ 3 w 22"/>
              <a:gd name="T21" fmla="*/ 13 h 31"/>
              <a:gd name="T22" fmla="*/ 0 w 22"/>
              <a:gd name="T23" fmla="*/ 16 h 31"/>
              <a:gd name="T24" fmla="*/ 3 w 22"/>
              <a:gd name="T25" fmla="*/ 19 h 31"/>
              <a:gd name="T26" fmla="*/ 3 w 22"/>
              <a:gd name="T27" fmla="*/ 22 h 31"/>
              <a:gd name="T28" fmla="*/ 3 w 22"/>
              <a:gd name="T29" fmla="*/ 28 h 31"/>
              <a:gd name="T30" fmla="*/ 3 w 22"/>
              <a:gd name="T31" fmla="*/ 31 h 31"/>
              <a:gd name="T32" fmla="*/ 7 w 22"/>
              <a:gd name="T33" fmla="*/ 28 h 31"/>
              <a:gd name="T34" fmla="*/ 10 w 22"/>
              <a:gd name="T35" fmla="*/ 28 h 31"/>
              <a:gd name="T36" fmla="*/ 13 w 22"/>
              <a:gd name="T37" fmla="*/ 25 h 31"/>
              <a:gd name="T38" fmla="*/ 13 w 22"/>
              <a:gd name="T39" fmla="*/ 19 h 31"/>
              <a:gd name="T40" fmla="*/ 13 w 22"/>
              <a:gd name="T41" fmla="*/ 16 h 31"/>
              <a:gd name="T42" fmla="*/ 19 w 22"/>
              <a:gd name="T43" fmla="*/ 13 h 31"/>
              <a:gd name="T44" fmla="*/ 22 w 22"/>
              <a:gd name="T45"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31">
                <a:moveTo>
                  <a:pt x="22" y="9"/>
                </a:moveTo>
                <a:lnTo>
                  <a:pt x="22" y="6"/>
                </a:lnTo>
                <a:lnTo>
                  <a:pt x="19" y="3"/>
                </a:lnTo>
                <a:lnTo>
                  <a:pt x="19" y="0"/>
                </a:lnTo>
                <a:lnTo>
                  <a:pt x="16" y="0"/>
                </a:lnTo>
                <a:lnTo>
                  <a:pt x="13" y="3"/>
                </a:lnTo>
                <a:lnTo>
                  <a:pt x="10" y="3"/>
                </a:lnTo>
                <a:lnTo>
                  <a:pt x="10" y="6"/>
                </a:lnTo>
                <a:lnTo>
                  <a:pt x="7" y="9"/>
                </a:lnTo>
                <a:lnTo>
                  <a:pt x="3" y="9"/>
                </a:lnTo>
                <a:lnTo>
                  <a:pt x="3" y="13"/>
                </a:lnTo>
                <a:lnTo>
                  <a:pt x="0" y="16"/>
                </a:lnTo>
                <a:lnTo>
                  <a:pt x="3" y="19"/>
                </a:lnTo>
                <a:lnTo>
                  <a:pt x="3" y="22"/>
                </a:lnTo>
                <a:lnTo>
                  <a:pt x="3" y="28"/>
                </a:lnTo>
                <a:lnTo>
                  <a:pt x="3" y="31"/>
                </a:lnTo>
                <a:lnTo>
                  <a:pt x="7" y="28"/>
                </a:lnTo>
                <a:lnTo>
                  <a:pt x="10" y="28"/>
                </a:lnTo>
                <a:lnTo>
                  <a:pt x="13" y="25"/>
                </a:lnTo>
                <a:lnTo>
                  <a:pt x="13" y="19"/>
                </a:lnTo>
                <a:lnTo>
                  <a:pt x="13" y="16"/>
                </a:lnTo>
                <a:lnTo>
                  <a:pt x="19" y="13"/>
                </a:lnTo>
                <a:lnTo>
                  <a:pt x="22" y="9"/>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2" name="Freeform 140">
            <a:extLst>
              <a:ext uri="{FF2B5EF4-FFF2-40B4-BE49-F238E27FC236}">
                <a16:creationId xmlns:a16="http://schemas.microsoft.com/office/drawing/2014/main" id="{47AB13FF-1E1F-1922-4F4B-A1271DBE5B98}"/>
              </a:ext>
            </a:extLst>
          </p:cNvPr>
          <p:cNvSpPr>
            <a:spLocks/>
          </p:cNvSpPr>
          <p:nvPr userDrawn="1"/>
        </p:nvSpPr>
        <p:spPr bwMode="auto">
          <a:xfrm>
            <a:off x="14985028" y="9435382"/>
            <a:ext cx="704804" cy="714376"/>
          </a:xfrm>
          <a:custGeom>
            <a:avLst/>
            <a:gdLst>
              <a:gd name="T0" fmla="*/ 28 w 222"/>
              <a:gd name="T1" fmla="*/ 3 h 225"/>
              <a:gd name="T2" fmla="*/ 94 w 222"/>
              <a:gd name="T3" fmla="*/ 0 h 225"/>
              <a:gd name="T4" fmla="*/ 169 w 222"/>
              <a:gd name="T5" fmla="*/ 50 h 225"/>
              <a:gd name="T6" fmla="*/ 197 w 222"/>
              <a:gd name="T7" fmla="*/ 72 h 225"/>
              <a:gd name="T8" fmla="*/ 197 w 222"/>
              <a:gd name="T9" fmla="*/ 78 h 225"/>
              <a:gd name="T10" fmla="*/ 188 w 222"/>
              <a:gd name="T11" fmla="*/ 100 h 225"/>
              <a:gd name="T12" fmla="*/ 197 w 222"/>
              <a:gd name="T13" fmla="*/ 116 h 225"/>
              <a:gd name="T14" fmla="*/ 203 w 222"/>
              <a:gd name="T15" fmla="*/ 122 h 225"/>
              <a:gd name="T16" fmla="*/ 197 w 222"/>
              <a:gd name="T17" fmla="*/ 128 h 225"/>
              <a:gd name="T18" fmla="*/ 200 w 222"/>
              <a:gd name="T19" fmla="*/ 144 h 225"/>
              <a:gd name="T20" fmla="*/ 200 w 222"/>
              <a:gd name="T21" fmla="*/ 157 h 225"/>
              <a:gd name="T22" fmla="*/ 200 w 222"/>
              <a:gd name="T23" fmla="*/ 163 h 225"/>
              <a:gd name="T24" fmla="*/ 203 w 222"/>
              <a:gd name="T25" fmla="*/ 169 h 225"/>
              <a:gd name="T26" fmla="*/ 213 w 222"/>
              <a:gd name="T27" fmla="*/ 185 h 225"/>
              <a:gd name="T28" fmla="*/ 222 w 222"/>
              <a:gd name="T29" fmla="*/ 191 h 225"/>
              <a:gd name="T30" fmla="*/ 219 w 222"/>
              <a:gd name="T31" fmla="*/ 194 h 225"/>
              <a:gd name="T32" fmla="*/ 209 w 222"/>
              <a:gd name="T33" fmla="*/ 197 h 225"/>
              <a:gd name="T34" fmla="*/ 200 w 222"/>
              <a:gd name="T35" fmla="*/ 204 h 225"/>
              <a:gd name="T36" fmla="*/ 191 w 222"/>
              <a:gd name="T37" fmla="*/ 204 h 225"/>
              <a:gd name="T38" fmla="*/ 178 w 222"/>
              <a:gd name="T39" fmla="*/ 210 h 225"/>
              <a:gd name="T40" fmla="*/ 169 w 222"/>
              <a:gd name="T41" fmla="*/ 207 h 225"/>
              <a:gd name="T42" fmla="*/ 169 w 222"/>
              <a:gd name="T43" fmla="*/ 213 h 225"/>
              <a:gd name="T44" fmla="*/ 156 w 222"/>
              <a:gd name="T45" fmla="*/ 213 h 225"/>
              <a:gd name="T46" fmla="*/ 150 w 222"/>
              <a:gd name="T47" fmla="*/ 210 h 225"/>
              <a:gd name="T48" fmla="*/ 144 w 222"/>
              <a:gd name="T49" fmla="*/ 216 h 225"/>
              <a:gd name="T50" fmla="*/ 134 w 222"/>
              <a:gd name="T51" fmla="*/ 213 h 225"/>
              <a:gd name="T52" fmla="*/ 128 w 222"/>
              <a:gd name="T53" fmla="*/ 210 h 225"/>
              <a:gd name="T54" fmla="*/ 125 w 222"/>
              <a:gd name="T55" fmla="*/ 210 h 225"/>
              <a:gd name="T56" fmla="*/ 100 w 222"/>
              <a:gd name="T57" fmla="*/ 225 h 225"/>
              <a:gd name="T58" fmla="*/ 91 w 222"/>
              <a:gd name="T59" fmla="*/ 179 h 225"/>
              <a:gd name="T60" fmla="*/ 87 w 222"/>
              <a:gd name="T61" fmla="*/ 172 h 225"/>
              <a:gd name="T62" fmla="*/ 81 w 222"/>
              <a:gd name="T63" fmla="*/ 172 h 225"/>
              <a:gd name="T64" fmla="*/ 78 w 222"/>
              <a:gd name="T65" fmla="*/ 172 h 225"/>
              <a:gd name="T66" fmla="*/ 72 w 222"/>
              <a:gd name="T67" fmla="*/ 169 h 225"/>
              <a:gd name="T68" fmla="*/ 69 w 222"/>
              <a:gd name="T69" fmla="*/ 166 h 225"/>
              <a:gd name="T70" fmla="*/ 62 w 222"/>
              <a:gd name="T71" fmla="*/ 160 h 225"/>
              <a:gd name="T72" fmla="*/ 47 w 222"/>
              <a:gd name="T73" fmla="*/ 157 h 225"/>
              <a:gd name="T74" fmla="*/ 41 w 222"/>
              <a:gd name="T75" fmla="*/ 150 h 225"/>
              <a:gd name="T76" fmla="*/ 34 w 222"/>
              <a:gd name="T77" fmla="*/ 150 h 225"/>
              <a:gd name="T78" fmla="*/ 9 w 222"/>
              <a:gd name="T79" fmla="*/ 113 h 225"/>
              <a:gd name="T80" fmla="*/ 12 w 222"/>
              <a:gd name="T81" fmla="*/ 72 h 225"/>
              <a:gd name="T82" fmla="*/ 25 w 222"/>
              <a:gd name="T83" fmla="*/ 60 h 225"/>
              <a:gd name="T84" fmla="*/ 34 w 222"/>
              <a:gd name="T85" fmla="*/ 53 h 225"/>
              <a:gd name="T86" fmla="*/ 31 w 222"/>
              <a:gd name="T87" fmla="*/ 44 h 225"/>
              <a:gd name="T88" fmla="*/ 28 w 222"/>
              <a:gd name="T89" fmla="*/ 38 h 225"/>
              <a:gd name="T90" fmla="*/ 28 w 222"/>
              <a:gd name="T91" fmla="*/ 35 h 225"/>
              <a:gd name="T92" fmla="*/ 34 w 222"/>
              <a:gd name="T93" fmla="*/ 31 h 225"/>
              <a:gd name="T94" fmla="*/ 34 w 222"/>
              <a:gd name="T95" fmla="*/ 22 h 225"/>
              <a:gd name="T96" fmla="*/ 31 w 222"/>
              <a:gd name="T97" fmla="*/ 1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2" h="225">
                <a:moveTo>
                  <a:pt x="25" y="6"/>
                </a:moveTo>
                <a:lnTo>
                  <a:pt x="28" y="3"/>
                </a:lnTo>
                <a:lnTo>
                  <a:pt x="28" y="3"/>
                </a:lnTo>
                <a:lnTo>
                  <a:pt x="31" y="3"/>
                </a:lnTo>
                <a:lnTo>
                  <a:pt x="53" y="3"/>
                </a:lnTo>
                <a:lnTo>
                  <a:pt x="94" y="0"/>
                </a:lnTo>
                <a:lnTo>
                  <a:pt x="166" y="44"/>
                </a:lnTo>
                <a:lnTo>
                  <a:pt x="172" y="50"/>
                </a:lnTo>
                <a:lnTo>
                  <a:pt x="169" y="50"/>
                </a:lnTo>
                <a:lnTo>
                  <a:pt x="172" y="53"/>
                </a:lnTo>
                <a:lnTo>
                  <a:pt x="172" y="57"/>
                </a:lnTo>
                <a:lnTo>
                  <a:pt x="197" y="72"/>
                </a:lnTo>
                <a:lnTo>
                  <a:pt x="197" y="72"/>
                </a:lnTo>
                <a:lnTo>
                  <a:pt x="197" y="75"/>
                </a:lnTo>
                <a:lnTo>
                  <a:pt x="197" y="78"/>
                </a:lnTo>
                <a:lnTo>
                  <a:pt x="197" y="78"/>
                </a:lnTo>
                <a:lnTo>
                  <a:pt x="191" y="91"/>
                </a:lnTo>
                <a:lnTo>
                  <a:pt x="188" y="100"/>
                </a:lnTo>
                <a:lnTo>
                  <a:pt x="188" y="103"/>
                </a:lnTo>
                <a:lnTo>
                  <a:pt x="194" y="110"/>
                </a:lnTo>
                <a:lnTo>
                  <a:pt x="197" y="116"/>
                </a:lnTo>
                <a:lnTo>
                  <a:pt x="200" y="113"/>
                </a:lnTo>
                <a:lnTo>
                  <a:pt x="203" y="122"/>
                </a:lnTo>
                <a:lnTo>
                  <a:pt x="203" y="122"/>
                </a:lnTo>
                <a:lnTo>
                  <a:pt x="200" y="122"/>
                </a:lnTo>
                <a:lnTo>
                  <a:pt x="197" y="125"/>
                </a:lnTo>
                <a:lnTo>
                  <a:pt x="197" y="128"/>
                </a:lnTo>
                <a:lnTo>
                  <a:pt x="197" y="138"/>
                </a:lnTo>
                <a:lnTo>
                  <a:pt x="200" y="141"/>
                </a:lnTo>
                <a:lnTo>
                  <a:pt x="200" y="144"/>
                </a:lnTo>
                <a:lnTo>
                  <a:pt x="197" y="147"/>
                </a:lnTo>
                <a:lnTo>
                  <a:pt x="197" y="150"/>
                </a:lnTo>
                <a:lnTo>
                  <a:pt x="200" y="157"/>
                </a:lnTo>
                <a:lnTo>
                  <a:pt x="200" y="157"/>
                </a:lnTo>
                <a:lnTo>
                  <a:pt x="200" y="160"/>
                </a:lnTo>
                <a:lnTo>
                  <a:pt x="200" y="163"/>
                </a:lnTo>
                <a:lnTo>
                  <a:pt x="203" y="163"/>
                </a:lnTo>
                <a:lnTo>
                  <a:pt x="200" y="169"/>
                </a:lnTo>
                <a:lnTo>
                  <a:pt x="203" y="169"/>
                </a:lnTo>
                <a:lnTo>
                  <a:pt x="206" y="175"/>
                </a:lnTo>
                <a:lnTo>
                  <a:pt x="203" y="179"/>
                </a:lnTo>
                <a:lnTo>
                  <a:pt x="213" y="185"/>
                </a:lnTo>
                <a:lnTo>
                  <a:pt x="216" y="185"/>
                </a:lnTo>
                <a:lnTo>
                  <a:pt x="222" y="191"/>
                </a:lnTo>
                <a:lnTo>
                  <a:pt x="222" y="191"/>
                </a:lnTo>
                <a:lnTo>
                  <a:pt x="222" y="191"/>
                </a:lnTo>
                <a:lnTo>
                  <a:pt x="222" y="191"/>
                </a:lnTo>
                <a:lnTo>
                  <a:pt x="219" y="194"/>
                </a:lnTo>
                <a:lnTo>
                  <a:pt x="216" y="194"/>
                </a:lnTo>
                <a:lnTo>
                  <a:pt x="213" y="197"/>
                </a:lnTo>
                <a:lnTo>
                  <a:pt x="209" y="197"/>
                </a:lnTo>
                <a:lnTo>
                  <a:pt x="206" y="200"/>
                </a:lnTo>
                <a:lnTo>
                  <a:pt x="203" y="204"/>
                </a:lnTo>
                <a:lnTo>
                  <a:pt x="200" y="204"/>
                </a:lnTo>
                <a:lnTo>
                  <a:pt x="197" y="204"/>
                </a:lnTo>
                <a:lnTo>
                  <a:pt x="194" y="207"/>
                </a:lnTo>
                <a:lnTo>
                  <a:pt x="191" y="204"/>
                </a:lnTo>
                <a:lnTo>
                  <a:pt x="184" y="207"/>
                </a:lnTo>
                <a:lnTo>
                  <a:pt x="181" y="207"/>
                </a:lnTo>
                <a:lnTo>
                  <a:pt x="178" y="210"/>
                </a:lnTo>
                <a:lnTo>
                  <a:pt x="175" y="207"/>
                </a:lnTo>
                <a:lnTo>
                  <a:pt x="172" y="207"/>
                </a:lnTo>
                <a:lnTo>
                  <a:pt x="169" y="207"/>
                </a:lnTo>
                <a:lnTo>
                  <a:pt x="169" y="207"/>
                </a:lnTo>
                <a:lnTo>
                  <a:pt x="169" y="210"/>
                </a:lnTo>
                <a:lnTo>
                  <a:pt x="169" y="213"/>
                </a:lnTo>
                <a:lnTo>
                  <a:pt x="163" y="213"/>
                </a:lnTo>
                <a:lnTo>
                  <a:pt x="159" y="213"/>
                </a:lnTo>
                <a:lnTo>
                  <a:pt x="156" y="213"/>
                </a:lnTo>
                <a:lnTo>
                  <a:pt x="153" y="213"/>
                </a:lnTo>
                <a:lnTo>
                  <a:pt x="153" y="213"/>
                </a:lnTo>
                <a:lnTo>
                  <a:pt x="150" y="210"/>
                </a:lnTo>
                <a:lnTo>
                  <a:pt x="150" y="213"/>
                </a:lnTo>
                <a:lnTo>
                  <a:pt x="147" y="213"/>
                </a:lnTo>
                <a:lnTo>
                  <a:pt x="144" y="216"/>
                </a:lnTo>
                <a:lnTo>
                  <a:pt x="138" y="216"/>
                </a:lnTo>
                <a:lnTo>
                  <a:pt x="138" y="216"/>
                </a:lnTo>
                <a:lnTo>
                  <a:pt x="134" y="213"/>
                </a:lnTo>
                <a:lnTo>
                  <a:pt x="134" y="213"/>
                </a:lnTo>
                <a:lnTo>
                  <a:pt x="131" y="210"/>
                </a:lnTo>
                <a:lnTo>
                  <a:pt x="128" y="210"/>
                </a:lnTo>
                <a:lnTo>
                  <a:pt x="128" y="210"/>
                </a:lnTo>
                <a:lnTo>
                  <a:pt x="125" y="210"/>
                </a:lnTo>
                <a:lnTo>
                  <a:pt x="125" y="210"/>
                </a:lnTo>
                <a:lnTo>
                  <a:pt x="122" y="213"/>
                </a:lnTo>
                <a:lnTo>
                  <a:pt x="103" y="213"/>
                </a:lnTo>
                <a:lnTo>
                  <a:pt x="100" y="225"/>
                </a:lnTo>
                <a:lnTo>
                  <a:pt x="100" y="194"/>
                </a:lnTo>
                <a:lnTo>
                  <a:pt x="97" y="185"/>
                </a:lnTo>
                <a:lnTo>
                  <a:pt x="91" y="179"/>
                </a:lnTo>
                <a:lnTo>
                  <a:pt x="91" y="175"/>
                </a:lnTo>
                <a:lnTo>
                  <a:pt x="87" y="175"/>
                </a:lnTo>
                <a:lnTo>
                  <a:pt x="87" y="172"/>
                </a:lnTo>
                <a:lnTo>
                  <a:pt x="84" y="172"/>
                </a:lnTo>
                <a:lnTo>
                  <a:pt x="84" y="172"/>
                </a:lnTo>
                <a:lnTo>
                  <a:pt x="81" y="172"/>
                </a:lnTo>
                <a:lnTo>
                  <a:pt x="81" y="172"/>
                </a:lnTo>
                <a:lnTo>
                  <a:pt x="78" y="172"/>
                </a:lnTo>
                <a:lnTo>
                  <a:pt x="78" y="172"/>
                </a:lnTo>
                <a:lnTo>
                  <a:pt x="75" y="169"/>
                </a:lnTo>
                <a:lnTo>
                  <a:pt x="75" y="169"/>
                </a:lnTo>
                <a:lnTo>
                  <a:pt x="72" y="169"/>
                </a:lnTo>
                <a:lnTo>
                  <a:pt x="72" y="169"/>
                </a:lnTo>
                <a:lnTo>
                  <a:pt x="72" y="169"/>
                </a:lnTo>
                <a:lnTo>
                  <a:pt x="69" y="166"/>
                </a:lnTo>
                <a:lnTo>
                  <a:pt x="66" y="163"/>
                </a:lnTo>
                <a:lnTo>
                  <a:pt x="62" y="163"/>
                </a:lnTo>
                <a:lnTo>
                  <a:pt x="62" y="160"/>
                </a:lnTo>
                <a:lnTo>
                  <a:pt x="59" y="160"/>
                </a:lnTo>
                <a:lnTo>
                  <a:pt x="50" y="157"/>
                </a:lnTo>
                <a:lnTo>
                  <a:pt x="47" y="157"/>
                </a:lnTo>
                <a:lnTo>
                  <a:pt x="44" y="153"/>
                </a:lnTo>
                <a:lnTo>
                  <a:pt x="44" y="153"/>
                </a:lnTo>
                <a:lnTo>
                  <a:pt x="41" y="150"/>
                </a:lnTo>
                <a:lnTo>
                  <a:pt x="41" y="150"/>
                </a:lnTo>
                <a:lnTo>
                  <a:pt x="37" y="150"/>
                </a:lnTo>
                <a:lnTo>
                  <a:pt x="34" y="150"/>
                </a:lnTo>
                <a:lnTo>
                  <a:pt x="28" y="147"/>
                </a:lnTo>
                <a:lnTo>
                  <a:pt x="22" y="132"/>
                </a:lnTo>
                <a:lnTo>
                  <a:pt x="9" y="113"/>
                </a:lnTo>
                <a:lnTo>
                  <a:pt x="3" y="88"/>
                </a:lnTo>
                <a:lnTo>
                  <a:pt x="0" y="72"/>
                </a:lnTo>
                <a:lnTo>
                  <a:pt x="12" y="72"/>
                </a:lnTo>
                <a:lnTo>
                  <a:pt x="19" y="69"/>
                </a:lnTo>
                <a:lnTo>
                  <a:pt x="22" y="66"/>
                </a:lnTo>
                <a:lnTo>
                  <a:pt x="25" y="60"/>
                </a:lnTo>
                <a:lnTo>
                  <a:pt x="28" y="57"/>
                </a:lnTo>
                <a:lnTo>
                  <a:pt x="31" y="57"/>
                </a:lnTo>
                <a:lnTo>
                  <a:pt x="34" y="53"/>
                </a:lnTo>
                <a:lnTo>
                  <a:pt x="34" y="50"/>
                </a:lnTo>
                <a:lnTo>
                  <a:pt x="34" y="44"/>
                </a:lnTo>
                <a:lnTo>
                  <a:pt x="31" y="44"/>
                </a:lnTo>
                <a:lnTo>
                  <a:pt x="31" y="41"/>
                </a:lnTo>
                <a:lnTo>
                  <a:pt x="28" y="38"/>
                </a:lnTo>
                <a:lnTo>
                  <a:pt x="28" y="38"/>
                </a:lnTo>
                <a:lnTo>
                  <a:pt x="28" y="35"/>
                </a:lnTo>
                <a:lnTo>
                  <a:pt x="28" y="31"/>
                </a:lnTo>
                <a:lnTo>
                  <a:pt x="28" y="35"/>
                </a:lnTo>
                <a:lnTo>
                  <a:pt x="28" y="35"/>
                </a:lnTo>
                <a:lnTo>
                  <a:pt x="31" y="31"/>
                </a:lnTo>
                <a:lnTo>
                  <a:pt x="34" y="31"/>
                </a:lnTo>
                <a:lnTo>
                  <a:pt x="34" y="28"/>
                </a:lnTo>
                <a:lnTo>
                  <a:pt x="34" y="25"/>
                </a:lnTo>
                <a:lnTo>
                  <a:pt x="34" y="22"/>
                </a:lnTo>
                <a:lnTo>
                  <a:pt x="34" y="16"/>
                </a:lnTo>
                <a:lnTo>
                  <a:pt x="31" y="13"/>
                </a:lnTo>
                <a:lnTo>
                  <a:pt x="31" y="13"/>
                </a:lnTo>
                <a:lnTo>
                  <a:pt x="28" y="10"/>
                </a:lnTo>
                <a:lnTo>
                  <a:pt x="25" y="6"/>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3" name="Freeform 141">
            <a:extLst>
              <a:ext uri="{FF2B5EF4-FFF2-40B4-BE49-F238E27FC236}">
                <a16:creationId xmlns:a16="http://schemas.microsoft.com/office/drawing/2014/main" id="{F67283CD-3229-B831-58CE-9BD44605C78C}"/>
              </a:ext>
            </a:extLst>
          </p:cNvPr>
          <p:cNvSpPr>
            <a:spLocks/>
          </p:cNvSpPr>
          <p:nvPr userDrawn="1"/>
        </p:nvSpPr>
        <p:spPr bwMode="auto">
          <a:xfrm>
            <a:off x="14975496" y="9454432"/>
            <a:ext cx="117470" cy="101600"/>
          </a:xfrm>
          <a:custGeom>
            <a:avLst/>
            <a:gdLst>
              <a:gd name="T0" fmla="*/ 9 w 37"/>
              <a:gd name="T1" fmla="*/ 4 h 32"/>
              <a:gd name="T2" fmla="*/ 9 w 37"/>
              <a:gd name="T3" fmla="*/ 4 h 32"/>
              <a:gd name="T4" fmla="*/ 12 w 37"/>
              <a:gd name="T5" fmla="*/ 4 h 32"/>
              <a:gd name="T6" fmla="*/ 19 w 37"/>
              <a:gd name="T7" fmla="*/ 0 h 32"/>
              <a:gd name="T8" fmla="*/ 19 w 37"/>
              <a:gd name="T9" fmla="*/ 4 h 32"/>
              <a:gd name="T10" fmla="*/ 22 w 37"/>
              <a:gd name="T11" fmla="*/ 4 h 32"/>
              <a:gd name="T12" fmla="*/ 25 w 37"/>
              <a:gd name="T13" fmla="*/ 4 h 32"/>
              <a:gd name="T14" fmla="*/ 25 w 37"/>
              <a:gd name="T15" fmla="*/ 4 h 32"/>
              <a:gd name="T16" fmla="*/ 25 w 37"/>
              <a:gd name="T17" fmla="*/ 0 h 32"/>
              <a:gd name="T18" fmla="*/ 28 w 37"/>
              <a:gd name="T19" fmla="*/ 0 h 32"/>
              <a:gd name="T20" fmla="*/ 31 w 37"/>
              <a:gd name="T21" fmla="*/ 4 h 32"/>
              <a:gd name="T22" fmla="*/ 34 w 37"/>
              <a:gd name="T23" fmla="*/ 7 h 32"/>
              <a:gd name="T24" fmla="*/ 34 w 37"/>
              <a:gd name="T25" fmla="*/ 7 h 32"/>
              <a:gd name="T26" fmla="*/ 37 w 37"/>
              <a:gd name="T27" fmla="*/ 10 h 32"/>
              <a:gd name="T28" fmla="*/ 37 w 37"/>
              <a:gd name="T29" fmla="*/ 16 h 32"/>
              <a:gd name="T30" fmla="*/ 37 w 37"/>
              <a:gd name="T31" fmla="*/ 19 h 32"/>
              <a:gd name="T32" fmla="*/ 37 w 37"/>
              <a:gd name="T33" fmla="*/ 22 h 32"/>
              <a:gd name="T34" fmla="*/ 37 w 37"/>
              <a:gd name="T35" fmla="*/ 25 h 32"/>
              <a:gd name="T36" fmla="*/ 34 w 37"/>
              <a:gd name="T37" fmla="*/ 25 h 32"/>
              <a:gd name="T38" fmla="*/ 31 w 37"/>
              <a:gd name="T39" fmla="*/ 29 h 32"/>
              <a:gd name="T40" fmla="*/ 31 w 37"/>
              <a:gd name="T41" fmla="*/ 29 h 32"/>
              <a:gd name="T42" fmla="*/ 31 w 37"/>
              <a:gd name="T43" fmla="*/ 25 h 32"/>
              <a:gd name="T44" fmla="*/ 31 w 37"/>
              <a:gd name="T45" fmla="*/ 25 h 32"/>
              <a:gd name="T46" fmla="*/ 28 w 37"/>
              <a:gd name="T47" fmla="*/ 25 h 32"/>
              <a:gd name="T48" fmla="*/ 28 w 37"/>
              <a:gd name="T49" fmla="*/ 22 h 32"/>
              <a:gd name="T50" fmla="*/ 25 w 37"/>
              <a:gd name="T51" fmla="*/ 22 h 32"/>
              <a:gd name="T52" fmla="*/ 22 w 37"/>
              <a:gd name="T53" fmla="*/ 19 h 32"/>
              <a:gd name="T54" fmla="*/ 22 w 37"/>
              <a:gd name="T55" fmla="*/ 19 h 32"/>
              <a:gd name="T56" fmla="*/ 22 w 37"/>
              <a:gd name="T57" fmla="*/ 22 h 32"/>
              <a:gd name="T58" fmla="*/ 19 w 37"/>
              <a:gd name="T59" fmla="*/ 29 h 32"/>
              <a:gd name="T60" fmla="*/ 19 w 37"/>
              <a:gd name="T61" fmla="*/ 32 h 32"/>
              <a:gd name="T62" fmla="*/ 15 w 37"/>
              <a:gd name="T63" fmla="*/ 32 h 32"/>
              <a:gd name="T64" fmla="*/ 12 w 37"/>
              <a:gd name="T65" fmla="*/ 32 h 32"/>
              <a:gd name="T66" fmla="*/ 12 w 37"/>
              <a:gd name="T67" fmla="*/ 32 h 32"/>
              <a:gd name="T68" fmla="*/ 9 w 37"/>
              <a:gd name="T69" fmla="*/ 32 h 32"/>
              <a:gd name="T70" fmla="*/ 6 w 37"/>
              <a:gd name="T71" fmla="*/ 32 h 32"/>
              <a:gd name="T72" fmla="*/ 6 w 37"/>
              <a:gd name="T73" fmla="*/ 29 h 32"/>
              <a:gd name="T74" fmla="*/ 3 w 37"/>
              <a:gd name="T75" fmla="*/ 25 h 32"/>
              <a:gd name="T76" fmla="*/ 0 w 37"/>
              <a:gd name="T77" fmla="*/ 25 h 32"/>
              <a:gd name="T78" fmla="*/ 0 w 37"/>
              <a:gd name="T79" fmla="*/ 29 h 32"/>
              <a:gd name="T80" fmla="*/ 0 w 37"/>
              <a:gd name="T81" fmla="*/ 25 h 32"/>
              <a:gd name="T82" fmla="*/ 3 w 37"/>
              <a:gd name="T83" fmla="*/ 13 h 32"/>
              <a:gd name="T84" fmla="*/ 6 w 37"/>
              <a:gd name="T85" fmla="*/ 7 h 32"/>
              <a:gd name="T86" fmla="*/ 9 w 37"/>
              <a:gd name="T87"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 h="32">
                <a:moveTo>
                  <a:pt x="9" y="4"/>
                </a:moveTo>
                <a:lnTo>
                  <a:pt x="9" y="4"/>
                </a:lnTo>
                <a:lnTo>
                  <a:pt x="12" y="4"/>
                </a:lnTo>
                <a:lnTo>
                  <a:pt x="19" y="0"/>
                </a:lnTo>
                <a:lnTo>
                  <a:pt x="19" y="4"/>
                </a:lnTo>
                <a:lnTo>
                  <a:pt x="22" y="4"/>
                </a:lnTo>
                <a:lnTo>
                  <a:pt x="25" y="4"/>
                </a:lnTo>
                <a:lnTo>
                  <a:pt x="25" y="4"/>
                </a:lnTo>
                <a:lnTo>
                  <a:pt x="25" y="0"/>
                </a:lnTo>
                <a:lnTo>
                  <a:pt x="28" y="0"/>
                </a:lnTo>
                <a:lnTo>
                  <a:pt x="31" y="4"/>
                </a:lnTo>
                <a:lnTo>
                  <a:pt x="34" y="7"/>
                </a:lnTo>
                <a:lnTo>
                  <a:pt x="34" y="7"/>
                </a:lnTo>
                <a:lnTo>
                  <a:pt x="37" y="10"/>
                </a:lnTo>
                <a:lnTo>
                  <a:pt x="37" y="16"/>
                </a:lnTo>
                <a:lnTo>
                  <a:pt x="37" y="19"/>
                </a:lnTo>
                <a:lnTo>
                  <a:pt x="37" y="22"/>
                </a:lnTo>
                <a:lnTo>
                  <a:pt x="37" y="25"/>
                </a:lnTo>
                <a:lnTo>
                  <a:pt x="34" y="25"/>
                </a:lnTo>
                <a:lnTo>
                  <a:pt x="31" y="29"/>
                </a:lnTo>
                <a:lnTo>
                  <a:pt x="31" y="29"/>
                </a:lnTo>
                <a:lnTo>
                  <a:pt x="31" y="25"/>
                </a:lnTo>
                <a:lnTo>
                  <a:pt x="31" y="25"/>
                </a:lnTo>
                <a:lnTo>
                  <a:pt x="28" y="25"/>
                </a:lnTo>
                <a:lnTo>
                  <a:pt x="28" y="22"/>
                </a:lnTo>
                <a:lnTo>
                  <a:pt x="25" y="22"/>
                </a:lnTo>
                <a:lnTo>
                  <a:pt x="22" y="19"/>
                </a:lnTo>
                <a:lnTo>
                  <a:pt x="22" y="19"/>
                </a:lnTo>
                <a:lnTo>
                  <a:pt x="22" y="22"/>
                </a:lnTo>
                <a:lnTo>
                  <a:pt x="19" y="29"/>
                </a:lnTo>
                <a:lnTo>
                  <a:pt x="19" y="32"/>
                </a:lnTo>
                <a:lnTo>
                  <a:pt x="15" y="32"/>
                </a:lnTo>
                <a:lnTo>
                  <a:pt x="12" y="32"/>
                </a:lnTo>
                <a:lnTo>
                  <a:pt x="12" y="32"/>
                </a:lnTo>
                <a:lnTo>
                  <a:pt x="9" y="32"/>
                </a:lnTo>
                <a:lnTo>
                  <a:pt x="6" y="32"/>
                </a:lnTo>
                <a:lnTo>
                  <a:pt x="6" y="29"/>
                </a:lnTo>
                <a:lnTo>
                  <a:pt x="3" y="25"/>
                </a:lnTo>
                <a:lnTo>
                  <a:pt x="0" y="25"/>
                </a:lnTo>
                <a:lnTo>
                  <a:pt x="0" y="29"/>
                </a:lnTo>
                <a:lnTo>
                  <a:pt x="0" y="25"/>
                </a:lnTo>
                <a:lnTo>
                  <a:pt x="3" y="13"/>
                </a:lnTo>
                <a:lnTo>
                  <a:pt x="6" y="7"/>
                </a:lnTo>
                <a:lnTo>
                  <a:pt x="9" y="4"/>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4" name="Freeform 142">
            <a:extLst>
              <a:ext uri="{FF2B5EF4-FFF2-40B4-BE49-F238E27FC236}">
                <a16:creationId xmlns:a16="http://schemas.microsoft.com/office/drawing/2014/main" id="{921E20B6-3CA3-FDF9-2AF9-ED2E1DF49237}"/>
              </a:ext>
            </a:extLst>
          </p:cNvPr>
          <p:cNvSpPr>
            <a:spLocks/>
          </p:cNvSpPr>
          <p:nvPr userDrawn="1"/>
        </p:nvSpPr>
        <p:spPr bwMode="auto">
          <a:xfrm>
            <a:off x="14965974" y="9514761"/>
            <a:ext cx="126992" cy="149226"/>
          </a:xfrm>
          <a:custGeom>
            <a:avLst/>
            <a:gdLst>
              <a:gd name="T0" fmla="*/ 6 w 40"/>
              <a:gd name="T1" fmla="*/ 47 h 47"/>
              <a:gd name="T2" fmla="*/ 18 w 40"/>
              <a:gd name="T3" fmla="*/ 47 h 47"/>
              <a:gd name="T4" fmla="*/ 25 w 40"/>
              <a:gd name="T5" fmla="*/ 44 h 47"/>
              <a:gd name="T6" fmla="*/ 28 w 40"/>
              <a:gd name="T7" fmla="*/ 41 h 47"/>
              <a:gd name="T8" fmla="*/ 31 w 40"/>
              <a:gd name="T9" fmla="*/ 35 h 47"/>
              <a:gd name="T10" fmla="*/ 34 w 40"/>
              <a:gd name="T11" fmla="*/ 32 h 47"/>
              <a:gd name="T12" fmla="*/ 37 w 40"/>
              <a:gd name="T13" fmla="*/ 32 h 47"/>
              <a:gd name="T14" fmla="*/ 40 w 40"/>
              <a:gd name="T15" fmla="*/ 28 h 47"/>
              <a:gd name="T16" fmla="*/ 40 w 40"/>
              <a:gd name="T17" fmla="*/ 25 h 47"/>
              <a:gd name="T18" fmla="*/ 40 w 40"/>
              <a:gd name="T19" fmla="*/ 19 h 47"/>
              <a:gd name="T20" fmla="*/ 37 w 40"/>
              <a:gd name="T21" fmla="*/ 19 h 47"/>
              <a:gd name="T22" fmla="*/ 37 w 40"/>
              <a:gd name="T23" fmla="*/ 16 h 47"/>
              <a:gd name="T24" fmla="*/ 34 w 40"/>
              <a:gd name="T25" fmla="*/ 13 h 47"/>
              <a:gd name="T26" fmla="*/ 34 w 40"/>
              <a:gd name="T27" fmla="*/ 13 h 47"/>
              <a:gd name="T28" fmla="*/ 34 w 40"/>
              <a:gd name="T29" fmla="*/ 10 h 47"/>
              <a:gd name="T30" fmla="*/ 34 w 40"/>
              <a:gd name="T31" fmla="*/ 6 h 47"/>
              <a:gd name="T32" fmla="*/ 31 w 40"/>
              <a:gd name="T33" fmla="*/ 6 h 47"/>
              <a:gd name="T34" fmla="*/ 31 w 40"/>
              <a:gd name="T35" fmla="*/ 3 h 47"/>
              <a:gd name="T36" fmla="*/ 28 w 40"/>
              <a:gd name="T37" fmla="*/ 3 h 47"/>
              <a:gd name="T38" fmla="*/ 25 w 40"/>
              <a:gd name="T39" fmla="*/ 0 h 47"/>
              <a:gd name="T40" fmla="*/ 25 w 40"/>
              <a:gd name="T41" fmla="*/ 0 h 47"/>
              <a:gd name="T42" fmla="*/ 25 w 40"/>
              <a:gd name="T43" fmla="*/ 3 h 47"/>
              <a:gd name="T44" fmla="*/ 22 w 40"/>
              <a:gd name="T45" fmla="*/ 10 h 47"/>
              <a:gd name="T46" fmla="*/ 22 w 40"/>
              <a:gd name="T47" fmla="*/ 13 h 47"/>
              <a:gd name="T48" fmla="*/ 18 w 40"/>
              <a:gd name="T49" fmla="*/ 13 h 47"/>
              <a:gd name="T50" fmla="*/ 15 w 40"/>
              <a:gd name="T51" fmla="*/ 13 h 47"/>
              <a:gd name="T52" fmla="*/ 15 w 40"/>
              <a:gd name="T53" fmla="*/ 13 h 47"/>
              <a:gd name="T54" fmla="*/ 12 w 40"/>
              <a:gd name="T55" fmla="*/ 13 h 47"/>
              <a:gd name="T56" fmla="*/ 9 w 40"/>
              <a:gd name="T57" fmla="*/ 13 h 47"/>
              <a:gd name="T58" fmla="*/ 9 w 40"/>
              <a:gd name="T59" fmla="*/ 10 h 47"/>
              <a:gd name="T60" fmla="*/ 6 w 40"/>
              <a:gd name="T61" fmla="*/ 6 h 47"/>
              <a:gd name="T62" fmla="*/ 3 w 40"/>
              <a:gd name="T63" fmla="*/ 6 h 47"/>
              <a:gd name="T64" fmla="*/ 3 w 40"/>
              <a:gd name="T65" fmla="*/ 10 h 47"/>
              <a:gd name="T66" fmla="*/ 0 w 40"/>
              <a:gd name="T67" fmla="*/ 10 h 47"/>
              <a:gd name="T68" fmla="*/ 3 w 40"/>
              <a:gd name="T69" fmla="*/ 16 h 47"/>
              <a:gd name="T70" fmla="*/ 3 w 40"/>
              <a:gd name="T71" fmla="*/ 19 h 47"/>
              <a:gd name="T72" fmla="*/ 3 w 40"/>
              <a:gd name="T73" fmla="*/ 25 h 47"/>
              <a:gd name="T74" fmla="*/ 6 w 40"/>
              <a:gd name="T75"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7">
                <a:moveTo>
                  <a:pt x="6" y="47"/>
                </a:moveTo>
                <a:lnTo>
                  <a:pt x="18" y="47"/>
                </a:lnTo>
                <a:lnTo>
                  <a:pt x="25" y="44"/>
                </a:lnTo>
                <a:lnTo>
                  <a:pt x="28" y="41"/>
                </a:lnTo>
                <a:lnTo>
                  <a:pt x="31" y="35"/>
                </a:lnTo>
                <a:lnTo>
                  <a:pt x="34" y="32"/>
                </a:lnTo>
                <a:lnTo>
                  <a:pt x="37" y="32"/>
                </a:lnTo>
                <a:lnTo>
                  <a:pt x="40" y="28"/>
                </a:lnTo>
                <a:lnTo>
                  <a:pt x="40" y="25"/>
                </a:lnTo>
                <a:lnTo>
                  <a:pt x="40" y="19"/>
                </a:lnTo>
                <a:lnTo>
                  <a:pt x="37" y="19"/>
                </a:lnTo>
                <a:lnTo>
                  <a:pt x="37" y="16"/>
                </a:lnTo>
                <a:lnTo>
                  <a:pt x="34" y="13"/>
                </a:lnTo>
                <a:lnTo>
                  <a:pt x="34" y="13"/>
                </a:lnTo>
                <a:lnTo>
                  <a:pt x="34" y="10"/>
                </a:lnTo>
                <a:lnTo>
                  <a:pt x="34" y="6"/>
                </a:lnTo>
                <a:lnTo>
                  <a:pt x="31" y="6"/>
                </a:lnTo>
                <a:lnTo>
                  <a:pt x="31" y="3"/>
                </a:lnTo>
                <a:lnTo>
                  <a:pt x="28" y="3"/>
                </a:lnTo>
                <a:lnTo>
                  <a:pt x="25" y="0"/>
                </a:lnTo>
                <a:lnTo>
                  <a:pt x="25" y="0"/>
                </a:lnTo>
                <a:lnTo>
                  <a:pt x="25" y="3"/>
                </a:lnTo>
                <a:lnTo>
                  <a:pt x="22" y="10"/>
                </a:lnTo>
                <a:lnTo>
                  <a:pt x="22" y="13"/>
                </a:lnTo>
                <a:lnTo>
                  <a:pt x="18" y="13"/>
                </a:lnTo>
                <a:lnTo>
                  <a:pt x="15" y="13"/>
                </a:lnTo>
                <a:lnTo>
                  <a:pt x="15" y="13"/>
                </a:lnTo>
                <a:lnTo>
                  <a:pt x="12" y="13"/>
                </a:lnTo>
                <a:lnTo>
                  <a:pt x="9" y="13"/>
                </a:lnTo>
                <a:lnTo>
                  <a:pt x="9" y="10"/>
                </a:lnTo>
                <a:lnTo>
                  <a:pt x="6" y="6"/>
                </a:lnTo>
                <a:lnTo>
                  <a:pt x="3" y="6"/>
                </a:lnTo>
                <a:lnTo>
                  <a:pt x="3" y="10"/>
                </a:lnTo>
                <a:lnTo>
                  <a:pt x="0" y="10"/>
                </a:lnTo>
                <a:lnTo>
                  <a:pt x="3" y="16"/>
                </a:lnTo>
                <a:lnTo>
                  <a:pt x="3" y="19"/>
                </a:lnTo>
                <a:lnTo>
                  <a:pt x="3" y="25"/>
                </a:lnTo>
                <a:lnTo>
                  <a:pt x="6" y="47"/>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5" name="Freeform 143">
            <a:extLst>
              <a:ext uri="{FF2B5EF4-FFF2-40B4-BE49-F238E27FC236}">
                <a16:creationId xmlns:a16="http://schemas.microsoft.com/office/drawing/2014/main" id="{AB171244-B990-61F9-B8F9-7FF8D86BFDF1}"/>
              </a:ext>
            </a:extLst>
          </p:cNvPr>
          <p:cNvSpPr>
            <a:spLocks/>
          </p:cNvSpPr>
          <p:nvPr userDrawn="1"/>
        </p:nvSpPr>
        <p:spPr bwMode="auto">
          <a:xfrm>
            <a:off x="13911947" y="9038511"/>
            <a:ext cx="1190549" cy="1190626"/>
          </a:xfrm>
          <a:custGeom>
            <a:avLst/>
            <a:gdLst>
              <a:gd name="T0" fmla="*/ 10 w 375"/>
              <a:gd name="T1" fmla="*/ 210 h 375"/>
              <a:gd name="T2" fmla="*/ 25 w 375"/>
              <a:gd name="T3" fmla="*/ 203 h 375"/>
              <a:gd name="T4" fmla="*/ 41 w 375"/>
              <a:gd name="T5" fmla="*/ 194 h 375"/>
              <a:gd name="T6" fmla="*/ 50 w 375"/>
              <a:gd name="T7" fmla="*/ 207 h 375"/>
              <a:gd name="T8" fmla="*/ 75 w 375"/>
              <a:gd name="T9" fmla="*/ 185 h 375"/>
              <a:gd name="T10" fmla="*/ 79 w 375"/>
              <a:gd name="T11" fmla="*/ 153 h 375"/>
              <a:gd name="T12" fmla="*/ 97 w 375"/>
              <a:gd name="T13" fmla="*/ 131 h 375"/>
              <a:gd name="T14" fmla="*/ 116 w 375"/>
              <a:gd name="T15" fmla="*/ 103 h 375"/>
              <a:gd name="T16" fmla="*/ 119 w 375"/>
              <a:gd name="T17" fmla="*/ 78 h 375"/>
              <a:gd name="T18" fmla="*/ 132 w 375"/>
              <a:gd name="T19" fmla="*/ 47 h 375"/>
              <a:gd name="T20" fmla="*/ 129 w 375"/>
              <a:gd name="T21" fmla="*/ 22 h 375"/>
              <a:gd name="T22" fmla="*/ 135 w 375"/>
              <a:gd name="T23" fmla="*/ 13 h 375"/>
              <a:gd name="T24" fmla="*/ 147 w 375"/>
              <a:gd name="T25" fmla="*/ 6 h 375"/>
              <a:gd name="T26" fmla="*/ 169 w 375"/>
              <a:gd name="T27" fmla="*/ 19 h 375"/>
              <a:gd name="T28" fmla="*/ 191 w 375"/>
              <a:gd name="T29" fmla="*/ 22 h 375"/>
              <a:gd name="T30" fmla="*/ 204 w 375"/>
              <a:gd name="T31" fmla="*/ 22 h 375"/>
              <a:gd name="T32" fmla="*/ 219 w 375"/>
              <a:gd name="T33" fmla="*/ 16 h 375"/>
              <a:gd name="T34" fmla="*/ 244 w 375"/>
              <a:gd name="T35" fmla="*/ 6 h 375"/>
              <a:gd name="T36" fmla="*/ 257 w 375"/>
              <a:gd name="T37" fmla="*/ 9 h 375"/>
              <a:gd name="T38" fmla="*/ 266 w 375"/>
              <a:gd name="T39" fmla="*/ 0 h 375"/>
              <a:gd name="T40" fmla="*/ 282 w 375"/>
              <a:gd name="T41" fmla="*/ 6 h 375"/>
              <a:gd name="T42" fmla="*/ 307 w 375"/>
              <a:gd name="T43" fmla="*/ 9 h 375"/>
              <a:gd name="T44" fmla="*/ 322 w 375"/>
              <a:gd name="T45" fmla="*/ 22 h 375"/>
              <a:gd name="T46" fmla="*/ 335 w 375"/>
              <a:gd name="T47" fmla="*/ 19 h 375"/>
              <a:gd name="T48" fmla="*/ 350 w 375"/>
              <a:gd name="T49" fmla="*/ 13 h 375"/>
              <a:gd name="T50" fmla="*/ 366 w 375"/>
              <a:gd name="T51" fmla="*/ 31 h 375"/>
              <a:gd name="T52" fmla="*/ 375 w 375"/>
              <a:gd name="T53" fmla="*/ 38 h 375"/>
              <a:gd name="T54" fmla="*/ 372 w 375"/>
              <a:gd name="T55" fmla="*/ 63 h 375"/>
              <a:gd name="T56" fmla="*/ 357 w 375"/>
              <a:gd name="T57" fmla="*/ 94 h 375"/>
              <a:gd name="T58" fmla="*/ 344 w 375"/>
              <a:gd name="T59" fmla="*/ 135 h 375"/>
              <a:gd name="T60" fmla="*/ 335 w 375"/>
              <a:gd name="T61" fmla="*/ 169 h 375"/>
              <a:gd name="T62" fmla="*/ 363 w 375"/>
              <a:gd name="T63" fmla="*/ 269 h 375"/>
              <a:gd name="T64" fmla="*/ 329 w 375"/>
              <a:gd name="T65" fmla="*/ 304 h 375"/>
              <a:gd name="T66" fmla="*/ 325 w 375"/>
              <a:gd name="T67" fmla="*/ 316 h 375"/>
              <a:gd name="T68" fmla="*/ 319 w 375"/>
              <a:gd name="T69" fmla="*/ 344 h 375"/>
              <a:gd name="T70" fmla="*/ 341 w 375"/>
              <a:gd name="T71" fmla="*/ 357 h 375"/>
              <a:gd name="T72" fmla="*/ 344 w 375"/>
              <a:gd name="T73" fmla="*/ 375 h 375"/>
              <a:gd name="T74" fmla="*/ 332 w 375"/>
              <a:gd name="T75" fmla="*/ 375 h 375"/>
              <a:gd name="T76" fmla="*/ 304 w 375"/>
              <a:gd name="T77" fmla="*/ 354 h 375"/>
              <a:gd name="T78" fmla="*/ 294 w 375"/>
              <a:gd name="T79" fmla="*/ 338 h 375"/>
              <a:gd name="T80" fmla="*/ 279 w 375"/>
              <a:gd name="T81" fmla="*/ 347 h 375"/>
              <a:gd name="T82" fmla="*/ 260 w 375"/>
              <a:gd name="T83" fmla="*/ 341 h 375"/>
              <a:gd name="T84" fmla="*/ 250 w 375"/>
              <a:gd name="T85" fmla="*/ 332 h 375"/>
              <a:gd name="T86" fmla="*/ 241 w 375"/>
              <a:gd name="T87" fmla="*/ 335 h 375"/>
              <a:gd name="T88" fmla="*/ 232 w 375"/>
              <a:gd name="T89" fmla="*/ 329 h 375"/>
              <a:gd name="T90" fmla="*/ 216 w 375"/>
              <a:gd name="T91" fmla="*/ 332 h 375"/>
              <a:gd name="T92" fmla="*/ 200 w 375"/>
              <a:gd name="T93" fmla="*/ 329 h 375"/>
              <a:gd name="T94" fmla="*/ 197 w 375"/>
              <a:gd name="T95" fmla="*/ 322 h 375"/>
              <a:gd name="T96" fmla="*/ 194 w 375"/>
              <a:gd name="T97" fmla="*/ 310 h 375"/>
              <a:gd name="T98" fmla="*/ 191 w 375"/>
              <a:gd name="T99" fmla="*/ 297 h 375"/>
              <a:gd name="T100" fmla="*/ 191 w 375"/>
              <a:gd name="T101" fmla="*/ 278 h 375"/>
              <a:gd name="T102" fmla="*/ 188 w 375"/>
              <a:gd name="T103" fmla="*/ 266 h 375"/>
              <a:gd name="T104" fmla="*/ 166 w 375"/>
              <a:gd name="T105" fmla="*/ 250 h 375"/>
              <a:gd name="T106" fmla="*/ 141 w 375"/>
              <a:gd name="T107" fmla="*/ 253 h 375"/>
              <a:gd name="T108" fmla="*/ 122 w 375"/>
              <a:gd name="T109" fmla="*/ 269 h 375"/>
              <a:gd name="T110" fmla="*/ 100 w 375"/>
              <a:gd name="T111" fmla="*/ 260 h 375"/>
              <a:gd name="T112" fmla="*/ 94 w 375"/>
              <a:gd name="T113" fmla="*/ 244 h 375"/>
              <a:gd name="T114" fmla="*/ 91 w 375"/>
              <a:gd name="T115" fmla="*/ 228 h 375"/>
              <a:gd name="T116" fmla="*/ 44 w 375"/>
              <a:gd name="T117" fmla="*/ 225 h 375"/>
              <a:gd name="T118" fmla="*/ 19 w 375"/>
              <a:gd name="T119" fmla="*/ 225 h 375"/>
              <a:gd name="T120" fmla="*/ 10 w 375"/>
              <a:gd name="T121" fmla="*/ 228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5" h="375">
                <a:moveTo>
                  <a:pt x="0" y="225"/>
                </a:moveTo>
                <a:lnTo>
                  <a:pt x="4" y="222"/>
                </a:lnTo>
                <a:lnTo>
                  <a:pt x="7" y="222"/>
                </a:lnTo>
                <a:lnTo>
                  <a:pt x="10" y="219"/>
                </a:lnTo>
                <a:lnTo>
                  <a:pt x="10" y="213"/>
                </a:lnTo>
                <a:lnTo>
                  <a:pt x="10" y="210"/>
                </a:lnTo>
                <a:lnTo>
                  <a:pt x="16" y="207"/>
                </a:lnTo>
                <a:lnTo>
                  <a:pt x="19" y="203"/>
                </a:lnTo>
                <a:lnTo>
                  <a:pt x="22" y="203"/>
                </a:lnTo>
                <a:lnTo>
                  <a:pt x="25" y="200"/>
                </a:lnTo>
                <a:lnTo>
                  <a:pt x="25" y="203"/>
                </a:lnTo>
                <a:lnTo>
                  <a:pt x="25" y="203"/>
                </a:lnTo>
                <a:lnTo>
                  <a:pt x="29" y="203"/>
                </a:lnTo>
                <a:lnTo>
                  <a:pt x="32" y="203"/>
                </a:lnTo>
                <a:lnTo>
                  <a:pt x="32" y="197"/>
                </a:lnTo>
                <a:lnTo>
                  <a:pt x="35" y="197"/>
                </a:lnTo>
                <a:lnTo>
                  <a:pt x="38" y="197"/>
                </a:lnTo>
                <a:lnTo>
                  <a:pt x="41" y="194"/>
                </a:lnTo>
                <a:lnTo>
                  <a:pt x="47" y="194"/>
                </a:lnTo>
                <a:lnTo>
                  <a:pt x="47" y="194"/>
                </a:lnTo>
                <a:lnTo>
                  <a:pt x="44" y="200"/>
                </a:lnTo>
                <a:lnTo>
                  <a:pt x="47" y="200"/>
                </a:lnTo>
                <a:lnTo>
                  <a:pt x="47" y="203"/>
                </a:lnTo>
                <a:lnTo>
                  <a:pt x="50" y="207"/>
                </a:lnTo>
                <a:lnTo>
                  <a:pt x="57" y="203"/>
                </a:lnTo>
                <a:lnTo>
                  <a:pt x="60" y="200"/>
                </a:lnTo>
                <a:lnTo>
                  <a:pt x="66" y="191"/>
                </a:lnTo>
                <a:lnTo>
                  <a:pt x="69" y="188"/>
                </a:lnTo>
                <a:lnTo>
                  <a:pt x="72" y="188"/>
                </a:lnTo>
                <a:lnTo>
                  <a:pt x="75" y="185"/>
                </a:lnTo>
                <a:lnTo>
                  <a:pt x="79" y="182"/>
                </a:lnTo>
                <a:lnTo>
                  <a:pt x="79" y="178"/>
                </a:lnTo>
                <a:lnTo>
                  <a:pt x="79" y="172"/>
                </a:lnTo>
                <a:lnTo>
                  <a:pt x="82" y="160"/>
                </a:lnTo>
                <a:lnTo>
                  <a:pt x="79" y="160"/>
                </a:lnTo>
                <a:lnTo>
                  <a:pt x="79" y="153"/>
                </a:lnTo>
                <a:lnTo>
                  <a:pt x="82" y="150"/>
                </a:lnTo>
                <a:lnTo>
                  <a:pt x="88" y="144"/>
                </a:lnTo>
                <a:lnTo>
                  <a:pt x="88" y="138"/>
                </a:lnTo>
                <a:lnTo>
                  <a:pt x="91" y="135"/>
                </a:lnTo>
                <a:lnTo>
                  <a:pt x="94" y="131"/>
                </a:lnTo>
                <a:lnTo>
                  <a:pt x="97" y="131"/>
                </a:lnTo>
                <a:lnTo>
                  <a:pt x="100" y="128"/>
                </a:lnTo>
                <a:lnTo>
                  <a:pt x="104" y="128"/>
                </a:lnTo>
                <a:lnTo>
                  <a:pt x="110" y="119"/>
                </a:lnTo>
                <a:lnTo>
                  <a:pt x="110" y="113"/>
                </a:lnTo>
                <a:lnTo>
                  <a:pt x="113" y="106"/>
                </a:lnTo>
                <a:lnTo>
                  <a:pt x="116" y="103"/>
                </a:lnTo>
                <a:lnTo>
                  <a:pt x="116" y="97"/>
                </a:lnTo>
                <a:lnTo>
                  <a:pt x="116" y="97"/>
                </a:lnTo>
                <a:lnTo>
                  <a:pt x="116" y="91"/>
                </a:lnTo>
                <a:lnTo>
                  <a:pt x="116" y="88"/>
                </a:lnTo>
                <a:lnTo>
                  <a:pt x="116" y="81"/>
                </a:lnTo>
                <a:lnTo>
                  <a:pt x="119" y="78"/>
                </a:lnTo>
                <a:lnTo>
                  <a:pt x="119" y="75"/>
                </a:lnTo>
                <a:lnTo>
                  <a:pt x="119" y="72"/>
                </a:lnTo>
                <a:lnTo>
                  <a:pt x="119" y="63"/>
                </a:lnTo>
                <a:lnTo>
                  <a:pt x="129" y="53"/>
                </a:lnTo>
                <a:lnTo>
                  <a:pt x="129" y="50"/>
                </a:lnTo>
                <a:lnTo>
                  <a:pt x="132" y="47"/>
                </a:lnTo>
                <a:lnTo>
                  <a:pt x="132" y="41"/>
                </a:lnTo>
                <a:lnTo>
                  <a:pt x="129" y="34"/>
                </a:lnTo>
                <a:lnTo>
                  <a:pt x="132" y="31"/>
                </a:lnTo>
                <a:lnTo>
                  <a:pt x="132" y="28"/>
                </a:lnTo>
                <a:lnTo>
                  <a:pt x="132" y="28"/>
                </a:lnTo>
                <a:lnTo>
                  <a:pt x="129" y="22"/>
                </a:lnTo>
                <a:lnTo>
                  <a:pt x="129" y="22"/>
                </a:lnTo>
                <a:lnTo>
                  <a:pt x="132" y="19"/>
                </a:lnTo>
                <a:lnTo>
                  <a:pt x="135" y="19"/>
                </a:lnTo>
                <a:lnTo>
                  <a:pt x="135" y="16"/>
                </a:lnTo>
                <a:lnTo>
                  <a:pt x="135" y="16"/>
                </a:lnTo>
                <a:lnTo>
                  <a:pt x="135" y="13"/>
                </a:lnTo>
                <a:lnTo>
                  <a:pt x="138" y="9"/>
                </a:lnTo>
                <a:lnTo>
                  <a:pt x="141" y="9"/>
                </a:lnTo>
                <a:lnTo>
                  <a:pt x="144" y="6"/>
                </a:lnTo>
                <a:lnTo>
                  <a:pt x="147" y="9"/>
                </a:lnTo>
                <a:lnTo>
                  <a:pt x="147" y="6"/>
                </a:lnTo>
                <a:lnTo>
                  <a:pt x="147" y="6"/>
                </a:lnTo>
                <a:lnTo>
                  <a:pt x="150" y="9"/>
                </a:lnTo>
                <a:lnTo>
                  <a:pt x="154" y="9"/>
                </a:lnTo>
                <a:lnTo>
                  <a:pt x="160" y="13"/>
                </a:lnTo>
                <a:lnTo>
                  <a:pt x="163" y="16"/>
                </a:lnTo>
                <a:lnTo>
                  <a:pt x="169" y="19"/>
                </a:lnTo>
                <a:lnTo>
                  <a:pt x="169" y="19"/>
                </a:lnTo>
                <a:lnTo>
                  <a:pt x="172" y="19"/>
                </a:lnTo>
                <a:lnTo>
                  <a:pt x="179" y="22"/>
                </a:lnTo>
                <a:lnTo>
                  <a:pt x="182" y="22"/>
                </a:lnTo>
                <a:lnTo>
                  <a:pt x="185" y="22"/>
                </a:lnTo>
                <a:lnTo>
                  <a:pt x="188" y="22"/>
                </a:lnTo>
                <a:lnTo>
                  <a:pt x="191" y="22"/>
                </a:lnTo>
                <a:lnTo>
                  <a:pt x="194" y="22"/>
                </a:lnTo>
                <a:lnTo>
                  <a:pt x="197" y="25"/>
                </a:lnTo>
                <a:lnTo>
                  <a:pt x="200" y="25"/>
                </a:lnTo>
                <a:lnTo>
                  <a:pt x="204" y="25"/>
                </a:lnTo>
                <a:lnTo>
                  <a:pt x="204" y="22"/>
                </a:lnTo>
                <a:lnTo>
                  <a:pt x="204" y="22"/>
                </a:lnTo>
                <a:lnTo>
                  <a:pt x="204" y="19"/>
                </a:lnTo>
                <a:lnTo>
                  <a:pt x="207" y="16"/>
                </a:lnTo>
                <a:lnTo>
                  <a:pt x="210" y="13"/>
                </a:lnTo>
                <a:lnTo>
                  <a:pt x="213" y="13"/>
                </a:lnTo>
                <a:lnTo>
                  <a:pt x="216" y="13"/>
                </a:lnTo>
                <a:lnTo>
                  <a:pt x="219" y="16"/>
                </a:lnTo>
                <a:lnTo>
                  <a:pt x="222" y="16"/>
                </a:lnTo>
                <a:lnTo>
                  <a:pt x="229" y="13"/>
                </a:lnTo>
                <a:lnTo>
                  <a:pt x="232" y="13"/>
                </a:lnTo>
                <a:lnTo>
                  <a:pt x="235" y="9"/>
                </a:lnTo>
                <a:lnTo>
                  <a:pt x="241" y="6"/>
                </a:lnTo>
                <a:lnTo>
                  <a:pt x="244" y="6"/>
                </a:lnTo>
                <a:lnTo>
                  <a:pt x="244" y="9"/>
                </a:lnTo>
                <a:lnTo>
                  <a:pt x="247" y="9"/>
                </a:lnTo>
                <a:lnTo>
                  <a:pt x="247" y="9"/>
                </a:lnTo>
                <a:lnTo>
                  <a:pt x="250" y="9"/>
                </a:lnTo>
                <a:lnTo>
                  <a:pt x="250" y="9"/>
                </a:lnTo>
                <a:lnTo>
                  <a:pt x="257" y="9"/>
                </a:lnTo>
                <a:lnTo>
                  <a:pt x="260" y="9"/>
                </a:lnTo>
                <a:lnTo>
                  <a:pt x="260" y="9"/>
                </a:lnTo>
                <a:lnTo>
                  <a:pt x="263" y="3"/>
                </a:lnTo>
                <a:lnTo>
                  <a:pt x="263" y="3"/>
                </a:lnTo>
                <a:lnTo>
                  <a:pt x="263" y="3"/>
                </a:lnTo>
                <a:lnTo>
                  <a:pt x="266" y="0"/>
                </a:lnTo>
                <a:lnTo>
                  <a:pt x="269" y="3"/>
                </a:lnTo>
                <a:lnTo>
                  <a:pt x="272" y="3"/>
                </a:lnTo>
                <a:lnTo>
                  <a:pt x="275" y="3"/>
                </a:lnTo>
                <a:lnTo>
                  <a:pt x="275" y="6"/>
                </a:lnTo>
                <a:lnTo>
                  <a:pt x="279" y="6"/>
                </a:lnTo>
                <a:lnTo>
                  <a:pt x="282" y="6"/>
                </a:lnTo>
                <a:lnTo>
                  <a:pt x="288" y="6"/>
                </a:lnTo>
                <a:lnTo>
                  <a:pt x="291" y="9"/>
                </a:lnTo>
                <a:lnTo>
                  <a:pt x="297" y="6"/>
                </a:lnTo>
                <a:lnTo>
                  <a:pt x="300" y="6"/>
                </a:lnTo>
                <a:lnTo>
                  <a:pt x="304" y="6"/>
                </a:lnTo>
                <a:lnTo>
                  <a:pt x="307" y="9"/>
                </a:lnTo>
                <a:lnTo>
                  <a:pt x="307" y="13"/>
                </a:lnTo>
                <a:lnTo>
                  <a:pt x="310" y="13"/>
                </a:lnTo>
                <a:lnTo>
                  <a:pt x="310" y="16"/>
                </a:lnTo>
                <a:lnTo>
                  <a:pt x="313" y="16"/>
                </a:lnTo>
                <a:lnTo>
                  <a:pt x="316" y="19"/>
                </a:lnTo>
                <a:lnTo>
                  <a:pt x="322" y="22"/>
                </a:lnTo>
                <a:lnTo>
                  <a:pt x="322" y="22"/>
                </a:lnTo>
                <a:lnTo>
                  <a:pt x="325" y="19"/>
                </a:lnTo>
                <a:lnTo>
                  <a:pt x="329" y="19"/>
                </a:lnTo>
                <a:lnTo>
                  <a:pt x="332" y="19"/>
                </a:lnTo>
                <a:lnTo>
                  <a:pt x="335" y="19"/>
                </a:lnTo>
                <a:lnTo>
                  <a:pt x="335" y="19"/>
                </a:lnTo>
                <a:lnTo>
                  <a:pt x="338" y="19"/>
                </a:lnTo>
                <a:lnTo>
                  <a:pt x="341" y="19"/>
                </a:lnTo>
                <a:lnTo>
                  <a:pt x="341" y="16"/>
                </a:lnTo>
                <a:lnTo>
                  <a:pt x="344" y="13"/>
                </a:lnTo>
                <a:lnTo>
                  <a:pt x="347" y="13"/>
                </a:lnTo>
                <a:lnTo>
                  <a:pt x="350" y="13"/>
                </a:lnTo>
                <a:lnTo>
                  <a:pt x="354" y="19"/>
                </a:lnTo>
                <a:lnTo>
                  <a:pt x="354" y="22"/>
                </a:lnTo>
                <a:lnTo>
                  <a:pt x="357" y="22"/>
                </a:lnTo>
                <a:lnTo>
                  <a:pt x="360" y="25"/>
                </a:lnTo>
                <a:lnTo>
                  <a:pt x="363" y="28"/>
                </a:lnTo>
                <a:lnTo>
                  <a:pt x="366" y="31"/>
                </a:lnTo>
                <a:lnTo>
                  <a:pt x="366" y="31"/>
                </a:lnTo>
                <a:lnTo>
                  <a:pt x="366" y="34"/>
                </a:lnTo>
                <a:lnTo>
                  <a:pt x="366" y="38"/>
                </a:lnTo>
                <a:lnTo>
                  <a:pt x="369" y="38"/>
                </a:lnTo>
                <a:lnTo>
                  <a:pt x="372" y="38"/>
                </a:lnTo>
                <a:lnTo>
                  <a:pt x="375" y="38"/>
                </a:lnTo>
                <a:lnTo>
                  <a:pt x="372" y="41"/>
                </a:lnTo>
                <a:lnTo>
                  <a:pt x="372" y="44"/>
                </a:lnTo>
                <a:lnTo>
                  <a:pt x="372" y="50"/>
                </a:lnTo>
                <a:lnTo>
                  <a:pt x="369" y="56"/>
                </a:lnTo>
                <a:lnTo>
                  <a:pt x="369" y="60"/>
                </a:lnTo>
                <a:lnTo>
                  <a:pt x="372" y="63"/>
                </a:lnTo>
                <a:lnTo>
                  <a:pt x="375" y="66"/>
                </a:lnTo>
                <a:lnTo>
                  <a:pt x="375" y="69"/>
                </a:lnTo>
                <a:lnTo>
                  <a:pt x="375" y="72"/>
                </a:lnTo>
                <a:lnTo>
                  <a:pt x="366" y="85"/>
                </a:lnTo>
                <a:lnTo>
                  <a:pt x="360" y="91"/>
                </a:lnTo>
                <a:lnTo>
                  <a:pt x="357" y="94"/>
                </a:lnTo>
                <a:lnTo>
                  <a:pt x="350" y="106"/>
                </a:lnTo>
                <a:lnTo>
                  <a:pt x="347" y="110"/>
                </a:lnTo>
                <a:lnTo>
                  <a:pt x="347" y="116"/>
                </a:lnTo>
                <a:lnTo>
                  <a:pt x="347" y="122"/>
                </a:lnTo>
                <a:lnTo>
                  <a:pt x="344" y="128"/>
                </a:lnTo>
                <a:lnTo>
                  <a:pt x="344" y="135"/>
                </a:lnTo>
                <a:lnTo>
                  <a:pt x="341" y="138"/>
                </a:lnTo>
                <a:lnTo>
                  <a:pt x="338" y="144"/>
                </a:lnTo>
                <a:lnTo>
                  <a:pt x="335" y="156"/>
                </a:lnTo>
                <a:lnTo>
                  <a:pt x="332" y="160"/>
                </a:lnTo>
                <a:lnTo>
                  <a:pt x="335" y="166"/>
                </a:lnTo>
                <a:lnTo>
                  <a:pt x="335" y="169"/>
                </a:lnTo>
                <a:lnTo>
                  <a:pt x="335" y="175"/>
                </a:lnTo>
                <a:lnTo>
                  <a:pt x="341" y="213"/>
                </a:lnTo>
                <a:lnTo>
                  <a:pt x="347" y="238"/>
                </a:lnTo>
                <a:lnTo>
                  <a:pt x="360" y="257"/>
                </a:lnTo>
                <a:lnTo>
                  <a:pt x="366" y="272"/>
                </a:lnTo>
                <a:lnTo>
                  <a:pt x="363" y="269"/>
                </a:lnTo>
                <a:lnTo>
                  <a:pt x="332" y="278"/>
                </a:lnTo>
                <a:lnTo>
                  <a:pt x="322" y="294"/>
                </a:lnTo>
                <a:lnTo>
                  <a:pt x="322" y="297"/>
                </a:lnTo>
                <a:lnTo>
                  <a:pt x="325" y="300"/>
                </a:lnTo>
                <a:lnTo>
                  <a:pt x="329" y="300"/>
                </a:lnTo>
                <a:lnTo>
                  <a:pt x="329" y="304"/>
                </a:lnTo>
                <a:lnTo>
                  <a:pt x="325" y="304"/>
                </a:lnTo>
                <a:lnTo>
                  <a:pt x="325" y="307"/>
                </a:lnTo>
                <a:lnTo>
                  <a:pt x="325" y="310"/>
                </a:lnTo>
                <a:lnTo>
                  <a:pt x="325" y="313"/>
                </a:lnTo>
                <a:lnTo>
                  <a:pt x="325" y="316"/>
                </a:lnTo>
                <a:lnTo>
                  <a:pt x="325" y="316"/>
                </a:lnTo>
                <a:lnTo>
                  <a:pt x="325" y="319"/>
                </a:lnTo>
                <a:lnTo>
                  <a:pt x="325" y="319"/>
                </a:lnTo>
                <a:lnTo>
                  <a:pt x="319" y="325"/>
                </a:lnTo>
                <a:lnTo>
                  <a:pt x="319" y="325"/>
                </a:lnTo>
                <a:lnTo>
                  <a:pt x="319" y="338"/>
                </a:lnTo>
                <a:lnTo>
                  <a:pt x="319" y="344"/>
                </a:lnTo>
                <a:lnTo>
                  <a:pt x="322" y="344"/>
                </a:lnTo>
                <a:lnTo>
                  <a:pt x="329" y="350"/>
                </a:lnTo>
                <a:lnTo>
                  <a:pt x="329" y="354"/>
                </a:lnTo>
                <a:lnTo>
                  <a:pt x="332" y="357"/>
                </a:lnTo>
                <a:lnTo>
                  <a:pt x="338" y="357"/>
                </a:lnTo>
                <a:lnTo>
                  <a:pt x="341" y="357"/>
                </a:lnTo>
                <a:lnTo>
                  <a:pt x="338" y="354"/>
                </a:lnTo>
                <a:lnTo>
                  <a:pt x="338" y="350"/>
                </a:lnTo>
                <a:lnTo>
                  <a:pt x="344" y="350"/>
                </a:lnTo>
                <a:lnTo>
                  <a:pt x="344" y="350"/>
                </a:lnTo>
                <a:lnTo>
                  <a:pt x="347" y="372"/>
                </a:lnTo>
                <a:lnTo>
                  <a:pt x="344" y="375"/>
                </a:lnTo>
                <a:lnTo>
                  <a:pt x="341" y="372"/>
                </a:lnTo>
                <a:lnTo>
                  <a:pt x="341" y="372"/>
                </a:lnTo>
                <a:lnTo>
                  <a:pt x="341" y="372"/>
                </a:lnTo>
                <a:lnTo>
                  <a:pt x="338" y="372"/>
                </a:lnTo>
                <a:lnTo>
                  <a:pt x="335" y="375"/>
                </a:lnTo>
                <a:lnTo>
                  <a:pt x="332" y="375"/>
                </a:lnTo>
                <a:lnTo>
                  <a:pt x="329" y="369"/>
                </a:lnTo>
                <a:lnTo>
                  <a:pt x="322" y="366"/>
                </a:lnTo>
                <a:lnTo>
                  <a:pt x="319" y="363"/>
                </a:lnTo>
                <a:lnTo>
                  <a:pt x="316" y="357"/>
                </a:lnTo>
                <a:lnTo>
                  <a:pt x="313" y="354"/>
                </a:lnTo>
                <a:lnTo>
                  <a:pt x="304" y="354"/>
                </a:lnTo>
                <a:lnTo>
                  <a:pt x="300" y="350"/>
                </a:lnTo>
                <a:lnTo>
                  <a:pt x="300" y="347"/>
                </a:lnTo>
                <a:lnTo>
                  <a:pt x="297" y="344"/>
                </a:lnTo>
                <a:lnTo>
                  <a:pt x="297" y="338"/>
                </a:lnTo>
                <a:lnTo>
                  <a:pt x="294" y="338"/>
                </a:lnTo>
                <a:lnTo>
                  <a:pt x="294" y="338"/>
                </a:lnTo>
                <a:lnTo>
                  <a:pt x="291" y="338"/>
                </a:lnTo>
                <a:lnTo>
                  <a:pt x="288" y="344"/>
                </a:lnTo>
                <a:lnTo>
                  <a:pt x="288" y="347"/>
                </a:lnTo>
                <a:lnTo>
                  <a:pt x="282" y="347"/>
                </a:lnTo>
                <a:lnTo>
                  <a:pt x="279" y="347"/>
                </a:lnTo>
                <a:lnTo>
                  <a:pt x="279" y="347"/>
                </a:lnTo>
                <a:lnTo>
                  <a:pt x="275" y="347"/>
                </a:lnTo>
                <a:lnTo>
                  <a:pt x="269" y="344"/>
                </a:lnTo>
                <a:lnTo>
                  <a:pt x="266" y="341"/>
                </a:lnTo>
                <a:lnTo>
                  <a:pt x="263" y="341"/>
                </a:lnTo>
                <a:lnTo>
                  <a:pt x="260" y="341"/>
                </a:lnTo>
                <a:lnTo>
                  <a:pt x="260" y="341"/>
                </a:lnTo>
                <a:lnTo>
                  <a:pt x="260" y="338"/>
                </a:lnTo>
                <a:lnTo>
                  <a:pt x="260" y="335"/>
                </a:lnTo>
                <a:lnTo>
                  <a:pt x="257" y="335"/>
                </a:lnTo>
                <a:lnTo>
                  <a:pt x="257" y="332"/>
                </a:lnTo>
                <a:lnTo>
                  <a:pt x="257" y="329"/>
                </a:lnTo>
                <a:lnTo>
                  <a:pt x="250" y="332"/>
                </a:lnTo>
                <a:lnTo>
                  <a:pt x="250" y="332"/>
                </a:lnTo>
                <a:lnTo>
                  <a:pt x="247" y="332"/>
                </a:lnTo>
                <a:lnTo>
                  <a:pt x="244" y="335"/>
                </a:lnTo>
                <a:lnTo>
                  <a:pt x="241" y="335"/>
                </a:lnTo>
                <a:lnTo>
                  <a:pt x="241" y="335"/>
                </a:lnTo>
                <a:lnTo>
                  <a:pt x="241" y="335"/>
                </a:lnTo>
                <a:lnTo>
                  <a:pt x="241" y="332"/>
                </a:lnTo>
                <a:lnTo>
                  <a:pt x="238" y="329"/>
                </a:lnTo>
                <a:lnTo>
                  <a:pt x="235" y="329"/>
                </a:lnTo>
                <a:lnTo>
                  <a:pt x="235" y="329"/>
                </a:lnTo>
                <a:lnTo>
                  <a:pt x="232" y="329"/>
                </a:lnTo>
                <a:lnTo>
                  <a:pt x="232" y="329"/>
                </a:lnTo>
                <a:lnTo>
                  <a:pt x="229" y="329"/>
                </a:lnTo>
                <a:lnTo>
                  <a:pt x="225" y="329"/>
                </a:lnTo>
                <a:lnTo>
                  <a:pt x="222" y="332"/>
                </a:lnTo>
                <a:lnTo>
                  <a:pt x="219" y="332"/>
                </a:lnTo>
                <a:lnTo>
                  <a:pt x="219" y="332"/>
                </a:lnTo>
                <a:lnTo>
                  <a:pt x="216" y="332"/>
                </a:lnTo>
                <a:lnTo>
                  <a:pt x="210" y="332"/>
                </a:lnTo>
                <a:lnTo>
                  <a:pt x="210" y="332"/>
                </a:lnTo>
                <a:lnTo>
                  <a:pt x="207" y="329"/>
                </a:lnTo>
                <a:lnTo>
                  <a:pt x="204" y="329"/>
                </a:lnTo>
                <a:lnTo>
                  <a:pt x="204" y="329"/>
                </a:lnTo>
                <a:lnTo>
                  <a:pt x="200" y="329"/>
                </a:lnTo>
                <a:lnTo>
                  <a:pt x="200" y="332"/>
                </a:lnTo>
                <a:lnTo>
                  <a:pt x="197" y="332"/>
                </a:lnTo>
                <a:lnTo>
                  <a:pt x="197" y="329"/>
                </a:lnTo>
                <a:lnTo>
                  <a:pt x="197" y="325"/>
                </a:lnTo>
                <a:lnTo>
                  <a:pt x="197" y="325"/>
                </a:lnTo>
                <a:lnTo>
                  <a:pt x="197" y="322"/>
                </a:lnTo>
                <a:lnTo>
                  <a:pt x="200" y="322"/>
                </a:lnTo>
                <a:lnTo>
                  <a:pt x="197" y="319"/>
                </a:lnTo>
                <a:lnTo>
                  <a:pt x="197" y="316"/>
                </a:lnTo>
                <a:lnTo>
                  <a:pt x="197" y="313"/>
                </a:lnTo>
                <a:lnTo>
                  <a:pt x="197" y="313"/>
                </a:lnTo>
                <a:lnTo>
                  <a:pt x="194" y="310"/>
                </a:lnTo>
                <a:lnTo>
                  <a:pt x="194" y="307"/>
                </a:lnTo>
                <a:lnTo>
                  <a:pt x="197" y="304"/>
                </a:lnTo>
                <a:lnTo>
                  <a:pt x="194" y="304"/>
                </a:lnTo>
                <a:lnTo>
                  <a:pt x="194" y="300"/>
                </a:lnTo>
                <a:lnTo>
                  <a:pt x="194" y="300"/>
                </a:lnTo>
                <a:lnTo>
                  <a:pt x="191" y="297"/>
                </a:lnTo>
                <a:lnTo>
                  <a:pt x="191" y="297"/>
                </a:lnTo>
                <a:lnTo>
                  <a:pt x="191" y="294"/>
                </a:lnTo>
                <a:lnTo>
                  <a:pt x="191" y="291"/>
                </a:lnTo>
                <a:lnTo>
                  <a:pt x="188" y="291"/>
                </a:lnTo>
                <a:lnTo>
                  <a:pt x="191" y="288"/>
                </a:lnTo>
                <a:lnTo>
                  <a:pt x="191" y="278"/>
                </a:lnTo>
                <a:lnTo>
                  <a:pt x="188" y="275"/>
                </a:lnTo>
                <a:lnTo>
                  <a:pt x="188" y="275"/>
                </a:lnTo>
                <a:lnTo>
                  <a:pt x="191" y="275"/>
                </a:lnTo>
                <a:lnTo>
                  <a:pt x="191" y="272"/>
                </a:lnTo>
                <a:lnTo>
                  <a:pt x="188" y="269"/>
                </a:lnTo>
                <a:lnTo>
                  <a:pt x="188" y="266"/>
                </a:lnTo>
                <a:lnTo>
                  <a:pt x="191" y="263"/>
                </a:lnTo>
                <a:lnTo>
                  <a:pt x="191" y="260"/>
                </a:lnTo>
                <a:lnTo>
                  <a:pt x="191" y="257"/>
                </a:lnTo>
                <a:lnTo>
                  <a:pt x="191" y="253"/>
                </a:lnTo>
                <a:lnTo>
                  <a:pt x="166" y="250"/>
                </a:lnTo>
                <a:lnTo>
                  <a:pt x="166" y="250"/>
                </a:lnTo>
                <a:lnTo>
                  <a:pt x="169" y="247"/>
                </a:lnTo>
                <a:lnTo>
                  <a:pt x="169" y="244"/>
                </a:lnTo>
                <a:lnTo>
                  <a:pt x="163" y="244"/>
                </a:lnTo>
                <a:lnTo>
                  <a:pt x="163" y="247"/>
                </a:lnTo>
                <a:lnTo>
                  <a:pt x="144" y="247"/>
                </a:lnTo>
                <a:lnTo>
                  <a:pt x="141" y="253"/>
                </a:lnTo>
                <a:lnTo>
                  <a:pt x="141" y="257"/>
                </a:lnTo>
                <a:lnTo>
                  <a:pt x="138" y="257"/>
                </a:lnTo>
                <a:lnTo>
                  <a:pt x="141" y="260"/>
                </a:lnTo>
                <a:lnTo>
                  <a:pt x="141" y="266"/>
                </a:lnTo>
                <a:lnTo>
                  <a:pt x="125" y="266"/>
                </a:lnTo>
                <a:lnTo>
                  <a:pt x="122" y="269"/>
                </a:lnTo>
                <a:lnTo>
                  <a:pt x="116" y="269"/>
                </a:lnTo>
                <a:lnTo>
                  <a:pt x="113" y="266"/>
                </a:lnTo>
                <a:lnTo>
                  <a:pt x="110" y="269"/>
                </a:lnTo>
                <a:lnTo>
                  <a:pt x="104" y="269"/>
                </a:lnTo>
                <a:lnTo>
                  <a:pt x="104" y="266"/>
                </a:lnTo>
                <a:lnTo>
                  <a:pt x="100" y="260"/>
                </a:lnTo>
                <a:lnTo>
                  <a:pt x="100" y="257"/>
                </a:lnTo>
                <a:lnTo>
                  <a:pt x="97" y="253"/>
                </a:lnTo>
                <a:lnTo>
                  <a:pt x="94" y="253"/>
                </a:lnTo>
                <a:lnTo>
                  <a:pt x="94" y="250"/>
                </a:lnTo>
                <a:lnTo>
                  <a:pt x="94" y="247"/>
                </a:lnTo>
                <a:lnTo>
                  <a:pt x="94" y="244"/>
                </a:lnTo>
                <a:lnTo>
                  <a:pt x="91" y="241"/>
                </a:lnTo>
                <a:lnTo>
                  <a:pt x="91" y="238"/>
                </a:lnTo>
                <a:lnTo>
                  <a:pt x="94" y="235"/>
                </a:lnTo>
                <a:lnTo>
                  <a:pt x="91" y="232"/>
                </a:lnTo>
                <a:lnTo>
                  <a:pt x="91" y="232"/>
                </a:lnTo>
                <a:lnTo>
                  <a:pt x="91" y="228"/>
                </a:lnTo>
                <a:lnTo>
                  <a:pt x="91" y="228"/>
                </a:lnTo>
                <a:lnTo>
                  <a:pt x="91" y="225"/>
                </a:lnTo>
                <a:lnTo>
                  <a:pt x="69" y="225"/>
                </a:lnTo>
                <a:lnTo>
                  <a:pt x="57" y="225"/>
                </a:lnTo>
                <a:lnTo>
                  <a:pt x="50" y="225"/>
                </a:lnTo>
                <a:lnTo>
                  <a:pt x="44" y="225"/>
                </a:lnTo>
                <a:lnTo>
                  <a:pt x="41" y="225"/>
                </a:lnTo>
                <a:lnTo>
                  <a:pt x="35" y="225"/>
                </a:lnTo>
                <a:lnTo>
                  <a:pt x="29" y="225"/>
                </a:lnTo>
                <a:lnTo>
                  <a:pt x="25" y="225"/>
                </a:lnTo>
                <a:lnTo>
                  <a:pt x="22" y="225"/>
                </a:lnTo>
                <a:lnTo>
                  <a:pt x="19" y="225"/>
                </a:lnTo>
                <a:lnTo>
                  <a:pt x="16" y="225"/>
                </a:lnTo>
                <a:lnTo>
                  <a:pt x="13" y="225"/>
                </a:lnTo>
                <a:lnTo>
                  <a:pt x="13" y="228"/>
                </a:lnTo>
                <a:lnTo>
                  <a:pt x="10" y="228"/>
                </a:lnTo>
                <a:lnTo>
                  <a:pt x="10" y="228"/>
                </a:lnTo>
                <a:lnTo>
                  <a:pt x="10" y="228"/>
                </a:lnTo>
                <a:lnTo>
                  <a:pt x="10" y="228"/>
                </a:lnTo>
                <a:lnTo>
                  <a:pt x="10" y="228"/>
                </a:lnTo>
                <a:lnTo>
                  <a:pt x="7" y="225"/>
                </a:lnTo>
                <a:lnTo>
                  <a:pt x="0" y="225"/>
                </a:lnTo>
                <a:lnTo>
                  <a:pt x="0" y="225"/>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6" name="Freeform 144">
            <a:extLst>
              <a:ext uri="{FF2B5EF4-FFF2-40B4-BE49-F238E27FC236}">
                <a16:creationId xmlns:a16="http://schemas.microsoft.com/office/drawing/2014/main" id="{00D3CA52-0CF9-F2F6-19E7-BD9DFC18DA60}"/>
              </a:ext>
            </a:extLst>
          </p:cNvPr>
          <p:cNvSpPr>
            <a:spLocks/>
          </p:cNvSpPr>
          <p:nvPr userDrawn="1"/>
        </p:nvSpPr>
        <p:spPr bwMode="auto">
          <a:xfrm>
            <a:off x="15194562" y="9971961"/>
            <a:ext cx="196837" cy="498478"/>
          </a:xfrm>
          <a:custGeom>
            <a:avLst/>
            <a:gdLst>
              <a:gd name="T0" fmla="*/ 9 w 62"/>
              <a:gd name="T1" fmla="*/ 0 h 157"/>
              <a:gd name="T2" fmla="*/ 12 w 62"/>
              <a:gd name="T3" fmla="*/ 3 h 157"/>
              <a:gd name="T4" fmla="*/ 15 w 62"/>
              <a:gd name="T5" fmla="*/ 3 h 157"/>
              <a:gd name="T6" fmla="*/ 18 w 62"/>
              <a:gd name="T7" fmla="*/ 3 h 157"/>
              <a:gd name="T8" fmla="*/ 21 w 62"/>
              <a:gd name="T9" fmla="*/ 3 h 157"/>
              <a:gd name="T10" fmla="*/ 25 w 62"/>
              <a:gd name="T11" fmla="*/ 6 h 157"/>
              <a:gd name="T12" fmla="*/ 31 w 62"/>
              <a:gd name="T13" fmla="*/ 16 h 157"/>
              <a:gd name="T14" fmla="*/ 34 w 62"/>
              <a:gd name="T15" fmla="*/ 56 h 157"/>
              <a:gd name="T16" fmla="*/ 34 w 62"/>
              <a:gd name="T17" fmla="*/ 78 h 157"/>
              <a:gd name="T18" fmla="*/ 43 w 62"/>
              <a:gd name="T19" fmla="*/ 85 h 157"/>
              <a:gd name="T20" fmla="*/ 46 w 62"/>
              <a:gd name="T21" fmla="*/ 88 h 157"/>
              <a:gd name="T22" fmla="*/ 56 w 62"/>
              <a:gd name="T23" fmla="*/ 97 h 157"/>
              <a:gd name="T24" fmla="*/ 62 w 62"/>
              <a:gd name="T25" fmla="*/ 106 h 157"/>
              <a:gd name="T26" fmla="*/ 62 w 62"/>
              <a:gd name="T27" fmla="*/ 113 h 157"/>
              <a:gd name="T28" fmla="*/ 59 w 62"/>
              <a:gd name="T29" fmla="*/ 116 h 157"/>
              <a:gd name="T30" fmla="*/ 56 w 62"/>
              <a:gd name="T31" fmla="*/ 116 h 157"/>
              <a:gd name="T32" fmla="*/ 56 w 62"/>
              <a:gd name="T33" fmla="*/ 119 h 157"/>
              <a:gd name="T34" fmla="*/ 59 w 62"/>
              <a:gd name="T35" fmla="*/ 128 h 157"/>
              <a:gd name="T36" fmla="*/ 56 w 62"/>
              <a:gd name="T37" fmla="*/ 135 h 157"/>
              <a:gd name="T38" fmla="*/ 50 w 62"/>
              <a:gd name="T39" fmla="*/ 141 h 157"/>
              <a:gd name="T40" fmla="*/ 46 w 62"/>
              <a:gd name="T41" fmla="*/ 147 h 157"/>
              <a:gd name="T42" fmla="*/ 46 w 62"/>
              <a:gd name="T43" fmla="*/ 157 h 157"/>
              <a:gd name="T44" fmla="*/ 43 w 62"/>
              <a:gd name="T45" fmla="*/ 157 h 157"/>
              <a:gd name="T46" fmla="*/ 40 w 62"/>
              <a:gd name="T47" fmla="*/ 150 h 157"/>
              <a:gd name="T48" fmla="*/ 37 w 62"/>
              <a:gd name="T49" fmla="*/ 147 h 157"/>
              <a:gd name="T50" fmla="*/ 31 w 62"/>
              <a:gd name="T51" fmla="*/ 138 h 157"/>
              <a:gd name="T52" fmla="*/ 28 w 62"/>
              <a:gd name="T53" fmla="*/ 132 h 157"/>
              <a:gd name="T54" fmla="*/ 31 w 62"/>
              <a:gd name="T55" fmla="*/ 125 h 157"/>
              <a:gd name="T56" fmla="*/ 34 w 62"/>
              <a:gd name="T57" fmla="*/ 116 h 157"/>
              <a:gd name="T58" fmla="*/ 34 w 62"/>
              <a:gd name="T59" fmla="*/ 106 h 157"/>
              <a:gd name="T60" fmla="*/ 28 w 62"/>
              <a:gd name="T61" fmla="*/ 100 h 157"/>
              <a:gd name="T62" fmla="*/ 21 w 62"/>
              <a:gd name="T63" fmla="*/ 103 h 157"/>
              <a:gd name="T64" fmla="*/ 18 w 62"/>
              <a:gd name="T65" fmla="*/ 103 h 157"/>
              <a:gd name="T66" fmla="*/ 15 w 62"/>
              <a:gd name="T67" fmla="*/ 100 h 157"/>
              <a:gd name="T68" fmla="*/ 12 w 62"/>
              <a:gd name="T69" fmla="*/ 97 h 157"/>
              <a:gd name="T70" fmla="*/ 6 w 62"/>
              <a:gd name="T71" fmla="*/ 94 h 157"/>
              <a:gd name="T72" fmla="*/ 3 w 62"/>
              <a:gd name="T73" fmla="*/ 88 h 157"/>
              <a:gd name="T74" fmla="*/ 0 w 62"/>
              <a:gd name="T75" fmla="*/ 85 h 157"/>
              <a:gd name="T76" fmla="*/ 6 w 62"/>
              <a:gd name="T77" fmla="*/ 78 h 157"/>
              <a:gd name="T78" fmla="*/ 6 w 62"/>
              <a:gd name="T79" fmla="*/ 75 h 157"/>
              <a:gd name="T80" fmla="*/ 6 w 62"/>
              <a:gd name="T81" fmla="*/ 69 h 157"/>
              <a:gd name="T82" fmla="*/ 9 w 62"/>
              <a:gd name="T83" fmla="*/ 66 h 157"/>
              <a:gd name="T84" fmla="*/ 15 w 62"/>
              <a:gd name="T85" fmla="*/ 63 h 157"/>
              <a:gd name="T86" fmla="*/ 15 w 62"/>
              <a:gd name="T87" fmla="*/ 60 h 157"/>
              <a:gd name="T88" fmla="*/ 12 w 62"/>
              <a:gd name="T89" fmla="*/ 56 h 157"/>
              <a:gd name="T90" fmla="*/ 12 w 62"/>
              <a:gd name="T91" fmla="*/ 53 h 157"/>
              <a:gd name="T92" fmla="*/ 12 w 62"/>
              <a:gd name="T93" fmla="*/ 47 h 157"/>
              <a:gd name="T94" fmla="*/ 12 w 62"/>
              <a:gd name="T95" fmla="*/ 44 h 157"/>
              <a:gd name="T96" fmla="*/ 12 w 62"/>
              <a:gd name="T97" fmla="*/ 38 h 157"/>
              <a:gd name="T98" fmla="*/ 18 w 62"/>
              <a:gd name="T99" fmla="*/ 28 h 157"/>
              <a:gd name="T100" fmla="*/ 18 w 62"/>
              <a:gd name="T101" fmla="*/ 28 h 157"/>
              <a:gd name="T102" fmla="*/ 15 w 62"/>
              <a:gd name="T103" fmla="*/ 19 h 157"/>
              <a:gd name="T104" fmla="*/ 12 w 62"/>
              <a:gd name="T105" fmla="*/ 16 h 157"/>
              <a:gd name="T106" fmla="*/ 15 w 62"/>
              <a:gd name="T107" fmla="*/ 10 h 157"/>
              <a:gd name="T108" fmla="*/ 9 w 62"/>
              <a:gd name="T109" fmla="*/ 6 h 157"/>
              <a:gd name="T110" fmla="*/ 9 w 62"/>
              <a:gd name="T111" fmla="*/ 3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 h="157">
                <a:moveTo>
                  <a:pt x="6" y="0"/>
                </a:moveTo>
                <a:lnTo>
                  <a:pt x="9" y="0"/>
                </a:lnTo>
                <a:lnTo>
                  <a:pt x="9" y="0"/>
                </a:lnTo>
                <a:lnTo>
                  <a:pt x="12" y="3"/>
                </a:lnTo>
                <a:lnTo>
                  <a:pt x="12" y="3"/>
                </a:lnTo>
                <a:lnTo>
                  <a:pt x="15" y="3"/>
                </a:lnTo>
                <a:lnTo>
                  <a:pt x="15" y="3"/>
                </a:lnTo>
                <a:lnTo>
                  <a:pt x="18" y="3"/>
                </a:lnTo>
                <a:lnTo>
                  <a:pt x="18" y="3"/>
                </a:lnTo>
                <a:lnTo>
                  <a:pt x="21" y="3"/>
                </a:lnTo>
                <a:lnTo>
                  <a:pt x="21" y="6"/>
                </a:lnTo>
                <a:lnTo>
                  <a:pt x="25" y="6"/>
                </a:lnTo>
                <a:lnTo>
                  <a:pt x="25" y="10"/>
                </a:lnTo>
                <a:lnTo>
                  <a:pt x="31" y="16"/>
                </a:lnTo>
                <a:lnTo>
                  <a:pt x="34" y="25"/>
                </a:lnTo>
                <a:lnTo>
                  <a:pt x="34" y="56"/>
                </a:lnTo>
                <a:lnTo>
                  <a:pt x="31" y="60"/>
                </a:lnTo>
                <a:lnTo>
                  <a:pt x="34" y="78"/>
                </a:lnTo>
                <a:lnTo>
                  <a:pt x="40" y="81"/>
                </a:lnTo>
                <a:lnTo>
                  <a:pt x="43" y="85"/>
                </a:lnTo>
                <a:lnTo>
                  <a:pt x="46" y="88"/>
                </a:lnTo>
                <a:lnTo>
                  <a:pt x="46" y="88"/>
                </a:lnTo>
                <a:lnTo>
                  <a:pt x="53" y="94"/>
                </a:lnTo>
                <a:lnTo>
                  <a:pt x="56" y="97"/>
                </a:lnTo>
                <a:lnTo>
                  <a:pt x="59" y="103"/>
                </a:lnTo>
                <a:lnTo>
                  <a:pt x="62" y="106"/>
                </a:lnTo>
                <a:lnTo>
                  <a:pt x="62" y="110"/>
                </a:lnTo>
                <a:lnTo>
                  <a:pt x="62" y="113"/>
                </a:lnTo>
                <a:lnTo>
                  <a:pt x="59" y="113"/>
                </a:lnTo>
                <a:lnTo>
                  <a:pt x="59" y="116"/>
                </a:lnTo>
                <a:lnTo>
                  <a:pt x="56" y="116"/>
                </a:lnTo>
                <a:lnTo>
                  <a:pt x="56" y="116"/>
                </a:lnTo>
                <a:lnTo>
                  <a:pt x="59" y="119"/>
                </a:lnTo>
                <a:lnTo>
                  <a:pt x="56" y="119"/>
                </a:lnTo>
                <a:lnTo>
                  <a:pt x="59" y="122"/>
                </a:lnTo>
                <a:lnTo>
                  <a:pt x="59" y="128"/>
                </a:lnTo>
                <a:lnTo>
                  <a:pt x="59" y="132"/>
                </a:lnTo>
                <a:lnTo>
                  <a:pt x="56" y="135"/>
                </a:lnTo>
                <a:lnTo>
                  <a:pt x="50" y="135"/>
                </a:lnTo>
                <a:lnTo>
                  <a:pt x="50" y="141"/>
                </a:lnTo>
                <a:lnTo>
                  <a:pt x="50" y="144"/>
                </a:lnTo>
                <a:lnTo>
                  <a:pt x="46" y="147"/>
                </a:lnTo>
                <a:lnTo>
                  <a:pt x="46" y="153"/>
                </a:lnTo>
                <a:lnTo>
                  <a:pt x="46" y="157"/>
                </a:lnTo>
                <a:lnTo>
                  <a:pt x="43" y="157"/>
                </a:lnTo>
                <a:lnTo>
                  <a:pt x="43" y="157"/>
                </a:lnTo>
                <a:lnTo>
                  <a:pt x="43" y="153"/>
                </a:lnTo>
                <a:lnTo>
                  <a:pt x="40" y="150"/>
                </a:lnTo>
                <a:lnTo>
                  <a:pt x="40" y="147"/>
                </a:lnTo>
                <a:lnTo>
                  <a:pt x="37" y="147"/>
                </a:lnTo>
                <a:lnTo>
                  <a:pt x="34" y="144"/>
                </a:lnTo>
                <a:lnTo>
                  <a:pt x="31" y="138"/>
                </a:lnTo>
                <a:lnTo>
                  <a:pt x="28" y="135"/>
                </a:lnTo>
                <a:lnTo>
                  <a:pt x="28" y="132"/>
                </a:lnTo>
                <a:lnTo>
                  <a:pt x="28" y="128"/>
                </a:lnTo>
                <a:lnTo>
                  <a:pt x="31" y="125"/>
                </a:lnTo>
                <a:lnTo>
                  <a:pt x="31" y="119"/>
                </a:lnTo>
                <a:lnTo>
                  <a:pt x="34" y="116"/>
                </a:lnTo>
                <a:lnTo>
                  <a:pt x="34" y="110"/>
                </a:lnTo>
                <a:lnTo>
                  <a:pt x="34" y="106"/>
                </a:lnTo>
                <a:lnTo>
                  <a:pt x="34" y="103"/>
                </a:lnTo>
                <a:lnTo>
                  <a:pt x="28" y="100"/>
                </a:lnTo>
                <a:lnTo>
                  <a:pt x="25" y="100"/>
                </a:lnTo>
                <a:lnTo>
                  <a:pt x="21" y="103"/>
                </a:lnTo>
                <a:lnTo>
                  <a:pt x="18" y="103"/>
                </a:lnTo>
                <a:lnTo>
                  <a:pt x="18" y="103"/>
                </a:lnTo>
                <a:lnTo>
                  <a:pt x="15" y="103"/>
                </a:lnTo>
                <a:lnTo>
                  <a:pt x="15" y="100"/>
                </a:lnTo>
                <a:lnTo>
                  <a:pt x="12" y="97"/>
                </a:lnTo>
                <a:lnTo>
                  <a:pt x="12" y="97"/>
                </a:lnTo>
                <a:lnTo>
                  <a:pt x="12" y="94"/>
                </a:lnTo>
                <a:lnTo>
                  <a:pt x="6" y="94"/>
                </a:lnTo>
                <a:lnTo>
                  <a:pt x="6" y="94"/>
                </a:lnTo>
                <a:lnTo>
                  <a:pt x="3" y="88"/>
                </a:lnTo>
                <a:lnTo>
                  <a:pt x="0" y="85"/>
                </a:lnTo>
                <a:lnTo>
                  <a:pt x="0" y="85"/>
                </a:lnTo>
                <a:lnTo>
                  <a:pt x="3" y="81"/>
                </a:lnTo>
                <a:lnTo>
                  <a:pt x="6" y="78"/>
                </a:lnTo>
                <a:lnTo>
                  <a:pt x="6" y="75"/>
                </a:lnTo>
                <a:lnTo>
                  <a:pt x="6" y="75"/>
                </a:lnTo>
                <a:lnTo>
                  <a:pt x="6" y="72"/>
                </a:lnTo>
                <a:lnTo>
                  <a:pt x="6" y="69"/>
                </a:lnTo>
                <a:lnTo>
                  <a:pt x="6" y="69"/>
                </a:lnTo>
                <a:lnTo>
                  <a:pt x="9" y="66"/>
                </a:lnTo>
                <a:lnTo>
                  <a:pt x="12" y="63"/>
                </a:lnTo>
                <a:lnTo>
                  <a:pt x="15" y="63"/>
                </a:lnTo>
                <a:lnTo>
                  <a:pt x="15" y="63"/>
                </a:lnTo>
                <a:lnTo>
                  <a:pt x="15" y="60"/>
                </a:lnTo>
                <a:lnTo>
                  <a:pt x="15" y="60"/>
                </a:lnTo>
                <a:lnTo>
                  <a:pt x="12" y="56"/>
                </a:lnTo>
                <a:lnTo>
                  <a:pt x="12" y="53"/>
                </a:lnTo>
                <a:lnTo>
                  <a:pt x="12" y="53"/>
                </a:lnTo>
                <a:lnTo>
                  <a:pt x="15" y="50"/>
                </a:lnTo>
                <a:lnTo>
                  <a:pt x="12" y="47"/>
                </a:lnTo>
                <a:lnTo>
                  <a:pt x="15" y="47"/>
                </a:lnTo>
                <a:lnTo>
                  <a:pt x="12" y="44"/>
                </a:lnTo>
                <a:lnTo>
                  <a:pt x="12" y="41"/>
                </a:lnTo>
                <a:lnTo>
                  <a:pt x="12" y="38"/>
                </a:lnTo>
                <a:lnTo>
                  <a:pt x="12" y="35"/>
                </a:lnTo>
                <a:lnTo>
                  <a:pt x="18" y="28"/>
                </a:lnTo>
                <a:lnTo>
                  <a:pt x="18" y="28"/>
                </a:lnTo>
                <a:lnTo>
                  <a:pt x="18" y="28"/>
                </a:lnTo>
                <a:lnTo>
                  <a:pt x="18" y="22"/>
                </a:lnTo>
                <a:lnTo>
                  <a:pt x="15" y="19"/>
                </a:lnTo>
                <a:lnTo>
                  <a:pt x="12" y="19"/>
                </a:lnTo>
                <a:lnTo>
                  <a:pt x="12" y="16"/>
                </a:lnTo>
                <a:lnTo>
                  <a:pt x="15" y="10"/>
                </a:lnTo>
                <a:lnTo>
                  <a:pt x="15" y="10"/>
                </a:lnTo>
                <a:lnTo>
                  <a:pt x="12" y="10"/>
                </a:lnTo>
                <a:lnTo>
                  <a:pt x="9" y="6"/>
                </a:lnTo>
                <a:lnTo>
                  <a:pt x="9" y="3"/>
                </a:lnTo>
                <a:lnTo>
                  <a:pt x="9" y="3"/>
                </a:lnTo>
                <a:lnTo>
                  <a:pt x="6" y="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7" name="Freeform 145">
            <a:extLst>
              <a:ext uri="{FF2B5EF4-FFF2-40B4-BE49-F238E27FC236}">
                <a16:creationId xmlns:a16="http://schemas.microsoft.com/office/drawing/2014/main" id="{F90D4A4A-6A08-760A-F2EB-0F119E32C2E3}"/>
              </a:ext>
            </a:extLst>
          </p:cNvPr>
          <p:cNvSpPr>
            <a:spLocks/>
          </p:cNvSpPr>
          <p:nvPr userDrawn="1"/>
        </p:nvSpPr>
        <p:spPr bwMode="auto">
          <a:xfrm>
            <a:off x="14508802" y="9892582"/>
            <a:ext cx="742902" cy="635000"/>
          </a:xfrm>
          <a:custGeom>
            <a:avLst/>
            <a:gdLst>
              <a:gd name="T0" fmla="*/ 50 w 234"/>
              <a:gd name="T1" fmla="*/ 60 h 200"/>
              <a:gd name="T2" fmla="*/ 53 w 234"/>
              <a:gd name="T3" fmla="*/ 66 h 200"/>
              <a:gd name="T4" fmla="*/ 62 w 234"/>
              <a:gd name="T5" fmla="*/ 63 h 200"/>
              <a:gd name="T6" fmla="*/ 72 w 234"/>
              <a:gd name="T7" fmla="*/ 66 h 200"/>
              <a:gd name="T8" fmla="*/ 75 w 234"/>
              <a:gd name="T9" fmla="*/ 72 h 200"/>
              <a:gd name="T10" fmla="*/ 91 w 234"/>
              <a:gd name="T11" fmla="*/ 78 h 200"/>
              <a:gd name="T12" fmla="*/ 100 w 234"/>
              <a:gd name="T13" fmla="*/ 75 h 200"/>
              <a:gd name="T14" fmla="*/ 109 w 234"/>
              <a:gd name="T15" fmla="*/ 69 h 200"/>
              <a:gd name="T16" fmla="*/ 116 w 234"/>
              <a:gd name="T17" fmla="*/ 85 h 200"/>
              <a:gd name="T18" fmla="*/ 134 w 234"/>
              <a:gd name="T19" fmla="*/ 97 h 200"/>
              <a:gd name="T20" fmla="*/ 150 w 234"/>
              <a:gd name="T21" fmla="*/ 103 h 200"/>
              <a:gd name="T22" fmla="*/ 156 w 234"/>
              <a:gd name="T23" fmla="*/ 106 h 200"/>
              <a:gd name="T24" fmla="*/ 150 w 234"/>
              <a:gd name="T25" fmla="*/ 81 h 200"/>
              <a:gd name="T26" fmla="*/ 144 w 234"/>
              <a:gd name="T27" fmla="*/ 88 h 200"/>
              <a:gd name="T28" fmla="*/ 131 w 234"/>
              <a:gd name="T29" fmla="*/ 75 h 200"/>
              <a:gd name="T30" fmla="*/ 137 w 234"/>
              <a:gd name="T31" fmla="*/ 50 h 200"/>
              <a:gd name="T32" fmla="*/ 137 w 234"/>
              <a:gd name="T33" fmla="*/ 44 h 200"/>
              <a:gd name="T34" fmla="*/ 141 w 234"/>
              <a:gd name="T35" fmla="*/ 35 h 200"/>
              <a:gd name="T36" fmla="*/ 134 w 234"/>
              <a:gd name="T37" fmla="*/ 25 h 200"/>
              <a:gd name="T38" fmla="*/ 187 w 234"/>
              <a:gd name="T39" fmla="*/ 6 h 200"/>
              <a:gd name="T40" fmla="*/ 194 w 234"/>
              <a:gd name="T41" fmla="*/ 9 h 200"/>
              <a:gd name="T42" fmla="*/ 212 w 234"/>
              <a:gd name="T43" fmla="*/ 16 h 200"/>
              <a:gd name="T44" fmla="*/ 222 w 234"/>
              <a:gd name="T45" fmla="*/ 25 h 200"/>
              <a:gd name="T46" fmla="*/ 225 w 234"/>
              <a:gd name="T47" fmla="*/ 31 h 200"/>
              <a:gd name="T48" fmla="*/ 228 w 234"/>
              <a:gd name="T49" fmla="*/ 41 h 200"/>
              <a:gd name="T50" fmla="*/ 234 w 234"/>
              <a:gd name="T51" fmla="*/ 53 h 200"/>
              <a:gd name="T52" fmla="*/ 228 w 234"/>
              <a:gd name="T53" fmla="*/ 63 h 200"/>
              <a:gd name="T54" fmla="*/ 228 w 234"/>
              <a:gd name="T55" fmla="*/ 72 h 200"/>
              <a:gd name="T56" fmla="*/ 228 w 234"/>
              <a:gd name="T57" fmla="*/ 81 h 200"/>
              <a:gd name="T58" fmla="*/ 231 w 234"/>
              <a:gd name="T59" fmla="*/ 88 h 200"/>
              <a:gd name="T60" fmla="*/ 222 w 234"/>
              <a:gd name="T61" fmla="*/ 94 h 200"/>
              <a:gd name="T62" fmla="*/ 222 w 234"/>
              <a:gd name="T63" fmla="*/ 103 h 200"/>
              <a:gd name="T64" fmla="*/ 219 w 234"/>
              <a:gd name="T65" fmla="*/ 113 h 200"/>
              <a:gd name="T66" fmla="*/ 216 w 234"/>
              <a:gd name="T67" fmla="*/ 122 h 200"/>
              <a:gd name="T68" fmla="*/ 178 w 234"/>
              <a:gd name="T69" fmla="*/ 135 h 200"/>
              <a:gd name="T70" fmla="*/ 169 w 234"/>
              <a:gd name="T71" fmla="*/ 150 h 200"/>
              <a:gd name="T72" fmla="*/ 159 w 234"/>
              <a:gd name="T73" fmla="*/ 150 h 200"/>
              <a:gd name="T74" fmla="*/ 147 w 234"/>
              <a:gd name="T75" fmla="*/ 153 h 200"/>
              <a:gd name="T76" fmla="*/ 137 w 234"/>
              <a:gd name="T77" fmla="*/ 160 h 200"/>
              <a:gd name="T78" fmla="*/ 134 w 234"/>
              <a:gd name="T79" fmla="*/ 166 h 200"/>
              <a:gd name="T80" fmla="*/ 103 w 234"/>
              <a:gd name="T81" fmla="*/ 197 h 200"/>
              <a:gd name="T82" fmla="*/ 91 w 234"/>
              <a:gd name="T83" fmla="*/ 194 h 200"/>
              <a:gd name="T84" fmla="*/ 81 w 234"/>
              <a:gd name="T85" fmla="*/ 194 h 200"/>
              <a:gd name="T86" fmla="*/ 72 w 234"/>
              <a:gd name="T87" fmla="*/ 194 h 200"/>
              <a:gd name="T88" fmla="*/ 59 w 234"/>
              <a:gd name="T89" fmla="*/ 188 h 200"/>
              <a:gd name="T90" fmla="*/ 53 w 234"/>
              <a:gd name="T91" fmla="*/ 188 h 200"/>
              <a:gd name="T92" fmla="*/ 28 w 234"/>
              <a:gd name="T93" fmla="*/ 191 h 200"/>
              <a:gd name="T94" fmla="*/ 22 w 234"/>
              <a:gd name="T95" fmla="*/ 182 h 200"/>
              <a:gd name="T96" fmla="*/ 9 w 234"/>
              <a:gd name="T97" fmla="*/ 172 h 200"/>
              <a:gd name="T98" fmla="*/ 0 w 234"/>
              <a:gd name="T99" fmla="*/ 163 h 200"/>
              <a:gd name="T100" fmla="*/ 44 w 234"/>
              <a:gd name="T101" fmla="*/ 91 h 200"/>
              <a:gd name="T102" fmla="*/ 44 w 234"/>
              <a:gd name="T103" fmla="*/ 78 h 200"/>
              <a:gd name="T104" fmla="*/ 44 w 234"/>
              <a:gd name="T10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4" h="200">
                <a:moveTo>
                  <a:pt x="44" y="60"/>
                </a:moveTo>
                <a:lnTo>
                  <a:pt x="47" y="60"/>
                </a:lnTo>
                <a:lnTo>
                  <a:pt x="47" y="60"/>
                </a:lnTo>
                <a:lnTo>
                  <a:pt x="50" y="60"/>
                </a:lnTo>
                <a:lnTo>
                  <a:pt x="53" y="63"/>
                </a:lnTo>
                <a:lnTo>
                  <a:pt x="53" y="66"/>
                </a:lnTo>
                <a:lnTo>
                  <a:pt x="53" y="66"/>
                </a:lnTo>
                <a:lnTo>
                  <a:pt x="53" y="66"/>
                </a:lnTo>
                <a:lnTo>
                  <a:pt x="56" y="66"/>
                </a:lnTo>
                <a:lnTo>
                  <a:pt x="59" y="63"/>
                </a:lnTo>
                <a:lnTo>
                  <a:pt x="62" y="63"/>
                </a:lnTo>
                <a:lnTo>
                  <a:pt x="62" y="63"/>
                </a:lnTo>
                <a:lnTo>
                  <a:pt x="69" y="60"/>
                </a:lnTo>
                <a:lnTo>
                  <a:pt x="69" y="63"/>
                </a:lnTo>
                <a:lnTo>
                  <a:pt x="69" y="66"/>
                </a:lnTo>
                <a:lnTo>
                  <a:pt x="72" y="66"/>
                </a:lnTo>
                <a:lnTo>
                  <a:pt x="72" y="69"/>
                </a:lnTo>
                <a:lnTo>
                  <a:pt x="72" y="72"/>
                </a:lnTo>
                <a:lnTo>
                  <a:pt x="72" y="72"/>
                </a:lnTo>
                <a:lnTo>
                  <a:pt x="75" y="72"/>
                </a:lnTo>
                <a:lnTo>
                  <a:pt x="78" y="72"/>
                </a:lnTo>
                <a:lnTo>
                  <a:pt x="81" y="75"/>
                </a:lnTo>
                <a:lnTo>
                  <a:pt x="87" y="78"/>
                </a:lnTo>
                <a:lnTo>
                  <a:pt x="91" y="78"/>
                </a:lnTo>
                <a:lnTo>
                  <a:pt x="91" y="78"/>
                </a:lnTo>
                <a:lnTo>
                  <a:pt x="94" y="78"/>
                </a:lnTo>
                <a:lnTo>
                  <a:pt x="100" y="78"/>
                </a:lnTo>
                <a:lnTo>
                  <a:pt x="100" y="75"/>
                </a:lnTo>
                <a:lnTo>
                  <a:pt x="103" y="69"/>
                </a:lnTo>
                <a:lnTo>
                  <a:pt x="106" y="69"/>
                </a:lnTo>
                <a:lnTo>
                  <a:pt x="106" y="69"/>
                </a:lnTo>
                <a:lnTo>
                  <a:pt x="109" y="69"/>
                </a:lnTo>
                <a:lnTo>
                  <a:pt x="109" y="75"/>
                </a:lnTo>
                <a:lnTo>
                  <a:pt x="112" y="78"/>
                </a:lnTo>
                <a:lnTo>
                  <a:pt x="112" y="81"/>
                </a:lnTo>
                <a:lnTo>
                  <a:pt x="116" y="85"/>
                </a:lnTo>
                <a:lnTo>
                  <a:pt x="125" y="85"/>
                </a:lnTo>
                <a:lnTo>
                  <a:pt x="128" y="88"/>
                </a:lnTo>
                <a:lnTo>
                  <a:pt x="131" y="94"/>
                </a:lnTo>
                <a:lnTo>
                  <a:pt x="134" y="97"/>
                </a:lnTo>
                <a:lnTo>
                  <a:pt x="141" y="100"/>
                </a:lnTo>
                <a:lnTo>
                  <a:pt x="144" y="106"/>
                </a:lnTo>
                <a:lnTo>
                  <a:pt x="147" y="106"/>
                </a:lnTo>
                <a:lnTo>
                  <a:pt x="150" y="103"/>
                </a:lnTo>
                <a:lnTo>
                  <a:pt x="153" y="103"/>
                </a:lnTo>
                <a:lnTo>
                  <a:pt x="153" y="103"/>
                </a:lnTo>
                <a:lnTo>
                  <a:pt x="153" y="103"/>
                </a:lnTo>
                <a:lnTo>
                  <a:pt x="156" y="106"/>
                </a:lnTo>
                <a:lnTo>
                  <a:pt x="159" y="103"/>
                </a:lnTo>
                <a:lnTo>
                  <a:pt x="156" y="81"/>
                </a:lnTo>
                <a:lnTo>
                  <a:pt x="156" y="81"/>
                </a:lnTo>
                <a:lnTo>
                  <a:pt x="150" y="81"/>
                </a:lnTo>
                <a:lnTo>
                  <a:pt x="150" y="85"/>
                </a:lnTo>
                <a:lnTo>
                  <a:pt x="153" y="88"/>
                </a:lnTo>
                <a:lnTo>
                  <a:pt x="150" y="88"/>
                </a:lnTo>
                <a:lnTo>
                  <a:pt x="144" y="88"/>
                </a:lnTo>
                <a:lnTo>
                  <a:pt x="141" y="85"/>
                </a:lnTo>
                <a:lnTo>
                  <a:pt x="141" y="81"/>
                </a:lnTo>
                <a:lnTo>
                  <a:pt x="134" y="75"/>
                </a:lnTo>
                <a:lnTo>
                  <a:pt x="131" y="75"/>
                </a:lnTo>
                <a:lnTo>
                  <a:pt x="131" y="69"/>
                </a:lnTo>
                <a:lnTo>
                  <a:pt x="131" y="56"/>
                </a:lnTo>
                <a:lnTo>
                  <a:pt x="131" y="56"/>
                </a:lnTo>
                <a:lnTo>
                  <a:pt x="137" y="50"/>
                </a:lnTo>
                <a:lnTo>
                  <a:pt x="137" y="50"/>
                </a:lnTo>
                <a:lnTo>
                  <a:pt x="137" y="47"/>
                </a:lnTo>
                <a:lnTo>
                  <a:pt x="137" y="47"/>
                </a:lnTo>
                <a:lnTo>
                  <a:pt x="137" y="44"/>
                </a:lnTo>
                <a:lnTo>
                  <a:pt x="137" y="41"/>
                </a:lnTo>
                <a:lnTo>
                  <a:pt x="137" y="38"/>
                </a:lnTo>
                <a:lnTo>
                  <a:pt x="137" y="35"/>
                </a:lnTo>
                <a:lnTo>
                  <a:pt x="141" y="35"/>
                </a:lnTo>
                <a:lnTo>
                  <a:pt x="141" y="31"/>
                </a:lnTo>
                <a:lnTo>
                  <a:pt x="137" y="31"/>
                </a:lnTo>
                <a:lnTo>
                  <a:pt x="134" y="28"/>
                </a:lnTo>
                <a:lnTo>
                  <a:pt x="134" y="25"/>
                </a:lnTo>
                <a:lnTo>
                  <a:pt x="144" y="9"/>
                </a:lnTo>
                <a:lnTo>
                  <a:pt x="175" y="0"/>
                </a:lnTo>
                <a:lnTo>
                  <a:pt x="184" y="6"/>
                </a:lnTo>
                <a:lnTo>
                  <a:pt x="187" y="6"/>
                </a:lnTo>
                <a:lnTo>
                  <a:pt x="191" y="6"/>
                </a:lnTo>
                <a:lnTo>
                  <a:pt x="191" y="6"/>
                </a:lnTo>
                <a:lnTo>
                  <a:pt x="194" y="9"/>
                </a:lnTo>
                <a:lnTo>
                  <a:pt x="194" y="9"/>
                </a:lnTo>
                <a:lnTo>
                  <a:pt x="197" y="13"/>
                </a:lnTo>
                <a:lnTo>
                  <a:pt x="200" y="13"/>
                </a:lnTo>
                <a:lnTo>
                  <a:pt x="209" y="16"/>
                </a:lnTo>
                <a:lnTo>
                  <a:pt x="212" y="16"/>
                </a:lnTo>
                <a:lnTo>
                  <a:pt x="212" y="19"/>
                </a:lnTo>
                <a:lnTo>
                  <a:pt x="216" y="19"/>
                </a:lnTo>
                <a:lnTo>
                  <a:pt x="219" y="22"/>
                </a:lnTo>
                <a:lnTo>
                  <a:pt x="222" y="25"/>
                </a:lnTo>
                <a:lnTo>
                  <a:pt x="222" y="25"/>
                </a:lnTo>
                <a:lnTo>
                  <a:pt x="225" y="28"/>
                </a:lnTo>
                <a:lnTo>
                  <a:pt x="225" y="28"/>
                </a:lnTo>
                <a:lnTo>
                  <a:pt x="225" y="31"/>
                </a:lnTo>
                <a:lnTo>
                  <a:pt x="228" y="35"/>
                </a:lnTo>
                <a:lnTo>
                  <a:pt x="231" y="35"/>
                </a:lnTo>
                <a:lnTo>
                  <a:pt x="231" y="35"/>
                </a:lnTo>
                <a:lnTo>
                  <a:pt x="228" y="41"/>
                </a:lnTo>
                <a:lnTo>
                  <a:pt x="228" y="44"/>
                </a:lnTo>
                <a:lnTo>
                  <a:pt x="231" y="44"/>
                </a:lnTo>
                <a:lnTo>
                  <a:pt x="234" y="47"/>
                </a:lnTo>
                <a:lnTo>
                  <a:pt x="234" y="53"/>
                </a:lnTo>
                <a:lnTo>
                  <a:pt x="234" y="53"/>
                </a:lnTo>
                <a:lnTo>
                  <a:pt x="234" y="53"/>
                </a:lnTo>
                <a:lnTo>
                  <a:pt x="228" y="60"/>
                </a:lnTo>
                <a:lnTo>
                  <a:pt x="228" y="63"/>
                </a:lnTo>
                <a:lnTo>
                  <a:pt x="228" y="66"/>
                </a:lnTo>
                <a:lnTo>
                  <a:pt x="228" y="69"/>
                </a:lnTo>
                <a:lnTo>
                  <a:pt x="231" y="72"/>
                </a:lnTo>
                <a:lnTo>
                  <a:pt x="228" y="72"/>
                </a:lnTo>
                <a:lnTo>
                  <a:pt x="231" y="75"/>
                </a:lnTo>
                <a:lnTo>
                  <a:pt x="228" y="78"/>
                </a:lnTo>
                <a:lnTo>
                  <a:pt x="228" y="78"/>
                </a:lnTo>
                <a:lnTo>
                  <a:pt x="228" y="81"/>
                </a:lnTo>
                <a:lnTo>
                  <a:pt x="231" y="85"/>
                </a:lnTo>
                <a:lnTo>
                  <a:pt x="231" y="85"/>
                </a:lnTo>
                <a:lnTo>
                  <a:pt x="231" y="88"/>
                </a:lnTo>
                <a:lnTo>
                  <a:pt x="231" y="88"/>
                </a:lnTo>
                <a:lnTo>
                  <a:pt x="228" y="88"/>
                </a:lnTo>
                <a:lnTo>
                  <a:pt x="225" y="91"/>
                </a:lnTo>
                <a:lnTo>
                  <a:pt x="222" y="94"/>
                </a:lnTo>
                <a:lnTo>
                  <a:pt x="222" y="94"/>
                </a:lnTo>
                <a:lnTo>
                  <a:pt x="222" y="97"/>
                </a:lnTo>
                <a:lnTo>
                  <a:pt x="222" y="100"/>
                </a:lnTo>
                <a:lnTo>
                  <a:pt x="222" y="100"/>
                </a:lnTo>
                <a:lnTo>
                  <a:pt x="222" y="103"/>
                </a:lnTo>
                <a:lnTo>
                  <a:pt x="219" y="106"/>
                </a:lnTo>
                <a:lnTo>
                  <a:pt x="216" y="110"/>
                </a:lnTo>
                <a:lnTo>
                  <a:pt x="216" y="110"/>
                </a:lnTo>
                <a:lnTo>
                  <a:pt x="219" y="113"/>
                </a:lnTo>
                <a:lnTo>
                  <a:pt x="222" y="119"/>
                </a:lnTo>
                <a:lnTo>
                  <a:pt x="222" y="119"/>
                </a:lnTo>
                <a:lnTo>
                  <a:pt x="222" y="119"/>
                </a:lnTo>
                <a:lnTo>
                  <a:pt x="216" y="122"/>
                </a:lnTo>
                <a:lnTo>
                  <a:pt x="203" y="125"/>
                </a:lnTo>
                <a:lnTo>
                  <a:pt x="200" y="128"/>
                </a:lnTo>
                <a:lnTo>
                  <a:pt x="181" y="135"/>
                </a:lnTo>
                <a:lnTo>
                  <a:pt x="178" y="135"/>
                </a:lnTo>
                <a:lnTo>
                  <a:pt x="169" y="141"/>
                </a:lnTo>
                <a:lnTo>
                  <a:pt x="169" y="144"/>
                </a:lnTo>
                <a:lnTo>
                  <a:pt x="169" y="147"/>
                </a:lnTo>
                <a:lnTo>
                  <a:pt x="169" y="150"/>
                </a:lnTo>
                <a:lnTo>
                  <a:pt x="169" y="150"/>
                </a:lnTo>
                <a:lnTo>
                  <a:pt x="166" y="150"/>
                </a:lnTo>
                <a:lnTo>
                  <a:pt x="162" y="150"/>
                </a:lnTo>
                <a:lnTo>
                  <a:pt x="159" y="150"/>
                </a:lnTo>
                <a:lnTo>
                  <a:pt x="159" y="150"/>
                </a:lnTo>
                <a:lnTo>
                  <a:pt x="153" y="150"/>
                </a:lnTo>
                <a:lnTo>
                  <a:pt x="150" y="150"/>
                </a:lnTo>
                <a:lnTo>
                  <a:pt x="147" y="153"/>
                </a:lnTo>
                <a:lnTo>
                  <a:pt x="144" y="153"/>
                </a:lnTo>
                <a:lnTo>
                  <a:pt x="137" y="157"/>
                </a:lnTo>
                <a:lnTo>
                  <a:pt x="137" y="160"/>
                </a:lnTo>
                <a:lnTo>
                  <a:pt x="137" y="160"/>
                </a:lnTo>
                <a:lnTo>
                  <a:pt x="137" y="163"/>
                </a:lnTo>
                <a:lnTo>
                  <a:pt x="137" y="166"/>
                </a:lnTo>
                <a:lnTo>
                  <a:pt x="137" y="166"/>
                </a:lnTo>
                <a:lnTo>
                  <a:pt x="134" y="166"/>
                </a:lnTo>
                <a:lnTo>
                  <a:pt x="128" y="169"/>
                </a:lnTo>
                <a:lnTo>
                  <a:pt x="116" y="178"/>
                </a:lnTo>
                <a:lnTo>
                  <a:pt x="109" y="188"/>
                </a:lnTo>
                <a:lnTo>
                  <a:pt x="103" y="197"/>
                </a:lnTo>
                <a:lnTo>
                  <a:pt x="97" y="200"/>
                </a:lnTo>
                <a:lnTo>
                  <a:pt x="94" y="197"/>
                </a:lnTo>
                <a:lnTo>
                  <a:pt x="91" y="197"/>
                </a:lnTo>
                <a:lnTo>
                  <a:pt x="91" y="194"/>
                </a:lnTo>
                <a:lnTo>
                  <a:pt x="87" y="194"/>
                </a:lnTo>
                <a:lnTo>
                  <a:pt x="87" y="194"/>
                </a:lnTo>
                <a:lnTo>
                  <a:pt x="84" y="194"/>
                </a:lnTo>
                <a:lnTo>
                  <a:pt x="81" y="194"/>
                </a:lnTo>
                <a:lnTo>
                  <a:pt x="78" y="197"/>
                </a:lnTo>
                <a:lnTo>
                  <a:pt x="75" y="197"/>
                </a:lnTo>
                <a:lnTo>
                  <a:pt x="75" y="194"/>
                </a:lnTo>
                <a:lnTo>
                  <a:pt x="72" y="194"/>
                </a:lnTo>
                <a:lnTo>
                  <a:pt x="66" y="194"/>
                </a:lnTo>
                <a:lnTo>
                  <a:pt x="62" y="194"/>
                </a:lnTo>
                <a:lnTo>
                  <a:pt x="59" y="191"/>
                </a:lnTo>
                <a:lnTo>
                  <a:pt x="59" y="188"/>
                </a:lnTo>
                <a:lnTo>
                  <a:pt x="59" y="188"/>
                </a:lnTo>
                <a:lnTo>
                  <a:pt x="56" y="188"/>
                </a:lnTo>
                <a:lnTo>
                  <a:pt x="56" y="188"/>
                </a:lnTo>
                <a:lnTo>
                  <a:pt x="53" y="188"/>
                </a:lnTo>
                <a:lnTo>
                  <a:pt x="53" y="188"/>
                </a:lnTo>
                <a:lnTo>
                  <a:pt x="50" y="188"/>
                </a:lnTo>
                <a:lnTo>
                  <a:pt x="47" y="188"/>
                </a:lnTo>
                <a:lnTo>
                  <a:pt x="28" y="191"/>
                </a:lnTo>
                <a:lnTo>
                  <a:pt x="28" y="188"/>
                </a:lnTo>
                <a:lnTo>
                  <a:pt x="25" y="188"/>
                </a:lnTo>
                <a:lnTo>
                  <a:pt x="22" y="185"/>
                </a:lnTo>
                <a:lnTo>
                  <a:pt x="22" y="182"/>
                </a:lnTo>
                <a:lnTo>
                  <a:pt x="19" y="182"/>
                </a:lnTo>
                <a:lnTo>
                  <a:pt x="16" y="178"/>
                </a:lnTo>
                <a:lnTo>
                  <a:pt x="12" y="175"/>
                </a:lnTo>
                <a:lnTo>
                  <a:pt x="9" y="172"/>
                </a:lnTo>
                <a:lnTo>
                  <a:pt x="6" y="172"/>
                </a:lnTo>
                <a:lnTo>
                  <a:pt x="6" y="169"/>
                </a:lnTo>
                <a:lnTo>
                  <a:pt x="3" y="166"/>
                </a:lnTo>
                <a:lnTo>
                  <a:pt x="0" y="163"/>
                </a:lnTo>
                <a:lnTo>
                  <a:pt x="3" y="97"/>
                </a:lnTo>
                <a:lnTo>
                  <a:pt x="44" y="97"/>
                </a:lnTo>
                <a:lnTo>
                  <a:pt x="44" y="97"/>
                </a:lnTo>
                <a:lnTo>
                  <a:pt x="44" y="91"/>
                </a:lnTo>
                <a:lnTo>
                  <a:pt x="47" y="88"/>
                </a:lnTo>
                <a:lnTo>
                  <a:pt x="47" y="85"/>
                </a:lnTo>
                <a:lnTo>
                  <a:pt x="44" y="81"/>
                </a:lnTo>
                <a:lnTo>
                  <a:pt x="44" y="78"/>
                </a:lnTo>
                <a:lnTo>
                  <a:pt x="44" y="69"/>
                </a:lnTo>
                <a:lnTo>
                  <a:pt x="44" y="63"/>
                </a:lnTo>
                <a:lnTo>
                  <a:pt x="44" y="60"/>
                </a:lnTo>
                <a:lnTo>
                  <a:pt x="44" y="60"/>
                </a:lnTo>
                <a:lnTo>
                  <a:pt x="44" y="6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8" name="Freeform 146">
            <a:extLst>
              <a:ext uri="{FF2B5EF4-FFF2-40B4-BE49-F238E27FC236}">
                <a16:creationId xmlns:a16="http://schemas.microsoft.com/office/drawing/2014/main" id="{D6EDE0DC-D76E-6D14-0EC8-E7C3BF75322C}"/>
              </a:ext>
            </a:extLst>
          </p:cNvPr>
          <p:cNvSpPr>
            <a:spLocks/>
          </p:cNvSpPr>
          <p:nvPr userDrawn="1"/>
        </p:nvSpPr>
        <p:spPr bwMode="auto">
          <a:xfrm>
            <a:off x="13873848" y="9752883"/>
            <a:ext cx="784175" cy="774702"/>
          </a:xfrm>
          <a:custGeom>
            <a:avLst/>
            <a:gdLst>
              <a:gd name="T0" fmla="*/ 222 w 247"/>
              <a:gd name="T1" fmla="*/ 229 h 244"/>
              <a:gd name="T2" fmla="*/ 212 w 247"/>
              <a:gd name="T3" fmla="*/ 219 h 244"/>
              <a:gd name="T4" fmla="*/ 203 w 247"/>
              <a:gd name="T5" fmla="*/ 210 h 244"/>
              <a:gd name="T6" fmla="*/ 244 w 247"/>
              <a:gd name="T7" fmla="*/ 141 h 244"/>
              <a:gd name="T8" fmla="*/ 244 w 247"/>
              <a:gd name="T9" fmla="*/ 125 h 244"/>
              <a:gd name="T10" fmla="*/ 244 w 247"/>
              <a:gd name="T11" fmla="*/ 104 h 244"/>
              <a:gd name="T12" fmla="*/ 237 w 247"/>
              <a:gd name="T13" fmla="*/ 104 h 244"/>
              <a:gd name="T14" fmla="*/ 228 w 247"/>
              <a:gd name="T15" fmla="*/ 107 h 244"/>
              <a:gd name="T16" fmla="*/ 216 w 247"/>
              <a:gd name="T17" fmla="*/ 104 h 244"/>
              <a:gd name="T18" fmla="*/ 209 w 247"/>
              <a:gd name="T19" fmla="*/ 107 h 244"/>
              <a:gd name="T20" fmla="*/ 209 w 247"/>
              <a:gd name="T21" fmla="*/ 97 h 244"/>
              <a:gd name="T22" fmla="*/ 209 w 247"/>
              <a:gd name="T23" fmla="*/ 88 h 244"/>
              <a:gd name="T24" fmla="*/ 209 w 247"/>
              <a:gd name="T25" fmla="*/ 79 h 244"/>
              <a:gd name="T26" fmla="*/ 203 w 247"/>
              <a:gd name="T27" fmla="*/ 72 h 244"/>
              <a:gd name="T28" fmla="*/ 200 w 247"/>
              <a:gd name="T29" fmla="*/ 66 h 244"/>
              <a:gd name="T30" fmla="*/ 200 w 247"/>
              <a:gd name="T31" fmla="*/ 50 h 244"/>
              <a:gd name="T32" fmla="*/ 200 w 247"/>
              <a:gd name="T33" fmla="*/ 41 h 244"/>
              <a:gd name="T34" fmla="*/ 203 w 247"/>
              <a:gd name="T35" fmla="*/ 28 h 244"/>
              <a:gd name="T36" fmla="*/ 181 w 247"/>
              <a:gd name="T37" fmla="*/ 19 h 244"/>
              <a:gd name="T38" fmla="*/ 153 w 247"/>
              <a:gd name="T39" fmla="*/ 28 h 244"/>
              <a:gd name="T40" fmla="*/ 153 w 247"/>
              <a:gd name="T41" fmla="*/ 41 h 244"/>
              <a:gd name="T42" fmla="*/ 125 w 247"/>
              <a:gd name="T43" fmla="*/ 41 h 244"/>
              <a:gd name="T44" fmla="*/ 112 w 247"/>
              <a:gd name="T45" fmla="*/ 35 h 244"/>
              <a:gd name="T46" fmla="*/ 106 w 247"/>
              <a:gd name="T47" fmla="*/ 25 h 244"/>
              <a:gd name="T48" fmla="*/ 103 w 247"/>
              <a:gd name="T49" fmla="*/ 13 h 244"/>
              <a:gd name="T50" fmla="*/ 103 w 247"/>
              <a:gd name="T51" fmla="*/ 3 h 244"/>
              <a:gd name="T52" fmla="*/ 69 w 247"/>
              <a:gd name="T53" fmla="*/ 0 h 244"/>
              <a:gd name="T54" fmla="*/ 47 w 247"/>
              <a:gd name="T55" fmla="*/ 0 h 244"/>
              <a:gd name="T56" fmla="*/ 31 w 247"/>
              <a:gd name="T57" fmla="*/ 0 h 244"/>
              <a:gd name="T58" fmla="*/ 22 w 247"/>
              <a:gd name="T59" fmla="*/ 3 h 244"/>
              <a:gd name="T60" fmla="*/ 16 w 247"/>
              <a:gd name="T61" fmla="*/ 7 h 244"/>
              <a:gd name="T62" fmla="*/ 28 w 247"/>
              <a:gd name="T63" fmla="*/ 38 h 244"/>
              <a:gd name="T64" fmla="*/ 31 w 247"/>
              <a:gd name="T65" fmla="*/ 66 h 244"/>
              <a:gd name="T66" fmla="*/ 41 w 247"/>
              <a:gd name="T67" fmla="*/ 94 h 244"/>
              <a:gd name="T68" fmla="*/ 37 w 247"/>
              <a:gd name="T69" fmla="*/ 132 h 244"/>
              <a:gd name="T70" fmla="*/ 16 w 247"/>
              <a:gd name="T71" fmla="*/ 154 h 244"/>
              <a:gd name="T72" fmla="*/ 6 w 247"/>
              <a:gd name="T73" fmla="*/ 182 h 244"/>
              <a:gd name="T74" fmla="*/ 0 w 247"/>
              <a:gd name="T75" fmla="*/ 210 h 244"/>
              <a:gd name="T76" fmla="*/ 0 w 247"/>
              <a:gd name="T77" fmla="*/ 229 h 244"/>
              <a:gd name="T78" fmla="*/ 6 w 247"/>
              <a:gd name="T79" fmla="*/ 226 h 244"/>
              <a:gd name="T80" fmla="*/ 16 w 247"/>
              <a:gd name="T81" fmla="*/ 226 h 244"/>
              <a:gd name="T82" fmla="*/ 28 w 247"/>
              <a:gd name="T83" fmla="*/ 222 h 244"/>
              <a:gd name="T84" fmla="*/ 34 w 247"/>
              <a:gd name="T85" fmla="*/ 222 h 244"/>
              <a:gd name="T86" fmla="*/ 37 w 247"/>
              <a:gd name="T87" fmla="*/ 226 h 244"/>
              <a:gd name="T88" fmla="*/ 50 w 247"/>
              <a:gd name="T89" fmla="*/ 229 h 244"/>
              <a:gd name="T90" fmla="*/ 131 w 247"/>
              <a:gd name="T91" fmla="*/ 229 h 244"/>
              <a:gd name="T92" fmla="*/ 137 w 247"/>
              <a:gd name="T93" fmla="*/ 238 h 244"/>
              <a:gd name="T94" fmla="*/ 147 w 247"/>
              <a:gd name="T95" fmla="*/ 238 h 244"/>
              <a:gd name="T96" fmla="*/ 162 w 247"/>
              <a:gd name="T97" fmla="*/ 238 h 244"/>
              <a:gd name="T98" fmla="*/ 169 w 247"/>
              <a:gd name="T99" fmla="*/ 238 h 244"/>
              <a:gd name="T100" fmla="*/ 181 w 247"/>
              <a:gd name="T101" fmla="*/ 241 h 244"/>
              <a:gd name="T102" fmla="*/ 187 w 247"/>
              <a:gd name="T103" fmla="*/ 241 h 244"/>
              <a:gd name="T104" fmla="*/ 194 w 247"/>
              <a:gd name="T105" fmla="*/ 244 h 244"/>
              <a:gd name="T106" fmla="*/ 228 w 247"/>
              <a:gd name="T107" fmla="*/ 23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7" h="244">
                <a:moveTo>
                  <a:pt x="228" y="235"/>
                </a:moveTo>
                <a:lnTo>
                  <a:pt x="228" y="232"/>
                </a:lnTo>
                <a:lnTo>
                  <a:pt x="225" y="232"/>
                </a:lnTo>
                <a:lnTo>
                  <a:pt x="222" y="229"/>
                </a:lnTo>
                <a:lnTo>
                  <a:pt x="222" y="226"/>
                </a:lnTo>
                <a:lnTo>
                  <a:pt x="219" y="226"/>
                </a:lnTo>
                <a:lnTo>
                  <a:pt x="216" y="222"/>
                </a:lnTo>
                <a:lnTo>
                  <a:pt x="212" y="219"/>
                </a:lnTo>
                <a:lnTo>
                  <a:pt x="209" y="216"/>
                </a:lnTo>
                <a:lnTo>
                  <a:pt x="206" y="216"/>
                </a:lnTo>
                <a:lnTo>
                  <a:pt x="206" y="213"/>
                </a:lnTo>
                <a:lnTo>
                  <a:pt x="203" y="210"/>
                </a:lnTo>
                <a:lnTo>
                  <a:pt x="200" y="207"/>
                </a:lnTo>
                <a:lnTo>
                  <a:pt x="203" y="141"/>
                </a:lnTo>
                <a:lnTo>
                  <a:pt x="244" y="141"/>
                </a:lnTo>
                <a:lnTo>
                  <a:pt x="244" y="141"/>
                </a:lnTo>
                <a:lnTo>
                  <a:pt x="244" y="135"/>
                </a:lnTo>
                <a:lnTo>
                  <a:pt x="247" y="132"/>
                </a:lnTo>
                <a:lnTo>
                  <a:pt x="247" y="129"/>
                </a:lnTo>
                <a:lnTo>
                  <a:pt x="244" y="125"/>
                </a:lnTo>
                <a:lnTo>
                  <a:pt x="244" y="122"/>
                </a:lnTo>
                <a:lnTo>
                  <a:pt x="244" y="113"/>
                </a:lnTo>
                <a:lnTo>
                  <a:pt x="244" y="107"/>
                </a:lnTo>
                <a:lnTo>
                  <a:pt x="244" y="104"/>
                </a:lnTo>
                <a:lnTo>
                  <a:pt x="244" y="104"/>
                </a:lnTo>
                <a:lnTo>
                  <a:pt x="244" y="104"/>
                </a:lnTo>
                <a:lnTo>
                  <a:pt x="241" y="104"/>
                </a:lnTo>
                <a:lnTo>
                  <a:pt x="237" y="104"/>
                </a:lnTo>
                <a:lnTo>
                  <a:pt x="234" y="107"/>
                </a:lnTo>
                <a:lnTo>
                  <a:pt x="231" y="107"/>
                </a:lnTo>
                <a:lnTo>
                  <a:pt x="231" y="107"/>
                </a:lnTo>
                <a:lnTo>
                  <a:pt x="228" y="107"/>
                </a:lnTo>
                <a:lnTo>
                  <a:pt x="222" y="107"/>
                </a:lnTo>
                <a:lnTo>
                  <a:pt x="222" y="107"/>
                </a:lnTo>
                <a:lnTo>
                  <a:pt x="219" y="104"/>
                </a:lnTo>
                <a:lnTo>
                  <a:pt x="216" y="104"/>
                </a:lnTo>
                <a:lnTo>
                  <a:pt x="216" y="104"/>
                </a:lnTo>
                <a:lnTo>
                  <a:pt x="212" y="104"/>
                </a:lnTo>
                <a:lnTo>
                  <a:pt x="212" y="107"/>
                </a:lnTo>
                <a:lnTo>
                  <a:pt x="209" y="107"/>
                </a:lnTo>
                <a:lnTo>
                  <a:pt x="209" y="104"/>
                </a:lnTo>
                <a:lnTo>
                  <a:pt x="209" y="100"/>
                </a:lnTo>
                <a:lnTo>
                  <a:pt x="209" y="100"/>
                </a:lnTo>
                <a:lnTo>
                  <a:pt x="209" y="97"/>
                </a:lnTo>
                <a:lnTo>
                  <a:pt x="212" y="97"/>
                </a:lnTo>
                <a:lnTo>
                  <a:pt x="209" y="94"/>
                </a:lnTo>
                <a:lnTo>
                  <a:pt x="209" y="91"/>
                </a:lnTo>
                <a:lnTo>
                  <a:pt x="209" y="88"/>
                </a:lnTo>
                <a:lnTo>
                  <a:pt x="209" y="88"/>
                </a:lnTo>
                <a:lnTo>
                  <a:pt x="206" y="85"/>
                </a:lnTo>
                <a:lnTo>
                  <a:pt x="206" y="82"/>
                </a:lnTo>
                <a:lnTo>
                  <a:pt x="209" y="79"/>
                </a:lnTo>
                <a:lnTo>
                  <a:pt x="206" y="79"/>
                </a:lnTo>
                <a:lnTo>
                  <a:pt x="206" y="75"/>
                </a:lnTo>
                <a:lnTo>
                  <a:pt x="206" y="75"/>
                </a:lnTo>
                <a:lnTo>
                  <a:pt x="203" y="72"/>
                </a:lnTo>
                <a:lnTo>
                  <a:pt x="203" y="72"/>
                </a:lnTo>
                <a:lnTo>
                  <a:pt x="203" y="69"/>
                </a:lnTo>
                <a:lnTo>
                  <a:pt x="203" y="66"/>
                </a:lnTo>
                <a:lnTo>
                  <a:pt x="200" y="66"/>
                </a:lnTo>
                <a:lnTo>
                  <a:pt x="203" y="63"/>
                </a:lnTo>
                <a:lnTo>
                  <a:pt x="203" y="53"/>
                </a:lnTo>
                <a:lnTo>
                  <a:pt x="200" y="50"/>
                </a:lnTo>
                <a:lnTo>
                  <a:pt x="200" y="50"/>
                </a:lnTo>
                <a:lnTo>
                  <a:pt x="203" y="50"/>
                </a:lnTo>
                <a:lnTo>
                  <a:pt x="203" y="47"/>
                </a:lnTo>
                <a:lnTo>
                  <a:pt x="200" y="44"/>
                </a:lnTo>
                <a:lnTo>
                  <a:pt x="200" y="41"/>
                </a:lnTo>
                <a:lnTo>
                  <a:pt x="203" y="38"/>
                </a:lnTo>
                <a:lnTo>
                  <a:pt x="203" y="35"/>
                </a:lnTo>
                <a:lnTo>
                  <a:pt x="203" y="32"/>
                </a:lnTo>
                <a:lnTo>
                  <a:pt x="203" y="28"/>
                </a:lnTo>
                <a:lnTo>
                  <a:pt x="178" y="25"/>
                </a:lnTo>
                <a:lnTo>
                  <a:pt x="178" y="25"/>
                </a:lnTo>
                <a:lnTo>
                  <a:pt x="181" y="22"/>
                </a:lnTo>
                <a:lnTo>
                  <a:pt x="181" y="19"/>
                </a:lnTo>
                <a:lnTo>
                  <a:pt x="175" y="19"/>
                </a:lnTo>
                <a:lnTo>
                  <a:pt x="175" y="22"/>
                </a:lnTo>
                <a:lnTo>
                  <a:pt x="156" y="22"/>
                </a:lnTo>
                <a:lnTo>
                  <a:pt x="153" y="28"/>
                </a:lnTo>
                <a:lnTo>
                  <a:pt x="153" y="32"/>
                </a:lnTo>
                <a:lnTo>
                  <a:pt x="150" y="32"/>
                </a:lnTo>
                <a:lnTo>
                  <a:pt x="153" y="35"/>
                </a:lnTo>
                <a:lnTo>
                  <a:pt x="153" y="41"/>
                </a:lnTo>
                <a:lnTo>
                  <a:pt x="137" y="41"/>
                </a:lnTo>
                <a:lnTo>
                  <a:pt x="134" y="44"/>
                </a:lnTo>
                <a:lnTo>
                  <a:pt x="128" y="44"/>
                </a:lnTo>
                <a:lnTo>
                  <a:pt x="125" y="41"/>
                </a:lnTo>
                <a:lnTo>
                  <a:pt x="122" y="44"/>
                </a:lnTo>
                <a:lnTo>
                  <a:pt x="116" y="44"/>
                </a:lnTo>
                <a:lnTo>
                  <a:pt x="116" y="41"/>
                </a:lnTo>
                <a:lnTo>
                  <a:pt x="112" y="35"/>
                </a:lnTo>
                <a:lnTo>
                  <a:pt x="112" y="32"/>
                </a:lnTo>
                <a:lnTo>
                  <a:pt x="109" y="28"/>
                </a:lnTo>
                <a:lnTo>
                  <a:pt x="106" y="28"/>
                </a:lnTo>
                <a:lnTo>
                  <a:pt x="106" y="25"/>
                </a:lnTo>
                <a:lnTo>
                  <a:pt x="106" y="22"/>
                </a:lnTo>
                <a:lnTo>
                  <a:pt x="106" y="19"/>
                </a:lnTo>
                <a:lnTo>
                  <a:pt x="103" y="16"/>
                </a:lnTo>
                <a:lnTo>
                  <a:pt x="103" y="13"/>
                </a:lnTo>
                <a:lnTo>
                  <a:pt x="106" y="10"/>
                </a:lnTo>
                <a:lnTo>
                  <a:pt x="103" y="7"/>
                </a:lnTo>
                <a:lnTo>
                  <a:pt x="103" y="7"/>
                </a:lnTo>
                <a:lnTo>
                  <a:pt x="103" y="3"/>
                </a:lnTo>
                <a:lnTo>
                  <a:pt x="103" y="3"/>
                </a:lnTo>
                <a:lnTo>
                  <a:pt x="103" y="0"/>
                </a:lnTo>
                <a:lnTo>
                  <a:pt x="81" y="0"/>
                </a:lnTo>
                <a:lnTo>
                  <a:pt x="69" y="0"/>
                </a:lnTo>
                <a:lnTo>
                  <a:pt x="62" y="0"/>
                </a:lnTo>
                <a:lnTo>
                  <a:pt x="56" y="0"/>
                </a:lnTo>
                <a:lnTo>
                  <a:pt x="53" y="0"/>
                </a:lnTo>
                <a:lnTo>
                  <a:pt x="47" y="0"/>
                </a:lnTo>
                <a:lnTo>
                  <a:pt x="41" y="0"/>
                </a:lnTo>
                <a:lnTo>
                  <a:pt x="37" y="0"/>
                </a:lnTo>
                <a:lnTo>
                  <a:pt x="34" y="0"/>
                </a:lnTo>
                <a:lnTo>
                  <a:pt x="31" y="0"/>
                </a:lnTo>
                <a:lnTo>
                  <a:pt x="28" y="0"/>
                </a:lnTo>
                <a:lnTo>
                  <a:pt x="25" y="0"/>
                </a:lnTo>
                <a:lnTo>
                  <a:pt x="25" y="3"/>
                </a:lnTo>
                <a:lnTo>
                  <a:pt x="22" y="3"/>
                </a:lnTo>
                <a:lnTo>
                  <a:pt x="22" y="3"/>
                </a:lnTo>
                <a:lnTo>
                  <a:pt x="22" y="3"/>
                </a:lnTo>
                <a:lnTo>
                  <a:pt x="22" y="3"/>
                </a:lnTo>
                <a:lnTo>
                  <a:pt x="16" y="7"/>
                </a:lnTo>
                <a:lnTo>
                  <a:pt x="19" y="10"/>
                </a:lnTo>
                <a:lnTo>
                  <a:pt x="19" y="13"/>
                </a:lnTo>
                <a:lnTo>
                  <a:pt x="28" y="22"/>
                </a:lnTo>
                <a:lnTo>
                  <a:pt x="28" y="38"/>
                </a:lnTo>
                <a:lnTo>
                  <a:pt x="34" y="47"/>
                </a:lnTo>
                <a:lnTo>
                  <a:pt x="34" y="57"/>
                </a:lnTo>
                <a:lnTo>
                  <a:pt x="28" y="63"/>
                </a:lnTo>
                <a:lnTo>
                  <a:pt x="31" y="66"/>
                </a:lnTo>
                <a:lnTo>
                  <a:pt x="31" y="72"/>
                </a:lnTo>
                <a:lnTo>
                  <a:pt x="34" y="75"/>
                </a:lnTo>
                <a:lnTo>
                  <a:pt x="34" y="82"/>
                </a:lnTo>
                <a:lnTo>
                  <a:pt x="41" y="94"/>
                </a:lnTo>
                <a:lnTo>
                  <a:pt x="41" y="97"/>
                </a:lnTo>
                <a:lnTo>
                  <a:pt x="44" y="100"/>
                </a:lnTo>
                <a:lnTo>
                  <a:pt x="44" y="116"/>
                </a:lnTo>
                <a:lnTo>
                  <a:pt x="37" y="132"/>
                </a:lnTo>
                <a:lnTo>
                  <a:pt x="34" y="132"/>
                </a:lnTo>
                <a:lnTo>
                  <a:pt x="25" y="138"/>
                </a:lnTo>
                <a:lnTo>
                  <a:pt x="25" y="144"/>
                </a:lnTo>
                <a:lnTo>
                  <a:pt x="16" y="154"/>
                </a:lnTo>
                <a:lnTo>
                  <a:pt x="12" y="160"/>
                </a:lnTo>
                <a:lnTo>
                  <a:pt x="12" y="160"/>
                </a:lnTo>
                <a:lnTo>
                  <a:pt x="12" y="175"/>
                </a:lnTo>
                <a:lnTo>
                  <a:pt x="6" y="182"/>
                </a:lnTo>
                <a:lnTo>
                  <a:pt x="6" y="191"/>
                </a:lnTo>
                <a:lnTo>
                  <a:pt x="0" y="197"/>
                </a:lnTo>
                <a:lnTo>
                  <a:pt x="0" y="204"/>
                </a:lnTo>
                <a:lnTo>
                  <a:pt x="0" y="210"/>
                </a:lnTo>
                <a:lnTo>
                  <a:pt x="0" y="219"/>
                </a:lnTo>
                <a:lnTo>
                  <a:pt x="0" y="226"/>
                </a:lnTo>
                <a:lnTo>
                  <a:pt x="0" y="229"/>
                </a:lnTo>
                <a:lnTo>
                  <a:pt x="0" y="229"/>
                </a:lnTo>
                <a:lnTo>
                  <a:pt x="3" y="229"/>
                </a:lnTo>
                <a:lnTo>
                  <a:pt x="3" y="229"/>
                </a:lnTo>
                <a:lnTo>
                  <a:pt x="6" y="229"/>
                </a:lnTo>
                <a:lnTo>
                  <a:pt x="6" y="226"/>
                </a:lnTo>
                <a:lnTo>
                  <a:pt x="6" y="226"/>
                </a:lnTo>
                <a:lnTo>
                  <a:pt x="12" y="226"/>
                </a:lnTo>
                <a:lnTo>
                  <a:pt x="16" y="229"/>
                </a:lnTo>
                <a:lnTo>
                  <a:pt x="16" y="226"/>
                </a:lnTo>
                <a:lnTo>
                  <a:pt x="16" y="226"/>
                </a:lnTo>
                <a:lnTo>
                  <a:pt x="22" y="219"/>
                </a:lnTo>
                <a:lnTo>
                  <a:pt x="25" y="219"/>
                </a:lnTo>
                <a:lnTo>
                  <a:pt x="28" y="222"/>
                </a:lnTo>
                <a:lnTo>
                  <a:pt x="28" y="222"/>
                </a:lnTo>
                <a:lnTo>
                  <a:pt x="31" y="222"/>
                </a:lnTo>
                <a:lnTo>
                  <a:pt x="31" y="219"/>
                </a:lnTo>
                <a:lnTo>
                  <a:pt x="34" y="222"/>
                </a:lnTo>
                <a:lnTo>
                  <a:pt x="34" y="222"/>
                </a:lnTo>
                <a:lnTo>
                  <a:pt x="37" y="222"/>
                </a:lnTo>
                <a:lnTo>
                  <a:pt x="37" y="226"/>
                </a:lnTo>
                <a:lnTo>
                  <a:pt x="37" y="226"/>
                </a:lnTo>
                <a:lnTo>
                  <a:pt x="41" y="229"/>
                </a:lnTo>
                <a:lnTo>
                  <a:pt x="47" y="232"/>
                </a:lnTo>
                <a:lnTo>
                  <a:pt x="50" y="229"/>
                </a:lnTo>
                <a:lnTo>
                  <a:pt x="50" y="229"/>
                </a:lnTo>
                <a:lnTo>
                  <a:pt x="53" y="229"/>
                </a:lnTo>
                <a:lnTo>
                  <a:pt x="56" y="229"/>
                </a:lnTo>
                <a:lnTo>
                  <a:pt x="56" y="229"/>
                </a:lnTo>
                <a:lnTo>
                  <a:pt x="131" y="229"/>
                </a:lnTo>
                <a:lnTo>
                  <a:pt x="131" y="229"/>
                </a:lnTo>
                <a:lnTo>
                  <a:pt x="134" y="235"/>
                </a:lnTo>
                <a:lnTo>
                  <a:pt x="134" y="235"/>
                </a:lnTo>
                <a:lnTo>
                  <a:pt x="137" y="238"/>
                </a:lnTo>
                <a:lnTo>
                  <a:pt x="144" y="238"/>
                </a:lnTo>
                <a:lnTo>
                  <a:pt x="147" y="238"/>
                </a:lnTo>
                <a:lnTo>
                  <a:pt x="147" y="238"/>
                </a:lnTo>
                <a:lnTo>
                  <a:pt x="147" y="238"/>
                </a:lnTo>
                <a:lnTo>
                  <a:pt x="150" y="241"/>
                </a:lnTo>
                <a:lnTo>
                  <a:pt x="153" y="238"/>
                </a:lnTo>
                <a:lnTo>
                  <a:pt x="156" y="238"/>
                </a:lnTo>
                <a:lnTo>
                  <a:pt x="162" y="238"/>
                </a:lnTo>
                <a:lnTo>
                  <a:pt x="166" y="238"/>
                </a:lnTo>
                <a:lnTo>
                  <a:pt x="166" y="235"/>
                </a:lnTo>
                <a:lnTo>
                  <a:pt x="166" y="238"/>
                </a:lnTo>
                <a:lnTo>
                  <a:pt x="169" y="238"/>
                </a:lnTo>
                <a:lnTo>
                  <a:pt x="172" y="241"/>
                </a:lnTo>
                <a:lnTo>
                  <a:pt x="175" y="241"/>
                </a:lnTo>
                <a:lnTo>
                  <a:pt x="181" y="241"/>
                </a:lnTo>
                <a:lnTo>
                  <a:pt x="181" y="241"/>
                </a:lnTo>
                <a:lnTo>
                  <a:pt x="181" y="241"/>
                </a:lnTo>
                <a:lnTo>
                  <a:pt x="184" y="241"/>
                </a:lnTo>
                <a:lnTo>
                  <a:pt x="187" y="241"/>
                </a:lnTo>
                <a:lnTo>
                  <a:pt x="187" y="241"/>
                </a:lnTo>
                <a:lnTo>
                  <a:pt x="191" y="241"/>
                </a:lnTo>
                <a:lnTo>
                  <a:pt x="191" y="241"/>
                </a:lnTo>
                <a:lnTo>
                  <a:pt x="191" y="241"/>
                </a:lnTo>
                <a:lnTo>
                  <a:pt x="194" y="244"/>
                </a:lnTo>
                <a:lnTo>
                  <a:pt x="194" y="244"/>
                </a:lnTo>
                <a:lnTo>
                  <a:pt x="197" y="244"/>
                </a:lnTo>
                <a:lnTo>
                  <a:pt x="197" y="244"/>
                </a:lnTo>
                <a:lnTo>
                  <a:pt x="228" y="235"/>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49" name="Freeform 147">
            <a:extLst>
              <a:ext uri="{FF2B5EF4-FFF2-40B4-BE49-F238E27FC236}">
                <a16:creationId xmlns:a16="http://schemas.microsoft.com/office/drawing/2014/main" id="{ACD36C35-7F4E-848C-D6E7-B5F419B9C54A}"/>
              </a:ext>
            </a:extLst>
          </p:cNvPr>
          <p:cNvSpPr>
            <a:spLocks/>
          </p:cNvSpPr>
          <p:nvPr userDrawn="1"/>
        </p:nvSpPr>
        <p:spPr bwMode="auto">
          <a:xfrm>
            <a:off x="14705642" y="10368833"/>
            <a:ext cx="498446" cy="447678"/>
          </a:xfrm>
          <a:custGeom>
            <a:avLst/>
            <a:gdLst>
              <a:gd name="T0" fmla="*/ 10 w 157"/>
              <a:gd name="T1" fmla="*/ 44 h 141"/>
              <a:gd name="T2" fmla="*/ 16 w 157"/>
              <a:gd name="T3" fmla="*/ 47 h 141"/>
              <a:gd name="T4" fmla="*/ 25 w 157"/>
              <a:gd name="T5" fmla="*/ 44 h 141"/>
              <a:gd name="T6" fmla="*/ 29 w 157"/>
              <a:gd name="T7" fmla="*/ 47 h 141"/>
              <a:gd name="T8" fmla="*/ 41 w 157"/>
              <a:gd name="T9" fmla="*/ 47 h 141"/>
              <a:gd name="T10" fmla="*/ 66 w 157"/>
              <a:gd name="T11" fmla="*/ 19 h 141"/>
              <a:gd name="T12" fmla="*/ 75 w 157"/>
              <a:gd name="T13" fmla="*/ 16 h 141"/>
              <a:gd name="T14" fmla="*/ 75 w 157"/>
              <a:gd name="T15" fmla="*/ 10 h 141"/>
              <a:gd name="T16" fmla="*/ 85 w 157"/>
              <a:gd name="T17" fmla="*/ 3 h 141"/>
              <a:gd name="T18" fmla="*/ 97 w 157"/>
              <a:gd name="T19" fmla="*/ 0 h 141"/>
              <a:gd name="T20" fmla="*/ 104 w 157"/>
              <a:gd name="T21" fmla="*/ 0 h 141"/>
              <a:gd name="T22" fmla="*/ 107 w 157"/>
              <a:gd name="T23" fmla="*/ 7 h 141"/>
              <a:gd name="T24" fmla="*/ 119 w 157"/>
              <a:gd name="T25" fmla="*/ 10 h 141"/>
              <a:gd name="T26" fmla="*/ 125 w 157"/>
              <a:gd name="T27" fmla="*/ 10 h 141"/>
              <a:gd name="T28" fmla="*/ 138 w 157"/>
              <a:gd name="T29" fmla="*/ 19 h 141"/>
              <a:gd name="T30" fmla="*/ 150 w 157"/>
              <a:gd name="T31" fmla="*/ 22 h 141"/>
              <a:gd name="T32" fmla="*/ 154 w 157"/>
              <a:gd name="T33" fmla="*/ 32 h 141"/>
              <a:gd name="T34" fmla="*/ 154 w 157"/>
              <a:gd name="T35" fmla="*/ 38 h 141"/>
              <a:gd name="T36" fmla="*/ 154 w 157"/>
              <a:gd name="T37" fmla="*/ 50 h 141"/>
              <a:gd name="T38" fmla="*/ 154 w 157"/>
              <a:gd name="T39" fmla="*/ 53 h 141"/>
              <a:gd name="T40" fmla="*/ 150 w 157"/>
              <a:gd name="T41" fmla="*/ 63 h 141"/>
              <a:gd name="T42" fmla="*/ 147 w 157"/>
              <a:gd name="T43" fmla="*/ 69 h 141"/>
              <a:gd name="T44" fmla="*/ 150 w 157"/>
              <a:gd name="T45" fmla="*/ 78 h 141"/>
              <a:gd name="T46" fmla="*/ 154 w 157"/>
              <a:gd name="T47" fmla="*/ 85 h 141"/>
              <a:gd name="T48" fmla="*/ 144 w 157"/>
              <a:gd name="T49" fmla="*/ 94 h 141"/>
              <a:gd name="T50" fmla="*/ 144 w 157"/>
              <a:gd name="T51" fmla="*/ 100 h 141"/>
              <a:gd name="T52" fmla="*/ 141 w 157"/>
              <a:gd name="T53" fmla="*/ 113 h 141"/>
              <a:gd name="T54" fmla="*/ 116 w 157"/>
              <a:gd name="T55" fmla="*/ 138 h 141"/>
              <a:gd name="T56" fmla="*/ 100 w 157"/>
              <a:gd name="T57" fmla="*/ 138 h 141"/>
              <a:gd name="T58" fmla="*/ 91 w 157"/>
              <a:gd name="T59" fmla="*/ 135 h 141"/>
              <a:gd name="T60" fmla="*/ 79 w 157"/>
              <a:gd name="T61" fmla="*/ 132 h 141"/>
              <a:gd name="T62" fmla="*/ 75 w 157"/>
              <a:gd name="T63" fmla="*/ 125 h 141"/>
              <a:gd name="T64" fmla="*/ 69 w 157"/>
              <a:gd name="T65" fmla="*/ 122 h 141"/>
              <a:gd name="T66" fmla="*/ 60 w 157"/>
              <a:gd name="T67" fmla="*/ 122 h 141"/>
              <a:gd name="T68" fmla="*/ 47 w 157"/>
              <a:gd name="T69" fmla="*/ 113 h 141"/>
              <a:gd name="T70" fmla="*/ 47 w 157"/>
              <a:gd name="T71" fmla="*/ 103 h 141"/>
              <a:gd name="T72" fmla="*/ 41 w 157"/>
              <a:gd name="T73" fmla="*/ 97 h 141"/>
              <a:gd name="T74" fmla="*/ 41 w 157"/>
              <a:gd name="T75" fmla="*/ 94 h 141"/>
              <a:gd name="T76" fmla="*/ 32 w 157"/>
              <a:gd name="T77" fmla="*/ 88 h 141"/>
              <a:gd name="T78" fmla="*/ 22 w 157"/>
              <a:gd name="T79" fmla="*/ 72 h 141"/>
              <a:gd name="T80" fmla="*/ 16 w 157"/>
              <a:gd name="T81" fmla="*/ 69 h 141"/>
              <a:gd name="T82" fmla="*/ 13 w 157"/>
              <a:gd name="T83" fmla="*/ 60 h 141"/>
              <a:gd name="T84" fmla="*/ 10 w 157"/>
              <a:gd name="T85" fmla="*/ 57 h 141"/>
              <a:gd name="T86" fmla="*/ 4 w 157"/>
              <a:gd name="T87" fmla="*/ 50 h 141"/>
              <a:gd name="T88" fmla="*/ 4 w 157"/>
              <a:gd name="T89" fmla="*/ 44 h 141"/>
              <a:gd name="T90" fmla="*/ 0 w 157"/>
              <a:gd name="T91" fmla="*/ 4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7" h="141">
                <a:moveTo>
                  <a:pt x="0" y="44"/>
                </a:moveTo>
                <a:lnTo>
                  <a:pt x="4" y="44"/>
                </a:lnTo>
                <a:lnTo>
                  <a:pt x="10" y="44"/>
                </a:lnTo>
                <a:lnTo>
                  <a:pt x="13" y="44"/>
                </a:lnTo>
                <a:lnTo>
                  <a:pt x="13" y="47"/>
                </a:lnTo>
                <a:lnTo>
                  <a:pt x="16" y="47"/>
                </a:lnTo>
                <a:lnTo>
                  <a:pt x="19" y="44"/>
                </a:lnTo>
                <a:lnTo>
                  <a:pt x="22" y="44"/>
                </a:lnTo>
                <a:lnTo>
                  <a:pt x="25" y="44"/>
                </a:lnTo>
                <a:lnTo>
                  <a:pt x="25" y="44"/>
                </a:lnTo>
                <a:lnTo>
                  <a:pt x="29" y="44"/>
                </a:lnTo>
                <a:lnTo>
                  <a:pt x="29" y="47"/>
                </a:lnTo>
                <a:lnTo>
                  <a:pt x="32" y="47"/>
                </a:lnTo>
                <a:lnTo>
                  <a:pt x="35" y="50"/>
                </a:lnTo>
                <a:lnTo>
                  <a:pt x="41" y="47"/>
                </a:lnTo>
                <a:lnTo>
                  <a:pt x="47" y="38"/>
                </a:lnTo>
                <a:lnTo>
                  <a:pt x="54" y="28"/>
                </a:lnTo>
                <a:lnTo>
                  <a:pt x="66" y="19"/>
                </a:lnTo>
                <a:lnTo>
                  <a:pt x="72" y="16"/>
                </a:lnTo>
                <a:lnTo>
                  <a:pt x="75" y="16"/>
                </a:lnTo>
                <a:lnTo>
                  <a:pt x="75" y="16"/>
                </a:lnTo>
                <a:lnTo>
                  <a:pt x="75" y="13"/>
                </a:lnTo>
                <a:lnTo>
                  <a:pt x="75" y="10"/>
                </a:lnTo>
                <a:lnTo>
                  <a:pt x="75" y="10"/>
                </a:lnTo>
                <a:lnTo>
                  <a:pt x="75" y="7"/>
                </a:lnTo>
                <a:lnTo>
                  <a:pt x="82" y="3"/>
                </a:lnTo>
                <a:lnTo>
                  <a:pt x="85" y="3"/>
                </a:lnTo>
                <a:lnTo>
                  <a:pt x="88" y="0"/>
                </a:lnTo>
                <a:lnTo>
                  <a:pt x="91" y="0"/>
                </a:lnTo>
                <a:lnTo>
                  <a:pt x="97" y="0"/>
                </a:lnTo>
                <a:lnTo>
                  <a:pt x="97" y="0"/>
                </a:lnTo>
                <a:lnTo>
                  <a:pt x="100" y="0"/>
                </a:lnTo>
                <a:lnTo>
                  <a:pt x="104" y="0"/>
                </a:lnTo>
                <a:lnTo>
                  <a:pt x="107" y="0"/>
                </a:lnTo>
                <a:lnTo>
                  <a:pt x="107" y="0"/>
                </a:lnTo>
                <a:lnTo>
                  <a:pt x="107" y="7"/>
                </a:lnTo>
                <a:lnTo>
                  <a:pt x="113" y="7"/>
                </a:lnTo>
                <a:lnTo>
                  <a:pt x="116" y="10"/>
                </a:lnTo>
                <a:lnTo>
                  <a:pt x="119" y="10"/>
                </a:lnTo>
                <a:lnTo>
                  <a:pt x="119" y="10"/>
                </a:lnTo>
                <a:lnTo>
                  <a:pt x="122" y="7"/>
                </a:lnTo>
                <a:lnTo>
                  <a:pt x="125" y="10"/>
                </a:lnTo>
                <a:lnTo>
                  <a:pt x="132" y="13"/>
                </a:lnTo>
                <a:lnTo>
                  <a:pt x="135" y="16"/>
                </a:lnTo>
                <a:lnTo>
                  <a:pt x="138" y="19"/>
                </a:lnTo>
                <a:lnTo>
                  <a:pt x="144" y="19"/>
                </a:lnTo>
                <a:lnTo>
                  <a:pt x="150" y="22"/>
                </a:lnTo>
                <a:lnTo>
                  <a:pt x="150" y="22"/>
                </a:lnTo>
                <a:lnTo>
                  <a:pt x="157" y="25"/>
                </a:lnTo>
                <a:lnTo>
                  <a:pt x="157" y="28"/>
                </a:lnTo>
                <a:lnTo>
                  <a:pt x="154" y="32"/>
                </a:lnTo>
                <a:lnTo>
                  <a:pt x="154" y="35"/>
                </a:lnTo>
                <a:lnTo>
                  <a:pt x="154" y="35"/>
                </a:lnTo>
                <a:lnTo>
                  <a:pt x="154" y="38"/>
                </a:lnTo>
                <a:lnTo>
                  <a:pt x="154" y="41"/>
                </a:lnTo>
                <a:lnTo>
                  <a:pt x="154" y="44"/>
                </a:lnTo>
                <a:lnTo>
                  <a:pt x="154" y="50"/>
                </a:lnTo>
                <a:lnTo>
                  <a:pt x="150" y="53"/>
                </a:lnTo>
                <a:lnTo>
                  <a:pt x="150" y="53"/>
                </a:lnTo>
                <a:lnTo>
                  <a:pt x="154" y="53"/>
                </a:lnTo>
                <a:lnTo>
                  <a:pt x="154" y="57"/>
                </a:lnTo>
                <a:lnTo>
                  <a:pt x="150" y="60"/>
                </a:lnTo>
                <a:lnTo>
                  <a:pt x="150" y="63"/>
                </a:lnTo>
                <a:lnTo>
                  <a:pt x="150" y="66"/>
                </a:lnTo>
                <a:lnTo>
                  <a:pt x="147" y="66"/>
                </a:lnTo>
                <a:lnTo>
                  <a:pt x="147" y="69"/>
                </a:lnTo>
                <a:lnTo>
                  <a:pt x="150" y="72"/>
                </a:lnTo>
                <a:lnTo>
                  <a:pt x="150" y="75"/>
                </a:lnTo>
                <a:lnTo>
                  <a:pt x="150" y="78"/>
                </a:lnTo>
                <a:lnTo>
                  <a:pt x="150" y="82"/>
                </a:lnTo>
                <a:lnTo>
                  <a:pt x="150" y="82"/>
                </a:lnTo>
                <a:lnTo>
                  <a:pt x="154" y="85"/>
                </a:lnTo>
                <a:lnTo>
                  <a:pt x="150" y="91"/>
                </a:lnTo>
                <a:lnTo>
                  <a:pt x="147" y="91"/>
                </a:lnTo>
                <a:lnTo>
                  <a:pt x="144" y="94"/>
                </a:lnTo>
                <a:lnTo>
                  <a:pt x="144" y="94"/>
                </a:lnTo>
                <a:lnTo>
                  <a:pt x="141" y="97"/>
                </a:lnTo>
                <a:lnTo>
                  <a:pt x="144" y="100"/>
                </a:lnTo>
                <a:lnTo>
                  <a:pt x="141" y="103"/>
                </a:lnTo>
                <a:lnTo>
                  <a:pt x="141" y="110"/>
                </a:lnTo>
                <a:lnTo>
                  <a:pt x="141" y="113"/>
                </a:lnTo>
                <a:lnTo>
                  <a:pt x="141" y="119"/>
                </a:lnTo>
                <a:lnTo>
                  <a:pt x="119" y="141"/>
                </a:lnTo>
                <a:lnTo>
                  <a:pt x="116" y="138"/>
                </a:lnTo>
                <a:lnTo>
                  <a:pt x="110" y="135"/>
                </a:lnTo>
                <a:lnTo>
                  <a:pt x="104" y="138"/>
                </a:lnTo>
                <a:lnTo>
                  <a:pt x="100" y="138"/>
                </a:lnTo>
                <a:lnTo>
                  <a:pt x="100" y="138"/>
                </a:lnTo>
                <a:lnTo>
                  <a:pt x="94" y="135"/>
                </a:lnTo>
                <a:lnTo>
                  <a:pt x="91" y="135"/>
                </a:lnTo>
                <a:lnTo>
                  <a:pt x="91" y="132"/>
                </a:lnTo>
                <a:lnTo>
                  <a:pt x="85" y="132"/>
                </a:lnTo>
                <a:lnTo>
                  <a:pt x="79" y="132"/>
                </a:lnTo>
                <a:lnTo>
                  <a:pt x="79" y="132"/>
                </a:lnTo>
                <a:lnTo>
                  <a:pt x="75" y="129"/>
                </a:lnTo>
                <a:lnTo>
                  <a:pt x="75" y="125"/>
                </a:lnTo>
                <a:lnTo>
                  <a:pt x="75" y="125"/>
                </a:lnTo>
                <a:lnTo>
                  <a:pt x="72" y="125"/>
                </a:lnTo>
                <a:lnTo>
                  <a:pt x="69" y="122"/>
                </a:lnTo>
                <a:lnTo>
                  <a:pt x="66" y="122"/>
                </a:lnTo>
                <a:lnTo>
                  <a:pt x="60" y="119"/>
                </a:lnTo>
                <a:lnTo>
                  <a:pt x="60" y="122"/>
                </a:lnTo>
                <a:lnTo>
                  <a:pt x="54" y="119"/>
                </a:lnTo>
                <a:lnTo>
                  <a:pt x="54" y="116"/>
                </a:lnTo>
                <a:lnTo>
                  <a:pt x="47" y="113"/>
                </a:lnTo>
                <a:lnTo>
                  <a:pt x="47" y="110"/>
                </a:lnTo>
                <a:lnTo>
                  <a:pt x="47" y="107"/>
                </a:lnTo>
                <a:lnTo>
                  <a:pt x="47" y="103"/>
                </a:lnTo>
                <a:lnTo>
                  <a:pt x="47" y="100"/>
                </a:lnTo>
                <a:lnTo>
                  <a:pt x="44" y="97"/>
                </a:lnTo>
                <a:lnTo>
                  <a:pt x="41" y="97"/>
                </a:lnTo>
                <a:lnTo>
                  <a:pt x="41" y="94"/>
                </a:lnTo>
                <a:lnTo>
                  <a:pt x="41" y="94"/>
                </a:lnTo>
                <a:lnTo>
                  <a:pt x="41" y="94"/>
                </a:lnTo>
                <a:lnTo>
                  <a:pt x="38" y="91"/>
                </a:lnTo>
                <a:lnTo>
                  <a:pt x="35" y="91"/>
                </a:lnTo>
                <a:lnTo>
                  <a:pt x="32" y="88"/>
                </a:lnTo>
                <a:lnTo>
                  <a:pt x="29" y="85"/>
                </a:lnTo>
                <a:lnTo>
                  <a:pt x="22" y="75"/>
                </a:lnTo>
                <a:lnTo>
                  <a:pt x="22" y="72"/>
                </a:lnTo>
                <a:lnTo>
                  <a:pt x="19" y="72"/>
                </a:lnTo>
                <a:lnTo>
                  <a:pt x="19" y="72"/>
                </a:lnTo>
                <a:lnTo>
                  <a:pt x="16" y="69"/>
                </a:lnTo>
                <a:lnTo>
                  <a:pt x="16" y="66"/>
                </a:lnTo>
                <a:lnTo>
                  <a:pt x="13" y="63"/>
                </a:lnTo>
                <a:lnTo>
                  <a:pt x="13" y="60"/>
                </a:lnTo>
                <a:lnTo>
                  <a:pt x="10" y="60"/>
                </a:lnTo>
                <a:lnTo>
                  <a:pt x="10" y="57"/>
                </a:lnTo>
                <a:lnTo>
                  <a:pt x="10" y="57"/>
                </a:lnTo>
                <a:lnTo>
                  <a:pt x="7" y="53"/>
                </a:lnTo>
                <a:lnTo>
                  <a:pt x="7" y="53"/>
                </a:lnTo>
                <a:lnTo>
                  <a:pt x="4" y="50"/>
                </a:lnTo>
                <a:lnTo>
                  <a:pt x="4" y="47"/>
                </a:lnTo>
                <a:lnTo>
                  <a:pt x="4" y="47"/>
                </a:lnTo>
                <a:lnTo>
                  <a:pt x="4" y="44"/>
                </a:lnTo>
                <a:lnTo>
                  <a:pt x="0" y="44"/>
                </a:lnTo>
                <a:lnTo>
                  <a:pt x="0" y="44"/>
                </a:lnTo>
                <a:lnTo>
                  <a:pt x="0" y="44"/>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0" name="Freeform 148">
            <a:extLst>
              <a:ext uri="{FF2B5EF4-FFF2-40B4-BE49-F238E27FC236}">
                <a16:creationId xmlns:a16="http://schemas.microsoft.com/office/drawing/2014/main" id="{0AAD0F03-1EC6-4B27-6566-E2287E9D1BDF}"/>
              </a:ext>
            </a:extLst>
          </p:cNvPr>
          <p:cNvSpPr>
            <a:spLocks/>
          </p:cNvSpPr>
          <p:nvPr userDrawn="1"/>
        </p:nvSpPr>
        <p:spPr bwMode="auto">
          <a:xfrm>
            <a:off x="14369111" y="10508533"/>
            <a:ext cx="587338" cy="577850"/>
          </a:xfrm>
          <a:custGeom>
            <a:avLst/>
            <a:gdLst>
              <a:gd name="T0" fmla="*/ 110 w 185"/>
              <a:gd name="T1" fmla="*/ 3 h 182"/>
              <a:gd name="T2" fmla="*/ 113 w 185"/>
              <a:gd name="T3" fmla="*/ 9 h 182"/>
              <a:gd name="T4" fmla="*/ 116 w 185"/>
              <a:gd name="T5" fmla="*/ 13 h 182"/>
              <a:gd name="T6" fmla="*/ 119 w 185"/>
              <a:gd name="T7" fmla="*/ 19 h 182"/>
              <a:gd name="T8" fmla="*/ 125 w 185"/>
              <a:gd name="T9" fmla="*/ 28 h 182"/>
              <a:gd name="T10" fmla="*/ 128 w 185"/>
              <a:gd name="T11" fmla="*/ 31 h 182"/>
              <a:gd name="T12" fmla="*/ 141 w 185"/>
              <a:gd name="T13" fmla="*/ 47 h 182"/>
              <a:gd name="T14" fmla="*/ 147 w 185"/>
              <a:gd name="T15" fmla="*/ 50 h 182"/>
              <a:gd name="T16" fmla="*/ 150 w 185"/>
              <a:gd name="T17" fmla="*/ 53 h 182"/>
              <a:gd name="T18" fmla="*/ 153 w 185"/>
              <a:gd name="T19" fmla="*/ 63 h 182"/>
              <a:gd name="T20" fmla="*/ 160 w 185"/>
              <a:gd name="T21" fmla="*/ 72 h 182"/>
              <a:gd name="T22" fmla="*/ 166 w 185"/>
              <a:gd name="T23" fmla="*/ 75 h 182"/>
              <a:gd name="T24" fmla="*/ 178 w 185"/>
              <a:gd name="T25" fmla="*/ 81 h 182"/>
              <a:gd name="T26" fmla="*/ 181 w 185"/>
              <a:gd name="T27" fmla="*/ 85 h 182"/>
              <a:gd name="T28" fmla="*/ 185 w 185"/>
              <a:gd name="T29" fmla="*/ 88 h 182"/>
              <a:gd name="T30" fmla="*/ 175 w 185"/>
              <a:gd name="T31" fmla="*/ 91 h 182"/>
              <a:gd name="T32" fmla="*/ 172 w 185"/>
              <a:gd name="T33" fmla="*/ 97 h 182"/>
              <a:gd name="T34" fmla="*/ 166 w 185"/>
              <a:gd name="T35" fmla="*/ 100 h 182"/>
              <a:gd name="T36" fmla="*/ 156 w 185"/>
              <a:gd name="T37" fmla="*/ 103 h 182"/>
              <a:gd name="T38" fmla="*/ 150 w 185"/>
              <a:gd name="T39" fmla="*/ 110 h 182"/>
              <a:gd name="T40" fmla="*/ 144 w 185"/>
              <a:gd name="T41" fmla="*/ 113 h 182"/>
              <a:gd name="T42" fmla="*/ 135 w 185"/>
              <a:gd name="T43" fmla="*/ 125 h 182"/>
              <a:gd name="T44" fmla="*/ 135 w 185"/>
              <a:gd name="T45" fmla="*/ 131 h 182"/>
              <a:gd name="T46" fmla="*/ 128 w 185"/>
              <a:gd name="T47" fmla="*/ 135 h 182"/>
              <a:gd name="T48" fmla="*/ 125 w 185"/>
              <a:gd name="T49" fmla="*/ 141 h 182"/>
              <a:gd name="T50" fmla="*/ 113 w 185"/>
              <a:gd name="T51" fmla="*/ 144 h 182"/>
              <a:gd name="T52" fmla="*/ 110 w 185"/>
              <a:gd name="T53" fmla="*/ 153 h 182"/>
              <a:gd name="T54" fmla="*/ 110 w 185"/>
              <a:gd name="T55" fmla="*/ 163 h 182"/>
              <a:gd name="T56" fmla="*/ 103 w 185"/>
              <a:gd name="T57" fmla="*/ 163 h 182"/>
              <a:gd name="T58" fmla="*/ 91 w 185"/>
              <a:gd name="T59" fmla="*/ 163 h 182"/>
              <a:gd name="T60" fmla="*/ 78 w 185"/>
              <a:gd name="T61" fmla="*/ 160 h 182"/>
              <a:gd name="T62" fmla="*/ 66 w 185"/>
              <a:gd name="T63" fmla="*/ 153 h 182"/>
              <a:gd name="T64" fmla="*/ 53 w 185"/>
              <a:gd name="T65" fmla="*/ 169 h 182"/>
              <a:gd name="T66" fmla="*/ 41 w 185"/>
              <a:gd name="T67" fmla="*/ 175 h 182"/>
              <a:gd name="T68" fmla="*/ 31 w 185"/>
              <a:gd name="T69" fmla="*/ 182 h 182"/>
              <a:gd name="T70" fmla="*/ 19 w 185"/>
              <a:gd name="T71" fmla="*/ 182 h 182"/>
              <a:gd name="T72" fmla="*/ 16 w 185"/>
              <a:gd name="T73" fmla="*/ 172 h 182"/>
              <a:gd name="T74" fmla="*/ 10 w 185"/>
              <a:gd name="T75" fmla="*/ 150 h 182"/>
              <a:gd name="T76" fmla="*/ 0 w 185"/>
              <a:gd name="T77" fmla="*/ 147 h 182"/>
              <a:gd name="T78" fmla="*/ 22 w 185"/>
              <a:gd name="T79" fmla="*/ 85 h 182"/>
              <a:gd name="T80" fmla="*/ 60 w 185"/>
              <a:gd name="T81" fmla="*/ 9 h 182"/>
              <a:gd name="T82" fmla="*/ 69 w 185"/>
              <a:gd name="T83" fmla="*/ 6 h 182"/>
              <a:gd name="T84" fmla="*/ 72 w 185"/>
              <a:gd name="T85" fmla="*/ 13 h 182"/>
              <a:gd name="T86" fmla="*/ 72 w 185"/>
              <a:gd name="T87" fmla="*/ 16 h 182"/>
              <a:gd name="T88" fmla="*/ 88 w 185"/>
              <a:gd name="T89" fmla="*/ 3 h 182"/>
              <a:gd name="T90" fmla="*/ 94 w 185"/>
              <a:gd name="T91" fmla="*/ 3 h 182"/>
              <a:gd name="T92" fmla="*/ 106 w 185"/>
              <a:gd name="T9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5" h="182">
                <a:moveTo>
                  <a:pt x="106" y="0"/>
                </a:moveTo>
                <a:lnTo>
                  <a:pt x="110" y="0"/>
                </a:lnTo>
                <a:lnTo>
                  <a:pt x="110" y="3"/>
                </a:lnTo>
                <a:lnTo>
                  <a:pt x="110" y="3"/>
                </a:lnTo>
                <a:lnTo>
                  <a:pt x="110" y="6"/>
                </a:lnTo>
                <a:lnTo>
                  <a:pt x="113" y="9"/>
                </a:lnTo>
                <a:lnTo>
                  <a:pt x="113" y="9"/>
                </a:lnTo>
                <a:lnTo>
                  <a:pt x="116" y="13"/>
                </a:lnTo>
                <a:lnTo>
                  <a:pt x="116" y="13"/>
                </a:lnTo>
                <a:lnTo>
                  <a:pt x="116" y="16"/>
                </a:lnTo>
                <a:lnTo>
                  <a:pt x="119" y="16"/>
                </a:lnTo>
                <a:lnTo>
                  <a:pt x="119" y="19"/>
                </a:lnTo>
                <a:lnTo>
                  <a:pt x="122" y="22"/>
                </a:lnTo>
                <a:lnTo>
                  <a:pt x="122" y="25"/>
                </a:lnTo>
                <a:lnTo>
                  <a:pt x="125" y="28"/>
                </a:lnTo>
                <a:lnTo>
                  <a:pt x="125" y="28"/>
                </a:lnTo>
                <a:lnTo>
                  <a:pt x="128" y="28"/>
                </a:lnTo>
                <a:lnTo>
                  <a:pt x="128" y="31"/>
                </a:lnTo>
                <a:lnTo>
                  <a:pt x="135" y="41"/>
                </a:lnTo>
                <a:lnTo>
                  <a:pt x="138" y="44"/>
                </a:lnTo>
                <a:lnTo>
                  <a:pt x="141" y="47"/>
                </a:lnTo>
                <a:lnTo>
                  <a:pt x="144" y="47"/>
                </a:lnTo>
                <a:lnTo>
                  <a:pt x="147" y="50"/>
                </a:lnTo>
                <a:lnTo>
                  <a:pt x="147" y="50"/>
                </a:lnTo>
                <a:lnTo>
                  <a:pt x="147" y="50"/>
                </a:lnTo>
                <a:lnTo>
                  <a:pt x="147" y="53"/>
                </a:lnTo>
                <a:lnTo>
                  <a:pt x="150" y="53"/>
                </a:lnTo>
                <a:lnTo>
                  <a:pt x="153" y="56"/>
                </a:lnTo>
                <a:lnTo>
                  <a:pt x="153" y="59"/>
                </a:lnTo>
                <a:lnTo>
                  <a:pt x="153" y="63"/>
                </a:lnTo>
                <a:lnTo>
                  <a:pt x="153" y="66"/>
                </a:lnTo>
                <a:lnTo>
                  <a:pt x="153" y="69"/>
                </a:lnTo>
                <a:lnTo>
                  <a:pt x="160" y="72"/>
                </a:lnTo>
                <a:lnTo>
                  <a:pt x="160" y="75"/>
                </a:lnTo>
                <a:lnTo>
                  <a:pt x="166" y="78"/>
                </a:lnTo>
                <a:lnTo>
                  <a:pt x="166" y="75"/>
                </a:lnTo>
                <a:lnTo>
                  <a:pt x="172" y="78"/>
                </a:lnTo>
                <a:lnTo>
                  <a:pt x="175" y="78"/>
                </a:lnTo>
                <a:lnTo>
                  <a:pt x="178" y="81"/>
                </a:lnTo>
                <a:lnTo>
                  <a:pt x="181" y="81"/>
                </a:lnTo>
                <a:lnTo>
                  <a:pt x="181" y="81"/>
                </a:lnTo>
                <a:lnTo>
                  <a:pt x="181" y="85"/>
                </a:lnTo>
                <a:lnTo>
                  <a:pt x="185" y="88"/>
                </a:lnTo>
                <a:lnTo>
                  <a:pt x="185" y="88"/>
                </a:lnTo>
                <a:lnTo>
                  <a:pt x="185" y="88"/>
                </a:lnTo>
                <a:lnTo>
                  <a:pt x="181" y="91"/>
                </a:lnTo>
                <a:lnTo>
                  <a:pt x="178" y="91"/>
                </a:lnTo>
                <a:lnTo>
                  <a:pt x="175" y="91"/>
                </a:lnTo>
                <a:lnTo>
                  <a:pt x="175" y="94"/>
                </a:lnTo>
                <a:lnTo>
                  <a:pt x="175" y="97"/>
                </a:lnTo>
                <a:lnTo>
                  <a:pt x="172" y="97"/>
                </a:lnTo>
                <a:lnTo>
                  <a:pt x="169" y="100"/>
                </a:lnTo>
                <a:lnTo>
                  <a:pt x="166" y="100"/>
                </a:lnTo>
                <a:lnTo>
                  <a:pt x="166" y="100"/>
                </a:lnTo>
                <a:lnTo>
                  <a:pt x="163" y="100"/>
                </a:lnTo>
                <a:lnTo>
                  <a:pt x="160" y="100"/>
                </a:lnTo>
                <a:lnTo>
                  <a:pt x="156" y="103"/>
                </a:lnTo>
                <a:lnTo>
                  <a:pt x="153" y="106"/>
                </a:lnTo>
                <a:lnTo>
                  <a:pt x="150" y="106"/>
                </a:lnTo>
                <a:lnTo>
                  <a:pt x="150" y="110"/>
                </a:lnTo>
                <a:lnTo>
                  <a:pt x="147" y="110"/>
                </a:lnTo>
                <a:lnTo>
                  <a:pt x="147" y="113"/>
                </a:lnTo>
                <a:lnTo>
                  <a:pt x="144" y="113"/>
                </a:lnTo>
                <a:lnTo>
                  <a:pt x="141" y="113"/>
                </a:lnTo>
                <a:lnTo>
                  <a:pt x="135" y="122"/>
                </a:lnTo>
                <a:lnTo>
                  <a:pt x="135" y="125"/>
                </a:lnTo>
                <a:lnTo>
                  <a:pt x="135" y="128"/>
                </a:lnTo>
                <a:lnTo>
                  <a:pt x="135" y="131"/>
                </a:lnTo>
                <a:lnTo>
                  <a:pt x="135" y="131"/>
                </a:lnTo>
                <a:lnTo>
                  <a:pt x="131" y="131"/>
                </a:lnTo>
                <a:lnTo>
                  <a:pt x="128" y="135"/>
                </a:lnTo>
                <a:lnTo>
                  <a:pt x="128" y="135"/>
                </a:lnTo>
                <a:lnTo>
                  <a:pt x="125" y="138"/>
                </a:lnTo>
                <a:lnTo>
                  <a:pt x="125" y="138"/>
                </a:lnTo>
                <a:lnTo>
                  <a:pt x="125" y="141"/>
                </a:lnTo>
                <a:lnTo>
                  <a:pt x="122" y="141"/>
                </a:lnTo>
                <a:lnTo>
                  <a:pt x="119" y="144"/>
                </a:lnTo>
                <a:lnTo>
                  <a:pt x="113" y="144"/>
                </a:lnTo>
                <a:lnTo>
                  <a:pt x="113" y="147"/>
                </a:lnTo>
                <a:lnTo>
                  <a:pt x="113" y="153"/>
                </a:lnTo>
                <a:lnTo>
                  <a:pt x="110" y="153"/>
                </a:lnTo>
                <a:lnTo>
                  <a:pt x="110" y="156"/>
                </a:lnTo>
                <a:lnTo>
                  <a:pt x="110" y="160"/>
                </a:lnTo>
                <a:lnTo>
                  <a:pt x="110" y="163"/>
                </a:lnTo>
                <a:lnTo>
                  <a:pt x="106" y="166"/>
                </a:lnTo>
                <a:lnTo>
                  <a:pt x="103" y="163"/>
                </a:lnTo>
                <a:lnTo>
                  <a:pt x="103" y="163"/>
                </a:lnTo>
                <a:lnTo>
                  <a:pt x="100" y="163"/>
                </a:lnTo>
                <a:lnTo>
                  <a:pt x="94" y="163"/>
                </a:lnTo>
                <a:lnTo>
                  <a:pt x="91" y="163"/>
                </a:lnTo>
                <a:lnTo>
                  <a:pt x="88" y="163"/>
                </a:lnTo>
                <a:lnTo>
                  <a:pt x="85" y="163"/>
                </a:lnTo>
                <a:lnTo>
                  <a:pt x="78" y="160"/>
                </a:lnTo>
                <a:lnTo>
                  <a:pt x="75" y="156"/>
                </a:lnTo>
                <a:lnTo>
                  <a:pt x="72" y="156"/>
                </a:lnTo>
                <a:lnTo>
                  <a:pt x="66" y="153"/>
                </a:lnTo>
                <a:lnTo>
                  <a:pt x="63" y="156"/>
                </a:lnTo>
                <a:lnTo>
                  <a:pt x="56" y="160"/>
                </a:lnTo>
                <a:lnTo>
                  <a:pt x="53" y="169"/>
                </a:lnTo>
                <a:lnTo>
                  <a:pt x="50" y="172"/>
                </a:lnTo>
                <a:lnTo>
                  <a:pt x="44" y="175"/>
                </a:lnTo>
                <a:lnTo>
                  <a:pt x="41" y="175"/>
                </a:lnTo>
                <a:lnTo>
                  <a:pt x="38" y="178"/>
                </a:lnTo>
                <a:lnTo>
                  <a:pt x="35" y="182"/>
                </a:lnTo>
                <a:lnTo>
                  <a:pt x="31" y="182"/>
                </a:lnTo>
                <a:lnTo>
                  <a:pt x="25" y="182"/>
                </a:lnTo>
                <a:lnTo>
                  <a:pt x="22" y="182"/>
                </a:lnTo>
                <a:lnTo>
                  <a:pt x="19" y="182"/>
                </a:lnTo>
                <a:lnTo>
                  <a:pt x="13" y="182"/>
                </a:lnTo>
                <a:lnTo>
                  <a:pt x="13" y="178"/>
                </a:lnTo>
                <a:lnTo>
                  <a:pt x="16" y="172"/>
                </a:lnTo>
                <a:lnTo>
                  <a:pt x="16" y="166"/>
                </a:lnTo>
                <a:lnTo>
                  <a:pt x="10" y="156"/>
                </a:lnTo>
                <a:lnTo>
                  <a:pt x="10" y="150"/>
                </a:lnTo>
                <a:lnTo>
                  <a:pt x="3" y="147"/>
                </a:lnTo>
                <a:lnTo>
                  <a:pt x="3" y="147"/>
                </a:lnTo>
                <a:lnTo>
                  <a:pt x="0" y="147"/>
                </a:lnTo>
                <a:lnTo>
                  <a:pt x="0" y="147"/>
                </a:lnTo>
                <a:lnTo>
                  <a:pt x="6" y="85"/>
                </a:lnTo>
                <a:lnTo>
                  <a:pt x="22" y="85"/>
                </a:lnTo>
                <a:lnTo>
                  <a:pt x="25" y="13"/>
                </a:lnTo>
                <a:lnTo>
                  <a:pt x="41" y="13"/>
                </a:lnTo>
                <a:lnTo>
                  <a:pt x="60" y="9"/>
                </a:lnTo>
                <a:lnTo>
                  <a:pt x="66" y="6"/>
                </a:lnTo>
                <a:lnTo>
                  <a:pt x="69" y="6"/>
                </a:lnTo>
                <a:lnTo>
                  <a:pt x="69" y="6"/>
                </a:lnTo>
                <a:lnTo>
                  <a:pt x="69" y="6"/>
                </a:lnTo>
                <a:lnTo>
                  <a:pt x="72" y="9"/>
                </a:lnTo>
                <a:lnTo>
                  <a:pt x="72" y="13"/>
                </a:lnTo>
                <a:lnTo>
                  <a:pt x="72" y="13"/>
                </a:lnTo>
                <a:lnTo>
                  <a:pt x="72" y="16"/>
                </a:lnTo>
                <a:lnTo>
                  <a:pt x="72" y="16"/>
                </a:lnTo>
                <a:lnTo>
                  <a:pt x="78" y="13"/>
                </a:lnTo>
                <a:lnTo>
                  <a:pt x="85" y="6"/>
                </a:lnTo>
                <a:lnTo>
                  <a:pt x="88" y="3"/>
                </a:lnTo>
                <a:lnTo>
                  <a:pt x="91" y="3"/>
                </a:lnTo>
                <a:lnTo>
                  <a:pt x="91" y="3"/>
                </a:lnTo>
                <a:lnTo>
                  <a:pt x="94" y="3"/>
                </a:lnTo>
                <a:lnTo>
                  <a:pt x="97" y="3"/>
                </a:lnTo>
                <a:lnTo>
                  <a:pt x="103" y="0"/>
                </a:lnTo>
                <a:lnTo>
                  <a:pt x="106" y="0"/>
                </a:lnTo>
                <a:lnTo>
                  <a:pt x="106" y="0"/>
                </a:lnTo>
                <a:lnTo>
                  <a:pt x="106"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1" name="Freeform 149">
            <a:extLst>
              <a:ext uri="{FF2B5EF4-FFF2-40B4-BE49-F238E27FC236}">
                <a16:creationId xmlns:a16="http://schemas.microsoft.com/office/drawing/2014/main" id="{AA0C3FB0-CE55-293A-4248-75B5AEF92478}"/>
              </a:ext>
            </a:extLst>
          </p:cNvPr>
          <p:cNvSpPr>
            <a:spLocks/>
          </p:cNvSpPr>
          <p:nvPr userDrawn="1"/>
        </p:nvSpPr>
        <p:spPr bwMode="auto">
          <a:xfrm>
            <a:off x="13873848" y="10448211"/>
            <a:ext cx="831796" cy="796926"/>
          </a:xfrm>
          <a:custGeom>
            <a:avLst/>
            <a:gdLst>
              <a:gd name="T0" fmla="*/ 162 w 262"/>
              <a:gd name="T1" fmla="*/ 104 h 251"/>
              <a:gd name="T2" fmla="*/ 197 w 262"/>
              <a:gd name="T3" fmla="*/ 32 h 251"/>
              <a:gd name="T4" fmla="*/ 225 w 262"/>
              <a:gd name="T5" fmla="*/ 25 h 251"/>
              <a:gd name="T6" fmla="*/ 228 w 262"/>
              <a:gd name="T7" fmla="*/ 28 h 251"/>
              <a:gd name="T8" fmla="*/ 228 w 262"/>
              <a:gd name="T9" fmla="*/ 35 h 251"/>
              <a:gd name="T10" fmla="*/ 241 w 262"/>
              <a:gd name="T11" fmla="*/ 25 h 251"/>
              <a:gd name="T12" fmla="*/ 247 w 262"/>
              <a:gd name="T13" fmla="*/ 22 h 251"/>
              <a:gd name="T14" fmla="*/ 259 w 262"/>
              <a:gd name="T15" fmla="*/ 19 h 251"/>
              <a:gd name="T16" fmla="*/ 259 w 262"/>
              <a:gd name="T17" fmla="*/ 13 h 251"/>
              <a:gd name="T18" fmla="*/ 256 w 262"/>
              <a:gd name="T19" fmla="*/ 13 h 251"/>
              <a:gd name="T20" fmla="*/ 250 w 262"/>
              <a:gd name="T21" fmla="*/ 13 h 251"/>
              <a:gd name="T22" fmla="*/ 197 w 262"/>
              <a:gd name="T23" fmla="*/ 25 h 251"/>
              <a:gd name="T24" fmla="*/ 191 w 262"/>
              <a:gd name="T25" fmla="*/ 22 h 251"/>
              <a:gd name="T26" fmla="*/ 187 w 262"/>
              <a:gd name="T27" fmla="*/ 22 h 251"/>
              <a:gd name="T28" fmla="*/ 181 w 262"/>
              <a:gd name="T29" fmla="*/ 22 h 251"/>
              <a:gd name="T30" fmla="*/ 175 w 262"/>
              <a:gd name="T31" fmla="*/ 22 h 251"/>
              <a:gd name="T32" fmla="*/ 166 w 262"/>
              <a:gd name="T33" fmla="*/ 19 h 251"/>
              <a:gd name="T34" fmla="*/ 162 w 262"/>
              <a:gd name="T35" fmla="*/ 19 h 251"/>
              <a:gd name="T36" fmla="*/ 150 w 262"/>
              <a:gd name="T37" fmla="*/ 22 h 251"/>
              <a:gd name="T38" fmla="*/ 147 w 262"/>
              <a:gd name="T39" fmla="*/ 19 h 251"/>
              <a:gd name="T40" fmla="*/ 134 w 262"/>
              <a:gd name="T41" fmla="*/ 16 h 251"/>
              <a:gd name="T42" fmla="*/ 131 w 262"/>
              <a:gd name="T43" fmla="*/ 10 h 251"/>
              <a:gd name="T44" fmla="*/ 53 w 262"/>
              <a:gd name="T45" fmla="*/ 10 h 251"/>
              <a:gd name="T46" fmla="*/ 47 w 262"/>
              <a:gd name="T47" fmla="*/ 13 h 251"/>
              <a:gd name="T48" fmla="*/ 37 w 262"/>
              <a:gd name="T49" fmla="*/ 7 h 251"/>
              <a:gd name="T50" fmla="*/ 34 w 262"/>
              <a:gd name="T51" fmla="*/ 3 h 251"/>
              <a:gd name="T52" fmla="*/ 28 w 262"/>
              <a:gd name="T53" fmla="*/ 3 h 251"/>
              <a:gd name="T54" fmla="*/ 22 w 262"/>
              <a:gd name="T55" fmla="*/ 0 h 251"/>
              <a:gd name="T56" fmla="*/ 16 w 262"/>
              <a:gd name="T57" fmla="*/ 10 h 251"/>
              <a:gd name="T58" fmla="*/ 6 w 262"/>
              <a:gd name="T59" fmla="*/ 7 h 251"/>
              <a:gd name="T60" fmla="*/ 3 w 262"/>
              <a:gd name="T61" fmla="*/ 10 h 251"/>
              <a:gd name="T62" fmla="*/ 0 w 262"/>
              <a:gd name="T63" fmla="*/ 25 h 251"/>
              <a:gd name="T64" fmla="*/ 28 w 262"/>
              <a:gd name="T65" fmla="*/ 69 h 251"/>
              <a:gd name="T66" fmla="*/ 41 w 262"/>
              <a:gd name="T67" fmla="*/ 97 h 251"/>
              <a:gd name="T68" fmla="*/ 47 w 262"/>
              <a:gd name="T69" fmla="*/ 122 h 251"/>
              <a:gd name="T70" fmla="*/ 56 w 262"/>
              <a:gd name="T71" fmla="*/ 163 h 251"/>
              <a:gd name="T72" fmla="*/ 56 w 262"/>
              <a:gd name="T73" fmla="*/ 179 h 251"/>
              <a:gd name="T74" fmla="*/ 62 w 262"/>
              <a:gd name="T75" fmla="*/ 194 h 251"/>
              <a:gd name="T76" fmla="*/ 62 w 262"/>
              <a:gd name="T77" fmla="*/ 204 h 251"/>
              <a:gd name="T78" fmla="*/ 69 w 262"/>
              <a:gd name="T79" fmla="*/ 219 h 251"/>
              <a:gd name="T80" fmla="*/ 78 w 262"/>
              <a:gd name="T81" fmla="*/ 235 h 251"/>
              <a:gd name="T82" fmla="*/ 94 w 262"/>
              <a:gd name="T83" fmla="*/ 238 h 251"/>
              <a:gd name="T84" fmla="*/ 94 w 262"/>
              <a:gd name="T85" fmla="*/ 232 h 251"/>
              <a:gd name="T86" fmla="*/ 103 w 262"/>
              <a:gd name="T87" fmla="*/ 232 h 251"/>
              <a:gd name="T88" fmla="*/ 112 w 262"/>
              <a:gd name="T89" fmla="*/ 244 h 251"/>
              <a:gd name="T90" fmla="*/ 122 w 262"/>
              <a:gd name="T91" fmla="*/ 247 h 251"/>
              <a:gd name="T92" fmla="*/ 128 w 262"/>
              <a:gd name="T93" fmla="*/ 247 h 251"/>
              <a:gd name="T94" fmla="*/ 134 w 262"/>
              <a:gd name="T95" fmla="*/ 251 h 251"/>
              <a:gd name="T96" fmla="*/ 141 w 262"/>
              <a:gd name="T97" fmla="*/ 241 h 251"/>
              <a:gd name="T98" fmla="*/ 153 w 262"/>
              <a:gd name="T99" fmla="*/ 235 h 251"/>
              <a:gd name="T100" fmla="*/ 156 w 262"/>
              <a:gd name="T101" fmla="*/ 166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2" h="251">
                <a:moveTo>
                  <a:pt x="156" y="166"/>
                </a:moveTo>
                <a:lnTo>
                  <a:pt x="156" y="166"/>
                </a:lnTo>
                <a:lnTo>
                  <a:pt x="162" y="104"/>
                </a:lnTo>
                <a:lnTo>
                  <a:pt x="178" y="104"/>
                </a:lnTo>
                <a:lnTo>
                  <a:pt x="181" y="32"/>
                </a:lnTo>
                <a:lnTo>
                  <a:pt x="197" y="32"/>
                </a:lnTo>
                <a:lnTo>
                  <a:pt x="216" y="28"/>
                </a:lnTo>
                <a:lnTo>
                  <a:pt x="222" y="25"/>
                </a:lnTo>
                <a:lnTo>
                  <a:pt x="225" y="25"/>
                </a:lnTo>
                <a:lnTo>
                  <a:pt x="225" y="25"/>
                </a:lnTo>
                <a:lnTo>
                  <a:pt x="225" y="25"/>
                </a:lnTo>
                <a:lnTo>
                  <a:pt x="228" y="28"/>
                </a:lnTo>
                <a:lnTo>
                  <a:pt x="228" y="32"/>
                </a:lnTo>
                <a:lnTo>
                  <a:pt x="228" y="32"/>
                </a:lnTo>
                <a:lnTo>
                  <a:pt x="228" y="35"/>
                </a:lnTo>
                <a:lnTo>
                  <a:pt x="228" y="35"/>
                </a:lnTo>
                <a:lnTo>
                  <a:pt x="234" y="32"/>
                </a:lnTo>
                <a:lnTo>
                  <a:pt x="241" y="25"/>
                </a:lnTo>
                <a:lnTo>
                  <a:pt x="244" y="22"/>
                </a:lnTo>
                <a:lnTo>
                  <a:pt x="247" y="22"/>
                </a:lnTo>
                <a:lnTo>
                  <a:pt x="247" y="22"/>
                </a:lnTo>
                <a:lnTo>
                  <a:pt x="250" y="22"/>
                </a:lnTo>
                <a:lnTo>
                  <a:pt x="253" y="22"/>
                </a:lnTo>
                <a:lnTo>
                  <a:pt x="259" y="19"/>
                </a:lnTo>
                <a:lnTo>
                  <a:pt x="262" y="19"/>
                </a:lnTo>
                <a:lnTo>
                  <a:pt x="259" y="16"/>
                </a:lnTo>
                <a:lnTo>
                  <a:pt x="259" y="13"/>
                </a:lnTo>
                <a:lnTo>
                  <a:pt x="259" y="13"/>
                </a:lnTo>
                <a:lnTo>
                  <a:pt x="256" y="13"/>
                </a:lnTo>
                <a:lnTo>
                  <a:pt x="256" y="13"/>
                </a:lnTo>
                <a:lnTo>
                  <a:pt x="253" y="13"/>
                </a:lnTo>
                <a:lnTo>
                  <a:pt x="253" y="13"/>
                </a:lnTo>
                <a:lnTo>
                  <a:pt x="250" y="13"/>
                </a:lnTo>
                <a:lnTo>
                  <a:pt x="247" y="13"/>
                </a:lnTo>
                <a:lnTo>
                  <a:pt x="197" y="25"/>
                </a:lnTo>
                <a:lnTo>
                  <a:pt x="197" y="25"/>
                </a:lnTo>
                <a:lnTo>
                  <a:pt x="194" y="25"/>
                </a:lnTo>
                <a:lnTo>
                  <a:pt x="194" y="25"/>
                </a:lnTo>
                <a:lnTo>
                  <a:pt x="191" y="22"/>
                </a:lnTo>
                <a:lnTo>
                  <a:pt x="191" y="22"/>
                </a:lnTo>
                <a:lnTo>
                  <a:pt x="191" y="22"/>
                </a:lnTo>
                <a:lnTo>
                  <a:pt x="187" y="22"/>
                </a:lnTo>
                <a:lnTo>
                  <a:pt x="187" y="22"/>
                </a:lnTo>
                <a:lnTo>
                  <a:pt x="184" y="22"/>
                </a:lnTo>
                <a:lnTo>
                  <a:pt x="181" y="22"/>
                </a:lnTo>
                <a:lnTo>
                  <a:pt x="181" y="22"/>
                </a:lnTo>
                <a:lnTo>
                  <a:pt x="181" y="22"/>
                </a:lnTo>
                <a:lnTo>
                  <a:pt x="175" y="22"/>
                </a:lnTo>
                <a:lnTo>
                  <a:pt x="172" y="22"/>
                </a:lnTo>
                <a:lnTo>
                  <a:pt x="169" y="19"/>
                </a:lnTo>
                <a:lnTo>
                  <a:pt x="166" y="19"/>
                </a:lnTo>
                <a:lnTo>
                  <a:pt x="166" y="16"/>
                </a:lnTo>
                <a:lnTo>
                  <a:pt x="166" y="19"/>
                </a:lnTo>
                <a:lnTo>
                  <a:pt x="162" y="19"/>
                </a:lnTo>
                <a:lnTo>
                  <a:pt x="156" y="19"/>
                </a:lnTo>
                <a:lnTo>
                  <a:pt x="153" y="19"/>
                </a:lnTo>
                <a:lnTo>
                  <a:pt x="150" y="22"/>
                </a:lnTo>
                <a:lnTo>
                  <a:pt x="147" y="19"/>
                </a:lnTo>
                <a:lnTo>
                  <a:pt x="147" y="19"/>
                </a:lnTo>
                <a:lnTo>
                  <a:pt x="147" y="19"/>
                </a:lnTo>
                <a:lnTo>
                  <a:pt x="144" y="19"/>
                </a:lnTo>
                <a:lnTo>
                  <a:pt x="137" y="19"/>
                </a:lnTo>
                <a:lnTo>
                  <a:pt x="134" y="16"/>
                </a:lnTo>
                <a:lnTo>
                  <a:pt x="134" y="16"/>
                </a:lnTo>
                <a:lnTo>
                  <a:pt x="131" y="10"/>
                </a:lnTo>
                <a:lnTo>
                  <a:pt x="131" y="10"/>
                </a:lnTo>
                <a:lnTo>
                  <a:pt x="56" y="10"/>
                </a:lnTo>
                <a:lnTo>
                  <a:pt x="56" y="10"/>
                </a:lnTo>
                <a:lnTo>
                  <a:pt x="53" y="10"/>
                </a:lnTo>
                <a:lnTo>
                  <a:pt x="50" y="10"/>
                </a:lnTo>
                <a:lnTo>
                  <a:pt x="50" y="10"/>
                </a:lnTo>
                <a:lnTo>
                  <a:pt x="47" y="13"/>
                </a:lnTo>
                <a:lnTo>
                  <a:pt x="41" y="10"/>
                </a:lnTo>
                <a:lnTo>
                  <a:pt x="37" y="7"/>
                </a:lnTo>
                <a:lnTo>
                  <a:pt x="37" y="7"/>
                </a:lnTo>
                <a:lnTo>
                  <a:pt x="37" y="3"/>
                </a:lnTo>
                <a:lnTo>
                  <a:pt x="34" y="3"/>
                </a:lnTo>
                <a:lnTo>
                  <a:pt x="34" y="3"/>
                </a:lnTo>
                <a:lnTo>
                  <a:pt x="31" y="0"/>
                </a:lnTo>
                <a:lnTo>
                  <a:pt x="31" y="3"/>
                </a:lnTo>
                <a:lnTo>
                  <a:pt x="28" y="3"/>
                </a:lnTo>
                <a:lnTo>
                  <a:pt x="28" y="3"/>
                </a:lnTo>
                <a:lnTo>
                  <a:pt x="25" y="0"/>
                </a:lnTo>
                <a:lnTo>
                  <a:pt x="22" y="0"/>
                </a:lnTo>
                <a:lnTo>
                  <a:pt x="16" y="7"/>
                </a:lnTo>
                <a:lnTo>
                  <a:pt x="16" y="7"/>
                </a:lnTo>
                <a:lnTo>
                  <a:pt x="16" y="10"/>
                </a:lnTo>
                <a:lnTo>
                  <a:pt x="12" y="7"/>
                </a:lnTo>
                <a:lnTo>
                  <a:pt x="6" y="7"/>
                </a:lnTo>
                <a:lnTo>
                  <a:pt x="6" y="7"/>
                </a:lnTo>
                <a:lnTo>
                  <a:pt x="6" y="10"/>
                </a:lnTo>
                <a:lnTo>
                  <a:pt x="3" y="10"/>
                </a:lnTo>
                <a:lnTo>
                  <a:pt x="3" y="10"/>
                </a:lnTo>
                <a:lnTo>
                  <a:pt x="0" y="10"/>
                </a:lnTo>
                <a:lnTo>
                  <a:pt x="0" y="10"/>
                </a:lnTo>
                <a:lnTo>
                  <a:pt x="0" y="25"/>
                </a:lnTo>
                <a:lnTo>
                  <a:pt x="12" y="38"/>
                </a:lnTo>
                <a:lnTo>
                  <a:pt x="19" y="47"/>
                </a:lnTo>
                <a:lnTo>
                  <a:pt x="28" y="69"/>
                </a:lnTo>
                <a:lnTo>
                  <a:pt x="28" y="78"/>
                </a:lnTo>
                <a:lnTo>
                  <a:pt x="41" y="94"/>
                </a:lnTo>
                <a:lnTo>
                  <a:pt x="41" y="97"/>
                </a:lnTo>
                <a:lnTo>
                  <a:pt x="50" y="113"/>
                </a:lnTo>
                <a:lnTo>
                  <a:pt x="50" y="122"/>
                </a:lnTo>
                <a:lnTo>
                  <a:pt x="47" y="122"/>
                </a:lnTo>
                <a:lnTo>
                  <a:pt x="50" y="132"/>
                </a:lnTo>
                <a:lnTo>
                  <a:pt x="50" y="147"/>
                </a:lnTo>
                <a:lnTo>
                  <a:pt x="56" y="163"/>
                </a:lnTo>
                <a:lnTo>
                  <a:pt x="56" y="172"/>
                </a:lnTo>
                <a:lnTo>
                  <a:pt x="56" y="179"/>
                </a:lnTo>
                <a:lnTo>
                  <a:pt x="56" y="179"/>
                </a:lnTo>
                <a:lnTo>
                  <a:pt x="56" y="182"/>
                </a:lnTo>
                <a:lnTo>
                  <a:pt x="59" y="191"/>
                </a:lnTo>
                <a:lnTo>
                  <a:pt x="62" y="194"/>
                </a:lnTo>
                <a:lnTo>
                  <a:pt x="62" y="197"/>
                </a:lnTo>
                <a:lnTo>
                  <a:pt x="62" y="201"/>
                </a:lnTo>
                <a:lnTo>
                  <a:pt x="62" y="204"/>
                </a:lnTo>
                <a:lnTo>
                  <a:pt x="66" y="207"/>
                </a:lnTo>
                <a:lnTo>
                  <a:pt x="66" y="213"/>
                </a:lnTo>
                <a:lnTo>
                  <a:pt x="69" y="219"/>
                </a:lnTo>
                <a:lnTo>
                  <a:pt x="72" y="229"/>
                </a:lnTo>
                <a:lnTo>
                  <a:pt x="78" y="232"/>
                </a:lnTo>
                <a:lnTo>
                  <a:pt x="78" y="235"/>
                </a:lnTo>
                <a:lnTo>
                  <a:pt x="84" y="241"/>
                </a:lnTo>
                <a:lnTo>
                  <a:pt x="87" y="238"/>
                </a:lnTo>
                <a:lnTo>
                  <a:pt x="94" y="238"/>
                </a:lnTo>
                <a:lnTo>
                  <a:pt x="94" y="235"/>
                </a:lnTo>
                <a:lnTo>
                  <a:pt x="91" y="235"/>
                </a:lnTo>
                <a:lnTo>
                  <a:pt x="94" y="232"/>
                </a:lnTo>
                <a:lnTo>
                  <a:pt x="97" y="229"/>
                </a:lnTo>
                <a:lnTo>
                  <a:pt x="100" y="232"/>
                </a:lnTo>
                <a:lnTo>
                  <a:pt x="103" y="232"/>
                </a:lnTo>
                <a:lnTo>
                  <a:pt x="103" y="238"/>
                </a:lnTo>
                <a:lnTo>
                  <a:pt x="106" y="244"/>
                </a:lnTo>
                <a:lnTo>
                  <a:pt x="112" y="244"/>
                </a:lnTo>
                <a:lnTo>
                  <a:pt x="116" y="247"/>
                </a:lnTo>
                <a:lnTo>
                  <a:pt x="119" y="247"/>
                </a:lnTo>
                <a:lnTo>
                  <a:pt x="122" y="247"/>
                </a:lnTo>
                <a:lnTo>
                  <a:pt x="125" y="247"/>
                </a:lnTo>
                <a:lnTo>
                  <a:pt x="125" y="247"/>
                </a:lnTo>
                <a:lnTo>
                  <a:pt x="128" y="247"/>
                </a:lnTo>
                <a:lnTo>
                  <a:pt x="131" y="247"/>
                </a:lnTo>
                <a:lnTo>
                  <a:pt x="134" y="247"/>
                </a:lnTo>
                <a:lnTo>
                  <a:pt x="134" y="251"/>
                </a:lnTo>
                <a:lnTo>
                  <a:pt x="134" y="244"/>
                </a:lnTo>
                <a:lnTo>
                  <a:pt x="137" y="244"/>
                </a:lnTo>
                <a:lnTo>
                  <a:pt x="141" y="241"/>
                </a:lnTo>
                <a:lnTo>
                  <a:pt x="141" y="238"/>
                </a:lnTo>
                <a:lnTo>
                  <a:pt x="147" y="235"/>
                </a:lnTo>
                <a:lnTo>
                  <a:pt x="153" y="235"/>
                </a:lnTo>
                <a:lnTo>
                  <a:pt x="156" y="235"/>
                </a:lnTo>
                <a:lnTo>
                  <a:pt x="159" y="166"/>
                </a:lnTo>
                <a:lnTo>
                  <a:pt x="156" y="166"/>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2" name="Freeform 150">
            <a:extLst>
              <a:ext uri="{FF2B5EF4-FFF2-40B4-BE49-F238E27FC236}">
                <a16:creationId xmlns:a16="http://schemas.microsoft.com/office/drawing/2014/main" id="{E00C24A3-F715-0591-7D07-404A407B531C}"/>
              </a:ext>
            </a:extLst>
          </p:cNvPr>
          <p:cNvSpPr>
            <a:spLocks noEditPoints="1"/>
          </p:cNvSpPr>
          <p:nvPr userDrawn="1"/>
        </p:nvSpPr>
        <p:spPr bwMode="auto">
          <a:xfrm>
            <a:off x="23360130" y="10778408"/>
            <a:ext cx="247634" cy="177800"/>
          </a:xfrm>
          <a:custGeom>
            <a:avLst/>
            <a:gdLst>
              <a:gd name="T0" fmla="*/ 6 w 78"/>
              <a:gd name="T1" fmla="*/ 6 h 56"/>
              <a:gd name="T2" fmla="*/ 9 w 78"/>
              <a:gd name="T3" fmla="*/ 6 h 56"/>
              <a:gd name="T4" fmla="*/ 16 w 78"/>
              <a:gd name="T5" fmla="*/ 12 h 56"/>
              <a:gd name="T6" fmla="*/ 19 w 78"/>
              <a:gd name="T7" fmla="*/ 15 h 56"/>
              <a:gd name="T8" fmla="*/ 31 w 78"/>
              <a:gd name="T9" fmla="*/ 34 h 56"/>
              <a:gd name="T10" fmla="*/ 34 w 78"/>
              <a:gd name="T11" fmla="*/ 34 h 56"/>
              <a:gd name="T12" fmla="*/ 47 w 78"/>
              <a:gd name="T13" fmla="*/ 50 h 56"/>
              <a:gd name="T14" fmla="*/ 50 w 78"/>
              <a:gd name="T15" fmla="*/ 56 h 56"/>
              <a:gd name="T16" fmla="*/ 47 w 78"/>
              <a:gd name="T17" fmla="*/ 56 h 56"/>
              <a:gd name="T18" fmla="*/ 38 w 78"/>
              <a:gd name="T19" fmla="*/ 53 h 56"/>
              <a:gd name="T20" fmla="*/ 34 w 78"/>
              <a:gd name="T21" fmla="*/ 46 h 56"/>
              <a:gd name="T22" fmla="*/ 28 w 78"/>
              <a:gd name="T23" fmla="*/ 40 h 56"/>
              <a:gd name="T24" fmla="*/ 25 w 78"/>
              <a:gd name="T25" fmla="*/ 40 h 56"/>
              <a:gd name="T26" fmla="*/ 16 w 78"/>
              <a:gd name="T27" fmla="*/ 31 h 56"/>
              <a:gd name="T28" fmla="*/ 13 w 78"/>
              <a:gd name="T29" fmla="*/ 28 h 56"/>
              <a:gd name="T30" fmla="*/ 9 w 78"/>
              <a:gd name="T31" fmla="*/ 21 h 56"/>
              <a:gd name="T32" fmla="*/ 0 w 78"/>
              <a:gd name="T33" fmla="*/ 9 h 56"/>
              <a:gd name="T34" fmla="*/ 0 w 78"/>
              <a:gd name="T35" fmla="*/ 3 h 56"/>
              <a:gd name="T36" fmla="*/ 0 w 78"/>
              <a:gd name="T37" fmla="*/ 0 h 56"/>
              <a:gd name="T38" fmla="*/ 75 w 78"/>
              <a:gd name="T39" fmla="*/ 31 h 56"/>
              <a:gd name="T40" fmla="*/ 75 w 78"/>
              <a:gd name="T41" fmla="*/ 37 h 56"/>
              <a:gd name="T42" fmla="*/ 72 w 78"/>
              <a:gd name="T43" fmla="*/ 40 h 56"/>
              <a:gd name="T44" fmla="*/ 69 w 78"/>
              <a:gd name="T45" fmla="*/ 34 h 56"/>
              <a:gd name="T46" fmla="*/ 59 w 78"/>
              <a:gd name="T47" fmla="*/ 12 h 56"/>
              <a:gd name="T48" fmla="*/ 56 w 78"/>
              <a:gd name="T49" fmla="*/ 18 h 56"/>
              <a:gd name="T50" fmla="*/ 59 w 78"/>
              <a:gd name="T51" fmla="*/ 25 h 56"/>
              <a:gd name="T52" fmla="*/ 66 w 78"/>
              <a:gd name="T53" fmla="*/ 25 h 56"/>
              <a:gd name="T54" fmla="*/ 63 w 78"/>
              <a:gd name="T55" fmla="*/ 18 h 56"/>
              <a:gd name="T56" fmla="*/ 59 w 78"/>
              <a:gd name="T57" fmla="*/ 12 h 56"/>
              <a:gd name="T58" fmla="*/ 47 w 78"/>
              <a:gd name="T59" fmla="*/ 9 h 56"/>
              <a:gd name="T60" fmla="*/ 44 w 78"/>
              <a:gd name="T61" fmla="*/ 15 h 56"/>
              <a:gd name="T62" fmla="*/ 50 w 78"/>
              <a:gd name="T63" fmla="*/ 12 h 56"/>
              <a:gd name="T64" fmla="*/ 47 w 78"/>
              <a:gd name="T65" fmla="*/ 9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56">
                <a:moveTo>
                  <a:pt x="0" y="0"/>
                </a:moveTo>
                <a:lnTo>
                  <a:pt x="6" y="6"/>
                </a:lnTo>
                <a:lnTo>
                  <a:pt x="6" y="3"/>
                </a:lnTo>
                <a:lnTo>
                  <a:pt x="9" y="6"/>
                </a:lnTo>
                <a:lnTo>
                  <a:pt x="9" y="9"/>
                </a:lnTo>
                <a:lnTo>
                  <a:pt x="16" y="12"/>
                </a:lnTo>
                <a:lnTo>
                  <a:pt x="16" y="15"/>
                </a:lnTo>
                <a:lnTo>
                  <a:pt x="19" y="15"/>
                </a:lnTo>
                <a:lnTo>
                  <a:pt x="25" y="28"/>
                </a:lnTo>
                <a:lnTo>
                  <a:pt x="31" y="34"/>
                </a:lnTo>
                <a:lnTo>
                  <a:pt x="31" y="34"/>
                </a:lnTo>
                <a:lnTo>
                  <a:pt x="34" y="34"/>
                </a:lnTo>
                <a:lnTo>
                  <a:pt x="41" y="43"/>
                </a:lnTo>
                <a:lnTo>
                  <a:pt x="47" y="50"/>
                </a:lnTo>
                <a:lnTo>
                  <a:pt x="50" y="50"/>
                </a:lnTo>
                <a:lnTo>
                  <a:pt x="50" y="56"/>
                </a:lnTo>
                <a:lnTo>
                  <a:pt x="47" y="53"/>
                </a:lnTo>
                <a:lnTo>
                  <a:pt x="47" y="56"/>
                </a:lnTo>
                <a:lnTo>
                  <a:pt x="44" y="53"/>
                </a:lnTo>
                <a:lnTo>
                  <a:pt x="38" y="53"/>
                </a:lnTo>
                <a:lnTo>
                  <a:pt x="34" y="50"/>
                </a:lnTo>
                <a:lnTo>
                  <a:pt x="34" y="46"/>
                </a:lnTo>
                <a:lnTo>
                  <a:pt x="28" y="46"/>
                </a:lnTo>
                <a:lnTo>
                  <a:pt x="28" y="40"/>
                </a:lnTo>
                <a:lnTo>
                  <a:pt x="25" y="40"/>
                </a:lnTo>
                <a:lnTo>
                  <a:pt x="25" y="40"/>
                </a:lnTo>
                <a:lnTo>
                  <a:pt x="22" y="34"/>
                </a:lnTo>
                <a:lnTo>
                  <a:pt x="16" y="31"/>
                </a:lnTo>
                <a:lnTo>
                  <a:pt x="16" y="28"/>
                </a:lnTo>
                <a:lnTo>
                  <a:pt x="13" y="28"/>
                </a:lnTo>
                <a:lnTo>
                  <a:pt x="9" y="25"/>
                </a:lnTo>
                <a:lnTo>
                  <a:pt x="9" y="21"/>
                </a:lnTo>
                <a:lnTo>
                  <a:pt x="6" y="18"/>
                </a:lnTo>
                <a:lnTo>
                  <a:pt x="0" y="9"/>
                </a:lnTo>
                <a:lnTo>
                  <a:pt x="0" y="6"/>
                </a:lnTo>
                <a:lnTo>
                  <a:pt x="0" y="3"/>
                </a:lnTo>
                <a:lnTo>
                  <a:pt x="0" y="0"/>
                </a:lnTo>
                <a:lnTo>
                  <a:pt x="0" y="0"/>
                </a:lnTo>
                <a:close/>
                <a:moveTo>
                  <a:pt x="69" y="34"/>
                </a:moveTo>
                <a:lnTo>
                  <a:pt x="75" y="31"/>
                </a:lnTo>
                <a:lnTo>
                  <a:pt x="78" y="34"/>
                </a:lnTo>
                <a:lnTo>
                  <a:pt x="75" y="37"/>
                </a:lnTo>
                <a:lnTo>
                  <a:pt x="75" y="37"/>
                </a:lnTo>
                <a:lnTo>
                  <a:pt x="72" y="40"/>
                </a:lnTo>
                <a:lnTo>
                  <a:pt x="69" y="37"/>
                </a:lnTo>
                <a:lnTo>
                  <a:pt x="69" y="34"/>
                </a:lnTo>
                <a:lnTo>
                  <a:pt x="69" y="34"/>
                </a:lnTo>
                <a:close/>
                <a:moveTo>
                  <a:pt x="59" y="12"/>
                </a:moveTo>
                <a:lnTo>
                  <a:pt x="56" y="15"/>
                </a:lnTo>
                <a:lnTo>
                  <a:pt x="56" y="18"/>
                </a:lnTo>
                <a:lnTo>
                  <a:pt x="56" y="21"/>
                </a:lnTo>
                <a:lnTo>
                  <a:pt x="59" y="25"/>
                </a:lnTo>
                <a:lnTo>
                  <a:pt x="63" y="25"/>
                </a:lnTo>
                <a:lnTo>
                  <a:pt x="66" y="25"/>
                </a:lnTo>
                <a:lnTo>
                  <a:pt x="63" y="21"/>
                </a:lnTo>
                <a:lnTo>
                  <a:pt x="63" y="18"/>
                </a:lnTo>
                <a:lnTo>
                  <a:pt x="63" y="15"/>
                </a:lnTo>
                <a:lnTo>
                  <a:pt x="59" y="12"/>
                </a:lnTo>
                <a:lnTo>
                  <a:pt x="59" y="12"/>
                </a:lnTo>
                <a:close/>
                <a:moveTo>
                  <a:pt x="47" y="9"/>
                </a:moveTo>
                <a:lnTo>
                  <a:pt x="47" y="12"/>
                </a:lnTo>
                <a:lnTo>
                  <a:pt x="44" y="15"/>
                </a:lnTo>
                <a:lnTo>
                  <a:pt x="50" y="15"/>
                </a:lnTo>
                <a:lnTo>
                  <a:pt x="50" y="12"/>
                </a:lnTo>
                <a:lnTo>
                  <a:pt x="50" y="9"/>
                </a:lnTo>
                <a:lnTo>
                  <a:pt x="47" y="9"/>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3" name="Freeform 151">
            <a:extLst>
              <a:ext uri="{FF2B5EF4-FFF2-40B4-BE49-F238E27FC236}">
                <a16:creationId xmlns:a16="http://schemas.microsoft.com/office/drawing/2014/main" id="{9D047B05-BA44-7A1D-86CC-F5816076D425}"/>
              </a:ext>
            </a:extLst>
          </p:cNvPr>
          <p:cNvSpPr>
            <a:spLocks/>
          </p:cNvSpPr>
          <p:nvPr userDrawn="1"/>
        </p:nvSpPr>
        <p:spPr bwMode="auto">
          <a:xfrm>
            <a:off x="17258176" y="13210456"/>
            <a:ext cx="19049" cy="28576"/>
          </a:xfrm>
          <a:custGeom>
            <a:avLst/>
            <a:gdLst>
              <a:gd name="T0" fmla="*/ 0 w 6"/>
              <a:gd name="T1" fmla="*/ 0 h 9"/>
              <a:gd name="T2" fmla="*/ 0 w 6"/>
              <a:gd name="T3" fmla="*/ 3 h 9"/>
              <a:gd name="T4" fmla="*/ 0 w 6"/>
              <a:gd name="T5" fmla="*/ 6 h 9"/>
              <a:gd name="T6" fmla="*/ 3 w 6"/>
              <a:gd name="T7" fmla="*/ 6 h 9"/>
              <a:gd name="T8" fmla="*/ 3 w 6"/>
              <a:gd name="T9" fmla="*/ 9 h 9"/>
              <a:gd name="T10" fmla="*/ 6 w 6"/>
              <a:gd name="T11" fmla="*/ 9 h 9"/>
              <a:gd name="T12" fmla="*/ 3 w 6"/>
              <a:gd name="T13" fmla="*/ 3 h 9"/>
              <a:gd name="T14" fmla="*/ 0 w 6"/>
              <a:gd name="T15" fmla="*/ 0 h 9"/>
              <a:gd name="T16" fmla="*/ 0 w 6"/>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9">
                <a:moveTo>
                  <a:pt x="0" y="0"/>
                </a:moveTo>
                <a:lnTo>
                  <a:pt x="0" y="3"/>
                </a:lnTo>
                <a:lnTo>
                  <a:pt x="0" y="6"/>
                </a:lnTo>
                <a:lnTo>
                  <a:pt x="3" y="6"/>
                </a:lnTo>
                <a:lnTo>
                  <a:pt x="3" y="9"/>
                </a:lnTo>
                <a:lnTo>
                  <a:pt x="6" y="9"/>
                </a:lnTo>
                <a:lnTo>
                  <a:pt x="3" y="3"/>
                </a:lnTo>
                <a:lnTo>
                  <a:pt x="0" y="0"/>
                </a:lnTo>
                <a:lnTo>
                  <a:pt x="0" y="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4" name="Freeform 152">
            <a:extLst>
              <a:ext uri="{FF2B5EF4-FFF2-40B4-BE49-F238E27FC236}">
                <a16:creationId xmlns:a16="http://schemas.microsoft.com/office/drawing/2014/main" id="{5FDA97F5-1B37-ED2D-9DF1-7910AA7EADA5}"/>
              </a:ext>
            </a:extLst>
          </p:cNvPr>
          <p:cNvSpPr>
            <a:spLocks noEditPoints="1"/>
          </p:cNvSpPr>
          <p:nvPr userDrawn="1"/>
        </p:nvSpPr>
        <p:spPr bwMode="auto">
          <a:xfrm>
            <a:off x="17067687" y="12823106"/>
            <a:ext cx="101593" cy="79376"/>
          </a:xfrm>
          <a:custGeom>
            <a:avLst/>
            <a:gdLst>
              <a:gd name="T0" fmla="*/ 13 w 32"/>
              <a:gd name="T1" fmla="*/ 6 h 25"/>
              <a:gd name="T2" fmla="*/ 13 w 32"/>
              <a:gd name="T3" fmla="*/ 3 h 25"/>
              <a:gd name="T4" fmla="*/ 16 w 32"/>
              <a:gd name="T5" fmla="*/ 3 h 25"/>
              <a:gd name="T6" fmla="*/ 16 w 32"/>
              <a:gd name="T7" fmla="*/ 6 h 25"/>
              <a:gd name="T8" fmla="*/ 13 w 32"/>
              <a:gd name="T9" fmla="*/ 6 h 25"/>
              <a:gd name="T10" fmla="*/ 13 w 32"/>
              <a:gd name="T11" fmla="*/ 6 h 25"/>
              <a:gd name="T12" fmla="*/ 13 w 32"/>
              <a:gd name="T13" fmla="*/ 6 h 25"/>
              <a:gd name="T14" fmla="*/ 13 w 32"/>
              <a:gd name="T15" fmla="*/ 6 h 25"/>
              <a:gd name="T16" fmla="*/ 0 w 32"/>
              <a:gd name="T17" fmla="*/ 22 h 25"/>
              <a:gd name="T18" fmla="*/ 3 w 32"/>
              <a:gd name="T19" fmla="*/ 22 h 25"/>
              <a:gd name="T20" fmla="*/ 7 w 32"/>
              <a:gd name="T21" fmla="*/ 19 h 25"/>
              <a:gd name="T22" fmla="*/ 10 w 32"/>
              <a:gd name="T23" fmla="*/ 19 h 25"/>
              <a:gd name="T24" fmla="*/ 13 w 32"/>
              <a:gd name="T25" fmla="*/ 22 h 25"/>
              <a:gd name="T26" fmla="*/ 16 w 32"/>
              <a:gd name="T27" fmla="*/ 22 h 25"/>
              <a:gd name="T28" fmla="*/ 16 w 32"/>
              <a:gd name="T29" fmla="*/ 22 h 25"/>
              <a:gd name="T30" fmla="*/ 19 w 32"/>
              <a:gd name="T31" fmla="*/ 19 h 25"/>
              <a:gd name="T32" fmla="*/ 19 w 32"/>
              <a:gd name="T33" fmla="*/ 22 h 25"/>
              <a:gd name="T34" fmla="*/ 19 w 32"/>
              <a:gd name="T35" fmla="*/ 22 h 25"/>
              <a:gd name="T36" fmla="*/ 22 w 32"/>
              <a:gd name="T37" fmla="*/ 25 h 25"/>
              <a:gd name="T38" fmla="*/ 25 w 32"/>
              <a:gd name="T39" fmla="*/ 25 h 25"/>
              <a:gd name="T40" fmla="*/ 28 w 32"/>
              <a:gd name="T41" fmla="*/ 22 h 25"/>
              <a:gd name="T42" fmla="*/ 28 w 32"/>
              <a:gd name="T43" fmla="*/ 22 h 25"/>
              <a:gd name="T44" fmla="*/ 25 w 32"/>
              <a:gd name="T45" fmla="*/ 22 h 25"/>
              <a:gd name="T46" fmla="*/ 22 w 32"/>
              <a:gd name="T47" fmla="*/ 19 h 25"/>
              <a:gd name="T48" fmla="*/ 25 w 32"/>
              <a:gd name="T49" fmla="*/ 16 h 25"/>
              <a:gd name="T50" fmla="*/ 28 w 32"/>
              <a:gd name="T51" fmla="*/ 16 h 25"/>
              <a:gd name="T52" fmla="*/ 32 w 32"/>
              <a:gd name="T53" fmla="*/ 16 h 25"/>
              <a:gd name="T54" fmla="*/ 32 w 32"/>
              <a:gd name="T55" fmla="*/ 12 h 25"/>
              <a:gd name="T56" fmla="*/ 32 w 32"/>
              <a:gd name="T57" fmla="*/ 9 h 25"/>
              <a:gd name="T58" fmla="*/ 28 w 32"/>
              <a:gd name="T59" fmla="*/ 12 h 25"/>
              <a:gd name="T60" fmla="*/ 25 w 32"/>
              <a:gd name="T61" fmla="*/ 9 h 25"/>
              <a:gd name="T62" fmla="*/ 22 w 32"/>
              <a:gd name="T63" fmla="*/ 16 h 25"/>
              <a:gd name="T64" fmla="*/ 19 w 32"/>
              <a:gd name="T65" fmla="*/ 16 h 25"/>
              <a:gd name="T66" fmla="*/ 19 w 32"/>
              <a:gd name="T67" fmla="*/ 9 h 25"/>
              <a:gd name="T68" fmla="*/ 19 w 32"/>
              <a:gd name="T69" fmla="*/ 9 h 25"/>
              <a:gd name="T70" fmla="*/ 19 w 32"/>
              <a:gd name="T71" fmla="*/ 3 h 25"/>
              <a:gd name="T72" fmla="*/ 19 w 32"/>
              <a:gd name="T73" fmla="*/ 6 h 25"/>
              <a:gd name="T74" fmla="*/ 16 w 32"/>
              <a:gd name="T75" fmla="*/ 9 h 25"/>
              <a:gd name="T76" fmla="*/ 16 w 32"/>
              <a:gd name="T77" fmla="*/ 12 h 25"/>
              <a:gd name="T78" fmla="*/ 13 w 32"/>
              <a:gd name="T79" fmla="*/ 9 h 25"/>
              <a:gd name="T80" fmla="*/ 10 w 32"/>
              <a:gd name="T81" fmla="*/ 9 h 25"/>
              <a:gd name="T82" fmla="*/ 7 w 32"/>
              <a:gd name="T83" fmla="*/ 6 h 25"/>
              <a:gd name="T84" fmla="*/ 7 w 32"/>
              <a:gd name="T85" fmla="*/ 3 h 25"/>
              <a:gd name="T86" fmla="*/ 7 w 32"/>
              <a:gd name="T87" fmla="*/ 3 h 25"/>
              <a:gd name="T88" fmla="*/ 10 w 32"/>
              <a:gd name="T89" fmla="*/ 0 h 25"/>
              <a:gd name="T90" fmla="*/ 10 w 32"/>
              <a:gd name="T91" fmla="*/ 0 h 25"/>
              <a:gd name="T92" fmla="*/ 7 w 32"/>
              <a:gd name="T93" fmla="*/ 0 h 25"/>
              <a:gd name="T94" fmla="*/ 3 w 32"/>
              <a:gd name="T95" fmla="*/ 3 h 25"/>
              <a:gd name="T96" fmla="*/ 7 w 32"/>
              <a:gd name="T97" fmla="*/ 6 h 25"/>
              <a:gd name="T98" fmla="*/ 7 w 32"/>
              <a:gd name="T99" fmla="*/ 9 h 25"/>
              <a:gd name="T100" fmla="*/ 7 w 32"/>
              <a:gd name="T101" fmla="*/ 9 h 25"/>
              <a:gd name="T102" fmla="*/ 7 w 32"/>
              <a:gd name="T103" fmla="*/ 12 h 25"/>
              <a:gd name="T104" fmla="*/ 3 w 32"/>
              <a:gd name="T105" fmla="*/ 16 h 25"/>
              <a:gd name="T106" fmla="*/ 0 w 32"/>
              <a:gd name="T107" fmla="*/ 19 h 25"/>
              <a:gd name="T108" fmla="*/ 0 w 32"/>
              <a:gd name="T109" fmla="*/ 2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 h="25">
                <a:moveTo>
                  <a:pt x="13" y="6"/>
                </a:moveTo>
                <a:lnTo>
                  <a:pt x="13" y="3"/>
                </a:lnTo>
                <a:lnTo>
                  <a:pt x="16" y="3"/>
                </a:lnTo>
                <a:lnTo>
                  <a:pt x="16" y="6"/>
                </a:lnTo>
                <a:lnTo>
                  <a:pt x="13" y="6"/>
                </a:lnTo>
                <a:lnTo>
                  <a:pt x="13" y="6"/>
                </a:lnTo>
                <a:lnTo>
                  <a:pt x="13" y="6"/>
                </a:lnTo>
                <a:lnTo>
                  <a:pt x="13" y="6"/>
                </a:lnTo>
                <a:close/>
                <a:moveTo>
                  <a:pt x="0" y="22"/>
                </a:moveTo>
                <a:lnTo>
                  <a:pt x="3" y="22"/>
                </a:lnTo>
                <a:lnTo>
                  <a:pt x="7" y="19"/>
                </a:lnTo>
                <a:lnTo>
                  <a:pt x="10" y="19"/>
                </a:lnTo>
                <a:lnTo>
                  <a:pt x="13" y="22"/>
                </a:lnTo>
                <a:lnTo>
                  <a:pt x="16" y="22"/>
                </a:lnTo>
                <a:lnTo>
                  <a:pt x="16" y="22"/>
                </a:lnTo>
                <a:lnTo>
                  <a:pt x="19" y="19"/>
                </a:lnTo>
                <a:lnTo>
                  <a:pt x="19" y="22"/>
                </a:lnTo>
                <a:lnTo>
                  <a:pt x="19" y="22"/>
                </a:lnTo>
                <a:lnTo>
                  <a:pt x="22" y="25"/>
                </a:lnTo>
                <a:lnTo>
                  <a:pt x="25" y="25"/>
                </a:lnTo>
                <a:lnTo>
                  <a:pt x="28" y="22"/>
                </a:lnTo>
                <a:lnTo>
                  <a:pt x="28" y="22"/>
                </a:lnTo>
                <a:lnTo>
                  <a:pt x="25" y="22"/>
                </a:lnTo>
                <a:lnTo>
                  <a:pt x="22" y="19"/>
                </a:lnTo>
                <a:lnTo>
                  <a:pt x="25" y="16"/>
                </a:lnTo>
                <a:lnTo>
                  <a:pt x="28" y="16"/>
                </a:lnTo>
                <a:lnTo>
                  <a:pt x="32" y="16"/>
                </a:lnTo>
                <a:lnTo>
                  <a:pt x="32" y="12"/>
                </a:lnTo>
                <a:lnTo>
                  <a:pt x="32" y="9"/>
                </a:lnTo>
                <a:lnTo>
                  <a:pt x="28" y="12"/>
                </a:lnTo>
                <a:lnTo>
                  <a:pt x="25" y="9"/>
                </a:lnTo>
                <a:lnTo>
                  <a:pt x="22" y="16"/>
                </a:lnTo>
                <a:lnTo>
                  <a:pt x="19" y="16"/>
                </a:lnTo>
                <a:lnTo>
                  <a:pt x="19" y="9"/>
                </a:lnTo>
                <a:lnTo>
                  <a:pt x="19" y="9"/>
                </a:lnTo>
                <a:lnTo>
                  <a:pt x="19" y="3"/>
                </a:lnTo>
                <a:lnTo>
                  <a:pt x="19" y="6"/>
                </a:lnTo>
                <a:lnTo>
                  <a:pt x="16" y="9"/>
                </a:lnTo>
                <a:lnTo>
                  <a:pt x="16" y="12"/>
                </a:lnTo>
                <a:lnTo>
                  <a:pt x="13" y="9"/>
                </a:lnTo>
                <a:lnTo>
                  <a:pt x="10" y="9"/>
                </a:lnTo>
                <a:lnTo>
                  <a:pt x="7" y="6"/>
                </a:lnTo>
                <a:lnTo>
                  <a:pt x="7" y="3"/>
                </a:lnTo>
                <a:lnTo>
                  <a:pt x="7" y="3"/>
                </a:lnTo>
                <a:lnTo>
                  <a:pt x="10" y="0"/>
                </a:lnTo>
                <a:lnTo>
                  <a:pt x="10" y="0"/>
                </a:lnTo>
                <a:lnTo>
                  <a:pt x="7" y="0"/>
                </a:lnTo>
                <a:lnTo>
                  <a:pt x="3" y="3"/>
                </a:lnTo>
                <a:lnTo>
                  <a:pt x="7" y="6"/>
                </a:lnTo>
                <a:lnTo>
                  <a:pt x="7" y="9"/>
                </a:lnTo>
                <a:lnTo>
                  <a:pt x="7" y="9"/>
                </a:lnTo>
                <a:lnTo>
                  <a:pt x="7" y="12"/>
                </a:lnTo>
                <a:lnTo>
                  <a:pt x="3" y="16"/>
                </a:lnTo>
                <a:lnTo>
                  <a:pt x="0" y="19"/>
                </a:lnTo>
                <a:lnTo>
                  <a:pt x="0" y="22"/>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5" name="Freeform 153">
            <a:extLst>
              <a:ext uri="{FF2B5EF4-FFF2-40B4-BE49-F238E27FC236}">
                <a16:creationId xmlns:a16="http://schemas.microsoft.com/office/drawing/2014/main" id="{9A72455C-AB54-1E50-E7AE-DEDDA99F9F32}"/>
              </a:ext>
            </a:extLst>
          </p:cNvPr>
          <p:cNvSpPr>
            <a:spLocks/>
          </p:cNvSpPr>
          <p:nvPr userDrawn="1"/>
        </p:nvSpPr>
        <p:spPr bwMode="auto">
          <a:xfrm>
            <a:off x="16702586" y="10657759"/>
            <a:ext cx="38100" cy="38102"/>
          </a:xfrm>
          <a:custGeom>
            <a:avLst/>
            <a:gdLst>
              <a:gd name="T0" fmla="*/ 3 w 12"/>
              <a:gd name="T1" fmla="*/ 0 h 12"/>
              <a:gd name="T2" fmla="*/ 3 w 12"/>
              <a:gd name="T3" fmla="*/ 6 h 12"/>
              <a:gd name="T4" fmla="*/ 0 w 12"/>
              <a:gd name="T5" fmla="*/ 9 h 12"/>
              <a:gd name="T6" fmla="*/ 6 w 12"/>
              <a:gd name="T7" fmla="*/ 12 h 12"/>
              <a:gd name="T8" fmla="*/ 9 w 12"/>
              <a:gd name="T9" fmla="*/ 9 h 12"/>
              <a:gd name="T10" fmla="*/ 9 w 12"/>
              <a:gd name="T11" fmla="*/ 6 h 12"/>
              <a:gd name="T12" fmla="*/ 12 w 12"/>
              <a:gd name="T13" fmla="*/ 6 h 12"/>
              <a:gd name="T14" fmla="*/ 12 w 12"/>
              <a:gd name="T15" fmla="*/ 3 h 12"/>
              <a:gd name="T16" fmla="*/ 9 w 12"/>
              <a:gd name="T17" fmla="*/ 0 h 12"/>
              <a:gd name="T18" fmla="*/ 6 w 12"/>
              <a:gd name="T19" fmla="*/ 3 h 12"/>
              <a:gd name="T20" fmla="*/ 3 w 12"/>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2">
                <a:moveTo>
                  <a:pt x="3" y="0"/>
                </a:moveTo>
                <a:lnTo>
                  <a:pt x="3" y="6"/>
                </a:lnTo>
                <a:lnTo>
                  <a:pt x="0" y="9"/>
                </a:lnTo>
                <a:lnTo>
                  <a:pt x="6" y="12"/>
                </a:lnTo>
                <a:lnTo>
                  <a:pt x="9" y="9"/>
                </a:lnTo>
                <a:lnTo>
                  <a:pt x="9" y="6"/>
                </a:lnTo>
                <a:lnTo>
                  <a:pt x="12" y="6"/>
                </a:lnTo>
                <a:lnTo>
                  <a:pt x="12" y="3"/>
                </a:lnTo>
                <a:lnTo>
                  <a:pt x="9" y="0"/>
                </a:lnTo>
                <a:lnTo>
                  <a:pt x="6" y="3"/>
                </a:lnTo>
                <a:lnTo>
                  <a:pt x="3" y="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6" name="Freeform 154">
            <a:extLst>
              <a:ext uri="{FF2B5EF4-FFF2-40B4-BE49-F238E27FC236}">
                <a16:creationId xmlns:a16="http://schemas.microsoft.com/office/drawing/2014/main" id="{F6E4B5D1-8F67-9B9D-E3EB-6B5E91A6B2AB}"/>
              </a:ext>
            </a:extLst>
          </p:cNvPr>
          <p:cNvSpPr>
            <a:spLocks/>
          </p:cNvSpPr>
          <p:nvPr userDrawn="1"/>
        </p:nvSpPr>
        <p:spPr bwMode="auto">
          <a:xfrm>
            <a:off x="16581946" y="10708559"/>
            <a:ext cx="31748" cy="38102"/>
          </a:xfrm>
          <a:custGeom>
            <a:avLst/>
            <a:gdLst>
              <a:gd name="T0" fmla="*/ 0 w 10"/>
              <a:gd name="T1" fmla="*/ 0 h 12"/>
              <a:gd name="T2" fmla="*/ 0 w 10"/>
              <a:gd name="T3" fmla="*/ 6 h 12"/>
              <a:gd name="T4" fmla="*/ 3 w 10"/>
              <a:gd name="T5" fmla="*/ 12 h 12"/>
              <a:gd name="T6" fmla="*/ 6 w 10"/>
              <a:gd name="T7" fmla="*/ 12 h 12"/>
              <a:gd name="T8" fmla="*/ 10 w 10"/>
              <a:gd name="T9" fmla="*/ 9 h 12"/>
              <a:gd name="T10" fmla="*/ 10 w 10"/>
              <a:gd name="T11" fmla="*/ 6 h 12"/>
              <a:gd name="T12" fmla="*/ 6 w 10"/>
              <a:gd name="T13" fmla="*/ 3 h 12"/>
              <a:gd name="T14" fmla="*/ 0 w 10"/>
              <a:gd name="T15" fmla="*/ 0 h 12"/>
              <a:gd name="T16" fmla="*/ 0 w 1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2">
                <a:moveTo>
                  <a:pt x="0" y="0"/>
                </a:moveTo>
                <a:lnTo>
                  <a:pt x="0" y="6"/>
                </a:lnTo>
                <a:lnTo>
                  <a:pt x="3" y="12"/>
                </a:lnTo>
                <a:lnTo>
                  <a:pt x="6" y="12"/>
                </a:lnTo>
                <a:lnTo>
                  <a:pt x="10" y="9"/>
                </a:lnTo>
                <a:lnTo>
                  <a:pt x="10" y="6"/>
                </a:lnTo>
                <a:lnTo>
                  <a:pt x="6" y="3"/>
                </a:lnTo>
                <a:lnTo>
                  <a:pt x="0" y="0"/>
                </a:lnTo>
                <a:lnTo>
                  <a:pt x="0" y="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7" name="Freeform 155">
            <a:extLst>
              <a:ext uri="{FF2B5EF4-FFF2-40B4-BE49-F238E27FC236}">
                <a16:creationId xmlns:a16="http://schemas.microsoft.com/office/drawing/2014/main" id="{304CC159-8AE5-052B-110C-511BA6C1B458}"/>
              </a:ext>
            </a:extLst>
          </p:cNvPr>
          <p:cNvSpPr>
            <a:spLocks noEditPoints="1"/>
          </p:cNvSpPr>
          <p:nvPr userDrawn="1"/>
        </p:nvSpPr>
        <p:spPr bwMode="auto">
          <a:xfrm>
            <a:off x="15807294" y="10140237"/>
            <a:ext cx="476219" cy="885826"/>
          </a:xfrm>
          <a:custGeom>
            <a:avLst/>
            <a:gdLst>
              <a:gd name="T0" fmla="*/ 44 w 150"/>
              <a:gd name="T1" fmla="*/ 276 h 279"/>
              <a:gd name="T2" fmla="*/ 69 w 150"/>
              <a:gd name="T3" fmla="*/ 266 h 279"/>
              <a:gd name="T4" fmla="*/ 79 w 150"/>
              <a:gd name="T5" fmla="*/ 254 h 279"/>
              <a:gd name="T6" fmla="*/ 82 w 150"/>
              <a:gd name="T7" fmla="*/ 238 h 279"/>
              <a:gd name="T8" fmla="*/ 88 w 150"/>
              <a:gd name="T9" fmla="*/ 229 h 279"/>
              <a:gd name="T10" fmla="*/ 100 w 150"/>
              <a:gd name="T11" fmla="*/ 201 h 279"/>
              <a:gd name="T12" fmla="*/ 116 w 150"/>
              <a:gd name="T13" fmla="*/ 163 h 279"/>
              <a:gd name="T14" fmla="*/ 125 w 150"/>
              <a:gd name="T15" fmla="*/ 138 h 279"/>
              <a:gd name="T16" fmla="*/ 132 w 150"/>
              <a:gd name="T17" fmla="*/ 110 h 279"/>
              <a:gd name="T18" fmla="*/ 135 w 150"/>
              <a:gd name="T19" fmla="*/ 94 h 279"/>
              <a:gd name="T20" fmla="*/ 138 w 150"/>
              <a:gd name="T21" fmla="*/ 82 h 279"/>
              <a:gd name="T22" fmla="*/ 138 w 150"/>
              <a:gd name="T23" fmla="*/ 69 h 279"/>
              <a:gd name="T24" fmla="*/ 147 w 150"/>
              <a:gd name="T25" fmla="*/ 82 h 279"/>
              <a:gd name="T26" fmla="*/ 150 w 150"/>
              <a:gd name="T27" fmla="*/ 69 h 279"/>
              <a:gd name="T28" fmla="*/ 144 w 150"/>
              <a:gd name="T29" fmla="*/ 57 h 279"/>
              <a:gd name="T30" fmla="*/ 147 w 150"/>
              <a:gd name="T31" fmla="*/ 41 h 279"/>
              <a:gd name="T32" fmla="*/ 141 w 150"/>
              <a:gd name="T33" fmla="*/ 16 h 279"/>
              <a:gd name="T34" fmla="*/ 132 w 150"/>
              <a:gd name="T35" fmla="*/ 7 h 279"/>
              <a:gd name="T36" fmla="*/ 129 w 150"/>
              <a:gd name="T37" fmla="*/ 7 h 279"/>
              <a:gd name="T38" fmla="*/ 125 w 150"/>
              <a:gd name="T39" fmla="*/ 10 h 279"/>
              <a:gd name="T40" fmla="*/ 122 w 150"/>
              <a:gd name="T41" fmla="*/ 22 h 279"/>
              <a:gd name="T42" fmla="*/ 113 w 150"/>
              <a:gd name="T43" fmla="*/ 35 h 279"/>
              <a:gd name="T44" fmla="*/ 110 w 150"/>
              <a:gd name="T45" fmla="*/ 32 h 279"/>
              <a:gd name="T46" fmla="*/ 107 w 150"/>
              <a:gd name="T47" fmla="*/ 44 h 279"/>
              <a:gd name="T48" fmla="*/ 100 w 150"/>
              <a:gd name="T49" fmla="*/ 47 h 279"/>
              <a:gd name="T50" fmla="*/ 104 w 150"/>
              <a:gd name="T51" fmla="*/ 57 h 279"/>
              <a:gd name="T52" fmla="*/ 94 w 150"/>
              <a:gd name="T53" fmla="*/ 63 h 279"/>
              <a:gd name="T54" fmla="*/ 91 w 150"/>
              <a:gd name="T55" fmla="*/ 57 h 279"/>
              <a:gd name="T56" fmla="*/ 88 w 150"/>
              <a:gd name="T57" fmla="*/ 66 h 279"/>
              <a:gd name="T58" fmla="*/ 85 w 150"/>
              <a:gd name="T59" fmla="*/ 72 h 279"/>
              <a:gd name="T60" fmla="*/ 82 w 150"/>
              <a:gd name="T61" fmla="*/ 66 h 279"/>
              <a:gd name="T62" fmla="*/ 75 w 150"/>
              <a:gd name="T63" fmla="*/ 82 h 279"/>
              <a:gd name="T64" fmla="*/ 69 w 150"/>
              <a:gd name="T65" fmla="*/ 72 h 279"/>
              <a:gd name="T66" fmla="*/ 57 w 150"/>
              <a:gd name="T67" fmla="*/ 75 h 279"/>
              <a:gd name="T68" fmla="*/ 54 w 150"/>
              <a:gd name="T69" fmla="*/ 79 h 279"/>
              <a:gd name="T70" fmla="*/ 41 w 150"/>
              <a:gd name="T71" fmla="*/ 85 h 279"/>
              <a:gd name="T72" fmla="*/ 32 w 150"/>
              <a:gd name="T73" fmla="*/ 88 h 279"/>
              <a:gd name="T74" fmla="*/ 19 w 150"/>
              <a:gd name="T75" fmla="*/ 110 h 279"/>
              <a:gd name="T76" fmla="*/ 22 w 150"/>
              <a:gd name="T77" fmla="*/ 125 h 279"/>
              <a:gd name="T78" fmla="*/ 32 w 150"/>
              <a:gd name="T79" fmla="*/ 147 h 279"/>
              <a:gd name="T80" fmla="*/ 29 w 150"/>
              <a:gd name="T81" fmla="*/ 163 h 279"/>
              <a:gd name="T82" fmla="*/ 19 w 150"/>
              <a:gd name="T83" fmla="*/ 175 h 279"/>
              <a:gd name="T84" fmla="*/ 7 w 150"/>
              <a:gd name="T85" fmla="*/ 188 h 279"/>
              <a:gd name="T86" fmla="*/ 0 w 150"/>
              <a:gd name="T87" fmla="*/ 207 h 279"/>
              <a:gd name="T88" fmla="*/ 7 w 150"/>
              <a:gd name="T89" fmla="*/ 226 h 279"/>
              <a:gd name="T90" fmla="*/ 10 w 150"/>
              <a:gd name="T91" fmla="*/ 232 h 279"/>
              <a:gd name="T92" fmla="*/ 7 w 150"/>
              <a:gd name="T93" fmla="*/ 244 h 279"/>
              <a:gd name="T94" fmla="*/ 10 w 150"/>
              <a:gd name="T95" fmla="*/ 260 h 279"/>
              <a:gd name="T96" fmla="*/ 19 w 150"/>
              <a:gd name="T97" fmla="*/ 269 h 279"/>
              <a:gd name="T98" fmla="*/ 29 w 150"/>
              <a:gd name="T99" fmla="*/ 276 h 279"/>
              <a:gd name="T100" fmla="*/ 32 w 150"/>
              <a:gd name="T101" fmla="*/ 279 h 279"/>
              <a:gd name="T102" fmla="*/ 119 w 150"/>
              <a:gd name="T103" fmla="*/ 16 h 279"/>
              <a:gd name="T104" fmla="*/ 116 w 150"/>
              <a:gd name="T105" fmla="*/ 25 h 279"/>
              <a:gd name="T106" fmla="*/ 116 w 150"/>
              <a:gd name="T107" fmla="*/ 25 h 279"/>
              <a:gd name="T108" fmla="*/ 113 w 150"/>
              <a:gd name="T109" fmla="*/ 25 h 279"/>
              <a:gd name="T110" fmla="*/ 110 w 150"/>
              <a:gd name="T111" fmla="*/ 25 h 279"/>
              <a:gd name="T112" fmla="*/ 138 w 150"/>
              <a:gd name="T113" fmla="*/ 97 h 279"/>
              <a:gd name="T114" fmla="*/ 141 w 150"/>
              <a:gd name="T115" fmla="*/ 9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279">
                <a:moveTo>
                  <a:pt x="32" y="279"/>
                </a:moveTo>
                <a:lnTo>
                  <a:pt x="35" y="276"/>
                </a:lnTo>
                <a:lnTo>
                  <a:pt x="38" y="279"/>
                </a:lnTo>
                <a:lnTo>
                  <a:pt x="44" y="276"/>
                </a:lnTo>
                <a:lnTo>
                  <a:pt x="47" y="269"/>
                </a:lnTo>
                <a:lnTo>
                  <a:pt x="60" y="269"/>
                </a:lnTo>
                <a:lnTo>
                  <a:pt x="63" y="269"/>
                </a:lnTo>
                <a:lnTo>
                  <a:pt x="69" y="266"/>
                </a:lnTo>
                <a:lnTo>
                  <a:pt x="72" y="263"/>
                </a:lnTo>
                <a:lnTo>
                  <a:pt x="75" y="263"/>
                </a:lnTo>
                <a:lnTo>
                  <a:pt x="75" y="257"/>
                </a:lnTo>
                <a:lnTo>
                  <a:pt x="79" y="254"/>
                </a:lnTo>
                <a:lnTo>
                  <a:pt x="82" y="247"/>
                </a:lnTo>
                <a:lnTo>
                  <a:pt x="85" y="247"/>
                </a:lnTo>
                <a:lnTo>
                  <a:pt x="85" y="241"/>
                </a:lnTo>
                <a:lnTo>
                  <a:pt x="82" y="238"/>
                </a:lnTo>
                <a:lnTo>
                  <a:pt x="85" y="238"/>
                </a:lnTo>
                <a:lnTo>
                  <a:pt x="88" y="232"/>
                </a:lnTo>
                <a:lnTo>
                  <a:pt x="88" y="229"/>
                </a:lnTo>
                <a:lnTo>
                  <a:pt x="88" y="229"/>
                </a:lnTo>
                <a:lnTo>
                  <a:pt x="91" y="226"/>
                </a:lnTo>
                <a:lnTo>
                  <a:pt x="94" y="210"/>
                </a:lnTo>
                <a:lnTo>
                  <a:pt x="97" y="204"/>
                </a:lnTo>
                <a:lnTo>
                  <a:pt x="100" y="201"/>
                </a:lnTo>
                <a:lnTo>
                  <a:pt x="100" y="191"/>
                </a:lnTo>
                <a:lnTo>
                  <a:pt x="107" y="182"/>
                </a:lnTo>
                <a:lnTo>
                  <a:pt x="113" y="166"/>
                </a:lnTo>
                <a:lnTo>
                  <a:pt x="116" y="163"/>
                </a:lnTo>
                <a:lnTo>
                  <a:pt x="116" y="154"/>
                </a:lnTo>
                <a:lnTo>
                  <a:pt x="119" y="147"/>
                </a:lnTo>
                <a:lnTo>
                  <a:pt x="119" y="144"/>
                </a:lnTo>
                <a:lnTo>
                  <a:pt x="125" y="138"/>
                </a:lnTo>
                <a:lnTo>
                  <a:pt x="125" y="125"/>
                </a:lnTo>
                <a:lnTo>
                  <a:pt x="129" y="119"/>
                </a:lnTo>
                <a:lnTo>
                  <a:pt x="132" y="116"/>
                </a:lnTo>
                <a:lnTo>
                  <a:pt x="132" y="110"/>
                </a:lnTo>
                <a:lnTo>
                  <a:pt x="129" y="107"/>
                </a:lnTo>
                <a:lnTo>
                  <a:pt x="132" y="104"/>
                </a:lnTo>
                <a:lnTo>
                  <a:pt x="135" y="97"/>
                </a:lnTo>
                <a:lnTo>
                  <a:pt x="135" y="94"/>
                </a:lnTo>
                <a:lnTo>
                  <a:pt x="138" y="91"/>
                </a:lnTo>
                <a:lnTo>
                  <a:pt x="138" y="88"/>
                </a:lnTo>
                <a:lnTo>
                  <a:pt x="135" y="85"/>
                </a:lnTo>
                <a:lnTo>
                  <a:pt x="138" y="82"/>
                </a:lnTo>
                <a:lnTo>
                  <a:pt x="135" y="75"/>
                </a:lnTo>
                <a:lnTo>
                  <a:pt x="135" y="75"/>
                </a:lnTo>
                <a:lnTo>
                  <a:pt x="135" y="72"/>
                </a:lnTo>
                <a:lnTo>
                  <a:pt x="138" y="69"/>
                </a:lnTo>
                <a:lnTo>
                  <a:pt x="138" y="72"/>
                </a:lnTo>
                <a:lnTo>
                  <a:pt x="141" y="75"/>
                </a:lnTo>
                <a:lnTo>
                  <a:pt x="144" y="79"/>
                </a:lnTo>
                <a:lnTo>
                  <a:pt x="147" y="82"/>
                </a:lnTo>
                <a:lnTo>
                  <a:pt x="147" y="79"/>
                </a:lnTo>
                <a:lnTo>
                  <a:pt x="147" y="75"/>
                </a:lnTo>
                <a:lnTo>
                  <a:pt x="147" y="72"/>
                </a:lnTo>
                <a:lnTo>
                  <a:pt x="150" y="69"/>
                </a:lnTo>
                <a:lnTo>
                  <a:pt x="150" y="69"/>
                </a:lnTo>
                <a:lnTo>
                  <a:pt x="150" y="66"/>
                </a:lnTo>
                <a:lnTo>
                  <a:pt x="147" y="60"/>
                </a:lnTo>
                <a:lnTo>
                  <a:pt x="144" y="57"/>
                </a:lnTo>
                <a:lnTo>
                  <a:pt x="147" y="53"/>
                </a:lnTo>
                <a:lnTo>
                  <a:pt x="147" y="50"/>
                </a:lnTo>
                <a:lnTo>
                  <a:pt x="144" y="44"/>
                </a:lnTo>
                <a:lnTo>
                  <a:pt x="147" y="41"/>
                </a:lnTo>
                <a:lnTo>
                  <a:pt x="147" y="32"/>
                </a:lnTo>
                <a:lnTo>
                  <a:pt x="144" y="28"/>
                </a:lnTo>
                <a:lnTo>
                  <a:pt x="144" y="19"/>
                </a:lnTo>
                <a:lnTo>
                  <a:pt x="141" y="16"/>
                </a:lnTo>
                <a:lnTo>
                  <a:pt x="141" y="16"/>
                </a:lnTo>
                <a:lnTo>
                  <a:pt x="138" y="13"/>
                </a:lnTo>
                <a:lnTo>
                  <a:pt x="135" y="10"/>
                </a:lnTo>
                <a:lnTo>
                  <a:pt x="132" y="7"/>
                </a:lnTo>
                <a:lnTo>
                  <a:pt x="135" y="3"/>
                </a:lnTo>
                <a:lnTo>
                  <a:pt x="135" y="0"/>
                </a:lnTo>
                <a:lnTo>
                  <a:pt x="129" y="3"/>
                </a:lnTo>
                <a:lnTo>
                  <a:pt x="129" y="7"/>
                </a:lnTo>
                <a:lnTo>
                  <a:pt x="125" y="10"/>
                </a:lnTo>
                <a:lnTo>
                  <a:pt x="122" y="7"/>
                </a:lnTo>
                <a:lnTo>
                  <a:pt x="122" y="7"/>
                </a:lnTo>
                <a:lnTo>
                  <a:pt x="125" y="10"/>
                </a:lnTo>
                <a:lnTo>
                  <a:pt x="125" y="13"/>
                </a:lnTo>
                <a:lnTo>
                  <a:pt x="125" y="16"/>
                </a:lnTo>
                <a:lnTo>
                  <a:pt x="125" y="16"/>
                </a:lnTo>
                <a:lnTo>
                  <a:pt x="122" y="22"/>
                </a:lnTo>
                <a:lnTo>
                  <a:pt x="122" y="25"/>
                </a:lnTo>
                <a:lnTo>
                  <a:pt x="119" y="32"/>
                </a:lnTo>
                <a:lnTo>
                  <a:pt x="116" y="28"/>
                </a:lnTo>
                <a:lnTo>
                  <a:pt x="113" y="35"/>
                </a:lnTo>
                <a:lnTo>
                  <a:pt x="113" y="38"/>
                </a:lnTo>
                <a:lnTo>
                  <a:pt x="110" y="38"/>
                </a:lnTo>
                <a:lnTo>
                  <a:pt x="110" y="38"/>
                </a:lnTo>
                <a:lnTo>
                  <a:pt x="110" y="32"/>
                </a:lnTo>
                <a:lnTo>
                  <a:pt x="107" y="32"/>
                </a:lnTo>
                <a:lnTo>
                  <a:pt x="104" y="35"/>
                </a:lnTo>
                <a:lnTo>
                  <a:pt x="104" y="38"/>
                </a:lnTo>
                <a:lnTo>
                  <a:pt x="107" y="44"/>
                </a:lnTo>
                <a:lnTo>
                  <a:pt x="110" y="44"/>
                </a:lnTo>
                <a:lnTo>
                  <a:pt x="107" y="47"/>
                </a:lnTo>
                <a:lnTo>
                  <a:pt x="107" y="44"/>
                </a:lnTo>
                <a:lnTo>
                  <a:pt x="100" y="47"/>
                </a:lnTo>
                <a:lnTo>
                  <a:pt x="104" y="50"/>
                </a:lnTo>
                <a:lnTo>
                  <a:pt x="107" y="50"/>
                </a:lnTo>
                <a:lnTo>
                  <a:pt x="107" y="53"/>
                </a:lnTo>
                <a:lnTo>
                  <a:pt x="104" y="57"/>
                </a:lnTo>
                <a:lnTo>
                  <a:pt x="104" y="53"/>
                </a:lnTo>
                <a:lnTo>
                  <a:pt x="100" y="53"/>
                </a:lnTo>
                <a:lnTo>
                  <a:pt x="100" y="57"/>
                </a:lnTo>
                <a:lnTo>
                  <a:pt x="94" y="63"/>
                </a:lnTo>
                <a:lnTo>
                  <a:pt x="94" y="57"/>
                </a:lnTo>
                <a:lnTo>
                  <a:pt x="94" y="57"/>
                </a:lnTo>
                <a:lnTo>
                  <a:pt x="94" y="53"/>
                </a:lnTo>
                <a:lnTo>
                  <a:pt x="91" y="57"/>
                </a:lnTo>
                <a:lnTo>
                  <a:pt x="91" y="60"/>
                </a:lnTo>
                <a:lnTo>
                  <a:pt x="91" y="60"/>
                </a:lnTo>
                <a:lnTo>
                  <a:pt x="88" y="63"/>
                </a:lnTo>
                <a:lnTo>
                  <a:pt x="88" y="66"/>
                </a:lnTo>
                <a:lnTo>
                  <a:pt x="91" y="66"/>
                </a:lnTo>
                <a:lnTo>
                  <a:pt x="91" y="69"/>
                </a:lnTo>
                <a:lnTo>
                  <a:pt x="88" y="69"/>
                </a:lnTo>
                <a:lnTo>
                  <a:pt x="85" y="72"/>
                </a:lnTo>
                <a:lnTo>
                  <a:pt x="85" y="69"/>
                </a:lnTo>
                <a:lnTo>
                  <a:pt x="82" y="69"/>
                </a:lnTo>
                <a:lnTo>
                  <a:pt x="85" y="66"/>
                </a:lnTo>
                <a:lnTo>
                  <a:pt x="82" y="66"/>
                </a:lnTo>
                <a:lnTo>
                  <a:pt x="75" y="72"/>
                </a:lnTo>
                <a:lnTo>
                  <a:pt x="75" y="75"/>
                </a:lnTo>
                <a:lnTo>
                  <a:pt x="75" y="79"/>
                </a:lnTo>
                <a:lnTo>
                  <a:pt x="75" y="82"/>
                </a:lnTo>
                <a:lnTo>
                  <a:pt x="72" y="82"/>
                </a:lnTo>
                <a:lnTo>
                  <a:pt x="69" y="79"/>
                </a:lnTo>
                <a:lnTo>
                  <a:pt x="69" y="75"/>
                </a:lnTo>
                <a:lnTo>
                  <a:pt x="69" y="72"/>
                </a:lnTo>
                <a:lnTo>
                  <a:pt x="63" y="79"/>
                </a:lnTo>
                <a:lnTo>
                  <a:pt x="60" y="75"/>
                </a:lnTo>
                <a:lnTo>
                  <a:pt x="57" y="75"/>
                </a:lnTo>
                <a:lnTo>
                  <a:pt x="57" y="75"/>
                </a:lnTo>
                <a:lnTo>
                  <a:pt x="57" y="82"/>
                </a:lnTo>
                <a:lnTo>
                  <a:pt x="57" y="82"/>
                </a:lnTo>
                <a:lnTo>
                  <a:pt x="54" y="82"/>
                </a:lnTo>
                <a:lnTo>
                  <a:pt x="54" y="79"/>
                </a:lnTo>
                <a:lnTo>
                  <a:pt x="50" y="79"/>
                </a:lnTo>
                <a:lnTo>
                  <a:pt x="50" y="82"/>
                </a:lnTo>
                <a:lnTo>
                  <a:pt x="47" y="79"/>
                </a:lnTo>
                <a:lnTo>
                  <a:pt x="41" y="85"/>
                </a:lnTo>
                <a:lnTo>
                  <a:pt x="38" y="85"/>
                </a:lnTo>
                <a:lnTo>
                  <a:pt x="35" y="85"/>
                </a:lnTo>
                <a:lnTo>
                  <a:pt x="32" y="85"/>
                </a:lnTo>
                <a:lnTo>
                  <a:pt x="32" y="88"/>
                </a:lnTo>
                <a:lnTo>
                  <a:pt x="32" y="94"/>
                </a:lnTo>
                <a:lnTo>
                  <a:pt x="25" y="104"/>
                </a:lnTo>
                <a:lnTo>
                  <a:pt x="25" y="104"/>
                </a:lnTo>
                <a:lnTo>
                  <a:pt x="19" y="110"/>
                </a:lnTo>
                <a:lnTo>
                  <a:pt x="19" y="113"/>
                </a:lnTo>
                <a:lnTo>
                  <a:pt x="22" y="116"/>
                </a:lnTo>
                <a:lnTo>
                  <a:pt x="19" y="119"/>
                </a:lnTo>
                <a:lnTo>
                  <a:pt x="22" y="125"/>
                </a:lnTo>
                <a:lnTo>
                  <a:pt x="22" y="129"/>
                </a:lnTo>
                <a:lnTo>
                  <a:pt x="29" y="141"/>
                </a:lnTo>
                <a:lnTo>
                  <a:pt x="29" y="144"/>
                </a:lnTo>
                <a:lnTo>
                  <a:pt x="32" y="147"/>
                </a:lnTo>
                <a:lnTo>
                  <a:pt x="32" y="147"/>
                </a:lnTo>
                <a:lnTo>
                  <a:pt x="29" y="150"/>
                </a:lnTo>
                <a:lnTo>
                  <a:pt x="29" y="154"/>
                </a:lnTo>
                <a:lnTo>
                  <a:pt x="29" y="163"/>
                </a:lnTo>
                <a:lnTo>
                  <a:pt x="22" y="166"/>
                </a:lnTo>
                <a:lnTo>
                  <a:pt x="22" y="169"/>
                </a:lnTo>
                <a:lnTo>
                  <a:pt x="19" y="169"/>
                </a:lnTo>
                <a:lnTo>
                  <a:pt x="19" y="175"/>
                </a:lnTo>
                <a:lnTo>
                  <a:pt x="16" y="175"/>
                </a:lnTo>
                <a:lnTo>
                  <a:pt x="16" y="185"/>
                </a:lnTo>
                <a:lnTo>
                  <a:pt x="13" y="188"/>
                </a:lnTo>
                <a:lnTo>
                  <a:pt x="7" y="188"/>
                </a:lnTo>
                <a:lnTo>
                  <a:pt x="7" y="191"/>
                </a:lnTo>
                <a:lnTo>
                  <a:pt x="7" y="197"/>
                </a:lnTo>
                <a:lnTo>
                  <a:pt x="0" y="201"/>
                </a:lnTo>
                <a:lnTo>
                  <a:pt x="0" y="207"/>
                </a:lnTo>
                <a:lnTo>
                  <a:pt x="0" y="210"/>
                </a:lnTo>
                <a:lnTo>
                  <a:pt x="0" y="213"/>
                </a:lnTo>
                <a:lnTo>
                  <a:pt x="0" y="219"/>
                </a:lnTo>
                <a:lnTo>
                  <a:pt x="7" y="226"/>
                </a:lnTo>
                <a:lnTo>
                  <a:pt x="7" y="229"/>
                </a:lnTo>
                <a:lnTo>
                  <a:pt x="7" y="232"/>
                </a:lnTo>
                <a:lnTo>
                  <a:pt x="10" y="232"/>
                </a:lnTo>
                <a:lnTo>
                  <a:pt x="10" y="232"/>
                </a:lnTo>
                <a:lnTo>
                  <a:pt x="10" y="235"/>
                </a:lnTo>
                <a:lnTo>
                  <a:pt x="7" y="235"/>
                </a:lnTo>
                <a:lnTo>
                  <a:pt x="7" y="238"/>
                </a:lnTo>
                <a:lnTo>
                  <a:pt x="7" y="244"/>
                </a:lnTo>
                <a:lnTo>
                  <a:pt x="7" y="254"/>
                </a:lnTo>
                <a:lnTo>
                  <a:pt x="7" y="254"/>
                </a:lnTo>
                <a:lnTo>
                  <a:pt x="7" y="257"/>
                </a:lnTo>
                <a:lnTo>
                  <a:pt x="10" y="260"/>
                </a:lnTo>
                <a:lnTo>
                  <a:pt x="13" y="263"/>
                </a:lnTo>
                <a:lnTo>
                  <a:pt x="13" y="263"/>
                </a:lnTo>
                <a:lnTo>
                  <a:pt x="16" y="266"/>
                </a:lnTo>
                <a:lnTo>
                  <a:pt x="19" y="269"/>
                </a:lnTo>
                <a:lnTo>
                  <a:pt x="22" y="269"/>
                </a:lnTo>
                <a:lnTo>
                  <a:pt x="22" y="269"/>
                </a:lnTo>
                <a:lnTo>
                  <a:pt x="25" y="272"/>
                </a:lnTo>
                <a:lnTo>
                  <a:pt x="29" y="276"/>
                </a:lnTo>
                <a:lnTo>
                  <a:pt x="32" y="276"/>
                </a:lnTo>
                <a:lnTo>
                  <a:pt x="32" y="279"/>
                </a:lnTo>
                <a:lnTo>
                  <a:pt x="32" y="279"/>
                </a:lnTo>
                <a:lnTo>
                  <a:pt x="32" y="279"/>
                </a:lnTo>
                <a:close/>
                <a:moveTo>
                  <a:pt x="119" y="19"/>
                </a:moveTo>
                <a:lnTo>
                  <a:pt x="116" y="19"/>
                </a:lnTo>
                <a:lnTo>
                  <a:pt x="119" y="16"/>
                </a:lnTo>
                <a:lnTo>
                  <a:pt x="119" y="16"/>
                </a:lnTo>
                <a:lnTo>
                  <a:pt x="119" y="19"/>
                </a:lnTo>
                <a:lnTo>
                  <a:pt x="119" y="19"/>
                </a:lnTo>
                <a:close/>
                <a:moveTo>
                  <a:pt x="116" y="25"/>
                </a:moveTo>
                <a:lnTo>
                  <a:pt x="116" y="25"/>
                </a:lnTo>
                <a:lnTo>
                  <a:pt x="119" y="25"/>
                </a:lnTo>
                <a:lnTo>
                  <a:pt x="116" y="28"/>
                </a:lnTo>
                <a:lnTo>
                  <a:pt x="116" y="25"/>
                </a:lnTo>
                <a:lnTo>
                  <a:pt x="116" y="25"/>
                </a:lnTo>
                <a:close/>
                <a:moveTo>
                  <a:pt x="110" y="25"/>
                </a:moveTo>
                <a:lnTo>
                  <a:pt x="110" y="25"/>
                </a:lnTo>
                <a:lnTo>
                  <a:pt x="113" y="25"/>
                </a:lnTo>
                <a:lnTo>
                  <a:pt x="113" y="25"/>
                </a:lnTo>
                <a:lnTo>
                  <a:pt x="113" y="28"/>
                </a:lnTo>
                <a:lnTo>
                  <a:pt x="110" y="28"/>
                </a:lnTo>
                <a:lnTo>
                  <a:pt x="110" y="28"/>
                </a:lnTo>
                <a:lnTo>
                  <a:pt x="110" y="25"/>
                </a:lnTo>
                <a:lnTo>
                  <a:pt x="110" y="25"/>
                </a:lnTo>
                <a:close/>
                <a:moveTo>
                  <a:pt x="138" y="104"/>
                </a:moveTo>
                <a:lnTo>
                  <a:pt x="138" y="100"/>
                </a:lnTo>
                <a:lnTo>
                  <a:pt x="138" y="97"/>
                </a:lnTo>
                <a:lnTo>
                  <a:pt x="138" y="97"/>
                </a:lnTo>
                <a:lnTo>
                  <a:pt x="141" y="97"/>
                </a:lnTo>
                <a:lnTo>
                  <a:pt x="141" y="94"/>
                </a:lnTo>
                <a:lnTo>
                  <a:pt x="141" y="97"/>
                </a:lnTo>
                <a:lnTo>
                  <a:pt x="138" y="100"/>
                </a:lnTo>
                <a:lnTo>
                  <a:pt x="138" y="104"/>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8" name="Freeform 156">
            <a:extLst>
              <a:ext uri="{FF2B5EF4-FFF2-40B4-BE49-F238E27FC236}">
                <a16:creationId xmlns:a16="http://schemas.microsoft.com/office/drawing/2014/main" id="{73AFB262-E2F2-F8A6-EEF2-6243BEC4798F}"/>
              </a:ext>
            </a:extLst>
          </p:cNvPr>
          <p:cNvSpPr>
            <a:spLocks/>
          </p:cNvSpPr>
          <p:nvPr userDrawn="1"/>
        </p:nvSpPr>
        <p:spPr bwMode="auto">
          <a:xfrm>
            <a:off x="15045348" y="10041807"/>
            <a:ext cx="644484" cy="1054102"/>
          </a:xfrm>
          <a:custGeom>
            <a:avLst/>
            <a:gdLst>
              <a:gd name="T0" fmla="*/ 34 w 203"/>
              <a:gd name="T1" fmla="*/ 206 h 332"/>
              <a:gd name="T2" fmla="*/ 40 w 203"/>
              <a:gd name="T3" fmla="*/ 194 h 332"/>
              <a:gd name="T4" fmla="*/ 43 w 203"/>
              <a:gd name="T5" fmla="*/ 181 h 332"/>
              <a:gd name="T6" fmla="*/ 43 w 203"/>
              <a:gd name="T7" fmla="*/ 169 h 332"/>
              <a:gd name="T8" fmla="*/ 43 w 203"/>
              <a:gd name="T9" fmla="*/ 156 h 332"/>
              <a:gd name="T10" fmla="*/ 47 w 203"/>
              <a:gd name="T11" fmla="*/ 141 h 332"/>
              <a:gd name="T12" fmla="*/ 50 w 203"/>
              <a:gd name="T13" fmla="*/ 128 h 332"/>
              <a:gd name="T14" fmla="*/ 28 w 203"/>
              <a:gd name="T15" fmla="*/ 119 h 332"/>
              <a:gd name="T16" fmla="*/ 12 w 203"/>
              <a:gd name="T17" fmla="*/ 113 h 332"/>
              <a:gd name="T18" fmla="*/ 0 w 203"/>
              <a:gd name="T19" fmla="*/ 97 h 332"/>
              <a:gd name="T20" fmla="*/ 34 w 203"/>
              <a:gd name="T21" fmla="*/ 78 h 332"/>
              <a:gd name="T22" fmla="*/ 59 w 203"/>
              <a:gd name="T23" fmla="*/ 75 h 332"/>
              <a:gd name="T24" fmla="*/ 68 w 203"/>
              <a:gd name="T25" fmla="*/ 81 h 332"/>
              <a:gd name="T26" fmla="*/ 81 w 203"/>
              <a:gd name="T27" fmla="*/ 88 h 332"/>
              <a:gd name="T28" fmla="*/ 75 w 203"/>
              <a:gd name="T29" fmla="*/ 110 h 332"/>
              <a:gd name="T30" fmla="*/ 87 w 203"/>
              <a:gd name="T31" fmla="*/ 125 h 332"/>
              <a:gd name="T32" fmla="*/ 93 w 203"/>
              <a:gd name="T33" fmla="*/ 135 h 332"/>
              <a:gd name="T34" fmla="*/ 97 w 203"/>
              <a:gd name="T35" fmla="*/ 113 h 332"/>
              <a:gd name="T36" fmla="*/ 103 w 203"/>
              <a:gd name="T37" fmla="*/ 97 h 332"/>
              <a:gd name="T38" fmla="*/ 106 w 203"/>
              <a:gd name="T39" fmla="*/ 91 h 332"/>
              <a:gd name="T40" fmla="*/ 103 w 203"/>
              <a:gd name="T41" fmla="*/ 75 h 332"/>
              <a:gd name="T42" fmla="*/ 87 w 203"/>
              <a:gd name="T43" fmla="*/ 59 h 332"/>
              <a:gd name="T44" fmla="*/ 106 w 203"/>
              <a:gd name="T45" fmla="*/ 19 h 332"/>
              <a:gd name="T46" fmla="*/ 115 w 203"/>
              <a:gd name="T47" fmla="*/ 22 h 332"/>
              <a:gd name="T48" fmla="*/ 128 w 203"/>
              <a:gd name="T49" fmla="*/ 22 h 332"/>
              <a:gd name="T50" fmla="*/ 137 w 203"/>
              <a:gd name="T51" fmla="*/ 22 h 332"/>
              <a:gd name="T52" fmla="*/ 150 w 203"/>
              <a:gd name="T53" fmla="*/ 16 h 332"/>
              <a:gd name="T54" fmla="*/ 162 w 203"/>
              <a:gd name="T55" fmla="*/ 16 h 332"/>
              <a:gd name="T56" fmla="*/ 181 w 203"/>
              <a:gd name="T57" fmla="*/ 13 h 332"/>
              <a:gd name="T58" fmla="*/ 197 w 203"/>
              <a:gd name="T59" fmla="*/ 3 h 332"/>
              <a:gd name="T60" fmla="*/ 203 w 203"/>
              <a:gd name="T61" fmla="*/ 6 h 332"/>
              <a:gd name="T62" fmla="*/ 200 w 203"/>
              <a:gd name="T63" fmla="*/ 19 h 332"/>
              <a:gd name="T64" fmla="*/ 200 w 203"/>
              <a:gd name="T65" fmla="*/ 34 h 332"/>
              <a:gd name="T66" fmla="*/ 200 w 203"/>
              <a:gd name="T67" fmla="*/ 53 h 332"/>
              <a:gd name="T68" fmla="*/ 197 w 203"/>
              <a:gd name="T69" fmla="*/ 72 h 332"/>
              <a:gd name="T70" fmla="*/ 203 w 203"/>
              <a:gd name="T71" fmla="*/ 84 h 332"/>
              <a:gd name="T72" fmla="*/ 197 w 203"/>
              <a:gd name="T73" fmla="*/ 91 h 332"/>
              <a:gd name="T74" fmla="*/ 197 w 203"/>
              <a:gd name="T75" fmla="*/ 97 h 332"/>
              <a:gd name="T76" fmla="*/ 184 w 203"/>
              <a:gd name="T77" fmla="*/ 116 h 332"/>
              <a:gd name="T78" fmla="*/ 165 w 203"/>
              <a:gd name="T79" fmla="*/ 128 h 332"/>
              <a:gd name="T80" fmla="*/ 134 w 203"/>
              <a:gd name="T81" fmla="*/ 144 h 332"/>
              <a:gd name="T82" fmla="*/ 125 w 203"/>
              <a:gd name="T83" fmla="*/ 150 h 332"/>
              <a:gd name="T84" fmla="*/ 112 w 203"/>
              <a:gd name="T85" fmla="*/ 166 h 332"/>
              <a:gd name="T86" fmla="*/ 93 w 203"/>
              <a:gd name="T87" fmla="*/ 178 h 332"/>
              <a:gd name="T88" fmla="*/ 81 w 203"/>
              <a:gd name="T89" fmla="*/ 185 h 332"/>
              <a:gd name="T90" fmla="*/ 78 w 203"/>
              <a:gd name="T91" fmla="*/ 194 h 332"/>
              <a:gd name="T92" fmla="*/ 81 w 203"/>
              <a:gd name="T93" fmla="*/ 213 h 332"/>
              <a:gd name="T94" fmla="*/ 87 w 203"/>
              <a:gd name="T95" fmla="*/ 238 h 332"/>
              <a:gd name="T96" fmla="*/ 90 w 203"/>
              <a:gd name="T97" fmla="*/ 238 h 332"/>
              <a:gd name="T98" fmla="*/ 90 w 203"/>
              <a:gd name="T99" fmla="*/ 250 h 332"/>
              <a:gd name="T100" fmla="*/ 84 w 203"/>
              <a:gd name="T101" fmla="*/ 266 h 332"/>
              <a:gd name="T102" fmla="*/ 87 w 203"/>
              <a:gd name="T103" fmla="*/ 278 h 332"/>
              <a:gd name="T104" fmla="*/ 37 w 203"/>
              <a:gd name="T105" fmla="*/ 303 h 332"/>
              <a:gd name="T106" fmla="*/ 28 w 203"/>
              <a:gd name="T107" fmla="*/ 313 h 332"/>
              <a:gd name="T108" fmla="*/ 34 w 203"/>
              <a:gd name="T109" fmla="*/ 322 h 332"/>
              <a:gd name="T110" fmla="*/ 34 w 203"/>
              <a:gd name="T111" fmla="*/ 329 h 332"/>
              <a:gd name="T112" fmla="*/ 22 w 203"/>
              <a:gd name="T113" fmla="*/ 329 h 332"/>
              <a:gd name="T114" fmla="*/ 18 w 203"/>
              <a:gd name="T115" fmla="*/ 316 h 332"/>
              <a:gd name="T116" fmla="*/ 18 w 203"/>
              <a:gd name="T117" fmla="*/ 297 h 332"/>
              <a:gd name="T118" fmla="*/ 18 w 203"/>
              <a:gd name="T119" fmla="*/ 269 h 332"/>
              <a:gd name="T120" fmla="*/ 12 w 203"/>
              <a:gd name="T121" fmla="*/ 24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3" h="332">
                <a:moveTo>
                  <a:pt x="12" y="244"/>
                </a:moveTo>
                <a:lnTo>
                  <a:pt x="34" y="222"/>
                </a:lnTo>
                <a:lnTo>
                  <a:pt x="34" y="216"/>
                </a:lnTo>
                <a:lnTo>
                  <a:pt x="34" y="213"/>
                </a:lnTo>
                <a:lnTo>
                  <a:pt x="34" y="206"/>
                </a:lnTo>
                <a:lnTo>
                  <a:pt x="37" y="203"/>
                </a:lnTo>
                <a:lnTo>
                  <a:pt x="34" y="200"/>
                </a:lnTo>
                <a:lnTo>
                  <a:pt x="37" y="197"/>
                </a:lnTo>
                <a:lnTo>
                  <a:pt x="37" y="197"/>
                </a:lnTo>
                <a:lnTo>
                  <a:pt x="40" y="194"/>
                </a:lnTo>
                <a:lnTo>
                  <a:pt x="43" y="194"/>
                </a:lnTo>
                <a:lnTo>
                  <a:pt x="47" y="188"/>
                </a:lnTo>
                <a:lnTo>
                  <a:pt x="43" y="185"/>
                </a:lnTo>
                <a:lnTo>
                  <a:pt x="43" y="185"/>
                </a:lnTo>
                <a:lnTo>
                  <a:pt x="43" y="181"/>
                </a:lnTo>
                <a:lnTo>
                  <a:pt x="43" y="178"/>
                </a:lnTo>
                <a:lnTo>
                  <a:pt x="43" y="175"/>
                </a:lnTo>
                <a:lnTo>
                  <a:pt x="40" y="172"/>
                </a:lnTo>
                <a:lnTo>
                  <a:pt x="40" y="169"/>
                </a:lnTo>
                <a:lnTo>
                  <a:pt x="43" y="169"/>
                </a:lnTo>
                <a:lnTo>
                  <a:pt x="43" y="166"/>
                </a:lnTo>
                <a:lnTo>
                  <a:pt x="43" y="163"/>
                </a:lnTo>
                <a:lnTo>
                  <a:pt x="47" y="160"/>
                </a:lnTo>
                <a:lnTo>
                  <a:pt x="47" y="156"/>
                </a:lnTo>
                <a:lnTo>
                  <a:pt x="43" y="156"/>
                </a:lnTo>
                <a:lnTo>
                  <a:pt x="43" y="156"/>
                </a:lnTo>
                <a:lnTo>
                  <a:pt x="47" y="153"/>
                </a:lnTo>
                <a:lnTo>
                  <a:pt x="47" y="147"/>
                </a:lnTo>
                <a:lnTo>
                  <a:pt x="47" y="144"/>
                </a:lnTo>
                <a:lnTo>
                  <a:pt x="47" y="141"/>
                </a:lnTo>
                <a:lnTo>
                  <a:pt x="47" y="138"/>
                </a:lnTo>
                <a:lnTo>
                  <a:pt x="47" y="138"/>
                </a:lnTo>
                <a:lnTo>
                  <a:pt x="47" y="135"/>
                </a:lnTo>
                <a:lnTo>
                  <a:pt x="50" y="131"/>
                </a:lnTo>
                <a:lnTo>
                  <a:pt x="50" y="128"/>
                </a:lnTo>
                <a:lnTo>
                  <a:pt x="43" y="125"/>
                </a:lnTo>
                <a:lnTo>
                  <a:pt x="43" y="125"/>
                </a:lnTo>
                <a:lnTo>
                  <a:pt x="37" y="122"/>
                </a:lnTo>
                <a:lnTo>
                  <a:pt x="31" y="122"/>
                </a:lnTo>
                <a:lnTo>
                  <a:pt x="28" y="119"/>
                </a:lnTo>
                <a:lnTo>
                  <a:pt x="25" y="116"/>
                </a:lnTo>
                <a:lnTo>
                  <a:pt x="18" y="113"/>
                </a:lnTo>
                <a:lnTo>
                  <a:pt x="15" y="110"/>
                </a:lnTo>
                <a:lnTo>
                  <a:pt x="12" y="113"/>
                </a:lnTo>
                <a:lnTo>
                  <a:pt x="12" y="113"/>
                </a:lnTo>
                <a:lnTo>
                  <a:pt x="9" y="113"/>
                </a:lnTo>
                <a:lnTo>
                  <a:pt x="6" y="110"/>
                </a:lnTo>
                <a:lnTo>
                  <a:pt x="0" y="110"/>
                </a:lnTo>
                <a:lnTo>
                  <a:pt x="0" y="100"/>
                </a:lnTo>
                <a:lnTo>
                  <a:pt x="0" y="97"/>
                </a:lnTo>
                <a:lnTo>
                  <a:pt x="0" y="94"/>
                </a:lnTo>
                <a:lnTo>
                  <a:pt x="9" y="88"/>
                </a:lnTo>
                <a:lnTo>
                  <a:pt x="12" y="88"/>
                </a:lnTo>
                <a:lnTo>
                  <a:pt x="31" y="81"/>
                </a:lnTo>
                <a:lnTo>
                  <a:pt x="34" y="78"/>
                </a:lnTo>
                <a:lnTo>
                  <a:pt x="47" y="75"/>
                </a:lnTo>
                <a:lnTo>
                  <a:pt x="53" y="72"/>
                </a:lnTo>
                <a:lnTo>
                  <a:pt x="59" y="72"/>
                </a:lnTo>
                <a:lnTo>
                  <a:pt x="59" y="75"/>
                </a:lnTo>
                <a:lnTo>
                  <a:pt x="59" y="75"/>
                </a:lnTo>
                <a:lnTo>
                  <a:pt x="62" y="78"/>
                </a:lnTo>
                <a:lnTo>
                  <a:pt x="62" y="81"/>
                </a:lnTo>
                <a:lnTo>
                  <a:pt x="65" y="81"/>
                </a:lnTo>
                <a:lnTo>
                  <a:pt x="65" y="81"/>
                </a:lnTo>
                <a:lnTo>
                  <a:pt x="68" y="81"/>
                </a:lnTo>
                <a:lnTo>
                  <a:pt x="72" y="78"/>
                </a:lnTo>
                <a:lnTo>
                  <a:pt x="75" y="78"/>
                </a:lnTo>
                <a:lnTo>
                  <a:pt x="81" y="81"/>
                </a:lnTo>
                <a:lnTo>
                  <a:pt x="81" y="84"/>
                </a:lnTo>
                <a:lnTo>
                  <a:pt x="81" y="88"/>
                </a:lnTo>
                <a:lnTo>
                  <a:pt x="81" y="94"/>
                </a:lnTo>
                <a:lnTo>
                  <a:pt x="78" y="97"/>
                </a:lnTo>
                <a:lnTo>
                  <a:pt x="78" y="103"/>
                </a:lnTo>
                <a:lnTo>
                  <a:pt x="75" y="106"/>
                </a:lnTo>
                <a:lnTo>
                  <a:pt x="75" y="110"/>
                </a:lnTo>
                <a:lnTo>
                  <a:pt x="75" y="113"/>
                </a:lnTo>
                <a:lnTo>
                  <a:pt x="78" y="116"/>
                </a:lnTo>
                <a:lnTo>
                  <a:pt x="81" y="122"/>
                </a:lnTo>
                <a:lnTo>
                  <a:pt x="84" y="125"/>
                </a:lnTo>
                <a:lnTo>
                  <a:pt x="87" y="125"/>
                </a:lnTo>
                <a:lnTo>
                  <a:pt x="87" y="128"/>
                </a:lnTo>
                <a:lnTo>
                  <a:pt x="90" y="131"/>
                </a:lnTo>
                <a:lnTo>
                  <a:pt x="90" y="135"/>
                </a:lnTo>
                <a:lnTo>
                  <a:pt x="90" y="135"/>
                </a:lnTo>
                <a:lnTo>
                  <a:pt x="93" y="135"/>
                </a:lnTo>
                <a:lnTo>
                  <a:pt x="93" y="131"/>
                </a:lnTo>
                <a:lnTo>
                  <a:pt x="93" y="125"/>
                </a:lnTo>
                <a:lnTo>
                  <a:pt x="97" y="122"/>
                </a:lnTo>
                <a:lnTo>
                  <a:pt x="97" y="119"/>
                </a:lnTo>
                <a:lnTo>
                  <a:pt x="97" y="113"/>
                </a:lnTo>
                <a:lnTo>
                  <a:pt x="103" y="113"/>
                </a:lnTo>
                <a:lnTo>
                  <a:pt x="106" y="110"/>
                </a:lnTo>
                <a:lnTo>
                  <a:pt x="106" y="106"/>
                </a:lnTo>
                <a:lnTo>
                  <a:pt x="106" y="100"/>
                </a:lnTo>
                <a:lnTo>
                  <a:pt x="103" y="97"/>
                </a:lnTo>
                <a:lnTo>
                  <a:pt x="106" y="97"/>
                </a:lnTo>
                <a:lnTo>
                  <a:pt x="103" y="94"/>
                </a:lnTo>
                <a:lnTo>
                  <a:pt x="103" y="94"/>
                </a:lnTo>
                <a:lnTo>
                  <a:pt x="106" y="94"/>
                </a:lnTo>
                <a:lnTo>
                  <a:pt x="106" y="91"/>
                </a:lnTo>
                <a:lnTo>
                  <a:pt x="109" y="91"/>
                </a:lnTo>
                <a:lnTo>
                  <a:pt x="109" y="88"/>
                </a:lnTo>
                <a:lnTo>
                  <a:pt x="109" y="84"/>
                </a:lnTo>
                <a:lnTo>
                  <a:pt x="106" y="81"/>
                </a:lnTo>
                <a:lnTo>
                  <a:pt x="103" y="75"/>
                </a:lnTo>
                <a:lnTo>
                  <a:pt x="100" y="72"/>
                </a:lnTo>
                <a:lnTo>
                  <a:pt x="93" y="66"/>
                </a:lnTo>
                <a:lnTo>
                  <a:pt x="93" y="66"/>
                </a:lnTo>
                <a:lnTo>
                  <a:pt x="90" y="63"/>
                </a:lnTo>
                <a:lnTo>
                  <a:pt x="87" y="59"/>
                </a:lnTo>
                <a:lnTo>
                  <a:pt x="81" y="56"/>
                </a:lnTo>
                <a:lnTo>
                  <a:pt x="78" y="38"/>
                </a:lnTo>
                <a:lnTo>
                  <a:pt x="84" y="22"/>
                </a:lnTo>
                <a:lnTo>
                  <a:pt x="103" y="22"/>
                </a:lnTo>
                <a:lnTo>
                  <a:pt x="106" y="19"/>
                </a:lnTo>
                <a:lnTo>
                  <a:pt x="106" y="19"/>
                </a:lnTo>
                <a:lnTo>
                  <a:pt x="109" y="19"/>
                </a:lnTo>
                <a:lnTo>
                  <a:pt x="109" y="19"/>
                </a:lnTo>
                <a:lnTo>
                  <a:pt x="112" y="19"/>
                </a:lnTo>
                <a:lnTo>
                  <a:pt x="115" y="22"/>
                </a:lnTo>
                <a:lnTo>
                  <a:pt x="115" y="22"/>
                </a:lnTo>
                <a:lnTo>
                  <a:pt x="119" y="25"/>
                </a:lnTo>
                <a:lnTo>
                  <a:pt x="119" y="25"/>
                </a:lnTo>
                <a:lnTo>
                  <a:pt x="125" y="25"/>
                </a:lnTo>
                <a:lnTo>
                  <a:pt x="128" y="22"/>
                </a:lnTo>
                <a:lnTo>
                  <a:pt x="131" y="22"/>
                </a:lnTo>
                <a:lnTo>
                  <a:pt x="131" y="19"/>
                </a:lnTo>
                <a:lnTo>
                  <a:pt x="134" y="22"/>
                </a:lnTo>
                <a:lnTo>
                  <a:pt x="134" y="22"/>
                </a:lnTo>
                <a:lnTo>
                  <a:pt x="137" y="22"/>
                </a:lnTo>
                <a:lnTo>
                  <a:pt x="140" y="22"/>
                </a:lnTo>
                <a:lnTo>
                  <a:pt x="144" y="22"/>
                </a:lnTo>
                <a:lnTo>
                  <a:pt x="150" y="22"/>
                </a:lnTo>
                <a:lnTo>
                  <a:pt x="150" y="19"/>
                </a:lnTo>
                <a:lnTo>
                  <a:pt x="150" y="16"/>
                </a:lnTo>
                <a:lnTo>
                  <a:pt x="150" y="16"/>
                </a:lnTo>
                <a:lnTo>
                  <a:pt x="153" y="16"/>
                </a:lnTo>
                <a:lnTo>
                  <a:pt x="156" y="16"/>
                </a:lnTo>
                <a:lnTo>
                  <a:pt x="159" y="19"/>
                </a:lnTo>
                <a:lnTo>
                  <a:pt x="162" y="16"/>
                </a:lnTo>
                <a:lnTo>
                  <a:pt x="165" y="16"/>
                </a:lnTo>
                <a:lnTo>
                  <a:pt x="172" y="13"/>
                </a:lnTo>
                <a:lnTo>
                  <a:pt x="175" y="16"/>
                </a:lnTo>
                <a:lnTo>
                  <a:pt x="178" y="13"/>
                </a:lnTo>
                <a:lnTo>
                  <a:pt x="181" y="13"/>
                </a:lnTo>
                <a:lnTo>
                  <a:pt x="184" y="13"/>
                </a:lnTo>
                <a:lnTo>
                  <a:pt x="187" y="9"/>
                </a:lnTo>
                <a:lnTo>
                  <a:pt x="190" y="6"/>
                </a:lnTo>
                <a:lnTo>
                  <a:pt x="194" y="6"/>
                </a:lnTo>
                <a:lnTo>
                  <a:pt x="197" y="3"/>
                </a:lnTo>
                <a:lnTo>
                  <a:pt x="200" y="3"/>
                </a:lnTo>
                <a:lnTo>
                  <a:pt x="203" y="0"/>
                </a:lnTo>
                <a:lnTo>
                  <a:pt x="203" y="0"/>
                </a:lnTo>
                <a:lnTo>
                  <a:pt x="203" y="3"/>
                </a:lnTo>
                <a:lnTo>
                  <a:pt x="203" y="6"/>
                </a:lnTo>
                <a:lnTo>
                  <a:pt x="203" y="9"/>
                </a:lnTo>
                <a:lnTo>
                  <a:pt x="203" y="9"/>
                </a:lnTo>
                <a:lnTo>
                  <a:pt x="200" y="16"/>
                </a:lnTo>
                <a:lnTo>
                  <a:pt x="200" y="19"/>
                </a:lnTo>
                <a:lnTo>
                  <a:pt x="200" y="19"/>
                </a:lnTo>
                <a:lnTo>
                  <a:pt x="200" y="19"/>
                </a:lnTo>
                <a:lnTo>
                  <a:pt x="197" y="22"/>
                </a:lnTo>
                <a:lnTo>
                  <a:pt x="200" y="28"/>
                </a:lnTo>
                <a:lnTo>
                  <a:pt x="200" y="31"/>
                </a:lnTo>
                <a:lnTo>
                  <a:pt x="200" y="34"/>
                </a:lnTo>
                <a:lnTo>
                  <a:pt x="200" y="38"/>
                </a:lnTo>
                <a:lnTo>
                  <a:pt x="200" y="41"/>
                </a:lnTo>
                <a:lnTo>
                  <a:pt x="203" y="44"/>
                </a:lnTo>
                <a:lnTo>
                  <a:pt x="200" y="47"/>
                </a:lnTo>
                <a:lnTo>
                  <a:pt x="200" y="53"/>
                </a:lnTo>
                <a:lnTo>
                  <a:pt x="200" y="63"/>
                </a:lnTo>
                <a:lnTo>
                  <a:pt x="197" y="63"/>
                </a:lnTo>
                <a:lnTo>
                  <a:pt x="200" y="63"/>
                </a:lnTo>
                <a:lnTo>
                  <a:pt x="200" y="72"/>
                </a:lnTo>
                <a:lnTo>
                  <a:pt x="197" y="72"/>
                </a:lnTo>
                <a:lnTo>
                  <a:pt x="197" y="75"/>
                </a:lnTo>
                <a:lnTo>
                  <a:pt x="197" y="75"/>
                </a:lnTo>
                <a:lnTo>
                  <a:pt x="200" y="75"/>
                </a:lnTo>
                <a:lnTo>
                  <a:pt x="203" y="75"/>
                </a:lnTo>
                <a:lnTo>
                  <a:pt x="203" y="84"/>
                </a:lnTo>
                <a:lnTo>
                  <a:pt x="200" y="88"/>
                </a:lnTo>
                <a:lnTo>
                  <a:pt x="200" y="88"/>
                </a:lnTo>
                <a:lnTo>
                  <a:pt x="200" y="91"/>
                </a:lnTo>
                <a:lnTo>
                  <a:pt x="200" y="91"/>
                </a:lnTo>
                <a:lnTo>
                  <a:pt x="197" y="91"/>
                </a:lnTo>
                <a:lnTo>
                  <a:pt x="194" y="94"/>
                </a:lnTo>
                <a:lnTo>
                  <a:pt x="194" y="97"/>
                </a:lnTo>
                <a:lnTo>
                  <a:pt x="197" y="94"/>
                </a:lnTo>
                <a:lnTo>
                  <a:pt x="197" y="94"/>
                </a:lnTo>
                <a:lnTo>
                  <a:pt x="197" y="97"/>
                </a:lnTo>
                <a:lnTo>
                  <a:pt x="197" y="103"/>
                </a:lnTo>
                <a:lnTo>
                  <a:pt x="194" y="103"/>
                </a:lnTo>
                <a:lnTo>
                  <a:pt x="190" y="106"/>
                </a:lnTo>
                <a:lnTo>
                  <a:pt x="190" y="110"/>
                </a:lnTo>
                <a:lnTo>
                  <a:pt x="184" y="116"/>
                </a:lnTo>
                <a:lnTo>
                  <a:pt x="181" y="116"/>
                </a:lnTo>
                <a:lnTo>
                  <a:pt x="181" y="119"/>
                </a:lnTo>
                <a:lnTo>
                  <a:pt x="169" y="128"/>
                </a:lnTo>
                <a:lnTo>
                  <a:pt x="169" y="128"/>
                </a:lnTo>
                <a:lnTo>
                  <a:pt x="165" y="128"/>
                </a:lnTo>
                <a:lnTo>
                  <a:pt x="153" y="138"/>
                </a:lnTo>
                <a:lnTo>
                  <a:pt x="150" y="135"/>
                </a:lnTo>
                <a:lnTo>
                  <a:pt x="150" y="138"/>
                </a:lnTo>
                <a:lnTo>
                  <a:pt x="144" y="141"/>
                </a:lnTo>
                <a:lnTo>
                  <a:pt x="134" y="144"/>
                </a:lnTo>
                <a:lnTo>
                  <a:pt x="134" y="144"/>
                </a:lnTo>
                <a:lnTo>
                  <a:pt x="134" y="147"/>
                </a:lnTo>
                <a:lnTo>
                  <a:pt x="128" y="150"/>
                </a:lnTo>
                <a:lnTo>
                  <a:pt x="125" y="153"/>
                </a:lnTo>
                <a:lnTo>
                  <a:pt x="125" y="150"/>
                </a:lnTo>
                <a:lnTo>
                  <a:pt x="125" y="153"/>
                </a:lnTo>
                <a:lnTo>
                  <a:pt x="122" y="156"/>
                </a:lnTo>
                <a:lnTo>
                  <a:pt x="122" y="160"/>
                </a:lnTo>
                <a:lnTo>
                  <a:pt x="112" y="163"/>
                </a:lnTo>
                <a:lnTo>
                  <a:pt x="112" y="166"/>
                </a:lnTo>
                <a:lnTo>
                  <a:pt x="109" y="166"/>
                </a:lnTo>
                <a:lnTo>
                  <a:pt x="109" y="166"/>
                </a:lnTo>
                <a:lnTo>
                  <a:pt x="109" y="169"/>
                </a:lnTo>
                <a:lnTo>
                  <a:pt x="103" y="169"/>
                </a:lnTo>
                <a:lnTo>
                  <a:pt x="93" y="178"/>
                </a:lnTo>
                <a:lnTo>
                  <a:pt x="93" y="181"/>
                </a:lnTo>
                <a:lnTo>
                  <a:pt x="90" y="185"/>
                </a:lnTo>
                <a:lnTo>
                  <a:pt x="87" y="185"/>
                </a:lnTo>
                <a:lnTo>
                  <a:pt x="84" y="188"/>
                </a:lnTo>
                <a:lnTo>
                  <a:pt x="81" y="185"/>
                </a:lnTo>
                <a:lnTo>
                  <a:pt x="78" y="185"/>
                </a:lnTo>
                <a:lnTo>
                  <a:pt x="78" y="188"/>
                </a:lnTo>
                <a:lnTo>
                  <a:pt x="81" y="188"/>
                </a:lnTo>
                <a:lnTo>
                  <a:pt x="81" y="191"/>
                </a:lnTo>
                <a:lnTo>
                  <a:pt x="78" y="194"/>
                </a:lnTo>
                <a:lnTo>
                  <a:pt x="78" y="197"/>
                </a:lnTo>
                <a:lnTo>
                  <a:pt x="78" y="200"/>
                </a:lnTo>
                <a:lnTo>
                  <a:pt x="84" y="206"/>
                </a:lnTo>
                <a:lnTo>
                  <a:pt x="84" y="210"/>
                </a:lnTo>
                <a:lnTo>
                  <a:pt x="81" y="213"/>
                </a:lnTo>
                <a:lnTo>
                  <a:pt x="81" y="213"/>
                </a:lnTo>
                <a:lnTo>
                  <a:pt x="84" y="216"/>
                </a:lnTo>
                <a:lnTo>
                  <a:pt x="84" y="222"/>
                </a:lnTo>
                <a:lnTo>
                  <a:pt x="87" y="225"/>
                </a:lnTo>
                <a:lnTo>
                  <a:pt x="87" y="238"/>
                </a:lnTo>
                <a:lnTo>
                  <a:pt x="87" y="241"/>
                </a:lnTo>
                <a:lnTo>
                  <a:pt x="87" y="241"/>
                </a:lnTo>
                <a:lnTo>
                  <a:pt x="87" y="238"/>
                </a:lnTo>
                <a:lnTo>
                  <a:pt x="90" y="235"/>
                </a:lnTo>
                <a:lnTo>
                  <a:pt x="90" y="238"/>
                </a:lnTo>
                <a:lnTo>
                  <a:pt x="93" y="238"/>
                </a:lnTo>
                <a:lnTo>
                  <a:pt x="90" y="244"/>
                </a:lnTo>
                <a:lnTo>
                  <a:pt x="90" y="244"/>
                </a:lnTo>
                <a:lnTo>
                  <a:pt x="90" y="250"/>
                </a:lnTo>
                <a:lnTo>
                  <a:pt x="90" y="250"/>
                </a:lnTo>
                <a:lnTo>
                  <a:pt x="87" y="257"/>
                </a:lnTo>
                <a:lnTo>
                  <a:pt x="87" y="260"/>
                </a:lnTo>
                <a:lnTo>
                  <a:pt x="87" y="263"/>
                </a:lnTo>
                <a:lnTo>
                  <a:pt x="87" y="266"/>
                </a:lnTo>
                <a:lnTo>
                  <a:pt x="84" y="266"/>
                </a:lnTo>
                <a:lnTo>
                  <a:pt x="87" y="269"/>
                </a:lnTo>
                <a:lnTo>
                  <a:pt x="90" y="269"/>
                </a:lnTo>
                <a:lnTo>
                  <a:pt x="90" y="269"/>
                </a:lnTo>
                <a:lnTo>
                  <a:pt x="87" y="275"/>
                </a:lnTo>
                <a:lnTo>
                  <a:pt x="87" y="278"/>
                </a:lnTo>
                <a:lnTo>
                  <a:pt x="78" y="288"/>
                </a:lnTo>
                <a:lnTo>
                  <a:pt x="65" y="294"/>
                </a:lnTo>
                <a:lnTo>
                  <a:pt x="50" y="297"/>
                </a:lnTo>
                <a:lnTo>
                  <a:pt x="43" y="303"/>
                </a:lnTo>
                <a:lnTo>
                  <a:pt x="37" y="303"/>
                </a:lnTo>
                <a:lnTo>
                  <a:pt x="37" y="307"/>
                </a:lnTo>
                <a:lnTo>
                  <a:pt x="34" y="307"/>
                </a:lnTo>
                <a:lnTo>
                  <a:pt x="31" y="313"/>
                </a:lnTo>
                <a:lnTo>
                  <a:pt x="31" y="313"/>
                </a:lnTo>
                <a:lnTo>
                  <a:pt x="28" y="313"/>
                </a:lnTo>
                <a:lnTo>
                  <a:pt x="28" y="316"/>
                </a:lnTo>
                <a:lnTo>
                  <a:pt x="31" y="319"/>
                </a:lnTo>
                <a:lnTo>
                  <a:pt x="31" y="322"/>
                </a:lnTo>
                <a:lnTo>
                  <a:pt x="31" y="319"/>
                </a:lnTo>
                <a:lnTo>
                  <a:pt x="34" y="322"/>
                </a:lnTo>
                <a:lnTo>
                  <a:pt x="37" y="316"/>
                </a:lnTo>
                <a:lnTo>
                  <a:pt x="37" y="316"/>
                </a:lnTo>
                <a:lnTo>
                  <a:pt x="37" y="319"/>
                </a:lnTo>
                <a:lnTo>
                  <a:pt x="37" y="325"/>
                </a:lnTo>
                <a:lnTo>
                  <a:pt x="34" y="329"/>
                </a:lnTo>
                <a:lnTo>
                  <a:pt x="34" y="332"/>
                </a:lnTo>
                <a:lnTo>
                  <a:pt x="31" y="332"/>
                </a:lnTo>
                <a:lnTo>
                  <a:pt x="25" y="329"/>
                </a:lnTo>
                <a:lnTo>
                  <a:pt x="22" y="329"/>
                </a:lnTo>
                <a:lnTo>
                  <a:pt x="22" y="329"/>
                </a:lnTo>
                <a:lnTo>
                  <a:pt x="22" y="325"/>
                </a:lnTo>
                <a:lnTo>
                  <a:pt x="22" y="322"/>
                </a:lnTo>
                <a:lnTo>
                  <a:pt x="25" y="322"/>
                </a:lnTo>
                <a:lnTo>
                  <a:pt x="22" y="319"/>
                </a:lnTo>
                <a:lnTo>
                  <a:pt x="18" y="316"/>
                </a:lnTo>
                <a:lnTo>
                  <a:pt x="18" y="316"/>
                </a:lnTo>
                <a:lnTo>
                  <a:pt x="18" y="316"/>
                </a:lnTo>
                <a:lnTo>
                  <a:pt x="18" y="307"/>
                </a:lnTo>
                <a:lnTo>
                  <a:pt x="18" y="303"/>
                </a:lnTo>
                <a:lnTo>
                  <a:pt x="18" y="297"/>
                </a:lnTo>
                <a:lnTo>
                  <a:pt x="18" y="282"/>
                </a:lnTo>
                <a:lnTo>
                  <a:pt x="18" y="275"/>
                </a:lnTo>
                <a:lnTo>
                  <a:pt x="15" y="272"/>
                </a:lnTo>
                <a:lnTo>
                  <a:pt x="15" y="269"/>
                </a:lnTo>
                <a:lnTo>
                  <a:pt x="18" y="269"/>
                </a:lnTo>
                <a:lnTo>
                  <a:pt x="18" y="260"/>
                </a:lnTo>
                <a:lnTo>
                  <a:pt x="15" y="253"/>
                </a:lnTo>
                <a:lnTo>
                  <a:pt x="12" y="247"/>
                </a:lnTo>
                <a:lnTo>
                  <a:pt x="12" y="244"/>
                </a:lnTo>
                <a:lnTo>
                  <a:pt x="12" y="244"/>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59" name="Freeform 157">
            <a:extLst>
              <a:ext uri="{FF2B5EF4-FFF2-40B4-BE49-F238E27FC236}">
                <a16:creationId xmlns:a16="http://schemas.microsoft.com/office/drawing/2014/main" id="{52C8BAFF-ABC4-6E30-EECF-786EC218382B}"/>
              </a:ext>
            </a:extLst>
          </p:cNvPr>
          <p:cNvSpPr>
            <a:spLocks/>
          </p:cNvSpPr>
          <p:nvPr userDrawn="1"/>
        </p:nvSpPr>
        <p:spPr bwMode="auto">
          <a:xfrm>
            <a:off x="15035816" y="11016533"/>
            <a:ext cx="88896" cy="98426"/>
          </a:xfrm>
          <a:custGeom>
            <a:avLst/>
            <a:gdLst>
              <a:gd name="T0" fmla="*/ 21 w 28"/>
              <a:gd name="T1" fmla="*/ 9 h 31"/>
              <a:gd name="T2" fmla="*/ 21 w 28"/>
              <a:gd name="T3" fmla="*/ 9 h 31"/>
              <a:gd name="T4" fmla="*/ 21 w 28"/>
              <a:gd name="T5" fmla="*/ 9 h 31"/>
              <a:gd name="T6" fmla="*/ 25 w 28"/>
              <a:gd name="T7" fmla="*/ 12 h 31"/>
              <a:gd name="T8" fmla="*/ 28 w 28"/>
              <a:gd name="T9" fmla="*/ 15 h 31"/>
              <a:gd name="T10" fmla="*/ 25 w 28"/>
              <a:gd name="T11" fmla="*/ 15 h 31"/>
              <a:gd name="T12" fmla="*/ 25 w 28"/>
              <a:gd name="T13" fmla="*/ 18 h 31"/>
              <a:gd name="T14" fmla="*/ 25 w 28"/>
              <a:gd name="T15" fmla="*/ 22 h 31"/>
              <a:gd name="T16" fmla="*/ 25 w 28"/>
              <a:gd name="T17" fmla="*/ 22 h 31"/>
              <a:gd name="T18" fmla="*/ 25 w 28"/>
              <a:gd name="T19" fmla="*/ 25 h 31"/>
              <a:gd name="T20" fmla="*/ 21 w 28"/>
              <a:gd name="T21" fmla="*/ 25 h 31"/>
              <a:gd name="T22" fmla="*/ 21 w 28"/>
              <a:gd name="T23" fmla="*/ 28 h 31"/>
              <a:gd name="T24" fmla="*/ 21 w 28"/>
              <a:gd name="T25" fmla="*/ 31 h 31"/>
              <a:gd name="T26" fmla="*/ 18 w 28"/>
              <a:gd name="T27" fmla="*/ 31 h 31"/>
              <a:gd name="T28" fmla="*/ 9 w 28"/>
              <a:gd name="T29" fmla="*/ 31 h 31"/>
              <a:gd name="T30" fmla="*/ 3 w 28"/>
              <a:gd name="T31" fmla="*/ 28 h 31"/>
              <a:gd name="T32" fmla="*/ 3 w 28"/>
              <a:gd name="T33" fmla="*/ 25 h 31"/>
              <a:gd name="T34" fmla="*/ 0 w 28"/>
              <a:gd name="T35" fmla="*/ 22 h 31"/>
              <a:gd name="T36" fmla="*/ 0 w 28"/>
              <a:gd name="T37" fmla="*/ 18 h 31"/>
              <a:gd name="T38" fmla="*/ 0 w 28"/>
              <a:gd name="T39" fmla="*/ 15 h 31"/>
              <a:gd name="T40" fmla="*/ 6 w 28"/>
              <a:gd name="T41" fmla="*/ 6 h 31"/>
              <a:gd name="T42" fmla="*/ 6 w 28"/>
              <a:gd name="T43" fmla="*/ 3 h 31"/>
              <a:gd name="T44" fmla="*/ 9 w 28"/>
              <a:gd name="T45" fmla="*/ 0 h 31"/>
              <a:gd name="T46" fmla="*/ 15 w 28"/>
              <a:gd name="T47" fmla="*/ 3 h 31"/>
              <a:gd name="T48" fmla="*/ 18 w 28"/>
              <a:gd name="T49" fmla="*/ 6 h 31"/>
              <a:gd name="T50" fmla="*/ 21 w 28"/>
              <a:gd name="T51" fmla="*/ 9 h 31"/>
              <a:gd name="T52" fmla="*/ 21 w 28"/>
              <a:gd name="T53"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31">
                <a:moveTo>
                  <a:pt x="21" y="9"/>
                </a:moveTo>
                <a:lnTo>
                  <a:pt x="21" y="9"/>
                </a:lnTo>
                <a:lnTo>
                  <a:pt x="21" y="9"/>
                </a:lnTo>
                <a:lnTo>
                  <a:pt x="25" y="12"/>
                </a:lnTo>
                <a:lnTo>
                  <a:pt x="28" y="15"/>
                </a:lnTo>
                <a:lnTo>
                  <a:pt x="25" y="15"/>
                </a:lnTo>
                <a:lnTo>
                  <a:pt x="25" y="18"/>
                </a:lnTo>
                <a:lnTo>
                  <a:pt x="25" y="22"/>
                </a:lnTo>
                <a:lnTo>
                  <a:pt x="25" y="22"/>
                </a:lnTo>
                <a:lnTo>
                  <a:pt x="25" y="25"/>
                </a:lnTo>
                <a:lnTo>
                  <a:pt x="21" y="25"/>
                </a:lnTo>
                <a:lnTo>
                  <a:pt x="21" y="28"/>
                </a:lnTo>
                <a:lnTo>
                  <a:pt x="21" y="31"/>
                </a:lnTo>
                <a:lnTo>
                  <a:pt x="18" y="31"/>
                </a:lnTo>
                <a:lnTo>
                  <a:pt x="9" y="31"/>
                </a:lnTo>
                <a:lnTo>
                  <a:pt x="3" y="28"/>
                </a:lnTo>
                <a:lnTo>
                  <a:pt x="3" y="25"/>
                </a:lnTo>
                <a:lnTo>
                  <a:pt x="0" y="22"/>
                </a:lnTo>
                <a:lnTo>
                  <a:pt x="0" y="18"/>
                </a:lnTo>
                <a:lnTo>
                  <a:pt x="0" y="15"/>
                </a:lnTo>
                <a:lnTo>
                  <a:pt x="6" y="6"/>
                </a:lnTo>
                <a:lnTo>
                  <a:pt x="6" y="3"/>
                </a:lnTo>
                <a:lnTo>
                  <a:pt x="9" y="0"/>
                </a:lnTo>
                <a:lnTo>
                  <a:pt x="15" y="3"/>
                </a:lnTo>
                <a:lnTo>
                  <a:pt x="18" y="6"/>
                </a:lnTo>
                <a:lnTo>
                  <a:pt x="21" y="9"/>
                </a:lnTo>
                <a:lnTo>
                  <a:pt x="21" y="9"/>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0" name="Freeform 158">
            <a:extLst>
              <a:ext uri="{FF2B5EF4-FFF2-40B4-BE49-F238E27FC236}">
                <a16:creationId xmlns:a16="http://schemas.microsoft.com/office/drawing/2014/main" id="{25217F5F-8652-3689-97A5-45743312DDE6}"/>
              </a:ext>
            </a:extLst>
          </p:cNvPr>
          <p:cNvSpPr>
            <a:spLocks noEditPoints="1"/>
          </p:cNvSpPr>
          <p:nvPr userDrawn="1"/>
        </p:nvSpPr>
        <p:spPr bwMode="auto">
          <a:xfrm>
            <a:off x="14140531" y="10787930"/>
            <a:ext cx="1012760" cy="863600"/>
          </a:xfrm>
          <a:custGeom>
            <a:avLst/>
            <a:gdLst>
              <a:gd name="T0" fmla="*/ 7 w 319"/>
              <a:gd name="T1" fmla="*/ 128 h 272"/>
              <a:gd name="T2" fmla="*/ 19 w 319"/>
              <a:gd name="T3" fmla="*/ 131 h 272"/>
              <a:gd name="T4" fmla="*/ 38 w 319"/>
              <a:gd name="T5" fmla="*/ 140 h 272"/>
              <a:gd name="T6" fmla="*/ 50 w 319"/>
              <a:gd name="T7" fmla="*/ 140 h 272"/>
              <a:gd name="T8" fmla="*/ 57 w 319"/>
              <a:gd name="T9" fmla="*/ 131 h 272"/>
              <a:gd name="T10" fmla="*/ 82 w 319"/>
              <a:gd name="T11" fmla="*/ 62 h 272"/>
              <a:gd name="T12" fmla="*/ 85 w 319"/>
              <a:gd name="T13" fmla="*/ 94 h 272"/>
              <a:gd name="T14" fmla="*/ 107 w 319"/>
              <a:gd name="T15" fmla="*/ 94 h 272"/>
              <a:gd name="T16" fmla="*/ 125 w 319"/>
              <a:gd name="T17" fmla="*/ 81 h 272"/>
              <a:gd name="T18" fmla="*/ 147 w 319"/>
              <a:gd name="T19" fmla="*/ 68 h 272"/>
              <a:gd name="T20" fmla="*/ 166 w 319"/>
              <a:gd name="T21" fmla="*/ 75 h 272"/>
              <a:gd name="T22" fmla="*/ 182 w 319"/>
              <a:gd name="T23" fmla="*/ 75 h 272"/>
              <a:gd name="T24" fmla="*/ 185 w 319"/>
              <a:gd name="T25" fmla="*/ 59 h 272"/>
              <a:gd name="T26" fmla="*/ 197 w 319"/>
              <a:gd name="T27" fmla="*/ 50 h 272"/>
              <a:gd name="T28" fmla="*/ 207 w 319"/>
              <a:gd name="T29" fmla="*/ 43 h 272"/>
              <a:gd name="T30" fmla="*/ 213 w 319"/>
              <a:gd name="T31" fmla="*/ 25 h 272"/>
              <a:gd name="T32" fmla="*/ 222 w 319"/>
              <a:gd name="T33" fmla="*/ 18 h 272"/>
              <a:gd name="T34" fmla="*/ 238 w 319"/>
              <a:gd name="T35" fmla="*/ 12 h 272"/>
              <a:gd name="T36" fmla="*/ 247 w 319"/>
              <a:gd name="T37" fmla="*/ 6 h 272"/>
              <a:gd name="T38" fmla="*/ 263 w 319"/>
              <a:gd name="T39" fmla="*/ 0 h 272"/>
              <a:gd name="T40" fmla="*/ 278 w 319"/>
              <a:gd name="T41" fmla="*/ 6 h 272"/>
              <a:gd name="T42" fmla="*/ 297 w 319"/>
              <a:gd name="T43" fmla="*/ 12 h 272"/>
              <a:gd name="T44" fmla="*/ 300 w 319"/>
              <a:gd name="T45" fmla="*/ 37 h 272"/>
              <a:gd name="T46" fmla="*/ 303 w 319"/>
              <a:gd name="T47" fmla="*/ 72 h 272"/>
              <a:gd name="T48" fmla="*/ 288 w 319"/>
              <a:gd name="T49" fmla="*/ 75 h 272"/>
              <a:gd name="T50" fmla="*/ 285 w 319"/>
              <a:gd name="T51" fmla="*/ 97 h 272"/>
              <a:gd name="T52" fmla="*/ 303 w 319"/>
              <a:gd name="T53" fmla="*/ 100 h 272"/>
              <a:gd name="T54" fmla="*/ 319 w 319"/>
              <a:gd name="T55" fmla="*/ 97 h 272"/>
              <a:gd name="T56" fmla="*/ 316 w 319"/>
              <a:gd name="T57" fmla="*/ 112 h 272"/>
              <a:gd name="T58" fmla="*/ 300 w 319"/>
              <a:gd name="T59" fmla="*/ 140 h 272"/>
              <a:gd name="T60" fmla="*/ 288 w 319"/>
              <a:gd name="T61" fmla="*/ 150 h 272"/>
              <a:gd name="T62" fmla="*/ 275 w 319"/>
              <a:gd name="T63" fmla="*/ 165 h 272"/>
              <a:gd name="T64" fmla="*/ 253 w 319"/>
              <a:gd name="T65" fmla="*/ 197 h 272"/>
              <a:gd name="T66" fmla="*/ 225 w 319"/>
              <a:gd name="T67" fmla="*/ 225 h 272"/>
              <a:gd name="T68" fmla="*/ 200 w 319"/>
              <a:gd name="T69" fmla="*/ 241 h 272"/>
              <a:gd name="T70" fmla="*/ 182 w 319"/>
              <a:gd name="T71" fmla="*/ 247 h 272"/>
              <a:gd name="T72" fmla="*/ 172 w 319"/>
              <a:gd name="T73" fmla="*/ 256 h 272"/>
              <a:gd name="T74" fmla="*/ 157 w 319"/>
              <a:gd name="T75" fmla="*/ 259 h 272"/>
              <a:gd name="T76" fmla="*/ 128 w 319"/>
              <a:gd name="T77" fmla="*/ 253 h 272"/>
              <a:gd name="T78" fmla="*/ 107 w 319"/>
              <a:gd name="T79" fmla="*/ 256 h 272"/>
              <a:gd name="T80" fmla="*/ 97 w 319"/>
              <a:gd name="T81" fmla="*/ 262 h 272"/>
              <a:gd name="T82" fmla="*/ 78 w 319"/>
              <a:gd name="T83" fmla="*/ 262 h 272"/>
              <a:gd name="T84" fmla="*/ 63 w 319"/>
              <a:gd name="T85" fmla="*/ 269 h 272"/>
              <a:gd name="T86" fmla="*/ 44 w 319"/>
              <a:gd name="T87" fmla="*/ 259 h 272"/>
              <a:gd name="T88" fmla="*/ 35 w 319"/>
              <a:gd name="T89" fmla="*/ 256 h 272"/>
              <a:gd name="T90" fmla="*/ 32 w 319"/>
              <a:gd name="T91" fmla="*/ 253 h 272"/>
              <a:gd name="T92" fmla="*/ 22 w 319"/>
              <a:gd name="T93" fmla="*/ 228 h 272"/>
              <a:gd name="T94" fmla="*/ 32 w 319"/>
              <a:gd name="T95" fmla="*/ 222 h 272"/>
              <a:gd name="T96" fmla="*/ 25 w 319"/>
              <a:gd name="T97" fmla="*/ 190 h 272"/>
              <a:gd name="T98" fmla="*/ 10 w 319"/>
              <a:gd name="T99" fmla="*/ 144 h 272"/>
              <a:gd name="T100" fmla="*/ 210 w 319"/>
              <a:gd name="T101" fmla="*/ 172 h 272"/>
              <a:gd name="T102" fmla="*/ 225 w 319"/>
              <a:gd name="T103" fmla="*/ 178 h 272"/>
              <a:gd name="T104" fmla="*/ 238 w 319"/>
              <a:gd name="T105" fmla="*/ 165 h 272"/>
              <a:gd name="T106" fmla="*/ 241 w 319"/>
              <a:gd name="T107" fmla="*/ 159 h 272"/>
              <a:gd name="T108" fmla="*/ 241 w 319"/>
              <a:gd name="T109" fmla="*/ 137 h 272"/>
              <a:gd name="T110" fmla="*/ 228 w 319"/>
              <a:gd name="T111" fmla="*/ 137 h 272"/>
              <a:gd name="T112" fmla="*/ 213 w 319"/>
              <a:gd name="T113" fmla="*/ 147 h 272"/>
              <a:gd name="T114" fmla="*/ 207 w 319"/>
              <a:gd name="T115" fmla="*/ 16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9" h="272">
                <a:moveTo>
                  <a:pt x="0" y="134"/>
                </a:moveTo>
                <a:lnTo>
                  <a:pt x="3" y="131"/>
                </a:lnTo>
                <a:lnTo>
                  <a:pt x="10" y="131"/>
                </a:lnTo>
                <a:lnTo>
                  <a:pt x="10" y="128"/>
                </a:lnTo>
                <a:lnTo>
                  <a:pt x="7" y="128"/>
                </a:lnTo>
                <a:lnTo>
                  <a:pt x="10" y="125"/>
                </a:lnTo>
                <a:lnTo>
                  <a:pt x="13" y="122"/>
                </a:lnTo>
                <a:lnTo>
                  <a:pt x="16" y="125"/>
                </a:lnTo>
                <a:lnTo>
                  <a:pt x="19" y="125"/>
                </a:lnTo>
                <a:lnTo>
                  <a:pt x="19" y="131"/>
                </a:lnTo>
                <a:lnTo>
                  <a:pt x="22" y="137"/>
                </a:lnTo>
                <a:lnTo>
                  <a:pt x="28" y="137"/>
                </a:lnTo>
                <a:lnTo>
                  <a:pt x="32" y="140"/>
                </a:lnTo>
                <a:lnTo>
                  <a:pt x="35" y="140"/>
                </a:lnTo>
                <a:lnTo>
                  <a:pt x="38" y="140"/>
                </a:lnTo>
                <a:lnTo>
                  <a:pt x="41" y="140"/>
                </a:lnTo>
                <a:lnTo>
                  <a:pt x="41" y="140"/>
                </a:lnTo>
                <a:lnTo>
                  <a:pt x="44" y="140"/>
                </a:lnTo>
                <a:lnTo>
                  <a:pt x="47" y="140"/>
                </a:lnTo>
                <a:lnTo>
                  <a:pt x="50" y="140"/>
                </a:lnTo>
                <a:lnTo>
                  <a:pt x="50" y="144"/>
                </a:lnTo>
                <a:lnTo>
                  <a:pt x="50" y="137"/>
                </a:lnTo>
                <a:lnTo>
                  <a:pt x="53" y="137"/>
                </a:lnTo>
                <a:lnTo>
                  <a:pt x="57" y="134"/>
                </a:lnTo>
                <a:lnTo>
                  <a:pt x="57" y="131"/>
                </a:lnTo>
                <a:lnTo>
                  <a:pt x="63" y="128"/>
                </a:lnTo>
                <a:lnTo>
                  <a:pt x="69" y="128"/>
                </a:lnTo>
                <a:lnTo>
                  <a:pt x="72" y="128"/>
                </a:lnTo>
                <a:lnTo>
                  <a:pt x="75" y="59"/>
                </a:lnTo>
                <a:lnTo>
                  <a:pt x="82" y="62"/>
                </a:lnTo>
                <a:lnTo>
                  <a:pt x="82" y="68"/>
                </a:lnTo>
                <a:lnTo>
                  <a:pt x="88" y="78"/>
                </a:lnTo>
                <a:lnTo>
                  <a:pt x="88" y="84"/>
                </a:lnTo>
                <a:lnTo>
                  <a:pt x="85" y="90"/>
                </a:lnTo>
                <a:lnTo>
                  <a:pt x="85" y="94"/>
                </a:lnTo>
                <a:lnTo>
                  <a:pt x="91" y="94"/>
                </a:lnTo>
                <a:lnTo>
                  <a:pt x="94" y="94"/>
                </a:lnTo>
                <a:lnTo>
                  <a:pt x="97" y="94"/>
                </a:lnTo>
                <a:lnTo>
                  <a:pt x="103" y="94"/>
                </a:lnTo>
                <a:lnTo>
                  <a:pt x="107" y="94"/>
                </a:lnTo>
                <a:lnTo>
                  <a:pt x="110" y="90"/>
                </a:lnTo>
                <a:lnTo>
                  <a:pt x="113" y="87"/>
                </a:lnTo>
                <a:lnTo>
                  <a:pt x="116" y="87"/>
                </a:lnTo>
                <a:lnTo>
                  <a:pt x="122" y="84"/>
                </a:lnTo>
                <a:lnTo>
                  <a:pt x="125" y="81"/>
                </a:lnTo>
                <a:lnTo>
                  <a:pt x="128" y="72"/>
                </a:lnTo>
                <a:lnTo>
                  <a:pt x="135" y="68"/>
                </a:lnTo>
                <a:lnTo>
                  <a:pt x="138" y="65"/>
                </a:lnTo>
                <a:lnTo>
                  <a:pt x="144" y="68"/>
                </a:lnTo>
                <a:lnTo>
                  <a:pt x="147" y="68"/>
                </a:lnTo>
                <a:lnTo>
                  <a:pt x="150" y="72"/>
                </a:lnTo>
                <a:lnTo>
                  <a:pt x="157" y="75"/>
                </a:lnTo>
                <a:lnTo>
                  <a:pt x="160" y="75"/>
                </a:lnTo>
                <a:lnTo>
                  <a:pt x="163" y="75"/>
                </a:lnTo>
                <a:lnTo>
                  <a:pt x="166" y="75"/>
                </a:lnTo>
                <a:lnTo>
                  <a:pt x="172" y="75"/>
                </a:lnTo>
                <a:lnTo>
                  <a:pt x="175" y="75"/>
                </a:lnTo>
                <a:lnTo>
                  <a:pt x="175" y="75"/>
                </a:lnTo>
                <a:lnTo>
                  <a:pt x="178" y="78"/>
                </a:lnTo>
                <a:lnTo>
                  <a:pt x="182" y="75"/>
                </a:lnTo>
                <a:lnTo>
                  <a:pt x="182" y="72"/>
                </a:lnTo>
                <a:lnTo>
                  <a:pt x="182" y="68"/>
                </a:lnTo>
                <a:lnTo>
                  <a:pt x="182" y="65"/>
                </a:lnTo>
                <a:lnTo>
                  <a:pt x="185" y="65"/>
                </a:lnTo>
                <a:lnTo>
                  <a:pt x="185" y="59"/>
                </a:lnTo>
                <a:lnTo>
                  <a:pt x="185" y="56"/>
                </a:lnTo>
                <a:lnTo>
                  <a:pt x="191" y="56"/>
                </a:lnTo>
                <a:lnTo>
                  <a:pt x="194" y="53"/>
                </a:lnTo>
                <a:lnTo>
                  <a:pt x="197" y="53"/>
                </a:lnTo>
                <a:lnTo>
                  <a:pt x="197" y="50"/>
                </a:lnTo>
                <a:lnTo>
                  <a:pt x="197" y="50"/>
                </a:lnTo>
                <a:lnTo>
                  <a:pt x="200" y="47"/>
                </a:lnTo>
                <a:lnTo>
                  <a:pt x="200" y="47"/>
                </a:lnTo>
                <a:lnTo>
                  <a:pt x="203" y="43"/>
                </a:lnTo>
                <a:lnTo>
                  <a:pt x="207" y="43"/>
                </a:lnTo>
                <a:lnTo>
                  <a:pt x="207" y="43"/>
                </a:lnTo>
                <a:lnTo>
                  <a:pt x="207" y="40"/>
                </a:lnTo>
                <a:lnTo>
                  <a:pt x="207" y="37"/>
                </a:lnTo>
                <a:lnTo>
                  <a:pt x="207" y="34"/>
                </a:lnTo>
                <a:lnTo>
                  <a:pt x="213" y="25"/>
                </a:lnTo>
                <a:lnTo>
                  <a:pt x="216" y="25"/>
                </a:lnTo>
                <a:lnTo>
                  <a:pt x="219" y="25"/>
                </a:lnTo>
                <a:lnTo>
                  <a:pt x="219" y="22"/>
                </a:lnTo>
                <a:lnTo>
                  <a:pt x="222" y="22"/>
                </a:lnTo>
                <a:lnTo>
                  <a:pt x="222" y="18"/>
                </a:lnTo>
                <a:lnTo>
                  <a:pt x="225" y="18"/>
                </a:lnTo>
                <a:lnTo>
                  <a:pt x="228" y="15"/>
                </a:lnTo>
                <a:lnTo>
                  <a:pt x="232" y="12"/>
                </a:lnTo>
                <a:lnTo>
                  <a:pt x="235" y="12"/>
                </a:lnTo>
                <a:lnTo>
                  <a:pt x="238" y="12"/>
                </a:lnTo>
                <a:lnTo>
                  <a:pt x="238" y="12"/>
                </a:lnTo>
                <a:lnTo>
                  <a:pt x="241" y="12"/>
                </a:lnTo>
                <a:lnTo>
                  <a:pt x="244" y="9"/>
                </a:lnTo>
                <a:lnTo>
                  <a:pt x="247" y="9"/>
                </a:lnTo>
                <a:lnTo>
                  <a:pt x="247" y="6"/>
                </a:lnTo>
                <a:lnTo>
                  <a:pt x="247" y="3"/>
                </a:lnTo>
                <a:lnTo>
                  <a:pt x="250" y="3"/>
                </a:lnTo>
                <a:lnTo>
                  <a:pt x="253" y="3"/>
                </a:lnTo>
                <a:lnTo>
                  <a:pt x="257" y="0"/>
                </a:lnTo>
                <a:lnTo>
                  <a:pt x="263" y="0"/>
                </a:lnTo>
                <a:lnTo>
                  <a:pt x="269" y="0"/>
                </a:lnTo>
                <a:lnTo>
                  <a:pt x="269" y="3"/>
                </a:lnTo>
                <a:lnTo>
                  <a:pt x="272" y="3"/>
                </a:lnTo>
                <a:lnTo>
                  <a:pt x="278" y="6"/>
                </a:lnTo>
                <a:lnTo>
                  <a:pt x="278" y="6"/>
                </a:lnTo>
                <a:lnTo>
                  <a:pt x="282" y="6"/>
                </a:lnTo>
                <a:lnTo>
                  <a:pt x="288" y="3"/>
                </a:lnTo>
                <a:lnTo>
                  <a:pt x="294" y="6"/>
                </a:lnTo>
                <a:lnTo>
                  <a:pt x="297" y="9"/>
                </a:lnTo>
                <a:lnTo>
                  <a:pt x="297" y="12"/>
                </a:lnTo>
                <a:lnTo>
                  <a:pt x="300" y="18"/>
                </a:lnTo>
                <a:lnTo>
                  <a:pt x="303" y="25"/>
                </a:lnTo>
                <a:lnTo>
                  <a:pt x="303" y="34"/>
                </a:lnTo>
                <a:lnTo>
                  <a:pt x="300" y="34"/>
                </a:lnTo>
                <a:lnTo>
                  <a:pt x="300" y="37"/>
                </a:lnTo>
                <a:lnTo>
                  <a:pt x="303" y="40"/>
                </a:lnTo>
                <a:lnTo>
                  <a:pt x="303" y="47"/>
                </a:lnTo>
                <a:lnTo>
                  <a:pt x="303" y="62"/>
                </a:lnTo>
                <a:lnTo>
                  <a:pt x="303" y="68"/>
                </a:lnTo>
                <a:lnTo>
                  <a:pt x="303" y="72"/>
                </a:lnTo>
                <a:lnTo>
                  <a:pt x="303" y="81"/>
                </a:lnTo>
                <a:lnTo>
                  <a:pt x="300" y="78"/>
                </a:lnTo>
                <a:lnTo>
                  <a:pt x="297" y="75"/>
                </a:lnTo>
                <a:lnTo>
                  <a:pt x="291" y="72"/>
                </a:lnTo>
                <a:lnTo>
                  <a:pt x="288" y="75"/>
                </a:lnTo>
                <a:lnTo>
                  <a:pt x="288" y="78"/>
                </a:lnTo>
                <a:lnTo>
                  <a:pt x="282" y="87"/>
                </a:lnTo>
                <a:lnTo>
                  <a:pt x="282" y="90"/>
                </a:lnTo>
                <a:lnTo>
                  <a:pt x="282" y="94"/>
                </a:lnTo>
                <a:lnTo>
                  <a:pt x="285" y="97"/>
                </a:lnTo>
                <a:lnTo>
                  <a:pt x="285" y="100"/>
                </a:lnTo>
                <a:lnTo>
                  <a:pt x="291" y="103"/>
                </a:lnTo>
                <a:lnTo>
                  <a:pt x="300" y="103"/>
                </a:lnTo>
                <a:lnTo>
                  <a:pt x="303" y="103"/>
                </a:lnTo>
                <a:lnTo>
                  <a:pt x="303" y="100"/>
                </a:lnTo>
                <a:lnTo>
                  <a:pt x="303" y="97"/>
                </a:lnTo>
                <a:lnTo>
                  <a:pt x="307" y="97"/>
                </a:lnTo>
                <a:lnTo>
                  <a:pt x="310" y="94"/>
                </a:lnTo>
                <a:lnTo>
                  <a:pt x="316" y="97"/>
                </a:lnTo>
                <a:lnTo>
                  <a:pt x="319" y="97"/>
                </a:lnTo>
                <a:lnTo>
                  <a:pt x="319" y="97"/>
                </a:lnTo>
                <a:lnTo>
                  <a:pt x="316" y="100"/>
                </a:lnTo>
                <a:lnTo>
                  <a:pt x="319" y="100"/>
                </a:lnTo>
                <a:lnTo>
                  <a:pt x="316" y="109"/>
                </a:lnTo>
                <a:lnTo>
                  <a:pt x="316" y="112"/>
                </a:lnTo>
                <a:lnTo>
                  <a:pt x="313" y="119"/>
                </a:lnTo>
                <a:lnTo>
                  <a:pt x="310" y="128"/>
                </a:lnTo>
                <a:lnTo>
                  <a:pt x="307" y="131"/>
                </a:lnTo>
                <a:lnTo>
                  <a:pt x="307" y="134"/>
                </a:lnTo>
                <a:lnTo>
                  <a:pt x="300" y="140"/>
                </a:lnTo>
                <a:lnTo>
                  <a:pt x="300" y="140"/>
                </a:lnTo>
                <a:lnTo>
                  <a:pt x="297" y="144"/>
                </a:lnTo>
                <a:lnTo>
                  <a:pt x="294" y="144"/>
                </a:lnTo>
                <a:lnTo>
                  <a:pt x="294" y="147"/>
                </a:lnTo>
                <a:lnTo>
                  <a:pt x="288" y="150"/>
                </a:lnTo>
                <a:lnTo>
                  <a:pt x="285" y="153"/>
                </a:lnTo>
                <a:lnTo>
                  <a:pt x="282" y="159"/>
                </a:lnTo>
                <a:lnTo>
                  <a:pt x="282" y="159"/>
                </a:lnTo>
                <a:lnTo>
                  <a:pt x="278" y="165"/>
                </a:lnTo>
                <a:lnTo>
                  <a:pt x="275" y="165"/>
                </a:lnTo>
                <a:lnTo>
                  <a:pt x="272" y="172"/>
                </a:lnTo>
                <a:lnTo>
                  <a:pt x="266" y="184"/>
                </a:lnTo>
                <a:lnTo>
                  <a:pt x="260" y="190"/>
                </a:lnTo>
                <a:lnTo>
                  <a:pt x="257" y="197"/>
                </a:lnTo>
                <a:lnTo>
                  <a:pt x="253" y="197"/>
                </a:lnTo>
                <a:lnTo>
                  <a:pt x="250" y="200"/>
                </a:lnTo>
                <a:lnTo>
                  <a:pt x="247" y="200"/>
                </a:lnTo>
                <a:lnTo>
                  <a:pt x="247" y="203"/>
                </a:lnTo>
                <a:lnTo>
                  <a:pt x="225" y="222"/>
                </a:lnTo>
                <a:lnTo>
                  <a:pt x="225" y="225"/>
                </a:lnTo>
                <a:lnTo>
                  <a:pt x="225" y="225"/>
                </a:lnTo>
                <a:lnTo>
                  <a:pt x="222" y="228"/>
                </a:lnTo>
                <a:lnTo>
                  <a:pt x="207" y="237"/>
                </a:lnTo>
                <a:lnTo>
                  <a:pt x="203" y="241"/>
                </a:lnTo>
                <a:lnTo>
                  <a:pt x="200" y="241"/>
                </a:lnTo>
                <a:lnTo>
                  <a:pt x="200" y="244"/>
                </a:lnTo>
                <a:lnTo>
                  <a:pt x="191" y="244"/>
                </a:lnTo>
                <a:lnTo>
                  <a:pt x="188" y="247"/>
                </a:lnTo>
                <a:lnTo>
                  <a:pt x="185" y="247"/>
                </a:lnTo>
                <a:lnTo>
                  <a:pt x="182" y="247"/>
                </a:lnTo>
                <a:lnTo>
                  <a:pt x="175" y="247"/>
                </a:lnTo>
                <a:lnTo>
                  <a:pt x="172" y="247"/>
                </a:lnTo>
                <a:lnTo>
                  <a:pt x="169" y="253"/>
                </a:lnTo>
                <a:lnTo>
                  <a:pt x="172" y="253"/>
                </a:lnTo>
                <a:lnTo>
                  <a:pt x="172" y="256"/>
                </a:lnTo>
                <a:lnTo>
                  <a:pt x="166" y="256"/>
                </a:lnTo>
                <a:lnTo>
                  <a:pt x="160" y="253"/>
                </a:lnTo>
                <a:lnTo>
                  <a:pt x="157" y="253"/>
                </a:lnTo>
                <a:lnTo>
                  <a:pt x="153" y="256"/>
                </a:lnTo>
                <a:lnTo>
                  <a:pt x="157" y="259"/>
                </a:lnTo>
                <a:lnTo>
                  <a:pt x="153" y="259"/>
                </a:lnTo>
                <a:lnTo>
                  <a:pt x="144" y="256"/>
                </a:lnTo>
                <a:lnTo>
                  <a:pt x="141" y="256"/>
                </a:lnTo>
                <a:lnTo>
                  <a:pt x="135" y="253"/>
                </a:lnTo>
                <a:lnTo>
                  <a:pt x="128" y="253"/>
                </a:lnTo>
                <a:lnTo>
                  <a:pt x="128" y="256"/>
                </a:lnTo>
                <a:lnTo>
                  <a:pt x="125" y="256"/>
                </a:lnTo>
                <a:lnTo>
                  <a:pt x="119" y="253"/>
                </a:lnTo>
                <a:lnTo>
                  <a:pt x="110" y="253"/>
                </a:lnTo>
                <a:lnTo>
                  <a:pt x="107" y="256"/>
                </a:lnTo>
                <a:lnTo>
                  <a:pt x="103" y="259"/>
                </a:lnTo>
                <a:lnTo>
                  <a:pt x="103" y="259"/>
                </a:lnTo>
                <a:lnTo>
                  <a:pt x="100" y="259"/>
                </a:lnTo>
                <a:lnTo>
                  <a:pt x="97" y="259"/>
                </a:lnTo>
                <a:lnTo>
                  <a:pt x="97" y="262"/>
                </a:lnTo>
                <a:lnTo>
                  <a:pt x="91" y="262"/>
                </a:lnTo>
                <a:lnTo>
                  <a:pt x="91" y="262"/>
                </a:lnTo>
                <a:lnTo>
                  <a:pt x="85" y="262"/>
                </a:lnTo>
                <a:lnTo>
                  <a:pt x="78" y="262"/>
                </a:lnTo>
                <a:lnTo>
                  <a:pt x="78" y="262"/>
                </a:lnTo>
                <a:lnTo>
                  <a:pt x="72" y="262"/>
                </a:lnTo>
                <a:lnTo>
                  <a:pt x="69" y="266"/>
                </a:lnTo>
                <a:lnTo>
                  <a:pt x="66" y="269"/>
                </a:lnTo>
                <a:lnTo>
                  <a:pt x="63" y="272"/>
                </a:lnTo>
                <a:lnTo>
                  <a:pt x="63" y="269"/>
                </a:lnTo>
                <a:lnTo>
                  <a:pt x="60" y="272"/>
                </a:lnTo>
                <a:lnTo>
                  <a:pt x="50" y="266"/>
                </a:lnTo>
                <a:lnTo>
                  <a:pt x="47" y="266"/>
                </a:lnTo>
                <a:lnTo>
                  <a:pt x="47" y="262"/>
                </a:lnTo>
                <a:lnTo>
                  <a:pt x="44" y="259"/>
                </a:lnTo>
                <a:lnTo>
                  <a:pt x="41" y="262"/>
                </a:lnTo>
                <a:lnTo>
                  <a:pt x="41" y="262"/>
                </a:lnTo>
                <a:lnTo>
                  <a:pt x="41" y="259"/>
                </a:lnTo>
                <a:lnTo>
                  <a:pt x="41" y="256"/>
                </a:lnTo>
                <a:lnTo>
                  <a:pt x="35" y="256"/>
                </a:lnTo>
                <a:lnTo>
                  <a:pt x="32" y="256"/>
                </a:lnTo>
                <a:lnTo>
                  <a:pt x="32" y="262"/>
                </a:lnTo>
                <a:lnTo>
                  <a:pt x="32" y="259"/>
                </a:lnTo>
                <a:lnTo>
                  <a:pt x="32" y="256"/>
                </a:lnTo>
                <a:lnTo>
                  <a:pt x="32" y="253"/>
                </a:lnTo>
                <a:lnTo>
                  <a:pt x="32" y="247"/>
                </a:lnTo>
                <a:lnTo>
                  <a:pt x="35" y="244"/>
                </a:lnTo>
                <a:lnTo>
                  <a:pt x="28" y="237"/>
                </a:lnTo>
                <a:lnTo>
                  <a:pt x="25" y="234"/>
                </a:lnTo>
                <a:lnTo>
                  <a:pt x="22" y="228"/>
                </a:lnTo>
                <a:lnTo>
                  <a:pt x="22" y="222"/>
                </a:lnTo>
                <a:lnTo>
                  <a:pt x="25" y="222"/>
                </a:lnTo>
                <a:lnTo>
                  <a:pt x="28" y="225"/>
                </a:lnTo>
                <a:lnTo>
                  <a:pt x="28" y="225"/>
                </a:lnTo>
                <a:lnTo>
                  <a:pt x="32" y="222"/>
                </a:lnTo>
                <a:lnTo>
                  <a:pt x="32" y="216"/>
                </a:lnTo>
                <a:lnTo>
                  <a:pt x="32" y="209"/>
                </a:lnTo>
                <a:lnTo>
                  <a:pt x="32" y="206"/>
                </a:lnTo>
                <a:lnTo>
                  <a:pt x="25" y="197"/>
                </a:lnTo>
                <a:lnTo>
                  <a:pt x="25" y="190"/>
                </a:lnTo>
                <a:lnTo>
                  <a:pt x="19" y="184"/>
                </a:lnTo>
                <a:lnTo>
                  <a:pt x="16" y="172"/>
                </a:lnTo>
                <a:lnTo>
                  <a:pt x="13" y="162"/>
                </a:lnTo>
                <a:lnTo>
                  <a:pt x="13" y="156"/>
                </a:lnTo>
                <a:lnTo>
                  <a:pt x="10" y="144"/>
                </a:lnTo>
                <a:lnTo>
                  <a:pt x="3" y="140"/>
                </a:lnTo>
                <a:lnTo>
                  <a:pt x="0" y="134"/>
                </a:lnTo>
                <a:lnTo>
                  <a:pt x="0" y="134"/>
                </a:lnTo>
                <a:lnTo>
                  <a:pt x="0" y="134"/>
                </a:lnTo>
                <a:close/>
                <a:moveTo>
                  <a:pt x="210" y="172"/>
                </a:moveTo>
                <a:lnTo>
                  <a:pt x="213" y="175"/>
                </a:lnTo>
                <a:lnTo>
                  <a:pt x="216" y="178"/>
                </a:lnTo>
                <a:lnTo>
                  <a:pt x="219" y="178"/>
                </a:lnTo>
                <a:lnTo>
                  <a:pt x="225" y="178"/>
                </a:lnTo>
                <a:lnTo>
                  <a:pt x="225" y="178"/>
                </a:lnTo>
                <a:lnTo>
                  <a:pt x="225" y="175"/>
                </a:lnTo>
                <a:lnTo>
                  <a:pt x="228" y="172"/>
                </a:lnTo>
                <a:lnTo>
                  <a:pt x="232" y="169"/>
                </a:lnTo>
                <a:lnTo>
                  <a:pt x="235" y="169"/>
                </a:lnTo>
                <a:lnTo>
                  <a:pt x="238" y="165"/>
                </a:lnTo>
                <a:lnTo>
                  <a:pt x="241" y="169"/>
                </a:lnTo>
                <a:lnTo>
                  <a:pt x="244" y="165"/>
                </a:lnTo>
                <a:lnTo>
                  <a:pt x="244" y="162"/>
                </a:lnTo>
                <a:lnTo>
                  <a:pt x="244" y="159"/>
                </a:lnTo>
                <a:lnTo>
                  <a:pt x="241" y="159"/>
                </a:lnTo>
                <a:lnTo>
                  <a:pt x="247" y="156"/>
                </a:lnTo>
                <a:lnTo>
                  <a:pt x="250" y="153"/>
                </a:lnTo>
                <a:lnTo>
                  <a:pt x="250" y="150"/>
                </a:lnTo>
                <a:lnTo>
                  <a:pt x="247" y="140"/>
                </a:lnTo>
                <a:lnTo>
                  <a:pt x="241" y="137"/>
                </a:lnTo>
                <a:lnTo>
                  <a:pt x="238" y="137"/>
                </a:lnTo>
                <a:lnTo>
                  <a:pt x="235" y="137"/>
                </a:lnTo>
                <a:lnTo>
                  <a:pt x="235" y="137"/>
                </a:lnTo>
                <a:lnTo>
                  <a:pt x="232" y="137"/>
                </a:lnTo>
                <a:lnTo>
                  <a:pt x="228" y="137"/>
                </a:lnTo>
                <a:lnTo>
                  <a:pt x="228" y="137"/>
                </a:lnTo>
                <a:lnTo>
                  <a:pt x="225" y="140"/>
                </a:lnTo>
                <a:lnTo>
                  <a:pt x="225" y="140"/>
                </a:lnTo>
                <a:lnTo>
                  <a:pt x="219" y="144"/>
                </a:lnTo>
                <a:lnTo>
                  <a:pt x="213" y="147"/>
                </a:lnTo>
                <a:lnTo>
                  <a:pt x="213" y="150"/>
                </a:lnTo>
                <a:lnTo>
                  <a:pt x="207" y="156"/>
                </a:lnTo>
                <a:lnTo>
                  <a:pt x="203" y="156"/>
                </a:lnTo>
                <a:lnTo>
                  <a:pt x="207" y="159"/>
                </a:lnTo>
                <a:lnTo>
                  <a:pt x="207" y="162"/>
                </a:lnTo>
                <a:lnTo>
                  <a:pt x="210" y="165"/>
                </a:lnTo>
                <a:lnTo>
                  <a:pt x="210" y="169"/>
                </a:lnTo>
                <a:lnTo>
                  <a:pt x="210" y="172"/>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1" name="Freeform 159">
            <a:extLst>
              <a:ext uri="{FF2B5EF4-FFF2-40B4-BE49-F238E27FC236}">
                <a16:creationId xmlns:a16="http://schemas.microsoft.com/office/drawing/2014/main" id="{10D1D9A2-A60C-1EC9-1EDC-B4203E4A3BDE}"/>
              </a:ext>
            </a:extLst>
          </p:cNvPr>
          <p:cNvSpPr>
            <a:spLocks/>
          </p:cNvSpPr>
          <p:nvPr userDrawn="1"/>
        </p:nvSpPr>
        <p:spPr bwMode="auto">
          <a:xfrm>
            <a:off x="14785013" y="11222906"/>
            <a:ext cx="149216" cy="130176"/>
          </a:xfrm>
          <a:custGeom>
            <a:avLst/>
            <a:gdLst>
              <a:gd name="T0" fmla="*/ 7 w 47"/>
              <a:gd name="T1" fmla="*/ 35 h 41"/>
              <a:gd name="T2" fmla="*/ 7 w 47"/>
              <a:gd name="T3" fmla="*/ 32 h 41"/>
              <a:gd name="T4" fmla="*/ 7 w 47"/>
              <a:gd name="T5" fmla="*/ 28 h 41"/>
              <a:gd name="T6" fmla="*/ 4 w 47"/>
              <a:gd name="T7" fmla="*/ 25 h 41"/>
              <a:gd name="T8" fmla="*/ 4 w 47"/>
              <a:gd name="T9" fmla="*/ 22 h 41"/>
              <a:gd name="T10" fmla="*/ 0 w 47"/>
              <a:gd name="T11" fmla="*/ 19 h 41"/>
              <a:gd name="T12" fmla="*/ 4 w 47"/>
              <a:gd name="T13" fmla="*/ 19 h 41"/>
              <a:gd name="T14" fmla="*/ 10 w 47"/>
              <a:gd name="T15" fmla="*/ 13 h 41"/>
              <a:gd name="T16" fmla="*/ 10 w 47"/>
              <a:gd name="T17" fmla="*/ 10 h 41"/>
              <a:gd name="T18" fmla="*/ 16 w 47"/>
              <a:gd name="T19" fmla="*/ 7 h 41"/>
              <a:gd name="T20" fmla="*/ 22 w 47"/>
              <a:gd name="T21" fmla="*/ 3 h 41"/>
              <a:gd name="T22" fmla="*/ 22 w 47"/>
              <a:gd name="T23" fmla="*/ 3 h 41"/>
              <a:gd name="T24" fmla="*/ 25 w 47"/>
              <a:gd name="T25" fmla="*/ 0 h 41"/>
              <a:gd name="T26" fmla="*/ 25 w 47"/>
              <a:gd name="T27" fmla="*/ 0 h 41"/>
              <a:gd name="T28" fmla="*/ 29 w 47"/>
              <a:gd name="T29" fmla="*/ 0 h 41"/>
              <a:gd name="T30" fmla="*/ 32 w 47"/>
              <a:gd name="T31" fmla="*/ 0 h 41"/>
              <a:gd name="T32" fmla="*/ 32 w 47"/>
              <a:gd name="T33" fmla="*/ 0 h 41"/>
              <a:gd name="T34" fmla="*/ 35 w 47"/>
              <a:gd name="T35" fmla="*/ 0 h 41"/>
              <a:gd name="T36" fmla="*/ 38 w 47"/>
              <a:gd name="T37" fmla="*/ 0 h 41"/>
              <a:gd name="T38" fmla="*/ 44 w 47"/>
              <a:gd name="T39" fmla="*/ 3 h 41"/>
              <a:gd name="T40" fmla="*/ 47 w 47"/>
              <a:gd name="T41" fmla="*/ 13 h 41"/>
              <a:gd name="T42" fmla="*/ 47 w 47"/>
              <a:gd name="T43" fmla="*/ 16 h 41"/>
              <a:gd name="T44" fmla="*/ 44 w 47"/>
              <a:gd name="T45" fmla="*/ 19 h 41"/>
              <a:gd name="T46" fmla="*/ 38 w 47"/>
              <a:gd name="T47" fmla="*/ 22 h 41"/>
              <a:gd name="T48" fmla="*/ 41 w 47"/>
              <a:gd name="T49" fmla="*/ 22 h 41"/>
              <a:gd name="T50" fmla="*/ 41 w 47"/>
              <a:gd name="T51" fmla="*/ 25 h 41"/>
              <a:gd name="T52" fmla="*/ 41 w 47"/>
              <a:gd name="T53" fmla="*/ 28 h 41"/>
              <a:gd name="T54" fmla="*/ 38 w 47"/>
              <a:gd name="T55" fmla="*/ 32 h 41"/>
              <a:gd name="T56" fmla="*/ 35 w 47"/>
              <a:gd name="T57" fmla="*/ 28 h 41"/>
              <a:gd name="T58" fmla="*/ 32 w 47"/>
              <a:gd name="T59" fmla="*/ 32 h 41"/>
              <a:gd name="T60" fmla="*/ 29 w 47"/>
              <a:gd name="T61" fmla="*/ 32 h 41"/>
              <a:gd name="T62" fmla="*/ 25 w 47"/>
              <a:gd name="T63" fmla="*/ 35 h 41"/>
              <a:gd name="T64" fmla="*/ 22 w 47"/>
              <a:gd name="T65" fmla="*/ 38 h 41"/>
              <a:gd name="T66" fmla="*/ 22 w 47"/>
              <a:gd name="T67" fmla="*/ 41 h 41"/>
              <a:gd name="T68" fmla="*/ 22 w 47"/>
              <a:gd name="T69" fmla="*/ 41 h 41"/>
              <a:gd name="T70" fmla="*/ 16 w 47"/>
              <a:gd name="T71" fmla="*/ 41 h 41"/>
              <a:gd name="T72" fmla="*/ 13 w 47"/>
              <a:gd name="T73" fmla="*/ 41 h 41"/>
              <a:gd name="T74" fmla="*/ 10 w 47"/>
              <a:gd name="T75" fmla="*/ 38 h 41"/>
              <a:gd name="T76" fmla="*/ 7 w 47"/>
              <a:gd name="T77" fmla="*/ 3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 h="41">
                <a:moveTo>
                  <a:pt x="7" y="35"/>
                </a:moveTo>
                <a:lnTo>
                  <a:pt x="7" y="32"/>
                </a:lnTo>
                <a:lnTo>
                  <a:pt x="7" y="28"/>
                </a:lnTo>
                <a:lnTo>
                  <a:pt x="4" y="25"/>
                </a:lnTo>
                <a:lnTo>
                  <a:pt x="4" y="22"/>
                </a:lnTo>
                <a:lnTo>
                  <a:pt x="0" y="19"/>
                </a:lnTo>
                <a:lnTo>
                  <a:pt x="4" y="19"/>
                </a:lnTo>
                <a:lnTo>
                  <a:pt x="10" y="13"/>
                </a:lnTo>
                <a:lnTo>
                  <a:pt x="10" y="10"/>
                </a:lnTo>
                <a:lnTo>
                  <a:pt x="16" y="7"/>
                </a:lnTo>
                <a:lnTo>
                  <a:pt x="22" y="3"/>
                </a:lnTo>
                <a:lnTo>
                  <a:pt x="22" y="3"/>
                </a:lnTo>
                <a:lnTo>
                  <a:pt x="25" y="0"/>
                </a:lnTo>
                <a:lnTo>
                  <a:pt x="25" y="0"/>
                </a:lnTo>
                <a:lnTo>
                  <a:pt x="29" y="0"/>
                </a:lnTo>
                <a:lnTo>
                  <a:pt x="32" y="0"/>
                </a:lnTo>
                <a:lnTo>
                  <a:pt x="32" y="0"/>
                </a:lnTo>
                <a:lnTo>
                  <a:pt x="35" y="0"/>
                </a:lnTo>
                <a:lnTo>
                  <a:pt x="38" y="0"/>
                </a:lnTo>
                <a:lnTo>
                  <a:pt x="44" y="3"/>
                </a:lnTo>
                <a:lnTo>
                  <a:pt x="47" y="13"/>
                </a:lnTo>
                <a:lnTo>
                  <a:pt x="47" y="16"/>
                </a:lnTo>
                <a:lnTo>
                  <a:pt x="44" y="19"/>
                </a:lnTo>
                <a:lnTo>
                  <a:pt x="38" y="22"/>
                </a:lnTo>
                <a:lnTo>
                  <a:pt x="41" y="22"/>
                </a:lnTo>
                <a:lnTo>
                  <a:pt x="41" y="25"/>
                </a:lnTo>
                <a:lnTo>
                  <a:pt x="41" y="28"/>
                </a:lnTo>
                <a:lnTo>
                  <a:pt x="38" y="32"/>
                </a:lnTo>
                <a:lnTo>
                  <a:pt x="35" y="28"/>
                </a:lnTo>
                <a:lnTo>
                  <a:pt x="32" y="32"/>
                </a:lnTo>
                <a:lnTo>
                  <a:pt x="29" y="32"/>
                </a:lnTo>
                <a:lnTo>
                  <a:pt x="25" y="35"/>
                </a:lnTo>
                <a:lnTo>
                  <a:pt x="22" y="38"/>
                </a:lnTo>
                <a:lnTo>
                  <a:pt x="22" y="41"/>
                </a:lnTo>
                <a:lnTo>
                  <a:pt x="22" y="41"/>
                </a:lnTo>
                <a:lnTo>
                  <a:pt x="16" y="41"/>
                </a:lnTo>
                <a:lnTo>
                  <a:pt x="13" y="41"/>
                </a:lnTo>
                <a:lnTo>
                  <a:pt x="10" y="38"/>
                </a:lnTo>
                <a:lnTo>
                  <a:pt x="7" y="35"/>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2" name="Freeform 160">
            <a:extLst>
              <a:ext uri="{FF2B5EF4-FFF2-40B4-BE49-F238E27FC236}">
                <a16:creationId xmlns:a16="http://schemas.microsoft.com/office/drawing/2014/main" id="{B8B0AD6F-52B0-69CD-CE2E-A3AB56BBB8FD}"/>
              </a:ext>
            </a:extLst>
          </p:cNvPr>
          <p:cNvSpPr>
            <a:spLocks noEditPoints="1"/>
          </p:cNvSpPr>
          <p:nvPr userDrawn="1"/>
        </p:nvSpPr>
        <p:spPr bwMode="auto">
          <a:xfrm>
            <a:off x="20115490" y="10051330"/>
            <a:ext cx="2530313" cy="2720976"/>
          </a:xfrm>
          <a:custGeom>
            <a:avLst/>
            <a:gdLst>
              <a:gd name="T0" fmla="*/ 252 w 255"/>
              <a:gd name="T1" fmla="*/ 115 h 274"/>
              <a:gd name="T2" fmla="*/ 217 w 255"/>
              <a:gd name="T3" fmla="*/ 59 h 274"/>
              <a:gd name="T4" fmla="*/ 174 w 255"/>
              <a:gd name="T5" fmla="*/ 47 h 274"/>
              <a:gd name="T6" fmla="*/ 156 w 255"/>
              <a:gd name="T7" fmla="*/ 26 h 274"/>
              <a:gd name="T8" fmla="*/ 158 w 255"/>
              <a:gd name="T9" fmla="*/ 28 h 274"/>
              <a:gd name="T10" fmla="*/ 154 w 255"/>
              <a:gd name="T11" fmla="*/ 11 h 274"/>
              <a:gd name="T12" fmla="*/ 121 w 255"/>
              <a:gd name="T13" fmla="*/ 8 h 274"/>
              <a:gd name="T14" fmla="*/ 120 w 255"/>
              <a:gd name="T15" fmla="*/ 8 h 274"/>
              <a:gd name="T16" fmla="*/ 82 w 255"/>
              <a:gd name="T17" fmla="*/ 36 h 274"/>
              <a:gd name="T18" fmla="*/ 1 w 255"/>
              <a:gd name="T19" fmla="*/ 103 h 274"/>
              <a:gd name="T20" fmla="*/ 138 w 255"/>
              <a:gd name="T21" fmla="*/ 196 h 274"/>
              <a:gd name="T22" fmla="*/ 187 w 255"/>
              <a:gd name="T23" fmla="*/ 226 h 274"/>
              <a:gd name="T24" fmla="*/ 172 w 255"/>
              <a:gd name="T25" fmla="*/ 241 h 274"/>
              <a:gd name="T26" fmla="*/ 192 w 255"/>
              <a:gd name="T27" fmla="*/ 237 h 274"/>
              <a:gd name="T28" fmla="*/ 186 w 255"/>
              <a:gd name="T29" fmla="*/ 265 h 274"/>
              <a:gd name="T30" fmla="*/ 169 w 255"/>
              <a:gd name="T31" fmla="*/ 263 h 274"/>
              <a:gd name="T32" fmla="*/ 173 w 255"/>
              <a:gd name="T33" fmla="*/ 245 h 274"/>
              <a:gd name="T34" fmla="*/ 191 w 255"/>
              <a:gd name="T35" fmla="*/ 247 h 274"/>
              <a:gd name="T36" fmla="*/ 184 w 255"/>
              <a:gd name="T37" fmla="*/ 266 h 274"/>
              <a:gd name="T38" fmla="*/ 176 w 255"/>
              <a:gd name="T39" fmla="*/ 272 h 274"/>
              <a:gd name="T40" fmla="*/ 12 w 255"/>
              <a:gd name="T41" fmla="*/ 181 h 274"/>
              <a:gd name="T42" fmla="*/ 30 w 255"/>
              <a:gd name="T43" fmla="*/ 175 h 274"/>
              <a:gd name="T44" fmla="*/ 53 w 255"/>
              <a:gd name="T45" fmla="*/ 173 h 274"/>
              <a:gd name="T46" fmla="*/ 82 w 255"/>
              <a:gd name="T47" fmla="*/ 161 h 274"/>
              <a:gd name="T48" fmla="*/ 117 w 255"/>
              <a:gd name="T49" fmla="*/ 160 h 274"/>
              <a:gd name="T50" fmla="*/ 128 w 255"/>
              <a:gd name="T51" fmla="*/ 182 h 274"/>
              <a:gd name="T52" fmla="*/ 139 w 255"/>
              <a:gd name="T53" fmla="*/ 176 h 274"/>
              <a:gd name="T54" fmla="*/ 141 w 255"/>
              <a:gd name="T55" fmla="*/ 183 h 274"/>
              <a:gd name="T56" fmla="*/ 143 w 255"/>
              <a:gd name="T57" fmla="*/ 193 h 274"/>
              <a:gd name="T58" fmla="*/ 149 w 255"/>
              <a:gd name="T59" fmla="*/ 209 h 274"/>
              <a:gd name="T60" fmla="*/ 170 w 255"/>
              <a:gd name="T61" fmla="*/ 225 h 274"/>
              <a:gd name="T62" fmla="*/ 183 w 255"/>
              <a:gd name="T63" fmla="*/ 223 h 274"/>
              <a:gd name="T64" fmla="*/ 196 w 255"/>
              <a:gd name="T65" fmla="*/ 220 h 274"/>
              <a:gd name="T66" fmla="*/ 215 w 255"/>
              <a:gd name="T67" fmla="*/ 203 h 274"/>
              <a:gd name="T68" fmla="*/ 236 w 255"/>
              <a:gd name="T69" fmla="*/ 173 h 274"/>
              <a:gd name="T70" fmla="*/ 248 w 255"/>
              <a:gd name="T71" fmla="*/ 145 h 274"/>
              <a:gd name="T72" fmla="*/ 251 w 255"/>
              <a:gd name="T73" fmla="*/ 113 h 274"/>
              <a:gd name="T74" fmla="*/ 240 w 255"/>
              <a:gd name="T75" fmla="*/ 94 h 274"/>
              <a:gd name="T76" fmla="*/ 234 w 255"/>
              <a:gd name="T77" fmla="*/ 83 h 274"/>
              <a:gd name="T78" fmla="*/ 224 w 255"/>
              <a:gd name="T79" fmla="*/ 69 h 274"/>
              <a:gd name="T80" fmla="*/ 215 w 255"/>
              <a:gd name="T81" fmla="*/ 49 h 274"/>
              <a:gd name="T82" fmla="*/ 206 w 255"/>
              <a:gd name="T83" fmla="*/ 29 h 274"/>
              <a:gd name="T84" fmla="*/ 199 w 255"/>
              <a:gd name="T85" fmla="*/ 9 h 274"/>
              <a:gd name="T86" fmla="*/ 191 w 255"/>
              <a:gd name="T87" fmla="*/ 21 h 274"/>
              <a:gd name="T88" fmla="*/ 183 w 255"/>
              <a:gd name="T89" fmla="*/ 52 h 274"/>
              <a:gd name="T90" fmla="*/ 160 w 255"/>
              <a:gd name="T91" fmla="*/ 40 h 274"/>
              <a:gd name="T92" fmla="*/ 155 w 255"/>
              <a:gd name="T93" fmla="*/ 22 h 274"/>
              <a:gd name="T94" fmla="*/ 157 w 255"/>
              <a:gd name="T95" fmla="*/ 15 h 274"/>
              <a:gd name="T96" fmla="*/ 148 w 255"/>
              <a:gd name="T97" fmla="*/ 13 h 274"/>
              <a:gd name="T98" fmla="*/ 131 w 255"/>
              <a:gd name="T99" fmla="*/ 8 h 274"/>
              <a:gd name="T100" fmla="*/ 124 w 255"/>
              <a:gd name="T101" fmla="*/ 16 h 274"/>
              <a:gd name="T102" fmla="*/ 115 w 255"/>
              <a:gd name="T103" fmla="*/ 25 h 274"/>
              <a:gd name="T104" fmla="*/ 111 w 255"/>
              <a:gd name="T105" fmla="*/ 33 h 274"/>
              <a:gd name="T106" fmla="*/ 103 w 255"/>
              <a:gd name="T107" fmla="*/ 35 h 274"/>
              <a:gd name="T108" fmla="*/ 91 w 255"/>
              <a:gd name="T109" fmla="*/ 27 h 274"/>
              <a:gd name="T110" fmla="*/ 83 w 255"/>
              <a:gd name="T111" fmla="*/ 35 h 274"/>
              <a:gd name="T112" fmla="*/ 78 w 255"/>
              <a:gd name="T113" fmla="*/ 43 h 274"/>
              <a:gd name="T114" fmla="*/ 71 w 255"/>
              <a:gd name="T115" fmla="*/ 45 h 274"/>
              <a:gd name="T116" fmla="*/ 60 w 255"/>
              <a:gd name="T117" fmla="*/ 59 h 274"/>
              <a:gd name="T118" fmla="*/ 29 w 255"/>
              <a:gd name="T119" fmla="*/ 72 h 274"/>
              <a:gd name="T120" fmla="*/ 9 w 255"/>
              <a:gd name="T121" fmla="*/ 82 h 274"/>
              <a:gd name="T122" fmla="*/ 5 w 255"/>
              <a:gd name="T123" fmla="*/ 110 h 274"/>
              <a:gd name="T124" fmla="*/ 8 w 255"/>
              <a:gd name="T125" fmla="*/ 145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5" h="274">
                <a:moveTo>
                  <a:pt x="252" y="131"/>
                </a:moveTo>
                <a:cubicBezTo>
                  <a:pt x="252" y="129"/>
                  <a:pt x="252" y="129"/>
                  <a:pt x="252" y="129"/>
                </a:cubicBezTo>
                <a:cubicBezTo>
                  <a:pt x="252" y="130"/>
                  <a:pt x="252" y="130"/>
                  <a:pt x="252" y="130"/>
                </a:cubicBezTo>
                <a:cubicBezTo>
                  <a:pt x="252" y="131"/>
                  <a:pt x="252" y="131"/>
                  <a:pt x="252" y="131"/>
                </a:cubicBezTo>
                <a:close/>
                <a:moveTo>
                  <a:pt x="252" y="115"/>
                </a:moveTo>
                <a:cubicBezTo>
                  <a:pt x="252" y="113"/>
                  <a:pt x="252" y="113"/>
                  <a:pt x="252" y="113"/>
                </a:cubicBezTo>
                <a:cubicBezTo>
                  <a:pt x="252" y="112"/>
                  <a:pt x="252" y="112"/>
                  <a:pt x="252" y="112"/>
                </a:cubicBezTo>
                <a:cubicBezTo>
                  <a:pt x="252" y="111"/>
                  <a:pt x="252" y="111"/>
                  <a:pt x="252" y="111"/>
                </a:cubicBezTo>
                <a:cubicBezTo>
                  <a:pt x="253" y="110"/>
                  <a:pt x="253" y="110"/>
                  <a:pt x="253" y="110"/>
                </a:cubicBezTo>
                <a:cubicBezTo>
                  <a:pt x="254" y="108"/>
                  <a:pt x="254" y="108"/>
                  <a:pt x="254" y="108"/>
                </a:cubicBezTo>
                <a:cubicBezTo>
                  <a:pt x="254" y="107"/>
                  <a:pt x="254" y="107"/>
                  <a:pt x="254" y="107"/>
                </a:cubicBezTo>
                <a:cubicBezTo>
                  <a:pt x="254" y="106"/>
                  <a:pt x="254" y="106"/>
                  <a:pt x="254" y="106"/>
                </a:cubicBezTo>
                <a:cubicBezTo>
                  <a:pt x="254" y="106"/>
                  <a:pt x="254" y="106"/>
                  <a:pt x="254" y="106"/>
                </a:cubicBezTo>
                <a:cubicBezTo>
                  <a:pt x="255" y="108"/>
                  <a:pt x="255" y="108"/>
                  <a:pt x="255" y="108"/>
                </a:cubicBezTo>
                <a:cubicBezTo>
                  <a:pt x="254" y="110"/>
                  <a:pt x="254" y="110"/>
                  <a:pt x="254" y="110"/>
                </a:cubicBezTo>
                <a:cubicBezTo>
                  <a:pt x="253" y="112"/>
                  <a:pt x="253" y="112"/>
                  <a:pt x="253" y="112"/>
                </a:cubicBezTo>
                <a:cubicBezTo>
                  <a:pt x="253" y="114"/>
                  <a:pt x="253" y="114"/>
                  <a:pt x="253" y="114"/>
                </a:cubicBezTo>
                <a:cubicBezTo>
                  <a:pt x="253" y="115"/>
                  <a:pt x="253" y="115"/>
                  <a:pt x="253" y="115"/>
                </a:cubicBezTo>
                <a:cubicBezTo>
                  <a:pt x="252" y="115"/>
                  <a:pt x="252" y="115"/>
                  <a:pt x="252" y="115"/>
                </a:cubicBezTo>
                <a:close/>
                <a:moveTo>
                  <a:pt x="242" y="97"/>
                </a:moveTo>
                <a:cubicBezTo>
                  <a:pt x="243" y="98"/>
                  <a:pt x="243" y="98"/>
                  <a:pt x="243" y="98"/>
                </a:cubicBezTo>
                <a:cubicBezTo>
                  <a:pt x="244" y="99"/>
                  <a:pt x="244" y="99"/>
                  <a:pt x="244" y="99"/>
                </a:cubicBezTo>
                <a:cubicBezTo>
                  <a:pt x="244" y="98"/>
                  <a:pt x="244" y="98"/>
                  <a:pt x="244" y="98"/>
                </a:cubicBezTo>
                <a:cubicBezTo>
                  <a:pt x="243" y="97"/>
                  <a:pt x="243" y="97"/>
                  <a:pt x="243" y="97"/>
                </a:cubicBezTo>
                <a:cubicBezTo>
                  <a:pt x="243" y="97"/>
                  <a:pt x="243" y="97"/>
                  <a:pt x="243" y="97"/>
                </a:cubicBezTo>
                <a:cubicBezTo>
                  <a:pt x="243" y="97"/>
                  <a:pt x="243" y="97"/>
                  <a:pt x="243" y="97"/>
                </a:cubicBezTo>
                <a:cubicBezTo>
                  <a:pt x="242" y="96"/>
                  <a:pt x="242" y="96"/>
                  <a:pt x="242" y="96"/>
                </a:cubicBezTo>
                <a:cubicBezTo>
                  <a:pt x="242" y="97"/>
                  <a:pt x="242" y="97"/>
                  <a:pt x="242" y="97"/>
                </a:cubicBezTo>
                <a:close/>
                <a:moveTo>
                  <a:pt x="240" y="88"/>
                </a:moveTo>
                <a:cubicBezTo>
                  <a:pt x="240" y="87"/>
                  <a:pt x="240" y="87"/>
                  <a:pt x="240" y="87"/>
                </a:cubicBezTo>
                <a:cubicBezTo>
                  <a:pt x="240" y="87"/>
                  <a:pt x="240" y="87"/>
                  <a:pt x="240" y="87"/>
                </a:cubicBezTo>
                <a:cubicBezTo>
                  <a:pt x="240" y="88"/>
                  <a:pt x="240" y="88"/>
                  <a:pt x="240" y="88"/>
                </a:cubicBezTo>
                <a:close/>
                <a:moveTo>
                  <a:pt x="216" y="60"/>
                </a:moveTo>
                <a:cubicBezTo>
                  <a:pt x="217" y="59"/>
                  <a:pt x="217" y="59"/>
                  <a:pt x="217" y="59"/>
                </a:cubicBezTo>
                <a:cubicBezTo>
                  <a:pt x="216" y="58"/>
                  <a:pt x="216" y="58"/>
                  <a:pt x="216" y="58"/>
                </a:cubicBezTo>
                <a:cubicBezTo>
                  <a:pt x="217" y="58"/>
                  <a:pt x="217" y="58"/>
                  <a:pt x="217" y="58"/>
                </a:cubicBezTo>
                <a:cubicBezTo>
                  <a:pt x="217" y="57"/>
                  <a:pt x="217" y="57"/>
                  <a:pt x="217" y="57"/>
                </a:cubicBezTo>
                <a:cubicBezTo>
                  <a:pt x="217" y="59"/>
                  <a:pt x="217" y="59"/>
                  <a:pt x="217" y="59"/>
                </a:cubicBezTo>
                <a:cubicBezTo>
                  <a:pt x="217" y="61"/>
                  <a:pt x="217" y="61"/>
                  <a:pt x="217" y="61"/>
                </a:cubicBezTo>
                <a:cubicBezTo>
                  <a:pt x="216" y="60"/>
                  <a:pt x="216" y="60"/>
                  <a:pt x="216" y="60"/>
                </a:cubicBezTo>
                <a:close/>
                <a:moveTo>
                  <a:pt x="196" y="0"/>
                </a:moveTo>
                <a:cubicBezTo>
                  <a:pt x="196" y="1"/>
                  <a:pt x="196" y="1"/>
                  <a:pt x="196" y="1"/>
                </a:cubicBezTo>
                <a:cubicBezTo>
                  <a:pt x="197" y="0"/>
                  <a:pt x="197" y="0"/>
                  <a:pt x="197" y="0"/>
                </a:cubicBezTo>
                <a:cubicBezTo>
                  <a:pt x="196" y="0"/>
                  <a:pt x="196" y="0"/>
                  <a:pt x="196" y="0"/>
                </a:cubicBezTo>
                <a:close/>
                <a:moveTo>
                  <a:pt x="195" y="3"/>
                </a:moveTo>
                <a:cubicBezTo>
                  <a:pt x="195" y="5"/>
                  <a:pt x="195" y="5"/>
                  <a:pt x="195" y="5"/>
                </a:cubicBezTo>
                <a:cubicBezTo>
                  <a:pt x="195" y="5"/>
                  <a:pt x="195" y="5"/>
                  <a:pt x="195" y="5"/>
                </a:cubicBezTo>
                <a:cubicBezTo>
                  <a:pt x="196" y="5"/>
                  <a:pt x="196" y="5"/>
                  <a:pt x="196" y="5"/>
                </a:cubicBezTo>
                <a:cubicBezTo>
                  <a:pt x="196" y="4"/>
                  <a:pt x="196" y="4"/>
                  <a:pt x="196" y="4"/>
                </a:cubicBezTo>
                <a:cubicBezTo>
                  <a:pt x="195" y="3"/>
                  <a:pt x="195" y="3"/>
                  <a:pt x="195" y="3"/>
                </a:cubicBezTo>
                <a:close/>
                <a:moveTo>
                  <a:pt x="175" y="49"/>
                </a:moveTo>
                <a:cubicBezTo>
                  <a:pt x="175" y="49"/>
                  <a:pt x="175" y="49"/>
                  <a:pt x="175" y="49"/>
                </a:cubicBezTo>
                <a:cubicBezTo>
                  <a:pt x="176" y="49"/>
                  <a:pt x="176" y="49"/>
                  <a:pt x="176" y="49"/>
                </a:cubicBezTo>
                <a:cubicBezTo>
                  <a:pt x="176" y="48"/>
                  <a:pt x="176" y="48"/>
                  <a:pt x="176" y="48"/>
                </a:cubicBezTo>
                <a:cubicBezTo>
                  <a:pt x="175" y="49"/>
                  <a:pt x="175" y="49"/>
                  <a:pt x="175" y="49"/>
                </a:cubicBezTo>
                <a:close/>
                <a:moveTo>
                  <a:pt x="173" y="46"/>
                </a:moveTo>
                <a:cubicBezTo>
                  <a:pt x="174" y="47"/>
                  <a:pt x="174" y="47"/>
                  <a:pt x="174" y="47"/>
                </a:cubicBezTo>
                <a:cubicBezTo>
                  <a:pt x="174" y="46"/>
                  <a:pt x="174" y="46"/>
                  <a:pt x="174" y="46"/>
                </a:cubicBezTo>
                <a:cubicBezTo>
                  <a:pt x="175" y="45"/>
                  <a:pt x="175" y="45"/>
                  <a:pt x="175" y="45"/>
                </a:cubicBezTo>
                <a:cubicBezTo>
                  <a:pt x="177" y="45"/>
                  <a:pt x="177" y="45"/>
                  <a:pt x="177" y="45"/>
                </a:cubicBezTo>
                <a:cubicBezTo>
                  <a:pt x="177" y="45"/>
                  <a:pt x="177" y="45"/>
                  <a:pt x="177" y="45"/>
                </a:cubicBezTo>
                <a:cubicBezTo>
                  <a:pt x="175" y="44"/>
                  <a:pt x="175" y="44"/>
                  <a:pt x="175" y="44"/>
                </a:cubicBezTo>
                <a:cubicBezTo>
                  <a:pt x="173" y="45"/>
                  <a:pt x="173" y="45"/>
                  <a:pt x="173" y="45"/>
                </a:cubicBezTo>
                <a:cubicBezTo>
                  <a:pt x="173" y="45"/>
                  <a:pt x="173" y="46"/>
                  <a:pt x="173" y="46"/>
                </a:cubicBezTo>
                <a:close/>
                <a:moveTo>
                  <a:pt x="160" y="40"/>
                </a:moveTo>
                <a:cubicBezTo>
                  <a:pt x="160" y="39"/>
                  <a:pt x="160" y="39"/>
                  <a:pt x="160" y="39"/>
                </a:cubicBezTo>
                <a:cubicBezTo>
                  <a:pt x="160" y="38"/>
                  <a:pt x="160" y="38"/>
                  <a:pt x="160" y="38"/>
                </a:cubicBezTo>
                <a:cubicBezTo>
                  <a:pt x="161" y="39"/>
                  <a:pt x="161" y="39"/>
                  <a:pt x="161" y="39"/>
                </a:cubicBezTo>
                <a:cubicBezTo>
                  <a:pt x="160" y="40"/>
                  <a:pt x="160" y="40"/>
                  <a:pt x="160" y="40"/>
                </a:cubicBezTo>
                <a:close/>
                <a:moveTo>
                  <a:pt x="156" y="26"/>
                </a:moveTo>
                <a:cubicBezTo>
                  <a:pt x="156" y="26"/>
                  <a:pt x="156" y="26"/>
                  <a:pt x="156" y="26"/>
                </a:cubicBezTo>
                <a:cubicBezTo>
                  <a:pt x="156" y="26"/>
                  <a:pt x="156" y="26"/>
                  <a:pt x="156" y="26"/>
                </a:cubicBezTo>
                <a:cubicBezTo>
                  <a:pt x="156" y="25"/>
                  <a:pt x="156" y="25"/>
                  <a:pt x="156" y="25"/>
                </a:cubicBezTo>
                <a:cubicBezTo>
                  <a:pt x="156" y="25"/>
                  <a:pt x="156" y="25"/>
                  <a:pt x="156" y="25"/>
                </a:cubicBezTo>
                <a:cubicBezTo>
                  <a:pt x="157" y="26"/>
                  <a:pt x="157" y="26"/>
                  <a:pt x="157" y="26"/>
                </a:cubicBezTo>
                <a:cubicBezTo>
                  <a:pt x="156" y="26"/>
                  <a:pt x="156" y="26"/>
                  <a:pt x="156" y="26"/>
                </a:cubicBezTo>
                <a:close/>
                <a:moveTo>
                  <a:pt x="158" y="28"/>
                </a:moveTo>
                <a:cubicBezTo>
                  <a:pt x="157" y="29"/>
                  <a:pt x="157" y="29"/>
                  <a:pt x="157" y="29"/>
                </a:cubicBezTo>
                <a:cubicBezTo>
                  <a:pt x="158" y="29"/>
                  <a:pt x="158" y="29"/>
                  <a:pt x="158" y="29"/>
                </a:cubicBezTo>
                <a:cubicBezTo>
                  <a:pt x="159" y="28"/>
                  <a:pt x="159" y="28"/>
                  <a:pt x="159" y="28"/>
                </a:cubicBezTo>
                <a:cubicBezTo>
                  <a:pt x="160" y="28"/>
                  <a:pt x="160" y="28"/>
                  <a:pt x="160" y="28"/>
                </a:cubicBezTo>
                <a:cubicBezTo>
                  <a:pt x="161" y="27"/>
                  <a:pt x="161" y="27"/>
                  <a:pt x="161" y="27"/>
                </a:cubicBezTo>
                <a:cubicBezTo>
                  <a:pt x="160" y="27"/>
                  <a:pt x="160" y="27"/>
                  <a:pt x="160" y="27"/>
                </a:cubicBezTo>
                <a:cubicBezTo>
                  <a:pt x="160" y="27"/>
                  <a:pt x="160" y="27"/>
                  <a:pt x="160" y="27"/>
                </a:cubicBezTo>
                <a:cubicBezTo>
                  <a:pt x="159" y="27"/>
                  <a:pt x="159" y="27"/>
                  <a:pt x="159" y="27"/>
                </a:cubicBezTo>
                <a:cubicBezTo>
                  <a:pt x="160" y="26"/>
                  <a:pt x="160" y="26"/>
                  <a:pt x="160" y="26"/>
                </a:cubicBezTo>
                <a:cubicBezTo>
                  <a:pt x="160" y="26"/>
                  <a:pt x="160" y="26"/>
                  <a:pt x="160" y="26"/>
                </a:cubicBezTo>
                <a:cubicBezTo>
                  <a:pt x="159" y="26"/>
                  <a:pt x="159" y="26"/>
                  <a:pt x="159" y="26"/>
                </a:cubicBezTo>
                <a:cubicBezTo>
                  <a:pt x="159" y="25"/>
                  <a:pt x="159" y="25"/>
                  <a:pt x="159" y="25"/>
                </a:cubicBezTo>
                <a:cubicBezTo>
                  <a:pt x="159" y="25"/>
                  <a:pt x="159" y="25"/>
                  <a:pt x="159" y="25"/>
                </a:cubicBezTo>
                <a:cubicBezTo>
                  <a:pt x="158" y="26"/>
                  <a:pt x="158" y="26"/>
                  <a:pt x="158" y="26"/>
                </a:cubicBezTo>
                <a:cubicBezTo>
                  <a:pt x="157" y="26"/>
                  <a:pt x="157" y="26"/>
                  <a:pt x="157" y="26"/>
                </a:cubicBezTo>
                <a:cubicBezTo>
                  <a:pt x="158" y="26"/>
                  <a:pt x="158" y="26"/>
                  <a:pt x="158" y="26"/>
                </a:cubicBezTo>
                <a:cubicBezTo>
                  <a:pt x="157" y="27"/>
                  <a:pt x="157" y="27"/>
                  <a:pt x="157" y="27"/>
                </a:cubicBezTo>
                <a:cubicBezTo>
                  <a:pt x="158" y="28"/>
                  <a:pt x="158" y="28"/>
                  <a:pt x="158" y="28"/>
                </a:cubicBezTo>
                <a:close/>
                <a:moveTo>
                  <a:pt x="159" y="9"/>
                </a:moveTo>
                <a:cubicBezTo>
                  <a:pt x="160" y="9"/>
                  <a:pt x="160" y="9"/>
                  <a:pt x="160" y="9"/>
                </a:cubicBezTo>
                <a:cubicBezTo>
                  <a:pt x="160" y="8"/>
                  <a:pt x="160" y="8"/>
                  <a:pt x="160" y="8"/>
                </a:cubicBezTo>
                <a:cubicBezTo>
                  <a:pt x="161" y="7"/>
                  <a:pt x="161" y="7"/>
                  <a:pt x="161" y="7"/>
                </a:cubicBezTo>
                <a:cubicBezTo>
                  <a:pt x="160" y="7"/>
                  <a:pt x="160" y="7"/>
                  <a:pt x="160" y="7"/>
                </a:cubicBezTo>
                <a:cubicBezTo>
                  <a:pt x="159" y="8"/>
                  <a:pt x="159" y="8"/>
                  <a:pt x="159" y="8"/>
                </a:cubicBezTo>
                <a:cubicBezTo>
                  <a:pt x="159" y="9"/>
                  <a:pt x="159" y="9"/>
                  <a:pt x="159" y="9"/>
                </a:cubicBezTo>
                <a:close/>
                <a:moveTo>
                  <a:pt x="157" y="10"/>
                </a:moveTo>
                <a:cubicBezTo>
                  <a:pt x="158" y="10"/>
                  <a:pt x="158" y="10"/>
                  <a:pt x="158" y="10"/>
                </a:cubicBezTo>
                <a:cubicBezTo>
                  <a:pt x="158" y="9"/>
                  <a:pt x="158" y="9"/>
                  <a:pt x="158" y="9"/>
                </a:cubicBezTo>
                <a:cubicBezTo>
                  <a:pt x="157" y="10"/>
                  <a:pt x="157" y="10"/>
                  <a:pt x="157" y="10"/>
                </a:cubicBezTo>
                <a:close/>
                <a:moveTo>
                  <a:pt x="156" y="10"/>
                </a:moveTo>
                <a:cubicBezTo>
                  <a:pt x="157" y="11"/>
                  <a:pt x="157" y="11"/>
                  <a:pt x="157" y="11"/>
                </a:cubicBezTo>
                <a:cubicBezTo>
                  <a:pt x="157" y="10"/>
                  <a:pt x="157" y="10"/>
                  <a:pt x="157" y="10"/>
                </a:cubicBezTo>
                <a:cubicBezTo>
                  <a:pt x="156" y="10"/>
                  <a:pt x="156" y="10"/>
                  <a:pt x="156" y="10"/>
                </a:cubicBezTo>
                <a:close/>
                <a:moveTo>
                  <a:pt x="154" y="11"/>
                </a:moveTo>
                <a:cubicBezTo>
                  <a:pt x="155" y="11"/>
                  <a:pt x="155" y="11"/>
                  <a:pt x="155" y="11"/>
                </a:cubicBezTo>
                <a:cubicBezTo>
                  <a:pt x="155" y="11"/>
                  <a:pt x="155" y="11"/>
                  <a:pt x="155" y="11"/>
                </a:cubicBezTo>
                <a:cubicBezTo>
                  <a:pt x="154" y="11"/>
                  <a:pt x="154" y="11"/>
                  <a:pt x="154" y="11"/>
                </a:cubicBezTo>
                <a:close/>
                <a:moveTo>
                  <a:pt x="153" y="13"/>
                </a:moveTo>
                <a:cubicBezTo>
                  <a:pt x="152" y="12"/>
                  <a:pt x="152" y="12"/>
                  <a:pt x="152" y="12"/>
                </a:cubicBezTo>
                <a:cubicBezTo>
                  <a:pt x="154" y="12"/>
                  <a:pt x="154" y="12"/>
                  <a:pt x="154" y="12"/>
                </a:cubicBezTo>
                <a:cubicBezTo>
                  <a:pt x="155" y="12"/>
                  <a:pt x="155" y="12"/>
                  <a:pt x="155" y="12"/>
                </a:cubicBezTo>
                <a:cubicBezTo>
                  <a:pt x="154" y="12"/>
                  <a:pt x="154" y="12"/>
                  <a:pt x="154" y="12"/>
                </a:cubicBezTo>
                <a:cubicBezTo>
                  <a:pt x="153" y="13"/>
                  <a:pt x="153" y="13"/>
                  <a:pt x="153" y="13"/>
                </a:cubicBezTo>
                <a:cubicBezTo>
                  <a:pt x="153" y="13"/>
                  <a:pt x="153" y="13"/>
                  <a:pt x="153" y="13"/>
                </a:cubicBezTo>
                <a:close/>
                <a:moveTo>
                  <a:pt x="151" y="14"/>
                </a:moveTo>
                <a:cubicBezTo>
                  <a:pt x="151" y="14"/>
                  <a:pt x="151" y="14"/>
                  <a:pt x="151" y="14"/>
                </a:cubicBezTo>
                <a:cubicBezTo>
                  <a:pt x="152" y="14"/>
                  <a:pt x="152" y="14"/>
                  <a:pt x="152" y="14"/>
                </a:cubicBezTo>
                <a:cubicBezTo>
                  <a:pt x="152" y="13"/>
                  <a:pt x="152" y="13"/>
                  <a:pt x="152" y="13"/>
                </a:cubicBezTo>
                <a:cubicBezTo>
                  <a:pt x="151" y="14"/>
                  <a:pt x="151" y="14"/>
                  <a:pt x="151" y="14"/>
                </a:cubicBezTo>
                <a:close/>
                <a:moveTo>
                  <a:pt x="135" y="9"/>
                </a:moveTo>
                <a:cubicBezTo>
                  <a:pt x="134" y="7"/>
                  <a:pt x="134" y="7"/>
                  <a:pt x="134" y="7"/>
                </a:cubicBezTo>
                <a:cubicBezTo>
                  <a:pt x="134" y="6"/>
                  <a:pt x="134" y="6"/>
                  <a:pt x="134" y="6"/>
                </a:cubicBezTo>
                <a:cubicBezTo>
                  <a:pt x="135" y="6"/>
                  <a:pt x="135" y="6"/>
                  <a:pt x="135" y="6"/>
                </a:cubicBezTo>
                <a:cubicBezTo>
                  <a:pt x="135" y="7"/>
                  <a:pt x="135" y="7"/>
                  <a:pt x="135" y="7"/>
                </a:cubicBezTo>
                <a:cubicBezTo>
                  <a:pt x="135" y="9"/>
                  <a:pt x="135" y="9"/>
                  <a:pt x="135" y="9"/>
                </a:cubicBezTo>
                <a:close/>
                <a:moveTo>
                  <a:pt x="121" y="8"/>
                </a:moveTo>
                <a:cubicBezTo>
                  <a:pt x="121" y="9"/>
                  <a:pt x="121" y="9"/>
                  <a:pt x="121" y="9"/>
                </a:cubicBezTo>
                <a:cubicBezTo>
                  <a:pt x="122" y="11"/>
                  <a:pt x="122" y="11"/>
                  <a:pt x="122" y="11"/>
                </a:cubicBezTo>
                <a:cubicBezTo>
                  <a:pt x="123" y="12"/>
                  <a:pt x="123" y="12"/>
                  <a:pt x="123" y="12"/>
                </a:cubicBezTo>
                <a:cubicBezTo>
                  <a:pt x="124" y="13"/>
                  <a:pt x="124" y="13"/>
                  <a:pt x="124" y="13"/>
                </a:cubicBezTo>
                <a:cubicBezTo>
                  <a:pt x="127" y="10"/>
                  <a:pt x="127" y="10"/>
                  <a:pt x="127" y="10"/>
                </a:cubicBezTo>
                <a:cubicBezTo>
                  <a:pt x="127" y="10"/>
                  <a:pt x="127" y="10"/>
                  <a:pt x="127" y="10"/>
                </a:cubicBezTo>
                <a:cubicBezTo>
                  <a:pt x="127" y="10"/>
                  <a:pt x="127" y="10"/>
                  <a:pt x="127" y="10"/>
                </a:cubicBezTo>
                <a:cubicBezTo>
                  <a:pt x="128" y="9"/>
                  <a:pt x="128" y="9"/>
                  <a:pt x="128" y="9"/>
                </a:cubicBezTo>
                <a:cubicBezTo>
                  <a:pt x="127" y="9"/>
                  <a:pt x="127" y="9"/>
                  <a:pt x="127" y="9"/>
                </a:cubicBezTo>
                <a:cubicBezTo>
                  <a:pt x="127" y="8"/>
                  <a:pt x="127" y="8"/>
                  <a:pt x="127" y="8"/>
                </a:cubicBezTo>
                <a:cubicBezTo>
                  <a:pt x="126" y="8"/>
                  <a:pt x="126" y="8"/>
                  <a:pt x="126" y="8"/>
                </a:cubicBezTo>
                <a:cubicBezTo>
                  <a:pt x="126" y="8"/>
                  <a:pt x="126" y="8"/>
                  <a:pt x="126" y="8"/>
                </a:cubicBezTo>
                <a:cubicBezTo>
                  <a:pt x="124" y="8"/>
                  <a:pt x="124" y="8"/>
                  <a:pt x="124" y="8"/>
                </a:cubicBezTo>
                <a:cubicBezTo>
                  <a:pt x="123" y="9"/>
                  <a:pt x="123" y="9"/>
                  <a:pt x="123" y="9"/>
                </a:cubicBezTo>
                <a:cubicBezTo>
                  <a:pt x="123" y="9"/>
                  <a:pt x="123" y="9"/>
                  <a:pt x="123" y="9"/>
                </a:cubicBezTo>
                <a:cubicBezTo>
                  <a:pt x="122" y="8"/>
                  <a:pt x="122" y="8"/>
                  <a:pt x="122" y="8"/>
                </a:cubicBezTo>
                <a:cubicBezTo>
                  <a:pt x="122" y="8"/>
                  <a:pt x="122" y="8"/>
                  <a:pt x="122" y="8"/>
                </a:cubicBezTo>
                <a:cubicBezTo>
                  <a:pt x="121" y="8"/>
                  <a:pt x="121" y="8"/>
                  <a:pt x="121" y="8"/>
                </a:cubicBezTo>
                <a:cubicBezTo>
                  <a:pt x="120" y="8"/>
                  <a:pt x="120" y="8"/>
                  <a:pt x="120" y="8"/>
                </a:cubicBezTo>
                <a:cubicBezTo>
                  <a:pt x="121" y="8"/>
                  <a:pt x="121" y="8"/>
                  <a:pt x="121" y="8"/>
                </a:cubicBezTo>
                <a:close/>
                <a:moveTo>
                  <a:pt x="120" y="8"/>
                </a:moveTo>
                <a:cubicBezTo>
                  <a:pt x="121" y="11"/>
                  <a:pt x="121" y="11"/>
                  <a:pt x="121" y="11"/>
                </a:cubicBezTo>
                <a:cubicBezTo>
                  <a:pt x="122" y="11"/>
                  <a:pt x="122" y="11"/>
                  <a:pt x="122" y="11"/>
                </a:cubicBezTo>
                <a:cubicBezTo>
                  <a:pt x="122" y="11"/>
                  <a:pt x="122" y="11"/>
                  <a:pt x="122" y="11"/>
                </a:cubicBezTo>
                <a:cubicBezTo>
                  <a:pt x="121" y="11"/>
                  <a:pt x="121" y="11"/>
                  <a:pt x="121" y="11"/>
                </a:cubicBezTo>
                <a:cubicBezTo>
                  <a:pt x="120" y="11"/>
                  <a:pt x="120" y="11"/>
                  <a:pt x="120" y="11"/>
                </a:cubicBezTo>
                <a:cubicBezTo>
                  <a:pt x="119" y="11"/>
                  <a:pt x="119" y="11"/>
                  <a:pt x="119" y="11"/>
                </a:cubicBezTo>
                <a:cubicBezTo>
                  <a:pt x="119" y="10"/>
                  <a:pt x="119" y="10"/>
                  <a:pt x="119" y="10"/>
                </a:cubicBezTo>
                <a:cubicBezTo>
                  <a:pt x="119" y="10"/>
                  <a:pt x="119" y="10"/>
                  <a:pt x="119" y="10"/>
                </a:cubicBezTo>
                <a:cubicBezTo>
                  <a:pt x="120" y="10"/>
                  <a:pt x="120" y="10"/>
                  <a:pt x="120" y="10"/>
                </a:cubicBezTo>
                <a:cubicBezTo>
                  <a:pt x="120" y="10"/>
                  <a:pt x="120" y="10"/>
                  <a:pt x="120" y="10"/>
                </a:cubicBezTo>
                <a:cubicBezTo>
                  <a:pt x="119" y="10"/>
                  <a:pt x="119" y="10"/>
                  <a:pt x="119" y="10"/>
                </a:cubicBezTo>
                <a:cubicBezTo>
                  <a:pt x="120" y="9"/>
                  <a:pt x="120" y="9"/>
                  <a:pt x="120" y="9"/>
                </a:cubicBezTo>
                <a:cubicBezTo>
                  <a:pt x="119" y="9"/>
                  <a:pt x="119" y="9"/>
                  <a:pt x="119" y="9"/>
                </a:cubicBezTo>
                <a:cubicBezTo>
                  <a:pt x="120" y="8"/>
                  <a:pt x="120" y="8"/>
                  <a:pt x="120" y="8"/>
                </a:cubicBezTo>
                <a:close/>
                <a:moveTo>
                  <a:pt x="80" y="35"/>
                </a:moveTo>
                <a:cubicBezTo>
                  <a:pt x="81" y="36"/>
                  <a:pt x="81" y="36"/>
                  <a:pt x="81" y="36"/>
                </a:cubicBezTo>
                <a:cubicBezTo>
                  <a:pt x="82" y="36"/>
                  <a:pt x="82" y="36"/>
                  <a:pt x="82" y="36"/>
                </a:cubicBezTo>
                <a:cubicBezTo>
                  <a:pt x="81" y="35"/>
                  <a:pt x="81" y="35"/>
                  <a:pt x="81" y="35"/>
                </a:cubicBezTo>
                <a:cubicBezTo>
                  <a:pt x="81" y="35"/>
                  <a:pt x="80" y="35"/>
                  <a:pt x="80" y="35"/>
                </a:cubicBezTo>
                <a:close/>
                <a:moveTo>
                  <a:pt x="80" y="40"/>
                </a:moveTo>
                <a:cubicBezTo>
                  <a:pt x="80" y="38"/>
                  <a:pt x="80" y="38"/>
                  <a:pt x="80" y="38"/>
                </a:cubicBezTo>
                <a:cubicBezTo>
                  <a:pt x="80" y="37"/>
                  <a:pt x="80" y="37"/>
                  <a:pt x="80" y="37"/>
                </a:cubicBezTo>
                <a:cubicBezTo>
                  <a:pt x="80" y="39"/>
                  <a:pt x="80" y="39"/>
                  <a:pt x="80" y="39"/>
                </a:cubicBezTo>
                <a:cubicBezTo>
                  <a:pt x="80" y="40"/>
                  <a:pt x="80" y="40"/>
                  <a:pt x="80" y="40"/>
                </a:cubicBezTo>
                <a:close/>
                <a:moveTo>
                  <a:pt x="86" y="30"/>
                </a:moveTo>
                <a:cubicBezTo>
                  <a:pt x="85" y="30"/>
                  <a:pt x="85" y="30"/>
                  <a:pt x="85" y="30"/>
                </a:cubicBezTo>
                <a:cubicBezTo>
                  <a:pt x="85" y="30"/>
                  <a:pt x="85" y="30"/>
                  <a:pt x="85" y="30"/>
                </a:cubicBezTo>
                <a:cubicBezTo>
                  <a:pt x="86" y="30"/>
                  <a:pt x="86" y="30"/>
                  <a:pt x="86" y="30"/>
                </a:cubicBezTo>
                <a:cubicBezTo>
                  <a:pt x="86" y="30"/>
                  <a:pt x="86" y="30"/>
                  <a:pt x="86" y="30"/>
                </a:cubicBezTo>
                <a:close/>
                <a:moveTo>
                  <a:pt x="19" y="74"/>
                </a:moveTo>
                <a:cubicBezTo>
                  <a:pt x="19" y="73"/>
                  <a:pt x="19" y="73"/>
                  <a:pt x="19" y="73"/>
                </a:cubicBezTo>
                <a:cubicBezTo>
                  <a:pt x="20" y="71"/>
                  <a:pt x="20" y="71"/>
                  <a:pt x="20" y="71"/>
                </a:cubicBezTo>
                <a:cubicBezTo>
                  <a:pt x="20" y="73"/>
                  <a:pt x="20" y="73"/>
                  <a:pt x="20" y="73"/>
                </a:cubicBezTo>
                <a:cubicBezTo>
                  <a:pt x="19" y="74"/>
                  <a:pt x="19" y="74"/>
                  <a:pt x="19" y="74"/>
                </a:cubicBezTo>
                <a:close/>
                <a:moveTo>
                  <a:pt x="0" y="106"/>
                </a:moveTo>
                <a:cubicBezTo>
                  <a:pt x="1" y="103"/>
                  <a:pt x="1" y="103"/>
                  <a:pt x="1" y="103"/>
                </a:cubicBezTo>
                <a:cubicBezTo>
                  <a:pt x="1" y="105"/>
                  <a:pt x="1" y="105"/>
                  <a:pt x="1" y="105"/>
                </a:cubicBezTo>
                <a:cubicBezTo>
                  <a:pt x="1" y="105"/>
                  <a:pt x="0" y="106"/>
                  <a:pt x="0" y="106"/>
                </a:cubicBezTo>
                <a:close/>
                <a:moveTo>
                  <a:pt x="0" y="111"/>
                </a:moveTo>
                <a:cubicBezTo>
                  <a:pt x="0" y="108"/>
                  <a:pt x="0" y="108"/>
                  <a:pt x="0" y="108"/>
                </a:cubicBezTo>
                <a:cubicBezTo>
                  <a:pt x="0" y="107"/>
                  <a:pt x="0" y="107"/>
                  <a:pt x="0" y="107"/>
                </a:cubicBezTo>
                <a:cubicBezTo>
                  <a:pt x="1" y="109"/>
                  <a:pt x="1" y="109"/>
                  <a:pt x="1" y="109"/>
                </a:cubicBezTo>
                <a:cubicBezTo>
                  <a:pt x="0" y="111"/>
                  <a:pt x="0" y="111"/>
                  <a:pt x="0" y="111"/>
                </a:cubicBezTo>
                <a:close/>
                <a:moveTo>
                  <a:pt x="139" y="192"/>
                </a:moveTo>
                <a:cubicBezTo>
                  <a:pt x="139" y="193"/>
                  <a:pt x="139" y="193"/>
                  <a:pt x="139" y="193"/>
                </a:cubicBezTo>
                <a:cubicBezTo>
                  <a:pt x="140" y="194"/>
                  <a:pt x="140" y="194"/>
                  <a:pt x="140" y="194"/>
                </a:cubicBezTo>
                <a:cubicBezTo>
                  <a:pt x="140" y="194"/>
                  <a:pt x="140" y="194"/>
                  <a:pt x="140" y="194"/>
                </a:cubicBezTo>
                <a:cubicBezTo>
                  <a:pt x="140" y="195"/>
                  <a:pt x="140" y="195"/>
                  <a:pt x="140" y="195"/>
                </a:cubicBezTo>
                <a:cubicBezTo>
                  <a:pt x="141" y="195"/>
                  <a:pt x="141" y="195"/>
                  <a:pt x="141" y="195"/>
                </a:cubicBezTo>
                <a:cubicBezTo>
                  <a:pt x="142" y="194"/>
                  <a:pt x="142" y="194"/>
                  <a:pt x="142" y="194"/>
                </a:cubicBezTo>
                <a:cubicBezTo>
                  <a:pt x="143" y="195"/>
                  <a:pt x="143" y="195"/>
                  <a:pt x="143" y="195"/>
                </a:cubicBezTo>
                <a:cubicBezTo>
                  <a:pt x="142" y="195"/>
                  <a:pt x="142" y="195"/>
                  <a:pt x="142" y="195"/>
                </a:cubicBezTo>
                <a:cubicBezTo>
                  <a:pt x="139" y="195"/>
                  <a:pt x="139" y="195"/>
                  <a:pt x="139" y="195"/>
                </a:cubicBezTo>
                <a:cubicBezTo>
                  <a:pt x="139" y="196"/>
                  <a:pt x="139" y="196"/>
                  <a:pt x="139" y="196"/>
                </a:cubicBezTo>
                <a:cubicBezTo>
                  <a:pt x="138" y="196"/>
                  <a:pt x="138" y="196"/>
                  <a:pt x="138" y="196"/>
                </a:cubicBezTo>
                <a:cubicBezTo>
                  <a:pt x="138" y="196"/>
                  <a:pt x="138" y="196"/>
                  <a:pt x="138" y="196"/>
                </a:cubicBezTo>
                <a:cubicBezTo>
                  <a:pt x="138" y="196"/>
                  <a:pt x="138" y="196"/>
                  <a:pt x="138" y="196"/>
                </a:cubicBezTo>
                <a:cubicBezTo>
                  <a:pt x="137" y="196"/>
                  <a:pt x="137" y="196"/>
                  <a:pt x="137" y="196"/>
                </a:cubicBezTo>
                <a:cubicBezTo>
                  <a:pt x="136" y="196"/>
                  <a:pt x="136" y="196"/>
                  <a:pt x="136" y="196"/>
                </a:cubicBezTo>
                <a:cubicBezTo>
                  <a:pt x="135" y="196"/>
                  <a:pt x="135" y="196"/>
                  <a:pt x="135" y="196"/>
                </a:cubicBezTo>
                <a:cubicBezTo>
                  <a:pt x="135" y="196"/>
                  <a:pt x="135" y="196"/>
                  <a:pt x="135" y="196"/>
                </a:cubicBezTo>
                <a:cubicBezTo>
                  <a:pt x="133" y="196"/>
                  <a:pt x="133" y="196"/>
                  <a:pt x="133" y="196"/>
                </a:cubicBezTo>
                <a:cubicBezTo>
                  <a:pt x="132" y="195"/>
                  <a:pt x="132" y="195"/>
                  <a:pt x="132" y="195"/>
                </a:cubicBezTo>
                <a:cubicBezTo>
                  <a:pt x="133" y="194"/>
                  <a:pt x="133" y="194"/>
                  <a:pt x="133" y="194"/>
                </a:cubicBezTo>
                <a:cubicBezTo>
                  <a:pt x="134" y="194"/>
                  <a:pt x="134" y="194"/>
                  <a:pt x="134" y="194"/>
                </a:cubicBezTo>
                <a:cubicBezTo>
                  <a:pt x="137" y="193"/>
                  <a:pt x="137" y="193"/>
                  <a:pt x="137" y="193"/>
                </a:cubicBezTo>
                <a:cubicBezTo>
                  <a:pt x="139" y="193"/>
                  <a:pt x="139" y="193"/>
                  <a:pt x="139" y="193"/>
                </a:cubicBezTo>
                <a:cubicBezTo>
                  <a:pt x="139" y="192"/>
                  <a:pt x="139" y="192"/>
                  <a:pt x="139" y="192"/>
                </a:cubicBezTo>
                <a:close/>
                <a:moveTo>
                  <a:pt x="180" y="222"/>
                </a:moveTo>
                <a:cubicBezTo>
                  <a:pt x="181" y="222"/>
                  <a:pt x="181" y="222"/>
                  <a:pt x="181" y="222"/>
                </a:cubicBezTo>
                <a:cubicBezTo>
                  <a:pt x="181" y="222"/>
                  <a:pt x="181" y="222"/>
                  <a:pt x="181" y="222"/>
                </a:cubicBezTo>
                <a:cubicBezTo>
                  <a:pt x="181" y="223"/>
                  <a:pt x="181" y="223"/>
                  <a:pt x="181" y="223"/>
                </a:cubicBezTo>
                <a:cubicBezTo>
                  <a:pt x="180" y="222"/>
                  <a:pt x="180" y="222"/>
                  <a:pt x="180" y="222"/>
                </a:cubicBezTo>
                <a:close/>
                <a:moveTo>
                  <a:pt x="187" y="226"/>
                </a:moveTo>
                <a:cubicBezTo>
                  <a:pt x="187" y="227"/>
                  <a:pt x="187" y="227"/>
                  <a:pt x="187" y="227"/>
                </a:cubicBezTo>
                <a:cubicBezTo>
                  <a:pt x="188" y="226"/>
                  <a:pt x="188" y="226"/>
                  <a:pt x="188" y="226"/>
                </a:cubicBezTo>
                <a:cubicBezTo>
                  <a:pt x="187" y="226"/>
                  <a:pt x="187" y="226"/>
                  <a:pt x="187" y="226"/>
                </a:cubicBezTo>
                <a:close/>
                <a:moveTo>
                  <a:pt x="172" y="243"/>
                </a:moveTo>
                <a:cubicBezTo>
                  <a:pt x="172" y="244"/>
                  <a:pt x="172" y="244"/>
                  <a:pt x="172" y="244"/>
                </a:cubicBezTo>
                <a:cubicBezTo>
                  <a:pt x="173" y="244"/>
                  <a:pt x="173" y="244"/>
                  <a:pt x="173" y="244"/>
                </a:cubicBezTo>
                <a:cubicBezTo>
                  <a:pt x="173" y="244"/>
                  <a:pt x="173" y="244"/>
                  <a:pt x="173" y="244"/>
                </a:cubicBezTo>
                <a:cubicBezTo>
                  <a:pt x="173" y="243"/>
                  <a:pt x="173" y="243"/>
                  <a:pt x="173" y="243"/>
                </a:cubicBezTo>
                <a:cubicBezTo>
                  <a:pt x="172" y="243"/>
                  <a:pt x="172" y="243"/>
                  <a:pt x="172" y="243"/>
                </a:cubicBezTo>
                <a:close/>
                <a:moveTo>
                  <a:pt x="172" y="241"/>
                </a:moveTo>
                <a:cubicBezTo>
                  <a:pt x="172" y="242"/>
                  <a:pt x="172" y="242"/>
                  <a:pt x="172" y="242"/>
                </a:cubicBezTo>
                <a:cubicBezTo>
                  <a:pt x="173" y="242"/>
                  <a:pt x="173" y="242"/>
                  <a:pt x="173" y="242"/>
                </a:cubicBezTo>
                <a:cubicBezTo>
                  <a:pt x="173" y="241"/>
                  <a:pt x="173" y="241"/>
                  <a:pt x="173" y="241"/>
                </a:cubicBezTo>
                <a:cubicBezTo>
                  <a:pt x="172" y="241"/>
                  <a:pt x="172" y="241"/>
                  <a:pt x="172" y="241"/>
                </a:cubicBezTo>
                <a:close/>
                <a:moveTo>
                  <a:pt x="171" y="242"/>
                </a:moveTo>
                <a:cubicBezTo>
                  <a:pt x="171" y="242"/>
                  <a:pt x="171" y="242"/>
                  <a:pt x="171" y="242"/>
                </a:cubicBezTo>
                <a:cubicBezTo>
                  <a:pt x="171" y="241"/>
                  <a:pt x="171" y="241"/>
                  <a:pt x="171" y="241"/>
                </a:cubicBezTo>
                <a:cubicBezTo>
                  <a:pt x="172" y="240"/>
                  <a:pt x="172" y="240"/>
                  <a:pt x="172" y="240"/>
                </a:cubicBezTo>
                <a:cubicBezTo>
                  <a:pt x="172" y="241"/>
                  <a:pt x="172" y="241"/>
                  <a:pt x="172" y="241"/>
                </a:cubicBezTo>
                <a:cubicBezTo>
                  <a:pt x="171" y="242"/>
                  <a:pt x="171" y="242"/>
                  <a:pt x="171" y="242"/>
                </a:cubicBezTo>
                <a:close/>
                <a:moveTo>
                  <a:pt x="167" y="238"/>
                </a:moveTo>
                <a:cubicBezTo>
                  <a:pt x="167" y="237"/>
                  <a:pt x="167" y="237"/>
                  <a:pt x="167" y="237"/>
                </a:cubicBezTo>
                <a:cubicBezTo>
                  <a:pt x="167" y="236"/>
                  <a:pt x="167" y="236"/>
                  <a:pt x="167" y="236"/>
                </a:cubicBezTo>
                <a:cubicBezTo>
                  <a:pt x="168" y="235"/>
                  <a:pt x="168" y="235"/>
                  <a:pt x="168" y="235"/>
                </a:cubicBezTo>
                <a:cubicBezTo>
                  <a:pt x="168" y="234"/>
                  <a:pt x="168" y="234"/>
                  <a:pt x="168" y="234"/>
                </a:cubicBezTo>
                <a:cubicBezTo>
                  <a:pt x="169" y="233"/>
                  <a:pt x="169" y="233"/>
                  <a:pt x="169" y="233"/>
                </a:cubicBezTo>
                <a:cubicBezTo>
                  <a:pt x="169" y="232"/>
                  <a:pt x="169" y="232"/>
                  <a:pt x="169" y="232"/>
                </a:cubicBezTo>
                <a:cubicBezTo>
                  <a:pt x="170" y="233"/>
                  <a:pt x="170" y="233"/>
                  <a:pt x="170" y="233"/>
                </a:cubicBezTo>
                <a:cubicBezTo>
                  <a:pt x="170" y="235"/>
                  <a:pt x="170" y="235"/>
                  <a:pt x="170" y="235"/>
                </a:cubicBezTo>
                <a:cubicBezTo>
                  <a:pt x="170" y="235"/>
                  <a:pt x="170" y="235"/>
                  <a:pt x="170" y="235"/>
                </a:cubicBezTo>
                <a:cubicBezTo>
                  <a:pt x="169" y="237"/>
                  <a:pt x="169" y="237"/>
                  <a:pt x="169" y="237"/>
                </a:cubicBezTo>
                <a:cubicBezTo>
                  <a:pt x="169" y="237"/>
                  <a:pt x="169" y="237"/>
                  <a:pt x="169" y="237"/>
                </a:cubicBezTo>
                <a:cubicBezTo>
                  <a:pt x="168" y="238"/>
                  <a:pt x="168" y="238"/>
                  <a:pt x="168" y="238"/>
                </a:cubicBezTo>
                <a:cubicBezTo>
                  <a:pt x="167" y="238"/>
                  <a:pt x="167" y="238"/>
                  <a:pt x="167" y="238"/>
                </a:cubicBezTo>
                <a:close/>
                <a:moveTo>
                  <a:pt x="192" y="241"/>
                </a:moveTo>
                <a:cubicBezTo>
                  <a:pt x="195" y="240"/>
                  <a:pt x="195" y="240"/>
                  <a:pt x="195" y="240"/>
                </a:cubicBezTo>
                <a:cubicBezTo>
                  <a:pt x="195" y="239"/>
                  <a:pt x="195" y="239"/>
                  <a:pt x="195" y="239"/>
                </a:cubicBezTo>
                <a:cubicBezTo>
                  <a:pt x="192" y="237"/>
                  <a:pt x="192" y="237"/>
                  <a:pt x="192" y="237"/>
                </a:cubicBezTo>
                <a:cubicBezTo>
                  <a:pt x="192" y="237"/>
                  <a:pt x="192" y="237"/>
                  <a:pt x="192" y="237"/>
                </a:cubicBezTo>
                <a:cubicBezTo>
                  <a:pt x="192" y="238"/>
                  <a:pt x="192" y="238"/>
                  <a:pt x="192" y="238"/>
                </a:cubicBezTo>
                <a:cubicBezTo>
                  <a:pt x="191" y="239"/>
                  <a:pt x="191" y="239"/>
                  <a:pt x="191" y="239"/>
                </a:cubicBezTo>
                <a:cubicBezTo>
                  <a:pt x="192" y="240"/>
                  <a:pt x="192" y="240"/>
                  <a:pt x="192" y="240"/>
                </a:cubicBezTo>
                <a:cubicBezTo>
                  <a:pt x="192" y="241"/>
                  <a:pt x="192" y="241"/>
                  <a:pt x="192" y="241"/>
                </a:cubicBezTo>
                <a:close/>
                <a:moveTo>
                  <a:pt x="191" y="242"/>
                </a:moveTo>
                <a:cubicBezTo>
                  <a:pt x="191" y="243"/>
                  <a:pt x="191" y="243"/>
                  <a:pt x="191" y="243"/>
                </a:cubicBezTo>
                <a:cubicBezTo>
                  <a:pt x="193" y="243"/>
                  <a:pt x="193" y="243"/>
                  <a:pt x="193" y="243"/>
                </a:cubicBezTo>
                <a:cubicBezTo>
                  <a:pt x="194" y="244"/>
                  <a:pt x="194" y="244"/>
                  <a:pt x="194" y="244"/>
                </a:cubicBezTo>
                <a:cubicBezTo>
                  <a:pt x="195" y="243"/>
                  <a:pt x="195" y="243"/>
                  <a:pt x="195" y="243"/>
                </a:cubicBezTo>
                <a:cubicBezTo>
                  <a:pt x="193" y="242"/>
                  <a:pt x="193" y="242"/>
                  <a:pt x="193" y="242"/>
                </a:cubicBezTo>
                <a:cubicBezTo>
                  <a:pt x="192" y="242"/>
                  <a:pt x="192" y="242"/>
                  <a:pt x="192" y="242"/>
                </a:cubicBezTo>
                <a:cubicBezTo>
                  <a:pt x="191" y="242"/>
                  <a:pt x="191" y="242"/>
                  <a:pt x="191" y="242"/>
                </a:cubicBezTo>
                <a:close/>
                <a:moveTo>
                  <a:pt x="192" y="245"/>
                </a:moveTo>
                <a:cubicBezTo>
                  <a:pt x="192" y="245"/>
                  <a:pt x="192" y="245"/>
                  <a:pt x="192" y="245"/>
                </a:cubicBezTo>
                <a:cubicBezTo>
                  <a:pt x="193" y="244"/>
                  <a:pt x="193" y="244"/>
                  <a:pt x="193" y="244"/>
                </a:cubicBezTo>
                <a:cubicBezTo>
                  <a:pt x="192" y="245"/>
                  <a:pt x="192" y="245"/>
                  <a:pt x="192" y="245"/>
                </a:cubicBezTo>
                <a:close/>
                <a:moveTo>
                  <a:pt x="186" y="266"/>
                </a:moveTo>
                <a:cubicBezTo>
                  <a:pt x="186" y="265"/>
                  <a:pt x="186" y="265"/>
                  <a:pt x="186" y="265"/>
                </a:cubicBezTo>
                <a:cubicBezTo>
                  <a:pt x="186" y="265"/>
                  <a:pt x="186" y="265"/>
                  <a:pt x="186" y="265"/>
                </a:cubicBezTo>
                <a:cubicBezTo>
                  <a:pt x="186" y="266"/>
                  <a:pt x="186" y="266"/>
                  <a:pt x="186" y="266"/>
                </a:cubicBezTo>
                <a:close/>
                <a:moveTo>
                  <a:pt x="178" y="273"/>
                </a:moveTo>
                <a:cubicBezTo>
                  <a:pt x="177" y="272"/>
                  <a:pt x="177" y="272"/>
                  <a:pt x="177" y="272"/>
                </a:cubicBezTo>
                <a:cubicBezTo>
                  <a:pt x="178" y="271"/>
                  <a:pt x="178" y="271"/>
                  <a:pt x="178" y="271"/>
                </a:cubicBezTo>
                <a:cubicBezTo>
                  <a:pt x="178" y="270"/>
                  <a:pt x="178" y="270"/>
                  <a:pt x="178" y="270"/>
                </a:cubicBezTo>
                <a:cubicBezTo>
                  <a:pt x="179" y="270"/>
                  <a:pt x="179" y="270"/>
                  <a:pt x="179" y="270"/>
                </a:cubicBezTo>
                <a:cubicBezTo>
                  <a:pt x="179" y="270"/>
                  <a:pt x="179" y="270"/>
                  <a:pt x="179" y="270"/>
                </a:cubicBezTo>
                <a:cubicBezTo>
                  <a:pt x="179" y="271"/>
                  <a:pt x="179" y="271"/>
                  <a:pt x="179" y="271"/>
                </a:cubicBezTo>
                <a:cubicBezTo>
                  <a:pt x="178" y="273"/>
                  <a:pt x="178" y="273"/>
                  <a:pt x="178" y="273"/>
                </a:cubicBezTo>
                <a:close/>
                <a:moveTo>
                  <a:pt x="170" y="272"/>
                </a:moveTo>
                <a:cubicBezTo>
                  <a:pt x="170" y="271"/>
                  <a:pt x="170" y="271"/>
                  <a:pt x="170" y="271"/>
                </a:cubicBezTo>
                <a:cubicBezTo>
                  <a:pt x="171" y="270"/>
                  <a:pt x="171" y="270"/>
                  <a:pt x="171" y="270"/>
                </a:cubicBezTo>
                <a:cubicBezTo>
                  <a:pt x="170" y="270"/>
                  <a:pt x="170" y="270"/>
                  <a:pt x="170" y="270"/>
                </a:cubicBezTo>
                <a:cubicBezTo>
                  <a:pt x="169" y="268"/>
                  <a:pt x="169" y="268"/>
                  <a:pt x="169" y="268"/>
                </a:cubicBezTo>
                <a:cubicBezTo>
                  <a:pt x="170" y="268"/>
                  <a:pt x="170" y="268"/>
                  <a:pt x="170" y="268"/>
                </a:cubicBezTo>
                <a:cubicBezTo>
                  <a:pt x="169" y="267"/>
                  <a:pt x="169" y="267"/>
                  <a:pt x="169" y="267"/>
                </a:cubicBezTo>
                <a:cubicBezTo>
                  <a:pt x="169" y="264"/>
                  <a:pt x="169" y="264"/>
                  <a:pt x="169" y="264"/>
                </a:cubicBezTo>
                <a:cubicBezTo>
                  <a:pt x="169" y="263"/>
                  <a:pt x="169" y="263"/>
                  <a:pt x="169" y="263"/>
                </a:cubicBezTo>
                <a:cubicBezTo>
                  <a:pt x="168" y="262"/>
                  <a:pt x="168" y="262"/>
                  <a:pt x="168" y="262"/>
                </a:cubicBezTo>
                <a:cubicBezTo>
                  <a:pt x="168" y="260"/>
                  <a:pt x="168" y="260"/>
                  <a:pt x="168" y="260"/>
                </a:cubicBezTo>
                <a:cubicBezTo>
                  <a:pt x="169" y="259"/>
                  <a:pt x="169" y="259"/>
                  <a:pt x="169" y="259"/>
                </a:cubicBezTo>
                <a:cubicBezTo>
                  <a:pt x="170" y="260"/>
                  <a:pt x="170" y="260"/>
                  <a:pt x="170" y="260"/>
                </a:cubicBezTo>
                <a:cubicBezTo>
                  <a:pt x="171" y="260"/>
                  <a:pt x="171" y="260"/>
                  <a:pt x="171" y="260"/>
                </a:cubicBezTo>
                <a:cubicBezTo>
                  <a:pt x="170" y="259"/>
                  <a:pt x="170" y="259"/>
                  <a:pt x="170" y="259"/>
                </a:cubicBezTo>
                <a:cubicBezTo>
                  <a:pt x="170" y="258"/>
                  <a:pt x="170" y="258"/>
                  <a:pt x="170" y="258"/>
                </a:cubicBezTo>
                <a:cubicBezTo>
                  <a:pt x="169" y="258"/>
                  <a:pt x="169" y="258"/>
                  <a:pt x="169" y="258"/>
                </a:cubicBezTo>
                <a:cubicBezTo>
                  <a:pt x="170" y="256"/>
                  <a:pt x="170" y="256"/>
                  <a:pt x="170" y="256"/>
                </a:cubicBezTo>
                <a:cubicBezTo>
                  <a:pt x="169" y="254"/>
                  <a:pt x="169" y="254"/>
                  <a:pt x="169" y="254"/>
                </a:cubicBezTo>
                <a:cubicBezTo>
                  <a:pt x="169" y="251"/>
                  <a:pt x="169" y="251"/>
                  <a:pt x="169" y="251"/>
                </a:cubicBezTo>
                <a:cubicBezTo>
                  <a:pt x="170" y="249"/>
                  <a:pt x="170" y="249"/>
                  <a:pt x="170" y="249"/>
                </a:cubicBezTo>
                <a:cubicBezTo>
                  <a:pt x="169" y="247"/>
                  <a:pt x="169" y="247"/>
                  <a:pt x="169" y="247"/>
                </a:cubicBezTo>
                <a:cubicBezTo>
                  <a:pt x="169" y="246"/>
                  <a:pt x="169" y="246"/>
                  <a:pt x="169" y="246"/>
                </a:cubicBezTo>
                <a:cubicBezTo>
                  <a:pt x="170" y="245"/>
                  <a:pt x="170" y="245"/>
                  <a:pt x="170" y="245"/>
                </a:cubicBezTo>
                <a:cubicBezTo>
                  <a:pt x="170" y="244"/>
                  <a:pt x="170" y="244"/>
                  <a:pt x="170" y="244"/>
                </a:cubicBezTo>
                <a:cubicBezTo>
                  <a:pt x="170" y="243"/>
                  <a:pt x="170" y="243"/>
                  <a:pt x="170" y="243"/>
                </a:cubicBezTo>
                <a:cubicBezTo>
                  <a:pt x="171" y="244"/>
                  <a:pt x="171" y="244"/>
                  <a:pt x="171" y="244"/>
                </a:cubicBezTo>
                <a:cubicBezTo>
                  <a:pt x="173" y="245"/>
                  <a:pt x="173" y="245"/>
                  <a:pt x="173" y="245"/>
                </a:cubicBezTo>
                <a:cubicBezTo>
                  <a:pt x="173" y="246"/>
                  <a:pt x="173" y="246"/>
                  <a:pt x="173" y="246"/>
                </a:cubicBezTo>
                <a:cubicBezTo>
                  <a:pt x="174" y="245"/>
                  <a:pt x="174" y="245"/>
                  <a:pt x="174" y="245"/>
                </a:cubicBezTo>
                <a:cubicBezTo>
                  <a:pt x="174" y="244"/>
                  <a:pt x="174" y="244"/>
                  <a:pt x="174" y="244"/>
                </a:cubicBezTo>
                <a:cubicBezTo>
                  <a:pt x="174" y="246"/>
                  <a:pt x="174" y="246"/>
                  <a:pt x="174" y="246"/>
                </a:cubicBezTo>
                <a:cubicBezTo>
                  <a:pt x="176" y="247"/>
                  <a:pt x="176" y="247"/>
                  <a:pt x="176" y="247"/>
                </a:cubicBezTo>
                <a:cubicBezTo>
                  <a:pt x="178" y="249"/>
                  <a:pt x="178" y="249"/>
                  <a:pt x="178" y="249"/>
                </a:cubicBezTo>
                <a:cubicBezTo>
                  <a:pt x="179" y="250"/>
                  <a:pt x="179" y="250"/>
                  <a:pt x="179" y="250"/>
                </a:cubicBezTo>
                <a:cubicBezTo>
                  <a:pt x="180" y="249"/>
                  <a:pt x="180" y="249"/>
                  <a:pt x="180" y="249"/>
                </a:cubicBezTo>
                <a:cubicBezTo>
                  <a:pt x="181" y="249"/>
                  <a:pt x="181" y="249"/>
                  <a:pt x="181" y="249"/>
                </a:cubicBezTo>
                <a:cubicBezTo>
                  <a:pt x="182" y="250"/>
                  <a:pt x="182" y="250"/>
                  <a:pt x="182" y="250"/>
                </a:cubicBezTo>
                <a:cubicBezTo>
                  <a:pt x="182" y="249"/>
                  <a:pt x="182" y="249"/>
                  <a:pt x="182" y="249"/>
                </a:cubicBezTo>
                <a:cubicBezTo>
                  <a:pt x="183" y="248"/>
                  <a:pt x="183" y="248"/>
                  <a:pt x="183" y="248"/>
                </a:cubicBezTo>
                <a:cubicBezTo>
                  <a:pt x="187" y="249"/>
                  <a:pt x="187" y="249"/>
                  <a:pt x="187" y="249"/>
                </a:cubicBezTo>
                <a:cubicBezTo>
                  <a:pt x="187" y="248"/>
                  <a:pt x="187" y="248"/>
                  <a:pt x="187" y="248"/>
                </a:cubicBezTo>
                <a:cubicBezTo>
                  <a:pt x="188" y="247"/>
                  <a:pt x="188" y="247"/>
                  <a:pt x="188" y="247"/>
                </a:cubicBezTo>
                <a:cubicBezTo>
                  <a:pt x="189" y="247"/>
                  <a:pt x="189" y="247"/>
                  <a:pt x="189" y="247"/>
                </a:cubicBezTo>
                <a:cubicBezTo>
                  <a:pt x="189" y="248"/>
                  <a:pt x="189" y="248"/>
                  <a:pt x="189" y="248"/>
                </a:cubicBezTo>
                <a:cubicBezTo>
                  <a:pt x="190" y="247"/>
                  <a:pt x="190" y="247"/>
                  <a:pt x="190" y="247"/>
                </a:cubicBezTo>
                <a:cubicBezTo>
                  <a:pt x="191" y="247"/>
                  <a:pt x="191" y="247"/>
                  <a:pt x="191" y="247"/>
                </a:cubicBezTo>
                <a:cubicBezTo>
                  <a:pt x="192" y="248"/>
                  <a:pt x="192" y="248"/>
                  <a:pt x="192" y="248"/>
                </a:cubicBezTo>
                <a:cubicBezTo>
                  <a:pt x="192" y="249"/>
                  <a:pt x="192" y="249"/>
                  <a:pt x="192" y="249"/>
                </a:cubicBezTo>
                <a:cubicBezTo>
                  <a:pt x="191" y="252"/>
                  <a:pt x="191" y="252"/>
                  <a:pt x="191" y="252"/>
                </a:cubicBezTo>
                <a:cubicBezTo>
                  <a:pt x="190" y="253"/>
                  <a:pt x="190" y="253"/>
                  <a:pt x="190" y="253"/>
                </a:cubicBezTo>
                <a:cubicBezTo>
                  <a:pt x="190" y="256"/>
                  <a:pt x="190" y="256"/>
                  <a:pt x="190" y="256"/>
                </a:cubicBezTo>
                <a:cubicBezTo>
                  <a:pt x="189" y="257"/>
                  <a:pt x="189" y="257"/>
                  <a:pt x="189" y="257"/>
                </a:cubicBezTo>
                <a:cubicBezTo>
                  <a:pt x="189" y="258"/>
                  <a:pt x="189" y="258"/>
                  <a:pt x="189" y="258"/>
                </a:cubicBezTo>
                <a:cubicBezTo>
                  <a:pt x="189" y="259"/>
                  <a:pt x="189" y="259"/>
                  <a:pt x="189" y="259"/>
                </a:cubicBezTo>
                <a:cubicBezTo>
                  <a:pt x="189" y="260"/>
                  <a:pt x="189" y="260"/>
                  <a:pt x="189" y="260"/>
                </a:cubicBezTo>
                <a:cubicBezTo>
                  <a:pt x="188" y="262"/>
                  <a:pt x="188" y="262"/>
                  <a:pt x="188" y="262"/>
                </a:cubicBezTo>
                <a:cubicBezTo>
                  <a:pt x="188" y="261"/>
                  <a:pt x="188" y="261"/>
                  <a:pt x="188" y="261"/>
                </a:cubicBezTo>
                <a:cubicBezTo>
                  <a:pt x="188" y="259"/>
                  <a:pt x="188" y="259"/>
                  <a:pt x="188" y="259"/>
                </a:cubicBezTo>
                <a:cubicBezTo>
                  <a:pt x="187" y="260"/>
                  <a:pt x="187" y="260"/>
                  <a:pt x="187" y="260"/>
                </a:cubicBezTo>
                <a:cubicBezTo>
                  <a:pt x="186" y="261"/>
                  <a:pt x="186" y="261"/>
                  <a:pt x="186" y="261"/>
                </a:cubicBezTo>
                <a:cubicBezTo>
                  <a:pt x="186" y="263"/>
                  <a:pt x="186" y="263"/>
                  <a:pt x="186" y="263"/>
                </a:cubicBezTo>
                <a:cubicBezTo>
                  <a:pt x="186" y="264"/>
                  <a:pt x="186" y="264"/>
                  <a:pt x="186" y="264"/>
                </a:cubicBezTo>
                <a:cubicBezTo>
                  <a:pt x="185" y="264"/>
                  <a:pt x="185" y="264"/>
                  <a:pt x="185" y="264"/>
                </a:cubicBezTo>
                <a:cubicBezTo>
                  <a:pt x="185" y="265"/>
                  <a:pt x="185" y="265"/>
                  <a:pt x="185" y="265"/>
                </a:cubicBezTo>
                <a:cubicBezTo>
                  <a:pt x="184" y="266"/>
                  <a:pt x="184" y="266"/>
                  <a:pt x="184" y="266"/>
                </a:cubicBezTo>
                <a:cubicBezTo>
                  <a:pt x="185" y="267"/>
                  <a:pt x="185" y="267"/>
                  <a:pt x="185" y="267"/>
                </a:cubicBezTo>
                <a:cubicBezTo>
                  <a:pt x="185" y="268"/>
                  <a:pt x="185" y="268"/>
                  <a:pt x="185" y="268"/>
                </a:cubicBezTo>
                <a:cubicBezTo>
                  <a:pt x="183" y="270"/>
                  <a:pt x="183" y="270"/>
                  <a:pt x="183" y="270"/>
                </a:cubicBezTo>
                <a:cubicBezTo>
                  <a:pt x="183" y="270"/>
                  <a:pt x="183" y="270"/>
                  <a:pt x="183" y="270"/>
                </a:cubicBezTo>
                <a:cubicBezTo>
                  <a:pt x="182" y="270"/>
                  <a:pt x="182" y="270"/>
                  <a:pt x="182" y="270"/>
                </a:cubicBezTo>
                <a:cubicBezTo>
                  <a:pt x="182" y="268"/>
                  <a:pt x="182" y="268"/>
                  <a:pt x="182" y="268"/>
                </a:cubicBezTo>
                <a:cubicBezTo>
                  <a:pt x="183" y="269"/>
                  <a:pt x="183" y="269"/>
                  <a:pt x="183" y="269"/>
                </a:cubicBezTo>
                <a:cubicBezTo>
                  <a:pt x="183" y="268"/>
                  <a:pt x="183" y="268"/>
                  <a:pt x="183" y="268"/>
                </a:cubicBezTo>
                <a:cubicBezTo>
                  <a:pt x="182" y="267"/>
                  <a:pt x="182" y="267"/>
                  <a:pt x="182" y="267"/>
                </a:cubicBezTo>
                <a:cubicBezTo>
                  <a:pt x="181" y="267"/>
                  <a:pt x="181" y="267"/>
                  <a:pt x="181" y="267"/>
                </a:cubicBezTo>
                <a:cubicBezTo>
                  <a:pt x="181" y="269"/>
                  <a:pt x="181" y="269"/>
                  <a:pt x="181" y="269"/>
                </a:cubicBezTo>
                <a:cubicBezTo>
                  <a:pt x="180" y="268"/>
                  <a:pt x="180" y="268"/>
                  <a:pt x="180" y="268"/>
                </a:cubicBezTo>
                <a:cubicBezTo>
                  <a:pt x="180" y="267"/>
                  <a:pt x="180" y="267"/>
                  <a:pt x="180" y="267"/>
                </a:cubicBezTo>
                <a:cubicBezTo>
                  <a:pt x="179" y="268"/>
                  <a:pt x="179" y="268"/>
                  <a:pt x="179" y="268"/>
                </a:cubicBezTo>
                <a:cubicBezTo>
                  <a:pt x="178" y="269"/>
                  <a:pt x="178" y="269"/>
                  <a:pt x="178" y="269"/>
                </a:cubicBezTo>
                <a:cubicBezTo>
                  <a:pt x="178" y="270"/>
                  <a:pt x="178" y="270"/>
                  <a:pt x="178" y="270"/>
                </a:cubicBezTo>
                <a:cubicBezTo>
                  <a:pt x="177" y="269"/>
                  <a:pt x="177" y="269"/>
                  <a:pt x="177" y="269"/>
                </a:cubicBezTo>
                <a:cubicBezTo>
                  <a:pt x="177" y="271"/>
                  <a:pt x="177" y="271"/>
                  <a:pt x="177" y="271"/>
                </a:cubicBezTo>
                <a:cubicBezTo>
                  <a:pt x="176" y="272"/>
                  <a:pt x="176" y="272"/>
                  <a:pt x="176" y="272"/>
                </a:cubicBezTo>
                <a:cubicBezTo>
                  <a:pt x="175" y="274"/>
                  <a:pt x="175" y="274"/>
                  <a:pt x="175" y="274"/>
                </a:cubicBezTo>
                <a:cubicBezTo>
                  <a:pt x="174" y="274"/>
                  <a:pt x="174" y="274"/>
                  <a:pt x="174" y="274"/>
                </a:cubicBezTo>
                <a:cubicBezTo>
                  <a:pt x="174" y="273"/>
                  <a:pt x="174" y="273"/>
                  <a:pt x="174" y="273"/>
                </a:cubicBezTo>
                <a:cubicBezTo>
                  <a:pt x="174" y="272"/>
                  <a:pt x="174" y="272"/>
                  <a:pt x="174" y="272"/>
                </a:cubicBezTo>
                <a:cubicBezTo>
                  <a:pt x="173" y="273"/>
                  <a:pt x="173" y="273"/>
                  <a:pt x="173" y="273"/>
                </a:cubicBezTo>
                <a:cubicBezTo>
                  <a:pt x="172" y="272"/>
                  <a:pt x="172" y="272"/>
                  <a:pt x="172" y="272"/>
                </a:cubicBezTo>
                <a:cubicBezTo>
                  <a:pt x="171" y="273"/>
                  <a:pt x="171" y="273"/>
                  <a:pt x="171" y="273"/>
                </a:cubicBezTo>
                <a:cubicBezTo>
                  <a:pt x="171" y="273"/>
                  <a:pt x="170" y="272"/>
                  <a:pt x="170" y="272"/>
                </a:cubicBezTo>
                <a:close/>
                <a:moveTo>
                  <a:pt x="2" y="174"/>
                </a:moveTo>
                <a:cubicBezTo>
                  <a:pt x="3" y="175"/>
                  <a:pt x="3" y="175"/>
                  <a:pt x="3" y="175"/>
                </a:cubicBezTo>
                <a:cubicBezTo>
                  <a:pt x="4" y="175"/>
                  <a:pt x="4" y="175"/>
                  <a:pt x="4" y="175"/>
                </a:cubicBezTo>
                <a:cubicBezTo>
                  <a:pt x="7" y="177"/>
                  <a:pt x="7" y="177"/>
                  <a:pt x="7" y="177"/>
                </a:cubicBezTo>
                <a:cubicBezTo>
                  <a:pt x="7" y="178"/>
                  <a:pt x="7" y="178"/>
                  <a:pt x="7" y="178"/>
                </a:cubicBezTo>
                <a:cubicBezTo>
                  <a:pt x="7" y="179"/>
                  <a:pt x="7" y="179"/>
                  <a:pt x="7" y="179"/>
                </a:cubicBezTo>
                <a:cubicBezTo>
                  <a:pt x="9" y="179"/>
                  <a:pt x="9" y="179"/>
                  <a:pt x="9" y="179"/>
                </a:cubicBezTo>
                <a:cubicBezTo>
                  <a:pt x="9" y="180"/>
                  <a:pt x="9" y="180"/>
                  <a:pt x="9" y="180"/>
                </a:cubicBezTo>
                <a:cubicBezTo>
                  <a:pt x="11" y="180"/>
                  <a:pt x="11" y="180"/>
                  <a:pt x="11" y="180"/>
                </a:cubicBezTo>
                <a:cubicBezTo>
                  <a:pt x="12" y="180"/>
                  <a:pt x="12" y="180"/>
                  <a:pt x="12" y="180"/>
                </a:cubicBezTo>
                <a:cubicBezTo>
                  <a:pt x="12" y="181"/>
                  <a:pt x="12" y="181"/>
                  <a:pt x="12" y="181"/>
                </a:cubicBezTo>
                <a:cubicBezTo>
                  <a:pt x="14" y="181"/>
                  <a:pt x="14" y="181"/>
                  <a:pt x="14" y="181"/>
                </a:cubicBezTo>
                <a:cubicBezTo>
                  <a:pt x="15" y="180"/>
                  <a:pt x="15" y="180"/>
                  <a:pt x="15" y="180"/>
                </a:cubicBezTo>
                <a:cubicBezTo>
                  <a:pt x="16" y="181"/>
                  <a:pt x="16" y="181"/>
                  <a:pt x="16" y="181"/>
                </a:cubicBezTo>
                <a:cubicBezTo>
                  <a:pt x="16" y="181"/>
                  <a:pt x="16" y="181"/>
                  <a:pt x="16" y="181"/>
                </a:cubicBezTo>
                <a:cubicBezTo>
                  <a:pt x="17" y="181"/>
                  <a:pt x="17" y="181"/>
                  <a:pt x="17" y="181"/>
                </a:cubicBezTo>
                <a:cubicBezTo>
                  <a:pt x="19" y="181"/>
                  <a:pt x="19" y="181"/>
                  <a:pt x="19" y="181"/>
                </a:cubicBezTo>
                <a:cubicBezTo>
                  <a:pt x="20" y="181"/>
                  <a:pt x="20" y="181"/>
                  <a:pt x="20" y="181"/>
                </a:cubicBezTo>
                <a:cubicBezTo>
                  <a:pt x="20" y="180"/>
                  <a:pt x="20" y="180"/>
                  <a:pt x="20" y="180"/>
                </a:cubicBezTo>
                <a:cubicBezTo>
                  <a:pt x="21" y="180"/>
                  <a:pt x="21" y="180"/>
                  <a:pt x="21" y="180"/>
                </a:cubicBezTo>
                <a:cubicBezTo>
                  <a:pt x="22" y="178"/>
                  <a:pt x="22" y="178"/>
                  <a:pt x="22" y="178"/>
                </a:cubicBezTo>
                <a:cubicBezTo>
                  <a:pt x="24" y="178"/>
                  <a:pt x="24" y="178"/>
                  <a:pt x="24" y="178"/>
                </a:cubicBezTo>
                <a:cubicBezTo>
                  <a:pt x="24" y="177"/>
                  <a:pt x="24" y="177"/>
                  <a:pt x="24" y="177"/>
                </a:cubicBezTo>
                <a:cubicBezTo>
                  <a:pt x="25" y="177"/>
                  <a:pt x="25" y="177"/>
                  <a:pt x="25" y="177"/>
                </a:cubicBezTo>
                <a:cubicBezTo>
                  <a:pt x="26" y="177"/>
                  <a:pt x="26" y="177"/>
                  <a:pt x="26" y="177"/>
                </a:cubicBezTo>
                <a:cubicBezTo>
                  <a:pt x="27" y="178"/>
                  <a:pt x="27" y="178"/>
                  <a:pt x="27" y="178"/>
                </a:cubicBezTo>
                <a:cubicBezTo>
                  <a:pt x="28" y="176"/>
                  <a:pt x="28" y="176"/>
                  <a:pt x="28" y="176"/>
                </a:cubicBezTo>
                <a:cubicBezTo>
                  <a:pt x="29" y="176"/>
                  <a:pt x="29" y="176"/>
                  <a:pt x="29" y="176"/>
                </a:cubicBezTo>
                <a:cubicBezTo>
                  <a:pt x="29" y="176"/>
                  <a:pt x="29" y="176"/>
                  <a:pt x="29" y="176"/>
                </a:cubicBezTo>
                <a:cubicBezTo>
                  <a:pt x="30" y="175"/>
                  <a:pt x="30" y="175"/>
                  <a:pt x="30" y="175"/>
                </a:cubicBezTo>
                <a:cubicBezTo>
                  <a:pt x="33" y="172"/>
                  <a:pt x="33" y="172"/>
                  <a:pt x="33" y="172"/>
                </a:cubicBezTo>
                <a:cubicBezTo>
                  <a:pt x="34" y="173"/>
                  <a:pt x="34" y="173"/>
                  <a:pt x="34" y="173"/>
                </a:cubicBezTo>
                <a:cubicBezTo>
                  <a:pt x="35" y="173"/>
                  <a:pt x="35" y="173"/>
                  <a:pt x="35" y="173"/>
                </a:cubicBezTo>
                <a:cubicBezTo>
                  <a:pt x="36" y="172"/>
                  <a:pt x="36" y="172"/>
                  <a:pt x="36" y="172"/>
                </a:cubicBezTo>
                <a:cubicBezTo>
                  <a:pt x="40" y="172"/>
                  <a:pt x="40" y="172"/>
                  <a:pt x="40" y="172"/>
                </a:cubicBezTo>
                <a:cubicBezTo>
                  <a:pt x="40" y="172"/>
                  <a:pt x="40" y="172"/>
                  <a:pt x="40" y="172"/>
                </a:cubicBezTo>
                <a:cubicBezTo>
                  <a:pt x="42" y="172"/>
                  <a:pt x="42" y="172"/>
                  <a:pt x="42" y="172"/>
                </a:cubicBezTo>
                <a:cubicBezTo>
                  <a:pt x="43" y="172"/>
                  <a:pt x="43" y="172"/>
                  <a:pt x="43" y="172"/>
                </a:cubicBezTo>
                <a:cubicBezTo>
                  <a:pt x="44" y="172"/>
                  <a:pt x="44" y="172"/>
                  <a:pt x="44" y="172"/>
                </a:cubicBezTo>
                <a:cubicBezTo>
                  <a:pt x="45" y="172"/>
                  <a:pt x="45" y="172"/>
                  <a:pt x="45" y="172"/>
                </a:cubicBezTo>
                <a:cubicBezTo>
                  <a:pt x="46" y="173"/>
                  <a:pt x="46" y="173"/>
                  <a:pt x="46" y="173"/>
                </a:cubicBezTo>
                <a:cubicBezTo>
                  <a:pt x="47" y="173"/>
                  <a:pt x="47" y="173"/>
                  <a:pt x="47" y="173"/>
                </a:cubicBezTo>
                <a:cubicBezTo>
                  <a:pt x="48" y="173"/>
                  <a:pt x="48" y="173"/>
                  <a:pt x="48" y="173"/>
                </a:cubicBezTo>
                <a:cubicBezTo>
                  <a:pt x="48" y="173"/>
                  <a:pt x="48" y="173"/>
                  <a:pt x="48" y="173"/>
                </a:cubicBezTo>
                <a:cubicBezTo>
                  <a:pt x="49" y="173"/>
                  <a:pt x="49" y="173"/>
                  <a:pt x="49" y="173"/>
                </a:cubicBezTo>
                <a:cubicBezTo>
                  <a:pt x="52" y="173"/>
                  <a:pt x="52" y="173"/>
                  <a:pt x="52" y="173"/>
                </a:cubicBezTo>
                <a:cubicBezTo>
                  <a:pt x="51" y="174"/>
                  <a:pt x="51" y="174"/>
                  <a:pt x="51" y="174"/>
                </a:cubicBezTo>
                <a:cubicBezTo>
                  <a:pt x="52" y="174"/>
                  <a:pt x="52" y="174"/>
                  <a:pt x="52" y="174"/>
                </a:cubicBezTo>
                <a:cubicBezTo>
                  <a:pt x="53" y="173"/>
                  <a:pt x="53" y="173"/>
                  <a:pt x="53" y="173"/>
                </a:cubicBezTo>
                <a:cubicBezTo>
                  <a:pt x="55" y="173"/>
                  <a:pt x="55" y="173"/>
                  <a:pt x="55" y="173"/>
                </a:cubicBezTo>
                <a:cubicBezTo>
                  <a:pt x="56" y="172"/>
                  <a:pt x="56" y="172"/>
                  <a:pt x="56" y="172"/>
                </a:cubicBezTo>
                <a:cubicBezTo>
                  <a:pt x="57" y="170"/>
                  <a:pt x="57" y="170"/>
                  <a:pt x="57" y="170"/>
                </a:cubicBezTo>
                <a:cubicBezTo>
                  <a:pt x="57" y="170"/>
                  <a:pt x="57" y="170"/>
                  <a:pt x="57" y="170"/>
                </a:cubicBezTo>
                <a:cubicBezTo>
                  <a:pt x="59" y="169"/>
                  <a:pt x="59" y="169"/>
                  <a:pt x="59" y="169"/>
                </a:cubicBezTo>
                <a:cubicBezTo>
                  <a:pt x="60" y="167"/>
                  <a:pt x="60" y="167"/>
                  <a:pt x="60" y="167"/>
                </a:cubicBezTo>
                <a:cubicBezTo>
                  <a:pt x="61" y="165"/>
                  <a:pt x="61" y="165"/>
                  <a:pt x="61" y="165"/>
                </a:cubicBezTo>
                <a:cubicBezTo>
                  <a:pt x="63" y="165"/>
                  <a:pt x="63" y="165"/>
                  <a:pt x="63" y="165"/>
                </a:cubicBezTo>
                <a:cubicBezTo>
                  <a:pt x="64" y="165"/>
                  <a:pt x="64" y="165"/>
                  <a:pt x="64" y="165"/>
                </a:cubicBezTo>
                <a:cubicBezTo>
                  <a:pt x="66" y="164"/>
                  <a:pt x="66" y="164"/>
                  <a:pt x="66" y="164"/>
                </a:cubicBezTo>
                <a:cubicBezTo>
                  <a:pt x="69" y="162"/>
                  <a:pt x="69" y="162"/>
                  <a:pt x="69" y="162"/>
                </a:cubicBezTo>
                <a:cubicBezTo>
                  <a:pt x="72" y="160"/>
                  <a:pt x="72" y="160"/>
                  <a:pt x="72" y="160"/>
                </a:cubicBezTo>
                <a:cubicBezTo>
                  <a:pt x="72" y="160"/>
                  <a:pt x="72" y="160"/>
                  <a:pt x="72" y="160"/>
                </a:cubicBezTo>
                <a:cubicBezTo>
                  <a:pt x="73" y="160"/>
                  <a:pt x="73" y="160"/>
                  <a:pt x="73" y="160"/>
                </a:cubicBezTo>
                <a:cubicBezTo>
                  <a:pt x="74" y="160"/>
                  <a:pt x="74" y="160"/>
                  <a:pt x="74" y="160"/>
                </a:cubicBezTo>
                <a:cubicBezTo>
                  <a:pt x="76" y="161"/>
                  <a:pt x="76" y="161"/>
                  <a:pt x="76" y="161"/>
                </a:cubicBezTo>
                <a:cubicBezTo>
                  <a:pt x="78" y="161"/>
                  <a:pt x="78" y="161"/>
                  <a:pt x="78" y="161"/>
                </a:cubicBezTo>
                <a:cubicBezTo>
                  <a:pt x="79" y="161"/>
                  <a:pt x="79" y="161"/>
                  <a:pt x="79" y="161"/>
                </a:cubicBezTo>
                <a:cubicBezTo>
                  <a:pt x="82" y="161"/>
                  <a:pt x="82" y="161"/>
                  <a:pt x="82" y="161"/>
                </a:cubicBezTo>
                <a:cubicBezTo>
                  <a:pt x="85" y="159"/>
                  <a:pt x="85" y="159"/>
                  <a:pt x="85" y="159"/>
                </a:cubicBezTo>
                <a:cubicBezTo>
                  <a:pt x="87" y="159"/>
                  <a:pt x="87" y="159"/>
                  <a:pt x="87" y="159"/>
                </a:cubicBezTo>
                <a:cubicBezTo>
                  <a:pt x="89" y="158"/>
                  <a:pt x="89" y="158"/>
                  <a:pt x="89" y="158"/>
                </a:cubicBezTo>
                <a:cubicBezTo>
                  <a:pt x="90" y="158"/>
                  <a:pt x="90" y="158"/>
                  <a:pt x="90" y="158"/>
                </a:cubicBezTo>
                <a:cubicBezTo>
                  <a:pt x="91" y="157"/>
                  <a:pt x="91" y="157"/>
                  <a:pt x="91" y="157"/>
                </a:cubicBezTo>
                <a:cubicBezTo>
                  <a:pt x="94" y="156"/>
                  <a:pt x="94" y="156"/>
                  <a:pt x="94" y="156"/>
                </a:cubicBezTo>
                <a:cubicBezTo>
                  <a:pt x="101" y="156"/>
                  <a:pt x="101" y="156"/>
                  <a:pt x="101" y="156"/>
                </a:cubicBezTo>
                <a:cubicBezTo>
                  <a:pt x="103" y="157"/>
                  <a:pt x="103" y="157"/>
                  <a:pt x="103" y="157"/>
                </a:cubicBezTo>
                <a:cubicBezTo>
                  <a:pt x="105" y="157"/>
                  <a:pt x="105" y="157"/>
                  <a:pt x="105" y="157"/>
                </a:cubicBezTo>
                <a:cubicBezTo>
                  <a:pt x="107" y="156"/>
                  <a:pt x="107" y="156"/>
                  <a:pt x="107" y="156"/>
                </a:cubicBezTo>
                <a:cubicBezTo>
                  <a:pt x="108" y="156"/>
                  <a:pt x="108" y="156"/>
                  <a:pt x="108" y="156"/>
                </a:cubicBezTo>
                <a:cubicBezTo>
                  <a:pt x="110" y="158"/>
                  <a:pt x="110" y="158"/>
                  <a:pt x="110" y="158"/>
                </a:cubicBezTo>
                <a:cubicBezTo>
                  <a:pt x="112" y="160"/>
                  <a:pt x="112" y="160"/>
                  <a:pt x="112" y="160"/>
                </a:cubicBezTo>
                <a:cubicBezTo>
                  <a:pt x="113" y="161"/>
                  <a:pt x="113" y="161"/>
                  <a:pt x="113" y="161"/>
                </a:cubicBezTo>
                <a:cubicBezTo>
                  <a:pt x="113" y="160"/>
                  <a:pt x="113" y="160"/>
                  <a:pt x="113" y="160"/>
                </a:cubicBezTo>
                <a:cubicBezTo>
                  <a:pt x="114" y="160"/>
                  <a:pt x="114" y="160"/>
                  <a:pt x="114" y="160"/>
                </a:cubicBezTo>
                <a:cubicBezTo>
                  <a:pt x="115" y="160"/>
                  <a:pt x="115" y="160"/>
                  <a:pt x="115" y="160"/>
                </a:cubicBezTo>
                <a:cubicBezTo>
                  <a:pt x="116" y="160"/>
                  <a:pt x="116" y="160"/>
                  <a:pt x="116" y="160"/>
                </a:cubicBezTo>
                <a:cubicBezTo>
                  <a:pt x="117" y="160"/>
                  <a:pt x="117" y="160"/>
                  <a:pt x="117" y="160"/>
                </a:cubicBezTo>
                <a:cubicBezTo>
                  <a:pt x="118" y="162"/>
                  <a:pt x="118" y="162"/>
                  <a:pt x="118" y="162"/>
                </a:cubicBezTo>
                <a:cubicBezTo>
                  <a:pt x="120" y="162"/>
                  <a:pt x="120" y="162"/>
                  <a:pt x="120" y="162"/>
                </a:cubicBezTo>
                <a:cubicBezTo>
                  <a:pt x="120" y="162"/>
                  <a:pt x="120" y="162"/>
                  <a:pt x="120" y="162"/>
                </a:cubicBezTo>
                <a:cubicBezTo>
                  <a:pt x="123" y="164"/>
                  <a:pt x="123" y="164"/>
                  <a:pt x="123" y="164"/>
                </a:cubicBezTo>
                <a:cubicBezTo>
                  <a:pt x="123" y="165"/>
                  <a:pt x="123" y="165"/>
                  <a:pt x="123" y="165"/>
                </a:cubicBezTo>
                <a:cubicBezTo>
                  <a:pt x="124" y="165"/>
                  <a:pt x="124" y="165"/>
                  <a:pt x="124" y="165"/>
                </a:cubicBezTo>
                <a:cubicBezTo>
                  <a:pt x="125" y="166"/>
                  <a:pt x="125" y="166"/>
                  <a:pt x="125" y="166"/>
                </a:cubicBezTo>
                <a:cubicBezTo>
                  <a:pt x="124" y="167"/>
                  <a:pt x="124" y="167"/>
                  <a:pt x="124" y="167"/>
                </a:cubicBezTo>
                <a:cubicBezTo>
                  <a:pt x="123" y="167"/>
                  <a:pt x="123" y="167"/>
                  <a:pt x="123" y="167"/>
                </a:cubicBezTo>
                <a:cubicBezTo>
                  <a:pt x="123" y="168"/>
                  <a:pt x="123" y="168"/>
                  <a:pt x="123" y="168"/>
                </a:cubicBezTo>
                <a:cubicBezTo>
                  <a:pt x="124" y="170"/>
                  <a:pt x="124" y="170"/>
                  <a:pt x="124" y="170"/>
                </a:cubicBezTo>
                <a:cubicBezTo>
                  <a:pt x="125" y="170"/>
                  <a:pt x="125" y="170"/>
                  <a:pt x="125" y="170"/>
                </a:cubicBezTo>
                <a:cubicBezTo>
                  <a:pt x="126" y="172"/>
                  <a:pt x="126" y="172"/>
                  <a:pt x="126" y="172"/>
                </a:cubicBezTo>
                <a:cubicBezTo>
                  <a:pt x="127" y="173"/>
                  <a:pt x="127" y="173"/>
                  <a:pt x="127" y="173"/>
                </a:cubicBezTo>
                <a:cubicBezTo>
                  <a:pt x="127" y="175"/>
                  <a:pt x="127" y="175"/>
                  <a:pt x="127" y="175"/>
                </a:cubicBezTo>
                <a:cubicBezTo>
                  <a:pt x="128" y="178"/>
                  <a:pt x="128" y="178"/>
                  <a:pt x="128" y="178"/>
                </a:cubicBezTo>
                <a:cubicBezTo>
                  <a:pt x="128" y="179"/>
                  <a:pt x="128" y="179"/>
                  <a:pt x="128" y="179"/>
                </a:cubicBezTo>
                <a:cubicBezTo>
                  <a:pt x="128" y="180"/>
                  <a:pt x="128" y="180"/>
                  <a:pt x="128" y="180"/>
                </a:cubicBezTo>
                <a:cubicBezTo>
                  <a:pt x="128" y="182"/>
                  <a:pt x="128" y="182"/>
                  <a:pt x="128" y="182"/>
                </a:cubicBezTo>
                <a:cubicBezTo>
                  <a:pt x="127" y="183"/>
                  <a:pt x="127" y="183"/>
                  <a:pt x="127" y="183"/>
                </a:cubicBezTo>
                <a:cubicBezTo>
                  <a:pt x="127" y="182"/>
                  <a:pt x="127" y="182"/>
                  <a:pt x="127" y="182"/>
                </a:cubicBezTo>
                <a:cubicBezTo>
                  <a:pt x="126" y="182"/>
                  <a:pt x="126" y="182"/>
                  <a:pt x="126" y="182"/>
                </a:cubicBezTo>
                <a:cubicBezTo>
                  <a:pt x="127" y="184"/>
                  <a:pt x="127" y="184"/>
                  <a:pt x="127" y="184"/>
                </a:cubicBezTo>
                <a:cubicBezTo>
                  <a:pt x="128" y="184"/>
                  <a:pt x="128" y="184"/>
                  <a:pt x="128" y="184"/>
                </a:cubicBezTo>
                <a:cubicBezTo>
                  <a:pt x="129" y="186"/>
                  <a:pt x="129" y="186"/>
                  <a:pt x="129" y="186"/>
                </a:cubicBezTo>
                <a:cubicBezTo>
                  <a:pt x="130" y="185"/>
                  <a:pt x="130" y="185"/>
                  <a:pt x="130" y="185"/>
                </a:cubicBezTo>
                <a:cubicBezTo>
                  <a:pt x="131" y="186"/>
                  <a:pt x="131" y="186"/>
                  <a:pt x="131" y="186"/>
                </a:cubicBezTo>
                <a:cubicBezTo>
                  <a:pt x="131" y="185"/>
                  <a:pt x="131" y="185"/>
                  <a:pt x="131" y="185"/>
                </a:cubicBezTo>
                <a:cubicBezTo>
                  <a:pt x="130" y="184"/>
                  <a:pt x="130" y="184"/>
                  <a:pt x="130" y="184"/>
                </a:cubicBezTo>
                <a:cubicBezTo>
                  <a:pt x="131" y="183"/>
                  <a:pt x="131" y="183"/>
                  <a:pt x="131" y="183"/>
                </a:cubicBezTo>
                <a:cubicBezTo>
                  <a:pt x="132" y="182"/>
                  <a:pt x="132" y="182"/>
                  <a:pt x="132" y="182"/>
                </a:cubicBezTo>
                <a:cubicBezTo>
                  <a:pt x="133" y="182"/>
                  <a:pt x="133" y="182"/>
                  <a:pt x="133" y="182"/>
                </a:cubicBezTo>
                <a:cubicBezTo>
                  <a:pt x="133" y="181"/>
                  <a:pt x="133" y="181"/>
                  <a:pt x="133" y="181"/>
                </a:cubicBezTo>
                <a:cubicBezTo>
                  <a:pt x="134" y="180"/>
                  <a:pt x="134" y="180"/>
                  <a:pt x="134" y="180"/>
                </a:cubicBezTo>
                <a:cubicBezTo>
                  <a:pt x="135" y="179"/>
                  <a:pt x="135" y="179"/>
                  <a:pt x="135" y="179"/>
                </a:cubicBezTo>
                <a:cubicBezTo>
                  <a:pt x="136" y="178"/>
                  <a:pt x="136" y="178"/>
                  <a:pt x="136" y="178"/>
                </a:cubicBezTo>
                <a:cubicBezTo>
                  <a:pt x="138" y="176"/>
                  <a:pt x="138" y="176"/>
                  <a:pt x="138" y="176"/>
                </a:cubicBezTo>
                <a:cubicBezTo>
                  <a:pt x="139" y="176"/>
                  <a:pt x="139" y="176"/>
                  <a:pt x="139" y="176"/>
                </a:cubicBezTo>
                <a:cubicBezTo>
                  <a:pt x="139" y="176"/>
                  <a:pt x="139" y="176"/>
                  <a:pt x="139" y="176"/>
                </a:cubicBezTo>
                <a:cubicBezTo>
                  <a:pt x="141" y="175"/>
                  <a:pt x="141" y="175"/>
                  <a:pt x="141" y="175"/>
                </a:cubicBezTo>
                <a:cubicBezTo>
                  <a:pt x="142" y="173"/>
                  <a:pt x="142" y="173"/>
                  <a:pt x="142" y="173"/>
                </a:cubicBezTo>
                <a:cubicBezTo>
                  <a:pt x="143" y="170"/>
                  <a:pt x="143" y="170"/>
                  <a:pt x="143" y="170"/>
                </a:cubicBezTo>
                <a:cubicBezTo>
                  <a:pt x="145" y="170"/>
                  <a:pt x="145" y="170"/>
                  <a:pt x="145" y="170"/>
                </a:cubicBezTo>
                <a:cubicBezTo>
                  <a:pt x="146" y="169"/>
                  <a:pt x="146" y="169"/>
                  <a:pt x="146" y="169"/>
                </a:cubicBezTo>
                <a:cubicBezTo>
                  <a:pt x="145" y="167"/>
                  <a:pt x="145" y="167"/>
                  <a:pt x="145" y="167"/>
                </a:cubicBezTo>
                <a:cubicBezTo>
                  <a:pt x="146" y="166"/>
                  <a:pt x="146" y="166"/>
                  <a:pt x="146" y="166"/>
                </a:cubicBezTo>
                <a:cubicBezTo>
                  <a:pt x="147" y="168"/>
                  <a:pt x="147" y="168"/>
                  <a:pt x="147" y="168"/>
                </a:cubicBezTo>
                <a:cubicBezTo>
                  <a:pt x="147" y="169"/>
                  <a:pt x="147" y="169"/>
                  <a:pt x="147" y="169"/>
                </a:cubicBezTo>
                <a:cubicBezTo>
                  <a:pt x="147" y="171"/>
                  <a:pt x="147" y="171"/>
                  <a:pt x="147" y="171"/>
                </a:cubicBezTo>
                <a:cubicBezTo>
                  <a:pt x="146" y="172"/>
                  <a:pt x="146" y="172"/>
                  <a:pt x="146" y="172"/>
                </a:cubicBezTo>
                <a:cubicBezTo>
                  <a:pt x="145" y="175"/>
                  <a:pt x="145" y="175"/>
                  <a:pt x="145" y="175"/>
                </a:cubicBezTo>
                <a:cubicBezTo>
                  <a:pt x="143" y="177"/>
                  <a:pt x="143" y="177"/>
                  <a:pt x="143" y="177"/>
                </a:cubicBezTo>
                <a:cubicBezTo>
                  <a:pt x="142" y="178"/>
                  <a:pt x="142" y="178"/>
                  <a:pt x="142" y="178"/>
                </a:cubicBezTo>
                <a:cubicBezTo>
                  <a:pt x="142" y="179"/>
                  <a:pt x="142" y="179"/>
                  <a:pt x="142" y="179"/>
                </a:cubicBezTo>
                <a:cubicBezTo>
                  <a:pt x="142" y="181"/>
                  <a:pt x="142" y="181"/>
                  <a:pt x="142" y="181"/>
                </a:cubicBezTo>
                <a:cubicBezTo>
                  <a:pt x="140" y="183"/>
                  <a:pt x="140" y="183"/>
                  <a:pt x="140" y="183"/>
                </a:cubicBezTo>
                <a:cubicBezTo>
                  <a:pt x="141" y="183"/>
                  <a:pt x="141" y="183"/>
                  <a:pt x="141" y="183"/>
                </a:cubicBezTo>
                <a:cubicBezTo>
                  <a:pt x="140" y="186"/>
                  <a:pt x="140" y="186"/>
                  <a:pt x="140" y="186"/>
                </a:cubicBezTo>
                <a:cubicBezTo>
                  <a:pt x="137" y="186"/>
                  <a:pt x="137" y="186"/>
                  <a:pt x="137" y="186"/>
                </a:cubicBezTo>
                <a:cubicBezTo>
                  <a:pt x="136" y="188"/>
                  <a:pt x="136" y="188"/>
                  <a:pt x="136" y="188"/>
                </a:cubicBezTo>
                <a:cubicBezTo>
                  <a:pt x="135" y="189"/>
                  <a:pt x="135" y="189"/>
                  <a:pt x="135" y="189"/>
                </a:cubicBezTo>
                <a:cubicBezTo>
                  <a:pt x="135" y="189"/>
                  <a:pt x="135" y="189"/>
                  <a:pt x="135" y="189"/>
                </a:cubicBezTo>
                <a:cubicBezTo>
                  <a:pt x="137" y="189"/>
                  <a:pt x="137" y="189"/>
                  <a:pt x="137" y="189"/>
                </a:cubicBezTo>
                <a:cubicBezTo>
                  <a:pt x="139" y="188"/>
                  <a:pt x="139" y="188"/>
                  <a:pt x="139" y="188"/>
                </a:cubicBezTo>
                <a:cubicBezTo>
                  <a:pt x="141" y="189"/>
                  <a:pt x="141" y="189"/>
                  <a:pt x="141" y="189"/>
                </a:cubicBezTo>
                <a:cubicBezTo>
                  <a:pt x="143" y="185"/>
                  <a:pt x="143" y="185"/>
                  <a:pt x="143" y="185"/>
                </a:cubicBezTo>
                <a:cubicBezTo>
                  <a:pt x="144" y="182"/>
                  <a:pt x="144" y="182"/>
                  <a:pt x="144" y="182"/>
                </a:cubicBezTo>
                <a:cubicBezTo>
                  <a:pt x="145" y="180"/>
                  <a:pt x="145" y="180"/>
                  <a:pt x="145" y="180"/>
                </a:cubicBezTo>
                <a:cubicBezTo>
                  <a:pt x="146" y="181"/>
                  <a:pt x="146" y="181"/>
                  <a:pt x="146" y="181"/>
                </a:cubicBezTo>
                <a:cubicBezTo>
                  <a:pt x="146" y="184"/>
                  <a:pt x="146" y="184"/>
                  <a:pt x="146" y="184"/>
                </a:cubicBezTo>
                <a:cubicBezTo>
                  <a:pt x="147" y="186"/>
                  <a:pt x="147" y="186"/>
                  <a:pt x="147" y="186"/>
                </a:cubicBezTo>
                <a:cubicBezTo>
                  <a:pt x="146" y="186"/>
                  <a:pt x="146" y="186"/>
                  <a:pt x="146" y="186"/>
                </a:cubicBezTo>
                <a:cubicBezTo>
                  <a:pt x="146" y="189"/>
                  <a:pt x="146" y="189"/>
                  <a:pt x="146" y="189"/>
                </a:cubicBezTo>
                <a:cubicBezTo>
                  <a:pt x="145" y="191"/>
                  <a:pt x="145" y="191"/>
                  <a:pt x="145" y="191"/>
                </a:cubicBezTo>
                <a:cubicBezTo>
                  <a:pt x="143" y="192"/>
                  <a:pt x="143" y="192"/>
                  <a:pt x="143" y="192"/>
                </a:cubicBezTo>
                <a:cubicBezTo>
                  <a:pt x="143" y="193"/>
                  <a:pt x="143" y="193"/>
                  <a:pt x="143" y="193"/>
                </a:cubicBezTo>
                <a:cubicBezTo>
                  <a:pt x="144" y="193"/>
                  <a:pt x="144" y="193"/>
                  <a:pt x="144" y="193"/>
                </a:cubicBezTo>
                <a:cubicBezTo>
                  <a:pt x="146" y="193"/>
                  <a:pt x="146" y="193"/>
                  <a:pt x="146" y="193"/>
                </a:cubicBezTo>
                <a:cubicBezTo>
                  <a:pt x="147" y="192"/>
                  <a:pt x="147" y="192"/>
                  <a:pt x="147" y="192"/>
                </a:cubicBezTo>
                <a:cubicBezTo>
                  <a:pt x="148" y="192"/>
                  <a:pt x="148" y="192"/>
                  <a:pt x="148" y="192"/>
                </a:cubicBezTo>
                <a:cubicBezTo>
                  <a:pt x="149" y="191"/>
                  <a:pt x="149" y="191"/>
                  <a:pt x="149" y="191"/>
                </a:cubicBezTo>
                <a:cubicBezTo>
                  <a:pt x="150" y="191"/>
                  <a:pt x="150" y="191"/>
                  <a:pt x="150" y="191"/>
                </a:cubicBezTo>
                <a:cubicBezTo>
                  <a:pt x="151" y="191"/>
                  <a:pt x="151" y="191"/>
                  <a:pt x="151" y="191"/>
                </a:cubicBezTo>
                <a:cubicBezTo>
                  <a:pt x="150" y="192"/>
                  <a:pt x="150" y="192"/>
                  <a:pt x="150" y="192"/>
                </a:cubicBezTo>
                <a:cubicBezTo>
                  <a:pt x="150" y="193"/>
                  <a:pt x="150" y="193"/>
                  <a:pt x="150" y="193"/>
                </a:cubicBezTo>
                <a:cubicBezTo>
                  <a:pt x="149" y="193"/>
                  <a:pt x="149" y="193"/>
                  <a:pt x="149" y="193"/>
                </a:cubicBezTo>
                <a:cubicBezTo>
                  <a:pt x="148" y="194"/>
                  <a:pt x="148" y="194"/>
                  <a:pt x="148" y="194"/>
                </a:cubicBezTo>
                <a:cubicBezTo>
                  <a:pt x="149" y="196"/>
                  <a:pt x="149" y="196"/>
                  <a:pt x="149" y="196"/>
                </a:cubicBezTo>
                <a:cubicBezTo>
                  <a:pt x="150" y="197"/>
                  <a:pt x="150" y="197"/>
                  <a:pt x="150" y="197"/>
                </a:cubicBezTo>
                <a:cubicBezTo>
                  <a:pt x="151" y="199"/>
                  <a:pt x="151" y="199"/>
                  <a:pt x="151" y="199"/>
                </a:cubicBezTo>
                <a:cubicBezTo>
                  <a:pt x="151" y="201"/>
                  <a:pt x="151" y="201"/>
                  <a:pt x="151" y="201"/>
                </a:cubicBezTo>
                <a:cubicBezTo>
                  <a:pt x="151" y="204"/>
                  <a:pt x="151" y="204"/>
                  <a:pt x="151" y="204"/>
                </a:cubicBezTo>
                <a:cubicBezTo>
                  <a:pt x="149" y="206"/>
                  <a:pt x="149" y="206"/>
                  <a:pt x="149" y="206"/>
                </a:cubicBezTo>
                <a:cubicBezTo>
                  <a:pt x="149" y="207"/>
                  <a:pt x="149" y="207"/>
                  <a:pt x="149" y="207"/>
                </a:cubicBezTo>
                <a:cubicBezTo>
                  <a:pt x="149" y="209"/>
                  <a:pt x="149" y="209"/>
                  <a:pt x="149" y="209"/>
                </a:cubicBezTo>
                <a:cubicBezTo>
                  <a:pt x="150" y="210"/>
                  <a:pt x="150" y="210"/>
                  <a:pt x="150" y="210"/>
                </a:cubicBezTo>
                <a:cubicBezTo>
                  <a:pt x="151" y="211"/>
                  <a:pt x="151" y="211"/>
                  <a:pt x="151" y="211"/>
                </a:cubicBezTo>
                <a:cubicBezTo>
                  <a:pt x="151" y="213"/>
                  <a:pt x="151" y="213"/>
                  <a:pt x="151" y="213"/>
                </a:cubicBezTo>
                <a:cubicBezTo>
                  <a:pt x="154" y="216"/>
                  <a:pt x="154" y="216"/>
                  <a:pt x="154" y="216"/>
                </a:cubicBezTo>
                <a:cubicBezTo>
                  <a:pt x="155" y="217"/>
                  <a:pt x="155" y="217"/>
                  <a:pt x="155" y="217"/>
                </a:cubicBezTo>
                <a:cubicBezTo>
                  <a:pt x="157" y="218"/>
                  <a:pt x="157" y="218"/>
                  <a:pt x="157" y="218"/>
                </a:cubicBezTo>
                <a:cubicBezTo>
                  <a:pt x="157" y="219"/>
                  <a:pt x="157" y="219"/>
                  <a:pt x="157" y="219"/>
                </a:cubicBezTo>
                <a:cubicBezTo>
                  <a:pt x="158" y="219"/>
                  <a:pt x="158" y="219"/>
                  <a:pt x="158" y="219"/>
                </a:cubicBezTo>
                <a:cubicBezTo>
                  <a:pt x="159" y="219"/>
                  <a:pt x="159" y="219"/>
                  <a:pt x="159" y="219"/>
                </a:cubicBezTo>
                <a:cubicBezTo>
                  <a:pt x="159" y="219"/>
                  <a:pt x="159" y="219"/>
                  <a:pt x="159" y="219"/>
                </a:cubicBezTo>
                <a:cubicBezTo>
                  <a:pt x="161" y="219"/>
                  <a:pt x="161" y="219"/>
                  <a:pt x="161" y="219"/>
                </a:cubicBezTo>
                <a:cubicBezTo>
                  <a:pt x="162" y="221"/>
                  <a:pt x="162" y="221"/>
                  <a:pt x="162" y="221"/>
                </a:cubicBezTo>
                <a:cubicBezTo>
                  <a:pt x="164" y="221"/>
                  <a:pt x="164" y="221"/>
                  <a:pt x="164" y="221"/>
                </a:cubicBezTo>
                <a:cubicBezTo>
                  <a:pt x="165" y="222"/>
                  <a:pt x="165" y="222"/>
                  <a:pt x="165" y="222"/>
                </a:cubicBezTo>
                <a:cubicBezTo>
                  <a:pt x="166" y="224"/>
                  <a:pt x="166" y="224"/>
                  <a:pt x="166" y="224"/>
                </a:cubicBezTo>
                <a:cubicBezTo>
                  <a:pt x="167" y="224"/>
                  <a:pt x="167" y="224"/>
                  <a:pt x="167" y="224"/>
                </a:cubicBezTo>
                <a:cubicBezTo>
                  <a:pt x="168" y="225"/>
                  <a:pt x="168" y="225"/>
                  <a:pt x="168" y="225"/>
                </a:cubicBezTo>
                <a:cubicBezTo>
                  <a:pt x="169" y="225"/>
                  <a:pt x="169" y="225"/>
                  <a:pt x="169" y="225"/>
                </a:cubicBezTo>
                <a:cubicBezTo>
                  <a:pt x="170" y="225"/>
                  <a:pt x="170" y="225"/>
                  <a:pt x="170" y="225"/>
                </a:cubicBezTo>
                <a:cubicBezTo>
                  <a:pt x="172" y="223"/>
                  <a:pt x="172" y="223"/>
                  <a:pt x="172" y="223"/>
                </a:cubicBezTo>
                <a:cubicBezTo>
                  <a:pt x="173" y="222"/>
                  <a:pt x="173" y="222"/>
                  <a:pt x="173" y="222"/>
                </a:cubicBezTo>
                <a:cubicBezTo>
                  <a:pt x="174" y="222"/>
                  <a:pt x="174" y="222"/>
                  <a:pt x="174" y="222"/>
                </a:cubicBezTo>
                <a:cubicBezTo>
                  <a:pt x="176" y="221"/>
                  <a:pt x="176" y="221"/>
                  <a:pt x="176" y="221"/>
                </a:cubicBezTo>
                <a:cubicBezTo>
                  <a:pt x="177" y="221"/>
                  <a:pt x="177" y="221"/>
                  <a:pt x="177" y="221"/>
                </a:cubicBezTo>
                <a:cubicBezTo>
                  <a:pt x="177" y="220"/>
                  <a:pt x="177" y="220"/>
                  <a:pt x="177" y="220"/>
                </a:cubicBezTo>
                <a:cubicBezTo>
                  <a:pt x="177" y="220"/>
                  <a:pt x="177" y="220"/>
                  <a:pt x="177" y="220"/>
                </a:cubicBezTo>
                <a:cubicBezTo>
                  <a:pt x="176" y="219"/>
                  <a:pt x="176" y="219"/>
                  <a:pt x="176" y="219"/>
                </a:cubicBezTo>
                <a:cubicBezTo>
                  <a:pt x="176" y="219"/>
                  <a:pt x="176" y="219"/>
                  <a:pt x="176" y="219"/>
                </a:cubicBezTo>
                <a:cubicBezTo>
                  <a:pt x="179" y="217"/>
                  <a:pt x="179" y="217"/>
                  <a:pt x="179" y="217"/>
                </a:cubicBezTo>
                <a:cubicBezTo>
                  <a:pt x="181" y="218"/>
                  <a:pt x="181" y="218"/>
                  <a:pt x="181" y="218"/>
                </a:cubicBezTo>
                <a:cubicBezTo>
                  <a:pt x="181" y="220"/>
                  <a:pt x="181" y="220"/>
                  <a:pt x="181" y="220"/>
                </a:cubicBezTo>
                <a:cubicBezTo>
                  <a:pt x="178" y="221"/>
                  <a:pt x="178" y="221"/>
                  <a:pt x="178" y="221"/>
                </a:cubicBezTo>
                <a:cubicBezTo>
                  <a:pt x="179" y="222"/>
                  <a:pt x="179" y="222"/>
                  <a:pt x="179" y="222"/>
                </a:cubicBezTo>
                <a:cubicBezTo>
                  <a:pt x="180" y="222"/>
                  <a:pt x="180" y="222"/>
                  <a:pt x="180" y="222"/>
                </a:cubicBezTo>
                <a:cubicBezTo>
                  <a:pt x="180" y="221"/>
                  <a:pt x="180" y="221"/>
                  <a:pt x="180" y="221"/>
                </a:cubicBezTo>
                <a:cubicBezTo>
                  <a:pt x="182" y="221"/>
                  <a:pt x="182" y="221"/>
                  <a:pt x="182" y="221"/>
                </a:cubicBezTo>
                <a:cubicBezTo>
                  <a:pt x="183" y="221"/>
                  <a:pt x="183" y="221"/>
                  <a:pt x="183" y="221"/>
                </a:cubicBezTo>
                <a:cubicBezTo>
                  <a:pt x="183" y="223"/>
                  <a:pt x="183" y="223"/>
                  <a:pt x="183" y="223"/>
                </a:cubicBezTo>
                <a:cubicBezTo>
                  <a:pt x="182" y="223"/>
                  <a:pt x="182" y="223"/>
                  <a:pt x="182" y="223"/>
                </a:cubicBezTo>
                <a:cubicBezTo>
                  <a:pt x="181" y="224"/>
                  <a:pt x="181" y="224"/>
                  <a:pt x="181" y="224"/>
                </a:cubicBezTo>
                <a:cubicBezTo>
                  <a:pt x="183" y="226"/>
                  <a:pt x="183" y="226"/>
                  <a:pt x="183" y="226"/>
                </a:cubicBezTo>
                <a:cubicBezTo>
                  <a:pt x="183" y="228"/>
                  <a:pt x="183" y="228"/>
                  <a:pt x="183" y="228"/>
                </a:cubicBezTo>
                <a:cubicBezTo>
                  <a:pt x="184" y="227"/>
                  <a:pt x="184" y="227"/>
                  <a:pt x="184" y="227"/>
                </a:cubicBezTo>
                <a:cubicBezTo>
                  <a:pt x="184" y="227"/>
                  <a:pt x="184" y="227"/>
                  <a:pt x="184" y="227"/>
                </a:cubicBezTo>
                <a:cubicBezTo>
                  <a:pt x="184" y="229"/>
                  <a:pt x="184" y="229"/>
                  <a:pt x="184" y="229"/>
                </a:cubicBezTo>
                <a:cubicBezTo>
                  <a:pt x="185" y="230"/>
                  <a:pt x="185" y="230"/>
                  <a:pt x="185" y="230"/>
                </a:cubicBezTo>
                <a:cubicBezTo>
                  <a:pt x="186" y="228"/>
                  <a:pt x="186" y="228"/>
                  <a:pt x="186" y="228"/>
                </a:cubicBezTo>
                <a:cubicBezTo>
                  <a:pt x="186" y="227"/>
                  <a:pt x="186" y="227"/>
                  <a:pt x="186" y="227"/>
                </a:cubicBezTo>
                <a:cubicBezTo>
                  <a:pt x="185" y="227"/>
                  <a:pt x="185" y="227"/>
                  <a:pt x="185" y="227"/>
                </a:cubicBezTo>
                <a:cubicBezTo>
                  <a:pt x="185" y="227"/>
                  <a:pt x="185" y="227"/>
                  <a:pt x="185" y="227"/>
                </a:cubicBezTo>
                <a:cubicBezTo>
                  <a:pt x="186" y="226"/>
                  <a:pt x="186" y="226"/>
                  <a:pt x="186" y="226"/>
                </a:cubicBezTo>
                <a:cubicBezTo>
                  <a:pt x="189" y="226"/>
                  <a:pt x="189" y="226"/>
                  <a:pt x="189" y="226"/>
                </a:cubicBezTo>
                <a:cubicBezTo>
                  <a:pt x="189" y="227"/>
                  <a:pt x="189" y="227"/>
                  <a:pt x="189" y="227"/>
                </a:cubicBezTo>
                <a:cubicBezTo>
                  <a:pt x="190" y="226"/>
                  <a:pt x="190" y="226"/>
                  <a:pt x="190" y="226"/>
                </a:cubicBezTo>
                <a:cubicBezTo>
                  <a:pt x="191" y="224"/>
                  <a:pt x="191" y="224"/>
                  <a:pt x="191" y="224"/>
                </a:cubicBezTo>
                <a:cubicBezTo>
                  <a:pt x="194" y="222"/>
                  <a:pt x="194" y="222"/>
                  <a:pt x="194" y="222"/>
                </a:cubicBezTo>
                <a:cubicBezTo>
                  <a:pt x="196" y="220"/>
                  <a:pt x="196" y="220"/>
                  <a:pt x="196" y="220"/>
                </a:cubicBezTo>
                <a:cubicBezTo>
                  <a:pt x="195" y="220"/>
                  <a:pt x="195" y="220"/>
                  <a:pt x="195" y="220"/>
                </a:cubicBezTo>
                <a:cubicBezTo>
                  <a:pt x="195" y="221"/>
                  <a:pt x="195" y="221"/>
                  <a:pt x="195" y="221"/>
                </a:cubicBezTo>
                <a:cubicBezTo>
                  <a:pt x="195" y="220"/>
                  <a:pt x="195" y="220"/>
                  <a:pt x="195" y="220"/>
                </a:cubicBezTo>
                <a:cubicBezTo>
                  <a:pt x="194" y="220"/>
                  <a:pt x="194" y="220"/>
                  <a:pt x="194" y="220"/>
                </a:cubicBezTo>
                <a:cubicBezTo>
                  <a:pt x="195" y="220"/>
                  <a:pt x="195" y="220"/>
                  <a:pt x="195" y="220"/>
                </a:cubicBezTo>
                <a:cubicBezTo>
                  <a:pt x="197" y="220"/>
                  <a:pt x="197" y="220"/>
                  <a:pt x="197" y="220"/>
                </a:cubicBezTo>
                <a:cubicBezTo>
                  <a:pt x="199" y="219"/>
                  <a:pt x="199" y="219"/>
                  <a:pt x="199" y="219"/>
                </a:cubicBezTo>
                <a:cubicBezTo>
                  <a:pt x="204" y="218"/>
                  <a:pt x="204" y="218"/>
                  <a:pt x="204" y="218"/>
                </a:cubicBezTo>
                <a:cubicBezTo>
                  <a:pt x="208" y="219"/>
                  <a:pt x="208" y="219"/>
                  <a:pt x="208" y="219"/>
                </a:cubicBezTo>
                <a:cubicBezTo>
                  <a:pt x="209" y="218"/>
                  <a:pt x="209" y="218"/>
                  <a:pt x="209" y="218"/>
                </a:cubicBezTo>
                <a:cubicBezTo>
                  <a:pt x="209" y="217"/>
                  <a:pt x="209" y="217"/>
                  <a:pt x="209" y="217"/>
                </a:cubicBezTo>
                <a:cubicBezTo>
                  <a:pt x="210" y="217"/>
                  <a:pt x="210" y="217"/>
                  <a:pt x="210" y="217"/>
                </a:cubicBezTo>
                <a:cubicBezTo>
                  <a:pt x="212" y="216"/>
                  <a:pt x="212" y="216"/>
                  <a:pt x="212" y="216"/>
                </a:cubicBezTo>
                <a:cubicBezTo>
                  <a:pt x="213" y="214"/>
                  <a:pt x="213" y="214"/>
                  <a:pt x="213" y="214"/>
                </a:cubicBezTo>
                <a:cubicBezTo>
                  <a:pt x="212" y="211"/>
                  <a:pt x="212" y="211"/>
                  <a:pt x="212" y="211"/>
                </a:cubicBezTo>
                <a:cubicBezTo>
                  <a:pt x="212" y="210"/>
                  <a:pt x="212" y="210"/>
                  <a:pt x="212" y="210"/>
                </a:cubicBezTo>
                <a:cubicBezTo>
                  <a:pt x="214" y="208"/>
                  <a:pt x="214" y="208"/>
                  <a:pt x="214" y="208"/>
                </a:cubicBezTo>
                <a:cubicBezTo>
                  <a:pt x="214" y="204"/>
                  <a:pt x="214" y="204"/>
                  <a:pt x="214" y="204"/>
                </a:cubicBezTo>
                <a:cubicBezTo>
                  <a:pt x="215" y="203"/>
                  <a:pt x="215" y="203"/>
                  <a:pt x="215" y="203"/>
                </a:cubicBezTo>
                <a:cubicBezTo>
                  <a:pt x="216" y="200"/>
                  <a:pt x="216" y="200"/>
                  <a:pt x="216" y="200"/>
                </a:cubicBezTo>
                <a:cubicBezTo>
                  <a:pt x="217" y="200"/>
                  <a:pt x="217" y="200"/>
                  <a:pt x="217" y="200"/>
                </a:cubicBezTo>
                <a:cubicBezTo>
                  <a:pt x="217" y="198"/>
                  <a:pt x="217" y="198"/>
                  <a:pt x="217" y="198"/>
                </a:cubicBezTo>
                <a:cubicBezTo>
                  <a:pt x="221" y="194"/>
                  <a:pt x="221" y="194"/>
                  <a:pt x="221" y="194"/>
                </a:cubicBezTo>
                <a:cubicBezTo>
                  <a:pt x="222" y="194"/>
                  <a:pt x="222" y="194"/>
                  <a:pt x="222" y="194"/>
                </a:cubicBezTo>
                <a:cubicBezTo>
                  <a:pt x="222" y="191"/>
                  <a:pt x="222" y="191"/>
                  <a:pt x="222" y="191"/>
                </a:cubicBezTo>
                <a:cubicBezTo>
                  <a:pt x="224" y="189"/>
                  <a:pt x="224" y="189"/>
                  <a:pt x="224" y="189"/>
                </a:cubicBezTo>
                <a:cubicBezTo>
                  <a:pt x="225" y="186"/>
                  <a:pt x="225" y="186"/>
                  <a:pt x="225" y="186"/>
                </a:cubicBezTo>
                <a:cubicBezTo>
                  <a:pt x="226" y="185"/>
                  <a:pt x="226" y="185"/>
                  <a:pt x="226" y="185"/>
                </a:cubicBezTo>
                <a:cubicBezTo>
                  <a:pt x="226" y="183"/>
                  <a:pt x="226" y="183"/>
                  <a:pt x="226" y="183"/>
                </a:cubicBezTo>
                <a:cubicBezTo>
                  <a:pt x="227" y="183"/>
                  <a:pt x="227" y="183"/>
                  <a:pt x="227" y="183"/>
                </a:cubicBezTo>
                <a:cubicBezTo>
                  <a:pt x="228" y="180"/>
                  <a:pt x="228" y="180"/>
                  <a:pt x="228" y="180"/>
                </a:cubicBezTo>
                <a:cubicBezTo>
                  <a:pt x="227" y="180"/>
                  <a:pt x="227" y="180"/>
                  <a:pt x="227" y="180"/>
                </a:cubicBezTo>
                <a:cubicBezTo>
                  <a:pt x="229" y="179"/>
                  <a:pt x="229" y="179"/>
                  <a:pt x="229" y="179"/>
                </a:cubicBezTo>
                <a:cubicBezTo>
                  <a:pt x="231" y="177"/>
                  <a:pt x="231" y="177"/>
                  <a:pt x="231" y="177"/>
                </a:cubicBezTo>
                <a:cubicBezTo>
                  <a:pt x="232" y="176"/>
                  <a:pt x="232" y="176"/>
                  <a:pt x="232" y="176"/>
                </a:cubicBezTo>
                <a:cubicBezTo>
                  <a:pt x="233" y="174"/>
                  <a:pt x="233" y="174"/>
                  <a:pt x="233" y="174"/>
                </a:cubicBezTo>
                <a:cubicBezTo>
                  <a:pt x="234" y="173"/>
                  <a:pt x="234" y="173"/>
                  <a:pt x="234" y="173"/>
                </a:cubicBezTo>
                <a:cubicBezTo>
                  <a:pt x="236" y="173"/>
                  <a:pt x="236" y="173"/>
                  <a:pt x="236" y="173"/>
                </a:cubicBezTo>
                <a:cubicBezTo>
                  <a:pt x="234" y="173"/>
                  <a:pt x="234" y="173"/>
                  <a:pt x="234" y="173"/>
                </a:cubicBezTo>
                <a:cubicBezTo>
                  <a:pt x="234" y="172"/>
                  <a:pt x="234" y="172"/>
                  <a:pt x="234" y="172"/>
                </a:cubicBezTo>
                <a:cubicBezTo>
                  <a:pt x="236" y="172"/>
                  <a:pt x="236" y="172"/>
                  <a:pt x="236" y="172"/>
                </a:cubicBezTo>
                <a:cubicBezTo>
                  <a:pt x="238" y="171"/>
                  <a:pt x="238" y="171"/>
                  <a:pt x="238" y="171"/>
                </a:cubicBezTo>
                <a:cubicBezTo>
                  <a:pt x="239" y="169"/>
                  <a:pt x="239" y="169"/>
                  <a:pt x="239" y="169"/>
                </a:cubicBezTo>
                <a:cubicBezTo>
                  <a:pt x="238" y="168"/>
                  <a:pt x="238" y="168"/>
                  <a:pt x="238" y="168"/>
                </a:cubicBezTo>
                <a:cubicBezTo>
                  <a:pt x="239" y="167"/>
                  <a:pt x="239" y="167"/>
                  <a:pt x="239" y="167"/>
                </a:cubicBezTo>
                <a:cubicBezTo>
                  <a:pt x="241" y="166"/>
                  <a:pt x="241" y="166"/>
                  <a:pt x="241" y="166"/>
                </a:cubicBezTo>
                <a:cubicBezTo>
                  <a:pt x="241" y="164"/>
                  <a:pt x="241" y="164"/>
                  <a:pt x="241" y="164"/>
                </a:cubicBezTo>
                <a:cubicBezTo>
                  <a:pt x="242" y="164"/>
                  <a:pt x="242" y="164"/>
                  <a:pt x="242" y="164"/>
                </a:cubicBezTo>
                <a:cubicBezTo>
                  <a:pt x="244" y="161"/>
                  <a:pt x="244" y="161"/>
                  <a:pt x="244" y="161"/>
                </a:cubicBezTo>
                <a:cubicBezTo>
                  <a:pt x="243" y="160"/>
                  <a:pt x="243" y="160"/>
                  <a:pt x="243" y="160"/>
                </a:cubicBezTo>
                <a:cubicBezTo>
                  <a:pt x="244" y="158"/>
                  <a:pt x="244" y="158"/>
                  <a:pt x="244" y="158"/>
                </a:cubicBezTo>
                <a:cubicBezTo>
                  <a:pt x="244" y="158"/>
                  <a:pt x="244" y="158"/>
                  <a:pt x="244" y="158"/>
                </a:cubicBezTo>
                <a:cubicBezTo>
                  <a:pt x="244" y="157"/>
                  <a:pt x="244" y="157"/>
                  <a:pt x="244" y="157"/>
                </a:cubicBezTo>
                <a:cubicBezTo>
                  <a:pt x="246" y="152"/>
                  <a:pt x="246" y="152"/>
                  <a:pt x="246" y="152"/>
                </a:cubicBezTo>
                <a:cubicBezTo>
                  <a:pt x="246" y="150"/>
                  <a:pt x="246" y="150"/>
                  <a:pt x="246" y="150"/>
                </a:cubicBezTo>
                <a:cubicBezTo>
                  <a:pt x="248" y="146"/>
                  <a:pt x="248" y="146"/>
                  <a:pt x="248" y="146"/>
                </a:cubicBezTo>
                <a:cubicBezTo>
                  <a:pt x="248" y="145"/>
                  <a:pt x="248" y="145"/>
                  <a:pt x="248" y="145"/>
                </a:cubicBezTo>
                <a:cubicBezTo>
                  <a:pt x="249" y="142"/>
                  <a:pt x="249" y="142"/>
                  <a:pt x="249" y="142"/>
                </a:cubicBezTo>
                <a:cubicBezTo>
                  <a:pt x="251" y="140"/>
                  <a:pt x="251" y="140"/>
                  <a:pt x="251" y="140"/>
                </a:cubicBezTo>
                <a:cubicBezTo>
                  <a:pt x="252" y="139"/>
                  <a:pt x="252" y="139"/>
                  <a:pt x="252" y="139"/>
                </a:cubicBezTo>
                <a:cubicBezTo>
                  <a:pt x="251" y="137"/>
                  <a:pt x="251" y="137"/>
                  <a:pt x="251" y="137"/>
                </a:cubicBezTo>
                <a:cubicBezTo>
                  <a:pt x="252" y="135"/>
                  <a:pt x="252" y="135"/>
                  <a:pt x="252" y="135"/>
                </a:cubicBezTo>
                <a:cubicBezTo>
                  <a:pt x="251" y="133"/>
                  <a:pt x="251" y="133"/>
                  <a:pt x="251" y="133"/>
                </a:cubicBezTo>
                <a:cubicBezTo>
                  <a:pt x="251" y="131"/>
                  <a:pt x="251" y="131"/>
                  <a:pt x="251" y="131"/>
                </a:cubicBezTo>
                <a:cubicBezTo>
                  <a:pt x="251" y="129"/>
                  <a:pt x="251" y="129"/>
                  <a:pt x="251" y="129"/>
                </a:cubicBezTo>
                <a:cubicBezTo>
                  <a:pt x="250" y="128"/>
                  <a:pt x="250" y="128"/>
                  <a:pt x="250" y="128"/>
                </a:cubicBezTo>
                <a:cubicBezTo>
                  <a:pt x="250" y="127"/>
                  <a:pt x="250" y="127"/>
                  <a:pt x="250" y="127"/>
                </a:cubicBezTo>
                <a:cubicBezTo>
                  <a:pt x="251" y="126"/>
                  <a:pt x="251" y="126"/>
                  <a:pt x="251" y="126"/>
                </a:cubicBezTo>
                <a:cubicBezTo>
                  <a:pt x="251" y="125"/>
                  <a:pt x="251" y="125"/>
                  <a:pt x="251" y="125"/>
                </a:cubicBezTo>
                <a:cubicBezTo>
                  <a:pt x="252" y="123"/>
                  <a:pt x="252" y="123"/>
                  <a:pt x="252" y="123"/>
                </a:cubicBezTo>
                <a:cubicBezTo>
                  <a:pt x="252" y="122"/>
                  <a:pt x="252" y="122"/>
                  <a:pt x="252" y="122"/>
                </a:cubicBezTo>
                <a:cubicBezTo>
                  <a:pt x="252" y="119"/>
                  <a:pt x="252" y="119"/>
                  <a:pt x="252" y="119"/>
                </a:cubicBezTo>
                <a:cubicBezTo>
                  <a:pt x="252" y="117"/>
                  <a:pt x="252" y="117"/>
                  <a:pt x="252" y="117"/>
                </a:cubicBezTo>
                <a:cubicBezTo>
                  <a:pt x="252" y="117"/>
                  <a:pt x="252" y="117"/>
                  <a:pt x="252" y="117"/>
                </a:cubicBezTo>
                <a:cubicBezTo>
                  <a:pt x="251" y="115"/>
                  <a:pt x="251" y="115"/>
                  <a:pt x="251" y="115"/>
                </a:cubicBezTo>
                <a:cubicBezTo>
                  <a:pt x="251" y="113"/>
                  <a:pt x="251" y="113"/>
                  <a:pt x="251" y="113"/>
                </a:cubicBezTo>
                <a:cubicBezTo>
                  <a:pt x="251" y="113"/>
                  <a:pt x="251" y="113"/>
                  <a:pt x="251" y="113"/>
                </a:cubicBezTo>
                <a:cubicBezTo>
                  <a:pt x="252" y="111"/>
                  <a:pt x="252" y="111"/>
                  <a:pt x="252" y="111"/>
                </a:cubicBezTo>
                <a:cubicBezTo>
                  <a:pt x="250" y="111"/>
                  <a:pt x="250" y="111"/>
                  <a:pt x="250" y="111"/>
                </a:cubicBezTo>
                <a:cubicBezTo>
                  <a:pt x="250" y="110"/>
                  <a:pt x="250" y="110"/>
                  <a:pt x="250" y="110"/>
                </a:cubicBezTo>
                <a:cubicBezTo>
                  <a:pt x="250" y="108"/>
                  <a:pt x="250" y="108"/>
                  <a:pt x="250" y="108"/>
                </a:cubicBezTo>
                <a:cubicBezTo>
                  <a:pt x="248" y="107"/>
                  <a:pt x="248" y="107"/>
                  <a:pt x="248" y="107"/>
                </a:cubicBezTo>
                <a:cubicBezTo>
                  <a:pt x="247" y="105"/>
                  <a:pt x="247" y="105"/>
                  <a:pt x="247" y="105"/>
                </a:cubicBezTo>
                <a:cubicBezTo>
                  <a:pt x="247" y="103"/>
                  <a:pt x="247" y="103"/>
                  <a:pt x="247" y="103"/>
                </a:cubicBezTo>
                <a:cubicBezTo>
                  <a:pt x="246" y="102"/>
                  <a:pt x="246" y="102"/>
                  <a:pt x="246" y="102"/>
                </a:cubicBezTo>
                <a:cubicBezTo>
                  <a:pt x="245" y="102"/>
                  <a:pt x="245" y="102"/>
                  <a:pt x="245" y="102"/>
                </a:cubicBezTo>
                <a:cubicBezTo>
                  <a:pt x="244" y="102"/>
                  <a:pt x="244" y="102"/>
                  <a:pt x="244" y="102"/>
                </a:cubicBezTo>
                <a:cubicBezTo>
                  <a:pt x="244" y="101"/>
                  <a:pt x="244" y="101"/>
                  <a:pt x="244" y="101"/>
                </a:cubicBezTo>
                <a:cubicBezTo>
                  <a:pt x="243" y="100"/>
                  <a:pt x="243" y="100"/>
                  <a:pt x="243" y="100"/>
                </a:cubicBezTo>
                <a:cubicBezTo>
                  <a:pt x="243" y="99"/>
                  <a:pt x="243" y="99"/>
                  <a:pt x="243" y="99"/>
                </a:cubicBezTo>
                <a:cubicBezTo>
                  <a:pt x="243" y="99"/>
                  <a:pt x="243" y="99"/>
                  <a:pt x="243" y="99"/>
                </a:cubicBezTo>
                <a:cubicBezTo>
                  <a:pt x="241" y="97"/>
                  <a:pt x="241" y="97"/>
                  <a:pt x="241" y="97"/>
                </a:cubicBezTo>
                <a:cubicBezTo>
                  <a:pt x="240" y="97"/>
                  <a:pt x="240" y="97"/>
                  <a:pt x="240" y="97"/>
                </a:cubicBezTo>
                <a:cubicBezTo>
                  <a:pt x="241" y="96"/>
                  <a:pt x="241" y="96"/>
                  <a:pt x="241" y="96"/>
                </a:cubicBezTo>
                <a:cubicBezTo>
                  <a:pt x="240" y="94"/>
                  <a:pt x="240" y="94"/>
                  <a:pt x="240" y="94"/>
                </a:cubicBezTo>
                <a:cubicBezTo>
                  <a:pt x="241" y="93"/>
                  <a:pt x="241" y="93"/>
                  <a:pt x="241" y="93"/>
                </a:cubicBezTo>
                <a:cubicBezTo>
                  <a:pt x="241" y="91"/>
                  <a:pt x="241" y="91"/>
                  <a:pt x="241" y="91"/>
                </a:cubicBezTo>
                <a:cubicBezTo>
                  <a:pt x="241" y="90"/>
                  <a:pt x="241" y="90"/>
                  <a:pt x="241" y="90"/>
                </a:cubicBezTo>
                <a:cubicBezTo>
                  <a:pt x="241" y="89"/>
                  <a:pt x="241" y="89"/>
                  <a:pt x="241" y="89"/>
                </a:cubicBezTo>
                <a:cubicBezTo>
                  <a:pt x="240" y="88"/>
                  <a:pt x="240" y="88"/>
                  <a:pt x="240" y="88"/>
                </a:cubicBezTo>
                <a:cubicBezTo>
                  <a:pt x="240" y="89"/>
                  <a:pt x="240" y="89"/>
                  <a:pt x="240" y="89"/>
                </a:cubicBezTo>
                <a:cubicBezTo>
                  <a:pt x="240" y="89"/>
                  <a:pt x="240" y="89"/>
                  <a:pt x="240" y="89"/>
                </a:cubicBezTo>
                <a:cubicBezTo>
                  <a:pt x="240" y="90"/>
                  <a:pt x="240" y="90"/>
                  <a:pt x="240" y="90"/>
                </a:cubicBezTo>
                <a:cubicBezTo>
                  <a:pt x="237" y="87"/>
                  <a:pt x="237" y="87"/>
                  <a:pt x="237" y="87"/>
                </a:cubicBezTo>
                <a:cubicBezTo>
                  <a:pt x="237" y="86"/>
                  <a:pt x="237" y="86"/>
                  <a:pt x="237" y="86"/>
                </a:cubicBezTo>
                <a:cubicBezTo>
                  <a:pt x="236" y="86"/>
                  <a:pt x="236" y="86"/>
                  <a:pt x="236" y="86"/>
                </a:cubicBezTo>
                <a:cubicBezTo>
                  <a:pt x="236" y="87"/>
                  <a:pt x="236" y="87"/>
                  <a:pt x="236" y="87"/>
                </a:cubicBezTo>
                <a:cubicBezTo>
                  <a:pt x="236" y="88"/>
                  <a:pt x="236" y="88"/>
                  <a:pt x="236" y="88"/>
                </a:cubicBezTo>
                <a:cubicBezTo>
                  <a:pt x="236" y="90"/>
                  <a:pt x="236" y="90"/>
                  <a:pt x="236" y="90"/>
                </a:cubicBezTo>
                <a:cubicBezTo>
                  <a:pt x="235" y="88"/>
                  <a:pt x="235" y="88"/>
                  <a:pt x="235" y="88"/>
                </a:cubicBezTo>
                <a:cubicBezTo>
                  <a:pt x="234" y="89"/>
                  <a:pt x="234" y="89"/>
                  <a:pt x="234" y="89"/>
                </a:cubicBezTo>
                <a:cubicBezTo>
                  <a:pt x="234" y="88"/>
                  <a:pt x="234" y="88"/>
                  <a:pt x="234" y="88"/>
                </a:cubicBezTo>
                <a:cubicBezTo>
                  <a:pt x="234" y="87"/>
                  <a:pt x="234" y="87"/>
                  <a:pt x="234" y="87"/>
                </a:cubicBezTo>
                <a:cubicBezTo>
                  <a:pt x="234" y="83"/>
                  <a:pt x="234" y="83"/>
                  <a:pt x="234" y="83"/>
                </a:cubicBezTo>
                <a:cubicBezTo>
                  <a:pt x="234" y="83"/>
                  <a:pt x="234" y="83"/>
                  <a:pt x="234" y="83"/>
                </a:cubicBezTo>
                <a:cubicBezTo>
                  <a:pt x="234" y="82"/>
                  <a:pt x="234" y="82"/>
                  <a:pt x="234" y="82"/>
                </a:cubicBezTo>
                <a:cubicBezTo>
                  <a:pt x="233" y="81"/>
                  <a:pt x="233" y="81"/>
                  <a:pt x="233" y="81"/>
                </a:cubicBezTo>
                <a:cubicBezTo>
                  <a:pt x="233" y="80"/>
                  <a:pt x="233" y="80"/>
                  <a:pt x="233" y="80"/>
                </a:cubicBezTo>
                <a:cubicBezTo>
                  <a:pt x="232" y="80"/>
                  <a:pt x="232" y="80"/>
                  <a:pt x="232" y="80"/>
                </a:cubicBezTo>
                <a:cubicBezTo>
                  <a:pt x="233" y="79"/>
                  <a:pt x="233" y="79"/>
                  <a:pt x="233" y="79"/>
                </a:cubicBezTo>
                <a:cubicBezTo>
                  <a:pt x="231" y="77"/>
                  <a:pt x="231" y="77"/>
                  <a:pt x="231" y="77"/>
                </a:cubicBezTo>
                <a:cubicBezTo>
                  <a:pt x="230" y="76"/>
                  <a:pt x="230" y="76"/>
                  <a:pt x="230" y="76"/>
                </a:cubicBezTo>
                <a:cubicBezTo>
                  <a:pt x="230" y="74"/>
                  <a:pt x="230" y="74"/>
                  <a:pt x="230" y="74"/>
                </a:cubicBezTo>
                <a:cubicBezTo>
                  <a:pt x="231" y="74"/>
                  <a:pt x="231" y="74"/>
                  <a:pt x="231" y="74"/>
                </a:cubicBezTo>
                <a:cubicBezTo>
                  <a:pt x="231" y="73"/>
                  <a:pt x="231" y="73"/>
                  <a:pt x="231" y="73"/>
                </a:cubicBezTo>
                <a:cubicBezTo>
                  <a:pt x="230" y="71"/>
                  <a:pt x="230" y="71"/>
                  <a:pt x="230" y="71"/>
                </a:cubicBezTo>
                <a:cubicBezTo>
                  <a:pt x="230" y="72"/>
                  <a:pt x="230" y="72"/>
                  <a:pt x="230" y="72"/>
                </a:cubicBezTo>
                <a:cubicBezTo>
                  <a:pt x="228" y="71"/>
                  <a:pt x="228" y="71"/>
                  <a:pt x="228" y="71"/>
                </a:cubicBezTo>
                <a:cubicBezTo>
                  <a:pt x="227" y="70"/>
                  <a:pt x="227" y="70"/>
                  <a:pt x="227" y="70"/>
                </a:cubicBezTo>
                <a:cubicBezTo>
                  <a:pt x="226" y="70"/>
                  <a:pt x="226" y="70"/>
                  <a:pt x="226" y="70"/>
                </a:cubicBezTo>
                <a:cubicBezTo>
                  <a:pt x="225" y="69"/>
                  <a:pt x="225" y="69"/>
                  <a:pt x="225" y="69"/>
                </a:cubicBezTo>
                <a:cubicBezTo>
                  <a:pt x="224" y="69"/>
                  <a:pt x="224" y="69"/>
                  <a:pt x="224" y="69"/>
                </a:cubicBezTo>
                <a:cubicBezTo>
                  <a:pt x="224" y="69"/>
                  <a:pt x="224" y="69"/>
                  <a:pt x="224" y="69"/>
                </a:cubicBezTo>
                <a:cubicBezTo>
                  <a:pt x="223" y="68"/>
                  <a:pt x="223" y="68"/>
                  <a:pt x="223" y="68"/>
                </a:cubicBezTo>
                <a:cubicBezTo>
                  <a:pt x="222" y="69"/>
                  <a:pt x="222" y="69"/>
                  <a:pt x="222" y="69"/>
                </a:cubicBezTo>
                <a:cubicBezTo>
                  <a:pt x="222" y="68"/>
                  <a:pt x="222" y="68"/>
                  <a:pt x="222" y="68"/>
                </a:cubicBezTo>
                <a:cubicBezTo>
                  <a:pt x="224" y="67"/>
                  <a:pt x="224" y="67"/>
                  <a:pt x="224" y="67"/>
                </a:cubicBezTo>
                <a:cubicBezTo>
                  <a:pt x="224" y="67"/>
                  <a:pt x="224" y="67"/>
                  <a:pt x="224" y="67"/>
                </a:cubicBezTo>
                <a:cubicBezTo>
                  <a:pt x="223" y="66"/>
                  <a:pt x="223" y="66"/>
                  <a:pt x="223" y="66"/>
                </a:cubicBezTo>
                <a:cubicBezTo>
                  <a:pt x="222" y="66"/>
                  <a:pt x="222" y="66"/>
                  <a:pt x="222" y="66"/>
                </a:cubicBezTo>
                <a:cubicBezTo>
                  <a:pt x="221" y="66"/>
                  <a:pt x="221" y="66"/>
                  <a:pt x="221" y="66"/>
                </a:cubicBezTo>
                <a:cubicBezTo>
                  <a:pt x="221" y="65"/>
                  <a:pt x="221" y="65"/>
                  <a:pt x="221" y="65"/>
                </a:cubicBezTo>
                <a:cubicBezTo>
                  <a:pt x="220" y="65"/>
                  <a:pt x="220" y="65"/>
                  <a:pt x="220" y="65"/>
                </a:cubicBezTo>
                <a:cubicBezTo>
                  <a:pt x="217" y="64"/>
                  <a:pt x="217" y="64"/>
                  <a:pt x="217" y="64"/>
                </a:cubicBezTo>
                <a:cubicBezTo>
                  <a:pt x="216" y="61"/>
                  <a:pt x="216" y="61"/>
                  <a:pt x="216" y="61"/>
                </a:cubicBezTo>
                <a:cubicBezTo>
                  <a:pt x="216" y="59"/>
                  <a:pt x="216" y="59"/>
                  <a:pt x="216" y="59"/>
                </a:cubicBezTo>
                <a:cubicBezTo>
                  <a:pt x="215" y="58"/>
                  <a:pt x="215" y="58"/>
                  <a:pt x="215" y="58"/>
                </a:cubicBezTo>
                <a:cubicBezTo>
                  <a:pt x="215" y="56"/>
                  <a:pt x="215" y="56"/>
                  <a:pt x="215" y="56"/>
                </a:cubicBezTo>
                <a:cubicBezTo>
                  <a:pt x="216" y="56"/>
                  <a:pt x="216" y="56"/>
                  <a:pt x="216" y="56"/>
                </a:cubicBezTo>
                <a:cubicBezTo>
                  <a:pt x="216" y="54"/>
                  <a:pt x="216" y="54"/>
                  <a:pt x="216" y="54"/>
                </a:cubicBezTo>
                <a:cubicBezTo>
                  <a:pt x="216" y="50"/>
                  <a:pt x="216" y="50"/>
                  <a:pt x="216" y="50"/>
                </a:cubicBezTo>
                <a:cubicBezTo>
                  <a:pt x="215" y="49"/>
                  <a:pt x="215" y="49"/>
                  <a:pt x="215" y="49"/>
                </a:cubicBezTo>
                <a:cubicBezTo>
                  <a:pt x="216" y="49"/>
                  <a:pt x="216" y="49"/>
                  <a:pt x="216" y="49"/>
                </a:cubicBezTo>
                <a:cubicBezTo>
                  <a:pt x="215" y="48"/>
                  <a:pt x="215" y="48"/>
                  <a:pt x="215" y="48"/>
                </a:cubicBezTo>
                <a:cubicBezTo>
                  <a:pt x="214" y="48"/>
                  <a:pt x="214" y="48"/>
                  <a:pt x="214" y="48"/>
                </a:cubicBezTo>
                <a:cubicBezTo>
                  <a:pt x="213" y="45"/>
                  <a:pt x="213" y="45"/>
                  <a:pt x="213" y="45"/>
                </a:cubicBezTo>
                <a:cubicBezTo>
                  <a:pt x="213" y="42"/>
                  <a:pt x="213" y="42"/>
                  <a:pt x="213" y="42"/>
                </a:cubicBezTo>
                <a:cubicBezTo>
                  <a:pt x="213" y="42"/>
                  <a:pt x="213" y="42"/>
                  <a:pt x="213" y="42"/>
                </a:cubicBezTo>
                <a:cubicBezTo>
                  <a:pt x="213" y="41"/>
                  <a:pt x="213" y="41"/>
                  <a:pt x="213" y="41"/>
                </a:cubicBezTo>
                <a:cubicBezTo>
                  <a:pt x="213" y="40"/>
                  <a:pt x="213" y="40"/>
                  <a:pt x="213" y="40"/>
                </a:cubicBezTo>
                <a:cubicBezTo>
                  <a:pt x="212" y="37"/>
                  <a:pt x="212" y="37"/>
                  <a:pt x="212" y="37"/>
                </a:cubicBezTo>
                <a:cubicBezTo>
                  <a:pt x="213" y="36"/>
                  <a:pt x="213" y="36"/>
                  <a:pt x="213" y="36"/>
                </a:cubicBezTo>
                <a:cubicBezTo>
                  <a:pt x="212" y="34"/>
                  <a:pt x="212" y="34"/>
                  <a:pt x="212" y="34"/>
                </a:cubicBezTo>
                <a:cubicBezTo>
                  <a:pt x="213" y="34"/>
                  <a:pt x="213" y="34"/>
                  <a:pt x="213" y="34"/>
                </a:cubicBezTo>
                <a:cubicBezTo>
                  <a:pt x="213" y="33"/>
                  <a:pt x="213" y="33"/>
                  <a:pt x="213" y="33"/>
                </a:cubicBezTo>
                <a:cubicBezTo>
                  <a:pt x="211" y="31"/>
                  <a:pt x="211" y="31"/>
                  <a:pt x="211" y="31"/>
                </a:cubicBezTo>
                <a:cubicBezTo>
                  <a:pt x="209" y="30"/>
                  <a:pt x="209" y="30"/>
                  <a:pt x="209" y="30"/>
                </a:cubicBezTo>
                <a:cubicBezTo>
                  <a:pt x="210" y="30"/>
                  <a:pt x="210" y="30"/>
                  <a:pt x="210" y="30"/>
                </a:cubicBezTo>
                <a:cubicBezTo>
                  <a:pt x="208" y="28"/>
                  <a:pt x="208" y="28"/>
                  <a:pt x="208" y="28"/>
                </a:cubicBezTo>
                <a:cubicBezTo>
                  <a:pt x="207" y="29"/>
                  <a:pt x="207" y="29"/>
                  <a:pt x="207" y="29"/>
                </a:cubicBezTo>
                <a:cubicBezTo>
                  <a:pt x="206" y="29"/>
                  <a:pt x="206" y="29"/>
                  <a:pt x="206" y="29"/>
                </a:cubicBezTo>
                <a:cubicBezTo>
                  <a:pt x="206" y="30"/>
                  <a:pt x="206" y="30"/>
                  <a:pt x="206" y="30"/>
                </a:cubicBezTo>
                <a:cubicBezTo>
                  <a:pt x="205" y="30"/>
                  <a:pt x="205" y="30"/>
                  <a:pt x="205" y="30"/>
                </a:cubicBezTo>
                <a:cubicBezTo>
                  <a:pt x="203" y="28"/>
                  <a:pt x="203" y="28"/>
                  <a:pt x="203" y="28"/>
                </a:cubicBezTo>
                <a:cubicBezTo>
                  <a:pt x="203" y="27"/>
                  <a:pt x="203" y="27"/>
                  <a:pt x="203" y="27"/>
                </a:cubicBezTo>
                <a:cubicBezTo>
                  <a:pt x="203" y="25"/>
                  <a:pt x="203" y="25"/>
                  <a:pt x="203" y="25"/>
                </a:cubicBezTo>
                <a:cubicBezTo>
                  <a:pt x="203" y="23"/>
                  <a:pt x="203" y="23"/>
                  <a:pt x="203" y="23"/>
                </a:cubicBezTo>
                <a:cubicBezTo>
                  <a:pt x="203" y="20"/>
                  <a:pt x="203" y="20"/>
                  <a:pt x="203" y="20"/>
                </a:cubicBezTo>
                <a:cubicBezTo>
                  <a:pt x="202" y="20"/>
                  <a:pt x="202" y="20"/>
                  <a:pt x="202" y="20"/>
                </a:cubicBezTo>
                <a:cubicBezTo>
                  <a:pt x="202" y="19"/>
                  <a:pt x="202" y="19"/>
                  <a:pt x="202" y="19"/>
                </a:cubicBezTo>
                <a:cubicBezTo>
                  <a:pt x="202" y="18"/>
                  <a:pt x="202" y="18"/>
                  <a:pt x="202" y="18"/>
                </a:cubicBezTo>
                <a:cubicBezTo>
                  <a:pt x="201" y="17"/>
                  <a:pt x="201" y="17"/>
                  <a:pt x="201" y="17"/>
                </a:cubicBezTo>
                <a:cubicBezTo>
                  <a:pt x="201" y="16"/>
                  <a:pt x="201" y="16"/>
                  <a:pt x="201" y="16"/>
                </a:cubicBezTo>
                <a:cubicBezTo>
                  <a:pt x="201" y="15"/>
                  <a:pt x="201" y="15"/>
                  <a:pt x="201" y="15"/>
                </a:cubicBezTo>
                <a:cubicBezTo>
                  <a:pt x="201" y="14"/>
                  <a:pt x="201" y="14"/>
                  <a:pt x="201" y="14"/>
                </a:cubicBezTo>
                <a:cubicBezTo>
                  <a:pt x="202" y="13"/>
                  <a:pt x="202" y="13"/>
                  <a:pt x="202" y="13"/>
                </a:cubicBezTo>
                <a:cubicBezTo>
                  <a:pt x="201" y="12"/>
                  <a:pt x="201" y="12"/>
                  <a:pt x="201" y="12"/>
                </a:cubicBezTo>
                <a:cubicBezTo>
                  <a:pt x="200" y="13"/>
                  <a:pt x="200" y="13"/>
                  <a:pt x="200" y="13"/>
                </a:cubicBezTo>
                <a:cubicBezTo>
                  <a:pt x="199" y="12"/>
                  <a:pt x="199" y="12"/>
                  <a:pt x="199" y="12"/>
                </a:cubicBezTo>
                <a:cubicBezTo>
                  <a:pt x="199" y="9"/>
                  <a:pt x="199" y="9"/>
                  <a:pt x="199" y="9"/>
                </a:cubicBezTo>
                <a:cubicBezTo>
                  <a:pt x="199" y="8"/>
                  <a:pt x="199" y="8"/>
                  <a:pt x="199" y="8"/>
                </a:cubicBezTo>
                <a:cubicBezTo>
                  <a:pt x="199" y="7"/>
                  <a:pt x="199" y="7"/>
                  <a:pt x="199" y="7"/>
                </a:cubicBezTo>
                <a:cubicBezTo>
                  <a:pt x="197" y="6"/>
                  <a:pt x="197" y="6"/>
                  <a:pt x="197" y="6"/>
                </a:cubicBezTo>
                <a:cubicBezTo>
                  <a:pt x="197" y="5"/>
                  <a:pt x="197" y="5"/>
                  <a:pt x="197" y="5"/>
                </a:cubicBezTo>
                <a:cubicBezTo>
                  <a:pt x="196" y="6"/>
                  <a:pt x="196" y="6"/>
                  <a:pt x="196" y="6"/>
                </a:cubicBezTo>
                <a:cubicBezTo>
                  <a:pt x="195" y="7"/>
                  <a:pt x="195" y="7"/>
                  <a:pt x="195" y="7"/>
                </a:cubicBezTo>
                <a:cubicBezTo>
                  <a:pt x="195" y="9"/>
                  <a:pt x="195" y="9"/>
                  <a:pt x="195" y="9"/>
                </a:cubicBezTo>
                <a:cubicBezTo>
                  <a:pt x="194" y="11"/>
                  <a:pt x="194" y="11"/>
                  <a:pt x="194" y="11"/>
                </a:cubicBezTo>
                <a:cubicBezTo>
                  <a:pt x="194" y="12"/>
                  <a:pt x="194" y="12"/>
                  <a:pt x="194" y="12"/>
                </a:cubicBezTo>
                <a:cubicBezTo>
                  <a:pt x="194" y="13"/>
                  <a:pt x="194" y="13"/>
                  <a:pt x="194" y="13"/>
                </a:cubicBezTo>
                <a:cubicBezTo>
                  <a:pt x="193" y="13"/>
                  <a:pt x="193" y="13"/>
                  <a:pt x="193" y="13"/>
                </a:cubicBezTo>
                <a:cubicBezTo>
                  <a:pt x="193" y="15"/>
                  <a:pt x="193" y="15"/>
                  <a:pt x="193" y="15"/>
                </a:cubicBezTo>
                <a:cubicBezTo>
                  <a:pt x="192" y="16"/>
                  <a:pt x="192" y="16"/>
                  <a:pt x="192" y="16"/>
                </a:cubicBezTo>
                <a:cubicBezTo>
                  <a:pt x="192" y="17"/>
                  <a:pt x="192" y="17"/>
                  <a:pt x="192" y="17"/>
                </a:cubicBezTo>
                <a:cubicBezTo>
                  <a:pt x="194" y="18"/>
                  <a:pt x="194" y="18"/>
                  <a:pt x="194" y="18"/>
                </a:cubicBezTo>
                <a:cubicBezTo>
                  <a:pt x="193" y="19"/>
                  <a:pt x="193" y="19"/>
                  <a:pt x="193" y="19"/>
                </a:cubicBezTo>
                <a:cubicBezTo>
                  <a:pt x="192" y="19"/>
                  <a:pt x="192" y="19"/>
                  <a:pt x="192" y="19"/>
                </a:cubicBezTo>
                <a:cubicBezTo>
                  <a:pt x="192" y="20"/>
                  <a:pt x="192" y="20"/>
                  <a:pt x="192" y="20"/>
                </a:cubicBezTo>
                <a:cubicBezTo>
                  <a:pt x="191" y="21"/>
                  <a:pt x="191" y="21"/>
                  <a:pt x="191" y="21"/>
                </a:cubicBezTo>
                <a:cubicBezTo>
                  <a:pt x="192" y="23"/>
                  <a:pt x="192" y="23"/>
                  <a:pt x="192" y="23"/>
                </a:cubicBezTo>
                <a:cubicBezTo>
                  <a:pt x="192" y="24"/>
                  <a:pt x="192" y="24"/>
                  <a:pt x="192" y="24"/>
                </a:cubicBezTo>
                <a:cubicBezTo>
                  <a:pt x="191" y="23"/>
                  <a:pt x="191" y="23"/>
                  <a:pt x="191" y="23"/>
                </a:cubicBezTo>
                <a:cubicBezTo>
                  <a:pt x="190" y="24"/>
                  <a:pt x="190" y="24"/>
                  <a:pt x="190" y="24"/>
                </a:cubicBezTo>
                <a:cubicBezTo>
                  <a:pt x="190" y="27"/>
                  <a:pt x="190" y="27"/>
                  <a:pt x="190" y="27"/>
                </a:cubicBezTo>
                <a:cubicBezTo>
                  <a:pt x="190" y="29"/>
                  <a:pt x="190" y="29"/>
                  <a:pt x="190" y="29"/>
                </a:cubicBezTo>
                <a:cubicBezTo>
                  <a:pt x="190" y="31"/>
                  <a:pt x="190" y="31"/>
                  <a:pt x="190" y="31"/>
                </a:cubicBezTo>
                <a:cubicBezTo>
                  <a:pt x="190" y="33"/>
                  <a:pt x="190" y="33"/>
                  <a:pt x="190" y="33"/>
                </a:cubicBezTo>
                <a:cubicBezTo>
                  <a:pt x="190" y="35"/>
                  <a:pt x="190" y="35"/>
                  <a:pt x="190" y="35"/>
                </a:cubicBezTo>
                <a:cubicBezTo>
                  <a:pt x="189" y="36"/>
                  <a:pt x="189" y="36"/>
                  <a:pt x="189" y="36"/>
                </a:cubicBezTo>
                <a:cubicBezTo>
                  <a:pt x="189" y="37"/>
                  <a:pt x="189" y="37"/>
                  <a:pt x="189" y="37"/>
                </a:cubicBezTo>
                <a:cubicBezTo>
                  <a:pt x="188" y="39"/>
                  <a:pt x="188" y="39"/>
                  <a:pt x="188" y="39"/>
                </a:cubicBezTo>
                <a:cubicBezTo>
                  <a:pt x="188" y="43"/>
                  <a:pt x="188" y="43"/>
                  <a:pt x="188" y="43"/>
                </a:cubicBezTo>
                <a:cubicBezTo>
                  <a:pt x="187" y="44"/>
                  <a:pt x="187" y="44"/>
                  <a:pt x="187" y="44"/>
                </a:cubicBezTo>
                <a:cubicBezTo>
                  <a:pt x="187" y="45"/>
                  <a:pt x="187" y="45"/>
                  <a:pt x="187" y="45"/>
                </a:cubicBezTo>
                <a:cubicBezTo>
                  <a:pt x="186" y="47"/>
                  <a:pt x="186" y="47"/>
                  <a:pt x="186" y="47"/>
                </a:cubicBezTo>
                <a:cubicBezTo>
                  <a:pt x="185" y="48"/>
                  <a:pt x="185" y="48"/>
                  <a:pt x="185" y="48"/>
                </a:cubicBezTo>
                <a:cubicBezTo>
                  <a:pt x="185" y="51"/>
                  <a:pt x="185" y="51"/>
                  <a:pt x="185" y="51"/>
                </a:cubicBezTo>
                <a:cubicBezTo>
                  <a:pt x="183" y="52"/>
                  <a:pt x="183" y="52"/>
                  <a:pt x="183" y="52"/>
                </a:cubicBezTo>
                <a:cubicBezTo>
                  <a:pt x="179" y="54"/>
                  <a:pt x="179" y="54"/>
                  <a:pt x="179" y="54"/>
                </a:cubicBezTo>
                <a:cubicBezTo>
                  <a:pt x="177" y="53"/>
                  <a:pt x="177" y="53"/>
                  <a:pt x="177" y="53"/>
                </a:cubicBezTo>
                <a:cubicBezTo>
                  <a:pt x="176" y="53"/>
                  <a:pt x="176" y="53"/>
                  <a:pt x="176" y="53"/>
                </a:cubicBezTo>
                <a:cubicBezTo>
                  <a:pt x="175" y="51"/>
                  <a:pt x="175" y="51"/>
                  <a:pt x="175" y="51"/>
                </a:cubicBezTo>
                <a:cubicBezTo>
                  <a:pt x="173" y="50"/>
                  <a:pt x="173" y="50"/>
                  <a:pt x="173" y="50"/>
                </a:cubicBezTo>
                <a:cubicBezTo>
                  <a:pt x="173" y="49"/>
                  <a:pt x="173" y="49"/>
                  <a:pt x="173" y="49"/>
                </a:cubicBezTo>
                <a:cubicBezTo>
                  <a:pt x="173" y="49"/>
                  <a:pt x="173" y="49"/>
                  <a:pt x="173" y="49"/>
                </a:cubicBezTo>
                <a:cubicBezTo>
                  <a:pt x="172" y="48"/>
                  <a:pt x="172" y="48"/>
                  <a:pt x="172" y="48"/>
                </a:cubicBezTo>
                <a:cubicBezTo>
                  <a:pt x="171" y="47"/>
                  <a:pt x="171" y="47"/>
                  <a:pt x="171" y="47"/>
                </a:cubicBezTo>
                <a:cubicBezTo>
                  <a:pt x="170" y="47"/>
                  <a:pt x="170" y="47"/>
                  <a:pt x="170" y="47"/>
                </a:cubicBezTo>
                <a:cubicBezTo>
                  <a:pt x="168" y="47"/>
                  <a:pt x="168" y="47"/>
                  <a:pt x="168" y="47"/>
                </a:cubicBezTo>
                <a:cubicBezTo>
                  <a:pt x="166" y="46"/>
                  <a:pt x="166" y="46"/>
                  <a:pt x="166" y="46"/>
                </a:cubicBezTo>
                <a:cubicBezTo>
                  <a:pt x="166" y="44"/>
                  <a:pt x="166" y="44"/>
                  <a:pt x="166" y="44"/>
                </a:cubicBezTo>
                <a:cubicBezTo>
                  <a:pt x="164" y="43"/>
                  <a:pt x="164" y="43"/>
                  <a:pt x="164" y="43"/>
                </a:cubicBezTo>
                <a:cubicBezTo>
                  <a:pt x="163" y="43"/>
                  <a:pt x="163" y="43"/>
                  <a:pt x="163" y="43"/>
                </a:cubicBezTo>
                <a:cubicBezTo>
                  <a:pt x="161" y="42"/>
                  <a:pt x="161" y="42"/>
                  <a:pt x="161" y="42"/>
                </a:cubicBezTo>
                <a:cubicBezTo>
                  <a:pt x="161" y="41"/>
                  <a:pt x="161" y="41"/>
                  <a:pt x="161" y="41"/>
                </a:cubicBezTo>
                <a:cubicBezTo>
                  <a:pt x="160" y="41"/>
                  <a:pt x="160" y="41"/>
                  <a:pt x="160" y="41"/>
                </a:cubicBezTo>
                <a:cubicBezTo>
                  <a:pt x="160" y="40"/>
                  <a:pt x="160" y="40"/>
                  <a:pt x="160" y="40"/>
                </a:cubicBezTo>
                <a:cubicBezTo>
                  <a:pt x="158" y="40"/>
                  <a:pt x="158" y="40"/>
                  <a:pt x="158" y="40"/>
                </a:cubicBezTo>
                <a:cubicBezTo>
                  <a:pt x="157" y="40"/>
                  <a:pt x="157" y="40"/>
                  <a:pt x="157" y="40"/>
                </a:cubicBezTo>
                <a:cubicBezTo>
                  <a:pt x="157" y="39"/>
                  <a:pt x="157" y="39"/>
                  <a:pt x="157" y="39"/>
                </a:cubicBezTo>
                <a:cubicBezTo>
                  <a:pt x="156" y="38"/>
                  <a:pt x="156" y="38"/>
                  <a:pt x="156" y="38"/>
                </a:cubicBezTo>
                <a:cubicBezTo>
                  <a:pt x="156" y="37"/>
                  <a:pt x="156" y="37"/>
                  <a:pt x="156" y="37"/>
                </a:cubicBezTo>
                <a:cubicBezTo>
                  <a:pt x="154" y="35"/>
                  <a:pt x="154" y="35"/>
                  <a:pt x="154" y="35"/>
                </a:cubicBezTo>
                <a:cubicBezTo>
                  <a:pt x="153" y="35"/>
                  <a:pt x="153" y="35"/>
                  <a:pt x="153" y="35"/>
                </a:cubicBezTo>
                <a:cubicBezTo>
                  <a:pt x="152" y="33"/>
                  <a:pt x="152" y="33"/>
                  <a:pt x="152" y="33"/>
                </a:cubicBezTo>
                <a:cubicBezTo>
                  <a:pt x="151" y="32"/>
                  <a:pt x="151" y="32"/>
                  <a:pt x="151" y="32"/>
                </a:cubicBezTo>
                <a:cubicBezTo>
                  <a:pt x="153" y="30"/>
                  <a:pt x="153" y="30"/>
                  <a:pt x="153" y="30"/>
                </a:cubicBezTo>
                <a:cubicBezTo>
                  <a:pt x="153" y="28"/>
                  <a:pt x="153" y="28"/>
                  <a:pt x="153" y="28"/>
                </a:cubicBezTo>
                <a:cubicBezTo>
                  <a:pt x="154" y="28"/>
                  <a:pt x="154" y="28"/>
                  <a:pt x="154" y="28"/>
                </a:cubicBezTo>
                <a:cubicBezTo>
                  <a:pt x="155" y="26"/>
                  <a:pt x="155" y="26"/>
                  <a:pt x="155" y="26"/>
                </a:cubicBezTo>
                <a:cubicBezTo>
                  <a:pt x="155" y="25"/>
                  <a:pt x="155" y="25"/>
                  <a:pt x="155" y="25"/>
                </a:cubicBezTo>
                <a:cubicBezTo>
                  <a:pt x="154" y="26"/>
                  <a:pt x="154" y="26"/>
                  <a:pt x="154" y="26"/>
                </a:cubicBezTo>
                <a:cubicBezTo>
                  <a:pt x="153" y="24"/>
                  <a:pt x="153" y="24"/>
                  <a:pt x="153" y="24"/>
                </a:cubicBezTo>
                <a:cubicBezTo>
                  <a:pt x="154" y="23"/>
                  <a:pt x="154" y="23"/>
                  <a:pt x="154" y="23"/>
                </a:cubicBezTo>
                <a:cubicBezTo>
                  <a:pt x="154" y="22"/>
                  <a:pt x="154" y="22"/>
                  <a:pt x="154" y="22"/>
                </a:cubicBezTo>
                <a:cubicBezTo>
                  <a:pt x="155" y="22"/>
                  <a:pt x="155" y="22"/>
                  <a:pt x="155" y="22"/>
                </a:cubicBezTo>
                <a:cubicBezTo>
                  <a:pt x="156" y="21"/>
                  <a:pt x="156" y="21"/>
                  <a:pt x="156" y="21"/>
                </a:cubicBezTo>
                <a:cubicBezTo>
                  <a:pt x="156" y="22"/>
                  <a:pt x="156" y="22"/>
                  <a:pt x="156" y="22"/>
                </a:cubicBezTo>
                <a:cubicBezTo>
                  <a:pt x="157" y="22"/>
                  <a:pt x="157" y="22"/>
                  <a:pt x="157" y="22"/>
                </a:cubicBezTo>
                <a:cubicBezTo>
                  <a:pt x="159" y="21"/>
                  <a:pt x="159" y="21"/>
                  <a:pt x="159" y="21"/>
                </a:cubicBezTo>
                <a:cubicBezTo>
                  <a:pt x="159" y="20"/>
                  <a:pt x="159" y="20"/>
                  <a:pt x="159" y="20"/>
                </a:cubicBezTo>
                <a:cubicBezTo>
                  <a:pt x="158" y="19"/>
                  <a:pt x="158" y="19"/>
                  <a:pt x="158" y="19"/>
                </a:cubicBezTo>
                <a:cubicBezTo>
                  <a:pt x="159" y="18"/>
                  <a:pt x="159" y="18"/>
                  <a:pt x="159" y="18"/>
                </a:cubicBezTo>
                <a:cubicBezTo>
                  <a:pt x="160" y="19"/>
                  <a:pt x="160" y="19"/>
                  <a:pt x="160" y="19"/>
                </a:cubicBezTo>
                <a:cubicBezTo>
                  <a:pt x="160" y="16"/>
                  <a:pt x="160" y="16"/>
                  <a:pt x="160" y="16"/>
                </a:cubicBezTo>
                <a:cubicBezTo>
                  <a:pt x="161" y="16"/>
                  <a:pt x="161" y="16"/>
                  <a:pt x="161" y="16"/>
                </a:cubicBezTo>
                <a:cubicBezTo>
                  <a:pt x="162" y="15"/>
                  <a:pt x="162" y="15"/>
                  <a:pt x="162" y="15"/>
                </a:cubicBezTo>
                <a:cubicBezTo>
                  <a:pt x="162" y="14"/>
                  <a:pt x="162" y="14"/>
                  <a:pt x="162" y="14"/>
                </a:cubicBezTo>
                <a:cubicBezTo>
                  <a:pt x="161" y="14"/>
                  <a:pt x="161" y="14"/>
                  <a:pt x="161" y="14"/>
                </a:cubicBezTo>
                <a:cubicBezTo>
                  <a:pt x="160" y="15"/>
                  <a:pt x="160" y="15"/>
                  <a:pt x="160" y="15"/>
                </a:cubicBezTo>
                <a:cubicBezTo>
                  <a:pt x="159" y="14"/>
                  <a:pt x="159" y="14"/>
                  <a:pt x="159" y="14"/>
                </a:cubicBezTo>
                <a:cubicBezTo>
                  <a:pt x="159" y="12"/>
                  <a:pt x="159" y="12"/>
                  <a:pt x="159" y="12"/>
                </a:cubicBezTo>
                <a:cubicBezTo>
                  <a:pt x="158" y="13"/>
                  <a:pt x="158" y="13"/>
                  <a:pt x="158" y="13"/>
                </a:cubicBezTo>
                <a:cubicBezTo>
                  <a:pt x="156" y="14"/>
                  <a:pt x="156" y="14"/>
                  <a:pt x="156" y="14"/>
                </a:cubicBezTo>
                <a:cubicBezTo>
                  <a:pt x="157" y="15"/>
                  <a:pt x="157" y="15"/>
                  <a:pt x="157" y="15"/>
                </a:cubicBezTo>
                <a:cubicBezTo>
                  <a:pt x="157" y="16"/>
                  <a:pt x="157" y="16"/>
                  <a:pt x="157" y="16"/>
                </a:cubicBezTo>
                <a:cubicBezTo>
                  <a:pt x="156" y="16"/>
                  <a:pt x="156" y="16"/>
                  <a:pt x="156" y="16"/>
                </a:cubicBezTo>
                <a:cubicBezTo>
                  <a:pt x="155" y="15"/>
                  <a:pt x="155" y="15"/>
                  <a:pt x="155" y="15"/>
                </a:cubicBezTo>
                <a:cubicBezTo>
                  <a:pt x="155" y="15"/>
                  <a:pt x="155" y="15"/>
                  <a:pt x="155" y="15"/>
                </a:cubicBezTo>
                <a:cubicBezTo>
                  <a:pt x="154" y="14"/>
                  <a:pt x="154" y="14"/>
                  <a:pt x="154" y="14"/>
                </a:cubicBezTo>
                <a:cubicBezTo>
                  <a:pt x="154" y="15"/>
                  <a:pt x="154" y="15"/>
                  <a:pt x="154" y="15"/>
                </a:cubicBezTo>
                <a:cubicBezTo>
                  <a:pt x="153" y="15"/>
                  <a:pt x="153" y="15"/>
                  <a:pt x="153" y="15"/>
                </a:cubicBezTo>
                <a:cubicBezTo>
                  <a:pt x="153" y="14"/>
                  <a:pt x="153" y="14"/>
                  <a:pt x="153" y="14"/>
                </a:cubicBezTo>
                <a:cubicBezTo>
                  <a:pt x="154" y="13"/>
                  <a:pt x="154" y="13"/>
                  <a:pt x="154" y="13"/>
                </a:cubicBezTo>
                <a:cubicBezTo>
                  <a:pt x="154" y="13"/>
                  <a:pt x="154" y="13"/>
                  <a:pt x="154" y="13"/>
                </a:cubicBezTo>
                <a:cubicBezTo>
                  <a:pt x="153" y="13"/>
                  <a:pt x="153" y="13"/>
                  <a:pt x="153" y="13"/>
                </a:cubicBezTo>
                <a:cubicBezTo>
                  <a:pt x="153" y="14"/>
                  <a:pt x="153" y="14"/>
                  <a:pt x="153" y="14"/>
                </a:cubicBezTo>
                <a:cubicBezTo>
                  <a:pt x="151" y="14"/>
                  <a:pt x="151" y="14"/>
                  <a:pt x="151" y="14"/>
                </a:cubicBezTo>
                <a:cubicBezTo>
                  <a:pt x="151" y="15"/>
                  <a:pt x="151" y="15"/>
                  <a:pt x="151" y="15"/>
                </a:cubicBezTo>
                <a:cubicBezTo>
                  <a:pt x="150" y="15"/>
                  <a:pt x="150" y="15"/>
                  <a:pt x="150" y="15"/>
                </a:cubicBezTo>
                <a:cubicBezTo>
                  <a:pt x="150" y="15"/>
                  <a:pt x="150" y="15"/>
                  <a:pt x="150" y="15"/>
                </a:cubicBezTo>
                <a:cubicBezTo>
                  <a:pt x="149" y="14"/>
                  <a:pt x="149" y="14"/>
                  <a:pt x="149" y="14"/>
                </a:cubicBezTo>
                <a:cubicBezTo>
                  <a:pt x="149" y="14"/>
                  <a:pt x="149" y="14"/>
                  <a:pt x="149" y="14"/>
                </a:cubicBezTo>
                <a:cubicBezTo>
                  <a:pt x="148" y="13"/>
                  <a:pt x="148" y="13"/>
                  <a:pt x="148" y="13"/>
                </a:cubicBezTo>
                <a:cubicBezTo>
                  <a:pt x="147" y="12"/>
                  <a:pt x="147" y="12"/>
                  <a:pt x="147" y="12"/>
                </a:cubicBezTo>
                <a:cubicBezTo>
                  <a:pt x="146" y="13"/>
                  <a:pt x="146" y="13"/>
                  <a:pt x="146" y="13"/>
                </a:cubicBezTo>
                <a:cubicBezTo>
                  <a:pt x="145" y="13"/>
                  <a:pt x="145" y="13"/>
                  <a:pt x="145" y="13"/>
                </a:cubicBezTo>
                <a:cubicBezTo>
                  <a:pt x="144" y="13"/>
                  <a:pt x="144" y="13"/>
                  <a:pt x="144" y="13"/>
                </a:cubicBezTo>
                <a:cubicBezTo>
                  <a:pt x="144" y="12"/>
                  <a:pt x="144" y="12"/>
                  <a:pt x="144" y="12"/>
                </a:cubicBezTo>
                <a:cubicBezTo>
                  <a:pt x="143" y="12"/>
                  <a:pt x="143" y="12"/>
                  <a:pt x="143" y="12"/>
                </a:cubicBezTo>
                <a:cubicBezTo>
                  <a:pt x="142" y="11"/>
                  <a:pt x="142" y="11"/>
                  <a:pt x="142" y="11"/>
                </a:cubicBezTo>
                <a:cubicBezTo>
                  <a:pt x="141" y="12"/>
                  <a:pt x="141" y="12"/>
                  <a:pt x="141" y="12"/>
                </a:cubicBezTo>
                <a:cubicBezTo>
                  <a:pt x="139" y="11"/>
                  <a:pt x="139" y="11"/>
                  <a:pt x="139" y="11"/>
                </a:cubicBezTo>
                <a:cubicBezTo>
                  <a:pt x="138" y="11"/>
                  <a:pt x="138" y="11"/>
                  <a:pt x="138" y="11"/>
                </a:cubicBezTo>
                <a:cubicBezTo>
                  <a:pt x="138" y="10"/>
                  <a:pt x="138" y="10"/>
                  <a:pt x="138" y="10"/>
                </a:cubicBezTo>
                <a:cubicBezTo>
                  <a:pt x="137" y="9"/>
                  <a:pt x="137" y="9"/>
                  <a:pt x="137" y="9"/>
                </a:cubicBezTo>
                <a:cubicBezTo>
                  <a:pt x="137" y="9"/>
                  <a:pt x="137" y="9"/>
                  <a:pt x="137" y="9"/>
                </a:cubicBezTo>
                <a:cubicBezTo>
                  <a:pt x="137" y="9"/>
                  <a:pt x="137" y="9"/>
                  <a:pt x="137" y="9"/>
                </a:cubicBezTo>
                <a:cubicBezTo>
                  <a:pt x="135" y="10"/>
                  <a:pt x="135" y="10"/>
                  <a:pt x="135" y="10"/>
                </a:cubicBezTo>
                <a:cubicBezTo>
                  <a:pt x="134" y="9"/>
                  <a:pt x="134" y="9"/>
                  <a:pt x="134" y="9"/>
                </a:cubicBezTo>
                <a:cubicBezTo>
                  <a:pt x="133" y="8"/>
                  <a:pt x="133" y="8"/>
                  <a:pt x="133" y="8"/>
                </a:cubicBezTo>
                <a:cubicBezTo>
                  <a:pt x="132" y="7"/>
                  <a:pt x="132" y="7"/>
                  <a:pt x="132" y="7"/>
                </a:cubicBezTo>
                <a:cubicBezTo>
                  <a:pt x="131" y="8"/>
                  <a:pt x="131" y="8"/>
                  <a:pt x="131" y="8"/>
                </a:cubicBezTo>
                <a:cubicBezTo>
                  <a:pt x="131" y="7"/>
                  <a:pt x="131" y="7"/>
                  <a:pt x="131" y="7"/>
                </a:cubicBezTo>
                <a:cubicBezTo>
                  <a:pt x="129" y="8"/>
                  <a:pt x="129" y="8"/>
                  <a:pt x="129" y="8"/>
                </a:cubicBezTo>
                <a:cubicBezTo>
                  <a:pt x="131" y="9"/>
                  <a:pt x="131" y="9"/>
                  <a:pt x="131" y="9"/>
                </a:cubicBezTo>
                <a:cubicBezTo>
                  <a:pt x="130" y="9"/>
                  <a:pt x="130" y="9"/>
                  <a:pt x="130" y="9"/>
                </a:cubicBezTo>
                <a:cubicBezTo>
                  <a:pt x="132" y="10"/>
                  <a:pt x="132" y="10"/>
                  <a:pt x="132" y="10"/>
                </a:cubicBezTo>
                <a:cubicBezTo>
                  <a:pt x="133" y="9"/>
                  <a:pt x="133" y="9"/>
                  <a:pt x="133" y="9"/>
                </a:cubicBezTo>
                <a:cubicBezTo>
                  <a:pt x="134" y="11"/>
                  <a:pt x="134" y="11"/>
                  <a:pt x="134" y="11"/>
                </a:cubicBezTo>
                <a:cubicBezTo>
                  <a:pt x="134" y="11"/>
                  <a:pt x="134" y="11"/>
                  <a:pt x="134" y="11"/>
                </a:cubicBezTo>
                <a:cubicBezTo>
                  <a:pt x="135" y="13"/>
                  <a:pt x="135" y="13"/>
                  <a:pt x="135" y="13"/>
                </a:cubicBezTo>
                <a:cubicBezTo>
                  <a:pt x="133" y="14"/>
                  <a:pt x="133" y="14"/>
                  <a:pt x="133" y="14"/>
                </a:cubicBezTo>
                <a:cubicBezTo>
                  <a:pt x="133" y="15"/>
                  <a:pt x="133" y="15"/>
                  <a:pt x="133" y="15"/>
                </a:cubicBezTo>
                <a:cubicBezTo>
                  <a:pt x="132" y="14"/>
                  <a:pt x="132" y="14"/>
                  <a:pt x="132" y="14"/>
                </a:cubicBezTo>
                <a:cubicBezTo>
                  <a:pt x="131" y="14"/>
                  <a:pt x="131" y="14"/>
                  <a:pt x="131" y="14"/>
                </a:cubicBezTo>
                <a:cubicBezTo>
                  <a:pt x="130" y="14"/>
                  <a:pt x="130" y="14"/>
                  <a:pt x="130" y="14"/>
                </a:cubicBezTo>
                <a:cubicBezTo>
                  <a:pt x="127" y="15"/>
                  <a:pt x="127" y="15"/>
                  <a:pt x="127" y="15"/>
                </a:cubicBezTo>
                <a:cubicBezTo>
                  <a:pt x="125" y="13"/>
                  <a:pt x="125" y="13"/>
                  <a:pt x="125" y="13"/>
                </a:cubicBezTo>
                <a:cubicBezTo>
                  <a:pt x="125" y="14"/>
                  <a:pt x="125" y="14"/>
                  <a:pt x="125" y="14"/>
                </a:cubicBezTo>
                <a:cubicBezTo>
                  <a:pt x="124" y="15"/>
                  <a:pt x="124" y="15"/>
                  <a:pt x="124" y="15"/>
                </a:cubicBezTo>
                <a:cubicBezTo>
                  <a:pt x="124" y="16"/>
                  <a:pt x="124" y="16"/>
                  <a:pt x="124" y="16"/>
                </a:cubicBezTo>
                <a:cubicBezTo>
                  <a:pt x="123" y="15"/>
                  <a:pt x="123" y="15"/>
                  <a:pt x="123" y="15"/>
                </a:cubicBezTo>
                <a:cubicBezTo>
                  <a:pt x="123" y="17"/>
                  <a:pt x="123" y="17"/>
                  <a:pt x="123" y="17"/>
                </a:cubicBezTo>
                <a:cubicBezTo>
                  <a:pt x="123" y="17"/>
                  <a:pt x="123" y="17"/>
                  <a:pt x="123" y="17"/>
                </a:cubicBezTo>
                <a:cubicBezTo>
                  <a:pt x="121" y="16"/>
                  <a:pt x="121" y="16"/>
                  <a:pt x="121" y="16"/>
                </a:cubicBezTo>
                <a:cubicBezTo>
                  <a:pt x="121" y="17"/>
                  <a:pt x="121" y="17"/>
                  <a:pt x="121" y="17"/>
                </a:cubicBezTo>
                <a:cubicBezTo>
                  <a:pt x="121" y="18"/>
                  <a:pt x="121" y="18"/>
                  <a:pt x="121" y="18"/>
                </a:cubicBezTo>
                <a:cubicBezTo>
                  <a:pt x="121" y="18"/>
                  <a:pt x="121" y="18"/>
                  <a:pt x="121" y="18"/>
                </a:cubicBezTo>
                <a:cubicBezTo>
                  <a:pt x="120" y="18"/>
                  <a:pt x="120" y="18"/>
                  <a:pt x="120" y="18"/>
                </a:cubicBezTo>
                <a:cubicBezTo>
                  <a:pt x="119" y="19"/>
                  <a:pt x="119" y="19"/>
                  <a:pt x="119" y="19"/>
                </a:cubicBezTo>
                <a:cubicBezTo>
                  <a:pt x="119" y="19"/>
                  <a:pt x="119" y="19"/>
                  <a:pt x="119" y="19"/>
                </a:cubicBezTo>
                <a:cubicBezTo>
                  <a:pt x="119" y="20"/>
                  <a:pt x="119" y="20"/>
                  <a:pt x="119" y="20"/>
                </a:cubicBezTo>
                <a:cubicBezTo>
                  <a:pt x="118" y="20"/>
                  <a:pt x="118" y="20"/>
                  <a:pt x="118" y="20"/>
                </a:cubicBezTo>
                <a:cubicBezTo>
                  <a:pt x="118" y="21"/>
                  <a:pt x="118" y="21"/>
                  <a:pt x="118" y="21"/>
                </a:cubicBezTo>
                <a:cubicBezTo>
                  <a:pt x="119" y="22"/>
                  <a:pt x="119" y="22"/>
                  <a:pt x="119" y="22"/>
                </a:cubicBezTo>
                <a:cubicBezTo>
                  <a:pt x="119" y="23"/>
                  <a:pt x="119" y="23"/>
                  <a:pt x="119" y="23"/>
                </a:cubicBezTo>
                <a:cubicBezTo>
                  <a:pt x="118" y="22"/>
                  <a:pt x="118" y="22"/>
                  <a:pt x="118" y="22"/>
                </a:cubicBezTo>
                <a:cubicBezTo>
                  <a:pt x="117" y="23"/>
                  <a:pt x="117" y="23"/>
                  <a:pt x="117" y="23"/>
                </a:cubicBezTo>
                <a:cubicBezTo>
                  <a:pt x="116" y="23"/>
                  <a:pt x="116" y="23"/>
                  <a:pt x="116" y="23"/>
                </a:cubicBezTo>
                <a:cubicBezTo>
                  <a:pt x="115" y="25"/>
                  <a:pt x="115" y="25"/>
                  <a:pt x="115" y="25"/>
                </a:cubicBezTo>
                <a:cubicBezTo>
                  <a:pt x="114" y="27"/>
                  <a:pt x="114" y="27"/>
                  <a:pt x="114" y="27"/>
                </a:cubicBezTo>
                <a:cubicBezTo>
                  <a:pt x="113" y="27"/>
                  <a:pt x="113" y="27"/>
                  <a:pt x="113" y="27"/>
                </a:cubicBezTo>
                <a:cubicBezTo>
                  <a:pt x="113" y="28"/>
                  <a:pt x="113" y="28"/>
                  <a:pt x="113" y="28"/>
                </a:cubicBezTo>
                <a:cubicBezTo>
                  <a:pt x="112" y="29"/>
                  <a:pt x="112" y="29"/>
                  <a:pt x="112" y="29"/>
                </a:cubicBezTo>
                <a:cubicBezTo>
                  <a:pt x="113" y="30"/>
                  <a:pt x="113" y="30"/>
                  <a:pt x="113" y="30"/>
                </a:cubicBezTo>
                <a:cubicBezTo>
                  <a:pt x="115" y="30"/>
                  <a:pt x="115" y="30"/>
                  <a:pt x="115" y="30"/>
                </a:cubicBezTo>
                <a:cubicBezTo>
                  <a:pt x="114" y="31"/>
                  <a:pt x="114" y="31"/>
                  <a:pt x="114" y="31"/>
                </a:cubicBezTo>
                <a:cubicBezTo>
                  <a:pt x="113" y="31"/>
                  <a:pt x="113" y="31"/>
                  <a:pt x="113" y="31"/>
                </a:cubicBezTo>
                <a:cubicBezTo>
                  <a:pt x="116" y="32"/>
                  <a:pt x="116" y="32"/>
                  <a:pt x="116" y="32"/>
                </a:cubicBezTo>
                <a:cubicBezTo>
                  <a:pt x="115" y="33"/>
                  <a:pt x="115" y="33"/>
                  <a:pt x="115" y="33"/>
                </a:cubicBezTo>
                <a:cubicBezTo>
                  <a:pt x="113" y="33"/>
                  <a:pt x="113" y="33"/>
                  <a:pt x="113" y="33"/>
                </a:cubicBezTo>
                <a:cubicBezTo>
                  <a:pt x="113" y="32"/>
                  <a:pt x="113" y="32"/>
                  <a:pt x="113" y="32"/>
                </a:cubicBezTo>
                <a:cubicBezTo>
                  <a:pt x="113" y="33"/>
                  <a:pt x="113" y="33"/>
                  <a:pt x="113" y="33"/>
                </a:cubicBezTo>
                <a:cubicBezTo>
                  <a:pt x="114" y="33"/>
                  <a:pt x="114" y="33"/>
                  <a:pt x="114" y="33"/>
                </a:cubicBezTo>
                <a:cubicBezTo>
                  <a:pt x="114" y="35"/>
                  <a:pt x="114" y="35"/>
                  <a:pt x="114" y="35"/>
                </a:cubicBezTo>
                <a:cubicBezTo>
                  <a:pt x="115" y="36"/>
                  <a:pt x="115" y="36"/>
                  <a:pt x="115" y="36"/>
                </a:cubicBezTo>
                <a:cubicBezTo>
                  <a:pt x="113" y="35"/>
                  <a:pt x="113" y="35"/>
                  <a:pt x="113" y="35"/>
                </a:cubicBezTo>
                <a:cubicBezTo>
                  <a:pt x="112" y="33"/>
                  <a:pt x="112" y="33"/>
                  <a:pt x="112" y="33"/>
                </a:cubicBezTo>
                <a:cubicBezTo>
                  <a:pt x="111" y="33"/>
                  <a:pt x="111" y="33"/>
                  <a:pt x="111" y="33"/>
                </a:cubicBezTo>
                <a:cubicBezTo>
                  <a:pt x="111" y="34"/>
                  <a:pt x="111" y="34"/>
                  <a:pt x="111" y="34"/>
                </a:cubicBezTo>
                <a:cubicBezTo>
                  <a:pt x="111" y="35"/>
                  <a:pt x="111" y="35"/>
                  <a:pt x="111" y="35"/>
                </a:cubicBezTo>
                <a:cubicBezTo>
                  <a:pt x="110" y="34"/>
                  <a:pt x="110" y="34"/>
                  <a:pt x="110" y="34"/>
                </a:cubicBezTo>
                <a:cubicBezTo>
                  <a:pt x="108" y="32"/>
                  <a:pt x="108" y="32"/>
                  <a:pt x="108" y="32"/>
                </a:cubicBezTo>
                <a:cubicBezTo>
                  <a:pt x="106" y="32"/>
                  <a:pt x="106" y="32"/>
                  <a:pt x="106" y="32"/>
                </a:cubicBezTo>
                <a:cubicBezTo>
                  <a:pt x="106" y="33"/>
                  <a:pt x="106" y="33"/>
                  <a:pt x="106" y="33"/>
                </a:cubicBezTo>
                <a:cubicBezTo>
                  <a:pt x="106" y="34"/>
                  <a:pt x="106" y="34"/>
                  <a:pt x="106" y="34"/>
                </a:cubicBezTo>
                <a:cubicBezTo>
                  <a:pt x="105" y="33"/>
                  <a:pt x="105" y="33"/>
                  <a:pt x="105" y="33"/>
                </a:cubicBezTo>
                <a:cubicBezTo>
                  <a:pt x="105" y="33"/>
                  <a:pt x="105" y="33"/>
                  <a:pt x="105" y="33"/>
                </a:cubicBezTo>
                <a:cubicBezTo>
                  <a:pt x="104" y="34"/>
                  <a:pt x="104" y="34"/>
                  <a:pt x="104" y="34"/>
                </a:cubicBezTo>
                <a:cubicBezTo>
                  <a:pt x="105" y="35"/>
                  <a:pt x="105" y="35"/>
                  <a:pt x="105" y="35"/>
                </a:cubicBezTo>
                <a:cubicBezTo>
                  <a:pt x="105" y="36"/>
                  <a:pt x="105" y="36"/>
                  <a:pt x="105" y="36"/>
                </a:cubicBezTo>
                <a:cubicBezTo>
                  <a:pt x="105" y="35"/>
                  <a:pt x="105" y="35"/>
                  <a:pt x="105" y="35"/>
                </a:cubicBezTo>
                <a:cubicBezTo>
                  <a:pt x="104" y="35"/>
                  <a:pt x="104" y="35"/>
                  <a:pt x="104" y="35"/>
                </a:cubicBezTo>
                <a:cubicBezTo>
                  <a:pt x="104" y="36"/>
                  <a:pt x="104" y="36"/>
                  <a:pt x="104" y="36"/>
                </a:cubicBezTo>
                <a:cubicBezTo>
                  <a:pt x="103" y="37"/>
                  <a:pt x="103" y="37"/>
                  <a:pt x="103" y="37"/>
                </a:cubicBezTo>
                <a:cubicBezTo>
                  <a:pt x="101" y="37"/>
                  <a:pt x="101" y="37"/>
                  <a:pt x="101" y="37"/>
                </a:cubicBezTo>
                <a:cubicBezTo>
                  <a:pt x="102" y="36"/>
                  <a:pt x="102" y="36"/>
                  <a:pt x="102" y="36"/>
                </a:cubicBezTo>
                <a:cubicBezTo>
                  <a:pt x="103" y="35"/>
                  <a:pt x="103" y="35"/>
                  <a:pt x="103" y="35"/>
                </a:cubicBezTo>
                <a:cubicBezTo>
                  <a:pt x="103" y="33"/>
                  <a:pt x="103" y="33"/>
                  <a:pt x="103" y="33"/>
                </a:cubicBezTo>
                <a:cubicBezTo>
                  <a:pt x="104" y="32"/>
                  <a:pt x="104" y="32"/>
                  <a:pt x="104" y="32"/>
                </a:cubicBezTo>
                <a:cubicBezTo>
                  <a:pt x="104" y="31"/>
                  <a:pt x="104" y="31"/>
                  <a:pt x="104" y="31"/>
                </a:cubicBezTo>
                <a:cubicBezTo>
                  <a:pt x="102" y="31"/>
                  <a:pt x="102" y="31"/>
                  <a:pt x="102" y="31"/>
                </a:cubicBezTo>
                <a:cubicBezTo>
                  <a:pt x="101" y="28"/>
                  <a:pt x="101" y="28"/>
                  <a:pt x="101" y="28"/>
                </a:cubicBezTo>
                <a:cubicBezTo>
                  <a:pt x="100" y="26"/>
                  <a:pt x="100" y="26"/>
                  <a:pt x="100" y="26"/>
                </a:cubicBezTo>
                <a:cubicBezTo>
                  <a:pt x="98" y="26"/>
                  <a:pt x="98" y="26"/>
                  <a:pt x="98" y="26"/>
                </a:cubicBezTo>
                <a:cubicBezTo>
                  <a:pt x="97" y="25"/>
                  <a:pt x="97" y="25"/>
                  <a:pt x="97" y="25"/>
                </a:cubicBezTo>
                <a:cubicBezTo>
                  <a:pt x="96" y="25"/>
                  <a:pt x="96" y="25"/>
                  <a:pt x="96" y="25"/>
                </a:cubicBezTo>
                <a:cubicBezTo>
                  <a:pt x="97" y="26"/>
                  <a:pt x="97" y="26"/>
                  <a:pt x="97" y="26"/>
                </a:cubicBezTo>
                <a:cubicBezTo>
                  <a:pt x="96" y="26"/>
                  <a:pt x="96" y="26"/>
                  <a:pt x="96" y="26"/>
                </a:cubicBezTo>
                <a:cubicBezTo>
                  <a:pt x="95" y="28"/>
                  <a:pt x="95" y="28"/>
                  <a:pt x="95" y="28"/>
                </a:cubicBezTo>
                <a:cubicBezTo>
                  <a:pt x="94" y="27"/>
                  <a:pt x="94" y="27"/>
                  <a:pt x="94" y="27"/>
                </a:cubicBezTo>
                <a:cubicBezTo>
                  <a:pt x="95" y="27"/>
                  <a:pt x="95" y="27"/>
                  <a:pt x="95" y="27"/>
                </a:cubicBezTo>
                <a:cubicBezTo>
                  <a:pt x="93" y="27"/>
                  <a:pt x="93" y="27"/>
                  <a:pt x="93" y="27"/>
                </a:cubicBezTo>
                <a:cubicBezTo>
                  <a:pt x="93" y="28"/>
                  <a:pt x="93" y="28"/>
                  <a:pt x="93" y="28"/>
                </a:cubicBezTo>
                <a:cubicBezTo>
                  <a:pt x="92" y="26"/>
                  <a:pt x="92" y="26"/>
                  <a:pt x="92" y="26"/>
                </a:cubicBezTo>
                <a:cubicBezTo>
                  <a:pt x="92" y="26"/>
                  <a:pt x="92" y="26"/>
                  <a:pt x="92" y="26"/>
                </a:cubicBezTo>
                <a:cubicBezTo>
                  <a:pt x="91" y="27"/>
                  <a:pt x="91" y="27"/>
                  <a:pt x="91" y="27"/>
                </a:cubicBezTo>
                <a:cubicBezTo>
                  <a:pt x="92" y="27"/>
                  <a:pt x="92" y="27"/>
                  <a:pt x="92" y="27"/>
                </a:cubicBezTo>
                <a:cubicBezTo>
                  <a:pt x="91" y="28"/>
                  <a:pt x="91" y="28"/>
                  <a:pt x="91" y="28"/>
                </a:cubicBezTo>
                <a:cubicBezTo>
                  <a:pt x="91" y="30"/>
                  <a:pt x="91" y="30"/>
                  <a:pt x="91" y="30"/>
                </a:cubicBezTo>
                <a:cubicBezTo>
                  <a:pt x="91" y="30"/>
                  <a:pt x="91" y="30"/>
                  <a:pt x="91" y="30"/>
                </a:cubicBezTo>
                <a:cubicBezTo>
                  <a:pt x="90" y="31"/>
                  <a:pt x="90" y="31"/>
                  <a:pt x="90" y="31"/>
                </a:cubicBezTo>
                <a:cubicBezTo>
                  <a:pt x="89" y="30"/>
                  <a:pt x="89" y="30"/>
                  <a:pt x="89" y="30"/>
                </a:cubicBezTo>
                <a:cubicBezTo>
                  <a:pt x="88" y="30"/>
                  <a:pt x="88" y="30"/>
                  <a:pt x="88" y="30"/>
                </a:cubicBezTo>
                <a:cubicBezTo>
                  <a:pt x="88" y="29"/>
                  <a:pt x="88" y="29"/>
                  <a:pt x="88" y="29"/>
                </a:cubicBezTo>
                <a:cubicBezTo>
                  <a:pt x="89" y="28"/>
                  <a:pt x="89" y="28"/>
                  <a:pt x="89" y="28"/>
                </a:cubicBezTo>
                <a:cubicBezTo>
                  <a:pt x="88" y="29"/>
                  <a:pt x="88" y="29"/>
                  <a:pt x="88" y="29"/>
                </a:cubicBezTo>
                <a:cubicBezTo>
                  <a:pt x="88" y="30"/>
                  <a:pt x="88" y="30"/>
                  <a:pt x="88" y="30"/>
                </a:cubicBezTo>
                <a:cubicBezTo>
                  <a:pt x="86" y="30"/>
                  <a:pt x="86" y="30"/>
                  <a:pt x="86" y="30"/>
                </a:cubicBezTo>
                <a:cubicBezTo>
                  <a:pt x="86" y="31"/>
                  <a:pt x="86" y="31"/>
                  <a:pt x="86" y="31"/>
                </a:cubicBezTo>
                <a:cubicBezTo>
                  <a:pt x="86" y="32"/>
                  <a:pt x="86" y="32"/>
                  <a:pt x="86" y="32"/>
                </a:cubicBezTo>
                <a:cubicBezTo>
                  <a:pt x="87" y="33"/>
                  <a:pt x="87" y="33"/>
                  <a:pt x="87" y="33"/>
                </a:cubicBezTo>
                <a:cubicBezTo>
                  <a:pt x="86" y="34"/>
                  <a:pt x="86" y="34"/>
                  <a:pt x="86" y="34"/>
                </a:cubicBezTo>
                <a:cubicBezTo>
                  <a:pt x="85" y="34"/>
                  <a:pt x="85" y="34"/>
                  <a:pt x="85" y="34"/>
                </a:cubicBezTo>
                <a:cubicBezTo>
                  <a:pt x="83" y="35"/>
                  <a:pt x="83" y="35"/>
                  <a:pt x="83" y="35"/>
                </a:cubicBezTo>
                <a:cubicBezTo>
                  <a:pt x="83" y="35"/>
                  <a:pt x="83" y="35"/>
                  <a:pt x="83" y="35"/>
                </a:cubicBezTo>
                <a:cubicBezTo>
                  <a:pt x="85" y="36"/>
                  <a:pt x="85" y="36"/>
                  <a:pt x="85" y="36"/>
                </a:cubicBezTo>
                <a:cubicBezTo>
                  <a:pt x="85" y="37"/>
                  <a:pt x="85" y="37"/>
                  <a:pt x="85" y="37"/>
                </a:cubicBezTo>
                <a:cubicBezTo>
                  <a:pt x="84" y="37"/>
                  <a:pt x="84" y="37"/>
                  <a:pt x="84" y="37"/>
                </a:cubicBezTo>
                <a:cubicBezTo>
                  <a:pt x="83" y="35"/>
                  <a:pt x="83" y="35"/>
                  <a:pt x="83" y="35"/>
                </a:cubicBezTo>
                <a:cubicBezTo>
                  <a:pt x="81" y="37"/>
                  <a:pt x="81" y="37"/>
                  <a:pt x="81" y="37"/>
                </a:cubicBezTo>
                <a:cubicBezTo>
                  <a:pt x="80" y="37"/>
                  <a:pt x="80" y="37"/>
                  <a:pt x="80" y="37"/>
                </a:cubicBezTo>
                <a:cubicBezTo>
                  <a:pt x="80" y="38"/>
                  <a:pt x="80" y="38"/>
                  <a:pt x="80" y="38"/>
                </a:cubicBezTo>
                <a:cubicBezTo>
                  <a:pt x="81" y="39"/>
                  <a:pt x="81" y="39"/>
                  <a:pt x="81" y="39"/>
                </a:cubicBezTo>
                <a:cubicBezTo>
                  <a:pt x="81" y="39"/>
                  <a:pt x="81" y="39"/>
                  <a:pt x="81" y="39"/>
                </a:cubicBezTo>
                <a:cubicBezTo>
                  <a:pt x="82" y="39"/>
                  <a:pt x="82" y="39"/>
                  <a:pt x="82" y="39"/>
                </a:cubicBezTo>
                <a:cubicBezTo>
                  <a:pt x="81" y="40"/>
                  <a:pt x="81" y="40"/>
                  <a:pt x="81" y="40"/>
                </a:cubicBezTo>
                <a:cubicBezTo>
                  <a:pt x="81" y="41"/>
                  <a:pt x="81" y="41"/>
                  <a:pt x="81" y="41"/>
                </a:cubicBezTo>
                <a:cubicBezTo>
                  <a:pt x="80" y="42"/>
                  <a:pt x="80" y="42"/>
                  <a:pt x="80" y="42"/>
                </a:cubicBezTo>
                <a:cubicBezTo>
                  <a:pt x="80" y="43"/>
                  <a:pt x="80" y="43"/>
                  <a:pt x="80" y="43"/>
                </a:cubicBezTo>
                <a:cubicBezTo>
                  <a:pt x="82" y="43"/>
                  <a:pt x="82" y="43"/>
                  <a:pt x="82" y="43"/>
                </a:cubicBezTo>
                <a:cubicBezTo>
                  <a:pt x="80" y="44"/>
                  <a:pt x="80" y="44"/>
                  <a:pt x="80" y="44"/>
                </a:cubicBezTo>
                <a:cubicBezTo>
                  <a:pt x="80" y="44"/>
                  <a:pt x="80" y="44"/>
                  <a:pt x="80" y="44"/>
                </a:cubicBezTo>
                <a:cubicBezTo>
                  <a:pt x="79" y="44"/>
                  <a:pt x="79" y="44"/>
                  <a:pt x="79" y="44"/>
                </a:cubicBezTo>
                <a:cubicBezTo>
                  <a:pt x="78" y="43"/>
                  <a:pt x="78" y="43"/>
                  <a:pt x="78" y="43"/>
                </a:cubicBezTo>
                <a:cubicBezTo>
                  <a:pt x="77" y="42"/>
                  <a:pt x="77" y="42"/>
                  <a:pt x="77" y="42"/>
                </a:cubicBezTo>
                <a:cubicBezTo>
                  <a:pt x="76" y="43"/>
                  <a:pt x="76" y="43"/>
                  <a:pt x="76" y="43"/>
                </a:cubicBezTo>
                <a:cubicBezTo>
                  <a:pt x="76" y="42"/>
                  <a:pt x="76" y="42"/>
                  <a:pt x="76" y="42"/>
                </a:cubicBezTo>
                <a:cubicBezTo>
                  <a:pt x="75" y="42"/>
                  <a:pt x="75" y="42"/>
                  <a:pt x="75" y="42"/>
                </a:cubicBezTo>
                <a:cubicBezTo>
                  <a:pt x="74" y="42"/>
                  <a:pt x="74" y="42"/>
                  <a:pt x="74" y="42"/>
                </a:cubicBezTo>
                <a:cubicBezTo>
                  <a:pt x="75" y="43"/>
                  <a:pt x="75" y="43"/>
                  <a:pt x="75" y="43"/>
                </a:cubicBezTo>
                <a:cubicBezTo>
                  <a:pt x="75" y="44"/>
                  <a:pt x="75" y="44"/>
                  <a:pt x="75" y="44"/>
                </a:cubicBezTo>
                <a:cubicBezTo>
                  <a:pt x="74" y="45"/>
                  <a:pt x="74" y="45"/>
                  <a:pt x="74" y="45"/>
                </a:cubicBezTo>
                <a:cubicBezTo>
                  <a:pt x="75" y="46"/>
                  <a:pt x="75" y="46"/>
                  <a:pt x="75" y="46"/>
                </a:cubicBezTo>
                <a:cubicBezTo>
                  <a:pt x="77" y="46"/>
                  <a:pt x="77" y="46"/>
                  <a:pt x="77" y="46"/>
                </a:cubicBezTo>
                <a:cubicBezTo>
                  <a:pt x="76" y="47"/>
                  <a:pt x="76" y="47"/>
                  <a:pt x="76" y="47"/>
                </a:cubicBezTo>
                <a:cubicBezTo>
                  <a:pt x="76" y="48"/>
                  <a:pt x="76" y="48"/>
                  <a:pt x="76" y="48"/>
                </a:cubicBezTo>
                <a:cubicBezTo>
                  <a:pt x="76" y="48"/>
                  <a:pt x="76" y="48"/>
                  <a:pt x="76" y="48"/>
                </a:cubicBezTo>
                <a:cubicBezTo>
                  <a:pt x="75" y="48"/>
                  <a:pt x="75" y="48"/>
                  <a:pt x="75" y="48"/>
                </a:cubicBezTo>
                <a:cubicBezTo>
                  <a:pt x="75" y="49"/>
                  <a:pt x="75" y="49"/>
                  <a:pt x="75" y="49"/>
                </a:cubicBezTo>
                <a:cubicBezTo>
                  <a:pt x="75" y="50"/>
                  <a:pt x="75" y="50"/>
                  <a:pt x="75" y="50"/>
                </a:cubicBezTo>
                <a:cubicBezTo>
                  <a:pt x="74" y="52"/>
                  <a:pt x="74" y="52"/>
                  <a:pt x="74" y="52"/>
                </a:cubicBezTo>
                <a:cubicBezTo>
                  <a:pt x="72" y="48"/>
                  <a:pt x="72" y="48"/>
                  <a:pt x="72" y="48"/>
                </a:cubicBezTo>
                <a:cubicBezTo>
                  <a:pt x="71" y="45"/>
                  <a:pt x="71" y="45"/>
                  <a:pt x="71" y="45"/>
                </a:cubicBezTo>
                <a:cubicBezTo>
                  <a:pt x="70" y="44"/>
                  <a:pt x="70" y="44"/>
                  <a:pt x="70" y="44"/>
                </a:cubicBezTo>
                <a:cubicBezTo>
                  <a:pt x="71" y="43"/>
                  <a:pt x="71" y="43"/>
                  <a:pt x="71" y="43"/>
                </a:cubicBezTo>
                <a:cubicBezTo>
                  <a:pt x="70" y="43"/>
                  <a:pt x="70" y="43"/>
                  <a:pt x="70" y="43"/>
                </a:cubicBezTo>
                <a:cubicBezTo>
                  <a:pt x="69" y="44"/>
                  <a:pt x="69" y="44"/>
                  <a:pt x="69" y="44"/>
                </a:cubicBezTo>
                <a:cubicBezTo>
                  <a:pt x="69" y="46"/>
                  <a:pt x="69" y="46"/>
                  <a:pt x="69" y="46"/>
                </a:cubicBezTo>
                <a:cubicBezTo>
                  <a:pt x="68" y="46"/>
                  <a:pt x="68" y="46"/>
                  <a:pt x="68" y="46"/>
                </a:cubicBezTo>
                <a:cubicBezTo>
                  <a:pt x="67" y="47"/>
                  <a:pt x="67" y="47"/>
                  <a:pt x="67" y="47"/>
                </a:cubicBezTo>
                <a:cubicBezTo>
                  <a:pt x="66" y="47"/>
                  <a:pt x="66" y="47"/>
                  <a:pt x="66" y="47"/>
                </a:cubicBezTo>
                <a:cubicBezTo>
                  <a:pt x="66" y="48"/>
                  <a:pt x="66" y="48"/>
                  <a:pt x="66" y="48"/>
                </a:cubicBezTo>
                <a:cubicBezTo>
                  <a:pt x="64" y="49"/>
                  <a:pt x="64" y="49"/>
                  <a:pt x="64" y="49"/>
                </a:cubicBezTo>
                <a:cubicBezTo>
                  <a:pt x="65" y="50"/>
                  <a:pt x="65" y="50"/>
                  <a:pt x="65" y="50"/>
                </a:cubicBezTo>
                <a:cubicBezTo>
                  <a:pt x="65" y="54"/>
                  <a:pt x="65" y="54"/>
                  <a:pt x="65" y="54"/>
                </a:cubicBezTo>
                <a:cubicBezTo>
                  <a:pt x="65" y="54"/>
                  <a:pt x="65" y="54"/>
                  <a:pt x="65" y="54"/>
                </a:cubicBezTo>
                <a:cubicBezTo>
                  <a:pt x="65" y="55"/>
                  <a:pt x="65" y="55"/>
                  <a:pt x="65" y="55"/>
                </a:cubicBezTo>
                <a:cubicBezTo>
                  <a:pt x="64" y="56"/>
                  <a:pt x="64" y="56"/>
                  <a:pt x="64" y="56"/>
                </a:cubicBezTo>
                <a:cubicBezTo>
                  <a:pt x="64" y="57"/>
                  <a:pt x="64" y="57"/>
                  <a:pt x="64" y="57"/>
                </a:cubicBezTo>
                <a:cubicBezTo>
                  <a:pt x="62" y="57"/>
                  <a:pt x="62" y="57"/>
                  <a:pt x="62" y="57"/>
                </a:cubicBezTo>
                <a:cubicBezTo>
                  <a:pt x="62" y="58"/>
                  <a:pt x="62" y="58"/>
                  <a:pt x="62" y="58"/>
                </a:cubicBezTo>
                <a:cubicBezTo>
                  <a:pt x="60" y="59"/>
                  <a:pt x="60" y="59"/>
                  <a:pt x="60" y="59"/>
                </a:cubicBezTo>
                <a:cubicBezTo>
                  <a:pt x="61" y="61"/>
                  <a:pt x="61" y="61"/>
                  <a:pt x="61" y="61"/>
                </a:cubicBezTo>
                <a:cubicBezTo>
                  <a:pt x="60" y="61"/>
                  <a:pt x="60" y="61"/>
                  <a:pt x="60" y="61"/>
                </a:cubicBezTo>
                <a:cubicBezTo>
                  <a:pt x="58" y="64"/>
                  <a:pt x="58" y="64"/>
                  <a:pt x="58" y="64"/>
                </a:cubicBezTo>
                <a:cubicBezTo>
                  <a:pt x="54" y="66"/>
                  <a:pt x="54" y="66"/>
                  <a:pt x="54" y="66"/>
                </a:cubicBezTo>
                <a:cubicBezTo>
                  <a:pt x="51" y="67"/>
                  <a:pt x="51" y="67"/>
                  <a:pt x="51" y="67"/>
                </a:cubicBezTo>
                <a:cubicBezTo>
                  <a:pt x="49" y="67"/>
                  <a:pt x="49" y="67"/>
                  <a:pt x="49" y="67"/>
                </a:cubicBezTo>
                <a:cubicBezTo>
                  <a:pt x="48" y="67"/>
                  <a:pt x="48" y="67"/>
                  <a:pt x="48" y="67"/>
                </a:cubicBezTo>
                <a:cubicBezTo>
                  <a:pt x="46" y="68"/>
                  <a:pt x="46" y="68"/>
                  <a:pt x="46" y="68"/>
                </a:cubicBezTo>
                <a:cubicBezTo>
                  <a:pt x="45" y="67"/>
                  <a:pt x="45" y="67"/>
                  <a:pt x="45" y="67"/>
                </a:cubicBezTo>
                <a:cubicBezTo>
                  <a:pt x="43" y="68"/>
                  <a:pt x="43" y="68"/>
                  <a:pt x="43" y="68"/>
                </a:cubicBezTo>
                <a:cubicBezTo>
                  <a:pt x="42" y="69"/>
                  <a:pt x="42" y="69"/>
                  <a:pt x="42" y="69"/>
                </a:cubicBezTo>
                <a:cubicBezTo>
                  <a:pt x="41" y="70"/>
                  <a:pt x="41" y="70"/>
                  <a:pt x="41" y="70"/>
                </a:cubicBezTo>
                <a:cubicBezTo>
                  <a:pt x="37" y="70"/>
                  <a:pt x="37" y="70"/>
                  <a:pt x="37" y="70"/>
                </a:cubicBezTo>
                <a:cubicBezTo>
                  <a:pt x="36" y="70"/>
                  <a:pt x="36" y="70"/>
                  <a:pt x="36" y="70"/>
                </a:cubicBezTo>
                <a:cubicBezTo>
                  <a:pt x="36" y="71"/>
                  <a:pt x="36" y="71"/>
                  <a:pt x="36" y="71"/>
                </a:cubicBezTo>
                <a:cubicBezTo>
                  <a:pt x="33" y="72"/>
                  <a:pt x="33" y="72"/>
                  <a:pt x="33" y="72"/>
                </a:cubicBezTo>
                <a:cubicBezTo>
                  <a:pt x="31" y="72"/>
                  <a:pt x="31" y="72"/>
                  <a:pt x="31" y="72"/>
                </a:cubicBezTo>
                <a:cubicBezTo>
                  <a:pt x="30" y="72"/>
                  <a:pt x="30" y="72"/>
                  <a:pt x="30" y="72"/>
                </a:cubicBezTo>
                <a:cubicBezTo>
                  <a:pt x="29" y="72"/>
                  <a:pt x="29" y="72"/>
                  <a:pt x="29" y="72"/>
                </a:cubicBezTo>
                <a:cubicBezTo>
                  <a:pt x="29" y="71"/>
                  <a:pt x="29" y="71"/>
                  <a:pt x="29" y="71"/>
                </a:cubicBezTo>
                <a:cubicBezTo>
                  <a:pt x="28" y="72"/>
                  <a:pt x="28" y="72"/>
                  <a:pt x="28" y="72"/>
                </a:cubicBezTo>
                <a:cubicBezTo>
                  <a:pt x="27" y="73"/>
                  <a:pt x="27" y="73"/>
                  <a:pt x="27" y="73"/>
                </a:cubicBezTo>
                <a:cubicBezTo>
                  <a:pt x="24" y="74"/>
                  <a:pt x="24" y="74"/>
                  <a:pt x="24" y="74"/>
                </a:cubicBezTo>
                <a:cubicBezTo>
                  <a:pt x="24" y="74"/>
                  <a:pt x="24" y="74"/>
                  <a:pt x="24" y="74"/>
                </a:cubicBezTo>
                <a:cubicBezTo>
                  <a:pt x="23" y="74"/>
                  <a:pt x="23" y="74"/>
                  <a:pt x="23" y="74"/>
                </a:cubicBezTo>
                <a:cubicBezTo>
                  <a:pt x="21" y="76"/>
                  <a:pt x="21" y="76"/>
                  <a:pt x="21" y="76"/>
                </a:cubicBezTo>
                <a:cubicBezTo>
                  <a:pt x="18" y="78"/>
                  <a:pt x="18" y="78"/>
                  <a:pt x="18" y="78"/>
                </a:cubicBezTo>
                <a:cubicBezTo>
                  <a:pt x="15" y="79"/>
                  <a:pt x="15" y="79"/>
                  <a:pt x="15" y="79"/>
                </a:cubicBezTo>
                <a:cubicBezTo>
                  <a:pt x="13" y="81"/>
                  <a:pt x="13" y="81"/>
                  <a:pt x="13" y="81"/>
                </a:cubicBezTo>
                <a:cubicBezTo>
                  <a:pt x="13" y="83"/>
                  <a:pt x="13" y="83"/>
                  <a:pt x="13" y="83"/>
                </a:cubicBezTo>
                <a:cubicBezTo>
                  <a:pt x="12" y="84"/>
                  <a:pt x="12" y="84"/>
                  <a:pt x="12" y="84"/>
                </a:cubicBezTo>
                <a:cubicBezTo>
                  <a:pt x="11" y="83"/>
                  <a:pt x="11" y="83"/>
                  <a:pt x="11" y="83"/>
                </a:cubicBezTo>
                <a:cubicBezTo>
                  <a:pt x="11" y="83"/>
                  <a:pt x="11" y="83"/>
                  <a:pt x="11" y="83"/>
                </a:cubicBezTo>
                <a:cubicBezTo>
                  <a:pt x="11" y="82"/>
                  <a:pt x="11" y="82"/>
                  <a:pt x="11" y="82"/>
                </a:cubicBezTo>
                <a:cubicBezTo>
                  <a:pt x="12" y="80"/>
                  <a:pt x="12" y="80"/>
                  <a:pt x="12" y="80"/>
                </a:cubicBezTo>
                <a:cubicBezTo>
                  <a:pt x="12" y="79"/>
                  <a:pt x="12" y="79"/>
                  <a:pt x="12" y="79"/>
                </a:cubicBezTo>
                <a:cubicBezTo>
                  <a:pt x="10" y="81"/>
                  <a:pt x="10" y="81"/>
                  <a:pt x="10" y="81"/>
                </a:cubicBezTo>
                <a:cubicBezTo>
                  <a:pt x="9" y="82"/>
                  <a:pt x="9" y="82"/>
                  <a:pt x="9" y="82"/>
                </a:cubicBezTo>
                <a:cubicBezTo>
                  <a:pt x="8" y="85"/>
                  <a:pt x="8" y="85"/>
                  <a:pt x="8" y="85"/>
                </a:cubicBezTo>
                <a:cubicBezTo>
                  <a:pt x="9" y="87"/>
                  <a:pt x="9" y="87"/>
                  <a:pt x="9" y="87"/>
                </a:cubicBezTo>
                <a:cubicBezTo>
                  <a:pt x="8" y="89"/>
                  <a:pt x="8" y="89"/>
                  <a:pt x="8" y="89"/>
                </a:cubicBezTo>
                <a:cubicBezTo>
                  <a:pt x="8" y="91"/>
                  <a:pt x="8" y="91"/>
                  <a:pt x="8" y="91"/>
                </a:cubicBezTo>
                <a:cubicBezTo>
                  <a:pt x="6" y="94"/>
                  <a:pt x="6" y="94"/>
                  <a:pt x="6" y="94"/>
                </a:cubicBezTo>
                <a:cubicBezTo>
                  <a:pt x="5" y="99"/>
                  <a:pt x="5" y="99"/>
                  <a:pt x="5" y="99"/>
                </a:cubicBezTo>
                <a:cubicBezTo>
                  <a:pt x="5" y="101"/>
                  <a:pt x="5" y="101"/>
                  <a:pt x="5" y="101"/>
                </a:cubicBezTo>
                <a:cubicBezTo>
                  <a:pt x="5" y="104"/>
                  <a:pt x="5" y="104"/>
                  <a:pt x="5" y="104"/>
                </a:cubicBezTo>
                <a:cubicBezTo>
                  <a:pt x="7" y="107"/>
                  <a:pt x="7" y="107"/>
                  <a:pt x="7" y="107"/>
                </a:cubicBezTo>
                <a:cubicBezTo>
                  <a:pt x="7" y="109"/>
                  <a:pt x="7" y="109"/>
                  <a:pt x="7" y="109"/>
                </a:cubicBezTo>
                <a:cubicBezTo>
                  <a:pt x="8" y="110"/>
                  <a:pt x="8" y="110"/>
                  <a:pt x="8" y="110"/>
                </a:cubicBezTo>
                <a:cubicBezTo>
                  <a:pt x="7" y="112"/>
                  <a:pt x="7" y="112"/>
                  <a:pt x="7" y="112"/>
                </a:cubicBezTo>
                <a:cubicBezTo>
                  <a:pt x="8" y="113"/>
                  <a:pt x="8" y="113"/>
                  <a:pt x="8" y="113"/>
                </a:cubicBezTo>
                <a:cubicBezTo>
                  <a:pt x="6" y="114"/>
                  <a:pt x="6" y="114"/>
                  <a:pt x="6" y="114"/>
                </a:cubicBezTo>
                <a:cubicBezTo>
                  <a:pt x="6" y="113"/>
                  <a:pt x="6" y="113"/>
                  <a:pt x="6" y="113"/>
                </a:cubicBezTo>
                <a:cubicBezTo>
                  <a:pt x="6" y="111"/>
                  <a:pt x="6" y="111"/>
                  <a:pt x="6" y="111"/>
                </a:cubicBezTo>
                <a:cubicBezTo>
                  <a:pt x="5" y="112"/>
                  <a:pt x="5" y="112"/>
                  <a:pt x="5" y="112"/>
                </a:cubicBezTo>
                <a:cubicBezTo>
                  <a:pt x="5" y="112"/>
                  <a:pt x="5" y="112"/>
                  <a:pt x="5" y="112"/>
                </a:cubicBezTo>
                <a:cubicBezTo>
                  <a:pt x="5" y="110"/>
                  <a:pt x="5" y="110"/>
                  <a:pt x="5" y="110"/>
                </a:cubicBezTo>
                <a:cubicBezTo>
                  <a:pt x="3" y="107"/>
                  <a:pt x="3" y="107"/>
                  <a:pt x="3" y="107"/>
                </a:cubicBezTo>
                <a:cubicBezTo>
                  <a:pt x="3" y="108"/>
                  <a:pt x="3" y="108"/>
                  <a:pt x="3" y="108"/>
                </a:cubicBezTo>
                <a:cubicBezTo>
                  <a:pt x="3" y="111"/>
                  <a:pt x="3" y="111"/>
                  <a:pt x="3" y="111"/>
                </a:cubicBezTo>
                <a:cubicBezTo>
                  <a:pt x="5" y="113"/>
                  <a:pt x="5" y="113"/>
                  <a:pt x="5" y="113"/>
                </a:cubicBezTo>
                <a:cubicBezTo>
                  <a:pt x="6" y="115"/>
                  <a:pt x="6" y="115"/>
                  <a:pt x="6" y="115"/>
                </a:cubicBezTo>
                <a:cubicBezTo>
                  <a:pt x="4" y="115"/>
                  <a:pt x="4" y="115"/>
                  <a:pt x="4" y="115"/>
                </a:cubicBezTo>
                <a:cubicBezTo>
                  <a:pt x="3" y="113"/>
                  <a:pt x="3" y="113"/>
                  <a:pt x="3" y="113"/>
                </a:cubicBezTo>
                <a:cubicBezTo>
                  <a:pt x="2" y="111"/>
                  <a:pt x="2" y="111"/>
                  <a:pt x="2" y="111"/>
                </a:cubicBezTo>
                <a:cubicBezTo>
                  <a:pt x="2" y="112"/>
                  <a:pt x="2" y="112"/>
                  <a:pt x="2" y="112"/>
                </a:cubicBezTo>
                <a:cubicBezTo>
                  <a:pt x="1" y="112"/>
                  <a:pt x="1" y="112"/>
                  <a:pt x="1" y="112"/>
                </a:cubicBezTo>
                <a:cubicBezTo>
                  <a:pt x="2" y="115"/>
                  <a:pt x="2" y="115"/>
                  <a:pt x="2" y="115"/>
                </a:cubicBezTo>
                <a:cubicBezTo>
                  <a:pt x="4" y="117"/>
                  <a:pt x="4" y="117"/>
                  <a:pt x="4" y="117"/>
                </a:cubicBezTo>
                <a:cubicBezTo>
                  <a:pt x="6" y="121"/>
                  <a:pt x="6" y="121"/>
                  <a:pt x="6" y="121"/>
                </a:cubicBezTo>
                <a:cubicBezTo>
                  <a:pt x="5" y="127"/>
                  <a:pt x="5" y="127"/>
                  <a:pt x="5" y="127"/>
                </a:cubicBezTo>
                <a:cubicBezTo>
                  <a:pt x="6" y="128"/>
                  <a:pt x="6" y="128"/>
                  <a:pt x="6" y="128"/>
                </a:cubicBezTo>
                <a:cubicBezTo>
                  <a:pt x="7" y="132"/>
                  <a:pt x="7" y="132"/>
                  <a:pt x="7" y="132"/>
                </a:cubicBezTo>
                <a:cubicBezTo>
                  <a:pt x="9" y="137"/>
                  <a:pt x="9" y="137"/>
                  <a:pt x="9" y="137"/>
                </a:cubicBezTo>
                <a:cubicBezTo>
                  <a:pt x="8" y="138"/>
                  <a:pt x="8" y="138"/>
                  <a:pt x="8" y="138"/>
                </a:cubicBezTo>
                <a:cubicBezTo>
                  <a:pt x="8" y="145"/>
                  <a:pt x="8" y="145"/>
                  <a:pt x="8" y="145"/>
                </a:cubicBezTo>
                <a:cubicBezTo>
                  <a:pt x="8" y="146"/>
                  <a:pt x="8" y="146"/>
                  <a:pt x="8" y="146"/>
                </a:cubicBezTo>
                <a:cubicBezTo>
                  <a:pt x="9" y="148"/>
                  <a:pt x="9" y="148"/>
                  <a:pt x="9" y="148"/>
                </a:cubicBezTo>
                <a:cubicBezTo>
                  <a:pt x="9" y="150"/>
                  <a:pt x="9" y="150"/>
                  <a:pt x="9" y="150"/>
                </a:cubicBezTo>
                <a:cubicBezTo>
                  <a:pt x="10" y="153"/>
                  <a:pt x="10" y="153"/>
                  <a:pt x="10" y="153"/>
                </a:cubicBezTo>
                <a:cubicBezTo>
                  <a:pt x="10" y="155"/>
                  <a:pt x="10" y="155"/>
                  <a:pt x="10" y="155"/>
                </a:cubicBezTo>
                <a:cubicBezTo>
                  <a:pt x="9" y="156"/>
                  <a:pt x="9" y="156"/>
                  <a:pt x="9" y="156"/>
                </a:cubicBezTo>
                <a:cubicBezTo>
                  <a:pt x="9" y="157"/>
                  <a:pt x="9" y="157"/>
                  <a:pt x="9" y="157"/>
                </a:cubicBezTo>
                <a:cubicBezTo>
                  <a:pt x="9" y="158"/>
                  <a:pt x="9" y="158"/>
                  <a:pt x="9" y="158"/>
                </a:cubicBezTo>
                <a:cubicBezTo>
                  <a:pt x="9" y="161"/>
                  <a:pt x="9" y="161"/>
                  <a:pt x="9" y="161"/>
                </a:cubicBezTo>
                <a:cubicBezTo>
                  <a:pt x="8" y="162"/>
                  <a:pt x="8" y="162"/>
                  <a:pt x="8" y="162"/>
                </a:cubicBezTo>
                <a:cubicBezTo>
                  <a:pt x="8" y="163"/>
                  <a:pt x="8" y="163"/>
                  <a:pt x="8" y="163"/>
                </a:cubicBezTo>
                <a:cubicBezTo>
                  <a:pt x="8" y="164"/>
                  <a:pt x="8" y="164"/>
                  <a:pt x="8" y="164"/>
                </a:cubicBezTo>
                <a:cubicBezTo>
                  <a:pt x="7" y="165"/>
                  <a:pt x="7" y="165"/>
                  <a:pt x="7" y="165"/>
                </a:cubicBezTo>
                <a:cubicBezTo>
                  <a:pt x="7" y="167"/>
                  <a:pt x="7" y="167"/>
                  <a:pt x="7" y="167"/>
                </a:cubicBezTo>
                <a:cubicBezTo>
                  <a:pt x="5" y="168"/>
                  <a:pt x="5" y="168"/>
                  <a:pt x="5" y="168"/>
                </a:cubicBezTo>
                <a:cubicBezTo>
                  <a:pt x="4" y="168"/>
                  <a:pt x="4" y="168"/>
                  <a:pt x="4" y="168"/>
                </a:cubicBezTo>
                <a:cubicBezTo>
                  <a:pt x="2" y="170"/>
                  <a:pt x="2" y="170"/>
                  <a:pt x="2" y="170"/>
                </a:cubicBezTo>
                <a:lnTo>
                  <a:pt x="2" y="174"/>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3" name="Freeform 161">
            <a:extLst>
              <a:ext uri="{FF2B5EF4-FFF2-40B4-BE49-F238E27FC236}">
                <a16:creationId xmlns:a16="http://schemas.microsoft.com/office/drawing/2014/main" id="{589DC4A2-1BA4-8C73-EA8A-A92DAAC93AFA}"/>
              </a:ext>
            </a:extLst>
          </p:cNvPr>
          <p:cNvSpPr>
            <a:spLocks noEditPoints="1"/>
          </p:cNvSpPr>
          <p:nvPr userDrawn="1"/>
        </p:nvSpPr>
        <p:spPr bwMode="auto">
          <a:xfrm>
            <a:off x="22696596" y="12007133"/>
            <a:ext cx="1260396" cy="1927226"/>
          </a:xfrm>
          <a:custGeom>
            <a:avLst/>
            <a:gdLst>
              <a:gd name="T0" fmla="*/ 25 w 397"/>
              <a:gd name="T1" fmla="*/ 604 h 607"/>
              <a:gd name="T2" fmla="*/ 0 w 397"/>
              <a:gd name="T3" fmla="*/ 529 h 607"/>
              <a:gd name="T4" fmla="*/ 0 w 397"/>
              <a:gd name="T5" fmla="*/ 529 h 607"/>
              <a:gd name="T6" fmla="*/ 340 w 397"/>
              <a:gd name="T7" fmla="*/ 69 h 607"/>
              <a:gd name="T8" fmla="*/ 347 w 397"/>
              <a:gd name="T9" fmla="*/ 69 h 607"/>
              <a:gd name="T10" fmla="*/ 290 w 397"/>
              <a:gd name="T11" fmla="*/ 229 h 607"/>
              <a:gd name="T12" fmla="*/ 315 w 397"/>
              <a:gd name="T13" fmla="*/ 216 h 607"/>
              <a:gd name="T14" fmla="*/ 343 w 397"/>
              <a:gd name="T15" fmla="*/ 185 h 607"/>
              <a:gd name="T16" fmla="*/ 356 w 397"/>
              <a:gd name="T17" fmla="*/ 160 h 607"/>
              <a:gd name="T18" fmla="*/ 368 w 397"/>
              <a:gd name="T19" fmla="*/ 154 h 607"/>
              <a:gd name="T20" fmla="*/ 387 w 397"/>
              <a:gd name="T21" fmla="*/ 129 h 607"/>
              <a:gd name="T22" fmla="*/ 387 w 397"/>
              <a:gd name="T23" fmla="*/ 110 h 607"/>
              <a:gd name="T24" fmla="*/ 350 w 397"/>
              <a:gd name="T25" fmla="*/ 107 h 607"/>
              <a:gd name="T26" fmla="*/ 347 w 397"/>
              <a:gd name="T27" fmla="*/ 79 h 607"/>
              <a:gd name="T28" fmla="*/ 340 w 397"/>
              <a:gd name="T29" fmla="*/ 88 h 607"/>
              <a:gd name="T30" fmla="*/ 328 w 397"/>
              <a:gd name="T31" fmla="*/ 88 h 607"/>
              <a:gd name="T32" fmla="*/ 334 w 397"/>
              <a:gd name="T33" fmla="*/ 63 h 607"/>
              <a:gd name="T34" fmla="*/ 337 w 397"/>
              <a:gd name="T35" fmla="*/ 41 h 607"/>
              <a:gd name="T36" fmla="*/ 328 w 397"/>
              <a:gd name="T37" fmla="*/ 25 h 607"/>
              <a:gd name="T38" fmla="*/ 322 w 397"/>
              <a:gd name="T39" fmla="*/ 13 h 607"/>
              <a:gd name="T40" fmla="*/ 312 w 397"/>
              <a:gd name="T41" fmla="*/ 4 h 607"/>
              <a:gd name="T42" fmla="*/ 312 w 397"/>
              <a:gd name="T43" fmla="*/ 25 h 607"/>
              <a:gd name="T44" fmla="*/ 312 w 397"/>
              <a:gd name="T45" fmla="*/ 41 h 607"/>
              <a:gd name="T46" fmla="*/ 322 w 397"/>
              <a:gd name="T47" fmla="*/ 63 h 607"/>
              <a:gd name="T48" fmla="*/ 322 w 397"/>
              <a:gd name="T49" fmla="*/ 76 h 607"/>
              <a:gd name="T50" fmla="*/ 325 w 397"/>
              <a:gd name="T51" fmla="*/ 91 h 607"/>
              <a:gd name="T52" fmla="*/ 322 w 397"/>
              <a:gd name="T53" fmla="*/ 113 h 607"/>
              <a:gd name="T54" fmla="*/ 312 w 397"/>
              <a:gd name="T55" fmla="*/ 129 h 607"/>
              <a:gd name="T56" fmla="*/ 284 w 397"/>
              <a:gd name="T57" fmla="*/ 160 h 607"/>
              <a:gd name="T58" fmla="*/ 306 w 397"/>
              <a:gd name="T59" fmla="*/ 191 h 607"/>
              <a:gd name="T60" fmla="*/ 272 w 397"/>
              <a:gd name="T61" fmla="*/ 210 h 607"/>
              <a:gd name="T62" fmla="*/ 272 w 397"/>
              <a:gd name="T63" fmla="*/ 210 h 607"/>
              <a:gd name="T64" fmla="*/ 272 w 397"/>
              <a:gd name="T65" fmla="*/ 213 h 607"/>
              <a:gd name="T66" fmla="*/ 87 w 397"/>
              <a:gd name="T67" fmla="*/ 404 h 607"/>
              <a:gd name="T68" fmla="*/ 90 w 397"/>
              <a:gd name="T69" fmla="*/ 391 h 607"/>
              <a:gd name="T70" fmla="*/ 96 w 397"/>
              <a:gd name="T71" fmla="*/ 398 h 607"/>
              <a:gd name="T72" fmla="*/ 90 w 397"/>
              <a:gd name="T73" fmla="*/ 404 h 607"/>
              <a:gd name="T74" fmla="*/ 81 w 397"/>
              <a:gd name="T75" fmla="*/ 363 h 607"/>
              <a:gd name="T76" fmla="*/ 93 w 397"/>
              <a:gd name="T77" fmla="*/ 341 h 607"/>
              <a:gd name="T78" fmla="*/ 109 w 397"/>
              <a:gd name="T79" fmla="*/ 329 h 607"/>
              <a:gd name="T80" fmla="*/ 125 w 397"/>
              <a:gd name="T81" fmla="*/ 310 h 607"/>
              <a:gd name="T82" fmla="*/ 156 w 397"/>
              <a:gd name="T83" fmla="*/ 301 h 607"/>
              <a:gd name="T84" fmla="*/ 181 w 397"/>
              <a:gd name="T85" fmla="*/ 276 h 607"/>
              <a:gd name="T86" fmla="*/ 215 w 397"/>
              <a:gd name="T87" fmla="*/ 244 h 607"/>
              <a:gd name="T88" fmla="*/ 237 w 397"/>
              <a:gd name="T89" fmla="*/ 219 h 607"/>
              <a:gd name="T90" fmla="*/ 256 w 397"/>
              <a:gd name="T91" fmla="*/ 207 h 607"/>
              <a:gd name="T92" fmla="*/ 259 w 397"/>
              <a:gd name="T93" fmla="*/ 219 h 607"/>
              <a:gd name="T94" fmla="*/ 272 w 397"/>
              <a:gd name="T95" fmla="*/ 216 h 607"/>
              <a:gd name="T96" fmla="*/ 278 w 397"/>
              <a:gd name="T97" fmla="*/ 219 h 607"/>
              <a:gd name="T98" fmla="*/ 262 w 397"/>
              <a:gd name="T99" fmla="*/ 251 h 607"/>
              <a:gd name="T100" fmla="*/ 237 w 397"/>
              <a:gd name="T101" fmla="*/ 282 h 607"/>
              <a:gd name="T102" fmla="*/ 228 w 397"/>
              <a:gd name="T103" fmla="*/ 307 h 607"/>
              <a:gd name="T104" fmla="*/ 222 w 397"/>
              <a:gd name="T105" fmla="*/ 304 h 607"/>
              <a:gd name="T106" fmla="*/ 209 w 397"/>
              <a:gd name="T107" fmla="*/ 301 h 607"/>
              <a:gd name="T108" fmla="*/ 190 w 397"/>
              <a:gd name="T109" fmla="*/ 313 h 607"/>
              <a:gd name="T110" fmla="*/ 165 w 397"/>
              <a:gd name="T111" fmla="*/ 354 h 607"/>
              <a:gd name="T112" fmla="*/ 153 w 397"/>
              <a:gd name="T113" fmla="*/ 370 h 607"/>
              <a:gd name="T114" fmla="*/ 134 w 397"/>
              <a:gd name="T115" fmla="*/ 385 h 607"/>
              <a:gd name="T116" fmla="*/ 109 w 397"/>
              <a:gd name="T117" fmla="*/ 388 h 607"/>
              <a:gd name="T118" fmla="*/ 93 w 397"/>
              <a:gd name="T119" fmla="*/ 373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7" h="607">
                <a:moveTo>
                  <a:pt x="81" y="354"/>
                </a:moveTo>
                <a:lnTo>
                  <a:pt x="84" y="354"/>
                </a:lnTo>
                <a:lnTo>
                  <a:pt x="87" y="354"/>
                </a:lnTo>
                <a:lnTo>
                  <a:pt x="87" y="351"/>
                </a:lnTo>
                <a:lnTo>
                  <a:pt x="84" y="351"/>
                </a:lnTo>
                <a:lnTo>
                  <a:pt x="81" y="351"/>
                </a:lnTo>
                <a:lnTo>
                  <a:pt x="81" y="354"/>
                </a:lnTo>
                <a:lnTo>
                  <a:pt x="81" y="354"/>
                </a:lnTo>
                <a:close/>
                <a:moveTo>
                  <a:pt x="25" y="604"/>
                </a:moveTo>
                <a:lnTo>
                  <a:pt x="28" y="607"/>
                </a:lnTo>
                <a:lnTo>
                  <a:pt x="31" y="607"/>
                </a:lnTo>
                <a:lnTo>
                  <a:pt x="34" y="601"/>
                </a:lnTo>
                <a:lnTo>
                  <a:pt x="34" y="598"/>
                </a:lnTo>
                <a:lnTo>
                  <a:pt x="31" y="604"/>
                </a:lnTo>
                <a:lnTo>
                  <a:pt x="28" y="604"/>
                </a:lnTo>
                <a:lnTo>
                  <a:pt x="25" y="604"/>
                </a:lnTo>
                <a:lnTo>
                  <a:pt x="25" y="604"/>
                </a:lnTo>
                <a:close/>
                <a:moveTo>
                  <a:pt x="0" y="529"/>
                </a:moveTo>
                <a:lnTo>
                  <a:pt x="9" y="520"/>
                </a:lnTo>
                <a:lnTo>
                  <a:pt x="9" y="520"/>
                </a:lnTo>
                <a:lnTo>
                  <a:pt x="9" y="523"/>
                </a:lnTo>
                <a:lnTo>
                  <a:pt x="6" y="526"/>
                </a:lnTo>
                <a:lnTo>
                  <a:pt x="9" y="529"/>
                </a:lnTo>
                <a:lnTo>
                  <a:pt x="9" y="532"/>
                </a:lnTo>
                <a:lnTo>
                  <a:pt x="3" y="529"/>
                </a:lnTo>
                <a:lnTo>
                  <a:pt x="0" y="532"/>
                </a:lnTo>
                <a:lnTo>
                  <a:pt x="0" y="529"/>
                </a:lnTo>
                <a:lnTo>
                  <a:pt x="0" y="529"/>
                </a:lnTo>
                <a:close/>
                <a:moveTo>
                  <a:pt x="334" y="85"/>
                </a:moveTo>
                <a:lnTo>
                  <a:pt x="337" y="85"/>
                </a:lnTo>
                <a:lnTo>
                  <a:pt x="337" y="88"/>
                </a:lnTo>
                <a:lnTo>
                  <a:pt x="337" y="88"/>
                </a:lnTo>
                <a:lnTo>
                  <a:pt x="334" y="85"/>
                </a:lnTo>
                <a:lnTo>
                  <a:pt x="334" y="85"/>
                </a:lnTo>
                <a:close/>
                <a:moveTo>
                  <a:pt x="340" y="69"/>
                </a:moveTo>
                <a:lnTo>
                  <a:pt x="340" y="69"/>
                </a:lnTo>
                <a:lnTo>
                  <a:pt x="340" y="69"/>
                </a:lnTo>
                <a:lnTo>
                  <a:pt x="340" y="69"/>
                </a:lnTo>
                <a:lnTo>
                  <a:pt x="340" y="69"/>
                </a:lnTo>
                <a:close/>
                <a:moveTo>
                  <a:pt x="347" y="72"/>
                </a:moveTo>
                <a:lnTo>
                  <a:pt x="343" y="69"/>
                </a:lnTo>
                <a:lnTo>
                  <a:pt x="347" y="63"/>
                </a:lnTo>
                <a:lnTo>
                  <a:pt x="347" y="66"/>
                </a:lnTo>
                <a:lnTo>
                  <a:pt x="350" y="69"/>
                </a:lnTo>
                <a:lnTo>
                  <a:pt x="347" y="69"/>
                </a:lnTo>
                <a:lnTo>
                  <a:pt x="347" y="69"/>
                </a:lnTo>
                <a:lnTo>
                  <a:pt x="347" y="72"/>
                </a:lnTo>
                <a:lnTo>
                  <a:pt x="347" y="72"/>
                </a:lnTo>
                <a:close/>
                <a:moveTo>
                  <a:pt x="284" y="226"/>
                </a:moveTo>
                <a:lnTo>
                  <a:pt x="287" y="226"/>
                </a:lnTo>
                <a:lnTo>
                  <a:pt x="287" y="223"/>
                </a:lnTo>
                <a:lnTo>
                  <a:pt x="290" y="223"/>
                </a:lnTo>
                <a:lnTo>
                  <a:pt x="290" y="226"/>
                </a:lnTo>
                <a:lnTo>
                  <a:pt x="290" y="229"/>
                </a:lnTo>
                <a:lnTo>
                  <a:pt x="290" y="229"/>
                </a:lnTo>
                <a:lnTo>
                  <a:pt x="293" y="229"/>
                </a:lnTo>
                <a:lnTo>
                  <a:pt x="293" y="229"/>
                </a:lnTo>
                <a:lnTo>
                  <a:pt x="293" y="232"/>
                </a:lnTo>
                <a:lnTo>
                  <a:pt x="293" y="235"/>
                </a:lnTo>
                <a:lnTo>
                  <a:pt x="297" y="235"/>
                </a:lnTo>
                <a:lnTo>
                  <a:pt x="303" y="229"/>
                </a:lnTo>
                <a:lnTo>
                  <a:pt x="309" y="223"/>
                </a:lnTo>
                <a:lnTo>
                  <a:pt x="315" y="216"/>
                </a:lnTo>
                <a:lnTo>
                  <a:pt x="322" y="210"/>
                </a:lnTo>
                <a:lnTo>
                  <a:pt x="328" y="204"/>
                </a:lnTo>
                <a:lnTo>
                  <a:pt x="331" y="201"/>
                </a:lnTo>
                <a:lnTo>
                  <a:pt x="334" y="201"/>
                </a:lnTo>
                <a:lnTo>
                  <a:pt x="337" y="198"/>
                </a:lnTo>
                <a:lnTo>
                  <a:pt x="337" y="194"/>
                </a:lnTo>
                <a:lnTo>
                  <a:pt x="337" y="194"/>
                </a:lnTo>
                <a:lnTo>
                  <a:pt x="340" y="191"/>
                </a:lnTo>
                <a:lnTo>
                  <a:pt x="343" y="185"/>
                </a:lnTo>
                <a:lnTo>
                  <a:pt x="350" y="179"/>
                </a:lnTo>
                <a:lnTo>
                  <a:pt x="350" y="176"/>
                </a:lnTo>
                <a:lnTo>
                  <a:pt x="350" y="176"/>
                </a:lnTo>
                <a:lnTo>
                  <a:pt x="347" y="172"/>
                </a:lnTo>
                <a:lnTo>
                  <a:pt x="343" y="172"/>
                </a:lnTo>
                <a:lnTo>
                  <a:pt x="340" y="172"/>
                </a:lnTo>
                <a:lnTo>
                  <a:pt x="343" y="169"/>
                </a:lnTo>
                <a:lnTo>
                  <a:pt x="347" y="169"/>
                </a:lnTo>
                <a:lnTo>
                  <a:pt x="356" y="160"/>
                </a:lnTo>
                <a:lnTo>
                  <a:pt x="359" y="157"/>
                </a:lnTo>
                <a:lnTo>
                  <a:pt x="365" y="160"/>
                </a:lnTo>
                <a:lnTo>
                  <a:pt x="368" y="160"/>
                </a:lnTo>
                <a:lnTo>
                  <a:pt x="368" y="163"/>
                </a:lnTo>
                <a:lnTo>
                  <a:pt x="368" y="163"/>
                </a:lnTo>
                <a:lnTo>
                  <a:pt x="372" y="160"/>
                </a:lnTo>
                <a:lnTo>
                  <a:pt x="375" y="160"/>
                </a:lnTo>
                <a:lnTo>
                  <a:pt x="368" y="157"/>
                </a:lnTo>
                <a:lnTo>
                  <a:pt x="368" y="154"/>
                </a:lnTo>
                <a:lnTo>
                  <a:pt x="372" y="147"/>
                </a:lnTo>
                <a:lnTo>
                  <a:pt x="375" y="144"/>
                </a:lnTo>
                <a:lnTo>
                  <a:pt x="378" y="144"/>
                </a:lnTo>
                <a:lnTo>
                  <a:pt x="378" y="147"/>
                </a:lnTo>
                <a:lnTo>
                  <a:pt x="381" y="144"/>
                </a:lnTo>
                <a:lnTo>
                  <a:pt x="384" y="141"/>
                </a:lnTo>
                <a:lnTo>
                  <a:pt x="387" y="135"/>
                </a:lnTo>
                <a:lnTo>
                  <a:pt x="387" y="132"/>
                </a:lnTo>
                <a:lnTo>
                  <a:pt x="387" y="129"/>
                </a:lnTo>
                <a:lnTo>
                  <a:pt x="390" y="126"/>
                </a:lnTo>
                <a:lnTo>
                  <a:pt x="393" y="119"/>
                </a:lnTo>
                <a:lnTo>
                  <a:pt x="397" y="119"/>
                </a:lnTo>
                <a:lnTo>
                  <a:pt x="393" y="116"/>
                </a:lnTo>
                <a:lnTo>
                  <a:pt x="390" y="116"/>
                </a:lnTo>
                <a:lnTo>
                  <a:pt x="387" y="113"/>
                </a:lnTo>
                <a:lnTo>
                  <a:pt x="390" y="113"/>
                </a:lnTo>
                <a:lnTo>
                  <a:pt x="390" y="113"/>
                </a:lnTo>
                <a:lnTo>
                  <a:pt x="387" y="110"/>
                </a:lnTo>
                <a:lnTo>
                  <a:pt x="381" y="113"/>
                </a:lnTo>
                <a:lnTo>
                  <a:pt x="375" y="122"/>
                </a:lnTo>
                <a:lnTo>
                  <a:pt x="368" y="122"/>
                </a:lnTo>
                <a:lnTo>
                  <a:pt x="368" y="122"/>
                </a:lnTo>
                <a:lnTo>
                  <a:pt x="362" y="122"/>
                </a:lnTo>
                <a:lnTo>
                  <a:pt x="356" y="113"/>
                </a:lnTo>
                <a:lnTo>
                  <a:pt x="353" y="113"/>
                </a:lnTo>
                <a:lnTo>
                  <a:pt x="350" y="110"/>
                </a:lnTo>
                <a:lnTo>
                  <a:pt x="350" y="107"/>
                </a:lnTo>
                <a:lnTo>
                  <a:pt x="353" y="104"/>
                </a:lnTo>
                <a:lnTo>
                  <a:pt x="353" y="101"/>
                </a:lnTo>
                <a:lnTo>
                  <a:pt x="350" y="94"/>
                </a:lnTo>
                <a:lnTo>
                  <a:pt x="350" y="91"/>
                </a:lnTo>
                <a:lnTo>
                  <a:pt x="347" y="88"/>
                </a:lnTo>
                <a:lnTo>
                  <a:pt x="350" y="85"/>
                </a:lnTo>
                <a:lnTo>
                  <a:pt x="350" y="82"/>
                </a:lnTo>
                <a:lnTo>
                  <a:pt x="347" y="82"/>
                </a:lnTo>
                <a:lnTo>
                  <a:pt x="347" y="79"/>
                </a:lnTo>
                <a:lnTo>
                  <a:pt x="347" y="76"/>
                </a:lnTo>
                <a:lnTo>
                  <a:pt x="343" y="76"/>
                </a:lnTo>
                <a:lnTo>
                  <a:pt x="340" y="76"/>
                </a:lnTo>
                <a:lnTo>
                  <a:pt x="340" y="76"/>
                </a:lnTo>
                <a:lnTo>
                  <a:pt x="343" y="79"/>
                </a:lnTo>
                <a:lnTo>
                  <a:pt x="343" y="82"/>
                </a:lnTo>
                <a:lnTo>
                  <a:pt x="343" y="85"/>
                </a:lnTo>
                <a:lnTo>
                  <a:pt x="340" y="88"/>
                </a:lnTo>
                <a:lnTo>
                  <a:pt x="340" y="88"/>
                </a:lnTo>
                <a:lnTo>
                  <a:pt x="343" y="94"/>
                </a:lnTo>
                <a:lnTo>
                  <a:pt x="343" y="94"/>
                </a:lnTo>
                <a:lnTo>
                  <a:pt x="340" y="97"/>
                </a:lnTo>
                <a:lnTo>
                  <a:pt x="337" y="94"/>
                </a:lnTo>
                <a:lnTo>
                  <a:pt x="337" y="91"/>
                </a:lnTo>
                <a:lnTo>
                  <a:pt x="334" y="91"/>
                </a:lnTo>
                <a:lnTo>
                  <a:pt x="334" y="88"/>
                </a:lnTo>
                <a:lnTo>
                  <a:pt x="331" y="85"/>
                </a:lnTo>
                <a:lnTo>
                  <a:pt x="328" y="88"/>
                </a:lnTo>
                <a:lnTo>
                  <a:pt x="328" y="85"/>
                </a:lnTo>
                <a:lnTo>
                  <a:pt x="331" y="82"/>
                </a:lnTo>
                <a:lnTo>
                  <a:pt x="331" y="82"/>
                </a:lnTo>
                <a:lnTo>
                  <a:pt x="328" y="79"/>
                </a:lnTo>
                <a:lnTo>
                  <a:pt x="331" y="72"/>
                </a:lnTo>
                <a:lnTo>
                  <a:pt x="334" y="72"/>
                </a:lnTo>
                <a:lnTo>
                  <a:pt x="334" y="69"/>
                </a:lnTo>
                <a:lnTo>
                  <a:pt x="334" y="66"/>
                </a:lnTo>
                <a:lnTo>
                  <a:pt x="334" y="63"/>
                </a:lnTo>
                <a:lnTo>
                  <a:pt x="334" y="60"/>
                </a:lnTo>
                <a:lnTo>
                  <a:pt x="334" y="57"/>
                </a:lnTo>
                <a:lnTo>
                  <a:pt x="328" y="54"/>
                </a:lnTo>
                <a:lnTo>
                  <a:pt x="331" y="50"/>
                </a:lnTo>
                <a:lnTo>
                  <a:pt x="331" y="54"/>
                </a:lnTo>
                <a:lnTo>
                  <a:pt x="334" y="50"/>
                </a:lnTo>
                <a:lnTo>
                  <a:pt x="337" y="47"/>
                </a:lnTo>
                <a:lnTo>
                  <a:pt x="337" y="47"/>
                </a:lnTo>
                <a:lnTo>
                  <a:pt x="337" y="41"/>
                </a:lnTo>
                <a:lnTo>
                  <a:pt x="337" y="35"/>
                </a:lnTo>
                <a:lnTo>
                  <a:pt x="337" y="32"/>
                </a:lnTo>
                <a:lnTo>
                  <a:pt x="334" y="32"/>
                </a:lnTo>
                <a:lnTo>
                  <a:pt x="331" y="35"/>
                </a:lnTo>
                <a:lnTo>
                  <a:pt x="328" y="32"/>
                </a:lnTo>
                <a:lnTo>
                  <a:pt x="328" y="29"/>
                </a:lnTo>
                <a:lnTo>
                  <a:pt x="328" y="29"/>
                </a:lnTo>
                <a:lnTo>
                  <a:pt x="325" y="29"/>
                </a:lnTo>
                <a:lnTo>
                  <a:pt x="328" y="25"/>
                </a:lnTo>
                <a:lnTo>
                  <a:pt x="331" y="22"/>
                </a:lnTo>
                <a:lnTo>
                  <a:pt x="328" y="22"/>
                </a:lnTo>
                <a:lnTo>
                  <a:pt x="325" y="22"/>
                </a:lnTo>
                <a:lnTo>
                  <a:pt x="322" y="19"/>
                </a:lnTo>
                <a:lnTo>
                  <a:pt x="322" y="19"/>
                </a:lnTo>
                <a:lnTo>
                  <a:pt x="318" y="16"/>
                </a:lnTo>
                <a:lnTo>
                  <a:pt x="322" y="16"/>
                </a:lnTo>
                <a:lnTo>
                  <a:pt x="322" y="13"/>
                </a:lnTo>
                <a:lnTo>
                  <a:pt x="322" y="13"/>
                </a:lnTo>
                <a:lnTo>
                  <a:pt x="318" y="16"/>
                </a:lnTo>
                <a:lnTo>
                  <a:pt x="318" y="16"/>
                </a:lnTo>
                <a:lnTo>
                  <a:pt x="318" y="19"/>
                </a:lnTo>
                <a:lnTo>
                  <a:pt x="315" y="19"/>
                </a:lnTo>
                <a:lnTo>
                  <a:pt x="315" y="16"/>
                </a:lnTo>
                <a:lnTo>
                  <a:pt x="315" y="13"/>
                </a:lnTo>
                <a:lnTo>
                  <a:pt x="312" y="7"/>
                </a:lnTo>
                <a:lnTo>
                  <a:pt x="312" y="4"/>
                </a:lnTo>
                <a:lnTo>
                  <a:pt x="312" y="4"/>
                </a:lnTo>
                <a:lnTo>
                  <a:pt x="315" y="4"/>
                </a:lnTo>
                <a:lnTo>
                  <a:pt x="312" y="0"/>
                </a:lnTo>
                <a:lnTo>
                  <a:pt x="312" y="4"/>
                </a:lnTo>
                <a:lnTo>
                  <a:pt x="306" y="0"/>
                </a:lnTo>
                <a:lnTo>
                  <a:pt x="306" y="4"/>
                </a:lnTo>
                <a:lnTo>
                  <a:pt x="309" y="7"/>
                </a:lnTo>
                <a:lnTo>
                  <a:pt x="312" y="16"/>
                </a:lnTo>
                <a:lnTo>
                  <a:pt x="312" y="19"/>
                </a:lnTo>
                <a:lnTo>
                  <a:pt x="312" y="25"/>
                </a:lnTo>
                <a:lnTo>
                  <a:pt x="309" y="29"/>
                </a:lnTo>
                <a:lnTo>
                  <a:pt x="309" y="29"/>
                </a:lnTo>
                <a:lnTo>
                  <a:pt x="309" y="29"/>
                </a:lnTo>
                <a:lnTo>
                  <a:pt x="309" y="38"/>
                </a:lnTo>
                <a:lnTo>
                  <a:pt x="312" y="38"/>
                </a:lnTo>
                <a:lnTo>
                  <a:pt x="315" y="35"/>
                </a:lnTo>
                <a:lnTo>
                  <a:pt x="318" y="35"/>
                </a:lnTo>
                <a:lnTo>
                  <a:pt x="315" y="38"/>
                </a:lnTo>
                <a:lnTo>
                  <a:pt x="312" y="41"/>
                </a:lnTo>
                <a:lnTo>
                  <a:pt x="315" y="44"/>
                </a:lnTo>
                <a:lnTo>
                  <a:pt x="315" y="50"/>
                </a:lnTo>
                <a:lnTo>
                  <a:pt x="318" y="60"/>
                </a:lnTo>
                <a:lnTo>
                  <a:pt x="318" y="66"/>
                </a:lnTo>
                <a:lnTo>
                  <a:pt x="318" y="69"/>
                </a:lnTo>
                <a:lnTo>
                  <a:pt x="318" y="69"/>
                </a:lnTo>
                <a:lnTo>
                  <a:pt x="322" y="66"/>
                </a:lnTo>
                <a:lnTo>
                  <a:pt x="318" y="63"/>
                </a:lnTo>
                <a:lnTo>
                  <a:pt x="322" y="63"/>
                </a:lnTo>
                <a:lnTo>
                  <a:pt x="322" y="66"/>
                </a:lnTo>
                <a:lnTo>
                  <a:pt x="322" y="69"/>
                </a:lnTo>
                <a:lnTo>
                  <a:pt x="325" y="66"/>
                </a:lnTo>
                <a:lnTo>
                  <a:pt x="325" y="66"/>
                </a:lnTo>
                <a:lnTo>
                  <a:pt x="325" y="66"/>
                </a:lnTo>
                <a:lnTo>
                  <a:pt x="325" y="63"/>
                </a:lnTo>
                <a:lnTo>
                  <a:pt x="325" y="66"/>
                </a:lnTo>
                <a:lnTo>
                  <a:pt x="325" y="72"/>
                </a:lnTo>
                <a:lnTo>
                  <a:pt x="322" y="76"/>
                </a:lnTo>
                <a:lnTo>
                  <a:pt x="322" y="76"/>
                </a:lnTo>
                <a:lnTo>
                  <a:pt x="322" y="76"/>
                </a:lnTo>
                <a:lnTo>
                  <a:pt x="318" y="76"/>
                </a:lnTo>
                <a:lnTo>
                  <a:pt x="318" y="76"/>
                </a:lnTo>
                <a:lnTo>
                  <a:pt x="318" y="79"/>
                </a:lnTo>
                <a:lnTo>
                  <a:pt x="322" y="88"/>
                </a:lnTo>
                <a:lnTo>
                  <a:pt x="322" y="88"/>
                </a:lnTo>
                <a:lnTo>
                  <a:pt x="325" y="88"/>
                </a:lnTo>
                <a:lnTo>
                  <a:pt x="325" y="91"/>
                </a:lnTo>
                <a:lnTo>
                  <a:pt x="325" y="91"/>
                </a:lnTo>
                <a:lnTo>
                  <a:pt x="328" y="94"/>
                </a:lnTo>
                <a:lnTo>
                  <a:pt x="325" y="97"/>
                </a:lnTo>
                <a:lnTo>
                  <a:pt x="325" y="97"/>
                </a:lnTo>
                <a:lnTo>
                  <a:pt x="325" y="97"/>
                </a:lnTo>
                <a:lnTo>
                  <a:pt x="325" y="101"/>
                </a:lnTo>
                <a:lnTo>
                  <a:pt x="322" y="107"/>
                </a:lnTo>
                <a:lnTo>
                  <a:pt x="322" y="113"/>
                </a:lnTo>
                <a:lnTo>
                  <a:pt x="322" y="113"/>
                </a:lnTo>
                <a:lnTo>
                  <a:pt x="322" y="116"/>
                </a:lnTo>
                <a:lnTo>
                  <a:pt x="322" y="116"/>
                </a:lnTo>
                <a:lnTo>
                  <a:pt x="318" y="116"/>
                </a:lnTo>
                <a:lnTo>
                  <a:pt x="318" y="119"/>
                </a:lnTo>
                <a:lnTo>
                  <a:pt x="318" y="122"/>
                </a:lnTo>
                <a:lnTo>
                  <a:pt x="318" y="122"/>
                </a:lnTo>
                <a:lnTo>
                  <a:pt x="318" y="126"/>
                </a:lnTo>
                <a:lnTo>
                  <a:pt x="315" y="126"/>
                </a:lnTo>
                <a:lnTo>
                  <a:pt x="312" y="129"/>
                </a:lnTo>
                <a:lnTo>
                  <a:pt x="309" y="144"/>
                </a:lnTo>
                <a:lnTo>
                  <a:pt x="309" y="147"/>
                </a:lnTo>
                <a:lnTo>
                  <a:pt x="306" y="147"/>
                </a:lnTo>
                <a:lnTo>
                  <a:pt x="306" y="147"/>
                </a:lnTo>
                <a:lnTo>
                  <a:pt x="300" y="147"/>
                </a:lnTo>
                <a:lnTo>
                  <a:pt x="297" y="147"/>
                </a:lnTo>
                <a:lnTo>
                  <a:pt x="290" y="151"/>
                </a:lnTo>
                <a:lnTo>
                  <a:pt x="287" y="157"/>
                </a:lnTo>
                <a:lnTo>
                  <a:pt x="284" y="160"/>
                </a:lnTo>
                <a:lnTo>
                  <a:pt x="287" y="166"/>
                </a:lnTo>
                <a:lnTo>
                  <a:pt x="290" y="169"/>
                </a:lnTo>
                <a:lnTo>
                  <a:pt x="297" y="172"/>
                </a:lnTo>
                <a:lnTo>
                  <a:pt x="297" y="179"/>
                </a:lnTo>
                <a:lnTo>
                  <a:pt x="303" y="179"/>
                </a:lnTo>
                <a:lnTo>
                  <a:pt x="306" y="182"/>
                </a:lnTo>
                <a:lnTo>
                  <a:pt x="306" y="191"/>
                </a:lnTo>
                <a:lnTo>
                  <a:pt x="306" y="191"/>
                </a:lnTo>
                <a:lnTo>
                  <a:pt x="306" y="191"/>
                </a:lnTo>
                <a:lnTo>
                  <a:pt x="306" y="198"/>
                </a:lnTo>
                <a:lnTo>
                  <a:pt x="303" y="201"/>
                </a:lnTo>
                <a:lnTo>
                  <a:pt x="297" y="210"/>
                </a:lnTo>
                <a:lnTo>
                  <a:pt x="290" y="216"/>
                </a:lnTo>
                <a:lnTo>
                  <a:pt x="284" y="219"/>
                </a:lnTo>
                <a:lnTo>
                  <a:pt x="284" y="223"/>
                </a:lnTo>
                <a:lnTo>
                  <a:pt x="284" y="226"/>
                </a:lnTo>
                <a:lnTo>
                  <a:pt x="284" y="226"/>
                </a:lnTo>
                <a:close/>
                <a:moveTo>
                  <a:pt x="272" y="210"/>
                </a:moveTo>
                <a:lnTo>
                  <a:pt x="272" y="207"/>
                </a:lnTo>
                <a:lnTo>
                  <a:pt x="272" y="204"/>
                </a:lnTo>
                <a:lnTo>
                  <a:pt x="275" y="204"/>
                </a:lnTo>
                <a:lnTo>
                  <a:pt x="275" y="207"/>
                </a:lnTo>
                <a:lnTo>
                  <a:pt x="272" y="207"/>
                </a:lnTo>
                <a:lnTo>
                  <a:pt x="272" y="210"/>
                </a:lnTo>
                <a:lnTo>
                  <a:pt x="272" y="210"/>
                </a:lnTo>
                <a:lnTo>
                  <a:pt x="272" y="210"/>
                </a:lnTo>
                <a:lnTo>
                  <a:pt x="272" y="210"/>
                </a:lnTo>
                <a:close/>
                <a:moveTo>
                  <a:pt x="268" y="216"/>
                </a:moveTo>
                <a:lnTo>
                  <a:pt x="272" y="213"/>
                </a:lnTo>
                <a:lnTo>
                  <a:pt x="272" y="213"/>
                </a:lnTo>
                <a:lnTo>
                  <a:pt x="272" y="216"/>
                </a:lnTo>
                <a:lnTo>
                  <a:pt x="268" y="216"/>
                </a:lnTo>
                <a:lnTo>
                  <a:pt x="268" y="216"/>
                </a:lnTo>
                <a:close/>
                <a:moveTo>
                  <a:pt x="265" y="213"/>
                </a:moveTo>
                <a:lnTo>
                  <a:pt x="268" y="213"/>
                </a:lnTo>
                <a:lnTo>
                  <a:pt x="272" y="213"/>
                </a:lnTo>
                <a:lnTo>
                  <a:pt x="272" y="213"/>
                </a:lnTo>
                <a:lnTo>
                  <a:pt x="265" y="213"/>
                </a:lnTo>
                <a:lnTo>
                  <a:pt x="265" y="213"/>
                </a:lnTo>
                <a:close/>
                <a:moveTo>
                  <a:pt x="106" y="398"/>
                </a:moveTo>
                <a:lnTo>
                  <a:pt x="109" y="395"/>
                </a:lnTo>
                <a:lnTo>
                  <a:pt x="106" y="398"/>
                </a:lnTo>
                <a:lnTo>
                  <a:pt x="106" y="398"/>
                </a:lnTo>
                <a:lnTo>
                  <a:pt x="106" y="398"/>
                </a:lnTo>
                <a:close/>
                <a:moveTo>
                  <a:pt x="87" y="404"/>
                </a:moveTo>
                <a:lnTo>
                  <a:pt x="84" y="407"/>
                </a:lnTo>
                <a:lnTo>
                  <a:pt x="81" y="407"/>
                </a:lnTo>
                <a:lnTo>
                  <a:pt x="81" y="407"/>
                </a:lnTo>
                <a:lnTo>
                  <a:pt x="84" y="401"/>
                </a:lnTo>
                <a:lnTo>
                  <a:pt x="87" y="401"/>
                </a:lnTo>
                <a:lnTo>
                  <a:pt x="87" y="398"/>
                </a:lnTo>
                <a:lnTo>
                  <a:pt x="90" y="398"/>
                </a:lnTo>
                <a:lnTo>
                  <a:pt x="90" y="395"/>
                </a:lnTo>
                <a:lnTo>
                  <a:pt x="90" y="391"/>
                </a:lnTo>
                <a:lnTo>
                  <a:pt x="90" y="388"/>
                </a:lnTo>
                <a:lnTo>
                  <a:pt x="93" y="388"/>
                </a:lnTo>
                <a:lnTo>
                  <a:pt x="96" y="391"/>
                </a:lnTo>
                <a:lnTo>
                  <a:pt x="100" y="395"/>
                </a:lnTo>
                <a:lnTo>
                  <a:pt x="100" y="395"/>
                </a:lnTo>
                <a:lnTo>
                  <a:pt x="100" y="398"/>
                </a:lnTo>
                <a:lnTo>
                  <a:pt x="96" y="398"/>
                </a:lnTo>
                <a:lnTo>
                  <a:pt x="96" y="395"/>
                </a:lnTo>
                <a:lnTo>
                  <a:pt x="96" y="398"/>
                </a:lnTo>
                <a:lnTo>
                  <a:pt x="96" y="398"/>
                </a:lnTo>
                <a:lnTo>
                  <a:pt x="96" y="398"/>
                </a:lnTo>
                <a:lnTo>
                  <a:pt x="100" y="401"/>
                </a:lnTo>
                <a:lnTo>
                  <a:pt x="100" y="401"/>
                </a:lnTo>
                <a:lnTo>
                  <a:pt x="100" y="404"/>
                </a:lnTo>
                <a:lnTo>
                  <a:pt x="96" y="401"/>
                </a:lnTo>
                <a:lnTo>
                  <a:pt x="93" y="404"/>
                </a:lnTo>
                <a:lnTo>
                  <a:pt x="90" y="404"/>
                </a:lnTo>
                <a:lnTo>
                  <a:pt x="90" y="404"/>
                </a:lnTo>
                <a:lnTo>
                  <a:pt x="87" y="404"/>
                </a:lnTo>
                <a:lnTo>
                  <a:pt x="87" y="404"/>
                </a:lnTo>
                <a:lnTo>
                  <a:pt x="87" y="404"/>
                </a:lnTo>
                <a:close/>
                <a:moveTo>
                  <a:pt x="84" y="370"/>
                </a:moveTo>
                <a:lnTo>
                  <a:pt x="81" y="370"/>
                </a:lnTo>
                <a:lnTo>
                  <a:pt x="81" y="363"/>
                </a:lnTo>
                <a:lnTo>
                  <a:pt x="84" y="363"/>
                </a:lnTo>
                <a:lnTo>
                  <a:pt x="81" y="363"/>
                </a:lnTo>
                <a:lnTo>
                  <a:pt x="81" y="363"/>
                </a:lnTo>
                <a:lnTo>
                  <a:pt x="84" y="357"/>
                </a:lnTo>
                <a:lnTo>
                  <a:pt x="87" y="357"/>
                </a:lnTo>
                <a:lnTo>
                  <a:pt x="90" y="357"/>
                </a:lnTo>
                <a:lnTo>
                  <a:pt x="93" y="357"/>
                </a:lnTo>
                <a:lnTo>
                  <a:pt x="90" y="354"/>
                </a:lnTo>
                <a:lnTo>
                  <a:pt x="87" y="351"/>
                </a:lnTo>
                <a:lnTo>
                  <a:pt x="87" y="348"/>
                </a:lnTo>
                <a:lnTo>
                  <a:pt x="90" y="341"/>
                </a:lnTo>
                <a:lnTo>
                  <a:pt x="93" y="341"/>
                </a:lnTo>
                <a:lnTo>
                  <a:pt x="93" y="338"/>
                </a:lnTo>
                <a:lnTo>
                  <a:pt x="96" y="341"/>
                </a:lnTo>
                <a:lnTo>
                  <a:pt x="96" y="345"/>
                </a:lnTo>
                <a:lnTo>
                  <a:pt x="100" y="341"/>
                </a:lnTo>
                <a:lnTo>
                  <a:pt x="100" y="335"/>
                </a:lnTo>
                <a:lnTo>
                  <a:pt x="100" y="332"/>
                </a:lnTo>
                <a:lnTo>
                  <a:pt x="103" y="332"/>
                </a:lnTo>
                <a:lnTo>
                  <a:pt x="109" y="326"/>
                </a:lnTo>
                <a:lnTo>
                  <a:pt x="109" y="329"/>
                </a:lnTo>
                <a:lnTo>
                  <a:pt x="112" y="326"/>
                </a:lnTo>
                <a:lnTo>
                  <a:pt x="112" y="320"/>
                </a:lnTo>
                <a:lnTo>
                  <a:pt x="115" y="320"/>
                </a:lnTo>
                <a:lnTo>
                  <a:pt x="115" y="316"/>
                </a:lnTo>
                <a:lnTo>
                  <a:pt x="118" y="320"/>
                </a:lnTo>
                <a:lnTo>
                  <a:pt x="118" y="320"/>
                </a:lnTo>
                <a:lnTo>
                  <a:pt x="118" y="316"/>
                </a:lnTo>
                <a:lnTo>
                  <a:pt x="125" y="313"/>
                </a:lnTo>
                <a:lnTo>
                  <a:pt x="125" y="310"/>
                </a:lnTo>
                <a:lnTo>
                  <a:pt x="131" y="307"/>
                </a:lnTo>
                <a:lnTo>
                  <a:pt x="134" y="304"/>
                </a:lnTo>
                <a:lnTo>
                  <a:pt x="140" y="298"/>
                </a:lnTo>
                <a:lnTo>
                  <a:pt x="143" y="298"/>
                </a:lnTo>
                <a:lnTo>
                  <a:pt x="143" y="301"/>
                </a:lnTo>
                <a:lnTo>
                  <a:pt x="147" y="301"/>
                </a:lnTo>
                <a:lnTo>
                  <a:pt x="150" y="298"/>
                </a:lnTo>
                <a:lnTo>
                  <a:pt x="153" y="298"/>
                </a:lnTo>
                <a:lnTo>
                  <a:pt x="156" y="301"/>
                </a:lnTo>
                <a:lnTo>
                  <a:pt x="156" y="298"/>
                </a:lnTo>
                <a:lnTo>
                  <a:pt x="153" y="294"/>
                </a:lnTo>
                <a:lnTo>
                  <a:pt x="156" y="291"/>
                </a:lnTo>
                <a:lnTo>
                  <a:pt x="162" y="288"/>
                </a:lnTo>
                <a:lnTo>
                  <a:pt x="165" y="288"/>
                </a:lnTo>
                <a:lnTo>
                  <a:pt x="172" y="282"/>
                </a:lnTo>
                <a:lnTo>
                  <a:pt x="178" y="279"/>
                </a:lnTo>
                <a:lnTo>
                  <a:pt x="181" y="279"/>
                </a:lnTo>
                <a:lnTo>
                  <a:pt x="181" y="276"/>
                </a:lnTo>
                <a:lnTo>
                  <a:pt x="187" y="273"/>
                </a:lnTo>
                <a:lnTo>
                  <a:pt x="190" y="273"/>
                </a:lnTo>
                <a:lnTo>
                  <a:pt x="200" y="266"/>
                </a:lnTo>
                <a:lnTo>
                  <a:pt x="206" y="257"/>
                </a:lnTo>
                <a:lnTo>
                  <a:pt x="206" y="254"/>
                </a:lnTo>
                <a:lnTo>
                  <a:pt x="209" y="254"/>
                </a:lnTo>
                <a:lnTo>
                  <a:pt x="209" y="248"/>
                </a:lnTo>
                <a:lnTo>
                  <a:pt x="212" y="244"/>
                </a:lnTo>
                <a:lnTo>
                  <a:pt x="215" y="244"/>
                </a:lnTo>
                <a:lnTo>
                  <a:pt x="215" y="241"/>
                </a:lnTo>
                <a:lnTo>
                  <a:pt x="215" y="235"/>
                </a:lnTo>
                <a:lnTo>
                  <a:pt x="218" y="235"/>
                </a:lnTo>
                <a:lnTo>
                  <a:pt x="222" y="235"/>
                </a:lnTo>
                <a:lnTo>
                  <a:pt x="225" y="232"/>
                </a:lnTo>
                <a:lnTo>
                  <a:pt x="228" y="229"/>
                </a:lnTo>
                <a:lnTo>
                  <a:pt x="231" y="226"/>
                </a:lnTo>
                <a:lnTo>
                  <a:pt x="234" y="223"/>
                </a:lnTo>
                <a:lnTo>
                  <a:pt x="237" y="219"/>
                </a:lnTo>
                <a:lnTo>
                  <a:pt x="240" y="210"/>
                </a:lnTo>
                <a:lnTo>
                  <a:pt x="240" y="207"/>
                </a:lnTo>
                <a:lnTo>
                  <a:pt x="243" y="204"/>
                </a:lnTo>
                <a:lnTo>
                  <a:pt x="247" y="201"/>
                </a:lnTo>
                <a:lnTo>
                  <a:pt x="253" y="198"/>
                </a:lnTo>
                <a:lnTo>
                  <a:pt x="256" y="198"/>
                </a:lnTo>
                <a:lnTo>
                  <a:pt x="253" y="201"/>
                </a:lnTo>
                <a:lnTo>
                  <a:pt x="253" y="204"/>
                </a:lnTo>
                <a:lnTo>
                  <a:pt x="256" y="207"/>
                </a:lnTo>
                <a:lnTo>
                  <a:pt x="256" y="207"/>
                </a:lnTo>
                <a:lnTo>
                  <a:pt x="259" y="207"/>
                </a:lnTo>
                <a:lnTo>
                  <a:pt x="259" y="207"/>
                </a:lnTo>
                <a:lnTo>
                  <a:pt x="259" y="207"/>
                </a:lnTo>
                <a:lnTo>
                  <a:pt x="259" y="210"/>
                </a:lnTo>
                <a:lnTo>
                  <a:pt x="259" y="210"/>
                </a:lnTo>
                <a:lnTo>
                  <a:pt x="256" y="213"/>
                </a:lnTo>
                <a:lnTo>
                  <a:pt x="256" y="213"/>
                </a:lnTo>
                <a:lnTo>
                  <a:pt x="259" y="219"/>
                </a:lnTo>
                <a:lnTo>
                  <a:pt x="259" y="223"/>
                </a:lnTo>
                <a:lnTo>
                  <a:pt x="262" y="216"/>
                </a:lnTo>
                <a:lnTo>
                  <a:pt x="265" y="216"/>
                </a:lnTo>
                <a:lnTo>
                  <a:pt x="268" y="216"/>
                </a:lnTo>
                <a:lnTo>
                  <a:pt x="268" y="216"/>
                </a:lnTo>
                <a:lnTo>
                  <a:pt x="268" y="219"/>
                </a:lnTo>
                <a:lnTo>
                  <a:pt x="272" y="219"/>
                </a:lnTo>
                <a:lnTo>
                  <a:pt x="275" y="219"/>
                </a:lnTo>
                <a:lnTo>
                  <a:pt x="272" y="216"/>
                </a:lnTo>
                <a:lnTo>
                  <a:pt x="272" y="216"/>
                </a:lnTo>
                <a:lnTo>
                  <a:pt x="275" y="213"/>
                </a:lnTo>
                <a:lnTo>
                  <a:pt x="278" y="213"/>
                </a:lnTo>
                <a:lnTo>
                  <a:pt x="278" y="216"/>
                </a:lnTo>
                <a:lnTo>
                  <a:pt x="278" y="216"/>
                </a:lnTo>
                <a:lnTo>
                  <a:pt x="275" y="219"/>
                </a:lnTo>
                <a:lnTo>
                  <a:pt x="272" y="223"/>
                </a:lnTo>
                <a:lnTo>
                  <a:pt x="275" y="223"/>
                </a:lnTo>
                <a:lnTo>
                  <a:pt x="278" y="219"/>
                </a:lnTo>
                <a:lnTo>
                  <a:pt x="275" y="226"/>
                </a:lnTo>
                <a:lnTo>
                  <a:pt x="272" y="226"/>
                </a:lnTo>
                <a:lnTo>
                  <a:pt x="272" y="229"/>
                </a:lnTo>
                <a:lnTo>
                  <a:pt x="272" y="232"/>
                </a:lnTo>
                <a:lnTo>
                  <a:pt x="275" y="235"/>
                </a:lnTo>
                <a:lnTo>
                  <a:pt x="275" y="238"/>
                </a:lnTo>
                <a:lnTo>
                  <a:pt x="275" y="241"/>
                </a:lnTo>
                <a:lnTo>
                  <a:pt x="272" y="241"/>
                </a:lnTo>
                <a:lnTo>
                  <a:pt x="262" y="251"/>
                </a:lnTo>
                <a:lnTo>
                  <a:pt x="262" y="254"/>
                </a:lnTo>
                <a:lnTo>
                  <a:pt x="253" y="260"/>
                </a:lnTo>
                <a:lnTo>
                  <a:pt x="256" y="263"/>
                </a:lnTo>
                <a:lnTo>
                  <a:pt x="253" y="263"/>
                </a:lnTo>
                <a:lnTo>
                  <a:pt x="247" y="266"/>
                </a:lnTo>
                <a:lnTo>
                  <a:pt x="247" y="269"/>
                </a:lnTo>
                <a:lnTo>
                  <a:pt x="243" y="276"/>
                </a:lnTo>
                <a:lnTo>
                  <a:pt x="240" y="276"/>
                </a:lnTo>
                <a:lnTo>
                  <a:pt x="237" y="282"/>
                </a:lnTo>
                <a:lnTo>
                  <a:pt x="231" y="282"/>
                </a:lnTo>
                <a:lnTo>
                  <a:pt x="228" y="285"/>
                </a:lnTo>
                <a:lnTo>
                  <a:pt x="228" y="291"/>
                </a:lnTo>
                <a:lnTo>
                  <a:pt x="228" y="294"/>
                </a:lnTo>
                <a:lnTo>
                  <a:pt x="225" y="294"/>
                </a:lnTo>
                <a:lnTo>
                  <a:pt x="228" y="298"/>
                </a:lnTo>
                <a:lnTo>
                  <a:pt x="231" y="301"/>
                </a:lnTo>
                <a:lnTo>
                  <a:pt x="231" y="304"/>
                </a:lnTo>
                <a:lnTo>
                  <a:pt x="228" y="307"/>
                </a:lnTo>
                <a:lnTo>
                  <a:pt x="228" y="304"/>
                </a:lnTo>
                <a:lnTo>
                  <a:pt x="228" y="301"/>
                </a:lnTo>
                <a:lnTo>
                  <a:pt x="225" y="301"/>
                </a:lnTo>
                <a:lnTo>
                  <a:pt x="225" y="301"/>
                </a:lnTo>
                <a:lnTo>
                  <a:pt x="225" y="304"/>
                </a:lnTo>
                <a:lnTo>
                  <a:pt x="225" y="307"/>
                </a:lnTo>
                <a:lnTo>
                  <a:pt x="222" y="304"/>
                </a:lnTo>
                <a:lnTo>
                  <a:pt x="215" y="304"/>
                </a:lnTo>
                <a:lnTo>
                  <a:pt x="222" y="304"/>
                </a:lnTo>
                <a:lnTo>
                  <a:pt x="222" y="301"/>
                </a:lnTo>
                <a:lnTo>
                  <a:pt x="218" y="301"/>
                </a:lnTo>
                <a:lnTo>
                  <a:pt x="215" y="304"/>
                </a:lnTo>
                <a:lnTo>
                  <a:pt x="215" y="304"/>
                </a:lnTo>
                <a:lnTo>
                  <a:pt x="212" y="304"/>
                </a:lnTo>
                <a:lnTo>
                  <a:pt x="212" y="304"/>
                </a:lnTo>
                <a:lnTo>
                  <a:pt x="209" y="301"/>
                </a:lnTo>
                <a:lnTo>
                  <a:pt x="206" y="301"/>
                </a:lnTo>
                <a:lnTo>
                  <a:pt x="209" y="301"/>
                </a:lnTo>
                <a:lnTo>
                  <a:pt x="209" y="304"/>
                </a:lnTo>
                <a:lnTo>
                  <a:pt x="206" y="307"/>
                </a:lnTo>
                <a:lnTo>
                  <a:pt x="206" y="310"/>
                </a:lnTo>
                <a:lnTo>
                  <a:pt x="203" y="310"/>
                </a:lnTo>
                <a:lnTo>
                  <a:pt x="200" y="313"/>
                </a:lnTo>
                <a:lnTo>
                  <a:pt x="197" y="313"/>
                </a:lnTo>
                <a:lnTo>
                  <a:pt x="197" y="310"/>
                </a:lnTo>
                <a:lnTo>
                  <a:pt x="193" y="313"/>
                </a:lnTo>
                <a:lnTo>
                  <a:pt x="190" y="313"/>
                </a:lnTo>
                <a:lnTo>
                  <a:pt x="187" y="320"/>
                </a:lnTo>
                <a:lnTo>
                  <a:pt x="187" y="323"/>
                </a:lnTo>
                <a:lnTo>
                  <a:pt x="187" y="326"/>
                </a:lnTo>
                <a:lnTo>
                  <a:pt x="181" y="332"/>
                </a:lnTo>
                <a:lnTo>
                  <a:pt x="181" y="335"/>
                </a:lnTo>
                <a:lnTo>
                  <a:pt x="178" y="338"/>
                </a:lnTo>
                <a:lnTo>
                  <a:pt x="172" y="345"/>
                </a:lnTo>
                <a:lnTo>
                  <a:pt x="168" y="348"/>
                </a:lnTo>
                <a:lnTo>
                  <a:pt x="165" y="354"/>
                </a:lnTo>
                <a:lnTo>
                  <a:pt x="162" y="360"/>
                </a:lnTo>
                <a:lnTo>
                  <a:pt x="159" y="363"/>
                </a:lnTo>
                <a:lnTo>
                  <a:pt x="159" y="366"/>
                </a:lnTo>
                <a:lnTo>
                  <a:pt x="159" y="366"/>
                </a:lnTo>
                <a:lnTo>
                  <a:pt x="156" y="366"/>
                </a:lnTo>
                <a:lnTo>
                  <a:pt x="162" y="366"/>
                </a:lnTo>
                <a:lnTo>
                  <a:pt x="162" y="370"/>
                </a:lnTo>
                <a:lnTo>
                  <a:pt x="159" y="370"/>
                </a:lnTo>
                <a:lnTo>
                  <a:pt x="153" y="370"/>
                </a:lnTo>
                <a:lnTo>
                  <a:pt x="150" y="373"/>
                </a:lnTo>
                <a:lnTo>
                  <a:pt x="147" y="376"/>
                </a:lnTo>
                <a:lnTo>
                  <a:pt x="143" y="379"/>
                </a:lnTo>
                <a:lnTo>
                  <a:pt x="140" y="382"/>
                </a:lnTo>
                <a:lnTo>
                  <a:pt x="140" y="379"/>
                </a:lnTo>
                <a:lnTo>
                  <a:pt x="137" y="376"/>
                </a:lnTo>
                <a:lnTo>
                  <a:pt x="140" y="379"/>
                </a:lnTo>
                <a:lnTo>
                  <a:pt x="140" y="382"/>
                </a:lnTo>
                <a:lnTo>
                  <a:pt x="134" y="385"/>
                </a:lnTo>
                <a:lnTo>
                  <a:pt x="131" y="388"/>
                </a:lnTo>
                <a:lnTo>
                  <a:pt x="122" y="391"/>
                </a:lnTo>
                <a:lnTo>
                  <a:pt x="118" y="391"/>
                </a:lnTo>
                <a:lnTo>
                  <a:pt x="115" y="391"/>
                </a:lnTo>
                <a:lnTo>
                  <a:pt x="115" y="388"/>
                </a:lnTo>
                <a:lnTo>
                  <a:pt x="109" y="391"/>
                </a:lnTo>
                <a:lnTo>
                  <a:pt x="109" y="391"/>
                </a:lnTo>
                <a:lnTo>
                  <a:pt x="112" y="388"/>
                </a:lnTo>
                <a:lnTo>
                  <a:pt x="109" y="388"/>
                </a:lnTo>
                <a:lnTo>
                  <a:pt x="106" y="385"/>
                </a:lnTo>
                <a:lnTo>
                  <a:pt x="106" y="379"/>
                </a:lnTo>
                <a:lnTo>
                  <a:pt x="103" y="379"/>
                </a:lnTo>
                <a:lnTo>
                  <a:pt x="100" y="379"/>
                </a:lnTo>
                <a:lnTo>
                  <a:pt x="100" y="376"/>
                </a:lnTo>
                <a:lnTo>
                  <a:pt x="100" y="376"/>
                </a:lnTo>
                <a:lnTo>
                  <a:pt x="96" y="373"/>
                </a:lnTo>
                <a:lnTo>
                  <a:pt x="96" y="370"/>
                </a:lnTo>
                <a:lnTo>
                  <a:pt x="93" y="373"/>
                </a:lnTo>
                <a:lnTo>
                  <a:pt x="93" y="373"/>
                </a:lnTo>
                <a:lnTo>
                  <a:pt x="90" y="373"/>
                </a:lnTo>
                <a:lnTo>
                  <a:pt x="90" y="373"/>
                </a:lnTo>
                <a:lnTo>
                  <a:pt x="84" y="373"/>
                </a:lnTo>
                <a:lnTo>
                  <a:pt x="84" y="37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4" name="Freeform 162">
            <a:extLst>
              <a:ext uri="{FF2B5EF4-FFF2-40B4-BE49-F238E27FC236}">
                <a16:creationId xmlns:a16="http://schemas.microsoft.com/office/drawing/2014/main" id="{DA44F5AE-0928-64B0-2BF3-761BCB412123}"/>
              </a:ext>
            </a:extLst>
          </p:cNvPr>
          <p:cNvSpPr>
            <a:spLocks noEditPoints="1"/>
          </p:cNvSpPr>
          <p:nvPr userDrawn="1"/>
        </p:nvSpPr>
        <p:spPr bwMode="auto">
          <a:xfrm>
            <a:off x="11908650" y="4380785"/>
            <a:ext cx="555590" cy="346078"/>
          </a:xfrm>
          <a:custGeom>
            <a:avLst/>
            <a:gdLst>
              <a:gd name="T0" fmla="*/ 66 w 175"/>
              <a:gd name="T1" fmla="*/ 106 h 109"/>
              <a:gd name="T2" fmla="*/ 56 w 175"/>
              <a:gd name="T3" fmla="*/ 94 h 109"/>
              <a:gd name="T4" fmla="*/ 78 w 175"/>
              <a:gd name="T5" fmla="*/ 103 h 109"/>
              <a:gd name="T6" fmla="*/ 94 w 175"/>
              <a:gd name="T7" fmla="*/ 97 h 109"/>
              <a:gd name="T8" fmla="*/ 109 w 175"/>
              <a:gd name="T9" fmla="*/ 91 h 109"/>
              <a:gd name="T10" fmla="*/ 116 w 175"/>
              <a:gd name="T11" fmla="*/ 88 h 109"/>
              <a:gd name="T12" fmla="*/ 125 w 175"/>
              <a:gd name="T13" fmla="*/ 91 h 109"/>
              <a:gd name="T14" fmla="*/ 147 w 175"/>
              <a:gd name="T15" fmla="*/ 72 h 109"/>
              <a:gd name="T16" fmla="*/ 159 w 175"/>
              <a:gd name="T17" fmla="*/ 72 h 109"/>
              <a:gd name="T18" fmla="*/ 159 w 175"/>
              <a:gd name="T19" fmla="*/ 59 h 109"/>
              <a:gd name="T20" fmla="*/ 169 w 175"/>
              <a:gd name="T21" fmla="*/ 59 h 109"/>
              <a:gd name="T22" fmla="*/ 166 w 175"/>
              <a:gd name="T23" fmla="*/ 41 h 109"/>
              <a:gd name="T24" fmla="*/ 163 w 175"/>
              <a:gd name="T25" fmla="*/ 34 h 109"/>
              <a:gd name="T26" fmla="*/ 156 w 175"/>
              <a:gd name="T27" fmla="*/ 28 h 109"/>
              <a:gd name="T28" fmla="*/ 159 w 175"/>
              <a:gd name="T29" fmla="*/ 16 h 109"/>
              <a:gd name="T30" fmla="*/ 156 w 175"/>
              <a:gd name="T31" fmla="*/ 9 h 109"/>
              <a:gd name="T32" fmla="*/ 147 w 175"/>
              <a:gd name="T33" fmla="*/ 9 h 109"/>
              <a:gd name="T34" fmla="*/ 141 w 175"/>
              <a:gd name="T35" fmla="*/ 6 h 109"/>
              <a:gd name="T36" fmla="*/ 131 w 175"/>
              <a:gd name="T37" fmla="*/ 6 h 109"/>
              <a:gd name="T38" fmla="*/ 122 w 175"/>
              <a:gd name="T39" fmla="*/ 12 h 109"/>
              <a:gd name="T40" fmla="*/ 109 w 175"/>
              <a:gd name="T41" fmla="*/ 12 h 109"/>
              <a:gd name="T42" fmla="*/ 103 w 175"/>
              <a:gd name="T43" fmla="*/ 25 h 109"/>
              <a:gd name="T44" fmla="*/ 97 w 175"/>
              <a:gd name="T45" fmla="*/ 16 h 109"/>
              <a:gd name="T46" fmla="*/ 84 w 175"/>
              <a:gd name="T47" fmla="*/ 22 h 109"/>
              <a:gd name="T48" fmla="*/ 75 w 175"/>
              <a:gd name="T49" fmla="*/ 12 h 109"/>
              <a:gd name="T50" fmla="*/ 69 w 175"/>
              <a:gd name="T51" fmla="*/ 31 h 109"/>
              <a:gd name="T52" fmla="*/ 59 w 175"/>
              <a:gd name="T53" fmla="*/ 37 h 109"/>
              <a:gd name="T54" fmla="*/ 50 w 175"/>
              <a:gd name="T55" fmla="*/ 34 h 109"/>
              <a:gd name="T56" fmla="*/ 50 w 175"/>
              <a:gd name="T57" fmla="*/ 22 h 109"/>
              <a:gd name="T58" fmla="*/ 53 w 175"/>
              <a:gd name="T59" fmla="*/ 12 h 109"/>
              <a:gd name="T60" fmla="*/ 41 w 175"/>
              <a:gd name="T61" fmla="*/ 3 h 109"/>
              <a:gd name="T62" fmla="*/ 25 w 175"/>
              <a:gd name="T63" fmla="*/ 0 h 109"/>
              <a:gd name="T64" fmla="*/ 34 w 175"/>
              <a:gd name="T65" fmla="*/ 3 h 109"/>
              <a:gd name="T66" fmla="*/ 31 w 175"/>
              <a:gd name="T67" fmla="*/ 6 h 109"/>
              <a:gd name="T68" fmla="*/ 38 w 175"/>
              <a:gd name="T69" fmla="*/ 16 h 109"/>
              <a:gd name="T70" fmla="*/ 25 w 175"/>
              <a:gd name="T71" fmla="*/ 9 h 109"/>
              <a:gd name="T72" fmla="*/ 19 w 175"/>
              <a:gd name="T73" fmla="*/ 9 h 109"/>
              <a:gd name="T74" fmla="*/ 19 w 175"/>
              <a:gd name="T75" fmla="*/ 19 h 109"/>
              <a:gd name="T76" fmla="*/ 19 w 175"/>
              <a:gd name="T77" fmla="*/ 22 h 109"/>
              <a:gd name="T78" fmla="*/ 9 w 175"/>
              <a:gd name="T79" fmla="*/ 22 h 109"/>
              <a:gd name="T80" fmla="*/ 6 w 175"/>
              <a:gd name="T81" fmla="*/ 25 h 109"/>
              <a:gd name="T82" fmla="*/ 13 w 175"/>
              <a:gd name="T83" fmla="*/ 34 h 109"/>
              <a:gd name="T84" fmla="*/ 22 w 175"/>
              <a:gd name="T85" fmla="*/ 31 h 109"/>
              <a:gd name="T86" fmla="*/ 34 w 175"/>
              <a:gd name="T87" fmla="*/ 31 h 109"/>
              <a:gd name="T88" fmla="*/ 41 w 175"/>
              <a:gd name="T89" fmla="*/ 31 h 109"/>
              <a:gd name="T90" fmla="*/ 44 w 175"/>
              <a:gd name="T91" fmla="*/ 37 h 109"/>
              <a:gd name="T92" fmla="*/ 31 w 175"/>
              <a:gd name="T93" fmla="*/ 44 h 109"/>
              <a:gd name="T94" fmla="*/ 44 w 175"/>
              <a:gd name="T95" fmla="*/ 44 h 109"/>
              <a:gd name="T96" fmla="*/ 28 w 175"/>
              <a:gd name="T97" fmla="*/ 47 h 109"/>
              <a:gd name="T98" fmla="*/ 25 w 175"/>
              <a:gd name="T99" fmla="*/ 47 h 109"/>
              <a:gd name="T100" fmla="*/ 9 w 175"/>
              <a:gd name="T101" fmla="*/ 47 h 109"/>
              <a:gd name="T102" fmla="*/ 13 w 175"/>
              <a:gd name="T103" fmla="*/ 56 h 109"/>
              <a:gd name="T104" fmla="*/ 31 w 175"/>
              <a:gd name="T105" fmla="*/ 59 h 109"/>
              <a:gd name="T106" fmla="*/ 34 w 175"/>
              <a:gd name="T107" fmla="*/ 69 h 109"/>
              <a:gd name="T108" fmla="*/ 38 w 175"/>
              <a:gd name="T109" fmla="*/ 75 h 109"/>
              <a:gd name="T110" fmla="*/ 41 w 175"/>
              <a:gd name="T111" fmla="*/ 72 h 109"/>
              <a:gd name="T112" fmla="*/ 31 w 175"/>
              <a:gd name="T113" fmla="*/ 81 h 109"/>
              <a:gd name="T114" fmla="*/ 22 w 175"/>
              <a:gd name="T115" fmla="*/ 78 h 109"/>
              <a:gd name="T116" fmla="*/ 28 w 175"/>
              <a:gd name="T117" fmla="*/ 91 h 109"/>
              <a:gd name="T118" fmla="*/ 47 w 175"/>
              <a:gd name="T119" fmla="*/ 9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5" h="109">
                <a:moveTo>
                  <a:pt x="63" y="109"/>
                </a:moveTo>
                <a:lnTo>
                  <a:pt x="59" y="106"/>
                </a:lnTo>
                <a:lnTo>
                  <a:pt x="63" y="103"/>
                </a:lnTo>
                <a:lnTo>
                  <a:pt x="63" y="103"/>
                </a:lnTo>
                <a:lnTo>
                  <a:pt x="66" y="106"/>
                </a:lnTo>
                <a:lnTo>
                  <a:pt x="63" y="109"/>
                </a:lnTo>
                <a:lnTo>
                  <a:pt x="63" y="109"/>
                </a:lnTo>
                <a:close/>
                <a:moveTo>
                  <a:pt x="53" y="91"/>
                </a:moveTo>
                <a:lnTo>
                  <a:pt x="56" y="91"/>
                </a:lnTo>
                <a:lnTo>
                  <a:pt x="56" y="94"/>
                </a:lnTo>
                <a:lnTo>
                  <a:pt x="63" y="100"/>
                </a:lnTo>
                <a:lnTo>
                  <a:pt x="66" y="100"/>
                </a:lnTo>
                <a:lnTo>
                  <a:pt x="69" y="97"/>
                </a:lnTo>
                <a:lnTo>
                  <a:pt x="72" y="97"/>
                </a:lnTo>
                <a:lnTo>
                  <a:pt x="78" y="103"/>
                </a:lnTo>
                <a:lnTo>
                  <a:pt x="84" y="103"/>
                </a:lnTo>
                <a:lnTo>
                  <a:pt x="88" y="106"/>
                </a:lnTo>
                <a:lnTo>
                  <a:pt x="94" y="103"/>
                </a:lnTo>
                <a:lnTo>
                  <a:pt x="94" y="100"/>
                </a:lnTo>
                <a:lnTo>
                  <a:pt x="94" y="97"/>
                </a:lnTo>
                <a:lnTo>
                  <a:pt x="97" y="100"/>
                </a:lnTo>
                <a:lnTo>
                  <a:pt x="100" y="100"/>
                </a:lnTo>
                <a:lnTo>
                  <a:pt x="103" y="97"/>
                </a:lnTo>
                <a:lnTo>
                  <a:pt x="103" y="94"/>
                </a:lnTo>
                <a:lnTo>
                  <a:pt x="109" y="91"/>
                </a:lnTo>
                <a:lnTo>
                  <a:pt x="106" y="94"/>
                </a:lnTo>
                <a:lnTo>
                  <a:pt x="109" y="97"/>
                </a:lnTo>
                <a:lnTo>
                  <a:pt x="109" y="94"/>
                </a:lnTo>
                <a:lnTo>
                  <a:pt x="113" y="94"/>
                </a:lnTo>
                <a:lnTo>
                  <a:pt x="116" y="88"/>
                </a:lnTo>
                <a:lnTo>
                  <a:pt x="119" y="91"/>
                </a:lnTo>
                <a:lnTo>
                  <a:pt x="119" y="91"/>
                </a:lnTo>
                <a:lnTo>
                  <a:pt x="125" y="91"/>
                </a:lnTo>
                <a:lnTo>
                  <a:pt x="125" y="91"/>
                </a:lnTo>
                <a:lnTo>
                  <a:pt x="125" y="91"/>
                </a:lnTo>
                <a:lnTo>
                  <a:pt x="134" y="81"/>
                </a:lnTo>
                <a:lnTo>
                  <a:pt x="138" y="78"/>
                </a:lnTo>
                <a:lnTo>
                  <a:pt x="147" y="75"/>
                </a:lnTo>
                <a:lnTo>
                  <a:pt x="147" y="75"/>
                </a:lnTo>
                <a:lnTo>
                  <a:pt x="147" y="72"/>
                </a:lnTo>
                <a:lnTo>
                  <a:pt x="147" y="69"/>
                </a:lnTo>
                <a:lnTo>
                  <a:pt x="150" y="69"/>
                </a:lnTo>
                <a:lnTo>
                  <a:pt x="150" y="72"/>
                </a:lnTo>
                <a:lnTo>
                  <a:pt x="156" y="75"/>
                </a:lnTo>
                <a:lnTo>
                  <a:pt x="159" y="72"/>
                </a:lnTo>
                <a:lnTo>
                  <a:pt x="159" y="69"/>
                </a:lnTo>
                <a:lnTo>
                  <a:pt x="156" y="69"/>
                </a:lnTo>
                <a:lnTo>
                  <a:pt x="159" y="66"/>
                </a:lnTo>
                <a:lnTo>
                  <a:pt x="159" y="66"/>
                </a:lnTo>
                <a:lnTo>
                  <a:pt x="159" y="59"/>
                </a:lnTo>
                <a:lnTo>
                  <a:pt x="159" y="56"/>
                </a:lnTo>
                <a:lnTo>
                  <a:pt x="163" y="59"/>
                </a:lnTo>
                <a:lnTo>
                  <a:pt x="163" y="62"/>
                </a:lnTo>
                <a:lnTo>
                  <a:pt x="166" y="62"/>
                </a:lnTo>
                <a:lnTo>
                  <a:pt x="169" y="59"/>
                </a:lnTo>
                <a:lnTo>
                  <a:pt x="169" y="56"/>
                </a:lnTo>
                <a:lnTo>
                  <a:pt x="166" y="50"/>
                </a:lnTo>
                <a:lnTo>
                  <a:pt x="166" y="47"/>
                </a:lnTo>
                <a:lnTo>
                  <a:pt x="166" y="47"/>
                </a:lnTo>
                <a:lnTo>
                  <a:pt x="166" y="41"/>
                </a:lnTo>
                <a:lnTo>
                  <a:pt x="169" y="41"/>
                </a:lnTo>
                <a:lnTo>
                  <a:pt x="172" y="41"/>
                </a:lnTo>
                <a:lnTo>
                  <a:pt x="175" y="37"/>
                </a:lnTo>
                <a:lnTo>
                  <a:pt x="172" y="34"/>
                </a:lnTo>
                <a:lnTo>
                  <a:pt x="163" y="34"/>
                </a:lnTo>
                <a:lnTo>
                  <a:pt x="163" y="34"/>
                </a:lnTo>
                <a:lnTo>
                  <a:pt x="163" y="31"/>
                </a:lnTo>
                <a:lnTo>
                  <a:pt x="163" y="28"/>
                </a:lnTo>
                <a:lnTo>
                  <a:pt x="159" y="28"/>
                </a:lnTo>
                <a:lnTo>
                  <a:pt x="156" y="28"/>
                </a:lnTo>
                <a:lnTo>
                  <a:pt x="156" y="25"/>
                </a:lnTo>
                <a:lnTo>
                  <a:pt x="159" y="22"/>
                </a:lnTo>
                <a:lnTo>
                  <a:pt x="163" y="22"/>
                </a:lnTo>
                <a:lnTo>
                  <a:pt x="159" y="16"/>
                </a:lnTo>
                <a:lnTo>
                  <a:pt x="159" y="16"/>
                </a:lnTo>
                <a:lnTo>
                  <a:pt x="156" y="19"/>
                </a:lnTo>
                <a:lnTo>
                  <a:pt x="153" y="16"/>
                </a:lnTo>
                <a:lnTo>
                  <a:pt x="150" y="12"/>
                </a:lnTo>
                <a:lnTo>
                  <a:pt x="156" y="12"/>
                </a:lnTo>
                <a:lnTo>
                  <a:pt x="156" y="9"/>
                </a:lnTo>
                <a:lnTo>
                  <a:pt x="156" y="6"/>
                </a:lnTo>
                <a:lnTo>
                  <a:pt x="159" y="6"/>
                </a:lnTo>
                <a:lnTo>
                  <a:pt x="156" y="3"/>
                </a:lnTo>
                <a:lnTo>
                  <a:pt x="153" y="3"/>
                </a:lnTo>
                <a:lnTo>
                  <a:pt x="147" y="9"/>
                </a:lnTo>
                <a:lnTo>
                  <a:pt x="147" y="12"/>
                </a:lnTo>
                <a:lnTo>
                  <a:pt x="144" y="16"/>
                </a:lnTo>
                <a:lnTo>
                  <a:pt x="141" y="9"/>
                </a:lnTo>
                <a:lnTo>
                  <a:pt x="144" y="9"/>
                </a:lnTo>
                <a:lnTo>
                  <a:pt x="141" y="6"/>
                </a:lnTo>
                <a:lnTo>
                  <a:pt x="141" y="3"/>
                </a:lnTo>
                <a:lnTo>
                  <a:pt x="138" y="0"/>
                </a:lnTo>
                <a:lnTo>
                  <a:pt x="134" y="3"/>
                </a:lnTo>
                <a:lnTo>
                  <a:pt x="131" y="3"/>
                </a:lnTo>
                <a:lnTo>
                  <a:pt x="131" y="6"/>
                </a:lnTo>
                <a:lnTo>
                  <a:pt x="131" y="9"/>
                </a:lnTo>
                <a:lnTo>
                  <a:pt x="131" y="12"/>
                </a:lnTo>
                <a:lnTo>
                  <a:pt x="125" y="12"/>
                </a:lnTo>
                <a:lnTo>
                  <a:pt x="122" y="16"/>
                </a:lnTo>
                <a:lnTo>
                  <a:pt x="122" y="12"/>
                </a:lnTo>
                <a:lnTo>
                  <a:pt x="119" y="9"/>
                </a:lnTo>
                <a:lnTo>
                  <a:pt x="119" y="12"/>
                </a:lnTo>
                <a:lnTo>
                  <a:pt x="116" y="19"/>
                </a:lnTo>
                <a:lnTo>
                  <a:pt x="113" y="19"/>
                </a:lnTo>
                <a:lnTo>
                  <a:pt x="109" y="12"/>
                </a:lnTo>
                <a:lnTo>
                  <a:pt x="106" y="12"/>
                </a:lnTo>
                <a:lnTo>
                  <a:pt x="103" y="12"/>
                </a:lnTo>
                <a:lnTo>
                  <a:pt x="100" y="12"/>
                </a:lnTo>
                <a:lnTo>
                  <a:pt x="100" y="19"/>
                </a:lnTo>
                <a:lnTo>
                  <a:pt x="103" y="25"/>
                </a:lnTo>
                <a:lnTo>
                  <a:pt x="100" y="34"/>
                </a:lnTo>
                <a:lnTo>
                  <a:pt x="100" y="25"/>
                </a:lnTo>
                <a:lnTo>
                  <a:pt x="97" y="22"/>
                </a:lnTo>
                <a:lnTo>
                  <a:pt x="97" y="19"/>
                </a:lnTo>
                <a:lnTo>
                  <a:pt x="97" y="16"/>
                </a:lnTo>
                <a:lnTo>
                  <a:pt x="97" y="12"/>
                </a:lnTo>
                <a:lnTo>
                  <a:pt x="91" y="9"/>
                </a:lnTo>
                <a:lnTo>
                  <a:pt x="84" y="16"/>
                </a:lnTo>
                <a:lnTo>
                  <a:pt x="84" y="19"/>
                </a:lnTo>
                <a:lnTo>
                  <a:pt x="84" y="22"/>
                </a:lnTo>
                <a:lnTo>
                  <a:pt x="81" y="28"/>
                </a:lnTo>
                <a:lnTo>
                  <a:pt x="78" y="28"/>
                </a:lnTo>
                <a:lnTo>
                  <a:pt x="78" y="22"/>
                </a:lnTo>
                <a:lnTo>
                  <a:pt x="75" y="19"/>
                </a:lnTo>
                <a:lnTo>
                  <a:pt x="75" y="12"/>
                </a:lnTo>
                <a:lnTo>
                  <a:pt x="72" y="9"/>
                </a:lnTo>
                <a:lnTo>
                  <a:pt x="66" y="12"/>
                </a:lnTo>
                <a:lnTo>
                  <a:pt x="69" y="22"/>
                </a:lnTo>
                <a:lnTo>
                  <a:pt x="69" y="25"/>
                </a:lnTo>
                <a:lnTo>
                  <a:pt x="69" y="31"/>
                </a:lnTo>
                <a:lnTo>
                  <a:pt x="66" y="34"/>
                </a:lnTo>
                <a:lnTo>
                  <a:pt x="63" y="34"/>
                </a:lnTo>
                <a:lnTo>
                  <a:pt x="63" y="31"/>
                </a:lnTo>
                <a:lnTo>
                  <a:pt x="59" y="31"/>
                </a:lnTo>
                <a:lnTo>
                  <a:pt x="59" y="37"/>
                </a:lnTo>
                <a:lnTo>
                  <a:pt x="56" y="37"/>
                </a:lnTo>
                <a:lnTo>
                  <a:pt x="56" y="44"/>
                </a:lnTo>
                <a:lnTo>
                  <a:pt x="53" y="37"/>
                </a:lnTo>
                <a:lnTo>
                  <a:pt x="50" y="37"/>
                </a:lnTo>
                <a:lnTo>
                  <a:pt x="50" y="34"/>
                </a:lnTo>
                <a:lnTo>
                  <a:pt x="53" y="31"/>
                </a:lnTo>
                <a:lnTo>
                  <a:pt x="53" y="28"/>
                </a:lnTo>
                <a:lnTo>
                  <a:pt x="50" y="28"/>
                </a:lnTo>
                <a:lnTo>
                  <a:pt x="50" y="25"/>
                </a:lnTo>
                <a:lnTo>
                  <a:pt x="50" y="22"/>
                </a:lnTo>
                <a:lnTo>
                  <a:pt x="50" y="25"/>
                </a:lnTo>
                <a:lnTo>
                  <a:pt x="53" y="22"/>
                </a:lnTo>
                <a:lnTo>
                  <a:pt x="53" y="19"/>
                </a:lnTo>
                <a:lnTo>
                  <a:pt x="50" y="16"/>
                </a:lnTo>
                <a:lnTo>
                  <a:pt x="53" y="12"/>
                </a:lnTo>
                <a:lnTo>
                  <a:pt x="50" y="9"/>
                </a:lnTo>
                <a:lnTo>
                  <a:pt x="47" y="12"/>
                </a:lnTo>
                <a:lnTo>
                  <a:pt x="47" y="9"/>
                </a:lnTo>
                <a:lnTo>
                  <a:pt x="41" y="6"/>
                </a:lnTo>
                <a:lnTo>
                  <a:pt x="41" y="3"/>
                </a:lnTo>
                <a:lnTo>
                  <a:pt x="41" y="0"/>
                </a:lnTo>
                <a:lnTo>
                  <a:pt x="34" y="0"/>
                </a:lnTo>
                <a:lnTo>
                  <a:pt x="31" y="0"/>
                </a:lnTo>
                <a:lnTo>
                  <a:pt x="25" y="0"/>
                </a:lnTo>
                <a:lnTo>
                  <a:pt x="25" y="0"/>
                </a:lnTo>
                <a:lnTo>
                  <a:pt x="28" y="3"/>
                </a:lnTo>
                <a:lnTo>
                  <a:pt x="28" y="3"/>
                </a:lnTo>
                <a:lnTo>
                  <a:pt x="31" y="3"/>
                </a:lnTo>
                <a:lnTo>
                  <a:pt x="31" y="3"/>
                </a:lnTo>
                <a:lnTo>
                  <a:pt x="34" y="3"/>
                </a:lnTo>
                <a:lnTo>
                  <a:pt x="38" y="3"/>
                </a:lnTo>
                <a:lnTo>
                  <a:pt x="38" y="6"/>
                </a:lnTo>
                <a:lnTo>
                  <a:pt x="34" y="6"/>
                </a:lnTo>
                <a:lnTo>
                  <a:pt x="28" y="6"/>
                </a:lnTo>
                <a:lnTo>
                  <a:pt x="31" y="6"/>
                </a:lnTo>
                <a:lnTo>
                  <a:pt x="34" y="9"/>
                </a:lnTo>
                <a:lnTo>
                  <a:pt x="38" y="16"/>
                </a:lnTo>
                <a:lnTo>
                  <a:pt x="38" y="19"/>
                </a:lnTo>
                <a:lnTo>
                  <a:pt x="38" y="19"/>
                </a:lnTo>
                <a:lnTo>
                  <a:pt x="38" y="16"/>
                </a:lnTo>
                <a:lnTo>
                  <a:pt x="31" y="12"/>
                </a:lnTo>
                <a:lnTo>
                  <a:pt x="28" y="16"/>
                </a:lnTo>
                <a:lnTo>
                  <a:pt x="28" y="16"/>
                </a:lnTo>
                <a:lnTo>
                  <a:pt x="28" y="12"/>
                </a:lnTo>
                <a:lnTo>
                  <a:pt x="25" y="9"/>
                </a:lnTo>
                <a:lnTo>
                  <a:pt x="22" y="6"/>
                </a:lnTo>
                <a:lnTo>
                  <a:pt x="19" y="9"/>
                </a:lnTo>
                <a:lnTo>
                  <a:pt x="22" y="12"/>
                </a:lnTo>
                <a:lnTo>
                  <a:pt x="22" y="12"/>
                </a:lnTo>
                <a:lnTo>
                  <a:pt x="19" y="9"/>
                </a:lnTo>
                <a:lnTo>
                  <a:pt x="16" y="9"/>
                </a:lnTo>
                <a:lnTo>
                  <a:pt x="16" y="12"/>
                </a:lnTo>
                <a:lnTo>
                  <a:pt x="16" y="16"/>
                </a:lnTo>
                <a:lnTo>
                  <a:pt x="19" y="16"/>
                </a:lnTo>
                <a:lnTo>
                  <a:pt x="19" y="19"/>
                </a:lnTo>
                <a:lnTo>
                  <a:pt x="16" y="16"/>
                </a:lnTo>
                <a:lnTo>
                  <a:pt x="13" y="19"/>
                </a:lnTo>
                <a:lnTo>
                  <a:pt x="16" y="22"/>
                </a:lnTo>
                <a:lnTo>
                  <a:pt x="19" y="22"/>
                </a:lnTo>
                <a:lnTo>
                  <a:pt x="19" y="22"/>
                </a:lnTo>
                <a:lnTo>
                  <a:pt x="16" y="25"/>
                </a:lnTo>
                <a:lnTo>
                  <a:pt x="19" y="25"/>
                </a:lnTo>
                <a:lnTo>
                  <a:pt x="16" y="25"/>
                </a:lnTo>
                <a:lnTo>
                  <a:pt x="9" y="22"/>
                </a:lnTo>
                <a:lnTo>
                  <a:pt x="9" y="22"/>
                </a:lnTo>
                <a:lnTo>
                  <a:pt x="6" y="22"/>
                </a:lnTo>
                <a:lnTo>
                  <a:pt x="9" y="28"/>
                </a:lnTo>
                <a:lnTo>
                  <a:pt x="13" y="31"/>
                </a:lnTo>
                <a:lnTo>
                  <a:pt x="9" y="31"/>
                </a:lnTo>
                <a:lnTo>
                  <a:pt x="6" y="25"/>
                </a:lnTo>
                <a:lnTo>
                  <a:pt x="3" y="25"/>
                </a:lnTo>
                <a:lnTo>
                  <a:pt x="0" y="28"/>
                </a:lnTo>
                <a:lnTo>
                  <a:pt x="6" y="31"/>
                </a:lnTo>
                <a:lnTo>
                  <a:pt x="9" y="34"/>
                </a:lnTo>
                <a:lnTo>
                  <a:pt x="13" y="34"/>
                </a:lnTo>
                <a:lnTo>
                  <a:pt x="16" y="31"/>
                </a:lnTo>
                <a:lnTo>
                  <a:pt x="19" y="31"/>
                </a:lnTo>
                <a:lnTo>
                  <a:pt x="22" y="28"/>
                </a:lnTo>
                <a:lnTo>
                  <a:pt x="22" y="28"/>
                </a:lnTo>
                <a:lnTo>
                  <a:pt x="22" y="31"/>
                </a:lnTo>
                <a:lnTo>
                  <a:pt x="25" y="31"/>
                </a:lnTo>
                <a:lnTo>
                  <a:pt x="28" y="28"/>
                </a:lnTo>
                <a:lnTo>
                  <a:pt x="28" y="31"/>
                </a:lnTo>
                <a:lnTo>
                  <a:pt x="31" y="31"/>
                </a:lnTo>
                <a:lnTo>
                  <a:pt x="34" y="31"/>
                </a:lnTo>
                <a:lnTo>
                  <a:pt x="34" y="28"/>
                </a:lnTo>
                <a:lnTo>
                  <a:pt x="34" y="31"/>
                </a:lnTo>
                <a:lnTo>
                  <a:pt x="34" y="31"/>
                </a:lnTo>
                <a:lnTo>
                  <a:pt x="41" y="28"/>
                </a:lnTo>
                <a:lnTo>
                  <a:pt x="41" y="31"/>
                </a:lnTo>
                <a:lnTo>
                  <a:pt x="38" y="34"/>
                </a:lnTo>
                <a:lnTo>
                  <a:pt x="41" y="34"/>
                </a:lnTo>
                <a:lnTo>
                  <a:pt x="44" y="34"/>
                </a:lnTo>
                <a:lnTo>
                  <a:pt x="47" y="34"/>
                </a:lnTo>
                <a:lnTo>
                  <a:pt x="44" y="37"/>
                </a:lnTo>
                <a:lnTo>
                  <a:pt x="41" y="37"/>
                </a:lnTo>
                <a:lnTo>
                  <a:pt x="41" y="37"/>
                </a:lnTo>
                <a:lnTo>
                  <a:pt x="38" y="37"/>
                </a:lnTo>
                <a:lnTo>
                  <a:pt x="31" y="41"/>
                </a:lnTo>
                <a:lnTo>
                  <a:pt x="31" y="44"/>
                </a:lnTo>
                <a:lnTo>
                  <a:pt x="38" y="44"/>
                </a:lnTo>
                <a:lnTo>
                  <a:pt x="41" y="44"/>
                </a:lnTo>
                <a:lnTo>
                  <a:pt x="44" y="41"/>
                </a:lnTo>
                <a:lnTo>
                  <a:pt x="44" y="41"/>
                </a:lnTo>
                <a:lnTo>
                  <a:pt x="44" y="44"/>
                </a:lnTo>
                <a:lnTo>
                  <a:pt x="41" y="47"/>
                </a:lnTo>
                <a:lnTo>
                  <a:pt x="34" y="47"/>
                </a:lnTo>
                <a:lnTo>
                  <a:pt x="34" y="47"/>
                </a:lnTo>
                <a:lnTo>
                  <a:pt x="31" y="50"/>
                </a:lnTo>
                <a:lnTo>
                  <a:pt x="28" y="47"/>
                </a:lnTo>
                <a:lnTo>
                  <a:pt x="28" y="47"/>
                </a:lnTo>
                <a:lnTo>
                  <a:pt x="28" y="44"/>
                </a:lnTo>
                <a:lnTo>
                  <a:pt x="25" y="44"/>
                </a:lnTo>
                <a:lnTo>
                  <a:pt x="25" y="44"/>
                </a:lnTo>
                <a:lnTo>
                  <a:pt x="25" y="47"/>
                </a:lnTo>
                <a:lnTo>
                  <a:pt x="22" y="50"/>
                </a:lnTo>
                <a:lnTo>
                  <a:pt x="19" y="47"/>
                </a:lnTo>
                <a:lnTo>
                  <a:pt x="16" y="47"/>
                </a:lnTo>
                <a:lnTo>
                  <a:pt x="13" y="50"/>
                </a:lnTo>
                <a:lnTo>
                  <a:pt x="9" y="47"/>
                </a:lnTo>
                <a:lnTo>
                  <a:pt x="6" y="50"/>
                </a:lnTo>
                <a:lnTo>
                  <a:pt x="6" y="50"/>
                </a:lnTo>
                <a:lnTo>
                  <a:pt x="6" y="53"/>
                </a:lnTo>
                <a:lnTo>
                  <a:pt x="9" y="56"/>
                </a:lnTo>
                <a:lnTo>
                  <a:pt x="13" y="56"/>
                </a:lnTo>
                <a:lnTo>
                  <a:pt x="13" y="56"/>
                </a:lnTo>
                <a:lnTo>
                  <a:pt x="19" y="56"/>
                </a:lnTo>
                <a:lnTo>
                  <a:pt x="28" y="56"/>
                </a:lnTo>
                <a:lnTo>
                  <a:pt x="31" y="56"/>
                </a:lnTo>
                <a:lnTo>
                  <a:pt x="31" y="59"/>
                </a:lnTo>
                <a:lnTo>
                  <a:pt x="28" y="59"/>
                </a:lnTo>
                <a:lnTo>
                  <a:pt x="28" y="62"/>
                </a:lnTo>
                <a:lnTo>
                  <a:pt x="31" y="66"/>
                </a:lnTo>
                <a:lnTo>
                  <a:pt x="34" y="69"/>
                </a:lnTo>
                <a:lnTo>
                  <a:pt x="34" y="69"/>
                </a:lnTo>
                <a:lnTo>
                  <a:pt x="41" y="62"/>
                </a:lnTo>
                <a:lnTo>
                  <a:pt x="41" y="66"/>
                </a:lnTo>
                <a:lnTo>
                  <a:pt x="38" y="69"/>
                </a:lnTo>
                <a:lnTo>
                  <a:pt x="34" y="72"/>
                </a:lnTo>
                <a:lnTo>
                  <a:pt x="38" y="75"/>
                </a:lnTo>
                <a:lnTo>
                  <a:pt x="44" y="69"/>
                </a:lnTo>
                <a:lnTo>
                  <a:pt x="47" y="72"/>
                </a:lnTo>
                <a:lnTo>
                  <a:pt x="47" y="72"/>
                </a:lnTo>
                <a:lnTo>
                  <a:pt x="44" y="72"/>
                </a:lnTo>
                <a:lnTo>
                  <a:pt x="41" y="72"/>
                </a:lnTo>
                <a:lnTo>
                  <a:pt x="38" y="75"/>
                </a:lnTo>
                <a:lnTo>
                  <a:pt x="34" y="75"/>
                </a:lnTo>
                <a:lnTo>
                  <a:pt x="34" y="78"/>
                </a:lnTo>
                <a:lnTo>
                  <a:pt x="34" y="81"/>
                </a:lnTo>
                <a:lnTo>
                  <a:pt x="31" y="81"/>
                </a:lnTo>
                <a:lnTo>
                  <a:pt x="28" y="81"/>
                </a:lnTo>
                <a:lnTo>
                  <a:pt x="28" y="78"/>
                </a:lnTo>
                <a:lnTo>
                  <a:pt x="25" y="78"/>
                </a:lnTo>
                <a:lnTo>
                  <a:pt x="25" y="78"/>
                </a:lnTo>
                <a:lnTo>
                  <a:pt x="22" y="78"/>
                </a:lnTo>
                <a:lnTo>
                  <a:pt x="22" y="84"/>
                </a:lnTo>
                <a:lnTo>
                  <a:pt x="25" y="84"/>
                </a:lnTo>
                <a:lnTo>
                  <a:pt x="25" y="84"/>
                </a:lnTo>
                <a:lnTo>
                  <a:pt x="22" y="91"/>
                </a:lnTo>
                <a:lnTo>
                  <a:pt x="28" y="91"/>
                </a:lnTo>
                <a:lnTo>
                  <a:pt x="28" y="91"/>
                </a:lnTo>
                <a:lnTo>
                  <a:pt x="31" y="91"/>
                </a:lnTo>
                <a:lnTo>
                  <a:pt x="38" y="94"/>
                </a:lnTo>
                <a:lnTo>
                  <a:pt x="44" y="88"/>
                </a:lnTo>
                <a:lnTo>
                  <a:pt x="47" y="91"/>
                </a:lnTo>
                <a:lnTo>
                  <a:pt x="50" y="91"/>
                </a:lnTo>
                <a:lnTo>
                  <a:pt x="50" y="91"/>
                </a:lnTo>
                <a:lnTo>
                  <a:pt x="53" y="91"/>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5" name="Freeform 163">
            <a:extLst>
              <a:ext uri="{FF2B5EF4-FFF2-40B4-BE49-F238E27FC236}">
                <a16:creationId xmlns:a16="http://schemas.microsoft.com/office/drawing/2014/main" id="{F4961D79-4079-AD47-C138-3217006E9615}"/>
              </a:ext>
            </a:extLst>
          </p:cNvPr>
          <p:cNvSpPr>
            <a:spLocks noEditPoints="1"/>
          </p:cNvSpPr>
          <p:nvPr userDrawn="1"/>
        </p:nvSpPr>
        <p:spPr bwMode="auto">
          <a:xfrm>
            <a:off x="3295437" y="7885985"/>
            <a:ext cx="336528" cy="247650"/>
          </a:xfrm>
          <a:custGeom>
            <a:avLst/>
            <a:gdLst>
              <a:gd name="T0" fmla="*/ 3 w 106"/>
              <a:gd name="T1" fmla="*/ 10 h 78"/>
              <a:gd name="T2" fmla="*/ 6 w 106"/>
              <a:gd name="T3" fmla="*/ 6 h 78"/>
              <a:gd name="T4" fmla="*/ 3 w 106"/>
              <a:gd name="T5" fmla="*/ 3 h 78"/>
              <a:gd name="T6" fmla="*/ 0 w 106"/>
              <a:gd name="T7" fmla="*/ 6 h 78"/>
              <a:gd name="T8" fmla="*/ 3 w 106"/>
              <a:gd name="T9" fmla="*/ 10 h 78"/>
              <a:gd name="T10" fmla="*/ 3 w 106"/>
              <a:gd name="T11" fmla="*/ 10 h 78"/>
              <a:gd name="T12" fmla="*/ 22 w 106"/>
              <a:gd name="T13" fmla="*/ 6 h 78"/>
              <a:gd name="T14" fmla="*/ 22 w 106"/>
              <a:gd name="T15" fmla="*/ 0 h 78"/>
              <a:gd name="T16" fmla="*/ 22 w 106"/>
              <a:gd name="T17" fmla="*/ 0 h 78"/>
              <a:gd name="T18" fmla="*/ 19 w 106"/>
              <a:gd name="T19" fmla="*/ 0 h 78"/>
              <a:gd name="T20" fmla="*/ 16 w 106"/>
              <a:gd name="T21" fmla="*/ 3 h 78"/>
              <a:gd name="T22" fmla="*/ 19 w 106"/>
              <a:gd name="T23" fmla="*/ 6 h 78"/>
              <a:gd name="T24" fmla="*/ 22 w 106"/>
              <a:gd name="T25" fmla="*/ 6 h 78"/>
              <a:gd name="T26" fmla="*/ 22 w 106"/>
              <a:gd name="T27" fmla="*/ 6 h 78"/>
              <a:gd name="T28" fmla="*/ 53 w 106"/>
              <a:gd name="T29" fmla="*/ 19 h 78"/>
              <a:gd name="T30" fmla="*/ 50 w 106"/>
              <a:gd name="T31" fmla="*/ 16 h 78"/>
              <a:gd name="T32" fmla="*/ 47 w 106"/>
              <a:gd name="T33" fmla="*/ 13 h 78"/>
              <a:gd name="T34" fmla="*/ 44 w 106"/>
              <a:gd name="T35" fmla="*/ 13 h 78"/>
              <a:gd name="T36" fmla="*/ 44 w 106"/>
              <a:gd name="T37" fmla="*/ 16 h 78"/>
              <a:gd name="T38" fmla="*/ 47 w 106"/>
              <a:gd name="T39" fmla="*/ 22 h 78"/>
              <a:gd name="T40" fmla="*/ 53 w 106"/>
              <a:gd name="T41" fmla="*/ 22 h 78"/>
              <a:gd name="T42" fmla="*/ 53 w 106"/>
              <a:gd name="T43" fmla="*/ 19 h 78"/>
              <a:gd name="T44" fmla="*/ 53 w 106"/>
              <a:gd name="T45" fmla="*/ 19 h 78"/>
              <a:gd name="T46" fmla="*/ 69 w 106"/>
              <a:gd name="T47" fmla="*/ 25 h 78"/>
              <a:gd name="T48" fmla="*/ 66 w 106"/>
              <a:gd name="T49" fmla="*/ 25 h 78"/>
              <a:gd name="T50" fmla="*/ 66 w 106"/>
              <a:gd name="T51" fmla="*/ 25 h 78"/>
              <a:gd name="T52" fmla="*/ 62 w 106"/>
              <a:gd name="T53" fmla="*/ 25 h 78"/>
              <a:gd name="T54" fmla="*/ 66 w 106"/>
              <a:gd name="T55" fmla="*/ 25 h 78"/>
              <a:gd name="T56" fmla="*/ 72 w 106"/>
              <a:gd name="T57" fmla="*/ 22 h 78"/>
              <a:gd name="T58" fmla="*/ 69 w 106"/>
              <a:gd name="T59" fmla="*/ 25 h 78"/>
              <a:gd name="T60" fmla="*/ 69 w 106"/>
              <a:gd name="T61" fmla="*/ 25 h 78"/>
              <a:gd name="T62" fmla="*/ 78 w 106"/>
              <a:gd name="T63" fmla="*/ 35 h 78"/>
              <a:gd name="T64" fmla="*/ 75 w 106"/>
              <a:gd name="T65" fmla="*/ 31 h 78"/>
              <a:gd name="T66" fmla="*/ 72 w 106"/>
              <a:gd name="T67" fmla="*/ 31 h 78"/>
              <a:gd name="T68" fmla="*/ 72 w 106"/>
              <a:gd name="T69" fmla="*/ 28 h 78"/>
              <a:gd name="T70" fmla="*/ 72 w 106"/>
              <a:gd name="T71" fmla="*/ 28 h 78"/>
              <a:gd name="T72" fmla="*/ 75 w 106"/>
              <a:gd name="T73" fmla="*/ 28 h 78"/>
              <a:gd name="T74" fmla="*/ 81 w 106"/>
              <a:gd name="T75" fmla="*/ 31 h 78"/>
              <a:gd name="T76" fmla="*/ 84 w 106"/>
              <a:gd name="T77" fmla="*/ 35 h 78"/>
              <a:gd name="T78" fmla="*/ 81 w 106"/>
              <a:gd name="T79" fmla="*/ 35 h 78"/>
              <a:gd name="T80" fmla="*/ 78 w 106"/>
              <a:gd name="T81" fmla="*/ 35 h 78"/>
              <a:gd name="T82" fmla="*/ 78 w 106"/>
              <a:gd name="T83" fmla="*/ 35 h 78"/>
              <a:gd name="T84" fmla="*/ 84 w 106"/>
              <a:gd name="T85" fmla="*/ 60 h 78"/>
              <a:gd name="T86" fmla="*/ 84 w 106"/>
              <a:gd name="T87" fmla="*/ 66 h 78"/>
              <a:gd name="T88" fmla="*/ 84 w 106"/>
              <a:gd name="T89" fmla="*/ 75 h 78"/>
              <a:gd name="T90" fmla="*/ 91 w 106"/>
              <a:gd name="T91" fmla="*/ 78 h 78"/>
              <a:gd name="T92" fmla="*/ 97 w 106"/>
              <a:gd name="T93" fmla="*/ 69 h 78"/>
              <a:gd name="T94" fmla="*/ 103 w 106"/>
              <a:gd name="T95" fmla="*/ 66 h 78"/>
              <a:gd name="T96" fmla="*/ 106 w 106"/>
              <a:gd name="T97" fmla="*/ 63 h 78"/>
              <a:gd name="T98" fmla="*/ 103 w 106"/>
              <a:gd name="T99" fmla="*/ 60 h 78"/>
              <a:gd name="T100" fmla="*/ 100 w 106"/>
              <a:gd name="T101" fmla="*/ 60 h 78"/>
              <a:gd name="T102" fmla="*/ 103 w 106"/>
              <a:gd name="T103" fmla="*/ 57 h 78"/>
              <a:gd name="T104" fmla="*/ 97 w 106"/>
              <a:gd name="T105" fmla="*/ 50 h 78"/>
              <a:gd name="T106" fmla="*/ 94 w 106"/>
              <a:gd name="T107" fmla="*/ 50 h 78"/>
              <a:gd name="T108" fmla="*/ 91 w 106"/>
              <a:gd name="T109" fmla="*/ 47 h 78"/>
              <a:gd name="T110" fmla="*/ 87 w 106"/>
              <a:gd name="T111" fmla="*/ 44 h 78"/>
              <a:gd name="T112" fmla="*/ 84 w 106"/>
              <a:gd name="T113" fmla="*/ 47 h 78"/>
              <a:gd name="T114" fmla="*/ 87 w 106"/>
              <a:gd name="T115" fmla="*/ 50 h 78"/>
              <a:gd name="T116" fmla="*/ 84 w 106"/>
              <a:gd name="T117" fmla="*/ 53 h 78"/>
              <a:gd name="T118" fmla="*/ 84 w 106"/>
              <a:gd name="T119" fmla="*/ 57 h 78"/>
              <a:gd name="T120" fmla="*/ 84 w 106"/>
              <a:gd name="T121" fmla="*/ 6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6" h="78">
                <a:moveTo>
                  <a:pt x="3" y="10"/>
                </a:moveTo>
                <a:lnTo>
                  <a:pt x="6" y="6"/>
                </a:lnTo>
                <a:lnTo>
                  <a:pt x="3" y="3"/>
                </a:lnTo>
                <a:lnTo>
                  <a:pt x="0" y="6"/>
                </a:lnTo>
                <a:lnTo>
                  <a:pt x="3" y="10"/>
                </a:lnTo>
                <a:lnTo>
                  <a:pt x="3" y="10"/>
                </a:lnTo>
                <a:close/>
                <a:moveTo>
                  <a:pt x="22" y="6"/>
                </a:moveTo>
                <a:lnTo>
                  <a:pt x="22" y="0"/>
                </a:lnTo>
                <a:lnTo>
                  <a:pt x="22" y="0"/>
                </a:lnTo>
                <a:lnTo>
                  <a:pt x="19" y="0"/>
                </a:lnTo>
                <a:lnTo>
                  <a:pt x="16" y="3"/>
                </a:lnTo>
                <a:lnTo>
                  <a:pt x="19" y="6"/>
                </a:lnTo>
                <a:lnTo>
                  <a:pt x="22" y="6"/>
                </a:lnTo>
                <a:lnTo>
                  <a:pt x="22" y="6"/>
                </a:lnTo>
                <a:close/>
                <a:moveTo>
                  <a:pt x="53" y="19"/>
                </a:moveTo>
                <a:lnTo>
                  <a:pt x="50" y="16"/>
                </a:lnTo>
                <a:lnTo>
                  <a:pt x="47" y="13"/>
                </a:lnTo>
                <a:lnTo>
                  <a:pt x="44" y="13"/>
                </a:lnTo>
                <a:lnTo>
                  <a:pt x="44" y="16"/>
                </a:lnTo>
                <a:lnTo>
                  <a:pt x="47" y="22"/>
                </a:lnTo>
                <a:lnTo>
                  <a:pt x="53" y="22"/>
                </a:lnTo>
                <a:lnTo>
                  <a:pt x="53" y="19"/>
                </a:lnTo>
                <a:lnTo>
                  <a:pt x="53" y="19"/>
                </a:lnTo>
                <a:close/>
                <a:moveTo>
                  <a:pt x="69" y="25"/>
                </a:moveTo>
                <a:lnTo>
                  <a:pt x="66" y="25"/>
                </a:lnTo>
                <a:lnTo>
                  <a:pt x="66" y="25"/>
                </a:lnTo>
                <a:lnTo>
                  <a:pt x="62" y="25"/>
                </a:lnTo>
                <a:lnTo>
                  <a:pt x="66" y="25"/>
                </a:lnTo>
                <a:lnTo>
                  <a:pt x="72" y="22"/>
                </a:lnTo>
                <a:lnTo>
                  <a:pt x="69" y="25"/>
                </a:lnTo>
                <a:lnTo>
                  <a:pt x="69" y="25"/>
                </a:lnTo>
                <a:close/>
                <a:moveTo>
                  <a:pt x="78" y="35"/>
                </a:moveTo>
                <a:lnTo>
                  <a:pt x="75" y="31"/>
                </a:lnTo>
                <a:lnTo>
                  <a:pt x="72" y="31"/>
                </a:lnTo>
                <a:lnTo>
                  <a:pt x="72" y="28"/>
                </a:lnTo>
                <a:lnTo>
                  <a:pt x="72" y="28"/>
                </a:lnTo>
                <a:lnTo>
                  <a:pt x="75" y="28"/>
                </a:lnTo>
                <a:lnTo>
                  <a:pt x="81" y="31"/>
                </a:lnTo>
                <a:lnTo>
                  <a:pt x="84" y="35"/>
                </a:lnTo>
                <a:lnTo>
                  <a:pt x="81" y="35"/>
                </a:lnTo>
                <a:lnTo>
                  <a:pt x="78" y="35"/>
                </a:lnTo>
                <a:lnTo>
                  <a:pt x="78" y="35"/>
                </a:lnTo>
                <a:close/>
                <a:moveTo>
                  <a:pt x="84" y="60"/>
                </a:moveTo>
                <a:lnTo>
                  <a:pt x="84" y="66"/>
                </a:lnTo>
                <a:lnTo>
                  <a:pt x="84" y="75"/>
                </a:lnTo>
                <a:lnTo>
                  <a:pt x="91" y="78"/>
                </a:lnTo>
                <a:lnTo>
                  <a:pt x="97" y="69"/>
                </a:lnTo>
                <a:lnTo>
                  <a:pt x="103" y="66"/>
                </a:lnTo>
                <a:lnTo>
                  <a:pt x="106" y="63"/>
                </a:lnTo>
                <a:lnTo>
                  <a:pt x="103" y="60"/>
                </a:lnTo>
                <a:lnTo>
                  <a:pt x="100" y="60"/>
                </a:lnTo>
                <a:lnTo>
                  <a:pt x="103" y="57"/>
                </a:lnTo>
                <a:lnTo>
                  <a:pt x="97" y="50"/>
                </a:lnTo>
                <a:lnTo>
                  <a:pt x="94" y="50"/>
                </a:lnTo>
                <a:lnTo>
                  <a:pt x="91" y="47"/>
                </a:lnTo>
                <a:lnTo>
                  <a:pt x="87" y="44"/>
                </a:lnTo>
                <a:lnTo>
                  <a:pt x="84" y="47"/>
                </a:lnTo>
                <a:lnTo>
                  <a:pt x="87" y="50"/>
                </a:lnTo>
                <a:lnTo>
                  <a:pt x="84" y="53"/>
                </a:lnTo>
                <a:lnTo>
                  <a:pt x="84" y="57"/>
                </a:lnTo>
                <a:lnTo>
                  <a:pt x="84" y="6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6" name="Freeform 164">
            <a:extLst>
              <a:ext uri="{FF2B5EF4-FFF2-40B4-BE49-F238E27FC236}">
                <a16:creationId xmlns:a16="http://schemas.microsoft.com/office/drawing/2014/main" id="{76D2C372-3C2B-3DB4-DE79-56459AA5855B}"/>
              </a:ext>
            </a:extLst>
          </p:cNvPr>
          <p:cNvSpPr>
            <a:spLocks noEditPoints="1"/>
          </p:cNvSpPr>
          <p:nvPr userDrawn="1"/>
        </p:nvSpPr>
        <p:spPr bwMode="auto">
          <a:xfrm>
            <a:off x="7502031" y="9387759"/>
            <a:ext cx="130168" cy="88902"/>
          </a:xfrm>
          <a:custGeom>
            <a:avLst/>
            <a:gdLst>
              <a:gd name="T0" fmla="*/ 38 w 41"/>
              <a:gd name="T1" fmla="*/ 21 h 28"/>
              <a:gd name="T2" fmla="*/ 35 w 41"/>
              <a:gd name="T3" fmla="*/ 25 h 28"/>
              <a:gd name="T4" fmla="*/ 35 w 41"/>
              <a:gd name="T5" fmla="*/ 28 h 28"/>
              <a:gd name="T6" fmla="*/ 41 w 41"/>
              <a:gd name="T7" fmla="*/ 21 h 28"/>
              <a:gd name="T8" fmla="*/ 41 w 41"/>
              <a:gd name="T9" fmla="*/ 21 h 28"/>
              <a:gd name="T10" fmla="*/ 38 w 41"/>
              <a:gd name="T11" fmla="*/ 21 h 28"/>
              <a:gd name="T12" fmla="*/ 38 w 41"/>
              <a:gd name="T13" fmla="*/ 21 h 28"/>
              <a:gd name="T14" fmla="*/ 22 w 41"/>
              <a:gd name="T15" fmla="*/ 15 h 28"/>
              <a:gd name="T16" fmla="*/ 25 w 41"/>
              <a:gd name="T17" fmla="*/ 15 h 28"/>
              <a:gd name="T18" fmla="*/ 28 w 41"/>
              <a:gd name="T19" fmla="*/ 15 h 28"/>
              <a:gd name="T20" fmla="*/ 25 w 41"/>
              <a:gd name="T21" fmla="*/ 18 h 28"/>
              <a:gd name="T22" fmla="*/ 22 w 41"/>
              <a:gd name="T23" fmla="*/ 15 h 28"/>
              <a:gd name="T24" fmla="*/ 22 w 41"/>
              <a:gd name="T25" fmla="*/ 15 h 28"/>
              <a:gd name="T26" fmla="*/ 16 w 41"/>
              <a:gd name="T27" fmla="*/ 6 h 28"/>
              <a:gd name="T28" fmla="*/ 16 w 41"/>
              <a:gd name="T29" fmla="*/ 9 h 28"/>
              <a:gd name="T30" fmla="*/ 19 w 41"/>
              <a:gd name="T31" fmla="*/ 9 h 28"/>
              <a:gd name="T32" fmla="*/ 16 w 41"/>
              <a:gd name="T33" fmla="*/ 6 h 28"/>
              <a:gd name="T34" fmla="*/ 16 w 41"/>
              <a:gd name="T35" fmla="*/ 6 h 28"/>
              <a:gd name="T36" fmla="*/ 0 w 41"/>
              <a:gd name="T37" fmla="*/ 12 h 28"/>
              <a:gd name="T38" fmla="*/ 3 w 41"/>
              <a:gd name="T39" fmla="*/ 12 h 28"/>
              <a:gd name="T40" fmla="*/ 3 w 41"/>
              <a:gd name="T41" fmla="*/ 15 h 28"/>
              <a:gd name="T42" fmla="*/ 0 w 41"/>
              <a:gd name="T43" fmla="*/ 15 h 28"/>
              <a:gd name="T44" fmla="*/ 0 w 41"/>
              <a:gd name="T45" fmla="*/ 12 h 28"/>
              <a:gd name="T46" fmla="*/ 0 w 41"/>
              <a:gd name="T47" fmla="*/ 12 h 28"/>
              <a:gd name="T48" fmla="*/ 0 w 41"/>
              <a:gd name="T49" fmla="*/ 12 h 28"/>
              <a:gd name="T50" fmla="*/ 3 w 41"/>
              <a:gd name="T51" fmla="*/ 6 h 28"/>
              <a:gd name="T52" fmla="*/ 6 w 41"/>
              <a:gd name="T53" fmla="*/ 6 h 28"/>
              <a:gd name="T54" fmla="*/ 6 w 41"/>
              <a:gd name="T55" fmla="*/ 12 h 28"/>
              <a:gd name="T56" fmla="*/ 10 w 41"/>
              <a:gd name="T57" fmla="*/ 18 h 28"/>
              <a:gd name="T58" fmla="*/ 6 w 41"/>
              <a:gd name="T59" fmla="*/ 18 h 28"/>
              <a:gd name="T60" fmla="*/ 3 w 41"/>
              <a:gd name="T61" fmla="*/ 25 h 28"/>
              <a:gd name="T62" fmla="*/ 6 w 41"/>
              <a:gd name="T63" fmla="*/ 25 h 28"/>
              <a:gd name="T64" fmla="*/ 13 w 41"/>
              <a:gd name="T65" fmla="*/ 25 h 28"/>
              <a:gd name="T66" fmla="*/ 13 w 41"/>
              <a:gd name="T67" fmla="*/ 18 h 28"/>
              <a:gd name="T68" fmla="*/ 10 w 41"/>
              <a:gd name="T69" fmla="*/ 15 h 28"/>
              <a:gd name="T70" fmla="*/ 10 w 41"/>
              <a:gd name="T71" fmla="*/ 12 h 28"/>
              <a:gd name="T72" fmla="*/ 10 w 41"/>
              <a:gd name="T73" fmla="*/ 9 h 28"/>
              <a:gd name="T74" fmla="*/ 10 w 41"/>
              <a:gd name="T75" fmla="*/ 3 h 28"/>
              <a:gd name="T76" fmla="*/ 6 w 41"/>
              <a:gd name="T77" fmla="*/ 0 h 28"/>
              <a:gd name="T78" fmla="*/ 3 w 41"/>
              <a:gd name="T79" fmla="*/ 3 h 28"/>
              <a:gd name="T80" fmla="*/ 3 w 41"/>
              <a:gd name="T81"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 h="28">
                <a:moveTo>
                  <a:pt x="38" y="21"/>
                </a:moveTo>
                <a:lnTo>
                  <a:pt x="35" y="25"/>
                </a:lnTo>
                <a:lnTo>
                  <a:pt x="35" y="28"/>
                </a:lnTo>
                <a:lnTo>
                  <a:pt x="41" y="21"/>
                </a:lnTo>
                <a:lnTo>
                  <a:pt x="41" y="21"/>
                </a:lnTo>
                <a:lnTo>
                  <a:pt x="38" y="21"/>
                </a:lnTo>
                <a:lnTo>
                  <a:pt x="38" y="21"/>
                </a:lnTo>
                <a:close/>
                <a:moveTo>
                  <a:pt x="22" y="15"/>
                </a:moveTo>
                <a:lnTo>
                  <a:pt x="25" y="15"/>
                </a:lnTo>
                <a:lnTo>
                  <a:pt x="28" y="15"/>
                </a:lnTo>
                <a:lnTo>
                  <a:pt x="25" y="18"/>
                </a:lnTo>
                <a:lnTo>
                  <a:pt x="22" y="15"/>
                </a:lnTo>
                <a:lnTo>
                  <a:pt x="22" y="15"/>
                </a:lnTo>
                <a:close/>
                <a:moveTo>
                  <a:pt x="16" y="6"/>
                </a:moveTo>
                <a:lnTo>
                  <a:pt x="16" y="9"/>
                </a:lnTo>
                <a:lnTo>
                  <a:pt x="19" y="9"/>
                </a:lnTo>
                <a:lnTo>
                  <a:pt x="16" y="6"/>
                </a:lnTo>
                <a:lnTo>
                  <a:pt x="16" y="6"/>
                </a:lnTo>
                <a:close/>
                <a:moveTo>
                  <a:pt x="0" y="12"/>
                </a:moveTo>
                <a:lnTo>
                  <a:pt x="3" y="12"/>
                </a:lnTo>
                <a:lnTo>
                  <a:pt x="3" y="15"/>
                </a:lnTo>
                <a:lnTo>
                  <a:pt x="0" y="15"/>
                </a:lnTo>
                <a:lnTo>
                  <a:pt x="0" y="12"/>
                </a:lnTo>
                <a:lnTo>
                  <a:pt x="0" y="12"/>
                </a:lnTo>
                <a:lnTo>
                  <a:pt x="0" y="12"/>
                </a:lnTo>
                <a:close/>
                <a:moveTo>
                  <a:pt x="3" y="6"/>
                </a:moveTo>
                <a:lnTo>
                  <a:pt x="6" y="6"/>
                </a:lnTo>
                <a:lnTo>
                  <a:pt x="6" y="12"/>
                </a:lnTo>
                <a:lnTo>
                  <a:pt x="10" y="18"/>
                </a:lnTo>
                <a:lnTo>
                  <a:pt x="6" y="18"/>
                </a:lnTo>
                <a:lnTo>
                  <a:pt x="3" y="25"/>
                </a:lnTo>
                <a:lnTo>
                  <a:pt x="6" y="25"/>
                </a:lnTo>
                <a:lnTo>
                  <a:pt x="13" y="25"/>
                </a:lnTo>
                <a:lnTo>
                  <a:pt x="13" y="18"/>
                </a:lnTo>
                <a:lnTo>
                  <a:pt x="10" y="15"/>
                </a:lnTo>
                <a:lnTo>
                  <a:pt x="10" y="12"/>
                </a:lnTo>
                <a:lnTo>
                  <a:pt x="10" y="9"/>
                </a:lnTo>
                <a:lnTo>
                  <a:pt x="10" y="3"/>
                </a:lnTo>
                <a:lnTo>
                  <a:pt x="6" y="0"/>
                </a:lnTo>
                <a:lnTo>
                  <a:pt x="3" y="3"/>
                </a:lnTo>
                <a:lnTo>
                  <a:pt x="3" y="6"/>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7" name="Freeform 165">
            <a:extLst>
              <a:ext uri="{FF2B5EF4-FFF2-40B4-BE49-F238E27FC236}">
                <a16:creationId xmlns:a16="http://schemas.microsoft.com/office/drawing/2014/main" id="{87F6AE99-410E-8475-5607-DF12892BB47A}"/>
              </a:ext>
            </a:extLst>
          </p:cNvPr>
          <p:cNvSpPr>
            <a:spLocks noEditPoints="1"/>
          </p:cNvSpPr>
          <p:nvPr userDrawn="1"/>
        </p:nvSpPr>
        <p:spPr bwMode="auto">
          <a:xfrm>
            <a:off x="9191029" y="8203483"/>
            <a:ext cx="196837" cy="88902"/>
          </a:xfrm>
          <a:custGeom>
            <a:avLst/>
            <a:gdLst>
              <a:gd name="T0" fmla="*/ 56 w 62"/>
              <a:gd name="T1" fmla="*/ 22 h 28"/>
              <a:gd name="T2" fmla="*/ 62 w 62"/>
              <a:gd name="T3" fmla="*/ 25 h 28"/>
              <a:gd name="T4" fmla="*/ 59 w 62"/>
              <a:gd name="T5" fmla="*/ 28 h 28"/>
              <a:gd name="T6" fmla="*/ 56 w 62"/>
              <a:gd name="T7" fmla="*/ 25 h 28"/>
              <a:gd name="T8" fmla="*/ 56 w 62"/>
              <a:gd name="T9" fmla="*/ 22 h 28"/>
              <a:gd name="T10" fmla="*/ 56 w 62"/>
              <a:gd name="T11" fmla="*/ 22 h 28"/>
              <a:gd name="T12" fmla="*/ 59 w 62"/>
              <a:gd name="T13" fmla="*/ 10 h 28"/>
              <a:gd name="T14" fmla="*/ 56 w 62"/>
              <a:gd name="T15" fmla="*/ 13 h 28"/>
              <a:gd name="T16" fmla="*/ 59 w 62"/>
              <a:gd name="T17" fmla="*/ 16 h 28"/>
              <a:gd name="T18" fmla="*/ 62 w 62"/>
              <a:gd name="T19" fmla="*/ 13 h 28"/>
              <a:gd name="T20" fmla="*/ 59 w 62"/>
              <a:gd name="T21" fmla="*/ 10 h 28"/>
              <a:gd name="T22" fmla="*/ 59 w 62"/>
              <a:gd name="T23" fmla="*/ 10 h 28"/>
              <a:gd name="T24" fmla="*/ 40 w 62"/>
              <a:gd name="T25" fmla="*/ 16 h 28"/>
              <a:gd name="T26" fmla="*/ 37 w 62"/>
              <a:gd name="T27" fmla="*/ 19 h 28"/>
              <a:gd name="T28" fmla="*/ 40 w 62"/>
              <a:gd name="T29" fmla="*/ 22 h 28"/>
              <a:gd name="T30" fmla="*/ 43 w 62"/>
              <a:gd name="T31" fmla="*/ 22 h 28"/>
              <a:gd name="T32" fmla="*/ 40 w 62"/>
              <a:gd name="T33" fmla="*/ 16 h 28"/>
              <a:gd name="T34" fmla="*/ 40 w 62"/>
              <a:gd name="T35" fmla="*/ 16 h 28"/>
              <a:gd name="T36" fmla="*/ 31 w 62"/>
              <a:gd name="T37" fmla="*/ 3 h 28"/>
              <a:gd name="T38" fmla="*/ 34 w 62"/>
              <a:gd name="T39" fmla="*/ 0 h 28"/>
              <a:gd name="T40" fmla="*/ 40 w 62"/>
              <a:gd name="T41" fmla="*/ 0 h 28"/>
              <a:gd name="T42" fmla="*/ 37 w 62"/>
              <a:gd name="T43" fmla="*/ 7 h 28"/>
              <a:gd name="T44" fmla="*/ 37 w 62"/>
              <a:gd name="T45" fmla="*/ 10 h 28"/>
              <a:gd name="T46" fmla="*/ 31 w 62"/>
              <a:gd name="T47" fmla="*/ 7 h 28"/>
              <a:gd name="T48" fmla="*/ 31 w 62"/>
              <a:gd name="T49" fmla="*/ 3 h 28"/>
              <a:gd name="T50" fmla="*/ 31 w 62"/>
              <a:gd name="T51" fmla="*/ 3 h 28"/>
              <a:gd name="T52" fmla="*/ 6 w 62"/>
              <a:gd name="T53" fmla="*/ 10 h 28"/>
              <a:gd name="T54" fmla="*/ 6 w 62"/>
              <a:gd name="T55" fmla="*/ 13 h 28"/>
              <a:gd name="T56" fmla="*/ 0 w 62"/>
              <a:gd name="T57" fmla="*/ 13 h 28"/>
              <a:gd name="T58" fmla="*/ 6 w 62"/>
              <a:gd name="T59"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2" h="28">
                <a:moveTo>
                  <a:pt x="56" y="22"/>
                </a:moveTo>
                <a:lnTo>
                  <a:pt x="62" y="25"/>
                </a:lnTo>
                <a:lnTo>
                  <a:pt x="59" y="28"/>
                </a:lnTo>
                <a:lnTo>
                  <a:pt x="56" y="25"/>
                </a:lnTo>
                <a:lnTo>
                  <a:pt x="56" y="22"/>
                </a:lnTo>
                <a:lnTo>
                  <a:pt x="56" y="22"/>
                </a:lnTo>
                <a:close/>
                <a:moveTo>
                  <a:pt x="59" y="10"/>
                </a:moveTo>
                <a:lnTo>
                  <a:pt x="56" y="13"/>
                </a:lnTo>
                <a:lnTo>
                  <a:pt x="59" y="16"/>
                </a:lnTo>
                <a:lnTo>
                  <a:pt x="62" y="13"/>
                </a:lnTo>
                <a:lnTo>
                  <a:pt x="59" y="10"/>
                </a:lnTo>
                <a:lnTo>
                  <a:pt x="59" y="10"/>
                </a:lnTo>
                <a:close/>
                <a:moveTo>
                  <a:pt x="40" y="16"/>
                </a:moveTo>
                <a:lnTo>
                  <a:pt x="37" y="19"/>
                </a:lnTo>
                <a:lnTo>
                  <a:pt x="40" y="22"/>
                </a:lnTo>
                <a:lnTo>
                  <a:pt x="43" y="22"/>
                </a:lnTo>
                <a:lnTo>
                  <a:pt x="40" y="16"/>
                </a:lnTo>
                <a:lnTo>
                  <a:pt x="40" y="16"/>
                </a:lnTo>
                <a:close/>
                <a:moveTo>
                  <a:pt x="31" y="3"/>
                </a:moveTo>
                <a:lnTo>
                  <a:pt x="34" y="0"/>
                </a:lnTo>
                <a:lnTo>
                  <a:pt x="40" y="0"/>
                </a:lnTo>
                <a:lnTo>
                  <a:pt x="37" y="7"/>
                </a:lnTo>
                <a:lnTo>
                  <a:pt x="37" y="10"/>
                </a:lnTo>
                <a:lnTo>
                  <a:pt x="31" y="7"/>
                </a:lnTo>
                <a:lnTo>
                  <a:pt x="31" y="3"/>
                </a:lnTo>
                <a:lnTo>
                  <a:pt x="31" y="3"/>
                </a:lnTo>
                <a:close/>
                <a:moveTo>
                  <a:pt x="6" y="10"/>
                </a:moveTo>
                <a:lnTo>
                  <a:pt x="6" y="13"/>
                </a:lnTo>
                <a:lnTo>
                  <a:pt x="0" y="13"/>
                </a:lnTo>
                <a:lnTo>
                  <a:pt x="6" y="1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8" name="Freeform 166">
            <a:extLst>
              <a:ext uri="{FF2B5EF4-FFF2-40B4-BE49-F238E27FC236}">
                <a16:creationId xmlns:a16="http://schemas.microsoft.com/office/drawing/2014/main" id="{2A2FFDB4-C669-AB6B-DE0C-E275EFB27300}"/>
              </a:ext>
            </a:extLst>
          </p:cNvPr>
          <p:cNvSpPr>
            <a:spLocks noEditPoints="1"/>
          </p:cNvSpPr>
          <p:nvPr userDrawn="1"/>
        </p:nvSpPr>
        <p:spPr bwMode="auto">
          <a:xfrm>
            <a:off x="9041813" y="8193961"/>
            <a:ext cx="136517" cy="41278"/>
          </a:xfrm>
          <a:custGeom>
            <a:avLst/>
            <a:gdLst>
              <a:gd name="T0" fmla="*/ 34 w 43"/>
              <a:gd name="T1" fmla="*/ 13 h 13"/>
              <a:gd name="T2" fmla="*/ 37 w 43"/>
              <a:gd name="T3" fmla="*/ 10 h 13"/>
              <a:gd name="T4" fmla="*/ 43 w 43"/>
              <a:gd name="T5" fmla="*/ 10 h 13"/>
              <a:gd name="T6" fmla="*/ 40 w 43"/>
              <a:gd name="T7" fmla="*/ 10 h 13"/>
              <a:gd name="T8" fmla="*/ 34 w 43"/>
              <a:gd name="T9" fmla="*/ 13 h 13"/>
              <a:gd name="T10" fmla="*/ 34 w 43"/>
              <a:gd name="T11" fmla="*/ 13 h 13"/>
              <a:gd name="T12" fmla="*/ 31 w 43"/>
              <a:gd name="T13" fmla="*/ 0 h 13"/>
              <a:gd name="T14" fmla="*/ 28 w 43"/>
              <a:gd name="T15" fmla="*/ 0 h 13"/>
              <a:gd name="T16" fmla="*/ 22 w 43"/>
              <a:gd name="T17" fmla="*/ 0 h 13"/>
              <a:gd name="T18" fmla="*/ 6 w 43"/>
              <a:gd name="T19" fmla="*/ 0 h 13"/>
              <a:gd name="T20" fmla="*/ 6 w 43"/>
              <a:gd name="T21" fmla="*/ 3 h 13"/>
              <a:gd name="T22" fmla="*/ 0 w 43"/>
              <a:gd name="T23" fmla="*/ 3 h 13"/>
              <a:gd name="T24" fmla="*/ 3 w 43"/>
              <a:gd name="T25" fmla="*/ 6 h 13"/>
              <a:gd name="T26" fmla="*/ 0 w 43"/>
              <a:gd name="T27" fmla="*/ 10 h 13"/>
              <a:gd name="T28" fmla="*/ 3 w 43"/>
              <a:gd name="T29" fmla="*/ 13 h 13"/>
              <a:gd name="T30" fmla="*/ 12 w 43"/>
              <a:gd name="T31" fmla="*/ 13 h 13"/>
              <a:gd name="T32" fmla="*/ 15 w 43"/>
              <a:gd name="T33" fmla="*/ 13 h 13"/>
              <a:gd name="T34" fmla="*/ 22 w 43"/>
              <a:gd name="T35" fmla="*/ 13 h 13"/>
              <a:gd name="T36" fmla="*/ 25 w 43"/>
              <a:gd name="T37" fmla="*/ 13 h 13"/>
              <a:gd name="T38" fmla="*/ 31 w 43"/>
              <a:gd name="T39" fmla="*/ 10 h 13"/>
              <a:gd name="T40" fmla="*/ 34 w 43"/>
              <a:gd name="T41" fmla="*/ 6 h 13"/>
              <a:gd name="T42" fmla="*/ 31 w 43"/>
              <a:gd name="T43" fmla="*/ 3 h 13"/>
              <a:gd name="T44" fmla="*/ 31 w 43"/>
              <a:gd name="T4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 h="13">
                <a:moveTo>
                  <a:pt x="34" y="13"/>
                </a:moveTo>
                <a:lnTo>
                  <a:pt x="37" y="10"/>
                </a:lnTo>
                <a:lnTo>
                  <a:pt x="43" y="10"/>
                </a:lnTo>
                <a:lnTo>
                  <a:pt x="40" y="10"/>
                </a:lnTo>
                <a:lnTo>
                  <a:pt x="34" y="13"/>
                </a:lnTo>
                <a:lnTo>
                  <a:pt x="34" y="13"/>
                </a:lnTo>
                <a:close/>
                <a:moveTo>
                  <a:pt x="31" y="0"/>
                </a:moveTo>
                <a:lnTo>
                  <a:pt x="28" y="0"/>
                </a:lnTo>
                <a:lnTo>
                  <a:pt x="22" y="0"/>
                </a:lnTo>
                <a:lnTo>
                  <a:pt x="6" y="0"/>
                </a:lnTo>
                <a:lnTo>
                  <a:pt x="6" y="3"/>
                </a:lnTo>
                <a:lnTo>
                  <a:pt x="0" y="3"/>
                </a:lnTo>
                <a:lnTo>
                  <a:pt x="3" y="6"/>
                </a:lnTo>
                <a:lnTo>
                  <a:pt x="0" y="10"/>
                </a:lnTo>
                <a:lnTo>
                  <a:pt x="3" y="13"/>
                </a:lnTo>
                <a:lnTo>
                  <a:pt x="12" y="13"/>
                </a:lnTo>
                <a:lnTo>
                  <a:pt x="15" y="13"/>
                </a:lnTo>
                <a:lnTo>
                  <a:pt x="22" y="13"/>
                </a:lnTo>
                <a:lnTo>
                  <a:pt x="25" y="13"/>
                </a:lnTo>
                <a:lnTo>
                  <a:pt x="31" y="10"/>
                </a:lnTo>
                <a:lnTo>
                  <a:pt x="34" y="6"/>
                </a:lnTo>
                <a:lnTo>
                  <a:pt x="31" y="3"/>
                </a:lnTo>
                <a:lnTo>
                  <a:pt x="31"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69" name="Freeform 167">
            <a:extLst>
              <a:ext uri="{FF2B5EF4-FFF2-40B4-BE49-F238E27FC236}">
                <a16:creationId xmlns:a16="http://schemas.microsoft.com/office/drawing/2014/main" id="{37A4C95F-8893-8A0F-E96D-9C840062B54C}"/>
              </a:ext>
            </a:extLst>
          </p:cNvPr>
          <p:cNvSpPr>
            <a:spLocks noEditPoints="1"/>
          </p:cNvSpPr>
          <p:nvPr userDrawn="1"/>
        </p:nvSpPr>
        <p:spPr bwMode="auto">
          <a:xfrm>
            <a:off x="8752907" y="8095533"/>
            <a:ext cx="238111" cy="168278"/>
          </a:xfrm>
          <a:custGeom>
            <a:avLst/>
            <a:gdLst>
              <a:gd name="T0" fmla="*/ 69 w 75"/>
              <a:gd name="T1" fmla="*/ 37 h 53"/>
              <a:gd name="T2" fmla="*/ 69 w 75"/>
              <a:gd name="T3" fmla="*/ 41 h 53"/>
              <a:gd name="T4" fmla="*/ 66 w 75"/>
              <a:gd name="T5" fmla="*/ 37 h 53"/>
              <a:gd name="T6" fmla="*/ 66 w 75"/>
              <a:gd name="T7" fmla="*/ 37 h 53"/>
              <a:gd name="T8" fmla="*/ 6 w 75"/>
              <a:gd name="T9" fmla="*/ 9 h 53"/>
              <a:gd name="T10" fmla="*/ 6 w 75"/>
              <a:gd name="T11" fmla="*/ 16 h 53"/>
              <a:gd name="T12" fmla="*/ 3 w 75"/>
              <a:gd name="T13" fmla="*/ 22 h 53"/>
              <a:gd name="T14" fmla="*/ 3 w 75"/>
              <a:gd name="T15" fmla="*/ 25 h 53"/>
              <a:gd name="T16" fmla="*/ 3 w 75"/>
              <a:gd name="T17" fmla="*/ 31 h 53"/>
              <a:gd name="T18" fmla="*/ 0 w 75"/>
              <a:gd name="T19" fmla="*/ 41 h 53"/>
              <a:gd name="T20" fmla="*/ 3 w 75"/>
              <a:gd name="T21" fmla="*/ 44 h 53"/>
              <a:gd name="T22" fmla="*/ 6 w 75"/>
              <a:gd name="T23" fmla="*/ 47 h 53"/>
              <a:gd name="T24" fmla="*/ 9 w 75"/>
              <a:gd name="T25" fmla="*/ 53 h 53"/>
              <a:gd name="T26" fmla="*/ 16 w 75"/>
              <a:gd name="T27" fmla="*/ 41 h 53"/>
              <a:gd name="T28" fmla="*/ 19 w 75"/>
              <a:gd name="T29" fmla="*/ 34 h 53"/>
              <a:gd name="T30" fmla="*/ 22 w 75"/>
              <a:gd name="T31" fmla="*/ 37 h 53"/>
              <a:gd name="T32" fmla="*/ 28 w 75"/>
              <a:gd name="T33" fmla="*/ 34 h 53"/>
              <a:gd name="T34" fmla="*/ 31 w 75"/>
              <a:gd name="T35" fmla="*/ 41 h 53"/>
              <a:gd name="T36" fmla="*/ 41 w 75"/>
              <a:gd name="T37" fmla="*/ 34 h 53"/>
              <a:gd name="T38" fmla="*/ 53 w 75"/>
              <a:gd name="T39" fmla="*/ 34 h 53"/>
              <a:gd name="T40" fmla="*/ 59 w 75"/>
              <a:gd name="T41" fmla="*/ 34 h 53"/>
              <a:gd name="T42" fmla="*/ 69 w 75"/>
              <a:gd name="T43" fmla="*/ 34 h 53"/>
              <a:gd name="T44" fmla="*/ 72 w 75"/>
              <a:gd name="T45" fmla="*/ 31 h 53"/>
              <a:gd name="T46" fmla="*/ 72 w 75"/>
              <a:gd name="T47" fmla="*/ 25 h 53"/>
              <a:gd name="T48" fmla="*/ 63 w 75"/>
              <a:gd name="T49" fmla="*/ 22 h 53"/>
              <a:gd name="T50" fmla="*/ 53 w 75"/>
              <a:gd name="T51" fmla="*/ 22 h 53"/>
              <a:gd name="T52" fmla="*/ 44 w 75"/>
              <a:gd name="T53" fmla="*/ 16 h 53"/>
              <a:gd name="T54" fmla="*/ 41 w 75"/>
              <a:gd name="T55" fmla="*/ 12 h 53"/>
              <a:gd name="T56" fmla="*/ 56 w 75"/>
              <a:gd name="T57" fmla="*/ 16 h 53"/>
              <a:gd name="T58" fmla="*/ 56 w 75"/>
              <a:gd name="T59" fmla="*/ 12 h 53"/>
              <a:gd name="T60" fmla="*/ 47 w 75"/>
              <a:gd name="T61" fmla="*/ 12 h 53"/>
              <a:gd name="T62" fmla="*/ 41 w 75"/>
              <a:gd name="T63" fmla="*/ 6 h 53"/>
              <a:gd name="T64" fmla="*/ 38 w 75"/>
              <a:gd name="T65" fmla="*/ 6 h 53"/>
              <a:gd name="T66" fmla="*/ 19 w 75"/>
              <a:gd name="T67" fmla="*/ 3 h 53"/>
              <a:gd name="T68" fmla="*/ 9 w 75"/>
              <a:gd name="T69" fmla="*/ 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 h="53">
                <a:moveTo>
                  <a:pt x="66" y="37"/>
                </a:moveTo>
                <a:lnTo>
                  <a:pt x="69" y="37"/>
                </a:lnTo>
                <a:lnTo>
                  <a:pt x="72" y="41"/>
                </a:lnTo>
                <a:lnTo>
                  <a:pt x="69" y="41"/>
                </a:lnTo>
                <a:lnTo>
                  <a:pt x="66" y="41"/>
                </a:lnTo>
                <a:lnTo>
                  <a:pt x="66" y="37"/>
                </a:lnTo>
                <a:lnTo>
                  <a:pt x="66" y="37"/>
                </a:lnTo>
                <a:lnTo>
                  <a:pt x="66" y="37"/>
                </a:lnTo>
                <a:close/>
                <a:moveTo>
                  <a:pt x="6" y="6"/>
                </a:moveTo>
                <a:lnTo>
                  <a:pt x="6" y="9"/>
                </a:lnTo>
                <a:lnTo>
                  <a:pt x="6" y="12"/>
                </a:lnTo>
                <a:lnTo>
                  <a:pt x="6" y="16"/>
                </a:lnTo>
                <a:lnTo>
                  <a:pt x="6" y="19"/>
                </a:lnTo>
                <a:lnTo>
                  <a:pt x="3" y="22"/>
                </a:lnTo>
                <a:lnTo>
                  <a:pt x="3" y="22"/>
                </a:lnTo>
                <a:lnTo>
                  <a:pt x="3" y="25"/>
                </a:lnTo>
                <a:lnTo>
                  <a:pt x="3" y="28"/>
                </a:lnTo>
                <a:lnTo>
                  <a:pt x="3" y="31"/>
                </a:lnTo>
                <a:lnTo>
                  <a:pt x="0" y="37"/>
                </a:lnTo>
                <a:lnTo>
                  <a:pt x="0" y="41"/>
                </a:lnTo>
                <a:lnTo>
                  <a:pt x="0" y="41"/>
                </a:lnTo>
                <a:lnTo>
                  <a:pt x="3" y="44"/>
                </a:lnTo>
                <a:lnTo>
                  <a:pt x="3" y="47"/>
                </a:lnTo>
                <a:lnTo>
                  <a:pt x="6" y="47"/>
                </a:lnTo>
                <a:lnTo>
                  <a:pt x="6" y="50"/>
                </a:lnTo>
                <a:lnTo>
                  <a:pt x="9" y="53"/>
                </a:lnTo>
                <a:lnTo>
                  <a:pt x="13" y="47"/>
                </a:lnTo>
                <a:lnTo>
                  <a:pt x="16" y="41"/>
                </a:lnTo>
                <a:lnTo>
                  <a:pt x="16" y="37"/>
                </a:lnTo>
                <a:lnTo>
                  <a:pt x="19" y="34"/>
                </a:lnTo>
                <a:lnTo>
                  <a:pt x="19" y="37"/>
                </a:lnTo>
                <a:lnTo>
                  <a:pt x="22" y="37"/>
                </a:lnTo>
                <a:lnTo>
                  <a:pt x="25" y="31"/>
                </a:lnTo>
                <a:lnTo>
                  <a:pt x="28" y="34"/>
                </a:lnTo>
                <a:lnTo>
                  <a:pt x="28" y="37"/>
                </a:lnTo>
                <a:lnTo>
                  <a:pt x="31" y="41"/>
                </a:lnTo>
                <a:lnTo>
                  <a:pt x="34" y="37"/>
                </a:lnTo>
                <a:lnTo>
                  <a:pt x="41" y="34"/>
                </a:lnTo>
                <a:lnTo>
                  <a:pt x="47" y="31"/>
                </a:lnTo>
                <a:lnTo>
                  <a:pt x="53" y="34"/>
                </a:lnTo>
                <a:lnTo>
                  <a:pt x="56" y="31"/>
                </a:lnTo>
                <a:lnTo>
                  <a:pt x="59" y="34"/>
                </a:lnTo>
                <a:lnTo>
                  <a:pt x="63" y="34"/>
                </a:lnTo>
                <a:lnTo>
                  <a:pt x="69" y="34"/>
                </a:lnTo>
                <a:lnTo>
                  <a:pt x="69" y="31"/>
                </a:lnTo>
                <a:lnTo>
                  <a:pt x="72" y="31"/>
                </a:lnTo>
                <a:lnTo>
                  <a:pt x="75" y="28"/>
                </a:lnTo>
                <a:lnTo>
                  <a:pt x="72" y="25"/>
                </a:lnTo>
                <a:lnTo>
                  <a:pt x="66" y="22"/>
                </a:lnTo>
                <a:lnTo>
                  <a:pt x="63" y="22"/>
                </a:lnTo>
                <a:lnTo>
                  <a:pt x="56" y="19"/>
                </a:lnTo>
                <a:lnTo>
                  <a:pt x="53" y="22"/>
                </a:lnTo>
                <a:lnTo>
                  <a:pt x="50" y="19"/>
                </a:lnTo>
                <a:lnTo>
                  <a:pt x="44" y="16"/>
                </a:lnTo>
                <a:lnTo>
                  <a:pt x="41" y="16"/>
                </a:lnTo>
                <a:lnTo>
                  <a:pt x="41" y="12"/>
                </a:lnTo>
                <a:lnTo>
                  <a:pt x="47" y="16"/>
                </a:lnTo>
                <a:lnTo>
                  <a:pt x="56" y="16"/>
                </a:lnTo>
                <a:lnTo>
                  <a:pt x="59" y="16"/>
                </a:lnTo>
                <a:lnTo>
                  <a:pt x="56" y="12"/>
                </a:lnTo>
                <a:lnTo>
                  <a:pt x="53" y="12"/>
                </a:lnTo>
                <a:lnTo>
                  <a:pt x="47" y="12"/>
                </a:lnTo>
                <a:lnTo>
                  <a:pt x="44" y="6"/>
                </a:lnTo>
                <a:lnTo>
                  <a:pt x="41" y="6"/>
                </a:lnTo>
                <a:lnTo>
                  <a:pt x="41" y="6"/>
                </a:lnTo>
                <a:lnTo>
                  <a:pt x="38" y="6"/>
                </a:lnTo>
                <a:lnTo>
                  <a:pt x="22" y="0"/>
                </a:lnTo>
                <a:lnTo>
                  <a:pt x="19" y="3"/>
                </a:lnTo>
                <a:lnTo>
                  <a:pt x="16" y="0"/>
                </a:lnTo>
                <a:lnTo>
                  <a:pt x="9" y="3"/>
                </a:lnTo>
                <a:lnTo>
                  <a:pt x="6" y="6"/>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0" name="Freeform 168">
            <a:extLst>
              <a:ext uri="{FF2B5EF4-FFF2-40B4-BE49-F238E27FC236}">
                <a16:creationId xmlns:a16="http://schemas.microsoft.com/office/drawing/2014/main" id="{78976E8C-1A2E-1396-7CAD-6D09C335D10D}"/>
              </a:ext>
            </a:extLst>
          </p:cNvPr>
          <p:cNvSpPr>
            <a:spLocks noEditPoints="1"/>
          </p:cNvSpPr>
          <p:nvPr userDrawn="1"/>
        </p:nvSpPr>
        <p:spPr bwMode="auto">
          <a:xfrm>
            <a:off x="10064094" y="1628063"/>
            <a:ext cx="2638254" cy="3387726"/>
          </a:xfrm>
          <a:custGeom>
            <a:avLst/>
            <a:gdLst>
              <a:gd name="T0" fmla="*/ 67 w 266"/>
              <a:gd name="T1" fmla="*/ 327 h 341"/>
              <a:gd name="T2" fmla="*/ 52 w 266"/>
              <a:gd name="T3" fmla="*/ 314 h 341"/>
              <a:gd name="T4" fmla="*/ 45 w 266"/>
              <a:gd name="T5" fmla="*/ 297 h 341"/>
              <a:gd name="T6" fmla="*/ 42 w 266"/>
              <a:gd name="T7" fmla="*/ 289 h 341"/>
              <a:gd name="T8" fmla="*/ 47 w 266"/>
              <a:gd name="T9" fmla="*/ 270 h 341"/>
              <a:gd name="T10" fmla="*/ 44 w 266"/>
              <a:gd name="T11" fmla="*/ 261 h 341"/>
              <a:gd name="T12" fmla="*/ 55 w 266"/>
              <a:gd name="T13" fmla="*/ 251 h 341"/>
              <a:gd name="T14" fmla="*/ 58 w 266"/>
              <a:gd name="T15" fmla="*/ 248 h 341"/>
              <a:gd name="T16" fmla="*/ 62 w 266"/>
              <a:gd name="T17" fmla="*/ 233 h 341"/>
              <a:gd name="T18" fmla="*/ 64 w 266"/>
              <a:gd name="T19" fmla="*/ 220 h 341"/>
              <a:gd name="T20" fmla="*/ 63 w 266"/>
              <a:gd name="T21" fmla="*/ 202 h 341"/>
              <a:gd name="T22" fmla="*/ 48 w 266"/>
              <a:gd name="T23" fmla="*/ 198 h 341"/>
              <a:gd name="T24" fmla="*/ 54 w 266"/>
              <a:gd name="T25" fmla="*/ 169 h 341"/>
              <a:gd name="T26" fmla="*/ 42 w 266"/>
              <a:gd name="T27" fmla="*/ 132 h 341"/>
              <a:gd name="T28" fmla="*/ 9 w 266"/>
              <a:gd name="T29" fmla="*/ 116 h 341"/>
              <a:gd name="T30" fmla="*/ 27 w 266"/>
              <a:gd name="T31" fmla="*/ 100 h 341"/>
              <a:gd name="T32" fmla="*/ 10 w 266"/>
              <a:gd name="T33" fmla="*/ 78 h 341"/>
              <a:gd name="T34" fmla="*/ 53 w 266"/>
              <a:gd name="T35" fmla="*/ 58 h 341"/>
              <a:gd name="T36" fmla="*/ 69 w 266"/>
              <a:gd name="T37" fmla="*/ 39 h 341"/>
              <a:gd name="T38" fmla="*/ 104 w 266"/>
              <a:gd name="T39" fmla="*/ 20 h 341"/>
              <a:gd name="T40" fmla="*/ 122 w 266"/>
              <a:gd name="T41" fmla="*/ 36 h 341"/>
              <a:gd name="T42" fmla="*/ 143 w 266"/>
              <a:gd name="T43" fmla="*/ 36 h 341"/>
              <a:gd name="T44" fmla="*/ 152 w 266"/>
              <a:gd name="T45" fmla="*/ 14 h 341"/>
              <a:gd name="T46" fmla="*/ 179 w 266"/>
              <a:gd name="T47" fmla="*/ 2 h 341"/>
              <a:gd name="T48" fmla="*/ 197 w 266"/>
              <a:gd name="T49" fmla="*/ 13 h 341"/>
              <a:gd name="T50" fmla="*/ 210 w 266"/>
              <a:gd name="T51" fmla="*/ 17 h 341"/>
              <a:gd name="T52" fmla="*/ 235 w 266"/>
              <a:gd name="T53" fmla="*/ 35 h 341"/>
              <a:gd name="T54" fmla="*/ 184 w 266"/>
              <a:gd name="T55" fmla="*/ 44 h 341"/>
              <a:gd name="T56" fmla="*/ 223 w 266"/>
              <a:gd name="T57" fmla="*/ 47 h 341"/>
              <a:gd name="T58" fmla="*/ 232 w 266"/>
              <a:gd name="T59" fmla="*/ 59 h 341"/>
              <a:gd name="T60" fmla="*/ 256 w 266"/>
              <a:gd name="T61" fmla="*/ 66 h 341"/>
              <a:gd name="T62" fmla="*/ 232 w 266"/>
              <a:gd name="T63" fmla="*/ 80 h 341"/>
              <a:gd name="T64" fmla="*/ 222 w 266"/>
              <a:gd name="T65" fmla="*/ 121 h 341"/>
              <a:gd name="T66" fmla="*/ 221 w 266"/>
              <a:gd name="T67" fmla="*/ 138 h 341"/>
              <a:gd name="T68" fmla="*/ 222 w 266"/>
              <a:gd name="T69" fmla="*/ 154 h 341"/>
              <a:gd name="T70" fmla="*/ 216 w 266"/>
              <a:gd name="T71" fmla="*/ 166 h 341"/>
              <a:gd name="T72" fmla="*/ 215 w 266"/>
              <a:gd name="T73" fmla="*/ 183 h 341"/>
              <a:gd name="T74" fmla="*/ 196 w 266"/>
              <a:gd name="T75" fmla="*/ 186 h 341"/>
              <a:gd name="T76" fmla="*/ 187 w 266"/>
              <a:gd name="T77" fmla="*/ 196 h 341"/>
              <a:gd name="T78" fmla="*/ 207 w 266"/>
              <a:gd name="T79" fmla="*/ 213 h 341"/>
              <a:gd name="T80" fmla="*/ 195 w 266"/>
              <a:gd name="T81" fmla="*/ 223 h 341"/>
              <a:gd name="T82" fmla="*/ 178 w 266"/>
              <a:gd name="T83" fmla="*/ 221 h 341"/>
              <a:gd name="T84" fmla="*/ 191 w 266"/>
              <a:gd name="T85" fmla="*/ 230 h 341"/>
              <a:gd name="T86" fmla="*/ 180 w 266"/>
              <a:gd name="T87" fmla="*/ 249 h 341"/>
              <a:gd name="T88" fmla="*/ 151 w 266"/>
              <a:gd name="T89" fmla="*/ 253 h 341"/>
              <a:gd name="T90" fmla="*/ 126 w 266"/>
              <a:gd name="T91" fmla="*/ 278 h 341"/>
              <a:gd name="T92" fmla="*/ 106 w 266"/>
              <a:gd name="T93" fmla="*/ 283 h 341"/>
              <a:gd name="T94" fmla="*/ 93 w 266"/>
              <a:gd name="T95" fmla="*/ 302 h 341"/>
              <a:gd name="T96" fmla="*/ 88 w 266"/>
              <a:gd name="T97" fmla="*/ 318 h 341"/>
              <a:gd name="T98" fmla="*/ 77 w 266"/>
              <a:gd name="T99" fmla="*/ 332 h 341"/>
              <a:gd name="T100" fmla="*/ 89 w 266"/>
              <a:gd name="T101" fmla="*/ 312 h 341"/>
              <a:gd name="T102" fmla="*/ 198 w 266"/>
              <a:gd name="T103" fmla="*/ 239 h 341"/>
              <a:gd name="T104" fmla="*/ 201 w 266"/>
              <a:gd name="T105" fmla="*/ 197 h 341"/>
              <a:gd name="T106" fmla="*/ 213 w 266"/>
              <a:gd name="T107" fmla="*/ 175 h 341"/>
              <a:gd name="T108" fmla="*/ 219 w 266"/>
              <a:gd name="T109" fmla="*/ 147 h 341"/>
              <a:gd name="T110" fmla="*/ 246 w 266"/>
              <a:gd name="T111" fmla="*/ 45 h 341"/>
              <a:gd name="T112" fmla="*/ 151 w 266"/>
              <a:gd name="T113" fmla="*/ 13 h 341"/>
              <a:gd name="T114" fmla="*/ 120 w 266"/>
              <a:gd name="T115" fmla="*/ 26 h 341"/>
              <a:gd name="T116" fmla="*/ 50 w 266"/>
              <a:gd name="T117" fmla="*/ 158 h 341"/>
              <a:gd name="T118" fmla="*/ 50 w 266"/>
              <a:gd name="T119" fmla="*/ 185 h 341"/>
              <a:gd name="T120" fmla="*/ 54 w 266"/>
              <a:gd name="T121" fmla="*/ 330 h 341"/>
              <a:gd name="T122" fmla="*/ 49 w 266"/>
              <a:gd name="T123" fmla="*/ 241 h 341"/>
              <a:gd name="T124" fmla="*/ 62 w 266"/>
              <a:gd name="T125" fmla="*/ 226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6" h="341">
                <a:moveTo>
                  <a:pt x="79" y="338"/>
                </a:moveTo>
                <a:cubicBezTo>
                  <a:pt x="76" y="336"/>
                  <a:pt x="76" y="336"/>
                  <a:pt x="76" y="336"/>
                </a:cubicBezTo>
                <a:cubicBezTo>
                  <a:pt x="75" y="336"/>
                  <a:pt x="75" y="336"/>
                  <a:pt x="75" y="336"/>
                </a:cubicBezTo>
                <a:cubicBezTo>
                  <a:pt x="75" y="336"/>
                  <a:pt x="75" y="336"/>
                  <a:pt x="75" y="336"/>
                </a:cubicBezTo>
                <a:cubicBezTo>
                  <a:pt x="75" y="335"/>
                  <a:pt x="75" y="335"/>
                  <a:pt x="75" y="335"/>
                </a:cubicBezTo>
                <a:cubicBezTo>
                  <a:pt x="75" y="335"/>
                  <a:pt x="75" y="335"/>
                  <a:pt x="75" y="335"/>
                </a:cubicBezTo>
                <a:cubicBezTo>
                  <a:pt x="75" y="334"/>
                  <a:pt x="75" y="334"/>
                  <a:pt x="75" y="334"/>
                </a:cubicBezTo>
                <a:cubicBezTo>
                  <a:pt x="75" y="334"/>
                  <a:pt x="75" y="334"/>
                  <a:pt x="75" y="334"/>
                </a:cubicBezTo>
                <a:cubicBezTo>
                  <a:pt x="74" y="335"/>
                  <a:pt x="74" y="335"/>
                  <a:pt x="74" y="335"/>
                </a:cubicBezTo>
                <a:cubicBezTo>
                  <a:pt x="74" y="335"/>
                  <a:pt x="74" y="335"/>
                  <a:pt x="74" y="335"/>
                </a:cubicBezTo>
                <a:cubicBezTo>
                  <a:pt x="74" y="336"/>
                  <a:pt x="74" y="336"/>
                  <a:pt x="74" y="336"/>
                </a:cubicBezTo>
                <a:cubicBezTo>
                  <a:pt x="73" y="336"/>
                  <a:pt x="73" y="336"/>
                  <a:pt x="73" y="336"/>
                </a:cubicBezTo>
                <a:cubicBezTo>
                  <a:pt x="72" y="336"/>
                  <a:pt x="72" y="336"/>
                  <a:pt x="72" y="336"/>
                </a:cubicBezTo>
                <a:cubicBezTo>
                  <a:pt x="72" y="337"/>
                  <a:pt x="72" y="337"/>
                  <a:pt x="72" y="337"/>
                </a:cubicBezTo>
                <a:cubicBezTo>
                  <a:pt x="72" y="338"/>
                  <a:pt x="72" y="338"/>
                  <a:pt x="72" y="338"/>
                </a:cubicBezTo>
                <a:cubicBezTo>
                  <a:pt x="72" y="338"/>
                  <a:pt x="72" y="338"/>
                  <a:pt x="72" y="338"/>
                </a:cubicBezTo>
                <a:cubicBezTo>
                  <a:pt x="71" y="338"/>
                  <a:pt x="71" y="338"/>
                  <a:pt x="71" y="338"/>
                </a:cubicBezTo>
                <a:cubicBezTo>
                  <a:pt x="71" y="337"/>
                  <a:pt x="71" y="337"/>
                  <a:pt x="71" y="337"/>
                </a:cubicBezTo>
                <a:cubicBezTo>
                  <a:pt x="72" y="336"/>
                  <a:pt x="72" y="336"/>
                  <a:pt x="72" y="336"/>
                </a:cubicBezTo>
                <a:cubicBezTo>
                  <a:pt x="72" y="335"/>
                  <a:pt x="72" y="335"/>
                  <a:pt x="72" y="335"/>
                </a:cubicBezTo>
                <a:cubicBezTo>
                  <a:pt x="73" y="333"/>
                  <a:pt x="73" y="333"/>
                  <a:pt x="73" y="333"/>
                </a:cubicBezTo>
                <a:cubicBezTo>
                  <a:pt x="73" y="333"/>
                  <a:pt x="73" y="333"/>
                  <a:pt x="73" y="333"/>
                </a:cubicBezTo>
                <a:cubicBezTo>
                  <a:pt x="72" y="334"/>
                  <a:pt x="72" y="334"/>
                  <a:pt x="72" y="334"/>
                </a:cubicBezTo>
                <a:cubicBezTo>
                  <a:pt x="71" y="336"/>
                  <a:pt x="71" y="336"/>
                  <a:pt x="71" y="336"/>
                </a:cubicBezTo>
                <a:cubicBezTo>
                  <a:pt x="70" y="337"/>
                  <a:pt x="70" y="337"/>
                  <a:pt x="70" y="337"/>
                </a:cubicBezTo>
                <a:cubicBezTo>
                  <a:pt x="69" y="336"/>
                  <a:pt x="69" y="336"/>
                  <a:pt x="69" y="336"/>
                </a:cubicBezTo>
                <a:cubicBezTo>
                  <a:pt x="70" y="336"/>
                  <a:pt x="70" y="336"/>
                  <a:pt x="70" y="336"/>
                </a:cubicBezTo>
                <a:cubicBezTo>
                  <a:pt x="71" y="335"/>
                  <a:pt x="71" y="335"/>
                  <a:pt x="71" y="335"/>
                </a:cubicBezTo>
                <a:cubicBezTo>
                  <a:pt x="71" y="333"/>
                  <a:pt x="71" y="333"/>
                  <a:pt x="71" y="333"/>
                </a:cubicBezTo>
                <a:cubicBezTo>
                  <a:pt x="72" y="332"/>
                  <a:pt x="72" y="332"/>
                  <a:pt x="72" y="332"/>
                </a:cubicBezTo>
                <a:cubicBezTo>
                  <a:pt x="71" y="332"/>
                  <a:pt x="71" y="332"/>
                  <a:pt x="71" y="332"/>
                </a:cubicBezTo>
                <a:cubicBezTo>
                  <a:pt x="70" y="332"/>
                  <a:pt x="70" y="332"/>
                  <a:pt x="70" y="332"/>
                </a:cubicBezTo>
                <a:cubicBezTo>
                  <a:pt x="70" y="333"/>
                  <a:pt x="70" y="333"/>
                  <a:pt x="70" y="333"/>
                </a:cubicBezTo>
                <a:cubicBezTo>
                  <a:pt x="69" y="334"/>
                  <a:pt x="69" y="334"/>
                  <a:pt x="69" y="334"/>
                </a:cubicBezTo>
                <a:cubicBezTo>
                  <a:pt x="69" y="333"/>
                  <a:pt x="69" y="333"/>
                  <a:pt x="69" y="333"/>
                </a:cubicBezTo>
                <a:cubicBezTo>
                  <a:pt x="69" y="332"/>
                  <a:pt x="69" y="332"/>
                  <a:pt x="69" y="332"/>
                </a:cubicBezTo>
                <a:cubicBezTo>
                  <a:pt x="70" y="332"/>
                  <a:pt x="70" y="332"/>
                  <a:pt x="70" y="332"/>
                </a:cubicBezTo>
                <a:cubicBezTo>
                  <a:pt x="70" y="331"/>
                  <a:pt x="70" y="331"/>
                  <a:pt x="70" y="331"/>
                </a:cubicBezTo>
                <a:cubicBezTo>
                  <a:pt x="69" y="331"/>
                  <a:pt x="69" y="331"/>
                  <a:pt x="69" y="331"/>
                </a:cubicBezTo>
                <a:cubicBezTo>
                  <a:pt x="69" y="332"/>
                  <a:pt x="69" y="332"/>
                  <a:pt x="69" y="332"/>
                </a:cubicBezTo>
                <a:cubicBezTo>
                  <a:pt x="68" y="333"/>
                  <a:pt x="68" y="333"/>
                  <a:pt x="68" y="333"/>
                </a:cubicBezTo>
                <a:cubicBezTo>
                  <a:pt x="68" y="333"/>
                  <a:pt x="68" y="333"/>
                  <a:pt x="68" y="333"/>
                </a:cubicBezTo>
                <a:cubicBezTo>
                  <a:pt x="67" y="332"/>
                  <a:pt x="67" y="332"/>
                  <a:pt x="67" y="332"/>
                </a:cubicBezTo>
                <a:cubicBezTo>
                  <a:pt x="67" y="332"/>
                  <a:pt x="67" y="332"/>
                  <a:pt x="67" y="332"/>
                </a:cubicBezTo>
                <a:cubicBezTo>
                  <a:pt x="67" y="332"/>
                  <a:pt x="67" y="332"/>
                  <a:pt x="67" y="332"/>
                </a:cubicBezTo>
                <a:cubicBezTo>
                  <a:pt x="66" y="332"/>
                  <a:pt x="66" y="332"/>
                  <a:pt x="66" y="332"/>
                </a:cubicBezTo>
                <a:cubicBezTo>
                  <a:pt x="66" y="332"/>
                  <a:pt x="66" y="332"/>
                  <a:pt x="66" y="332"/>
                </a:cubicBezTo>
                <a:cubicBezTo>
                  <a:pt x="66" y="332"/>
                  <a:pt x="66" y="332"/>
                  <a:pt x="66" y="332"/>
                </a:cubicBezTo>
                <a:cubicBezTo>
                  <a:pt x="68" y="331"/>
                  <a:pt x="68" y="331"/>
                  <a:pt x="68" y="331"/>
                </a:cubicBezTo>
                <a:cubicBezTo>
                  <a:pt x="68" y="330"/>
                  <a:pt x="68" y="330"/>
                  <a:pt x="68" y="330"/>
                </a:cubicBezTo>
                <a:cubicBezTo>
                  <a:pt x="69" y="329"/>
                  <a:pt x="69" y="329"/>
                  <a:pt x="69" y="329"/>
                </a:cubicBezTo>
                <a:cubicBezTo>
                  <a:pt x="70" y="328"/>
                  <a:pt x="70" y="328"/>
                  <a:pt x="70" y="328"/>
                </a:cubicBezTo>
                <a:cubicBezTo>
                  <a:pt x="70" y="328"/>
                  <a:pt x="70" y="328"/>
                  <a:pt x="70" y="328"/>
                </a:cubicBezTo>
                <a:cubicBezTo>
                  <a:pt x="68" y="329"/>
                  <a:pt x="68" y="329"/>
                  <a:pt x="68" y="329"/>
                </a:cubicBezTo>
                <a:cubicBezTo>
                  <a:pt x="67" y="329"/>
                  <a:pt x="67" y="329"/>
                  <a:pt x="67" y="329"/>
                </a:cubicBezTo>
                <a:cubicBezTo>
                  <a:pt x="67" y="329"/>
                  <a:pt x="67" y="329"/>
                  <a:pt x="67" y="329"/>
                </a:cubicBezTo>
                <a:cubicBezTo>
                  <a:pt x="67" y="329"/>
                  <a:pt x="67" y="329"/>
                  <a:pt x="67" y="329"/>
                </a:cubicBezTo>
                <a:cubicBezTo>
                  <a:pt x="68" y="329"/>
                  <a:pt x="68" y="329"/>
                  <a:pt x="68" y="329"/>
                </a:cubicBezTo>
                <a:cubicBezTo>
                  <a:pt x="69" y="328"/>
                  <a:pt x="69" y="328"/>
                  <a:pt x="69" y="328"/>
                </a:cubicBezTo>
                <a:cubicBezTo>
                  <a:pt x="70" y="327"/>
                  <a:pt x="70" y="327"/>
                  <a:pt x="70" y="327"/>
                </a:cubicBezTo>
                <a:cubicBezTo>
                  <a:pt x="71" y="327"/>
                  <a:pt x="71" y="327"/>
                  <a:pt x="71" y="327"/>
                </a:cubicBezTo>
                <a:cubicBezTo>
                  <a:pt x="71" y="326"/>
                  <a:pt x="71" y="326"/>
                  <a:pt x="71" y="326"/>
                </a:cubicBezTo>
                <a:cubicBezTo>
                  <a:pt x="71" y="325"/>
                  <a:pt x="71" y="325"/>
                  <a:pt x="71" y="325"/>
                </a:cubicBezTo>
                <a:cubicBezTo>
                  <a:pt x="70" y="325"/>
                  <a:pt x="70" y="325"/>
                  <a:pt x="70" y="325"/>
                </a:cubicBezTo>
                <a:cubicBezTo>
                  <a:pt x="69" y="327"/>
                  <a:pt x="69" y="327"/>
                  <a:pt x="69" y="327"/>
                </a:cubicBezTo>
                <a:cubicBezTo>
                  <a:pt x="67" y="328"/>
                  <a:pt x="67" y="328"/>
                  <a:pt x="67" y="328"/>
                </a:cubicBezTo>
                <a:cubicBezTo>
                  <a:pt x="66" y="328"/>
                  <a:pt x="66" y="328"/>
                  <a:pt x="66" y="328"/>
                </a:cubicBezTo>
                <a:cubicBezTo>
                  <a:pt x="66" y="328"/>
                  <a:pt x="66" y="328"/>
                  <a:pt x="66" y="328"/>
                </a:cubicBezTo>
                <a:cubicBezTo>
                  <a:pt x="66" y="327"/>
                  <a:pt x="66" y="327"/>
                  <a:pt x="66" y="327"/>
                </a:cubicBezTo>
                <a:cubicBezTo>
                  <a:pt x="67" y="327"/>
                  <a:pt x="67" y="327"/>
                  <a:pt x="67" y="327"/>
                </a:cubicBezTo>
                <a:cubicBezTo>
                  <a:pt x="68" y="326"/>
                  <a:pt x="68" y="326"/>
                  <a:pt x="68" y="326"/>
                </a:cubicBezTo>
                <a:cubicBezTo>
                  <a:pt x="68" y="325"/>
                  <a:pt x="68" y="325"/>
                  <a:pt x="68" y="325"/>
                </a:cubicBezTo>
                <a:cubicBezTo>
                  <a:pt x="67" y="324"/>
                  <a:pt x="67" y="324"/>
                  <a:pt x="67" y="324"/>
                </a:cubicBezTo>
                <a:cubicBezTo>
                  <a:pt x="67" y="324"/>
                  <a:pt x="67" y="324"/>
                  <a:pt x="67" y="324"/>
                </a:cubicBezTo>
                <a:cubicBezTo>
                  <a:pt x="66" y="324"/>
                  <a:pt x="66" y="324"/>
                  <a:pt x="66" y="324"/>
                </a:cubicBezTo>
                <a:cubicBezTo>
                  <a:pt x="66" y="325"/>
                  <a:pt x="66" y="325"/>
                  <a:pt x="66" y="325"/>
                </a:cubicBezTo>
                <a:cubicBezTo>
                  <a:pt x="67" y="325"/>
                  <a:pt x="67" y="325"/>
                  <a:pt x="67" y="325"/>
                </a:cubicBezTo>
                <a:cubicBezTo>
                  <a:pt x="67" y="326"/>
                  <a:pt x="67" y="326"/>
                  <a:pt x="67" y="326"/>
                </a:cubicBezTo>
                <a:cubicBezTo>
                  <a:pt x="66" y="326"/>
                  <a:pt x="66" y="326"/>
                  <a:pt x="66" y="326"/>
                </a:cubicBezTo>
                <a:cubicBezTo>
                  <a:pt x="65" y="326"/>
                  <a:pt x="65" y="326"/>
                  <a:pt x="65" y="326"/>
                </a:cubicBezTo>
                <a:cubicBezTo>
                  <a:pt x="64" y="326"/>
                  <a:pt x="64" y="326"/>
                  <a:pt x="64" y="326"/>
                </a:cubicBezTo>
                <a:cubicBezTo>
                  <a:pt x="64" y="326"/>
                  <a:pt x="64" y="326"/>
                  <a:pt x="64" y="326"/>
                </a:cubicBezTo>
                <a:cubicBezTo>
                  <a:pt x="63" y="327"/>
                  <a:pt x="63" y="327"/>
                  <a:pt x="63" y="327"/>
                </a:cubicBezTo>
                <a:cubicBezTo>
                  <a:pt x="62" y="328"/>
                  <a:pt x="62" y="328"/>
                  <a:pt x="62" y="328"/>
                </a:cubicBezTo>
                <a:cubicBezTo>
                  <a:pt x="62" y="328"/>
                  <a:pt x="62" y="328"/>
                  <a:pt x="62" y="328"/>
                </a:cubicBezTo>
                <a:cubicBezTo>
                  <a:pt x="61" y="328"/>
                  <a:pt x="61" y="328"/>
                  <a:pt x="61" y="328"/>
                </a:cubicBezTo>
                <a:cubicBezTo>
                  <a:pt x="61" y="327"/>
                  <a:pt x="61" y="327"/>
                  <a:pt x="61" y="327"/>
                </a:cubicBezTo>
                <a:cubicBezTo>
                  <a:pt x="60" y="327"/>
                  <a:pt x="60" y="327"/>
                  <a:pt x="60" y="327"/>
                </a:cubicBezTo>
                <a:cubicBezTo>
                  <a:pt x="59" y="328"/>
                  <a:pt x="59" y="328"/>
                  <a:pt x="59" y="328"/>
                </a:cubicBezTo>
                <a:cubicBezTo>
                  <a:pt x="58" y="328"/>
                  <a:pt x="58" y="328"/>
                  <a:pt x="58" y="328"/>
                </a:cubicBezTo>
                <a:cubicBezTo>
                  <a:pt x="58" y="328"/>
                  <a:pt x="58" y="328"/>
                  <a:pt x="58" y="328"/>
                </a:cubicBezTo>
                <a:cubicBezTo>
                  <a:pt x="58" y="328"/>
                  <a:pt x="58" y="328"/>
                  <a:pt x="58" y="328"/>
                </a:cubicBezTo>
                <a:cubicBezTo>
                  <a:pt x="58" y="329"/>
                  <a:pt x="58" y="329"/>
                  <a:pt x="58" y="329"/>
                </a:cubicBezTo>
                <a:cubicBezTo>
                  <a:pt x="57" y="329"/>
                  <a:pt x="57" y="329"/>
                  <a:pt x="57" y="329"/>
                </a:cubicBezTo>
                <a:cubicBezTo>
                  <a:pt x="56" y="329"/>
                  <a:pt x="56" y="329"/>
                  <a:pt x="56" y="329"/>
                </a:cubicBezTo>
                <a:cubicBezTo>
                  <a:pt x="55" y="328"/>
                  <a:pt x="55" y="328"/>
                  <a:pt x="55" y="328"/>
                </a:cubicBezTo>
                <a:cubicBezTo>
                  <a:pt x="56" y="327"/>
                  <a:pt x="56" y="327"/>
                  <a:pt x="56" y="327"/>
                </a:cubicBezTo>
                <a:cubicBezTo>
                  <a:pt x="57" y="327"/>
                  <a:pt x="57" y="327"/>
                  <a:pt x="57" y="327"/>
                </a:cubicBezTo>
                <a:cubicBezTo>
                  <a:pt x="58" y="327"/>
                  <a:pt x="58" y="327"/>
                  <a:pt x="58" y="327"/>
                </a:cubicBezTo>
                <a:cubicBezTo>
                  <a:pt x="57" y="326"/>
                  <a:pt x="57" y="326"/>
                  <a:pt x="57" y="326"/>
                </a:cubicBezTo>
                <a:cubicBezTo>
                  <a:pt x="56" y="326"/>
                  <a:pt x="56" y="326"/>
                  <a:pt x="56" y="326"/>
                </a:cubicBezTo>
                <a:cubicBezTo>
                  <a:pt x="56" y="325"/>
                  <a:pt x="56" y="325"/>
                  <a:pt x="56" y="325"/>
                </a:cubicBezTo>
                <a:cubicBezTo>
                  <a:pt x="56" y="324"/>
                  <a:pt x="56" y="324"/>
                  <a:pt x="56" y="324"/>
                </a:cubicBezTo>
                <a:cubicBezTo>
                  <a:pt x="55" y="323"/>
                  <a:pt x="55" y="323"/>
                  <a:pt x="55" y="323"/>
                </a:cubicBezTo>
                <a:cubicBezTo>
                  <a:pt x="55" y="324"/>
                  <a:pt x="55" y="324"/>
                  <a:pt x="55" y="324"/>
                </a:cubicBezTo>
                <a:cubicBezTo>
                  <a:pt x="53" y="325"/>
                  <a:pt x="53" y="325"/>
                  <a:pt x="53" y="325"/>
                </a:cubicBezTo>
                <a:cubicBezTo>
                  <a:pt x="52" y="325"/>
                  <a:pt x="52" y="325"/>
                  <a:pt x="52" y="325"/>
                </a:cubicBezTo>
                <a:cubicBezTo>
                  <a:pt x="52" y="324"/>
                  <a:pt x="52" y="324"/>
                  <a:pt x="52" y="324"/>
                </a:cubicBezTo>
                <a:cubicBezTo>
                  <a:pt x="53" y="323"/>
                  <a:pt x="53" y="323"/>
                  <a:pt x="53" y="323"/>
                </a:cubicBezTo>
                <a:cubicBezTo>
                  <a:pt x="52" y="322"/>
                  <a:pt x="52" y="322"/>
                  <a:pt x="52" y="322"/>
                </a:cubicBezTo>
                <a:cubicBezTo>
                  <a:pt x="52" y="322"/>
                  <a:pt x="52" y="322"/>
                  <a:pt x="52" y="322"/>
                </a:cubicBezTo>
                <a:cubicBezTo>
                  <a:pt x="52" y="322"/>
                  <a:pt x="52" y="322"/>
                  <a:pt x="52" y="322"/>
                </a:cubicBezTo>
                <a:cubicBezTo>
                  <a:pt x="53" y="321"/>
                  <a:pt x="53" y="321"/>
                  <a:pt x="53" y="321"/>
                </a:cubicBezTo>
                <a:cubicBezTo>
                  <a:pt x="54" y="321"/>
                  <a:pt x="54" y="321"/>
                  <a:pt x="54" y="321"/>
                </a:cubicBezTo>
                <a:cubicBezTo>
                  <a:pt x="54" y="321"/>
                  <a:pt x="54" y="321"/>
                  <a:pt x="54" y="321"/>
                </a:cubicBezTo>
                <a:cubicBezTo>
                  <a:pt x="54" y="320"/>
                  <a:pt x="54" y="320"/>
                  <a:pt x="54" y="320"/>
                </a:cubicBezTo>
                <a:cubicBezTo>
                  <a:pt x="53" y="320"/>
                  <a:pt x="53" y="320"/>
                  <a:pt x="53" y="320"/>
                </a:cubicBezTo>
                <a:cubicBezTo>
                  <a:pt x="52" y="320"/>
                  <a:pt x="52" y="320"/>
                  <a:pt x="52" y="320"/>
                </a:cubicBezTo>
                <a:cubicBezTo>
                  <a:pt x="51" y="321"/>
                  <a:pt x="51" y="321"/>
                  <a:pt x="51" y="321"/>
                </a:cubicBezTo>
                <a:cubicBezTo>
                  <a:pt x="50" y="321"/>
                  <a:pt x="50" y="321"/>
                  <a:pt x="50" y="321"/>
                </a:cubicBezTo>
                <a:cubicBezTo>
                  <a:pt x="49" y="321"/>
                  <a:pt x="49" y="321"/>
                  <a:pt x="49" y="321"/>
                </a:cubicBezTo>
                <a:cubicBezTo>
                  <a:pt x="49" y="320"/>
                  <a:pt x="49" y="320"/>
                  <a:pt x="49" y="320"/>
                </a:cubicBezTo>
                <a:cubicBezTo>
                  <a:pt x="50" y="320"/>
                  <a:pt x="50" y="320"/>
                  <a:pt x="50" y="320"/>
                </a:cubicBezTo>
                <a:cubicBezTo>
                  <a:pt x="51" y="319"/>
                  <a:pt x="51" y="319"/>
                  <a:pt x="51" y="319"/>
                </a:cubicBezTo>
                <a:cubicBezTo>
                  <a:pt x="51" y="318"/>
                  <a:pt x="51" y="318"/>
                  <a:pt x="51" y="318"/>
                </a:cubicBezTo>
                <a:cubicBezTo>
                  <a:pt x="52" y="318"/>
                  <a:pt x="52" y="318"/>
                  <a:pt x="52" y="318"/>
                </a:cubicBezTo>
                <a:cubicBezTo>
                  <a:pt x="52" y="317"/>
                  <a:pt x="52" y="317"/>
                  <a:pt x="52" y="317"/>
                </a:cubicBezTo>
                <a:cubicBezTo>
                  <a:pt x="52" y="317"/>
                  <a:pt x="52" y="317"/>
                  <a:pt x="52" y="317"/>
                </a:cubicBezTo>
                <a:cubicBezTo>
                  <a:pt x="51" y="317"/>
                  <a:pt x="51" y="317"/>
                  <a:pt x="51" y="317"/>
                </a:cubicBezTo>
                <a:cubicBezTo>
                  <a:pt x="50" y="317"/>
                  <a:pt x="50" y="317"/>
                  <a:pt x="50" y="317"/>
                </a:cubicBezTo>
                <a:cubicBezTo>
                  <a:pt x="49" y="318"/>
                  <a:pt x="49" y="318"/>
                  <a:pt x="49" y="318"/>
                </a:cubicBezTo>
                <a:cubicBezTo>
                  <a:pt x="49" y="317"/>
                  <a:pt x="49" y="317"/>
                  <a:pt x="49" y="317"/>
                </a:cubicBezTo>
                <a:cubicBezTo>
                  <a:pt x="49" y="316"/>
                  <a:pt x="49" y="316"/>
                  <a:pt x="49" y="316"/>
                </a:cubicBezTo>
                <a:cubicBezTo>
                  <a:pt x="50" y="316"/>
                  <a:pt x="50" y="316"/>
                  <a:pt x="50" y="316"/>
                </a:cubicBezTo>
                <a:cubicBezTo>
                  <a:pt x="51" y="316"/>
                  <a:pt x="51" y="316"/>
                  <a:pt x="51" y="316"/>
                </a:cubicBezTo>
                <a:cubicBezTo>
                  <a:pt x="51" y="316"/>
                  <a:pt x="51" y="316"/>
                  <a:pt x="51" y="316"/>
                </a:cubicBezTo>
                <a:cubicBezTo>
                  <a:pt x="52" y="315"/>
                  <a:pt x="52" y="315"/>
                  <a:pt x="52" y="315"/>
                </a:cubicBezTo>
                <a:cubicBezTo>
                  <a:pt x="52" y="315"/>
                  <a:pt x="52" y="315"/>
                  <a:pt x="52" y="315"/>
                </a:cubicBezTo>
                <a:cubicBezTo>
                  <a:pt x="52" y="314"/>
                  <a:pt x="52" y="314"/>
                  <a:pt x="52" y="314"/>
                </a:cubicBezTo>
                <a:cubicBezTo>
                  <a:pt x="52" y="314"/>
                  <a:pt x="52" y="314"/>
                  <a:pt x="52" y="314"/>
                </a:cubicBezTo>
                <a:cubicBezTo>
                  <a:pt x="51" y="314"/>
                  <a:pt x="51" y="314"/>
                  <a:pt x="51" y="314"/>
                </a:cubicBezTo>
                <a:cubicBezTo>
                  <a:pt x="50" y="315"/>
                  <a:pt x="50" y="315"/>
                  <a:pt x="50" y="315"/>
                </a:cubicBezTo>
                <a:cubicBezTo>
                  <a:pt x="50" y="315"/>
                  <a:pt x="50" y="315"/>
                  <a:pt x="50" y="315"/>
                </a:cubicBezTo>
                <a:cubicBezTo>
                  <a:pt x="49" y="315"/>
                  <a:pt x="49" y="315"/>
                  <a:pt x="49" y="315"/>
                </a:cubicBezTo>
                <a:cubicBezTo>
                  <a:pt x="49" y="315"/>
                  <a:pt x="49" y="315"/>
                  <a:pt x="49" y="315"/>
                </a:cubicBezTo>
                <a:cubicBezTo>
                  <a:pt x="50" y="314"/>
                  <a:pt x="50" y="314"/>
                  <a:pt x="50" y="314"/>
                </a:cubicBezTo>
                <a:cubicBezTo>
                  <a:pt x="50" y="314"/>
                  <a:pt x="50" y="314"/>
                  <a:pt x="50" y="314"/>
                </a:cubicBezTo>
                <a:cubicBezTo>
                  <a:pt x="49" y="313"/>
                  <a:pt x="49" y="313"/>
                  <a:pt x="49" y="313"/>
                </a:cubicBezTo>
                <a:cubicBezTo>
                  <a:pt x="50" y="313"/>
                  <a:pt x="50" y="313"/>
                  <a:pt x="50" y="313"/>
                </a:cubicBezTo>
                <a:cubicBezTo>
                  <a:pt x="50" y="312"/>
                  <a:pt x="50" y="312"/>
                  <a:pt x="50" y="312"/>
                </a:cubicBezTo>
                <a:cubicBezTo>
                  <a:pt x="50" y="312"/>
                  <a:pt x="50" y="312"/>
                  <a:pt x="50" y="312"/>
                </a:cubicBezTo>
                <a:cubicBezTo>
                  <a:pt x="49" y="312"/>
                  <a:pt x="49" y="312"/>
                  <a:pt x="49" y="312"/>
                </a:cubicBezTo>
                <a:cubicBezTo>
                  <a:pt x="49" y="312"/>
                  <a:pt x="49" y="312"/>
                  <a:pt x="49" y="312"/>
                </a:cubicBezTo>
                <a:cubicBezTo>
                  <a:pt x="49" y="311"/>
                  <a:pt x="49" y="311"/>
                  <a:pt x="49" y="311"/>
                </a:cubicBezTo>
                <a:cubicBezTo>
                  <a:pt x="49" y="310"/>
                  <a:pt x="49" y="310"/>
                  <a:pt x="49" y="310"/>
                </a:cubicBezTo>
                <a:cubicBezTo>
                  <a:pt x="48" y="310"/>
                  <a:pt x="48" y="310"/>
                  <a:pt x="48" y="310"/>
                </a:cubicBezTo>
                <a:cubicBezTo>
                  <a:pt x="48" y="310"/>
                  <a:pt x="48" y="310"/>
                  <a:pt x="48" y="310"/>
                </a:cubicBezTo>
                <a:cubicBezTo>
                  <a:pt x="47" y="311"/>
                  <a:pt x="47" y="311"/>
                  <a:pt x="47" y="311"/>
                </a:cubicBezTo>
                <a:cubicBezTo>
                  <a:pt x="47" y="310"/>
                  <a:pt x="47" y="310"/>
                  <a:pt x="47" y="310"/>
                </a:cubicBezTo>
                <a:cubicBezTo>
                  <a:pt x="47" y="309"/>
                  <a:pt x="47" y="309"/>
                  <a:pt x="47" y="309"/>
                </a:cubicBezTo>
                <a:cubicBezTo>
                  <a:pt x="48" y="308"/>
                  <a:pt x="48" y="308"/>
                  <a:pt x="48" y="308"/>
                </a:cubicBezTo>
                <a:cubicBezTo>
                  <a:pt x="48" y="308"/>
                  <a:pt x="48" y="308"/>
                  <a:pt x="48" y="308"/>
                </a:cubicBezTo>
                <a:cubicBezTo>
                  <a:pt x="49" y="307"/>
                  <a:pt x="49" y="307"/>
                  <a:pt x="49" y="307"/>
                </a:cubicBezTo>
                <a:cubicBezTo>
                  <a:pt x="49" y="306"/>
                  <a:pt x="49" y="306"/>
                  <a:pt x="49" y="306"/>
                </a:cubicBezTo>
                <a:cubicBezTo>
                  <a:pt x="49" y="306"/>
                  <a:pt x="49" y="306"/>
                  <a:pt x="49" y="306"/>
                </a:cubicBezTo>
                <a:cubicBezTo>
                  <a:pt x="49" y="305"/>
                  <a:pt x="49" y="305"/>
                  <a:pt x="49" y="305"/>
                </a:cubicBezTo>
                <a:cubicBezTo>
                  <a:pt x="49" y="305"/>
                  <a:pt x="49" y="305"/>
                  <a:pt x="49" y="305"/>
                </a:cubicBezTo>
                <a:cubicBezTo>
                  <a:pt x="49" y="305"/>
                  <a:pt x="49" y="305"/>
                  <a:pt x="49" y="305"/>
                </a:cubicBezTo>
                <a:cubicBezTo>
                  <a:pt x="48" y="306"/>
                  <a:pt x="48" y="306"/>
                  <a:pt x="48" y="306"/>
                </a:cubicBezTo>
                <a:cubicBezTo>
                  <a:pt x="48" y="305"/>
                  <a:pt x="48" y="305"/>
                  <a:pt x="48" y="305"/>
                </a:cubicBezTo>
                <a:cubicBezTo>
                  <a:pt x="47" y="305"/>
                  <a:pt x="47" y="305"/>
                  <a:pt x="47" y="305"/>
                </a:cubicBezTo>
                <a:cubicBezTo>
                  <a:pt x="47" y="305"/>
                  <a:pt x="47" y="305"/>
                  <a:pt x="47" y="305"/>
                </a:cubicBezTo>
                <a:cubicBezTo>
                  <a:pt x="46" y="305"/>
                  <a:pt x="46" y="305"/>
                  <a:pt x="46" y="305"/>
                </a:cubicBezTo>
                <a:cubicBezTo>
                  <a:pt x="46" y="304"/>
                  <a:pt x="46" y="304"/>
                  <a:pt x="46" y="304"/>
                </a:cubicBezTo>
                <a:cubicBezTo>
                  <a:pt x="46" y="303"/>
                  <a:pt x="46" y="303"/>
                  <a:pt x="46" y="303"/>
                </a:cubicBezTo>
                <a:cubicBezTo>
                  <a:pt x="48" y="303"/>
                  <a:pt x="48" y="303"/>
                  <a:pt x="48" y="303"/>
                </a:cubicBezTo>
                <a:cubicBezTo>
                  <a:pt x="48" y="302"/>
                  <a:pt x="48" y="302"/>
                  <a:pt x="48" y="302"/>
                </a:cubicBezTo>
                <a:cubicBezTo>
                  <a:pt x="47" y="302"/>
                  <a:pt x="47" y="302"/>
                  <a:pt x="47" y="302"/>
                </a:cubicBezTo>
                <a:cubicBezTo>
                  <a:pt x="46" y="302"/>
                  <a:pt x="46" y="302"/>
                  <a:pt x="46" y="302"/>
                </a:cubicBezTo>
                <a:cubicBezTo>
                  <a:pt x="45" y="302"/>
                  <a:pt x="45" y="302"/>
                  <a:pt x="45" y="302"/>
                </a:cubicBezTo>
                <a:cubicBezTo>
                  <a:pt x="44" y="302"/>
                  <a:pt x="44" y="302"/>
                  <a:pt x="44" y="302"/>
                </a:cubicBezTo>
                <a:cubicBezTo>
                  <a:pt x="44" y="302"/>
                  <a:pt x="44" y="302"/>
                  <a:pt x="44" y="302"/>
                </a:cubicBezTo>
                <a:cubicBezTo>
                  <a:pt x="44" y="301"/>
                  <a:pt x="44" y="301"/>
                  <a:pt x="44" y="301"/>
                </a:cubicBezTo>
                <a:cubicBezTo>
                  <a:pt x="45" y="301"/>
                  <a:pt x="45" y="301"/>
                  <a:pt x="45" y="301"/>
                </a:cubicBezTo>
                <a:cubicBezTo>
                  <a:pt x="46" y="301"/>
                  <a:pt x="46" y="301"/>
                  <a:pt x="46" y="301"/>
                </a:cubicBezTo>
                <a:cubicBezTo>
                  <a:pt x="48" y="301"/>
                  <a:pt x="48" y="301"/>
                  <a:pt x="48" y="301"/>
                </a:cubicBezTo>
                <a:cubicBezTo>
                  <a:pt x="48" y="300"/>
                  <a:pt x="48" y="300"/>
                  <a:pt x="48" y="300"/>
                </a:cubicBezTo>
                <a:cubicBezTo>
                  <a:pt x="48" y="300"/>
                  <a:pt x="48" y="300"/>
                  <a:pt x="48" y="300"/>
                </a:cubicBezTo>
                <a:cubicBezTo>
                  <a:pt x="47" y="300"/>
                  <a:pt x="47" y="300"/>
                  <a:pt x="47" y="300"/>
                </a:cubicBezTo>
                <a:cubicBezTo>
                  <a:pt x="46" y="300"/>
                  <a:pt x="46" y="300"/>
                  <a:pt x="46" y="300"/>
                </a:cubicBezTo>
                <a:cubicBezTo>
                  <a:pt x="45" y="300"/>
                  <a:pt x="45" y="300"/>
                  <a:pt x="45" y="300"/>
                </a:cubicBezTo>
                <a:cubicBezTo>
                  <a:pt x="44" y="300"/>
                  <a:pt x="44" y="300"/>
                  <a:pt x="44" y="300"/>
                </a:cubicBezTo>
                <a:cubicBezTo>
                  <a:pt x="44" y="300"/>
                  <a:pt x="44" y="300"/>
                  <a:pt x="44" y="300"/>
                </a:cubicBezTo>
                <a:cubicBezTo>
                  <a:pt x="45" y="299"/>
                  <a:pt x="45" y="299"/>
                  <a:pt x="45" y="299"/>
                </a:cubicBezTo>
                <a:cubicBezTo>
                  <a:pt x="46" y="299"/>
                  <a:pt x="46" y="299"/>
                  <a:pt x="46" y="299"/>
                </a:cubicBezTo>
                <a:cubicBezTo>
                  <a:pt x="47" y="298"/>
                  <a:pt x="47" y="298"/>
                  <a:pt x="47" y="298"/>
                </a:cubicBezTo>
                <a:cubicBezTo>
                  <a:pt x="46" y="298"/>
                  <a:pt x="46" y="298"/>
                  <a:pt x="46" y="298"/>
                </a:cubicBezTo>
                <a:cubicBezTo>
                  <a:pt x="46" y="298"/>
                  <a:pt x="46" y="298"/>
                  <a:pt x="46" y="298"/>
                </a:cubicBezTo>
                <a:cubicBezTo>
                  <a:pt x="45" y="298"/>
                  <a:pt x="45" y="298"/>
                  <a:pt x="45" y="298"/>
                </a:cubicBezTo>
                <a:cubicBezTo>
                  <a:pt x="45" y="297"/>
                  <a:pt x="45" y="297"/>
                  <a:pt x="45" y="297"/>
                </a:cubicBezTo>
                <a:cubicBezTo>
                  <a:pt x="46" y="298"/>
                  <a:pt x="46" y="298"/>
                  <a:pt x="46" y="298"/>
                </a:cubicBezTo>
                <a:cubicBezTo>
                  <a:pt x="47" y="298"/>
                  <a:pt x="47" y="298"/>
                  <a:pt x="47" y="298"/>
                </a:cubicBezTo>
                <a:cubicBezTo>
                  <a:pt x="48" y="297"/>
                  <a:pt x="48" y="297"/>
                  <a:pt x="48" y="297"/>
                </a:cubicBezTo>
                <a:cubicBezTo>
                  <a:pt x="49" y="297"/>
                  <a:pt x="49" y="297"/>
                  <a:pt x="49" y="297"/>
                </a:cubicBezTo>
                <a:cubicBezTo>
                  <a:pt x="48" y="297"/>
                  <a:pt x="48" y="297"/>
                  <a:pt x="48" y="297"/>
                </a:cubicBezTo>
                <a:cubicBezTo>
                  <a:pt x="48" y="297"/>
                  <a:pt x="48" y="297"/>
                  <a:pt x="48" y="297"/>
                </a:cubicBezTo>
                <a:cubicBezTo>
                  <a:pt x="47" y="297"/>
                  <a:pt x="47" y="297"/>
                  <a:pt x="47" y="297"/>
                </a:cubicBezTo>
                <a:cubicBezTo>
                  <a:pt x="46" y="297"/>
                  <a:pt x="46" y="297"/>
                  <a:pt x="46" y="297"/>
                </a:cubicBezTo>
                <a:cubicBezTo>
                  <a:pt x="46" y="297"/>
                  <a:pt x="46" y="297"/>
                  <a:pt x="46" y="297"/>
                </a:cubicBezTo>
                <a:cubicBezTo>
                  <a:pt x="45" y="297"/>
                  <a:pt x="45" y="297"/>
                  <a:pt x="45" y="297"/>
                </a:cubicBezTo>
                <a:cubicBezTo>
                  <a:pt x="45" y="297"/>
                  <a:pt x="45" y="297"/>
                  <a:pt x="45" y="297"/>
                </a:cubicBezTo>
                <a:cubicBezTo>
                  <a:pt x="44" y="298"/>
                  <a:pt x="44" y="298"/>
                  <a:pt x="44" y="298"/>
                </a:cubicBezTo>
                <a:cubicBezTo>
                  <a:pt x="43" y="297"/>
                  <a:pt x="43" y="297"/>
                  <a:pt x="43" y="297"/>
                </a:cubicBezTo>
                <a:cubicBezTo>
                  <a:pt x="43" y="297"/>
                  <a:pt x="43" y="297"/>
                  <a:pt x="43" y="297"/>
                </a:cubicBezTo>
                <a:cubicBezTo>
                  <a:pt x="43" y="296"/>
                  <a:pt x="43" y="296"/>
                  <a:pt x="43" y="296"/>
                </a:cubicBezTo>
                <a:cubicBezTo>
                  <a:pt x="45" y="296"/>
                  <a:pt x="45" y="296"/>
                  <a:pt x="45" y="296"/>
                </a:cubicBezTo>
                <a:cubicBezTo>
                  <a:pt x="46" y="295"/>
                  <a:pt x="46" y="295"/>
                  <a:pt x="46" y="295"/>
                </a:cubicBezTo>
                <a:cubicBezTo>
                  <a:pt x="45" y="295"/>
                  <a:pt x="45" y="295"/>
                  <a:pt x="45" y="295"/>
                </a:cubicBezTo>
                <a:cubicBezTo>
                  <a:pt x="44" y="295"/>
                  <a:pt x="44" y="295"/>
                  <a:pt x="44" y="295"/>
                </a:cubicBezTo>
                <a:cubicBezTo>
                  <a:pt x="43" y="295"/>
                  <a:pt x="43" y="295"/>
                  <a:pt x="43" y="295"/>
                </a:cubicBezTo>
                <a:cubicBezTo>
                  <a:pt x="43" y="294"/>
                  <a:pt x="43" y="294"/>
                  <a:pt x="43" y="294"/>
                </a:cubicBezTo>
                <a:cubicBezTo>
                  <a:pt x="43" y="293"/>
                  <a:pt x="43" y="293"/>
                  <a:pt x="43" y="293"/>
                </a:cubicBezTo>
                <a:cubicBezTo>
                  <a:pt x="44" y="293"/>
                  <a:pt x="44" y="293"/>
                  <a:pt x="44" y="293"/>
                </a:cubicBezTo>
                <a:cubicBezTo>
                  <a:pt x="47" y="293"/>
                  <a:pt x="47" y="293"/>
                  <a:pt x="47" y="293"/>
                </a:cubicBezTo>
                <a:cubicBezTo>
                  <a:pt x="48" y="292"/>
                  <a:pt x="48" y="292"/>
                  <a:pt x="48" y="292"/>
                </a:cubicBezTo>
                <a:cubicBezTo>
                  <a:pt x="50" y="292"/>
                  <a:pt x="50" y="292"/>
                  <a:pt x="50" y="292"/>
                </a:cubicBezTo>
                <a:cubicBezTo>
                  <a:pt x="51" y="292"/>
                  <a:pt x="51" y="292"/>
                  <a:pt x="51" y="292"/>
                </a:cubicBezTo>
                <a:cubicBezTo>
                  <a:pt x="51" y="291"/>
                  <a:pt x="51" y="291"/>
                  <a:pt x="51" y="291"/>
                </a:cubicBezTo>
                <a:cubicBezTo>
                  <a:pt x="50" y="291"/>
                  <a:pt x="50" y="291"/>
                  <a:pt x="50" y="291"/>
                </a:cubicBezTo>
                <a:cubicBezTo>
                  <a:pt x="49" y="291"/>
                  <a:pt x="49" y="291"/>
                  <a:pt x="49" y="291"/>
                </a:cubicBezTo>
                <a:cubicBezTo>
                  <a:pt x="48" y="292"/>
                  <a:pt x="48" y="292"/>
                  <a:pt x="48" y="292"/>
                </a:cubicBezTo>
                <a:cubicBezTo>
                  <a:pt x="46" y="292"/>
                  <a:pt x="46" y="292"/>
                  <a:pt x="46" y="292"/>
                </a:cubicBezTo>
                <a:cubicBezTo>
                  <a:pt x="45" y="292"/>
                  <a:pt x="45" y="292"/>
                  <a:pt x="45" y="292"/>
                </a:cubicBezTo>
                <a:cubicBezTo>
                  <a:pt x="44" y="292"/>
                  <a:pt x="44" y="292"/>
                  <a:pt x="44" y="292"/>
                </a:cubicBezTo>
                <a:cubicBezTo>
                  <a:pt x="43" y="292"/>
                  <a:pt x="43" y="292"/>
                  <a:pt x="43" y="292"/>
                </a:cubicBezTo>
                <a:cubicBezTo>
                  <a:pt x="44" y="292"/>
                  <a:pt x="44" y="292"/>
                  <a:pt x="44" y="292"/>
                </a:cubicBezTo>
                <a:cubicBezTo>
                  <a:pt x="46" y="292"/>
                  <a:pt x="46" y="292"/>
                  <a:pt x="46" y="292"/>
                </a:cubicBezTo>
                <a:cubicBezTo>
                  <a:pt x="47" y="291"/>
                  <a:pt x="47" y="291"/>
                  <a:pt x="47" y="291"/>
                </a:cubicBezTo>
                <a:cubicBezTo>
                  <a:pt x="48" y="290"/>
                  <a:pt x="48" y="290"/>
                  <a:pt x="48" y="290"/>
                </a:cubicBezTo>
                <a:cubicBezTo>
                  <a:pt x="49" y="290"/>
                  <a:pt x="49" y="290"/>
                  <a:pt x="49" y="290"/>
                </a:cubicBezTo>
                <a:cubicBezTo>
                  <a:pt x="49" y="290"/>
                  <a:pt x="49" y="290"/>
                  <a:pt x="49" y="290"/>
                </a:cubicBezTo>
                <a:cubicBezTo>
                  <a:pt x="50" y="291"/>
                  <a:pt x="50" y="291"/>
                  <a:pt x="50" y="291"/>
                </a:cubicBezTo>
                <a:cubicBezTo>
                  <a:pt x="51" y="291"/>
                  <a:pt x="51" y="291"/>
                  <a:pt x="51" y="291"/>
                </a:cubicBezTo>
                <a:cubicBezTo>
                  <a:pt x="51" y="290"/>
                  <a:pt x="51" y="290"/>
                  <a:pt x="51" y="290"/>
                </a:cubicBezTo>
                <a:cubicBezTo>
                  <a:pt x="50" y="290"/>
                  <a:pt x="50" y="290"/>
                  <a:pt x="50" y="290"/>
                </a:cubicBezTo>
                <a:cubicBezTo>
                  <a:pt x="49" y="289"/>
                  <a:pt x="49" y="289"/>
                  <a:pt x="49" y="289"/>
                </a:cubicBezTo>
                <a:cubicBezTo>
                  <a:pt x="49" y="289"/>
                  <a:pt x="49" y="289"/>
                  <a:pt x="49" y="289"/>
                </a:cubicBezTo>
                <a:cubicBezTo>
                  <a:pt x="48" y="288"/>
                  <a:pt x="48" y="288"/>
                  <a:pt x="48" y="288"/>
                </a:cubicBezTo>
                <a:cubicBezTo>
                  <a:pt x="49" y="288"/>
                  <a:pt x="49" y="288"/>
                  <a:pt x="49" y="288"/>
                </a:cubicBezTo>
                <a:cubicBezTo>
                  <a:pt x="49" y="288"/>
                  <a:pt x="49" y="288"/>
                  <a:pt x="49" y="288"/>
                </a:cubicBezTo>
                <a:cubicBezTo>
                  <a:pt x="50" y="287"/>
                  <a:pt x="50" y="287"/>
                  <a:pt x="50" y="287"/>
                </a:cubicBezTo>
                <a:cubicBezTo>
                  <a:pt x="50" y="288"/>
                  <a:pt x="50" y="288"/>
                  <a:pt x="50" y="288"/>
                </a:cubicBezTo>
                <a:cubicBezTo>
                  <a:pt x="51" y="288"/>
                  <a:pt x="51" y="288"/>
                  <a:pt x="51" y="288"/>
                </a:cubicBezTo>
                <a:cubicBezTo>
                  <a:pt x="52" y="290"/>
                  <a:pt x="52" y="290"/>
                  <a:pt x="52" y="290"/>
                </a:cubicBezTo>
                <a:cubicBezTo>
                  <a:pt x="52" y="290"/>
                  <a:pt x="52" y="290"/>
                  <a:pt x="52" y="290"/>
                </a:cubicBezTo>
                <a:cubicBezTo>
                  <a:pt x="53" y="290"/>
                  <a:pt x="53" y="290"/>
                  <a:pt x="53" y="290"/>
                </a:cubicBezTo>
                <a:cubicBezTo>
                  <a:pt x="52" y="289"/>
                  <a:pt x="52" y="289"/>
                  <a:pt x="52" y="289"/>
                </a:cubicBezTo>
                <a:cubicBezTo>
                  <a:pt x="52" y="288"/>
                  <a:pt x="52" y="288"/>
                  <a:pt x="52" y="288"/>
                </a:cubicBezTo>
                <a:cubicBezTo>
                  <a:pt x="52" y="286"/>
                  <a:pt x="52" y="286"/>
                  <a:pt x="52" y="286"/>
                </a:cubicBezTo>
                <a:cubicBezTo>
                  <a:pt x="52" y="286"/>
                  <a:pt x="52" y="286"/>
                  <a:pt x="52" y="286"/>
                </a:cubicBezTo>
                <a:cubicBezTo>
                  <a:pt x="52" y="285"/>
                  <a:pt x="52" y="285"/>
                  <a:pt x="52" y="285"/>
                </a:cubicBezTo>
                <a:cubicBezTo>
                  <a:pt x="52" y="285"/>
                  <a:pt x="52" y="285"/>
                  <a:pt x="52" y="285"/>
                </a:cubicBezTo>
                <a:cubicBezTo>
                  <a:pt x="51" y="286"/>
                  <a:pt x="51" y="286"/>
                  <a:pt x="51" y="286"/>
                </a:cubicBezTo>
                <a:cubicBezTo>
                  <a:pt x="50" y="286"/>
                  <a:pt x="50" y="286"/>
                  <a:pt x="50" y="286"/>
                </a:cubicBezTo>
                <a:cubicBezTo>
                  <a:pt x="50" y="285"/>
                  <a:pt x="50" y="285"/>
                  <a:pt x="50" y="285"/>
                </a:cubicBezTo>
                <a:cubicBezTo>
                  <a:pt x="49" y="286"/>
                  <a:pt x="49" y="286"/>
                  <a:pt x="49" y="286"/>
                </a:cubicBezTo>
                <a:cubicBezTo>
                  <a:pt x="48" y="287"/>
                  <a:pt x="48" y="287"/>
                  <a:pt x="48" y="287"/>
                </a:cubicBezTo>
                <a:cubicBezTo>
                  <a:pt x="47" y="287"/>
                  <a:pt x="47" y="287"/>
                  <a:pt x="47" y="287"/>
                </a:cubicBezTo>
                <a:cubicBezTo>
                  <a:pt x="47" y="287"/>
                  <a:pt x="47" y="287"/>
                  <a:pt x="47" y="287"/>
                </a:cubicBezTo>
                <a:cubicBezTo>
                  <a:pt x="47" y="287"/>
                  <a:pt x="47" y="287"/>
                  <a:pt x="47" y="287"/>
                </a:cubicBezTo>
                <a:cubicBezTo>
                  <a:pt x="47" y="286"/>
                  <a:pt x="47" y="286"/>
                  <a:pt x="47" y="286"/>
                </a:cubicBezTo>
                <a:cubicBezTo>
                  <a:pt x="47" y="286"/>
                  <a:pt x="47" y="286"/>
                  <a:pt x="47" y="286"/>
                </a:cubicBezTo>
                <a:cubicBezTo>
                  <a:pt x="47" y="286"/>
                  <a:pt x="47" y="286"/>
                  <a:pt x="47" y="286"/>
                </a:cubicBezTo>
                <a:cubicBezTo>
                  <a:pt x="46" y="287"/>
                  <a:pt x="46" y="287"/>
                  <a:pt x="46" y="287"/>
                </a:cubicBezTo>
                <a:cubicBezTo>
                  <a:pt x="46" y="287"/>
                  <a:pt x="46" y="287"/>
                  <a:pt x="46" y="287"/>
                </a:cubicBezTo>
                <a:cubicBezTo>
                  <a:pt x="44" y="289"/>
                  <a:pt x="44" y="289"/>
                  <a:pt x="44" y="289"/>
                </a:cubicBezTo>
                <a:cubicBezTo>
                  <a:pt x="44" y="289"/>
                  <a:pt x="44" y="289"/>
                  <a:pt x="44" y="289"/>
                </a:cubicBezTo>
                <a:cubicBezTo>
                  <a:pt x="43" y="290"/>
                  <a:pt x="43" y="290"/>
                  <a:pt x="43" y="290"/>
                </a:cubicBezTo>
                <a:cubicBezTo>
                  <a:pt x="42" y="290"/>
                  <a:pt x="42" y="290"/>
                  <a:pt x="42" y="290"/>
                </a:cubicBezTo>
                <a:cubicBezTo>
                  <a:pt x="42" y="289"/>
                  <a:pt x="42" y="289"/>
                  <a:pt x="42" y="289"/>
                </a:cubicBezTo>
                <a:cubicBezTo>
                  <a:pt x="42" y="288"/>
                  <a:pt x="42" y="288"/>
                  <a:pt x="42" y="288"/>
                </a:cubicBezTo>
                <a:cubicBezTo>
                  <a:pt x="42" y="287"/>
                  <a:pt x="42" y="287"/>
                  <a:pt x="42" y="287"/>
                </a:cubicBezTo>
                <a:cubicBezTo>
                  <a:pt x="42" y="287"/>
                  <a:pt x="42" y="287"/>
                  <a:pt x="42" y="287"/>
                </a:cubicBezTo>
                <a:cubicBezTo>
                  <a:pt x="42" y="286"/>
                  <a:pt x="42" y="286"/>
                  <a:pt x="42" y="286"/>
                </a:cubicBezTo>
                <a:cubicBezTo>
                  <a:pt x="42" y="285"/>
                  <a:pt x="42" y="285"/>
                  <a:pt x="42" y="285"/>
                </a:cubicBezTo>
                <a:cubicBezTo>
                  <a:pt x="43" y="285"/>
                  <a:pt x="43" y="285"/>
                  <a:pt x="43" y="285"/>
                </a:cubicBezTo>
                <a:cubicBezTo>
                  <a:pt x="45" y="284"/>
                  <a:pt x="45" y="284"/>
                  <a:pt x="45" y="284"/>
                </a:cubicBezTo>
                <a:cubicBezTo>
                  <a:pt x="45" y="284"/>
                  <a:pt x="45" y="284"/>
                  <a:pt x="45" y="284"/>
                </a:cubicBezTo>
                <a:cubicBezTo>
                  <a:pt x="46" y="283"/>
                  <a:pt x="46" y="283"/>
                  <a:pt x="46" y="283"/>
                </a:cubicBezTo>
                <a:cubicBezTo>
                  <a:pt x="47" y="283"/>
                  <a:pt x="47" y="283"/>
                  <a:pt x="47" y="283"/>
                </a:cubicBezTo>
                <a:cubicBezTo>
                  <a:pt x="46" y="282"/>
                  <a:pt x="46" y="282"/>
                  <a:pt x="46" y="282"/>
                </a:cubicBezTo>
                <a:cubicBezTo>
                  <a:pt x="46" y="282"/>
                  <a:pt x="46" y="282"/>
                  <a:pt x="46" y="282"/>
                </a:cubicBezTo>
                <a:cubicBezTo>
                  <a:pt x="45" y="283"/>
                  <a:pt x="45" y="283"/>
                  <a:pt x="45" y="283"/>
                </a:cubicBezTo>
                <a:cubicBezTo>
                  <a:pt x="44" y="283"/>
                  <a:pt x="44" y="283"/>
                  <a:pt x="44" y="283"/>
                </a:cubicBezTo>
                <a:cubicBezTo>
                  <a:pt x="44" y="284"/>
                  <a:pt x="44" y="284"/>
                  <a:pt x="44" y="284"/>
                </a:cubicBezTo>
                <a:cubicBezTo>
                  <a:pt x="43" y="284"/>
                  <a:pt x="43" y="284"/>
                  <a:pt x="43" y="284"/>
                </a:cubicBezTo>
                <a:cubicBezTo>
                  <a:pt x="42" y="284"/>
                  <a:pt x="42" y="284"/>
                  <a:pt x="42" y="284"/>
                </a:cubicBezTo>
                <a:cubicBezTo>
                  <a:pt x="42" y="283"/>
                  <a:pt x="42" y="283"/>
                  <a:pt x="42" y="283"/>
                </a:cubicBezTo>
                <a:cubicBezTo>
                  <a:pt x="42" y="282"/>
                  <a:pt x="42" y="282"/>
                  <a:pt x="42" y="282"/>
                </a:cubicBezTo>
                <a:cubicBezTo>
                  <a:pt x="43" y="281"/>
                  <a:pt x="43" y="281"/>
                  <a:pt x="43" y="281"/>
                </a:cubicBezTo>
                <a:cubicBezTo>
                  <a:pt x="43" y="280"/>
                  <a:pt x="43" y="280"/>
                  <a:pt x="43" y="280"/>
                </a:cubicBezTo>
                <a:cubicBezTo>
                  <a:pt x="42" y="279"/>
                  <a:pt x="42" y="279"/>
                  <a:pt x="42" y="279"/>
                </a:cubicBezTo>
                <a:cubicBezTo>
                  <a:pt x="42" y="279"/>
                  <a:pt x="42" y="279"/>
                  <a:pt x="42" y="279"/>
                </a:cubicBezTo>
                <a:cubicBezTo>
                  <a:pt x="41" y="280"/>
                  <a:pt x="41" y="280"/>
                  <a:pt x="41" y="280"/>
                </a:cubicBezTo>
                <a:cubicBezTo>
                  <a:pt x="41" y="280"/>
                  <a:pt x="41" y="280"/>
                  <a:pt x="41" y="280"/>
                </a:cubicBezTo>
                <a:cubicBezTo>
                  <a:pt x="41" y="279"/>
                  <a:pt x="41" y="279"/>
                  <a:pt x="41" y="279"/>
                </a:cubicBezTo>
                <a:cubicBezTo>
                  <a:pt x="41" y="278"/>
                  <a:pt x="41" y="278"/>
                  <a:pt x="41" y="278"/>
                </a:cubicBezTo>
                <a:cubicBezTo>
                  <a:pt x="43" y="278"/>
                  <a:pt x="43" y="278"/>
                  <a:pt x="43" y="278"/>
                </a:cubicBezTo>
                <a:cubicBezTo>
                  <a:pt x="43" y="277"/>
                  <a:pt x="43" y="277"/>
                  <a:pt x="43" y="277"/>
                </a:cubicBezTo>
                <a:cubicBezTo>
                  <a:pt x="45" y="277"/>
                  <a:pt x="45" y="277"/>
                  <a:pt x="45" y="277"/>
                </a:cubicBezTo>
                <a:cubicBezTo>
                  <a:pt x="45" y="276"/>
                  <a:pt x="45" y="276"/>
                  <a:pt x="45" y="276"/>
                </a:cubicBezTo>
                <a:cubicBezTo>
                  <a:pt x="46" y="276"/>
                  <a:pt x="46" y="276"/>
                  <a:pt x="46" y="276"/>
                </a:cubicBezTo>
                <a:cubicBezTo>
                  <a:pt x="46" y="275"/>
                  <a:pt x="46" y="275"/>
                  <a:pt x="46" y="275"/>
                </a:cubicBezTo>
                <a:cubicBezTo>
                  <a:pt x="47" y="275"/>
                  <a:pt x="47" y="275"/>
                  <a:pt x="47" y="275"/>
                </a:cubicBezTo>
                <a:cubicBezTo>
                  <a:pt x="47" y="275"/>
                  <a:pt x="47" y="275"/>
                  <a:pt x="47" y="275"/>
                </a:cubicBezTo>
                <a:cubicBezTo>
                  <a:pt x="48" y="275"/>
                  <a:pt x="48" y="275"/>
                  <a:pt x="48" y="275"/>
                </a:cubicBezTo>
                <a:cubicBezTo>
                  <a:pt x="50" y="275"/>
                  <a:pt x="50" y="275"/>
                  <a:pt x="50" y="275"/>
                </a:cubicBezTo>
                <a:cubicBezTo>
                  <a:pt x="50" y="275"/>
                  <a:pt x="50" y="275"/>
                  <a:pt x="50" y="275"/>
                </a:cubicBezTo>
                <a:cubicBezTo>
                  <a:pt x="51" y="275"/>
                  <a:pt x="51" y="275"/>
                  <a:pt x="51" y="275"/>
                </a:cubicBezTo>
                <a:cubicBezTo>
                  <a:pt x="51" y="274"/>
                  <a:pt x="51" y="274"/>
                  <a:pt x="51" y="274"/>
                </a:cubicBezTo>
                <a:cubicBezTo>
                  <a:pt x="50" y="274"/>
                  <a:pt x="50" y="274"/>
                  <a:pt x="50" y="274"/>
                </a:cubicBezTo>
                <a:cubicBezTo>
                  <a:pt x="50" y="273"/>
                  <a:pt x="50" y="273"/>
                  <a:pt x="50" y="273"/>
                </a:cubicBezTo>
                <a:cubicBezTo>
                  <a:pt x="49" y="273"/>
                  <a:pt x="49" y="273"/>
                  <a:pt x="49" y="273"/>
                </a:cubicBezTo>
                <a:cubicBezTo>
                  <a:pt x="46" y="275"/>
                  <a:pt x="46" y="275"/>
                  <a:pt x="46" y="275"/>
                </a:cubicBezTo>
                <a:cubicBezTo>
                  <a:pt x="46" y="275"/>
                  <a:pt x="46" y="275"/>
                  <a:pt x="46" y="275"/>
                </a:cubicBezTo>
                <a:cubicBezTo>
                  <a:pt x="45" y="275"/>
                  <a:pt x="45" y="275"/>
                  <a:pt x="45" y="275"/>
                </a:cubicBezTo>
                <a:cubicBezTo>
                  <a:pt x="45" y="276"/>
                  <a:pt x="45" y="276"/>
                  <a:pt x="45" y="276"/>
                </a:cubicBezTo>
                <a:cubicBezTo>
                  <a:pt x="44" y="276"/>
                  <a:pt x="44" y="276"/>
                  <a:pt x="44" y="276"/>
                </a:cubicBezTo>
                <a:cubicBezTo>
                  <a:pt x="43" y="277"/>
                  <a:pt x="43" y="277"/>
                  <a:pt x="43" y="277"/>
                </a:cubicBezTo>
                <a:cubicBezTo>
                  <a:pt x="42" y="277"/>
                  <a:pt x="42" y="277"/>
                  <a:pt x="42" y="277"/>
                </a:cubicBezTo>
                <a:cubicBezTo>
                  <a:pt x="42" y="277"/>
                  <a:pt x="42" y="277"/>
                  <a:pt x="42" y="277"/>
                </a:cubicBezTo>
                <a:cubicBezTo>
                  <a:pt x="42" y="277"/>
                  <a:pt x="42" y="277"/>
                  <a:pt x="42" y="277"/>
                </a:cubicBezTo>
                <a:cubicBezTo>
                  <a:pt x="42" y="276"/>
                  <a:pt x="42" y="276"/>
                  <a:pt x="42" y="276"/>
                </a:cubicBezTo>
                <a:cubicBezTo>
                  <a:pt x="41" y="276"/>
                  <a:pt x="41" y="276"/>
                  <a:pt x="41" y="276"/>
                </a:cubicBezTo>
                <a:cubicBezTo>
                  <a:pt x="41" y="276"/>
                  <a:pt x="41" y="276"/>
                  <a:pt x="41" y="276"/>
                </a:cubicBezTo>
                <a:cubicBezTo>
                  <a:pt x="42" y="275"/>
                  <a:pt x="42" y="275"/>
                  <a:pt x="42" y="275"/>
                </a:cubicBezTo>
                <a:cubicBezTo>
                  <a:pt x="41" y="274"/>
                  <a:pt x="41" y="274"/>
                  <a:pt x="41" y="274"/>
                </a:cubicBezTo>
                <a:cubicBezTo>
                  <a:pt x="40" y="274"/>
                  <a:pt x="40" y="274"/>
                  <a:pt x="40" y="274"/>
                </a:cubicBezTo>
                <a:cubicBezTo>
                  <a:pt x="40" y="273"/>
                  <a:pt x="40" y="273"/>
                  <a:pt x="40" y="273"/>
                </a:cubicBezTo>
                <a:cubicBezTo>
                  <a:pt x="40" y="273"/>
                  <a:pt x="40" y="273"/>
                  <a:pt x="40" y="273"/>
                </a:cubicBezTo>
                <a:cubicBezTo>
                  <a:pt x="41" y="272"/>
                  <a:pt x="41" y="272"/>
                  <a:pt x="41" y="272"/>
                </a:cubicBezTo>
                <a:cubicBezTo>
                  <a:pt x="42" y="272"/>
                  <a:pt x="42" y="272"/>
                  <a:pt x="42" y="272"/>
                </a:cubicBezTo>
                <a:cubicBezTo>
                  <a:pt x="42" y="272"/>
                  <a:pt x="42" y="272"/>
                  <a:pt x="42" y="272"/>
                </a:cubicBezTo>
                <a:cubicBezTo>
                  <a:pt x="43" y="272"/>
                  <a:pt x="43" y="272"/>
                  <a:pt x="43" y="272"/>
                </a:cubicBezTo>
                <a:cubicBezTo>
                  <a:pt x="44" y="272"/>
                  <a:pt x="44" y="272"/>
                  <a:pt x="44" y="272"/>
                </a:cubicBezTo>
                <a:cubicBezTo>
                  <a:pt x="45" y="272"/>
                  <a:pt x="45" y="272"/>
                  <a:pt x="45" y="272"/>
                </a:cubicBezTo>
                <a:cubicBezTo>
                  <a:pt x="46" y="271"/>
                  <a:pt x="46" y="271"/>
                  <a:pt x="46" y="271"/>
                </a:cubicBezTo>
                <a:cubicBezTo>
                  <a:pt x="47" y="271"/>
                  <a:pt x="47" y="271"/>
                  <a:pt x="47" y="271"/>
                </a:cubicBezTo>
                <a:cubicBezTo>
                  <a:pt x="47" y="270"/>
                  <a:pt x="47" y="270"/>
                  <a:pt x="47" y="270"/>
                </a:cubicBezTo>
                <a:cubicBezTo>
                  <a:pt x="47" y="270"/>
                  <a:pt x="47" y="270"/>
                  <a:pt x="47" y="270"/>
                </a:cubicBezTo>
                <a:cubicBezTo>
                  <a:pt x="46" y="270"/>
                  <a:pt x="46" y="270"/>
                  <a:pt x="46" y="270"/>
                </a:cubicBezTo>
                <a:cubicBezTo>
                  <a:pt x="45" y="271"/>
                  <a:pt x="45" y="271"/>
                  <a:pt x="45" y="271"/>
                </a:cubicBezTo>
                <a:cubicBezTo>
                  <a:pt x="44" y="271"/>
                  <a:pt x="44" y="271"/>
                  <a:pt x="44" y="271"/>
                </a:cubicBezTo>
                <a:cubicBezTo>
                  <a:pt x="43" y="271"/>
                  <a:pt x="43" y="271"/>
                  <a:pt x="43" y="271"/>
                </a:cubicBezTo>
                <a:cubicBezTo>
                  <a:pt x="42" y="270"/>
                  <a:pt x="42" y="270"/>
                  <a:pt x="42" y="270"/>
                </a:cubicBezTo>
                <a:cubicBezTo>
                  <a:pt x="42" y="270"/>
                  <a:pt x="42" y="270"/>
                  <a:pt x="42" y="270"/>
                </a:cubicBezTo>
                <a:cubicBezTo>
                  <a:pt x="41" y="271"/>
                  <a:pt x="41" y="271"/>
                  <a:pt x="41" y="271"/>
                </a:cubicBezTo>
                <a:cubicBezTo>
                  <a:pt x="40" y="272"/>
                  <a:pt x="40" y="272"/>
                  <a:pt x="40" y="272"/>
                </a:cubicBezTo>
                <a:cubicBezTo>
                  <a:pt x="40" y="271"/>
                  <a:pt x="40" y="271"/>
                  <a:pt x="40" y="271"/>
                </a:cubicBezTo>
                <a:cubicBezTo>
                  <a:pt x="40" y="271"/>
                  <a:pt x="40" y="271"/>
                  <a:pt x="40" y="271"/>
                </a:cubicBezTo>
                <a:cubicBezTo>
                  <a:pt x="39" y="271"/>
                  <a:pt x="39" y="271"/>
                  <a:pt x="39" y="271"/>
                </a:cubicBezTo>
                <a:cubicBezTo>
                  <a:pt x="38" y="271"/>
                  <a:pt x="38" y="271"/>
                  <a:pt x="38" y="271"/>
                </a:cubicBezTo>
                <a:cubicBezTo>
                  <a:pt x="39" y="271"/>
                  <a:pt x="39" y="271"/>
                  <a:pt x="39" y="271"/>
                </a:cubicBezTo>
                <a:cubicBezTo>
                  <a:pt x="39" y="270"/>
                  <a:pt x="39" y="270"/>
                  <a:pt x="39" y="270"/>
                </a:cubicBezTo>
                <a:cubicBezTo>
                  <a:pt x="41" y="270"/>
                  <a:pt x="41" y="270"/>
                  <a:pt x="41" y="270"/>
                </a:cubicBezTo>
                <a:cubicBezTo>
                  <a:pt x="43" y="269"/>
                  <a:pt x="43" y="269"/>
                  <a:pt x="43" y="269"/>
                </a:cubicBezTo>
                <a:cubicBezTo>
                  <a:pt x="44" y="268"/>
                  <a:pt x="44" y="268"/>
                  <a:pt x="44" y="268"/>
                </a:cubicBezTo>
                <a:cubicBezTo>
                  <a:pt x="45" y="268"/>
                  <a:pt x="45" y="268"/>
                  <a:pt x="45" y="268"/>
                </a:cubicBezTo>
                <a:cubicBezTo>
                  <a:pt x="46" y="267"/>
                  <a:pt x="46" y="267"/>
                  <a:pt x="46" y="267"/>
                </a:cubicBezTo>
                <a:cubicBezTo>
                  <a:pt x="48" y="265"/>
                  <a:pt x="48" y="265"/>
                  <a:pt x="48" y="265"/>
                </a:cubicBezTo>
                <a:cubicBezTo>
                  <a:pt x="50" y="264"/>
                  <a:pt x="50" y="264"/>
                  <a:pt x="50" y="264"/>
                </a:cubicBezTo>
                <a:cubicBezTo>
                  <a:pt x="52" y="263"/>
                  <a:pt x="52" y="263"/>
                  <a:pt x="52" y="263"/>
                </a:cubicBezTo>
                <a:cubicBezTo>
                  <a:pt x="53" y="263"/>
                  <a:pt x="53" y="263"/>
                  <a:pt x="53" y="263"/>
                </a:cubicBezTo>
                <a:cubicBezTo>
                  <a:pt x="53" y="263"/>
                  <a:pt x="53" y="263"/>
                  <a:pt x="53" y="263"/>
                </a:cubicBezTo>
                <a:cubicBezTo>
                  <a:pt x="53" y="262"/>
                  <a:pt x="53" y="262"/>
                  <a:pt x="53" y="262"/>
                </a:cubicBezTo>
                <a:cubicBezTo>
                  <a:pt x="52" y="262"/>
                  <a:pt x="52" y="262"/>
                  <a:pt x="52" y="262"/>
                </a:cubicBezTo>
                <a:cubicBezTo>
                  <a:pt x="51" y="263"/>
                  <a:pt x="51" y="263"/>
                  <a:pt x="51" y="263"/>
                </a:cubicBezTo>
                <a:cubicBezTo>
                  <a:pt x="48" y="264"/>
                  <a:pt x="48" y="264"/>
                  <a:pt x="48" y="264"/>
                </a:cubicBezTo>
                <a:cubicBezTo>
                  <a:pt x="46" y="265"/>
                  <a:pt x="46" y="265"/>
                  <a:pt x="46" y="265"/>
                </a:cubicBezTo>
                <a:cubicBezTo>
                  <a:pt x="45" y="267"/>
                  <a:pt x="45" y="267"/>
                  <a:pt x="45" y="267"/>
                </a:cubicBezTo>
                <a:cubicBezTo>
                  <a:pt x="44" y="267"/>
                  <a:pt x="44" y="267"/>
                  <a:pt x="44" y="267"/>
                </a:cubicBezTo>
                <a:cubicBezTo>
                  <a:pt x="42" y="268"/>
                  <a:pt x="42" y="268"/>
                  <a:pt x="42" y="268"/>
                </a:cubicBezTo>
                <a:cubicBezTo>
                  <a:pt x="41" y="268"/>
                  <a:pt x="41" y="268"/>
                  <a:pt x="41" y="268"/>
                </a:cubicBezTo>
                <a:cubicBezTo>
                  <a:pt x="39" y="269"/>
                  <a:pt x="39" y="269"/>
                  <a:pt x="39" y="269"/>
                </a:cubicBezTo>
                <a:cubicBezTo>
                  <a:pt x="38" y="269"/>
                  <a:pt x="38" y="269"/>
                  <a:pt x="38" y="269"/>
                </a:cubicBezTo>
                <a:cubicBezTo>
                  <a:pt x="38" y="269"/>
                  <a:pt x="38" y="269"/>
                  <a:pt x="38" y="269"/>
                </a:cubicBezTo>
                <a:cubicBezTo>
                  <a:pt x="38" y="268"/>
                  <a:pt x="38" y="268"/>
                  <a:pt x="38" y="268"/>
                </a:cubicBezTo>
                <a:cubicBezTo>
                  <a:pt x="38" y="266"/>
                  <a:pt x="38" y="266"/>
                  <a:pt x="38" y="266"/>
                </a:cubicBezTo>
                <a:cubicBezTo>
                  <a:pt x="39" y="265"/>
                  <a:pt x="39" y="265"/>
                  <a:pt x="39" y="265"/>
                </a:cubicBezTo>
                <a:cubicBezTo>
                  <a:pt x="40" y="265"/>
                  <a:pt x="40" y="265"/>
                  <a:pt x="40" y="265"/>
                </a:cubicBezTo>
                <a:cubicBezTo>
                  <a:pt x="41" y="266"/>
                  <a:pt x="41" y="266"/>
                  <a:pt x="41" y="266"/>
                </a:cubicBezTo>
                <a:cubicBezTo>
                  <a:pt x="41" y="266"/>
                  <a:pt x="41" y="266"/>
                  <a:pt x="41" y="266"/>
                </a:cubicBezTo>
                <a:cubicBezTo>
                  <a:pt x="43" y="266"/>
                  <a:pt x="43" y="266"/>
                  <a:pt x="43" y="266"/>
                </a:cubicBezTo>
                <a:cubicBezTo>
                  <a:pt x="44" y="266"/>
                  <a:pt x="44" y="266"/>
                  <a:pt x="44" y="266"/>
                </a:cubicBezTo>
                <a:cubicBezTo>
                  <a:pt x="43" y="265"/>
                  <a:pt x="43" y="265"/>
                  <a:pt x="43" y="265"/>
                </a:cubicBezTo>
                <a:cubicBezTo>
                  <a:pt x="43" y="265"/>
                  <a:pt x="43" y="265"/>
                  <a:pt x="43" y="265"/>
                </a:cubicBezTo>
                <a:cubicBezTo>
                  <a:pt x="42" y="265"/>
                  <a:pt x="42" y="265"/>
                  <a:pt x="42" y="265"/>
                </a:cubicBezTo>
                <a:cubicBezTo>
                  <a:pt x="41" y="265"/>
                  <a:pt x="41" y="265"/>
                  <a:pt x="41" y="265"/>
                </a:cubicBezTo>
                <a:cubicBezTo>
                  <a:pt x="40" y="265"/>
                  <a:pt x="40" y="265"/>
                  <a:pt x="40" y="265"/>
                </a:cubicBezTo>
                <a:cubicBezTo>
                  <a:pt x="40" y="264"/>
                  <a:pt x="40" y="264"/>
                  <a:pt x="40" y="264"/>
                </a:cubicBezTo>
                <a:cubicBezTo>
                  <a:pt x="40" y="264"/>
                  <a:pt x="40" y="264"/>
                  <a:pt x="40" y="264"/>
                </a:cubicBezTo>
                <a:cubicBezTo>
                  <a:pt x="41" y="263"/>
                  <a:pt x="41" y="263"/>
                  <a:pt x="41" y="263"/>
                </a:cubicBezTo>
                <a:cubicBezTo>
                  <a:pt x="42" y="264"/>
                  <a:pt x="42" y="264"/>
                  <a:pt x="42" y="264"/>
                </a:cubicBezTo>
                <a:cubicBezTo>
                  <a:pt x="43" y="264"/>
                  <a:pt x="43" y="264"/>
                  <a:pt x="43" y="264"/>
                </a:cubicBezTo>
                <a:cubicBezTo>
                  <a:pt x="44" y="264"/>
                  <a:pt x="44" y="264"/>
                  <a:pt x="44" y="264"/>
                </a:cubicBezTo>
                <a:cubicBezTo>
                  <a:pt x="44" y="263"/>
                  <a:pt x="44" y="263"/>
                  <a:pt x="44" y="263"/>
                </a:cubicBezTo>
                <a:cubicBezTo>
                  <a:pt x="43" y="263"/>
                  <a:pt x="43" y="263"/>
                  <a:pt x="43" y="263"/>
                </a:cubicBezTo>
                <a:cubicBezTo>
                  <a:pt x="43" y="263"/>
                  <a:pt x="43" y="263"/>
                  <a:pt x="43" y="263"/>
                </a:cubicBezTo>
                <a:cubicBezTo>
                  <a:pt x="42" y="263"/>
                  <a:pt x="42" y="263"/>
                  <a:pt x="42" y="263"/>
                </a:cubicBezTo>
                <a:cubicBezTo>
                  <a:pt x="43" y="262"/>
                  <a:pt x="43" y="262"/>
                  <a:pt x="43" y="262"/>
                </a:cubicBezTo>
                <a:cubicBezTo>
                  <a:pt x="44" y="262"/>
                  <a:pt x="44" y="262"/>
                  <a:pt x="44" y="262"/>
                </a:cubicBezTo>
                <a:cubicBezTo>
                  <a:pt x="44" y="262"/>
                  <a:pt x="44" y="262"/>
                  <a:pt x="44" y="262"/>
                </a:cubicBezTo>
                <a:cubicBezTo>
                  <a:pt x="44" y="262"/>
                  <a:pt x="44" y="262"/>
                  <a:pt x="44" y="262"/>
                </a:cubicBezTo>
                <a:cubicBezTo>
                  <a:pt x="45" y="262"/>
                  <a:pt x="45" y="262"/>
                  <a:pt x="45" y="262"/>
                </a:cubicBezTo>
                <a:cubicBezTo>
                  <a:pt x="46" y="262"/>
                  <a:pt x="46" y="262"/>
                  <a:pt x="46" y="262"/>
                </a:cubicBezTo>
                <a:cubicBezTo>
                  <a:pt x="46" y="261"/>
                  <a:pt x="46" y="261"/>
                  <a:pt x="46" y="261"/>
                </a:cubicBezTo>
                <a:cubicBezTo>
                  <a:pt x="46" y="260"/>
                  <a:pt x="46" y="260"/>
                  <a:pt x="46" y="260"/>
                </a:cubicBezTo>
                <a:cubicBezTo>
                  <a:pt x="45" y="260"/>
                  <a:pt x="45" y="260"/>
                  <a:pt x="45" y="260"/>
                </a:cubicBezTo>
                <a:cubicBezTo>
                  <a:pt x="45" y="260"/>
                  <a:pt x="45" y="260"/>
                  <a:pt x="45" y="260"/>
                </a:cubicBezTo>
                <a:cubicBezTo>
                  <a:pt x="44" y="261"/>
                  <a:pt x="44" y="261"/>
                  <a:pt x="44" y="261"/>
                </a:cubicBezTo>
                <a:cubicBezTo>
                  <a:pt x="43" y="261"/>
                  <a:pt x="43" y="261"/>
                  <a:pt x="43" y="261"/>
                </a:cubicBezTo>
                <a:cubicBezTo>
                  <a:pt x="41" y="260"/>
                  <a:pt x="41" y="260"/>
                  <a:pt x="41" y="260"/>
                </a:cubicBezTo>
                <a:cubicBezTo>
                  <a:pt x="39" y="260"/>
                  <a:pt x="39" y="260"/>
                  <a:pt x="39" y="260"/>
                </a:cubicBezTo>
                <a:cubicBezTo>
                  <a:pt x="39" y="259"/>
                  <a:pt x="39" y="259"/>
                  <a:pt x="39" y="259"/>
                </a:cubicBezTo>
                <a:cubicBezTo>
                  <a:pt x="39" y="259"/>
                  <a:pt x="39" y="259"/>
                  <a:pt x="39" y="259"/>
                </a:cubicBezTo>
                <a:cubicBezTo>
                  <a:pt x="40" y="259"/>
                  <a:pt x="40" y="259"/>
                  <a:pt x="40" y="259"/>
                </a:cubicBezTo>
                <a:cubicBezTo>
                  <a:pt x="41" y="259"/>
                  <a:pt x="41" y="259"/>
                  <a:pt x="41" y="259"/>
                </a:cubicBezTo>
                <a:cubicBezTo>
                  <a:pt x="41" y="259"/>
                  <a:pt x="41" y="259"/>
                  <a:pt x="41" y="259"/>
                </a:cubicBezTo>
                <a:cubicBezTo>
                  <a:pt x="41" y="258"/>
                  <a:pt x="41" y="258"/>
                  <a:pt x="41" y="258"/>
                </a:cubicBezTo>
                <a:cubicBezTo>
                  <a:pt x="40" y="258"/>
                  <a:pt x="40" y="258"/>
                  <a:pt x="40" y="258"/>
                </a:cubicBezTo>
                <a:cubicBezTo>
                  <a:pt x="40" y="258"/>
                  <a:pt x="40" y="258"/>
                  <a:pt x="40" y="258"/>
                </a:cubicBezTo>
                <a:cubicBezTo>
                  <a:pt x="40" y="257"/>
                  <a:pt x="40" y="257"/>
                  <a:pt x="40" y="257"/>
                </a:cubicBezTo>
                <a:cubicBezTo>
                  <a:pt x="41" y="257"/>
                  <a:pt x="41" y="257"/>
                  <a:pt x="41" y="257"/>
                </a:cubicBezTo>
                <a:cubicBezTo>
                  <a:pt x="42" y="257"/>
                  <a:pt x="42" y="257"/>
                  <a:pt x="42" y="257"/>
                </a:cubicBezTo>
                <a:cubicBezTo>
                  <a:pt x="43" y="257"/>
                  <a:pt x="43" y="257"/>
                  <a:pt x="43" y="257"/>
                </a:cubicBezTo>
                <a:cubicBezTo>
                  <a:pt x="47" y="257"/>
                  <a:pt x="47" y="257"/>
                  <a:pt x="47" y="257"/>
                </a:cubicBezTo>
                <a:cubicBezTo>
                  <a:pt x="48" y="257"/>
                  <a:pt x="48" y="257"/>
                  <a:pt x="48" y="257"/>
                </a:cubicBezTo>
                <a:cubicBezTo>
                  <a:pt x="49" y="257"/>
                  <a:pt x="49" y="257"/>
                  <a:pt x="49" y="257"/>
                </a:cubicBezTo>
                <a:cubicBezTo>
                  <a:pt x="50" y="257"/>
                  <a:pt x="50" y="257"/>
                  <a:pt x="50" y="257"/>
                </a:cubicBezTo>
                <a:cubicBezTo>
                  <a:pt x="50" y="256"/>
                  <a:pt x="50" y="256"/>
                  <a:pt x="50" y="256"/>
                </a:cubicBezTo>
                <a:cubicBezTo>
                  <a:pt x="48" y="256"/>
                  <a:pt x="48" y="256"/>
                  <a:pt x="48" y="256"/>
                </a:cubicBezTo>
                <a:cubicBezTo>
                  <a:pt x="46" y="256"/>
                  <a:pt x="46" y="256"/>
                  <a:pt x="46" y="256"/>
                </a:cubicBezTo>
                <a:cubicBezTo>
                  <a:pt x="44" y="256"/>
                  <a:pt x="44" y="256"/>
                  <a:pt x="44" y="256"/>
                </a:cubicBezTo>
                <a:cubicBezTo>
                  <a:pt x="43" y="256"/>
                  <a:pt x="43" y="256"/>
                  <a:pt x="43" y="256"/>
                </a:cubicBezTo>
                <a:cubicBezTo>
                  <a:pt x="43" y="256"/>
                  <a:pt x="43" y="256"/>
                  <a:pt x="43" y="256"/>
                </a:cubicBezTo>
                <a:cubicBezTo>
                  <a:pt x="42" y="256"/>
                  <a:pt x="42" y="256"/>
                  <a:pt x="42" y="256"/>
                </a:cubicBezTo>
                <a:cubicBezTo>
                  <a:pt x="41" y="256"/>
                  <a:pt x="41" y="256"/>
                  <a:pt x="41" y="256"/>
                </a:cubicBezTo>
                <a:cubicBezTo>
                  <a:pt x="40" y="257"/>
                  <a:pt x="40" y="257"/>
                  <a:pt x="40" y="257"/>
                </a:cubicBezTo>
                <a:cubicBezTo>
                  <a:pt x="40" y="257"/>
                  <a:pt x="40" y="257"/>
                  <a:pt x="40" y="257"/>
                </a:cubicBezTo>
                <a:cubicBezTo>
                  <a:pt x="40" y="256"/>
                  <a:pt x="40" y="256"/>
                  <a:pt x="40" y="256"/>
                </a:cubicBezTo>
                <a:cubicBezTo>
                  <a:pt x="41" y="255"/>
                  <a:pt x="41" y="255"/>
                  <a:pt x="41" y="255"/>
                </a:cubicBezTo>
                <a:cubicBezTo>
                  <a:pt x="42" y="254"/>
                  <a:pt x="42" y="254"/>
                  <a:pt x="42" y="254"/>
                </a:cubicBezTo>
                <a:cubicBezTo>
                  <a:pt x="43" y="254"/>
                  <a:pt x="43" y="254"/>
                  <a:pt x="43" y="254"/>
                </a:cubicBezTo>
                <a:cubicBezTo>
                  <a:pt x="44" y="253"/>
                  <a:pt x="44" y="253"/>
                  <a:pt x="44" y="253"/>
                </a:cubicBezTo>
                <a:cubicBezTo>
                  <a:pt x="44" y="252"/>
                  <a:pt x="44" y="252"/>
                  <a:pt x="44" y="252"/>
                </a:cubicBezTo>
                <a:cubicBezTo>
                  <a:pt x="45" y="251"/>
                  <a:pt x="45" y="251"/>
                  <a:pt x="45" y="251"/>
                </a:cubicBezTo>
                <a:cubicBezTo>
                  <a:pt x="46" y="251"/>
                  <a:pt x="46" y="251"/>
                  <a:pt x="46" y="251"/>
                </a:cubicBezTo>
                <a:cubicBezTo>
                  <a:pt x="46" y="252"/>
                  <a:pt x="46" y="252"/>
                  <a:pt x="46" y="252"/>
                </a:cubicBezTo>
                <a:cubicBezTo>
                  <a:pt x="47" y="252"/>
                  <a:pt x="47" y="252"/>
                  <a:pt x="47" y="252"/>
                </a:cubicBezTo>
                <a:cubicBezTo>
                  <a:pt x="48" y="251"/>
                  <a:pt x="48" y="251"/>
                  <a:pt x="48" y="251"/>
                </a:cubicBezTo>
                <a:cubicBezTo>
                  <a:pt x="49" y="251"/>
                  <a:pt x="49" y="251"/>
                  <a:pt x="49" y="251"/>
                </a:cubicBezTo>
                <a:cubicBezTo>
                  <a:pt x="49" y="252"/>
                  <a:pt x="49" y="252"/>
                  <a:pt x="49" y="252"/>
                </a:cubicBezTo>
                <a:cubicBezTo>
                  <a:pt x="50" y="252"/>
                  <a:pt x="50" y="252"/>
                  <a:pt x="50" y="252"/>
                </a:cubicBezTo>
                <a:cubicBezTo>
                  <a:pt x="51" y="253"/>
                  <a:pt x="51" y="253"/>
                  <a:pt x="51" y="253"/>
                </a:cubicBezTo>
                <a:cubicBezTo>
                  <a:pt x="53" y="253"/>
                  <a:pt x="53" y="253"/>
                  <a:pt x="53" y="253"/>
                </a:cubicBezTo>
                <a:cubicBezTo>
                  <a:pt x="54" y="253"/>
                  <a:pt x="54" y="253"/>
                  <a:pt x="54" y="253"/>
                </a:cubicBezTo>
                <a:cubicBezTo>
                  <a:pt x="55" y="255"/>
                  <a:pt x="55" y="255"/>
                  <a:pt x="55" y="255"/>
                </a:cubicBezTo>
                <a:cubicBezTo>
                  <a:pt x="56" y="256"/>
                  <a:pt x="56" y="256"/>
                  <a:pt x="56" y="256"/>
                </a:cubicBezTo>
                <a:cubicBezTo>
                  <a:pt x="58" y="256"/>
                  <a:pt x="58" y="256"/>
                  <a:pt x="58" y="256"/>
                </a:cubicBezTo>
                <a:cubicBezTo>
                  <a:pt x="59" y="256"/>
                  <a:pt x="59" y="256"/>
                  <a:pt x="59" y="256"/>
                </a:cubicBezTo>
                <a:cubicBezTo>
                  <a:pt x="59" y="256"/>
                  <a:pt x="59" y="256"/>
                  <a:pt x="59" y="256"/>
                </a:cubicBezTo>
                <a:cubicBezTo>
                  <a:pt x="60" y="255"/>
                  <a:pt x="60" y="255"/>
                  <a:pt x="60" y="255"/>
                </a:cubicBezTo>
                <a:cubicBezTo>
                  <a:pt x="59" y="255"/>
                  <a:pt x="59" y="255"/>
                  <a:pt x="59" y="255"/>
                </a:cubicBezTo>
                <a:cubicBezTo>
                  <a:pt x="58" y="255"/>
                  <a:pt x="58" y="255"/>
                  <a:pt x="58" y="255"/>
                </a:cubicBezTo>
                <a:cubicBezTo>
                  <a:pt x="58" y="255"/>
                  <a:pt x="58" y="255"/>
                  <a:pt x="58" y="255"/>
                </a:cubicBezTo>
                <a:cubicBezTo>
                  <a:pt x="57" y="255"/>
                  <a:pt x="57" y="255"/>
                  <a:pt x="57" y="255"/>
                </a:cubicBezTo>
                <a:cubicBezTo>
                  <a:pt x="56" y="254"/>
                  <a:pt x="56" y="254"/>
                  <a:pt x="56" y="254"/>
                </a:cubicBezTo>
                <a:cubicBezTo>
                  <a:pt x="55" y="253"/>
                  <a:pt x="55" y="253"/>
                  <a:pt x="55" y="253"/>
                </a:cubicBezTo>
                <a:cubicBezTo>
                  <a:pt x="55" y="252"/>
                  <a:pt x="55" y="252"/>
                  <a:pt x="55" y="252"/>
                </a:cubicBezTo>
                <a:cubicBezTo>
                  <a:pt x="55" y="252"/>
                  <a:pt x="55" y="252"/>
                  <a:pt x="55" y="252"/>
                </a:cubicBezTo>
                <a:cubicBezTo>
                  <a:pt x="57" y="252"/>
                  <a:pt x="57" y="252"/>
                  <a:pt x="57" y="252"/>
                </a:cubicBezTo>
                <a:cubicBezTo>
                  <a:pt x="59" y="252"/>
                  <a:pt x="59" y="252"/>
                  <a:pt x="59" y="252"/>
                </a:cubicBezTo>
                <a:cubicBezTo>
                  <a:pt x="59" y="251"/>
                  <a:pt x="59" y="251"/>
                  <a:pt x="59" y="251"/>
                </a:cubicBezTo>
                <a:cubicBezTo>
                  <a:pt x="59" y="250"/>
                  <a:pt x="59" y="250"/>
                  <a:pt x="59" y="250"/>
                </a:cubicBezTo>
                <a:cubicBezTo>
                  <a:pt x="58" y="250"/>
                  <a:pt x="58" y="250"/>
                  <a:pt x="58" y="250"/>
                </a:cubicBezTo>
                <a:cubicBezTo>
                  <a:pt x="57" y="250"/>
                  <a:pt x="57" y="250"/>
                  <a:pt x="57" y="250"/>
                </a:cubicBezTo>
                <a:cubicBezTo>
                  <a:pt x="57" y="251"/>
                  <a:pt x="57" y="251"/>
                  <a:pt x="57" y="251"/>
                </a:cubicBezTo>
                <a:cubicBezTo>
                  <a:pt x="57" y="251"/>
                  <a:pt x="57" y="251"/>
                  <a:pt x="57" y="251"/>
                </a:cubicBezTo>
                <a:cubicBezTo>
                  <a:pt x="57" y="251"/>
                  <a:pt x="57" y="251"/>
                  <a:pt x="57" y="251"/>
                </a:cubicBezTo>
                <a:cubicBezTo>
                  <a:pt x="55" y="251"/>
                  <a:pt x="55" y="251"/>
                  <a:pt x="55" y="251"/>
                </a:cubicBezTo>
                <a:cubicBezTo>
                  <a:pt x="55" y="251"/>
                  <a:pt x="55" y="251"/>
                  <a:pt x="55" y="251"/>
                </a:cubicBezTo>
                <a:cubicBezTo>
                  <a:pt x="54" y="250"/>
                  <a:pt x="54" y="250"/>
                  <a:pt x="54" y="250"/>
                </a:cubicBezTo>
                <a:cubicBezTo>
                  <a:pt x="55" y="250"/>
                  <a:pt x="55" y="250"/>
                  <a:pt x="55" y="250"/>
                </a:cubicBezTo>
                <a:cubicBezTo>
                  <a:pt x="56" y="250"/>
                  <a:pt x="56" y="250"/>
                  <a:pt x="56" y="250"/>
                </a:cubicBezTo>
                <a:cubicBezTo>
                  <a:pt x="56" y="250"/>
                  <a:pt x="56" y="250"/>
                  <a:pt x="56" y="250"/>
                </a:cubicBezTo>
                <a:cubicBezTo>
                  <a:pt x="55" y="249"/>
                  <a:pt x="55" y="249"/>
                  <a:pt x="55" y="249"/>
                </a:cubicBezTo>
                <a:cubicBezTo>
                  <a:pt x="55" y="249"/>
                  <a:pt x="55" y="249"/>
                  <a:pt x="55" y="249"/>
                </a:cubicBezTo>
                <a:cubicBezTo>
                  <a:pt x="54" y="249"/>
                  <a:pt x="54" y="249"/>
                  <a:pt x="54" y="249"/>
                </a:cubicBezTo>
                <a:cubicBezTo>
                  <a:pt x="54" y="249"/>
                  <a:pt x="54" y="249"/>
                  <a:pt x="54" y="249"/>
                </a:cubicBezTo>
                <a:cubicBezTo>
                  <a:pt x="53" y="249"/>
                  <a:pt x="53" y="249"/>
                  <a:pt x="53" y="249"/>
                </a:cubicBezTo>
                <a:cubicBezTo>
                  <a:pt x="53" y="250"/>
                  <a:pt x="53" y="250"/>
                  <a:pt x="53" y="250"/>
                </a:cubicBezTo>
                <a:cubicBezTo>
                  <a:pt x="54" y="250"/>
                  <a:pt x="54" y="250"/>
                  <a:pt x="54" y="250"/>
                </a:cubicBezTo>
                <a:cubicBezTo>
                  <a:pt x="54" y="251"/>
                  <a:pt x="54" y="251"/>
                  <a:pt x="54" y="251"/>
                </a:cubicBezTo>
                <a:cubicBezTo>
                  <a:pt x="53" y="252"/>
                  <a:pt x="53" y="252"/>
                  <a:pt x="53" y="252"/>
                </a:cubicBezTo>
                <a:cubicBezTo>
                  <a:pt x="52" y="252"/>
                  <a:pt x="52" y="252"/>
                  <a:pt x="52" y="252"/>
                </a:cubicBezTo>
                <a:cubicBezTo>
                  <a:pt x="51" y="252"/>
                  <a:pt x="51" y="252"/>
                  <a:pt x="51" y="252"/>
                </a:cubicBezTo>
                <a:cubicBezTo>
                  <a:pt x="50" y="251"/>
                  <a:pt x="50" y="251"/>
                  <a:pt x="50" y="251"/>
                </a:cubicBezTo>
                <a:cubicBezTo>
                  <a:pt x="49" y="251"/>
                  <a:pt x="49" y="251"/>
                  <a:pt x="49" y="251"/>
                </a:cubicBezTo>
                <a:cubicBezTo>
                  <a:pt x="49" y="250"/>
                  <a:pt x="49" y="250"/>
                  <a:pt x="49" y="250"/>
                </a:cubicBezTo>
                <a:cubicBezTo>
                  <a:pt x="48" y="250"/>
                  <a:pt x="48" y="250"/>
                  <a:pt x="48" y="250"/>
                </a:cubicBezTo>
                <a:cubicBezTo>
                  <a:pt x="48" y="250"/>
                  <a:pt x="48" y="250"/>
                  <a:pt x="48" y="250"/>
                </a:cubicBezTo>
                <a:cubicBezTo>
                  <a:pt x="47" y="250"/>
                  <a:pt x="47" y="250"/>
                  <a:pt x="47" y="250"/>
                </a:cubicBezTo>
                <a:cubicBezTo>
                  <a:pt x="46" y="250"/>
                  <a:pt x="46" y="250"/>
                  <a:pt x="46" y="250"/>
                </a:cubicBezTo>
                <a:cubicBezTo>
                  <a:pt x="45" y="250"/>
                  <a:pt x="45" y="250"/>
                  <a:pt x="45" y="250"/>
                </a:cubicBezTo>
                <a:cubicBezTo>
                  <a:pt x="44" y="251"/>
                  <a:pt x="44" y="251"/>
                  <a:pt x="44" y="251"/>
                </a:cubicBezTo>
                <a:cubicBezTo>
                  <a:pt x="43" y="252"/>
                  <a:pt x="43" y="252"/>
                  <a:pt x="43" y="252"/>
                </a:cubicBezTo>
                <a:cubicBezTo>
                  <a:pt x="42" y="253"/>
                  <a:pt x="42" y="253"/>
                  <a:pt x="42" y="253"/>
                </a:cubicBezTo>
                <a:cubicBezTo>
                  <a:pt x="42" y="252"/>
                  <a:pt x="42" y="252"/>
                  <a:pt x="42" y="252"/>
                </a:cubicBezTo>
                <a:cubicBezTo>
                  <a:pt x="42" y="252"/>
                  <a:pt x="42" y="252"/>
                  <a:pt x="42" y="252"/>
                </a:cubicBezTo>
                <a:cubicBezTo>
                  <a:pt x="43" y="250"/>
                  <a:pt x="43" y="250"/>
                  <a:pt x="43" y="250"/>
                </a:cubicBezTo>
                <a:cubicBezTo>
                  <a:pt x="44" y="250"/>
                  <a:pt x="44" y="250"/>
                  <a:pt x="44" y="250"/>
                </a:cubicBezTo>
                <a:cubicBezTo>
                  <a:pt x="44" y="250"/>
                  <a:pt x="44" y="250"/>
                  <a:pt x="44" y="250"/>
                </a:cubicBezTo>
                <a:cubicBezTo>
                  <a:pt x="44" y="249"/>
                  <a:pt x="44" y="249"/>
                  <a:pt x="44" y="249"/>
                </a:cubicBezTo>
                <a:cubicBezTo>
                  <a:pt x="44" y="249"/>
                  <a:pt x="44" y="249"/>
                  <a:pt x="44" y="249"/>
                </a:cubicBezTo>
                <a:cubicBezTo>
                  <a:pt x="45" y="248"/>
                  <a:pt x="45" y="248"/>
                  <a:pt x="45" y="248"/>
                </a:cubicBezTo>
                <a:cubicBezTo>
                  <a:pt x="45" y="248"/>
                  <a:pt x="45" y="248"/>
                  <a:pt x="45" y="248"/>
                </a:cubicBezTo>
                <a:cubicBezTo>
                  <a:pt x="46" y="247"/>
                  <a:pt x="46" y="247"/>
                  <a:pt x="46" y="247"/>
                </a:cubicBezTo>
                <a:cubicBezTo>
                  <a:pt x="46" y="247"/>
                  <a:pt x="46" y="247"/>
                  <a:pt x="46" y="247"/>
                </a:cubicBezTo>
                <a:cubicBezTo>
                  <a:pt x="47" y="248"/>
                  <a:pt x="47" y="248"/>
                  <a:pt x="47" y="248"/>
                </a:cubicBezTo>
                <a:cubicBezTo>
                  <a:pt x="48" y="248"/>
                  <a:pt x="48" y="248"/>
                  <a:pt x="48" y="248"/>
                </a:cubicBezTo>
                <a:cubicBezTo>
                  <a:pt x="50" y="248"/>
                  <a:pt x="50" y="248"/>
                  <a:pt x="50" y="248"/>
                </a:cubicBezTo>
                <a:cubicBezTo>
                  <a:pt x="50" y="248"/>
                  <a:pt x="50" y="248"/>
                  <a:pt x="50" y="248"/>
                </a:cubicBezTo>
                <a:cubicBezTo>
                  <a:pt x="49" y="248"/>
                  <a:pt x="49" y="248"/>
                  <a:pt x="49" y="248"/>
                </a:cubicBezTo>
                <a:cubicBezTo>
                  <a:pt x="48" y="248"/>
                  <a:pt x="48" y="248"/>
                  <a:pt x="48" y="248"/>
                </a:cubicBezTo>
                <a:cubicBezTo>
                  <a:pt x="48" y="247"/>
                  <a:pt x="48" y="247"/>
                  <a:pt x="48" y="247"/>
                </a:cubicBezTo>
                <a:cubicBezTo>
                  <a:pt x="46" y="246"/>
                  <a:pt x="46" y="246"/>
                  <a:pt x="46" y="246"/>
                </a:cubicBezTo>
                <a:cubicBezTo>
                  <a:pt x="46" y="245"/>
                  <a:pt x="46" y="245"/>
                  <a:pt x="46" y="245"/>
                </a:cubicBezTo>
                <a:cubicBezTo>
                  <a:pt x="45" y="245"/>
                  <a:pt x="45" y="245"/>
                  <a:pt x="45" y="245"/>
                </a:cubicBezTo>
                <a:cubicBezTo>
                  <a:pt x="45" y="244"/>
                  <a:pt x="45" y="244"/>
                  <a:pt x="45" y="244"/>
                </a:cubicBezTo>
                <a:cubicBezTo>
                  <a:pt x="46" y="244"/>
                  <a:pt x="46" y="244"/>
                  <a:pt x="46" y="244"/>
                </a:cubicBezTo>
                <a:cubicBezTo>
                  <a:pt x="47" y="244"/>
                  <a:pt x="47" y="244"/>
                  <a:pt x="47" y="244"/>
                </a:cubicBezTo>
                <a:cubicBezTo>
                  <a:pt x="48" y="246"/>
                  <a:pt x="48" y="246"/>
                  <a:pt x="48" y="246"/>
                </a:cubicBezTo>
                <a:cubicBezTo>
                  <a:pt x="49" y="247"/>
                  <a:pt x="49" y="247"/>
                  <a:pt x="49" y="247"/>
                </a:cubicBezTo>
                <a:cubicBezTo>
                  <a:pt x="49" y="247"/>
                  <a:pt x="49" y="247"/>
                  <a:pt x="49" y="247"/>
                </a:cubicBezTo>
                <a:cubicBezTo>
                  <a:pt x="49" y="246"/>
                  <a:pt x="49" y="246"/>
                  <a:pt x="49" y="246"/>
                </a:cubicBezTo>
                <a:cubicBezTo>
                  <a:pt x="49" y="245"/>
                  <a:pt x="49" y="245"/>
                  <a:pt x="49" y="245"/>
                </a:cubicBezTo>
                <a:cubicBezTo>
                  <a:pt x="49" y="245"/>
                  <a:pt x="49" y="245"/>
                  <a:pt x="49" y="245"/>
                </a:cubicBezTo>
                <a:cubicBezTo>
                  <a:pt x="50" y="246"/>
                  <a:pt x="50" y="246"/>
                  <a:pt x="50" y="246"/>
                </a:cubicBezTo>
                <a:cubicBezTo>
                  <a:pt x="50" y="246"/>
                  <a:pt x="50" y="246"/>
                  <a:pt x="50" y="246"/>
                </a:cubicBezTo>
                <a:cubicBezTo>
                  <a:pt x="52" y="248"/>
                  <a:pt x="52" y="248"/>
                  <a:pt x="52" y="248"/>
                </a:cubicBezTo>
                <a:cubicBezTo>
                  <a:pt x="53" y="248"/>
                  <a:pt x="53" y="248"/>
                  <a:pt x="53" y="248"/>
                </a:cubicBezTo>
                <a:cubicBezTo>
                  <a:pt x="54" y="247"/>
                  <a:pt x="54" y="247"/>
                  <a:pt x="54" y="247"/>
                </a:cubicBezTo>
                <a:cubicBezTo>
                  <a:pt x="55" y="247"/>
                  <a:pt x="55" y="247"/>
                  <a:pt x="55" y="247"/>
                </a:cubicBezTo>
                <a:cubicBezTo>
                  <a:pt x="55" y="248"/>
                  <a:pt x="55" y="248"/>
                  <a:pt x="55" y="248"/>
                </a:cubicBezTo>
                <a:cubicBezTo>
                  <a:pt x="57" y="249"/>
                  <a:pt x="57" y="249"/>
                  <a:pt x="57" y="249"/>
                </a:cubicBezTo>
                <a:cubicBezTo>
                  <a:pt x="58" y="249"/>
                  <a:pt x="58" y="249"/>
                  <a:pt x="58" y="249"/>
                </a:cubicBezTo>
                <a:cubicBezTo>
                  <a:pt x="58" y="249"/>
                  <a:pt x="58" y="249"/>
                  <a:pt x="58" y="249"/>
                </a:cubicBezTo>
                <a:cubicBezTo>
                  <a:pt x="59" y="249"/>
                  <a:pt x="59" y="249"/>
                  <a:pt x="59" y="249"/>
                </a:cubicBezTo>
                <a:cubicBezTo>
                  <a:pt x="59" y="249"/>
                  <a:pt x="59" y="249"/>
                  <a:pt x="59" y="249"/>
                </a:cubicBezTo>
                <a:cubicBezTo>
                  <a:pt x="58" y="248"/>
                  <a:pt x="58" y="248"/>
                  <a:pt x="58" y="248"/>
                </a:cubicBezTo>
                <a:cubicBezTo>
                  <a:pt x="55" y="246"/>
                  <a:pt x="55" y="246"/>
                  <a:pt x="55" y="246"/>
                </a:cubicBezTo>
                <a:cubicBezTo>
                  <a:pt x="55" y="245"/>
                  <a:pt x="55" y="245"/>
                  <a:pt x="55" y="245"/>
                </a:cubicBezTo>
                <a:cubicBezTo>
                  <a:pt x="55" y="245"/>
                  <a:pt x="55" y="245"/>
                  <a:pt x="55" y="245"/>
                </a:cubicBezTo>
                <a:cubicBezTo>
                  <a:pt x="56" y="244"/>
                  <a:pt x="56" y="244"/>
                  <a:pt x="56" y="244"/>
                </a:cubicBezTo>
                <a:cubicBezTo>
                  <a:pt x="57" y="244"/>
                  <a:pt x="57" y="244"/>
                  <a:pt x="57" y="244"/>
                </a:cubicBezTo>
                <a:cubicBezTo>
                  <a:pt x="57" y="243"/>
                  <a:pt x="57" y="243"/>
                  <a:pt x="57" y="243"/>
                </a:cubicBezTo>
                <a:cubicBezTo>
                  <a:pt x="57" y="243"/>
                  <a:pt x="57" y="243"/>
                  <a:pt x="57" y="243"/>
                </a:cubicBezTo>
                <a:cubicBezTo>
                  <a:pt x="57" y="242"/>
                  <a:pt x="57" y="242"/>
                  <a:pt x="57" y="242"/>
                </a:cubicBezTo>
                <a:cubicBezTo>
                  <a:pt x="57" y="242"/>
                  <a:pt x="57" y="242"/>
                  <a:pt x="57" y="242"/>
                </a:cubicBezTo>
                <a:cubicBezTo>
                  <a:pt x="56" y="243"/>
                  <a:pt x="56" y="243"/>
                  <a:pt x="56" y="243"/>
                </a:cubicBezTo>
                <a:cubicBezTo>
                  <a:pt x="54" y="243"/>
                  <a:pt x="54" y="243"/>
                  <a:pt x="54" y="243"/>
                </a:cubicBezTo>
                <a:cubicBezTo>
                  <a:pt x="54" y="243"/>
                  <a:pt x="54" y="243"/>
                  <a:pt x="54" y="243"/>
                </a:cubicBezTo>
                <a:cubicBezTo>
                  <a:pt x="54" y="243"/>
                  <a:pt x="54" y="243"/>
                  <a:pt x="54" y="243"/>
                </a:cubicBezTo>
                <a:cubicBezTo>
                  <a:pt x="55" y="244"/>
                  <a:pt x="55" y="244"/>
                  <a:pt x="55" y="244"/>
                </a:cubicBezTo>
                <a:cubicBezTo>
                  <a:pt x="55" y="244"/>
                  <a:pt x="55" y="244"/>
                  <a:pt x="55" y="244"/>
                </a:cubicBezTo>
                <a:cubicBezTo>
                  <a:pt x="53" y="244"/>
                  <a:pt x="53" y="244"/>
                  <a:pt x="53" y="244"/>
                </a:cubicBezTo>
                <a:cubicBezTo>
                  <a:pt x="53" y="245"/>
                  <a:pt x="53" y="245"/>
                  <a:pt x="53" y="245"/>
                </a:cubicBezTo>
                <a:cubicBezTo>
                  <a:pt x="52" y="244"/>
                  <a:pt x="52" y="244"/>
                  <a:pt x="52" y="244"/>
                </a:cubicBezTo>
                <a:cubicBezTo>
                  <a:pt x="51" y="245"/>
                  <a:pt x="51" y="245"/>
                  <a:pt x="51" y="245"/>
                </a:cubicBezTo>
                <a:cubicBezTo>
                  <a:pt x="50" y="244"/>
                  <a:pt x="50" y="244"/>
                  <a:pt x="50" y="244"/>
                </a:cubicBezTo>
                <a:cubicBezTo>
                  <a:pt x="49" y="244"/>
                  <a:pt x="49" y="244"/>
                  <a:pt x="49" y="244"/>
                </a:cubicBezTo>
                <a:cubicBezTo>
                  <a:pt x="49" y="243"/>
                  <a:pt x="49" y="243"/>
                  <a:pt x="49" y="243"/>
                </a:cubicBezTo>
                <a:cubicBezTo>
                  <a:pt x="49" y="243"/>
                  <a:pt x="49" y="243"/>
                  <a:pt x="49" y="243"/>
                </a:cubicBezTo>
                <a:cubicBezTo>
                  <a:pt x="50" y="242"/>
                  <a:pt x="50" y="242"/>
                  <a:pt x="50" y="242"/>
                </a:cubicBezTo>
                <a:cubicBezTo>
                  <a:pt x="49" y="242"/>
                  <a:pt x="49" y="242"/>
                  <a:pt x="49" y="242"/>
                </a:cubicBezTo>
                <a:cubicBezTo>
                  <a:pt x="48" y="242"/>
                  <a:pt x="48" y="242"/>
                  <a:pt x="48" y="242"/>
                </a:cubicBezTo>
                <a:cubicBezTo>
                  <a:pt x="48" y="242"/>
                  <a:pt x="48" y="242"/>
                  <a:pt x="48" y="242"/>
                </a:cubicBezTo>
                <a:cubicBezTo>
                  <a:pt x="49" y="242"/>
                  <a:pt x="49" y="242"/>
                  <a:pt x="49" y="242"/>
                </a:cubicBezTo>
                <a:cubicBezTo>
                  <a:pt x="51" y="241"/>
                  <a:pt x="51" y="241"/>
                  <a:pt x="51" y="241"/>
                </a:cubicBezTo>
                <a:cubicBezTo>
                  <a:pt x="52" y="241"/>
                  <a:pt x="52" y="241"/>
                  <a:pt x="52" y="241"/>
                </a:cubicBezTo>
                <a:cubicBezTo>
                  <a:pt x="53" y="241"/>
                  <a:pt x="53" y="241"/>
                  <a:pt x="53" y="241"/>
                </a:cubicBezTo>
                <a:cubicBezTo>
                  <a:pt x="54" y="241"/>
                  <a:pt x="54" y="241"/>
                  <a:pt x="54" y="241"/>
                </a:cubicBezTo>
                <a:cubicBezTo>
                  <a:pt x="55" y="241"/>
                  <a:pt x="55" y="241"/>
                  <a:pt x="55" y="241"/>
                </a:cubicBezTo>
                <a:cubicBezTo>
                  <a:pt x="56" y="241"/>
                  <a:pt x="56" y="241"/>
                  <a:pt x="56" y="241"/>
                </a:cubicBezTo>
                <a:cubicBezTo>
                  <a:pt x="57" y="241"/>
                  <a:pt x="57" y="241"/>
                  <a:pt x="57" y="241"/>
                </a:cubicBezTo>
                <a:cubicBezTo>
                  <a:pt x="57" y="240"/>
                  <a:pt x="57" y="240"/>
                  <a:pt x="57" y="240"/>
                </a:cubicBezTo>
                <a:cubicBezTo>
                  <a:pt x="58" y="240"/>
                  <a:pt x="58" y="240"/>
                  <a:pt x="58" y="240"/>
                </a:cubicBezTo>
                <a:cubicBezTo>
                  <a:pt x="58" y="240"/>
                  <a:pt x="58" y="240"/>
                  <a:pt x="58" y="240"/>
                </a:cubicBezTo>
                <a:cubicBezTo>
                  <a:pt x="59" y="239"/>
                  <a:pt x="59" y="239"/>
                  <a:pt x="59" y="239"/>
                </a:cubicBezTo>
                <a:cubicBezTo>
                  <a:pt x="59" y="238"/>
                  <a:pt x="59" y="238"/>
                  <a:pt x="59" y="238"/>
                </a:cubicBezTo>
                <a:cubicBezTo>
                  <a:pt x="59" y="238"/>
                  <a:pt x="59" y="238"/>
                  <a:pt x="59" y="238"/>
                </a:cubicBezTo>
                <a:cubicBezTo>
                  <a:pt x="58" y="239"/>
                  <a:pt x="58" y="239"/>
                  <a:pt x="58" y="239"/>
                </a:cubicBezTo>
                <a:cubicBezTo>
                  <a:pt x="57" y="239"/>
                  <a:pt x="57" y="239"/>
                  <a:pt x="57" y="239"/>
                </a:cubicBezTo>
                <a:cubicBezTo>
                  <a:pt x="57" y="238"/>
                  <a:pt x="57" y="238"/>
                  <a:pt x="57" y="238"/>
                </a:cubicBezTo>
                <a:cubicBezTo>
                  <a:pt x="58" y="237"/>
                  <a:pt x="58" y="237"/>
                  <a:pt x="58" y="237"/>
                </a:cubicBezTo>
                <a:cubicBezTo>
                  <a:pt x="59" y="235"/>
                  <a:pt x="59" y="235"/>
                  <a:pt x="59" y="235"/>
                </a:cubicBezTo>
                <a:cubicBezTo>
                  <a:pt x="58" y="234"/>
                  <a:pt x="58" y="234"/>
                  <a:pt x="58" y="234"/>
                </a:cubicBezTo>
                <a:cubicBezTo>
                  <a:pt x="59" y="234"/>
                  <a:pt x="59" y="234"/>
                  <a:pt x="59" y="234"/>
                </a:cubicBezTo>
                <a:cubicBezTo>
                  <a:pt x="59" y="234"/>
                  <a:pt x="59" y="234"/>
                  <a:pt x="59" y="234"/>
                </a:cubicBezTo>
                <a:cubicBezTo>
                  <a:pt x="60" y="235"/>
                  <a:pt x="60" y="235"/>
                  <a:pt x="60" y="235"/>
                </a:cubicBezTo>
                <a:cubicBezTo>
                  <a:pt x="60" y="236"/>
                  <a:pt x="60" y="236"/>
                  <a:pt x="60" y="236"/>
                </a:cubicBezTo>
                <a:cubicBezTo>
                  <a:pt x="60" y="236"/>
                  <a:pt x="60" y="236"/>
                  <a:pt x="60" y="236"/>
                </a:cubicBezTo>
                <a:cubicBezTo>
                  <a:pt x="61" y="236"/>
                  <a:pt x="61" y="236"/>
                  <a:pt x="61" y="236"/>
                </a:cubicBezTo>
                <a:cubicBezTo>
                  <a:pt x="62" y="236"/>
                  <a:pt x="62" y="236"/>
                  <a:pt x="62" y="236"/>
                </a:cubicBezTo>
                <a:cubicBezTo>
                  <a:pt x="62" y="237"/>
                  <a:pt x="62" y="237"/>
                  <a:pt x="62" y="237"/>
                </a:cubicBezTo>
                <a:cubicBezTo>
                  <a:pt x="63" y="237"/>
                  <a:pt x="63" y="237"/>
                  <a:pt x="63" y="237"/>
                </a:cubicBezTo>
                <a:cubicBezTo>
                  <a:pt x="63" y="236"/>
                  <a:pt x="63" y="236"/>
                  <a:pt x="63" y="236"/>
                </a:cubicBezTo>
                <a:cubicBezTo>
                  <a:pt x="63" y="237"/>
                  <a:pt x="63" y="237"/>
                  <a:pt x="63" y="237"/>
                </a:cubicBezTo>
                <a:cubicBezTo>
                  <a:pt x="64" y="237"/>
                  <a:pt x="64" y="237"/>
                  <a:pt x="64" y="237"/>
                </a:cubicBezTo>
                <a:cubicBezTo>
                  <a:pt x="64" y="236"/>
                  <a:pt x="64" y="236"/>
                  <a:pt x="64" y="236"/>
                </a:cubicBezTo>
                <a:cubicBezTo>
                  <a:pt x="63" y="236"/>
                  <a:pt x="63" y="236"/>
                  <a:pt x="63" y="236"/>
                </a:cubicBezTo>
                <a:cubicBezTo>
                  <a:pt x="62" y="235"/>
                  <a:pt x="62" y="235"/>
                  <a:pt x="62" y="235"/>
                </a:cubicBezTo>
                <a:cubicBezTo>
                  <a:pt x="62" y="235"/>
                  <a:pt x="62" y="235"/>
                  <a:pt x="62" y="235"/>
                </a:cubicBezTo>
                <a:cubicBezTo>
                  <a:pt x="63" y="235"/>
                  <a:pt x="63" y="235"/>
                  <a:pt x="63" y="235"/>
                </a:cubicBezTo>
                <a:cubicBezTo>
                  <a:pt x="64" y="235"/>
                  <a:pt x="64" y="235"/>
                  <a:pt x="64" y="235"/>
                </a:cubicBezTo>
                <a:cubicBezTo>
                  <a:pt x="64" y="234"/>
                  <a:pt x="64" y="234"/>
                  <a:pt x="64" y="234"/>
                </a:cubicBezTo>
                <a:cubicBezTo>
                  <a:pt x="63" y="234"/>
                  <a:pt x="63" y="234"/>
                  <a:pt x="63" y="234"/>
                </a:cubicBezTo>
                <a:cubicBezTo>
                  <a:pt x="63" y="234"/>
                  <a:pt x="63" y="234"/>
                  <a:pt x="63" y="234"/>
                </a:cubicBezTo>
                <a:cubicBezTo>
                  <a:pt x="62" y="233"/>
                  <a:pt x="62" y="233"/>
                  <a:pt x="62" y="233"/>
                </a:cubicBezTo>
                <a:cubicBezTo>
                  <a:pt x="62" y="233"/>
                  <a:pt x="62" y="233"/>
                  <a:pt x="62" y="233"/>
                </a:cubicBezTo>
                <a:cubicBezTo>
                  <a:pt x="61" y="233"/>
                  <a:pt x="61" y="233"/>
                  <a:pt x="61" y="233"/>
                </a:cubicBezTo>
                <a:cubicBezTo>
                  <a:pt x="61" y="233"/>
                  <a:pt x="61" y="233"/>
                  <a:pt x="61" y="233"/>
                </a:cubicBezTo>
                <a:cubicBezTo>
                  <a:pt x="60" y="233"/>
                  <a:pt x="60" y="233"/>
                  <a:pt x="60" y="233"/>
                </a:cubicBezTo>
                <a:cubicBezTo>
                  <a:pt x="60" y="233"/>
                  <a:pt x="60" y="233"/>
                  <a:pt x="60" y="233"/>
                </a:cubicBezTo>
                <a:cubicBezTo>
                  <a:pt x="60" y="232"/>
                  <a:pt x="60" y="232"/>
                  <a:pt x="60" y="232"/>
                </a:cubicBezTo>
                <a:cubicBezTo>
                  <a:pt x="61" y="232"/>
                  <a:pt x="61" y="232"/>
                  <a:pt x="61" y="232"/>
                </a:cubicBezTo>
                <a:cubicBezTo>
                  <a:pt x="62" y="231"/>
                  <a:pt x="62" y="231"/>
                  <a:pt x="62" y="231"/>
                </a:cubicBezTo>
                <a:cubicBezTo>
                  <a:pt x="62" y="230"/>
                  <a:pt x="62" y="230"/>
                  <a:pt x="62" y="230"/>
                </a:cubicBezTo>
                <a:cubicBezTo>
                  <a:pt x="63" y="230"/>
                  <a:pt x="63" y="230"/>
                  <a:pt x="63" y="230"/>
                </a:cubicBezTo>
                <a:cubicBezTo>
                  <a:pt x="63" y="230"/>
                  <a:pt x="63" y="230"/>
                  <a:pt x="63" y="230"/>
                </a:cubicBezTo>
                <a:cubicBezTo>
                  <a:pt x="64" y="230"/>
                  <a:pt x="64" y="230"/>
                  <a:pt x="64" y="230"/>
                </a:cubicBezTo>
                <a:cubicBezTo>
                  <a:pt x="64" y="230"/>
                  <a:pt x="64" y="230"/>
                  <a:pt x="64" y="230"/>
                </a:cubicBezTo>
                <a:cubicBezTo>
                  <a:pt x="63" y="229"/>
                  <a:pt x="63" y="229"/>
                  <a:pt x="63" y="229"/>
                </a:cubicBezTo>
                <a:cubicBezTo>
                  <a:pt x="62" y="229"/>
                  <a:pt x="62" y="229"/>
                  <a:pt x="62" y="229"/>
                </a:cubicBezTo>
                <a:cubicBezTo>
                  <a:pt x="62" y="229"/>
                  <a:pt x="62" y="229"/>
                  <a:pt x="62" y="229"/>
                </a:cubicBezTo>
                <a:cubicBezTo>
                  <a:pt x="62" y="228"/>
                  <a:pt x="62" y="228"/>
                  <a:pt x="62" y="228"/>
                </a:cubicBezTo>
                <a:cubicBezTo>
                  <a:pt x="64" y="228"/>
                  <a:pt x="64" y="228"/>
                  <a:pt x="64" y="228"/>
                </a:cubicBezTo>
                <a:cubicBezTo>
                  <a:pt x="64" y="227"/>
                  <a:pt x="64" y="227"/>
                  <a:pt x="64" y="227"/>
                </a:cubicBezTo>
                <a:cubicBezTo>
                  <a:pt x="65" y="227"/>
                  <a:pt x="65" y="227"/>
                  <a:pt x="65" y="227"/>
                </a:cubicBezTo>
                <a:cubicBezTo>
                  <a:pt x="65" y="227"/>
                  <a:pt x="65" y="227"/>
                  <a:pt x="65" y="227"/>
                </a:cubicBezTo>
                <a:cubicBezTo>
                  <a:pt x="66" y="226"/>
                  <a:pt x="66" y="226"/>
                  <a:pt x="66" y="226"/>
                </a:cubicBezTo>
                <a:cubicBezTo>
                  <a:pt x="65" y="225"/>
                  <a:pt x="65" y="225"/>
                  <a:pt x="65" y="225"/>
                </a:cubicBezTo>
                <a:cubicBezTo>
                  <a:pt x="65" y="225"/>
                  <a:pt x="65" y="225"/>
                  <a:pt x="65" y="225"/>
                </a:cubicBezTo>
                <a:cubicBezTo>
                  <a:pt x="65" y="225"/>
                  <a:pt x="65" y="225"/>
                  <a:pt x="65" y="225"/>
                </a:cubicBezTo>
                <a:cubicBezTo>
                  <a:pt x="65" y="225"/>
                  <a:pt x="65" y="225"/>
                  <a:pt x="65" y="225"/>
                </a:cubicBezTo>
                <a:cubicBezTo>
                  <a:pt x="66" y="225"/>
                  <a:pt x="66" y="225"/>
                  <a:pt x="66" y="225"/>
                </a:cubicBezTo>
                <a:cubicBezTo>
                  <a:pt x="66" y="224"/>
                  <a:pt x="66" y="224"/>
                  <a:pt x="66" y="224"/>
                </a:cubicBezTo>
                <a:cubicBezTo>
                  <a:pt x="65" y="223"/>
                  <a:pt x="65" y="223"/>
                  <a:pt x="65" y="223"/>
                </a:cubicBezTo>
                <a:cubicBezTo>
                  <a:pt x="64" y="224"/>
                  <a:pt x="64" y="224"/>
                  <a:pt x="64" y="224"/>
                </a:cubicBezTo>
                <a:cubicBezTo>
                  <a:pt x="63" y="224"/>
                  <a:pt x="63" y="224"/>
                  <a:pt x="63" y="224"/>
                </a:cubicBezTo>
                <a:cubicBezTo>
                  <a:pt x="62" y="224"/>
                  <a:pt x="62" y="224"/>
                  <a:pt x="62" y="224"/>
                </a:cubicBezTo>
                <a:cubicBezTo>
                  <a:pt x="62" y="224"/>
                  <a:pt x="62" y="224"/>
                  <a:pt x="62" y="224"/>
                </a:cubicBezTo>
                <a:cubicBezTo>
                  <a:pt x="61" y="224"/>
                  <a:pt x="61" y="224"/>
                  <a:pt x="61" y="224"/>
                </a:cubicBezTo>
                <a:cubicBezTo>
                  <a:pt x="60" y="224"/>
                  <a:pt x="60" y="224"/>
                  <a:pt x="60" y="224"/>
                </a:cubicBezTo>
                <a:cubicBezTo>
                  <a:pt x="59" y="223"/>
                  <a:pt x="59" y="223"/>
                  <a:pt x="59" y="223"/>
                </a:cubicBezTo>
                <a:cubicBezTo>
                  <a:pt x="59" y="224"/>
                  <a:pt x="59" y="224"/>
                  <a:pt x="59" y="224"/>
                </a:cubicBezTo>
                <a:cubicBezTo>
                  <a:pt x="58" y="223"/>
                  <a:pt x="58" y="223"/>
                  <a:pt x="58" y="223"/>
                </a:cubicBezTo>
                <a:cubicBezTo>
                  <a:pt x="57" y="222"/>
                  <a:pt x="57" y="222"/>
                  <a:pt x="57" y="222"/>
                </a:cubicBezTo>
                <a:cubicBezTo>
                  <a:pt x="56" y="222"/>
                  <a:pt x="56" y="222"/>
                  <a:pt x="56" y="222"/>
                </a:cubicBezTo>
                <a:cubicBezTo>
                  <a:pt x="55" y="222"/>
                  <a:pt x="55" y="222"/>
                  <a:pt x="55" y="222"/>
                </a:cubicBezTo>
                <a:cubicBezTo>
                  <a:pt x="55" y="221"/>
                  <a:pt x="55" y="221"/>
                  <a:pt x="55" y="221"/>
                </a:cubicBezTo>
                <a:cubicBezTo>
                  <a:pt x="55" y="220"/>
                  <a:pt x="55" y="220"/>
                  <a:pt x="55" y="220"/>
                </a:cubicBezTo>
                <a:cubicBezTo>
                  <a:pt x="53" y="219"/>
                  <a:pt x="53" y="219"/>
                  <a:pt x="53" y="219"/>
                </a:cubicBezTo>
                <a:cubicBezTo>
                  <a:pt x="51" y="218"/>
                  <a:pt x="51" y="218"/>
                  <a:pt x="51" y="218"/>
                </a:cubicBezTo>
                <a:cubicBezTo>
                  <a:pt x="49" y="218"/>
                  <a:pt x="49" y="218"/>
                  <a:pt x="49" y="218"/>
                </a:cubicBezTo>
                <a:cubicBezTo>
                  <a:pt x="48" y="217"/>
                  <a:pt x="48" y="217"/>
                  <a:pt x="48" y="217"/>
                </a:cubicBezTo>
                <a:cubicBezTo>
                  <a:pt x="48" y="216"/>
                  <a:pt x="48" y="216"/>
                  <a:pt x="48" y="216"/>
                </a:cubicBezTo>
                <a:cubicBezTo>
                  <a:pt x="48" y="214"/>
                  <a:pt x="48" y="214"/>
                  <a:pt x="48" y="214"/>
                </a:cubicBezTo>
                <a:cubicBezTo>
                  <a:pt x="47" y="214"/>
                  <a:pt x="47" y="214"/>
                  <a:pt x="47" y="214"/>
                </a:cubicBezTo>
                <a:cubicBezTo>
                  <a:pt x="47" y="213"/>
                  <a:pt x="47" y="213"/>
                  <a:pt x="47" y="213"/>
                </a:cubicBezTo>
                <a:cubicBezTo>
                  <a:pt x="47" y="212"/>
                  <a:pt x="47" y="212"/>
                  <a:pt x="47" y="212"/>
                </a:cubicBezTo>
                <a:cubicBezTo>
                  <a:pt x="48" y="211"/>
                  <a:pt x="48" y="211"/>
                  <a:pt x="48" y="211"/>
                </a:cubicBezTo>
                <a:cubicBezTo>
                  <a:pt x="49" y="211"/>
                  <a:pt x="49" y="211"/>
                  <a:pt x="49" y="211"/>
                </a:cubicBezTo>
                <a:cubicBezTo>
                  <a:pt x="50" y="211"/>
                  <a:pt x="50" y="211"/>
                  <a:pt x="50" y="211"/>
                </a:cubicBezTo>
                <a:cubicBezTo>
                  <a:pt x="50" y="211"/>
                  <a:pt x="50" y="211"/>
                  <a:pt x="50" y="211"/>
                </a:cubicBezTo>
                <a:cubicBezTo>
                  <a:pt x="52" y="211"/>
                  <a:pt x="52" y="211"/>
                  <a:pt x="52" y="211"/>
                </a:cubicBezTo>
                <a:cubicBezTo>
                  <a:pt x="53" y="212"/>
                  <a:pt x="53" y="212"/>
                  <a:pt x="53" y="212"/>
                </a:cubicBezTo>
                <a:cubicBezTo>
                  <a:pt x="54" y="212"/>
                  <a:pt x="54" y="212"/>
                  <a:pt x="54" y="212"/>
                </a:cubicBezTo>
                <a:cubicBezTo>
                  <a:pt x="55" y="213"/>
                  <a:pt x="55" y="213"/>
                  <a:pt x="55" y="213"/>
                </a:cubicBezTo>
                <a:cubicBezTo>
                  <a:pt x="55" y="213"/>
                  <a:pt x="55" y="213"/>
                  <a:pt x="55" y="213"/>
                </a:cubicBezTo>
                <a:cubicBezTo>
                  <a:pt x="56" y="213"/>
                  <a:pt x="56" y="213"/>
                  <a:pt x="56" y="213"/>
                </a:cubicBezTo>
                <a:cubicBezTo>
                  <a:pt x="57" y="213"/>
                  <a:pt x="57" y="213"/>
                  <a:pt x="57" y="213"/>
                </a:cubicBezTo>
                <a:cubicBezTo>
                  <a:pt x="58" y="214"/>
                  <a:pt x="58" y="214"/>
                  <a:pt x="58" y="214"/>
                </a:cubicBezTo>
                <a:cubicBezTo>
                  <a:pt x="59" y="214"/>
                  <a:pt x="59" y="214"/>
                  <a:pt x="59" y="214"/>
                </a:cubicBezTo>
                <a:cubicBezTo>
                  <a:pt x="59" y="215"/>
                  <a:pt x="59" y="215"/>
                  <a:pt x="59" y="215"/>
                </a:cubicBezTo>
                <a:cubicBezTo>
                  <a:pt x="60" y="217"/>
                  <a:pt x="60" y="217"/>
                  <a:pt x="60" y="217"/>
                </a:cubicBezTo>
                <a:cubicBezTo>
                  <a:pt x="61" y="218"/>
                  <a:pt x="61" y="218"/>
                  <a:pt x="61" y="218"/>
                </a:cubicBezTo>
                <a:cubicBezTo>
                  <a:pt x="62" y="219"/>
                  <a:pt x="62" y="219"/>
                  <a:pt x="62" y="219"/>
                </a:cubicBezTo>
                <a:cubicBezTo>
                  <a:pt x="63" y="220"/>
                  <a:pt x="63" y="220"/>
                  <a:pt x="63" y="220"/>
                </a:cubicBezTo>
                <a:cubicBezTo>
                  <a:pt x="64" y="220"/>
                  <a:pt x="64" y="220"/>
                  <a:pt x="64" y="220"/>
                </a:cubicBezTo>
                <a:cubicBezTo>
                  <a:pt x="65" y="220"/>
                  <a:pt x="65" y="220"/>
                  <a:pt x="65" y="220"/>
                </a:cubicBezTo>
                <a:cubicBezTo>
                  <a:pt x="65" y="219"/>
                  <a:pt x="65" y="219"/>
                  <a:pt x="65" y="219"/>
                </a:cubicBezTo>
                <a:cubicBezTo>
                  <a:pt x="65" y="219"/>
                  <a:pt x="65" y="219"/>
                  <a:pt x="65" y="219"/>
                </a:cubicBezTo>
                <a:cubicBezTo>
                  <a:pt x="65" y="219"/>
                  <a:pt x="65" y="219"/>
                  <a:pt x="65" y="219"/>
                </a:cubicBezTo>
                <a:cubicBezTo>
                  <a:pt x="64" y="219"/>
                  <a:pt x="64" y="219"/>
                  <a:pt x="64" y="219"/>
                </a:cubicBezTo>
                <a:cubicBezTo>
                  <a:pt x="63" y="219"/>
                  <a:pt x="63" y="219"/>
                  <a:pt x="63" y="219"/>
                </a:cubicBezTo>
                <a:cubicBezTo>
                  <a:pt x="62" y="217"/>
                  <a:pt x="62" y="217"/>
                  <a:pt x="62" y="217"/>
                </a:cubicBezTo>
                <a:cubicBezTo>
                  <a:pt x="62" y="217"/>
                  <a:pt x="62" y="217"/>
                  <a:pt x="62" y="217"/>
                </a:cubicBezTo>
                <a:cubicBezTo>
                  <a:pt x="62" y="217"/>
                  <a:pt x="62" y="217"/>
                  <a:pt x="62" y="217"/>
                </a:cubicBezTo>
                <a:cubicBezTo>
                  <a:pt x="63" y="218"/>
                  <a:pt x="63" y="218"/>
                  <a:pt x="63" y="218"/>
                </a:cubicBezTo>
                <a:cubicBezTo>
                  <a:pt x="64" y="218"/>
                  <a:pt x="64" y="218"/>
                  <a:pt x="64" y="218"/>
                </a:cubicBezTo>
                <a:cubicBezTo>
                  <a:pt x="64" y="217"/>
                  <a:pt x="64" y="217"/>
                  <a:pt x="64" y="217"/>
                </a:cubicBezTo>
                <a:cubicBezTo>
                  <a:pt x="65" y="217"/>
                  <a:pt x="65" y="217"/>
                  <a:pt x="65" y="217"/>
                </a:cubicBezTo>
                <a:cubicBezTo>
                  <a:pt x="65" y="217"/>
                  <a:pt x="65" y="217"/>
                  <a:pt x="65" y="217"/>
                </a:cubicBezTo>
                <a:cubicBezTo>
                  <a:pt x="63" y="216"/>
                  <a:pt x="63" y="216"/>
                  <a:pt x="63" y="216"/>
                </a:cubicBezTo>
                <a:cubicBezTo>
                  <a:pt x="62" y="214"/>
                  <a:pt x="62" y="214"/>
                  <a:pt x="62" y="214"/>
                </a:cubicBezTo>
                <a:cubicBezTo>
                  <a:pt x="62" y="214"/>
                  <a:pt x="62" y="214"/>
                  <a:pt x="62" y="214"/>
                </a:cubicBezTo>
                <a:cubicBezTo>
                  <a:pt x="62" y="213"/>
                  <a:pt x="62" y="213"/>
                  <a:pt x="62" y="213"/>
                </a:cubicBezTo>
                <a:cubicBezTo>
                  <a:pt x="62" y="213"/>
                  <a:pt x="62" y="213"/>
                  <a:pt x="62" y="213"/>
                </a:cubicBezTo>
                <a:cubicBezTo>
                  <a:pt x="63" y="214"/>
                  <a:pt x="63" y="214"/>
                  <a:pt x="63" y="214"/>
                </a:cubicBezTo>
                <a:cubicBezTo>
                  <a:pt x="64" y="214"/>
                  <a:pt x="64" y="214"/>
                  <a:pt x="64" y="214"/>
                </a:cubicBezTo>
                <a:cubicBezTo>
                  <a:pt x="63" y="213"/>
                  <a:pt x="63" y="213"/>
                  <a:pt x="63" y="213"/>
                </a:cubicBezTo>
                <a:cubicBezTo>
                  <a:pt x="62" y="212"/>
                  <a:pt x="62" y="212"/>
                  <a:pt x="62" y="212"/>
                </a:cubicBezTo>
                <a:cubicBezTo>
                  <a:pt x="61" y="211"/>
                  <a:pt x="61" y="211"/>
                  <a:pt x="61" y="211"/>
                </a:cubicBezTo>
                <a:cubicBezTo>
                  <a:pt x="61" y="211"/>
                  <a:pt x="61" y="211"/>
                  <a:pt x="61" y="211"/>
                </a:cubicBezTo>
                <a:cubicBezTo>
                  <a:pt x="61" y="210"/>
                  <a:pt x="61" y="210"/>
                  <a:pt x="61" y="210"/>
                </a:cubicBezTo>
                <a:cubicBezTo>
                  <a:pt x="62" y="211"/>
                  <a:pt x="62" y="211"/>
                  <a:pt x="62" y="211"/>
                </a:cubicBezTo>
                <a:cubicBezTo>
                  <a:pt x="64" y="211"/>
                  <a:pt x="64" y="211"/>
                  <a:pt x="64" y="211"/>
                </a:cubicBezTo>
                <a:cubicBezTo>
                  <a:pt x="65" y="211"/>
                  <a:pt x="65" y="211"/>
                  <a:pt x="65" y="211"/>
                </a:cubicBezTo>
                <a:cubicBezTo>
                  <a:pt x="65" y="210"/>
                  <a:pt x="65" y="210"/>
                  <a:pt x="65" y="210"/>
                </a:cubicBezTo>
                <a:cubicBezTo>
                  <a:pt x="64" y="209"/>
                  <a:pt x="64" y="209"/>
                  <a:pt x="64" y="209"/>
                </a:cubicBezTo>
                <a:cubicBezTo>
                  <a:pt x="64" y="209"/>
                  <a:pt x="64" y="209"/>
                  <a:pt x="64" y="209"/>
                </a:cubicBezTo>
                <a:cubicBezTo>
                  <a:pt x="63" y="210"/>
                  <a:pt x="63" y="210"/>
                  <a:pt x="63" y="210"/>
                </a:cubicBezTo>
                <a:cubicBezTo>
                  <a:pt x="62" y="210"/>
                  <a:pt x="62" y="210"/>
                  <a:pt x="62" y="210"/>
                </a:cubicBezTo>
                <a:cubicBezTo>
                  <a:pt x="61" y="210"/>
                  <a:pt x="61" y="210"/>
                  <a:pt x="61" y="210"/>
                </a:cubicBezTo>
                <a:cubicBezTo>
                  <a:pt x="61" y="209"/>
                  <a:pt x="61" y="209"/>
                  <a:pt x="61" y="209"/>
                </a:cubicBezTo>
                <a:cubicBezTo>
                  <a:pt x="61" y="208"/>
                  <a:pt x="61" y="208"/>
                  <a:pt x="61" y="208"/>
                </a:cubicBezTo>
                <a:cubicBezTo>
                  <a:pt x="63" y="208"/>
                  <a:pt x="63" y="208"/>
                  <a:pt x="63" y="208"/>
                </a:cubicBezTo>
                <a:cubicBezTo>
                  <a:pt x="63" y="208"/>
                  <a:pt x="63" y="208"/>
                  <a:pt x="63" y="208"/>
                </a:cubicBezTo>
                <a:cubicBezTo>
                  <a:pt x="64" y="208"/>
                  <a:pt x="64" y="208"/>
                  <a:pt x="64" y="208"/>
                </a:cubicBezTo>
                <a:cubicBezTo>
                  <a:pt x="64" y="208"/>
                  <a:pt x="64" y="208"/>
                  <a:pt x="64" y="208"/>
                </a:cubicBezTo>
                <a:cubicBezTo>
                  <a:pt x="64" y="207"/>
                  <a:pt x="64" y="207"/>
                  <a:pt x="64" y="207"/>
                </a:cubicBezTo>
                <a:cubicBezTo>
                  <a:pt x="63" y="206"/>
                  <a:pt x="63" y="206"/>
                  <a:pt x="63" y="206"/>
                </a:cubicBezTo>
                <a:cubicBezTo>
                  <a:pt x="63" y="206"/>
                  <a:pt x="63" y="206"/>
                  <a:pt x="63" y="206"/>
                </a:cubicBezTo>
                <a:cubicBezTo>
                  <a:pt x="62" y="207"/>
                  <a:pt x="62" y="207"/>
                  <a:pt x="62" y="207"/>
                </a:cubicBezTo>
                <a:cubicBezTo>
                  <a:pt x="62" y="207"/>
                  <a:pt x="62" y="207"/>
                  <a:pt x="62" y="207"/>
                </a:cubicBezTo>
                <a:cubicBezTo>
                  <a:pt x="61" y="207"/>
                  <a:pt x="61" y="207"/>
                  <a:pt x="61" y="207"/>
                </a:cubicBezTo>
                <a:cubicBezTo>
                  <a:pt x="60" y="209"/>
                  <a:pt x="60" y="209"/>
                  <a:pt x="60" y="209"/>
                </a:cubicBezTo>
                <a:cubicBezTo>
                  <a:pt x="59" y="209"/>
                  <a:pt x="59" y="209"/>
                  <a:pt x="59" y="209"/>
                </a:cubicBezTo>
                <a:cubicBezTo>
                  <a:pt x="59" y="208"/>
                  <a:pt x="59" y="208"/>
                  <a:pt x="59" y="208"/>
                </a:cubicBezTo>
                <a:cubicBezTo>
                  <a:pt x="60" y="208"/>
                  <a:pt x="60" y="208"/>
                  <a:pt x="60" y="208"/>
                </a:cubicBezTo>
                <a:cubicBezTo>
                  <a:pt x="60" y="207"/>
                  <a:pt x="60" y="207"/>
                  <a:pt x="60" y="207"/>
                </a:cubicBezTo>
                <a:cubicBezTo>
                  <a:pt x="61" y="206"/>
                  <a:pt x="61" y="206"/>
                  <a:pt x="61" y="206"/>
                </a:cubicBezTo>
                <a:cubicBezTo>
                  <a:pt x="61" y="206"/>
                  <a:pt x="61" y="206"/>
                  <a:pt x="61" y="206"/>
                </a:cubicBezTo>
                <a:cubicBezTo>
                  <a:pt x="62" y="206"/>
                  <a:pt x="62" y="206"/>
                  <a:pt x="62" y="206"/>
                </a:cubicBezTo>
                <a:cubicBezTo>
                  <a:pt x="63" y="205"/>
                  <a:pt x="63" y="205"/>
                  <a:pt x="63" y="205"/>
                </a:cubicBezTo>
                <a:cubicBezTo>
                  <a:pt x="64" y="205"/>
                  <a:pt x="64" y="205"/>
                  <a:pt x="64" y="205"/>
                </a:cubicBezTo>
                <a:cubicBezTo>
                  <a:pt x="64" y="204"/>
                  <a:pt x="64" y="204"/>
                  <a:pt x="64" y="204"/>
                </a:cubicBezTo>
                <a:cubicBezTo>
                  <a:pt x="64" y="204"/>
                  <a:pt x="64" y="204"/>
                  <a:pt x="64" y="204"/>
                </a:cubicBezTo>
                <a:cubicBezTo>
                  <a:pt x="62" y="204"/>
                  <a:pt x="62" y="204"/>
                  <a:pt x="62" y="204"/>
                </a:cubicBezTo>
                <a:cubicBezTo>
                  <a:pt x="61" y="205"/>
                  <a:pt x="61" y="205"/>
                  <a:pt x="61" y="205"/>
                </a:cubicBezTo>
                <a:cubicBezTo>
                  <a:pt x="61" y="205"/>
                  <a:pt x="61" y="205"/>
                  <a:pt x="61" y="205"/>
                </a:cubicBezTo>
                <a:cubicBezTo>
                  <a:pt x="60" y="205"/>
                  <a:pt x="60" y="205"/>
                  <a:pt x="60" y="205"/>
                </a:cubicBezTo>
                <a:cubicBezTo>
                  <a:pt x="59" y="205"/>
                  <a:pt x="59" y="205"/>
                  <a:pt x="59" y="205"/>
                </a:cubicBezTo>
                <a:cubicBezTo>
                  <a:pt x="58" y="205"/>
                  <a:pt x="58" y="205"/>
                  <a:pt x="58" y="205"/>
                </a:cubicBezTo>
                <a:cubicBezTo>
                  <a:pt x="58" y="204"/>
                  <a:pt x="58" y="204"/>
                  <a:pt x="58" y="204"/>
                </a:cubicBezTo>
                <a:cubicBezTo>
                  <a:pt x="59" y="203"/>
                  <a:pt x="59" y="203"/>
                  <a:pt x="59" y="203"/>
                </a:cubicBezTo>
                <a:cubicBezTo>
                  <a:pt x="60" y="203"/>
                  <a:pt x="60" y="203"/>
                  <a:pt x="60" y="203"/>
                </a:cubicBezTo>
                <a:cubicBezTo>
                  <a:pt x="61" y="203"/>
                  <a:pt x="61" y="203"/>
                  <a:pt x="61" y="203"/>
                </a:cubicBezTo>
                <a:cubicBezTo>
                  <a:pt x="63" y="202"/>
                  <a:pt x="63" y="202"/>
                  <a:pt x="63" y="202"/>
                </a:cubicBezTo>
                <a:cubicBezTo>
                  <a:pt x="65" y="201"/>
                  <a:pt x="65" y="201"/>
                  <a:pt x="65" y="201"/>
                </a:cubicBezTo>
                <a:cubicBezTo>
                  <a:pt x="65" y="201"/>
                  <a:pt x="65" y="201"/>
                  <a:pt x="65" y="201"/>
                </a:cubicBezTo>
                <a:cubicBezTo>
                  <a:pt x="64" y="201"/>
                  <a:pt x="64" y="201"/>
                  <a:pt x="64" y="201"/>
                </a:cubicBezTo>
                <a:cubicBezTo>
                  <a:pt x="64" y="201"/>
                  <a:pt x="64" y="201"/>
                  <a:pt x="64" y="201"/>
                </a:cubicBezTo>
                <a:cubicBezTo>
                  <a:pt x="63" y="201"/>
                  <a:pt x="63" y="201"/>
                  <a:pt x="63" y="201"/>
                </a:cubicBezTo>
                <a:cubicBezTo>
                  <a:pt x="62" y="202"/>
                  <a:pt x="62" y="202"/>
                  <a:pt x="62" y="202"/>
                </a:cubicBezTo>
                <a:cubicBezTo>
                  <a:pt x="61" y="201"/>
                  <a:pt x="61" y="201"/>
                  <a:pt x="61" y="201"/>
                </a:cubicBezTo>
                <a:cubicBezTo>
                  <a:pt x="61" y="201"/>
                  <a:pt x="61" y="201"/>
                  <a:pt x="61" y="201"/>
                </a:cubicBezTo>
                <a:cubicBezTo>
                  <a:pt x="60" y="200"/>
                  <a:pt x="60" y="200"/>
                  <a:pt x="60" y="200"/>
                </a:cubicBezTo>
                <a:cubicBezTo>
                  <a:pt x="59" y="200"/>
                  <a:pt x="59" y="200"/>
                  <a:pt x="59" y="200"/>
                </a:cubicBezTo>
                <a:cubicBezTo>
                  <a:pt x="59" y="200"/>
                  <a:pt x="59" y="200"/>
                  <a:pt x="59" y="200"/>
                </a:cubicBezTo>
                <a:cubicBezTo>
                  <a:pt x="59" y="200"/>
                  <a:pt x="59" y="200"/>
                  <a:pt x="59" y="200"/>
                </a:cubicBezTo>
                <a:cubicBezTo>
                  <a:pt x="60" y="199"/>
                  <a:pt x="60" y="199"/>
                  <a:pt x="60" y="199"/>
                </a:cubicBezTo>
                <a:cubicBezTo>
                  <a:pt x="60" y="198"/>
                  <a:pt x="60" y="198"/>
                  <a:pt x="60" y="198"/>
                </a:cubicBezTo>
                <a:cubicBezTo>
                  <a:pt x="61" y="197"/>
                  <a:pt x="61" y="197"/>
                  <a:pt x="61" y="197"/>
                </a:cubicBezTo>
                <a:cubicBezTo>
                  <a:pt x="61" y="197"/>
                  <a:pt x="61" y="197"/>
                  <a:pt x="61" y="197"/>
                </a:cubicBezTo>
                <a:cubicBezTo>
                  <a:pt x="61" y="196"/>
                  <a:pt x="61" y="196"/>
                  <a:pt x="61" y="196"/>
                </a:cubicBezTo>
                <a:cubicBezTo>
                  <a:pt x="61" y="196"/>
                  <a:pt x="61" y="196"/>
                  <a:pt x="61" y="196"/>
                </a:cubicBezTo>
                <a:cubicBezTo>
                  <a:pt x="60" y="197"/>
                  <a:pt x="60" y="197"/>
                  <a:pt x="60" y="197"/>
                </a:cubicBezTo>
                <a:cubicBezTo>
                  <a:pt x="59" y="198"/>
                  <a:pt x="59" y="198"/>
                  <a:pt x="59" y="198"/>
                </a:cubicBezTo>
                <a:cubicBezTo>
                  <a:pt x="59" y="199"/>
                  <a:pt x="59" y="199"/>
                  <a:pt x="59" y="199"/>
                </a:cubicBezTo>
                <a:cubicBezTo>
                  <a:pt x="58" y="199"/>
                  <a:pt x="58" y="199"/>
                  <a:pt x="58" y="199"/>
                </a:cubicBezTo>
                <a:cubicBezTo>
                  <a:pt x="58" y="200"/>
                  <a:pt x="58" y="200"/>
                  <a:pt x="58" y="200"/>
                </a:cubicBezTo>
                <a:cubicBezTo>
                  <a:pt x="57" y="200"/>
                  <a:pt x="57" y="200"/>
                  <a:pt x="57" y="200"/>
                </a:cubicBezTo>
                <a:cubicBezTo>
                  <a:pt x="57" y="199"/>
                  <a:pt x="57" y="199"/>
                  <a:pt x="57" y="199"/>
                </a:cubicBezTo>
                <a:cubicBezTo>
                  <a:pt x="57" y="197"/>
                  <a:pt x="57" y="197"/>
                  <a:pt x="57" y="197"/>
                </a:cubicBezTo>
                <a:cubicBezTo>
                  <a:pt x="58" y="196"/>
                  <a:pt x="58" y="196"/>
                  <a:pt x="58" y="196"/>
                </a:cubicBezTo>
                <a:cubicBezTo>
                  <a:pt x="57" y="194"/>
                  <a:pt x="57" y="194"/>
                  <a:pt x="57" y="194"/>
                </a:cubicBezTo>
                <a:cubicBezTo>
                  <a:pt x="57" y="193"/>
                  <a:pt x="57" y="193"/>
                  <a:pt x="57" y="193"/>
                </a:cubicBezTo>
                <a:cubicBezTo>
                  <a:pt x="57" y="192"/>
                  <a:pt x="57" y="192"/>
                  <a:pt x="57" y="192"/>
                </a:cubicBezTo>
                <a:cubicBezTo>
                  <a:pt x="57" y="191"/>
                  <a:pt x="57" y="191"/>
                  <a:pt x="57" y="191"/>
                </a:cubicBezTo>
                <a:cubicBezTo>
                  <a:pt x="57" y="191"/>
                  <a:pt x="57" y="191"/>
                  <a:pt x="57" y="191"/>
                </a:cubicBezTo>
                <a:cubicBezTo>
                  <a:pt x="57" y="192"/>
                  <a:pt x="57" y="192"/>
                  <a:pt x="57" y="192"/>
                </a:cubicBezTo>
                <a:cubicBezTo>
                  <a:pt x="56" y="194"/>
                  <a:pt x="56" y="194"/>
                  <a:pt x="56" y="194"/>
                </a:cubicBezTo>
                <a:cubicBezTo>
                  <a:pt x="57" y="195"/>
                  <a:pt x="57" y="195"/>
                  <a:pt x="57" y="195"/>
                </a:cubicBezTo>
                <a:cubicBezTo>
                  <a:pt x="57" y="196"/>
                  <a:pt x="57" y="196"/>
                  <a:pt x="57" y="196"/>
                </a:cubicBezTo>
                <a:cubicBezTo>
                  <a:pt x="57" y="197"/>
                  <a:pt x="57" y="197"/>
                  <a:pt x="57" y="197"/>
                </a:cubicBezTo>
                <a:cubicBezTo>
                  <a:pt x="57" y="199"/>
                  <a:pt x="57" y="199"/>
                  <a:pt x="57" y="199"/>
                </a:cubicBezTo>
                <a:cubicBezTo>
                  <a:pt x="56" y="200"/>
                  <a:pt x="56" y="200"/>
                  <a:pt x="56" y="200"/>
                </a:cubicBezTo>
                <a:cubicBezTo>
                  <a:pt x="56" y="200"/>
                  <a:pt x="56" y="200"/>
                  <a:pt x="56" y="200"/>
                </a:cubicBezTo>
                <a:cubicBezTo>
                  <a:pt x="55" y="199"/>
                  <a:pt x="55" y="199"/>
                  <a:pt x="55" y="199"/>
                </a:cubicBezTo>
                <a:cubicBezTo>
                  <a:pt x="55" y="198"/>
                  <a:pt x="55" y="198"/>
                  <a:pt x="55" y="198"/>
                </a:cubicBezTo>
                <a:cubicBezTo>
                  <a:pt x="54" y="200"/>
                  <a:pt x="54" y="200"/>
                  <a:pt x="54" y="200"/>
                </a:cubicBezTo>
                <a:cubicBezTo>
                  <a:pt x="54" y="201"/>
                  <a:pt x="54" y="201"/>
                  <a:pt x="54" y="201"/>
                </a:cubicBezTo>
                <a:cubicBezTo>
                  <a:pt x="54" y="200"/>
                  <a:pt x="54" y="200"/>
                  <a:pt x="54" y="200"/>
                </a:cubicBezTo>
                <a:cubicBezTo>
                  <a:pt x="53" y="200"/>
                  <a:pt x="53" y="200"/>
                  <a:pt x="53" y="200"/>
                </a:cubicBezTo>
                <a:cubicBezTo>
                  <a:pt x="54" y="201"/>
                  <a:pt x="54" y="201"/>
                  <a:pt x="54" y="201"/>
                </a:cubicBezTo>
                <a:cubicBezTo>
                  <a:pt x="54" y="202"/>
                  <a:pt x="54" y="202"/>
                  <a:pt x="54" y="202"/>
                </a:cubicBezTo>
                <a:cubicBezTo>
                  <a:pt x="54" y="203"/>
                  <a:pt x="54" y="203"/>
                  <a:pt x="54" y="203"/>
                </a:cubicBezTo>
                <a:cubicBezTo>
                  <a:pt x="53" y="203"/>
                  <a:pt x="53" y="203"/>
                  <a:pt x="53" y="203"/>
                </a:cubicBezTo>
                <a:cubicBezTo>
                  <a:pt x="52" y="204"/>
                  <a:pt x="52" y="204"/>
                  <a:pt x="52" y="204"/>
                </a:cubicBezTo>
                <a:cubicBezTo>
                  <a:pt x="52" y="203"/>
                  <a:pt x="52" y="203"/>
                  <a:pt x="52" y="203"/>
                </a:cubicBezTo>
                <a:cubicBezTo>
                  <a:pt x="51" y="204"/>
                  <a:pt x="51" y="204"/>
                  <a:pt x="51" y="204"/>
                </a:cubicBezTo>
                <a:cubicBezTo>
                  <a:pt x="50" y="204"/>
                  <a:pt x="50" y="204"/>
                  <a:pt x="50" y="204"/>
                </a:cubicBezTo>
                <a:cubicBezTo>
                  <a:pt x="49" y="204"/>
                  <a:pt x="49" y="204"/>
                  <a:pt x="49" y="204"/>
                </a:cubicBezTo>
                <a:cubicBezTo>
                  <a:pt x="48" y="204"/>
                  <a:pt x="48" y="204"/>
                  <a:pt x="48" y="204"/>
                </a:cubicBezTo>
                <a:cubicBezTo>
                  <a:pt x="48" y="203"/>
                  <a:pt x="48" y="203"/>
                  <a:pt x="48" y="203"/>
                </a:cubicBezTo>
                <a:cubicBezTo>
                  <a:pt x="48" y="202"/>
                  <a:pt x="48" y="202"/>
                  <a:pt x="48" y="202"/>
                </a:cubicBezTo>
                <a:cubicBezTo>
                  <a:pt x="48" y="202"/>
                  <a:pt x="48" y="202"/>
                  <a:pt x="48" y="202"/>
                </a:cubicBezTo>
                <a:cubicBezTo>
                  <a:pt x="47" y="202"/>
                  <a:pt x="47" y="202"/>
                  <a:pt x="47" y="202"/>
                </a:cubicBezTo>
                <a:cubicBezTo>
                  <a:pt x="47" y="203"/>
                  <a:pt x="47" y="203"/>
                  <a:pt x="47" y="203"/>
                </a:cubicBezTo>
                <a:cubicBezTo>
                  <a:pt x="46" y="203"/>
                  <a:pt x="46" y="203"/>
                  <a:pt x="46" y="203"/>
                </a:cubicBezTo>
                <a:cubicBezTo>
                  <a:pt x="46" y="201"/>
                  <a:pt x="46" y="201"/>
                  <a:pt x="46" y="201"/>
                </a:cubicBezTo>
                <a:cubicBezTo>
                  <a:pt x="46" y="200"/>
                  <a:pt x="46" y="200"/>
                  <a:pt x="46" y="200"/>
                </a:cubicBezTo>
                <a:cubicBezTo>
                  <a:pt x="46" y="200"/>
                  <a:pt x="46" y="200"/>
                  <a:pt x="46" y="200"/>
                </a:cubicBezTo>
                <a:cubicBezTo>
                  <a:pt x="46" y="199"/>
                  <a:pt x="46" y="199"/>
                  <a:pt x="46" y="199"/>
                </a:cubicBezTo>
                <a:cubicBezTo>
                  <a:pt x="46" y="199"/>
                  <a:pt x="46" y="199"/>
                  <a:pt x="46" y="199"/>
                </a:cubicBezTo>
                <a:cubicBezTo>
                  <a:pt x="47" y="198"/>
                  <a:pt x="47" y="198"/>
                  <a:pt x="47" y="198"/>
                </a:cubicBezTo>
                <a:cubicBezTo>
                  <a:pt x="48" y="198"/>
                  <a:pt x="48" y="198"/>
                  <a:pt x="48" y="198"/>
                </a:cubicBezTo>
                <a:cubicBezTo>
                  <a:pt x="48" y="198"/>
                  <a:pt x="48" y="198"/>
                  <a:pt x="48" y="198"/>
                </a:cubicBezTo>
                <a:cubicBezTo>
                  <a:pt x="49" y="197"/>
                  <a:pt x="49" y="197"/>
                  <a:pt x="49" y="197"/>
                </a:cubicBezTo>
                <a:cubicBezTo>
                  <a:pt x="49" y="197"/>
                  <a:pt x="49" y="197"/>
                  <a:pt x="49" y="197"/>
                </a:cubicBezTo>
                <a:cubicBezTo>
                  <a:pt x="51" y="197"/>
                  <a:pt x="51" y="197"/>
                  <a:pt x="51" y="197"/>
                </a:cubicBezTo>
                <a:cubicBezTo>
                  <a:pt x="52" y="197"/>
                  <a:pt x="52" y="197"/>
                  <a:pt x="52" y="197"/>
                </a:cubicBezTo>
                <a:cubicBezTo>
                  <a:pt x="53" y="195"/>
                  <a:pt x="53" y="195"/>
                  <a:pt x="53" y="195"/>
                </a:cubicBezTo>
                <a:cubicBezTo>
                  <a:pt x="54" y="194"/>
                  <a:pt x="54" y="194"/>
                  <a:pt x="54" y="194"/>
                </a:cubicBezTo>
                <a:cubicBezTo>
                  <a:pt x="54" y="193"/>
                  <a:pt x="54" y="193"/>
                  <a:pt x="54" y="193"/>
                </a:cubicBezTo>
                <a:cubicBezTo>
                  <a:pt x="54" y="193"/>
                  <a:pt x="54" y="193"/>
                  <a:pt x="54" y="193"/>
                </a:cubicBezTo>
                <a:cubicBezTo>
                  <a:pt x="53" y="193"/>
                  <a:pt x="53" y="193"/>
                  <a:pt x="53" y="193"/>
                </a:cubicBezTo>
                <a:cubicBezTo>
                  <a:pt x="53" y="194"/>
                  <a:pt x="53" y="194"/>
                  <a:pt x="53" y="194"/>
                </a:cubicBezTo>
                <a:cubicBezTo>
                  <a:pt x="52" y="196"/>
                  <a:pt x="52" y="196"/>
                  <a:pt x="52" y="196"/>
                </a:cubicBezTo>
                <a:cubicBezTo>
                  <a:pt x="50" y="196"/>
                  <a:pt x="50" y="196"/>
                  <a:pt x="50" y="196"/>
                </a:cubicBezTo>
                <a:cubicBezTo>
                  <a:pt x="49" y="196"/>
                  <a:pt x="49" y="196"/>
                  <a:pt x="49" y="196"/>
                </a:cubicBezTo>
                <a:cubicBezTo>
                  <a:pt x="48" y="195"/>
                  <a:pt x="48" y="195"/>
                  <a:pt x="48" y="195"/>
                </a:cubicBezTo>
                <a:cubicBezTo>
                  <a:pt x="48" y="194"/>
                  <a:pt x="48" y="194"/>
                  <a:pt x="48" y="194"/>
                </a:cubicBezTo>
                <a:cubicBezTo>
                  <a:pt x="49" y="194"/>
                  <a:pt x="49" y="194"/>
                  <a:pt x="49" y="194"/>
                </a:cubicBezTo>
                <a:cubicBezTo>
                  <a:pt x="50" y="192"/>
                  <a:pt x="50" y="192"/>
                  <a:pt x="50" y="192"/>
                </a:cubicBezTo>
                <a:cubicBezTo>
                  <a:pt x="51" y="192"/>
                  <a:pt x="51" y="192"/>
                  <a:pt x="51" y="192"/>
                </a:cubicBezTo>
                <a:cubicBezTo>
                  <a:pt x="51" y="192"/>
                  <a:pt x="51" y="192"/>
                  <a:pt x="51" y="192"/>
                </a:cubicBezTo>
                <a:cubicBezTo>
                  <a:pt x="51" y="191"/>
                  <a:pt x="51" y="191"/>
                  <a:pt x="51" y="191"/>
                </a:cubicBezTo>
                <a:cubicBezTo>
                  <a:pt x="52" y="191"/>
                  <a:pt x="52" y="191"/>
                  <a:pt x="52" y="191"/>
                </a:cubicBezTo>
                <a:cubicBezTo>
                  <a:pt x="52" y="191"/>
                  <a:pt x="52" y="191"/>
                  <a:pt x="52" y="191"/>
                </a:cubicBezTo>
                <a:cubicBezTo>
                  <a:pt x="53" y="190"/>
                  <a:pt x="53" y="190"/>
                  <a:pt x="53" y="190"/>
                </a:cubicBezTo>
                <a:cubicBezTo>
                  <a:pt x="52" y="190"/>
                  <a:pt x="52" y="190"/>
                  <a:pt x="52" y="190"/>
                </a:cubicBezTo>
                <a:cubicBezTo>
                  <a:pt x="52" y="189"/>
                  <a:pt x="52" y="189"/>
                  <a:pt x="52" y="189"/>
                </a:cubicBezTo>
                <a:cubicBezTo>
                  <a:pt x="52" y="189"/>
                  <a:pt x="52" y="189"/>
                  <a:pt x="52" y="189"/>
                </a:cubicBezTo>
                <a:cubicBezTo>
                  <a:pt x="52" y="189"/>
                  <a:pt x="52" y="189"/>
                  <a:pt x="52" y="189"/>
                </a:cubicBezTo>
                <a:cubicBezTo>
                  <a:pt x="51" y="190"/>
                  <a:pt x="51" y="190"/>
                  <a:pt x="51" y="190"/>
                </a:cubicBezTo>
                <a:cubicBezTo>
                  <a:pt x="50" y="190"/>
                  <a:pt x="50" y="190"/>
                  <a:pt x="50" y="190"/>
                </a:cubicBezTo>
                <a:cubicBezTo>
                  <a:pt x="49" y="190"/>
                  <a:pt x="49" y="190"/>
                  <a:pt x="49" y="190"/>
                </a:cubicBezTo>
                <a:cubicBezTo>
                  <a:pt x="49" y="189"/>
                  <a:pt x="49" y="189"/>
                  <a:pt x="49" y="189"/>
                </a:cubicBezTo>
                <a:cubicBezTo>
                  <a:pt x="49" y="188"/>
                  <a:pt x="49" y="188"/>
                  <a:pt x="49" y="188"/>
                </a:cubicBezTo>
                <a:cubicBezTo>
                  <a:pt x="50" y="188"/>
                  <a:pt x="50" y="188"/>
                  <a:pt x="50" y="188"/>
                </a:cubicBezTo>
                <a:cubicBezTo>
                  <a:pt x="51" y="188"/>
                  <a:pt x="51" y="188"/>
                  <a:pt x="51" y="188"/>
                </a:cubicBezTo>
                <a:cubicBezTo>
                  <a:pt x="52" y="188"/>
                  <a:pt x="52" y="188"/>
                  <a:pt x="52" y="188"/>
                </a:cubicBezTo>
                <a:cubicBezTo>
                  <a:pt x="52" y="188"/>
                  <a:pt x="52" y="188"/>
                  <a:pt x="52" y="188"/>
                </a:cubicBezTo>
                <a:cubicBezTo>
                  <a:pt x="54" y="188"/>
                  <a:pt x="54" y="188"/>
                  <a:pt x="54" y="188"/>
                </a:cubicBezTo>
                <a:cubicBezTo>
                  <a:pt x="54" y="186"/>
                  <a:pt x="54" y="186"/>
                  <a:pt x="54" y="186"/>
                </a:cubicBezTo>
                <a:cubicBezTo>
                  <a:pt x="54" y="185"/>
                  <a:pt x="54" y="185"/>
                  <a:pt x="54" y="185"/>
                </a:cubicBezTo>
                <a:cubicBezTo>
                  <a:pt x="54" y="185"/>
                  <a:pt x="54" y="185"/>
                  <a:pt x="54" y="185"/>
                </a:cubicBezTo>
                <a:cubicBezTo>
                  <a:pt x="55" y="183"/>
                  <a:pt x="55" y="183"/>
                  <a:pt x="55" y="183"/>
                </a:cubicBezTo>
                <a:cubicBezTo>
                  <a:pt x="55" y="182"/>
                  <a:pt x="55" y="182"/>
                  <a:pt x="55" y="182"/>
                </a:cubicBezTo>
                <a:cubicBezTo>
                  <a:pt x="55" y="181"/>
                  <a:pt x="55" y="181"/>
                  <a:pt x="55" y="181"/>
                </a:cubicBezTo>
                <a:cubicBezTo>
                  <a:pt x="55" y="180"/>
                  <a:pt x="55" y="180"/>
                  <a:pt x="55" y="180"/>
                </a:cubicBezTo>
                <a:cubicBezTo>
                  <a:pt x="54" y="180"/>
                  <a:pt x="54" y="180"/>
                  <a:pt x="54" y="180"/>
                </a:cubicBezTo>
                <a:cubicBezTo>
                  <a:pt x="54" y="180"/>
                  <a:pt x="54" y="180"/>
                  <a:pt x="54" y="180"/>
                </a:cubicBezTo>
                <a:cubicBezTo>
                  <a:pt x="53" y="179"/>
                  <a:pt x="53" y="179"/>
                  <a:pt x="53" y="179"/>
                </a:cubicBezTo>
                <a:cubicBezTo>
                  <a:pt x="52" y="179"/>
                  <a:pt x="52" y="179"/>
                  <a:pt x="52" y="179"/>
                </a:cubicBezTo>
                <a:cubicBezTo>
                  <a:pt x="51" y="179"/>
                  <a:pt x="51" y="179"/>
                  <a:pt x="51" y="179"/>
                </a:cubicBezTo>
                <a:cubicBezTo>
                  <a:pt x="51" y="178"/>
                  <a:pt x="51" y="178"/>
                  <a:pt x="51" y="178"/>
                </a:cubicBezTo>
                <a:cubicBezTo>
                  <a:pt x="52" y="178"/>
                  <a:pt x="52" y="178"/>
                  <a:pt x="52" y="178"/>
                </a:cubicBezTo>
                <a:cubicBezTo>
                  <a:pt x="53" y="178"/>
                  <a:pt x="53" y="178"/>
                  <a:pt x="53" y="178"/>
                </a:cubicBezTo>
                <a:cubicBezTo>
                  <a:pt x="53" y="178"/>
                  <a:pt x="53" y="178"/>
                  <a:pt x="53" y="178"/>
                </a:cubicBezTo>
                <a:cubicBezTo>
                  <a:pt x="54" y="177"/>
                  <a:pt x="54" y="177"/>
                  <a:pt x="54" y="177"/>
                </a:cubicBezTo>
                <a:cubicBezTo>
                  <a:pt x="54" y="176"/>
                  <a:pt x="54" y="176"/>
                  <a:pt x="54" y="176"/>
                </a:cubicBezTo>
                <a:cubicBezTo>
                  <a:pt x="55" y="176"/>
                  <a:pt x="55" y="176"/>
                  <a:pt x="55" y="176"/>
                </a:cubicBezTo>
                <a:cubicBezTo>
                  <a:pt x="55" y="175"/>
                  <a:pt x="55" y="175"/>
                  <a:pt x="55" y="175"/>
                </a:cubicBezTo>
                <a:cubicBezTo>
                  <a:pt x="54" y="174"/>
                  <a:pt x="54" y="174"/>
                  <a:pt x="54" y="174"/>
                </a:cubicBezTo>
                <a:cubicBezTo>
                  <a:pt x="53" y="174"/>
                  <a:pt x="53" y="174"/>
                  <a:pt x="53" y="174"/>
                </a:cubicBezTo>
                <a:cubicBezTo>
                  <a:pt x="53" y="174"/>
                  <a:pt x="53" y="174"/>
                  <a:pt x="53" y="174"/>
                </a:cubicBezTo>
                <a:cubicBezTo>
                  <a:pt x="53" y="173"/>
                  <a:pt x="53" y="173"/>
                  <a:pt x="53" y="173"/>
                </a:cubicBezTo>
                <a:cubicBezTo>
                  <a:pt x="54" y="172"/>
                  <a:pt x="54" y="172"/>
                  <a:pt x="54" y="172"/>
                </a:cubicBezTo>
                <a:cubicBezTo>
                  <a:pt x="54" y="173"/>
                  <a:pt x="54" y="173"/>
                  <a:pt x="54" y="173"/>
                </a:cubicBezTo>
                <a:cubicBezTo>
                  <a:pt x="54" y="172"/>
                  <a:pt x="54" y="172"/>
                  <a:pt x="54" y="172"/>
                </a:cubicBezTo>
                <a:cubicBezTo>
                  <a:pt x="53" y="171"/>
                  <a:pt x="53" y="171"/>
                  <a:pt x="53" y="171"/>
                </a:cubicBezTo>
                <a:cubicBezTo>
                  <a:pt x="53" y="170"/>
                  <a:pt x="53" y="170"/>
                  <a:pt x="53" y="170"/>
                </a:cubicBezTo>
                <a:cubicBezTo>
                  <a:pt x="53" y="169"/>
                  <a:pt x="53" y="169"/>
                  <a:pt x="53" y="169"/>
                </a:cubicBezTo>
                <a:cubicBezTo>
                  <a:pt x="54" y="170"/>
                  <a:pt x="54" y="170"/>
                  <a:pt x="54" y="170"/>
                </a:cubicBezTo>
                <a:cubicBezTo>
                  <a:pt x="54" y="170"/>
                  <a:pt x="54" y="170"/>
                  <a:pt x="54" y="170"/>
                </a:cubicBezTo>
                <a:cubicBezTo>
                  <a:pt x="54" y="169"/>
                  <a:pt x="54" y="169"/>
                  <a:pt x="54" y="169"/>
                </a:cubicBezTo>
                <a:cubicBezTo>
                  <a:pt x="54" y="168"/>
                  <a:pt x="54" y="168"/>
                  <a:pt x="54" y="168"/>
                </a:cubicBezTo>
                <a:cubicBezTo>
                  <a:pt x="54" y="167"/>
                  <a:pt x="54" y="167"/>
                  <a:pt x="54" y="167"/>
                </a:cubicBezTo>
                <a:cubicBezTo>
                  <a:pt x="54" y="166"/>
                  <a:pt x="54" y="166"/>
                  <a:pt x="54" y="166"/>
                </a:cubicBezTo>
                <a:cubicBezTo>
                  <a:pt x="53" y="165"/>
                  <a:pt x="53" y="165"/>
                  <a:pt x="53" y="165"/>
                </a:cubicBezTo>
                <a:cubicBezTo>
                  <a:pt x="53" y="165"/>
                  <a:pt x="53" y="165"/>
                  <a:pt x="53" y="165"/>
                </a:cubicBezTo>
                <a:cubicBezTo>
                  <a:pt x="53" y="164"/>
                  <a:pt x="53" y="164"/>
                  <a:pt x="53" y="164"/>
                </a:cubicBezTo>
                <a:cubicBezTo>
                  <a:pt x="54" y="163"/>
                  <a:pt x="54" y="163"/>
                  <a:pt x="54" y="163"/>
                </a:cubicBezTo>
                <a:cubicBezTo>
                  <a:pt x="54" y="162"/>
                  <a:pt x="54" y="162"/>
                  <a:pt x="54" y="162"/>
                </a:cubicBezTo>
                <a:cubicBezTo>
                  <a:pt x="53" y="162"/>
                  <a:pt x="53" y="162"/>
                  <a:pt x="53" y="162"/>
                </a:cubicBezTo>
                <a:cubicBezTo>
                  <a:pt x="53" y="162"/>
                  <a:pt x="53" y="162"/>
                  <a:pt x="53" y="162"/>
                </a:cubicBezTo>
                <a:cubicBezTo>
                  <a:pt x="52" y="163"/>
                  <a:pt x="52" y="163"/>
                  <a:pt x="52" y="163"/>
                </a:cubicBezTo>
                <a:cubicBezTo>
                  <a:pt x="51" y="163"/>
                  <a:pt x="51" y="163"/>
                  <a:pt x="51" y="163"/>
                </a:cubicBezTo>
                <a:cubicBezTo>
                  <a:pt x="51" y="163"/>
                  <a:pt x="51" y="163"/>
                  <a:pt x="51" y="163"/>
                </a:cubicBezTo>
                <a:cubicBezTo>
                  <a:pt x="50" y="164"/>
                  <a:pt x="50" y="164"/>
                  <a:pt x="50" y="164"/>
                </a:cubicBezTo>
                <a:cubicBezTo>
                  <a:pt x="49" y="163"/>
                  <a:pt x="49" y="163"/>
                  <a:pt x="49" y="163"/>
                </a:cubicBezTo>
                <a:cubicBezTo>
                  <a:pt x="50" y="163"/>
                  <a:pt x="50" y="163"/>
                  <a:pt x="50" y="163"/>
                </a:cubicBezTo>
                <a:cubicBezTo>
                  <a:pt x="51" y="162"/>
                  <a:pt x="51" y="162"/>
                  <a:pt x="51" y="162"/>
                </a:cubicBezTo>
                <a:cubicBezTo>
                  <a:pt x="52" y="162"/>
                  <a:pt x="52" y="162"/>
                  <a:pt x="52" y="162"/>
                </a:cubicBezTo>
                <a:cubicBezTo>
                  <a:pt x="52" y="161"/>
                  <a:pt x="52" y="161"/>
                  <a:pt x="52" y="161"/>
                </a:cubicBezTo>
                <a:cubicBezTo>
                  <a:pt x="53" y="160"/>
                  <a:pt x="53" y="160"/>
                  <a:pt x="53" y="160"/>
                </a:cubicBezTo>
                <a:cubicBezTo>
                  <a:pt x="53" y="159"/>
                  <a:pt x="53" y="159"/>
                  <a:pt x="53" y="159"/>
                </a:cubicBezTo>
                <a:cubicBezTo>
                  <a:pt x="54" y="159"/>
                  <a:pt x="54" y="159"/>
                  <a:pt x="54" y="159"/>
                </a:cubicBezTo>
                <a:cubicBezTo>
                  <a:pt x="55" y="158"/>
                  <a:pt x="55" y="158"/>
                  <a:pt x="55" y="158"/>
                </a:cubicBezTo>
                <a:cubicBezTo>
                  <a:pt x="55" y="157"/>
                  <a:pt x="55" y="157"/>
                  <a:pt x="55" y="157"/>
                </a:cubicBezTo>
                <a:cubicBezTo>
                  <a:pt x="54" y="157"/>
                  <a:pt x="54" y="157"/>
                  <a:pt x="54" y="157"/>
                </a:cubicBezTo>
                <a:cubicBezTo>
                  <a:pt x="53" y="156"/>
                  <a:pt x="53" y="156"/>
                  <a:pt x="53" y="156"/>
                </a:cubicBezTo>
                <a:cubicBezTo>
                  <a:pt x="53" y="155"/>
                  <a:pt x="53" y="155"/>
                  <a:pt x="53" y="155"/>
                </a:cubicBezTo>
                <a:cubicBezTo>
                  <a:pt x="53" y="154"/>
                  <a:pt x="53" y="154"/>
                  <a:pt x="53" y="154"/>
                </a:cubicBezTo>
                <a:cubicBezTo>
                  <a:pt x="52" y="154"/>
                  <a:pt x="52" y="154"/>
                  <a:pt x="52" y="154"/>
                </a:cubicBezTo>
                <a:cubicBezTo>
                  <a:pt x="52" y="153"/>
                  <a:pt x="52" y="153"/>
                  <a:pt x="52" y="153"/>
                </a:cubicBezTo>
                <a:cubicBezTo>
                  <a:pt x="52" y="153"/>
                  <a:pt x="52" y="153"/>
                  <a:pt x="52" y="153"/>
                </a:cubicBezTo>
                <a:cubicBezTo>
                  <a:pt x="52" y="152"/>
                  <a:pt x="52" y="152"/>
                  <a:pt x="52" y="152"/>
                </a:cubicBezTo>
                <a:cubicBezTo>
                  <a:pt x="52" y="152"/>
                  <a:pt x="52" y="152"/>
                  <a:pt x="52" y="152"/>
                </a:cubicBezTo>
                <a:cubicBezTo>
                  <a:pt x="52" y="150"/>
                  <a:pt x="52" y="150"/>
                  <a:pt x="52" y="150"/>
                </a:cubicBezTo>
                <a:cubicBezTo>
                  <a:pt x="51" y="149"/>
                  <a:pt x="51" y="149"/>
                  <a:pt x="51" y="149"/>
                </a:cubicBezTo>
                <a:cubicBezTo>
                  <a:pt x="49" y="148"/>
                  <a:pt x="49" y="148"/>
                  <a:pt x="49" y="148"/>
                </a:cubicBezTo>
                <a:cubicBezTo>
                  <a:pt x="49" y="147"/>
                  <a:pt x="49" y="147"/>
                  <a:pt x="49" y="147"/>
                </a:cubicBezTo>
                <a:cubicBezTo>
                  <a:pt x="49" y="146"/>
                  <a:pt x="49" y="146"/>
                  <a:pt x="49" y="146"/>
                </a:cubicBezTo>
                <a:cubicBezTo>
                  <a:pt x="48" y="146"/>
                  <a:pt x="48" y="146"/>
                  <a:pt x="48" y="146"/>
                </a:cubicBezTo>
                <a:cubicBezTo>
                  <a:pt x="48" y="145"/>
                  <a:pt x="48" y="145"/>
                  <a:pt x="48" y="145"/>
                </a:cubicBezTo>
                <a:cubicBezTo>
                  <a:pt x="49" y="145"/>
                  <a:pt x="49" y="145"/>
                  <a:pt x="49" y="145"/>
                </a:cubicBezTo>
                <a:cubicBezTo>
                  <a:pt x="50" y="144"/>
                  <a:pt x="50" y="144"/>
                  <a:pt x="50" y="144"/>
                </a:cubicBezTo>
                <a:cubicBezTo>
                  <a:pt x="51" y="144"/>
                  <a:pt x="51" y="144"/>
                  <a:pt x="51" y="144"/>
                </a:cubicBezTo>
                <a:cubicBezTo>
                  <a:pt x="51" y="143"/>
                  <a:pt x="51" y="143"/>
                  <a:pt x="51" y="143"/>
                </a:cubicBezTo>
                <a:cubicBezTo>
                  <a:pt x="51" y="143"/>
                  <a:pt x="51" y="143"/>
                  <a:pt x="51" y="143"/>
                </a:cubicBezTo>
                <a:cubicBezTo>
                  <a:pt x="50" y="143"/>
                  <a:pt x="50" y="143"/>
                  <a:pt x="50" y="143"/>
                </a:cubicBezTo>
                <a:cubicBezTo>
                  <a:pt x="50" y="142"/>
                  <a:pt x="50" y="142"/>
                  <a:pt x="50" y="142"/>
                </a:cubicBezTo>
                <a:cubicBezTo>
                  <a:pt x="50" y="142"/>
                  <a:pt x="50" y="142"/>
                  <a:pt x="50" y="142"/>
                </a:cubicBezTo>
                <a:cubicBezTo>
                  <a:pt x="51" y="141"/>
                  <a:pt x="51" y="141"/>
                  <a:pt x="51" y="141"/>
                </a:cubicBezTo>
                <a:cubicBezTo>
                  <a:pt x="52" y="140"/>
                  <a:pt x="52" y="140"/>
                  <a:pt x="52" y="140"/>
                </a:cubicBezTo>
                <a:cubicBezTo>
                  <a:pt x="52" y="139"/>
                  <a:pt x="52" y="139"/>
                  <a:pt x="52" y="139"/>
                </a:cubicBezTo>
                <a:cubicBezTo>
                  <a:pt x="51" y="139"/>
                  <a:pt x="51" y="139"/>
                  <a:pt x="51" y="139"/>
                </a:cubicBezTo>
                <a:cubicBezTo>
                  <a:pt x="52" y="138"/>
                  <a:pt x="52" y="138"/>
                  <a:pt x="52" y="138"/>
                </a:cubicBezTo>
                <a:cubicBezTo>
                  <a:pt x="51" y="138"/>
                  <a:pt x="51" y="138"/>
                  <a:pt x="51" y="138"/>
                </a:cubicBezTo>
                <a:cubicBezTo>
                  <a:pt x="51" y="138"/>
                  <a:pt x="51" y="138"/>
                  <a:pt x="51" y="138"/>
                </a:cubicBezTo>
                <a:cubicBezTo>
                  <a:pt x="50" y="136"/>
                  <a:pt x="50" y="136"/>
                  <a:pt x="50" y="136"/>
                </a:cubicBezTo>
                <a:cubicBezTo>
                  <a:pt x="48" y="135"/>
                  <a:pt x="48" y="135"/>
                  <a:pt x="48" y="135"/>
                </a:cubicBezTo>
                <a:cubicBezTo>
                  <a:pt x="48" y="134"/>
                  <a:pt x="48" y="134"/>
                  <a:pt x="48" y="134"/>
                </a:cubicBezTo>
                <a:cubicBezTo>
                  <a:pt x="47" y="134"/>
                  <a:pt x="47" y="134"/>
                  <a:pt x="47" y="134"/>
                </a:cubicBezTo>
                <a:cubicBezTo>
                  <a:pt x="47" y="134"/>
                  <a:pt x="47" y="134"/>
                  <a:pt x="47" y="134"/>
                </a:cubicBezTo>
                <a:cubicBezTo>
                  <a:pt x="47" y="135"/>
                  <a:pt x="47" y="135"/>
                  <a:pt x="47" y="135"/>
                </a:cubicBezTo>
                <a:cubicBezTo>
                  <a:pt x="46" y="135"/>
                  <a:pt x="46" y="135"/>
                  <a:pt x="46" y="135"/>
                </a:cubicBezTo>
                <a:cubicBezTo>
                  <a:pt x="46" y="134"/>
                  <a:pt x="46" y="134"/>
                  <a:pt x="46" y="134"/>
                </a:cubicBezTo>
                <a:cubicBezTo>
                  <a:pt x="46" y="133"/>
                  <a:pt x="46" y="133"/>
                  <a:pt x="46" y="133"/>
                </a:cubicBezTo>
                <a:cubicBezTo>
                  <a:pt x="45" y="133"/>
                  <a:pt x="45" y="133"/>
                  <a:pt x="45" y="133"/>
                </a:cubicBezTo>
                <a:cubicBezTo>
                  <a:pt x="44" y="132"/>
                  <a:pt x="44" y="132"/>
                  <a:pt x="44" y="132"/>
                </a:cubicBezTo>
                <a:cubicBezTo>
                  <a:pt x="43" y="132"/>
                  <a:pt x="43" y="132"/>
                  <a:pt x="43" y="132"/>
                </a:cubicBezTo>
                <a:cubicBezTo>
                  <a:pt x="43" y="131"/>
                  <a:pt x="43" y="131"/>
                  <a:pt x="43" y="131"/>
                </a:cubicBezTo>
                <a:cubicBezTo>
                  <a:pt x="43" y="132"/>
                  <a:pt x="43" y="132"/>
                  <a:pt x="43" y="132"/>
                </a:cubicBezTo>
                <a:cubicBezTo>
                  <a:pt x="42" y="132"/>
                  <a:pt x="42" y="132"/>
                  <a:pt x="42" y="132"/>
                </a:cubicBezTo>
                <a:cubicBezTo>
                  <a:pt x="42" y="131"/>
                  <a:pt x="42" y="131"/>
                  <a:pt x="42" y="131"/>
                </a:cubicBezTo>
                <a:cubicBezTo>
                  <a:pt x="42" y="130"/>
                  <a:pt x="42" y="130"/>
                  <a:pt x="42" y="130"/>
                </a:cubicBezTo>
                <a:cubicBezTo>
                  <a:pt x="41" y="129"/>
                  <a:pt x="41" y="129"/>
                  <a:pt x="41" y="129"/>
                </a:cubicBezTo>
                <a:cubicBezTo>
                  <a:pt x="40" y="128"/>
                  <a:pt x="40" y="128"/>
                  <a:pt x="40" y="128"/>
                </a:cubicBezTo>
                <a:cubicBezTo>
                  <a:pt x="39" y="128"/>
                  <a:pt x="39" y="128"/>
                  <a:pt x="39" y="128"/>
                </a:cubicBezTo>
                <a:cubicBezTo>
                  <a:pt x="39" y="129"/>
                  <a:pt x="39" y="129"/>
                  <a:pt x="39" y="129"/>
                </a:cubicBezTo>
                <a:cubicBezTo>
                  <a:pt x="38" y="128"/>
                  <a:pt x="38" y="128"/>
                  <a:pt x="38" y="128"/>
                </a:cubicBezTo>
                <a:cubicBezTo>
                  <a:pt x="36" y="127"/>
                  <a:pt x="36" y="127"/>
                  <a:pt x="36" y="127"/>
                </a:cubicBezTo>
                <a:cubicBezTo>
                  <a:pt x="35" y="126"/>
                  <a:pt x="35" y="126"/>
                  <a:pt x="35" y="126"/>
                </a:cubicBezTo>
                <a:cubicBezTo>
                  <a:pt x="34" y="125"/>
                  <a:pt x="34" y="125"/>
                  <a:pt x="34" y="125"/>
                </a:cubicBezTo>
                <a:cubicBezTo>
                  <a:pt x="33" y="125"/>
                  <a:pt x="33" y="125"/>
                  <a:pt x="33" y="125"/>
                </a:cubicBezTo>
                <a:cubicBezTo>
                  <a:pt x="31" y="125"/>
                  <a:pt x="31" y="125"/>
                  <a:pt x="31" y="125"/>
                </a:cubicBezTo>
                <a:cubicBezTo>
                  <a:pt x="30" y="126"/>
                  <a:pt x="30" y="126"/>
                  <a:pt x="30" y="126"/>
                </a:cubicBezTo>
                <a:cubicBezTo>
                  <a:pt x="30" y="127"/>
                  <a:pt x="30" y="127"/>
                  <a:pt x="30" y="127"/>
                </a:cubicBezTo>
                <a:cubicBezTo>
                  <a:pt x="29" y="128"/>
                  <a:pt x="29" y="128"/>
                  <a:pt x="29" y="128"/>
                </a:cubicBezTo>
                <a:cubicBezTo>
                  <a:pt x="28" y="129"/>
                  <a:pt x="28" y="129"/>
                  <a:pt x="28" y="129"/>
                </a:cubicBezTo>
                <a:cubicBezTo>
                  <a:pt x="28" y="128"/>
                  <a:pt x="28" y="128"/>
                  <a:pt x="28" y="128"/>
                </a:cubicBezTo>
                <a:cubicBezTo>
                  <a:pt x="29" y="127"/>
                  <a:pt x="29" y="127"/>
                  <a:pt x="29" y="127"/>
                </a:cubicBezTo>
                <a:cubicBezTo>
                  <a:pt x="29" y="125"/>
                  <a:pt x="29" y="125"/>
                  <a:pt x="29" y="125"/>
                </a:cubicBezTo>
                <a:cubicBezTo>
                  <a:pt x="28" y="125"/>
                  <a:pt x="28" y="125"/>
                  <a:pt x="28" y="125"/>
                </a:cubicBezTo>
                <a:cubicBezTo>
                  <a:pt x="27" y="125"/>
                  <a:pt x="27" y="125"/>
                  <a:pt x="27" y="125"/>
                </a:cubicBezTo>
                <a:cubicBezTo>
                  <a:pt x="26" y="126"/>
                  <a:pt x="26" y="126"/>
                  <a:pt x="26" y="126"/>
                </a:cubicBezTo>
                <a:cubicBezTo>
                  <a:pt x="26" y="127"/>
                  <a:pt x="26" y="127"/>
                  <a:pt x="26" y="127"/>
                </a:cubicBezTo>
                <a:cubicBezTo>
                  <a:pt x="25" y="127"/>
                  <a:pt x="25" y="127"/>
                  <a:pt x="25" y="127"/>
                </a:cubicBezTo>
                <a:cubicBezTo>
                  <a:pt x="25" y="127"/>
                  <a:pt x="25" y="127"/>
                  <a:pt x="25" y="127"/>
                </a:cubicBezTo>
                <a:cubicBezTo>
                  <a:pt x="24" y="125"/>
                  <a:pt x="24" y="125"/>
                  <a:pt x="24" y="125"/>
                </a:cubicBezTo>
                <a:cubicBezTo>
                  <a:pt x="23" y="125"/>
                  <a:pt x="23" y="125"/>
                  <a:pt x="23" y="125"/>
                </a:cubicBezTo>
                <a:cubicBezTo>
                  <a:pt x="23" y="126"/>
                  <a:pt x="23" y="126"/>
                  <a:pt x="23" y="126"/>
                </a:cubicBezTo>
                <a:cubicBezTo>
                  <a:pt x="23" y="128"/>
                  <a:pt x="23" y="128"/>
                  <a:pt x="23" y="128"/>
                </a:cubicBezTo>
                <a:cubicBezTo>
                  <a:pt x="22" y="128"/>
                  <a:pt x="22" y="128"/>
                  <a:pt x="22" y="128"/>
                </a:cubicBezTo>
                <a:cubicBezTo>
                  <a:pt x="21" y="128"/>
                  <a:pt x="21" y="128"/>
                  <a:pt x="21" y="128"/>
                </a:cubicBezTo>
                <a:cubicBezTo>
                  <a:pt x="21" y="127"/>
                  <a:pt x="21" y="127"/>
                  <a:pt x="21" y="127"/>
                </a:cubicBezTo>
                <a:cubicBezTo>
                  <a:pt x="22" y="125"/>
                  <a:pt x="22" y="125"/>
                  <a:pt x="22" y="125"/>
                </a:cubicBezTo>
                <a:cubicBezTo>
                  <a:pt x="23" y="125"/>
                  <a:pt x="23" y="125"/>
                  <a:pt x="23" y="125"/>
                </a:cubicBezTo>
                <a:cubicBezTo>
                  <a:pt x="22" y="124"/>
                  <a:pt x="22" y="124"/>
                  <a:pt x="22" y="124"/>
                </a:cubicBezTo>
                <a:cubicBezTo>
                  <a:pt x="22" y="124"/>
                  <a:pt x="22" y="124"/>
                  <a:pt x="22" y="124"/>
                </a:cubicBezTo>
                <a:cubicBezTo>
                  <a:pt x="21" y="124"/>
                  <a:pt x="21" y="124"/>
                  <a:pt x="21" y="124"/>
                </a:cubicBezTo>
                <a:cubicBezTo>
                  <a:pt x="20" y="125"/>
                  <a:pt x="20" y="125"/>
                  <a:pt x="20" y="125"/>
                </a:cubicBezTo>
                <a:cubicBezTo>
                  <a:pt x="19" y="125"/>
                  <a:pt x="19" y="125"/>
                  <a:pt x="19" y="125"/>
                </a:cubicBezTo>
                <a:cubicBezTo>
                  <a:pt x="19" y="125"/>
                  <a:pt x="19" y="125"/>
                  <a:pt x="19" y="125"/>
                </a:cubicBezTo>
                <a:cubicBezTo>
                  <a:pt x="19" y="126"/>
                  <a:pt x="19" y="126"/>
                  <a:pt x="19" y="126"/>
                </a:cubicBezTo>
                <a:cubicBezTo>
                  <a:pt x="18" y="125"/>
                  <a:pt x="18" y="125"/>
                  <a:pt x="18" y="125"/>
                </a:cubicBezTo>
                <a:cubicBezTo>
                  <a:pt x="18" y="124"/>
                  <a:pt x="18" y="124"/>
                  <a:pt x="18" y="124"/>
                </a:cubicBezTo>
                <a:cubicBezTo>
                  <a:pt x="18" y="123"/>
                  <a:pt x="18" y="123"/>
                  <a:pt x="18" y="123"/>
                </a:cubicBezTo>
                <a:cubicBezTo>
                  <a:pt x="18" y="122"/>
                  <a:pt x="18" y="122"/>
                  <a:pt x="18" y="122"/>
                </a:cubicBezTo>
                <a:cubicBezTo>
                  <a:pt x="17" y="122"/>
                  <a:pt x="17" y="122"/>
                  <a:pt x="17" y="122"/>
                </a:cubicBezTo>
                <a:cubicBezTo>
                  <a:pt x="17" y="122"/>
                  <a:pt x="17" y="122"/>
                  <a:pt x="17" y="122"/>
                </a:cubicBezTo>
                <a:cubicBezTo>
                  <a:pt x="16" y="123"/>
                  <a:pt x="16" y="123"/>
                  <a:pt x="16" y="123"/>
                </a:cubicBezTo>
                <a:cubicBezTo>
                  <a:pt x="16" y="124"/>
                  <a:pt x="16" y="124"/>
                  <a:pt x="16" y="124"/>
                </a:cubicBezTo>
                <a:cubicBezTo>
                  <a:pt x="16" y="125"/>
                  <a:pt x="16" y="125"/>
                  <a:pt x="16" y="125"/>
                </a:cubicBezTo>
                <a:cubicBezTo>
                  <a:pt x="16" y="126"/>
                  <a:pt x="16" y="126"/>
                  <a:pt x="16" y="126"/>
                </a:cubicBezTo>
                <a:cubicBezTo>
                  <a:pt x="16" y="127"/>
                  <a:pt x="16" y="127"/>
                  <a:pt x="16" y="127"/>
                </a:cubicBezTo>
                <a:cubicBezTo>
                  <a:pt x="16" y="128"/>
                  <a:pt x="16" y="128"/>
                  <a:pt x="16" y="128"/>
                </a:cubicBezTo>
                <a:cubicBezTo>
                  <a:pt x="15" y="129"/>
                  <a:pt x="15" y="129"/>
                  <a:pt x="15" y="129"/>
                </a:cubicBezTo>
                <a:cubicBezTo>
                  <a:pt x="15" y="128"/>
                  <a:pt x="15" y="128"/>
                  <a:pt x="15" y="128"/>
                </a:cubicBezTo>
                <a:cubicBezTo>
                  <a:pt x="14" y="127"/>
                  <a:pt x="14" y="127"/>
                  <a:pt x="14" y="127"/>
                </a:cubicBezTo>
                <a:cubicBezTo>
                  <a:pt x="12" y="126"/>
                  <a:pt x="12" y="126"/>
                  <a:pt x="12" y="126"/>
                </a:cubicBezTo>
                <a:cubicBezTo>
                  <a:pt x="11" y="126"/>
                  <a:pt x="11" y="126"/>
                  <a:pt x="11" y="126"/>
                </a:cubicBezTo>
                <a:cubicBezTo>
                  <a:pt x="10" y="125"/>
                  <a:pt x="10" y="125"/>
                  <a:pt x="10" y="125"/>
                </a:cubicBezTo>
                <a:cubicBezTo>
                  <a:pt x="9" y="124"/>
                  <a:pt x="9" y="124"/>
                  <a:pt x="9" y="124"/>
                </a:cubicBezTo>
                <a:cubicBezTo>
                  <a:pt x="9" y="124"/>
                  <a:pt x="9" y="124"/>
                  <a:pt x="9" y="124"/>
                </a:cubicBezTo>
                <a:cubicBezTo>
                  <a:pt x="10" y="123"/>
                  <a:pt x="10" y="123"/>
                  <a:pt x="10" y="123"/>
                </a:cubicBezTo>
                <a:cubicBezTo>
                  <a:pt x="8" y="123"/>
                  <a:pt x="8" y="123"/>
                  <a:pt x="8" y="123"/>
                </a:cubicBezTo>
                <a:cubicBezTo>
                  <a:pt x="8" y="121"/>
                  <a:pt x="8" y="121"/>
                  <a:pt x="8" y="121"/>
                </a:cubicBezTo>
                <a:cubicBezTo>
                  <a:pt x="7" y="120"/>
                  <a:pt x="7" y="120"/>
                  <a:pt x="7" y="120"/>
                </a:cubicBezTo>
                <a:cubicBezTo>
                  <a:pt x="6" y="119"/>
                  <a:pt x="6" y="119"/>
                  <a:pt x="6" y="119"/>
                </a:cubicBezTo>
                <a:cubicBezTo>
                  <a:pt x="6" y="118"/>
                  <a:pt x="6" y="118"/>
                  <a:pt x="6" y="118"/>
                </a:cubicBezTo>
                <a:cubicBezTo>
                  <a:pt x="7" y="117"/>
                  <a:pt x="7" y="117"/>
                  <a:pt x="7" y="117"/>
                </a:cubicBezTo>
                <a:cubicBezTo>
                  <a:pt x="8" y="117"/>
                  <a:pt x="8" y="117"/>
                  <a:pt x="8" y="117"/>
                </a:cubicBezTo>
                <a:cubicBezTo>
                  <a:pt x="9" y="116"/>
                  <a:pt x="9" y="116"/>
                  <a:pt x="9" y="116"/>
                </a:cubicBezTo>
                <a:cubicBezTo>
                  <a:pt x="10" y="116"/>
                  <a:pt x="10" y="116"/>
                  <a:pt x="10" y="116"/>
                </a:cubicBezTo>
                <a:cubicBezTo>
                  <a:pt x="12" y="116"/>
                  <a:pt x="12" y="116"/>
                  <a:pt x="12" y="116"/>
                </a:cubicBezTo>
                <a:cubicBezTo>
                  <a:pt x="12" y="116"/>
                  <a:pt x="12" y="116"/>
                  <a:pt x="12" y="116"/>
                </a:cubicBezTo>
                <a:cubicBezTo>
                  <a:pt x="13" y="116"/>
                  <a:pt x="13" y="116"/>
                  <a:pt x="13" y="116"/>
                </a:cubicBezTo>
                <a:cubicBezTo>
                  <a:pt x="13" y="115"/>
                  <a:pt x="13" y="115"/>
                  <a:pt x="13" y="115"/>
                </a:cubicBezTo>
                <a:cubicBezTo>
                  <a:pt x="13" y="114"/>
                  <a:pt x="13" y="114"/>
                  <a:pt x="13" y="114"/>
                </a:cubicBezTo>
                <a:cubicBezTo>
                  <a:pt x="12" y="115"/>
                  <a:pt x="12" y="115"/>
                  <a:pt x="12" y="115"/>
                </a:cubicBezTo>
                <a:cubicBezTo>
                  <a:pt x="10" y="114"/>
                  <a:pt x="10" y="114"/>
                  <a:pt x="10" y="114"/>
                </a:cubicBezTo>
                <a:cubicBezTo>
                  <a:pt x="10" y="114"/>
                  <a:pt x="10" y="114"/>
                  <a:pt x="10" y="114"/>
                </a:cubicBezTo>
                <a:cubicBezTo>
                  <a:pt x="9" y="114"/>
                  <a:pt x="9" y="114"/>
                  <a:pt x="9" y="114"/>
                </a:cubicBezTo>
                <a:cubicBezTo>
                  <a:pt x="7" y="112"/>
                  <a:pt x="7" y="112"/>
                  <a:pt x="7" y="112"/>
                </a:cubicBezTo>
                <a:cubicBezTo>
                  <a:pt x="7" y="111"/>
                  <a:pt x="7" y="111"/>
                  <a:pt x="7" y="111"/>
                </a:cubicBezTo>
                <a:cubicBezTo>
                  <a:pt x="8" y="110"/>
                  <a:pt x="8" y="110"/>
                  <a:pt x="8" y="110"/>
                </a:cubicBezTo>
                <a:cubicBezTo>
                  <a:pt x="9" y="110"/>
                  <a:pt x="9" y="110"/>
                  <a:pt x="9" y="110"/>
                </a:cubicBezTo>
                <a:cubicBezTo>
                  <a:pt x="9" y="108"/>
                  <a:pt x="9" y="108"/>
                  <a:pt x="9" y="108"/>
                </a:cubicBezTo>
                <a:cubicBezTo>
                  <a:pt x="10" y="108"/>
                  <a:pt x="10" y="108"/>
                  <a:pt x="10" y="108"/>
                </a:cubicBezTo>
                <a:cubicBezTo>
                  <a:pt x="9" y="108"/>
                  <a:pt x="9" y="108"/>
                  <a:pt x="9" y="108"/>
                </a:cubicBezTo>
                <a:cubicBezTo>
                  <a:pt x="8" y="108"/>
                  <a:pt x="8" y="108"/>
                  <a:pt x="8" y="108"/>
                </a:cubicBezTo>
                <a:cubicBezTo>
                  <a:pt x="8" y="110"/>
                  <a:pt x="8" y="110"/>
                  <a:pt x="8" y="110"/>
                </a:cubicBezTo>
                <a:cubicBezTo>
                  <a:pt x="7" y="110"/>
                  <a:pt x="7" y="110"/>
                  <a:pt x="7" y="110"/>
                </a:cubicBezTo>
                <a:cubicBezTo>
                  <a:pt x="7" y="110"/>
                  <a:pt x="7" y="110"/>
                  <a:pt x="7" y="110"/>
                </a:cubicBezTo>
                <a:cubicBezTo>
                  <a:pt x="6" y="111"/>
                  <a:pt x="6" y="111"/>
                  <a:pt x="6" y="111"/>
                </a:cubicBezTo>
                <a:cubicBezTo>
                  <a:pt x="5" y="110"/>
                  <a:pt x="5" y="110"/>
                  <a:pt x="5" y="110"/>
                </a:cubicBezTo>
                <a:cubicBezTo>
                  <a:pt x="4" y="109"/>
                  <a:pt x="4" y="109"/>
                  <a:pt x="4" y="109"/>
                </a:cubicBezTo>
                <a:cubicBezTo>
                  <a:pt x="4" y="108"/>
                  <a:pt x="4" y="108"/>
                  <a:pt x="4" y="108"/>
                </a:cubicBezTo>
                <a:cubicBezTo>
                  <a:pt x="5" y="108"/>
                  <a:pt x="5" y="108"/>
                  <a:pt x="5" y="108"/>
                </a:cubicBezTo>
                <a:cubicBezTo>
                  <a:pt x="5" y="107"/>
                  <a:pt x="5" y="107"/>
                  <a:pt x="5" y="107"/>
                </a:cubicBezTo>
                <a:cubicBezTo>
                  <a:pt x="4" y="107"/>
                  <a:pt x="4" y="107"/>
                  <a:pt x="4" y="107"/>
                </a:cubicBezTo>
                <a:cubicBezTo>
                  <a:pt x="4" y="108"/>
                  <a:pt x="4" y="108"/>
                  <a:pt x="4" y="108"/>
                </a:cubicBezTo>
                <a:cubicBezTo>
                  <a:pt x="4" y="107"/>
                  <a:pt x="4" y="107"/>
                  <a:pt x="4" y="107"/>
                </a:cubicBezTo>
                <a:cubicBezTo>
                  <a:pt x="4" y="106"/>
                  <a:pt x="4" y="106"/>
                  <a:pt x="4" y="106"/>
                </a:cubicBezTo>
                <a:cubicBezTo>
                  <a:pt x="4" y="105"/>
                  <a:pt x="4" y="105"/>
                  <a:pt x="4" y="105"/>
                </a:cubicBezTo>
                <a:cubicBezTo>
                  <a:pt x="5" y="105"/>
                  <a:pt x="5" y="105"/>
                  <a:pt x="5" y="105"/>
                </a:cubicBezTo>
                <a:cubicBezTo>
                  <a:pt x="5" y="104"/>
                  <a:pt x="5" y="104"/>
                  <a:pt x="5" y="104"/>
                </a:cubicBezTo>
                <a:cubicBezTo>
                  <a:pt x="6" y="104"/>
                  <a:pt x="6" y="104"/>
                  <a:pt x="6" y="104"/>
                </a:cubicBezTo>
                <a:cubicBezTo>
                  <a:pt x="7" y="105"/>
                  <a:pt x="7" y="105"/>
                  <a:pt x="7" y="105"/>
                </a:cubicBezTo>
                <a:cubicBezTo>
                  <a:pt x="7" y="104"/>
                  <a:pt x="7" y="104"/>
                  <a:pt x="7" y="104"/>
                </a:cubicBezTo>
                <a:cubicBezTo>
                  <a:pt x="9" y="103"/>
                  <a:pt x="9" y="103"/>
                  <a:pt x="9" y="103"/>
                </a:cubicBezTo>
                <a:cubicBezTo>
                  <a:pt x="11" y="103"/>
                  <a:pt x="11" y="103"/>
                  <a:pt x="11" y="103"/>
                </a:cubicBezTo>
                <a:cubicBezTo>
                  <a:pt x="12" y="104"/>
                  <a:pt x="12" y="104"/>
                  <a:pt x="12" y="104"/>
                </a:cubicBezTo>
                <a:cubicBezTo>
                  <a:pt x="14" y="104"/>
                  <a:pt x="14" y="104"/>
                  <a:pt x="14" y="104"/>
                </a:cubicBezTo>
                <a:cubicBezTo>
                  <a:pt x="17" y="105"/>
                  <a:pt x="17" y="105"/>
                  <a:pt x="17" y="105"/>
                </a:cubicBezTo>
                <a:cubicBezTo>
                  <a:pt x="18" y="106"/>
                  <a:pt x="18" y="106"/>
                  <a:pt x="18" y="106"/>
                </a:cubicBezTo>
                <a:cubicBezTo>
                  <a:pt x="19" y="106"/>
                  <a:pt x="19" y="106"/>
                  <a:pt x="19" y="106"/>
                </a:cubicBezTo>
                <a:cubicBezTo>
                  <a:pt x="21" y="107"/>
                  <a:pt x="21" y="107"/>
                  <a:pt x="21" y="107"/>
                </a:cubicBezTo>
                <a:cubicBezTo>
                  <a:pt x="22" y="107"/>
                  <a:pt x="22" y="107"/>
                  <a:pt x="22" y="107"/>
                </a:cubicBezTo>
                <a:cubicBezTo>
                  <a:pt x="23" y="107"/>
                  <a:pt x="23" y="107"/>
                  <a:pt x="23" y="107"/>
                </a:cubicBezTo>
                <a:cubicBezTo>
                  <a:pt x="24" y="107"/>
                  <a:pt x="24" y="107"/>
                  <a:pt x="24" y="107"/>
                </a:cubicBezTo>
                <a:cubicBezTo>
                  <a:pt x="23" y="107"/>
                  <a:pt x="23" y="107"/>
                  <a:pt x="23" y="107"/>
                </a:cubicBezTo>
                <a:cubicBezTo>
                  <a:pt x="22" y="107"/>
                  <a:pt x="22" y="107"/>
                  <a:pt x="22" y="107"/>
                </a:cubicBezTo>
                <a:cubicBezTo>
                  <a:pt x="20" y="106"/>
                  <a:pt x="20" y="106"/>
                  <a:pt x="20" y="106"/>
                </a:cubicBezTo>
                <a:cubicBezTo>
                  <a:pt x="19" y="105"/>
                  <a:pt x="19" y="105"/>
                  <a:pt x="19" y="105"/>
                </a:cubicBezTo>
                <a:cubicBezTo>
                  <a:pt x="17" y="104"/>
                  <a:pt x="17" y="104"/>
                  <a:pt x="17" y="104"/>
                </a:cubicBezTo>
                <a:cubicBezTo>
                  <a:pt x="16" y="104"/>
                  <a:pt x="16" y="104"/>
                  <a:pt x="16" y="104"/>
                </a:cubicBezTo>
                <a:cubicBezTo>
                  <a:pt x="15" y="103"/>
                  <a:pt x="15" y="103"/>
                  <a:pt x="15" y="103"/>
                </a:cubicBezTo>
                <a:cubicBezTo>
                  <a:pt x="15" y="103"/>
                  <a:pt x="15" y="103"/>
                  <a:pt x="15" y="103"/>
                </a:cubicBezTo>
                <a:cubicBezTo>
                  <a:pt x="17" y="102"/>
                  <a:pt x="17" y="102"/>
                  <a:pt x="17" y="102"/>
                </a:cubicBezTo>
                <a:cubicBezTo>
                  <a:pt x="19" y="102"/>
                  <a:pt x="19" y="102"/>
                  <a:pt x="19" y="102"/>
                </a:cubicBezTo>
                <a:cubicBezTo>
                  <a:pt x="21" y="102"/>
                  <a:pt x="21" y="102"/>
                  <a:pt x="21" y="102"/>
                </a:cubicBezTo>
                <a:cubicBezTo>
                  <a:pt x="23" y="103"/>
                  <a:pt x="23" y="103"/>
                  <a:pt x="23" y="103"/>
                </a:cubicBezTo>
                <a:cubicBezTo>
                  <a:pt x="24" y="104"/>
                  <a:pt x="24" y="104"/>
                  <a:pt x="24" y="104"/>
                </a:cubicBezTo>
                <a:cubicBezTo>
                  <a:pt x="25" y="104"/>
                  <a:pt x="25" y="104"/>
                  <a:pt x="25" y="104"/>
                </a:cubicBezTo>
                <a:cubicBezTo>
                  <a:pt x="25" y="105"/>
                  <a:pt x="25" y="105"/>
                  <a:pt x="25" y="105"/>
                </a:cubicBezTo>
                <a:cubicBezTo>
                  <a:pt x="26" y="105"/>
                  <a:pt x="26" y="105"/>
                  <a:pt x="26" y="105"/>
                </a:cubicBezTo>
                <a:cubicBezTo>
                  <a:pt x="26" y="105"/>
                  <a:pt x="26" y="105"/>
                  <a:pt x="26" y="105"/>
                </a:cubicBezTo>
                <a:cubicBezTo>
                  <a:pt x="26" y="104"/>
                  <a:pt x="26" y="104"/>
                  <a:pt x="26" y="104"/>
                </a:cubicBezTo>
                <a:cubicBezTo>
                  <a:pt x="26" y="103"/>
                  <a:pt x="26" y="103"/>
                  <a:pt x="26" y="103"/>
                </a:cubicBezTo>
                <a:cubicBezTo>
                  <a:pt x="27" y="102"/>
                  <a:pt x="27" y="102"/>
                  <a:pt x="27" y="102"/>
                </a:cubicBezTo>
                <a:cubicBezTo>
                  <a:pt x="27" y="102"/>
                  <a:pt x="27" y="102"/>
                  <a:pt x="27" y="102"/>
                </a:cubicBezTo>
                <a:cubicBezTo>
                  <a:pt x="27" y="100"/>
                  <a:pt x="27" y="100"/>
                  <a:pt x="27" y="100"/>
                </a:cubicBezTo>
                <a:cubicBezTo>
                  <a:pt x="27" y="100"/>
                  <a:pt x="27" y="100"/>
                  <a:pt x="27" y="100"/>
                </a:cubicBezTo>
                <a:cubicBezTo>
                  <a:pt x="26" y="100"/>
                  <a:pt x="26" y="100"/>
                  <a:pt x="26" y="100"/>
                </a:cubicBezTo>
                <a:cubicBezTo>
                  <a:pt x="26" y="100"/>
                  <a:pt x="26" y="100"/>
                  <a:pt x="26" y="100"/>
                </a:cubicBezTo>
                <a:cubicBezTo>
                  <a:pt x="26" y="99"/>
                  <a:pt x="26" y="99"/>
                  <a:pt x="26" y="99"/>
                </a:cubicBezTo>
                <a:cubicBezTo>
                  <a:pt x="25" y="99"/>
                  <a:pt x="25" y="99"/>
                  <a:pt x="25" y="99"/>
                </a:cubicBezTo>
                <a:cubicBezTo>
                  <a:pt x="24" y="99"/>
                  <a:pt x="24" y="99"/>
                  <a:pt x="24" y="99"/>
                </a:cubicBezTo>
                <a:cubicBezTo>
                  <a:pt x="23" y="100"/>
                  <a:pt x="23" y="100"/>
                  <a:pt x="23" y="100"/>
                </a:cubicBezTo>
                <a:cubicBezTo>
                  <a:pt x="22" y="100"/>
                  <a:pt x="22" y="100"/>
                  <a:pt x="22" y="100"/>
                </a:cubicBezTo>
                <a:cubicBezTo>
                  <a:pt x="20" y="99"/>
                  <a:pt x="20" y="99"/>
                  <a:pt x="20" y="99"/>
                </a:cubicBezTo>
                <a:cubicBezTo>
                  <a:pt x="19" y="99"/>
                  <a:pt x="19" y="99"/>
                  <a:pt x="19" y="99"/>
                </a:cubicBezTo>
                <a:cubicBezTo>
                  <a:pt x="19" y="98"/>
                  <a:pt x="19" y="98"/>
                  <a:pt x="19" y="98"/>
                </a:cubicBezTo>
                <a:cubicBezTo>
                  <a:pt x="19" y="98"/>
                  <a:pt x="19" y="98"/>
                  <a:pt x="19" y="98"/>
                </a:cubicBezTo>
                <a:cubicBezTo>
                  <a:pt x="18" y="97"/>
                  <a:pt x="18" y="97"/>
                  <a:pt x="18" y="97"/>
                </a:cubicBezTo>
                <a:cubicBezTo>
                  <a:pt x="17" y="97"/>
                  <a:pt x="17" y="97"/>
                  <a:pt x="17" y="97"/>
                </a:cubicBezTo>
                <a:cubicBezTo>
                  <a:pt x="17" y="97"/>
                  <a:pt x="17" y="97"/>
                  <a:pt x="17" y="97"/>
                </a:cubicBezTo>
                <a:cubicBezTo>
                  <a:pt x="17" y="98"/>
                  <a:pt x="17" y="98"/>
                  <a:pt x="17" y="98"/>
                </a:cubicBezTo>
                <a:cubicBezTo>
                  <a:pt x="17" y="98"/>
                  <a:pt x="17" y="98"/>
                  <a:pt x="17" y="98"/>
                </a:cubicBezTo>
                <a:cubicBezTo>
                  <a:pt x="17" y="100"/>
                  <a:pt x="17" y="100"/>
                  <a:pt x="17" y="100"/>
                </a:cubicBezTo>
                <a:cubicBezTo>
                  <a:pt x="17" y="100"/>
                  <a:pt x="17" y="100"/>
                  <a:pt x="17" y="100"/>
                </a:cubicBezTo>
                <a:cubicBezTo>
                  <a:pt x="15" y="100"/>
                  <a:pt x="15" y="100"/>
                  <a:pt x="15" y="100"/>
                </a:cubicBezTo>
                <a:cubicBezTo>
                  <a:pt x="14" y="100"/>
                  <a:pt x="14" y="100"/>
                  <a:pt x="14" y="100"/>
                </a:cubicBezTo>
                <a:cubicBezTo>
                  <a:pt x="12" y="98"/>
                  <a:pt x="12" y="98"/>
                  <a:pt x="12" y="98"/>
                </a:cubicBezTo>
                <a:cubicBezTo>
                  <a:pt x="12" y="97"/>
                  <a:pt x="12" y="97"/>
                  <a:pt x="12" y="97"/>
                </a:cubicBezTo>
                <a:cubicBezTo>
                  <a:pt x="13" y="97"/>
                  <a:pt x="13" y="97"/>
                  <a:pt x="13" y="97"/>
                </a:cubicBezTo>
                <a:cubicBezTo>
                  <a:pt x="15" y="96"/>
                  <a:pt x="15" y="96"/>
                  <a:pt x="15" y="96"/>
                </a:cubicBezTo>
                <a:cubicBezTo>
                  <a:pt x="15" y="95"/>
                  <a:pt x="15" y="95"/>
                  <a:pt x="15" y="95"/>
                </a:cubicBezTo>
                <a:cubicBezTo>
                  <a:pt x="15" y="95"/>
                  <a:pt x="15" y="95"/>
                  <a:pt x="15" y="95"/>
                </a:cubicBezTo>
                <a:cubicBezTo>
                  <a:pt x="13" y="96"/>
                  <a:pt x="13" y="96"/>
                  <a:pt x="13" y="96"/>
                </a:cubicBezTo>
                <a:cubicBezTo>
                  <a:pt x="12" y="96"/>
                  <a:pt x="12" y="96"/>
                  <a:pt x="12" y="96"/>
                </a:cubicBezTo>
                <a:cubicBezTo>
                  <a:pt x="11" y="96"/>
                  <a:pt x="11" y="96"/>
                  <a:pt x="11" y="96"/>
                </a:cubicBezTo>
                <a:cubicBezTo>
                  <a:pt x="11" y="95"/>
                  <a:pt x="11" y="95"/>
                  <a:pt x="11" y="95"/>
                </a:cubicBezTo>
                <a:cubicBezTo>
                  <a:pt x="11" y="95"/>
                  <a:pt x="11" y="95"/>
                  <a:pt x="11" y="95"/>
                </a:cubicBezTo>
                <a:cubicBezTo>
                  <a:pt x="12" y="94"/>
                  <a:pt x="12" y="94"/>
                  <a:pt x="12" y="94"/>
                </a:cubicBezTo>
                <a:cubicBezTo>
                  <a:pt x="13" y="94"/>
                  <a:pt x="13" y="94"/>
                  <a:pt x="13" y="94"/>
                </a:cubicBezTo>
                <a:cubicBezTo>
                  <a:pt x="14" y="92"/>
                  <a:pt x="14" y="92"/>
                  <a:pt x="14" y="92"/>
                </a:cubicBezTo>
                <a:cubicBezTo>
                  <a:pt x="14" y="92"/>
                  <a:pt x="14" y="92"/>
                  <a:pt x="14" y="92"/>
                </a:cubicBezTo>
                <a:cubicBezTo>
                  <a:pt x="13" y="91"/>
                  <a:pt x="13" y="91"/>
                  <a:pt x="13" y="91"/>
                </a:cubicBezTo>
                <a:cubicBezTo>
                  <a:pt x="13" y="92"/>
                  <a:pt x="13" y="92"/>
                  <a:pt x="13" y="92"/>
                </a:cubicBezTo>
                <a:cubicBezTo>
                  <a:pt x="13" y="92"/>
                  <a:pt x="13" y="92"/>
                  <a:pt x="13" y="92"/>
                </a:cubicBezTo>
                <a:cubicBezTo>
                  <a:pt x="11" y="93"/>
                  <a:pt x="11" y="93"/>
                  <a:pt x="11" y="93"/>
                </a:cubicBezTo>
                <a:cubicBezTo>
                  <a:pt x="10" y="93"/>
                  <a:pt x="10" y="93"/>
                  <a:pt x="10" y="93"/>
                </a:cubicBezTo>
                <a:cubicBezTo>
                  <a:pt x="9" y="93"/>
                  <a:pt x="9" y="93"/>
                  <a:pt x="9" y="93"/>
                </a:cubicBezTo>
                <a:cubicBezTo>
                  <a:pt x="8" y="92"/>
                  <a:pt x="8" y="92"/>
                  <a:pt x="8" y="92"/>
                </a:cubicBezTo>
                <a:cubicBezTo>
                  <a:pt x="9" y="92"/>
                  <a:pt x="9" y="92"/>
                  <a:pt x="9" y="92"/>
                </a:cubicBezTo>
                <a:cubicBezTo>
                  <a:pt x="9" y="91"/>
                  <a:pt x="9" y="91"/>
                  <a:pt x="9" y="91"/>
                </a:cubicBezTo>
                <a:cubicBezTo>
                  <a:pt x="10" y="91"/>
                  <a:pt x="10" y="91"/>
                  <a:pt x="10" y="91"/>
                </a:cubicBezTo>
                <a:cubicBezTo>
                  <a:pt x="10" y="90"/>
                  <a:pt x="10" y="90"/>
                  <a:pt x="10" y="90"/>
                </a:cubicBezTo>
                <a:cubicBezTo>
                  <a:pt x="9" y="90"/>
                  <a:pt x="9" y="90"/>
                  <a:pt x="9" y="90"/>
                </a:cubicBezTo>
                <a:cubicBezTo>
                  <a:pt x="8" y="90"/>
                  <a:pt x="8" y="90"/>
                  <a:pt x="8" y="90"/>
                </a:cubicBezTo>
                <a:cubicBezTo>
                  <a:pt x="7" y="89"/>
                  <a:pt x="7" y="89"/>
                  <a:pt x="7" y="89"/>
                </a:cubicBezTo>
                <a:cubicBezTo>
                  <a:pt x="6" y="87"/>
                  <a:pt x="6" y="87"/>
                  <a:pt x="6" y="87"/>
                </a:cubicBezTo>
                <a:cubicBezTo>
                  <a:pt x="6" y="86"/>
                  <a:pt x="6" y="86"/>
                  <a:pt x="6" y="86"/>
                </a:cubicBezTo>
                <a:cubicBezTo>
                  <a:pt x="4" y="85"/>
                  <a:pt x="4" y="85"/>
                  <a:pt x="4" y="85"/>
                </a:cubicBezTo>
                <a:cubicBezTo>
                  <a:pt x="4" y="85"/>
                  <a:pt x="4" y="85"/>
                  <a:pt x="4" y="85"/>
                </a:cubicBezTo>
                <a:cubicBezTo>
                  <a:pt x="5" y="85"/>
                  <a:pt x="5" y="85"/>
                  <a:pt x="5" y="85"/>
                </a:cubicBezTo>
                <a:cubicBezTo>
                  <a:pt x="6" y="84"/>
                  <a:pt x="6" y="84"/>
                  <a:pt x="6" y="84"/>
                </a:cubicBezTo>
                <a:cubicBezTo>
                  <a:pt x="6" y="83"/>
                  <a:pt x="6" y="83"/>
                  <a:pt x="6" y="83"/>
                </a:cubicBezTo>
                <a:cubicBezTo>
                  <a:pt x="7" y="83"/>
                  <a:pt x="7" y="83"/>
                  <a:pt x="7" y="83"/>
                </a:cubicBezTo>
                <a:cubicBezTo>
                  <a:pt x="7" y="83"/>
                  <a:pt x="7" y="83"/>
                  <a:pt x="7" y="83"/>
                </a:cubicBezTo>
                <a:cubicBezTo>
                  <a:pt x="8" y="83"/>
                  <a:pt x="8" y="83"/>
                  <a:pt x="8" y="83"/>
                </a:cubicBezTo>
                <a:cubicBezTo>
                  <a:pt x="8" y="82"/>
                  <a:pt x="8" y="82"/>
                  <a:pt x="8" y="82"/>
                </a:cubicBezTo>
                <a:cubicBezTo>
                  <a:pt x="7" y="82"/>
                  <a:pt x="7" y="82"/>
                  <a:pt x="7" y="82"/>
                </a:cubicBezTo>
                <a:cubicBezTo>
                  <a:pt x="6" y="82"/>
                  <a:pt x="6" y="82"/>
                  <a:pt x="6" y="82"/>
                </a:cubicBezTo>
                <a:cubicBezTo>
                  <a:pt x="6" y="81"/>
                  <a:pt x="6" y="81"/>
                  <a:pt x="6" y="81"/>
                </a:cubicBezTo>
                <a:cubicBezTo>
                  <a:pt x="6" y="81"/>
                  <a:pt x="6" y="81"/>
                  <a:pt x="6" y="81"/>
                </a:cubicBezTo>
                <a:cubicBezTo>
                  <a:pt x="7" y="81"/>
                  <a:pt x="7" y="81"/>
                  <a:pt x="7" y="81"/>
                </a:cubicBezTo>
                <a:cubicBezTo>
                  <a:pt x="9" y="80"/>
                  <a:pt x="9" y="80"/>
                  <a:pt x="9" y="80"/>
                </a:cubicBezTo>
                <a:cubicBezTo>
                  <a:pt x="9" y="79"/>
                  <a:pt x="9" y="79"/>
                  <a:pt x="9" y="79"/>
                </a:cubicBezTo>
                <a:cubicBezTo>
                  <a:pt x="9" y="79"/>
                  <a:pt x="9" y="79"/>
                  <a:pt x="9" y="79"/>
                </a:cubicBezTo>
                <a:cubicBezTo>
                  <a:pt x="10" y="78"/>
                  <a:pt x="10" y="78"/>
                  <a:pt x="10" y="78"/>
                </a:cubicBezTo>
                <a:cubicBezTo>
                  <a:pt x="11" y="78"/>
                  <a:pt x="11" y="78"/>
                  <a:pt x="11" y="78"/>
                </a:cubicBezTo>
                <a:cubicBezTo>
                  <a:pt x="12" y="78"/>
                  <a:pt x="12" y="78"/>
                  <a:pt x="12" y="78"/>
                </a:cubicBezTo>
                <a:cubicBezTo>
                  <a:pt x="12" y="78"/>
                  <a:pt x="12" y="78"/>
                  <a:pt x="12" y="78"/>
                </a:cubicBezTo>
                <a:cubicBezTo>
                  <a:pt x="13" y="78"/>
                  <a:pt x="13" y="78"/>
                  <a:pt x="13" y="78"/>
                </a:cubicBezTo>
                <a:cubicBezTo>
                  <a:pt x="14" y="78"/>
                  <a:pt x="14" y="78"/>
                  <a:pt x="14" y="78"/>
                </a:cubicBezTo>
                <a:cubicBezTo>
                  <a:pt x="15" y="78"/>
                  <a:pt x="15" y="78"/>
                  <a:pt x="15" y="78"/>
                </a:cubicBezTo>
                <a:cubicBezTo>
                  <a:pt x="15" y="78"/>
                  <a:pt x="15" y="78"/>
                  <a:pt x="15" y="78"/>
                </a:cubicBezTo>
                <a:cubicBezTo>
                  <a:pt x="15" y="78"/>
                  <a:pt x="15" y="78"/>
                  <a:pt x="15" y="78"/>
                </a:cubicBezTo>
                <a:cubicBezTo>
                  <a:pt x="16" y="78"/>
                  <a:pt x="16" y="78"/>
                  <a:pt x="16" y="78"/>
                </a:cubicBezTo>
                <a:cubicBezTo>
                  <a:pt x="17" y="78"/>
                  <a:pt x="17" y="78"/>
                  <a:pt x="17" y="78"/>
                </a:cubicBezTo>
                <a:cubicBezTo>
                  <a:pt x="17" y="77"/>
                  <a:pt x="17" y="77"/>
                  <a:pt x="17" y="77"/>
                </a:cubicBezTo>
                <a:cubicBezTo>
                  <a:pt x="18" y="77"/>
                  <a:pt x="18" y="77"/>
                  <a:pt x="18" y="77"/>
                </a:cubicBezTo>
                <a:cubicBezTo>
                  <a:pt x="19" y="77"/>
                  <a:pt x="19" y="77"/>
                  <a:pt x="19" y="77"/>
                </a:cubicBezTo>
                <a:cubicBezTo>
                  <a:pt x="19" y="77"/>
                  <a:pt x="19" y="77"/>
                  <a:pt x="19" y="77"/>
                </a:cubicBezTo>
                <a:cubicBezTo>
                  <a:pt x="20" y="77"/>
                  <a:pt x="20" y="77"/>
                  <a:pt x="20" y="77"/>
                </a:cubicBezTo>
                <a:cubicBezTo>
                  <a:pt x="20" y="77"/>
                  <a:pt x="20" y="77"/>
                  <a:pt x="20" y="77"/>
                </a:cubicBezTo>
                <a:cubicBezTo>
                  <a:pt x="21" y="77"/>
                  <a:pt x="21" y="77"/>
                  <a:pt x="21" y="77"/>
                </a:cubicBezTo>
                <a:cubicBezTo>
                  <a:pt x="26" y="75"/>
                  <a:pt x="26" y="75"/>
                  <a:pt x="26" y="75"/>
                </a:cubicBezTo>
                <a:cubicBezTo>
                  <a:pt x="27" y="75"/>
                  <a:pt x="27" y="75"/>
                  <a:pt x="27" y="75"/>
                </a:cubicBezTo>
                <a:cubicBezTo>
                  <a:pt x="27" y="76"/>
                  <a:pt x="27" y="76"/>
                  <a:pt x="27" y="76"/>
                </a:cubicBezTo>
                <a:cubicBezTo>
                  <a:pt x="27" y="75"/>
                  <a:pt x="27" y="75"/>
                  <a:pt x="27" y="75"/>
                </a:cubicBezTo>
                <a:cubicBezTo>
                  <a:pt x="27" y="75"/>
                  <a:pt x="27" y="75"/>
                  <a:pt x="27" y="75"/>
                </a:cubicBezTo>
                <a:cubicBezTo>
                  <a:pt x="27" y="74"/>
                  <a:pt x="27" y="74"/>
                  <a:pt x="27" y="74"/>
                </a:cubicBezTo>
                <a:cubicBezTo>
                  <a:pt x="29" y="73"/>
                  <a:pt x="29" y="73"/>
                  <a:pt x="29" y="73"/>
                </a:cubicBezTo>
                <a:cubicBezTo>
                  <a:pt x="31" y="73"/>
                  <a:pt x="31" y="73"/>
                  <a:pt x="31" y="73"/>
                </a:cubicBezTo>
                <a:cubicBezTo>
                  <a:pt x="32" y="73"/>
                  <a:pt x="32" y="73"/>
                  <a:pt x="32" y="73"/>
                </a:cubicBezTo>
                <a:cubicBezTo>
                  <a:pt x="33" y="73"/>
                  <a:pt x="33" y="73"/>
                  <a:pt x="33" y="73"/>
                </a:cubicBezTo>
                <a:cubicBezTo>
                  <a:pt x="34" y="74"/>
                  <a:pt x="34" y="74"/>
                  <a:pt x="34" y="74"/>
                </a:cubicBezTo>
                <a:cubicBezTo>
                  <a:pt x="35" y="73"/>
                  <a:pt x="35" y="73"/>
                  <a:pt x="35" y="73"/>
                </a:cubicBezTo>
                <a:cubicBezTo>
                  <a:pt x="36" y="73"/>
                  <a:pt x="36" y="73"/>
                  <a:pt x="36" y="73"/>
                </a:cubicBezTo>
                <a:cubicBezTo>
                  <a:pt x="38" y="73"/>
                  <a:pt x="38" y="73"/>
                  <a:pt x="38" y="73"/>
                </a:cubicBezTo>
                <a:cubicBezTo>
                  <a:pt x="38" y="74"/>
                  <a:pt x="38" y="74"/>
                  <a:pt x="38" y="74"/>
                </a:cubicBezTo>
                <a:cubicBezTo>
                  <a:pt x="39" y="74"/>
                  <a:pt x="39" y="74"/>
                  <a:pt x="39" y="74"/>
                </a:cubicBezTo>
                <a:cubicBezTo>
                  <a:pt x="40" y="74"/>
                  <a:pt x="40" y="74"/>
                  <a:pt x="40" y="74"/>
                </a:cubicBezTo>
                <a:cubicBezTo>
                  <a:pt x="41" y="75"/>
                  <a:pt x="41" y="75"/>
                  <a:pt x="41" y="75"/>
                </a:cubicBezTo>
                <a:cubicBezTo>
                  <a:pt x="42" y="75"/>
                  <a:pt x="42" y="75"/>
                  <a:pt x="42" y="75"/>
                </a:cubicBezTo>
                <a:cubicBezTo>
                  <a:pt x="43" y="75"/>
                  <a:pt x="43" y="75"/>
                  <a:pt x="43" y="75"/>
                </a:cubicBezTo>
                <a:cubicBezTo>
                  <a:pt x="43" y="74"/>
                  <a:pt x="43" y="74"/>
                  <a:pt x="43" y="74"/>
                </a:cubicBezTo>
                <a:cubicBezTo>
                  <a:pt x="44" y="73"/>
                  <a:pt x="44" y="73"/>
                  <a:pt x="44" y="73"/>
                </a:cubicBezTo>
                <a:cubicBezTo>
                  <a:pt x="45" y="72"/>
                  <a:pt x="45" y="72"/>
                  <a:pt x="45" y="72"/>
                </a:cubicBezTo>
                <a:cubicBezTo>
                  <a:pt x="46" y="71"/>
                  <a:pt x="46" y="71"/>
                  <a:pt x="46" y="71"/>
                </a:cubicBezTo>
                <a:cubicBezTo>
                  <a:pt x="47" y="70"/>
                  <a:pt x="47" y="70"/>
                  <a:pt x="47" y="70"/>
                </a:cubicBezTo>
                <a:cubicBezTo>
                  <a:pt x="48" y="69"/>
                  <a:pt x="48" y="69"/>
                  <a:pt x="48" y="69"/>
                </a:cubicBezTo>
                <a:cubicBezTo>
                  <a:pt x="49" y="68"/>
                  <a:pt x="49" y="68"/>
                  <a:pt x="49" y="68"/>
                </a:cubicBezTo>
                <a:cubicBezTo>
                  <a:pt x="50" y="67"/>
                  <a:pt x="50" y="67"/>
                  <a:pt x="50" y="67"/>
                </a:cubicBezTo>
                <a:cubicBezTo>
                  <a:pt x="50" y="66"/>
                  <a:pt x="50" y="66"/>
                  <a:pt x="50" y="66"/>
                </a:cubicBezTo>
                <a:cubicBezTo>
                  <a:pt x="49" y="66"/>
                  <a:pt x="49" y="66"/>
                  <a:pt x="49" y="66"/>
                </a:cubicBezTo>
                <a:cubicBezTo>
                  <a:pt x="49" y="65"/>
                  <a:pt x="49" y="65"/>
                  <a:pt x="49" y="65"/>
                </a:cubicBezTo>
                <a:cubicBezTo>
                  <a:pt x="50" y="63"/>
                  <a:pt x="50" y="63"/>
                  <a:pt x="50" y="63"/>
                </a:cubicBezTo>
                <a:cubicBezTo>
                  <a:pt x="51" y="63"/>
                  <a:pt x="51" y="63"/>
                  <a:pt x="51" y="63"/>
                </a:cubicBezTo>
                <a:cubicBezTo>
                  <a:pt x="53" y="63"/>
                  <a:pt x="53" y="63"/>
                  <a:pt x="53" y="63"/>
                </a:cubicBezTo>
                <a:cubicBezTo>
                  <a:pt x="54" y="63"/>
                  <a:pt x="54" y="63"/>
                  <a:pt x="54" y="63"/>
                </a:cubicBezTo>
                <a:cubicBezTo>
                  <a:pt x="55" y="62"/>
                  <a:pt x="55" y="62"/>
                  <a:pt x="55" y="62"/>
                </a:cubicBezTo>
                <a:cubicBezTo>
                  <a:pt x="54" y="61"/>
                  <a:pt x="54" y="61"/>
                  <a:pt x="54" y="61"/>
                </a:cubicBezTo>
                <a:cubicBezTo>
                  <a:pt x="53" y="61"/>
                  <a:pt x="53" y="61"/>
                  <a:pt x="53" y="61"/>
                </a:cubicBezTo>
                <a:cubicBezTo>
                  <a:pt x="52" y="61"/>
                  <a:pt x="52" y="61"/>
                  <a:pt x="52" y="61"/>
                </a:cubicBezTo>
                <a:cubicBezTo>
                  <a:pt x="52" y="60"/>
                  <a:pt x="52" y="60"/>
                  <a:pt x="52" y="60"/>
                </a:cubicBezTo>
                <a:cubicBezTo>
                  <a:pt x="52" y="59"/>
                  <a:pt x="52" y="59"/>
                  <a:pt x="52" y="59"/>
                </a:cubicBezTo>
                <a:cubicBezTo>
                  <a:pt x="53" y="59"/>
                  <a:pt x="53" y="59"/>
                  <a:pt x="53" y="59"/>
                </a:cubicBezTo>
                <a:cubicBezTo>
                  <a:pt x="55" y="59"/>
                  <a:pt x="55" y="59"/>
                  <a:pt x="55" y="59"/>
                </a:cubicBezTo>
                <a:cubicBezTo>
                  <a:pt x="56" y="58"/>
                  <a:pt x="56" y="58"/>
                  <a:pt x="56" y="58"/>
                </a:cubicBezTo>
                <a:cubicBezTo>
                  <a:pt x="57" y="58"/>
                  <a:pt x="57" y="58"/>
                  <a:pt x="57" y="58"/>
                </a:cubicBezTo>
                <a:cubicBezTo>
                  <a:pt x="58" y="57"/>
                  <a:pt x="58" y="57"/>
                  <a:pt x="58" y="57"/>
                </a:cubicBezTo>
                <a:cubicBezTo>
                  <a:pt x="57" y="57"/>
                  <a:pt x="57" y="57"/>
                  <a:pt x="57" y="57"/>
                </a:cubicBezTo>
                <a:cubicBezTo>
                  <a:pt x="57" y="56"/>
                  <a:pt x="57" y="56"/>
                  <a:pt x="57" y="56"/>
                </a:cubicBezTo>
                <a:cubicBezTo>
                  <a:pt x="57" y="56"/>
                  <a:pt x="57" y="56"/>
                  <a:pt x="57" y="56"/>
                </a:cubicBezTo>
                <a:cubicBezTo>
                  <a:pt x="56" y="57"/>
                  <a:pt x="56" y="57"/>
                  <a:pt x="56" y="57"/>
                </a:cubicBezTo>
                <a:cubicBezTo>
                  <a:pt x="56" y="58"/>
                  <a:pt x="56" y="58"/>
                  <a:pt x="56" y="58"/>
                </a:cubicBezTo>
                <a:cubicBezTo>
                  <a:pt x="55" y="58"/>
                  <a:pt x="55" y="58"/>
                  <a:pt x="55" y="58"/>
                </a:cubicBezTo>
                <a:cubicBezTo>
                  <a:pt x="53" y="58"/>
                  <a:pt x="53" y="58"/>
                  <a:pt x="53" y="58"/>
                </a:cubicBezTo>
                <a:cubicBezTo>
                  <a:pt x="52" y="58"/>
                  <a:pt x="52" y="58"/>
                  <a:pt x="52" y="58"/>
                </a:cubicBezTo>
                <a:cubicBezTo>
                  <a:pt x="52" y="58"/>
                  <a:pt x="52" y="58"/>
                  <a:pt x="52" y="58"/>
                </a:cubicBezTo>
                <a:cubicBezTo>
                  <a:pt x="51" y="59"/>
                  <a:pt x="51" y="59"/>
                  <a:pt x="51" y="59"/>
                </a:cubicBezTo>
                <a:cubicBezTo>
                  <a:pt x="50" y="59"/>
                  <a:pt x="50" y="59"/>
                  <a:pt x="50" y="59"/>
                </a:cubicBezTo>
                <a:cubicBezTo>
                  <a:pt x="49" y="58"/>
                  <a:pt x="49" y="58"/>
                  <a:pt x="49" y="58"/>
                </a:cubicBezTo>
                <a:cubicBezTo>
                  <a:pt x="48" y="57"/>
                  <a:pt x="48" y="57"/>
                  <a:pt x="48" y="57"/>
                </a:cubicBezTo>
                <a:cubicBezTo>
                  <a:pt x="47" y="57"/>
                  <a:pt x="47" y="57"/>
                  <a:pt x="47" y="57"/>
                </a:cubicBezTo>
                <a:cubicBezTo>
                  <a:pt x="47" y="58"/>
                  <a:pt x="47" y="58"/>
                  <a:pt x="47" y="58"/>
                </a:cubicBezTo>
                <a:cubicBezTo>
                  <a:pt x="46" y="58"/>
                  <a:pt x="46" y="58"/>
                  <a:pt x="46" y="58"/>
                </a:cubicBezTo>
                <a:cubicBezTo>
                  <a:pt x="46" y="57"/>
                  <a:pt x="46" y="57"/>
                  <a:pt x="46" y="57"/>
                </a:cubicBezTo>
                <a:cubicBezTo>
                  <a:pt x="45" y="57"/>
                  <a:pt x="45" y="57"/>
                  <a:pt x="45" y="57"/>
                </a:cubicBezTo>
                <a:cubicBezTo>
                  <a:pt x="44" y="57"/>
                  <a:pt x="44" y="57"/>
                  <a:pt x="44" y="57"/>
                </a:cubicBezTo>
                <a:cubicBezTo>
                  <a:pt x="44" y="57"/>
                  <a:pt x="44" y="57"/>
                  <a:pt x="44" y="57"/>
                </a:cubicBezTo>
                <a:cubicBezTo>
                  <a:pt x="44" y="56"/>
                  <a:pt x="44" y="56"/>
                  <a:pt x="44" y="56"/>
                </a:cubicBezTo>
                <a:cubicBezTo>
                  <a:pt x="44" y="56"/>
                  <a:pt x="44" y="56"/>
                  <a:pt x="44" y="56"/>
                </a:cubicBezTo>
                <a:cubicBezTo>
                  <a:pt x="44" y="55"/>
                  <a:pt x="44" y="55"/>
                  <a:pt x="44" y="55"/>
                </a:cubicBezTo>
                <a:cubicBezTo>
                  <a:pt x="44" y="54"/>
                  <a:pt x="44" y="54"/>
                  <a:pt x="44" y="54"/>
                </a:cubicBezTo>
                <a:cubicBezTo>
                  <a:pt x="45" y="54"/>
                  <a:pt x="45" y="54"/>
                  <a:pt x="45" y="54"/>
                </a:cubicBezTo>
                <a:cubicBezTo>
                  <a:pt x="46" y="53"/>
                  <a:pt x="46" y="53"/>
                  <a:pt x="46" y="53"/>
                </a:cubicBezTo>
                <a:cubicBezTo>
                  <a:pt x="46" y="52"/>
                  <a:pt x="46" y="52"/>
                  <a:pt x="46" y="52"/>
                </a:cubicBezTo>
                <a:cubicBezTo>
                  <a:pt x="47" y="52"/>
                  <a:pt x="47" y="52"/>
                  <a:pt x="47" y="52"/>
                </a:cubicBezTo>
                <a:cubicBezTo>
                  <a:pt x="47" y="51"/>
                  <a:pt x="47" y="51"/>
                  <a:pt x="47" y="51"/>
                </a:cubicBezTo>
                <a:cubicBezTo>
                  <a:pt x="47" y="51"/>
                  <a:pt x="47" y="51"/>
                  <a:pt x="47" y="51"/>
                </a:cubicBezTo>
                <a:cubicBezTo>
                  <a:pt x="46" y="50"/>
                  <a:pt x="46" y="50"/>
                  <a:pt x="46" y="50"/>
                </a:cubicBezTo>
                <a:cubicBezTo>
                  <a:pt x="47" y="50"/>
                  <a:pt x="47" y="50"/>
                  <a:pt x="47" y="50"/>
                </a:cubicBezTo>
                <a:cubicBezTo>
                  <a:pt x="48" y="49"/>
                  <a:pt x="48" y="49"/>
                  <a:pt x="48" y="49"/>
                </a:cubicBezTo>
                <a:cubicBezTo>
                  <a:pt x="49" y="49"/>
                  <a:pt x="49" y="49"/>
                  <a:pt x="49" y="49"/>
                </a:cubicBezTo>
                <a:cubicBezTo>
                  <a:pt x="49" y="48"/>
                  <a:pt x="49" y="48"/>
                  <a:pt x="49" y="48"/>
                </a:cubicBezTo>
                <a:cubicBezTo>
                  <a:pt x="50" y="48"/>
                  <a:pt x="50" y="48"/>
                  <a:pt x="50" y="48"/>
                </a:cubicBezTo>
                <a:cubicBezTo>
                  <a:pt x="52" y="47"/>
                  <a:pt x="52" y="47"/>
                  <a:pt x="52" y="47"/>
                </a:cubicBezTo>
                <a:cubicBezTo>
                  <a:pt x="52" y="46"/>
                  <a:pt x="52" y="46"/>
                  <a:pt x="52" y="46"/>
                </a:cubicBezTo>
                <a:cubicBezTo>
                  <a:pt x="53" y="46"/>
                  <a:pt x="53" y="46"/>
                  <a:pt x="53" y="46"/>
                </a:cubicBezTo>
                <a:cubicBezTo>
                  <a:pt x="55" y="46"/>
                  <a:pt x="55" y="46"/>
                  <a:pt x="55" y="46"/>
                </a:cubicBezTo>
                <a:cubicBezTo>
                  <a:pt x="56" y="46"/>
                  <a:pt x="56" y="46"/>
                  <a:pt x="56" y="46"/>
                </a:cubicBezTo>
                <a:cubicBezTo>
                  <a:pt x="55" y="45"/>
                  <a:pt x="55" y="45"/>
                  <a:pt x="55" y="45"/>
                </a:cubicBezTo>
                <a:cubicBezTo>
                  <a:pt x="55" y="45"/>
                  <a:pt x="55" y="45"/>
                  <a:pt x="55" y="45"/>
                </a:cubicBezTo>
                <a:cubicBezTo>
                  <a:pt x="55" y="44"/>
                  <a:pt x="55" y="44"/>
                  <a:pt x="55" y="44"/>
                </a:cubicBezTo>
                <a:cubicBezTo>
                  <a:pt x="55" y="44"/>
                  <a:pt x="55" y="44"/>
                  <a:pt x="55" y="44"/>
                </a:cubicBezTo>
                <a:cubicBezTo>
                  <a:pt x="57" y="44"/>
                  <a:pt x="57" y="44"/>
                  <a:pt x="57" y="44"/>
                </a:cubicBezTo>
                <a:cubicBezTo>
                  <a:pt x="57" y="45"/>
                  <a:pt x="57" y="45"/>
                  <a:pt x="57" y="45"/>
                </a:cubicBezTo>
                <a:cubicBezTo>
                  <a:pt x="57" y="44"/>
                  <a:pt x="57" y="44"/>
                  <a:pt x="57" y="44"/>
                </a:cubicBezTo>
                <a:cubicBezTo>
                  <a:pt x="59" y="43"/>
                  <a:pt x="59" y="43"/>
                  <a:pt x="59" y="43"/>
                </a:cubicBezTo>
                <a:cubicBezTo>
                  <a:pt x="59" y="42"/>
                  <a:pt x="59" y="42"/>
                  <a:pt x="59" y="42"/>
                </a:cubicBezTo>
                <a:cubicBezTo>
                  <a:pt x="59" y="41"/>
                  <a:pt x="59" y="41"/>
                  <a:pt x="59" y="41"/>
                </a:cubicBezTo>
                <a:cubicBezTo>
                  <a:pt x="60" y="40"/>
                  <a:pt x="60" y="40"/>
                  <a:pt x="60" y="40"/>
                </a:cubicBezTo>
                <a:cubicBezTo>
                  <a:pt x="61" y="40"/>
                  <a:pt x="61" y="40"/>
                  <a:pt x="61" y="40"/>
                </a:cubicBezTo>
                <a:cubicBezTo>
                  <a:pt x="62" y="39"/>
                  <a:pt x="62" y="39"/>
                  <a:pt x="62" y="39"/>
                </a:cubicBezTo>
                <a:cubicBezTo>
                  <a:pt x="63" y="39"/>
                  <a:pt x="63" y="39"/>
                  <a:pt x="63" y="39"/>
                </a:cubicBezTo>
                <a:cubicBezTo>
                  <a:pt x="63" y="39"/>
                  <a:pt x="63" y="39"/>
                  <a:pt x="63" y="39"/>
                </a:cubicBezTo>
                <a:cubicBezTo>
                  <a:pt x="64" y="39"/>
                  <a:pt x="64" y="39"/>
                  <a:pt x="64" y="39"/>
                </a:cubicBezTo>
                <a:cubicBezTo>
                  <a:pt x="64" y="40"/>
                  <a:pt x="64" y="40"/>
                  <a:pt x="64" y="40"/>
                </a:cubicBezTo>
                <a:cubicBezTo>
                  <a:pt x="64" y="42"/>
                  <a:pt x="64" y="42"/>
                  <a:pt x="64" y="42"/>
                </a:cubicBezTo>
                <a:cubicBezTo>
                  <a:pt x="64" y="43"/>
                  <a:pt x="64" y="43"/>
                  <a:pt x="64" y="43"/>
                </a:cubicBezTo>
                <a:cubicBezTo>
                  <a:pt x="64" y="45"/>
                  <a:pt x="64" y="45"/>
                  <a:pt x="64" y="45"/>
                </a:cubicBezTo>
                <a:cubicBezTo>
                  <a:pt x="64" y="47"/>
                  <a:pt x="64" y="47"/>
                  <a:pt x="64" y="47"/>
                </a:cubicBezTo>
                <a:cubicBezTo>
                  <a:pt x="65" y="47"/>
                  <a:pt x="65" y="47"/>
                  <a:pt x="65" y="47"/>
                </a:cubicBezTo>
                <a:cubicBezTo>
                  <a:pt x="65" y="47"/>
                  <a:pt x="65" y="47"/>
                  <a:pt x="65" y="47"/>
                </a:cubicBezTo>
                <a:cubicBezTo>
                  <a:pt x="65" y="45"/>
                  <a:pt x="65" y="45"/>
                  <a:pt x="65" y="45"/>
                </a:cubicBezTo>
                <a:cubicBezTo>
                  <a:pt x="65" y="43"/>
                  <a:pt x="65" y="43"/>
                  <a:pt x="65" y="43"/>
                </a:cubicBezTo>
                <a:cubicBezTo>
                  <a:pt x="65" y="42"/>
                  <a:pt x="65" y="42"/>
                  <a:pt x="65" y="42"/>
                </a:cubicBezTo>
                <a:cubicBezTo>
                  <a:pt x="65" y="41"/>
                  <a:pt x="65" y="41"/>
                  <a:pt x="65" y="41"/>
                </a:cubicBezTo>
                <a:cubicBezTo>
                  <a:pt x="65" y="39"/>
                  <a:pt x="65" y="39"/>
                  <a:pt x="65" y="39"/>
                </a:cubicBezTo>
                <a:cubicBezTo>
                  <a:pt x="66" y="39"/>
                  <a:pt x="66" y="39"/>
                  <a:pt x="66" y="39"/>
                </a:cubicBezTo>
                <a:cubicBezTo>
                  <a:pt x="66" y="39"/>
                  <a:pt x="66" y="39"/>
                  <a:pt x="66" y="39"/>
                </a:cubicBezTo>
                <a:cubicBezTo>
                  <a:pt x="67" y="38"/>
                  <a:pt x="67" y="38"/>
                  <a:pt x="67" y="38"/>
                </a:cubicBezTo>
                <a:cubicBezTo>
                  <a:pt x="67" y="38"/>
                  <a:pt x="67" y="38"/>
                  <a:pt x="67" y="38"/>
                </a:cubicBezTo>
                <a:cubicBezTo>
                  <a:pt x="68" y="38"/>
                  <a:pt x="68" y="38"/>
                  <a:pt x="68" y="38"/>
                </a:cubicBezTo>
                <a:cubicBezTo>
                  <a:pt x="68" y="39"/>
                  <a:pt x="68" y="39"/>
                  <a:pt x="68" y="39"/>
                </a:cubicBezTo>
                <a:cubicBezTo>
                  <a:pt x="68" y="39"/>
                  <a:pt x="68" y="39"/>
                  <a:pt x="68" y="39"/>
                </a:cubicBezTo>
                <a:cubicBezTo>
                  <a:pt x="69" y="39"/>
                  <a:pt x="69" y="39"/>
                  <a:pt x="69" y="39"/>
                </a:cubicBezTo>
                <a:cubicBezTo>
                  <a:pt x="69" y="39"/>
                  <a:pt x="69" y="39"/>
                  <a:pt x="69" y="39"/>
                </a:cubicBezTo>
                <a:cubicBezTo>
                  <a:pt x="69" y="40"/>
                  <a:pt x="69" y="40"/>
                  <a:pt x="69" y="40"/>
                </a:cubicBezTo>
                <a:cubicBezTo>
                  <a:pt x="69" y="41"/>
                  <a:pt x="69" y="41"/>
                  <a:pt x="69" y="41"/>
                </a:cubicBezTo>
                <a:cubicBezTo>
                  <a:pt x="70" y="41"/>
                  <a:pt x="70" y="41"/>
                  <a:pt x="70" y="41"/>
                </a:cubicBezTo>
                <a:cubicBezTo>
                  <a:pt x="72" y="41"/>
                  <a:pt x="72" y="41"/>
                  <a:pt x="72" y="41"/>
                </a:cubicBezTo>
                <a:cubicBezTo>
                  <a:pt x="73" y="41"/>
                  <a:pt x="73" y="41"/>
                  <a:pt x="73" y="41"/>
                </a:cubicBezTo>
                <a:cubicBezTo>
                  <a:pt x="74" y="41"/>
                  <a:pt x="74" y="41"/>
                  <a:pt x="74" y="41"/>
                </a:cubicBezTo>
                <a:cubicBezTo>
                  <a:pt x="74" y="40"/>
                  <a:pt x="74" y="40"/>
                  <a:pt x="74" y="40"/>
                </a:cubicBezTo>
                <a:cubicBezTo>
                  <a:pt x="73" y="40"/>
                  <a:pt x="73" y="40"/>
                  <a:pt x="73" y="40"/>
                </a:cubicBezTo>
                <a:cubicBezTo>
                  <a:pt x="74" y="39"/>
                  <a:pt x="74" y="39"/>
                  <a:pt x="74" y="39"/>
                </a:cubicBezTo>
                <a:cubicBezTo>
                  <a:pt x="74" y="38"/>
                  <a:pt x="74" y="38"/>
                  <a:pt x="74" y="38"/>
                </a:cubicBezTo>
                <a:cubicBezTo>
                  <a:pt x="75" y="37"/>
                  <a:pt x="75" y="37"/>
                  <a:pt x="75" y="37"/>
                </a:cubicBezTo>
                <a:cubicBezTo>
                  <a:pt x="75" y="37"/>
                  <a:pt x="75" y="37"/>
                  <a:pt x="75" y="37"/>
                </a:cubicBezTo>
                <a:cubicBezTo>
                  <a:pt x="76" y="37"/>
                  <a:pt x="76" y="37"/>
                  <a:pt x="76" y="37"/>
                </a:cubicBezTo>
                <a:cubicBezTo>
                  <a:pt x="78" y="36"/>
                  <a:pt x="78" y="36"/>
                  <a:pt x="78" y="36"/>
                </a:cubicBezTo>
                <a:cubicBezTo>
                  <a:pt x="78" y="35"/>
                  <a:pt x="78" y="35"/>
                  <a:pt x="78" y="35"/>
                </a:cubicBezTo>
                <a:cubicBezTo>
                  <a:pt x="78" y="33"/>
                  <a:pt x="78" y="33"/>
                  <a:pt x="78" y="33"/>
                </a:cubicBezTo>
                <a:cubicBezTo>
                  <a:pt x="78" y="33"/>
                  <a:pt x="78" y="33"/>
                  <a:pt x="78" y="33"/>
                </a:cubicBezTo>
                <a:cubicBezTo>
                  <a:pt x="77" y="33"/>
                  <a:pt x="77" y="33"/>
                  <a:pt x="77" y="33"/>
                </a:cubicBezTo>
                <a:cubicBezTo>
                  <a:pt x="77" y="33"/>
                  <a:pt x="77" y="33"/>
                  <a:pt x="77" y="33"/>
                </a:cubicBezTo>
                <a:cubicBezTo>
                  <a:pt x="77" y="32"/>
                  <a:pt x="77" y="32"/>
                  <a:pt x="77" y="32"/>
                </a:cubicBezTo>
                <a:cubicBezTo>
                  <a:pt x="78" y="31"/>
                  <a:pt x="78" y="31"/>
                  <a:pt x="78" y="31"/>
                </a:cubicBezTo>
                <a:cubicBezTo>
                  <a:pt x="78" y="29"/>
                  <a:pt x="78" y="29"/>
                  <a:pt x="78" y="29"/>
                </a:cubicBezTo>
                <a:cubicBezTo>
                  <a:pt x="78" y="28"/>
                  <a:pt x="78" y="28"/>
                  <a:pt x="78" y="28"/>
                </a:cubicBezTo>
                <a:cubicBezTo>
                  <a:pt x="78" y="27"/>
                  <a:pt x="78" y="27"/>
                  <a:pt x="78" y="27"/>
                </a:cubicBezTo>
                <a:cubicBezTo>
                  <a:pt x="79" y="26"/>
                  <a:pt x="79" y="26"/>
                  <a:pt x="79" y="26"/>
                </a:cubicBezTo>
                <a:cubicBezTo>
                  <a:pt x="81" y="26"/>
                  <a:pt x="81" y="26"/>
                  <a:pt x="81" y="26"/>
                </a:cubicBezTo>
                <a:cubicBezTo>
                  <a:pt x="82" y="25"/>
                  <a:pt x="82" y="25"/>
                  <a:pt x="82" y="25"/>
                </a:cubicBezTo>
                <a:cubicBezTo>
                  <a:pt x="84" y="25"/>
                  <a:pt x="84" y="25"/>
                  <a:pt x="84" y="25"/>
                </a:cubicBezTo>
                <a:cubicBezTo>
                  <a:pt x="84" y="25"/>
                  <a:pt x="84" y="25"/>
                  <a:pt x="84" y="25"/>
                </a:cubicBezTo>
                <a:cubicBezTo>
                  <a:pt x="84" y="26"/>
                  <a:pt x="84" y="26"/>
                  <a:pt x="84" y="26"/>
                </a:cubicBezTo>
                <a:cubicBezTo>
                  <a:pt x="84" y="27"/>
                  <a:pt x="84" y="27"/>
                  <a:pt x="84" y="27"/>
                </a:cubicBezTo>
                <a:cubicBezTo>
                  <a:pt x="86" y="28"/>
                  <a:pt x="86" y="28"/>
                  <a:pt x="86" y="28"/>
                </a:cubicBezTo>
                <a:cubicBezTo>
                  <a:pt x="86" y="29"/>
                  <a:pt x="86" y="29"/>
                  <a:pt x="86" y="29"/>
                </a:cubicBezTo>
                <a:cubicBezTo>
                  <a:pt x="86" y="32"/>
                  <a:pt x="86" y="32"/>
                  <a:pt x="86" y="32"/>
                </a:cubicBezTo>
                <a:cubicBezTo>
                  <a:pt x="85" y="34"/>
                  <a:pt x="85" y="34"/>
                  <a:pt x="85" y="34"/>
                </a:cubicBezTo>
                <a:cubicBezTo>
                  <a:pt x="86" y="34"/>
                  <a:pt x="86" y="34"/>
                  <a:pt x="86" y="34"/>
                </a:cubicBezTo>
                <a:cubicBezTo>
                  <a:pt x="88" y="36"/>
                  <a:pt x="88" y="36"/>
                  <a:pt x="88" y="36"/>
                </a:cubicBezTo>
                <a:cubicBezTo>
                  <a:pt x="88" y="37"/>
                  <a:pt x="88" y="37"/>
                  <a:pt x="88" y="37"/>
                </a:cubicBezTo>
                <a:cubicBezTo>
                  <a:pt x="89" y="38"/>
                  <a:pt x="89" y="38"/>
                  <a:pt x="89" y="38"/>
                </a:cubicBezTo>
                <a:cubicBezTo>
                  <a:pt x="89" y="37"/>
                  <a:pt x="89" y="37"/>
                  <a:pt x="89" y="37"/>
                </a:cubicBezTo>
                <a:cubicBezTo>
                  <a:pt x="89" y="35"/>
                  <a:pt x="89" y="35"/>
                  <a:pt x="89" y="35"/>
                </a:cubicBezTo>
                <a:cubicBezTo>
                  <a:pt x="89" y="34"/>
                  <a:pt x="89" y="34"/>
                  <a:pt x="89" y="34"/>
                </a:cubicBezTo>
                <a:cubicBezTo>
                  <a:pt x="87" y="32"/>
                  <a:pt x="87" y="32"/>
                  <a:pt x="87" y="32"/>
                </a:cubicBezTo>
                <a:cubicBezTo>
                  <a:pt x="87" y="30"/>
                  <a:pt x="87" y="30"/>
                  <a:pt x="87" y="30"/>
                </a:cubicBezTo>
                <a:cubicBezTo>
                  <a:pt x="88" y="28"/>
                  <a:pt x="88" y="28"/>
                  <a:pt x="88" y="28"/>
                </a:cubicBezTo>
                <a:cubicBezTo>
                  <a:pt x="88" y="27"/>
                  <a:pt x="88" y="27"/>
                  <a:pt x="88" y="27"/>
                </a:cubicBezTo>
                <a:cubicBezTo>
                  <a:pt x="88" y="27"/>
                  <a:pt x="88" y="27"/>
                  <a:pt x="88" y="27"/>
                </a:cubicBezTo>
                <a:cubicBezTo>
                  <a:pt x="87" y="26"/>
                  <a:pt x="87" y="26"/>
                  <a:pt x="87" y="26"/>
                </a:cubicBezTo>
                <a:cubicBezTo>
                  <a:pt x="87" y="25"/>
                  <a:pt x="87" y="25"/>
                  <a:pt x="87" y="25"/>
                </a:cubicBezTo>
                <a:cubicBezTo>
                  <a:pt x="87" y="24"/>
                  <a:pt x="87" y="24"/>
                  <a:pt x="87" y="24"/>
                </a:cubicBezTo>
                <a:cubicBezTo>
                  <a:pt x="87" y="23"/>
                  <a:pt x="87" y="23"/>
                  <a:pt x="87" y="23"/>
                </a:cubicBezTo>
                <a:cubicBezTo>
                  <a:pt x="88" y="22"/>
                  <a:pt x="88" y="22"/>
                  <a:pt x="88" y="22"/>
                </a:cubicBezTo>
                <a:cubicBezTo>
                  <a:pt x="89" y="22"/>
                  <a:pt x="89" y="22"/>
                  <a:pt x="89" y="22"/>
                </a:cubicBezTo>
                <a:cubicBezTo>
                  <a:pt x="90" y="23"/>
                  <a:pt x="90" y="23"/>
                  <a:pt x="90" y="23"/>
                </a:cubicBezTo>
                <a:cubicBezTo>
                  <a:pt x="91" y="22"/>
                  <a:pt x="91" y="22"/>
                  <a:pt x="91" y="22"/>
                </a:cubicBezTo>
                <a:cubicBezTo>
                  <a:pt x="92" y="22"/>
                  <a:pt x="92" y="22"/>
                  <a:pt x="92" y="22"/>
                </a:cubicBezTo>
                <a:cubicBezTo>
                  <a:pt x="93" y="23"/>
                  <a:pt x="93" y="23"/>
                  <a:pt x="93" y="23"/>
                </a:cubicBezTo>
                <a:cubicBezTo>
                  <a:pt x="96" y="22"/>
                  <a:pt x="96" y="22"/>
                  <a:pt x="96" y="22"/>
                </a:cubicBezTo>
                <a:cubicBezTo>
                  <a:pt x="98" y="22"/>
                  <a:pt x="98" y="22"/>
                  <a:pt x="98" y="22"/>
                </a:cubicBezTo>
                <a:cubicBezTo>
                  <a:pt x="101" y="21"/>
                  <a:pt x="101" y="21"/>
                  <a:pt x="101" y="21"/>
                </a:cubicBezTo>
                <a:cubicBezTo>
                  <a:pt x="101" y="22"/>
                  <a:pt x="101" y="22"/>
                  <a:pt x="101" y="22"/>
                </a:cubicBezTo>
                <a:cubicBezTo>
                  <a:pt x="102" y="23"/>
                  <a:pt x="102" y="23"/>
                  <a:pt x="102" y="23"/>
                </a:cubicBezTo>
                <a:cubicBezTo>
                  <a:pt x="102" y="24"/>
                  <a:pt x="102" y="24"/>
                  <a:pt x="102" y="24"/>
                </a:cubicBezTo>
                <a:cubicBezTo>
                  <a:pt x="102" y="25"/>
                  <a:pt x="102" y="25"/>
                  <a:pt x="102" y="25"/>
                </a:cubicBezTo>
                <a:cubicBezTo>
                  <a:pt x="103" y="25"/>
                  <a:pt x="103" y="25"/>
                  <a:pt x="103" y="25"/>
                </a:cubicBezTo>
                <a:cubicBezTo>
                  <a:pt x="103" y="24"/>
                  <a:pt x="103" y="24"/>
                  <a:pt x="103" y="24"/>
                </a:cubicBezTo>
                <a:cubicBezTo>
                  <a:pt x="103" y="23"/>
                  <a:pt x="103" y="23"/>
                  <a:pt x="103" y="23"/>
                </a:cubicBezTo>
                <a:cubicBezTo>
                  <a:pt x="103" y="22"/>
                  <a:pt x="103" y="22"/>
                  <a:pt x="103" y="22"/>
                </a:cubicBezTo>
                <a:cubicBezTo>
                  <a:pt x="104" y="20"/>
                  <a:pt x="104" y="20"/>
                  <a:pt x="104" y="20"/>
                </a:cubicBezTo>
                <a:cubicBezTo>
                  <a:pt x="105" y="21"/>
                  <a:pt x="105" y="21"/>
                  <a:pt x="105" y="21"/>
                </a:cubicBezTo>
                <a:cubicBezTo>
                  <a:pt x="106" y="22"/>
                  <a:pt x="106" y="22"/>
                  <a:pt x="106" y="22"/>
                </a:cubicBezTo>
                <a:cubicBezTo>
                  <a:pt x="106" y="23"/>
                  <a:pt x="106" y="23"/>
                  <a:pt x="106" y="23"/>
                </a:cubicBezTo>
                <a:cubicBezTo>
                  <a:pt x="107" y="24"/>
                  <a:pt x="107" y="24"/>
                  <a:pt x="107" y="24"/>
                </a:cubicBezTo>
                <a:cubicBezTo>
                  <a:pt x="107" y="23"/>
                  <a:pt x="107" y="23"/>
                  <a:pt x="107" y="23"/>
                </a:cubicBezTo>
                <a:cubicBezTo>
                  <a:pt x="107" y="21"/>
                  <a:pt x="107" y="21"/>
                  <a:pt x="107" y="21"/>
                </a:cubicBezTo>
                <a:cubicBezTo>
                  <a:pt x="106" y="20"/>
                  <a:pt x="106" y="20"/>
                  <a:pt x="106" y="20"/>
                </a:cubicBezTo>
                <a:cubicBezTo>
                  <a:pt x="106" y="19"/>
                  <a:pt x="106" y="19"/>
                  <a:pt x="106" y="19"/>
                </a:cubicBezTo>
                <a:cubicBezTo>
                  <a:pt x="107" y="19"/>
                  <a:pt x="107" y="19"/>
                  <a:pt x="107" y="19"/>
                </a:cubicBezTo>
                <a:cubicBezTo>
                  <a:pt x="108" y="19"/>
                  <a:pt x="108" y="19"/>
                  <a:pt x="108" y="19"/>
                </a:cubicBezTo>
                <a:cubicBezTo>
                  <a:pt x="109" y="20"/>
                  <a:pt x="109" y="20"/>
                  <a:pt x="109" y="20"/>
                </a:cubicBezTo>
                <a:cubicBezTo>
                  <a:pt x="110" y="19"/>
                  <a:pt x="110" y="19"/>
                  <a:pt x="110" y="19"/>
                </a:cubicBezTo>
                <a:cubicBezTo>
                  <a:pt x="111" y="19"/>
                  <a:pt x="111" y="19"/>
                  <a:pt x="111" y="19"/>
                </a:cubicBezTo>
                <a:cubicBezTo>
                  <a:pt x="113" y="19"/>
                  <a:pt x="113" y="19"/>
                  <a:pt x="113" y="19"/>
                </a:cubicBezTo>
                <a:cubicBezTo>
                  <a:pt x="113" y="20"/>
                  <a:pt x="113" y="20"/>
                  <a:pt x="113" y="20"/>
                </a:cubicBezTo>
                <a:cubicBezTo>
                  <a:pt x="113" y="23"/>
                  <a:pt x="113" y="23"/>
                  <a:pt x="113" y="23"/>
                </a:cubicBezTo>
                <a:cubicBezTo>
                  <a:pt x="112" y="24"/>
                  <a:pt x="112" y="24"/>
                  <a:pt x="112" y="24"/>
                </a:cubicBezTo>
                <a:cubicBezTo>
                  <a:pt x="112" y="25"/>
                  <a:pt x="112" y="25"/>
                  <a:pt x="112" y="25"/>
                </a:cubicBezTo>
                <a:cubicBezTo>
                  <a:pt x="111" y="27"/>
                  <a:pt x="111" y="27"/>
                  <a:pt x="111" y="27"/>
                </a:cubicBezTo>
                <a:cubicBezTo>
                  <a:pt x="111" y="29"/>
                  <a:pt x="111" y="29"/>
                  <a:pt x="111" y="29"/>
                </a:cubicBezTo>
                <a:cubicBezTo>
                  <a:pt x="111" y="29"/>
                  <a:pt x="111" y="29"/>
                  <a:pt x="111" y="29"/>
                </a:cubicBezTo>
                <a:cubicBezTo>
                  <a:pt x="110" y="30"/>
                  <a:pt x="110" y="30"/>
                  <a:pt x="110" y="30"/>
                </a:cubicBezTo>
                <a:cubicBezTo>
                  <a:pt x="110" y="31"/>
                  <a:pt x="110" y="31"/>
                  <a:pt x="110" y="31"/>
                </a:cubicBezTo>
                <a:cubicBezTo>
                  <a:pt x="109" y="31"/>
                  <a:pt x="109" y="31"/>
                  <a:pt x="109" y="31"/>
                </a:cubicBezTo>
                <a:cubicBezTo>
                  <a:pt x="110" y="32"/>
                  <a:pt x="110" y="32"/>
                  <a:pt x="110" y="32"/>
                </a:cubicBezTo>
                <a:cubicBezTo>
                  <a:pt x="110" y="32"/>
                  <a:pt x="110" y="32"/>
                  <a:pt x="110" y="32"/>
                </a:cubicBezTo>
                <a:cubicBezTo>
                  <a:pt x="110" y="33"/>
                  <a:pt x="110" y="33"/>
                  <a:pt x="110" y="33"/>
                </a:cubicBezTo>
                <a:cubicBezTo>
                  <a:pt x="109" y="34"/>
                  <a:pt x="109" y="34"/>
                  <a:pt x="109" y="34"/>
                </a:cubicBezTo>
                <a:cubicBezTo>
                  <a:pt x="108" y="36"/>
                  <a:pt x="108" y="36"/>
                  <a:pt x="108" y="36"/>
                </a:cubicBezTo>
                <a:cubicBezTo>
                  <a:pt x="107" y="36"/>
                  <a:pt x="107" y="36"/>
                  <a:pt x="107" y="36"/>
                </a:cubicBezTo>
                <a:cubicBezTo>
                  <a:pt x="107" y="37"/>
                  <a:pt x="107" y="37"/>
                  <a:pt x="107" y="37"/>
                </a:cubicBezTo>
                <a:cubicBezTo>
                  <a:pt x="106" y="38"/>
                  <a:pt x="106" y="38"/>
                  <a:pt x="106" y="38"/>
                </a:cubicBezTo>
                <a:cubicBezTo>
                  <a:pt x="106" y="39"/>
                  <a:pt x="106" y="39"/>
                  <a:pt x="106" y="39"/>
                </a:cubicBezTo>
                <a:cubicBezTo>
                  <a:pt x="105" y="41"/>
                  <a:pt x="105" y="41"/>
                  <a:pt x="105" y="41"/>
                </a:cubicBezTo>
                <a:cubicBezTo>
                  <a:pt x="106" y="41"/>
                  <a:pt x="106" y="41"/>
                  <a:pt x="106" y="41"/>
                </a:cubicBezTo>
                <a:cubicBezTo>
                  <a:pt x="106" y="41"/>
                  <a:pt x="106" y="41"/>
                  <a:pt x="106" y="41"/>
                </a:cubicBezTo>
                <a:cubicBezTo>
                  <a:pt x="107" y="40"/>
                  <a:pt x="107" y="40"/>
                  <a:pt x="107" y="40"/>
                </a:cubicBezTo>
                <a:cubicBezTo>
                  <a:pt x="108" y="39"/>
                  <a:pt x="108" y="39"/>
                  <a:pt x="108" y="39"/>
                </a:cubicBezTo>
                <a:cubicBezTo>
                  <a:pt x="108" y="38"/>
                  <a:pt x="108" y="38"/>
                  <a:pt x="108" y="38"/>
                </a:cubicBezTo>
                <a:cubicBezTo>
                  <a:pt x="109" y="37"/>
                  <a:pt x="109" y="37"/>
                  <a:pt x="109" y="37"/>
                </a:cubicBezTo>
                <a:cubicBezTo>
                  <a:pt x="110" y="36"/>
                  <a:pt x="110" y="36"/>
                  <a:pt x="110" y="36"/>
                </a:cubicBezTo>
                <a:cubicBezTo>
                  <a:pt x="110" y="35"/>
                  <a:pt x="110" y="35"/>
                  <a:pt x="110" y="35"/>
                </a:cubicBezTo>
                <a:cubicBezTo>
                  <a:pt x="111" y="34"/>
                  <a:pt x="111" y="34"/>
                  <a:pt x="111" y="34"/>
                </a:cubicBezTo>
                <a:cubicBezTo>
                  <a:pt x="112" y="34"/>
                  <a:pt x="112" y="34"/>
                  <a:pt x="112" y="34"/>
                </a:cubicBezTo>
                <a:cubicBezTo>
                  <a:pt x="112" y="33"/>
                  <a:pt x="112" y="33"/>
                  <a:pt x="112" y="33"/>
                </a:cubicBezTo>
                <a:cubicBezTo>
                  <a:pt x="112" y="32"/>
                  <a:pt x="112" y="32"/>
                  <a:pt x="112" y="32"/>
                </a:cubicBezTo>
                <a:cubicBezTo>
                  <a:pt x="113" y="32"/>
                  <a:pt x="113" y="32"/>
                  <a:pt x="113" y="32"/>
                </a:cubicBezTo>
                <a:cubicBezTo>
                  <a:pt x="113" y="30"/>
                  <a:pt x="113" y="30"/>
                  <a:pt x="113" y="30"/>
                </a:cubicBezTo>
                <a:cubicBezTo>
                  <a:pt x="114" y="30"/>
                  <a:pt x="114" y="30"/>
                  <a:pt x="114" y="30"/>
                </a:cubicBezTo>
                <a:cubicBezTo>
                  <a:pt x="114" y="31"/>
                  <a:pt x="114" y="31"/>
                  <a:pt x="114" y="31"/>
                </a:cubicBezTo>
                <a:cubicBezTo>
                  <a:pt x="114" y="32"/>
                  <a:pt x="114" y="32"/>
                  <a:pt x="114" y="32"/>
                </a:cubicBezTo>
                <a:cubicBezTo>
                  <a:pt x="115" y="32"/>
                  <a:pt x="115" y="32"/>
                  <a:pt x="115" y="32"/>
                </a:cubicBezTo>
                <a:cubicBezTo>
                  <a:pt x="115" y="33"/>
                  <a:pt x="115" y="33"/>
                  <a:pt x="115" y="33"/>
                </a:cubicBezTo>
                <a:cubicBezTo>
                  <a:pt x="116" y="35"/>
                  <a:pt x="116" y="35"/>
                  <a:pt x="116" y="35"/>
                </a:cubicBezTo>
                <a:cubicBezTo>
                  <a:pt x="117" y="36"/>
                  <a:pt x="117" y="36"/>
                  <a:pt x="117" y="36"/>
                </a:cubicBezTo>
                <a:cubicBezTo>
                  <a:pt x="117" y="38"/>
                  <a:pt x="117" y="38"/>
                  <a:pt x="117" y="38"/>
                </a:cubicBezTo>
                <a:cubicBezTo>
                  <a:pt x="117" y="38"/>
                  <a:pt x="117" y="38"/>
                  <a:pt x="117" y="38"/>
                </a:cubicBezTo>
                <a:cubicBezTo>
                  <a:pt x="118" y="38"/>
                  <a:pt x="118" y="38"/>
                  <a:pt x="118" y="38"/>
                </a:cubicBezTo>
                <a:cubicBezTo>
                  <a:pt x="119" y="39"/>
                  <a:pt x="119" y="39"/>
                  <a:pt x="119" y="39"/>
                </a:cubicBezTo>
                <a:cubicBezTo>
                  <a:pt x="119" y="39"/>
                  <a:pt x="119" y="39"/>
                  <a:pt x="119" y="39"/>
                </a:cubicBezTo>
                <a:cubicBezTo>
                  <a:pt x="119" y="38"/>
                  <a:pt x="119" y="38"/>
                  <a:pt x="119" y="38"/>
                </a:cubicBezTo>
                <a:cubicBezTo>
                  <a:pt x="120" y="38"/>
                  <a:pt x="120" y="38"/>
                  <a:pt x="120" y="38"/>
                </a:cubicBezTo>
                <a:cubicBezTo>
                  <a:pt x="120" y="37"/>
                  <a:pt x="120" y="37"/>
                  <a:pt x="120" y="37"/>
                </a:cubicBezTo>
                <a:cubicBezTo>
                  <a:pt x="119" y="36"/>
                  <a:pt x="119" y="36"/>
                  <a:pt x="119" y="36"/>
                </a:cubicBezTo>
                <a:cubicBezTo>
                  <a:pt x="119" y="35"/>
                  <a:pt x="119" y="35"/>
                  <a:pt x="119" y="35"/>
                </a:cubicBezTo>
                <a:cubicBezTo>
                  <a:pt x="119" y="35"/>
                  <a:pt x="119" y="35"/>
                  <a:pt x="119" y="35"/>
                </a:cubicBezTo>
                <a:cubicBezTo>
                  <a:pt x="119" y="35"/>
                  <a:pt x="119" y="35"/>
                  <a:pt x="119" y="35"/>
                </a:cubicBezTo>
                <a:cubicBezTo>
                  <a:pt x="120" y="36"/>
                  <a:pt x="120" y="36"/>
                  <a:pt x="120" y="36"/>
                </a:cubicBezTo>
                <a:cubicBezTo>
                  <a:pt x="121" y="36"/>
                  <a:pt x="121" y="36"/>
                  <a:pt x="121" y="36"/>
                </a:cubicBezTo>
                <a:cubicBezTo>
                  <a:pt x="122" y="36"/>
                  <a:pt x="122" y="36"/>
                  <a:pt x="122" y="36"/>
                </a:cubicBezTo>
                <a:cubicBezTo>
                  <a:pt x="122" y="37"/>
                  <a:pt x="122" y="37"/>
                  <a:pt x="122" y="37"/>
                </a:cubicBezTo>
                <a:cubicBezTo>
                  <a:pt x="123" y="37"/>
                  <a:pt x="123" y="37"/>
                  <a:pt x="123" y="37"/>
                </a:cubicBezTo>
                <a:cubicBezTo>
                  <a:pt x="124" y="37"/>
                  <a:pt x="124" y="37"/>
                  <a:pt x="124" y="37"/>
                </a:cubicBezTo>
                <a:cubicBezTo>
                  <a:pt x="124" y="37"/>
                  <a:pt x="124" y="37"/>
                  <a:pt x="124" y="37"/>
                </a:cubicBezTo>
                <a:cubicBezTo>
                  <a:pt x="125" y="37"/>
                  <a:pt x="125" y="37"/>
                  <a:pt x="125" y="37"/>
                </a:cubicBezTo>
                <a:cubicBezTo>
                  <a:pt x="125" y="37"/>
                  <a:pt x="125" y="37"/>
                  <a:pt x="125" y="37"/>
                </a:cubicBezTo>
                <a:cubicBezTo>
                  <a:pt x="125" y="35"/>
                  <a:pt x="125" y="35"/>
                  <a:pt x="125" y="35"/>
                </a:cubicBezTo>
                <a:cubicBezTo>
                  <a:pt x="125" y="34"/>
                  <a:pt x="125" y="34"/>
                  <a:pt x="125" y="34"/>
                </a:cubicBezTo>
                <a:cubicBezTo>
                  <a:pt x="125" y="32"/>
                  <a:pt x="125" y="32"/>
                  <a:pt x="125" y="32"/>
                </a:cubicBezTo>
                <a:cubicBezTo>
                  <a:pt x="126" y="30"/>
                  <a:pt x="126" y="30"/>
                  <a:pt x="126" y="30"/>
                </a:cubicBezTo>
                <a:cubicBezTo>
                  <a:pt x="125" y="30"/>
                  <a:pt x="125" y="30"/>
                  <a:pt x="125" y="30"/>
                </a:cubicBezTo>
                <a:cubicBezTo>
                  <a:pt x="125" y="28"/>
                  <a:pt x="125" y="28"/>
                  <a:pt x="125" y="28"/>
                </a:cubicBezTo>
                <a:cubicBezTo>
                  <a:pt x="125" y="26"/>
                  <a:pt x="125" y="26"/>
                  <a:pt x="125" y="26"/>
                </a:cubicBezTo>
                <a:cubicBezTo>
                  <a:pt x="126" y="24"/>
                  <a:pt x="126" y="24"/>
                  <a:pt x="126" y="24"/>
                </a:cubicBezTo>
                <a:cubicBezTo>
                  <a:pt x="126" y="23"/>
                  <a:pt x="126" y="23"/>
                  <a:pt x="126" y="23"/>
                </a:cubicBezTo>
                <a:cubicBezTo>
                  <a:pt x="126" y="23"/>
                  <a:pt x="126" y="23"/>
                  <a:pt x="126" y="23"/>
                </a:cubicBezTo>
                <a:cubicBezTo>
                  <a:pt x="126" y="22"/>
                  <a:pt x="126" y="22"/>
                  <a:pt x="126" y="22"/>
                </a:cubicBezTo>
                <a:cubicBezTo>
                  <a:pt x="126" y="21"/>
                  <a:pt x="126" y="21"/>
                  <a:pt x="126" y="21"/>
                </a:cubicBezTo>
                <a:cubicBezTo>
                  <a:pt x="126" y="20"/>
                  <a:pt x="126" y="20"/>
                  <a:pt x="126" y="20"/>
                </a:cubicBezTo>
                <a:cubicBezTo>
                  <a:pt x="128" y="20"/>
                  <a:pt x="128" y="20"/>
                  <a:pt x="128" y="20"/>
                </a:cubicBezTo>
                <a:cubicBezTo>
                  <a:pt x="128" y="20"/>
                  <a:pt x="128" y="20"/>
                  <a:pt x="128" y="20"/>
                </a:cubicBezTo>
                <a:cubicBezTo>
                  <a:pt x="129" y="20"/>
                  <a:pt x="129" y="20"/>
                  <a:pt x="129" y="20"/>
                </a:cubicBezTo>
                <a:cubicBezTo>
                  <a:pt x="130" y="21"/>
                  <a:pt x="130" y="21"/>
                  <a:pt x="130" y="21"/>
                </a:cubicBezTo>
                <a:cubicBezTo>
                  <a:pt x="130" y="22"/>
                  <a:pt x="130" y="22"/>
                  <a:pt x="130" y="22"/>
                </a:cubicBezTo>
                <a:cubicBezTo>
                  <a:pt x="131" y="22"/>
                  <a:pt x="131" y="22"/>
                  <a:pt x="131" y="22"/>
                </a:cubicBezTo>
                <a:cubicBezTo>
                  <a:pt x="132" y="23"/>
                  <a:pt x="132" y="23"/>
                  <a:pt x="132" y="23"/>
                </a:cubicBezTo>
                <a:cubicBezTo>
                  <a:pt x="133" y="26"/>
                  <a:pt x="133" y="26"/>
                  <a:pt x="133" y="26"/>
                </a:cubicBezTo>
                <a:cubicBezTo>
                  <a:pt x="133" y="27"/>
                  <a:pt x="133" y="27"/>
                  <a:pt x="133" y="27"/>
                </a:cubicBezTo>
                <a:cubicBezTo>
                  <a:pt x="134" y="29"/>
                  <a:pt x="134" y="29"/>
                  <a:pt x="134" y="29"/>
                </a:cubicBezTo>
                <a:cubicBezTo>
                  <a:pt x="135" y="30"/>
                  <a:pt x="135" y="30"/>
                  <a:pt x="135" y="30"/>
                </a:cubicBezTo>
                <a:cubicBezTo>
                  <a:pt x="135" y="33"/>
                  <a:pt x="135" y="33"/>
                  <a:pt x="135" y="33"/>
                </a:cubicBezTo>
                <a:cubicBezTo>
                  <a:pt x="135" y="34"/>
                  <a:pt x="135" y="34"/>
                  <a:pt x="135" y="34"/>
                </a:cubicBezTo>
                <a:cubicBezTo>
                  <a:pt x="134" y="34"/>
                  <a:pt x="134" y="34"/>
                  <a:pt x="134" y="34"/>
                </a:cubicBezTo>
                <a:cubicBezTo>
                  <a:pt x="134" y="35"/>
                  <a:pt x="134" y="35"/>
                  <a:pt x="134" y="35"/>
                </a:cubicBezTo>
                <a:cubicBezTo>
                  <a:pt x="134" y="37"/>
                  <a:pt x="134" y="37"/>
                  <a:pt x="134" y="37"/>
                </a:cubicBezTo>
                <a:cubicBezTo>
                  <a:pt x="135" y="37"/>
                  <a:pt x="135" y="37"/>
                  <a:pt x="135" y="37"/>
                </a:cubicBezTo>
                <a:cubicBezTo>
                  <a:pt x="136" y="39"/>
                  <a:pt x="136" y="39"/>
                  <a:pt x="136" y="39"/>
                </a:cubicBezTo>
                <a:cubicBezTo>
                  <a:pt x="136" y="41"/>
                  <a:pt x="136" y="41"/>
                  <a:pt x="136" y="41"/>
                </a:cubicBezTo>
                <a:cubicBezTo>
                  <a:pt x="136" y="42"/>
                  <a:pt x="136" y="42"/>
                  <a:pt x="136" y="42"/>
                </a:cubicBezTo>
                <a:cubicBezTo>
                  <a:pt x="136" y="43"/>
                  <a:pt x="136" y="43"/>
                  <a:pt x="136" y="43"/>
                </a:cubicBezTo>
                <a:cubicBezTo>
                  <a:pt x="137" y="43"/>
                  <a:pt x="137" y="43"/>
                  <a:pt x="137" y="43"/>
                </a:cubicBezTo>
                <a:cubicBezTo>
                  <a:pt x="139" y="44"/>
                  <a:pt x="139" y="44"/>
                  <a:pt x="139" y="44"/>
                </a:cubicBezTo>
                <a:cubicBezTo>
                  <a:pt x="140" y="44"/>
                  <a:pt x="140" y="44"/>
                  <a:pt x="140" y="44"/>
                </a:cubicBezTo>
                <a:cubicBezTo>
                  <a:pt x="141" y="43"/>
                  <a:pt x="141" y="43"/>
                  <a:pt x="141" y="43"/>
                </a:cubicBezTo>
                <a:cubicBezTo>
                  <a:pt x="142" y="42"/>
                  <a:pt x="142" y="42"/>
                  <a:pt x="142" y="42"/>
                </a:cubicBezTo>
                <a:cubicBezTo>
                  <a:pt x="142" y="41"/>
                  <a:pt x="142" y="41"/>
                  <a:pt x="142" y="41"/>
                </a:cubicBezTo>
                <a:cubicBezTo>
                  <a:pt x="143" y="41"/>
                  <a:pt x="143" y="41"/>
                  <a:pt x="143" y="41"/>
                </a:cubicBezTo>
                <a:cubicBezTo>
                  <a:pt x="143" y="42"/>
                  <a:pt x="143" y="42"/>
                  <a:pt x="143" y="42"/>
                </a:cubicBezTo>
                <a:cubicBezTo>
                  <a:pt x="143" y="43"/>
                  <a:pt x="143" y="43"/>
                  <a:pt x="143" y="43"/>
                </a:cubicBezTo>
                <a:cubicBezTo>
                  <a:pt x="143" y="43"/>
                  <a:pt x="143" y="43"/>
                  <a:pt x="143" y="43"/>
                </a:cubicBezTo>
                <a:cubicBezTo>
                  <a:pt x="144" y="42"/>
                  <a:pt x="144" y="42"/>
                  <a:pt x="144" y="42"/>
                </a:cubicBezTo>
                <a:cubicBezTo>
                  <a:pt x="145" y="43"/>
                  <a:pt x="145" y="43"/>
                  <a:pt x="145" y="43"/>
                </a:cubicBezTo>
                <a:cubicBezTo>
                  <a:pt x="145" y="43"/>
                  <a:pt x="145" y="43"/>
                  <a:pt x="145" y="43"/>
                </a:cubicBezTo>
                <a:cubicBezTo>
                  <a:pt x="145" y="44"/>
                  <a:pt x="145" y="44"/>
                  <a:pt x="145" y="44"/>
                </a:cubicBezTo>
                <a:cubicBezTo>
                  <a:pt x="146" y="45"/>
                  <a:pt x="146" y="45"/>
                  <a:pt x="146" y="45"/>
                </a:cubicBezTo>
                <a:cubicBezTo>
                  <a:pt x="147" y="45"/>
                  <a:pt x="147" y="45"/>
                  <a:pt x="147" y="45"/>
                </a:cubicBezTo>
                <a:cubicBezTo>
                  <a:pt x="147" y="45"/>
                  <a:pt x="147" y="45"/>
                  <a:pt x="147" y="45"/>
                </a:cubicBezTo>
                <a:cubicBezTo>
                  <a:pt x="148" y="45"/>
                  <a:pt x="148" y="45"/>
                  <a:pt x="148" y="45"/>
                </a:cubicBezTo>
                <a:cubicBezTo>
                  <a:pt x="149" y="45"/>
                  <a:pt x="149" y="45"/>
                  <a:pt x="149" y="45"/>
                </a:cubicBezTo>
                <a:cubicBezTo>
                  <a:pt x="148" y="45"/>
                  <a:pt x="148" y="45"/>
                  <a:pt x="148" y="45"/>
                </a:cubicBezTo>
                <a:cubicBezTo>
                  <a:pt x="147" y="44"/>
                  <a:pt x="147" y="44"/>
                  <a:pt x="147" y="44"/>
                </a:cubicBezTo>
                <a:cubicBezTo>
                  <a:pt x="147" y="43"/>
                  <a:pt x="147" y="43"/>
                  <a:pt x="147" y="43"/>
                </a:cubicBezTo>
                <a:cubicBezTo>
                  <a:pt x="147" y="42"/>
                  <a:pt x="147" y="42"/>
                  <a:pt x="147" y="42"/>
                </a:cubicBezTo>
                <a:cubicBezTo>
                  <a:pt x="146" y="42"/>
                  <a:pt x="146" y="42"/>
                  <a:pt x="146" y="42"/>
                </a:cubicBezTo>
                <a:cubicBezTo>
                  <a:pt x="146" y="42"/>
                  <a:pt x="146" y="42"/>
                  <a:pt x="146" y="42"/>
                </a:cubicBezTo>
                <a:cubicBezTo>
                  <a:pt x="146" y="41"/>
                  <a:pt x="146" y="41"/>
                  <a:pt x="146" y="41"/>
                </a:cubicBezTo>
                <a:cubicBezTo>
                  <a:pt x="145" y="40"/>
                  <a:pt x="145" y="40"/>
                  <a:pt x="145" y="40"/>
                </a:cubicBezTo>
                <a:cubicBezTo>
                  <a:pt x="144" y="39"/>
                  <a:pt x="144" y="39"/>
                  <a:pt x="144" y="39"/>
                </a:cubicBezTo>
                <a:cubicBezTo>
                  <a:pt x="144" y="38"/>
                  <a:pt x="144" y="38"/>
                  <a:pt x="144" y="38"/>
                </a:cubicBezTo>
                <a:cubicBezTo>
                  <a:pt x="143" y="36"/>
                  <a:pt x="143" y="36"/>
                  <a:pt x="143" y="36"/>
                </a:cubicBezTo>
                <a:cubicBezTo>
                  <a:pt x="143" y="35"/>
                  <a:pt x="143" y="35"/>
                  <a:pt x="143" y="35"/>
                </a:cubicBezTo>
                <a:cubicBezTo>
                  <a:pt x="143" y="35"/>
                  <a:pt x="143" y="35"/>
                  <a:pt x="143" y="35"/>
                </a:cubicBezTo>
                <a:cubicBezTo>
                  <a:pt x="143" y="33"/>
                  <a:pt x="143" y="33"/>
                  <a:pt x="143" y="33"/>
                </a:cubicBezTo>
                <a:cubicBezTo>
                  <a:pt x="143" y="32"/>
                  <a:pt x="143" y="32"/>
                  <a:pt x="143" y="32"/>
                </a:cubicBezTo>
                <a:cubicBezTo>
                  <a:pt x="142" y="30"/>
                  <a:pt x="142" y="30"/>
                  <a:pt x="142" y="30"/>
                </a:cubicBezTo>
                <a:cubicBezTo>
                  <a:pt x="142" y="29"/>
                  <a:pt x="142" y="29"/>
                  <a:pt x="142" y="29"/>
                </a:cubicBezTo>
                <a:cubicBezTo>
                  <a:pt x="142" y="29"/>
                  <a:pt x="142" y="29"/>
                  <a:pt x="142" y="29"/>
                </a:cubicBezTo>
                <a:cubicBezTo>
                  <a:pt x="142" y="27"/>
                  <a:pt x="142" y="27"/>
                  <a:pt x="142" y="27"/>
                </a:cubicBezTo>
                <a:cubicBezTo>
                  <a:pt x="141" y="26"/>
                  <a:pt x="141" y="26"/>
                  <a:pt x="141" y="26"/>
                </a:cubicBezTo>
                <a:cubicBezTo>
                  <a:pt x="141" y="25"/>
                  <a:pt x="141" y="25"/>
                  <a:pt x="141" y="25"/>
                </a:cubicBezTo>
                <a:cubicBezTo>
                  <a:pt x="141" y="23"/>
                  <a:pt x="141" y="23"/>
                  <a:pt x="141" y="23"/>
                </a:cubicBezTo>
                <a:cubicBezTo>
                  <a:pt x="140" y="22"/>
                  <a:pt x="140" y="22"/>
                  <a:pt x="140" y="22"/>
                </a:cubicBezTo>
                <a:cubicBezTo>
                  <a:pt x="141" y="21"/>
                  <a:pt x="141" y="21"/>
                  <a:pt x="141" y="21"/>
                </a:cubicBezTo>
                <a:cubicBezTo>
                  <a:pt x="140" y="20"/>
                  <a:pt x="140" y="20"/>
                  <a:pt x="140" y="20"/>
                </a:cubicBezTo>
                <a:cubicBezTo>
                  <a:pt x="140" y="19"/>
                  <a:pt x="140" y="19"/>
                  <a:pt x="140" y="19"/>
                </a:cubicBezTo>
                <a:cubicBezTo>
                  <a:pt x="140" y="18"/>
                  <a:pt x="140" y="18"/>
                  <a:pt x="140" y="18"/>
                </a:cubicBezTo>
                <a:cubicBezTo>
                  <a:pt x="142" y="19"/>
                  <a:pt x="142" y="19"/>
                  <a:pt x="142" y="19"/>
                </a:cubicBezTo>
                <a:cubicBezTo>
                  <a:pt x="143" y="19"/>
                  <a:pt x="143" y="19"/>
                  <a:pt x="143" y="19"/>
                </a:cubicBezTo>
                <a:cubicBezTo>
                  <a:pt x="144" y="19"/>
                  <a:pt x="144" y="19"/>
                  <a:pt x="144" y="19"/>
                </a:cubicBezTo>
                <a:cubicBezTo>
                  <a:pt x="144" y="19"/>
                  <a:pt x="144" y="19"/>
                  <a:pt x="144" y="19"/>
                </a:cubicBezTo>
                <a:cubicBezTo>
                  <a:pt x="145" y="19"/>
                  <a:pt x="145" y="19"/>
                  <a:pt x="145" y="19"/>
                </a:cubicBezTo>
                <a:cubicBezTo>
                  <a:pt x="147" y="21"/>
                  <a:pt x="147" y="21"/>
                  <a:pt x="147" y="21"/>
                </a:cubicBezTo>
                <a:cubicBezTo>
                  <a:pt x="148" y="22"/>
                  <a:pt x="148" y="22"/>
                  <a:pt x="148" y="22"/>
                </a:cubicBezTo>
                <a:cubicBezTo>
                  <a:pt x="149" y="21"/>
                  <a:pt x="149" y="21"/>
                  <a:pt x="149" y="21"/>
                </a:cubicBezTo>
                <a:cubicBezTo>
                  <a:pt x="149" y="20"/>
                  <a:pt x="149" y="20"/>
                  <a:pt x="149" y="20"/>
                </a:cubicBezTo>
                <a:cubicBezTo>
                  <a:pt x="148" y="20"/>
                  <a:pt x="148" y="20"/>
                  <a:pt x="148" y="20"/>
                </a:cubicBezTo>
                <a:cubicBezTo>
                  <a:pt x="149" y="18"/>
                  <a:pt x="149" y="18"/>
                  <a:pt x="149" y="18"/>
                </a:cubicBezTo>
                <a:cubicBezTo>
                  <a:pt x="150" y="18"/>
                  <a:pt x="150" y="18"/>
                  <a:pt x="150" y="18"/>
                </a:cubicBezTo>
                <a:cubicBezTo>
                  <a:pt x="151" y="18"/>
                  <a:pt x="151" y="18"/>
                  <a:pt x="151" y="18"/>
                </a:cubicBezTo>
                <a:cubicBezTo>
                  <a:pt x="152" y="18"/>
                  <a:pt x="152" y="18"/>
                  <a:pt x="152" y="18"/>
                </a:cubicBezTo>
                <a:cubicBezTo>
                  <a:pt x="153" y="17"/>
                  <a:pt x="153" y="17"/>
                  <a:pt x="153" y="17"/>
                </a:cubicBezTo>
                <a:cubicBezTo>
                  <a:pt x="154" y="17"/>
                  <a:pt x="154" y="17"/>
                  <a:pt x="154" y="17"/>
                </a:cubicBezTo>
                <a:cubicBezTo>
                  <a:pt x="155" y="18"/>
                  <a:pt x="155" y="18"/>
                  <a:pt x="155" y="18"/>
                </a:cubicBezTo>
                <a:cubicBezTo>
                  <a:pt x="156" y="18"/>
                  <a:pt x="156" y="18"/>
                  <a:pt x="156" y="18"/>
                </a:cubicBezTo>
                <a:cubicBezTo>
                  <a:pt x="157" y="19"/>
                  <a:pt x="157" y="19"/>
                  <a:pt x="157" y="19"/>
                </a:cubicBezTo>
                <a:cubicBezTo>
                  <a:pt x="157" y="21"/>
                  <a:pt x="157" y="21"/>
                  <a:pt x="157" y="21"/>
                </a:cubicBezTo>
                <a:cubicBezTo>
                  <a:pt x="157" y="21"/>
                  <a:pt x="157" y="21"/>
                  <a:pt x="157" y="21"/>
                </a:cubicBezTo>
                <a:cubicBezTo>
                  <a:pt x="159" y="23"/>
                  <a:pt x="159" y="23"/>
                  <a:pt x="159" y="23"/>
                </a:cubicBezTo>
                <a:cubicBezTo>
                  <a:pt x="159" y="24"/>
                  <a:pt x="159" y="24"/>
                  <a:pt x="159" y="24"/>
                </a:cubicBezTo>
                <a:cubicBezTo>
                  <a:pt x="158" y="25"/>
                  <a:pt x="158" y="25"/>
                  <a:pt x="158" y="25"/>
                </a:cubicBezTo>
                <a:cubicBezTo>
                  <a:pt x="159" y="27"/>
                  <a:pt x="159" y="27"/>
                  <a:pt x="159" y="27"/>
                </a:cubicBezTo>
                <a:cubicBezTo>
                  <a:pt x="159" y="28"/>
                  <a:pt x="159" y="28"/>
                  <a:pt x="159" y="28"/>
                </a:cubicBezTo>
                <a:cubicBezTo>
                  <a:pt x="159" y="29"/>
                  <a:pt x="159" y="29"/>
                  <a:pt x="159" y="29"/>
                </a:cubicBezTo>
                <a:cubicBezTo>
                  <a:pt x="160" y="30"/>
                  <a:pt x="160" y="30"/>
                  <a:pt x="160" y="30"/>
                </a:cubicBezTo>
                <a:cubicBezTo>
                  <a:pt x="162" y="30"/>
                  <a:pt x="162" y="30"/>
                  <a:pt x="162" y="30"/>
                </a:cubicBezTo>
                <a:cubicBezTo>
                  <a:pt x="163" y="31"/>
                  <a:pt x="163" y="31"/>
                  <a:pt x="163" y="31"/>
                </a:cubicBezTo>
                <a:cubicBezTo>
                  <a:pt x="165" y="32"/>
                  <a:pt x="165" y="32"/>
                  <a:pt x="165" y="32"/>
                </a:cubicBezTo>
                <a:cubicBezTo>
                  <a:pt x="164" y="31"/>
                  <a:pt x="164" y="31"/>
                  <a:pt x="164" y="31"/>
                </a:cubicBezTo>
                <a:cubicBezTo>
                  <a:pt x="164" y="31"/>
                  <a:pt x="164" y="31"/>
                  <a:pt x="164" y="31"/>
                </a:cubicBezTo>
                <a:cubicBezTo>
                  <a:pt x="163" y="30"/>
                  <a:pt x="163" y="30"/>
                  <a:pt x="163" y="30"/>
                </a:cubicBezTo>
                <a:cubicBezTo>
                  <a:pt x="162" y="29"/>
                  <a:pt x="162" y="29"/>
                  <a:pt x="162" y="29"/>
                </a:cubicBezTo>
                <a:cubicBezTo>
                  <a:pt x="161" y="29"/>
                  <a:pt x="161" y="29"/>
                  <a:pt x="161" y="29"/>
                </a:cubicBezTo>
                <a:cubicBezTo>
                  <a:pt x="160" y="28"/>
                  <a:pt x="160" y="28"/>
                  <a:pt x="160" y="28"/>
                </a:cubicBezTo>
                <a:cubicBezTo>
                  <a:pt x="160" y="27"/>
                  <a:pt x="160" y="27"/>
                  <a:pt x="160" y="27"/>
                </a:cubicBezTo>
                <a:cubicBezTo>
                  <a:pt x="160" y="26"/>
                  <a:pt x="160" y="26"/>
                  <a:pt x="160" y="26"/>
                </a:cubicBezTo>
                <a:cubicBezTo>
                  <a:pt x="159" y="25"/>
                  <a:pt x="159" y="25"/>
                  <a:pt x="159" y="25"/>
                </a:cubicBezTo>
                <a:cubicBezTo>
                  <a:pt x="159" y="24"/>
                  <a:pt x="159" y="24"/>
                  <a:pt x="159" y="24"/>
                </a:cubicBezTo>
                <a:cubicBezTo>
                  <a:pt x="160" y="22"/>
                  <a:pt x="160" y="22"/>
                  <a:pt x="160" y="22"/>
                </a:cubicBezTo>
                <a:cubicBezTo>
                  <a:pt x="160" y="21"/>
                  <a:pt x="160" y="21"/>
                  <a:pt x="160" y="21"/>
                </a:cubicBezTo>
                <a:cubicBezTo>
                  <a:pt x="160" y="20"/>
                  <a:pt x="160" y="20"/>
                  <a:pt x="160" y="20"/>
                </a:cubicBezTo>
                <a:cubicBezTo>
                  <a:pt x="160" y="19"/>
                  <a:pt x="160" y="19"/>
                  <a:pt x="160" y="19"/>
                </a:cubicBezTo>
                <a:cubicBezTo>
                  <a:pt x="159" y="19"/>
                  <a:pt x="159" y="19"/>
                  <a:pt x="159" y="19"/>
                </a:cubicBezTo>
                <a:cubicBezTo>
                  <a:pt x="158" y="18"/>
                  <a:pt x="158" y="18"/>
                  <a:pt x="158" y="18"/>
                </a:cubicBezTo>
                <a:cubicBezTo>
                  <a:pt x="157" y="16"/>
                  <a:pt x="157" y="16"/>
                  <a:pt x="157" y="16"/>
                </a:cubicBezTo>
                <a:cubicBezTo>
                  <a:pt x="156" y="16"/>
                  <a:pt x="156" y="16"/>
                  <a:pt x="156" y="16"/>
                </a:cubicBezTo>
                <a:cubicBezTo>
                  <a:pt x="155" y="16"/>
                  <a:pt x="155" y="16"/>
                  <a:pt x="155" y="16"/>
                </a:cubicBezTo>
                <a:cubicBezTo>
                  <a:pt x="154" y="17"/>
                  <a:pt x="154" y="17"/>
                  <a:pt x="154" y="17"/>
                </a:cubicBezTo>
                <a:cubicBezTo>
                  <a:pt x="153" y="17"/>
                  <a:pt x="153" y="17"/>
                  <a:pt x="153" y="17"/>
                </a:cubicBezTo>
                <a:cubicBezTo>
                  <a:pt x="152" y="16"/>
                  <a:pt x="152" y="16"/>
                  <a:pt x="152" y="16"/>
                </a:cubicBezTo>
                <a:cubicBezTo>
                  <a:pt x="152" y="14"/>
                  <a:pt x="152" y="14"/>
                  <a:pt x="152" y="14"/>
                </a:cubicBezTo>
                <a:cubicBezTo>
                  <a:pt x="153" y="13"/>
                  <a:pt x="153" y="13"/>
                  <a:pt x="153" y="13"/>
                </a:cubicBezTo>
                <a:cubicBezTo>
                  <a:pt x="154" y="13"/>
                  <a:pt x="154" y="13"/>
                  <a:pt x="154" y="13"/>
                </a:cubicBezTo>
                <a:cubicBezTo>
                  <a:pt x="154" y="12"/>
                  <a:pt x="154" y="12"/>
                  <a:pt x="154" y="12"/>
                </a:cubicBezTo>
                <a:cubicBezTo>
                  <a:pt x="152" y="11"/>
                  <a:pt x="152" y="11"/>
                  <a:pt x="152" y="11"/>
                </a:cubicBezTo>
                <a:cubicBezTo>
                  <a:pt x="152" y="10"/>
                  <a:pt x="152" y="10"/>
                  <a:pt x="152" y="10"/>
                </a:cubicBezTo>
                <a:cubicBezTo>
                  <a:pt x="152" y="9"/>
                  <a:pt x="152" y="9"/>
                  <a:pt x="152" y="9"/>
                </a:cubicBezTo>
                <a:cubicBezTo>
                  <a:pt x="152" y="8"/>
                  <a:pt x="152" y="8"/>
                  <a:pt x="152" y="8"/>
                </a:cubicBezTo>
                <a:cubicBezTo>
                  <a:pt x="153" y="8"/>
                  <a:pt x="153" y="8"/>
                  <a:pt x="153" y="8"/>
                </a:cubicBezTo>
                <a:cubicBezTo>
                  <a:pt x="154" y="9"/>
                  <a:pt x="154" y="9"/>
                  <a:pt x="154" y="9"/>
                </a:cubicBezTo>
                <a:cubicBezTo>
                  <a:pt x="154" y="10"/>
                  <a:pt x="154" y="10"/>
                  <a:pt x="154" y="10"/>
                </a:cubicBezTo>
                <a:cubicBezTo>
                  <a:pt x="155" y="10"/>
                  <a:pt x="155" y="10"/>
                  <a:pt x="155" y="10"/>
                </a:cubicBezTo>
                <a:cubicBezTo>
                  <a:pt x="156" y="8"/>
                  <a:pt x="156" y="8"/>
                  <a:pt x="156" y="8"/>
                </a:cubicBezTo>
                <a:cubicBezTo>
                  <a:pt x="157" y="8"/>
                  <a:pt x="157" y="8"/>
                  <a:pt x="157" y="8"/>
                </a:cubicBezTo>
                <a:cubicBezTo>
                  <a:pt x="158" y="7"/>
                  <a:pt x="158" y="7"/>
                  <a:pt x="158" y="7"/>
                </a:cubicBezTo>
                <a:cubicBezTo>
                  <a:pt x="158" y="6"/>
                  <a:pt x="158" y="6"/>
                  <a:pt x="158" y="6"/>
                </a:cubicBezTo>
                <a:cubicBezTo>
                  <a:pt x="159" y="5"/>
                  <a:pt x="159" y="5"/>
                  <a:pt x="159" y="5"/>
                </a:cubicBezTo>
                <a:cubicBezTo>
                  <a:pt x="161" y="5"/>
                  <a:pt x="161" y="5"/>
                  <a:pt x="161" y="5"/>
                </a:cubicBezTo>
                <a:cubicBezTo>
                  <a:pt x="160" y="6"/>
                  <a:pt x="160" y="6"/>
                  <a:pt x="160" y="6"/>
                </a:cubicBezTo>
                <a:cubicBezTo>
                  <a:pt x="159" y="7"/>
                  <a:pt x="159" y="7"/>
                  <a:pt x="159" y="7"/>
                </a:cubicBezTo>
                <a:cubicBezTo>
                  <a:pt x="160" y="7"/>
                  <a:pt x="160" y="7"/>
                  <a:pt x="160" y="7"/>
                </a:cubicBezTo>
                <a:cubicBezTo>
                  <a:pt x="161" y="7"/>
                  <a:pt x="161" y="7"/>
                  <a:pt x="161" y="7"/>
                </a:cubicBezTo>
                <a:cubicBezTo>
                  <a:pt x="162" y="7"/>
                  <a:pt x="162" y="7"/>
                  <a:pt x="162" y="7"/>
                </a:cubicBezTo>
                <a:cubicBezTo>
                  <a:pt x="162" y="7"/>
                  <a:pt x="162" y="7"/>
                  <a:pt x="162" y="7"/>
                </a:cubicBezTo>
                <a:cubicBezTo>
                  <a:pt x="162" y="8"/>
                  <a:pt x="162" y="8"/>
                  <a:pt x="162" y="8"/>
                </a:cubicBezTo>
                <a:cubicBezTo>
                  <a:pt x="163" y="9"/>
                  <a:pt x="163" y="9"/>
                  <a:pt x="163" y="9"/>
                </a:cubicBezTo>
                <a:cubicBezTo>
                  <a:pt x="163" y="9"/>
                  <a:pt x="163" y="9"/>
                  <a:pt x="163" y="9"/>
                </a:cubicBezTo>
                <a:cubicBezTo>
                  <a:pt x="162" y="10"/>
                  <a:pt x="162" y="10"/>
                  <a:pt x="162" y="10"/>
                </a:cubicBezTo>
                <a:cubicBezTo>
                  <a:pt x="163" y="11"/>
                  <a:pt x="163" y="11"/>
                  <a:pt x="163" y="11"/>
                </a:cubicBezTo>
                <a:cubicBezTo>
                  <a:pt x="163" y="10"/>
                  <a:pt x="163" y="10"/>
                  <a:pt x="163" y="10"/>
                </a:cubicBezTo>
                <a:cubicBezTo>
                  <a:pt x="164" y="9"/>
                  <a:pt x="164" y="9"/>
                  <a:pt x="164" y="9"/>
                </a:cubicBezTo>
                <a:cubicBezTo>
                  <a:pt x="166" y="9"/>
                  <a:pt x="166" y="9"/>
                  <a:pt x="166" y="9"/>
                </a:cubicBezTo>
                <a:cubicBezTo>
                  <a:pt x="166" y="10"/>
                  <a:pt x="166" y="10"/>
                  <a:pt x="166" y="10"/>
                </a:cubicBezTo>
                <a:cubicBezTo>
                  <a:pt x="166" y="11"/>
                  <a:pt x="166" y="11"/>
                  <a:pt x="166" y="11"/>
                </a:cubicBezTo>
                <a:cubicBezTo>
                  <a:pt x="167" y="13"/>
                  <a:pt x="167" y="13"/>
                  <a:pt x="167" y="13"/>
                </a:cubicBezTo>
                <a:cubicBezTo>
                  <a:pt x="168" y="14"/>
                  <a:pt x="168" y="14"/>
                  <a:pt x="168" y="14"/>
                </a:cubicBezTo>
                <a:cubicBezTo>
                  <a:pt x="168" y="16"/>
                  <a:pt x="168" y="16"/>
                  <a:pt x="168" y="16"/>
                </a:cubicBezTo>
                <a:cubicBezTo>
                  <a:pt x="168" y="15"/>
                  <a:pt x="168" y="15"/>
                  <a:pt x="168" y="15"/>
                </a:cubicBezTo>
                <a:cubicBezTo>
                  <a:pt x="169" y="14"/>
                  <a:pt x="169" y="14"/>
                  <a:pt x="169" y="14"/>
                </a:cubicBezTo>
                <a:cubicBezTo>
                  <a:pt x="168" y="13"/>
                  <a:pt x="168" y="13"/>
                  <a:pt x="168" y="13"/>
                </a:cubicBezTo>
                <a:cubicBezTo>
                  <a:pt x="168" y="12"/>
                  <a:pt x="168" y="12"/>
                  <a:pt x="168" y="12"/>
                </a:cubicBezTo>
                <a:cubicBezTo>
                  <a:pt x="168" y="11"/>
                  <a:pt x="168" y="11"/>
                  <a:pt x="168" y="11"/>
                </a:cubicBezTo>
                <a:cubicBezTo>
                  <a:pt x="167" y="10"/>
                  <a:pt x="167" y="10"/>
                  <a:pt x="167" y="10"/>
                </a:cubicBezTo>
                <a:cubicBezTo>
                  <a:pt x="168" y="10"/>
                  <a:pt x="168" y="10"/>
                  <a:pt x="168" y="10"/>
                </a:cubicBezTo>
                <a:cubicBezTo>
                  <a:pt x="168" y="10"/>
                  <a:pt x="168" y="10"/>
                  <a:pt x="168" y="10"/>
                </a:cubicBezTo>
                <a:cubicBezTo>
                  <a:pt x="170" y="12"/>
                  <a:pt x="170" y="12"/>
                  <a:pt x="170" y="12"/>
                </a:cubicBezTo>
                <a:cubicBezTo>
                  <a:pt x="171" y="14"/>
                  <a:pt x="171" y="14"/>
                  <a:pt x="171" y="14"/>
                </a:cubicBezTo>
                <a:cubicBezTo>
                  <a:pt x="173" y="15"/>
                  <a:pt x="173" y="15"/>
                  <a:pt x="173" y="15"/>
                </a:cubicBezTo>
                <a:cubicBezTo>
                  <a:pt x="174" y="15"/>
                  <a:pt x="174" y="15"/>
                  <a:pt x="174" y="15"/>
                </a:cubicBezTo>
                <a:cubicBezTo>
                  <a:pt x="174" y="14"/>
                  <a:pt x="174" y="14"/>
                  <a:pt x="174" y="14"/>
                </a:cubicBezTo>
                <a:cubicBezTo>
                  <a:pt x="174" y="14"/>
                  <a:pt x="174" y="14"/>
                  <a:pt x="174" y="14"/>
                </a:cubicBezTo>
                <a:cubicBezTo>
                  <a:pt x="172" y="13"/>
                  <a:pt x="172" y="13"/>
                  <a:pt x="172" y="13"/>
                </a:cubicBezTo>
                <a:cubicBezTo>
                  <a:pt x="171" y="11"/>
                  <a:pt x="171" y="11"/>
                  <a:pt x="171" y="11"/>
                </a:cubicBezTo>
                <a:cubicBezTo>
                  <a:pt x="171" y="10"/>
                  <a:pt x="171" y="10"/>
                  <a:pt x="171" y="10"/>
                </a:cubicBezTo>
                <a:cubicBezTo>
                  <a:pt x="171" y="8"/>
                  <a:pt x="171" y="8"/>
                  <a:pt x="171" y="8"/>
                </a:cubicBezTo>
                <a:cubicBezTo>
                  <a:pt x="173" y="8"/>
                  <a:pt x="173" y="8"/>
                  <a:pt x="173" y="8"/>
                </a:cubicBezTo>
                <a:cubicBezTo>
                  <a:pt x="174" y="8"/>
                  <a:pt x="174" y="8"/>
                  <a:pt x="174" y="8"/>
                </a:cubicBezTo>
                <a:cubicBezTo>
                  <a:pt x="175" y="9"/>
                  <a:pt x="175" y="9"/>
                  <a:pt x="175" y="9"/>
                </a:cubicBezTo>
                <a:cubicBezTo>
                  <a:pt x="177" y="9"/>
                  <a:pt x="177" y="9"/>
                  <a:pt x="177" y="9"/>
                </a:cubicBezTo>
                <a:cubicBezTo>
                  <a:pt x="177" y="9"/>
                  <a:pt x="177" y="9"/>
                  <a:pt x="177" y="9"/>
                </a:cubicBezTo>
                <a:cubicBezTo>
                  <a:pt x="177" y="8"/>
                  <a:pt x="177" y="8"/>
                  <a:pt x="177" y="8"/>
                </a:cubicBezTo>
                <a:cubicBezTo>
                  <a:pt x="176" y="8"/>
                  <a:pt x="176" y="8"/>
                  <a:pt x="176" y="8"/>
                </a:cubicBezTo>
                <a:cubicBezTo>
                  <a:pt x="176" y="7"/>
                  <a:pt x="176" y="7"/>
                  <a:pt x="176" y="7"/>
                </a:cubicBezTo>
                <a:cubicBezTo>
                  <a:pt x="177" y="6"/>
                  <a:pt x="177" y="6"/>
                  <a:pt x="177" y="6"/>
                </a:cubicBezTo>
                <a:cubicBezTo>
                  <a:pt x="178" y="5"/>
                  <a:pt x="178" y="5"/>
                  <a:pt x="178" y="5"/>
                </a:cubicBezTo>
                <a:cubicBezTo>
                  <a:pt x="177" y="4"/>
                  <a:pt x="177" y="4"/>
                  <a:pt x="177" y="4"/>
                </a:cubicBezTo>
                <a:cubicBezTo>
                  <a:pt x="177" y="3"/>
                  <a:pt x="177" y="3"/>
                  <a:pt x="177" y="3"/>
                </a:cubicBezTo>
                <a:cubicBezTo>
                  <a:pt x="177" y="2"/>
                  <a:pt x="177" y="2"/>
                  <a:pt x="177" y="2"/>
                </a:cubicBezTo>
                <a:cubicBezTo>
                  <a:pt x="178" y="2"/>
                  <a:pt x="178" y="2"/>
                  <a:pt x="178" y="2"/>
                </a:cubicBezTo>
                <a:cubicBezTo>
                  <a:pt x="179" y="2"/>
                  <a:pt x="179" y="2"/>
                  <a:pt x="179" y="2"/>
                </a:cubicBezTo>
                <a:cubicBezTo>
                  <a:pt x="179" y="2"/>
                  <a:pt x="179" y="2"/>
                  <a:pt x="179" y="2"/>
                </a:cubicBezTo>
                <a:cubicBezTo>
                  <a:pt x="180" y="1"/>
                  <a:pt x="180" y="1"/>
                  <a:pt x="180" y="1"/>
                </a:cubicBezTo>
                <a:cubicBezTo>
                  <a:pt x="180" y="0"/>
                  <a:pt x="180" y="0"/>
                  <a:pt x="180" y="0"/>
                </a:cubicBezTo>
                <a:cubicBezTo>
                  <a:pt x="181" y="0"/>
                  <a:pt x="181" y="0"/>
                  <a:pt x="181" y="0"/>
                </a:cubicBezTo>
                <a:cubicBezTo>
                  <a:pt x="181" y="1"/>
                  <a:pt x="181" y="1"/>
                  <a:pt x="181" y="1"/>
                </a:cubicBezTo>
                <a:cubicBezTo>
                  <a:pt x="182" y="1"/>
                  <a:pt x="182" y="1"/>
                  <a:pt x="182" y="1"/>
                </a:cubicBezTo>
                <a:cubicBezTo>
                  <a:pt x="182" y="2"/>
                  <a:pt x="182" y="2"/>
                  <a:pt x="182" y="2"/>
                </a:cubicBezTo>
                <a:cubicBezTo>
                  <a:pt x="183" y="3"/>
                  <a:pt x="183" y="3"/>
                  <a:pt x="183" y="3"/>
                </a:cubicBezTo>
                <a:cubicBezTo>
                  <a:pt x="183" y="4"/>
                  <a:pt x="183" y="4"/>
                  <a:pt x="183" y="4"/>
                </a:cubicBezTo>
                <a:cubicBezTo>
                  <a:pt x="184" y="3"/>
                  <a:pt x="184" y="3"/>
                  <a:pt x="184" y="3"/>
                </a:cubicBezTo>
                <a:cubicBezTo>
                  <a:pt x="184" y="2"/>
                  <a:pt x="184" y="2"/>
                  <a:pt x="184" y="2"/>
                </a:cubicBezTo>
                <a:cubicBezTo>
                  <a:pt x="184" y="1"/>
                  <a:pt x="184" y="1"/>
                  <a:pt x="184" y="1"/>
                </a:cubicBezTo>
                <a:cubicBezTo>
                  <a:pt x="184" y="0"/>
                  <a:pt x="184" y="0"/>
                  <a:pt x="184" y="0"/>
                </a:cubicBezTo>
                <a:cubicBezTo>
                  <a:pt x="184" y="0"/>
                  <a:pt x="184" y="0"/>
                  <a:pt x="184" y="0"/>
                </a:cubicBezTo>
                <a:cubicBezTo>
                  <a:pt x="185" y="0"/>
                  <a:pt x="185" y="0"/>
                  <a:pt x="185" y="0"/>
                </a:cubicBezTo>
                <a:cubicBezTo>
                  <a:pt x="186" y="0"/>
                  <a:pt x="186" y="0"/>
                  <a:pt x="186" y="0"/>
                </a:cubicBezTo>
                <a:cubicBezTo>
                  <a:pt x="188" y="0"/>
                  <a:pt x="188" y="0"/>
                  <a:pt x="188" y="0"/>
                </a:cubicBezTo>
                <a:cubicBezTo>
                  <a:pt x="189" y="0"/>
                  <a:pt x="189" y="0"/>
                  <a:pt x="189" y="0"/>
                </a:cubicBezTo>
                <a:cubicBezTo>
                  <a:pt x="189" y="1"/>
                  <a:pt x="189" y="1"/>
                  <a:pt x="189" y="1"/>
                </a:cubicBezTo>
                <a:cubicBezTo>
                  <a:pt x="190" y="1"/>
                  <a:pt x="190" y="1"/>
                  <a:pt x="190" y="1"/>
                </a:cubicBezTo>
                <a:cubicBezTo>
                  <a:pt x="191" y="0"/>
                  <a:pt x="191" y="0"/>
                  <a:pt x="191" y="0"/>
                </a:cubicBezTo>
                <a:cubicBezTo>
                  <a:pt x="192" y="1"/>
                  <a:pt x="192" y="1"/>
                  <a:pt x="192" y="1"/>
                </a:cubicBezTo>
                <a:cubicBezTo>
                  <a:pt x="194" y="1"/>
                  <a:pt x="194" y="1"/>
                  <a:pt x="194" y="1"/>
                </a:cubicBezTo>
                <a:cubicBezTo>
                  <a:pt x="195" y="1"/>
                  <a:pt x="195" y="1"/>
                  <a:pt x="195" y="1"/>
                </a:cubicBezTo>
                <a:cubicBezTo>
                  <a:pt x="195" y="1"/>
                  <a:pt x="195" y="1"/>
                  <a:pt x="195" y="1"/>
                </a:cubicBezTo>
                <a:cubicBezTo>
                  <a:pt x="196" y="1"/>
                  <a:pt x="196" y="1"/>
                  <a:pt x="196" y="1"/>
                </a:cubicBezTo>
                <a:cubicBezTo>
                  <a:pt x="197" y="1"/>
                  <a:pt x="197" y="1"/>
                  <a:pt x="197" y="1"/>
                </a:cubicBezTo>
                <a:cubicBezTo>
                  <a:pt x="197" y="2"/>
                  <a:pt x="197" y="2"/>
                  <a:pt x="197" y="2"/>
                </a:cubicBezTo>
                <a:cubicBezTo>
                  <a:pt x="199" y="3"/>
                  <a:pt x="199" y="3"/>
                  <a:pt x="199" y="3"/>
                </a:cubicBezTo>
                <a:cubicBezTo>
                  <a:pt x="200" y="3"/>
                  <a:pt x="200" y="3"/>
                  <a:pt x="200" y="3"/>
                </a:cubicBezTo>
                <a:cubicBezTo>
                  <a:pt x="200" y="3"/>
                  <a:pt x="200" y="3"/>
                  <a:pt x="200" y="3"/>
                </a:cubicBezTo>
                <a:cubicBezTo>
                  <a:pt x="200" y="3"/>
                  <a:pt x="200" y="3"/>
                  <a:pt x="200" y="3"/>
                </a:cubicBezTo>
                <a:cubicBezTo>
                  <a:pt x="202" y="4"/>
                  <a:pt x="202" y="4"/>
                  <a:pt x="202" y="4"/>
                </a:cubicBezTo>
                <a:cubicBezTo>
                  <a:pt x="203" y="4"/>
                  <a:pt x="203" y="4"/>
                  <a:pt x="203" y="4"/>
                </a:cubicBezTo>
                <a:cubicBezTo>
                  <a:pt x="204" y="5"/>
                  <a:pt x="204" y="5"/>
                  <a:pt x="204" y="5"/>
                </a:cubicBezTo>
                <a:cubicBezTo>
                  <a:pt x="207" y="5"/>
                  <a:pt x="207" y="5"/>
                  <a:pt x="207" y="5"/>
                </a:cubicBezTo>
                <a:cubicBezTo>
                  <a:pt x="208" y="6"/>
                  <a:pt x="208" y="6"/>
                  <a:pt x="208" y="6"/>
                </a:cubicBezTo>
                <a:cubicBezTo>
                  <a:pt x="209" y="5"/>
                  <a:pt x="209" y="5"/>
                  <a:pt x="209" y="5"/>
                </a:cubicBezTo>
                <a:cubicBezTo>
                  <a:pt x="209" y="6"/>
                  <a:pt x="209" y="6"/>
                  <a:pt x="209" y="6"/>
                </a:cubicBezTo>
                <a:cubicBezTo>
                  <a:pt x="210" y="6"/>
                  <a:pt x="210" y="6"/>
                  <a:pt x="210" y="6"/>
                </a:cubicBezTo>
                <a:cubicBezTo>
                  <a:pt x="211" y="6"/>
                  <a:pt x="211" y="6"/>
                  <a:pt x="211" y="6"/>
                </a:cubicBezTo>
                <a:cubicBezTo>
                  <a:pt x="212" y="6"/>
                  <a:pt x="212" y="6"/>
                  <a:pt x="212" y="6"/>
                </a:cubicBezTo>
                <a:cubicBezTo>
                  <a:pt x="213" y="7"/>
                  <a:pt x="213" y="7"/>
                  <a:pt x="213" y="7"/>
                </a:cubicBezTo>
                <a:cubicBezTo>
                  <a:pt x="215" y="8"/>
                  <a:pt x="215" y="8"/>
                  <a:pt x="215" y="8"/>
                </a:cubicBezTo>
                <a:cubicBezTo>
                  <a:pt x="216" y="9"/>
                  <a:pt x="216" y="9"/>
                  <a:pt x="216" y="9"/>
                </a:cubicBezTo>
                <a:cubicBezTo>
                  <a:pt x="217" y="10"/>
                  <a:pt x="217" y="10"/>
                  <a:pt x="217" y="10"/>
                </a:cubicBezTo>
                <a:cubicBezTo>
                  <a:pt x="218" y="10"/>
                  <a:pt x="218" y="10"/>
                  <a:pt x="218" y="10"/>
                </a:cubicBezTo>
                <a:cubicBezTo>
                  <a:pt x="220" y="11"/>
                  <a:pt x="220" y="11"/>
                  <a:pt x="220" y="11"/>
                </a:cubicBezTo>
                <a:cubicBezTo>
                  <a:pt x="219" y="12"/>
                  <a:pt x="219" y="12"/>
                  <a:pt x="219" y="12"/>
                </a:cubicBezTo>
                <a:cubicBezTo>
                  <a:pt x="219" y="13"/>
                  <a:pt x="219" y="13"/>
                  <a:pt x="219" y="13"/>
                </a:cubicBezTo>
                <a:cubicBezTo>
                  <a:pt x="218" y="13"/>
                  <a:pt x="218" y="13"/>
                  <a:pt x="218" y="13"/>
                </a:cubicBezTo>
                <a:cubicBezTo>
                  <a:pt x="217" y="13"/>
                  <a:pt x="217" y="13"/>
                  <a:pt x="217" y="13"/>
                </a:cubicBezTo>
                <a:cubicBezTo>
                  <a:pt x="216" y="13"/>
                  <a:pt x="216" y="13"/>
                  <a:pt x="216" y="13"/>
                </a:cubicBezTo>
                <a:cubicBezTo>
                  <a:pt x="215" y="14"/>
                  <a:pt x="215" y="14"/>
                  <a:pt x="215" y="14"/>
                </a:cubicBezTo>
                <a:cubicBezTo>
                  <a:pt x="214" y="14"/>
                  <a:pt x="214" y="14"/>
                  <a:pt x="214" y="14"/>
                </a:cubicBezTo>
                <a:cubicBezTo>
                  <a:pt x="214" y="14"/>
                  <a:pt x="214" y="14"/>
                  <a:pt x="214" y="14"/>
                </a:cubicBezTo>
                <a:cubicBezTo>
                  <a:pt x="213" y="14"/>
                  <a:pt x="213" y="14"/>
                  <a:pt x="213" y="14"/>
                </a:cubicBezTo>
                <a:cubicBezTo>
                  <a:pt x="211" y="14"/>
                  <a:pt x="211" y="14"/>
                  <a:pt x="211" y="14"/>
                </a:cubicBezTo>
                <a:cubicBezTo>
                  <a:pt x="209" y="13"/>
                  <a:pt x="209" y="13"/>
                  <a:pt x="209" y="13"/>
                </a:cubicBezTo>
                <a:cubicBezTo>
                  <a:pt x="208" y="13"/>
                  <a:pt x="208" y="13"/>
                  <a:pt x="208" y="13"/>
                </a:cubicBezTo>
                <a:cubicBezTo>
                  <a:pt x="207" y="13"/>
                  <a:pt x="207" y="13"/>
                  <a:pt x="207" y="13"/>
                </a:cubicBezTo>
                <a:cubicBezTo>
                  <a:pt x="206" y="12"/>
                  <a:pt x="206" y="12"/>
                  <a:pt x="206" y="12"/>
                </a:cubicBezTo>
                <a:cubicBezTo>
                  <a:pt x="204" y="12"/>
                  <a:pt x="204" y="12"/>
                  <a:pt x="204" y="12"/>
                </a:cubicBezTo>
                <a:cubicBezTo>
                  <a:pt x="204" y="13"/>
                  <a:pt x="204" y="13"/>
                  <a:pt x="204" y="13"/>
                </a:cubicBezTo>
                <a:cubicBezTo>
                  <a:pt x="203" y="13"/>
                  <a:pt x="203" y="13"/>
                  <a:pt x="203" y="13"/>
                </a:cubicBezTo>
                <a:cubicBezTo>
                  <a:pt x="203" y="12"/>
                  <a:pt x="203" y="12"/>
                  <a:pt x="203" y="12"/>
                </a:cubicBezTo>
                <a:cubicBezTo>
                  <a:pt x="201" y="12"/>
                  <a:pt x="201" y="12"/>
                  <a:pt x="201" y="12"/>
                </a:cubicBezTo>
                <a:cubicBezTo>
                  <a:pt x="199" y="13"/>
                  <a:pt x="199" y="13"/>
                  <a:pt x="199" y="13"/>
                </a:cubicBezTo>
                <a:cubicBezTo>
                  <a:pt x="199" y="14"/>
                  <a:pt x="199" y="14"/>
                  <a:pt x="199" y="14"/>
                </a:cubicBezTo>
                <a:cubicBezTo>
                  <a:pt x="198" y="13"/>
                  <a:pt x="198" y="13"/>
                  <a:pt x="198" y="13"/>
                </a:cubicBezTo>
                <a:cubicBezTo>
                  <a:pt x="197" y="13"/>
                  <a:pt x="197" y="13"/>
                  <a:pt x="197" y="13"/>
                </a:cubicBezTo>
                <a:cubicBezTo>
                  <a:pt x="195" y="14"/>
                  <a:pt x="195" y="14"/>
                  <a:pt x="195" y="14"/>
                </a:cubicBezTo>
                <a:cubicBezTo>
                  <a:pt x="193" y="14"/>
                  <a:pt x="193" y="14"/>
                  <a:pt x="193" y="14"/>
                </a:cubicBezTo>
                <a:cubicBezTo>
                  <a:pt x="193" y="13"/>
                  <a:pt x="193" y="13"/>
                  <a:pt x="193" y="13"/>
                </a:cubicBezTo>
                <a:cubicBezTo>
                  <a:pt x="193" y="12"/>
                  <a:pt x="193" y="12"/>
                  <a:pt x="193" y="12"/>
                </a:cubicBezTo>
                <a:cubicBezTo>
                  <a:pt x="193" y="11"/>
                  <a:pt x="193" y="11"/>
                  <a:pt x="193" y="11"/>
                </a:cubicBezTo>
                <a:cubicBezTo>
                  <a:pt x="194" y="11"/>
                  <a:pt x="194" y="11"/>
                  <a:pt x="194" y="11"/>
                </a:cubicBezTo>
                <a:cubicBezTo>
                  <a:pt x="194" y="11"/>
                  <a:pt x="194" y="11"/>
                  <a:pt x="194" y="11"/>
                </a:cubicBezTo>
                <a:cubicBezTo>
                  <a:pt x="194" y="10"/>
                  <a:pt x="194" y="10"/>
                  <a:pt x="194" y="10"/>
                </a:cubicBezTo>
                <a:cubicBezTo>
                  <a:pt x="193" y="10"/>
                  <a:pt x="193" y="10"/>
                  <a:pt x="193" y="10"/>
                </a:cubicBezTo>
                <a:cubicBezTo>
                  <a:pt x="192" y="10"/>
                  <a:pt x="192" y="10"/>
                  <a:pt x="192" y="10"/>
                </a:cubicBezTo>
                <a:cubicBezTo>
                  <a:pt x="191" y="11"/>
                  <a:pt x="191" y="11"/>
                  <a:pt x="191" y="11"/>
                </a:cubicBezTo>
                <a:cubicBezTo>
                  <a:pt x="191" y="12"/>
                  <a:pt x="191" y="12"/>
                  <a:pt x="191" y="12"/>
                </a:cubicBezTo>
                <a:cubicBezTo>
                  <a:pt x="192" y="13"/>
                  <a:pt x="192" y="13"/>
                  <a:pt x="192" y="13"/>
                </a:cubicBezTo>
                <a:cubicBezTo>
                  <a:pt x="192" y="13"/>
                  <a:pt x="192" y="13"/>
                  <a:pt x="192" y="13"/>
                </a:cubicBezTo>
                <a:cubicBezTo>
                  <a:pt x="192" y="14"/>
                  <a:pt x="192" y="14"/>
                  <a:pt x="192" y="14"/>
                </a:cubicBezTo>
                <a:cubicBezTo>
                  <a:pt x="191" y="15"/>
                  <a:pt x="191" y="15"/>
                  <a:pt x="191" y="15"/>
                </a:cubicBezTo>
                <a:cubicBezTo>
                  <a:pt x="191" y="15"/>
                  <a:pt x="191" y="15"/>
                  <a:pt x="191" y="15"/>
                </a:cubicBezTo>
                <a:cubicBezTo>
                  <a:pt x="190" y="15"/>
                  <a:pt x="190" y="15"/>
                  <a:pt x="190" y="15"/>
                </a:cubicBezTo>
                <a:cubicBezTo>
                  <a:pt x="188" y="15"/>
                  <a:pt x="188" y="15"/>
                  <a:pt x="188" y="15"/>
                </a:cubicBezTo>
                <a:cubicBezTo>
                  <a:pt x="188" y="15"/>
                  <a:pt x="188" y="15"/>
                  <a:pt x="188" y="15"/>
                </a:cubicBezTo>
                <a:cubicBezTo>
                  <a:pt x="187" y="15"/>
                  <a:pt x="187" y="15"/>
                  <a:pt x="187" y="15"/>
                </a:cubicBezTo>
                <a:cubicBezTo>
                  <a:pt x="185" y="15"/>
                  <a:pt x="185" y="15"/>
                  <a:pt x="185" y="15"/>
                </a:cubicBezTo>
                <a:cubicBezTo>
                  <a:pt x="184" y="15"/>
                  <a:pt x="184" y="15"/>
                  <a:pt x="184" y="15"/>
                </a:cubicBezTo>
                <a:cubicBezTo>
                  <a:pt x="182" y="15"/>
                  <a:pt x="182" y="15"/>
                  <a:pt x="182" y="15"/>
                </a:cubicBezTo>
                <a:cubicBezTo>
                  <a:pt x="180" y="17"/>
                  <a:pt x="180" y="17"/>
                  <a:pt x="180" y="17"/>
                </a:cubicBezTo>
                <a:cubicBezTo>
                  <a:pt x="180" y="18"/>
                  <a:pt x="180" y="18"/>
                  <a:pt x="180" y="18"/>
                </a:cubicBezTo>
                <a:cubicBezTo>
                  <a:pt x="180" y="19"/>
                  <a:pt x="180" y="19"/>
                  <a:pt x="180" y="19"/>
                </a:cubicBezTo>
                <a:cubicBezTo>
                  <a:pt x="179" y="20"/>
                  <a:pt x="179" y="20"/>
                  <a:pt x="179" y="20"/>
                </a:cubicBezTo>
                <a:cubicBezTo>
                  <a:pt x="179" y="21"/>
                  <a:pt x="179" y="21"/>
                  <a:pt x="179" y="21"/>
                </a:cubicBezTo>
                <a:cubicBezTo>
                  <a:pt x="179" y="22"/>
                  <a:pt x="179" y="22"/>
                  <a:pt x="179" y="22"/>
                </a:cubicBezTo>
                <a:cubicBezTo>
                  <a:pt x="180" y="21"/>
                  <a:pt x="180" y="21"/>
                  <a:pt x="180" y="21"/>
                </a:cubicBezTo>
                <a:cubicBezTo>
                  <a:pt x="180" y="20"/>
                  <a:pt x="180" y="20"/>
                  <a:pt x="180" y="20"/>
                </a:cubicBezTo>
                <a:cubicBezTo>
                  <a:pt x="181" y="19"/>
                  <a:pt x="181" y="19"/>
                  <a:pt x="181" y="19"/>
                </a:cubicBezTo>
                <a:cubicBezTo>
                  <a:pt x="181" y="19"/>
                  <a:pt x="181" y="19"/>
                  <a:pt x="181" y="19"/>
                </a:cubicBezTo>
                <a:cubicBezTo>
                  <a:pt x="181" y="18"/>
                  <a:pt x="181" y="18"/>
                  <a:pt x="181" y="18"/>
                </a:cubicBezTo>
                <a:cubicBezTo>
                  <a:pt x="183" y="18"/>
                  <a:pt x="183" y="18"/>
                  <a:pt x="183" y="18"/>
                </a:cubicBezTo>
                <a:cubicBezTo>
                  <a:pt x="183" y="18"/>
                  <a:pt x="183" y="18"/>
                  <a:pt x="183" y="18"/>
                </a:cubicBezTo>
                <a:cubicBezTo>
                  <a:pt x="184" y="19"/>
                  <a:pt x="184" y="19"/>
                  <a:pt x="184" y="19"/>
                </a:cubicBezTo>
                <a:cubicBezTo>
                  <a:pt x="183" y="19"/>
                  <a:pt x="183" y="19"/>
                  <a:pt x="183" y="19"/>
                </a:cubicBezTo>
                <a:cubicBezTo>
                  <a:pt x="183" y="20"/>
                  <a:pt x="183" y="20"/>
                  <a:pt x="183" y="20"/>
                </a:cubicBezTo>
                <a:cubicBezTo>
                  <a:pt x="183" y="21"/>
                  <a:pt x="183" y="21"/>
                  <a:pt x="183" y="21"/>
                </a:cubicBezTo>
                <a:cubicBezTo>
                  <a:pt x="183" y="21"/>
                  <a:pt x="183" y="21"/>
                  <a:pt x="183" y="21"/>
                </a:cubicBezTo>
                <a:cubicBezTo>
                  <a:pt x="184" y="20"/>
                  <a:pt x="184" y="20"/>
                  <a:pt x="184" y="20"/>
                </a:cubicBezTo>
                <a:cubicBezTo>
                  <a:pt x="184" y="18"/>
                  <a:pt x="184" y="18"/>
                  <a:pt x="184" y="18"/>
                </a:cubicBezTo>
                <a:cubicBezTo>
                  <a:pt x="184" y="18"/>
                  <a:pt x="185" y="17"/>
                  <a:pt x="185" y="17"/>
                </a:cubicBezTo>
                <a:cubicBezTo>
                  <a:pt x="185" y="17"/>
                  <a:pt x="187" y="16"/>
                  <a:pt x="187" y="16"/>
                </a:cubicBezTo>
                <a:cubicBezTo>
                  <a:pt x="187" y="16"/>
                  <a:pt x="187" y="16"/>
                  <a:pt x="187" y="16"/>
                </a:cubicBezTo>
                <a:cubicBezTo>
                  <a:pt x="189" y="16"/>
                  <a:pt x="189" y="16"/>
                  <a:pt x="189" y="16"/>
                </a:cubicBezTo>
                <a:cubicBezTo>
                  <a:pt x="190" y="16"/>
                  <a:pt x="190" y="16"/>
                  <a:pt x="190" y="16"/>
                </a:cubicBezTo>
                <a:cubicBezTo>
                  <a:pt x="191" y="16"/>
                  <a:pt x="191" y="16"/>
                  <a:pt x="191" y="16"/>
                </a:cubicBezTo>
                <a:cubicBezTo>
                  <a:pt x="191" y="16"/>
                  <a:pt x="191" y="16"/>
                  <a:pt x="191" y="16"/>
                </a:cubicBezTo>
                <a:cubicBezTo>
                  <a:pt x="192" y="17"/>
                  <a:pt x="192" y="17"/>
                  <a:pt x="192" y="17"/>
                </a:cubicBezTo>
                <a:cubicBezTo>
                  <a:pt x="192" y="18"/>
                  <a:pt x="192" y="18"/>
                  <a:pt x="192" y="18"/>
                </a:cubicBezTo>
                <a:cubicBezTo>
                  <a:pt x="193" y="19"/>
                  <a:pt x="193" y="19"/>
                  <a:pt x="193" y="19"/>
                </a:cubicBezTo>
                <a:cubicBezTo>
                  <a:pt x="193" y="19"/>
                  <a:pt x="193" y="19"/>
                  <a:pt x="193" y="19"/>
                </a:cubicBezTo>
                <a:cubicBezTo>
                  <a:pt x="194" y="18"/>
                  <a:pt x="194" y="18"/>
                  <a:pt x="194" y="18"/>
                </a:cubicBezTo>
                <a:cubicBezTo>
                  <a:pt x="193" y="17"/>
                  <a:pt x="193" y="17"/>
                  <a:pt x="193" y="17"/>
                </a:cubicBezTo>
                <a:cubicBezTo>
                  <a:pt x="193" y="16"/>
                  <a:pt x="193" y="16"/>
                  <a:pt x="193" y="16"/>
                </a:cubicBezTo>
                <a:cubicBezTo>
                  <a:pt x="195" y="16"/>
                  <a:pt x="195" y="16"/>
                  <a:pt x="195" y="16"/>
                </a:cubicBezTo>
                <a:cubicBezTo>
                  <a:pt x="196" y="16"/>
                  <a:pt x="196" y="16"/>
                  <a:pt x="196" y="16"/>
                </a:cubicBezTo>
                <a:cubicBezTo>
                  <a:pt x="197" y="16"/>
                  <a:pt x="197" y="16"/>
                  <a:pt x="197" y="16"/>
                </a:cubicBezTo>
                <a:cubicBezTo>
                  <a:pt x="199" y="16"/>
                  <a:pt x="199" y="16"/>
                  <a:pt x="199" y="16"/>
                </a:cubicBezTo>
                <a:cubicBezTo>
                  <a:pt x="201" y="15"/>
                  <a:pt x="201" y="15"/>
                  <a:pt x="201" y="15"/>
                </a:cubicBezTo>
                <a:cubicBezTo>
                  <a:pt x="202" y="15"/>
                  <a:pt x="202" y="15"/>
                  <a:pt x="202" y="15"/>
                </a:cubicBezTo>
                <a:cubicBezTo>
                  <a:pt x="204" y="15"/>
                  <a:pt x="204" y="15"/>
                  <a:pt x="204" y="15"/>
                </a:cubicBezTo>
                <a:cubicBezTo>
                  <a:pt x="206" y="15"/>
                  <a:pt x="206" y="15"/>
                  <a:pt x="206" y="15"/>
                </a:cubicBezTo>
                <a:cubicBezTo>
                  <a:pt x="207" y="16"/>
                  <a:pt x="207" y="16"/>
                  <a:pt x="207" y="16"/>
                </a:cubicBezTo>
                <a:cubicBezTo>
                  <a:pt x="208" y="16"/>
                  <a:pt x="208" y="16"/>
                  <a:pt x="208" y="16"/>
                </a:cubicBezTo>
                <a:cubicBezTo>
                  <a:pt x="209" y="16"/>
                  <a:pt x="209" y="16"/>
                  <a:pt x="209" y="16"/>
                </a:cubicBezTo>
                <a:cubicBezTo>
                  <a:pt x="210" y="17"/>
                  <a:pt x="210" y="17"/>
                  <a:pt x="210" y="17"/>
                </a:cubicBezTo>
                <a:cubicBezTo>
                  <a:pt x="211" y="17"/>
                  <a:pt x="211" y="17"/>
                  <a:pt x="211" y="17"/>
                </a:cubicBezTo>
                <a:cubicBezTo>
                  <a:pt x="212" y="18"/>
                  <a:pt x="212" y="18"/>
                  <a:pt x="212" y="18"/>
                </a:cubicBezTo>
                <a:cubicBezTo>
                  <a:pt x="213" y="17"/>
                  <a:pt x="213" y="17"/>
                  <a:pt x="213" y="17"/>
                </a:cubicBezTo>
                <a:cubicBezTo>
                  <a:pt x="213" y="17"/>
                  <a:pt x="213" y="17"/>
                  <a:pt x="213" y="17"/>
                </a:cubicBezTo>
                <a:cubicBezTo>
                  <a:pt x="214" y="17"/>
                  <a:pt x="214" y="17"/>
                  <a:pt x="214" y="17"/>
                </a:cubicBezTo>
                <a:cubicBezTo>
                  <a:pt x="214" y="18"/>
                  <a:pt x="214" y="18"/>
                  <a:pt x="214" y="18"/>
                </a:cubicBezTo>
                <a:cubicBezTo>
                  <a:pt x="215" y="18"/>
                  <a:pt x="215" y="18"/>
                  <a:pt x="215" y="18"/>
                </a:cubicBezTo>
                <a:cubicBezTo>
                  <a:pt x="216" y="17"/>
                  <a:pt x="216" y="17"/>
                  <a:pt x="216" y="17"/>
                </a:cubicBezTo>
                <a:cubicBezTo>
                  <a:pt x="217" y="17"/>
                  <a:pt x="217" y="17"/>
                  <a:pt x="217" y="17"/>
                </a:cubicBezTo>
                <a:cubicBezTo>
                  <a:pt x="218" y="17"/>
                  <a:pt x="218" y="17"/>
                  <a:pt x="218" y="17"/>
                </a:cubicBezTo>
                <a:cubicBezTo>
                  <a:pt x="220" y="16"/>
                  <a:pt x="220" y="16"/>
                  <a:pt x="220" y="16"/>
                </a:cubicBezTo>
                <a:cubicBezTo>
                  <a:pt x="221" y="15"/>
                  <a:pt x="221" y="15"/>
                  <a:pt x="221" y="15"/>
                </a:cubicBezTo>
                <a:cubicBezTo>
                  <a:pt x="221" y="15"/>
                  <a:pt x="221" y="15"/>
                  <a:pt x="221" y="15"/>
                </a:cubicBezTo>
                <a:cubicBezTo>
                  <a:pt x="222" y="15"/>
                  <a:pt x="222" y="15"/>
                  <a:pt x="222" y="15"/>
                </a:cubicBezTo>
                <a:cubicBezTo>
                  <a:pt x="223" y="16"/>
                  <a:pt x="223" y="16"/>
                  <a:pt x="223" y="16"/>
                </a:cubicBezTo>
                <a:cubicBezTo>
                  <a:pt x="224" y="17"/>
                  <a:pt x="224" y="17"/>
                  <a:pt x="224" y="17"/>
                </a:cubicBezTo>
                <a:cubicBezTo>
                  <a:pt x="224" y="18"/>
                  <a:pt x="224" y="18"/>
                  <a:pt x="224" y="18"/>
                </a:cubicBezTo>
                <a:cubicBezTo>
                  <a:pt x="223" y="18"/>
                  <a:pt x="223" y="18"/>
                  <a:pt x="223" y="18"/>
                </a:cubicBezTo>
                <a:cubicBezTo>
                  <a:pt x="223" y="19"/>
                  <a:pt x="223" y="19"/>
                  <a:pt x="223" y="19"/>
                </a:cubicBezTo>
                <a:cubicBezTo>
                  <a:pt x="224" y="19"/>
                  <a:pt x="224" y="19"/>
                  <a:pt x="224" y="19"/>
                </a:cubicBezTo>
                <a:cubicBezTo>
                  <a:pt x="224" y="20"/>
                  <a:pt x="224" y="20"/>
                  <a:pt x="224" y="20"/>
                </a:cubicBezTo>
                <a:cubicBezTo>
                  <a:pt x="224" y="20"/>
                  <a:pt x="224" y="20"/>
                  <a:pt x="224" y="20"/>
                </a:cubicBezTo>
                <a:cubicBezTo>
                  <a:pt x="222" y="22"/>
                  <a:pt x="222" y="22"/>
                  <a:pt x="222" y="22"/>
                </a:cubicBezTo>
                <a:cubicBezTo>
                  <a:pt x="220" y="22"/>
                  <a:pt x="220" y="22"/>
                  <a:pt x="220" y="22"/>
                </a:cubicBezTo>
                <a:cubicBezTo>
                  <a:pt x="219" y="22"/>
                  <a:pt x="219" y="22"/>
                  <a:pt x="219" y="22"/>
                </a:cubicBezTo>
                <a:cubicBezTo>
                  <a:pt x="218" y="22"/>
                  <a:pt x="218" y="22"/>
                  <a:pt x="218" y="22"/>
                </a:cubicBezTo>
                <a:cubicBezTo>
                  <a:pt x="218" y="21"/>
                  <a:pt x="218" y="21"/>
                  <a:pt x="218" y="21"/>
                </a:cubicBezTo>
                <a:cubicBezTo>
                  <a:pt x="217" y="21"/>
                  <a:pt x="217" y="21"/>
                  <a:pt x="217" y="21"/>
                </a:cubicBezTo>
                <a:cubicBezTo>
                  <a:pt x="217" y="22"/>
                  <a:pt x="217" y="22"/>
                  <a:pt x="217" y="22"/>
                </a:cubicBezTo>
                <a:cubicBezTo>
                  <a:pt x="218" y="23"/>
                  <a:pt x="218" y="23"/>
                  <a:pt x="218" y="23"/>
                </a:cubicBezTo>
                <a:cubicBezTo>
                  <a:pt x="219" y="23"/>
                  <a:pt x="219" y="23"/>
                  <a:pt x="219" y="23"/>
                </a:cubicBezTo>
                <a:cubicBezTo>
                  <a:pt x="218" y="24"/>
                  <a:pt x="218" y="24"/>
                  <a:pt x="218" y="24"/>
                </a:cubicBezTo>
                <a:cubicBezTo>
                  <a:pt x="217" y="23"/>
                  <a:pt x="217" y="23"/>
                  <a:pt x="217" y="23"/>
                </a:cubicBezTo>
                <a:cubicBezTo>
                  <a:pt x="217" y="23"/>
                  <a:pt x="217" y="23"/>
                  <a:pt x="217" y="23"/>
                </a:cubicBezTo>
                <a:cubicBezTo>
                  <a:pt x="216" y="23"/>
                  <a:pt x="216" y="23"/>
                  <a:pt x="216" y="23"/>
                </a:cubicBezTo>
                <a:cubicBezTo>
                  <a:pt x="216" y="23"/>
                  <a:pt x="216" y="23"/>
                  <a:pt x="216" y="23"/>
                </a:cubicBezTo>
                <a:cubicBezTo>
                  <a:pt x="216" y="24"/>
                  <a:pt x="216" y="24"/>
                  <a:pt x="216" y="24"/>
                </a:cubicBezTo>
                <a:cubicBezTo>
                  <a:pt x="217" y="24"/>
                  <a:pt x="217" y="24"/>
                  <a:pt x="217" y="24"/>
                </a:cubicBezTo>
                <a:cubicBezTo>
                  <a:pt x="218" y="25"/>
                  <a:pt x="218" y="25"/>
                  <a:pt x="218" y="25"/>
                </a:cubicBezTo>
                <a:cubicBezTo>
                  <a:pt x="220" y="25"/>
                  <a:pt x="220" y="25"/>
                  <a:pt x="220" y="25"/>
                </a:cubicBezTo>
                <a:cubicBezTo>
                  <a:pt x="221" y="25"/>
                  <a:pt x="221" y="25"/>
                  <a:pt x="221" y="25"/>
                </a:cubicBezTo>
                <a:cubicBezTo>
                  <a:pt x="223" y="24"/>
                  <a:pt x="223" y="24"/>
                  <a:pt x="223" y="24"/>
                </a:cubicBezTo>
                <a:cubicBezTo>
                  <a:pt x="223" y="24"/>
                  <a:pt x="223" y="24"/>
                  <a:pt x="223" y="24"/>
                </a:cubicBezTo>
                <a:cubicBezTo>
                  <a:pt x="224" y="25"/>
                  <a:pt x="224" y="25"/>
                  <a:pt x="224" y="25"/>
                </a:cubicBezTo>
                <a:cubicBezTo>
                  <a:pt x="224" y="24"/>
                  <a:pt x="224" y="24"/>
                  <a:pt x="224" y="24"/>
                </a:cubicBezTo>
                <a:cubicBezTo>
                  <a:pt x="224" y="23"/>
                  <a:pt x="224" y="23"/>
                  <a:pt x="224" y="23"/>
                </a:cubicBezTo>
                <a:cubicBezTo>
                  <a:pt x="225" y="23"/>
                  <a:pt x="225" y="23"/>
                  <a:pt x="225" y="23"/>
                </a:cubicBezTo>
                <a:cubicBezTo>
                  <a:pt x="227" y="23"/>
                  <a:pt x="227" y="23"/>
                  <a:pt x="227" y="23"/>
                </a:cubicBezTo>
                <a:cubicBezTo>
                  <a:pt x="228" y="24"/>
                  <a:pt x="228" y="24"/>
                  <a:pt x="228" y="24"/>
                </a:cubicBezTo>
                <a:cubicBezTo>
                  <a:pt x="228" y="24"/>
                  <a:pt x="228" y="24"/>
                  <a:pt x="228" y="24"/>
                </a:cubicBezTo>
                <a:cubicBezTo>
                  <a:pt x="229" y="25"/>
                  <a:pt x="229" y="25"/>
                  <a:pt x="229" y="25"/>
                </a:cubicBezTo>
                <a:cubicBezTo>
                  <a:pt x="229" y="25"/>
                  <a:pt x="229" y="25"/>
                  <a:pt x="229" y="25"/>
                </a:cubicBezTo>
                <a:cubicBezTo>
                  <a:pt x="230" y="24"/>
                  <a:pt x="230" y="24"/>
                  <a:pt x="230" y="24"/>
                </a:cubicBezTo>
                <a:cubicBezTo>
                  <a:pt x="230" y="24"/>
                  <a:pt x="230" y="24"/>
                  <a:pt x="230" y="24"/>
                </a:cubicBezTo>
                <a:cubicBezTo>
                  <a:pt x="231" y="25"/>
                  <a:pt x="231" y="25"/>
                  <a:pt x="231" y="25"/>
                </a:cubicBezTo>
                <a:cubicBezTo>
                  <a:pt x="231" y="26"/>
                  <a:pt x="231" y="26"/>
                  <a:pt x="231" y="26"/>
                </a:cubicBezTo>
                <a:cubicBezTo>
                  <a:pt x="233" y="26"/>
                  <a:pt x="233" y="26"/>
                  <a:pt x="233" y="26"/>
                </a:cubicBezTo>
                <a:cubicBezTo>
                  <a:pt x="234" y="27"/>
                  <a:pt x="234" y="27"/>
                  <a:pt x="234" y="27"/>
                </a:cubicBezTo>
                <a:cubicBezTo>
                  <a:pt x="234" y="28"/>
                  <a:pt x="234" y="28"/>
                  <a:pt x="234" y="28"/>
                </a:cubicBezTo>
                <a:cubicBezTo>
                  <a:pt x="235" y="29"/>
                  <a:pt x="235" y="29"/>
                  <a:pt x="235" y="29"/>
                </a:cubicBezTo>
                <a:cubicBezTo>
                  <a:pt x="237" y="29"/>
                  <a:pt x="237" y="29"/>
                  <a:pt x="237" y="29"/>
                </a:cubicBezTo>
                <a:cubicBezTo>
                  <a:pt x="238" y="30"/>
                  <a:pt x="238" y="30"/>
                  <a:pt x="238" y="30"/>
                </a:cubicBezTo>
                <a:cubicBezTo>
                  <a:pt x="238" y="31"/>
                  <a:pt x="238" y="31"/>
                  <a:pt x="238" y="31"/>
                </a:cubicBezTo>
                <a:cubicBezTo>
                  <a:pt x="238" y="32"/>
                  <a:pt x="238" y="32"/>
                  <a:pt x="238" y="32"/>
                </a:cubicBezTo>
                <a:cubicBezTo>
                  <a:pt x="237" y="32"/>
                  <a:pt x="237" y="32"/>
                  <a:pt x="237" y="32"/>
                </a:cubicBezTo>
                <a:cubicBezTo>
                  <a:pt x="237" y="33"/>
                  <a:pt x="237" y="33"/>
                  <a:pt x="237" y="33"/>
                </a:cubicBezTo>
                <a:cubicBezTo>
                  <a:pt x="237" y="34"/>
                  <a:pt x="237" y="34"/>
                  <a:pt x="237" y="34"/>
                </a:cubicBezTo>
                <a:cubicBezTo>
                  <a:pt x="237" y="34"/>
                  <a:pt x="237" y="34"/>
                  <a:pt x="237" y="34"/>
                </a:cubicBezTo>
                <a:cubicBezTo>
                  <a:pt x="235" y="35"/>
                  <a:pt x="235" y="35"/>
                  <a:pt x="235" y="35"/>
                </a:cubicBezTo>
                <a:cubicBezTo>
                  <a:pt x="235" y="35"/>
                  <a:pt x="235" y="35"/>
                  <a:pt x="235" y="35"/>
                </a:cubicBezTo>
                <a:cubicBezTo>
                  <a:pt x="234" y="35"/>
                  <a:pt x="234" y="35"/>
                  <a:pt x="234" y="35"/>
                </a:cubicBezTo>
                <a:cubicBezTo>
                  <a:pt x="234" y="35"/>
                  <a:pt x="234" y="35"/>
                  <a:pt x="234" y="35"/>
                </a:cubicBezTo>
                <a:cubicBezTo>
                  <a:pt x="234" y="36"/>
                  <a:pt x="234" y="36"/>
                  <a:pt x="234" y="36"/>
                </a:cubicBezTo>
                <a:cubicBezTo>
                  <a:pt x="233" y="36"/>
                  <a:pt x="233" y="36"/>
                  <a:pt x="233" y="36"/>
                </a:cubicBezTo>
                <a:cubicBezTo>
                  <a:pt x="232" y="37"/>
                  <a:pt x="232" y="37"/>
                  <a:pt x="232" y="37"/>
                </a:cubicBezTo>
                <a:cubicBezTo>
                  <a:pt x="230" y="38"/>
                  <a:pt x="230" y="38"/>
                  <a:pt x="230" y="38"/>
                </a:cubicBezTo>
                <a:cubicBezTo>
                  <a:pt x="228" y="38"/>
                  <a:pt x="228" y="38"/>
                  <a:pt x="228" y="38"/>
                </a:cubicBezTo>
                <a:cubicBezTo>
                  <a:pt x="228" y="38"/>
                  <a:pt x="228" y="38"/>
                  <a:pt x="228" y="38"/>
                </a:cubicBezTo>
                <a:cubicBezTo>
                  <a:pt x="227" y="38"/>
                  <a:pt x="227" y="38"/>
                  <a:pt x="227" y="38"/>
                </a:cubicBezTo>
                <a:cubicBezTo>
                  <a:pt x="226" y="38"/>
                  <a:pt x="226" y="38"/>
                  <a:pt x="226" y="38"/>
                </a:cubicBezTo>
                <a:cubicBezTo>
                  <a:pt x="226" y="37"/>
                  <a:pt x="226" y="37"/>
                  <a:pt x="226" y="37"/>
                </a:cubicBezTo>
                <a:cubicBezTo>
                  <a:pt x="225" y="37"/>
                  <a:pt x="225" y="37"/>
                  <a:pt x="225" y="37"/>
                </a:cubicBezTo>
                <a:cubicBezTo>
                  <a:pt x="225" y="38"/>
                  <a:pt x="225" y="38"/>
                  <a:pt x="225" y="38"/>
                </a:cubicBezTo>
                <a:cubicBezTo>
                  <a:pt x="226" y="38"/>
                  <a:pt x="226" y="38"/>
                  <a:pt x="226" y="38"/>
                </a:cubicBezTo>
                <a:cubicBezTo>
                  <a:pt x="226" y="39"/>
                  <a:pt x="226" y="39"/>
                  <a:pt x="226" y="39"/>
                </a:cubicBezTo>
                <a:cubicBezTo>
                  <a:pt x="225" y="39"/>
                  <a:pt x="225" y="39"/>
                  <a:pt x="225" y="39"/>
                </a:cubicBezTo>
                <a:cubicBezTo>
                  <a:pt x="224" y="38"/>
                  <a:pt x="224" y="38"/>
                  <a:pt x="224" y="38"/>
                </a:cubicBezTo>
                <a:cubicBezTo>
                  <a:pt x="223" y="39"/>
                  <a:pt x="223" y="39"/>
                  <a:pt x="223" y="39"/>
                </a:cubicBezTo>
                <a:cubicBezTo>
                  <a:pt x="222" y="39"/>
                  <a:pt x="222" y="39"/>
                  <a:pt x="222" y="39"/>
                </a:cubicBezTo>
                <a:cubicBezTo>
                  <a:pt x="221" y="38"/>
                  <a:pt x="221" y="38"/>
                  <a:pt x="221" y="38"/>
                </a:cubicBezTo>
                <a:cubicBezTo>
                  <a:pt x="220" y="38"/>
                  <a:pt x="220" y="38"/>
                  <a:pt x="220" y="38"/>
                </a:cubicBezTo>
                <a:cubicBezTo>
                  <a:pt x="219" y="39"/>
                  <a:pt x="219" y="39"/>
                  <a:pt x="219" y="39"/>
                </a:cubicBezTo>
                <a:cubicBezTo>
                  <a:pt x="218" y="40"/>
                  <a:pt x="218" y="40"/>
                  <a:pt x="218" y="40"/>
                </a:cubicBezTo>
                <a:cubicBezTo>
                  <a:pt x="217" y="40"/>
                  <a:pt x="217" y="40"/>
                  <a:pt x="217" y="40"/>
                </a:cubicBezTo>
                <a:cubicBezTo>
                  <a:pt x="216" y="39"/>
                  <a:pt x="216" y="39"/>
                  <a:pt x="216" y="39"/>
                </a:cubicBezTo>
                <a:cubicBezTo>
                  <a:pt x="215" y="39"/>
                  <a:pt x="215" y="39"/>
                  <a:pt x="215" y="39"/>
                </a:cubicBezTo>
                <a:cubicBezTo>
                  <a:pt x="214" y="39"/>
                  <a:pt x="214" y="39"/>
                  <a:pt x="214" y="39"/>
                </a:cubicBezTo>
                <a:cubicBezTo>
                  <a:pt x="214" y="39"/>
                  <a:pt x="214" y="39"/>
                  <a:pt x="214" y="39"/>
                </a:cubicBezTo>
                <a:cubicBezTo>
                  <a:pt x="213" y="39"/>
                  <a:pt x="213" y="39"/>
                  <a:pt x="213" y="39"/>
                </a:cubicBezTo>
                <a:cubicBezTo>
                  <a:pt x="212" y="40"/>
                  <a:pt x="212" y="40"/>
                  <a:pt x="212" y="40"/>
                </a:cubicBezTo>
                <a:cubicBezTo>
                  <a:pt x="211" y="39"/>
                  <a:pt x="211" y="39"/>
                  <a:pt x="211" y="39"/>
                </a:cubicBezTo>
                <a:cubicBezTo>
                  <a:pt x="209" y="38"/>
                  <a:pt x="209" y="38"/>
                  <a:pt x="209" y="38"/>
                </a:cubicBezTo>
                <a:cubicBezTo>
                  <a:pt x="209" y="38"/>
                  <a:pt x="209" y="38"/>
                  <a:pt x="209" y="38"/>
                </a:cubicBezTo>
                <a:cubicBezTo>
                  <a:pt x="209" y="38"/>
                  <a:pt x="209" y="38"/>
                  <a:pt x="209" y="38"/>
                </a:cubicBezTo>
                <a:cubicBezTo>
                  <a:pt x="207" y="38"/>
                  <a:pt x="207" y="38"/>
                  <a:pt x="207" y="38"/>
                </a:cubicBezTo>
                <a:cubicBezTo>
                  <a:pt x="206" y="37"/>
                  <a:pt x="206" y="37"/>
                  <a:pt x="206" y="37"/>
                </a:cubicBezTo>
                <a:cubicBezTo>
                  <a:pt x="205" y="37"/>
                  <a:pt x="205" y="37"/>
                  <a:pt x="205" y="37"/>
                </a:cubicBezTo>
                <a:cubicBezTo>
                  <a:pt x="204" y="38"/>
                  <a:pt x="204" y="38"/>
                  <a:pt x="204" y="38"/>
                </a:cubicBezTo>
                <a:cubicBezTo>
                  <a:pt x="203" y="37"/>
                  <a:pt x="203" y="37"/>
                  <a:pt x="203" y="37"/>
                </a:cubicBezTo>
                <a:cubicBezTo>
                  <a:pt x="202" y="37"/>
                  <a:pt x="202" y="37"/>
                  <a:pt x="202" y="37"/>
                </a:cubicBezTo>
                <a:cubicBezTo>
                  <a:pt x="201" y="37"/>
                  <a:pt x="201" y="37"/>
                  <a:pt x="201" y="37"/>
                </a:cubicBezTo>
                <a:cubicBezTo>
                  <a:pt x="200" y="38"/>
                  <a:pt x="200" y="38"/>
                  <a:pt x="200" y="38"/>
                </a:cubicBezTo>
                <a:cubicBezTo>
                  <a:pt x="199" y="38"/>
                  <a:pt x="199" y="38"/>
                  <a:pt x="199" y="38"/>
                </a:cubicBezTo>
                <a:cubicBezTo>
                  <a:pt x="198" y="38"/>
                  <a:pt x="198" y="38"/>
                  <a:pt x="198" y="38"/>
                </a:cubicBezTo>
                <a:cubicBezTo>
                  <a:pt x="197" y="39"/>
                  <a:pt x="197" y="39"/>
                  <a:pt x="197" y="39"/>
                </a:cubicBezTo>
                <a:cubicBezTo>
                  <a:pt x="197" y="39"/>
                  <a:pt x="197" y="39"/>
                  <a:pt x="197" y="39"/>
                </a:cubicBezTo>
                <a:cubicBezTo>
                  <a:pt x="196" y="39"/>
                  <a:pt x="196" y="39"/>
                  <a:pt x="196" y="39"/>
                </a:cubicBezTo>
                <a:cubicBezTo>
                  <a:pt x="196" y="38"/>
                  <a:pt x="196" y="38"/>
                  <a:pt x="196" y="38"/>
                </a:cubicBezTo>
                <a:cubicBezTo>
                  <a:pt x="195" y="38"/>
                  <a:pt x="195" y="38"/>
                  <a:pt x="195" y="38"/>
                </a:cubicBezTo>
                <a:cubicBezTo>
                  <a:pt x="194" y="38"/>
                  <a:pt x="194" y="38"/>
                  <a:pt x="194" y="38"/>
                </a:cubicBezTo>
                <a:cubicBezTo>
                  <a:pt x="194" y="37"/>
                  <a:pt x="194" y="37"/>
                  <a:pt x="194" y="37"/>
                </a:cubicBezTo>
                <a:cubicBezTo>
                  <a:pt x="193" y="37"/>
                  <a:pt x="193" y="37"/>
                  <a:pt x="193" y="37"/>
                </a:cubicBezTo>
                <a:cubicBezTo>
                  <a:pt x="193" y="38"/>
                  <a:pt x="193" y="38"/>
                  <a:pt x="193" y="38"/>
                </a:cubicBezTo>
                <a:cubicBezTo>
                  <a:pt x="193" y="38"/>
                  <a:pt x="193" y="38"/>
                  <a:pt x="193" y="38"/>
                </a:cubicBezTo>
                <a:cubicBezTo>
                  <a:pt x="195" y="38"/>
                  <a:pt x="195" y="38"/>
                  <a:pt x="195" y="38"/>
                </a:cubicBezTo>
                <a:cubicBezTo>
                  <a:pt x="195" y="38"/>
                  <a:pt x="195" y="38"/>
                  <a:pt x="195" y="38"/>
                </a:cubicBezTo>
                <a:cubicBezTo>
                  <a:pt x="196" y="39"/>
                  <a:pt x="196" y="39"/>
                  <a:pt x="196" y="39"/>
                </a:cubicBezTo>
                <a:cubicBezTo>
                  <a:pt x="195" y="40"/>
                  <a:pt x="195" y="40"/>
                  <a:pt x="195" y="40"/>
                </a:cubicBezTo>
                <a:cubicBezTo>
                  <a:pt x="194" y="40"/>
                  <a:pt x="194" y="40"/>
                  <a:pt x="194" y="40"/>
                </a:cubicBezTo>
                <a:cubicBezTo>
                  <a:pt x="194" y="40"/>
                  <a:pt x="194" y="40"/>
                  <a:pt x="194" y="40"/>
                </a:cubicBezTo>
                <a:cubicBezTo>
                  <a:pt x="193" y="40"/>
                  <a:pt x="193" y="40"/>
                  <a:pt x="193" y="40"/>
                </a:cubicBezTo>
                <a:cubicBezTo>
                  <a:pt x="192" y="41"/>
                  <a:pt x="192" y="41"/>
                  <a:pt x="192" y="41"/>
                </a:cubicBezTo>
                <a:cubicBezTo>
                  <a:pt x="191" y="41"/>
                  <a:pt x="191" y="41"/>
                  <a:pt x="191" y="41"/>
                </a:cubicBezTo>
                <a:cubicBezTo>
                  <a:pt x="189" y="42"/>
                  <a:pt x="189" y="42"/>
                  <a:pt x="189" y="42"/>
                </a:cubicBezTo>
                <a:cubicBezTo>
                  <a:pt x="188" y="42"/>
                  <a:pt x="188" y="42"/>
                  <a:pt x="188" y="42"/>
                </a:cubicBezTo>
                <a:cubicBezTo>
                  <a:pt x="188" y="43"/>
                  <a:pt x="188" y="43"/>
                  <a:pt x="188" y="43"/>
                </a:cubicBezTo>
                <a:cubicBezTo>
                  <a:pt x="187" y="43"/>
                  <a:pt x="187" y="43"/>
                  <a:pt x="187" y="43"/>
                </a:cubicBezTo>
                <a:cubicBezTo>
                  <a:pt x="186" y="43"/>
                  <a:pt x="186" y="43"/>
                  <a:pt x="186" y="43"/>
                </a:cubicBezTo>
                <a:cubicBezTo>
                  <a:pt x="184" y="44"/>
                  <a:pt x="184" y="44"/>
                  <a:pt x="184" y="44"/>
                </a:cubicBezTo>
                <a:cubicBezTo>
                  <a:pt x="184" y="44"/>
                  <a:pt x="184" y="44"/>
                  <a:pt x="184" y="44"/>
                </a:cubicBezTo>
                <a:cubicBezTo>
                  <a:pt x="183" y="44"/>
                  <a:pt x="183" y="44"/>
                  <a:pt x="183" y="44"/>
                </a:cubicBezTo>
                <a:cubicBezTo>
                  <a:pt x="183" y="45"/>
                  <a:pt x="183" y="45"/>
                  <a:pt x="183" y="45"/>
                </a:cubicBezTo>
                <a:cubicBezTo>
                  <a:pt x="184" y="46"/>
                  <a:pt x="184" y="46"/>
                  <a:pt x="184" y="46"/>
                </a:cubicBezTo>
                <a:cubicBezTo>
                  <a:pt x="184" y="47"/>
                  <a:pt x="184" y="47"/>
                  <a:pt x="184" y="47"/>
                </a:cubicBezTo>
                <a:cubicBezTo>
                  <a:pt x="184" y="48"/>
                  <a:pt x="184" y="48"/>
                  <a:pt x="184" y="48"/>
                </a:cubicBezTo>
                <a:cubicBezTo>
                  <a:pt x="184" y="49"/>
                  <a:pt x="184" y="49"/>
                  <a:pt x="184" y="49"/>
                </a:cubicBezTo>
                <a:cubicBezTo>
                  <a:pt x="185" y="48"/>
                  <a:pt x="185" y="48"/>
                  <a:pt x="185" y="48"/>
                </a:cubicBezTo>
                <a:cubicBezTo>
                  <a:pt x="185" y="48"/>
                  <a:pt x="185" y="48"/>
                  <a:pt x="185" y="48"/>
                </a:cubicBezTo>
                <a:cubicBezTo>
                  <a:pt x="186" y="47"/>
                  <a:pt x="186" y="47"/>
                  <a:pt x="186" y="47"/>
                </a:cubicBezTo>
                <a:cubicBezTo>
                  <a:pt x="186" y="46"/>
                  <a:pt x="186" y="46"/>
                  <a:pt x="186" y="46"/>
                </a:cubicBezTo>
                <a:cubicBezTo>
                  <a:pt x="187" y="46"/>
                  <a:pt x="187" y="46"/>
                  <a:pt x="187" y="46"/>
                </a:cubicBezTo>
                <a:cubicBezTo>
                  <a:pt x="188" y="45"/>
                  <a:pt x="188" y="45"/>
                  <a:pt x="188" y="45"/>
                </a:cubicBezTo>
                <a:cubicBezTo>
                  <a:pt x="189" y="45"/>
                  <a:pt x="189" y="45"/>
                  <a:pt x="189" y="45"/>
                </a:cubicBezTo>
                <a:cubicBezTo>
                  <a:pt x="190" y="45"/>
                  <a:pt x="190" y="45"/>
                  <a:pt x="190" y="45"/>
                </a:cubicBezTo>
                <a:cubicBezTo>
                  <a:pt x="191" y="45"/>
                  <a:pt x="191" y="45"/>
                  <a:pt x="191" y="45"/>
                </a:cubicBezTo>
                <a:cubicBezTo>
                  <a:pt x="192" y="44"/>
                  <a:pt x="192" y="44"/>
                  <a:pt x="192" y="44"/>
                </a:cubicBezTo>
                <a:cubicBezTo>
                  <a:pt x="193" y="44"/>
                  <a:pt x="193" y="44"/>
                  <a:pt x="193" y="44"/>
                </a:cubicBezTo>
                <a:cubicBezTo>
                  <a:pt x="196" y="43"/>
                  <a:pt x="196" y="43"/>
                  <a:pt x="196" y="43"/>
                </a:cubicBezTo>
                <a:cubicBezTo>
                  <a:pt x="197" y="43"/>
                  <a:pt x="197" y="43"/>
                  <a:pt x="197" y="43"/>
                </a:cubicBezTo>
                <a:cubicBezTo>
                  <a:pt x="197" y="43"/>
                  <a:pt x="197" y="43"/>
                  <a:pt x="197" y="43"/>
                </a:cubicBezTo>
                <a:cubicBezTo>
                  <a:pt x="196" y="44"/>
                  <a:pt x="196" y="44"/>
                  <a:pt x="196" y="44"/>
                </a:cubicBezTo>
                <a:cubicBezTo>
                  <a:pt x="197" y="44"/>
                  <a:pt x="197" y="44"/>
                  <a:pt x="197" y="44"/>
                </a:cubicBezTo>
                <a:cubicBezTo>
                  <a:pt x="198" y="43"/>
                  <a:pt x="198" y="43"/>
                  <a:pt x="198" y="43"/>
                </a:cubicBezTo>
                <a:cubicBezTo>
                  <a:pt x="198" y="42"/>
                  <a:pt x="198" y="42"/>
                  <a:pt x="198" y="42"/>
                </a:cubicBezTo>
                <a:cubicBezTo>
                  <a:pt x="198" y="41"/>
                  <a:pt x="198" y="41"/>
                  <a:pt x="198" y="41"/>
                </a:cubicBezTo>
                <a:cubicBezTo>
                  <a:pt x="199" y="41"/>
                  <a:pt x="199" y="41"/>
                  <a:pt x="199" y="41"/>
                </a:cubicBezTo>
                <a:cubicBezTo>
                  <a:pt x="200" y="41"/>
                  <a:pt x="200" y="41"/>
                  <a:pt x="200" y="41"/>
                </a:cubicBezTo>
                <a:cubicBezTo>
                  <a:pt x="201" y="41"/>
                  <a:pt x="201" y="41"/>
                  <a:pt x="201" y="41"/>
                </a:cubicBezTo>
                <a:cubicBezTo>
                  <a:pt x="202" y="41"/>
                  <a:pt x="202" y="41"/>
                  <a:pt x="202" y="41"/>
                </a:cubicBezTo>
                <a:cubicBezTo>
                  <a:pt x="204" y="41"/>
                  <a:pt x="204" y="41"/>
                  <a:pt x="204" y="41"/>
                </a:cubicBezTo>
                <a:cubicBezTo>
                  <a:pt x="205" y="42"/>
                  <a:pt x="205" y="42"/>
                  <a:pt x="205" y="42"/>
                </a:cubicBezTo>
                <a:cubicBezTo>
                  <a:pt x="206" y="42"/>
                  <a:pt x="206" y="42"/>
                  <a:pt x="206" y="42"/>
                </a:cubicBezTo>
                <a:cubicBezTo>
                  <a:pt x="209" y="42"/>
                  <a:pt x="209" y="42"/>
                  <a:pt x="209" y="42"/>
                </a:cubicBezTo>
                <a:cubicBezTo>
                  <a:pt x="210" y="42"/>
                  <a:pt x="210" y="42"/>
                  <a:pt x="210" y="42"/>
                </a:cubicBezTo>
                <a:cubicBezTo>
                  <a:pt x="211" y="42"/>
                  <a:pt x="211" y="42"/>
                  <a:pt x="211" y="42"/>
                </a:cubicBezTo>
                <a:cubicBezTo>
                  <a:pt x="213" y="43"/>
                  <a:pt x="213" y="43"/>
                  <a:pt x="213" y="43"/>
                </a:cubicBezTo>
                <a:cubicBezTo>
                  <a:pt x="216" y="43"/>
                  <a:pt x="216" y="43"/>
                  <a:pt x="216" y="43"/>
                </a:cubicBezTo>
                <a:cubicBezTo>
                  <a:pt x="217" y="43"/>
                  <a:pt x="217" y="43"/>
                  <a:pt x="217" y="43"/>
                </a:cubicBezTo>
                <a:cubicBezTo>
                  <a:pt x="217" y="44"/>
                  <a:pt x="217" y="44"/>
                  <a:pt x="217" y="44"/>
                </a:cubicBezTo>
                <a:cubicBezTo>
                  <a:pt x="217" y="44"/>
                  <a:pt x="217" y="44"/>
                  <a:pt x="217" y="44"/>
                </a:cubicBezTo>
                <a:cubicBezTo>
                  <a:pt x="217" y="45"/>
                  <a:pt x="217" y="45"/>
                  <a:pt x="217" y="45"/>
                </a:cubicBezTo>
                <a:cubicBezTo>
                  <a:pt x="216" y="45"/>
                  <a:pt x="216" y="45"/>
                  <a:pt x="216" y="45"/>
                </a:cubicBezTo>
                <a:cubicBezTo>
                  <a:pt x="216" y="46"/>
                  <a:pt x="216" y="46"/>
                  <a:pt x="216" y="46"/>
                </a:cubicBezTo>
                <a:cubicBezTo>
                  <a:pt x="215" y="47"/>
                  <a:pt x="215" y="47"/>
                  <a:pt x="215" y="47"/>
                </a:cubicBezTo>
                <a:cubicBezTo>
                  <a:pt x="215" y="48"/>
                  <a:pt x="215" y="48"/>
                  <a:pt x="215" y="48"/>
                </a:cubicBezTo>
                <a:cubicBezTo>
                  <a:pt x="212" y="48"/>
                  <a:pt x="212" y="48"/>
                  <a:pt x="212" y="48"/>
                </a:cubicBezTo>
                <a:cubicBezTo>
                  <a:pt x="210" y="49"/>
                  <a:pt x="210" y="49"/>
                  <a:pt x="210" y="49"/>
                </a:cubicBezTo>
                <a:cubicBezTo>
                  <a:pt x="210" y="49"/>
                  <a:pt x="210" y="49"/>
                  <a:pt x="210" y="49"/>
                </a:cubicBezTo>
                <a:cubicBezTo>
                  <a:pt x="209" y="49"/>
                  <a:pt x="209" y="49"/>
                  <a:pt x="209" y="49"/>
                </a:cubicBezTo>
                <a:cubicBezTo>
                  <a:pt x="209" y="49"/>
                  <a:pt x="209" y="49"/>
                  <a:pt x="209" y="49"/>
                </a:cubicBezTo>
                <a:cubicBezTo>
                  <a:pt x="209" y="50"/>
                  <a:pt x="209" y="50"/>
                  <a:pt x="209" y="50"/>
                </a:cubicBezTo>
                <a:cubicBezTo>
                  <a:pt x="209" y="50"/>
                  <a:pt x="209" y="50"/>
                  <a:pt x="209" y="50"/>
                </a:cubicBezTo>
                <a:cubicBezTo>
                  <a:pt x="208" y="51"/>
                  <a:pt x="208" y="51"/>
                  <a:pt x="208" y="51"/>
                </a:cubicBezTo>
                <a:cubicBezTo>
                  <a:pt x="209" y="52"/>
                  <a:pt x="209" y="52"/>
                  <a:pt x="209" y="52"/>
                </a:cubicBezTo>
                <a:cubicBezTo>
                  <a:pt x="209" y="52"/>
                  <a:pt x="209" y="52"/>
                  <a:pt x="209" y="52"/>
                </a:cubicBezTo>
                <a:cubicBezTo>
                  <a:pt x="210" y="52"/>
                  <a:pt x="210" y="52"/>
                  <a:pt x="210" y="52"/>
                </a:cubicBezTo>
                <a:cubicBezTo>
                  <a:pt x="212" y="51"/>
                  <a:pt x="212" y="51"/>
                  <a:pt x="212" y="51"/>
                </a:cubicBezTo>
                <a:cubicBezTo>
                  <a:pt x="213" y="51"/>
                  <a:pt x="213" y="51"/>
                  <a:pt x="213" y="51"/>
                </a:cubicBezTo>
                <a:cubicBezTo>
                  <a:pt x="213" y="51"/>
                  <a:pt x="215" y="51"/>
                  <a:pt x="215" y="51"/>
                </a:cubicBezTo>
                <a:cubicBezTo>
                  <a:pt x="216" y="51"/>
                  <a:pt x="218" y="51"/>
                  <a:pt x="218" y="51"/>
                </a:cubicBezTo>
                <a:cubicBezTo>
                  <a:pt x="218" y="51"/>
                  <a:pt x="218" y="51"/>
                  <a:pt x="218" y="51"/>
                </a:cubicBezTo>
                <a:cubicBezTo>
                  <a:pt x="219" y="52"/>
                  <a:pt x="219" y="52"/>
                  <a:pt x="219" y="52"/>
                </a:cubicBezTo>
                <a:cubicBezTo>
                  <a:pt x="220" y="52"/>
                  <a:pt x="220" y="52"/>
                  <a:pt x="220" y="52"/>
                </a:cubicBezTo>
                <a:cubicBezTo>
                  <a:pt x="220" y="51"/>
                  <a:pt x="220" y="51"/>
                  <a:pt x="220" y="51"/>
                </a:cubicBezTo>
                <a:cubicBezTo>
                  <a:pt x="221" y="51"/>
                  <a:pt x="221" y="51"/>
                  <a:pt x="221" y="51"/>
                </a:cubicBezTo>
                <a:cubicBezTo>
                  <a:pt x="221" y="51"/>
                  <a:pt x="221" y="51"/>
                  <a:pt x="221" y="51"/>
                </a:cubicBezTo>
                <a:cubicBezTo>
                  <a:pt x="222" y="52"/>
                  <a:pt x="222" y="52"/>
                  <a:pt x="222" y="52"/>
                </a:cubicBezTo>
                <a:cubicBezTo>
                  <a:pt x="223" y="50"/>
                  <a:pt x="223" y="50"/>
                  <a:pt x="223" y="50"/>
                </a:cubicBezTo>
                <a:cubicBezTo>
                  <a:pt x="223" y="48"/>
                  <a:pt x="223" y="48"/>
                  <a:pt x="223" y="48"/>
                </a:cubicBezTo>
                <a:cubicBezTo>
                  <a:pt x="223" y="47"/>
                  <a:pt x="223" y="47"/>
                  <a:pt x="223" y="47"/>
                </a:cubicBezTo>
                <a:cubicBezTo>
                  <a:pt x="224" y="46"/>
                  <a:pt x="224" y="46"/>
                  <a:pt x="224" y="46"/>
                </a:cubicBezTo>
                <a:cubicBezTo>
                  <a:pt x="224" y="46"/>
                  <a:pt x="224" y="46"/>
                  <a:pt x="224" y="46"/>
                </a:cubicBezTo>
                <a:cubicBezTo>
                  <a:pt x="224" y="45"/>
                  <a:pt x="224" y="45"/>
                  <a:pt x="224" y="45"/>
                </a:cubicBezTo>
                <a:cubicBezTo>
                  <a:pt x="225" y="44"/>
                  <a:pt x="225" y="44"/>
                  <a:pt x="225" y="44"/>
                </a:cubicBezTo>
                <a:cubicBezTo>
                  <a:pt x="226" y="44"/>
                  <a:pt x="226" y="44"/>
                  <a:pt x="226" y="44"/>
                </a:cubicBezTo>
                <a:cubicBezTo>
                  <a:pt x="227" y="45"/>
                  <a:pt x="227" y="45"/>
                  <a:pt x="227" y="45"/>
                </a:cubicBezTo>
                <a:cubicBezTo>
                  <a:pt x="229" y="44"/>
                  <a:pt x="229" y="44"/>
                  <a:pt x="229" y="44"/>
                </a:cubicBezTo>
                <a:cubicBezTo>
                  <a:pt x="230" y="44"/>
                  <a:pt x="230" y="44"/>
                  <a:pt x="230" y="44"/>
                </a:cubicBezTo>
                <a:cubicBezTo>
                  <a:pt x="231" y="44"/>
                  <a:pt x="231" y="44"/>
                  <a:pt x="231" y="44"/>
                </a:cubicBezTo>
                <a:cubicBezTo>
                  <a:pt x="231" y="46"/>
                  <a:pt x="231" y="46"/>
                  <a:pt x="231" y="46"/>
                </a:cubicBezTo>
                <a:cubicBezTo>
                  <a:pt x="231" y="48"/>
                  <a:pt x="231" y="48"/>
                  <a:pt x="231" y="48"/>
                </a:cubicBezTo>
                <a:cubicBezTo>
                  <a:pt x="231" y="49"/>
                  <a:pt x="231" y="49"/>
                  <a:pt x="231" y="49"/>
                </a:cubicBezTo>
                <a:cubicBezTo>
                  <a:pt x="230" y="51"/>
                  <a:pt x="230" y="51"/>
                  <a:pt x="230" y="51"/>
                </a:cubicBezTo>
                <a:cubicBezTo>
                  <a:pt x="229" y="52"/>
                  <a:pt x="229" y="52"/>
                  <a:pt x="229" y="52"/>
                </a:cubicBezTo>
                <a:cubicBezTo>
                  <a:pt x="229" y="54"/>
                  <a:pt x="229" y="54"/>
                  <a:pt x="229" y="54"/>
                </a:cubicBezTo>
                <a:cubicBezTo>
                  <a:pt x="229" y="55"/>
                  <a:pt x="229" y="55"/>
                  <a:pt x="229" y="55"/>
                </a:cubicBezTo>
                <a:cubicBezTo>
                  <a:pt x="225" y="58"/>
                  <a:pt x="225" y="58"/>
                  <a:pt x="225" y="58"/>
                </a:cubicBezTo>
                <a:cubicBezTo>
                  <a:pt x="224" y="58"/>
                  <a:pt x="224" y="58"/>
                  <a:pt x="224" y="58"/>
                </a:cubicBezTo>
                <a:cubicBezTo>
                  <a:pt x="224" y="58"/>
                  <a:pt x="224" y="58"/>
                  <a:pt x="224" y="58"/>
                </a:cubicBezTo>
                <a:cubicBezTo>
                  <a:pt x="223" y="58"/>
                  <a:pt x="223" y="58"/>
                  <a:pt x="223" y="58"/>
                </a:cubicBezTo>
                <a:cubicBezTo>
                  <a:pt x="222" y="59"/>
                  <a:pt x="222" y="59"/>
                  <a:pt x="222" y="59"/>
                </a:cubicBezTo>
                <a:cubicBezTo>
                  <a:pt x="222" y="59"/>
                  <a:pt x="222" y="59"/>
                  <a:pt x="222" y="59"/>
                </a:cubicBezTo>
                <a:cubicBezTo>
                  <a:pt x="221" y="59"/>
                  <a:pt x="221" y="59"/>
                  <a:pt x="221" y="59"/>
                </a:cubicBezTo>
                <a:cubicBezTo>
                  <a:pt x="220" y="60"/>
                  <a:pt x="220" y="60"/>
                  <a:pt x="220" y="60"/>
                </a:cubicBezTo>
                <a:cubicBezTo>
                  <a:pt x="220" y="61"/>
                  <a:pt x="220" y="61"/>
                  <a:pt x="220" y="61"/>
                </a:cubicBezTo>
                <a:cubicBezTo>
                  <a:pt x="219" y="62"/>
                  <a:pt x="219" y="62"/>
                  <a:pt x="219" y="62"/>
                </a:cubicBezTo>
                <a:cubicBezTo>
                  <a:pt x="218" y="63"/>
                  <a:pt x="218" y="63"/>
                  <a:pt x="218" y="63"/>
                </a:cubicBezTo>
                <a:cubicBezTo>
                  <a:pt x="218" y="63"/>
                  <a:pt x="218" y="63"/>
                  <a:pt x="218" y="63"/>
                </a:cubicBezTo>
                <a:cubicBezTo>
                  <a:pt x="217" y="62"/>
                  <a:pt x="217" y="62"/>
                  <a:pt x="217" y="62"/>
                </a:cubicBezTo>
                <a:cubicBezTo>
                  <a:pt x="217" y="63"/>
                  <a:pt x="217" y="63"/>
                  <a:pt x="217" y="63"/>
                </a:cubicBezTo>
                <a:cubicBezTo>
                  <a:pt x="217" y="63"/>
                  <a:pt x="217" y="63"/>
                  <a:pt x="217" y="63"/>
                </a:cubicBezTo>
                <a:cubicBezTo>
                  <a:pt x="217" y="64"/>
                  <a:pt x="217" y="64"/>
                  <a:pt x="217" y="64"/>
                </a:cubicBezTo>
                <a:cubicBezTo>
                  <a:pt x="216" y="66"/>
                  <a:pt x="216" y="66"/>
                  <a:pt x="216" y="66"/>
                </a:cubicBezTo>
                <a:cubicBezTo>
                  <a:pt x="215" y="67"/>
                  <a:pt x="215" y="67"/>
                  <a:pt x="215" y="67"/>
                </a:cubicBezTo>
                <a:cubicBezTo>
                  <a:pt x="214" y="67"/>
                  <a:pt x="214" y="67"/>
                  <a:pt x="214" y="67"/>
                </a:cubicBezTo>
                <a:cubicBezTo>
                  <a:pt x="213" y="69"/>
                  <a:pt x="213" y="69"/>
                  <a:pt x="213" y="69"/>
                </a:cubicBezTo>
                <a:cubicBezTo>
                  <a:pt x="211" y="70"/>
                  <a:pt x="211" y="70"/>
                  <a:pt x="211" y="70"/>
                </a:cubicBezTo>
                <a:cubicBezTo>
                  <a:pt x="210" y="70"/>
                  <a:pt x="210" y="70"/>
                  <a:pt x="210" y="70"/>
                </a:cubicBezTo>
                <a:cubicBezTo>
                  <a:pt x="209" y="71"/>
                  <a:pt x="209" y="71"/>
                  <a:pt x="209" y="71"/>
                </a:cubicBezTo>
                <a:cubicBezTo>
                  <a:pt x="209" y="72"/>
                  <a:pt x="209" y="72"/>
                  <a:pt x="209" y="72"/>
                </a:cubicBezTo>
                <a:cubicBezTo>
                  <a:pt x="208" y="72"/>
                  <a:pt x="208" y="72"/>
                  <a:pt x="208" y="72"/>
                </a:cubicBezTo>
                <a:cubicBezTo>
                  <a:pt x="208" y="73"/>
                  <a:pt x="208" y="73"/>
                  <a:pt x="208" y="73"/>
                </a:cubicBezTo>
                <a:cubicBezTo>
                  <a:pt x="208" y="74"/>
                  <a:pt x="208" y="74"/>
                  <a:pt x="208" y="74"/>
                </a:cubicBezTo>
                <a:cubicBezTo>
                  <a:pt x="207" y="75"/>
                  <a:pt x="207" y="75"/>
                  <a:pt x="207" y="75"/>
                </a:cubicBezTo>
                <a:cubicBezTo>
                  <a:pt x="207" y="76"/>
                  <a:pt x="207" y="76"/>
                  <a:pt x="207" y="76"/>
                </a:cubicBezTo>
                <a:cubicBezTo>
                  <a:pt x="208" y="75"/>
                  <a:pt x="208" y="75"/>
                  <a:pt x="208" y="75"/>
                </a:cubicBezTo>
                <a:cubicBezTo>
                  <a:pt x="208" y="75"/>
                  <a:pt x="208" y="75"/>
                  <a:pt x="208" y="75"/>
                </a:cubicBezTo>
                <a:cubicBezTo>
                  <a:pt x="209" y="73"/>
                  <a:pt x="209" y="73"/>
                  <a:pt x="209" y="73"/>
                </a:cubicBezTo>
                <a:cubicBezTo>
                  <a:pt x="210" y="72"/>
                  <a:pt x="210" y="72"/>
                  <a:pt x="210" y="72"/>
                </a:cubicBezTo>
                <a:cubicBezTo>
                  <a:pt x="211" y="71"/>
                  <a:pt x="211" y="71"/>
                  <a:pt x="211" y="71"/>
                </a:cubicBezTo>
                <a:cubicBezTo>
                  <a:pt x="212" y="71"/>
                  <a:pt x="212" y="71"/>
                  <a:pt x="212" y="71"/>
                </a:cubicBezTo>
                <a:cubicBezTo>
                  <a:pt x="212" y="72"/>
                  <a:pt x="212" y="72"/>
                  <a:pt x="212" y="72"/>
                </a:cubicBezTo>
                <a:cubicBezTo>
                  <a:pt x="213" y="70"/>
                  <a:pt x="213" y="70"/>
                  <a:pt x="213" y="70"/>
                </a:cubicBezTo>
                <a:cubicBezTo>
                  <a:pt x="215" y="69"/>
                  <a:pt x="215" y="69"/>
                  <a:pt x="215" y="69"/>
                </a:cubicBezTo>
                <a:cubicBezTo>
                  <a:pt x="216" y="69"/>
                  <a:pt x="216" y="69"/>
                  <a:pt x="216" y="69"/>
                </a:cubicBezTo>
                <a:cubicBezTo>
                  <a:pt x="216" y="67"/>
                  <a:pt x="216" y="67"/>
                  <a:pt x="216" y="67"/>
                </a:cubicBezTo>
                <a:cubicBezTo>
                  <a:pt x="218" y="66"/>
                  <a:pt x="218" y="66"/>
                  <a:pt x="218" y="66"/>
                </a:cubicBezTo>
                <a:cubicBezTo>
                  <a:pt x="220" y="64"/>
                  <a:pt x="220" y="64"/>
                  <a:pt x="220" y="64"/>
                </a:cubicBezTo>
                <a:cubicBezTo>
                  <a:pt x="220" y="64"/>
                  <a:pt x="220" y="64"/>
                  <a:pt x="220" y="64"/>
                </a:cubicBezTo>
                <a:cubicBezTo>
                  <a:pt x="221" y="64"/>
                  <a:pt x="221" y="64"/>
                  <a:pt x="221" y="64"/>
                </a:cubicBezTo>
                <a:cubicBezTo>
                  <a:pt x="222" y="64"/>
                  <a:pt x="222" y="64"/>
                  <a:pt x="222" y="64"/>
                </a:cubicBezTo>
                <a:cubicBezTo>
                  <a:pt x="223" y="63"/>
                  <a:pt x="223" y="63"/>
                  <a:pt x="223" y="63"/>
                </a:cubicBezTo>
                <a:cubicBezTo>
                  <a:pt x="223" y="63"/>
                  <a:pt x="223" y="63"/>
                  <a:pt x="223" y="63"/>
                </a:cubicBezTo>
                <a:cubicBezTo>
                  <a:pt x="224" y="63"/>
                  <a:pt x="224" y="63"/>
                  <a:pt x="224" y="63"/>
                </a:cubicBezTo>
                <a:cubicBezTo>
                  <a:pt x="226" y="63"/>
                  <a:pt x="226" y="63"/>
                  <a:pt x="226" y="63"/>
                </a:cubicBezTo>
                <a:cubicBezTo>
                  <a:pt x="228" y="62"/>
                  <a:pt x="228" y="62"/>
                  <a:pt x="228" y="62"/>
                </a:cubicBezTo>
                <a:cubicBezTo>
                  <a:pt x="229" y="61"/>
                  <a:pt x="229" y="61"/>
                  <a:pt x="229" y="61"/>
                </a:cubicBezTo>
                <a:cubicBezTo>
                  <a:pt x="230" y="61"/>
                  <a:pt x="230" y="61"/>
                  <a:pt x="230" y="61"/>
                </a:cubicBezTo>
                <a:cubicBezTo>
                  <a:pt x="231" y="60"/>
                  <a:pt x="231" y="60"/>
                  <a:pt x="231" y="60"/>
                </a:cubicBezTo>
                <a:cubicBezTo>
                  <a:pt x="232" y="59"/>
                  <a:pt x="232" y="59"/>
                  <a:pt x="232" y="59"/>
                </a:cubicBezTo>
                <a:cubicBezTo>
                  <a:pt x="233" y="59"/>
                  <a:pt x="233" y="59"/>
                  <a:pt x="233" y="59"/>
                </a:cubicBezTo>
                <a:cubicBezTo>
                  <a:pt x="233" y="58"/>
                  <a:pt x="233" y="58"/>
                  <a:pt x="233" y="58"/>
                </a:cubicBezTo>
                <a:cubicBezTo>
                  <a:pt x="235" y="57"/>
                  <a:pt x="235" y="57"/>
                  <a:pt x="235" y="57"/>
                </a:cubicBezTo>
                <a:cubicBezTo>
                  <a:pt x="236" y="55"/>
                  <a:pt x="236" y="55"/>
                  <a:pt x="236" y="55"/>
                </a:cubicBezTo>
                <a:cubicBezTo>
                  <a:pt x="236" y="55"/>
                  <a:pt x="236" y="55"/>
                  <a:pt x="236" y="55"/>
                </a:cubicBezTo>
                <a:cubicBezTo>
                  <a:pt x="236" y="54"/>
                  <a:pt x="236" y="54"/>
                  <a:pt x="236" y="54"/>
                </a:cubicBezTo>
                <a:cubicBezTo>
                  <a:pt x="237" y="53"/>
                  <a:pt x="237" y="53"/>
                  <a:pt x="237" y="53"/>
                </a:cubicBezTo>
                <a:cubicBezTo>
                  <a:pt x="237" y="53"/>
                  <a:pt x="237" y="53"/>
                  <a:pt x="237" y="53"/>
                </a:cubicBezTo>
                <a:cubicBezTo>
                  <a:pt x="237" y="53"/>
                  <a:pt x="237" y="53"/>
                  <a:pt x="237" y="53"/>
                </a:cubicBezTo>
                <a:cubicBezTo>
                  <a:pt x="238" y="54"/>
                  <a:pt x="238" y="54"/>
                  <a:pt x="238" y="54"/>
                </a:cubicBezTo>
                <a:cubicBezTo>
                  <a:pt x="238" y="55"/>
                  <a:pt x="238" y="55"/>
                  <a:pt x="238" y="55"/>
                </a:cubicBezTo>
                <a:cubicBezTo>
                  <a:pt x="237" y="56"/>
                  <a:pt x="237" y="56"/>
                  <a:pt x="237" y="56"/>
                </a:cubicBezTo>
                <a:cubicBezTo>
                  <a:pt x="238" y="57"/>
                  <a:pt x="238" y="57"/>
                  <a:pt x="238" y="57"/>
                </a:cubicBezTo>
                <a:cubicBezTo>
                  <a:pt x="238" y="58"/>
                  <a:pt x="238" y="58"/>
                  <a:pt x="238" y="58"/>
                </a:cubicBezTo>
                <a:cubicBezTo>
                  <a:pt x="238" y="59"/>
                  <a:pt x="238" y="59"/>
                  <a:pt x="238" y="59"/>
                </a:cubicBezTo>
                <a:cubicBezTo>
                  <a:pt x="238" y="59"/>
                  <a:pt x="238" y="59"/>
                  <a:pt x="238" y="59"/>
                </a:cubicBezTo>
                <a:cubicBezTo>
                  <a:pt x="238" y="59"/>
                  <a:pt x="238" y="59"/>
                  <a:pt x="238" y="59"/>
                </a:cubicBezTo>
                <a:cubicBezTo>
                  <a:pt x="239" y="58"/>
                  <a:pt x="239" y="58"/>
                  <a:pt x="239" y="58"/>
                </a:cubicBezTo>
                <a:cubicBezTo>
                  <a:pt x="239" y="57"/>
                  <a:pt x="239" y="57"/>
                  <a:pt x="239" y="57"/>
                </a:cubicBezTo>
                <a:cubicBezTo>
                  <a:pt x="239" y="57"/>
                  <a:pt x="239" y="57"/>
                  <a:pt x="239" y="57"/>
                </a:cubicBezTo>
                <a:cubicBezTo>
                  <a:pt x="239" y="55"/>
                  <a:pt x="239" y="55"/>
                  <a:pt x="239" y="55"/>
                </a:cubicBezTo>
                <a:cubicBezTo>
                  <a:pt x="239" y="55"/>
                  <a:pt x="239" y="55"/>
                  <a:pt x="239" y="55"/>
                </a:cubicBezTo>
                <a:cubicBezTo>
                  <a:pt x="240" y="55"/>
                  <a:pt x="240" y="55"/>
                  <a:pt x="240" y="55"/>
                </a:cubicBezTo>
                <a:cubicBezTo>
                  <a:pt x="240" y="56"/>
                  <a:pt x="240" y="56"/>
                  <a:pt x="240" y="56"/>
                </a:cubicBezTo>
                <a:cubicBezTo>
                  <a:pt x="241" y="57"/>
                  <a:pt x="241" y="57"/>
                  <a:pt x="241" y="57"/>
                </a:cubicBezTo>
                <a:cubicBezTo>
                  <a:pt x="242" y="57"/>
                  <a:pt x="242" y="57"/>
                  <a:pt x="242" y="57"/>
                </a:cubicBezTo>
                <a:cubicBezTo>
                  <a:pt x="243" y="56"/>
                  <a:pt x="243" y="56"/>
                  <a:pt x="243" y="56"/>
                </a:cubicBezTo>
                <a:cubicBezTo>
                  <a:pt x="243" y="56"/>
                  <a:pt x="243" y="56"/>
                  <a:pt x="243" y="56"/>
                </a:cubicBezTo>
                <a:cubicBezTo>
                  <a:pt x="243" y="55"/>
                  <a:pt x="243" y="55"/>
                  <a:pt x="243" y="55"/>
                </a:cubicBezTo>
                <a:cubicBezTo>
                  <a:pt x="243" y="54"/>
                  <a:pt x="243" y="54"/>
                  <a:pt x="243" y="54"/>
                </a:cubicBezTo>
                <a:cubicBezTo>
                  <a:pt x="244" y="54"/>
                  <a:pt x="244" y="54"/>
                  <a:pt x="244" y="54"/>
                </a:cubicBezTo>
                <a:cubicBezTo>
                  <a:pt x="244" y="54"/>
                  <a:pt x="244" y="54"/>
                  <a:pt x="244" y="54"/>
                </a:cubicBezTo>
                <a:cubicBezTo>
                  <a:pt x="244" y="52"/>
                  <a:pt x="244" y="52"/>
                  <a:pt x="244" y="52"/>
                </a:cubicBezTo>
                <a:cubicBezTo>
                  <a:pt x="244" y="51"/>
                  <a:pt x="244" y="51"/>
                  <a:pt x="244" y="51"/>
                </a:cubicBezTo>
                <a:cubicBezTo>
                  <a:pt x="244" y="51"/>
                  <a:pt x="244" y="51"/>
                  <a:pt x="244" y="51"/>
                </a:cubicBezTo>
                <a:cubicBezTo>
                  <a:pt x="245" y="50"/>
                  <a:pt x="245" y="50"/>
                  <a:pt x="245" y="50"/>
                </a:cubicBezTo>
                <a:cubicBezTo>
                  <a:pt x="245" y="51"/>
                  <a:pt x="245" y="51"/>
                  <a:pt x="245" y="51"/>
                </a:cubicBezTo>
                <a:cubicBezTo>
                  <a:pt x="246" y="52"/>
                  <a:pt x="246" y="52"/>
                  <a:pt x="246" y="52"/>
                </a:cubicBezTo>
                <a:cubicBezTo>
                  <a:pt x="248" y="51"/>
                  <a:pt x="248" y="51"/>
                  <a:pt x="248" y="51"/>
                </a:cubicBezTo>
                <a:cubicBezTo>
                  <a:pt x="248" y="50"/>
                  <a:pt x="248" y="50"/>
                  <a:pt x="248" y="50"/>
                </a:cubicBezTo>
                <a:cubicBezTo>
                  <a:pt x="250" y="50"/>
                  <a:pt x="250" y="50"/>
                  <a:pt x="250" y="50"/>
                </a:cubicBezTo>
                <a:cubicBezTo>
                  <a:pt x="251" y="50"/>
                  <a:pt x="251" y="50"/>
                  <a:pt x="251" y="50"/>
                </a:cubicBezTo>
                <a:cubicBezTo>
                  <a:pt x="252" y="49"/>
                  <a:pt x="252" y="49"/>
                  <a:pt x="252" y="49"/>
                </a:cubicBezTo>
                <a:cubicBezTo>
                  <a:pt x="254" y="50"/>
                  <a:pt x="254" y="50"/>
                  <a:pt x="254" y="50"/>
                </a:cubicBezTo>
                <a:cubicBezTo>
                  <a:pt x="255" y="51"/>
                  <a:pt x="255" y="51"/>
                  <a:pt x="255" y="51"/>
                </a:cubicBezTo>
                <a:cubicBezTo>
                  <a:pt x="257" y="51"/>
                  <a:pt x="257" y="51"/>
                  <a:pt x="257" y="51"/>
                </a:cubicBezTo>
                <a:cubicBezTo>
                  <a:pt x="258" y="51"/>
                  <a:pt x="258" y="51"/>
                  <a:pt x="258" y="51"/>
                </a:cubicBezTo>
                <a:cubicBezTo>
                  <a:pt x="259" y="52"/>
                  <a:pt x="259" y="52"/>
                  <a:pt x="259" y="52"/>
                </a:cubicBezTo>
                <a:cubicBezTo>
                  <a:pt x="260" y="53"/>
                  <a:pt x="260" y="53"/>
                  <a:pt x="260" y="53"/>
                </a:cubicBezTo>
                <a:cubicBezTo>
                  <a:pt x="261" y="53"/>
                  <a:pt x="261" y="53"/>
                  <a:pt x="261" y="53"/>
                </a:cubicBezTo>
                <a:cubicBezTo>
                  <a:pt x="262" y="53"/>
                  <a:pt x="262" y="53"/>
                  <a:pt x="262" y="53"/>
                </a:cubicBezTo>
                <a:cubicBezTo>
                  <a:pt x="262" y="54"/>
                  <a:pt x="262" y="54"/>
                  <a:pt x="262" y="54"/>
                </a:cubicBezTo>
                <a:cubicBezTo>
                  <a:pt x="263" y="55"/>
                  <a:pt x="263" y="55"/>
                  <a:pt x="263" y="55"/>
                </a:cubicBezTo>
                <a:cubicBezTo>
                  <a:pt x="264" y="56"/>
                  <a:pt x="264" y="56"/>
                  <a:pt x="264" y="56"/>
                </a:cubicBezTo>
                <a:cubicBezTo>
                  <a:pt x="265" y="57"/>
                  <a:pt x="265" y="57"/>
                  <a:pt x="265" y="57"/>
                </a:cubicBezTo>
                <a:cubicBezTo>
                  <a:pt x="266" y="58"/>
                  <a:pt x="266" y="58"/>
                  <a:pt x="266" y="58"/>
                </a:cubicBezTo>
                <a:cubicBezTo>
                  <a:pt x="266" y="60"/>
                  <a:pt x="266" y="60"/>
                  <a:pt x="266" y="60"/>
                </a:cubicBezTo>
                <a:cubicBezTo>
                  <a:pt x="266" y="61"/>
                  <a:pt x="266" y="61"/>
                  <a:pt x="266" y="61"/>
                </a:cubicBezTo>
                <a:cubicBezTo>
                  <a:pt x="266" y="62"/>
                  <a:pt x="266" y="62"/>
                  <a:pt x="266" y="62"/>
                </a:cubicBezTo>
                <a:cubicBezTo>
                  <a:pt x="264" y="62"/>
                  <a:pt x="264" y="62"/>
                  <a:pt x="264" y="62"/>
                </a:cubicBezTo>
                <a:cubicBezTo>
                  <a:pt x="263" y="63"/>
                  <a:pt x="263" y="63"/>
                  <a:pt x="263" y="63"/>
                </a:cubicBezTo>
                <a:cubicBezTo>
                  <a:pt x="263" y="64"/>
                  <a:pt x="263" y="64"/>
                  <a:pt x="263" y="64"/>
                </a:cubicBezTo>
                <a:cubicBezTo>
                  <a:pt x="262" y="64"/>
                  <a:pt x="262" y="64"/>
                  <a:pt x="262" y="64"/>
                </a:cubicBezTo>
                <a:cubicBezTo>
                  <a:pt x="261" y="65"/>
                  <a:pt x="261" y="65"/>
                  <a:pt x="261" y="65"/>
                </a:cubicBezTo>
                <a:cubicBezTo>
                  <a:pt x="260" y="67"/>
                  <a:pt x="260" y="67"/>
                  <a:pt x="260" y="67"/>
                </a:cubicBezTo>
                <a:cubicBezTo>
                  <a:pt x="259" y="68"/>
                  <a:pt x="259" y="68"/>
                  <a:pt x="259" y="68"/>
                </a:cubicBezTo>
                <a:cubicBezTo>
                  <a:pt x="259" y="68"/>
                  <a:pt x="259" y="68"/>
                  <a:pt x="259" y="68"/>
                </a:cubicBezTo>
                <a:cubicBezTo>
                  <a:pt x="258" y="67"/>
                  <a:pt x="258" y="67"/>
                  <a:pt x="258" y="67"/>
                </a:cubicBezTo>
                <a:cubicBezTo>
                  <a:pt x="256" y="66"/>
                  <a:pt x="256" y="66"/>
                  <a:pt x="256" y="66"/>
                </a:cubicBezTo>
                <a:cubicBezTo>
                  <a:pt x="256" y="66"/>
                  <a:pt x="256" y="66"/>
                  <a:pt x="256" y="66"/>
                </a:cubicBezTo>
                <a:cubicBezTo>
                  <a:pt x="255" y="67"/>
                  <a:pt x="255" y="67"/>
                  <a:pt x="255" y="67"/>
                </a:cubicBezTo>
                <a:cubicBezTo>
                  <a:pt x="254" y="68"/>
                  <a:pt x="254" y="68"/>
                  <a:pt x="254" y="68"/>
                </a:cubicBezTo>
                <a:cubicBezTo>
                  <a:pt x="254" y="69"/>
                  <a:pt x="254" y="69"/>
                  <a:pt x="254" y="69"/>
                </a:cubicBezTo>
                <a:cubicBezTo>
                  <a:pt x="254" y="69"/>
                  <a:pt x="254" y="69"/>
                  <a:pt x="254" y="69"/>
                </a:cubicBezTo>
                <a:cubicBezTo>
                  <a:pt x="254" y="70"/>
                  <a:pt x="254" y="70"/>
                  <a:pt x="254" y="70"/>
                </a:cubicBezTo>
                <a:cubicBezTo>
                  <a:pt x="255" y="71"/>
                  <a:pt x="255" y="71"/>
                  <a:pt x="255" y="71"/>
                </a:cubicBezTo>
                <a:cubicBezTo>
                  <a:pt x="256" y="71"/>
                  <a:pt x="256" y="71"/>
                  <a:pt x="256" y="71"/>
                </a:cubicBezTo>
                <a:cubicBezTo>
                  <a:pt x="256" y="72"/>
                  <a:pt x="256" y="72"/>
                  <a:pt x="256" y="72"/>
                </a:cubicBezTo>
                <a:cubicBezTo>
                  <a:pt x="255" y="72"/>
                  <a:pt x="255" y="72"/>
                  <a:pt x="255" y="72"/>
                </a:cubicBezTo>
                <a:cubicBezTo>
                  <a:pt x="254" y="72"/>
                  <a:pt x="254" y="72"/>
                  <a:pt x="254" y="72"/>
                </a:cubicBezTo>
                <a:cubicBezTo>
                  <a:pt x="254" y="72"/>
                  <a:pt x="254" y="72"/>
                  <a:pt x="254" y="72"/>
                </a:cubicBezTo>
                <a:cubicBezTo>
                  <a:pt x="252" y="73"/>
                  <a:pt x="252" y="73"/>
                  <a:pt x="252" y="73"/>
                </a:cubicBezTo>
                <a:cubicBezTo>
                  <a:pt x="250" y="74"/>
                  <a:pt x="250" y="74"/>
                  <a:pt x="250" y="74"/>
                </a:cubicBezTo>
                <a:cubicBezTo>
                  <a:pt x="249" y="74"/>
                  <a:pt x="249" y="74"/>
                  <a:pt x="249" y="74"/>
                </a:cubicBezTo>
                <a:cubicBezTo>
                  <a:pt x="249" y="74"/>
                  <a:pt x="249" y="74"/>
                  <a:pt x="249" y="74"/>
                </a:cubicBezTo>
                <a:cubicBezTo>
                  <a:pt x="248" y="74"/>
                  <a:pt x="248" y="74"/>
                  <a:pt x="248" y="74"/>
                </a:cubicBezTo>
                <a:cubicBezTo>
                  <a:pt x="247" y="73"/>
                  <a:pt x="247" y="73"/>
                  <a:pt x="247" y="73"/>
                </a:cubicBezTo>
                <a:cubicBezTo>
                  <a:pt x="246" y="73"/>
                  <a:pt x="246" y="73"/>
                  <a:pt x="246" y="73"/>
                </a:cubicBezTo>
                <a:cubicBezTo>
                  <a:pt x="245" y="73"/>
                  <a:pt x="245" y="73"/>
                  <a:pt x="245" y="73"/>
                </a:cubicBezTo>
                <a:cubicBezTo>
                  <a:pt x="245" y="73"/>
                  <a:pt x="245" y="73"/>
                  <a:pt x="245" y="73"/>
                </a:cubicBezTo>
                <a:cubicBezTo>
                  <a:pt x="244" y="73"/>
                  <a:pt x="244" y="73"/>
                  <a:pt x="244" y="73"/>
                </a:cubicBezTo>
                <a:cubicBezTo>
                  <a:pt x="244" y="73"/>
                  <a:pt x="244" y="73"/>
                  <a:pt x="244" y="73"/>
                </a:cubicBezTo>
                <a:cubicBezTo>
                  <a:pt x="244" y="73"/>
                  <a:pt x="244" y="73"/>
                  <a:pt x="244" y="73"/>
                </a:cubicBezTo>
                <a:cubicBezTo>
                  <a:pt x="243" y="73"/>
                  <a:pt x="243" y="73"/>
                  <a:pt x="243" y="73"/>
                </a:cubicBezTo>
                <a:cubicBezTo>
                  <a:pt x="243" y="73"/>
                  <a:pt x="243" y="73"/>
                  <a:pt x="243" y="73"/>
                </a:cubicBezTo>
                <a:cubicBezTo>
                  <a:pt x="242" y="73"/>
                  <a:pt x="242" y="73"/>
                  <a:pt x="242" y="73"/>
                </a:cubicBezTo>
                <a:cubicBezTo>
                  <a:pt x="242" y="73"/>
                  <a:pt x="242" y="73"/>
                  <a:pt x="242" y="73"/>
                </a:cubicBezTo>
                <a:cubicBezTo>
                  <a:pt x="241" y="74"/>
                  <a:pt x="241" y="74"/>
                  <a:pt x="241" y="74"/>
                </a:cubicBezTo>
                <a:cubicBezTo>
                  <a:pt x="240" y="74"/>
                  <a:pt x="240" y="74"/>
                  <a:pt x="240" y="74"/>
                </a:cubicBezTo>
                <a:cubicBezTo>
                  <a:pt x="240" y="74"/>
                  <a:pt x="240" y="74"/>
                  <a:pt x="240" y="74"/>
                </a:cubicBezTo>
                <a:cubicBezTo>
                  <a:pt x="239" y="74"/>
                  <a:pt x="239" y="74"/>
                  <a:pt x="239" y="74"/>
                </a:cubicBezTo>
                <a:cubicBezTo>
                  <a:pt x="239" y="75"/>
                  <a:pt x="239" y="75"/>
                  <a:pt x="239" y="75"/>
                </a:cubicBezTo>
                <a:cubicBezTo>
                  <a:pt x="237" y="74"/>
                  <a:pt x="237" y="74"/>
                  <a:pt x="237" y="74"/>
                </a:cubicBezTo>
                <a:cubicBezTo>
                  <a:pt x="236" y="74"/>
                  <a:pt x="236" y="74"/>
                  <a:pt x="236" y="74"/>
                </a:cubicBezTo>
                <a:cubicBezTo>
                  <a:pt x="235" y="74"/>
                  <a:pt x="235" y="74"/>
                  <a:pt x="235" y="74"/>
                </a:cubicBezTo>
                <a:cubicBezTo>
                  <a:pt x="234" y="75"/>
                  <a:pt x="234" y="75"/>
                  <a:pt x="234" y="75"/>
                </a:cubicBezTo>
                <a:cubicBezTo>
                  <a:pt x="233" y="75"/>
                  <a:pt x="233" y="75"/>
                  <a:pt x="233" y="75"/>
                </a:cubicBezTo>
                <a:cubicBezTo>
                  <a:pt x="232" y="75"/>
                  <a:pt x="232" y="75"/>
                  <a:pt x="232" y="75"/>
                </a:cubicBezTo>
                <a:cubicBezTo>
                  <a:pt x="233" y="75"/>
                  <a:pt x="233" y="75"/>
                  <a:pt x="233" y="75"/>
                </a:cubicBezTo>
                <a:cubicBezTo>
                  <a:pt x="234" y="75"/>
                  <a:pt x="234" y="75"/>
                  <a:pt x="234" y="75"/>
                </a:cubicBezTo>
                <a:cubicBezTo>
                  <a:pt x="236" y="75"/>
                  <a:pt x="236" y="75"/>
                  <a:pt x="236" y="75"/>
                </a:cubicBezTo>
                <a:cubicBezTo>
                  <a:pt x="237" y="75"/>
                  <a:pt x="237" y="75"/>
                  <a:pt x="237" y="75"/>
                </a:cubicBezTo>
                <a:cubicBezTo>
                  <a:pt x="238" y="75"/>
                  <a:pt x="238" y="75"/>
                  <a:pt x="238" y="75"/>
                </a:cubicBezTo>
                <a:cubicBezTo>
                  <a:pt x="239" y="75"/>
                  <a:pt x="239" y="75"/>
                  <a:pt x="239" y="75"/>
                </a:cubicBezTo>
                <a:cubicBezTo>
                  <a:pt x="241" y="76"/>
                  <a:pt x="241" y="76"/>
                  <a:pt x="241" y="76"/>
                </a:cubicBezTo>
                <a:cubicBezTo>
                  <a:pt x="243" y="76"/>
                  <a:pt x="243" y="76"/>
                  <a:pt x="243" y="76"/>
                </a:cubicBezTo>
                <a:cubicBezTo>
                  <a:pt x="244" y="76"/>
                  <a:pt x="244" y="76"/>
                  <a:pt x="244" y="76"/>
                </a:cubicBezTo>
                <a:cubicBezTo>
                  <a:pt x="244" y="76"/>
                  <a:pt x="244" y="76"/>
                  <a:pt x="244" y="76"/>
                </a:cubicBezTo>
                <a:cubicBezTo>
                  <a:pt x="245" y="76"/>
                  <a:pt x="245" y="76"/>
                  <a:pt x="245" y="76"/>
                </a:cubicBezTo>
                <a:cubicBezTo>
                  <a:pt x="246" y="76"/>
                  <a:pt x="246" y="76"/>
                  <a:pt x="246" y="76"/>
                </a:cubicBezTo>
                <a:cubicBezTo>
                  <a:pt x="247" y="76"/>
                  <a:pt x="247" y="76"/>
                  <a:pt x="247" y="76"/>
                </a:cubicBezTo>
                <a:cubicBezTo>
                  <a:pt x="247" y="76"/>
                  <a:pt x="247" y="76"/>
                  <a:pt x="247" y="76"/>
                </a:cubicBezTo>
                <a:cubicBezTo>
                  <a:pt x="248" y="77"/>
                  <a:pt x="248" y="77"/>
                  <a:pt x="248" y="77"/>
                </a:cubicBezTo>
                <a:cubicBezTo>
                  <a:pt x="249" y="78"/>
                  <a:pt x="249" y="78"/>
                  <a:pt x="249" y="78"/>
                </a:cubicBezTo>
                <a:cubicBezTo>
                  <a:pt x="249" y="78"/>
                  <a:pt x="249" y="78"/>
                  <a:pt x="249" y="78"/>
                </a:cubicBezTo>
                <a:cubicBezTo>
                  <a:pt x="248" y="79"/>
                  <a:pt x="248" y="79"/>
                  <a:pt x="248" y="79"/>
                </a:cubicBezTo>
                <a:cubicBezTo>
                  <a:pt x="247" y="80"/>
                  <a:pt x="247" y="80"/>
                  <a:pt x="247" y="80"/>
                </a:cubicBezTo>
                <a:cubicBezTo>
                  <a:pt x="247" y="80"/>
                  <a:pt x="247" y="80"/>
                  <a:pt x="247" y="80"/>
                </a:cubicBezTo>
                <a:cubicBezTo>
                  <a:pt x="247" y="80"/>
                  <a:pt x="247" y="80"/>
                  <a:pt x="247" y="80"/>
                </a:cubicBezTo>
                <a:cubicBezTo>
                  <a:pt x="247" y="81"/>
                  <a:pt x="247" y="81"/>
                  <a:pt x="247" y="81"/>
                </a:cubicBezTo>
                <a:cubicBezTo>
                  <a:pt x="246" y="82"/>
                  <a:pt x="246" y="82"/>
                  <a:pt x="246" y="82"/>
                </a:cubicBezTo>
                <a:cubicBezTo>
                  <a:pt x="243" y="82"/>
                  <a:pt x="243" y="82"/>
                  <a:pt x="243" y="82"/>
                </a:cubicBezTo>
                <a:cubicBezTo>
                  <a:pt x="242" y="82"/>
                  <a:pt x="242" y="82"/>
                  <a:pt x="242" y="82"/>
                </a:cubicBezTo>
                <a:cubicBezTo>
                  <a:pt x="241" y="82"/>
                  <a:pt x="241" y="82"/>
                  <a:pt x="241" y="82"/>
                </a:cubicBezTo>
                <a:cubicBezTo>
                  <a:pt x="239" y="82"/>
                  <a:pt x="239" y="82"/>
                  <a:pt x="239" y="82"/>
                </a:cubicBezTo>
                <a:cubicBezTo>
                  <a:pt x="238" y="82"/>
                  <a:pt x="238" y="82"/>
                  <a:pt x="238" y="82"/>
                </a:cubicBezTo>
                <a:cubicBezTo>
                  <a:pt x="236" y="80"/>
                  <a:pt x="236" y="80"/>
                  <a:pt x="236" y="80"/>
                </a:cubicBezTo>
                <a:cubicBezTo>
                  <a:pt x="234" y="80"/>
                  <a:pt x="234" y="80"/>
                  <a:pt x="234" y="80"/>
                </a:cubicBezTo>
                <a:cubicBezTo>
                  <a:pt x="233" y="80"/>
                  <a:pt x="233" y="80"/>
                  <a:pt x="233" y="80"/>
                </a:cubicBezTo>
                <a:cubicBezTo>
                  <a:pt x="232" y="80"/>
                  <a:pt x="232" y="80"/>
                  <a:pt x="232" y="80"/>
                </a:cubicBezTo>
                <a:cubicBezTo>
                  <a:pt x="232" y="82"/>
                  <a:pt x="232" y="82"/>
                  <a:pt x="232" y="82"/>
                </a:cubicBezTo>
                <a:cubicBezTo>
                  <a:pt x="230" y="83"/>
                  <a:pt x="230" y="83"/>
                  <a:pt x="230" y="83"/>
                </a:cubicBezTo>
                <a:cubicBezTo>
                  <a:pt x="230" y="83"/>
                  <a:pt x="230" y="83"/>
                  <a:pt x="230" y="83"/>
                </a:cubicBezTo>
                <a:cubicBezTo>
                  <a:pt x="229" y="84"/>
                  <a:pt x="229" y="84"/>
                  <a:pt x="229" y="84"/>
                </a:cubicBezTo>
                <a:cubicBezTo>
                  <a:pt x="230" y="84"/>
                  <a:pt x="230" y="84"/>
                  <a:pt x="230" y="84"/>
                </a:cubicBezTo>
                <a:cubicBezTo>
                  <a:pt x="230" y="84"/>
                  <a:pt x="230" y="84"/>
                  <a:pt x="230" y="84"/>
                </a:cubicBezTo>
                <a:cubicBezTo>
                  <a:pt x="231" y="85"/>
                  <a:pt x="231" y="85"/>
                  <a:pt x="231" y="85"/>
                </a:cubicBezTo>
                <a:cubicBezTo>
                  <a:pt x="231" y="86"/>
                  <a:pt x="231" y="86"/>
                  <a:pt x="231" y="86"/>
                </a:cubicBezTo>
                <a:cubicBezTo>
                  <a:pt x="230" y="86"/>
                  <a:pt x="230" y="86"/>
                  <a:pt x="230" y="86"/>
                </a:cubicBezTo>
                <a:cubicBezTo>
                  <a:pt x="229" y="86"/>
                  <a:pt x="229" y="86"/>
                  <a:pt x="229" y="86"/>
                </a:cubicBezTo>
                <a:cubicBezTo>
                  <a:pt x="229" y="87"/>
                  <a:pt x="229" y="87"/>
                  <a:pt x="229" y="87"/>
                </a:cubicBezTo>
                <a:cubicBezTo>
                  <a:pt x="230" y="87"/>
                  <a:pt x="230" y="87"/>
                  <a:pt x="230" y="87"/>
                </a:cubicBezTo>
                <a:cubicBezTo>
                  <a:pt x="231" y="88"/>
                  <a:pt x="231" y="88"/>
                  <a:pt x="231" y="88"/>
                </a:cubicBezTo>
                <a:cubicBezTo>
                  <a:pt x="232" y="87"/>
                  <a:pt x="232" y="87"/>
                  <a:pt x="232" y="87"/>
                </a:cubicBezTo>
                <a:cubicBezTo>
                  <a:pt x="232" y="87"/>
                  <a:pt x="232" y="87"/>
                  <a:pt x="232" y="87"/>
                </a:cubicBezTo>
                <a:cubicBezTo>
                  <a:pt x="233" y="86"/>
                  <a:pt x="233" y="86"/>
                  <a:pt x="233" y="86"/>
                </a:cubicBezTo>
                <a:cubicBezTo>
                  <a:pt x="234" y="85"/>
                  <a:pt x="234" y="85"/>
                  <a:pt x="234" y="85"/>
                </a:cubicBezTo>
                <a:cubicBezTo>
                  <a:pt x="236" y="84"/>
                  <a:pt x="236" y="84"/>
                  <a:pt x="236" y="84"/>
                </a:cubicBezTo>
                <a:cubicBezTo>
                  <a:pt x="237" y="84"/>
                  <a:pt x="237" y="84"/>
                  <a:pt x="237" y="84"/>
                </a:cubicBezTo>
                <a:cubicBezTo>
                  <a:pt x="239" y="83"/>
                  <a:pt x="239" y="83"/>
                  <a:pt x="239" y="83"/>
                </a:cubicBezTo>
                <a:cubicBezTo>
                  <a:pt x="240" y="83"/>
                  <a:pt x="240" y="83"/>
                  <a:pt x="240" y="83"/>
                </a:cubicBezTo>
                <a:cubicBezTo>
                  <a:pt x="240" y="84"/>
                  <a:pt x="240" y="84"/>
                  <a:pt x="240" y="84"/>
                </a:cubicBezTo>
                <a:cubicBezTo>
                  <a:pt x="241" y="84"/>
                  <a:pt x="241" y="84"/>
                  <a:pt x="241" y="84"/>
                </a:cubicBezTo>
                <a:cubicBezTo>
                  <a:pt x="242" y="85"/>
                  <a:pt x="242" y="85"/>
                  <a:pt x="242" y="85"/>
                </a:cubicBezTo>
                <a:cubicBezTo>
                  <a:pt x="243" y="85"/>
                  <a:pt x="243" y="85"/>
                  <a:pt x="243" y="85"/>
                </a:cubicBezTo>
                <a:cubicBezTo>
                  <a:pt x="243" y="86"/>
                  <a:pt x="243" y="86"/>
                  <a:pt x="243" y="86"/>
                </a:cubicBezTo>
                <a:cubicBezTo>
                  <a:pt x="243" y="86"/>
                  <a:pt x="243" y="86"/>
                  <a:pt x="243" y="86"/>
                </a:cubicBezTo>
                <a:cubicBezTo>
                  <a:pt x="241" y="87"/>
                  <a:pt x="241" y="87"/>
                  <a:pt x="241" y="87"/>
                </a:cubicBezTo>
                <a:cubicBezTo>
                  <a:pt x="241" y="89"/>
                  <a:pt x="241" y="89"/>
                  <a:pt x="241" y="89"/>
                </a:cubicBezTo>
                <a:cubicBezTo>
                  <a:pt x="240" y="90"/>
                  <a:pt x="240" y="90"/>
                  <a:pt x="240" y="90"/>
                </a:cubicBezTo>
                <a:cubicBezTo>
                  <a:pt x="239" y="91"/>
                  <a:pt x="239" y="91"/>
                  <a:pt x="239" y="91"/>
                </a:cubicBezTo>
                <a:cubicBezTo>
                  <a:pt x="238" y="92"/>
                  <a:pt x="238" y="92"/>
                  <a:pt x="238" y="92"/>
                </a:cubicBezTo>
                <a:cubicBezTo>
                  <a:pt x="237" y="94"/>
                  <a:pt x="237" y="94"/>
                  <a:pt x="237" y="94"/>
                </a:cubicBezTo>
                <a:cubicBezTo>
                  <a:pt x="235" y="97"/>
                  <a:pt x="235" y="97"/>
                  <a:pt x="235" y="97"/>
                </a:cubicBezTo>
                <a:cubicBezTo>
                  <a:pt x="234" y="98"/>
                  <a:pt x="234" y="98"/>
                  <a:pt x="234" y="98"/>
                </a:cubicBezTo>
                <a:cubicBezTo>
                  <a:pt x="233" y="99"/>
                  <a:pt x="233" y="99"/>
                  <a:pt x="233" y="99"/>
                </a:cubicBezTo>
                <a:cubicBezTo>
                  <a:pt x="233" y="100"/>
                  <a:pt x="233" y="100"/>
                  <a:pt x="233" y="100"/>
                </a:cubicBezTo>
                <a:cubicBezTo>
                  <a:pt x="233" y="102"/>
                  <a:pt x="233" y="102"/>
                  <a:pt x="233" y="102"/>
                </a:cubicBezTo>
                <a:cubicBezTo>
                  <a:pt x="232" y="102"/>
                  <a:pt x="232" y="102"/>
                  <a:pt x="232" y="102"/>
                </a:cubicBezTo>
                <a:cubicBezTo>
                  <a:pt x="232" y="103"/>
                  <a:pt x="232" y="103"/>
                  <a:pt x="232" y="103"/>
                </a:cubicBezTo>
                <a:cubicBezTo>
                  <a:pt x="232" y="105"/>
                  <a:pt x="232" y="105"/>
                  <a:pt x="232" y="105"/>
                </a:cubicBezTo>
                <a:cubicBezTo>
                  <a:pt x="231" y="107"/>
                  <a:pt x="231" y="107"/>
                  <a:pt x="231" y="107"/>
                </a:cubicBezTo>
                <a:cubicBezTo>
                  <a:pt x="230" y="109"/>
                  <a:pt x="230" y="109"/>
                  <a:pt x="230" y="109"/>
                </a:cubicBezTo>
                <a:cubicBezTo>
                  <a:pt x="231" y="110"/>
                  <a:pt x="231" y="110"/>
                  <a:pt x="231" y="110"/>
                </a:cubicBezTo>
                <a:cubicBezTo>
                  <a:pt x="231" y="111"/>
                  <a:pt x="231" y="111"/>
                  <a:pt x="231" y="111"/>
                </a:cubicBezTo>
                <a:cubicBezTo>
                  <a:pt x="231" y="113"/>
                  <a:pt x="231" y="113"/>
                  <a:pt x="231" y="113"/>
                </a:cubicBezTo>
                <a:cubicBezTo>
                  <a:pt x="230" y="113"/>
                  <a:pt x="230" y="113"/>
                  <a:pt x="230" y="113"/>
                </a:cubicBezTo>
                <a:cubicBezTo>
                  <a:pt x="229" y="114"/>
                  <a:pt x="229" y="114"/>
                  <a:pt x="229" y="114"/>
                </a:cubicBezTo>
                <a:cubicBezTo>
                  <a:pt x="230" y="116"/>
                  <a:pt x="230" y="116"/>
                  <a:pt x="230" y="116"/>
                </a:cubicBezTo>
                <a:cubicBezTo>
                  <a:pt x="229" y="116"/>
                  <a:pt x="229" y="116"/>
                  <a:pt x="229" y="116"/>
                </a:cubicBezTo>
                <a:cubicBezTo>
                  <a:pt x="229" y="117"/>
                  <a:pt x="229" y="117"/>
                  <a:pt x="229" y="117"/>
                </a:cubicBezTo>
                <a:cubicBezTo>
                  <a:pt x="228" y="119"/>
                  <a:pt x="228" y="119"/>
                  <a:pt x="228" y="119"/>
                </a:cubicBezTo>
                <a:cubicBezTo>
                  <a:pt x="228" y="120"/>
                  <a:pt x="228" y="120"/>
                  <a:pt x="228" y="120"/>
                </a:cubicBezTo>
                <a:cubicBezTo>
                  <a:pt x="227" y="121"/>
                  <a:pt x="227" y="121"/>
                  <a:pt x="227" y="121"/>
                </a:cubicBezTo>
                <a:cubicBezTo>
                  <a:pt x="226" y="121"/>
                  <a:pt x="226" y="121"/>
                  <a:pt x="226" y="121"/>
                </a:cubicBezTo>
                <a:cubicBezTo>
                  <a:pt x="226" y="120"/>
                  <a:pt x="226" y="120"/>
                  <a:pt x="226" y="120"/>
                </a:cubicBezTo>
                <a:cubicBezTo>
                  <a:pt x="226" y="119"/>
                  <a:pt x="226" y="119"/>
                  <a:pt x="226" y="119"/>
                </a:cubicBezTo>
                <a:cubicBezTo>
                  <a:pt x="225" y="119"/>
                  <a:pt x="225" y="119"/>
                  <a:pt x="225" y="119"/>
                </a:cubicBezTo>
                <a:cubicBezTo>
                  <a:pt x="225" y="119"/>
                  <a:pt x="225" y="119"/>
                  <a:pt x="225" y="119"/>
                </a:cubicBezTo>
                <a:cubicBezTo>
                  <a:pt x="226" y="118"/>
                  <a:pt x="226" y="118"/>
                  <a:pt x="226" y="118"/>
                </a:cubicBezTo>
                <a:cubicBezTo>
                  <a:pt x="225" y="117"/>
                  <a:pt x="225" y="117"/>
                  <a:pt x="225" y="117"/>
                </a:cubicBezTo>
                <a:cubicBezTo>
                  <a:pt x="224" y="117"/>
                  <a:pt x="224" y="117"/>
                  <a:pt x="224" y="117"/>
                </a:cubicBezTo>
                <a:cubicBezTo>
                  <a:pt x="224" y="118"/>
                  <a:pt x="224" y="118"/>
                  <a:pt x="224" y="118"/>
                </a:cubicBezTo>
                <a:cubicBezTo>
                  <a:pt x="223" y="118"/>
                  <a:pt x="223" y="118"/>
                  <a:pt x="223" y="118"/>
                </a:cubicBezTo>
                <a:cubicBezTo>
                  <a:pt x="223" y="118"/>
                  <a:pt x="223" y="118"/>
                  <a:pt x="223" y="118"/>
                </a:cubicBezTo>
                <a:cubicBezTo>
                  <a:pt x="223" y="119"/>
                  <a:pt x="223" y="119"/>
                  <a:pt x="223" y="119"/>
                </a:cubicBezTo>
                <a:cubicBezTo>
                  <a:pt x="223" y="119"/>
                  <a:pt x="223" y="119"/>
                  <a:pt x="223" y="119"/>
                </a:cubicBezTo>
                <a:cubicBezTo>
                  <a:pt x="223" y="120"/>
                  <a:pt x="223" y="120"/>
                  <a:pt x="223" y="120"/>
                </a:cubicBezTo>
                <a:cubicBezTo>
                  <a:pt x="222" y="120"/>
                  <a:pt x="222" y="120"/>
                  <a:pt x="222" y="120"/>
                </a:cubicBezTo>
                <a:cubicBezTo>
                  <a:pt x="222" y="121"/>
                  <a:pt x="222" y="121"/>
                  <a:pt x="222" y="121"/>
                </a:cubicBezTo>
                <a:cubicBezTo>
                  <a:pt x="223" y="121"/>
                  <a:pt x="223" y="121"/>
                  <a:pt x="223" y="121"/>
                </a:cubicBezTo>
                <a:cubicBezTo>
                  <a:pt x="224" y="122"/>
                  <a:pt x="224" y="122"/>
                  <a:pt x="224" y="122"/>
                </a:cubicBezTo>
                <a:cubicBezTo>
                  <a:pt x="225" y="123"/>
                  <a:pt x="225" y="123"/>
                  <a:pt x="225" y="123"/>
                </a:cubicBezTo>
                <a:cubicBezTo>
                  <a:pt x="225" y="123"/>
                  <a:pt x="225" y="123"/>
                  <a:pt x="225" y="123"/>
                </a:cubicBezTo>
                <a:cubicBezTo>
                  <a:pt x="226" y="125"/>
                  <a:pt x="226" y="125"/>
                  <a:pt x="226" y="125"/>
                </a:cubicBezTo>
                <a:cubicBezTo>
                  <a:pt x="227" y="125"/>
                  <a:pt x="227" y="125"/>
                  <a:pt x="227" y="125"/>
                </a:cubicBezTo>
                <a:cubicBezTo>
                  <a:pt x="228" y="126"/>
                  <a:pt x="228" y="126"/>
                  <a:pt x="228" y="126"/>
                </a:cubicBezTo>
                <a:cubicBezTo>
                  <a:pt x="229" y="127"/>
                  <a:pt x="229" y="127"/>
                  <a:pt x="229" y="127"/>
                </a:cubicBezTo>
                <a:cubicBezTo>
                  <a:pt x="230" y="128"/>
                  <a:pt x="230" y="128"/>
                  <a:pt x="230" y="128"/>
                </a:cubicBezTo>
                <a:cubicBezTo>
                  <a:pt x="229" y="129"/>
                  <a:pt x="229" y="129"/>
                  <a:pt x="229" y="129"/>
                </a:cubicBezTo>
                <a:cubicBezTo>
                  <a:pt x="228" y="129"/>
                  <a:pt x="228" y="129"/>
                  <a:pt x="228" y="129"/>
                </a:cubicBezTo>
                <a:cubicBezTo>
                  <a:pt x="227" y="129"/>
                  <a:pt x="227" y="129"/>
                  <a:pt x="227" y="129"/>
                </a:cubicBezTo>
                <a:cubicBezTo>
                  <a:pt x="226" y="127"/>
                  <a:pt x="226" y="127"/>
                  <a:pt x="226" y="127"/>
                </a:cubicBezTo>
                <a:cubicBezTo>
                  <a:pt x="226" y="127"/>
                  <a:pt x="226" y="127"/>
                  <a:pt x="226" y="127"/>
                </a:cubicBezTo>
                <a:cubicBezTo>
                  <a:pt x="225" y="126"/>
                  <a:pt x="225" y="126"/>
                  <a:pt x="225" y="126"/>
                </a:cubicBezTo>
                <a:cubicBezTo>
                  <a:pt x="225" y="126"/>
                  <a:pt x="225" y="126"/>
                  <a:pt x="225" y="126"/>
                </a:cubicBezTo>
                <a:cubicBezTo>
                  <a:pt x="224" y="126"/>
                  <a:pt x="224" y="126"/>
                  <a:pt x="224" y="126"/>
                </a:cubicBezTo>
                <a:cubicBezTo>
                  <a:pt x="224" y="127"/>
                  <a:pt x="224" y="127"/>
                  <a:pt x="224" y="127"/>
                </a:cubicBezTo>
                <a:cubicBezTo>
                  <a:pt x="225" y="128"/>
                  <a:pt x="225" y="128"/>
                  <a:pt x="225" y="128"/>
                </a:cubicBezTo>
                <a:cubicBezTo>
                  <a:pt x="225" y="128"/>
                  <a:pt x="225" y="128"/>
                  <a:pt x="225" y="128"/>
                </a:cubicBezTo>
                <a:cubicBezTo>
                  <a:pt x="225" y="129"/>
                  <a:pt x="225" y="129"/>
                  <a:pt x="225" y="129"/>
                </a:cubicBezTo>
                <a:cubicBezTo>
                  <a:pt x="224" y="129"/>
                  <a:pt x="224" y="129"/>
                  <a:pt x="224" y="129"/>
                </a:cubicBezTo>
                <a:cubicBezTo>
                  <a:pt x="224" y="129"/>
                  <a:pt x="224" y="129"/>
                  <a:pt x="224" y="129"/>
                </a:cubicBezTo>
                <a:cubicBezTo>
                  <a:pt x="224" y="129"/>
                  <a:pt x="224" y="129"/>
                  <a:pt x="224" y="129"/>
                </a:cubicBezTo>
                <a:cubicBezTo>
                  <a:pt x="224" y="130"/>
                  <a:pt x="224" y="130"/>
                  <a:pt x="224" y="130"/>
                </a:cubicBezTo>
                <a:cubicBezTo>
                  <a:pt x="225" y="130"/>
                  <a:pt x="225" y="130"/>
                  <a:pt x="225" y="130"/>
                </a:cubicBezTo>
                <a:cubicBezTo>
                  <a:pt x="225" y="130"/>
                  <a:pt x="225" y="130"/>
                  <a:pt x="225" y="130"/>
                </a:cubicBezTo>
                <a:cubicBezTo>
                  <a:pt x="224" y="131"/>
                  <a:pt x="224" y="131"/>
                  <a:pt x="224" y="131"/>
                </a:cubicBezTo>
                <a:cubicBezTo>
                  <a:pt x="225" y="131"/>
                  <a:pt x="225" y="131"/>
                  <a:pt x="225" y="131"/>
                </a:cubicBezTo>
                <a:cubicBezTo>
                  <a:pt x="225" y="131"/>
                  <a:pt x="225" y="131"/>
                  <a:pt x="225" y="131"/>
                </a:cubicBezTo>
                <a:cubicBezTo>
                  <a:pt x="227" y="131"/>
                  <a:pt x="227" y="131"/>
                  <a:pt x="227" y="131"/>
                </a:cubicBezTo>
                <a:cubicBezTo>
                  <a:pt x="227" y="132"/>
                  <a:pt x="227" y="132"/>
                  <a:pt x="227" y="132"/>
                </a:cubicBezTo>
                <a:cubicBezTo>
                  <a:pt x="227" y="133"/>
                  <a:pt x="227" y="133"/>
                  <a:pt x="227" y="133"/>
                </a:cubicBezTo>
                <a:cubicBezTo>
                  <a:pt x="227" y="133"/>
                  <a:pt x="227" y="133"/>
                  <a:pt x="227" y="133"/>
                </a:cubicBezTo>
                <a:cubicBezTo>
                  <a:pt x="227" y="134"/>
                  <a:pt x="227" y="134"/>
                  <a:pt x="227" y="134"/>
                </a:cubicBezTo>
                <a:cubicBezTo>
                  <a:pt x="228" y="133"/>
                  <a:pt x="228" y="133"/>
                  <a:pt x="228" y="133"/>
                </a:cubicBezTo>
                <a:cubicBezTo>
                  <a:pt x="229" y="132"/>
                  <a:pt x="229" y="132"/>
                  <a:pt x="229" y="132"/>
                </a:cubicBezTo>
                <a:cubicBezTo>
                  <a:pt x="230" y="131"/>
                  <a:pt x="230" y="131"/>
                  <a:pt x="230" y="131"/>
                </a:cubicBezTo>
                <a:cubicBezTo>
                  <a:pt x="230" y="131"/>
                  <a:pt x="230" y="131"/>
                  <a:pt x="230" y="131"/>
                </a:cubicBezTo>
                <a:cubicBezTo>
                  <a:pt x="230" y="132"/>
                  <a:pt x="230" y="132"/>
                  <a:pt x="230" y="132"/>
                </a:cubicBezTo>
                <a:cubicBezTo>
                  <a:pt x="230" y="132"/>
                  <a:pt x="230" y="132"/>
                  <a:pt x="230" y="132"/>
                </a:cubicBezTo>
                <a:cubicBezTo>
                  <a:pt x="231" y="132"/>
                  <a:pt x="231" y="132"/>
                  <a:pt x="231" y="132"/>
                </a:cubicBezTo>
                <a:cubicBezTo>
                  <a:pt x="232" y="133"/>
                  <a:pt x="232" y="133"/>
                  <a:pt x="232" y="133"/>
                </a:cubicBezTo>
                <a:cubicBezTo>
                  <a:pt x="233" y="133"/>
                  <a:pt x="233" y="133"/>
                  <a:pt x="233" y="133"/>
                </a:cubicBezTo>
                <a:cubicBezTo>
                  <a:pt x="233" y="134"/>
                  <a:pt x="233" y="134"/>
                  <a:pt x="233" y="134"/>
                </a:cubicBezTo>
                <a:cubicBezTo>
                  <a:pt x="233" y="135"/>
                  <a:pt x="233" y="135"/>
                  <a:pt x="233" y="135"/>
                </a:cubicBezTo>
                <a:cubicBezTo>
                  <a:pt x="232" y="136"/>
                  <a:pt x="232" y="136"/>
                  <a:pt x="232" y="136"/>
                </a:cubicBezTo>
                <a:cubicBezTo>
                  <a:pt x="232" y="137"/>
                  <a:pt x="232" y="137"/>
                  <a:pt x="232" y="137"/>
                </a:cubicBezTo>
                <a:cubicBezTo>
                  <a:pt x="232" y="139"/>
                  <a:pt x="232" y="139"/>
                  <a:pt x="232" y="139"/>
                </a:cubicBezTo>
                <a:cubicBezTo>
                  <a:pt x="232" y="139"/>
                  <a:pt x="232" y="139"/>
                  <a:pt x="232" y="139"/>
                </a:cubicBezTo>
                <a:cubicBezTo>
                  <a:pt x="232" y="141"/>
                  <a:pt x="232" y="141"/>
                  <a:pt x="232" y="141"/>
                </a:cubicBezTo>
                <a:cubicBezTo>
                  <a:pt x="231" y="142"/>
                  <a:pt x="231" y="142"/>
                  <a:pt x="231" y="142"/>
                </a:cubicBezTo>
                <a:cubicBezTo>
                  <a:pt x="231" y="143"/>
                  <a:pt x="231" y="143"/>
                  <a:pt x="231" y="143"/>
                </a:cubicBezTo>
                <a:cubicBezTo>
                  <a:pt x="231" y="143"/>
                  <a:pt x="231" y="143"/>
                  <a:pt x="231" y="143"/>
                </a:cubicBezTo>
                <a:cubicBezTo>
                  <a:pt x="230" y="143"/>
                  <a:pt x="230" y="143"/>
                  <a:pt x="230" y="143"/>
                </a:cubicBezTo>
                <a:cubicBezTo>
                  <a:pt x="230" y="142"/>
                  <a:pt x="230" y="142"/>
                  <a:pt x="230" y="142"/>
                </a:cubicBezTo>
                <a:cubicBezTo>
                  <a:pt x="228" y="142"/>
                  <a:pt x="228" y="142"/>
                  <a:pt x="228" y="142"/>
                </a:cubicBezTo>
                <a:cubicBezTo>
                  <a:pt x="228" y="141"/>
                  <a:pt x="228" y="141"/>
                  <a:pt x="228" y="141"/>
                </a:cubicBezTo>
                <a:cubicBezTo>
                  <a:pt x="227" y="141"/>
                  <a:pt x="227" y="141"/>
                  <a:pt x="227" y="141"/>
                </a:cubicBezTo>
                <a:cubicBezTo>
                  <a:pt x="227" y="141"/>
                  <a:pt x="227" y="141"/>
                  <a:pt x="227" y="141"/>
                </a:cubicBezTo>
                <a:cubicBezTo>
                  <a:pt x="226" y="141"/>
                  <a:pt x="226" y="141"/>
                  <a:pt x="226" y="141"/>
                </a:cubicBezTo>
                <a:cubicBezTo>
                  <a:pt x="226" y="140"/>
                  <a:pt x="226" y="140"/>
                  <a:pt x="226" y="140"/>
                </a:cubicBezTo>
                <a:cubicBezTo>
                  <a:pt x="226" y="139"/>
                  <a:pt x="226" y="139"/>
                  <a:pt x="226" y="139"/>
                </a:cubicBezTo>
                <a:cubicBezTo>
                  <a:pt x="225" y="139"/>
                  <a:pt x="225" y="139"/>
                  <a:pt x="225" y="139"/>
                </a:cubicBezTo>
                <a:cubicBezTo>
                  <a:pt x="225" y="138"/>
                  <a:pt x="225" y="138"/>
                  <a:pt x="225" y="138"/>
                </a:cubicBezTo>
                <a:cubicBezTo>
                  <a:pt x="224" y="139"/>
                  <a:pt x="224" y="139"/>
                  <a:pt x="224" y="139"/>
                </a:cubicBezTo>
                <a:cubicBezTo>
                  <a:pt x="224" y="138"/>
                  <a:pt x="224" y="138"/>
                  <a:pt x="224" y="138"/>
                </a:cubicBezTo>
                <a:cubicBezTo>
                  <a:pt x="223" y="138"/>
                  <a:pt x="223" y="138"/>
                  <a:pt x="223" y="138"/>
                </a:cubicBezTo>
                <a:cubicBezTo>
                  <a:pt x="222" y="137"/>
                  <a:pt x="222" y="137"/>
                  <a:pt x="222" y="137"/>
                </a:cubicBezTo>
                <a:cubicBezTo>
                  <a:pt x="221" y="138"/>
                  <a:pt x="221" y="138"/>
                  <a:pt x="221" y="138"/>
                </a:cubicBezTo>
                <a:cubicBezTo>
                  <a:pt x="221" y="138"/>
                  <a:pt x="221" y="138"/>
                  <a:pt x="221" y="138"/>
                </a:cubicBezTo>
                <a:cubicBezTo>
                  <a:pt x="221" y="139"/>
                  <a:pt x="221" y="139"/>
                  <a:pt x="221" y="139"/>
                </a:cubicBezTo>
                <a:cubicBezTo>
                  <a:pt x="221" y="139"/>
                  <a:pt x="221" y="139"/>
                  <a:pt x="221" y="139"/>
                </a:cubicBezTo>
                <a:cubicBezTo>
                  <a:pt x="220" y="139"/>
                  <a:pt x="220" y="139"/>
                  <a:pt x="220" y="139"/>
                </a:cubicBezTo>
                <a:cubicBezTo>
                  <a:pt x="219" y="138"/>
                  <a:pt x="219" y="138"/>
                  <a:pt x="219" y="138"/>
                </a:cubicBezTo>
                <a:cubicBezTo>
                  <a:pt x="218" y="139"/>
                  <a:pt x="218" y="139"/>
                  <a:pt x="218" y="139"/>
                </a:cubicBezTo>
                <a:cubicBezTo>
                  <a:pt x="218" y="139"/>
                  <a:pt x="218" y="139"/>
                  <a:pt x="218" y="139"/>
                </a:cubicBezTo>
                <a:cubicBezTo>
                  <a:pt x="219" y="139"/>
                  <a:pt x="219" y="139"/>
                  <a:pt x="219" y="139"/>
                </a:cubicBezTo>
                <a:cubicBezTo>
                  <a:pt x="220" y="139"/>
                  <a:pt x="220" y="139"/>
                  <a:pt x="220" y="139"/>
                </a:cubicBezTo>
                <a:cubicBezTo>
                  <a:pt x="221" y="140"/>
                  <a:pt x="221" y="140"/>
                  <a:pt x="221" y="140"/>
                </a:cubicBezTo>
                <a:cubicBezTo>
                  <a:pt x="221" y="140"/>
                  <a:pt x="221" y="140"/>
                  <a:pt x="221" y="140"/>
                </a:cubicBezTo>
                <a:cubicBezTo>
                  <a:pt x="220" y="140"/>
                  <a:pt x="220" y="140"/>
                  <a:pt x="220" y="140"/>
                </a:cubicBezTo>
                <a:cubicBezTo>
                  <a:pt x="218" y="142"/>
                  <a:pt x="218" y="142"/>
                  <a:pt x="218" y="142"/>
                </a:cubicBezTo>
                <a:cubicBezTo>
                  <a:pt x="217" y="142"/>
                  <a:pt x="217" y="142"/>
                  <a:pt x="217" y="142"/>
                </a:cubicBezTo>
                <a:cubicBezTo>
                  <a:pt x="217" y="142"/>
                  <a:pt x="217" y="142"/>
                  <a:pt x="217" y="142"/>
                </a:cubicBezTo>
                <a:cubicBezTo>
                  <a:pt x="216" y="142"/>
                  <a:pt x="216" y="142"/>
                  <a:pt x="216" y="142"/>
                </a:cubicBezTo>
                <a:cubicBezTo>
                  <a:pt x="216" y="141"/>
                  <a:pt x="216" y="141"/>
                  <a:pt x="216" y="141"/>
                </a:cubicBezTo>
                <a:cubicBezTo>
                  <a:pt x="216" y="141"/>
                  <a:pt x="216" y="141"/>
                  <a:pt x="216" y="141"/>
                </a:cubicBezTo>
                <a:cubicBezTo>
                  <a:pt x="215" y="141"/>
                  <a:pt x="215" y="141"/>
                  <a:pt x="215" y="141"/>
                </a:cubicBezTo>
                <a:cubicBezTo>
                  <a:pt x="215" y="142"/>
                  <a:pt x="215" y="142"/>
                  <a:pt x="215" y="142"/>
                </a:cubicBezTo>
                <a:cubicBezTo>
                  <a:pt x="216" y="142"/>
                  <a:pt x="216" y="142"/>
                  <a:pt x="216" y="142"/>
                </a:cubicBezTo>
                <a:cubicBezTo>
                  <a:pt x="215" y="143"/>
                  <a:pt x="215" y="143"/>
                  <a:pt x="215" y="143"/>
                </a:cubicBezTo>
                <a:cubicBezTo>
                  <a:pt x="215" y="144"/>
                  <a:pt x="215" y="144"/>
                  <a:pt x="215" y="144"/>
                </a:cubicBezTo>
                <a:cubicBezTo>
                  <a:pt x="216" y="144"/>
                  <a:pt x="216" y="144"/>
                  <a:pt x="216" y="144"/>
                </a:cubicBezTo>
                <a:cubicBezTo>
                  <a:pt x="215" y="145"/>
                  <a:pt x="215" y="145"/>
                  <a:pt x="215" y="145"/>
                </a:cubicBezTo>
                <a:cubicBezTo>
                  <a:pt x="216" y="145"/>
                  <a:pt x="216" y="145"/>
                  <a:pt x="216" y="145"/>
                </a:cubicBezTo>
                <a:cubicBezTo>
                  <a:pt x="216" y="146"/>
                  <a:pt x="216" y="146"/>
                  <a:pt x="216" y="146"/>
                </a:cubicBezTo>
                <a:cubicBezTo>
                  <a:pt x="215" y="146"/>
                  <a:pt x="215" y="146"/>
                  <a:pt x="215" y="146"/>
                </a:cubicBezTo>
                <a:cubicBezTo>
                  <a:pt x="214" y="146"/>
                  <a:pt x="214" y="146"/>
                  <a:pt x="214" y="146"/>
                </a:cubicBezTo>
                <a:cubicBezTo>
                  <a:pt x="213" y="146"/>
                  <a:pt x="213" y="146"/>
                  <a:pt x="213" y="146"/>
                </a:cubicBezTo>
                <a:cubicBezTo>
                  <a:pt x="213" y="146"/>
                  <a:pt x="213" y="146"/>
                  <a:pt x="213" y="146"/>
                </a:cubicBezTo>
                <a:cubicBezTo>
                  <a:pt x="214" y="147"/>
                  <a:pt x="214" y="147"/>
                  <a:pt x="214" y="147"/>
                </a:cubicBezTo>
                <a:cubicBezTo>
                  <a:pt x="214" y="147"/>
                  <a:pt x="214" y="147"/>
                  <a:pt x="214" y="147"/>
                </a:cubicBezTo>
                <a:cubicBezTo>
                  <a:pt x="216" y="147"/>
                  <a:pt x="216" y="147"/>
                  <a:pt x="216" y="147"/>
                </a:cubicBezTo>
                <a:cubicBezTo>
                  <a:pt x="216" y="147"/>
                  <a:pt x="216" y="147"/>
                  <a:pt x="216" y="147"/>
                </a:cubicBezTo>
                <a:cubicBezTo>
                  <a:pt x="216" y="148"/>
                  <a:pt x="216" y="148"/>
                  <a:pt x="216" y="148"/>
                </a:cubicBezTo>
                <a:cubicBezTo>
                  <a:pt x="216" y="149"/>
                  <a:pt x="216" y="149"/>
                  <a:pt x="216" y="149"/>
                </a:cubicBezTo>
                <a:cubicBezTo>
                  <a:pt x="216" y="149"/>
                  <a:pt x="216" y="149"/>
                  <a:pt x="216" y="149"/>
                </a:cubicBezTo>
                <a:cubicBezTo>
                  <a:pt x="217" y="149"/>
                  <a:pt x="217" y="149"/>
                  <a:pt x="217" y="149"/>
                </a:cubicBezTo>
                <a:cubicBezTo>
                  <a:pt x="218" y="148"/>
                  <a:pt x="218" y="148"/>
                  <a:pt x="218" y="148"/>
                </a:cubicBezTo>
                <a:cubicBezTo>
                  <a:pt x="219" y="149"/>
                  <a:pt x="219" y="149"/>
                  <a:pt x="219" y="149"/>
                </a:cubicBezTo>
                <a:cubicBezTo>
                  <a:pt x="220" y="149"/>
                  <a:pt x="220" y="149"/>
                  <a:pt x="220" y="149"/>
                </a:cubicBezTo>
                <a:cubicBezTo>
                  <a:pt x="221" y="149"/>
                  <a:pt x="221" y="149"/>
                  <a:pt x="221" y="149"/>
                </a:cubicBezTo>
                <a:cubicBezTo>
                  <a:pt x="222" y="150"/>
                  <a:pt x="222" y="150"/>
                  <a:pt x="222" y="150"/>
                </a:cubicBezTo>
                <a:cubicBezTo>
                  <a:pt x="223" y="149"/>
                  <a:pt x="223" y="149"/>
                  <a:pt x="223" y="149"/>
                </a:cubicBezTo>
                <a:cubicBezTo>
                  <a:pt x="223" y="149"/>
                  <a:pt x="223" y="149"/>
                  <a:pt x="223" y="149"/>
                </a:cubicBezTo>
                <a:cubicBezTo>
                  <a:pt x="224" y="149"/>
                  <a:pt x="224" y="149"/>
                  <a:pt x="224" y="149"/>
                </a:cubicBezTo>
                <a:cubicBezTo>
                  <a:pt x="224" y="150"/>
                  <a:pt x="224" y="150"/>
                  <a:pt x="224" y="150"/>
                </a:cubicBezTo>
                <a:cubicBezTo>
                  <a:pt x="224" y="151"/>
                  <a:pt x="224" y="151"/>
                  <a:pt x="224" y="151"/>
                </a:cubicBezTo>
                <a:cubicBezTo>
                  <a:pt x="224" y="152"/>
                  <a:pt x="224" y="152"/>
                  <a:pt x="224" y="152"/>
                </a:cubicBezTo>
                <a:cubicBezTo>
                  <a:pt x="224" y="152"/>
                  <a:pt x="224" y="152"/>
                  <a:pt x="224" y="152"/>
                </a:cubicBezTo>
                <a:cubicBezTo>
                  <a:pt x="223" y="152"/>
                  <a:pt x="223" y="152"/>
                  <a:pt x="223" y="152"/>
                </a:cubicBezTo>
                <a:cubicBezTo>
                  <a:pt x="222" y="152"/>
                  <a:pt x="222" y="152"/>
                  <a:pt x="222" y="152"/>
                </a:cubicBezTo>
                <a:cubicBezTo>
                  <a:pt x="222" y="152"/>
                  <a:pt x="222" y="152"/>
                  <a:pt x="222" y="152"/>
                </a:cubicBezTo>
                <a:cubicBezTo>
                  <a:pt x="221" y="152"/>
                  <a:pt x="221" y="152"/>
                  <a:pt x="221" y="152"/>
                </a:cubicBezTo>
                <a:cubicBezTo>
                  <a:pt x="220" y="152"/>
                  <a:pt x="220" y="152"/>
                  <a:pt x="220" y="152"/>
                </a:cubicBezTo>
                <a:cubicBezTo>
                  <a:pt x="220" y="152"/>
                  <a:pt x="220" y="152"/>
                  <a:pt x="220" y="152"/>
                </a:cubicBezTo>
                <a:cubicBezTo>
                  <a:pt x="218" y="152"/>
                  <a:pt x="218" y="152"/>
                  <a:pt x="218" y="152"/>
                </a:cubicBezTo>
                <a:cubicBezTo>
                  <a:pt x="217" y="152"/>
                  <a:pt x="217" y="152"/>
                  <a:pt x="217" y="152"/>
                </a:cubicBezTo>
                <a:cubicBezTo>
                  <a:pt x="216" y="152"/>
                  <a:pt x="216" y="152"/>
                  <a:pt x="216" y="152"/>
                </a:cubicBezTo>
                <a:cubicBezTo>
                  <a:pt x="216" y="152"/>
                  <a:pt x="216" y="152"/>
                  <a:pt x="216" y="152"/>
                </a:cubicBezTo>
                <a:cubicBezTo>
                  <a:pt x="215" y="152"/>
                  <a:pt x="215" y="152"/>
                  <a:pt x="215" y="152"/>
                </a:cubicBezTo>
                <a:cubicBezTo>
                  <a:pt x="216" y="153"/>
                  <a:pt x="216" y="153"/>
                  <a:pt x="216" y="153"/>
                </a:cubicBezTo>
                <a:cubicBezTo>
                  <a:pt x="216" y="153"/>
                  <a:pt x="216" y="153"/>
                  <a:pt x="216" y="153"/>
                </a:cubicBezTo>
                <a:cubicBezTo>
                  <a:pt x="217" y="153"/>
                  <a:pt x="217" y="153"/>
                  <a:pt x="217" y="153"/>
                </a:cubicBezTo>
                <a:cubicBezTo>
                  <a:pt x="218" y="153"/>
                  <a:pt x="218" y="153"/>
                  <a:pt x="218" y="153"/>
                </a:cubicBezTo>
                <a:cubicBezTo>
                  <a:pt x="220" y="153"/>
                  <a:pt x="220" y="153"/>
                  <a:pt x="220" y="153"/>
                </a:cubicBezTo>
                <a:cubicBezTo>
                  <a:pt x="220" y="153"/>
                  <a:pt x="220" y="153"/>
                  <a:pt x="220" y="153"/>
                </a:cubicBezTo>
                <a:cubicBezTo>
                  <a:pt x="221" y="154"/>
                  <a:pt x="221" y="154"/>
                  <a:pt x="221" y="154"/>
                </a:cubicBezTo>
                <a:cubicBezTo>
                  <a:pt x="222" y="154"/>
                  <a:pt x="222" y="154"/>
                  <a:pt x="222" y="154"/>
                </a:cubicBezTo>
                <a:cubicBezTo>
                  <a:pt x="223" y="154"/>
                  <a:pt x="223" y="154"/>
                  <a:pt x="223" y="154"/>
                </a:cubicBezTo>
                <a:cubicBezTo>
                  <a:pt x="223" y="155"/>
                  <a:pt x="223" y="155"/>
                  <a:pt x="223" y="155"/>
                </a:cubicBezTo>
                <a:cubicBezTo>
                  <a:pt x="224" y="156"/>
                  <a:pt x="224" y="156"/>
                  <a:pt x="224" y="156"/>
                </a:cubicBezTo>
                <a:cubicBezTo>
                  <a:pt x="225" y="157"/>
                  <a:pt x="225" y="157"/>
                  <a:pt x="225" y="157"/>
                </a:cubicBezTo>
                <a:cubicBezTo>
                  <a:pt x="225" y="158"/>
                  <a:pt x="225" y="158"/>
                  <a:pt x="225" y="158"/>
                </a:cubicBezTo>
                <a:cubicBezTo>
                  <a:pt x="225" y="158"/>
                  <a:pt x="225" y="158"/>
                  <a:pt x="225" y="158"/>
                </a:cubicBezTo>
                <a:cubicBezTo>
                  <a:pt x="224" y="157"/>
                  <a:pt x="224" y="157"/>
                  <a:pt x="224" y="157"/>
                </a:cubicBezTo>
                <a:cubicBezTo>
                  <a:pt x="224" y="157"/>
                  <a:pt x="224" y="157"/>
                  <a:pt x="224" y="157"/>
                </a:cubicBezTo>
                <a:cubicBezTo>
                  <a:pt x="224" y="158"/>
                  <a:pt x="224" y="158"/>
                  <a:pt x="224" y="158"/>
                </a:cubicBezTo>
                <a:cubicBezTo>
                  <a:pt x="223" y="158"/>
                  <a:pt x="223" y="158"/>
                  <a:pt x="223" y="158"/>
                </a:cubicBezTo>
                <a:cubicBezTo>
                  <a:pt x="224" y="159"/>
                  <a:pt x="224" y="159"/>
                  <a:pt x="224" y="159"/>
                </a:cubicBezTo>
                <a:cubicBezTo>
                  <a:pt x="224" y="161"/>
                  <a:pt x="224" y="161"/>
                  <a:pt x="224" y="161"/>
                </a:cubicBezTo>
                <a:cubicBezTo>
                  <a:pt x="224" y="161"/>
                  <a:pt x="224" y="161"/>
                  <a:pt x="224" y="161"/>
                </a:cubicBezTo>
                <a:cubicBezTo>
                  <a:pt x="224" y="162"/>
                  <a:pt x="224" y="162"/>
                  <a:pt x="224" y="162"/>
                </a:cubicBezTo>
                <a:cubicBezTo>
                  <a:pt x="224" y="163"/>
                  <a:pt x="224" y="163"/>
                  <a:pt x="224" y="163"/>
                </a:cubicBezTo>
                <a:cubicBezTo>
                  <a:pt x="224" y="164"/>
                  <a:pt x="224" y="164"/>
                  <a:pt x="224" y="164"/>
                </a:cubicBezTo>
                <a:cubicBezTo>
                  <a:pt x="223" y="166"/>
                  <a:pt x="223" y="166"/>
                  <a:pt x="223" y="166"/>
                </a:cubicBezTo>
                <a:cubicBezTo>
                  <a:pt x="222" y="166"/>
                  <a:pt x="222" y="166"/>
                  <a:pt x="222" y="166"/>
                </a:cubicBezTo>
                <a:cubicBezTo>
                  <a:pt x="222" y="166"/>
                  <a:pt x="222" y="166"/>
                  <a:pt x="222" y="166"/>
                </a:cubicBezTo>
                <a:cubicBezTo>
                  <a:pt x="221" y="166"/>
                  <a:pt x="221" y="166"/>
                  <a:pt x="221" y="166"/>
                </a:cubicBezTo>
                <a:cubicBezTo>
                  <a:pt x="220" y="165"/>
                  <a:pt x="220" y="165"/>
                  <a:pt x="220" y="165"/>
                </a:cubicBezTo>
                <a:cubicBezTo>
                  <a:pt x="221" y="164"/>
                  <a:pt x="221" y="164"/>
                  <a:pt x="221" y="164"/>
                </a:cubicBezTo>
                <a:cubicBezTo>
                  <a:pt x="221" y="164"/>
                  <a:pt x="221" y="164"/>
                  <a:pt x="221" y="164"/>
                </a:cubicBezTo>
                <a:cubicBezTo>
                  <a:pt x="220" y="164"/>
                  <a:pt x="220" y="164"/>
                  <a:pt x="220" y="164"/>
                </a:cubicBezTo>
                <a:cubicBezTo>
                  <a:pt x="220" y="164"/>
                  <a:pt x="220" y="164"/>
                  <a:pt x="220" y="164"/>
                </a:cubicBezTo>
                <a:cubicBezTo>
                  <a:pt x="219" y="164"/>
                  <a:pt x="219" y="164"/>
                  <a:pt x="219" y="164"/>
                </a:cubicBezTo>
                <a:cubicBezTo>
                  <a:pt x="218" y="162"/>
                  <a:pt x="218" y="162"/>
                  <a:pt x="218" y="162"/>
                </a:cubicBezTo>
                <a:cubicBezTo>
                  <a:pt x="217" y="161"/>
                  <a:pt x="217" y="161"/>
                  <a:pt x="217" y="161"/>
                </a:cubicBezTo>
                <a:cubicBezTo>
                  <a:pt x="215" y="160"/>
                  <a:pt x="215" y="160"/>
                  <a:pt x="215" y="160"/>
                </a:cubicBezTo>
                <a:cubicBezTo>
                  <a:pt x="215" y="159"/>
                  <a:pt x="215" y="159"/>
                  <a:pt x="215" y="159"/>
                </a:cubicBezTo>
                <a:cubicBezTo>
                  <a:pt x="215" y="158"/>
                  <a:pt x="215" y="158"/>
                  <a:pt x="215" y="158"/>
                </a:cubicBezTo>
                <a:cubicBezTo>
                  <a:pt x="214" y="157"/>
                  <a:pt x="214" y="157"/>
                  <a:pt x="214" y="157"/>
                </a:cubicBezTo>
                <a:cubicBezTo>
                  <a:pt x="213" y="157"/>
                  <a:pt x="213" y="157"/>
                  <a:pt x="213" y="157"/>
                </a:cubicBezTo>
                <a:cubicBezTo>
                  <a:pt x="213" y="157"/>
                  <a:pt x="213" y="157"/>
                  <a:pt x="213" y="157"/>
                </a:cubicBezTo>
                <a:cubicBezTo>
                  <a:pt x="213" y="157"/>
                  <a:pt x="213" y="157"/>
                  <a:pt x="213" y="157"/>
                </a:cubicBezTo>
                <a:cubicBezTo>
                  <a:pt x="213" y="157"/>
                  <a:pt x="213" y="157"/>
                  <a:pt x="213" y="157"/>
                </a:cubicBezTo>
                <a:cubicBezTo>
                  <a:pt x="214" y="159"/>
                  <a:pt x="214" y="159"/>
                  <a:pt x="214" y="159"/>
                </a:cubicBezTo>
                <a:cubicBezTo>
                  <a:pt x="214" y="159"/>
                  <a:pt x="214" y="159"/>
                  <a:pt x="214" y="159"/>
                </a:cubicBezTo>
                <a:cubicBezTo>
                  <a:pt x="214" y="160"/>
                  <a:pt x="214" y="160"/>
                  <a:pt x="214" y="160"/>
                </a:cubicBezTo>
                <a:cubicBezTo>
                  <a:pt x="212" y="160"/>
                  <a:pt x="212" y="160"/>
                  <a:pt x="212" y="160"/>
                </a:cubicBezTo>
                <a:cubicBezTo>
                  <a:pt x="212" y="159"/>
                  <a:pt x="212" y="159"/>
                  <a:pt x="212" y="159"/>
                </a:cubicBezTo>
                <a:cubicBezTo>
                  <a:pt x="211" y="158"/>
                  <a:pt x="211" y="158"/>
                  <a:pt x="211" y="158"/>
                </a:cubicBezTo>
                <a:cubicBezTo>
                  <a:pt x="210" y="157"/>
                  <a:pt x="210" y="157"/>
                  <a:pt x="210" y="157"/>
                </a:cubicBezTo>
                <a:cubicBezTo>
                  <a:pt x="210" y="158"/>
                  <a:pt x="210" y="158"/>
                  <a:pt x="210" y="158"/>
                </a:cubicBezTo>
                <a:cubicBezTo>
                  <a:pt x="210" y="159"/>
                  <a:pt x="210" y="159"/>
                  <a:pt x="210" y="159"/>
                </a:cubicBezTo>
                <a:cubicBezTo>
                  <a:pt x="211" y="160"/>
                  <a:pt x="211" y="160"/>
                  <a:pt x="211" y="160"/>
                </a:cubicBezTo>
                <a:cubicBezTo>
                  <a:pt x="213" y="161"/>
                  <a:pt x="213" y="161"/>
                  <a:pt x="213" y="161"/>
                </a:cubicBezTo>
                <a:cubicBezTo>
                  <a:pt x="215" y="161"/>
                  <a:pt x="215" y="161"/>
                  <a:pt x="215" y="161"/>
                </a:cubicBezTo>
                <a:cubicBezTo>
                  <a:pt x="217" y="162"/>
                  <a:pt x="217" y="162"/>
                  <a:pt x="217" y="162"/>
                </a:cubicBezTo>
                <a:cubicBezTo>
                  <a:pt x="219" y="164"/>
                  <a:pt x="219" y="164"/>
                  <a:pt x="219" y="164"/>
                </a:cubicBezTo>
                <a:cubicBezTo>
                  <a:pt x="219" y="165"/>
                  <a:pt x="219" y="165"/>
                  <a:pt x="219" y="165"/>
                </a:cubicBezTo>
                <a:cubicBezTo>
                  <a:pt x="219" y="166"/>
                  <a:pt x="219" y="166"/>
                  <a:pt x="219" y="166"/>
                </a:cubicBezTo>
                <a:cubicBezTo>
                  <a:pt x="218" y="165"/>
                  <a:pt x="218" y="165"/>
                  <a:pt x="218" y="165"/>
                </a:cubicBezTo>
                <a:cubicBezTo>
                  <a:pt x="217" y="165"/>
                  <a:pt x="217" y="165"/>
                  <a:pt x="217" y="165"/>
                </a:cubicBezTo>
                <a:cubicBezTo>
                  <a:pt x="216" y="165"/>
                  <a:pt x="216" y="165"/>
                  <a:pt x="216" y="165"/>
                </a:cubicBezTo>
                <a:cubicBezTo>
                  <a:pt x="216" y="165"/>
                  <a:pt x="216" y="165"/>
                  <a:pt x="216" y="165"/>
                </a:cubicBezTo>
                <a:cubicBezTo>
                  <a:pt x="214" y="167"/>
                  <a:pt x="214" y="167"/>
                  <a:pt x="214" y="167"/>
                </a:cubicBezTo>
                <a:cubicBezTo>
                  <a:pt x="214" y="167"/>
                  <a:pt x="214" y="167"/>
                  <a:pt x="214" y="167"/>
                </a:cubicBezTo>
                <a:cubicBezTo>
                  <a:pt x="213" y="166"/>
                  <a:pt x="213" y="166"/>
                  <a:pt x="213" y="166"/>
                </a:cubicBezTo>
                <a:cubicBezTo>
                  <a:pt x="212" y="165"/>
                  <a:pt x="212" y="165"/>
                  <a:pt x="212" y="165"/>
                </a:cubicBezTo>
                <a:cubicBezTo>
                  <a:pt x="213" y="165"/>
                  <a:pt x="213" y="165"/>
                  <a:pt x="213" y="165"/>
                </a:cubicBezTo>
                <a:cubicBezTo>
                  <a:pt x="212" y="164"/>
                  <a:pt x="212" y="164"/>
                  <a:pt x="212" y="164"/>
                </a:cubicBezTo>
                <a:cubicBezTo>
                  <a:pt x="212" y="164"/>
                  <a:pt x="212" y="164"/>
                  <a:pt x="212" y="164"/>
                </a:cubicBezTo>
                <a:cubicBezTo>
                  <a:pt x="212" y="165"/>
                  <a:pt x="212" y="165"/>
                  <a:pt x="212" y="165"/>
                </a:cubicBezTo>
                <a:cubicBezTo>
                  <a:pt x="212" y="165"/>
                  <a:pt x="212" y="165"/>
                  <a:pt x="212" y="165"/>
                </a:cubicBezTo>
                <a:cubicBezTo>
                  <a:pt x="212" y="166"/>
                  <a:pt x="212" y="166"/>
                  <a:pt x="212" y="166"/>
                </a:cubicBezTo>
                <a:cubicBezTo>
                  <a:pt x="213" y="167"/>
                  <a:pt x="213" y="167"/>
                  <a:pt x="213" y="167"/>
                </a:cubicBezTo>
                <a:cubicBezTo>
                  <a:pt x="214" y="167"/>
                  <a:pt x="214" y="167"/>
                  <a:pt x="214" y="167"/>
                </a:cubicBezTo>
                <a:cubicBezTo>
                  <a:pt x="215" y="167"/>
                  <a:pt x="215" y="167"/>
                  <a:pt x="215" y="167"/>
                </a:cubicBezTo>
                <a:cubicBezTo>
                  <a:pt x="216" y="166"/>
                  <a:pt x="216" y="166"/>
                  <a:pt x="216" y="166"/>
                </a:cubicBezTo>
                <a:cubicBezTo>
                  <a:pt x="217" y="166"/>
                  <a:pt x="217" y="166"/>
                  <a:pt x="217" y="166"/>
                </a:cubicBezTo>
                <a:cubicBezTo>
                  <a:pt x="218" y="167"/>
                  <a:pt x="218" y="167"/>
                  <a:pt x="218" y="167"/>
                </a:cubicBezTo>
                <a:cubicBezTo>
                  <a:pt x="218" y="167"/>
                  <a:pt x="218" y="167"/>
                  <a:pt x="218" y="167"/>
                </a:cubicBezTo>
                <a:cubicBezTo>
                  <a:pt x="218" y="168"/>
                  <a:pt x="218" y="168"/>
                  <a:pt x="218" y="168"/>
                </a:cubicBezTo>
                <a:cubicBezTo>
                  <a:pt x="217" y="170"/>
                  <a:pt x="217" y="170"/>
                  <a:pt x="217" y="170"/>
                </a:cubicBezTo>
                <a:cubicBezTo>
                  <a:pt x="217" y="171"/>
                  <a:pt x="217" y="171"/>
                  <a:pt x="217" y="171"/>
                </a:cubicBezTo>
                <a:cubicBezTo>
                  <a:pt x="216" y="171"/>
                  <a:pt x="216" y="171"/>
                  <a:pt x="216" y="171"/>
                </a:cubicBezTo>
                <a:cubicBezTo>
                  <a:pt x="216" y="171"/>
                  <a:pt x="216" y="171"/>
                  <a:pt x="216" y="171"/>
                </a:cubicBezTo>
                <a:cubicBezTo>
                  <a:pt x="217" y="172"/>
                  <a:pt x="217" y="172"/>
                  <a:pt x="217" y="172"/>
                </a:cubicBezTo>
                <a:cubicBezTo>
                  <a:pt x="218" y="171"/>
                  <a:pt x="218" y="171"/>
                  <a:pt x="218" y="171"/>
                </a:cubicBezTo>
                <a:cubicBezTo>
                  <a:pt x="219" y="171"/>
                  <a:pt x="219" y="171"/>
                  <a:pt x="219" y="171"/>
                </a:cubicBezTo>
                <a:cubicBezTo>
                  <a:pt x="220" y="173"/>
                  <a:pt x="220" y="173"/>
                  <a:pt x="220" y="173"/>
                </a:cubicBezTo>
                <a:cubicBezTo>
                  <a:pt x="221" y="173"/>
                  <a:pt x="221" y="173"/>
                  <a:pt x="221" y="173"/>
                </a:cubicBezTo>
                <a:cubicBezTo>
                  <a:pt x="222" y="173"/>
                  <a:pt x="222" y="173"/>
                  <a:pt x="222" y="173"/>
                </a:cubicBezTo>
                <a:cubicBezTo>
                  <a:pt x="223" y="172"/>
                  <a:pt x="223" y="172"/>
                  <a:pt x="223" y="172"/>
                </a:cubicBezTo>
                <a:cubicBezTo>
                  <a:pt x="224" y="173"/>
                  <a:pt x="224" y="173"/>
                  <a:pt x="224" y="173"/>
                </a:cubicBezTo>
                <a:cubicBezTo>
                  <a:pt x="224" y="173"/>
                  <a:pt x="224" y="173"/>
                  <a:pt x="224" y="173"/>
                </a:cubicBezTo>
                <a:cubicBezTo>
                  <a:pt x="223" y="174"/>
                  <a:pt x="223" y="174"/>
                  <a:pt x="223" y="174"/>
                </a:cubicBezTo>
                <a:cubicBezTo>
                  <a:pt x="223" y="175"/>
                  <a:pt x="223" y="175"/>
                  <a:pt x="223" y="175"/>
                </a:cubicBezTo>
                <a:cubicBezTo>
                  <a:pt x="224" y="175"/>
                  <a:pt x="224" y="175"/>
                  <a:pt x="224" y="175"/>
                </a:cubicBezTo>
                <a:cubicBezTo>
                  <a:pt x="224" y="176"/>
                  <a:pt x="224" y="176"/>
                  <a:pt x="224" y="176"/>
                </a:cubicBezTo>
                <a:cubicBezTo>
                  <a:pt x="222" y="178"/>
                  <a:pt x="222" y="178"/>
                  <a:pt x="222" y="178"/>
                </a:cubicBezTo>
                <a:cubicBezTo>
                  <a:pt x="221" y="179"/>
                  <a:pt x="221" y="179"/>
                  <a:pt x="221" y="179"/>
                </a:cubicBezTo>
                <a:cubicBezTo>
                  <a:pt x="220" y="179"/>
                  <a:pt x="220" y="179"/>
                  <a:pt x="220" y="179"/>
                </a:cubicBezTo>
                <a:cubicBezTo>
                  <a:pt x="220" y="178"/>
                  <a:pt x="220" y="178"/>
                  <a:pt x="220" y="178"/>
                </a:cubicBezTo>
                <a:cubicBezTo>
                  <a:pt x="220" y="177"/>
                  <a:pt x="220" y="177"/>
                  <a:pt x="220" y="177"/>
                </a:cubicBezTo>
                <a:cubicBezTo>
                  <a:pt x="219" y="177"/>
                  <a:pt x="219" y="177"/>
                  <a:pt x="219" y="177"/>
                </a:cubicBezTo>
                <a:cubicBezTo>
                  <a:pt x="219" y="176"/>
                  <a:pt x="219" y="176"/>
                  <a:pt x="219" y="176"/>
                </a:cubicBezTo>
                <a:cubicBezTo>
                  <a:pt x="218" y="175"/>
                  <a:pt x="218" y="175"/>
                  <a:pt x="218" y="175"/>
                </a:cubicBezTo>
                <a:cubicBezTo>
                  <a:pt x="217" y="174"/>
                  <a:pt x="217" y="174"/>
                  <a:pt x="217" y="174"/>
                </a:cubicBezTo>
                <a:cubicBezTo>
                  <a:pt x="216" y="174"/>
                  <a:pt x="216" y="174"/>
                  <a:pt x="216" y="174"/>
                </a:cubicBezTo>
                <a:cubicBezTo>
                  <a:pt x="215" y="174"/>
                  <a:pt x="215" y="174"/>
                  <a:pt x="215" y="174"/>
                </a:cubicBezTo>
                <a:cubicBezTo>
                  <a:pt x="214" y="174"/>
                  <a:pt x="214" y="174"/>
                  <a:pt x="214" y="174"/>
                </a:cubicBezTo>
                <a:cubicBezTo>
                  <a:pt x="213" y="174"/>
                  <a:pt x="213" y="174"/>
                  <a:pt x="213" y="174"/>
                </a:cubicBezTo>
                <a:cubicBezTo>
                  <a:pt x="213" y="174"/>
                  <a:pt x="213" y="174"/>
                  <a:pt x="213" y="174"/>
                </a:cubicBezTo>
                <a:cubicBezTo>
                  <a:pt x="212" y="173"/>
                  <a:pt x="212" y="173"/>
                  <a:pt x="212" y="173"/>
                </a:cubicBezTo>
                <a:cubicBezTo>
                  <a:pt x="212" y="172"/>
                  <a:pt x="212" y="172"/>
                  <a:pt x="212" y="172"/>
                </a:cubicBezTo>
                <a:cubicBezTo>
                  <a:pt x="211" y="172"/>
                  <a:pt x="211" y="172"/>
                  <a:pt x="211" y="172"/>
                </a:cubicBezTo>
                <a:cubicBezTo>
                  <a:pt x="211" y="173"/>
                  <a:pt x="211" y="173"/>
                  <a:pt x="211" y="173"/>
                </a:cubicBezTo>
                <a:cubicBezTo>
                  <a:pt x="212" y="173"/>
                  <a:pt x="212" y="173"/>
                  <a:pt x="212" y="173"/>
                </a:cubicBezTo>
                <a:cubicBezTo>
                  <a:pt x="212" y="175"/>
                  <a:pt x="212" y="175"/>
                  <a:pt x="212" y="175"/>
                </a:cubicBezTo>
                <a:cubicBezTo>
                  <a:pt x="211" y="176"/>
                  <a:pt x="211" y="176"/>
                  <a:pt x="211" y="176"/>
                </a:cubicBezTo>
                <a:cubicBezTo>
                  <a:pt x="211" y="176"/>
                  <a:pt x="211" y="176"/>
                  <a:pt x="211" y="176"/>
                </a:cubicBezTo>
                <a:cubicBezTo>
                  <a:pt x="210" y="176"/>
                  <a:pt x="210" y="176"/>
                  <a:pt x="210" y="176"/>
                </a:cubicBezTo>
                <a:cubicBezTo>
                  <a:pt x="209" y="176"/>
                  <a:pt x="209" y="176"/>
                  <a:pt x="209" y="176"/>
                </a:cubicBezTo>
                <a:cubicBezTo>
                  <a:pt x="210" y="177"/>
                  <a:pt x="210" y="177"/>
                  <a:pt x="210" y="177"/>
                </a:cubicBezTo>
                <a:cubicBezTo>
                  <a:pt x="210" y="177"/>
                  <a:pt x="210" y="177"/>
                  <a:pt x="210" y="177"/>
                </a:cubicBezTo>
                <a:cubicBezTo>
                  <a:pt x="210" y="178"/>
                  <a:pt x="210" y="178"/>
                  <a:pt x="210" y="178"/>
                </a:cubicBezTo>
                <a:cubicBezTo>
                  <a:pt x="209" y="179"/>
                  <a:pt x="209" y="179"/>
                  <a:pt x="209" y="179"/>
                </a:cubicBezTo>
                <a:cubicBezTo>
                  <a:pt x="209" y="179"/>
                  <a:pt x="209" y="179"/>
                  <a:pt x="209" y="179"/>
                </a:cubicBezTo>
                <a:cubicBezTo>
                  <a:pt x="209" y="180"/>
                  <a:pt x="209" y="180"/>
                  <a:pt x="209" y="180"/>
                </a:cubicBezTo>
                <a:cubicBezTo>
                  <a:pt x="209" y="180"/>
                  <a:pt x="209" y="180"/>
                  <a:pt x="209" y="180"/>
                </a:cubicBezTo>
                <a:cubicBezTo>
                  <a:pt x="210" y="181"/>
                  <a:pt x="210" y="181"/>
                  <a:pt x="210" y="181"/>
                </a:cubicBezTo>
                <a:cubicBezTo>
                  <a:pt x="210" y="182"/>
                  <a:pt x="210" y="182"/>
                  <a:pt x="210" y="182"/>
                </a:cubicBezTo>
                <a:cubicBezTo>
                  <a:pt x="211" y="182"/>
                  <a:pt x="211" y="182"/>
                  <a:pt x="211" y="182"/>
                </a:cubicBezTo>
                <a:cubicBezTo>
                  <a:pt x="211" y="184"/>
                  <a:pt x="211" y="184"/>
                  <a:pt x="211" y="184"/>
                </a:cubicBezTo>
                <a:cubicBezTo>
                  <a:pt x="211" y="185"/>
                  <a:pt x="211" y="185"/>
                  <a:pt x="211" y="185"/>
                </a:cubicBezTo>
                <a:cubicBezTo>
                  <a:pt x="211" y="185"/>
                  <a:pt x="211" y="185"/>
                  <a:pt x="211" y="185"/>
                </a:cubicBezTo>
                <a:cubicBezTo>
                  <a:pt x="211" y="184"/>
                  <a:pt x="211" y="184"/>
                  <a:pt x="211" y="184"/>
                </a:cubicBezTo>
                <a:cubicBezTo>
                  <a:pt x="212" y="184"/>
                  <a:pt x="212" y="184"/>
                  <a:pt x="212" y="184"/>
                </a:cubicBezTo>
                <a:cubicBezTo>
                  <a:pt x="212" y="183"/>
                  <a:pt x="212" y="183"/>
                  <a:pt x="212" y="183"/>
                </a:cubicBezTo>
                <a:cubicBezTo>
                  <a:pt x="211" y="182"/>
                  <a:pt x="211" y="182"/>
                  <a:pt x="211" y="182"/>
                </a:cubicBezTo>
                <a:cubicBezTo>
                  <a:pt x="211" y="181"/>
                  <a:pt x="211" y="181"/>
                  <a:pt x="211" y="181"/>
                </a:cubicBezTo>
                <a:cubicBezTo>
                  <a:pt x="212" y="180"/>
                  <a:pt x="212" y="180"/>
                  <a:pt x="212" y="180"/>
                </a:cubicBezTo>
                <a:cubicBezTo>
                  <a:pt x="212" y="180"/>
                  <a:pt x="212" y="180"/>
                  <a:pt x="212" y="180"/>
                </a:cubicBezTo>
                <a:cubicBezTo>
                  <a:pt x="212" y="181"/>
                  <a:pt x="212" y="181"/>
                  <a:pt x="212" y="181"/>
                </a:cubicBezTo>
                <a:cubicBezTo>
                  <a:pt x="213" y="182"/>
                  <a:pt x="213" y="182"/>
                  <a:pt x="213" y="182"/>
                </a:cubicBezTo>
                <a:cubicBezTo>
                  <a:pt x="213" y="183"/>
                  <a:pt x="213" y="183"/>
                  <a:pt x="213" y="183"/>
                </a:cubicBezTo>
                <a:cubicBezTo>
                  <a:pt x="214" y="183"/>
                  <a:pt x="214" y="183"/>
                  <a:pt x="214" y="183"/>
                </a:cubicBezTo>
                <a:cubicBezTo>
                  <a:pt x="215" y="183"/>
                  <a:pt x="215" y="183"/>
                  <a:pt x="215" y="183"/>
                </a:cubicBezTo>
                <a:cubicBezTo>
                  <a:pt x="215" y="183"/>
                  <a:pt x="215" y="183"/>
                  <a:pt x="215" y="183"/>
                </a:cubicBezTo>
                <a:cubicBezTo>
                  <a:pt x="215" y="183"/>
                  <a:pt x="215" y="183"/>
                  <a:pt x="215" y="183"/>
                </a:cubicBezTo>
                <a:cubicBezTo>
                  <a:pt x="216" y="183"/>
                  <a:pt x="216" y="183"/>
                  <a:pt x="216" y="183"/>
                </a:cubicBezTo>
                <a:cubicBezTo>
                  <a:pt x="217" y="182"/>
                  <a:pt x="217" y="182"/>
                  <a:pt x="217" y="182"/>
                </a:cubicBezTo>
                <a:cubicBezTo>
                  <a:pt x="218" y="183"/>
                  <a:pt x="218" y="183"/>
                  <a:pt x="218" y="183"/>
                </a:cubicBezTo>
                <a:cubicBezTo>
                  <a:pt x="218" y="183"/>
                  <a:pt x="218" y="183"/>
                  <a:pt x="218" y="183"/>
                </a:cubicBezTo>
                <a:cubicBezTo>
                  <a:pt x="218" y="184"/>
                  <a:pt x="218" y="184"/>
                  <a:pt x="218" y="184"/>
                </a:cubicBezTo>
                <a:cubicBezTo>
                  <a:pt x="217" y="185"/>
                  <a:pt x="217" y="185"/>
                  <a:pt x="217" y="185"/>
                </a:cubicBezTo>
                <a:cubicBezTo>
                  <a:pt x="217" y="186"/>
                  <a:pt x="217" y="186"/>
                  <a:pt x="217" y="186"/>
                </a:cubicBezTo>
                <a:cubicBezTo>
                  <a:pt x="217" y="187"/>
                  <a:pt x="217" y="187"/>
                  <a:pt x="217" y="187"/>
                </a:cubicBezTo>
                <a:cubicBezTo>
                  <a:pt x="217" y="189"/>
                  <a:pt x="217" y="189"/>
                  <a:pt x="217" y="189"/>
                </a:cubicBezTo>
                <a:cubicBezTo>
                  <a:pt x="216" y="189"/>
                  <a:pt x="216" y="189"/>
                  <a:pt x="216" y="189"/>
                </a:cubicBezTo>
                <a:cubicBezTo>
                  <a:pt x="215" y="189"/>
                  <a:pt x="215" y="189"/>
                  <a:pt x="215" y="189"/>
                </a:cubicBezTo>
                <a:cubicBezTo>
                  <a:pt x="214" y="190"/>
                  <a:pt x="214" y="190"/>
                  <a:pt x="214" y="190"/>
                </a:cubicBezTo>
                <a:cubicBezTo>
                  <a:pt x="213" y="189"/>
                  <a:pt x="213" y="189"/>
                  <a:pt x="213" y="189"/>
                </a:cubicBezTo>
                <a:cubicBezTo>
                  <a:pt x="212" y="189"/>
                  <a:pt x="212" y="189"/>
                  <a:pt x="212" y="189"/>
                </a:cubicBezTo>
                <a:cubicBezTo>
                  <a:pt x="212" y="189"/>
                  <a:pt x="212" y="189"/>
                  <a:pt x="212" y="189"/>
                </a:cubicBezTo>
                <a:cubicBezTo>
                  <a:pt x="211" y="190"/>
                  <a:pt x="211" y="190"/>
                  <a:pt x="211" y="190"/>
                </a:cubicBezTo>
                <a:cubicBezTo>
                  <a:pt x="211" y="190"/>
                  <a:pt x="211" y="190"/>
                  <a:pt x="211" y="190"/>
                </a:cubicBezTo>
                <a:cubicBezTo>
                  <a:pt x="210" y="191"/>
                  <a:pt x="210" y="191"/>
                  <a:pt x="210" y="191"/>
                </a:cubicBezTo>
                <a:cubicBezTo>
                  <a:pt x="209" y="191"/>
                  <a:pt x="209" y="191"/>
                  <a:pt x="209" y="191"/>
                </a:cubicBezTo>
                <a:cubicBezTo>
                  <a:pt x="209" y="191"/>
                  <a:pt x="209" y="191"/>
                  <a:pt x="209" y="191"/>
                </a:cubicBezTo>
                <a:cubicBezTo>
                  <a:pt x="208" y="192"/>
                  <a:pt x="208" y="192"/>
                  <a:pt x="208" y="192"/>
                </a:cubicBezTo>
                <a:cubicBezTo>
                  <a:pt x="208" y="192"/>
                  <a:pt x="208" y="192"/>
                  <a:pt x="208" y="192"/>
                </a:cubicBezTo>
                <a:cubicBezTo>
                  <a:pt x="208" y="192"/>
                  <a:pt x="208" y="192"/>
                  <a:pt x="208" y="192"/>
                </a:cubicBezTo>
                <a:cubicBezTo>
                  <a:pt x="207" y="192"/>
                  <a:pt x="207" y="192"/>
                  <a:pt x="207" y="192"/>
                </a:cubicBezTo>
                <a:cubicBezTo>
                  <a:pt x="206" y="191"/>
                  <a:pt x="206" y="191"/>
                  <a:pt x="206" y="191"/>
                </a:cubicBezTo>
                <a:cubicBezTo>
                  <a:pt x="204" y="191"/>
                  <a:pt x="204" y="191"/>
                  <a:pt x="204" y="191"/>
                </a:cubicBezTo>
                <a:cubicBezTo>
                  <a:pt x="203" y="189"/>
                  <a:pt x="203" y="189"/>
                  <a:pt x="203" y="189"/>
                </a:cubicBezTo>
                <a:cubicBezTo>
                  <a:pt x="201" y="187"/>
                  <a:pt x="201" y="187"/>
                  <a:pt x="201" y="187"/>
                </a:cubicBezTo>
                <a:cubicBezTo>
                  <a:pt x="200" y="186"/>
                  <a:pt x="200" y="186"/>
                  <a:pt x="200" y="186"/>
                </a:cubicBezTo>
                <a:cubicBezTo>
                  <a:pt x="200" y="185"/>
                  <a:pt x="200" y="185"/>
                  <a:pt x="200" y="185"/>
                </a:cubicBezTo>
                <a:cubicBezTo>
                  <a:pt x="201" y="185"/>
                  <a:pt x="201" y="185"/>
                  <a:pt x="201" y="185"/>
                </a:cubicBezTo>
                <a:cubicBezTo>
                  <a:pt x="201" y="185"/>
                  <a:pt x="201" y="185"/>
                  <a:pt x="201" y="185"/>
                </a:cubicBezTo>
                <a:cubicBezTo>
                  <a:pt x="201" y="185"/>
                  <a:pt x="201" y="185"/>
                  <a:pt x="201" y="185"/>
                </a:cubicBezTo>
                <a:cubicBezTo>
                  <a:pt x="202" y="186"/>
                  <a:pt x="202" y="186"/>
                  <a:pt x="202" y="186"/>
                </a:cubicBezTo>
                <a:cubicBezTo>
                  <a:pt x="204" y="187"/>
                  <a:pt x="204" y="187"/>
                  <a:pt x="204" y="187"/>
                </a:cubicBezTo>
                <a:cubicBezTo>
                  <a:pt x="205" y="188"/>
                  <a:pt x="205" y="188"/>
                  <a:pt x="205" y="188"/>
                </a:cubicBezTo>
                <a:cubicBezTo>
                  <a:pt x="206" y="188"/>
                  <a:pt x="206" y="188"/>
                  <a:pt x="206" y="188"/>
                </a:cubicBezTo>
                <a:cubicBezTo>
                  <a:pt x="207" y="187"/>
                  <a:pt x="207" y="187"/>
                  <a:pt x="207" y="187"/>
                </a:cubicBezTo>
                <a:cubicBezTo>
                  <a:pt x="208" y="187"/>
                  <a:pt x="208" y="187"/>
                  <a:pt x="208" y="187"/>
                </a:cubicBezTo>
                <a:cubicBezTo>
                  <a:pt x="207" y="186"/>
                  <a:pt x="207" y="186"/>
                  <a:pt x="207" y="186"/>
                </a:cubicBezTo>
                <a:cubicBezTo>
                  <a:pt x="207" y="186"/>
                  <a:pt x="207" y="186"/>
                  <a:pt x="207" y="186"/>
                </a:cubicBezTo>
                <a:cubicBezTo>
                  <a:pt x="206" y="187"/>
                  <a:pt x="206" y="187"/>
                  <a:pt x="206" y="187"/>
                </a:cubicBezTo>
                <a:cubicBezTo>
                  <a:pt x="205" y="186"/>
                  <a:pt x="205" y="186"/>
                  <a:pt x="205" y="186"/>
                </a:cubicBezTo>
                <a:cubicBezTo>
                  <a:pt x="203" y="185"/>
                  <a:pt x="203" y="185"/>
                  <a:pt x="203" y="185"/>
                </a:cubicBezTo>
                <a:cubicBezTo>
                  <a:pt x="201" y="184"/>
                  <a:pt x="201" y="184"/>
                  <a:pt x="201" y="184"/>
                </a:cubicBezTo>
                <a:cubicBezTo>
                  <a:pt x="200" y="184"/>
                  <a:pt x="200" y="184"/>
                  <a:pt x="200" y="184"/>
                </a:cubicBezTo>
                <a:cubicBezTo>
                  <a:pt x="200" y="184"/>
                  <a:pt x="200" y="184"/>
                  <a:pt x="200" y="184"/>
                </a:cubicBezTo>
                <a:cubicBezTo>
                  <a:pt x="200" y="183"/>
                  <a:pt x="200" y="183"/>
                  <a:pt x="200" y="183"/>
                </a:cubicBezTo>
                <a:cubicBezTo>
                  <a:pt x="200" y="183"/>
                  <a:pt x="200" y="183"/>
                  <a:pt x="200" y="183"/>
                </a:cubicBezTo>
                <a:cubicBezTo>
                  <a:pt x="199" y="183"/>
                  <a:pt x="199" y="183"/>
                  <a:pt x="199" y="183"/>
                </a:cubicBezTo>
                <a:cubicBezTo>
                  <a:pt x="199" y="183"/>
                  <a:pt x="199" y="183"/>
                  <a:pt x="199" y="183"/>
                </a:cubicBezTo>
                <a:cubicBezTo>
                  <a:pt x="199" y="184"/>
                  <a:pt x="199" y="184"/>
                  <a:pt x="199" y="184"/>
                </a:cubicBezTo>
                <a:cubicBezTo>
                  <a:pt x="198" y="186"/>
                  <a:pt x="198" y="186"/>
                  <a:pt x="198" y="186"/>
                </a:cubicBezTo>
                <a:cubicBezTo>
                  <a:pt x="198" y="187"/>
                  <a:pt x="198" y="187"/>
                  <a:pt x="198" y="187"/>
                </a:cubicBezTo>
                <a:cubicBezTo>
                  <a:pt x="198" y="188"/>
                  <a:pt x="198" y="188"/>
                  <a:pt x="198" y="188"/>
                </a:cubicBezTo>
                <a:cubicBezTo>
                  <a:pt x="198" y="187"/>
                  <a:pt x="198" y="187"/>
                  <a:pt x="198" y="187"/>
                </a:cubicBezTo>
                <a:cubicBezTo>
                  <a:pt x="196" y="185"/>
                  <a:pt x="196" y="185"/>
                  <a:pt x="196" y="185"/>
                </a:cubicBezTo>
                <a:cubicBezTo>
                  <a:pt x="195" y="183"/>
                  <a:pt x="195" y="183"/>
                  <a:pt x="195" y="183"/>
                </a:cubicBezTo>
                <a:cubicBezTo>
                  <a:pt x="194" y="182"/>
                  <a:pt x="194" y="182"/>
                  <a:pt x="194" y="182"/>
                </a:cubicBezTo>
                <a:cubicBezTo>
                  <a:pt x="194" y="182"/>
                  <a:pt x="194" y="182"/>
                  <a:pt x="194" y="182"/>
                </a:cubicBezTo>
                <a:cubicBezTo>
                  <a:pt x="194" y="181"/>
                  <a:pt x="194" y="181"/>
                  <a:pt x="194" y="181"/>
                </a:cubicBezTo>
                <a:cubicBezTo>
                  <a:pt x="193" y="181"/>
                  <a:pt x="193" y="181"/>
                  <a:pt x="193" y="181"/>
                </a:cubicBezTo>
                <a:cubicBezTo>
                  <a:pt x="193" y="181"/>
                  <a:pt x="193" y="181"/>
                  <a:pt x="193" y="181"/>
                </a:cubicBezTo>
                <a:cubicBezTo>
                  <a:pt x="193" y="182"/>
                  <a:pt x="193" y="182"/>
                  <a:pt x="193" y="182"/>
                </a:cubicBezTo>
                <a:cubicBezTo>
                  <a:pt x="194" y="183"/>
                  <a:pt x="194" y="183"/>
                  <a:pt x="194" y="183"/>
                </a:cubicBezTo>
                <a:cubicBezTo>
                  <a:pt x="195" y="185"/>
                  <a:pt x="195" y="185"/>
                  <a:pt x="195" y="185"/>
                </a:cubicBezTo>
                <a:cubicBezTo>
                  <a:pt x="195" y="186"/>
                  <a:pt x="195" y="186"/>
                  <a:pt x="195" y="186"/>
                </a:cubicBezTo>
                <a:cubicBezTo>
                  <a:pt x="196" y="186"/>
                  <a:pt x="196" y="186"/>
                  <a:pt x="196" y="186"/>
                </a:cubicBezTo>
                <a:cubicBezTo>
                  <a:pt x="197" y="187"/>
                  <a:pt x="197" y="187"/>
                  <a:pt x="197" y="187"/>
                </a:cubicBezTo>
                <a:cubicBezTo>
                  <a:pt x="196" y="188"/>
                  <a:pt x="196" y="188"/>
                  <a:pt x="196" y="188"/>
                </a:cubicBezTo>
                <a:cubicBezTo>
                  <a:pt x="196" y="188"/>
                  <a:pt x="196" y="188"/>
                  <a:pt x="196" y="188"/>
                </a:cubicBezTo>
                <a:cubicBezTo>
                  <a:pt x="195" y="188"/>
                  <a:pt x="195" y="188"/>
                  <a:pt x="195" y="188"/>
                </a:cubicBezTo>
                <a:cubicBezTo>
                  <a:pt x="194" y="189"/>
                  <a:pt x="194" y="189"/>
                  <a:pt x="194" y="189"/>
                </a:cubicBezTo>
                <a:cubicBezTo>
                  <a:pt x="194" y="189"/>
                  <a:pt x="194" y="189"/>
                  <a:pt x="194" y="189"/>
                </a:cubicBezTo>
                <a:cubicBezTo>
                  <a:pt x="193" y="190"/>
                  <a:pt x="193" y="190"/>
                  <a:pt x="193" y="190"/>
                </a:cubicBezTo>
                <a:cubicBezTo>
                  <a:pt x="192" y="190"/>
                  <a:pt x="192" y="190"/>
                  <a:pt x="192" y="190"/>
                </a:cubicBezTo>
                <a:cubicBezTo>
                  <a:pt x="191" y="190"/>
                  <a:pt x="191" y="190"/>
                  <a:pt x="191" y="190"/>
                </a:cubicBezTo>
                <a:cubicBezTo>
                  <a:pt x="190" y="190"/>
                  <a:pt x="190" y="190"/>
                  <a:pt x="190" y="190"/>
                </a:cubicBezTo>
                <a:cubicBezTo>
                  <a:pt x="189" y="190"/>
                  <a:pt x="189" y="190"/>
                  <a:pt x="189" y="190"/>
                </a:cubicBezTo>
                <a:cubicBezTo>
                  <a:pt x="189" y="189"/>
                  <a:pt x="189" y="189"/>
                  <a:pt x="189" y="189"/>
                </a:cubicBezTo>
                <a:cubicBezTo>
                  <a:pt x="188" y="189"/>
                  <a:pt x="188" y="189"/>
                  <a:pt x="188" y="189"/>
                </a:cubicBezTo>
                <a:cubicBezTo>
                  <a:pt x="188" y="189"/>
                  <a:pt x="188" y="189"/>
                  <a:pt x="188" y="189"/>
                </a:cubicBezTo>
                <a:cubicBezTo>
                  <a:pt x="186" y="188"/>
                  <a:pt x="186" y="188"/>
                  <a:pt x="186" y="188"/>
                </a:cubicBezTo>
                <a:cubicBezTo>
                  <a:pt x="186" y="187"/>
                  <a:pt x="186" y="187"/>
                  <a:pt x="186" y="187"/>
                </a:cubicBezTo>
                <a:cubicBezTo>
                  <a:pt x="186" y="186"/>
                  <a:pt x="186" y="186"/>
                  <a:pt x="186" y="186"/>
                </a:cubicBezTo>
                <a:cubicBezTo>
                  <a:pt x="185" y="186"/>
                  <a:pt x="185" y="186"/>
                  <a:pt x="185" y="186"/>
                </a:cubicBezTo>
                <a:cubicBezTo>
                  <a:pt x="185" y="186"/>
                  <a:pt x="185" y="186"/>
                  <a:pt x="185" y="186"/>
                </a:cubicBezTo>
                <a:cubicBezTo>
                  <a:pt x="185" y="186"/>
                  <a:pt x="185" y="186"/>
                  <a:pt x="185" y="186"/>
                </a:cubicBezTo>
                <a:cubicBezTo>
                  <a:pt x="185" y="187"/>
                  <a:pt x="185" y="187"/>
                  <a:pt x="185" y="187"/>
                </a:cubicBezTo>
                <a:cubicBezTo>
                  <a:pt x="185" y="188"/>
                  <a:pt x="185" y="188"/>
                  <a:pt x="185" y="188"/>
                </a:cubicBezTo>
                <a:cubicBezTo>
                  <a:pt x="186" y="188"/>
                  <a:pt x="186" y="188"/>
                  <a:pt x="186" y="188"/>
                </a:cubicBezTo>
                <a:cubicBezTo>
                  <a:pt x="187" y="189"/>
                  <a:pt x="187" y="189"/>
                  <a:pt x="187" y="189"/>
                </a:cubicBezTo>
                <a:cubicBezTo>
                  <a:pt x="188" y="190"/>
                  <a:pt x="188" y="190"/>
                  <a:pt x="188" y="190"/>
                </a:cubicBezTo>
                <a:cubicBezTo>
                  <a:pt x="188" y="191"/>
                  <a:pt x="188" y="191"/>
                  <a:pt x="188" y="191"/>
                </a:cubicBezTo>
                <a:cubicBezTo>
                  <a:pt x="187" y="191"/>
                  <a:pt x="187" y="191"/>
                  <a:pt x="187" y="191"/>
                </a:cubicBezTo>
                <a:cubicBezTo>
                  <a:pt x="185" y="191"/>
                  <a:pt x="185" y="191"/>
                  <a:pt x="185" y="191"/>
                </a:cubicBezTo>
                <a:cubicBezTo>
                  <a:pt x="184" y="191"/>
                  <a:pt x="184" y="191"/>
                  <a:pt x="184" y="191"/>
                </a:cubicBezTo>
                <a:cubicBezTo>
                  <a:pt x="183" y="191"/>
                  <a:pt x="183" y="191"/>
                  <a:pt x="183" y="191"/>
                </a:cubicBezTo>
                <a:cubicBezTo>
                  <a:pt x="182" y="192"/>
                  <a:pt x="182" y="192"/>
                  <a:pt x="182" y="192"/>
                </a:cubicBezTo>
                <a:cubicBezTo>
                  <a:pt x="183" y="192"/>
                  <a:pt x="183" y="192"/>
                  <a:pt x="183" y="192"/>
                </a:cubicBezTo>
                <a:cubicBezTo>
                  <a:pt x="183" y="192"/>
                  <a:pt x="183" y="192"/>
                  <a:pt x="183" y="192"/>
                </a:cubicBezTo>
                <a:cubicBezTo>
                  <a:pt x="183" y="193"/>
                  <a:pt x="183" y="193"/>
                  <a:pt x="183" y="193"/>
                </a:cubicBezTo>
                <a:cubicBezTo>
                  <a:pt x="184" y="193"/>
                  <a:pt x="184" y="193"/>
                  <a:pt x="184" y="193"/>
                </a:cubicBezTo>
                <a:cubicBezTo>
                  <a:pt x="184" y="193"/>
                  <a:pt x="184" y="193"/>
                  <a:pt x="184" y="193"/>
                </a:cubicBezTo>
                <a:cubicBezTo>
                  <a:pt x="184" y="192"/>
                  <a:pt x="184" y="192"/>
                  <a:pt x="184" y="192"/>
                </a:cubicBezTo>
                <a:cubicBezTo>
                  <a:pt x="186" y="192"/>
                  <a:pt x="186" y="192"/>
                  <a:pt x="186" y="192"/>
                </a:cubicBezTo>
                <a:cubicBezTo>
                  <a:pt x="186" y="192"/>
                  <a:pt x="186" y="192"/>
                  <a:pt x="186" y="192"/>
                </a:cubicBezTo>
                <a:cubicBezTo>
                  <a:pt x="187" y="192"/>
                  <a:pt x="187" y="193"/>
                  <a:pt x="187" y="193"/>
                </a:cubicBezTo>
                <a:cubicBezTo>
                  <a:pt x="188" y="192"/>
                  <a:pt x="188" y="192"/>
                  <a:pt x="188" y="192"/>
                </a:cubicBezTo>
                <a:cubicBezTo>
                  <a:pt x="188" y="191"/>
                  <a:pt x="188" y="191"/>
                  <a:pt x="188" y="191"/>
                </a:cubicBezTo>
                <a:cubicBezTo>
                  <a:pt x="189" y="191"/>
                  <a:pt x="189" y="191"/>
                  <a:pt x="189" y="191"/>
                </a:cubicBezTo>
                <a:cubicBezTo>
                  <a:pt x="190" y="191"/>
                  <a:pt x="190" y="191"/>
                  <a:pt x="190" y="191"/>
                </a:cubicBezTo>
                <a:cubicBezTo>
                  <a:pt x="191" y="191"/>
                  <a:pt x="191" y="191"/>
                  <a:pt x="191" y="191"/>
                </a:cubicBezTo>
                <a:cubicBezTo>
                  <a:pt x="192" y="192"/>
                  <a:pt x="192" y="192"/>
                  <a:pt x="192" y="192"/>
                </a:cubicBezTo>
                <a:cubicBezTo>
                  <a:pt x="193" y="192"/>
                  <a:pt x="193" y="192"/>
                  <a:pt x="193" y="192"/>
                </a:cubicBezTo>
                <a:cubicBezTo>
                  <a:pt x="194" y="193"/>
                  <a:pt x="194" y="193"/>
                  <a:pt x="194" y="193"/>
                </a:cubicBezTo>
                <a:cubicBezTo>
                  <a:pt x="195" y="193"/>
                  <a:pt x="195" y="193"/>
                  <a:pt x="195" y="193"/>
                </a:cubicBezTo>
                <a:cubicBezTo>
                  <a:pt x="195" y="194"/>
                  <a:pt x="195" y="194"/>
                  <a:pt x="195" y="194"/>
                </a:cubicBezTo>
                <a:cubicBezTo>
                  <a:pt x="195" y="195"/>
                  <a:pt x="195" y="195"/>
                  <a:pt x="195" y="195"/>
                </a:cubicBezTo>
                <a:cubicBezTo>
                  <a:pt x="194" y="195"/>
                  <a:pt x="194" y="195"/>
                  <a:pt x="194" y="195"/>
                </a:cubicBezTo>
                <a:cubicBezTo>
                  <a:pt x="194" y="196"/>
                  <a:pt x="194" y="196"/>
                  <a:pt x="194" y="196"/>
                </a:cubicBezTo>
                <a:cubicBezTo>
                  <a:pt x="193" y="195"/>
                  <a:pt x="193" y="195"/>
                  <a:pt x="193" y="195"/>
                </a:cubicBezTo>
                <a:cubicBezTo>
                  <a:pt x="192" y="196"/>
                  <a:pt x="192" y="196"/>
                  <a:pt x="192" y="196"/>
                </a:cubicBezTo>
                <a:cubicBezTo>
                  <a:pt x="191" y="196"/>
                  <a:pt x="191" y="196"/>
                  <a:pt x="191" y="196"/>
                </a:cubicBezTo>
                <a:cubicBezTo>
                  <a:pt x="190" y="197"/>
                  <a:pt x="190" y="197"/>
                  <a:pt x="190" y="197"/>
                </a:cubicBezTo>
                <a:cubicBezTo>
                  <a:pt x="189" y="197"/>
                  <a:pt x="189" y="197"/>
                  <a:pt x="189" y="197"/>
                </a:cubicBezTo>
                <a:cubicBezTo>
                  <a:pt x="188" y="195"/>
                  <a:pt x="188" y="195"/>
                  <a:pt x="188" y="195"/>
                </a:cubicBezTo>
                <a:cubicBezTo>
                  <a:pt x="187" y="195"/>
                  <a:pt x="187" y="195"/>
                  <a:pt x="187" y="195"/>
                </a:cubicBezTo>
                <a:cubicBezTo>
                  <a:pt x="187" y="195"/>
                  <a:pt x="187" y="195"/>
                  <a:pt x="187" y="195"/>
                </a:cubicBezTo>
                <a:cubicBezTo>
                  <a:pt x="186" y="196"/>
                  <a:pt x="186" y="196"/>
                  <a:pt x="186" y="196"/>
                </a:cubicBezTo>
                <a:cubicBezTo>
                  <a:pt x="185" y="196"/>
                  <a:pt x="185" y="196"/>
                  <a:pt x="185" y="196"/>
                </a:cubicBezTo>
                <a:cubicBezTo>
                  <a:pt x="185" y="196"/>
                  <a:pt x="185" y="196"/>
                  <a:pt x="185" y="196"/>
                </a:cubicBezTo>
                <a:cubicBezTo>
                  <a:pt x="184" y="196"/>
                  <a:pt x="184" y="196"/>
                  <a:pt x="184" y="196"/>
                </a:cubicBezTo>
                <a:cubicBezTo>
                  <a:pt x="184" y="196"/>
                  <a:pt x="184" y="196"/>
                  <a:pt x="184" y="196"/>
                </a:cubicBezTo>
                <a:cubicBezTo>
                  <a:pt x="185" y="196"/>
                  <a:pt x="185" y="196"/>
                  <a:pt x="185" y="196"/>
                </a:cubicBezTo>
                <a:cubicBezTo>
                  <a:pt x="186" y="196"/>
                  <a:pt x="186" y="196"/>
                  <a:pt x="186" y="196"/>
                </a:cubicBezTo>
                <a:cubicBezTo>
                  <a:pt x="187" y="196"/>
                  <a:pt x="187" y="196"/>
                  <a:pt x="187" y="196"/>
                </a:cubicBezTo>
                <a:cubicBezTo>
                  <a:pt x="187" y="196"/>
                  <a:pt x="187" y="196"/>
                  <a:pt x="187" y="196"/>
                </a:cubicBezTo>
                <a:cubicBezTo>
                  <a:pt x="188" y="197"/>
                  <a:pt x="188" y="197"/>
                  <a:pt x="188" y="197"/>
                </a:cubicBezTo>
                <a:cubicBezTo>
                  <a:pt x="187" y="197"/>
                  <a:pt x="187" y="197"/>
                  <a:pt x="187" y="197"/>
                </a:cubicBezTo>
                <a:cubicBezTo>
                  <a:pt x="186" y="197"/>
                  <a:pt x="186" y="197"/>
                  <a:pt x="186" y="197"/>
                </a:cubicBezTo>
                <a:cubicBezTo>
                  <a:pt x="185" y="198"/>
                  <a:pt x="185" y="198"/>
                  <a:pt x="185" y="198"/>
                </a:cubicBezTo>
                <a:cubicBezTo>
                  <a:pt x="185" y="198"/>
                  <a:pt x="185" y="198"/>
                  <a:pt x="185" y="198"/>
                </a:cubicBezTo>
                <a:cubicBezTo>
                  <a:pt x="185" y="198"/>
                  <a:pt x="185" y="198"/>
                  <a:pt x="185" y="198"/>
                </a:cubicBezTo>
                <a:cubicBezTo>
                  <a:pt x="186" y="198"/>
                  <a:pt x="186" y="198"/>
                  <a:pt x="186" y="198"/>
                </a:cubicBezTo>
                <a:cubicBezTo>
                  <a:pt x="187" y="198"/>
                  <a:pt x="187" y="198"/>
                  <a:pt x="187" y="198"/>
                </a:cubicBezTo>
                <a:cubicBezTo>
                  <a:pt x="188" y="198"/>
                  <a:pt x="188" y="198"/>
                  <a:pt x="188" y="198"/>
                </a:cubicBezTo>
                <a:cubicBezTo>
                  <a:pt x="188" y="198"/>
                  <a:pt x="188" y="198"/>
                  <a:pt x="188" y="198"/>
                </a:cubicBezTo>
                <a:cubicBezTo>
                  <a:pt x="188" y="199"/>
                  <a:pt x="188" y="199"/>
                  <a:pt x="188" y="199"/>
                </a:cubicBezTo>
                <a:cubicBezTo>
                  <a:pt x="189" y="199"/>
                  <a:pt x="189" y="199"/>
                  <a:pt x="189" y="199"/>
                </a:cubicBezTo>
                <a:cubicBezTo>
                  <a:pt x="189" y="198"/>
                  <a:pt x="189" y="198"/>
                  <a:pt x="189" y="198"/>
                </a:cubicBezTo>
                <a:cubicBezTo>
                  <a:pt x="190" y="198"/>
                  <a:pt x="190" y="198"/>
                  <a:pt x="190" y="198"/>
                </a:cubicBezTo>
                <a:cubicBezTo>
                  <a:pt x="191" y="198"/>
                  <a:pt x="191" y="198"/>
                  <a:pt x="191" y="198"/>
                </a:cubicBezTo>
                <a:cubicBezTo>
                  <a:pt x="192" y="197"/>
                  <a:pt x="192" y="197"/>
                  <a:pt x="192" y="197"/>
                </a:cubicBezTo>
                <a:cubicBezTo>
                  <a:pt x="192" y="197"/>
                  <a:pt x="192" y="197"/>
                  <a:pt x="192" y="197"/>
                </a:cubicBezTo>
                <a:cubicBezTo>
                  <a:pt x="193" y="197"/>
                  <a:pt x="193" y="197"/>
                  <a:pt x="193" y="197"/>
                </a:cubicBezTo>
                <a:cubicBezTo>
                  <a:pt x="194" y="198"/>
                  <a:pt x="194" y="198"/>
                  <a:pt x="194" y="198"/>
                </a:cubicBezTo>
                <a:cubicBezTo>
                  <a:pt x="195" y="198"/>
                  <a:pt x="195" y="198"/>
                  <a:pt x="195" y="198"/>
                </a:cubicBezTo>
                <a:cubicBezTo>
                  <a:pt x="195" y="198"/>
                  <a:pt x="195" y="198"/>
                  <a:pt x="195" y="198"/>
                </a:cubicBezTo>
                <a:cubicBezTo>
                  <a:pt x="195" y="199"/>
                  <a:pt x="195" y="199"/>
                  <a:pt x="195" y="199"/>
                </a:cubicBezTo>
                <a:cubicBezTo>
                  <a:pt x="195" y="201"/>
                  <a:pt x="195" y="201"/>
                  <a:pt x="195" y="201"/>
                </a:cubicBezTo>
                <a:cubicBezTo>
                  <a:pt x="194" y="202"/>
                  <a:pt x="194" y="202"/>
                  <a:pt x="194" y="202"/>
                </a:cubicBezTo>
                <a:cubicBezTo>
                  <a:pt x="193" y="202"/>
                  <a:pt x="193" y="202"/>
                  <a:pt x="193" y="202"/>
                </a:cubicBezTo>
                <a:cubicBezTo>
                  <a:pt x="192" y="202"/>
                  <a:pt x="192" y="202"/>
                  <a:pt x="192" y="202"/>
                </a:cubicBezTo>
                <a:cubicBezTo>
                  <a:pt x="191" y="202"/>
                  <a:pt x="191" y="202"/>
                  <a:pt x="191" y="202"/>
                </a:cubicBezTo>
                <a:cubicBezTo>
                  <a:pt x="189" y="202"/>
                  <a:pt x="189" y="202"/>
                  <a:pt x="189" y="202"/>
                </a:cubicBezTo>
                <a:cubicBezTo>
                  <a:pt x="189" y="201"/>
                  <a:pt x="189" y="201"/>
                  <a:pt x="189" y="201"/>
                </a:cubicBezTo>
                <a:cubicBezTo>
                  <a:pt x="188" y="202"/>
                  <a:pt x="188" y="202"/>
                  <a:pt x="188" y="202"/>
                </a:cubicBezTo>
                <a:cubicBezTo>
                  <a:pt x="188" y="202"/>
                  <a:pt x="188" y="202"/>
                  <a:pt x="188" y="202"/>
                </a:cubicBezTo>
                <a:cubicBezTo>
                  <a:pt x="189" y="202"/>
                  <a:pt x="189" y="202"/>
                  <a:pt x="189" y="202"/>
                </a:cubicBezTo>
                <a:cubicBezTo>
                  <a:pt x="191" y="202"/>
                  <a:pt x="191" y="202"/>
                  <a:pt x="191" y="202"/>
                </a:cubicBezTo>
                <a:cubicBezTo>
                  <a:pt x="192" y="203"/>
                  <a:pt x="192" y="203"/>
                  <a:pt x="192" y="203"/>
                </a:cubicBezTo>
                <a:cubicBezTo>
                  <a:pt x="193" y="204"/>
                  <a:pt x="193" y="204"/>
                  <a:pt x="193" y="204"/>
                </a:cubicBezTo>
                <a:cubicBezTo>
                  <a:pt x="192" y="204"/>
                  <a:pt x="192" y="204"/>
                  <a:pt x="192" y="204"/>
                </a:cubicBezTo>
                <a:cubicBezTo>
                  <a:pt x="193" y="203"/>
                  <a:pt x="193" y="203"/>
                  <a:pt x="193" y="203"/>
                </a:cubicBezTo>
                <a:cubicBezTo>
                  <a:pt x="194" y="203"/>
                  <a:pt x="194" y="203"/>
                  <a:pt x="194" y="203"/>
                </a:cubicBezTo>
                <a:cubicBezTo>
                  <a:pt x="196" y="203"/>
                  <a:pt x="196" y="203"/>
                  <a:pt x="196" y="203"/>
                </a:cubicBezTo>
                <a:cubicBezTo>
                  <a:pt x="197" y="203"/>
                  <a:pt x="197" y="203"/>
                  <a:pt x="197" y="203"/>
                </a:cubicBezTo>
                <a:cubicBezTo>
                  <a:pt x="197" y="204"/>
                  <a:pt x="197" y="204"/>
                  <a:pt x="197" y="204"/>
                </a:cubicBezTo>
                <a:cubicBezTo>
                  <a:pt x="199" y="205"/>
                  <a:pt x="199" y="205"/>
                  <a:pt x="199" y="205"/>
                </a:cubicBezTo>
                <a:cubicBezTo>
                  <a:pt x="199" y="206"/>
                  <a:pt x="199" y="206"/>
                  <a:pt x="199" y="206"/>
                </a:cubicBezTo>
                <a:cubicBezTo>
                  <a:pt x="199" y="206"/>
                  <a:pt x="199" y="206"/>
                  <a:pt x="199" y="206"/>
                </a:cubicBezTo>
                <a:cubicBezTo>
                  <a:pt x="200" y="206"/>
                  <a:pt x="200" y="206"/>
                  <a:pt x="200" y="206"/>
                </a:cubicBezTo>
                <a:cubicBezTo>
                  <a:pt x="200" y="207"/>
                  <a:pt x="200" y="207"/>
                  <a:pt x="200" y="207"/>
                </a:cubicBezTo>
                <a:cubicBezTo>
                  <a:pt x="201" y="207"/>
                  <a:pt x="201" y="207"/>
                  <a:pt x="201" y="207"/>
                </a:cubicBezTo>
                <a:cubicBezTo>
                  <a:pt x="202" y="208"/>
                  <a:pt x="202" y="208"/>
                  <a:pt x="202" y="208"/>
                </a:cubicBezTo>
                <a:cubicBezTo>
                  <a:pt x="202" y="208"/>
                  <a:pt x="202" y="208"/>
                  <a:pt x="202" y="208"/>
                </a:cubicBezTo>
                <a:cubicBezTo>
                  <a:pt x="203" y="209"/>
                  <a:pt x="203" y="209"/>
                  <a:pt x="203" y="209"/>
                </a:cubicBezTo>
                <a:cubicBezTo>
                  <a:pt x="203" y="209"/>
                  <a:pt x="203" y="209"/>
                  <a:pt x="203" y="209"/>
                </a:cubicBezTo>
                <a:cubicBezTo>
                  <a:pt x="204" y="209"/>
                  <a:pt x="204" y="209"/>
                  <a:pt x="204" y="209"/>
                </a:cubicBezTo>
                <a:cubicBezTo>
                  <a:pt x="204" y="210"/>
                  <a:pt x="204" y="210"/>
                  <a:pt x="204" y="210"/>
                </a:cubicBezTo>
                <a:cubicBezTo>
                  <a:pt x="205" y="210"/>
                  <a:pt x="205" y="210"/>
                  <a:pt x="205" y="210"/>
                </a:cubicBezTo>
                <a:cubicBezTo>
                  <a:pt x="205" y="211"/>
                  <a:pt x="205" y="211"/>
                  <a:pt x="205" y="211"/>
                </a:cubicBezTo>
                <a:cubicBezTo>
                  <a:pt x="204" y="212"/>
                  <a:pt x="204" y="212"/>
                  <a:pt x="204" y="212"/>
                </a:cubicBezTo>
                <a:cubicBezTo>
                  <a:pt x="203" y="212"/>
                  <a:pt x="203" y="212"/>
                  <a:pt x="203" y="212"/>
                </a:cubicBezTo>
                <a:cubicBezTo>
                  <a:pt x="203" y="213"/>
                  <a:pt x="203" y="213"/>
                  <a:pt x="203" y="213"/>
                </a:cubicBezTo>
                <a:cubicBezTo>
                  <a:pt x="203" y="214"/>
                  <a:pt x="203" y="214"/>
                  <a:pt x="203" y="214"/>
                </a:cubicBezTo>
                <a:cubicBezTo>
                  <a:pt x="203" y="214"/>
                  <a:pt x="203" y="214"/>
                  <a:pt x="203" y="214"/>
                </a:cubicBezTo>
                <a:cubicBezTo>
                  <a:pt x="203" y="213"/>
                  <a:pt x="203" y="213"/>
                  <a:pt x="203" y="213"/>
                </a:cubicBezTo>
                <a:cubicBezTo>
                  <a:pt x="204" y="212"/>
                  <a:pt x="204" y="212"/>
                  <a:pt x="204" y="212"/>
                </a:cubicBezTo>
                <a:cubicBezTo>
                  <a:pt x="205" y="212"/>
                  <a:pt x="205" y="212"/>
                  <a:pt x="205" y="212"/>
                </a:cubicBezTo>
                <a:cubicBezTo>
                  <a:pt x="205" y="212"/>
                  <a:pt x="205" y="212"/>
                  <a:pt x="205" y="212"/>
                </a:cubicBezTo>
                <a:cubicBezTo>
                  <a:pt x="205" y="213"/>
                  <a:pt x="205" y="213"/>
                  <a:pt x="205" y="213"/>
                </a:cubicBezTo>
                <a:cubicBezTo>
                  <a:pt x="205" y="214"/>
                  <a:pt x="205" y="214"/>
                  <a:pt x="205" y="214"/>
                </a:cubicBezTo>
                <a:cubicBezTo>
                  <a:pt x="205" y="214"/>
                  <a:pt x="205" y="214"/>
                  <a:pt x="205" y="214"/>
                </a:cubicBezTo>
                <a:cubicBezTo>
                  <a:pt x="205" y="213"/>
                  <a:pt x="205" y="213"/>
                  <a:pt x="205" y="213"/>
                </a:cubicBezTo>
                <a:cubicBezTo>
                  <a:pt x="206" y="213"/>
                  <a:pt x="206" y="213"/>
                  <a:pt x="206" y="213"/>
                </a:cubicBezTo>
                <a:cubicBezTo>
                  <a:pt x="207" y="213"/>
                  <a:pt x="207" y="213"/>
                  <a:pt x="207" y="213"/>
                </a:cubicBezTo>
                <a:cubicBezTo>
                  <a:pt x="207" y="213"/>
                  <a:pt x="207" y="213"/>
                  <a:pt x="207" y="213"/>
                </a:cubicBezTo>
                <a:cubicBezTo>
                  <a:pt x="207" y="214"/>
                  <a:pt x="207" y="214"/>
                  <a:pt x="207" y="214"/>
                </a:cubicBezTo>
                <a:cubicBezTo>
                  <a:pt x="206" y="215"/>
                  <a:pt x="206" y="215"/>
                  <a:pt x="206" y="215"/>
                </a:cubicBezTo>
                <a:cubicBezTo>
                  <a:pt x="205" y="215"/>
                  <a:pt x="205" y="215"/>
                  <a:pt x="205" y="215"/>
                </a:cubicBezTo>
                <a:cubicBezTo>
                  <a:pt x="205" y="216"/>
                  <a:pt x="205" y="216"/>
                  <a:pt x="205" y="216"/>
                </a:cubicBezTo>
                <a:cubicBezTo>
                  <a:pt x="205" y="217"/>
                  <a:pt x="205" y="217"/>
                  <a:pt x="205" y="217"/>
                </a:cubicBezTo>
                <a:cubicBezTo>
                  <a:pt x="205" y="217"/>
                  <a:pt x="205" y="217"/>
                  <a:pt x="205" y="217"/>
                </a:cubicBezTo>
                <a:cubicBezTo>
                  <a:pt x="205" y="218"/>
                  <a:pt x="205" y="218"/>
                  <a:pt x="205" y="218"/>
                </a:cubicBezTo>
                <a:cubicBezTo>
                  <a:pt x="205" y="219"/>
                  <a:pt x="205" y="219"/>
                  <a:pt x="205" y="219"/>
                </a:cubicBezTo>
                <a:cubicBezTo>
                  <a:pt x="205" y="220"/>
                  <a:pt x="205" y="220"/>
                  <a:pt x="205" y="220"/>
                </a:cubicBezTo>
                <a:cubicBezTo>
                  <a:pt x="205" y="220"/>
                  <a:pt x="205" y="220"/>
                  <a:pt x="205" y="220"/>
                </a:cubicBezTo>
                <a:cubicBezTo>
                  <a:pt x="205" y="218"/>
                  <a:pt x="205" y="218"/>
                  <a:pt x="205" y="218"/>
                </a:cubicBezTo>
                <a:cubicBezTo>
                  <a:pt x="206" y="217"/>
                  <a:pt x="206" y="217"/>
                  <a:pt x="206" y="217"/>
                </a:cubicBezTo>
                <a:cubicBezTo>
                  <a:pt x="207" y="216"/>
                  <a:pt x="207" y="216"/>
                  <a:pt x="207" y="216"/>
                </a:cubicBezTo>
                <a:cubicBezTo>
                  <a:pt x="208" y="216"/>
                  <a:pt x="208" y="216"/>
                  <a:pt x="208" y="216"/>
                </a:cubicBezTo>
                <a:cubicBezTo>
                  <a:pt x="208" y="217"/>
                  <a:pt x="208" y="217"/>
                  <a:pt x="208" y="217"/>
                </a:cubicBezTo>
                <a:cubicBezTo>
                  <a:pt x="207" y="218"/>
                  <a:pt x="207" y="218"/>
                  <a:pt x="207" y="218"/>
                </a:cubicBezTo>
                <a:cubicBezTo>
                  <a:pt x="207" y="219"/>
                  <a:pt x="207" y="219"/>
                  <a:pt x="207" y="219"/>
                </a:cubicBezTo>
                <a:cubicBezTo>
                  <a:pt x="207" y="219"/>
                  <a:pt x="207" y="219"/>
                  <a:pt x="207" y="219"/>
                </a:cubicBezTo>
                <a:cubicBezTo>
                  <a:pt x="207" y="219"/>
                  <a:pt x="207" y="219"/>
                  <a:pt x="207" y="219"/>
                </a:cubicBezTo>
                <a:cubicBezTo>
                  <a:pt x="208" y="219"/>
                  <a:pt x="208" y="219"/>
                  <a:pt x="208" y="219"/>
                </a:cubicBezTo>
                <a:cubicBezTo>
                  <a:pt x="208" y="221"/>
                  <a:pt x="208" y="221"/>
                  <a:pt x="208" y="221"/>
                </a:cubicBezTo>
                <a:cubicBezTo>
                  <a:pt x="207" y="221"/>
                  <a:pt x="207" y="221"/>
                  <a:pt x="207" y="221"/>
                </a:cubicBezTo>
                <a:cubicBezTo>
                  <a:pt x="206" y="221"/>
                  <a:pt x="206" y="221"/>
                  <a:pt x="206" y="221"/>
                </a:cubicBezTo>
                <a:cubicBezTo>
                  <a:pt x="206" y="222"/>
                  <a:pt x="206" y="222"/>
                  <a:pt x="206" y="222"/>
                </a:cubicBezTo>
                <a:cubicBezTo>
                  <a:pt x="206" y="222"/>
                  <a:pt x="206" y="222"/>
                  <a:pt x="206" y="222"/>
                </a:cubicBezTo>
                <a:cubicBezTo>
                  <a:pt x="207" y="222"/>
                  <a:pt x="207" y="222"/>
                  <a:pt x="207" y="222"/>
                </a:cubicBezTo>
                <a:cubicBezTo>
                  <a:pt x="207" y="222"/>
                  <a:pt x="207" y="222"/>
                  <a:pt x="207" y="222"/>
                </a:cubicBezTo>
                <a:cubicBezTo>
                  <a:pt x="207" y="223"/>
                  <a:pt x="207" y="223"/>
                  <a:pt x="207" y="223"/>
                </a:cubicBezTo>
                <a:cubicBezTo>
                  <a:pt x="207" y="223"/>
                  <a:pt x="207" y="223"/>
                  <a:pt x="207" y="223"/>
                </a:cubicBezTo>
                <a:cubicBezTo>
                  <a:pt x="207" y="224"/>
                  <a:pt x="207" y="224"/>
                  <a:pt x="207" y="224"/>
                </a:cubicBezTo>
                <a:cubicBezTo>
                  <a:pt x="208" y="224"/>
                  <a:pt x="208" y="224"/>
                  <a:pt x="208" y="224"/>
                </a:cubicBezTo>
                <a:cubicBezTo>
                  <a:pt x="208" y="225"/>
                  <a:pt x="208" y="225"/>
                  <a:pt x="208" y="225"/>
                </a:cubicBezTo>
                <a:cubicBezTo>
                  <a:pt x="207" y="226"/>
                  <a:pt x="207" y="226"/>
                  <a:pt x="207" y="226"/>
                </a:cubicBezTo>
                <a:cubicBezTo>
                  <a:pt x="207" y="227"/>
                  <a:pt x="207" y="227"/>
                  <a:pt x="207" y="227"/>
                </a:cubicBezTo>
                <a:cubicBezTo>
                  <a:pt x="207" y="229"/>
                  <a:pt x="207" y="229"/>
                  <a:pt x="207" y="229"/>
                </a:cubicBezTo>
                <a:cubicBezTo>
                  <a:pt x="207" y="229"/>
                  <a:pt x="207" y="229"/>
                  <a:pt x="207" y="229"/>
                </a:cubicBezTo>
                <a:cubicBezTo>
                  <a:pt x="207" y="230"/>
                  <a:pt x="207" y="230"/>
                  <a:pt x="207" y="230"/>
                </a:cubicBezTo>
                <a:cubicBezTo>
                  <a:pt x="207" y="231"/>
                  <a:pt x="207" y="231"/>
                  <a:pt x="207" y="231"/>
                </a:cubicBezTo>
                <a:cubicBezTo>
                  <a:pt x="206" y="231"/>
                  <a:pt x="206" y="231"/>
                  <a:pt x="206" y="231"/>
                </a:cubicBezTo>
                <a:cubicBezTo>
                  <a:pt x="206" y="231"/>
                  <a:pt x="206" y="231"/>
                  <a:pt x="206" y="231"/>
                </a:cubicBezTo>
                <a:cubicBezTo>
                  <a:pt x="205" y="230"/>
                  <a:pt x="205" y="230"/>
                  <a:pt x="205" y="230"/>
                </a:cubicBezTo>
                <a:cubicBezTo>
                  <a:pt x="206" y="230"/>
                  <a:pt x="206" y="230"/>
                  <a:pt x="206" y="230"/>
                </a:cubicBezTo>
                <a:cubicBezTo>
                  <a:pt x="205" y="229"/>
                  <a:pt x="205" y="229"/>
                  <a:pt x="205" y="229"/>
                </a:cubicBezTo>
                <a:cubicBezTo>
                  <a:pt x="205" y="229"/>
                  <a:pt x="205" y="229"/>
                  <a:pt x="205" y="229"/>
                </a:cubicBezTo>
                <a:cubicBezTo>
                  <a:pt x="204" y="229"/>
                  <a:pt x="204" y="229"/>
                  <a:pt x="204" y="229"/>
                </a:cubicBezTo>
                <a:cubicBezTo>
                  <a:pt x="204" y="230"/>
                  <a:pt x="204" y="230"/>
                  <a:pt x="204" y="230"/>
                </a:cubicBezTo>
                <a:cubicBezTo>
                  <a:pt x="203" y="229"/>
                  <a:pt x="203" y="229"/>
                  <a:pt x="203" y="229"/>
                </a:cubicBezTo>
                <a:cubicBezTo>
                  <a:pt x="203" y="228"/>
                  <a:pt x="203" y="228"/>
                  <a:pt x="203" y="228"/>
                </a:cubicBezTo>
                <a:cubicBezTo>
                  <a:pt x="204" y="227"/>
                  <a:pt x="204" y="227"/>
                  <a:pt x="204" y="227"/>
                </a:cubicBezTo>
                <a:cubicBezTo>
                  <a:pt x="203" y="226"/>
                  <a:pt x="203" y="226"/>
                  <a:pt x="203" y="226"/>
                </a:cubicBezTo>
                <a:cubicBezTo>
                  <a:pt x="203" y="225"/>
                  <a:pt x="203" y="225"/>
                  <a:pt x="203" y="225"/>
                </a:cubicBezTo>
                <a:cubicBezTo>
                  <a:pt x="203" y="225"/>
                  <a:pt x="203" y="225"/>
                  <a:pt x="203" y="225"/>
                </a:cubicBezTo>
                <a:cubicBezTo>
                  <a:pt x="203" y="224"/>
                  <a:pt x="203" y="224"/>
                  <a:pt x="203" y="224"/>
                </a:cubicBezTo>
                <a:cubicBezTo>
                  <a:pt x="203" y="224"/>
                  <a:pt x="203" y="224"/>
                  <a:pt x="203" y="224"/>
                </a:cubicBezTo>
                <a:cubicBezTo>
                  <a:pt x="202" y="225"/>
                  <a:pt x="202" y="225"/>
                  <a:pt x="202" y="225"/>
                </a:cubicBezTo>
                <a:cubicBezTo>
                  <a:pt x="202" y="226"/>
                  <a:pt x="202" y="226"/>
                  <a:pt x="202" y="226"/>
                </a:cubicBezTo>
                <a:cubicBezTo>
                  <a:pt x="202" y="227"/>
                  <a:pt x="202" y="227"/>
                  <a:pt x="202" y="227"/>
                </a:cubicBezTo>
                <a:cubicBezTo>
                  <a:pt x="202" y="229"/>
                  <a:pt x="202" y="229"/>
                  <a:pt x="202" y="229"/>
                </a:cubicBezTo>
                <a:cubicBezTo>
                  <a:pt x="202" y="230"/>
                  <a:pt x="202" y="230"/>
                  <a:pt x="202" y="230"/>
                </a:cubicBezTo>
                <a:cubicBezTo>
                  <a:pt x="202" y="230"/>
                  <a:pt x="202" y="230"/>
                  <a:pt x="202" y="230"/>
                </a:cubicBezTo>
                <a:cubicBezTo>
                  <a:pt x="201" y="230"/>
                  <a:pt x="201" y="230"/>
                  <a:pt x="201" y="230"/>
                </a:cubicBezTo>
                <a:cubicBezTo>
                  <a:pt x="200" y="230"/>
                  <a:pt x="200" y="230"/>
                  <a:pt x="200" y="230"/>
                </a:cubicBezTo>
                <a:cubicBezTo>
                  <a:pt x="199" y="230"/>
                  <a:pt x="199" y="230"/>
                  <a:pt x="199" y="230"/>
                </a:cubicBezTo>
                <a:cubicBezTo>
                  <a:pt x="199" y="230"/>
                  <a:pt x="199" y="230"/>
                  <a:pt x="199" y="230"/>
                </a:cubicBezTo>
                <a:cubicBezTo>
                  <a:pt x="197" y="229"/>
                  <a:pt x="197" y="229"/>
                  <a:pt x="197" y="229"/>
                </a:cubicBezTo>
                <a:cubicBezTo>
                  <a:pt x="196" y="227"/>
                  <a:pt x="196" y="227"/>
                  <a:pt x="196" y="227"/>
                </a:cubicBezTo>
                <a:cubicBezTo>
                  <a:pt x="195" y="226"/>
                  <a:pt x="195" y="226"/>
                  <a:pt x="195" y="226"/>
                </a:cubicBezTo>
                <a:cubicBezTo>
                  <a:pt x="195" y="225"/>
                  <a:pt x="195" y="225"/>
                  <a:pt x="195" y="225"/>
                </a:cubicBezTo>
                <a:cubicBezTo>
                  <a:pt x="195" y="223"/>
                  <a:pt x="195" y="223"/>
                  <a:pt x="195" y="223"/>
                </a:cubicBezTo>
                <a:cubicBezTo>
                  <a:pt x="194" y="222"/>
                  <a:pt x="194" y="222"/>
                  <a:pt x="194" y="222"/>
                </a:cubicBezTo>
                <a:cubicBezTo>
                  <a:pt x="193" y="221"/>
                  <a:pt x="193" y="221"/>
                  <a:pt x="193" y="221"/>
                </a:cubicBezTo>
                <a:cubicBezTo>
                  <a:pt x="193" y="220"/>
                  <a:pt x="193" y="220"/>
                  <a:pt x="193" y="220"/>
                </a:cubicBezTo>
                <a:cubicBezTo>
                  <a:pt x="193" y="219"/>
                  <a:pt x="193" y="219"/>
                  <a:pt x="193" y="219"/>
                </a:cubicBezTo>
                <a:cubicBezTo>
                  <a:pt x="194" y="218"/>
                  <a:pt x="194" y="218"/>
                  <a:pt x="194" y="218"/>
                </a:cubicBezTo>
                <a:cubicBezTo>
                  <a:pt x="193" y="217"/>
                  <a:pt x="193" y="217"/>
                  <a:pt x="193" y="217"/>
                </a:cubicBezTo>
                <a:cubicBezTo>
                  <a:pt x="193" y="217"/>
                  <a:pt x="193" y="217"/>
                  <a:pt x="193" y="217"/>
                </a:cubicBezTo>
                <a:cubicBezTo>
                  <a:pt x="192" y="217"/>
                  <a:pt x="192" y="217"/>
                  <a:pt x="192" y="217"/>
                </a:cubicBezTo>
                <a:cubicBezTo>
                  <a:pt x="191" y="218"/>
                  <a:pt x="191" y="218"/>
                  <a:pt x="191" y="218"/>
                </a:cubicBezTo>
                <a:cubicBezTo>
                  <a:pt x="191" y="217"/>
                  <a:pt x="191" y="217"/>
                  <a:pt x="191" y="217"/>
                </a:cubicBezTo>
                <a:cubicBezTo>
                  <a:pt x="189" y="215"/>
                  <a:pt x="189" y="215"/>
                  <a:pt x="189" y="215"/>
                </a:cubicBezTo>
                <a:cubicBezTo>
                  <a:pt x="188" y="214"/>
                  <a:pt x="188" y="214"/>
                  <a:pt x="188" y="214"/>
                </a:cubicBezTo>
                <a:cubicBezTo>
                  <a:pt x="188" y="213"/>
                  <a:pt x="188" y="213"/>
                  <a:pt x="188" y="213"/>
                </a:cubicBezTo>
                <a:cubicBezTo>
                  <a:pt x="187" y="214"/>
                  <a:pt x="187" y="214"/>
                  <a:pt x="187" y="214"/>
                </a:cubicBezTo>
                <a:cubicBezTo>
                  <a:pt x="186" y="214"/>
                  <a:pt x="186" y="214"/>
                  <a:pt x="186" y="214"/>
                </a:cubicBezTo>
                <a:cubicBezTo>
                  <a:pt x="185" y="213"/>
                  <a:pt x="185" y="213"/>
                  <a:pt x="185" y="213"/>
                </a:cubicBezTo>
                <a:cubicBezTo>
                  <a:pt x="185" y="214"/>
                  <a:pt x="185" y="214"/>
                  <a:pt x="185" y="214"/>
                </a:cubicBezTo>
                <a:cubicBezTo>
                  <a:pt x="184" y="214"/>
                  <a:pt x="184" y="214"/>
                  <a:pt x="184" y="214"/>
                </a:cubicBezTo>
                <a:cubicBezTo>
                  <a:pt x="183" y="214"/>
                  <a:pt x="183" y="214"/>
                  <a:pt x="183" y="214"/>
                </a:cubicBezTo>
                <a:cubicBezTo>
                  <a:pt x="182" y="213"/>
                  <a:pt x="182" y="213"/>
                  <a:pt x="182" y="213"/>
                </a:cubicBezTo>
                <a:cubicBezTo>
                  <a:pt x="182" y="212"/>
                  <a:pt x="182" y="212"/>
                  <a:pt x="182" y="212"/>
                </a:cubicBezTo>
                <a:cubicBezTo>
                  <a:pt x="181" y="211"/>
                  <a:pt x="181" y="211"/>
                  <a:pt x="181" y="211"/>
                </a:cubicBezTo>
                <a:cubicBezTo>
                  <a:pt x="181" y="210"/>
                  <a:pt x="181" y="210"/>
                  <a:pt x="181" y="210"/>
                </a:cubicBezTo>
                <a:cubicBezTo>
                  <a:pt x="180" y="210"/>
                  <a:pt x="180" y="210"/>
                  <a:pt x="180" y="210"/>
                </a:cubicBezTo>
                <a:cubicBezTo>
                  <a:pt x="180" y="208"/>
                  <a:pt x="180" y="208"/>
                  <a:pt x="180" y="208"/>
                </a:cubicBezTo>
                <a:cubicBezTo>
                  <a:pt x="179" y="207"/>
                  <a:pt x="179" y="207"/>
                  <a:pt x="179" y="207"/>
                </a:cubicBezTo>
                <a:cubicBezTo>
                  <a:pt x="179" y="208"/>
                  <a:pt x="179" y="208"/>
                  <a:pt x="179" y="208"/>
                </a:cubicBezTo>
                <a:cubicBezTo>
                  <a:pt x="179" y="209"/>
                  <a:pt x="179" y="209"/>
                  <a:pt x="179" y="209"/>
                </a:cubicBezTo>
                <a:cubicBezTo>
                  <a:pt x="179" y="210"/>
                  <a:pt x="179" y="210"/>
                  <a:pt x="179" y="210"/>
                </a:cubicBezTo>
                <a:cubicBezTo>
                  <a:pt x="178" y="210"/>
                  <a:pt x="178" y="210"/>
                  <a:pt x="178" y="210"/>
                </a:cubicBezTo>
                <a:cubicBezTo>
                  <a:pt x="178" y="211"/>
                  <a:pt x="178" y="211"/>
                  <a:pt x="178" y="211"/>
                </a:cubicBezTo>
                <a:cubicBezTo>
                  <a:pt x="179" y="211"/>
                  <a:pt x="179" y="211"/>
                  <a:pt x="179" y="211"/>
                </a:cubicBezTo>
                <a:cubicBezTo>
                  <a:pt x="179" y="211"/>
                  <a:pt x="179" y="211"/>
                  <a:pt x="179" y="211"/>
                </a:cubicBezTo>
                <a:cubicBezTo>
                  <a:pt x="180" y="212"/>
                  <a:pt x="180" y="212"/>
                  <a:pt x="180" y="212"/>
                </a:cubicBezTo>
                <a:cubicBezTo>
                  <a:pt x="181" y="213"/>
                  <a:pt x="181" y="213"/>
                  <a:pt x="181" y="213"/>
                </a:cubicBezTo>
                <a:cubicBezTo>
                  <a:pt x="180" y="214"/>
                  <a:pt x="180" y="214"/>
                  <a:pt x="180" y="214"/>
                </a:cubicBezTo>
                <a:cubicBezTo>
                  <a:pt x="179" y="214"/>
                  <a:pt x="179" y="214"/>
                  <a:pt x="179" y="214"/>
                </a:cubicBezTo>
                <a:cubicBezTo>
                  <a:pt x="179" y="214"/>
                  <a:pt x="179" y="214"/>
                  <a:pt x="179" y="214"/>
                </a:cubicBezTo>
                <a:cubicBezTo>
                  <a:pt x="178" y="215"/>
                  <a:pt x="178" y="215"/>
                  <a:pt x="178" y="215"/>
                </a:cubicBezTo>
                <a:cubicBezTo>
                  <a:pt x="177" y="214"/>
                  <a:pt x="177" y="214"/>
                  <a:pt x="177" y="214"/>
                </a:cubicBezTo>
                <a:cubicBezTo>
                  <a:pt x="177" y="215"/>
                  <a:pt x="177" y="215"/>
                  <a:pt x="177" y="215"/>
                </a:cubicBezTo>
                <a:cubicBezTo>
                  <a:pt x="178" y="215"/>
                  <a:pt x="178" y="215"/>
                  <a:pt x="178" y="215"/>
                </a:cubicBezTo>
                <a:cubicBezTo>
                  <a:pt x="179" y="215"/>
                  <a:pt x="179" y="215"/>
                  <a:pt x="179" y="215"/>
                </a:cubicBezTo>
                <a:cubicBezTo>
                  <a:pt x="180" y="214"/>
                  <a:pt x="180" y="214"/>
                  <a:pt x="180" y="214"/>
                </a:cubicBezTo>
                <a:cubicBezTo>
                  <a:pt x="181" y="214"/>
                  <a:pt x="181" y="214"/>
                  <a:pt x="181" y="214"/>
                </a:cubicBezTo>
                <a:cubicBezTo>
                  <a:pt x="182" y="214"/>
                  <a:pt x="182" y="214"/>
                  <a:pt x="182" y="214"/>
                </a:cubicBezTo>
                <a:cubicBezTo>
                  <a:pt x="182" y="214"/>
                  <a:pt x="182" y="214"/>
                  <a:pt x="182" y="214"/>
                </a:cubicBezTo>
                <a:cubicBezTo>
                  <a:pt x="182" y="215"/>
                  <a:pt x="182" y="215"/>
                  <a:pt x="182" y="215"/>
                </a:cubicBezTo>
                <a:cubicBezTo>
                  <a:pt x="183" y="215"/>
                  <a:pt x="183" y="215"/>
                  <a:pt x="183" y="215"/>
                </a:cubicBezTo>
                <a:cubicBezTo>
                  <a:pt x="184" y="215"/>
                  <a:pt x="184" y="215"/>
                  <a:pt x="184" y="215"/>
                </a:cubicBezTo>
                <a:cubicBezTo>
                  <a:pt x="184" y="215"/>
                  <a:pt x="184" y="215"/>
                  <a:pt x="184" y="215"/>
                </a:cubicBezTo>
                <a:cubicBezTo>
                  <a:pt x="187" y="216"/>
                  <a:pt x="187" y="216"/>
                  <a:pt x="187" y="216"/>
                </a:cubicBezTo>
                <a:cubicBezTo>
                  <a:pt x="188" y="216"/>
                  <a:pt x="188" y="216"/>
                  <a:pt x="188" y="216"/>
                </a:cubicBezTo>
                <a:cubicBezTo>
                  <a:pt x="189" y="216"/>
                  <a:pt x="189" y="216"/>
                  <a:pt x="189" y="216"/>
                </a:cubicBezTo>
                <a:cubicBezTo>
                  <a:pt x="189" y="217"/>
                  <a:pt x="189" y="217"/>
                  <a:pt x="189" y="217"/>
                </a:cubicBezTo>
                <a:cubicBezTo>
                  <a:pt x="190" y="218"/>
                  <a:pt x="190" y="218"/>
                  <a:pt x="190" y="218"/>
                </a:cubicBezTo>
                <a:cubicBezTo>
                  <a:pt x="189" y="219"/>
                  <a:pt x="189" y="219"/>
                  <a:pt x="189" y="219"/>
                </a:cubicBezTo>
                <a:cubicBezTo>
                  <a:pt x="188" y="220"/>
                  <a:pt x="188" y="220"/>
                  <a:pt x="188" y="220"/>
                </a:cubicBezTo>
                <a:cubicBezTo>
                  <a:pt x="188" y="221"/>
                  <a:pt x="188" y="221"/>
                  <a:pt x="188" y="221"/>
                </a:cubicBezTo>
                <a:cubicBezTo>
                  <a:pt x="187" y="221"/>
                  <a:pt x="187" y="221"/>
                  <a:pt x="187" y="221"/>
                </a:cubicBezTo>
                <a:cubicBezTo>
                  <a:pt x="186" y="221"/>
                  <a:pt x="186" y="221"/>
                  <a:pt x="186" y="221"/>
                </a:cubicBezTo>
                <a:cubicBezTo>
                  <a:pt x="183" y="222"/>
                  <a:pt x="183" y="222"/>
                  <a:pt x="183" y="222"/>
                </a:cubicBezTo>
                <a:cubicBezTo>
                  <a:pt x="182" y="222"/>
                  <a:pt x="182" y="222"/>
                  <a:pt x="182" y="222"/>
                </a:cubicBezTo>
                <a:cubicBezTo>
                  <a:pt x="180" y="223"/>
                  <a:pt x="180" y="223"/>
                  <a:pt x="180" y="223"/>
                </a:cubicBezTo>
                <a:cubicBezTo>
                  <a:pt x="180" y="222"/>
                  <a:pt x="180" y="222"/>
                  <a:pt x="180" y="222"/>
                </a:cubicBezTo>
                <a:cubicBezTo>
                  <a:pt x="179" y="221"/>
                  <a:pt x="179" y="221"/>
                  <a:pt x="179" y="221"/>
                </a:cubicBezTo>
                <a:cubicBezTo>
                  <a:pt x="179" y="220"/>
                  <a:pt x="179" y="220"/>
                  <a:pt x="179" y="220"/>
                </a:cubicBezTo>
                <a:cubicBezTo>
                  <a:pt x="179" y="220"/>
                  <a:pt x="179" y="220"/>
                  <a:pt x="179" y="220"/>
                </a:cubicBezTo>
                <a:cubicBezTo>
                  <a:pt x="178" y="220"/>
                  <a:pt x="178" y="220"/>
                  <a:pt x="178" y="220"/>
                </a:cubicBezTo>
                <a:cubicBezTo>
                  <a:pt x="178" y="221"/>
                  <a:pt x="178" y="221"/>
                  <a:pt x="178" y="221"/>
                </a:cubicBezTo>
                <a:cubicBezTo>
                  <a:pt x="178" y="221"/>
                  <a:pt x="178" y="221"/>
                  <a:pt x="178" y="221"/>
                </a:cubicBezTo>
                <a:cubicBezTo>
                  <a:pt x="178" y="222"/>
                  <a:pt x="178" y="222"/>
                  <a:pt x="178" y="222"/>
                </a:cubicBezTo>
                <a:cubicBezTo>
                  <a:pt x="178" y="222"/>
                  <a:pt x="178" y="222"/>
                  <a:pt x="178" y="222"/>
                </a:cubicBezTo>
                <a:cubicBezTo>
                  <a:pt x="177" y="222"/>
                  <a:pt x="177" y="222"/>
                  <a:pt x="177" y="222"/>
                </a:cubicBezTo>
                <a:cubicBezTo>
                  <a:pt x="177" y="222"/>
                  <a:pt x="177" y="222"/>
                  <a:pt x="177" y="222"/>
                </a:cubicBezTo>
                <a:cubicBezTo>
                  <a:pt x="177" y="222"/>
                  <a:pt x="177" y="222"/>
                  <a:pt x="177" y="222"/>
                </a:cubicBezTo>
                <a:cubicBezTo>
                  <a:pt x="176" y="222"/>
                  <a:pt x="176" y="222"/>
                  <a:pt x="176" y="222"/>
                </a:cubicBezTo>
                <a:cubicBezTo>
                  <a:pt x="176" y="223"/>
                  <a:pt x="176" y="223"/>
                  <a:pt x="176" y="223"/>
                </a:cubicBezTo>
                <a:cubicBezTo>
                  <a:pt x="177" y="223"/>
                  <a:pt x="177" y="223"/>
                  <a:pt x="177" y="223"/>
                </a:cubicBezTo>
                <a:cubicBezTo>
                  <a:pt x="177" y="223"/>
                  <a:pt x="177" y="223"/>
                  <a:pt x="177" y="223"/>
                </a:cubicBezTo>
                <a:cubicBezTo>
                  <a:pt x="178" y="224"/>
                  <a:pt x="178" y="224"/>
                  <a:pt x="178" y="224"/>
                </a:cubicBezTo>
                <a:cubicBezTo>
                  <a:pt x="177" y="225"/>
                  <a:pt x="177" y="225"/>
                  <a:pt x="177" y="225"/>
                </a:cubicBezTo>
                <a:cubicBezTo>
                  <a:pt x="177" y="225"/>
                  <a:pt x="177" y="225"/>
                  <a:pt x="177" y="225"/>
                </a:cubicBezTo>
                <a:cubicBezTo>
                  <a:pt x="176" y="225"/>
                  <a:pt x="176" y="225"/>
                  <a:pt x="176" y="225"/>
                </a:cubicBezTo>
                <a:cubicBezTo>
                  <a:pt x="176" y="226"/>
                  <a:pt x="176" y="226"/>
                  <a:pt x="176" y="226"/>
                </a:cubicBezTo>
                <a:cubicBezTo>
                  <a:pt x="175" y="226"/>
                  <a:pt x="175" y="226"/>
                  <a:pt x="175" y="226"/>
                </a:cubicBezTo>
                <a:cubicBezTo>
                  <a:pt x="175" y="227"/>
                  <a:pt x="175" y="227"/>
                  <a:pt x="175" y="227"/>
                </a:cubicBezTo>
                <a:cubicBezTo>
                  <a:pt x="173" y="228"/>
                  <a:pt x="173" y="228"/>
                  <a:pt x="173" y="228"/>
                </a:cubicBezTo>
                <a:cubicBezTo>
                  <a:pt x="171" y="228"/>
                  <a:pt x="171" y="228"/>
                  <a:pt x="171" y="228"/>
                </a:cubicBezTo>
                <a:cubicBezTo>
                  <a:pt x="171" y="228"/>
                  <a:pt x="171" y="228"/>
                  <a:pt x="171" y="228"/>
                </a:cubicBezTo>
                <a:cubicBezTo>
                  <a:pt x="170" y="229"/>
                  <a:pt x="170" y="229"/>
                  <a:pt x="170" y="229"/>
                </a:cubicBezTo>
                <a:cubicBezTo>
                  <a:pt x="169" y="229"/>
                  <a:pt x="169" y="229"/>
                  <a:pt x="169" y="229"/>
                </a:cubicBezTo>
                <a:cubicBezTo>
                  <a:pt x="170" y="230"/>
                  <a:pt x="170" y="230"/>
                  <a:pt x="170" y="230"/>
                </a:cubicBezTo>
                <a:cubicBezTo>
                  <a:pt x="172" y="229"/>
                  <a:pt x="172" y="229"/>
                  <a:pt x="172" y="229"/>
                </a:cubicBezTo>
                <a:cubicBezTo>
                  <a:pt x="173" y="229"/>
                  <a:pt x="173" y="229"/>
                  <a:pt x="173" y="229"/>
                </a:cubicBezTo>
                <a:cubicBezTo>
                  <a:pt x="174" y="228"/>
                  <a:pt x="174" y="228"/>
                  <a:pt x="174" y="228"/>
                </a:cubicBezTo>
                <a:cubicBezTo>
                  <a:pt x="175" y="229"/>
                  <a:pt x="175" y="229"/>
                  <a:pt x="175" y="229"/>
                </a:cubicBezTo>
                <a:cubicBezTo>
                  <a:pt x="175" y="229"/>
                  <a:pt x="175" y="229"/>
                  <a:pt x="175" y="229"/>
                </a:cubicBezTo>
                <a:cubicBezTo>
                  <a:pt x="176" y="230"/>
                  <a:pt x="176" y="230"/>
                  <a:pt x="176" y="230"/>
                </a:cubicBezTo>
                <a:cubicBezTo>
                  <a:pt x="178" y="230"/>
                  <a:pt x="178" y="230"/>
                  <a:pt x="178" y="230"/>
                </a:cubicBezTo>
                <a:cubicBezTo>
                  <a:pt x="179" y="229"/>
                  <a:pt x="179" y="229"/>
                  <a:pt x="179" y="229"/>
                </a:cubicBezTo>
                <a:cubicBezTo>
                  <a:pt x="181" y="229"/>
                  <a:pt x="181" y="229"/>
                  <a:pt x="181" y="229"/>
                </a:cubicBezTo>
                <a:cubicBezTo>
                  <a:pt x="181" y="230"/>
                  <a:pt x="181" y="230"/>
                  <a:pt x="181" y="230"/>
                </a:cubicBezTo>
                <a:cubicBezTo>
                  <a:pt x="183" y="229"/>
                  <a:pt x="183" y="229"/>
                  <a:pt x="183" y="229"/>
                </a:cubicBezTo>
                <a:cubicBezTo>
                  <a:pt x="183" y="229"/>
                  <a:pt x="183" y="229"/>
                  <a:pt x="183" y="229"/>
                </a:cubicBezTo>
                <a:cubicBezTo>
                  <a:pt x="183" y="230"/>
                  <a:pt x="183" y="230"/>
                  <a:pt x="183" y="230"/>
                </a:cubicBezTo>
                <a:cubicBezTo>
                  <a:pt x="184" y="230"/>
                  <a:pt x="184" y="230"/>
                  <a:pt x="184" y="230"/>
                </a:cubicBezTo>
                <a:cubicBezTo>
                  <a:pt x="184" y="231"/>
                  <a:pt x="184" y="231"/>
                  <a:pt x="184" y="231"/>
                </a:cubicBezTo>
                <a:cubicBezTo>
                  <a:pt x="184" y="231"/>
                  <a:pt x="184" y="231"/>
                  <a:pt x="184" y="231"/>
                </a:cubicBezTo>
                <a:cubicBezTo>
                  <a:pt x="183" y="231"/>
                  <a:pt x="183" y="231"/>
                  <a:pt x="183" y="231"/>
                </a:cubicBezTo>
                <a:cubicBezTo>
                  <a:pt x="182" y="231"/>
                  <a:pt x="182" y="231"/>
                  <a:pt x="182" y="231"/>
                </a:cubicBezTo>
                <a:cubicBezTo>
                  <a:pt x="181" y="231"/>
                  <a:pt x="181" y="231"/>
                  <a:pt x="181" y="231"/>
                </a:cubicBezTo>
                <a:cubicBezTo>
                  <a:pt x="180" y="232"/>
                  <a:pt x="180" y="232"/>
                  <a:pt x="180" y="232"/>
                </a:cubicBezTo>
                <a:cubicBezTo>
                  <a:pt x="178" y="232"/>
                  <a:pt x="178" y="232"/>
                  <a:pt x="178" y="232"/>
                </a:cubicBezTo>
                <a:cubicBezTo>
                  <a:pt x="177" y="233"/>
                  <a:pt x="177" y="233"/>
                  <a:pt x="177" y="233"/>
                </a:cubicBezTo>
                <a:cubicBezTo>
                  <a:pt x="177" y="232"/>
                  <a:pt x="177" y="232"/>
                  <a:pt x="177" y="232"/>
                </a:cubicBezTo>
                <a:cubicBezTo>
                  <a:pt x="176" y="232"/>
                  <a:pt x="176" y="232"/>
                  <a:pt x="176" y="232"/>
                </a:cubicBezTo>
                <a:cubicBezTo>
                  <a:pt x="175" y="232"/>
                  <a:pt x="175" y="232"/>
                  <a:pt x="175" y="232"/>
                </a:cubicBezTo>
                <a:cubicBezTo>
                  <a:pt x="174" y="233"/>
                  <a:pt x="174" y="233"/>
                  <a:pt x="174" y="233"/>
                </a:cubicBezTo>
                <a:cubicBezTo>
                  <a:pt x="175" y="233"/>
                  <a:pt x="175" y="233"/>
                  <a:pt x="175" y="233"/>
                </a:cubicBezTo>
                <a:cubicBezTo>
                  <a:pt x="175" y="233"/>
                  <a:pt x="175" y="233"/>
                  <a:pt x="175" y="233"/>
                </a:cubicBezTo>
                <a:cubicBezTo>
                  <a:pt x="176" y="233"/>
                  <a:pt x="176" y="233"/>
                  <a:pt x="176" y="233"/>
                </a:cubicBezTo>
                <a:cubicBezTo>
                  <a:pt x="178" y="233"/>
                  <a:pt x="178" y="233"/>
                  <a:pt x="178" y="233"/>
                </a:cubicBezTo>
                <a:cubicBezTo>
                  <a:pt x="179" y="234"/>
                  <a:pt x="179" y="234"/>
                  <a:pt x="179" y="234"/>
                </a:cubicBezTo>
                <a:cubicBezTo>
                  <a:pt x="179" y="234"/>
                  <a:pt x="179" y="234"/>
                  <a:pt x="179" y="234"/>
                </a:cubicBezTo>
                <a:cubicBezTo>
                  <a:pt x="180" y="234"/>
                  <a:pt x="180" y="234"/>
                  <a:pt x="180" y="234"/>
                </a:cubicBezTo>
                <a:cubicBezTo>
                  <a:pt x="181" y="232"/>
                  <a:pt x="181" y="232"/>
                  <a:pt x="181" y="232"/>
                </a:cubicBezTo>
                <a:cubicBezTo>
                  <a:pt x="181" y="232"/>
                  <a:pt x="182" y="232"/>
                  <a:pt x="182" y="232"/>
                </a:cubicBezTo>
                <a:cubicBezTo>
                  <a:pt x="182" y="232"/>
                  <a:pt x="183" y="232"/>
                  <a:pt x="183" y="232"/>
                </a:cubicBezTo>
                <a:cubicBezTo>
                  <a:pt x="183" y="232"/>
                  <a:pt x="183" y="232"/>
                  <a:pt x="183" y="232"/>
                </a:cubicBezTo>
                <a:cubicBezTo>
                  <a:pt x="184" y="233"/>
                  <a:pt x="184" y="233"/>
                  <a:pt x="184" y="233"/>
                </a:cubicBezTo>
                <a:cubicBezTo>
                  <a:pt x="185" y="232"/>
                  <a:pt x="185" y="232"/>
                  <a:pt x="185" y="232"/>
                </a:cubicBezTo>
                <a:cubicBezTo>
                  <a:pt x="186" y="232"/>
                  <a:pt x="186" y="232"/>
                  <a:pt x="186" y="232"/>
                </a:cubicBezTo>
                <a:cubicBezTo>
                  <a:pt x="187" y="232"/>
                  <a:pt x="187" y="232"/>
                  <a:pt x="187" y="232"/>
                </a:cubicBezTo>
                <a:cubicBezTo>
                  <a:pt x="189" y="231"/>
                  <a:pt x="189" y="231"/>
                  <a:pt x="189" y="231"/>
                </a:cubicBezTo>
                <a:cubicBezTo>
                  <a:pt x="190" y="230"/>
                  <a:pt x="190" y="230"/>
                  <a:pt x="190" y="230"/>
                </a:cubicBezTo>
                <a:cubicBezTo>
                  <a:pt x="190" y="230"/>
                  <a:pt x="190" y="230"/>
                  <a:pt x="190" y="230"/>
                </a:cubicBezTo>
                <a:cubicBezTo>
                  <a:pt x="189" y="231"/>
                  <a:pt x="189" y="231"/>
                  <a:pt x="189" y="231"/>
                </a:cubicBezTo>
                <a:cubicBezTo>
                  <a:pt x="190" y="231"/>
                  <a:pt x="190" y="231"/>
                  <a:pt x="190" y="231"/>
                </a:cubicBezTo>
                <a:cubicBezTo>
                  <a:pt x="191" y="230"/>
                  <a:pt x="191" y="230"/>
                  <a:pt x="191" y="230"/>
                </a:cubicBezTo>
                <a:cubicBezTo>
                  <a:pt x="191" y="230"/>
                  <a:pt x="191" y="230"/>
                  <a:pt x="191" y="230"/>
                </a:cubicBezTo>
                <a:cubicBezTo>
                  <a:pt x="191" y="231"/>
                  <a:pt x="191" y="231"/>
                  <a:pt x="191" y="231"/>
                </a:cubicBezTo>
                <a:cubicBezTo>
                  <a:pt x="193" y="232"/>
                  <a:pt x="193" y="232"/>
                  <a:pt x="193" y="232"/>
                </a:cubicBezTo>
                <a:cubicBezTo>
                  <a:pt x="195" y="233"/>
                  <a:pt x="195" y="233"/>
                  <a:pt x="195" y="233"/>
                </a:cubicBezTo>
                <a:cubicBezTo>
                  <a:pt x="196" y="233"/>
                  <a:pt x="196" y="233"/>
                  <a:pt x="196" y="233"/>
                </a:cubicBezTo>
                <a:cubicBezTo>
                  <a:pt x="198" y="234"/>
                  <a:pt x="198" y="234"/>
                  <a:pt x="198" y="234"/>
                </a:cubicBezTo>
                <a:cubicBezTo>
                  <a:pt x="199" y="234"/>
                  <a:pt x="199" y="234"/>
                  <a:pt x="199" y="234"/>
                </a:cubicBezTo>
                <a:cubicBezTo>
                  <a:pt x="200" y="234"/>
                  <a:pt x="200" y="234"/>
                  <a:pt x="200" y="234"/>
                </a:cubicBezTo>
                <a:cubicBezTo>
                  <a:pt x="201" y="234"/>
                  <a:pt x="201" y="234"/>
                  <a:pt x="201" y="234"/>
                </a:cubicBezTo>
                <a:cubicBezTo>
                  <a:pt x="202" y="234"/>
                  <a:pt x="202" y="234"/>
                  <a:pt x="202" y="234"/>
                </a:cubicBezTo>
                <a:cubicBezTo>
                  <a:pt x="204" y="233"/>
                  <a:pt x="204" y="233"/>
                  <a:pt x="204" y="233"/>
                </a:cubicBezTo>
                <a:cubicBezTo>
                  <a:pt x="204" y="234"/>
                  <a:pt x="204" y="234"/>
                  <a:pt x="204" y="234"/>
                </a:cubicBezTo>
                <a:cubicBezTo>
                  <a:pt x="203" y="235"/>
                  <a:pt x="203" y="235"/>
                  <a:pt x="203" y="235"/>
                </a:cubicBezTo>
                <a:cubicBezTo>
                  <a:pt x="202" y="236"/>
                  <a:pt x="202" y="236"/>
                  <a:pt x="202" y="236"/>
                </a:cubicBezTo>
                <a:cubicBezTo>
                  <a:pt x="201" y="236"/>
                  <a:pt x="201" y="236"/>
                  <a:pt x="201" y="236"/>
                </a:cubicBezTo>
                <a:cubicBezTo>
                  <a:pt x="200" y="236"/>
                  <a:pt x="200" y="236"/>
                  <a:pt x="200" y="236"/>
                </a:cubicBezTo>
                <a:cubicBezTo>
                  <a:pt x="199" y="236"/>
                  <a:pt x="199" y="236"/>
                  <a:pt x="199" y="236"/>
                </a:cubicBezTo>
                <a:cubicBezTo>
                  <a:pt x="199" y="237"/>
                  <a:pt x="199" y="237"/>
                  <a:pt x="199" y="237"/>
                </a:cubicBezTo>
                <a:cubicBezTo>
                  <a:pt x="200" y="237"/>
                  <a:pt x="200" y="237"/>
                  <a:pt x="200" y="237"/>
                </a:cubicBezTo>
                <a:cubicBezTo>
                  <a:pt x="200" y="238"/>
                  <a:pt x="200" y="238"/>
                  <a:pt x="200" y="238"/>
                </a:cubicBezTo>
                <a:cubicBezTo>
                  <a:pt x="200" y="238"/>
                  <a:pt x="200" y="238"/>
                  <a:pt x="200" y="238"/>
                </a:cubicBezTo>
                <a:cubicBezTo>
                  <a:pt x="199" y="238"/>
                  <a:pt x="199" y="238"/>
                  <a:pt x="199" y="238"/>
                </a:cubicBezTo>
                <a:cubicBezTo>
                  <a:pt x="199" y="238"/>
                  <a:pt x="199" y="238"/>
                  <a:pt x="199" y="238"/>
                </a:cubicBezTo>
                <a:cubicBezTo>
                  <a:pt x="198" y="237"/>
                  <a:pt x="198" y="237"/>
                  <a:pt x="198" y="237"/>
                </a:cubicBezTo>
                <a:cubicBezTo>
                  <a:pt x="198" y="238"/>
                  <a:pt x="198" y="238"/>
                  <a:pt x="198" y="238"/>
                </a:cubicBezTo>
                <a:cubicBezTo>
                  <a:pt x="198" y="239"/>
                  <a:pt x="198" y="239"/>
                  <a:pt x="198" y="239"/>
                </a:cubicBezTo>
                <a:cubicBezTo>
                  <a:pt x="197" y="238"/>
                  <a:pt x="197" y="238"/>
                  <a:pt x="197" y="238"/>
                </a:cubicBezTo>
                <a:cubicBezTo>
                  <a:pt x="196" y="238"/>
                  <a:pt x="196" y="238"/>
                  <a:pt x="196" y="238"/>
                </a:cubicBezTo>
                <a:cubicBezTo>
                  <a:pt x="196" y="239"/>
                  <a:pt x="196" y="239"/>
                  <a:pt x="196" y="239"/>
                </a:cubicBezTo>
                <a:cubicBezTo>
                  <a:pt x="196" y="239"/>
                  <a:pt x="196" y="239"/>
                  <a:pt x="196" y="239"/>
                </a:cubicBezTo>
                <a:cubicBezTo>
                  <a:pt x="196" y="239"/>
                  <a:pt x="196" y="239"/>
                  <a:pt x="196" y="239"/>
                </a:cubicBezTo>
                <a:cubicBezTo>
                  <a:pt x="196" y="240"/>
                  <a:pt x="196" y="240"/>
                  <a:pt x="196" y="240"/>
                </a:cubicBezTo>
                <a:cubicBezTo>
                  <a:pt x="195" y="241"/>
                  <a:pt x="195" y="241"/>
                  <a:pt x="195" y="241"/>
                </a:cubicBezTo>
                <a:cubicBezTo>
                  <a:pt x="195" y="241"/>
                  <a:pt x="195" y="241"/>
                  <a:pt x="195" y="241"/>
                </a:cubicBezTo>
                <a:cubicBezTo>
                  <a:pt x="194" y="240"/>
                  <a:pt x="194" y="240"/>
                  <a:pt x="194" y="240"/>
                </a:cubicBezTo>
                <a:cubicBezTo>
                  <a:pt x="194" y="240"/>
                  <a:pt x="194" y="240"/>
                  <a:pt x="194" y="240"/>
                </a:cubicBezTo>
                <a:cubicBezTo>
                  <a:pt x="193" y="240"/>
                  <a:pt x="193" y="240"/>
                  <a:pt x="193" y="240"/>
                </a:cubicBezTo>
                <a:cubicBezTo>
                  <a:pt x="194" y="241"/>
                  <a:pt x="194" y="241"/>
                  <a:pt x="194" y="241"/>
                </a:cubicBezTo>
                <a:cubicBezTo>
                  <a:pt x="194" y="242"/>
                  <a:pt x="194" y="242"/>
                  <a:pt x="194" y="242"/>
                </a:cubicBezTo>
                <a:cubicBezTo>
                  <a:pt x="193" y="242"/>
                  <a:pt x="193" y="242"/>
                  <a:pt x="193" y="242"/>
                </a:cubicBezTo>
                <a:cubicBezTo>
                  <a:pt x="192" y="242"/>
                  <a:pt x="192" y="242"/>
                  <a:pt x="192" y="242"/>
                </a:cubicBezTo>
                <a:cubicBezTo>
                  <a:pt x="192" y="243"/>
                  <a:pt x="192" y="243"/>
                  <a:pt x="192" y="243"/>
                </a:cubicBezTo>
                <a:cubicBezTo>
                  <a:pt x="191" y="242"/>
                  <a:pt x="191" y="242"/>
                  <a:pt x="191" y="242"/>
                </a:cubicBezTo>
                <a:cubicBezTo>
                  <a:pt x="191" y="242"/>
                  <a:pt x="191" y="242"/>
                  <a:pt x="191" y="242"/>
                </a:cubicBezTo>
                <a:cubicBezTo>
                  <a:pt x="190" y="242"/>
                  <a:pt x="190" y="242"/>
                  <a:pt x="190" y="242"/>
                </a:cubicBezTo>
                <a:cubicBezTo>
                  <a:pt x="190" y="243"/>
                  <a:pt x="190" y="243"/>
                  <a:pt x="190" y="243"/>
                </a:cubicBezTo>
                <a:cubicBezTo>
                  <a:pt x="191" y="243"/>
                  <a:pt x="191" y="243"/>
                  <a:pt x="191" y="243"/>
                </a:cubicBezTo>
                <a:cubicBezTo>
                  <a:pt x="190" y="244"/>
                  <a:pt x="190" y="244"/>
                  <a:pt x="190" y="244"/>
                </a:cubicBezTo>
                <a:cubicBezTo>
                  <a:pt x="189" y="244"/>
                  <a:pt x="189" y="244"/>
                  <a:pt x="189" y="244"/>
                </a:cubicBezTo>
                <a:cubicBezTo>
                  <a:pt x="189" y="243"/>
                  <a:pt x="189" y="243"/>
                  <a:pt x="189" y="243"/>
                </a:cubicBezTo>
                <a:cubicBezTo>
                  <a:pt x="188" y="244"/>
                  <a:pt x="188" y="244"/>
                  <a:pt x="188" y="244"/>
                </a:cubicBezTo>
                <a:cubicBezTo>
                  <a:pt x="188" y="244"/>
                  <a:pt x="188" y="244"/>
                  <a:pt x="188" y="244"/>
                </a:cubicBezTo>
                <a:cubicBezTo>
                  <a:pt x="189" y="245"/>
                  <a:pt x="189" y="245"/>
                  <a:pt x="189" y="245"/>
                </a:cubicBezTo>
                <a:cubicBezTo>
                  <a:pt x="189" y="246"/>
                  <a:pt x="189" y="246"/>
                  <a:pt x="189" y="246"/>
                </a:cubicBezTo>
                <a:cubicBezTo>
                  <a:pt x="187" y="246"/>
                  <a:pt x="187" y="246"/>
                  <a:pt x="187" y="246"/>
                </a:cubicBezTo>
                <a:cubicBezTo>
                  <a:pt x="187" y="246"/>
                  <a:pt x="187" y="246"/>
                  <a:pt x="187" y="246"/>
                </a:cubicBezTo>
                <a:cubicBezTo>
                  <a:pt x="187" y="246"/>
                  <a:pt x="187" y="246"/>
                  <a:pt x="187" y="246"/>
                </a:cubicBezTo>
                <a:cubicBezTo>
                  <a:pt x="186" y="245"/>
                  <a:pt x="186" y="245"/>
                  <a:pt x="186" y="245"/>
                </a:cubicBezTo>
                <a:cubicBezTo>
                  <a:pt x="185" y="245"/>
                  <a:pt x="185" y="245"/>
                  <a:pt x="185" y="245"/>
                </a:cubicBezTo>
                <a:cubicBezTo>
                  <a:pt x="185" y="246"/>
                  <a:pt x="185" y="246"/>
                  <a:pt x="185" y="246"/>
                </a:cubicBezTo>
                <a:cubicBezTo>
                  <a:pt x="186" y="247"/>
                  <a:pt x="186" y="247"/>
                  <a:pt x="186" y="247"/>
                </a:cubicBezTo>
                <a:cubicBezTo>
                  <a:pt x="186" y="247"/>
                  <a:pt x="186" y="247"/>
                  <a:pt x="186" y="247"/>
                </a:cubicBezTo>
                <a:cubicBezTo>
                  <a:pt x="185" y="248"/>
                  <a:pt x="185" y="248"/>
                  <a:pt x="185" y="248"/>
                </a:cubicBezTo>
                <a:cubicBezTo>
                  <a:pt x="184" y="248"/>
                  <a:pt x="184" y="248"/>
                  <a:pt x="184" y="248"/>
                </a:cubicBezTo>
                <a:cubicBezTo>
                  <a:pt x="184" y="248"/>
                  <a:pt x="184" y="248"/>
                  <a:pt x="184" y="248"/>
                </a:cubicBezTo>
                <a:cubicBezTo>
                  <a:pt x="182" y="249"/>
                  <a:pt x="182" y="249"/>
                  <a:pt x="182" y="249"/>
                </a:cubicBezTo>
                <a:cubicBezTo>
                  <a:pt x="182" y="249"/>
                  <a:pt x="182" y="249"/>
                  <a:pt x="182" y="249"/>
                </a:cubicBezTo>
                <a:cubicBezTo>
                  <a:pt x="181" y="250"/>
                  <a:pt x="181" y="250"/>
                  <a:pt x="181" y="250"/>
                </a:cubicBezTo>
                <a:cubicBezTo>
                  <a:pt x="181" y="250"/>
                  <a:pt x="181" y="250"/>
                  <a:pt x="181" y="250"/>
                </a:cubicBezTo>
                <a:cubicBezTo>
                  <a:pt x="180" y="249"/>
                  <a:pt x="180" y="249"/>
                  <a:pt x="180" y="249"/>
                </a:cubicBezTo>
                <a:cubicBezTo>
                  <a:pt x="180" y="249"/>
                  <a:pt x="180" y="249"/>
                  <a:pt x="180" y="249"/>
                </a:cubicBezTo>
                <a:cubicBezTo>
                  <a:pt x="179" y="250"/>
                  <a:pt x="179" y="250"/>
                  <a:pt x="179" y="250"/>
                </a:cubicBezTo>
                <a:cubicBezTo>
                  <a:pt x="178" y="250"/>
                  <a:pt x="178" y="250"/>
                  <a:pt x="178" y="250"/>
                </a:cubicBezTo>
                <a:cubicBezTo>
                  <a:pt x="177" y="250"/>
                  <a:pt x="177" y="250"/>
                  <a:pt x="177" y="250"/>
                </a:cubicBezTo>
                <a:cubicBezTo>
                  <a:pt x="177" y="251"/>
                  <a:pt x="177" y="251"/>
                  <a:pt x="177" y="251"/>
                </a:cubicBezTo>
                <a:cubicBezTo>
                  <a:pt x="176" y="251"/>
                  <a:pt x="176" y="251"/>
                  <a:pt x="176" y="251"/>
                </a:cubicBezTo>
                <a:cubicBezTo>
                  <a:pt x="176" y="251"/>
                  <a:pt x="176" y="251"/>
                  <a:pt x="176" y="251"/>
                </a:cubicBezTo>
                <a:cubicBezTo>
                  <a:pt x="175" y="250"/>
                  <a:pt x="175" y="250"/>
                  <a:pt x="175" y="250"/>
                </a:cubicBezTo>
                <a:cubicBezTo>
                  <a:pt x="175" y="250"/>
                  <a:pt x="175" y="250"/>
                  <a:pt x="175" y="250"/>
                </a:cubicBezTo>
                <a:cubicBezTo>
                  <a:pt x="174" y="252"/>
                  <a:pt x="174" y="252"/>
                  <a:pt x="174" y="252"/>
                </a:cubicBezTo>
                <a:cubicBezTo>
                  <a:pt x="174" y="251"/>
                  <a:pt x="174" y="251"/>
                  <a:pt x="174" y="251"/>
                </a:cubicBezTo>
                <a:cubicBezTo>
                  <a:pt x="173" y="251"/>
                  <a:pt x="173" y="251"/>
                  <a:pt x="173" y="251"/>
                </a:cubicBezTo>
                <a:cubicBezTo>
                  <a:pt x="173" y="251"/>
                  <a:pt x="173" y="251"/>
                  <a:pt x="173" y="251"/>
                </a:cubicBezTo>
                <a:cubicBezTo>
                  <a:pt x="173" y="251"/>
                  <a:pt x="173" y="251"/>
                  <a:pt x="173" y="251"/>
                </a:cubicBezTo>
                <a:cubicBezTo>
                  <a:pt x="172" y="252"/>
                  <a:pt x="172" y="252"/>
                  <a:pt x="172" y="252"/>
                </a:cubicBezTo>
                <a:cubicBezTo>
                  <a:pt x="171" y="252"/>
                  <a:pt x="171" y="252"/>
                  <a:pt x="171" y="252"/>
                </a:cubicBezTo>
                <a:cubicBezTo>
                  <a:pt x="171" y="251"/>
                  <a:pt x="171" y="251"/>
                  <a:pt x="171" y="251"/>
                </a:cubicBezTo>
                <a:cubicBezTo>
                  <a:pt x="171" y="251"/>
                  <a:pt x="171" y="251"/>
                  <a:pt x="171" y="251"/>
                </a:cubicBezTo>
                <a:cubicBezTo>
                  <a:pt x="171" y="252"/>
                  <a:pt x="171" y="252"/>
                  <a:pt x="171" y="252"/>
                </a:cubicBezTo>
                <a:cubicBezTo>
                  <a:pt x="171" y="252"/>
                  <a:pt x="171" y="252"/>
                  <a:pt x="171" y="252"/>
                </a:cubicBezTo>
                <a:cubicBezTo>
                  <a:pt x="170" y="252"/>
                  <a:pt x="170" y="252"/>
                  <a:pt x="170" y="252"/>
                </a:cubicBezTo>
                <a:cubicBezTo>
                  <a:pt x="169" y="252"/>
                  <a:pt x="169" y="252"/>
                  <a:pt x="169" y="252"/>
                </a:cubicBezTo>
                <a:cubicBezTo>
                  <a:pt x="169" y="253"/>
                  <a:pt x="169" y="253"/>
                  <a:pt x="169" y="253"/>
                </a:cubicBezTo>
                <a:cubicBezTo>
                  <a:pt x="169" y="253"/>
                  <a:pt x="169" y="253"/>
                  <a:pt x="169" y="253"/>
                </a:cubicBezTo>
                <a:cubicBezTo>
                  <a:pt x="168" y="253"/>
                  <a:pt x="168" y="253"/>
                  <a:pt x="168" y="253"/>
                </a:cubicBezTo>
                <a:cubicBezTo>
                  <a:pt x="168" y="253"/>
                  <a:pt x="168" y="253"/>
                  <a:pt x="168" y="253"/>
                </a:cubicBezTo>
                <a:cubicBezTo>
                  <a:pt x="167" y="253"/>
                  <a:pt x="167" y="253"/>
                  <a:pt x="167" y="253"/>
                </a:cubicBezTo>
                <a:cubicBezTo>
                  <a:pt x="167" y="254"/>
                  <a:pt x="167" y="254"/>
                  <a:pt x="167" y="254"/>
                </a:cubicBezTo>
                <a:cubicBezTo>
                  <a:pt x="167" y="254"/>
                  <a:pt x="167" y="254"/>
                  <a:pt x="167" y="254"/>
                </a:cubicBezTo>
                <a:cubicBezTo>
                  <a:pt x="166" y="253"/>
                  <a:pt x="166" y="253"/>
                  <a:pt x="166" y="253"/>
                </a:cubicBezTo>
                <a:cubicBezTo>
                  <a:pt x="166" y="253"/>
                  <a:pt x="166" y="253"/>
                  <a:pt x="166" y="253"/>
                </a:cubicBezTo>
                <a:cubicBezTo>
                  <a:pt x="166" y="254"/>
                  <a:pt x="166" y="254"/>
                  <a:pt x="166" y="254"/>
                </a:cubicBezTo>
                <a:cubicBezTo>
                  <a:pt x="165" y="255"/>
                  <a:pt x="165" y="255"/>
                  <a:pt x="165" y="255"/>
                </a:cubicBezTo>
                <a:cubicBezTo>
                  <a:pt x="165" y="255"/>
                  <a:pt x="165" y="255"/>
                  <a:pt x="165" y="255"/>
                </a:cubicBezTo>
                <a:cubicBezTo>
                  <a:pt x="164" y="255"/>
                  <a:pt x="164" y="255"/>
                  <a:pt x="164" y="255"/>
                </a:cubicBezTo>
                <a:cubicBezTo>
                  <a:pt x="164" y="255"/>
                  <a:pt x="164" y="255"/>
                  <a:pt x="164" y="255"/>
                </a:cubicBezTo>
                <a:cubicBezTo>
                  <a:pt x="163" y="253"/>
                  <a:pt x="163" y="253"/>
                  <a:pt x="163" y="253"/>
                </a:cubicBezTo>
                <a:cubicBezTo>
                  <a:pt x="162" y="253"/>
                  <a:pt x="162" y="253"/>
                  <a:pt x="162" y="253"/>
                </a:cubicBezTo>
                <a:cubicBezTo>
                  <a:pt x="161" y="253"/>
                  <a:pt x="161" y="253"/>
                  <a:pt x="161" y="253"/>
                </a:cubicBezTo>
                <a:cubicBezTo>
                  <a:pt x="161" y="254"/>
                  <a:pt x="161" y="254"/>
                  <a:pt x="161" y="254"/>
                </a:cubicBezTo>
                <a:cubicBezTo>
                  <a:pt x="161" y="254"/>
                  <a:pt x="161" y="254"/>
                  <a:pt x="161" y="254"/>
                </a:cubicBezTo>
                <a:cubicBezTo>
                  <a:pt x="161" y="255"/>
                  <a:pt x="161" y="255"/>
                  <a:pt x="161" y="255"/>
                </a:cubicBezTo>
                <a:cubicBezTo>
                  <a:pt x="160" y="255"/>
                  <a:pt x="160" y="255"/>
                  <a:pt x="160" y="255"/>
                </a:cubicBezTo>
                <a:cubicBezTo>
                  <a:pt x="159" y="255"/>
                  <a:pt x="159" y="255"/>
                  <a:pt x="159" y="255"/>
                </a:cubicBezTo>
                <a:cubicBezTo>
                  <a:pt x="159" y="255"/>
                  <a:pt x="159" y="255"/>
                  <a:pt x="159" y="255"/>
                </a:cubicBezTo>
                <a:cubicBezTo>
                  <a:pt x="158" y="255"/>
                  <a:pt x="158" y="255"/>
                  <a:pt x="158" y="255"/>
                </a:cubicBezTo>
                <a:cubicBezTo>
                  <a:pt x="157" y="256"/>
                  <a:pt x="157" y="256"/>
                  <a:pt x="157" y="256"/>
                </a:cubicBezTo>
                <a:cubicBezTo>
                  <a:pt x="157" y="255"/>
                  <a:pt x="157" y="255"/>
                  <a:pt x="157" y="255"/>
                </a:cubicBezTo>
                <a:cubicBezTo>
                  <a:pt x="156" y="255"/>
                  <a:pt x="156" y="255"/>
                  <a:pt x="156" y="255"/>
                </a:cubicBezTo>
                <a:cubicBezTo>
                  <a:pt x="155" y="255"/>
                  <a:pt x="155" y="255"/>
                  <a:pt x="155" y="255"/>
                </a:cubicBezTo>
                <a:cubicBezTo>
                  <a:pt x="155" y="255"/>
                  <a:pt x="155" y="255"/>
                  <a:pt x="155" y="255"/>
                </a:cubicBezTo>
                <a:cubicBezTo>
                  <a:pt x="155" y="256"/>
                  <a:pt x="155" y="256"/>
                  <a:pt x="155" y="256"/>
                </a:cubicBezTo>
                <a:cubicBezTo>
                  <a:pt x="154" y="256"/>
                  <a:pt x="154" y="256"/>
                  <a:pt x="154" y="256"/>
                </a:cubicBezTo>
                <a:cubicBezTo>
                  <a:pt x="153" y="255"/>
                  <a:pt x="153" y="255"/>
                  <a:pt x="153" y="255"/>
                </a:cubicBezTo>
                <a:cubicBezTo>
                  <a:pt x="153" y="254"/>
                  <a:pt x="153" y="254"/>
                  <a:pt x="153" y="254"/>
                </a:cubicBezTo>
                <a:cubicBezTo>
                  <a:pt x="153" y="253"/>
                  <a:pt x="153" y="253"/>
                  <a:pt x="153" y="253"/>
                </a:cubicBezTo>
                <a:cubicBezTo>
                  <a:pt x="153" y="253"/>
                  <a:pt x="153" y="253"/>
                  <a:pt x="153" y="253"/>
                </a:cubicBezTo>
                <a:cubicBezTo>
                  <a:pt x="152" y="253"/>
                  <a:pt x="152" y="253"/>
                  <a:pt x="152" y="253"/>
                </a:cubicBezTo>
                <a:cubicBezTo>
                  <a:pt x="151" y="251"/>
                  <a:pt x="151" y="251"/>
                  <a:pt x="151" y="251"/>
                </a:cubicBezTo>
                <a:cubicBezTo>
                  <a:pt x="151" y="250"/>
                  <a:pt x="151" y="250"/>
                  <a:pt x="151" y="250"/>
                </a:cubicBezTo>
                <a:cubicBezTo>
                  <a:pt x="151" y="250"/>
                  <a:pt x="151" y="250"/>
                  <a:pt x="151" y="250"/>
                </a:cubicBezTo>
                <a:cubicBezTo>
                  <a:pt x="151" y="248"/>
                  <a:pt x="151" y="248"/>
                  <a:pt x="151" y="248"/>
                </a:cubicBezTo>
                <a:cubicBezTo>
                  <a:pt x="150" y="248"/>
                  <a:pt x="150" y="248"/>
                  <a:pt x="150" y="248"/>
                </a:cubicBezTo>
                <a:cubicBezTo>
                  <a:pt x="150" y="248"/>
                  <a:pt x="150" y="248"/>
                  <a:pt x="150" y="248"/>
                </a:cubicBezTo>
                <a:cubicBezTo>
                  <a:pt x="150" y="249"/>
                  <a:pt x="150" y="249"/>
                  <a:pt x="150" y="249"/>
                </a:cubicBezTo>
                <a:cubicBezTo>
                  <a:pt x="150" y="250"/>
                  <a:pt x="150" y="250"/>
                  <a:pt x="150" y="250"/>
                </a:cubicBezTo>
                <a:cubicBezTo>
                  <a:pt x="150" y="251"/>
                  <a:pt x="150" y="251"/>
                  <a:pt x="150" y="251"/>
                </a:cubicBezTo>
                <a:cubicBezTo>
                  <a:pt x="151" y="251"/>
                  <a:pt x="151" y="251"/>
                  <a:pt x="151" y="251"/>
                </a:cubicBezTo>
                <a:cubicBezTo>
                  <a:pt x="151" y="252"/>
                  <a:pt x="151" y="252"/>
                  <a:pt x="151" y="252"/>
                </a:cubicBezTo>
                <a:cubicBezTo>
                  <a:pt x="151" y="253"/>
                  <a:pt x="151" y="253"/>
                  <a:pt x="151" y="253"/>
                </a:cubicBezTo>
                <a:cubicBezTo>
                  <a:pt x="151" y="254"/>
                  <a:pt x="151" y="254"/>
                  <a:pt x="151" y="254"/>
                </a:cubicBezTo>
                <a:cubicBezTo>
                  <a:pt x="151" y="254"/>
                  <a:pt x="151" y="254"/>
                  <a:pt x="151" y="254"/>
                </a:cubicBezTo>
                <a:cubicBezTo>
                  <a:pt x="152" y="254"/>
                  <a:pt x="152" y="254"/>
                  <a:pt x="152" y="254"/>
                </a:cubicBezTo>
                <a:cubicBezTo>
                  <a:pt x="152" y="256"/>
                  <a:pt x="152" y="256"/>
                  <a:pt x="152" y="256"/>
                </a:cubicBezTo>
                <a:cubicBezTo>
                  <a:pt x="152" y="257"/>
                  <a:pt x="152" y="257"/>
                  <a:pt x="152" y="257"/>
                </a:cubicBezTo>
                <a:cubicBezTo>
                  <a:pt x="151" y="258"/>
                  <a:pt x="151" y="258"/>
                  <a:pt x="151" y="258"/>
                </a:cubicBezTo>
                <a:cubicBezTo>
                  <a:pt x="150" y="258"/>
                  <a:pt x="150" y="258"/>
                  <a:pt x="150" y="258"/>
                </a:cubicBezTo>
                <a:cubicBezTo>
                  <a:pt x="150" y="258"/>
                  <a:pt x="150" y="258"/>
                  <a:pt x="150" y="258"/>
                </a:cubicBezTo>
                <a:cubicBezTo>
                  <a:pt x="149" y="258"/>
                  <a:pt x="149" y="258"/>
                  <a:pt x="149" y="258"/>
                </a:cubicBezTo>
                <a:cubicBezTo>
                  <a:pt x="149" y="258"/>
                  <a:pt x="149" y="258"/>
                  <a:pt x="149" y="258"/>
                </a:cubicBezTo>
                <a:cubicBezTo>
                  <a:pt x="148" y="260"/>
                  <a:pt x="148" y="260"/>
                  <a:pt x="148" y="260"/>
                </a:cubicBezTo>
                <a:cubicBezTo>
                  <a:pt x="147" y="260"/>
                  <a:pt x="147" y="260"/>
                  <a:pt x="147" y="260"/>
                </a:cubicBezTo>
                <a:cubicBezTo>
                  <a:pt x="146" y="260"/>
                  <a:pt x="146" y="260"/>
                  <a:pt x="146" y="260"/>
                </a:cubicBezTo>
                <a:cubicBezTo>
                  <a:pt x="146" y="260"/>
                  <a:pt x="146" y="260"/>
                  <a:pt x="146" y="260"/>
                </a:cubicBezTo>
                <a:cubicBezTo>
                  <a:pt x="146" y="260"/>
                  <a:pt x="146" y="260"/>
                  <a:pt x="146" y="260"/>
                </a:cubicBezTo>
                <a:cubicBezTo>
                  <a:pt x="146" y="261"/>
                  <a:pt x="146" y="261"/>
                  <a:pt x="146" y="261"/>
                </a:cubicBezTo>
                <a:cubicBezTo>
                  <a:pt x="145" y="262"/>
                  <a:pt x="145" y="262"/>
                  <a:pt x="145" y="262"/>
                </a:cubicBezTo>
                <a:cubicBezTo>
                  <a:pt x="145" y="262"/>
                  <a:pt x="145" y="262"/>
                  <a:pt x="145" y="262"/>
                </a:cubicBezTo>
                <a:cubicBezTo>
                  <a:pt x="144" y="262"/>
                  <a:pt x="144" y="262"/>
                  <a:pt x="144" y="262"/>
                </a:cubicBezTo>
                <a:cubicBezTo>
                  <a:pt x="144" y="263"/>
                  <a:pt x="144" y="263"/>
                  <a:pt x="144" y="263"/>
                </a:cubicBezTo>
                <a:cubicBezTo>
                  <a:pt x="144" y="264"/>
                  <a:pt x="144" y="264"/>
                  <a:pt x="144" y="264"/>
                </a:cubicBezTo>
                <a:cubicBezTo>
                  <a:pt x="144" y="263"/>
                  <a:pt x="144" y="263"/>
                  <a:pt x="144" y="263"/>
                </a:cubicBezTo>
                <a:cubicBezTo>
                  <a:pt x="143" y="263"/>
                  <a:pt x="143" y="263"/>
                  <a:pt x="143" y="263"/>
                </a:cubicBezTo>
                <a:cubicBezTo>
                  <a:pt x="144" y="263"/>
                  <a:pt x="144" y="263"/>
                  <a:pt x="144" y="263"/>
                </a:cubicBezTo>
                <a:cubicBezTo>
                  <a:pt x="144" y="264"/>
                  <a:pt x="144" y="264"/>
                  <a:pt x="144" y="264"/>
                </a:cubicBezTo>
                <a:cubicBezTo>
                  <a:pt x="144" y="265"/>
                  <a:pt x="144" y="265"/>
                  <a:pt x="144" y="265"/>
                </a:cubicBezTo>
                <a:cubicBezTo>
                  <a:pt x="143" y="265"/>
                  <a:pt x="143" y="265"/>
                  <a:pt x="143" y="265"/>
                </a:cubicBezTo>
                <a:cubicBezTo>
                  <a:pt x="143" y="264"/>
                  <a:pt x="143" y="264"/>
                  <a:pt x="143" y="264"/>
                </a:cubicBezTo>
                <a:cubicBezTo>
                  <a:pt x="142" y="264"/>
                  <a:pt x="142" y="264"/>
                  <a:pt x="142" y="264"/>
                </a:cubicBezTo>
                <a:cubicBezTo>
                  <a:pt x="142" y="265"/>
                  <a:pt x="142" y="265"/>
                  <a:pt x="142" y="265"/>
                </a:cubicBezTo>
                <a:cubicBezTo>
                  <a:pt x="142" y="265"/>
                  <a:pt x="142" y="265"/>
                  <a:pt x="142" y="265"/>
                </a:cubicBezTo>
                <a:cubicBezTo>
                  <a:pt x="142" y="266"/>
                  <a:pt x="142" y="266"/>
                  <a:pt x="142" y="266"/>
                </a:cubicBezTo>
                <a:cubicBezTo>
                  <a:pt x="142" y="266"/>
                  <a:pt x="142" y="266"/>
                  <a:pt x="142" y="266"/>
                </a:cubicBezTo>
                <a:cubicBezTo>
                  <a:pt x="141" y="267"/>
                  <a:pt x="141" y="267"/>
                  <a:pt x="141" y="267"/>
                </a:cubicBezTo>
                <a:cubicBezTo>
                  <a:pt x="139" y="268"/>
                  <a:pt x="139" y="268"/>
                  <a:pt x="139" y="268"/>
                </a:cubicBezTo>
                <a:cubicBezTo>
                  <a:pt x="139" y="269"/>
                  <a:pt x="139" y="269"/>
                  <a:pt x="139" y="269"/>
                </a:cubicBezTo>
                <a:cubicBezTo>
                  <a:pt x="139" y="270"/>
                  <a:pt x="139" y="270"/>
                  <a:pt x="139" y="270"/>
                </a:cubicBezTo>
                <a:cubicBezTo>
                  <a:pt x="139" y="271"/>
                  <a:pt x="139" y="271"/>
                  <a:pt x="139" y="271"/>
                </a:cubicBezTo>
                <a:cubicBezTo>
                  <a:pt x="138" y="272"/>
                  <a:pt x="138" y="272"/>
                  <a:pt x="138" y="272"/>
                </a:cubicBezTo>
                <a:cubicBezTo>
                  <a:pt x="138" y="272"/>
                  <a:pt x="138" y="272"/>
                  <a:pt x="138" y="272"/>
                </a:cubicBezTo>
                <a:cubicBezTo>
                  <a:pt x="137" y="272"/>
                  <a:pt x="137" y="272"/>
                  <a:pt x="137" y="272"/>
                </a:cubicBezTo>
                <a:cubicBezTo>
                  <a:pt x="137" y="271"/>
                  <a:pt x="137" y="271"/>
                  <a:pt x="137" y="271"/>
                </a:cubicBezTo>
                <a:cubicBezTo>
                  <a:pt x="137" y="271"/>
                  <a:pt x="137" y="271"/>
                  <a:pt x="137" y="271"/>
                </a:cubicBezTo>
                <a:cubicBezTo>
                  <a:pt x="137" y="271"/>
                  <a:pt x="137" y="271"/>
                  <a:pt x="137" y="271"/>
                </a:cubicBezTo>
                <a:cubicBezTo>
                  <a:pt x="136" y="272"/>
                  <a:pt x="136" y="272"/>
                  <a:pt x="136" y="272"/>
                </a:cubicBezTo>
                <a:cubicBezTo>
                  <a:pt x="136" y="272"/>
                  <a:pt x="136" y="272"/>
                  <a:pt x="136" y="272"/>
                </a:cubicBezTo>
                <a:cubicBezTo>
                  <a:pt x="136" y="273"/>
                  <a:pt x="136" y="273"/>
                  <a:pt x="136" y="273"/>
                </a:cubicBezTo>
                <a:cubicBezTo>
                  <a:pt x="136" y="273"/>
                  <a:pt x="136" y="273"/>
                  <a:pt x="136" y="273"/>
                </a:cubicBezTo>
                <a:cubicBezTo>
                  <a:pt x="134" y="275"/>
                  <a:pt x="134" y="275"/>
                  <a:pt x="134" y="275"/>
                </a:cubicBezTo>
                <a:cubicBezTo>
                  <a:pt x="134" y="275"/>
                  <a:pt x="134" y="275"/>
                  <a:pt x="134" y="275"/>
                </a:cubicBezTo>
                <a:cubicBezTo>
                  <a:pt x="133" y="275"/>
                  <a:pt x="133" y="275"/>
                  <a:pt x="133" y="275"/>
                </a:cubicBezTo>
                <a:cubicBezTo>
                  <a:pt x="133" y="274"/>
                  <a:pt x="133" y="274"/>
                  <a:pt x="133" y="274"/>
                </a:cubicBezTo>
                <a:cubicBezTo>
                  <a:pt x="133" y="274"/>
                  <a:pt x="133" y="274"/>
                  <a:pt x="133" y="274"/>
                </a:cubicBezTo>
                <a:cubicBezTo>
                  <a:pt x="132" y="274"/>
                  <a:pt x="132" y="274"/>
                  <a:pt x="132" y="274"/>
                </a:cubicBezTo>
                <a:cubicBezTo>
                  <a:pt x="132" y="274"/>
                  <a:pt x="132" y="274"/>
                  <a:pt x="132" y="274"/>
                </a:cubicBezTo>
                <a:cubicBezTo>
                  <a:pt x="132" y="274"/>
                  <a:pt x="132" y="274"/>
                  <a:pt x="132" y="274"/>
                </a:cubicBezTo>
                <a:cubicBezTo>
                  <a:pt x="131" y="274"/>
                  <a:pt x="131" y="274"/>
                  <a:pt x="131" y="274"/>
                </a:cubicBezTo>
                <a:cubicBezTo>
                  <a:pt x="130" y="273"/>
                  <a:pt x="130" y="273"/>
                  <a:pt x="130" y="273"/>
                </a:cubicBezTo>
                <a:cubicBezTo>
                  <a:pt x="130" y="273"/>
                  <a:pt x="130" y="273"/>
                  <a:pt x="130" y="273"/>
                </a:cubicBezTo>
                <a:cubicBezTo>
                  <a:pt x="130" y="273"/>
                  <a:pt x="130" y="273"/>
                  <a:pt x="130" y="273"/>
                </a:cubicBezTo>
                <a:cubicBezTo>
                  <a:pt x="130" y="274"/>
                  <a:pt x="130" y="274"/>
                  <a:pt x="130" y="274"/>
                </a:cubicBezTo>
                <a:cubicBezTo>
                  <a:pt x="131" y="274"/>
                  <a:pt x="131" y="274"/>
                  <a:pt x="131" y="274"/>
                </a:cubicBezTo>
                <a:cubicBezTo>
                  <a:pt x="131" y="275"/>
                  <a:pt x="131" y="275"/>
                  <a:pt x="131" y="275"/>
                </a:cubicBezTo>
                <a:cubicBezTo>
                  <a:pt x="131" y="276"/>
                  <a:pt x="131" y="276"/>
                  <a:pt x="131" y="276"/>
                </a:cubicBezTo>
                <a:cubicBezTo>
                  <a:pt x="130" y="276"/>
                  <a:pt x="130" y="276"/>
                  <a:pt x="130" y="276"/>
                </a:cubicBezTo>
                <a:cubicBezTo>
                  <a:pt x="130" y="276"/>
                  <a:pt x="130" y="276"/>
                  <a:pt x="130" y="276"/>
                </a:cubicBezTo>
                <a:cubicBezTo>
                  <a:pt x="128" y="277"/>
                  <a:pt x="128" y="277"/>
                  <a:pt x="128" y="277"/>
                </a:cubicBezTo>
                <a:cubicBezTo>
                  <a:pt x="127" y="278"/>
                  <a:pt x="127" y="278"/>
                  <a:pt x="127" y="278"/>
                </a:cubicBezTo>
                <a:cubicBezTo>
                  <a:pt x="127" y="279"/>
                  <a:pt x="127" y="279"/>
                  <a:pt x="127" y="279"/>
                </a:cubicBezTo>
                <a:cubicBezTo>
                  <a:pt x="126" y="278"/>
                  <a:pt x="126" y="278"/>
                  <a:pt x="126" y="278"/>
                </a:cubicBezTo>
                <a:cubicBezTo>
                  <a:pt x="126" y="278"/>
                  <a:pt x="126" y="278"/>
                  <a:pt x="126" y="278"/>
                </a:cubicBezTo>
                <a:cubicBezTo>
                  <a:pt x="126" y="277"/>
                  <a:pt x="126" y="277"/>
                  <a:pt x="126" y="277"/>
                </a:cubicBezTo>
                <a:cubicBezTo>
                  <a:pt x="126" y="277"/>
                  <a:pt x="126" y="277"/>
                  <a:pt x="126" y="277"/>
                </a:cubicBezTo>
                <a:cubicBezTo>
                  <a:pt x="126" y="277"/>
                  <a:pt x="126" y="277"/>
                  <a:pt x="126" y="277"/>
                </a:cubicBezTo>
                <a:cubicBezTo>
                  <a:pt x="125" y="277"/>
                  <a:pt x="125" y="277"/>
                  <a:pt x="125" y="277"/>
                </a:cubicBezTo>
                <a:cubicBezTo>
                  <a:pt x="125" y="278"/>
                  <a:pt x="125" y="278"/>
                  <a:pt x="125" y="278"/>
                </a:cubicBezTo>
                <a:cubicBezTo>
                  <a:pt x="125" y="279"/>
                  <a:pt x="125" y="279"/>
                  <a:pt x="125" y="279"/>
                </a:cubicBezTo>
                <a:cubicBezTo>
                  <a:pt x="124" y="279"/>
                  <a:pt x="124" y="279"/>
                  <a:pt x="124" y="279"/>
                </a:cubicBezTo>
                <a:cubicBezTo>
                  <a:pt x="123" y="279"/>
                  <a:pt x="123" y="279"/>
                  <a:pt x="123" y="279"/>
                </a:cubicBezTo>
                <a:cubicBezTo>
                  <a:pt x="123" y="279"/>
                  <a:pt x="123" y="279"/>
                  <a:pt x="123" y="279"/>
                </a:cubicBezTo>
                <a:cubicBezTo>
                  <a:pt x="122" y="278"/>
                  <a:pt x="122" y="278"/>
                  <a:pt x="122" y="278"/>
                </a:cubicBezTo>
                <a:cubicBezTo>
                  <a:pt x="122" y="277"/>
                  <a:pt x="122" y="277"/>
                  <a:pt x="122" y="277"/>
                </a:cubicBezTo>
                <a:cubicBezTo>
                  <a:pt x="122" y="276"/>
                  <a:pt x="122" y="276"/>
                  <a:pt x="122" y="276"/>
                </a:cubicBezTo>
                <a:cubicBezTo>
                  <a:pt x="122" y="276"/>
                  <a:pt x="122" y="276"/>
                  <a:pt x="122" y="276"/>
                </a:cubicBezTo>
                <a:cubicBezTo>
                  <a:pt x="122" y="275"/>
                  <a:pt x="122" y="275"/>
                  <a:pt x="122" y="275"/>
                </a:cubicBezTo>
                <a:cubicBezTo>
                  <a:pt x="122" y="277"/>
                  <a:pt x="122" y="277"/>
                  <a:pt x="122" y="277"/>
                </a:cubicBezTo>
                <a:cubicBezTo>
                  <a:pt x="121" y="278"/>
                  <a:pt x="121" y="278"/>
                  <a:pt x="121" y="278"/>
                </a:cubicBezTo>
                <a:cubicBezTo>
                  <a:pt x="121" y="278"/>
                  <a:pt x="121" y="278"/>
                  <a:pt x="121" y="278"/>
                </a:cubicBezTo>
                <a:cubicBezTo>
                  <a:pt x="121" y="279"/>
                  <a:pt x="121" y="279"/>
                  <a:pt x="121" y="279"/>
                </a:cubicBezTo>
                <a:cubicBezTo>
                  <a:pt x="121" y="279"/>
                  <a:pt x="121" y="279"/>
                  <a:pt x="121" y="279"/>
                </a:cubicBezTo>
                <a:cubicBezTo>
                  <a:pt x="119" y="277"/>
                  <a:pt x="119" y="277"/>
                  <a:pt x="119" y="277"/>
                </a:cubicBezTo>
                <a:cubicBezTo>
                  <a:pt x="119" y="276"/>
                  <a:pt x="119" y="276"/>
                  <a:pt x="119" y="276"/>
                </a:cubicBezTo>
                <a:cubicBezTo>
                  <a:pt x="120" y="275"/>
                  <a:pt x="120" y="275"/>
                  <a:pt x="120" y="275"/>
                </a:cubicBezTo>
                <a:cubicBezTo>
                  <a:pt x="120" y="274"/>
                  <a:pt x="120" y="274"/>
                  <a:pt x="120" y="274"/>
                </a:cubicBezTo>
                <a:cubicBezTo>
                  <a:pt x="121" y="274"/>
                  <a:pt x="121" y="274"/>
                  <a:pt x="121" y="274"/>
                </a:cubicBezTo>
                <a:cubicBezTo>
                  <a:pt x="121" y="273"/>
                  <a:pt x="121" y="273"/>
                  <a:pt x="121" y="273"/>
                </a:cubicBezTo>
                <a:cubicBezTo>
                  <a:pt x="120" y="273"/>
                  <a:pt x="120" y="273"/>
                  <a:pt x="120" y="273"/>
                </a:cubicBezTo>
                <a:cubicBezTo>
                  <a:pt x="119" y="272"/>
                  <a:pt x="119" y="272"/>
                  <a:pt x="119" y="272"/>
                </a:cubicBezTo>
                <a:cubicBezTo>
                  <a:pt x="119" y="272"/>
                  <a:pt x="119" y="272"/>
                  <a:pt x="119" y="272"/>
                </a:cubicBezTo>
                <a:cubicBezTo>
                  <a:pt x="119" y="272"/>
                  <a:pt x="119" y="272"/>
                  <a:pt x="119" y="272"/>
                </a:cubicBezTo>
                <a:cubicBezTo>
                  <a:pt x="118" y="272"/>
                  <a:pt x="118" y="272"/>
                  <a:pt x="118" y="272"/>
                </a:cubicBezTo>
                <a:cubicBezTo>
                  <a:pt x="118" y="273"/>
                  <a:pt x="118" y="273"/>
                  <a:pt x="118" y="273"/>
                </a:cubicBezTo>
                <a:cubicBezTo>
                  <a:pt x="118" y="273"/>
                  <a:pt x="118" y="273"/>
                  <a:pt x="118" y="273"/>
                </a:cubicBezTo>
                <a:cubicBezTo>
                  <a:pt x="119" y="274"/>
                  <a:pt x="119" y="274"/>
                  <a:pt x="119" y="274"/>
                </a:cubicBezTo>
                <a:cubicBezTo>
                  <a:pt x="118" y="275"/>
                  <a:pt x="118" y="275"/>
                  <a:pt x="118" y="275"/>
                </a:cubicBezTo>
                <a:cubicBezTo>
                  <a:pt x="118" y="276"/>
                  <a:pt x="118" y="276"/>
                  <a:pt x="118" y="276"/>
                </a:cubicBezTo>
                <a:cubicBezTo>
                  <a:pt x="118" y="276"/>
                  <a:pt x="118" y="276"/>
                  <a:pt x="118" y="276"/>
                </a:cubicBezTo>
                <a:cubicBezTo>
                  <a:pt x="117" y="277"/>
                  <a:pt x="117" y="277"/>
                  <a:pt x="117" y="277"/>
                </a:cubicBezTo>
                <a:cubicBezTo>
                  <a:pt x="116" y="277"/>
                  <a:pt x="116" y="277"/>
                  <a:pt x="116" y="277"/>
                </a:cubicBezTo>
                <a:cubicBezTo>
                  <a:pt x="116" y="276"/>
                  <a:pt x="116" y="276"/>
                  <a:pt x="116" y="276"/>
                </a:cubicBezTo>
                <a:cubicBezTo>
                  <a:pt x="116" y="276"/>
                  <a:pt x="116" y="276"/>
                  <a:pt x="116" y="276"/>
                </a:cubicBezTo>
                <a:cubicBezTo>
                  <a:pt x="115" y="277"/>
                  <a:pt x="115" y="277"/>
                  <a:pt x="115" y="277"/>
                </a:cubicBezTo>
                <a:cubicBezTo>
                  <a:pt x="115" y="277"/>
                  <a:pt x="115" y="277"/>
                  <a:pt x="115" y="277"/>
                </a:cubicBezTo>
                <a:cubicBezTo>
                  <a:pt x="116" y="279"/>
                  <a:pt x="116" y="279"/>
                  <a:pt x="116" y="279"/>
                </a:cubicBezTo>
                <a:cubicBezTo>
                  <a:pt x="116" y="280"/>
                  <a:pt x="116" y="280"/>
                  <a:pt x="116" y="280"/>
                </a:cubicBezTo>
                <a:cubicBezTo>
                  <a:pt x="116" y="280"/>
                  <a:pt x="116" y="280"/>
                  <a:pt x="116" y="280"/>
                </a:cubicBezTo>
                <a:cubicBezTo>
                  <a:pt x="116" y="280"/>
                  <a:pt x="116" y="280"/>
                  <a:pt x="116" y="280"/>
                </a:cubicBezTo>
                <a:cubicBezTo>
                  <a:pt x="116" y="281"/>
                  <a:pt x="116" y="281"/>
                  <a:pt x="116" y="281"/>
                </a:cubicBezTo>
                <a:cubicBezTo>
                  <a:pt x="115" y="281"/>
                  <a:pt x="115" y="281"/>
                  <a:pt x="115" y="281"/>
                </a:cubicBezTo>
                <a:cubicBezTo>
                  <a:pt x="114" y="281"/>
                  <a:pt x="114" y="281"/>
                  <a:pt x="114" y="281"/>
                </a:cubicBezTo>
                <a:cubicBezTo>
                  <a:pt x="114" y="281"/>
                  <a:pt x="114" y="281"/>
                  <a:pt x="114" y="281"/>
                </a:cubicBezTo>
                <a:cubicBezTo>
                  <a:pt x="113" y="281"/>
                  <a:pt x="113" y="281"/>
                  <a:pt x="113" y="281"/>
                </a:cubicBezTo>
                <a:cubicBezTo>
                  <a:pt x="113" y="282"/>
                  <a:pt x="113" y="282"/>
                  <a:pt x="113" y="282"/>
                </a:cubicBezTo>
                <a:cubicBezTo>
                  <a:pt x="112" y="282"/>
                  <a:pt x="112" y="282"/>
                  <a:pt x="112" y="282"/>
                </a:cubicBezTo>
                <a:cubicBezTo>
                  <a:pt x="111" y="282"/>
                  <a:pt x="111" y="282"/>
                  <a:pt x="111" y="282"/>
                </a:cubicBezTo>
                <a:cubicBezTo>
                  <a:pt x="111" y="281"/>
                  <a:pt x="111" y="281"/>
                  <a:pt x="111" y="281"/>
                </a:cubicBezTo>
                <a:cubicBezTo>
                  <a:pt x="110" y="280"/>
                  <a:pt x="110" y="280"/>
                  <a:pt x="110" y="280"/>
                </a:cubicBezTo>
                <a:cubicBezTo>
                  <a:pt x="110" y="280"/>
                  <a:pt x="110" y="280"/>
                  <a:pt x="110" y="280"/>
                </a:cubicBezTo>
                <a:cubicBezTo>
                  <a:pt x="110" y="281"/>
                  <a:pt x="110" y="281"/>
                  <a:pt x="110" y="281"/>
                </a:cubicBezTo>
                <a:cubicBezTo>
                  <a:pt x="110" y="281"/>
                  <a:pt x="110" y="281"/>
                  <a:pt x="110" y="281"/>
                </a:cubicBezTo>
                <a:cubicBezTo>
                  <a:pt x="109" y="282"/>
                  <a:pt x="109" y="282"/>
                  <a:pt x="109" y="282"/>
                </a:cubicBezTo>
                <a:cubicBezTo>
                  <a:pt x="109" y="282"/>
                  <a:pt x="109" y="282"/>
                  <a:pt x="109" y="282"/>
                </a:cubicBezTo>
                <a:cubicBezTo>
                  <a:pt x="108" y="281"/>
                  <a:pt x="108" y="281"/>
                  <a:pt x="108" y="281"/>
                </a:cubicBezTo>
                <a:cubicBezTo>
                  <a:pt x="108" y="280"/>
                  <a:pt x="108" y="280"/>
                  <a:pt x="108" y="280"/>
                </a:cubicBezTo>
                <a:cubicBezTo>
                  <a:pt x="107" y="280"/>
                  <a:pt x="107" y="280"/>
                  <a:pt x="107" y="280"/>
                </a:cubicBezTo>
                <a:cubicBezTo>
                  <a:pt x="107" y="281"/>
                  <a:pt x="107" y="281"/>
                  <a:pt x="107" y="281"/>
                </a:cubicBezTo>
                <a:cubicBezTo>
                  <a:pt x="106" y="281"/>
                  <a:pt x="106" y="281"/>
                  <a:pt x="106" y="281"/>
                </a:cubicBezTo>
                <a:cubicBezTo>
                  <a:pt x="106" y="281"/>
                  <a:pt x="106" y="281"/>
                  <a:pt x="106" y="281"/>
                </a:cubicBezTo>
                <a:cubicBezTo>
                  <a:pt x="106" y="282"/>
                  <a:pt x="106" y="282"/>
                  <a:pt x="106" y="282"/>
                </a:cubicBezTo>
                <a:cubicBezTo>
                  <a:pt x="106" y="283"/>
                  <a:pt x="106" y="283"/>
                  <a:pt x="106" y="283"/>
                </a:cubicBezTo>
                <a:cubicBezTo>
                  <a:pt x="106" y="284"/>
                  <a:pt x="106" y="284"/>
                  <a:pt x="106" y="284"/>
                </a:cubicBezTo>
                <a:cubicBezTo>
                  <a:pt x="106" y="285"/>
                  <a:pt x="106" y="285"/>
                  <a:pt x="106" y="285"/>
                </a:cubicBezTo>
                <a:cubicBezTo>
                  <a:pt x="105" y="287"/>
                  <a:pt x="105" y="287"/>
                  <a:pt x="105" y="287"/>
                </a:cubicBezTo>
                <a:cubicBezTo>
                  <a:pt x="104" y="287"/>
                  <a:pt x="104" y="287"/>
                  <a:pt x="104" y="287"/>
                </a:cubicBezTo>
                <a:cubicBezTo>
                  <a:pt x="103" y="286"/>
                  <a:pt x="103" y="286"/>
                  <a:pt x="103" y="286"/>
                </a:cubicBezTo>
                <a:cubicBezTo>
                  <a:pt x="103" y="285"/>
                  <a:pt x="103" y="285"/>
                  <a:pt x="103" y="285"/>
                </a:cubicBezTo>
                <a:cubicBezTo>
                  <a:pt x="102" y="285"/>
                  <a:pt x="102" y="285"/>
                  <a:pt x="102" y="285"/>
                </a:cubicBezTo>
                <a:cubicBezTo>
                  <a:pt x="102" y="285"/>
                  <a:pt x="102" y="285"/>
                  <a:pt x="102" y="285"/>
                </a:cubicBezTo>
                <a:cubicBezTo>
                  <a:pt x="102" y="286"/>
                  <a:pt x="102" y="286"/>
                  <a:pt x="102" y="286"/>
                </a:cubicBezTo>
                <a:cubicBezTo>
                  <a:pt x="101" y="285"/>
                  <a:pt x="101" y="285"/>
                  <a:pt x="101" y="285"/>
                </a:cubicBezTo>
                <a:cubicBezTo>
                  <a:pt x="101" y="284"/>
                  <a:pt x="101" y="284"/>
                  <a:pt x="101" y="284"/>
                </a:cubicBezTo>
                <a:cubicBezTo>
                  <a:pt x="100" y="284"/>
                  <a:pt x="100" y="284"/>
                  <a:pt x="100" y="284"/>
                </a:cubicBezTo>
                <a:cubicBezTo>
                  <a:pt x="100" y="285"/>
                  <a:pt x="100" y="285"/>
                  <a:pt x="100" y="285"/>
                </a:cubicBezTo>
                <a:cubicBezTo>
                  <a:pt x="100" y="285"/>
                  <a:pt x="100" y="285"/>
                  <a:pt x="100" y="285"/>
                </a:cubicBezTo>
                <a:cubicBezTo>
                  <a:pt x="100" y="286"/>
                  <a:pt x="100" y="286"/>
                  <a:pt x="100" y="286"/>
                </a:cubicBezTo>
                <a:cubicBezTo>
                  <a:pt x="100" y="287"/>
                  <a:pt x="100" y="287"/>
                  <a:pt x="100" y="287"/>
                </a:cubicBezTo>
                <a:cubicBezTo>
                  <a:pt x="100" y="287"/>
                  <a:pt x="100" y="287"/>
                  <a:pt x="100" y="287"/>
                </a:cubicBezTo>
                <a:cubicBezTo>
                  <a:pt x="100" y="288"/>
                  <a:pt x="100" y="288"/>
                  <a:pt x="100" y="288"/>
                </a:cubicBezTo>
                <a:cubicBezTo>
                  <a:pt x="101" y="289"/>
                  <a:pt x="101" y="289"/>
                  <a:pt x="101" y="289"/>
                </a:cubicBezTo>
                <a:cubicBezTo>
                  <a:pt x="101" y="290"/>
                  <a:pt x="101" y="290"/>
                  <a:pt x="101" y="290"/>
                </a:cubicBezTo>
                <a:cubicBezTo>
                  <a:pt x="101" y="292"/>
                  <a:pt x="101" y="292"/>
                  <a:pt x="101" y="292"/>
                </a:cubicBezTo>
                <a:cubicBezTo>
                  <a:pt x="101" y="293"/>
                  <a:pt x="101" y="293"/>
                  <a:pt x="101" y="293"/>
                </a:cubicBezTo>
                <a:cubicBezTo>
                  <a:pt x="100" y="292"/>
                  <a:pt x="100" y="292"/>
                  <a:pt x="100" y="292"/>
                </a:cubicBezTo>
                <a:cubicBezTo>
                  <a:pt x="100" y="292"/>
                  <a:pt x="100" y="292"/>
                  <a:pt x="100" y="292"/>
                </a:cubicBezTo>
                <a:cubicBezTo>
                  <a:pt x="100" y="293"/>
                  <a:pt x="100" y="293"/>
                  <a:pt x="100" y="293"/>
                </a:cubicBezTo>
                <a:cubicBezTo>
                  <a:pt x="99" y="293"/>
                  <a:pt x="99" y="293"/>
                  <a:pt x="99" y="293"/>
                </a:cubicBezTo>
                <a:cubicBezTo>
                  <a:pt x="97" y="293"/>
                  <a:pt x="97" y="293"/>
                  <a:pt x="97" y="293"/>
                </a:cubicBezTo>
                <a:cubicBezTo>
                  <a:pt x="96" y="293"/>
                  <a:pt x="96" y="293"/>
                  <a:pt x="96" y="293"/>
                </a:cubicBezTo>
                <a:cubicBezTo>
                  <a:pt x="96" y="294"/>
                  <a:pt x="96" y="294"/>
                  <a:pt x="96" y="294"/>
                </a:cubicBezTo>
                <a:cubicBezTo>
                  <a:pt x="96" y="294"/>
                  <a:pt x="96" y="294"/>
                  <a:pt x="96" y="294"/>
                </a:cubicBezTo>
                <a:cubicBezTo>
                  <a:pt x="97" y="295"/>
                  <a:pt x="97" y="295"/>
                  <a:pt x="97" y="295"/>
                </a:cubicBezTo>
                <a:cubicBezTo>
                  <a:pt x="98" y="295"/>
                  <a:pt x="98" y="295"/>
                  <a:pt x="98" y="295"/>
                </a:cubicBezTo>
                <a:cubicBezTo>
                  <a:pt x="99" y="295"/>
                  <a:pt x="99" y="295"/>
                  <a:pt x="99" y="295"/>
                </a:cubicBezTo>
                <a:cubicBezTo>
                  <a:pt x="99" y="296"/>
                  <a:pt x="99" y="296"/>
                  <a:pt x="99" y="296"/>
                </a:cubicBezTo>
                <a:cubicBezTo>
                  <a:pt x="100" y="296"/>
                  <a:pt x="100" y="296"/>
                  <a:pt x="100" y="296"/>
                </a:cubicBezTo>
                <a:cubicBezTo>
                  <a:pt x="101" y="296"/>
                  <a:pt x="101" y="296"/>
                  <a:pt x="101" y="296"/>
                </a:cubicBezTo>
                <a:cubicBezTo>
                  <a:pt x="101" y="296"/>
                  <a:pt x="101" y="296"/>
                  <a:pt x="101" y="296"/>
                </a:cubicBezTo>
                <a:cubicBezTo>
                  <a:pt x="100" y="297"/>
                  <a:pt x="100" y="297"/>
                  <a:pt x="100" y="297"/>
                </a:cubicBezTo>
                <a:cubicBezTo>
                  <a:pt x="100" y="297"/>
                  <a:pt x="100" y="297"/>
                  <a:pt x="100" y="297"/>
                </a:cubicBezTo>
                <a:cubicBezTo>
                  <a:pt x="99" y="297"/>
                  <a:pt x="99" y="297"/>
                  <a:pt x="99" y="297"/>
                </a:cubicBezTo>
                <a:cubicBezTo>
                  <a:pt x="99" y="298"/>
                  <a:pt x="99" y="298"/>
                  <a:pt x="99" y="298"/>
                </a:cubicBezTo>
                <a:cubicBezTo>
                  <a:pt x="100" y="298"/>
                  <a:pt x="100" y="298"/>
                  <a:pt x="100" y="298"/>
                </a:cubicBezTo>
                <a:cubicBezTo>
                  <a:pt x="100" y="299"/>
                  <a:pt x="100" y="299"/>
                  <a:pt x="100" y="299"/>
                </a:cubicBezTo>
                <a:cubicBezTo>
                  <a:pt x="100" y="300"/>
                  <a:pt x="100" y="300"/>
                  <a:pt x="100" y="300"/>
                </a:cubicBezTo>
                <a:cubicBezTo>
                  <a:pt x="100" y="300"/>
                  <a:pt x="100" y="300"/>
                  <a:pt x="100" y="300"/>
                </a:cubicBezTo>
                <a:cubicBezTo>
                  <a:pt x="99" y="301"/>
                  <a:pt x="99" y="301"/>
                  <a:pt x="99" y="301"/>
                </a:cubicBezTo>
                <a:cubicBezTo>
                  <a:pt x="99" y="301"/>
                  <a:pt x="99" y="301"/>
                  <a:pt x="99" y="301"/>
                </a:cubicBezTo>
                <a:cubicBezTo>
                  <a:pt x="98" y="300"/>
                  <a:pt x="98" y="300"/>
                  <a:pt x="98" y="300"/>
                </a:cubicBezTo>
                <a:cubicBezTo>
                  <a:pt x="97" y="299"/>
                  <a:pt x="97" y="299"/>
                  <a:pt x="97" y="299"/>
                </a:cubicBezTo>
                <a:cubicBezTo>
                  <a:pt x="97" y="299"/>
                  <a:pt x="97" y="299"/>
                  <a:pt x="97" y="299"/>
                </a:cubicBezTo>
                <a:cubicBezTo>
                  <a:pt x="96" y="299"/>
                  <a:pt x="96" y="299"/>
                  <a:pt x="96" y="299"/>
                </a:cubicBezTo>
                <a:cubicBezTo>
                  <a:pt x="96" y="298"/>
                  <a:pt x="96" y="298"/>
                  <a:pt x="96" y="298"/>
                </a:cubicBezTo>
                <a:cubicBezTo>
                  <a:pt x="95" y="298"/>
                  <a:pt x="95" y="298"/>
                  <a:pt x="95" y="298"/>
                </a:cubicBezTo>
                <a:cubicBezTo>
                  <a:pt x="95" y="299"/>
                  <a:pt x="95" y="299"/>
                  <a:pt x="95" y="299"/>
                </a:cubicBezTo>
                <a:cubicBezTo>
                  <a:pt x="94" y="299"/>
                  <a:pt x="94" y="299"/>
                  <a:pt x="94" y="299"/>
                </a:cubicBezTo>
                <a:cubicBezTo>
                  <a:pt x="95" y="299"/>
                  <a:pt x="95" y="299"/>
                  <a:pt x="95" y="299"/>
                </a:cubicBezTo>
                <a:cubicBezTo>
                  <a:pt x="96" y="300"/>
                  <a:pt x="96" y="300"/>
                  <a:pt x="96" y="300"/>
                </a:cubicBezTo>
                <a:cubicBezTo>
                  <a:pt x="97" y="300"/>
                  <a:pt x="97" y="300"/>
                  <a:pt x="97" y="300"/>
                </a:cubicBezTo>
                <a:cubicBezTo>
                  <a:pt x="98" y="301"/>
                  <a:pt x="98" y="301"/>
                  <a:pt x="98" y="301"/>
                </a:cubicBezTo>
                <a:cubicBezTo>
                  <a:pt x="99" y="301"/>
                  <a:pt x="99" y="301"/>
                  <a:pt x="99" y="301"/>
                </a:cubicBezTo>
                <a:cubicBezTo>
                  <a:pt x="99" y="301"/>
                  <a:pt x="99" y="301"/>
                  <a:pt x="99" y="301"/>
                </a:cubicBezTo>
                <a:cubicBezTo>
                  <a:pt x="99" y="302"/>
                  <a:pt x="99" y="302"/>
                  <a:pt x="99" y="302"/>
                </a:cubicBezTo>
                <a:cubicBezTo>
                  <a:pt x="98" y="303"/>
                  <a:pt x="98" y="303"/>
                  <a:pt x="98" y="303"/>
                </a:cubicBezTo>
                <a:cubicBezTo>
                  <a:pt x="97" y="303"/>
                  <a:pt x="97" y="303"/>
                  <a:pt x="97" y="303"/>
                </a:cubicBezTo>
                <a:cubicBezTo>
                  <a:pt x="96" y="303"/>
                  <a:pt x="96" y="303"/>
                  <a:pt x="96" y="303"/>
                </a:cubicBezTo>
                <a:cubicBezTo>
                  <a:pt x="96" y="303"/>
                  <a:pt x="96" y="303"/>
                  <a:pt x="96" y="303"/>
                </a:cubicBezTo>
                <a:cubicBezTo>
                  <a:pt x="94" y="302"/>
                  <a:pt x="94" y="302"/>
                  <a:pt x="94" y="302"/>
                </a:cubicBezTo>
                <a:cubicBezTo>
                  <a:pt x="94" y="301"/>
                  <a:pt x="94" y="301"/>
                  <a:pt x="94" y="301"/>
                </a:cubicBezTo>
                <a:cubicBezTo>
                  <a:pt x="93" y="301"/>
                  <a:pt x="93" y="301"/>
                  <a:pt x="93" y="301"/>
                </a:cubicBezTo>
                <a:cubicBezTo>
                  <a:pt x="93" y="302"/>
                  <a:pt x="93" y="302"/>
                  <a:pt x="93" y="302"/>
                </a:cubicBezTo>
                <a:cubicBezTo>
                  <a:pt x="93" y="302"/>
                  <a:pt x="93" y="302"/>
                  <a:pt x="93" y="302"/>
                </a:cubicBezTo>
                <a:cubicBezTo>
                  <a:pt x="93" y="303"/>
                  <a:pt x="93" y="303"/>
                  <a:pt x="93" y="303"/>
                </a:cubicBezTo>
                <a:cubicBezTo>
                  <a:pt x="93" y="304"/>
                  <a:pt x="93" y="304"/>
                  <a:pt x="93" y="304"/>
                </a:cubicBezTo>
                <a:cubicBezTo>
                  <a:pt x="95" y="304"/>
                  <a:pt x="95" y="304"/>
                  <a:pt x="95" y="304"/>
                </a:cubicBezTo>
                <a:cubicBezTo>
                  <a:pt x="95" y="305"/>
                  <a:pt x="95" y="305"/>
                  <a:pt x="95" y="305"/>
                </a:cubicBezTo>
                <a:cubicBezTo>
                  <a:pt x="95" y="306"/>
                  <a:pt x="95" y="306"/>
                  <a:pt x="95" y="306"/>
                </a:cubicBezTo>
                <a:cubicBezTo>
                  <a:pt x="95" y="306"/>
                  <a:pt x="95" y="306"/>
                  <a:pt x="95" y="306"/>
                </a:cubicBezTo>
                <a:cubicBezTo>
                  <a:pt x="94" y="305"/>
                  <a:pt x="94" y="305"/>
                  <a:pt x="94" y="305"/>
                </a:cubicBezTo>
                <a:cubicBezTo>
                  <a:pt x="93" y="305"/>
                  <a:pt x="93" y="305"/>
                  <a:pt x="93" y="305"/>
                </a:cubicBezTo>
                <a:cubicBezTo>
                  <a:pt x="92" y="304"/>
                  <a:pt x="92" y="304"/>
                  <a:pt x="92" y="304"/>
                </a:cubicBezTo>
                <a:cubicBezTo>
                  <a:pt x="91" y="304"/>
                  <a:pt x="91" y="304"/>
                  <a:pt x="91" y="304"/>
                </a:cubicBezTo>
                <a:cubicBezTo>
                  <a:pt x="91" y="304"/>
                  <a:pt x="91" y="304"/>
                  <a:pt x="91" y="304"/>
                </a:cubicBezTo>
                <a:cubicBezTo>
                  <a:pt x="91" y="305"/>
                  <a:pt x="91" y="305"/>
                  <a:pt x="91" y="305"/>
                </a:cubicBezTo>
                <a:cubicBezTo>
                  <a:pt x="92" y="305"/>
                  <a:pt x="92" y="305"/>
                  <a:pt x="92" y="305"/>
                </a:cubicBezTo>
                <a:cubicBezTo>
                  <a:pt x="93" y="306"/>
                  <a:pt x="93" y="306"/>
                  <a:pt x="93" y="306"/>
                </a:cubicBezTo>
                <a:cubicBezTo>
                  <a:pt x="94" y="306"/>
                  <a:pt x="94" y="306"/>
                  <a:pt x="94" y="306"/>
                </a:cubicBezTo>
                <a:cubicBezTo>
                  <a:pt x="94" y="307"/>
                  <a:pt x="94" y="307"/>
                  <a:pt x="94" y="307"/>
                </a:cubicBezTo>
                <a:cubicBezTo>
                  <a:pt x="93" y="307"/>
                  <a:pt x="93" y="307"/>
                  <a:pt x="93" y="307"/>
                </a:cubicBezTo>
                <a:cubicBezTo>
                  <a:pt x="92" y="307"/>
                  <a:pt x="92" y="307"/>
                  <a:pt x="92" y="307"/>
                </a:cubicBezTo>
                <a:cubicBezTo>
                  <a:pt x="91" y="306"/>
                  <a:pt x="91" y="306"/>
                  <a:pt x="91" y="306"/>
                </a:cubicBezTo>
                <a:cubicBezTo>
                  <a:pt x="91" y="306"/>
                  <a:pt x="91" y="306"/>
                  <a:pt x="91" y="306"/>
                </a:cubicBezTo>
                <a:cubicBezTo>
                  <a:pt x="91" y="305"/>
                  <a:pt x="91" y="305"/>
                  <a:pt x="91" y="305"/>
                </a:cubicBezTo>
                <a:cubicBezTo>
                  <a:pt x="90" y="305"/>
                  <a:pt x="90" y="305"/>
                  <a:pt x="90" y="305"/>
                </a:cubicBezTo>
                <a:cubicBezTo>
                  <a:pt x="90" y="306"/>
                  <a:pt x="90" y="306"/>
                  <a:pt x="90" y="306"/>
                </a:cubicBezTo>
                <a:cubicBezTo>
                  <a:pt x="90" y="306"/>
                  <a:pt x="90" y="306"/>
                  <a:pt x="90" y="306"/>
                </a:cubicBezTo>
                <a:cubicBezTo>
                  <a:pt x="90" y="307"/>
                  <a:pt x="90" y="307"/>
                  <a:pt x="90" y="307"/>
                </a:cubicBezTo>
                <a:cubicBezTo>
                  <a:pt x="90" y="308"/>
                  <a:pt x="90" y="308"/>
                  <a:pt x="90" y="308"/>
                </a:cubicBezTo>
                <a:cubicBezTo>
                  <a:pt x="90" y="308"/>
                  <a:pt x="90" y="308"/>
                  <a:pt x="90" y="308"/>
                </a:cubicBezTo>
                <a:cubicBezTo>
                  <a:pt x="91" y="308"/>
                  <a:pt x="91" y="308"/>
                  <a:pt x="91" y="308"/>
                </a:cubicBezTo>
                <a:cubicBezTo>
                  <a:pt x="92" y="308"/>
                  <a:pt x="92" y="308"/>
                  <a:pt x="92" y="308"/>
                </a:cubicBezTo>
                <a:cubicBezTo>
                  <a:pt x="93" y="308"/>
                  <a:pt x="93" y="308"/>
                  <a:pt x="93" y="308"/>
                </a:cubicBezTo>
                <a:cubicBezTo>
                  <a:pt x="93" y="309"/>
                  <a:pt x="93" y="309"/>
                  <a:pt x="93" y="309"/>
                </a:cubicBezTo>
                <a:cubicBezTo>
                  <a:pt x="93" y="309"/>
                  <a:pt x="93" y="309"/>
                  <a:pt x="93" y="309"/>
                </a:cubicBezTo>
                <a:cubicBezTo>
                  <a:pt x="93" y="310"/>
                  <a:pt x="93" y="310"/>
                  <a:pt x="93" y="310"/>
                </a:cubicBezTo>
                <a:cubicBezTo>
                  <a:pt x="92" y="310"/>
                  <a:pt x="92" y="310"/>
                  <a:pt x="92" y="310"/>
                </a:cubicBezTo>
                <a:cubicBezTo>
                  <a:pt x="91" y="311"/>
                  <a:pt x="91" y="311"/>
                  <a:pt x="91" y="311"/>
                </a:cubicBezTo>
                <a:cubicBezTo>
                  <a:pt x="91" y="310"/>
                  <a:pt x="91" y="310"/>
                  <a:pt x="91" y="310"/>
                </a:cubicBezTo>
                <a:cubicBezTo>
                  <a:pt x="90" y="310"/>
                  <a:pt x="90" y="310"/>
                  <a:pt x="90" y="310"/>
                </a:cubicBezTo>
                <a:cubicBezTo>
                  <a:pt x="89" y="310"/>
                  <a:pt x="89" y="310"/>
                  <a:pt x="89" y="310"/>
                </a:cubicBezTo>
                <a:cubicBezTo>
                  <a:pt x="89" y="309"/>
                  <a:pt x="89" y="309"/>
                  <a:pt x="89" y="309"/>
                </a:cubicBezTo>
                <a:cubicBezTo>
                  <a:pt x="89" y="309"/>
                  <a:pt x="89" y="309"/>
                  <a:pt x="89" y="309"/>
                </a:cubicBezTo>
                <a:cubicBezTo>
                  <a:pt x="88" y="308"/>
                  <a:pt x="88" y="308"/>
                  <a:pt x="88" y="308"/>
                </a:cubicBezTo>
                <a:cubicBezTo>
                  <a:pt x="88" y="308"/>
                  <a:pt x="88" y="308"/>
                  <a:pt x="88" y="308"/>
                </a:cubicBezTo>
                <a:cubicBezTo>
                  <a:pt x="88" y="309"/>
                  <a:pt x="88" y="309"/>
                  <a:pt x="88" y="309"/>
                </a:cubicBezTo>
                <a:cubicBezTo>
                  <a:pt x="88" y="310"/>
                  <a:pt x="88" y="310"/>
                  <a:pt x="88" y="310"/>
                </a:cubicBezTo>
                <a:cubicBezTo>
                  <a:pt x="87" y="311"/>
                  <a:pt x="87" y="311"/>
                  <a:pt x="87" y="311"/>
                </a:cubicBezTo>
                <a:cubicBezTo>
                  <a:pt x="86" y="311"/>
                  <a:pt x="86" y="311"/>
                  <a:pt x="86" y="311"/>
                </a:cubicBezTo>
                <a:cubicBezTo>
                  <a:pt x="86" y="310"/>
                  <a:pt x="86" y="310"/>
                  <a:pt x="86" y="310"/>
                </a:cubicBezTo>
                <a:cubicBezTo>
                  <a:pt x="85" y="310"/>
                  <a:pt x="85" y="310"/>
                  <a:pt x="85" y="310"/>
                </a:cubicBezTo>
                <a:cubicBezTo>
                  <a:pt x="85" y="310"/>
                  <a:pt x="85" y="310"/>
                  <a:pt x="85" y="310"/>
                </a:cubicBezTo>
                <a:cubicBezTo>
                  <a:pt x="85" y="311"/>
                  <a:pt x="85" y="311"/>
                  <a:pt x="85" y="311"/>
                </a:cubicBezTo>
                <a:cubicBezTo>
                  <a:pt x="85" y="311"/>
                  <a:pt x="85" y="311"/>
                  <a:pt x="85" y="311"/>
                </a:cubicBezTo>
                <a:cubicBezTo>
                  <a:pt x="87" y="312"/>
                  <a:pt x="87" y="312"/>
                  <a:pt x="87" y="312"/>
                </a:cubicBezTo>
                <a:cubicBezTo>
                  <a:pt x="88" y="312"/>
                  <a:pt x="88" y="312"/>
                  <a:pt x="88" y="312"/>
                </a:cubicBezTo>
                <a:cubicBezTo>
                  <a:pt x="89" y="313"/>
                  <a:pt x="89" y="313"/>
                  <a:pt x="89" y="313"/>
                </a:cubicBezTo>
                <a:cubicBezTo>
                  <a:pt x="89" y="315"/>
                  <a:pt x="89" y="315"/>
                  <a:pt x="89" y="315"/>
                </a:cubicBezTo>
                <a:cubicBezTo>
                  <a:pt x="89" y="315"/>
                  <a:pt x="89" y="315"/>
                  <a:pt x="89" y="315"/>
                </a:cubicBezTo>
                <a:cubicBezTo>
                  <a:pt x="88" y="315"/>
                  <a:pt x="88" y="315"/>
                  <a:pt x="88" y="315"/>
                </a:cubicBezTo>
                <a:cubicBezTo>
                  <a:pt x="87" y="314"/>
                  <a:pt x="87" y="314"/>
                  <a:pt x="87" y="314"/>
                </a:cubicBezTo>
                <a:cubicBezTo>
                  <a:pt x="86" y="313"/>
                  <a:pt x="86" y="313"/>
                  <a:pt x="86" y="313"/>
                </a:cubicBezTo>
                <a:cubicBezTo>
                  <a:pt x="85" y="313"/>
                  <a:pt x="85" y="313"/>
                  <a:pt x="85" y="313"/>
                </a:cubicBezTo>
                <a:cubicBezTo>
                  <a:pt x="84" y="313"/>
                  <a:pt x="84" y="313"/>
                  <a:pt x="84" y="313"/>
                </a:cubicBezTo>
                <a:cubicBezTo>
                  <a:pt x="84" y="313"/>
                  <a:pt x="84" y="313"/>
                  <a:pt x="84" y="313"/>
                </a:cubicBezTo>
                <a:cubicBezTo>
                  <a:pt x="85" y="314"/>
                  <a:pt x="85" y="314"/>
                  <a:pt x="85" y="314"/>
                </a:cubicBezTo>
                <a:cubicBezTo>
                  <a:pt x="86" y="314"/>
                  <a:pt x="86" y="314"/>
                  <a:pt x="86" y="314"/>
                </a:cubicBezTo>
                <a:cubicBezTo>
                  <a:pt x="87" y="315"/>
                  <a:pt x="87" y="315"/>
                  <a:pt x="87" y="315"/>
                </a:cubicBezTo>
                <a:cubicBezTo>
                  <a:pt x="88" y="316"/>
                  <a:pt x="88" y="316"/>
                  <a:pt x="88" y="316"/>
                </a:cubicBezTo>
                <a:cubicBezTo>
                  <a:pt x="88" y="317"/>
                  <a:pt x="88" y="317"/>
                  <a:pt x="88" y="317"/>
                </a:cubicBezTo>
                <a:cubicBezTo>
                  <a:pt x="88" y="318"/>
                  <a:pt x="88" y="318"/>
                  <a:pt x="88" y="318"/>
                </a:cubicBezTo>
                <a:cubicBezTo>
                  <a:pt x="88" y="318"/>
                  <a:pt x="88" y="318"/>
                  <a:pt x="88" y="318"/>
                </a:cubicBezTo>
                <a:cubicBezTo>
                  <a:pt x="88" y="319"/>
                  <a:pt x="88" y="319"/>
                  <a:pt x="88" y="319"/>
                </a:cubicBezTo>
                <a:cubicBezTo>
                  <a:pt x="87" y="319"/>
                  <a:pt x="87" y="319"/>
                  <a:pt x="87" y="319"/>
                </a:cubicBezTo>
                <a:cubicBezTo>
                  <a:pt x="87" y="320"/>
                  <a:pt x="87" y="320"/>
                  <a:pt x="87" y="320"/>
                </a:cubicBezTo>
                <a:cubicBezTo>
                  <a:pt x="87" y="321"/>
                  <a:pt x="87" y="321"/>
                  <a:pt x="87" y="321"/>
                </a:cubicBezTo>
                <a:cubicBezTo>
                  <a:pt x="86" y="321"/>
                  <a:pt x="86" y="321"/>
                  <a:pt x="86" y="321"/>
                </a:cubicBezTo>
                <a:cubicBezTo>
                  <a:pt x="86" y="320"/>
                  <a:pt x="86" y="320"/>
                  <a:pt x="86" y="320"/>
                </a:cubicBezTo>
                <a:cubicBezTo>
                  <a:pt x="85" y="320"/>
                  <a:pt x="85" y="320"/>
                  <a:pt x="85" y="320"/>
                </a:cubicBezTo>
                <a:cubicBezTo>
                  <a:pt x="84" y="320"/>
                  <a:pt x="84" y="320"/>
                  <a:pt x="84" y="320"/>
                </a:cubicBezTo>
                <a:cubicBezTo>
                  <a:pt x="83" y="320"/>
                  <a:pt x="83" y="320"/>
                  <a:pt x="83" y="320"/>
                </a:cubicBezTo>
                <a:cubicBezTo>
                  <a:pt x="84" y="320"/>
                  <a:pt x="84" y="320"/>
                  <a:pt x="84" y="320"/>
                </a:cubicBezTo>
                <a:cubicBezTo>
                  <a:pt x="85" y="321"/>
                  <a:pt x="85" y="321"/>
                  <a:pt x="85" y="321"/>
                </a:cubicBezTo>
                <a:cubicBezTo>
                  <a:pt x="86" y="321"/>
                  <a:pt x="86" y="321"/>
                  <a:pt x="86" y="321"/>
                </a:cubicBezTo>
                <a:cubicBezTo>
                  <a:pt x="86" y="321"/>
                  <a:pt x="86" y="321"/>
                  <a:pt x="86" y="321"/>
                </a:cubicBezTo>
                <a:cubicBezTo>
                  <a:pt x="85" y="322"/>
                  <a:pt x="85" y="322"/>
                  <a:pt x="85" y="322"/>
                </a:cubicBezTo>
                <a:cubicBezTo>
                  <a:pt x="84" y="322"/>
                  <a:pt x="84" y="322"/>
                  <a:pt x="84" y="322"/>
                </a:cubicBezTo>
                <a:cubicBezTo>
                  <a:pt x="84" y="322"/>
                  <a:pt x="84" y="322"/>
                  <a:pt x="84" y="322"/>
                </a:cubicBezTo>
                <a:cubicBezTo>
                  <a:pt x="84" y="322"/>
                  <a:pt x="84" y="322"/>
                  <a:pt x="84" y="322"/>
                </a:cubicBezTo>
                <a:cubicBezTo>
                  <a:pt x="84" y="322"/>
                  <a:pt x="84" y="322"/>
                  <a:pt x="84" y="322"/>
                </a:cubicBezTo>
                <a:cubicBezTo>
                  <a:pt x="84" y="323"/>
                  <a:pt x="84" y="323"/>
                  <a:pt x="84" y="323"/>
                </a:cubicBezTo>
                <a:cubicBezTo>
                  <a:pt x="85" y="323"/>
                  <a:pt x="85" y="323"/>
                  <a:pt x="85" y="323"/>
                </a:cubicBezTo>
                <a:cubicBezTo>
                  <a:pt x="85" y="323"/>
                  <a:pt x="85" y="323"/>
                  <a:pt x="85" y="323"/>
                </a:cubicBezTo>
                <a:cubicBezTo>
                  <a:pt x="84" y="324"/>
                  <a:pt x="84" y="324"/>
                  <a:pt x="84" y="324"/>
                </a:cubicBezTo>
                <a:cubicBezTo>
                  <a:pt x="83" y="324"/>
                  <a:pt x="83" y="324"/>
                  <a:pt x="83" y="324"/>
                </a:cubicBezTo>
                <a:cubicBezTo>
                  <a:pt x="83" y="324"/>
                  <a:pt x="83" y="324"/>
                  <a:pt x="83" y="324"/>
                </a:cubicBezTo>
                <a:cubicBezTo>
                  <a:pt x="82" y="324"/>
                  <a:pt x="82" y="324"/>
                  <a:pt x="82" y="324"/>
                </a:cubicBezTo>
                <a:cubicBezTo>
                  <a:pt x="82" y="324"/>
                  <a:pt x="82" y="324"/>
                  <a:pt x="82" y="324"/>
                </a:cubicBezTo>
                <a:cubicBezTo>
                  <a:pt x="82" y="324"/>
                  <a:pt x="82" y="324"/>
                  <a:pt x="82" y="324"/>
                </a:cubicBezTo>
                <a:cubicBezTo>
                  <a:pt x="83" y="325"/>
                  <a:pt x="83" y="325"/>
                  <a:pt x="83" y="325"/>
                </a:cubicBezTo>
                <a:cubicBezTo>
                  <a:pt x="84" y="325"/>
                  <a:pt x="84" y="325"/>
                  <a:pt x="84" y="325"/>
                </a:cubicBezTo>
                <a:cubicBezTo>
                  <a:pt x="83" y="326"/>
                  <a:pt x="83" y="326"/>
                  <a:pt x="83" y="326"/>
                </a:cubicBezTo>
                <a:cubicBezTo>
                  <a:pt x="83" y="326"/>
                  <a:pt x="83" y="326"/>
                  <a:pt x="83" y="326"/>
                </a:cubicBezTo>
                <a:cubicBezTo>
                  <a:pt x="81" y="326"/>
                  <a:pt x="81" y="326"/>
                  <a:pt x="81" y="326"/>
                </a:cubicBezTo>
                <a:cubicBezTo>
                  <a:pt x="80" y="326"/>
                  <a:pt x="80" y="326"/>
                  <a:pt x="80" y="326"/>
                </a:cubicBezTo>
                <a:cubicBezTo>
                  <a:pt x="80" y="326"/>
                  <a:pt x="80" y="326"/>
                  <a:pt x="80" y="326"/>
                </a:cubicBezTo>
                <a:cubicBezTo>
                  <a:pt x="80" y="326"/>
                  <a:pt x="80" y="326"/>
                  <a:pt x="80" y="326"/>
                </a:cubicBezTo>
                <a:cubicBezTo>
                  <a:pt x="81" y="327"/>
                  <a:pt x="81" y="327"/>
                  <a:pt x="81" y="327"/>
                </a:cubicBezTo>
                <a:cubicBezTo>
                  <a:pt x="83" y="327"/>
                  <a:pt x="83" y="327"/>
                  <a:pt x="83" y="327"/>
                </a:cubicBezTo>
                <a:cubicBezTo>
                  <a:pt x="84" y="327"/>
                  <a:pt x="84" y="327"/>
                  <a:pt x="84" y="327"/>
                </a:cubicBezTo>
                <a:cubicBezTo>
                  <a:pt x="84" y="328"/>
                  <a:pt x="84" y="328"/>
                  <a:pt x="84" y="328"/>
                </a:cubicBezTo>
                <a:cubicBezTo>
                  <a:pt x="84" y="328"/>
                  <a:pt x="84" y="328"/>
                  <a:pt x="84" y="328"/>
                </a:cubicBezTo>
                <a:cubicBezTo>
                  <a:pt x="83" y="329"/>
                  <a:pt x="83" y="329"/>
                  <a:pt x="83" y="329"/>
                </a:cubicBezTo>
                <a:cubicBezTo>
                  <a:pt x="82" y="329"/>
                  <a:pt x="82" y="329"/>
                  <a:pt x="82" y="329"/>
                </a:cubicBezTo>
                <a:cubicBezTo>
                  <a:pt x="80" y="329"/>
                  <a:pt x="80" y="329"/>
                  <a:pt x="80" y="329"/>
                </a:cubicBezTo>
                <a:cubicBezTo>
                  <a:pt x="79" y="328"/>
                  <a:pt x="79" y="328"/>
                  <a:pt x="79" y="328"/>
                </a:cubicBezTo>
                <a:cubicBezTo>
                  <a:pt x="79" y="329"/>
                  <a:pt x="79" y="329"/>
                  <a:pt x="79" y="329"/>
                </a:cubicBezTo>
                <a:cubicBezTo>
                  <a:pt x="80" y="329"/>
                  <a:pt x="80" y="329"/>
                  <a:pt x="80" y="329"/>
                </a:cubicBezTo>
                <a:cubicBezTo>
                  <a:pt x="81" y="329"/>
                  <a:pt x="81" y="329"/>
                  <a:pt x="81" y="329"/>
                </a:cubicBezTo>
                <a:cubicBezTo>
                  <a:pt x="81" y="330"/>
                  <a:pt x="81" y="330"/>
                  <a:pt x="81" y="330"/>
                </a:cubicBezTo>
                <a:cubicBezTo>
                  <a:pt x="81" y="330"/>
                  <a:pt x="81" y="330"/>
                  <a:pt x="81" y="330"/>
                </a:cubicBezTo>
                <a:cubicBezTo>
                  <a:pt x="80" y="330"/>
                  <a:pt x="80" y="330"/>
                  <a:pt x="80" y="330"/>
                </a:cubicBezTo>
                <a:cubicBezTo>
                  <a:pt x="80" y="330"/>
                  <a:pt x="80" y="330"/>
                  <a:pt x="80" y="330"/>
                </a:cubicBezTo>
                <a:cubicBezTo>
                  <a:pt x="81" y="331"/>
                  <a:pt x="81" y="331"/>
                  <a:pt x="81" y="331"/>
                </a:cubicBezTo>
                <a:cubicBezTo>
                  <a:pt x="82" y="331"/>
                  <a:pt x="82" y="331"/>
                  <a:pt x="82" y="331"/>
                </a:cubicBezTo>
                <a:cubicBezTo>
                  <a:pt x="82" y="331"/>
                  <a:pt x="82" y="331"/>
                  <a:pt x="82" y="331"/>
                </a:cubicBezTo>
                <a:cubicBezTo>
                  <a:pt x="82" y="332"/>
                  <a:pt x="82" y="332"/>
                  <a:pt x="82" y="332"/>
                </a:cubicBezTo>
                <a:cubicBezTo>
                  <a:pt x="81" y="332"/>
                  <a:pt x="81" y="332"/>
                  <a:pt x="81" y="332"/>
                </a:cubicBezTo>
                <a:cubicBezTo>
                  <a:pt x="80" y="332"/>
                  <a:pt x="80" y="332"/>
                  <a:pt x="80" y="332"/>
                </a:cubicBezTo>
                <a:cubicBezTo>
                  <a:pt x="80" y="332"/>
                  <a:pt x="80" y="332"/>
                  <a:pt x="80" y="332"/>
                </a:cubicBezTo>
                <a:cubicBezTo>
                  <a:pt x="81" y="333"/>
                  <a:pt x="81" y="333"/>
                  <a:pt x="81" y="333"/>
                </a:cubicBezTo>
                <a:cubicBezTo>
                  <a:pt x="82" y="332"/>
                  <a:pt x="82" y="332"/>
                  <a:pt x="82" y="332"/>
                </a:cubicBezTo>
                <a:cubicBezTo>
                  <a:pt x="83" y="333"/>
                  <a:pt x="83" y="333"/>
                  <a:pt x="83" y="333"/>
                </a:cubicBezTo>
                <a:cubicBezTo>
                  <a:pt x="82" y="333"/>
                  <a:pt x="82" y="333"/>
                  <a:pt x="82" y="333"/>
                </a:cubicBezTo>
                <a:cubicBezTo>
                  <a:pt x="82" y="334"/>
                  <a:pt x="82" y="334"/>
                  <a:pt x="82" y="334"/>
                </a:cubicBezTo>
                <a:cubicBezTo>
                  <a:pt x="81" y="334"/>
                  <a:pt x="81" y="334"/>
                  <a:pt x="81" y="334"/>
                </a:cubicBezTo>
                <a:cubicBezTo>
                  <a:pt x="80" y="334"/>
                  <a:pt x="80" y="334"/>
                  <a:pt x="80" y="334"/>
                </a:cubicBezTo>
                <a:cubicBezTo>
                  <a:pt x="79" y="333"/>
                  <a:pt x="79" y="333"/>
                  <a:pt x="79" y="333"/>
                </a:cubicBezTo>
                <a:cubicBezTo>
                  <a:pt x="78" y="333"/>
                  <a:pt x="78" y="333"/>
                  <a:pt x="78" y="333"/>
                </a:cubicBezTo>
                <a:cubicBezTo>
                  <a:pt x="78" y="332"/>
                  <a:pt x="78" y="332"/>
                  <a:pt x="78" y="332"/>
                </a:cubicBezTo>
                <a:cubicBezTo>
                  <a:pt x="77" y="332"/>
                  <a:pt x="77" y="332"/>
                  <a:pt x="77" y="332"/>
                </a:cubicBezTo>
                <a:cubicBezTo>
                  <a:pt x="77" y="332"/>
                  <a:pt x="77" y="332"/>
                  <a:pt x="77" y="332"/>
                </a:cubicBezTo>
                <a:cubicBezTo>
                  <a:pt x="76" y="332"/>
                  <a:pt x="76" y="332"/>
                  <a:pt x="76" y="332"/>
                </a:cubicBezTo>
                <a:cubicBezTo>
                  <a:pt x="76" y="332"/>
                  <a:pt x="76" y="332"/>
                  <a:pt x="76" y="332"/>
                </a:cubicBezTo>
                <a:cubicBezTo>
                  <a:pt x="76" y="333"/>
                  <a:pt x="76" y="333"/>
                  <a:pt x="76" y="333"/>
                </a:cubicBezTo>
                <a:cubicBezTo>
                  <a:pt x="78" y="334"/>
                  <a:pt x="78" y="334"/>
                  <a:pt x="78" y="334"/>
                </a:cubicBezTo>
                <a:cubicBezTo>
                  <a:pt x="79" y="334"/>
                  <a:pt x="79" y="334"/>
                  <a:pt x="79" y="334"/>
                </a:cubicBezTo>
                <a:cubicBezTo>
                  <a:pt x="79" y="335"/>
                  <a:pt x="79" y="335"/>
                  <a:pt x="79" y="335"/>
                </a:cubicBezTo>
                <a:cubicBezTo>
                  <a:pt x="79" y="335"/>
                  <a:pt x="79" y="335"/>
                  <a:pt x="79" y="335"/>
                </a:cubicBezTo>
                <a:cubicBezTo>
                  <a:pt x="79" y="336"/>
                  <a:pt x="79" y="336"/>
                  <a:pt x="79" y="336"/>
                </a:cubicBezTo>
                <a:cubicBezTo>
                  <a:pt x="79" y="336"/>
                  <a:pt x="79" y="336"/>
                  <a:pt x="79" y="336"/>
                </a:cubicBezTo>
                <a:cubicBezTo>
                  <a:pt x="80" y="336"/>
                  <a:pt x="80" y="336"/>
                  <a:pt x="80" y="336"/>
                </a:cubicBezTo>
                <a:cubicBezTo>
                  <a:pt x="80" y="336"/>
                  <a:pt x="80" y="336"/>
                  <a:pt x="80" y="336"/>
                </a:cubicBezTo>
                <a:cubicBezTo>
                  <a:pt x="81" y="336"/>
                  <a:pt x="81" y="336"/>
                  <a:pt x="81" y="336"/>
                </a:cubicBezTo>
                <a:cubicBezTo>
                  <a:pt x="81" y="337"/>
                  <a:pt x="81" y="337"/>
                  <a:pt x="81" y="337"/>
                </a:cubicBezTo>
                <a:cubicBezTo>
                  <a:pt x="80" y="337"/>
                  <a:pt x="80" y="337"/>
                  <a:pt x="80" y="337"/>
                </a:cubicBezTo>
                <a:cubicBezTo>
                  <a:pt x="80" y="337"/>
                  <a:pt x="80" y="337"/>
                  <a:pt x="80" y="337"/>
                </a:cubicBezTo>
                <a:cubicBezTo>
                  <a:pt x="80" y="338"/>
                  <a:pt x="80" y="338"/>
                  <a:pt x="80" y="338"/>
                </a:cubicBezTo>
                <a:cubicBezTo>
                  <a:pt x="79" y="338"/>
                  <a:pt x="79" y="338"/>
                  <a:pt x="79" y="338"/>
                </a:cubicBezTo>
                <a:close/>
                <a:moveTo>
                  <a:pt x="78" y="338"/>
                </a:moveTo>
                <a:cubicBezTo>
                  <a:pt x="76" y="337"/>
                  <a:pt x="76" y="337"/>
                  <a:pt x="76" y="337"/>
                </a:cubicBezTo>
                <a:cubicBezTo>
                  <a:pt x="75" y="337"/>
                  <a:pt x="75" y="337"/>
                  <a:pt x="75" y="337"/>
                </a:cubicBezTo>
                <a:cubicBezTo>
                  <a:pt x="75" y="337"/>
                  <a:pt x="75" y="337"/>
                  <a:pt x="75" y="337"/>
                </a:cubicBezTo>
                <a:cubicBezTo>
                  <a:pt x="76" y="339"/>
                  <a:pt x="76" y="339"/>
                  <a:pt x="76" y="339"/>
                </a:cubicBezTo>
                <a:cubicBezTo>
                  <a:pt x="77" y="339"/>
                  <a:pt x="77" y="339"/>
                  <a:pt x="77" y="339"/>
                </a:cubicBezTo>
                <a:cubicBezTo>
                  <a:pt x="78" y="338"/>
                  <a:pt x="78" y="338"/>
                  <a:pt x="78" y="338"/>
                </a:cubicBezTo>
                <a:close/>
                <a:moveTo>
                  <a:pt x="176" y="228"/>
                </a:moveTo>
                <a:cubicBezTo>
                  <a:pt x="176" y="229"/>
                  <a:pt x="176" y="229"/>
                  <a:pt x="176" y="229"/>
                </a:cubicBezTo>
                <a:cubicBezTo>
                  <a:pt x="178" y="229"/>
                  <a:pt x="178" y="229"/>
                  <a:pt x="178" y="229"/>
                </a:cubicBezTo>
                <a:cubicBezTo>
                  <a:pt x="180" y="228"/>
                  <a:pt x="180" y="228"/>
                  <a:pt x="180" y="228"/>
                </a:cubicBezTo>
                <a:cubicBezTo>
                  <a:pt x="183" y="229"/>
                  <a:pt x="183" y="229"/>
                  <a:pt x="183" y="229"/>
                </a:cubicBezTo>
                <a:cubicBezTo>
                  <a:pt x="184" y="228"/>
                  <a:pt x="184" y="228"/>
                  <a:pt x="184" y="228"/>
                </a:cubicBezTo>
                <a:cubicBezTo>
                  <a:pt x="185" y="227"/>
                  <a:pt x="185" y="227"/>
                  <a:pt x="185" y="227"/>
                </a:cubicBezTo>
                <a:cubicBezTo>
                  <a:pt x="187" y="228"/>
                  <a:pt x="187" y="228"/>
                  <a:pt x="187" y="228"/>
                </a:cubicBezTo>
                <a:cubicBezTo>
                  <a:pt x="188" y="228"/>
                  <a:pt x="188" y="228"/>
                  <a:pt x="188" y="228"/>
                </a:cubicBezTo>
                <a:cubicBezTo>
                  <a:pt x="189" y="228"/>
                  <a:pt x="189" y="228"/>
                  <a:pt x="189" y="228"/>
                </a:cubicBezTo>
                <a:cubicBezTo>
                  <a:pt x="190" y="227"/>
                  <a:pt x="190" y="227"/>
                  <a:pt x="190" y="227"/>
                </a:cubicBezTo>
                <a:cubicBezTo>
                  <a:pt x="190" y="223"/>
                  <a:pt x="190" y="223"/>
                  <a:pt x="190" y="223"/>
                </a:cubicBezTo>
                <a:cubicBezTo>
                  <a:pt x="189" y="223"/>
                  <a:pt x="189" y="223"/>
                  <a:pt x="189" y="223"/>
                </a:cubicBezTo>
                <a:cubicBezTo>
                  <a:pt x="189" y="221"/>
                  <a:pt x="189" y="221"/>
                  <a:pt x="189" y="221"/>
                </a:cubicBezTo>
                <a:cubicBezTo>
                  <a:pt x="188" y="221"/>
                  <a:pt x="188" y="221"/>
                  <a:pt x="188" y="221"/>
                </a:cubicBezTo>
                <a:cubicBezTo>
                  <a:pt x="184" y="223"/>
                  <a:pt x="184" y="223"/>
                  <a:pt x="184" y="223"/>
                </a:cubicBezTo>
                <a:cubicBezTo>
                  <a:pt x="181" y="223"/>
                  <a:pt x="181" y="223"/>
                  <a:pt x="181" y="223"/>
                </a:cubicBezTo>
                <a:cubicBezTo>
                  <a:pt x="180" y="224"/>
                  <a:pt x="180" y="224"/>
                  <a:pt x="180" y="224"/>
                </a:cubicBezTo>
                <a:cubicBezTo>
                  <a:pt x="179" y="225"/>
                  <a:pt x="179" y="225"/>
                  <a:pt x="179" y="225"/>
                </a:cubicBezTo>
                <a:cubicBezTo>
                  <a:pt x="178" y="226"/>
                  <a:pt x="178" y="226"/>
                  <a:pt x="178" y="226"/>
                </a:cubicBezTo>
                <a:cubicBezTo>
                  <a:pt x="177" y="226"/>
                  <a:pt x="177" y="226"/>
                  <a:pt x="177" y="226"/>
                </a:cubicBezTo>
                <a:cubicBezTo>
                  <a:pt x="176" y="227"/>
                  <a:pt x="176" y="227"/>
                  <a:pt x="176" y="227"/>
                </a:cubicBezTo>
                <a:cubicBezTo>
                  <a:pt x="176" y="228"/>
                  <a:pt x="176" y="228"/>
                  <a:pt x="176" y="228"/>
                </a:cubicBezTo>
                <a:close/>
                <a:moveTo>
                  <a:pt x="82" y="330"/>
                </a:moveTo>
                <a:cubicBezTo>
                  <a:pt x="83" y="330"/>
                  <a:pt x="83" y="330"/>
                  <a:pt x="83" y="330"/>
                </a:cubicBezTo>
                <a:cubicBezTo>
                  <a:pt x="84" y="330"/>
                  <a:pt x="84" y="330"/>
                  <a:pt x="84" y="330"/>
                </a:cubicBezTo>
                <a:cubicBezTo>
                  <a:pt x="83" y="329"/>
                  <a:pt x="83" y="329"/>
                  <a:pt x="83" y="329"/>
                </a:cubicBezTo>
                <a:cubicBezTo>
                  <a:pt x="83" y="330"/>
                  <a:pt x="83" y="330"/>
                  <a:pt x="83" y="330"/>
                </a:cubicBezTo>
                <a:cubicBezTo>
                  <a:pt x="82" y="330"/>
                  <a:pt x="82" y="330"/>
                  <a:pt x="82" y="330"/>
                </a:cubicBezTo>
                <a:close/>
                <a:moveTo>
                  <a:pt x="88" y="317"/>
                </a:moveTo>
                <a:cubicBezTo>
                  <a:pt x="89" y="318"/>
                  <a:pt x="89" y="318"/>
                  <a:pt x="89" y="318"/>
                </a:cubicBezTo>
                <a:cubicBezTo>
                  <a:pt x="89" y="317"/>
                  <a:pt x="89" y="317"/>
                  <a:pt x="89" y="317"/>
                </a:cubicBezTo>
                <a:cubicBezTo>
                  <a:pt x="88" y="317"/>
                  <a:pt x="88" y="317"/>
                  <a:pt x="88" y="317"/>
                </a:cubicBezTo>
                <a:close/>
                <a:moveTo>
                  <a:pt x="89" y="316"/>
                </a:moveTo>
                <a:cubicBezTo>
                  <a:pt x="89" y="316"/>
                  <a:pt x="89" y="316"/>
                  <a:pt x="89" y="316"/>
                </a:cubicBezTo>
                <a:cubicBezTo>
                  <a:pt x="89" y="316"/>
                  <a:pt x="89" y="316"/>
                  <a:pt x="89" y="316"/>
                </a:cubicBezTo>
                <a:cubicBezTo>
                  <a:pt x="89" y="315"/>
                  <a:pt x="89" y="315"/>
                  <a:pt x="89" y="315"/>
                </a:cubicBezTo>
                <a:cubicBezTo>
                  <a:pt x="89" y="316"/>
                  <a:pt x="89" y="316"/>
                  <a:pt x="89" y="316"/>
                </a:cubicBezTo>
                <a:close/>
                <a:moveTo>
                  <a:pt x="90" y="313"/>
                </a:moveTo>
                <a:cubicBezTo>
                  <a:pt x="90" y="314"/>
                  <a:pt x="90" y="314"/>
                  <a:pt x="90" y="314"/>
                </a:cubicBezTo>
                <a:cubicBezTo>
                  <a:pt x="90" y="314"/>
                  <a:pt x="90" y="314"/>
                  <a:pt x="90" y="314"/>
                </a:cubicBezTo>
                <a:cubicBezTo>
                  <a:pt x="90" y="313"/>
                  <a:pt x="90" y="313"/>
                  <a:pt x="90" y="313"/>
                </a:cubicBezTo>
                <a:cubicBezTo>
                  <a:pt x="90" y="313"/>
                  <a:pt x="90" y="313"/>
                  <a:pt x="90" y="313"/>
                </a:cubicBezTo>
                <a:cubicBezTo>
                  <a:pt x="90" y="313"/>
                  <a:pt x="90" y="313"/>
                  <a:pt x="90" y="313"/>
                </a:cubicBezTo>
                <a:close/>
                <a:moveTo>
                  <a:pt x="89" y="311"/>
                </a:moveTo>
                <a:cubicBezTo>
                  <a:pt x="89" y="312"/>
                  <a:pt x="89" y="312"/>
                  <a:pt x="89" y="312"/>
                </a:cubicBezTo>
                <a:cubicBezTo>
                  <a:pt x="90" y="312"/>
                  <a:pt x="90" y="312"/>
                  <a:pt x="90" y="312"/>
                </a:cubicBezTo>
                <a:cubicBezTo>
                  <a:pt x="90" y="312"/>
                  <a:pt x="90" y="312"/>
                  <a:pt x="90" y="312"/>
                </a:cubicBezTo>
                <a:cubicBezTo>
                  <a:pt x="91" y="312"/>
                  <a:pt x="91" y="312"/>
                  <a:pt x="91" y="312"/>
                </a:cubicBezTo>
                <a:cubicBezTo>
                  <a:pt x="91" y="312"/>
                  <a:pt x="91" y="312"/>
                  <a:pt x="91" y="312"/>
                </a:cubicBezTo>
                <a:cubicBezTo>
                  <a:pt x="91" y="311"/>
                  <a:pt x="91" y="311"/>
                  <a:pt x="91" y="311"/>
                </a:cubicBezTo>
                <a:cubicBezTo>
                  <a:pt x="90" y="311"/>
                  <a:pt x="90" y="311"/>
                  <a:pt x="90" y="311"/>
                </a:cubicBezTo>
                <a:cubicBezTo>
                  <a:pt x="89" y="311"/>
                  <a:pt x="89" y="311"/>
                  <a:pt x="89" y="311"/>
                </a:cubicBezTo>
                <a:cubicBezTo>
                  <a:pt x="89" y="311"/>
                  <a:pt x="89" y="311"/>
                  <a:pt x="89" y="311"/>
                </a:cubicBezTo>
                <a:close/>
                <a:moveTo>
                  <a:pt x="94" y="310"/>
                </a:moveTo>
                <a:cubicBezTo>
                  <a:pt x="94" y="310"/>
                  <a:pt x="94" y="310"/>
                  <a:pt x="94" y="310"/>
                </a:cubicBezTo>
                <a:cubicBezTo>
                  <a:pt x="94" y="309"/>
                  <a:pt x="94" y="309"/>
                  <a:pt x="94" y="309"/>
                </a:cubicBezTo>
                <a:cubicBezTo>
                  <a:pt x="94" y="309"/>
                  <a:pt x="94" y="309"/>
                  <a:pt x="94" y="309"/>
                </a:cubicBezTo>
                <a:cubicBezTo>
                  <a:pt x="94" y="310"/>
                  <a:pt x="94" y="310"/>
                  <a:pt x="94" y="310"/>
                </a:cubicBezTo>
                <a:close/>
                <a:moveTo>
                  <a:pt x="93" y="302"/>
                </a:moveTo>
                <a:cubicBezTo>
                  <a:pt x="93" y="303"/>
                  <a:pt x="93" y="303"/>
                  <a:pt x="93" y="303"/>
                </a:cubicBezTo>
                <a:cubicBezTo>
                  <a:pt x="94" y="304"/>
                  <a:pt x="94" y="304"/>
                  <a:pt x="94" y="304"/>
                </a:cubicBezTo>
                <a:cubicBezTo>
                  <a:pt x="96" y="304"/>
                  <a:pt x="96" y="304"/>
                  <a:pt x="96" y="304"/>
                </a:cubicBezTo>
                <a:cubicBezTo>
                  <a:pt x="96" y="305"/>
                  <a:pt x="96" y="305"/>
                  <a:pt x="96" y="305"/>
                </a:cubicBezTo>
                <a:cubicBezTo>
                  <a:pt x="96" y="304"/>
                  <a:pt x="96" y="304"/>
                  <a:pt x="96" y="304"/>
                </a:cubicBezTo>
                <a:cubicBezTo>
                  <a:pt x="96" y="304"/>
                  <a:pt x="96" y="304"/>
                  <a:pt x="96" y="304"/>
                </a:cubicBezTo>
                <a:cubicBezTo>
                  <a:pt x="94" y="303"/>
                  <a:pt x="94" y="303"/>
                  <a:pt x="94" y="303"/>
                </a:cubicBezTo>
                <a:cubicBezTo>
                  <a:pt x="94" y="302"/>
                  <a:pt x="94" y="302"/>
                  <a:pt x="94" y="302"/>
                </a:cubicBezTo>
                <a:cubicBezTo>
                  <a:pt x="93" y="302"/>
                  <a:pt x="93" y="302"/>
                  <a:pt x="93" y="302"/>
                </a:cubicBezTo>
                <a:close/>
                <a:moveTo>
                  <a:pt x="101" y="288"/>
                </a:moveTo>
                <a:cubicBezTo>
                  <a:pt x="102" y="289"/>
                  <a:pt x="102" y="289"/>
                  <a:pt x="102" y="289"/>
                </a:cubicBezTo>
                <a:cubicBezTo>
                  <a:pt x="102" y="290"/>
                  <a:pt x="102" y="290"/>
                  <a:pt x="102" y="290"/>
                </a:cubicBezTo>
                <a:cubicBezTo>
                  <a:pt x="102" y="291"/>
                  <a:pt x="102" y="291"/>
                  <a:pt x="102" y="291"/>
                </a:cubicBezTo>
                <a:cubicBezTo>
                  <a:pt x="102" y="292"/>
                  <a:pt x="102" y="292"/>
                  <a:pt x="102" y="292"/>
                </a:cubicBezTo>
                <a:cubicBezTo>
                  <a:pt x="103" y="292"/>
                  <a:pt x="103" y="292"/>
                  <a:pt x="103" y="292"/>
                </a:cubicBezTo>
                <a:cubicBezTo>
                  <a:pt x="103" y="291"/>
                  <a:pt x="103" y="291"/>
                  <a:pt x="103" y="291"/>
                </a:cubicBezTo>
                <a:cubicBezTo>
                  <a:pt x="103" y="290"/>
                  <a:pt x="103" y="290"/>
                  <a:pt x="103" y="290"/>
                </a:cubicBezTo>
                <a:cubicBezTo>
                  <a:pt x="102" y="289"/>
                  <a:pt x="102" y="289"/>
                  <a:pt x="102" y="289"/>
                </a:cubicBezTo>
                <a:cubicBezTo>
                  <a:pt x="102" y="288"/>
                  <a:pt x="102" y="288"/>
                  <a:pt x="102" y="288"/>
                </a:cubicBezTo>
                <a:cubicBezTo>
                  <a:pt x="102" y="288"/>
                  <a:pt x="102" y="288"/>
                  <a:pt x="102" y="288"/>
                </a:cubicBezTo>
                <a:cubicBezTo>
                  <a:pt x="101" y="288"/>
                  <a:pt x="101" y="288"/>
                  <a:pt x="101" y="288"/>
                </a:cubicBezTo>
                <a:close/>
                <a:moveTo>
                  <a:pt x="107" y="284"/>
                </a:moveTo>
                <a:cubicBezTo>
                  <a:pt x="107" y="285"/>
                  <a:pt x="107" y="285"/>
                  <a:pt x="107" y="285"/>
                </a:cubicBezTo>
                <a:cubicBezTo>
                  <a:pt x="108" y="285"/>
                  <a:pt x="108" y="285"/>
                  <a:pt x="108" y="285"/>
                </a:cubicBezTo>
                <a:cubicBezTo>
                  <a:pt x="108" y="285"/>
                  <a:pt x="108" y="285"/>
                  <a:pt x="108" y="285"/>
                </a:cubicBezTo>
                <a:cubicBezTo>
                  <a:pt x="108" y="284"/>
                  <a:pt x="108" y="284"/>
                  <a:pt x="108" y="284"/>
                </a:cubicBezTo>
                <a:cubicBezTo>
                  <a:pt x="107" y="284"/>
                  <a:pt x="107" y="284"/>
                  <a:pt x="107" y="284"/>
                </a:cubicBezTo>
                <a:close/>
                <a:moveTo>
                  <a:pt x="109" y="283"/>
                </a:moveTo>
                <a:cubicBezTo>
                  <a:pt x="109" y="283"/>
                  <a:pt x="109" y="283"/>
                  <a:pt x="109" y="283"/>
                </a:cubicBezTo>
                <a:cubicBezTo>
                  <a:pt x="109" y="283"/>
                  <a:pt x="109" y="283"/>
                  <a:pt x="109" y="283"/>
                </a:cubicBezTo>
                <a:cubicBezTo>
                  <a:pt x="109" y="282"/>
                  <a:pt x="109" y="282"/>
                  <a:pt x="109" y="282"/>
                </a:cubicBezTo>
                <a:cubicBezTo>
                  <a:pt x="109" y="283"/>
                  <a:pt x="109" y="283"/>
                  <a:pt x="109" y="283"/>
                </a:cubicBezTo>
                <a:close/>
                <a:moveTo>
                  <a:pt x="119" y="282"/>
                </a:moveTo>
                <a:cubicBezTo>
                  <a:pt x="120" y="281"/>
                  <a:pt x="120" y="281"/>
                  <a:pt x="120" y="281"/>
                </a:cubicBezTo>
                <a:cubicBezTo>
                  <a:pt x="121" y="281"/>
                  <a:pt x="121" y="281"/>
                  <a:pt x="121" y="281"/>
                </a:cubicBezTo>
                <a:cubicBezTo>
                  <a:pt x="121" y="281"/>
                  <a:pt x="121" y="281"/>
                  <a:pt x="121" y="281"/>
                </a:cubicBezTo>
                <a:cubicBezTo>
                  <a:pt x="120" y="279"/>
                  <a:pt x="120" y="279"/>
                  <a:pt x="120" y="279"/>
                </a:cubicBezTo>
                <a:cubicBezTo>
                  <a:pt x="120" y="279"/>
                  <a:pt x="120" y="279"/>
                  <a:pt x="120" y="279"/>
                </a:cubicBezTo>
                <a:cubicBezTo>
                  <a:pt x="119" y="278"/>
                  <a:pt x="119" y="278"/>
                  <a:pt x="119" y="278"/>
                </a:cubicBezTo>
                <a:cubicBezTo>
                  <a:pt x="119" y="278"/>
                  <a:pt x="119" y="278"/>
                  <a:pt x="119" y="278"/>
                </a:cubicBezTo>
                <a:cubicBezTo>
                  <a:pt x="118" y="279"/>
                  <a:pt x="118" y="279"/>
                  <a:pt x="118" y="279"/>
                </a:cubicBezTo>
                <a:cubicBezTo>
                  <a:pt x="118" y="280"/>
                  <a:pt x="118" y="280"/>
                  <a:pt x="118" y="280"/>
                </a:cubicBezTo>
                <a:cubicBezTo>
                  <a:pt x="117" y="281"/>
                  <a:pt x="117" y="281"/>
                  <a:pt x="117" y="281"/>
                </a:cubicBezTo>
                <a:cubicBezTo>
                  <a:pt x="118" y="281"/>
                  <a:pt x="118" y="281"/>
                  <a:pt x="118" y="281"/>
                </a:cubicBezTo>
                <a:cubicBezTo>
                  <a:pt x="118" y="282"/>
                  <a:pt x="118" y="282"/>
                  <a:pt x="118" y="282"/>
                </a:cubicBezTo>
                <a:cubicBezTo>
                  <a:pt x="119" y="282"/>
                  <a:pt x="119" y="282"/>
                  <a:pt x="119" y="282"/>
                </a:cubicBezTo>
                <a:close/>
                <a:moveTo>
                  <a:pt x="123" y="281"/>
                </a:moveTo>
                <a:cubicBezTo>
                  <a:pt x="123" y="281"/>
                  <a:pt x="123" y="281"/>
                  <a:pt x="123" y="281"/>
                </a:cubicBezTo>
                <a:cubicBezTo>
                  <a:pt x="123" y="280"/>
                  <a:pt x="123" y="280"/>
                  <a:pt x="123" y="280"/>
                </a:cubicBezTo>
                <a:cubicBezTo>
                  <a:pt x="122" y="280"/>
                  <a:pt x="122" y="280"/>
                  <a:pt x="122" y="280"/>
                </a:cubicBezTo>
                <a:cubicBezTo>
                  <a:pt x="122" y="281"/>
                  <a:pt x="122" y="281"/>
                  <a:pt x="122" y="281"/>
                </a:cubicBezTo>
                <a:cubicBezTo>
                  <a:pt x="123" y="282"/>
                  <a:pt x="123" y="282"/>
                  <a:pt x="123" y="282"/>
                </a:cubicBezTo>
                <a:cubicBezTo>
                  <a:pt x="123" y="281"/>
                  <a:pt x="123" y="281"/>
                  <a:pt x="123" y="281"/>
                </a:cubicBezTo>
                <a:close/>
                <a:moveTo>
                  <a:pt x="197" y="240"/>
                </a:moveTo>
                <a:cubicBezTo>
                  <a:pt x="198" y="240"/>
                  <a:pt x="198" y="240"/>
                  <a:pt x="198" y="240"/>
                </a:cubicBezTo>
                <a:cubicBezTo>
                  <a:pt x="198" y="239"/>
                  <a:pt x="198" y="239"/>
                  <a:pt x="198" y="239"/>
                </a:cubicBezTo>
                <a:cubicBezTo>
                  <a:pt x="198" y="239"/>
                  <a:pt x="198" y="239"/>
                  <a:pt x="198" y="239"/>
                </a:cubicBezTo>
                <a:cubicBezTo>
                  <a:pt x="197" y="239"/>
                  <a:pt x="197" y="239"/>
                  <a:pt x="197" y="239"/>
                </a:cubicBezTo>
                <a:cubicBezTo>
                  <a:pt x="197" y="240"/>
                  <a:pt x="197" y="240"/>
                  <a:pt x="197" y="240"/>
                </a:cubicBezTo>
                <a:close/>
                <a:moveTo>
                  <a:pt x="184" y="229"/>
                </a:moveTo>
                <a:cubicBezTo>
                  <a:pt x="185" y="229"/>
                  <a:pt x="185" y="229"/>
                  <a:pt x="185" y="229"/>
                </a:cubicBezTo>
                <a:cubicBezTo>
                  <a:pt x="185" y="229"/>
                  <a:pt x="185" y="229"/>
                  <a:pt x="185" y="229"/>
                </a:cubicBezTo>
                <a:cubicBezTo>
                  <a:pt x="185" y="229"/>
                  <a:pt x="185" y="229"/>
                  <a:pt x="185" y="229"/>
                </a:cubicBezTo>
                <a:cubicBezTo>
                  <a:pt x="184" y="228"/>
                  <a:pt x="184" y="228"/>
                  <a:pt x="184" y="228"/>
                </a:cubicBezTo>
                <a:cubicBezTo>
                  <a:pt x="184" y="228"/>
                  <a:pt x="184" y="229"/>
                  <a:pt x="184" y="229"/>
                </a:cubicBezTo>
                <a:close/>
                <a:moveTo>
                  <a:pt x="178" y="224"/>
                </a:moveTo>
                <a:cubicBezTo>
                  <a:pt x="179" y="224"/>
                  <a:pt x="179" y="224"/>
                  <a:pt x="179" y="224"/>
                </a:cubicBezTo>
                <a:cubicBezTo>
                  <a:pt x="180" y="224"/>
                  <a:pt x="180" y="224"/>
                  <a:pt x="180" y="224"/>
                </a:cubicBezTo>
                <a:cubicBezTo>
                  <a:pt x="180" y="223"/>
                  <a:pt x="180" y="223"/>
                  <a:pt x="180" y="223"/>
                </a:cubicBezTo>
                <a:cubicBezTo>
                  <a:pt x="179" y="223"/>
                  <a:pt x="179" y="223"/>
                  <a:pt x="179" y="223"/>
                </a:cubicBezTo>
                <a:cubicBezTo>
                  <a:pt x="178" y="224"/>
                  <a:pt x="178" y="224"/>
                  <a:pt x="178" y="224"/>
                </a:cubicBezTo>
                <a:close/>
                <a:moveTo>
                  <a:pt x="190" y="221"/>
                </a:moveTo>
                <a:cubicBezTo>
                  <a:pt x="190" y="221"/>
                  <a:pt x="190" y="221"/>
                  <a:pt x="190" y="221"/>
                </a:cubicBezTo>
                <a:cubicBezTo>
                  <a:pt x="190" y="222"/>
                  <a:pt x="190" y="222"/>
                  <a:pt x="190" y="222"/>
                </a:cubicBezTo>
                <a:cubicBezTo>
                  <a:pt x="191" y="222"/>
                  <a:pt x="191" y="222"/>
                  <a:pt x="191" y="222"/>
                </a:cubicBezTo>
                <a:cubicBezTo>
                  <a:pt x="190" y="221"/>
                  <a:pt x="190" y="221"/>
                  <a:pt x="190" y="221"/>
                </a:cubicBezTo>
                <a:cubicBezTo>
                  <a:pt x="190" y="220"/>
                  <a:pt x="190" y="220"/>
                  <a:pt x="190" y="220"/>
                </a:cubicBezTo>
                <a:cubicBezTo>
                  <a:pt x="190" y="221"/>
                  <a:pt x="190" y="221"/>
                  <a:pt x="190" y="221"/>
                </a:cubicBezTo>
                <a:close/>
                <a:moveTo>
                  <a:pt x="197" y="197"/>
                </a:moveTo>
                <a:cubicBezTo>
                  <a:pt x="197" y="198"/>
                  <a:pt x="197" y="198"/>
                  <a:pt x="197" y="198"/>
                </a:cubicBezTo>
                <a:cubicBezTo>
                  <a:pt x="198" y="198"/>
                  <a:pt x="198" y="198"/>
                  <a:pt x="198" y="198"/>
                </a:cubicBezTo>
                <a:cubicBezTo>
                  <a:pt x="198" y="199"/>
                  <a:pt x="198" y="199"/>
                  <a:pt x="198" y="199"/>
                </a:cubicBezTo>
                <a:cubicBezTo>
                  <a:pt x="198" y="201"/>
                  <a:pt x="198" y="201"/>
                  <a:pt x="198" y="201"/>
                </a:cubicBezTo>
                <a:cubicBezTo>
                  <a:pt x="199" y="202"/>
                  <a:pt x="199" y="202"/>
                  <a:pt x="199" y="202"/>
                </a:cubicBezTo>
                <a:cubicBezTo>
                  <a:pt x="201" y="202"/>
                  <a:pt x="201" y="202"/>
                  <a:pt x="201" y="202"/>
                </a:cubicBezTo>
                <a:cubicBezTo>
                  <a:pt x="202" y="204"/>
                  <a:pt x="202" y="204"/>
                  <a:pt x="202" y="204"/>
                </a:cubicBezTo>
                <a:cubicBezTo>
                  <a:pt x="203" y="205"/>
                  <a:pt x="203" y="205"/>
                  <a:pt x="203" y="205"/>
                </a:cubicBezTo>
                <a:cubicBezTo>
                  <a:pt x="204" y="205"/>
                  <a:pt x="204" y="205"/>
                  <a:pt x="204" y="205"/>
                </a:cubicBezTo>
                <a:cubicBezTo>
                  <a:pt x="205" y="206"/>
                  <a:pt x="205" y="206"/>
                  <a:pt x="205" y="206"/>
                </a:cubicBezTo>
                <a:cubicBezTo>
                  <a:pt x="205" y="206"/>
                  <a:pt x="205" y="206"/>
                  <a:pt x="205" y="206"/>
                </a:cubicBezTo>
                <a:cubicBezTo>
                  <a:pt x="206" y="207"/>
                  <a:pt x="206" y="207"/>
                  <a:pt x="206" y="207"/>
                </a:cubicBezTo>
                <a:cubicBezTo>
                  <a:pt x="207" y="206"/>
                  <a:pt x="207" y="206"/>
                  <a:pt x="207" y="206"/>
                </a:cubicBezTo>
                <a:cubicBezTo>
                  <a:pt x="207" y="205"/>
                  <a:pt x="207" y="205"/>
                  <a:pt x="207" y="205"/>
                </a:cubicBezTo>
                <a:cubicBezTo>
                  <a:pt x="207" y="205"/>
                  <a:pt x="207" y="205"/>
                  <a:pt x="207" y="205"/>
                </a:cubicBezTo>
                <a:cubicBezTo>
                  <a:pt x="206" y="204"/>
                  <a:pt x="206" y="204"/>
                  <a:pt x="206" y="204"/>
                </a:cubicBezTo>
                <a:cubicBezTo>
                  <a:pt x="205" y="203"/>
                  <a:pt x="205" y="203"/>
                  <a:pt x="205" y="203"/>
                </a:cubicBezTo>
                <a:cubicBezTo>
                  <a:pt x="205" y="203"/>
                  <a:pt x="205" y="203"/>
                  <a:pt x="205" y="203"/>
                </a:cubicBezTo>
                <a:cubicBezTo>
                  <a:pt x="204" y="202"/>
                  <a:pt x="204" y="202"/>
                  <a:pt x="204" y="202"/>
                </a:cubicBezTo>
                <a:cubicBezTo>
                  <a:pt x="204" y="202"/>
                  <a:pt x="204" y="202"/>
                  <a:pt x="204" y="202"/>
                </a:cubicBezTo>
                <a:cubicBezTo>
                  <a:pt x="205" y="201"/>
                  <a:pt x="205" y="201"/>
                  <a:pt x="205" y="201"/>
                </a:cubicBezTo>
                <a:cubicBezTo>
                  <a:pt x="205" y="202"/>
                  <a:pt x="205" y="202"/>
                  <a:pt x="205" y="202"/>
                </a:cubicBezTo>
                <a:cubicBezTo>
                  <a:pt x="206" y="202"/>
                  <a:pt x="206" y="202"/>
                  <a:pt x="206" y="202"/>
                </a:cubicBezTo>
                <a:cubicBezTo>
                  <a:pt x="208" y="203"/>
                  <a:pt x="208" y="203"/>
                  <a:pt x="208" y="203"/>
                </a:cubicBezTo>
                <a:cubicBezTo>
                  <a:pt x="208" y="203"/>
                  <a:pt x="208" y="203"/>
                  <a:pt x="208" y="203"/>
                </a:cubicBezTo>
                <a:cubicBezTo>
                  <a:pt x="208" y="203"/>
                  <a:pt x="208" y="203"/>
                  <a:pt x="208" y="203"/>
                </a:cubicBezTo>
                <a:cubicBezTo>
                  <a:pt x="208" y="201"/>
                  <a:pt x="208" y="201"/>
                  <a:pt x="208" y="201"/>
                </a:cubicBezTo>
                <a:cubicBezTo>
                  <a:pt x="205" y="200"/>
                  <a:pt x="205" y="200"/>
                  <a:pt x="205" y="200"/>
                </a:cubicBezTo>
                <a:cubicBezTo>
                  <a:pt x="204" y="198"/>
                  <a:pt x="204" y="198"/>
                  <a:pt x="204" y="198"/>
                </a:cubicBezTo>
                <a:cubicBezTo>
                  <a:pt x="203" y="198"/>
                  <a:pt x="203" y="198"/>
                  <a:pt x="203" y="198"/>
                </a:cubicBezTo>
                <a:cubicBezTo>
                  <a:pt x="202" y="198"/>
                  <a:pt x="202" y="198"/>
                  <a:pt x="202" y="198"/>
                </a:cubicBezTo>
                <a:cubicBezTo>
                  <a:pt x="201" y="197"/>
                  <a:pt x="201" y="197"/>
                  <a:pt x="201" y="197"/>
                </a:cubicBezTo>
                <a:cubicBezTo>
                  <a:pt x="200" y="197"/>
                  <a:pt x="200" y="197"/>
                  <a:pt x="200" y="197"/>
                </a:cubicBezTo>
                <a:cubicBezTo>
                  <a:pt x="199" y="197"/>
                  <a:pt x="199" y="197"/>
                  <a:pt x="199" y="197"/>
                </a:cubicBezTo>
                <a:cubicBezTo>
                  <a:pt x="198" y="196"/>
                  <a:pt x="198" y="196"/>
                  <a:pt x="198" y="196"/>
                </a:cubicBezTo>
                <a:cubicBezTo>
                  <a:pt x="197" y="197"/>
                  <a:pt x="197" y="197"/>
                  <a:pt x="197" y="197"/>
                </a:cubicBezTo>
                <a:close/>
                <a:moveTo>
                  <a:pt x="194" y="198"/>
                </a:moveTo>
                <a:cubicBezTo>
                  <a:pt x="195" y="197"/>
                  <a:pt x="195" y="197"/>
                  <a:pt x="195" y="197"/>
                </a:cubicBezTo>
                <a:cubicBezTo>
                  <a:pt x="195" y="196"/>
                  <a:pt x="195" y="196"/>
                  <a:pt x="195" y="196"/>
                </a:cubicBezTo>
                <a:cubicBezTo>
                  <a:pt x="196" y="196"/>
                  <a:pt x="196" y="196"/>
                  <a:pt x="196" y="196"/>
                </a:cubicBezTo>
                <a:cubicBezTo>
                  <a:pt x="194" y="196"/>
                  <a:pt x="194" y="196"/>
                  <a:pt x="194" y="196"/>
                </a:cubicBezTo>
                <a:cubicBezTo>
                  <a:pt x="194" y="197"/>
                  <a:pt x="194" y="197"/>
                  <a:pt x="194" y="197"/>
                </a:cubicBezTo>
                <a:cubicBezTo>
                  <a:pt x="194" y="198"/>
                  <a:pt x="194" y="198"/>
                  <a:pt x="194" y="198"/>
                </a:cubicBezTo>
                <a:close/>
                <a:moveTo>
                  <a:pt x="197" y="195"/>
                </a:moveTo>
                <a:cubicBezTo>
                  <a:pt x="198" y="196"/>
                  <a:pt x="198" y="196"/>
                  <a:pt x="198" y="196"/>
                </a:cubicBezTo>
                <a:cubicBezTo>
                  <a:pt x="200" y="196"/>
                  <a:pt x="200" y="196"/>
                  <a:pt x="200" y="196"/>
                </a:cubicBezTo>
                <a:cubicBezTo>
                  <a:pt x="201" y="197"/>
                  <a:pt x="201" y="197"/>
                  <a:pt x="201" y="197"/>
                </a:cubicBezTo>
                <a:cubicBezTo>
                  <a:pt x="203" y="197"/>
                  <a:pt x="203" y="197"/>
                  <a:pt x="203" y="197"/>
                </a:cubicBezTo>
                <a:cubicBezTo>
                  <a:pt x="204" y="198"/>
                  <a:pt x="204" y="198"/>
                  <a:pt x="204" y="198"/>
                </a:cubicBezTo>
                <a:cubicBezTo>
                  <a:pt x="205" y="198"/>
                  <a:pt x="205" y="198"/>
                  <a:pt x="205" y="198"/>
                </a:cubicBezTo>
                <a:cubicBezTo>
                  <a:pt x="206" y="198"/>
                  <a:pt x="206" y="198"/>
                  <a:pt x="206" y="198"/>
                </a:cubicBezTo>
                <a:cubicBezTo>
                  <a:pt x="206" y="199"/>
                  <a:pt x="206" y="199"/>
                  <a:pt x="206" y="199"/>
                </a:cubicBezTo>
                <a:cubicBezTo>
                  <a:pt x="206" y="199"/>
                  <a:pt x="206" y="199"/>
                  <a:pt x="206" y="199"/>
                </a:cubicBezTo>
                <a:cubicBezTo>
                  <a:pt x="207" y="199"/>
                  <a:pt x="207" y="199"/>
                  <a:pt x="207" y="199"/>
                </a:cubicBezTo>
                <a:cubicBezTo>
                  <a:pt x="208" y="199"/>
                  <a:pt x="208" y="199"/>
                  <a:pt x="208" y="199"/>
                </a:cubicBezTo>
                <a:cubicBezTo>
                  <a:pt x="209" y="199"/>
                  <a:pt x="209" y="199"/>
                  <a:pt x="209" y="199"/>
                </a:cubicBezTo>
                <a:cubicBezTo>
                  <a:pt x="209" y="198"/>
                  <a:pt x="209" y="198"/>
                  <a:pt x="209" y="198"/>
                </a:cubicBezTo>
                <a:cubicBezTo>
                  <a:pt x="209" y="198"/>
                  <a:pt x="209" y="198"/>
                  <a:pt x="209" y="198"/>
                </a:cubicBezTo>
                <a:cubicBezTo>
                  <a:pt x="209" y="197"/>
                  <a:pt x="209" y="197"/>
                  <a:pt x="209" y="197"/>
                </a:cubicBezTo>
                <a:cubicBezTo>
                  <a:pt x="210" y="197"/>
                  <a:pt x="210" y="197"/>
                  <a:pt x="210" y="197"/>
                </a:cubicBezTo>
                <a:cubicBezTo>
                  <a:pt x="208" y="196"/>
                  <a:pt x="208" y="196"/>
                  <a:pt x="208" y="196"/>
                </a:cubicBezTo>
                <a:cubicBezTo>
                  <a:pt x="207" y="195"/>
                  <a:pt x="207" y="195"/>
                  <a:pt x="207" y="195"/>
                </a:cubicBezTo>
                <a:cubicBezTo>
                  <a:pt x="205" y="194"/>
                  <a:pt x="205" y="194"/>
                  <a:pt x="205" y="194"/>
                </a:cubicBezTo>
                <a:cubicBezTo>
                  <a:pt x="204" y="194"/>
                  <a:pt x="204" y="194"/>
                  <a:pt x="204" y="194"/>
                </a:cubicBezTo>
                <a:cubicBezTo>
                  <a:pt x="202" y="195"/>
                  <a:pt x="202" y="195"/>
                  <a:pt x="202" y="195"/>
                </a:cubicBezTo>
                <a:cubicBezTo>
                  <a:pt x="201" y="195"/>
                  <a:pt x="201" y="195"/>
                  <a:pt x="201" y="195"/>
                </a:cubicBezTo>
                <a:cubicBezTo>
                  <a:pt x="199" y="195"/>
                  <a:pt x="199" y="195"/>
                  <a:pt x="199" y="195"/>
                </a:cubicBezTo>
                <a:cubicBezTo>
                  <a:pt x="198" y="195"/>
                  <a:pt x="198" y="195"/>
                  <a:pt x="198" y="195"/>
                </a:cubicBezTo>
                <a:cubicBezTo>
                  <a:pt x="198" y="195"/>
                  <a:pt x="197" y="195"/>
                  <a:pt x="197" y="195"/>
                </a:cubicBezTo>
                <a:close/>
                <a:moveTo>
                  <a:pt x="192" y="191"/>
                </a:moveTo>
                <a:cubicBezTo>
                  <a:pt x="193" y="192"/>
                  <a:pt x="193" y="192"/>
                  <a:pt x="193" y="192"/>
                </a:cubicBezTo>
                <a:cubicBezTo>
                  <a:pt x="195" y="192"/>
                  <a:pt x="195" y="192"/>
                  <a:pt x="195" y="192"/>
                </a:cubicBezTo>
                <a:cubicBezTo>
                  <a:pt x="196" y="193"/>
                  <a:pt x="196" y="193"/>
                  <a:pt x="196" y="193"/>
                </a:cubicBezTo>
                <a:cubicBezTo>
                  <a:pt x="198" y="194"/>
                  <a:pt x="198" y="194"/>
                  <a:pt x="198" y="194"/>
                </a:cubicBezTo>
                <a:cubicBezTo>
                  <a:pt x="200" y="194"/>
                  <a:pt x="200" y="194"/>
                  <a:pt x="200" y="194"/>
                </a:cubicBezTo>
                <a:cubicBezTo>
                  <a:pt x="204" y="194"/>
                  <a:pt x="204" y="194"/>
                  <a:pt x="204" y="194"/>
                </a:cubicBezTo>
                <a:cubicBezTo>
                  <a:pt x="205" y="194"/>
                  <a:pt x="205" y="194"/>
                  <a:pt x="205" y="194"/>
                </a:cubicBezTo>
                <a:cubicBezTo>
                  <a:pt x="205" y="193"/>
                  <a:pt x="205" y="193"/>
                  <a:pt x="205" y="193"/>
                </a:cubicBezTo>
                <a:cubicBezTo>
                  <a:pt x="204" y="193"/>
                  <a:pt x="204" y="193"/>
                  <a:pt x="204" y="193"/>
                </a:cubicBezTo>
                <a:cubicBezTo>
                  <a:pt x="201" y="193"/>
                  <a:pt x="201" y="193"/>
                  <a:pt x="201" y="193"/>
                </a:cubicBezTo>
                <a:cubicBezTo>
                  <a:pt x="200" y="193"/>
                  <a:pt x="200" y="193"/>
                  <a:pt x="200" y="193"/>
                </a:cubicBezTo>
                <a:cubicBezTo>
                  <a:pt x="198" y="192"/>
                  <a:pt x="198" y="192"/>
                  <a:pt x="198" y="192"/>
                </a:cubicBezTo>
                <a:cubicBezTo>
                  <a:pt x="197" y="191"/>
                  <a:pt x="197" y="191"/>
                  <a:pt x="197" y="191"/>
                </a:cubicBezTo>
                <a:cubicBezTo>
                  <a:pt x="196" y="191"/>
                  <a:pt x="196" y="191"/>
                  <a:pt x="196" y="191"/>
                </a:cubicBezTo>
                <a:cubicBezTo>
                  <a:pt x="197" y="190"/>
                  <a:pt x="197" y="190"/>
                  <a:pt x="197" y="190"/>
                </a:cubicBezTo>
                <a:cubicBezTo>
                  <a:pt x="198" y="190"/>
                  <a:pt x="198" y="190"/>
                  <a:pt x="198" y="190"/>
                </a:cubicBezTo>
                <a:cubicBezTo>
                  <a:pt x="200" y="192"/>
                  <a:pt x="200" y="192"/>
                  <a:pt x="200" y="192"/>
                </a:cubicBezTo>
                <a:cubicBezTo>
                  <a:pt x="202" y="192"/>
                  <a:pt x="202" y="192"/>
                  <a:pt x="202" y="192"/>
                </a:cubicBezTo>
                <a:cubicBezTo>
                  <a:pt x="203" y="192"/>
                  <a:pt x="203" y="192"/>
                  <a:pt x="203" y="192"/>
                </a:cubicBezTo>
                <a:cubicBezTo>
                  <a:pt x="202" y="191"/>
                  <a:pt x="202" y="191"/>
                  <a:pt x="202" y="191"/>
                </a:cubicBezTo>
                <a:cubicBezTo>
                  <a:pt x="199" y="189"/>
                  <a:pt x="199" y="189"/>
                  <a:pt x="199" y="189"/>
                </a:cubicBezTo>
                <a:cubicBezTo>
                  <a:pt x="196" y="189"/>
                  <a:pt x="196" y="189"/>
                  <a:pt x="196" y="189"/>
                </a:cubicBezTo>
                <a:cubicBezTo>
                  <a:pt x="195" y="189"/>
                  <a:pt x="195" y="189"/>
                  <a:pt x="195" y="189"/>
                </a:cubicBezTo>
                <a:cubicBezTo>
                  <a:pt x="195" y="190"/>
                  <a:pt x="195" y="190"/>
                  <a:pt x="195" y="190"/>
                </a:cubicBezTo>
                <a:cubicBezTo>
                  <a:pt x="193" y="190"/>
                  <a:pt x="193" y="190"/>
                  <a:pt x="193" y="190"/>
                </a:cubicBezTo>
                <a:cubicBezTo>
                  <a:pt x="192" y="191"/>
                  <a:pt x="192" y="191"/>
                  <a:pt x="192" y="191"/>
                </a:cubicBezTo>
                <a:close/>
                <a:moveTo>
                  <a:pt x="211" y="194"/>
                </a:moveTo>
                <a:cubicBezTo>
                  <a:pt x="212" y="194"/>
                  <a:pt x="212" y="194"/>
                  <a:pt x="212" y="194"/>
                </a:cubicBezTo>
                <a:cubicBezTo>
                  <a:pt x="213" y="194"/>
                  <a:pt x="213" y="194"/>
                  <a:pt x="213" y="194"/>
                </a:cubicBezTo>
                <a:cubicBezTo>
                  <a:pt x="213" y="193"/>
                  <a:pt x="213" y="193"/>
                  <a:pt x="213" y="193"/>
                </a:cubicBezTo>
                <a:cubicBezTo>
                  <a:pt x="212" y="194"/>
                  <a:pt x="212" y="194"/>
                  <a:pt x="212" y="194"/>
                </a:cubicBezTo>
                <a:cubicBezTo>
                  <a:pt x="211" y="194"/>
                  <a:pt x="211" y="194"/>
                  <a:pt x="211" y="194"/>
                </a:cubicBezTo>
                <a:close/>
                <a:moveTo>
                  <a:pt x="213" y="175"/>
                </a:moveTo>
                <a:cubicBezTo>
                  <a:pt x="212" y="177"/>
                  <a:pt x="212" y="177"/>
                  <a:pt x="212" y="177"/>
                </a:cubicBezTo>
                <a:cubicBezTo>
                  <a:pt x="212" y="178"/>
                  <a:pt x="212" y="178"/>
                  <a:pt x="212" y="178"/>
                </a:cubicBezTo>
                <a:cubicBezTo>
                  <a:pt x="212" y="179"/>
                  <a:pt x="212" y="179"/>
                  <a:pt x="212" y="179"/>
                </a:cubicBezTo>
                <a:cubicBezTo>
                  <a:pt x="213" y="179"/>
                  <a:pt x="213" y="179"/>
                  <a:pt x="213" y="179"/>
                </a:cubicBezTo>
                <a:cubicBezTo>
                  <a:pt x="215" y="180"/>
                  <a:pt x="215" y="180"/>
                  <a:pt x="215" y="180"/>
                </a:cubicBezTo>
                <a:cubicBezTo>
                  <a:pt x="215" y="180"/>
                  <a:pt x="215" y="180"/>
                  <a:pt x="215" y="180"/>
                </a:cubicBezTo>
                <a:cubicBezTo>
                  <a:pt x="217" y="180"/>
                  <a:pt x="217" y="180"/>
                  <a:pt x="217" y="180"/>
                </a:cubicBezTo>
                <a:cubicBezTo>
                  <a:pt x="218" y="180"/>
                  <a:pt x="218" y="180"/>
                  <a:pt x="218" y="180"/>
                </a:cubicBezTo>
                <a:cubicBezTo>
                  <a:pt x="218" y="178"/>
                  <a:pt x="218" y="178"/>
                  <a:pt x="218" y="178"/>
                </a:cubicBezTo>
                <a:cubicBezTo>
                  <a:pt x="219" y="178"/>
                  <a:pt x="219" y="178"/>
                  <a:pt x="219" y="178"/>
                </a:cubicBezTo>
                <a:cubicBezTo>
                  <a:pt x="218" y="176"/>
                  <a:pt x="218" y="176"/>
                  <a:pt x="218" y="176"/>
                </a:cubicBezTo>
                <a:cubicBezTo>
                  <a:pt x="216" y="175"/>
                  <a:pt x="216" y="175"/>
                  <a:pt x="216" y="175"/>
                </a:cubicBezTo>
                <a:cubicBezTo>
                  <a:pt x="214" y="175"/>
                  <a:pt x="214" y="175"/>
                  <a:pt x="214" y="175"/>
                </a:cubicBezTo>
                <a:cubicBezTo>
                  <a:pt x="213" y="175"/>
                  <a:pt x="213" y="175"/>
                  <a:pt x="213" y="175"/>
                </a:cubicBezTo>
                <a:close/>
                <a:moveTo>
                  <a:pt x="224" y="174"/>
                </a:moveTo>
                <a:cubicBezTo>
                  <a:pt x="225" y="174"/>
                  <a:pt x="225" y="174"/>
                  <a:pt x="225" y="174"/>
                </a:cubicBezTo>
                <a:cubicBezTo>
                  <a:pt x="226" y="173"/>
                  <a:pt x="226" y="173"/>
                  <a:pt x="226" y="173"/>
                </a:cubicBezTo>
                <a:cubicBezTo>
                  <a:pt x="226" y="173"/>
                  <a:pt x="226" y="173"/>
                  <a:pt x="226" y="173"/>
                </a:cubicBezTo>
                <a:cubicBezTo>
                  <a:pt x="225" y="173"/>
                  <a:pt x="225" y="173"/>
                  <a:pt x="225" y="173"/>
                </a:cubicBezTo>
                <a:cubicBezTo>
                  <a:pt x="224" y="173"/>
                  <a:pt x="224" y="173"/>
                  <a:pt x="224" y="173"/>
                </a:cubicBezTo>
                <a:cubicBezTo>
                  <a:pt x="224" y="174"/>
                  <a:pt x="224" y="174"/>
                  <a:pt x="224" y="174"/>
                </a:cubicBezTo>
                <a:close/>
                <a:moveTo>
                  <a:pt x="219" y="167"/>
                </a:moveTo>
                <a:cubicBezTo>
                  <a:pt x="219" y="168"/>
                  <a:pt x="219" y="168"/>
                  <a:pt x="219" y="168"/>
                </a:cubicBezTo>
                <a:cubicBezTo>
                  <a:pt x="219" y="170"/>
                  <a:pt x="219" y="170"/>
                  <a:pt x="219" y="170"/>
                </a:cubicBezTo>
                <a:cubicBezTo>
                  <a:pt x="219" y="171"/>
                  <a:pt x="219" y="171"/>
                  <a:pt x="219" y="171"/>
                </a:cubicBezTo>
                <a:cubicBezTo>
                  <a:pt x="220" y="171"/>
                  <a:pt x="220" y="171"/>
                  <a:pt x="220" y="171"/>
                </a:cubicBezTo>
                <a:cubicBezTo>
                  <a:pt x="221" y="171"/>
                  <a:pt x="221" y="171"/>
                  <a:pt x="221" y="171"/>
                </a:cubicBezTo>
                <a:cubicBezTo>
                  <a:pt x="221" y="170"/>
                  <a:pt x="221" y="170"/>
                  <a:pt x="221" y="170"/>
                </a:cubicBezTo>
                <a:cubicBezTo>
                  <a:pt x="221" y="169"/>
                  <a:pt x="221" y="169"/>
                  <a:pt x="221" y="169"/>
                </a:cubicBezTo>
                <a:cubicBezTo>
                  <a:pt x="221" y="168"/>
                  <a:pt x="221" y="168"/>
                  <a:pt x="221" y="168"/>
                </a:cubicBezTo>
                <a:cubicBezTo>
                  <a:pt x="220" y="167"/>
                  <a:pt x="220" y="167"/>
                  <a:pt x="220" y="167"/>
                </a:cubicBezTo>
                <a:cubicBezTo>
                  <a:pt x="219" y="167"/>
                  <a:pt x="219" y="167"/>
                  <a:pt x="219" y="167"/>
                </a:cubicBezTo>
                <a:close/>
                <a:moveTo>
                  <a:pt x="227" y="162"/>
                </a:moveTo>
                <a:cubicBezTo>
                  <a:pt x="227" y="165"/>
                  <a:pt x="227" y="165"/>
                  <a:pt x="227" y="165"/>
                </a:cubicBezTo>
                <a:cubicBezTo>
                  <a:pt x="226" y="166"/>
                  <a:pt x="226" y="166"/>
                  <a:pt x="226" y="166"/>
                </a:cubicBezTo>
                <a:cubicBezTo>
                  <a:pt x="227" y="167"/>
                  <a:pt x="227" y="167"/>
                  <a:pt x="227" y="167"/>
                </a:cubicBezTo>
                <a:cubicBezTo>
                  <a:pt x="228" y="168"/>
                  <a:pt x="228" y="168"/>
                  <a:pt x="228" y="168"/>
                </a:cubicBezTo>
                <a:cubicBezTo>
                  <a:pt x="229" y="168"/>
                  <a:pt x="229" y="168"/>
                  <a:pt x="229" y="168"/>
                </a:cubicBezTo>
                <a:cubicBezTo>
                  <a:pt x="230" y="168"/>
                  <a:pt x="230" y="168"/>
                  <a:pt x="230" y="168"/>
                </a:cubicBezTo>
                <a:cubicBezTo>
                  <a:pt x="231" y="168"/>
                  <a:pt x="231" y="168"/>
                  <a:pt x="231" y="168"/>
                </a:cubicBezTo>
                <a:cubicBezTo>
                  <a:pt x="231" y="169"/>
                  <a:pt x="231" y="169"/>
                  <a:pt x="231" y="169"/>
                </a:cubicBezTo>
                <a:cubicBezTo>
                  <a:pt x="232" y="169"/>
                  <a:pt x="232" y="169"/>
                  <a:pt x="232" y="169"/>
                </a:cubicBezTo>
                <a:cubicBezTo>
                  <a:pt x="233" y="168"/>
                  <a:pt x="233" y="168"/>
                  <a:pt x="233" y="168"/>
                </a:cubicBezTo>
                <a:cubicBezTo>
                  <a:pt x="233" y="167"/>
                  <a:pt x="233" y="167"/>
                  <a:pt x="233" y="167"/>
                </a:cubicBezTo>
                <a:cubicBezTo>
                  <a:pt x="233" y="166"/>
                  <a:pt x="233" y="166"/>
                  <a:pt x="233" y="166"/>
                </a:cubicBezTo>
                <a:cubicBezTo>
                  <a:pt x="232" y="165"/>
                  <a:pt x="232" y="165"/>
                  <a:pt x="232" y="165"/>
                </a:cubicBezTo>
                <a:cubicBezTo>
                  <a:pt x="232" y="166"/>
                  <a:pt x="232" y="166"/>
                  <a:pt x="232" y="166"/>
                </a:cubicBezTo>
                <a:cubicBezTo>
                  <a:pt x="232" y="167"/>
                  <a:pt x="232" y="167"/>
                  <a:pt x="232" y="167"/>
                </a:cubicBezTo>
                <a:cubicBezTo>
                  <a:pt x="231" y="166"/>
                  <a:pt x="231" y="166"/>
                  <a:pt x="231" y="166"/>
                </a:cubicBezTo>
                <a:cubicBezTo>
                  <a:pt x="231" y="165"/>
                  <a:pt x="231" y="165"/>
                  <a:pt x="231" y="165"/>
                </a:cubicBezTo>
                <a:cubicBezTo>
                  <a:pt x="231" y="164"/>
                  <a:pt x="231" y="164"/>
                  <a:pt x="231" y="164"/>
                </a:cubicBezTo>
                <a:cubicBezTo>
                  <a:pt x="230" y="163"/>
                  <a:pt x="230" y="163"/>
                  <a:pt x="230" y="163"/>
                </a:cubicBezTo>
                <a:cubicBezTo>
                  <a:pt x="230" y="163"/>
                  <a:pt x="230" y="163"/>
                  <a:pt x="230" y="163"/>
                </a:cubicBezTo>
                <a:cubicBezTo>
                  <a:pt x="231" y="163"/>
                  <a:pt x="231" y="163"/>
                  <a:pt x="231" y="163"/>
                </a:cubicBezTo>
                <a:cubicBezTo>
                  <a:pt x="231" y="162"/>
                  <a:pt x="231" y="162"/>
                  <a:pt x="231" y="162"/>
                </a:cubicBezTo>
                <a:cubicBezTo>
                  <a:pt x="230" y="161"/>
                  <a:pt x="230" y="161"/>
                  <a:pt x="230" y="161"/>
                </a:cubicBezTo>
                <a:cubicBezTo>
                  <a:pt x="229" y="162"/>
                  <a:pt x="229" y="162"/>
                  <a:pt x="229" y="162"/>
                </a:cubicBezTo>
                <a:cubicBezTo>
                  <a:pt x="228" y="162"/>
                  <a:pt x="228" y="162"/>
                  <a:pt x="228" y="162"/>
                </a:cubicBezTo>
                <a:cubicBezTo>
                  <a:pt x="228" y="162"/>
                  <a:pt x="228" y="162"/>
                  <a:pt x="228" y="162"/>
                </a:cubicBezTo>
                <a:cubicBezTo>
                  <a:pt x="227" y="162"/>
                  <a:pt x="227" y="162"/>
                  <a:pt x="227" y="162"/>
                </a:cubicBezTo>
                <a:close/>
                <a:moveTo>
                  <a:pt x="228" y="142"/>
                </a:moveTo>
                <a:cubicBezTo>
                  <a:pt x="227" y="143"/>
                  <a:pt x="227" y="143"/>
                  <a:pt x="227" y="143"/>
                </a:cubicBezTo>
                <a:cubicBezTo>
                  <a:pt x="228" y="144"/>
                  <a:pt x="228" y="144"/>
                  <a:pt x="228" y="144"/>
                </a:cubicBezTo>
                <a:cubicBezTo>
                  <a:pt x="228" y="144"/>
                  <a:pt x="228" y="144"/>
                  <a:pt x="228" y="144"/>
                </a:cubicBezTo>
                <a:cubicBezTo>
                  <a:pt x="228" y="145"/>
                  <a:pt x="228" y="145"/>
                  <a:pt x="228" y="145"/>
                </a:cubicBezTo>
                <a:cubicBezTo>
                  <a:pt x="228" y="146"/>
                  <a:pt x="228" y="146"/>
                  <a:pt x="228" y="146"/>
                </a:cubicBezTo>
                <a:cubicBezTo>
                  <a:pt x="228" y="147"/>
                  <a:pt x="228" y="147"/>
                  <a:pt x="228" y="147"/>
                </a:cubicBezTo>
                <a:cubicBezTo>
                  <a:pt x="229" y="149"/>
                  <a:pt x="229" y="149"/>
                  <a:pt x="229" y="149"/>
                </a:cubicBezTo>
                <a:cubicBezTo>
                  <a:pt x="229" y="151"/>
                  <a:pt x="229" y="151"/>
                  <a:pt x="229" y="151"/>
                </a:cubicBezTo>
                <a:cubicBezTo>
                  <a:pt x="228" y="152"/>
                  <a:pt x="228" y="152"/>
                  <a:pt x="228" y="152"/>
                </a:cubicBezTo>
                <a:cubicBezTo>
                  <a:pt x="228" y="153"/>
                  <a:pt x="228" y="153"/>
                  <a:pt x="228" y="153"/>
                </a:cubicBezTo>
                <a:cubicBezTo>
                  <a:pt x="229" y="154"/>
                  <a:pt x="229" y="154"/>
                  <a:pt x="229" y="154"/>
                </a:cubicBezTo>
                <a:cubicBezTo>
                  <a:pt x="229" y="153"/>
                  <a:pt x="229" y="153"/>
                  <a:pt x="229" y="153"/>
                </a:cubicBezTo>
                <a:cubicBezTo>
                  <a:pt x="229" y="152"/>
                  <a:pt x="229" y="152"/>
                  <a:pt x="229" y="152"/>
                </a:cubicBezTo>
                <a:cubicBezTo>
                  <a:pt x="230" y="151"/>
                  <a:pt x="230" y="151"/>
                  <a:pt x="230" y="151"/>
                </a:cubicBezTo>
                <a:cubicBezTo>
                  <a:pt x="230" y="149"/>
                  <a:pt x="230" y="149"/>
                  <a:pt x="230" y="149"/>
                </a:cubicBezTo>
                <a:cubicBezTo>
                  <a:pt x="229" y="148"/>
                  <a:pt x="229" y="148"/>
                  <a:pt x="229" y="148"/>
                </a:cubicBezTo>
                <a:cubicBezTo>
                  <a:pt x="229" y="145"/>
                  <a:pt x="229" y="145"/>
                  <a:pt x="229" y="145"/>
                </a:cubicBezTo>
                <a:cubicBezTo>
                  <a:pt x="229" y="144"/>
                  <a:pt x="229" y="144"/>
                  <a:pt x="229" y="144"/>
                </a:cubicBezTo>
                <a:cubicBezTo>
                  <a:pt x="229" y="143"/>
                  <a:pt x="229" y="143"/>
                  <a:pt x="229" y="143"/>
                </a:cubicBezTo>
                <a:cubicBezTo>
                  <a:pt x="228" y="142"/>
                  <a:pt x="228" y="142"/>
                  <a:pt x="228" y="142"/>
                </a:cubicBezTo>
                <a:close/>
                <a:moveTo>
                  <a:pt x="219" y="146"/>
                </a:moveTo>
                <a:cubicBezTo>
                  <a:pt x="219" y="146"/>
                  <a:pt x="219" y="146"/>
                  <a:pt x="219" y="146"/>
                </a:cubicBezTo>
                <a:cubicBezTo>
                  <a:pt x="219" y="147"/>
                  <a:pt x="219" y="147"/>
                  <a:pt x="219" y="147"/>
                </a:cubicBezTo>
                <a:cubicBezTo>
                  <a:pt x="220" y="147"/>
                  <a:pt x="220" y="147"/>
                  <a:pt x="220" y="147"/>
                </a:cubicBezTo>
                <a:cubicBezTo>
                  <a:pt x="221" y="146"/>
                  <a:pt x="221" y="146"/>
                  <a:pt x="221" y="146"/>
                </a:cubicBezTo>
                <a:cubicBezTo>
                  <a:pt x="221" y="145"/>
                  <a:pt x="221" y="145"/>
                  <a:pt x="221" y="145"/>
                </a:cubicBezTo>
                <a:cubicBezTo>
                  <a:pt x="219" y="145"/>
                  <a:pt x="219" y="145"/>
                  <a:pt x="219" y="145"/>
                </a:cubicBezTo>
                <a:cubicBezTo>
                  <a:pt x="219" y="146"/>
                  <a:pt x="219" y="146"/>
                  <a:pt x="219" y="146"/>
                </a:cubicBezTo>
                <a:close/>
                <a:moveTo>
                  <a:pt x="217" y="143"/>
                </a:moveTo>
                <a:cubicBezTo>
                  <a:pt x="218" y="144"/>
                  <a:pt x="218" y="144"/>
                  <a:pt x="218" y="144"/>
                </a:cubicBezTo>
                <a:cubicBezTo>
                  <a:pt x="219" y="144"/>
                  <a:pt x="219" y="144"/>
                  <a:pt x="219" y="144"/>
                </a:cubicBezTo>
                <a:cubicBezTo>
                  <a:pt x="218" y="143"/>
                  <a:pt x="218" y="143"/>
                  <a:pt x="218" y="143"/>
                </a:cubicBezTo>
                <a:cubicBezTo>
                  <a:pt x="218" y="143"/>
                  <a:pt x="218" y="143"/>
                  <a:pt x="218" y="143"/>
                </a:cubicBezTo>
                <a:cubicBezTo>
                  <a:pt x="217" y="143"/>
                  <a:pt x="217" y="143"/>
                  <a:pt x="217" y="143"/>
                </a:cubicBezTo>
                <a:close/>
                <a:moveTo>
                  <a:pt x="226" y="123"/>
                </a:moveTo>
                <a:cubicBezTo>
                  <a:pt x="227" y="124"/>
                  <a:pt x="227" y="124"/>
                  <a:pt x="227" y="124"/>
                </a:cubicBezTo>
                <a:cubicBezTo>
                  <a:pt x="227" y="125"/>
                  <a:pt x="227" y="125"/>
                  <a:pt x="227" y="125"/>
                </a:cubicBezTo>
                <a:cubicBezTo>
                  <a:pt x="228" y="125"/>
                  <a:pt x="228" y="125"/>
                  <a:pt x="228" y="125"/>
                </a:cubicBezTo>
                <a:cubicBezTo>
                  <a:pt x="228" y="124"/>
                  <a:pt x="228" y="124"/>
                  <a:pt x="228" y="124"/>
                </a:cubicBezTo>
                <a:cubicBezTo>
                  <a:pt x="227" y="124"/>
                  <a:pt x="227" y="124"/>
                  <a:pt x="227" y="124"/>
                </a:cubicBezTo>
                <a:cubicBezTo>
                  <a:pt x="226" y="123"/>
                  <a:pt x="226" y="123"/>
                  <a:pt x="226" y="123"/>
                </a:cubicBezTo>
                <a:cubicBezTo>
                  <a:pt x="226" y="122"/>
                  <a:pt x="226" y="122"/>
                  <a:pt x="226" y="122"/>
                </a:cubicBezTo>
                <a:cubicBezTo>
                  <a:pt x="226" y="123"/>
                  <a:pt x="226" y="123"/>
                  <a:pt x="226" y="123"/>
                </a:cubicBezTo>
                <a:close/>
                <a:moveTo>
                  <a:pt x="234" y="128"/>
                </a:moveTo>
                <a:cubicBezTo>
                  <a:pt x="234" y="128"/>
                  <a:pt x="234" y="128"/>
                  <a:pt x="234" y="128"/>
                </a:cubicBezTo>
                <a:cubicBezTo>
                  <a:pt x="235" y="128"/>
                  <a:pt x="235" y="128"/>
                  <a:pt x="235" y="128"/>
                </a:cubicBezTo>
                <a:cubicBezTo>
                  <a:pt x="235" y="128"/>
                  <a:pt x="235" y="128"/>
                  <a:pt x="235" y="128"/>
                </a:cubicBezTo>
                <a:cubicBezTo>
                  <a:pt x="235" y="127"/>
                  <a:pt x="235" y="127"/>
                  <a:pt x="235" y="127"/>
                </a:cubicBezTo>
                <a:cubicBezTo>
                  <a:pt x="235" y="126"/>
                  <a:pt x="235" y="126"/>
                  <a:pt x="235" y="126"/>
                </a:cubicBezTo>
                <a:cubicBezTo>
                  <a:pt x="236" y="125"/>
                  <a:pt x="236" y="125"/>
                  <a:pt x="236" y="125"/>
                </a:cubicBezTo>
                <a:cubicBezTo>
                  <a:pt x="236" y="124"/>
                  <a:pt x="236" y="124"/>
                  <a:pt x="236" y="124"/>
                </a:cubicBezTo>
                <a:cubicBezTo>
                  <a:pt x="234" y="125"/>
                  <a:pt x="234" y="125"/>
                  <a:pt x="234" y="125"/>
                </a:cubicBezTo>
                <a:cubicBezTo>
                  <a:pt x="234" y="127"/>
                  <a:pt x="234" y="127"/>
                  <a:pt x="234" y="127"/>
                </a:cubicBezTo>
                <a:cubicBezTo>
                  <a:pt x="234" y="128"/>
                  <a:pt x="234" y="128"/>
                  <a:pt x="234" y="128"/>
                </a:cubicBezTo>
                <a:close/>
                <a:moveTo>
                  <a:pt x="230" y="120"/>
                </a:moveTo>
                <a:cubicBezTo>
                  <a:pt x="230" y="121"/>
                  <a:pt x="230" y="121"/>
                  <a:pt x="230" y="121"/>
                </a:cubicBezTo>
                <a:cubicBezTo>
                  <a:pt x="231" y="120"/>
                  <a:pt x="231" y="120"/>
                  <a:pt x="231" y="120"/>
                </a:cubicBezTo>
                <a:cubicBezTo>
                  <a:pt x="231" y="119"/>
                  <a:pt x="231" y="119"/>
                  <a:pt x="231" y="119"/>
                </a:cubicBezTo>
                <a:cubicBezTo>
                  <a:pt x="231" y="118"/>
                  <a:pt x="231" y="118"/>
                  <a:pt x="231" y="118"/>
                </a:cubicBezTo>
                <a:cubicBezTo>
                  <a:pt x="231" y="119"/>
                  <a:pt x="231" y="119"/>
                  <a:pt x="231" y="119"/>
                </a:cubicBezTo>
                <a:cubicBezTo>
                  <a:pt x="230" y="120"/>
                  <a:pt x="230" y="120"/>
                  <a:pt x="230" y="120"/>
                </a:cubicBezTo>
                <a:close/>
                <a:moveTo>
                  <a:pt x="231" y="116"/>
                </a:moveTo>
                <a:cubicBezTo>
                  <a:pt x="230" y="116"/>
                  <a:pt x="230" y="116"/>
                  <a:pt x="230" y="116"/>
                </a:cubicBezTo>
                <a:cubicBezTo>
                  <a:pt x="231" y="117"/>
                  <a:pt x="231" y="117"/>
                  <a:pt x="231" y="117"/>
                </a:cubicBezTo>
                <a:cubicBezTo>
                  <a:pt x="231" y="116"/>
                  <a:pt x="231" y="116"/>
                  <a:pt x="231" y="116"/>
                </a:cubicBezTo>
                <a:cubicBezTo>
                  <a:pt x="231" y="116"/>
                  <a:pt x="231" y="116"/>
                  <a:pt x="231" y="116"/>
                </a:cubicBezTo>
                <a:cubicBezTo>
                  <a:pt x="231" y="116"/>
                  <a:pt x="231" y="116"/>
                  <a:pt x="231" y="116"/>
                </a:cubicBezTo>
                <a:close/>
                <a:moveTo>
                  <a:pt x="236" y="102"/>
                </a:moveTo>
                <a:cubicBezTo>
                  <a:pt x="237" y="104"/>
                  <a:pt x="237" y="104"/>
                  <a:pt x="237" y="104"/>
                </a:cubicBezTo>
                <a:cubicBezTo>
                  <a:pt x="237" y="104"/>
                  <a:pt x="237" y="104"/>
                  <a:pt x="237" y="104"/>
                </a:cubicBezTo>
                <a:cubicBezTo>
                  <a:pt x="238" y="103"/>
                  <a:pt x="238" y="103"/>
                  <a:pt x="238" y="103"/>
                </a:cubicBezTo>
                <a:cubicBezTo>
                  <a:pt x="238" y="102"/>
                  <a:pt x="238" y="102"/>
                  <a:pt x="238" y="102"/>
                </a:cubicBezTo>
                <a:cubicBezTo>
                  <a:pt x="238" y="100"/>
                  <a:pt x="238" y="100"/>
                  <a:pt x="238" y="100"/>
                </a:cubicBezTo>
                <a:cubicBezTo>
                  <a:pt x="239" y="99"/>
                  <a:pt x="239" y="99"/>
                  <a:pt x="239" y="99"/>
                </a:cubicBezTo>
                <a:cubicBezTo>
                  <a:pt x="238" y="99"/>
                  <a:pt x="238" y="99"/>
                  <a:pt x="238" y="99"/>
                </a:cubicBezTo>
                <a:cubicBezTo>
                  <a:pt x="237" y="100"/>
                  <a:pt x="237" y="100"/>
                  <a:pt x="237" y="100"/>
                </a:cubicBezTo>
                <a:cubicBezTo>
                  <a:pt x="237" y="101"/>
                  <a:pt x="237" y="101"/>
                  <a:pt x="237" y="101"/>
                </a:cubicBezTo>
                <a:cubicBezTo>
                  <a:pt x="236" y="102"/>
                  <a:pt x="236" y="102"/>
                  <a:pt x="236" y="102"/>
                </a:cubicBezTo>
                <a:close/>
                <a:moveTo>
                  <a:pt x="233" y="84"/>
                </a:moveTo>
                <a:cubicBezTo>
                  <a:pt x="233" y="84"/>
                  <a:pt x="233" y="84"/>
                  <a:pt x="233" y="84"/>
                </a:cubicBezTo>
                <a:cubicBezTo>
                  <a:pt x="233" y="84"/>
                  <a:pt x="233" y="84"/>
                  <a:pt x="233" y="84"/>
                </a:cubicBezTo>
                <a:cubicBezTo>
                  <a:pt x="235" y="84"/>
                  <a:pt x="235" y="84"/>
                  <a:pt x="235" y="84"/>
                </a:cubicBezTo>
                <a:cubicBezTo>
                  <a:pt x="236" y="83"/>
                  <a:pt x="236" y="83"/>
                  <a:pt x="236" y="83"/>
                </a:cubicBezTo>
                <a:cubicBezTo>
                  <a:pt x="236" y="81"/>
                  <a:pt x="236" y="81"/>
                  <a:pt x="236" y="81"/>
                </a:cubicBezTo>
                <a:cubicBezTo>
                  <a:pt x="235" y="80"/>
                  <a:pt x="235" y="80"/>
                  <a:pt x="235" y="80"/>
                </a:cubicBezTo>
                <a:cubicBezTo>
                  <a:pt x="233" y="81"/>
                  <a:pt x="233" y="81"/>
                  <a:pt x="233" y="81"/>
                </a:cubicBezTo>
                <a:cubicBezTo>
                  <a:pt x="232" y="83"/>
                  <a:pt x="232" y="83"/>
                  <a:pt x="232" y="83"/>
                </a:cubicBezTo>
                <a:cubicBezTo>
                  <a:pt x="233" y="84"/>
                  <a:pt x="233" y="84"/>
                  <a:pt x="233" y="84"/>
                </a:cubicBezTo>
                <a:close/>
                <a:moveTo>
                  <a:pt x="245" y="49"/>
                </a:moveTo>
                <a:cubicBezTo>
                  <a:pt x="246" y="49"/>
                  <a:pt x="246" y="49"/>
                  <a:pt x="246" y="49"/>
                </a:cubicBezTo>
                <a:cubicBezTo>
                  <a:pt x="246" y="48"/>
                  <a:pt x="246" y="48"/>
                  <a:pt x="246" y="48"/>
                </a:cubicBezTo>
                <a:cubicBezTo>
                  <a:pt x="246" y="46"/>
                  <a:pt x="246" y="46"/>
                  <a:pt x="246" y="46"/>
                </a:cubicBezTo>
                <a:cubicBezTo>
                  <a:pt x="246" y="45"/>
                  <a:pt x="246" y="45"/>
                  <a:pt x="246" y="45"/>
                </a:cubicBezTo>
                <a:cubicBezTo>
                  <a:pt x="246" y="44"/>
                  <a:pt x="246" y="44"/>
                  <a:pt x="246" y="44"/>
                </a:cubicBezTo>
                <a:cubicBezTo>
                  <a:pt x="245" y="44"/>
                  <a:pt x="245" y="44"/>
                  <a:pt x="245" y="44"/>
                </a:cubicBezTo>
                <a:cubicBezTo>
                  <a:pt x="245" y="45"/>
                  <a:pt x="245" y="45"/>
                  <a:pt x="245" y="45"/>
                </a:cubicBezTo>
                <a:cubicBezTo>
                  <a:pt x="245" y="45"/>
                  <a:pt x="245" y="45"/>
                  <a:pt x="245" y="45"/>
                </a:cubicBezTo>
                <a:cubicBezTo>
                  <a:pt x="245" y="46"/>
                  <a:pt x="245" y="46"/>
                  <a:pt x="245" y="46"/>
                </a:cubicBezTo>
                <a:cubicBezTo>
                  <a:pt x="245" y="48"/>
                  <a:pt x="245" y="48"/>
                  <a:pt x="245" y="48"/>
                </a:cubicBezTo>
                <a:cubicBezTo>
                  <a:pt x="245" y="49"/>
                  <a:pt x="245" y="49"/>
                  <a:pt x="245" y="49"/>
                </a:cubicBezTo>
                <a:close/>
                <a:moveTo>
                  <a:pt x="242" y="53"/>
                </a:moveTo>
                <a:cubicBezTo>
                  <a:pt x="242" y="53"/>
                  <a:pt x="242" y="54"/>
                  <a:pt x="242" y="54"/>
                </a:cubicBezTo>
                <a:cubicBezTo>
                  <a:pt x="242" y="53"/>
                  <a:pt x="242" y="53"/>
                  <a:pt x="242" y="53"/>
                </a:cubicBezTo>
                <a:cubicBezTo>
                  <a:pt x="243" y="51"/>
                  <a:pt x="243" y="51"/>
                  <a:pt x="243" y="51"/>
                </a:cubicBezTo>
                <a:cubicBezTo>
                  <a:pt x="242" y="50"/>
                  <a:pt x="242" y="50"/>
                  <a:pt x="242" y="50"/>
                </a:cubicBezTo>
                <a:cubicBezTo>
                  <a:pt x="241" y="51"/>
                  <a:pt x="241" y="51"/>
                  <a:pt x="241" y="51"/>
                </a:cubicBezTo>
                <a:cubicBezTo>
                  <a:pt x="241" y="52"/>
                  <a:pt x="241" y="52"/>
                  <a:pt x="241" y="52"/>
                </a:cubicBezTo>
                <a:cubicBezTo>
                  <a:pt x="242" y="53"/>
                  <a:pt x="242" y="53"/>
                  <a:pt x="242" y="53"/>
                </a:cubicBezTo>
                <a:close/>
                <a:moveTo>
                  <a:pt x="239" y="50"/>
                </a:moveTo>
                <a:cubicBezTo>
                  <a:pt x="240" y="50"/>
                  <a:pt x="240" y="50"/>
                  <a:pt x="240" y="50"/>
                </a:cubicBezTo>
                <a:cubicBezTo>
                  <a:pt x="241" y="49"/>
                  <a:pt x="241" y="49"/>
                  <a:pt x="241" y="49"/>
                </a:cubicBezTo>
                <a:cubicBezTo>
                  <a:pt x="241" y="48"/>
                  <a:pt x="241" y="48"/>
                  <a:pt x="241" y="48"/>
                </a:cubicBezTo>
                <a:cubicBezTo>
                  <a:pt x="241" y="48"/>
                  <a:pt x="241" y="48"/>
                  <a:pt x="241" y="48"/>
                </a:cubicBezTo>
                <a:cubicBezTo>
                  <a:pt x="241" y="46"/>
                  <a:pt x="241" y="46"/>
                  <a:pt x="241" y="46"/>
                </a:cubicBezTo>
                <a:cubicBezTo>
                  <a:pt x="241" y="46"/>
                  <a:pt x="241" y="46"/>
                  <a:pt x="241" y="46"/>
                </a:cubicBezTo>
                <a:cubicBezTo>
                  <a:pt x="240" y="46"/>
                  <a:pt x="240" y="46"/>
                  <a:pt x="240" y="46"/>
                </a:cubicBezTo>
                <a:cubicBezTo>
                  <a:pt x="239" y="47"/>
                  <a:pt x="239" y="47"/>
                  <a:pt x="239" y="47"/>
                </a:cubicBezTo>
                <a:cubicBezTo>
                  <a:pt x="240" y="48"/>
                  <a:pt x="240" y="48"/>
                  <a:pt x="240" y="48"/>
                </a:cubicBezTo>
                <a:cubicBezTo>
                  <a:pt x="239" y="50"/>
                  <a:pt x="239" y="50"/>
                  <a:pt x="239" y="50"/>
                </a:cubicBezTo>
                <a:close/>
                <a:moveTo>
                  <a:pt x="174" y="4"/>
                </a:moveTo>
                <a:cubicBezTo>
                  <a:pt x="174" y="4"/>
                  <a:pt x="174" y="4"/>
                  <a:pt x="174" y="4"/>
                </a:cubicBezTo>
                <a:cubicBezTo>
                  <a:pt x="174" y="3"/>
                  <a:pt x="174" y="3"/>
                  <a:pt x="174" y="3"/>
                </a:cubicBezTo>
                <a:cubicBezTo>
                  <a:pt x="175" y="2"/>
                  <a:pt x="175" y="2"/>
                  <a:pt x="175" y="2"/>
                </a:cubicBezTo>
                <a:cubicBezTo>
                  <a:pt x="174" y="1"/>
                  <a:pt x="174" y="1"/>
                  <a:pt x="174" y="1"/>
                </a:cubicBezTo>
                <a:cubicBezTo>
                  <a:pt x="173" y="1"/>
                  <a:pt x="173" y="1"/>
                  <a:pt x="173" y="1"/>
                </a:cubicBezTo>
                <a:cubicBezTo>
                  <a:pt x="173" y="3"/>
                  <a:pt x="173" y="3"/>
                  <a:pt x="173" y="3"/>
                </a:cubicBezTo>
                <a:cubicBezTo>
                  <a:pt x="174" y="4"/>
                  <a:pt x="174" y="4"/>
                  <a:pt x="174" y="4"/>
                </a:cubicBezTo>
                <a:close/>
                <a:moveTo>
                  <a:pt x="174" y="6"/>
                </a:moveTo>
                <a:cubicBezTo>
                  <a:pt x="174" y="6"/>
                  <a:pt x="174" y="6"/>
                  <a:pt x="174" y="6"/>
                </a:cubicBezTo>
                <a:cubicBezTo>
                  <a:pt x="175" y="6"/>
                  <a:pt x="175" y="6"/>
                  <a:pt x="175" y="6"/>
                </a:cubicBezTo>
                <a:cubicBezTo>
                  <a:pt x="175" y="5"/>
                  <a:pt x="175" y="5"/>
                  <a:pt x="175" y="5"/>
                </a:cubicBezTo>
                <a:cubicBezTo>
                  <a:pt x="175" y="4"/>
                  <a:pt x="175" y="4"/>
                  <a:pt x="175" y="4"/>
                </a:cubicBezTo>
                <a:cubicBezTo>
                  <a:pt x="175" y="4"/>
                  <a:pt x="175" y="4"/>
                  <a:pt x="175" y="4"/>
                </a:cubicBezTo>
                <a:cubicBezTo>
                  <a:pt x="174" y="5"/>
                  <a:pt x="174" y="5"/>
                  <a:pt x="174" y="5"/>
                </a:cubicBezTo>
                <a:cubicBezTo>
                  <a:pt x="174" y="6"/>
                  <a:pt x="174" y="6"/>
                  <a:pt x="174" y="6"/>
                </a:cubicBezTo>
                <a:close/>
                <a:moveTo>
                  <a:pt x="168" y="6"/>
                </a:moveTo>
                <a:cubicBezTo>
                  <a:pt x="169" y="7"/>
                  <a:pt x="169" y="7"/>
                  <a:pt x="169" y="7"/>
                </a:cubicBezTo>
                <a:cubicBezTo>
                  <a:pt x="170" y="8"/>
                  <a:pt x="170" y="8"/>
                  <a:pt x="170" y="8"/>
                </a:cubicBezTo>
                <a:cubicBezTo>
                  <a:pt x="170" y="8"/>
                  <a:pt x="170" y="8"/>
                  <a:pt x="170" y="8"/>
                </a:cubicBezTo>
                <a:cubicBezTo>
                  <a:pt x="171" y="7"/>
                  <a:pt x="171" y="7"/>
                  <a:pt x="171" y="7"/>
                </a:cubicBezTo>
                <a:cubicBezTo>
                  <a:pt x="172" y="7"/>
                  <a:pt x="172" y="7"/>
                  <a:pt x="172" y="7"/>
                </a:cubicBezTo>
                <a:cubicBezTo>
                  <a:pt x="170" y="5"/>
                  <a:pt x="170" y="5"/>
                  <a:pt x="170" y="5"/>
                </a:cubicBezTo>
                <a:cubicBezTo>
                  <a:pt x="170" y="4"/>
                  <a:pt x="170" y="4"/>
                  <a:pt x="170" y="4"/>
                </a:cubicBezTo>
                <a:cubicBezTo>
                  <a:pt x="169" y="4"/>
                  <a:pt x="169" y="4"/>
                  <a:pt x="169" y="4"/>
                </a:cubicBezTo>
                <a:cubicBezTo>
                  <a:pt x="169" y="4"/>
                  <a:pt x="169" y="4"/>
                  <a:pt x="169" y="4"/>
                </a:cubicBezTo>
                <a:cubicBezTo>
                  <a:pt x="169" y="5"/>
                  <a:pt x="169" y="5"/>
                  <a:pt x="169" y="5"/>
                </a:cubicBezTo>
                <a:cubicBezTo>
                  <a:pt x="168" y="5"/>
                  <a:pt x="168" y="5"/>
                  <a:pt x="168" y="5"/>
                </a:cubicBezTo>
                <a:cubicBezTo>
                  <a:pt x="168" y="6"/>
                  <a:pt x="168" y="6"/>
                  <a:pt x="168" y="6"/>
                </a:cubicBezTo>
                <a:close/>
                <a:moveTo>
                  <a:pt x="165" y="7"/>
                </a:moveTo>
                <a:cubicBezTo>
                  <a:pt x="165" y="8"/>
                  <a:pt x="165" y="8"/>
                  <a:pt x="165" y="8"/>
                </a:cubicBezTo>
                <a:cubicBezTo>
                  <a:pt x="166" y="8"/>
                  <a:pt x="166" y="8"/>
                  <a:pt x="166" y="8"/>
                </a:cubicBezTo>
                <a:cubicBezTo>
                  <a:pt x="166" y="8"/>
                  <a:pt x="166" y="8"/>
                  <a:pt x="166" y="8"/>
                </a:cubicBezTo>
                <a:cubicBezTo>
                  <a:pt x="166" y="8"/>
                  <a:pt x="166" y="8"/>
                  <a:pt x="166" y="8"/>
                </a:cubicBezTo>
                <a:cubicBezTo>
                  <a:pt x="165" y="7"/>
                  <a:pt x="165" y="7"/>
                  <a:pt x="165" y="7"/>
                </a:cubicBezTo>
                <a:cubicBezTo>
                  <a:pt x="165" y="7"/>
                  <a:pt x="165" y="7"/>
                  <a:pt x="165" y="7"/>
                </a:cubicBezTo>
                <a:close/>
                <a:moveTo>
                  <a:pt x="146" y="12"/>
                </a:moveTo>
                <a:cubicBezTo>
                  <a:pt x="147" y="13"/>
                  <a:pt x="147" y="13"/>
                  <a:pt x="147" y="13"/>
                </a:cubicBezTo>
                <a:cubicBezTo>
                  <a:pt x="148" y="14"/>
                  <a:pt x="148" y="14"/>
                  <a:pt x="148" y="14"/>
                </a:cubicBezTo>
                <a:cubicBezTo>
                  <a:pt x="149" y="15"/>
                  <a:pt x="149" y="15"/>
                  <a:pt x="149" y="15"/>
                </a:cubicBezTo>
                <a:cubicBezTo>
                  <a:pt x="150" y="16"/>
                  <a:pt x="150" y="16"/>
                  <a:pt x="150" y="16"/>
                </a:cubicBezTo>
                <a:cubicBezTo>
                  <a:pt x="151" y="14"/>
                  <a:pt x="151" y="14"/>
                  <a:pt x="151" y="14"/>
                </a:cubicBezTo>
                <a:cubicBezTo>
                  <a:pt x="151" y="13"/>
                  <a:pt x="151" y="13"/>
                  <a:pt x="151" y="13"/>
                </a:cubicBezTo>
                <a:cubicBezTo>
                  <a:pt x="151" y="13"/>
                  <a:pt x="151" y="13"/>
                  <a:pt x="151" y="13"/>
                </a:cubicBezTo>
                <a:cubicBezTo>
                  <a:pt x="151" y="12"/>
                  <a:pt x="151" y="12"/>
                  <a:pt x="151" y="12"/>
                </a:cubicBezTo>
                <a:cubicBezTo>
                  <a:pt x="150" y="12"/>
                  <a:pt x="150" y="12"/>
                  <a:pt x="150" y="12"/>
                </a:cubicBezTo>
                <a:cubicBezTo>
                  <a:pt x="149" y="10"/>
                  <a:pt x="149" y="10"/>
                  <a:pt x="149" y="10"/>
                </a:cubicBezTo>
                <a:cubicBezTo>
                  <a:pt x="148" y="10"/>
                  <a:pt x="148" y="10"/>
                  <a:pt x="148" y="10"/>
                </a:cubicBezTo>
                <a:cubicBezTo>
                  <a:pt x="148" y="11"/>
                  <a:pt x="148" y="11"/>
                  <a:pt x="148" y="11"/>
                </a:cubicBezTo>
                <a:cubicBezTo>
                  <a:pt x="148" y="12"/>
                  <a:pt x="148" y="12"/>
                  <a:pt x="148" y="12"/>
                </a:cubicBezTo>
                <a:cubicBezTo>
                  <a:pt x="148" y="12"/>
                  <a:pt x="148" y="12"/>
                  <a:pt x="148" y="12"/>
                </a:cubicBezTo>
                <a:cubicBezTo>
                  <a:pt x="148" y="13"/>
                  <a:pt x="148" y="13"/>
                  <a:pt x="148" y="13"/>
                </a:cubicBezTo>
                <a:cubicBezTo>
                  <a:pt x="147" y="12"/>
                  <a:pt x="147" y="12"/>
                  <a:pt x="147" y="12"/>
                </a:cubicBezTo>
                <a:cubicBezTo>
                  <a:pt x="146" y="12"/>
                  <a:pt x="146" y="12"/>
                  <a:pt x="146" y="12"/>
                </a:cubicBezTo>
                <a:close/>
                <a:moveTo>
                  <a:pt x="145" y="13"/>
                </a:moveTo>
                <a:cubicBezTo>
                  <a:pt x="146" y="15"/>
                  <a:pt x="146" y="15"/>
                  <a:pt x="146" y="15"/>
                </a:cubicBezTo>
                <a:cubicBezTo>
                  <a:pt x="147" y="15"/>
                  <a:pt x="147" y="15"/>
                  <a:pt x="147" y="15"/>
                </a:cubicBezTo>
                <a:cubicBezTo>
                  <a:pt x="147" y="14"/>
                  <a:pt x="147" y="14"/>
                  <a:pt x="147" y="14"/>
                </a:cubicBezTo>
                <a:cubicBezTo>
                  <a:pt x="146" y="13"/>
                  <a:pt x="146" y="13"/>
                  <a:pt x="146" y="13"/>
                </a:cubicBezTo>
                <a:cubicBezTo>
                  <a:pt x="145" y="13"/>
                  <a:pt x="145" y="13"/>
                  <a:pt x="145" y="13"/>
                </a:cubicBezTo>
                <a:close/>
                <a:moveTo>
                  <a:pt x="139" y="13"/>
                </a:moveTo>
                <a:cubicBezTo>
                  <a:pt x="139" y="14"/>
                  <a:pt x="139" y="14"/>
                  <a:pt x="139" y="14"/>
                </a:cubicBezTo>
                <a:cubicBezTo>
                  <a:pt x="141" y="14"/>
                  <a:pt x="141" y="14"/>
                  <a:pt x="141" y="14"/>
                </a:cubicBezTo>
                <a:cubicBezTo>
                  <a:pt x="141" y="15"/>
                  <a:pt x="141" y="15"/>
                  <a:pt x="141" y="15"/>
                </a:cubicBezTo>
                <a:cubicBezTo>
                  <a:pt x="142" y="15"/>
                  <a:pt x="142" y="15"/>
                  <a:pt x="142" y="15"/>
                </a:cubicBezTo>
                <a:cubicBezTo>
                  <a:pt x="142" y="14"/>
                  <a:pt x="142" y="14"/>
                  <a:pt x="142" y="14"/>
                </a:cubicBezTo>
                <a:cubicBezTo>
                  <a:pt x="142" y="13"/>
                  <a:pt x="142" y="13"/>
                  <a:pt x="142" y="13"/>
                </a:cubicBezTo>
                <a:cubicBezTo>
                  <a:pt x="141" y="13"/>
                  <a:pt x="141" y="13"/>
                  <a:pt x="141" y="13"/>
                </a:cubicBezTo>
                <a:cubicBezTo>
                  <a:pt x="141" y="12"/>
                  <a:pt x="141" y="12"/>
                  <a:pt x="141" y="12"/>
                </a:cubicBezTo>
                <a:cubicBezTo>
                  <a:pt x="140" y="12"/>
                  <a:pt x="140" y="12"/>
                  <a:pt x="140" y="12"/>
                </a:cubicBezTo>
                <a:cubicBezTo>
                  <a:pt x="139" y="12"/>
                  <a:pt x="139" y="12"/>
                  <a:pt x="139" y="12"/>
                </a:cubicBezTo>
                <a:cubicBezTo>
                  <a:pt x="139" y="13"/>
                  <a:pt x="139" y="13"/>
                  <a:pt x="139" y="13"/>
                </a:cubicBezTo>
                <a:close/>
                <a:moveTo>
                  <a:pt x="135" y="25"/>
                </a:moveTo>
                <a:cubicBezTo>
                  <a:pt x="136" y="25"/>
                  <a:pt x="136" y="25"/>
                  <a:pt x="136" y="25"/>
                </a:cubicBezTo>
                <a:cubicBezTo>
                  <a:pt x="137" y="25"/>
                  <a:pt x="137" y="25"/>
                  <a:pt x="137" y="25"/>
                </a:cubicBezTo>
                <a:cubicBezTo>
                  <a:pt x="137" y="24"/>
                  <a:pt x="137" y="24"/>
                  <a:pt x="137" y="24"/>
                </a:cubicBezTo>
                <a:cubicBezTo>
                  <a:pt x="136" y="23"/>
                  <a:pt x="136" y="23"/>
                  <a:pt x="136" y="23"/>
                </a:cubicBezTo>
                <a:cubicBezTo>
                  <a:pt x="136" y="21"/>
                  <a:pt x="136" y="21"/>
                  <a:pt x="136" y="21"/>
                </a:cubicBezTo>
                <a:cubicBezTo>
                  <a:pt x="135" y="20"/>
                  <a:pt x="135" y="20"/>
                  <a:pt x="135" y="20"/>
                </a:cubicBezTo>
                <a:cubicBezTo>
                  <a:pt x="134" y="20"/>
                  <a:pt x="134" y="20"/>
                  <a:pt x="134" y="20"/>
                </a:cubicBezTo>
                <a:cubicBezTo>
                  <a:pt x="134" y="21"/>
                  <a:pt x="134" y="21"/>
                  <a:pt x="134" y="21"/>
                </a:cubicBezTo>
                <a:cubicBezTo>
                  <a:pt x="135" y="22"/>
                  <a:pt x="135" y="22"/>
                  <a:pt x="135" y="22"/>
                </a:cubicBezTo>
                <a:cubicBezTo>
                  <a:pt x="135" y="24"/>
                  <a:pt x="135" y="24"/>
                  <a:pt x="135" y="24"/>
                </a:cubicBezTo>
                <a:cubicBezTo>
                  <a:pt x="135" y="25"/>
                  <a:pt x="135" y="25"/>
                  <a:pt x="135" y="25"/>
                </a:cubicBezTo>
                <a:close/>
                <a:moveTo>
                  <a:pt x="137" y="37"/>
                </a:moveTo>
                <a:cubicBezTo>
                  <a:pt x="139" y="37"/>
                  <a:pt x="139" y="37"/>
                  <a:pt x="139" y="37"/>
                </a:cubicBezTo>
                <a:cubicBezTo>
                  <a:pt x="139" y="36"/>
                  <a:pt x="139" y="36"/>
                  <a:pt x="139" y="36"/>
                </a:cubicBezTo>
                <a:cubicBezTo>
                  <a:pt x="139" y="35"/>
                  <a:pt x="139" y="35"/>
                  <a:pt x="139" y="35"/>
                </a:cubicBezTo>
                <a:cubicBezTo>
                  <a:pt x="138" y="34"/>
                  <a:pt x="138" y="34"/>
                  <a:pt x="138" y="34"/>
                </a:cubicBezTo>
                <a:cubicBezTo>
                  <a:pt x="138" y="33"/>
                  <a:pt x="138" y="33"/>
                  <a:pt x="138" y="33"/>
                </a:cubicBezTo>
                <a:cubicBezTo>
                  <a:pt x="138" y="33"/>
                  <a:pt x="138" y="33"/>
                  <a:pt x="138" y="33"/>
                </a:cubicBezTo>
                <a:cubicBezTo>
                  <a:pt x="136" y="33"/>
                  <a:pt x="136" y="33"/>
                  <a:pt x="136" y="33"/>
                </a:cubicBezTo>
                <a:cubicBezTo>
                  <a:pt x="136" y="34"/>
                  <a:pt x="136" y="34"/>
                  <a:pt x="136" y="34"/>
                </a:cubicBezTo>
                <a:cubicBezTo>
                  <a:pt x="136" y="35"/>
                  <a:pt x="136" y="35"/>
                  <a:pt x="136" y="35"/>
                </a:cubicBezTo>
                <a:cubicBezTo>
                  <a:pt x="137" y="36"/>
                  <a:pt x="137" y="36"/>
                  <a:pt x="137" y="36"/>
                </a:cubicBezTo>
                <a:cubicBezTo>
                  <a:pt x="137" y="37"/>
                  <a:pt x="137" y="37"/>
                  <a:pt x="137" y="37"/>
                </a:cubicBezTo>
                <a:close/>
                <a:moveTo>
                  <a:pt x="137" y="38"/>
                </a:moveTo>
                <a:cubicBezTo>
                  <a:pt x="137" y="39"/>
                  <a:pt x="137" y="39"/>
                  <a:pt x="137" y="39"/>
                </a:cubicBezTo>
                <a:cubicBezTo>
                  <a:pt x="137" y="40"/>
                  <a:pt x="137" y="40"/>
                  <a:pt x="137" y="40"/>
                </a:cubicBezTo>
                <a:cubicBezTo>
                  <a:pt x="137" y="41"/>
                  <a:pt x="137" y="41"/>
                  <a:pt x="137" y="41"/>
                </a:cubicBezTo>
                <a:cubicBezTo>
                  <a:pt x="139" y="43"/>
                  <a:pt x="139" y="43"/>
                  <a:pt x="139" y="43"/>
                </a:cubicBezTo>
                <a:cubicBezTo>
                  <a:pt x="140" y="42"/>
                  <a:pt x="140" y="42"/>
                  <a:pt x="140" y="42"/>
                </a:cubicBezTo>
                <a:cubicBezTo>
                  <a:pt x="139" y="39"/>
                  <a:pt x="139" y="39"/>
                  <a:pt x="139" y="39"/>
                </a:cubicBezTo>
                <a:cubicBezTo>
                  <a:pt x="139" y="38"/>
                  <a:pt x="139" y="38"/>
                  <a:pt x="139" y="38"/>
                </a:cubicBezTo>
                <a:cubicBezTo>
                  <a:pt x="138" y="38"/>
                  <a:pt x="138" y="38"/>
                  <a:pt x="138" y="38"/>
                </a:cubicBezTo>
                <a:cubicBezTo>
                  <a:pt x="137" y="38"/>
                  <a:pt x="137" y="38"/>
                  <a:pt x="137" y="38"/>
                </a:cubicBezTo>
                <a:close/>
                <a:moveTo>
                  <a:pt x="120" y="26"/>
                </a:moveTo>
                <a:cubicBezTo>
                  <a:pt x="120" y="26"/>
                  <a:pt x="120" y="26"/>
                  <a:pt x="120" y="26"/>
                </a:cubicBezTo>
                <a:cubicBezTo>
                  <a:pt x="120" y="25"/>
                  <a:pt x="120" y="25"/>
                  <a:pt x="120" y="25"/>
                </a:cubicBezTo>
                <a:cubicBezTo>
                  <a:pt x="120" y="24"/>
                  <a:pt x="120" y="24"/>
                  <a:pt x="120" y="24"/>
                </a:cubicBezTo>
                <a:cubicBezTo>
                  <a:pt x="119" y="24"/>
                  <a:pt x="119" y="24"/>
                  <a:pt x="119" y="24"/>
                </a:cubicBezTo>
                <a:cubicBezTo>
                  <a:pt x="119" y="24"/>
                  <a:pt x="119" y="24"/>
                  <a:pt x="119" y="24"/>
                </a:cubicBezTo>
                <a:cubicBezTo>
                  <a:pt x="119" y="25"/>
                  <a:pt x="119" y="25"/>
                  <a:pt x="119" y="25"/>
                </a:cubicBezTo>
                <a:cubicBezTo>
                  <a:pt x="120" y="26"/>
                  <a:pt x="120" y="26"/>
                  <a:pt x="120" y="26"/>
                </a:cubicBezTo>
                <a:close/>
                <a:moveTo>
                  <a:pt x="117" y="34"/>
                </a:moveTo>
                <a:cubicBezTo>
                  <a:pt x="118" y="34"/>
                  <a:pt x="118" y="34"/>
                  <a:pt x="118" y="34"/>
                </a:cubicBezTo>
                <a:cubicBezTo>
                  <a:pt x="118" y="33"/>
                  <a:pt x="118" y="33"/>
                  <a:pt x="118" y="33"/>
                </a:cubicBezTo>
                <a:cubicBezTo>
                  <a:pt x="118" y="32"/>
                  <a:pt x="118" y="32"/>
                  <a:pt x="118" y="32"/>
                </a:cubicBezTo>
                <a:cubicBezTo>
                  <a:pt x="116" y="30"/>
                  <a:pt x="116" y="30"/>
                  <a:pt x="116" y="30"/>
                </a:cubicBezTo>
                <a:cubicBezTo>
                  <a:pt x="116" y="28"/>
                  <a:pt x="116" y="28"/>
                  <a:pt x="116" y="28"/>
                </a:cubicBezTo>
                <a:cubicBezTo>
                  <a:pt x="117" y="26"/>
                  <a:pt x="117" y="26"/>
                  <a:pt x="117" y="26"/>
                </a:cubicBezTo>
                <a:cubicBezTo>
                  <a:pt x="117" y="24"/>
                  <a:pt x="117" y="24"/>
                  <a:pt x="117" y="24"/>
                </a:cubicBezTo>
                <a:cubicBezTo>
                  <a:pt x="117" y="23"/>
                  <a:pt x="117" y="23"/>
                  <a:pt x="117" y="23"/>
                </a:cubicBezTo>
                <a:cubicBezTo>
                  <a:pt x="117" y="21"/>
                  <a:pt x="117" y="21"/>
                  <a:pt x="117" y="21"/>
                </a:cubicBezTo>
                <a:cubicBezTo>
                  <a:pt x="116" y="20"/>
                  <a:pt x="116" y="20"/>
                  <a:pt x="116" y="20"/>
                </a:cubicBezTo>
                <a:cubicBezTo>
                  <a:pt x="115" y="21"/>
                  <a:pt x="115" y="21"/>
                  <a:pt x="115" y="21"/>
                </a:cubicBezTo>
                <a:cubicBezTo>
                  <a:pt x="115" y="25"/>
                  <a:pt x="115" y="25"/>
                  <a:pt x="115" y="25"/>
                </a:cubicBezTo>
                <a:cubicBezTo>
                  <a:pt x="114" y="26"/>
                  <a:pt x="114" y="26"/>
                  <a:pt x="114" y="26"/>
                </a:cubicBezTo>
                <a:cubicBezTo>
                  <a:pt x="114" y="27"/>
                  <a:pt x="114" y="27"/>
                  <a:pt x="114" y="27"/>
                </a:cubicBezTo>
                <a:cubicBezTo>
                  <a:pt x="116" y="30"/>
                  <a:pt x="116" y="30"/>
                  <a:pt x="116" y="30"/>
                </a:cubicBezTo>
                <a:cubicBezTo>
                  <a:pt x="116" y="32"/>
                  <a:pt x="116" y="32"/>
                  <a:pt x="116" y="32"/>
                </a:cubicBezTo>
                <a:cubicBezTo>
                  <a:pt x="117" y="34"/>
                  <a:pt x="117" y="34"/>
                  <a:pt x="117" y="34"/>
                </a:cubicBezTo>
                <a:close/>
                <a:moveTo>
                  <a:pt x="49" y="44"/>
                </a:moveTo>
                <a:cubicBezTo>
                  <a:pt x="50" y="45"/>
                  <a:pt x="50" y="45"/>
                  <a:pt x="50" y="45"/>
                </a:cubicBezTo>
                <a:cubicBezTo>
                  <a:pt x="50" y="46"/>
                  <a:pt x="50" y="46"/>
                  <a:pt x="50" y="46"/>
                </a:cubicBezTo>
                <a:cubicBezTo>
                  <a:pt x="51" y="46"/>
                  <a:pt x="51" y="46"/>
                  <a:pt x="51" y="46"/>
                </a:cubicBezTo>
                <a:cubicBezTo>
                  <a:pt x="51" y="45"/>
                  <a:pt x="51" y="45"/>
                  <a:pt x="51" y="45"/>
                </a:cubicBezTo>
                <a:cubicBezTo>
                  <a:pt x="50" y="44"/>
                  <a:pt x="50" y="44"/>
                  <a:pt x="50" y="44"/>
                </a:cubicBezTo>
                <a:cubicBezTo>
                  <a:pt x="49" y="44"/>
                  <a:pt x="49" y="44"/>
                  <a:pt x="49" y="44"/>
                </a:cubicBezTo>
                <a:close/>
                <a:moveTo>
                  <a:pt x="6" y="99"/>
                </a:moveTo>
                <a:cubicBezTo>
                  <a:pt x="7" y="100"/>
                  <a:pt x="7" y="100"/>
                  <a:pt x="7" y="100"/>
                </a:cubicBezTo>
                <a:cubicBezTo>
                  <a:pt x="9" y="100"/>
                  <a:pt x="9" y="100"/>
                  <a:pt x="9" y="100"/>
                </a:cubicBezTo>
                <a:cubicBezTo>
                  <a:pt x="10" y="101"/>
                  <a:pt x="10" y="101"/>
                  <a:pt x="10" y="101"/>
                </a:cubicBezTo>
                <a:cubicBezTo>
                  <a:pt x="11" y="101"/>
                  <a:pt x="11" y="101"/>
                  <a:pt x="11" y="101"/>
                </a:cubicBezTo>
                <a:cubicBezTo>
                  <a:pt x="10" y="100"/>
                  <a:pt x="10" y="100"/>
                  <a:pt x="10" y="100"/>
                </a:cubicBezTo>
                <a:cubicBezTo>
                  <a:pt x="9" y="100"/>
                  <a:pt x="9" y="100"/>
                  <a:pt x="9" y="100"/>
                </a:cubicBezTo>
                <a:cubicBezTo>
                  <a:pt x="8" y="98"/>
                  <a:pt x="8" y="98"/>
                  <a:pt x="8" y="98"/>
                </a:cubicBezTo>
                <a:cubicBezTo>
                  <a:pt x="7" y="99"/>
                  <a:pt x="7" y="99"/>
                  <a:pt x="7" y="99"/>
                </a:cubicBezTo>
                <a:cubicBezTo>
                  <a:pt x="7" y="98"/>
                  <a:pt x="7" y="98"/>
                  <a:pt x="7" y="98"/>
                </a:cubicBezTo>
                <a:cubicBezTo>
                  <a:pt x="6" y="99"/>
                  <a:pt x="6" y="99"/>
                  <a:pt x="6" y="99"/>
                </a:cubicBezTo>
                <a:close/>
                <a:moveTo>
                  <a:pt x="0" y="99"/>
                </a:moveTo>
                <a:cubicBezTo>
                  <a:pt x="2" y="100"/>
                  <a:pt x="2" y="100"/>
                  <a:pt x="2" y="100"/>
                </a:cubicBezTo>
                <a:cubicBezTo>
                  <a:pt x="3" y="101"/>
                  <a:pt x="3" y="101"/>
                  <a:pt x="3" y="101"/>
                </a:cubicBezTo>
                <a:cubicBezTo>
                  <a:pt x="4" y="101"/>
                  <a:pt x="4" y="101"/>
                  <a:pt x="4" y="101"/>
                </a:cubicBezTo>
                <a:cubicBezTo>
                  <a:pt x="6" y="100"/>
                  <a:pt x="6" y="100"/>
                  <a:pt x="6" y="100"/>
                </a:cubicBezTo>
                <a:cubicBezTo>
                  <a:pt x="4" y="99"/>
                  <a:pt x="4" y="99"/>
                  <a:pt x="4" y="99"/>
                </a:cubicBezTo>
                <a:cubicBezTo>
                  <a:pt x="2" y="98"/>
                  <a:pt x="2" y="98"/>
                  <a:pt x="2" y="98"/>
                </a:cubicBezTo>
                <a:cubicBezTo>
                  <a:pt x="1" y="98"/>
                  <a:pt x="1" y="98"/>
                  <a:pt x="1" y="98"/>
                </a:cubicBezTo>
                <a:cubicBezTo>
                  <a:pt x="0" y="99"/>
                  <a:pt x="0" y="99"/>
                  <a:pt x="0" y="99"/>
                </a:cubicBezTo>
                <a:close/>
                <a:moveTo>
                  <a:pt x="48" y="151"/>
                </a:moveTo>
                <a:cubicBezTo>
                  <a:pt x="48" y="152"/>
                  <a:pt x="48" y="152"/>
                  <a:pt x="48" y="152"/>
                </a:cubicBezTo>
                <a:cubicBezTo>
                  <a:pt x="49" y="152"/>
                  <a:pt x="49" y="152"/>
                  <a:pt x="49" y="152"/>
                </a:cubicBezTo>
                <a:cubicBezTo>
                  <a:pt x="49" y="151"/>
                  <a:pt x="49" y="151"/>
                  <a:pt x="49" y="151"/>
                </a:cubicBezTo>
                <a:cubicBezTo>
                  <a:pt x="49" y="151"/>
                  <a:pt x="49" y="151"/>
                  <a:pt x="49" y="151"/>
                </a:cubicBezTo>
                <a:cubicBezTo>
                  <a:pt x="48" y="151"/>
                  <a:pt x="48" y="151"/>
                  <a:pt x="48" y="151"/>
                </a:cubicBezTo>
                <a:close/>
                <a:moveTo>
                  <a:pt x="49" y="157"/>
                </a:moveTo>
                <a:cubicBezTo>
                  <a:pt x="49" y="157"/>
                  <a:pt x="49" y="157"/>
                  <a:pt x="49" y="157"/>
                </a:cubicBezTo>
                <a:cubicBezTo>
                  <a:pt x="50" y="157"/>
                  <a:pt x="50" y="157"/>
                  <a:pt x="50" y="157"/>
                </a:cubicBezTo>
                <a:cubicBezTo>
                  <a:pt x="52" y="157"/>
                  <a:pt x="52" y="157"/>
                  <a:pt x="52" y="157"/>
                </a:cubicBezTo>
                <a:cubicBezTo>
                  <a:pt x="53" y="157"/>
                  <a:pt x="53" y="157"/>
                  <a:pt x="53" y="157"/>
                </a:cubicBezTo>
                <a:cubicBezTo>
                  <a:pt x="53" y="158"/>
                  <a:pt x="53" y="158"/>
                  <a:pt x="53" y="158"/>
                </a:cubicBezTo>
                <a:cubicBezTo>
                  <a:pt x="54" y="157"/>
                  <a:pt x="54" y="157"/>
                  <a:pt x="54" y="157"/>
                </a:cubicBezTo>
                <a:cubicBezTo>
                  <a:pt x="53" y="156"/>
                  <a:pt x="53" y="156"/>
                  <a:pt x="53" y="156"/>
                </a:cubicBezTo>
                <a:cubicBezTo>
                  <a:pt x="51" y="156"/>
                  <a:pt x="51" y="156"/>
                  <a:pt x="51" y="156"/>
                </a:cubicBezTo>
                <a:cubicBezTo>
                  <a:pt x="51" y="156"/>
                  <a:pt x="51" y="156"/>
                  <a:pt x="51" y="156"/>
                </a:cubicBezTo>
                <a:cubicBezTo>
                  <a:pt x="50" y="155"/>
                  <a:pt x="50" y="155"/>
                  <a:pt x="50" y="155"/>
                </a:cubicBezTo>
                <a:cubicBezTo>
                  <a:pt x="49" y="156"/>
                  <a:pt x="49" y="156"/>
                  <a:pt x="49" y="156"/>
                </a:cubicBezTo>
                <a:cubicBezTo>
                  <a:pt x="48" y="156"/>
                  <a:pt x="48" y="156"/>
                  <a:pt x="48" y="156"/>
                </a:cubicBezTo>
                <a:cubicBezTo>
                  <a:pt x="49" y="157"/>
                  <a:pt x="49" y="157"/>
                  <a:pt x="49" y="157"/>
                </a:cubicBezTo>
                <a:close/>
                <a:moveTo>
                  <a:pt x="50" y="158"/>
                </a:moveTo>
                <a:cubicBezTo>
                  <a:pt x="50" y="159"/>
                  <a:pt x="50" y="159"/>
                  <a:pt x="50" y="159"/>
                </a:cubicBezTo>
                <a:cubicBezTo>
                  <a:pt x="51" y="159"/>
                  <a:pt x="51" y="159"/>
                  <a:pt x="51" y="159"/>
                </a:cubicBezTo>
                <a:cubicBezTo>
                  <a:pt x="51" y="158"/>
                  <a:pt x="51" y="158"/>
                  <a:pt x="51" y="158"/>
                </a:cubicBezTo>
                <a:cubicBezTo>
                  <a:pt x="50" y="158"/>
                  <a:pt x="50" y="158"/>
                  <a:pt x="50" y="158"/>
                </a:cubicBezTo>
                <a:close/>
                <a:moveTo>
                  <a:pt x="50" y="166"/>
                </a:moveTo>
                <a:cubicBezTo>
                  <a:pt x="51" y="167"/>
                  <a:pt x="51" y="167"/>
                  <a:pt x="51" y="167"/>
                </a:cubicBezTo>
                <a:cubicBezTo>
                  <a:pt x="52" y="167"/>
                  <a:pt x="52" y="167"/>
                  <a:pt x="52" y="167"/>
                </a:cubicBezTo>
                <a:cubicBezTo>
                  <a:pt x="52" y="168"/>
                  <a:pt x="52" y="168"/>
                  <a:pt x="52" y="168"/>
                </a:cubicBezTo>
                <a:cubicBezTo>
                  <a:pt x="53" y="167"/>
                  <a:pt x="53" y="167"/>
                  <a:pt x="53" y="167"/>
                </a:cubicBezTo>
                <a:cubicBezTo>
                  <a:pt x="53" y="167"/>
                  <a:pt x="53" y="167"/>
                  <a:pt x="53" y="167"/>
                </a:cubicBezTo>
                <a:cubicBezTo>
                  <a:pt x="51" y="166"/>
                  <a:pt x="51" y="166"/>
                  <a:pt x="51" y="166"/>
                </a:cubicBezTo>
                <a:cubicBezTo>
                  <a:pt x="51" y="166"/>
                  <a:pt x="51" y="166"/>
                  <a:pt x="51" y="166"/>
                </a:cubicBezTo>
                <a:cubicBezTo>
                  <a:pt x="50" y="166"/>
                  <a:pt x="50" y="166"/>
                  <a:pt x="50" y="166"/>
                </a:cubicBezTo>
                <a:close/>
                <a:moveTo>
                  <a:pt x="49" y="169"/>
                </a:moveTo>
                <a:cubicBezTo>
                  <a:pt x="50" y="170"/>
                  <a:pt x="50" y="170"/>
                  <a:pt x="50" y="170"/>
                </a:cubicBezTo>
                <a:cubicBezTo>
                  <a:pt x="50" y="170"/>
                  <a:pt x="50" y="170"/>
                  <a:pt x="50" y="170"/>
                </a:cubicBezTo>
                <a:cubicBezTo>
                  <a:pt x="51" y="170"/>
                  <a:pt x="51" y="170"/>
                  <a:pt x="51" y="170"/>
                </a:cubicBezTo>
                <a:cubicBezTo>
                  <a:pt x="50" y="169"/>
                  <a:pt x="50" y="169"/>
                  <a:pt x="50" y="169"/>
                </a:cubicBezTo>
                <a:cubicBezTo>
                  <a:pt x="50" y="169"/>
                  <a:pt x="50" y="169"/>
                  <a:pt x="50" y="169"/>
                </a:cubicBezTo>
                <a:cubicBezTo>
                  <a:pt x="49" y="169"/>
                  <a:pt x="49" y="169"/>
                  <a:pt x="49" y="169"/>
                </a:cubicBezTo>
                <a:close/>
                <a:moveTo>
                  <a:pt x="51" y="174"/>
                </a:moveTo>
                <a:cubicBezTo>
                  <a:pt x="51" y="175"/>
                  <a:pt x="51" y="175"/>
                  <a:pt x="51" y="175"/>
                </a:cubicBezTo>
                <a:cubicBezTo>
                  <a:pt x="52" y="174"/>
                  <a:pt x="52" y="174"/>
                  <a:pt x="52" y="174"/>
                </a:cubicBezTo>
                <a:cubicBezTo>
                  <a:pt x="51" y="173"/>
                  <a:pt x="51" y="173"/>
                  <a:pt x="51" y="173"/>
                </a:cubicBezTo>
                <a:cubicBezTo>
                  <a:pt x="51" y="173"/>
                  <a:pt x="51" y="173"/>
                  <a:pt x="51" y="173"/>
                </a:cubicBezTo>
                <a:cubicBezTo>
                  <a:pt x="51" y="173"/>
                  <a:pt x="51" y="173"/>
                  <a:pt x="51" y="173"/>
                </a:cubicBezTo>
                <a:cubicBezTo>
                  <a:pt x="51" y="174"/>
                  <a:pt x="51" y="174"/>
                  <a:pt x="51" y="174"/>
                </a:cubicBezTo>
                <a:close/>
                <a:moveTo>
                  <a:pt x="53" y="176"/>
                </a:moveTo>
                <a:cubicBezTo>
                  <a:pt x="53" y="176"/>
                  <a:pt x="53" y="176"/>
                  <a:pt x="53" y="176"/>
                </a:cubicBezTo>
                <a:cubicBezTo>
                  <a:pt x="53" y="176"/>
                  <a:pt x="53" y="176"/>
                  <a:pt x="53" y="176"/>
                </a:cubicBezTo>
                <a:cubicBezTo>
                  <a:pt x="53" y="176"/>
                  <a:pt x="53" y="176"/>
                  <a:pt x="53" y="176"/>
                </a:cubicBezTo>
                <a:cubicBezTo>
                  <a:pt x="53" y="176"/>
                  <a:pt x="53" y="176"/>
                  <a:pt x="53" y="176"/>
                </a:cubicBezTo>
                <a:close/>
                <a:moveTo>
                  <a:pt x="49" y="177"/>
                </a:moveTo>
                <a:cubicBezTo>
                  <a:pt x="49" y="176"/>
                  <a:pt x="49" y="176"/>
                  <a:pt x="49" y="176"/>
                </a:cubicBezTo>
                <a:cubicBezTo>
                  <a:pt x="49" y="176"/>
                  <a:pt x="49" y="176"/>
                  <a:pt x="49" y="176"/>
                </a:cubicBezTo>
                <a:cubicBezTo>
                  <a:pt x="49" y="176"/>
                  <a:pt x="49" y="176"/>
                  <a:pt x="49" y="176"/>
                </a:cubicBezTo>
                <a:cubicBezTo>
                  <a:pt x="49" y="177"/>
                  <a:pt x="49" y="177"/>
                  <a:pt x="49" y="177"/>
                </a:cubicBezTo>
                <a:close/>
                <a:moveTo>
                  <a:pt x="51" y="176"/>
                </a:moveTo>
                <a:cubicBezTo>
                  <a:pt x="51" y="176"/>
                  <a:pt x="51" y="176"/>
                  <a:pt x="51" y="176"/>
                </a:cubicBezTo>
                <a:cubicBezTo>
                  <a:pt x="51" y="176"/>
                  <a:pt x="51" y="176"/>
                  <a:pt x="51" y="176"/>
                </a:cubicBezTo>
                <a:cubicBezTo>
                  <a:pt x="51" y="176"/>
                  <a:pt x="51" y="176"/>
                  <a:pt x="51" y="176"/>
                </a:cubicBezTo>
                <a:cubicBezTo>
                  <a:pt x="51" y="176"/>
                  <a:pt x="51" y="176"/>
                  <a:pt x="51" y="176"/>
                </a:cubicBezTo>
                <a:close/>
                <a:moveTo>
                  <a:pt x="50" y="178"/>
                </a:moveTo>
                <a:cubicBezTo>
                  <a:pt x="51" y="178"/>
                  <a:pt x="51" y="178"/>
                  <a:pt x="51" y="178"/>
                </a:cubicBezTo>
                <a:cubicBezTo>
                  <a:pt x="51" y="177"/>
                  <a:pt x="51" y="177"/>
                  <a:pt x="51" y="177"/>
                </a:cubicBezTo>
                <a:cubicBezTo>
                  <a:pt x="50" y="177"/>
                  <a:pt x="50" y="177"/>
                  <a:pt x="50" y="177"/>
                </a:cubicBezTo>
                <a:cubicBezTo>
                  <a:pt x="50" y="178"/>
                  <a:pt x="50" y="178"/>
                  <a:pt x="50" y="178"/>
                </a:cubicBezTo>
                <a:close/>
                <a:moveTo>
                  <a:pt x="51" y="180"/>
                </a:moveTo>
                <a:cubicBezTo>
                  <a:pt x="51" y="180"/>
                  <a:pt x="51" y="180"/>
                  <a:pt x="51" y="180"/>
                </a:cubicBezTo>
                <a:cubicBezTo>
                  <a:pt x="51" y="180"/>
                  <a:pt x="51" y="180"/>
                  <a:pt x="51" y="180"/>
                </a:cubicBezTo>
                <a:cubicBezTo>
                  <a:pt x="50" y="180"/>
                  <a:pt x="50" y="180"/>
                  <a:pt x="50" y="180"/>
                </a:cubicBezTo>
                <a:cubicBezTo>
                  <a:pt x="50" y="180"/>
                  <a:pt x="50" y="180"/>
                  <a:pt x="50" y="180"/>
                </a:cubicBezTo>
                <a:cubicBezTo>
                  <a:pt x="51" y="180"/>
                  <a:pt x="51" y="180"/>
                  <a:pt x="51" y="180"/>
                </a:cubicBezTo>
                <a:close/>
                <a:moveTo>
                  <a:pt x="52" y="181"/>
                </a:moveTo>
                <a:cubicBezTo>
                  <a:pt x="52" y="181"/>
                  <a:pt x="52" y="181"/>
                  <a:pt x="52" y="181"/>
                </a:cubicBezTo>
                <a:cubicBezTo>
                  <a:pt x="53" y="180"/>
                  <a:pt x="53" y="180"/>
                  <a:pt x="53" y="180"/>
                </a:cubicBezTo>
                <a:cubicBezTo>
                  <a:pt x="52" y="180"/>
                  <a:pt x="52" y="180"/>
                  <a:pt x="52" y="180"/>
                </a:cubicBezTo>
                <a:cubicBezTo>
                  <a:pt x="51" y="181"/>
                  <a:pt x="51" y="181"/>
                  <a:pt x="51" y="181"/>
                </a:cubicBezTo>
                <a:cubicBezTo>
                  <a:pt x="51" y="181"/>
                  <a:pt x="52" y="181"/>
                  <a:pt x="52" y="181"/>
                </a:cubicBezTo>
                <a:close/>
                <a:moveTo>
                  <a:pt x="48" y="184"/>
                </a:moveTo>
                <a:cubicBezTo>
                  <a:pt x="49" y="184"/>
                  <a:pt x="49" y="184"/>
                  <a:pt x="49" y="184"/>
                </a:cubicBezTo>
                <a:cubicBezTo>
                  <a:pt x="49" y="184"/>
                  <a:pt x="49" y="184"/>
                  <a:pt x="49" y="184"/>
                </a:cubicBezTo>
                <a:cubicBezTo>
                  <a:pt x="49" y="183"/>
                  <a:pt x="49" y="183"/>
                  <a:pt x="49" y="183"/>
                </a:cubicBezTo>
                <a:cubicBezTo>
                  <a:pt x="48" y="183"/>
                  <a:pt x="48" y="183"/>
                  <a:pt x="48" y="183"/>
                </a:cubicBezTo>
                <a:cubicBezTo>
                  <a:pt x="48" y="184"/>
                  <a:pt x="48" y="184"/>
                  <a:pt x="48" y="184"/>
                </a:cubicBezTo>
                <a:cubicBezTo>
                  <a:pt x="48" y="184"/>
                  <a:pt x="48" y="184"/>
                  <a:pt x="48" y="184"/>
                </a:cubicBezTo>
                <a:close/>
                <a:moveTo>
                  <a:pt x="50" y="186"/>
                </a:moveTo>
                <a:cubicBezTo>
                  <a:pt x="52" y="185"/>
                  <a:pt x="52" y="185"/>
                  <a:pt x="52" y="185"/>
                </a:cubicBezTo>
                <a:cubicBezTo>
                  <a:pt x="53" y="184"/>
                  <a:pt x="53" y="184"/>
                  <a:pt x="53" y="184"/>
                </a:cubicBezTo>
                <a:cubicBezTo>
                  <a:pt x="53" y="183"/>
                  <a:pt x="53" y="183"/>
                  <a:pt x="53" y="183"/>
                </a:cubicBezTo>
                <a:cubicBezTo>
                  <a:pt x="52" y="183"/>
                  <a:pt x="52" y="183"/>
                  <a:pt x="52" y="183"/>
                </a:cubicBezTo>
                <a:cubicBezTo>
                  <a:pt x="51" y="184"/>
                  <a:pt x="51" y="184"/>
                  <a:pt x="51" y="184"/>
                </a:cubicBezTo>
                <a:cubicBezTo>
                  <a:pt x="50" y="184"/>
                  <a:pt x="50" y="184"/>
                  <a:pt x="50" y="184"/>
                </a:cubicBezTo>
                <a:cubicBezTo>
                  <a:pt x="50" y="185"/>
                  <a:pt x="50" y="185"/>
                  <a:pt x="50" y="185"/>
                </a:cubicBezTo>
                <a:cubicBezTo>
                  <a:pt x="49" y="185"/>
                  <a:pt x="49" y="185"/>
                  <a:pt x="49" y="185"/>
                </a:cubicBezTo>
                <a:cubicBezTo>
                  <a:pt x="49" y="186"/>
                  <a:pt x="49" y="186"/>
                  <a:pt x="49" y="186"/>
                </a:cubicBezTo>
                <a:cubicBezTo>
                  <a:pt x="49" y="186"/>
                  <a:pt x="49" y="186"/>
                  <a:pt x="49" y="186"/>
                </a:cubicBezTo>
                <a:cubicBezTo>
                  <a:pt x="50" y="186"/>
                  <a:pt x="50" y="186"/>
                  <a:pt x="50" y="186"/>
                </a:cubicBezTo>
                <a:cubicBezTo>
                  <a:pt x="50" y="186"/>
                  <a:pt x="50" y="186"/>
                  <a:pt x="50" y="186"/>
                </a:cubicBezTo>
                <a:close/>
                <a:moveTo>
                  <a:pt x="52" y="186"/>
                </a:moveTo>
                <a:cubicBezTo>
                  <a:pt x="52" y="186"/>
                  <a:pt x="52" y="186"/>
                  <a:pt x="52" y="186"/>
                </a:cubicBezTo>
                <a:cubicBezTo>
                  <a:pt x="53" y="186"/>
                  <a:pt x="53" y="186"/>
                  <a:pt x="53" y="186"/>
                </a:cubicBezTo>
                <a:cubicBezTo>
                  <a:pt x="53" y="185"/>
                  <a:pt x="53" y="185"/>
                  <a:pt x="53" y="185"/>
                </a:cubicBezTo>
                <a:cubicBezTo>
                  <a:pt x="52" y="186"/>
                  <a:pt x="52" y="186"/>
                  <a:pt x="52" y="186"/>
                </a:cubicBezTo>
                <a:close/>
                <a:moveTo>
                  <a:pt x="51" y="187"/>
                </a:moveTo>
                <a:cubicBezTo>
                  <a:pt x="52" y="187"/>
                  <a:pt x="52" y="187"/>
                  <a:pt x="52" y="187"/>
                </a:cubicBezTo>
                <a:cubicBezTo>
                  <a:pt x="52" y="186"/>
                  <a:pt x="52" y="186"/>
                  <a:pt x="52" y="186"/>
                </a:cubicBezTo>
                <a:cubicBezTo>
                  <a:pt x="51" y="187"/>
                  <a:pt x="51" y="187"/>
                  <a:pt x="51" y="187"/>
                </a:cubicBezTo>
                <a:cubicBezTo>
                  <a:pt x="51" y="187"/>
                  <a:pt x="51" y="187"/>
                  <a:pt x="51" y="187"/>
                </a:cubicBezTo>
                <a:close/>
                <a:moveTo>
                  <a:pt x="49" y="188"/>
                </a:moveTo>
                <a:cubicBezTo>
                  <a:pt x="50" y="187"/>
                  <a:pt x="50" y="187"/>
                  <a:pt x="50" y="187"/>
                </a:cubicBezTo>
                <a:cubicBezTo>
                  <a:pt x="50" y="187"/>
                  <a:pt x="50" y="187"/>
                  <a:pt x="50" y="187"/>
                </a:cubicBezTo>
                <a:cubicBezTo>
                  <a:pt x="49" y="187"/>
                  <a:pt x="49" y="187"/>
                  <a:pt x="49" y="187"/>
                </a:cubicBezTo>
                <a:cubicBezTo>
                  <a:pt x="49" y="188"/>
                  <a:pt x="49" y="188"/>
                  <a:pt x="49" y="188"/>
                </a:cubicBezTo>
                <a:cubicBezTo>
                  <a:pt x="49" y="188"/>
                  <a:pt x="49" y="188"/>
                  <a:pt x="49" y="188"/>
                </a:cubicBezTo>
                <a:close/>
                <a:moveTo>
                  <a:pt x="47" y="192"/>
                </a:moveTo>
                <a:cubicBezTo>
                  <a:pt x="47" y="193"/>
                  <a:pt x="47" y="193"/>
                  <a:pt x="47" y="193"/>
                </a:cubicBezTo>
                <a:cubicBezTo>
                  <a:pt x="48" y="193"/>
                  <a:pt x="48" y="193"/>
                  <a:pt x="48" y="193"/>
                </a:cubicBezTo>
                <a:cubicBezTo>
                  <a:pt x="49" y="192"/>
                  <a:pt x="49" y="192"/>
                  <a:pt x="49" y="192"/>
                </a:cubicBezTo>
                <a:cubicBezTo>
                  <a:pt x="50" y="191"/>
                  <a:pt x="50" y="191"/>
                  <a:pt x="50" y="191"/>
                </a:cubicBezTo>
                <a:cubicBezTo>
                  <a:pt x="51" y="191"/>
                  <a:pt x="51" y="191"/>
                  <a:pt x="51" y="191"/>
                </a:cubicBezTo>
                <a:cubicBezTo>
                  <a:pt x="50" y="190"/>
                  <a:pt x="50" y="190"/>
                  <a:pt x="50" y="190"/>
                </a:cubicBezTo>
                <a:cubicBezTo>
                  <a:pt x="49" y="191"/>
                  <a:pt x="49" y="191"/>
                  <a:pt x="49" y="191"/>
                </a:cubicBezTo>
                <a:cubicBezTo>
                  <a:pt x="48" y="191"/>
                  <a:pt x="48" y="191"/>
                  <a:pt x="48" y="191"/>
                </a:cubicBezTo>
                <a:cubicBezTo>
                  <a:pt x="48" y="192"/>
                  <a:pt x="48" y="192"/>
                  <a:pt x="48" y="192"/>
                </a:cubicBezTo>
                <a:cubicBezTo>
                  <a:pt x="48" y="192"/>
                  <a:pt x="47" y="192"/>
                  <a:pt x="47" y="192"/>
                </a:cubicBezTo>
                <a:close/>
                <a:moveTo>
                  <a:pt x="46" y="196"/>
                </a:moveTo>
                <a:cubicBezTo>
                  <a:pt x="47" y="197"/>
                  <a:pt x="47" y="197"/>
                  <a:pt x="47" y="197"/>
                </a:cubicBezTo>
                <a:cubicBezTo>
                  <a:pt x="47" y="197"/>
                  <a:pt x="47" y="197"/>
                  <a:pt x="47" y="197"/>
                </a:cubicBezTo>
                <a:cubicBezTo>
                  <a:pt x="48" y="196"/>
                  <a:pt x="48" y="196"/>
                  <a:pt x="48" y="196"/>
                </a:cubicBezTo>
                <a:cubicBezTo>
                  <a:pt x="47" y="196"/>
                  <a:pt x="47" y="196"/>
                  <a:pt x="47" y="196"/>
                </a:cubicBezTo>
                <a:cubicBezTo>
                  <a:pt x="46" y="196"/>
                  <a:pt x="46" y="196"/>
                  <a:pt x="46" y="196"/>
                </a:cubicBezTo>
                <a:close/>
                <a:moveTo>
                  <a:pt x="74" y="341"/>
                </a:moveTo>
                <a:cubicBezTo>
                  <a:pt x="75" y="340"/>
                  <a:pt x="75" y="340"/>
                  <a:pt x="75" y="340"/>
                </a:cubicBezTo>
                <a:cubicBezTo>
                  <a:pt x="76" y="340"/>
                  <a:pt x="76" y="340"/>
                  <a:pt x="76" y="340"/>
                </a:cubicBezTo>
                <a:cubicBezTo>
                  <a:pt x="76" y="340"/>
                  <a:pt x="76" y="340"/>
                  <a:pt x="76" y="340"/>
                </a:cubicBezTo>
                <a:cubicBezTo>
                  <a:pt x="76" y="341"/>
                  <a:pt x="76" y="341"/>
                  <a:pt x="76" y="341"/>
                </a:cubicBezTo>
                <a:cubicBezTo>
                  <a:pt x="75" y="341"/>
                  <a:pt x="75" y="341"/>
                  <a:pt x="75" y="341"/>
                </a:cubicBezTo>
                <a:cubicBezTo>
                  <a:pt x="74" y="341"/>
                  <a:pt x="74" y="341"/>
                  <a:pt x="74" y="341"/>
                </a:cubicBezTo>
                <a:cubicBezTo>
                  <a:pt x="74" y="341"/>
                  <a:pt x="74" y="341"/>
                  <a:pt x="74" y="341"/>
                </a:cubicBezTo>
                <a:close/>
                <a:moveTo>
                  <a:pt x="67" y="337"/>
                </a:moveTo>
                <a:cubicBezTo>
                  <a:pt x="68" y="337"/>
                  <a:pt x="68" y="337"/>
                  <a:pt x="68" y="337"/>
                </a:cubicBezTo>
                <a:cubicBezTo>
                  <a:pt x="68" y="336"/>
                  <a:pt x="68" y="336"/>
                  <a:pt x="68" y="336"/>
                </a:cubicBezTo>
                <a:cubicBezTo>
                  <a:pt x="69" y="336"/>
                  <a:pt x="69" y="336"/>
                  <a:pt x="69" y="336"/>
                </a:cubicBezTo>
                <a:cubicBezTo>
                  <a:pt x="68" y="335"/>
                  <a:pt x="68" y="335"/>
                  <a:pt x="68" y="335"/>
                </a:cubicBezTo>
                <a:cubicBezTo>
                  <a:pt x="68" y="335"/>
                  <a:pt x="68" y="335"/>
                  <a:pt x="68" y="335"/>
                </a:cubicBezTo>
                <a:cubicBezTo>
                  <a:pt x="68" y="335"/>
                  <a:pt x="68" y="335"/>
                  <a:pt x="68" y="335"/>
                </a:cubicBezTo>
                <a:cubicBezTo>
                  <a:pt x="67" y="336"/>
                  <a:pt x="67" y="336"/>
                  <a:pt x="67" y="336"/>
                </a:cubicBezTo>
                <a:cubicBezTo>
                  <a:pt x="67" y="337"/>
                  <a:pt x="67" y="337"/>
                  <a:pt x="67" y="337"/>
                </a:cubicBezTo>
                <a:close/>
                <a:moveTo>
                  <a:pt x="63" y="329"/>
                </a:moveTo>
                <a:cubicBezTo>
                  <a:pt x="63" y="329"/>
                  <a:pt x="63" y="329"/>
                  <a:pt x="63" y="329"/>
                </a:cubicBezTo>
                <a:cubicBezTo>
                  <a:pt x="64" y="329"/>
                  <a:pt x="64" y="329"/>
                  <a:pt x="64" y="329"/>
                </a:cubicBezTo>
                <a:cubicBezTo>
                  <a:pt x="64" y="328"/>
                  <a:pt x="64" y="328"/>
                  <a:pt x="64" y="328"/>
                </a:cubicBezTo>
                <a:cubicBezTo>
                  <a:pt x="64" y="328"/>
                  <a:pt x="64" y="328"/>
                  <a:pt x="64" y="328"/>
                </a:cubicBezTo>
                <a:cubicBezTo>
                  <a:pt x="63" y="328"/>
                  <a:pt x="63" y="328"/>
                  <a:pt x="63" y="328"/>
                </a:cubicBezTo>
                <a:cubicBezTo>
                  <a:pt x="63" y="329"/>
                  <a:pt x="63" y="329"/>
                  <a:pt x="63" y="329"/>
                </a:cubicBezTo>
                <a:close/>
                <a:moveTo>
                  <a:pt x="60" y="328"/>
                </a:moveTo>
                <a:cubicBezTo>
                  <a:pt x="60" y="329"/>
                  <a:pt x="60" y="329"/>
                  <a:pt x="60" y="329"/>
                </a:cubicBezTo>
                <a:cubicBezTo>
                  <a:pt x="61" y="329"/>
                  <a:pt x="61" y="329"/>
                  <a:pt x="61" y="329"/>
                </a:cubicBezTo>
                <a:cubicBezTo>
                  <a:pt x="61" y="328"/>
                  <a:pt x="61" y="328"/>
                  <a:pt x="61" y="328"/>
                </a:cubicBezTo>
                <a:cubicBezTo>
                  <a:pt x="61" y="328"/>
                  <a:pt x="61" y="328"/>
                  <a:pt x="61" y="328"/>
                </a:cubicBezTo>
                <a:cubicBezTo>
                  <a:pt x="60" y="328"/>
                  <a:pt x="60" y="328"/>
                  <a:pt x="60" y="328"/>
                </a:cubicBezTo>
                <a:close/>
                <a:moveTo>
                  <a:pt x="54" y="329"/>
                </a:moveTo>
                <a:cubicBezTo>
                  <a:pt x="54" y="330"/>
                  <a:pt x="54" y="330"/>
                  <a:pt x="54" y="330"/>
                </a:cubicBezTo>
                <a:cubicBezTo>
                  <a:pt x="54" y="330"/>
                  <a:pt x="54" y="330"/>
                  <a:pt x="54" y="330"/>
                </a:cubicBezTo>
                <a:cubicBezTo>
                  <a:pt x="54" y="330"/>
                  <a:pt x="54" y="330"/>
                  <a:pt x="54" y="330"/>
                </a:cubicBezTo>
                <a:cubicBezTo>
                  <a:pt x="55" y="330"/>
                  <a:pt x="55" y="330"/>
                  <a:pt x="55" y="330"/>
                </a:cubicBezTo>
                <a:cubicBezTo>
                  <a:pt x="55" y="329"/>
                  <a:pt x="55" y="329"/>
                  <a:pt x="55" y="329"/>
                </a:cubicBezTo>
                <a:cubicBezTo>
                  <a:pt x="54" y="329"/>
                  <a:pt x="54" y="329"/>
                  <a:pt x="54" y="329"/>
                </a:cubicBezTo>
                <a:cubicBezTo>
                  <a:pt x="54" y="329"/>
                  <a:pt x="54" y="329"/>
                  <a:pt x="54" y="329"/>
                </a:cubicBezTo>
                <a:close/>
                <a:moveTo>
                  <a:pt x="45" y="291"/>
                </a:moveTo>
                <a:cubicBezTo>
                  <a:pt x="45" y="291"/>
                  <a:pt x="45" y="291"/>
                  <a:pt x="45" y="291"/>
                </a:cubicBezTo>
                <a:cubicBezTo>
                  <a:pt x="46" y="290"/>
                  <a:pt x="46" y="290"/>
                  <a:pt x="46" y="290"/>
                </a:cubicBezTo>
                <a:cubicBezTo>
                  <a:pt x="47" y="289"/>
                  <a:pt x="47" y="289"/>
                  <a:pt x="47" y="289"/>
                </a:cubicBezTo>
                <a:cubicBezTo>
                  <a:pt x="47" y="289"/>
                  <a:pt x="47" y="289"/>
                  <a:pt x="47" y="289"/>
                </a:cubicBezTo>
                <a:cubicBezTo>
                  <a:pt x="46" y="289"/>
                  <a:pt x="46" y="289"/>
                  <a:pt x="46" y="289"/>
                </a:cubicBezTo>
                <a:cubicBezTo>
                  <a:pt x="45" y="291"/>
                  <a:pt x="45" y="291"/>
                  <a:pt x="45" y="291"/>
                </a:cubicBezTo>
                <a:close/>
                <a:moveTo>
                  <a:pt x="45" y="289"/>
                </a:moveTo>
                <a:cubicBezTo>
                  <a:pt x="45" y="289"/>
                  <a:pt x="45" y="290"/>
                  <a:pt x="45" y="290"/>
                </a:cubicBezTo>
                <a:cubicBezTo>
                  <a:pt x="45" y="290"/>
                  <a:pt x="45" y="290"/>
                  <a:pt x="45" y="290"/>
                </a:cubicBezTo>
                <a:cubicBezTo>
                  <a:pt x="46" y="289"/>
                  <a:pt x="46" y="289"/>
                  <a:pt x="46" y="289"/>
                </a:cubicBezTo>
                <a:cubicBezTo>
                  <a:pt x="46" y="288"/>
                  <a:pt x="46" y="288"/>
                  <a:pt x="46" y="288"/>
                </a:cubicBezTo>
                <a:cubicBezTo>
                  <a:pt x="46" y="288"/>
                  <a:pt x="46" y="288"/>
                  <a:pt x="46" y="288"/>
                </a:cubicBezTo>
                <a:cubicBezTo>
                  <a:pt x="45" y="289"/>
                  <a:pt x="45" y="289"/>
                  <a:pt x="45" y="289"/>
                </a:cubicBezTo>
                <a:close/>
                <a:moveTo>
                  <a:pt x="40" y="276"/>
                </a:moveTo>
                <a:cubicBezTo>
                  <a:pt x="39" y="277"/>
                  <a:pt x="39" y="277"/>
                  <a:pt x="39" y="277"/>
                </a:cubicBezTo>
                <a:cubicBezTo>
                  <a:pt x="39" y="277"/>
                  <a:pt x="39" y="277"/>
                  <a:pt x="39" y="277"/>
                </a:cubicBezTo>
                <a:cubicBezTo>
                  <a:pt x="40" y="277"/>
                  <a:pt x="40" y="277"/>
                  <a:pt x="40" y="277"/>
                </a:cubicBezTo>
                <a:cubicBezTo>
                  <a:pt x="40" y="276"/>
                  <a:pt x="40" y="276"/>
                  <a:pt x="40" y="276"/>
                </a:cubicBezTo>
                <a:cubicBezTo>
                  <a:pt x="40" y="276"/>
                  <a:pt x="40" y="276"/>
                  <a:pt x="40" y="276"/>
                </a:cubicBezTo>
                <a:cubicBezTo>
                  <a:pt x="40" y="276"/>
                  <a:pt x="40" y="276"/>
                  <a:pt x="40" y="276"/>
                </a:cubicBezTo>
                <a:close/>
                <a:moveTo>
                  <a:pt x="39" y="275"/>
                </a:moveTo>
                <a:cubicBezTo>
                  <a:pt x="39" y="276"/>
                  <a:pt x="39" y="276"/>
                  <a:pt x="39" y="276"/>
                </a:cubicBezTo>
                <a:cubicBezTo>
                  <a:pt x="40" y="276"/>
                  <a:pt x="40" y="276"/>
                  <a:pt x="40" y="276"/>
                </a:cubicBezTo>
                <a:cubicBezTo>
                  <a:pt x="40" y="275"/>
                  <a:pt x="40" y="275"/>
                  <a:pt x="40" y="275"/>
                </a:cubicBezTo>
                <a:cubicBezTo>
                  <a:pt x="40" y="275"/>
                  <a:pt x="40" y="275"/>
                  <a:pt x="40" y="275"/>
                </a:cubicBezTo>
                <a:cubicBezTo>
                  <a:pt x="39" y="275"/>
                  <a:pt x="39" y="275"/>
                  <a:pt x="39" y="275"/>
                </a:cubicBezTo>
                <a:close/>
                <a:moveTo>
                  <a:pt x="40" y="263"/>
                </a:moveTo>
                <a:cubicBezTo>
                  <a:pt x="41" y="263"/>
                  <a:pt x="41" y="263"/>
                  <a:pt x="41" y="263"/>
                </a:cubicBezTo>
                <a:cubicBezTo>
                  <a:pt x="41" y="262"/>
                  <a:pt x="41" y="262"/>
                  <a:pt x="41" y="262"/>
                </a:cubicBezTo>
                <a:cubicBezTo>
                  <a:pt x="41" y="262"/>
                  <a:pt x="41" y="262"/>
                  <a:pt x="41" y="262"/>
                </a:cubicBezTo>
                <a:cubicBezTo>
                  <a:pt x="40" y="263"/>
                  <a:pt x="40" y="263"/>
                  <a:pt x="40" y="263"/>
                </a:cubicBezTo>
                <a:close/>
                <a:moveTo>
                  <a:pt x="40" y="261"/>
                </a:moveTo>
                <a:cubicBezTo>
                  <a:pt x="41" y="262"/>
                  <a:pt x="41" y="262"/>
                  <a:pt x="41" y="262"/>
                </a:cubicBezTo>
                <a:cubicBezTo>
                  <a:pt x="42" y="262"/>
                  <a:pt x="42" y="262"/>
                  <a:pt x="42" y="262"/>
                </a:cubicBezTo>
                <a:cubicBezTo>
                  <a:pt x="42" y="261"/>
                  <a:pt x="42" y="261"/>
                  <a:pt x="42" y="261"/>
                </a:cubicBezTo>
                <a:cubicBezTo>
                  <a:pt x="41" y="261"/>
                  <a:pt x="41" y="261"/>
                  <a:pt x="41" y="261"/>
                </a:cubicBezTo>
                <a:cubicBezTo>
                  <a:pt x="40" y="261"/>
                  <a:pt x="40" y="261"/>
                  <a:pt x="40" y="261"/>
                </a:cubicBezTo>
                <a:cubicBezTo>
                  <a:pt x="40" y="261"/>
                  <a:pt x="40" y="261"/>
                  <a:pt x="40" y="261"/>
                </a:cubicBezTo>
                <a:close/>
                <a:moveTo>
                  <a:pt x="38" y="261"/>
                </a:moveTo>
                <a:cubicBezTo>
                  <a:pt x="38" y="262"/>
                  <a:pt x="38" y="262"/>
                  <a:pt x="38" y="262"/>
                </a:cubicBezTo>
                <a:cubicBezTo>
                  <a:pt x="39" y="261"/>
                  <a:pt x="39" y="261"/>
                  <a:pt x="39" y="261"/>
                </a:cubicBezTo>
                <a:cubicBezTo>
                  <a:pt x="39" y="261"/>
                  <a:pt x="39" y="261"/>
                  <a:pt x="39" y="261"/>
                </a:cubicBezTo>
                <a:cubicBezTo>
                  <a:pt x="38" y="261"/>
                  <a:pt x="38" y="261"/>
                  <a:pt x="38" y="261"/>
                </a:cubicBezTo>
                <a:cubicBezTo>
                  <a:pt x="38" y="261"/>
                  <a:pt x="38" y="261"/>
                  <a:pt x="38" y="261"/>
                </a:cubicBezTo>
                <a:close/>
                <a:moveTo>
                  <a:pt x="41" y="250"/>
                </a:moveTo>
                <a:cubicBezTo>
                  <a:pt x="41" y="251"/>
                  <a:pt x="41" y="251"/>
                  <a:pt x="41" y="251"/>
                </a:cubicBezTo>
                <a:cubicBezTo>
                  <a:pt x="41" y="251"/>
                  <a:pt x="41" y="251"/>
                  <a:pt x="41" y="251"/>
                </a:cubicBezTo>
                <a:cubicBezTo>
                  <a:pt x="42" y="251"/>
                  <a:pt x="42" y="251"/>
                  <a:pt x="42" y="251"/>
                </a:cubicBezTo>
                <a:cubicBezTo>
                  <a:pt x="43" y="250"/>
                  <a:pt x="43" y="250"/>
                  <a:pt x="43" y="250"/>
                </a:cubicBezTo>
                <a:cubicBezTo>
                  <a:pt x="43" y="249"/>
                  <a:pt x="43" y="249"/>
                  <a:pt x="43" y="249"/>
                </a:cubicBezTo>
                <a:cubicBezTo>
                  <a:pt x="42" y="249"/>
                  <a:pt x="42" y="249"/>
                  <a:pt x="42" y="249"/>
                </a:cubicBezTo>
                <a:cubicBezTo>
                  <a:pt x="41" y="250"/>
                  <a:pt x="41" y="250"/>
                  <a:pt x="41" y="250"/>
                </a:cubicBezTo>
                <a:close/>
                <a:moveTo>
                  <a:pt x="51" y="246"/>
                </a:moveTo>
                <a:cubicBezTo>
                  <a:pt x="52" y="246"/>
                  <a:pt x="52" y="246"/>
                  <a:pt x="52" y="246"/>
                </a:cubicBezTo>
                <a:cubicBezTo>
                  <a:pt x="54" y="246"/>
                  <a:pt x="54" y="246"/>
                  <a:pt x="54" y="246"/>
                </a:cubicBezTo>
                <a:cubicBezTo>
                  <a:pt x="54" y="245"/>
                  <a:pt x="54" y="245"/>
                  <a:pt x="54" y="245"/>
                </a:cubicBezTo>
                <a:cubicBezTo>
                  <a:pt x="52" y="245"/>
                  <a:pt x="52" y="245"/>
                  <a:pt x="52" y="245"/>
                </a:cubicBezTo>
                <a:cubicBezTo>
                  <a:pt x="51" y="245"/>
                  <a:pt x="51" y="245"/>
                  <a:pt x="51" y="245"/>
                </a:cubicBezTo>
                <a:cubicBezTo>
                  <a:pt x="51" y="246"/>
                  <a:pt x="51" y="246"/>
                  <a:pt x="51" y="246"/>
                </a:cubicBezTo>
                <a:close/>
                <a:moveTo>
                  <a:pt x="47" y="240"/>
                </a:moveTo>
                <a:cubicBezTo>
                  <a:pt x="47" y="241"/>
                  <a:pt x="47" y="241"/>
                  <a:pt x="47" y="241"/>
                </a:cubicBezTo>
                <a:cubicBezTo>
                  <a:pt x="48" y="241"/>
                  <a:pt x="48" y="241"/>
                  <a:pt x="48" y="241"/>
                </a:cubicBezTo>
                <a:cubicBezTo>
                  <a:pt x="49" y="241"/>
                  <a:pt x="49" y="241"/>
                  <a:pt x="49" y="241"/>
                </a:cubicBezTo>
                <a:cubicBezTo>
                  <a:pt x="49" y="240"/>
                  <a:pt x="49" y="240"/>
                  <a:pt x="49" y="240"/>
                </a:cubicBezTo>
                <a:cubicBezTo>
                  <a:pt x="48" y="240"/>
                  <a:pt x="48" y="240"/>
                  <a:pt x="48" y="240"/>
                </a:cubicBezTo>
                <a:cubicBezTo>
                  <a:pt x="47" y="240"/>
                  <a:pt x="47" y="240"/>
                  <a:pt x="47" y="240"/>
                </a:cubicBezTo>
                <a:close/>
                <a:moveTo>
                  <a:pt x="52" y="240"/>
                </a:moveTo>
                <a:cubicBezTo>
                  <a:pt x="53" y="240"/>
                  <a:pt x="53" y="240"/>
                  <a:pt x="53" y="240"/>
                </a:cubicBezTo>
                <a:cubicBezTo>
                  <a:pt x="54" y="240"/>
                  <a:pt x="54" y="240"/>
                  <a:pt x="54" y="240"/>
                </a:cubicBezTo>
                <a:cubicBezTo>
                  <a:pt x="54" y="240"/>
                  <a:pt x="54" y="240"/>
                  <a:pt x="54" y="240"/>
                </a:cubicBezTo>
                <a:cubicBezTo>
                  <a:pt x="53" y="239"/>
                  <a:pt x="53" y="239"/>
                  <a:pt x="53" y="239"/>
                </a:cubicBezTo>
                <a:cubicBezTo>
                  <a:pt x="52" y="240"/>
                  <a:pt x="52" y="240"/>
                  <a:pt x="52" y="240"/>
                </a:cubicBezTo>
                <a:close/>
                <a:moveTo>
                  <a:pt x="49" y="239"/>
                </a:moveTo>
                <a:cubicBezTo>
                  <a:pt x="51" y="240"/>
                  <a:pt x="51" y="240"/>
                  <a:pt x="51" y="240"/>
                </a:cubicBezTo>
                <a:cubicBezTo>
                  <a:pt x="52" y="239"/>
                  <a:pt x="52" y="239"/>
                  <a:pt x="52" y="239"/>
                </a:cubicBezTo>
                <a:cubicBezTo>
                  <a:pt x="53" y="239"/>
                  <a:pt x="53" y="239"/>
                  <a:pt x="53" y="239"/>
                </a:cubicBezTo>
                <a:cubicBezTo>
                  <a:pt x="52" y="238"/>
                  <a:pt x="52" y="238"/>
                  <a:pt x="52" y="238"/>
                </a:cubicBezTo>
                <a:cubicBezTo>
                  <a:pt x="51" y="238"/>
                  <a:pt x="51" y="238"/>
                  <a:pt x="51" y="238"/>
                </a:cubicBezTo>
                <a:cubicBezTo>
                  <a:pt x="50" y="238"/>
                  <a:pt x="50" y="238"/>
                  <a:pt x="50" y="238"/>
                </a:cubicBezTo>
                <a:cubicBezTo>
                  <a:pt x="49" y="239"/>
                  <a:pt x="49" y="239"/>
                  <a:pt x="49" y="239"/>
                </a:cubicBezTo>
                <a:close/>
                <a:moveTo>
                  <a:pt x="60" y="214"/>
                </a:moveTo>
                <a:cubicBezTo>
                  <a:pt x="61" y="215"/>
                  <a:pt x="61" y="215"/>
                  <a:pt x="61" y="215"/>
                </a:cubicBezTo>
                <a:cubicBezTo>
                  <a:pt x="61" y="216"/>
                  <a:pt x="61" y="216"/>
                  <a:pt x="61" y="216"/>
                </a:cubicBezTo>
                <a:cubicBezTo>
                  <a:pt x="62" y="215"/>
                  <a:pt x="62" y="215"/>
                  <a:pt x="62" y="215"/>
                </a:cubicBezTo>
                <a:cubicBezTo>
                  <a:pt x="61" y="215"/>
                  <a:pt x="61" y="215"/>
                  <a:pt x="61" y="215"/>
                </a:cubicBezTo>
                <a:cubicBezTo>
                  <a:pt x="60" y="214"/>
                  <a:pt x="60" y="214"/>
                  <a:pt x="60" y="214"/>
                </a:cubicBezTo>
                <a:close/>
                <a:moveTo>
                  <a:pt x="60" y="211"/>
                </a:moveTo>
                <a:cubicBezTo>
                  <a:pt x="59" y="212"/>
                  <a:pt x="59" y="212"/>
                  <a:pt x="59" y="212"/>
                </a:cubicBezTo>
                <a:cubicBezTo>
                  <a:pt x="61" y="213"/>
                  <a:pt x="61" y="213"/>
                  <a:pt x="61" y="213"/>
                </a:cubicBezTo>
                <a:cubicBezTo>
                  <a:pt x="61" y="213"/>
                  <a:pt x="61" y="213"/>
                  <a:pt x="61" y="213"/>
                </a:cubicBezTo>
                <a:cubicBezTo>
                  <a:pt x="61" y="212"/>
                  <a:pt x="61" y="212"/>
                  <a:pt x="61" y="212"/>
                </a:cubicBezTo>
                <a:cubicBezTo>
                  <a:pt x="61" y="212"/>
                  <a:pt x="60" y="211"/>
                  <a:pt x="60" y="211"/>
                </a:cubicBezTo>
                <a:close/>
                <a:moveTo>
                  <a:pt x="56" y="203"/>
                </a:moveTo>
                <a:cubicBezTo>
                  <a:pt x="57" y="203"/>
                  <a:pt x="57" y="203"/>
                  <a:pt x="57" y="203"/>
                </a:cubicBezTo>
                <a:cubicBezTo>
                  <a:pt x="58" y="202"/>
                  <a:pt x="58" y="202"/>
                  <a:pt x="58" y="202"/>
                </a:cubicBezTo>
                <a:cubicBezTo>
                  <a:pt x="59" y="202"/>
                  <a:pt x="59" y="202"/>
                  <a:pt x="59" y="202"/>
                </a:cubicBezTo>
                <a:cubicBezTo>
                  <a:pt x="59" y="201"/>
                  <a:pt x="59" y="201"/>
                  <a:pt x="59" y="201"/>
                </a:cubicBezTo>
                <a:cubicBezTo>
                  <a:pt x="58" y="201"/>
                  <a:pt x="58" y="201"/>
                  <a:pt x="58" y="201"/>
                </a:cubicBezTo>
                <a:cubicBezTo>
                  <a:pt x="57" y="201"/>
                  <a:pt x="57" y="201"/>
                  <a:pt x="57" y="201"/>
                </a:cubicBezTo>
                <a:cubicBezTo>
                  <a:pt x="56" y="201"/>
                  <a:pt x="56" y="201"/>
                  <a:pt x="56" y="201"/>
                </a:cubicBezTo>
                <a:cubicBezTo>
                  <a:pt x="56" y="202"/>
                  <a:pt x="56" y="202"/>
                  <a:pt x="56" y="202"/>
                </a:cubicBezTo>
                <a:cubicBezTo>
                  <a:pt x="56" y="203"/>
                  <a:pt x="56" y="203"/>
                  <a:pt x="56" y="203"/>
                </a:cubicBezTo>
                <a:close/>
                <a:moveTo>
                  <a:pt x="56" y="208"/>
                </a:moveTo>
                <a:cubicBezTo>
                  <a:pt x="57" y="208"/>
                  <a:pt x="57" y="208"/>
                  <a:pt x="57" y="208"/>
                </a:cubicBezTo>
                <a:cubicBezTo>
                  <a:pt x="58" y="208"/>
                  <a:pt x="58" y="208"/>
                  <a:pt x="58" y="208"/>
                </a:cubicBezTo>
                <a:cubicBezTo>
                  <a:pt x="59" y="207"/>
                  <a:pt x="59" y="207"/>
                  <a:pt x="59" y="207"/>
                </a:cubicBezTo>
                <a:cubicBezTo>
                  <a:pt x="59" y="206"/>
                  <a:pt x="59" y="206"/>
                  <a:pt x="59" y="206"/>
                </a:cubicBezTo>
                <a:cubicBezTo>
                  <a:pt x="58" y="205"/>
                  <a:pt x="58" y="205"/>
                  <a:pt x="58" y="205"/>
                </a:cubicBezTo>
                <a:cubicBezTo>
                  <a:pt x="57" y="206"/>
                  <a:pt x="57" y="206"/>
                  <a:pt x="57" y="206"/>
                </a:cubicBezTo>
                <a:cubicBezTo>
                  <a:pt x="56" y="208"/>
                  <a:pt x="56" y="208"/>
                  <a:pt x="56" y="208"/>
                </a:cubicBezTo>
                <a:close/>
                <a:moveTo>
                  <a:pt x="52" y="208"/>
                </a:moveTo>
                <a:cubicBezTo>
                  <a:pt x="53" y="209"/>
                  <a:pt x="53" y="209"/>
                  <a:pt x="53" y="209"/>
                </a:cubicBezTo>
                <a:cubicBezTo>
                  <a:pt x="54" y="208"/>
                  <a:pt x="54" y="208"/>
                  <a:pt x="54" y="208"/>
                </a:cubicBezTo>
                <a:cubicBezTo>
                  <a:pt x="54" y="207"/>
                  <a:pt x="54" y="207"/>
                  <a:pt x="54" y="207"/>
                </a:cubicBezTo>
                <a:cubicBezTo>
                  <a:pt x="54" y="205"/>
                  <a:pt x="54" y="205"/>
                  <a:pt x="54" y="205"/>
                </a:cubicBezTo>
                <a:cubicBezTo>
                  <a:pt x="53" y="206"/>
                  <a:pt x="53" y="206"/>
                  <a:pt x="53" y="206"/>
                </a:cubicBezTo>
                <a:cubicBezTo>
                  <a:pt x="52" y="207"/>
                  <a:pt x="52" y="207"/>
                  <a:pt x="52" y="207"/>
                </a:cubicBezTo>
                <a:cubicBezTo>
                  <a:pt x="52" y="208"/>
                  <a:pt x="52" y="208"/>
                  <a:pt x="52" y="208"/>
                </a:cubicBezTo>
                <a:close/>
                <a:moveTo>
                  <a:pt x="45" y="214"/>
                </a:moveTo>
                <a:cubicBezTo>
                  <a:pt x="44" y="215"/>
                  <a:pt x="44" y="215"/>
                  <a:pt x="44" y="215"/>
                </a:cubicBezTo>
                <a:cubicBezTo>
                  <a:pt x="45" y="216"/>
                  <a:pt x="45" y="216"/>
                  <a:pt x="45" y="216"/>
                </a:cubicBezTo>
                <a:cubicBezTo>
                  <a:pt x="46" y="216"/>
                  <a:pt x="46" y="216"/>
                  <a:pt x="46" y="216"/>
                </a:cubicBezTo>
                <a:cubicBezTo>
                  <a:pt x="46" y="215"/>
                  <a:pt x="46" y="215"/>
                  <a:pt x="46" y="215"/>
                </a:cubicBezTo>
                <a:cubicBezTo>
                  <a:pt x="45" y="214"/>
                  <a:pt x="45" y="214"/>
                  <a:pt x="45" y="214"/>
                </a:cubicBezTo>
                <a:cubicBezTo>
                  <a:pt x="45" y="214"/>
                  <a:pt x="45" y="214"/>
                  <a:pt x="45" y="214"/>
                </a:cubicBezTo>
                <a:close/>
                <a:moveTo>
                  <a:pt x="60" y="226"/>
                </a:moveTo>
                <a:cubicBezTo>
                  <a:pt x="60" y="226"/>
                  <a:pt x="60" y="226"/>
                  <a:pt x="60" y="226"/>
                </a:cubicBezTo>
                <a:cubicBezTo>
                  <a:pt x="60" y="226"/>
                  <a:pt x="60" y="226"/>
                  <a:pt x="60" y="226"/>
                </a:cubicBezTo>
                <a:cubicBezTo>
                  <a:pt x="60" y="227"/>
                  <a:pt x="60" y="227"/>
                  <a:pt x="60" y="227"/>
                </a:cubicBezTo>
                <a:cubicBezTo>
                  <a:pt x="60" y="228"/>
                  <a:pt x="60" y="228"/>
                  <a:pt x="60" y="228"/>
                </a:cubicBezTo>
                <a:cubicBezTo>
                  <a:pt x="60" y="229"/>
                  <a:pt x="60" y="229"/>
                  <a:pt x="60" y="229"/>
                </a:cubicBezTo>
                <a:cubicBezTo>
                  <a:pt x="61" y="228"/>
                  <a:pt x="61" y="228"/>
                  <a:pt x="61" y="228"/>
                </a:cubicBezTo>
                <a:cubicBezTo>
                  <a:pt x="62" y="226"/>
                  <a:pt x="62" y="226"/>
                  <a:pt x="62" y="226"/>
                </a:cubicBezTo>
                <a:cubicBezTo>
                  <a:pt x="63" y="226"/>
                  <a:pt x="63" y="226"/>
                  <a:pt x="63" y="226"/>
                </a:cubicBezTo>
                <a:cubicBezTo>
                  <a:pt x="62" y="225"/>
                  <a:pt x="62" y="225"/>
                  <a:pt x="62" y="225"/>
                </a:cubicBezTo>
                <a:cubicBezTo>
                  <a:pt x="62" y="225"/>
                  <a:pt x="62" y="225"/>
                  <a:pt x="62" y="225"/>
                </a:cubicBezTo>
                <a:cubicBezTo>
                  <a:pt x="60" y="225"/>
                  <a:pt x="60" y="225"/>
                  <a:pt x="60" y="225"/>
                </a:cubicBezTo>
                <a:cubicBezTo>
                  <a:pt x="60" y="226"/>
                  <a:pt x="60" y="226"/>
                  <a:pt x="60" y="226"/>
                </a:cubicBezTo>
                <a:close/>
                <a:moveTo>
                  <a:pt x="45" y="230"/>
                </a:moveTo>
                <a:cubicBezTo>
                  <a:pt x="45" y="231"/>
                  <a:pt x="45" y="231"/>
                  <a:pt x="45" y="231"/>
                </a:cubicBezTo>
                <a:cubicBezTo>
                  <a:pt x="47" y="231"/>
                  <a:pt x="47" y="231"/>
                  <a:pt x="47" y="231"/>
                </a:cubicBezTo>
                <a:cubicBezTo>
                  <a:pt x="48" y="232"/>
                  <a:pt x="48" y="232"/>
                  <a:pt x="48" y="232"/>
                </a:cubicBezTo>
                <a:cubicBezTo>
                  <a:pt x="49" y="232"/>
                  <a:pt x="49" y="232"/>
                  <a:pt x="49" y="232"/>
                </a:cubicBezTo>
                <a:cubicBezTo>
                  <a:pt x="49" y="231"/>
                  <a:pt x="49" y="231"/>
                  <a:pt x="49" y="231"/>
                </a:cubicBezTo>
                <a:cubicBezTo>
                  <a:pt x="53" y="231"/>
                  <a:pt x="53" y="231"/>
                  <a:pt x="53" y="231"/>
                </a:cubicBezTo>
                <a:cubicBezTo>
                  <a:pt x="55" y="231"/>
                  <a:pt x="55" y="231"/>
                  <a:pt x="55" y="231"/>
                </a:cubicBezTo>
                <a:cubicBezTo>
                  <a:pt x="57" y="229"/>
                  <a:pt x="57" y="229"/>
                  <a:pt x="57" y="229"/>
                </a:cubicBezTo>
                <a:cubicBezTo>
                  <a:pt x="56" y="227"/>
                  <a:pt x="56" y="227"/>
                  <a:pt x="56" y="227"/>
                </a:cubicBezTo>
                <a:cubicBezTo>
                  <a:pt x="56" y="225"/>
                  <a:pt x="56" y="225"/>
                  <a:pt x="56" y="225"/>
                </a:cubicBezTo>
                <a:cubicBezTo>
                  <a:pt x="55" y="225"/>
                  <a:pt x="55" y="225"/>
                  <a:pt x="55" y="225"/>
                </a:cubicBezTo>
                <a:cubicBezTo>
                  <a:pt x="53" y="225"/>
                  <a:pt x="53" y="225"/>
                  <a:pt x="53" y="225"/>
                </a:cubicBezTo>
                <a:cubicBezTo>
                  <a:pt x="53" y="222"/>
                  <a:pt x="53" y="222"/>
                  <a:pt x="53" y="222"/>
                </a:cubicBezTo>
                <a:cubicBezTo>
                  <a:pt x="51" y="220"/>
                  <a:pt x="51" y="220"/>
                  <a:pt x="51" y="220"/>
                </a:cubicBezTo>
                <a:cubicBezTo>
                  <a:pt x="49" y="219"/>
                  <a:pt x="49" y="219"/>
                  <a:pt x="49" y="219"/>
                </a:cubicBezTo>
                <a:cubicBezTo>
                  <a:pt x="48" y="218"/>
                  <a:pt x="48" y="218"/>
                  <a:pt x="48" y="218"/>
                </a:cubicBezTo>
                <a:cubicBezTo>
                  <a:pt x="46" y="218"/>
                  <a:pt x="46" y="218"/>
                  <a:pt x="46" y="218"/>
                </a:cubicBezTo>
                <a:cubicBezTo>
                  <a:pt x="45" y="217"/>
                  <a:pt x="45" y="217"/>
                  <a:pt x="45" y="217"/>
                </a:cubicBezTo>
                <a:cubicBezTo>
                  <a:pt x="45" y="218"/>
                  <a:pt x="45" y="218"/>
                  <a:pt x="45" y="218"/>
                </a:cubicBezTo>
                <a:cubicBezTo>
                  <a:pt x="44" y="219"/>
                  <a:pt x="44" y="219"/>
                  <a:pt x="44" y="219"/>
                </a:cubicBezTo>
                <a:cubicBezTo>
                  <a:pt x="44" y="221"/>
                  <a:pt x="44" y="221"/>
                  <a:pt x="44" y="221"/>
                </a:cubicBezTo>
                <a:cubicBezTo>
                  <a:pt x="45" y="222"/>
                  <a:pt x="45" y="222"/>
                  <a:pt x="45" y="222"/>
                </a:cubicBezTo>
                <a:cubicBezTo>
                  <a:pt x="45" y="223"/>
                  <a:pt x="45" y="223"/>
                  <a:pt x="45" y="223"/>
                </a:cubicBezTo>
                <a:cubicBezTo>
                  <a:pt x="44" y="222"/>
                  <a:pt x="44" y="222"/>
                  <a:pt x="44" y="222"/>
                </a:cubicBezTo>
                <a:cubicBezTo>
                  <a:pt x="43" y="223"/>
                  <a:pt x="43" y="223"/>
                  <a:pt x="43" y="223"/>
                </a:cubicBezTo>
                <a:cubicBezTo>
                  <a:pt x="43" y="224"/>
                  <a:pt x="43" y="224"/>
                  <a:pt x="43" y="224"/>
                </a:cubicBezTo>
                <a:cubicBezTo>
                  <a:pt x="43" y="225"/>
                  <a:pt x="43" y="225"/>
                  <a:pt x="43" y="225"/>
                </a:cubicBezTo>
                <a:cubicBezTo>
                  <a:pt x="44" y="225"/>
                  <a:pt x="44" y="225"/>
                  <a:pt x="44" y="225"/>
                </a:cubicBezTo>
                <a:cubicBezTo>
                  <a:pt x="43" y="226"/>
                  <a:pt x="43" y="226"/>
                  <a:pt x="43" y="226"/>
                </a:cubicBezTo>
                <a:cubicBezTo>
                  <a:pt x="43" y="226"/>
                  <a:pt x="43" y="226"/>
                  <a:pt x="43" y="226"/>
                </a:cubicBezTo>
                <a:cubicBezTo>
                  <a:pt x="44" y="227"/>
                  <a:pt x="44" y="227"/>
                  <a:pt x="44" y="227"/>
                </a:cubicBezTo>
                <a:cubicBezTo>
                  <a:pt x="46" y="228"/>
                  <a:pt x="46" y="228"/>
                  <a:pt x="46" y="228"/>
                </a:cubicBezTo>
                <a:cubicBezTo>
                  <a:pt x="47" y="229"/>
                  <a:pt x="47" y="229"/>
                  <a:pt x="47" y="229"/>
                </a:cubicBezTo>
                <a:cubicBezTo>
                  <a:pt x="48" y="229"/>
                  <a:pt x="48" y="229"/>
                  <a:pt x="48" y="229"/>
                </a:cubicBezTo>
                <a:cubicBezTo>
                  <a:pt x="50" y="228"/>
                  <a:pt x="50" y="228"/>
                  <a:pt x="50" y="228"/>
                </a:cubicBezTo>
                <a:cubicBezTo>
                  <a:pt x="48" y="229"/>
                  <a:pt x="48" y="229"/>
                  <a:pt x="48" y="229"/>
                </a:cubicBezTo>
                <a:cubicBezTo>
                  <a:pt x="47" y="229"/>
                  <a:pt x="47" y="229"/>
                  <a:pt x="47" y="229"/>
                </a:cubicBezTo>
                <a:cubicBezTo>
                  <a:pt x="46" y="229"/>
                  <a:pt x="46" y="229"/>
                  <a:pt x="46" y="229"/>
                </a:cubicBezTo>
                <a:cubicBezTo>
                  <a:pt x="45" y="229"/>
                  <a:pt x="45" y="229"/>
                  <a:pt x="45" y="229"/>
                </a:cubicBezTo>
                <a:lnTo>
                  <a:pt x="45" y="230"/>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1" name="Freeform 169">
            <a:extLst>
              <a:ext uri="{FF2B5EF4-FFF2-40B4-BE49-F238E27FC236}">
                <a16:creationId xmlns:a16="http://schemas.microsoft.com/office/drawing/2014/main" id="{C9243F8C-5BE6-D476-5C7C-74E2FBD47DAD}"/>
              </a:ext>
            </a:extLst>
          </p:cNvPr>
          <p:cNvSpPr>
            <a:spLocks noEditPoints="1"/>
          </p:cNvSpPr>
          <p:nvPr userDrawn="1"/>
        </p:nvSpPr>
        <p:spPr bwMode="auto">
          <a:xfrm>
            <a:off x="5527317" y="1440733"/>
            <a:ext cx="5419373" cy="5026026"/>
          </a:xfrm>
          <a:custGeom>
            <a:avLst/>
            <a:gdLst>
              <a:gd name="T0" fmla="*/ 399 w 546"/>
              <a:gd name="T1" fmla="*/ 36 h 506"/>
              <a:gd name="T2" fmla="*/ 400 w 546"/>
              <a:gd name="T3" fmla="*/ 86 h 506"/>
              <a:gd name="T4" fmla="*/ 399 w 546"/>
              <a:gd name="T5" fmla="*/ 95 h 506"/>
              <a:gd name="T6" fmla="*/ 426 w 546"/>
              <a:gd name="T7" fmla="*/ 59 h 506"/>
              <a:gd name="T8" fmla="*/ 427 w 546"/>
              <a:gd name="T9" fmla="*/ 34 h 506"/>
              <a:gd name="T10" fmla="*/ 461 w 546"/>
              <a:gd name="T11" fmla="*/ 15 h 506"/>
              <a:gd name="T12" fmla="*/ 537 w 546"/>
              <a:gd name="T13" fmla="*/ 20 h 506"/>
              <a:gd name="T14" fmla="*/ 468 w 546"/>
              <a:gd name="T15" fmla="*/ 73 h 506"/>
              <a:gd name="T16" fmla="*/ 420 w 546"/>
              <a:gd name="T17" fmla="*/ 106 h 506"/>
              <a:gd name="T18" fmla="*/ 436 w 546"/>
              <a:gd name="T19" fmla="*/ 236 h 506"/>
              <a:gd name="T20" fmla="*/ 382 w 546"/>
              <a:gd name="T21" fmla="*/ 98 h 506"/>
              <a:gd name="T22" fmla="*/ 341 w 546"/>
              <a:gd name="T23" fmla="*/ 68 h 506"/>
              <a:gd name="T24" fmla="*/ 285 w 546"/>
              <a:gd name="T25" fmla="*/ 62 h 506"/>
              <a:gd name="T26" fmla="*/ 372 w 546"/>
              <a:gd name="T27" fmla="*/ 112 h 506"/>
              <a:gd name="T28" fmla="*/ 387 w 546"/>
              <a:gd name="T29" fmla="*/ 154 h 506"/>
              <a:gd name="T30" fmla="*/ 235 w 546"/>
              <a:gd name="T31" fmla="*/ 82 h 506"/>
              <a:gd name="T32" fmla="*/ 339 w 546"/>
              <a:gd name="T33" fmla="*/ 127 h 506"/>
              <a:gd name="T34" fmla="*/ 315 w 546"/>
              <a:gd name="T35" fmla="*/ 112 h 506"/>
              <a:gd name="T36" fmla="*/ 303 w 546"/>
              <a:gd name="T37" fmla="*/ 116 h 506"/>
              <a:gd name="T38" fmla="*/ 285 w 546"/>
              <a:gd name="T39" fmla="*/ 99 h 506"/>
              <a:gd name="T40" fmla="*/ 206 w 546"/>
              <a:gd name="T41" fmla="*/ 110 h 506"/>
              <a:gd name="T42" fmla="*/ 293 w 546"/>
              <a:gd name="T43" fmla="*/ 158 h 506"/>
              <a:gd name="T44" fmla="*/ 314 w 546"/>
              <a:gd name="T45" fmla="*/ 166 h 506"/>
              <a:gd name="T46" fmla="*/ 393 w 546"/>
              <a:gd name="T47" fmla="*/ 176 h 506"/>
              <a:gd name="T48" fmla="*/ 377 w 546"/>
              <a:gd name="T49" fmla="*/ 228 h 506"/>
              <a:gd name="T50" fmla="*/ 271 w 546"/>
              <a:gd name="T51" fmla="*/ 231 h 506"/>
              <a:gd name="T52" fmla="*/ 267 w 546"/>
              <a:gd name="T53" fmla="*/ 171 h 506"/>
              <a:gd name="T54" fmla="*/ 229 w 546"/>
              <a:gd name="T55" fmla="*/ 137 h 506"/>
              <a:gd name="T56" fmla="*/ 201 w 546"/>
              <a:gd name="T57" fmla="*/ 203 h 506"/>
              <a:gd name="T58" fmla="*/ 258 w 546"/>
              <a:gd name="T59" fmla="*/ 218 h 506"/>
              <a:gd name="T60" fmla="*/ 392 w 546"/>
              <a:gd name="T61" fmla="*/ 305 h 506"/>
              <a:gd name="T62" fmla="*/ 398 w 546"/>
              <a:gd name="T63" fmla="*/ 241 h 506"/>
              <a:gd name="T64" fmla="*/ 343 w 546"/>
              <a:gd name="T65" fmla="*/ 212 h 506"/>
              <a:gd name="T66" fmla="*/ 366 w 546"/>
              <a:gd name="T67" fmla="*/ 188 h 506"/>
              <a:gd name="T68" fmla="*/ 407 w 546"/>
              <a:gd name="T69" fmla="*/ 188 h 506"/>
              <a:gd name="T70" fmla="*/ 420 w 546"/>
              <a:gd name="T71" fmla="*/ 224 h 506"/>
              <a:gd name="T72" fmla="*/ 432 w 546"/>
              <a:gd name="T73" fmla="*/ 247 h 506"/>
              <a:gd name="T74" fmla="*/ 453 w 546"/>
              <a:gd name="T75" fmla="*/ 277 h 506"/>
              <a:gd name="T76" fmla="*/ 434 w 546"/>
              <a:gd name="T77" fmla="*/ 279 h 506"/>
              <a:gd name="T78" fmla="*/ 422 w 546"/>
              <a:gd name="T79" fmla="*/ 317 h 506"/>
              <a:gd name="T80" fmla="*/ 342 w 546"/>
              <a:gd name="T81" fmla="*/ 290 h 506"/>
              <a:gd name="T82" fmla="*/ 401 w 546"/>
              <a:gd name="T83" fmla="*/ 345 h 506"/>
              <a:gd name="T84" fmla="*/ 325 w 546"/>
              <a:gd name="T85" fmla="*/ 383 h 506"/>
              <a:gd name="T86" fmla="*/ 432 w 546"/>
              <a:gd name="T87" fmla="*/ 465 h 506"/>
              <a:gd name="T88" fmla="*/ 462 w 546"/>
              <a:gd name="T89" fmla="*/ 465 h 506"/>
              <a:gd name="T90" fmla="*/ 450 w 546"/>
              <a:gd name="T91" fmla="*/ 435 h 506"/>
              <a:gd name="T92" fmla="*/ 50 w 546"/>
              <a:gd name="T93" fmla="*/ 419 h 506"/>
              <a:gd name="T94" fmla="*/ 29 w 546"/>
              <a:gd name="T95" fmla="*/ 376 h 506"/>
              <a:gd name="T96" fmla="*/ 93 w 546"/>
              <a:gd name="T97" fmla="*/ 175 h 506"/>
              <a:gd name="T98" fmla="*/ 39 w 546"/>
              <a:gd name="T99" fmla="*/ 383 h 506"/>
              <a:gd name="T100" fmla="*/ 96 w 546"/>
              <a:gd name="T101" fmla="*/ 181 h 506"/>
              <a:gd name="T102" fmla="*/ 159 w 546"/>
              <a:gd name="T103" fmla="*/ 183 h 506"/>
              <a:gd name="T104" fmla="*/ 240 w 546"/>
              <a:gd name="T105" fmla="*/ 215 h 506"/>
              <a:gd name="T106" fmla="*/ 285 w 546"/>
              <a:gd name="T107" fmla="*/ 245 h 506"/>
              <a:gd name="T108" fmla="*/ 319 w 546"/>
              <a:gd name="T109" fmla="*/ 207 h 506"/>
              <a:gd name="T110" fmla="*/ 366 w 546"/>
              <a:gd name="T111" fmla="*/ 232 h 506"/>
              <a:gd name="T112" fmla="*/ 306 w 546"/>
              <a:gd name="T113" fmla="*/ 289 h 506"/>
              <a:gd name="T114" fmla="*/ 253 w 546"/>
              <a:gd name="T115" fmla="*/ 367 h 506"/>
              <a:gd name="T116" fmla="*/ 349 w 546"/>
              <a:gd name="T117" fmla="*/ 347 h 506"/>
              <a:gd name="T118" fmla="*/ 416 w 546"/>
              <a:gd name="T119" fmla="*/ 351 h 506"/>
              <a:gd name="T120" fmla="*/ 443 w 546"/>
              <a:gd name="T121" fmla="*/ 404 h 506"/>
              <a:gd name="T122" fmla="*/ 389 w 546"/>
              <a:gd name="T123" fmla="*/ 441 h 506"/>
              <a:gd name="T124" fmla="*/ 398 w 546"/>
              <a:gd name="T125" fmla="*/ 483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506">
                <a:moveTo>
                  <a:pt x="395" y="89"/>
                </a:moveTo>
                <a:cubicBezTo>
                  <a:pt x="395" y="89"/>
                  <a:pt x="395" y="89"/>
                  <a:pt x="395" y="89"/>
                </a:cubicBezTo>
                <a:cubicBezTo>
                  <a:pt x="396" y="87"/>
                  <a:pt x="396" y="87"/>
                  <a:pt x="396" y="87"/>
                </a:cubicBezTo>
                <a:cubicBezTo>
                  <a:pt x="398" y="85"/>
                  <a:pt x="398" y="85"/>
                  <a:pt x="398" y="85"/>
                </a:cubicBezTo>
                <a:cubicBezTo>
                  <a:pt x="399" y="82"/>
                  <a:pt x="399" y="82"/>
                  <a:pt x="399" y="82"/>
                </a:cubicBezTo>
                <a:cubicBezTo>
                  <a:pt x="400" y="82"/>
                  <a:pt x="400" y="82"/>
                  <a:pt x="400" y="82"/>
                </a:cubicBezTo>
                <a:cubicBezTo>
                  <a:pt x="400" y="83"/>
                  <a:pt x="400" y="83"/>
                  <a:pt x="400" y="83"/>
                </a:cubicBezTo>
                <a:cubicBezTo>
                  <a:pt x="399" y="84"/>
                  <a:pt x="399" y="84"/>
                  <a:pt x="399" y="84"/>
                </a:cubicBezTo>
                <a:cubicBezTo>
                  <a:pt x="399" y="85"/>
                  <a:pt x="399" y="85"/>
                  <a:pt x="399" y="85"/>
                </a:cubicBezTo>
                <a:cubicBezTo>
                  <a:pt x="400" y="85"/>
                  <a:pt x="400" y="85"/>
                  <a:pt x="400" y="85"/>
                </a:cubicBezTo>
                <a:cubicBezTo>
                  <a:pt x="402" y="84"/>
                  <a:pt x="402" y="84"/>
                  <a:pt x="402" y="84"/>
                </a:cubicBezTo>
                <a:cubicBezTo>
                  <a:pt x="403" y="83"/>
                  <a:pt x="403" y="83"/>
                  <a:pt x="403" y="83"/>
                </a:cubicBezTo>
                <a:cubicBezTo>
                  <a:pt x="403" y="82"/>
                  <a:pt x="403" y="82"/>
                  <a:pt x="403" y="82"/>
                </a:cubicBezTo>
                <a:cubicBezTo>
                  <a:pt x="402" y="82"/>
                  <a:pt x="402" y="82"/>
                  <a:pt x="402" y="82"/>
                </a:cubicBezTo>
                <a:cubicBezTo>
                  <a:pt x="402" y="81"/>
                  <a:pt x="402" y="81"/>
                  <a:pt x="402" y="81"/>
                </a:cubicBezTo>
                <a:cubicBezTo>
                  <a:pt x="403" y="81"/>
                  <a:pt x="403" y="81"/>
                  <a:pt x="403" y="81"/>
                </a:cubicBezTo>
                <a:cubicBezTo>
                  <a:pt x="403" y="79"/>
                  <a:pt x="403" y="79"/>
                  <a:pt x="403" y="79"/>
                </a:cubicBezTo>
                <a:cubicBezTo>
                  <a:pt x="402" y="78"/>
                  <a:pt x="402" y="78"/>
                  <a:pt x="402" y="78"/>
                </a:cubicBezTo>
                <a:cubicBezTo>
                  <a:pt x="402" y="77"/>
                  <a:pt x="402" y="77"/>
                  <a:pt x="402" y="77"/>
                </a:cubicBezTo>
                <a:cubicBezTo>
                  <a:pt x="404" y="76"/>
                  <a:pt x="404" y="76"/>
                  <a:pt x="404" y="76"/>
                </a:cubicBezTo>
                <a:cubicBezTo>
                  <a:pt x="405" y="74"/>
                  <a:pt x="405" y="74"/>
                  <a:pt x="405" y="74"/>
                </a:cubicBezTo>
                <a:cubicBezTo>
                  <a:pt x="406" y="73"/>
                  <a:pt x="406" y="73"/>
                  <a:pt x="406" y="73"/>
                </a:cubicBezTo>
                <a:cubicBezTo>
                  <a:pt x="406" y="72"/>
                  <a:pt x="406" y="72"/>
                  <a:pt x="406" y="72"/>
                </a:cubicBezTo>
                <a:cubicBezTo>
                  <a:pt x="406" y="73"/>
                  <a:pt x="406" y="73"/>
                  <a:pt x="406" y="73"/>
                </a:cubicBezTo>
                <a:cubicBezTo>
                  <a:pt x="407" y="74"/>
                  <a:pt x="407" y="74"/>
                  <a:pt x="407" y="74"/>
                </a:cubicBezTo>
                <a:cubicBezTo>
                  <a:pt x="406" y="74"/>
                  <a:pt x="406" y="74"/>
                  <a:pt x="406" y="74"/>
                </a:cubicBezTo>
                <a:cubicBezTo>
                  <a:pt x="405" y="76"/>
                  <a:pt x="405" y="76"/>
                  <a:pt x="405" y="76"/>
                </a:cubicBezTo>
                <a:cubicBezTo>
                  <a:pt x="404" y="78"/>
                  <a:pt x="404" y="78"/>
                  <a:pt x="404" y="78"/>
                </a:cubicBezTo>
                <a:cubicBezTo>
                  <a:pt x="404" y="80"/>
                  <a:pt x="404" y="80"/>
                  <a:pt x="404" y="80"/>
                </a:cubicBezTo>
                <a:cubicBezTo>
                  <a:pt x="404" y="81"/>
                  <a:pt x="404" y="81"/>
                  <a:pt x="404" y="81"/>
                </a:cubicBezTo>
                <a:cubicBezTo>
                  <a:pt x="404" y="82"/>
                  <a:pt x="404" y="82"/>
                  <a:pt x="404" y="82"/>
                </a:cubicBezTo>
                <a:cubicBezTo>
                  <a:pt x="405" y="81"/>
                  <a:pt x="405" y="81"/>
                  <a:pt x="405" y="81"/>
                </a:cubicBezTo>
                <a:cubicBezTo>
                  <a:pt x="406" y="79"/>
                  <a:pt x="406" y="79"/>
                  <a:pt x="406" y="79"/>
                </a:cubicBezTo>
                <a:cubicBezTo>
                  <a:pt x="408" y="77"/>
                  <a:pt x="408" y="77"/>
                  <a:pt x="408" y="77"/>
                </a:cubicBezTo>
                <a:cubicBezTo>
                  <a:pt x="409" y="76"/>
                  <a:pt x="409" y="76"/>
                  <a:pt x="409" y="76"/>
                </a:cubicBezTo>
                <a:cubicBezTo>
                  <a:pt x="409" y="74"/>
                  <a:pt x="409" y="74"/>
                  <a:pt x="409" y="74"/>
                </a:cubicBezTo>
                <a:cubicBezTo>
                  <a:pt x="410" y="73"/>
                  <a:pt x="410" y="73"/>
                  <a:pt x="410" y="73"/>
                </a:cubicBezTo>
                <a:cubicBezTo>
                  <a:pt x="411" y="73"/>
                  <a:pt x="411" y="73"/>
                  <a:pt x="411" y="73"/>
                </a:cubicBezTo>
                <a:cubicBezTo>
                  <a:pt x="411" y="74"/>
                  <a:pt x="411" y="74"/>
                  <a:pt x="411" y="74"/>
                </a:cubicBezTo>
                <a:cubicBezTo>
                  <a:pt x="411" y="74"/>
                  <a:pt x="411" y="74"/>
                  <a:pt x="411" y="74"/>
                </a:cubicBezTo>
                <a:cubicBezTo>
                  <a:pt x="411" y="75"/>
                  <a:pt x="411" y="75"/>
                  <a:pt x="411" y="75"/>
                </a:cubicBezTo>
                <a:cubicBezTo>
                  <a:pt x="412" y="75"/>
                  <a:pt x="412" y="75"/>
                  <a:pt x="412" y="75"/>
                </a:cubicBezTo>
                <a:cubicBezTo>
                  <a:pt x="413" y="73"/>
                  <a:pt x="413" y="73"/>
                  <a:pt x="413" y="73"/>
                </a:cubicBezTo>
                <a:cubicBezTo>
                  <a:pt x="414" y="73"/>
                  <a:pt x="414" y="73"/>
                  <a:pt x="414" y="73"/>
                </a:cubicBezTo>
                <a:cubicBezTo>
                  <a:pt x="416" y="73"/>
                  <a:pt x="416" y="73"/>
                  <a:pt x="416" y="73"/>
                </a:cubicBezTo>
                <a:cubicBezTo>
                  <a:pt x="418" y="73"/>
                  <a:pt x="418" y="73"/>
                  <a:pt x="418" y="73"/>
                </a:cubicBezTo>
                <a:cubicBezTo>
                  <a:pt x="419" y="73"/>
                  <a:pt x="419" y="73"/>
                  <a:pt x="419" y="73"/>
                </a:cubicBezTo>
                <a:cubicBezTo>
                  <a:pt x="420" y="72"/>
                  <a:pt x="420" y="72"/>
                  <a:pt x="420" y="72"/>
                </a:cubicBezTo>
                <a:cubicBezTo>
                  <a:pt x="421" y="71"/>
                  <a:pt x="421" y="71"/>
                  <a:pt x="421" y="71"/>
                </a:cubicBezTo>
                <a:cubicBezTo>
                  <a:pt x="422" y="70"/>
                  <a:pt x="422" y="70"/>
                  <a:pt x="422" y="70"/>
                </a:cubicBezTo>
                <a:cubicBezTo>
                  <a:pt x="422" y="69"/>
                  <a:pt x="422" y="69"/>
                  <a:pt x="422" y="69"/>
                </a:cubicBezTo>
                <a:cubicBezTo>
                  <a:pt x="422" y="69"/>
                  <a:pt x="422" y="69"/>
                  <a:pt x="422" y="69"/>
                </a:cubicBezTo>
                <a:cubicBezTo>
                  <a:pt x="421" y="68"/>
                  <a:pt x="421" y="68"/>
                  <a:pt x="421" y="68"/>
                </a:cubicBezTo>
                <a:cubicBezTo>
                  <a:pt x="422" y="66"/>
                  <a:pt x="422" y="66"/>
                  <a:pt x="422" y="66"/>
                </a:cubicBezTo>
                <a:cubicBezTo>
                  <a:pt x="421" y="63"/>
                  <a:pt x="421" y="63"/>
                  <a:pt x="421" y="63"/>
                </a:cubicBezTo>
                <a:cubicBezTo>
                  <a:pt x="421" y="63"/>
                  <a:pt x="421" y="63"/>
                  <a:pt x="421" y="63"/>
                </a:cubicBezTo>
                <a:cubicBezTo>
                  <a:pt x="420" y="65"/>
                  <a:pt x="420" y="65"/>
                  <a:pt x="420" y="65"/>
                </a:cubicBezTo>
                <a:cubicBezTo>
                  <a:pt x="419" y="67"/>
                  <a:pt x="419" y="67"/>
                  <a:pt x="419" y="67"/>
                </a:cubicBezTo>
                <a:cubicBezTo>
                  <a:pt x="418" y="67"/>
                  <a:pt x="418" y="67"/>
                  <a:pt x="418" y="67"/>
                </a:cubicBezTo>
                <a:cubicBezTo>
                  <a:pt x="418" y="66"/>
                  <a:pt x="418" y="66"/>
                  <a:pt x="418" y="66"/>
                </a:cubicBezTo>
                <a:cubicBezTo>
                  <a:pt x="419" y="65"/>
                  <a:pt x="419" y="65"/>
                  <a:pt x="419" y="65"/>
                </a:cubicBezTo>
                <a:cubicBezTo>
                  <a:pt x="420" y="64"/>
                  <a:pt x="420" y="64"/>
                  <a:pt x="420" y="64"/>
                </a:cubicBezTo>
                <a:cubicBezTo>
                  <a:pt x="420" y="63"/>
                  <a:pt x="420" y="63"/>
                  <a:pt x="420" y="63"/>
                </a:cubicBezTo>
                <a:cubicBezTo>
                  <a:pt x="419" y="62"/>
                  <a:pt x="419" y="62"/>
                  <a:pt x="419" y="62"/>
                </a:cubicBezTo>
                <a:cubicBezTo>
                  <a:pt x="419" y="61"/>
                  <a:pt x="419" y="61"/>
                  <a:pt x="419" y="61"/>
                </a:cubicBezTo>
                <a:cubicBezTo>
                  <a:pt x="418" y="61"/>
                  <a:pt x="418" y="61"/>
                  <a:pt x="418" y="61"/>
                </a:cubicBezTo>
                <a:cubicBezTo>
                  <a:pt x="417" y="61"/>
                  <a:pt x="417" y="61"/>
                  <a:pt x="417" y="61"/>
                </a:cubicBezTo>
                <a:cubicBezTo>
                  <a:pt x="417" y="62"/>
                  <a:pt x="417" y="62"/>
                  <a:pt x="417" y="62"/>
                </a:cubicBezTo>
                <a:cubicBezTo>
                  <a:pt x="416" y="61"/>
                  <a:pt x="416" y="61"/>
                  <a:pt x="416" y="61"/>
                </a:cubicBezTo>
                <a:cubicBezTo>
                  <a:pt x="415" y="61"/>
                  <a:pt x="415" y="61"/>
                  <a:pt x="415" y="61"/>
                </a:cubicBezTo>
                <a:cubicBezTo>
                  <a:pt x="414" y="62"/>
                  <a:pt x="414" y="62"/>
                  <a:pt x="414" y="62"/>
                </a:cubicBezTo>
                <a:cubicBezTo>
                  <a:pt x="413" y="62"/>
                  <a:pt x="413" y="62"/>
                  <a:pt x="413" y="62"/>
                </a:cubicBezTo>
                <a:cubicBezTo>
                  <a:pt x="414" y="61"/>
                  <a:pt x="414" y="61"/>
                  <a:pt x="414" y="61"/>
                </a:cubicBezTo>
                <a:cubicBezTo>
                  <a:pt x="417" y="60"/>
                  <a:pt x="417" y="60"/>
                  <a:pt x="417" y="60"/>
                </a:cubicBezTo>
                <a:cubicBezTo>
                  <a:pt x="418" y="60"/>
                  <a:pt x="418" y="60"/>
                  <a:pt x="418" y="60"/>
                </a:cubicBezTo>
                <a:cubicBezTo>
                  <a:pt x="420" y="58"/>
                  <a:pt x="420" y="58"/>
                  <a:pt x="420" y="58"/>
                </a:cubicBezTo>
                <a:cubicBezTo>
                  <a:pt x="421" y="57"/>
                  <a:pt x="421" y="57"/>
                  <a:pt x="421" y="57"/>
                </a:cubicBezTo>
                <a:cubicBezTo>
                  <a:pt x="422" y="55"/>
                  <a:pt x="422" y="55"/>
                  <a:pt x="422" y="55"/>
                </a:cubicBezTo>
                <a:cubicBezTo>
                  <a:pt x="423" y="53"/>
                  <a:pt x="423" y="53"/>
                  <a:pt x="423" y="53"/>
                </a:cubicBezTo>
                <a:cubicBezTo>
                  <a:pt x="422" y="52"/>
                  <a:pt x="422" y="52"/>
                  <a:pt x="422" y="52"/>
                </a:cubicBezTo>
                <a:cubicBezTo>
                  <a:pt x="421" y="52"/>
                  <a:pt x="421" y="52"/>
                  <a:pt x="421" y="52"/>
                </a:cubicBezTo>
                <a:cubicBezTo>
                  <a:pt x="421" y="53"/>
                  <a:pt x="421" y="53"/>
                  <a:pt x="421" y="53"/>
                </a:cubicBezTo>
                <a:cubicBezTo>
                  <a:pt x="420" y="52"/>
                  <a:pt x="420" y="52"/>
                  <a:pt x="420" y="52"/>
                </a:cubicBezTo>
                <a:cubicBezTo>
                  <a:pt x="421" y="52"/>
                  <a:pt x="421" y="52"/>
                  <a:pt x="421" y="52"/>
                </a:cubicBezTo>
                <a:cubicBezTo>
                  <a:pt x="421" y="51"/>
                  <a:pt x="421" y="51"/>
                  <a:pt x="421" y="51"/>
                </a:cubicBezTo>
                <a:cubicBezTo>
                  <a:pt x="422" y="51"/>
                  <a:pt x="422" y="51"/>
                  <a:pt x="422" y="51"/>
                </a:cubicBezTo>
                <a:cubicBezTo>
                  <a:pt x="423" y="50"/>
                  <a:pt x="423" y="50"/>
                  <a:pt x="423" y="50"/>
                </a:cubicBezTo>
                <a:cubicBezTo>
                  <a:pt x="423" y="49"/>
                  <a:pt x="423" y="49"/>
                  <a:pt x="423" y="49"/>
                </a:cubicBezTo>
                <a:cubicBezTo>
                  <a:pt x="424" y="48"/>
                  <a:pt x="424" y="48"/>
                  <a:pt x="424" y="48"/>
                </a:cubicBezTo>
                <a:cubicBezTo>
                  <a:pt x="424" y="46"/>
                  <a:pt x="424" y="46"/>
                  <a:pt x="424" y="46"/>
                </a:cubicBezTo>
                <a:cubicBezTo>
                  <a:pt x="424" y="46"/>
                  <a:pt x="424" y="46"/>
                  <a:pt x="424" y="46"/>
                </a:cubicBezTo>
                <a:cubicBezTo>
                  <a:pt x="424" y="45"/>
                  <a:pt x="424" y="45"/>
                  <a:pt x="424" y="45"/>
                </a:cubicBezTo>
                <a:cubicBezTo>
                  <a:pt x="422" y="45"/>
                  <a:pt x="422" y="45"/>
                  <a:pt x="422" y="45"/>
                </a:cubicBezTo>
                <a:cubicBezTo>
                  <a:pt x="421" y="45"/>
                  <a:pt x="421" y="45"/>
                  <a:pt x="421" y="45"/>
                </a:cubicBezTo>
                <a:cubicBezTo>
                  <a:pt x="420" y="48"/>
                  <a:pt x="420" y="48"/>
                  <a:pt x="420" y="48"/>
                </a:cubicBezTo>
                <a:cubicBezTo>
                  <a:pt x="420" y="49"/>
                  <a:pt x="420" y="49"/>
                  <a:pt x="420" y="49"/>
                </a:cubicBezTo>
                <a:cubicBezTo>
                  <a:pt x="420" y="50"/>
                  <a:pt x="420" y="50"/>
                  <a:pt x="420" y="50"/>
                </a:cubicBezTo>
                <a:cubicBezTo>
                  <a:pt x="420" y="51"/>
                  <a:pt x="420" y="51"/>
                  <a:pt x="420" y="51"/>
                </a:cubicBezTo>
                <a:cubicBezTo>
                  <a:pt x="419" y="52"/>
                  <a:pt x="419" y="52"/>
                  <a:pt x="419" y="52"/>
                </a:cubicBezTo>
                <a:cubicBezTo>
                  <a:pt x="419" y="51"/>
                  <a:pt x="419" y="51"/>
                  <a:pt x="419" y="51"/>
                </a:cubicBezTo>
                <a:cubicBezTo>
                  <a:pt x="419" y="51"/>
                  <a:pt x="419" y="51"/>
                  <a:pt x="419" y="51"/>
                </a:cubicBezTo>
                <a:cubicBezTo>
                  <a:pt x="418" y="50"/>
                  <a:pt x="418" y="50"/>
                  <a:pt x="418" y="50"/>
                </a:cubicBezTo>
                <a:cubicBezTo>
                  <a:pt x="418" y="49"/>
                  <a:pt x="418" y="49"/>
                  <a:pt x="418" y="49"/>
                </a:cubicBezTo>
                <a:cubicBezTo>
                  <a:pt x="419" y="47"/>
                  <a:pt x="419" y="47"/>
                  <a:pt x="419" y="47"/>
                </a:cubicBezTo>
                <a:cubicBezTo>
                  <a:pt x="419" y="46"/>
                  <a:pt x="419" y="46"/>
                  <a:pt x="419" y="46"/>
                </a:cubicBezTo>
                <a:cubicBezTo>
                  <a:pt x="419" y="45"/>
                  <a:pt x="419" y="45"/>
                  <a:pt x="419" y="45"/>
                </a:cubicBezTo>
                <a:cubicBezTo>
                  <a:pt x="420" y="45"/>
                  <a:pt x="420" y="45"/>
                  <a:pt x="420" y="45"/>
                </a:cubicBezTo>
                <a:cubicBezTo>
                  <a:pt x="420" y="45"/>
                  <a:pt x="420" y="45"/>
                  <a:pt x="420" y="45"/>
                </a:cubicBezTo>
                <a:cubicBezTo>
                  <a:pt x="420" y="43"/>
                  <a:pt x="420" y="43"/>
                  <a:pt x="420" y="43"/>
                </a:cubicBezTo>
                <a:cubicBezTo>
                  <a:pt x="419" y="42"/>
                  <a:pt x="419" y="42"/>
                  <a:pt x="419" y="42"/>
                </a:cubicBezTo>
                <a:cubicBezTo>
                  <a:pt x="418" y="42"/>
                  <a:pt x="418" y="42"/>
                  <a:pt x="418" y="42"/>
                </a:cubicBezTo>
                <a:cubicBezTo>
                  <a:pt x="417" y="43"/>
                  <a:pt x="417" y="43"/>
                  <a:pt x="417" y="43"/>
                </a:cubicBezTo>
                <a:cubicBezTo>
                  <a:pt x="416" y="44"/>
                  <a:pt x="416" y="44"/>
                  <a:pt x="416" y="44"/>
                </a:cubicBezTo>
                <a:cubicBezTo>
                  <a:pt x="416" y="43"/>
                  <a:pt x="416" y="43"/>
                  <a:pt x="416" y="43"/>
                </a:cubicBezTo>
                <a:cubicBezTo>
                  <a:pt x="416" y="43"/>
                  <a:pt x="416" y="43"/>
                  <a:pt x="416" y="43"/>
                </a:cubicBezTo>
                <a:cubicBezTo>
                  <a:pt x="416" y="41"/>
                  <a:pt x="416" y="41"/>
                  <a:pt x="416" y="41"/>
                </a:cubicBezTo>
                <a:cubicBezTo>
                  <a:pt x="415" y="39"/>
                  <a:pt x="415" y="39"/>
                  <a:pt x="415" y="39"/>
                </a:cubicBezTo>
                <a:cubicBezTo>
                  <a:pt x="415" y="36"/>
                  <a:pt x="415" y="36"/>
                  <a:pt x="415" y="36"/>
                </a:cubicBezTo>
                <a:cubicBezTo>
                  <a:pt x="415" y="34"/>
                  <a:pt x="415" y="34"/>
                  <a:pt x="415" y="34"/>
                </a:cubicBezTo>
                <a:cubicBezTo>
                  <a:pt x="416" y="33"/>
                  <a:pt x="416" y="33"/>
                  <a:pt x="416" y="33"/>
                </a:cubicBezTo>
                <a:cubicBezTo>
                  <a:pt x="416" y="31"/>
                  <a:pt x="416" y="31"/>
                  <a:pt x="416" y="31"/>
                </a:cubicBezTo>
                <a:cubicBezTo>
                  <a:pt x="416" y="29"/>
                  <a:pt x="416" y="29"/>
                  <a:pt x="416" y="29"/>
                </a:cubicBezTo>
                <a:cubicBezTo>
                  <a:pt x="417" y="27"/>
                  <a:pt x="417" y="27"/>
                  <a:pt x="417" y="27"/>
                </a:cubicBezTo>
                <a:cubicBezTo>
                  <a:pt x="417" y="26"/>
                  <a:pt x="417" y="26"/>
                  <a:pt x="417" y="26"/>
                </a:cubicBezTo>
                <a:cubicBezTo>
                  <a:pt x="416" y="24"/>
                  <a:pt x="416" y="24"/>
                  <a:pt x="416" y="24"/>
                </a:cubicBezTo>
                <a:cubicBezTo>
                  <a:pt x="416" y="23"/>
                  <a:pt x="416" y="23"/>
                  <a:pt x="416" y="23"/>
                </a:cubicBezTo>
                <a:cubicBezTo>
                  <a:pt x="414" y="22"/>
                  <a:pt x="414" y="22"/>
                  <a:pt x="414" y="22"/>
                </a:cubicBezTo>
                <a:cubicBezTo>
                  <a:pt x="413" y="21"/>
                  <a:pt x="413" y="21"/>
                  <a:pt x="413" y="21"/>
                </a:cubicBezTo>
                <a:cubicBezTo>
                  <a:pt x="412" y="20"/>
                  <a:pt x="412" y="20"/>
                  <a:pt x="412" y="20"/>
                </a:cubicBezTo>
                <a:cubicBezTo>
                  <a:pt x="411" y="20"/>
                  <a:pt x="411" y="20"/>
                  <a:pt x="411" y="20"/>
                </a:cubicBezTo>
                <a:cubicBezTo>
                  <a:pt x="411" y="21"/>
                  <a:pt x="411" y="21"/>
                  <a:pt x="411" y="21"/>
                </a:cubicBezTo>
                <a:cubicBezTo>
                  <a:pt x="411" y="21"/>
                  <a:pt x="411" y="21"/>
                  <a:pt x="411" y="21"/>
                </a:cubicBezTo>
                <a:cubicBezTo>
                  <a:pt x="409" y="20"/>
                  <a:pt x="409" y="20"/>
                  <a:pt x="409" y="20"/>
                </a:cubicBezTo>
                <a:cubicBezTo>
                  <a:pt x="408" y="20"/>
                  <a:pt x="408" y="20"/>
                  <a:pt x="408" y="20"/>
                </a:cubicBezTo>
                <a:cubicBezTo>
                  <a:pt x="408" y="21"/>
                  <a:pt x="408" y="21"/>
                  <a:pt x="408" y="21"/>
                </a:cubicBezTo>
                <a:cubicBezTo>
                  <a:pt x="407" y="23"/>
                  <a:pt x="407" y="23"/>
                  <a:pt x="407" y="23"/>
                </a:cubicBezTo>
                <a:cubicBezTo>
                  <a:pt x="408" y="24"/>
                  <a:pt x="408" y="24"/>
                  <a:pt x="408" y="24"/>
                </a:cubicBezTo>
                <a:cubicBezTo>
                  <a:pt x="409" y="24"/>
                  <a:pt x="409" y="24"/>
                  <a:pt x="409" y="24"/>
                </a:cubicBezTo>
                <a:cubicBezTo>
                  <a:pt x="410" y="23"/>
                  <a:pt x="410" y="23"/>
                  <a:pt x="410" y="23"/>
                </a:cubicBezTo>
                <a:cubicBezTo>
                  <a:pt x="411" y="24"/>
                  <a:pt x="411" y="24"/>
                  <a:pt x="411" y="24"/>
                </a:cubicBezTo>
                <a:cubicBezTo>
                  <a:pt x="412" y="25"/>
                  <a:pt x="412" y="25"/>
                  <a:pt x="412" y="25"/>
                </a:cubicBezTo>
                <a:cubicBezTo>
                  <a:pt x="413" y="25"/>
                  <a:pt x="413" y="25"/>
                  <a:pt x="413" y="25"/>
                </a:cubicBezTo>
                <a:cubicBezTo>
                  <a:pt x="413" y="26"/>
                  <a:pt x="413" y="26"/>
                  <a:pt x="413" y="26"/>
                </a:cubicBezTo>
                <a:cubicBezTo>
                  <a:pt x="411" y="28"/>
                  <a:pt x="411" y="28"/>
                  <a:pt x="411" y="28"/>
                </a:cubicBezTo>
                <a:cubicBezTo>
                  <a:pt x="410" y="28"/>
                  <a:pt x="410" y="28"/>
                  <a:pt x="410" y="28"/>
                </a:cubicBezTo>
                <a:cubicBezTo>
                  <a:pt x="409" y="27"/>
                  <a:pt x="409" y="27"/>
                  <a:pt x="409" y="27"/>
                </a:cubicBezTo>
                <a:cubicBezTo>
                  <a:pt x="408" y="27"/>
                  <a:pt x="408" y="27"/>
                  <a:pt x="408" y="27"/>
                </a:cubicBezTo>
                <a:cubicBezTo>
                  <a:pt x="406" y="27"/>
                  <a:pt x="406" y="27"/>
                  <a:pt x="406" y="27"/>
                </a:cubicBezTo>
                <a:cubicBezTo>
                  <a:pt x="407" y="28"/>
                  <a:pt x="407" y="28"/>
                  <a:pt x="407" y="28"/>
                </a:cubicBezTo>
                <a:cubicBezTo>
                  <a:pt x="408" y="28"/>
                  <a:pt x="408" y="28"/>
                  <a:pt x="408" y="28"/>
                </a:cubicBezTo>
                <a:cubicBezTo>
                  <a:pt x="407" y="29"/>
                  <a:pt x="407" y="29"/>
                  <a:pt x="407" y="29"/>
                </a:cubicBezTo>
                <a:cubicBezTo>
                  <a:pt x="406" y="29"/>
                  <a:pt x="406" y="29"/>
                  <a:pt x="406" y="29"/>
                </a:cubicBezTo>
                <a:cubicBezTo>
                  <a:pt x="404" y="28"/>
                  <a:pt x="404" y="28"/>
                  <a:pt x="404" y="28"/>
                </a:cubicBezTo>
                <a:cubicBezTo>
                  <a:pt x="402" y="29"/>
                  <a:pt x="402" y="29"/>
                  <a:pt x="402" y="29"/>
                </a:cubicBezTo>
                <a:cubicBezTo>
                  <a:pt x="402" y="30"/>
                  <a:pt x="402" y="30"/>
                  <a:pt x="402" y="30"/>
                </a:cubicBezTo>
                <a:cubicBezTo>
                  <a:pt x="401" y="31"/>
                  <a:pt x="401" y="31"/>
                  <a:pt x="401" y="31"/>
                </a:cubicBezTo>
                <a:cubicBezTo>
                  <a:pt x="401" y="32"/>
                  <a:pt x="401" y="32"/>
                  <a:pt x="401" y="32"/>
                </a:cubicBezTo>
                <a:cubicBezTo>
                  <a:pt x="402" y="32"/>
                  <a:pt x="402" y="32"/>
                  <a:pt x="402" y="32"/>
                </a:cubicBezTo>
                <a:cubicBezTo>
                  <a:pt x="402" y="34"/>
                  <a:pt x="402" y="34"/>
                  <a:pt x="402" y="34"/>
                </a:cubicBezTo>
                <a:cubicBezTo>
                  <a:pt x="404" y="34"/>
                  <a:pt x="404" y="34"/>
                  <a:pt x="404" y="34"/>
                </a:cubicBezTo>
                <a:cubicBezTo>
                  <a:pt x="404" y="35"/>
                  <a:pt x="404" y="35"/>
                  <a:pt x="404" y="35"/>
                </a:cubicBezTo>
                <a:cubicBezTo>
                  <a:pt x="403" y="35"/>
                  <a:pt x="403" y="35"/>
                  <a:pt x="403" y="35"/>
                </a:cubicBezTo>
                <a:cubicBezTo>
                  <a:pt x="403" y="36"/>
                  <a:pt x="403" y="36"/>
                  <a:pt x="403" y="36"/>
                </a:cubicBezTo>
                <a:cubicBezTo>
                  <a:pt x="403" y="37"/>
                  <a:pt x="403" y="37"/>
                  <a:pt x="403" y="37"/>
                </a:cubicBezTo>
                <a:cubicBezTo>
                  <a:pt x="403" y="37"/>
                  <a:pt x="403" y="37"/>
                  <a:pt x="403" y="37"/>
                </a:cubicBezTo>
                <a:cubicBezTo>
                  <a:pt x="402" y="37"/>
                  <a:pt x="402" y="37"/>
                  <a:pt x="402" y="37"/>
                </a:cubicBezTo>
                <a:cubicBezTo>
                  <a:pt x="402" y="37"/>
                  <a:pt x="402" y="37"/>
                  <a:pt x="402" y="37"/>
                </a:cubicBezTo>
                <a:cubicBezTo>
                  <a:pt x="400" y="37"/>
                  <a:pt x="400" y="37"/>
                  <a:pt x="400" y="37"/>
                </a:cubicBezTo>
                <a:cubicBezTo>
                  <a:pt x="399" y="36"/>
                  <a:pt x="399" y="36"/>
                  <a:pt x="399" y="36"/>
                </a:cubicBezTo>
                <a:cubicBezTo>
                  <a:pt x="398" y="35"/>
                  <a:pt x="398" y="35"/>
                  <a:pt x="398" y="35"/>
                </a:cubicBezTo>
                <a:cubicBezTo>
                  <a:pt x="397" y="36"/>
                  <a:pt x="397" y="36"/>
                  <a:pt x="397" y="36"/>
                </a:cubicBezTo>
                <a:cubicBezTo>
                  <a:pt x="397" y="37"/>
                  <a:pt x="397" y="37"/>
                  <a:pt x="397" y="37"/>
                </a:cubicBezTo>
                <a:cubicBezTo>
                  <a:pt x="398" y="38"/>
                  <a:pt x="398" y="38"/>
                  <a:pt x="398" y="38"/>
                </a:cubicBezTo>
                <a:cubicBezTo>
                  <a:pt x="397" y="39"/>
                  <a:pt x="397" y="39"/>
                  <a:pt x="397" y="39"/>
                </a:cubicBezTo>
                <a:cubicBezTo>
                  <a:pt x="396" y="39"/>
                  <a:pt x="396" y="39"/>
                  <a:pt x="396" y="39"/>
                </a:cubicBezTo>
                <a:cubicBezTo>
                  <a:pt x="396" y="38"/>
                  <a:pt x="396" y="38"/>
                  <a:pt x="396" y="38"/>
                </a:cubicBezTo>
                <a:cubicBezTo>
                  <a:pt x="396" y="37"/>
                  <a:pt x="396" y="37"/>
                  <a:pt x="396" y="37"/>
                </a:cubicBezTo>
                <a:cubicBezTo>
                  <a:pt x="394" y="37"/>
                  <a:pt x="394" y="37"/>
                  <a:pt x="394" y="37"/>
                </a:cubicBezTo>
                <a:cubicBezTo>
                  <a:pt x="394" y="37"/>
                  <a:pt x="394" y="37"/>
                  <a:pt x="394" y="37"/>
                </a:cubicBezTo>
                <a:cubicBezTo>
                  <a:pt x="393" y="36"/>
                  <a:pt x="393" y="36"/>
                  <a:pt x="393" y="36"/>
                </a:cubicBezTo>
                <a:cubicBezTo>
                  <a:pt x="392" y="36"/>
                  <a:pt x="392" y="36"/>
                  <a:pt x="392" y="36"/>
                </a:cubicBezTo>
                <a:cubicBezTo>
                  <a:pt x="392" y="37"/>
                  <a:pt x="392" y="37"/>
                  <a:pt x="392" y="37"/>
                </a:cubicBezTo>
                <a:cubicBezTo>
                  <a:pt x="392" y="38"/>
                  <a:pt x="392" y="38"/>
                  <a:pt x="392" y="38"/>
                </a:cubicBezTo>
                <a:cubicBezTo>
                  <a:pt x="392" y="40"/>
                  <a:pt x="392" y="40"/>
                  <a:pt x="392" y="40"/>
                </a:cubicBezTo>
                <a:cubicBezTo>
                  <a:pt x="393" y="41"/>
                  <a:pt x="393" y="41"/>
                  <a:pt x="393" y="41"/>
                </a:cubicBezTo>
                <a:cubicBezTo>
                  <a:pt x="394" y="42"/>
                  <a:pt x="394" y="42"/>
                  <a:pt x="394" y="42"/>
                </a:cubicBezTo>
                <a:cubicBezTo>
                  <a:pt x="395" y="42"/>
                  <a:pt x="395" y="42"/>
                  <a:pt x="395" y="42"/>
                </a:cubicBezTo>
                <a:cubicBezTo>
                  <a:pt x="396" y="43"/>
                  <a:pt x="396" y="43"/>
                  <a:pt x="396" y="43"/>
                </a:cubicBezTo>
                <a:cubicBezTo>
                  <a:pt x="395" y="43"/>
                  <a:pt x="395" y="43"/>
                  <a:pt x="395" y="43"/>
                </a:cubicBezTo>
                <a:cubicBezTo>
                  <a:pt x="394" y="43"/>
                  <a:pt x="394" y="43"/>
                  <a:pt x="394" y="43"/>
                </a:cubicBezTo>
                <a:cubicBezTo>
                  <a:pt x="395" y="44"/>
                  <a:pt x="395" y="44"/>
                  <a:pt x="395" y="44"/>
                </a:cubicBezTo>
                <a:cubicBezTo>
                  <a:pt x="396" y="45"/>
                  <a:pt x="396" y="45"/>
                  <a:pt x="396" y="45"/>
                </a:cubicBezTo>
                <a:cubicBezTo>
                  <a:pt x="397" y="46"/>
                  <a:pt x="397" y="46"/>
                  <a:pt x="397" y="46"/>
                </a:cubicBezTo>
                <a:cubicBezTo>
                  <a:pt x="399" y="46"/>
                  <a:pt x="399" y="46"/>
                  <a:pt x="399" y="46"/>
                </a:cubicBezTo>
                <a:cubicBezTo>
                  <a:pt x="399" y="45"/>
                  <a:pt x="399" y="45"/>
                  <a:pt x="399" y="45"/>
                </a:cubicBezTo>
                <a:cubicBezTo>
                  <a:pt x="400" y="45"/>
                  <a:pt x="400" y="45"/>
                  <a:pt x="400" y="45"/>
                </a:cubicBezTo>
                <a:cubicBezTo>
                  <a:pt x="400" y="46"/>
                  <a:pt x="400" y="46"/>
                  <a:pt x="400" y="46"/>
                </a:cubicBezTo>
                <a:cubicBezTo>
                  <a:pt x="399" y="46"/>
                  <a:pt x="399" y="46"/>
                  <a:pt x="399" y="46"/>
                </a:cubicBezTo>
                <a:cubicBezTo>
                  <a:pt x="399" y="48"/>
                  <a:pt x="399" y="48"/>
                  <a:pt x="399" y="48"/>
                </a:cubicBezTo>
                <a:cubicBezTo>
                  <a:pt x="398" y="48"/>
                  <a:pt x="398" y="48"/>
                  <a:pt x="398" y="48"/>
                </a:cubicBezTo>
                <a:cubicBezTo>
                  <a:pt x="396" y="47"/>
                  <a:pt x="396" y="47"/>
                  <a:pt x="396" y="47"/>
                </a:cubicBezTo>
                <a:cubicBezTo>
                  <a:pt x="393" y="46"/>
                  <a:pt x="393" y="46"/>
                  <a:pt x="393" y="46"/>
                </a:cubicBezTo>
                <a:cubicBezTo>
                  <a:pt x="392" y="45"/>
                  <a:pt x="392" y="45"/>
                  <a:pt x="392" y="45"/>
                </a:cubicBezTo>
                <a:cubicBezTo>
                  <a:pt x="391" y="44"/>
                  <a:pt x="391" y="44"/>
                  <a:pt x="391" y="44"/>
                </a:cubicBezTo>
                <a:cubicBezTo>
                  <a:pt x="390" y="44"/>
                  <a:pt x="390" y="44"/>
                  <a:pt x="390" y="44"/>
                </a:cubicBezTo>
                <a:cubicBezTo>
                  <a:pt x="390" y="44"/>
                  <a:pt x="390" y="44"/>
                  <a:pt x="390" y="44"/>
                </a:cubicBezTo>
                <a:cubicBezTo>
                  <a:pt x="389" y="45"/>
                  <a:pt x="389" y="45"/>
                  <a:pt x="389" y="45"/>
                </a:cubicBezTo>
                <a:cubicBezTo>
                  <a:pt x="389" y="46"/>
                  <a:pt x="389" y="46"/>
                  <a:pt x="389" y="46"/>
                </a:cubicBezTo>
                <a:cubicBezTo>
                  <a:pt x="389" y="46"/>
                  <a:pt x="389" y="46"/>
                  <a:pt x="389" y="46"/>
                </a:cubicBezTo>
                <a:cubicBezTo>
                  <a:pt x="389" y="48"/>
                  <a:pt x="389" y="48"/>
                  <a:pt x="389" y="48"/>
                </a:cubicBezTo>
                <a:cubicBezTo>
                  <a:pt x="388" y="49"/>
                  <a:pt x="388" y="49"/>
                  <a:pt x="388" y="49"/>
                </a:cubicBezTo>
                <a:cubicBezTo>
                  <a:pt x="388" y="48"/>
                  <a:pt x="388" y="48"/>
                  <a:pt x="388" y="48"/>
                </a:cubicBezTo>
                <a:cubicBezTo>
                  <a:pt x="388" y="50"/>
                  <a:pt x="388" y="50"/>
                  <a:pt x="388" y="50"/>
                </a:cubicBezTo>
                <a:cubicBezTo>
                  <a:pt x="387" y="50"/>
                  <a:pt x="387" y="50"/>
                  <a:pt x="387" y="50"/>
                </a:cubicBezTo>
                <a:cubicBezTo>
                  <a:pt x="387" y="53"/>
                  <a:pt x="387" y="53"/>
                  <a:pt x="387" y="53"/>
                </a:cubicBezTo>
                <a:cubicBezTo>
                  <a:pt x="388" y="54"/>
                  <a:pt x="388" y="54"/>
                  <a:pt x="388" y="54"/>
                </a:cubicBezTo>
                <a:cubicBezTo>
                  <a:pt x="390" y="54"/>
                  <a:pt x="390" y="54"/>
                  <a:pt x="390" y="54"/>
                </a:cubicBezTo>
                <a:cubicBezTo>
                  <a:pt x="391" y="55"/>
                  <a:pt x="391" y="55"/>
                  <a:pt x="391" y="55"/>
                </a:cubicBezTo>
                <a:cubicBezTo>
                  <a:pt x="392" y="54"/>
                  <a:pt x="392" y="54"/>
                  <a:pt x="392" y="54"/>
                </a:cubicBezTo>
                <a:cubicBezTo>
                  <a:pt x="392" y="55"/>
                  <a:pt x="392" y="55"/>
                  <a:pt x="392" y="55"/>
                </a:cubicBezTo>
                <a:cubicBezTo>
                  <a:pt x="391" y="55"/>
                  <a:pt x="391" y="55"/>
                  <a:pt x="391" y="55"/>
                </a:cubicBezTo>
                <a:cubicBezTo>
                  <a:pt x="390" y="55"/>
                  <a:pt x="390" y="55"/>
                  <a:pt x="390" y="55"/>
                </a:cubicBezTo>
                <a:cubicBezTo>
                  <a:pt x="388" y="55"/>
                  <a:pt x="388" y="55"/>
                  <a:pt x="388" y="55"/>
                </a:cubicBezTo>
                <a:cubicBezTo>
                  <a:pt x="387" y="54"/>
                  <a:pt x="387" y="54"/>
                  <a:pt x="387" y="54"/>
                </a:cubicBezTo>
                <a:cubicBezTo>
                  <a:pt x="386" y="55"/>
                  <a:pt x="386" y="55"/>
                  <a:pt x="386" y="55"/>
                </a:cubicBezTo>
                <a:cubicBezTo>
                  <a:pt x="384" y="57"/>
                  <a:pt x="384" y="57"/>
                  <a:pt x="384" y="57"/>
                </a:cubicBezTo>
                <a:cubicBezTo>
                  <a:pt x="384" y="58"/>
                  <a:pt x="384" y="58"/>
                  <a:pt x="384" y="58"/>
                </a:cubicBezTo>
                <a:cubicBezTo>
                  <a:pt x="385" y="59"/>
                  <a:pt x="385" y="59"/>
                  <a:pt x="385" y="59"/>
                </a:cubicBezTo>
                <a:cubicBezTo>
                  <a:pt x="385" y="59"/>
                  <a:pt x="385" y="59"/>
                  <a:pt x="385" y="59"/>
                </a:cubicBezTo>
                <a:cubicBezTo>
                  <a:pt x="384" y="60"/>
                  <a:pt x="384" y="60"/>
                  <a:pt x="384" y="60"/>
                </a:cubicBezTo>
                <a:cubicBezTo>
                  <a:pt x="384" y="61"/>
                  <a:pt x="384" y="61"/>
                  <a:pt x="384" y="61"/>
                </a:cubicBezTo>
                <a:cubicBezTo>
                  <a:pt x="385" y="61"/>
                  <a:pt x="385" y="61"/>
                  <a:pt x="385" y="61"/>
                </a:cubicBezTo>
                <a:cubicBezTo>
                  <a:pt x="385" y="61"/>
                  <a:pt x="385" y="61"/>
                  <a:pt x="385" y="61"/>
                </a:cubicBezTo>
                <a:cubicBezTo>
                  <a:pt x="387" y="61"/>
                  <a:pt x="387" y="61"/>
                  <a:pt x="387" y="61"/>
                </a:cubicBezTo>
                <a:cubicBezTo>
                  <a:pt x="388" y="60"/>
                  <a:pt x="388" y="60"/>
                  <a:pt x="388" y="60"/>
                </a:cubicBezTo>
                <a:cubicBezTo>
                  <a:pt x="389" y="60"/>
                  <a:pt x="389" y="60"/>
                  <a:pt x="389" y="60"/>
                </a:cubicBezTo>
                <a:cubicBezTo>
                  <a:pt x="388" y="61"/>
                  <a:pt x="388" y="61"/>
                  <a:pt x="388" y="61"/>
                </a:cubicBezTo>
                <a:cubicBezTo>
                  <a:pt x="387" y="61"/>
                  <a:pt x="387" y="61"/>
                  <a:pt x="387" y="61"/>
                </a:cubicBezTo>
                <a:cubicBezTo>
                  <a:pt x="387" y="63"/>
                  <a:pt x="387" y="63"/>
                  <a:pt x="387" y="63"/>
                </a:cubicBezTo>
                <a:cubicBezTo>
                  <a:pt x="387" y="63"/>
                  <a:pt x="387" y="63"/>
                  <a:pt x="387" y="63"/>
                </a:cubicBezTo>
                <a:cubicBezTo>
                  <a:pt x="388" y="63"/>
                  <a:pt x="388" y="63"/>
                  <a:pt x="388" y="63"/>
                </a:cubicBezTo>
                <a:cubicBezTo>
                  <a:pt x="389" y="62"/>
                  <a:pt x="389" y="62"/>
                  <a:pt x="389" y="62"/>
                </a:cubicBezTo>
                <a:cubicBezTo>
                  <a:pt x="390" y="62"/>
                  <a:pt x="390" y="62"/>
                  <a:pt x="390" y="62"/>
                </a:cubicBezTo>
                <a:cubicBezTo>
                  <a:pt x="391" y="61"/>
                  <a:pt x="391" y="61"/>
                  <a:pt x="391" y="61"/>
                </a:cubicBezTo>
                <a:cubicBezTo>
                  <a:pt x="391" y="62"/>
                  <a:pt x="391" y="62"/>
                  <a:pt x="391" y="62"/>
                </a:cubicBezTo>
                <a:cubicBezTo>
                  <a:pt x="390" y="63"/>
                  <a:pt x="390" y="63"/>
                  <a:pt x="390" y="63"/>
                </a:cubicBezTo>
                <a:cubicBezTo>
                  <a:pt x="391" y="63"/>
                  <a:pt x="391" y="63"/>
                  <a:pt x="391" y="63"/>
                </a:cubicBezTo>
                <a:cubicBezTo>
                  <a:pt x="393" y="63"/>
                  <a:pt x="393" y="63"/>
                  <a:pt x="393" y="63"/>
                </a:cubicBezTo>
                <a:cubicBezTo>
                  <a:pt x="393" y="64"/>
                  <a:pt x="393" y="64"/>
                  <a:pt x="393" y="64"/>
                </a:cubicBezTo>
                <a:cubicBezTo>
                  <a:pt x="392" y="64"/>
                  <a:pt x="392" y="64"/>
                  <a:pt x="392" y="64"/>
                </a:cubicBezTo>
                <a:cubicBezTo>
                  <a:pt x="392" y="65"/>
                  <a:pt x="392" y="65"/>
                  <a:pt x="392" y="65"/>
                </a:cubicBezTo>
                <a:cubicBezTo>
                  <a:pt x="393" y="65"/>
                  <a:pt x="393" y="65"/>
                  <a:pt x="393" y="65"/>
                </a:cubicBezTo>
                <a:cubicBezTo>
                  <a:pt x="395" y="65"/>
                  <a:pt x="395" y="65"/>
                  <a:pt x="395" y="65"/>
                </a:cubicBezTo>
                <a:cubicBezTo>
                  <a:pt x="396" y="66"/>
                  <a:pt x="396" y="66"/>
                  <a:pt x="396" y="66"/>
                </a:cubicBezTo>
                <a:cubicBezTo>
                  <a:pt x="399" y="67"/>
                  <a:pt x="399" y="67"/>
                  <a:pt x="399" y="67"/>
                </a:cubicBezTo>
                <a:cubicBezTo>
                  <a:pt x="399" y="67"/>
                  <a:pt x="399" y="67"/>
                  <a:pt x="399" y="67"/>
                </a:cubicBezTo>
                <a:cubicBezTo>
                  <a:pt x="397" y="67"/>
                  <a:pt x="397" y="67"/>
                  <a:pt x="397" y="67"/>
                </a:cubicBezTo>
                <a:cubicBezTo>
                  <a:pt x="396" y="67"/>
                  <a:pt x="396" y="67"/>
                  <a:pt x="396" y="67"/>
                </a:cubicBezTo>
                <a:cubicBezTo>
                  <a:pt x="394" y="66"/>
                  <a:pt x="394" y="66"/>
                  <a:pt x="394" y="66"/>
                </a:cubicBezTo>
                <a:cubicBezTo>
                  <a:pt x="392" y="67"/>
                  <a:pt x="392" y="67"/>
                  <a:pt x="392" y="67"/>
                </a:cubicBezTo>
                <a:cubicBezTo>
                  <a:pt x="392" y="67"/>
                  <a:pt x="392" y="67"/>
                  <a:pt x="392" y="67"/>
                </a:cubicBezTo>
                <a:cubicBezTo>
                  <a:pt x="394" y="68"/>
                  <a:pt x="394" y="68"/>
                  <a:pt x="394" y="68"/>
                </a:cubicBezTo>
                <a:cubicBezTo>
                  <a:pt x="396" y="68"/>
                  <a:pt x="396" y="68"/>
                  <a:pt x="396" y="68"/>
                </a:cubicBezTo>
                <a:cubicBezTo>
                  <a:pt x="399" y="68"/>
                  <a:pt x="399" y="68"/>
                  <a:pt x="399" y="68"/>
                </a:cubicBezTo>
                <a:cubicBezTo>
                  <a:pt x="400" y="69"/>
                  <a:pt x="400" y="69"/>
                  <a:pt x="400" y="69"/>
                </a:cubicBezTo>
                <a:cubicBezTo>
                  <a:pt x="397" y="70"/>
                  <a:pt x="397" y="70"/>
                  <a:pt x="397" y="70"/>
                </a:cubicBezTo>
                <a:cubicBezTo>
                  <a:pt x="396" y="69"/>
                  <a:pt x="396" y="69"/>
                  <a:pt x="396" y="69"/>
                </a:cubicBezTo>
                <a:cubicBezTo>
                  <a:pt x="394" y="69"/>
                  <a:pt x="394" y="69"/>
                  <a:pt x="394" y="69"/>
                </a:cubicBezTo>
                <a:cubicBezTo>
                  <a:pt x="392" y="69"/>
                  <a:pt x="392" y="69"/>
                  <a:pt x="392" y="69"/>
                </a:cubicBezTo>
                <a:cubicBezTo>
                  <a:pt x="391" y="68"/>
                  <a:pt x="391" y="68"/>
                  <a:pt x="391" y="68"/>
                </a:cubicBezTo>
                <a:cubicBezTo>
                  <a:pt x="390" y="67"/>
                  <a:pt x="390" y="67"/>
                  <a:pt x="390" y="67"/>
                </a:cubicBezTo>
                <a:cubicBezTo>
                  <a:pt x="388" y="66"/>
                  <a:pt x="388" y="66"/>
                  <a:pt x="388" y="66"/>
                </a:cubicBezTo>
                <a:cubicBezTo>
                  <a:pt x="388" y="66"/>
                  <a:pt x="388" y="66"/>
                  <a:pt x="388" y="66"/>
                </a:cubicBezTo>
                <a:cubicBezTo>
                  <a:pt x="387" y="67"/>
                  <a:pt x="387" y="67"/>
                  <a:pt x="387" y="67"/>
                </a:cubicBezTo>
                <a:cubicBezTo>
                  <a:pt x="385" y="67"/>
                  <a:pt x="385" y="67"/>
                  <a:pt x="385" y="67"/>
                </a:cubicBezTo>
                <a:cubicBezTo>
                  <a:pt x="384" y="68"/>
                  <a:pt x="384" y="68"/>
                  <a:pt x="384" y="68"/>
                </a:cubicBezTo>
                <a:cubicBezTo>
                  <a:pt x="384" y="70"/>
                  <a:pt x="384" y="70"/>
                  <a:pt x="384" y="70"/>
                </a:cubicBezTo>
                <a:cubicBezTo>
                  <a:pt x="385" y="72"/>
                  <a:pt x="385" y="72"/>
                  <a:pt x="385" y="72"/>
                </a:cubicBezTo>
                <a:cubicBezTo>
                  <a:pt x="385" y="73"/>
                  <a:pt x="385" y="73"/>
                  <a:pt x="385" y="73"/>
                </a:cubicBezTo>
                <a:cubicBezTo>
                  <a:pt x="385" y="74"/>
                  <a:pt x="385" y="74"/>
                  <a:pt x="385" y="74"/>
                </a:cubicBezTo>
                <a:cubicBezTo>
                  <a:pt x="384" y="72"/>
                  <a:pt x="384" y="72"/>
                  <a:pt x="384" y="72"/>
                </a:cubicBezTo>
                <a:cubicBezTo>
                  <a:pt x="383" y="72"/>
                  <a:pt x="383" y="72"/>
                  <a:pt x="383" y="72"/>
                </a:cubicBezTo>
                <a:cubicBezTo>
                  <a:pt x="382" y="74"/>
                  <a:pt x="382" y="74"/>
                  <a:pt x="382" y="74"/>
                </a:cubicBezTo>
                <a:cubicBezTo>
                  <a:pt x="382" y="76"/>
                  <a:pt x="382" y="76"/>
                  <a:pt x="382" y="76"/>
                </a:cubicBezTo>
                <a:cubicBezTo>
                  <a:pt x="383" y="76"/>
                  <a:pt x="383" y="76"/>
                  <a:pt x="383" y="76"/>
                </a:cubicBezTo>
                <a:cubicBezTo>
                  <a:pt x="384" y="76"/>
                  <a:pt x="384" y="76"/>
                  <a:pt x="384" y="76"/>
                </a:cubicBezTo>
                <a:cubicBezTo>
                  <a:pt x="385" y="76"/>
                  <a:pt x="385" y="76"/>
                  <a:pt x="385" y="76"/>
                </a:cubicBezTo>
                <a:cubicBezTo>
                  <a:pt x="385" y="77"/>
                  <a:pt x="385" y="77"/>
                  <a:pt x="385" y="77"/>
                </a:cubicBezTo>
                <a:cubicBezTo>
                  <a:pt x="386" y="77"/>
                  <a:pt x="386" y="77"/>
                  <a:pt x="386" y="77"/>
                </a:cubicBezTo>
                <a:cubicBezTo>
                  <a:pt x="385" y="78"/>
                  <a:pt x="385" y="78"/>
                  <a:pt x="385" y="78"/>
                </a:cubicBezTo>
                <a:cubicBezTo>
                  <a:pt x="385" y="78"/>
                  <a:pt x="385" y="78"/>
                  <a:pt x="385" y="78"/>
                </a:cubicBezTo>
                <a:cubicBezTo>
                  <a:pt x="384" y="77"/>
                  <a:pt x="384" y="77"/>
                  <a:pt x="384" y="77"/>
                </a:cubicBezTo>
                <a:cubicBezTo>
                  <a:pt x="382" y="77"/>
                  <a:pt x="382" y="77"/>
                  <a:pt x="382" y="77"/>
                </a:cubicBezTo>
                <a:cubicBezTo>
                  <a:pt x="382" y="79"/>
                  <a:pt x="382" y="79"/>
                  <a:pt x="382" y="79"/>
                </a:cubicBezTo>
                <a:cubicBezTo>
                  <a:pt x="382" y="80"/>
                  <a:pt x="382" y="80"/>
                  <a:pt x="382" y="80"/>
                </a:cubicBezTo>
                <a:cubicBezTo>
                  <a:pt x="383" y="80"/>
                  <a:pt x="383" y="80"/>
                  <a:pt x="383" y="80"/>
                </a:cubicBezTo>
                <a:cubicBezTo>
                  <a:pt x="383" y="81"/>
                  <a:pt x="383" y="81"/>
                  <a:pt x="383" y="81"/>
                </a:cubicBezTo>
                <a:cubicBezTo>
                  <a:pt x="383" y="83"/>
                  <a:pt x="383" y="83"/>
                  <a:pt x="383" y="83"/>
                </a:cubicBezTo>
                <a:cubicBezTo>
                  <a:pt x="383" y="83"/>
                  <a:pt x="383" y="83"/>
                  <a:pt x="383" y="83"/>
                </a:cubicBezTo>
                <a:cubicBezTo>
                  <a:pt x="384" y="83"/>
                  <a:pt x="384" y="83"/>
                  <a:pt x="384" y="83"/>
                </a:cubicBezTo>
                <a:cubicBezTo>
                  <a:pt x="384" y="85"/>
                  <a:pt x="384" y="85"/>
                  <a:pt x="384" y="85"/>
                </a:cubicBezTo>
                <a:cubicBezTo>
                  <a:pt x="386" y="85"/>
                  <a:pt x="386" y="85"/>
                  <a:pt x="386" y="85"/>
                </a:cubicBezTo>
                <a:cubicBezTo>
                  <a:pt x="389" y="87"/>
                  <a:pt x="389" y="87"/>
                  <a:pt x="389" y="87"/>
                </a:cubicBezTo>
                <a:cubicBezTo>
                  <a:pt x="390" y="87"/>
                  <a:pt x="390" y="87"/>
                  <a:pt x="390" y="87"/>
                </a:cubicBezTo>
                <a:cubicBezTo>
                  <a:pt x="390" y="86"/>
                  <a:pt x="390" y="86"/>
                  <a:pt x="390" y="86"/>
                </a:cubicBezTo>
                <a:cubicBezTo>
                  <a:pt x="390" y="84"/>
                  <a:pt x="390" y="84"/>
                  <a:pt x="390" y="84"/>
                </a:cubicBezTo>
                <a:cubicBezTo>
                  <a:pt x="392" y="85"/>
                  <a:pt x="392" y="85"/>
                  <a:pt x="392" y="85"/>
                </a:cubicBezTo>
                <a:cubicBezTo>
                  <a:pt x="392" y="86"/>
                  <a:pt x="392" y="86"/>
                  <a:pt x="392" y="86"/>
                </a:cubicBezTo>
                <a:cubicBezTo>
                  <a:pt x="392" y="87"/>
                  <a:pt x="392" y="87"/>
                  <a:pt x="392" y="87"/>
                </a:cubicBezTo>
                <a:cubicBezTo>
                  <a:pt x="392" y="88"/>
                  <a:pt x="392" y="88"/>
                  <a:pt x="392" y="88"/>
                </a:cubicBezTo>
                <a:cubicBezTo>
                  <a:pt x="392" y="88"/>
                  <a:pt x="392" y="88"/>
                  <a:pt x="392" y="88"/>
                </a:cubicBezTo>
                <a:cubicBezTo>
                  <a:pt x="393" y="85"/>
                  <a:pt x="393" y="85"/>
                  <a:pt x="393" y="85"/>
                </a:cubicBezTo>
                <a:cubicBezTo>
                  <a:pt x="393" y="82"/>
                  <a:pt x="393" y="82"/>
                  <a:pt x="393" y="82"/>
                </a:cubicBezTo>
                <a:cubicBezTo>
                  <a:pt x="394" y="81"/>
                  <a:pt x="394" y="81"/>
                  <a:pt x="394" y="81"/>
                </a:cubicBezTo>
                <a:cubicBezTo>
                  <a:pt x="395" y="79"/>
                  <a:pt x="395" y="79"/>
                  <a:pt x="395" y="79"/>
                </a:cubicBezTo>
                <a:cubicBezTo>
                  <a:pt x="396" y="78"/>
                  <a:pt x="396" y="78"/>
                  <a:pt x="396" y="78"/>
                </a:cubicBezTo>
                <a:cubicBezTo>
                  <a:pt x="396" y="79"/>
                  <a:pt x="396" y="79"/>
                  <a:pt x="396" y="79"/>
                </a:cubicBezTo>
                <a:cubicBezTo>
                  <a:pt x="394" y="82"/>
                  <a:pt x="394" y="82"/>
                  <a:pt x="394" y="82"/>
                </a:cubicBezTo>
                <a:cubicBezTo>
                  <a:pt x="394" y="83"/>
                  <a:pt x="394" y="83"/>
                  <a:pt x="394" y="83"/>
                </a:cubicBezTo>
                <a:cubicBezTo>
                  <a:pt x="394" y="85"/>
                  <a:pt x="394" y="85"/>
                  <a:pt x="394" y="85"/>
                </a:cubicBezTo>
                <a:cubicBezTo>
                  <a:pt x="394" y="87"/>
                  <a:pt x="394" y="87"/>
                  <a:pt x="394" y="87"/>
                </a:cubicBezTo>
                <a:cubicBezTo>
                  <a:pt x="395" y="88"/>
                  <a:pt x="395" y="88"/>
                  <a:pt x="395" y="88"/>
                </a:cubicBezTo>
                <a:cubicBezTo>
                  <a:pt x="394" y="89"/>
                  <a:pt x="394" y="89"/>
                  <a:pt x="394" y="89"/>
                </a:cubicBezTo>
                <a:cubicBezTo>
                  <a:pt x="395" y="89"/>
                  <a:pt x="395" y="89"/>
                  <a:pt x="395" y="89"/>
                </a:cubicBezTo>
                <a:close/>
                <a:moveTo>
                  <a:pt x="398" y="34"/>
                </a:moveTo>
                <a:cubicBezTo>
                  <a:pt x="398" y="34"/>
                  <a:pt x="398" y="34"/>
                  <a:pt x="398" y="34"/>
                </a:cubicBezTo>
                <a:cubicBezTo>
                  <a:pt x="399" y="34"/>
                  <a:pt x="399" y="34"/>
                  <a:pt x="399" y="34"/>
                </a:cubicBezTo>
                <a:cubicBezTo>
                  <a:pt x="399" y="34"/>
                  <a:pt x="399" y="34"/>
                  <a:pt x="399" y="34"/>
                </a:cubicBezTo>
                <a:cubicBezTo>
                  <a:pt x="400" y="34"/>
                  <a:pt x="400" y="34"/>
                  <a:pt x="400" y="34"/>
                </a:cubicBezTo>
                <a:cubicBezTo>
                  <a:pt x="400" y="35"/>
                  <a:pt x="400" y="35"/>
                  <a:pt x="400" y="35"/>
                </a:cubicBezTo>
                <a:cubicBezTo>
                  <a:pt x="400" y="35"/>
                  <a:pt x="400" y="35"/>
                  <a:pt x="400" y="35"/>
                </a:cubicBezTo>
                <a:cubicBezTo>
                  <a:pt x="399" y="35"/>
                  <a:pt x="399" y="35"/>
                  <a:pt x="399" y="35"/>
                </a:cubicBezTo>
                <a:cubicBezTo>
                  <a:pt x="398" y="34"/>
                  <a:pt x="398" y="34"/>
                  <a:pt x="398" y="34"/>
                </a:cubicBezTo>
                <a:cubicBezTo>
                  <a:pt x="398" y="34"/>
                  <a:pt x="398" y="34"/>
                  <a:pt x="398" y="34"/>
                </a:cubicBezTo>
                <a:close/>
                <a:moveTo>
                  <a:pt x="399" y="89"/>
                </a:moveTo>
                <a:cubicBezTo>
                  <a:pt x="399" y="88"/>
                  <a:pt x="399" y="88"/>
                  <a:pt x="399" y="88"/>
                </a:cubicBezTo>
                <a:cubicBezTo>
                  <a:pt x="400" y="87"/>
                  <a:pt x="400" y="87"/>
                  <a:pt x="400" y="87"/>
                </a:cubicBezTo>
                <a:cubicBezTo>
                  <a:pt x="400" y="86"/>
                  <a:pt x="400" y="86"/>
                  <a:pt x="400" y="86"/>
                </a:cubicBezTo>
                <a:cubicBezTo>
                  <a:pt x="401" y="86"/>
                  <a:pt x="401" y="86"/>
                  <a:pt x="401" y="86"/>
                </a:cubicBezTo>
                <a:cubicBezTo>
                  <a:pt x="401" y="86"/>
                  <a:pt x="401" y="86"/>
                  <a:pt x="401" y="86"/>
                </a:cubicBezTo>
                <a:cubicBezTo>
                  <a:pt x="401" y="87"/>
                  <a:pt x="401" y="87"/>
                  <a:pt x="401" y="87"/>
                </a:cubicBezTo>
                <a:cubicBezTo>
                  <a:pt x="400" y="87"/>
                  <a:pt x="400" y="87"/>
                  <a:pt x="400" y="87"/>
                </a:cubicBezTo>
                <a:cubicBezTo>
                  <a:pt x="399" y="89"/>
                  <a:pt x="399" y="89"/>
                  <a:pt x="399" y="89"/>
                </a:cubicBezTo>
                <a:cubicBezTo>
                  <a:pt x="399" y="89"/>
                  <a:pt x="399" y="89"/>
                  <a:pt x="399" y="89"/>
                </a:cubicBezTo>
                <a:close/>
                <a:moveTo>
                  <a:pt x="412" y="77"/>
                </a:moveTo>
                <a:cubicBezTo>
                  <a:pt x="413" y="75"/>
                  <a:pt x="413" y="75"/>
                  <a:pt x="413" y="75"/>
                </a:cubicBezTo>
                <a:cubicBezTo>
                  <a:pt x="414" y="75"/>
                  <a:pt x="414" y="75"/>
                  <a:pt x="414" y="75"/>
                </a:cubicBezTo>
                <a:cubicBezTo>
                  <a:pt x="415" y="74"/>
                  <a:pt x="415" y="74"/>
                  <a:pt x="415" y="74"/>
                </a:cubicBezTo>
                <a:cubicBezTo>
                  <a:pt x="416" y="75"/>
                  <a:pt x="416" y="75"/>
                  <a:pt x="416" y="75"/>
                </a:cubicBezTo>
                <a:cubicBezTo>
                  <a:pt x="418" y="76"/>
                  <a:pt x="418" y="76"/>
                  <a:pt x="418" y="76"/>
                </a:cubicBezTo>
                <a:cubicBezTo>
                  <a:pt x="417" y="77"/>
                  <a:pt x="417" y="77"/>
                  <a:pt x="417" y="77"/>
                </a:cubicBezTo>
                <a:cubicBezTo>
                  <a:pt x="415" y="76"/>
                  <a:pt x="415" y="76"/>
                  <a:pt x="415" y="76"/>
                </a:cubicBezTo>
                <a:cubicBezTo>
                  <a:pt x="414" y="77"/>
                  <a:pt x="414" y="77"/>
                  <a:pt x="414" y="77"/>
                </a:cubicBezTo>
                <a:cubicBezTo>
                  <a:pt x="413" y="78"/>
                  <a:pt x="413" y="78"/>
                  <a:pt x="413" y="78"/>
                </a:cubicBezTo>
                <a:cubicBezTo>
                  <a:pt x="412" y="77"/>
                  <a:pt x="412" y="77"/>
                  <a:pt x="412" y="77"/>
                </a:cubicBezTo>
                <a:cubicBezTo>
                  <a:pt x="412" y="77"/>
                  <a:pt x="412" y="77"/>
                  <a:pt x="412" y="77"/>
                </a:cubicBezTo>
                <a:close/>
                <a:moveTo>
                  <a:pt x="506" y="3"/>
                </a:moveTo>
                <a:cubicBezTo>
                  <a:pt x="507" y="2"/>
                  <a:pt x="507" y="2"/>
                  <a:pt x="507" y="2"/>
                </a:cubicBezTo>
                <a:cubicBezTo>
                  <a:pt x="507" y="2"/>
                  <a:pt x="507" y="2"/>
                  <a:pt x="507" y="2"/>
                </a:cubicBezTo>
                <a:cubicBezTo>
                  <a:pt x="508" y="3"/>
                  <a:pt x="508" y="3"/>
                  <a:pt x="508" y="3"/>
                </a:cubicBezTo>
                <a:cubicBezTo>
                  <a:pt x="507" y="3"/>
                  <a:pt x="507" y="3"/>
                  <a:pt x="507" y="3"/>
                </a:cubicBezTo>
                <a:cubicBezTo>
                  <a:pt x="506" y="3"/>
                  <a:pt x="506" y="3"/>
                  <a:pt x="506" y="3"/>
                </a:cubicBezTo>
                <a:close/>
                <a:moveTo>
                  <a:pt x="461" y="91"/>
                </a:moveTo>
                <a:cubicBezTo>
                  <a:pt x="460" y="92"/>
                  <a:pt x="460" y="92"/>
                  <a:pt x="460" y="92"/>
                </a:cubicBezTo>
                <a:cubicBezTo>
                  <a:pt x="461" y="93"/>
                  <a:pt x="461" y="93"/>
                  <a:pt x="461" y="93"/>
                </a:cubicBezTo>
                <a:cubicBezTo>
                  <a:pt x="462" y="93"/>
                  <a:pt x="462" y="93"/>
                  <a:pt x="462" y="93"/>
                </a:cubicBezTo>
                <a:cubicBezTo>
                  <a:pt x="462" y="92"/>
                  <a:pt x="462" y="92"/>
                  <a:pt x="462" y="92"/>
                </a:cubicBezTo>
                <a:cubicBezTo>
                  <a:pt x="461" y="91"/>
                  <a:pt x="461" y="91"/>
                  <a:pt x="461" y="91"/>
                </a:cubicBezTo>
                <a:cubicBezTo>
                  <a:pt x="461" y="91"/>
                  <a:pt x="461" y="91"/>
                  <a:pt x="461" y="91"/>
                </a:cubicBezTo>
                <a:close/>
                <a:moveTo>
                  <a:pt x="438" y="105"/>
                </a:moveTo>
                <a:cubicBezTo>
                  <a:pt x="439" y="106"/>
                  <a:pt x="439" y="106"/>
                  <a:pt x="439" y="106"/>
                </a:cubicBezTo>
                <a:cubicBezTo>
                  <a:pt x="440" y="106"/>
                  <a:pt x="440" y="106"/>
                  <a:pt x="440" y="106"/>
                </a:cubicBezTo>
                <a:cubicBezTo>
                  <a:pt x="439" y="105"/>
                  <a:pt x="439" y="105"/>
                  <a:pt x="439" y="105"/>
                </a:cubicBezTo>
                <a:cubicBezTo>
                  <a:pt x="438" y="105"/>
                  <a:pt x="438" y="105"/>
                  <a:pt x="438" y="105"/>
                </a:cubicBezTo>
                <a:close/>
                <a:moveTo>
                  <a:pt x="406" y="105"/>
                </a:moveTo>
                <a:cubicBezTo>
                  <a:pt x="406" y="103"/>
                  <a:pt x="406" y="103"/>
                  <a:pt x="406" y="103"/>
                </a:cubicBezTo>
                <a:cubicBezTo>
                  <a:pt x="406" y="103"/>
                  <a:pt x="406" y="103"/>
                  <a:pt x="406" y="103"/>
                </a:cubicBezTo>
                <a:cubicBezTo>
                  <a:pt x="406" y="102"/>
                  <a:pt x="406" y="102"/>
                  <a:pt x="406" y="102"/>
                </a:cubicBezTo>
                <a:cubicBezTo>
                  <a:pt x="407" y="103"/>
                  <a:pt x="407" y="103"/>
                  <a:pt x="407" y="103"/>
                </a:cubicBezTo>
                <a:cubicBezTo>
                  <a:pt x="407" y="104"/>
                  <a:pt x="407" y="104"/>
                  <a:pt x="407" y="104"/>
                </a:cubicBezTo>
                <a:cubicBezTo>
                  <a:pt x="407" y="105"/>
                  <a:pt x="407" y="105"/>
                  <a:pt x="407" y="105"/>
                </a:cubicBezTo>
                <a:cubicBezTo>
                  <a:pt x="406" y="105"/>
                  <a:pt x="406" y="105"/>
                  <a:pt x="406" y="105"/>
                </a:cubicBezTo>
                <a:close/>
                <a:moveTo>
                  <a:pt x="397" y="124"/>
                </a:moveTo>
                <a:cubicBezTo>
                  <a:pt x="397" y="123"/>
                  <a:pt x="397" y="123"/>
                  <a:pt x="397" y="123"/>
                </a:cubicBezTo>
                <a:cubicBezTo>
                  <a:pt x="397" y="122"/>
                  <a:pt x="397" y="122"/>
                  <a:pt x="397" y="122"/>
                </a:cubicBezTo>
                <a:cubicBezTo>
                  <a:pt x="397" y="120"/>
                  <a:pt x="397" y="120"/>
                  <a:pt x="397" y="120"/>
                </a:cubicBezTo>
                <a:cubicBezTo>
                  <a:pt x="396" y="120"/>
                  <a:pt x="396" y="120"/>
                  <a:pt x="396" y="120"/>
                </a:cubicBezTo>
                <a:cubicBezTo>
                  <a:pt x="396" y="120"/>
                  <a:pt x="396" y="120"/>
                  <a:pt x="396" y="120"/>
                </a:cubicBezTo>
                <a:cubicBezTo>
                  <a:pt x="395" y="122"/>
                  <a:pt x="395" y="122"/>
                  <a:pt x="395" y="122"/>
                </a:cubicBezTo>
                <a:cubicBezTo>
                  <a:pt x="396" y="124"/>
                  <a:pt x="396" y="124"/>
                  <a:pt x="396" y="124"/>
                </a:cubicBezTo>
                <a:cubicBezTo>
                  <a:pt x="397" y="125"/>
                  <a:pt x="397" y="125"/>
                  <a:pt x="397" y="125"/>
                </a:cubicBezTo>
                <a:cubicBezTo>
                  <a:pt x="396" y="126"/>
                  <a:pt x="396" y="126"/>
                  <a:pt x="396" y="126"/>
                </a:cubicBezTo>
                <a:cubicBezTo>
                  <a:pt x="396" y="126"/>
                  <a:pt x="396" y="126"/>
                  <a:pt x="396" y="126"/>
                </a:cubicBezTo>
                <a:cubicBezTo>
                  <a:pt x="395" y="126"/>
                  <a:pt x="395" y="126"/>
                  <a:pt x="395" y="126"/>
                </a:cubicBezTo>
                <a:cubicBezTo>
                  <a:pt x="393" y="126"/>
                  <a:pt x="393" y="126"/>
                  <a:pt x="393" y="126"/>
                </a:cubicBezTo>
                <a:cubicBezTo>
                  <a:pt x="392" y="125"/>
                  <a:pt x="392" y="125"/>
                  <a:pt x="392" y="125"/>
                </a:cubicBezTo>
                <a:cubicBezTo>
                  <a:pt x="392" y="125"/>
                  <a:pt x="392" y="125"/>
                  <a:pt x="392" y="125"/>
                </a:cubicBezTo>
                <a:cubicBezTo>
                  <a:pt x="390" y="124"/>
                  <a:pt x="390" y="124"/>
                  <a:pt x="390" y="124"/>
                </a:cubicBezTo>
                <a:cubicBezTo>
                  <a:pt x="389" y="124"/>
                  <a:pt x="389" y="124"/>
                  <a:pt x="389" y="124"/>
                </a:cubicBezTo>
                <a:cubicBezTo>
                  <a:pt x="389" y="123"/>
                  <a:pt x="389" y="123"/>
                  <a:pt x="389" y="123"/>
                </a:cubicBezTo>
                <a:cubicBezTo>
                  <a:pt x="388" y="123"/>
                  <a:pt x="388" y="123"/>
                  <a:pt x="388" y="123"/>
                </a:cubicBezTo>
                <a:cubicBezTo>
                  <a:pt x="388" y="123"/>
                  <a:pt x="388" y="123"/>
                  <a:pt x="388" y="123"/>
                </a:cubicBezTo>
                <a:cubicBezTo>
                  <a:pt x="388" y="122"/>
                  <a:pt x="388" y="122"/>
                  <a:pt x="388" y="122"/>
                </a:cubicBezTo>
                <a:cubicBezTo>
                  <a:pt x="388" y="121"/>
                  <a:pt x="388" y="121"/>
                  <a:pt x="388" y="121"/>
                </a:cubicBezTo>
                <a:cubicBezTo>
                  <a:pt x="389" y="121"/>
                  <a:pt x="389" y="121"/>
                  <a:pt x="389" y="121"/>
                </a:cubicBezTo>
                <a:cubicBezTo>
                  <a:pt x="389" y="120"/>
                  <a:pt x="389" y="120"/>
                  <a:pt x="389" y="120"/>
                </a:cubicBezTo>
                <a:cubicBezTo>
                  <a:pt x="389" y="119"/>
                  <a:pt x="389" y="119"/>
                  <a:pt x="389" y="119"/>
                </a:cubicBezTo>
                <a:cubicBezTo>
                  <a:pt x="389" y="117"/>
                  <a:pt x="389" y="117"/>
                  <a:pt x="389" y="117"/>
                </a:cubicBezTo>
                <a:cubicBezTo>
                  <a:pt x="388" y="117"/>
                  <a:pt x="388" y="117"/>
                  <a:pt x="388" y="117"/>
                </a:cubicBezTo>
                <a:cubicBezTo>
                  <a:pt x="388" y="118"/>
                  <a:pt x="388" y="118"/>
                  <a:pt x="388" y="118"/>
                </a:cubicBezTo>
                <a:cubicBezTo>
                  <a:pt x="389" y="119"/>
                  <a:pt x="389" y="119"/>
                  <a:pt x="389" y="119"/>
                </a:cubicBezTo>
                <a:cubicBezTo>
                  <a:pt x="389" y="120"/>
                  <a:pt x="389" y="120"/>
                  <a:pt x="389" y="120"/>
                </a:cubicBezTo>
                <a:cubicBezTo>
                  <a:pt x="388" y="120"/>
                  <a:pt x="388" y="120"/>
                  <a:pt x="388" y="120"/>
                </a:cubicBezTo>
                <a:cubicBezTo>
                  <a:pt x="387" y="120"/>
                  <a:pt x="387" y="120"/>
                  <a:pt x="387" y="120"/>
                </a:cubicBezTo>
                <a:cubicBezTo>
                  <a:pt x="387" y="121"/>
                  <a:pt x="387" y="121"/>
                  <a:pt x="387" y="121"/>
                </a:cubicBezTo>
                <a:cubicBezTo>
                  <a:pt x="387" y="121"/>
                  <a:pt x="387" y="121"/>
                  <a:pt x="387" y="121"/>
                </a:cubicBezTo>
                <a:cubicBezTo>
                  <a:pt x="387" y="122"/>
                  <a:pt x="387" y="122"/>
                  <a:pt x="387" y="122"/>
                </a:cubicBezTo>
                <a:cubicBezTo>
                  <a:pt x="387" y="122"/>
                  <a:pt x="387" y="122"/>
                  <a:pt x="387" y="122"/>
                </a:cubicBezTo>
                <a:cubicBezTo>
                  <a:pt x="386" y="122"/>
                  <a:pt x="386" y="122"/>
                  <a:pt x="386" y="122"/>
                </a:cubicBezTo>
                <a:cubicBezTo>
                  <a:pt x="385" y="121"/>
                  <a:pt x="385" y="121"/>
                  <a:pt x="385" y="121"/>
                </a:cubicBezTo>
                <a:cubicBezTo>
                  <a:pt x="385" y="120"/>
                  <a:pt x="385" y="120"/>
                  <a:pt x="385" y="120"/>
                </a:cubicBezTo>
                <a:cubicBezTo>
                  <a:pt x="385" y="119"/>
                  <a:pt x="385" y="119"/>
                  <a:pt x="385" y="119"/>
                </a:cubicBezTo>
                <a:cubicBezTo>
                  <a:pt x="386" y="118"/>
                  <a:pt x="386" y="118"/>
                  <a:pt x="386" y="118"/>
                </a:cubicBezTo>
                <a:cubicBezTo>
                  <a:pt x="385" y="117"/>
                  <a:pt x="385" y="117"/>
                  <a:pt x="385" y="117"/>
                </a:cubicBezTo>
                <a:cubicBezTo>
                  <a:pt x="385" y="117"/>
                  <a:pt x="385" y="117"/>
                  <a:pt x="385" y="117"/>
                </a:cubicBezTo>
                <a:cubicBezTo>
                  <a:pt x="385" y="117"/>
                  <a:pt x="385" y="117"/>
                  <a:pt x="385" y="117"/>
                </a:cubicBezTo>
                <a:cubicBezTo>
                  <a:pt x="385" y="118"/>
                  <a:pt x="385" y="118"/>
                  <a:pt x="385" y="118"/>
                </a:cubicBezTo>
                <a:cubicBezTo>
                  <a:pt x="384" y="119"/>
                  <a:pt x="384" y="119"/>
                  <a:pt x="384" y="119"/>
                </a:cubicBezTo>
                <a:cubicBezTo>
                  <a:pt x="384" y="120"/>
                  <a:pt x="384" y="120"/>
                  <a:pt x="384" y="120"/>
                </a:cubicBezTo>
                <a:cubicBezTo>
                  <a:pt x="384" y="121"/>
                  <a:pt x="384" y="121"/>
                  <a:pt x="384" y="121"/>
                </a:cubicBezTo>
                <a:cubicBezTo>
                  <a:pt x="383" y="121"/>
                  <a:pt x="383" y="121"/>
                  <a:pt x="383" y="121"/>
                </a:cubicBezTo>
                <a:cubicBezTo>
                  <a:pt x="382" y="120"/>
                  <a:pt x="382" y="120"/>
                  <a:pt x="382" y="120"/>
                </a:cubicBezTo>
                <a:cubicBezTo>
                  <a:pt x="381" y="120"/>
                  <a:pt x="381" y="120"/>
                  <a:pt x="381" y="120"/>
                </a:cubicBezTo>
                <a:cubicBezTo>
                  <a:pt x="381" y="119"/>
                  <a:pt x="381" y="119"/>
                  <a:pt x="381" y="119"/>
                </a:cubicBezTo>
                <a:cubicBezTo>
                  <a:pt x="381" y="118"/>
                  <a:pt x="381" y="118"/>
                  <a:pt x="381" y="118"/>
                </a:cubicBezTo>
                <a:cubicBezTo>
                  <a:pt x="382" y="117"/>
                  <a:pt x="382" y="117"/>
                  <a:pt x="382" y="117"/>
                </a:cubicBezTo>
                <a:cubicBezTo>
                  <a:pt x="382" y="116"/>
                  <a:pt x="382" y="116"/>
                  <a:pt x="382" y="116"/>
                </a:cubicBezTo>
                <a:cubicBezTo>
                  <a:pt x="382" y="115"/>
                  <a:pt x="382" y="115"/>
                  <a:pt x="382" y="115"/>
                </a:cubicBezTo>
                <a:cubicBezTo>
                  <a:pt x="383" y="113"/>
                  <a:pt x="383" y="113"/>
                  <a:pt x="383" y="113"/>
                </a:cubicBezTo>
                <a:cubicBezTo>
                  <a:pt x="382" y="113"/>
                  <a:pt x="382" y="113"/>
                  <a:pt x="382" y="113"/>
                </a:cubicBezTo>
                <a:cubicBezTo>
                  <a:pt x="382" y="114"/>
                  <a:pt x="382" y="114"/>
                  <a:pt x="382" y="114"/>
                </a:cubicBezTo>
                <a:cubicBezTo>
                  <a:pt x="381" y="116"/>
                  <a:pt x="381" y="116"/>
                  <a:pt x="381" y="116"/>
                </a:cubicBezTo>
                <a:cubicBezTo>
                  <a:pt x="381" y="118"/>
                  <a:pt x="381" y="118"/>
                  <a:pt x="381" y="118"/>
                </a:cubicBezTo>
                <a:cubicBezTo>
                  <a:pt x="380" y="119"/>
                  <a:pt x="380" y="119"/>
                  <a:pt x="380" y="119"/>
                </a:cubicBezTo>
                <a:cubicBezTo>
                  <a:pt x="380" y="119"/>
                  <a:pt x="380" y="119"/>
                  <a:pt x="380" y="119"/>
                </a:cubicBezTo>
                <a:cubicBezTo>
                  <a:pt x="380" y="117"/>
                  <a:pt x="380" y="117"/>
                  <a:pt x="380" y="117"/>
                </a:cubicBezTo>
                <a:cubicBezTo>
                  <a:pt x="380" y="117"/>
                  <a:pt x="380" y="117"/>
                  <a:pt x="380" y="117"/>
                </a:cubicBezTo>
                <a:cubicBezTo>
                  <a:pt x="380" y="117"/>
                  <a:pt x="380" y="117"/>
                  <a:pt x="380" y="117"/>
                </a:cubicBezTo>
                <a:cubicBezTo>
                  <a:pt x="379" y="119"/>
                  <a:pt x="379" y="119"/>
                  <a:pt x="379" y="119"/>
                </a:cubicBezTo>
                <a:cubicBezTo>
                  <a:pt x="378" y="119"/>
                  <a:pt x="378" y="119"/>
                  <a:pt x="378" y="119"/>
                </a:cubicBezTo>
                <a:cubicBezTo>
                  <a:pt x="378" y="118"/>
                  <a:pt x="378" y="118"/>
                  <a:pt x="378" y="118"/>
                </a:cubicBezTo>
                <a:cubicBezTo>
                  <a:pt x="378" y="116"/>
                  <a:pt x="378" y="116"/>
                  <a:pt x="378" y="116"/>
                </a:cubicBezTo>
                <a:cubicBezTo>
                  <a:pt x="377" y="116"/>
                  <a:pt x="377" y="116"/>
                  <a:pt x="377" y="116"/>
                </a:cubicBezTo>
                <a:cubicBezTo>
                  <a:pt x="377" y="115"/>
                  <a:pt x="377" y="115"/>
                  <a:pt x="377" y="115"/>
                </a:cubicBezTo>
                <a:cubicBezTo>
                  <a:pt x="379" y="114"/>
                  <a:pt x="379" y="114"/>
                  <a:pt x="379" y="114"/>
                </a:cubicBezTo>
                <a:cubicBezTo>
                  <a:pt x="379" y="113"/>
                  <a:pt x="379" y="113"/>
                  <a:pt x="379" y="113"/>
                </a:cubicBezTo>
                <a:cubicBezTo>
                  <a:pt x="379" y="112"/>
                  <a:pt x="379" y="112"/>
                  <a:pt x="379" y="112"/>
                </a:cubicBezTo>
                <a:cubicBezTo>
                  <a:pt x="379" y="111"/>
                  <a:pt x="379" y="111"/>
                  <a:pt x="379" y="111"/>
                </a:cubicBezTo>
                <a:cubicBezTo>
                  <a:pt x="380" y="111"/>
                  <a:pt x="380" y="111"/>
                  <a:pt x="380" y="111"/>
                </a:cubicBezTo>
                <a:cubicBezTo>
                  <a:pt x="381" y="110"/>
                  <a:pt x="381" y="110"/>
                  <a:pt x="381" y="110"/>
                </a:cubicBezTo>
                <a:cubicBezTo>
                  <a:pt x="382" y="110"/>
                  <a:pt x="382" y="110"/>
                  <a:pt x="382" y="110"/>
                </a:cubicBezTo>
                <a:cubicBezTo>
                  <a:pt x="384" y="110"/>
                  <a:pt x="384" y="110"/>
                  <a:pt x="384" y="110"/>
                </a:cubicBezTo>
                <a:cubicBezTo>
                  <a:pt x="384" y="109"/>
                  <a:pt x="384" y="109"/>
                  <a:pt x="384" y="109"/>
                </a:cubicBezTo>
                <a:cubicBezTo>
                  <a:pt x="385" y="108"/>
                  <a:pt x="385" y="108"/>
                  <a:pt x="385" y="108"/>
                </a:cubicBezTo>
                <a:cubicBezTo>
                  <a:pt x="386" y="108"/>
                  <a:pt x="386" y="108"/>
                  <a:pt x="386" y="108"/>
                </a:cubicBezTo>
                <a:cubicBezTo>
                  <a:pt x="386" y="107"/>
                  <a:pt x="386" y="107"/>
                  <a:pt x="386" y="107"/>
                </a:cubicBezTo>
                <a:cubicBezTo>
                  <a:pt x="387" y="107"/>
                  <a:pt x="387" y="107"/>
                  <a:pt x="387" y="107"/>
                </a:cubicBezTo>
                <a:cubicBezTo>
                  <a:pt x="388" y="107"/>
                  <a:pt x="388" y="107"/>
                  <a:pt x="388" y="107"/>
                </a:cubicBezTo>
                <a:cubicBezTo>
                  <a:pt x="389" y="108"/>
                  <a:pt x="389" y="108"/>
                  <a:pt x="389" y="108"/>
                </a:cubicBezTo>
                <a:cubicBezTo>
                  <a:pt x="391" y="108"/>
                  <a:pt x="391" y="108"/>
                  <a:pt x="391" y="108"/>
                </a:cubicBezTo>
                <a:cubicBezTo>
                  <a:pt x="392" y="107"/>
                  <a:pt x="392" y="107"/>
                  <a:pt x="392" y="107"/>
                </a:cubicBezTo>
                <a:cubicBezTo>
                  <a:pt x="393" y="107"/>
                  <a:pt x="393" y="107"/>
                  <a:pt x="393" y="107"/>
                </a:cubicBezTo>
                <a:cubicBezTo>
                  <a:pt x="394" y="109"/>
                  <a:pt x="394" y="109"/>
                  <a:pt x="394" y="109"/>
                </a:cubicBezTo>
                <a:cubicBezTo>
                  <a:pt x="395" y="109"/>
                  <a:pt x="395" y="109"/>
                  <a:pt x="395" y="109"/>
                </a:cubicBezTo>
                <a:cubicBezTo>
                  <a:pt x="395" y="108"/>
                  <a:pt x="395" y="108"/>
                  <a:pt x="395" y="108"/>
                </a:cubicBezTo>
                <a:cubicBezTo>
                  <a:pt x="395" y="108"/>
                  <a:pt x="395" y="108"/>
                  <a:pt x="395" y="108"/>
                </a:cubicBezTo>
                <a:cubicBezTo>
                  <a:pt x="397" y="109"/>
                  <a:pt x="397" y="109"/>
                  <a:pt x="397" y="109"/>
                </a:cubicBezTo>
                <a:cubicBezTo>
                  <a:pt x="397" y="108"/>
                  <a:pt x="397" y="108"/>
                  <a:pt x="397" y="108"/>
                </a:cubicBezTo>
                <a:cubicBezTo>
                  <a:pt x="398" y="109"/>
                  <a:pt x="398" y="109"/>
                  <a:pt x="398" y="109"/>
                </a:cubicBezTo>
                <a:cubicBezTo>
                  <a:pt x="399" y="108"/>
                  <a:pt x="399" y="108"/>
                  <a:pt x="399" y="108"/>
                </a:cubicBezTo>
                <a:cubicBezTo>
                  <a:pt x="398" y="108"/>
                  <a:pt x="398" y="108"/>
                  <a:pt x="398" y="108"/>
                </a:cubicBezTo>
                <a:cubicBezTo>
                  <a:pt x="397" y="108"/>
                  <a:pt x="397" y="108"/>
                  <a:pt x="397" y="108"/>
                </a:cubicBezTo>
                <a:cubicBezTo>
                  <a:pt x="397" y="107"/>
                  <a:pt x="397" y="107"/>
                  <a:pt x="397" y="107"/>
                </a:cubicBezTo>
                <a:cubicBezTo>
                  <a:pt x="396" y="107"/>
                  <a:pt x="396" y="107"/>
                  <a:pt x="396" y="107"/>
                </a:cubicBezTo>
                <a:cubicBezTo>
                  <a:pt x="396" y="107"/>
                  <a:pt x="396" y="107"/>
                  <a:pt x="396" y="107"/>
                </a:cubicBezTo>
                <a:cubicBezTo>
                  <a:pt x="397" y="106"/>
                  <a:pt x="397" y="106"/>
                  <a:pt x="397" y="106"/>
                </a:cubicBezTo>
                <a:cubicBezTo>
                  <a:pt x="397" y="105"/>
                  <a:pt x="397" y="105"/>
                  <a:pt x="397" y="105"/>
                </a:cubicBezTo>
                <a:cubicBezTo>
                  <a:pt x="396" y="105"/>
                  <a:pt x="396" y="105"/>
                  <a:pt x="396" y="105"/>
                </a:cubicBezTo>
                <a:cubicBezTo>
                  <a:pt x="396" y="105"/>
                  <a:pt x="396" y="105"/>
                  <a:pt x="396" y="105"/>
                </a:cubicBezTo>
                <a:cubicBezTo>
                  <a:pt x="397" y="105"/>
                  <a:pt x="397" y="105"/>
                  <a:pt x="397" y="105"/>
                </a:cubicBezTo>
                <a:cubicBezTo>
                  <a:pt x="398" y="104"/>
                  <a:pt x="398" y="104"/>
                  <a:pt x="398" y="104"/>
                </a:cubicBezTo>
                <a:cubicBezTo>
                  <a:pt x="396" y="104"/>
                  <a:pt x="396" y="104"/>
                  <a:pt x="396" y="104"/>
                </a:cubicBezTo>
                <a:cubicBezTo>
                  <a:pt x="396" y="104"/>
                  <a:pt x="396" y="104"/>
                  <a:pt x="396" y="104"/>
                </a:cubicBezTo>
                <a:cubicBezTo>
                  <a:pt x="395" y="104"/>
                  <a:pt x="395" y="104"/>
                  <a:pt x="395" y="104"/>
                </a:cubicBezTo>
                <a:cubicBezTo>
                  <a:pt x="395" y="103"/>
                  <a:pt x="395" y="103"/>
                  <a:pt x="395" y="103"/>
                </a:cubicBezTo>
                <a:cubicBezTo>
                  <a:pt x="395" y="103"/>
                  <a:pt x="395" y="103"/>
                  <a:pt x="395" y="103"/>
                </a:cubicBezTo>
                <a:cubicBezTo>
                  <a:pt x="396" y="102"/>
                  <a:pt x="396" y="102"/>
                  <a:pt x="396" y="102"/>
                </a:cubicBezTo>
                <a:cubicBezTo>
                  <a:pt x="396" y="101"/>
                  <a:pt x="396" y="101"/>
                  <a:pt x="396" y="101"/>
                </a:cubicBezTo>
                <a:cubicBezTo>
                  <a:pt x="395" y="101"/>
                  <a:pt x="395" y="101"/>
                  <a:pt x="395" y="101"/>
                </a:cubicBezTo>
                <a:cubicBezTo>
                  <a:pt x="395" y="100"/>
                  <a:pt x="395" y="100"/>
                  <a:pt x="395" y="100"/>
                </a:cubicBezTo>
                <a:cubicBezTo>
                  <a:pt x="395" y="98"/>
                  <a:pt x="395" y="98"/>
                  <a:pt x="395" y="98"/>
                </a:cubicBezTo>
                <a:cubicBezTo>
                  <a:pt x="395" y="97"/>
                  <a:pt x="395" y="97"/>
                  <a:pt x="395" y="97"/>
                </a:cubicBezTo>
                <a:cubicBezTo>
                  <a:pt x="395" y="96"/>
                  <a:pt x="395" y="96"/>
                  <a:pt x="395" y="96"/>
                </a:cubicBezTo>
                <a:cubicBezTo>
                  <a:pt x="395" y="95"/>
                  <a:pt x="395" y="95"/>
                  <a:pt x="395" y="95"/>
                </a:cubicBezTo>
                <a:cubicBezTo>
                  <a:pt x="396" y="95"/>
                  <a:pt x="396" y="95"/>
                  <a:pt x="396" y="95"/>
                </a:cubicBezTo>
                <a:cubicBezTo>
                  <a:pt x="397" y="95"/>
                  <a:pt x="397" y="95"/>
                  <a:pt x="397" y="95"/>
                </a:cubicBezTo>
                <a:cubicBezTo>
                  <a:pt x="399" y="95"/>
                  <a:pt x="399" y="95"/>
                  <a:pt x="399" y="95"/>
                </a:cubicBezTo>
                <a:cubicBezTo>
                  <a:pt x="399" y="95"/>
                  <a:pt x="399" y="95"/>
                  <a:pt x="399" y="95"/>
                </a:cubicBezTo>
                <a:cubicBezTo>
                  <a:pt x="401" y="95"/>
                  <a:pt x="401" y="95"/>
                  <a:pt x="401" y="95"/>
                </a:cubicBezTo>
                <a:cubicBezTo>
                  <a:pt x="402" y="95"/>
                  <a:pt x="402" y="95"/>
                  <a:pt x="402" y="95"/>
                </a:cubicBezTo>
                <a:cubicBezTo>
                  <a:pt x="403" y="97"/>
                  <a:pt x="403" y="97"/>
                  <a:pt x="403" y="97"/>
                </a:cubicBezTo>
                <a:cubicBezTo>
                  <a:pt x="404" y="99"/>
                  <a:pt x="404" y="99"/>
                  <a:pt x="404" y="99"/>
                </a:cubicBezTo>
                <a:cubicBezTo>
                  <a:pt x="404" y="103"/>
                  <a:pt x="404" y="103"/>
                  <a:pt x="404" y="103"/>
                </a:cubicBezTo>
                <a:cubicBezTo>
                  <a:pt x="403" y="104"/>
                  <a:pt x="403" y="104"/>
                  <a:pt x="403" y="104"/>
                </a:cubicBezTo>
                <a:cubicBezTo>
                  <a:pt x="404" y="105"/>
                  <a:pt x="404" y="105"/>
                  <a:pt x="404" y="105"/>
                </a:cubicBezTo>
                <a:cubicBezTo>
                  <a:pt x="404" y="105"/>
                  <a:pt x="404" y="105"/>
                  <a:pt x="404" y="105"/>
                </a:cubicBezTo>
                <a:cubicBezTo>
                  <a:pt x="407" y="106"/>
                  <a:pt x="407" y="106"/>
                  <a:pt x="407" y="106"/>
                </a:cubicBezTo>
                <a:cubicBezTo>
                  <a:pt x="407" y="107"/>
                  <a:pt x="407" y="107"/>
                  <a:pt x="407" y="107"/>
                </a:cubicBezTo>
                <a:cubicBezTo>
                  <a:pt x="408" y="107"/>
                  <a:pt x="408" y="107"/>
                  <a:pt x="408" y="107"/>
                </a:cubicBezTo>
                <a:cubicBezTo>
                  <a:pt x="408" y="107"/>
                  <a:pt x="408" y="107"/>
                  <a:pt x="408" y="107"/>
                </a:cubicBezTo>
                <a:cubicBezTo>
                  <a:pt x="411" y="107"/>
                  <a:pt x="411" y="107"/>
                  <a:pt x="411" y="107"/>
                </a:cubicBezTo>
                <a:cubicBezTo>
                  <a:pt x="412" y="108"/>
                  <a:pt x="412" y="108"/>
                  <a:pt x="412" y="108"/>
                </a:cubicBezTo>
                <a:cubicBezTo>
                  <a:pt x="413" y="108"/>
                  <a:pt x="413" y="108"/>
                  <a:pt x="413" y="108"/>
                </a:cubicBezTo>
                <a:cubicBezTo>
                  <a:pt x="412" y="107"/>
                  <a:pt x="412" y="107"/>
                  <a:pt x="412" y="107"/>
                </a:cubicBezTo>
                <a:cubicBezTo>
                  <a:pt x="413" y="106"/>
                  <a:pt x="413" y="106"/>
                  <a:pt x="413" y="106"/>
                </a:cubicBezTo>
                <a:cubicBezTo>
                  <a:pt x="415" y="105"/>
                  <a:pt x="415" y="105"/>
                  <a:pt x="415" y="105"/>
                </a:cubicBezTo>
                <a:cubicBezTo>
                  <a:pt x="416" y="103"/>
                  <a:pt x="416" y="103"/>
                  <a:pt x="416" y="103"/>
                </a:cubicBezTo>
                <a:cubicBezTo>
                  <a:pt x="419" y="102"/>
                  <a:pt x="419" y="102"/>
                  <a:pt x="419" y="102"/>
                </a:cubicBezTo>
                <a:cubicBezTo>
                  <a:pt x="421" y="100"/>
                  <a:pt x="421" y="100"/>
                  <a:pt x="421" y="100"/>
                </a:cubicBezTo>
                <a:cubicBezTo>
                  <a:pt x="421" y="99"/>
                  <a:pt x="421" y="99"/>
                  <a:pt x="421" y="99"/>
                </a:cubicBezTo>
                <a:cubicBezTo>
                  <a:pt x="422" y="98"/>
                  <a:pt x="422" y="98"/>
                  <a:pt x="422" y="98"/>
                </a:cubicBezTo>
                <a:cubicBezTo>
                  <a:pt x="421" y="98"/>
                  <a:pt x="421" y="98"/>
                  <a:pt x="421" y="98"/>
                </a:cubicBezTo>
                <a:cubicBezTo>
                  <a:pt x="420" y="99"/>
                  <a:pt x="420" y="99"/>
                  <a:pt x="420" y="99"/>
                </a:cubicBezTo>
                <a:cubicBezTo>
                  <a:pt x="420" y="100"/>
                  <a:pt x="420" y="100"/>
                  <a:pt x="420" y="100"/>
                </a:cubicBezTo>
                <a:cubicBezTo>
                  <a:pt x="418" y="102"/>
                  <a:pt x="418" y="102"/>
                  <a:pt x="418" y="102"/>
                </a:cubicBezTo>
                <a:cubicBezTo>
                  <a:pt x="417" y="103"/>
                  <a:pt x="417" y="103"/>
                  <a:pt x="417" y="103"/>
                </a:cubicBezTo>
                <a:cubicBezTo>
                  <a:pt x="417" y="103"/>
                  <a:pt x="417" y="103"/>
                  <a:pt x="417" y="103"/>
                </a:cubicBezTo>
                <a:cubicBezTo>
                  <a:pt x="415" y="105"/>
                  <a:pt x="415" y="105"/>
                  <a:pt x="415" y="105"/>
                </a:cubicBezTo>
                <a:cubicBezTo>
                  <a:pt x="413" y="105"/>
                  <a:pt x="413" y="105"/>
                  <a:pt x="413" y="105"/>
                </a:cubicBezTo>
                <a:cubicBezTo>
                  <a:pt x="412" y="105"/>
                  <a:pt x="412" y="105"/>
                  <a:pt x="412" y="105"/>
                </a:cubicBezTo>
                <a:cubicBezTo>
                  <a:pt x="411" y="105"/>
                  <a:pt x="411" y="105"/>
                  <a:pt x="411" y="105"/>
                </a:cubicBezTo>
                <a:cubicBezTo>
                  <a:pt x="411" y="105"/>
                  <a:pt x="411" y="105"/>
                  <a:pt x="411" y="105"/>
                </a:cubicBezTo>
                <a:cubicBezTo>
                  <a:pt x="410" y="105"/>
                  <a:pt x="410" y="105"/>
                  <a:pt x="410" y="105"/>
                </a:cubicBezTo>
                <a:cubicBezTo>
                  <a:pt x="408" y="104"/>
                  <a:pt x="408" y="104"/>
                  <a:pt x="408" y="104"/>
                </a:cubicBezTo>
                <a:cubicBezTo>
                  <a:pt x="408" y="103"/>
                  <a:pt x="408" y="103"/>
                  <a:pt x="408" y="103"/>
                </a:cubicBezTo>
                <a:cubicBezTo>
                  <a:pt x="409" y="103"/>
                  <a:pt x="409" y="103"/>
                  <a:pt x="409" y="103"/>
                </a:cubicBezTo>
                <a:cubicBezTo>
                  <a:pt x="410" y="102"/>
                  <a:pt x="410" y="102"/>
                  <a:pt x="410" y="102"/>
                </a:cubicBezTo>
                <a:cubicBezTo>
                  <a:pt x="410" y="101"/>
                  <a:pt x="410" y="101"/>
                  <a:pt x="410" y="101"/>
                </a:cubicBezTo>
                <a:cubicBezTo>
                  <a:pt x="409" y="102"/>
                  <a:pt x="409" y="102"/>
                  <a:pt x="409" y="102"/>
                </a:cubicBezTo>
                <a:cubicBezTo>
                  <a:pt x="408" y="103"/>
                  <a:pt x="408" y="103"/>
                  <a:pt x="408" y="103"/>
                </a:cubicBezTo>
                <a:cubicBezTo>
                  <a:pt x="407" y="102"/>
                  <a:pt x="407" y="102"/>
                  <a:pt x="407" y="102"/>
                </a:cubicBezTo>
                <a:cubicBezTo>
                  <a:pt x="407" y="101"/>
                  <a:pt x="407" y="101"/>
                  <a:pt x="407" y="101"/>
                </a:cubicBezTo>
                <a:cubicBezTo>
                  <a:pt x="407" y="100"/>
                  <a:pt x="407" y="100"/>
                  <a:pt x="407" y="100"/>
                </a:cubicBezTo>
                <a:cubicBezTo>
                  <a:pt x="407" y="100"/>
                  <a:pt x="407" y="100"/>
                  <a:pt x="407" y="100"/>
                </a:cubicBezTo>
                <a:cubicBezTo>
                  <a:pt x="409" y="100"/>
                  <a:pt x="409" y="100"/>
                  <a:pt x="409" y="100"/>
                </a:cubicBezTo>
                <a:cubicBezTo>
                  <a:pt x="409" y="99"/>
                  <a:pt x="409" y="99"/>
                  <a:pt x="409" y="99"/>
                </a:cubicBezTo>
                <a:cubicBezTo>
                  <a:pt x="408" y="99"/>
                  <a:pt x="408" y="99"/>
                  <a:pt x="408" y="99"/>
                </a:cubicBezTo>
                <a:cubicBezTo>
                  <a:pt x="408" y="99"/>
                  <a:pt x="408" y="99"/>
                  <a:pt x="408" y="99"/>
                </a:cubicBezTo>
                <a:cubicBezTo>
                  <a:pt x="408" y="98"/>
                  <a:pt x="408" y="98"/>
                  <a:pt x="408" y="98"/>
                </a:cubicBezTo>
                <a:cubicBezTo>
                  <a:pt x="409" y="99"/>
                  <a:pt x="409" y="99"/>
                  <a:pt x="409" y="99"/>
                </a:cubicBezTo>
                <a:cubicBezTo>
                  <a:pt x="410" y="99"/>
                  <a:pt x="410" y="99"/>
                  <a:pt x="410" y="99"/>
                </a:cubicBezTo>
                <a:cubicBezTo>
                  <a:pt x="410" y="98"/>
                  <a:pt x="410" y="98"/>
                  <a:pt x="410" y="98"/>
                </a:cubicBezTo>
                <a:cubicBezTo>
                  <a:pt x="409" y="98"/>
                  <a:pt x="409" y="98"/>
                  <a:pt x="409" y="98"/>
                </a:cubicBezTo>
                <a:cubicBezTo>
                  <a:pt x="408" y="97"/>
                  <a:pt x="408" y="97"/>
                  <a:pt x="408" y="97"/>
                </a:cubicBezTo>
                <a:cubicBezTo>
                  <a:pt x="408" y="98"/>
                  <a:pt x="408" y="98"/>
                  <a:pt x="408" y="98"/>
                </a:cubicBezTo>
                <a:cubicBezTo>
                  <a:pt x="407" y="98"/>
                  <a:pt x="407" y="98"/>
                  <a:pt x="407" y="98"/>
                </a:cubicBezTo>
                <a:cubicBezTo>
                  <a:pt x="406" y="97"/>
                  <a:pt x="406" y="97"/>
                  <a:pt x="406" y="97"/>
                </a:cubicBezTo>
                <a:cubicBezTo>
                  <a:pt x="407" y="96"/>
                  <a:pt x="407" y="96"/>
                  <a:pt x="407" y="96"/>
                </a:cubicBezTo>
                <a:cubicBezTo>
                  <a:pt x="408" y="96"/>
                  <a:pt x="408" y="96"/>
                  <a:pt x="408" y="96"/>
                </a:cubicBezTo>
                <a:cubicBezTo>
                  <a:pt x="409" y="95"/>
                  <a:pt x="409" y="95"/>
                  <a:pt x="409" y="95"/>
                </a:cubicBezTo>
                <a:cubicBezTo>
                  <a:pt x="410" y="96"/>
                  <a:pt x="410" y="96"/>
                  <a:pt x="410" y="96"/>
                </a:cubicBezTo>
                <a:cubicBezTo>
                  <a:pt x="411" y="96"/>
                  <a:pt x="411" y="96"/>
                  <a:pt x="411" y="96"/>
                </a:cubicBezTo>
                <a:cubicBezTo>
                  <a:pt x="412" y="95"/>
                  <a:pt x="412" y="95"/>
                  <a:pt x="412" y="95"/>
                </a:cubicBezTo>
                <a:cubicBezTo>
                  <a:pt x="411" y="95"/>
                  <a:pt x="411" y="95"/>
                  <a:pt x="411" y="95"/>
                </a:cubicBezTo>
                <a:cubicBezTo>
                  <a:pt x="411" y="95"/>
                  <a:pt x="411" y="95"/>
                  <a:pt x="411" y="95"/>
                </a:cubicBezTo>
                <a:cubicBezTo>
                  <a:pt x="412" y="94"/>
                  <a:pt x="412" y="94"/>
                  <a:pt x="412" y="94"/>
                </a:cubicBezTo>
                <a:cubicBezTo>
                  <a:pt x="413" y="94"/>
                  <a:pt x="413" y="94"/>
                  <a:pt x="413" y="94"/>
                </a:cubicBezTo>
                <a:cubicBezTo>
                  <a:pt x="413" y="93"/>
                  <a:pt x="413" y="93"/>
                  <a:pt x="413" y="93"/>
                </a:cubicBezTo>
                <a:cubicBezTo>
                  <a:pt x="412" y="93"/>
                  <a:pt x="412" y="93"/>
                  <a:pt x="412" y="93"/>
                </a:cubicBezTo>
                <a:cubicBezTo>
                  <a:pt x="412" y="92"/>
                  <a:pt x="412" y="92"/>
                  <a:pt x="412" y="92"/>
                </a:cubicBezTo>
                <a:cubicBezTo>
                  <a:pt x="413" y="91"/>
                  <a:pt x="413" y="91"/>
                  <a:pt x="413" y="91"/>
                </a:cubicBezTo>
                <a:cubicBezTo>
                  <a:pt x="414" y="91"/>
                  <a:pt x="414" y="91"/>
                  <a:pt x="414" y="91"/>
                </a:cubicBezTo>
                <a:cubicBezTo>
                  <a:pt x="413" y="90"/>
                  <a:pt x="413" y="90"/>
                  <a:pt x="413" y="90"/>
                </a:cubicBezTo>
                <a:cubicBezTo>
                  <a:pt x="415" y="88"/>
                  <a:pt x="415" y="88"/>
                  <a:pt x="415" y="88"/>
                </a:cubicBezTo>
                <a:cubicBezTo>
                  <a:pt x="416" y="87"/>
                  <a:pt x="416" y="87"/>
                  <a:pt x="416" y="87"/>
                </a:cubicBezTo>
                <a:cubicBezTo>
                  <a:pt x="416" y="86"/>
                  <a:pt x="416" y="86"/>
                  <a:pt x="416" y="86"/>
                </a:cubicBezTo>
                <a:cubicBezTo>
                  <a:pt x="415" y="87"/>
                  <a:pt x="415" y="87"/>
                  <a:pt x="415" y="87"/>
                </a:cubicBezTo>
                <a:cubicBezTo>
                  <a:pt x="413" y="89"/>
                  <a:pt x="413" y="89"/>
                  <a:pt x="413" y="89"/>
                </a:cubicBezTo>
                <a:cubicBezTo>
                  <a:pt x="412" y="91"/>
                  <a:pt x="412" y="91"/>
                  <a:pt x="412" y="91"/>
                </a:cubicBezTo>
                <a:cubicBezTo>
                  <a:pt x="410" y="93"/>
                  <a:pt x="410" y="93"/>
                  <a:pt x="410" y="93"/>
                </a:cubicBezTo>
                <a:cubicBezTo>
                  <a:pt x="409" y="94"/>
                  <a:pt x="409" y="94"/>
                  <a:pt x="409" y="94"/>
                </a:cubicBezTo>
                <a:cubicBezTo>
                  <a:pt x="408" y="94"/>
                  <a:pt x="408" y="94"/>
                  <a:pt x="408" y="94"/>
                </a:cubicBezTo>
                <a:cubicBezTo>
                  <a:pt x="406" y="94"/>
                  <a:pt x="406" y="94"/>
                  <a:pt x="406" y="94"/>
                </a:cubicBezTo>
                <a:cubicBezTo>
                  <a:pt x="406" y="93"/>
                  <a:pt x="406" y="93"/>
                  <a:pt x="406" y="93"/>
                </a:cubicBezTo>
                <a:cubicBezTo>
                  <a:pt x="407" y="92"/>
                  <a:pt x="407" y="92"/>
                  <a:pt x="407" y="92"/>
                </a:cubicBezTo>
                <a:cubicBezTo>
                  <a:pt x="408" y="91"/>
                  <a:pt x="408" y="91"/>
                  <a:pt x="408" y="91"/>
                </a:cubicBezTo>
                <a:cubicBezTo>
                  <a:pt x="408" y="90"/>
                  <a:pt x="408" y="90"/>
                  <a:pt x="408" y="90"/>
                </a:cubicBezTo>
                <a:cubicBezTo>
                  <a:pt x="406" y="91"/>
                  <a:pt x="406" y="91"/>
                  <a:pt x="406" y="91"/>
                </a:cubicBezTo>
                <a:cubicBezTo>
                  <a:pt x="405" y="91"/>
                  <a:pt x="405" y="91"/>
                  <a:pt x="405" y="91"/>
                </a:cubicBezTo>
                <a:cubicBezTo>
                  <a:pt x="405" y="92"/>
                  <a:pt x="405" y="92"/>
                  <a:pt x="405" y="92"/>
                </a:cubicBezTo>
                <a:cubicBezTo>
                  <a:pt x="404" y="93"/>
                  <a:pt x="404" y="93"/>
                  <a:pt x="404" y="93"/>
                </a:cubicBezTo>
                <a:cubicBezTo>
                  <a:pt x="402" y="93"/>
                  <a:pt x="402" y="93"/>
                  <a:pt x="402" y="93"/>
                </a:cubicBezTo>
                <a:cubicBezTo>
                  <a:pt x="400" y="91"/>
                  <a:pt x="400" y="91"/>
                  <a:pt x="400" y="91"/>
                </a:cubicBezTo>
                <a:cubicBezTo>
                  <a:pt x="401" y="91"/>
                  <a:pt x="401" y="91"/>
                  <a:pt x="401" y="91"/>
                </a:cubicBezTo>
                <a:cubicBezTo>
                  <a:pt x="402" y="90"/>
                  <a:pt x="402" y="90"/>
                  <a:pt x="402" y="90"/>
                </a:cubicBezTo>
                <a:cubicBezTo>
                  <a:pt x="402" y="90"/>
                  <a:pt x="402" y="90"/>
                  <a:pt x="402" y="90"/>
                </a:cubicBezTo>
                <a:cubicBezTo>
                  <a:pt x="401" y="90"/>
                  <a:pt x="401" y="90"/>
                  <a:pt x="401" y="90"/>
                </a:cubicBezTo>
                <a:cubicBezTo>
                  <a:pt x="401" y="88"/>
                  <a:pt x="401" y="88"/>
                  <a:pt x="401" y="88"/>
                </a:cubicBezTo>
                <a:cubicBezTo>
                  <a:pt x="403" y="87"/>
                  <a:pt x="403" y="87"/>
                  <a:pt x="403" y="87"/>
                </a:cubicBezTo>
                <a:cubicBezTo>
                  <a:pt x="403" y="86"/>
                  <a:pt x="403" y="86"/>
                  <a:pt x="403" y="86"/>
                </a:cubicBezTo>
                <a:cubicBezTo>
                  <a:pt x="404" y="86"/>
                  <a:pt x="404" y="86"/>
                  <a:pt x="404" y="86"/>
                </a:cubicBezTo>
                <a:cubicBezTo>
                  <a:pt x="406" y="85"/>
                  <a:pt x="406" y="85"/>
                  <a:pt x="406" y="85"/>
                </a:cubicBezTo>
                <a:cubicBezTo>
                  <a:pt x="407" y="85"/>
                  <a:pt x="407" y="85"/>
                  <a:pt x="407" y="85"/>
                </a:cubicBezTo>
                <a:cubicBezTo>
                  <a:pt x="407" y="83"/>
                  <a:pt x="407" y="83"/>
                  <a:pt x="407" y="83"/>
                </a:cubicBezTo>
                <a:cubicBezTo>
                  <a:pt x="408" y="82"/>
                  <a:pt x="408" y="82"/>
                  <a:pt x="408" y="82"/>
                </a:cubicBezTo>
                <a:cubicBezTo>
                  <a:pt x="409" y="80"/>
                  <a:pt x="409" y="80"/>
                  <a:pt x="409" y="80"/>
                </a:cubicBezTo>
                <a:cubicBezTo>
                  <a:pt x="410" y="80"/>
                  <a:pt x="410" y="80"/>
                  <a:pt x="410" y="80"/>
                </a:cubicBezTo>
                <a:cubicBezTo>
                  <a:pt x="413" y="79"/>
                  <a:pt x="413" y="79"/>
                  <a:pt x="413" y="79"/>
                </a:cubicBezTo>
                <a:cubicBezTo>
                  <a:pt x="415" y="80"/>
                  <a:pt x="415" y="80"/>
                  <a:pt x="415" y="80"/>
                </a:cubicBezTo>
                <a:cubicBezTo>
                  <a:pt x="416" y="79"/>
                  <a:pt x="416" y="79"/>
                  <a:pt x="416" y="79"/>
                </a:cubicBezTo>
                <a:cubicBezTo>
                  <a:pt x="417" y="79"/>
                  <a:pt x="417" y="79"/>
                  <a:pt x="417" y="79"/>
                </a:cubicBezTo>
                <a:cubicBezTo>
                  <a:pt x="418" y="78"/>
                  <a:pt x="418" y="78"/>
                  <a:pt x="418" y="78"/>
                </a:cubicBezTo>
                <a:cubicBezTo>
                  <a:pt x="419" y="78"/>
                  <a:pt x="419" y="78"/>
                  <a:pt x="419" y="78"/>
                </a:cubicBezTo>
                <a:cubicBezTo>
                  <a:pt x="419" y="79"/>
                  <a:pt x="419" y="79"/>
                  <a:pt x="419" y="79"/>
                </a:cubicBezTo>
                <a:cubicBezTo>
                  <a:pt x="421" y="80"/>
                  <a:pt x="421" y="80"/>
                  <a:pt x="421" y="80"/>
                </a:cubicBezTo>
                <a:cubicBezTo>
                  <a:pt x="421" y="80"/>
                  <a:pt x="421" y="80"/>
                  <a:pt x="421" y="80"/>
                </a:cubicBezTo>
                <a:cubicBezTo>
                  <a:pt x="424" y="82"/>
                  <a:pt x="424" y="82"/>
                  <a:pt x="424" y="82"/>
                </a:cubicBezTo>
                <a:cubicBezTo>
                  <a:pt x="425" y="83"/>
                  <a:pt x="425" y="83"/>
                  <a:pt x="425" y="83"/>
                </a:cubicBezTo>
                <a:cubicBezTo>
                  <a:pt x="425" y="84"/>
                  <a:pt x="425" y="84"/>
                  <a:pt x="425" y="84"/>
                </a:cubicBezTo>
                <a:cubicBezTo>
                  <a:pt x="426" y="84"/>
                  <a:pt x="426" y="84"/>
                  <a:pt x="426" y="84"/>
                </a:cubicBezTo>
                <a:cubicBezTo>
                  <a:pt x="428" y="87"/>
                  <a:pt x="428" y="87"/>
                  <a:pt x="428" y="87"/>
                </a:cubicBezTo>
                <a:cubicBezTo>
                  <a:pt x="428" y="85"/>
                  <a:pt x="428" y="85"/>
                  <a:pt x="428" y="85"/>
                </a:cubicBezTo>
                <a:cubicBezTo>
                  <a:pt x="429" y="85"/>
                  <a:pt x="429" y="85"/>
                  <a:pt x="429" y="85"/>
                </a:cubicBezTo>
                <a:cubicBezTo>
                  <a:pt x="429" y="84"/>
                  <a:pt x="429" y="84"/>
                  <a:pt x="429" y="84"/>
                </a:cubicBezTo>
                <a:cubicBezTo>
                  <a:pt x="427" y="84"/>
                  <a:pt x="427" y="84"/>
                  <a:pt x="427" y="84"/>
                </a:cubicBezTo>
                <a:cubicBezTo>
                  <a:pt x="427" y="84"/>
                  <a:pt x="427" y="84"/>
                  <a:pt x="427" y="84"/>
                </a:cubicBezTo>
                <a:cubicBezTo>
                  <a:pt x="427" y="83"/>
                  <a:pt x="427" y="83"/>
                  <a:pt x="427" y="83"/>
                </a:cubicBezTo>
                <a:cubicBezTo>
                  <a:pt x="428" y="82"/>
                  <a:pt x="428" y="82"/>
                  <a:pt x="428" y="82"/>
                </a:cubicBezTo>
                <a:cubicBezTo>
                  <a:pt x="430" y="82"/>
                  <a:pt x="430" y="82"/>
                  <a:pt x="430" y="82"/>
                </a:cubicBezTo>
                <a:cubicBezTo>
                  <a:pt x="432" y="83"/>
                  <a:pt x="432" y="83"/>
                  <a:pt x="432" y="83"/>
                </a:cubicBezTo>
                <a:cubicBezTo>
                  <a:pt x="432" y="82"/>
                  <a:pt x="432" y="82"/>
                  <a:pt x="432" y="82"/>
                </a:cubicBezTo>
                <a:cubicBezTo>
                  <a:pt x="432" y="81"/>
                  <a:pt x="432" y="81"/>
                  <a:pt x="432" y="81"/>
                </a:cubicBezTo>
                <a:cubicBezTo>
                  <a:pt x="433" y="80"/>
                  <a:pt x="433" y="80"/>
                  <a:pt x="433" y="80"/>
                </a:cubicBezTo>
                <a:cubicBezTo>
                  <a:pt x="433" y="79"/>
                  <a:pt x="433" y="79"/>
                  <a:pt x="433" y="79"/>
                </a:cubicBezTo>
                <a:cubicBezTo>
                  <a:pt x="432" y="79"/>
                  <a:pt x="432" y="79"/>
                  <a:pt x="432" y="79"/>
                </a:cubicBezTo>
                <a:cubicBezTo>
                  <a:pt x="432" y="80"/>
                  <a:pt x="432" y="80"/>
                  <a:pt x="432" y="80"/>
                </a:cubicBezTo>
                <a:cubicBezTo>
                  <a:pt x="430" y="81"/>
                  <a:pt x="430" y="81"/>
                  <a:pt x="430" y="81"/>
                </a:cubicBezTo>
                <a:cubicBezTo>
                  <a:pt x="430" y="82"/>
                  <a:pt x="430" y="82"/>
                  <a:pt x="430" y="82"/>
                </a:cubicBezTo>
                <a:cubicBezTo>
                  <a:pt x="427" y="81"/>
                  <a:pt x="427" y="81"/>
                  <a:pt x="427" y="81"/>
                </a:cubicBezTo>
                <a:cubicBezTo>
                  <a:pt x="425" y="81"/>
                  <a:pt x="425" y="81"/>
                  <a:pt x="425" y="81"/>
                </a:cubicBezTo>
                <a:cubicBezTo>
                  <a:pt x="425" y="80"/>
                  <a:pt x="425" y="80"/>
                  <a:pt x="425" y="80"/>
                </a:cubicBezTo>
                <a:cubicBezTo>
                  <a:pt x="424" y="80"/>
                  <a:pt x="424" y="80"/>
                  <a:pt x="424" y="80"/>
                </a:cubicBezTo>
                <a:cubicBezTo>
                  <a:pt x="422" y="80"/>
                  <a:pt x="422" y="80"/>
                  <a:pt x="422" y="80"/>
                </a:cubicBezTo>
                <a:cubicBezTo>
                  <a:pt x="420" y="77"/>
                  <a:pt x="420" y="77"/>
                  <a:pt x="420" y="77"/>
                </a:cubicBezTo>
                <a:cubicBezTo>
                  <a:pt x="420" y="75"/>
                  <a:pt x="420" y="75"/>
                  <a:pt x="420" y="75"/>
                </a:cubicBezTo>
                <a:cubicBezTo>
                  <a:pt x="421" y="74"/>
                  <a:pt x="421" y="74"/>
                  <a:pt x="421" y="74"/>
                </a:cubicBezTo>
                <a:cubicBezTo>
                  <a:pt x="422" y="75"/>
                  <a:pt x="422" y="75"/>
                  <a:pt x="422" y="75"/>
                </a:cubicBezTo>
                <a:cubicBezTo>
                  <a:pt x="422" y="76"/>
                  <a:pt x="422" y="76"/>
                  <a:pt x="422" y="76"/>
                </a:cubicBezTo>
                <a:cubicBezTo>
                  <a:pt x="423" y="77"/>
                  <a:pt x="423" y="77"/>
                  <a:pt x="423" y="77"/>
                </a:cubicBezTo>
                <a:cubicBezTo>
                  <a:pt x="424" y="75"/>
                  <a:pt x="424" y="75"/>
                  <a:pt x="424" y="75"/>
                </a:cubicBezTo>
                <a:cubicBezTo>
                  <a:pt x="424" y="74"/>
                  <a:pt x="424" y="74"/>
                  <a:pt x="424" y="74"/>
                </a:cubicBezTo>
                <a:cubicBezTo>
                  <a:pt x="423" y="74"/>
                  <a:pt x="423" y="74"/>
                  <a:pt x="423" y="74"/>
                </a:cubicBezTo>
                <a:cubicBezTo>
                  <a:pt x="423" y="74"/>
                  <a:pt x="423" y="74"/>
                  <a:pt x="423" y="74"/>
                </a:cubicBezTo>
                <a:cubicBezTo>
                  <a:pt x="423" y="72"/>
                  <a:pt x="423" y="72"/>
                  <a:pt x="423" y="72"/>
                </a:cubicBezTo>
                <a:cubicBezTo>
                  <a:pt x="424" y="70"/>
                  <a:pt x="424" y="70"/>
                  <a:pt x="424" y="70"/>
                </a:cubicBezTo>
                <a:cubicBezTo>
                  <a:pt x="424" y="69"/>
                  <a:pt x="424" y="69"/>
                  <a:pt x="424" y="69"/>
                </a:cubicBezTo>
                <a:cubicBezTo>
                  <a:pt x="425" y="67"/>
                  <a:pt x="425" y="67"/>
                  <a:pt x="425" y="67"/>
                </a:cubicBezTo>
                <a:cubicBezTo>
                  <a:pt x="424" y="63"/>
                  <a:pt x="424" y="63"/>
                  <a:pt x="424" y="63"/>
                </a:cubicBezTo>
                <a:cubicBezTo>
                  <a:pt x="424" y="62"/>
                  <a:pt x="424" y="62"/>
                  <a:pt x="424" y="62"/>
                </a:cubicBezTo>
                <a:cubicBezTo>
                  <a:pt x="423" y="61"/>
                  <a:pt x="423" y="61"/>
                  <a:pt x="423" y="61"/>
                </a:cubicBezTo>
                <a:cubicBezTo>
                  <a:pt x="423" y="60"/>
                  <a:pt x="423" y="60"/>
                  <a:pt x="423" y="60"/>
                </a:cubicBezTo>
                <a:cubicBezTo>
                  <a:pt x="423" y="59"/>
                  <a:pt x="423" y="59"/>
                  <a:pt x="423" y="59"/>
                </a:cubicBezTo>
                <a:cubicBezTo>
                  <a:pt x="424" y="59"/>
                  <a:pt x="424" y="59"/>
                  <a:pt x="424" y="59"/>
                </a:cubicBezTo>
                <a:cubicBezTo>
                  <a:pt x="424" y="58"/>
                  <a:pt x="424" y="58"/>
                  <a:pt x="424" y="58"/>
                </a:cubicBezTo>
                <a:cubicBezTo>
                  <a:pt x="425" y="59"/>
                  <a:pt x="425" y="59"/>
                  <a:pt x="425" y="59"/>
                </a:cubicBezTo>
                <a:cubicBezTo>
                  <a:pt x="426" y="59"/>
                  <a:pt x="426" y="59"/>
                  <a:pt x="426" y="59"/>
                </a:cubicBezTo>
                <a:cubicBezTo>
                  <a:pt x="427" y="61"/>
                  <a:pt x="427" y="61"/>
                  <a:pt x="427" y="61"/>
                </a:cubicBezTo>
                <a:cubicBezTo>
                  <a:pt x="427" y="60"/>
                  <a:pt x="427" y="60"/>
                  <a:pt x="427" y="60"/>
                </a:cubicBezTo>
                <a:cubicBezTo>
                  <a:pt x="427" y="59"/>
                  <a:pt x="427" y="59"/>
                  <a:pt x="427" y="59"/>
                </a:cubicBezTo>
                <a:cubicBezTo>
                  <a:pt x="426" y="58"/>
                  <a:pt x="426" y="58"/>
                  <a:pt x="426" y="58"/>
                </a:cubicBezTo>
                <a:cubicBezTo>
                  <a:pt x="425" y="58"/>
                  <a:pt x="425" y="58"/>
                  <a:pt x="425" y="58"/>
                </a:cubicBezTo>
                <a:cubicBezTo>
                  <a:pt x="424" y="57"/>
                  <a:pt x="424" y="57"/>
                  <a:pt x="424" y="57"/>
                </a:cubicBezTo>
                <a:cubicBezTo>
                  <a:pt x="424" y="56"/>
                  <a:pt x="424" y="56"/>
                  <a:pt x="424" y="56"/>
                </a:cubicBezTo>
                <a:cubicBezTo>
                  <a:pt x="425" y="54"/>
                  <a:pt x="425" y="54"/>
                  <a:pt x="425" y="54"/>
                </a:cubicBezTo>
                <a:cubicBezTo>
                  <a:pt x="429" y="50"/>
                  <a:pt x="429" y="50"/>
                  <a:pt x="429" y="50"/>
                </a:cubicBezTo>
                <a:cubicBezTo>
                  <a:pt x="430" y="50"/>
                  <a:pt x="430" y="50"/>
                  <a:pt x="430" y="50"/>
                </a:cubicBezTo>
                <a:cubicBezTo>
                  <a:pt x="431" y="50"/>
                  <a:pt x="431" y="50"/>
                  <a:pt x="431" y="50"/>
                </a:cubicBezTo>
                <a:cubicBezTo>
                  <a:pt x="432" y="51"/>
                  <a:pt x="432" y="51"/>
                  <a:pt x="432" y="51"/>
                </a:cubicBezTo>
                <a:cubicBezTo>
                  <a:pt x="433" y="53"/>
                  <a:pt x="433" y="53"/>
                  <a:pt x="433" y="53"/>
                </a:cubicBezTo>
                <a:cubicBezTo>
                  <a:pt x="434" y="53"/>
                  <a:pt x="434" y="53"/>
                  <a:pt x="434" y="53"/>
                </a:cubicBezTo>
                <a:cubicBezTo>
                  <a:pt x="437" y="54"/>
                  <a:pt x="437" y="54"/>
                  <a:pt x="437" y="54"/>
                </a:cubicBezTo>
                <a:cubicBezTo>
                  <a:pt x="437" y="56"/>
                  <a:pt x="437" y="56"/>
                  <a:pt x="437" y="56"/>
                </a:cubicBezTo>
                <a:cubicBezTo>
                  <a:pt x="439" y="57"/>
                  <a:pt x="439" y="57"/>
                  <a:pt x="439" y="57"/>
                </a:cubicBezTo>
                <a:cubicBezTo>
                  <a:pt x="439" y="60"/>
                  <a:pt x="439" y="60"/>
                  <a:pt x="439" y="60"/>
                </a:cubicBezTo>
                <a:cubicBezTo>
                  <a:pt x="439" y="63"/>
                  <a:pt x="439" y="63"/>
                  <a:pt x="439" y="63"/>
                </a:cubicBezTo>
                <a:cubicBezTo>
                  <a:pt x="439" y="65"/>
                  <a:pt x="439" y="65"/>
                  <a:pt x="439" y="65"/>
                </a:cubicBezTo>
                <a:cubicBezTo>
                  <a:pt x="440" y="66"/>
                  <a:pt x="440" y="66"/>
                  <a:pt x="440" y="66"/>
                </a:cubicBezTo>
                <a:cubicBezTo>
                  <a:pt x="441" y="65"/>
                  <a:pt x="441" y="65"/>
                  <a:pt x="441" y="65"/>
                </a:cubicBezTo>
                <a:cubicBezTo>
                  <a:pt x="441" y="65"/>
                  <a:pt x="441" y="65"/>
                  <a:pt x="441" y="65"/>
                </a:cubicBezTo>
                <a:cubicBezTo>
                  <a:pt x="442" y="66"/>
                  <a:pt x="442" y="66"/>
                  <a:pt x="442" y="66"/>
                </a:cubicBezTo>
                <a:cubicBezTo>
                  <a:pt x="443" y="67"/>
                  <a:pt x="443" y="67"/>
                  <a:pt x="443" y="67"/>
                </a:cubicBezTo>
                <a:cubicBezTo>
                  <a:pt x="443" y="67"/>
                  <a:pt x="443" y="67"/>
                  <a:pt x="443" y="67"/>
                </a:cubicBezTo>
                <a:cubicBezTo>
                  <a:pt x="444" y="66"/>
                  <a:pt x="444" y="66"/>
                  <a:pt x="444" y="66"/>
                </a:cubicBezTo>
                <a:cubicBezTo>
                  <a:pt x="445" y="66"/>
                  <a:pt x="445" y="66"/>
                  <a:pt x="445" y="66"/>
                </a:cubicBezTo>
                <a:cubicBezTo>
                  <a:pt x="444" y="66"/>
                  <a:pt x="444" y="66"/>
                  <a:pt x="444" y="66"/>
                </a:cubicBezTo>
                <a:cubicBezTo>
                  <a:pt x="443" y="65"/>
                  <a:pt x="443" y="65"/>
                  <a:pt x="443" y="65"/>
                </a:cubicBezTo>
                <a:cubicBezTo>
                  <a:pt x="442" y="64"/>
                  <a:pt x="442" y="64"/>
                  <a:pt x="442" y="64"/>
                </a:cubicBezTo>
                <a:cubicBezTo>
                  <a:pt x="441" y="64"/>
                  <a:pt x="441" y="64"/>
                  <a:pt x="441" y="64"/>
                </a:cubicBezTo>
                <a:cubicBezTo>
                  <a:pt x="441" y="63"/>
                  <a:pt x="441" y="63"/>
                  <a:pt x="441" y="63"/>
                </a:cubicBezTo>
                <a:cubicBezTo>
                  <a:pt x="442" y="62"/>
                  <a:pt x="442" y="62"/>
                  <a:pt x="442" y="62"/>
                </a:cubicBezTo>
                <a:cubicBezTo>
                  <a:pt x="442" y="61"/>
                  <a:pt x="442" y="61"/>
                  <a:pt x="442" y="61"/>
                </a:cubicBezTo>
                <a:cubicBezTo>
                  <a:pt x="442" y="56"/>
                  <a:pt x="442" y="56"/>
                  <a:pt x="442" y="56"/>
                </a:cubicBezTo>
                <a:cubicBezTo>
                  <a:pt x="441" y="55"/>
                  <a:pt x="441" y="55"/>
                  <a:pt x="441" y="55"/>
                </a:cubicBezTo>
                <a:cubicBezTo>
                  <a:pt x="442" y="54"/>
                  <a:pt x="442" y="54"/>
                  <a:pt x="442" y="54"/>
                </a:cubicBezTo>
                <a:cubicBezTo>
                  <a:pt x="444" y="54"/>
                  <a:pt x="444" y="54"/>
                  <a:pt x="444" y="54"/>
                </a:cubicBezTo>
                <a:cubicBezTo>
                  <a:pt x="445" y="54"/>
                  <a:pt x="445" y="54"/>
                  <a:pt x="445" y="54"/>
                </a:cubicBezTo>
                <a:cubicBezTo>
                  <a:pt x="447" y="55"/>
                  <a:pt x="447" y="55"/>
                  <a:pt x="447" y="55"/>
                </a:cubicBezTo>
                <a:cubicBezTo>
                  <a:pt x="448" y="55"/>
                  <a:pt x="448" y="55"/>
                  <a:pt x="448" y="55"/>
                </a:cubicBezTo>
                <a:cubicBezTo>
                  <a:pt x="450" y="55"/>
                  <a:pt x="450" y="55"/>
                  <a:pt x="450" y="55"/>
                </a:cubicBezTo>
                <a:cubicBezTo>
                  <a:pt x="453" y="55"/>
                  <a:pt x="453" y="55"/>
                  <a:pt x="453" y="55"/>
                </a:cubicBezTo>
                <a:cubicBezTo>
                  <a:pt x="455" y="54"/>
                  <a:pt x="455" y="54"/>
                  <a:pt x="455" y="54"/>
                </a:cubicBezTo>
                <a:cubicBezTo>
                  <a:pt x="456" y="55"/>
                  <a:pt x="456" y="55"/>
                  <a:pt x="456" y="55"/>
                </a:cubicBezTo>
                <a:cubicBezTo>
                  <a:pt x="457" y="56"/>
                  <a:pt x="457" y="56"/>
                  <a:pt x="457" y="56"/>
                </a:cubicBezTo>
                <a:cubicBezTo>
                  <a:pt x="460" y="56"/>
                  <a:pt x="460" y="56"/>
                  <a:pt x="460" y="56"/>
                </a:cubicBezTo>
                <a:cubicBezTo>
                  <a:pt x="461" y="57"/>
                  <a:pt x="461" y="57"/>
                  <a:pt x="461" y="57"/>
                </a:cubicBezTo>
                <a:cubicBezTo>
                  <a:pt x="462" y="56"/>
                  <a:pt x="462" y="56"/>
                  <a:pt x="462" y="56"/>
                </a:cubicBezTo>
                <a:cubicBezTo>
                  <a:pt x="462" y="56"/>
                  <a:pt x="462" y="56"/>
                  <a:pt x="462" y="56"/>
                </a:cubicBezTo>
                <a:cubicBezTo>
                  <a:pt x="461" y="55"/>
                  <a:pt x="461" y="55"/>
                  <a:pt x="461" y="55"/>
                </a:cubicBezTo>
                <a:cubicBezTo>
                  <a:pt x="459" y="55"/>
                  <a:pt x="459" y="55"/>
                  <a:pt x="459" y="55"/>
                </a:cubicBezTo>
                <a:cubicBezTo>
                  <a:pt x="457" y="54"/>
                  <a:pt x="457" y="54"/>
                  <a:pt x="457" y="54"/>
                </a:cubicBezTo>
                <a:cubicBezTo>
                  <a:pt x="457" y="54"/>
                  <a:pt x="457" y="54"/>
                  <a:pt x="457" y="54"/>
                </a:cubicBezTo>
                <a:cubicBezTo>
                  <a:pt x="457" y="53"/>
                  <a:pt x="457" y="53"/>
                  <a:pt x="457" y="53"/>
                </a:cubicBezTo>
                <a:cubicBezTo>
                  <a:pt x="458" y="53"/>
                  <a:pt x="458" y="53"/>
                  <a:pt x="458" y="53"/>
                </a:cubicBezTo>
                <a:cubicBezTo>
                  <a:pt x="460" y="53"/>
                  <a:pt x="460" y="53"/>
                  <a:pt x="460" y="53"/>
                </a:cubicBezTo>
                <a:cubicBezTo>
                  <a:pt x="464" y="52"/>
                  <a:pt x="464" y="52"/>
                  <a:pt x="464" y="52"/>
                </a:cubicBezTo>
                <a:cubicBezTo>
                  <a:pt x="467" y="52"/>
                  <a:pt x="467" y="52"/>
                  <a:pt x="467" y="52"/>
                </a:cubicBezTo>
                <a:cubicBezTo>
                  <a:pt x="469" y="53"/>
                  <a:pt x="469" y="53"/>
                  <a:pt x="469" y="53"/>
                </a:cubicBezTo>
                <a:cubicBezTo>
                  <a:pt x="471" y="54"/>
                  <a:pt x="471" y="54"/>
                  <a:pt x="471" y="54"/>
                </a:cubicBezTo>
                <a:cubicBezTo>
                  <a:pt x="472" y="53"/>
                  <a:pt x="472" y="53"/>
                  <a:pt x="472" y="53"/>
                </a:cubicBezTo>
                <a:cubicBezTo>
                  <a:pt x="473" y="53"/>
                  <a:pt x="473" y="53"/>
                  <a:pt x="473" y="53"/>
                </a:cubicBezTo>
                <a:cubicBezTo>
                  <a:pt x="472" y="52"/>
                  <a:pt x="472" y="52"/>
                  <a:pt x="472" y="52"/>
                </a:cubicBezTo>
                <a:cubicBezTo>
                  <a:pt x="472" y="52"/>
                  <a:pt x="472" y="52"/>
                  <a:pt x="472" y="52"/>
                </a:cubicBezTo>
                <a:cubicBezTo>
                  <a:pt x="471" y="52"/>
                  <a:pt x="471" y="52"/>
                  <a:pt x="471" y="52"/>
                </a:cubicBezTo>
                <a:cubicBezTo>
                  <a:pt x="471" y="51"/>
                  <a:pt x="471" y="51"/>
                  <a:pt x="471" y="51"/>
                </a:cubicBezTo>
                <a:cubicBezTo>
                  <a:pt x="470" y="50"/>
                  <a:pt x="470" y="50"/>
                  <a:pt x="470" y="50"/>
                </a:cubicBezTo>
                <a:cubicBezTo>
                  <a:pt x="468" y="50"/>
                  <a:pt x="468" y="50"/>
                  <a:pt x="468" y="50"/>
                </a:cubicBezTo>
                <a:cubicBezTo>
                  <a:pt x="467" y="50"/>
                  <a:pt x="467" y="50"/>
                  <a:pt x="467" y="50"/>
                </a:cubicBezTo>
                <a:cubicBezTo>
                  <a:pt x="464" y="50"/>
                  <a:pt x="464" y="50"/>
                  <a:pt x="464" y="50"/>
                </a:cubicBezTo>
                <a:cubicBezTo>
                  <a:pt x="464" y="50"/>
                  <a:pt x="464" y="50"/>
                  <a:pt x="464" y="50"/>
                </a:cubicBezTo>
                <a:cubicBezTo>
                  <a:pt x="465" y="49"/>
                  <a:pt x="465" y="49"/>
                  <a:pt x="465" y="49"/>
                </a:cubicBezTo>
                <a:cubicBezTo>
                  <a:pt x="465" y="47"/>
                  <a:pt x="465" y="47"/>
                  <a:pt x="465" y="47"/>
                </a:cubicBezTo>
                <a:cubicBezTo>
                  <a:pt x="467" y="47"/>
                  <a:pt x="467" y="47"/>
                  <a:pt x="467" y="47"/>
                </a:cubicBezTo>
                <a:cubicBezTo>
                  <a:pt x="468" y="46"/>
                  <a:pt x="468" y="46"/>
                  <a:pt x="468" y="46"/>
                </a:cubicBezTo>
                <a:cubicBezTo>
                  <a:pt x="469" y="44"/>
                  <a:pt x="469" y="44"/>
                  <a:pt x="469" y="44"/>
                </a:cubicBezTo>
                <a:cubicBezTo>
                  <a:pt x="472" y="42"/>
                  <a:pt x="472" y="42"/>
                  <a:pt x="472" y="42"/>
                </a:cubicBezTo>
                <a:cubicBezTo>
                  <a:pt x="474" y="42"/>
                  <a:pt x="474" y="42"/>
                  <a:pt x="474" y="42"/>
                </a:cubicBezTo>
                <a:cubicBezTo>
                  <a:pt x="477" y="41"/>
                  <a:pt x="477" y="41"/>
                  <a:pt x="477" y="41"/>
                </a:cubicBezTo>
                <a:cubicBezTo>
                  <a:pt x="477" y="40"/>
                  <a:pt x="477" y="40"/>
                  <a:pt x="477" y="40"/>
                </a:cubicBezTo>
                <a:cubicBezTo>
                  <a:pt x="473" y="42"/>
                  <a:pt x="473" y="42"/>
                  <a:pt x="473" y="42"/>
                </a:cubicBezTo>
                <a:cubicBezTo>
                  <a:pt x="471" y="42"/>
                  <a:pt x="471" y="42"/>
                  <a:pt x="471" y="42"/>
                </a:cubicBezTo>
                <a:cubicBezTo>
                  <a:pt x="468" y="44"/>
                  <a:pt x="468" y="44"/>
                  <a:pt x="468" y="44"/>
                </a:cubicBezTo>
                <a:cubicBezTo>
                  <a:pt x="467" y="46"/>
                  <a:pt x="467" y="46"/>
                  <a:pt x="467" y="46"/>
                </a:cubicBezTo>
                <a:cubicBezTo>
                  <a:pt x="467" y="46"/>
                  <a:pt x="467" y="46"/>
                  <a:pt x="467" y="46"/>
                </a:cubicBezTo>
                <a:cubicBezTo>
                  <a:pt x="466" y="44"/>
                  <a:pt x="466" y="44"/>
                  <a:pt x="466" y="44"/>
                </a:cubicBezTo>
                <a:cubicBezTo>
                  <a:pt x="466" y="44"/>
                  <a:pt x="466" y="44"/>
                  <a:pt x="466" y="44"/>
                </a:cubicBezTo>
                <a:cubicBezTo>
                  <a:pt x="465" y="45"/>
                  <a:pt x="465" y="45"/>
                  <a:pt x="465" y="45"/>
                </a:cubicBezTo>
                <a:cubicBezTo>
                  <a:pt x="464" y="46"/>
                  <a:pt x="464" y="46"/>
                  <a:pt x="464" y="46"/>
                </a:cubicBezTo>
                <a:cubicBezTo>
                  <a:pt x="462" y="48"/>
                  <a:pt x="462" y="48"/>
                  <a:pt x="462" y="48"/>
                </a:cubicBezTo>
                <a:cubicBezTo>
                  <a:pt x="463" y="48"/>
                  <a:pt x="463" y="48"/>
                  <a:pt x="463" y="48"/>
                </a:cubicBezTo>
                <a:cubicBezTo>
                  <a:pt x="463" y="48"/>
                  <a:pt x="463" y="48"/>
                  <a:pt x="463" y="48"/>
                </a:cubicBezTo>
                <a:cubicBezTo>
                  <a:pt x="461" y="50"/>
                  <a:pt x="461" y="50"/>
                  <a:pt x="461" y="50"/>
                </a:cubicBezTo>
                <a:cubicBezTo>
                  <a:pt x="460" y="50"/>
                  <a:pt x="460" y="50"/>
                  <a:pt x="460" y="50"/>
                </a:cubicBezTo>
                <a:cubicBezTo>
                  <a:pt x="455" y="52"/>
                  <a:pt x="455" y="52"/>
                  <a:pt x="455" y="52"/>
                </a:cubicBezTo>
                <a:cubicBezTo>
                  <a:pt x="454" y="52"/>
                  <a:pt x="454" y="52"/>
                  <a:pt x="454" y="52"/>
                </a:cubicBezTo>
                <a:cubicBezTo>
                  <a:pt x="453" y="52"/>
                  <a:pt x="453" y="52"/>
                  <a:pt x="453" y="52"/>
                </a:cubicBezTo>
                <a:cubicBezTo>
                  <a:pt x="449" y="52"/>
                  <a:pt x="449" y="52"/>
                  <a:pt x="449" y="52"/>
                </a:cubicBezTo>
                <a:cubicBezTo>
                  <a:pt x="447" y="50"/>
                  <a:pt x="447" y="50"/>
                  <a:pt x="447" y="50"/>
                </a:cubicBezTo>
                <a:cubicBezTo>
                  <a:pt x="446" y="51"/>
                  <a:pt x="446" y="51"/>
                  <a:pt x="446" y="51"/>
                </a:cubicBezTo>
                <a:cubicBezTo>
                  <a:pt x="445" y="51"/>
                  <a:pt x="445" y="51"/>
                  <a:pt x="445" y="51"/>
                </a:cubicBezTo>
                <a:cubicBezTo>
                  <a:pt x="444" y="49"/>
                  <a:pt x="444" y="49"/>
                  <a:pt x="444" y="49"/>
                </a:cubicBezTo>
                <a:cubicBezTo>
                  <a:pt x="446" y="48"/>
                  <a:pt x="446" y="48"/>
                  <a:pt x="446" y="48"/>
                </a:cubicBezTo>
                <a:cubicBezTo>
                  <a:pt x="448" y="48"/>
                  <a:pt x="448" y="48"/>
                  <a:pt x="448" y="48"/>
                </a:cubicBezTo>
                <a:cubicBezTo>
                  <a:pt x="449" y="47"/>
                  <a:pt x="449" y="47"/>
                  <a:pt x="449" y="47"/>
                </a:cubicBezTo>
                <a:cubicBezTo>
                  <a:pt x="451" y="47"/>
                  <a:pt x="451" y="47"/>
                  <a:pt x="451" y="47"/>
                </a:cubicBezTo>
                <a:cubicBezTo>
                  <a:pt x="452" y="46"/>
                  <a:pt x="452" y="46"/>
                  <a:pt x="452" y="46"/>
                </a:cubicBezTo>
                <a:cubicBezTo>
                  <a:pt x="451" y="46"/>
                  <a:pt x="451" y="46"/>
                  <a:pt x="451" y="46"/>
                </a:cubicBezTo>
                <a:cubicBezTo>
                  <a:pt x="450" y="47"/>
                  <a:pt x="450" y="47"/>
                  <a:pt x="450" y="47"/>
                </a:cubicBezTo>
                <a:cubicBezTo>
                  <a:pt x="448" y="46"/>
                  <a:pt x="448" y="46"/>
                  <a:pt x="448" y="46"/>
                </a:cubicBezTo>
                <a:cubicBezTo>
                  <a:pt x="447" y="47"/>
                  <a:pt x="447" y="47"/>
                  <a:pt x="447" y="47"/>
                </a:cubicBezTo>
                <a:cubicBezTo>
                  <a:pt x="446" y="47"/>
                  <a:pt x="446" y="47"/>
                  <a:pt x="446" y="47"/>
                </a:cubicBezTo>
                <a:cubicBezTo>
                  <a:pt x="446" y="46"/>
                  <a:pt x="446" y="46"/>
                  <a:pt x="446" y="46"/>
                </a:cubicBezTo>
                <a:cubicBezTo>
                  <a:pt x="447" y="45"/>
                  <a:pt x="447" y="45"/>
                  <a:pt x="447" y="45"/>
                </a:cubicBezTo>
                <a:cubicBezTo>
                  <a:pt x="446" y="45"/>
                  <a:pt x="446" y="45"/>
                  <a:pt x="446" y="45"/>
                </a:cubicBezTo>
                <a:cubicBezTo>
                  <a:pt x="444" y="45"/>
                  <a:pt x="444" y="45"/>
                  <a:pt x="444" y="45"/>
                </a:cubicBezTo>
                <a:cubicBezTo>
                  <a:pt x="444" y="47"/>
                  <a:pt x="444" y="47"/>
                  <a:pt x="444" y="47"/>
                </a:cubicBezTo>
                <a:cubicBezTo>
                  <a:pt x="442" y="49"/>
                  <a:pt x="442" y="49"/>
                  <a:pt x="442" y="49"/>
                </a:cubicBezTo>
                <a:cubicBezTo>
                  <a:pt x="440" y="49"/>
                  <a:pt x="440" y="49"/>
                  <a:pt x="440" y="49"/>
                </a:cubicBezTo>
                <a:cubicBezTo>
                  <a:pt x="437" y="48"/>
                  <a:pt x="437" y="48"/>
                  <a:pt x="437" y="48"/>
                </a:cubicBezTo>
                <a:cubicBezTo>
                  <a:pt x="435" y="48"/>
                  <a:pt x="435" y="48"/>
                  <a:pt x="435" y="48"/>
                </a:cubicBezTo>
                <a:cubicBezTo>
                  <a:pt x="434" y="47"/>
                  <a:pt x="434" y="47"/>
                  <a:pt x="434" y="47"/>
                </a:cubicBezTo>
                <a:cubicBezTo>
                  <a:pt x="434" y="46"/>
                  <a:pt x="434" y="46"/>
                  <a:pt x="434" y="46"/>
                </a:cubicBezTo>
                <a:cubicBezTo>
                  <a:pt x="432" y="46"/>
                  <a:pt x="432" y="46"/>
                  <a:pt x="432" y="46"/>
                </a:cubicBezTo>
                <a:cubicBezTo>
                  <a:pt x="431" y="45"/>
                  <a:pt x="431" y="45"/>
                  <a:pt x="431" y="45"/>
                </a:cubicBezTo>
                <a:cubicBezTo>
                  <a:pt x="431" y="44"/>
                  <a:pt x="431" y="44"/>
                  <a:pt x="431" y="44"/>
                </a:cubicBezTo>
                <a:cubicBezTo>
                  <a:pt x="432" y="43"/>
                  <a:pt x="432" y="43"/>
                  <a:pt x="432" y="43"/>
                </a:cubicBezTo>
                <a:cubicBezTo>
                  <a:pt x="433" y="42"/>
                  <a:pt x="433" y="42"/>
                  <a:pt x="433" y="42"/>
                </a:cubicBezTo>
                <a:cubicBezTo>
                  <a:pt x="435" y="41"/>
                  <a:pt x="435" y="41"/>
                  <a:pt x="435" y="41"/>
                </a:cubicBezTo>
                <a:cubicBezTo>
                  <a:pt x="436" y="39"/>
                  <a:pt x="436" y="39"/>
                  <a:pt x="436" y="39"/>
                </a:cubicBezTo>
                <a:cubicBezTo>
                  <a:pt x="438" y="38"/>
                  <a:pt x="438" y="38"/>
                  <a:pt x="438" y="38"/>
                </a:cubicBezTo>
                <a:cubicBezTo>
                  <a:pt x="438" y="38"/>
                  <a:pt x="438" y="38"/>
                  <a:pt x="438" y="38"/>
                </a:cubicBezTo>
                <a:cubicBezTo>
                  <a:pt x="440" y="38"/>
                  <a:pt x="440" y="38"/>
                  <a:pt x="440" y="38"/>
                </a:cubicBezTo>
                <a:cubicBezTo>
                  <a:pt x="442" y="38"/>
                  <a:pt x="442" y="38"/>
                  <a:pt x="442" y="38"/>
                </a:cubicBezTo>
                <a:cubicBezTo>
                  <a:pt x="443" y="38"/>
                  <a:pt x="443" y="38"/>
                  <a:pt x="443" y="38"/>
                </a:cubicBezTo>
                <a:cubicBezTo>
                  <a:pt x="444" y="38"/>
                  <a:pt x="444" y="38"/>
                  <a:pt x="444" y="38"/>
                </a:cubicBezTo>
                <a:cubicBezTo>
                  <a:pt x="447" y="39"/>
                  <a:pt x="447" y="39"/>
                  <a:pt x="447" y="39"/>
                </a:cubicBezTo>
                <a:cubicBezTo>
                  <a:pt x="449" y="39"/>
                  <a:pt x="449" y="39"/>
                  <a:pt x="449" y="39"/>
                </a:cubicBezTo>
                <a:cubicBezTo>
                  <a:pt x="450" y="40"/>
                  <a:pt x="450" y="40"/>
                  <a:pt x="450" y="40"/>
                </a:cubicBezTo>
                <a:cubicBezTo>
                  <a:pt x="452" y="39"/>
                  <a:pt x="452" y="39"/>
                  <a:pt x="452" y="39"/>
                </a:cubicBezTo>
                <a:cubicBezTo>
                  <a:pt x="452" y="39"/>
                  <a:pt x="452" y="39"/>
                  <a:pt x="452" y="39"/>
                </a:cubicBezTo>
                <a:cubicBezTo>
                  <a:pt x="451" y="38"/>
                  <a:pt x="451" y="38"/>
                  <a:pt x="451" y="38"/>
                </a:cubicBezTo>
                <a:cubicBezTo>
                  <a:pt x="449" y="39"/>
                  <a:pt x="449" y="39"/>
                  <a:pt x="449" y="39"/>
                </a:cubicBezTo>
                <a:cubicBezTo>
                  <a:pt x="446" y="38"/>
                  <a:pt x="446" y="38"/>
                  <a:pt x="446" y="38"/>
                </a:cubicBezTo>
                <a:cubicBezTo>
                  <a:pt x="445" y="37"/>
                  <a:pt x="445" y="37"/>
                  <a:pt x="445" y="37"/>
                </a:cubicBezTo>
                <a:cubicBezTo>
                  <a:pt x="443" y="37"/>
                  <a:pt x="443" y="37"/>
                  <a:pt x="443" y="37"/>
                </a:cubicBezTo>
                <a:cubicBezTo>
                  <a:pt x="441" y="37"/>
                  <a:pt x="441" y="37"/>
                  <a:pt x="441" y="37"/>
                </a:cubicBezTo>
                <a:cubicBezTo>
                  <a:pt x="438" y="37"/>
                  <a:pt x="438" y="37"/>
                  <a:pt x="438" y="37"/>
                </a:cubicBezTo>
                <a:cubicBezTo>
                  <a:pt x="437" y="37"/>
                  <a:pt x="437" y="37"/>
                  <a:pt x="437" y="37"/>
                </a:cubicBezTo>
                <a:cubicBezTo>
                  <a:pt x="437" y="37"/>
                  <a:pt x="437" y="37"/>
                  <a:pt x="437" y="37"/>
                </a:cubicBezTo>
                <a:cubicBezTo>
                  <a:pt x="435" y="39"/>
                  <a:pt x="435" y="39"/>
                  <a:pt x="435" y="39"/>
                </a:cubicBezTo>
                <a:cubicBezTo>
                  <a:pt x="433" y="40"/>
                  <a:pt x="433" y="40"/>
                  <a:pt x="433" y="40"/>
                </a:cubicBezTo>
                <a:cubicBezTo>
                  <a:pt x="431" y="41"/>
                  <a:pt x="431" y="41"/>
                  <a:pt x="431" y="41"/>
                </a:cubicBezTo>
                <a:cubicBezTo>
                  <a:pt x="429" y="43"/>
                  <a:pt x="429" y="43"/>
                  <a:pt x="429" y="43"/>
                </a:cubicBezTo>
                <a:cubicBezTo>
                  <a:pt x="429" y="43"/>
                  <a:pt x="429" y="43"/>
                  <a:pt x="429" y="43"/>
                </a:cubicBezTo>
                <a:cubicBezTo>
                  <a:pt x="428" y="43"/>
                  <a:pt x="428" y="43"/>
                  <a:pt x="428" y="43"/>
                </a:cubicBezTo>
                <a:cubicBezTo>
                  <a:pt x="426" y="41"/>
                  <a:pt x="426" y="41"/>
                  <a:pt x="426" y="41"/>
                </a:cubicBezTo>
                <a:cubicBezTo>
                  <a:pt x="425" y="41"/>
                  <a:pt x="425" y="41"/>
                  <a:pt x="425" y="41"/>
                </a:cubicBezTo>
                <a:cubicBezTo>
                  <a:pt x="425" y="40"/>
                  <a:pt x="425" y="40"/>
                  <a:pt x="425" y="40"/>
                </a:cubicBezTo>
                <a:cubicBezTo>
                  <a:pt x="424" y="38"/>
                  <a:pt x="424" y="38"/>
                  <a:pt x="424" y="38"/>
                </a:cubicBezTo>
                <a:cubicBezTo>
                  <a:pt x="424" y="37"/>
                  <a:pt x="424" y="37"/>
                  <a:pt x="424" y="37"/>
                </a:cubicBezTo>
                <a:cubicBezTo>
                  <a:pt x="423" y="36"/>
                  <a:pt x="423" y="36"/>
                  <a:pt x="423" y="36"/>
                </a:cubicBezTo>
                <a:cubicBezTo>
                  <a:pt x="423" y="34"/>
                  <a:pt x="423" y="34"/>
                  <a:pt x="423" y="34"/>
                </a:cubicBezTo>
                <a:cubicBezTo>
                  <a:pt x="424" y="34"/>
                  <a:pt x="424" y="34"/>
                  <a:pt x="424" y="34"/>
                </a:cubicBezTo>
                <a:cubicBezTo>
                  <a:pt x="425" y="34"/>
                  <a:pt x="425" y="34"/>
                  <a:pt x="425" y="34"/>
                </a:cubicBezTo>
                <a:cubicBezTo>
                  <a:pt x="426" y="34"/>
                  <a:pt x="426" y="34"/>
                  <a:pt x="426" y="34"/>
                </a:cubicBezTo>
                <a:cubicBezTo>
                  <a:pt x="427" y="34"/>
                  <a:pt x="427" y="34"/>
                  <a:pt x="427" y="34"/>
                </a:cubicBezTo>
                <a:cubicBezTo>
                  <a:pt x="431" y="34"/>
                  <a:pt x="431" y="34"/>
                  <a:pt x="431" y="34"/>
                </a:cubicBezTo>
                <a:cubicBezTo>
                  <a:pt x="433" y="35"/>
                  <a:pt x="433" y="35"/>
                  <a:pt x="433" y="35"/>
                </a:cubicBezTo>
                <a:cubicBezTo>
                  <a:pt x="434" y="35"/>
                  <a:pt x="434" y="35"/>
                  <a:pt x="434" y="35"/>
                </a:cubicBezTo>
                <a:cubicBezTo>
                  <a:pt x="434" y="36"/>
                  <a:pt x="434" y="36"/>
                  <a:pt x="434" y="36"/>
                </a:cubicBezTo>
                <a:cubicBezTo>
                  <a:pt x="436" y="36"/>
                  <a:pt x="436" y="36"/>
                  <a:pt x="436" y="36"/>
                </a:cubicBezTo>
                <a:cubicBezTo>
                  <a:pt x="437" y="35"/>
                  <a:pt x="437" y="35"/>
                  <a:pt x="437" y="35"/>
                </a:cubicBezTo>
                <a:cubicBezTo>
                  <a:pt x="439" y="36"/>
                  <a:pt x="439" y="36"/>
                  <a:pt x="439" y="36"/>
                </a:cubicBezTo>
                <a:cubicBezTo>
                  <a:pt x="439" y="35"/>
                  <a:pt x="439" y="35"/>
                  <a:pt x="439" y="35"/>
                </a:cubicBezTo>
                <a:cubicBezTo>
                  <a:pt x="440" y="35"/>
                  <a:pt x="440" y="35"/>
                  <a:pt x="440" y="35"/>
                </a:cubicBezTo>
                <a:cubicBezTo>
                  <a:pt x="441" y="34"/>
                  <a:pt x="441" y="34"/>
                  <a:pt x="441" y="34"/>
                </a:cubicBezTo>
                <a:cubicBezTo>
                  <a:pt x="443" y="34"/>
                  <a:pt x="443" y="34"/>
                  <a:pt x="443" y="34"/>
                </a:cubicBezTo>
                <a:cubicBezTo>
                  <a:pt x="446" y="34"/>
                  <a:pt x="446" y="34"/>
                  <a:pt x="446" y="34"/>
                </a:cubicBezTo>
                <a:cubicBezTo>
                  <a:pt x="446" y="33"/>
                  <a:pt x="446" y="33"/>
                  <a:pt x="446" y="33"/>
                </a:cubicBezTo>
                <a:cubicBezTo>
                  <a:pt x="446" y="32"/>
                  <a:pt x="446" y="32"/>
                  <a:pt x="446" y="32"/>
                </a:cubicBezTo>
                <a:cubicBezTo>
                  <a:pt x="445" y="32"/>
                  <a:pt x="445" y="32"/>
                  <a:pt x="445" y="32"/>
                </a:cubicBezTo>
                <a:cubicBezTo>
                  <a:pt x="445" y="33"/>
                  <a:pt x="445" y="33"/>
                  <a:pt x="445" y="33"/>
                </a:cubicBezTo>
                <a:cubicBezTo>
                  <a:pt x="444" y="33"/>
                  <a:pt x="444" y="33"/>
                  <a:pt x="444" y="33"/>
                </a:cubicBezTo>
                <a:cubicBezTo>
                  <a:pt x="442" y="33"/>
                  <a:pt x="442" y="33"/>
                  <a:pt x="442" y="33"/>
                </a:cubicBezTo>
                <a:cubicBezTo>
                  <a:pt x="440" y="33"/>
                  <a:pt x="440" y="33"/>
                  <a:pt x="440" y="33"/>
                </a:cubicBezTo>
                <a:cubicBezTo>
                  <a:pt x="438" y="34"/>
                  <a:pt x="438" y="34"/>
                  <a:pt x="438" y="34"/>
                </a:cubicBezTo>
                <a:cubicBezTo>
                  <a:pt x="437" y="35"/>
                  <a:pt x="437" y="35"/>
                  <a:pt x="437" y="35"/>
                </a:cubicBezTo>
                <a:cubicBezTo>
                  <a:pt x="435" y="34"/>
                  <a:pt x="435" y="34"/>
                  <a:pt x="435" y="34"/>
                </a:cubicBezTo>
                <a:cubicBezTo>
                  <a:pt x="434" y="35"/>
                  <a:pt x="434" y="35"/>
                  <a:pt x="434" y="35"/>
                </a:cubicBezTo>
                <a:cubicBezTo>
                  <a:pt x="433" y="35"/>
                  <a:pt x="433" y="35"/>
                  <a:pt x="433" y="35"/>
                </a:cubicBezTo>
                <a:cubicBezTo>
                  <a:pt x="432" y="33"/>
                  <a:pt x="432" y="33"/>
                  <a:pt x="432" y="33"/>
                </a:cubicBezTo>
                <a:cubicBezTo>
                  <a:pt x="431" y="33"/>
                  <a:pt x="431" y="33"/>
                  <a:pt x="431" y="33"/>
                </a:cubicBezTo>
                <a:cubicBezTo>
                  <a:pt x="431" y="33"/>
                  <a:pt x="431" y="33"/>
                  <a:pt x="431" y="33"/>
                </a:cubicBezTo>
                <a:cubicBezTo>
                  <a:pt x="429" y="33"/>
                  <a:pt x="429" y="33"/>
                  <a:pt x="429" y="33"/>
                </a:cubicBezTo>
                <a:cubicBezTo>
                  <a:pt x="427" y="32"/>
                  <a:pt x="427" y="32"/>
                  <a:pt x="427" y="32"/>
                </a:cubicBezTo>
                <a:cubicBezTo>
                  <a:pt x="426" y="32"/>
                  <a:pt x="426" y="32"/>
                  <a:pt x="426" y="32"/>
                </a:cubicBezTo>
                <a:cubicBezTo>
                  <a:pt x="424" y="32"/>
                  <a:pt x="424" y="32"/>
                  <a:pt x="424" y="32"/>
                </a:cubicBezTo>
                <a:cubicBezTo>
                  <a:pt x="424" y="31"/>
                  <a:pt x="424" y="31"/>
                  <a:pt x="424" y="31"/>
                </a:cubicBezTo>
                <a:cubicBezTo>
                  <a:pt x="425" y="30"/>
                  <a:pt x="425" y="30"/>
                  <a:pt x="425" y="30"/>
                </a:cubicBezTo>
                <a:cubicBezTo>
                  <a:pt x="425" y="29"/>
                  <a:pt x="425" y="29"/>
                  <a:pt x="425" y="29"/>
                </a:cubicBezTo>
                <a:cubicBezTo>
                  <a:pt x="425" y="28"/>
                  <a:pt x="425" y="28"/>
                  <a:pt x="425" y="28"/>
                </a:cubicBezTo>
                <a:cubicBezTo>
                  <a:pt x="426" y="28"/>
                  <a:pt x="426" y="28"/>
                  <a:pt x="426" y="28"/>
                </a:cubicBezTo>
                <a:cubicBezTo>
                  <a:pt x="427" y="29"/>
                  <a:pt x="427" y="29"/>
                  <a:pt x="427" y="29"/>
                </a:cubicBezTo>
                <a:cubicBezTo>
                  <a:pt x="429" y="29"/>
                  <a:pt x="429" y="29"/>
                  <a:pt x="429" y="29"/>
                </a:cubicBezTo>
                <a:cubicBezTo>
                  <a:pt x="430" y="29"/>
                  <a:pt x="430" y="29"/>
                  <a:pt x="430" y="29"/>
                </a:cubicBezTo>
                <a:cubicBezTo>
                  <a:pt x="429" y="28"/>
                  <a:pt x="429" y="28"/>
                  <a:pt x="429" y="28"/>
                </a:cubicBezTo>
                <a:cubicBezTo>
                  <a:pt x="428" y="28"/>
                  <a:pt x="428" y="28"/>
                  <a:pt x="428" y="28"/>
                </a:cubicBezTo>
                <a:cubicBezTo>
                  <a:pt x="427" y="27"/>
                  <a:pt x="427" y="27"/>
                  <a:pt x="427" y="27"/>
                </a:cubicBezTo>
                <a:cubicBezTo>
                  <a:pt x="427" y="26"/>
                  <a:pt x="427" y="26"/>
                  <a:pt x="427" y="26"/>
                </a:cubicBezTo>
                <a:cubicBezTo>
                  <a:pt x="429" y="26"/>
                  <a:pt x="429" y="26"/>
                  <a:pt x="429" y="26"/>
                </a:cubicBezTo>
                <a:cubicBezTo>
                  <a:pt x="430" y="25"/>
                  <a:pt x="430" y="25"/>
                  <a:pt x="430" y="25"/>
                </a:cubicBezTo>
                <a:cubicBezTo>
                  <a:pt x="433" y="25"/>
                  <a:pt x="433" y="25"/>
                  <a:pt x="433" y="25"/>
                </a:cubicBezTo>
                <a:cubicBezTo>
                  <a:pt x="433" y="24"/>
                  <a:pt x="433" y="24"/>
                  <a:pt x="433" y="24"/>
                </a:cubicBezTo>
                <a:cubicBezTo>
                  <a:pt x="435" y="24"/>
                  <a:pt x="435" y="24"/>
                  <a:pt x="435" y="24"/>
                </a:cubicBezTo>
                <a:cubicBezTo>
                  <a:pt x="435" y="24"/>
                  <a:pt x="435" y="24"/>
                  <a:pt x="435" y="24"/>
                </a:cubicBezTo>
                <a:cubicBezTo>
                  <a:pt x="436" y="24"/>
                  <a:pt x="436" y="24"/>
                  <a:pt x="436" y="24"/>
                </a:cubicBezTo>
                <a:cubicBezTo>
                  <a:pt x="436" y="23"/>
                  <a:pt x="436" y="23"/>
                  <a:pt x="436" y="23"/>
                </a:cubicBezTo>
                <a:cubicBezTo>
                  <a:pt x="436" y="23"/>
                  <a:pt x="436" y="23"/>
                  <a:pt x="436" y="23"/>
                </a:cubicBezTo>
                <a:cubicBezTo>
                  <a:pt x="433" y="23"/>
                  <a:pt x="433" y="23"/>
                  <a:pt x="433" y="23"/>
                </a:cubicBezTo>
                <a:cubicBezTo>
                  <a:pt x="431" y="24"/>
                  <a:pt x="431" y="24"/>
                  <a:pt x="431" y="24"/>
                </a:cubicBezTo>
                <a:cubicBezTo>
                  <a:pt x="429" y="24"/>
                  <a:pt x="429" y="24"/>
                  <a:pt x="429" y="24"/>
                </a:cubicBezTo>
                <a:cubicBezTo>
                  <a:pt x="428" y="24"/>
                  <a:pt x="428" y="24"/>
                  <a:pt x="428" y="24"/>
                </a:cubicBezTo>
                <a:cubicBezTo>
                  <a:pt x="427" y="25"/>
                  <a:pt x="427" y="25"/>
                  <a:pt x="427" y="25"/>
                </a:cubicBezTo>
                <a:cubicBezTo>
                  <a:pt x="426" y="25"/>
                  <a:pt x="426" y="25"/>
                  <a:pt x="426" y="25"/>
                </a:cubicBezTo>
                <a:cubicBezTo>
                  <a:pt x="426" y="24"/>
                  <a:pt x="426" y="24"/>
                  <a:pt x="426" y="24"/>
                </a:cubicBezTo>
                <a:cubicBezTo>
                  <a:pt x="426" y="23"/>
                  <a:pt x="426" y="23"/>
                  <a:pt x="426" y="23"/>
                </a:cubicBezTo>
                <a:cubicBezTo>
                  <a:pt x="428" y="22"/>
                  <a:pt x="428" y="22"/>
                  <a:pt x="428" y="22"/>
                </a:cubicBezTo>
                <a:cubicBezTo>
                  <a:pt x="429" y="21"/>
                  <a:pt x="429" y="21"/>
                  <a:pt x="429" y="21"/>
                </a:cubicBezTo>
                <a:cubicBezTo>
                  <a:pt x="431" y="21"/>
                  <a:pt x="431" y="21"/>
                  <a:pt x="431" y="21"/>
                </a:cubicBezTo>
                <a:cubicBezTo>
                  <a:pt x="432" y="20"/>
                  <a:pt x="432" y="20"/>
                  <a:pt x="432" y="20"/>
                </a:cubicBezTo>
                <a:cubicBezTo>
                  <a:pt x="431" y="20"/>
                  <a:pt x="431" y="20"/>
                  <a:pt x="431" y="20"/>
                </a:cubicBezTo>
                <a:cubicBezTo>
                  <a:pt x="430" y="20"/>
                  <a:pt x="430" y="20"/>
                  <a:pt x="430" y="20"/>
                </a:cubicBezTo>
                <a:cubicBezTo>
                  <a:pt x="431" y="18"/>
                  <a:pt x="431" y="18"/>
                  <a:pt x="431" y="18"/>
                </a:cubicBezTo>
                <a:cubicBezTo>
                  <a:pt x="430" y="18"/>
                  <a:pt x="430" y="18"/>
                  <a:pt x="430" y="18"/>
                </a:cubicBezTo>
                <a:cubicBezTo>
                  <a:pt x="430" y="19"/>
                  <a:pt x="430" y="19"/>
                  <a:pt x="430" y="19"/>
                </a:cubicBezTo>
                <a:cubicBezTo>
                  <a:pt x="429" y="20"/>
                  <a:pt x="429" y="20"/>
                  <a:pt x="429" y="20"/>
                </a:cubicBezTo>
                <a:cubicBezTo>
                  <a:pt x="429" y="19"/>
                  <a:pt x="429" y="19"/>
                  <a:pt x="429" y="19"/>
                </a:cubicBezTo>
                <a:cubicBezTo>
                  <a:pt x="428" y="19"/>
                  <a:pt x="428" y="19"/>
                  <a:pt x="428" y="19"/>
                </a:cubicBezTo>
                <a:cubicBezTo>
                  <a:pt x="427" y="19"/>
                  <a:pt x="427" y="19"/>
                  <a:pt x="427" y="19"/>
                </a:cubicBezTo>
                <a:cubicBezTo>
                  <a:pt x="426" y="20"/>
                  <a:pt x="426" y="20"/>
                  <a:pt x="426" y="20"/>
                </a:cubicBezTo>
                <a:cubicBezTo>
                  <a:pt x="426" y="21"/>
                  <a:pt x="426" y="21"/>
                  <a:pt x="426" y="21"/>
                </a:cubicBezTo>
                <a:cubicBezTo>
                  <a:pt x="426" y="21"/>
                  <a:pt x="426" y="21"/>
                  <a:pt x="426" y="21"/>
                </a:cubicBezTo>
                <a:cubicBezTo>
                  <a:pt x="424" y="22"/>
                  <a:pt x="424" y="22"/>
                  <a:pt x="424" y="22"/>
                </a:cubicBezTo>
                <a:cubicBezTo>
                  <a:pt x="424" y="21"/>
                  <a:pt x="424" y="21"/>
                  <a:pt x="424" y="21"/>
                </a:cubicBezTo>
                <a:cubicBezTo>
                  <a:pt x="424" y="19"/>
                  <a:pt x="424" y="19"/>
                  <a:pt x="424" y="19"/>
                </a:cubicBezTo>
                <a:cubicBezTo>
                  <a:pt x="424" y="19"/>
                  <a:pt x="424" y="19"/>
                  <a:pt x="424" y="19"/>
                </a:cubicBezTo>
                <a:cubicBezTo>
                  <a:pt x="423" y="18"/>
                  <a:pt x="423" y="18"/>
                  <a:pt x="423" y="18"/>
                </a:cubicBezTo>
                <a:cubicBezTo>
                  <a:pt x="424" y="18"/>
                  <a:pt x="424" y="18"/>
                  <a:pt x="424" y="18"/>
                </a:cubicBezTo>
                <a:cubicBezTo>
                  <a:pt x="425" y="18"/>
                  <a:pt x="425" y="18"/>
                  <a:pt x="425" y="18"/>
                </a:cubicBezTo>
                <a:cubicBezTo>
                  <a:pt x="425" y="17"/>
                  <a:pt x="425" y="17"/>
                  <a:pt x="425" y="17"/>
                </a:cubicBezTo>
                <a:cubicBezTo>
                  <a:pt x="426" y="16"/>
                  <a:pt x="426" y="16"/>
                  <a:pt x="426" y="16"/>
                </a:cubicBezTo>
                <a:cubicBezTo>
                  <a:pt x="427" y="16"/>
                  <a:pt x="427" y="16"/>
                  <a:pt x="427" y="16"/>
                </a:cubicBezTo>
                <a:cubicBezTo>
                  <a:pt x="428" y="15"/>
                  <a:pt x="428" y="15"/>
                  <a:pt x="428" y="15"/>
                </a:cubicBezTo>
                <a:cubicBezTo>
                  <a:pt x="429" y="14"/>
                  <a:pt x="429" y="14"/>
                  <a:pt x="429" y="14"/>
                </a:cubicBezTo>
                <a:cubicBezTo>
                  <a:pt x="430" y="15"/>
                  <a:pt x="430" y="15"/>
                  <a:pt x="430" y="15"/>
                </a:cubicBezTo>
                <a:cubicBezTo>
                  <a:pt x="432" y="14"/>
                  <a:pt x="432" y="14"/>
                  <a:pt x="432" y="14"/>
                </a:cubicBezTo>
                <a:cubicBezTo>
                  <a:pt x="435" y="13"/>
                  <a:pt x="435" y="13"/>
                  <a:pt x="435" y="13"/>
                </a:cubicBezTo>
                <a:cubicBezTo>
                  <a:pt x="435" y="13"/>
                  <a:pt x="435" y="13"/>
                  <a:pt x="435" y="13"/>
                </a:cubicBezTo>
                <a:cubicBezTo>
                  <a:pt x="436" y="13"/>
                  <a:pt x="436" y="13"/>
                  <a:pt x="436" y="13"/>
                </a:cubicBezTo>
                <a:cubicBezTo>
                  <a:pt x="436" y="14"/>
                  <a:pt x="436" y="14"/>
                  <a:pt x="436" y="14"/>
                </a:cubicBezTo>
                <a:cubicBezTo>
                  <a:pt x="436" y="15"/>
                  <a:pt x="436" y="15"/>
                  <a:pt x="436" y="15"/>
                </a:cubicBezTo>
                <a:cubicBezTo>
                  <a:pt x="436" y="18"/>
                  <a:pt x="436" y="18"/>
                  <a:pt x="436" y="18"/>
                </a:cubicBezTo>
                <a:cubicBezTo>
                  <a:pt x="437" y="17"/>
                  <a:pt x="437" y="17"/>
                  <a:pt x="437" y="17"/>
                </a:cubicBezTo>
                <a:cubicBezTo>
                  <a:pt x="437" y="16"/>
                  <a:pt x="437" y="16"/>
                  <a:pt x="437" y="16"/>
                </a:cubicBezTo>
                <a:cubicBezTo>
                  <a:pt x="438" y="15"/>
                  <a:pt x="438" y="15"/>
                  <a:pt x="438" y="15"/>
                </a:cubicBezTo>
                <a:cubicBezTo>
                  <a:pt x="439" y="15"/>
                  <a:pt x="439" y="15"/>
                  <a:pt x="439" y="15"/>
                </a:cubicBezTo>
                <a:cubicBezTo>
                  <a:pt x="438" y="16"/>
                  <a:pt x="438" y="16"/>
                  <a:pt x="438" y="16"/>
                </a:cubicBezTo>
                <a:cubicBezTo>
                  <a:pt x="438" y="17"/>
                  <a:pt x="438" y="17"/>
                  <a:pt x="438" y="17"/>
                </a:cubicBezTo>
                <a:cubicBezTo>
                  <a:pt x="439" y="16"/>
                  <a:pt x="439" y="16"/>
                  <a:pt x="439" y="16"/>
                </a:cubicBezTo>
                <a:cubicBezTo>
                  <a:pt x="439" y="15"/>
                  <a:pt x="439" y="15"/>
                  <a:pt x="439" y="15"/>
                </a:cubicBezTo>
                <a:cubicBezTo>
                  <a:pt x="440" y="15"/>
                  <a:pt x="440" y="15"/>
                  <a:pt x="440" y="15"/>
                </a:cubicBezTo>
                <a:cubicBezTo>
                  <a:pt x="439" y="14"/>
                  <a:pt x="439" y="14"/>
                  <a:pt x="439" y="14"/>
                </a:cubicBezTo>
                <a:cubicBezTo>
                  <a:pt x="440" y="12"/>
                  <a:pt x="440" y="12"/>
                  <a:pt x="440" y="12"/>
                </a:cubicBezTo>
                <a:cubicBezTo>
                  <a:pt x="440" y="12"/>
                  <a:pt x="440" y="12"/>
                  <a:pt x="440" y="12"/>
                </a:cubicBezTo>
                <a:cubicBezTo>
                  <a:pt x="442" y="11"/>
                  <a:pt x="442" y="11"/>
                  <a:pt x="442" y="11"/>
                </a:cubicBezTo>
                <a:cubicBezTo>
                  <a:pt x="443" y="11"/>
                  <a:pt x="443" y="11"/>
                  <a:pt x="443" y="11"/>
                </a:cubicBezTo>
                <a:cubicBezTo>
                  <a:pt x="443" y="12"/>
                  <a:pt x="443" y="12"/>
                  <a:pt x="443" y="12"/>
                </a:cubicBezTo>
                <a:cubicBezTo>
                  <a:pt x="443" y="14"/>
                  <a:pt x="443" y="14"/>
                  <a:pt x="443" y="14"/>
                </a:cubicBezTo>
                <a:cubicBezTo>
                  <a:pt x="444" y="14"/>
                  <a:pt x="444" y="14"/>
                  <a:pt x="444" y="14"/>
                </a:cubicBezTo>
                <a:cubicBezTo>
                  <a:pt x="444" y="16"/>
                  <a:pt x="444" y="16"/>
                  <a:pt x="444" y="16"/>
                </a:cubicBezTo>
                <a:cubicBezTo>
                  <a:pt x="444" y="17"/>
                  <a:pt x="444" y="17"/>
                  <a:pt x="444" y="17"/>
                </a:cubicBezTo>
                <a:cubicBezTo>
                  <a:pt x="444" y="18"/>
                  <a:pt x="444" y="18"/>
                  <a:pt x="444" y="18"/>
                </a:cubicBezTo>
                <a:cubicBezTo>
                  <a:pt x="444" y="19"/>
                  <a:pt x="444" y="19"/>
                  <a:pt x="444" y="19"/>
                </a:cubicBezTo>
                <a:cubicBezTo>
                  <a:pt x="445" y="19"/>
                  <a:pt x="445" y="19"/>
                  <a:pt x="445" y="19"/>
                </a:cubicBezTo>
                <a:cubicBezTo>
                  <a:pt x="445" y="19"/>
                  <a:pt x="445" y="19"/>
                  <a:pt x="445" y="19"/>
                </a:cubicBezTo>
                <a:cubicBezTo>
                  <a:pt x="445" y="18"/>
                  <a:pt x="445" y="18"/>
                  <a:pt x="445" y="18"/>
                </a:cubicBezTo>
                <a:cubicBezTo>
                  <a:pt x="445" y="17"/>
                  <a:pt x="445" y="17"/>
                  <a:pt x="445" y="17"/>
                </a:cubicBezTo>
                <a:cubicBezTo>
                  <a:pt x="446" y="16"/>
                  <a:pt x="446" y="16"/>
                  <a:pt x="446" y="16"/>
                </a:cubicBezTo>
                <a:cubicBezTo>
                  <a:pt x="447" y="14"/>
                  <a:pt x="447" y="14"/>
                  <a:pt x="447" y="14"/>
                </a:cubicBezTo>
                <a:cubicBezTo>
                  <a:pt x="448" y="14"/>
                  <a:pt x="448" y="14"/>
                  <a:pt x="448" y="14"/>
                </a:cubicBezTo>
                <a:cubicBezTo>
                  <a:pt x="449" y="16"/>
                  <a:pt x="449" y="16"/>
                  <a:pt x="449" y="16"/>
                </a:cubicBezTo>
                <a:cubicBezTo>
                  <a:pt x="449" y="17"/>
                  <a:pt x="449" y="17"/>
                  <a:pt x="449" y="17"/>
                </a:cubicBezTo>
                <a:cubicBezTo>
                  <a:pt x="448" y="19"/>
                  <a:pt x="448" y="19"/>
                  <a:pt x="448" y="19"/>
                </a:cubicBezTo>
                <a:cubicBezTo>
                  <a:pt x="449" y="19"/>
                  <a:pt x="449" y="19"/>
                  <a:pt x="449" y="19"/>
                </a:cubicBezTo>
                <a:cubicBezTo>
                  <a:pt x="449" y="20"/>
                  <a:pt x="449" y="20"/>
                  <a:pt x="449" y="20"/>
                </a:cubicBezTo>
                <a:cubicBezTo>
                  <a:pt x="450" y="19"/>
                  <a:pt x="450" y="19"/>
                  <a:pt x="450" y="19"/>
                </a:cubicBezTo>
                <a:cubicBezTo>
                  <a:pt x="450" y="18"/>
                  <a:pt x="450" y="18"/>
                  <a:pt x="450" y="18"/>
                </a:cubicBezTo>
                <a:cubicBezTo>
                  <a:pt x="451" y="18"/>
                  <a:pt x="451" y="18"/>
                  <a:pt x="451" y="18"/>
                </a:cubicBezTo>
                <a:cubicBezTo>
                  <a:pt x="451" y="17"/>
                  <a:pt x="451" y="17"/>
                  <a:pt x="451" y="17"/>
                </a:cubicBezTo>
                <a:cubicBezTo>
                  <a:pt x="452" y="18"/>
                  <a:pt x="452" y="18"/>
                  <a:pt x="452" y="18"/>
                </a:cubicBezTo>
                <a:cubicBezTo>
                  <a:pt x="451" y="18"/>
                  <a:pt x="451" y="18"/>
                  <a:pt x="451" y="18"/>
                </a:cubicBezTo>
                <a:cubicBezTo>
                  <a:pt x="451" y="19"/>
                  <a:pt x="451" y="19"/>
                  <a:pt x="451" y="19"/>
                </a:cubicBezTo>
                <a:cubicBezTo>
                  <a:pt x="452" y="20"/>
                  <a:pt x="452" y="20"/>
                  <a:pt x="452" y="20"/>
                </a:cubicBezTo>
                <a:cubicBezTo>
                  <a:pt x="453" y="19"/>
                  <a:pt x="453" y="19"/>
                  <a:pt x="453" y="19"/>
                </a:cubicBezTo>
                <a:cubicBezTo>
                  <a:pt x="453" y="19"/>
                  <a:pt x="453" y="19"/>
                  <a:pt x="453" y="19"/>
                </a:cubicBezTo>
                <a:cubicBezTo>
                  <a:pt x="453" y="20"/>
                  <a:pt x="453" y="20"/>
                  <a:pt x="453" y="20"/>
                </a:cubicBezTo>
                <a:cubicBezTo>
                  <a:pt x="454" y="20"/>
                  <a:pt x="454" y="20"/>
                  <a:pt x="454" y="20"/>
                </a:cubicBezTo>
                <a:cubicBezTo>
                  <a:pt x="454" y="18"/>
                  <a:pt x="454" y="18"/>
                  <a:pt x="454" y="18"/>
                </a:cubicBezTo>
                <a:cubicBezTo>
                  <a:pt x="453" y="16"/>
                  <a:pt x="453" y="16"/>
                  <a:pt x="453" y="16"/>
                </a:cubicBezTo>
                <a:cubicBezTo>
                  <a:pt x="452" y="16"/>
                  <a:pt x="452" y="16"/>
                  <a:pt x="452" y="16"/>
                </a:cubicBezTo>
                <a:cubicBezTo>
                  <a:pt x="452" y="15"/>
                  <a:pt x="452" y="15"/>
                  <a:pt x="452" y="15"/>
                </a:cubicBezTo>
                <a:cubicBezTo>
                  <a:pt x="452" y="14"/>
                  <a:pt x="452" y="14"/>
                  <a:pt x="452" y="14"/>
                </a:cubicBezTo>
                <a:cubicBezTo>
                  <a:pt x="451" y="13"/>
                  <a:pt x="451" y="13"/>
                  <a:pt x="451" y="13"/>
                </a:cubicBezTo>
                <a:cubicBezTo>
                  <a:pt x="450" y="12"/>
                  <a:pt x="450" y="12"/>
                  <a:pt x="450" y="12"/>
                </a:cubicBezTo>
                <a:cubicBezTo>
                  <a:pt x="450" y="11"/>
                  <a:pt x="450" y="11"/>
                  <a:pt x="450" y="11"/>
                </a:cubicBezTo>
                <a:cubicBezTo>
                  <a:pt x="450" y="10"/>
                  <a:pt x="450" y="10"/>
                  <a:pt x="450" y="10"/>
                </a:cubicBezTo>
                <a:cubicBezTo>
                  <a:pt x="451" y="10"/>
                  <a:pt x="451" y="10"/>
                  <a:pt x="451" y="10"/>
                </a:cubicBezTo>
                <a:cubicBezTo>
                  <a:pt x="452" y="11"/>
                  <a:pt x="452" y="11"/>
                  <a:pt x="452" y="11"/>
                </a:cubicBezTo>
                <a:cubicBezTo>
                  <a:pt x="453" y="10"/>
                  <a:pt x="453" y="10"/>
                  <a:pt x="453" y="10"/>
                </a:cubicBezTo>
                <a:cubicBezTo>
                  <a:pt x="454" y="11"/>
                  <a:pt x="454" y="11"/>
                  <a:pt x="454" y="11"/>
                </a:cubicBezTo>
                <a:cubicBezTo>
                  <a:pt x="455" y="10"/>
                  <a:pt x="455" y="10"/>
                  <a:pt x="455" y="10"/>
                </a:cubicBezTo>
                <a:cubicBezTo>
                  <a:pt x="455" y="8"/>
                  <a:pt x="455" y="8"/>
                  <a:pt x="455" y="8"/>
                </a:cubicBezTo>
                <a:cubicBezTo>
                  <a:pt x="454" y="7"/>
                  <a:pt x="454" y="7"/>
                  <a:pt x="454" y="7"/>
                </a:cubicBezTo>
                <a:cubicBezTo>
                  <a:pt x="454" y="6"/>
                  <a:pt x="454" y="6"/>
                  <a:pt x="454" y="6"/>
                </a:cubicBezTo>
                <a:cubicBezTo>
                  <a:pt x="456" y="6"/>
                  <a:pt x="456" y="6"/>
                  <a:pt x="456" y="6"/>
                </a:cubicBezTo>
                <a:cubicBezTo>
                  <a:pt x="456" y="6"/>
                  <a:pt x="456" y="6"/>
                  <a:pt x="456" y="6"/>
                </a:cubicBezTo>
                <a:cubicBezTo>
                  <a:pt x="459" y="6"/>
                  <a:pt x="459" y="6"/>
                  <a:pt x="459" y="6"/>
                </a:cubicBezTo>
                <a:cubicBezTo>
                  <a:pt x="460" y="7"/>
                  <a:pt x="460" y="7"/>
                  <a:pt x="460" y="7"/>
                </a:cubicBezTo>
                <a:cubicBezTo>
                  <a:pt x="460" y="8"/>
                  <a:pt x="460" y="8"/>
                  <a:pt x="460" y="8"/>
                </a:cubicBezTo>
                <a:cubicBezTo>
                  <a:pt x="459" y="9"/>
                  <a:pt x="459" y="9"/>
                  <a:pt x="459" y="9"/>
                </a:cubicBezTo>
                <a:cubicBezTo>
                  <a:pt x="459" y="9"/>
                  <a:pt x="459" y="9"/>
                  <a:pt x="459" y="9"/>
                </a:cubicBezTo>
                <a:cubicBezTo>
                  <a:pt x="461" y="10"/>
                  <a:pt x="461" y="10"/>
                  <a:pt x="461" y="10"/>
                </a:cubicBezTo>
                <a:cubicBezTo>
                  <a:pt x="461" y="11"/>
                  <a:pt x="461" y="11"/>
                  <a:pt x="461" y="11"/>
                </a:cubicBezTo>
                <a:cubicBezTo>
                  <a:pt x="461" y="13"/>
                  <a:pt x="461" y="13"/>
                  <a:pt x="461" y="13"/>
                </a:cubicBezTo>
                <a:cubicBezTo>
                  <a:pt x="461" y="15"/>
                  <a:pt x="461" y="15"/>
                  <a:pt x="461" y="15"/>
                </a:cubicBezTo>
                <a:cubicBezTo>
                  <a:pt x="462" y="15"/>
                  <a:pt x="462" y="15"/>
                  <a:pt x="462" y="15"/>
                </a:cubicBezTo>
                <a:cubicBezTo>
                  <a:pt x="463" y="13"/>
                  <a:pt x="463" y="13"/>
                  <a:pt x="463" y="13"/>
                </a:cubicBezTo>
                <a:cubicBezTo>
                  <a:pt x="463" y="14"/>
                  <a:pt x="463" y="14"/>
                  <a:pt x="463" y="14"/>
                </a:cubicBezTo>
                <a:cubicBezTo>
                  <a:pt x="463" y="15"/>
                  <a:pt x="463" y="15"/>
                  <a:pt x="463" y="15"/>
                </a:cubicBezTo>
                <a:cubicBezTo>
                  <a:pt x="464" y="15"/>
                  <a:pt x="464" y="15"/>
                  <a:pt x="464" y="15"/>
                </a:cubicBezTo>
                <a:cubicBezTo>
                  <a:pt x="465" y="15"/>
                  <a:pt x="465" y="15"/>
                  <a:pt x="465" y="15"/>
                </a:cubicBezTo>
                <a:cubicBezTo>
                  <a:pt x="465" y="14"/>
                  <a:pt x="465" y="14"/>
                  <a:pt x="465" y="14"/>
                </a:cubicBezTo>
                <a:cubicBezTo>
                  <a:pt x="467" y="13"/>
                  <a:pt x="467" y="13"/>
                  <a:pt x="467" y="13"/>
                </a:cubicBezTo>
                <a:cubicBezTo>
                  <a:pt x="467" y="13"/>
                  <a:pt x="467" y="13"/>
                  <a:pt x="467" y="13"/>
                </a:cubicBezTo>
                <a:cubicBezTo>
                  <a:pt x="466" y="10"/>
                  <a:pt x="466" y="10"/>
                  <a:pt x="466" y="10"/>
                </a:cubicBezTo>
                <a:cubicBezTo>
                  <a:pt x="467" y="9"/>
                  <a:pt x="467" y="9"/>
                  <a:pt x="467" y="9"/>
                </a:cubicBezTo>
                <a:cubicBezTo>
                  <a:pt x="468" y="9"/>
                  <a:pt x="468" y="9"/>
                  <a:pt x="468" y="9"/>
                </a:cubicBezTo>
                <a:cubicBezTo>
                  <a:pt x="469" y="10"/>
                  <a:pt x="469" y="10"/>
                  <a:pt x="469" y="10"/>
                </a:cubicBezTo>
                <a:cubicBezTo>
                  <a:pt x="471" y="10"/>
                  <a:pt x="471" y="10"/>
                  <a:pt x="471" y="10"/>
                </a:cubicBezTo>
                <a:cubicBezTo>
                  <a:pt x="471" y="9"/>
                  <a:pt x="471" y="9"/>
                  <a:pt x="471" y="9"/>
                </a:cubicBezTo>
                <a:cubicBezTo>
                  <a:pt x="469" y="8"/>
                  <a:pt x="469" y="8"/>
                  <a:pt x="469" y="8"/>
                </a:cubicBezTo>
                <a:cubicBezTo>
                  <a:pt x="468" y="6"/>
                  <a:pt x="468" y="6"/>
                  <a:pt x="468" y="6"/>
                </a:cubicBezTo>
                <a:cubicBezTo>
                  <a:pt x="469" y="5"/>
                  <a:pt x="469" y="5"/>
                  <a:pt x="469" y="5"/>
                </a:cubicBezTo>
                <a:cubicBezTo>
                  <a:pt x="469" y="4"/>
                  <a:pt x="469" y="4"/>
                  <a:pt x="469" y="4"/>
                </a:cubicBezTo>
                <a:cubicBezTo>
                  <a:pt x="470" y="4"/>
                  <a:pt x="470" y="4"/>
                  <a:pt x="470" y="4"/>
                </a:cubicBezTo>
                <a:cubicBezTo>
                  <a:pt x="472" y="5"/>
                  <a:pt x="472" y="5"/>
                  <a:pt x="472" y="5"/>
                </a:cubicBezTo>
                <a:cubicBezTo>
                  <a:pt x="472" y="7"/>
                  <a:pt x="472" y="7"/>
                  <a:pt x="472" y="7"/>
                </a:cubicBezTo>
                <a:cubicBezTo>
                  <a:pt x="473" y="8"/>
                  <a:pt x="473" y="8"/>
                  <a:pt x="473" y="8"/>
                </a:cubicBezTo>
                <a:cubicBezTo>
                  <a:pt x="473" y="10"/>
                  <a:pt x="473" y="10"/>
                  <a:pt x="473" y="10"/>
                </a:cubicBezTo>
                <a:cubicBezTo>
                  <a:pt x="473" y="11"/>
                  <a:pt x="473" y="11"/>
                  <a:pt x="473" y="11"/>
                </a:cubicBezTo>
                <a:cubicBezTo>
                  <a:pt x="473" y="13"/>
                  <a:pt x="473" y="13"/>
                  <a:pt x="473" y="13"/>
                </a:cubicBezTo>
                <a:cubicBezTo>
                  <a:pt x="474" y="14"/>
                  <a:pt x="474" y="14"/>
                  <a:pt x="474" y="14"/>
                </a:cubicBezTo>
                <a:cubicBezTo>
                  <a:pt x="475" y="13"/>
                  <a:pt x="475" y="13"/>
                  <a:pt x="475" y="13"/>
                </a:cubicBezTo>
                <a:cubicBezTo>
                  <a:pt x="475" y="12"/>
                  <a:pt x="475" y="12"/>
                  <a:pt x="475" y="12"/>
                </a:cubicBezTo>
                <a:cubicBezTo>
                  <a:pt x="474" y="11"/>
                  <a:pt x="474" y="11"/>
                  <a:pt x="474" y="11"/>
                </a:cubicBezTo>
                <a:cubicBezTo>
                  <a:pt x="474" y="9"/>
                  <a:pt x="474" y="9"/>
                  <a:pt x="474" y="9"/>
                </a:cubicBezTo>
                <a:cubicBezTo>
                  <a:pt x="474" y="7"/>
                  <a:pt x="474" y="7"/>
                  <a:pt x="474" y="7"/>
                </a:cubicBezTo>
                <a:cubicBezTo>
                  <a:pt x="474" y="5"/>
                  <a:pt x="474" y="5"/>
                  <a:pt x="474" y="5"/>
                </a:cubicBezTo>
                <a:cubicBezTo>
                  <a:pt x="474" y="3"/>
                  <a:pt x="474" y="3"/>
                  <a:pt x="474" y="3"/>
                </a:cubicBezTo>
                <a:cubicBezTo>
                  <a:pt x="474" y="2"/>
                  <a:pt x="474" y="2"/>
                  <a:pt x="474" y="2"/>
                </a:cubicBezTo>
                <a:cubicBezTo>
                  <a:pt x="475" y="2"/>
                  <a:pt x="475" y="2"/>
                  <a:pt x="475" y="2"/>
                </a:cubicBezTo>
                <a:cubicBezTo>
                  <a:pt x="476" y="3"/>
                  <a:pt x="476" y="3"/>
                  <a:pt x="476" y="3"/>
                </a:cubicBezTo>
                <a:cubicBezTo>
                  <a:pt x="477" y="3"/>
                  <a:pt x="477" y="3"/>
                  <a:pt x="477" y="3"/>
                </a:cubicBezTo>
                <a:cubicBezTo>
                  <a:pt x="477" y="3"/>
                  <a:pt x="477" y="3"/>
                  <a:pt x="477" y="3"/>
                </a:cubicBezTo>
                <a:cubicBezTo>
                  <a:pt x="477" y="5"/>
                  <a:pt x="477" y="5"/>
                  <a:pt x="477" y="5"/>
                </a:cubicBezTo>
                <a:cubicBezTo>
                  <a:pt x="478" y="6"/>
                  <a:pt x="478" y="6"/>
                  <a:pt x="478" y="6"/>
                </a:cubicBezTo>
                <a:cubicBezTo>
                  <a:pt x="478" y="8"/>
                  <a:pt x="478" y="8"/>
                  <a:pt x="478" y="8"/>
                </a:cubicBezTo>
                <a:cubicBezTo>
                  <a:pt x="478" y="10"/>
                  <a:pt x="478" y="10"/>
                  <a:pt x="478" y="10"/>
                </a:cubicBezTo>
                <a:cubicBezTo>
                  <a:pt x="479" y="10"/>
                  <a:pt x="479" y="10"/>
                  <a:pt x="479" y="10"/>
                </a:cubicBezTo>
                <a:cubicBezTo>
                  <a:pt x="479" y="9"/>
                  <a:pt x="479" y="9"/>
                  <a:pt x="479" y="9"/>
                </a:cubicBezTo>
                <a:cubicBezTo>
                  <a:pt x="479" y="8"/>
                  <a:pt x="479" y="8"/>
                  <a:pt x="479" y="8"/>
                </a:cubicBezTo>
                <a:cubicBezTo>
                  <a:pt x="480" y="8"/>
                  <a:pt x="480" y="8"/>
                  <a:pt x="480" y="8"/>
                </a:cubicBezTo>
                <a:cubicBezTo>
                  <a:pt x="482" y="10"/>
                  <a:pt x="482" y="10"/>
                  <a:pt x="482" y="10"/>
                </a:cubicBezTo>
                <a:cubicBezTo>
                  <a:pt x="482" y="10"/>
                  <a:pt x="482" y="10"/>
                  <a:pt x="482" y="10"/>
                </a:cubicBezTo>
                <a:cubicBezTo>
                  <a:pt x="483" y="10"/>
                  <a:pt x="483" y="10"/>
                  <a:pt x="483" y="10"/>
                </a:cubicBezTo>
                <a:cubicBezTo>
                  <a:pt x="483" y="9"/>
                  <a:pt x="483" y="9"/>
                  <a:pt x="483" y="9"/>
                </a:cubicBezTo>
                <a:cubicBezTo>
                  <a:pt x="482" y="9"/>
                  <a:pt x="482" y="9"/>
                  <a:pt x="482" y="9"/>
                </a:cubicBezTo>
                <a:cubicBezTo>
                  <a:pt x="481" y="8"/>
                  <a:pt x="481" y="8"/>
                  <a:pt x="481" y="8"/>
                </a:cubicBezTo>
                <a:cubicBezTo>
                  <a:pt x="482" y="7"/>
                  <a:pt x="482" y="7"/>
                  <a:pt x="482" y="7"/>
                </a:cubicBezTo>
                <a:cubicBezTo>
                  <a:pt x="482" y="6"/>
                  <a:pt x="482" y="6"/>
                  <a:pt x="482" y="6"/>
                </a:cubicBezTo>
                <a:cubicBezTo>
                  <a:pt x="480" y="5"/>
                  <a:pt x="480" y="5"/>
                  <a:pt x="480" y="5"/>
                </a:cubicBezTo>
                <a:cubicBezTo>
                  <a:pt x="480" y="4"/>
                  <a:pt x="480" y="4"/>
                  <a:pt x="480" y="4"/>
                </a:cubicBezTo>
                <a:cubicBezTo>
                  <a:pt x="480" y="4"/>
                  <a:pt x="480" y="4"/>
                  <a:pt x="480" y="4"/>
                </a:cubicBezTo>
                <a:cubicBezTo>
                  <a:pt x="482" y="4"/>
                  <a:pt x="482" y="4"/>
                  <a:pt x="482" y="4"/>
                </a:cubicBezTo>
                <a:cubicBezTo>
                  <a:pt x="481" y="3"/>
                  <a:pt x="481" y="3"/>
                  <a:pt x="481" y="3"/>
                </a:cubicBezTo>
                <a:cubicBezTo>
                  <a:pt x="480" y="3"/>
                  <a:pt x="480" y="3"/>
                  <a:pt x="480" y="3"/>
                </a:cubicBezTo>
                <a:cubicBezTo>
                  <a:pt x="479" y="2"/>
                  <a:pt x="479" y="2"/>
                  <a:pt x="479" y="2"/>
                </a:cubicBezTo>
                <a:cubicBezTo>
                  <a:pt x="480" y="2"/>
                  <a:pt x="480" y="2"/>
                  <a:pt x="480" y="2"/>
                </a:cubicBezTo>
                <a:cubicBezTo>
                  <a:pt x="481" y="2"/>
                  <a:pt x="481" y="2"/>
                  <a:pt x="481" y="2"/>
                </a:cubicBezTo>
                <a:cubicBezTo>
                  <a:pt x="482" y="0"/>
                  <a:pt x="482" y="0"/>
                  <a:pt x="482" y="0"/>
                </a:cubicBezTo>
                <a:cubicBezTo>
                  <a:pt x="485" y="1"/>
                  <a:pt x="485" y="1"/>
                  <a:pt x="485" y="1"/>
                </a:cubicBezTo>
                <a:cubicBezTo>
                  <a:pt x="485" y="1"/>
                  <a:pt x="485" y="1"/>
                  <a:pt x="485" y="1"/>
                </a:cubicBezTo>
                <a:cubicBezTo>
                  <a:pt x="485" y="3"/>
                  <a:pt x="485" y="3"/>
                  <a:pt x="485" y="3"/>
                </a:cubicBezTo>
                <a:cubicBezTo>
                  <a:pt x="485" y="4"/>
                  <a:pt x="485" y="4"/>
                  <a:pt x="485" y="4"/>
                </a:cubicBezTo>
                <a:cubicBezTo>
                  <a:pt x="485" y="5"/>
                  <a:pt x="485" y="5"/>
                  <a:pt x="485" y="5"/>
                </a:cubicBezTo>
                <a:cubicBezTo>
                  <a:pt x="486" y="4"/>
                  <a:pt x="486" y="4"/>
                  <a:pt x="486" y="4"/>
                </a:cubicBezTo>
                <a:cubicBezTo>
                  <a:pt x="487" y="3"/>
                  <a:pt x="487" y="3"/>
                  <a:pt x="487" y="3"/>
                </a:cubicBezTo>
                <a:cubicBezTo>
                  <a:pt x="487" y="2"/>
                  <a:pt x="487" y="2"/>
                  <a:pt x="487" y="2"/>
                </a:cubicBezTo>
                <a:cubicBezTo>
                  <a:pt x="488" y="3"/>
                  <a:pt x="488" y="3"/>
                  <a:pt x="488" y="3"/>
                </a:cubicBezTo>
                <a:cubicBezTo>
                  <a:pt x="487" y="5"/>
                  <a:pt x="487" y="5"/>
                  <a:pt x="487" y="5"/>
                </a:cubicBezTo>
                <a:cubicBezTo>
                  <a:pt x="488" y="5"/>
                  <a:pt x="488" y="5"/>
                  <a:pt x="488" y="5"/>
                </a:cubicBezTo>
                <a:cubicBezTo>
                  <a:pt x="489" y="5"/>
                  <a:pt x="489" y="5"/>
                  <a:pt x="489" y="5"/>
                </a:cubicBezTo>
                <a:cubicBezTo>
                  <a:pt x="489" y="5"/>
                  <a:pt x="489" y="5"/>
                  <a:pt x="489" y="5"/>
                </a:cubicBezTo>
                <a:cubicBezTo>
                  <a:pt x="490" y="3"/>
                  <a:pt x="490" y="3"/>
                  <a:pt x="490" y="3"/>
                </a:cubicBezTo>
                <a:cubicBezTo>
                  <a:pt x="491" y="4"/>
                  <a:pt x="491" y="4"/>
                  <a:pt x="491" y="4"/>
                </a:cubicBezTo>
                <a:cubicBezTo>
                  <a:pt x="491" y="5"/>
                  <a:pt x="491" y="5"/>
                  <a:pt x="491" y="5"/>
                </a:cubicBezTo>
                <a:cubicBezTo>
                  <a:pt x="490" y="6"/>
                  <a:pt x="490" y="6"/>
                  <a:pt x="490" y="6"/>
                </a:cubicBezTo>
                <a:cubicBezTo>
                  <a:pt x="491" y="8"/>
                  <a:pt x="491" y="8"/>
                  <a:pt x="491" y="8"/>
                </a:cubicBezTo>
                <a:cubicBezTo>
                  <a:pt x="490" y="9"/>
                  <a:pt x="490" y="9"/>
                  <a:pt x="490" y="9"/>
                </a:cubicBezTo>
                <a:cubicBezTo>
                  <a:pt x="491" y="10"/>
                  <a:pt x="491" y="10"/>
                  <a:pt x="491" y="10"/>
                </a:cubicBezTo>
                <a:cubicBezTo>
                  <a:pt x="492" y="9"/>
                  <a:pt x="492" y="9"/>
                  <a:pt x="492" y="9"/>
                </a:cubicBezTo>
                <a:cubicBezTo>
                  <a:pt x="493" y="10"/>
                  <a:pt x="493" y="10"/>
                  <a:pt x="493" y="10"/>
                </a:cubicBezTo>
                <a:cubicBezTo>
                  <a:pt x="493" y="9"/>
                  <a:pt x="493" y="9"/>
                  <a:pt x="493" y="9"/>
                </a:cubicBezTo>
                <a:cubicBezTo>
                  <a:pt x="493" y="7"/>
                  <a:pt x="493" y="7"/>
                  <a:pt x="493" y="7"/>
                </a:cubicBezTo>
                <a:cubicBezTo>
                  <a:pt x="494" y="5"/>
                  <a:pt x="494" y="5"/>
                  <a:pt x="494" y="5"/>
                </a:cubicBezTo>
                <a:cubicBezTo>
                  <a:pt x="493" y="2"/>
                  <a:pt x="493" y="2"/>
                  <a:pt x="493" y="2"/>
                </a:cubicBezTo>
                <a:cubicBezTo>
                  <a:pt x="493" y="1"/>
                  <a:pt x="493" y="1"/>
                  <a:pt x="493" y="1"/>
                </a:cubicBezTo>
                <a:cubicBezTo>
                  <a:pt x="494" y="0"/>
                  <a:pt x="494" y="0"/>
                  <a:pt x="494" y="0"/>
                </a:cubicBezTo>
                <a:cubicBezTo>
                  <a:pt x="495" y="1"/>
                  <a:pt x="495" y="1"/>
                  <a:pt x="495" y="1"/>
                </a:cubicBezTo>
                <a:cubicBezTo>
                  <a:pt x="496" y="1"/>
                  <a:pt x="496" y="1"/>
                  <a:pt x="496" y="1"/>
                </a:cubicBezTo>
                <a:cubicBezTo>
                  <a:pt x="497" y="1"/>
                  <a:pt x="497" y="1"/>
                  <a:pt x="497" y="1"/>
                </a:cubicBezTo>
                <a:cubicBezTo>
                  <a:pt x="499" y="1"/>
                  <a:pt x="499" y="1"/>
                  <a:pt x="499" y="1"/>
                </a:cubicBezTo>
                <a:cubicBezTo>
                  <a:pt x="500" y="1"/>
                  <a:pt x="500" y="1"/>
                  <a:pt x="500" y="1"/>
                </a:cubicBezTo>
                <a:cubicBezTo>
                  <a:pt x="501" y="2"/>
                  <a:pt x="501" y="2"/>
                  <a:pt x="501" y="2"/>
                </a:cubicBezTo>
                <a:cubicBezTo>
                  <a:pt x="502" y="3"/>
                  <a:pt x="502" y="3"/>
                  <a:pt x="502" y="3"/>
                </a:cubicBezTo>
                <a:cubicBezTo>
                  <a:pt x="504" y="2"/>
                  <a:pt x="504" y="2"/>
                  <a:pt x="504" y="2"/>
                </a:cubicBezTo>
                <a:cubicBezTo>
                  <a:pt x="505" y="3"/>
                  <a:pt x="505" y="3"/>
                  <a:pt x="505" y="3"/>
                </a:cubicBezTo>
                <a:cubicBezTo>
                  <a:pt x="506" y="4"/>
                  <a:pt x="506" y="4"/>
                  <a:pt x="506" y="4"/>
                </a:cubicBezTo>
                <a:cubicBezTo>
                  <a:pt x="506" y="5"/>
                  <a:pt x="506" y="5"/>
                  <a:pt x="506" y="5"/>
                </a:cubicBezTo>
                <a:cubicBezTo>
                  <a:pt x="506" y="6"/>
                  <a:pt x="506" y="6"/>
                  <a:pt x="506" y="6"/>
                </a:cubicBezTo>
                <a:cubicBezTo>
                  <a:pt x="506" y="8"/>
                  <a:pt x="506" y="8"/>
                  <a:pt x="506" y="8"/>
                </a:cubicBezTo>
                <a:cubicBezTo>
                  <a:pt x="506" y="9"/>
                  <a:pt x="506" y="9"/>
                  <a:pt x="506" y="9"/>
                </a:cubicBezTo>
                <a:cubicBezTo>
                  <a:pt x="507" y="8"/>
                  <a:pt x="507" y="8"/>
                  <a:pt x="507" y="8"/>
                </a:cubicBezTo>
                <a:cubicBezTo>
                  <a:pt x="508" y="7"/>
                  <a:pt x="508" y="7"/>
                  <a:pt x="508" y="7"/>
                </a:cubicBezTo>
                <a:cubicBezTo>
                  <a:pt x="510" y="5"/>
                  <a:pt x="510" y="5"/>
                  <a:pt x="510" y="5"/>
                </a:cubicBezTo>
                <a:cubicBezTo>
                  <a:pt x="511" y="4"/>
                  <a:pt x="511" y="4"/>
                  <a:pt x="511" y="4"/>
                </a:cubicBezTo>
                <a:cubicBezTo>
                  <a:pt x="512" y="4"/>
                  <a:pt x="512" y="4"/>
                  <a:pt x="512" y="4"/>
                </a:cubicBezTo>
                <a:cubicBezTo>
                  <a:pt x="514" y="5"/>
                  <a:pt x="514" y="5"/>
                  <a:pt x="514" y="5"/>
                </a:cubicBezTo>
                <a:cubicBezTo>
                  <a:pt x="515" y="5"/>
                  <a:pt x="515" y="5"/>
                  <a:pt x="515" y="5"/>
                </a:cubicBezTo>
                <a:cubicBezTo>
                  <a:pt x="515" y="6"/>
                  <a:pt x="515" y="6"/>
                  <a:pt x="515" y="6"/>
                </a:cubicBezTo>
                <a:cubicBezTo>
                  <a:pt x="514" y="7"/>
                  <a:pt x="514" y="7"/>
                  <a:pt x="514" y="7"/>
                </a:cubicBezTo>
                <a:cubicBezTo>
                  <a:pt x="514" y="9"/>
                  <a:pt x="514" y="9"/>
                  <a:pt x="514" y="9"/>
                </a:cubicBezTo>
                <a:cubicBezTo>
                  <a:pt x="515" y="8"/>
                  <a:pt x="515" y="8"/>
                  <a:pt x="515" y="8"/>
                </a:cubicBezTo>
                <a:cubicBezTo>
                  <a:pt x="515" y="7"/>
                  <a:pt x="515" y="7"/>
                  <a:pt x="515" y="7"/>
                </a:cubicBezTo>
                <a:cubicBezTo>
                  <a:pt x="517" y="6"/>
                  <a:pt x="517" y="6"/>
                  <a:pt x="517" y="6"/>
                </a:cubicBezTo>
                <a:cubicBezTo>
                  <a:pt x="518" y="6"/>
                  <a:pt x="518" y="6"/>
                  <a:pt x="518" y="6"/>
                </a:cubicBezTo>
                <a:cubicBezTo>
                  <a:pt x="520" y="6"/>
                  <a:pt x="520" y="6"/>
                  <a:pt x="520" y="6"/>
                </a:cubicBezTo>
                <a:cubicBezTo>
                  <a:pt x="522" y="7"/>
                  <a:pt x="522" y="7"/>
                  <a:pt x="522" y="7"/>
                </a:cubicBezTo>
                <a:cubicBezTo>
                  <a:pt x="523" y="8"/>
                  <a:pt x="523" y="8"/>
                  <a:pt x="523" y="8"/>
                </a:cubicBezTo>
                <a:cubicBezTo>
                  <a:pt x="522" y="8"/>
                  <a:pt x="522" y="8"/>
                  <a:pt x="522" y="8"/>
                </a:cubicBezTo>
                <a:cubicBezTo>
                  <a:pt x="522" y="9"/>
                  <a:pt x="522" y="9"/>
                  <a:pt x="522" y="9"/>
                </a:cubicBezTo>
                <a:cubicBezTo>
                  <a:pt x="522" y="9"/>
                  <a:pt x="522" y="9"/>
                  <a:pt x="522" y="9"/>
                </a:cubicBezTo>
                <a:cubicBezTo>
                  <a:pt x="521" y="10"/>
                  <a:pt x="521" y="10"/>
                  <a:pt x="521" y="10"/>
                </a:cubicBezTo>
                <a:cubicBezTo>
                  <a:pt x="522" y="11"/>
                  <a:pt x="522" y="11"/>
                  <a:pt x="522" y="11"/>
                </a:cubicBezTo>
                <a:cubicBezTo>
                  <a:pt x="523" y="10"/>
                  <a:pt x="523" y="10"/>
                  <a:pt x="523" y="10"/>
                </a:cubicBezTo>
                <a:cubicBezTo>
                  <a:pt x="524" y="10"/>
                  <a:pt x="524" y="10"/>
                  <a:pt x="524" y="10"/>
                </a:cubicBezTo>
                <a:cubicBezTo>
                  <a:pt x="524" y="11"/>
                  <a:pt x="524" y="11"/>
                  <a:pt x="524" y="11"/>
                </a:cubicBezTo>
                <a:cubicBezTo>
                  <a:pt x="525" y="12"/>
                  <a:pt x="525" y="12"/>
                  <a:pt x="525" y="12"/>
                </a:cubicBezTo>
                <a:cubicBezTo>
                  <a:pt x="525" y="11"/>
                  <a:pt x="525" y="11"/>
                  <a:pt x="525" y="11"/>
                </a:cubicBezTo>
                <a:cubicBezTo>
                  <a:pt x="527" y="10"/>
                  <a:pt x="527" y="10"/>
                  <a:pt x="527" y="10"/>
                </a:cubicBezTo>
                <a:cubicBezTo>
                  <a:pt x="527" y="11"/>
                  <a:pt x="527" y="11"/>
                  <a:pt x="527" y="11"/>
                </a:cubicBezTo>
                <a:cubicBezTo>
                  <a:pt x="527" y="12"/>
                  <a:pt x="527" y="12"/>
                  <a:pt x="527" y="12"/>
                </a:cubicBezTo>
                <a:cubicBezTo>
                  <a:pt x="527" y="13"/>
                  <a:pt x="527" y="13"/>
                  <a:pt x="527" y="13"/>
                </a:cubicBezTo>
                <a:cubicBezTo>
                  <a:pt x="528" y="13"/>
                  <a:pt x="528" y="13"/>
                  <a:pt x="528" y="13"/>
                </a:cubicBezTo>
                <a:cubicBezTo>
                  <a:pt x="528" y="13"/>
                  <a:pt x="528" y="13"/>
                  <a:pt x="528" y="13"/>
                </a:cubicBezTo>
                <a:cubicBezTo>
                  <a:pt x="529" y="12"/>
                  <a:pt x="529" y="12"/>
                  <a:pt x="529" y="12"/>
                </a:cubicBezTo>
                <a:cubicBezTo>
                  <a:pt x="530" y="12"/>
                  <a:pt x="530" y="12"/>
                  <a:pt x="530" y="12"/>
                </a:cubicBezTo>
                <a:cubicBezTo>
                  <a:pt x="530" y="13"/>
                  <a:pt x="530" y="13"/>
                  <a:pt x="530" y="13"/>
                </a:cubicBezTo>
                <a:cubicBezTo>
                  <a:pt x="533" y="14"/>
                  <a:pt x="533" y="14"/>
                  <a:pt x="533" y="14"/>
                </a:cubicBezTo>
                <a:cubicBezTo>
                  <a:pt x="534" y="14"/>
                  <a:pt x="534" y="14"/>
                  <a:pt x="534" y="14"/>
                </a:cubicBezTo>
                <a:cubicBezTo>
                  <a:pt x="534" y="15"/>
                  <a:pt x="534" y="15"/>
                  <a:pt x="534" y="15"/>
                </a:cubicBezTo>
                <a:cubicBezTo>
                  <a:pt x="534" y="15"/>
                  <a:pt x="534" y="15"/>
                  <a:pt x="534" y="15"/>
                </a:cubicBezTo>
                <a:cubicBezTo>
                  <a:pt x="531" y="16"/>
                  <a:pt x="531" y="16"/>
                  <a:pt x="531" y="16"/>
                </a:cubicBezTo>
                <a:cubicBezTo>
                  <a:pt x="530" y="18"/>
                  <a:pt x="530" y="18"/>
                  <a:pt x="530" y="18"/>
                </a:cubicBezTo>
                <a:cubicBezTo>
                  <a:pt x="529" y="18"/>
                  <a:pt x="529" y="18"/>
                  <a:pt x="529" y="18"/>
                </a:cubicBezTo>
                <a:cubicBezTo>
                  <a:pt x="527" y="19"/>
                  <a:pt x="527" y="19"/>
                  <a:pt x="527" y="19"/>
                </a:cubicBezTo>
                <a:cubicBezTo>
                  <a:pt x="526" y="19"/>
                  <a:pt x="526" y="19"/>
                  <a:pt x="526" y="19"/>
                </a:cubicBezTo>
                <a:cubicBezTo>
                  <a:pt x="525" y="19"/>
                  <a:pt x="525" y="19"/>
                  <a:pt x="525" y="19"/>
                </a:cubicBezTo>
                <a:cubicBezTo>
                  <a:pt x="524" y="19"/>
                  <a:pt x="524" y="19"/>
                  <a:pt x="524" y="19"/>
                </a:cubicBezTo>
                <a:cubicBezTo>
                  <a:pt x="523" y="20"/>
                  <a:pt x="523" y="20"/>
                  <a:pt x="523" y="20"/>
                </a:cubicBezTo>
                <a:cubicBezTo>
                  <a:pt x="525" y="20"/>
                  <a:pt x="525" y="20"/>
                  <a:pt x="525" y="20"/>
                </a:cubicBezTo>
                <a:cubicBezTo>
                  <a:pt x="528" y="20"/>
                  <a:pt x="528" y="20"/>
                  <a:pt x="528" y="20"/>
                </a:cubicBezTo>
                <a:cubicBezTo>
                  <a:pt x="529" y="21"/>
                  <a:pt x="529" y="21"/>
                  <a:pt x="529" y="21"/>
                </a:cubicBezTo>
                <a:cubicBezTo>
                  <a:pt x="529" y="21"/>
                  <a:pt x="529" y="21"/>
                  <a:pt x="529" y="21"/>
                </a:cubicBezTo>
                <a:cubicBezTo>
                  <a:pt x="530" y="20"/>
                  <a:pt x="530" y="20"/>
                  <a:pt x="530" y="20"/>
                </a:cubicBezTo>
                <a:cubicBezTo>
                  <a:pt x="531" y="19"/>
                  <a:pt x="531" y="19"/>
                  <a:pt x="531" y="19"/>
                </a:cubicBezTo>
                <a:cubicBezTo>
                  <a:pt x="532" y="19"/>
                  <a:pt x="532" y="19"/>
                  <a:pt x="532" y="19"/>
                </a:cubicBezTo>
                <a:cubicBezTo>
                  <a:pt x="533" y="18"/>
                  <a:pt x="533" y="18"/>
                  <a:pt x="533" y="18"/>
                </a:cubicBezTo>
                <a:cubicBezTo>
                  <a:pt x="534" y="17"/>
                  <a:pt x="534" y="17"/>
                  <a:pt x="534" y="17"/>
                </a:cubicBezTo>
                <a:cubicBezTo>
                  <a:pt x="536" y="17"/>
                  <a:pt x="536" y="17"/>
                  <a:pt x="536" y="17"/>
                </a:cubicBezTo>
                <a:cubicBezTo>
                  <a:pt x="536" y="18"/>
                  <a:pt x="536" y="18"/>
                  <a:pt x="536" y="18"/>
                </a:cubicBezTo>
                <a:cubicBezTo>
                  <a:pt x="536" y="19"/>
                  <a:pt x="536" y="19"/>
                  <a:pt x="536" y="19"/>
                </a:cubicBezTo>
                <a:cubicBezTo>
                  <a:pt x="536" y="20"/>
                  <a:pt x="536" y="20"/>
                  <a:pt x="536" y="20"/>
                </a:cubicBezTo>
                <a:cubicBezTo>
                  <a:pt x="537" y="20"/>
                  <a:pt x="537" y="20"/>
                  <a:pt x="537" y="20"/>
                </a:cubicBezTo>
                <a:cubicBezTo>
                  <a:pt x="537" y="18"/>
                  <a:pt x="537" y="18"/>
                  <a:pt x="537" y="18"/>
                </a:cubicBezTo>
                <a:cubicBezTo>
                  <a:pt x="539" y="17"/>
                  <a:pt x="539" y="17"/>
                  <a:pt x="539" y="17"/>
                </a:cubicBezTo>
                <a:cubicBezTo>
                  <a:pt x="539" y="18"/>
                  <a:pt x="539" y="18"/>
                  <a:pt x="539" y="18"/>
                </a:cubicBezTo>
                <a:cubicBezTo>
                  <a:pt x="538" y="19"/>
                  <a:pt x="538" y="19"/>
                  <a:pt x="538" y="19"/>
                </a:cubicBezTo>
                <a:cubicBezTo>
                  <a:pt x="538" y="20"/>
                  <a:pt x="538" y="20"/>
                  <a:pt x="538" y="20"/>
                </a:cubicBezTo>
                <a:cubicBezTo>
                  <a:pt x="538" y="20"/>
                  <a:pt x="538" y="20"/>
                  <a:pt x="538" y="20"/>
                </a:cubicBezTo>
                <a:cubicBezTo>
                  <a:pt x="538" y="21"/>
                  <a:pt x="538" y="21"/>
                  <a:pt x="538" y="21"/>
                </a:cubicBezTo>
                <a:cubicBezTo>
                  <a:pt x="539" y="21"/>
                  <a:pt x="539" y="21"/>
                  <a:pt x="539" y="21"/>
                </a:cubicBezTo>
                <a:cubicBezTo>
                  <a:pt x="540" y="20"/>
                  <a:pt x="540" y="20"/>
                  <a:pt x="540" y="20"/>
                </a:cubicBezTo>
                <a:cubicBezTo>
                  <a:pt x="540" y="19"/>
                  <a:pt x="540" y="19"/>
                  <a:pt x="540" y="19"/>
                </a:cubicBezTo>
                <a:cubicBezTo>
                  <a:pt x="541" y="19"/>
                  <a:pt x="541" y="19"/>
                  <a:pt x="541" y="19"/>
                </a:cubicBezTo>
                <a:cubicBezTo>
                  <a:pt x="543" y="19"/>
                  <a:pt x="543" y="19"/>
                  <a:pt x="543" y="19"/>
                </a:cubicBezTo>
                <a:cubicBezTo>
                  <a:pt x="542" y="22"/>
                  <a:pt x="542" y="22"/>
                  <a:pt x="542" y="22"/>
                </a:cubicBezTo>
                <a:cubicBezTo>
                  <a:pt x="541" y="22"/>
                  <a:pt x="541" y="22"/>
                  <a:pt x="541" y="22"/>
                </a:cubicBezTo>
                <a:cubicBezTo>
                  <a:pt x="542" y="22"/>
                  <a:pt x="542" y="22"/>
                  <a:pt x="542" y="22"/>
                </a:cubicBezTo>
                <a:cubicBezTo>
                  <a:pt x="542" y="24"/>
                  <a:pt x="542" y="24"/>
                  <a:pt x="542" y="24"/>
                </a:cubicBezTo>
                <a:cubicBezTo>
                  <a:pt x="542" y="25"/>
                  <a:pt x="542" y="25"/>
                  <a:pt x="542" y="25"/>
                </a:cubicBezTo>
                <a:cubicBezTo>
                  <a:pt x="541" y="26"/>
                  <a:pt x="541" y="26"/>
                  <a:pt x="541" y="26"/>
                </a:cubicBezTo>
                <a:cubicBezTo>
                  <a:pt x="540" y="27"/>
                  <a:pt x="540" y="27"/>
                  <a:pt x="540" y="27"/>
                </a:cubicBezTo>
                <a:cubicBezTo>
                  <a:pt x="539" y="29"/>
                  <a:pt x="539" y="29"/>
                  <a:pt x="539" y="29"/>
                </a:cubicBezTo>
                <a:cubicBezTo>
                  <a:pt x="539" y="30"/>
                  <a:pt x="539" y="30"/>
                  <a:pt x="539" y="30"/>
                </a:cubicBezTo>
                <a:cubicBezTo>
                  <a:pt x="540" y="29"/>
                  <a:pt x="540" y="29"/>
                  <a:pt x="540" y="29"/>
                </a:cubicBezTo>
                <a:cubicBezTo>
                  <a:pt x="541" y="28"/>
                  <a:pt x="541" y="28"/>
                  <a:pt x="541" y="28"/>
                </a:cubicBezTo>
                <a:cubicBezTo>
                  <a:pt x="542" y="28"/>
                  <a:pt x="542" y="28"/>
                  <a:pt x="542" y="28"/>
                </a:cubicBezTo>
                <a:cubicBezTo>
                  <a:pt x="542" y="28"/>
                  <a:pt x="542" y="28"/>
                  <a:pt x="542" y="28"/>
                </a:cubicBezTo>
                <a:cubicBezTo>
                  <a:pt x="543" y="28"/>
                  <a:pt x="543" y="28"/>
                  <a:pt x="543" y="28"/>
                </a:cubicBezTo>
                <a:cubicBezTo>
                  <a:pt x="545" y="29"/>
                  <a:pt x="545" y="29"/>
                  <a:pt x="545" y="29"/>
                </a:cubicBezTo>
                <a:cubicBezTo>
                  <a:pt x="545" y="30"/>
                  <a:pt x="545" y="30"/>
                  <a:pt x="545" y="30"/>
                </a:cubicBezTo>
                <a:cubicBezTo>
                  <a:pt x="546" y="32"/>
                  <a:pt x="546" y="32"/>
                  <a:pt x="546" y="32"/>
                </a:cubicBezTo>
                <a:cubicBezTo>
                  <a:pt x="545" y="35"/>
                  <a:pt x="545" y="35"/>
                  <a:pt x="545" y="35"/>
                </a:cubicBezTo>
                <a:cubicBezTo>
                  <a:pt x="544" y="38"/>
                  <a:pt x="544" y="38"/>
                  <a:pt x="544" y="38"/>
                </a:cubicBezTo>
                <a:cubicBezTo>
                  <a:pt x="541" y="39"/>
                  <a:pt x="541" y="39"/>
                  <a:pt x="541" y="39"/>
                </a:cubicBezTo>
                <a:cubicBezTo>
                  <a:pt x="541" y="40"/>
                  <a:pt x="541" y="40"/>
                  <a:pt x="541" y="40"/>
                </a:cubicBezTo>
                <a:cubicBezTo>
                  <a:pt x="540" y="39"/>
                  <a:pt x="540" y="39"/>
                  <a:pt x="540" y="39"/>
                </a:cubicBezTo>
                <a:cubicBezTo>
                  <a:pt x="538" y="40"/>
                  <a:pt x="538" y="40"/>
                  <a:pt x="538" y="40"/>
                </a:cubicBezTo>
                <a:cubicBezTo>
                  <a:pt x="538" y="40"/>
                  <a:pt x="538" y="40"/>
                  <a:pt x="538" y="40"/>
                </a:cubicBezTo>
                <a:cubicBezTo>
                  <a:pt x="538" y="41"/>
                  <a:pt x="538" y="41"/>
                  <a:pt x="538" y="41"/>
                </a:cubicBezTo>
                <a:cubicBezTo>
                  <a:pt x="534" y="43"/>
                  <a:pt x="534" y="43"/>
                  <a:pt x="534" y="43"/>
                </a:cubicBezTo>
                <a:cubicBezTo>
                  <a:pt x="532" y="44"/>
                  <a:pt x="532" y="44"/>
                  <a:pt x="532" y="44"/>
                </a:cubicBezTo>
                <a:cubicBezTo>
                  <a:pt x="531" y="44"/>
                  <a:pt x="531" y="44"/>
                  <a:pt x="531" y="44"/>
                </a:cubicBezTo>
                <a:cubicBezTo>
                  <a:pt x="530" y="45"/>
                  <a:pt x="530" y="45"/>
                  <a:pt x="530" y="45"/>
                </a:cubicBezTo>
                <a:cubicBezTo>
                  <a:pt x="528" y="45"/>
                  <a:pt x="528" y="45"/>
                  <a:pt x="528" y="45"/>
                </a:cubicBezTo>
                <a:cubicBezTo>
                  <a:pt x="527" y="44"/>
                  <a:pt x="527" y="44"/>
                  <a:pt x="527" y="44"/>
                </a:cubicBezTo>
                <a:cubicBezTo>
                  <a:pt x="526" y="45"/>
                  <a:pt x="526" y="45"/>
                  <a:pt x="526" y="45"/>
                </a:cubicBezTo>
                <a:cubicBezTo>
                  <a:pt x="526" y="46"/>
                  <a:pt x="526" y="46"/>
                  <a:pt x="526" y="46"/>
                </a:cubicBezTo>
                <a:cubicBezTo>
                  <a:pt x="524" y="45"/>
                  <a:pt x="524" y="45"/>
                  <a:pt x="524" y="45"/>
                </a:cubicBezTo>
                <a:cubicBezTo>
                  <a:pt x="523" y="44"/>
                  <a:pt x="523" y="44"/>
                  <a:pt x="523" y="44"/>
                </a:cubicBezTo>
                <a:cubicBezTo>
                  <a:pt x="521" y="44"/>
                  <a:pt x="521" y="44"/>
                  <a:pt x="521" y="44"/>
                </a:cubicBezTo>
                <a:cubicBezTo>
                  <a:pt x="521" y="44"/>
                  <a:pt x="521" y="44"/>
                  <a:pt x="521" y="44"/>
                </a:cubicBezTo>
                <a:cubicBezTo>
                  <a:pt x="522" y="45"/>
                  <a:pt x="522" y="45"/>
                  <a:pt x="522" y="45"/>
                </a:cubicBezTo>
                <a:cubicBezTo>
                  <a:pt x="523" y="45"/>
                  <a:pt x="523" y="45"/>
                  <a:pt x="523" y="45"/>
                </a:cubicBezTo>
                <a:cubicBezTo>
                  <a:pt x="522" y="46"/>
                  <a:pt x="522" y="46"/>
                  <a:pt x="522" y="46"/>
                </a:cubicBezTo>
                <a:cubicBezTo>
                  <a:pt x="520" y="45"/>
                  <a:pt x="520" y="45"/>
                  <a:pt x="520" y="45"/>
                </a:cubicBezTo>
                <a:cubicBezTo>
                  <a:pt x="520" y="45"/>
                  <a:pt x="520" y="45"/>
                  <a:pt x="520" y="45"/>
                </a:cubicBezTo>
                <a:cubicBezTo>
                  <a:pt x="519" y="45"/>
                  <a:pt x="519" y="45"/>
                  <a:pt x="519" y="45"/>
                </a:cubicBezTo>
                <a:cubicBezTo>
                  <a:pt x="517" y="45"/>
                  <a:pt x="517" y="45"/>
                  <a:pt x="517" y="45"/>
                </a:cubicBezTo>
                <a:cubicBezTo>
                  <a:pt x="516" y="44"/>
                  <a:pt x="516" y="44"/>
                  <a:pt x="516" y="44"/>
                </a:cubicBezTo>
                <a:cubicBezTo>
                  <a:pt x="515" y="44"/>
                  <a:pt x="515" y="44"/>
                  <a:pt x="515" y="44"/>
                </a:cubicBezTo>
                <a:cubicBezTo>
                  <a:pt x="514" y="44"/>
                  <a:pt x="514" y="44"/>
                  <a:pt x="514" y="44"/>
                </a:cubicBezTo>
                <a:cubicBezTo>
                  <a:pt x="513" y="42"/>
                  <a:pt x="513" y="42"/>
                  <a:pt x="513" y="42"/>
                </a:cubicBezTo>
                <a:cubicBezTo>
                  <a:pt x="511" y="41"/>
                  <a:pt x="511" y="41"/>
                  <a:pt x="511" y="41"/>
                </a:cubicBezTo>
                <a:cubicBezTo>
                  <a:pt x="512" y="42"/>
                  <a:pt x="512" y="42"/>
                  <a:pt x="512" y="42"/>
                </a:cubicBezTo>
                <a:cubicBezTo>
                  <a:pt x="513" y="44"/>
                  <a:pt x="513" y="44"/>
                  <a:pt x="513" y="44"/>
                </a:cubicBezTo>
                <a:cubicBezTo>
                  <a:pt x="513" y="44"/>
                  <a:pt x="513" y="44"/>
                  <a:pt x="513" y="44"/>
                </a:cubicBezTo>
                <a:cubicBezTo>
                  <a:pt x="512" y="44"/>
                  <a:pt x="512" y="44"/>
                  <a:pt x="512" y="44"/>
                </a:cubicBezTo>
                <a:cubicBezTo>
                  <a:pt x="510" y="44"/>
                  <a:pt x="510" y="44"/>
                  <a:pt x="510" y="44"/>
                </a:cubicBezTo>
                <a:cubicBezTo>
                  <a:pt x="511" y="45"/>
                  <a:pt x="511" y="45"/>
                  <a:pt x="511" y="45"/>
                </a:cubicBezTo>
                <a:cubicBezTo>
                  <a:pt x="515" y="45"/>
                  <a:pt x="515" y="45"/>
                  <a:pt x="515" y="45"/>
                </a:cubicBezTo>
                <a:cubicBezTo>
                  <a:pt x="517" y="46"/>
                  <a:pt x="517" y="46"/>
                  <a:pt x="517" y="46"/>
                </a:cubicBezTo>
                <a:cubicBezTo>
                  <a:pt x="518" y="47"/>
                  <a:pt x="518" y="47"/>
                  <a:pt x="518" y="47"/>
                </a:cubicBezTo>
                <a:cubicBezTo>
                  <a:pt x="517" y="47"/>
                  <a:pt x="517" y="47"/>
                  <a:pt x="517" y="47"/>
                </a:cubicBezTo>
                <a:cubicBezTo>
                  <a:pt x="512" y="50"/>
                  <a:pt x="512" y="50"/>
                  <a:pt x="512" y="50"/>
                </a:cubicBezTo>
                <a:cubicBezTo>
                  <a:pt x="508" y="50"/>
                  <a:pt x="508" y="50"/>
                  <a:pt x="508" y="50"/>
                </a:cubicBezTo>
                <a:cubicBezTo>
                  <a:pt x="507" y="50"/>
                  <a:pt x="507" y="50"/>
                  <a:pt x="507" y="50"/>
                </a:cubicBezTo>
                <a:cubicBezTo>
                  <a:pt x="505" y="51"/>
                  <a:pt x="505" y="51"/>
                  <a:pt x="505" y="51"/>
                </a:cubicBezTo>
                <a:cubicBezTo>
                  <a:pt x="503" y="50"/>
                  <a:pt x="503" y="50"/>
                  <a:pt x="503" y="50"/>
                </a:cubicBezTo>
                <a:cubicBezTo>
                  <a:pt x="503" y="50"/>
                  <a:pt x="503" y="50"/>
                  <a:pt x="503" y="50"/>
                </a:cubicBezTo>
                <a:cubicBezTo>
                  <a:pt x="502" y="50"/>
                  <a:pt x="502" y="50"/>
                  <a:pt x="502" y="50"/>
                </a:cubicBezTo>
                <a:cubicBezTo>
                  <a:pt x="501" y="50"/>
                  <a:pt x="501" y="50"/>
                  <a:pt x="501" y="50"/>
                </a:cubicBezTo>
                <a:cubicBezTo>
                  <a:pt x="500" y="50"/>
                  <a:pt x="500" y="50"/>
                  <a:pt x="500" y="50"/>
                </a:cubicBezTo>
                <a:cubicBezTo>
                  <a:pt x="499" y="51"/>
                  <a:pt x="499" y="51"/>
                  <a:pt x="499" y="51"/>
                </a:cubicBezTo>
                <a:cubicBezTo>
                  <a:pt x="500" y="51"/>
                  <a:pt x="500" y="51"/>
                  <a:pt x="500" y="51"/>
                </a:cubicBezTo>
                <a:cubicBezTo>
                  <a:pt x="501" y="52"/>
                  <a:pt x="501" y="52"/>
                  <a:pt x="501" y="52"/>
                </a:cubicBezTo>
                <a:cubicBezTo>
                  <a:pt x="502" y="51"/>
                  <a:pt x="502" y="51"/>
                  <a:pt x="502" y="51"/>
                </a:cubicBezTo>
                <a:cubicBezTo>
                  <a:pt x="506" y="51"/>
                  <a:pt x="506" y="51"/>
                  <a:pt x="506" y="51"/>
                </a:cubicBezTo>
                <a:cubicBezTo>
                  <a:pt x="507" y="51"/>
                  <a:pt x="507" y="51"/>
                  <a:pt x="507" y="51"/>
                </a:cubicBezTo>
                <a:cubicBezTo>
                  <a:pt x="512" y="51"/>
                  <a:pt x="512" y="51"/>
                  <a:pt x="512" y="51"/>
                </a:cubicBezTo>
                <a:cubicBezTo>
                  <a:pt x="515" y="51"/>
                  <a:pt x="515" y="51"/>
                  <a:pt x="515" y="51"/>
                </a:cubicBezTo>
                <a:cubicBezTo>
                  <a:pt x="517" y="49"/>
                  <a:pt x="517" y="49"/>
                  <a:pt x="517" y="49"/>
                </a:cubicBezTo>
                <a:cubicBezTo>
                  <a:pt x="519" y="49"/>
                  <a:pt x="519" y="49"/>
                  <a:pt x="519" y="49"/>
                </a:cubicBezTo>
                <a:cubicBezTo>
                  <a:pt x="520" y="49"/>
                  <a:pt x="520" y="49"/>
                  <a:pt x="520" y="49"/>
                </a:cubicBezTo>
                <a:cubicBezTo>
                  <a:pt x="521" y="49"/>
                  <a:pt x="521" y="49"/>
                  <a:pt x="521" y="49"/>
                </a:cubicBezTo>
                <a:cubicBezTo>
                  <a:pt x="523" y="49"/>
                  <a:pt x="523" y="49"/>
                  <a:pt x="523" y="49"/>
                </a:cubicBezTo>
                <a:cubicBezTo>
                  <a:pt x="522" y="50"/>
                  <a:pt x="522" y="50"/>
                  <a:pt x="522" y="50"/>
                </a:cubicBezTo>
                <a:cubicBezTo>
                  <a:pt x="521" y="52"/>
                  <a:pt x="521" y="52"/>
                  <a:pt x="521" y="52"/>
                </a:cubicBezTo>
                <a:cubicBezTo>
                  <a:pt x="519" y="53"/>
                  <a:pt x="519" y="53"/>
                  <a:pt x="519" y="53"/>
                </a:cubicBezTo>
                <a:cubicBezTo>
                  <a:pt x="519" y="54"/>
                  <a:pt x="519" y="54"/>
                  <a:pt x="519" y="54"/>
                </a:cubicBezTo>
                <a:cubicBezTo>
                  <a:pt x="516" y="54"/>
                  <a:pt x="516" y="54"/>
                  <a:pt x="516" y="54"/>
                </a:cubicBezTo>
                <a:cubicBezTo>
                  <a:pt x="515" y="56"/>
                  <a:pt x="515" y="56"/>
                  <a:pt x="515" y="56"/>
                </a:cubicBezTo>
                <a:cubicBezTo>
                  <a:pt x="514" y="56"/>
                  <a:pt x="514" y="56"/>
                  <a:pt x="514" y="56"/>
                </a:cubicBezTo>
                <a:cubicBezTo>
                  <a:pt x="513" y="57"/>
                  <a:pt x="513" y="57"/>
                  <a:pt x="513" y="57"/>
                </a:cubicBezTo>
                <a:cubicBezTo>
                  <a:pt x="511" y="58"/>
                  <a:pt x="511" y="58"/>
                  <a:pt x="511" y="58"/>
                </a:cubicBezTo>
                <a:cubicBezTo>
                  <a:pt x="510" y="58"/>
                  <a:pt x="510" y="58"/>
                  <a:pt x="510" y="58"/>
                </a:cubicBezTo>
                <a:cubicBezTo>
                  <a:pt x="509" y="58"/>
                  <a:pt x="509" y="58"/>
                  <a:pt x="509" y="58"/>
                </a:cubicBezTo>
                <a:cubicBezTo>
                  <a:pt x="507" y="58"/>
                  <a:pt x="507" y="58"/>
                  <a:pt x="507" y="58"/>
                </a:cubicBezTo>
                <a:cubicBezTo>
                  <a:pt x="506" y="59"/>
                  <a:pt x="506" y="59"/>
                  <a:pt x="506" y="59"/>
                </a:cubicBezTo>
                <a:cubicBezTo>
                  <a:pt x="504" y="60"/>
                  <a:pt x="504" y="60"/>
                  <a:pt x="504" y="60"/>
                </a:cubicBezTo>
                <a:cubicBezTo>
                  <a:pt x="503" y="61"/>
                  <a:pt x="503" y="61"/>
                  <a:pt x="503" y="61"/>
                </a:cubicBezTo>
                <a:cubicBezTo>
                  <a:pt x="501" y="62"/>
                  <a:pt x="501" y="62"/>
                  <a:pt x="501" y="62"/>
                </a:cubicBezTo>
                <a:cubicBezTo>
                  <a:pt x="500" y="62"/>
                  <a:pt x="500" y="62"/>
                  <a:pt x="500" y="62"/>
                </a:cubicBezTo>
                <a:cubicBezTo>
                  <a:pt x="499" y="62"/>
                  <a:pt x="499" y="62"/>
                  <a:pt x="499" y="62"/>
                </a:cubicBezTo>
                <a:cubicBezTo>
                  <a:pt x="498" y="63"/>
                  <a:pt x="498" y="63"/>
                  <a:pt x="498" y="63"/>
                </a:cubicBezTo>
                <a:cubicBezTo>
                  <a:pt x="496" y="63"/>
                  <a:pt x="496" y="63"/>
                  <a:pt x="496" y="63"/>
                </a:cubicBezTo>
                <a:cubicBezTo>
                  <a:pt x="496" y="63"/>
                  <a:pt x="496" y="63"/>
                  <a:pt x="496" y="63"/>
                </a:cubicBezTo>
                <a:cubicBezTo>
                  <a:pt x="496" y="65"/>
                  <a:pt x="496" y="65"/>
                  <a:pt x="496" y="65"/>
                </a:cubicBezTo>
                <a:cubicBezTo>
                  <a:pt x="495" y="66"/>
                  <a:pt x="495" y="66"/>
                  <a:pt x="495" y="66"/>
                </a:cubicBezTo>
                <a:cubicBezTo>
                  <a:pt x="494" y="67"/>
                  <a:pt x="494" y="67"/>
                  <a:pt x="494" y="67"/>
                </a:cubicBezTo>
                <a:cubicBezTo>
                  <a:pt x="491" y="67"/>
                  <a:pt x="491" y="67"/>
                  <a:pt x="491" y="67"/>
                </a:cubicBezTo>
                <a:cubicBezTo>
                  <a:pt x="490" y="67"/>
                  <a:pt x="490" y="67"/>
                  <a:pt x="490" y="67"/>
                </a:cubicBezTo>
                <a:cubicBezTo>
                  <a:pt x="489" y="67"/>
                  <a:pt x="489" y="67"/>
                  <a:pt x="489" y="67"/>
                </a:cubicBezTo>
                <a:cubicBezTo>
                  <a:pt x="489" y="66"/>
                  <a:pt x="489" y="66"/>
                  <a:pt x="489" y="66"/>
                </a:cubicBezTo>
                <a:cubicBezTo>
                  <a:pt x="490" y="66"/>
                  <a:pt x="490" y="66"/>
                  <a:pt x="490" y="66"/>
                </a:cubicBezTo>
                <a:cubicBezTo>
                  <a:pt x="490" y="65"/>
                  <a:pt x="490" y="65"/>
                  <a:pt x="490" y="65"/>
                </a:cubicBezTo>
                <a:cubicBezTo>
                  <a:pt x="489" y="64"/>
                  <a:pt x="489" y="64"/>
                  <a:pt x="489" y="64"/>
                </a:cubicBezTo>
                <a:cubicBezTo>
                  <a:pt x="489" y="66"/>
                  <a:pt x="489" y="66"/>
                  <a:pt x="489" y="66"/>
                </a:cubicBezTo>
                <a:cubicBezTo>
                  <a:pt x="488" y="66"/>
                  <a:pt x="488" y="66"/>
                  <a:pt x="488" y="66"/>
                </a:cubicBezTo>
                <a:cubicBezTo>
                  <a:pt x="488" y="67"/>
                  <a:pt x="488" y="67"/>
                  <a:pt x="488" y="67"/>
                </a:cubicBezTo>
                <a:cubicBezTo>
                  <a:pt x="489" y="68"/>
                  <a:pt x="489" y="68"/>
                  <a:pt x="489" y="68"/>
                </a:cubicBezTo>
                <a:cubicBezTo>
                  <a:pt x="490" y="69"/>
                  <a:pt x="490" y="69"/>
                  <a:pt x="490" y="69"/>
                </a:cubicBezTo>
                <a:cubicBezTo>
                  <a:pt x="489" y="70"/>
                  <a:pt x="489" y="70"/>
                  <a:pt x="489" y="70"/>
                </a:cubicBezTo>
                <a:cubicBezTo>
                  <a:pt x="488" y="70"/>
                  <a:pt x="488" y="70"/>
                  <a:pt x="488" y="70"/>
                </a:cubicBezTo>
                <a:cubicBezTo>
                  <a:pt x="487" y="69"/>
                  <a:pt x="487" y="69"/>
                  <a:pt x="487" y="69"/>
                </a:cubicBezTo>
                <a:cubicBezTo>
                  <a:pt x="486" y="70"/>
                  <a:pt x="486" y="70"/>
                  <a:pt x="486" y="70"/>
                </a:cubicBezTo>
                <a:cubicBezTo>
                  <a:pt x="484" y="69"/>
                  <a:pt x="484" y="69"/>
                  <a:pt x="484" y="69"/>
                </a:cubicBezTo>
                <a:cubicBezTo>
                  <a:pt x="483" y="70"/>
                  <a:pt x="483" y="70"/>
                  <a:pt x="483" y="70"/>
                </a:cubicBezTo>
                <a:cubicBezTo>
                  <a:pt x="482" y="70"/>
                  <a:pt x="482" y="70"/>
                  <a:pt x="482" y="70"/>
                </a:cubicBezTo>
                <a:cubicBezTo>
                  <a:pt x="482" y="69"/>
                  <a:pt x="482" y="69"/>
                  <a:pt x="482" y="69"/>
                </a:cubicBezTo>
                <a:cubicBezTo>
                  <a:pt x="482" y="68"/>
                  <a:pt x="482" y="68"/>
                  <a:pt x="482" y="68"/>
                </a:cubicBezTo>
                <a:cubicBezTo>
                  <a:pt x="481" y="69"/>
                  <a:pt x="481" y="69"/>
                  <a:pt x="481" y="69"/>
                </a:cubicBezTo>
                <a:cubicBezTo>
                  <a:pt x="480" y="70"/>
                  <a:pt x="480" y="70"/>
                  <a:pt x="480" y="70"/>
                </a:cubicBezTo>
                <a:cubicBezTo>
                  <a:pt x="480" y="70"/>
                  <a:pt x="480" y="70"/>
                  <a:pt x="480" y="70"/>
                </a:cubicBezTo>
                <a:cubicBezTo>
                  <a:pt x="482" y="71"/>
                  <a:pt x="482" y="71"/>
                  <a:pt x="482" y="71"/>
                </a:cubicBezTo>
                <a:cubicBezTo>
                  <a:pt x="485" y="71"/>
                  <a:pt x="485" y="71"/>
                  <a:pt x="485" y="71"/>
                </a:cubicBezTo>
                <a:cubicBezTo>
                  <a:pt x="486" y="72"/>
                  <a:pt x="486" y="72"/>
                  <a:pt x="486" y="72"/>
                </a:cubicBezTo>
                <a:cubicBezTo>
                  <a:pt x="486" y="73"/>
                  <a:pt x="486" y="73"/>
                  <a:pt x="486" y="73"/>
                </a:cubicBezTo>
                <a:cubicBezTo>
                  <a:pt x="485" y="74"/>
                  <a:pt x="485" y="74"/>
                  <a:pt x="485" y="74"/>
                </a:cubicBezTo>
                <a:cubicBezTo>
                  <a:pt x="483" y="73"/>
                  <a:pt x="483" y="73"/>
                  <a:pt x="483" y="73"/>
                </a:cubicBezTo>
                <a:cubicBezTo>
                  <a:pt x="481" y="74"/>
                  <a:pt x="481" y="74"/>
                  <a:pt x="481" y="74"/>
                </a:cubicBezTo>
                <a:cubicBezTo>
                  <a:pt x="481" y="74"/>
                  <a:pt x="481" y="74"/>
                  <a:pt x="481" y="74"/>
                </a:cubicBezTo>
                <a:cubicBezTo>
                  <a:pt x="482" y="75"/>
                  <a:pt x="482" y="75"/>
                  <a:pt x="482" y="75"/>
                </a:cubicBezTo>
                <a:cubicBezTo>
                  <a:pt x="482" y="74"/>
                  <a:pt x="482" y="74"/>
                  <a:pt x="482" y="74"/>
                </a:cubicBezTo>
                <a:cubicBezTo>
                  <a:pt x="483" y="75"/>
                  <a:pt x="483" y="75"/>
                  <a:pt x="483" y="75"/>
                </a:cubicBezTo>
                <a:cubicBezTo>
                  <a:pt x="483" y="76"/>
                  <a:pt x="483" y="76"/>
                  <a:pt x="483" y="76"/>
                </a:cubicBezTo>
                <a:cubicBezTo>
                  <a:pt x="481" y="78"/>
                  <a:pt x="481" y="78"/>
                  <a:pt x="481" y="78"/>
                </a:cubicBezTo>
                <a:cubicBezTo>
                  <a:pt x="479" y="78"/>
                  <a:pt x="479" y="78"/>
                  <a:pt x="479" y="78"/>
                </a:cubicBezTo>
                <a:cubicBezTo>
                  <a:pt x="476" y="78"/>
                  <a:pt x="476" y="78"/>
                  <a:pt x="476" y="78"/>
                </a:cubicBezTo>
                <a:cubicBezTo>
                  <a:pt x="476" y="77"/>
                  <a:pt x="476" y="77"/>
                  <a:pt x="476" y="77"/>
                </a:cubicBezTo>
                <a:cubicBezTo>
                  <a:pt x="474" y="77"/>
                  <a:pt x="474" y="77"/>
                  <a:pt x="474" y="77"/>
                </a:cubicBezTo>
                <a:cubicBezTo>
                  <a:pt x="474" y="76"/>
                  <a:pt x="474" y="76"/>
                  <a:pt x="474" y="76"/>
                </a:cubicBezTo>
                <a:cubicBezTo>
                  <a:pt x="474" y="74"/>
                  <a:pt x="474" y="74"/>
                  <a:pt x="474" y="74"/>
                </a:cubicBezTo>
                <a:cubicBezTo>
                  <a:pt x="472" y="74"/>
                  <a:pt x="472" y="74"/>
                  <a:pt x="472" y="74"/>
                </a:cubicBezTo>
                <a:cubicBezTo>
                  <a:pt x="471" y="73"/>
                  <a:pt x="471" y="73"/>
                  <a:pt x="471" y="73"/>
                </a:cubicBezTo>
                <a:cubicBezTo>
                  <a:pt x="471" y="72"/>
                  <a:pt x="471" y="72"/>
                  <a:pt x="471" y="72"/>
                </a:cubicBezTo>
                <a:cubicBezTo>
                  <a:pt x="471" y="71"/>
                  <a:pt x="471" y="71"/>
                  <a:pt x="471" y="71"/>
                </a:cubicBezTo>
                <a:cubicBezTo>
                  <a:pt x="470" y="72"/>
                  <a:pt x="470" y="72"/>
                  <a:pt x="470" y="72"/>
                </a:cubicBezTo>
                <a:cubicBezTo>
                  <a:pt x="469" y="71"/>
                  <a:pt x="469" y="71"/>
                  <a:pt x="469" y="71"/>
                </a:cubicBezTo>
                <a:cubicBezTo>
                  <a:pt x="467" y="72"/>
                  <a:pt x="467" y="72"/>
                  <a:pt x="467" y="72"/>
                </a:cubicBezTo>
                <a:cubicBezTo>
                  <a:pt x="467" y="72"/>
                  <a:pt x="467" y="72"/>
                  <a:pt x="467" y="72"/>
                </a:cubicBezTo>
                <a:cubicBezTo>
                  <a:pt x="468" y="73"/>
                  <a:pt x="468" y="73"/>
                  <a:pt x="468" y="73"/>
                </a:cubicBezTo>
                <a:cubicBezTo>
                  <a:pt x="468" y="72"/>
                  <a:pt x="468" y="72"/>
                  <a:pt x="468" y="72"/>
                </a:cubicBezTo>
                <a:cubicBezTo>
                  <a:pt x="469" y="72"/>
                  <a:pt x="469" y="72"/>
                  <a:pt x="469" y="72"/>
                </a:cubicBezTo>
                <a:cubicBezTo>
                  <a:pt x="472" y="75"/>
                  <a:pt x="472" y="75"/>
                  <a:pt x="472" y="75"/>
                </a:cubicBezTo>
                <a:cubicBezTo>
                  <a:pt x="472" y="79"/>
                  <a:pt x="472" y="79"/>
                  <a:pt x="472" y="79"/>
                </a:cubicBezTo>
                <a:cubicBezTo>
                  <a:pt x="471" y="79"/>
                  <a:pt x="471" y="79"/>
                  <a:pt x="471" y="79"/>
                </a:cubicBezTo>
                <a:cubicBezTo>
                  <a:pt x="470" y="79"/>
                  <a:pt x="470" y="79"/>
                  <a:pt x="470" y="79"/>
                </a:cubicBezTo>
                <a:cubicBezTo>
                  <a:pt x="469" y="78"/>
                  <a:pt x="469" y="78"/>
                  <a:pt x="469" y="78"/>
                </a:cubicBezTo>
                <a:cubicBezTo>
                  <a:pt x="468" y="78"/>
                  <a:pt x="468" y="78"/>
                  <a:pt x="468" y="78"/>
                </a:cubicBezTo>
                <a:cubicBezTo>
                  <a:pt x="468" y="79"/>
                  <a:pt x="468" y="79"/>
                  <a:pt x="468" y="79"/>
                </a:cubicBezTo>
                <a:cubicBezTo>
                  <a:pt x="468" y="80"/>
                  <a:pt x="468" y="80"/>
                  <a:pt x="468" y="80"/>
                </a:cubicBezTo>
                <a:cubicBezTo>
                  <a:pt x="467" y="78"/>
                  <a:pt x="467" y="78"/>
                  <a:pt x="467" y="78"/>
                </a:cubicBezTo>
                <a:cubicBezTo>
                  <a:pt x="466" y="78"/>
                  <a:pt x="466" y="78"/>
                  <a:pt x="466" y="78"/>
                </a:cubicBezTo>
                <a:cubicBezTo>
                  <a:pt x="465" y="79"/>
                  <a:pt x="465" y="79"/>
                  <a:pt x="465" y="79"/>
                </a:cubicBezTo>
                <a:cubicBezTo>
                  <a:pt x="464" y="79"/>
                  <a:pt x="464" y="79"/>
                  <a:pt x="464" y="79"/>
                </a:cubicBezTo>
                <a:cubicBezTo>
                  <a:pt x="464" y="79"/>
                  <a:pt x="464" y="79"/>
                  <a:pt x="464" y="79"/>
                </a:cubicBezTo>
                <a:cubicBezTo>
                  <a:pt x="462" y="78"/>
                  <a:pt x="462" y="78"/>
                  <a:pt x="462" y="78"/>
                </a:cubicBezTo>
                <a:cubicBezTo>
                  <a:pt x="461" y="77"/>
                  <a:pt x="461" y="77"/>
                  <a:pt x="461" y="77"/>
                </a:cubicBezTo>
                <a:cubicBezTo>
                  <a:pt x="461" y="77"/>
                  <a:pt x="461" y="77"/>
                  <a:pt x="461" y="77"/>
                </a:cubicBezTo>
                <a:cubicBezTo>
                  <a:pt x="460" y="76"/>
                  <a:pt x="460" y="76"/>
                  <a:pt x="460" y="76"/>
                </a:cubicBezTo>
                <a:cubicBezTo>
                  <a:pt x="460" y="76"/>
                  <a:pt x="460" y="76"/>
                  <a:pt x="460" y="76"/>
                </a:cubicBezTo>
                <a:cubicBezTo>
                  <a:pt x="458" y="75"/>
                  <a:pt x="458" y="75"/>
                  <a:pt x="458" y="75"/>
                </a:cubicBezTo>
                <a:cubicBezTo>
                  <a:pt x="457" y="74"/>
                  <a:pt x="457" y="74"/>
                  <a:pt x="457" y="74"/>
                </a:cubicBezTo>
                <a:cubicBezTo>
                  <a:pt x="457" y="75"/>
                  <a:pt x="457" y="75"/>
                  <a:pt x="457" y="75"/>
                </a:cubicBezTo>
                <a:cubicBezTo>
                  <a:pt x="457" y="76"/>
                  <a:pt x="457" y="76"/>
                  <a:pt x="457" y="76"/>
                </a:cubicBezTo>
                <a:cubicBezTo>
                  <a:pt x="458" y="76"/>
                  <a:pt x="458" y="76"/>
                  <a:pt x="458" y="76"/>
                </a:cubicBezTo>
                <a:cubicBezTo>
                  <a:pt x="460" y="77"/>
                  <a:pt x="460" y="77"/>
                  <a:pt x="460" y="77"/>
                </a:cubicBezTo>
                <a:cubicBezTo>
                  <a:pt x="461" y="79"/>
                  <a:pt x="461" y="79"/>
                  <a:pt x="461" y="79"/>
                </a:cubicBezTo>
                <a:cubicBezTo>
                  <a:pt x="460" y="80"/>
                  <a:pt x="460" y="80"/>
                  <a:pt x="460" y="80"/>
                </a:cubicBezTo>
                <a:cubicBezTo>
                  <a:pt x="457" y="79"/>
                  <a:pt x="457" y="79"/>
                  <a:pt x="457" y="79"/>
                </a:cubicBezTo>
                <a:cubicBezTo>
                  <a:pt x="456" y="78"/>
                  <a:pt x="456" y="78"/>
                  <a:pt x="456" y="78"/>
                </a:cubicBezTo>
                <a:cubicBezTo>
                  <a:pt x="456" y="77"/>
                  <a:pt x="456" y="77"/>
                  <a:pt x="456" y="77"/>
                </a:cubicBezTo>
                <a:cubicBezTo>
                  <a:pt x="455" y="76"/>
                  <a:pt x="455" y="76"/>
                  <a:pt x="455" y="76"/>
                </a:cubicBezTo>
                <a:cubicBezTo>
                  <a:pt x="455" y="77"/>
                  <a:pt x="455" y="77"/>
                  <a:pt x="455" y="77"/>
                </a:cubicBezTo>
                <a:cubicBezTo>
                  <a:pt x="455" y="77"/>
                  <a:pt x="455" y="77"/>
                  <a:pt x="455" y="77"/>
                </a:cubicBezTo>
                <a:cubicBezTo>
                  <a:pt x="455" y="78"/>
                  <a:pt x="455" y="78"/>
                  <a:pt x="455" y="78"/>
                </a:cubicBezTo>
                <a:cubicBezTo>
                  <a:pt x="454" y="78"/>
                  <a:pt x="454" y="78"/>
                  <a:pt x="454" y="78"/>
                </a:cubicBezTo>
                <a:cubicBezTo>
                  <a:pt x="453" y="77"/>
                  <a:pt x="453" y="77"/>
                  <a:pt x="453" y="77"/>
                </a:cubicBezTo>
                <a:cubicBezTo>
                  <a:pt x="452" y="77"/>
                  <a:pt x="452" y="77"/>
                  <a:pt x="452" y="77"/>
                </a:cubicBezTo>
                <a:cubicBezTo>
                  <a:pt x="452" y="78"/>
                  <a:pt x="452" y="78"/>
                  <a:pt x="452" y="78"/>
                </a:cubicBezTo>
                <a:cubicBezTo>
                  <a:pt x="454" y="79"/>
                  <a:pt x="454" y="79"/>
                  <a:pt x="454" y="79"/>
                </a:cubicBezTo>
                <a:cubicBezTo>
                  <a:pt x="454" y="80"/>
                  <a:pt x="454" y="80"/>
                  <a:pt x="454" y="80"/>
                </a:cubicBezTo>
                <a:cubicBezTo>
                  <a:pt x="454" y="80"/>
                  <a:pt x="454" y="80"/>
                  <a:pt x="454" y="80"/>
                </a:cubicBezTo>
                <a:cubicBezTo>
                  <a:pt x="455" y="80"/>
                  <a:pt x="455" y="80"/>
                  <a:pt x="455" y="80"/>
                </a:cubicBezTo>
                <a:cubicBezTo>
                  <a:pt x="456" y="80"/>
                  <a:pt x="456" y="80"/>
                  <a:pt x="456" y="80"/>
                </a:cubicBezTo>
                <a:cubicBezTo>
                  <a:pt x="457" y="80"/>
                  <a:pt x="457" y="80"/>
                  <a:pt x="457" y="80"/>
                </a:cubicBezTo>
                <a:cubicBezTo>
                  <a:pt x="458" y="81"/>
                  <a:pt x="458" y="81"/>
                  <a:pt x="458" y="81"/>
                </a:cubicBezTo>
                <a:cubicBezTo>
                  <a:pt x="459" y="82"/>
                  <a:pt x="459" y="82"/>
                  <a:pt x="459" y="82"/>
                </a:cubicBezTo>
                <a:cubicBezTo>
                  <a:pt x="460" y="82"/>
                  <a:pt x="460" y="82"/>
                  <a:pt x="460" y="82"/>
                </a:cubicBezTo>
                <a:cubicBezTo>
                  <a:pt x="461" y="82"/>
                  <a:pt x="461" y="82"/>
                  <a:pt x="461" y="82"/>
                </a:cubicBezTo>
                <a:cubicBezTo>
                  <a:pt x="464" y="82"/>
                  <a:pt x="464" y="82"/>
                  <a:pt x="464" y="82"/>
                </a:cubicBezTo>
                <a:cubicBezTo>
                  <a:pt x="465" y="83"/>
                  <a:pt x="465" y="83"/>
                  <a:pt x="465" y="83"/>
                </a:cubicBezTo>
                <a:cubicBezTo>
                  <a:pt x="464" y="84"/>
                  <a:pt x="464" y="84"/>
                  <a:pt x="464" y="84"/>
                </a:cubicBezTo>
                <a:cubicBezTo>
                  <a:pt x="464" y="85"/>
                  <a:pt x="464" y="85"/>
                  <a:pt x="464" y="85"/>
                </a:cubicBezTo>
                <a:cubicBezTo>
                  <a:pt x="464" y="86"/>
                  <a:pt x="464" y="86"/>
                  <a:pt x="464" y="86"/>
                </a:cubicBezTo>
                <a:cubicBezTo>
                  <a:pt x="464" y="87"/>
                  <a:pt x="464" y="87"/>
                  <a:pt x="464" y="87"/>
                </a:cubicBezTo>
                <a:cubicBezTo>
                  <a:pt x="464" y="88"/>
                  <a:pt x="464" y="88"/>
                  <a:pt x="464" y="88"/>
                </a:cubicBezTo>
                <a:cubicBezTo>
                  <a:pt x="463" y="88"/>
                  <a:pt x="463" y="88"/>
                  <a:pt x="463" y="88"/>
                </a:cubicBezTo>
                <a:cubicBezTo>
                  <a:pt x="462" y="87"/>
                  <a:pt x="462" y="87"/>
                  <a:pt x="462" y="87"/>
                </a:cubicBezTo>
                <a:cubicBezTo>
                  <a:pt x="461" y="86"/>
                  <a:pt x="461" y="86"/>
                  <a:pt x="461" y="86"/>
                </a:cubicBezTo>
                <a:cubicBezTo>
                  <a:pt x="459" y="85"/>
                  <a:pt x="459" y="85"/>
                  <a:pt x="459" y="85"/>
                </a:cubicBezTo>
                <a:cubicBezTo>
                  <a:pt x="458" y="84"/>
                  <a:pt x="458" y="84"/>
                  <a:pt x="458" y="84"/>
                </a:cubicBezTo>
                <a:cubicBezTo>
                  <a:pt x="459" y="83"/>
                  <a:pt x="459" y="83"/>
                  <a:pt x="459" y="83"/>
                </a:cubicBezTo>
                <a:cubicBezTo>
                  <a:pt x="458" y="82"/>
                  <a:pt x="458" y="82"/>
                  <a:pt x="458" y="82"/>
                </a:cubicBezTo>
                <a:cubicBezTo>
                  <a:pt x="456" y="82"/>
                  <a:pt x="456" y="82"/>
                  <a:pt x="456" y="82"/>
                </a:cubicBezTo>
                <a:cubicBezTo>
                  <a:pt x="453" y="81"/>
                  <a:pt x="453" y="81"/>
                  <a:pt x="453" y="81"/>
                </a:cubicBezTo>
                <a:cubicBezTo>
                  <a:pt x="452" y="80"/>
                  <a:pt x="452" y="80"/>
                  <a:pt x="452" y="80"/>
                </a:cubicBezTo>
                <a:cubicBezTo>
                  <a:pt x="451" y="81"/>
                  <a:pt x="451" y="81"/>
                  <a:pt x="451" y="81"/>
                </a:cubicBezTo>
                <a:cubicBezTo>
                  <a:pt x="451" y="81"/>
                  <a:pt x="451" y="81"/>
                  <a:pt x="451" y="81"/>
                </a:cubicBezTo>
                <a:cubicBezTo>
                  <a:pt x="453" y="82"/>
                  <a:pt x="453" y="82"/>
                  <a:pt x="453" y="82"/>
                </a:cubicBezTo>
                <a:cubicBezTo>
                  <a:pt x="455" y="82"/>
                  <a:pt x="455" y="82"/>
                  <a:pt x="455" y="82"/>
                </a:cubicBezTo>
                <a:cubicBezTo>
                  <a:pt x="458" y="83"/>
                  <a:pt x="458" y="83"/>
                  <a:pt x="458" y="83"/>
                </a:cubicBezTo>
                <a:cubicBezTo>
                  <a:pt x="458" y="84"/>
                  <a:pt x="458" y="84"/>
                  <a:pt x="458" y="84"/>
                </a:cubicBezTo>
                <a:cubicBezTo>
                  <a:pt x="457" y="84"/>
                  <a:pt x="457" y="84"/>
                  <a:pt x="457" y="84"/>
                </a:cubicBezTo>
                <a:cubicBezTo>
                  <a:pt x="456" y="84"/>
                  <a:pt x="456" y="84"/>
                  <a:pt x="456" y="84"/>
                </a:cubicBezTo>
                <a:cubicBezTo>
                  <a:pt x="453" y="83"/>
                  <a:pt x="453" y="83"/>
                  <a:pt x="453" y="83"/>
                </a:cubicBezTo>
                <a:cubicBezTo>
                  <a:pt x="452" y="84"/>
                  <a:pt x="452" y="84"/>
                  <a:pt x="452" y="84"/>
                </a:cubicBezTo>
                <a:cubicBezTo>
                  <a:pt x="452" y="83"/>
                  <a:pt x="452" y="83"/>
                  <a:pt x="452" y="83"/>
                </a:cubicBezTo>
                <a:cubicBezTo>
                  <a:pt x="451" y="83"/>
                  <a:pt x="451" y="83"/>
                  <a:pt x="451" y="83"/>
                </a:cubicBezTo>
                <a:cubicBezTo>
                  <a:pt x="449" y="82"/>
                  <a:pt x="449" y="82"/>
                  <a:pt x="449" y="82"/>
                </a:cubicBezTo>
                <a:cubicBezTo>
                  <a:pt x="448" y="82"/>
                  <a:pt x="448" y="82"/>
                  <a:pt x="448" y="82"/>
                </a:cubicBezTo>
                <a:cubicBezTo>
                  <a:pt x="448" y="82"/>
                  <a:pt x="448" y="82"/>
                  <a:pt x="448" y="82"/>
                </a:cubicBezTo>
                <a:cubicBezTo>
                  <a:pt x="450" y="83"/>
                  <a:pt x="450" y="83"/>
                  <a:pt x="450" y="83"/>
                </a:cubicBezTo>
                <a:cubicBezTo>
                  <a:pt x="450" y="84"/>
                  <a:pt x="450" y="84"/>
                  <a:pt x="450" y="84"/>
                </a:cubicBezTo>
                <a:cubicBezTo>
                  <a:pt x="450" y="85"/>
                  <a:pt x="450" y="85"/>
                  <a:pt x="450" y="85"/>
                </a:cubicBezTo>
                <a:cubicBezTo>
                  <a:pt x="451" y="85"/>
                  <a:pt x="451" y="85"/>
                  <a:pt x="451" y="85"/>
                </a:cubicBezTo>
                <a:cubicBezTo>
                  <a:pt x="451" y="85"/>
                  <a:pt x="451" y="85"/>
                  <a:pt x="451" y="85"/>
                </a:cubicBezTo>
                <a:cubicBezTo>
                  <a:pt x="452" y="85"/>
                  <a:pt x="452" y="85"/>
                  <a:pt x="452" y="85"/>
                </a:cubicBezTo>
                <a:cubicBezTo>
                  <a:pt x="453" y="85"/>
                  <a:pt x="453" y="85"/>
                  <a:pt x="453" y="85"/>
                </a:cubicBezTo>
                <a:cubicBezTo>
                  <a:pt x="453" y="84"/>
                  <a:pt x="453" y="84"/>
                  <a:pt x="453" y="84"/>
                </a:cubicBezTo>
                <a:cubicBezTo>
                  <a:pt x="454" y="85"/>
                  <a:pt x="454" y="85"/>
                  <a:pt x="454" y="85"/>
                </a:cubicBezTo>
                <a:cubicBezTo>
                  <a:pt x="455" y="85"/>
                  <a:pt x="455" y="85"/>
                  <a:pt x="455" y="85"/>
                </a:cubicBezTo>
                <a:cubicBezTo>
                  <a:pt x="456" y="85"/>
                  <a:pt x="456" y="85"/>
                  <a:pt x="456" y="85"/>
                </a:cubicBezTo>
                <a:cubicBezTo>
                  <a:pt x="458" y="87"/>
                  <a:pt x="458" y="87"/>
                  <a:pt x="458" y="87"/>
                </a:cubicBezTo>
                <a:cubicBezTo>
                  <a:pt x="458" y="87"/>
                  <a:pt x="458" y="87"/>
                  <a:pt x="458" y="87"/>
                </a:cubicBezTo>
                <a:cubicBezTo>
                  <a:pt x="456" y="87"/>
                  <a:pt x="456" y="87"/>
                  <a:pt x="456" y="87"/>
                </a:cubicBezTo>
                <a:cubicBezTo>
                  <a:pt x="455" y="88"/>
                  <a:pt x="455" y="88"/>
                  <a:pt x="455" y="88"/>
                </a:cubicBezTo>
                <a:cubicBezTo>
                  <a:pt x="455" y="88"/>
                  <a:pt x="455" y="88"/>
                  <a:pt x="455" y="88"/>
                </a:cubicBezTo>
                <a:cubicBezTo>
                  <a:pt x="456" y="88"/>
                  <a:pt x="456" y="88"/>
                  <a:pt x="456" y="88"/>
                </a:cubicBezTo>
                <a:cubicBezTo>
                  <a:pt x="457" y="88"/>
                  <a:pt x="457" y="88"/>
                  <a:pt x="457" y="88"/>
                </a:cubicBezTo>
                <a:cubicBezTo>
                  <a:pt x="458" y="88"/>
                  <a:pt x="458" y="88"/>
                  <a:pt x="458" y="88"/>
                </a:cubicBezTo>
                <a:cubicBezTo>
                  <a:pt x="459" y="89"/>
                  <a:pt x="459" y="89"/>
                  <a:pt x="459" y="89"/>
                </a:cubicBezTo>
                <a:cubicBezTo>
                  <a:pt x="460" y="90"/>
                  <a:pt x="460" y="90"/>
                  <a:pt x="460" y="90"/>
                </a:cubicBezTo>
                <a:cubicBezTo>
                  <a:pt x="460" y="91"/>
                  <a:pt x="460" y="91"/>
                  <a:pt x="460" y="91"/>
                </a:cubicBezTo>
                <a:cubicBezTo>
                  <a:pt x="459" y="93"/>
                  <a:pt x="459" y="93"/>
                  <a:pt x="459" y="93"/>
                </a:cubicBezTo>
                <a:cubicBezTo>
                  <a:pt x="458" y="95"/>
                  <a:pt x="458" y="95"/>
                  <a:pt x="458" y="95"/>
                </a:cubicBezTo>
                <a:cubicBezTo>
                  <a:pt x="458" y="95"/>
                  <a:pt x="458" y="95"/>
                  <a:pt x="458" y="95"/>
                </a:cubicBezTo>
                <a:cubicBezTo>
                  <a:pt x="456" y="97"/>
                  <a:pt x="456" y="97"/>
                  <a:pt x="456" y="97"/>
                </a:cubicBezTo>
                <a:cubicBezTo>
                  <a:pt x="455" y="96"/>
                  <a:pt x="455" y="96"/>
                  <a:pt x="455" y="96"/>
                </a:cubicBezTo>
                <a:cubicBezTo>
                  <a:pt x="454" y="96"/>
                  <a:pt x="454" y="96"/>
                  <a:pt x="454" y="96"/>
                </a:cubicBezTo>
                <a:cubicBezTo>
                  <a:pt x="453" y="96"/>
                  <a:pt x="453" y="96"/>
                  <a:pt x="453" y="96"/>
                </a:cubicBezTo>
                <a:cubicBezTo>
                  <a:pt x="453" y="95"/>
                  <a:pt x="453" y="95"/>
                  <a:pt x="453" y="95"/>
                </a:cubicBezTo>
                <a:cubicBezTo>
                  <a:pt x="452" y="94"/>
                  <a:pt x="452" y="94"/>
                  <a:pt x="452" y="94"/>
                </a:cubicBezTo>
                <a:cubicBezTo>
                  <a:pt x="450" y="94"/>
                  <a:pt x="450" y="94"/>
                  <a:pt x="450" y="94"/>
                </a:cubicBezTo>
                <a:cubicBezTo>
                  <a:pt x="451" y="95"/>
                  <a:pt x="451" y="95"/>
                  <a:pt x="451" y="95"/>
                </a:cubicBezTo>
                <a:cubicBezTo>
                  <a:pt x="452" y="96"/>
                  <a:pt x="452" y="96"/>
                  <a:pt x="452" y="96"/>
                </a:cubicBezTo>
                <a:cubicBezTo>
                  <a:pt x="452" y="96"/>
                  <a:pt x="452" y="96"/>
                  <a:pt x="452" y="96"/>
                </a:cubicBezTo>
                <a:cubicBezTo>
                  <a:pt x="453" y="96"/>
                  <a:pt x="453" y="96"/>
                  <a:pt x="453" y="96"/>
                </a:cubicBezTo>
                <a:cubicBezTo>
                  <a:pt x="455" y="97"/>
                  <a:pt x="455" y="97"/>
                  <a:pt x="455" y="97"/>
                </a:cubicBezTo>
                <a:cubicBezTo>
                  <a:pt x="455" y="99"/>
                  <a:pt x="455" y="99"/>
                  <a:pt x="455" y="99"/>
                </a:cubicBezTo>
                <a:cubicBezTo>
                  <a:pt x="454" y="100"/>
                  <a:pt x="454" y="100"/>
                  <a:pt x="454" y="100"/>
                </a:cubicBezTo>
                <a:cubicBezTo>
                  <a:pt x="453" y="100"/>
                  <a:pt x="453" y="100"/>
                  <a:pt x="453" y="100"/>
                </a:cubicBezTo>
                <a:cubicBezTo>
                  <a:pt x="452" y="101"/>
                  <a:pt x="452" y="101"/>
                  <a:pt x="452" y="101"/>
                </a:cubicBezTo>
                <a:cubicBezTo>
                  <a:pt x="451" y="101"/>
                  <a:pt x="451" y="101"/>
                  <a:pt x="451" y="101"/>
                </a:cubicBezTo>
                <a:cubicBezTo>
                  <a:pt x="449" y="100"/>
                  <a:pt x="449" y="100"/>
                  <a:pt x="449" y="100"/>
                </a:cubicBezTo>
                <a:cubicBezTo>
                  <a:pt x="448" y="100"/>
                  <a:pt x="448" y="100"/>
                  <a:pt x="448" y="100"/>
                </a:cubicBezTo>
                <a:cubicBezTo>
                  <a:pt x="448" y="99"/>
                  <a:pt x="448" y="99"/>
                  <a:pt x="448" y="99"/>
                </a:cubicBezTo>
                <a:cubicBezTo>
                  <a:pt x="446" y="99"/>
                  <a:pt x="446" y="99"/>
                  <a:pt x="446" y="99"/>
                </a:cubicBezTo>
                <a:cubicBezTo>
                  <a:pt x="446" y="100"/>
                  <a:pt x="446" y="100"/>
                  <a:pt x="446" y="100"/>
                </a:cubicBezTo>
                <a:cubicBezTo>
                  <a:pt x="446" y="101"/>
                  <a:pt x="446" y="101"/>
                  <a:pt x="446" y="101"/>
                </a:cubicBezTo>
                <a:cubicBezTo>
                  <a:pt x="450" y="103"/>
                  <a:pt x="450" y="103"/>
                  <a:pt x="450" y="103"/>
                </a:cubicBezTo>
                <a:cubicBezTo>
                  <a:pt x="451" y="103"/>
                  <a:pt x="451" y="103"/>
                  <a:pt x="451" y="103"/>
                </a:cubicBezTo>
                <a:cubicBezTo>
                  <a:pt x="451" y="103"/>
                  <a:pt x="451" y="103"/>
                  <a:pt x="451" y="103"/>
                </a:cubicBezTo>
                <a:cubicBezTo>
                  <a:pt x="450" y="104"/>
                  <a:pt x="450" y="104"/>
                  <a:pt x="450" y="104"/>
                </a:cubicBezTo>
                <a:cubicBezTo>
                  <a:pt x="449" y="105"/>
                  <a:pt x="449" y="105"/>
                  <a:pt x="449" y="105"/>
                </a:cubicBezTo>
                <a:cubicBezTo>
                  <a:pt x="448" y="105"/>
                  <a:pt x="448" y="105"/>
                  <a:pt x="448" y="105"/>
                </a:cubicBezTo>
                <a:cubicBezTo>
                  <a:pt x="447" y="104"/>
                  <a:pt x="447" y="104"/>
                  <a:pt x="447" y="104"/>
                </a:cubicBezTo>
                <a:cubicBezTo>
                  <a:pt x="446" y="104"/>
                  <a:pt x="446" y="104"/>
                  <a:pt x="446" y="104"/>
                </a:cubicBezTo>
                <a:cubicBezTo>
                  <a:pt x="445" y="105"/>
                  <a:pt x="445" y="105"/>
                  <a:pt x="445" y="105"/>
                </a:cubicBezTo>
                <a:cubicBezTo>
                  <a:pt x="443" y="105"/>
                  <a:pt x="443" y="105"/>
                  <a:pt x="443" y="105"/>
                </a:cubicBezTo>
                <a:cubicBezTo>
                  <a:pt x="442" y="104"/>
                  <a:pt x="442" y="104"/>
                  <a:pt x="442" y="104"/>
                </a:cubicBezTo>
                <a:cubicBezTo>
                  <a:pt x="439" y="104"/>
                  <a:pt x="439" y="104"/>
                  <a:pt x="439" y="104"/>
                </a:cubicBezTo>
                <a:cubicBezTo>
                  <a:pt x="438" y="104"/>
                  <a:pt x="438" y="104"/>
                  <a:pt x="438" y="104"/>
                </a:cubicBezTo>
                <a:cubicBezTo>
                  <a:pt x="438" y="106"/>
                  <a:pt x="438" y="106"/>
                  <a:pt x="438" y="106"/>
                </a:cubicBezTo>
                <a:cubicBezTo>
                  <a:pt x="436" y="107"/>
                  <a:pt x="436" y="107"/>
                  <a:pt x="436" y="107"/>
                </a:cubicBezTo>
                <a:cubicBezTo>
                  <a:pt x="437" y="107"/>
                  <a:pt x="437" y="107"/>
                  <a:pt x="437" y="107"/>
                </a:cubicBezTo>
                <a:cubicBezTo>
                  <a:pt x="438" y="108"/>
                  <a:pt x="438" y="108"/>
                  <a:pt x="438" y="108"/>
                </a:cubicBezTo>
                <a:cubicBezTo>
                  <a:pt x="438" y="109"/>
                  <a:pt x="438" y="109"/>
                  <a:pt x="438" y="109"/>
                </a:cubicBezTo>
                <a:cubicBezTo>
                  <a:pt x="436" y="110"/>
                  <a:pt x="436" y="110"/>
                  <a:pt x="436" y="110"/>
                </a:cubicBezTo>
                <a:cubicBezTo>
                  <a:pt x="436" y="111"/>
                  <a:pt x="436" y="111"/>
                  <a:pt x="436" y="111"/>
                </a:cubicBezTo>
                <a:cubicBezTo>
                  <a:pt x="435" y="112"/>
                  <a:pt x="435" y="112"/>
                  <a:pt x="435" y="112"/>
                </a:cubicBezTo>
                <a:cubicBezTo>
                  <a:pt x="434" y="112"/>
                  <a:pt x="434" y="112"/>
                  <a:pt x="434" y="112"/>
                </a:cubicBezTo>
                <a:cubicBezTo>
                  <a:pt x="434" y="112"/>
                  <a:pt x="434" y="112"/>
                  <a:pt x="434" y="112"/>
                </a:cubicBezTo>
                <a:cubicBezTo>
                  <a:pt x="434" y="113"/>
                  <a:pt x="434" y="113"/>
                  <a:pt x="434" y="113"/>
                </a:cubicBezTo>
                <a:cubicBezTo>
                  <a:pt x="432" y="113"/>
                  <a:pt x="432" y="113"/>
                  <a:pt x="432" y="113"/>
                </a:cubicBezTo>
                <a:cubicBezTo>
                  <a:pt x="431" y="113"/>
                  <a:pt x="431" y="113"/>
                  <a:pt x="431" y="113"/>
                </a:cubicBezTo>
                <a:cubicBezTo>
                  <a:pt x="432" y="112"/>
                  <a:pt x="432" y="112"/>
                  <a:pt x="432" y="112"/>
                </a:cubicBezTo>
                <a:cubicBezTo>
                  <a:pt x="431" y="112"/>
                  <a:pt x="431" y="112"/>
                  <a:pt x="431" y="112"/>
                </a:cubicBezTo>
                <a:cubicBezTo>
                  <a:pt x="431" y="113"/>
                  <a:pt x="431" y="113"/>
                  <a:pt x="431" y="113"/>
                </a:cubicBezTo>
                <a:cubicBezTo>
                  <a:pt x="430" y="115"/>
                  <a:pt x="430" y="115"/>
                  <a:pt x="430" y="115"/>
                </a:cubicBezTo>
                <a:cubicBezTo>
                  <a:pt x="429" y="115"/>
                  <a:pt x="429" y="115"/>
                  <a:pt x="429" y="115"/>
                </a:cubicBezTo>
                <a:cubicBezTo>
                  <a:pt x="426" y="114"/>
                  <a:pt x="426" y="114"/>
                  <a:pt x="426" y="114"/>
                </a:cubicBezTo>
                <a:cubicBezTo>
                  <a:pt x="425" y="114"/>
                  <a:pt x="425" y="114"/>
                  <a:pt x="425" y="114"/>
                </a:cubicBezTo>
                <a:cubicBezTo>
                  <a:pt x="424" y="114"/>
                  <a:pt x="424" y="114"/>
                  <a:pt x="424" y="114"/>
                </a:cubicBezTo>
                <a:cubicBezTo>
                  <a:pt x="423" y="114"/>
                  <a:pt x="423" y="114"/>
                  <a:pt x="423" y="114"/>
                </a:cubicBezTo>
                <a:cubicBezTo>
                  <a:pt x="420" y="111"/>
                  <a:pt x="420" y="111"/>
                  <a:pt x="420" y="111"/>
                </a:cubicBezTo>
                <a:cubicBezTo>
                  <a:pt x="420" y="108"/>
                  <a:pt x="420" y="108"/>
                  <a:pt x="420" y="108"/>
                </a:cubicBezTo>
                <a:cubicBezTo>
                  <a:pt x="420" y="107"/>
                  <a:pt x="420" y="107"/>
                  <a:pt x="420" y="107"/>
                </a:cubicBezTo>
                <a:cubicBezTo>
                  <a:pt x="420" y="106"/>
                  <a:pt x="420" y="106"/>
                  <a:pt x="420" y="106"/>
                </a:cubicBezTo>
                <a:cubicBezTo>
                  <a:pt x="420" y="106"/>
                  <a:pt x="420" y="106"/>
                  <a:pt x="420" y="106"/>
                </a:cubicBezTo>
                <a:cubicBezTo>
                  <a:pt x="420" y="105"/>
                  <a:pt x="420" y="105"/>
                  <a:pt x="420" y="105"/>
                </a:cubicBezTo>
                <a:cubicBezTo>
                  <a:pt x="419" y="106"/>
                  <a:pt x="419" y="106"/>
                  <a:pt x="419" y="106"/>
                </a:cubicBezTo>
                <a:cubicBezTo>
                  <a:pt x="419" y="107"/>
                  <a:pt x="419" y="107"/>
                  <a:pt x="419" y="107"/>
                </a:cubicBezTo>
                <a:cubicBezTo>
                  <a:pt x="419" y="109"/>
                  <a:pt x="419" y="109"/>
                  <a:pt x="419" y="109"/>
                </a:cubicBezTo>
                <a:cubicBezTo>
                  <a:pt x="418" y="110"/>
                  <a:pt x="418" y="110"/>
                  <a:pt x="418" y="110"/>
                </a:cubicBezTo>
                <a:cubicBezTo>
                  <a:pt x="419" y="111"/>
                  <a:pt x="419" y="111"/>
                  <a:pt x="419" y="111"/>
                </a:cubicBezTo>
                <a:cubicBezTo>
                  <a:pt x="419" y="112"/>
                  <a:pt x="419" y="112"/>
                  <a:pt x="419" y="112"/>
                </a:cubicBezTo>
                <a:cubicBezTo>
                  <a:pt x="418" y="112"/>
                  <a:pt x="418" y="112"/>
                  <a:pt x="418" y="112"/>
                </a:cubicBezTo>
                <a:cubicBezTo>
                  <a:pt x="416" y="112"/>
                  <a:pt x="416" y="112"/>
                  <a:pt x="416" y="112"/>
                </a:cubicBezTo>
                <a:cubicBezTo>
                  <a:pt x="416" y="112"/>
                  <a:pt x="416" y="112"/>
                  <a:pt x="416" y="112"/>
                </a:cubicBezTo>
                <a:cubicBezTo>
                  <a:pt x="415" y="112"/>
                  <a:pt x="415" y="112"/>
                  <a:pt x="415" y="112"/>
                </a:cubicBezTo>
                <a:cubicBezTo>
                  <a:pt x="416" y="113"/>
                  <a:pt x="416" y="113"/>
                  <a:pt x="416" y="113"/>
                </a:cubicBezTo>
                <a:cubicBezTo>
                  <a:pt x="415" y="115"/>
                  <a:pt x="415" y="115"/>
                  <a:pt x="415" y="115"/>
                </a:cubicBezTo>
                <a:cubicBezTo>
                  <a:pt x="416" y="115"/>
                  <a:pt x="416" y="115"/>
                  <a:pt x="416" y="115"/>
                </a:cubicBezTo>
                <a:cubicBezTo>
                  <a:pt x="418" y="113"/>
                  <a:pt x="418" y="113"/>
                  <a:pt x="418" y="113"/>
                </a:cubicBezTo>
                <a:cubicBezTo>
                  <a:pt x="418" y="113"/>
                  <a:pt x="418" y="113"/>
                  <a:pt x="418" y="113"/>
                </a:cubicBezTo>
                <a:cubicBezTo>
                  <a:pt x="419" y="113"/>
                  <a:pt x="419" y="113"/>
                  <a:pt x="419" y="113"/>
                </a:cubicBezTo>
                <a:cubicBezTo>
                  <a:pt x="420" y="112"/>
                  <a:pt x="420" y="112"/>
                  <a:pt x="420" y="112"/>
                </a:cubicBezTo>
                <a:cubicBezTo>
                  <a:pt x="421" y="113"/>
                  <a:pt x="421" y="113"/>
                  <a:pt x="421" y="113"/>
                </a:cubicBezTo>
                <a:cubicBezTo>
                  <a:pt x="422" y="115"/>
                  <a:pt x="422" y="115"/>
                  <a:pt x="422" y="115"/>
                </a:cubicBezTo>
                <a:cubicBezTo>
                  <a:pt x="422" y="116"/>
                  <a:pt x="422" y="116"/>
                  <a:pt x="422" y="116"/>
                </a:cubicBezTo>
                <a:cubicBezTo>
                  <a:pt x="423" y="115"/>
                  <a:pt x="423" y="115"/>
                  <a:pt x="423" y="115"/>
                </a:cubicBezTo>
                <a:cubicBezTo>
                  <a:pt x="425" y="114"/>
                  <a:pt x="425" y="114"/>
                  <a:pt x="425" y="114"/>
                </a:cubicBezTo>
                <a:cubicBezTo>
                  <a:pt x="427" y="115"/>
                  <a:pt x="427" y="115"/>
                  <a:pt x="427" y="115"/>
                </a:cubicBezTo>
                <a:cubicBezTo>
                  <a:pt x="427" y="116"/>
                  <a:pt x="427" y="116"/>
                  <a:pt x="427" y="116"/>
                </a:cubicBezTo>
                <a:cubicBezTo>
                  <a:pt x="426" y="117"/>
                  <a:pt x="426" y="117"/>
                  <a:pt x="426" y="117"/>
                </a:cubicBezTo>
                <a:cubicBezTo>
                  <a:pt x="426" y="119"/>
                  <a:pt x="426" y="119"/>
                  <a:pt x="426" y="119"/>
                </a:cubicBezTo>
                <a:cubicBezTo>
                  <a:pt x="425" y="119"/>
                  <a:pt x="425" y="119"/>
                  <a:pt x="425" y="119"/>
                </a:cubicBezTo>
                <a:cubicBezTo>
                  <a:pt x="425" y="120"/>
                  <a:pt x="425" y="120"/>
                  <a:pt x="425" y="120"/>
                </a:cubicBezTo>
                <a:cubicBezTo>
                  <a:pt x="425" y="120"/>
                  <a:pt x="425" y="120"/>
                  <a:pt x="425" y="120"/>
                </a:cubicBezTo>
                <a:cubicBezTo>
                  <a:pt x="426" y="120"/>
                  <a:pt x="426" y="120"/>
                  <a:pt x="426" y="120"/>
                </a:cubicBezTo>
                <a:cubicBezTo>
                  <a:pt x="426" y="121"/>
                  <a:pt x="426" y="121"/>
                  <a:pt x="426" y="121"/>
                </a:cubicBezTo>
                <a:cubicBezTo>
                  <a:pt x="425" y="122"/>
                  <a:pt x="425" y="122"/>
                  <a:pt x="425" y="122"/>
                </a:cubicBezTo>
                <a:cubicBezTo>
                  <a:pt x="426" y="122"/>
                  <a:pt x="426" y="122"/>
                  <a:pt x="426" y="122"/>
                </a:cubicBezTo>
                <a:cubicBezTo>
                  <a:pt x="427" y="121"/>
                  <a:pt x="427" y="121"/>
                  <a:pt x="427" y="121"/>
                </a:cubicBezTo>
                <a:cubicBezTo>
                  <a:pt x="428" y="121"/>
                  <a:pt x="428" y="121"/>
                  <a:pt x="428" y="121"/>
                </a:cubicBezTo>
                <a:cubicBezTo>
                  <a:pt x="429" y="120"/>
                  <a:pt x="429" y="120"/>
                  <a:pt x="429" y="120"/>
                </a:cubicBezTo>
                <a:cubicBezTo>
                  <a:pt x="430" y="120"/>
                  <a:pt x="430" y="120"/>
                  <a:pt x="430" y="120"/>
                </a:cubicBezTo>
                <a:cubicBezTo>
                  <a:pt x="430" y="121"/>
                  <a:pt x="430" y="121"/>
                  <a:pt x="430" y="121"/>
                </a:cubicBezTo>
                <a:cubicBezTo>
                  <a:pt x="430" y="122"/>
                  <a:pt x="430" y="122"/>
                  <a:pt x="430" y="122"/>
                </a:cubicBezTo>
                <a:cubicBezTo>
                  <a:pt x="430" y="123"/>
                  <a:pt x="430" y="123"/>
                  <a:pt x="430" y="123"/>
                </a:cubicBezTo>
                <a:cubicBezTo>
                  <a:pt x="430" y="125"/>
                  <a:pt x="430" y="125"/>
                  <a:pt x="430" y="125"/>
                </a:cubicBezTo>
                <a:cubicBezTo>
                  <a:pt x="429" y="127"/>
                  <a:pt x="429" y="127"/>
                  <a:pt x="429" y="127"/>
                </a:cubicBezTo>
                <a:cubicBezTo>
                  <a:pt x="427" y="127"/>
                  <a:pt x="427" y="127"/>
                  <a:pt x="427" y="127"/>
                </a:cubicBezTo>
                <a:cubicBezTo>
                  <a:pt x="426" y="128"/>
                  <a:pt x="426" y="128"/>
                  <a:pt x="426" y="128"/>
                </a:cubicBezTo>
                <a:cubicBezTo>
                  <a:pt x="425" y="129"/>
                  <a:pt x="425" y="129"/>
                  <a:pt x="425" y="129"/>
                </a:cubicBezTo>
                <a:cubicBezTo>
                  <a:pt x="424" y="130"/>
                  <a:pt x="424" y="130"/>
                  <a:pt x="424" y="130"/>
                </a:cubicBezTo>
                <a:cubicBezTo>
                  <a:pt x="424" y="130"/>
                  <a:pt x="424" y="130"/>
                  <a:pt x="424" y="130"/>
                </a:cubicBezTo>
                <a:cubicBezTo>
                  <a:pt x="424" y="128"/>
                  <a:pt x="424" y="128"/>
                  <a:pt x="424" y="128"/>
                </a:cubicBezTo>
                <a:cubicBezTo>
                  <a:pt x="424" y="127"/>
                  <a:pt x="424" y="127"/>
                  <a:pt x="424" y="127"/>
                </a:cubicBezTo>
                <a:cubicBezTo>
                  <a:pt x="424" y="127"/>
                  <a:pt x="424" y="127"/>
                  <a:pt x="424" y="127"/>
                </a:cubicBezTo>
                <a:cubicBezTo>
                  <a:pt x="423" y="127"/>
                  <a:pt x="423" y="127"/>
                  <a:pt x="423" y="127"/>
                </a:cubicBezTo>
                <a:cubicBezTo>
                  <a:pt x="422" y="129"/>
                  <a:pt x="422" y="129"/>
                  <a:pt x="422" y="129"/>
                </a:cubicBezTo>
                <a:cubicBezTo>
                  <a:pt x="421" y="129"/>
                  <a:pt x="421" y="129"/>
                  <a:pt x="421" y="129"/>
                </a:cubicBezTo>
                <a:cubicBezTo>
                  <a:pt x="419" y="131"/>
                  <a:pt x="419" y="131"/>
                  <a:pt x="419" y="131"/>
                </a:cubicBezTo>
                <a:cubicBezTo>
                  <a:pt x="419" y="130"/>
                  <a:pt x="419" y="130"/>
                  <a:pt x="419" y="130"/>
                </a:cubicBezTo>
                <a:cubicBezTo>
                  <a:pt x="418" y="130"/>
                  <a:pt x="418" y="130"/>
                  <a:pt x="418" y="130"/>
                </a:cubicBezTo>
                <a:cubicBezTo>
                  <a:pt x="416" y="132"/>
                  <a:pt x="416" y="132"/>
                  <a:pt x="416" y="132"/>
                </a:cubicBezTo>
                <a:cubicBezTo>
                  <a:pt x="415" y="132"/>
                  <a:pt x="415" y="132"/>
                  <a:pt x="415" y="132"/>
                </a:cubicBezTo>
                <a:cubicBezTo>
                  <a:pt x="414" y="132"/>
                  <a:pt x="414" y="132"/>
                  <a:pt x="414" y="132"/>
                </a:cubicBezTo>
                <a:cubicBezTo>
                  <a:pt x="413" y="132"/>
                  <a:pt x="413" y="132"/>
                  <a:pt x="413" y="132"/>
                </a:cubicBezTo>
                <a:cubicBezTo>
                  <a:pt x="413" y="131"/>
                  <a:pt x="413" y="131"/>
                  <a:pt x="413" y="131"/>
                </a:cubicBezTo>
                <a:cubicBezTo>
                  <a:pt x="412" y="131"/>
                  <a:pt x="412" y="131"/>
                  <a:pt x="412" y="131"/>
                </a:cubicBezTo>
                <a:cubicBezTo>
                  <a:pt x="413" y="130"/>
                  <a:pt x="413" y="130"/>
                  <a:pt x="413" y="130"/>
                </a:cubicBezTo>
                <a:cubicBezTo>
                  <a:pt x="414" y="129"/>
                  <a:pt x="414" y="129"/>
                  <a:pt x="414" y="129"/>
                </a:cubicBezTo>
                <a:cubicBezTo>
                  <a:pt x="414" y="128"/>
                  <a:pt x="414" y="128"/>
                  <a:pt x="414" y="128"/>
                </a:cubicBezTo>
                <a:cubicBezTo>
                  <a:pt x="413" y="126"/>
                  <a:pt x="413" y="126"/>
                  <a:pt x="413" y="126"/>
                </a:cubicBezTo>
                <a:cubicBezTo>
                  <a:pt x="412" y="127"/>
                  <a:pt x="412" y="127"/>
                  <a:pt x="412" y="127"/>
                </a:cubicBezTo>
                <a:cubicBezTo>
                  <a:pt x="410" y="126"/>
                  <a:pt x="410" y="126"/>
                  <a:pt x="410" y="126"/>
                </a:cubicBezTo>
                <a:cubicBezTo>
                  <a:pt x="410" y="125"/>
                  <a:pt x="410" y="125"/>
                  <a:pt x="410" y="125"/>
                </a:cubicBezTo>
                <a:cubicBezTo>
                  <a:pt x="410" y="124"/>
                  <a:pt x="410" y="124"/>
                  <a:pt x="410" y="124"/>
                </a:cubicBezTo>
                <a:cubicBezTo>
                  <a:pt x="411" y="123"/>
                  <a:pt x="411" y="123"/>
                  <a:pt x="411" y="123"/>
                </a:cubicBezTo>
                <a:cubicBezTo>
                  <a:pt x="411" y="123"/>
                  <a:pt x="411" y="123"/>
                  <a:pt x="411" y="123"/>
                </a:cubicBezTo>
                <a:cubicBezTo>
                  <a:pt x="410" y="123"/>
                  <a:pt x="410" y="123"/>
                  <a:pt x="410" y="123"/>
                </a:cubicBezTo>
                <a:cubicBezTo>
                  <a:pt x="409" y="121"/>
                  <a:pt x="409" y="121"/>
                  <a:pt x="409" y="121"/>
                </a:cubicBezTo>
                <a:cubicBezTo>
                  <a:pt x="409" y="120"/>
                  <a:pt x="409" y="120"/>
                  <a:pt x="409" y="120"/>
                </a:cubicBezTo>
                <a:cubicBezTo>
                  <a:pt x="409" y="119"/>
                  <a:pt x="409" y="119"/>
                  <a:pt x="409" y="119"/>
                </a:cubicBezTo>
                <a:cubicBezTo>
                  <a:pt x="409" y="118"/>
                  <a:pt x="409" y="118"/>
                  <a:pt x="409" y="118"/>
                </a:cubicBezTo>
                <a:cubicBezTo>
                  <a:pt x="409" y="119"/>
                  <a:pt x="409" y="119"/>
                  <a:pt x="409" y="119"/>
                </a:cubicBezTo>
                <a:cubicBezTo>
                  <a:pt x="408" y="121"/>
                  <a:pt x="408" y="121"/>
                  <a:pt x="408" y="121"/>
                </a:cubicBezTo>
                <a:cubicBezTo>
                  <a:pt x="409" y="123"/>
                  <a:pt x="409" y="123"/>
                  <a:pt x="409" y="123"/>
                </a:cubicBezTo>
                <a:cubicBezTo>
                  <a:pt x="409" y="124"/>
                  <a:pt x="409" y="124"/>
                  <a:pt x="409" y="124"/>
                </a:cubicBezTo>
                <a:cubicBezTo>
                  <a:pt x="409" y="125"/>
                  <a:pt x="409" y="125"/>
                  <a:pt x="409" y="125"/>
                </a:cubicBezTo>
                <a:cubicBezTo>
                  <a:pt x="409" y="126"/>
                  <a:pt x="409" y="126"/>
                  <a:pt x="409" y="126"/>
                </a:cubicBezTo>
                <a:cubicBezTo>
                  <a:pt x="408" y="127"/>
                  <a:pt x="408" y="127"/>
                  <a:pt x="408" y="127"/>
                </a:cubicBezTo>
                <a:cubicBezTo>
                  <a:pt x="407" y="126"/>
                  <a:pt x="407" y="126"/>
                  <a:pt x="407" y="126"/>
                </a:cubicBezTo>
                <a:cubicBezTo>
                  <a:pt x="406" y="127"/>
                  <a:pt x="406" y="127"/>
                  <a:pt x="406" y="127"/>
                </a:cubicBezTo>
                <a:cubicBezTo>
                  <a:pt x="405" y="126"/>
                  <a:pt x="405" y="126"/>
                  <a:pt x="405" y="126"/>
                </a:cubicBezTo>
                <a:cubicBezTo>
                  <a:pt x="405" y="125"/>
                  <a:pt x="405" y="125"/>
                  <a:pt x="405" y="125"/>
                </a:cubicBezTo>
                <a:cubicBezTo>
                  <a:pt x="405" y="123"/>
                  <a:pt x="405" y="123"/>
                  <a:pt x="405" y="123"/>
                </a:cubicBezTo>
                <a:cubicBezTo>
                  <a:pt x="405" y="121"/>
                  <a:pt x="405" y="121"/>
                  <a:pt x="405" y="121"/>
                </a:cubicBezTo>
                <a:cubicBezTo>
                  <a:pt x="405" y="120"/>
                  <a:pt x="405" y="120"/>
                  <a:pt x="405" y="120"/>
                </a:cubicBezTo>
                <a:cubicBezTo>
                  <a:pt x="406" y="119"/>
                  <a:pt x="406" y="119"/>
                  <a:pt x="406" y="119"/>
                </a:cubicBezTo>
                <a:cubicBezTo>
                  <a:pt x="405" y="119"/>
                  <a:pt x="405" y="119"/>
                  <a:pt x="405" y="119"/>
                </a:cubicBezTo>
                <a:cubicBezTo>
                  <a:pt x="404" y="120"/>
                  <a:pt x="404" y="120"/>
                  <a:pt x="404" y="120"/>
                </a:cubicBezTo>
                <a:cubicBezTo>
                  <a:pt x="404" y="122"/>
                  <a:pt x="404" y="122"/>
                  <a:pt x="404" y="122"/>
                </a:cubicBezTo>
                <a:cubicBezTo>
                  <a:pt x="404" y="123"/>
                  <a:pt x="404" y="123"/>
                  <a:pt x="404" y="123"/>
                </a:cubicBezTo>
                <a:cubicBezTo>
                  <a:pt x="403" y="125"/>
                  <a:pt x="403" y="125"/>
                  <a:pt x="403" y="125"/>
                </a:cubicBezTo>
                <a:cubicBezTo>
                  <a:pt x="402" y="125"/>
                  <a:pt x="402" y="125"/>
                  <a:pt x="402" y="125"/>
                </a:cubicBezTo>
                <a:cubicBezTo>
                  <a:pt x="401" y="125"/>
                  <a:pt x="401" y="125"/>
                  <a:pt x="401" y="125"/>
                </a:cubicBezTo>
                <a:cubicBezTo>
                  <a:pt x="401" y="124"/>
                  <a:pt x="401" y="124"/>
                  <a:pt x="401" y="124"/>
                </a:cubicBezTo>
                <a:cubicBezTo>
                  <a:pt x="401" y="123"/>
                  <a:pt x="401" y="123"/>
                  <a:pt x="401" y="123"/>
                </a:cubicBezTo>
                <a:cubicBezTo>
                  <a:pt x="401" y="122"/>
                  <a:pt x="401" y="122"/>
                  <a:pt x="401" y="122"/>
                </a:cubicBezTo>
                <a:cubicBezTo>
                  <a:pt x="402" y="121"/>
                  <a:pt x="402" y="121"/>
                  <a:pt x="402" y="121"/>
                </a:cubicBezTo>
                <a:cubicBezTo>
                  <a:pt x="402" y="121"/>
                  <a:pt x="402" y="121"/>
                  <a:pt x="402" y="121"/>
                </a:cubicBezTo>
                <a:cubicBezTo>
                  <a:pt x="401" y="119"/>
                  <a:pt x="401" y="119"/>
                  <a:pt x="401" y="119"/>
                </a:cubicBezTo>
                <a:cubicBezTo>
                  <a:pt x="401" y="119"/>
                  <a:pt x="401" y="119"/>
                  <a:pt x="401" y="119"/>
                </a:cubicBezTo>
                <a:cubicBezTo>
                  <a:pt x="401" y="120"/>
                  <a:pt x="401" y="120"/>
                  <a:pt x="401" y="120"/>
                </a:cubicBezTo>
                <a:cubicBezTo>
                  <a:pt x="401" y="121"/>
                  <a:pt x="401" y="121"/>
                  <a:pt x="401" y="121"/>
                </a:cubicBezTo>
                <a:cubicBezTo>
                  <a:pt x="400" y="122"/>
                  <a:pt x="400" y="122"/>
                  <a:pt x="400" y="122"/>
                </a:cubicBezTo>
                <a:cubicBezTo>
                  <a:pt x="400" y="123"/>
                  <a:pt x="400" y="123"/>
                  <a:pt x="400" y="123"/>
                </a:cubicBezTo>
                <a:cubicBezTo>
                  <a:pt x="399" y="123"/>
                  <a:pt x="399" y="123"/>
                  <a:pt x="399" y="123"/>
                </a:cubicBezTo>
                <a:cubicBezTo>
                  <a:pt x="398" y="123"/>
                  <a:pt x="398" y="123"/>
                  <a:pt x="398" y="123"/>
                </a:cubicBezTo>
                <a:cubicBezTo>
                  <a:pt x="398" y="124"/>
                  <a:pt x="398" y="124"/>
                  <a:pt x="398" y="124"/>
                </a:cubicBezTo>
                <a:cubicBezTo>
                  <a:pt x="397" y="124"/>
                  <a:pt x="397" y="124"/>
                  <a:pt x="397" y="124"/>
                </a:cubicBezTo>
                <a:close/>
                <a:moveTo>
                  <a:pt x="431" y="310"/>
                </a:moveTo>
                <a:cubicBezTo>
                  <a:pt x="431" y="312"/>
                  <a:pt x="431" y="312"/>
                  <a:pt x="431" y="312"/>
                </a:cubicBezTo>
                <a:cubicBezTo>
                  <a:pt x="431" y="313"/>
                  <a:pt x="431" y="313"/>
                  <a:pt x="431" y="313"/>
                </a:cubicBezTo>
                <a:cubicBezTo>
                  <a:pt x="431" y="314"/>
                  <a:pt x="431" y="314"/>
                  <a:pt x="431" y="314"/>
                </a:cubicBezTo>
                <a:cubicBezTo>
                  <a:pt x="432" y="314"/>
                  <a:pt x="432" y="314"/>
                  <a:pt x="432" y="314"/>
                </a:cubicBezTo>
                <a:cubicBezTo>
                  <a:pt x="431" y="313"/>
                  <a:pt x="431" y="313"/>
                  <a:pt x="431" y="313"/>
                </a:cubicBezTo>
                <a:cubicBezTo>
                  <a:pt x="432" y="312"/>
                  <a:pt x="432" y="312"/>
                  <a:pt x="432" y="312"/>
                </a:cubicBezTo>
                <a:cubicBezTo>
                  <a:pt x="432" y="310"/>
                  <a:pt x="432" y="310"/>
                  <a:pt x="432" y="310"/>
                </a:cubicBezTo>
                <a:cubicBezTo>
                  <a:pt x="431" y="310"/>
                  <a:pt x="431" y="310"/>
                  <a:pt x="431" y="310"/>
                </a:cubicBezTo>
                <a:close/>
                <a:moveTo>
                  <a:pt x="430" y="303"/>
                </a:moveTo>
                <a:cubicBezTo>
                  <a:pt x="430" y="303"/>
                  <a:pt x="430" y="303"/>
                  <a:pt x="430" y="303"/>
                </a:cubicBezTo>
                <a:cubicBezTo>
                  <a:pt x="430" y="302"/>
                  <a:pt x="430" y="302"/>
                  <a:pt x="430" y="302"/>
                </a:cubicBezTo>
                <a:cubicBezTo>
                  <a:pt x="431" y="303"/>
                  <a:pt x="431" y="303"/>
                  <a:pt x="431" y="303"/>
                </a:cubicBezTo>
                <a:cubicBezTo>
                  <a:pt x="431" y="303"/>
                  <a:pt x="431" y="303"/>
                  <a:pt x="431" y="303"/>
                </a:cubicBezTo>
                <a:cubicBezTo>
                  <a:pt x="430" y="303"/>
                  <a:pt x="430" y="303"/>
                  <a:pt x="430" y="303"/>
                </a:cubicBezTo>
                <a:close/>
                <a:moveTo>
                  <a:pt x="428" y="299"/>
                </a:moveTo>
                <a:cubicBezTo>
                  <a:pt x="429" y="298"/>
                  <a:pt x="429" y="298"/>
                  <a:pt x="429" y="298"/>
                </a:cubicBezTo>
                <a:cubicBezTo>
                  <a:pt x="430" y="298"/>
                  <a:pt x="430" y="298"/>
                  <a:pt x="430" y="298"/>
                </a:cubicBezTo>
                <a:cubicBezTo>
                  <a:pt x="430" y="298"/>
                  <a:pt x="430" y="298"/>
                  <a:pt x="430" y="298"/>
                </a:cubicBezTo>
                <a:cubicBezTo>
                  <a:pt x="429" y="299"/>
                  <a:pt x="429" y="299"/>
                  <a:pt x="429" y="299"/>
                </a:cubicBezTo>
                <a:cubicBezTo>
                  <a:pt x="429" y="299"/>
                  <a:pt x="429" y="299"/>
                  <a:pt x="429" y="299"/>
                </a:cubicBezTo>
                <a:cubicBezTo>
                  <a:pt x="428" y="299"/>
                  <a:pt x="428" y="299"/>
                  <a:pt x="428" y="299"/>
                </a:cubicBezTo>
                <a:close/>
                <a:moveTo>
                  <a:pt x="418" y="206"/>
                </a:moveTo>
                <a:cubicBezTo>
                  <a:pt x="418" y="205"/>
                  <a:pt x="418" y="205"/>
                  <a:pt x="418" y="205"/>
                </a:cubicBezTo>
                <a:cubicBezTo>
                  <a:pt x="419" y="204"/>
                  <a:pt x="419" y="204"/>
                  <a:pt x="419" y="204"/>
                </a:cubicBezTo>
                <a:cubicBezTo>
                  <a:pt x="419" y="205"/>
                  <a:pt x="419" y="205"/>
                  <a:pt x="419" y="205"/>
                </a:cubicBezTo>
                <a:cubicBezTo>
                  <a:pt x="418" y="206"/>
                  <a:pt x="418" y="206"/>
                  <a:pt x="418" y="206"/>
                </a:cubicBezTo>
                <a:close/>
                <a:moveTo>
                  <a:pt x="420" y="207"/>
                </a:moveTo>
                <a:cubicBezTo>
                  <a:pt x="420" y="206"/>
                  <a:pt x="420" y="206"/>
                  <a:pt x="420" y="206"/>
                </a:cubicBezTo>
                <a:cubicBezTo>
                  <a:pt x="420" y="205"/>
                  <a:pt x="420" y="205"/>
                  <a:pt x="420" y="205"/>
                </a:cubicBezTo>
                <a:cubicBezTo>
                  <a:pt x="420" y="205"/>
                  <a:pt x="420" y="205"/>
                  <a:pt x="420" y="205"/>
                </a:cubicBezTo>
                <a:cubicBezTo>
                  <a:pt x="421" y="206"/>
                  <a:pt x="421" y="206"/>
                  <a:pt x="421" y="206"/>
                </a:cubicBezTo>
                <a:cubicBezTo>
                  <a:pt x="421" y="207"/>
                  <a:pt x="421" y="207"/>
                  <a:pt x="421" y="207"/>
                </a:cubicBezTo>
                <a:cubicBezTo>
                  <a:pt x="420" y="207"/>
                  <a:pt x="420" y="207"/>
                  <a:pt x="420" y="207"/>
                </a:cubicBezTo>
                <a:close/>
                <a:moveTo>
                  <a:pt x="418" y="210"/>
                </a:moveTo>
                <a:cubicBezTo>
                  <a:pt x="417" y="209"/>
                  <a:pt x="417" y="209"/>
                  <a:pt x="417" y="209"/>
                </a:cubicBezTo>
                <a:cubicBezTo>
                  <a:pt x="418" y="208"/>
                  <a:pt x="418" y="208"/>
                  <a:pt x="418" y="208"/>
                </a:cubicBezTo>
                <a:cubicBezTo>
                  <a:pt x="418" y="207"/>
                  <a:pt x="418" y="207"/>
                  <a:pt x="418" y="207"/>
                </a:cubicBezTo>
                <a:cubicBezTo>
                  <a:pt x="418" y="207"/>
                  <a:pt x="418" y="207"/>
                  <a:pt x="418" y="207"/>
                </a:cubicBezTo>
                <a:cubicBezTo>
                  <a:pt x="419" y="208"/>
                  <a:pt x="419" y="208"/>
                  <a:pt x="419" y="208"/>
                </a:cubicBezTo>
                <a:cubicBezTo>
                  <a:pt x="419" y="207"/>
                  <a:pt x="419" y="207"/>
                  <a:pt x="419" y="207"/>
                </a:cubicBezTo>
                <a:cubicBezTo>
                  <a:pt x="420" y="208"/>
                  <a:pt x="420" y="208"/>
                  <a:pt x="420" y="208"/>
                </a:cubicBezTo>
                <a:cubicBezTo>
                  <a:pt x="419" y="209"/>
                  <a:pt x="419" y="209"/>
                  <a:pt x="419" y="209"/>
                </a:cubicBezTo>
                <a:cubicBezTo>
                  <a:pt x="418" y="210"/>
                  <a:pt x="418" y="210"/>
                  <a:pt x="418" y="210"/>
                </a:cubicBezTo>
                <a:cubicBezTo>
                  <a:pt x="418" y="210"/>
                  <a:pt x="418" y="210"/>
                  <a:pt x="418" y="210"/>
                </a:cubicBezTo>
                <a:close/>
                <a:moveTo>
                  <a:pt x="437" y="238"/>
                </a:moveTo>
                <a:cubicBezTo>
                  <a:pt x="437" y="237"/>
                  <a:pt x="437" y="237"/>
                  <a:pt x="437" y="237"/>
                </a:cubicBezTo>
                <a:cubicBezTo>
                  <a:pt x="438" y="237"/>
                  <a:pt x="438" y="237"/>
                  <a:pt x="438" y="237"/>
                </a:cubicBezTo>
                <a:cubicBezTo>
                  <a:pt x="438" y="238"/>
                  <a:pt x="438" y="238"/>
                  <a:pt x="438" y="238"/>
                </a:cubicBezTo>
                <a:cubicBezTo>
                  <a:pt x="437" y="238"/>
                  <a:pt x="437" y="238"/>
                  <a:pt x="437" y="238"/>
                </a:cubicBezTo>
                <a:cubicBezTo>
                  <a:pt x="437" y="238"/>
                  <a:pt x="437" y="238"/>
                  <a:pt x="437" y="238"/>
                </a:cubicBezTo>
                <a:close/>
                <a:moveTo>
                  <a:pt x="435" y="237"/>
                </a:moveTo>
                <a:cubicBezTo>
                  <a:pt x="435" y="237"/>
                  <a:pt x="435" y="237"/>
                  <a:pt x="435" y="237"/>
                </a:cubicBezTo>
                <a:cubicBezTo>
                  <a:pt x="436" y="236"/>
                  <a:pt x="436" y="236"/>
                  <a:pt x="436" y="236"/>
                </a:cubicBezTo>
                <a:cubicBezTo>
                  <a:pt x="436" y="236"/>
                  <a:pt x="436" y="236"/>
                  <a:pt x="436" y="236"/>
                </a:cubicBezTo>
                <a:cubicBezTo>
                  <a:pt x="437" y="237"/>
                  <a:pt x="437" y="237"/>
                  <a:pt x="437" y="237"/>
                </a:cubicBezTo>
                <a:cubicBezTo>
                  <a:pt x="436" y="238"/>
                  <a:pt x="436" y="238"/>
                  <a:pt x="436" y="238"/>
                </a:cubicBezTo>
                <a:cubicBezTo>
                  <a:pt x="435" y="238"/>
                  <a:pt x="435" y="238"/>
                  <a:pt x="435" y="238"/>
                </a:cubicBezTo>
                <a:cubicBezTo>
                  <a:pt x="435" y="237"/>
                  <a:pt x="435" y="237"/>
                  <a:pt x="435" y="237"/>
                </a:cubicBezTo>
                <a:close/>
                <a:moveTo>
                  <a:pt x="431" y="250"/>
                </a:moveTo>
                <a:cubicBezTo>
                  <a:pt x="432" y="251"/>
                  <a:pt x="432" y="251"/>
                  <a:pt x="432" y="251"/>
                </a:cubicBezTo>
                <a:cubicBezTo>
                  <a:pt x="432" y="251"/>
                  <a:pt x="432" y="251"/>
                  <a:pt x="432" y="251"/>
                </a:cubicBezTo>
                <a:cubicBezTo>
                  <a:pt x="432" y="250"/>
                  <a:pt x="432" y="250"/>
                  <a:pt x="432" y="250"/>
                </a:cubicBezTo>
                <a:cubicBezTo>
                  <a:pt x="431" y="250"/>
                  <a:pt x="431" y="250"/>
                  <a:pt x="431" y="250"/>
                </a:cubicBezTo>
                <a:close/>
                <a:moveTo>
                  <a:pt x="436" y="256"/>
                </a:moveTo>
                <a:cubicBezTo>
                  <a:pt x="437" y="257"/>
                  <a:pt x="437" y="257"/>
                  <a:pt x="437" y="257"/>
                </a:cubicBezTo>
                <a:cubicBezTo>
                  <a:pt x="438" y="256"/>
                  <a:pt x="438" y="256"/>
                  <a:pt x="438" y="256"/>
                </a:cubicBezTo>
                <a:cubicBezTo>
                  <a:pt x="437" y="256"/>
                  <a:pt x="437" y="256"/>
                  <a:pt x="437" y="256"/>
                </a:cubicBezTo>
                <a:cubicBezTo>
                  <a:pt x="437" y="256"/>
                  <a:pt x="437" y="256"/>
                  <a:pt x="437" y="256"/>
                </a:cubicBezTo>
                <a:cubicBezTo>
                  <a:pt x="437" y="256"/>
                  <a:pt x="436" y="256"/>
                  <a:pt x="436" y="256"/>
                </a:cubicBezTo>
                <a:close/>
                <a:moveTo>
                  <a:pt x="446" y="266"/>
                </a:moveTo>
                <a:cubicBezTo>
                  <a:pt x="445" y="264"/>
                  <a:pt x="445" y="264"/>
                  <a:pt x="445" y="264"/>
                </a:cubicBezTo>
                <a:cubicBezTo>
                  <a:pt x="446" y="263"/>
                  <a:pt x="446" y="263"/>
                  <a:pt x="446" y="263"/>
                </a:cubicBezTo>
                <a:cubicBezTo>
                  <a:pt x="447" y="264"/>
                  <a:pt x="447" y="264"/>
                  <a:pt x="447" y="264"/>
                </a:cubicBezTo>
                <a:cubicBezTo>
                  <a:pt x="447" y="265"/>
                  <a:pt x="447" y="265"/>
                  <a:pt x="447" y="265"/>
                </a:cubicBezTo>
                <a:cubicBezTo>
                  <a:pt x="446" y="266"/>
                  <a:pt x="446" y="266"/>
                  <a:pt x="446" y="266"/>
                </a:cubicBezTo>
                <a:cubicBezTo>
                  <a:pt x="446" y="266"/>
                  <a:pt x="446" y="266"/>
                  <a:pt x="446" y="266"/>
                </a:cubicBezTo>
                <a:close/>
                <a:moveTo>
                  <a:pt x="451" y="272"/>
                </a:moveTo>
                <a:cubicBezTo>
                  <a:pt x="451" y="270"/>
                  <a:pt x="451" y="270"/>
                  <a:pt x="451" y="270"/>
                </a:cubicBezTo>
                <a:cubicBezTo>
                  <a:pt x="452" y="270"/>
                  <a:pt x="452" y="270"/>
                  <a:pt x="452" y="270"/>
                </a:cubicBezTo>
                <a:cubicBezTo>
                  <a:pt x="452" y="270"/>
                  <a:pt x="452" y="270"/>
                  <a:pt x="452" y="270"/>
                </a:cubicBezTo>
                <a:cubicBezTo>
                  <a:pt x="453" y="270"/>
                  <a:pt x="453" y="270"/>
                  <a:pt x="453" y="270"/>
                </a:cubicBezTo>
                <a:cubicBezTo>
                  <a:pt x="452" y="271"/>
                  <a:pt x="452" y="271"/>
                  <a:pt x="452" y="271"/>
                </a:cubicBezTo>
                <a:cubicBezTo>
                  <a:pt x="451" y="271"/>
                  <a:pt x="451" y="271"/>
                  <a:pt x="451" y="271"/>
                </a:cubicBezTo>
                <a:cubicBezTo>
                  <a:pt x="451" y="271"/>
                  <a:pt x="451" y="272"/>
                  <a:pt x="451" y="272"/>
                </a:cubicBezTo>
                <a:close/>
                <a:moveTo>
                  <a:pt x="416" y="138"/>
                </a:moveTo>
                <a:cubicBezTo>
                  <a:pt x="416" y="136"/>
                  <a:pt x="416" y="136"/>
                  <a:pt x="416" y="136"/>
                </a:cubicBezTo>
                <a:cubicBezTo>
                  <a:pt x="416" y="136"/>
                  <a:pt x="416" y="136"/>
                  <a:pt x="416" y="136"/>
                </a:cubicBezTo>
                <a:cubicBezTo>
                  <a:pt x="417" y="135"/>
                  <a:pt x="417" y="135"/>
                  <a:pt x="417" y="135"/>
                </a:cubicBezTo>
                <a:cubicBezTo>
                  <a:pt x="420" y="133"/>
                  <a:pt x="420" y="133"/>
                  <a:pt x="420" y="133"/>
                </a:cubicBezTo>
                <a:cubicBezTo>
                  <a:pt x="421" y="133"/>
                  <a:pt x="421" y="133"/>
                  <a:pt x="421" y="133"/>
                </a:cubicBezTo>
                <a:cubicBezTo>
                  <a:pt x="420" y="134"/>
                  <a:pt x="420" y="134"/>
                  <a:pt x="420" y="134"/>
                </a:cubicBezTo>
                <a:cubicBezTo>
                  <a:pt x="419" y="135"/>
                  <a:pt x="419" y="135"/>
                  <a:pt x="419" y="135"/>
                </a:cubicBezTo>
                <a:cubicBezTo>
                  <a:pt x="418" y="136"/>
                  <a:pt x="418" y="136"/>
                  <a:pt x="418" y="136"/>
                </a:cubicBezTo>
                <a:cubicBezTo>
                  <a:pt x="419" y="137"/>
                  <a:pt x="419" y="137"/>
                  <a:pt x="419" y="137"/>
                </a:cubicBezTo>
                <a:cubicBezTo>
                  <a:pt x="419" y="138"/>
                  <a:pt x="419" y="138"/>
                  <a:pt x="419" y="138"/>
                </a:cubicBezTo>
                <a:cubicBezTo>
                  <a:pt x="418" y="137"/>
                  <a:pt x="418" y="137"/>
                  <a:pt x="418" y="137"/>
                </a:cubicBezTo>
                <a:cubicBezTo>
                  <a:pt x="417" y="137"/>
                  <a:pt x="417" y="137"/>
                  <a:pt x="417" y="137"/>
                </a:cubicBezTo>
                <a:cubicBezTo>
                  <a:pt x="417" y="137"/>
                  <a:pt x="417" y="137"/>
                  <a:pt x="417" y="137"/>
                </a:cubicBezTo>
                <a:cubicBezTo>
                  <a:pt x="416" y="138"/>
                  <a:pt x="416" y="138"/>
                  <a:pt x="416" y="138"/>
                </a:cubicBezTo>
                <a:cubicBezTo>
                  <a:pt x="416" y="138"/>
                  <a:pt x="416" y="138"/>
                  <a:pt x="416" y="138"/>
                </a:cubicBezTo>
                <a:close/>
                <a:moveTo>
                  <a:pt x="410" y="132"/>
                </a:moveTo>
                <a:cubicBezTo>
                  <a:pt x="410" y="132"/>
                  <a:pt x="410" y="132"/>
                  <a:pt x="410" y="132"/>
                </a:cubicBezTo>
                <a:cubicBezTo>
                  <a:pt x="411" y="132"/>
                  <a:pt x="411" y="132"/>
                  <a:pt x="411" y="132"/>
                </a:cubicBezTo>
                <a:cubicBezTo>
                  <a:pt x="411" y="132"/>
                  <a:pt x="411" y="132"/>
                  <a:pt x="411" y="132"/>
                </a:cubicBezTo>
                <a:cubicBezTo>
                  <a:pt x="411" y="131"/>
                  <a:pt x="411" y="131"/>
                  <a:pt x="411" y="131"/>
                </a:cubicBezTo>
                <a:cubicBezTo>
                  <a:pt x="410" y="132"/>
                  <a:pt x="410" y="132"/>
                  <a:pt x="410" y="132"/>
                </a:cubicBezTo>
                <a:close/>
                <a:moveTo>
                  <a:pt x="376" y="117"/>
                </a:moveTo>
                <a:cubicBezTo>
                  <a:pt x="374" y="116"/>
                  <a:pt x="374" y="116"/>
                  <a:pt x="374" y="116"/>
                </a:cubicBezTo>
                <a:cubicBezTo>
                  <a:pt x="374" y="115"/>
                  <a:pt x="374" y="115"/>
                  <a:pt x="374" y="115"/>
                </a:cubicBezTo>
                <a:cubicBezTo>
                  <a:pt x="374" y="113"/>
                  <a:pt x="374" y="113"/>
                  <a:pt x="374" y="113"/>
                </a:cubicBezTo>
                <a:cubicBezTo>
                  <a:pt x="374" y="112"/>
                  <a:pt x="374" y="112"/>
                  <a:pt x="374" y="112"/>
                </a:cubicBezTo>
                <a:cubicBezTo>
                  <a:pt x="374" y="111"/>
                  <a:pt x="374" y="111"/>
                  <a:pt x="374" y="111"/>
                </a:cubicBezTo>
                <a:cubicBezTo>
                  <a:pt x="374" y="110"/>
                  <a:pt x="374" y="110"/>
                  <a:pt x="374" y="110"/>
                </a:cubicBezTo>
                <a:cubicBezTo>
                  <a:pt x="375" y="110"/>
                  <a:pt x="375" y="110"/>
                  <a:pt x="375" y="110"/>
                </a:cubicBezTo>
                <a:cubicBezTo>
                  <a:pt x="377" y="110"/>
                  <a:pt x="377" y="110"/>
                  <a:pt x="377" y="110"/>
                </a:cubicBezTo>
                <a:cubicBezTo>
                  <a:pt x="377" y="112"/>
                  <a:pt x="377" y="112"/>
                  <a:pt x="377" y="112"/>
                </a:cubicBezTo>
                <a:cubicBezTo>
                  <a:pt x="376" y="114"/>
                  <a:pt x="376" y="114"/>
                  <a:pt x="376" y="114"/>
                </a:cubicBezTo>
                <a:cubicBezTo>
                  <a:pt x="376" y="115"/>
                  <a:pt x="376" y="115"/>
                  <a:pt x="376" y="115"/>
                </a:cubicBezTo>
                <a:cubicBezTo>
                  <a:pt x="376" y="116"/>
                  <a:pt x="376" y="116"/>
                  <a:pt x="376" y="116"/>
                </a:cubicBezTo>
                <a:cubicBezTo>
                  <a:pt x="376" y="117"/>
                  <a:pt x="376" y="117"/>
                  <a:pt x="376" y="117"/>
                </a:cubicBezTo>
                <a:cubicBezTo>
                  <a:pt x="376" y="117"/>
                  <a:pt x="376" y="117"/>
                  <a:pt x="376" y="117"/>
                </a:cubicBezTo>
                <a:close/>
                <a:moveTo>
                  <a:pt x="375" y="47"/>
                </a:moveTo>
                <a:cubicBezTo>
                  <a:pt x="377" y="46"/>
                  <a:pt x="377" y="46"/>
                  <a:pt x="377" y="46"/>
                </a:cubicBezTo>
                <a:cubicBezTo>
                  <a:pt x="378" y="44"/>
                  <a:pt x="378" y="44"/>
                  <a:pt x="378" y="44"/>
                </a:cubicBezTo>
                <a:cubicBezTo>
                  <a:pt x="378" y="43"/>
                  <a:pt x="378" y="43"/>
                  <a:pt x="378" y="43"/>
                </a:cubicBezTo>
                <a:cubicBezTo>
                  <a:pt x="379" y="42"/>
                  <a:pt x="379" y="42"/>
                  <a:pt x="379" y="42"/>
                </a:cubicBezTo>
                <a:cubicBezTo>
                  <a:pt x="380" y="40"/>
                  <a:pt x="380" y="40"/>
                  <a:pt x="380" y="40"/>
                </a:cubicBezTo>
                <a:cubicBezTo>
                  <a:pt x="380" y="39"/>
                  <a:pt x="380" y="39"/>
                  <a:pt x="380" y="39"/>
                </a:cubicBezTo>
                <a:cubicBezTo>
                  <a:pt x="378" y="39"/>
                  <a:pt x="378" y="39"/>
                  <a:pt x="378" y="39"/>
                </a:cubicBezTo>
                <a:cubicBezTo>
                  <a:pt x="377" y="39"/>
                  <a:pt x="377" y="39"/>
                  <a:pt x="377" y="39"/>
                </a:cubicBezTo>
                <a:cubicBezTo>
                  <a:pt x="378" y="38"/>
                  <a:pt x="378" y="38"/>
                  <a:pt x="378" y="38"/>
                </a:cubicBezTo>
                <a:cubicBezTo>
                  <a:pt x="377" y="38"/>
                  <a:pt x="377" y="38"/>
                  <a:pt x="377" y="38"/>
                </a:cubicBezTo>
                <a:cubicBezTo>
                  <a:pt x="376" y="39"/>
                  <a:pt x="376" y="39"/>
                  <a:pt x="376" y="39"/>
                </a:cubicBezTo>
                <a:cubicBezTo>
                  <a:pt x="374" y="40"/>
                  <a:pt x="374" y="40"/>
                  <a:pt x="374" y="40"/>
                </a:cubicBezTo>
                <a:cubicBezTo>
                  <a:pt x="374" y="41"/>
                  <a:pt x="374" y="41"/>
                  <a:pt x="374" y="41"/>
                </a:cubicBezTo>
                <a:cubicBezTo>
                  <a:pt x="373" y="41"/>
                  <a:pt x="373" y="41"/>
                  <a:pt x="373" y="41"/>
                </a:cubicBezTo>
                <a:cubicBezTo>
                  <a:pt x="373" y="42"/>
                  <a:pt x="373" y="42"/>
                  <a:pt x="373" y="42"/>
                </a:cubicBezTo>
                <a:cubicBezTo>
                  <a:pt x="375" y="43"/>
                  <a:pt x="375" y="43"/>
                  <a:pt x="375" y="43"/>
                </a:cubicBezTo>
                <a:cubicBezTo>
                  <a:pt x="376" y="42"/>
                  <a:pt x="376" y="42"/>
                  <a:pt x="376" y="42"/>
                </a:cubicBezTo>
                <a:cubicBezTo>
                  <a:pt x="376" y="44"/>
                  <a:pt x="376" y="44"/>
                  <a:pt x="376" y="44"/>
                </a:cubicBezTo>
                <a:cubicBezTo>
                  <a:pt x="375" y="45"/>
                  <a:pt x="375" y="45"/>
                  <a:pt x="375" y="45"/>
                </a:cubicBezTo>
                <a:cubicBezTo>
                  <a:pt x="375" y="46"/>
                  <a:pt x="375" y="46"/>
                  <a:pt x="375" y="46"/>
                </a:cubicBezTo>
                <a:cubicBezTo>
                  <a:pt x="375" y="46"/>
                  <a:pt x="375" y="46"/>
                  <a:pt x="375" y="46"/>
                </a:cubicBezTo>
                <a:cubicBezTo>
                  <a:pt x="375" y="47"/>
                  <a:pt x="375" y="47"/>
                  <a:pt x="375" y="47"/>
                </a:cubicBezTo>
                <a:close/>
                <a:moveTo>
                  <a:pt x="359" y="85"/>
                </a:moveTo>
                <a:cubicBezTo>
                  <a:pt x="359" y="83"/>
                  <a:pt x="359" y="83"/>
                  <a:pt x="359" y="83"/>
                </a:cubicBezTo>
                <a:cubicBezTo>
                  <a:pt x="360" y="82"/>
                  <a:pt x="360" y="82"/>
                  <a:pt x="360" y="82"/>
                </a:cubicBezTo>
                <a:cubicBezTo>
                  <a:pt x="359" y="82"/>
                  <a:pt x="359" y="82"/>
                  <a:pt x="359" y="82"/>
                </a:cubicBezTo>
                <a:cubicBezTo>
                  <a:pt x="359" y="80"/>
                  <a:pt x="359" y="80"/>
                  <a:pt x="359" y="80"/>
                </a:cubicBezTo>
                <a:cubicBezTo>
                  <a:pt x="358" y="80"/>
                  <a:pt x="358" y="80"/>
                  <a:pt x="358" y="80"/>
                </a:cubicBezTo>
                <a:cubicBezTo>
                  <a:pt x="359" y="79"/>
                  <a:pt x="359" y="79"/>
                  <a:pt x="359" y="79"/>
                </a:cubicBezTo>
                <a:cubicBezTo>
                  <a:pt x="359" y="78"/>
                  <a:pt x="359" y="78"/>
                  <a:pt x="359" y="78"/>
                </a:cubicBezTo>
                <a:cubicBezTo>
                  <a:pt x="360" y="78"/>
                  <a:pt x="360" y="78"/>
                  <a:pt x="360" y="78"/>
                </a:cubicBezTo>
                <a:cubicBezTo>
                  <a:pt x="362" y="79"/>
                  <a:pt x="362" y="79"/>
                  <a:pt x="362" y="79"/>
                </a:cubicBezTo>
                <a:cubicBezTo>
                  <a:pt x="362" y="79"/>
                  <a:pt x="362" y="79"/>
                  <a:pt x="362" y="79"/>
                </a:cubicBezTo>
                <a:cubicBezTo>
                  <a:pt x="362" y="78"/>
                  <a:pt x="362" y="78"/>
                  <a:pt x="362" y="78"/>
                </a:cubicBezTo>
                <a:cubicBezTo>
                  <a:pt x="361" y="76"/>
                  <a:pt x="361" y="76"/>
                  <a:pt x="361" y="76"/>
                </a:cubicBezTo>
                <a:cubicBezTo>
                  <a:pt x="360" y="76"/>
                  <a:pt x="360" y="76"/>
                  <a:pt x="360" y="76"/>
                </a:cubicBezTo>
                <a:cubicBezTo>
                  <a:pt x="360" y="75"/>
                  <a:pt x="360" y="75"/>
                  <a:pt x="360" y="75"/>
                </a:cubicBezTo>
                <a:cubicBezTo>
                  <a:pt x="361" y="75"/>
                  <a:pt x="361" y="75"/>
                  <a:pt x="361" y="75"/>
                </a:cubicBezTo>
                <a:cubicBezTo>
                  <a:pt x="360" y="74"/>
                  <a:pt x="360" y="74"/>
                  <a:pt x="360" y="74"/>
                </a:cubicBezTo>
                <a:cubicBezTo>
                  <a:pt x="361" y="72"/>
                  <a:pt x="361" y="72"/>
                  <a:pt x="361" y="72"/>
                </a:cubicBezTo>
                <a:cubicBezTo>
                  <a:pt x="361" y="70"/>
                  <a:pt x="361" y="70"/>
                  <a:pt x="361" y="70"/>
                </a:cubicBezTo>
                <a:cubicBezTo>
                  <a:pt x="362" y="69"/>
                  <a:pt x="362" y="69"/>
                  <a:pt x="362" y="69"/>
                </a:cubicBezTo>
                <a:cubicBezTo>
                  <a:pt x="362" y="69"/>
                  <a:pt x="362" y="69"/>
                  <a:pt x="362" y="69"/>
                </a:cubicBezTo>
                <a:cubicBezTo>
                  <a:pt x="363" y="68"/>
                  <a:pt x="363" y="68"/>
                  <a:pt x="363" y="68"/>
                </a:cubicBezTo>
                <a:cubicBezTo>
                  <a:pt x="363" y="66"/>
                  <a:pt x="363" y="66"/>
                  <a:pt x="363" y="66"/>
                </a:cubicBezTo>
                <a:cubicBezTo>
                  <a:pt x="364" y="66"/>
                  <a:pt x="364" y="66"/>
                  <a:pt x="364" y="66"/>
                </a:cubicBezTo>
                <a:cubicBezTo>
                  <a:pt x="366" y="64"/>
                  <a:pt x="366" y="64"/>
                  <a:pt x="366" y="64"/>
                </a:cubicBezTo>
                <a:cubicBezTo>
                  <a:pt x="367" y="64"/>
                  <a:pt x="367" y="64"/>
                  <a:pt x="367" y="64"/>
                </a:cubicBezTo>
                <a:cubicBezTo>
                  <a:pt x="369" y="66"/>
                  <a:pt x="369" y="66"/>
                  <a:pt x="369" y="66"/>
                </a:cubicBezTo>
                <a:cubicBezTo>
                  <a:pt x="369" y="68"/>
                  <a:pt x="369" y="68"/>
                  <a:pt x="369" y="68"/>
                </a:cubicBezTo>
                <a:cubicBezTo>
                  <a:pt x="369" y="69"/>
                  <a:pt x="369" y="69"/>
                  <a:pt x="369" y="69"/>
                </a:cubicBezTo>
                <a:cubicBezTo>
                  <a:pt x="369" y="69"/>
                  <a:pt x="369" y="69"/>
                  <a:pt x="369" y="69"/>
                </a:cubicBezTo>
                <a:cubicBezTo>
                  <a:pt x="370" y="70"/>
                  <a:pt x="370" y="70"/>
                  <a:pt x="370" y="70"/>
                </a:cubicBezTo>
                <a:cubicBezTo>
                  <a:pt x="370" y="71"/>
                  <a:pt x="370" y="71"/>
                  <a:pt x="370" y="71"/>
                </a:cubicBezTo>
                <a:cubicBezTo>
                  <a:pt x="371" y="71"/>
                  <a:pt x="371" y="71"/>
                  <a:pt x="371" y="71"/>
                </a:cubicBezTo>
                <a:cubicBezTo>
                  <a:pt x="371" y="72"/>
                  <a:pt x="371" y="72"/>
                  <a:pt x="371" y="72"/>
                </a:cubicBezTo>
                <a:cubicBezTo>
                  <a:pt x="372" y="73"/>
                  <a:pt x="372" y="73"/>
                  <a:pt x="372" y="73"/>
                </a:cubicBezTo>
                <a:cubicBezTo>
                  <a:pt x="373" y="74"/>
                  <a:pt x="373" y="74"/>
                  <a:pt x="373" y="74"/>
                </a:cubicBezTo>
                <a:cubicBezTo>
                  <a:pt x="373" y="74"/>
                  <a:pt x="373" y="74"/>
                  <a:pt x="373" y="74"/>
                </a:cubicBezTo>
                <a:cubicBezTo>
                  <a:pt x="373" y="75"/>
                  <a:pt x="373" y="75"/>
                  <a:pt x="373" y="75"/>
                </a:cubicBezTo>
                <a:cubicBezTo>
                  <a:pt x="374" y="78"/>
                  <a:pt x="374" y="78"/>
                  <a:pt x="374" y="78"/>
                </a:cubicBezTo>
                <a:cubicBezTo>
                  <a:pt x="373" y="79"/>
                  <a:pt x="373" y="79"/>
                  <a:pt x="373" y="79"/>
                </a:cubicBezTo>
                <a:cubicBezTo>
                  <a:pt x="372" y="79"/>
                  <a:pt x="372" y="79"/>
                  <a:pt x="372" y="79"/>
                </a:cubicBezTo>
                <a:cubicBezTo>
                  <a:pt x="371" y="79"/>
                  <a:pt x="371" y="79"/>
                  <a:pt x="371" y="79"/>
                </a:cubicBezTo>
                <a:cubicBezTo>
                  <a:pt x="370" y="80"/>
                  <a:pt x="370" y="80"/>
                  <a:pt x="370" y="80"/>
                </a:cubicBezTo>
                <a:cubicBezTo>
                  <a:pt x="371" y="80"/>
                  <a:pt x="371" y="80"/>
                  <a:pt x="371" y="80"/>
                </a:cubicBezTo>
                <a:cubicBezTo>
                  <a:pt x="371" y="80"/>
                  <a:pt x="371" y="80"/>
                  <a:pt x="371" y="80"/>
                </a:cubicBezTo>
                <a:cubicBezTo>
                  <a:pt x="372" y="82"/>
                  <a:pt x="372" y="82"/>
                  <a:pt x="372" y="82"/>
                </a:cubicBezTo>
                <a:cubicBezTo>
                  <a:pt x="371" y="83"/>
                  <a:pt x="371" y="83"/>
                  <a:pt x="371" y="83"/>
                </a:cubicBezTo>
                <a:cubicBezTo>
                  <a:pt x="369" y="85"/>
                  <a:pt x="369" y="85"/>
                  <a:pt x="369" y="85"/>
                </a:cubicBezTo>
                <a:cubicBezTo>
                  <a:pt x="369" y="85"/>
                  <a:pt x="369" y="85"/>
                  <a:pt x="369" y="85"/>
                </a:cubicBezTo>
                <a:cubicBezTo>
                  <a:pt x="368" y="85"/>
                  <a:pt x="368" y="85"/>
                  <a:pt x="368" y="85"/>
                </a:cubicBezTo>
                <a:cubicBezTo>
                  <a:pt x="368" y="84"/>
                  <a:pt x="368" y="84"/>
                  <a:pt x="368" y="84"/>
                </a:cubicBezTo>
                <a:cubicBezTo>
                  <a:pt x="367" y="84"/>
                  <a:pt x="367" y="84"/>
                  <a:pt x="367" y="84"/>
                </a:cubicBezTo>
                <a:cubicBezTo>
                  <a:pt x="366" y="85"/>
                  <a:pt x="366" y="85"/>
                  <a:pt x="366" y="85"/>
                </a:cubicBezTo>
                <a:cubicBezTo>
                  <a:pt x="365" y="84"/>
                  <a:pt x="365" y="84"/>
                  <a:pt x="365" y="84"/>
                </a:cubicBezTo>
                <a:cubicBezTo>
                  <a:pt x="363" y="85"/>
                  <a:pt x="363" y="85"/>
                  <a:pt x="363" y="85"/>
                </a:cubicBezTo>
                <a:cubicBezTo>
                  <a:pt x="362" y="85"/>
                  <a:pt x="362" y="85"/>
                  <a:pt x="362" y="85"/>
                </a:cubicBezTo>
                <a:cubicBezTo>
                  <a:pt x="362" y="84"/>
                  <a:pt x="362" y="84"/>
                  <a:pt x="362" y="84"/>
                </a:cubicBezTo>
                <a:cubicBezTo>
                  <a:pt x="361" y="83"/>
                  <a:pt x="361" y="83"/>
                  <a:pt x="361" y="83"/>
                </a:cubicBezTo>
                <a:cubicBezTo>
                  <a:pt x="361" y="84"/>
                  <a:pt x="361" y="84"/>
                  <a:pt x="361" y="84"/>
                </a:cubicBezTo>
                <a:cubicBezTo>
                  <a:pt x="359" y="85"/>
                  <a:pt x="359" y="85"/>
                  <a:pt x="359" y="85"/>
                </a:cubicBezTo>
                <a:close/>
                <a:moveTo>
                  <a:pt x="374" y="83"/>
                </a:moveTo>
                <a:cubicBezTo>
                  <a:pt x="374" y="83"/>
                  <a:pt x="374" y="83"/>
                  <a:pt x="374" y="83"/>
                </a:cubicBezTo>
                <a:cubicBezTo>
                  <a:pt x="375" y="82"/>
                  <a:pt x="375" y="82"/>
                  <a:pt x="375" y="82"/>
                </a:cubicBezTo>
                <a:cubicBezTo>
                  <a:pt x="374" y="80"/>
                  <a:pt x="374" y="80"/>
                  <a:pt x="374" y="80"/>
                </a:cubicBezTo>
                <a:cubicBezTo>
                  <a:pt x="374" y="80"/>
                  <a:pt x="374" y="80"/>
                  <a:pt x="374" y="80"/>
                </a:cubicBezTo>
                <a:cubicBezTo>
                  <a:pt x="373" y="80"/>
                  <a:pt x="373" y="80"/>
                  <a:pt x="373" y="80"/>
                </a:cubicBezTo>
                <a:cubicBezTo>
                  <a:pt x="373" y="82"/>
                  <a:pt x="373" y="82"/>
                  <a:pt x="373" y="82"/>
                </a:cubicBezTo>
                <a:cubicBezTo>
                  <a:pt x="374" y="83"/>
                  <a:pt x="374" y="83"/>
                  <a:pt x="374" y="83"/>
                </a:cubicBezTo>
                <a:close/>
                <a:moveTo>
                  <a:pt x="378" y="102"/>
                </a:moveTo>
                <a:cubicBezTo>
                  <a:pt x="378" y="103"/>
                  <a:pt x="378" y="103"/>
                  <a:pt x="378" y="103"/>
                </a:cubicBezTo>
                <a:cubicBezTo>
                  <a:pt x="379" y="104"/>
                  <a:pt x="379" y="104"/>
                  <a:pt x="379" y="104"/>
                </a:cubicBezTo>
                <a:cubicBezTo>
                  <a:pt x="381" y="104"/>
                  <a:pt x="381" y="104"/>
                  <a:pt x="381" y="104"/>
                </a:cubicBezTo>
                <a:cubicBezTo>
                  <a:pt x="382" y="103"/>
                  <a:pt x="382" y="103"/>
                  <a:pt x="382" y="103"/>
                </a:cubicBezTo>
                <a:cubicBezTo>
                  <a:pt x="383" y="101"/>
                  <a:pt x="383" y="101"/>
                  <a:pt x="383" y="101"/>
                </a:cubicBezTo>
                <a:cubicBezTo>
                  <a:pt x="383" y="100"/>
                  <a:pt x="383" y="100"/>
                  <a:pt x="383" y="100"/>
                </a:cubicBezTo>
                <a:cubicBezTo>
                  <a:pt x="383" y="100"/>
                  <a:pt x="383" y="100"/>
                  <a:pt x="383" y="100"/>
                </a:cubicBezTo>
                <a:cubicBezTo>
                  <a:pt x="383" y="99"/>
                  <a:pt x="383" y="99"/>
                  <a:pt x="383" y="99"/>
                </a:cubicBezTo>
                <a:cubicBezTo>
                  <a:pt x="382" y="98"/>
                  <a:pt x="382" y="98"/>
                  <a:pt x="382" y="98"/>
                </a:cubicBezTo>
                <a:cubicBezTo>
                  <a:pt x="381" y="98"/>
                  <a:pt x="381" y="98"/>
                  <a:pt x="381" y="98"/>
                </a:cubicBezTo>
                <a:cubicBezTo>
                  <a:pt x="381" y="97"/>
                  <a:pt x="381" y="97"/>
                  <a:pt x="381" y="97"/>
                </a:cubicBezTo>
                <a:cubicBezTo>
                  <a:pt x="380" y="97"/>
                  <a:pt x="380" y="97"/>
                  <a:pt x="380" y="97"/>
                </a:cubicBezTo>
                <a:cubicBezTo>
                  <a:pt x="379" y="98"/>
                  <a:pt x="379" y="98"/>
                  <a:pt x="379" y="98"/>
                </a:cubicBezTo>
                <a:cubicBezTo>
                  <a:pt x="378" y="99"/>
                  <a:pt x="378" y="99"/>
                  <a:pt x="378" y="99"/>
                </a:cubicBezTo>
                <a:cubicBezTo>
                  <a:pt x="378" y="101"/>
                  <a:pt x="378" y="101"/>
                  <a:pt x="378" y="101"/>
                </a:cubicBezTo>
                <a:cubicBezTo>
                  <a:pt x="378" y="102"/>
                  <a:pt x="378" y="102"/>
                  <a:pt x="378" y="102"/>
                </a:cubicBezTo>
                <a:close/>
                <a:moveTo>
                  <a:pt x="377" y="102"/>
                </a:moveTo>
                <a:cubicBezTo>
                  <a:pt x="377" y="103"/>
                  <a:pt x="377" y="103"/>
                  <a:pt x="377" y="103"/>
                </a:cubicBezTo>
                <a:cubicBezTo>
                  <a:pt x="377" y="104"/>
                  <a:pt x="377" y="104"/>
                  <a:pt x="377" y="104"/>
                </a:cubicBezTo>
                <a:cubicBezTo>
                  <a:pt x="377" y="105"/>
                  <a:pt x="377" y="105"/>
                  <a:pt x="377" y="105"/>
                </a:cubicBezTo>
                <a:cubicBezTo>
                  <a:pt x="378" y="104"/>
                  <a:pt x="378" y="104"/>
                  <a:pt x="378" y="104"/>
                </a:cubicBezTo>
                <a:cubicBezTo>
                  <a:pt x="378" y="103"/>
                  <a:pt x="378" y="103"/>
                  <a:pt x="378" y="103"/>
                </a:cubicBezTo>
                <a:cubicBezTo>
                  <a:pt x="377" y="103"/>
                  <a:pt x="377" y="103"/>
                  <a:pt x="377" y="103"/>
                </a:cubicBezTo>
                <a:cubicBezTo>
                  <a:pt x="377" y="102"/>
                  <a:pt x="377" y="102"/>
                  <a:pt x="377" y="102"/>
                </a:cubicBezTo>
                <a:cubicBezTo>
                  <a:pt x="377" y="102"/>
                  <a:pt x="377" y="102"/>
                  <a:pt x="377" y="102"/>
                </a:cubicBezTo>
                <a:close/>
                <a:moveTo>
                  <a:pt x="358" y="93"/>
                </a:moveTo>
                <a:cubicBezTo>
                  <a:pt x="358" y="91"/>
                  <a:pt x="358" y="91"/>
                  <a:pt x="358" y="91"/>
                </a:cubicBezTo>
                <a:cubicBezTo>
                  <a:pt x="359" y="89"/>
                  <a:pt x="359" y="89"/>
                  <a:pt x="359" y="89"/>
                </a:cubicBezTo>
                <a:cubicBezTo>
                  <a:pt x="360" y="88"/>
                  <a:pt x="360" y="88"/>
                  <a:pt x="360" y="88"/>
                </a:cubicBezTo>
                <a:cubicBezTo>
                  <a:pt x="361" y="88"/>
                  <a:pt x="361" y="88"/>
                  <a:pt x="361" y="88"/>
                </a:cubicBezTo>
                <a:cubicBezTo>
                  <a:pt x="362" y="88"/>
                  <a:pt x="362" y="88"/>
                  <a:pt x="362" y="88"/>
                </a:cubicBezTo>
                <a:cubicBezTo>
                  <a:pt x="363" y="88"/>
                  <a:pt x="363" y="88"/>
                  <a:pt x="363" y="88"/>
                </a:cubicBezTo>
                <a:cubicBezTo>
                  <a:pt x="364" y="88"/>
                  <a:pt x="364" y="88"/>
                  <a:pt x="364" y="88"/>
                </a:cubicBezTo>
                <a:cubicBezTo>
                  <a:pt x="364" y="88"/>
                  <a:pt x="364" y="88"/>
                  <a:pt x="364" y="88"/>
                </a:cubicBezTo>
                <a:cubicBezTo>
                  <a:pt x="365" y="89"/>
                  <a:pt x="365" y="89"/>
                  <a:pt x="365" y="89"/>
                </a:cubicBezTo>
                <a:cubicBezTo>
                  <a:pt x="366" y="89"/>
                  <a:pt x="366" y="89"/>
                  <a:pt x="366" y="89"/>
                </a:cubicBezTo>
                <a:cubicBezTo>
                  <a:pt x="366" y="88"/>
                  <a:pt x="366" y="88"/>
                  <a:pt x="366" y="88"/>
                </a:cubicBezTo>
                <a:cubicBezTo>
                  <a:pt x="367" y="89"/>
                  <a:pt x="367" y="89"/>
                  <a:pt x="367" y="89"/>
                </a:cubicBezTo>
                <a:cubicBezTo>
                  <a:pt x="368" y="89"/>
                  <a:pt x="368" y="89"/>
                  <a:pt x="368" y="89"/>
                </a:cubicBezTo>
                <a:cubicBezTo>
                  <a:pt x="369" y="91"/>
                  <a:pt x="369" y="91"/>
                  <a:pt x="369" y="91"/>
                </a:cubicBezTo>
                <a:cubicBezTo>
                  <a:pt x="370" y="91"/>
                  <a:pt x="370" y="91"/>
                  <a:pt x="370" y="91"/>
                </a:cubicBezTo>
                <a:cubicBezTo>
                  <a:pt x="370" y="92"/>
                  <a:pt x="370" y="92"/>
                  <a:pt x="370" y="92"/>
                </a:cubicBezTo>
                <a:cubicBezTo>
                  <a:pt x="370" y="92"/>
                  <a:pt x="370" y="92"/>
                  <a:pt x="370" y="92"/>
                </a:cubicBezTo>
                <a:cubicBezTo>
                  <a:pt x="371" y="92"/>
                  <a:pt x="371" y="92"/>
                  <a:pt x="371" y="92"/>
                </a:cubicBezTo>
                <a:cubicBezTo>
                  <a:pt x="372" y="92"/>
                  <a:pt x="372" y="92"/>
                  <a:pt x="372" y="92"/>
                </a:cubicBezTo>
                <a:cubicBezTo>
                  <a:pt x="373" y="93"/>
                  <a:pt x="373" y="93"/>
                  <a:pt x="373" y="93"/>
                </a:cubicBezTo>
                <a:cubicBezTo>
                  <a:pt x="373" y="93"/>
                  <a:pt x="373" y="93"/>
                  <a:pt x="373" y="93"/>
                </a:cubicBezTo>
                <a:cubicBezTo>
                  <a:pt x="373" y="94"/>
                  <a:pt x="373" y="94"/>
                  <a:pt x="373" y="94"/>
                </a:cubicBezTo>
                <a:cubicBezTo>
                  <a:pt x="373" y="95"/>
                  <a:pt x="373" y="95"/>
                  <a:pt x="373" y="95"/>
                </a:cubicBezTo>
                <a:cubicBezTo>
                  <a:pt x="373" y="95"/>
                  <a:pt x="373" y="95"/>
                  <a:pt x="373" y="95"/>
                </a:cubicBezTo>
                <a:cubicBezTo>
                  <a:pt x="372" y="95"/>
                  <a:pt x="372" y="95"/>
                  <a:pt x="372" y="95"/>
                </a:cubicBezTo>
                <a:cubicBezTo>
                  <a:pt x="370" y="96"/>
                  <a:pt x="370" y="96"/>
                  <a:pt x="370" y="96"/>
                </a:cubicBezTo>
                <a:cubicBezTo>
                  <a:pt x="369" y="97"/>
                  <a:pt x="369" y="97"/>
                  <a:pt x="369" y="97"/>
                </a:cubicBezTo>
                <a:cubicBezTo>
                  <a:pt x="367" y="96"/>
                  <a:pt x="367" y="96"/>
                  <a:pt x="367" y="96"/>
                </a:cubicBezTo>
                <a:cubicBezTo>
                  <a:pt x="365" y="96"/>
                  <a:pt x="365" y="96"/>
                  <a:pt x="365" y="96"/>
                </a:cubicBezTo>
                <a:cubicBezTo>
                  <a:pt x="364" y="94"/>
                  <a:pt x="364" y="94"/>
                  <a:pt x="364" y="94"/>
                </a:cubicBezTo>
                <a:cubicBezTo>
                  <a:pt x="362" y="94"/>
                  <a:pt x="362" y="94"/>
                  <a:pt x="362" y="94"/>
                </a:cubicBezTo>
                <a:cubicBezTo>
                  <a:pt x="361" y="94"/>
                  <a:pt x="361" y="94"/>
                  <a:pt x="361" y="94"/>
                </a:cubicBezTo>
                <a:cubicBezTo>
                  <a:pt x="360" y="93"/>
                  <a:pt x="360" y="93"/>
                  <a:pt x="360" y="93"/>
                </a:cubicBezTo>
                <a:cubicBezTo>
                  <a:pt x="359" y="93"/>
                  <a:pt x="359" y="93"/>
                  <a:pt x="359" y="93"/>
                </a:cubicBezTo>
                <a:cubicBezTo>
                  <a:pt x="358" y="93"/>
                  <a:pt x="358" y="93"/>
                  <a:pt x="358" y="93"/>
                </a:cubicBezTo>
                <a:close/>
                <a:moveTo>
                  <a:pt x="343" y="72"/>
                </a:moveTo>
                <a:cubicBezTo>
                  <a:pt x="343" y="71"/>
                  <a:pt x="343" y="71"/>
                  <a:pt x="343" y="71"/>
                </a:cubicBezTo>
                <a:cubicBezTo>
                  <a:pt x="344" y="71"/>
                  <a:pt x="344" y="71"/>
                  <a:pt x="344" y="71"/>
                </a:cubicBezTo>
                <a:cubicBezTo>
                  <a:pt x="344" y="71"/>
                  <a:pt x="344" y="71"/>
                  <a:pt x="344" y="71"/>
                </a:cubicBezTo>
                <a:cubicBezTo>
                  <a:pt x="344" y="72"/>
                  <a:pt x="344" y="72"/>
                  <a:pt x="344" y="72"/>
                </a:cubicBezTo>
                <a:cubicBezTo>
                  <a:pt x="343" y="72"/>
                  <a:pt x="343" y="72"/>
                  <a:pt x="343" y="72"/>
                </a:cubicBezTo>
                <a:cubicBezTo>
                  <a:pt x="343" y="72"/>
                  <a:pt x="343" y="72"/>
                  <a:pt x="343" y="72"/>
                </a:cubicBezTo>
                <a:close/>
                <a:moveTo>
                  <a:pt x="344" y="79"/>
                </a:moveTo>
                <a:cubicBezTo>
                  <a:pt x="345" y="81"/>
                  <a:pt x="345" y="81"/>
                  <a:pt x="345" y="81"/>
                </a:cubicBezTo>
                <a:cubicBezTo>
                  <a:pt x="345" y="82"/>
                  <a:pt x="345" y="82"/>
                  <a:pt x="345" y="82"/>
                </a:cubicBezTo>
                <a:cubicBezTo>
                  <a:pt x="346" y="82"/>
                  <a:pt x="346" y="82"/>
                  <a:pt x="346" y="82"/>
                </a:cubicBezTo>
                <a:cubicBezTo>
                  <a:pt x="347" y="82"/>
                  <a:pt x="347" y="82"/>
                  <a:pt x="347" y="82"/>
                </a:cubicBezTo>
                <a:cubicBezTo>
                  <a:pt x="348" y="82"/>
                  <a:pt x="348" y="82"/>
                  <a:pt x="348" y="82"/>
                </a:cubicBezTo>
                <a:cubicBezTo>
                  <a:pt x="349" y="82"/>
                  <a:pt x="349" y="82"/>
                  <a:pt x="349" y="82"/>
                </a:cubicBezTo>
                <a:cubicBezTo>
                  <a:pt x="350" y="81"/>
                  <a:pt x="350" y="81"/>
                  <a:pt x="350" y="81"/>
                </a:cubicBezTo>
                <a:cubicBezTo>
                  <a:pt x="350" y="80"/>
                  <a:pt x="350" y="80"/>
                  <a:pt x="350" y="80"/>
                </a:cubicBezTo>
                <a:cubicBezTo>
                  <a:pt x="351" y="80"/>
                  <a:pt x="351" y="80"/>
                  <a:pt x="351" y="80"/>
                </a:cubicBezTo>
                <a:cubicBezTo>
                  <a:pt x="352" y="78"/>
                  <a:pt x="352" y="78"/>
                  <a:pt x="352" y="78"/>
                </a:cubicBezTo>
                <a:cubicBezTo>
                  <a:pt x="352" y="77"/>
                  <a:pt x="352" y="77"/>
                  <a:pt x="352" y="77"/>
                </a:cubicBezTo>
                <a:cubicBezTo>
                  <a:pt x="353" y="75"/>
                  <a:pt x="353" y="75"/>
                  <a:pt x="353" y="75"/>
                </a:cubicBezTo>
                <a:cubicBezTo>
                  <a:pt x="354" y="73"/>
                  <a:pt x="354" y="73"/>
                  <a:pt x="354" y="73"/>
                </a:cubicBezTo>
                <a:cubicBezTo>
                  <a:pt x="353" y="73"/>
                  <a:pt x="353" y="73"/>
                  <a:pt x="353" y="73"/>
                </a:cubicBezTo>
                <a:cubicBezTo>
                  <a:pt x="353" y="72"/>
                  <a:pt x="353" y="72"/>
                  <a:pt x="353" y="72"/>
                </a:cubicBezTo>
                <a:cubicBezTo>
                  <a:pt x="354" y="72"/>
                  <a:pt x="354" y="72"/>
                  <a:pt x="354" y="72"/>
                </a:cubicBezTo>
                <a:cubicBezTo>
                  <a:pt x="355" y="70"/>
                  <a:pt x="355" y="70"/>
                  <a:pt x="355" y="70"/>
                </a:cubicBezTo>
                <a:cubicBezTo>
                  <a:pt x="356" y="70"/>
                  <a:pt x="356" y="70"/>
                  <a:pt x="356" y="70"/>
                </a:cubicBezTo>
                <a:cubicBezTo>
                  <a:pt x="357" y="69"/>
                  <a:pt x="357" y="69"/>
                  <a:pt x="357" y="69"/>
                </a:cubicBezTo>
                <a:cubicBezTo>
                  <a:pt x="358" y="68"/>
                  <a:pt x="358" y="68"/>
                  <a:pt x="358" y="68"/>
                </a:cubicBezTo>
                <a:cubicBezTo>
                  <a:pt x="358" y="66"/>
                  <a:pt x="358" y="66"/>
                  <a:pt x="358" y="66"/>
                </a:cubicBezTo>
                <a:cubicBezTo>
                  <a:pt x="358" y="65"/>
                  <a:pt x="358" y="65"/>
                  <a:pt x="358" y="65"/>
                </a:cubicBezTo>
                <a:cubicBezTo>
                  <a:pt x="359" y="64"/>
                  <a:pt x="359" y="64"/>
                  <a:pt x="359" y="64"/>
                </a:cubicBezTo>
                <a:cubicBezTo>
                  <a:pt x="359" y="63"/>
                  <a:pt x="359" y="63"/>
                  <a:pt x="359" y="63"/>
                </a:cubicBezTo>
                <a:cubicBezTo>
                  <a:pt x="359" y="62"/>
                  <a:pt x="359" y="62"/>
                  <a:pt x="359" y="62"/>
                </a:cubicBezTo>
                <a:cubicBezTo>
                  <a:pt x="359" y="61"/>
                  <a:pt x="359" y="61"/>
                  <a:pt x="359" y="61"/>
                </a:cubicBezTo>
                <a:cubicBezTo>
                  <a:pt x="358" y="61"/>
                  <a:pt x="358" y="61"/>
                  <a:pt x="358" y="61"/>
                </a:cubicBezTo>
                <a:cubicBezTo>
                  <a:pt x="357" y="60"/>
                  <a:pt x="357" y="60"/>
                  <a:pt x="357" y="60"/>
                </a:cubicBezTo>
                <a:cubicBezTo>
                  <a:pt x="355" y="60"/>
                  <a:pt x="355" y="60"/>
                  <a:pt x="355" y="60"/>
                </a:cubicBezTo>
                <a:cubicBezTo>
                  <a:pt x="355" y="60"/>
                  <a:pt x="355" y="60"/>
                  <a:pt x="355" y="60"/>
                </a:cubicBezTo>
                <a:cubicBezTo>
                  <a:pt x="356" y="59"/>
                  <a:pt x="356" y="59"/>
                  <a:pt x="356" y="59"/>
                </a:cubicBezTo>
                <a:cubicBezTo>
                  <a:pt x="357" y="58"/>
                  <a:pt x="357" y="58"/>
                  <a:pt x="357" y="58"/>
                </a:cubicBezTo>
                <a:cubicBezTo>
                  <a:pt x="357" y="57"/>
                  <a:pt x="357" y="57"/>
                  <a:pt x="357" y="57"/>
                </a:cubicBezTo>
                <a:cubicBezTo>
                  <a:pt x="357" y="56"/>
                  <a:pt x="357" y="56"/>
                  <a:pt x="357" y="56"/>
                </a:cubicBezTo>
                <a:cubicBezTo>
                  <a:pt x="357" y="55"/>
                  <a:pt x="357" y="55"/>
                  <a:pt x="357" y="55"/>
                </a:cubicBezTo>
                <a:cubicBezTo>
                  <a:pt x="357" y="54"/>
                  <a:pt x="357" y="54"/>
                  <a:pt x="357" y="54"/>
                </a:cubicBezTo>
                <a:cubicBezTo>
                  <a:pt x="356" y="52"/>
                  <a:pt x="356" y="52"/>
                  <a:pt x="356" y="52"/>
                </a:cubicBezTo>
                <a:cubicBezTo>
                  <a:pt x="355" y="52"/>
                  <a:pt x="355" y="52"/>
                  <a:pt x="355" y="52"/>
                </a:cubicBezTo>
                <a:cubicBezTo>
                  <a:pt x="354" y="53"/>
                  <a:pt x="354" y="53"/>
                  <a:pt x="354" y="53"/>
                </a:cubicBezTo>
                <a:cubicBezTo>
                  <a:pt x="352" y="54"/>
                  <a:pt x="352" y="54"/>
                  <a:pt x="352" y="54"/>
                </a:cubicBezTo>
                <a:cubicBezTo>
                  <a:pt x="352" y="55"/>
                  <a:pt x="352" y="55"/>
                  <a:pt x="352" y="55"/>
                </a:cubicBezTo>
                <a:cubicBezTo>
                  <a:pt x="351" y="56"/>
                  <a:pt x="351" y="56"/>
                  <a:pt x="351" y="56"/>
                </a:cubicBezTo>
                <a:cubicBezTo>
                  <a:pt x="350" y="56"/>
                  <a:pt x="350" y="56"/>
                  <a:pt x="350" y="56"/>
                </a:cubicBezTo>
                <a:cubicBezTo>
                  <a:pt x="350" y="54"/>
                  <a:pt x="350" y="54"/>
                  <a:pt x="350" y="54"/>
                </a:cubicBezTo>
                <a:cubicBezTo>
                  <a:pt x="351" y="54"/>
                  <a:pt x="351" y="54"/>
                  <a:pt x="351" y="54"/>
                </a:cubicBezTo>
                <a:cubicBezTo>
                  <a:pt x="351" y="53"/>
                  <a:pt x="351" y="53"/>
                  <a:pt x="351" y="53"/>
                </a:cubicBezTo>
                <a:cubicBezTo>
                  <a:pt x="351" y="51"/>
                  <a:pt x="351" y="51"/>
                  <a:pt x="351" y="51"/>
                </a:cubicBezTo>
                <a:cubicBezTo>
                  <a:pt x="352" y="49"/>
                  <a:pt x="352" y="49"/>
                  <a:pt x="352" y="49"/>
                </a:cubicBezTo>
                <a:cubicBezTo>
                  <a:pt x="352" y="48"/>
                  <a:pt x="352" y="48"/>
                  <a:pt x="352" y="48"/>
                </a:cubicBezTo>
                <a:cubicBezTo>
                  <a:pt x="351" y="47"/>
                  <a:pt x="351" y="47"/>
                  <a:pt x="351" y="47"/>
                </a:cubicBezTo>
                <a:cubicBezTo>
                  <a:pt x="350" y="46"/>
                  <a:pt x="350" y="46"/>
                  <a:pt x="350" y="46"/>
                </a:cubicBezTo>
                <a:cubicBezTo>
                  <a:pt x="349" y="45"/>
                  <a:pt x="349" y="45"/>
                  <a:pt x="349" y="45"/>
                </a:cubicBezTo>
                <a:cubicBezTo>
                  <a:pt x="348" y="45"/>
                  <a:pt x="348" y="45"/>
                  <a:pt x="348" y="45"/>
                </a:cubicBezTo>
                <a:cubicBezTo>
                  <a:pt x="346" y="45"/>
                  <a:pt x="346" y="45"/>
                  <a:pt x="346" y="45"/>
                </a:cubicBezTo>
                <a:cubicBezTo>
                  <a:pt x="345" y="46"/>
                  <a:pt x="345" y="46"/>
                  <a:pt x="345" y="46"/>
                </a:cubicBezTo>
                <a:cubicBezTo>
                  <a:pt x="344" y="46"/>
                  <a:pt x="344" y="46"/>
                  <a:pt x="344" y="46"/>
                </a:cubicBezTo>
                <a:cubicBezTo>
                  <a:pt x="344" y="44"/>
                  <a:pt x="344" y="44"/>
                  <a:pt x="344" y="44"/>
                </a:cubicBezTo>
                <a:cubicBezTo>
                  <a:pt x="343" y="44"/>
                  <a:pt x="343" y="44"/>
                  <a:pt x="343" y="44"/>
                </a:cubicBezTo>
                <a:cubicBezTo>
                  <a:pt x="342" y="45"/>
                  <a:pt x="342" y="45"/>
                  <a:pt x="342" y="45"/>
                </a:cubicBezTo>
                <a:cubicBezTo>
                  <a:pt x="342" y="46"/>
                  <a:pt x="342" y="46"/>
                  <a:pt x="342" y="46"/>
                </a:cubicBezTo>
                <a:cubicBezTo>
                  <a:pt x="341" y="46"/>
                  <a:pt x="341" y="46"/>
                  <a:pt x="341" y="46"/>
                </a:cubicBezTo>
                <a:cubicBezTo>
                  <a:pt x="340" y="48"/>
                  <a:pt x="340" y="48"/>
                  <a:pt x="340" y="48"/>
                </a:cubicBezTo>
                <a:cubicBezTo>
                  <a:pt x="339" y="49"/>
                  <a:pt x="339" y="49"/>
                  <a:pt x="339" y="49"/>
                </a:cubicBezTo>
                <a:cubicBezTo>
                  <a:pt x="339" y="50"/>
                  <a:pt x="339" y="50"/>
                  <a:pt x="339" y="50"/>
                </a:cubicBezTo>
                <a:cubicBezTo>
                  <a:pt x="340" y="51"/>
                  <a:pt x="340" y="51"/>
                  <a:pt x="340" y="51"/>
                </a:cubicBezTo>
                <a:cubicBezTo>
                  <a:pt x="341" y="51"/>
                  <a:pt x="341" y="51"/>
                  <a:pt x="341" y="51"/>
                </a:cubicBezTo>
                <a:cubicBezTo>
                  <a:pt x="342" y="50"/>
                  <a:pt x="342" y="50"/>
                  <a:pt x="342" y="50"/>
                </a:cubicBezTo>
                <a:cubicBezTo>
                  <a:pt x="342" y="51"/>
                  <a:pt x="342" y="51"/>
                  <a:pt x="342" y="51"/>
                </a:cubicBezTo>
                <a:cubicBezTo>
                  <a:pt x="341" y="52"/>
                  <a:pt x="341" y="52"/>
                  <a:pt x="341" y="52"/>
                </a:cubicBezTo>
                <a:cubicBezTo>
                  <a:pt x="339" y="53"/>
                  <a:pt x="339" y="53"/>
                  <a:pt x="339" y="53"/>
                </a:cubicBezTo>
                <a:cubicBezTo>
                  <a:pt x="338" y="55"/>
                  <a:pt x="338" y="55"/>
                  <a:pt x="338" y="55"/>
                </a:cubicBezTo>
                <a:cubicBezTo>
                  <a:pt x="338" y="55"/>
                  <a:pt x="338" y="55"/>
                  <a:pt x="338" y="55"/>
                </a:cubicBezTo>
                <a:cubicBezTo>
                  <a:pt x="340" y="54"/>
                  <a:pt x="340" y="54"/>
                  <a:pt x="340" y="54"/>
                </a:cubicBezTo>
                <a:cubicBezTo>
                  <a:pt x="342" y="53"/>
                  <a:pt x="342" y="53"/>
                  <a:pt x="342" y="53"/>
                </a:cubicBezTo>
                <a:cubicBezTo>
                  <a:pt x="342" y="53"/>
                  <a:pt x="342" y="53"/>
                  <a:pt x="342" y="53"/>
                </a:cubicBezTo>
                <a:cubicBezTo>
                  <a:pt x="343" y="52"/>
                  <a:pt x="343" y="52"/>
                  <a:pt x="343" y="52"/>
                </a:cubicBezTo>
                <a:cubicBezTo>
                  <a:pt x="344" y="53"/>
                  <a:pt x="344" y="53"/>
                  <a:pt x="344" y="53"/>
                </a:cubicBezTo>
                <a:cubicBezTo>
                  <a:pt x="344" y="55"/>
                  <a:pt x="344" y="55"/>
                  <a:pt x="344" y="55"/>
                </a:cubicBezTo>
                <a:cubicBezTo>
                  <a:pt x="343" y="55"/>
                  <a:pt x="343" y="55"/>
                  <a:pt x="343" y="55"/>
                </a:cubicBezTo>
                <a:cubicBezTo>
                  <a:pt x="341" y="56"/>
                  <a:pt x="341" y="56"/>
                  <a:pt x="341" y="56"/>
                </a:cubicBezTo>
                <a:cubicBezTo>
                  <a:pt x="341" y="57"/>
                  <a:pt x="341" y="57"/>
                  <a:pt x="341" y="57"/>
                </a:cubicBezTo>
                <a:cubicBezTo>
                  <a:pt x="342" y="58"/>
                  <a:pt x="342" y="58"/>
                  <a:pt x="342" y="58"/>
                </a:cubicBezTo>
                <a:cubicBezTo>
                  <a:pt x="343" y="58"/>
                  <a:pt x="343" y="58"/>
                  <a:pt x="343" y="58"/>
                </a:cubicBezTo>
                <a:cubicBezTo>
                  <a:pt x="344" y="58"/>
                  <a:pt x="344" y="58"/>
                  <a:pt x="344" y="58"/>
                </a:cubicBezTo>
                <a:cubicBezTo>
                  <a:pt x="343" y="59"/>
                  <a:pt x="343" y="59"/>
                  <a:pt x="343" y="59"/>
                </a:cubicBezTo>
                <a:cubicBezTo>
                  <a:pt x="341" y="60"/>
                  <a:pt x="341" y="60"/>
                  <a:pt x="341" y="60"/>
                </a:cubicBezTo>
                <a:cubicBezTo>
                  <a:pt x="340" y="59"/>
                  <a:pt x="340" y="59"/>
                  <a:pt x="340" y="59"/>
                </a:cubicBezTo>
                <a:cubicBezTo>
                  <a:pt x="340" y="60"/>
                  <a:pt x="340" y="60"/>
                  <a:pt x="340" y="60"/>
                </a:cubicBezTo>
                <a:cubicBezTo>
                  <a:pt x="341" y="61"/>
                  <a:pt x="341" y="61"/>
                  <a:pt x="341" y="61"/>
                </a:cubicBezTo>
                <a:cubicBezTo>
                  <a:pt x="341" y="61"/>
                  <a:pt x="341" y="61"/>
                  <a:pt x="341" y="61"/>
                </a:cubicBezTo>
                <a:cubicBezTo>
                  <a:pt x="339" y="63"/>
                  <a:pt x="339" y="63"/>
                  <a:pt x="339" y="63"/>
                </a:cubicBezTo>
                <a:cubicBezTo>
                  <a:pt x="339" y="63"/>
                  <a:pt x="339" y="63"/>
                  <a:pt x="339" y="63"/>
                </a:cubicBezTo>
                <a:cubicBezTo>
                  <a:pt x="338" y="61"/>
                  <a:pt x="338" y="61"/>
                  <a:pt x="338" y="61"/>
                </a:cubicBezTo>
                <a:cubicBezTo>
                  <a:pt x="337" y="61"/>
                  <a:pt x="337" y="61"/>
                  <a:pt x="337" y="61"/>
                </a:cubicBezTo>
                <a:cubicBezTo>
                  <a:pt x="336" y="59"/>
                  <a:pt x="336" y="59"/>
                  <a:pt x="336" y="59"/>
                </a:cubicBezTo>
                <a:cubicBezTo>
                  <a:pt x="334" y="61"/>
                  <a:pt x="334" y="61"/>
                  <a:pt x="334" y="61"/>
                </a:cubicBezTo>
                <a:cubicBezTo>
                  <a:pt x="334" y="61"/>
                  <a:pt x="334" y="61"/>
                  <a:pt x="334" y="61"/>
                </a:cubicBezTo>
                <a:cubicBezTo>
                  <a:pt x="332" y="63"/>
                  <a:pt x="332" y="63"/>
                  <a:pt x="332" y="63"/>
                </a:cubicBezTo>
                <a:cubicBezTo>
                  <a:pt x="334" y="65"/>
                  <a:pt x="334" y="65"/>
                  <a:pt x="334" y="65"/>
                </a:cubicBezTo>
                <a:cubicBezTo>
                  <a:pt x="334" y="66"/>
                  <a:pt x="334" y="66"/>
                  <a:pt x="334" y="66"/>
                </a:cubicBezTo>
                <a:cubicBezTo>
                  <a:pt x="334" y="67"/>
                  <a:pt x="334" y="67"/>
                  <a:pt x="334" y="67"/>
                </a:cubicBezTo>
                <a:cubicBezTo>
                  <a:pt x="335" y="66"/>
                  <a:pt x="335" y="66"/>
                  <a:pt x="335" y="66"/>
                </a:cubicBezTo>
                <a:cubicBezTo>
                  <a:pt x="336" y="66"/>
                  <a:pt x="336" y="66"/>
                  <a:pt x="336" y="66"/>
                </a:cubicBezTo>
                <a:cubicBezTo>
                  <a:pt x="338" y="66"/>
                  <a:pt x="338" y="66"/>
                  <a:pt x="338" y="66"/>
                </a:cubicBezTo>
                <a:cubicBezTo>
                  <a:pt x="340" y="66"/>
                  <a:pt x="340" y="66"/>
                  <a:pt x="340" y="66"/>
                </a:cubicBezTo>
                <a:cubicBezTo>
                  <a:pt x="341" y="67"/>
                  <a:pt x="341" y="67"/>
                  <a:pt x="341" y="67"/>
                </a:cubicBezTo>
                <a:cubicBezTo>
                  <a:pt x="343" y="66"/>
                  <a:pt x="343" y="66"/>
                  <a:pt x="343" y="66"/>
                </a:cubicBezTo>
                <a:cubicBezTo>
                  <a:pt x="343" y="67"/>
                  <a:pt x="343" y="67"/>
                  <a:pt x="343" y="67"/>
                </a:cubicBezTo>
                <a:cubicBezTo>
                  <a:pt x="341" y="68"/>
                  <a:pt x="341" y="68"/>
                  <a:pt x="341" y="68"/>
                </a:cubicBezTo>
                <a:cubicBezTo>
                  <a:pt x="341" y="68"/>
                  <a:pt x="341" y="68"/>
                  <a:pt x="341" y="68"/>
                </a:cubicBezTo>
                <a:cubicBezTo>
                  <a:pt x="341" y="70"/>
                  <a:pt x="341" y="70"/>
                  <a:pt x="341" y="70"/>
                </a:cubicBezTo>
                <a:cubicBezTo>
                  <a:pt x="343" y="69"/>
                  <a:pt x="343" y="69"/>
                  <a:pt x="343" y="69"/>
                </a:cubicBezTo>
                <a:cubicBezTo>
                  <a:pt x="344" y="70"/>
                  <a:pt x="344" y="70"/>
                  <a:pt x="344" y="70"/>
                </a:cubicBezTo>
                <a:cubicBezTo>
                  <a:pt x="345" y="72"/>
                  <a:pt x="345" y="72"/>
                  <a:pt x="345" y="72"/>
                </a:cubicBezTo>
                <a:cubicBezTo>
                  <a:pt x="346" y="72"/>
                  <a:pt x="346" y="72"/>
                  <a:pt x="346" y="72"/>
                </a:cubicBezTo>
                <a:cubicBezTo>
                  <a:pt x="347" y="73"/>
                  <a:pt x="347" y="73"/>
                  <a:pt x="347" y="73"/>
                </a:cubicBezTo>
                <a:cubicBezTo>
                  <a:pt x="346" y="74"/>
                  <a:pt x="346" y="74"/>
                  <a:pt x="346" y="74"/>
                </a:cubicBezTo>
                <a:cubicBezTo>
                  <a:pt x="346" y="75"/>
                  <a:pt x="346" y="75"/>
                  <a:pt x="346" y="75"/>
                </a:cubicBezTo>
                <a:cubicBezTo>
                  <a:pt x="344" y="79"/>
                  <a:pt x="344" y="79"/>
                  <a:pt x="344" y="79"/>
                </a:cubicBezTo>
                <a:close/>
                <a:moveTo>
                  <a:pt x="337" y="70"/>
                </a:moveTo>
                <a:cubicBezTo>
                  <a:pt x="338" y="69"/>
                  <a:pt x="338" y="69"/>
                  <a:pt x="338" y="69"/>
                </a:cubicBezTo>
                <a:cubicBezTo>
                  <a:pt x="339" y="68"/>
                  <a:pt x="339" y="68"/>
                  <a:pt x="339" y="68"/>
                </a:cubicBezTo>
                <a:cubicBezTo>
                  <a:pt x="340" y="68"/>
                  <a:pt x="340" y="68"/>
                  <a:pt x="340" y="68"/>
                </a:cubicBezTo>
                <a:cubicBezTo>
                  <a:pt x="340" y="68"/>
                  <a:pt x="340" y="68"/>
                  <a:pt x="340" y="68"/>
                </a:cubicBezTo>
                <a:cubicBezTo>
                  <a:pt x="339" y="69"/>
                  <a:pt x="339" y="69"/>
                  <a:pt x="339" y="69"/>
                </a:cubicBezTo>
                <a:cubicBezTo>
                  <a:pt x="338" y="70"/>
                  <a:pt x="338" y="70"/>
                  <a:pt x="338" y="70"/>
                </a:cubicBezTo>
                <a:cubicBezTo>
                  <a:pt x="337" y="70"/>
                  <a:pt x="337" y="70"/>
                  <a:pt x="337" y="70"/>
                </a:cubicBezTo>
                <a:close/>
                <a:moveTo>
                  <a:pt x="335" y="77"/>
                </a:moveTo>
                <a:cubicBezTo>
                  <a:pt x="335" y="75"/>
                  <a:pt x="335" y="75"/>
                  <a:pt x="335" y="75"/>
                </a:cubicBezTo>
                <a:cubicBezTo>
                  <a:pt x="337" y="75"/>
                  <a:pt x="337" y="75"/>
                  <a:pt x="337" y="75"/>
                </a:cubicBezTo>
                <a:cubicBezTo>
                  <a:pt x="339" y="76"/>
                  <a:pt x="339" y="76"/>
                  <a:pt x="339" y="76"/>
                </a:cubicBezTo>
                <a:cubicBezTo>
                  <a:pt x="341" y="78"/>
                  <a:pt x="341" y="78"/>
                  <a:pt x="341" y="78"/>
                </a:cubicBezTo>
                <a:cubicBezTo>
                  <a:pt x="341" y="79"/>
                  <a:pt x="341" y="79"/>
                  <a:pt x="341" y="79"/>
                </a:cubicBezTo>
                <a:cubicBezTo>
                  <a:pt x="341" y="81"/>
                  <a:pt x="341" y="81"/>
                  <a:pt x="341" y="81"/>
                </a:cubicBezTo>
                <a:cubicBezTo>
                  <a:pt x="340" y="81"/>
                  <a:pt x="340" y="81"/>
                  <a:pt x="340" y="81"/>
                </a:cubicBezTo>
                <a:cubicBezTo>
                  <a:pt x="339" y="81"/>
                  <a:pt x="339" y="81"/>
                  <a:pt x="339" y="81"/>
                </a:cubicBezTo>
                <a:cubicBezTo>
                  <a:pt x="338" y="81"/>
                  <a:pt x="338" y="81"/>
                  <a:pt x="338" y="81"/>
                </a:cubicBezTo>
                <a:cubicBezTo>
                  <a:pt x="337" y="81"/>
                  <a:pt x="337" y="81"/>
                  <a:pt x="337" y="81"/>
                </a:cubicBezTo>
                <a:cubicBezTo>
                  <a:pt x="336" y="80"/>
                  <a:pt x="336" y="80"/>
                  <a:pt x="336" y="80"/>
                </a:cubicBezTo>
                <a:cubicBezTo>
                  <a:pt x="335" y="78"/>
                  <a:pt x="335" y="78"/>
                  <a:pt x="335" y="78"/>
                </a:cubicBezTo>
                <a:cubicBezTo>
                  <a:pt x="335" y="77"/>
                  <a:pt x="335" y="77"/>
                  <a:pt x="335" y="77"/>
                </a:cubicBezTo>
                <a:close/>
                <a:moveTo>
                  <a:pt x="319" y="87"/>
                </a:moveTo>
                <a:cubicBezTo>
                  <a:pt x="320" y="87"/>
                  <a:pt x="320" y="87"/>
                  <a:pt x="320" y="87"/>
                </a:cubicBezTo>
                <a:cubicBezTo>
                  <a:pt x="322" y="87"/>
                  <a:pt x="322" y="87"/>
                  <a:pt x="322" y="87"/>
                </a:cubicBezTo>
                <a:cubicBezTo>
                  <a:pt x="321" y="88"/>
                  <a:pt x="321" y="88"/>
                  <a:pt x="321" y="88"/>
                </a:cubicBezTo>
                <a:cubicBezTo>
                  <a:pt x="320" y="88"/>
                  <a:pt x="320" y="88"/>
                  <a:pt x="320" y="88"/>
                </a:cubicBezTo>
                <a:cubicBezTo>
                  <a:pt x="319" y="87"/>
                  <a:pt x="319" y="87"/>
                  <a:pt x="319" y="87"/>
                </a:cubicBezTo>
                <a:close/>
                <a:moveTo>
                  <a:pt x="318" y="86"/>
                </a:moveTo>
                <a:cubicBezTo>
                  <a:pt x="317" y="84"/>
                  <a:pt x="317" y="84"/>
                  <a:pt x="317" y="84"/>
                </a:cubicBezTo>
                <a:cubicBezTo>
                  <a:pt x="318" y="83"/>
                  <a:pt x="318" y="83"/>
                  <a:pt x="318" y="83"/>
                </a:cubicBezTo>
                <a:cubicBezTo>
                  <a:pt x="318" y="81"/>
                  <a:pt x="318" y="81"/>
                  <a:pt x="318" y="81"/>
                </a:cubicBezTo>
                <a:cubicBezTo>
                  <a:pt x="318" y="80"/>
                  <a:pt x="318" y="80"/>
                  <a:pt x="318" y="80"/>
                </a:cubicBezTo>
                <a:cubicBezTo>
                  <a:pt x="320" y="79"/>
                  <a:pt x="320" y="79"/>
                  <a:pt x="320" y="79"/>
                </a:cubicBezTo>
                <a:cubicBezTo>
                  <a:pt x="320" y="78"/>
                  <a:pt x="320" y="78"/>
                  <a:pt x="320" y="78"/>
                </a:cubicBezTo>
                <a:cubicBezTo>
                  <a:pt x="320" y="78"/>
                  <a:pt x="320" y="78"/>
                  <a:pt x="320" y="78"/>
                </a:cubicBezTo>
                <a:cubicBezTo>
                  <a:pt x="320" y="77"/>
                  <a:pt x="320" y="77"/>
                  <a:pt x="320" y="77"/>
                </a:cubicBezTo>
                <a:cubicBezTo>
                  <a:pt x="321" y="75"/>
                  <a:pt x="321" y="75"/>
                  <a:pt x="321" y="75"/>
                </a:cubicBezTo>
                <a:cubicBezTo>
                  <a:pt x="321" y="74"/>
                  <a:pt x="321" y="74"/>
                  <a:pt x="321" y="74"/>
                </a:cubicBezTo>
                <a:cubicBezTo>
                  <a:pt x="322" y="73"/>
                  <a:pt x="322" y="73"/>
                  <a:pt x="322" y="73"/>
                </a:cubicBezTo>
                <a:cubicBezTo>
                  <a:pt x="322" y="74"/>
                  <a:pt x="322" y="74"/>
                  <a:pt x="322" y="74"/>
                </a:cubicBezTo>
                <a:cubicBezTo>
                  <a:pt x="323" y="76"/>
                  <a:pt x="323" y="76"/>
                  <a:pt x="323" y="76"/>
                </a:cubicBezTo>
                <a:cubicBezTo>
                  <a:pt x="323" y="76"/>
                  <a:pt x="323" y="76"/>
                  <a:pt x="323" y="76"/>
                </a:cubicBezTo>
                <a:cubicBezTo>
                  <a:pt x="322" y="79"/>
                  <a:pt x="322" y="79"/>
                  <a:pt x="322" y="79"/>
                </a:cubicBezTo>
                <a:cubicBezTo>
                  <a:pt x="322" y="80"/>
                  <a:pt x="322" y="80"/>
                  <a:pt x="322" y="80"/>
                </a:cubicBezTo>
                <a:cubicBezTo>
                  <a:pt x="321" y="81"/>
                  <a:pt x="321" y="81"/>
                  <a:pt x="321" y="81"/>
                </a:cubicBezTo>
                <a:cubicBezTo>
                  <a:pt x="322" y="82"/>
                  <a:pt x="322" y="82"/>
                  <a:pt x="322" y="82"/>
                </a:cubicBezTo>
                <a:cubicBezTo>
                  <a:pt x="321" y="85"/>
                  <a:pt x="321" y="85"/>
                  <a:pt x="321" y="85"/>
                </a:cubicBezTo>
                <a:cubicBezTo>
                  <a:pt x="320" y="86"/>
                  <a:pt x="320" y="86"/>
                  <a:pt x="320" y="86"/>
                </a:cubicBezTo>
                <a:cubicBezTo>
                  <a:pt x="318" y="86"/>
                  <a:pt x="318" y="86"/>
                  <a:pt x="318" y="86"/>
                </a:cubicBezTo>
                <a:close/>
                <a:moveTo>
                  <a:pt x="304" y="57"/>
                </a:moveTo>
                <a:cubicBezTo>
                  <a:pt x="303" y="56"/>
                  <a:pt x="303" y="56"/>
                  <a:pt x="303" y="56"/>
                </a:cubicBezTo>
                <a:cubicBezTo>
                  <a:pt x="303" y="54"/>
                  <a:pt x="303" y="54"/>
                  <a:pt x="303" y="54"/>
                </a:cubicBezTo>
                <a:cubicBezTo>
                  <a:pt x="303" y="54"/>
                  <a:pt x="303" y="54"/>
                  <a:pt x="303" y="54"/>
                </a:cubicBezTo>
                <a:cubicBezTo>
                  <a:pt x="302" y="53"/>
                  <a:pt x="302" y="53"/>
                  <a:pt x="302" y="53"/>
                </a:cubicBezTo>
                <a:cubicBezTo>
                  <a:pt x="301" y="53"/>
                  <a:pt x="301" y="53"/>
                  <a:pt x="301" y="53"/>
                </a:cubicBezTo>
                <a:cubicBezTo>
                  <a:pt x="300" y="53"/>
                  <a:pt x="300" y="53"/>
                  <a:pt x="300" y="53"/>
                </a:cubicBezTo>
                <a:cubicBezTo>
                  <a:pt x="300" y="53"/>
                  <a:pt x="300" y="53"/>
                  <a:pt x="300" y="53"/>
                </a:cubicBezTo>
                <a:cubicBezTo>
                  <a:pt x="298" y="53"/>
                  <a:pt x="298" y="53"/>
                  <a:pt x="298" y="53"/>
                </a:cubicBezTo>
                <a:cubicBezTo>
                  <a:pt x="297" y="53"/>
                  <a:pt x="297" y="53"/>
                  <a:pt x="297" y="53"/>
                </a:cubicBezTo>
                <a:cubicBezTo>
                  <a:pt x="297" y="52"/>
                  <a:pt x="297" y="52"/>
                  <a:pt x="297" y="52"/>
                </a:cubicBezTo>
                <a:cubicBezTo>
                  <a:pt x="298" y="51"/>
                  <a:pt x="298" y="51"/>
                  <a:pt x="298" y="51"/>
                </a:cubicBezTo>
                <a:cubicBezTo>
                  <a:pt x="298" y="50"/>
                  <a:pt x="298" y="50"/>
                  <a:pt x="298" y="50"/>
                </a:cubicBezTo>
                <a:cubicBezTo>
                  <a:pt x="300" y="50"/>
                  <a:pt x="300" y="50"/>
                  <a:pt x="300" y="50"/>
                </a:cubicBezTo>
                <a:cubicBezTo>
                  <a:pt x="301" y="50"/>
                  <a:pt x="301" y="50"/>
                  <a:pt x="301" y="50"/>
                </a:cubicBezTo>
                <a:cubicBezTo>
                  <a:pt x="305" y="49"/>
                  <a:pt x="305" y="49"/>
                  <a:pt x="305" y="49"/>
                </a:cubicBezTo>
                <a:cubicBezTo>
                  <a:pt x="306" y="49"/>
                  <a:pt x="306" y="49"/>
                  <a:pt x="306" y="49"/>
                </a:cubicBezTo>
                <a:cubicBezTo>
                  <a:pt x="307" y="50"/>
                  <a:pt x="307" y="50"/>
                  <a:pt x="307" y="50"/>
                </a:cubicBezTo>
                <a:cubicBezTo>
                  <a:pt x="308" y="50"/>
                  <a:pt x="308" y="50"/>
                  <a:pt x="308" y="50"/>
                </a:cubicBezTo>
                <a:cubicBezTo>
                  <a:pt x="309" y="50"/>
                  <a:pt x="309" y="50"/>
                  <a:pt x="309" y="50"/>
                </a:cubicBezTo>
                <a:cubicBezTo>
                  <a:pt x="311" y="49"/>
                  <a:pt x="311" y="49"/>
                  <a:pt x="311" y="49"/>
                </a:cubicBezTo>
                <a:cubicBezTo>
                  <a:pt x="313" y="49"/>
                  <a:pt x="313" y="49"/>
                  <a:pt x="313" y="49"/>
                </a:cubicBezTo>
                <a:cubicBezTo>
                  <a:pt x="313" y="49"/>
                  <a:pt x="313" y="49"/>
                  <a:pt x="313" y="49"/>
                </a:cubicBezTo>
                <a:cubicBezTo>
                  <a:pt x="314" y="48"/>
                  <a:pt x="314" y="48"/>
                  <a:pt x="314" y="48"/>
                </a:cubicBezTo>
                <a:cubicBezTo>
                  <a:pt x="315" y="49"/>
                  <a:pt x="315" y="49"/>
                  <a:pt x="315" y="49"/>
                </a:cubicBezTo>
                <a:cubicBezTo>
                  <a:pt x="315" y="49"/>
                  <a:pt x="315" y="49"/>
                  <a:pt x="315" y="49"/>
                </a:cubicBezTo>
                <a:cubicBezTo>
                  <a:pt x="316" y="51"/>
                  <a:pt x="316" y="51"/>
                  <a:pt x="316" y="51"/>
                </a:cubicBezTo>
                <a:cubicBezTo>
                  <a:pt x="316" y="52"/>
                  <a:pt x="316" y="52"/>
                  <a:pt x="316" y="52"/>
                </a:cubicBezTo>
                <a:cubicBezTo>
                  <a:pt x="314" y="54"/>
                  <a:pt x="314" y="54"/>
                  <a:pt x="314" y="54"/>
                </a:cubicBezTo>
                <a:cubicBezTo>
                  <a:pt x="315" y="55"/>
                  <a:pt x="315" y="55"/>
                  <a:pt x="315" y="55"/>
                </a:cubicBezTo>
                <a:cubicBezTo>
                  <a:pt x="314" y="58"/>
                  <a:pt x="314" y="58"/>
                  <a:pt x="314" y="58"/>
                </a:cubicBezTo>
                <a:cubicBezTo>
                  <a:pt x="313" y="58"/>
                  <a:pt x="313" y="58"/>
                  <a:pt x="313" y="58"/>
                </a:cubicBezTo>
                <a:cubicBezTo>
                  <a:pt x="312" y="60"/>
                  <a:pt x="312" y="60"/>
                  <a:pt x="312" y="60"/>
                </a:cubicBezTo>
                <a:cubicBezTo>
                  <a:pt x="311" y="59"/>
                  <a:pt x="311" y="59"/>
                  <a:pt x="311" y="59"/>
                </a:cubicBezTo>
                <a:cubicBezTo>
                  <a:pt x="310" y="59"/>
                  <a:pt x="310" y="59"/>
                  <a:pt x="310" y="59"/>
                </a:cubicBezTo>
                <a:cubicBezTo>
                  <a:pt x="309" y="59"/>
                  <a:pt x="309" y="59"/>
                  <a:pt x="309" y="59"/>
                </a:cubicBezTo>
                <a:cubicBezTo>
                  <a:pt x="308" y="59"/>
                  <a:pt x="308" y="59"/>
                  <a:pt x="308" y="59"/>
                </a:cubicBezTo>
                <a:cubicBezTo>
                  <a:pt x="306" y="57"/>
                  <a:pt x="306" y="57"/>
                  <a:pt x="306" y="57"/>
                </a:cubicBezTo>
                <a:cubicBezTo>
                  <a:pt x="306" y="56"/>
                  <a:pt x="306" y="56"/>
                  <a:pt x="306" y="56"/>
                </a:cubicBezTo>
                <a:cubicBezTo>
                  <a:pt x="305" y="54"/>
                  <a:pt x="305" y="54"/>
                  <a:pt x="305" y="54"/>
                </a:cubicBezTo>
                <a:cubicBezTo>
                  <a:pt x="305" y="55"/>
                  <a:pt x="305" y="55"/>
                  <a:pt x="305" y="55"/>
                </a:cubicBezTo>
                <a:cubicBezTo>
                  <a:pt x="305" y="56"/>
                  <a:pt x="305" y="56"/>
                  <a:pt x="305" y="56"/>
                </a:cubicBezTo>
                <a:cubicBezTo>
                  <a:pt x="304" y="57"/>
                  <a:pt x="304" y="57"/>
                  <a:pt x="304" y="57"/>
                </a:cubicBezTo>
                <a:close/>
                <a:moveTo>
                  <a:pt x="286" y="67"/>
                </a:moveTo>
                <a:cubicBezTo>
                  <a:pt x="287" y="65"/>
                  <a:pt x="287" y="65"/>
                  <a:pt x="287" y="65"/>
                </a:cubicBezTo>
                <a:cubicBezTo>
                  <a:pt x="287" y="64"/>
                  <a:pt x="287" y="64"/>
                  <a:pt x="287" y="64"/>
                </a:cubicBezTo>
                <a:cubicBezTo>
                  <a:pt x="289" y="63"/>
                  <a:pt x="289" y="63"/>
                  <a:pt x="289" y="63"/>
                </a:cubicBezTo>
                <a:cubicBezTo>
                  <a:pt x="289" y="62"/>
                  <a:pt x="289" y="62"/>
                  <a:pt x="289" y="62"/>
                </a:cubicBezTo>
                <a:cubicBezTo>
                  <a:pt x="290" y="61"/>
                  <a:pt x="290" y="61"/>
                  <a:pt x="290" y="61"/>
                </a:cubicBezTo>
                <a:cubicBezTo>
                  <a:pt x="291" y="60"/>
                  <a:pt x="291" y="60"/>
                  <a:pt x="291" y="60"/>
                </a:cubicBezTo>
                <a:cubicBezTo>
                  <a:pt x="292" y="60"/>
                  <a:pt x="292" y="60"/>
                  <a:pt x="292" y="60"/>
                </a:cubicBezTo>
                <a:cubicBezTo>
                  <a:pt x="295" y="60"/>
                  <a:pt x="295" y="60"/>
                  <a:pt x="295" y="60"/>
                </a:cubicBezTo>
                <a:cubicBezTo>
                  <a:pt x="296" y="60"/>
                  <a:pt x="296" y="60"/>
                  <a:pt x="296" y="60"/>
                </a:cubicBezTo>
                <a:cubicBezTo>
                  <a:pt x="297" y="60"/>
                  <a:pt x="297" y="60"/>
                  <a:pt x="297" y="60"/>
                </a:cubicBezTo>
                <a:cubicBezTo>
                  <a:pt x="298" y="61"/>
                  <a:pt x="298" y="61"/>
                  <a:pt x="298" y="61"/>
                </a:cubicBezTo>
                <a:cubicBezTo>
                  <a:pt x="299" y="61"/>
                  <a:pt x="299" y="61"/>
                  <a:pt x="299" y="61"/>
                </a:cubicBezTo>
                <a:cubicBezTo>
                  <a:pt x="300" y="60"/>
                  <a:pt x="300" y="60"/>
                  <a:pt x="300" y="60"/>
                </a:cubicBezTo>
                <a:cubicBezTo>
                  <a:pt x="302" y="61"/>
                  <a:pt x="302" y="61"/>
                  <a:pt x="302" y="61"/>
                </a:cubicBezTo>
                <a:cubicBezTo>
                  <a:pt x="302" y="61"/>
                  <a:pt x="302" y="61"/>
                  <a:pt x="302" y="61"/>
                </a:cubicBezTo>
                <a:cubicBezTo>
                  <a:pt x="304" y="61"/>
                  <a:pt x="304" y="61"/>
                  <a:pt x="304" y="61"/>
                </a:cubicBezTo>
                <a:cubicBezTo>
                  <a:pt x="305" y="62"/>
                  <a:pt x="305" y="62"/>
                  <a:pt x="305" y="62"/>
                </a:cubicBezTo>
                <a:cubicBezTo>
                  <a:pt x="306" y="62"/>
                  <a:pt x="306" y="62"/>
                  <a:pt x="306" y="62"/>
                </a:cubicBezTo>
                <a:cubicBezTo>
                  <a:pt x="307" y="62"/>
                  <a:pt x="307" y="62"/>
                  <a:pt x="307" y="62"/>
                </a:cubicBezTo>
                <a:cubicBezTo>
                  <a:pt x="308" y="63"/>
                  <a:pt x="308" y="63"/>
                  <a:pt x="308" y="63"/>
                </a:cubicBezTo>
                <a:cubicBezTo>
                  <a:pt x="306" y="65"/>
                  <a:pt x="306" y="65"/>
                  <a:pt x="306" y="65"/>
                </a:cubicBezTo>
                <a:cubicBezTo>
                  <a:pt x="305" y="65"/>
                  <a:pt x="305" y="65"/>
                  <a:pt x="305" y="65"/>
                </a:cubicBezTo>
                <a:cubicBezTo>
                  <a:pt x="302" y="66"/>
                  <a:pt x="302" y="66"/>
                  <a:pt x="302" y="66"/>
                </a:cubicBezTo>
                <a:cubicBezTo>
                  <a:pt x="301" y="66"/>
                  <a:pt x="301" y="66"/>
                  <a:pt x="301" y="66"/>
                </a:cubicBezTo>
                <a:cubicBezTo>
                  <a:pt x="300" y="67"/>
                  <a:pt x="300" y="67"/>
                  <a:pt x="300" y="67"/>
                </a:cubicBezTo>
                <a:cubicBezTo>
                  <a:pt x="300" y="68"/>
                  <a:pt x="300" y="68"/>
                  <a:pt x="300" y="68"/>
                </a:cubicBezTo>
                <a:cubicBezTo>
                  <a:pt x="301" y="68"/>
                  <a:pt x="301" y="68"/>
                  <a:pt x="301" y="68"/>
                </a:cubicBezTo>
                <a:cubicBezTo>
                  <a:pt x="302" y="68"/>
                  <a:pt x="302" y="68"/>
                  <a:pt x="302" y="68"/>
                </a:cubicBezTo>
                <a:cubicBezTo>
                  <a:pt x="302" y="69"/>
                  <a:pt x="302" y="69"/>
                  <a:pt x="302" y="69"/>
                </a:cubicBezTo>
                <a:cubicBezTo>
                  <a:pt x="300" y="71"/>
                  <a:pt x="300" y="71"/>
                  <a:pt x="300" y="71"/>
                </a:cubicBezTo>
                <a:cubicBezTo>
                  <a:pt x="300" y="71"/>
                  <a:pt x="300" y="71"/>
                  <a:pt x="300" y="71"/>
                </a:cubicBezTo>
                <a:cubicBezTo>
                  <a:pt x="299" y="72"/>
                  <a:pt x="299" y="72"/>
                  <a:pt x="299" y="72"/>
                </a:cubicBezTo>
                <a:cubicBezTo>
                  <a:pt x="299" y="72"/>
                  <a:pt x="299" y="72"/>
                  <a:pt x="299" y="72"/>
                </a:cubicBezTo>
                <a:cubicBezTo>
                  <a:pt x="298" y="73"/>
                  <a:pt x="298" y="73"/>
                  <a:pt x="298" y="73"/>
                </a:cubicBezTo>
                <a:cubicBezTo>
                  <a:pt x="297" y="73"/>
                  <a:pt x="297" y="73"/>
                  <a:pt x="297" y="73"/>
                </a:cubicBezTo>
                <a:cubicBezTo>
                  <a:pt x="295" y="74"/>
                  <a:pt x="295" y="74"/>
                  <a:pt x="295" y="74"/>
                </a:cubicBezTo>
                <a:cubicBezTo>
                  <a:pt x="294" y="74"/>
                  <a:pt x="294" y="74"/>
                  <a:pt x="294" y="74"/>
                </a:cubicBezTo>
                <a:cubicBezTo>
                  <a:pt x="293" y="73"/>
                  <a:pt x="293" y="73"/>
                  <a:pt x="293" y="73"/>
                </a:cubicBezTo>
                <a:cubicBezTo>
                  <a:pt x="292" y="73"/>
                  <a:pt x="292" y="73"/>
                  <a:pt x="292" y="73"/>
                </a:cubicBezTo>
                <a:cubicBezTo>
                  <a:pt x="291" y="73"/>
                  <a:pt x="291" y="73"/>
                  <a:pt x="291" y="73"/>
                </a:cubicBezTo>
                <a:cubicBezTo>
                  <a:pt x="289" y="73"/>
                  <a:pt x="289" y="73"/>
                  <a:pt x="289" y="73"/>
                </a:cubicBezTo>
                <a:cubicBezTo>
                  <a:pt x="289" y="73"/>
                  <a:pt x="289" y="73"/>
                  <a:pt x="289" y="73"/>
                </a:cubicBezTo>
                <a:cubicBezTo>
                  <a:pt x="290" y="72"/>
                  <a:pt x="290" y="72"/>
                  <a:pt x="290" y="72"/>
                </a:cubicBezTo>
                <a:cubicBezTo>
                  <a:pt x="289" y="71"/>
                  <a:pt x="289" y="71"/>
                  <a:pt x="289" y="71"/>
                </a:cubicBezTo>
                <a:cubicBezTo>
                  <a:pt x="288" y="70"/>
                  <a:pt x="288" y="70"/>
                  <a:pt x="288" y="70"/>
                </a:cubicBezTo>
                <a:cubicBezTo>
                  <a:pt x="287" y="70"/>
                  <a:pt x="287" y="70"/>
                  <a:pt x="287" y="70"/>
                </a:cubicBezTo>
                <a:cubicBezTo>
                  <a:pt x="287" y="68"/>
                  <a:pt x="287" y="68"/>
                  <a:pt x="287" y="68"/>
                </a:cubicBezTo>
                <a:cubicBezTo>
                  <a:pt x="286" y="67"/>
                  <a:pt x="286" y="67"/>
                  <a:pt x="286" y="67"/>
                </a:cubicBezTo>
                <a:close/>
                <a:moveTo>
                  <a:pt x="285" y="62"/>
                </a:moveTo>
                <a:cubicBezTo>
                  <a:pt x="286" y="63"/>
                  <a:pt x="286" y="63"/>
                  <a:pt x="286" y="63"/>
                </a:cubicBezTo>
                <a:cubicBezTo>
                  <a:pt x="287" y="62"/>
                  <a:pt x="287" y="62"/>
                  <a:pt x="287" y="62"/>
                </a:cubicBezTo>
                <a:cubicBezTo>
                  <a:pt x="288" y="61"/>
                  <a:pt x="288" y="61"/>
                  <a:pt x="288" y="61"/>
                </a:cubicBezTo>
                <a:cubicBezTo>
                  <a:pt x="288" y="59"/>
                  <a:pt x="288" y="59"/>
                  <a:pt x="288" y="59"/>
                </a:cubicBezTo>
                <a:cubicBezTo>
                  <a:pt x="289" y="58"/>
                  <a:pt x="289" y="58"/>
                  <a:pt x="289" y="58"/>
                </a:cubicBezTo>
                <a:cubicBezTo>
                  <a:pt x="288" y="57"/>
                  <a:pt x="288" y="57"/>
                  <a:pt x="288" y="57"/>
                </a:cubicBezTo>
                <a:cubicBezTo>
                  <a:pt x="289" y="56"/>
                  <a:pt x="289" y="56"/>
                  <a:pt x="289" y="56"/>
                </a:cubicBezTo>
                <a:cubicBezTo>
                  <a:pt x="288" y="56"/>
                  <a:pt x="288" y="56"/>
                  <a:pt x="288" y="56"/>
                </a:cubicBezTo>
                <a:cubicBezTo>
                  <a:pt x="287" y="56"/>
                  <a:pt x="287" y="56"/>
                  <a:pt x="287" y="56"/>
                </a:cubicBezTo>
                <a:cubicBezTo>
                  <a:pt x="286" y="56"/>
                  <a:pt x="286" y="56"/>
                  <a:pt x="286" y="56"/>
                </a:cubicBezTo>
                <a:cubicBezTo>
                  <a:pt x="285" y="56"/>
                  <a:pt x="285" y="56"/>
                  <a:pt x="285" y="56"/>
                </a:cubicBezTo>
                <a:cubicBezTo>
                  <a:pt x="285" y="56"/>
                  <a:pt x="285" y="56"/>
                  <a:pt x="285" y="56"/>
                </a:cubicBezTo>
                <a:cubicBezTo>
                  <a:pt x="284" y="58"/>
                  <a:pt x="284" y="58"/>
                  <a:pt x="284" y="58"/>
                </a:cubicBezTo>
                <a:cubicBezTo>
                  <a:pt x="284" y="59"/>
                  <a:pt x="284" y="59"/>
                  <a:pt x="284" y="59"/>
                </a:cubicBezTo>
                <a:cubicBezTo>
                  <a:pt x="284" y="60"/>
                  <a:pt x="284" y="60"/>
                  <a:pt x="284" y="60"/>
                </a:cubicBezTo>
                <a:cubicBezTo>
                  <a:pt x="285" y="62"/>
                  <a:pt x="285" y="62"/>
                  <a:pt x="285" y="62"/>
                </a:cubicBezTo>
                <a:close/>
                <a:moveTo>
                  <a:pt x="391" y="155"/>
                </a:moveTo>
                <a:cubicBezTo>
                  <a:pt x="391" y="155"/>
                  <a:pt x="392" y="155"/>
                  <a:pt x="392" y="155"/>
                </a:cubicBezTo>
                <a:cubicBezTo>
                  <a:pt x="393" y="155"/>
                  <a:pt x="393" y="155"/>
                  <a:pt x="393" y="155"/>
                </a:cubicBezTo>
                <a:cubicBezTo>
                  <a:pt x="393" y="156"/>
                  <a:pt x="393" y="156"/>
                  <a:pt x="393" y="156"/>
                </a:cubicBezTo>
                <a:cubicBezTo>
                  <a:pt x="395" y="156"/>
                  <a:pt x="395" y="156"/>
                  <a:pt x="395" y="156"/>
                </a:cubicBezTo>
                <a:cubicBezTo>
                  <a:pt x="395" y="156"/>
                  <a:pt x="395" y="156"/>
                  <a:pt x="395" y="156"/>
                </a:cubicBezTo>
                <a:cubicBezTo>
                  <a:pt x="396" y="156"/>
                  <a:pt x="396" y="156"/>
                  <a:pt x="396" y="156"/>
                </a:cubicBezTo>
                <a:cubicBezTo>
                  <a:pt x="398" y="155"/>
                  <a:pt x="398" y="155"/>
                  <a:pt x="398" y="155"/>
                </a:cubicBezTo>
                <a:cubicBezTo>
                  <a:pt x="399" y="155"/>
                  <a:pt x="399" y="155"/>
                  <a:pt x="399" y="155"/>
                </a:cubicBezTo>
                <a:cubicBezTo>
                  <a:pt x="401" y="156"/>
                  <a:pt x="401" y="156"/>
                  <a:pt x="401" y="156"/>
                </a:cubicBezTo>
                <a:cubicBezTo>
                  <a:pt x="402" y="156"/>
                  <a:pt x="402" y="156"/>
                  <a:pt x="402" y="156"/>
                </a:cubicBezTo>
                <a:cubicBezTo>
                  <a:pt x="403" y="156"/>
                  <a:pt x="403" y="156"/>
                  <a:pt x="403" y="156"/>
                </a:cubicBezTo>
                <a:cubicBezTo>
                  <a:pt x="404" y="155"/>
                  <a:pt x="404" y="155"/>
                  <a:pt x="404" y="155"/>
                </a:cubicBezTo>
                <a:cubicBezTo>
                  <a:pt x="404" y="155"/>
                  <a:pt x="404" y="155"/>
                  <a:pt x="404" y="155"/>
                </a:cubicBezTo>
                <a:cubicBezTo>
                  <a:pt x="404" y="153"/>
                  <a:pt x="404" y="153"/>
                  <a:pt x="404" y="153"/>
                </a:cubicBezTo>
                <a:cubicBezTo>
                  <a:pt x="405" y="153"/>
                  <a:pt x="405" y="153"/>
                  <a:pt x="405" y="153"/>
                </a:cubicBezTo>
                <a:cubicBezTo>
                  <a:pt x="405" y="152"/>
                  <a:pt x="405" y="152"/>
                  <a:pt x="405" y="152"/>
                </a:cubicBezTo>
                <a:cubicBezTo>
                  <a:pt x="405" y="151"/>
                  <a:pt x="405" y="151"/>
                  <a:pt x="405" y="151"/>
                </a:cubicBezTo>
                <a:cubicBezTo>
                  <a:pt x="405" y="150"/>
                  <a:pt x="405" y="150"/>
                  <a:pt x="405" y="150"/>
                </a:cubicBezTo>
                <a:cubicBezTo>
                  <a:pt x="405" y="150"/>
                  <a:pt x="405" y="150"/>
                  <a:pt x="405" y="150"/>
                </a:cubicBezTo>
                <a:cubicBezTo>
                  <a:pt x="405" y="151"/>
                  <a:pt x="405" y="151"/>
                  <a:pt x="405" y="151"/>
                </a:cubicBezTo>
                <a:cubicBezTo>
                  <a:pt x="406" y="153"/>
                  <a:pt x="406" y="153"/>
                  <a:pt x="406" y="153"/>
                </a:cubicBezTo>
                <a:cubicBezTo>
                  <a:pt x="407" y="152"/>
                  <a:pt x="407" y="152"/>
                  <a:pt x="407" y="152"/>
                </a:cubicBezTo>
                <a:cubicBezTo>
                  <a:pt x="408" y="152"/>
                  <a:pt x="408" y="152"/>
                  <a:pt x="408" y="152"/>
                </a:cubicBezTo>
                <a:cubicBezTo>
                  <a:pt x="408" y="152"/>
                  <a:pt x="408" y="152"/>
                  <a:pt x="408" y="152"/>
                </a:cubicBezTo>
                <a:cubicBezTo>
                  <a:pt x="409" y="152"/>
                  <a:pt x="409" y="152"/>
                  <a:pt x="409" y="152"/>
                </a:cubicBezTo>
                <a:cubicBezTo>
                  <a:pt x="409" y="151"/>
                  <a:pt x="409" y="151"/>
                  <a:pt x="409" y="151"/>
                </a:cubicBezTo>
                <a:cubicBezTo>
                  <a:pt x="409" y="150"/>
                  <a:pt x="409" y="150"/>
                  <a:pt x="409" y="150"/>
                </a:cubicBezTo>
                <a:cubicBezTo>
                  <a:pt x="409" y="149"/>
                  <a:pt x="409" y="149"/>
                  <a:pt x="409" y="149"/>
                </a:cubicBezTo>
                <a:cubicBezTo>
                  <a:pt x="408" y="149"/>
                  <a:pt x="408" y="149"/>
                  <a:pt x="408" y="149"/>
                </a:cubicBezTo>
                <a:cubicBezTo>
                  <a:pt x="407" y="149"/>
                  <a:pt x="407" y="149"/>
                  <a:pt x="407" y="149"/>
                </a:cubicBezTo>
                <a:cubicBezTo>
                  <a:pt x="406" y="149"/>
                  <a:pt x="406" y="149"/>
                  <a:pt x="406" y="149"/>
                </a:cubicBezTo>
                <a:cubicBezTo>
                  <a:pt x="405" y="148"/>
                  <a:pt x="405" y="148"/>
                  <a:pt x="405" y="148"/>
                </a:cubicBezTo>
                <a:cubicBezTo>
                  <a:pt x="406" y="148"/>
                  <a:pt x="406" y="148"/>
                  <a:pt x="406" y="148"/>
                </a:cubicBezTo>
                <a:cubicBezTo>
                  <a:pt x="407" y="148"/>
                  <a:pt x="407" y="148"/>
                  <a:pt x="407" y="148"/>
                </a:cubicBezTo>
                <a:cubicBezTo>
                  <a:pt x="408" y="148"/>
                  <a:pt x="408" y="148"/>
                  <a:pt x="408" y="148"/>
                </a:cubicBezTo>
                <a:cubicBezTo>
                  <a:pt x="409" y="147"/>
                  <a:pt x="409" y="147"/>
                  <a:pt x="409" y="147"/>
                </a:cubicBezTo>
                <a:cubicBezTo>
                  <a:pt x="409" y="147"/>
                  <a:pt x="409" y="147"/>
                  <a:pt x="409" y="147"/>
                </a:cubicBezTo>
                <a:cubicBezTo>
                  <a:pt x="410" y="147"/>
                  <a:pt x="410" y="147"/>
                  <a:pt x="410" y="147"/>
                </a:cubicBezTo>
                <a:cubicBezTo>
                  <a:pt x="411" y="146"/>
                  <a:pt x="411" y="146"/>
                  <a:pt x="411" y="146"/>
                </a:cubicBezTo>
                <a:cubicBezTo>
                  <a:pt x="411" y="145"/>
                  <a:pt x="411" y="145"/>
                  <a:pt x="411" y="145"/>
                </a:cubicBezTo>
                <a:cubicBezTo>
                  <a:pt x="411" y="144"/>
                  <a:pt x="411" y="144"/>
                  <a:pt x="411" y="144"/>
                </a:cubicBezTo>
                <a:cubicBezTo>
                  <a:pt x="411" y="143"/>
                  <a:pt x="411" y="143"/>
                  <a:pt x="411" y="143"/>
                </a:cubicBezTo>
                <a:cubicBezTo>
                  <a:pt x="412" y="143"/>
                  <a:pt x="412" y="143"/>
                  <a:pt x="412" y="143"/>
                </a:cubicBezTo>
                <a:cubicBezTo>
                  <a:pt x="412" y="142"/>
                  <a:pt x="412" y="142"/>
                  <a:pt x="412" y="142"/>
                </a:cubicBezTo>
                <a:cubicBezTo>
                  <a:pt x="410" y="142"/>
                  <a:pt x="410" y="142"/>
                  <a:pt x="410" y="142"/>
                </a:cubicBezTo>
                <a:cubicBezTo>
                  <a:pt x="409" y="142"/>
                  <a:pt x="409" y="142"/>
                  <a:pt x="409" y="142"/>
                </a:cubicBezTo>
                <a:cubicBezTo>
                  <a:pt x="410" y="141"/>
                  <a:pt x="410" y="141"/>
                  <a:pt x="410" y="141"/>
                </a:cubicBezTo>
                <a:cubicBezTo>
                  <a:pt x="410" y="141"/>
                  <a:pt x="410" y="141"/>
                  <a:pt x="410" y="141"/>
                </a:cubicBezTo>
                <a:cubicBezTo>
                  <a:pt x="410" y="140"/>
                  <a:pt x="410" y="140"/>
                  <a:pt x="410" y="140"/>
                </a:cubicBezTo>
                <a:cubicBezTo>
                  <a:pt x="409" y="139"/>
                  <a:pt x="409" y="139"/>
                  <a:pt x="409" y="139"/>
                </a:cubicBezTo>
                <a:cubicBezTo>
                  <a:pt x="407" y="139"/>
                  <a:pt x="407" y="139"/>
                  <a:pt x="407" y="139"/>
                </a:cubicBezTo>
                <a:cubicBezTo>
                  <a:pt x="406" y="138"/>
                  <a:pt x="406" y="138"/>
                  <a:pt x="406" y="138"/>
                </a:cubicBezTo>
                <a:cubicBezTo>
                  <a:pt x="407" y="138"/>
                  <a:pt x="407" y="138"/>
                  <a:pt x="407" y="138"/>
                </a:cubicBezTo>
                <a:cubicBezTo>
                  <a:pt x="407" y="137"/>
                  <a:pt x="407" y="137"/>
                  <a:pt x="407" y="137"/>
                </a:cubicBezTo>
                <a:cubicBezTo>
                  <a:pt x="407" y="136"/>
                  <a:pt x="407" y="136"/>
                  <a:pt x="407" y="136"/>
                </a:cubicBezTo>
                <a:cubicBezTo>
                  <a:pt x="405" y="135"/>
                  <a:pt x="405" y="135"/>
                  <a:pt x="405" y="135"/>
                </a:cubicBezTo>
                <a:cubicBezTo>
                  <a:pt x="404" y="135"/>
                  <a:pt x="404" y="135"/>
                  <a:pt x="404" y="135"/>
                </a:cubicBezTo>
                <a:cubicBezTo>
                  <a:pt x="403" y="135"/>
                  <a:pt x="403" y="135"/>
                  <a:pt x="403" y="135"/>
                </a:cubicBezTo>
                <a:cubicBezTo>
                  <a:pt x="401" y="135"/>
                  <a:pt x="401" y="135"/>
                  <a:pt x="401" y="135"/>
                </a:cubicBezTo>
                <a:cubicBezTo>
                  <a:pt x="399" y="136"/>
                  <a:pt x="399" y="136"/>
                  <a:pt x="399" y="136"/>
                </a:cubicBezTo>
                <a:cubicBezTo>
                  <a:pt x="397" y="134"/>
                  <a:pt x="397" y="134"/>
                  <a:pt x="397" y="134"/>
                </a:cubicBezTo>
                <a:cubicBezTo>
                  <a:pt x="397" y="133"/>
                  <a:pt x="397" y="133"/>
                  <a:pt x="397" y="133"/>
                </a:cubicBezTo>
                <a:cubicBezTo>
                  <a:pt x="396" y="133"/>
                  <a:pt x="396" y="133"/>
                  <a:pt x="396" y="133"/>
                </a:cubicBezTo>
                <a:cubicBezTo>
                  <a:pt x="395" y="134"/>
                  <a:pt x="395" y="134"/>
                  <a:pt x="395" y="134"/>
                </a:cubicBezTo>
                <a:cubicBezTo>
                  <a:pt x="394" y="134"/>
                  <a:pt x="394" y="134"/>
                  <a:pt x="394" y="134"/>
                </a:cubicBezTo>
                <a:cubicBezTo>
                  <a:pt x="393" y="134"/>
                  <a:pt x="393" y="134"/>
                  <a:pt x="393" y="134"/>
                </a:cubicBezTo>
                <a:cubicBezTo>
                  <a:pt x="392" y="134"/>
                  <a:pt x="392" y="134"/>
                  <a:pt x="392" y="134"/>
                </a:cubicBezTo>
                <a:cubicBezTo>
                  <a:pt x="392" y="135"/>
                  <a:pt x="392" y="135"/>
                  <a:pt x="392" y="135"/>
                </a:cubicBezTo>
                <a:cubicBezTo>
                  <a:pt x="391" y="134"/>
                  <a:pt x="391" y="134"/>
                  <a:pt x="391" y="134"/>
                </a:cubicBezTo>
                <a:cubicBezTo>
                  <a:pt x="390" y="134"/>
                  <a:pt x="390" y="134"/>
                  <a:pt x="390" y="134"/>
                </a:cubicBezTo>
                <a:cubicBezTo>
                  <a:pt x="389" y="134"/>
                  <a:pt x="389" y="134"/>
                  <a:pt x="389" y="134"/>
                </a:cubicBezTo>
                <a:cubicBezTo>
                  <a:pt x="387" y="134"/>
                  <a:pt x="387" y="134"/>
                  <a:pt x="387" y="134"/>
                </a:cubicBezTo>
                <a:cubicBezTo>
                  <a:pt x="387" y="135"/>
                  <a:pt x="387" y="135"/>
                  <a:pt x="387" y="135"/>
                </a:cubicBezTo>
                <a:cubicBezTo>
                  <a:pt x="387" y="136"/>
                  <a:pt x="387" y="136"/>
                  <a:pt x="387" y="136"/>
                </a:cubicBezTo>
                <a:cubicBezTo>
                  <a:pt x="387" y="135"/>
                  <a:pt x="387" y="135"/>
                  <a:pt x="387" y="135"/>
                </a:cubicBezTo>
                <a:cubicBezTo>
                  <a:pt x="386" y="134"/>
                  <a:pt x="386" y="134"/>
                  <a:pt x="386" y="134"/>
                </a:cubicBezTo>
                <a:cubicBezTo>
                  <a:pt x="385" y="135"/>
                  <a:pt x="385" y="135"/>
                  <a:pt x="385" y="135"/>
                </a:cubicBezTo>
                <a:cubicBezTo>
                  <a:pt x="382" y="134"/>
                  <a:pt x="382" y="134"/>
                  <a:pt x="382" y="134"/>
                </a:cubicBezTo>
                <a:cubicBezTo>
                  <a:pt x="382" y="135"/>
                  <a:pt x="382" y="135"/>
                  <a:pt x="382" y="135"/>
                </a:cubicBezTo>
                <a:cubicBezTo>
                  <a:pt x="383" y="135"/>
                  <a:pt x="383" y="135"/>
                  <a:pt x="383" y="135"/>
                </a:cubicBezTo>
                <a:cubicBezTo>
                  <a:pt x="383" y="136"/>
                  <a:pt x="383" y="136"/>
                  <a:pt x="383" y="136"/>
                </a:cubicBezTo>
                <a:cubicBezTo>
                  <a:pt x="384" y="137"/>
                  <a:pt x="384" y="137"/>
                  <a:pt x="384" y="137"/>
                </a:cubicBezTo>
                <a:cubicBezTo>
                  <a:pt x="383" y="137"/>
                  <a:pt x="383" y="137"/>
                  <a:pt x="383" y="137"/>
                </a:cubicBezTo>
                <a:cubicBezTo>
                  <a:pt x="382" y="136"/>
                  <a:pt x="382" y="136"/>
                  <a:pt x="382" y="136"/>
                </a:cubicBezTo>
                <a:cubicBezTo>
                  <a:pt x="381" y="136"/>
                  <a:pt x="381" y="136"/>
                  <a:pt x="381" y="136"/>
                </a:cubicBezTo>
                <a:cubicBezTo>
                  <a:pt x="380" y="136"/>
                  <a:pt x="380" y="136"/>
                  <a:pt x="380" y="136"/>
                </a:cubicBezTo>
                <a:cubicBezTo>
                  <a:pt x="379" y="136"/>
                  <a:pt x="379" y="136"/>
                  <a:pt x="379" y="136"/>
                </a:cubicBezTo>
                <a:cubicBezTo>
                  <a:pt x="380" y="135"/>
                  <a:pt x="380" y="135"/>
                  <a:pt x="380" y="135"/>
                </a:cubicBezTo>
                <a:cubicBezTo>
                  <a:pt x="380" y="134"/>
                  <a:pt x="380" y="134"/>
                  <a:pt x="380" y="134"/>
                </a:cubicBezTo>
                <a:cubicBezTo>
                  <a:pt x="379" y="133"/>
                  <a:pt x="379" y="133"/>
                  <a:pt x="379" y="133"/>
                </a:cubicBezTo>
                <a:cubicBezTo>
                  <a:pt x="379" y="132"/>
                  <a:pt x="379" y="132"/>
                  <a:pt x="379" y="132"/>
                </a:cubicBezTo>
                <a:cubicBezTo>
                  <a:pt x="379" y="132"/>
                  <a:pt x="379" y="132"/>
                  <a:pt x="379" y="132"/>
                </a:cubicBezTo>
                <a:cubicBezTo>
                  <a:pt x="377" y="132"/>
                  <a:pt x="377" y="132"/>
                  <a:pt x="377" y="132"/>
                </a:cubicBezTo>
                <a:cubicBezTo>
                  <a:pt x="377" y="133"/>
                  <a:pt x="377" y="133"/>
                  <a:pt x="377" y="133"/>
                </a:cubicBezTo>
                <a:cubicBezTo>
                  <a:pt x="377" y="134"/>
                  <a:pt x="377" y="134"/>
                  <a:pt x="377" y="134"/>
                </a:cubicBezTo>
                <a:cubicBezTo>
                  <a:pt x="376" y="134"/>
                  <a:pt x="376" y="134"/>
                  <a:pt x="376" y="134"/>
                </a:cubicBezTo>
                <a:cubicBezTo>
                  <a:pt x="377" y="133"/>
                  <a:pt x="377" y="133"/>
                  <a:pt x="377" y="133"/>
                </a:cubicBezTo>
                <a:cubicBezTo>
                  <a:pt x="376" y="132"/>
                  <a:pt x="376" y="132"/>
                  <a:pt x="376" y="132"/>
                </a:cubicBezTo>
                <a:cubicBezTo>
                  <a:pt x="375" y="132"/>
                  <a:pt x="375" y="132"/>
                  <a:pt x="375" y="132"/>
                </a:cubicBezTo>
                <a:cubicBezTo>
                  <a:pt x="374" y="132"/>
                  <a:pt x="374" y="132"/>
                  <a:pt x="374" y="132"/>
                </a:cubicBezTo>
                <a:cubicBezTo>
                  <a:pt x="374" y="132"/>
                  <a:pt x="374" y="132"/>
                  <a:pt x="374" y="132"/>
                </a:cubicBezTo>
                <a:cubicBezTo>
                  <a:pt x="374" y="131"/>
                  <a:pt x="374" y="131"/>
                  <a:pt x="374" y="131"/>
                </a:cubicBezTo>
                <a:cubicBezTo>
                  <a:pt x="374" y="131"/>
                  <a:pt x="374" y="131"/>
                  <a:pt x="374" y="131"/>
                </a:cubicBezTo>
                <a:cubicBezTo>
                  <a:pt x="374" y="129"/>
                  <a:pt x="374" y="129"/>
                  <a:pt x="374" y="129"/>
                </a:cubicBezTo>
                <a:cubicBezTo>
                  <a:pt x="372" y="130"/>
                  <a:pt x="372" y="130"/>
                  <a:pt x="372" y="130"/>
                </a:cubicBezTo>
                <a:cubicBezTo>
                  <a:pt x="371" y="131"/>
                  <a:pt x="371" y="131"/>
                  <a:pt x="371" y="131"/>
                </a:cubicBezTo>
                <a:cubicBezTo>
                  <a:pt x="371" y="133"/>
                  <a:pt x="371" y="133"/>
                  <a:pt x="371" y="133"/>
                </a:cubicBezTo>
                <a:cubicBezTo>
                  <a:pt x="370" y="133"/>
                  <a:pt x="370" y="133"/>
                  <a:pt x="370" y="133"/>
                </a:cubicBezTo>
                <a:cubicBezTo>
                  <a:pt x="370" y="131"/>
                  <a:pt x="370" y="131"/>
                  <a:pt x="370" y="131"/>
                </a:cubicBezTo>
                <a:cubicBezTo>
                  <a:pt x="370" y="130"/>
                  <a:pt x="370" y="130"/>
                  <a:pt x="370" y="130"/>
                </a:cubicBezTo>
                <a:cubicBezTo>
                  <a:pt x="370" y="130"/>
                  <a:pt x="370" y="130"/>
                  <a:pt x="370" y="130"/>
                </a:cubicBezTo>
                <a:cubicBezTo>
                  <a:pt x="371" y="128"/>
                  <a:pt x="371" y="128"/>
                  <a:pt x="371" y="128"/>
                </a:cubicBezTo>
                <a:cubicBezTo>
                  <a:pt x="370" y="127"/>
                  <a:pt x="370" y="127"/>
                  <a:pt x="370" y="127"/>
                </a:cubicBezTo>
                <a:cubicBezTo>
                  <a:pt x="369" y="127"/>
                  <a:pt x="369" y="127"/>
                  <a:pt x="369" y="127"/>
                </a:cubicBezTo>
                <a:cubicBezTo>
                  <a:pt x="369" y="127"/>
                  <a:pt x="369" y="127"/>
                  <a:pt x="369" y="127"/>
                </a:cubicBezTo>
                <a:cubicBezTo>
                  <a:pt x="370" y="126"/>
                  <a:pt x="370" y="126"/>
                  <a:pt x="370" y="126"/>
                </a:cubicBezTo>
                <a:cubicBezTo>
                  <a:pt x="370" y="125"/>
                  <a:pt x="370" y="125"/>
                  <a:pt x="370" y="125"/>
                </a:cubicBezTo>
                <a:cubicBezTo>
                  <a:pt x="370" y="124"/>
                  <a:pt x="370" y="124"/>
                  <a:pt x="370" y="124"/>
                </a:cubicBezTo>
                <a:cubicBezTo>
                  <a:pt x="369" y="124"/>
                  <a:pt x="369" y="124"/>
                  <a:pt x="369" y="124"/>
                </a:cubicBezTo>
                <a:cubicBezTo>
                  <a:pt x="368" y="124"/>
                  <a:pt x="368" y="124"/>
                  <a:pt x="368" y="124"/>
                </a:cubicBezTo>
                <a:cubicBezTo>
                  <a:pt x="368" y="124"/>
                  <a:pt x="368" y="124"/>
                  <a:pt x="368" y="124"/>
                </a:cubicBezTo>
                <a:cubicBezTo>
                  <a:pt x="367" y="124"/>
                  <a:pt x="367" y="124"/>
                  <a:pt x="367" y="124"/>
                </a:cubicBezTo>
                <a:cubicBezTo>
                  <a:pt x="368" y="124"/>
                  <a:pt x="368" y="124"/>
                  <a:pt x="368" y="124"/>
                </a:cubicBezTo>
                <a:cubicBezTo>
                  <a:pt x="367" y="123"/>
                  <a:pt x="367" y="123"/>
                  <a:pt x="367" y="123"/>
                </a:cubicBezTo>
                <a:cubicBezTo>
                  <a:pt x="366" y="123"/>
                  <a:pt x="366" y="123"/>
                  <a:pt x="366" y="123"/>
                </a:cubicBezTo>
                <a:cubicBezTo>
                  <a:pt x="366" y="124"/>
                  <a:pt x="366" y="124"/>
                  <a:pt x="366" y="124"/>
                </a:cubicBezTo>
                <a:cubicBezTo>
                  <a:pt x="364" y="124"/>
                  <a:pt x="364" y="124"/>
                  <a:pt x="364" y="124"/>
                </a:cubicBezTo>
                <a:cubicBezTo>
                  <a:pt x="364" y="124"/>
                  <a:pt x="364" y="124"/>
                  <a:pt x="364" y="124"/>
                </a:cubicBezTo>
                <a:cubicBezTo>
                  <a:pt x="365" y="123"/>
                  <a:pt x="365" y="123"/>
                  <a:pt x="365" y="123"/>
                </a:cubicBezTo>
                <a:cubicBezTo>
                  <a:pt x="365" y="122"/>
                  <a:pt x="365" y="122"/>
                  <a:pt x="365" y="122"/>
                </a:cubicBezTo>
                <a:cubicBezTo>
                  <a:pt x="366" y="121"/>
                  <a:pt x="366" y="121"/>
                  <a:pt x="366" y="121"/>
                </a:cubicBezTo>
                <a:cubicBezTo>
                  <a:pt x="367" y="121"/>
                  <a:pt x="367" y="121"/>
                  <a:pt x="367" y="121"/>
                </a:cubicBezTo>
                <a:cubicBezTo>
                  <a:pt x="368" y="123"/>
                  <a:pt x="368" y="123"/>
                  <a:pt x="368" y="123"/>
                </a:cubicBezTo>
                <a:cubicBezTo>
                  <a:pt x="369" y="123"/>
                  <a:pt x="369" y="123"/>
                  <a:pt x="369" y="123"/>
                </a:cubicBezTo>
                <a:cubicBezTo>
                  <a:pt x="369" y="122"/>
                  <a:pt x="369" y="122"/>
                  <a:pt x="369" y="122"/>
                </a:cubicBezTo>
                <a:cubicBezTo>
                  <a:pt x="368" y="121"/>
                  <a:pt x="368" y="121"/>
                  <a:pt x="368" y="121"/>
                </a:cubicBezTo>
                <a:cubicBezTo>
                  <a:pt x="367" y="120"/>
                  <a:pt x="367" y="120"/>
                  <a:pt x="367" y="120"/>
                </a:cubicBezTo>
                <a:cubicBezTo>
                  <a:pt x="368" y="120"/>
                  <a:pt x="368" y="120"/>
                  <a:pt x="368" y="120"/>
                </a:cubicBezTo>
                <a:cubicBezTo>
                  <a:pt x="366" y="119"/>
                  <a:pt x="366" y="119"/>
                  <a:pt x="366" y="119"/>
                </a:cubicBezTo>
                <a:cubicBezTo>
                  <a:pt x="365" y="118"/>
                  <a:pt x="365" y="118"/>
                  <a:pt x="365" y="118"/>
                </a:cubicBezTo>
                <a:cubicBezTo>
                  <a:pt x="366" y="118"/>
                  <a:pt x="366" y="118"/>
                  <a:pt x="366" y="118"/>
                </a:cubicBezTo>
                <a:cubicBezTo>
                  <a:pt x="366" y="117"/>
                  <a:pt x="366" y="117"/>
                  <a:pt x="366" y="117"/>
                </a:cubicBezTo>
                <a:cubicBezTo>
                  <a:pt x="366" y="117"/>
                  <a:pt x="366" y="117"/>
                  <a:pt x="366" y="117"/>
                </a:cubicBezTo>
                <a:cubicBezTo>
                  <a:pt x="367" y="118"/>
                  <a:pt x="367" y="118"/>
                  <a:pt x="367" y="118"/>
                </a:cubicBezTo>
                <a:cubicBezTo>
                  <a:pt x="368" y="119"/>
                  <a:pt x="368" y="119"/>
                  <a:pt x="368" y="119"/>
                </a:cubicBezTo>
                <a:cubicBezTo>
                  <a:pt x="370" y="120"/>
                  <a:pt x="370" y="120"/>
                  <a:pt x="370" y="120"/>
                </a:cubicBezTo>
                <a:cubicBezTo>
                  <a:pt x="371" y="121"/>
                  <a:pt x="371" y="121"/>
                  <a:pt x="371" y="121"/>
                </a:cubicBezTo>
                <a:cubicBezTo>
                  <a:pt x="371" y="120"/>
                  <a:pt x="371" y="120"/>
                  <a:pt x="371" y="120"/>
                </a:cubicBezTo>
                <a:cubicBezTo>
                  <a:pt x="372" y="121"/>
                  <a:pt x="372" y="121"/>
                  <a:pt x="372" y="121"/>
                </a:cubicBezTo>
                <a:cubicBezTo>
                  <a:pt x="374" y="121"/>
                  <a:pt x="374" y="121"/>
                  <a:pt x="374" y="121"/>
                </a:cubicBezTo>
                <a:cubicBezTo>
                  <a:pt x="375" y="121"/>
                  <a:pt x="375" y="121"/>
                  <a:pt x="375" y="121"/>
                </a:cubicBezTo>
                <a:cubicBezTo>
                  <a:pt x="376" y="120"/>
                  <a:pt x="376" y="120"/>
                  <a:pt x="376" y="120"/>
                </a:cubicBezTo>
                <a:cubicBezTo>
                  <a:pt x="375" y="119"/>
                  <a:pt x="375" y="119"/>
                  <a:pt x="375" y="119"/>
                </a:cubicBezTo>
                <a:cubicBezTo>
                  <a:pt x="373" y="117"/>
                  <a:pt x="373" y="117"/>
                  <a:pt x="373" y="117"/>
                </a:cubicBezTo>
                <a:cubicBezTo>
                  <a:pt x="372" y="116"/>
                  <a:pt x="372" y="116"/>
                  <a:pt x="372" y="116"/>
                </a:cubicBezTo>
                <a:cubicBezTo>
                  <a:pt x="371" y="116"/>
                  <a:pt x="371" y="116"/>
                  <a:pt x="371" y="116"/>
                </a:cubicBezTo>
                <a:cubicBezTo>
                  <a:pt x="371" y="115"/>
                  <a:pt x="371" y="115"/>
                  <a:pt x="371" y="115"/>
                </a:cubicBezTo>
                <a:cubicBezTo>
                  <a:pt x="369" y="114"/>
                  <a:pt x="369" y="114"/>
                  <a:pt x="369" y="114"/>
                </a:cubicBezTo>
                <a:cubicBezTo>
                  <a:pt x="369" y="114"/>
                  <a:pt x="369" y="114"/>
                  <a:pt x="369" y="114"/>
                </a:cubicBezTo>
                <a:cubicBezTo>
                  <a:pt x="368" y="113"/>
                  <a:pt x="368" y="113"/>
                  <a:pt x="368" y="113"/>
                </a:cubicBezTo>
                <a:cubicBezTo>
                  <a:pt x="369" y="112"/>
                  <a:pt x="369" y="112"/>
                  <a:pt x="369" y="112"/>
                </a:cubicBezTo>
                <a:cubicBezTo>
                  <a:pt x="370" y="113"/>
                  <a:pt x="370" y="113"/>
                  <a:pt x="370" y="113"/>
                </a:cubicBezTo>
                <a:cubicBezTo>
                  <a:pt x="371" y="114"/>
                  <a:pt x="371" y="114"/>
                  <a:pt x="371" y="114"/>
                </a:cubicBezTo>
                <a:cubicBezTo>
                  <a:pt x="371" y="114"/>
                  <a:pt x="371" y="114"/>
                  <a:pt x="371" y="114"/>
                </a:cubicBezTo>
                <a:cubicBezTo>
                  <a:pt x="372" y="115"/>
                  <a:pt x="372" y="115"/>
                  <a:pt x="372" y="115"/>
                </a:cubicBezTo>
                <a:cubicBezTo>
                  <a:pt x="372" y="115"/>
                  <a:pt x="372" y="115"/>
                  <a:pt x="372" y="115"/>
                </a:cubicBezTo>
                <a:cubicBezTo>
                  <a:pt x="373" y="114"/>
                  <a:pt x="373" y="114"/>
                  <a:pt x="373" y="114"/>
                </a:cubicBezTo>
                <a:cubicBezTo>
                  <a:pt x="372" y="112"/>
                  <a:pt x="372" y="112"/>
                  <a:pt x="372" y="112"/>
                </a:cubicBezTo>
                <a:cubicBezTo>
                  <a:pt x="371" y="110"/>
                  <a:pt x="371" y="110"/>
                  <a:pt x="371" y="110"/>
                </a:cubicBezTo>
                <a:cubicBezTo>
                  <a:pt x="370" y="110"/>
                  <a:pt x="370" y="110"/>
                  <a:pt x="370" y="110"/>
                </a:cubicBezTo>
                <a:cubicBezTo>
                  <a:pt x="370" y="110"/>
                  <a:pt x="370" y="110"/>
                  <a:pt x="370" y="110"/>
                </a:cubicBezTo>
                <a:cubicBezTo>
                  <a:pt x="368" y="110"/>
                  <a:pt x="368" y="110"/>
                  <a:pt x="368" y="110"/>
                </a:cubicBezTo>
                <a:cubicBezTo>
                  <a:pt x="367" y="111"/>
                  <a:pt x="367" y="111"/>
                  <a:pt x="367" y="111"/>
                </a:cubicBezTo>
                <a:cubicBezTo>
                  <a:pt x="366" y="111"/>
                  <a:pt x="366" y="111"/>
                  <a:pt x="366" y="111"/>
                </a:cubicBezTo>
                <a:cubicBezTo>
                  <a:pt x="365" y="110"/>
                  <a:pt x="365" y="110"/>
                  <a:pt x="365" y="110"/>
                </a:cubicBezTo>
                <a:cubicBezTo>
                  <a:pt x="364" y="110"/>
                  <a:pt x="364" y="110"/>
                  <a:pt x="364" y="110"/>
                </a:cubicBezTo>
                <a:cubicBezTo>
                  <a:pt x="363" y="109"/>
                  <a:pt x="363" y="109"/>
                  <a:pt x="363" y="109"/>
                </a:cubicBezTo>
                <a:cubicBezTo>
                  <a:pt x="362" y="111"/>
                  <a:pt x="362" y="111"/>
                  <a:pt x="362" y="111"/>
                </a:cubicBezTo>
                <a:cubicBezTo>
                  <a:pt x="360" y="112"/>
                  <a:pt x="360" y="112"/>
                  <a:pt x="360" y="112"/>
                </a:cubicBezTo>
                <a:cubicBezTo>
                  <a:pt x="360" y="113"/>
                  <a:pt x="360" y="113"/>
                  <a:pt x="360" y="113"/>
                </a:cubicBezTo>
                <a:cubicBezTo>
                  <a:pt x="359" y="114"/>
                  <a:pt x="359" y="114"/>
                  <a:pt x="359" y="114"/>
                </a:cubicBezTo>
                <a:cubicBezTo>
                  <a:pt x="359" y="113"/>
                  <a:pt x="359" y="113"/>
                  <a:pt x="359" y="113"/>
                </a:cubicBezTo>
                <a:cubicBezTo>
                  <a:pt x="360" y="112"/>
                  <a:pt x="360" y="112"/>
                  <a:pt x="360" y="112"/>
                </a:cubicBezTo>
                <a:cubicBezTo>
                  <a:pt x="360" y="111"/>
                  <a:pt x="360" y="111"/>
                  <a:pt x="360" y="111"/>
                </a:cubicBezTo>
                <a:cubicBezTo>
                  <a:pt x="363" y="109"/>
                  <a:pt x="363" y="109"/>
                  <a:pt x="363" y="109"/>
                </a:cubicBezTo>
                <a:cubicBezTo>
                  <a:pt x="363" y="108"/>
                  <a:pt x="363" y="108"/>
                  <a:pt x="363" y="108"/>
                </a:cubicBezTo>
                <a:cubicBezTo>
                  <a:pt x="363" y="107"/>
                  <a:pt x="363" y="107"/>
                  <a:pt x="363" y="107"/>
                </a:cubicBezTo>
                <a:cubicBezTo>
                  <a:pt x="363" y="104"/>
                  <a:pt x="363" y="104"/>
                  <a:pt x="363" y="104"/>
                </a:cubicBezTo>
                <a:cubicBezTo>
                  <a:pt x="363" y="104"/>
                  <a:pt x="363" y="104"/>
                  <a:pt x="363" y="104"/>
                </a:cubicBezTo>
                <a:cubicBezTo>
                  <a:pt x="362" y="103"/>
                  <a:pt x="362" y="103"/>
                  <a:pt x="362" y="103"/>
                </a:cubicBezTo>
                <a:cubicBezTo>
                  <a:pt x="362" y="103"/>
                  <a:pt x="362" y="103"/>
                  <a:pt x="362" y="103"/>
                </a:cubicBezTo>
                <a:cubicBezTo>
                  <a:pt x="360" y="103"/>
                  <a:pt x="360" y="103"/>
                  <a:pt x="360" y="103"/>
                </a:cubicBezTo>
                <a:cubicBezTo>
                  <a:pt x="360" y="103"/>
                  <a:pt x="360" y="103"/>
                  <a:pt x="360" y="103"/>
                </a:cubicBezTo>
                <a:cubicBezTo>
                  <a:pt x="360" y="101"/>
                  <a:pt x="360" y="101"/>
                  <a:pt x="360" y="101"/>
                </a:cubicBezTo>
                <a:cubicBezTo>
                  <a:pt x="359" y="101"/>
                  <a:pt x="359" y="101"/>
                  <a:pt x="359" y="101"/>
                </a:cubicBezTo>
                <a:cubicBezTo>
                  <a:pt x="357" y="100"/>
                  <a:pt x="357" y="100"/>
                  <a:pt x="357" y="100"/>
                </a:cubicBezTo>
                <a:cubicBezTo>
                  <a:pt x="356" y="99"/>
                  <a:pt x="356" y="99"/>
                  <a:pt x="356" y="99"/>
                </a:cubicBezTo>
                <a:cubicBezTo>
                  <a:pt x="355" y="99"/>
                  <a:pt x="355" y="99"/>
                  <a:pt x="355" y="99"/>
                </a:cubicBezTo>
                <a:cubicBezTo>
                  <a:pt x="354" y="98"/>
                  <a:pt x="354" y="98"/>
                  <a:pt x="354" y="98"/>
                </a:cubicBezTo>
                <a:cubicBezTo>
                  <a:pt x="353" y="99"/>
                  <a:pt x="353" y="99"/>
                  <a:pt x="353" y="99"/>
                </a:cubicBezTo>
                <a:cubicBezTo>
                  <a:pt x="351" y="99"/>
                  <a:pt x="351" y="99"/>
                  <a:pt x="351" y="99"/>
                </a:cubicBezTo>
                <a:cubicBezTo>
                  <a:pt x="351" y="99"/>
                  <a:pt x="351" y="99"/>
                  <a:pt x="351" y="99"/>
                </a:cubicBezTo>
                <a:cubicBezTo>
                  <a:pt x="350" y="100"/>
                  <a:pt x="350" y="100"/>
                  <a:pt x="350" y="100"/>
                </a:cubicBezTo>
                <a:cubicBezTo>
                  <a:pt x="349" y="101"/>
                  <a:pt x="349" y="101"/>
                  <a:pt x="349" y="101"/>
                </a:cubicBezTo>
                <a:cubicBezTo>
                  <a:pt x="350" y="102"/>
                  <a:pt x="350" y="102"/>
                  <a:pt x="350" y="102"/>
                </a:cubicBezTo>
                <a:cubicBezTo>
                  <a:pt x="351" y="103"/>
                  <a:pt x="351" y="103"/>
                  <a:pt x="351" y="103"/>
                </a:cubicBezTo>
                <a:cubicBezTo>
                  <a:pt x="350" y="103"/>
                  <a:pt x="350" y="103"/>
                  <a:pt x="350" y="103"/>
                </a:cubicBezTo>
                <a:cubicBezTo>
                  <a:pt x="349" y="101"/>
                  <a:pt x="349" y="101"/>
                  <a:pt x="349" y="101"/>
                </a:cubicBezTo>
                <a:cubicBezTo>
                  <a:pt x="348" y="102"/>
                  <a:pt x="348" y="102"/>
                  <a:pt x="348" y="102"/>
                </a:cubicBezTo>
                <a:cubicBezTo>
                  <a:pt x="349" y="103"/>
                  <a:pt x="349" y="103"/>
                  <a:pt x="349" y="103"/>
                </a:cubicBezTo>
                <a:cubicBezTo>
                  <a:pt x="350" y="104"/>
                  <a:pt x="350" y="104"/>
                  <a:pt x="350" y="104"/>
                </a:cubicBezTo>
                <a:cubicBezTo>
                  <a:pt x="351" y="106"/>
                  <a:pt x="351" y="106"/>
                  <a:pt x="351" y="106"/>
                </a:cubicBezTo>
                <a:cubicBezTo>
                  <a:pt x="352" y="106"/>
                  <a:pt x="352" y="106"/>
                  <a:pt x="352" y="106"/>
                </a:cubicBezTo>
                <a:cubicBezTo>
                  <a:pt x="352" y="107"/>
                  <a:pt x="352" y="107"/>
                  <a:pt x="352" y="107"/>
                </a:cubicBezTo>
                <a:cubicBezTo>
                  <a:pt x="350" y="107"/>
                  <a:pt x="350" y="107"/>
                  <a:pt x="350" y="107"/>
                </a:cubicBezTo>
                <a:cubicBezTo>
                  <a:pt x="350" y="108"/>
                  <a:pt x="350" y="108"/>
                  <a:pt x="350" y="108"/>
                </a:cubicBezTo>
                <a:cubicBezTo>
                  <a:pt x="352" y="110"/>
                  <a:pt x="352" y="110"/>
                  <a:pt x="352" y="110"/>
                </a:cubicBezTo>
                <a:cubicBezTo>
                  <a:pt x="353" y="110"/>
                  <a:pt x="353" y="110"/>
                  <a:pt x="353" y="110"/>
                </a:cubicBezTo>
                <a:cubicBezTo>
                  <a:pt x="353" y="111"/>
                  <a:pt x="353" y="111"/>
                  <a:pt x="353" y="111"/>
                </a:cubicBezTo>
                <a:cubicBezTo>
                  <a:pt x="353" y="111"/>
                  <a:pt x="353" y="111"/>
                  <a:pt x="353" y="111"/>
                </a:cubicBezTo>
                <a:cubicBezTo>
                  <a:pt x="351" y="111"/>
                  <a:pt x="351" y="111"/>
                  <a:pt x="351" y="111"/>
                </a:cubicBezTo>
                <a:cubicBezTo>
                  <a:pt x="351" y="111"/>
                  <a:pt x="351" y="111"/>
                  <a:pt x="351" y="111"/>
                </a:cubicBezTo>
                <a:cubicBezTo>
                  <a:pt x="350" y="112"/>
                  <a:pt x="350" y="112"/>
                  <a:pt x="350" y="112"/>
                </a:cubicBezTo>
                <a:cubicBezTo>
                  <a:pt x="350" y="113"/>
                  <a:pt x="350" y="113"/>
                  <a:pt x="350" y="113"/>
                </a:cubicBezTo>
                <a:cubicBezTo>
                  <a:pt x="351" y="112"/>
                  <a:pt x="351" y="112"/>
                  <a:pt x="351" y="112"/>
                </a:cubicBezTo>
                <a:cubicBezTo>
                  <a:pt x="352" y="113"/>
                  <a:pt x="352" y="113"/>
                  <a:pt x="352" y="113"/>
                </a:cubicBezTo>
                <a:cubicBezTo>
                  <a:pt x="354" y="112"/>
                  <a:pt x="354" y="112"/>
                  <a:pt x="354" y="112"/>
                </a:cubicBezTo>
                <a:cubicBezTo>
                  <a:pt x="354" y="113"/>
                  <a:pt x="354" y="113"/>
                  <a:pt x="354" y="113"/>
                </a:cubicBezTo>
                <a:cubicBezTo>
                  <a:pt x="356" y="113"/>
                  <a:pt x="356" y="113"/>
                  <a:pt x="356" y="113"/>
                </a:cubicBezTo>
                <a:cubicBezTo>
                  <a:pt x="356" y="114"/>
                  <a:pt x="356" y="114"/>
                  <a:pt x="356" y="114"/>
                </a:cubicBezTo>
                <a:cubicBezTo>
                  <a:pt x="357" y="115"/>
                  <a:pt x="357" y="115"/>
                  <a:pt x="357" y="115"/>
                </a:cubicBezTo>
                <a:cubicBezTo>
                  <a:pt x="358" y="115"/>
                  <a:pt x="358" y="115"/>
                  <a:pt x="358" y="115"/>
                </a:cubicBezTo>
                <a:cubicBezTo>
                  <a:pt x="358" y="114"/>
                  <a:pt x="358" y="114"/>
                  <a:pt x="358" y="114"/>
                </a:cubicBezTo>
                <a:cubicBezTo>
                  <a:pt x="359" y="115"/>
                  <a:pt x="359" y="115"/>
                  <a:pt x="359" y="115"/>
                </a:cubicBezTo>
                <a:cubicBezTo>
                  <a:pt x="360" y="114"/>
                  <a:pt x="360" y="114"/>
                  <a:pt x="360" y="114"/>
                </a:cubicBezTo>
                <a:cubicBezTo>
                  <a:pt x="361" y="114"/>
                  <a:pt x="361" y="114"/>
                  <a:pt x="361" y="114"/>
                </a:cubicBezTo>
                <a:cubicBezTo>
                  <a:pt x="361" y="115"/>
                  <a:pt x="361" y="115"/>
                  <a:pt x="361" y="115"/>
                </a:cubicBezTo>
                <a:cubicBezTo>
                  <a:pt x="360" y="116"/>
                  <a:pt x="360" y="116"/>
                  <a:pt x="360" y="116"/>
                </a:cubicBezTo>
                <a:cubicBezTo>
                  <a:pt x="360" y="119"/>
                  <a:pt x="360" y="119"/>
                  <a:pt x="360" y="119"/>
                </a:cubicBezTo>
                <a:cubicBezTo>
                  <a:pt x="360" y="120"/>
                  <a:pt x="360" y="120"/>
                  <a:pt x="360" y="120"/>
                </a:cubicBezTo>
                <a:cubicBezTo>
                  <a:pt x="360" y="121"/>
                  <a:pt x="360" y="121"/>
                  <a:pt x="360" y="121"/>
                </a:cubicBezTo>
                <a:cubicBezTo>
                  <a:pt x="361" y="122"/>
                  <a:pt x="361" y="122"/>
                  <a:pt x="361" y="122"/>
                </a:cubicBezTo>
                <a:cubicBezTo>
                  <a:pt x="360" y="124"/>
                  <a:pt x="360" y="124"/>
                  <a:pt x="360" y="124"/>
                </a:cubicBezTo>
                <a:cubicBezTo>
                  <a:pt x="360" y="125"/>
                  <a:pt x="360" y="125"/>
                  <a:pt x="360" y="125"/>
                </a:cubicBezTo>
                <a:cubicBezTo>
                  <a:pt x="360" y="126"/>
                  <a:pt x="360" y="126"/>
                  <a:pt x="360" y="126"/>
                </a:cubicBezTo>
                <a:cubicBezTo>
                  <a:pt x="358" y="127"/>
                  <a:pt x="358" y="127"/>
                  <a:pt x="358" y="127"/>
                </a:cubicBezTo>
                <a:cubicBezTo>
                  <a:pt x="357" y="128"/>
                  <a:pt x="357" y="128"/>
                  <a:pt x="357" y="128"/>
                </a:cubicBezTo>
                <a:cubicBezTo>
                  <a:pt x="356" y="129"/>
                  <a:pt x="356" y="129"/>
                  <a:pt x="356" y="129"/>
                </a:cubicBezTo>
                <a:cubicBezTo>
                  <a:pt x="355" y="130"/>
                  <a:pt x="355" y="130"/>
                  <a:pt x="355" y="130"/>
                </a:cubicBezTo>
                <a:cubicBezTo>
                  <a:pt x="355" y="131"/>
                  <a:pt x="355" y="131"/>
                  <a:pt x="355" y="131"/>
                </a:cubicBezTo>
                <a:cubicBezTo>
                  <a:pt x="354" y="132"/>
                  <a:pt x="354" y="132"/>
                  <a:pt x="354" y="132"/>
                </a:cubicBezTo>
                <a:cubicBezTo>
                  <a:pt x="353" y="133"/>
                  <a:pt x="353" y="133"/>
                  <a:pt x="353" y="133"/>
                </a:cubicBezTo>
                <a:cubicBezTo>
                  <a:pt x="353" y="134"/>
                  <a:pt x="353" y="134"/>
                  <a:pt x="353" y="134"/>
                </a:cubicBezTo>
                <a:cubicBezTo>
                  <a:pt x="354" y="135"/>
                  <a:pt x="354" y="135"/>
                  <a:pt x="354" y="135"/>
                </a:cubicBezTo>
                <a:cubicBezTo>
                  <a:pt x="354" y="136"/>
                  <a:pt x="354" y="136"/>
                  <a:pt x="354" y="136"/>
                </a:cubicBezTo>
                <a:cubicBezTo>
                  <a:pt x="353" y="136"/>
                  <a:pt x="353" y="136"/>
                  <a:pt x="353" y="136"/>
                </a:cubicBezTo>
                <a:cubicBezTo>
                  <a:pt x="353" y="137"/>
                  <a:pt x="353" y="137"/>
                  <a:pt x="353" y="137"/>
                </a:cubicBezTo>
                <a:cubicBezTo>
                  <a:pt x="354" y="138"/>
                  <a:pt x="354" y="138"/>
                  <a:pt x="354" y="138"/>
                </a:cubicBezTo>
                <a:cubicBezTo>
                  <a:pt x="353" y="139"/>
                  <a:pt x="353" y="139"/>
                  <a:pt x="353" y="139"/>
                </a:cubicBezTo>
                <a:cubicBezTo>
                  <a:pt x="352" y="140"/>
                  <a:pt x="352" y="140"/>
                  <a:pt x="352" y="140"/>
                </a:cubicBezTo>
                <a:cubicBezTo>
                  <a:pt x="353" y="141"/>
                  <a:pt x="353" y="141"/>
                  <a:pt x="353" y="141"/>
                </a:cubicBezTo>
                <a:cubicBezTo>
                  <a:pt x="354" y="141"/>
                  <a:pt x="354" y="141"/>
                  <a:pt x="354" y="141"/>
                </a:cubicBezTo>
                <a:cubicBezTo>
                  <a:pt x="354" y="142"/>
                  <a:pt x="354" y="142"/>
                  <a:pt x="354" y="142"/>
                </a:cubicBezTo>
                <a:cubicBezTo>
                  <a:pt x="355" y="143"/>
                  <a:pt x="355" y="143"/>
                  <a:pt x="355" y="143"/>
                </a:cubicBezTo>
                <a:cubicBezTo>
                  <a:pt x="355" y="143"/>
                  <a:pt x="355" y="143"/>
                  <a:pt x="355" y="143"/>
                </a:cubicBezTo>
                <a:cubicBezTo>
                  <a:pt x="355" y="142"/>
                  <a:pt x="355" y="142"/>
                  <a:pt x="355" y="142"/>
                </a:cubicBezTo>
                <a:cubicBezTo>
                  <a:pt x="356" y="141"/>
                  <a:pt x="356" y="141"/>
                  <a:pt x="356" y="141"/>
                </a:cubicBezTo>
                <a:cubicBezTo>
                  <a:pt x="356" y="142"/>
                  <a:pt x="356" y="142"/>
                  <a:pt x="356" y="142"/>
                </a:cubicBezTo>
                <a:cubicBezTo>
                  <a:pt x="357" y="142"/>
                  <a:pt x="357" y="142"/>
                  <a:pt x="357" y="142"/>
                </a:cubicBezTo>
                <a:cubicBezTo>
                  <a:pt x="358" y="140"/>
                  <a:pt x="358" y="140"/>
                  <a:pt x="358" y="140"/>
                </a:cubicBezTo>
                <a:cubicBezTo>
                  <a:pt x="359" y="141"/>
                  <a:pt x="359" y="141"/>
                  <a:pt x="359" y="141"/>
                </a:cubicBezTo>
                <a:cubicBezTo>
                  <a:pt x="358" y="142"/>
                  <a:pt x="358" y="142"/>
                  <a:pt x="358" y="142"/>
                </a:cubicBezTo>
                <a:cubicBezTo>
                  <a:pt x="357" y="142"/>
                  <a:pt x="357" y="142"/>
                  <a:pt x="357" y="142"/>
                </a:cubicBezTo>
                <a:cubicBezTo>
                  <a:pt x="357" y="143"/>
                  <a:pt x="357" y="143"/>
                  <a:pt x="357" y="143"/>
                </a:cubicBezTo>
                <a:cubicBezTo>
                  <a:pt x="357" y="144"/>
                  <a:pt x="357" y="144"/>
                  <a:pt x="357" y="144"/>
                </a:cubicBezTo>
                <a:cubicBezTo>
                  <a:pt x="357" y="144"/>
                  <a:pt x="357" y="144"/>
                  <a:pt x="357" y="144"/>
                </a:cubicBezTo>
                <a:cubicBezTo>
                  <a:pt x="358" y="146"/>
                  <a:pt x="358" y="146"/>
                  <a:pt x="358" y="146"/>
                </a:cubicBezTo>
                <a:cubicBezTo>
                  <a:pt x="360" y="145"/>
                  <a:pt x="360" y="145"/>
                  <a:pt x="360" y="145"/>
                </a:cubicBezTo>
                <a:cubicBezTo>
                  <a:pt x="360" y="146"/>
                  <a:pt x="360" y="146"/>
                  <a:pt x="360" y="146"/>
                </a:cubicBezTo>
                <a:cubicBezTo>
                  <a:pt x="361" y="146"/>
                  <a:pt x="361" y="146"/>
                  <a:pt x="361" y="146"/>
                </a:cubicBezTo>
                <a:cubicBezTo>
                  <a:pt x="362" y="145"/>
                  <a:pt x="362" y="145"/>
                  <a:pt x="362" y="145"/>
                </a:cubicBezTo>
                <a:cubicBezTo>
                  <a:pt x="364" y="145"/>
                  <a:pt x="364" y="145"/>
                  <a:pt x="364" y="145"/>
                </a:cubicBezTo>
                <a:cubicBezTo>
                  <a:pt x="363" y="143"/>
                  <a:pt x="363" y="143"/>
                  <a:pt x="363" y="143"/>
                </a:cubicBezTo>
                <a:cubicBezTo>
                  <a:pt x="364" y="143"/>
                  <a:pt x="364" y="143"/>
                  <a:pt x="364" y="143"/>
                </a:cubicBezTo>
                <a:cubicBezTo>
                  <a:pt x="365" y="143"/>
                  <a:pt x="365" y="143"/>
                  <a:pt x="365" y="143"/>
                </a:cubicBezTo>
                <a:cubicBezTo>
                  <a:pt x="365" y="144"/>
                  <a:pt x="365" y="144"/>
                  <a:pt x="365" y="144"/>
                </a:cubicBezTo>
                <a:cubicBezTo>
                  <a:pt x="365" y="144"/>
                  <a:pt x="365" y="144"/>
                  <a:pt x="365" y="144"/>
                </a:cubicBezTo>
                <a:cubicBezTo>
                  <a:pt x="365" y="145"/>
                  <a:pt x="365" y="145"/>
                  <a:pt x="365" y="145"/>
                </a:cubicBezTo>
                <a:cubicBezTo>
                  <a:pt x="365" y="145"/>
                  <a:pt x="365" y="145"/>
                  <a:pt x="365" y="145"/>
                </a:cubicBezTo>
                <a:cubicBezTo>
                  <a:pt x="366" y="143"/>
                  <a:pt x="366" y="143"/>
                  <a:pt x="366" y="143"/>
                </a:cubicBezTo>
                <a:cubicBezTo>
                  <a:pt x="367" y="143"/>
                  <a:pt x="367" y="143"/>
                  <a:pt x="367" y="143"/>
                </a:cubicBezTo>
                <a:cubicBezTo>
                  <a:pt x="367" y="143"/>
                  <a:pt x="367" y="143"/>
                  <a:pt x="367" y="143"/>
                </a:cubicBezTo>
                <a:cubicBezTo>
                  <a:pt x="367" y="145"/>
                  <a:pt x="367" y="145"/>
                  <a:pt x="367" y="145"/>
                </a:cubicBezTo>
                <a:cubicBezTo>
                  <a:pt x="365" y="147"/>
                  <a:pt x="365" y="147"/>
                  <a:pt x="365" y="147"/>
                </a:cubicBezTo>
                <a:cubicBezTo>
                  <a:pt x="365" y="147"/>
                  <a:pt x="365" y="147"/>
                  <a:pt x="365" y="147"/>
                </a:cubicBezTo>
                <a:cubicBezTo>
                  <a:pt x="365" y="148"/>
                  <a:pt x="365" y="148"/>
                  <a:pt x="365" y="148"/>
                </a:cubicBezTo>
                <a:cubicBezTo>
                  <a:pt x="366" y="149"/>
                  <a:pt x="366" y="149"/>
                  <a:pt x="366" y="149"/>
                </a:cubicBezTo>
                <a:cubicBezTo>
                  <a:pt x="367" y="150"/>
                  <a:pt x="367" y="150"/>
                  <a:pt x="367" y="150"/>
                </a:cubicBezTo>
                <a:cubicBezTo>
                  <a:pt x="368" y="150"/>
                  <a:pt x="368" y="150"/>
                  <a:pt x="368" y="150"/>
                </a:cubicBezTo>
                <a:cubicBezTo>
                  <a:pt x="368" y="150"/>
                  <a:pt x="368" y="150"/>
                  <a:pt x="368" y="150"/>
                </a:cubicBezTo>
                <a:cubicBezTo>
                  <a:pt x="370" y="150"/>
                  <a:pt x="370" y="150"/>
                  <a:pt x="370" y="150"/>
                </a:cubicBezTo>
                <a:cubicBezTo>
                  <a:pt x="370" y="149"/>
                  <a:pt x="370" y="149"/>
                  <a:pt x="370" y="149"/>
                </a:cubicBezTo>
                <a:cubicBezTo>
                  <a:pt x="371" y="149"/>
                  <a:pt x="371" y="149"/>
                  <a:pt x="371" y="149"/>
                </a:cubicBezTo>
                <a:cubicBezTo>
                  <a:pt x="371" y="150"/>
                  <a:pt x="371" y="150"/>
                  <a:pt x="371" y="150"/>
                </a:cubicBezTo>
                <a:cubicBezTo>
                  <a:pt x="371" y="151"/>
                  <a:pt x="371" y="151"/>
                  <a:pt x="371" y="151"/>
                </a:cubicBezTo>
                <a:cubicBezTo>
                  <a:pt x="372" y="151"/>
                  <a:pt x="372" y="151"/>
                  <a:pt x="372" y="151"/>
                </a:cubicBezTo>
                <a:cubicBezTo>
                  <a:pt x="373" y="151"/>
                  <a:pt x="373" y="151"/>
                  <a:pt x="373" y="151"/>
                </a:cubicBezTo>
                <a:cubicBezTo>
                  <a:pt x="374" y="151"/>
                  <a:pt x="374" y="151"/>
                  <a:pt x="374" y="151"/>
                </a:cubicBezTo>
                <a:cubicBezTo>
                  <a:pt x="373" y="150"/>
                  <a:pt x="373" y="150"/>
                  <a:pt x="373" y="150"/>
                </a:cubicBezTo>
                <a:cubicBezTo>
                  <a:pt x="373" y="149"/>
                  <a:pt x="373" y="149"/>
                  <a:pt x="373" y="149"/>
                </a:cubicBezTo>
                <a:cubicBezTo>
                  <a:pt x="374" y="148"/>
                  <a:pt x="374" y="148"/>
                  <a:pt x="374" y="148"/>
                </a:cubicBezTo>
                <a:cubicBezTo>
                  <a:pt x="374" y="149"/>
                  <a:pt x="374" y="149"/>
                  <a:pt x="374" y="149"/>
                </a:cubicBezTo>
                <a:cubicBezTo>
                  <a:pt x="374" y="150"/>
                  <a:pt x="374" y="150"/>
                  <a:pt x="374" y="150"/>
                </a:cubicBezTo>
                <a:cubicBezTo>
                  <a:pt x="374" y="151"/>
                  <a:pt x="374" y="151"/>
                  <a:pt x="374" y="151"/>
                </a:cubicBezTo>
                <a:cubicBezTo>
                  <a:pt x="375" y="151"/>
                  <a:pt x="375" y="151"/>
                  <a:pt x="375" y="151"/>
                </a:cubicBezTo>
                <a:cubicBezTo>
                  <a:pt x="375" y="150"/>
                  <a:pt x="375" y="150"/>
                  <a:pt x="375" y="150"/>
                </a:cubicBezTo>
                <a:cubicBezTo>
                  <a:pt x="376" y="150"/>
                  <a:pt x="376" y="150"/>
                  <a:pt x="376" y="150"/>
                </a:cubicBezTo>
                <a:cubicBezTo>
                  <a:pt x="377" y="149"/>
                  <a:pt x="377" y="149"/>
                  <a:pt x="377" y="149"/>
                </a:cubicBezTo>
                <a:cubicBezTo>
                  <a:pt x="377" y="150"/>
                  <a:pt x="377" y="150"/>
                  <a:pt x="377" y="150"/>
                </a:cubicBezTo>
                <a:cubicBezTo>
                  <a:pt x="376" y="151"/>
                  <a:pt x="376" y="151"/>
                  <a:pt x="376" y="151"/>
                </a:cubicBezTo>
                <a:cubicBezTo>
                  <a:pt x="376" y="152"/>
                  <a:pt x="376" y="152"/>
                  <a:pt x="376" y="152"/>
                </a:cubicBezTo>
                <a:cubicBezTo>
                  <a:pt x="378" y="152"/>
                  <a:pt x="378" y="152"/>
                  <a:pt x="378" y="152"/>
                </a:cubicBezTo>
                <a:cubicBezTo>
                  <a:pt x="379" y="151"/>
                  <a:pt x="379" y="151"/>
                  <a:pt x="379" y="151"/>
                </a:cubicBezTo>
                <a:cubicBezTo>
                  <a:pt x="380" y="149"/>
                  <a:pt x="380" y="149"/>
                  <a:pt x="380" y="149"/>
                </a:cubicBezTo>
                <a:cubicBezTo>
                  <a:pt x="380" y="150"/>
                  <a:pt x="380" y="150"/>
                  <a:pt x="380" y="150"/>
                </a:cubicBezTo>
                <a:cubicBezTo>
                  <a:pt x="379" y="151"/>
                  <a:pt x="379" y="151"/>
                  <a:pt x="379" y="151"/>
                </a:cubicBezTo>
                <a:cubicBezTo>
                  <a:pt x="379" y="152"/>
                  <a:pt x="379" y="152"/>
                  <a:pt x="379" y="152"/>
                </a:cubicBezTo>
                <a:cubicBezTo>
                  <a:pt x="381" y="151"/>
                  <a:pt x="381" y="151"/>
                  <a:pt x="381" y="151"/>
                </a:cubicBezTo>
                <a:cubicBezTo>
                  <a:pt x="381" y="150"/>
                  <a:pt x="381" y="150"/>
                  <a:pt x="381" y="150"/>
                </a:cubicBezTo>
                <a:cubicBezTo>
                  <a:pt x="382" y="149"/>
                  <a:pt x="382" y="149"/>
                  <a:pt x="382" y="149"/>
                </a:cubicBezTo>
                <a:cubicBezTo>
                  <a:pt x="381" y="152"/>
                  <a:pt x="381" y="152"/>
                  <a:pt x="381" y="152"/>
                </a:cubicBezTo>
                <a:cubicBezTo>
                  <a:pt x="382" y="152"/>
                  <a:pt x="382" y="152"/>
                  <a:pt x="382" y="152"/>
                </a:cubicBezTo>
                <a:cubicBezTo>
                  <a:pt x="383" y="153"/>
                  <a:pt x="383" y="153"/>
                  <a:pt x="383" y="153"/>
                </a:cubicBezTo>
                <a:cubicBezTo>
                  <a:pt x="385" y="154"/>
                  <a:pt x="385" y="154"/>
                  <a:pt x="385" y="154"/>
                </a:cubicBezTo>
                <a:cubicBezTo>
                  <a:pt x="386" y="153"/>
                  <a:pt x="386" y="153"/>
                  <a:pt x="386" y="153"/>
                </a:cubicBezTo>
                <a:cubicBezTo>
                  <a:pt x="386" y="153"/>
                  <a:pt x="386" y="153"/>
                  <a:pt x="386" y="153"/>
                </a:cubicBezTo>
                <a:cubicBezTo>
                  <a:pt x="387" y="154"/>
                  <a:pt x="387" y="154"/>
                  <a:pt x="387" y="154"/>
                </a:cubicBezTo>
                <a:cubicBezTo>
                  <a:pt x="388" y="153"/>
                  <a:pt x="388" y="153"/>
                  <a:pt x="388" y="153"/>
                </a:cubicBezTo>
                <a:cubicBezTo>
                  <a:pt x="389" y="153"/>
                  <a:pt x="389" y="153"/>
                  <a:pt x="389" y="153"/>
                </a:cubicBezTo>
                <a:cubicBezTo>
                  <a:pt x="389" y="151"/>
                  <a:pt x="389" y="151"/>
                  <a:pt x="389" y="151"/>
                </a:cubicBezTo>
                <a:cubicBezTo>
                  <a:pt x="390" y="150"/>
                  <a:pt x="390" y="150"/>
                  <a:pt x="390" y="150"/>
                </a:cubicBezTo>
                <a:cubicBezTo>
                  <a:pt x="391" y="149"/>
                  <a:pt x="391" y="149"/>
                  <a:pt x="391" y="149"/>
                </a:cubicBezTo>
                <a:cubicBezTo>
                  <a:pt x="390" y="148"/>
                  <a:pt x="390" y="148"/>
                  <a:pt x="390" y="148"/>
                </a:cubicBezTo>
                <a:cubicBezTo>
                  <a:pt x="391" y="147"/>
                  <a:pt x="391" y="147"/>
                  <a:pt x="391" y="147"/>
                </a:cubicBezTo>
                <a:cubicBezTo>
                  <a:pt x="391" y="147"/>
                  <a:pt x="391" y="147"/>
                  <a:pt x="391" y="147"/>
                </a:cubicBezTo>
                <a:cubicBezTo>
                  <a:pt x="391" y="149"/>
                  <a:pt x="391" y="149"/>
                  <a:pt x="391" y="149"/>
                </a:cubicBezTo>
                <a:cubicBezTo>
                  <a:pt x="392" y="149"/>
                  <a:pt x="392" y="149"/>
                  <a:pt x="392" y="149"/>
                </a:cubicBezTo>
                <a:cubicBezTo>
                  <a:pt x="392" y="150"/>
                  <a:pt x="392" y="150"/>
                  <a:pt x="392" y="150"/>
                </a:cubicBezTo>
                <a:cubicBezTo>
                  <a:pt x="391" y="150"/>
                  <a:pt x="391" y="150"/>
                  <a:pt x="391" y="150"/>
                </a:cubicBezTo>
                <a:cubicBezTo>
                  <a:pt x="390" y="152"/>
                  <a:pt x="390" y="152"/>
                  <a:pt x="390" y="152"/>
                </a:cubicBezTo>
                <a:cubicBezTo>
                  <a:pt x="391" y="155"/>
                  <a:pt x="391" y="155"/>
                  <a:pt x="391" y="155"/>
                </a:cubicBezTo>
                <a:close/>
                <a:moveTo>
                  <a:pt x="348" y="98"/>
                </a:moveTo>
                <a:cubicBezTo>
                  <a:pt x="349" y="98"/>
                  <a:pt x="349" y="98"/>
                  <a:pt x="349" y="98"/>
                </a:cubicBezTo>
                <a:cubicBezTo>
                  <a:pt x="349" y="97"/>
                  <a:pt x="349" y="97"/>
                  <a:pt x="349" y="97"/>
                </a:cubicBezTo>
                <a:cubicBezTo>
                  <a:pt x="348" y="97"/>
                  <a:pt x="348" y="97"/>
                  <a:pt x="348" y="97"/>
                </a:cubicBezTo>
                <a:cubicBezTo>
                  <a:pt x="347" y="97"/>
                  <a:pt x="347" y="97"/>
                  <a:pt x="347" y="97"/>
                </a:cubicBezTo>
                <a:cubicBezTo>
                  <a:pt x="348" y="98"/>
                  <a:pt x="348" y="98"/>
                  <a:pt x="348" y="98"/>
                </a:cubicBezTo>
                <a:close/>
                <a:moveTo>
                  <a:pt x="345" y="106"/>
                </a:moveTo>
                <a:cubicBezTo>
                  <a:pt x="346" y="105"/>
                  <a:pt x="346" y="105"/>
                  <a:pt x="346" y="105"/>
                </a:cubicBezTo>
                <a:cubicBezTo>
                  <a:pt x="347" y="104"/>
                  <a:pt x="347" y="104"/>
                  <a:pt x="347" y="104"/>
                </a:cubicBezTo>
                <a:cubicBezTo>
                  <a:pt x="347" y="105"/>
                  <a:pt x="347" y="105"/>
                  <a:pt x="347" y="105"/>
                </a:cubicBezTo>
                <a:cubicBezTo>
                  <a:pt x="346" y="105"/>
                  <a:pt x="346" y="105"/>
                  <a:pt x="346" y="105"/>
                </a:cubicBezTo>
                <a:cubicBezTo>
                  <a:pt x="345" y="106"/>
                  <a:pt x="345" y="106"/>
                  <a:pt x="345" y="106"/>
                </a:cubicBezTo>
                <a:close/>
                <a:moveTo>
                  <a:pt x="315" y="116"/>
                </a:moveTo>
                <a:cubicBezTo>
                  <a:pt x="315" y="117"/>
                  <a:pt x="315" y="117"/>
                  <a:pt x="315" y="117"/>
                </a:cubicBezTo>
                <a:cubicBezTo>
                  <a:pt x="315" y="118"/>
                  <a:pt x="315" y="118"/>
                  <a:pt x="315" y="118"/>
                </a:cubicBezTo>
                <a:cubicBezTo>
                  <a:pt x="316" y="117"/>
                  <a:pt x="316" y="117"/>
                  <a:pt x="316" y="117"/>
                </a:cubicBezTo>
                <a:cubicBezTo>
                  <a:pt x="315" y="116"/>
                  <a:pt x="315" y="116"/>
                  <a:pt x="315" y="116"/>
                </a:cubicBezTo>
                <a:close/>
                <a:moveTo>
                  <a:pt x="335" y="97"/>
                </a:moveTo>
                <a:cubicBezTo>
                  <a:pt x="335" y="98"/>
                  <a:pt x="335" y="98"/>
                  <a:pt x="335" y="98"/>
                </a:cubicBezTo>
                <a:cubicBezTo>
                  <a:pt x="336" y="99"/>
                  <a:pt x="336" y="99"/>
                  <a:pt x="336" y="99"/>
                </a:cubicBezTo>
                <a:cubicBezTo>
                  <a:pt x="336" y="100"/>
                  <a:pt x="336" y="100"/>
                  <a:pt x="336" y="100"/>
                </a:cubicBezTo>
                <a:cubicBezTo>
                  <a:pt x="336" y="99"/>
                  <a:pt x="336" y="99"/>
                  <a:pt x="336" y="99"/>
                </a:cubicBezTo>
                <a:cubicBezTo>
                  <a:pt x="336" y="98"/>
                  <a:pt x="336" y="98"/>
                  <a:pt x="336" y="98"/>
                </a:cubicBezTo>
                <a:cubicBezTo>
                  <a:pt x="335" y="97"/>
                  <a:pt x="335" y="97"/>
                  <a:pt x="335" y="97"/>
                </a:cubicBezTo>
                <a:cubicBezTo>
                  <a:pt x="335" y="97"/>
                  <a:pt x="335" y="97"/>
                  <a:pt x="335" y="97"/>
                </a:cubicBezTo>
                <a:close/>
                <a:moveTo>
                  <a:pt x="325" y="98"/>
                </a:moveTo>
                <a:cubicBezTo>
                  <a:pt x="325" y="99"/>
                  <a:pt x="325" y="99"/>
                  <a:pt x="325" y="99"/>
                </a:cubicBezTo>
                <a:cubicBezTo>
                  <a:pt x="326" y="99"/>
                  <a:pt x="326" y="99"/>
                  <a:pt x="326" y="99"/>
                </a:cubicBezTo>
                <a:cubicBezTo>
                  <a:pt x="327" y="99"/>
                  <a:pt x="327" y="99"/>
                  <a:pt x="327" y="99"/>
                </a:cubicBezTo>
                <a:cubicBezTo>
                  <a:pt x="328" y="98"/>
                  <a:pt x="328" y="98"/>
                  <a:pt x="328" y="98"/>
                </a:cubicBezTo>
                <a:cubicBezTo>
                  <a:pt x="329" y="99"/>
                  <a:pt x="329" y="99"/>
                  <a:pt x="329" y="99"/>
                </a:cubicBezTo>
                <a:cubicBezTo>
                  <a:pt x="331" y="97"/>
                  <a:pt x="331" y="97"/>
                  <a:pt x="331" y="97"/>
                </a:cubicBezTo>
                <a:cubicBezTo>
                  <a:pt x="332" y="97"/>
                  <a:pt x="332" y="97"/>
                  <a:pt x="332" y="97"/>
                </a:cubicBezTo>
                <a:cubicBezTo>
                  <a:pt x="333" y="97"/>
                  <a:pt x="333" y="97"/>
                  <a:pt x="333" y="97"/>
                </a:cubicBezTo>
                <a:cubicBezTo>
                  <a:pt x="333" y="97"/>
                  <a:pt x="333" y="97"/>
                  <a:pt x="333" y="97"/>
                </a:cubicBezTo>
                <a:cubicBezTo>
                  <a:pt x="331" y="96"/>
                  <a:pt x="331" y="96"/>
                  <a:pt x="331" y="96"/>
                </a:cubicBezTo>
                <a:cubicBezTo>
                  <a:pt x="329" y="97"/>
                  <a:pt x="329" y="97"/>
                  <a:pt x="329" y="97"/>
                </a:cubicBezTo>
                <a:cubicBezTo>
                  <a:pt x="329" y="97"/>
                  <a:pt x="328" y="97"/>
                  <a:pt x="328" y="97"/>
                </a:cubicBezTo>
                <a:cubicBezTo>
                  <a:pt x="328" y="97"/>
                  <a:pt x="327" y="97"/>
                  <a:pt x="327" y="97"/>
                </a:cubicBezTo>
                <a:cubicBezTo>
                  <a:pt x="326" y="97"/>
                  <a:pt x="326" y="97"/>
                  <a:pt x="326" y="97"/>
                </a:cubicBezTo>
                <a:cubicBezTo>
                  <a:pt x="325" y="98"/>
                  <a:pt x="325" y="98"/>
                  <a:pt x="325" y="98"/>
                </a:cubicBezTo>
                <a:close/>
                <a:moveTo>
                  <a:pt x="316" y="101"/>
                </a:moveTo>
                <a:cubicBezTo>
                  <a:pt x="315" y="100"/>
                  <a:pt x="315" y="100"/>
                  <a:pt x="315" y="100"/>
                </a:cubicBezTo>
                <a:cubicBezTo>
                  <a:pt x="313" y="100"/>
                  <a:pt x="313" y="100"/>
                  <a:pt x="313" y="100"/>
                </a:cubicBezTo>
                <a:cubicBezTo>
                  <a:pt x="312" y="100"/>
                  <a:pt x="312" y="100"/>
                  <a:pt x="312" y="100"/>
                </a:cubicBezTo>
                <a:cubicBezTo>
                  <a:pt x="312" y="98"/>
                  <a:pt x="312" y="98"/>
                  <a:pt x="312" y="98"/>
                </a:cubicBezTo>
                <a:cubicBezTo>
                  <a:pt x="313" y="97"/>
                  <a:pt x="313" y="97"/>
                  <a:pt x="313" y="97"/>
                </a:cubicBezTo>
                <a:cubicBezTo>
                  <a:pt x="313" y="96"/>
                  <a:pt x="313" y="96"/>
                  <a:pt x="313" y="96"/>
                </a:cubicBezTo>
                <a:cubicBezTo>
                  <a:pt x="313" y="96"/>
                  <a:pt x="313" y="96"/>
                  <a:pt x="313" y="96"/>
                </a:cubicBezTo>
                <a:cubicBezTo>
                  <a:pt x="313" y="95"/>
                  <a:pt x="313" y="95"/>
                  <a:pt x="313" y="95"/>
                </a:cubicBezTo>
                <a:cubicBezTo>
                  <a:pt x="314" y="94"/>
                  <a:pt x="314" y="94"/>
                  <a:pt x="314" y="94"/>
                </a:cubicBezTo>
                <a:cubicBezTo>
                  <a:pt x="315" y="94"/>
                  <a:pt x="315" y="94"/>
                  <a:pt x="315" y="94"/>
                </a:cubicBezTo>
                <a:cubicBezTo>
                  <a:pt x="316" y="94"/>
                  <a:pt x="316" y="94"/>
                  <a:pt x="316" y="94"/>
                </a:cubicBezTo>
                <a:cubicBezTo>
                  <a:pt x="316" y="95"/>
                  <a:pt x="316" y="95"/>
                  <a:pt x="316" y="95"/>
                </a:cubicBezTo>
                <a:cubicBezTo>
                  <a:pt x="316" y="95"/>
                  <a:pt x="316" y="95"/>
                  <a:pt x="316" y="95"/>
                </a:cubicBezTo>
                <a:cubicBezTo>
                  <a:pt x="316" y="96"/>
                  <a:pt x="316" y="96"/>
                  <a:pt x="316" y="96"/>
                </a:cubicBezTo>
                <a:cubicBezTo>
                  <a:pt x="315" y="96"/>
                  <a:pt x="315" y="96"/>
                  <a:pt x="315" y="96"/>
                </a:cubicBezTo>
                <a:cubicBezTo>
                  <a:pt x="316" y="96"/>
                  <a:pt x="316" y="96"/>
                  <a:pt x="316" y="96"/>
                </a:cubicBezTo>
                <a:cubicBezTo>
                  <a:pt x="317" y="96"/>
                  <a:pt x="317" y="96"/>
                  <a:pt x="317" y="96"/>
                </a:cubicBezTo>
                <a:cubicBezTo>
                  <a:pt x="317" y="97"/>
                  <a:pt x="317" y="97"/>
                  <a:pt x="317" y="97"/>
                </a:cubicBezTo>
                <a:cubicBezTo>
                  <a:pt x="317" y="98"/>
                  <a:pt x="317" y="98"/>
                  <a:pt x="317" y="98"/>
                </a:cubicBezTo>
                <a:cubicBezTo>
                  <a:pt x="317" y="99"/>
                  <a:pt x="317" y="99"/>
                  <a:pt x="317" y="99"/>
                </a:cubicBezTo>
                <a:cubicBezTo>
                  <a:pt x="317" y="100"/>
                  <a:pt x="317" y="100"/>
                  <a:pt x="317" y="100"/>
                </a:cubicBezTo>
                <a:cubicBezTo>
                  <a:pt x="317" y="101"/>
                  <a:pt x="317" y="101"/>
                  <a:pt x="317" y="101"/>
                </a:cubicBezTo>
                <a:cubicBezTo>
                  <a:pt x="316" y="101"/>
                  <a:pt x="316" y="101"/>
                  <a:pt x="316" y="101"/>
                </a:cubicBezTo>
                <a:close/>
                <a:moveTo>
                  <a:pt x="314" y="106"/>
                </a:moveTo>
                <a:cubicBezTo>
                  <a:pt x="317" y="106"/>
                  <a:pt x="317" y="106"/>
                  <a:pt x="317" y="106"/>
                </a:cubicBezTo>
                <a:cubicBezTo>
                  <a:pt x="317" y="105"/>
                  <a:pt x="317" y="105"/>
                  <a:pt x="317" y="105"/>
                </a:cubicBezTo>
                <a:cubicBezTo>
                  <a:pt x="318" y="103"/>
                  <a:pt x="318" y="103"/>
                  <a:pt x="318" y="103"/>
                </a:cubicBezTo>
                <a:cubicBezTo>
                  <a:pt x="317" y="102"/>
                  <a:pt x="317" y="102"/>
                  <a:pt x="317" y="102"/>
                </a:cubicBezTo>
                <a:cubicBezTo>
                  <a:pt x="316" y="103"/>
                  <a:pt x="316" y="103"/>
                  <a:pt x="316" y="103"/>
                </a:cubicBezTo>
                <a:cubicBezTo>
                  <a:pt x="315" y="102"/>
                  <a:pt x="315" y="102"/>
                  <a:pt x="315" y="102"/>
                </a:cubicBezTo>
                <a:cubicBezTo>
                  <a:pt x="313" y="102"/>
                  <a:pt x="313" y="102"/>
                  <a:pt x="313" y="102"/>
                </a:cubicBezTo>
                <a:cubicBezTo>
                  <a:pt x="312" y="102"/>
                  <a:pt x="312" y="102"/>
                  <a:pt x="312" y="102"/>
                </a:cubicBezTo>
                <a:cubicBezTo>
                  <a:pt x="311" y="102"/>
                  <a:pt x="311" y="102"/>
                  <a:pt x="311" y="102"/>
                </a:cubicBezTo>
                <a:cubicBezTo>
                  <a:pt x="311" y="102"/>
                  <a:pt x="311" y="102"/>
                  <a:pt x="311" y="102"/>
                </a:cubicBezTo>
                <a:cubicBezTo>
                  <a:pt x="310" y="103"/>
                  <a:pt x="310" y="103"/>
                  <a:pt x="310" y="103"/>
                </a:cubicBezTo>
                <a:cubicBezTo>
                  <a:pt x="310" y="103"/>
                  <a:pt x="310" y="103"/>
                  <a:pt x="310" y="103"/>
                </a:cubicBezTo>
                <a:cubicBezTo>
                  <a:pt x="310" y="104"/>
                  <a:pt x="310" y="104"/>
                  <a:pt x="310" y="104"/>
                </a:cubicBezTo>
                <a:cubicBezTo>
                  <a:pt x="310" y="104"/>
                  <a:pt x="310" y="104"/>
                  <a:pt x="310" y="104"/>
                </a:cubicBezTo>
                <a:cubicBezTo>
                  <a:pt x="311" y="105"/>
                  <a:pt x="311" y="105"/>
                  <a:pt x="311" y="105"/>
                </a:cubicBezTo>
                <a:cubicBezTo>
                  <a:pt x="312" y="105"/>
                  <a:pt x="312" y="105"/>
                  <a:pt x="312" y="105"/>
                </a:cubicBezTo>
                <a:cubicBezTo>
                  <a:pt x="313" y="106"/>
                  <a:pt x="313" y="106"/>
                  <a:pt x="313" y="106"/>
                </a:cubicBezTo>
                <a:cubicBezTo>
                  <a:pt x="314" y="106"/>
                  <a:pt x="314" y="106"/>
                  <a:pt x="314" y="106"/>
                </a:cubicBezTo>
                <a:close/>
                <a:moveTo>
                  <a:pt x="310" y="108"/>
                </a:moveTo>
                <a:cubicBezTo>
                  <a:pt x="312" y="108"/>
                  <a:pt x="312" y="108"/>
                  <a:pt x="312" y="108"/>
                </a:cubicBezTo>
                <a:cubicBezTo>
                  <a:pt x="314" y="108"/>
                  <a:pt x="314" y="108"/>
                  <a:pt x="314" y="108"/>
                </a:cubicBezTo>
                <a:cubicBezTo>
                  <a:pt x="315" y="108"/>
                  <a:pt x="315" y="108"/>
                  <a:pt x="315" y="108"/>
                </a:cubicBezTo>
                <a:cubicBezTo>
                  <a:pt x="315" y="108"/>
                  <a:pt x="315" y="108"/>
                  <a:pt x="315" y="108"/>
                </a:cubicBezTo>
                <a:cubicBezTo>
                  <a:pt x="316" y="108"/>
                  <a:pt x="316" y="108"/>
                  <a:pt x="316" y="108"/>
                </a:cubicBezTo>
                <a:cubicBezTo>
                  <a:pt x="317" y="108"/>
                  <a:pt x="317" y="108"/>
                  <a:pt x="317" y="108"/>
                </a:cubicBezTo>
                <a:cubicBezTo>
                  <a:pt x="317" y="107"/>
                  <a:pt x="317" y="107"/>
                  <a:pt x="317" y="107"/>
                </a:cubicBezTo>
                <a:cubicBezTo>
                  <a:pt x="316" y="107"/>
                  <a:pt x="316" y="107"/>
                  <a:pt x="316" y="107"/>
                </a:cubicBezTo>
                <a:cubicBezTo>
                  <a:pt x="313" y="107"/>
                  <a:pt x="313" y="107"/>
                  <a:pt x="313" y="107"/>
                </a:cubicBezTo>
                <a:cubicBezTo>
                  <a:pt x="312" y="107"/>
                  <a:pt x="312" y="107"/>
                  <a:pt x="312" y="107"/>
                </a:cubicBezTo>
                <a:cubicBezTo>
                  <a:pt x="312" y="107"/>
                  <a:pt x="312" y="107"/>
                  <a:pt x="312" y="107"/>
                </a:cubicBezTo>
                <a:cubicBezTo>
                  <a:pt x="310" y="107"/>
                  <a:pt x="310" y="107"/>
                  <a:pt x="310" y="107"/>
                </a:cubicBezTo>
                <a:cubicBezTo>
                  <a:pt x="309" y="107"/>
                  <a:pt x="309" y="107"/>
                  <a:pt x="309" y="107"/>
                </a:cubicBezTo>
                <a:cubicBezTo>
                  <a:pt x="310" y="108"/>
                  <a:pt x="310" y="108"/>
                  <a:pt x="310" y="108"/>
                </a:cubicBezTo>
                <a:close/>
                <a:moveTo>
                  <a:pt x="309" y="111"/>
                </a:moveTo>
                <a:cubicBezTo>
                  <a:pt x="310" y="110"/>
                  <a:pt x="310" y="110"/>
                  <a:pt x="310" y="110"/>
                </a:cubicBezTo>
                <a:cubicBezTo>
                  <a:pt x="311" y="110"/>
                  <a:pt x="311" y="110"/>
                  <a:pt x="311" y="110"/>
                </a:cubicBezTo>
                <a:cubicBezTo>
                  <a:pt x="312" y="109"/>
                  <a:pt x="312" y="109"/>
                  <a:pt x="312" y="109"/>
                </a:cubicBezTo>
                <a:cubicBezTo>
                  <a:pt x="315" y="109"/>
                  <a:pt x="315" y="109"/>
                  <a:pt x="315" y="109"/>
                </a:cubicBezTo>
                <a:cubicBezTo>
                  <a:pt x="316" y="109"/>
                  <a:pt x="316" y="109"/>
                  <a:pt x="316" y="109"/>
                </a:cubicBezTo>
                <a:cubicBezTo>
                  <a:pt x="316" y="109"/>
                  <a:pt x="316" y="109"/>
                  <a:pt x="316" y="109"/>
                </a:cubicBezTo>
                <a:cubicBezTo>
                  <a:pt x="317" y="109"/>
                  <a:pt x="317" y="109"/>
                  <a:pt x="317" y="109"/>
                </a:cubicBezTo>
                <a:cubicBezTo>
                  <a:pt x="317" y="109"/>
                  <a:pt x="317" y="109"/>
                  <a:pt x="317" y="109"/>
                </a:cubicBezTo>
                <a:cubicBezTo>
                  <a:pt x="316" y="110"/>
                  <a:pt x="316" y="110"/>
                  <a:pt x="316" y="110"/>
                </a:cubicBezTo>
                <a:cubicBezTo>
                  <a:pt x="315" y="110"/>
                  <a:pt x="315" y="110"/>
                  <a:pt x="315" y="110"/>
                </a:cubicBezTo>
                <a:cubicBezTo>
                  <a:pt x="314" y="110"/>
                  <a:pt x="314" y="110"/>
                  <a:pt x="314" y="110"/>
                </a:cubicBezTo>
                <a:cubicBezTo>
                  <a:pt x="314" y="111"/>
                  <a:pt x="314" y="111"/>
                  <a:pt x="314" y="111"/>
                </a:cubicBezTo>
                <a:cubicBezTo>
                  <a:pt x="312" y="112"/>
                  <a:pt x="312" y="112"/>
                  <a:pt x="312" y="112"/>
                </a:cubicBezTo>
                <a:cubicBezTo>
                  <a:pt x="311" y="111"/>
                  <a:pt x="311" y="111"/>
                  <a:pt x="311" y="111"/>
                </a:cubicBezTo>
                <a:cubicBezTo>
                  <a:pt x="310" y="111"/>
                  <a:pt x="310" y="111"/>
                  <a:pt x="310" y="111"/>
                </a:cubicBezTo>
                <a:cubicBezTo>
                  <a:pt x="309" y="112"/>
                  <a:pt x="309" y="112"/>
                  <a:pt x="309" y="112"/>
                </a:cubicBezTo>
                <a:cubicBezTo>
                  <a:pt x="309" y="111"/>
                  <a:pt x="309" y="111"/>
                  <a:pt x="309" y="111"/>
                </a:cubicBezTo>
                <a:cubicBezTo>
                  <a:pt x="309" y="111"/>
                  <a:pt x="309" y="111"/>
                  <a:pt x="309" y="111"/>
                </a:cubicBezTo>
                <a:close/>
                <a:moveTo>
                  <a:pt x="280" y="73"/>
                </a:moveTo>
                <a:cubicBezTo>
                  <a:pt x="279" y="73"/>
                  <a:pt x="279" y="73"/>
                  <a:pt x="279" y="73"/>
                </a:cubicBezTo>
                <a:cubicBezTo>
                  <a:pt x="279" y="72"/>
                  <a:pt x="279" y="72"/>
                  <a:pt x="279" y="72"/>
                </a:cubicBezTo>
                <a:cubicBezTo>
                  <a:pt x="281" y="72"/>
                  <a:pt x="281" y="72"/>
                  <a:pt x="281" y="72"/>
                </a:cubicBezTo>
                <a:cubicBezTo>
                  <a:pt x="280" y="73"/>
                  <a:pt x="280" y="73"/>
                  <a:pt x="280" y="73"/>
                </a:cubicBezTo>
                <a:cubicBezTo>
                  <a:pt x="280" y="73"/>
                  <a:pt x="280" y="73"/>
                  <a:pt x="280" y="73"/>
                </a:cubicBezTo>
                <a:close/>
                <a:moveTo>
                  <a:pt x="271" y="77"/>
                </a:moveTo>
                <a:cubicBezTo>
                  <a:pt x="272" y="76"/>
                  <a:pt x="272" y="76"/>
                  <a:pt x="272" y="76"/>
                </a:cubicBezTo>
                <a:cubicBezTo>
                  <a:pt x="273" y="76"/>
                  <a:pt x="273" y="76"/>
                  <a:pt x="273" y="76"/>
                </a:cubicBezTo>
                <a:cubicBezTo>
                  <a:pt x="275" y="77"/>
                  <a:pt x="275" y="77"/>
                  <a:pt x="275" y="77"/>
                </a:cubicBezTo>
                <a:cubicBezTo>
                  <a:pt x="276" y="77"/>
                  <a:pt x="276" y="77"/>
                  <a:pt x="276" y="77"/>
                </a:cubicBezTo>
                <a:cubicBezTo>
                  <a:pt x="276" y="77"/>
                  <a:pt x="276" y="77"/>
                  <a:pt x="276" y="77"/>
                </a:cubicBezTo>
                <a:cubicBezTo>
                  <a:pt x="277" y="78"/>
                  <a:pt x="277" y="78"/>
                  <a:pt x="277" y="78"/>
                </a:cubicBezTo>
                <a:cubicBezTo>
                  <a:pt x="277" y="78"/>
                  <a:pt x="277" y="78"/>
                  <a:pt x="277" y="78"/>
                </a:cubicBezTo>
                <a:cubicBezTo>
                  <a:pt x="276" y="79"/>
                  <a:pt x="276" y="79"/>
                  <a:pt x="276" y="79"/>
                </a:cubicBezTo>
                <a:cubicBezTo>
                  <a:pt x="275" y="80"/>
                  <a:pt x="275" y="80"/>
                  <a:pt x="275" y="80"/>
                </a:cubicBezTo>
                <a:cubicBezTo>
                  <a:pt x="274" y="80"/>
                  <a:pt x="274" y="80"/>
                  <a:pt x="274" y="80"/>
                </a:cubicBezTo>
                <a:cubicBezTo>
                  <a:pt x="273" y="79"/>
                  <a:pt x="273" y="79"/>
                  <a:pt x="273" y="79"/>
                </a:cubicBezTo>
                <a:cubicBezTo>
                  <a:pt x="273" y="78"/>
                  <a:pt x="273" y="78"/>
                  <a:pt x="273" y="78"/>
                </a:cubicBezTo>
                <a:cubicBezTo>
                  <a:pt x="272" y="77"/>
                  <a:pt x="272" y="77"/>
                  <a:pt x="272" y="77"/>
                </a:cubicBezTo>
                <a:cubicBezTo>
                  <a:pt x="271" y="77"/>
                  <a:pt x="271" y="77"/>
                  <a:pt x="271" y="77"/>
                </a:cubicBezTo>
                <a:cubicBezTo>
                  <a:pt x="271" y="77"/>
                  <a:pt x="271" y="77"/>
                  <a:pt x="271" y="77"/>
                </a:cubicBezTo>
                <a:close/>
                <a:moveTo>
                  <a:pt x="227" y="79"/>
                </a:moveTo>
                <a:cubicBezTo>
                  <a:pt x="226" y="79"/>
                  <a:pt x="226" y="79"/>
                  <a:pt x="226" y="79"/>
                </a:cubicBezTo>
                <a:cubicBezTo>
                  <a:pt x="226" y="78"/>
                  <a:pt x="226" y="78"/>
                  <a:pt x="226" y="78"/>
                </a:cubicBezTo>
                <a:cubicBezTo>
                  <a:pt x="226" y="78"/>
                  <a:pt x="226" y="78"/>
                  <a:pt x="226" y="78"/>
                </a:cubicBezTo>
                <a:cubicBezTo>
                  <a:pt x="227" y="78"/>
                  <a:pt x="227" y="78"/>
                  <a:pt x="227" y="78"/>
                </a:cubicBezTo>
                <a:cubicBezTo>
                  <a:pt x="228" y="79"/>
                  <a:pt x="228" y="79"/>
                  <a:pt x="228" y="79"/>
                </a:cubicBezTo>
                <a:cubicBezTo>
                  <a:pt x="227" y="79"/>
                  <a:pt x="227" y="79"/>
                  <a:pt x="227" y="79"/>
                </a:cubicBezTo>
                <a:close/>
                <a:moveTo>
                  <a:pt x="232" y="85"/>
                </a:moveTo>
                <a:cubicBezTo>
                  <a:pt x="233" y="84"/>
                  <a:pt x="233" y="84"/>
                  <a:pt x="233" y="84"/>
                </a:cubicBezTo>
                <a:cubicBezTo>
                  <a:pt x="233" y="85"/>
                  <a:pt x="233" y="85"/>
                  <a:pt x="233" y="85"/>
                </a:cubicBezTo>
                <a:cubicBezTo>
                  <a:pt x="232" y="86"/>
                  <a:pt x="232" y="86"/>
                  <a:pt x="232" y="86"/>
                </a:cubicBezTo>
                <a:cubicBezTo>
                  <a:pt x="232" y="86"/>
                  <a:pt x="232" y="85"/>
                  <a:pt x="232" y="85"/>
                </a:cubicBezTo>
                <a:close/>
                <a:moveTo>
                  <a:pt x="234" y="83"/>
                </a:moveTo>
                <a:cubicBezTo>
                  <a:pt x="235" y="83"/>
                  <a:pt x="235" y="83"/>
                  <a:pt x="235" y="83"/>
                </a:cubicBezTo>
                <a:cubicBezTo>
                  <a:pt x="235" y="82"/>
                  <a:pt x="235" y="82"/>
                  <a:pt x="235" y="82"/>
                </a:cubicBezTo>
                <a:cubicBezTo>
                  <a:pt x="235" y="82"/>
                  <a:pt x="235" y="82"/>
                  <a:pt x="235" y="82"/>
                </a:cubicBezTo>
                <a:cubicBezTo>
                  <a:pt x="235" y="80"/>
                  <a:pt x="235" y="80"/>
                  <a:pt x="235" y="80"/>
                </a:cubicBezTo>
                <a:cubicBezTo>
                  <a:pt x="236" y="80"/>
                  <a:pt x="236" y="80"/>
                  <a:pt x="236" y="80"/>
                </a:cubicBezTo>
                <a:cubicBezTo>
                  <a:pt x="238" y="79"/>
                  <a:pt x="238" y="79"/>
                  <a:pt x="238" y="79"/>
                </a:cubicBezTo>
                <a:cubicBezTo>
                  <a:pt x="238" y="79"/>
                  <a:pt x="238" y="79"/>
                  <a:pt x="238" y="79"/>
                </a:cubicBezTo>
                <a:cubicBezTo>
                  <a:pt x="238" y="80"/>
                  <a:pt x="238" y="80"/>
                  <a:pt x="238" y="80"/>
                </a:cubicBezTo>
                <a:cubicBezTo>
                  <a:pt x="237" y="81"/>
                  <a:pt x="237" y="81"/>
                  <a:pt x="237" y="81"/>
                </a:cubicBezTo>
                <a:cubicBezTo>
                  <a:pt x="236" y="83"/>
                  <a:pt x="236" y="83"/>
                  <a:pt x="236" y="83"/>
                </a:cubicBezTo>
                <a:cubicBezTo>
                  <a:pt x="237" y="83"/>
                  <a:pt x="237" y="83"/>
                  <a:pt x="237" y="83"/>
                </a:cubicBezTo>
                <a:cubicBezTo>
                  <a:pt x="236" y="84"/>
                  <a:pt x="236" y="84"/>
                  <a:pt x="236" y="84"/>
                </a:cubicBezTo>
                <a:cubicBezTo>
                  <a:pt x="236" y="85"/>
                  <a:pt x="236" y="85"/>
                  <a:pt x="236" y="85"/>
                </a:cubicBezTo>
                <a:cubicBezTo>
                  <a:pt x="236" y="86"/>
                  <a:pt x="236" y="86"/>
                  <a:pt x="236" y="86"/>
                </a:cubicBezTo>
                <a:cubicBezTo>
                  <a:pt x="237" y="85"/>
                  <a:pt x="237" y="85"/>
                  <a:pt x="237" y="85"/>
                </a:cubicBezTo>
                <a:cubicBezTo>
                  <a:pt x="238" y="85"/>
                  <a:pt x="238" y="85"/>
                  <a:pt x="238" y="85"/>
                </a:cubicBezTo>
                <a:cubicBezTo>
                  <a:pt x="238" y="86"/>
                  <a:pt x="238" y="86"/>
                  <a:pt x="238" y="86"/>
                </a:cubicBezTo>
                <a:cubicBezTo>
                  <a:pt x="238" y="86"/>
                  <a:pt x="238" y="86"/>
                  <a:pt x="238" y="86"/>
                </a:cubicBezTo>
                <a:cubicBezTo>
                  <a:pt x="240" y="85"/>
                  <a:pt x="240" y="85"/>
                  <a:pt x="240" y="85"/>
                </a:cubicBezTo>
                <a:cubicBezTo>
                  <a:pt x="241" y="84"/>
                  <a:pt x="241" y="84"/>
                  <a:pt x="241" y="84"/>
                </a:cubicBezTo>
                <a:cubicBezTo>
                  <a:pt x="242" y="84"/>
                  <a:pt x="242" y="84"/>
                  <a:pt x="242" y="84"/>
                </a:cubicBezTo>
                <a:cubicBezTo>
                  <a:pt x="242" y="83"/>
                  <a:pt x="242" y="83"/>
                  <a:pt x="242" y="83"/>
                </a:cubicBezTo>
                <a:cubicBezTo>
                  <a:pt x="242" y="82"/>
                  <a:pt x="242" y="82"/>
                  <a:pt x="242" y="82"/>
                </a:cubicBezTo>
                <a:cubicBezTo>
                  <a:pt x="243" y="82"/>
                  <a:pt x="243" y="82"/>
                  <a:pt x="243" y="82"/>
                </a:cubicBezTo>
                <a:cubicBezTo>
                  <a:pt x="244" y="81"/>
                  <a:pt x="244" y="81"/>
                  <a:pt x="244" y="81"/>
                </a:cubicBezTo>
                <a:cubicBezTo>
                  <a:pt x="244" y="79"/>
                  <a:pt x="244" y="79"/>
                  <a:pt x="244" y="79"/>
                </a:cubicBezTo>
                <a:cubicBezTo>
                  <a:pt x="245" y="79"/>
                  <a:pt x="245" y="79"/>
                  <a:pt x="245" y="79"/>
                </a:cubicBezTo>
                <a:cubicBezTo>
                  <a:pt x="245" y="79"/>
                  <a:pt x="245" y="79"/>
                  <a:pt x="245" y="79"/>
                </a:cubicBezTo>
                <a:cubicBezTo>
                  <a:pt x="245" y="80"/>
                  <a:pt x="245" y="80"/>
                  <a:pt x="245" y="80"/>
                </a:cubicBezTo>
                <a:cubicBezTo>
                  <a:pt x="245" y="81"/>
                  <a:pt x="245" y="81"/>
                  <a:pt x="245" y="81"/>
                </a:cubicBezTo>
                <a:cubicBezTo>
                  <a:pt x="245" y="82"/>
                  <a:pt x="245" y="82"/>
                  <a:pt x="245" y="82"/>
                </a:cubicBezTo>
                <a:cubicBezTo>
                  <a:pt x="245" y="84"/>
                  <a:pt x="245" y="84"/>
                  <a:pt x="245" y="84"/>
                </a:cubicBezTo>
                <a:cubicBezTo>
                  <a:pt x="246" y="84"/>
                  <a:pt x="246" y="84"/>
                  <a:pt x="246" y="84"/>
                </a:cubicBezTo>
                <a:cubicBezTo>
                  <a:pt x="247" y="82"/>
                  <a:pt x="247" y="82"/>
                  <a:pt x="247" y="82"/>
                </a:cubicBezTo>
                <a:cubicBezTo>
                  <a:pt x="247" y="81"/>
                  <a:pt x="247" y="81"/>
                  <a:pt x="247" y="81"/>
                </a:cubicBezTo>
                <a:cubicBezTo>
                  <a:pt x="247" y="80"/>
                  <a:pt x="247" y="80"/>
                  <a:pt x="247" y="80"/>
                </a:cubicBezTo>
                <a:cubicBezTo>
                  <a:pt x="248" y="80"/>
                  <a:pt x="248" y="80"/>
                  <a:pt x="248" y="80"/>
                </a:cubicBezTo>
                <a:cubicBezTo>
                  <a:pt x="249" y="78"/>
                  <a:pt x="249" y="78"/>
                  <a:pt x="249" y="78"/>
                </a:cubicBezTo>
                <a:cubicBezTo>
                  <a:pt x="250" y="77"/>
                  <a:pt x="250" y="77"/>
                  <a:pt x="250" y="77"/>
                </a:cubicBezTo>
                <a:cubicBezTo>
                  <a:pt x="249" y="76"/>
                  <a:pt x="249" y="76"/>
                  <a:pt x="249" y="76"/>
                </a:cubicBezTo>
                <a:cubicBezTo>
                  <a:pt x="250" y="75"/>
                  <a:pt x="250" y="75"/>
                  <a:pt x="250" y="75"/>
                </a:cubicBezTo>
                <a:cubicBezTo>
                  <a:pt x="251" y="76"/>
                  <a:pt x="251" y="76"/>
                  <a:pt x="251" y="76"/>
                </a:cubicBezTo>
                <a:cubicBezTo>
                  <a:pt x="253" y="75"/>
                  <a:pt x="253" y="75"/>
                  <a:pt x="253" y="75"/>
                </a:cubicBezTo>
                <a:cubicBezTo>
                  <a:pt x="254" y="73"/>
                  <a:pt x="254" y="73"/>
                  <a:pt x="254" y="73"/>
                </a:cubicBezTo>
                <a:cubicBezTo>
                  <a:pt x="254" y="72"/>
                  <a:pt x="254" y="72"/>
                  <a:pt x="254" y="72"/>
                </a:cubicBezTo>
                <a:cubicBezTo>
                  <a:pt x="255" y="72"/>
                  <a:pt x="255" y="72"/>
                  <a:pt x="255" y="72"/>
                </a:cubicBezTo>
                <a:cubicBezTo>
                  <a:pt x="255" y="71"/>
                  <a:pt x="255" y="71"/>
                  <a:pt x="255" y="71"/>
                </a:cubicBezTo>
                <a:cubicBezTo>
                  <a:pt x="256" y="72"/>
                  <a:pt x="256" y="72"/>
                  <a:pt x="256" y="72"/>
                </a:cubicBezTo>
                <a:cubicBezTo>
                  <a:pt x="257" y="71"/>
                  <a:pt x="257" y="71"/>
                  <a:pt x="257" y="71"/>
                </a:cubicBezTo>
                <a:cubicBezTo>
                  <a:pt x="258" y="71"/>
                  <a:pt x="258" y="71"/>
                  <a:pt x="258" y="71"/>
                </a:cubicBezTo>
                <a:cubicBezTo>
                  <a:pt x="257" y="73"/>
                  <a:pt x="257" y="73"/>
                  <a:pt x="257" y="73"/>
                </a:cubicBezTo>
                <a:cubicBezTo>
                  <a:pt x="256" y="75"/>
                  <a:pt x="256" y="75"/>
                  <a:pt x="256" y="75"/>
                </a:cubicBezTo>
                <a:cubicBezTo>
                  <a:pt x="255" y="76"/>
                  <a:pt x="255" y="76"/>
                  <a:pt x="255" y="76"/>
                </a:cubicBezTo>
                <a:cubicBezTo>
                  <a:pt x="255" y="77"/>
                  <a:pt x="255" y="77"/>
                  <a:pt x="255" y="77"/>
                </a:cubicBezTo>
                <a:cubicBezTo>
                  <a:pt x="255" y="78"/>
                  <a:pt x="255" y="78"/>
                  <a:pt x="255" y="78"/>
                </a:cubicBezTo>
                <a:cubicBezTo>
                  <a:pt x="254" y="78"/>
                  <a:pt x="254" y="78"/>
                  <a:pt x="254" y="78"/>
                </a:cubicBezTo>
                <a:cubicBezTo>
                  <a:pt x="252" y="81"/>
                  <a:pt x="252" y="81"/>
                  <a:pt x="252" y="81"/>
                </a:cubicBezTo>
                <a:cubicBezTo>
                  <a:pt x="252" y="82"/>
                  <a:pt x="252" y="82"/>
                  <a:pt x="252" y="82"/>
                </a:cubicBezTo>
                <a:cubicBezTo>
                  <a:pt x="252" y="83"/>
                  <a:pt x="252" y="83"/>
                  <a:pt x="252" y="83"/>
                </a:cubicBezTo>
                <a:cubicBezTo>
                  <a:pt x="252" y="84"/>
                  <a:pt x="252" y="84"/>
                  <a:pt x="252" y="84"/>
                </a:cubicBezTo>
                <a:cubicBezTo>
                  <a:pt x="253" y="84"/>
                  <a:pt x="253" y="84"/>
                  <a:pt x="253" y="84"/>
                </a:cubicBezTo>
                <a:cubicBezTo>
                  <a:pt x="254" y="84"/>
                  <a:pt x="254" y="84"/>
                  <a:pt x="254" y="84"/>
                </a:cubicBezTo>
                <a:cubicBezTo>
                  <a:pt x="255" y="84"/>
                  <a:pt x="255" y="84"/>
                  <a:pt x="255" y="84"/>
                </a:cubicBezTo>
                <a:cubicBezTo>
                  <a:pt x="256" y="83"/>
                  <a:pt x="256" y="83"/>
                  <a:pt x="256" y="83"/>
                </a:cubicBezTo>
                <a:cubicBezTo>
                  <a:pt x="257" y="82"/>
                  <a:pt x="257" y="82"/>
                  <a:pt x="257" y="82"/>
                </a:cubicBezTo>
                <a:cubicBezTo>
                  <a:pt x="256" y="81"/>
                  <a:pt x="256" y="81"/>
                  <a:pt x="256" y="81"/>
                </a:cubicBezTo>
                <a:cubicBezTo>
                  <a:pt x="257" y="80"/>
                  <a:pt x="257" y="80"/>
                  <a:pt x="257" y="80"/>
                </a:cubicBezTo>
                <a:cubicBezTo>
                  <a:pt x="258" y="79"/>
                  <a:pt x="258" y="79"/>
                  <a:pt x="258" y="79"/>
                </a:cubicBezTo>
                <a:cubicBezTo>
                  <a:pt x="259" y="79"/>
                  <a:pt x="259" y="79"/>
                  <a:pt x="259" y="79"/>
                </a:cubicBezTo>
                <a:cubicBezTo>
                  <a:pt x="260" y="79"/>
                  <a:pt x="260" y="79"/>
                  <a:pt x="260" y="79"/>
                </a:cubicBezTo>
                <a:cubicBezTo>
                  <a:pt x="260" y="79"/>
                  <a:pt x="260" y="79"/>
                  <a:pt x="260" y="79"/>
                </a:cubicBezTo>
                <a:cubicBezTo>
                  <a:pt x="261" y="79"/>
                  <a:pt x="261" y="79"/>
                  <a:pt x="261" y="79"/>
                </a:cubicBezTo>
                <a:cubicBezTo>
                  <a:pt x="262" y="79"/>
                  <a:pt x="262" y="79"/>
                  <a:pt x="262" y="79"/>
                </a:cubicBezTo>
                <a:cubicBezTo>
                  <a:pt x="264" y="79"/>
                  <a:pt x="264" y="79"/>
                  <a:pt x="264" y="79"/>
                </a:cubicBezTo>
                <a:cubicBezTo>
                  <a:pt x="265" y="77"/>
                  <a:pt x="265" y="77"/>
                  <a:pt x="265" y="77"/>
                </a:cubicBezTo>
                <a:cubicBezTo>
                  <a:pt x="265" y="75"/>
                  <a:pt x="265" y="75"/>
                  <a:pt x="265" y="75"/>
                </a:cubicBezTo>
                <a:cubicBezTo>
                  <a:pt x="266" y="73"/>
                  <a:pt x="266" y="73"/>
                  <a:pt x="266" y="73"/>
                </a:cubicBezTo>
                <a:cubicBezTo>
                  <a:pt x="267" y="72"/>
                  <a:pt x="267" y="72"/>
                  <a:pt x="267" y="72"/>
                </a:cubicBezTo>
                <a:cubicBezTo>
                  <a:pt x="267" y="72"/>
                  <a:pt x="267" y="72"/>
                  <a:pt x="267" y="72"/>
                </a:cubicBezTo>
                <a:cubicBezTo>
                  <a:pt x="268" y="73"/>
                  <a:pt x="268" y="73"/>
                  <a:pt x="268" y="73"/>
                </a:cubicBezTo>
                <a:cubicBezTo>
                  <a:pt x="269" y="73"/>
                  <a:pt x="269" y="73"/>
                  <a:pt x="269" y="73"/>
                </a:cubicBezTo>
                <a:cubicBezTo>
                  <a:pt x="269" y="73"/>
                  <a:pt x="269" y="73"/>
                  <a:pt x="269" y="73"/>
                </a:cubicBezTo>
                <a:cubicBezTo>
                  <a:pt x="269" y="72"/>
                  <a:pt x="269" y="72"/>
                  <a:pt x="269" y="72"/>
                </a:cubicBezTo>
                <a:cubicBezTo>
                  <a:pt x="268" y="70"/>
                  <a:pt x="268" y="70"/>
                  <a:pt x="268" y="70"/>
                </a:cubicBezTo>
                <a:cubicBezTo>
                  <a:pt x="268" y="69"/>
                  <a:pt x="268" y="69"/>
                  <a:pt x="268" y="69"/>
                </a:cubicBezTo>
                <a:cubicBezTo>
                  <a:pt x="269" y="68"/>
                  <a:pt x="269" y="68"/>
                  <a:pt x="269" y="68"/>
                </a:cubicBezTo>
                <a:cubicBezTo>
                  <a:pt x="271" y="68"/>
                  <a:pt x="271" y="68"/>
                  <a:pt x="271" y="68"/>
                </a:cubicBezTo>
                <a:cubicBezTo>
                  <a:pt x="272" y="67"/>
                  <a:pt x="272" y="67"/>
                  <a:pt x="272" y="67"/>
                </a:cubicBezTo>
                <a:cubicBezTo>
                  <a:pt x="273" y="68"/>
                  <a:pt x="273" y="68"/>
                  <a:pt x="273" y="68"/>
                </a:cubicBezTo>
                <a:cubicBezTo>
                  <a:pt x="273" y="68"/>
                  <a:pt x="273" y="68"/>
                  <a:pt x="273" y="68"/>
                </a:cubicBezTo>
                <a:cubicBezTo>
                  <a:pt x="274" y="66"/>
                  <a:pt x="274" y="66"/>
                  <a:pt x="274" y="66"/>
                </a:cubicBezTo>
                <a:cubicBezTo>
                  <a:pt x="274" y="65"/>
                  <a:pt x="274" y="65"/>
                  <a:pt x="274" y="65"/>
                </a:cubicBezTo>
                <a:cubicBezTo>
                  <a:pt x="274" y="63"/>
                  <a:pt x="274" y="63"/>
                  <a:pt x="274" y="63"/>
                </a:cubicBezTo>
                <a:cubicBezTo>
                  <a:pt x="274" y="62"/>
                  <a:pt x="274" y="62"/>
                  <a:pt x="274" y="62"/>
                </a:cubicBezTo>
                <a:cubicBezTo>
                  <a:pt x="274" y="62"/>
                  <a:pt x="274" y="62"/>
                  <a:pt x="274" y="62"/>
                </a:cubicBezTo>
                <a:cubicBezTo>
                  <a:pt x="274" y="60"/>
                  <a:pt x="274" y="60"/>
                  <a:pt x="274" y="60"/>
                </a:cubicBezTo>
                <a:cubicBezTo>
                  <a:pt x="273" y="60"/>
                  <a:pt x="273" y="60"/>
                  <a:pt x="273" y="60"/>
                </a:cubicBezTo>
                <a:cubicBezTo>
                  <a:pt x="272" y="60"/>
                  <a:pt x="272" y="60"/>
                  <a:pt x="272" y="60"/>
                </a:cubicBezTo>
                <a:cubicBezTo>
                  <a:pt x="271" y="61"/>
                  <a:pt x="271" y="61"/>
                  <a:pt x="271" y="61"/>
                </a:cubicBezTo>
                <a:cubicBezTo>
                  <a:pt x="271" y="63"/>
                  <a:pt x="271" y="63"/>
                  <a:pt x="271" y="63"/>
                </a:cubicBezTo>
                <a:cubicBezTo>
                  <a:pt x="271" y="63"/>
                  <a:pt x="271" y="63"/>
                  <a:pt x="271" y="63"/>
                </a:cubicBezTo>
                <a:cubicBezTo>
                  <a:pt x="271" y="64"/>
                  <a:pt x="271" y="64"/>
                  <a:pt x="271" y="64"/>
                </a:cubicBezTo>
                <a:cubicBezTo>
                  <a:pt x="270" y="64"/>
                  <a:pt x="270" y="64"/>
                  <a:pt x="270" y="64"/>
                </a:cubicBezTo>
                <a:cubicBezTo>
                  <a:pt x="269" y="63"/>
                  <a:pt x="269" y="63"/>
                  <a:pt x="269" y="63"/>
                </a:cubicBezTo>
                <a:cubicBezTo>
                  <a:pt x="269" y="63"/>
                  <a:pt x="269" y="63"/>
                  <a:pt x="269" y="63"/>
                </a:cubicBezTo>
                <a:cubicBezTo>
                  <a:pt x="269" y="64"/>
                  <a:pt x="269" y="64"/>
                  <a:pt x="269" y="64"/>
                </a:cubicBezTo>
                <a:cubicBezTo>
                  <a:pt x="268" y="65"/>
                  <a:pt x="268" y="65"/>
                  <a:pt x="268" y="65"/>
                </a:cubicBezTo>
                <a:cubicBezTo>
                  <a:pt x="268" y="64"/>
                  <a:pt x="268" y="64"/>
                  <a:pt x="268" y="64"/>
                </a:cubicBezTo>
                <a:cubicBezTo>
                  <a:pt x="268" y="62"/>
                  <a:pt x="268" y="62"/>
                  <a:pt x="268" y="62"/>
                </a:cubicBezTo>
                <a:cubicBezTo>
                  <a:pt x="266" y="61"/>
                  <a:pt x="266" y="61"/>
                  <a:pt x="266" y="61"/>
                </a:cubicBezTo>
                <a:cubicBezTo>
                  <a:pt x="266" y="61"/>
                  <a:pt x="266" y="61"/>
                  <a:pt x="266" y="61"/>
                </a:cubicBezTo>
                <a:cubicBezTo>
                  <a:pt x="265" y="61"/>
                  <a:pt x="265" y="61"/>
                  <a:pt x="265" y="61"/>
                </a:cubicBezTo>
                <a:cubicBezTo>
                  <a:pt x="264" y="61"/>
                  <a:pt x="264" y="61"/>
                  <a:pt x="264" y="61"/>
                </a:cubicBezTo>
                <a:cubicBezTo>
                  <a:pt x="263" y="61"/>
                  <a:pt x="263" y="61"/>
                  <a:pt x="263" y="61"/>
                </a:cubicBezTo>
                <a:cubicBezTo>
                  <a:pt x="262" y="61"/>
                  <a:pt x="262" y="61"/>
                  <a:pt x="262" y="61"/>
                </a:cubicBezTo>
                <a:cubicBezTo>
                  <a:pt x="259" y="61"/>
                  <a:pt x="259" y="61"/>
                  <a:pt x="259" y="61"/>
                </a:cubicBezTo>
                <a:cubicBezTo>
                  <a:pt x="258" y="61"/>
                  <a:pt x="258" y="61"/>
                  <a:pt x="258" y="61"/>
                </a:cubicBezTo>
                <a:cubicBezTo>
                  <a:pt x="257" y="62"/>
                  <a:pt x="257" y="62"/>
                  <a:pt x="257" y="62"/>
                </a:cubicBezTo>
                <a:cubicBezTo>
                  <a:pt x="257" y="63"/>
                  <a:pt x="257" y="63"/>
                  <a:pt x="257" y="63"/>
                </a:cubicBezTo>
                <a:cubicBezTo>
                  <a:pt x="256" y="63"/>
                  <a:pt x="256" y="63"/>
                  <a:pt x="256" y="63"/>
                </a:cubicBezTo>
                <a:cubicBezTo>
                  <a:pt x="255" y="63"/>
                  <a:pt x="255" y="63"/>
                  <a:pt x="255" y="63"/>
                </a:cubicBezTo>
                <a:cubicBezTo>
                  <a:pt x="252" y="65"/>
                  <a:pt x="252" y="65"/>
                  <a:pt x="252" y="65"/>
                </a:cubicBezTo>
                <a:cubicBezTo>
                  <a:pt x="252" y="66"/>
                  <a:pt x="252" y="66"/>
                  <a:pt x="252" y="66"/>
                </a:cubicBezTo>
                <a:cubicBezTo>
                  <a:pt x="250" y="66"/>
                  <a:pt x="250" y="66"/>
                  <a:pt x="250" y="66"/>
                </a:cubicBezTo>
                <a:cubicBezTo>
                  <a:pt x="249" y="67"/>
                  <a:pt x="249" y="67"/>
                  <a:pt x="249" y="67"/>
                </a:cubicBezTo>
                <a:cubicBezTo>
                  <a:pt x="248" y="67"/>
                  <a:pt x="248" y="67"/>
                  <a:pt x="248" y="67"/>
                </a:cubicBezTo>
                <a:cubicBezTo>
                  <a:pt x="247" y="68"/>
                  <a:pt x="247" y="68"/>
                  <a:pt x="247" y="68"/>
                </a:cubicBezTo>
                <a:cubicBezTo>
                  <a:pt x="247" y="69"/>
                  <a:pt x="247" y="69"/>
                  <a:pt x="247" y="69"/>
                </a:cubicBezTo>
                <a:cubicBezTo>
                  <a:pt x="245" y="69"/>
                  <a:pt x="245" y="69"/>
                  <a:pt x="245" y="69"/>
                </a:cubicBezTo>
                <a:cubicBezTo>
                  <a:pt x="244" y="70"/>
                  <a:pt x="244" y="70"/>
                  <a:pt x="244" y="70"/>
                </a:cubicBezTo>
                <a:cubicBezTo>
                  <a:pt x="243" y="69"/>
                  <a:pt x="243" y="69"/>
                  <a:pt x="243" y="69"/>
                </a:cubicBezTo>
                <a:cubicBezTo>
                  <a:pt x="242" y="70"/>
                  <a:pt x="242" y="70"/>
                  <a:pt x="242" y="70"/>
                </a:cubicBezTo>
                <a:cubicBezTo>
                  <a:pt x="241" y="70"/>
                  <a:pt x="241" y="70"/>
                  <a:pt x="241" y="70"/>
                </a:cubicBezTo>
                <a:cubicBezTo>
                  <a:pt x="239" y="72"/>
                  <a:pt x="239" y="72"/>
                  <a:pt x="239" y="72"/>
                </a:cubicBezTo>
                <a:cubicBezTo>
                  <a:pt x="238" y="72"/>
                  <a:pt x="238" y="72"/>
                  <a:pt x="238" y="72"/>
                </a:cubicBezTo>
                <a:cubicBezTo>
                  <a:pt x="236" y="72"/>
                  <a:pt x="236" y="72"/>
                  <a:pt x="236" y="72"/>
                </a:cubicBezTo>
                <a:cubicBezTo>
                  <a:pt x="235" y="72"/>
                  <a:pt x="235" y="72"/>
                  <a:pt x="235" y="72"/>
                </a:cubicBezTo>
                <a:cubicBezTo>
                  <a:pt x="232" y="73"/>
                  <a:pt x="232" y="73"/>
                  <a:pt x="232" y="73"/>
                </a:cubicBezTo>
                <a:cubicBezTo>
                  <a:pt x="231" y="75"/>
                  <a:pt x="231" y="75"/>
                  <a:pt x="231" y="75"/>
                </a:cubicBezTo>
                <a:cubicBezTo>
                  <a:pt x="230" y="75"/>
                  <a:pt x="230" y="75"/>
                  <a:pt x="230" y="75"/>
                </a:cubicBezTo>
                <a:cubicBezTo>
                  <a:pt x="228" y="75"/>
                  <a:pt x="228" y="75"/>
                  <a:pt x="228" y="75"/>
                </a:cubicBezTo>
                <a:cubicBezTo>
                  <a:pt x="228" y="77"/>
                  <a:pt x="228" y="77"/>
                  <a:pt x="228" y="77"/>
                </a:cubicBezTo>
                <a:cubicBezTo>
                  <a:pt x="229" y="77"/>
                  <a:pt x="229" y="77"/>
                  <a:pt x="229" y="77"/>
                </a:cubicBezTo>
                <a:cubicBezTo>
                  <a:pt x="229" y="77"/>
                  <a:pt x="229" y="77"/>
                  <a:pt x="229" y="77"/>
                </a:cubicBezTo>
                <a:cubicBezTo>
                  <a:pt x="228" y="77"/>
                  <a:pt x="228" y="77"/>
                  <a:pt x="228" y="77"/>
                </a:cubicBezTo>
                <a:cubicBezTo>
                  <a:pt x="228" y="78"/>
                  <a:pt x="228" y="78"/>
                  <a:pt x="228" y="78"/>
                </a:cubicBezTo>
                <a:cubicBezTo>
                  <a:pt x="229" y="79"/>
                  <a:pt x="229" y="79"/>
                  <a:pt x="229" y="79"/>
                </a:cubicBezTo>
                <a:cubicBezTo>
                  <a:pt x="229" y="79"/>
                  <a:pt x="229" y="79"/>
                  <a:pt x="229" y="79"/>
                </a:cubicBezTo>
                <a:cubicBezTo>
                  <a:pt x="227" y="80"/>
                  <a:pt x="227" y="80"/>
                  <a:pt x="227" y="80"/>
                </a:cubicBezTo>
                <a:cubicBezTo>
                  <a:pt x="227" y="81"/>
                  <a:pt x="227" y="81"/>
                  <a:pt x="227" y="81"/>
                </a:cubicBezTo>
                <a:cubicBezTo>
                  <a:pt x="228" y="81"/>
                  <a:pt x="228" y="81"/>
                  <a:pt x="228" y="81"/>
                </a:cubicBezTo>
                <a:cubicBezTo>
                  <a:pt x="229" y="81"/>
                  <a:pt x="229" y="81"/>
                  <a:pt x="229" y="81"/>
                </a:cubicBezTo>
                <a:cubicBezTo>
                  <a:pt x="230" y="80"/>
                  <a:pt x="230" y="80"/>
                  <a:pt x="230" y="80"/>
                </a:cubicBezTo>
                <a:cubicBezTo>
                  <a:pt x="231" y="79"/>
                  <a:pt x="231" y="79"/>
                  <a:pt x="231" y="79"/>
                </a:cubicBezTo>
                <a:cubicBezTo>
                  <a:pt x="232" y="80"/>
                  <a:pt x="232" y="80"/>
                  <a:pt x="232" y="80"/>
                </a:cubicBezTo>
                <a:cubicBezTo>
                  <a:pt x="233" y="82"/>
                  <a:pt x="233" y="82"/>
                  <a:pt x="233" y="82"/>
                </a:cubicBezTo>
                <a:cubicBezTo>
                  <a:pt x="233" y="83"/>
                  <a:pt x="233" y="83"/>
                  <a:pt x="233" y="83"/>
                </a:cubicBezTo>
                <a:cubicBezTo>
                  <a:pt x="234" y="83"/>
                  <a:pt x="234" y="83"/>
                  <a:pt x="234" y="83"/>
                </a:cubicBezTo>
                <a:close/>
                <a:moveTo>
                  <a:pt x="354" y="154"/>
                </a:moveTo>
                <a:cubicBezTo>
                  <a:pt x="354" y="153"/>
                  <a:pt x="354" y="153"/>
                  <a:pt x="354" y="153"/>
                </a:cubicBezTo>
                <a:cubicBezTo>
                  <a:pt x="356" y="154"/>
                  <a:pt x="356" y="154"/>
                  <a:pt x="356" y="154"/>
                </a:cubicBezTo>
                <a:cubicBezTo>
                  <a:pt x="356" y="154"/>
                  <a:pt x="356" y="154"/>
                  <a:pt x="356" y="154"/>
                </a:cubicBezTo>
                <a:cubicBezTo>
                  <a:pt x="355" y="155"/>
                  <a:pt x="355" y="155"/>
                  <a:pt x="355" y="155"/>
                </a:cubicBezTo>
                <a:cubicBezTo>
                  <a:pt x="354" y="155"/>
                  <a:pt x="354" y="155"/>
                  <a:pt x="354" y="155"/>
                </a:cubicBezTo>
                <a:cubicBezTo>
                  <a:pt x="354" y="154"/>
                  <a:pt x="354" y="154"/>
                  <a:pt x="354" y="154"/>
                </a:cubicBezTo>
                <a:close/>
                <a:moveTo>
                  <a:pt x="340" y="126"/>
                </a:moveTo>
                <a:cubicBezTo>
                  <a:pt x="339" y="126"/>
                  <a:pt x="339" y="126"/>
                  <a:pt x="339" y="126"/>
                </a:cubicBezTo>
                <a:cubicBezTo>
                  <a:pt x="338" y="125"/>
                  <a:pt x="338" y="125"/>
                  <a:pt x="338" y="125"/>
                </a:cubicBezTo>
                <a:cubicBezTo>
                  <a:pt x="337" y="126"/>
                  <a:pt x="337" y="126"/>
                  <a:pt x="337" y="126"/>
                </a:cubicBezTo>
                <a:cubicBezTo>
                  <a:pt x="338" y="126"/>
                  <a:pt x="338" y="126"/>
                  <a:pt x="338" y="126"/>
                </a:cubicBezTo>
                <a:cubicBezTo>
                  <a:pt x="339" y="127"/>
                  <a:pt x="339" y="127"/>
                  <a:pt x="339" y="127"/>
                </a:cubicBezTo>
                <a:cubicBezTo>
                  <a:pt x="339" y="127"/>
                  <a:pt x="339" y="127"/>
                  <a:pt x="339" y="127"/>
                </a:cubicBezTo>
                <a:cubicBezTo>
                  <a:pt x="337" y="127"/>
                  <a:pt x="337" y="127"/>
                  <a:pt x="337" y="127"/>
                </a:cubicBezTo>
                <a:cubicBezTo>
                  <a:pt x="337" y="128"/>
                  <a:pt x="337" y="128"/>
                  <a:pt x="337" y="128"/>
                </a:cubicBezTo>
                <a:cubicBezTo>
                  <a:pt x="337" y="129"/>
                  <a:pt x="337" y="129"/>
                  <a:pt x="337" y="129"/>
                </a:cubicBezTo>
                <a:cubicBezTo>
                  <a:pt x="337" y="129"/>
                  <a:pt x="337" y="129"/>
                  <a:pt x="337" y="129"/>
                </a:cubicBezTo>
                <a:cubicBezTo>
                  <a:pt x="337" y="129"/>
                  <a:pt x="337" y="129"/>
                  <a:pt x="337" y="129"/>
                </a:cubicBezTo>
                <a:cubicBezTo>
                  <a:pt x="336" y="129"/>
                  <a:pt x="336" y="129"/>
                  <a:pt x="336" y="129"/>
                </a:cubicBezTo>
                <a:cubicBezTo>
                  <a:pt x="335" y="129"/>
                  <a:pt x="335" y="129"/>
                  <a:pt x="335" y="129"/>
                </a:cubicBezTo>
                <a:cubicBezTo>
                  <a:pt x="334" y="130"/>
                  <a:pt x="334" y="130"/>
                  <a:pt x="334" y="130"/>
                </a:cubicBezTo>
                <a:cubicBezTo>
                  <a:pt x="333" y="131"/>
                  <a:pt x="333" y="131"/>
                  <a:pt x="333" y="131"/>
                </a:cubicBezTo>
                <a:cubicBezTo>
                  <a:pt x="333" y="132"/>
                  <a:pt x="333" y="132"/>
                  <a:pt x="333" y="132"/>
                </a:cubicBezTo>
                <a:cubicBezTo>
                  <a:pt x="333" y="132"/>
                  <a:pt x="333" y="132"/>
                  <a:pt x="333" y="132"/>
                </a:cubicBezTo>
                <a:cubicBezTo>
                  <a:pt x="334" y="132"/>
                  <a:pt x="334" y="132"/>
                  <a:pt x="334" y="132"/>
                </a:cubicBezTo>
                <a:cubicBezTo>
                  <a:pt x="333" y="133"/>
                  <a:pt x="333" y="133"/>
                  <a:pt x="333" y="133"/>
                </a:cubicBezTo>
                <a:cubicBezTo>
                  <a:pt x="333" y="134"/>
                  <a:pt x="333" y="134"/>
                  <a:pt x="333" y="134"/>
                </a:cubicBezTo>
                <a:cubicBezTo>
                  <a:pt x="334" y="134"/>
                  <a:pt x="334" y="134"/>
                  <a:pt x="334" y="134"/>
                </a:cubicBezTo>
                <a:cubicBezTo>
                  <a:pt x="334" y="133"/>
                  <a:pt x="334" y="133"/>
                  <a:pt x="334" y="133"/>
                </a:cubicBezTo>
                <a:cubicBezTo>
                  <a:pt x="335" y="133"/>
                  <a:pt x="335" y="133"/>
                  <a:pt x="335" y="133"/>
                </a:cubicBezTo>
                <a:cubicBezTo>
                  <a:pt x="334" y="134"/>
                  <a:pt x="334" y="134"/>
                  <a:pt x="334" y="134"/>
                </a:cubicBezTo>
                <a:cubicBezTo>
                  <a:pt x="334" y="135"/>
                  <a:pt x="334" y="135"/>
                  <a:pt x="334" y="135"/>
                </a:cubicBezTo>
                <a:cubicBezTo>
                  <a:pt x="335" y="135"/>
                  <a:pt x="335" y="135"/>
                  <a:pt x="335" y="135"/>
                </a:cubicBezTo>
                <a:cubicBezTo>
                  <a:pt x="336" y="135"/>
                  <a:pt x="336" y="135"/>
                  <a:pt x="336" y="135"/>
                </a:cubicBezTo>
                <a:cubicBezTo>
                  <a:pt x="336" y="136"/>
                  <a:pt x="336" y="136"/>
                  <a:pt x="336" y="136"/>
                </a:cubicBezTo>
                <a:cubicBezTo>
                  <a:pt x="336" y="137"/>
                  <a:pt x="336" y="137"/>
                  <a:pt x="336" y="137"/>
                </a:cubicBezTo>
                <a:cubicBezTo>
                  <a:pt x="337" y="137"/>
                  <a:pt x="337" y="137"/>
                  <a:pt x="337" y="137"/>
                </a:cubicBezTo>
                <a:cubicBezTo>
                  <a:pt x="337" y="136"/>
                  <a:pt x="337" y="136"/>
                  <a:pt x="337" y="136"/>
                </a:cubicBezTo>
                <a:cubicBezTo>
                  <a:pt x="338" y="136"/>
                  <a:pt x="338" y="136"/>
                  <a:pt x="338" y="136"/>
                </a:cubicBezTo>
                <a:cubicBezTo>
                  <a:pt x="338" y="138"/>
                  <a:pt x="338" y="138"/>
                  <a:pt x="338" y="138"/>
                </a:cubicBezTo>
                <a:cubicBezTo>
                  <a:pt x="338" y="138"/>
                  <a:pt x="338" y="138"/>
                  <a:pt x="338" y="138"/>
                </a:cubicBezTo>
                <a:cubicBezTo>
                  <a:pt x="339" y="138"/>
                  <a:pt x="339" y="138"/>
                  <a:pt x="339" y="138"/>
                </a:cubicBezTo>
                <a:cubicBezTo>
                  <a:pt x="339" y="139"/>
                  <a:pt x="339" y="139"/>
                  <a:pt x="339" y="139"/>
                </a:cubicBezTo>
                <a:cubicBezTo>
                  <a:pt x="341" y="139"/>
                  <a:pt x="341" y="139"/>
                  <a:pt x="341" y="139"/>
                </a:cubicBezTo>
                <a:cubicBezTo>
                  <a:pt x="342" y="140"/>
                  <a:pt x="342" y="140"/>
                  <a:pt x="342" y="140"/>
                </a:cubicBezTo>
                <a:cubicBezTo>
                  <a:pt x="343" y="140"/>
                  <a:pt x="343" y="140"/>
                  <a:pt x="343" y="140"/>
                </a:cubicBezTo>
                <a:cubicBezTo>
                  <a:pt x="344" y="141"/>
                  <a:pt x="344" y="141"/>
                  <a:pt x="344" y="141"/>
                </a:cubicBezTo>
                <a:cubicBezTo>
                  <a:pt x="344" y="140"/>
                  <a:pt x="344" y="140"/>
                  <a:pt x="344" y="140"/>
                </a:cubicBezTo>
                <a:cubicBezTo>
                  <a:pt x="344" y="139"/>
                  <a:pt x="344" y="139"/>
                  <a:pt x="344" y="139"/>
                </a:cubicBezTo>
                <a:cubicBezTo>
                  <a:pt x="345" y="139"/>
                  <a:pt x="345" y="139"/>
                  <a:pt x="345" y="139"/>
                </a:cubicBezTo>
                <a:cubicBezTo>
                  <a:pt x="345" y="137"/>
                  <a:pt x="345" y="137"/>
                  <a:pt x="345" y="137"/>
                </a:cubicBezTo>
                <a:cubicBezTo>
                  <a:pt x="345" y="136"/>
                  <a:pt x="345" y="136"/>
                  <a:pt x="345" y="136"/>
                </a:cubicBezTo>
                <a:cubicBezTo>
                  <a:pt x="346" y="134"/>
                  <a:pt x="346" y="134"/>
                  <a:pt x="346" y="134"/>
                </a:cubicBezTo>
                <a:cubicBezTo>
                  <a:pt x="346" y="134"/>
                  <a:pt x="346" y="134"/>
                  <a:pt x="346" y="134"/>
                </a:cubicBezTo>
                <a:cubicBezTo>
                  <a:pt x="347" y="132"/>
                  <a:pt x="347" y="132"/>
                  <a:pt x="347" y="132"/>
                </a:cubicBezTo>
                <a:cubicBezTo>
                  <a:pt x="347" y="130"/>
                  <a:pt x="347" y="130"/>
                  <a:pt x="347" y="130"/>
                </a:cubicBezTo>
                <a:cubicBezTo>
                  <a:pt x="348" y="130"/>
                  <a:pt x="348" y="130"/>
                  <a:pt x="348" y="130"/>
                </a:cubicBezTo>
                <a:cubicBezTo>
                  <a:pt x="347" y="128"/>
                  <a:pt x="347" y="128"/>
                  <a:pt x="347" y="128"/>
                </a:cubicBezTo>
                <a:cubicBezTo>
                  <a:pt x="346" y="128"/>
                  <a:pt x="346" y="128"/>
                  <a:pt x="346" y="128"/>
                </a:cubicBezTo>
                <a:cubicBezTo>
                  <a:pt x="346" y="126"/>
                  <a:pt x="346" y="126"/>
                  <a:pt x="346" y="126"/>
                </a:cubicBezTo>
                <a:cubicBezTo>
                  <a:pt x="346" y="126"/>
                  <a:pt x="346" y="126"/>
                  <a:pt x="346" y="126"/>
                </a:cubicBezTo>
                <a:cubicBezTo>
                  <a:pt x="345" y="125"/>
                  <a:pt x="345" y="125"/>
                  <a:pt x="345" y="125"/>
                </a:cubicBezTo>
                <a:cubicBezTo>
                  <a:pt x="344" y="124"/>
                  <a:pt x="344" y="124"/>
                  <a:pt x="344" y="124"/>
                </a:cubicBezTo>
                <a:cubicBezTo>
                  <a:pt x="343" y="124"/>
                  <a:pt x="343" y="124"/>
                  <a:pt x="343" y="124"/>
                </a:cubicBezTo>
                <a:cubicBezTo>
                  <a:pt x="341" y="124"/>
                  <a:pt x="341" y="124"/>
                  <a:pt x="341" y="124"/>
                </a:cubicBezTo>
                <a:cubicBezTo>
                  <a:pt x="340" y="124"/>
                  <a:pt x="340" y="124"/>
                  <a:pt x="340" y="124"/>
                </a:cubicBezTo>
                <a:cubicBezTo>
                  <a:pt x="340" y="125"/>
                  <a:pt x="340" y="125"/>
                  <a:pt x="340" y="125"/>
                </a:cubicBezTo>
                <a:cubicBezTo>
                  <a:pt x="340" y="126"/>
                  <a:pt x="340" y="126"/>
                  <a:pt x="340" y="126"/>
                </a:cubicBezTo>
                <a:cubicBezTo>
                  <a:pt x="340" y="126"/>
                  <a:pt x="340" y="126"/>
                  <a:pt x="340" y="126"/>
                </a:cubicBezTo>
                <a:cubicBezTo>
                  <a:pt x="340" y="126"/>
                  <a:pt x="340" y="126"/>
                  <a:pt x="340" y="126"/>
                </a:cubicBezTo>
                <a:close/>
                <a:moveTo>
                  <a:pt x="348" y="116"/>
                </a:moveTo>
                <a:cubicBezTo>
                  <a:pt x="347" y="116"/>
                  <a:pt x="347" y="116"/>
                  <a:pt x="347" y="116"/>
                </a:cubicBezTo>
                <a:cubicBezTo>
                  <a:pt x="347" y="115"/>
                  <a:pt x="347" y="115"/>
                  <a:pt x="347" y="115"/>
                </a:cubicBezTo>
                <a:cubicBezTo>
                  <a:pt x="348" y="115"/>
                  <a:pt x="348" y="115"/>
                  <a:pt x="348" y="115"/>
                </a:cubicBezTo>
                <a:cubicBezTo>
                  <a:pt x="348" y="115"/>
                  <a:pt x="348" y="116"/>
                  <a:pt x="348" y="116"/>
                </a:cubicBezTo>
                <a:close/>
                <a:moveTo>
                  <a:pt x="346" y="123"/>
                </a:moveTo>
                <a:cubicBezTo>
                  <a:pt x="346" y="122"/>
                  <a:pt x="346" y="122"/>
                  <a:pt x="346" y="122"/>
                </a:cubicBezTo>
                <a:cubicBezTo>
                  <a:pt x="346" y="122"/>
                  <a:pt x="346" y="122"/>
                  <a:pt x="346" y="122"/>
                </a:cubicBezTo>
                <a:cubicBezTo>
                  <a:pt x="346" y="121"/>
                  <a:pt x="346" y="121"/>
                  <a:pt x="346" y="121"/>
                </a:cubicBezTo>
                <a:cubicBezTo>
                  <a:pt x="346" y="120"/>
                  <a:pt x="346" y="120"/>
                  <a:pt x="346" y="120"/>
                </a:cubicBezTo>
                <a:cubicBezTo>
                  <a:pt x="346" y="119"/>
                  <a:pt x="346" y="119"/>
                  <a:pt x="346" y="119"/>
                </a:cubicBezTo>
                <a:cubicBezTo>
                  <a:pt x="347" y="119"/>
                  <a:pt x="347" y="119"/>
                  <a:pt x="347" y="119"/>
                </a:cubicBezTo>
                <a:cubicBezTo>
                  <a:pt x="348" y="119"/>
                  <a:pt x="348" y="119"/>
                  <a:pt x="348" y="119"/>
                </a:cubicBezTo>
                <a:cubicBezTo>
                  <a:pt x="347" y="121"/>
                  <a:pt x="347" y="121"/>
                  <a:pt x="347" y="121"/>
                </a:cubicBezTo>
                <a:cubicBezTo>
                  <a:pt x="347" y="122"/>
                  <a:pt x="347" y="122"/>
                  <a:pt x="347" y="122"/>
                </a:cubicBezTo>
                <a:cubicBezTo>
                  <a:pt x="347" y="122"/>
                  <a:pt x="346" y="123"/>
                  <a:pt x="346" y="123"/>
                </a:cubicBezTo>
                <a:close/>
                <a:moveTo>
                  <a:pt x="338" y="120"/>
                </a:moveTo>
                <a:cubicBezTo>
                  <a:pt x="337" y="120"/>
                  <a:pt x="337" y="120"/>
                  <a:pt x="337" y="120"/>
                </a:cubicBezTo>
                <a:cubicBezTo>
                  <a:pt x="338" y="119"/>
                  <a:pt x="338" y="119"/>
                  <a:pt x="338" y="119"/>
                </a:cubicBezTo>
                <a:cubicBezTo>
                  <a:pt x="339" y="119"/>
                  <a:pt x="339" y="119"/>
                  <a:pt x="339" y="119"/>
                </a:cubicBezTo>
                <a:cubicBezTo>
                  <a:pt x="339" y="119"/>
                  <a:pt x="339" y="119"/>
                  <a:pt x="339" y="119"/>
                </a:cubicBezTo>
                <a:cubicBezTo>
                  <a:pt x="339" y="119"/>
                  <a:pt x="339" y="119"/>
                  <a:pt x="339" y="119"/>
                </a:cubicBezTo>
                <a:cubicBezTo>
                  <a:pt x="338" y="120"/>
                  <a:pt x="338" y="120"/>
                  <a:pt x="338" y="120"/>
                </a:cubicBezTo>
                <a:cubicBezTo>
                  <a:pt x="338" y="120"/>
                  <a:pt x="338" y="120"/>
                  <a:pt x="338" y="120"/>
                </a:cubicBezTo>
                <a:close/>
                <a:moveTo>
                  <a:pt x="336" y="122"/>
                </a:moveTo>
                <a:cubicBezTo>
                  <a:pt x="335" y="121"/>
                  <a:pt x="335" y="121"/>
                  <a:pt x="335" y="121"/>
                </a:cubicBezTo>
                <a:cubicBezTo>
                  <a:pt x="336" y="121"/>
                  <a:pt x="336" y="121"/>
                  <a:pt x="336" y="121"/>
                </a:cubicBezTo>
                <a:cubicBezTo>
                  <a:pt x="337" y="121"/>
                  <a:pt x="337" y="121"/>
                  <a:pt x="337" y="121"/>
                </a:cubicBezTo>
                <a:cubicBezTo>
                  <a:pt x="336" y="121"/>
                  <a:pt x="336" y="121"/>
                  <a:pt x="336" y="121"/>
                </a:cubicBezTo>
                <a:cubicBezTo>
                  <a:pt x="336" y="122"/>
                  <a:pt x="336" y="122"/>
                  <a:pt x="336" y="122"/>
                </a:cubicBezTo>
                <a:close/>
                <a:moveTo>
                  <a:pt x="337" y="124"/>
                </a:moveTo>
                <a:cubicBezTo>
                  <a:pt x="337" y="124"/>
                  <a:pt x="337" y="124"/>
                  <a:pt x="337" y="124"/>
                </a:cubicBezTo>
                <a:cubicBezTo>
                  <a:pt x="337" y="123"/>
                  <a:pt x="337" y="123"/>
                  <a:pt x="337" y="123"/>
                </a:cubicBezTo>
                <a:cubicBezTo>
                  <a:pt x="337" y="122"/>
                  <a:pt x="337" y="122"/>
                  <a:pt x="337" y="122"/>
                </a:cubicBezTo>
                <a:cubicBezTo>
                  <a:pt x="338" y="122"/>
                  <a:pt x="338" y="122"/>
                  <a:pt x="338" y="122"/>
                </a:cubicBezTo>
                <a:cubicBezTo>
                  <a:pt x="338" y="123"/>
                  <a:pt x="338" y="123"/>
                  <a:pt x="338" y="123"/>
                </a:cubicBezTo>
                <a:cubicBezTo>
                  <a:pt x="339" y="123"/>
                  <a:pt x="339" y="123"/>
                  <a:pt x="339" y="123"/>
                </a:cubicBezTo>
                <a:cubicBezTo>
                  <a:pt x="338" y="124"/>
                  <a:pt x="338" y="124"/>
                  <a:pt x="338" y="124"/>
                </a:cubicBezTo>
                <a:cubicBezTo>
                  <a:pt x="337" y="124"/>
                  <a:pt x="337" y="124"/>
                  <a:pt x="337" y="124"/>
                </a:cubicBezTo>
                <a:close/>
                <a:moveTo>
                  <a:pt x="335" y="126"/>
                </a:moveTo>
                <a:cubicBezTo>
                  <a:pt x="334" y="125"/>
                  <a:pt x="334" y="125"/>
                  <a:pt x="334" y="125"/>
                </a:cubicBezTo>
                <a:cubicBezTo>
                  <a:pt x="334" y="123"/>
                  <a:pt x="334" y="123"/>
                  <a:pt x="334" y="123"/>
                </a:cubicBezTo>
                <a:cubicBezTo>
                  <a:pt x="334" y="123"/>
                  <a:pt x="334" y="123"/>
                  <a:pt x="334" y="123"/>
                </a:cubicBezTo>
                <a:cubicBezTo>
                  <a:pt x="335" y="123"/>
                  <a:pt x="335" y="123"/>
                  <a:pt x="335" y="123"/>
                </a:cubicBezTo>
                <a:cubicBezTo>
                  <a:pt x="336" y="123"/>
                  <a:pt x="336" y="123"/>
                  <a:pt x="336" y="123"/>
                </a:cubicBezTo>
                <a:cubicBezTo>
                  <a:pt x="336" y="123"/>
                  <a:pt x="336" y="123"/>
                  <a:pt x="336" y="123"/>
                </a:cubicBezTo>
                <a:cubicBezTo>
                  <a:pt x="337" y="123"/>
                  <a:pt x="337" y="123"/>
                  <a:pt x="337" y="123"/>
                </a:cubicBezTo>
                <a:cubicBezTo>
                  <a:pt x="336" y="124"/>
                  <a:pt x="336" y="124"/>
                  <a:pt x="336" y="124"/>
                </a:cubicBezTo>
                <a:cubicBezTo>
                  <a:pt x="336" y="125"/>
                  <a:pt x="336" y="125"/>
                  <a:pt x="336" y="125"/>
                </a:cubicBezTo>
                <a:cubicBezTo>
                  <a:pt x="336" y="125"/>
                  <a:pt x="336" y="125"/>
                  <a:pt x="336" y="125"/>
                </a:cubicBezTo>
                <a:cubicBezTo>
                  <a:pt x="335" y="125"/>
                  <a:pt x="335" y="125"/>
                  <a:pt x="335" y="125"/>
                </a:cubicBezTo>
                <a:cubicBezTo>
                  <a:pt x="335" y="126"/>
                  <a:pt x="335" y="126"/>
                  <a:pt x="335" y="126"/>
                </a:cubicBezTo>
                <a:close/>
                <a:moveTo>
                  <a:pt x="331" y="126"/>
                </a:moveTo>
                <a:cubicBezTo>
                  <a:pt x="331" y="125"/>
                  <a:pt x="331" y="125"/>
                  <a:pt x="331" y="125"/>
                </a:cubicBezTo>
                <a:cubicBezTo>
                  <a:pt x="332" y="125"/>
                  <a:pt x="332" y="125"/>
                  <a:pt x="332" y="125"/>
                </a:cubicBezTo>
                <a:cubicBezTo>
                  <a:pt x="332" y="125"/>
                  <a:pt x="332" y="125"/>
                  <a:pt x="332" y="125"/>
                </a:cubicBezTo>
                <a:cubicBezTo>
                  <a:pt x="332" y="126"/>
                  <a:pt x="332" y="126"/>
                  <a:pt x="332" y="126"/>
                </a:cubicBezTo>
                <a:cubicBezTo>
                  <a:pt x="331" y="126"/>
                  <a:pt x="331" y="126"/>
                  <a:pt x="331" y="126"/>
                </a:cubicBezTo>
                <a:close/>
                <a:moveTo>
                  <a:pt x="319" y="128"/>
                </a:moveTo>
                <a:cubicBezTo>
                  <a:pt x="318" y="127"/>
                  <a:pt x="318" y="127"/>
                  <a:pt x="318" y="127"/>
                </a:cubicBezTo>
                <a:cubicBezTo>
                  <a:pt x="317" y="127"/>
                  <a:pt x="317" y="127"/>
                  <a:pt x="317" y="127"/>
                </a:cubicBezTo>
                <a:cubicBezTo>
                  <a:pt x="316" y="127"/>
                  <a:pt x="316" y="127"/>
                  <a:pt x="316" y="127"/>
                </a:cubicBezTo>
                <a:cubicBezTo>
                  <a:pt x="316" y="125"/>
                  <a:pt x="316" y="125"/>
                  <a:pt x="316" y="125"/>
                </a:cubicBezTo>
                <a:cubicBezTo>
                  <a:pt x="316" y="125"/>
                  <a:pt x="316" y="125"/>
                  <a:pt x="316" y="125"/>
                </a:cubicBezTo>
                <a:cubicBezTo>
                  <a:pt x="316" y="124"/>
                  <a:pt x="316" y="124"/>
                  <a:pt x="316" y="124"/>
                </a:cubicBezTo>
                <a:cubicBezTo>
                  <a:pt x="317" y="123"/>
                  <a:pt x="317" y="123"/>
                  <a:pt x="317" y="123"/>
                </a:cubicBezTo>
                <a:cubicBezTo>
                  <a:pt x="317" y="123"/>
                  <a:pt x="317" y="123"/>
                  <a:pt x="317" y="123"/>
                </a:cubicBezTo>
                <a:cubicBezTo>
                  <a:pt x="318" y="124"/>
                  <a:pt x="318" y="124"/>
                  <a:pt x="318" y="124"/>
                </a:cubicBezTo>
                <a:cubicBezTo>
                  <a:pt x="318" y="124"/>
                  <a:pt x="318" y="124"/>
                  <a:pt x="318" y="124"/>
                </a:cubicBezTo>
                <a:cubicBezTo>
                  <a:pt x="318" y="123"/>
                  <a:pt x="318" y="123"/>
                  <a:pt x="318" y="123"/>
                </a:cubicBezTo>
                <a:cubicBezTo>
                  <a:pt x="318" y="122"/>
                  <a:pt x="318" y="122"/>
                  <a:pt x="318" y="122"/>
                </a:cubicBezTo>
                <a:cubicBezTo>
                  <a:pt x="317" y="122"/>
                  <a:pt x="317" y="122"/>
                  <a:pt x="317" y="122"/>
                </a:cubicBezTo>
                <a:cubicBezTo>
                  <a:pt x="316" y="121"/>
                  <a:pt x="316" y="121"/>
                  <a:pt x="316" y="121"/>
                </a:cubicBezTo>
                <a:cubicBezTo>
                  <a:pt x="316" y="121"/>
                  <a:pt x="316" y="121"/>
                  <a:pt x="316" y="121"/>
                </a:cubicBezTo>
                <a:cubicBezTo>
                  <a:pt x="316" y="120"/>
                  <a:pt x="316" y="120"/>
                  <a:pt x="316" y="120"/>
                </a:cubicBezTo>
                <a:cubicBezTo>
                  <a:pt x="317" y="120"/>
                  <a:pt x="317" y="120"/>
                  <a:pt x="317" y="120"/>
                </a:cubicBezTo>
                <a:cubicBezTo>
                  <a:pt x="317" y="121"/>
                  <a:pt x="317" y="121"/>
                  <a:pt x="317" y="121"/>
                </a:cubicBezTo>
                <a:cubicBezTo>
                  <a:pt x="318" y="120"/>
                  <a:pt x="318" y="120"/>
                  <a:pt x="318" y="120"/>
                </a:cubicBezTo>
                <a:cubicBezTo>
                  <a:pt x="318" y="120"/>
                  <a:pt x="318" y="120"/>
                  <a:pt x="318" y="120"/>
                </a:cubicBezTo>
                <a:cubicBezTo>
                  <a:pt x="318" y="119"/>
                  <a:pt x="318" y="119"/>
                  <a:pt x="318" y="119"/>
                </a:cubicBezTo>
                <a:cubicBezTo>
                  <a:pt x="319" y="120"/>
                  <a:pt x="319" y="120"/>
                  <a:pt x="319" y="120"/>
                </a:cubicBezTo>
                <a:cubicBezTo>
                  <a:pt x="321" y="120"/>
                  <a:pt x="321" y="120"/>
                  <a:pt x="321" y="120"/>
                </a:cubicBezTo>
                <a:cubicBezTo>
                  <a:pt x="322" y="120"/>
                  <a:pt x="322" y="120"/>
                  <a:pt x="322" y="120"/>
                </a:cubicBezTo>
                <a:cubicBezTo>
                  <a:pt x="321" y="119"/>
                  <a:pt x="321" y="119"/>
                  <a:pt x="321" y="119"/>
                </a:cubicBezTo>
                <a:cubicBezTo>
                  <a:pt x="320" y="119"/>
                  <a:pt x="320" y="119"/>
                  <a:pt x="320" y="119"/>
                </a:cubicBezTo>
                <a:cubicBezTo>
                  <a:pt x="321" y="119"/>
                  <a:pt x="321" y="119"/>
                  <a:pt x="321" y="119"/>
                </a:cubicBezTo>
                <a:cubicBezTo>
                  <a:pt x="323" y="119"/>
                  <a:pt x="323" y="119"/>
                  <a:pt x="323" y="119"/>
                </a:cubicBezTo>
                <a:cubicBezTo>
                  <a:pt x="324" y="118"/>
                  <a:pt x="324" y="118"/>
                  <a:pt x="324" y="118"/>
                </a:cubicBezTo>
                <a:cubicBezTo>
                  <a:pt x="325" y="118"/>
                  <a:pt x="325" y="118"/>
                  <a:pt x="325" y="118"/>
                </a:cubicBezTo>
                <a:cubicBezTo>
                  <a:pt x="327" y="118"/>
                  <a:pt x="327" y="118"/>
                  <a:pt x="327" y="118"/>
                </a:cubicBezTo>
                <a:cubicBezTo>
                  <a:pt x="328" y="118"/>
                  <a:pt x="328" y="118"/>
                  <a:pt x="328" y="118"/>
                </a:cubicBezTo>
                <a:cubicBezTo>
                  <a:pt x="327" y="117"/>
                  <a:pt x="327" y="117"/>
                  <a:pt x="327" y="117"/>
                </a:cubicBezTo>
                <a:cubicBezTo>
                  <a:pt x="322" y="116"/>
                  <a:pt x="322" y="116"/>
                  <a:pt x="322" y="116"/>
                </a:cubicBezTo>
                <a:cubicBezTo>
                  <a:pt x="321" y="116"/>
                  <a:pt x="321" y="116"/>
                  <a:pt x="321" y="116"/>
                </a:cubicBezTo>
                <a:cubicBezTo>
                  <a:pt x="320" y="116"/>
                  <a:pt x="320" y="116"/>
                  <a:pt x="320" y="116"/>
                </a:cubicBezTo>
                <a:cubicBezTo>
                  <a:pt x="318" y="116"/>
                  <a:pt x="318" y="116"/>
                  <a:pt x="318" y="116"/>
                </a:cubicBezTo>
                <a:cubicBezTo>
                  <a:pt x="317" y="115"/>
                  <a:pt x="317" y="115"/>
                  <a:pt x="317" y="115"/>
                </a:cubicBezTo>
                <a:cubicBezTo>
                  <a:pt x="316" y="116"/>
                  <a:pt x="316" y="116"/>
                  <a:pt x="316" y="116"/>
                </a:cubicBezTo>
                <a:cubicBezTo>
                  <a:pt x="315" y="115"/>
                  <a:pt x="315" y="115"/>
                  <a:pt x="315" y="115"/>
                </a:cubicBezTo>
                <a:cubicBezTo>
                  <a:pt x="314" y="115"/>
                  <a:pt x="314" y="115"/>
                  <a:pt x="314" y="115"/>
                </a:cubicBezTo>
                <a:cubicBezTo>
                  <a:pt x="313" y="116"/>
                  <a:pt x="313" y="116"/>
                  <a:pt x="313" y="116"/>
                </a:cubicBezTo>
                <a:cubicBezTo>
                  <a:pt x="313" y="115"/>
                  <a:pt x="313" y="115"/>
                  <a:pt x="313" y="115"/>
                </a:cubicBezTo>
                <a:cubicBezTo>
                  <a:pt x="312" y="115"/>
                  <a:pt x="312" y="115"/>
                  <a:pt x="312" y="115"/>
                </a:cubicBezTo>
                <a:cubicBezTo>
                  <a:pt x="312" y="115"/>
                  <a:pt x="312" y="115"/>
                  <a:pt x="312" y="115"/>
                </a:cubicBezTo>
                <a:cubicBezTo>
                  <a:pt x="312" y="114"/>
                  <a:pt x="312" y="114"/>
                  <a:pt x="312" y="114"/>
                </a:cubicBezTo>
                <a:cubicBezTo>
                  <a:pt x="313" y="114"/>
                  <a:pt x="313" y="114"/>
                  <a:pt x="313" y="114"/>
                </a:cubicBezTo>
                <a:cubicBezTo>
                  <a:pt x="313" y="113"/>
                  <a:pt x="313" y="113"/>
                  <a:pt x="313" y="113"/>
                </a:cubicBezTo>
                <a:cubicBezTo>
                  <a:pt x="314" y="113"/>
                  <a:pt x="314" y="113"/>
                  <a:pt x="314" y="113"/>
                </a:cubicBezTo>
                <a:cubicBezTo>
                  <a:pt x="315" y="113"/>
                  <a:pt x="315" y="113"/>
                  <a:pt x="315" y="113"/>
                </a:cubicBezTo>
                <a:cubicBezTo>
                  <a:pt x="314" y="113"/>
                  <a:pt x="314" y="113"/>
                  <a:pt x="314" y="113"/>
                </a:cubicBezTo>
                <a:cubicBezTo>
                  <a:pt x="315" y="112"/>
                  <a:pt x="315" y="112"/>
                  <a:pt x="315" y="112"/>
                </a:cubicBezTo>
                <a:cubicBezTo>
                  <a:pt x="315" y="111"/>
                  <a:pt x="315" y="111"/>
                  <a:pt x="315" y="111"/>
                </a:cubicBezTo>
                <a:cubicBezTo>
                  <a:pt x="316" y="111"/>
                  <a:pt x="316" y="111"/>
                  <a:pt x="316" y="111"/>
                </a:cubicBezTo>
                <a:cubicBezTo>
                  <a:pt x="317" y="111"/>
                  <a:pt x="317" y="111"/>
                  <a:pt x="317" y="111"/>
                </a:cubicBezTo>
                <a:cubicBezTo>
                  <a:pt x="317" y="112"/>
                  <a:pt x="317" y="112"/>
                  <a:pt x="317" y="112"/>
                </a:cubicBezTo>
                <a:cubicBezTo>
                  <a:pt x="318" y="112"/>
                  <a:pt x="318" y="112"/>
                  <a:pt x="318" y="112"/>
                </a:cubicBezTo>
                <a:cubicBezTo>
                  <a:pt x="318" y="114"/>
                  <a:pt x="318" y="114"/>
                  <a:pt x="318" y="114"/>
                </a:cubicBezTo>
                <a:cubicBezTo>
                  <a:pt x="318" y="114"/>
                  <a:pt x="318" y="114"/>
                  <a:pt x="318" y="114"/>
                </a:cubicBezTo>
                <a:cubicBezTo>
                  <a:pt x="319" y="114"/>
                  <a:pt x="319" y="114"/>
                  <a:pt x="319" y="114"/>
                </a:cubicBezTo>
                <a:cubicBezTo>
                  <a:pt x="319" y="112"/>
                  <a:pt x="319" y="112"/>
                  <a:pt x="319" y="112"/>
                </a:cubicBezTo>
                <a:cubicBezTo>
                  <a:pt x="318" y="112"/>
                  <a:pt x="318" y="112"/>
                  <a:pt x="318" y="112"/>
                </a:cubicBezTo>
                <a:cubicBezTo>
                  <a:pt x="318" y="111"/>
                  <a:pt x="318" y="111"/>
                  <a:pt x="318" y="111"/>
                </a:cubicBezTo>
                <a:cubicBezTo>
                  <a:pt x="320" y="110"/>
                  <a:pt x="320" y="110"/>
                  <a:pt x="320" y="110"/>
                </a:cubicBezTo>
                <a:cubicBezTo>
                  <a:pt x="320" y="109"/>
                  <a:pt x="320" y="109"/>
                  <a:pt x="320" y="109"/>
                </a:cubicBezTo>
                <a:cubicBezTo>
                  <a:pt x="319" y="109"/>
                  <a:pt x="319" y="109"/>
                  <a:pt x="319" y="109"/>
                </a:cubicBezTo>
                <a:cubicBezTo>
                  <a:pt x="319" y="107"/>
                  <a:pt x="319" y="107"/>
                  <a:pt x="319" y="107"/>
                </a:cubicBezTo>
                <a:cubicBezTo>
                  <a:pt x="320" y="107"/>
                  <a:pt x="320" y="107"/>
                  <a:pt x="320" y="107"/>
                </a:cubicBezTo>
                <a:cubicBezTo>
                  <a:pt x="321" y="106"/>
                  <a:pt x="321" y="106"/>
                  <a:pt x="321" y="106"/>
                </a:cubicBezTo>
                <a:cubicBezTo>
                  <a:pt x="322" y="106"/>
                  <a:pt x="322" y="106"/>
                  <a:pt x="322" y="106"/>
                </a:cubicBezTo>
                <a:cubicBezTo>
                  <a:pt x="321" y="105"/>
                  <a:pt x="321" y="105"/>
                  <a:pt x="321" y="105"/>
                </a:cubicBezTo>
                <a:cubicBezTo>
                  <a:pt x="321" y="105"/>
                  <a:pt x="321" y="105"/>
                  <a:pt x="321" y="105"/>
                </a:cubicBezTo>
                <a:cubicBezTo>
                  <a:pt x="320" y="105"/>
                  <a:pt x="320" y="105"/>
                  <a:pt x="320" y="105"/>
                </a:cubicBezTo>
                <a:cubicBezTo>
                  <a:pt x="320" y="104"/>
                  <a:pt x="320" y="104"/>
                  <a:pt x="320" y="104"/>
                </a:cubicBezTo>
                <a:cubicBezTo>
                  <a:pt x="321" y="103"/>
                  <a:pt x="321" y="103"/>
                  <a:pt x="321" y="103"/>
                </a:cubicBezTo>
                <a:cubicBezTo>
                  <a:pt x="322" y="102"/>
                  <a:pt x="322" y="102"/>
                  <a:pt x="322" y="102"/>
                </a:cubicBezTo>
                <a:cubicBezTo>
                  <a:pt x="323" y="102"/>
                  <a:pt x="323" y="102"/>
                  <a:pt x="323" y="102"/>
                </a:cubicBezTo>
                <a:cubicBezTo>
                  <a:pt x="323" y="102"/>
                  <a:pt x="323" y="102"/>
                  <a:pt x="323" y="102"/>
                </a:cubicBezTo>
                <a:cubicBezTo>
                  <a:pt x="324" y="103"/>
                  <a:pt x="324" y="103"/>
                  <a:pt x="324" y="103"/>
                </a:cubicBezTo>
                <a:cubicBezTo>
                  <a:pt x="324" y="104"/>
                  <a:pt x="324" y="104"/>
                  <a:pt x="324" y="104"/>
                </a:cubicBezTo>
                <a:cubicBezTo>
                  <a:pt x="324" y="105"/>
                  <a:pt x="324" y="105"/>
                  <a:pt x="324" y="105"/>
                </a:cubicBezTo>
                <a:cubicBezTo>
                  <a:pt x="324" y="105"/>
                  <a:pt x="324" y="105"/>
                  <a:pt x="324" y="105"/>
                </a:cubicBezTo>
                <a:cubicBezTo>
                  <a:pt x="324" y="106"/>
                  <a:pt x="324" y="106"/>
                  <a:pt x="324" y="106"/>
                </a:cubicBezTo>
                <a:cubicBezTo>
                  <a:pt x="325" y="107"/>
                  <a:pt x="325" y="107"/>
                  <a:pt x="325" y="107"/>
                </a:cubicBezTo>
                <a:cubicBezTo>
                  <a:pt x="325" y="111"/>
                  <a:pt x="325" y="111"/>
                  <a:pt x="325" y="111"/>
                </a:cubicBezTo>
                <a:cubicBezTo>
                  <a:pt x="325" y="112"/>
                  <a:pt x="325" y="112"/>
                  <a:pt x="325" y="112"/>
                </a:cubicBezTo>
                <a:cubicBezTo>
                  <a:pt x="325" y="112"/>
                  <a:pt x="325" y="112"/>
                  <a:pt x="325" y="112"/>
                </a:cubicBezTo>
                <a:cubicBezTo>
                  <a:pt x="326" y="113"/>
                  <a:pt x="326" y="113"/>
                  <a:pt x="326" y="113"/>
                </a:cubicBezTo>
                <a:cubicBezTo>
                  <a:pt x="328" y="112"/>
                  <a:pt x="328" y="112"/>
                  <a:pt x="328" y="112"/>
                </a:cubicBezTo>
                <a:cubicBezTo>
                  <a:pt x="327" y="111"/>
                  <a:pt x="327" y="111"/>
                  <a:pt x="327" y="111"/>
                </a:cubicBezTo>
                <a:cubicBezTo>
                  <a:pt x="327" y="109"/>
                  <a:pt x="327" y="109"/>
                  <a:pt x="327" y="109"/>
                </a:cubicBezTo>
                <a:cubicBezTo>
                  <a:pt x="328" y="109"/>
                  <a:pt x="328" y="109"/>
                  <a:pt x="328" y="109"/>
                </a:cubicBezTo>
                <a:cubicBezTo>
                  <a:pt x="328" y="108"/>
                  <a:pt x="328" y="108"/>
                  <a:pt x="328" y="108"/>
                </a:cubicBezTo>
                <a:cubicBezTo>
                  <a:pt x="326" y="107"/>
                  <a:pt x="326" y="107"/>
                  <a:pt x="326" y="107"/>
                </a:cubicBezTo>
                <a:cubicBezTo>
                  <a:pt x="327" y="106"/>
                  <a:pt x="327" y="106"/>
                  <a:pt x="327" y="106"/>
                </a:cubicBezTo>
                <a:cubicBezTo>
                  <a:pt x="328" y="106"/>
                  <a:pt x="328" y="106"/>
                  <a:pt x="328" y="106"/>
                </a:cubicBezTo>
                <a:cubicBezTo>
                  <a:pt x="329" y="107"/>
                  <a:pt x="329" y="107"/>
                  <a:pt x="329" y="107"/>
                </a:cubicBezTo>
                <a:cubicBezTo>
                  <a:pt x="329" y="106"/>
                  <a:pt x="329" y="106"/>
                  <a:pt x="329" y="106"/>
                </a:cubicBezTo>
                <a:cubicBezTo>
                  <a:pt x="327" y="105"/>
                  <a:pt x="327" y="105"/>
                  <a:pt x="327" y="105"/>
                </a:cubicBezTo>
                <a:cubicBezTo>
                  <a:pt x="327" y="103"/>
                  <a:pt x="327" y="103"/>
                  <a:pt x="327" y="103"/>
                </a:cubicBezTo>
                <a:cubicBezTo>
                  <a:pt x="327" y="103"/>
                  <a:pt x="327" y="103"/>
                  <a:pt x="327" y="103"/>
                </a:cubicBezTo>
                <a:cubicBezTo>
                  <a:pt x="327" y="101"/>
                  <a:pt x="327" y="101"/>
                  <a:pt x="327" y="101"/>
                </a:cubicBezTo>
                <a:cubicBezTo>
                  <a:pt x="328" y="101"/>
                  <a:pt x="328" y="101"/>
                  <a:pt x="328" y="101"/>
                </a:cubicBezTo>
                <a:cubicBezTo>
                  <a:pt x="329" y="100"/>
                  <a:pt x="329" y="100"/>
                  <a:pt x="329" y="100"/>
                </a:cubicBezTo>
                <a:cubicBezTo>
                  <a:pt x="330" y="100"/>
                  <a:pt x="330" y="100"/>
                  <a:pt x="330" y="100"/>
                </a:cubicBezTo>
                <a:cubicBezTo>
                  <a:pt x="331" y="100"/>
                  <a:pt x="331" y="100"/>
                  <a:pt x="331" y="100"/>
                </a:cubicBezTo>
                <a:cubicBezTo>
                  <a:pt x="331" y="100"/>
                  <a:pt x="332" y="99"/>
                  <a:pt x="332" y="99"/>
                </a:cubicBezTo>
                <a:cubicBezTo>
                  <a:pt x="332" y="99"/>
                  <a:pt x="333" y="99"/>
                  <a:pt x="333" y="99"/>
                </a:cubicBezTo>
                <a:cubicBezTo>
                  <a:pt x="333" y="100"/>
                  <a:pt x="333" y="100"/>
                  <a:pt x="333" y="100"/>
                </a:cubicBezTo>
                <a:cubicBezTo>
                  <a:pt x="334" y="101"/>
                  <a:pt x="334" y="101"/>
                  <a:pt x="334" y="101"/>
                </a:cubicBezTo>
                <a:cubicBezTo>
                  <a:pt x="335" y="100"/>
                  <a:pt x="335" y="100"/>
                  <a:pt x="335" y="100"/>
                </a:cubicBezTo>
                <a:cubicBezTo>
                  <a:pt x="336" y="101"/>
                  <a:pt x="336" y="101"/>
                  <a:pt x="336" y="101"/>
                </a:cubicBezTo>
                <a:cubicBezTo>
                  <a:pt x="335" y="103"/>
                  <a:pt x="335" y="103"/>
                  <a:pt x="335" y="103"/>
                </a:cubicBezTo>
                <a:cubicBezTo>
                  <a:pt x="334" y="104"/>
                  <a:pt x="334" y="104"/>
                  <a:pt x="334" y="104"/>
                </a:cubicBezTo>
                <a:cubicBezTo>
                  <a:pt x="335" y="105"/>
                  <a:pt x="335" y="105"/>
                  <a:pt x="335" y="105"/>
                </a:cubicBezTo>
                <a:cubicBezTo>
                  <a:pt x="335" y="105"/>
                  <a:pt x="335" y="105"/>
                  <a:pt x="335" y="105"/>
                </a:cubicBezTo>
                <a:cubicBezTo>
                  <a:pt x="336" y="105"/>
                  <a:pt x="336" y="105"/>
                  <a:pt x="336" y="105"/>
                </a:cubicBezTo>
                <a:cubicBezTo>
                  <a:pt x="336" y="105"/>
                  <a:pt x="336" y="105"/>
                  <a:pt x="336" y="105"/>
                </a:cubicBezTo>
                <a:cubicBezTo>
                  <a:pt x="337" y="104"/>
                  <a:pt x="337" y="104"/>
                  <a:pt x="337" y="104"/>
                </a:cubicBezTo>
                <a:cubicBezTo>
                  <a:pt x="337" y="102"/>
                  <a:pt x="337" y="102"/>
                  <a:pt x="337" y="102"/>
                </a:cubicBezTo>
                <a:cubicBezTo>
                  <a:pt x="338" y="101"/>
                  <a:pt x="338" y="101"/>
                  <a:pt x="338" y="101"/>
                </a:cubicBezTo>
                <a:cubicBezTo>
                  <a:pt x="339" y="102"/>
                  <a:pt x="339" y="102"/>
                  <a:pt x="339" y="102"/>
                </a:cubicBezTo>
                <a:cubicBezTo>
                  <a:pt x="340" y="102"/>
                  <a:pt x="340" y="102"/>
                  <a:pt x="340" y="102"/>
                </a:cubicBezTo>
                <a:cubicBezTo>
                  <a:pt x="340" y="101"/>
                  <a:pt x="340" y="101"/>
                  <a:pt x="340" y="101"/>
                </a:cubicBezTo>
                <a:cubicBezTo>
                  <a:pt x="339" y="100"/>
                  <a:pt x="339" y="100"/>
                  <a:pt x="339" y="100"/>
                </a:cubicBezTo>
                <a:cubicBezTo>
                  <a:pt x="340" y="100"/>
                  <a:pt x="340" y="100"/>
                  <a:pt x="340" y="100"/>
                </a:cubicBezTo>
                <a:cubicBezTo>
                  <a:pt x="341" y="101"/>
                  <a:pt x="341" y="101"/>
                  <a:pt x="341" y="101"/>
                </a:cubicBezTo>
                <a:cubicBezTo>
                  <a:pt x="341" y="102"/>
                  <a:pt x="341" y="102"/>
                  <a:pt x="341" y="102"/>
                </a:cubicBezTo>
                <a:cubicBezTo>
                  <a:pt x="341" y="103"/>
                  <a:pt x="341" y="103"/>
                  <a:pt x="341" y="103"/>
                </a:cubicBezTo>
                <a:cubicBezTo>
                  <a:pt x="340" y="103"/>
                  <a:pt x="340" y="103"/>
                  <a:pt x="340" y="103"/>
                </a:cubicBezTo>
                <a:cubicBezTo>
                  <a:pt x="340" y="103"/>
                  <a:pt x="340" y="103"/>
                  <a:pt x="340" y="103"/>
                </a:cubicBezTo>
                <a:cubicBezTo>
                  <a:pt x="340" y="104"/>
                  <a:pt x="340" y="104"/>
                  <a:pt x="340" y="104"/>
                </a:cubicBezTo>
                <a:cubicBezTo>
                  <a:pt x="342" y="105"/>
                  <a:pt x="342" y="105"/>
                  <a:pt x="342" y="105"/>
                </a:cubicBezTo>
                <a:cubicBezTo>
                  <a:pt x="342" y="106"/>
                  <a:pt x="342" y="106"/>
                  <a:pt x="342" y="106"/>
                </a:cubicBezTo>
                <a:cubicBezTo>
                  <a:pt x="342" y="107"/>
                  <a:pt x="342" y="107"/>
                  <a:pt x="342" y="107"/>
                </a:cubicBezTo>
                <a:cubicBezTo>
                  <a:pt x="341" y="108"/>
                  <a:pt x="341" y="108"/>
                  <a:pt x="341" y="108"/>
                </a:cubicBezTo>
                <a:cubicBezTo>
                  <a:pt x="340" y="110"/>
                  <a:pt x="340" y="110"/>
                  <a:pt x="340" y="110"/>
                </a:cubicBezTo>
                <a:cubicBezTo>
                  <a:pt x="340" y="111"/>
                  <a:pt x="340" y="111"/>
                  <a:pt x="340" y="111"/>
                </a:cubicBezTo>
                <a:cubicBezTo>
                  <a:pt x="339" y="112"/>
                  <a:pt x="339" y="112"/>
                  <a:pt x="339" y="112"/>
                </a:cubicBezTo>
                <a:cubicBezTo>
                  <a:pt x="338" y="113"/>
                  <a:pt x="338" y="113"/>
                  <a:pt x="338" y="113"/>
                </a:cubicBezTo>
                <a:cubicBezTo>
                  <a:pt x="337" y="114"/>
                  <a:pt x="337" y="114"/>
                  <a:pt x="337" y="114"/>
                </a:cubicBezTo>
                <a:cubicBezTo>
                  <a:pt x="336" y="115"/>
                  <a:pt x="336" y="115"/>
                  <a:pt x="336" y="115"/>
                </a:cubicBezTo>
                <a:cubicBezTo>
                  <a:pt x="335" y="116"/>
                  <a:pt x="335" y="116"/>
                  <a:pt x="335" y="116"/>
                </a:cubicBezTo>
                <a:cubicBezTo>
                  <a:pt x="335" y="117"/>
                  <a:pt x="335" y="117"/>
                  <a:pt x="335" y="117"/>
                </a:cubicBezTo>
                <a:cubicBezTo>
                  <a:pt x="335" y="118"/>
                  <a:pt x="335" y="118"/>
                  <a:pt x="335" y="118"/>
                </a:cubicBezTo>
                <a:cubicBezTo>
                  <a:pt x="334" y="118"/>
                  <a:pt x="334" y="118"/>
                  <a:pt x="334" y="118"/>
                </a:cubicBezTo>
                <a:cubicBezTo>
                  <a:pt x="333" y="118"/>
                  <a:pt x="333" y="118"/>
                  <a:pt x="333" y="118"/>
                </a:cubicBezTo>
                <a:cubicBezTo>
                  <a:pt x="333" y="118"/>
                  <a:pt x="333" y="118"/>
                  <a:pt x="333" y="118"/>
                </a:cubicBezTo>
                <a:cubicBezTo>
                  <a:pt x="333" y="119"/>
                  <a:pt x="333" y="119"/>
                  <a:pt x="333" y="119"/>
                </a:cubicBezTo>
                <a:cubicBezTo>
                  <a:pt x="334" y="119"/>
                  <a:pt x="334" y="119"/>
                  <a:pt x="334" y="119"/>
                </a:cubicBezTo>
                <a:cubicBezTo>
                  <a:pt x="334" y="120"/>
                  <a:pt x="334" y="120"/>
                  <a:pt x="334" y="120"/>
                </a:cubicBezTo>
                <a:cubicBezTo>
                  <a:pt x="333" y="122"/>
                  <a:pt x="333" y="122"/>
                  <a:pt x="333" y="122"/>
                </a:cubicBezTo>
                <a:cubicBezTo>
                  <a:pt x="332" y="123"/>
                  <a:pt x="332" y="123"/>
                  <a:pt x="332" y="123"/>
                </a:cubicBezTo>
                <a:cubicBezTo>
                  <a:pt x="332" y="122"/>
                  <a:pt x="332" y="122"/>
                  <a:pt x="332" y="122"/>
                </a:cubicBezTo>
                <a:cubicBezTo>
                  <a:pt x="332" y="121"/>
                  <a:pt x="332" y="121"/>
                  <a:pt x="332" y="121"/>
                </a:cubicBezTo>
                <a:cubicBezTo>
                  <a:pt x="331" y="121"/>
                  <a:pt x="331" y="121"/>
                  <a:pt x="331" y="121"/>
                </a:cubicBezTo>
                <a:cubicBezTo>
                  <a:pt x="331" y="121"/>
                  <a:pt x="331" y="121"/>
                  <a:pt x="331" y="121"/>
                </a:cubicBezTo>
                <a:cubicBezTo>
                  <a:pt x="331" y="122"/>
                  <a:pt x="331" y="122"/>
                  <a:pt x="331" y="122"/>
                </a:cubicBezTo>
                <a:cubicBezTo>
                  <a:pt x="330" y="123"/>
                  <a:pt x="330" y="123"/>
                  <a:pt x="330" y="123"/>
                </a:cubicBezTo>
                <a:cubicBezTo>
                  <a:pt x="329" y="123"/>
                  <a:pt x="329" y="123"/>
                  <a:pt x="329" y="123"/>
                </a:cubicBezTo>
                <a:cubicBezTo>
                  <a:pt x="328" y="124"/>
                  <a:pt x="328" y="124"/>
                  <a:pt x="328" y="124"/>
                </a:cubicBezTo>
                <a:cubicBezTo>
                  <a:pt x="328" y="125"/>
                  <a:pt x="328" y="125"/>
                  <a:pt x="328" y="125"/>
                </a:cubicBezTo>
                <a:cubicBezTo>
                  <a:pt x="328" y="125"/>
                  <a:pt x="328" y="125"/>
                  <a:pt x="328" y="125"/>
                </a:cubicBezTo>
                <a:cubicBezTo>
                  <a:pt x="329" y="125"/>
                  <a:pt x="329" y="125"/>
                  <a:pt x="329" y="125"/>
                </a:cubicBezTo>
                <a:cubicBezTo>
                  <a:pt x="329" y="126"/>
                  <a:pt x="329" y="126"/>
                  <a:pt x="329" y="126"/>
                </a:cubicBezTo>
                <a:cubicBezTo>
                  <a:pt x="329" y="126"/>
                  <a:pt x="329" y="126"/>
                  <a:pt x="329" y="126"/>
                </a:cubicBezTo>
                <a:cubicBezTo>
                  <a:pt x="329" y="127"/>
                  <a:pt x="329" y="127"/>
                  <a:pt x="329" y="127"/>
                </a:cubicBezTo>
                <a:cubicBezTo>
                  <a:pt x="329" y="128"/>
                  <a:pt x="329" y="128"/>
                  <a:pt x="329" y="128"/>
                </a:cubicBezTo>
                <a:cubicBezTo>
                  <a:pt x="328" y="129"/>
                  <a:pt x="328" y="129"/>
                  <a:pt x="328" y="129"/>
                </a:cubicBezTo>
                <a:cubicBezTo>
                  <a:pt x="328" y="127"/>
                  <a:pt x="328" y="127"/>
                  <a:pt x="328" y="127"/>
                </a:cubicBezTo>
                <a:cubicBezTo>
                  <a:pt x="327" y="126"/>
                  <a:pt x="327" y="126"/>
                  <a:pt x="327" y="126"/>
                </a:cubicBezTo>
                <a:cubicBezTo>
                  <a:pt x="327" y="125"/>
                  <a:pt x="327" y="125"/>
                  <a:pt x="327" y="125"/>
                </a:cubicBezTo>
                <a:cubicBezTo>
                  <a:pt x="327" y="126"/>
                  <a:pt x="327" y="126"/>
                  <a:pt x="327" y="126"/>
                </a:cubicBezTo>
                <a:cubicBezTo>
                  <a:pt x="327" y="127"/>
                  <a:pt x="327" y="127"/>
                  <a:pt x="327" y="127"/>
                </a:cubicBezTo>
                <a:cubicBezTo>
                  <a:pt x="327" y="128"/>
                  <a:pt x="327" y="128"/>
                  <a:pt x="327" y="128"/>
                </a:cubicBezTo>
                <a:cubicBezTo>
                  <a:pt x="326" y="129"/>
                  <a:pt x="326" y="129"/>
                  <a:pt x="326" y="129"/>
                </a:cubicBezTo>
                <a:cubicBezTo>
                  <a:pt x="323" y="129"/>
                  <a:pt x="323" y="129"/>
                  <a:pt x="323" y="129"/>
                </a:cubicBezTo>
                <a:cubicBezTo>
                  <a:pt x="322" y="128"/>
                  <a:pt x="322" y="128"/>
                  <a:pt x="322" y="128"/>
                </a:cubicBezTo>
                <a:cubicBezTo>
                  <a:pt x="322" y="127"/>
                  <a:pt x="322" y="127"/>
                  <a:pt x="322" y="127"/>
                </a:cubicBezTo>
                <a:cubicBezTo>
                  <a:pt x="321" y="128"/>
                  <a:pt x="321" y="128"/>
                  <a:pt x="321" y="128"/>
                </a:cubicBezTo>
                <a:cubicBezTo>
                  <a:pt x="320" y="128"/>
                  <a:pt x="320" y="128"/>
                  <a:pt x="320" y="128"/>
                </a:cubicBezTo>
                <a:cubicBezTo>
                  <a:pt x="320" y="127"/>
                  <a:pt x="320" y="127"/>
                  <a:pt x="320" y="127"/>
                </a:cubicBezTo>
                <a:cubicBezTo>
                  <a:pt x="321" y="126"/>
                  <a:pt x="321" y="126"/>
                  <a:pt x="321" y="126"/>
                </a:cubicBezTo>
                <a:cubicBezTo>
                  <a:pt x="320" y="127"/>
                  <a:pt x="320" y="127"/>
                  <a:pt x="320" y="127"/>
                </a:cubicBezTo>
                <a:cubicBezTo>
                  <a:pt x="319" y="128"/>
                  <a:pt x="319" y="128"/>
                  <a:pt x="319" y="128"/>
                </a:cubicBezTo>
                <a:cubicBezTo>
                  <a:pt x="319" y="128"/>
                  <a:pt x="319" y="128"/>
                  <a:pt x="319" y="128"/>
                </a:cubicBezTo>
                <a:close/>
                <a:moveTo>
                  <a:pt x="237" y="93"/>
                </a:moveTo>
                <a:cubicBezTo>
                  <a:pt x="236" y="93"/>
                  <a:pt x="236" y="93"/>
                  <a:pt x="236" y="93"/>
                </a:cubicBezTo>
                <a:cubicBezTo>
                  <a:pt x="237" y="92"/>
                  <a:pt x="237" y="92"/>
                  <a:pt x="237" y="92"/>
                </a:cubicBezTo>
                <a:cubicBezTo>
                  <a:pt x="240" y="90"/>
                  <a:pt x="240" y="90"/>
                  <a:pt x="240" y="90"/>
                </a:cubicBezTo>
                <a:cubicBezTo>
                  <a:pt x="241" y="89"/>
                  <a:pt x="241" y="89"/>
                  <a:pt x="241" y="89"/>
                </a:cubicBezTo>
                <a:cubicBezTo>
                  <a:pt x="242" y="88"/>
                  <a:pt x="242" y="88"/>
                  <a:pt x="242" y="88"/>
                </a:cubicBezTo>
                <a:cubicBezTo>
                  <a:pt x="243" y="88"/>
                  <a:pt x="243" y="88"/>
                  <a:pt x="243" y="88"/>
                </a:cubicBezTo>
                <a:cubicBezTo>
                  <a:pt x="245" y="87"/>
                  <a:pt x="245" y="87"/>
                  <a:pt x="245" y="87"/>
                </a:cubicBezTo>
                <a:cubicBezTo>
                  <a:pt x="247" y="87"/>
                  <a:pt x="247" y="87"/>
                  <a:pt x="247" y="87"/>
                </a:cubicBezTo>
                <a:cubicBezTo>
                  <a:pt x="248" y="86"/>
                  <a:pt x="248" y="86"/>
                  <a:pt x="248" y="86"/>
                </a:cubicBezTo>
                <a:cubicBezTo>
                  <a:pt x="248" y="86"/>
                  <a:pt x="248" y="86"/>
                  <a:pt x="248" y="86"/>
                </a:cubicBezTo>
                <a:cubicBezTo>
                  <a:pt x="250" y="86"/>
                  <a:pt x="250" y="86"/>
                  <a:pt x="250" y="86"/>
                </a:cubicBezTo>
                <a:cubicBezTo>
                  <a:pt x="251" y="86"/>
                  <a:pt x="251" y="86"/>
                  <a:pt x="251" y="86"/>
                </a:cubicBezTo>
                <a:cubicBezTo>
                  <a:pt x="250" y="87"/>
                  <a:pt x="250" y="87"/>
                  <a:pt x="250" y="87"/>
                </a:cubicBezTo>
                <a:cubicBezTo>
                  <a:pt x="249" y="88"/>
                  <a:pt x="249" y="88"/>
                  <a:pt x="249" y="88"/>
                </a:cubicBezTo>
                <a:cubicBezTo>
                  <a:pt x="247" y="89"/>
                  <a:pt x="247" y="89"/>
                  <a:pt x="247" y="89"/>
                </a:cubicBezTo>
                <a:cubicBezTo>
                  <a:pt x="243" y="92"/>
                  <a:pt x="243" y="92"/>
                  <a:pt x="243" y="92"/>
                </a:cubicBezTo>
                <a:cubicBezTo>
                  <a:pt x="242" y="94"/>
                  <a:pt x="242" y="94"/>
                  <a:pt x="242" y="94"/>
                </a:cubicBezTo>
                <a:cubicBezTo>
                  <a:pt x="241" y="94"/>
                  <a:pt x="241" y="94"/>
                  <a:pt x="241" y="94"/>
                </a:cubicBezTo>
                <a:cubicBezTo>
                  <a:pt x="240" y="94"/>
                  <a:pt x="240" y="94"/>
                  <a:pt x="240" y="94"/>
                </a:cubicBezTo>
                <a:cubicBezTo>
                  <a:pt x="239" y="95"/>
                  <a:pt x="239" y="95"/>
                  <a:pt x="239" y="95"/>
                </a:cubicBezTo>
                <a:cubicBezTo>
                  <a:pt x="239" y="95"/>
                  <a:pt x="239" y="95"/>
                  <a:pt x="239" y="95"/>
                </a:cubicBezTo>
                <a:cubicBezTo>
                  <a:pt x="238" y="94"/>
                  <a:pt x="238" y="94"/>
                  <a:pt x="238" y="94"/>
                </a:cubicBezTo>
                <a:cubicBezTo>
                  <a:pt x="238" y="93"/>
                  <a:pt x="238" y="93"/>
                  <a:pt x="238" y="93"/>
                </a:cubicBezTo>
                <a:cubicBezTo>
                  <a:pt x="237" y="93"/>
                  <a:pt x="237" y="93"/>
                  <a:pt x="237" y="93"/>
                </a:cubicBezTo>
                <a:close/>
                <a:moveTo>
                  <a:pt x="297" y="119"/>
                </a:moveTo>
                <a:cubicBezTo>
                  <a:pt x="297" y="119"/>
                  <a:pt x="297" y="119"/>
                  <a:pt x="297" y="119"/>
                </a:cubicBezTo>
                <a:cubicBezTo>
                  <a:pt x="297" y="118"/>
                  <a:pt x="297" y="118"/>
                  <a:pt x="297" y="118"/>
                </a:cubicBezTo>
                <a:cubicBezTo>
                  <a:pt x="299" y="118"/>
                  <a:pt x="299" y="118"/>
                  <a:pt x="299" y="118"/>
                </a:cubicBezTo>
                <a:cubicBezTo>
                  <a:pt x="299" y="117"/>
                  <a:pt x="299" y="117"/>
                  <a:pt x="299" y="117"/>
                </a:cubicBezTo>
                <a:cubicBezTo>
                  <a:pt x="299" y="116"/>
                  <a:pt x="299" y="116"/>
                  <a:pt x="299" y="116"/>
                </a:cubicBezTo>
                <a:cubicBezTo>
                  <a:pt x="301" y="115"/>
                  <a:pt x="301" y="115"/>
                  <a:pt x="301" y="115"/>
                </a:cubicBezTo>
                <a:cubicBezTo>
                  <a:pt x="301" y="115"/>
                  <a:pt x="301" y="115"/>
                  <a:pt x="301" y="115"/>
                </a:cubicBezTo>
                <a:cubicBezTo>
                  <a:pt x="303" y="115"/>
                  <a:pt x="303" y="115"/>
                  <a:pt x="303" y="115"/>
                </a:cubicBezTo>
                <a:cubicBezTo>
                  <a:pt x="303" y="116"/>
                  <a:pt x="303" y="116"/>
                  <a:pt x="303" y="116"/>
                </a:cubicBezTo>
                <a:cubicBezTo>
                  <a:pt x="303" y="117"/>
                  <a:pt x="303" y="117"/>
                  <a:pt x="303" y="117"/>
                </a:cubicBezTo>
                <a:cubicBezTo>
                  <a:pt x="303" y="118"/>
                  <a:pt x="303" y="118"/>
                  <a:pt x="303" y="118"/>
                </a:cubicBezTo>
                <a:cubicBezTo>
                  <a:pt x="302" y="119"/>
                  <a:pt x="302" y="119"/>
                  <a:pt x="302" y="119"/>
                </a:cubicBezTo>
                <a:cubicBezTo>
                  <a:pt x="301" y="120"/>
                  <a:pt x="301" y="120"/>
                  <a:pt x="301" y="120"/>
                </a:cubicBezTo>
                <a:cubicBezTo>
                  <a:pt x="300" y="120"/>
                  <a:pt x="300" y="120"/>
                  <a:pt x="300" y="120"/>
                </a:cubicBezTo>
                <a:cubicBezTo>
                  <a:pt x="300" y="121"/>
                  <a:pt x="300" y="121"/>
                  <a:pt x="300" y="121"/>
                </a:cubicBezTo>
                <a:cubicBezTo>
                  <a:pt x="299" y="121"/>
                  <a:pt x="299" y="121"/>
                  <a:pt x="299" y="121"/>
                </a:cubicBezTo>
                <a:cubicBezTo>
                  <a:pt x="298" y="120"/>
                  <a:pt x="298" y="120"/>
                  <a:pt x="298" y="120"/>
                </a:cubicBezTo>
                <a:cubicBezTo>
                  <a:pt x="297" y="119"/>
                  <a:pt x="297" y="119"/>
                  <a:pt x="297" y="119"/>
                </a:cubicBezTo>
                <a:close/>
                <a:moveTo>
                  <a:pt x="249" y="117"/>
                </a:moveTo>
                <a:cubicBezTo>
                  <a:pt x="249" y="116"/>
                  <a:pt x="249" y="116"/>
                  <a:pt x="249" y="116"/>
                </a:cubicBezTo>
                <a:cubicBezTo>
                  <a:pt x="249" y="115"/>
                  <a:pt x="249" y="115"/>
                  <a:pt x="249" y="115"/>
                </a:cubicBezTo>
                <a:cubicBezTo>
                  <a:pt x="249" y="113"/>
                  <a:pt x="249" y="113"/>
                  <a:pt x="249" y="113"/>
                </a:cubicBezTo>
                <a:cubicBezTo>
                  <a:pt x="251" y="113"/>
                  <a:pt x="251" y="113"/>
                  <a:pt x="251" y="113"/>
                </a:cubicBezTo>
                <a:cubicBezTo>
                  <a:pt x="253" y="113"/>
                  <a:pt x="253" y="113"/>
                  <a:pt x="253" y="113"/>
                </a:cubicBezTo>
                <a:cubicBezTo>
                  <a:pt x="254" y="113"/>
                  <a:pt x="254" y="113"/>
                  <a:pt x="254" y="113"/>
                </a:cubicBezTo>
                <a:cubicBezTo>
                  <a:pt x="256" y="113"/>
                  <a:pt x="256" y="113"/>
                  <a:pt x="256" y="113"/>
                </a:cubicBezTo>
                <a:cubicBezTo>
                  <a:pt x="257" y="113"/>
                  <a:pt x="257" y="113"/>
                  <a:pt x="257" y="113"/>
                </a:cubicBezTo>
                <a:cubicBezTo>
                  <a:pt x="258" y="112"/>
                  <a:pt x="258" y="112"/>
                  <a:pt x="258" y="112"/>
                </a:cubicBezTo>
                <a:cubicBezTo>
                  <a:pt x="260" y="112"/>
                  <a:pt x="260" y="112"/>
                  <a:pt x="260" y="112"/>
                </a:cubicBezTo>
                <a:cubicBezTo>
                  <a:pt x="262" y="113"/>
                  <a:pt x="262" y="113"/>
                  <a:pt x="262" y="113"/>
                </a:cubicBezTo>
                <a:cubicBezTo>
                  <a:pt x="264" y="113"/>
                  <a:pt x="264" y="113"/>
                  <a:pt x="264" y="113"/>
                </a:cubicBezTo>
                <a:cubicBezTo>
                  <a:pt x="265" y="113"/>
                  <a:pt x="265" y="113"/>
                  <a:pt x="265" y="113"/>
                </a:cubicBezTo>
                <a:cubicBezTo>
                  <a:pt x="266" y="112"/>
                  <a:pt x="266" y="112"/>
                  <a:pt x="266" y="112"/>
                </a:cubicBezTo>
                <a:cubicBezTo>
                  <a:pt x="269" y="112"/>
                  <a:pt x="269" y="112"/>
                  <a:pt x="269" y="112"/>
                </a:cubicBezTo>
                <a:cubicBezTo>
                  <a:pt x="269" y="111"/>
                  <a:pt x="269" y="111"/>
                  <a:pt x="269" y="111"/>
                </a:cubicBezTo>
                <a:cubicBezTo>
                  <a:pt x="270" y="111"/>
                  <a:pt x="270" y="111"/>
                  <a:pt x="270" y="111"/>
                </a:cubicBezTo>
                <a:cubicBezTo>
                  <a:pt x="269" y="110"/>
                  <a:pt x="269" y="110"/>
                  <a:pt x="269" y="110"/>
                </a:cubicBezTo>
                <a:cubicBezTo>
                  <a:pt x="268" y="111"/>
                  <a:pt x="268" y="111"/>
                  <a:pt x="268" y="111"/>
                </a:cubicBezTo>
                <a:cubicBezTo>
                  <a:pt x="267" y="111"/>
                  <a:pt x="267" y="111"/>
                  <a:pt x="267" y="111"/>
                </a:cubicBezTo>
                <a:cubicBezTo>
                  <a:pt x="267" y="110"/>
                  <a:pt x="267" y="110"/>
                  <a:pt x="267" y="110"/>
                </a:cubicBezTo>
                <a:cubicBezTo>
                  <a:pt x="265" y="111"/>
                  <a:pt x="265" y="111"/>
                  <a:pt x="265" y="111"/>
                </a:cubicBezTo>
                <a:cubicBezTo>
                  <a:pt x="263" y="111"/>
                  <a:pt x="263" y="111"/>
                  <a:pt x="263" y="111"/>
                </a:cubicBezTo>
                <a:cubicBezTo>
                  <a:pt x="263" y="110"/>
                  <a:pt x="263" y="110"/>
                  <a:pt x="263" y="110"/>
                </a:cubicBezTo>
                <a:cubicBezTo>
                  <a:pt x="262" y="109"/>
                  <a:pt x="262" y="109"/>
                  <a:pt x="262" y="109"/>
                </a:cubicBezTo>
                <a:cubicBezTo>
                  <a:pt x="261" y="110"/>
                  <a:pt x="261" y="110"/>
                  <a:pt x="261" y="110"/>
                </a:cubicBezTo>
                <a:cubicBezTo>
                  <a:pt x="260" y="110"/>
                  <a:pt x="260" y="110"/>
                  <a:pt x="260" y="110"/>
                </a:cubicBezTo>
                <a:cubicBezTo>
                  <a:pt x="259" y="110"/>
                  <a:pt x="259" y="110"/>
                  <a:pt x="259" y="110"/>
                </a:cubicBezTo>
                <a:cubicBezTo>
                  <a:pt x="259" y="110"/>
                  <a:pt x="259" y="110"/>
                  <a:pt x="259" y="110"/>
                </a:cubicBezTo>
                <a:cubicBezTo>
                  <a:pt x="257" y="110"/>
                  <a:pt x="257" y="110"/>
                  <a:pt x="257" y="110"/>
                </a:cubicBezTo>
                <a:cubicBezTo>
                  <a:pt x="256" y="110"/>
                  <a:pt x="256" y="110"/>
                  <a:pt x="256" y="110"/>
                </a:cubicBezTo>
                <a:cubicBezTo>
                  <a:pt x="256" y="109"/>
                  <a:pt x="256" y="109"/>
                  <a:pt x="256" y="109"/>
                </a:cubicBezTo>
                <a:cubicBezTo>
                  <a:pt x="257" y="108"/>
                  <a:pt x="257" y="108"/>
                  <a:pt x="257" y="108"/>
                </a:cubicBezTo>
                <a:cubicBezTo>
                  <a:pt x="259" y="107"/>
                  <a:pt x="259" y="107"/>
                  <a:pt x="259" y="107"/>
                </a:cubicBezTo>
                <a:cubicBezTo>
                  <a:pt x="258" y="107"/>
                  <a:pt x="258" y="107"/>
                  <a:pt x="258" y="107"/>
                </a:cubicBezTo>
                <a:cubicBezTo>
                  <a:pt x="256" y="107"/>
                  <a:pt x="256" y="107"/>
                  <a:pt x="256" y="107"/>
                </a:cubicBezTo>
                <a:cubicBezTo>
                  <a:pt x="256" y="108"/>
                  <a:pt x="256" y="108"/>
                  <a:pt x="256" y="108"/>
                </a:cubicBezTo>
                <a:cubicBezTo>
                  <a:pt x="255" y="106"/>
                  <a:pt x="255" y="106"/>
                  <a:pt x="255" y="106"/>
                </a:cubicBezTo>
                <a:cubicBezTo>
                  <a:pt x="255" y="107"/>
                  <a:pt x="255" y="107"/>
                  <a:pt x="255" y="107"/>
                </a:cubicBezTo>
                <a:cubicBezTo>
                  <a:pt x="254" y="108"/>
                  <a:pt x="254" y="108"/>
                  <a:pt x="254" y="108"/>
                </a:cubicBezTo>
                <a:cubicBezTo>
                  <a:pt x="252" y="109"/>
                  <a:pt x="252" y="109"/>
                  <a:pt x="252" y="109"/>
                </a:cubicBezTo>
                <a:cubicBezTo>
                  <a:pt x="252" y="110"/>
                  <a:pt x="252" y="110"/>
                  <a:pt x="252" y="110"/>
                </a:cubicBezTo>
                <a:cubicBezTo>
                  <a:pt x="251" y="110"/>
                  <a:pt x="251" y="110"/>
                  <a:pt x="251" y="110"/>
                </a:cubicBezTo>
                <a:cubicBezTo>
                  <a:pt x="249" y="109"/>
                  <a:pt x="249" y="109"/>
                  <a:pt x="249" y="109"/>
                </a:cubicBezTo>
                <a:cubicBezTo>
                  <a:pt x="249" y="108"/>
                  <a:pt x="249" y="108"/>
                  <a:pt x="249" y="108"/>
                </a:cubicBezTo>
                <a:cubicBezTo>
                  <a:pt x="250" y="107"/>
                  <a:pt x="250" y="107"/>
                  <a:pt x="250" y="107"/>
                </a:cubicBezTo>
                <a:cubicBezTo>
                  <a:pt x="249" y="108"/>
                  <a:pt x="249" y="108"/>
                  <a:pt x="249" y="108"/>
                </a:cubicBezTo>
                <a:cubicBezTo>
                  <a:pt x="248" y="107"/>
                  <a:pt x="248" y="107"/>
                  <a:pt x="248" y="107"/>
                </a:cubicBezTo>
                <a:cubicBezTo>
                  <a:pt x="248" y="109"/>
                  <a:pt x="248" y="109"/>
                  <a:pt x="248" y="109"/>
                </a:cubicBezTo>
                <a:cubicBezTo>
                  <a:pt x="247" y="109"/>
                  <a:pt x="247" y="109"/>
                  <a:pt x="247" y="109"/>
                </a:cubicBezTo>
                <a:cubicBezTo>
                  <a:pt x="246" y="109"/>
                  <a:pt x="246" y="109"/>
                  <a:pt x="246" y="109"/>
                </a:cubicBezTo>
                <a:cubicBezTo>
                  <a:pt x="246" y="107"/>
                  <a:pt x="246" y="107"/>
                  <a:pt x="246" y="107"/>
                </a:cubicBezTo>
                <a:cubicBezTo>
                  <a:pt x="245" y="106"/>
                  <a:pt x="245" y="106"/>
                  <a:pt x="245" y="106"/>
                </a:cubicBezTo>
                <a:cubicBezTo>
                  <a:pt x="245" y="105"/>
                  <a:pt x="245" y="105"/>
                  <a:pt x="245" y="105"/>
                </a:cubicBezTo>
                <a:cubicBezTo>
                  <a:pt x="245" y="105"/>
                  <a:pt x="245" y="105"/>
                  <a:pt x="245" y="105"/>
                </a:cubicBezTo>
                <a:cubicBezTo>
                  <a:pt x="244" y="106"/>
                  <a:pt x="244" y="106"/>
                  <a:pt x="244" y="106"/>
                </a:cubicBezTo>
                <a:cubicBezTo>
                  <a:pt x="244" y="106"/>
                  <a:pt x="244" y="106"/>
                  <a:pt x="244" y="106"/>
                </a:cubicBezTo>
                <a:cubicBezTo>
                  <a:pt x="242" y="104"/>
                  <a:pt x="242" y="104"/>
                  <a:pt x="242" y="104"/>
                </a:cubicBezTo>
                <a:cubicBezTo>
                  <a:pt x="240" y="103"/>
                  <a:pt x="240" y="103"/>
                  <a:pt x="240" y="103"/>
                </a:cubicBezTo>
                <a:cubicBezTo>
                  <a:pt x="240" y="103"/>
                  <a:pt x="240" y="103"/>
                  <a:pt x="240" y="103"/>
                </a:cubicBezTo>
                <a:cubicBezTo>
                  <a:pt x="242" y="102"/>
                  <a:pt x="242" y="102"/>
                  <a:pt x="242" y="102"/>
                </a:cubicBezTo>
                <a:cubicBezTo>
                  <a:pt x="242" y="101"/>
                  <a:pt x="242" y="101"/>
                  <a:pt x="242" y="101"/>
                </a:cubicBezTo>
                <a:cubicBezTo>
                  <a:pt x="241" y="100"/>
                  <a:pt x="241" y="100"/>
                  <a:pt x="241" y="100"/>
                </a:cubicBezTo>
                <a:cubicBezTo>
                  <a:pt x="244" y="99"/>
                  <a:pt x="244" y="99"/>
                  <a:pt x="244" y="99"/>
                </a:cubicBezTo>
                <a:cubicBezTo>
                  <a:pt x="245" y="98"/>
                  <a:pt x="245" y="98"/>
                  <a:pt x="245" y="98"/>
                </a:cubicBezTo>
                <a:cubicBezTo>
                  <a:pt x="246" y="99"/>
                  <a:pt x="246" y="99"/>
                  <a:pt x="246" y="99"/>
                </a:cubicBezTo>
                <a:cubicBezTo>
                  <a:pt x="248" y="99"/>
                  <a:pt x="248" y="99"/>
                  <a:pt x="248" y="99"/>
                </a:cubicBezTo>
                <a:cubicBezTo>
                  <a:pt x="249" y="100"/>
                  <a:pt x="249" y="100"/>
                  <a:pt x="249" y="100"/>
                </a:cubicBezTo>
                <a:cubicBezTo>
                  <a:pt x="251" y="100"/>
                  <a:pt x="251" y="100"/>
                  <a:pt x="251" y="100"/>
                </a:cubicBezTo>
                <a:cubicBezTo>
                  <a:pt x="252" y="99"/>
                  <a:pt x="252" y="99"/>
                  <a:pt x="252" y="99"/>
                </a:cubicBezTo>
                <a:cubicBezTo>
                  <a:pt x="253" y="99"/>
                  <a:pt x="253" y="99"/>
                  <a:pt x="253" y="99"/>
                </a:cubicBezTo>
                <a:cubicBezTo>
                  <a:pt x="255" y="98"/>
                  <a:pt x="255" y="98"/>
                  <a:pt x="255" y="98"/>
                </a:cubicBezTo>
                <a:cubicBezTo>
                  <a:pt x="254" y="97"/>
                  <a:pt x="254" y="97"/>
                  <a:pt x="254" y="97"/>
                </a:cubicBezTo>
                <a:cubicBezTo>
                  <a:pt x="253" y="97"/>
                  <a:pt x="253" y="97"/>
                  <a:pt x="253" y="97"/>
                </a:cubicBezTo>
                <a:cubicBezTo>
                  <a:pt x="252" y="97"/>
                  <a:pt x="252" y="97"/>
                  <a:pt x="252" y="97"/>
                </a:cubicBezTo>
                <a:cubicBezTo>
                  <a:pt x="251" y="97"/>
                  <a:pt x="251" y="97"/>
                  <a:pt x="251" y="97"/>
                </a:cubicBezTo>
                <a:cubicBezTo>
                  <a:pt x="249" y="96"/>
                  <a:pt x="249" y="96"/>
                  <a:pt x="249" y="96"/>
                </a:cubicBezTo>
                <a:cubicBezTo>
                  <a:pt x="247" y="96"/>
                  <a:pt x="247" y="96"/>
                  <a:pt x="247" y="96"/>
                </a:cubicBezTo>
                <a:cubicBezTo>
                  <a:pt x="247" y="96"/>
                  <a:pt x="247" y="96"/>
                  <a:pt x="247" y="96"/>
                </a:cubicBezTo>
                <a:cubicBezTo>
                  <a:pt x="249" y="94"/>
                  <a:pt x="249" y="94"/>
                  <a:pt x="249" y="94"/>
                </a:cubicBezTo>
                <a:cubicBezTo>
                  <a:pt x="250" y="93"/>
                  <a:pt x="250" y="93"/>
                  <a:pt x="250" y="93"/>
                </a:cubicBezTo>
                <a:cubicBezTo>
                  <a:pt x="251" y="92"/>
                  <a:pt x="251" y="92"/>
                  <a:pt x="251" y="92"/>
                </a:cubicBezTo>
                <a:cubicBezTo>
                  <a:pt x="252" y="93"/>
                  <a:pt x="252" y="93"/>
                  <a:pt x="252" y="93"/>
                </a:cubicBezTo>
                <a:cubicBezTo>
                  <a:pt x="255" y="92"/>
                  <a:pt x="255" y="92"/>
                  <a:pt x="255" y="92"/>
                </a:cubicBezTo>
                <a:cubicBezTo>
                  <a:pt x="257" y="92"/>
                  <a:pt x="257" y="92"/>
                  <a:pt x="257" y="92"/>
                </a:cubicBezTo>
                <a:cubicBezTo>
                  <a:pt x="259" y="93"/>
                  <a:pt x="259" y="93"/>
                  <a:pt x="259" y="93"/>
                </a:cubicBezTo>
                <a:cubicBezTo>
                  <a:pt x="260" y="93"/>
                  <a:pt x="260" y="93"/>
                  <a:pt x="260" y="93"/>
                </a:cubicBezTo>
                <a:cubicBezTo>
                  <a:pt x="259" y="92"/>
                  <a:pt x="259" y="92"/>
                  <a:pt x="259" y="92"/>
                </a:cubicBezTo>
                <a:cubicBezTo>
                  <a:pt x="258" y="92"/>
                  <a:pt x="258" y="92"/>
                  <a:pt x="258" y="92"/>
                </a:cubicBezTo>
                <a:cubicBezTo>
                  <a:pt x="257" y="91"/>
                  <a:pt x="257" y="91"/>
                  <a:pt x="257" y="91"/>
                </a:cubicBezTo>
                <a:cubicBezTo>
                  <a:pt x="256" y="91"/>
                  <a:pt x="256" y="91"/>
                  <a:pt x="256" y="91"/>
                </a:cubicBezTo>
                <a:cubicBezTo>
                  <a:pt x="253" y="91"/>
                  <a:pt x="253" y="91"/>
                  <a:pt x="253" y="91"/>
                </a:cubicBezTo>
                <a:cubicBezTo>
                  <a:pt x="253" y="89"/>
                  <a:pt x="253" y="89"/>
                  <a:pt x="253" y="89"/>
                </a:cubicBezTo>
                <a:cubicBezTo>
                  <a:pt x="254" y="88"/>
                  <a:pt x="254" y="88"/>
                  <a:pt x="254" y="88"/>
                </a:cubicBezTo>
                <a:cubicBezTo>
                  <a:pt x="255" y="87"/>
                  <a:pt x="255" y="87"/>
                  <a:pt x="255" y="87"/>
                </a:cubicBezTo>
                <a:cubicBezTo>
                  <a:pt x="256" y="87"/>
                  <a:pt x="256" y="87"/>
                  <a:pt x="256" y="87"/>
                </a:cubicBezTo>
                <a:cubicBezTo>
                  <a:pt x="256" y="87"/>
                  <a:pt x="256" y="87"/>
                  <a:pt x="256" y="87"/>
                </a:cubicBezTo>
                <a:cubicBezTo>
                  <a:pt x="258" y="86"/>
                  <a:pt x="258" y="86"/>
                  <a:pt x="258" y="86"/>
                </a:cubicBezTo>
                <a:cubicBezTo>
                  <a:pt x="259" y="86"/>
                  <a:pt x="259" y="86"/>
                  <a:pt x="259" y="86"/>
                </a:cubicBezTo>
                <a:cubicBezTo>
                  <a:pt x="259" y="87"/>
                  <a:pt x="259" y="87"/>
                  <a:pt x="259" y="87"/>
                </a:cubicBezTo>
                <a:cubicBezTo>
                  <a:pt x="260" y="87"/>
                  <a:pt x="260" y="87"/>
                  <a:pt x="260" y="87"/>
                </a:cubicBezTo>
                <a:cubicBezTo>
                  <a:pt x="262" y="88"/>
                  <a:pt x="262" y="88"/>
                  <a:pt x="262" y="88"/>
                </a:cubicBezTo>
                <a:cubicBezTo>
                  <a:pt x="263" y="88"/>
                  <a:pt x="263" y="88"/>
                  <a:pt x="263" y="88"/>
                </a:cubicBezTo>
                <a:cubicBezTo>
                  <a:pt x="262" y="87"/>
                  <a:pt x="262" y="87"/>
                  <a:pt x="262" y="87"/>
                </a:cubicBezTo>
                <a:cubicBezTo>
                  <a:pt x="261" y="86"/>
                  <a:pt x="261" y="86"/>
                  <a:pt x="261" y="86"/>
                </a:cubicBezTo>
                <a:cubicBezTo>
                  <a:pt x="260" y="85"/>
                  <a:pt x="260" y="85"/>
                  <a:pt x="260" y="85"/>
                </a:cubicBezTo>
                <a:cubicBezTo>
                  <a:pt x="260" y="84"/>
                  <a:pt x="260" y="84"/>
                  <a:pt x="260" y="84"/>
                </a:cubicBezTo>
                <a:cubicBezTo>
                  <a:pt x="261" y="84"/>
                  <a:pt x="261" y="84"/>
                  <a:pt x="261" y="84"/>
                </a:cubicBezTo>
                <a:cubicBezTo>
                  <a:pt x="264" y="83"/>
                  <a:pt x="264" y="83"/>
                  <a:pt x="264" y="83"/>
                </a:cubicBezTo>
                <a:cubicBezTo>
                  <a:pt x="265" y="83"/>
                  <a:pt x="265" y="83"/>
                  <a:pt x="265" y="83"/>
                </a:cubicBezTo>
                <a:cubicBezTo>
                  <a:pt x="267" y="83"/>
                  <a:pt x="267" y="83"/>
                  <a:pt x="267" y="83"/>
                </a:cubicBezTo>
                <a:cubicBezTo>
                  <a:pt x="268" y="84"/>
                  <a:pt x="268" y="84"/>
                  <a:pt x="268" y="84"/>
                </a:cubicBezTo>
                <a:cubicBezTo>
                  <a:pt x="269" y="86"/>
                  <a:pt x="269" y="86"/>
                  <a:pt x="269" y="86"/>
                </a:cubicBezTo>
                <a:cubicBezTo>
                  <a:pt x="268" y="87"/>
                  <a:pt x="268" y="87"/>
                  <a:pt x="268" y="87"/>
                </a:cubicBezTo>
                <a:cubicBezTo>
                  <a:pt x="267" y="88"/>
                  <a:pt x="267" y="88"/>
                  <a:pt x="267" y="88"/>
                </a:cubicBezTo>
                <a:cubicBezTo>
                  <a:pt x="267" y="89"/>
                  <a:pt x="267" y="89"/>
                  <a:pt x="267" y="89"/>
                </a:cubicBezTo>
                <a:cubicBezTo>
                  <a:pt x="270" y="89"/>
                  <a:pt x="270" y="89"/>
                  <a:pt x="270" y="89"/>
                </a:cubicBezTo>
                <a:cubicBezTo>
                  <a:pt x="270" y="89"/>
                  <a:pt x="270" y="89"/>
                  <a:pt x="270" y="89"/>
                </a:cubicBezTo>
                <a:cubicBezTo>
                  <a:pt x="271" y="89"/>
                  <a:pt x="271" y="89"/>
                  <a:pt x="271" y="89"/>
                </a:cubicBezTo>
                <a:cubicBezTo>
                  <a:pt x="272" y="89"/>
                  <a:pt x="272" y="89"/>
                  <a:pt x="272" y="89"/>
                </a:cubicBezTo>
                <a:cubicBezTo>
                  <a:pt x="272" y="90"/>
                  <a:pt x="272" y="90"/>
                  <a:pt x="272" y="90"/>
                </a:cubicBezTo>
                <a:cubicBezTo>
                  <a:pt x="273" y="91"/>
                  <a:pt x="273" y="91"/>
                  <a:pt x="273" y="91"/>
                </a:cubicBezTo>
                <a:cubicBezTo>
                  <a:pt x="273" y="91"/>
                  <a:pt x="273" y="91"/>
                  <a:pt x="273" y="91"/>
                </a:cubicBezTo>
                <a:cubicBezTo>
                  <a:pt x="273" y="92"/>
                  <a:pt x="273" y="92"/>
                  <a:pt x="273" y="92"/>
                </a:cubicBezTo>
                <a:cubicBezTo>
                  <a:pt x="272" y="93"/>
                  <a:pt x="272" y="93"/>
                  <a:pt x="272" y="93"/>
                </a:cubicBezTo>
                <a:cubicBezTo>
                  <a:pt x="272" y="94"/>
                  <a:pt x="272" y="94"/>
                  <a:pt x="272" y="94"/>
                </a:cubicBezTo>
                <a:cubicBezTo>
                  <a:pt x="273" y="95"/>
                  <a:pt x="273" y="95"/>
                  <a:pt x="273" y="95"/>
                </a:cubicBezTo>
                <a:cubicBezTo>
                  <a:pt x="273" y="98"/>
                  <a:pt x="273" y="98"/>
                  <a:pt x="273" y="98"/>
                </a:cubicBezTo>
                <a:cubicBezTo>
                  <a:pt x="273" y="98"/>
                  <a:pt x="273" y="98"/>
                  <a:pt x="273" y="98"/>
                </a:cubicBezTo>
                <a:cubicBezTo>
                  <a:pt x="272" y="98"/>
                  <a:pt x="272" y="98"/>
                  <a:pt x="272" y="98"/>
                </a:cubicBezTo>
                <a:cubicBezTo>
                  <a:pt x="270" y="98"/>
                  <a:pt x="270" y="98"/>
                  <a:pt x="270" y="98"/>
                </a:cubicBezTo>
                <a:cubicBezTo>
                  <a:pt x="271" y="99"/>
                  <a:pt x="271" y="99"/>
                  <a:pt x="271" y="99"/>
                </a:cubicBezTo>
                <a:cubicBezTo>
                  <a:pt x="272" y="99"/>
                  <a:pt x="272" y="99"/>
                  <a:pt x="272" y="99"/>
                </a:cubicBezTo>
                <a:cubicBezTo>
                  <a:pt x="273" y="100"/>
                  <a:pt x="273" y="100"/>
                  <a:pt x="273" y="100"/>
                </a:cubicBezTo>
                <a:cubicBezTo>
                  <a:pt x="274" y="100"/>
                  <a:pt x="274" y="100"/>
                  <a:pt x="274" y="100"/>
                </a:cubicBezTo>
                <a:cubicBezTo>
                  <a:pt x="273" y="102"/>
                  <a:pt x="273" y="102"/>
                  <a:pt x="273" y="102"/>
                </a:cubicBezTo>
                <a:cubicBezTo>
                  <a:pt x="272" y="103"/>
                  <a:pt x="272" y="103"/>
                  <a:pt x="272" y="103"/>
                </a:cubicBezTo>
                <a:cubicBezTo>
                  <a:pt x="272" y="105"/>
                  <a:pt x="272" y="105"/>
                  <a:pt x="272" y="105"/>
                </a:cubicBezTo>
                <a:cubicBezTo>
                  <a:pt x="273" y="106"/>
                  <a:pt x="273" y="106"/>
                  <a:pt x="273" y="106"/>
                </a:cubicBezTo>
                <a:cubicBezTo>
                  <a:pt x="274" y="105"/>
                  <a:pt x="274" y="105"/>
                  <a:pt x="274" y="105"/>
                </a:cubicBezTo>
                <a:cubicBezTo>
                  <a:pt x="275" y="104"/>
                  <a:pt x="275" y="104"/>
                  <a:pt x="275" y="104"/>
                </a:cubicBezTo>
                <a:cubicBezTo>
                  <a:pt x="276" y="105"/>
                  <a:pt x="276" y="105"/>
                  <a:pt x="276" y="105"/>
                </a:cubicBezTo>
                <a:cubicBezTo>
                  <a:pt x="276" y="106"/>
                  <a:pt x="276" y="106"/>
                  <a:pt x="276" y="106"/>
                </a:cubicBezTo>
                <a:cubicBezTo>
                  <a:pt x="277" y="106"/>
                  <a:pt x="277" y="106"/>
                  <a:pt x="277" y="106"/>
                </a:cubicBezTo>
                <a:cubicBezTo>
                  <a:pt x="278" y="106"/>
                  <a:pt x="278" y="106"/>
                  <a:pt x="278" y="106"/>
                </a:cubicBezTo>
                <a:cubicBezTo>
                  <a:pt x="280" y="106"/>
                  <a:pt x="280" y="106"/>
                  <a:pt x="280" y="106"/>
                </a:cubicBezTo>
                <a:cubicBezTo>
                  <a:pt x="281" y="108"/>
                  <a:pt x="281" y="108"/>
                  <a:pt x="281" y="108"/>
                </a:cubicBezTo>
                <a:cubicBezTo>
                  <a:pt x="282" y="108"/>
                  <a:pt x="282" y="108"/>
                  <a:pt x="282" y="108"/>
                </a:cubicBezTo>
                <a:cubicBezTo>
                  <a:pt x="282" y="107"/>
                  <a:pt x="282" y="107"/>
                  <a:pt x="282" y="107"/>
                </a:cubicBezTo>
                <a:cubicBezTo>
                  <a:pt x="281" y="106"/>
                  <a:pt x="281" y="106"/>
                  <a:pt x="281" y="106"/>
                </a:cubicBezTo>
                <a:cubicBezTo>
                  <a:pt x="283" y="105"/>
                  <a:pt x="283" y="105"/>
                  <a:pt x="283" y="105"/>
                </a:cubicBezTo>
                <a:cubicBezTo>
                  <a:pt x="283" y="103"/>
                  <a:pt x="283" y="103"/>
                  <a:pt x="283" y="103"/>
                </a:cubicBezTo>
                <a:cubicBezTo>
                  <a:pt x="282" y="102"/>
                  <a:pt x="282" y="102"/>
                  <a:pt x="282" y="102"/>
                </a:cubicBezTo>
                <a:cubicBezTo>
                  <a:pt x="282" y="101"/>
                  <a:pt x="282" y="101"/>
                  <a:pt x="282" y="101"/>
                </a:cubicBezTo>
                <a:cubicBezTo>
                  <a:pt x="281" y="100"/>
                  <a:pt x="281" y="100"/>
                  <a:pt x="281" y="100"/>
                </a:cubicBezTo>
                <a:cubicBezTo>
                  <a:pt x="282" y="99"/>
                  <a:pt x="282" y="99"/>
                  <a:pt x="282" y="99"/>
                </a:cubicBezTo>
                <a:cubicBezTo>
                  <a:pt x="282" y="99"/>
                  <a:pt x="282" y="99"/>
                  <a:pt x="282" y="99"/>
                </a:cubicBezTo>
                <a:cubicBezTo>
                  <a:pt x="284" y="99"/>
                  <a:pt x="284" y="99"/>
                  <a:pt x="284" y="99"/>
                </a:cubicBezTo>
                <a:cubicBezTo>
                  <a:pt x="285" y="99"/>
                  <a:pt x="285" y="99"/>
                  <a:pt x="285" y="99"/>
                </a:cubicBezTo>
                <a:cubicBezTo>
                  <a:pt x="286" y="97"/>
                  <a:pt x="286" y="97"/>
                  <a:pt x="286" y="97"/>
                </a:cubicBezTo>
                <a:cubicBezTo>
                  <a:pt x="285" y="95"/>
                  <a:pt x="285" y="95"/>
                  <a:pt x="285" y="95"/>
                </a:cubicBezTo>
                <a:cubicBezTo>
                  <a:pt x="285" y="95"/>
                  <a:pt x="285" y="95"/>
                  <a:pt x="285" y="95"/>
                </a:cubicBezTo>
                <a:cubicBezTo>
                  <a:pt x="285" y="93"/>
                  <a:pt x="285" y="93"/>
                  <a:pt x="285" y="93"/>
                </a:cubicBezTo>
                <a:cubicBezTo>
                  <a:pt x="284" y="92"/>
                  <a:pt x="284" y="92"/>
                  <a:pt x="284" y="92"/>
                </a:cubicBezTo>
                <a:cubicBezTo>
                  <a:pt x="285" y="90"/>
                  <a:pt x="285" y="90"/>
                  <a:pt x="285" y="90"/>
                </a:cubicBezTo>
                <a:cubicBezTo>
                  <a:pt x="286" y="90"/>
                  <a:pt x="286" y="90"/>
                  <a:pt x="286" y="90"/>
                </a:cubicBezTo>
                <a:cubicBezTo>
                  <a:pt x="287" y="90"/>
                  <a:pt x="287" y="90"/>
                  <a:pt x="287" y="90"/>
                </a:cubicBezTo>
                <a:cubicBezTo>
                  <a:pt x="288" y="90"/>
                  <a:pt x="288" y="90"/>
                  <a:pt x="288" y="90"/>
                </a:cubicBezTo>
                <a:cubicBezTo>
                  <a:pt x="288" y="89"/>
                  <a:pt x="288" y="89"/>
                  <a:pt x="288" y="89"/>
                </a:cubicBezTo>
                <a:cubicBezTo>
                  <a:pt x="288" y="88"/>
                  <a:pt x="288" y="88"/>
                  <a:pt x="288" y="88"/>
                </a:cubicBezTo>
                <a:cubicBezTo>
                  <a:pt x="290" y="87"/>
                  <a:pt x="290" y="87"/>
                  <a:pt x="290" y="87"/>
                </a:cubicBezTo>
                <a:cubicBezTo>
                  <a:pt x="293" y="85"/>
                  <a:pt x="293" y="85"/>
                  <a:pt x="293" y="85"/>
                </a:cubicBezTo>
                <a:cubicBezTo>
                  <a:pt x="294" y="85"/>
                  <a:pt x="294" y="85"/>
                  <a:pt x="294" y="85"/>
                </a:cubicBezTo>
                <a:cubicBezTo>
                  <a:pt x="295" y="86"/>
                  <a:pt x="295" y="86"/>
                  <a:pt x="295" y="86"/>
                </a:cubicBezTo>
                <a:cubicBezTo>
                  <a:pt x="295" y="87"/>
                  <a:pt x="295" y="87"/>
                  <a:pt x="295" y="87"/>
                </a:cubicBezTo>
                <a:cubicBezTo>
                  <a:pt x="296" y="88"/>
                  <a:pt x="296" y="88"/>
                  <a:pt x="296" y="88"/>
                </a:cubicBezTo>
                <a:cubicBezTo>
                  <a:pt x="295" y="88"/>
                  <a:pt x="295" y="88"/>
                  <a:pt x="295" y="88"/>
                </a:cubicBezTo>
                <a:cubicBezTo>
                  <a:pt x="294" y="88"/>
                  <a:pt x="294" y="88"/>
                  <a:pt x="294" y="88"/>
                </a:cubicBezTo>
                <a:cubicBezTo>
                  <a:pt x="293" y="89"/>
                  <a:pt x="293" y="89"/>
                  <a:pt x="293" y="89"/>
                </a:cubicBezTo>
                <a:cubicBezTo>
                  <a:pt x="293" y="90"/>
                  <a:pt x="293" y="90"/>
                  <a:pt x="293" y="90"/>
                </a:cubicBezTo>
                <a:cubicBezTo>
                  <a:pt x="293" y="91"/>
                  <a:pt x="293" y="91"/>
                  <a:pt x="293" y="91"/>
                </a:cubicBezTo>
                <a:cubicBezTo>
                  <a:pt x="293" y="93"/>
                  <a:pt x="293" y="93"/>
                  <a:pt x="293" y="93"/>
                </a:cubicBezTo>
                <a:cubicBezTo>
                  <a:pt x="293" y="93"/>
                  <a:pt x="293" y="93"/>
                  <a:pt x="293" y="93"/>
                </a:cubicBezTo>
                <a:cubicBezTo>
                  <a:pt x="293" y="96"/>
                  <a:pt x="293" y="96"/>
                  <a:pt x="293" y="96"/>
                </a:cubicBezTo>
                <a:cubicBezTo>
                  <a:pt x="293" y="97"/>
                  <a:pt x="293" y="97"/>
                  <a:pt x="293" y="97"/>
                </a:cubicBezTo>
                <a:cubicBezTo>
                  <a:pt x="292" y="97"/>
                  <a:pt x="292" y="97"/>
                  <a:pt x="292" y="97"/>
                </a:cubicBezTo>
                <a:cubicBezTo>
                  <a:pt x="290" y="98"/>
                  <a:pt x="290" y="98"/>
                  <a:pt x="290" y="98"/>
                </a:cubicBezTo>
                <a:cubicBezTo>
                  <a:pt x="289" y="99"/>
                  <a:pt x="289" y="99"/>
                  <a:pt x="289" y="99"/>
                </a:cubicBezTo>
                <a:cubicBezTo>
                  <a:pt x="289" y="100"/>
                  <a:pt x="289" y="100"/>
                  <a:pt x="289" y="100"/>
                </a:cubicBezTo>
                <a:cubicBezTo>
                  <a:pt x="290" y="100"/>
                  <a:pt x="290" y="100"/>
                  <a:pt x="290" y="100"/>
                </a:cubicBezTo>
                <a:cubicBezTo>
                  <a:pt x="291" y="99"/>
                  <a:pt x="291" y="99"/>
                  <a:pt x="291" y="99"/>
                </a:cubicBezTo>
                <a:cubicBezTo>
                  <a:pt x="293" y="99"/>
                  <a:pt x="293" y="99"/>
                  <a:pt x="293" y="99"/>
                </a:cubicBezTo>
                <a:cubicBezTo>
                  <a:pt x="293" y="100"/>
                  <a:pt x="293" y="100"/>
                  <a:pt x="293" y="100"/>
                </a:cubicBezTo>
                <a:cubicBezTo>
                  <a:pt x="292" y="101"/>
                  <a:pt x="292" y="101"/>
                  <a:pt x="292" y="101"/>
                </a:cubicBezTo>
                <a:cubicBezTo>
                  <a:pt x="290" y="103"/>
                  <a:pt x="290" y="103"/>
                  <a:pt x="290" y="103"/>
                </a:cubicBezTo>
                <a:cubicBezTo>
                  <a:pt x="289" y="104"/>
                  <a:pt x="289" y="104"/>
                  <a:pt x="289" y="104"/>
                </a:cubicBezTo>
                <a:cubicBezTo>
                  <a:pt x="288" y="105"/>
                  <a:pt x="288" y="105"/>
                  <a:pt x="288" y="105"/>
                </a:cubicBezTo>
                <a:cubicBezTo>
                  <a:pt x="289" y="106"/>
                  <a:pt x="289" y="106"/>
                  <a:pt x="289" y="106"/>
                </a:cubicBezTo>
                <a:cubicBezTo>
                  <a:pt x="289" y="105"/>
                  <a:pt x="289" y="105"/>
                  <a:pt x="289" y="105"/>
                </a:cubicBezTo>
                <a:cubicBezTo>
                  <a:pt x="291" y="104"/>
                  <a:pt x="291" y="104"/>
                  <a:pt x="291" y="104"/>
                </a:cubicBezTo>
                <a:cubicBezTo>
                  <a:pt x="292" y="103"/>
                  <a:pt x="292" y="103"/>
                  <a:pt x="292" y="103"/>
                </a:cubicBezTo>
                <a:cubicBezTo>
                  <a:pt x="293" y="103"/>
                  <a:pt x="293" y="103"/>
                  <a:pt x="293" y="103"/>
                </a:cubicBezTo>
                <a:cubicBezTo>
                  <a:pt x="295" y="103"/>
                  <a:pt x="295" y="103"/>
                  <a:pt x="295" y="103"/>
                </a:cubicBezTo>
                <a:cubicBezTo>
                  <a:pt x="294" y="105"/>
                  <a:pt x="294" y="105"/>
                  <a:pt x="294" y="105"/>
                </a:cubicBezTo>
                <a:cubicBezTo>
                  <a:pt x="294" y="107"/>
                  <a:pt x="294" y="107"/>
                  <a:pt x="294" y="107"/>
                </a:cubicBezTo>
                <a:cubicBezTo>
                  <a:pt x="294" y="107"/>
                  <a:pt x="294" y="107"/>
                  <a:pt x="294" y="107"/>
                </a:cubicBezTo>
                <a:cubicBezTo>
                  <a:pt x="295" y="106"/>
                  <a:pt x="295" y="106"/>
                  <a:pt x="295" y="106"/>
                </a:cubicBezTo>
                <a:cubicBezTo>
                  <a:pt x="296" y="106"/>
                  <a:pt x="296" y="106"/>
                  <a:pt x="296" y="106"/>
                </a:cubicBezTo>
                <a:cubicBezTo>
                  <a:pt x="296" y="106"/>
                  <a:pt x="296" y="106"/>
                  <a:pt x="296" y="106"/>
                </a:cubicBezTo>
                <a:cubicBezTo>
                  <a:pt x="296" y="105"/>
                  <a:pt x="296" y="105"/>
                  <a:pt x="296" y="105"/>
                </a:cubicBezTo>
                <a:cubicBezTo>
                  <a:pt x="297" y="104"/>
                  <a:pt x="297" y="104"/>
                  <a:pt x="297" y="104"/>
                </a:cubicBezTo>
                <a:cubicBezTo>
                  <a:pt x="297" y="103"/>
                  <a:pt x="297" y="103"/>
                  <a:pt x="297" y="103"/>
                </a:cubicBezTo>
                <a:cubicBezTo>
                  <a:pt x="299" y="101"/>
                  <a:pt x="299" y="101"/>
                  <a:pt x="299" y="101"/>
                </a:cubicBezTo>
                <a:cubicBezTo>
                  <a:pt x="300" y="101"/>
                  <a:pt x="300" y="101"/>
                  <a:pt x="300" y="101"/>
                </a:cubicBezTo>
                <a:cubicBezTo>
                  <a:pt x="301" y="102"/>
                  <a:pt x="301" y="102"/>
                  <a:pt x="301" y="102"/>
                </a:cubicBezTo>
                <a:cubicBezTo>
                  <a:pt x="302" y="104"/>
                  <a:pt x="302" y="104"/>
                  <a:pt x="302" y="104"/>
                </a:cubicBezTo>
                <a:cubicBezTo>
                  <a:pt x="302" y="105"/>
                  <a:pt x="302" y="105"/>
                  <a:pt x="302" y="105"/>
                </a:cubicBezTo>
                <a:cubicBezTo>
                  <a:pt x="302" y="107"/>
                  <a:pt x="302" y="107"/>
                  <a:pt x="302" y="107"/>
                </a:cubicBezTo>
                <a:cubicBezTo>
                  <a:pt x="300" y="110"/>
                  <a:pt x="300" y="110"/>
                  <a:pt x="300" y="110"/>
                </a:cubicBezTo>
                <a:cubicBezTo>
                  <a:pt x="299" y="111"/>
                  <a:pt x="299" y="111"/>
                  <a:pt x="299" y="111"/>
                </a:cubicBezTo>
                <a:cubicBezTo>
                  <a:pt x="298" y="112"/>
                  <a:pt x="298" y="112"/>
                  <a:pt x="298" y="112"/>
                </a:cubicBezTo>
                <a:cubicBezTo>
                  <a:pt x="297" y="112"/>
                  <a:pt x="297" y="112"/>
                  <a:pt x="297" y="112"/>
                </a:cubicBezTo>
                <a:cubicBezTo>
                  <a:pt x="297" y="112"/>
                  <a:pt x="297" y="112"/>
                  <a:pt x="297" y="112"/>
                </a:cubicBezTo>
                <a:cubicBezTo>
                  <a:pt x="297" y="113"/>
                  <a:pt x="297" y="113"/>
                  <a:pt x="297" y="113"/>
                </a:cubicBezTo>
                <a:cubicBezTo>
                  <a:pt x="295" y="115"/>
                  <a:pt x="295" y="115"/>
                  <a:pt x="295" y="115"/>
                </a:cubicBezTo>
                <a:cubicBezTo>
                  <a:pt x="294" y="115"/>
                  <a:pt x="294" y="115"/>
                  <a:pt x="294" y="115"/>
                </a:cubicBezTo>
                <a:cubicBezTo>
                  <a:pt x="293" y="116"/>
                  <a:pt x="293" y="116"/>
                  <a:pt x="293" y="116"/>
                </a:cubicBezTo>
                <a:cubicBezTo>
                  <a:pt x="293" y="117"/>
                  <a:pt x="293" y="117"/>
                  <a:pt x="293" y="117"/>
                </a:cubicBezTo>
                <a:cubicBezTo>
                  <a:pt x="293" y="118"/>
                  <a:pt x="293" y="118"/>
                  <a:pt x="293" y="118"/>
                </a:cubicBezTo>
                <a:cubicBezTo>
                  <a:pt x="292" y="118"/>
                  <a:pt x="292" y="118"/>
                  <a:pt x="292" y="118"/>
                </a:cubicBezTo>
                <a:cubicBezTo>
                  <a:pt x="292" y="118"/>
                  <a:pt x="292" y="118"/>
                  <a:pt x="292" y="118"/>
                </a:cubicBezTo>
                <a:cubicBezTo>
                  <a:pt x="292" y="119"/>
                  <a:pt x="292" y="119"/>
                  <a:pt x="292" y="119"/>
                </a:cubicBezTo>
                <a:cubicBezTo>
                  <a:pt x="291" y="119"/>
                  <a:pt x="291" y="119"/>
                  <a:pt x="291" y="119"/>
                </a:cubicBezTo>
                <a:cubicBezTo>
                  <a:pt x="290" y="118"/>
                  <a:pt x="290" y="118"/>
                  <a:pt x="290" y="118"/>
                </a:cubicBezTo>
                <a:cubicBezTo>
                  <a:pt x="289" y="119"/>
                  <a:pt x="289" y="119"/>
                  <a:pt x="289" y="119"/>
                </a:cubicBezTo>
                <a:cubicBezTo>
                  <a:pt x="288" y="119"/>
                  <a:pt x="288" y="119"/>
                  <a:pt x="288" y="119"/>
                </a:cubicBezTo>
                <a:cubicBezTo>
                  <a:pt x="286" y="120"/>
                  <a:pt x="286" y="120"/>
                  <a:pt x="286" y="120"/>
                </a:cubicBezTo>
                <a:cubicBezTo>
                  <a:pt x="284" y="120"/>
                  <a:pt x="284" y="120"/>
                  <a:pt x="284" y="120"/>
                </a:cubicBezTo>
                <a:cubicBezTo>
                  <a:pt x="283" y="119"/>
                  <a:pt x="283" y="119"/>
                  <a:pt x="283" y="119"/>
                </a:cubicBezTo>
                <a:cubicBezTo>
                  <a:pt x="282" y="119"/>
                  <a:pt x="282" y="119"/>
                  <a:pt x="282" y="119"/>
                </a:cubicBezTo>
                <a:cubicBezTo>
                  <a:pt x="283" y="118"/>
                  <a:pt x="283" y="118"/>
                  <a:pt x="283" y="118"/>
                </a:cubicBezTo>
                <a:cubicBezTo>
                  <a:pt x="283" y="117"/>
                  <a:pt x="283" y="117"/>
                  <a:pt x="283" y="117"/>
                </a:cubicBezTo>
                <a:cubicBezTo>
                  <a:pt x="283" y="117"/>
                  <a:pt x="283" y="117"/>
                  <a:pt x="283" y="117"/>
                </a:cubicBezTo>
                <a:cubicBezTo>
                  <a:pt x="281" y="117"/>
                  <a:pt x="281" y="117"/>
                  <a:pt x="281" y="117"/>
                </a:cubicBezTo>
                <a:cubicBezTo>
                  <a:pt x="281" y="118"/>
                  <a:pt x="281" y="118"/>
                  <a:pt x="281" y="118"/>
                </a:cubicBezTo>
                <a:cubicBezTo>
                  <a:pt x="280" y="118"/>
                  <a:pt x="280" y="118"/>
                  <a:pt x="280" y="118"/>
                </a:cubicBezTo>
                <a:cubicBezTo>
                  <a:pt x="279" y="118"/>
                  <a:pt x="279" y="118"/>
                  <a:pt x="279" y="118"/>
                </a:cubicBezTo>
                <a:cubicBezTo>
                  <a:pt x="279" y="117"/>
                  <a:pt x="279" y="117"/>
                  <a:pt x="279" y="117"/>
                </a:cubicBezTo>
                <a:cubicBezTo>
                  <a:pt x="279" y="117"/>
                  <a:pt x="279" y="117"/>
                  <a:pt x="279" y="117"/>
                </a:cubicBezTo>
                <a:cubicBezTo>
                  <a:pt x="279" y="116"/>
                  <a:pt x="279" y="116"/>
                  <a:pt x="279" y="116"/>
                </a:cubicBezTo>
                <a:cubicBezTo>
                  <a:pt x="278" y="115"/>
                  <a:pt x="278" y="115"/>
                  <a:pt x="278" y="115"/>
                </a:cubicBezTo>
                <a:cubicBezTo>
                  <a:pt x="278" y="116"/>
                  <a:pt x="278" y="116"/>
                  <a:pt x="278" y="116"/>
                </a:cubicBezTo>
                <a:cubicBezTo>
                  <a:pt x="277" y="117"/>
                  <a:pt x="277" y="117"/>
                  <a:pt x="277" y="117"/>
                </a:cubicBezTo>
                <a:cubicBezTo>
                  <a:pt x="276" y="117"/>
                  <a:pt x="276" y="117"/>
                  <a:pt x="276" y="117"/>
                </a:cubicBezTo>
                <a:cubicBezTo>
                  <a:pt x="274" y="117"/>
                  <a:pt x="274" y="117"/>
                  <a:pt x="274" y="117"/>
                </a:cubicBezTo>
                <a:cubicBezTo>
                  <a:pt x="274" y="118"/>
                  <a:pt x="274" y="118"/>
                  <a:pt x="274" y="118"/>
                </a:cubicBezTo>
                <a:cubicBezTo>
                  <a:pt x="272" y="118"/>
                  <a:pt x="272" y="118"/>
                  <a:pt x="272" y="118"/>
                </a:cubicBezTo>
                <a:cubicBezTo>
                  <a:pt x="272" y="118"/>
                  <a:pt x="272" y="118"/>
                  <a:pt x="272" y="118"/>
                </a:cubicBezTo>
                <a:cubicBezTo>
                  <a:pt x="270" y="118"/>
                  <a:pt x="270" y="118"/>
                  <a:pt x="270" y="118"/>
                </a:cubicBezTo>
                <a:cubicBezTo>
                  <a:pt x="269" y="117"/>
                  <a:pt x="269" y="117"/>
                  <a:pt x="269" y="117"/>
                </a:cubicBezTo>
                <a:cubicBezTo>
                  <a:pt x="269" y="118"/>
                  <a:pt x="269" y="118"/>
                  <a:pt x="269" y="118"/>
                </a:cubicBezTo>
                <a:cubicBezTo>
                  <a:pt x="268" y="118"/>
                  <a:pt x="268" y="118"/>
                  <a:pt x="268" y="118"/>
                </a:cubicBezTo>
                <a:cubicBezTo>
                  <a:pt x="267" y="118"/>
                  <a:pt x="267" y="118"/>
                  <a:pt x="267" y="118"/>
                </a:cubicBezTo>
                <a:cubicBezTo>
                  <a:pt x="267" y="119"/>
                  <a:pt x="267" y="119"/>
                  <a:pt x="267" y="119"/>
                </a:cubicBezTo>
                <a:cubicBezTo>
                  <a:pt x="266" y="120"/>
                  <a:pt x="266" y="120"/>
                  <a:pt x="266" y="120"/>
                </a:cubicBezTo>
                <a:cubicBezTo>
                  <a:pt x="265" y="120"/>
                  <a:pt x="265" y="120"/>
                  <a:pt x="265" y="120"/>
                </a:cubicBezTo>
                <a:cubicBezTo>
                  <a:pt x="265" y="120"/>
                  <a:pt x="265" y="120"/>
                  <a:pt x="265" y="120"/>
                </a:cubicBezTo>
                <a:cubicBezTo>
                  <a:pt x="263" y="121"/>
                  <a:pt x="263" y="121"/>
                  <a:pt x="263" y="121"/>
                </a:cubicBezTo>
                <a:cubicBezTo>
                  <a:pt x="263" y="121"/>
                  <a:pt x="263" y="121"/>
                  <a:pt x="263" y="121"/>
                </a:cubicBezTo>
                <a:cubicBezTo>
                  <a:pt x="262" y="121"/>
                  <a:pt x="262" y="121"/>
                  <a:pt x="262" y="121"/>
                </a:cubicBezTo>
                <a:cubicBezTo>
                  <a:pt x="260" y="121"/>
                  <a:pt x="260" y="121"/>
                  <a:pt x="260" y="121"/>
                </a:cubicBezTo>
                <a:cubicBezTo>
                  <a:pt x="260" y="121"/>
                  <a:pt x="260" y="121"/>
                  <a:pt x="260" y="121"/>
                </a:cubicBezTo>
                <a:cubicBezTo>
                  <a:pt x="258" y="121"/>
                  <a:pt x="258" y="121"/>
                  <a:pt x="258" y="121"/>
                </a:cubicBezTo>
                <a:cubicBezTo>
                  <a:pt x="256" y="121"/>
                  <a:pt x="256" y="121"/>
                  <a:pt x="256" y="121"/>
                </a:cubicBezTo>
                <a:cubicBezTo>
                  <a:pt x="254" y="121"/>
                  <a:pt x="254" y="121"/>
                  <a:pt x="254" y="121"/>
                </a:cubicBezTo>
                <a:cubicBezTo>
                  <a:pt x="253" y="120"/>
                  <a:pt x="253" y="120"/>
                  <a:pt x="253" y="120"/>
                </a:cubicBezTo>
                <a:cubicBezTo>
                  <a:pt x="251" y="120"/>
                  <a:pt x="251" y="120"/>
                  <a:pt x="251" y="120"/>
                </a:cubicBezTo>
                <a:cubicBezTo>
                  <a:pt x="250" y="119"/>
                  <a:pt x="250" y="119"/>
                  <a:pt x="250" y="119"/>
                </a:cubicBezTo>
                <a:cubicBezTo>
                  <a:pt x="249" y="117"/>
                  <a:pt x="249" y="117"/>
                  <a:pt x="249" y="117"/>
                </a:cubicBezTo>
                <a:close/>
                <a:moveTo>
                  <a:pt x="174" y="157"/>
                </a:moveTo>
                <a:cubicBezTo>
                  <a:pt x="174" y="154"/>
                  <a:pt x="174" y="154"/>
                  <a:pt x="174" y="154"/>
                </a:cubicBezTo>
                <a:cubicBezTo>
                  <a:pt x="175" y="152"/>
                  <a:pt x="175" y="152"/>
                  <a:pt x="175" y="152"/>
                </a:cubicBezTo>
                <a:cubicBezTo>
                  <a:pt x="175" y="151"/>
                  <a:pt x="175" y="151"/>
                  <a:pt x="175" y="151"/>
                </a:cubicBezTo>
                <a:cubicBezTo>
                  <a:pt x="175" y="149"/>
                  <a:pt x="175" y="149"/>
                  <a:pt x="175" y="149"/>
                </a:cubicBezTo>
                <a:cubicBezTo>
                  <a:pt x="175" y="148"/>
                  <a:pt x="175" y="148"/>
                  <a:pt x="175" y="148"/>
                </a:cubicBezTo>
                <a:cubicBezTo>
                  <a:pt x="175" y="147"/>
                  <a:pt x="175" y="147"/>
                  <a:pt x="175" y="147"/>
                </a:cubicBezTo>
                <a:cubicBezTo>
                  <a:pt x="174" y="143"/>
                  <a:pt x="174" y="143"/>
                  <a:pt x="174" y="143"/>
                </a:cubicBezTo>
                <a:cubicBezTo>
                  <a:pt x="175" y="144"/>
                  <a:pt x="175" y="144"/>
                  <a:pt x="175" y="144"/>
                </a:cubicBezTo>
                <a:cubicBezTo>
                  <a:pt x="175" y="143"/>
                  <a:pt x="175" y="143"/>
                  <a:pt x="175" y="143"/>
                </a:cubicBezTo>
                <a:cubicBezTo>
                  <a:pt x="173" y="143"/>
                  <a:pt x="173" y="143"/>
                  <a:pt x="173" y="143"/>
                </a:cubicBezTo>
                <a:cubicBezTo>
                  <a:pt x="171" y="142"/>
                  <a:pt x="171" y="142"/>
                  <a:pt x="171" y="142"/>
                </a:cubicBezTo>
                <a:cubicBezTo>
                  <a:pt x="171" y="141"/>
                  <a:pt x="171" y="141"/>
                  <a:pt x="171" y="141"/>
                </a:cubicBezTo>
                <a:cubicBezTo>
                  <a:pt x="172" y="141"/>
                  <a:pt x="172" y="141"/>
                  <a:pt x="172" y="141"/>
                </a:cubicBezTo>
                <a:cubicBezTo>
                  <a:pt x="173" y="140"/>
                  <a:pt x="173" y="140"/>
                  <a:pt x="173" y="140"/>
                </a:cubicBezTo>
                <a:cubicBezTo>
                  <a:pt x="175" y="140"/>
                  <a:pt x="175" y="140"/>
                  <a:pt x="175" y="140"/>
                </a:cubicBezTo>
                <a:cubicBezTo>
                  <a:pt x="175" y="139"/>
                  <a:pt x="175" y="139"/>
                  <a:pt x="175" y="139"/>
                </a:cubicBezTo>
                <a:cubicBezTo>
                  <a:pt x="176" y="139"/>
                  <a:pt x="176" y="139"/>
                  <a:pt x="176" y="139"/>
                </a:cubicBezTo>
                <a:cubicBezTo>
                  <a:pt x="177" y="137"/>
                  <a:pt x="177" y="137"/>
                  <a:pt x="177" y="137"/>
                </a:cubicBezTo>
                <a:cubicBezTo>
                  <a:pt x="178" y="137"/>
                  <a:pt x="178" y="137"/>
                  <a:pt x="178" y="137"/>
                </a:cubicBezTo>
                <a:cubicBezTo>
                  <a:pt x="178" y="135"/>
                  <a:pt x="178" y="135"/>
                  <a:pt x="178" y="135"/>
                </a:cubicBezTo>
                <a:cubicBezTo>
                  <a:pt x="181" y="135"/>
                  <a:pt x="181" y="135"/>
                  <a:pt x="181" y="135"/>
                </a:cubicBezTo>
                <a:cubicBezTo>
                  <a:pt x="181" y="134"/>
                  <a:pt x="181" y="134"/>
                  <a:pt x="181" y="134"/>
                </a:cubicBezTo>
                <a:cubicBezTo>
                  <a:pt x="182" y="134"/>
                  <a:pt x="182" y="134"/>
                  <a:pt x="182" y="134"/>
                </a:cubicBezTo>
                <a:cubicBezTo>
                  <a:pt x="183" y="132"/>
                  <a:pt x="183" y="132"/>
                  <a:pt x="183" y="132"/>
                </a:cubicBezTo>
                <a:cubicBezTo>
                  <a:pt x="183" y="130"/>
                  <a:pt x="183" y="130"/>
                  <a:pt x="183" y="130"/>
                </a:cubicBezTo>
                <a:cubicBezTo>
                  <a:pt x="183" y="131"/>
                  <a:pt x="183" y="131"/>
                  <a:pt x="183" y="131"/>
                </a:cubicBezTo>
                <a:cubicBezTo>
                  <a:pt x="187" y="131"/>
                  <a:pt x="187" y="131"/>
                  <a:pt x="187" y="131"/>
                </a:cubicBezTo>
                <a:cubicBezTo>
                  <a:pt x="187" y="130"/>
                  <a:pt x="187" y="130"/>
                  <a:pt x="187" y="130"/>
                </a:cubicBezTo>
                <a:cubicBezTo>
                  <a:pt x="186" y="128"/>
                  <a:pt x="186" y="128"/>
                  <a:pt x="186" y="128"/>
                </a:cubicBezTo>
                <a:cubicBezTo>
                  <a:pt x="186" y="127"/>
                  <a:pt x="186" y="127"/>
                  <a:pt x="186" y="127"/>
                </a:cubicBezTo>
                <a:cubicBezTo>
                  <a:pt x="187" y="127"/>
                  <a:pt x="187" y="127"/>
                  <a:pt x="187" y="127"/>
                </a:cubicBezTo>
                <a:cubicBezTo>
                  <a:pt x="190" y="124"/>
                  <a:pt x="190" y="124"/>
                  <a:pt x="190" y="124"/>
                </a:cubicBezTo>
                <a:cubicBezTo>
                  <a:pt x="191" y="123"/>
                  <a:pt x="191" y="123"/>
                  <a:pt x="191" y="123"/>
                </a:cubicBezTo>
                <a:cubicBezTo>
                  <a:pt x="194" y="122"/>
                  <a:pt x="194" y="122"/>
                  <a:pt x="194" y="122"/>
                </a:cubicBezTo>
                <a:cubicBezTo>
                  <a:pt x="194" y="121"/>
                  <a:pt x="194" y="121"/>
                  <a:pt x="194" y="121"/>
                </a:cubicBezTo>
                <a:cubicBezTo>
                  <a:pt x="196" y="119"/>
                  <a:pt x="196" y="119"/>
                  <a:pt x="196" y="119"/>
                </a:cubicBezTo>
                <a:cubicBezTo>
                  <a:pt x="198" y="119"/>
                  <a:pt x="198" y="119"/>
                  <a:pt x="198" y="119"/>
                </a:cubicBezTo>
                <a:cubicBezTo>
                  <a:pt x="198" y="118"/>
                  <a:pt x="198" y="118"/>
                  <a:pt x="198" y="118"/>
                </a:cubicBezTo>
                <a:cubicBezTo>
                  <a:pt x="197" y="117"/>
                  <a:pt x="197" y="117"/>
                  <a:pt x="197" y="117"/>
                </a:cubicBezTo>
                <a:cubicBezTo>
                  <a:pt x="198" y="114"/>
                  <a:pt x="198" y="114"/>
                  <a:pt x="198" y="114"/>
                </a:cubicBezTo>
                <a:cubicBezTo>
                  <a:pt x="198" y="113"/>
                  <a:pt x="198" y="113"/>
                  <a:pt x="198" y="113"/>
                </a:cubicBezTo>
                <a:cubicBezTo>
                  <a:pt x="198" y="111"/>
                  <a:pt x="198" y="111"/>
                  <a:pt x="198" y="111"/>
                </a:cubicBezTo>
                <a:cubicBezTo>
                  <a:pt x="198" y="111"/>
                  <a:pt x="198" y="111"/>
                  <a:pt x="198" y="111"/>
                </a:cubicBezTo>
                <a:cubicBezTo>
                  <a:pt x="198" y="110"/>
                  <a:pt x="198" y="110"/>
                  <a:pt x="198" y="110"/>
                </a:cubicBezTo>
                <a:cubicBezTo>
                  <a:pt x="200" y="109"/>
                  <a:pt x="200" y="109"/>
                  <a:pt x="200" y="109"/>
                </a:cubicBezTo>
                <a:cubicBezTo>
                  <a:pt x="201" y="110"/>
                  <a:pt x="201" y="110"/>
                  <a:pt x="201" y="110"/>
                </a:cubicBezTo>
                <a:cubicBezTo>
                  <a:pt x="205" y="109"/>
                  <a:pt x="205" y="109"/>
                  <a:pt x="205" y="109"/>
                </a:cubicBezTo>
                <a:cubicBezTo>
                  <a:pt x="206" y="110"/>
                  <a:pt x="206" y="110"/>
                  <a:pt x="206" y="110"/>
                </a:cubicBezTo>
                <a:cubicBezTo>
                  <a:pt x="210" y="110"/>
                  <a:pt x="210" y="110"/>
                  <a:pt x="210" y="110"/>
                </a:cubicBezTo>
                <a:cubicBezTo>
                  <a:pt x="213" y="109"/>
                  <a:pt x="213" y="109"/>
                  <a:pt x="213" y="109"/>
                </a:cubicBezTo>
                <a:cubicBezTo>
                  <a:pt x="216" y="110"/>
                  <a:pt x="216" y="110"/>
                  <a:pt x="216" y="110"/>
                </a:cubicBezTo>
                <a:cubicBezTo>
                  <a:pt x="216" y="111"/>
                  <a:pt x="216" y="111"/>
                  <a:pt x="216" y="111"/>
                </a:cubicBezTo>
                <a:cubicBezTo>
                  <a:pt x="217" y="112"/>
                  <a:pt x="217" y="112"/>
                  <a:pt x="217" y="112"/>
                </a:cubicBezTo>
                <a:cubicBezTo>
                  <a:pt x="218" y="113"/>
                  <a:pt x="218" y="113"/>
                  <a:pt x="218" y="113"/>
                </a:cubicBezTo>
                <a:cubicBezTo>
                  <a:pt x="221" y="115"/>
                  <a:pt x="221" y="115"/>
                  <a:pt x="221" y="115"/>
                </a:cubicBezTo>
                <a:cubicBezTo>
                  <a:pt x="221" y="116"/>
                  <a:pt x="221" y="116"/>
                  <a:pt x="221" y="116"/>
                </a:cubicBezTo>
                <a:cubicBezTo>
                  <a:pt x="220" y="116"/>
                  <a:pt x="220" y="116"/>
                  <a:pt x="220" y="116"/>
                </a:cubicBezTo>
                <a:cubicBezTo>
                  <a:pt x="221" y="116"/>
                  <a:pt x="221" y="116"/>
                  <a:pt x="221" y="116"/>
                </a:cubicBezTo>
                <a:cubicBezTo>
                  <a:pt x="222" y="116"/>
                  <a:pt x="222" y="116"/>
                  <a:pt x="222" y="116"/>
                </a:cubicBezTo>
                <a:cubicBezTo>
                  <a:pt x="224" y="116"/>
                  <a:pt x="224" y="116"/>
                  <a:pt x="224" y="116"/>
                </a:cubicBezTo>
                <a:cubicBezTo>
                  <a:pt x="223" y="118"/>
                  <a:pt x="223" y="118"/>
                  <a:pt x="223" y="118"/>
                </a:cubicBezTo>
                <a:cubicBezTo>
                  <a:pt x="222" y="120"/>
                  <a:pt x="222" y="120"/>
                  <a:pt x="222" y="120"/>
                </a:cubicBezTo>
                <a:cubicBezTo>
                  <a:pt x="222" y="121"/>
                  <a:pt x="222" y="121"/>
                  <a:pt x="222" y="121"/>
                </a:cubicBezTo>
                <a:cubicBezTo>
                  <a:pt x="224" y="119"/>
                  <a:pt x="224" y="119"/>
                  <a:pt x="224" y="119"/>
                </a:cubicBezTo>
                <a:cubicBezTo>
                  <a:pt x="224" y="118"/>
                  <a:pt x="224" y="118"/>
                  <a:pt x="224" y="118"/>
                </a:cubicBezTo>
                <a:cubicBezTo>
                  <a:pt x="225" y="117"/>
                  <a:pt x="225" y="117"/>
                  <a:pt x="225" y="117"/>
                </a:cubicBezTo>
                <a:cubicBezTo>
                  <a:pt x="227" y="117"/>
                  <a:pt x="227" y="117"/>
                  <a:pt x="227" y="117"/>
                </a:cubicBezTo>
                <a:cubicBezTo>
                  <a:pt x="228" y="116"/>
                  <a:pt x="228" y="116"/>
                  <a:pt x="228" y="116"/>
                </a:cubicBezTo>
                <a:cubicBezTo>
                  <a:pt x="229" y="117"/>
                  <a:pt x="229" y="117"/>
                  <a:pt x="229" y="117"/>
                </a:cubicBezTo>
                <a:cubicBezTo>
                  <a:pt x="229" y="118"/>
                  <a:pt x="229" y="118"/>
                  <a:pt x="229" y="118"/>
                </a:cubicBezTo>
                <a:cubicBezTo>
                  <a:pt x="232" y="120"/>
                  <a:pt x="232" y="120"/>
                  <a:pt x="232" y="120"/>
                </a:cubicBezTo>
                <a:cubicBezTo>
                  <a:pt x="232" y="123"/>
                  <a:pt x="232" y="123"/>
                  <a:pt x="232" y="123"/>
                </a:cubicBezTo>
                <a:cubicBezTo>
                  <a:pt x="232" y="125"/>
                  <a:pt x="232" y="125"/>
                  <a:pt x="232" y="125"/>
                </a:cubicBezTo>
                <a:cubicBezTo>
                  <a:pt x="232" y="127"/>
                  <a:pt x="232" y="127"/>
                  <a:pt x="232" y="127"/>
                </a:cubicBezTo>
                <a:cubicBezTo>
                  <a:pt x="232" y="128"/>
                  <a:pt x="232" y="128"/>
                  <a:pt x="232" y="128"/>
                </a:cubicBezTo>
                <a:cubicBezTo>
                  <a:pt x="232" y="129"/>
                  <a:pt x="232" y="129"/>
                  <a:pt x="232" y="129"/>
                </a:cubicBezTo>
                <a:cubicBezTo>
                  <a:pt x="233" y="130"/>
                  <a:pt x="233" y="130"/>
                  <a:pt x="233" y="130"/>
                </a:cubicBezTo>
                <a:cubicBezTo>
                  <a:pt x="233" y="131"/>
                  <a:pt x="233" y="131"/>
                  <a:pt x="233" y="131"/>
                </a:cubicBezTo>
                <a:cubicBezTo>
                  <a:pt x="233" y="132"/>
                  <a:pt x="233" y="132"/>
                  <a:pt x="233" y="132"/>
                </a:cubicBezTo>
                <a:cubicBezTo>
                  <a:pt x="232" y="134"/>
                  <a:pt x="232" y="134"/>
                  <a:pt x="232" y="134"/>
                </a:cubicBezTo>
                <a:cubicBezTo>
                  <a:pt x="229" y="134"/>
                  <a:pt x="229" y="134"/>
                  <a:pt x="229" y="134"/>
                </a:cubicBezTo>
                <a:cubicBezTo>
                  <a:pt x="228" y="135"/>
                  <a:pt x="228" y="135"/>
                  <a:pt x="228" y="135"/>
                </a:cubicBezTo>
                <a:cubicBezTo>
                  <a:pt x="226" y="135"/>
                  <a:pt x="226" y="135"/>
                  <a:pt x="226" y="135"/>
                </a:cubicBezTo>
                <a:cubicBezTo>
                  <a:pt x="224" y="135"/>
                  <a:pt x="224" y="135"/>
                  <a:pt x="224" y="135"/>
                </a:cubicBezTo>
                <a:cubicBezTo>
                  <a:pt x="220" y="137"/>
                  <a:pt x="220" y="137"/>
                  <a:pt x="220" y="137"/>
                </a:cubicBezTo>
                <a:cubicBezTo>
                  <a:pt x="218" y="137"/>
                  <a:pt x="218" y="137"/>
                  <a:pt x="218" y="137"/>
                </a:cubicBezTo>
                <a:cubicBezTo>
                  <a:pt x="216" y="138"/>
                  <a:pt x="216" y="138"/>
                  <a:pt x="216" y="138"/>
                </a:cubicBezTo>
                <a:cubicBezTo>
                  <a:pt x="214" y="138"/>
                  <a:pt x="214" y="138"/>
                  <a:pt x="214" y="138"/>
                </a:cubicBezTo>
                <a:cubicBezTo>
                  <a:pt x="213" y="139"/>
                  <a:pt x="213" y="139"/>
                  <a:pt x="213" y="139"/>
                </a:cubicBezTo>
                <a:cubicBezTo>
                  <a:pt x="211" y="139"/>
                  <a:pt x="211" y="139"/>
                  <a:pt x="211" y="139"/>
                </a:cubicBezTo>
                <a:cubicBezTo>
                  <a:pt x="210" y="140"/>
                  <a:pt x="210" y="140"/>
                  <a:pt x="210" y="140"/>
                </a:cubicBezTo>
                <a:cubicBezTo>
                  <a:pt x="209" y="139"/>
                  <a:pt x="209" y="139"/>
                  <a:pt x="209" y="139"/>
                </a:cubicBezTo>
                <a:cubicBezTo>
                  <a:pt x="209" y="139"/>
                  <a:pt x="209" y="139"/>
                  <a:pt x="209" y="139"/>
                </a:cubicBezTo>
                <a:cubicBezTo>
                  <a:pt x="207" y="140"/>
                  <a:pt x="207" y="140"/>
                  <a:pt x="207" y="140"/>
                </a:cubicBezTo>
                <a:cubicBezTo>
                  <a:pt x="206" y="141"/>
                  <a:pt x="206" y="141"/>
                  <a:pt x="206" y="141"/>
                </a:cubicBezTo>
                <a:cubicBezTo>
                  <a:pt x="205" y="143"/>
                  <a:pt x="205" y="143"/>
                  <a:pt x="205" y="143"/>
                </a:cubicBezTo>
                <a:cubicBezTo>
                  <a:pt x="204" y="143"/>
                  <a:pt x="204" y="143"/>
                  <a:pt x="204" y="143"/>
                </a:cubicBezTo>
                <a:cubicBezTo>
                  <a:pt x="204" y="145"/>
                  <a:pt x="204" y="145"/>
                  <a:pt x="204" y="145"/>
                </a:cubicBezTo>
                <a:cubicBezTo>
                  <a:pt x="202" y="145"/>
                  <a:pt x="202" y="145"/>
                  <a:pt x="202" y="145"/>
                </a:cubicBezTo>
                <a:cubicBezTo>
                  <a:pt x="201" y="146"/>
                  <a:pt x="201" y="146"/>
                  <a:pt x="201" y="146"/>
                </a:cubicBezTo>
                <a:cubicBezTo>
                  <a:pt x="199" y="146"/>
                  <a:pt x="199" y="146"/>
                  <a:pt x="199" y="146"/>
                </a:cubicBezTo>
                <a:cubicBezTo>
                  <a:pt x="198" y="144"/>
                  <a:pt x="198" y="144"/>
                  <a:pt x="198" y="144"/>
                </a:cubicBezTo>
                <a:cubicBezTo>
                  <a:pt x="197" y="146"/>
                  <a:pt x="197" y="146"/>
                  <a:pt x="197" y="146"/>
                </a:cubicBezTo>
                <a:cubicBezTo>
                  <a:pt x="197" y="147"/>
                  <a:pt x="197" y="147"/>
                  <a:pt x="197" y="147"/>
                </a:cubicBezTo>
                <a:cubicBezTo>
                  <a:pt x="195" y="148"/>
                  <a:pt x="195" y="148"/>
                  <a:pt x="195" y="148"/>
                </a:cubicBezTo>
                <a:cubicBezTo>
                  <a:pt x="194" y="149"/>
                  <a:pt x="194" y="149"/>
                  <a:pt x="194" y="149"/>
                </a:cubicBezTo>
                <a:cubicBezTo>
                  <a:pt x="194" y="150"/>
                  <a:pt x="194" y="150"/>
                  <a:pt x="194" y="150"/>
                </a:cubicBezTo>
                <a:cubicBezTo>
                  <a:pt x="192" y="152"/>
                  <a:pt x="192" y="152"/>
                  <a:pt x="192" y="152"/>
                </a:cubicBezTo>
                <a:cubicBezTo>
                  <a:pt x="192" y="153"/>
                  <a:pt x="192" y="153"/>
                  <a:pt x="192" y="153"/>
                </a:cubicBezTo>
                <a:cubicBezTo>
                  <a:pt x="191" y="155"/>
                  <a:pt x="191" y="155"/>
                  <a:pt x="191" y="155"/>
                </a:cubicBezTo>
                <a:cubicBezTo>
                  <a:pt x="189" y="156"/>
                  <a:pt x="189" y="156"/>
                  <a:pt x="189" y="156"/>
                </a:cubicBezTo>
                <a:cubicBezTo>
                  <a:pt x="188" y="156"/>
                  <a:pt x="188" y="156"/>
                  <a:pt x="188" y="156"/>
                </a:cubicBezTo>
                <a:cubicBezTo>
                  <a:pt x="186" y="157"/>
                  <a:pt x="186" y="157"/>
                  <a:pt x="186" y="157"/>
                </a:cubicBezTo>
                <a:cubicBezTo>
                  <a:pt x="185" y="157"/>
                  <a:pt x="185" y="157"/>
                  <a:pt x="185" y="157"/>
                </a:cubicBezTo>
                <a:cubicBezTo>
                  <a:pt x="184" y="155"/>
                  <a:pt x="184" y="155"/>
                  <a:pt x="184" y="155"/>
                </a:cubicBezTo>
                <a:cubicBezTo>
                  <a:pt x="185" y="155"/>
                  <a:pt x="185" y="155"/>
                  <a:pt x="185" y="155"/>
                </a:cubicBezTo>
                <a:cubicBezTo>
                  <a:pt x="185" y="153"/>
                  <a:pt x="185" y="153"/>
                  <a:pt x="185" y="153"/>
                </a:cubicBezTo>
                <a:cubicBezTo>
                  <a:pt x="184" y="152"/>
                  <a:pt x="184" y="152"/>
                  <a:pt x="184" y="152"/>
                </a:cubicBezTo>
                <a:cubicBezTo>
                  <a:pt x="183" y="153"/>
                  <a:pt x="183" y="153"/>
                  <a:pt x="183" y="153"/>
                </a:cubicBezTo>
                <a:cubicBezTo>
                  <a:pt x="183" y="154"/>
                  <a:pt x="183" y="154"/>
                  <a:pt x="183" y="154"/>
                </a:cubicBezTo>
                <a:cubicBezTo>
                  <a:pt x="183" y="154"/>
                  <a:pt x="183" y="154"/>
                  <a:pt x="183" y="154"/>
                </a:cubicBezTo>
                <a:cubicBezTo>
                  <a:pt x="181" y="156"/>
                  <a:pt x="181" y="156"/>
                  <a:pt x="181" y="156"/>
                </a:cubicBezTo>
                <a:cubicBezTo>
                  <a:pt x="179" y="156"/>
                  <a:pt x="179" y="156"/>
                  <a:pt x="179" y="156"/>
                </a:cubicBezTo>
                <a:cubicBezTo>
                  <a:pt x="178" y="156"/>
                  <a:pt x="178" y="156"/>
                  <a:pt x="178" y="156"/>
                </a:cubicBezTo>
                <a:cubicBezTo>
                  <a:pt x="177" y="157"/>
                  <a:pt x="177" y="157"/>
                  <a:pt x="177" y="157"/>
                </a:cubicBezTo>
                <a:cubicBezTo>
                  <a:pt x="176" y="157"/>
                  <a:pt x="176" y="157"/>
                  <a:pt x="176" y="157"/>
                </a:cubicBezTo>
                <a:cubicBezTo>
                  <a:pt x="175" y="157"/>
                  <a:pt x="175" y="157"/>
                  <a:pt x="175" y="157"/>
                </a:cubicBezTo>
                <a:cubicBezTo>
                  <a:pt x="174" y="157"/>
                  <a:pt x="174" y="157"/>
                  <a:pt x="174" y="157"/>
                </a:cubicBezTo>
                <a:cubicBezTo>
                  <a:pt x="174" y="157"/>
                  <a:pt x="174" y="157"/>
                  <a:pt x="174" y="157"/>
                </a:cubicBezTo>
                <a:close/>
                <a:moveTo>
                  <a:pt x="334" y="138"/>
                </a:moveTo>
                <a:cubicBezTo>
                  <a:pt x="335" y="138"/>
                  <a:pt x="335" y="138"/>
                  <a:pt x="335" y="138"/>
                </a:cubicBezTo>
                <a:cubicBezTo>
                  <a:pt x="335" y="139"/>
                  <a:pt x="335" y="139"/>
                  <a:pt x="335" y="139"/>
                </a:cubicBezTo>
                <a:cubicBezTo>
                  <a:pt x="335" y="140"/>
                  <a:pt x="335" y="140"/>
                  <a:pt x="335" y="140"/>
                </a:cubicBezTo>
                <a:cubicBezTo>
                  <a:pt x="334" y="140"/>
                  <a:pt x="334" y="140"/>
                  <a:pt x="334" y="140"/>
                </a:cubicBezTo>
                <a:cubicBezTo>
                  <a:pt x="334" y="140"/>
                  <a:pt x="334" y="140"/>
                  <a:pt x="334" y="140"/>
                </a:cubicBezTo>
                <a:cubicBezTo>
                  <a:pt x="333" y="138"/>
                  <a:pt x="333" y="138"/>
                  <a:pt x="333" y="138"/>
                </a:cubicBezTo>
                <a:cubicBezTo>
                  <a:pt x="334" y="138"/>
                  <a:pt x="334" y="138"/>
                  <a:pt x="334" y="138"/>
                </a:cubicBezTo>
                <a:close/>
                <a:moveTo>
                  <a:pt x="322" y="138"/>
                </a:moveTo>
                <a:cubicBezTo>
                  <a:pt x="322" y="137"/>
                  <a:pt x="322" y="137"/>
                  <a:pt x="322" y="137"/>
                </a:cubicBezTo>
                <a:cubicBezTo>
                  <a:pt x="324" y="136"/>
                  <a:pt x="324" y="136"/>
                  <a:pt x="324" y="136"/>
                </a:cubicBezTo>
                <a:cubicBezTo>
                  <a:pt x="325" y="137"/>
                  <a:pt x="325" y="137"/>
                  <a:pt x="325" y="137"/>
                </a:cubicBezTo>
                <a:cubicBezTo>
                  <a:pt x="324" y="137"/>
                  <a:pt x="324" y="137"/>
                  <a:pt x="324" y="137"/>
                </a:cubicBezTo>
                <a:cubicBezTo>
                  <a:pt x="324" y="137"/>
                  <a:pt x="324" y="137"/>
                  <a:pt x="324" y="137"/>
                </a:cubicBezTo>
                <a:cubicBezTo>
                  <a:pt x="323" y="138"/>
                  <a:pt x="323" y="138"/>
                  <a:pt x="323" y="138"/>
                </a:cubicBezTo>
                <a:cubicBezTo>
                  <a:pt x="322" y="138"/>
                  <a:pt x="322" y="138"/>
                  <a:pt x="322" y="138"/>
                </a:cubicBezTo>
                <a:close/>
                <a:moveTo>
                  <a:pt x="310" y="145"/>
                </a:moveTo>
                <a:cubicBezTo>
                  <a:pt x="310" y="146"/>
                  <a:pt x="310" y="146"/>
                  <a:pt x="310" y="146"/>
                </a:cubicBezTo>
                <a:cubicBezTo>
                  <a:pt x="312" y="146"/>
                  <a:pt x="312" y="146"/>
                  <a:pt x="312" y="146"/>
                </a:cubicBezTo>
                <a:cubicBezTo>
                  <a:pt x="313" y="147"/>
                  <a:pt x="313" y="147"/>
                  <a:pt x="313" y="147"/>
                </a:cubicBezTo>
                <a:cubicBezTo>
                  <a:pt x="314" y="147"/>
                  <a:pt x="314" y="147"/>
                  <a:pt x="314" y="147"/>
                </a:cubicBezTo>
                <a:cubicBezTo>
                  <a:pt x="315" y="147"/>
                  <a:pt x="315" y="147"/>
                  <a:pt x="315" y="147"/>
                </a:cubicBezTo>
                <a:cubicBezTo>
                  <a:pt x="317" y="146"/>
                  <a:pt x="317" y="146"/>
                  <a:pt x="317" y="146"/>
                </a:cubicBezTo>
                <a:cubicBezTo>
                  <a:pt x="318" y="147"/>
                  <a:pt x="318" y="147"/>
                  <a:pt x="318" y="147"/>
                </a:cubicBezTo>
                <a:cubicBezTo>
                  <a:pt x="318" y="146"/>
                  <a:pt x="318" y="146"/>
                  <a:pt x="318" y="146"/>
                </a:cubicBezTo>
                <a:cubicBezTo>
                  <a:pt x="319" y="146"/>
                  <a:pt x="319" y="146"/>
                  <a:pt x="319" y="146"/>
                </a:cubicBezTo>
                <a:cubicBezTo>
                  <a:pt x="321" y="146"/>
                  <a:pt x="321" y="146"/>
                  <a:pt x="321" y="146"/>
                </a:cubicBezTo>
                <a:cubicBezTo>
                  <a:pt x="321" y="145"/>
                  <a:pt x="321" y="145"/>
                  <a:pt x="321" y="145"/>
                </a:cubicBezTo>
                <a:cubicBezTo>
                  <a:pt x="319" y="144"/>
                  <a:pt x="319" y="144"/>
                  <a:pt x="319" y="144"/>
                </a:cubicBezTo>
                <a:cubicBezTo>
                  <a:pt x="318" y="144"/>
                  <a:pt x="318" y="144"/>
                  <a:pt x="318" y="144"/>
                </a:cubicBezTo>
                <a:cubicBezTo>
                  <a:pt x="316" y="144"/>
                  <a:pt x="316" y="144"/>
                  <a:pt x="316" y="144"/>
                </a:cubicBezTo>
                <a:cubicBezTo>
                  <a:pt x="316" y="144"/>
                  <a:pt x="316" y="144"/>
                  <a:pt x="316" y="144"/>
                </a:cubicBezTo>
                <a:cubicBezTo>
                  <a:pt x="315" y="145"/>
                  <a:pt x="315" y="145"/>
                  <a:pt x="315" y="145"/>
                </a:cubicBezTo>
                <a:cubicBezTo>
                  <a:pt x="313" y="144"/>
                  <a:pt x="313" y="144"/>
                  <a:pt x="313" y="144"/>
                </a:cubicBezTo>
                <a:cubicBezTo>
                  <a:pt x="312" y="145"/>
                  <a:pt x="312" y="145"/>
                  <a:pt x="312" y="145"/>
                </a:cubicBezTo>
                <a:cubicBezTo>
                  <a:pt x="310" y="145"/>
                  <a:pt x="310" y="145"/>
                  <a:pt x="310" y="145"/>
                </a:cubicBezTo>
                <a:cubicBezTo>
                  <a:pt x="310" y="145"/>
                  <a:pt x="310" y="145"/>
                  <a:pt x="310" y="145"/>
                </a:cubicBezTo>
                <a:close/>
                <a:moveTo>
                  <a:pt x="303" y="189"/>
                </a:moveTo>
                <a:cubicBezTo>
                  <a:pt x="302" y="188"/>
                  <a:pt x="302" y="188"/>
                  <a:pt x="302" y="188"/>
                </a:cubicBezTo>
                <a:cubicBezTo>
                  <a:pt x="303" y="188"/>
                  <a:pt x="303" y="188"/>
                  <a:pt x="303" y="188"/>
                </a:cubicBezTo>
                <a:cubicBezTo>
                  <a:pt x="303" y="187"/>
                  <a:pt x="303" y="187"/>
                  <a:pt x="303" y="187"/>
                </a:cubicBezTo>
                <a:cubicBezTo>
                  <a:pt x="303" y="188"/>
                  <a:pt x="303" y="188"/>
                  <a:pt x="303" y="188"/>
                </a:cubicBezTo>
                <a:cubicBezTo>
                  <a:pt x="303" y="189"/>
                  <a:pt x="303" y="189"/>
                  <a:pt x="303" y="189"/>
                </a:cubicBezTo>
                <a:close/>
                <a:moveTo>
                  <a:pt x="295" y="187"/>
                </a:moveTo>
                <a:cubicBezTo>
                  <a:pt x="294" y="187"/>
                  <a:pt x="294" y="187"/>
                  <a:pt x="294" y="187"/>
                </a:cubicBezTo>
                <a:cubicBezTo>
                  <a:pt x="294" y="185"/>
                  <a:pt x="294" y="185"/>
                  <a:pt x="294" y="185"/>
                </a:cubicBezTo>
                <a:cubicBezTo>
                  <a:pt x="294" y="185"/>
                  <a:pt x="294" y="185"/>
                  <a:pt x="294" y="185"/>
                </a:cubicBezTo>
                <a:cubicBezTo>
                  <a:pt x="293" y="186"/>
                  <a:pt x="293" y="186"/>
                  <a:pt x="293" y="186"/>
                </a:cubicBezTo>
                <a:cubicBezTo>
                  <a:pt x="293" y="185"/>
                  <a:pt x="293" y="185"/>
                  <a:pt x="293" y="185"/>
                </a:cubicBezTo>
                <a:cubicBezTo>
                  <a:pt x="293" y="184"/>
                  <a:pt x="293" y="184"/>
                  <a:pt x="293" y="184"/>
                </a:cubicBezTo>
                <a:cubicBezTo>
                  <a:pt x="293" y="182"/>
                  <a:pt x="293" y="182"/>
                  <a:pt x="293" y="182"/>
                </a:cubicBezTo>
                <a:cubicBezTo>
                  <a:pt x="292" y="181"/>
                  <a:pt x="292" y="181"/>
                  <a:pt x="292" y="181"/>
                </a:cubicBezTo>
                <a:cubicBezTo>
                  <a:pt x="293" y="180"/>
                  <a:pt x="293" y="180"/>
                  <a:pt x="293" y="180"/>
                </a:cubicBezTo>
                <a:cubicBezTo>
                  <a:pt x="293" y="178"/>
                  <a:pt x="293" y="178"/>
                  <a:pt x="293" y="178"/>
                </a:cubicBezTo>
                <a:cubicBezTo>
                  <a:pt x="293" y="177"/>
                  <a:pt x="293" y="177"/>
                  <a:pt x="293" y="177"/>
                </a:cubicBezTo>
                <a:cubicBezTo>
                  <a:pt x="292" y="177"/>
                  <a:pt x="292" y="177"/>
                  <a:pt x="292" y="177"/>
                </a:cubicBezTo>
                <a:cubicBezTo>
                  <a:pt x="292" y="176"/>
                  <a:pt x="292" y="176"/>
                  <a:pt x="292" y="176"/>
                </a:cubicBezTo>
                <a:cubicBezTo>
                  <a:pt x="292" y="175"/>
                  <a:pt x="292" y="175"/>
                  <a:pt x="292" y="175"/>
                </a:cubicBezTo>
                <a:cubicBezTo>
                  <a:pt x="290" y="174"/>
                  <a:pt x="290" y="174"/>
                  <a:pt x="290" y="174"/>
                </a:cubicBezTo>
                <a:cubicBezTo>
                  <a:pt x="291" y="172"/>
                  <a:pt x="291" y="172"/>
                  <a:pt x="291" y="172"/>
                </a:cubicBezTo>
                <a:cubicBezTo>
                  <a:pt x="290" y="170"/>
                  <a:pt x="290" y="170"/>
                  <a:pt x="290" y="170"/>
                </a:cubicBezTo>
                <a:cubicBezTo>
                  <a:pt x="289" y="170"/>
                  <a:pt x="289" y="170"/>
                  <a:pt x="289" y="170"/>
                </a:cubicBezTo>
                <a:cubicBezTo>
                  <a:pt x="289" y="170"/>
                  <a:pt x="289" y="170"/>
                  <a:pt x="289" y="170"/>
                </a:cubicBezTo>
                <a:cubicBezTo>
                  <a:pt x="289" y="168"/>
                  <a:pt x="289" y="168"/>
                  <a:pt x="289" y="168"/>
                </a:cubicBezTo>
                <a:cubicBezTo>
                  <a:pt x="288" y="168"/>
                  <a:pt x="288" y="168"/>
                  <a:pt x="288" y="168"/>
                </a:cubicBezTo>
                <a:cubicBezTo>
                  <a:pt x="287" y="168"/>
                  <a:pt x="287" y="168"/>
                  <a:pt x="287" y="168"/>
                </a:cubicBezTo>
                <a:cubicBezTo>
                  <a:pt x="287" y="168"/>
                  <a:pt x="287" y="168"/>
                  <a:pt x="287" y="168"/>
                </a:cubicBezTo>
                <a:cubicBezTo>
                  <a:pt x="286" y="168"/>
                  <a:pt x="286" y="168"/>
                  <a:pt x="286" y="168"/>
                </a:cubicBezTo>
                <a:cubicBezTo>
                  <a:pt x="285" y="168"/>
                  <a:pt x="285" y="168"/>
                  <a:pt x="285" y="168"/>
                </a:cubicBezTo>
                <a:cubicBezTo>
                  <a:pt x="285" y="166"/>
                  <a:pt x="285" y="166"/>
                  <a:pt x="285" y="166"/>
                </a:cubicBezTo>
                <a:cubicBezTo>
                  <a:pt x="286" y="165"/>
                  <a:pt x="286" y="165"/>
                  <a:pt x="286" y="165"/>
                </a:cubicBezTo>
                <a:cubicBezTo>
                  <a:pt x="287" y="164"/>
                  <a:pt x="287" y="164"/>
                  <a:pt x="287" y="164"/>
                </a:cubicBezTo>
                <a:cubicBezTo>
                  <a:pt x="286" y="163"/>
                  <a:pt x="286" y="163"/>
                  <a:pt x="286" y="163"/>
                </a:cubicBezTo>
                <a:cubicBezTo>
                  <a:pt x="286" y="162"/>
                  <a:pt x="286" y="162"/>
                  <a:pt x="286" y="162"/>
                </a:cubicBezTo>
                <a:cubicBezTo>
                  <a:pt x="286" y="160"/>
                  <a:pt x="286" y="160"/>
                  <a:pt x="286" y="160"/>
                </a:cubicBezTo>
                <a:cubicBezTo>
                  <a:pt x="286" y="159"/>
                  <a:pt x="286" y="159"/>
                  <a:pt x="286" y="159"/>
                </a:cubicBezTo>
                <a:cubicBezTo>
                  <a:pt x="287" y="157"/>
                  <a:pt x="287" y="157"/>
                  <a:pt x="287" y="157"/>
                </a:cubicBezTo>
                <a:cubicBezTo>
                  <a:pt x="289" y="157"/>
                  <a:pt x="289" y="157"/>
                  <a:pt x="289" y="157"/>
                </a:cubicBezTo>
                <a:cubicBezTo>
                  <a:pt x="289" y="156"/>
                  <a:pt x="289" y="156"/>
                  <a:pt x="289" y="156"/>
                </a:cubicBezTo>
                <a:cubicBezTo>
                  <a:pt x="290" y="156"/>
                  <a:pt x="290" y="156"/>
                  <a:pt x="290" y="156"/>
                </a:cubicBezTo>
                <a:cubicBezTo>
                  <a:pt x="290" y="156"/>
                  <a:pt x="290" y="156"/>
                  <a:pt x="290" y="156"/>
                </a:cubicBezTo>
                <a:cubicBezTo>
                  <a:pt x="292" y="156"/>
                  <a:pt x="292" y="156"/>
                  <a:pt x="292" y="156"/>
                </a:cubicBezTo>
                <a:cubicBezTo>
                  <a:pt x="293" y="156"/>
                  <a:pt x="293" y="156"/>
                  <a:pt x="293" y="156"/>
                </a:cubicBezTo>
                <a:cubicBezTo>
                  <a:pt x="294" y="157"/>
                  <a:pt x="294" y="157"/>
                  <a:pt x="294" y="157"/>
                </a:cubicBezTo>
                <a:cubicBezTo>
                  <a:pt x="293" y="157"/>
                  <a:pt x="293" y="157"/>
                  <a:pt x="293" y="157"/>
                </a:cubicBezTo>
                <a:cubicBezTo>
                  <a:pt x="293" y="158"/>
                  <a:pt x="293" y="158"/>
                  <a:pt x="293" y="158"/>
                </a:cubicBezTo>
                <a:cubicBezTo>
                  <a:pt x="292" y="158"/>
                  <a:pt x="292" y="158"/>
                  <a:pt x="292" y="158"/>
                </a:cubicBezTo>
                <a:cubicBezTo>
                  <a:pt x="293" y="158"/>
                  <a:pt x="293" y="158"/>
                  <a:pt x="293" y="158"/>
                </a:cubicBezTo>
                <a:cubicBezTo>
                  <a:pt x="294" y="159"/>
                  <a:pt x="294" y="159"/>
                  <a:pt x="294" y="159"/>
                </a:cubicBezTo>
                <a:cubicBezTo>
                  <a:pt x="294" y="160"/>
                  <a:pt x="294" y="160"/>
                  <a:pt x="294" y="160"/>
                </a:cubicBezTo>
                <a:cubicBezTo>
                  <a:pt x="295" y="162"/>
                  <a:pt x="295" y="162"/>
                  <a:pt x="295" y="162"/>
                </a:cubicBezTo>
                <a:cubicBezTo>
                  <a:pt x="295" y="163"/>
                  <a:pt x="295" y="163"/>
                  <a:pt x="295" y="163"/>
                </a:cubicBezTo>
                <a:cubicBezTo>
                  <a:pt x="296" y="164"/>
                  <a:pt x="296" y="164"/>
                  <a:pt x="296" y="164"/>
                </a:cubicBezTo>
                <a:cubicBezTo>
                  <a:pt x="297" y="164"/>
                  <a:pt x="297" y="164"/>
                  <a:pt x="297" y="164"/>
                </a:cubicBezTo>
                <a:cubicBezTo>
                  <a:pt x="298" y="164"/>
                  <a:pt x="298" y="164"/>
                  <a:pt x="298" y="164"/>
                </a:cubicBezTo>
                <a:cubicBezTo>
                  <a:pt x="297" y="163"/>
                  <a:pt x="297" y="163"/>
                  <a:pt x="297" y="163"/>
                </a:cubicBezTo>
                <a:cubicBezTo>
                  <a:pt x="298" y="162"/>
                  <a:pt x="298" y="162"/>
                  <a:pt x="298" y="162"/>
                </a:cubicBezTo>
                <a:cubicBezTo>
                  <a:pt x="299" y="161"/>
                  <a:pt x="299" y="161"/>
                  <a:pt x="299" y="161"/>
                </a:cubicBezTo>
                <a:cubicBezTo>
                  <a:pt x="299" y="160"/>
                  <a:pt x="299" y="160"/>
                  <a:pt x="299" y="160"/>
                </a:cubicBezTo>
                <a:cubicBezTo>
                  <a:pt x="300" y="159"/>
                  <a:pt x="300" y="159"/>
                  <a:pt x="300" y="159"/>
                </a:cubicBezTo>
                <a:cubicBezTo>
                  <a:pt x="300" y="158"/>
                  <a:pt x="300" y="158"/>
                  <a:pt x="300" y="158"/>
                </a:cubicBezTo>
                <a:cubicBezTo>
                  <a:pt x="299" y="157"/>
                  <a:pt x="299" y="157"/>
                  <a:pt x="299" y="157"/>
                </a:cubicBezTo>
                <a:cubicBezTo>
                  <a:pt x="300" y="157"/>
                  <a:pt x="300" y="157"/>
                  <a:pt x="300" y="157"/>
                </a:cubicBezTo>
                <a:cubicBezTo>
                  <a:pt x="301" y="156"/>
                  <a:pt x="301" y="156"/>
                  <a:pt x="301" y="156"/>
                </a:cubicBezTo>
                <a:cubicBezTo>
                  <a:pt x="302" y="157"/>
                  <a:pt x="302" y="157"/>
                  <a:pt x="302" y="157"/>
                </a:cubicBezTo>
                <a:cubicBezTo>
                  <a:pt x="302" y="158"/>
                  <a:pt x="302" y="158"/>
                  <a:pt x="302" y="158"/>
                </a:cubicBezTo>
                <a:cubicBezTo>
                  <a:pt x="303" y="158"/>
                  <a:pt x="303" y="158"/>
                  <a:pt x="303" y="158"/>
                </a:cubicBezTo>
                <a:cubicBezTo>
                  <a:pt x="303" y="157"/>
                  <a:pt x="303" y="157"/>
                  <a:pt x="303" y="157"/>
                </a:cubicBezTo>
                <a:cubicBezTo>
                  <a:pt x="302" y="156"/>
                  <a:pt x="302" y="156"/>
                  <a:pt x="302" y="156"/>
                </a:cubicBezTo>
                <a:cubicBezTo>
                  <a:pt x="302" y="155"/>
                  <a:pt x="302" y="155"/>
                  <a:pt x="302" y="155"/>
                </a:cubicBezTo>
                <a:cubicBezTo>
                  <a:pt x="301" y="155"/>
                  <a:pt x="301" y="155"/>
                  <a:pt x="301" y="155"/>
                </a:cubicBezTo>
                <a:cubicBezTo>
                  <a:pt x="301" y="156"/>
                  <a:pt x="301" y="156"/>
                  <a:pt x="301" y="156"/>
                </a:cubicBezTo>
                <a:cubicBezTo>
                  <a:pt x="299" y="156"/>
                  <a:pt x="299" y="156"/>
                  <a:pt x="299" y="156"/>
                </a:cubicBezTo>
                <a:cubicBezTo>
                  <a:pt x="298" y="154"/>
                  <a:pt x="298" y="154"/>
                  <a:pt x="298" y="154"/>
                </a:cubicBezTo>
                <a:cubicBezTo>
                  <a:pt x="298" y="154"/>
                  <a:pt x="298" y="154"/>
                  <a:pt x="298" y="154"/>
                </a:cubicBezTo>
                <a:cubicBezTo>
                  <a:pt x="297" y="152"/>
                  <a:pt x="297" y="152"/>
                  <a:pt x="297" y="152"/>
                </a:cubicBezTo>
                <a:cubicBezTo>
                  <a:pt x="297" y="151"/>
                  <a:pt x="297" y="151"/>
                  <a:pt x="297" y="151"/>
                </a:cubicBezTo>
                <a:cubicBezTo>
                  <a:pt x="298" y="150"/>
                  <a:pt x="298" y="150"/>
                  <a:pt x="298" y="150"/>
                </a:cubicBezTo>
                <a:cubicBezTo>
                  <a:pt x="299" y="150"/>
                  <a:pt x="299" y="150"/>
                  <a:pt x="299" y="150"/>
                </a:cubicBezTo>
                <a:cubicBezTo>
                  <a:pt x="299" y="149"/>
                  <a:pt x="299" y="149"/>
                  <a:pt x="299" y="149"/>
                </a:cubicBezTo>
                <a:cubicBezTo>
                  <a:pt x="300" y="150"/>
                  <a:pt x="300" y="150"/>
                  <a:pt x="300" y="150"/>
                </a:cubicBezTo>
                <a:cubicBezTo>
                  <a:pt x="301" y="151"/>
                  <a:pt x="301" y="151"/>
                  <a:pt x="301" y="151"/>
                </a:cubicBezTo>
                <a:cubicBezTo>
                  <a:pt x="301" y="153"/>
                  <a:pt x="301" y="153"/>
                  <a:pt x="301" y="153"/>
                </a:cubicBezTo>
                <a:cubicBezTo>
                  <a:pt x="302" y="153"/>
                  <a:pt x="302" y="153"/>
                  <a:pt x="302" y="153"/>
                </a:cubicBezTo>
                <a:cubicBezTo>
                  <a:pt x="302" y="152"/>
                  <a:pt x="302" y="152"/>
                  <a:pt x="302" y="152"/>
                </a:cubicBezTo>
                <a:cubicBezTo>
                  <a:pt x="302" y="151"/>
                  <a:pt x="302" y="151"/>
                  <a:pt x="302" y="151"/>
                </a:cubicBezTo>
                <a:cubicBezTo>
                  <a:pt x="302" y="150"/>
                  <a:pt x="302" y="150"/>
                  <a:pt x="302" y="150"/>
                </a:cubicBezTo>
                <a:cubicBezTo>
                  <a:pt x="301" y="150"/>
                  <a:pt x="301" y="150"/>
                  <a:pt x="301" y="150"/>
                </a:cubicBezTo>
                <a:cubicBezTo>
                  <a:pt x="301" y="148"/>
                  <a:pt x="301" y="148"/>
                  <a:pt x="301" y="148"/>
                </a:cubicBezTo>
                <a:cubicBezTo>
                  <a:pt x="301" y="147"/>
                  <a:pt x="301" y="147"/>
                  <a:pt x="301" y="147"/>
                </a:cubicBezTo>
                <a:cubicBezTo>
                  <a:pt x="301" y="147"/>
                  <a:pt x="301" y="147"/>
                  <a:pt x="301" y="147"/>
                </a:cubicBezTo>
                <a:cubicBezTo>
                  <a:pt x="302" y="146"/>
                  <a:pt x="302" y="146"/>
                  <a:pt x="302" y="146"/>
                </a:cubicBezTo>
                <a:cubicBezTo>
                  <a:pt x="303" y="145"/>
                  <a:pt x="303" y="145"/>
                  <a:pt x="303" y="145"/>
                </a:cubicBezTo>
                <a:cubicBezTo>
                  <a:pt x="304" y="145"/>
                  <a:pt x="304" y="145"/>
                  <a:pt x="304" y="145"/>
                </a:cubicBezTo>
                <a:cubicBezTo>
                  <a:pt x="304" y="145"/>
                  <a:pt x="304" y="145"/>
                  <a:pt x="304" y="145"/>
                </a:cubicBezTo>
                <a:cubicBezTo>
                  <a:pt x="305" y="147"/>
                  <a:pt x="305" y="147"/>
                  <a:pt x="305" y="147"/>
                </a:cubicBezTo>
                <a:cubicBezTo>
                  <a:pt x="307" y="147"/>
                  <a:pt x="307" y="147"/>
                  <a:pt x="307" y="147"/>
                </a:cubicBezTo>
                <a:cubicBezTo>
                  <a:pt x="307" y="146"/>
                  <a:pt x="307" y="146"/>
                  <a:pt x="307" y="146"/>
                </a:cubicBezTo>
                <a:cubicBezTo>
                  <a:pt x="306" y="146"/>
                  <a:pt x="306" y="146"/>
                  <a:pt x="306" y="146"/>
                </a:cubicBezTo>
                <a:cubicBezTo>
                  <a:pt x="305" y="145"/>
                  <a:pt x="305" y="145"/>
                  <a:pt x="305" y="145"/>
                </a:cubicBezTo>
                <a:cubicBezTo>
                  <a:pt x="306" y="145"/>
                  <a:pt x="306" y="145"/>
                  <a:pt x="306" y="145"/>
                </a:cubicBezTo>
                <a:cubicBezTo>
                  <a:pt x="307" y="144"/>
                  <a:pt x="307" y="144"/>
                  <a:pt x="307" y="144"/>
                </a:cubicBezTo>
                <a:cubicBezTo>
                  <a:pt x="309" y="145"/>
                  <a:pt x="309" y="145"/>
                  <a:pt x="309" y="145"/>
                </a:cubicBezTo>
                <a:cubicBezTo>
                  <a:pt x="309" y="145"/>
                  <a:pt x="309" y="145"/>
                  <a:pt x="309" y="145"/>
                </a:cubicBezTo>
                <a:cubicBezTo>
                  <a:pt x="308" y="146"/>
                  <a:pt x="308" y="146"/>
                  <a:pt x="308" y="146"/>
                </a:cubicBezTo>
                <a:cubicBezTo>
                  <a:pt x="308" y="146"/>
                  <a:pt x="308" y="146"/>
                  <a:pt x="308" y="146"/>
                </a:cubicBezTo>
                <a:cubicBezTo>
                  <a:pt x="309" y="147"/>
                  <a:pt x="309" y="147"/>
                  <a:pt x="309" y="147"/>
                </a:cubicBezTo>
                <a:cubicBezTo>
                  <a:pt x="310" y="148"/>
                  <a:pt x="310" y="148"/>
                  <a:pt x="310" y="148"/>
                </a:cubicBezTo>
                <a:cubicBezTo>
                  <a:pt x="311" y="148"/>
                  <a:pt x="311" y="148"/>
                  <a:pt x="311" y="148"/>
                </a:cubicBezTo>
                <a:cubicBezTo>
                  <a:pt x="312" y="148"/>
                  <a:pt x="312" y="148"/>
                  <a:pt x="312" y="148"/>
                </a:cubicBezTo>
                <a:cubicBezTo>
                  <a:pt x="314" y="148"/>
                  <a:pt x="314" y="148"/>
                  <a:pt x="314" y="148"/>
                </a:cubicBezTo>
                <a:cubicBezTo>
                  <a:pt x="315" y="148"/>
                  <a:pt x="315" y="148"/>
                  <a:pt x="315" y="148"/>
                </a:cubicBezTo>
                <a:cubicBezTo>
                  <a:pt x="315" y="148"/>
                  <a:pt x="315" y="148"/>
                  <a:pt x="315" y="148"/>
                </a:cubicBezTo>
                <a:cubicBezTo>
                  <a:pt x="318" y="148"/>
                  <a:pt x="318" y="148"/>
                  <a:pt x="318" y="148"/>
                </a:cubicBezTo>
                <a:cubicBezTo>
                  <a:pt x="319" y="149"/>
                  <a:pt x="319" y="149"/>
                  <a:pt x="319" y="149"/>
                </a:cubicBezTo>
                <a:cubicBezTo>
                  <a:pt x="320" y="149"/>
                  <a:pt x="320" y="149"/>
                  <a:pt x="320" y="149"/>
                </a:cubicBezTo>
                <a:cubicBezTo>
                  <a:pt x="320" y="150"/>
                  <a:pt x="320" y="150"/>
                  <a:pt x="320" y="150"/>
                </a:cubicBezTo>
                <a:cubicBezTo>
                  <a:pt x="320" y="150"/>
                  <a:pt x="320" y="150"/>
                  <a:pt x="320" y="150"/>
                </a:cubicBezTo>
                <a:cubicBezTo>
                  <a:pt x="321" y="151"/>
                  <a:pt x="321" y="151"/>
                  <a:pt x="321" y="151"/>
                </a:cubicBezTo>
                <a:cubicBezTo>
                  <a:pt x="320" y="152"/>
                  <a:pt x="320" y="152"/>
                  <a:pt x="320" y="152"/>
                </a:cubicBezTo>
                <a:cubicBezTo>
                  <a:pt x="318" y="153"/>
                  <a:pt x="318" y="153"/>
                  <a:pt x="318" y="153"/>
                </a:cubicBezTo>
                <a:cubicBezTo>
                  <a:pt x="317" y="153"/>
                  <a:pt x="317" y="153"/>
                  <a:pt x="317" y="153"/>
                </a:cubicBezTo>
                <a:cubicBezTo>
                  <a:pt x="317" y="152"/>
                  <a:pt x="317" y="152"/>
                  <a:pt x="317" y="152"/>
                </a:cubicBezTo>
                <a:cubicBezTo>
                  <a:pt x="317" y="153"/>
                  <a:pt x="317" y="153"/>
                  <a:pt x="317" y="153"/>
                </a:cubicBezTo>
                <a:cubicBezTo>
                  <a:pt x="316" y="153"/>
                  <a:pt x="316" y="153"/>
                  <a:pt x="316" y="153"/>
                </a:cubicBezTo>
                <a:cubicBezTo>
                  <a:pt x="316" y="154"/>
                  <a:pt x="316" y="154"/>
                  <a:pt x="316" y="154"/>
                </a:cubicBezTo>
                <a:cubicBezTo>
                  <a:pt x="317" y="155"/>
                  <a:pt x="317" y="155"/>
                  <a:pt x="317" y="155"/>
                </a:cubicBezTo>
                <a:cubicBezTo>
                  <a:pt x="317" y="155"/>
                  <a:pt x="317" y="155"/>
                  <a:pt x="317" y="155"/>
                </a:cubicBezTo>
                <a:cubicBezTo>
                  <a:pt x="317" y="157"/>
                  <a:pt x="317" y="157"/>
                  <a:pt x="317" y="157"/>
                </a:cubicBezTo>
                <a:cubicBezTo>
                  <a:pt x="316" y="157"/>
                  <a:pt x="316" y="157"/>
                  <a:pt x="316" y="157"/>
                </a:cubicBezTo>
                <a:cubicBezTo>
                  <a:pt x="316" y="157"/>
                  <a:pt x="316" y="157"/>
                  <a:pt x="316" y="157"/>
                </a:cubicBezTo>
                <a:cubicBezTo>
                  <a:pt x="315" y="157"/>
                  <a:pt x="315" y="157"/>
                  <a:pt x="315" y="157"/>
                </a:cubicBezTo>
                <a:cubicBezTo>
                  <a:pt x="313" y="157"/>
                  <a:pt x="313" y="157"/>
                  <a:pt x="313" y="157"/>
                </a:cubicBezTo>
                <a:cubicBezTo>
                  <a:pt x="313" y="158"/>
                  <a:pt x="313" y="158"/>
                  <a:pt x="313" y="158"/>
                </a:cubicBezTo>
                <a:cubicBezTo>
                  <a:pt x="311" y="159"/>
                  <a:pt x="311" y="159"/>
                  <a:pt x="311" y="159"/>
                </a:cubicBezTo>
                <a:cubicBezTo>
                  <a:pt x="309" y="160"/>
                  <a:pt x="309" y="160"/>
                  <a:pt x="309" y="160"/>
                </a:cubicBezTo>
                <a:cubicBezTo>
                  <a:pt x="308" y="160"/>
                  <a:pt x="308" y="160"/>
                  <a:pt x="308" y="160"/>
                </a:cubicBezTo>
                <a:cubicBezTo>
                  <a:pt x="307" y="161"/>
                  <a:pt x="307" y="161"/>
                  <a:pt x="307" y="161"/>
                </a:cubicBezTo>
                <a:cubicBezTo>
                  <a:pt x="307" y="162"/>
                  <a:pt x="307" y="162"/>
                  <a:pt x="307" y="162"/>
                </a:cubicBezTo>
                <a:cubicBezTo>
                  <a:pt x="308" y="162"/>
                  <a:pt x="308" y="162"/>
                  <a:pt x="308" y="162"/>
                </a:cubicBezTo>
                <a:cubicBezTo>
                  <a:pt x="309" y="161"/>
                  <a:pt x="309" y="161"/>
                  <a:pt x="309" y="161"/>
                </a:cubicBezTo>
                <a:cubicBezTo>
                  <a:pt x="310" y="161"/>
                  <a:pt x="310" y="161"/>
                  <a:pt x="310" y="161"/>
                </a:cubicBezTo>
                <a:cubicBezTo>
                  <a:pt x="311" y="161"/>
                  <a:pt x="311" y="161"/>
                  <a:pt x="311" y="161"/>
                </a:cubicBezTo>
                <a:cubicBezTo>
                  <a:pt x="313" y="162"/>
                  <a:pt x="313" y="162"/>
                  <a:pt x="313" y="162"/>
                </a:cubicBezTo>
                <a:cubicBezTo>
                  <a:pt x="313" y="163"/>
                  <a:pt x="313" y="163"/>
                  <a:pt x="313" y="163"/>
                </a:cubicBezTo>
                <a:cubicBezTo>
                  <a:pt x="313" y="164"/>
                  <a:pt x="313" y="164"/>
                  <a:pt x="313" y="164"/>
                </a:cubicBezTo>
                <a:cubicBezTo>
                  <a:pt x="312" y="164"/>
                  <a:pt x="312" y="164"/>
                  <a:pt x="312" y="164"/>
                </a:cubicBezTo>
                <a:cubicBezTo>
                  <a:pt x="313" y="164"/>
                  <a:pt x="313" y="164"/>
                  <a:pt x="313" y="164"/>
                </a:cubicBezTo>
                <a:cubicBezTo>
                  <a:pt x="313" y="165"/>
                  <a:pt x="313" y="165"/>
                  <a:pt x="313" y="165"/>
                </a:cubicBezTo>
                <a:cubicBezTo>
                  <a:pt x="313" y="166"/>
                  <a:pt x="313" y="166"/>
                  <a:pt x="313" y="166"/>
                </a:cubicBezTo>
                <a:cubicBezTo>
                  <a:pt x="312" y="167"/>
                  <a:pt x="312" y="167"/>
                  <a:pt x="312" y="167"/>
                </a:cubicBezTo>
                <a:cubicBezTo>
                  <a:pt x="312" y="168"/>
                  <a:pt x="312" y="168"/>
                  <a:pt x="312" y="168"/>
                </a:cubicBezTo>
                <a:cubicBezTo>
                  <a:pt x="312" y="169"/>
                  <a:pt x="312" y="169"/>
                  <a:pt x="312" y="169"/>
                </a:cubicBezTo>
                <a:cubicBezTo>
                  <a:pt x="313" y="167"/>
                  <a:pt x="313" y="167"/>
                  <a:pt x="313" y="167"/>
                </a:cubicBezTo>
                <a:cubicBezTo>
                  <a:pt x="315" y="167"/>
                  <a:pt x="315" y="167"/>
                  <a:pt x="315" y="167"/>
                </a:cubicBezTo>
                <a:cubicBezTo>
                  <a:pt x="315" y="166"/>
                  <a:pt x="315" y="166"/>
                  <a:pt x="315" y="166"/>
                </a:cubicBezTo>
                <a:cubicBezTo>
                  <a:pt x="316" y="166"/>
                  <a:pt x="316" y="166"/>
                  <a:pt x="316" y="166"/>
                </a:cubicBezTo>
                <a:cubicBezTo>
                  <a:pt x="315" y="167"/>
                  <a:pt x="315" y="167"/>
                  <a:pt x="315" y="167"/>
                </a:cubicBezTo>
                <a:cubicBezTo>
                  <a:pt x="315" y="169"/>
                  <a:pt x="315" y="169"/>
                  <a:pt x="315" y="169"/>
                </a:cubicBezTo>
                <a:cubicBezTo>
                  <a:pt x="314" y="171"/>
                  <a:pt x="314" y="171"/>
                  <a:pt x="314" y="171"/>
                </a:cubicBezTo>
                <a:cubicBezTo>
                  <a:pt x="314" y="172"/>
                  <a:pt x="314" y="172"/>
                  <a:pt x="314" y="172"/>
                </a:cubicBezTo>
                <a:cubicBezTo>
                  <a:pt x="312" y="173"/>
                  <a:pt x="312" y="173"/>
                  <a:pt x="312" y="173"/>
                </a:cubicBezTo>
                <a:cubicBezTo>
                  <a:pt x="311" y="173"/>
                  <a:pt x="311" y="173"/>
                  <a:pt x="311" y="173"/>
                </a:cubicBezTo>
                <a:cubicBezTo>
                  <a:pt x="311" y="174"/>
                  <a:pt x="311" y="174"/>
                  <a:pt x="311" y="174"/>
                </a:cubicBezTo>
                <a:cubicBezTo>
                  <a:pt x="311" y="174"/>
                  <a:pt x="311" y="174"/>
                  <a:pt x="311" y="174"/>
                </a:cubicBezTo>
                <a:cubicBezTo>
                  <a:pt x="311" y="176"/>
                  <a:pt x="311" y="176"/>
                  <a:pt x="311" y="176"/>
                </a:cubicBezTo>
                <a:cubicBezTo>
                  <a:pt x="310" y="176"/>
                  <a:pt x="310" y="176"/>
                  <a:pt x="310" y="176"/>
                </a:cubicBezTo>
                <a:cubicBezTo>
                  <a:pt x="310" y="176"/>
                  <a:pt x="310" y="176"/>
                  <a:pt x="310" y="176"/>
                </a:cubicBezTo>
                <a:cubicBezTo>
                  <a:pt x="309" y="176"/>
                  <a:pt x="309" y="176"/>
                  <a:pt x="309" y="176"/>
                </a:cubicBezTo>
                <a:cubicBezTo>
                  <a:pt x="309" y="177"/>
                  <a:pt x="309" y="177"/>
                  <a:pt x="309" y="177"/>
                </a:cubicBezTo>
                <a:cubicBezTo>
                  <a:pt x="311" y="178"/>
                  <a:pt x="311" y="178"/>
                  <a:pt x="311" y="178"/>
                </a:cubicBezTo>
                <a:cubicBezTo>
                  <a:pt x="310" y="178"/>
                  <a:pt x="310" y="178"/>
                  <a:pt x="310" y="178"/>
                </a:cubicBezTo>
                <a:cubicBezTo>
                  <a:pt x="309" y="178"/>
                  <a:pt x="309" y="178"/>
                  <a:pt x="309" y="178"/>
                </a:cubicBezTo>
                <a:cubicBezTo>
                  <a:pt x="310" y="179"/>
                  <a:pt x="310" y="179"/>
                  <a:pt x="310" y="179"/>
                </a:cubicBezTo>
                <a:cubicBezTo>
                  <a:pt x="309" y="181"/>
                  <a:pt x="309" y="181"/>
                  <a:pt x="309" y="181"/>
                </a:cubicBezTo>
                <a:cubicBezTo>
                  <a:pt x="308" y="180"/>
                  <a:pt x="308" y="180"/>
                  <a:pt x="308" y="180"/>
                </a:cubicBezTo>
                <a:cubicBezTo>
                  <a:pt x="307" y="181"/>
                  <a:pt x="307" y="181"/>
                  <a:pt x="307" y="181"/>
                </a:cubicBezTo>
                <a:cubicBezTo>
                  <a:pt x="306" y="181"/>
                  <a:pt x="306" y="181"/>
                  <a:pt x="306" y="181"/>
                </a:cubicBezTo>
                <a:cubicBezTo>
                  <a:pt x="305" y="181"/>
                  <a:pt x="305" y="181"/>
                  <a:pt x="305" y="181"/>
                </a:cubicBezTo>
                <a:cubicBezTo>
                  <a:pt x="305" y="182"/>
                  <a:pt x="305" y="182"/>
                  <a:pt x="305" y="182"/>
                </a:cubicBezTo>
                <a:cubicBezTo>
                  <a:pt x="303" y="183"/>
                  <a:pt x="303" y="183"/>
                  <a:pt x="303" y="183"/>
                </a:cubicBezTo>
                <a:cubicBezTo>
                  <a:pt x="301" y="182"/>
                  <a:pt x="301" y="182"/>
                  <a:pt x="301" y="182"/>
                </a:cubicBezTo>
                <a:cubicBezTo>
                  <a:pt x="300" y="183"/>
                  <a:pt x="300" y="183"/>
                  <a:pt x="300" y="183"/>
                </a:cubicBezTo>
                <a:cubicBezTo>
                  <a:pt x="299" y="182"/>
                  <a:pt x="299" y="182"/>
                  <a:pt x="299" y="182"/>
                </a:cubicBezTo>
                <a:cubicBezTo>
                  <a:pt x="299" y="180"/>
                  <a:pt x="299" y="180"/>
                  <a:pt x="299" y="180"/>
                </a:cubicBezTo>
                <a:cubicBezTo>
                  <a:pt x="300" y="178"/>
                  <a:pt x="300" y="178"/>
                  <a:pt x="300" y="178"/>
                </a:cubicBezTo>
                <a:cubicBezTo>
                  <a:pt x="300" y="177"/>
                  <a:pt x="300" y="177"/>
                  <a:pt x="300" y="177"/>
                </a:cubicBezTo>
                <a:cubicBezTo>
                  <a:pt x="298" y="179"/>
                  <a:pt x="298" y="179"/>
                  <a:pt x="298" y="179"/>
                </a:cubicBezTo>
                <a:cubicBezTo>
                  <a:pt x="298" y="181"/>
                  <a:pt x="298" y="181"/>
                  <a:pt x="298" y="181"/>
                </a:cubicBezTo>
                <a:cubicBezTo>
                  <a:pt x="299" y="183"/>
                  <a:pt x="299" y="183"/>
                  <a:pt x="299" y="183"/>
                </a:cubicBezTo>
                <a:cubicBezTo>
                  <a:pt x="299" y="184"/>
                  <a:pt x="299" y="184"/>
                  <a:pt x="299" y="184"/>
                </a:cubicBezTo>
                <a:cubicBezTo>
                  <a:pt x="299" y="185"/>
                  <a:pt x="299" y="185"/>
                  <a:pt x="299" y="185"/>
                </a:cubicBezTo>
                <a:cubicBezTo>
                  <a:pt x="298" y="186"/>
                  <a:pt x="298" y="186"/>
                  <a:pt x="298" y="186"/>
                </a:cubicBezTo>
                <a:cubicBezTo>
                  <a:pt x="297" y="187"/>
                  <a:pt x="297" y="187"/>
                  <a:pt x="297" y="187"/>
                </a:cubicBezTo>
                <a:cubicBezTo>
                  <a:pt x="297" y="187"/>
                  <a:pt x="295" y="187"/>
                  <a:pt x="295" y="187"/>
                </a:cubicBezTo>
                <a:close/>
                <a:moveTo>
                  <a:pt x="316" y="158"/>
                </a:moveTo>
                <a:cubicBezTo>
                  <a:pt x="316" y="159"/>
                  <a:pt x="316" y="159"/>
                  <a:pt x="316" y="159"/>
                </a:cubicBezTo>
                <a:cubicBezTo>
                  <a:pt x="317" y="159"/>
                  <a:pt x="317" y="159"/>
                  <a:pt x="317" y="159"/>
                </a:cubicBezTo>
                <a:cubicBezTo>
                  <a:pt x="317" y="158"/>
                  <a:pt x="317" y="158"/>
                  <a:pt x="317" y="158"/>
                </a:cubicBezTo>
                <a:cubicBezTo>
                  <a:pt x="316" y="158"/>
                  <a:pt x="316" y="158"/>
                  <a:pt x="316" y="158"/>
                </a:cubicBezTo>
                <a:close/>
                <a:moveTo>
                  <a:pt x="315" y="163"/>
                </a:moveTo>
                <a:cubicBezTo>
                  <a:pt x="316" y="163"/>
                  <a:pt x="316" y="163"/>
                  <a:pt x="316" y="163"/>
                </a:cubicBezTo>
                <a:cubicBezTo>
                  <a:pt x="317" y="162"/>
                  <a:pt x="317" y="162"/>
                  <a:pt x="317" y="162"/>
                </a:cubicBezTo>
                <a:cubicBezTo>
                  <a:pt x="317" y="161"/>
                  <a:pt x="317" y="161"/>
                  <a:pt x="317" y="161"/>
                </a:cubicBezTo>
                <a:cubicBezTo>
                  <a:pt x="317" y="160"/>
                  <a:pt x="317" y="160"/>
                  <a:pt x="317" y="160"/>
                </a:cubicBezTo>
                <a:cubicBezTo>
                  <a:pt x="316" y="159"/>
                  <a:pt x="316" y="159"/>
                  <a:pt x="316" y="159"/>
                </a:cubicBezTo>
                <a:cubicBezTo>
                  <a:pt x="316" y="160"/>
                  <a:pt x="316" y="160"/>
                  <a:pt x="316" y="160"/>
                </a:cubicBezTo>
                <a:cubicBezTo>
                  <a:pt x="315" y="161"/>
                  <a:pt x="315" y="161"/>
                  <a:pt x="315" y="161"/>
                </a:cubicBezTo>
                <a:cubicBezTo>
                  <a:pt x="315" y="161"/>
                  <a:pt x="315" y="161"/>
                  <a:pt x="315" y="161"/>
                </a:cubicBezTo>
                <a:cubicBezTo>
                  <a:pt x="315" y="163"/>
                  <a:pt x="315" y="163"/>
                  <a:pt x="315" y="163"/>
                </a:cubicBezTo>
                <a:cubicBezTo>
                  <a:pt x="315" y="163"/>
                  <a:pt x="315" y="163"/>
                  <a:pt x="315" y="163"/>
                </a:cubicBezTo>
                <a:close/>
                <a:moveTo>
                  <a:pt x="315" y="166"/>
                </a:moveTo>
                <a:cubicBezTo>
                  <a:pt x="315" y="166"/>
                  <a:pt x="315" y="166"/>
                  <a:pt x="315" y="166"/>
                </a:cubicBezTo>
                <a:cubicBezTo>
                  <a:pt x="316" y="164"/>
                  <a:pt x="316" y="164"/>
                  <a:pt x="316" y="164"/>
                </a:cubicBezTo>
                <a:cubicBezTo>
                  <a:pt x="315" y="164"/>
                  <a:pt x="315" y="164"/>
                  <a:pt x="315" y="164"/>
                </a:cubicBezTo>
                <a:cubicBezTo>
                  <a:pt x="314" y="165"/>
                  <a:pt x="314" y="165"/>
                  <a:pt x="314" y="165"/>
                </a:cubicBezTo>
                <a:cubicBezTo>
                  <a:pt x="314" y="166"/>
                  <a:pt x="314" y="166"/>
                  <a:pt x="314" y="166"/>
                </a:cubicBezTo>
                <a:cubicBezTo>
                  <a:pt x="315" y="166"/>
                  <a:pt x="315" y="166"/>
                  <a:pt x="315" y="166"/>
                </a:cubicBezTo>
                <a:close/>
                <a:moveTo>
                  <a:pt x="267" y="139"/>
                </a:moveTo>
                <a:cubicBezTo>
                  <a:pt x="267" y="140"/>
                  <a:pt x="267" y="140"/>
                  <a:pt x="267" y="140"/>
                </a:cubicBezTo>
                <a:cubicBezTo>
                  <a:pt x="267" y="140"/>
                  <a:pt x="267" y="140"/>
                  <a:pt x="267" y="140"/>
                </a:cubicBezTo>
                <a:cubicBezTo>
                  <a:pt x="268" y="140"/>
                  <a:pt x="268" y="140"/>
                  <a:pt x="268" y="140"/>
                </a:cubicBezTo>
                <a:cubicBezTo>
                  <a:pt x="269" y="140"/>
                  <a:pt x="269" y="140"/>
                  <a:pt x="269" y="140"/>
                </a:cubicBezTo>
                <a:cubicBezTo>
                  <a:pt x="269" y="140"/>
                  <a:pt x="269" y="140"/>
                  <a:pt x="269" y="140"/>
                </a:cubicBezTo>
                <a:cubicBezTo>
                  <a:pt x="269" y="139"/>
                  <a:pt x="269" y="139"/>
                  <a:pt x="269" y="139"/>
                </a:cubicBezTo>
                <a:cubicBezTo>
                  <a:pt x="267" y="139"/>
                  <a:pt x="267" y="139"/>
                  <a:pt x="267" y="139"/>
                </a:cubicBezTo>
                <a:cubicBezTo>
                  <a:pt x="267" y="139"/>
                  <a:pt x="267" y="139"/>
                  <a:pt x="267" y="139"/>
                </a:cubicBezTo>
                <a:close/>
                <a:moveTo>
                  <a:pt x="275" y="155"/>
                </a:moveTo>
                <a:cubicBezTo>
                  <a:pt x="274" y="154"/>
                  <a:pt x="274" y="154"/>
                  <a:pt x="274" y="154"/>
                </a:cubicBezTo>
                <a:cubicBezTo>
                  <a:pt x="274" y="151"/>
                  <a:pt x="274" y="151"/>
                  <a:pt x="274" y="151"/>
                </a:cubicBezTo>
                <a:cubicBezTo>
                  <a:pt x="273" y="150"/>
                  <a:pt x="273" y="150"/>
                  <a:pt x="273" y="150"/>
                </a:cubicBezTo>
                <a:cubicBezTo>
                  <a:pt x="273" y="149"/>
                  <a:pt x="273" y="149"/>
                  <a:pt x="273" y="149"/>
                </a:cubicBezTo>
                <a:cubicBezTo>
                  <a:pt x="273" y="148"/>
                  <a:pt x="273" y="148"/>
                  <a:pt x="273" y="148"/>
                </a:cubicBezTo>
                <a:cubicBezTo>
                  <a:pt x="273" y="147"/>
                  <a:pt x="273" y="147"/>
                  <a:pt x="273" y="147"/>
                </a:cubicBezTo>
                <a:cubicBezTo>
                  <a:pt x="273" y="145"/>
                  <a:pt x="273" y="145"/>
                  <a:pt x="273" y="145"/>
                </a:cubicBezTo>
                <a:cubicBezTo>
                  <a:pt x="272" y="144"/>
                  <a:pt x="272" y="144"/>
                  <a:pt x="272" y="144"/>
                </a:cubicBezTo>
                <a:cubicBezTo>
                  <a:pt x="271" y="143"/>
                  <a:pt x="271" y="143"/>
                  <a:pt x="271" y="143"/>
                </a:cubicBezTo>
                <a:cubicBezTo>
                  <a:pt x="271" y="142"/>
                  <a:pt x="271" y="142"/>
                  <a:pt x="271" y="142"/>
                </a:cubicBezTo>
                <a:cubicBezTo>
                  <a:pt x="273" y="141"/>
                  <a:pt x="273" y="141"/>
                  <a:pt x="273" y="141"/>
                </a:cubicBezTo>
                <a:cubicBezTo>
                  <a:pt x="274" y="140"/>
                  <a:pt x="274" y="140"/>
                  <a:pt x="274" y="140"/>
                </a:cubicBezTo>
                <a:cubicBezTo>
                  <a:pt x="275" y="139"/>
                  <a:pt x="275" y="139"/>
                  <a:pt x="275" y="139"/>
                </a:cubicBezTo>
                <a:cubicBezTo>
                  <a:pt x="277" y="139"/>
                  <a:pt x="277" y="139"/>
                  <a:pt x="277" y="139"/>
                </a:cubicBezTo>
                <a:cubicBezTo>
                  <a:pt x="278" y="140"/>
                  <a:pt x="278" y="140"/>
                  <a:pt x="278" y="140"/>
                </a:cubicBezTo>
                <a:cubicBezTo>
                  <a:pt x="278" y="140"/>
                  <a:pt x="278" y="140"/>
                  <a:pt x="278" y="140"/>
                </a:cubicBezTo>
                <a:cubicBezTo>
                  <a:pt x="279" y="141"/>
                  <a:pt x="279" y="141"/>
                  <a:pt x="279" y="141"/>
                </a:cubicBezTo>
                <a:cubicBezTo>
                  <a:pt x="280" y="140"/>
                  <a:pt x="280" y="140"/>
                  <a:pt x="280" y="140"/>
                </a:cubicBezTo>
                <a:cubicBezTo>
                  <a:pt x="281" y="141"/>
                  <a:pt x="281" y="141"/>
                  <a:pt x="281" y="141"/>
                </a:cubicBezTo>
                <a:cubicBezTo>
                  <a:pt x="282" y="141"/>
                  <a:pt x="282" y="141"/>
                  <a:pt x="282" y="141"/>
                </a:cubicBezTo>
                <a:cubicBezTo>
                  <a:pt x="283" y="141"/>
                  <a:pt x="283" y="141"/>
                  <a:pt x="283" y="141"/>
                </a:cubicBezTo>
                <a:cubicBezTo>
                  <a:pt x="284" y="142"/>
                  <a:pt x="284" y="142"/>
                  <a:pt x="284" y="142"/>
                </a:cubicBezTo>
                <a:cubicBezTo>
                  <a:pt x="284" y="143"/>
                  <a:pt x="284" y="143"/>
                  <a:pt x="284" y="143"/>
                </a:cubicBezTo>
                <a:cubicBezTo>
                  <a:pt x="284" y="144"/>
                  <a:pt x="284" y="144"/>
                  <a:pt x="284" y="144"/>
                </a:cubicBezTo>
                <a:cubicBezTo>
                  <a:pt x="285" y="145"/>
                  <a:pt x="285" y="145"/>
                  <a:pt x="285" y="145"/>
                </a:cubicBezTo>
                <a:cubicBezTo>
                  <a:pt x="285" y="146"/>
                  <a:pt x="285" y="146"/>
                  <a:pt x="285" y="146"/>
                </a:cubicBezTo>
                <a:cubicBezTo>
                  <a:pt x="284" y="146"/>
                  <a:pt x="284" y="146"/>
                  <a:pt x="284" y="146"/>
                </a:cubicBezTo>
                <a:cubicBezTo>
                  <a:pt x="284" y="147"/>
                  <a:pt x="284" y="147"/>
                  <a:pt x="284" y="147"/>
                </a:cubicBezTo>
                <a:cubicBezTo>
                  <a:pt x="283" y="149"/>
                  <a:pt x="283" y="149"/>
                  <a:pt x="283" y="149"/>
                </a:cubicBezTo>
                <a:cubicBezTo>
                  <a:pt x="282" y="149"/>
                  <a:pt x="282" y="149"/>
                  <a:pt x="282" y="149"/>
                </a:cubicBezTo>
                <a:cubicBezTo>
                  <a:pt x="280" y="150"/>
                  <a:pt x="280" y="150"/>
                  <a:pt x="280" y="150"/>
                </a:cubicBezTo>
                <a:cubicBezTo>
                  <a:pt x="279" y="151"/>
                  <a:pt x="279" y="151"/>
                  <a:pt x="279" y="151"/>
                </a:cubicBezTo>
                <a:cubicBezTo>
                  <a:pt x="277" y="153"/>
                  <a:pt x="277" y="153"/>
                  <a:pt x="277" y="153"/>
                </a:cubicBezTo>
                <a:cubicBezTo>
                  <a:pt x="276" y="153"/>
                  <a:pt x="276" y="153"/>
                  <a:pt x="276" y="153"/>
                </a:cubicBezTo>
                <a:cubicBezTo>
                  <a:pt x="275" y="154"/>
                  <a:pt x="275" y="154"/>
                  <a:pt x="275" y="154"/>
                </a:cubicBezTo>
                <a:cubicBezTo>
                  <a:pt x="275" y="155"/>
                  <a:pt x="275" y="155"/>
                  <a:pt x="275" y="155"/>
                </a:cubicBezTo>
                <a:cubicBezTo>
                  <a:pt x="275" y="155"/>
                  <a:pt x="275" y="155"/>
                  <a:pt x="275" y="155"/>
                </a:cubicBezTo>
                <a:close/>
                <a:moveTo>
                  <a:pt x="320" y="181"/>
                </a:moveTo>
                <a:cubicBezTo>
                  <a:pt x="318" y="179"/>
                  <a:pt x="318" y="179"/>
                  <a:pt x="318" y="179"/>
                </a:cubicBezTo>
                <a:cubicBezTo>
                  <a:pt x="317" y="179"/>
                  <a:pt x="317" y="179"/>
                  <a:pt x="317" y="179"/>
                </a:cubicBezTo>
                <a:cubicBezTo>
                  <a:pt x="315" y="179"/>
                  <a:pt x="315" y="179"/>
                  <a:pt x="315" y="179"/>
                </a:cubicBezTo>
                <a:cubicBezTo>
                  <a:pt x="316" y="178"/>
                  <a:pt x="316" y="178"/>
                  <a:pt x="316" y="178"/>
                </a:cubicBezTo>
                <a:cubicBezTo>
                  <a:pt x="317" y="177"/>
                  <a:pt x="317" y="177"/>
                  <a:pt x="317" y="177"/>
                </a:cubicBezTo>
                <a:cubicBezTo>
                  <a:pt x="317" y="178"/>
                  <a:pt x="317" y="178"/>
                  <a:pt x="317" y="178"/>
                </a:cubicBezTo>
                <a:cubicBezTo>
                  <a:pt x="318" y="177"/>
                  <a:pt x="318" y="177"/>
                  <a:pt x="318" y="177"/>
                </a:cubicBezTo>
                <a:cubicBezTo>
                  <a:pt x="318" y="177"/>
                  <a:pt x="318" y="177"/>
                  <a:pt x="318" y="177"/>
                </a:cubicBezTo>
                <a:cubicBezTo>
                  <a:pt x="317" y="177"/>
                  <a:pt x="317" y="177"/>
                  <a:pt x="317" y="177"/>
                </a:cubicBezTo>
                <a:cubicBezTo>
                  <a:pt x="316" y="176"/>
                  <a:pt x="316" y="176"/>
                  <a:pt x="316" y="176"/>
                </a:cubicBezTo>
                <a:cubicBezTo>
                  <a:pt x="318" y="174"/>
                  <a:pt x="318" y="174"/>
                  <a:pt x="318" y="174"/>
                </a:cubicBezTo>
                <a:cubicBezTo>
                  <a:pt x="318" y="172"/>
                  <a:pt x="318" y="172"/>
                  <a:pt x="318" y="172"/>
                </a:cubicBezTo>
                <a:cubicBezTo>
                  <a:pt x="318" y="171"/>
                  <a:pt x="318" y="171"/>
                  <a:pt x="318" y="171"/>
                </a:cubicBezTo>
                <a:cubicBezTo>
                  <a:pt x="319" y="171"/>
                  <a:pt x="319" y="171"/>
                  <a:pt x="319" y="171"/>
                </a:cubicBezTo>
                <a:cubicBezTo>
                  <a:pt x="319" y="170"/>
                  <a:pt x="319" y="170"/>
                  <a:pt x="319" y="170"/>
                </a:cubicBezTo>
                <a:cubicBezTo>
                  <a:pt x="318" y="169"/>
                  <a:pt x="318" y="169"/>
                  <a:pt x="318" y="169"/>
                </a:cubicBezTo>
                <a:cubicBezTo>
                  <a:pt x="319" y="168"/>
                  <a:pt x="319" y="168"/>
                  <a:pt x="319" y="168"/>
                </a:cubicBezTo>
                <a:cubicBezTo>
                  <a:pt x="319" y="167"/>
                  <a:pt x="319" y="167"/>
                  <a:pt x="319" y="167"/>
                </a:cubicBezTo>
                <a:cubicBezTo>
                  <a:pt x="320" y="164"/>
                  <a:pt x="320" y="164"/>
                  <a:pt x="320" y="164"/>
                </a:cubicBezTo>
                <a:cubicBezTo>
                  <a:pt x="321" y="164"/>
                  <a:pt x="321" y="164"/>
                  <a:pt x="321" y="164"/>
                </a:cubicBezTo>
                <a:cubicBezTo>
                  <a:pt x="321" y="163"/>
                  <a:pt x="321" y="163"/>
                  <a:pt x="321" y="163"/>
                </a:cubicBezTo>
                <a:cubicBezTo>
                  <a:pt x="322" y="162"/>
                  <a:pt x="322" y="162"/>
                  <a:pt x="322" y="162"/>
                </a:cubicBezTo>
                <a:cubicBezTo>
                  <a:pt x="322" y="160"/>
                  <a:pt x="322" y="160"/>
                  <a:pt x="322" y="160"/>
                </a:cubicBezTo>
                <a:cubicBezTo>
                  <a:pt x="323" y="160"/>
                  <a:pt x="323" y="160"/>
                  <a:pt x="323" y="160"/>
                </a:cubicBezTo>
                <a:cubicBezTo>
                  <a:pt x="323" y="158"/>
                  <a:pt x="323" y="158"/>
                  <a:pt x="323" y="158"/>
                </a:cubicBezTo>
                <a:cubicBezTo>
                  <a:pt x="325" y="157"/>
                  <a:pt x="325" y="157"/>
                  <a:pt x="325" y="157"/>
                </a:cubicBezTo>
                <a:cubicBezTo>
                  <a:pt x="325" y="155"/>
                  <a:pt x="325" y="155"/>
                  <a:pt x="325" y="155"/>
                </a:cubicBezTo>
                <a:cubicBezTo>
                  <a:pt x="326" y="155"/>
                  <a:pt x="326" y="155"/>
                  <a:pt x="326" y="155"/>
                </a:cubicBezTo>
                <a:cubicBezTo>
                  <a:pt x="326" y="154"/>
                  <a:pt x="326" y="154"/>
                  <a:pt x="326" y="154"/>
                </a:cubicBezTo>
                <a:cubicBezTo>
                  <a:pt x="326" y="153"/>
                  <a:pt x="326" y="153"/>
                  <a:pt x="326" y="153"/>
                </a:cubicBezTo>
                <a:cubicBezTo>
                  <a:pt x="327" y="152"/>
                  <a:pt x="327" y="152"/>
                  <a:pt x="327" y="152"/>
                </a:cubicBezTo>
                <a:cubicBezTo>
                  <a:pt x="327" y="152"/>
                  <a:pt x="327" y="152"/>
                  <a:pt x="327" y="152"/>
                </a:cubicBezTo>
                <a:cubicBezTo>
                  <a:pt x="328" y="154"/>
                  <a:pt x="328" y="154"/>
                  <a:pt x="328" y="154"/>
                </a:cubicBezTo>
                <a:cubicBezTo>
                  <a:pt x="329" y="155"/>
                  <a:pt x="329" y="155"/>
                  <a:pt x="329" y="155"/>
                </a:cubicBezTo>
                <a:cubicBezTo>
                  <a:pt x="330" y="155"/>
                  <a:pt x="330" y="155"/>
                  <a:pt x="330" y="155"/>
                </a:cubicBezTo>
                <a:cubicBezTo>
                  <a:pt x="330" y="154"/>
                  <a:pt x="330" y="154"/>
                  <a:pt x="330" y="154"/>
                </a:cubicBezTo>
                <a:cubicBezTo>
                  <a:pt x="329" y="152"/>
                  <a:pt x="329" y="152"/>
                  <a:pt x="329" y="152"/>
                </a:cubicBezTo>
                <a:cubicBezTo>
                  <a:pt x="329" y="152"/>
                  <a:pt x="329" y="152"/>
                  <a:pt x="329" y="152"/>
                </a:cubicBezTo>
                <a:cubicBezTo>
                  <a:pt x="330" y="152"/>
                  <a:pt x="330" y="152"/>
                  <a:pt x="330" y="152"/>
                </a:cubicBezTo>
                <a:cubicBezTo>
                  <a:pt x="329" y="150"/>
                  <a:pt x="329" y="150"/>
                  <a:pt x="329" y="150"/>
                </a:cubicBezTo>
                <a:cubicBezTo>
                  <a:pt x="330" y="149"/>
                  <a:pt x="330" y="149"/>
                  <a:pt x="330" y="149"/>
                </a:cubicBezTo>
                <a:cubicBezTo>
                  <a:pt x="333" y="148"/>
                  <a:pt x="333" y="148"/>
                  <a:pt x="333" y="148"/>
                </a:cubicBezTo>
                <a:cubicBezTo>
                  <a:pt x="335" y="148"/>
                  <a:pt x="335" y="148"/>
                  <a:pt x="335" y="148"/>
                </a:cubicBezTo>
                <a:cubicBezTo>
                  <a:pt x="336" y="148"/>
                  <a:pt x="336" y="148"/>
                  <a:pt x="336" y="148"/>
                </a:cubicBezTo>
                <a:cubicBezTo>
                  <a:pt x="336" y="148"/>
                  <a:pt x="336" y="148"/>
                  <a:pt x="336" y="148"/>
                </a:cubicBezTo>
                <a:cubicBezTo>
                  <a:pt x="337" y="148"/>
                  <a:pt x="337" y="148"/>
                  <a:pt x="337" y="148"/>
                </a:cubicBezTo>
                <a:cubicBezTo>
                  <a:pt x="338" y="149"/>
                  <a:pt x="338" y="149"/>
                  <a:pt x="338" y="149"/>
                </a:cubicBezTo>
                <a:cubicBezTo>
                  <a:pt x="339" y="148"/>
                  <a:pt x="339" y="148"/>
                  <a:pt x="339" y="148"/>
                </a:cubicBezTo>
                <a:cubicBezTo>
                  <a:pt x="340" y="148"/>
                  <a:pt x="340" y="148"/>
                  <a:pt x="340" y="148"/>
                </a:cubicBezTo>
                <a:cubicBezTo>
                  <a:pt x="341" y="150"/>
                  <a:pt x="341" y="150"/>
                  <a:pt x="341" y="150"/>
                </a:cubicBezTo>
                <a:cubicBezTo>
                  <a:pt x="342" y="150"/>
                  <a:pt x="342" y="150"/>
                  <a:pt x="342" y="150"/>
                </a:cubicBezTo>
                <a:cubicBezTo>
                  <a:pt x="342" y="150"/>
                  <a:pt x="342" y="150"/>
                  <a:pt x="342" y="150"/>
                </a:cubicBezTo>
                <a:cubicBezTo>
                  <a:pt x="343" y="150"/>
                  <a:pt x="343" y="150"/>
                  <a:pt x="343" y="150"/>
                </a:cubicBezTo>
                <a:cubicBezTo>
                  <a:pt x="344" y="152"/>
                  <a:pt x="344" y="152"/>
                  <a:pt x="344" y="152"/>
                </a:cubicBezTo>
                <a:cubicBezTo>
                  <a:pt x="344" y="153"/>
                  <a:pt x="344" y="153"/>
                  <a:pt x="344" y="153"/>
                </a:cubicBezTo>
                <a:cubicBezTo>
                  <a:pt x="344" y="153"/>
                  <a:pt x="344" y="153"/>
                  <a:pt x="344" y="153"/>
                </a:cubicBezTo>
                <a:cubicBezTo>
                  <a:pt x="345" y="153"/>
                  <a:pt x="345" y="153"/>
                  <a:pt x="345" y="153"/>
                </a:cubicBezTo>
                <a:cubicBezTo>
                  <a:pt x="347" y="153"/>
                  <a:pt x="347" y="153"/>
                  <a:pt x="347" y="153"/>
                </a:cubicBezTo>
                <a:cubicBezTo>
                  <a:pt x="350" y="153"/>
                  <a:pt x="350" y="153"/>
                  <a:pt x="350" y="153"/>
                </a:cubicBezTo>
                <a:cubicBezTo>
                  <a:pt x="351" y="154"/>
                  <a:pt x="351" y="154"/>
                  <a:pt x="351" y="154"/>
                </a:cubicBezTo>
                <a:cubicBezTo>
                  <a:pt x="351" y="155"/>
                  <a:pt x="351" y="155"/>
                  <a:pt x="351" y="155"/>
                </a:cubicBezTo>
                <a:cubicBezTo>
                  <a:pt x="352" y="156"/>
                  <a:pt x="352" y="156"/>
                  <a:pt x="352" y="156"/>
                </a:cubicBezTo>
                <a:cubicBezTo>
                  <a:pt x="352" y="157"/>
                  <a:pt x="352" y="157"/>
                  <a:pt x="352" y="157"/>
                </a:cubicBezTo>
                <a:cubicBezTo>
                  <a:pt x="352" y="156"/>
                  <a:pt x="352" y="156"/>
                  <a:pt x="352" y="156"/>
                </a:cubicBezTo>
                <a:cubicBezTo>
                  <a:pt x="351" y="156"/>
                  <a:pt x="351" y="156"/>
                  <a:pt x="351" y="156"/>
                </a:cubicBezTo>
                <a:cubicBezTo>
                  <a:pt x="351" y="158"/>
                  <a:pt x="351" y="158"/>
                  <a:pt x="351" y="158"/>
                </a:cubicBezTo>
                <a:cubicBezTo>
                  <a:pt x="349" y="159"/>
                  <a:pt x="349" y="159"/>
                  <a:pt x="349" y="159"/>
                </a:cubicBezTo>
                <a:cubicBezTo>
                  <a:pt x="348" y="161"/>
                  <a:pt x="348" y="161"/>
                  <a:pt x="348" y="161"/>
                </a:cubicBezTo>
                <a:cubicBezTo>
                  <a:pt x="347" y="161"/>
                  <a:pt x="347" y="161"/>
                  <a:pt x="347" y="161"/>
                </a:cubicBezTo>
                <a:cubicBezTo>
                  <a:pt x="347" y="162"/>
                  <a:pt x="347" y="162"/>
                  <a:pt x="347" y="162"/>
                </a:cubicBezTo>
                <a:cubicBezTo>
                  <a:pt x="344" y="164"/>
                  <a:pt x="344" y="164"/>
                  <a:pt x="344" y="164"/>
                </a:cubicBezTo>
                <a:cubicBezTo>
                  <a:pt x="343" y="165"/>
                  <a:pt x="343" y="165"/>
                  <a:pt x="343" y="165"/>
                </a:cubicBezTo>
                <a:cubicBezTo>
                  <a:pt x="342" y="165"/>
                  <a:pt x="342" y="165"/>
                  <a:pt x="342" y="165"/>
                </a:cubicBezTo>
                <a:cubicBezTo>
                  <a:pt x="341" y="166"/>
                  <a:pt x="341" y="166"/>
                  <a:pt x="341" y="166"/>
                </a:cubicBezTo>
                <a:cubicBezTo>
                  <a:pt x="342" y="166"/>
                  <a:pt x="342" y="166"/>
                  <a:pt x="342" y="166"/>
                </a:cubicBezTo>
                <a:cubicBezTo>
                  <a:pt x="341" y="167"/>
                  <a:pt x="341" y="167"/>
                  <a:pt x="341" y="167"/>
                </a:cubicBezTo>
                <a:cubicBezTo>
                  <a:pt x="339" y="169"/>
                  <a:pt x="339" y="169"/>
                  <a:pt x="339" y="169"/>
                </a:cubicBezTo>
                <a:cubicBezTo>
                  <a:pt x="338" y="170"/>
                  <a:pt x="338" y="170"/>
                  <a:pt x="338" y="170"/>
                </a:cubicBezTo>
                <a:cubicBezTo>
                  <a:pt x="336" y="172"/>
                  <a:pt x="336" y="172"/>
                  <a:pt x="336" y="172"/>
                </a:cubicBezTo>
                <a:cubicBezTo>
                  <a:pt x="334" y="173"/>
                  <a:pt x="334" y="173"/>
                  <a:pt x="334" y="173"/>
                </a:cubicBezTo>
                <a:cubicBezTo>
                  <a:pt x="333" y="172"/>
                  <a:pt x="333" y="172"/>
                  <a:pt x="333" y="172"/>
                </a:cubicBezTo>
                <a:cubicBezTo>
                  <a:pt x="333" y="172"/>
                  <a:pt x="333" y="172"/>
                  <a:pt x="333" y="172"/>
                </a:cubicBezTo>
                <a:cubicBezTo>
                  <a:pt x="332" y="172"/>
                  <a:pt x="332" y="172"/>
                  <a:pt x="332" y="172"/>
                </a:cubicBezTo>
                <a:cubicBezTo>
                  <a:pt x="331" y="170"/>
                  <a:pt x="331" y="170"/>
                  <a:pt x="331" y="170"/>
                </a:cubicBezTo>
                <a:cubicBezTo>
                  <a:pt x="330" y="169"/>
                  <a:pt x="330" y="169"/>
                  <a:pt x="330" y="169"/>
                </a:cubicBezTo>
                <a:cubicBezTo>
                  <a:pt x="330" y="169"/>
                  <a:pt x="330" y="169"/>
                  <a:pt x="330" y="169"/>
                </a:cubicBezTo>
                <a:cubicBezTo>
                  <a:pt x="329" y="169"/>
                  <a:pt x="329" y="169"/>
                  <a:pt x="329" y="169"/>
                </a:cubicBezTo>
                <a:cubicBezTo>
                  <a:pt x="328" y="169"/>
                  <a:pt x="328" y="169"/>
                  <a:pt x="328" y="169"/>
                </a:cubicBezTo>
                <a:cubicBezTo>
                  <a:pt x="326" y="169"/>
                  <a:pt x="326" y="169"/>
                  <a:pt x="326" y="169"/>
                </a:cubicBezTo>
                <a:cubicBezTo>
                  <a:pt x="326" y="169"/>
                  <a:pt x="326" y="169"/>
                  <a:pt x="326" y="169"/>
                </a:cubicBezTo>
                <a:cubicBezTo>
                  <a:pt x="325" y="169"/>
                  <a:pt x="325" y="169"/>
                  <a:pt x="325" y="169"/>
                </a:cubicBezTo>
                <a:cubicBezTo>
                  <a:pt x="324" y="169"/>
                  <a:pt x="324" y="169"/>
                  <a:pt x="324" y="169"/>
                </a:cubicBezTo>
                <a:cubicBezTo>
                  <a:pt x="325" y="170"/>
                  <a:pt x="325" y="170"/>
                  <a:pt x="325" y="170"/>
                </a:cubicBezTo>
                <a:cubicBezTo>
                  <a:pt x="327" y="170"/>
                  <a:pt x="327" y="170"/>
                  <a:pt x="327" y="170"/>
                </a:cubicBezTo>
                <a:cubicBezTo>
                  <a:pt x="327" y="171"/>
                  <a:pt x="327" y="171"/>
                  <a:pt x="327" y="171"/>
                </a:cubicBezTo>
                <a:cubicBezTo>
                  <a:pt x="326" y="172"/>
                  <a:pt x="326" y="172"/>
                  <a:pt x="326" y="172"/>
                </a:cubicBezTo>
                <a:cubicBezTo>
                  <a:pt x="327" y="173"/>
                  <a:pt x="327" y="173"/>
                  <a:pt x="327" y="173"/>
                </a:cubicBezTo>
                <a:cubicBezTo>
                  <a:pt x="327" y="174"/>
                  <a:pt x="327" y="174"/>
                  <a:pt x="327" y="174"/>
                </a:cubicBezTo>
                <a:cubicBezTo>
                  <a:pt x="326" y="175"/>
                  <a:pt x="326" y="175"/>
                  <a:pt x="326" y="175"/>
                </a:cubicBezTo>
                <a:cubicBezTo>
                  <a:pt x="325" y="176"/>
                  <a:pt x="325" y="176"/>
                  <a:pt x="325" y="176"/>
                </a:cubicBezTo>
                <a:cubicBezTo>
                  <a:pt x="325" y="176"/>
                  <a:pt x="325" y="176"/>
                  <a:pt x="325" y="176"/>
                </a:cubicBezTo>
                <a:cubicBezTo>
                  <a:pt x="323" y="176"/>
                  <a:pt x="323" y="176"/>
                  <a:pt x="323" y="176"/>
                </a:cubicBezTo>
                <a:cubicBezTo>
                  <a:pt x="323" y="177"/>
                  <a:pt x="323" y="177"/>
                  <a:pt x="323" y="177"/>
                </a:cubicBezTo>
                <a:cubicBezTo>
                  <a:pt x="322" y="178"/>
                  <a:pt x="322" y="178"/>
                  <a:pt x="322" y="178"/>
                </a:cubicBezTo>
                <a:cubicBezTo>
                  <a:pt x="321" y="179"/>
                  <a:pt x="321" y="179"/>
                  <a:pt x="321" y="179"/>
                </a:cubicBezTo>
                <a:cubicBezTo>
                  <a:pt x="320" y="179"/>
                  <a:pt x="320" y="179"/>
                  <a:pt x="320" y="179"/>
                </a:cubicBezTo>
                <a:cubicBezTo>
                  <a:pt x="320" y="180"/>
                  <a:pt x="320" y="180"/>
                  <a:pt x="320" y="180"/>
                </a:cubicBezTo>
                <a:cubicBezTo>
                  <a:pt x="320" y="180"/>
                  <a:pt x="320" y="181"/>
                  <a:pt x="320" y="181"/>
                </a:cubicBezTo>
                <a:close/>
                <a:moveTo>
                  <a:pt x="397" y="186"/>
                </a:moveTo>
                <a:cubicBezTo>
                  <a:pt x="395" y="185"/>
                  <a:pt x="395" y="185"/>
                  <a:pt x="395" y="185"/>
                </a:cubicBezTo>
                <a:cubicBezTo>
                  <a:pt x="394" y="185"/>
                  <a:pt x="394" y="185"/>
                  <a:pt x="394" y="185"/>
                </a:cubicBezTo>
                <a:cubicBezTo>
                  <a:pt x="394" y="183"/>
                  <a:pt x="394" y="183"/>
                  <a:pt x="394" y="183"/>
                </a:cubicBezTo>
                <a:cubicBezTo>
                  <a:pt x="393" y="183"/>
                  <a:pt x="393" y="183"/>
                  <a:pt x="393" y="183"/>
                </a:cubicBezTo>
                <a:cubicBezTo>
                  <a:pt x="392" y="182"/>
                  <a:pt x="392" y="182"/>
                  <a:pt x="392" y="182"/>
                </a:cubicBezTo>
                <a:cubicBezTo>
                  <a:pt x="393" y="180"/>
                  <a:pt x="393" y="180"/>
                  <a:pt x="393" y="180"/>
                </a:cubicBezTo>
                <a:cubicBezTo>
                  <a:pt x="394" y="179"/>
                  <a:pt x="394" y="179"/>
                  <a:pt x="394" y="179"/>
                </a:cubicBezTo>
                <a:cubicBezTo>
                  <a:pt x="394" y="178"/>
                  <a:pt x="394" y="178"/>
                  <a:pt x="394" y="178"/>
                </a:cubicBezTo>
                <a:cubicBezTo>
                  <a:pt x="394" y="177"/>
                  <a:pt x="394" y="177"/>
                  <a:pt x="394" y="177"/>
                </a:cubicBezTo>
                <a:cubicBezTo>
                  <a:pt x="394" y="176"/>
                  <a:pt x="394" y="176"/>
                  <a:pt x="394" y="176"/>
                </a:cubicBezTo>
                <a:cubicBezTo>
                  <a:pt x="393" y="176"/>
                  <a:pt x="393" y="176"/>
                  <a:pt x="393" y="176"/>
                </a:cubicBezTo>
                <a:cubicBezTo>
                  <a:pt x="392" y="175"/>
                  <a:pt x="392" y="175"/>
                  <a:pt x="392" y="175"/>
                </a:cubicBezTo>
                <a:cubicBezTo>
                  <a:pt x="393" y="173"/>
                  <a:pt x="393" y="173"/>
                  <a:pt x="393" y="173"/>
                </a:cubicBezTo>
                <a:cubicBezTo>
                  <a:pt x="394" y="173"/>
                  <a:pt x="394" y="173"/>
                  <a:pt x="394" y="173"/>
                </a:cubicBezTo>
                <a:cubicBezTo>
                  <a:pt x="394" y="172"/>
                  <a:pt x="394" y="172"/>
                  <a:pt x="394" y="172"/>
                </a:cubicBezTo>
                <a:cubicBezTo>
                  <a:pt x="394" y="171"/>
                  <a:pt x="394" y="171"/>
                  <a:pt x="394" y="171"/>
                </a:cubicBezTo>
                <a:cubicBezTo>
                  <a:pt x="395" y="170"/>
                  <a:pt x="395" y="170"/>
                  <a:pt x="395" y="170"/>
                </a:cubicBezTo>
                <a:cubicBezTo>
                  <a:pt x="395" y="168"/>
                  <a:pt x="395" y="168"/>
                  <a:pt x="395" y="168"/>
                </a:cubicBezTo>
                <a:cubicBezTo>
                  <a:pt x="396" y="168"/>
                  <a:pt x="396" y="168"/>
                  <a:pt x="396" y="168"/>
                </a:cubicBezTo>
                <a:cubicBezTo>
                  <a:pt x="397" y="169"/>
                  <a:pt x="397" y="169"/>
                  <a:pt x="397" y="169"/>
                </a:cubicBezTo>
                <a:cubicBezTo>
                  <a:pt x="397" y="170"/>
                  <a:pt x="397" y="170"/>
                  <a:pt x="397" y="170"/>
                </a:cubicBezTo>
                <a:cubicBezTo>
                  <a:pt x="400" y="170"/>
                  <a:pt x="400" y="170"/>
                  <a:pt x="400" y="170"/>
                </a:cubicBezTo>
                <a:cubicBezTo>
                  <a:pt x="401" y="171"/>
                  <a:pt x="401" y="171"/>
                  <a:pt x="401" y="171"/>
                </a:cubicBezTo>
                <a:cubicBezTo>
                  <a:pt x="402" y="172"/>
                  <a:pt x="402" y="172"/>
                  <a:pt x="402" y="172"/>
                </a:cubicBezTo>
                <a:cubicBezTo>
                  <a:pt x="403" y="171"/>
                  <a:pt x="403" y="171"/>
                  <a:pt x="403" y="171"/>
                </a:cubicBezTo>
                <a:cubicBezTo>
                  <a:pt x="405" y="172"/>
                  <a:pt x="405" y="172"/>
                  <a:pt x="405" y="172"/>
                </a:cubicBezTo>
                <a:cubicBezTo>
                  <a:pt x="407" y="172"/>
                  <a:pt x="407" y="172"/>
                  <a:pt x="407" y="172"/>
                </a:cubicBezTo>
                <a:cubicBezTo>
                  <a:pt x="407" y="173"/>
                  <a:pt x="407" y="173"/>
                  <a:pt x="407" y="173"/>
                </a:cubicBezTo>
                <a:cubicBezTo>
                  <a:pt x="408" y="174"/>
                  <a:pt x="408" y="174"/>
                  <a:pt x="408" y="174"/>
                </a:cubicBezTo>
                <a:cubicBezTo>
                  <a:pt x="410" y="175"/>
                  <a:pt x="410" y="175"/>
                  <a:pt x="410" y="175"/>
                </a:cubicBezTo>
                <a:cubicBezTo>
                  <a:pt x="410" y="176"/>
                  <a:pt x="410" y="176"/>
                  <a:pt x="410" y="176"/>
                </a:cubicBezTo>
                <a:cubicBezTo>
                  <a:pt x="410" y="177"/>
                  <a:pt x="410" y="177"/>
                  <a:pt x="410" y="177"/>
                </a:cubicBezTo>
                <a:cubicBezTo>
                  <a:pt x="410" y="178"/>
                  <a:pt x="410" y="178"/>
                  <a:pt x="410" y="178"/>
                </a:cubicBezTo>
                <a:cubicBezTo>
                  <a:pt x="411" y="179"/>
                  <a:pt x="411" y="179"/>
                  <a:pt x="411" y="179"/>
                </a:cubicBezTo>
                <a:cubicBezTo>
                  <a:pt x="410" y="180"/>
                  <a:pt x="410" y="180"/>
                  <a:pt x="410" y="180"/>
                </a:cubicBezTo>
                <a:cubicBezTo>
                  <a:pt x="411" y="181"/>
                  <a:pt x="411" y="181"/>
                  <a:pt x="411" y="181"/>
                </a:cubicBezTo>
                <a:cubicBezTo>
                  <a:pt x="411" y="182"/>
                  <a:pt x="411" y="182"/>
                  <a:pt x="411" y="182"/>
                </a:cubicBezTo>
                <a:cubicBezTo>
                  <a:pt x="411" y="183"/>
                  <a:pt x="411" y="183"/>
                  <a:pt x="411" y="183"/>
                </a:cubicBezTo>
                <a:cubicBezTo>
                  <a:pt x="411" y="184"/>
                  <a:pt x="411" y="184"/>
                  <a:pt x="411" y="184"/>
                </a:cubicBezTo>
                <a:cubicBezTo>
                  <a:pt x="410" y="185"/>
                  <a:pt x="410" y="185"/>
                  <a:pt x="410" y="185"/>
                </a:cubicBezTo>
                <a:cubicBezTo>
                  <a:pt x="412" y="185"/>
                  <a:pt x="412" y="185"/>
                  <a:pt x="412" y="185"/>
                </a:cubicBezTo>
                <a:cubicBezTo>
                  <a:pt x="412" y="186"/>
                  <a:pt x="412" y="186"/>
                  <a:pt x="412" y="186"/>
                </a:cubicBezTo>
                <a:cubicBezTo>
                  <a:pt x="411" y="186"/>
                  <a:pt x="411" y="186"/>
                  <a:pt x="411" y="186"/>
                </a:cubicBezTo>
                <a:cubicBezTo>
                  <a:pt x="411" y="187"/>
                  <a:pt x="411" y="187"/>
                  <a:pt x="411" y="187"/>
                </a:cubicBezTo>
                <a:cubicBezTo>
                  <a:pt x="408" y="187"/>
                  <a:pt x="408" y="187"/>
                  <a:pt x="408" y="187"/>
                </a:cubicBezTo>
                <a:cubicBezTo>
                  <a:pt x="408" y="186"/>
                  <a:pt x="408" y="186"/>
                  <a:pt x="408" y="186"/>
                </a:cubicBezTo>
                <a:cubicBezTo>
                  <a:pt x="406" y="186"/>
                  <a:pt x="406" y="186"/>
                  <a:pt x="406" y="186"/>
                </a:cubicBezTo>
                <a:cubicBezTo>
                  <a:pt x="405" y="185"/>
                  <a:pt x="405" y="185"/>
                  <a:pt x="405" y="185"/>
                </a:cubicBezTo>
                <a:cubicBezTo>
                  <a:pt x="403" y="185"/>
                  <a:pt x="403" y="185"/>
                  <a:pt x="403" y="185"/>
                </a:cubicBezTo>
                <a:cubicBezTo>
                  <a:pt x="403" y="185"/>
                  <a:pt x="403" y="185"/>
                  <a:pt x="403" y="185"/>
                </a:cubicBezTo>
                <a:cubicBezTo>
                  <a:pt x="402" y="184"/>
                  <a:pt x="402" y="184"/>
                  <a:pt x="402" y="184"/>
                </a:cubicBezTo>
                <a:cubicBezTo>
                  <a:pt x="400" y="185"/>
                  <a:pt x="400" y="185"/>
                  <a:pt x="400" y="185"/>
                </a:cubicBezTo>
                <a:cubicBezTo>
                  <a:pt x="399" y="185"/>
                  <a:pt x="399" y="185"/>
                  <a:pt x="399" y="185"/>
                </a:cubicBezTo>
                <a:cubicBezTo>
                  <a:pt x="398" y="186"/>
                  <a:pt x="398" y="186"/>
                  <a:pt x="398" y="186"/>
                </a:cubicBezTo>
                <a:cubicBezTo>
                  <a:pt x="397" y="186"/>
                  <a:pt x="397" y="186"/>
                  <a:pt x="397" y="186"/>
                </a:cubicBezTo>
                <a:close/>
                <a:moveTo>
                  <a:pt x="390" y="188"/>
                </a:moveTo>
                <a:cubicBezTo>
                  <a:pt x="390" y="187"/>
                  <a:pt x="390" y="187"/>
                  <a:pt x="390" y="187"/>
                </a:cubicBezTo>
                <a:cubicBezTo>
                  <a:pt x="390" y="186"/>
                  <a:pt x="390" y="186"/>
                  <a:pt x="390" y="186"/>
                </a:cubicBezTo>
                <a:cubicBezTo>
                  <a:pt x="391" y="186"/>
                  <a:pt x="391" y="186"/>
                  <a:pt x="391" y="186"/>
                </a:cubicBezTo>
                <a:cubicBezTo>
                  <a:pt x="391" y="187"/>
                  <a:pt x="391" y="187"/>
                  <a:pt x="391" y="187"/>
                </a:cubicBezTo>
                <a:cubicBezTo>
                  <a:pt x="390" y="188"/>
                  <a:pt x="390" y="188"/>
                  <a:pt x="390" y="188"/>
                </a:cubicBezTo>
                <a:close/>
                <a:moveTo>
                  <a:pt x="392" y="189"/>
                </a:moveTo>
                <a:cubicBezTo>
                  <a:pt x="391" y="188"/>
                  <a:pt x="391" y="188"/>
                  <a:pt x="391" y="188"/>
                </a:cubicBezTo>
                <a:cubicBezTo>
                  <a:pt x="392" y="188"/>
                  <a:pt x="392" y="188"/>
                  <a:pt x="392" y="188"/>
                </a:cubicBezTo>
                <a:cubicBezTo>
                  <a:pt x="392" y="188"/>
                  <a:pt x="392" y="188"/>
                  <a:pt x="392" y="188"/>
                </a:cubicBezTo>
                <a:cubicBezTo>
                  <a:pt x="392" y="189"/>
                  <a:pt x="392" y="189"/>
                  <a:pt x="392" y="189"/>
                </a:cubicBezTo>
                <a:cubicBezTo>
                  <a:pt x="392" y="189"/>
                  <a:pt x="392" y="189"/>
                  <a:pt x="392" y="189"/>
                </a:cubicBezTo>
                <a:close/>
                <a:moveTo>
                  <a:pt x="395" y="189"/>
                </a:moveTo>
                <a:cubicBezTo>
                  <a:pt x="394" y="189"/>
                  <a:pt x="394" y="189"/>
                  <a:pt x="394" y="189"/>
                </a:cubicBezTo>
                <a:cubicBezTo>
                  <a:pt x="394" y="188"/>
                  <a:pt x="394" y="188"/>
                  <a:pt x="394" y="188"/>
                </a:cubicBezTo>
                <a:cubicBezTo>
                  <a:pt x="395" y="188"/>
                  <a:pt x="395" y="188"/>
                  <a:pt x="395" y="188"/>
                </a:cubicBezTo>
                <a:cubicBezTo>
                  <a:pt x="395" y="189"/>
                  <a:pt x="395" y="189"/>
                  <a:pt x="395" y="189"/>
                </a:cubicBezTo>
                <a:cubicBezTo>
                  <a:pt x="395" y="189"/>
                  <a:pt x="395" y="189"/>
                  <a:pt x="395" y="189"/>
                </a:cubicBezTo>
                <a:close/>
                <a:moveTo>
                  <a:pt x="317" y="216"/>
                </a:moveTo>
                <a:cubicBezTo>
                  <a:pt x="317" y="215"/>
                  <a:pt x="317" y="215"/>
                  <a:pt x="317" y="215"/>
                </a:cubicBezTo>
                <a:cubicBezTo>
                  <a:pt x="317" y="214"/>
                  <a:pt x="317" y="214"/>
                  <a:pt x="317" y="214"/>
                </a:cubicBezTo>
                <a:cubicBezTo>
                  <a:pt x="318" y="214"/>
                  <a:pt x="318" y="214"/>
                  <a:pt x="318" y="214"/>
                </a:cubicBezTo>
                <a:cubicBezTo>
                  <a:pt x="319" y="215"/>
                  <a:pt x="319" y="215"/>
                  <a:pt x="319" y="215"/>
                </a:cubicBezTo>
                <a:cubicBezTo>
                  <a:pt x="318" y="215"/>
                  <a:pt x="318" y="215"/>
                  <a:pt x="318" y="215"/>
                </a:cubicBezTo>
                <a:cubicBezTo>
                  <a:pt x="318" y="215"/>
                  <a:pt x="318" y="215"/>
                  <a:pt x="318" y="215"/>
                </a:cubicBezTo>
                <a:cubicBezTo>
                  <a:pt x="317" y="216"/>
                  <a:pt x="317" y="216"/>
                  <a:pt x="317" y="216"/>
                </a:cubicBezTo>
                <a:close/>
                <a:moveTo>
                  <a:pt x="321" y="222"/>
                </a:moveTo>
                <a:cubicBezTo>
                  <a:pt x="321" y="223"/>
                  <a:pt x="321" y="223"/>
                  <a:pt x="321" y="223"/>
                </a:cubicBezTo>
                <a:cubicBezTo>
                  <a:pt x="322" y="223"/>
                  <a:pt x="322" y="223"/>
                  <a:pt x="322" y="223"/>
                </a:cubicBezTo>
                <a:cubicBezTo>
                  <a:pt x="322" y="223"/>
                  <a:pt x="322" y="223"/>
                  <a:pt x="322" y="223"/>
                </a:cubicBezTo>
                <a:cubicBezTo>
                  <a:pt x="322" y="222"/>
                  <a:pt x="322" y="222"/>
                  <a:pt x="322" y="222"/>
                </a:cubicBezTo>
                <a:cubicBezTo>
                  <a:pt x="322" y="221"/>
                  <a:pt x="322" y="221"/>
                  <a:pt x="322" y="221"/>
                </a:cubicBezTo>
                <a:cubicBezTo>
                  <a:pt x="321" y="222"/>
                  <a:pt x="321" y="222"/>
                  <a:pt x="321" y="222"/>
                </a:cubicBezTo>
                <a:close/>
                <a:moveTo>
                  <a:pt x="320" y="222"/>
                </a:moveTo>
                <a:cubicBezTo>
                  <a:pt x="319" y="223"/>
                  <a:pt x="319" y="223"/>
                  <a:pt x="319" y="223"/>
                </a:cubicBezTo>
                <a:cubicBezTo>
                  <a:pt x="320" y="223"/>
                  <a:pt x="320" y="223"/>
                  <a:pt x="320" y="223"/>
                </a:cubicBezTo>
                <a:cubicBezTo>
                  <a:pt x="320" y="224"/>
                  <a:pt x="320" y="224"/>
                  <a:pt x="320" y="224"/>
                </a:cubicBezTo>
                <a:cubicBezTo>
                  <a:pt x="320" y="224"/>
                  <a:pt x="320" y="224"/>
                  <a:pt x="320" y="224"/>
                </a:cubicBezTo>
                <a:cubicBezTo>
                  <a:pt x="321" y="224"/>
                  <a:pt x="321" y="224"/>
                  <a:pt x="321" y="224"/>
                </a:cubicBezTo>
                <a:cubicBezTo>
                  <a:pt x="320" y="222"/>
                  <a:pt x="320" y="222"/>
                  <a:pt x="320" y="222"/>
                </a:cubicBezTo>
                <a:cubicBezTo>
                  <a:pt x="320" y="222"/>
                  <a:pt x="320" y="222"/>
                  <a:pt x="320" y="222"/>
                </a:cubicBezTo>
                <a:cubicBezTo>
                  <a:pt x="320" y="222"/>
                  <a:pt x="320" y="222"/>
                  <a:pt x="320" y="222"/>
                </a:cubicBezTo>
                <a:close/>
                <a:moveTo>
                  <a:pt x="344" y="218"/>
                </a:moveTo>
                <a:cubicBezTo>
                  <a:pt x="344" y="217"/>
                  <a:pt x="344" y="217"/>
                  <a:pt x="344" y="217"/>
                </a:cubicBezTo>
                <a:cubicBezTo>
                  <a:pt x="343" y="217"/>
                  <a:pt x="343" y="217"/>
                  <a:pt x="343" y="217"/>
                </a:cubicBezTo>
                <a:cubicBezTo>
                  <a:pt x="342" y="216"/>
                  <a:pt x="342" y="216"/>
                  <a:pt x="342" y="216"/>
                </a:cubicBezTo>
                <a:cubicBezTo>
                  <a:pt x="342" y="217"/>
                  <a:pt x="342" y="217"/>
                  <a:pt x="342" y="217"/>
                </a:cubicBezTo>
                <a:cubicBezTo>
                  <a:pt x="341" y="217"/>
                  <a:pt x="341" y="217"/>
                  <a:pt x="341" y="217"/>
                </a:cubicBezTo>
                <a:cubicBezTo>
                  <a:pt x="341" y="216"/>
                  <a:pt x="341" y="216"/>
                  <a:pt x="341" y="216"/>
                </a:cubicBezTo>
                <a:cubicBezTo>
                  <a:pt x="340" y="215"/>
                  <a:pt x="340" y="215"/>
                  <a:pt x="340" y="215"/>
                </a:cubicBezTo>
                <a:cubicBezTo>
                  <a:pt x="342" y="215"/>
                  <a:pt x="342" y="215"/>
                  <a:pt x="342" y="215"/>
                </a:cubicBezTo>
                <a:cubicBezTo>
                  <a:pt x="342" y="214"/>
                  <a:pt x="342" y="214"/>
                  <a:pt x="342" y="214"/>
                </a:cubicBezTo>
                <a:cubicBezTo>
                  <a:pt x="343" y="215"/>
                  <a:pt x="343" y="215"/>
                  <a:pt x="343" y="215"/>
                </a:cubicBezTo>
                <a:cubicBezTo>
                  <a:pt x="344" y="215"/>
                  <a:pt x="344" y="215"/>
                  <a:pt x="344" y="215"/>
                </a:cubicBezTo>
                <a:cubicBezTo>
                  <a:pt x="345" y="216"/>
                  <a:pt x="345" y="216"/>
                  <a:pt x="345" y="216"/>
                </a:cubicBezTo>
                <a:cubicBezTo>
                  <a:pt x="345" y="217"/>
                  <a:pt x="345" y="217"/>
                  <a:pt x="345" y="217"/>
                </a:cubicBezTo>
                <a:cubicBezTo>
                  <a:pt x="345" y="217"/>
                  <a:pt x="345" y="217"/>
                  <a:pt x="345" y="217"/>
                </a:cubicBezTo>
                <a:cubicBezTo>
                  <a:pt x="345" y="217"/>
                  <a:pt x="344" y="218"/>
                  <a:pt x="344" y="218"/>
                </a:cubicBezTo>
                <a:close/>
                <a:moveTo>
                  <a:pt x="358" y="223"/>
                </a:moveTo>
                <a:cubicBezTo>
                  <a:pt x="357" y="223"/>
                  <a:pt x="357" y="223"/>
                  <a:pt x="357" y="223"/>
                </a:cubicBezTo>
                <a:cubicBezTo>
                  <a:pt x="356" y="222"/>
                  <a:pt x="356" y="222"/>
                  <a:pt x="356" y="222"/>
                </a:cubicBezTo>
                <a:cubicBezTo>
                  <a:pt x="357" y="222"/>
                  <a:pt x="357" y="222"/>
                  <a:pt x="357" y="222"/>
                </a:cubicBezTo>
                <a:cubicBezTo>
                  <a:pt x="358" y="222"/>
                  <a:pt x="358" y="222"/>
                  <a:pt x="358" y="222"/>
                </a:cubicBezTo>
                <a:cubicBezTo>
                  <a:pt x="358" y="223"/>
                  <a:pt x="358" y="223"/>
                  <a:pt x="358" y="223"/>
                </a:cubicBezTo>
                <a:cubicBezTo>
                  <a:pt x="358" y="223"/>
                  <a:pt x="358" y="223"/>
                  <a:pt x="358" y="223"/>
                </a:cubicBezTo>
                <a:close/>
                <a:moveTo>
                  <a:pt x="359" y="223"/>
                </a:moveTo>
                <a:cubicBezTo>
                  <a:pt x="360" y="224"/>
                  <a:pt x="360" y="224"/>
                  <a:pt x="360" y="224"/>
                </a:cubicBezTo>
                <a:cubicBezTo>
                  <a:pt x="360" y="223"/>
                  <a:pt x="360" y="223"/>
                  <a:pt x="360" y="223"/>
                </a:cubicBezTo>
                <a:cubicBezTo>
                  <a:pt x="359" y="223"/>
                  <a:pt x="359" y="223"/>
                  <a:pt x="359" y="223"/>
                </a:cubicBezTo>
                <a:close/>
                <a:moveTo>
                  <a:pt x="361" y="224"/>
                </a:moveTo>
                <a:cubicBezTo>
                  <a:pt x="362" y="224"/>
                  <a:pt x="362" y="224"/>
                  <a:pt x="362" y="224"/>
                </a:cubicBezTo>
                <a:cubicBezTo>
                  <a:pt x="362" y="225"/>
                  <a:pt x="362" y="225"/>
                  <a:pt x="362" y="225"/>
                </a:cubicBezTo>
                <a:cubicBezTo>
                  <a:pt x="363" y="224"/>
                  <a:pt x="363" y="224"/>
                  <a:pt x="363" y="224"/>
                </a:cubicBezTo>
                <a:cubicBezTo>
                  <a:pt x="363" y="224"/>
                  <a:pt x="363" y="224"/>
                  <a:pt x="363" y="224"/>
                </a:cubicBezTo>
                <a:cubicBezTo>
                  <a:pt x="362" y="223"/>
                  <a:pt x="362" y="223"/>
                  <a:pt x="362" y="223"/>
                </a:cubicBezTo>
                <a:cubicBezTo>
                  <a:pt x="362" y="223"/>
                  <a:pt x="362" y="223"/>
                  <a:pt x="362" y="223"/>
                </a:cubicBezTo>
                <a:cubicBezTo>
                  <a:pt x="361" y="223"/>
                  <a:pt x="361" y="223"/>
                  <a:pt x="361" y="223"/>
                </a:cubicBezTo>
                <a:cubicBezTo>
                  <a:pt x="361" y="224"/>
                  <a:pt x="361" y="224"/>
                  <a:pt x="361" y="224"/>
                </a:cubicBezTo>
                <a:cubicBezTo>
                  <a:pt x="361" y="224"/>
                  <a:pt x="361" y="224"/>
                  <a:pt x="361" y="224"/>
                </a:cubicBezTo>
                <a:close/>
                <a:moveTo>
                  <a:pt x="376" y="244"/>
                </a:moveTo>
                <a:cubicBezTo>
                  <a:pt x="376" y="243"/>
                  <a:pt x="376" y="243"/>
                  <a:pt x="376" y="243"/>
                </a:cubicBezTo>
                <a:cubicBezTo>
                  <a:pt x="376" y="242"/>
                  <a:pt x="376" y="242"/>
                  <a:pt x="376" y="242"/>
                </a:cubicBezTo>
                <a:cubicBezTo>
                  <a:pt x="376" y="241"/>
                  <a:pt x="376" y="241"/>
                  <a:pt x="376" y="241"/>
                </a:cubicBezTo>
                <a:cubicBezTo>
                  <a:pt x="376" y="241"/>
                  <a:pt x="376" y="241"/>
                  <a:pt x="376" y="241"/>
                </a:cubicBezTo>
                <a:cubicBezTo>
                  <a:pt x="377" y="242"/>
                  <a:pt x="377" y="242"/>
                  <a:pt x="377" y="242"/>
                </a:cubicBezTo>
                <a:cubicBezTo>
                  <a:pt x="377" y="243"/>
                  <a:pt x="377" y="243"/>
                  <a:pt x="377" y="243"/>
                </a:cubicBezTo>
                <a:cubicBezTo>
                  <a:pt x="377" y="243"/>
                  <a:pt x="377" y="243"/>
                  <a:pt x="377" y="243"/>
                </a:cubicBezTo>
                <a:cubicBezTo>
                  <a:pt x="376" y="244"/>
                  <a:pt x="376" y="244"/>
                  <a:pt x="376" y="244"/>
                </a:cubicBezTo>
                <a:close/>
                <a:moveTo>
                  <a:pt x="374" y="247"/>
                </a:moveTo>
                <a:cubicBezTo>
                  <a:pt x="374" y="246"/>
                  <a:pt x="374" y="246"/>
                  <a:pt x="374" y="246"/>
                </a:cubicBezTo>
                <a:cubicBezTo>
                  <a:pt x="374" y="245"/>
                  <a:pt x="374" y="245"/>
                  <a:pt x="374" y="245"/>
                </a:cubicBezTo>
                <a:cubicBezTo>
                  <a:pt x="375" y="245"/>
                  <a:pt x="375" y="245"/>
                  <a:pt x="375" y="245"/>
                </a:cubicBezTo>
                <a:cubicBezTo>
                  <a:pt x="376" y="245"/>
                  <a:pt x="376" y="245"/>
                  <a:pt x="376" y="245"/>
                </a:cubicBezTo>
                <a:cubicBezTo>
                  <a:pt x="376" y="246"/>
                  <a:pt x="376" y="246"/>
                  <a:pt x="376" y="246"/>
                </a:cubicBezTo>
                <a:cubicBezTo>
                  <a:pt x="375" y="246"/>
                  <a:pt x="375" y="246"/>
                  <a:pt x="375" y="246"/>
                </a:cubicBezTo>
                <a:cubicBezTo>
                  <a:pt x="375" y="247"/>
                  <a:pt x="375" y="247"/>
                  <a:pt x="375" y="247"/>
                </a:cubicBezTo>
                <a:cubicBezTo>
                  <a:pt x="374" y="247"/>
                  <a:pt x="374" y="247"/>
                  <a:pt x="374" y="247"/>
                </a:cubicBezTo>
                <a:close/>
                <a:moveTo>
                  <a:pt x="366" y="228"/>
                </a:moveTo>
                <a:cubicBezTo>
                  <a:pt x="365" y="228"/>
                  <a:pt x="365" y="228"/>
                  <a:pt x="365" y="228"/>
                </a:cubicBezTo>
                <a:cubicBezTo>
                  <a:pt x="366" y="228"/>
                  <a:pt x="366" y="228"/>
                  <a:pt x="366" y="228"/>
                </a:cubicBezTo>
                <a:cubicBezTo>
                  <a:pt x="366" y="228"/>
                  <a:pt x="366" y="228"/>
                  <a:pt x="366" y="228"/>
                </a:cubicBezTo>
                <a:close/>
                <a:moveTo>
                  <a:pt x="364" y="229"/>
                </a:moveTo>
                <a:cubicBezTo>
                  <a:pt x="363" y="227"/>
                  <a:pt x="363" y="227"/>
                  <a:pt x="363" y="227"/>
                </a:cubicBezTo>
                <a:cubicBezTo>
                  <a:pt x="364" y="228"/>
                  <a:pt x="364" y="228"/>
                  <a:pt x="364" y="228"/>
                </a:cubicBezTo>
                <a:cubicBezTo>
                  <a:pt x="364" y="228"/>
                  <a:pt x="364" y="228"/>
                  <a:pt x="364" y="228"/>
                </a:cubicBezTo>
                <a:cubicBezTo>
                  <a:pt x="364" y="229"/>
                  <a:pt x="364" y="229"/>
                  <a:pt x="364" y="229"/>
                </a:cubicBezTo>
                <a:close/>
                <a:moveTo>
                  <a:pt x="364" y="229"/>
                </a:moveTo>
                <a:cubicBezTo>
                  <a:pt x="365" y="230"/>
                  <a:pt x="365" y="230"/>
                  <a:pt x="365" y="230"/>
                </a:cubicBezTo>
                <a:cubicBezTo>
                  <a:pt x="365" y="230"/>
                  <a:pt x="365" y="230"/>
                  <a:pt x="365" y="230"/>
                </a:cubicBezTo>
                <a:cubicBezTo>
                  <a:pt x="366" y="230"/>
                  <a:pt x="366" y="230"/>
                  <a:pt x="366" y="230"/>
                </a:cubicBezTo>
                <a:cubicBezTo>
                  <a:pt x="366" y="230"/>
                  <a:pt x="366" y="230"/>
                  <a:pt x="366" y="230"/>
                </a:cubicBezTo>
                <a:cubicBezTo>
                  <a:pt x="366" y="229"/>
                  <a:pt x="366" y="229"/>
                  <a:pt x="366" y="229"/>
                </a:cubicBezTo>
                <a:cubicBezTo>
                  <a:pt x="365" y="229"/>
                  <a:pt x="365" y="229"/>
                  <a:pt x="365" y="229"/>
                </a:cubicBezTo>
                <a:cubicBezTo>
                  <a:pt x="364" y="229"/>
                  <a:pt x="364" y="229"/>
                  <a:pt x="364" y="229"/>
                </a:cubicBezTo>
                <a:close/>
                <a:moveTo>
                  <a:pt x="372" y="226"/>
                </a:moveTo>
                <a:cubicBezTo>
                  <a:pt x="373" y="226"/>
                  <a:pt x="373" y="226"/>
                  <a:pt x="373" y="226"/>
                </a:cubicBezTo>
                <a:cubicBezTo>
                  <a:pt x="374" y="227"/>
                  <a:pt x="374" y="227"/>
                  <a:pt x="374" y="227"/>
                </a:cubicBezTo>
                <a:cubicBezTo>
                  <a:pt x="374" y="227"/>
                  <a:pt x="374" y="227"/>
                  <a:pt x="374" y="227"/>
                </a:cubicBezTo>
                <a:cubicBezTo>
                  <a:pt x="374" y="228"/>
                  <a:pt x="374" y="228"/>
                  <a:pt x="374" y="228"/>
                </a:cubicBezTo>
                <a:cubicBezTo>
                  <a:pt x="374" y="229"/>
                  <a:pt x="374" y="229"/>
                  <a:pt x="374" y="229"/>
                </a:cubicBezTo>
                <a:cubicBezTo>
                  <a:pt x="375" y="228"/>
                  <a:pt x="375" y="228"/>
                  <a:pt x="375" y="228"/>
                </a:cubicBezTo>
                <a:cubicBezTo>
                  <a:pt x="375" y="227"/>
                  <a:pt x="375" y="227"/>
                  <a:pt x="375" y="227"/>
                </a:cubicBezTo>
                <a:cubicBezTo>
                  <a:pt x="376" y="228"/>
                  <a:pt x="376" y="228"/>
                  <a:pt x="376" y="228"/>
                </a:cubicBezTo>
                <a:cubicBezTo>
                  <a:pt x="377" y="227"/>
                  <a:pt x="377" y="227"/>
                  <a:pt x="377" y="227"/>
                </a:cubicBezTo>
                <a:cubicBezTo>
                  <a:pt x="377" y="228"/>
                  <a:pt x="377" y="228"/>
                  <a:pt x="377" y="228"/>
                </a:cubicBezTo>
                <a:cubicBezTo>
                  <a:pt x="378" y="227"/>
                  <a:pt x="378" y="227"/>
                  <a:pt x="378" y="227"/>
                </a:cubicBezTo>
                <a:cubicBezTo>
                  <a:pt x="377" y="226"/>
                  <a:pt x="377" y="226"/>
                  <a:pt x="377" y="226"/>
                </a:cubicBezTo>
                <a:cubicBezTo>
                  <a:pt x="376" y="226"/>
                  <a:pt x="376" y="226"/>
                  <a:pt x="376" y="226"/>
                </a:cubicBezTo>
                <a:cubicBezTo>
                  <a:pt x="375" y="225"/>
                  <a:pt x="375" y="225"/>
                  <a:pt x="375" y="225"/>
                </a:cubicBezTo>
                <a:cubicBezTo>
                  <a:pt x="373" y="225"/>
                  <a:pt x="373" y="225"/>
                  <a:pt x="373" y="225"/>
                </a:cubicBezTo>
                <a:cubicBezTo>
                  <a:pt x="373" y="225"/>
                  <a:pt x="373" y="225"/>
                  <a:pt x="373" y="225"/>
                </a:cubicBezTo>
                <a:cubicBezTo>
                  <a:pt x="373" y="225"/>
                  <a:pt x="372" y="226"/>
                  <a:pt x="372" y="226"/>
                </a:cubicBezTo>
                <a:close/>
                <a:moveTo>
                  <a:pt x="387" y="225"/>
                </a:moveTo>
                <a:cubicBezTo>
                  <a:pt x="387" y="224"/>
                  <a:pt x="387" y="224"/>
                  <a:pt x="387" y="224"/>
                </a:cubicBezTo>
                <a:cubicBezTo>
                  <a:pt x="387" y="224"/>
                  <a:pt x="387" y="224"/>
                  <a:pt x="387" y="224"/>
                </a:cubicBezTo>
                <a:cubicBezTo>
                  <a:pt x="387" y="225"/>
                  <a:pt x="387" y="225"/>
                  <a:pt x="387" y="225"/>
                </a:cubicBezTo>
                <a:cubicBezTo>
                  <a:pt x="387" y="225"/>
                  <a:pt x="387" y="225"/>
                  <a:pt x="387" y="225"/>
                </a:cubicBezTo>
                <a:close/>
                <a:moveTo>
                  <a:pt x="382" y="231"/>
                </a:moveTo>
                <a:cubicBezTo>
                  <a:pt x="382" y="230"/>
                  <a:pt x="382" y="230"/>
                  <a:pt x="382" y="230"/>
                </a:cubicBezTo>
                <a:cubicBezTo>
                  <a:pt x="383" y="229"/>
                  <a:pt x="383" y="229"/>
                  <a:pt x="383" y="229"/>
                </a:cubicBezTo>
                <a:cubicBezTo>
                  <a:pt x="384" y="229"/>
                  <a:pt x="384" y="229"/>
                  <a:pt x="384" y="229"/>
                </a:cubicBezTo>
                <a:cubicBezTo>
                  <a:pt x="384" y="228"/>
                  <a:pt x="384" y="228"/>
                  <a:pt x="384" y="228"/>
                </a:cubicBezTo>
                <a:cubicBezTo>
                  <a:pt x="385" y="228"/>
                  <a:pt x="385" y="228"/>
                  <a:pt x="385" y="228"/>
                </a:cubicBezTo>
                <a:cubicBezTo>
                  <a:pt x="385" y="229"/>
                  <a:pt x="385" y="229"/>
                  <a:pt x="385" y="229"/>
                </a:cubicBezTo>
                <a:cubicBezTo>
                  <a:pt x="385" y="229"/>
                  <a:pt x="385" y="229"/>
                  <a:pt x="385" y="229"/>
                </a:cubicBezTo>
                <a:cubicBezTo>
                  <a:pt x="384" y="230"/>
                  <a:pt x="384" y="230"/>
                  <a:pt x="384" y="230"/>
                </a:cubicBezTo>
                <a:cubicBezTo>
                  <a:pt x="383" y="231"/>
                  <a:pt x="383" y="231"/>
                  <a:pt x="383" y="231"/>
                </a:cubicBezTo>
                <a:cubicBezTo>
                  <a:pt x="382" y="231"/>
                  <a:pt x="382" y="231"/>
                  <a:pt x="382" y="231"/>
                </a:cubicBezTo>
                <a:cubicBezTo>
                  <a:pt x="382" y="231"/>
                  <a:pt x="382" y="231"/>
                  <a:pt x="382" y="231"/>
                </a:cubicBezTo>
                <a:close/>
                <a:moveTo>
                  <a:pt x="377" y="239"/>
                </a:moveTo>
                <a:cubicBezTo>
                  <a:pt x="379" y="237"/>
                  <a:pt x="379" y="237"/>
                  <a:pt x="379" y="237"/>
                </a:cubicBezTo>
                <a:cubicBezTo>
                  <a:pt x="380" y="236"/>
                  <a:pt x="380" y="236"/>
                  <a:pt x="380" y="236"/>
                </a:cubicBezTo>
                <a:cubicBezTo>
                  <a:pt x="380" y="236"/>
                  <a:pt x="380" y="236"/>
                  <a:pt x="380" y="236"/>
                </a:cubicBezTo>
                <a:cubicBezTo>
                  <a:pt x="382" y="235"/>
                  <a:pt x="382" y="235"/>
                  <a:pt x="382" y="235"/>
                </a:cubicBezTo>
                <a:cubicBezTo>
                  <a:pt x="383" y="234"/>
                  <a:pt x="383" y="234"/>
                  <a:pt x="383" y="234"/>
                </a:cubicBezTo>
                <a:cubicBezTo>
                  <a:pt x="382" y="233"/>
                  <a:pt x="382" y="233"/>
                  <a:pt x="382" y="233"/>
                </a:cubicBezTo>
                <a:cubicBezTo>
                  <a:pt x="382" y="232"/>
                  <a:pt x="382" y="232"/>
                  <a:pt x="382" y="232"/>
                </a:cubicBezTo>
                <a:cubicBezTo>
                  <a:pt x="381" y="233"/>
                  <a:pt x="381" y="233"/>
                  <a:pt x="381" y="233"/>
                </a:cubicBezTo>
                <a:cubicBezTo>
                  <a:pt x="381" y="234"/>
                  <a:pt x="381" y="234"/>
                  <a:pt x="381" y="234"/>
                </a:cubicBezTo>
                <a:cubicBezTo>
                  <a:pt x="380" y="234"/>
                  <a:pt x="380" y="234"/>
                  <a:pt x="380" y="234"/>
                </a:cubicBezTo>
                <a:cubicBezTo>
                  <a:pt x="379" y="235"/>
                  <a:pt x="379" y="235"/>
                  <a:pt x="379" y="235"/>
                </a:cubicBezTo>
                <a:cubicBezTo>
                  <a:pt x="378" y="235"/>
                  <a:pt x="378" y="235"/>
                  <a:pt x="378" y="235"/>
                </a:cubicBezTo>
                <a:cubicBezTo>
                  <a:pt x="376" y="235"/>
                  <a:pt x="376" y="235"/>
                  <a:pt x="376" y="235"/>
                </a:cubicBezTo>
                <a:cubicBezTo>
                  <a:pt x="376" y="236"/>
                  <a:pt x="376" y="236"/>
                  <a:pt x="376" y="236"/>
                </a:cubicBezTo>
                <a:cubicBezTo>
                  <a:pt x="375" y="237"/>
                  <a:pt x="375" y="237"/>
                  <a:pt x="375" y="237"/>
                </a:cubicBezTo>
                <a:cubicBezTo>
                  <a:pt x="374" y="237"/>
                  <a:pt x="374" y="237"/>
                  <a:pt x="374" y="237"/>
                </a:cubicBezTo>
                <a:cubicBezTo>
                  <a:pt x="375" y="239"/>
                  <a:pt x="375" y="239"/>
                  <a:pt x="375" y="239"/>
                </a:cubicBezTo>
                <a:cubicBezTo>
                  <a:pt x="375" y="238"/>
                  <a:pt x="375" y="238"/>
                  <a:pt x="375" y="238"/>
                </a:cubicBezTo>
                <a:cubicBezTo>
                  <a:pt x="376" y="239"/>
                  <a:pt x="376" y="239"/>
                  <a:pt x="376" y="239"/>
                </a:cubicBezTo>
                <a:cubicBezTo>
                  <a:pt x="377" y="239"/>
                  <a:pt x="377" y="239"/>
                  <a:pt x="377" y="239"/>
                </a:cubicBezTo>
                <a:close/>
                <a:moveTo>
                  <a:pt x="387" y="237"/>
                </a:moveTo>
                <a:cubicBezTo>
                  <a:pt x="387" y="236"/>
                  <a:pt x="387" y="236"/>
                  <a:pt x="387" y="236"/>
                </a:cubicBezTo>
                <a:cubicBezTo>
                  <a:pt x="387" y="235"/>
                  <a:pt x="387" y="235"/>
                  <a:pt x="387" y="235"/>
                </a:cubicBezTo>
                <a:cubicBezTo>
                  <a:pt x="388" y="234"/>
                  <a:pt x="388" y="234"/>
                  <a:pt x="388" y="234"/>
                </a:cubicBezTo>
                <a:cubicBezTo>
                  <a:pt x="389" y="234"/>
                  <a:pt x="389" y="234"/>
                  <a:pt x="389" y="234"/>
                </a:cubicBezTo>
                <a:cubicBezTo>
                  <a:pt x="390" y="234"/>
                  <a:pt x="390" y="234"/>
                  <a:pt x="390" y="234"/>
                </a:cubicBezTo>
                <a:cubicBezTo>
                  <a:pt x="390" y="235"/>
                  <a:pt x="390" y="235"/>
                  <a:pt x="390" y="235"/>
                </a:cubicBezTo>
                <a:cubicBezTo>
                  <a:pt x="390" y="236"/>
                  <a:pt x="390" y="236"/>
                  <a:pt x="390" y="236"/>
                </a:cubicBezTo>
                <a:cubicBezTo>
                  <a:pt x="389" y="237"/>
                  <a:pt x="389" y="237"/>
                  <a:pt x="389" y="237"/>
                </a:cubicBezTo>
                <a:cubicBezTo>
                  <a:pt x="388" y="238"/>
                  <a:pt x="388" y="238"/>
                  <a:pt x="388" y="238"/>
                </a:cubicBezTo>
                <a:cubicBezTo>
                  <a:pt x="387" y="237"/>
                  <a:pt x="387" y="237"/>
                  <a:pt x="387" y="237"/>
                </a:cubicBezTo>
                <a:close/>
                <a:moveTo>
                  <a:pt x="395" y="248"/>
                </a:moveTo>
                <a:cubicBezTo>
                  <a:pt x="395" y="246"/>
                  <a:pt x="395" y="246"/>
                  <a:pt x="395" y="246"/>
                </a:cubicBezTo>
                <a:cubicBezTo>
                  <a:pt x="395" y="244"/>
                  <a:pt x="395" y="244"/>
                  <a:pt x="395" y="244"/>
                </a:cubicBezTo>
                <a:cubicBezTo>
                  <a:pt x="395" y="243"/>
                  <a:pt x="395" y="243"/>
                  <a:pt x="395" y="243"/>
                </a:cubicBezTo>
                <a:cubicBezTo>
                  <a:pt x="394" y="243"/>
                  <a:pt x="394" y="243"/>
                  <a:pt x="394" y="243"/>
                </a:cubicBezTo>
                <a:cubicBezTo>
                  <a:pt x="394" y="244"/>
                  <a:pt x="394" y="244"/>
                  <a:pt x="394" y="244"/>
                </a:cubicBezTo>
                <a:cubicBezTo>
                  <a:pt x="393" y="246"/>
                  <a:pt x="393" y="246"/>
                  <a:pt x="393" y="246"/>
                </a:cubicBezTo>
                <a:cubicBezTo>
                  <a:pt x="394" y="247"/>
                  <a:pt x="394" y="247"/>
                  <a:pt x="394" y="247"/>
                </a:cubicBezTo>
                <a:cubicBezTo>
                  <a:pt x="394" y="247"/>
                  <a:pt x="394" y="247"/>
                  <a:pt x="394" y="247"/>
                </a:cubicBezTo>
                <a:cubicBezTo>
                  <a:pt x="394" y="248"/>
                  <a:pt x="394" y="248"/>
                  <a:pt x="394" y="248"/>
                </a:cubicBezTo>
                <a:cubicBezTo>
                  <a:pt x="395" y="248"/>
                  <a:pt x="395" y="248"/>
                  <a:pt x="395" y="248"/>
                </a:cubicBezTo>
                <a:cubicBezTo>
                  <a:pt x="395" y="248"/>
                  <a:pt x="395" y="248"/>
                  <a:pt x="395" y="248"/>
                </a:cubicBezTo>
                <a:close/>
                <a:moveTo>
                  <a:pt x="396" y="247"/>
                </a:moveTo>
                <a:cubicBezTo>
                  <a:pt x="396" y="246"/>
                  <a:pt x="396" y="246"/>
                  <a:pt x="396" y="246"/>
                </a:cubicBezTo>
                <a:cubicBezTo>
                  <a:pt x="396" y="244"/>
                  <a:pt x="396" y="244"/>
                  <a:pt x="396" y="244"/>
                </a:cubicBezTo>
                <a:cubicBezTo>
                  <a:pt x="397" y="246"/>
                  <a:pt x="397" y="246"/>
                  <a:pt x="397" y="246"/>
                </a:cubicBezTo>
                <a:cubicBezTo>
                  <a:pt x="397" y="246"/>
                  <a:pt x="397" y="246"/>
                  <a:pt x="397" y="246"/>
                </a:cubicBezTo>
                <a:cubicBezTo>
                  <a:pt x="397" y="247"/>
                  <a:pt x="397" y="247"/>
                  <a:pt x="397" y="247"/>
                </a:cubicBezTo>
                <a:cubicBezTo>
                  <a:pt x="396" y="247"/>
                  <a:pt x="396" y="247"/>
                  <a:pt x="396" y="247"/>
                </a:cubicBezTo>
                <a:close/>
                <a:moveTo>
                  <a:pt x="398" y="249"/>
                </a:moveTo>
                <a:cubicBezTo>
                  <a:pt x="398" y="249"/>
                  <a:pt x="398" y="249"/>
                  <a:pt x="398" y="249"/>
                </a:cubicBezTo>
                <a:cubicBezTo>
                  <a:pt x="398" y="248"/>
                  <a:pt x="398" y="248"/>
                  <a:pt x="398" y="248"/>
                </a:cubicBezTo>
                <a:cubicBezTo>
                  <a:pt x="398" y="248"/>
                  <a:pt x="398" y="248"/>
                  <a:pt x="398" y="248"/>
                </a:cubicBezTo>
                <a:cubicBezTo>
                  <a:pt x="398" y="249"/>
                  <a:pt x="398" y="249"/>
                  <a:pt x="398" y="249"/>
                </a:cubicBezTo>
                <a:cubicBezTo>
                  <a:pt x="398" y="249"/>
                  <a:pt x="398" y="249"/>
                  <a:pt x="398" y="249"/>
                </a:cubicBezTo>
                <a:close/>
                <a:moveTo>
                  <a:pt x="394" y="252"/>
                </a:moveTo>
                <a:cubicBezTo>
                  <a:pt x="394" y="252"/>
                  <a:pt x="394" y="252"/>
                  <a:pt x="394" y="252"/>
                </a:cubicBezTo>
                <a:cubicBezTo>
                  <a:pt x="394" y="254"/>
                  <a:pt x="394" y="254"/>
                  <a:pt x="394" y="254"/>
                </a:cubicBezTo>
                <a:cubicBezTo>
                  <a:pt x="394" y="255"/>
                  <a:pt x="394" y="255"/>
                  <a:pt x="394" y="255"/>
                </a:cubicBezTo>
                <a:cubicBezTo>
                  <a:pt x="395" y="255"/>
                  <a:pt x="395" y="255"/>
                  <a:pt x="395" y="255"/>
                </a:cubicBezTo>
                <a:cubicBezTo>
                  <a:pt x="395" y="255"/>
                  <a:pt x="395" y="255"/>
                  <a:pt x="395" y="255"/>
                </a:cubicBezTo>
                <a:cubicBezTo>
                  <a:pt x="397" y="255"/>
                  <a:pt x="397" y="255"/>
                  <a:pt x="397" y="255"/>
                </a:cubicBezTo>
                <a:cubicBezTo>
                  <a:pt x="397" y="256"/>
                  <a:pt x="397" y="256"/>
                  <a:pt x="397" y="256"/>
                </a:cubicBezTo>
                <a:cubicBezTo>
                  <a:pt x="398" y="256"/>
                  <a:pt x="398" y="256"/>
                  <a:pt x="398" y="256"/>
                </a:cubicBezTo>
                <a:cubicBezTo>
                  <a:pt x="399" y="256"/>
                  <a:pt x="399" y="256"/>
                  <a:pt x="399" y="256"/>
                </a:cubicBezTo>
                <a:cubicBezTo>
                  <a:pt x="400" y="255"/>
                  <a:pt x="400" y="255"/>
                  <a:pt x="400" y="255"/>
                </a:cubicBezTo>
                <a:cubicBezTo>
                  <a:pt x="399" y="254"/>
                  <a:pt x="399" y="254"/>
                  <a:pt x="399" y="254"/>
                </a:cubicBezTo>
                <a:cubicBezTo>
                  <a:pt x="399" y="253"/>
                  <a:pt x="399" y="253"/>
                  <a:pt x="399" y="253"/>
                </a:cubicBezTo>
                <a:cubicBezTo>
                  <a:pt x="398" y="253"/>
                  <a:pt x="398" y="253"/>
                  <a:pt x="398" y="253"/>
                </a:cubicBezTo>
                <a:cubicBezTo>
                  <a:pt x="398" y="252"/>
                  <a:pt x="398" y="252"/>
                  <a:pt x="398" y="252"/>
                </a:cubicBezTo>
                <a:cubicBezTo>
                  <a:pt x="397" y="252"/>
                  <a:pt x="397" y="252"/>
                  <a:pt x="397" y="252"/>
                </a:cubicBezTo>
                <a:cubicBezTo>
                  <a:pt x="396" y="252"/>
                  <a:pt x="396" y="252"/>
                  <a:pt x="396" y="252"/>
                </a:cubicBezTo>
                <a:cubicBezTo>
                  <a:pt x="396" y="252"/>
                  <a:pt x="396" y="252"/>
                  <a:pt x="396" y="252"/>
                </a:cubicBezTo>
                <a:cubicBezTo>
                  <a:pt x="396" y="251"/>
                  <a:pt x="396" y="251"/>
                  <a:pt x="396" y="251"/>
                </a:cubicBezTo>
                <a:cubicBezTo>
                  <a:pt x="396" y="251"/>
                  <a:pt x="396" y="251"/>
                  <a:pt x="396" y="251"/>
                </a:cubicBezTo>
                <a:cubicBezTo>
                  <a:pt x="395" y="252"/>
                  <a:pt x="395" y="252"/>
                  <a:pt x="395" y="252"/>
                </a:cubicBezTo>
                <a:cubicBezTo>
                  <a:pt x="395" y="252"/>
                  <a:pt x="395" y="252"/>
                  <a:pt x="395" y="252"/>
                </a:cubicBezTo>
                <a:cubicBezTo>
                  <a:pt x="394" y="252"/>
                  <a:pt x="394" y="252"/>
                  <a:pt x="394" y="252"/>
                </a:cubicBezTo>
                <a:close/>
                <a:moveTo>
                  <a:pt x="361" y="298"/>
                </a:moveTo>
                <a:cubicBezTo>
                  <a:pt x="362" y="298"/>
                  <a:pt x="362" y="298"/>
                  <a:pt x="362" y="298"/>
                </a:cubicBezTo>
                <a:cubicBezTo>
                  <a:pt x="363" y="298"/>
                  <a:pt x="363" y="298"/>
                  <a:pt x="363" y="298"/>
                </a:cubicBezTo>
                <a:cubicBezTo>
                  <a:pt x="362" y="297"/>
                  <a:pt x="362" y="297"/>
                  <a:pt x="362" y="297"/>
                </a:cubicBezTo>
                <a:cubicBezTo>
                  <a:pt x="361" y="297"/>
                  <a:pt x="361" y="297"/>
                  <a:pt x="361" y="297"/>
                </a:cubicBezTo>
                <a:cubicBezTo>
                  <a:pt x="361" y="298"/>
                  <a:pt x="361" y="298"/>
                  <a:pt x="361" y="298"/>
                </a:cubicBezTo>
                <a:close/>
                <a:moveTo>
                  <a:pt x="343" y="267"/>
                </a:moveTo>
                <a:cubicBezTo>
                  <a:pt x="343" y="268"/>
                  <a:pt x="343" y="268"/>
                  <a:pt x="343" y="268"/>
                </a:cubicBezTo>
                <a:cubicBezTo>
                  <a:pt x="344" y="268"/>
                  <a:pt x="344" y="268"/>
                  <a:pt x="344" y="268"/>
                </a:cubicBezTo>
                <a:cubicBezTo>
                  <a:pt x="344" y="268"/>
                  <a:pt x="344" y="268"/>
                  <a:pt x="344" y="268"/>
                </a:cubicBezTo>
                <a:cubicBezTo>
                  <a:pt x="343" y="267"/>
                  <a:pt x="343" y="267"/>
                  <a:pt x="343" y="267"/>
                </a:cubicBezTo>
                <a:cubicBezTo>
                  <a:pt x="343" y="267"/>
                  <a:pt x="343" y="267"/>
                  <a:pt x="343" y="267"/>
                </a:cubicBezTo>
                <a:cubicBezTo>
                  <a:pt x="343" y="267"/>
                  <a:pt x="343" y="267"/>
                  <a:pt x="343" y="267"/>
                </a:cubicBezTo>
                <a:close/>
                <a:moveTo>
                  <a:pt x="338" y="274"/>
                </a:moveTo>
                <a:cubicBezTo>
                  <a:pt x="338" y="274"/>
                  <a:pt x="338" y="274"/>
                  <a:pt x="338" y="274"/>
                </a:cubicBezTo>
                <a:cubicBezTo>
                  <a:pt x="338" y="273"/>
                  <a:pt x="338" y="273"/>
                  <a:pt x="338" y="273"/>
                </a:cubicBezTo>
                <a:cubicBezTo>
                  <a:pt x="337" y="272"/>
                  <a:pt x="337" y="272"/>
                  <a:pt x="337" y="272"/>
                </a:cubicBezTo>
                <a:cubicBezTo>
                  <a:pt x="337" y="271"/>
                  <a:pt x="337" y="271"/>
                  <a:pt x="337" y="271"/>
                </a:cubicBezTo>
                <a:cubicBezTo>
                  <a:pt x="336" y="270"/>
                  <a:pt x="336" y="270"/>
                  <a:pt x="336" y="270"/>
                </a:cubicBezTo>
                <a:cubicBezTo>
                  <a:pt x="336" y="270"/>
                  <a:pt x="336" y="270"/>
                  <a:pt x="336" y="270"/>
                </a:cubicBezTo>
                <a:cubicBezTo>
                  <a:pt x="336" y="268"/>
                  <a:pt x="336" y="268"/>
                  <a:pt x="336" y="268"/>
                </a:cubicBezTo>
                <a:cubicBezTo>
                  <a:pt x="336" y="268"/>
                  <a:pt x="336" y="268"/>
                  <a:pt x="336" y="268"/>
                </a:cubicBezTo>
                <a:cubicBezTo>
                  <a:pt x="336" y="269"/>
                  <a:pt x="336" y="269"/>
                  <a:pt x="336" y="269"/>
                </a:cubicBezTo>
                <a:cubicBezTo>
                  <a:pt x="338" y="269"/>
                  <a:pt x="338" y="269"/>
                  <a:pt x="338" y="269"/>
                </a:cubicBezTo>
                <a:cubicBezTo>
                  <a:pt x="338" y="270"/>
                  <a:pt x="338" y="270"/>
                  <a:pt x="338" y="270"/>
                </a:cubicBezTo>
                <a:cubicBezTo>
                  <a:pt x="339" y="271"/>
                  <a:pt x="339" y="271"/>
                  <a:pt x="339" y="271"/>
                </a:cubicBezTo>
                <a:cubicBezTo>
                  <a:pt x="339" y="273"/>
                  <a:pt x="339" y="273"/>
                  <a:pt x="339" y="273"/>
                </a:cubicBezTo>
                <a:cubicBezTo>
                  <a:pt x="340" y="273"/>
                  <a:pt x="340" y="273"/>
                  <a:pt x="340" y="273"/>
                </a:cubicBezTo>
                <a:cubicBezTo>
                  <a:pt x="341" y="273"/>
                  <a:pt x="341" y="273"/>
                  <a:pt x="341" y="273"/>
                </a:cubicBezTo>
                <a:cubicBezTo>
                  <a:pt x="341" y="274"/>
                  <a:pt x="341" y="274"/>
                  <a:pt x="341" y="274"/>
                </a:cubicBezTo>
                <a:cubicBezTo>
                  <a:pt x="339" y="274"/>
                  <a:pt x="339" y="274"/>
                  <a:pt x="339" y="274"/>
                </a:cubicBezTo>
                <a:cubicBezTo>
                  <a:pt x="338" y="274"/>
                  <a:pt x="338" y="274"/>
                  <a:pt x="338" y="274"/>
                </a:cubicBezTo>
                <a:close/>
                <a:moveTo>
                  <a:pt x="331" y="274"/>
                </a:moveTo>
                <a:cubicBezTo>
                  <a:pt x="331" y="273"/>
                  <a:pt x="331" y="273"/>
                  <a:pt x="331" y="273"/>
                </a:cubicBezTo>
                <a:cubicBezTo>
                  <a:pt x="331" y="272"/>
                  <a:pt x="331" y="272"/>
                  <a:pt x="331" y="272"/>
                </a:cubicBezTo>
                <a:cubicBezTo>
                  <a:pt x="331" y="271"/>
                  <a:pt x="331" y="271"/>
                  <a:pt x="331" y="271"/>
                </a:cubicBezTo>
                <a:cubicBezTo>
                  <a:pt x="331" y="270"/>
                  <a:pt x="331" y="270"/>
                  <a:pt x="331" y="270"/>
                </a:cubicBezTo>
                <a:cubicBezTo>
                  <a:pt x="332" y="269"/>
                  <a:pt x="332" y="269"/>
                  <a:pt x="332" y="269"/>
                </a:cubicBezTo>
                <a:cubicBezTo>
                  <a:pt x="332" y="269"/>
                  <a:pt x="332" y="269"/>
                  <a:pt x="332" y="269"/>
                </a:cubicBezTo>
                <a:cubicBezTo>
                  <a:pt x="333" y="270"/>
                  <a:pt x="333" y="270"/>
                  <a:pt x="333" y="270"/>
                </a:cubicBezTo>
                <a:cubicBezTo>
                  <a:pt x="332" y="270"/>
                  <a:pt x="332" y="270"/>
                  <a:pt x="332" y="270"/>
                </a:cubicBezTo>
                <a:cubicBezTo>
                  <a:pt x="332" y="271"/>
                  <a:pt x="332" y="271"/>
                  <a:pt x="332" y="271"/>
                </a:cubicBezTo>
                <a:cubicBezTo>
                  <a:pt x="333" y="272"/>
                  <a:pt x="333" y="272"/>
                  <a:pt x="333" y="272"/>
                </a:cubicBezTo>
                <a:cubicBezTo>
                  <a:pt x="332" y="274"/>
                  <a:pt x="332" y="274"/>
                  <a:pt x="332" y="274"/>
                </a:cubicBezTo>
                <a:cubicBezTo>
                  <a:pt x="331" y="274"/>
                  <a:pt x="331" y="274"/>
                  <a:pt x="331" y="274"/>
                </a:cubicBezTo>
                <a:close/>
                <a:moveTo>
                  <a:pt x="331" y="244"/>
                </a:moveTo>
                <a:cubicBezTo>
                  <a:pt x="331" y="245"/>
                  <a:pt x="331" y="245"/>
                  <a:pt x="331" y="245"/>
                </a:cubicBezTo>
                <a:cubicBezTo>
                  <a:pt x="331" y="246"/>
                  <a:pt x="331" y="246"/>
                  <a:pt x="331" y="246"/>
                </a:cubicBezTo>
                <a:cubicBezTo>
                  <a:pt x="332" y="246"/>
                  <a:pt x="332" y="246"/>
                  <a:pt x="332" y="246"/>
                </a:cubicBezTo>
                <a:cubicBezTo>
                  <a:pt x="333" y="245"/>
                  <a:pt x="333" y="245"/>
                  <a:pt x="333" y="245"/>
                </a:cubicBezTo>
                <a:cubicBezTo>
                  <a:pt x="333" y="244"/>
                  <a:pt x="333" y="244"/>
                  <a:pt x="333" y="244"/>
                </a:cubicBezTo>
                <a:cubicBezTo>
                  <a:pt x="332" y="244"/>
                  <a:pt x="332" y="244"/>
                  <a:pt x="332" y="244"/>
                </a:cubicBezTo>
                <a:cubicBezTo>
                  <a:pt x="331" y="244"/>
                  <a:pt x="331" y="244"/>
                  <a:pt x="331" y="244"/>
                </a:cubicBezTo>
                <a:close/>
                <a:moveTo>
                  <a:pt x="331" y="244"/>
                </a:moveTo>
                <a:cubicBezTo>
                  <a:pt x="331" y="243"/>
                  <a:pt x="331" y="243"/>
                  <a:pt x="331" y="243"/>
                </a:cubicBezTo>
                <a:cubicBezTo>
                  <a:pt x="331" y="241"/>
                  <a:pt x="331" y="241"/>
                  <a:pt x="331" y="241"/>
                </a:cubicBezTo>
                <a:cubicBezTo>
                  <a:pt x="333" y="240"/>
                  <a:pt x="333" y="240"/>
                  <a:pt x="333" y="240"/>
                </a:cubicBezTo>
                <a:cubicBezTo>
                  <a:pt x="334" y="239"/>
                  <a:pt x="334" y="239"/>
                  <a:pt x="334" y="239"/>
                </a:cubicBezTo>
                <a:cubicBezTo>
                  <a:pt x="334" y="240"/>
                  <a:pt x="334" y="240"/>
                  <a:pt x="334" y="240"/>
                </a:cubicBezTo>
                <a:cubicBezTo>
                  <a:pt x="334" y="241"/>
                  <a:pt x="334" y="241"/>
                  <a:pt x="334" y="241"/>
                </a:cubicBezTo>
                <a:cubicBezTo>
                  <a:pt x="334" y="242"/>
                  <a:pt x="334" y="242"/>
                  <a:pt x="334" y="242"/>
                </a:cubicBezTo>
                <a:cubicBezTo>
                  <a:pt x="334" y="244"/>
                  <a:pt x="334" y="244"/>
                  <a:pt x="334" y="244"/>
                </a:cubicBezTo>
                <a:cubicBezTo>
                  <a:pt x="333" y="244"/>
                  <a:pt x="333" y="244"/>
                  <a:pt x="333" y="244"/>
                </a:cubicBezTo>
                <a:cubicBezTo>
                  <a:pt x="331" y="244"/>
                  <a:pt x="331" y="244"/>
                  <a:pt x="331" y="244"/>
                </a:cubicBezTo>
                <a:close/>
                <a:moveTo>
                  <a:pt x="271" y="231"/>
                </a:moveTo>
                <a:cubicBezTo>
                  <a:pt x="271" y="231"/>
                  <a:pt x="271" y="231"/>
                  <a:pt x="271" y="231"/>
                </a:cubicBezTo>
                <a:cubicBezTo>
                  <a:pt x="271" y="230"/>
                  <a:pt x="271" y="230"/>
                  <a:pt x="271" y="230"/>
                </a:cubicBezTo>
                <a:cubicBezTo>
                  <a:pt x="270" y="230"/>
                  <a:pt x="270" y="230"/>
                  <a:pt x="270" y="230"/>
                </a:cubicBezTo>
                <a:cubicBezTo>
                  <a:pt x="270" y="231"/>
                  <a:pt x="270" y="231"/>
                  <a:pt x="270" y="231"/>
                </a:cubicBezTo>
                <a:cubicBezTo>
                  <a:pt x="271" y="231"/>
                  <a:pt x="271" y="231"/>
                  <a:pt x="271" y="231"/>
                </a:cubicBezTo>
                <a:close/>
                <a:moveTo>
                  <a:pt x="219" y="217"/>
                </a:moveTo>
                <a:cubicBezTo>
                  <a:pt x="220" y="216"/>
                  <a:pt x="220" y="216"/>
                  <a:pt x="220" y="216"/>
                </a:cubicBezTo>
                <a:cubicBezTo>
                  <a:pt x="221" y="216"/>
                  <a:pt x="221" y="216"/>
                  <a:pt x="221" y="216"/>
                </a:cubicBezTo>
                <a:cubicBezTo>
                  <a:pt x="220" y="217"/>
                  <a:pt x="220" y="217"/>
                  <a:pt x="220" y="217"/>
                </a:cubicBezTo>
                <a:cubicBezTo>
                  <a:pt x="220" y="217"/>
                  <a:pt x="219" y="217"/>
                  <a:pt x="219" y="217"/>
                </a:cubicBezTo>
                <a:close/>
                <a:moveTo>
                  <a:pt x="215" y="219"/>
                </a:moveTo>
                <a:cubicBezTo>
                  <a:pt x="216" y="219"/>
                  <a:pt x="216" y="219"/>
                  <a:pt x="216" y="219"/>
                </a:cubicBezTo>
                <a:cubicBezTo>
                  <a:pt x="216" y="218"/>
                  <a:pt x="216" y="218"/>
                  <a:pt x="216" y="218"/>
                </a:cubicBezTo>
                <a:cubicBezTo>
                  <a:pt x="215" y="218"/>
                  <a:pt x="215" y="218"/>
                  <a:pt x="215" y="218"/>
                </a:cubicBezTo>
                <a:cubicBezTo>
                  <a:pt x="215" y="219"/>
                  <a:pt x="215" y="219"/>
                  <a:pt x="215" y="219"/>
                </a:cubicBezTo>
                <a:close/>
                <a:moveTo>
                  <a:pt x="217" y="223"/>
                </a:moveTo>
                <a:cubicBezTo>
                  <a:pt x="217" y="223"/>
                  <a:pt x="217" y="223"/>
                  <a:pt x="217" y="223"/>
                </a:cubicBezTo>
                <a:cubicBezTo>
                  <a:pt x="217" y="222"/>
                  <a:pt x="217" y="222"/>
                  <a:pt x="217" y="222"/>
                </a:cubicBezTo>
                <a:cubicBezTo>
                  <a:pt x="217" y="223"/>
                  <a:pt x="217" y="223"/>
                  <a:pt x="217" y="223"/>
                </a:cubicBezTo>
                <a:cubicBezTo>
                  <a:pt x="217" y="223"/>
                  <a:pt x="217" y="223"/>
                  <a:pt x="217" y="223"/>
                </a:cubicBezTo>
                <a:close/>
                <a:moveTo>
                  <a:pt x="217" y="224"/>
                </a:moveTo>
                <a:cubicBezTo>
                  <a:pt x="216" y="222"/>
                  <a:pt x="216" y="222"/>
                  <a:pt x="216" y="222"/>
                </a:cubicBezTo>
                <a:cubicBezTo>
                  <a:pt x="216" y="223"/>
                  <a:pt x="216" y="223"/>
                  <a:pt x="216" y="223"/>
                </a:cubicBezTo>
                <a:cubicBezTo>
                  <a:pt x="216" y="223"/>
                  <a:pt x="216" y="223"/>
                  <a:pt x="216" y="223"/>
                </a:cubicBezTo>
                <a:cubicBezTo>
                  <a:pt x="217" y="224"/>
                  <a:pt x="217" y="224"/>
                  <a:pt x="217" y="224"/>
                </a:cubicBezTo>
                <a:close/>
                <a:moveTo>
                  <a:pt x="219" y="227"/>
                </a:moveTo>
                <a:cubicBezTo>
                  <a:pt x="219" y="228"/>
                  <a:pt x="219" y="228"/>
                  <a:pt x="219" y="228"/>
                </a:cubicBezTo>
                <a:cubicBezTo>
                  <a:pt x="220" y="228"/>
                  <a:pt x="220" y="228"/>
                  <a:pt x="220" y="228"/>
                </a:cubicBezTo>
                <a:cubicBezTo>
                  <a:pt x="221" y="227"/>
                  <a:pt x="221" y="227"/>
                  <a:pt x="221" y="227"/>
                </a:cubicBezTo>
                <a:cubicBezTo>
                  <a:pt x="220" y="227"/>
                  <a:pt x="220" y="227"/>
                  <a:pt x="220" y="227"/>
                </a:cubicBezTo>
                <a:cubicBezTo>
                  <a:pt x="221" y="226"/>
                  <a:pt x="221" y="226"/>
                  <a:pt x="221" y="226"/>
                </a:cubicBezTo>
                <a:cubicBezTo>
                  <a:pt x="220" y="226"/>
                  <a:pt x="220" y="226"/>
                  <a:pt x="220" y="226"/>
                </a:cubicBezTo>
                <a:cubicBezTo>
                  <a:pt x="220" y="227"/>
                  <a:pt x="220" y="227"/>
                  <a:pt x="220" y="227"/>
                </a:cubicBezTo>
                <a:cubicBezTo>
                  <a:pt x="220" y="226"/>
                  <a:pt x="220" y="226"/>
                  <a:pt x="220" y="226"/>
                </a:cubicBezTo>
                <a:cubicBezTo>
                  <a:pt x="219" y="227"/>
                  <a:pt x="219" y="227"/>
                  <a:pt x="219" y="227"/>
                </a:cubicBezTo>
                <a:close/>
                <a:moveTo>
                  <a:pt x="217" y="234"/>
                </a:moveTo>
                <a:cubicBezTo>
                  <a:pt x="217" y="232"/>
                  <a:pt x="217" y="232"/>
                  <a:pt x="217" y="232"/>
                </a:cubicBezTo>
                <a:cubicBezTo>
                  <a:pt x="217" y="232"/>
                  <a:pt x="217" y="232"/>
                  <a:pt x="217" y="232"/>
                </a:cubicBezTo>
                <a:cubicBezTo>
                  <a:pt x="217" y="231"/>
                  <a:pt x="217" y="231"/>
                  <a:pt x="217" y="231"/>
                </a:cubicBezTo>
                <a:cubicBezTo>
                  <a:pt x="218" y="229"/>
                  <a:pt x="218" y="229"/>
                  <a:pt x="218" y="229"/>
                </a:cubicBezTo>
                <a:cubicBezTo>
                  <a:pt x="219" y="230"/>
                  <a:pt x="219" y="230"/>
                  <a:pt x="219" y="230"/>
                </a:cubicBezTo>
                <a:cubicBezTo>
                  <a:pt x="218" y="231"/>
                  <a:pt x="218" y="231"/>
                  <a:pt x="218" y="231"/>
                </a:cubicBezTo>
                <a:cubicBezTo>
                  <a:pt x="219" y="231"/>
                  <a:pt x="219" y="231"/>
                  <a:pt x="219" y="231"/>
                </a:cubicBezTo>
                <a:cubicBezTo>
                  <a:pt x="219" y="232"/>
                  <a:pt x="219" y="232"/>
                  <a:pt x="219" y="232"/>
                </a:cubicBezTo>
                <a:cubicBezTo>
                  <a:pt x="219" y="233"/>
                  <a:pt x="219" y="233"/>
                  <a:pt x="219" y="233"/>
                </a:cubicBezTo>
                <a:cubicBezTo>
                  <a:pt x="218" y="233"/>
                  <a:pt x="218" y="233"/>
                  <a:pt x="218" y="233"/>
                </a:cubicBezTo>
                <a:cubicBezTo>
                  <a:pt x="218" y="234"/>
                  <a:pt x="218" y="234"/>
                  <a:pt x="218" y="234"/>
                </a:cubicBezTo>
                <a:cubicBezTo>
                  <a:pt x="217" y="234"/>
                  <a:pt x="217" y="234"/>
                  <a:pt x="217" y="234"/>
                </a:cubicBezTo>
                <a:close/>
                <a:moveTo>
                  <a:pt x="264" y="206"/>
                </a:moveTo>
                <a:cubicBezTo>
                  <a:pt x="264" y="205"/>
                  <a:pt x="264" y="205"/>
                  <a:pt x="264" y="205"/>
                </a:cubicBezTo>
                <a:cubicBezTo>
                  <a:pt x="264" y="205"/>
                  <a:pt x="264" y="205"/>
                  <a:pt x="264" y="205"/>
                </a:cubicBezTo>
                <a:cubicBezTo>
                  <a:pt x="264" y="205"/>
                  <a:pt x="264" y="205"/>
                  <a:pt x="264" y="205"/>
                </a:cubicBezTo>
                <a:cubicBezTo>
                  <a:pt x="264" y="206"/>
                  <a:pt x="264" y="206"/>
                  <a:pt x="264" y="206"/>
                </a:cubicBezTo>
                <a:cubicBezTo>
                  <a:pt x="264" y="206"/>
                  <a:pt x="264" y="206"/>
                  <a:pt x="264" y="206"/>
                </a:cubicBezTo>
                <a:close/>
                <a:moveTo>
                  <a:pt x="279" y="196"/>
                </a:moveTo>
                <a:cubicBezTo>
                  <a:pt x="279" y="195"/>
                  <a:pt x="279" y="195"/>
                  <a:pt x="279" y="195"/>
                </a:cubicBezTo>
                <a:cubicBezTo>
                  <a:pt x="279" y="194"/>
                  <a:pt x="279" y="194"/>
                  <a:pt x="279" y="194"/>
                </a:cubicBezTo>
                <a:cubicBezTo>
                  <a:pt x="279" y="193"/>
                  <a:pt x="279" y="193"/>
                  <a:pt x="279" y="193"/>
                </a:cubicBezTo>
                <a:cubicBezTo>
                  <a:pt x="280" y="192"/>
                  <a:pt x="280" y="192"/>
                  <a:pt x="280" y="192"/>
                </a:cubicBezTo>
                <a:cubicBezTo>
                  <a:pt x="280" y="193"/>
                  <a:pt x="280" y="193"/>
                  <a:pt x="280" y="193"/>
                </a:cubicBezTo>
                <a:cubicBezTo>
                  <a:pt x="280" y="193"/>
                  <a:pt x="280" y="193"/>
                  <a:pt x="280" y="193"/>
                </a:cubicBezTo>
                <a:cubicBezTo>
                  <a:pt x="281" y="194"/>
                  <a:pt x="281" y="194"/>
                  <a:pt x="281" y="194"/>
                </a:cubicBezTo>
                <a:cubicBezTo>
                  <a:pt x="280" y="195"/>
                  <a:pt x="280" y="195"/>
                  <a:pt x="280" y="195"/>
                </a:cubicBezTo>
                <a:cubicBezTo>
                  <a:pt x="280" y="196"/>
                  <a:pt x="280" y="196"/>
                  <a:pt x="280" y="196"/>
                </a:cubicBezTo>
                <a:cubicBezTo>
                  <a:pt x="279" y="196"/>
                  <a:pt x="279" y="196"/>
                  <a:pt x="279" y="196"/>
                </a:cubicBezTo>
                <a:close/>
                <a:moveTo>
                  <a:pt x="262" y="215"/>
                </a:moveTo>
                <a:cubicBezTo>
                  <a:pt x="262" y="215"/>
                  <a:pt x="262" y="215"/>
                  <a:pt x="262" y="215"/>
                </a:cubicBezTo>
                <a:cubicBezTo>
                  <a:pt x="262" y="214"/>
                  <a:pt x="262" y="214"/>
                  <a:pt x="262" y="214"/>
                </a:cubicBezTo>
                <a:cubicBezTo>
                  <a:pt x="263" y="213"/>
                  <a:pt x="263" y="213"/>
                  <a:pt x="263" y="213"/>
                </a:cubicBezTo>
                <a:cubicBezTo>
                  <a:pt x="263" y="213"/>
                  <a:pt x="263" y="213"/>
                  <a:pt x="263" y="213"/>
                </a:cubicBezTo>
                <a:cubicBezTo>
                  <a:pt x="263" y="212"/>
                  <a:pt x="263" y="212"/>
                  <a:pt x="263" y="212"/>
                </a:cubicBezTo>
                <a:cubicBezTo>
                  <a:pt x="263" y="211"/>
                  <a:pt x="263" y="211"/>
                  <a:pt x="263" y="211"/>
                </a:cubicBezTo>
                <a:cubicBezTo>
                  <a:pt x="262" y="211"/>
                  <a:pt x="262" y="211"/>
                  <a:pt x="262" y="211"/>
                </a:cubicBezTo>
                <a:cubicBezTo>
                  <a:pt x="262" y="210"/>
                  <a:pt x="262" y="210"/>
                  <a:pt x="262" y="210"/>
                </a:cubicBezTo>
                <a:cubicBezTo>
                  <a:pt x="262" y="209"/>
                  <a:pt x="262" y="209"/>
                  <a:pt x="262" y="209"/>
                </a:cubicBezTo>
                <a:cubicBezTo>
                  <a:pt x="263" y="209"/>
                  <a:pt x="263" y="209"/>
                  <a:pt x="263" y="209"/>
                </a:cubicBezTo>
                <a:cubicBezTo>
                  <a:pt x="263" y="208"/>
                  <a:pt x="263" y="208"/>
                  <a:pt x="263" y="208"/>
                </a:cubicBezTo>
                <a:cubicBezTo>
                  <a:pt x="262" y="207"/>
                  <a:pt x="262" y="207"/>
                  <a:pt x="262" y="207"/>
                </a:cubicBezTo>
                <a:cubicBezTo>
                  <a:pt x="261" y="207"/>
                  <a:pt x="261" y="207"/>
                  <a:pt x="261" y="207"/>
                </a:cubicBezTo>
                <a:cubicBezTo>
                  <a:pt x="261" y="208"/>
                  <a:pt x="261" y="208"/>
                  <a:pt x="261" y="208"/>
                </a:cubicBezTo>
                <a:cubicBezTo>
                  <a:pt x="261" y="209"/>
                  <a:pt x="261" y="209"/>
                  <a:pt x="261" y="209"/>
                </a:cubicBezTo>
                <a:cubicBezTo>
                  <a:pt x="260" y="208"/>
                  <a:pt x="260" y="208"/>
                  <a:pt x="260" y="208"/>
                </a:cubicBezTo>
                <a:cubicBezTo>
                  <a:pt x="259" y="208"/>
                  <a:pt x="259" y="208"/>
                  <a:pt x="259" y="208"/>
                </a:cubicBezTo>
                <a:cubicBezTo>
                  <a:pt x="257" y="210"/>
                  <a:pt x="257" y="210"/>
                  <a:pt x="257" y="210"/>
                </a:cubicBezTo>
                <a:cubicBezTo>
                  <a:pt x="256" y="210"/>
                  <a:pt x="256" y="210"/>
                  <a:pt x="256" y="210"/>
                </a:cubicBezTo>
                <a:cubicBezTo>
                  <a:pt x="256" y="210"/>
                  <a:pt x="256" y="210"/>
                  <a:pt x="256" y="210"/>
                </a:cubicBezTo>
                <a:cubicBezTo>
                  <a:pt x="257" y="209"/>
                  <a:pt x="257" y="209"/>
                  <a:pt x="257" y="209"/>
                </a:cubicBezTo>
                <a:cubicBezTo>
                  <a:pt x="258" y="208"/>
                  <a:pt x="258" y="208"/>
                  <a:pt x="258" y="208"/>
                </a:cubicBezTo>
                <a:cubicBezTo>
                  <a:pt x="258" y="207"/>
                  <a:pt x="258" y="207"/>
                  <a:pt x="258" y="207"/>
                </a:cubicBezTo>
                <a:cubicBezTo>
                  <a:pt x="257" y="208"/>
                  <a:pt x="257" y="208"/>
                  <a:pt x="257" y="208"/>
                </a:cubicBezTo>
                <a:cubicBezTo>
                  <a:pt x="257" y="207"/>
                  <a:pt x="257" y="207"/>
                  <a:pt x="257" y="207"/>
                </a:cubicBezTo>
                <a:cubicBezTo>
                  <a:pt x="257" y="206"/>
                  <a:pt x="257" y="206"/>
                  <a:pt x="257" y="206"/>
                </a:cubicBezTo>
                <a:cubicBezTo>
                  <a:pt x="258" y="206"/>
                  <a:pt x="258" y="206"/>
                  <a:pt x="258" y="206"/>
                </a:cubicBezTo>
                <a:cubicBezTo>
                  <a:pt x="257" y="204"/>
                  <a:pt x="257" y="204"/>
                  <a:pt x="257" y="204"/>
                </a:cubicBezTo>
                <a:cubicBezTo>
                  <a:pt x="258" y="203"/>
                  <a:pt x="258" y="203"/>
                  <a:pt x="258" y="203"/>
                </a:cubicBezTo>
                <a:cubicBezTo>
                  <a:pt x="259" y="203"/>
                  <a:pt x="259" y="203"/>
                  <a:pt x="259" y="203"/>
                </a:cubicBezTo>
                <a:cubicBezTo>
                  <a:pt x="258" y="204"/>
                  <a:pt x="258" y="204"/>
                  <a:pt x="258" y="204"/>
                </a:cubicBezTo>
                <a:cubicBezTo>
                  <a:pt x="259" y="205"/>
                  <a:pt x="259" y="205"/>
                  <a:pt x="259" y="205"/>
                </a:cubicBezTo>
                <a:cubicBezTo>
                  <a:pt x="260" y="206"/>
                  <a:pt x="260" y="206"/>
                  <a:pt x="260" y="206"/>
                </a:cubicBezTo>
                <a:cubicBezTo>
                  <a:pt x="260" y="206"/>
                  <a:pt x="260" y="206"/>
                  <a:pt x="260" y="206"/>
                </a:cubicBezTo>
                <a:cubicBezTo>
                  <a:pt x="262" y="206"/>
                  <a:pt x="262" y="206"/>
                  <a:pt x="262" y="206"/>
                </a:cubicBezTo>
                <a:cubicBezTo>
                  <a:pt x="262" y="205"/>
                  <a:pt x="262" y="205"/>
                  <a:pt x="262" y="205"/>
                </a:cubicBezTo>
                <a:cubicBezTo>
                  <a:pt x="262" y="204"/>
                  <a:pt x="262" y="204"/>
                  <a:pt x="262" y="204"/>
                </a:cubicBezTo>
                <a:cubicBezTo>
                  <a:pt x="262" y="203"/>
                  <a:pt x="262" y="203"/>
                  <a:pt x="262" y="203"/>
                </a:cubicBezTo>
                <a:cubicBezTo>
                  <a:pt x="262" y="203"/>
                  <a:pt x="262" y="203"/>
                  <a:pt x="262" y="203"/>
                </a:cubicBezTo>
                <a:cubicBezTo>
                  <a:pt x="263" y="204"/>
                  <a:pt x="263" y="204"/>
                  <a:pt x="263" y="204"/>
                </a:cubicBezTo>
                <a:cubicBezTo>
                  <a:pt x="264" y="204"/>
                  <a:pt x="264" y="204"/>
                  <a:pt x="264" y="204"/>
                </a:cubicBezTo>
                <a:cubicBezTo>
                  <a:pt x="264" y="203"/>
                  <a:pt x="264" y="203"/>
                  <a:pt x="264" y="203"/>
                </a:cubicBezTo>
                <a:cubicBezTo>
                  <a:pt x="265" y="201"/>
                  <a:pt x="265" y="201"/>
                  <a:pt x="265" y="201"/>
                </a:cubicBezTo>
                <a:cubicBezTo>
                  <a:pt x="265" y="203"/>
                  <a:pt x="265" y="203"/>
                  <a:pt x="265" y="203"/>
                </a:cubicBezTo>
                <a:cubicBezTo>
                  <a:pt x="266" y="203"/>
                  <a:pt x="266" y="203"/>
                  <a:pt x="266" y="203"/>
                </a:cubicBezTo>
                <a:cubicBezTo>
                  <a:pt x="267" y="202"/>
                  <a:pt x="267" y="202"/>
                  <a:pt x="267" y="202"/>
                </a:cubicBezTo>
                <a:cubicBezTo>
                  <a:pt x="266" y="204"/>
                  <a:pt x="266" y="204"/>
                  <a:pt x="266" y="204"/>
                </a:cubicBezTo>
                <a:cubicBezTo>
                  <a:pt x="266" y="205"/>
                  <a:pt x="266" y="205"/>
                  <a:pt x="266" y="205"/>
                </a:cubicBezTo>
                <a:cubicBezTo>
                  <a:pt x="266" y="205"/>
                  <a:pt x="266" y="205"/>
                  <a:pt x="266" y="205"/>
                </a:cubicBezTo>
                <a:cubicBezTo>
                  <a:pt x="267" y="205"/>
                  <a:pt x="267" y="205"/>
                  <a:pt x="267" y="205"/>
                </a:cubicBezTo>
                <a:cubicBezTo>
                  <a:pt x="266" y="206"/>
                  <a:pt x="266" y="206"/>
                  <a:pt x="266" y="206"/>
                </a:cubicBezTo>
                <a:cubicBezTo>
                  <a:pt x="267" y="206"/>
                  <a:pt x="267" y="206"/>
                  <a:pt x="267" y="206"/>
                </a:cubicBezTo>
                <a:cubicBezTo>
                  <a:pt x="268" y="205"/>
                  <a:pt x="268" y="205"/>
                  <a:pt x="268" y="205"/>
                </a:cubicBezTo>
                <a:cubicBezTo>
                  <a:pt x="268" y="204"/>
                  <a:pt x="268" y="204"/>
                  <a:pt x="268" y="204"/>
                </a:cubicBezTo>
                <a:cubicBezTo>
                  <a:pt x="269" y="203"/>
                  <a:pt x="269" y="203"/>
                  <a:pt x="269" y="203"/>
                </a:cubicBezTo>
                <a:cubicBezTo>
                  <a:pt x="270" y="202"/>
                  <a:pt x="270" y="202"/>
                  <a:pt x="270" y="202"/>
                </a:cubicBezTo>
                <a:cubicBezTo>
                  <a:pt x="270" y="204"/>
                  <a:pt x="270" y="204"/>
                  <a:pt x="270" y="204"/>
                </a:cubicBezTo>
                <a:cubicBezTo>
                  <a:pt x="269" y="205"/>
                  <a:pt x="269" y="205"/>
                  <a:pt x="269" y="205"/>
                </a:cubicBezTo>
                <a:cubicBezTo>
                  <a:pt x="269" y="207"/>
                  <a:pt x="269" y="207"/>
                  <a:pt x="269" y="207"/>
                </a:cubicBezTo>
                <a:cubicBezTo>
                  <a:pt x="270" y="207"/>
                  <a:pt x="270" y="207"/>
                  <a:pt x="270" y="207"/>
                </a:cubicBezTo>
                <a:cubicBezTo>
                  <a:pt x="271" y="207"/>
                  <a:pt x="271" y="207"/>
                  <a:pt x="271" y="207"/>
                </a:cubicBezTo>
                <a:cubicBezTo>
                  <a:pt x="271" y="206"/>
                  <a:pt x="271" y="206"/>
                  <a:pt x="271" y="206"/>
                </a:cubicBezTo>
                <a:cubicBezTo>
                  <a:pt x="273" y="205"/>
                  <a:pt x="273" y="205"/>
                  <a:pt x="273" y="205"/>
                </a:cubicBezTo>
                <a:cubicBezTo>
                  <a:pt x="273" y="203"/>
                  <a:pt x="273" y="203"/>
                  <a:pt x="273" y="203"/>
                </a:cubicBezTo>
                <a:cubicBezTo>
                  <a:pt x="274" y="202"/>
                  <a:pt x="274" y="202"/>
                  <a:pt x="274" y="202"/>
                </a:cubicBezTo>
                <a:cubicBezTo>
                  <a:pt x="273" y="201"/>
                  <a:pt x="273" y="201"/>
                  <a:pt x="273" y="201"/>
                </a:cubicBezTo>
                <a:cubicBezTo>
                  <a:pt x="274" y="200"/>
                  <a:pt x="274" y="200"/>
                  <a:pt x="274" y="200"/>
                </a:cubicBezTo>
                <a:cubicBezTo>
                  <a:pt x="274" y="199"/>
                  <a:pt x="274" y="199"/>
                  <a:pt x="274" y="199"/>
                </a:cubicBezTo>
                <a:cubicBezTo>
                  <a:pt x="273" y="200"/>
                  <a:pt x="273" y="200"/>
                  <a:pt x="273" y="200"/>
                </a:cubicBezTo>
                <a:cubicBezTo>
                  <a:pt x="272" y="199"/>
                  <a:pt x="272" y="199"/>
                  <a:pt x="272" y="199"/>
                </a:cubicBezTo>
                <a:cubicBezTo>
                  <a:pt x="271" y="200"/>
                  <a:pt x="271" y="200"/>
                  <a:pt x="271" y="200"/>
                </a:cubicBezTo>
                <a:cubicBezTo>
                  <a:pt x="271" y="198"/>
                  <a:pt x="271" y="198"/>
                  <a:pt x="271" y="198"/>
                </a:cubicBezTo>
                <a:cubicBezTo>
                  <a:pt x="272" y="198"/>
                  <a:pt x="272" y="198"/>
                  <a:pt x="272" y="198"/>
                </a:cubicBezTo>
                <a:cubicBezTo>
                  <a:pt x="272" y="197"/>
                  <a:pt x="272" y="197"/>
                  <a:pt x="272" y="197"/>
                </a:cubicBezTo>
                <a:cubicBezTo>
                  <a:pt x="270" y="198"/>
                  <a:pt x="270" y="198"/>
                  <a:pt x="270" y="198"/>
                </a:cubicBezTo>
                <a:cubicBezTo>
                  <a:pt x="270" y="197"/>
                  <a:pt x="270" y="197"/>
                  <a:pt x="270" y="197"/>
                </a:cubicBezTo>
                <a:cubicBezTo>
                  <a:pt x="269" y="196"/>
                  <a:pt x="269" y="196"/>
                  <a:pt x="269" y="196"/>
                </a:cubicBezTo>
                <a:cubicBezTo>
                  <a:pt x="269" y="195"/>
                  <a:pt x="269" y="195"/>
                  <a:pt x="269" y="195"/>
                </a:cubicBezTo>
                <a:cubicBezTo>
                  <a:pt x="268" y="193"/>
                  <a:pt x="268" y="193"/>
                  <a:pt x="268" y="193"/>
                </a:cubicBezTo>
                <a:cubicBezTo>
                  <a:pt x="268" y="192"/>
                  <a:pt x="268" y="192"/>
                  <a:pt x="268" y="192"/>
                </a:cubicBezTo>
                <a:cubicBezTo>
                  <a:pt x="269" y="190"/>
                  <a:pt x="269" y="190"/>
                  <a:pt x="269" y="190"/>
                </a:cubicBezTo>
                <a:cubicBezTo>
                  <a:pt x="268" y="189"/>
                  <a:pt x="268" y="189"/>
                  <a:pt x="268" y="189"/>
                </a:cubicBezTo>
                <a:cubicBezTo>
                  <a:pt x="267" y="190"/>
                  <a:pt x="267" y="190"/>
                  <a:pt x="267" y="190"/>
                </a:cubicBezTo>
                <a:cubicBezTo>
                  <a:pt x="267" y="191"/>
                  <a:pt x="267" y="191"/>
                  <a:pt x="267" y="191"/>
                </a:cubicBezTo>
                <a:cubicBezTo>
                  <a:pt x="267" y="190"/>
                  <a:pt x="267" y="190"/>
                  <a:pt x="267" y="190"/>
                </a:cubicBezTo>
                <a:cubicBezTo>
                  <a:pt x="265" y="189"/>
                  <a:pt x="265" y="189"/>
                  <a:pt x="265" y="189"/>
                </a:cubicBezTo>
                <a:cubicBezTo>
                  <a:pt x="265" y="187"/>
                  <a:pt x="265" y="187"/>
                  <a:pt x="265" y="187"/>
                </a:cubicBezTo>
                <a:cubicBezTo>
                  <a:pt x="264" y="186"/>
                  <a:pt x="264" y="186"/>
                  <a:pt x="264" y="186"/>
                </a:cubicBezTo>
                <a:cubicBezTo>
                  <a:pt x="264" y="184"/>
                  <a:pt x="264" y="184"/>
                  <a:pt x="264" y="184"/>
                </a:cubicBezTo>
                <a:cubicBezTo>
                  <a:pt x="263" y="183"/>
                  <a:pt x="263" y="183"/>
                  <a:pt x="263" y="183"/>
                </a:cubicBezTo>
                <a:cubicBezTo>
                  <a:pt x="263" y="182"/>
                  <a:pt x="263" y="182"/>
                  <a:pt x="263" y="182"/>
                </a:cubicBezTo>
                <a:cubicBezTo>
                  <a:pt x="263" y="181"/>
                  <a:pt x="263" y="181"/>
                  <a:pt x="263" y="181"/>
                </a:cubicBezTo>
                <a:cubicBezTo>
                  <a:pt x="263" y="180"/>
                  <a:pt x="263" y="180"/>
                  <a:pt x="263" y="180"/>
                </a:cubicBezTo>
                <a:cubicBezTo>
                  <a:pt x="264" y="180"/>
                  <a:pt x="264" y="180"/>
                  <a:pt x="264" y="180"/>
                </a:cubicBezTo>
                <a:cubicBezTo>
                  <a:pt x="264" y="179"/>
                  <a:pt x="264" y="179"/>
                  <a:pt x="264" y="179"/>
                </a:cubicBezTo>
                <a:cubicBezTo>
                  <a:pt x="265" y="179"/>
                  <a:pt x="265" y="179"/>
                  <a:pt x="265" y="179"/>
                </a:cubicBezTo>
                <a:cubicBezTo>
                  <a:pt x="265" y="179"/>
                  <a:pt x="265" y="179"/>
                  <a:pt x="265" y="179"/>
                </a:cubicBezTo>
                <a:cubicBezTo>
                  <a:pt x="266" y="178"/>
                  <a:pt x="266" y="178"/>
                  <a:pt x="266" y="178"/>
                </a:cubicBezTo>
                <a:cubicBezTo>
                  <a:pt x="266" y="177"/>
                  <a:pt x="266" y="177"/>
                  <a:pt x="266" y="177"/>
                </a:cubicBezTo>
                <a:cubicBezTo>
                  <a:pt x="267" y="175"/>
                  <a:pt x="267" y="175"/>
                  <a:pt x="267" y="175"/>
                </a:cubicBezTo>
                <a:cubicBezTo>
                  <a:pt x="267" y="173"/>
                  <a:pt x="267" y="173"/>
                  <a:pt x="267" y="173"/>
                </a:cubicBezTo>
                <a:cubicBezTo>
                  <a:pt x="267" y="173"/>
                  <a:pt x="267" y="173"/>
                  <a:pt x="267" y="173"/>
                </a:cubicBezTo>
                <a:cubicBezTo>
                  <a:pt x="267" y="171"/>
                  <a:pt x="267" y="171"/>
                  <a:pt x="267" y="171"/>
                </a:cubicBezTo>
                <a:cubicBezTo>
                  <a:pt x="267" y="169"/>
                  <a:pt x="267" y="169"/>
                  <a:pt x="267" y="169"/>
                </a:cubicBezTo>
                <a:cubicBezTo>
                  <a:pt x="268" y="169"/>
                  <a:pt x="268" y="169"/>
                  <a:pt x="268" y="169"/>
                </a:cubicBezTo>
                <a:cubicBezTo>
                  <a:pt x="268" y="167"/>
                  <a:pt x="268" y="167"/>
                  <a:pt x="268" y="167"/>
                </a:cubicBezTo>
                <a:cubicBezTo>
                  <a:pt x="269" y="166"/>
                  <a:pt x="269" y="166"/>
                  <a:pt x="269" y="166"/>
                </a:cubicBezTo>
                <a:cubicBezTo>
                  <a:pt x="269" y="164"/>
                  <a:pt x="269" y="164"/>
                  <a:pt x="269" y="164"/>
                </a:cubicBezTo>
                <a:cubicBezTo>
                  <a:pt x="270" y="164"/>
                  <a:pt x="270" y="164"/>
                  <a:pt x="270" y="164"/>
                </a:cubicBezTo>
                <a:cubicBezTo>
                  <a:pt x="270" y="161"/>
                  <a:pt x="270" y="161"/>
                  <a:pt x="270" y="161"/>
                </a:cubicBezTo>
                <a:cubicBezTo>
                  <a:pt x="271" y="161"/>
                  <a:pt x="271" y="161"/>
                  <a:pt x="271" y="161"/>
                </a:cubicBezTo>
                <a:cubicBezTo>
                  <a:pt x="271" y="160"/>
                  <a:pt x="271" y="160"/>
                  <a:pt x="271" y="160"/>
                </a:cubicBezTo>
                <a:cubicBezTo>
                  <a:pt x="272" y="158"/>
                  <a:pt x="272" y="158"/>
                  <a:pt x="272" y="158"/>
                </a:cubicBezTo>
                <a:cubicBezTo>
                  <a:pt x="272" y="157"/>
                  <a:pt x="272" y="157"/>
                  <a:pt x="272" y="157"/>
                </a:cubicBezTo>
                <a:cubicBezTo>
                  <a:pt x="272" y="156"/>
                  <a:pt x="272" y="156"/>
                  <a:pt x="272" y="156"/>
                </a:cubicBezTo>
                <a:cubicBezTo>
                  <a:pt x="273" y="156"/>
                  <a:pt x="273" y="156"/>
                  <a:pt x="273" y="156"/>
                </a:cubicBezTo>
                <a:cubicBezTo>
                  <a:pt x="273" y="155"/>
                  <a:pt x="273" y="155"/>
                  <a:pt x="273" y="155"/>
                </a:cubicBezTo>
                <a:cubicBezTo>
                  <a:pt x="272" y="153"/>
                  <a:pt x="272" y="153"/>
                  <a:pt x="272" y="153"/>
                </a:cubicBezTo>
                <a:cubicBezTo>
                  <a:pt x="273" y="152"/>
                  <a:pt x="273" y="152"/>
                  <a:pt x="273" y="152"/>
                </a:cubicBezTo>
                <a:cubicBezTo>
                  <a:pt x="273" y="152"/>
                  <a:pt x="273" y="152"/>
                  <a:pt x="273" y="152"/>
                </a:cubicBezTo>
                <a:cubicBezTo>
                  <a:pt x="271" y="151"/>
                  <a:pt x="271" y="151"/>
                  <a:pt x="271" y="151"/>
                </a:cubicBezTo>
                <a:cubicBezTo>
                  <a:pt x="271" y="149"/>
                  <a:pt x="271" y="149"/>
                  <a:pt x="271" y="149"/>
                </a:cubicBezTo>
                <a:cubicBezTo>
                  <a:pt x="271" y="149"/>
                  <a:pt x="271" y="149"/>
                  <a:pt x="271" y="149"/>
                </a:cubicBezTo>
                <a:cubicBezTo>
                  <a:pt x="270" y="146"/>
                  <a:pt x="270" y="146"/>
                  <a:pt x="270" y="146"/>
                </a:cubicBezTo>
                <a:cubicBezTo>
                  <a:pt x="269" y="146"/>
                  <a:pt x="269" y="146"/>
                  <a:pt x="269" y="146"/>
                </a:cubicBezTo>
                <a:cubicBezTo>
                  <a:pt x="269" y="146"/>
                  <a:pt x="269" y="146"/>
                  <a:pt x="269" y="146"/>
                </a:cubicBezTo>
                <a:cubicBezTo>
                  <a:pt x="268" y="146"/>
                  <a:pt x="268" y="146"/>
                  <a:pt x="268" y="146"/>
                </a:cubicBezTo>
                <a:cubicBezTo>
                  <a:pt x="268" y="147"/>
                  <a:pt x="268" y="147"/>
                  <a:pt x="268" y="147"/>
                </a:cubicBezTo>
                <a:cubicBezTo>
                  <a:pt x="268" y="147"/>
                  <a:pt x="268" y="147"/>
                  <a:pt x="268" y="147"/>
                </a:cubicBezTo>
                <a:cubicBezTo>
                  <a:pt x="266" y="145"/>
                  <a:pt x="266" y="145"/>
                  <a:pt x="266" y="145"/>
                </a:cubicBezTo>
                <a:cubicBezTo>
                  <a:pt x="265" y="145"/>
                  <a:pt x="265" y="145"/>
                  <a:pt x="265" y="145"/>
                </a:cubicBezTo>
                <a:cubicBezTo>
                  <a:pt x="265" y="144"/>
                  <a:pt x="265" y="144"/>
                  <a:pt x="265" y="144"/>
                </a:cubicBezTo>
                <a:cubicBezTo>
                  <a:pt x="264" y="144"/>
                  <a:pt x="264" y="144"/>
                  <a:pt x="264" y="144"/>
                </a:cubicBezTo>
                <a:cubicBezTo>
                  <a:pt x="264" y="146"/>
                  <a:pt x="264" y="146"/>
                  <a:pt x="264" y="146"/>
                </a:cubicBezTo>
                <a:cubicBezTo>
                  <a:pt x="264" y="146"/>
                  <a:pt x="264" y="146"/>
                  <a:pt x="264" y="146"/>
                </a:cubicBezTo>
                <a:cubicBezTo>
                  <a:pt x="263" y="146"/>
                  <a:pt x="263" y="146"/>
                  <a:pt x="263" y="146"/>
                </a:cubicBezTo>
                <a:cubicBezTo>
                  <a:pt x="262" y="147"/>
                  <a:pt x="262" y="147"/>
                  <a:pt x="262" y="147"/>
                </a:cubicBezTo>
                <a:cubicBezTo>
                  <a:pt x="262" y="148"/>
                  <a:pt x="262" y="148"/>
                  <a:pt x="262" y="148"/>
                </a:cubicBezTo>
                <a:cubicBezTo>
                  <a:pt x="261" y="149"/>
                  <a:pt x="261" y="149"/>
                  <a:pt x="261" y="149"/>
                </a:cubicBezTo>
                <a:cubicBezTo>
                  <a:pt x="260" y="152"/>
                  <a:pt x="260" y="152"/>
                  <a:pt x="260" y="152"/>
                </a:cubicBezTo>
                <a:cubicBezTo>
                  <a:pt x="260" y="153"/>
                  <a:pt x="260" y="153"/>
                  <a:pt x="260" y="153"/>
                </a:cubicBezTo>
                <a:cubicBezTo>
                  <a:pt x="260" y="154"/>
                  <a:pt x="260" y="154"/>
                  <a:pt x="260" y="154"/>
                </a:cubicBezTo>
                <a:cubicBezTo>
                  <a:pt x="259" y="155"/>
                  <a:pt x="259" y="155"/>
                  <a:pt x="259" y="155"/>
                </a:cubicBezTo>
                <a:cubicBezTo>
                  <a:pt x="259" y="156"/>
                  <a:pt x="259" y="156"/>
                  <a:pt x="259" y="156"/>
                </a:cubicBezTo>
                <a:cubicBezTo>
                  <a:pt x="259" y="157"/>
                  <a:pt x="259" y="157"/>
                  <a:pt x="259" y="157"/>
                </a:cubicBezTo>
                <a:cubicBezTo>
                  <a:pt x="258" y="157"/>
                  <a:pt x="258" y="157"/>
                  <a:pt x="258" y="157"/>
                </a:cubicBezTo>
                <a:cubicBezTo>
                  <a:pt x="258" y="160"/>
                  <a:pt x="258" y="160"/>
                  <a:pt x="258" y="160"/>
                </a:cubicBezTo>
                <a:cubicBezTo>
                  <a:pt x="257" y="161"/>
                  <a:pt x="257" y="161"/>
                  <a:pt x="257" y="161"/>
                </a:cubicBezTo>
                <a:cubicBezTo>
                  <a:pt x="256" y="160"/>
                  <a:pt x="256" y="160"/>
                  <a:pt x="256" y="160"/>
                </a:cubicBezTo>
                <a:cubicBezTo>
                  <a:pt x="256" y="162"/>
                  <a:pt x="256" y="162"/>
                  <a:pt x="256" y="162"/>
                </a:cubicBezTo>
                <a:cubicBezTo>
                  <a:pt x="256" y="163"/>
                  <a:pt x="256" y="163"/>
                  <a:pt x="256" y="163"/>
                </a:cubicBezTo>
                <a:cubicBezTo>
                  <a:pt x="256" y="164"/>
                  <a:pt x="256" y="164"/>
                  <a:pt x="256" y="164"/>
                </a:cubicBezTo>
                <a:cubicBezTo>
                  <a:pt x="255" y="166"/>
                  <a:pt x="255" y="166"/>
                  <a:pt x="255" y="166"/>
                </a:cubicBezTo>
                <a:cubicBezTo>
                  <a:pt x="255" y="167"/>
                  <a:pt x="255" y="167"/>
                  <a:pt x="255" y="167"/>
                </a:cubicBezTo>
                <a:cubicBezTo>
                  <a:pt x="255" y="168"/>
                  <a:pt x="255" y="168"/>
                  <a:pt x="255" y="168"/>
                </a:cubicBezTo>
                <a:cubicBezTo>
                  <a:pt x="255" y="169"/>
                  <a:pt x="255" y="169"/>
                  <a:pt x="255" y="169"/>
                </a:cubicBezTo>
                <a:cubicBezTo>
                  <a:pt x="254" y="169"/>
                  <a:pt x="254" y="169"/>
                  <a:pt x="254" y="169"/>
                </a:cubicBezTo>
                <a:cubicBezTo>
                  <a:pt x="254" y="169"/>
                  <a:pt x="254" y="169"/>
                  <a:pt x="254" y="169"/>
                </a:cubicBezTo>
                <a:cubicBezTo>
                  <a:pt x="255" y="170"/>
                  <a:pt x="255" y="170"/>
                  <a:pt x="255" y="170"/>
                </a:cubicBezTo>
                <a:cubicBezTo>
                  <a:pt x="255" y="171"/>
                  <a:pt x="255" y="171"/>
                  <a:pt x="255" y="171"/>
                </a:cubicBezTo>
                <a:cubicBezTo>
                  <a:pt x="255" y="170"/>
                  <a:pt x="255" y="170"/>
                  <a:pt x="255" y="170"/>
                </a:cubicBezTo>
                <a:cubicBezTo>
                  <a:pt x="254" y="171"/>
                  <a:pt x="254" y="171"/>
                  <a:pt x="254" y="171"/>
                </a:cubicBezTo>
                <a:cubicBezTo>
                  <a:pt x="253" y="171"/>
                  <a:pt x="253" y="171"/>
                  <a:pt x="253" y="171"/>
                </a:cubicBezTo>
                <a:cubicBezTo>
                  <a:pt x="252" y="171"/>
                  <a:pt x="252" y="171"/>
                  <a:pt x="252" y="171"/>
                </a:cubicBezTo>
                <a:cubicBezTo>
                  <a:pt x="251" y="172"/>
                  <a:pt x="251" y="172"/>
                  <a:pt x="251" y="172"/>
                </a:cubicBezTo>
                <a:cubicBezTo>
                  <a:pt x="252" y="173"/>
                  <a:pt x="252" y="173"/>
                  <a:pt x="252" y="173"/>
                </a:cubicBezTo>
                <a:cubicBezTo>
                  <a:pt x="251" y="173"/>
                  <a:pt x="251" y="173"/>
                  <a:pt x="251" y="173"/>
                </a:cubicBezTo>
                <a:cubicBezTo>
                  <a:pt x="250" y="173"/>
                  <a:pt x="250" y="173"/>
                  <a:pt x="250" y="173"/>
                </a:cubicBezTo>
                <a:cubicBezTo>
                  <a:pt x="250" y="172"/>
                  <a:pt x="250" y="172"/>
                  <a:pt x="250" y="172"/>
                </a:cubicBezTo>
                <a:cubicBezTo>
                  <a:pt x="250" y="171"/>
                  <a:pt x="250" y="171"/>
                  <a:pt x="250" y="171"/>
                </a:cubicBezTo>
                <a:cubicBezTo>
                  <a:pt x="250" y="170"/>
                  <a:pt x="250" y="170"/>
                  <a:pt x="250" y="170"/>
                </a:cubicBezTo>
                <a:cubicBezTo>
                  <a:pt x="250" y="168"/>
                  <a:pt x="250" y="168"/>
                  <a:pt x="250" y="168"/>
                </a:cubicBezTo>
                <a:cubicBezTo>
                  <a:pt x="251" y="166"/>
                  <a:pt x="251" y="166"/>
                  <a:pt x="251" y="166"/>
                </a:cubicBezTo>
                <a:cubicBezTo>
                  <a:pt x="251" y="165"/>
                  <a:pt x="251" y="165"/>
                  <a:pt x="251" y="165"/>
                </a:cubicBezTo>
                <a:cubicBezTo>
                  <a:pt x="252" y="164"/>
                  <a:pt x="252" y="164"/>
                  <a:pt x="252" y="164"/>
                </a:cubicBezTo>
                <a:cubicBezTo>
                  <a:pt x="252" y="163"/>
                  <a:pt x="252" y="163"/>
                  <a:pt x="252" y="163"/>
                </a:cubicBezTo>
                <a:cubicBezTo>
                  <a:pt x="252" y="162"/>
                  <a:pt x="252" y="162"/>
                  <a:pt x="252" y="162"/>
                </a:cubicBezTo>
                <a:cubicBezTo>
                  <a:pt x="253" y="159"/>
                  <a:pt x="253" y="159"/>
                  <a:pt x="253" y="159"/>
                </a:cubicBezTo>
                <a:cubicBezTo>
                  <a:pt x="254" y="158"/>
                  <a:pt x="254" y="158"/>
                  <a:pt x="254" y="158"/>
                </a:cubicBezTo>
                <a:cubicBezTo>
                  <a:pt x="254" y="157"/>
                  <a:pt x="254" y="157"/>
                  <a:pt x="254" y="157"/>
                </a:cubicBezTo>
                <a:cubicBezTo>
                  <a:pt x="254" y="157"/>
                  <a:pt x="254" y="157"/>
                  <a:pt x="254" y="157"/>
                </a:cubicBezTo>
                <a:cubicBezTo>
                  <a:pt x="253" y="157"/>
                  <a:pt x="253" y="157"/>
                  <a:pt x="253" y="157"/>
                </a:cubicBezTo>
                <a:cubicBezTo>
                  <a:pt x="253" y="156"/>
                  <a:pt x="253" y="156"/>
                  <a:pt x="253" y="156"/>
                </a:cubicBezTo>
                <a:cubicBezTo>
                  <a:pt x="254" y="155"/>
                  <a:pt x="254" y="155"/>
                  <a:pt x="254" y="155"/>
                </a:cubicBezTo>
                <a:cubicBezTo>
                  <a:pt x="254" y="153"/>
                  <a:pt x="254" y="153"/>
                  <a:pt x="254" y="153"/>
                </a:cubicBezTo>
                <a:cubicBezTo>
                  <a:pt x="253" y="152"/>
                  <a:pt x="253" y="152"/>
                  <a:pt x="253" y="152"/>
                </a:cubicBezTo>
                <a:cubicBezTo>
                  <a:pt x="253" y="151"/>
                  <a:pt x="253" y="151"/>
                  <a:pt x="253" y="151"/>
                </a:cubicBezTo>
                <a:cubicBezTo>
                  <a:pt x="253" y="150"/>
                  <a:pt x="253" y="150"/>
                  <a:pt x="253" y="150"/>
                </a:cubicBezTo>
                <a:cubicBezTo>
                  <a:pt x="253" y="149"/>
                  <a:pt x="253" y="149"/>
                  <a:pt x="253" y="149"/>
                </a:cubicBezTo>
                <a:cubicBezTo>
                  <a:pt x="252" y="149"/>
                  <a:pt x="252" y="149"/>
                  <a:pt x="252" y="149"/>
                </a:cubicBezTo>
                <a:cubicBezTo>
                  <a:pt x="251" y="147"/>
                  <a:pt x="251" y="147"/>
                  <a:pt x="251" y="147"/>
                </a:cubicBezTo>
                <a:cubicBezTo>
                  <a:pt x="250" y="148"/>
                  <a:pt x="250" y="148"/>
                  <a:pt x="250" y="148"/>
                </a:cubicBezTo>
                <a:cubicBezTo>
                  <a:pt x="249" y="149"/>
                  <a:pt x="249" y="149"/>
                  <a:pt x="249" y="149"/>
                </a:cubicBezTo>
                <a:cubicBezTo>
                  <a:pt x="250" y="150"/>
                  <a:pt x="250" y="150"/>
                  <a:pt x="250" y="150"/>
                </a:cubicBezTo>
                <a:cubicBezTo>
                  <a:pt x="250" y="151"/>
                  <a:pt x="250" y="151"/>
                  <a:pt x="250" y="151"/>
                </a:cubicBezTo>
                <a:cubicBezTo>
                  <a:pt x="251" y="152"/>
                  <a:pt x="251" y="152"/>
                  <a:pt x="251" y="152"/>
                </a:cubicBezTo>
                <a:cubicBezTo>
                  <a:pt x="251" y="153"/>
                  <a:pt x="251" y="153"/>
                  <a:pt x="251" y="153"/>
                </a:cubicBezTo>
                <a:cubicBezTo>
                  <a:pt x="250" y="153"/>
                  <a:pt x="250" y="153"/>
                  <a:pt x="250" y="153"/>
                </a:cubicBezTo>
                <a:cubicBezTo>
                  <a:pt x="250" y="151"/>
                  <a:pt x="250" y="151"/>
                  <a:pt x="250" y="151"/>
                </a:cubicBezTo>
                <a:cubicBezTo>
                  <a:pt x="249" y="151"/>
                  <a:pt x="249" y="151"/>
                  <a:pt x="249" y="151"/>
                </a:cubicBezTo>
                <a:cubicBezTo>
                  <a:pt x="248" y="153"/>
                  <a:pt x="248" y="153"/>
                  <a:pt x="248" y="153"/>
                </a:cubicBezTo>
                <a:cubicBezTo>
                  <a:pt x="249" y="153"/>
                  <a:pt x="249" y="153"/>
                  <a:pt x="249" y="153"/>
                </a:cubicBezTo>
                <a:cubicBezTo>
                  <a:pt x="249" y="154"/>
                  <a:pt x="249" y="154"/>
                  <a:pt x="249" y="154"/>
                </a:cubicBezTo>
                <a:cubicBezTo>
                  <a:pt x="250" y="156"/>
                  <a:pt x="250" y="156"/>
                  <a:pt x="250" y="156"/>
                </a:cubicBezTo>
                <a:cubicBezTo>
                  <a:pt x="249" y="156"/>
                  <a:pt x="249" y="156"/>
                  <a:pt x="249" y="156"/>
                </a:cubicBezTo>
                <a:cubicBezTo>
                  <a:pt x="249" y="156"/>
                  <a:pt x="249" y="156"/>
                  <a:pt x="249" y="156"/>
                </a:cubicBezTo>
                <a:cubicBezTo>
                  <a:pt x="248" y="155"/>
                  <a:pt x="248" y="155"/>
                  <a:pt x="248" y="155"/>
                </a:cubicBezTo>
                <a:cubicBezTo>
                  <a:pt x="248" y="157"/>
                  <a:pt x="248" y="157"/>
                  <a:pt x="248" y="157"/>
                </a:cubicBezTo>
                <a:cubicBezTo>
                  <a:pt x="247" y="156"/>
                  <a:pt x="247" y="156"/>
                  <a:pt x="247" y="156"/>
                </a:cubicBezTo>
                <a:cubicBezTo>
                  <a:pt x="247" y="155"/>
                  <a:pt x="247" y="155"/>
                  <a:pt x="247" y="155"/>
                </a:cubicBezTo>
                <a:cubicBezTo>
                  <a:pt x="246" y="155"/>
                  <a:pt x="246" y="155"/>
                  <a:pt x="246" y="155"/>
                </a:cubicBezTo>
                <a:cubicBezTo>
                  <a:pt x="246" y="156"/>
                  <a:pt x="246" y="156"/>
                  <a:pt x="246" y="156"/>
                </a:cubicBezTo>
                <a:cubicBezTo>
                  <a:pt x="245" y="156"/>
                  <a:pt x="245" y="156"/>
                  <a:pt x="245" y="156"/>
                </a:cubicBezTo>
                <a:cubicBezTo>
                  <a:pt x="245" y="155"/>
                  <a:pt x="245" y="155"/>
                  <a:pt x="245" y="155"/>
                </a:cubicBezTo>
                <a:cubicBezTo>
                  <a:pt x="246" y="154"/>
                  <a:pt x="246" y="154"/>
                  <a:pt x="246" y="154"/>
                </a:cubicBezTo>
                <a:cubicBezTo>
                  <a:pt x="245" y="154"/>
                  <a:pt x="245" y="154"/>
                  <a:pt x="245" y="154"/>
                </a:cubicBezTo>
                <a:cubicBezTo>
                  <a:pt x="244" y="154"/>
                  <a:pt x="244" y="154"/>
                  <a:pt x="244" y="154"/>
                </a:cubicBezTo>
                <a:cubicBezTo>
                  <a:pt x="242" y="156"/>
                  <a:pt x="242" y="156"/>
                  <a:pt x="242" y="156"/>
                </a:cubicBezTo>
                <a:cubicBezTo>
                  <a:pt x="242" y="154"/>
                  <a:pt x="242" y="154"/>
                  <a:pt x="242" y="154"/>
                </a:cubicBezTo>
                <a:cubicBezTo>
                  <a:pt x="241" y="154"/>
                  <a:pt x="241" y="154"/>
                  <a:pt x="241" y="154"/>
                </a:cubicBezTo>
                <a:cubicBezTo>
                  <a:pt x="240" y="155"/>
                  <a:pt x="240" y="155"/>
                  <a:pt x="240" y="155"/>
                </a:cubicBezTo>
                <a:cubicBezTo>
                  <a:pt x="239" y="155"/>
                  <a:pt x="239" y="155"/>
                  <a:pt x="239" y="155"/>
                </a:cubicBezTo>
                <a:cubicBezTo>
                  <a:pt x="238" y="154"/>
                  <a:pt x="238" y="154"/>
                  <a:pt x="238" y="154"/>
                </a:cubicBezTo>
                <a:cubicBezTo>
                  <a:pt x="237" y="154"/>
                  <a:pt x="237" y="154"/>
                  <a:pt x="237" y="154"/>
                </a:cubicBezTo>
                <a:cubicBezTo>
                  <a:pt x="236" y="154"/>
                  <a:pt x="236" y="154"/>
                  <a:pt x="236" y="154"/>
                </a:cubicBezTo>
                <a:cubicBezTo>
                  <a:pt x="237" y="153"/>
                  <a:pt x="237" y="153"/>
                  <a:pt x="237" y="153"/>
                </a:cubicBezTo>
                <a:cubicBezTo>
                  <a:pt x="239" y="153"/>
                  <a:pt x="239" y="153"/>
                  <a:pt x="239" y="153"/>
                </a:cubicBezTo>
                <a:cubicBezTo>
                  <a:pt x="240" y="153"/>
                  <a:pt x="240" y="153"/>
                  <a:pt x="240" y="153"/>
                </a:cubicBezTo>
                <a:cubicBezTo>
                  <a:pt x="241" y="153"/>
                  <a:pt x="241" y="153"/>
                  <a:pt x="241" y="153"/>
                </a:cubicBezTo>
                <a:cubicBezTo>
                  <a:pt x="241" y="152"/>
                  <a:pt x="241" y="152"/>
                  <a:pt x="241" y="152"/>
                </a:cubicBezTo>
                <a:cubicBezTo>
                  <a:pt x="242" y="152"/>
                  <a:pt x="242" y="152"/>
                  <a:pt x="242" y="152"/>
                </a:cubicBezTo>
                <a:cubicBezTo>
                  <a:pt x="243" y="152"/>
                  <a:pt x="243" y="152"/>
                  <a:pt x="243" y="152"/>
                </a:cubicBezTo>
                <a:cubicBezTo>
                  <a:pt x="244" y="151"/>
                  <a:pt x="244" y="151"/>
                  <a:pt x="244" y="151"/>
                </a:cubicBezTo>
                <a:cubicBezTo>
                  <a:pt x="244" y="150"/>
                  <a:pt x="244" y="150"/>
                  <a:pt x="244" y="150"/>
                </a:cubicBezTo>
                <a:cubicBezTo>
                  <a:pt x="244" y="149"/>
                  <a:pt x="244" y="149"/>
                  <a:pt x="244" y="149"/>
                </a:cubicBezTo>
                <a:cubicBezTo>
                  <a:pt x="244" y="148"/>
                  <a:pt x="244" y="148"/>
                  <a:pt x="244" y="148"/>
                </a:cubicBezTo>
                <a:cubicBezTo>
                  <a:pt x="242" y="146"/>
                  <a:pt x="242" y="146"/>
                  <a:pt x="242" y="146"/>
                </a:cubicBezTo>
                <a:cubicBezTo>
                  <a:pt x="241" y="146"/>
                  <a:pt x="241" y="146"/>
                  <a:pt x="241" y="146"/>
                </a:cubicBezTo>
                <a:cubicBezTo>
                  <a:pt x="241" y="145"/>
                  <a:pt x="241" y="145"/>
                  <a:pt x="241" y="145"/>
                </a:cubicBezTo>
                <a:cubicBezTo>
                  <a:pt x="239" y="143"/>
                  <a:pt x="239" y="143"/>
                  <a:pt x="239" y="143"/>
                </a:cubicBezTo>
                <a:cubicBezTo>
                  <a:pt x="239" y="143"/>
                  <a:pt x="239" y="143"/>
                  <a:pt x="239" y="143"/>
                </a:cubicBezTo>
                <a:cubicBezTo>
                  <a:pt x="238" y="143"/>
                  <a:pt x="238" y="143"/>
                  <a:pt x="238" y="143"/>
                </a:cubicBezTo>
                <a:cubicBezTo>
                  <a:pt x="236" y="144"/>
                  <a:pt x="236" y="144"/>
                  <a:pt x="236" y="144"/>
                </a:cubicBezTo>
                <a:cubicBezTo>
                  <a:pt x="236" y="144"/>
                  <a:pt x="236" y="144"/>
                  <a:pt x="236" y="144"/>
                </a:cubicBezTo>
                <a:cubicBezTo>
                  <a:pt x="234" y="146"/>
                  <a:pt x="234" y="146"/>
                  <a:pt x="234" y="146"/>
                </a:cubicBezTo>
                <a:cubicBezTo>
                  <a:pt x="234" y="146"/>
                  <a:pt x="234" y="146"/>
                  <a:pt x="234" y="146"/>
                </a:cubicBezTo>
                <a:cubicBezTo>
                  <a:pt x="234" y="147"/>
                  <a:pt x="234" y="147"/>
                  <a:pt x="234" y="147"/>
                </a:cubicBezTo>
                <a:cubicBezTo>
                  <a:pt x="233" y="147"/>
                  <a:pt x="233" y="147"/>
                  <a:pt x="233" y="147"/>
                </a:cubicBezTo>
                <a:cubicBezTo>
                  <a:pt x="232" y="148"/>
                  <a:pt x="232" y="148"/>
                  <a:pt x="232" y="148"/>
                </a:cubicBezTo>
                <a:cubicBezTo>
                  <a:pt x="232" y="147"/>
                  <a:pt x="232" y="147"/>
                  <a:pt x="232" y="147"/>
                </a:cubicBezTo>
                <a:cubicBezTo>
                  <a:pt x="231" y="147"/>
                  <a:pt x="231" y="147"/>
                  <a:pt x="231" y="147"/>
                </a:cubicBezTo>
                <a:cubicBezTo>
                  <a:pt x="230" y="147"/>
                  <a:pt x="230" y="147"/>
                  <a:pt x="230" y="147"/>
                </a:cubicBezTo>
                <a:cubicBezTo>
                  <a:pt x="229" y="147"/>
                  <a:pt x="229" y="147"/>
                  <a:pt x="229" y="147"/>
                </a:cubicBezTo>
                <a:cubicBezTo>
                  <a:pt x="229" y="147"/>
                  <a:pt x="229" y="147"/>
                  <a:pt x="229" y="147"/>
                </a:cubicBezTo>
                <a:cubicBezTo>
                  <a:pt x="227" y="147"/>
                  <a:pt x="227" y="147"/>
                  <a:pt x="227" y="147"/>
                </a:cubicBezTo>
                <a:cubicBezTo>
                  <a:pt x="227" y="147"/>
                  <a:pt x="227" y="147"/>
                  <a:pt x="227" y="147"/>
                </a:cubicBezTo>
                <a:cubicBezTo>
                  <a:pt x="227" y="146"/>
                  <a:pt x="227" y="146"/>
                  <a:pt x="227" y="146"/>
                </a:cubicBezTo>
                <a:cubicBezTo>
                  <a:pt x="229" y="146"/>
                  <a:pt x="229" y="146"/>
                  <a:pt x="229" y="146"/>
                </a:cubicBezTo>
                <a:cubicBezTo>
                  <a:pt x="230" y="145"/>
                  <a:pt x="230" y="145"/>
                  <a:pt x="230" y="145"/>
                </a:cubicBezTo>
                <a:cubicBezTo>
                  <a:pt x="231" y="144"/>
                  <a:pt x="231" y="144"/>
                  <a:pt x="231" y="144"/>
                </a:cubicBezTo>
                <a:cubicBezTo>
                  <a:pt x="231" y="145"/>
                  <a:pt x="231" y="145"/>
                  <a:pt x="231" y="145"/>
                </a:cubicBezTo>
                <a:cubicBezTo>
                  <a:pt x="232" y="143"/>
                  <a:pt x="232" y="143"/>
                  <a:pt x="232" y="143"/>
                </a:cubicBezTo>
                <a:cubicBezTo>
                  <a:pt x="232" y="142"/>
                  <a:pt x="232" y="142"/>
                  <a:pt x="232" y="142"/>
                </a:cubicBezTo>
                <a:cubicBezTo>
                  <a:pt x="233" y="141"/>
                  <a:pt x="233" y="141"/>
                  <a:pt x="233" y="141"/>
                </a:cubicBezTo>
                <a:cubicBezTo>
                  <a:pt x="234" y="141"/>
                  <a:pt x="234" y="141"/>
                  <a:pt x="234" y="141"/>
                </a:cubicBezTo>
                <a:cubicBezTo>
                  <a:pt x="235" y="139"/>
                  <a:pt x="235" y="139"/>
                  <a:pt x="235" y="139"/>
                </a:cubicBezTo>
                <a:cubicBezTo>
                  <a:pt x="235" y="138"/>
                  <a:pt x="235" y="138"/>
                  <a:pt x="235" y="138"/>
                </a:cubicBezTo>
                <a:cubicBezTo>
                  <a:pt x="235" y="137"/>
                  <a:pt x="235" y="137"/>
                  <a:pt x="235" y="137"/>
                </a:cubicBezTo>
                <a:cubicBezTo>
                  <a:pt x="235" y="135"/>
                  <a:pt x="235" y="135"/>
                  <a:pt x="235" y="135"/>
                </a:cubicBezTo>
                <a:cubicBezTo>
                  <a:pt x="234" y="135"/>
                  <a:pt x="234" y="135"/>
                  <a:pt x="234" y="135"/>
                </a:cubicBezTo>
                <a:cubicBezTo>
                  <a:pt x="232" y="136"/>
                  <a:pt x="232" y="136"/>
                  <a:pt x="232" y="136"/>
                </a:cubicBezTo>
                <a:cubicBezTo>
                  <a:pt x="229" y="137"/>
                  <a:pt x="229" y="137"/>
                  <a:pt x="229" y="137"/>
                </a:cubicBezTo>
                <a:cubicBezTo>
                  <a:pt x="227" y="137"/>
                  <a:pt x="227" y="137"/>
                  <a:pt x="227" y="137"/>
                </a:cubicBezTo>
                <a:cubicBezTo>
                  <a:pt x="222" y="138"/>
                  <a:pt x="222" y="138"/>
                  <a:pt x="222" y="138"/>
                </a:cubicBezTo>
                <a:cubicBezTo>
                  <a:pt x="217" y="140"/>
                  <a:pt x="217" y="140"/>
                  <a:pt x="217" y="140"/>
                </a:cubicBezTo>
                <a:cubicBezTo>
                  <a:pt x="215" y="142"/>
                  <a:pt x="215" y="142"/>
                  <a:pt x="215" y="142"/>
                </a:cubicBezTo>
                <a:cubicBezTo>
                  <a:pt x="212" y="142"/>
                  <a:pt x="212" y="142"/>
                  <a:pt x="212" y="142"/>
                </a:cubicBezTo>
                <a:cubicBezTo>
                  <a:pt x="207" y="145"/>
                  <a:pt x="207" y="145"/>
                  <a:pt x="207" y="145"/>
                </a:cubicBezTo>
                <a:cubicBezTo>
                  <a:pt x="206" y="146"/>
                  <a:pt x="206" y="146"/>
                  <a:pt x="206" y="146"/>
                </a:cubicBezTo>
                <a:cubicBezTo>
                  <a:pt x="206" y="147"/>
                  <a:pt x="206" y="147"/>
                  <a:pt x="206" y="147"/>
                </a:cubicBezTo>
                <a:cubicBezTo>
                  <a:pt x="207" y="147"/>
                  <a:pt x="207" y="147"/>
                  <a:pt x="207" y="147"/>
                </a:cubicBezTo>
                <a:cubicBezTo>
                  <a:pt x="207" y="148"/>
                  <a:pt x="207" y="148"/>
                  <a:pt x="207" y="148"/>
                </a:cubicBezTo>
                <a:cubicBezTo>
                  <a:pt x="206" y="148"/>
                  <a:pt x="206" y="148"/>
                  <a:pt x="206" y="148"/>
                </a:cubicBezTo>
                <a:cubicBezTo>
                  <a:pt x="205" y="148"/>
                  <a:pt x="205" y="148"/>
                  <a:pt x="205" y="148"/>
                </a:cubicBezTo>
                <a:cubicBezTo>
                  <a:pt x="203" y="150"/>
                  <a:pt x="203" y="150"/>
                  <a:pt x="203" y="150"/>
                </a:cubicBezTo>
                <a:cubicBezTo>
                  <a:pt x="201" y="150"/>
                  <a:pt x="201" y="150"/>
                  <a:pt x="201" y="150"/>
                </a:cubicBezTo>
                <a:cubicBezTo>
                  <a:pt x="200" y="151"/>
                  <a:pt x="200" y="151"/>
                  <a:pt x="200" y="151"/>
                </a:cubicBezTo>
                <a:cubicBezTo>
                  <a:pt x="200" y="152"/>
                  <a:pt x="200" y="152"/>
                  <a:pt x="200" y="152"/>
                </a:cubicBezTo>
                <a:cubicBezTo>
                  <a:pt x="198" y="153"/>
                  <a:pt x="198" y="153"/>
                  <a:pt x="198" y="153"/>
                </a:cubicBezTo>
                <a:cubicBezTo>
                  <a:pt x="198" y="154"/>
                  <a:pt x="198" y="154"/>
                  <a:pt x="198" y="154"/>
                </a:cubicBezTo>
                <a:cubicBezTo>
                  <a:pt x="198" y="156"/>
                  <a:pt x="198" y="156"/>
                  <a:pt x="198" y="156"/>
                </a:cubicBezTo>
                <a:cubicBezTo>
                  <a:pt x="198" y="156"/>
                  <a:pt x="198" y="156"/>
                  <a:pt x="198" y="156"/>
                </a:cubicBezTo>
                <a:cubicBezTo>
                  <a:pt x="199" y="156"/>
                  <a:pt x="199" y="156"/>
                  <a:pt x="199" y="156"/>
                </a:cubicBezTo>
                <a:cubicBezTo>
                  <a:pt x="199" y="157"/>
                  <a:pt x="199" y="157"/>
                  <a:pt x="199" y="157"/>
                </a:cubicBezTo>
                <a:cubicBezTo>
                  <a:pt x="199" y="157"/>
                  <a:pt x="199" y="157"/>
                  <a:pt x="199" y="157"/>
                </a:cubicBezTo>
                <a:cubicBezTo>
                  <a:pt x="200" y="157"/>
                  <a:pt x="200" y="157"/>
                  <a:pt x="200" y="157"/>
                </a:cubicBezTo>
                <a:cubicBezTo>
                  <a:pt x="201" y="157"/>
                  <a:pt x="201" y="157"/>
                  <a:pt x="201" y="157"/>
                </a:cubicBezTo>
                <a:cubicBezTo>
                  <a:pt x="202" y="157"/>
                  <a:pt x="202" y="157"/>
                  <a:pt x="202" y="157"/>
                </a:cubicBezTo>
                <a:cubicBezTo>
                  <a:pt x="203" y="157"/>
                  <a:pt x="203" y="157"/>
                  <a:pt x="203" y="157"/>
                </a:cubicBezTo>
                <a:cubicBezTo>
                  <a:pt x="203" y="158"/>
                  <a:pt x="203" y="158"/>
                  <a:pt x="203" y="158"/>
                </a:cubicBezTo>
                <a:cubicBezTo>
                  <a:pt x="201" y="159"/>
                  <a:pt x="201" y="159"/>
                  <a:pt x="201" y="159"/>
                </a:cubicBezTo>
                <a:cubicBezTo>
                  <a:pt x="200" y="158"/>
                  <a:pt x="200" y="158"/>
                  <a:pt x="200" y="158"/>
                </a:cubicBezTo>
                <a:cubicBezTo>
                  <a:pt x="199" y="159"/>
                  <a:pt x="199" y="159"/>
                  <a:pt x="199" y="159"/>
                </a:cubicBezTo>
                <a:cubicBezTo>
                  <a:pt x="199" y="160"/>
                  <a:pt x="199" y="160"/>
                  <a:pt x="199" y="160"/>
                </a:cubicBezTo>
                <a:cubicBezTo>
                  <a:pt x="201" y="161"/>
                  <a:pt x="201" y="161"/>
                  <a:pt x="201" y="161"/>
                </a:cubicBezTo>
                <a:cubicBezTo>
                  <a:pt x="202" y="160"/>
                  <a:pt x="202" y="160"/>
                  <a:pt x="202" y="160"/>
                </a:cubicBezTo>
                <a:cubicBezTo>
                  <a:pt x="202" y="159"/>
                  <a:pt x="202" y="159"/>
                  <a:pt x="202" y="159"/>
                </a:cubicBezTo>
                <a:cubicBezTo>
                  <a:pt x="203" y="159"/>
                  <a:pt x="203" y="159"/>
                  <a:pt x="203" y="159"/>
                </a:cubicBezTo>
                <a:cubicBezTo>
                  <a:pt x="204" y="160"/>
                  <a:pt x="204" y="160"/>
                  <a:pt x="204" y="160"/>
                </a:cubicBezTo>
                <a:cubicBezTo>
                  <a:pt x="203" y="161"/>
                  <a:pt x="203" y="161"/>
                  <a:pt x="203" y="161"/>
                </a:cubicBezTo>
                <a:cubicBezTo>
                  <a:pt x="204" y="161"/>
                  <a:pt x="204" y="161"/>
                  <a:pt x="204" y="161"/>
                </a:cubicBezTo>
                <a:cubicBezTo>
                  <a:pt x="206" y="161"/>
                  <a:pt x="206" y="161"/>
                  <a:pt x="206" y="161"/>
                </a:cubicBezTo>
                <a:cubicBezTo>
                  <a:pt x="208" y="161"/>
                  <a:pt x="208" y="161"/>
                  <a:pt x="208" y="161"/>
                </a:cubicBezTo>
                <a:cubicBezTo>
                  <a:pt x="209" y="161"/>
                  <a:pt x="209" y="161"/>
                  <a:pt x="209" y="161"/>
                </a:cubicBezTo>
                <a:cubicBezTo>
                  <a:pt x="211" y="161"/>
                  <a:pt x="211" y="161"/>
                  <a:pt x="211" y="161"/>
                </a:cubicBezTo>
                <a:cubicBezTo>
                  <a:pt x="212" y="161"/>
                  <a:pt x="212" y="161"/>
                  <a:pt x="212" y="161"/>
                </a:cubicBezTo>
                <a:cubicBezTo>
                  <a:pt x="214" y="162"/>
                  <a:pt x="214" y="162"/>
                  <a:pt x="214" y="162"/>
                </a:cubicBezTo>
                <a:cubicBezTo>
                  <a:pt x="214" y="163"/>
                  <a:pt x="214" y="163"/>
                  <a:pt x="214" y="163"/>
                </a:cubicBezTo>
                <a:cubicBezTo>
                  <a:pt x="215" y="163"/>
                  <a:pt x="215" y="163"/>
                  <a:pt x="215" y="163"/>
                </a:cubicBezTo>
                <a:cubicBezTo>
                  <a:pt x="215" y="163"/>
                  <a:pt x="215" y="163"/>
                  <a:pt x="215" y="163"/>
                </a:cubicBezTo>
                <a:cubicBezTo>
                  <a:pt x="214" y="163"/>
                  <a:pt x="214" y="163"/>
                  <a:pt x="214" y="163"/>
                </a:cubicBezTo>
                <a:cubicBezTo>
                  <a:pt x="212" y="162"/>
                  <a:pt x="212" y="162"/>
                  <a:pt x="212" y="162"/>
                </a:cubicBezTo>
                <a:cubicBezTo>
                  <a:pt x="210" y="162"/>
                  <a:pt x="210" y="162"/>
                  <a:pt x="210" y="162"/>
                </a:cubicBezTo>
                <a:cubicBezTo>
                  <a:pt x="209" y="163"/>
                  <a:pt x="209" y="163"/>
                  <a:pt x="209" y="163"/>
                </a:cubicBezTo>
                <a:cubicBezTo>
                  <a:pt x="211" y="163"/>
                  <a:pt x="211" y="163"/>
                  <a:pt x="211" y="163"/>
                </a:cubicBezTo>
                <a:cubicBezTo>
                  <a:pt x="211" y="164"/>
                  <a:pt x="211" y="164"/>
                  <a:pt x="211" y="164"/>
                </a:cubicBezTo>
                <a:cubicBezTo>
                  <a:pt x="209" y="164"/>
                  <a:pt x="209" y="164"/>
                  <a:pt x="209" y="164"/>
                </a:cubicBezTo>
                <a:cubicBezTo>
                  <a:pt x="208" y="163"/>
                  <a:pt x="208" y="163"/>
                  <a:pt x="208" y="163"/>
                </a:cubicBezTo>
                <a:cubicBezTo>
                  <a:pt x="206" y="164"/>
                  <a:pt x="206" y="164"/>
                  <a:pt x="206" y="164"/>
                </a:cubicBezTo>
                <a:cubicBezTo>
                  <a:pt x="205" y="164"/>
                  <a:pt x="205" y="164"/>
                  <a:pt x="205" y="164"/>
                </a:cubicBezTo>
                <a:cubicBezTo>
                  <a:pt x="204" y="164"/>
                  <a:pt x="204" y="164"/>
                  <a:pt x="204" y="164"/>
                </a:cubicBezTo>
                <a:cubicBezTo>
                  <a:pt x="203" y="164"/>
                  <a:pt x="203" y="164"/>
                  <a:pt x="203" y="164"/>
                </a:cubicBezTo>
                <a:cubicBezTo>
                  <a:pt x="202" y="164"/>
                  <a:pt x="202" y="164"/>
                  <a:pt x="202" y="164"/>
                </a:cubicBezTo>
                <a:cubicBezTo>
                  <a:pt x="201" y="164"/>
                  <a:pt x="201" y="164"/>
                  <a:pt x="201" y="164"/>
                </a:cubicBezTo>
                <a:cubicBezTo>
                  <a:pt x="198" y="164"/>
                  <a:pt x="198" y="164"/>
                  <a:pt x="198" y="164"/>
                </a:cubicBezTo>
                <a:cubicBezTo>
                  <a:pt x="198" y="164"/>
                  <a:pt x="198" y="164"/>
                  <a:pt x="198" y="164"/>
                </a:cubicBezTo>
                <a:cubicBezTo>
                  <a:pt x="196" y="165"/>
                  <a:pt x="196" y="165"/>
                  <a:pt x="196" y="165"/>
                </a:cubicBezTo>
                <a:cubicBezTo>
                  <a:pt x="195" y="166"/>
                  <a:pt x="195" y="166"/>
                  <a:pt x="195" y="166"/>
                </a:cubicBezTo>
                <a:cubicBezTo>
                  <a:pt x="196" y="170"/>
                  <a:pt x="196" y="170"/>
                  <a:pt x="196" y="170"/>
                </a:cubicBezTo>
                <a:cubicBezTo>
                  <a:pt x="196" y="170"/>
                  <a:pt x="196" y="170"/>
                  <a:pt x="196" y="170"/>
                </a:cubicBezTo>
                <a:cubicBezTo>
                  <a:pt x="196" y="172"/>
                  <a:pt x="196" y="172"/>
                  <a:pt x="196" y="172"/>
                </a:cubicBezTo>
                <a:cubicBezTo>
                  <a:pt x="195" y="172"/>
                  <a:pt x="195" y="172"/>
                  <a:pt x="195" y="172"/>
                </a:cubicBezTo>
                <a:cubicBezTo>
                  <a:pt x="195" y="173"/>
                  <a:pt x="195" y="173"/>
                  <a:pt x="195" y="173"/>
                </a:cubicBezTo>
                <a:cubicBezTo>
                  <a:pt x="196" y="173"/>
                  <a:pt x="196" y="173"/>
                  <a:pt x="196" y="173"/>
                </a:cubicBezTo>
                <a:cubicBezTo>
                  <a:pt x="197" y="173"/>
                  <a:pt x="197" y="173"/>
                  <a:pt x="197" y="173"/>
                </a:cubicBezTo>
                <a:cubicBezTo>
                  <a:pt x="198" y="173"/>
                  <a:pt x="198" y="173"/>
                  <a:pt x="198" y="173"/>
                </a:cubicBezTo>
                <a:cubicBezTo>
                  <a:pt x="198" y="174"/>
                  <a:pt x="198" y="174"/>
                  <a:pt x="198" y="174"/>
                </a:cubicBezTo>
                <a:cubicBezTo>
                  <a:pt x="200" y="174"/>
                  <a:pt x="200" y="174"/>
                  <a:pt x="200" y="174"/>
                </a:cubicBezTo>
                <a:cubicBezTo>
                  <a:pt x="200" y="173"/>
                  <a:pt x="200" y="173"/>
                  <a:pt x="200" y="173"/>
                </a:cubicBezTo>
                <a:cubicBezTo>
                  <a:pt x="200" y="173"/>
                  <a:pt x="200" y="173"/>
                  <a:pt x="200" y="173"/>
                </a:cubicBezTo>
                <a:cubicBezTo>
                  <a:pt x="201" y="174"/>
                  <a:pt x="201" y="174"/>
                  <a:pt x="201" y="174"/>
                </a:cubicBezTo>
                <a:cubicBezTo>
                  <a:pt x="201" y="174"/>
                  <a:pt x="201" y="174"/>
                  <a:pt x="201" y="174"/>
                </a:cubicBezTo>
                <a:cubicBezTo>
                  <a:pt x="202" y="174"/>
                  <a:pt x="202" y="174"/>
                  <a:pt x="202" y="174"/>
                </a:cubicBezTo>
                <a:cubicBezTo>
                  <a:pt x="203" y="174"/>
                  <a:pt x="203" y="174"/>
                  <a:pt x="203" y="174"/>
                </a:cubicBezTo>
                <a:cubicBezTo>
                  <a:pt x="203" y="175"/>
                  <a:pt x="203" y="175"/>
                  <a:pt x="203" y="175"/>
                </a:cubicBezTo>
                <a:cubicBezTo>
                  <a:pt x="204" y="175"/>
                  <a:pt x="204" y="175"/>
                  <a:pt x="204" y="175"/>
                </a:cubicBezTo>
                <a:cubicBezTo>
                  <a:pt x="205" y="175"/>
                  <a:pt x="205" y="175"/>
                  <a:pt x="205" y="175"/>
                </a:cubicBezTo>
                <a:cubicBezTo>
                  <a:pt x="205" y="175"/>
                  <a:pt x="205" y="175"/>
                  <a:pt x="205" y="175"/>
                </a:cubicBezTo>
                <a:cubicBezTo>
                  <a:pt x="206" y="176"/>
                  <a:pt x="206" y="176"/>
                  <a:pt x="206" y="176"/>
                </a:cubicBezTo>
                <a:cubicBezTo>
                  <a:pt x="207" y="176"/>
                  <a:pt x="207" y="176"/>
                  <a:pt x="207" y="176"/>
                </a:cubicBezTo>
                <a:cubicBezTo>
                  <a:pt x="208" y="176"/>
                  <a:pt x="208" y="176"/>
                  <a:pt x="208" y="176"/>
                </a:cubicBezTo>
                <a:cubicBezTo>
                  <a:pt x="209" y="176"/>
                  <a:pt x="209" y="176"/>
                  <a:pt x="209" y="176"/>
                </a:cubicBezTo>
                <a:cubicBezTo>
                  <a:pt x="210" y="175"/>
                  <a:pt x="210" y="175"/>
                  <a:pt x="210" y="175"/>
                </a:cubicBezTo>
                <a:cubicBezTo>
                  <a:pt x="211" y="176"/>
                  <a:pt x="211" y="176"/>
                  <a:pt x="211" y="176"/>
                </a:cubicBezTo>
                <a:cubicBezTo>
                  <a:pt x="213" y="176"/>
                  <a:pt x="213" y="176"/>
                  <a:pt x="213" y="176"/>
                </a:cubicBezTo>
                <a:cubicBezTo>
                  <a:pt x="214" y="176"/>
                  <a:pt x="214" y="176"/>
                  <a:pt x="214" y="176"/>
                </a:cubicBezTo>
                <a:cubicBezTo>
                  <a:pt x="215" y="176"/>
                  <a:pt x="215" y="176"/>
                  <a:pt x="215" y="176"/>
                </a:cubicBezTo>
                <a:cubicBezTo>
                  <a:pt x="215" y="177"/>
                  <a:pt x="215" y="177"/>
                  <a:pt x="215" y="177"/>
                </a:cubicBezTo>
                <a:cubicBezTo>
                  <a:pt x="216" y="176"/>
                  <a:pt x="216" y="176"/>
                  <a:pt x="216" y="176"/>
                </a:cubicBezTo>
                <a:cubicBezTo>
                  <a:pt x="216" y="177"/>
                  <a:pt x="216" y="177"/>
                  <a:pt x="216" y="177"/>
                </a:cubicBezTo>
                <a:cubicBezTo>
                  <a:pt x="217" y="178"/>
                  <a:pt x="217" y="178"/>
                  <a:pt x="217" y="178"/>
                </a:cubicBezTo>
                <a:cubicBezTo>
                  <a:pt x="217" y="179"/>
                  <a:pt x="217" y="179"/>
                  <a:pt x="217" y="179"/>
                </a:cubicBezTo>
                <a:cubicBezTo>
                  <a:pt x="218" y="179"/>
                  <a:pt x="218" y="179"/>
                  <a:pt x="218" y="179"/>
                </a:cubicBezTo>
                <a:cubicBezTo>
                  <a:pt x="219" y="179"/>
                  <a:pt x="219" y="179"/>
                  <a:pt x="219" y="179"/>
                </a:cubicBezTo>
                <a:cubicBezTo>
                  <a:pt x="220" y="180"/>
                  <a:pt x="220" y="180"/>
                  <a:pt x="220" y="180"/>
                </a:cubicBezTo>
                <a:cubicBezTo>
                  <a:pt x="220" y="181"/>
                  <a:pt x="220" y="181"/>
                  <a:pt x="220" y="181"/>
                </a:cubicBezTo>
                <a:cubicBezTo>
                  <a:pt x="221" y="181"/>
                  <a:pt x="221" y="181"/>
                  <a:pt x="221" y="181"/>
                </a:cubicBezTo>
                <a:cubicBezTo>
                  <a:pt x="221" y="182"/>
                  <a:pt x="221" y="182"/>
                  <a:pt x="221" y="182"/>
                </a:cubicBezTo>
                <a:cubicBezTo>
                  <a:pt x="221" y="182"/>
                  <a:pt x="221" y="182"/>
                  <a:pt x="221" y="182"/>
                </a:cubicBezTo>
                <a:cubicBezTo>
                  <a:pt x="221" y="183"/>
                  <a:pt x="221" y="183"/>
                  <a:pt x="221" y="183"/>
                </a:cubicBezTo>
                <a:cubicBezTo>
                  <a:pt x="222" y="184"/>
                  <a:pt x="222" y="184"/>
                  <a:pt x="222" y="184"/>
                </a:cubicBezTo>
                <a:cubicBezTo>
                  <a:pt x="224" y="185"/>
                  <a:pt x="224" y="185"/>
                  <a:pt x="224" y="185"/>
                </a:cubicBezTo>
                <a:cubicBezTo>
                  <a:pt x="224" y="186"/>
                  <a:pt x="224" y="186"/>
                  <a:pt x="224" y="186"/>
                </a:cubicBezTo>
                <a:cubicBezTo>
                  <a:pt x="223" y="186"/>
                  <a:pt x="223" y="186"/>
                  <a:pt x="223" y="186"/>
                </a:cubicBezTo>
                <a:cubicBezTo>
                  <a:pt x="224" y="187"/>
                  <a:pt x="224" y="187"/>
                  <a:pt x="224" y="187"/>
                </a:cubicBezTo>
                <a:cubicBezTo>
                  <a:pt x="223" y="187"/>
                  <a:pt x="223" y="187"/>
                  <a:pt x="223" y="187"/>
                </a:cubicBezTo>
                <a:cubicBezTo>
                  <a:pt x="221" y="186"/>
                  <a:pt x="221" y="186"/>
                  <a:pt x="221" y="186"/>
                </a:cubicBezTo>
                <a:cubicBezTo>
                  <a:pt x="219" y="185"/>
                  <a:pt x="219" y="185"/>
                  <a:pt x="219" y="185"/>
                </a:cubicBezTo>
                <a:cubicBezTo>
                  <a:pt x="218" y="186"/>
                  <a:pt x="218" y="186"/>
                  <a:pt x="218" y="186"/>
                </a:cubicBezTo>
                <a:cubicBezTo>
                  <a:pt x="217" y="185"/>
                  <a:pt x="217" y="185"/>
                  <a:pt x="217" y="185"/>
                </a:cubicBezTo>
                <a:cubicBezTo>
                  <a:pt x="217" y="186"/>
                  <a:pt x="217" y="186"/>
                  <a:pt x="217" y="186"/>
                </a:cubicBezTo>
                <a:cubicBezTo>
                  <a:pt x="216" y="186"/>
                  <a:pt x="216" y="186"/>
                  <a:pt x="216" y="186"/>
                </a:cubicBezTo>
                <a:cubicBezTo>
                  <a:pt x="215" y="185"/>
                  <a:pt x="215" y="185"/>
                  <a:pt x="215" y="185"/>
                </a:cubicBezTo>
                <a:cubicBezTo>
                  <a:pt x="214" y="185"/>
                  <a:pt x="214" y="185"/>
                  <a:pt x="214" y="185"/>
                </a:cubicBezTo>
                <a:cubicBezTo>
                  <a:pt x="214" y="184"/>
                  <a:pt x="214" y="184"/>
                  <a:pt x="214" y="184"/>
                </a:cubicBezTo>
                <a:cubicBezTo>
                  <a:pt x="213" y="183"/>
                  <a:pt x="213" y="183"/>
                  <a:pt x="213" y="183"/>
                </a:cubicBezTo>
                <a:cubicBezTo>
                  <a:pt x="212" y="184"/>
                  <a:pt x="212" y="184"/>
                  <a:pt x="212" y="184"/>
                </a:cubicBezTo>
                <a:cubicBezTo>
                  <a:pt x="211" y="183"/>
                  <a:pt x="211" y="183"/>
                  <a:pt x="211" y="183"/>
                </a:cubicBezTo>
                <a:cubicBezTo>
                  <a:pt x="210" y="183"/>
                  <a:pt x="210" y="183"/>
                  <a:pt x="210" y="183"/>
                </a:cubicBezTo>
                <a:cubicBezTo>
                  <a:pt x="209" y="182"/>
                  <a:pt x="209" y="182"/>
                  <a:pt x="209" y="182"/>
                </a:cubicBezTo>
                <a:cubicBezTo>
                  <a:pt x="209" y="181"/>
                  <a:pt x="209" y="181"/>
                  <a:pt x="209" y="181"/>
                </a:cubicBezTo>
                <a:cubicBezTo>
                  <a:pt x="208" y="181"/>
                  <a:pt x="208" y="181"/>
                  <a:pt x="208" y="181"/>
                </a:cubicBezTo>
                <a:cubicBezTo>
                  <a:pt x="208" y="181"/>
                  <a:pt x="208" y="181"/>
                  <a:pt x="208" y="181"/>
                </a:cubicBezTo>
                <a:cubicBezTo>
                  <a:pt x="206" y="181"/>
                  <a:pt x="206" y="181"/>
                  <a:pt x="206" y="181"/>
                </a:cubicBezTo>
                <a:cubicBezTo>
                  <a:pt x="206" y="181"/>
                  <a:pt x="206" y="181"/>
                  <a:pt x="206" y="181"/>
                </a:cubicBezTo>
                <a:cubicBezTo>
                  <a:pt x="203" y="181"/>
                  <a:pt x="203" y="181"/>
                  <a:pt x="203" y="181"/>
                </a:cubicBezTo>
                <a:cubicBezTo>
                  <a:pt x="201" y="181"/>
                  <a:pt x="201" y="181"/>
                  <a:pt x="201" y="181"/>
                </a:cubicBezTo>
                <a:cubicBezTo>
                  <a:pt x="200" y="180"/>
                  <a:pt x="200" y="180"/>
                  <a:pt x="200" y="180"/>
                </a:cubicBezTo>
                <a:cubicBezTo>
                  <a:pt x="195" y="180"/>
                  <a:pt x="195" y="180"/>
                  <a:pt x="195" y="180"/>
                </a:cubicBezTo>
                <a:cubicBezTo>
                  <a:pt x="194" y="181"/>
                  <a:pt x="194" y="181"/>
                  <a:pt x="194" y="181"/>
                </a:cubicBezTo>
                <a:cubicBezTo>
                  <a:pt x="193" y="181"/>
                  <a:pt x="193" y="181"/>
                  <a:pt x="193" y="181"/>
                </a:cubicBezTo>
                <a:cubicBezTo>
                  <a:pt x="192" y="182"/>
                  <a:pt x="192" y="182"/>
                  <a:pt x="192" y="182"/>
                </a:cubicBezTo>
                <a:cubicBezTo>
                  <a:pt x="192" y="184"/>
                  <a:pt x="192" y="184"/>
                  <a:pt x="192" y="184"/>
                </a:cubicBezTo>
                <a:cubicBezTo>
                  <a:pt x="191" y="186"/>
                  <a:pt x="191" y="186"/>
                  <a:pt x="191" y="186"/>
                </a:cubicBezTo>
                <a:cubicBezTo>
                  <a:pt x="191" y="188"/>
                  <a:pt x="191" y="188"/>
                  <a:pt x="191" y="188"/>
                </a:cubicBezTo>
                <a:cubicBezTo>
                  <a:pt x="191" y="188"/>
                  <a:pt x="191" y="188"/>
                  <a:pt x="191" y="188"/>
                </a:cubicBezTo>
                <a:cubicBezTo>
                  <a:pt x="191" y="189"/>
                  <a:pt x="191" y="189"/>
                  <a:pt x="191" y="189"/>
                </a:cubicBezTo>
                <a:cubicBezTo>
                  <a:pt x="192" y="189"/>
                  <a:pt x="192" y="189"/>
                  <a:pt x="192" y="189"/>
                </a:cubicBezTo>
                <a:cubicBezTo>
                  <a:pt x="192" y="190"/>
                  <a:pt x="192" y="190"/>
                  <a:pt x="192" y="190"/>
                </a:cubicBezTo>
                <a:cubicBezTo>
                  <a:pt x="191" y="190"/>
                  <a:pt x="191" y="190"/>
                  <a:pt x="191" y="190"/>
                </a:cubicBezTo>
                <a:cubicBezTo>
                  <a:pt x="192" y="193"/>
                  <a:pt x="192" y="193"/>
                  <a:pt x="192" y="193"/>
                </a:cubicBezTo>
                <a:cubicBezTo>
                  <a:pt x="193" y="194"/>
                  <a:pt x="193" y="194"/>
                  <a:pt x="193" y="194"/>
                </a:cubicBezTo>
                <a:cubicBezTo>
                  <a:pt x="194" y="194"/>
                  <a:pt x="194" y="194"/>
                  <a:pt x="194" y="194"/>
                </a:cubicBezTo>
                <a:cubicBezTo>
                  <a:pt x="195" y="195"/>
                  <a:pt x="195" y="195"/>
                  <a:pt x="195" y="195"/>
                </a:cubicBezTo>
                <a:cubicBezTo>
                  <a:pt x="196" y="196"/>
                  <a:pt x="196" y="196"/>
                  <a:pt x="196" y="196"/>
                </a:cubicBezTo>
                <a:cubicBezTo>
                  <a:pt x="197" y="196"/>
                  <a:pt x="197" y="196"/>
                  <a:pt x="197" y="196"/>
                </a:cubicBezTo>
                <a:cubicBezTo>
                  <a:pt x="198" y="196"/>
                  <a:pt x="198" y="196"/>
                  <a:pt x="198" y="196"/>
                </a:cubicBezTo>
                <a:cubicBezTo>
                  <a:pt x="198" y="197"/>
                  <a:pt x="198" y="197"/>
                  <a:pt x="198" y="197"/>
                </a:cubicBezTo>
                <a:cubicBezTo>
                  <a:pt x="200" y="196"/>
                  <a:pt x="200" y="196"/>
                  <a:pt x="200" y="196"/>
                </a:cubicBezTo>
                <a:cubicBezTo>
                  <a:pt x="200" y="196"/>
                  <a:pt x="200" y="196"/>
                  <a:pt x="200" y="196"/>
                </a:cubicBezTo>
                <a:cubicBezTo>
                  <a:pt x="201" y="197"/>
                  <a:pt x="201" y="197"/>
                  <a:pt x="201" y="197"/>
                </a:cubicBezTo>
                <a:cubicBezTo>
                  <a:pt x="203" y="197"/>
                  <a:pt x="203" y="197"/>
                  <a:pt x="203" y="197"/>
                </a:cubicBezTo>
                <a:cubicBezTo>
                  <a:pt x="203" y="198"/>
                  <a:pt x="203" y="198"/>
                  <a:pt x="203" y="198"/>
                </a:cubicBezTo>
                <a:cubicBezTo>
                  <a:pt x="204" y="199"/>
                  <a:pt x="204" y="199"/>
                  <a:pt x="204" y="199"/>
                </a:cubicBezTo>
                <a:cubicBezTo>
                  <a:pt x="204" y="199"/>
                  <a:pt x="204" y="199"/>
                  <a:pt x="204" y="199"/>
                </a:cubicBezTo>
                <a:cubicBezTo>
                  <a:pt x="203" y="200"/>
                  <a:pt x="203" y="200"/>
                  <a:pt x="203" y="200"/>
                </a:cubicBezTo>
                <a:cubicBezTo>
                  <a:pt x="203" y="201"/>
                  <a:pt x="203" y="201"/>
                  <a:pt x="203" y="201"/>
                </a:cubicBezTo>
                <a:cubicBezTo>
                  <a:pt x="203" y="201"/>
                  <a:pt x="203" y="201"/>
                  <a:pt x="203" y="201"/>
                </a:cubicBezTo>
                <a:cubicBezTo>
                  <a:pt x="203" y="202"/>
                  <a:pt x="203" y="202"/>
                  <a:pt x="203" y="202"/>
                </a:cubicBezTo>
                <a:cubicBezTo>
                  <a:pt x="202" y="203"/>
                  <a:pt x="202" y="203"/>
                  <a:pt x="202" y="203"/>
                </a:cubicBezTo>
                <a:cubicBezTo>
                  <a:pt x="201" y="203"/>
                  <a:pt x="201" y="203"/>
                  <a:pt x="201" y="203"/>
                </a:cubicBezTo>
                <a:cubicBezTo>
                  <a:pt x="201" y="204"/>
                  <a:pt x="201" y="204"/>
                  <a:pt x="201" y="204"/>
                </a:cubicBezTo>
                <a:cubicBezTo>
                  <a:pt x="200" y="205"/>
                  <a:pt x="200" y="205"/>
                  <a:pt x="200" y="205"/>
                </a:cubicBezTo>
                <a:cubicBezTo>
                  <a:pt x="201" y="205"/>
                  <a:pt x="201" y="205"/>
                  <a:pt x="201" y="205"/>
                </a:cubicBezTo>
                <a:cubicBezTo>
                  <a:pt x="201" y="207"/>
                  <a:pt x="201" y="207"/>
                  <a:pt x="201" y="207"/>
                </a:cubicBezTo>
                <a:cubicBezTo>
                  <a:pt x="202" y="208"/>
                  <a:pt x="202" y="208"/>
                  <a:pt x="202" y="208"/>
                </a:cubicBezTo>
                <a:cubicBezTo>
                  <a:pt x="202" y="209"/>
                  <a:pt x="202" y="209"/>
                  <a:pt x="202" y="209"/>
                </a:cubicBezTo>
                <a:cubicBezTo>
                  <a:pt x="200" y="209"/>
                  <a:pt x="200" y="209"/>
                  <a:pt x="200" y="209"/>
                </a:cubicBezTo>
                <a:cubicBezTo>
                  <a:pt x="201" y="210"/>
                  <a:pt x="201" y="210"/>
                  <a:pt x="201" y="210"/>
                </a:cubicBezTo>
                <a:cubicBezTo>
                  <a:pt x="203" y="210"/>
                  <a:pt x="203" y="210"/>
                  <a:pt x="203" y="210"/>
                </a:cubicBezTo>
                <a:cubicBezTo>
                  <a:pt x="204" y="210"/>
                  <a:pt x="204" y="210"/>
                  <a:pt x="204" y="210"/>
                </a:cubicBezTo>
                <a:cubicBezTo>
                  <a:pt x="204" y="210"/>
                  <a:pt x="204" y="210"/>
                  <a:pt x="204" y="210"/>
                </a:cubicBezTo>
                <a:cubicBezTo>
                  <a:pt x="205" y="211"/>
                  <a:pt x="205" y="211"/>
                  <a:pt x="205" y="211"/>
                </a:cubicBezTo>
                <a:cubicBezTo>
                  <a:pt x="205" y="210"/>
                  <a:pt x="205" y="210"/>
                  <a:pt x="205" y="210"/>
                </a:cubicBezTo>
                <a:cubicBezTo>
                  <a:pt x="206" y="210"/>
                  <a:pt x="206" y="210"/>
                  <a:pt x="206" y="210"/>
                </a:cubicBezTo>
                <a:cubicBezTo>
                  <a:pt x="206" y="210"/>
                  <a:pt x="206" y="210"/>
                  <a:pt x="206" y="210"/>
                </a:cubicBezTo>
                <a:cubicBezTo>
                  <a:pt x="208" y="210"/>
                  <a:pt x="208" y="210"/>
                  <a:pt x="208" y="210"/>
                </a:cubicBezTo>
                <a:cubicBezTo>
                  <a:pt x="210" y="211"/>
                  <a:pt x="210" y="211"/>
                  <a:pt x="210" y="211"/>
                </a:cubicBezTo>
                <a:cubicBezTo>
                  <a:pt x="211" y="210"/>
                  <a:pt x="211" y="210"/>
                  <a:pt x="211" y="210"/>
                </a:cubicBezTo>
                <a:cubicBezTo>
                  <a:pt x="212" y="210"/>
                  <a:pt x="212" y="210"/>
                  <a:pt x="212" y="210"/>
                </a:cubicBezTo>
                <a:cubicBezTo>
                  <a:pt x="213" y="211"/>
                  <a:pt x="213" y="211"/>
                  <a:pt x="213" y="211"/>
                </a:cubicBezTo>
                <a:cubicBezTo>
                  <a:pt x="213" y="211"/>
                  <a:pt x="213" y="211"/>
                  <a:pt x="213" y="211"/>
                </a:cubicBezTo>
                <a:cubicBezTo>
                  <a:pt x="213" y="211"/>
                  <a:pt x="213" y="211"/>
                  <a:pt x="213" y="211"/>
                </a:cubicBezTo>
                <a:cubicBezTo>
                  <a:pt x="214" y="210"/>
                  <a:pt x="214" y="210"/>
                  <a:pt x="214" y="210"/>
                </a:cubicBezTo>
                <a:cubicBezTo>
                  <a:pt x="215" y="211"/>
                  <a:pt x="215" y="211"/>
                  <a:pt x="215" y="211"/>
                </a:cubicBezTo>
                <a:cubicBezTo>
                  <a:pt x="215" y="211"/>
                  <a:pt x="215" y="211"/>
                  <a:pt x="215" y="211"/>
                </a:cubicBezTo>
                <a:cubicBezTo>
                  <a:pt x="216" y="211"/>
                  <a:pt x="216" y="211"/>
                  <a:pt x="216" y="211"/>
                </a:cubicBezTo>
                <a:cubicBezTo>
                  <a:pt x="216" y="211"/>
                  <a:pt x="216" y="211"/>
                  <a:pt x="216" y="211"/>
                </a:cubicBezTo>
                <a:cubicBezTo>
                  <a:pt x="217" y="211"/>
                  <a:pt x="217" y="211"/>
                  <a:pt x="217" y="211"/>
                </a:cubicBezTo>
                <a:cubicBezTo>
                  <a:pt x="217" y="212"/>
                  <a:pt x="217" y="212"/>
                  <a:pt x="217" y="212"/>
                </a:cubicBezTo>
                <a:cubicBezTo>
                  <a:pt x="218" y="212"/>
                  <a:pt x="218" y="212"/>
                  <a:pt x="218" y="212"/>
                </a:cubicBezTo>
                <a:cubicBezTo>
                  <a:pt x="218" y="212"/>
                  <a:pt x="218" y="212"/>
                  <a:pt x="218" y="212"/>
                </a:cubicBezTo>
                <a:cubicBezTo>
                  <a:pt x="220" y="212"/>
                  <a:pt x="220" y="212"/>
                  <a:pt x="220" y="212"/>
                </a:cubicBezTo>
                <a:cubicBezTo>
                  <a:pt x="220" y="211"/>
                  <a:pt x="220" y="211"/>
                  <a:pt x="220" y="211"/>
                </a:cubicBezTo>
                <a:cubicBezTo>
                  <a:pt x="222" y="210"/>
                  <a:pt x="222" y="210"/>
                  <a:pt x="222" y="210"/>
                </a:cubicBezTo>
                <a:cubicBezTo>
                  <a:pt x="222" y="210"/>
                  <a:pt x="222" y="210"/>
                  <a:pt x="222" y="210"/>
                </a:cubicBezTo>
                <a:cubicBezTo>
                  <a:pt x="224" y="209"/>
                  <a:pt x="224" y="209"/>
                  <a:pt x="224" y="209"/>
                </a:cubicBezTo>
                <a:cubicBezTo>
                  <a:pt x="225" y="209"/>
                  <a:pt x="225" y="209"/>
                  <a:pt x="225" y="209"/>
                </a:cubicBezTo>
                <a:cubicBezTo>
                  <a:pt x="226" y="208"/>
                  <a:pt x="226" y="208"/>
                  <a:pt x="226" y="208"/>
                </a:cubicBezTo>
                <a:cubicBezTo>
                  <a:pt x="227" y="208"/>
                  <a:pt x="227" y="208"/>
                  <a:pt x="227" y="208"/>
                </a:cubicBezTo>
                <a:cubicBezTo>
                  <a:pt x="227" y="208"/>
                  <a:pt x="227" y="208"/>
                  <a:pt x="227" y="208"/>
                </a:cubicBezTo>
                <a:cubicBezTo>
                  <a:pt x="229" y="208"/>
                  <a:pt x="229" y="208"/>
                  <a:pt x="229" y="208"/>
                </a:cubicBezTo>
                <a:cubicBezTo>
                  <a:pt x="229" y="208"/>
                  <a:pt x="229" y="208"/>
                  <a:pt x="229" y="208"/>
                </a:cubicBezTo>
                <a:cubicBezTo>
                  <a:pt x="230" y="208"/>
                  <a:pt x="230" y="208"/>
                  <a:pt x="230" y="208"/>
                </a:cubicBezTo>
                <a:cubicBezTo>
                  <a:pt x="233" y="208"/>
                  <a:pt x="233" y="208"/>
                  <a:pt x="233" y="208"/>
                </a:cubicBezTo>
                <a:cubicBezTo>
                  <a:pt x="235" y="207"/>
                  <a:pt x="235" y="207"/>
                  <a:pt x="235" y="207"/>
                </a:cubicBezTo>
                <a:cubicBezTo>
                  <a:pt x="236" y="206"/>
                  <a:pt x="236" y="206"/>
                  <a:pt x="236" y="206"/>
                </a:cubicBezTo>
                <a:cubicBezTo>
                  <a:pt x="236" y="206"/>
                  <a:pt x="236" y="206"/>
                  <a:pt x="236" y="206"/>
                </a:cubicBezTo>
                <a:cubicBezTo>
                  <a:pt x="236" y="206"/>
                  <a:pt x="236" y="206"/>
                  <a:pt x="236" y="206"/>
                </a:cubicBezTo>
                <a:cubicBezTo>
                  <a:pt x="237" y="206"/>
                  <a:pt x="237" y="206"/>
                  <a:pt x="237" y="206"/>
                </a:cubicBezTo>
                <a:cubicBezTo>
                  <a:pt x="238" y="205"/>
                  <a:pt x="238" y="205"/>
                  <a:pt x="238" y="205"/>
                </a:cubicBezTo>
                <a:cubicBezTo>
                  <a:pt x="238" y="204"/>
                  <a:pt x="238" y="204"/>
                  <a:pt x="238" y="204"/>
                </a:cubicBezTo>
                <a:cubicBezTo>
                  <a:pt x="238" y="204"/>
                  <a:pt x="238" y="204"/>
                  <a:pt x="238" y="204"/>
                </a:cubicBezTo>
                <a:cubicBezTo>
                  <a:pt x="239" y="204"/>
                  <a:pt x="239" y="204"/>
                  <a:pt x="239" y="204"/>
                </a:cubicBezTo>
                <a:cubicBezTo>
                  <a:pt x="239" y="204"/>
                  <a:pt x="239" y="204"/>
                  <a:pt x="239" y="204"/>
                </a:cubicBezTo>
                <a:cubicBezTo>
                  <a:pt x="240" y="203"/>
                  <a:pt x="240" y="203"/>
                  <a:pt x="240" y="203"/>
                </a:cubicBezTo>
                <a:cubicBezTo>
                  <a:pt x="240" y="203"/>
                  <a:pt x="240" y="203"/>
                  <a:pt x="240" y="203"/>
                </a:cubicBezTo>
                <a:cubicBezTo>
                  <a:pt x="240" y="203"/>
                  <a:pt x="240" y="203"/>
                  <a:pt x="240" y="203"/>
                </a:cubicBezTo>
                <a:cubicBezTo>
                  <a:pt x="241" y="203"/>
                  <a:pt x="241" y="203"/>
                  <a:pt x="241" y="203"/>
                </a:cubicBezTo>
                <a:cubicBezTo>
                  <a:pt x="241" y="203"/>
                  <a:pt x="241" y="203"/>
                  <a:pt x="241" y="203"/>
                </a:cubicBezTo>
                <a:cubicBezTo>
                  <a:pt x="241" y="204"/>
                  <a:pt x="241" y="204"/>
                  <a:pt x="241" y="204"/>
                </a:cubicBezTo>
                <a:cubicBezTo>
                  <a:pt x="242" y="205"/>
                  <a:pt x="242" y="205"/>
                  <a:pt x="242" y="205"/>
                </a:cubicBezTo>
                <a:cubicBezTo>
                  <a:pt x="241" y="205"/>
                  <a:pt x="241" y="205"/>
                  <a:pt x="241" y="205"/>
                </a:cubicBezTo>
                <a:cubicBezTo>
                  <a:pt x="241" y="206"/>
                  <a:pt x="241" y="206"/>
                  <a:pt x="241" y="206"/>
                </a:cubicBezTo>
                <a:cubicBezTo>
                  <a:pt x="240" y="207"/>
                  <a:pt x="240" y="207"/>
                  <a:pt x="240" y="207"/>
                </a:cubicBezTo>
                <a:cubicBezTo>
                  <a:pt x="240" y="207"/>
                  <a:pt x="240" y="207"/>
                  <a:pt x="240" y="207"/>
                </a:cubicBezTo>
                <a:cubicBezTo>
                  <a:pt x="240" y="208"/>
                  <a:pt x="240" y="208"/>
                  <a:pt x="240" y="208"/>
                </a:cubicBezTo>
                <a:cubicBezTo>
                  <a:pt x="240" y="208"/>
                  <a:pt x="240" y="208"/>
                  <a:pt x="240" y="208"/>
                </a:cubicBezTo>
                <a:cubicBezTo>
                  <a:pt x="241" y="209"/>
                  <a:pt x="241" y="209"/>
                  <a:pt x="241" y="209"/>
                </a:cubicBezTo>
                <a:cubicBezTo>
                  <a:pt x="242" y="208"/>
                  <a:pt x="242" y="208"/>
                  <a:pt x="242" y="208"/>
                </a:cubicBezTo>
                <a:cubicBezTo>
                  <a:pt x="243" y="208"/>
                  <a:pt x="243" y="208"/>
                  <a:pt x="243" y="208"/>
                </a:cubicBezTo>
                <a:cubicBezTo>
                  <a:pt x="244" y="209"/>
                  <a:pt x="244" y="209"/>
                  <a:pt x="244" y="209"/>
                </a:cubicBezTo>
                <a:cubicBezTo>
                  <a:pt x="244" y="210"/>
                  <a:pt x="244" y="210"/>
                  <a:pt x="244" y="210"/>
                </a:cubicBezTo>
                <a:cubicBezTo>
                  <a:pt x="244" y="210"/>
                  <a:pt x="244" y="210"/>
                  <a:pt x="244" y="210"/>
                </a:cubicBezTo>
                <a:cubicBezTo>
                  <a:pt x="245" y="210"/>
                  <a:pt x="245" y="210"/>
                  <a:pt x="245" y="210"/>
                </a:cubicBezTo>
                <a:cubicBezTo>
                  <a:pt x="245" y="209"/>
                  <a:pt x="245" y="209"/>
                  <a:pt x="245" y="209"/>
                </a:cubicBezTo>
                <a:cubicBezTo>
                  <a:pt x="246" y="210"/>
                  <a:pt x="246" y="210"/>
                  <a:pt x="246" y="210"/>
                </a:cubicBezTo>
                <a:cubicBezTo>
                  <a:pt x="246" y="211"/>
                  <a:pt x="246" y="211"/>
                  <a:pt x="246" y="211"/>
                </a:cubicBezTo>
                <a:cubicBezTo>
                  <a:pt x="245" y="211"/>
                  <a:pt x="245" y="211"/>
                  <a:pt x="245" y="211"/>
                </a:cubicBezTo>
                <a:cubicBezTo>
                  <a:pt x="244" y="211"/>
                  <a:pt x="244" y="211"/>
                  <a:pt x="244" y="211"/>
                </a:cubicBezTo>
                <a:cubicBezTo>
                  <a:pt x="243" y="212"/>
                  <a:pt x="243" y="212"/>
                  <a:pt x="243" y="212"/>
                </a:cubicBezTo>
                <a:cubicBezTo>
                  <a:pt x="243" y="213"/>
                  <a:pt x="243" y="213"/>
                  <a:pt x="243" y="213"/>
                </a:cubicBezTo>
                <a:cubicBezTo>
                  <a:pt x="244" y="213"/>
                  <a:pt x="244" y="213"/>
                  <a:pt x="244" y="213"/>
                </a:cubicBezTo>
                <a:cubicBezTo>
                  <a:pt x="245" y="213"/>
                  <a:pt x="245" y="213"/>
                  <a:pt x="245" y="213"/>
                </a:cubicBezTo>
                <a:cubicBezTo>
                  <a:pt x="246" y="214"/>
                  <a:pt x="246" y="214"/>
                  <a:pt x="246" y="214"/>
                </a:cubicBezTo>
                <a:cubicBezTo>
                  <a:pt x="247" y="213"/>
                  <a:pt x="247" y="213"/>
                  <a:pt x="247" y="213"/>
                </a:cubicBezTo>
                <a:cubicBezTo>
                  <a:pt x="248" y="212"/>
                  <a:pt x="248" y="212"/>
                  <a:pt x="248" y="212"/>
                </a:cubicBezTo>
                <a:cubicBezTo>
                  <a:pt x="248" y="212"/>
                  <a:pt x="248" y="212"/>
                  <a:pt x="248" y="212"/>
                </a:cubicBezTo>
                <a:cubicBezTo>
                  <a:pt x="248" y="213"/>
                  <a:pt x="248" y="213"/>
                  <a:pt x="248" y="213"/>
                </a:cubicBezTo>
                <a:cubicBezTo>
                  <a:pt x="249" y="214"/>
                  <a:pt x="249" y="214"/>
                  <a:pt x="249" y="214"/>
                </a:cubicBezTo>
                <a:cubicBezTo>
                  <a:pt x="249" y="215"/>
                  <a:pt x="249" y="215"/>
                  <a:pt x="249" y="215"/>
                </a:cubicBezTo>
                <a:cubicBezTo>
                  <a:pt x="250" y="214"/>
                  <a:pt x="250" y="214"/>
                  <a:pt x="250" y="214"/>
                </a:cubicBezTo>
                <a:cubicBezTo>
                  <a:pt x="251" y="214"/>
                  <a:pt x="251" y="214"/>
                  <a:pt x="251" y="214"/>
                </a:cubicBezTo>
                <a:cubicBezTo>
                  <a:pt x="251" y="215"/>
                  <a:pt x="251" y="215"/>
                  <a:pt x="251" y="215"/>
                </a:cubicBezTo>
                <a:cubicBezTo>
                  <a:pt x="252" y="215"/>
                  <a:pt x="252" y="215"/>
                  <a:pt x="252" y="215"/>
                </a:cubicBezTo>
                <a:cubicBezTo>
                  <a:pt x="253" y="216"/>
                  <a:pt x="253" y="216"/>
                  <a:pt x="253" y="216"/>
                </a:cubicBezTo>
                <a:cubicBezTo>
                  <a:pt x="253" y="216"/>
                  <a:pt x="253" y="216"/>
                  <a:pt x="253" y="216"/>
                </a:cubicBezTo>
                <a:cubicBezTo>
                  <a:pt x="253" y="215"/>
                  <a:pt x="253" y="215"/>
                  <a:pt x="253" y="215"/>
                </a:cubicBezTo>
                <a:cubicBezTo>
                  <a:pt x="254" y="215"/>
                  <a:pt x="254" y="215"/>
                  <a:pt x="254" y="215"/>
                </a:cubicBezTo>
                <a:cubicBezTo>
                  <a:pt x="255" y="215"/>
                  <a:pt x="255" y="215"/>
                  <a:pt x="255" y="215"/>
                </a:cubicBezTo>
                <a:cubicBezTo>
                  <a:pt x="255" y="215"/>
                  <a:pt x="255" y="215"/>
                  <a:pt x="255" y="215"/>
                </a:cubicBezTo>
                <a:cubicBezTo>
                  <a:pt x="255" y="216"/>
                  <a:pt x="255" y="216"/>
                  <a:pt x="255" y="216"/>
                </a:cubicBezTo>
                <a:cubicBezTo>
                  <a:pt x="256" y="216"/>
                  <a:pt x="256" y="216"/>
                  <a:pt x="256" y="216"/>
                </a:cubicBezTo>
                <a:cubicBezTo>
                  <a:pt x="257" y="216"/>
                  <a:pt x="257" y="216"/>
                  <a:pt x="257" y="216"/>
                </a:cubicBezTo>
                <a:cubicBezTo>
                  <a:pt x="257" y="215"/>
                  <a:pt x="257" y="215"/>
                  <a:pt x="257" y="215"/>
                </a:cubicBezTo>
                <a:cubicBezTo>
                  <a:pt x="258" y="215"/>
                  <a:pt x="258" y="215"/>
                  <a:pt x="258" y="215"/>
                </a:cubicBezTo>
                <a:cubicBezTo>
                  <a:pt x="258" y="216"/>
                  <a:pt x="258" y="216"/>
                  <a:pt x="258" y="216"/>
                </a:cubicBezTo>
                <a:cubicBezTo>
                  <a:pt x="258" y="216"/>
                  <a:pt x="258" y="216"/>
                  <a:pt x="258" y="216"/>
                </a:cubicBezTo>
                <a:cubicBezTo>
                  <a:pt x="259" y="215"/>
                  <a:pt x="259" y="215"/>
                  <a:pt x="259" y="215"/>
                </a:cubicBezTo>
                <a:cubicBezTo>
                  <a:pt x="259" y="215"/>
                  <a:pt x="259" y="215"/>
                  <a:pt x="259" y="215"/>
                </a:cubicBezTo>
                <a:cubicBezTo>
                  <a:pt x="260" y="215"/>
                  <a:pt x="260" y="215"/>
                  <a:pt x="260" y="215"/>
                </a:cubicBezTo>
                <a:cubicBezTo>
                  <a:pt x="261" y="215"/>
                  <a:pt x="261" y="215"/>
                  <a:pt x="261" y="215"/>
                </a:cubicBezTo>
                <a:cubicBezTo>
                  <a:pt x="261" y="215"/>
                  <a:pt x="261" y="215"/>
                  <a:pt x="261" y="215"/>
                </a:cubicBezTo>
                <a:cubicBezTo>
                  <a:pt x="261" y="215"/>
                  <a:pt x="261" y="215"/>
                  <a:pt x="261" y="215"/>
                </a:cubicBezTo>
                <a:cubicBezTo>
                  <a:pt x="262" y="215"/>
                  <a:pt x="262" y="215"/>
                  <a:pt x="262" y="215"/>
                </a:cubicBezTo>
                <a:close/>
                <a:moveTo>
                  <a:pt x="379" y="259"/>
                </a:moveTo>
                <a:cubicBezTo>
                  <a:pt x="380" y="258"/>
                  <a:pt x="380" y="258"/>
                  <a:pt x="380" y="258"/>
                </a:cubicBezTo>
                <a:cubicBezTo>
                  <a:pt x="379" y="257"/>
                  <a:pt x="379" y="257"/>
                  <a:pt x="379" y="257"/>
                </a:cubicBezTo>
                <a:cubicBezTo>
                  <a:pt x="379" y="256"/>
                  <a:pt x="379" y="256"/>
                  <a:pt x="379" y="256"/>
                </a:cubicBezTo>
                <a:cubicBezTo>
                  <a:pt x="379" y="255"/>
                  <a:pt x="379" y="255"/>
                  <a:pt x="379" y="255"/>
                </a:cubicBezTo>
                <a:cubicBezTo>
                  <a:pt x="381" y="253"/>
                  <a:pt x="381" y="253"/>
                  <a:pt x="381" y="253"/>
                </a:cubicBezTo>
                <a:cubicBezTo>
                  <a:pt x="382" y="252"/>
                  <a:pt x="382" y="252"/>
                  <a:pt x="382" y="252"/>
                </a:cubicBezTo>
                <a:cubicBezTo>
                  <a:pt x="383" y="251"/>
                  <a:pt x="383" y="251"/>
                  <a:pt x="383" y="251"/>
                </a:cubicBezTo>
                <a:cubicBezTo>
                  <a:pt x="385" y="248"/>
                  <a:pt x="385" y="248"/>
                  <a:pt x="385" y="248"/>
                </a:cubicBezTo>
                <a:cubicBezTo>
                  <a:pt x="386" y="248"/>
                  <a:pt x="386" y="248"/>
                  <a:pt x="386" y="248"/>
                </a:cubicBezTo>
                <a:cubicBezTo>
                  <a:pt x="386" y="248"/>
                  <a:pt x="386" y="248"/>
                  <a:pt x="386" y="248"/>
                </a:cubicBezTo>
                <a:cubicBezTo>
                  <a:pt x="387" y="247"/>
                  <a:pt x="387" y="247"/>
                  <a:pt x="387" y="247"/>
                </a:cubicBezTo>
                <a:cubicBezTo>
                  <a:pt x="388" y="247"/>
                  <a:pt x="388" y="247"/>
                  <a:pt x="388" y="247"/>
                </a:cubicBezTo>
                <a:cubicBezTo>
                  <a:pt x="389" y="247"/>
                  <a:pt x="389" y="247"/>
                  <a:pt x="389" y="247"/>
                </a:cubicBezTo>
                <a:cubicBezTo>
                  <a:pt x="390" y="247"/>
                  <a:pt x="390" y="247"/>
                  <a:pt x="390" y="247"/>
                </a:cubicBezTo>
                <a:cubicBezTo>
                  <a:pt x="391" y="248"/>
                  <a:pt x="391" y="248"/>
                  <a:pt x="391" y="248"/>
                </a:cubicBezTo>
                <a:cubicBezTo>
                  <a:pt x="391" y="248"/>
                  <a:pt x="391" y="248"/>
                  <a:pt x="391" y="248"/>
                </a:cubicBezTo>
                <a:cubicBezTo>
                  <a:pt x="392" y="249"/>
                  <a:pt x="392" y="249"/>
                  <a:pt x="392" y="249"/>
                </a:cubicBezTo>
                <a:cubicBezTo>
                  <a:pt x="393" y="250"/>
                  <a:pt x="393" y="250"/>
                  <a:pt x="393" y="250"/>
                </a:cubicBezTo>
                <a:cubicBezTo>
                  <a:pt x="393" y="251"/>
                  <a:pt x="393" y="251"/>
                  <a:pt x="393" y="251"/>
                </a:cubicBezTo>
                <a:cubicBezTo>
                  <a:pt x="392" y="252"/>
                  <a:pt x="392" y="252"/>
                  <a:pt x="392" y="252"/>
                </a:cubicBezTo>
                <a:cubicBezTo>
                  <a:pt x="391" y="253"/>
                  <a:pt x="391" y="253"/>
                  <a:pt x="391" y="253"/>
                </a:cubicBezTo>
                <a:cubicBezTo>
                  <a:pt x="391" y="254"/>
                  <a:pt x="391" y="254"/>
                  <a:pt x="391" y="254"/>
                </a:cubicBezTo>
                <a:cubicBezTo>
                  <a:pt x="389" y="257"/>
                  <a:pt x="389" y="257"/>
                  <a:pt x="389" y="257"/>
                </a:cubicBezTo>
                <a:cubicBezTo>
                  <a:pt x="389" y="258"/>
                  <a:pt x="389" y="258"/>
                  <a:pt x="389" y="258"/>
                </a:cubicBezTo>
                <a:cubicBezTo>
                  <a:pt x="388" y="258"/>
                  <a:pt x="388" y="258"/>
                  <a:pt x="388" y="258"/>
                </a:cubicBezTo>
                <a:cubicBezTo>
                  <a:pt x="386" y="259"/>
                  <a:pt x="386" y="259"/>
                  <a:pt x="386" y="259"/>
                </a:cubicBezTo>
                <a:cubicBezTo>
                  <a:pt x="386" y="259"/>
                  <a:pt x="386" y="259"/>
                  <a:pt x="386" y="259"/>
                </a:cubicBezTo>
                <a:cubicBezTo>
                  <a:pt x="385" y="260"/>
                  <a:pt x="385" y="260"/>
                  <a:pt x="385" y="260"/>
                </a:cubicBezTo>
                <a:cubicBezTo>
                  <a:pt x="384" y="260"/>
                  <a:pt x="384" y="260"/>
                  <a:pt x="384" y="260"/>
                </a:cubicBezTo>
                <a:cubicBezTo>
                  <a:pt x="383" y="260"/>
                  <a:pt x="383" y="260"/>
                  <a:pt x="383" y="260"/>
                </a:cubicBezTo>
                <a:cubicBezTo>
                  <a:pt x="381" y="260"/>
                  <a:pt x="381" y="260"/>
                  <a:pt x="381" y="260"/>
                </a:cubicBezTo>
                <a:cubicBezTo>
                  <a:pt x="380" y="260"/>
                  <a:pt x="380" y="260"/>
                  <a:pt x="380" y="260"/>
                </a:cubicBezTo>
                <a:cubicBezTo>
                  <a:pt x="379" y="260"/>
                  <a:pt x="379" y="260"/>
                  <a:pt x="379" y="260"/>
                </a:cubicBezTo>
                <a:cubicBezTo>
                  <a:pt x="379" y="259"/>
                  <a:pt x="379" y="259"/>
                  <a:pt x="379" y="259"/>
                </a:cubicBezTo>
                <a:close/>
                <a:moveTo>
                  <a:pt x="268" y="211"/>
                </a:moveTo>
                <a:cubicBezTo>
                  <a:pt x="268" y="211"/>
                  <a:pt x="268" y="211"/>
                  <a:pt x="268" y="211"/>
                </a:cubicBezTo>
                <a:cubicBezTo>
                  <a:pt x="268" y="210"/>
                  <a:pt x="268" y="210"/>
                  <a:pt x="268" y="210"/>
                </a:cubicBezTo>
                <a:cubicBezTo>
                  <a:pt x="269" y="210"/>
                  <a:pt x="269" y="210"/>
                  <a:pt x="269" y="210"/>
                </a:cubicBezTo>
                <a:cubicBezTo>
                  <a:pt x="268" y="209"/>
                  <a:pt x="268" y="209"/>
                  <a:pt x="268" y="209"/>
                </a:cubicBezTo>
                <a:cubicBezTo>
                  <a:pt x="268" y="208"/>
                  <a:pt x="268" y="208"/>
                  <a:pt x="268" y="208"/>
                </a:cubicBezTo>
                <a:cubicBezTo>
                  <a:pt x="269" y="208"/>
                  <a:pt x="269" y="208"/>
                  <a:pt x="269" y="208"/>
                </a:cubicBezTo>
                <a:cubicBezTo>
                  <a:pt x="269" y="209"/>
                  <a:pt x="269" y="209"/>
                  <a:pt x="269" y="209"/>
                </a:cubicBezTo>
                <a:cubicBezTo>
                  <a:pt x="270" y="209"/>
                  <a:pt x="270" y="209"/>
                  <a:pt x="270" y="209"/>
                </a:cubicBezTo>
                <a:cubicBezTo>
                  <a:pt x="270" y="210"/>
                  <a:pt x="270" y="210"/>
                  <a:pt x="270" y="210"/>
                </a:cubicBezTo>
                <a:cubicBezTo>
                  <a:pt x="269" y="211"/>
                  <a:pt x="269" y="211"/>
                  <a:pt x="269" y="211"/>
                </a:cubicBezTo>
                <a:cubicBezTo>
                  <a:pt x="269" y="211"/>
                  <a:pt x="269" y="211"/>
                  <a:pt x="269" y="211"/>
                </a:cubicBezTo>
                <a:cubicBezTo>
                  <a:pt x="268" y="211"/>
                  <a:pt x="268" y="211"/>
                  <a:pt x="268" y="211"/>
                </a:cubicBezTo>
                <a:cubicBezTo>
                  <a:pt x="268" y="211"/>
                  <a:pt x="268" y="211"/>
                  <a:pt x="268" y="211"/>
                </a:cubicBezTo>
                <a:close/>
                <a:moveTo>
                  <a:pt x="257" y="221"/>
                </a:moveTo>
                <a:cubicBezTo>
                  <a:pt x="258" y="220"/>
                  <a:pt x="258" y="220"/>
                  <a:pt x="258" y="220"/>
                </a:cubicBezTo>
                <a:cubicBezTo>
                  <a:pt x="258" y="220"/>
                  <a:pt x="258" y="220"/>
                  <a:pt x="258" y="220"/>
                </a:cubicBezTo>
                <a:cubicBezTo>
                  <a:pt x="258" y="219"/>
                  <a:pt x="258" y="219"/>
                  <a:pt x="258" y="219"/>
                </a:cubicBezTo>
                <a:cubicBezTo>
                  <a:pt x="259" y="218"/>
                  <a:pt x="259" y="218"/>
                  <a:pt x="259" y="218"/>
                </a:cubicBezTo>
                <a:cubicBezTo>
                  <a:pt x="258" y="218"/>
                  <a:pt x="258" y="218"/>
                  <a:pt x="258" y="218"/>
                </a:cubicBezTo>
                <a:cubicBezTo>
                  <a:pt x="257" y="219"/>
                  <a:pt x="257" y="219"/>
                  <a:pt x="257" y="219"/>
                </a:cubicBezTo>
                <a:cubicBezTo>
                  <a:pt x="257" y="219"/>
                  <a:pt x="257" y="219"/>
                  <a:pt x="257" y="219"/>
                </a:cubicBezTo>
                <a:cubicBezTo>
                  <a:pt x="256" y="219"/>
                  <a:pt x="256" y="219"/>
                  <a:pt x="256" y="219"/>
                </a:cubicBezTo>
                <a:cubicBezTo>
                  <a:pt x="256" y="219"/>
                  <a:pt x="256" y="219"/>
                  <a:pt x="256" y="219"/>
                </a:cubicBezTo>
                <a:cubicBezTo>
                  <a:pt x="257" y="221"/>
                  <a:pt x="257" y="221"/>
                  <a:pt x="257" y="221"/>
                </a:cubicBezTo>
                <a:cubicBezTo>
                  <a:pt x="257" y="221"/>
                  <a:pt x="257" y="221"/>
                  <a:pt x="257" y="221"/>
                </a:cubicBezTo>
                <a:close/>
                <a:moveTo>
                  <a:pt x="270" y="219"/>
                </a:moveTo>
                <a:cubicBezTo>
                  <a:pt x="269" y="219"/>
                  <a:pt x="269" y="219"/>
                  <a:pt x="269" y="219"/>
                </a:cubicBezTo>
                <a:cubicBezTo>
                  <a:pt x="268" y="220"/>
                  <a:pt x="268" y="220"/>
                  <a:pt x="268" y="220"/>
                </a:cubicBezTo>
                <a:cubicBezTo>
                  <a:pt x="268" y="221"/>
                  <a:pt x="268" y="221"/>
                  <a:pt x="268" y="221"/>
                </a:cubicBezTo>
                <a:cubicBezTo>
                  <a:pt x="267" y="220"/>
                  <a:pt x="267" y="220"/>
                  <a:pt x="267" y="220"/>
                </a:cubicBezTo>
                <a:cubicBezTo>
                  <a:pt x="267" y="219"/>
                  <a:pt x="267" y="219"/>
                  <a:pt x="267" y="219"/>
                </a:cubicBezTo>
                <a:cubicBezTo>
                  <a:pt x="268" y="217"/>
                  <a:pt x="268" y="217"/>
                  <a:pt x="268" y="217"/>
                </a:cubicBezTo>
                <a:cubicBezTo>
                  <a:pt x="268" y="216"/>
                  <a:pt x="268" y="216"/>
                  <a:pt x="268" y="216"/>
                </a:cubicBezTo>
                <a:cubicBezTo>
                  <a:pt x="269" y="216"/>
                  <a:pt x="269" y="216"/>
                  <a:pt x="269" y="216"/>
                </a:cubicBezTo>
                <a:cubicBezTo>
                  <a:pt x="270" y="216"/>
                  <a:pt x="270" y="216"/>
                  <a:pt x="270" y="216"/>
                </a:cubicBezTo>
                <a:cubicBezTo>
                  <a:pt x="270" y="216"/>
                  <a:pt x="270" y="216"/>
                  <a:pt x="270" y="216"/>
                </a:cubicBezTo>
                <a:cubicBezTo>
                  <a:pt x="270" y="217"/>
                  <a:pt x="270" y="217"/>
                  <a:pt x="270" y="217"/>
                </a:cubicBezTo>
                <a:cubicBezTo>
                  <a:pt x="270" y="219"/>
                  <a:pt x="270" y="219"/>
                  <a:pt x="270" y="219"/>
                </a:cubicBezTo>
                <a:close/>
                <a:moveTo>
                  <a:pt x="271" y="217"/>
                </a:moveTo>
                <a:cubicBezTo>
                  <a:pt x="271" y="216"/>
                  <a:pt x="271" y="216"/>
                  <a:pt x="271" y="216"/>
                </a:cubicBezTo>
                <a:cubicBezTo>
                  <a:pt x="271" y="216"/>
                  <a:pt x="271" y="216"/>
                  <a:pt x="271" y="216"/>
                </a:cubicBezTo>
                <a:cubicBezTo>
                  <a:pt x="271" y="214"/>
                  <a:pt x="271" y="214"/>
                  <a:pt x="271" y="214"/>
                </a:cubicBezTo>
                <a:cubicBezTo>
                  <a:pt x="272" y="214"/>
                  <a:pt x="272" y="214"/>
                  <a:pt x="272" y="214"/>
                </a:cubicBezTo>
                <a:cubicBezTo>
                  <a:pt x="273" y="215"/>
                  <a:pt x="273" y="215"/>
                  <a:pt x="273" y="215"/>
                </a:cubicBezTo>
                <a:cubicBezTo>
                  <a:pt x="272" y="216"/>
                  <a:pt x="272" y="216"/>
                  <a:pt x="272" y="216"/>
                </a:cubicBezTo>
                <a:cubicBezTo>
                  <a:pt x="272" y="217"/>
                  <a:pt x="272" y="217"/>
                  <a:pt x="272" y="217"/>
                </a:cubicBezTo>
                <a:cubicBezTo>
                  <a:pt x="272" y="217"/>
                  <a:pt x="271" y="217"/>
                  <a:pt x="271" y="217"/>
                </a:cubicBezTo>
                <a:close/>
                <a:moveTo>
                  <a:pt x="294" y="217"/>
                </a:moveTo>
                <a:cubicBezTo>
                  <a:pt x="295" y="215"/>
                  <a:pt x="295" y="215"/>
                  <a:pt x="295" y="215"/>
                </a:cubicBezTo>
                <a:cubicBezTo>
                  <a:pt x="296" y="214"/>
                  <a:pt x="296" y="214"/>
                  <a:pt x="296" y="214"/>
                </a:cubicBezTo>
                <a:cubicBezTo>
                  <a:pt x="298" y="215"/>
                  <a:pt x="298" y="215"/>
                  <a:pt x="298" y="215"/>
                </a:cubicBezTo>
                <a:cubicBezTo>
                  <a:pt x="298" y="216"/>
                  <a:pt x="298" y="216"/>
                  <a:pt x="298" y="216"/>
                </a:cubicBezTo>
                <a:cubicBezTo>
                  <a:pt x="297" y="218"/>
                  <a:pt x="297" y="218"/>
                  <a:pt x="297" y="218"/>
                </a:cubicBezTo>
                <a:cubicBezTo>
                  <a:pt x="296" y="218"/>
                  <a:pt x="296" y="218"/>
                  <a:pt x="296" y="218"/>
                </a:cubicBezTo>
                <a:cubicBezTo>
                  <a:pt x="296" y="217"/>
                  <a:pt x="296" y="217"/>
                  <a:pt x="296" y="217"/>
                </a:cubicBezTo>
                <a:cubicBezTo>
                  <a:pt x="296" y="216"/>
                  <a:pt x="296" y="216"/>
                  <a:pt x="296" y="216"/>
                </a:cubicBezTo>
                <a:cubicBezTo>
                  <a:pt x="295" y="217"/>
                  <a:pt x="295" y="217"/>
                  <a:pt x="295" y="217"/>
                </a:cubicBezTo>
                <a:cubicBezTo>
                  <a:pt x="295" y="217"/>
                  <a:pt x="295" y="217"/>
                  <a:pt x="295" y="217"/>
                </a:cubicBezTo>
                <a:cubicBezTo>
                  <a:pt x="295" y="217"/>
                  <a:pt x="294" y="217"/>
                  <a:pt x="294" y="217"/>
                </a:cubicBezTo>
                <a:close/>
                <a:moveTo>
                  <a:pt x="293" y="216"/>
                </a:moveTo>
                <a:cubicBezTo>
                  <a:pt x="294" y="216"/>
                  <a:pt x="294" y="216"/>
                  <a:pt x="294" y="216"/>
                </a:cubicBezTo>
                <a:cubicBezTo>
                  <a:pt x="295" y="215"/>
                  <a:pt x="295" y="215"/>
                  <a:pt x="295" y="215"/>
                </a:cubicBezTo>
                <a:cubicBezTo>
                  <a:pt x="294" y="213"/>
                  <a:pt x="294" y="213"/>
                  <a:pt x="294" y="213"/>
                </a:cubicBezTo>
                <a:cubicBezTo>
                  <a:pt x="293" y="214"/>
                  <a:pt x="293" y="214"/>
                  <a:pt x="293" y="214"/>
                </a:cubicBezTo>
                <a:cubicBezTo>
                  <a:pt x="293" y="216"/>
                  <a:pt x="293" y="216"/>
                  <a:pt x="293" y="216"/>
                </a:cubicBezTo>
                <a:close/>
                <a:moveTo>
                  <a:pt x="293" y="227"/>
                </a:moveTo>
                <a:cubicBezTo>
                  <a:pt x="293" y="226"/>
                  <a:pt x="293" y="226"/>
                  <a:pt x="293" y="226"/>
                </a:cubicBezTo>
                <a:cubicBezTo>
                  <a:pt x="295" y="225"/>
                  <a:pt x="295" y="225"/>
                  <a:pt x="295" y="225"/>
                </a:cubicBezTo>
                <a:cubicBezTo>
                  <a:pt x="295" y="224"/>
                  <a:pt x="295" y="224"/>
                  <a:pt x="295" y="224"/>
                </a:cubicBezTo>
                <a:cubicBezTo>
                  <a:pt x="293" y="225"/>
                  <a:pt x="293" y="225"/>
                  <a:pt x="293" y="225"/>
                </a:cubicBezTo>
                <a:cubicBezTo>
                  <a:pt x="293" y="224"/>
                  <a:pt x="293" y="224"/>
                  <a:pt x="293" y="224"/>
                </a:cubicBezTo>
                <a:cubicBezTo>
                  <a:pt x="294" y="221"/>
                  <a:pt x="294" y="221"/>
                  <a:pt x="294" y="221"/>
                </a:cubicBezTo>
                <a:cubicBezTo>
                  <a:pt x="294" y="220"/>
                  <a:pt x="294" y="220"/>
                  <a:pt x="294" y="220"/>
                </a:cubicBezTo>
                <a:cubicBezTo>
                  <a:pt x="293" y="221"/>
                  <a:pt x="293" y="221"/>
                  <a:pt x="293" y="221"/>
                </a:cubicBezTo>
                <a:cubicBezTo>
                  <a:pt x="292" y="222"/>
                  <a:pt x="292" y="222"/>
                  <a:pt x="292" y="222"/>
                </a:cubicBezTo>
                <a:cubicBezTo>
                  <a:pt x="292" y="221"/>
                  <a:pt x="292" y="221"/>
                  <a:pt x="292" y="221"/>
                </a:cubicBezTo>
                <a:cubicBezTo>
                  <a:pt x="293" y="218"/>
                  <a:pt x="293" y="218"/>
                  <a:pt x="293" y="218"/>
                </a:cubicBezTo>
                <a:cubicBezTo>
                  <a:pt x="292" y="214"/>
                  <a:pt x="292" y="214"/>
                  <a:pt x="292" y="214"/>
                </a:cubicBezTo>
                <a:cubicBezTo>
                  <a:pt x="291" y="213"/>
                  <a:pt x="291" y="213"/>
                  <a:pt x="291" y="213"/>
                </a:cubicBezTo>
                <a:cubicBezTo>
                  <a:pt x="291" y="212"/>
                  <a:pt x="291" y="212"/>
                  <a:pt x="291" y="212"/>
                </a:cubicBezTo>
                <a:cubicBezTo>
                  <a:pt x="290" y="212"/>
                  <a:pt x="290" y="212"/>
                  <a:pt x="290" y="212"/>
                </a:cubicBezTo>
                <a:cubicBezTo>
                  <a:pt x="289" y="213"/>
                  <a:pt x="289" y="213"/>
                  <a:pt x="289" y="213"/>
                </a:cubicBezTo>
                <a:cubicBezTo>
                  <a:pt x="289" y="211"/>
                  <a:pt x="289" y="211"/>
                  <a:pt x="289" y="211"/>
                </a:cubicBezTo>
                <a:cubicBezTo>
                  <a:pt x="290" y="211"/>
                  <a:pt x="290" y="211"/>
                  <a:pt x="290" y="211"/>
                </a:cubicBezTo>
                <a:cubicBezTo>
                  <a:pt x="289" y="209"/>
                  <a:pt x="289" y="209"/>
                  <a:pt x="289" y="209"/>
                </a:cubicBezTo>
                <a:cubicBezTo>
                  <a:pt x="289" y="208"/>
                  <a:pt x="289" y="208"/>
                  <a:pt x="289" y="208"/>
                </a:cubicBezTo>
                <a:cubicBezTo>
                  <a:pt x="289" y="207"/>
                  <a:pt x="289" y="207"/>
                  <a:pt x="289" y="207"/>
                </a:cubicBezTo>
                <a:cubicBezTo>
                  <a:pt x="288" y="208"/>
                  <a:pt x="288" y="208"/>
                  <a:pt x="288" y="208"/>
                </a:cubicBezTo>
                <a:cubicBezTo>
                  <a:pt x="286" y="209"/>
                  <a:pt x="286" y="209"/>
                  <a:pt x="286" y="209"/>
                </a:cubicBezTo>
                <a:cubicBezTo>
                  <a:pt x="285" y="211"/>
                  <a:pt x="285" y="211"/>
                  <a:pt x="285" y="211"/>
                </a:cubicBezTo>
                <a:cubicBezTo>
                  <a:pt x="285" y="213"/>
                  <a:pt x="285" y="213"/>
                  <a:pt x="285" y="213"/>
                </a:cubicBezTo>
                <a:cubicBezTo>
                  <a:pt x="284" y="213"/>
                  <a:pt x="284" y="213"/>
                  <a:pt x="284" y="213"/>
                </a:cubicBezTo>
                <a:cubicBezTo>
                  <a:pt x="284" y="211"/>
                  <a:pt x="284" y="211"/>
                  <a:pt x="284" y="211"/>
                </a:cubicBezTo>
                <a:cubicBezTo>
                  <a:pt x="283" y="211"/>
                  <a:pt x="283" y="211"/>
                  <a:pt x="283" y="211"/>
                </a:cubicBezTo>
                <a:cubicBezTo>
                  <a:pt x="283" y="213"/>
                  <a:pt x="283" y="213"/>
                  <a:pt x="283" y="213"/>
                </a:cubicBezTo>
                <a:cubicBezTo>
                  <a:pt x="282" y="213"/>
                  <a:pt x="282" y="213"/>
                  <a:pt x="282" y="213"/>
                </a:cubicBezTo>
                <a:cubicBezTo>
                  <a:pt x="283" y="214"/>
                  <a:pt x="283" y="214"/>
                  <a:pt x="283" y="214"/>
                </a:cubicBezTo>
                <a:cubicBezTo>
                  <a:pt x="282" y="215"/>
                  <a:pt x="282" y="215"/>
                  <a:pt x="282" y="215"/>
                </a:cubicBezTo>
                <a:cubicBezTo>
                  <a:pt x="281" y="215"/>
                  <a:pt x="281" y="215"/>
                  <a:pt x="281" y="215"/>
                </a:cubicBezTo>
                <a:cubicBezTo>
                  <a:pt x="280" y="216"/>
                  <a:pt x="280" y="216"/>
                  <a:pt x="280" y="216"/>
                </a:cubicBezTo>
                <a:cubicBezTo>
                  <a:pt x="278" y="216"/>
                  <a:pt x="278" y="216"/>
                  <a:pt x="278" y="216"/>
                </a:cubicBezTo>
                <a:cubicBezTo>
                  <a:pt x="278" y="216"/>
                  <a:pt x="278" y="216"/>
                  <a:pt x="278" y="216"/>
                </a:cubicBezTo>
                <a:cubicBezTo>
                  <a:pt x="277" y="216"/>
                  <a:pt x="277" y="216"/>
                  <a:pt x="277" y="216"/>
                </a:cubicBezTo>
                <a:cubicBezTo>
                  <a:pt x="274" y="218"/>
                  <a:pt x="274" y="218"/>
                  <a:pt x="274" y="218"/>
                </a:cubicBezTo>
                <a:cubicBezTo>
                  <a:pt x="274" y="219"/>
                  <a:pt x="274" y="219"/>
                  <a:pt x="274" y="219"/>
                </a:cubicBezTo>
                <a:cubicBezTo>
                  <a:pt x="276" y="221"/>
                  <a:pt x="276" y="221"/>
                  <a:pt x="276" y="221"/>
                </a:cubicBezTo>
                <a:cubicBezTo>
                  <a:pt x="277" y="220"/>
                  <a:pt x="277" y="220"/>
                  <a:pt x="277" y="220"/>
                </a:cubicBezTo>
                <a:cubicBezTo>
                  <a:pt x="276" y="219"/>
                  <a:pt x="276" y="219"/>
                  <a:pt x="276" y="219"/>
                </a:cubicBezTo>
                <a:cubicBezTo>
                  <a:pt x="277" y="218"/>
                  <a:pt x="277" y="218"/>
                  <a:pt x="277" y="218"/>
                </a:cubicBezTo>
                <a:cubicBezTo>
                  <a:pt x="278" y="219"/>
                  <a:pt x="278" y="219"/>
                  <a:pt x="278" y="219"/>
                </a:cubicBezTo>
                <a:cubicBezTo>
                  <a:pt x="277" y="221"/>
                  <a:pt x="277" y="221"/>
                  <a:pt x="277" y="221"/>
                </a:cubicBezTo>
                <a:cubicBezTo>
                  <a:pt x="279" y="222"/>
                  <a:pt x="279" y="222"/>
                  <a:pt x="279" y="222"/>
                </a:cubicBezTo>
                <a:cubicBezTo>
                  <a:pt x="280" y="221"/>
                  <a:pt x="280" y="221"/>
                  <a:pt x="280" y="221"/>
                </a:cubicBezTo>
                <a:cubicBezTo>
                  <a:pt x="280" y="222"/>
                  <a:pt x="280" y="222"/>
                  <a:pt x="280" y="222"/>
                </a:cubicBezTo>
                <a:cubicBezTo>
                  <a:pt x="280" y="223"/>
                  <a:pt x="280" y="223"/>
                  <a:pt x="280" y="223"/>
                </a:cubicBezTo>
                <a:cubicBezTo>
                  <a:pt x="281" y="224"/>
                  <a:pt x="281" y="224"/>
                  <a:pt x="281" y="224"/>
                </a:cubicBezTo>
                <a:cubicBezTo>
                  <a:pt x="282" y="225"/>
                  <a:pt x="282" y="225"/>
                  <a:pt x="282" y="225"/>
                </a:cubicBezTo>
                <a:cubicBezTo>
                  <a:pt x="283" y="226"/>
                  <a:pt x="283" y="226"/>
                  <a:pt x="283" y="226"/>
                </a:cubicBezTo>
                <a:cubicBezTo>
                  <a:pt x="284" y="227"/>
                  <a:pt x="284" y="227"/>
                  <a:pt x="284" y="227"/>
                </a:cubicBezTo>
                <a:cubicBezTo>
                  <a:pt x="285" y="226"/>
                  <a:pt x="285" y="226"/>
                  <a:pt x="285" y="226"/>
                </a:cubicBezTo>
                <a:cubicBezTo>
                  <a:pt x="285" y="227"/>
                  <a:pt x="285" y="227"/>
                  <a:pt x="285" y="227"/>
                </a:cubicBezTo>
                <a:cubicBezTo>
                  <a:pt x="286" y="228"/>
                  <a:pt x="286" y="228"/>
                  <a:pt x="286" y="228"/>
                </a:cubicBezTo>
                <a:cubicBezTo>
                  <a:pt x="287" y="228"/>
                  <a:pt x="287" y="228"/>
                  <a:pt x="287" y="228"/>
                </a:cubicBezTo>
                <a:cubicBezTo>
                  <a:pt x="288" y="228"/>
                  <a:pt x="288" y="228"/>
                  <a:pt x="288" y="228"/>
                </a:cubicBezTo>
                <a:cubicBezTo>
                  <a:pt x="290" y="227"/>
                  <a:pt x="290" y="227"/>
                  <a:pt x="290" y="227"/>
                </a:cubicBezTo>
                <a:cubicBezTo>
                  <a:pt x="291" y="227"/>
                  <a:pt x="291" y="227"/>
                  <a:pt x="291" y="227"/>
                </a:cubicBezTo>
                <a:cubicBezTo>
                  <a:pt x="292" y="226"/>
                  <a:pt x="292" y="226"/>
                  <a:pt x="292" y="226"/>
                </a:cubicBezTo>
                <a:cubicBezTo>
                  <a:pt x="293" y="227"/>
                  <a:pt x="293" y="227"/>
                  <a:pt x="293" y="227"/>
                </a:cubicBezTo>
                <a:close/>
                <a:moveTo>
                  <a:pt x="421" y="218"/>
                </a:moveTo>
                <a:cubicBezTo>
                  <a:pt x="421" y="217"/>
                  <a:pt x="421" y="217"/>
                  <a:pt x="421" y="217"/>
                </a:cubicBezTo>
                <a:cubicBezTo>
                  <a:pt x="420" y="216"/>
                  <a:pt x="420" y="216"/>
                  <a:pt x="420" y="216"/>
                </a:cubicBezTo>
                <a:cubicBezTo>
                  <a:pt x="421" y="215"/>
                  <a:pt x="421" y="215"/>
                  <a:pt x="421" y="215"/>
                </a:cubicBezTo>
                <a:cubicBezTo>
                  <a:pt x="422" y="215"/>
                  <a:pt x="422" y="215"/>
                  <a:pt x="422" y="215"/>
                </a:cubicBezTo>
                <a:cubicBezTo>
                  <a:pt x="423" y="215"/>
                  <a:pt x="423" y="215"/>
                  <a:pt x="423" y="215"/>
                </a:cubicBezTo>
                <a:cubicBezTo>
                  <a:pt x="423" y="216"/>
                  <a:pt x="423" y="216"/>
                  <a:pt x="423" y="216"/>
                </a:cubicBezTo>
                <a:cubicBezTo>
                  <a:pt x="424" y="216"/>
                  <a:pt x="424" y="216"/>
                  <a:pt x="424" y="216"/>
                </a:cubicBezTo>
                <a:cubicBezTo>
                  <a:pt x="425" y="216"/>
                  <a:pt x="425" y="216"/>
                  <a:pt x="425" y="216"/>
                </a:cubicBezTo>
                <a:cubicBezTo>
                  <a:pt x="424" y="217"/>
                  <a:pt x="424" y="217"/>
                  <a:pt x="424" y="217"/>
                </a:cubicBezTo>
                <a:cubicBezTo>
                  <a:pt x="423" y="218"/>
                  <a:pt x="423" y="218"/>
                  <a:pt x="423" y="218"/>
                </a:cubicBezTo>
                <a:cubicBezTo>
                  <a:pt x="422" y="217"/>
                  <a:pt x="422" y="217"/>
                  <a:pt x="422" y="217"/>
                </a:cubicBezTo>
                <a:cubicBezTo>
                  <a:pt x="422" y="218"/>
                  <a:pt x="422" y="218"/>
                  <a:pt x="422" y="218"/>
                </a:cubicBezTo>
                <a:cubicBezTo>
                  <a:pt x="421" y="218"/>
                  <a:pt x="421" y="218"/>
                  <a:pt x="421" y="218"/>
                </a:cubicBezTo>
                <a:cubicBezTo>
                  <a:pt x="421" y="218"/>
                  <a:pt x="421" y="218"/>
                  <a:pt x="421" y="218"/>
                </a:cubicBezTo>
                <a:close/>
                <a:moveTo>
                  <a:pt x="418" y="328"/>
                </a:moveTo>
                <a:cubicBezTo>
                  <a:pt x="417" y="328"/>
                  <a:pt x="417" y="328"/>
                  <a:pt x="417" y="328"/>
                </a:cubicBezTo>
                <a:cubicBezTo>
                  <a:pt x="416" y="327"/>
                  <a:pt x="416" y="327"/>
                  <a:pt x="416" y="327"/>
                </a:cubicBezTo>
                <a:cubicBezTo>
                  <a:pt x="414" y="327"/>
                  <a:pt x="414" y="327"/>
                  <a:pt x="414" y="327"/>
                </a:cubicBezTo>
                <a:cubicBezTo>
                  <a:pt x="413" y="326"/>
                  <a:pt x="413" y="326"/>
                  <a:pt x="413" y="326"/>
                </a:cubicBezTo>
                <a:cubicBezTo>
                  <a:pt x="412" y="326"/>
                  <a:pt x="412" y="326"/>
                  <a:pt x="412" y="326"/>
                </a:cubicBezTo>
                <a:cubicBezTo>
                  <a:pt x="411" y="325"/>
                  <a:pt x="411" y="325"/>
                  <a:pt x="411" y="325"/>
                </a:cubicBezTo>
                <a:cubicBezTo>
                  <a:pt x="410" y="324"/>
                  <a:pt x="410" y="324"/>
                  <a:pt x="410" y="324"/>
                </a:cubicBezTo>
                <a:cubicBezTo>
                  <a:pt x="409" y="323"/>
                  <a:pt x="409" y="323"/>
                  <a:pt x="409" y="323"/>
                </a:cubicBezTo>
                <a:cubicBezTo>
                  <a:pt x="409" y="323"/>
                  <a:pt x="409" y="323"/>
                  <a:pt x="409" y="323"/>
                </a:cubicBezTo>
                <a:cubicBezTo>
                  <a:pt x="408" y="323"/>
                  <a:pt x="408" y="323"/>
                  <a:pt x="408" y="323"/>
                </a:cubicBezTo>
                <a:cubicBezTo>
                  <a:pt x="407" y="323"/>
                  <a:pt x="407" y="323"/>
                  <a:pt x="407" y="323"/>
                </a:cubicBezTo>
                <a:cubicBezTo>
                  <a:pt x="406" y="323"/>
                  <a:pt x="406" y="323"/>
                  <a:pt x="406" y="323"/>
                </a:cubicBezTo>
                <a:cubicBezTo>
                  <a:pt x="405" y="322"/>
                  <a:pt x="405" y="322"/>
                  <a:pt x="405" y="322"/>
                </a:cubicBezTo>
                <a:cubicBezTo>
                  <a:pt x="405" y="321"/>
                  <a:pt x="405" y="321"/>
                  <a:pt x="405" y="321"/>
                </a:cubicBezTo>
                <a:cubicBezTo>
                  <a:pt x="404" y="321"/>
                  <a:pt x="404" y="321"/>
                  <a:pt x="404" y="321"/>
                </a:cubicBezTo>
                <a:cubicBezTo>
                  <a:pt x="402" y="320"/>
                  <a:pt x="402" y="320"/>
                  <a:pt x="402" y="320"/>
                </a:cubicBezTo>
                <a:cubicBezTo>
                  <a:pt x="403" y="319"/>
                  <a:pt x="403" y="319"/>
                  <a:pt x="403" y="319"/>
                </a:cubicBezTo>
                <a:cubicBezTo>
                  <a:pt x="402" y="319"/>
                  <a:pt x="402" y="319"/>
                  <a:pt x="402" y="319"/>
                </a:cubicBezTo>
                <a:cubicBezTo>
                  <a:pt x="401" y="319"/>
                  <a:pt x="401" y="319"/>
                  <a:pt x="401" y="319"/>
                </a:cubicBezTo>
                <a:cubicBezTo>
                  <a:pt x="401" y="318"/>
                  <a:pt x="401" y="318"/>
                  <a:pt x="401" y="318"/>
                </a:cubicBezTo>
                <a:cubicBezTo>
                  <a:pt x="401" y="317"/>
                  <a:pt x="401" y="317"/>
                  <a:pt x="401" y="317"/>
                </a:cubicBezTo>
                <a:cubicBezTo>
                  <a:pt x="402" y="317"/>
                  <a:pt x="402" y="317"/>
                  <a:pt x="402" y="317"/>
                </a:cubicBezTo>
                <a:cubicBezTo>
                  <a:pt x="401" y="316"/>
                  <a:pt x="401" y="316"/>
                  <a:pt x="401" y="316"/>
                </a:cubicBezTo>
                <a:cubicBezTo>
                  <a:pt x="400" y="316"/>
                  <a:pt x="400" y="316"/>
                  <a:pt x="400" y="316"/>
                </a:cubicBezTo>
                <a:cubicBezTo>
                  <a:pt x="400" y="317"/>
                  <a:pt x="400" y="317"/>
                  <a:pt x="400" y="317"/>
                </a:cubicBezTo>
                <a:cubicBezTo>
                  <a:pt x="399" y="316"/>
                  <a:pt x="399" y="316"/>
                  <a:pt x="399" y="316"/>
                </a:cubicBezTo>
                <a:cubicBezTo>
                  <a:pt x="399" y="316"/>
                  <a:pt x="399" y="316"/>
                  <a:pt x="399" y="316"/>
                </a:cubicBezTo>
                <a:cubicBezTo>
                  <a:pt x="398" y="316"/>
                  <a:pt x="398" y="316"/>
                  <a:pt x="398" y="316"/>
                </a:cubicBezTo>
                <a:cubicBezTo>
                  <a:pt x="396" y="315"/>
                  <a:pt x="396" y="315"/>
                  <a:pt x="396" y="315"/>
                </a:cubicBezTo>
                <a:cubicBezTo>
                  <a:pt x="396" y="315"/>
                  <a:pt x="396" y="315"/>
                  <a:pt x="396" y="315"/>
                </a:cubicBezTo>
                <a:cubicBezTo>
                  <a:pt x="395" y="314"/>
                  <a:pt x="395" y="314"/>
                  <a:pt x="395" y="314"/>
                </a:cubicBezTo>
                <a:cubicBezTo>
                  <a:pt x="394" y="313"/>
                  <a:pt x="394" y="313"/>
                  <a:pt x="394" y="313"/>
                </a:cubicBezTo>
                <a:cubicBezTo>
                  <a:pt x="394" y="312"/>
                  <a:pt x="394" y="312"/>
                  <a:pt x="394" y="312"/>
                </a:cubicBezTo>
                <a:cubicBezTo>
                  <a:pt x="393" y="312"/>
                  <a:pt x="393" y="312"/>
                  <a:pt x="393" y="312"/>
                </a:cubicBezTo>
                <a:cubicBezTo>
                  <a:pt x="392" y="311"/>
                  <a:pt x="392" y="311"/>
                  <a:pt x="392" y="311"/>
                </a:cubicBezTo>
                <a:cubicBezTo>
                  <a:pt x="392" y="310"/>
                  <a:pt x="392" y="310"/>
                  <a:pt x="392" y="310"/>
                </a:cubicBezTo>
                <a:cubicBezTo>
                  <a:pt x="391" y="309"/>
                  <a:pt x="391" y="309"/>
                  <a:pt x="391" y="309"/>
                </a:cubicBezTo>
                <a:cubicBezTo>
                  <a:pt x="390" y="308"/>
                  <a:pt x="390" y="308"/>
                  <a:pt x="390" y="308"/>
                </a:cubicBezTo>
                <a:cubicBezTo>
                  <a:pt x="391" y="308"/>
                  <a:pt x="391" y="308"/>
                  <a:pt x="391" y="308"/>
                </a:cubicBezTo>
                <a:cubicBezTo>
                  <a:pt x="392" y="308"/>
                  <a:pt x="392" y="308"/>
                  <a:pt x="392" y="308"/>
                </a:cubicBezTo>
                <a:cubicBezTo>
                  <a:pt x="395" y="306"/>
                  <a:pt x="395" y="306"/>
                  <a:pt x="395" y="306"/>
                </a:cubicBezTo>
                <a:cubicBezTo>
                  <a:pt x="395" y="306"/>
                  <a:pt x="395" y="306"/>
                  <a:pt x="395" y="306"/>
                </a:cubicBezTo>
                <a:cubicBezTo>
                  <a:pt x="393" y="306"/>
                  <a:pt x="393" y="306"/>
                  <a:pt x="393" y="306"/>
                </a:cubicBezTo>
                <a:cubicBezTo>
                  <a:pt x="392" y="305"/>
                  <a:pt x="392" y="305"/>
                  <a:pt x="392" y="305"/>
                </a:cubicBezTo>
                <a:cubicBezTo>
                  <a:pt x="392" y="303"/>
                  <a:pt x="392" y="303"/>
                  <a:pt x="392" y="303"/>
                </a:cubicBezTo>
                <a:cubicBezTo>
                  <a:pt x="392" y="303"/>
                  <a:pt x="392" y="303"/>
                  <a:pt x="392" y="303"/>
                </a:cubicBezTo>
                <a:cubicBezTo>
                  <a:pt x="392" y="303"/>
                  <a:pt x="392" y="303"/>
                  <a:pt x="392" y="303"/>
                </a:cubicBezTo>
                <a:cubicBezTo>
                  <a:pt x="391" y="304"/>
                  <a:pt x="391" y="304"/>
                  <a:pt x="391" y="304"/>
                </a:cubicBezTo>
                <a:cubicBezTo>
                  <a:pt x="391" y="305"/>
                  <a:pt x="391" y="305"/>
                  <a:pt x="391" y="305"/>
                </a:cubicBezTo>
                <a:cubicBezTo>
                  <a:pt x="390" y="304"/>
                  <a:pt x="390" y="304"/>
                  <a:pt x="390" y="304"/>
                </a:cubicBezTo>
                <a:cubicBezTo>
                  <a:pt x="391" y="303"/>
                  <a:pt x="391" y="303"/>
                  <a:pt x="391" y="303"/>
                </a:cubicBezTo>
                <a:cubicBezTo>
                  <a:pt x="391" y="301"/>
                  <a:pt x="391" y="301"/>
                  <a:pt x="391" y="301"/>
                </a:cubicBezTo>
                <a:cubicBezTo>
                  <a:pt x="390" y="303"/>
                  <a:pt x="390" y="303"/>
                  <a:pt x="390" y="303"/>
                </a:cubicBezTo>
                <a:cubicBezTo>
                  <a:pt x="389" y="302"/>
                  <a:pt x="389" y="302"/>
                  <a:pt x="389" y="302"/>
                </a:cubicBezTo>
                <a:cubicBezTo>
                  <a:pt x="389" y="301"/>
                  <a:pt x="389" y="301"/>
                  <a:pt x="389" y="301"/>
                </a:cubicBezTo>
                <a:cubicBezTo>
                  <a:pt x="388" y="301"/>
                  <a:pt x="388" y="301"/>
                  <a:pt x="388" y="301"/>
                </a:cubicBezTo>
                <a:cubicBezTo>
                  <a:pt x="388" y="300"/>
                  <a:pt x="388" y="300"/>
                  <a:pt x="388" y="300"/>
                </a:cubicBezTo>
                <a:cubicBezTo>
                  <a:pt x="388" y="299"/>
                  <a:pt x="388" y="299"/>
                  <a:pt x="388" y="299"/>
                </a:cubicBezTo>
                <a:cubicBezTo>
                  <a:pt x="388" y="297"/>
                  <a:pt x="388" y="297"/>
                  <a:pt x="388" y="297"/>
                </a:cubicBezTo>
                <a:cubicBezTo>
                  <a:pt x="387" y="297"/>
                  <a:pt x="387" y="297"/>
                  <a:pt x="387" y="297"/>
                </a:cubicBezTo>
                <a:cubicBezTo>
                  <a:pt x="387" y="296"/>
                  <a:pt x="387" y="296"/>
                  <a:pt x="387" y="296"/>
                </a:cubicBezTo>
                <a:cubicBezTo>
                  <a:pt x="388" y="294"/>
                  <a:pt x="388" y="294"/>
                  <a:pt x="388" y="294"/>
                </a:cubicBezTo>
                <a:cubicBezTo>
                  <a:pt x="388" y="294"/>
                  <a:pt x="388" y="294"/>
                  <a:pt x="388" y="294"/>
                </a:cubicBezTo>
                <a:cubicBezTo>
                  <a:pt x="386" y="296"/>
                  <a:pt x="386" y="296"/>
                  <a:pt x="386" y="296"/>
                </a:cubicBezTo>
                <a:cubicBezTo>
                  <a:pt x="386" y="297"/>
                  <a:pt x="386" y="297"/>
                  <a:pt x="386" y="297"/>
                </a:cubicBezTo>
                <a:cubicBezTo>
                  <a:pt x="385" y="296"/>
                  <a:pt x="385" y="296"/>
                  <a:pt x="385" y="296"/>
                </a:cubicBezTo>
                <a:cubicBezTo>
                  <a:pt x="386" y="294"/>
                  <a:pt x="386" y="294"/>
                  <a:pt x="386" y="294"/>
                </a:cubicBezTo>
                <a:cubicBezTo>
                  <a:pt x="385" y="294"/>
                  <a:pt x="385" y="294"/>
                  <a:pt x="385" y="294"/>
                </a:cubicBezTo>
                <a:cubicBezTo>
                  <a:pt x="384" y="294"/>
                  <a:pt x="384" y="294"/>
                  <a:pt x="384" y="294"/>
                </a:cubicBezTo>
                <a:cubicBezTo>
                  <a:pt x="384" y="294"/>
                  <a:pt x="384" y="294"/>
                  <a:pt x="384" y="294"/>
                </a:cubicBezTo>
                <a:cubicBezTo>
                  <a:pt x="383" y="296"/>
                  <a:pt x="383" y="296"/>
                  <a:pt x="383" y="296"/>
                </a:cubicBezTo>
                <a:cubicBezTo>
                  <a:pt x="382" y="297"/>
                  <a:pt x="382" y="297"/>
                  <a:pt x="382" y="297"/>
                </a:cubicBezTo>
                <a:cubicBezTo>
                  <a:pt x="382" y="295"/>
                  <a:pt x="382" y="295"/>
                  <a:pt x="382" y="295"/>
                </a:cubicBezTo>
                <a:cubicBezTo>
                  <a:pt x="383" y="294"/>
                  <a:pt x="383" y="294"/>
                  <a:pt x="383" y="294"/>
                </a:cubicBezTo>
                <a:cubicBezTo>
                  <a:pt x="383" y="293"/>
                  <a:pt x="383" y="293"/>
                  <a:pt x="383" y="293"/>
                </a:cubicBezTo>
                <a:cubicBezTo>
                  <a:pt x="383" y="292"/>
                  <a:pt x="383" y="292"/>
                  <a:pt x="383" y="292"/>
                </a:cubicBezTo>
                <a:cubicBezTo>
                  <a:pt x="382" y="293"/>
                  <a:pt x="382" y="293"/>
                  <a:pt x="382" y="293"/>
                </a:cubicBezTo>
                <a:cubicBezTo>
                  <a:pt x="381" y="294"/>
                  <a:pt x="381" y="294"/>
                  <a:pt x="381" y="294"/>
                </a:cubicBezTo>
                <a:cubicBezTo>
                  <a:pt x="381" y="294"/>
                  <a:pt x="381" y="294"/>
                  <a:pt x="381" y="294"/>
                </a:cubicBezTo>
                <a:cubicBezTo>
                  <a:pt x="380" y="295"/>
                  <a:pt x="380" y="295"/>
                  <a:pt x="380" y="295"/>
                </a:cubicBezTo>
                <a:cubicBezTo>
                  <a:pt x="380" y="296"/>
                  <a:pt x="380" y="296"/>
                  <a:pt x="380" y="296"/>
                </a:cubicBezTo>
                <a:cubicBezTo>
                  <a:pt x="378" y="295"/>
                  <a:pt x="378" y="295"/>
                  <a:pt x="378" y="295"/>
                </a:cubicBezTo>
                <a:cubicBezTo>
                  <a:pt x="377" y="294"/>
                  <a:pt x="377" y="294"/>
                  <a:pt x="377" y="294"/>
                </a:cubicBezTo>
                <a:cubicBezTo>
                  <a:pt x="376" y="294"/>
                  <a:pt x="376" y="294"/>
                  <a:pt x="376" y="294"/>
                </a:cubicBezTo>
                <a:cubicBezTo>
                  <a:pt x="375" y="292"/>
                  <a:pt x="375" y="292"/>
                  <a:pt x="375" y="292"/>
                </a:cubicBezTo>
                <a:cubicBezTo>
                  <a:pt x="375" y="292"/>
                  <a:pt x="375" y="292"/>
                  <a:pt x="375" y="292"/>
                </a:cubicBezTo>
                <a:cubicBezTo>
                  <a:pt x="374" y="293"/>
                  <a:pt x="374" y="293"/>
                  <a:pt x="374" y="293"/>
                </a:cubicBezTo>
                <a:cubicBezTo>
                  <a:pt x="374" y="294"/>
                  <a:pt x="374" y="294"/>
                  <a:pt x="374" y="294"/>
                </a:cubicBezTo>
                <a:cubicBezTo>
                  <a:pt x="374" y="295"/>
                  <a:pt x="374" y="295"/>
                  <a:pt x="374" y="295"/>
                </a:cubicBezTo>
                <a:cubicBezTo>
                  <a:pt x="373" y="295"/>
                  <a:pt x="373" y="295"/>
                  <a:pt x="373" y="295"/>
                </a:cubicBezTo>
                <a:cubicBezTo>
                  <a:pt x="372" y="295"/>
                  <a:pt x="372" y="295"/>
                  <a:pt x="372" y="295"/>
                </a:cubicBezTo>
                <a:cubicBezTo>
                  <a:pt x="371" y="295"/>
                  <a:pt x="371" y="295"/>
                  <a:pt x="371" y="295"/>
                </a:cubicBezTo>
                <a:cubicBezTo>
                  <a:pt x="370" y="296"/>
                  <a:pt x="370" y="296"/>
                  <a:pt x="370" y="296"/>
                </a:cubicBezTo>
                <a:cubicBezTo>
                  <a:pt x="369" y="295"/>
                  <a:pt x="369" y="295"/>
                  <a:pt x="369" y="295"/>
                </a:cubicBezTo>
                <a:cubicBezTo>
                  <a:pt x="368" y="296"/>
                  <a:pt x="368" y="296"/>
                  <a:pt x="368" y="296"/>
                </a:cubicBezTo>
                <a:cubicBezTo>
                  <a:pt x="367" y="296"/>
                  <a:pt x="367" y="296"/>
                  <a:pt x="367" y="296"/>
                </a:cubicBezTo>
                <a:cubicBezTo>
                  <a:pt x="365" y="296"/>
                  <a:pt x="365" y="296"/>
                  <a:pt x="365" y="296"/>
                </a:cubicBezTo>
                <a:cubicBezTo>
                  <a:pt x="366" y="295"/>
                  <a:pt x="366" y="295"/>
                  <a:pt x="366" y="295"/>
                </a:cubicBezTo>
                <a:cubicBezTo>
                  <a:pt x="364" y="293"/>
                  <a:pt x="364" y="293"/>
                  <a:pt x="364" y="293"/>
                </a:cubicBezTo>
                <a:cubicBezTo>
                  <a:pt x="364" y="294"/>
                  <a:pt x="364" y="294"/>
                  <a:pt x="364" y="294"/>
                </a:cubicBezTo>
                <a:cubicBezTo>
                  <a:pt x="363" y="293"/>
                  <a:pt x="363" y="293"/>
                  <a:pt x="363" y="293"/>
                </a:cubicBezTo>
                <a:cubicBezTo>
                  <a:pt x="362" y="290"/>
                  <a:pt x="362" y="290"/>
                  <a:pt x="362" y="290"/>
                </a:cubicBezTo>
                <a:cubicBezTo>
                  <a:pt x="362" y="289"/>
                  <a:pt x="362" y="289"/>
                  <a:pt x="362" y="289"/>
                </a:cubicBezTo>
                <a:cubicBezTo>
                  <a:pt x="363" y="288"/>
                  <a:pt x="363" y="288"/>
                  <a:pt x="363" y="288"/>
                </a:cubicBezTo>
                <a:cubicBezTo>
                  <a:pt x="363" y="287"/>
                  <a:pt x="363" y="287"/>
                  <a:pt x="363" y="287"/>
                </a:cubicBezTo>
                <a:cubicBezTo>
                  <a:pt x="364" y="286"/>
                  <a:pt x="364" y="286"/>
                  <a:pt x="364" y="286"/>
                </a:cubicBezTo>
                <a:cubicBezTo>
                  <a:pt x="366" y="286"/>
                  <a:pt x="366" y="286"/>
                  <a:pt x="366" y="286"/>
                </a:cubicBezTo>
                <a:cubicBezTo>
                  <a:pt x="366" y="285"/>
                  <a:pt x="366" y="285"/>
                  <a:pt x="366" y="285"/>
                </a:cubicBezTo>
                <a:cubicBezTo>
                  <a:pt x="367" y="285"/>
                  <a:pt x="367" y="285"/>
                  <a:pt x="367" y="285"/>
                </a:cubicBezTo>
                <a:cubicBezTo>
                  <a:pt x="368" y="285"/>
                  <a:pt x="368" y="285"/>
                  <a:pt x="368" y="285"/>
                </a:cubicBezTo>
                <a:cubicBezTo>
                  <a:pt x="368" y="284"/>
                  <a:pt x="368" y="284"/>
                  <a:pt x="368" y="284"/>
                </a:cubicBezTo>
                <a:cubicBezTo>
                  <a:pt x="368" y="283"/>
                  <a:pt x="368" y="283"/>
                  <a:pt x="368" y="283"/>
                </a:cubicBezTo>
                <a:cubicBezTo>
                  <a:pt x="368" y="282"/>
                  <a:pt x="368" y="282"/>
                  <a:pt x="368" y="282"/>
                </a:cubicBezTo>
                <a:cubicBezTo>
                  <a:pt x="368" y="282"/>
                  <a:pt x="368" y="282"/>
                  <a:pt x="368" y="282"/>
                </a:cubicBezTo>
                <a:cubicBezTo>
                  <a:pt x="369" y="282"/>
                  <a:pt x="369" y="282"/>
                  <a:pt x="369" y="282"/>
                </a:cubicBezTo>
                <a:cubicBezTo>
                  <a:pt x="369" y="282"/>
                  <a:pt x="369" y="282"/>
                  <a:pt x="369" y="282"/>
                </a:cubicBezTo>
                <a:cubicBezTo>
                  <a:pt x="369" y="281"/>
                  <a:pt x="369" y="281"/>
                  <a:pt x="369" y="281"/>
                </a:cubicBezTo>
                <a:cubicBezTo>
                  <a:pt x="369" y="281"/>
                  <a:pt x="369" y="281"/>
                  <a:pt x="369" y="281"/>
                </a:cubicBezTo>
                <a:cubicBezTo>
                  <a:pt x="370" y="283"/>
                  <a:pt x="370" y="283"/>
                  <a:pt x="370" y="283"/>
                </a:cubicBezTo>
                <a:cubicBezTo>
                  <a:pt x="372" y="283"/>
                  <a:pt x="372" y="283"/>
                  <a:pt x="372" y="283"/>
                </a:cubicBezTo>
                <a:cubicBezTo>
                  <a:pt x="373" y="284"/>
                  <a:pt x="373" y="284"/>
                  <a:pt x="373" y="284"/>
                </a:cubicBezTo>
                <a:cubicBezTo>
                  <a:pt x="374" y="285"/>
                  <a:pt x="374" y="285"/>
                  <a:pt x="374" y="285"/>
                </a:cubicBezTo>
                <a:cubicBezTo>
                  <a:pt x="375" y="285"/>
                  <a:pt x="375" y="285"/>
                  <a:pt x="375" y="285"/>
                </a:cubicBezTo>
                <a:cubicBezTo>
                  <a:pt x="376" y="286"/>
                  <a:pt x="376" y="286"/>
                  <a:pt x="376" y="286"/>
                </a:cubicBezTo>
                <a:cubicBezTo>
                  <a:pt x="377" y="285"/>
                  <a:pt x="377" y="285"/>
                  <a:pt x="377" y="285"/>
                </a:cubicBezTo>
                <a:cubicBezTo>
                  <a:pt x="378" y="285"/>
                  <a:pt x="378" y="285"/>
                  <a:pt x="378" y="285"/>
                </a:cubicBezTo>
                <a:cubicBezTo>
                  <a:pt x="378" y="286"/>
                  <a:pt x="378" y="286"/>
                  <a:pt x="378" y="286"/>
                </a:cubicBezTo>
                <a:cubicBezTo>
                  <a:pt x="379" y="286"/>
                  <a:pt x="379" y="286"/>
                  <a:pt x="379" y="286"/>
                </a:cubicBezTo>
                <a:cubicBezTo>
                  <a:pt x="380" y="286"/>
                  <a:pt x="380" y="286"/>
                  <a:pt x="380" y="286"/>
                </a:cubicBezTo>
                <a:cubicBezTo>
                  <a:pt x="381" y="285"/>
                  <a:pt x="381" y="285"/>
                  <a:pt x="381" y="285"/>
                </a:cubicBezTo>
                <a:cubicBezTo>
                  <a:pt x="382" y="284"/>
                  <a:pt x="382" y="284"/>
                  <a:pt x="382" y="284"/>
                </a:cubicBezTo>
                <a:cubicBezTo>
                  <a:pt x="383" y="284"/>
                  <a:pt x="383" y="284"/>
                  <a:pt x="383" y="284"/>
                </a:cubicBezTo>
                <a:cubicBezTo>
                  <a:pt x="383" y="284"/>
                  <a:pt x="383" y="284"/>
                  <a:pt x="383" y="284"/>
                </a:cubicBezTo>
                <a:cubicBezTo>
                  <a:pt x="383" y="285"/>
                  <a:pt x="383" y="285"/>
                  <a:pt x="383" y="285"/>
                </a:cubicBezTo>
                <a:cubicBezTo>
                  <a:pt x="384" y="285"/>
                  <a:pt x="384" y="285"/>
                  <a:pt x="384" y="285"/>
                </a:cubicBezTo>
                <a:cubicBezTo>
                  <a:pt x="385" y="284"/>
                  <a:pt x="385" y="284"/>
                  <a:pt x="385" y="284"/>
                </a:cubicBezTo>
                <a:cubicBezTo>
                  <a:pt x="386" y="283"/>
                  <a:pt x="386" y="283"/>
                  <a:pt x="386" y="283"/>
                </a:cubicBezTo>
                <a:cubicBezTo>
                  <a:pt x="387" y="283"/>
                  <a:pt x="387" y="283"/>
                  <a:pt x="387" y="283"/>
                </a:cubicBezTo>
                <a:cubicBezTo>
                  <a:pt x="387" y="283"/>
                  <a:pt x="387" y="283"/>
                  <a:pt x="387" y="283"/>
                </a:cubicBezTo>
                <a:cubicBezTo>
                  <a:pt x="387" y="285"/>
                  <a:pt x="387" y="285"/>
                  <a:pt x="387" y="285"/>
                </a:cubicBezTo>
                <a:cubicBezTo>
                  <a:pt x="388" y="286"/>
                  <a:pt x="388" y="286"/>
                  <a:pt x="388" y="286"/>
                </a:cubicBezTo>
                <a:cubicBezTo>
                  <a:pt x="388" y="285"/>
                  <a:pt x="388" y="285"/>
                  <a:pt x="388" y="285"/>
                </a:cubicBezTo>
                <a:cubicBezTo>
                  <a:pt x="388" y="284"/>
                  <a:pt x="388" y="284"/>
                  <a:pt x="388" y="284"/>
                </a:cubicBezTo>
                <a:cubicBezTo>
                  <a:pt x="389" y="284"/>
                  <a:pt x="389" y="284"/>
                  <a:pt x="389" y="284"/>
                </a:cubicBezTo>
                <a:cubicBezTo>
                  <a:pt x="390" y="284"/>
                  <a:pt x="390" y="284"/>
                  <a:pt x="390" y="284"/>
                </a:cubicBezTo>
                <a:cubicBezTo>
                  <a:pt x="389" y="281"/>
                  <a:pt x="389" y="281"/>
                  <a:pt x="389" y="281"/>
                </a:cubicBezTo>
                <a:cubicBezTo>
                  <a:pt x="388" y="279"/>
                  <a:pt x="388" y="279"/>
                  <a:pt x="388" y="279"/>
                </a:cubicBezTo>
                <a:cubicBezTo>
                  <a:pt x="388" y="278"/>
                  <a:pt x="388" y="278"/>
                  <a:pt x="388" y="278"/>
                </a:cubicBezTo>
                <a:cubicBezTo>
                  <a:pt x="387" y="277"/>
                  <a:pt x="387" y="277"/>
                  <a:pt x="387" y="277"/>
                </a:cubicBezTo>
                <a:cubicBezTo>
                  <a:pt x="388" y="276"/>
                  <a:pt x="388" y="276"/>
                  <a:pt x="388" y="276"/>
                </a:cubicBezTo>
                <a:cubicBezTo>
                  <a:pt x="388" y="275"/>
                  <a:pt x="388" y="275"/>
                  <a:pt x="388" y="275"/>
                </a:cubicBezTo>
                <a:cubicBezTo>
                  <a:pt x="389" y="275"/>
                  <a:pt x="389" y="275"/>
                  <a:pt x="389" y="275"/>
                </a:cubicBezTo>
                <a:cubicBezTo>
                  <a:pt x="391" y="273"/>
                  <a:pt x="391" y="273"/>
                  <a:pt x="391" y="273"/>
                </a:cubicBezTo>
                <a:cubicBezTo>
                  <a:pt x="393" y="272"/>
                  <a:pt x="393" y="272"/>
                  <a:pt x="393" y="272"/>
                </a:cubicBezTo>
                <a:cubicBezTo>
                  <a:pt x="394" y="272"/>
                  <a:pt x="394" y="272"/>
                  <a:pt x="394" y="272"/>
                </a:cubicBezTo>
                <a:cubicBezTo>
                  <a:pt x="395" y="270"/>
                  <a:pt x="395" y="270"/>
                  <a:pt x="395" y="270"/>
                </a:cubicBezTo>
                <a:cubicBezTo>
                  <a:pt x="396" y="270"/>
                  <a:pt x="396" y="270"/>
                  <a:pt x="396" y="270"/>
                </a:cubicBezTo>
                <a:cubicBezTo>
                  <a:pt x="397" y="271"/>
                  <a:pt x="397" y="271"/>
                  <a:pt x="397" y="271"/>
                </a:cubicBezTo>
                <a:cubicBezTo>
                  <a:pt x="398" y="270"/>
                  <a:pt x="398" y="270"/>
                  <a:pt x="398" y="270"/>
                </a:cubicBezTo>
                <a:cubicBezTo>
                  <a:pt x="398" y="270"/>
                  <a:pt x="398" y="270"/>
                  <a:pt x="398" y="270"/>
                </a:cubicBezTo>
                <a:cubicBezTo>
                  <a:pt x="397" y="269"/>
                  <a:pt x="397" y="269"/>
                  <a:pt x="397" y="269"/>
                </a:cubicBezTo>
                <a:cubicBezTo>
                  <a:pt x="397" y="268"/>
                  <a:pt x="397" y="268"/>
                  <a:pt x="397" y="268"/>
                </a:cubicBezTo>
                <a:cubicBezTo>
                  <a:pt x="399" y="267"/>
                  <a:pt x="399" y="267"/>
                  <a:pt x="399" y="267"/>
                </a:cubicBezTo>
                <a:cubicBezTo>
                  <a:pt x="399" y="266"/>
                  <a:pt x="399" y="266"/>
                  <a:pt x="399" y="266"/>
                </a:cubicBezTo>
                <a:cubicBezTo>
                  <a:pt x="400" y="265"/>
                  <a:pt x="400" y="265"/>
                  <a:pt x="400" y="265"/>
                </a:cubicBezTo>
                <a:cubicBezTo>
                  <a:pt x="402" y="266"/>
                  <a:pt x="402" y="266"/>
                  <a:pt x="402" y="266"/>
                </a:cubicBezTo>
                <a:cubicBezTo>
                  <a:pt x="403" y="265"/>
                  <a:pt x="403" y="265"/>
                  <a:pt x="403" y="265"/>
                </a:cubicBezTo>
                <a:cubicBezTo>
                  <a:pt x="404" y="264"/>
                  <a:pt x="404" y="264"/>
                  <a:pt x="404" y="264"/>
                </a:cubicBezTo>
                <a:cubicBezTo>
                  <a:pt x="403" y="263"/>
                  <a:pt x="403" y="263"/>
                  <a:pt x="403" y="263"/>
                </a:cubicBezTo>
                <a:cubicBezTo>
                  <a:pt x="404" y="262"/>
                  <a:pt x="404" y="262"/>
                  <a:pt x="404" y="262"/>
                </a:cubicBezTo>
                <a:cubicBezTo>
                  <a:pt x="404" y="260"/>
                  <a:pt x="404" y="260"/>
                  <a:pt x="404" y="260"/>
                </a:cubicBezTo>
                <a:cubicBezTo>
                  <a:pt x="404" y="260"/>
                  <a:pt x="404" y="260"/>
                  <a:pt x="404" y="260"/>
                </a:cubicBezTo>
                <a:cubicBezTo>
                  <a:pt x="404" y="259"/>
                  <a:pt x="404" y="259"/>
                  <a:pt x="404" y="259"/>
                </a:cubicBezTo>
                <a:cubicBezTo>
                  <a:pt x="404" y="258"/>
                  <a:pt x="404" y="258"/>
                  <a:pt x="404" y="258"/>
                </a:cubicBezTo>
                <a:cubicBezTo>
                  <a:pt x="404" y="257"/>
                  <a:pt x="404" y="257"/>
                  <a:pt x="404" y="257"/>
                </a:cubicBezTo>
                <a:cubicBezTo>
                  <a:pt x="404" y="256"/>
                  <a:pt x="404" y="256"/>
                  <a:pt x="404" y="256"/>
                </a:cubicBezTo>
                <a:cubicBezTo>
                  <a:pt x="403" y="256"/>
                  <a:pt x="403" y="256"/>
                  <a:pt x="403" y="256"/>
                </a:cubicBezTo>
                <a:cubicBezTo>
                  <a:pt x="403" y="255"/>
                  <a:pt x="403" y="255"/>
                  <a:pt x="403" y="255"/>
                </a:cubicBezTo>
                <a:cubicBezTo>
                  <a:pt x="404" y="253"/>
                  <a:pt x="404" y="253"/>
                  <a:pt x="404" y="253"/>
                </a:cubicBezTo>
                <a:cubicBezTo>
                  <a:pt x="405" y="253"/>
                  <a:pt x="405" y="253"/>
                  <a:pt x="405" y="253"/>
                </a:cubicBezTo>
                <a:cubicBezTo>
                  <a:pt x="405" y="252"/>
                  <a:pt x="405" y="252"/>
                  <a:pt x="405" y="252"/>
                </a:cubicBezTo>
                <a:cubicBezTo>
                  <a:pt x="406" y="251"/>
                  <a:pt x="406" y="251"/>
                  <a:pt x="406" y="251"/>
                </a:cubicBezTo>
                <a:cubicBezTo>
                  <a:pt x="405" y="251"/>
                  <a:pt x="405" y="251"/>
                  <a:pt x="405" y="251"/>
                </a:cubicBezTo>
                <a:cubicBezTo>
                  <a:pt x="405" y="251"/>
                  <a:pt x="405" y="251"/>
                  <a:pt x="405" y="251"/>
                </a:cubicBezTo>
                <a:cubicBezTo>
                  <a:pt x="404" y="251"/>
                  <a:pt x="404" y="251"/>
                  <a:pt x="404" y="251"/>
                </a:cubicBezTo>
                <a:cubicBezTo>
                  <a:pt x="404" y="252"/>
                  <a:pt x="404" y="252"/>
                  <a:pt x="404" y="252"/>
                </a:cubicBezTo>
                <a:cubicBezTo>
                  <a:pt x="404" y="252"/>
                  <a:pt x="404" y="252"/>
                  <a:pt x="404" y="252"/>
                </a:cubicBezTo>
                <a:cubicBezTo>
                  <a:pt x="404" y="252"/>
                  <a:pt x="404" y="252"/>
                  <a:pt x="404" y="252"/>
                </a:cubicBezTo>
                <a:cubicBezTo>
                  <a:pt x="404" y="250"/>
                  <a:pt x="404" y="250"/>
                  <a:pt x="404" y="250"/>
                </a:cubicBezTo>
                <a:cubicBezTo>
                  <a:pt x="403" y="250"/>
                  <a:pt x="403" y="250"/>
                  <a:pt x="403" y="250"/>
                </a:cubicBezTo>
                <a:cubicBezTo>
                  <a:pt x="401" y="250"/>
                  <a:pt x="401" y="250"/>
                  <a:pt x="401" y="250"/>
                </a:cubicBezTo>
                <a:cubicBezTo>
                  <a:pt x="400" y="249"/>
                  <a:pt x="400" y="249"/>
                  <a:pt x="400" y="249"/>
                </a:cubicBezTo>
                <a:cubicBezTo>
                  <a:pt x="400" y="249"/>
                  <a:pt x="400" y="249"/>
                  <a:pt x="400" y="249"/>
                </a:cubicBezTo>
                <a:cubicBezTo>
                  <a:pt x="402" y="248"/>
                  <a:pt x="402" y="248"/>
                  <a:pt x="402" y="248"/>
                </a:cubicBezTo>
                <a:cubicBezTo>
                  <a:pt x="402" y="247"/>
                  <a:pt x="402" y="247"/>
                  <a:pt x="402" y="247"/>
                </a:cubicBezTo>
                <a:cubicBezTo>
                  <a:pt x="401" y="247"/>
                  <a:pt x="401" y="247"/>
                  <a:pt x="401" y="247"/>
                </a:cubicBezTo>
                <a:cubicBezTo>
                  <a:pt x="401" y="246"/>
                  <a:pt x="401" y="246"/>
                  <a:pt x="401" y="246"/>
                </a:cubicBezTo>
                <a:cubicBezTo>
                  <a:pt x="401" y="245"/>
                  <a:pt x="401" y="245"/>
                  <a:pt x="401" y="245"/>
                </a:cubicBezTo>
                <a:cubicBezTo>
                  <a:pt x="400" y="244"/>
                  <a:pt x="400" y="244"/>
                  <a:pt x="400" y="244"/>
                </a:cubicBezTo>
                <a:cubicBezTo>
                  <a:pt x="400" y="244"/>
                  <a:pt x="400" y="244"/>
                  <a:pt x="400" y="244"/>
                </a:cubicBezTo>
                <a:cubicBezTo>
                  <a:pt x="400" y="245"/>
                  <a:pt x="400" y="245"/>
                  <a:pt x="400" y="245"/>
                </a:cubicBezTo>
                <a:cubicBezTo>
                  <a:pt x="400" y="246"/>
                  <a:pt x="400" y="246"/>
                  <a:pt x="400" y="246"/>
                </a:cubicBezTo>
                <a:cubicBezTo>
                  <a:pt x="400" y="246"/>
                  <a:pt x="400" y="246"/>
                  <a:pt x="400" y="246"/>
                </a:cubicBezTo>
                <a:cubicBezTo>
                  <a:pt x="398" y="247"/>
                  <a:pt x="398" y="247"/>
                  <a:pt x="398" y="247"/>
                </a:cubicBezTo>
                <a:cubicBezTo>
                  <a:pt x="398" y="246"/>
                  <a:pt x="398" y="246"/>
                  <a:pt x="398" y="246"/>
                </a:cubicBezTo>
                <a:cubicBezTo>
                  <a:pt x="397" y="245"/>
                  <a:pt x="397" y="245"/>
                  <a:pt x="397" y="245"/>
                </a:cubicBezTo>
                <a:cubicBezTo>
                  <a:pt x="397" y="244"/>
                  <a:pt x="397" y="244"/>
                  <a:pt x="397" y="244"/>
                </a:cubicBezTo>
                <a:cubicBezTo>
                  <a:pt x="398" y="243"/>
                  <a:pt x="398" y="243"/>
                  <a:pt x="398" y="243"/>
                </a:cubicBezTo>
                <a:cubicBezTo>
                  <a:pt x="398" y="242"/>
                  <a:pt x="398" y="242"/>
                  <a:pt x="398" y="242"/>
                </a:cubicBezTo>
                <a:cubicBezTo>
                  <a:pt x="396" y="242"/>
                  <a:pt x="396" y="242"/>
                  <a:pt x="396" y="242"/>
                </a:cubicBezTo>
                <a:cubicBezTo>
                  <a:pt x="396" y="242"/>
                  <a:pt x="396" y="242"/>
                  <a:pt x="396" y="242"/>
                </a:cubicBezTo>
                <a:cubicBezTo>
                  <a:pt x="397" y="242"/>
                  <a:pt x="397" y="242"/>
                  <a:pt x="397" y="242"/>
                </a:cubicBezTo>
                <a:cubicBezTo>
                  <a:pt x="398" y="241"/>
                  <a:pt x="398" y="241"/>
                  <a:pt x="398" y="241"/>
                </a:cubicBezTo>
                <a:cubicBezTo>
                  <a:pt x="397" y="241"/>
                  <a:pt x="397" y="241"/>
                  <a:pt x="397" y="241"/>
                </a:cubicBezTo>
                <a:cubicBezTo>
                  <a:pt x="397" y="240"/>
                  <a:pt x="397" y="240"/>
                  <a:pt x="397" y="240"/>
                </a:cubicBezTo>
                <a:cubicBezTo>
                  <a:pt x="398" y="240"/>
                  <a:pt x="398" y="240"/>
                  <a:pt x="398" y="240"/>
                </a:cubicBezTo>
                <a:cubicBezTo>
                  <a:pt x="398" y="239"/>
                  <a:pt x="398" y="239"/>
                  <a:pt x="398" y="239"/>
                </a:cubicBezTo>
                <a:cubicBezTo>
                  <a:pt x="398" y="239"/>
                  <a:pt x="398" y="239"/>
                  <a:pt x="398" y="239"/>
                </a:cubicBezTo>
                <a:cubicBezTo>
                  <a:pt x="397" y="240"/>
                  <a:pt x="397" y="240"/>
                  <a:pt x="397" y="240"/>
                </a:cubicBezTo>
                <a:cubicBezTo>
                  <a:pt x="396" y="241"/>
                  <a:pt x="396" y="241"/>
                  <a:pt x="396" y="241"/>
                </a:cubicBezTo>
                <a:cubicBezTo>
                  <a:pt x="395" y="241"/>
                  <a:pt x="395" y="241"/>
                  <a:pt x="395" y="241"/>
                </a:cubicBezTo>
                <a:cubicBezTo>
                  <a:pt x="395" y="241"/>
                  <a:pt x="395" y="241"/>
                  <a:pt x="395" y="241"/>
                </a:cubicBezTo>
                <a:cubicBezTo>
                  <a:pt x="394" y="240"/>
                  <a:pt x="394" y="240"/>
                  <a:pt x="394" y="240"/>
                </a:cubicBezTo>
                <a:cubicBezTo>
                  <a:pt x="394" y="240"/>
                  <a:pt x="394" y="240"/>
                  <a:pt x="394" y="240"/>
                </a:cubicBezTo>
                <a:cubicBezTo>
                  <a:pt x="393" y="241"/>
                  <a:pt x="393" y="241"/>
                  <a:pt x="393" y="241"/>
                </a:cubicBezTo>
                <a:cubicBezTo>
                  <a:pt x="392" y="241"/>
                  <a:pt x="392" y="241"/>
                  <a:pt x="392" y="241"/>
                </a:cubicBezTo>
                <a:cubicBezTo>
                  <a:pt x="391" y="242"/>
                  <a:pt x="391" y="242"/>
                  <a:pt x="391" y="242"/>
                </a:cubicBezTo>
                <a:cubicBezTo>
                  <a:pt x="390" y="242"/>
                  <a:pt x="390" y="242"/>
                  <a:pt x="390" y="242"/>
                </a:cubicBezTo>
                <a:cubicBezTo>
                  <a:pt x="390" y="242"/>
                  <a:pt x="390" y="242"/>
                  <a:pt x="390" y="242"/>
                </a:cubicBezTo>
                <a:cubicBezTo>
                  <a:pt x="389" y="242"/>
                  <a:pt x="389" y="242"/>
                  <a:pt x="389" y="242"/>
                </a:cubicBezTo>
                <a:cubicBezTo>
                  <a:pt x="389" y="242"/>
                  <a:pt x="389" y="242"/>
                  <a:pt x="389" y="242"/>
                </a:cubicBezTo>
                <a:cubicBezTo>
                  <a:pt x="389" y="242"/>
                  <a:pt x="389" y="242"/>
                  <a:pt x="389" y="242"/>
                </a:cubicBezTo>
                <a:cubicBezTo>
                  <a:pt x="389" y="241"/>
                  <a:pt x="389" y="241"/>
                  <a:pt x="389" y="241"/>
                </a:cubicBezTo>
                <a:cubicBezTo>
                  <a:pt x="389" y="240"/>
                  <a:pt x="389" y="240"/>
                  <a:pt x="389" y="240"/>
                </a:cubicBezTo>
                <a:cubicBezTo>
                  <a:pt x="389" y="240"/>
                  <a:pt x="389" y="240"/>
                  <a:pt x="389" y="240"/>
                </a:cubicBezTo>
                <a:cubicBezTo>
                  <a:pt x="390" y="239"/>
                  <a:pt x="390" y="239"/>
                  <a:pt x="390" y="239"/>
                </a:cubicBezTo>
                <a:cubicBezTo>
                  <a:pt x="390" y="239"/>
                  <a:pt x="390" y="239"/>
                  <a:pt x="390" y="239"/>
                </a:cubicBezTo>
                <a:cubicBezTo>
                  <a:pt x="391" y="239"/>
                  <a:pt x="391" y="239"/>
                  <a:pt x="391" y="239"/>
                </a:cubicBezTo>
                <a:cubicBezTo>
                  <a:pt x="392" y="239"/>
                  <a:pt x="392" y="239"/>
                  <a:pt x="392" y="239"/>
                </a:cubicBezTo>
                <a:cubicBezTo>
                  <a:pt x="392" y="239"/>
                  <a:pt x="392" y="239"/>
                  <a:pt x="392" y="239"/>
                </a:cubicBezTo>
                <a:cubicBezTo>
                  <a:pt x="393" y="239"/>
                  <a:pt x="393" y="239"/>
                  <a:pt x="393" y="239"/>
                </a:cubicBezTo>
                <a:cubicBezTo>
                  <a:pt x="394" y="238"/>
                  <a:pt x="394" y="238"/>
                  <a:pt x="394" y="238"/>
                </a:cubicBezTo>
                <a:cubicBezTo>
                  <a:pt x="394" y="237"/>
                  <a:pt x="394" y="237"/>
                  <a:pt x="394" y="237"/>
                </a:cubicBezTo>
                <a:cubicBezTo>
                  <a:pt x="394" y="236"/>
                  <a:pt x="394" y="236"/>
                  <a:pt x="394" y="236"/>
                </a:cubicBezTo>
                <a:cubicBezTo>
                  <a:pt x="393" y="235"/>
                  <a:pt x="393" y="235"/>
                  <a:pt x="393" y="235"/>
                </a:cubicBezTo>
                <a:cubicBezTo>
                  <a:pt x="392" y="235"/>
                  <a:pt x="392" y="235"/>
                  <a:pt x="392" y="235"/>
                </a:cubicBezTo>
                <a:cubicBezTo>
                  <a:pt x="391" y="234"/>
                  <a:pt x="391" y="234"/>
                  <a:pt x="391" y="234"/>
                </a:cubicBezTo>
                <a:cubicBezTo>
                  <a:pt x="391" y="233"/>
                  <a:pt x="391" y="233"/>
                  <a:pt x="391" y="233"/>
                </a:cubicBezTo>
                <a:cubicBezTo>
                  <a:pt x="391" y="233"/>
                  <a:pt x="391" y="233"/>
                  <a:pt x="391" y="233"/>
                </a:cubicBezTo>
                <a:cubicBezTo>
                  <a:pt x="391" y="232"/>
                  <a:pt x="391" y="232"/>
                  <a:pt x="391" y="232"/>
                </a:cubicBezTo>
                <a:cubicBezTo>
                  <a:pt x="390" y="232"/>
                  <a:pt x="390" y="232"/>
                  <a:pt x="390" y="232"/>
                </a:cubicBezTo>
                <a:cubicBezTo>
                  <a:pt x="390" y="232"/>
                  <a:pt x="390" y="232"/>
                  <a:pt x="390" y="232"/>
                </a:cubicBezTo>
                <a:cubicBezTo>
                  <a:pt x="389" y="231"/>
                  <a:pt x="389" y="231"/>
                  <a:pt x="389" y="231"/>
                </a:cubicBezTo>
                <a:cubicBezTo>
                  <a:pt x="389" y="230"/>
                  <a:pt x="389" y="230"/>
                  <a:pt x="389" y="230"/>
                </a:cubicBezTo>
                <a:cubicBezTo>
                  <a:pt x="390" y="230"/>
                  <a:pt x="390" y="230"/>
                  <a:pt x="390" y="230"/>
                </a:cubicBezTo>
                <a:cubicBezTo>
                  <a:pt x="390" y="231"/>
                  <a:pt x="390" y="231"/>
                  <a:pt x="390" y="231"/>
                </a:cubicBezTo>
                <a:cubicBezTo>
                  <a:pt x="391" y="230"/>
                  <a:pt x="391" y="230"/>
                  <a:pt x="391" y="230"/>
                </a:cubicBezTo>
                <a:cubicBezTo>
                  <a:pt x="391" y="230"/>
                  <a:pt x="391" y="230"/>
                  <a:pt x="391" y="230"/>
                </a:cubicBezTo>
                <a:cubicBezTo>
                  <a:pt x="392" y="229"/>
                  <a:pt x="392" y="229"/>
                  <a:pt x="392" y="229"/>
                </a:cubicBezTo>
                <a:cubicBezTo>
                  <a:pt x="390" y="229"/>
                  <a:pt x="390" y="229"/>
                  <a:pt x="390" y="229"/>
                </a:cubicBezTo>
                <a:cubicBezTo>
                  <a:pt x="390" y="228"/>
                  <a:pt x="390" y="228"/>
                  <a:pt x="390" y="228"/>
                </a:cubicBezTo>
                <a:cubicBezTo>
                  <a:pt x="389" y="228"/>
                  <a:pt x="389" y="228"/>
                  <a:pt x="389" y="228"/>
                </a:cubicBezTo>
                <a:cubicBezTo>
                  <a:pt x="389" y="228"/>
                  <a:pt x="389" y="228"/>
                  <a:pt x="389" y="228"/>
                </a:cubicBezTo>
                <a:cubicBezTo>
                  <a:pt x="388" y="227"/>
                  <a:pt x="388" y="227"/>
                  <a:pt x="388" y="227"/>
                </a:cubicBezTo>
                <a:cubicBezTo>
                  <a:pt x="387" y="228"/>
                  <a:pt x="387" y="228"/>
                  <a:pt x="387" y="228"/>
                </a:cubicBezTo>
                <a:cubicBezTo>
                  <a:pt x="387" y="228"/>
                  <a:pt x="387" y="228"/>
                  <a:pt x="387" y="228"/>
                </a:cubicBezTo>
                <a:cubicBezTo>
                  <a:pt x="387" y="228"/>
                  <a:pt x="387" y="228"/>
                  <a:pt x="387" y="228"/>
                </a:cubicBezTo>
                <a:cubicBezTo>
                  <a:pt x="388" y="226"/>
                  <a:pt x="388" y="226"/>
                  <a:pt x="388" y="226"/>
                </a:cubicBezTo>
                <a:cubicBezTo>
                  <a:pt x="389" y="224"/>
                  <a:pt x="389" y="224"/>
                  <a:pt x="389" y="224"/>
                </a:cubicBezTo>
                <a:cubicBezTo>
                  <a:pt x="389" y="224"/>
                  <a:pt x="389" y="224"/>
                  <a:pt x="389" y="224"/>
                </a:cubicBezTo>
                <a:cubicBezTo>
                  <a:pt x="389" y="222"/>
                  <a:pt x="389" y="222"/>
                  <a:pt x="389" y="222"/>
                </a:cubicBezTo>
                <a:cubicBezTo>
                  <a:pt x="389" y="221"/>
                  <a:pt x="389" y="221"/>
                  <a:pt x="389" y="221"/>
                </a:cubicBezTo>
                <a:cubicBezTo>
                  <a:pt x="390" y="220"/>
                  <a:pt x="390" y="220"/>
                  <a:pt x="390" y="220"/>
                </a:cubicBezTo>
                <a:cubicBezTo>
                  <a:pt x="389" y="219"/>
                  <a:pt x="389" y="219"/>
                  <a:pt x="389" y="219"/>
                </a:cubicBezTo>
                <a:cubicBezTo>
                  <a:pt x="388" y="220"/>
                  <a:pt x="388" y="220"/>
                  <a:pt x="388" y="220"/>
                </a:cubicBezTo>
                <a:cubicBezTo>
                  <a:pt x="388" y="220"/>
                  <a:pt x="388" y="220"/>
                  <a:pt x="388" y="220"/>
                </a:cubicBezTo>
                <a:cubicBezTo>
                  <a:pt x="387" y="220"/>
                  <a:pt x="387" y="220"/>
                  <a:pt x="387" y="220"/>
                </a:cubicBezTo>
                <a:cubicBezTo>
                  <a:pt x="387" y="221"/>
                  <a:pt x="387" y="221"/>
                  <a:pt x="387" y="221"/>
                </a:cubicBezTo>
                <a:cubicBezTo>
                  <a:pt x="386" y="220"/>
                  <a:pt x="386" y="220"/>
                  <a:pt x="386" y="220"/>
                </a:cubicBezTo>
                <a:cubicBezTo>
                  <a:pt x="385" y="219"/>
                  <a:pt x="385" y="219"/>
                  <a:pt x="385" y="219"/>
                </a:cubicBezTo>
                <a:cubicBezTo>
                  <a:pt x="385" y="218"/>
                  <a:pt x="385" y="218"/>
                  <a:pt x="385" y="218"/>
                </a:cubicBezTo>
                <a:cubicBezTo>
                  <a:pt x="384" y="217"/>
                  <a:pt x="384" y="217"/>
                  <a:pt x="384" y="217"/>
                </a:cubicBezTo>
                <a:cubicBezTo>
                  <a:pt x="384" y="217"/>
                  <a:pt x="384" y="217"/>
                  <a:pt x="384" y="217"/>
                </a:cubicBezTo>
                <a:cubicBezTo>
                  <a:pt x="384" y="215"/>
                  <a:pt x="384" y="215"/>
                  <a:pt x="384" y="215"/>
                </a:cubicBezTo>
                <a:cubicBezTo>
                  <a:pt x="385" y="215"/>
                  <a:pt x="385" y="215"/>
                  <a:pt x="385" y="215"/>
                </a:cubicBezTo>
                <a:cubicBezTo>
                  <a:pt x="385" y="214"/>
                  <a:pt x="385" y="214"/>
                  <a:pt x="385" y="214"/>
                </a:cubicBezTo>
                <a:cubicBezTo>
                  <a:pt x="385" y="214"/>
                  <a:pt x="385" y="214"/>
                  <a:pt x="385" y="214"/>
                </a:cubicBezTo>
                <a:cubicBezTo>
                  <a:pt x="385" y="212"/>
                  <a:pt x="385" y="212"/>
                  <a:pt x="385" y="212"/>
                </a:cubicBezTo>
                <a:cubicBezTo>
                  <a:pt x="384" y="213"/>
                  <a:pt x="384" y="213"/>
                  <a:pt x="384" y="213"/>
                </a:cubicBezTo>
                <a:cubicBezTo>
                  <a:pt x="384" y="213"/>
                  <a:pt x="384" y="213"/>
                  <a:pt x="384" y="213"/>
                </a:cubicBezTo>
                <a:cubicBezTo>
                  <a:pt x="383" y="215"/>
                  <a:pt x="383" y="215"/>
                  <a:pt x="383" y="215"/>
                </a:cubicBezTo>
                <a:cubicBezTo>
                  <a:pt x="383" y="216"/>
                  <a:pt x="383" y="216"/>
                  <a:pt x="383" y="216"/>
                </a:cubicBezTo>
                <a:cubicBezTo>
                  <a:pt x="382" y="215"/>
                  <a:pt x="382" y="215"/>
                  <a:pt x="382" y="215"/>
                </a:cubicBezTo>
                <a:cubicBezTo>
                  <a:pt x="382" y="215"/>
                  <a:pt x="382" y="215"/>
                  <a:pt x="382" y="215"/>
                </a:cubicBezTo>
                <a:cubicBezTo>
                  <a:pt x="382" y="215"/>
                  <a:pt x="382" y="215"/>
                  <a:pt x="382" y="215"/>
                </a:cubicBezTo>
                <a:cubicBezTo>
                  <a:pt x="381" y="216"/>
                  <a:pt x="381" y="216"/>
                  <a:pt x="381" y="216"/>
                </a:cubicBezTo>
                <a:cubicBezTo>
                  <a:pt x="381" y="216"/>
                  <a:pt x="381" y="216"/>
                  <a:pt x="381" y="216"/>
                </a:cubicBezTo>
                <a:cubicBezTo>
                  <a:pt x="381" y="217"/>
                  <a:pt x="381" y="217"/>
                  <a:pt x="381" y="217"/>
                </a:cubicBezTo>
                <a:cubicBezTo>
                  <a:pt x="382" y="218"/>
                  <a:pt x="382" y="218"/>
                  <a:pt x="382" y="218"/>
                </a:cubicBezTo>
                <a:cubicBezTo>
                  <a:pt x="382" y="218"/>
                  <a:pt x="382" y="218"/>
                  <a:pt x="382" y="218"/>
                </a:cubicBezTo>
                <a:cubicBezTo>
                  <a:pt x="383" y="221"/>
                  <a:pt x="383" y="221"/>
                  <a:pt x="383" y="221"/>
                </a:cubicBezTo>
                <a:cubicBezTo>
                  <a:pt x="384" y="221"/>
                  <a:pt x="384" y="221"/>
                  <a:pt x="384" y="221"/>
                </a:cubicBezTo>
                <a:cubicBezTo>
                  <a:pt x="384" y="222"/>
                  <a:pt x="384" y="222"/>
                  <a:pt x="384" y="222"/>
                </a:cubicBezTo>
                <a:cubicBezTo>
                  <a:pt x="384" y="223"/>
                  <a:pt x="384" y="223"/>
                  <a:pt x="384" y="223"/>
                </a:cubicBezTo>
                <a:cubicBezTo>
                  <a:pt x="383" y="225"/>
                  <a:pt x="383" y="225"/>
                  <a:pt x="383" y="225"/>
                </a:cubicBezTo>
                <a:cubicBezTo>
                  <a:pt x="382" y="225"/>
                  <a:pt x="382" y="225"/>
                  <a:pt x="382" y="225"/>
                </a:cubicBezTo>
                <a:cubicBezTo>
                  <a:pt x="379" y="225"/>
                  <a:pt x="379" y="225"/>
                  <a:pt x="379" y="225"/>
                </a:cubicBezTo>
                <a:cubicBezTo>
                  <a:pt x="379" y="225"/>
                  <a:pt x="379" y="225"/>
                  <a:pt x="379" y="225"/>
                </a:cubicBezTo>
                <a:cubicBezTo>
                  <a:pt x="378" y="225"/>
                  <a:pt x="378" y="225"/>
                  <a:pt x="378" y="225"/>
                </a:cubicBezTo>
                <a:cubicBezTo>
                  <a:pt x="376" y="224"/>
                  <a:pt x="376" y="224"/>
                  <a:pt x="376" y="224"/>
                </a:cubicBezTo>
                <a:cubicBezTo>
                  <a:pt x="377" y="224"/>
                  <a:pt x="377" y="224"/>
                  <a:pt x="377" y="224"/>
                </a:cubicBezTo>
                <a:cubicBezTo>
                  <a:pt x="377" y="223"/>
                  <a:pt x="377" y="223"/>
                  <a:pt x="377" y="223"/>
                </a:cubicBezTo>
                <a:cubicBezTo>
                  <a:pt x="375" y="223"/>
                  <a:pt x="375" y="223"/>
                  <a:pt x="375" y="223"/>
                </a:cubicBezTo>
                <a:cubicBezTo>
                  <a:pt x="373" y="222"/>
                  <a:pt x="373" y="222"/>
                  <a:pt x="373" y="222"/>
                </a:cubicBezTo>
                <a:cubicBezTo>
                  <a:pt x="371" y="221"/>
                  <a:pt x="371" y="221"/>
                  <a:pt x="371" y="221"/>
                </a:cubicBezTo>
                <a:cubicBezTo>
                  <a:pt x="372" y="224"/>
                  <a:pt x="372" y="224"/>
                  <a:pt x="372" y="224"/>
                </a:cubicBezTo>
                <a:cubicBezTo>
                  <a:pt x="372" y="225"/>
                  <a:pt x="372" y="225"/>
                  <a:pt x="372" y="225"/>
                </a:cubicBezTo>
                <a:cubicBezTo>
                  <a:pt x="372" y="225"/>
                  <a:pt x="372" y="225"/>
                  <a:pt x="372" y="225"/>
                </a:cubicBezTo>
                <a:cubicBezTo>
                  <a:pt x="371" y="225"/>
                  <a:pt x="371" y="225"/>
                  <a:pt x="371" y="225"/>
                </a:cubicBezTo>
                <a:cubicBezTo>
                  <a:pt x="370" y="224"/>
                  <a:pt x="370" y="224"/>
                  <a:pt x="370" y="224"/>
                </a:cubicBezTo>
                <a:cubicBezTo>
                  <a:pt x="369" y="223"/>
                  <a:pt x="369" y="223"/>
                  <a:pt x="369" y="223"/>
                </a:cubicBezTo>
                <a:cubicBezTo>
                  <a:pt x="369" y="223"/>
                  <a:pt x="369" y="223"/>
                  <a:pt x="369" y="223"/>
                </a:cubicBezTo>
                <a:cubicBezTo>
                  <a:pt x="369" y="222"/>
                  <a:pt x="369" y="222"/>
                  <a:pt x="369" y="222"/>
                </a:cubicBezTo>
                <a:cubicBezTo>
                  <a:pt x="368" y="221"/>
                  <a:pt x="368" y="221"/>
                  <a:pt x="368" y="221"/>
                </a:cubicBezTo>
                <a:cubicBezTo>
                  <a:pt x="367" y="220"/>
                  <a:pt x="367" y="220"/>
                  <a:pt x="367" y="220"/>
                </a:cubicBezTo>
                <a:cubicBezTo>
                  <a:pt x="366" y="219"/>
                  <a:pt x="366" y="219"/>
                  <a:pt x="366" y="219"/>
                </a:cubicBezTo>
                <a:cubicBezTo>
                  <a:pt x="366" y="219"/>
                  <a:pt x="366" y="219"/>
                  <a:pt x="366" y="219"/>
                </a:cubicBezTo>
                <a:cubicBezTo>
                  <a:pt x="365" y="217"/>
                  <a:pt x="365" y="217"/>
                  <a:pt x="365" y="217"/>
                </a:cubicBezTo>
                <a:cubicBezTo>
                  <a:pt x="364" y="217"/>
                  <a:pt x="364" y="217"/>
                  <a:pt x="364" y="217"/>
                </a:cubicBezTo>
                <a:cubicBezTo>
                  <a:pt x="363" y="217"/>
                  <a:pt x="363" y="217"/>
                  <a:pt x="363" y="217"/>
                </a:cubicBezTo>
                <a:cubicBezTo>
                  <a:pt x="362" y="216"/>
                  <a:pt x="362" y="216"/>
                  <a:pt x="362" y="216"/>
                </a:cubicBezTo>
                <a:cubicBezTo>
                  <a:pt x="363" y="217"/>
                  <a:pt x="363" y="217"/>
                  <a:pt x="363" y="217"/>
                </a:cubicBezTo>
                <a:cubicBezTo>
                  <a:pt x="365" y="219"/>
                  <a:pt x="365" y="219"/>
                  <a:pt x="365" y="219"/>
                </a:cubicBezTo>
                <a:cubicBezTo>
                  <a:pt x="366" y="220"/>
                  <a:pt x="366" y="220"/>
                  <a:pt x="366" y="220"/>
                </a:cubicBezTo>
                <a:cubicBezTo>
                  <a:pt x="366" y="221"/>
                  <a:pt x="366" y="221"/>
                  <a:pt x="366" y="221"/>
                </a:cubicBezTo>
                <a:cubicBezTo>
                  <a:pt x="367" y="222"/>
                  <a:pt x="367" y="222"/>
                  <a:pt x="367" y="222"/>
                </a:cubicBezTo>
                <a:cubicBezTo>
                  <a:pt x="368" y="222"/>
                  <a:pt x="368" y="222"/>
                  <a:pt x="368" y="222"/>
                </a:cubicBezTo>
                <a:cubicBezTo>
                  <a:pt x="367" y="223"/>
                  <a:pt x="367" y="223"/>
                  <a:pt x="367" y="223"/>
                </a:cubicBezTo>
                <a:cubicBezTo>
                  <a:pt x="367" y="223"/>
                  <a:pt x="367" y="223"/>
                  <a:pt x="367" y="223"/>
                </a:cubicBezTo>
                <a:cubicBezTo>
                  <a:pt x="366" y="223"/>
                  <a:pt x="366" y="223"/>
                  <a:pt x="366" y="223"/>
                </a:cubicBezTo>
                <a:cubicBezTo>
                  <a:pt x="364" y="222"/>
                  <a:pt x="364" y="222"/>
                  <a:pt x="364" y="222"/>
                </a:cubicBezTo>
                <a:cubicBezTo>
                  <a:pt x="364" y="223"/>
                  <a:pt x="364" y="223"/>
                  <a:pt x="364" y="223"/>
                </a:cubicBezTo>
                <a:cubicBezTo>
                  <a:pt x="363" y="222"/>
                  <a:pt x="363" y="222"/>
                  <a:pt x="363" y="222"/>
                </a:cubicBezTo>
                <a:cubicBezTo>
                  <a:pt x="362" y="221"/>
                  <a:pt x="362" y="221"/>
                  <a:pt x="362" y="221"/>
                </a:cubicBezTo>
                <a:cubicBezTo>
                  <a:pt x="361" y="220"/>
                  <a:pt x="361" y="220"/>
                  <a:pt x="361" y="220"/>
                </a:cubicBezTo>
                <a:cubicBezTo>
                  <a:pt x="359" y="220"/>
                  <a:pt x="359" y="220"/>
                  <a:pt x="359" y="220"/>
                </a:cubicBezTo>
                <a:cubicBezTo>
                  <a:pt x="358" y="221"/>
                  <a:pt x="358" y="221"/>
                  <a:pt x="358" y="221"/>
                </a:cubicBezTo>
                <a:cubicBezTo>
                  <a:pt x="357" y="220"/>
                  <a:pt x="357" y="220"/>
                  <a:pt x="357" y="220"/>
                </a:cubicBezTo>
                <a:cubicBezTo>
                  <a:pt x="356" y="220"/>
                  <a:pt x="356" y="220"/>
                  <a:pt x="356" y="220"/>
                </a:cubicBezTo>
                <a:cubicBezTo>
                  <a:pt x="355" y="220"/>
                  <a:pt x="355" y="220"/>
                  <a:pt x="355" y="220"/>
                </a:cubicBezTo>
                <a:cubicBezTo>
                  <a:pt x="354" y="219"/>
                  <a:pt x="354" y="219"/>
                  <a:pt x="354" y="219"/>
                </a:cubicBezTo>
                <a:cubicBezTo>
                  <a:pt x="353" y="218"/>
                  <a:pt x="353" y="218"/>
                  <a:pt x="353" y="218"/>
                </a:cubicBezTo>
                <a:cubicBezTo>
                  <a:pt x="353" y="217"/>
                  <a:pt x="353" y="217"/>
                  <a:pt x="353" y="217"/>
                </a:cubicBezTo>
                <a:cubicBezTo>
                  <a:pt x="355" y="216"/>
                  <a:pt x="355" y="216"/>
                  <a:pt x="355" y="216"/>
                </a:cubicBezTo>
                <a:cubicBezTo>
                  <a:pt x="355" y="215"/>
                  <a:pt x="355" y="215"/>
                  <a:pt x="355" y="215"/>
                </a:cubicBezTo>
                <a:cubicBezTo>
                  <a:pt x="355" y="215"/>
                  <a:pt x="355" y="215"/>
                  <a:pt x="355" y="215"/>
                </a:cubicBezTo>
                <a:cubicBezTo>
                  <a:pt x="354" y="215"/>
                  <a:pt x="354" y="215"/>
                  <a:pt x="354" y="215"/>
                </a:cubicBezTo>
                <a:cubicBezTo>
                  <a:pt x="353" y="216"/>
                  <a:pt x="353" y="216"/>
                  <a:pt x="353" y="216"/>
                </a:cubicBezTo>
                <a:cubicBezTo>
                  <a:pt x="352" y="217"/>
                  <a:pt x="352" y="217"/>
                  <a:pt x="352" y="217"/>
                </a:cubicBezTo>
                <a:cubicBezTo>
                  <a:pt x="352" y="217"/>
                  <a:pt x="352" y="217"/>
                  <a:pt x="352" y="217"/>
                </a:cubicBezTo>
                <a:cubicBezTo>
                  <a:pt x="351" y="217"/>
                  <a:pt x="351" y="217"/>
                  <a:pt x="351" y="217"/>
                </a:cubicBezTo>
                <a:cubicBezTo>
                  <a:pt x="350" y="216"/>
                  <a:pt x="350" y="216"/>
                  <a:pt x="350" y="216"/>
                </a:cubicBezTo>
                <a:cubicBezTo>
                  <a:pt x="349" y="216"/>
                  <a:pt x="349" y="216"/>
                  <a:pt x="349" y="216"/>
                </a:cubicBezTo>
                <a:cubicBezTo>
                  <a:pt x="350" y="217"/>
                  <a:pt x="350" y="217"/>
                  <a:pt x="350" y="217"/>
                </a:cubicBezTo>
                <a:cubicBezTo>
                  <a:pt x="350" y="218"/>
                  <a:pt x="350" y="218"/>
                  <a:pt x="350" y="218"/>
                </a:cubicBezTo>
                <a:cubicBezTo>
                  <a:pt x="348" y="218"/>
                  <a:pt x="348" y="218"/>
                  <a:pt x="348" y="218"/>
                </a:cubicBezTo>
                <a:cubicBezTo>
                  <a:pt x="346" y="216"/>
                  <a:pt x="346" y="216"/>
                  <a:pt x="346" y="216"/>
                </a:cubicBezTo>
                <a:cubicBezTo>
                  <a:pt x="346" y="215"/>
                  <a:pt x="346" y="215"/>
                  <a:pt x="346" y="215"/>
                </a:cubicBezTo>
                <a:cubicBezTo>
                  <a:pt x="345" y="214"/>
                  <a:pt x="345" y="214"/>
                  <a:pt x="345" y="214"/>
                </a:cubicBezTo>
                <a:cubicBezTo>
                  <a:pt x="345" y="213"/>
                  <a:pt x="345" y="213"/>
                  <a:pt x="345" y="213"/>
                </a:cubicBezTo>
                <a:cubicBezTo>
                  <a:pt x="347" y="212"/>
                  <a:pt x="347" y="212"/>
                  <a:pt x="347" y="212"/>
                </a:cubicBezTo>
                <a:cubicBezTo>
                  <a:pt x="348" y="211"/>
                  <a:pt x="348" y="211"/>
                  <a:pt x="348" y="211"/>
                </a:cubicBezTo>
                <a:cubicBezTo>
                  <a:pt x="348" y="211"/>
                  <a:pt x="348" y="211"/>
                  <a:pt x="348" y="211"/>
                </a:cubicBezTo>
                <a:cubicBezTo>
                  <a:pt x="347" y="211"/>
                  <a:pt x="347" y="211"/>
                  <a:pt x="347" y="211"/>
                </a:cubicBezTo>
                <a:cubicBezTo>
                  <a:pt x="345" y="212"/>
                  <a:pt x="345" y="212"/>
                  <a:pt x="345" y="212"/>
                </a:cubicBezTo>
                <a:cubicBezTo>
                  <a:pt x="345" y="213"/>
                  <a:pt x="345" y="213"/>
                  <a:pt x="345" y="213"/>
                </a:cubicBezTo>
                <a:cubicBezTo>
                  <a:pt x="344" y="213"/>
                  <a:pt x="344" y="213"/>
                  <a:pt x="344" y="213"/>
                </a:cubicBezTo>
                <a:cubicBezTo>
                  <a:pt x="344" y="212"/>
                  <a:pt x="344" y="212"/>
                  <a:pt x="344" y="212"/>
                </a:cubicBezTo>
                <a:cubicBezTo>
                  <a:pt x="344" y="211"/>
                  <a:pt x="344" y="211"/>
                  <a:pt x="344" y="211"/>
                </a:cubicBezTo>
                <a:cubicBezTo>
                  <a:pt x="343" y="211"/>
                  <a:pt x="343" y="211"/>
                  <a:pt x="343" y="211"/>
                </a:cubicBezTo>
                <a:cubicBezTo>
                  <a:pt x="343" y="211"/>
                  <a:pt x="343" y="211"/>
                  <a:pt x="343" y="211"/>
                </a:cubicBezTo>
                <a:cubicBezTo>
                  <a:pt x="343" y="212"/>
                  <a:pt x="343" y="212"/>
                  <a:pt x="343" y="212"/>
                </a:cubicBezTo>
                <a:cubicBezTo>
                  <a:pt x="343" y="212"/>
                  <a:pt x="343" y="212"/>
                  <a:pt x="343" y="212"/>
                </a:cubicBezTo>
                <a:cubicBezTo>
                  <a:pt x="343" y="213"/>
                  <a:pt x="343" y="213"/>
                  <a:pt x="343" y="213"/>
                </a:cubicBezTo>
                <a:cubicBezTo>
                  <a:pt x="342" y="213"/>
                  <a:pt x="342" y="213"/>
                  <a:pt x="342" y="213"/>
                </a:cubicBezTo>
                <a:cubicBezTo>
                  <a:pt x="341" y="212"/>
                  <a:pt x="341" y="212"/>
                  <a:pt x="341" y="212"/>
                </a:cubicBezTo>
                <a:cubicBezTo>
                  <a:pt x="340" y="212"/>
                  <a:pt x="340" y="212"/>
                  <a:pt x="340" y="212"/>
                </a:cubicBezTo>
                <a:cubicBezTo>
                  <a:pt x="339" y="212"/>
                  <a:pt x="339" y="212"/>
                  <a:pt x="339" y="212"/>
                </a:cubicBezTo>
                <a:cubicBezTo>
                  <a:pt x="339" y="213"/>
                  <a:pt x="339" y="213"/>
                  <a:pt x="339" y="213"/>
                </a:cubicBezTo>
                <a:cubicBezTo>
                  <a:pt x="338" y="213"/>
                  <a:pt x="338" y="213"/>
                  <a:pt x="338" y="213"/>
                </a:cubicBezTo>
                <a:cubicBezTo>
                  <a:pt x="337" y="212"/>
                  <a:pt x="337" y="212"/>
                  <a:pt x="337" y="212"/>
                </a:cubicBezTo>
                <a:cubicBezTo>
                  <a:pt x="337" y="211"/>
                  <a:pt x="337" y="211"/>
                  <a:pt x="337" y="211"/>
                </a:cubicBezTo>
                <a:cubicBezTo>
                  <a:pt x="337" y="211"/>
                  <a:pt x="337" y="211"/>
                  <a:pt x="337" y="211"/>
                </a:cubicBezTo>
                <a:cubicBezTo>
                  <a:pt x="338" y="211"/>
                  <a:pt x="338" y="211"/>
                  <a:pt x="338" y="211"/>
                </a:cubicBezTo>
                <a:cubicBezTo>
                  <a:pt x="338" y="211"/>
                  <a:pt x="338" y="211"/>
                  <a:pt x="338" y="211"/>
                </a:cubicBezTo>
                <a:cubicBezTo>
                  <a:pt x="337" y="210"/>
                  <a:pt x="337" y="210"/>
                  <a:pt x="337" y="210"/>
                </a:cubicBezTo>
                <a:cubicBezTo>
                  <a:pt x="335" y="209"/>
                  <a:pt x="335" y="209"/>
                  <a:pt x="335" y="209"/>
                </a:cubicBezTo>
                <a:cubicBezTo>
                  <a:pt x="335" y="208"/>
                  <a:pt x="335" y="208"/>
                  <a:pt x="335" y="208"/>
                </a:cubicBezTo>
                <a:cubicBezTo>
                  <a:pt x="335" y="206"/>
                  <a:pt x="335" y="206"/>
                  <a:pt x="335" y="206"/>
                </a:cubicBezTo>
                <a:cubicBezTo>
                  <a:pt x="335" y="205"/>
                  <a:pt x="335" y="205"/>
                  <a:pt x="335" y="205"/>
                </a:cubicBezTo>
                <a:cubicBezTo>
                  <a:pt x="335" y="203"/>
                  <a:pt x="335" y="203"/>
                  <a:pt x="335" y="203"/>
                </a:cubicBezTo>
                <a:cubicBezTo>
                  <a:pt x="335" y="202"/>
                  <a:pt x="335" y="202"/>
                  <a:pt x="335" y="202"/>
                </a:cubicBezTo>
                <a:cubicBezTo>
                  <a:pt x="336" y="202"/>
                  <a:pt x="336" y="202"/>
                  <a:pt x="336" y="202"/>
                </a:cubicBezTo>
                <a:cubicBezTo>
                  <a:pt x="336" y="201"/>
                  <a:pt x="336" y="201"/>
                  <a:pt x="336" y="201"/>
                </a:cubicBezTo>
                <a:cubicBezTo>
                  <a:pt x="335" y="200"/>
                  <a:pt x="335" y="200"/>
                  <a:pt x="335" y="200"/>
                </a:cubicBezTo>
                <a:cubicBezTo>
                  <a:pt x="336" y="199"/>
                  <a:pt x="336" y="199"/>
                  <a:pt x="336" y="199"/>
                </a:cubicBezTo>
                <a:cubicBezTo>
                  <a:pt x="337" y="200"/>
                  <a:pt x="337" y="200"/>
                  <a:pt x="337" y="200"/>
                </a:cubicBezTo>
                <a:cubicBezTo>
                  <a:pt x="337" y="200"/>
                  <a:pt x="337" y="200"/>
                  <a:pt x="337" y="200"/>
                </a:cubicBezTo>
                <a:cubicBezTo>
                  <a:pt x="339" y="200"/>
                  <a:pt x="339" y="200"/>
                  <a:pt x="339" y="200"/>
                </a:cubicBezTo>
                <a:cubicBezTo>
                  <a:pt x="340" y="201"/>
                  <a:pt x="340" y="201"/>
                  <a:pt x="340" y="201"/>
                </a:cubicBezTo>
                <a:cubicBezTo>
                  <a:pt x="341" y="202"/>
                  <a:pt x="341" y="202"/>
                  <a:pt x="341" y="202"/>
                </a:cubicBezTo>
                <a:cubicBezTo>
                  <a:pt x="343" y="203"/>
                  <a:pt x="343" y="203"/>
                  <a:pt x="343" y="203"/>
                </a:cubicBezTo>
                <a:cubicBezTo>
                  <a:pt x="345" y="203"/>
                  <a:pt x="345" y="203"/>
                  <a:pt x="345" y="203"/>
                </a:cubicBezTo>
                <a:cubicBezTo>
                  <a:pt x="345" y="203"/>
                  <a:pt x="345" y="203"/>
                  <a:pt x="345" y="203"/>
                </a:cubicBezTo>
                <a:cubicBezTo>
                  <a:pt x="347" y="203"/>
                  <a:pt x="347" y="203"/>
                  <a:pt x="347" y="203"/>
                </a:cubicBezTo>
                <a:cubicBezTo>
                  <a:pt x="346" y="202"/>
                  <a:pt x="346" y="202"/>
                  <a:pt x="346" y="202"/>
                </a:cubicBezTo>
                <a:cubicBezTo>
                  <a:pt x="346" y="201"/>
                  <a:pt x="346" y="201"/>
                  <a:pt x="346" y="201"/>
                </a:cubicBezTo>
                <a:cubicBezTo>
                  <a:pt x="345" y="200"/>
                  <a:pt x="345" y="200"/>
                  <a:pt x="345" y="200"/>
                </a:cubicBezTo>
                <a:cubicBezTo>
                  <a:pt x="344" y="199"/>
                  <a:pt x="344" y="199"/>
                  <a:pt x="344" y="199"/>
                </a:cubicBezTo>
                <a:cubicBezTo>
                  <a:pt x="343" y="199"/>
                  <a:pt x="343" y="199"/>
                  <a:pt x="343" y="199"/>
                </a:cubicBezTo>
                <a:cubicBezTo>
                  <a:pt x="341" y="198"/>
                  <a:pt x="341" y="198"/>
                  <a:pt x="341" y="198"/>
                </a:cubicBezTo>
                <a:cubicBezTo>
                  <a:pt x="341" y="198"/>
                  <a:pt x="341" y="198"/>
                  <a:pt x="341" y="198"/>
                </a:cubicBezTo>
                <a:cubicBezTo>
                  <a:pt x="339" y="197"/>
                  <a:pt x="339" y="197"/>
                  <a:pt x="339" y="197"/>
                </a:cubicBezTo>
                <a:cubicBezTo>
                  <a:pt x="338" y="197"/>
                  <a:pt x="338" y="197"/>
                  <a:pt x="338" y="197"/>
                </a:cubicBezTo>
                <a:cubicBezTo>
                  <a:pt x="336" y="196"/>
                  <a:pt x="336" y="196"/>
                  <a:pt x="336" y="196"/>
                </a:cubicBezTo>
                <a:cubicBezTo>
                  <a:pt x="335" y="195"/>
                  <a:pt x="335" y="195"/>
                  <a:pt x="335" y="195"/>
                </a:cubicBezTo>
                <a:cubicBezTo>
                  <a:pt x="335" y="193"/>
                  <a:pt x="335" y="193"/>
                  <a:pt x="335" y="193"/>
                </a:cubicBezTo>
                <a:cubicBezTo>
                  <a:pt x="337" y="192"/>
                  <a:pt x="337" y="192"/>
                  <a:pt x="337" y="192"/>
                </a:cubicBezTo>
                <a:cubicBezTo>
                  <a:pt x="336" y="191"/>
                  <a:pt x="336" y="191"/>
                  <a:pt x="336" y="191"/>
                </a:cubicBezTo>
                <a:cubicBezTo>
                  <a:pt x="337" y="190"/>
                  <a:pt x="337" y="190"/>
                  <a:pt x="337" y="190"/>
                </a:cubicBezTo>
                <a:cubicBezTo>
                  <a:pt x="338" y="190"/>
                  <a:pt x="338" y="190"/>
                  <a:pt x="338" y="190"/>
                </a:cubicBezTo>
                <a:cubicBezTo>
                  <a:pt x="338" y="188"/>
                  <a:pt x="338" y="188"/>
                  <a:pt x="338" y="188"/>
                </a:cubicBezTo>
                <a:cubicBezTo>
                  <a:pt x="338" y="186"/>
                  <a:pt x="338" y="186"/>
                  <a:pt x="338" y="186"/>
                </a:cubicBezTo>
                <a:cubicBezTo>
                  <a:pt x="339" y="185"/>
                  <a:pt x="339" y="185"/>
                  <a:pt x="339" y="185"/>
                </a:cubicBezTo>
                <a:cubicBezTo>
                  <a:pt x="340" y="185"/>
                  <a:pt x="340" y="185"/>
                  <a:pt x="340" y="185"/>
                </a:cubicBezTo>
                <a:cubicBezTo>
                  <a:pt x="340" y="184"/>
                  <a:pt x="340" y="184"/>
                  <a:pt x="340" y="184"/>
                </a:cubicBezTo>
                <a:cubicBezTo>
                  <a:pt x="342" y="183"/>
                  <a:pt x="342" y="183"/>
                  <a:pt x="342" y="183"/>
                </a:cubicBezTo>
                <a:cubicBezTo>
                  <a:pt x="343" y="183"/>
                  <a:pt x="343" y="183"/>
                  <a:pt x="343" y="183"/>
                </a:cubicBezTo>
                <a:cubicBezTo>
                  <a:pt x="343" y="182"/>
                  <a:pt x="343" y="182"/>
                  <a:pt x="343" y="182"/>
                </a:cubicBezTo>
                <a:cubicBezTo>
                  <a:pt x="343" y="182"/>
                  <a:pt x="343" y="182"/>
                  <a:pt x="343" y="182"/>
                </a:cubicBezTo>
                <a:cubicBezTo>
                  <a:pt x="342" y="182"/>
                  <a:pt x="342" y="182"/>
                  <a:pt x="342" y="182"/>
                </a:cubicBezTo>
                <a:cubicBezTo>
                  <a:pt x="342" y="181"/>
                  <a:pt x="342" y="181"/>
                  <a:pt x="342" y="181"/>
                </a:cubicBezTo>
                <a:cubicBezTo>
                  <a:pt x="343" y="179"/>
                  <a:pt x="343" y="179"/>
                  <a:pt x="343" y="179"/>
                </a:cubicBezTo>
                <a:cubicBezTo>
                  <a:pt x="344" y="178"/>
                  <a:pt x="344" y="178"/>
                  <a:pt x="344" y="178"/>
                </a:cubicBezTo>
                <a:cubicBezTo>
                  <a:pt x="345" y="177"/>
                  <a:pt x="345" y="177"/>
                  <a:pt x="345" y="177"/>
                </a:cubicBezTo>
                <a:cubicBezTo>
                  <a:pt x="346" y="176"/>
                  <a:pt x="346" y="176"/>
                  <a:pt x="346" y="176"/>
                </a:cubicBezTo>
                <a:cubicBezTo>
                  <a:pt x="346" y="176"/>
                  <a:pt x="346" y="176"/>
                  <a:pt x="346" y="176"/>
                </a:cubicBezTo>
                <a:cubicBezTo>
                  <a:pt x="347" y="176"/>
                  <a:pt x="347" y="176"/>
                  <a:pt x="347" y="176"/>
                </a:cubicBezTo>
                <a:cubicBezTo>
                  <a:pt x="347" y="174"/>
                  <a:pt x="347" y="174"/>
                  <a:pt x="347" y="174"/>
                </a:cubicBezTo>
                <a:cubicBezTo>
                  <a:pt x="348" y="174"/>
                  <a:pt x="348" y="174"/>
                  <a:pt x="348" y="174"/>
                </a:cubicBezTo>
                <a:cubicBezTo>
                  <a:pt x="348" y="175"/>
                  <a:pt x="348" y="175"/>
                  <a:pt x="348" y="175"/>
                </a:cubicBezTo>
                <a:cubicBezTo>
                  <a:pt x="349" y="174"/>
                  <a:pt x="349" y="174"/>
                  <a:pt x="349" y="174"/>
                </a:cubicBezTo>
                <a:cubicBezTo>
                  <a:pt x="349" y="173"/>
                  <a:pt x="349" y="173"/>
                  <a:pt x="349" y="173"/>
                </a:cubicBezTo>
                <a:cubicBezTo>
                  <a:pt x="350" y="171"/>
                  <a:pt x="350" y="171"/>
                  <a:pt x="350" y="171"/>
                </a:cubicBezTo>
                <a:cubicBezTo>
                  <a:pt x="351" y="171"/>
                  <a:pt x="351" y="171"/>
                  <a:pt x="351" y="171"/>
                </a:cubicBezTo>
                <a:cubicBezTo>
                  <a:pt x="351" y="170"/>
                  <a:pt x="351" y="170"/>
                  <a:pt x="351" y="170"/>
                </a:cubicBezTo>
                <a:cubicBezTo>
                  <a:pt x="352" y="169"/>
                  <a:pt x="352" y="169"/>
                  <a:pt x="352" y="169"/>
                </a:cubicBezTo>
                <a:cubicBezTo>
                  <a:pt x="353" y="169"/>
                  <a:pt x="353" y="169"/>
                  <a:pt x="353" y="169"/>
                </a:cubicBezTo>
                <a:cubicBezTo>
                  <a:pt x="354" y="168"/>
                  <a:pt x="354" y="168"/>
                  <a:pt x="354" y="168"/>
                </a:cubicBezTo>
                <a:cubicBezTo>
                  <a:pt x="355" y="168"/>
                  <a:pt x="355" y="168"/>
                  <a:pt x="355" y="168"/>
                </a:cubicBezTo>
                <a:cubicBezTo>
                  <a:pt x="356" y="168"/>
                  <a:pt x="356" y="168"/>
                  <a:pt x="356" y="168"/>
                </a:cubicBezTo>
                <a:cubicBezTo>
                  <a:pt x="355" y="167"/>
                  <a:pt x="355" y="167"/>
                  <a:pt x="355" y="167"/>
                </a:cubicBezTo>
                <a:cubicBezTo>
                  <a:pt x="356" y="166"/>
                  <a:pt x="356" y="166"/>
                  <a:pt x="356" y="166"/>
                </a:cubicBezTo>
                <a:cubicBezTo>
                  <a:pt x="358" y="165"/>
                  <a:pt x="358" y="165"/>
                  <a:pt x="358" y="165"/>
                </a:cubicBezTo>
                <a:cubicBezTo>
                  <a:pt x="360" y="163"/>
                  <a:pt x="360" y="163"/>
                  <a:pt x="360" y="163"/>
                </a:cubicBezTo>
                <a:cubicBezTo>
                  <a:pt x="363" y="162"/>
                  <a:pt x="363" y="162"/>
                  <a:pt x="363" y="162"/>
                </a:cubicBezTo>
                <a:cubicBezTo>
                  <a:pt x="366" y="162"/>
                  <a:pt x="366" y="162"/>
                  <a:pt x="366" y="162"/>
                </a:cubicBezTo>
                <a:cubicBezTo>
                  <a:pt x="367" y="161"/>
                  <a:pt x="367" y="161"/>
                  <a:pt x="367" y="161"/>
                </a:cubicBezTo>
                <a:cubicBezTo>
                  <a:pt x="368" y="161"/>
                  <a:pt x="368" y="161"/>
                  <a:pt x="368" y="161"/>
                </a:cubicBezTo>
                <a:cubicBezTo>
                  <a:pt x="369" y="161"/>
                  <a:pt x="369" y="161"/>
                  <a:pt x="369" y="161"/>
                </a:cubicBezTo>
                <a:cubicBezTo>
                  <a:pt x="370" y="161"/>
                  <a:pt x="370" y="161"/>
                  <a:pt x="370" y="161"/>
                </a:cubicBezTo>
                <a:cubicBezTo>
                  <a:pt x="372" y="161"/>
                  <a:pt x="372" y="161"/>
                  <a:pt x="372" y="161"/>
                </a:cubicBezTo>
                <a:cubicBezTo>
                  <a:pt x="373" y="162"/>
                  <a:pt x="373" y="162"/>
                  <a:pt x="373" y="162"/>
                </a:cubicBezTo>
                <a:cubicBezTo>
                  <a:pt x="376" y="164"/>
                  <a:pt x="376" y="164"/>
                  <a:pt x="376" y="164"/>
                </a:cubicBezTo>
                <a:cubicBezTo>
                  <a:pt x="376" y="164"/>
                  <a:pt x="376" y="164"/>
                  <a:pt x="376" y="164"/>
                </a:cubicBezTo>
                <a:cubicBezTo>
                  <a:pt x="376" y="165"/>
                  <a:pt x="376" y="165"/>
                  <a:pt x="376" y="165"/>
                </a:cubicBezTo>
                <a:cubicBezTo>
                  <a:pt x="374" y="166"/>
                  <a:pt x="374" y="166"/>
                  <a:pt x="374" y="166"/>
                </a:cubicBezTo>
                <a:cubicBezTo>
                  <a:pt x="372" y="167"/>
                  <a:pt x="372" y="167"/>
                  <a:pt x="372" y="167"/>
                </a:cubicBezTo>
                <a:cubicBezTo>
                  <a:pt x="371" y="167"/>
                  <a:pt x="371" y="167"/>
                  <a:pt x="371" y="167"/>
                </a:cubicBezTo>
                <a:cubicBezTo>
                  <a:pt x="370" y="168"/>
                  <a:pt x="370" y="168"/>
                  <a:pt x="370" y="168"/>
                </a:cubicBezTo>
                <a:cubicBezTo>
                  <a:pt x="369" y="169"/>
                  <a:pt x="369" y="169"/>
                  <a:pt x="369" y="169"/>
                </a:cubicBezTo>
                <a:cubicBezTo>
                  <a:pt x="368" y="169"/>
                  <a:pt x="368" y="169"/>
                  <a:pt x="368" y="169"/>
                </a:cubicBezTo>
                <a:cubicBezTo>
                  <a:pt x="366" y="172"/>
                  <a:pt x="366" y="172"/>
                  <a:pt x="366" y="172"/>
                </a:cubicBezTo>
                <a:cubicBezTo>
                  <a:pt x="363" y="174"/>
                  <a:pt x="363" y="174"/>
                  <a:pt x="363" y="174"/>
                </a:cubicBezTo>
                <a:cubicBezTo>
                  <a:pt x="362" y="176"/>
                  <a:pt x="362" y="176"/>
                  <a:pt x="362" y="176"/>
                </a:cubicBezTo>
                <a:cubicBezTo>
                  <a:pt x="361" y="176"/>
                  <a:pt x="361" y="176"/>
                  <a:pt x="361" y="176"/>
                </a:cubicBezTo>
                <a:cubicBezTo>
                  <a:pt x="360" y="178"/>
                  <a:pt x="360" y="178"/>
                  <a:pt x="360" y="178"/>
                </a:cubicBezTo>
                <a:cubicBezTo>
                  <a:pt x="359" y="180"/>
                  <a:pt x="359" y="180"/>
                  <a:pt x="359" y="180"/>
                </a:cubicBezTo>
                <a:cubicBezTo>
                  <a:pt x="360" y="181"/>
                  <a:pt x="360" y="181"/>
                  <a:pt x="360" y="181"/>
                </a:cubicBezTo>
                <a:cubicBezTo>
                  <a:pt x="361" y="182"/>
                  <a:pt x="361" y="182"/>
                  <a:pt x="361" y="182"/>
                </a:cubicBezTo>
                <a:cubicBezTo>
                  <a:pt x="361" y="183"/>
                  <a:pt x="361" y="183"/>
                  <a:pt x="361" y="183"/>
                </a:cubicBezTo>
                <a:cubicBezTo>
                  <a:pt x="360" y="184"/>
                  <a:pt x="360" y="184"/>
                  <a:pt x="360" y="184"/>
                </a:cubicBezTo>
                <a:cubicBezTo>
                  <a:pt x="359" y="185"/>
                  <a:pt x="359" y="185"/>
                  <a:pt x="359" y="185"/>
                </a:cubicBezTo>
                <a:cubicBezTo>
                  <a:pt x="358" y="186"/>
                  <a:pt x="358" y="186"/>
                  <a:pt x="358" y="186"/>
                </a:cubicBezTo>
                <a:cubicBezTo>
                  <a:pt x="357" y="187"/>
                  <a:pt x="357" y="187"/>
                  <a:pt x="357" y="187"/>
                </a:cubicBezTo>
                <a:cubicBezTo>
                  <a:pt x="357" y="189"/>
                  <a:pt x="357" y="189"/>
                  <a:pt x="357" y="189"/>
                </a:cubicBezTo>
                <a:cubicBezTo>
                  <a:pt x="356" y="189"/>
                  <a:pt x="356" y="189"/>
                  <a:pt x="356" y="189"/>
                </a:cubicBezTo>
                <a:cubicBezTo>
                  <a:pt x="356" y="190"/>
                  <a:pt x="356" y="190"/>
                  <a:pt x="356" y="190"/>
                </a:cubicBezTo>
                <a:cubicBezTo>
                  <a:pt x="357" y="191"/>
                  <a:pt x="357" y="191"/>
                  <a:pt x="357" y="191"/>
                </a:cubicBezTo>
                <a:cubicBezTo>
                  <a:pt x="357" y="193"/>
                  <a:pt x="357" y="193"/>
                  <a:pt x="357" y="193"/>
                </a:cubicBezTo>
                <a:cubicBezTo>
                  <a:pt x="357" y="194"/>
                  <a:pt x="357" y="194"/>
                  <a:pt x="357" y="194"/>
                </a:cubicBezTo>
                <a:cubicBezTo>
                  <a:pt x="357" y="196"/>
                  <a:pt x="357" y="196"/>
                  <a:pt x="357" y="196"/>
                </a:cubicBezTo>
                <a:cubicBezTo>
                  <a:pt x="358" y="197"/>
                  <a:pt x="358" y="197"/>
                  <a:pt x="358" y="197"/>
                </a:cubicBezTo>
                <a:cubicBezTo>
                  <a:pt x="359" y="198"/>
                  <a:pt x="359" y="198"/>
                  <a:pt x="359" y="198"/>
                </a:cubicBezTo>
                <a:cubicBezTo>
                  <a:pt x="360" y="198"/>
                  <a:pt x="360" y="198"/>
                  <a:pt x="360" y="198"/>
                </a:cubicBezTo>
                <a:cubicBezTo>
                  <a:pt x="360" y="200"/>
                  <a:pt x="360" y="200"/>
                  <a:pt x="360" y="200"/>
                </a:cubicBezTo>
                <a:cubicBezTo>
                  <a:pt x="359" y="201"/>
                  <a:pt x="359" y="201"/>
                  <a:pt x="359" y="201"/>
                </a:cubicBezTo>
                <a:cubicBezTo>
                  <a:pt x="359" y="200"/>
                  <a:pt x="359" y="200"/>
                  <a:pt x="359" y="200"/>
                </a:cubicBezTo>
                <a:cubicBezTo>
                  <a:pt x="358" y="200"/>
                  <a:pt x="358" y="200"/>
                  <a:pt x="358" y="200"/>
                </a:cubicBezTo>
                <a:cubicBezTo>
                  <a:pt x="358" y="200"/>
                  <a:pt x="358" y="200"/>
                  <a:pt x="358" y="200"/>
                </a:cubicBezTo>
                <a:cubicBezTo>
                  <a:pt x="357" y="200"/>
                  <a:pt x="357" y="200"/>
                  <a:pt x="357" y="200"/>
                </a:cubicBezTo>
                <a:cubicBezTo>
                  <a:pt x="357" y="201"/>
                  <a:pt x="357" y="201"/>
                  <a:pt x="357" y="201"/>
                </a:cubicBezTo>
                <a:cubicBezTo>
                  <a:pt x="356" y="201"/>
                  <a:pt x="356" y="201"/>
                  <a:pt x="356" y="201"/>
                </a:cubicBezTo>
                <a:cubicBezTo>
                  <a:pt x="356" y="201"/>
                  <a:pt x="356" y="201"/>
                  <a:pt x="356" y="201"/>
                </a:cubicBezTo>
                <a:cubicBezTo>
                  <a:pt x="357" y="202"/>
                  <a:pt x="357" y="202"/>
                  <a:pt x="357" y="202"/>
                </a:cubicBezTo>
                <a:cubicBezTo>
                  <a:pt x="358" y="202"/>
                  <a:pt x="358" y="202"/>
                  <a:pt x="358" y="202"/>
                </a:cubicBezTo>
                <a:cubicBezTo>
                  <a:pt x="358" y="202"/>
                  <a:pt x="358" y="202"/>
                  <a:pt x="358" y="202"/>
                </a:cubicBezTo>
                <a:cubicBezTo>
                  <a:pt x="359" y="202"/>
                  <a:pt x="359" y="202"/>
                  <a:pt x="359" y="202"/>
                </a:cubicBezTo>
                <a:cubicBezTo>
                  <a:pt x="358" y="203"/>
                  <a:pt x="358" y="203"/>
                  <a:pt x="358" y="203"/>
                </a:cubicBezTo>
                <a:cubicBezTo>
                  <a:pt x="357" y="205"/>
                  <a:pt x="357" y="205"/>
                  <a:pt x="357" y="205"/>
                </a:cubicBezTo>
                <a:cubicBezTo>
                  <a:pt x="357" y="206"/>
                  <a:pt x="357" y="206"/>
                  <a:pt x="357" y="206"/>
                </a:cubicBezTo>
                <a:cubicBezTo>
                  <a:pt x="357" y="207"/>
                  <a:pt x="357" y="207"/>
                  <a:pt x="357" y="207"/>
                </a:cubicBezTo>
                <a:cubicBezTo>
                  <a:pt x="359" y="205"/>
                  <a:pt x="359" y="205"/>
                  <a:pt x="359" y="205"/>
                </a:cubicBezTo>
                <a:cubicBezTo>
                  <a:pt x="359" y="205"/>
                  <a:pt x="359" y="205"/>
                  <a:pt x="359" y="205"/>
                </a:cubicBezTo>
                <a:cubicBezTo>
                  <a:pt x="360" y="202"/>
                  <a:pt x="360" y="202"/>
                  <a:pt x="360" y="202"/>
                </a:cubicBezTo>
                <a:cubicBezTo>
                  <a:pt x="360" y="202"/>
                  <a:pt x="360" y="202"/>
                  <a:pt x="360" y="202"/>
                </a:cubicBezTo>
                <a:cubicBezTo>
                  <a:pt x="361" y="199"/>
                  <a:pt x="361" y="199"/>
                  <a:pt x="361" y="199"/>
                </a:cubicBezTo>
                <a:cubicBezTo>
                  <a:pt x="361" y="199"/>
                  <a:pt x="361" y="199"/>
                  <a:pt x="361" y="199"/>
                </a:cubicBezTo>
                <a:cubicBezTo>
                  <a:pt x="362" y="198"/>
                  <a:pt x="362" y="198"/>
                  <a:pt x="362" y="198"/>
                </a:cubicBezTo>
                <a:cubicBezTo>
                  <a:pt x="362" y="197"/>
                  <a:pt x="362" y="197"/>
                  <a:pt x="362" y="197"/>
                </a:cubicBezTo>
                <a:cubicBezTo>
                  <a:pt x="362" y="196"/>
                  <a:pt x="362" y="196"/>
                  <a:pt x="362" y="196"/>
                </a:cubicBezTo>
                <a:cubicBezTo>
                  <a:pt x="362" y="195"/>
                  <a:pt x="362" y="195"/>
                  <a:pt x="362" y="195"/>
                </a:cubicBezTo>
                <a:cubicBezTo>
                  <a:pt x="361" y="195"/>
                  <a:pt x="361" y="195"/>
                  <a:pt x="361" y="195"/>
                </a:cubicBezTo>
                <a:cubicBezTo>
                  <a:pt x="361" y="194"/>
                  <a:pt x="361" y="194"/>
                  <a:pt x="361" y="194"/>
                </a:cubicBezTo>
                <a:cubicBezTo>
                  <a:pt x="361" y="193"/>
                  <a:pt x="361" y="193"/>
                  <a:pt x="361" y="193"/>
                </a:cubicBezTo>
                <a:cubicBezTo>
                  <a:pt x="360" y="193"/>
                  <a:pt x="360" y="193"/>
                  <a:pt x="360" y="193"/>
                </a:cubicBezTo>
                <a:cubicBezTo>
                  <a:pt x="360" y="191"/>
                  <a:pt x="360" y="191"/>
                  <a:pt x="360" y="191"/>
                </a:cubicBezTo>
                <a:cubicBezTo>
                  <a:pt x="360" y="190"/>
                  <a:pt x="360" y="190"/>
                  <a:pt x="360" y="190"/>
                </a:cubicBezTo>
                <a:cubicBezTo>
                  <a:pt x="359" y="188"/>
                  <a:pt x="359" y="188"/>
                  <a:pt x="359" y="188"/>
                </a:cubicBezTo>
                <a:cubicBezTo>
                  <a:pt x="360" y="188"/>
                  <a:pt x="360" y="188"/>
                  <a:pt x="360" y="188"/>
                </a:cubicBezTo>
                <a:cubicBezTo>
                  <a:pt x="360" y="189"/>
                  <a:pt x="360" y="189"/>
                  <a:pt x="360" y="189"/>
                </a:cubicBezTo>
                <a:cubicBezTo>
                  <a:pt x="361" y="189"/>
                  <a:pt x="361" y="189"/>
                  <a:pt x="361" y="189"/>
                </a:cubicBezTo>
                <a:cubicBezTo>
                  <a:pt x="362" y="188"/>
                  <a:pt x="362" y="188"/>
                  <a:pt x="362" y="188"/>
                </a:cubicBezTo>
                <a:cubicBezTo>
                  <a:pt x="363" y="187"/>
                  <a:pt x="363" y="187"/>
                  <a:pt x="363" y="187"/>
                </a:cubicBezTo>
                <a:cubicBezTo>
                  <a:pt x="363" y="186"/>
                  <a:pt x="363" y="186"/>
                  <a:pt x="363" y="186"/>
                </a:cubicBezTo>
                <a:cubicBezTo>
                  <a:pt x="363" y="185"/>
                  <a:pt x="363" y="185"/>
                  <a:pt x="363" y="185"/>
                </a:cubicBezTo>
                <a:cubicBezTo>
                  <a:pt x="364" y="186"/>
                  <a:pt x="364" y="186"/>
                  <a:pt x="364" y="186"/>
                </a:cubicBezTo>
                <a:cubicBezTo>
                  <a:pt x="365" y="187"/>
                  <a:pt x="365" y="187"/>
                  <a:pt x="365" y="187"/>
                </a:cubicBezTo>
                <a:cubicBezTo>
                  <a:pt x="365" y="188"/>
                  <a:pt x="365" y="188"/>
                  <a:pt x="365" y="188"/>
                </a:cubicBezTo>
                <a:cubicBezTo>
                  <a:pt x="365" y="189"/>
                  <a:pt x="365" y="189"/>
                  <a:pt x="365" y="189"/>
                </a:cubicBezTo>
                <a:cubicBezTo>
                  <a:pt x="366" y="188"/>
                  <a:pt x="366" y="188"/>
                  <a:pt x="366" y="188"/>
                </a:cubicBezTo>
                <a:cubicBezTo>
                  <a:pt x="366" y="186"/>
                  <a:pt x="366" y="186"/>
                  <a:pt x="366" y="186"/>
                </a:cubicBezTo>
                <a:cubicBezTo>
                  <a:pt x="367" y="185"/>
                  <a:pt x="367" y="185"/>
                  <a:pt x="367" y="185"/>
                </a:cubicBezTo>
                <a:cubicBezTo>
                  <a:pt x="368" y="185"/>
                  <a:pt x="368" y="185"/>
                  <a:pt x="368" y="185"/>
                </a:cubicBezTo>
                <a:cubicBezTo>
                  <a:pt x="368" y="185"/>
                  <a:pt x="368" y="185"/>
                  <a:pt x="368" y="185"/>
                </a:cubicBezTo>
                <a:cubicBezTo>
                  <a:pt x="368" y="184"/>
                  <a:pt x="368" y="184"/>
                  <a:pt x="368" y="184"/>
                </a:cubicBezTo>
                <a:cubicBezTo>
                  <a:pt x="369" y="184"/>
                  <a:pt x="369" y="184"/>
                  <a:pt x="369" y="184"/>
                </a:cubicBezTo>
                <a:cubicBezTo>
                  <a:pt x="369" y="183"/>
                  <a:pt x="369" y="183"/>
                  <a:pt x="369" y="183"/>
                </a:cubicBezTo>
                <a:cubicBezTo>
                  <a:pt x="368" y="183"/>
                  <a:pt x="368" y="183"/>
                  <a:pt x="368" y="183"/>
                </a:cubicBezTo>
                <a:cubicBezTo>
                  <a:pt x="366" y="185"/>
                  <a:pt x="366" y="185"/>
                  <a:pt x="366" y="185"/>
                </a:cubicBezTo>
                <a:cubicBezTo>
                  <a:pt x="365" y="185"/>
                  <a:pt x="365" y="185"/>
                  <a:pt x="365" y="185"/>
                </a:cubicBezTo>
                <a:cubicBezTo>
                  <a:pt x="365" y="183"/>
                  <a:pt x="365" y="183"/>
                  <a:pt x="365" y="183"/>
                </a:cubicBezTo>
                <a:cubicBezTo>
                  <a:pt x="364" y="183"/>
                  <a:pt x="364" y="183"/>
                  <a:pt x="364" y="183"/>
                </a:cubicBezTo>
                <a:cubicBezTo>
                  <a:pt x="364" y="182"/>
                  <a:pt x="364" y="182"/>
                  <a:pt x="364" y="182"/>
                </a:cubicBezTo>
                <a:cubicBezTo>
                  <a:pt x="366" y="181"/>
                  <a:pt x="366" y="181"/>
                  <a:pt x="366" y="181"/>
                </a:cubicBezTo>
                <a:cubicBezTo>
                  <a:pt x="365" y="180"/>
                  <a:pt x="365" y="180"/>
                  <a:pt x="365" y="180"/>
                </a:cubicBezTo>
                <a:cubicBezTo>
                  <a:pt x="365" y="179"/>
                  <a:pt x="365" y="179"/>
                  <a:pt x="365" y="179"/>
                </a:cubicBezTo>
                <a:cubicBezTo>
                  <a:pt x="366" y="177"/>
                  <a:pt x="366" y="177"/>
                  <a:pt x="366" y="177"/>
                </a:cubicBezTo>
                <a:cubicBezTo>
                  <a:pt x="366" y="176"/>
                  <a:pt x="366" y="176"/>
                  <a:pt x="366" y="176"/>
                </a:cubicBezTo>
                <a:cubicBezTo>
                  <a:pt x="367" y="175"/>
                  <a:pt x="367" y="175"/>
                  <a:pt x="367" y="175"/>
                </a:cubicBezTo>
                <a:cubicBezTo>
                  <a:pt x="369" y="175"/>
                  <a:pt x="369" y="175"/>
                  <a:pt x="369" y="175"/>
                </a:cubicBezTo>
                <a:cubicBezTo>
                  <a:pt x="370" y="176"/>
                  <a:pt x="370" y="176"/>
                  <a:pt x="370" y="176"/>
                </a:cubicBezTo>
                <a:cubicBezTo>
                  <a:pt x="370" y="177"/>
                  <a:pt x="370" y="177"/>
                  <a:pt x="370" y="177"/>
                </a:cubicBezTo>
                <a:cubicBezTo>
                  <a:pt x="372" y="178"/>
                  <a:pt x="372" y="178"/>
                  <a:pt x="372" y="178"/>
                </a:cubicBezTo>
                <a:cubicBezTo>
                  <a:pt x="372" y="179"/>
                  <a:pt x="372" y="179"/>
                  <a:pt x="372" y="179"/>
                </a:cubicBezTo>
                <a:cubicBezTo>
                  <a:pt x="373" y="179"/>
                  <a:pt x="373" y="179"/>
                  <a:pt x="373" y="179"/>
                </a:cubicBezTo>
                <a:cubicBezTo>
                  <a:pt x="373" y="179"/>
                  <a:pt x="373" y="179"/>
                  <a:pt x="373" y="179"/>
                </a:cubicBezTo>
                <a:cubicBezTo>
                  <a:pt x="372" y="178"/>
                  <a:pt x="372" y="178"/>
                  <a:pt x="372" y="178"/>
                </a:cubicBezTo>
                <a:cubicBezTo>
                  <a:pt x="371" y="177"/>
                  <a:pt x="371" y="177"/>
                  <a:pt x="371" y="177"/>
                </a:cubicBezTo>
                <a:cubicBezTo>
                  <a:pt x="370" y="175"/>
                  <a:pt x="370" y="175"/>
                  <a:pt x="370" y="175"/>
                </a:cubicBezTo>
                <a:cubicBezTo>
                  <a:pt x="370" y="175"/>
                  <a:pt x="370" y="175"/>
                  <a:pt x="370" y="175"/>
                </a:cubicBezTo>
                <a:cubicBezTo>
                  <a:pt x="369" y="175"/>
                  <a:pt x="369" y="175"/>
                  <a:pt x="369" y="175"/>
                </a:cubicBezTo>
                <a:cubicBezTo>
                  <a:pt x="368" y="174"/>
                  <a:pt x="368" y="174"/>
                  <a:pt x="368" y="174"/>
                </a:cubicBezTo>
                <a:cubicBezTo>
                  <a:pt x="368" y="174"/>
                  <a:pt x="368" y="174"/>
                  <a:pt x="368" y="174"/>
                </a:cubicBezTo>
                <a:cubicBezTo>
                  <a:pt x="371" y="174"/>
                  <a:pt x="371" y="174"/>
                  <a:pt x="371" y="174"/>
                </a:cubicBezTo>
                <a:cubicBezTo>
                  <a:pt x="371" y="173"/>
                  <a:pt x="371" y="173"/>
                  <a:pt x="371" y="173"/>
                </a:cubicBezTo>
                <a:cubicBezTo>
                  <a:pt x="371" y="173"/>
                  <a:pt x="371" y="173"/>
                  <a:pt x="371" y="173"/>
                </a:cubicBezTo>
                <a:cubicBezTo>
                  <a:pt x="373" y="175"/>
                  <a:pt x="373" y="175"/>
                  <a:pt x="373" y="175"/>
                </a:cubicBezTo>
                <a:cubicBezTo>
                  <a:pt x="375" y="176"/>
                  <a:pt x="375" y="176"/>
                  <a:pt x="375" y="176"/>
                </a:cubicBezTo>
                <a:cubicBezTo>
                  <a:pt x="376" y="176"/>
                  <a:pt x="376" y="176"/>
                  <a:pt x="376" y="176"/>
                </a:cubicBezTo>
                <a:cubicBezTo>
                  <a:pt x="374" y="175"/>
                  <a:pt x="374" y="175"/>
                  <a:pt x="374" y="175"/>
                </a:cubicBezTo>
                <a:cubicBezTo>
                  <a:pt x="373" y="173"/>
                  <a:pt x="373" y="173"/>
                  <a:pt x="373" y="173"/>
                </a:cubicBezTo>
                <a:cubicBezTo>
                  <a:pt x="372" y="172"/>
                  <a:pt x="372" y="172"/>
                  <a:pt x="372" y="172"/>
                </a:cubicBezTo>
                <a:cubicBezTo>
                  <a:pt x="372" y="172"/>
                  <a:pt x="372" y="172"/>
                  <a:pt x="372" y="172"/>
                </a:cubicBezTo>
                <a:cubicBezTo>
                  <a:pt x="372" y="170"/>
                  <a:pt x="372" y="170"/>
                  <a:pt x="372" y="170"/>
                </a:cubicBezTo>
                <a:cubicBezTo>
                  <a:pt x="374" y="170"/>
                  <a:pt x="374" y="170"/>
                  <a:pt x="374" y="170"/>
                </a:cubicBezTo>
                <a:cubicBezTo>
                  <a:pt x="375" y="170"/>
                  <a:pt x="375" y="170"/>
                  <a:pt x="375" y="170"/>
                </a:cubicBezTo>
                <a:cubicBezTo>
                  <a:pt x="374" y="171"/>
                  <a:pt x="374" y="171"/>
                  <a:pt x="374" y="171"/>
                </a:cubicBezTo>
                <a:cubicBezTo>
                  <a:pt x="375" y="172"/>
                  <a:pt x="375" y="172"/>
                  <a:pt x="375" y="172"/>
                </a:cubicBezTo>
                <a:cubicBezTo>
                  <a:pt x="375" y="172"/>
                  <a:pt x="375" y="172"/>
                  <a:pt x="375" y="172"/>
                </a:cubicBezTo>
                <a:cubicBezTo>
                  <a:pt x="375" y="171"/>
                  <a:pt x="375" y="171"/>
                  <a:pt x="375" y="171"/>
                </a:cubicBezTo>
                <a:cubicBezTo>
                  <a:pt x="376" y="170"/>
                  <a:pt x="376" y="170"/>
                  <a:pt x="376" y="170"/>
                </a:cubicBezTo>
                <a:cubicBezTo>
                  <a:pt x="377" y="170"/>
                  <a:pt x="377" y="170"/>
                  <a:pt x="377" y="170"/>
                </a:cubicBezTo>
                <a:cubicBezTo>
                  <a:pt x="378" y="171"/>
                  <a:pt x="378" y="171"/>
                  <a:pt x="378" y="171"/>
                </a:cubicBezTo>
                <a:cubicBezTo>
                  <a:pt x="378" y="172"/>
                  <a:pt x="378" y="172"/>
                  <a:pt x="378" y="172"/>
                </a:cubicBezTo>
                <a:cubicBezTo>
                  <a:pt x="379" y="173"/>
                  <a:pt x="379" y="173"/>
                  <a:pt x="379" y="173"/>
                </a:cubicBezTo>
                <a:cubicBezTo>
                  <a:pt x="379" y="173"/>
                  <a:pt x="379" y="173"/>
                  <a:pt x="379" y="173"/>
                </a:cubicBezTo>
                <a:cubicBezTo>
                  <a:pt x="379" y="172"/>
                  <a:pt x="379" y="172"/>
                  <a:pt x="379" y="172"/>
                </a:cubicBezTo>
                <a:cubicBezTo>
                  <a:pt x="378" y="170"/>
                  <a:pt x="378" y="170"/>
                  <a:pt x="378" y="170"/>
                </a:cubicBezTo>
                <a:cubicBezTo>
                  <a:pt x="379" y="170"/>
                  <a:pt x="379" y="170"/>
                  <a:pt x="379" y="170"/>
                </a:cubicBezTo>
                <a:cubicBezTo>
                  <a:pt x="382" y="169"/>
                  <a:pt x="382" y="169"/>
                  <a:pt x="382" y="169"/>
                </a:cubicBezTo>
                <a:cubicBezTo>
                  <a:pt x="384" y="168"/>
                  <a:pt x="384" y="168"/>
                  <a:pt x="384" y="168"/>
                </a:cubicBezTo>
                <a:cubicBezTo>
                  <a:pt x="385" y="168"/>
                  <a:pt x="385" y="168"/>
                  <a:pt x="385" y="168"/>
                </a:cubicBezTo>
                <a:cubicBezTo>
                  <a:pt x="386" y="167"/>
                  <a:pt x="386" y="167"/>
                  <a:pt x="386" y="167"/>
                </a:cubicBezTo>
                <a:cubicBezTo>
                  <a:pt x="388" y="168"/>
                  <a:pt x="388" y="168"/>
                  <a:pt x="388" y="168"/>
                </a:cubicBezTo>
                <a:cubicBezTo>
                  <a:pt x="390" y="168"/>
                  <a:pt x="390" y="168"/>
                  <a:pt x="390" y="168"/>
                </a:cubicBezTo>
                <a:cubicBezTo>
                  <a:pt x="392" y="168"/>
                  <a:pt x="392" y="168"/>
                  <a:pt x="392" y="168"/>
                </a:cubicBezTo>
                <a:cubicBezTo>
                  <a:pt x="392" y="169"/>
                  <a:pt x="392" y="169"/>
                  <a:pt x="392" y="169"/>
                </a:cubicBezTo>
                <a:cubicBezTo>
                  <a:pt x="392" y="169"/>
                  <a:pt x="392" y="169"/>
                  <a:pt x="392" y="169"/>
                </a:cubicBezTo>
                <a:cubicBezTo>
                  <a:pt x="392" y="172"/>
                  <a:pt x="392" y="172"/>
                  <a:pt x="392" y="172"/>
                </a:cubicBezTo>
                <a:cubicBezTo>
                  <a:pt x="391" y="173"/>
                  <a:pt x="391" y="173"/>
                  <a:pt x="391" y="173"/>
                </a:cubicBezTo>
                <a:cubicBezTo>
                  <a:pt x="391" y="174"/>
                  <a:pt x="391" y="174"/>
                  <a:pt x="391" y="174"/>
                </a:cubicBezTo>
                <a:cubicBezTo>
                  <a:pt x="390" y="175"/>
                  <a:pt x="390" y="175"/>
                  <a:pt x="390" y="175"/>
                </a:cubicBezTo>
                <a:cubicBezTo>
                  <a:pt x="390" y="176"/>
                  <a:pt x="390" y="176"/>
                  <a:pt x="390" y="176"/>
                </a:cubicBezTo>
                <a:cubicBezTo>
                  <a:pt x="391" y="177"/>
                  <a:pt x="391" y="177"/>
                  <a:pt x="391" y="177"/>
                </a:cubicBezTo>
                <a:cubicBezTo>
                  <a:pt x="392" y="178"/>
                  <a:pt x="392" y="178"/>
                  <a:pt x="392" y="178"/>
                </a:cubicBezTo>
                <a:cubicBezTo>
                  <a:pt x="391" y="178"/>
                  <a:pt x="391" y="178"/>
                  <a:pt x="391" y="178"/>
                </a:cubicBezTo>
                <a:cubicBezTo>
                  <a:pt x="390" y="180"/>
                  <a:pt x="390" y="180"/>
                  <a:pt x="390" y="180"/>
                </a:cubicBezTo>
                <a:cubicBezTo>
                  <a:pt x="389" y="181"/>
                  <a:pt x="389" y="181"/>
                  <a:pt x="389" y="181"/>
                </a:cubicBezTo>
                <a:cubicBezTo>
                  <a:pt x="389" y="182"/>
                  <a:pt x="389" y="182"/>
                  <a:pt x="389" y="182"/>
                </a:cubicBezTo>
                <a:cubicBezTo>
                  <a:pt x="390" y="183"/>
                  <a:pt x="390" y="183"/>
                  <a:pt x="390" y="183"/>
                </a:cubicBezTo>
                <a:cubicBezTo>
                  <a:pt x="390" y="184"/>
                  <a:pt x="390" y="184"/>
                  <a:pt x="390" y="184"/>
                </a:cubicBezTo>
                <a:cubicBezTo>
                  <a:pt x="389" y="185"/>
                  <a:pt x="389" y="185"/>
                  <a:pt x="389" y="185"/>
                </a:cubicBezTo>
                <a:cubicBezTo>
                  <a:pt x="388" y="185"/>
                  <a:pt x="388" y="185"/>
                  <a:pt x="388" y="185"/>
                </a:cubicBezTo>
                <a:cubicBezTo>
                  <a:pt x="388" y="186"/>
                  <a:pt x="388" y="186"/>
                  <a:pt x="388" y="186"/>
                </a:cubicBezTo>
                <a:cubicBezTo>
                  <a:pt x="387" y="186"/>
                  <a:pt x="387" y="186"/>
                  <a:pt x="387" y="186"/>
                </a:cubicBezTo>
                <a:cubicBezTo>
                  <a:pt x="386" y="187"/>
                  <a:pt x="386" y="187"/>
                  <a:pt x="386" y="187"/>
                </a:cubicBezTo>
                <a:cubicBezTo>
                  <a:pt x="385" y="188"/>
                  <a:pt x="385" y="188"/>
                  <a:pt x="385" y="188"/>
                </a:cubicBezTo>
                <a:cubicBezTo>
                  <a:pt x="384" y="189"/>
                  <a:pt x="384" y="189"/>
                  <a:pt x="384" y="189"/>
                </a:cubicBezTo>
                <a:cubicBezTo>
                  <a:pt x="385" y="189"/>
                  <a:pt x="385" y="189"/>
                  <a:pt x="385" y="189"/>
                </a:cubicBezTo>
                <a:cubicBezTo>
                  <a:pt x="386" y="188"/>
                  <a:pt x="386" y="188"/>
                  <a:pt x="386" y="188"/>
                </a:cubicBezTo>
                <a:cubicBezTo>
                  <a:pt x="388" y="187"/>
                  <a:pt x="388" y="187"/>
                  <a:pt x="388" y="187"/>
                </a:cubicBezTo>
                <a:cubicBezTo>
                  <a:pt x="388" y="187"/>
                  <a:pt x="388" y="187"/>
                  <a:pt x="388" y="187"/>
                </a:cubicBezTo>
                <a:cubicBezTo>
                  <a:pt x="389" y="186"/>
                  <a:pt x="389" y="186"/>
                  <a:pt x="389" y="186"/>
                </a:cubicBezTo>
                <a:cubicBezTo>
                  <a:pt x="388" y="187"/>
                  <a:pt x="388" y="187"/>
                  <a:pt x="388" y="187"/>
                </a:cubicBezTo>
                <a:cubicBezTo>
                  <a:pt x="388" y="188"/>
                  <a:pt x="388" y="188"/>
                  <a:pt x="388" y="188"/>
                </a:cubicBezTo>
                <a:cubicBezTo>
                  <a:pt x="386" y="190"/>
                  <a:pt x="386" y="190"/>
                  <a:pt x="386" y="190"/>
                </a:cubicBezTo>
                <a:cubicBezTo>
                  <a:pt x="385" y="190"/>
                  <a:pt x="385" y="190"/>
                  <a:pt x="385" y="190"/>
                </a:cubicBezTo>
                <a:cubicBezTo>
                  <a:pt x="385" y="191"/>
                  <a:pt x="385" y="191"/>
                  <a:pt x="385" y="191"/>
                </a:cubicBezTo>
                <a:cubicBezTo>
                  <a:pt x="385" y="192"/>
                  <a:pt x="385" y="192"/>
                  <a:pt x="385" y="192"/>
                </a:cubicBezTo>
                <a:cubicBezTo>
                  <a:pt x="385" y="192"/>
                  <a:pt x="385" y="192"/>
                  <a:pt x="385" y="192"/>
                </a:cubicBezTo>
                <a:cubicBezTo>
                  <a:pt x="384" y="192"/>
                  <a:pt x="384" y="192"/>
                  <a:pt x="384" y="192"/>
                </a:cubicBezTo>
                <a:cubicBezTo>
                  <a:pt x="383" y="192"/>
                  <a:pt x="383" y="192"/>
                  <a:pt x="383" y="192"/>
                </a:cubicBezTo>
                <a:cubicBezTo>
                  <a:pt x="383" y="193"/>
                  <a:pt x="383" y="193"/>
                  <a:pt x="383" y="193"/>
                </a:cubicBezTo>
                <a:cubicBezTo>
                  <a:pt x="384" y="193"/>
                  <a:pt x="384" y="193"/>
                  <a:pt x="384" y="193"/>
                </a:cubicBezTo>
                <a:cubicBezTo>
                  <a:pt x="384" y="193"/>
                  <a:pt x="384" y="193"/>
                  <a:pt x="384" y="193"/>
                </a:cubicBezTo>
                <a:cubicBezTo>
                  <a:pt x="384" y="194"/>
                  <a:pt x="384" y="194"/>
                  <a:pt x="384" y="194"/>
                </a:cubicBezTo>
                <a:cubicBezTo>
                  <a:pt x="383" y="195"/>
                  <a:pt x="383" y="195"/>
                  <a:pt x="383" y="195"/>
                </a:cubicBezTo>
                <a:cubicBezTo>
                  <a:pt x="384" y="195"/>
                  <a:pt x="384" y="195"/>
                  <a:pt x="384" y="195"/>
                </a:cubicBezTo>
                <a:cubicBezTo>
                  <a:pt x="385" y="194"/>
                  <a:pt x="385" y="194"/>
                  <a:pt x="385" y="194"/>
                </a:cubicBezTo>
                <a:cubicBezTo>
                  <a:pt x="386" y="194"/>
                  <a:pt x="386" y="194"/>
                  <a:pt x="386" y="194"/>
                </a:cubicBezTo>
                <a:cubicBezTo>
                  <a:pt x="387" y="193"/>
                  <a:pt x="387" y="193"/>
                  <a:pt x="387" y="193"/>
                </a:cubicBezTo>
                <a:cubicBezTo>
                  <a:pt x="387" y="192"/>
                  <a:pt x="387" y="192"/>
                  <a:pt x="387" y="192"/>
                </a:cubicBezTo>
                <a:cubicBezTo>
                  <a:pt x="388" y="191"/>
                  <a:pt x="388" y="191"/>
                  <a:pt x="388" y="191"/>
                </a:cubicBezTo>
                <a:cubicBezTo>
                  <a:pt x="388" y="190"/>
                  <a:pt x="388" y="190"/>
                  <a:pt x="388" y="190"/>
                </a:cubicBezTo>
                <a:cubicBezTo>
                  <a:pt x="389" y="191"/>
                  <a:pt x="389" y="191"/>
                  <a:pt x="389" y="191"/>
                </a:cubicBezTo>
                <a:cubicBezTo>
                  <a:pt x="389" y="192"/>
                  <a:pt x="389" y="192"/>
                  <a:pt x="389" y="192"/>
                </a:cubicBezTo>
                <a:cubicBezTo>
                  <a:pt x="389" y="193"/>
                  <a:pt x="389" y="193"/>
                  <a:pt x="389" y="193"/>
                </a:cubicBezTo>
                <a:cubicBezTo>
                  <a:pt x="389" y="191"/>
                  <a:pt x="389" y="191"/>
                  <a:pt x="389" y="191"/>
                </a:cubicBezTo>
                <a:cubicBezTo>
                  <a:pt x="389" y="190"/>
                  <a:pt x="389" y="190"/>
                  <a:pt x="389" y="190"/>
                </a:cubicBezTo>
                <a:cubicBezTo>
                  <a:pt x="389" y="189"/>
                  <a:pt x="389" y="189"/>
                  <a:pt x="389" y="189"/>
                </a:cubicBezTo>
                <a:cubicBezTo>
                  <a:pt x="390" y="189"/>
                  <a:pt x="390" y="189"/>
                  <a:pt x="390" y="189"/>
                </a:cubicBezTo>
                <a:cubicBezTo>
                  <a:pt x="391" y="189"/>
                  <a:pt x="391" y="189"/>
                  <a:pt x="391" y="189"/>
                </a:cubicBezTo>
                <a:cubicBezTo>
                  <a:pt x="391" y="190"/>
                  <a:pt x="391" y="190"/>
                  <a:pt x="391" y="190"/>
                </a:cubicBezTo>
                <a:cubicBezTo>
                  <a:pt x="391" y="191"/>
                  <a:pt x="391" y="191"/>
                  <a:pt x="391" y="191"/>
                </a:cubicBezTo>
                <a:cubicBezTo>
                  <a:pt x="392" y="190"/>
                  <a:pt x="392" y="190"/>
                  <a:pt x="392" y="190"/>
                </a:cubicBezTo>
                <a:cubicBezTo>
                  <a:pt x="393" y="189"/>
                  <a:pt x="393" y="189"/>
                  <a:pt x="393" y="189"/>
                </a:cubicBezTo>
                <a:cubicBezTo>
                  <a:pt x="393" y="190"/>
                  <a:pt x="393" y="190"/>
                  <a:pt x="393" y="190"/>
                </a:cubicBezTo>
                <a:cubicBezTo>
                  <a:pt x="394" y="191"/>
                  <a:pt x="394" y="191"/>
                  <a:pt x="394" y="191"/>
                </a:cubicBezTo>
                <a:cubicBezTo>
                  <a:pt x="394" y="192"/>
                  <a:pt x="394" y="192"/>
                  <a:pt x="394" y="192"/>
                </a:cubicBezTo>
                <a:cubicBezTo>
                  <a:pt x="392" y="194"/>
                  <a:pt x="392" y="194"/>
                  <a:pt x="392" y="194"/>
                </a:cubicBezTo>
                <a:cubicBezTo>
                  <a:pt x="391" y="195"/>
                  <a:pt x="391" y="195"/>
                  <a:pt x="391" y="195"/>
                </a:cubicBezTo>
                <a:cubicBezTo>
                  <a:pt x="391" y="196"/>
                  <a:pt x="391" y="196"/>
                  <a:pt x="391" y="196"/>
                </a:cubicBezTo>
                <a:cubicBezTo>
                  <a:pt x="392" y="196"/>
                  <a:pt x="392" y="196"/>
                  <a:pt x="392" y="196"/>
                </a:cubicBezTo>
                <a:cubicBezTo>
                  <a:pt x="393" y="197"/>
                  <a:pt x="393" y="197"/>
                  <a:pt x="393" y="197"/>
                </a:cubicBezTo>
                <a:cubicBezTo>
                  <a:pt x="394" y="196"/>
                  <a:pt x="394" y="196"/>
                  <a:pt x="394" y="196"/>
                </a:cubicBezTo>
                <a:cubicBezTo>
                  <a:pt x="393" y="195"/>
                  <a:pt x="393" y="195"/>
                  <a:pt x="393" y="195"/>
                </a:cubicBezTo>
                <a:cubicBezTo>
                  <a:pt x="394" y="194"/>
                  <a:pt x="394" y="194"/>
                  <a:pt x="394" y="194"/>
                </a:cubicBezTo>
                <a:cubicBezTo>
                  <a:pt x="395" y="193"/>
                  <a:pt x="395" y="193"/>
                  <a:pt x="395" y="193"/>
                </a:cubicBezTo>
                <a:cubicBezTo>
                  <a:pt x="395" y="195"/>
                  <a:pt x="395" y="195"/>
                  <a:pt x="395" y="195"/>
                </a:cubicBezTo>
                <a:cubicBezTo>
                  <a:pt x="395" y="196"/>
                  <a:pt x="395" y="196"/>
                  <a:pt x="395" y="196"/>
                </a:cubicBezTo>
                <a:cubicBezTo>
                  <a:pt x="396" y="195"/>
                  <a:pt x="396" y="195"/>
                  <a:pt x="396" y="195"/>
                </a:cubicBezTo>
                <a:cubicBezTo>
                  <a:pt x="396" y="193"/>
                  <a:pt x="396" y="193"/>
                  <a:pt x="396" y="193"/>
                </a:cubicBezTo>
                <a:cubicBezTo>
                  <a:pt x="395" y="192"/>
                  <a:pt x="395" y="192"/>
                  <a:pt x="395" y="192"/>
                </a:cubicBezTo>
                <a:cubicBezTo>
                  <a:pt x="395" y="190"/>
                  <a:pt x="395" y="190"/>
                  <a:pt x="395" y="190"/>
                </a:cubicBezTo>
                <a:cubicBezTo>
                  <a:pt x="395" y="190"/>
                  <a:pt x="395" y="190"/>
                  <a:pt x="395" y="190"/>
                </a:cubicBezTo>
                <a:cubicBezTo>
                  <a:pt x="397" y="190"/>
                  <a:pt x="397" y="190"/>
                  <a:pt x="397" y="190"/>
                </a:cubicBezTo>
                <a:cubicBezTo>
                  <a:pt x="396" y="191"/>
                  <a:pt x="396" y="191"/>
                  <a:pt x="396" y="191"/>
                </a:cubicBezTo>
                <a:cubicBezTo>
                  <a:pt x="396" y="192"/>
                  <a:pt x="396" y="192"/>
                  <a:pt x="396" y="192"/>
                </a:cubicBezTo>
                <a:cubicBezTo>
                  <a:pt x="397" y="192"/>
                  <a:pt x="397" y="192"/>
                  <a:pt x="397" y="192"/>
                </a:cubicBezTo>
                <a:cubicBezTo>
                  <a:pt x="398" y="192"/>
                  <a:pt x="398" y="192"/>
                  <a:pt x="398" y="192"/>
                </a:cubicBezTo>
                <a:cubicBezTo>
                  <a:pt x="400" y="194"/>
                  <a:pt x="400" y="194"/>
                  <a:pt x="400" y="194"/>
                </a:cubicBezTo>
                <a:cubicBezTo>
                  <a:pt x="400" y="195"/>
                  <a:pt x="400" y="195"/>
                  <a:pt x="400" y="195"/>
                </a:cubicBezTo>
                <a:cubicBezTo>
                  <a:pt x="401" y="195"/>
                  <a:pt x="401" y="195"/>
                  <a:pt x="401" y="195"/>
                </a:cubicBezTo>
                <a:cubicBezTo>
                  <a:pt x="402" y="195"/>
                  <a:pt x="402" y="195"/>
                  <a:pt x="402" y="195"/>
                </a:cubicBezTo>
                <a:cubicBezTo>
                  <a:pt x="403" y="195"/>
                  <a:pt x="403" y="195"/>
                  <a:pt x="403" y="195"/>
                </a:cubicBezTo>
                <a:cubicBezTo>
                  <a:pt x="402" y="194"/>
                  <a:pt x="402" y="194"/>
                  <a:pt x="402" y="194"/>
                </a:cubicBezTo>
                <a:cubicBezTo>
                  <a:pt x="401" y="194"/>
                  <a:pt x="401" y="194"/>
                  <a:pt x="401" y="194"/>
                </a:cubicBezTo>
                <a:cubicBezTo>
                  <a:pt x="401" y="193"/>
                  <a:pt x="401" y="193"/>
                  <a:pt x="401" y="193"/>
                </a:cubicBezTo>
                <a:cubicBezTo>
                  <a:pt x="399" y="191"/>
                  <a:pt x="399" y="191"/>
                  <a:pt x="399" y="191"/>
                </a:cubicBezTo>
                <a:cubicBezTo>
                  <a:pt x="398" y="191"/>
                  <a:pt x="398" y="191"/>
                  <a:pt x="398" y="191"/>
                </a:cubicBezTo>
                <a:cubicBezTo>
                  <a:pt x="397" y="190"/>
                  <a:pt x="397" y="190"/>
                  <a:pt x="397" y="190"/>
                </a:cubicBezTo>
                <a:cubicBezTo>
                  <a:pt x="399" y="188"/>
                  <a:pt x="399" y="188"/>
                  <a:pt x="399" y="188"/>
                </a:cubicBezTo>
                <a:cubicBezTo>
                  <a:pt x="400" y="188"/>
                  <a:pt x="400" y="188"/>
                  <a:pt x="400" y="188"/>
                </a:cubicBezTo>
                <a:cubicBezTo>
                  <a:pt x="401" y="187"/>
                  <a:pt x="401" y="187"/>
                  <a:pt x="401" y="187"/>
                </a:cubicBezTo>
                <a:cubicBezTo>
                  <a:pt x="403" y="187"/>
                  <a:pt x="403" y="187"/>
                  <a:pt x="403" y="187"/>
                </a:cubicBezTo>
                <a:cubicBezTo>
                  <a:pt x="405" y="187"/>
                  <a:pt x="405" y="187"/>
                  <a:pt x="405" y="187"/>
                </a:cubicBezTo>
                <a:cubicBezTo>
                  <a:pt x="405" y="188"/>
                  <a:pt x="405" y="188"/>
                  <a:pt x="405" y="188"/>
                </a:cubicBezTo>
                <a:cubicBezTo>
                  <a:pt x="406" y="188"/>
                  <a:pt x="406" y="188"/>
                  <a:pt x="406" y="188"/>
                </a:cubicBezTo>
                <a:cubicBezTo>
                  <a:pt x="407" y="188"/>
                  <a:pt x="407" y="188"/>
                  <a:pt x="407" y="188"/>
                </a:cubicBezTo>
                <a:cubicBezTo>
                  <a:pt x="407" y="189"/>
                  <a:pt x="407" y="189"/>
                  <a:pt x="407" y="189"/>
                </a:cubicBezTo>
                <a:cubicBezTo>
                  <a:pt x="408" y="190"/>
                  <a:pt x="408" y="190"/>
                  <a:pt x="408" y="190"/>
                </a:cubicBezTo>
                <a:cubicBezTo>
                  <a:pt x="409" y="190"/>
                  <a:pt x="409" y="190"/>
                  <a:pt x="409" y="190"/>
                </a:cubicBezTo>
                <a:cubicBezTo>
                  <a:pt x="409" y="191"/>
                  <a:pt x="409" y="191"/>
                  <a:pt x="409" y="191"/>
                </a:cubicBezTo>
                <a:cubicBezTo>
                  <a:pt x="410" y="191"/>
                  <a:pt x="410" y="191"/>
                  <a:pt x="410" y="191"/>
                </a:cubicBezTo>
                <a:cubicBezTo>
                  <a:pt x="410" y="191"/>
                  <a:pt x="410" y="191"/>
                  <a:pt x="410" y="191"/>
                </a:cubicBezTo>
                <a:cubicBezTo>
                  <a:pt x="411" y="191"/>
                  <a:pt x="411" y="191"/>
                  <a:pt x="411" y="191"/>
                </a:cubicBezTo>
                <a:cubicBezTo>
                  <a:pt x="412" y="192"/>
                  <a:pt x="412" y="192"/>
                  <a:pt x="412" y="192"/>
                </a:cubicBezTo>
                <a:cubicBezTo>
                  <a:pt x="413" y="193"/>
                  <a:pt x="413" y="193"/>
                  <a:pt x="413" y="193"/>
                </a:cubicBezTo>
                <a:cubicBezTo>
                  <a:pt x="413" y="193"/>
                  <a:pt x="413" y="193"/>
                  <a:pt x="413" y="193"/>
                </a:cubicBezTo>
                <a:cubicBezTo>
                  <a:pt x="413" y="194"/>
                  <a:pt x="413" y="194"/>
                  <a:pt x="413" y="194"/>
                </a:cubicBezTo>
                <a:cubicBezTo>
                  <a:pt x="413" y="195"/>
                  <a:pt x="413" y="195"/>
                  <a:pt x="413" y="195"/>
                </a:cubicBezTo>
                <a:cubicBezTo>
                  <a:pt x="413" y="196"/>
                  <a:pt x="413" y="196"/>
                  <a:pt x="413" y="196"/>
                </a:cubicBezTo>
                <a:cubicBezTo>
                  <a:pt x="412" y="197"/>
                  <a:pt x="412" y="197"/>
                  <a:pt x="412" y="197"/>
                </a:cubicBezTo>
                <a:cubicBezTo>
                  <a:pt x="411" y="197"/>
                  <a:pt x="411" y="197"/>
                  <a:pt x="411" y="197"/>
                </a:cubicBezTo>
                <a:cubicBezTo>
                  <a:pt x="410" y="197"/>
                  <a:pt x="410" y="197"/>
                  <a:pt x="410" y="197"/>
                </a:cubicBezTo>
                <a:cubicBezTo>
                  <a:pt x="408" y="197"/>
                  <a:pt x="408" y="197"/>
                  <a:pt x="408" y="197"/>
                </a:cubicBezTo>
                <a:cubicBezTo>
                  <a:pt x="407" y="199"/>
                  <a:pt x="407" y="199"/>
                  <a:pt x="407" y="199"/>
                </a:cubicBezTo>
                <a:cubicBezTo>
                  <a:pt x="409" y="197"/>
                  <a:pt x="409" y="197"/>
                  <a:pt x="409" y="197"/>
                </a:cubicBezTo>
                <a:cubicBezTo>
                  <a:pt x="411" y="197"/>
                  <a:pt x="411" y="197"/>
                  <a:pt x="411" y="197"/>
                </a:cubicBezTo>
                <a:cubicBezTo>
                  <a:pt x="411" y="198"/>
                  <a:pt x="411" y="198"/>
                  <a:pt x="411" y="198"/>
                </a:cubicBezTo>
                <a:cubicBezTo>
                  <a:pt x="410" y="199"/>
                  <a:pt x="410" y="199"/>
                  <a:pt x="410" y="199"/>
                </a:cubicBezTo>
                <a:cubicBezTo>
                  <a:pt x="409" y="200"/>
                  <a:pt x="409" y="200"/>
                  <a:pt x="409" y="200"/>
                </a:cubicBezTo>
                <a:cubicBezTo>
                  <a:pt x="408" y="202"/>
                  <a:pt x="408" y="202"/>
                  <a:pt x="408" y="202"/>
                </a:cubicBezTo>
                <a:cubicBezTo>
                  <a:pt x="407" y="202"/>
                  <a:pt x="407" y="202"/>
                  <a:pt x="407" y="202"/>
                </a:cubicBezTo>
                <a:cubicBezTo>
                  <a:pt x="406" y="203"/>
                  <a:pt x="406" y="203"/>
                  <a:pt x="406" y="203"/>
                </a:cubicBezTo>
                <a:cubicBezTo>
                  <a:pt x="406" y="203"/>
                  <a:pt x="406" y="203"/>
                  <a:pt x="406" y="203"/>
                </a:cubicBezTo>
                <a:cubicBezTo>
                  <a:pt x="406" y="204"/>
                  <a:pt x="406" y="204"/>
                  <a:pt x="406" y="204"/>
                </a:cubicBezTo>
                <a:cubicBezTo>
                  <a:pt x="409" y="201"/>
                  <a:pt x="409" y="201"/>
                  <a:pt x="409" y="201"/>
                </a:cubicBezTo>
                <a:cubicBezTo>
                  <a:pt x="410" y="200"/>
                  <a:pt x="410" y="200"/>
                  <a:pt x="410" y="200"/>
                </a:cubicBezTo>
                <a:cubicBezTo>
                  <a:pt x="411" y="199"/>
                  <a:pt x="411" y="199"/>
                  <a:pt x="411" y="199"/>
                </a:cubicBezTo>
                <a:cubicBezTo>
                  <a:pt x="412" y="198"/>
                  <a:pt x="412" y="198"/>
                  <a:pt x="412" y="198"/>
                </a:cubicBezTo>
                <a:cubicBezTo>
                  <a:pt x="414" y="198"/>
                  <a:pt x="414" y="198"/>
                  <a:pt x="414" y="198"/>
                </a:cubicBezTo>
                <a:cubicBezTo>
                  <a:pt x="414" y="199"/>
                  <a:pt x="414" y="199"/>
                  <a:pt x="414" y="199"/>
                </a:cubicBezTo>
                <a:cubicBezTo>
                  <a:pt x="415" y="199"/>
                  <a:pt x="415" y="199"/>
                  <a:pt x="415" y="199"/>
                </a:cubicBezTo>
                <a:cubicBezTo>
                  <a:pt x="415" y="200"/>
                  <a:pt x="415" y="200"/>
                  <a:pt x="415" y="200"/>
                </a:cubicBezTo>
                <a:cubicBezTo>
                  <a:pt x="415" y="201"/>
                  <a:pt x="415" y="201"/>
                  <a:pt x="415" y="201"/>
                </a:cubicBezTo>
                <a:cubicBezTo>
                  <a:pt x="415" y="202"/>
                  <a:pt x="415" y="202"/>
                  <a:pt x="415" y="202"/>
                </a:cubicBezTo>
                <a:cubicBezTo>
                  <a:pt x="413" y="202"/>
                  <a:pt x="413" y="202"/>
                  <a:pt x="413" y="202"/>
                </a:cubicBezTo>
                <a:cubicBezTo>
                  <a:pt x="413" y="203"/>
                  <a:pt x="413" y="203"/>
                  <a:pt x="413" y="203"/>
                </a:cubicBezTo>
                <a:cubicBezTo>
                  <a:pt x="411" y="204"/>
                  <a:pt x="411" y="204"/>
                  <a:pt x="411" y="204"/>
                </a:cubicBezTo>
                <a:cubicBezTo>
                  <a:pt x="411" y="203"/>
                  <a:pt x="411" y="203"/>
                  <a:pt x="411" y="203"/>
                </a:cubicBezTo>
                <a:cubicBezTo>
                  <a:pt x="410" y="203"/>
                  <a:pt x="410" y="203"/>
                  <a:pt x="410" y="203"/>
                </a:cubicBezTo>
                <a:cubicBezTo>
                  <a:pt x="409" y="204"/>
                  <a:pt x="409" y="204"/>
                  <a:pt x="409" y="204"/>
                </a:cubicBezTo>
                <a:cubicBezTo>
                  <a:pt x="410" y="204"/>
                  <a:pt x="410" y="204"/>
                  <a:pt x="410" y="204"/>
                </a:cubicBezTo>
                <a:cubicBezTo>
                  <a:pt x="411" y="205"/>
                  <a:pt x="411" y="205"/>
                  <a:pt x="411" y="205"/>
                </a:cubicBezTo>
                <a:cubicBezTo>
                  <a:pt x="408" y="206"/>
                  <a:pt x="408" y="206"/>
                  <a:pt x="408" y="206"/>
                </a:cubicBezTo>
                <a:cubicBezTo>
                  <a:pt x="409" y="206"/>
                  <a:pt x="409" y="206"/>
                  <a:pt x="409" y="206"/>
                </a:cubicBezTo>
                <a:cubicBezTo>
                  <a:pt x="410" y="205"/>
                  <a:pt x="410" y="205"/>
                  <a:pt x="410" y="205"/>
                </a:cubicBezTo>
                <a:cubicBezTo>
                  <a:pt x="411" y="205"/>
                  <a:pt x="411" y="205"/>
                  <a:pt x="411" y="205"/>
                </a:cubicBezTo>
                <a:cubicBezTo>
                  <a:pt x="412" y="204"/>
                  <a:pt x="412" y="204"/>
                  <a:pt x="412" y="204"/>
                </a:cubicBezTo>
                <a:cubicBezTo>
                  <a:pt x="412" y="205"/>
                  <a:pt x="412" y="205"/>
                  <a:pt x="412" y="205"/>
                </a:cubicBezTo>
                <a:cubicBezTo>
                  <a:pt x="412" y="206"/>
                  <a:pt x="412" y="206"/>
                  <a:pt x="412" y="206"/>
                </a:cubicBezTo>
                <a:cubicBezTo>
                  <a:pt x="410" y="206"/>
                  <a:pt x="410" y="206"/>
                  <a:pt x="410" y="206"/>
                </a:cubicBezTo>
                <a:cubicBezTo>
                  <a:pt x="409" y="207"/>
                  <a:pt x="409" y="207"/>
                  <a:pt x="409" y="207"/>
                </a:cubicBezTo>
                <a:cubicBezTo>
                  <a:pt x="410" y="207"/>
                  <a:pt x="410" y="207"/>
                  <a:pt x="410" y="207"/>
                </a:cubicBezTo>
                <a:cubicBezTo>
                  <a:pt x="411" y="207"/>
                  <a:pt x="411" y="207"/>
                  <a:pt x="411" y="207"/>
                </a:cubicBezTo>
                <a:cubicBezTo>
                  <a:pt x="410" y="208"/>
                  <a:pt x="410" y="208"/>
                  <a:pt x="410" y="208"/>
                </a:cubicBezTo>
                <a:cubicBezTo>
                  <a:pt x="409" y="209"/>
                  <a:pt x="409" y="209"/>
                  <a:pt x="409" y="209"/>
                </a:cubicBezTo>
                <a:cubicBezTo>
                  <a:pt x="408" y="210"/>
                  <a:pt x="408" y="210"/>
                  <a:pt x="408" y="210"/>
                </a:cubicBezTo>
                <a:cubicBezTo>
                  <a:pt x="408" y="210"/>
                  <a:pt x="408" y="210"/>
                  <a:pt x="408" y="210"/>
                </a:cubicBezTo>
                <a:cubicBezTo>
                  <a:pt x="410" y="209"/>
                  <a:pt x="410" y="209"/>
                  <a:pt x="410" y="209"/>
                </a:cubicBezTo>
                <a:cubicBezTo>
                  <a:pt x="411" y="207"/>
                  <a:pt x="411" y="207"/>
                  <a:pt x="411" y="207"/>
                </a:cubicBezTo>
                <a:cubicBezTo>
                  <a:pt x="412" y="206"/>
                  <a:pt x="412" y="206"/>
                  <a:pt x="412" y="206"/>
                </a:cubicBezTo>
                <a:cubicBezTo>
                  <a:pt x="414" y="205"/>
                  <a:pt x="414" y="205"/>
                  <a:pt x="414" y="205"/>
                </a:cubicBezTo>
                <a:cubicBezTo>
                  <a:pt x="414" y="205"/>
                  <a:pt x="414" y="205"/>
                  <a:pt x="414" y="205"/>
                </a:cubicBezTo>
                <a:cubicBezTo>
                  <a:pt x="414" y="206"/>
                  <a:pt x="414" y="206"/>
                  <a:pt x="414" y="206"/>
                </a:cubicBezTo>
                <a:cubicBezTo>
                  <a:pt x="415" y="205"/>
                  <a:pt x="415" y="205"/>
                  <a:pt x="415" y="205"/>
                </a:cubicBezTo>
                <a:cubicBezTo>
                  <a:pt x="415" y="205"/>
                  <a:pt x="415" y="205"/>
                  <a:pt x="415" y="205"/>
                </a:cubicBezTo>
                <a:cubicBezTo>
                  <a:pt x="417" y="204"/>
                  <a:pt x="417" y="204"/>
                  <a:pt x="417" y="204"/>
                </a:cubicBezTo>
                <a:cubicBezTo>
                  <a:pt x="417" y="204"/>
                  <a:pt x="417" y="204"/>
                  <a:pt x="417" y="204"/>
                </a:cubicBezTo>
                <a:cubicBezTo>
                  <a:pt x="417" y="204"/>
                  <a:pt x="417" y="204"/>
                  <a:pt x="417" y="204"/>
                </a:cubicBezTo>
                <a:cubicBezTo>
                  <a:pt x="416" y="206"/>
                  <a:pt x="416" y="206"/>
                  <a:pt x="416" y="206"/>
                </a:cubicBezTo>
                <a:cubicBezTo>
                  <a:pt x="413" y="207"/>
                  <a:pt x="413" y="207"/>
                  <a:pt x="413" y="207"/>
                </a:cubicBezTo>
                <a:cubicBezTo>
                  <a:pt x="413" y="208"/>
                  <a:pt x="413" y="208"/>
                  <a:pt x="413" y="208"/>
                </a:cubicBezTo>
                <a:cubicBezTo>
                  <a:pt x="413" y="208"/>
                  <a:pt x="413" y="208"/>
                  <a:pt x="413" y="208"/>
                </a:cubicBezTo>
                <a:cubicBezTo>
                  <a:pt x="413" y="209"/>
                  <a:pt x="413" y="209"/>
                  <a:pt x="413" y="209"/>
                </a:cubicBezTo>
                <a:cubicBezTo>
                  <a:pt x="412" y="210"/>
                  <a:pt x="412" y="210"/>
                  <a:pt x="412" y="210"/>
                </a:cubicBezTo>
                <a:cubicBezTo>
                  <a:pt x="412" y="211"/>
                  <a:pt x="412" y="211"/>
                  <a:pt x="412" y="211"/>
                </a:cubicBezTo>
                <a:cubicBezTo>
                  <a:pt x="413" y="211"/>
                  <a:pt x="413" y="211"/>
                  <a:pt x="413" y="211"/>
                </a:cubicBezTo>
                <a:cubicBezTo>
                  <a:pt x="413" y="210"/>
                  <a:pt x="413" y="210"/>
                  <a:pt x="413" y="210"/>
                </a:cubicBezTo>
                <a:cubicBezTo>
                  <a:pt x="414" y="209"/>
                  <a:pt x="414" y="209"/>
                  <a:pt x="414" y="209"/>
                </a:cubicBezTo>
                <a:cubicBezTo>
                  <a:pt x="415" y="207"/>
                  <a:pt x="415" y="207"/>
                  <a:pt x="415" y="207"/>
                </a:cubicBezTo>
                <a:cubicBezTo>
                  <a:pt x="417" y="207"/>
                  <a:pt x="417" y="207"/>
                  <a:pt x="417" y="207"/>
                </a:cubicBezTo>
                <a:cubicBezTo>
                  <a:pt x="417" y="207"/>
                  <a:pt x="417" y="207"/>
                  <a:pt x="417" y="207"/>
                </a:cubicBezTo>
                <a:cubicBezTo>
                  <a:pt x="417" y="208"/>
                  <a:pt x="417" y="208"/>
                  <a:pt x="417" y="208"/>
                </a:cubicBezTo>
                <a:cubicBezTo>
                  <a:pt x="416" y="209"/>
                  <a:pt x="416" y="209"/>
                  <a:pt x="416" y="209"/>
                </a:cubicBezTo>
                <a:cubicBezTo>
                  <a:pt x="415" y="210"/>
                  <a:pt x="415" y="210"/>
                  <a:pt x="415" y="210"/>
                </a:cubicBezTo>
                <a:cubicBezTo>
                  <a:pt x="414" y="211"/>
                  <a:pt x="414" y="211"/>
                  <a:pt x="414" y="211"/>
                </a:cubicBezTo>
                <a:cubicBezTo>
                  <a:pt x="413" y="213"/>
                  <a:pt x="413" y="213"/>
                  <a:pt x="413" y="213"/>
                </a:cubicBezTo>
                <a:cubicBezTo>
                  <a:pt x="413" y="213"/>
                  <a:pt x="413" y="213"/>
                  <a:pt x="413" y="213"/>
                </a:cubicBezTo>
                <a:cubicBezTo>
                  <a:pt x="413" y="214"/>
                  <a:pt x="413" y="214"/>
                  <a:pt x="413" y="214"/>
                </a:cubicBezTo>
                <a:cubicBezTo>
                  <a:pt x="414" y="213"/>
                  <a:pt x="414" y="213"/>
                  <a:pt x="414" y="213"/>
                </a:cubicBezTo>
                <a:cubicBezTo>
                  <a:pt x="414" y="212"/>
                  <a:pt x="414" y="212"/>
                  <a:pt x="414" y="212"/>
                </a:cubicBezTo>
                <a:cubicBezTo>
                  <a:pt x="416" y="210"/>
                  <a:pt x="416" y="210"/>
                  <a:pt x="416" y="210"/>
                </a:cubicBezTo>
                <a:cubicBezTo>
                  <a:pt x="417" y="210"/>
                  <a:pt x="417" y="210"/>
                  <a:pt x="417" y="210"/>
                </a:cubicBezTo>
                <a:cubicBezTo>
                  <a:pt x="417" y="211"/>
                  <a:pt x="417" y="211"/>
                  <a:pt x="417" y="211"/>
                </a:cubicBezTo>
                <a:cubicBezTo>
                  <a:pt x="418" y="211"/>
                  <a:pt x="418" y="211"/>
                  <a:pt x="418" y="211"/>
                </a:cubicBezTo>
                <a:cubicBezTo>
                  <a:pt x="418" y="212"/>
                  <a:pt x="418" y="212"/>
                  <a:pt x="418" y="212"/>
                </a:cubicBezTo>
                <a:cubicBezTo>
                  <a:pt x="417" y="212"/>
                  <a:pt x="417" y="212"/>
                  <a:pt x="417" y="212"/>
                </a:cubicBezTo>
                <a:cubicBezTo>
                  <a:pt x="416" y="214"/>
                  <a:pt x="416" y="214"/>
                  <a:pt x="416" y="214"/>
                </a:cubicBezTo>
                <a:cubicBezTo>
                  <a:pt x="415" y="215"/>
                  <a:pt x="415" y="215"/>
                  <a:pt x="415" y="215"/>
                </a:cubicBezTo>
                <a:cubicBezTo>
                  <a:pt x="416" y="215"/>
                  <a:pt x="416" y="215"/>
                  <a:pt x="416" y="215"/>
                </a:cubicBezTo>
                <a:cubicBezTo>
                  <a:pt x="416" y="214"/>
                  <a:pt x="416" y="214"/>
                  <a:pt x="416" y="214"/>
                </a:cubicBezTo>
                <a:cubicBezTo>
                  <a:pt x="417" y="213"/>
                  <a:pt x="417" y="213"/>
                  <a:pt x="417" y="213"/>
                </a:cubicBezTo>
                <a:cubicBezTo>
                  <a:pt x="417" y="212"/>
                  <a:pt x="417" y="212"/>
                  <a:pt x="417" y="212"/>
                </a:cubicBezTo>
                <a:cubicBezTo>
                  <a:pt x="419" y="212"/>
                  <a:pt x="419" y="212"/>
                  <a:pt x="419" y="212"/>
                </a:cubicBezTo>
                <a:cubicBezTo>
                  <a:pt x="419" y="210"/>
                  <a:pt x="419" y="210"/>
                  <a:pt x="419" y="210"/>
                </a:cubicBezTo>
                <a:cubicBezTo>
                  <a:pt x="419" y="210"/>
                  <a:pt x="419" y="210"/>
                  <a:pt x="419" y="210"/>
                </a:cubicBezTo>
                <a:cubicBezTo>
                  <a:pt x="420" y="209"/>
                  <a:pt x="420" y="209"/>
                  <a:pt x="420" y="209"/>
                </a:cubicBezTo>
                <a:cubicBezTo>
                  <a:pt x="420" y="208"/>
                  <a:pt x="420" y="208"/>
                  <a:pt x="420" y="208"/>
                </a:cubicBezTo>
                <a:cubicBezTo>
                  <a:pt x="421" y="207"/>
                  <a:pt x="421" y="207"/>
                  <a:pt x="421" y="207"/>
                </a:cubicBezTo>
                <a:cubicBezTo>
                  <a:pt x="421" y="207"/>
                  <a:pt x="421" y="207"/>
                  <a:pt x="421" y="207"/>
                </a:cubicBezTo>
                <a:cubicBezTo>
                  <a:pt x="422" y="206"/>
                  <a:pt x="422" y="206"/>
                  <a:pt x="422" y="206"/>
                </a:cubicBezTo>
                <a:cubicBezTo>
                  <a:pt x="422" y="205"/>
                  <a:pt x="422" y="205"/>
                  <a:pt x="422" y="205"/>
                </a:cubicBezTo>
                <a:cubicBezTo>
                  <a:pt x="422" y="205"/>
                  <a:pt x="422" y="205"/>
                  <a:pt x="422" y="205"/>
                </a:cubicBezTo>
                <a:cubicBezTo>
                  <a:pt x="423" y="207"/>
                  <a:pt x="423" y="207"/>
                  <a:pt x="423" y="207"/>
                </a:cubicBezTo>
                <a:cubicBezTo>
                  <a:pt x="424" y="208"/>
                  <a:pt x="424" y="208"/>
                  <a:pt x="424" y="208"/>
                </a:cubicBezTo>
                <a:cubicBezTo>
                  <a:pt x="425" y="209"/>
                  <a:pt x="425" y="209"/>
                  <a:pt x="425" y="209"/>
                </a:cubicBezTo>
                <a:cubicBezTo>
                  <a:pt x="426" y="210"/>
                  <a:pt x="426" y="210"/>
                  <a:pt x="426" y="210"/>
                </a:cubicBezTo>
                <a:cubicBezTo>
                  <a:pt x="426" y="211"/>
                  <a:pt x="426" y="211"/>
                  <a:pt x="426" y="211"/>
                </a:cubicBezTo>
                <a:cubicBezTo>
                  <a:pt x="427" y="212"/>
                  <a:pt x="427" y="212"/>
                  <a:pt x="427" y="212"/>
                </a:cubicBezTo>
                <a:cubicBezTo>
                  <a:pt x="427" y="213"/>
                  <a:pt x="427" y="213"/>
                  <a:pt x="427" y="213"/>
                </a:cubicBezTo>
                <a:cubicBezTo>
                  <a:pt x="426" y="214"/>
                  <a:pt x="426" y="214"/>
                  <a:pt x="426" y="214"/>
                </a:cubicBezTo>
                <a:cubicBezTo>
                  <a:pt x="425" y="215"/>
                  <a:pt x="425" y="215"/>
                  <a:pt x="425" y="215"/>
                </a:cubicBezTo>
                <a:cubicBezTo>
                  <a:pt x="424" y="215"/>
                  <a:pt x="424" y="215"/>
                  <a:pt x="424" y="215"/>
                </a:cubicBezTo>
                <a:cubicBezTo>
                  <a:pt x="424" y="215"/>
                  <a:pt x="424" y="215"/>
                  <a:pt x="424" y="215"/>
                </a:cubicBezTo>
                <a:cubicBezTo>
                  <a:pt x="422" y="214"/>
                  <a:pt x="422" y="214"/>
                  <a:pt x="422" y="214"/>
                </a:cubicBezTo>
                <a:cubicBezTo>
                  <a:pt x="422" y="214"/>
                  <a:pt x="422" y="214"/>
                  <a:pt x="422" y="214"/>
                </a:cubicBezTo>
                <a:cubicBezTo>
                  <a:pt x="421" y="214"/>
                  <a:pt x="421" y="214"/>
                  <a:pt x="421" y="214"/>
                </a:cubicBezTo>
                <a:cubicBezTo>
                  <a:pt x="421" y="215"/>
                  <a:pt x="421" y="215"/>
                  <a:pt x="421" y="215"/>
                </a:cubicBezTo>
                <a:cubicBezTo>
                  <a:pt x="420" y="216"/>
                  <a:pt x="420" y="216"/>
                  <a:pt x="420" y="216"/>
                </a:cubicBezTo>
                <a:cubicBezTo>
                  <a:pt x="419" y="216"/>
                  <a:pt x="419" y="216"/>
                  <a:pt x="419" y="216"/>
                </a:cubicBezTo>
                <a:cubicBezTo>
                  <a:pt x="418" y="216"/>
                  <a:pt x="418" y="216"/>
                  <a:pt x="418" y="216"/>
                </a:cubicBezTo>
                <a:cubicBezTo>
                  <a:pt x="418" y="217"/>
                  <a:pt x="418" y="217"/>
                  <a:pt x="418" y="217"/>
                </a:cubicBezTo>
                <a:cubicBezTo>
                  <a:pt x="419" y="217"/>
                  <a:pt x="419" y="217"/>
                  <a:pt x="419" y="217"/>
                </a:cubicBezTo>
                <a:cubicBezTo>
                  <a:pt x="420" y="217"/>
                  <a:pt x="420" y="217"/>
                  <a:pt x="420" y="217"/>
                </a:cubicBezTo>
                <a:cubicBezTo>
                  <a:pt x="420" y="218"/>
                  <a:pt x="420" y="218"/>
                  <a:pt x="420" y="218"/>
                </a:cubicBezTo>
                <a:cubicBezTo>
                  <a:pt x="419" y="219"/>
                  <a:pt x="419" y="219"/>
                  <a:pt x="419" y="219"/>
                </a:cubicBezTo>
                <a:cubicBezTo>
                  <a:pt x="418" y="219"/>
                  <a:pt x="418" y="219"/>
                  <a:pt x="418" y="219"/>
                </a:cubicBezTo>
                <a:cubicBezTo>
                  <a:pt x="417" y="220"/>
                  <a:pt x="417" y="220"/>
                  <a:pt x="417" y="220"/>
                </a:cubicBezTo>
                <a:cubicBezTo>
                  <a:pt x="418" y="220"/>
                  <a:pt x="418" y="220"/>
                  <a:pt x="418" y="220"/>
                </a:cubicBezTo>
                <a:cubicBezTo>
                  <a:pt x="419" y="219"/>
                  <a:pt x="419" y="219"/>
                  <a:pt x="419" y="219"/>
                </a:cubicBezTo>
                <a:cubicBezTo>
                  <a:pt x="421" y="219"/>
                  <a:pt x="421" y="219"/>
                  <a:pt x="421" y="219"/>
                </a:cubicBezTo>
                <a:cubicBezTo>
                  <a:pt x="422" y="219"/>
                  <a:pt x="422" y="219"/>
                  <a:pt x="422" y="219"/>
                </a:cubicBezTo>
                <a:cubicBezTo>
                  <a:pt x="423" y="218"/>
                  <a:pt x="423" y="218"/>
                  <a:pt x="423" y="218"/>
                </a:cubicBezTo>
                <a:cubicBezTo>
                  <a:pt x="424" y="218"/>
                  <a:pt x="424" y="218"/>
                  <a:pt x="424" y="218"/>
                </a:cubicBezTo>
                <a:cubicBezTo>
                  <a:pt x="425" y="219"/>
                  <a:pt x="425" y="219"/>
                  <a:pt x="425" y="219"/>
                </a:cubicBezTo>
                <a:cubicBezTo>
                  <a:pt x="425" y="219"/>
                  <a:pt x="425" y="219"/>
                  <a:pt x="425" y="219"/>
                </a:cubicBezTo>
                <a:cubicBezTo>
                  <a:pt x="425" y="220"/>
                  <a:pt x="425" y="220"/>
                  <a:pt x="425" y="220"/>
                </a:cubicBezTo>
                <a:cubicBezTo>
                  <a:pt x="425" y="219"/>
                  <a:pt x="425" y="219"/>
                  <a:pt x="425" y="219"/>
                </a:cubicBezTo>
                <a:cubicBezTo>
                  <a:pt x="425" y="218"/>
                  <a:pt x="425" y="218"/>
                  <a:pt x="425" y="218"/>
                </a:cubicBezTo>
                <a:cubicBezTo>
                  <a:pt x="425" y="217"/>
                  <a:pt x="425" y="217"/>
                  <a:pt x="425" y="217"/>
                </a:cubicBezTo>
                <a:cubicBezTo>
                  <a:pt x="426" y="216"/>
                  <a:pt x="426" y="216"/>
                  <a:pt x="426" y="216"/>
                </a:cubicBezTo>
                <a:cubicBezTo>
                  <a:pt x="428" y="215"/>
                  <a:pt x="428" y="215"/>
                  <a:pt x="428" y="215"/>
                </a:cubicBezTo>
                <a:cubicBezTo>
                  <a:pt x="428" y="216"/>
                  <a:pt x="428" y="216"/>
                  <a:pt x="428" y="216"/>
                </a:cubicBezTo>
                <a:cubicBezTo>
                  <a:pt x="428" y="216"/>
                  <a:pt x="428" y="216"/>
                  <a:pt x="428" y="216"/>
                </a:cubicBezTo>
                <a:cubicBezTo>
                  <a:pt x="428" y="217"/>
                  <a:pt x="428" y="217"/>
                  <a:pt x="428" y="217"/>
                </a:cubicBezTo>
                <a:cubicBezTo>
                  <a:pt x="428" y="218"/>
                  <a:pt x="428" y="218"/>
                  <a:pt x="428" y="218"/>
                </a:cubicBezTo>
                <a:cubicBezTo>
                  <a:pt x="427" y="220"/>
                  <a:pt x="427" y="220"/>
                  <a:pt x="427" y="220"/>
                </a:cubicBezTo>
                <a:cubicBezTo>
                  <a:pt x="425" y="220"/>
                  <a:pt x="425" y="220"/>
                  <a:pt x="425" y="220"/>
                </a:cubicBezTo>
                <a:cubicBezTo>
                  <a:pt x="425" y="221"/>
                  <a:pt x="425" y="221"/>
                  <a:pt x="425" y="221"/>
                </a:cubicBezTo>
                <a:cubicBezTo>
                  <a:pt x="424" y="222"/>
                  <a:pt x="424" y="222"/>
                  <a:pt x="424" y="222"/>
                </a:cubicBezTo>
                <a:cubicBezTo>
                  <a:pt x="423" y="222"/>
                  <a:pt x="423" y="222"/>
                  <a:pt x="423" y="222"/>
                </a:cubicBezTo>
                <a:cubicBezTo>
                  <a:pt x="422" y="221"/>
                  <a:pt x="422" y="221"/>
                  <a:pt x="422" y="221"/>
                </a:cubicBezTo>
                <a:cubicBezTo>
                  <a:pt x="422" y="221"/>
                  <a:pt x="422" y="221"/>
                  <a:pt x="422" y="221"/>
                </a:cubicBezTo>
                <a:cubicBezTo>
                  <a:pt x="421" y="222"/>
                  <a:pt x="421" y="222"/>
                  <a:pt x="421" y="222"/>
                </a:cubicBezTo>
                <a:cubicBezTo>
                  <a:pt x="421" y="223"/>
                  <a:pt x="421" y="223"/>
                  <a:pt x="421" y="223"/>
                </a:cubicBezTo>
                <a:cubicBezTo>
                  <a:pt x="420" y="224"/>
                  <a:pt x="420" y="224"/>
                  <a:pt x="420" y="224"/>
                </a:cubicBezTo>
                <a:cubicBezTo>
                  <a:pt x="420" y="225"/>
                  <a:pt x="420" y="225"/>
                  <a:pt x="420" y="225"/>
                </a:cubicBezTo>
                <a:cubicBezTo>
                  <a:pt x="419" y="226"/>
                  <a:pt x="419" y="226"/>
                  <a:pt x="419" y="226"/>
                </a:cubicBezTo>
                <a:cubicBezTo>
                  <a:pt x="420" y="226"/>
                  <a:pt x="420" y="226"/>
                  <a:pt x="420" y="226"/>
                </a:cubicBezTo>
                <a:cubicBezTo>
                  <a:pt x="421" y="224"/>
                  <a:pt x="421" y="224"/>
                  <a:pt x="421" y="224"/>
                </a:cubicBezTo>
                <a:cubicBezTo>
                  <a:pt x="422" y="222"/>
                  <a:pt x="422" y="222"/>
                  <a:pt x="422" y="222"/>
                </a:cubicBezTo>
                <a:cubicBezTo>
                  <a:pt x="423" y="222"/>
                  <a:pt x="423" y="222"/>
                  <a:pt x="423" y="222"/>
                </a:cubicBezTo>
                <a:cubicBezTo>
                  <a:pt x="423" y="222"/>
                  <a:pt x="423" y="222"/>
                  <a:pt x="423" y="222"/>
                </a:cubicBezTo>
                <a:cubicBezTo>
                  <a:pt x="424" y="223"/>
                  <a:pt x="424" y="223"/>
                  <a:pt x="424" y="223"/>
                </a:cubicBezTo>
                <a:cubicBezTo>
                  <a:pt x="424" y="223"/>
                  <a:pt x="424" y="223"/>
                  <a:pt x="424" y="223"/>
                </a:cubicBezTo>
                <a:cubicBezTo>
                  <a:pt x="423" y="224"/>
                  <a:pt x="423" y="224"/>
                  <a:pt x="423" y="224"/>
                </a:cubicBezTo>
                <a:cubicBezTo>
                  <a:pt x="423" y="225"/>
                  <a:pt x="423" y="225"/>
                  <a:pt x="423" y="225"/>
                </a:cubicBezTo>
                <a:cubicBezTo>
                  <a:pt x="421" y="227"/>
                  <a:pt x="421" y="227"/>
                  <a:pt x="421" y="227"/>
                </a:cubicBezTo>
                <a:cubicBezTo>
                  <a:pt x="420" y="227"/>
                  <a:pt x="420" y="227"/>
                  <a:pt x="420" y="227"/>
                </a:cubicBezTo>
                <a:cubicBezTo>
                  <a:pt x="420" y="228"/>
                  <a:pt x="420" y="228"/>
                  <a:pt x="420" y="228"/>
                </a:cubicBezTo>
                <a:cubicBezTo>
                  <a:pt x="422" y="227"/>
                  <a:pt x="422" y="227"/>
                  <a:pt x="422" y="227"/>
                </a:cubicBezTo>
                <a:cubicBezTo>
                  <a:pt x="424" y="224"/>
                  <a:pt x="424" y="224"/>
                  <a:pt x="424" y="224"/>
                </a:cubicBezTo>
                <a:cubicBezTo>
                  <a:pt x="425" y="222"/>
                  <a:pt x="425" y="222"/>
                  <a:pt x="425" y="222"/>
                </a:cubicBezTo>
                <a:cubicBezTo>
                  <a:pt x="425" y="222"/>
                  <a:pt x="425" y="222"/>
                  <a:pt x="425" y="222"/>
                </a:cubicBezTo>
                <a:cubicBezTo>
                  <a:pt x="426" y="221"/>
                  <a:pt x="426" y="221"/>
                  <a:pt x="426" y="221"/>
                </a:cubicBezTo>
                <a:cubicBezTo>
                  <a:pt x="426" y="221"/>
                  <a:pt x="426" y="221"/>
                  <a:pt x="426" y="221"/>
                </a:cubicBezTo>
                <a:cubicBezTo>
                  <a:pt x="428" y="220"/>
                  <a:pt x="428" y="220"/>
                  <a:pt x="428" y="220"/>
                </a:cubicBezTo>
                <a:cubicBezTo>
                  <a:pt x="430" y="219"/>
                  <a:pt x="430" y="219"/>
                  <a:pt x="430" y="219"/>
                </a:cubicBezTo>
                <a:cubicBezTo>
                  <a:pt x="431" y="219"/>
                  <a:pt x="431" y="219"/>
                  <a:pt x="431" y="219"/>
                </a:cubicBezTo>
                <a:cubicBezTo>
                  <a:pt x="431" y="219"/>
                  <a:pt x="431" y="219"/>
                  <a:pt x="431" y="219"/>
                </a:cubicBezTo>
                <a:cubicBezTo>
                  <a:pt x="430" y="220"/>
                  <a:pt x="430" y="220"/>
                  <a:pt x="430" y="220"/>
                </a:cubicBezTo>
                <a:cubicBezTo>
                  <a:pt x="429" y="221"/>
                  <a:pt x="429" y="221"/>
                  <a:pt x="429" y="221"/>
                </a:cubicBezTo>
                <a:cubicBezTo>
                  <a:pt x="428" y="221"/>
                  <a:pt x="428" y="221"/>
                  <a:pt x="428" y="221"/>
                </a:cubicBezTo>
                <a:cubicBezTo>
                  <a:pt x="427" y="222"/>
                  <a:pt x="427" y="222"/>
                  <a:pt x="427" y="222"/>
                </a:cubicBezTo>
                <a:cubicBezTo>
                  <a:pt x="427" y="223"/>
                  <a:pt x="427" y="223"/>
                  <a:pt x="427" y="223"/>
                </a:cubicBezTo>
                <a:cubicBezTo>
                  <a:pt x="427" y="223"/>
                  <a:pt x="427" y="223"/>
                  <a:pt x="427" y="223"/>
                </a:cubicBezTo>
                <a:cubicBezTo>
                  <a:pt x="428" y="222"/>
                  <a:pt x="428" y="222"/>
                  <a:pt x="428" y="222"/>
                </a:cubicBezTo>
                <a:cubicBezTo>
                  <a:pt x="429" y="222"/>
                  <a:pt x="429" y="222"/>
                  <a:pt x="429" y="222"/>
                </a:cubicBezTo>
                <a:cubicBezTo>
                  <a:pt x="430" y="221"/>
                  <a:pt x="430" y="221"/>
                  <a:pt x="430" y="221"/>
                </a:cubicBezTo>
                <a:cubicBezTo>
                  <a:pt x="431" y="221"/>
                  <a:pt x="431" y="221"/>
                  <a:pt x="431" y="221"/>
                </a:cubicBezTo>
                <a:cubicBezTo>
                  <a:pt x="432" y="220"/>
                  <a:pt x="432" y="220"/>
                  <a:pt x="432" y="220"/>
                </a:cubicBezTo>
                <a:cubicBezTo>
                  <a:pt x="433" y="220"/>
                  <a:pt x="433" y="220"/>
                  <a:pt x="433" y="220"/>
                </a:cubicBezTo>
                <a:cubicBezTo>
                  <a:pt x="434" y="220"/>
                  <a:pt x="434" y="220"/>
                  <a:pt x="434" y="220"/>
                </a:cubicBezTo>
                <a:cubicBezTo>
                  <a:pt x="434" y="221"/>
                  <a:pt x="434" y="221"/>
                  <a:pt x="434" y="221"/>
                </a:cubicBezTo>
                <a:cubicBezTo>
                  <a:pt x="435" y="223"/>
                  <a:pt x="435" y="223"/>
                  <a:pt x="435" y="223"/>
                </a:cubicBezTo>
                <a:cubicBezTo>
                  <a:pt x="436" y="224"/>
                  <a:pt x="436" y="224"/>
                  <a:pt x="436" y="224"/>
                </a:cubicBezTo>
                <a:cubicBezTo>
                  <a:pt x="437" y="224"/>
                  <a:pt x="437" y="224"/>
                  <a:pt x="437" y="224"/>
                </a:cubicBezTo>
                <a:cubicBezTo>
                  <a:pt x="437" y="225"/>
                  <a:pt x="437" y="225"/>
                  <a:pt x="437" y="225"/>
                </a:cubicBezTo>
                <a:cubicBezTo>
                  <a:pt x="437" y="226"/>
                  <a:pt x="437" y="226"/>
                  <a:pt x="437" y="226"/>
                </a:cubicBezTo>
                <a:cubicBezTo>
                  <a:pt x="436" y="227"/>
                  <a:pt x="436" y="227"/>
                  <a:pt x="436" y="227"/>
                </a:cubicBezTo>
                <a:cubicBezTo>
                  <a:pt x="435" y="227"/>
                  <a:pt x="435" y="227"/>
                  <a:pt x="435" y="227"/>
                </a:cubicBezTo>
                <a:cubicBezTo>
                  <a:pt x="436" y="226"/>
                  <a:pt x="436" y="226"/>
                  <a:pt x="436" y="226"/>
                </a:cubicBezTo>
                <a:cubicBezTo>
                  <a:pt x="435" y="226"/>
                  <a:pt x="435" y="226"/>
                  <a:pt x="435" y="226"/>
                </a:cubicBezTo>
                <a:cubicBezTo>
                  <a:pt x="435" y="226"/>
                  <a:pt x="435" y="226"/>
                  <a:pt x="435" y="226"/>
                </a:cubicBezTo>
                <a:cubicBezTo>
                  <a:pt x="434" y="227"/>
                  <a:pt x="434" y="227"/>
                  <a:pt x="434" y="227"/>
                </a:cubicBezTo>
                <a:cubicBezTo>
                  <a:pt x="433" y="228"/>
                  <a:pt x="433" y="228"/>
                  <a:pt x="433" y="228"/>
                </a:cubicBezTo>
                <a:cubicBezTo>
                  <a:pt x="431" y="228"/>
                  <a:pt x="431" y="228"/>
                  <a:pt x="431" y="228"/>
                </a:cubicBezTo>
                <a:cubicBezTo>
                  <a:pt x="430" y="228"/>
                  <a:pt x="430" y="228"/>
                  <a:pt x="430" y="228"/>
                </a:cubicBezTo>
                <a:cubicBezTo>
                  <a:pt x="429" y="228"/>
                  <a:pt x="429" y="228"/>
                  <a:pt x="429" y="228"/>
                </a:cubicBezTo>
                <a:cubicBezTo>
                  <a:pt x="427" y="229"/>
                  <a:pt x="427" y="229"/>
                  <a:pt x="427" y="229"/>
                </a:cubicBezTo>
                <a:cubicBezTo>
                  <a:pt x="426" y="230"/>
                  <a:pt x="426" y="230"/>
                  <a:pt x="426" y="230"/>
                </a:cubicBezTo>
                <a:cubicBezTo>
                  <a:pt x="425" y="230"/>
                  <a:pt x="425" y="230"/>
                  <a:pt x="425" y="230"/>
                </a:cubicBezTo>
                <a:cubicBezTo>
                  <a:pt x="426" y="230"/>
                  <a:pt x="426" y="230"/>
                  <a:pt x="426" y="230"/>
                </a:cubicBezTo>
                <a:cubicBezTo>
                  <a:pt x="426" y="231"/>
                  <a:pt x="426" y="231"/>
                  <a:pt x="426" y="231"/>
                </a:cubicBezTo>
                <a:cubicBezTo>
                  <a:pt x="426" y="231"/>
                  <a:pt x="426" y="231"/>
                  <a:pt x="426" y="231"/>
                </a:cubicBezTo>
                <a:cubicBezTo>
                  <a:pt x="424" y="232"/>
                  <a:pt x="424" y="232"/>
                  <a:pt x="424" y="232"/>
                </a:cubicBezTo>
                <a:cubicBezTo>
                  <a:pt x="424" y="232"/>
                  <a:pt x="424" y="232"/>
                  <a:pt x="424" y="232"/>
                </a:cubicBezTo>
                <a:cubicBezTo>
                  <a:pt x="426" y="232"/>
                  <a:pt x="426" y="232"/>
                  <a:pt x="426" y="232"/>
                </a:cubicBezTo>
                <a:cubicBezTo>
                  <a:pt x="427" y="231"/>
                  <a:pt x="427" y="231"/>
                  <a:pt x="427" y="231"/>
                </a:cubicBezTo>
                <a:cubicBezTo>
                  <a:pt x="429" y="229"/>
                  <a:pt x="429" y="229"/>
                  <a:pt x="429" y="229"/>
                </a:cubicBezTo>
                <a:cubicBezTo>
                  <a:pt x="430" y="229"/>
                  <a:pt x="430" y="229"/>
                  <a:pt x="430" y="229"/>
                </a:cubicBezTo>
                <a:cubicBezTo>
                  <a:pt x="431" y="229"/>
                  <a:pt x="431" y="229"/>
                  <a:pt x="431" y="229"/>
                </a:cubicBezTo>
                <a:cubicBezTo>
                  <a:pt x="432" y="229"/>
                  <a:pt x="432" y="229"/>
                  <a:pt x="432" y="229"/>
                </a:cubicBezTo>
                <a:cubicBezTo>
                  <a:pt x="433" y="229"/>
                  <a:pt x="433" y="229"/>
                  <a:pt x="433" y="229"/>
                </a:cubicBezTo>
                <a:cubicBezTo>
                  <a:pt x="433" y="230"/>
                  <a:pt x="433" y="230"/>
                  <a:pt x="433" y="230"/>
                </a:cubicBezTo>
                <a:cubicBezTo>
                  <a:pt x="433" y="231"/>
                  <a:pt x="433" y="231"/>
                  <a:pt x="433" y="231"/>
                </a:cubicBezTo>
                <a:cubicBezTo>
                  <a:pt x="432" y="231"/>
                  <a:pt x="432" y="231"/>
                  <a:pt x="432" y="231"/>
                </a:cubicBezTo>
                <a:cubicBezTo>
                  <a:pt x="431" y="232"/>
                  <a:pt x="431" y="232"/>
                  <a:pt x="431" y="232"/>
                </a:cubicBezTo>
                <a:cubicBezTo>
                  <a:pt x="430" y="232"/>
                  <a:pt x="430" y="232"/>
                  <a:pt x="430" y="232"/>
                </a:cubicBezTo>
                <a:cubicBezTo>
                  <a:pt x="429" y="232"/>
                  <a:pt x="429" y="232"/>
                  <a:pt x="429" y="232"/>
                </a:cubicBezTo>
                <a:cubicBezTo>
                  <a:pt x="429" y="234"/>
                  <a:pt x="429" y="234"/>
                  <a:pt x="429" y="234"/>
                </a:cubicBezTo>
                <a:cubicBezTo>
                  <a:pt x="428" y="234"/>
                  <a:pt x="428" y="234"/>
                  <a:pt x="428" y="234"/>
                </a:cubicBezTo>
                <a:cubicBezTo>
                  <a:pt x="427" y="233"/>
                  <a:pt x="427" y="233"/>
                  <a:pt x="427" y="233"/>
                </a:cubicBezTo>
                <a:cubicBezTo>
                  <a:pt x="426" y="234"/>
                  <a:pt x="426" y="234"/>
                  <a:pt x="426" y="234"/>
                </a:cubicBezTo>
                <a:cubicBezTo>
                  <a:pt x="425" y="235"/>
                  <a:pt x="425" y="235"/>
                  <a:pt x="425" y="235"/>
                </a:cubicBezTo>
                <a:cubicBezTo>
                  <a:pt x="426" y="235"/>
                  <a:pt x="426" y="235"/>
                  <a:pt x="426" y="235"/>
                </a:cubicBezTo>
                <a:cubicBezTo>
                  <a:pt x="427" y="234"/>
                  <a:pt x="427" y="234"/>
                  <a:pt x="427" y="234"/>
                </a:cubicBezTo>
                <a:cubicBezTo>
                  <a:pt x="428" y="234"/>
                  <a:pt x="428" y="234"/>
                  <a:pt x="428" y="234"/>
                </a:cubicBezTo>
                <a:cubicBezTo>
                  <a:pt x="428" y="235"/>
                  <a:pt x="428" y="235"/>
                  <a:pt x="428" y="235"/>
                </a:cubicBezTo>
                <a:cubicBezTo>
                  <a:pt x="429" y="234"/>
                  <a:pt x="429" y="234"/>
                  <a:pt x="429" y="234"/>
                </a:cubicBezTo>
                <a:cubicBezTo>
                  <a:pt x="430" y="233"/>
                  <a:pt x="430" y="233"/>
                  <a:pt x="430" y="233"/>
                </a:cubicBezTo>
                <a:cubicBezTo>
                  <a:pt x="431" y="232"/>
                  <a:pt x="431" y="232"/>
                  <a:pt x="431" y="232"/>
                </a:cubicBezTo>
                <a:cubicBezTo>
                  <a:pt x="432" y="233"/>
                  <a:pt x="432" y="233"/>
                  <a:pt x="432" y="233"/>
                </a:cubicBezTo>
                <a:cubicBezTo>
                  <a:pt x="433" y="233"/>
                  <a:pt x="433" y="233"/>
                  <a:pt x="433" y="233"/>
                </a:cubicBezTo>
                <a:cubicBezTo>
                  <a:pt x="434" y="232"/>
                  <a:pt x="434" y="232"/>
                  <a:pt x="434" y="232"/>
                </a:cubicBezTo>
                <a:cubicBezTo>
                  <a:pt x="435" y="231"/>
                  <a:pt x="435" y="231"/>
                  <a:pt x="435" y="231"/>
                </a:cubicBezTo>
                <a:cubicBezTo>
                  <a:pt x="436" y="231"/>
                  <a:pt x="436" y="231"/>
                  <a:pt x="436" y="231"/>
                </a:cubicBezTo>
                <a:cubicBezTo>
                  <a:pt x="436" y="230"/>
                  <a:pt x="436" y="230"/>
                  <a:pt x="436" y="230"/>
                </a:cubicBezTo>
                <a:cubicBezTo>
                  <a:pt x="435" y="230"/>
                  <a:pt x="435" y="230"/>
                  <a:pt x="435" y="230"/>
                </a:cubicBezTo>
                <a:cubicBezTo>
                  <a:pt x="436" y="229"/>
                  <a:pt x="436" y="229"/>
                  <a:pt x="436" y="229"/>
                </a:cubicBezTo>
                <a:cubicBezTo>
                  <a:pt x="436" y="228"/>
                  <a:pt x="436" y="228"/>
                  <a:pt x="436" y="228"/>
                </a:cubicBezTo>
                <a:cubicBezTo>
                  <a:pt x="437" y="228"/>
                  <a:pt x="437" y="228"/>
                  <a:pt x="437" y="228"/>
                </a:cubicBezTo>
                <a:cubicBezTo>
                  <a:pt x="437" y="228"/>
                  <a:pt x="437" y="228"/>
                  <a:pt x="437" y="228"/>
                </a:cubicBezTo>
                <a:cubicBezTo>
                  <a:pt x="438" y="228"/>
                  <a:pt x="438" y="228"/>
                  <a:pt x="438" y="228"/>
                </a:cubicBezTo>
                <a:cubicBezTo>
                  <a:pt x="438" y="229"/>
                  <a:pt x="438" y="229"/>
                  <a:pt x="438" y="229"/>
                </a:cubicBezTo>
                <a:cubicBezTo>
                  <a:pt x="439" y="232"/>
                  <a:pt x="439" y="232"/>
                  <a:pt x="439" y="232"/>
                </a:cubicBezTo>
                <a:cubicBezTo>
                  <a:pt x="439" y="233"/>
                  <a:pt x="439" y="233"/>
                  <a:pt x="439" y="233"/>
                </a:cubicBezTo>
                <a:cubicBezTo>
                  <a:pt x="440" y="234"/>
                  <a:pt x="440" y="234"/>
                  <a:pt x="440" y="234"/>
                </a:cubicBezTo>
                <a:cubicBezTo>
                  <a:pt x="440" y="235"/>
                  <a:pt x="440" y="235"/>
                  <a:pt x="440" y="235"/>
                </a:cubicBezTo>
                <a:cubicBezTo>
                  <a:pt x="439" y="236"/>
                  <a:pt x="439" y="236"/>
                  <a:pt x="439" y="236"/>
                </a:cubicBezTo>
                <a:cubicBezTo>
                  <a:pt x="438" y="236"/>
                  <a:pt x="438" y="236"/>
                  <a:pt x="438" y="236"/>
                </a:cubicBezTo>
                <a:cubicBezTo>
                  <a:pt x="437" y="235"/>
                  <a:pt x="437" y="235"/>
                  <a:pt x="437" y="235"/>
                </a:cubicBezTo>
                <a:cubicBezTo>
                  <a:pt x="435" y="235"/>
                  <a:pt x="435" y="235"/>
                  <a:pt x="435" y="235"/>
                </a:cubicBezTo>
                <a:cubicBezTo>
                  <a:pt x="434" y="236"/>
                  <a:pt x="434" y="236"/>
                  <a:pt x="434" y="236"/>
                </a:cubicBezTo>
                <a:cubicBezTo>
                  <a:pt x="434" y="236"/>
                  <a:pt x="434" y="236"/>
                  <a:pt x="434" y="236"/>
                </a:cubicBezTo>
                <a:cubicBezTo>
                  <a:pt x="433" y="236"/>
                  <a:pt x="433" y="236"/>
                  <a:pt x="433" y="236"/>
                </a:cubicBezTo>
                <a:cubicBezTo>
                  <a:pt x="432" y="236"/>
                  <a:pt x="432" y="236"/>
                  <a:pt x="432" y="236"/>
                </a:cubicBezTo>
                <a:cubicBezTo>
                  <a:pt x="431" y="236"/>
                  <a:pt x="431" y="236"/>
                  <a:pt x="431" y="236"/>
                </a:cubicBezTo>
                <a:cubicBezTo>
                  <a:pt x="431" y="237"/>
                  <a:pt x="431" y="237"/>
                  <a:pt x="431" y="237"/>
                </a:cubicBezTo>
                <a:cubicBezTo>
                  <a:pt x="429" y="237"/>
                  <a:pt x="429" y="237"/>
                  <a:pt x="429" y="237"/>
                </a:cubicBezTo>
                <a:cubicBezTo>
                  <a:pt x="430" y="238"/>
                  <a:pt x="430" y="238"/>
                  <a:pt x="430" y="238"/>
                </a:cubicBezTo>
                <a:cubicBezTo>
                  <a:pt x="432" y="237"/>
                  <a:pt x="432" y="237"/>
                  <a:pt x="432" y="237"/>
                </a:cubicBezTo>
                <a:cubicBezTo>
                  <a:pt x="433" y="238"/>
                  <a:pt x="433" y="238"/>
                  <a:pt x="433" y="238"/>
                </a:cubicBezTo>
                <a:cubicBezTo>
                  <a:pt x="435" y="239"/>
                  <a:pt x="435" y="239"/>
                  <a:pt x="435" y="239"/>
                </a:cubicBezTo>
                <a:cubicBezTo>
                  <a:pt x="435" y="240"/>
                  <a:pt x="435" y="240"/>
                  <a:pt x="435" y="240"/>
                </a:cubicBezTo>
                <a:cubicBezTo>
                  <a:pt x="436" y="239"/>
                  <a:pt x="436" y="239"/>
                  <a:pt x="436" y="239"/>
                </a:cubicBezTo>
                <a:cubicBezTo>
                  <a:pt x="437" y="239"/>
                  <a:pt x="437" y="239"/>
                  <a:pt x="437" y="239"/>
                </a:cubicBezTo>
                <a:cubicBezTo>
                  <a:pt x="437" y="240"/>
                  <a:pt x="437" y="240"/>
                  <a:pt x="437" y="240"/>
                </a:cubicBezTo>
                <a:cubicBezTo>
                  <a:pt x="438" y="240"/>
                  <a:pt x="438" y="240"/>
                  <a:pt x="438" y="240"/>
                </a:cubicBezTo>
                <a:cubicBezTo>
                  <a:pt x="440" y="241"/>
                  <a:pt x="440" y="241"/>
                  <a:pt x="440" y="241"/>
                </a:cubicBezTo>
                <a:cubicBezTo>
                  <a:pt x="440" y="242"/>
                  <a:pt x="440" y="242"/>
                  <a:pt x="440" y="242"/>
                </a:cubicBezTo>
                <a:cubicBezTo>
                  <a:pt x="440" y="243"/>
                  <a:pt x="440" y="243"/>
                  <a:pt x="440" y="243"/>
                </a:cubicBezTo>
                <a:cubicBezTo>
                  <a:pt x="440" y="244"/>
                  <a:pt x="440" y="244"/>
                  <a:pt x="440" y="244"/>
                </a:cubicBezTo>
                <a:cubicBezTo>
                  <a:pt x="440" y="244"/>
                  <a:pt x="440" y="244"/>
                  <a:pt x="440" y="244"/>
                </a:cubicBezTo>
                <a:cubicBezTo>
                  <a:pt x="439" y="244"/>
                  <a:pt x="439" y="244"/>
                  <a:pt x="439" y="244"/>
                </a:cubicBezTo>
                <a:cubicBezTo>
                  <a:pt x="438" y="243"/>
                  <a:pt x="438" y="243"/>
                  <a:pt x="438" y="243"/>
                </a:cubicBezTo>
                <a:cubicBezTo>
                  <a:pt x="438" y="243"/>
                  <a:pt x="438" y="243"/>
                  <a:pt x="438" y="243"/>
                </a:cubicBezTo>
                <a:cubicBezTo>
                  <a:pt x="437" y="244"/>
                  <a:pt x="437" y="244"/>
                  <a:pt x="437" y="244"/>
                </a:cubicBezTo>
                <a:cubicBezTo>
                  <a:pt x="437" y="244"/>
                  <a:pt x="437" y="244"/>
                  <a:pt x="437" y="244"/>
                </a:cubicBezTo>
                <a:cubicBezTo>
                  <a:pt x="436" y="243"/>
                  <a:pt x="436" y="243"/>
                  <a:pt x="436" y="243"/>
                </a:cubicBezTo>
                <a:cubicBezTo>
                  <a:pt x="436" y="243"/>
                  <a:pt x="436" y="243"/>
                  <a:pt x="436" y="243"/>
                </a:cubicBezTo>
                <a:cubicBezTo>
                  <a:pt x="435" y="243"/>
                  <a:pt x="435" y="243"/>
                  <a:pt x="435" y="243"/>
                </a:cubicBezTo>
                <a:cubicBezTo>
                  <a:pt x="434" y="242"/>
                  <a:pt x="434" y="242"/>
                  <a:pt x="434" y="242"/>
                </a:cubicBezTo>
                <a:cubicBezTo>
                  <a:pt x="433" y="241"/>
                  <a:pt x="433" y="241"/>
                  <a:pt x="433" y="241"/>
                </a:cubicBezTo>
                <a:cubicBezTo>
                  <a:pt x="432" y="241"/>
                  <a:pt x="432" y="241"/>
                  <a:pt x="432" y="241"/>
                </a:cubicBezTo>
                <a:cubicBezTo>
                  <a:pt x="431" y="242"/>
                  <a:pt x="431" y="242"/>
                  <a:pt x="431" y="242"/>
                </a:cubicBezTo>
                <a:cubicBezTo>
                  <a:pt x="430" y="241"/>
                  <a:pt x="430" y="241"/>
                  <a:pt x="430" y="241"/>
                </a:cubicBezTo>
                <a:cubicBezTo>
                  <a:pt x="431" y="242"/>
                  <a:pt x="431" y="242"/>
                  <a:pt x="431" y="242"/>
                </a:cubicBezTo>
                <a:cubicBezTo>
                  <a:pt x="432" y="242"/>
                  <a:pt x="432" y="242"/>
                  <a:pt x="432" y="242"/>
                </a:cubicBezTo>
                <a:cubicBezTo>
                  <a:pt x="433" y="242"/>
                  <a:pt x="433" y="242"/>
                  <a:pt x="433" y="242"/>
                </a:cubicBezTo>
                <a:cubicBezTo>
                  <a:pt x="432" y="243"/>
                  <a:pt x="432" y="243"/>
                  <a:pt x="432" y="243"/>
                </a:cubicBezTo>
                <a:cubicBezTo>
                  <a:pt x="431" y="243"/>
                  <a:pt x="431" y="243"/>
                  <a:pt x="431" y="243"/>
                </a:cubicBezTo>
                <a:cubicBezTo>
                  <a:pt x="430" y="243"/>
                  <a:pt x="430" y="243"/>
                  <a:pt x="430" y="243"/>
                </a:cubicBezTo>
                <a:cubicBezTo>
                  <a:pt x="429" y="243"/>
                  <a:pt x="429" y="243"/>
                  <a:pt x="429" y="243"/>
                </a:cubicBezTo>
                <a:cubicBezTo>
                  <a:pt x="428" y="244"/>
                  <a:pt x="428" y="244"/>
                  <a:pt x="428" y="244"/>
                </a:cubicBezTo>
                <a:cubicBezTo>
                  <a:pt x="428" y="245"/>
                  <a:pt x="428" y="245"/>
                  <a:pt x="428" y="245"/>
                </a:cubicBezTo>
                <a:cubicBezTo>
                  <a:pt x="429" y="245"/>
                  <a:pt x="429" y="245"/>
                  <a:pt x="429" y="245"/>
                </a:cubicBezTo>
                <a:cubicBezTo>
                  <a:pt x="429" y="244"/>
                  <a:pt x="429" y="244"/>
                  <a:pt x="429" y="244"/>
                </a:cubicBezTo>
                <a:cubicBezTo>
                  <a:pt x="431" y="244"/>
                  <a:pt x="431" y="244"/>
                  <a:pt x="431" y="244"/>
                </a:cubicBezTo>
                <a:cubicBezTo>
                  <a:pt x="432" y="243"/>
                  <a:pt x="432" y="243"/>
                  <a:pt x="432" y="243"/>
                </a:cubicBezTo>
                <a:cubicBezTo>
                  <a:pt x="432" y="243"/>
                  <a:pt x="432" y="243"/>
                  <a:pt x="432" y="243"/>
                </a:cubicBezTo>
                <a:cubicBezTo>
                  <a:pt x="433" y="244"/>
                  <a:pt x="433" y="244"/>
                  <a:pt x="433" y="244"/>
                </a:cubicBezTo>
                <a:cubicBezTo>
                  <a:pt x="433" y="245"/>
                  <a:pt x="433" y="245"/>
                  <a:pt x="433" y="245"/>
                </a:cubicBezTo>
                <a:cubicBezTo>
                  <a:pt x="434" y="245"/>
                  <a:pt x="434" y="245"/>
                  <a:pt x="434" y="245"/>
                </a:cubicBezTo>
                <a:cubicBezTo>
                  <a:pt x="434" y="245"/>
                  <a:pt x="434" y="245"/>
                  <a:pt x="434" y="245"/>
                </a:cubicBezTo>
                <a:cubicBezTo>
                  <a:pt x="434" y="246"/>
                  <a:pt x="434" y="246"/>
                  <a:pt x="434" y="246"/>
                </a:cubicBezTo>
                <a:cubicBezTo>
                  <a:pt x="433" y="246"/>
                  <a:pt x="433" y="246"/>
                  <a:pt x="433" y="246"/>
                </a:cubicBezTo>
                <a:cubicBezTo>
                  <a:pt x="432" y="246"/>
                  <a:pt x="432" y="246"/>
                  <a:pt x="432" y="246"/>
                </a:cubicBezTo>
                <a:cubicBezTo>
                  <a:pt x="431" y="246"/>
                  <a:pt x="431" y="246"/>
                  <a:pt x="431" y="246"/>
                </a:cubicBezTo>
                <a:cubicBezTo>
                  <a:pt x="431" y="245"/>
                  <a:pt x="431" y="245"/>
                  <a:pt x="431" y="245"/>
                </a:cubicBezTo>
                <a:cubicBezTo>
                  <a:pt x="430" y="245"/>
                  <a:pt x="430" y="245"/>
                  <a:pt x="430" y="245"/>
                </a:cubicBezTo>
                <a:cubicBezTo>
                  <a:pt x="430" y="246"/>
                  <a:pt x="430" y="246"/>
                  <a:pt x="430" y="246"/>
                </a:cubicBezTo>
                <a:cubicBezTo>
                  <a:pt x="431" y="246"/>
                  <a:pt x="431" y="246"/>
                  <a:pt x="431" y="246"/>
                </a:cubicBezTo>
                <a:cubicBezTo>
                  <a:pt x="432" y="247"/>
                  <a:pt x="432" y="247"/>
                  <a:pt x="432" y="247"/>
                </a:cubicBezTo>
                <a:cubicBezTo>
                  <a:pt x="432" y="247"/>
                  <a:pt x="432" y="247"/>
                  <a:pt x="432" y="247"/>
                </a:cubicBezTo>
                <a:cubicBezTo>
                  <a:pt x="432" y="248"/>
                  <a:pt x="432" y="248"/>
                  <a:pt x="432" y="248"/>
                </a:cubicBezTo>
                <a:cubicBezTo>
                  <a:pt x="433" y="248"/>
                  <a:pt x="433" y="248"/>
                  <a:pt x="433" y="248"/>
                </a:cubicBezTo>
                <a:cubicBezTo>
                  <a:pt x="432" y="249"/>
                  <a:pt x="432" y="249"/>
                  <a:pt x="432" y="249"/>
                </a:cubicBezTo>
                <a:cubicBezTo>
                  <a:pt x="430" y="248"/>
                  <a:pt x="430" y="248"/>
                  <a:pt x="430" y="248"/>
                </a:cubicBezTo>
                <a:cubicBezTo>
                  <a:pt x="428" y="248"/>
                  <a:pt x="428" y="248"/>
                  <a:pt x="428" y="248"/>
                </a:cubicBezTo>
                <a:cubicBezTo>
                  <a:pt x="426" y="247"/>
                  <a:pt x="426" y="247"/>
                  <a:pt x="426" y="247"/>
                </a:cubicBezTo>
                <a:cubicBezTo>
                  <a:pt x="425" y="247"/>
                  <a:pt x="425" y="247"/>
                  <a:pt x="425" y="247"/>
                </a:cubicBezTo>
                <a:cubicBezTo>
                  <a:pt x="425" y="247"/>
                  <a:pt x="425" y="247"/>
                  <a:pt x="425" y="247"/>
                </a:cubicBezTo>
                <a:cubicBezTo>
                  <a:pt x="427" y="248"/>
                  <a:pt x="427" y="248"/>
                  <a:pt x="427" y="248"/>
                </a:cubicBezTo>
                <a:cubicBezTo>
                  <a:pt x="430" y="249"/>
                  <a:pt x="430" y="249"/>
                  <a:pt x="430" y="249"/>
                </a:cubicBezTo>
                <a:cubicBezTo>
                  <a:pt x="430" y="250"/>
                  <a:pt x="430" y="250"/>
                  <a:pt x="430" y="250"/>
                </a:cubicBezTo>
                <a:cubicBezTo>
                  <a:pt x="430" y="250"/>
                  <a:pt x="430" y="250"/>
                  <a:pt x="430" y="250"/>
                </a:cubicBezTo>
                <a:cubicBezTo>
                  <a:pt x="428" y="249"/>
                  <a:pt x="428" y="249"/>
                  <a:pt x="428" y="249"/>
                </a:cubicBezTo>
                <a:cubicBezTo>
                  <a:pt x="427" y="249"/>
                  <a:pt x="427" y="249"/>
                  <a:pt x="427" y="249"/>
                </a:cubicBezTo>
                <a:cubicBezTo>
                  <a:pt x="426" y="250"/>
                  <a:pt x="426" y="250"/>
                  <a:pt x="426" y="250"/>
                </a:cubicBezTo>
                <a:cubicBezTo>
                  <a:pt x="427" y="250"/>
                  <a:pt x="427" y="250"/>
                  <a:pt x="427" y="250"/>
                </a:cubicBezTo>
                <a:cubicBezTo>
                  <a:pt x="428" y="250"/>
                  <a:pt x="428" y="250"/>
                  <a:pt x="428" y="250"/>
                </a:cubicBezTo>
                <a:cubicBezTo>
                  <a:pt x="428" y="251"/>
                  <a:pt x="428" y="251"/>
                  <a:pt x="428" y="251"/>
                </a:cubicBezTo>
                <a:cubicBezTo>
                  <a:pt x="429" y="251"/>
                  <a:pt x="429" y="251"/>
                  <a:pt x="429" y="251"/>
                </a:cubicBezTo>
                <a:cubicBezTo>
                  <a:pt x="429" y="251"/>
                  <a:pt x="429" y="251"/>
                  <a:pt x="429" y="251"/>
                </a:cubicBezTo>
                <a:cubicBezTo>
                  <a:pt x="429" y="252"/>
                  <a:pt x="429" y="252"/>
                  <a:pt x="429" y="252"/>
                </a:cubicBezTo>
                <a:cubicBezTo>
                  <a:pt x="430" y="253"/>
                  <a:pt x="430" y="253"/>
                  <a:pt x="430" y="253"/>
                </a:cubicBezTo>
                <a:cubicBezTo>
                  <a:pt x="430" y="252"/>
                  <a:pt x="430" y="252"/>
                  <a:pt x="430" y="252"/>
                </a:cubicBezTo>
                <a:cubicBezTo>
                  <a:pt x="430" y="252"/>
                  <a:pt x="430" y="252"/>
                  <a:pt x="430" y="252"/>
                </a:cubicBezTo>
                <a:cubicBezTo>
                  <a:pt x="431" y="252"/>
                  <a:pt x="431" y="252"/>
                  <a:pt x="431" y="252"/>
                </a:cubicBezTo>
                <a:cubicBezTo>
                  <a:pt x="431" y="252"/>
                  <a:pt x="431" y="252"/>
                  <a:pt x="431" y="252"/>
                </a:cubicBezTo>
                <a:cubicBezTo>
                  <a:pt x="431" y="253"/>
                  <a:pt x="431" y="253"/>
                  <a:pt x="431" y="253"/>
                </a:cubicBezTo>
                <a:cubicBezTo>
                  <a:pt x="431" y="253"/>
                  <a:pt x="431" y="253"/>
                  <a:pt x="431" y="253"/>
                </a:cubicBezTo>
                <a:cubicBezTo>
                  <a:pt x="432" y="253"/>
                  <a:pt x="432" y="253"/>
                  <a:pt x="432" y="253"/>
                </a:cubicBezTo>
                <a:cubicBezTo>
                  <a:pt x="432" y="252"/>
                  <a:pt x="432" y="252"/>
                  <a:pt x="432" y="252"/>
                </a:cubicBezTo>
                <a:cubicBezTo>
                  <a:pt x="433" y="252"/>
                  <a:pt x="433" y="252"/>
                  <a:pt x="433" y="252"/>
                </a:cubicBezTo>
                <a:cubicBezTo>
                  <a:pt x="434" y="253"/>
                  <a:pt x="434" y="253"/>
                  <a:pt x="434" y="253"/>
                </a:cubicBezTo>
                <a:cubicBezTo>
                  <a:pt x="435" y="253"/>
                  <a:pt x="435" y="253"/>
                  <a:pt x="435" y="253"/>
                </a:cubicBezTo>
                <a:cubicBezTo>
                  <a:pt x="436" y="253"/>
                  <a:pt x="436" y="253"/>
                  <a:pt x="436" y="253"/>
                </a:cubicBezTo>
                <a:cubicBezTo>
                  <a:pt x="435" y="254"/>
                  <a:pt x="435" y="254"/>
                  <a:pt x="435" y="254"/>
                </a:cubicBezTo>
                <a:cubicBezTo>
                  <a:pt x="435" y="255"/>
                  <a:pt x="435" y="255"/>
                  <a:pt x="435" y="255"/>
                </a:cubicBezTo>
                <a:cubicBezTo>
                  <a:pt x="434" y="254"/>
                  <a:pt x="434" y="254"/>
                  <a:pt x="434" y="254"/>
                </a:cubicBezTo>
                <a:cubicBezTo>
                  <a:pt x="434" y="254"/>
                  <a:pt x="434" y="254"/>
                  <a:pt x="434" y="254"/>
                </a:cubicBezTo>
                <a:cubicBezTo>
                  <a:pt x="432" y="254"/>
                  <a:pt x="432" y="254"/>
                  <a:pt x="432" y="254"/>
                </a:cubicBezTo>
                <a:cubicBezTo>
                  <a:pt x="430" y="255"/>
                  <a:pt x="430" y="255"/>
                  <a:pt x="430" y="255"/>
                </a:cubicBezTo>
                <a:cubicBezTo>
                  <a:pt x="430" y="256"/>
                  <a:pt x="430" y="256"/>
                  <a:pt x="430" y="256"/>
                </a:cubicBezTo>
                <a:cubicBezTo>
                  <a:pt x="431" y="255"/>
                  <a:pt x="431" y="255"/>
                  <a:pt x="431" y="255"/>
                </a:cubicBezTo>
                <a:cubicBezTo>
                  <a:pt x="432" y="255"/>
                  <a:pt x="432" y="255"/>
                  <a:pt x="432" y="255"/>
                </a:cubicBezTo>
                <a:cubicBezTo>
                  <a:pt x="434" y="255"/>
                  <a:pt x="434" y="255"/>
                  <a:pt x="434" y="255"/>
                </a:cubicBezTo>
                <a:cubicBezTo>
                  <a:pt x="433" y="255"/>
                  <a:pt x="433" y="255"/>
                  <a:pt x="433" y="255"/>
                </a:cubicBezTo>
                <a:cubicBezTo>
                  <a:pt x="432" y="256"/>
                  <a:pt x="432" y="256"/>
                  <a:pt x="432" y="256"/>
                </a:cubicBezTo>
                <a:cubicBezTo>
                  <a:pt x="433" y="256"/>
                  <a:pt x="433" y="256"/>
                  <a:pt x="433" y="256"/>
                </a:cubicBezTo>
                <a:cubicBezTo>
                  <a:pt x="435" y="256"/>
                  <a:pt x="435" y="256"/>
                  <a:pt x="435" y="256"/>
                </a:cubicBezTo>
                <a:cubicBezTo>
                  <a:pt x="435" y="256"/>
                  <a:pt x="435" y="256"/>
                  <a:pt x="435" y="256"/>
                </a:cubicBezTo>
                <a:cubicBezTo>
                  <a:pt x="435" y="257"/>
                  <a:pt x="435" y="257"/>
                  <a:pt x="435" y="257"/>
                </a:cubicBezTo>
                <a:cubicBezTo>
                  <a:pt x="436" y="257"/>
                  <a:pt x="436" y="257"/>
                  <a:pt x="436" y="257"/>
                </a:cubicBezTo>
                <a:cubicBezTo>
                  <a:pt x="436" y="258"/>
                  <a:pt x="436" y="258"/>
                  <a:pt x="436" y="258"/>
                </a:cubicBezTo>
                <a:cubicBezTo>
                  <a:pt x="436" y="259"/>
                  <a:pt x="436" y="259"/>
                  <a:pt x="436" y="259"/>
                </a:cubicBezTo>
                <a:cubicBezTo>
                  <a:pt x="435" y="260"/>
                  <a:pt x="435" y="260"/>
                  <a:pt x="435" y="260"/>
                </a:cubicBezTo>
                <a:cubicBezTo>
                  <a:pt x="435" y="261"/>
                  <a:pt x="435" y="261"/>
                  <a:pt x="435" y="261"/>
                </a:cubicBezTo>
                <a:cubicBezTo>
                  <a:pt x="436" y="260"/>
                  <a:pt x="436" y="260"/>
                  <a:pt x="436" y="260"/>
                </a:cubicBezTo>
                <a:cubicBezTo>
                  <a:pt x="436" y="260"/>
                  <a:pt x="436" y="260"/>
                  <a:pt x="436" y="260"/>
                </a:cubicBezTo>
                <a:cubicBezTo>
                  <a:pt x="437" y="259"/>
                  <a:pt x="437" y="259"/>
                  <a:pt x="437" y="259"/>
                </a:cubicBezTo>
                <a:cubicBezTo>
                  <a:pt x="438" y="259"/>
                  <a:pt x="438" y="259"/>
                  <a:pt x="438" y="259"/>
                </a:cubicBezTo>
                <a:cubicBezTo>
                  <a:pt x="438" y="260"/>
                  <a:pt x="438" y="260"/>
                  <a:pt x="438" y="260"/>
                </a:cubicBezTo>
                <a:cubicBezTo>
                  <a:pt x="437" y="260"/>
                  <a:pt x="437" y="260"/>
                  <a:pt x="437" y="260"/>
                </a:cubicBezTo>
                <a:cubicBezTo>
                  <a:pt x="436" y="262"/>
                  <a:pt x="436" y="262"/>
                  <a:pt x="436" y="262"/>
                </a:cubicBezTo>
                <a:cubicBezTo>
                  <a:pt x="436" y="263"/>
                  <a:pt x="436" y="263"/>
                  <a:pt x="436" y="263"/>
                </a:cubicBezTo>
                <a:cubicBezTo>
                  <a:pt x="436" y="264"/>
                  <a:pt x="436" y="264"/>
                  <a:pt x="436" y="264"/>
                </a:cubicBezTo>
                <a:cubicBezTo>
                  <a:pt x="436" y="264"/>
                  <a:pt x="436" y="264"/>
                  <a:pt x="436" y="264"/>
                </a:cubicBezTo>
                <a:cubicBezTo>
                  <a:pt x="437" y="262"/>
                  <a:pt x="437" y="262"/>
                  <a:pt x="437" y="262"/>
                </a:cubicBezTo>
                <a:cubicBezTo>
                  <a:pt x="437" y="262"/>
                  <a:pt x="437" y="262"/>
                  <a:pt x="437" y="262"/>
                </a:cubicBezTo>
                <a:cubicBezTo>
                  <a:pt x="438" y="261"/>
                  <a:pt x="438" y="261"/>
                  <a:pt x="438" y="261"/>
                </a:cubicBezTo>
                <a:cubicBezTo>
                  <a:pt x="439" y="260"/>
                  <a:pt x="439" y="260"/>
                  <a:pt x="439" y="260"/>
                </a:cubicBezTo>
                <a:cubicBezTo>
                  <a:pt x="439" y="260"/>
                  <a:pt x="439" y="260"/>
                  <a:pt x="439" y="260"/>
                </a:cubicBezTo>
                <a:cubicBezTo>
                  <a:pt x="439" y="259"/>
                  <a:pt x="439" y="259"/>
                  <a:pt x="439" y="259"/>
                </a:cubicBezTo>
                <a:cubicBezTo>
                  <a:pt x="440" y="259"/>
                  <a:pt x="440" y="259"/>
                  <a:pt x="440" y="259"/>
                </a:cubicBezTo>
                <a:cubicBezTo>
                  <a:pt x="440" y="259"/>
                  <a:pt x="440" y="259"/>
                  <a:pt x="440" y="259"/>
                </a:cubicBezTo>
                <a:cubicBezTo>
                  <a:pt x="440" y="260"/>
                  <a:pt x="440" y="260"/>
                  <a:pt x="440" y="260"/>
                </a:cubicBezTo>
                <a:cubicBezTo>
                  <a:pt x="439" y="261"/>
                  <a:pt x="439" y="261"/>
                  <a:pt x="439" y="261"/>
                </a:cubicBezTo>
                <a:cubicBezTo>
                  <a:pt x="438" y="262"/>
                  <a:pt x="438" y="262"/>
                  <a:pt x="438" y="262"/>
                </a:cubicBezTo>
                <a:cubicBezTo>
                  <a:pt x="438" y="263"/>
                  <a:pt x="438" y="263"/>
                  <a:pt x="438" y="263"/>
                </a:cubicBezTo>
                <a:cubicBezTo>
                  <a:pt x="439" y="264"/>
                  <a:pt x="439" y="264"/>
                  <a:pt x="439" y="264"/>
                </a:cubicBezTo>
                <a:cubicBezTo>
                  <a:pt x="439" y="264"/>
                  <a:pt x="439" y="264"/>
                  <a:pt x="439" y="264"/>
                </a:cubicBezTo>
                <a:cubicBezTo>
                  <a:pt x="439" y="263"/>
                  <a:pt x="439" y="263"/>
                  <a:pt x="439" y="263"/>
                </a:cubicBezTo>
                <a:cubicBezTo>
                  <a:pt x="439" y="262"/>
                  <a:pt x="439" y="262"/>
                  <a:pt x="439" y="262"/>
                </a:cubicBezTo>
                <a:cubicBezTo>
                  <a:pt x="440" y="261"/>
                  <a:pt x="440" y="261"/>
                  <a:pt x="440" y="261"/>
                </a:cubicBezTo>
                <a:cubicBezTo>
                  <a:pt x="441" y="261"/>
                  <a:pt x="441" y="261"/>
                  <a:pt x="441" y="261"/>
                </a:cubicBezTo>
                <a:cubicBezTo>
                  <a:pt x="442" y="259"/>
                  <a:pt x="442" y="259"/>
                  <a:pt x="442" y="259"/>
                </a:cubicBezTo>
                <a:cubicBezTo>
                  <a:pt x="443" y="259"/>
                  <a:pt x="443" y="259"/>
                  <a:pt x="443" y="259"/>
                </a:cubicBezTo>
                <a:cubicBezTo>
                  <a:pt x="443" y="259"/>
                  <a:pt x="443" y="259"/>
                  <a:pt x="443" y="259"/>
                </a:cubicBezTo>
                <a:cubicBezTo>
                  <a:pt x="443" y="260"/>
                  <a:pt x="443" y="260"/>
                  <a:pt x="443" y="260"/>
                </a:cubicBezTo>
                <a:cubicBezTo>
                  <a:pt x="443" y="261"/>
                  <a:pt x="443" y="261"/>
                  <a:pt x="443" y="261"/>
                </a:cubicBezTo>
                <a:cubicBezTo>
                  <a:pt x="441" y="261"/>
                  <a:pt x="441" y="261"/>
                  <a:pt x="441" y="261"/>
                </a:cubicBezTo>
                <a:cubicBezTo>
                  <a:pt x="441" y="262"/>
                  <a:pt x="441" y="262"/>
                  <a:pt x="441" y="262"/>
                </a:cubicBezTo>
                <a:cubicBezTo>
                  <a:pt x="441" y="263"/>
                  <a:pt x="441" y="263"/>
                  <a:pt x="441" y="263"/>
                </a:cubicBezTo>
                <a:cubicBezTo>
                  <a:pt x="441" y="264"/>
                  <a:pt x="441" y="264"/>
                  <a:pt x="441" y="264"/>
                </a:cubicBezTo>
                <a:cubicBezTo>
                  <a:pt x="441" y="263"/>
                  <a:pt x="441" y="263"/>
                  <a:pt x="441" y="263"/>
                </a:cubicBezTo>
                <a:cubicBezTo>
                  <a:pt x="442" y="264"/>
                  <a:pt x="442" y="264"/>
                  <a:pt x="442" y="264"/>
                </a:cubicBezTo>
                <a:cubicBezTo>
                  <a:pt x="443" y="263"/>
                  <a:pt x="443" y="263"/>
                  <a:pt x="443" y="263"/>
                </a:cubicBezTo>
                <a:cubicBezTo>
                  <a:pt x="444" y="263"/>
                  <a:pt x="444" y="263"/>
                  <a:pt x="444" y="263"/>
                </a:cubicBezTo>
                <a:cubicBezTo>
                  <a:pt x="444" y="263"/>
                  <a:pt x="444" y="263"/>
                  <a:pt x="444" y="263"/>
                </a:cubicBezTo>
                <a:cubicBezTo>
                  <a:pt x="445" y="265"/>
                  <a:pt x="445" y="265"/>
                  <a:pt x="445" y="265"/>
                </a:cubicBezTo>
                <a:cubicBezTo>
                  <a:pt x="445" y="265"/>
                  <a:pt x="445" y="265"/>
                  <a:pt x="445" y="265"/>
                </a:cubicBezTo>
                <a:cubicBezTo>
                  <a:pt x="444" y="266"/>
                  <a:pt x="444" y="266"/>
                  <a:pt x="444" y="266"/>
                </a:cubicBezTo>
                <a:cubicBezTo>
                  <a:pt x="444" y="266"/>
                  <a:pt x="444" y="266"/>
                  <a:pt x="444" y="266"/>
                </a:cubicBezTo>
                <a:cubicBezTo>
                  <a:pt x="444" y="266"/>
                  <a:pt x="444" y="266"/>
                  <a:pt x="444" y="266"/>
                </a:cubicBezTo>
                <a:cubicBezTo>
                  <a:pt x="445" y="267"/>
                  <a:pt x="445" y="267"/>
                  <a:pt x="445" y="267"/>
                </a:cubicBezTo>
                <a:cubicBezTo>
                  <a:pt x="444" y="268"/>
                  <a:pt x="444" y="268"/>
                  <a:pt x="444" y="268"/>
                </a:cubicBezTo>
                <a:cubicBezTo>
                  <a:pt x="443" y="268"/>
                  <a:pt x="443" y="268"/>
                  <a:pt x="443" y="268"/>
                </a:cubicBezTo>
                <a:cubicBezTo>
                  <a:pt x="444" y="268"/>
                  <a:pt x="444" y="268"/>
                  <a:pt x="444" y="268"/>
                </a:cubicBezTo>
                <a:cubicBezTo>
                  <a:pt x="445" y="269"/>
                  <a:pt x="445" y="269"/>
                  <a:pt x="445" y="269"/>
                </a:cubicBezTo>
                <a:cubicBezTo>
                  <a:pt x="443" y="269"/>
                  <a:pt x="443" y="269"/>
                  <a:pt x="443" y="269"/>
                </a:cubicBezTo>
                <a:cubicBezTo>
                  <a:pt x="442" y="269"/>
                  <a:pt x="442" y="269"/>
                  <a:pt x="442" y="269"/>
                </a:cubicBezTo>
                <a:cubicBezTo>
                  <a:pt x="442" y="270"/>
                  <a:pt x="442" y="270"/>
                  <a:pt x="442" y="270"/>
                </a:cubicBezTo>
                <a:cubicBezTo>
                  <a:pt x="443" y="269"/>
                  <a:pt x="443" y="269"/>
                  <a:pt x="443" y="269"/>
                </a:cubicBezTo>
                <a:cubicBezTo>
                  <a:pt x="445" y="270"/>
                  <a:pt x="445" y="270"/>
                  <a:pt x="445" y="270"/>
                </a:cubicBezTo>
                <a:cubicBezTo>
                  <a:pt x="445" y="269"/>
                  <a:pt x="445" y="269"/>
                  <a:pt x="445" y="269"/>
                </a:cubicBezTo>
                <a:cubicBezTo>
                  <a:pt x="447" y="269"/>
                  <a:pt x="447" y="269"/>
                  <a:pt x="447" y="269"/>
                </a:cubicBezTo>
                <a:cubicBezTo>
                  <a:pt x="447" y="269"/>
                  <a:pt x="447" y="269"/>
                  <a:pt x="447" y="269"/>
                </a:cubicBezTo>
                <a:cubicBezTo>
                  <a:pt x="446" y="270"/>
                  <a:pt x="446" y="270"/>
                  <a:pt x="446" y="270"/>
                </a:cubicBezTo>
                <a:cubicBezTo>
                  <a:pt x="445" y="272"/>
                  <a:pt x="445" y="272"/>
                  <a:pt x="445" y="272"/>
                </a:cubicBezTo>
                <a:cubicBezTo>
                  <a:pt x="447" y="271"/>
                  <a:pt x="447" y="271"/>
                  <a:pt x="447" y="271"/>
                </a:cubicBezTo>
                <a:cubicBezTo>
                  <a:pt x="447" y="270"/>
                  <a:pt x="447" y="270"/>
                  <a:pt x="447" y="270"/>
                </a:cubicBezTo>
                <a:cubicBezTo>
                  <a:pt x="448" y="269"/>
                  <a:pt x="448" y="269"/>
                  <a:pt x="448" y="269"/>
                </a:cubicBezTo>
                <a:cubicBezTo>
                  <a:pt x="449" y="269"/>
                  <a:pt x="449" y="269"/>
                  <a:pt x="449" y="269"/>
                </a:cubicBezTo>
                <a:cubicBezTo>
                  <a:pt x="450" y="269"/>
                  <a:pt x="450" y="269"/>
                  <a:pt x="450" y="269"/>
                </a:cubicBezTo>
                <a:cubicBezTo>
                  <a:pt x="450" y="269"/>
                  <a:pt x="450" y="269"/>
                  <a:pt x="450" y="269"/>
                </a:cubicBezTo>
                <a:cubicBezTo>
                  <a:pt x="449" y="270"/>
                  <a:pt x="449" y="270"/>
                  <a:pt x="449" y="270"/>
                </a:cubicBezTo>
                <a:cubicBezTo>
                  <a:pt x="449" y="270"/>
                  <a:pt x="449" y="270"/>
                  <a:pt x="449" y="270"/>
                </a:cubicBezTo>
                <a:cubicBezTo>
                  <a:pt x="448" y="271"/>
                  <a:pt x="448" y="271"/>
                  <a:pt x="448" y="271"/>
                </a:cubicBezTo>
                <a:cubicBezTo>
                  <a:pt x="448" y="272"/>
                  <a:pt x="448" y="272"/>
                  <a:pt x="448" y="272"/>
                </a:cubicBezTo>
                <a:cubicBezTo>
                  <a:pt x="446" y="273"/>
                  <a:pt x="446" y="273"/>
                  <a:pt x="446" y="273"/>
                </a:cubicBezTo>
                <a:cubicBezTo>
                  <a:pt x="446" y="274"/>
                  <a:pt x="446" y="274"/>
                  <a:pt x="446" y="274"/>
                </a:cubicBezTo>
                <a:cubicBezTo>
                  <a:pt x="446" y="275"/>
                  <a:pt x="446" y="275"/>
                  <a:pt x="446" y="275"/>
                </a:cubicBezTo>
                <a:cubicBezTo>
                  <a:pt x="447" y="275"/>
                  <a:pt x="447" y="275"/>
                  <a:pt x="447" y="275"/>
                </a:cubicBezTo>
                <a:cubicBezTo>
                  <a:pt x="447" y="274"/>
                  <a:pt x="447" y="274"/>
                  <a:pt x="447" y="274"/>
                </a:cubicBezTo>
                <a:cubicBezTo>
                  <a:pt x="447" y="273"/>
                  <a:pt x="447" y="273"/>
                  <a:pt x="447" y="273"/>
                </a:cubicBezTo>
                <a:cubicBezTo>
                  <a:pt x="449" y="272"/>
                  <a:pt x="449" y="272"/>
                  <a:pt x="449" y="272"/>
                </a:cubicBezTo>
                <a:cubicBezTo>
                  <a:pt x="450" y="272"/>
                  <a:pt x="450" y="272"/>
                  <a:pt x="450" y="272"/>
                </a:cubicBezTo>
                <a:cubicBezTo>
                  <a:pt x="450" y="272"/>
                  <a:pt x="450" y="272"/>
                  <a:pt x="450" y="272"/>
                </a:cubicBezTo>
                <a:cubicBezTo>
                  <a:pt x="449" y="274"/>
                  <a:pt x="449" y="274"/>
                  <a:pt x="449" y="274"/>
                </a:cubicBezTo>
                <a:cubicBezTo>
                  <a:pt x="449" y="275"/>
                  <a:pt x="449" y="275"/>
                  <a:pt x="449" y="275"/>
                </a:cubicBezTo>
                <a:cubicBezTo>
                  <a:pt x="448" y="276"/>
                  <a:pt x="448" y="276"/>
                  <a:pt x="448" y="276"/>
                </a:cubicBezTo>
                <a:cubicBezTo>
                  <a:pt x="449" y="275"/>
                  <a:pt x="449" y="275"/>
                  <a:pt x="449" y="275"/>
                </a:cubicBezTo>
                <a:cubicBezTo>
                  <a:pt x="450" y="274"/>
                  <a:pt x="450" y="274"/>
                  <a:pt x="450" y="274"/>
                </a:cubicBezTo>
                <a:cubicBezTo>
                  <a:pt x="450" y="273"/>
                  <a:pt x="450" y="273"/>
                  <a:pt x="450" y="273"/>
                </a:cubicBezTo>
                <a:cubicBezTo>
                  <a:pt x="450" y="273"/>
                  <a:pt x="450" y="273"/>
                  <a:pt x="450" y="273"/>
                </a:cubicBezTo>
                <a:cubicBezTo>
                  <a:pt x="451" y="273"/>
                  <a:pt x="451" y="273"/>
                  <a:pt x="451" y="273"/>
                </a:cubicBezTo>
                <a:cubicBezTo>
                  <a:pt x="451" y="275"/>
                  <a:pt x="451" y="275"/>
                  <a:pt x="451" y="275"/>
                </a:cubicBezTo>
                <a:cubicBezTo>
                  <a:pt x="452" y="275"/>
                  <a:pt x="452" y="275"/>
                  <a:pt x="452" y="275"/>
                </a:cubicBezTo>
                <a:cubicBezTo>
                  <a:pt x="452" y="275"/>
                  <a:pt x="452" y="275"/>
                  <a:pt x="452" y="275"/>
                </a:cubicBezTo>
                <a:cubicBezTo>
                  <a:pt x="452" y="274"/>
                  <a:pt x="452" y="274"/>
                  <a:pt x="452" y="274"/>
                </a:cubicBezTo>
                <a:cubicBezTo>
                  <a:pt x="452" y="273"/>
                  <a:pt x="452" y="273"/>
                  <a:pt x="452" y="273"/>
                </a:cubicBezTo>
                <a:cubicBezTo>
                  <a:pt x="454" y="273"/>
                  <a:pt x="454" y="273"/>
                  <a:pt x="454" y="273"/>
                </a:cubicBezTo>
                <a:cubicBezTo>
                  <a:pt x="454" y="273"/>
                  <a:pt x="454" y="273"/>
                  <a:pt x="454" y="273"/>
                </a:cubicBezTo>
                <a:cubicBezTo>
                  <a:pt x="454" y="274"/>
                  <a:pt x="454" y="274"/>
                  <a:pt x="454" y="274"/>
                </a:cubicBezTo>
                <a:cubicBezTo>
                  <a:pt x="454" y="274"/>
                  <a:pt x="454" y="274"/>
                  <a:pt x="454" y="274"/>
                </a:cubicBezTo>
                <a:cubicBezTo>
                  <a:pt x="455" y="274"/>
                  <a:pt x="455" y="274"/>
                  <a:pt x="455" y="274"/>
                </a:cubicBezTo>
                <a:cubicBezTo>
                  <a:pt x="455" y="274"/>
                  <a:pt x="455" y="274"/>
                  <a:pt x="455" y="274"/>
                </a:cubicBezTo>
                <a:cubicBezTo>
                  <a:pt x="455" y="276"/>
                  <a:pt x="455" y="276"/>
                  <a:pt x="455" y="276"/>
                </a:cubicBezTo>
                <a:cubicBezTo>
                  <a:pt x="456" y="276"/>
                  <a:pt x="456" y="276"/>
                  <a:pt x="456" y="276"/>
                </a:cubicBezTo>
                <a:cubicBezTo>
                  <a:pt x="456" y="276"/>
                  <a:pt x="456" y="276"/>
                  <a:pt x="456" y="276"/>
                </a:cubicBezTo>
                <a:cubicBezTo>
                  <a:pt x="457" y="277"/>
                  <a:pt x="457" y="277"/>
                  <a:pt x="457" y="277"/>
                </a:cubicBezTo>
                <a:cubicBezTo>
                  <a:pt x="457" y="278"/>
                  <a:pt x="457" y="278"/>
                  <a:pt x="457" y="278"/>
                </a:cubicBezTo>
                <a:cubicBezTo>
                  <a:pt x="457" y="278"/>
                  <a:pt x="457" y="278"/>
                  <a:pt x="457" y="278"/>
                </a:cubicBezTo>
                <a:cubicBezTo>
                  <a:pt x="457" y="279"/>
                  <a:pt x="457" y="279"/>
                  <a:pt x="457" y="279"/>
                </a:cubicBezTo>
                <a:cubicBezTo>
                  <a:pt x="457" y="279"/>
                  <a:pt x="457" y="279"/>
                  <a:pt x="457" y="279"/>
                </a:cubicBezTo>
                <a:cubicBezTo>
                  <a:pt x="455" y="279"/>
                  <a:pt x="455" y="279"/>
                  <a:pt x="455" y="279"/>
                </a:cubicBezTo>
                <a:cubicBezTo>
                  <a:pt x="455" y="278"/>
                  <a:pt x="455" y="278"/>
                  <a:pt x="455" y="278"/>
                </a:cubicBezTo>
                <a:cubicBezTo>
                  <a:pt x="455" y="278"/>
                  <a:pt x="455" y="278"/>
                  <a:pt x="455" y="278"/>
                </a:cubicBezTo>
                <a:cubicBezTo>
                  <a:pt x="454" y="277"/>
                  <a:pt x="454" y="277"/>
                  <a:pt x="454" y="277"/>
                </a:cubicBezTo>
                <a:cubicBezTo>
                  <a:pt x="454" y="277"/>
                  <a:pt x="454" y="277"/>
                  <a:pt x="454" y="277"/>
                </a:cubicBezTo>
                <a:cubicBezTo>
                  <a:pt x="453" y="277"/>
                  <a:pt x="453" y="277"/>
                  <a:pt x="453" y="277"/>
                </a:cubicBezTo>
                <a:cubicBezTo>
                  <a:pt x="453" y="278"/>
                  <a:pt x="453" y="278"/>
                  <a:pt x="453" y="278"/>
                </a:cubicBezTo>
                <a:cubicBezTo>
                  <a:pt x="453" y="278"/>
                  <a:pt x="453" y="278"/>
                  <a:pt x="453" y="278"/>
                </a:cubicBezTo>
                <a:cubicBezTo>
                  <a:pt x="454" y="278"/>
                  <a:pt x="454" y="278"/>
                  <a:pt x="454" y="278"/>
                </a:cubicBezTo>
                <a:cubicBezTo>
                  <a:pt x="454" y="279"/>
                  <a:pt x="454" y="279"/>
                  <a:pt x="454" y="279"/>
                </a:cubicBezTo>
                <a:cubicBezTo>
                  <a:pt x="454" y="279"/>
                  <a:pt x="454" y="279"/>
                  <a:pt x="454" y="279"/>
                </a:cubicBezTo>
                <a:cubicBezTo>
                  <a:pt x="455" y="279"/>
                  <a:pt x="455" y="279"/>
                  <a:pt x="455" y="279"/>
                </a:cubicBezTo>
                <a:cubicBezTo>
                  <a:pt x="455" y="280"/>
                  <a:pt x="455" y="280"/>
                  <a:pt x="455" y="280"/>
                </a:cubicBezTo>
                <a:cubicBezTo>
                  <a:pt x="454" y="280"/>
                  <a:pt x="454" y="280"/>
                  <a:pt x="454" y="280"/>
                </a:cubicBezTo>
                <a:cubicBezTo>
                  <a:pt x="453" y="280"/>
                  <a:pt x="453" y="280"/>
                  <a:pt x="453" y="280"/>
                </a:cubicBezTo>
                <a:cubicBezTo>
                  <a:pt x="453" y="280"/>
                  <a:pt x="453" y="280"/>
                  <a:pt x="453" y="280"/>
                </a:cubicBezTo>
                <a:cubicBezTo>
                  <a:pt x="453" y="281"/>
                  <a:pt x="453" y="281"/>
                  <a:pt x="453" y="281"/>
                </a:cubicBezTo>
                <a:cubicBezTo>
                  <a:pt x="455" y="281"/>
                  <a:pt x="455" y="281"/>
                  <a:pt x="455" y="281"/>
                </a:cubicBezTo>
                <a:cubicBezTo>
                  <a:pt x="455" y="281"/>
                  <a:pt x="455" y="281"/>
                  <a:pt x="455" y="281"/>
                </a:cubicBezTo>
                <a:cubicBezTo>
                  <a:pt x="455" y="281"/>
                  <a:pt x="455" y="281"/>
                  <a:pt x="455" y="281"/>
                </a:cubicBezTo>
                <a:cubicBezTo>
                  <a:pt x="455" y="282"/>
                  <a:pt x="455" y="282"/>
                  <a:pt x="455" y="282"/>
                </a:cubicBezTo>
                <a:cubicBezTo>
                  <a:pt x="454" y="282"/>
                  <a:pt x="454" y="282"/>
                  <a:pt x="454" y="282"/>
                </a:cubicBezTo>
                <a:cubicBezTo>
                  <a:pt x="453" y="282"/>
                  <a:pt x="453" y="282"/>
                  <a:pt x="453" y="282"/>
                </a:cubicBezTo>
                <a:cubicBezTo>
                  <a:pt x="452" y="282"/>
                  <a:pt x="452" y="282"/>
                  <a:pt x="452" y="282"/>
                </a:cubicBezTo>
                <a:cubicBezTo>
                  <a:pt x="451" y="282"/>
                  <a:pt x="451" y="282"/>
                  <a:pt x="451" y="282"/>
                </a:cubicBezTo>
                <a:cubicBezTo>
                  <a:pt x="451" y="281"/>
                  <a:pt x="451" y="281"/>
                  <a:pt x="451" y="281"/>
                </a:cubicBezTo>
                <a:cubicBezTo>
                  <a:pt x="451" y="280"/>
                  <a:pt x="451" y="280"/>
                  <a:pt x="451" y="280"/>
                </a:cubicBezTo>
                <a:cubicBezTo>
                  <a:pt x="450" y="280"/>
                  <a:pt x="450" y="280"/>
                  <a:pt x="450" y="280"/>
                </a:cubicBezTo>
                <a:cubicBezTo>
                  <a:pt x="450" y="279"/>
                  <a:pt x="450" y="279"/>
                  <a:pt x="450" y="279"/>
                </a:cubicBezTo>
                <a:cubicBezTo>
                  <a:pt x="449" y="279"/>
                  <a:pt x="449" y="279"/>
                  <a:pt x="449" y="279"/>
                </a:cubicBezTo>
                <a:cubicBezTo>
                  <a:pt x="449" y="280"/>
                  <a:pt x="449" y="280"/>
                  <a:pt x="449" y="280"/>
                </a:cubicBezTo>
                <a:cubicBezTo>
                  <a:pt x="450" y="281"/>
                  <a:pt x="450" y="281"/>
                  <a:pt x="450" y="281"/>
                </a:cubicBezTo>
                <a:cubicBezTo>
                  <a:pt x="450" y="281"/>
                  <a:pt x="450" y="281"/>
                  <a:pt x="450" y="281"/>
                </a:cubicBezTo>
                <a:cubicBezTo>
                  <a:pt x="450" y="282"/>
                  <a:pt x="450" y="282"/>
                  <a:pt x="450" y="282"/>
                </a:cubicBezTo>
                <a:cubicBezTo>
                  <a:pt x="449" y="282"/>
                  <a:pt x="449" y="282"/>
                  <a:pt x="449" y="282"/>
                </a:cubicBezTo>
                <a:cubicBezTo>
                  <a:pt x="448" y="281"/>
                  <a:pt x="448" y="281"/>
                  <a:pt x="448" y="281"/>
                </a:cubicBezTo>
                <a:cubicBezTo>
                  <a:pt x="448" y="281"/>
                  <a:pt x="448" y="281"/>
                  <a:pt x="448" y="281"/>
                </a:cubicBezTo>
                <a:cubicBezTo>
                  <a:pt x="448" y="282"/>
                  <a:pt x="448" y="282"/>
                  <a:pt x="448" y="282"/>
                </a:cubicBezTo>
                <a:cubicBezTo>
                  <a:pt x="449" y="283"/>
                  <a:pt x="449" y="283"/>
                  <a:pt x="449" y="283"/>
                </a:cubicBezTo>
                <a:cubicBezTo>
                  <a:pt x="450" y="283"/>
                  <a:pt x="450" y="283"/>
                  <a:pt x="450" y="283"/>
                </a:cubicBezTo>
                <a:cubicBezTo>
                  <a:pt x="450" y="283"/>
                  <a:pt x="450" y="283"/>
                  <a:pt x="450" y="283"/>
                </a:cubicBezTo>
                <a:cubicBezTo>
                  <a:pt x="451" y="283"/>
                  <a:pt x="451" y="283"/>
                  <a:pt x="451" y="283"/>
                </a:cubicBezTo>
                <a:cubicBezTo>
                  <a:pt x="451" y="284"/>
                  <a:pt x="451" y="284"/>
                  <a:pt x="451" y="284"/>
                </a:cubicBezTo>
                <a:cubicBezTo>
                  <a:pt x="451" y="285"/>
                  <a:pt x="451" y="285"/>
                  <a:pt x="451" y="285"/>
                </a:cubicBezTo>
                <a:cubicBezTo>
                  <a:pt x="449" y="285"/>
                  <a:pt x="449" y="285"/>
                  <a:pt x="449" y="285"/>
                </a:cubicBezTo>
                <a:cubicBezTo>
                  <a:pt x="449" y="284"/>
                  <a:pt x="449" y="284"/>
                  <a:pt x="449" y="284"/>
                </a:cubicBezTo>
                <a:cubicBezTo>
                  <a:pt x="448" y="283"/>
                  <a:pt x="448" y="283"/>
                  <a:pt x="448" y="283"/>
                </a:cubicBezTo>
                <a:cubicBezTo>
                  <a:pt x="447" y="283"/>
                  <a:pt x="447" y="283"/>
                  <a:pt x="447" y="283"/>
                </a:cubicBezTo>
                <a:cubicBezTo>
                  <a:pt x="447" y="283"/>
                  <a:pt x="447" y="283"/>
                  <a:pt x="447" y="283"/>
                </a:cubicBezTo>
                <a:cubicBezTo>
                  <a:pt x="447" y="283"/>
                  <a:pt x="447" y="283"/>
                  <a:pt x="447" y="283"/>
                </a:cubicBezTo>
                <a:cubicBezTo>
                  <a:pt x="448" y="284"/>
                  <a:pt x="448" y="284"/>
                  <a:pt x="448" y="284"/>
                </a:cubicBezTo>
                <a:cubicBezTo>
                  <a:pt x="449" y="285"/>
                  <a:pt x="449" y="285"/>
                  <a:pt x="449" y="285"/>
                </a:cubicBezTo>
                <a:cubicBezTo>
                  <a:pt x="449" y="287"/>
                  <a:pt x="449" y="287"/>
                  <a:pt x="449" y="287"/>
                </a:cubicBezTo>
                <a:cubicBezTo>
                  <a:pt x="448" y="287"/>
                  <a:pt x="448" y="287"/>
                  <a:pt x="448" y="287"/>
                </a:cubicBezTo>
                <a:cubicBezTo>
                  <a:pt x="448" y="287"/>
                  <a:pt x="448" y="287"/>
                  <a:pt x="448" y="287"/>
                </a:cubicBezTo>
                <a:cubicBezTo>
                  <a:pt x="447" y="286"/>
                  <a:pt x="447" y="286"/>
                  <a:pt x="447" y="286"/>
                </a:cubicBezTo>
                <a:cubicBezTo>
                  <a:pt x="447" y="286"/>
                  <a:pt x="447" y="286"/>
                  <a:pt x="447" y="286"/>
                </a:cubicBezTo>
                <a:cubicBezTo>
                  <a:pt x="446" y="286"/>
                  <a:pt x="446" y="286"/>
                  <a:pt x="446" y="286"/>
                </a:cubicBezTo>
                <a:cubicBezTo>
                  <a:pt x="446" y="286"/>
                  <a:pt x="446" y="286"/>
                  <a:pt x="446" y="286"/>
                </a:cubicBezTo>
                <a:cubicBezTo>
                  <a:pt x="446" y="286"/>
                  <a:pt x="446" y="286"/>
                  <a:pt x="446" y="286"/>
                </a:cubicBezTo>
                <a:cubicBezTo>
                  <a:pt x="446" y="287"/>
                  <a:pt x="446" y="287"/>
                  <a:pt x="446" y="287"/>
                </a:cubicBezTo>
                <a:cubicBezTo>
                  <a:pt x="446" y="289"/>
                  <a:pt x="446" y="289"/>
                  <a:pt x="446" y="289"/>
                </a:cubicBezTo>
                <a:cubicBezTo>
                  <a:pt x="446" y="289"/>
                  <a:pt x="446" y="289"/>
                  <a:pt x="446" y="289"/>
                </a:cubicBezTo>
                <a:cubicBezTo>
                  <a:pt x="445" y="289"/>
                  <a:pt x="445" y="289"/>
                  <a:pt x="445" y="289"/>
                </a:cubicBezTo>
                <a:cubicBezTo>
                  <a:pt x="445" y="289"/>
                  <a:pt x="445" y="289"/>
                  <a:pt x="445" y="289"/>
                </a:cubicBezTo>
                <a:cubicBezTo>
                  <a:pt x="445" y="288"/>
                  <a:pt x="445" y="288"/>
                  <a:pt x="445" y="288"/>
                </a:cubicBezTo>
                <a:cubicBezTo>
                  <a:pt x="445" y="288"/>
                  <a:pt x="445" y="288"/>
                  <a:pt x="445" y="288"/>
                </a:cubicBezTo>
                <a:cubicBezTo>
                  <a:pt x="444" y="288"/>
                  <a:pt x="444" y="288"/>
                  <a:pt x="444" y="288"/>
                </a:cubicBezTo>
                <a:cubicBezTo>
                  <a:pt x="444" y="289"/>
                  <a:pt x="444" y="289"/>
                  <a:pt x="444" y="289"/>
                </a:cubicBezTo>
                <a:cubicBezTo>
                  <a:pt x="443" y="288"/>
                  <a:pt x="443" y="288"/>
                  <a:pt x="443" y="288"/>
                </a:cubicBezTo>
                <a:cubicBezTo>
                  <a:pt x="443" y="288"/>
                  <a:pt x="443" y="288"/>
                  <a:pt x="443" y="288"/>
                </a:cubicBezTo>
                <a:cubicBezTo>
                  <a:pt x="443" y="287"/>
                  <a:pt x="443" y="287"/>
                  <a:pt x="443" y="287"/>
                </a:cubicBezTo>
                <a:cubicBezTo>
                  <a:pt x="443" y="286"/>
                  <a:pt x="443" y="286"/>
                  <a:pt x="443" y="286"/>
                </a:cubicBezTo>
                <a:cubicBezTo>
                  <a:pt x="443" y="285"/>
                  <a:pt x="443" y="285"/>
                  <a:pt x="443" y="285"/>
                </a:cubicBezTo>
                <a:cubicBezTo>
                  <a:pt x="442" y="286"/>
                  <a:pt x="442" y="286"/>
                  <a:pt x="442" y="286"/>
                </a:cubicBezTo>
                <a:cubicBezTo>
                  <a:pt x="442" y="288"/>
                  <a:pt x="442" y="288"/>
                  <a:pt x="442" y="288"/>
                </a:cubicBezTo>
                <a:cubicBezTo>
                  <a:pt x="442" y="288"/>
                  <a:pt x="442" y="288"/>
                  <a:pt x="442" y="288"/>
                </a:cubicBezTo>
                <a:cubicBezTo>
                  <a:pt x="441" y="288"/>
                  <a:pt x="441" y="288"/>
                  <a:pt x="441" y="288"/>
                </a:cubicBezTo>
                <a:cubicBezTo>
                  <a:pt x="441" y="288"/>
                  <a:pt x="441" y="288"/>
                  <a:pt x="441" y="288"/>
                </a:cubicBezTo>
                <a:cubicBezTo>
                  <a:pt x="442" y="289"/>
                  <a:pt x="442" y="289"/>
                  <a:pt x="442" y="289"/>
                </a:cubicBezTo>
                <a:cubicBezTo>
                  <a:pt x="442" y="289"/>
                  <a:pt x="442" y="289"/>
                  <a:pt x="442" y="289"/>
                </a:cubicBezTo>
                <a:cubicBezTo>
                  <a:pt x="442" y="290"/>
                  <a:pt x="442" y="290"/>
                  <a:pt x="442" y="290"/>
                </a:cubicBezTo>
                <a:cubicBezTo>
                  <a:pt x="441" y="290"/>
                  <a:pt x="441" y="290"/>
                  <a:pt x="441" y="290"/>
                </a:cubicBezTo>
                <a:cubicBezTo>
                  <a:pt x="441" y="289"/>
                  <a:pt x="441" y="289"/>
                  <a:pt x="441" y="289"/>
                </a:cubicBezTo>
                <a:cubicBezTo>
                  <a:pt x="440" y="290"/>
                  <a:pt x="440" y="290"/>
                  <a:pt x="440" y="290"/>
                </a:cubicBezTo>
                <a:cubicBezTo>
                  <a:pt x="441" y="290"/>
                  <a:pt x="441" y="290"/>
                  <a:pt x="441" y="290"/>
                </a:cubicBezTo>
                <a:cubicBezTo>
                  <a:pt x="442" y="290"/>
                  <a:pt x="442" y="290"/>
                  <a:pt x="442" y="290"/>
                </a:cubicBezTo>
                <a:cubicBezTo>
                  <a:pt x="442" y="291"/>
                  <a:pt x="442" y="291"/>
                  <a:pt x="442" y="291"/>
                </a:cubicBezTo>
                <a:cubicBezTo>
                  <a:pt x="442" y="292"/>
                  <a:pt x="442" y="292"/>
                  <a:pt x="442" y="292"/>
                </a:cubicBezTo>
                <a:cubicBezTo>
                  <a:pt x="441" y="292"/>
                  <a:pt x="441" y="292"/>
                  <a:pt x="441" y="292"/>
                </a:cubicBezTo>
                <a:cubicBezTo>
                  <a:pt x="441" y="292"/>
                  <a:pt x="441" y="292"/>
                  <a:pt x="441" y="292"/>
                </a:cubicBezTo>
                <a:cubicBezTo>
                  <a:pt x="441" y="293"/>
                  <a:pt x="441" y="293"/>
                  <a:pt x="441" y="293"/>
                </a:cubicBezTo>
                <a:cubicBezTo>
                  <a:pt x="441" y="294"/>
                  <a:pt x="441" y="294"/>
                  <a:pt x="441" y="294"/>
                </a:cubicBezTo>
                <a:cubicBezTo>
                  <a:pt x="441" y="294"/>
                  <a:pt x="441" y="294"/>
                  <a:pt x="441" y="294"/>
                </a:cubicBezTo>
                <a:cubicBezTo>
                  <a:pt x="441" y="293"/>
                  <a:pt x="441" y="293"/>
                  <a:pt x="441" y="293"/>
                </a:cubicBezTo>
                <a:cubicBezTo>
                  <a:pt x="440" y="294"/>
                  <a:pt x="440" y="294"/>
                  <a:pt x="440" y="294"/>
                </a:cubicBezTo>
                <a:cubicBezTo>
                  <a:pt x="441" y="294"/>
                  <a:pt x="441" y="294"/>
                  <a:pt x="441" y="294"/>
                </a:cubicBezTo>
                <a:cubicBezTo>
                  <a:pt x="441" y="295"/>
                  <a:pt x="441" y="295"/>
                  <a:pt x="441" y="295"/>
                </a:cubicBezTo>
                <a:cubicBezTo>
                  <a:pt x="441" y="296"/>
                  <a:pt x="441" y="296"/>
                  <a:pt x="441" y="296"/>
                </a:cubicBezTo>
                <a:cubicBezTo>
                  <a:pt x="440" y="296"/>
                  <a:pt x="440" y="296"/>
                  <a:pt x="440" y="296"/>
                </a:cubicBezTo>
                <a:cubicBezTo>
                  <a:pt x="440" y="297"/>
                  <a:pt x="440" y="297"/>
                  <a:pt x="440" y="297"/>
                </a:cubicBezTo>
                <a:cubicBezTo>
                  <a:pt x="439" y="297"/>
                  <a:pt x="439" y="297"/>
                  <a:pt x="439" y="297"/>
                </a:cubicBezTo>
                <a:cubicBezTo>
                  <a:pt x="439" y="296"/>
                  <a:pt x="439" y="296"/>
                  <a:pt x="439" y="296"/>
                </a:cubicBezTo>
                <a:cubicBezTo>
                  <a:pt x="439" y="296"/>
                  <a:pt x="439" y="296"/>
                  <a:pt x="439" y="296"/>
                </a:cubicBezTo>
                <a:cubicBezTo>
                  <a:pt x="439" y="295"/>
                  <a:pt x="439" y="295"/>
                  <a:pt x="439" y="295"/>
                </a:cubicBezTo>
                <a:cubicBezTo>
                  <a:pt x="438" y="295"/>
                  <a:pt x="438" y="295"/>
                  <a:pt x="438" y="295"/>
                </a:cubicBezTo>
                <a:cubicBezTo>
                  <a:pt x="438" y="295"/>
                  <a:pt x="438" y="295"/>
                  <a:pt x="438" y="295"/>
                </a:cubicBezTo>
                <a:cubicBezTo>
                  <a:pt x="438" y="294"/>
                  <a:pt x="438" y="294"/>
                  <a:pt x="438" y="294"/>
                </a:cubicBezTo>
                <a:cubicBezTo>
                  <a:pt x="438" y="294"/>
                  <a:pt x="438" y="294"/>
                  <a:pt x="438" y="294"/>
                </a:cubicBezTo>
                <a:cubicBezTo>
                  <a:pt x="438" y="294"/>
                  <a:pt x="438" y="294"/>
                  <a:pt x="438" y="294"/>
                </a:cubicBezTo>
                <a:cubicBezTo>
                  <a:pt x="437" y="294"/>
                  <a:pt x="437" y="294"/>
                  <a:pt x="437" y="294"/>
                </a:cubicBezTo>
                <a:cubicBezTo>
                  <a:pt x="437" y="295"/>
                  <a:pt x="437" y="295"/>
                  <a:pt x="437" y="295"/>
                </a:cubicBezTo>
                <a:cubicBezTo>
                  <a:pt x="436" y="295"/>
                  <a:pt x="436" y="295"/>
                  <a:pt x="436" y="295"/>
                </a:cubicBezTo>
                <a:cubicBezTo>
                  <a:pt x="436" y="294"/>
                  <a:pt x="436" y="294"/>
                  <a:pt x="436" y="294"/>
                </a:cubicBezTo>
                <a:cubicBezTo>
                  <a:pt x="436" y="293"/>
                  <a:pt x="436" y="293"/>
                  <a:pt x="436" y="293"/>
                </a:cubicBezTo>
                <a:cubicBezTo>
                  <a:pt x="436" y="293"/>
                  <a:pt x="436" y="293"/>
                  <a:pt x="436" y="293"/>
                </a:cubicBezTo>
                <a:cubicBezTo>
                  <a:pt x="436" y="292"/>
                  <a:pt x="436" y="292"/>
                  <a:pt x="436" y="292"/>
                </a:cubicBezTo>
                <a:cubicBezTo>
                  <a:pt x="436" y="292"/>
                  <a:pt x="436" y="292"/>
                  <a:pt x="436" y="292"/>
                </a:cubicBezTo>
                <a:cubicBezTo>
                  <a:pt x="436" y="292"/>
                  <a:pt x="436" y="292"/>
                  <a:pt x="436" y="292"/>
                </a:cubicBezTo>
                <a:cubicBezTo>
                  <a:pt x="436" y="291"/>
                  <a:pt x="436" y="291"/>
                  <a:pt x="436" y="291"/>
                </a:cubicBezTo>
                <a:cubicBezTo>
                  <a:pt x="436" y="291"/>
                  <a:pt x="436" y="291"/>
                  <a:pt x="436" y="291"/>
                </a:cubicBezTo>
                <a:cubicBezTo>
                  <a:pt x="436" y="292"/>
                  <a:pt x="436" y="292"/>
                  <a:pt x="436" y="292"/>
                </a:cubicBezTo>
                <a:cubicBezTo>
                  <a:pt x="435" y="293"/>
                  <a:pt x="435" y="293"/>
                  <a:pt x="435" y="293"/>
                </a:cubicBezTo>
                <a:cubicBezTo>
                  <a:pt x="434" y="294"/>
                  <a:pt x="434" y="294"/>
                  <a:pt x="434" y="294"/>
                </a:cubicBezTo>
                <a:cubicBezTo>
                  <a:pt x="434" y="293"/>
                  <a:pt x="434" y="293"/>
                  <a:pt x="434" y="293"/>
                </a:cubicBezTo>
                <a:cubicBezTo>
                  <a:pt x="434" y="293"/>
                  <a:pt x="434" y="293"/>
                  <a:pt x="434" y="293"/>
                </a:cubicBezTo>
                <a:cubicBezTo>
                  <a:pt x="434" y="292"/>
                  <a:pt x="434" y="292"/>
                  <a:pt x="434" y="292"/>
                </a:cubicBezTo>
                <a:cubicBezTo>
                  <a:pt x="434" y="291"/>
                  <a:pt x="434" y="291"/>
                  <a:pt x="434" y="291"/>
                </a:cubicBezTo>
                <a:cubicBezTo>
                  <a:pt x="434" y="291"/>
                  <a:pt x="434" y="291"/>
                  <a:pt x="434" y="291"/>
                </a:cubicBezTo>
                <a:cubicBezTo>
                  <a:pt x="435" y="290"/>
                  <a:pt x="435" y="290"/>
                  <a:pt x="435" y="290"/>
                </a:cubicBezTo>
                <a:cubicBezTo>
                  <a:pt x="435" y="290"/>
                  <a:pt x="435" y="290"/>
                  <a:pt x="435" y="290"/>
                </a:cubicBezTo>
                <a:cubicBezTo>
                  <a:pt x="436" y="290"/>
                  <a:pt x="436" y="290"/>
                  <a:pt x="436" y="290"/>
                </a:cubicBezTo>
                <a:cubicBezTo>
                  <a:pt x="435" y="289"/>
                  <a:pt x="435" y="289"/>
                  <a:pt x="435" y="289"/>
                </a:cubicBezTo>
                <a:cubicBezTo>
                  <a:pt x="435" y="289"/>
                  <a:pt x="435" y="289"/>
                  <a:pt x="435" y="289"/>
                </a:cubicBezTo>
                <a:cubicBezTo>
                  <a:pt x="434" y="289"/>
                  <a:pt x="434" y="289"/>
                  <a:pt x="434" y="289"/>
                </a:cubicBezTo>
                <a:cubicBezTo>
                  <a:pt x="433" y="289"/>
                  <a:pt x="433" y="289"/>
                  <a:pt x="433" y="289"/>
                </a:cubicBezTo>
                <a:cubicBezTo>
                  <a:pt x="433" y="289"/>
                  <a:pt x="433" y="289"/>
                  <a:pt x="433" y="289"/>
                </a:cubicBezTo>
                <a:cubicBezTo>
                  <a:pt x="433" y="288"/>
                  <a:pt x="433" y="288"/>
                  <a:pt x="433" y="288"/>
                </a:cubicBezTo>
                <a:cubicBezTo>
                  <a:pt x="434" y="288"/>
                  <a:pt x="434" y="288"/>
                  <a:pt x="434" y="288"/>
                </a:cubicBezTo>
                <a:cubicBezTo>
                  <a:pt x="435" y="287"/>
                  <a:pt x="435" y="287"/>
                  <a:pt x="435" y="287"/>
                </a:cubicBezTo>
                <a:cubicBezTo>
                  <a:pt x="434" y="287"/>
                  <a:pt x="434" y="287"/>
                  <a:pt x="434" y="287"/>
                </a:cubicBezTo>
                <a:cubicBezTo>
                  <a:pt x="434" y="287"/>
                  <a:pt x="434" y="287"/>
                  <a:pt x="434" y="287"/>
                </a:cubicBezTo>
                <a:cubicBezTo>
                  <a:pt x="433" y="287"/>
                  <a:pt x="433" y="287"/>
                  <a:pt x="433" y="287"/>
                </a:cubicBezTo>
                <a:cubicBezTo>
                  <a:pt x="433" y="287"/>
                  <a:pt x="433" y="287"/>
                  <a:pt x="433" y="287"/>
                </a:cubicBezTo>
                <a:cubicBezTo>
                  <a:pt x="434" y="286"/>
                  <a:pt x="434" y="286"/>
                  <a:pt x="434" y="286"/>
                </a:cubicBezTo>
                <a:cubicBezTo>
                  <a:pt x="434" y="286"/>
                  <a:pt x="434" y="286"/>
                  <a:pt x="434" y="286"/>
                </a:cubicBezTo>
                <a:cubicBezTo>
                  <a:pt x="435" y="286"/>
                  <a:pt x="435" y="286"/>
                  <a:pt x="435" y="286"/>
                </a:cubicBezTo>
                <a:cubicBezTo>
                  <a:pt x="434" y="285"/>
                  <a:pt x="434" y="285"/>
                  <a:pt x="434" y="285"/>
                </a:cubicBezTo>
                <a:cubicBezTo>
                  <a:pt x="434" y="285"/>
                  <a:pt x="434" y="285"/>
                  <a:pt x="434" y="285"/>
                </a:cubicBezTo>
                <a:cubicBezTo>
                  <a:pt x="433" y="286"/>
                  <a:pt x="433" y="286"/>
                  <a:pt x="433" y="286"/>
                </a:cubicBezTo>
                <a:cubicBezTo>
                  <a:pt x="433" y="286"/>
                  <a:pt x="433" y="286"/>
                  <a:pt x="433" y="286"/>
                </a:cubicBezTo>
                <a:cubicBezTo>
                  <a:pt x="433" y="285"/>
                  <a:pt x="433" y="285"/>
                  <a:pt x="433" y="285"/>
                </a:cubicBezTo>
                <a:cubicBezTo>
                  <a:pt x="434" y="284"/>
                  <a:pt x="434" y="284"/>
                  <a:pt x="434" y="284"/>
                </a:cubicBezTo>
                <a:cubicBezTo>
                  <a:pt x="434" y="283"/>
                  <a:pt x="434" y="283"/>
                  <a:pt x="434" y="283"/>
                </a:cubicBezTo>
                <a:cubicBezTo>
                  <a:pt x="435" y="283"/>
                  <a:pt x="435" y="283"/>
                  <a:pt x="435" y="283"/>
                </a:cubicBezTo>
                <a:cubicBezTo>
                  <a:pt x="436" y="282"/>
                  <a:pt x="436" y="282"/>
                  <a:pt x="436" y="282"/>
                </a:cubicBezTo>
                <a:cubicBezTo>
                  <a:pt x="437" y="282"/>
                  <a:pt x="437" y="282"/>
                  <a:pt x="437" y="282"/>
                </a:cubicBezTo>
                <a:cubicBezTo>
                  <a:pt x="438" y="281"/>
                  <a:pt x="438" y="281"/>
                  <a:pt x="438" y="281"/>
                </a:cubicBezTo>
                <a:cubicBezTo>
                  <a:pt x="439" y="280"/>
                  <a:pt x="439" y="280"/>
                  <a:pt x="439" y="280"/>
                </a:cubicBezTo>
                <a:cubicBezTo>
                  <a:pt x="439" y="280"/>
                  <a:pt x="439" y="280"/>
                  <a:pt x="439" y="280"/>
                </a:cubicBezTo>
                <a:cubicBezTo>
                  <a:pt x="439" y="279"/>
                  <a:pt x="439" y="279"/>
                  <a:pt x="439" y="279"/>
                </a:cubicBezTo>
                <a:cubicBezTo>
                  <a:pt x="438" y="279"/>
                  <a:pt x="438" y="279"/>
                  <a:pt x="438" y="279"/>
                </a:cubicBezTo>
                <a:cubicBezTo>
                  <a:pt x="437" y="280"/>
                  <a:pt x="437" y="280"/>
                  <a:pt x="437" y="280"/>
                </a:cubicBezTo>
                <a:cubicBezTo>
                  <a:pt x="437" y="280"/>
                  <a:pt x="437" y="280"/>
                  <a:pt x="437" y="280"/>
                </a:cubicBezTo>
                <a:cubicBezTo>
                  <a:pt x="436" y="281"/>
                  <a:pt x="436" y="281"/>
                  <a:pt x="436" y="281"/>
                </a:cubicBezTo>
                <a:cubicBezTo>
                  <a:pt x="435" y="282"/>
                  <a:pt x="435" y="282"/>
                  <a:pt x="435" y="282"/>
                </a:cubicBezTo>
                <a:cubicBezTo>
                  <a:pt x="434" y="282"/>
                  <a:pt x="434" y="282"/>
                  <a:pt x="434" y="282"/>
                </a:cubicBezTo>
                <a:cubicBezTo>
                  <a:pt x="432" y="283"/>
                  <a:pt x="432" y="283"/>
                  <a:pt x="432" y="283"/>
                </a:cubicBezTo>
                <a:cubicBezTo>
                  <a:pt x="431" y="283"/>
                  <a:pt x="431" y="283"/>
                  <a:pt x="431" y="283"/>
                </a:cubicBezTo>
                <a:cubicBezTo>
                  <a:pt x="430" y="283"/>
                  <a:pt x="430" y="283"/>
                  <a:pt x="430" y="283"/>
                </a:cubicBezTo>
                <a:cubicBezTo>
                  <a:pt x="430" y="283"/>
                  <a:pt x="430" y="283"/>
                  <a:pt x="430" y="283"/>
                </a:cubicBezTo>
                <a:cubicBezTo>
                  <a:pt x="432" y="281"/>
                  <a:pt x="432" y="281"/>
                  <a:pt x="432" y="281"/>
                </a:cubicBezTo>
                <a:cubicBezTo>
                  <a:pt x="433" y="280"/>
                  <a:pt x="433" y="280"/>
                  <a:pt x="433" y="280"/>
                </a:cubicBezTo>
                <a:cubicBezTo>
                  <a:pt x="434" y="280"/>
                  <a:pt x="434" y="280"/>
                  <a:pt x="434" y="280"/>
                </a:cubicBezTo>
                <a:cubicBezTo>
                  <a:pt x="434" y="279"/>
                  <a:pt x="434" y="279"/>
                  <a:pt x="434" y="279"/>
                </a:cubicBezTo>
                <a:cubicBezTo>
                  <a:pt x="434" y="278"/>
                  <a:pt x="434" y="278"/>
                  <a:pt x="434" y="278"/>
                </a:cubicBezTo>
                <a:cubicBezTo>
                  <a:pt x="433" y="279"/>
                  <a:pt x="433" y="279"/>
                  <a:pt x="433" y="279"/>
                </a:cubicBezTo>
                <a:cubicBezTo>
                  <a:pt x="431" y="281"/>
                  <a:pt x="431" y="281"/>
                  <a:pt x="431" y="281"/>
                </a:cubicBezTo>
                <a:cubicBezTo>
                  <a:pt x="430" y="281"/>
                  <a:pt x="430" y="281"/>
                  <a:pt x="430" y="281"/>
                </a:cubicBezTo>
                <a:cubicBezTo>
                  <a:pt x="429" y="281"/>
                  <a:pt x="429" y="281"/>
                  <a:pt x="429" y="281"/>
                </a:cubicBezTo>
                <a:cubicBezTo>
                  <a:pt x="429" y="281"/>
                  <a:pt x="429" y="281"/>
                  <a:pt x="429" y="281"/>
                </a:cubicBezTo>
                <a:cubicBezTo>
                  <a:pt x="429" y="280"/>
                  <a:pt x="429" y="280"/>
                  <a:pt x="429" y="280"/>
                </a:cubicBezTo>
                <a:cubicBezTo>
                  <a:pt x="429" y="279"/>
                  <a:pt x="429" y="279"/>
                  <a:pt x="429" y="279"/>
                </a:cubicBezTo>
                <a:cubicBezTo>
                  <a:pt x="428" y="280"/>
                  <a:pt x="428" y="280"/>
                  <a:pt x="428" y="280"/>
                </a:cubicBezTo>
                <a:cubicBezTo>
                  <a:pt x="428" y="279"/>
                  <a:pt x="428" y="279"/>
                  <a:pt x="428" y="279"/>
                </a:cubicBezTo>
                <a:cubicBezTo>
                  <a:pt x="428" y="279"/>
                  <a:pt x="428" y="279"/>
                  <a:pt x="428" y="279"/>
                </a:cubicBezTo>
                <a:cubicBezTo>
                  <a:pt x="429" y="279"/>
                  <a:pt x="429" y="279"/>
                  <a:pt x="429" y="279"/>
                </a:cubicBezTo>
                <a:cubicBezTo>
                  <a:pt x="429" y="278"/>
                  <a:pt x="429" y="278"/>
                  <a:pt x="429" y="278"/>
                </a:cubicBezTo>
                <a:cubicBezTo>
                  <a:pt x="428" y="278"/>
                  <a:pt x="428" y="278"/>
                  <a:pt x="428" y="278"/>
                </a:cubicBezTo>
                <a:cubicBezTo>
                  <a:pt x="428" y="278"/>
                  <a:pt x="428" y="278"/>
                  <a:pt x="428" y="278"/>
                </a:cubicBezTo>
                <a:cubicBezTo>
                  <a:pt x="427" y="277"/>
                  <a:pt x="427" y="277"/>
                  <a:pt x="427" y="277"/>
                </a:cubicBezTo>
                <a:cubicBezTo>
                  <a:pt x="428" y="276"/>
                  <a:pt x="428" y="276"/>
                  <a:pt x="428" y="276"/>
                </a:cubicBezTo>
                <a:cubicBezTo>
                  <a:pt x="428" y="276"/>
                  <a:pt x="428" y="276"/>
                  <a:pt x="428" y="276"/>
                </a:cubicBezTo>
                <a:cubicBezTo>
                  <a:pt x="428" y="275"/>
                  <a:pt x="428" y="275"/>
                  <a:pt x="428" y="275"/>
                </a:cubicBezTo>
                <a:cubicBezTo>
                  <a:pt x="427" y="275"/>
                  <a:pt x="427" y="275"/>
                  <a:pt x="427" y="275"/>
                </a:cubicBezTo>
                <a:cubicBezTo>
                  <a:pt x="427" y="274"/>
                  <a:pt x="427" y="274"/>
                  <a:pt x="427" y="274"/>
                </a:cubicBezTo>
                <a:cubicBezTo>
                  <a:pt x="427" y="274"/>
                  <a:pt x="427" y="274"/>
                  <a:pt x="427" y="274"/>
                </a:cubicBezTo>
                <a:cubicBezTo>
                  <a:pt x="427" y="275"/>
                  <a:pt x="427" y="275"/>
                  <a:pt x="427" y="275"/>
                </a:cubicBezTo>
                <a:cubicBezTo>
                  <a:pt x="427" y="276"/>
                  <a:pt x="427" y="276"/>
                  <a:pt x="427" y="276"/>
                </a:cubicBezTo>
                <a:cubicBezTo>
                  <a:pt x="426" y="276"/>
                  <a:pt x="426" y="276"/>
                  <a:pt x="426" y="276"/>
                </a:cubicBezTo>
                <a:cubicBezTo>
                  <a:pt x="425" y="276"/>
                  <a:pt x="425" y="276"/>
                  <a:pt x="425" y="276"/>
                </a:cubicBezTo>
                <a:cubicBezTo>
                  <a:pt x="425" y="275"/>
                  <a:pt x="425" y="275"/>
                  <a:pt x="425" y="275"/>
                </a:cubicBezTo>
                <a:cubicBezTo>
                  <a:pt x="424" y="275"/>
                  <a:pt x="424" y="275"/>
                  <a:pt x="424" y="275"/>
                </a:cubicBezTo>
                <a:cubicBezTo>
                  <a:pt x="425" y="276"/>
                  <a:pt x="425" y="276"/>
                  <a:pt x="425" y="276"/>
                </a:cubicBezTo>
                <a:cubicBezTo>
                  <a:pt x="426" y="277"/>
                  <a:pt x="426" y="277"/>
                  <a:pt x="426" y="277"/>
                </a:cubicBezTo>
                <a:cubicBezTo>
                  <a:pt x="426" y="278"/>
                  <a:pt x="426" y="278"/>
                  <a:pt x="426" y="278"/>
                </a:cubicBezTo>
                <a:cubicBezTo>
                  <a:pt x="425" y="278"/>
                  <a:pt x="425" y="278"/>
                  <a:pt x="425" y="278"/>
                </a:cubicBezTo>
                <a:cubicBezTo>
                  <a:pt x="425" y="278"/>
                  <a:pt x="425" y="278"/>
                  <a:pt x="425" y="278"/>
                </a:cubicBezTo>
                <a:cubicBezTo>
                  <a:pt x="425" y="278"/>
                  <a:pt x="425" y="278"/>
                  <a:pt x="425" y="278"/>
                </a:cubicBezTo>
                <a:cubicBezTo>
                  <a:pt x="424" y="279"/>
                  <a:pt x="424" y="279"/>
                  <a:pt x="424" y="279"/>
                </a:cubicBezTo>
                <a:cubicBezTo>
                  <a:pt x="423" y="278"/>
                  <a:pt x="423" y="278"/>
                  <a:pt x="423" y="278"/>
                </a:cubicBezTo>
                <a:cubicBezTo>
                  <a:pt x="423" y="277"/>
                  <a:pt x="423" y="277"/>
                  <a:pt x="423" y="277"/>
                </a:cubicBezTo>
                <a:cubicBezTo>
                  <a:pt x="423" y="276"/>
                  <a:pt x="423" y="276"/>
                  <a:pt x="423" y="276"/>
                </a:cubicBezTo>
                <a:cubicBezTo>
                  <a:pt x="422" y="277"/>
                  <a:pt x="422" y="277"/>
                  <a:pt x="422" y="277"/>
                </a:cubicBezTo>
                <a:cubicBezTo>
                  <a:pt x="423" y="277"/>
                  <a:pt x="423" y="277"/>
                  <a:pt x="423" y="277"/>
                </a:cubicBezTo>
                <a:cubicBezTo>
                  <a:pt x="423" y="278"/>
                  <a:pt x="423" y="278"/>
                  <a:pt x="423" y="278"/>
                </a:cubicBezTo>
                <a:cubicBezTo>
                  <a:pt x="423" y="279"/>
                  <a:pt x="423" y="279"/>
                  <a:pt x="423" y="279"/>
                </a:cubicBezTo>
                <a:cubicBezTo>
                  <a:pt x="423" y="279"/>
                  <a:pt x="423" y="279"/>
                  <a:pt x="423" y="279"/>
                </a:cubicBezTo>
                <a:cubicBezTo>
                  <a:pt x="424" y="280"/>
                  <a:pt x="424" y="280"/>
                  <a:pt x="424" y="280"/>
                </a:cubicBezTo>
                <a:cubicBezTo>
                  <a:pt x="425" y="281"/>
                  <a:pt x="425" y="281"/>
                  <a:pt x="425" y="281"/>
                </a:cubicBezTo>
                <a:cubicBezTo>
                  <a:pt x="424" y="282"/>
                  <a:pt x="424" y="282"/>
                  <a:pt x="424" y="282"/>
                </a:cubicBezTo>
                <a:cubicBezTo>
                  <a:pt x="425" y="282"/>
                  <a:pt x="425" y="282"/>
                  <a:pt x="425" y="282"/>
                </a:cubicBezTo>
                <a:cubicBezTo>
                  <a:pt x="425" y="283"/>
                  <a:pt x="425" y="283"/>
                  <a:pt x="425" y="283"/>
                </a:cubicBezTo>
                <a:cubicBezTo>
                  <a:pt x="424" y="283"/>
                  <a:pt x="424" y="283"/>
                  <a:pt x="424" y="283"/>
                </a:cubicBezTo>
                <a:cubicBezTo>
                  <a:pt x="423" y="283"/>
                  <a:pt x="423" y="283"/>
                  <a:pt x="423" y="283"/>
                </a:cubicBezTo>
                <a:cubicBezTo>
                  <a:pt x="422" y="282"/>
                  <a:pt x="422" y="282"/>
                  <a:pt x="422" y="282"/>
                </a:cubicBezTo>
                <a:cubicBezTo>
                  <a:pt x="422" y="283"/>
                  <a:pt x="422" y="283"/>
                  <a:pt x="422" y="283"/>
                </a:cubicBezTo>
                <a:cubicBezTo>
                  <a:pt x="422" y="283"/>
                  <a:pt x="422" y="283"/>
                  <a:pt x="422" y="283"/>
                </a:cubicBezTo>
                <a:cubicBezTo>
                  <a:pt x="420" y="282"/>
                  <a:pt x="420" y="282"/>
                  <a:pt x="420" y="282"/>
                </a:cubicBezTo>
                <a:cubicBezTo>
                  <a:pt x="420" y="281"/>
                  <a:pt x="420" y="281"/>
                  <a:pt x="420" y="281"/>
                </a:cubicBezTo>
                <a:cubicBezTo>
                  <a:pt x="421" y="280"/>
                  <a:pt x="421" y="280"/>
                  <a:pt x="421" y="280"/>
                </a:cubicBezTo>
                <a:cubicBezTo>
                  <a:pt x="420" y="279"/>
                  <a:pt x="420" y="279"/>
                  <a:pt x="420" y="279"/>
                </a:cubicBezTo>
                <a:cubicBezTo>
                  <a:pt x="419" y="279"/>
                  <a:pt x="419" y="279"/>
                  <a:pt x="419" y="279"/>
                </a:cubicBezTo>
                <a:cubicBezTo>
                  <a:pt x="418" y="279"/>
                  <a:pt x="418" y="279"/>
                  <a:pt x="418" y="279"/>
                </a:cubicBezTo>
                <a:cubicBezTo>
                  <a:pt x="418" y="278"/>
                  <a:pt x="418" y="278"/>
                  <a:pt x="418" y="278"/>
                </a:cubicBezTo>
                <a:cubicBezTo>
                  <a:pt x="418" y="277"/>
                  <a:pt x="418" y="277"/>
                  <a:pt x="418" y="277"/>
                </a:cubicBezTo>
                <a:cubicBezTo>
                  <a:pt x="417" y="278"/>
                  <a:pt x="417" y="278"/>
                  <a:pt x="417" y="278"/>
                </a:cubicBezTo>
                <a:cubicBezTo>
                  <a:pt x="416" y="278"/>
                  <a:pt x="416" y="278"/>
                  <a:pt x="416" y="278"/>
                </a:cubicBezTo>
                <a:cubicBezTo>
                  <a:pt x="415" y="278"/>
                  <a:pt x="415" y="278"/>
                  <a:pt x="415" y="278"/>
                </a:cubicBezTo>
                <a:cubicBezTo>
                  <a:pt x="415" y="279"/>
                  <a:pt x="415" y="279"/>
                  <a:pt x="415" y="279"/>
                </a:cubicBezTo>
                <a:cubicBezTo>
                  <a:pt x="417" y="279"/>
                  <a:pt x="417" y="279"/>
                  <a:pt x="417" y="279"/>
                </a:cubicBezTo>
                <a:cubicBezTo>
                  <a:pt x="418" y="279"/>
                  <a:pt x="418" y="279"/>
                  <a:pt x="418" y="279"/>
                </a:cubicBezTo>
                <a:cubicBezTo>
                  <a:pt x="419" y="280"/>
                  <a:pt x="419" y="280"/>
                  <a:pt x="419" y="280"/>
                </a:cubicBezTo>
                <a:cubicBezTo>
                  <a:pt x="419" y="281"/>
                  <a:pt x="419" y="281"/>
                  <a:pt x="419" y="281"/>
                </a:cubicBezTo>
                <a:cubicBezTo>
                  <a:pt x="418" y="282"/>
                  <a:pt x="418" y="282"/>
                  <a:pt x="418" y="282"/>
                </a:cubicBezTo>
                <a:cubicBezTo>
                  <a:pt x="418" y="282"/>
                  <a:pt x="418" y="282"/>
                  <a:pt x="418" y="282"/>
                </a:cubicBezTo>
                <a:cubicBezTo>
                  <a:pt x="419" y="282"/>
                  <a:pt x="419" y="282"/>
                  <a:pt x="419" y="282"/>
                </a:cubicBezTo>
                <a:cubicBezTo>
                  <a:pt x="419" y="283"/>
                  <a:pt x="419" y="283"/>
                  <a:pt x="419" y="283"/>
                </a:cubicBezTo>
                <a:cubicBezTo>
                  <a:pt x="419" y="283"/>
                  <a:pt x="419" y="283"/>
                  <a:pt x="419" y="283"/>
                </a:cubicBezTo>
                <a:cubicBezTo>
                  <a:pt x="419" y="284"/>
                  <a:pt x="419" y="284"/>
                  <a:pt x="419" y="284"/>
                </a:cubicBezTo>
                <a:cubicBezTo>
                  <a:pt x="421" y="284"/>
                  <a:pt x="421" y="284"/>
                  <a:pt x="421" y="284"/>
                </a:cubicBezTo>
                <a:cubicBezTo>
                  <a:pt x="421" y="284"/>
                  <a:pt x="421" y="284"/>
                  <a:pt x="421" y="284"/>
                </a:cubicBezTo>
                <a:cubicBezTo>
                  <a:pt x="420" y="285"/>
                  <a:pt x="420" y="285"/>
                  <a:pt x="420" y="285"/>
                </a:cubicBezTo>
                <a:cubicBezTo>
                  <a:pt x="418" y="287"/>
                  <a:pt x="418" y="287"/>
                  <a:pt x="418" y="287"/>
                </a:cubicBezTo>
                <a:cubicBezTo>
                  <a:pt x="417" y="288"/>
                  <a:pt x="417" y="288"/>
                  <a:pt x="417" y="288"/>
                </a:cubicBezTo>
                <a:cubicBezTo>
                  <a:pt x="419" y="287"/>
                  <a:pt x="419" y="287"/>
                  <a:pt x="419" y="287"/>
                </a:cubicBezTo>
                <a:cubicBezTo>
                  <a:pt x="420" y="286"/>
                  <a:pt x="420" y="286"/>
                  <a:pt x="420" y="286"/>
                </a:cubicBezTo>
                <a:cubicBezTo>
                  <a:pt x="420" y="286"/>
                  <a:pt x="420" y="286"/>
                  <a:pt x="420" y="286"/>
                </a:cubicBezTo>
                <a:cubicBezTo>
                  <a:pt x="422" y="286"/>
                  <a:pt x="422" y="286"/>
                  <a:pt x="422" y="286"/>
                </a:cubicBezTo>
                <a:cubicBezTo>
                  <a:pt x="423" y="286"/>
                  <a:pt x="423" y="286"/>
                  <a:pt x="423" y="286"/>
                </a:cubicBezTo>
                <a:cubicBezTo>
                  <a:pt x="423" y="287"/>
                  <a:pt x="423" y="287"/>
                  <a:pt x="423" y="287"/>
                </a:cubicBezTo>
                <a:cubicBezTo>
                  <a:pt x="422" y="287"/>
                  <a:pt x="422" y="287"/>
                  <a:pt x="422" y="287"/>
                </a:cubicBezTo>
                <a:cubicBezTo>
                  <a:pt x="421" y="288"/>
                  <a:pt x="421" y="288"/>
                  <a:pt x="421" y="288"/>
                </a:cubicBezTo>
                <a:cubicBezTo>
                  <a:pt x="421" y="288"/>
                  <a:pt x="421" y="288"/>
                  <a:pt x="421" y="288"/>
                </a:cubicBezTo>
                <a:cubicBezTo>
                  <a:pt x="422" y="289"/>
                  <a:pt x="422" y="289"/>
                  <a:pt x="422" y="289"/>
                </a:cubicBezTo>
                <a:cubicBezTo>
                  <a:pt x="423" y="289"/>
                  <a:pt x="423" y="289"/>
                  <a:pt x="423" y="289"/>
                </a:cubicBezTo>
                <a:cubicBezTo>
                  <a:pt x="423" y="290"/>
                  <a:pt x="423" y="290"/>
                  <a:pt x="423" y="290"/>
                </a:cubicBezTo>
                <a:cubicBezTo>
                  <a:pt x="421" y="290"/>
                  <a:pt x="421" y="290"/>
                  <a:pt x="421" y="290"/>
                </a:cubicBezTo>
                <a:cubicBezTo>
                  <a:pt x="421" y="290"/>
                  <a:pt x="421" y="290"/>
                  <a:pt x="421" y="290"/>
                </a:cubicBezTo>
                <a:cubicBezTo>
                  <a:pt x="422" y="291"/>
                  <a:pt x="422" y="291"/>
                  <a:pt x="422" y="291"/>
                </a:cubicBezTo>
                <a:cubicBezTo>
                  <a:pt x="422" y="291"/>
                  <a:pt x="422" y="291"/>
                  <a:pt x="422" y="291"/>
                </a:cubicBezTo>
                <a:cubicBezTo>
                  <a:pt x="422" y="291"/>
                  <a:pt x="422" y="291"/>
                  <a:pt x="422" y="291"/>
                </a:cubicBezTo>
                <a:cubicBezTo>
                  <a:pt x="422" y="292"/>
                  <a:pt x="422" y="292"/>
                  <a:pt x="422" y="292"/>
                </a:cubicBezTo>
                <a:cubicBezTo>
                  <a:pt x="422" y="292"/>
                  <a:pt x="422" y="292"/>
                  <a:pt x="422" y="292"/>
                </a:cubicBezTo>
                <a:cubicBezTo>
                  <a:pt x="422" y="293"/>
                  <a:pt x="422" y="293"/>
                  <a:pt x="422" y="293"/>
                </a:cubicBezTo>
                <a:cubicBezTo>
                  <a:pt x="423" y="293"/>
                  <a:pt x="423" y="293"/>
                  <a:pt x="423" y="293"/>
                </a:cubicBezTo>
                <a:cubicBezTo>
                  <a:pt x="423" y="294"/>
                  <a:pt x="423" y="294"/>
                  <a:pt x="423" y="294"/>
                </a:cubicBezTo>
                <a:cubicBezTo>
                  <a:pt x="423" y="295"/>
                  <a:pt x="423" y="295"/>
                  <a:pt x="423" y="295"/>
                </a:cubicBezTo>
                <a:cubicBezTo>
                  <a:pt x="423" y="295"/>
                  <a:pt x="423" y="295"/>
                  <a:pt x="423" y="295"/>
                </a:cubicBezTo>
                <a:cubicBezTo>
                  <a:pt x="424" y="295"/>
                  <a:pt x="424" y="295"/>
                  <a:pt x="424" y="295"/>
                </a:cubicBezTo>
                <a:cubicBezTo>
                  <a:pt x="424" y="294"/>
                  <a:pt x="424" y="294"/>
                  <a:pt x="424" y="294"/>
                </a:cubicBezTo>
                <a:cubicBezTo>
                  <a:pt x="424" y="293"/>
                  <a:pt x="424" y="293"/>
                  <a:pt x="424" y="293"/>
                </a:cubicBezTo>
                <a:cubicBezTo>
                  <a:pt x="425" y="294"/>
                  <a:pt x="425" y="294"/>
                  <a:pt x="425" y="294"/>
                </a:cubicBezTo>
                <a:cubicBezTo>
                  <a:pt x="425" y="295"/>
                  <a:pt x="425" y="295"/>
                  <a:pt x="425" y="295"/>
                </a:cubicBezTo>
                <a:cubicBezTo>
                  <a:pt x="426" y="296"/>
                  <a:pt x="426" y="296"/>
                  <a:pt x="426" y="296"/>
                </a:cubicBezTo>
                <a:cubicBezTo>
                  <a:pt x="425" y="296"/>
                  <a:pt x="425" y="296"/>
                  <a:pt x="425" y="296"/>
                </a:cubicBezTo>
                <a:cubicBezTo>
                  <a:pt x="425" y="297"/>
                  <a:pt x="425" y="297"/>
                  <a:pt x="425" y="297"/>
                </a:cubicBezTo>
                <a:cubicBezTo>
                  <a:pt x="425" y="297"/>
                  <a:pt x="425" y="297"/>
                  <a:pt x="425" y="297"/>
                </a:cubicBezTo>
                <a:cubicBezTo>
                  <a:pt x="426" y="297"/>
                  <a:pt x="426" y="297"/>
                  <a:pt x="426" y="297"/>
                </a:cubicBezTo>
                <a:cubicBezTo>
                  <a:pt x="427" y="297"/>
                  <a:pt x="427" y="297"/>
                  <a:pt x="427" y="297"/>
                </a:cubicBezTo>
                <a:cubicBezTo>
                  <a:pt x="427" y="298"/>
                  <a:pt x="427" y="298"/>
                  <a:pt x="427" y="298"/>
                </a:cubicBezTo>
                <a:cubicBezTo>
                  <a:pt x="427" y="297"/>
                  <a:pt x="427" y="297"/>
                  <a:pt x="427" y="297"/>
                </a:cubicBezTo>
                <a:cubicBezTo>
                  <a:pt x="427" y="296"/>
                  <a:pt x="427" y="296"/>
                  <a:pt x="427" y="296"/>
                </a:cubicBezTo>
                <a:cubicBezTo>
                  <a:pt x="428" y="296"/>
                  <a:pt x="428" y="296"/>
                  <a:pt x="428" y="296"/>
                </a:cubicBezTo>
                <a:cubicBezTo>
                  <a:pt x="428" y="297"/>
                  <a:pt x="428" y="297"/>
                  <a:pt x="428" y="297"/>
                </a:cubicBezTo>
                <a:cubicBezTo>
                  <a:pt x="428" y="298"/>
                  <a:pt x="428" y="298"/>
                  <a:pt x="428" y="298"/>
                </a:cubicBezTo>
                <a:cubicBezTo>
                  <a:pt x="427" y="299"/>
                  <a:pt x="427" y="299"/>
                  <a:pt x="427" y="299"/>
                </a:cubicBezTo>
                <a:cubicBezTo>
                  <a:pt x="427" y="300"/>
                  <a:pt x="427" y="300"/>
                  <a:pt x="427" y="300"/>
                </a:cubicBezTo>
                <a:cubicBezTo>
                  <a:pt x="427" y="300"/>
                  <a:pt x="427" y="300"/>
                  <a:pt x="427" y="300"/>
                </a:cubicBezTo>
                <a:cubicBezTo>
                  <a:pt x="428" y="301"/>
                  <a:pt x="428" y="301"/>
                  <a:pt x="428" y="301"/>
                </a:cubicBezTo>
                <a:cubicBezTo>
                  <a:pt x="429" y="300"/>
                  <a:pt x="429" y="300"/>
                  <a:pt x="429" y="300"/>
                </a:cubicBezTo>
                <a:cubicBezTo>
                  <a:pt x="430" y="300"/>
                  <a:pt x="430" y="300"/>
                  <a:pt x="430" y="300"/>
                </a:cubicBezTo>
                <a:cubicBezTo>
                  <a:pt x="430" y="300"/>
                  <a:pt x="430" y="300"/>
                  <a:pt x="430" y="300"/>
                </a:cubicBezTo>
                <a:cubicBezTo>
                  <a:pt x="429" y="301"/>
                  <a:pt x="429" y="301"/>
                  <a:pt x="429" y="301"/>
                </a:cubicBezTo>
                <a:cubicBezTo>
                  <a:pt x="429" y="302"/>
                  <a:pt x="429" y="302"/>
                  <a:pt x="429" y="302"/>
                </a:cubicBezTo>
                <a:cubicBezTo>
                  <a:pt x="428" y="302"/>
                  <a:pt x="428" y="302"/>
                  <a:pt x="428" y="302"/>
                </a:cubicBezTo>
                <a:cubicBezTo>
                  <a:pt x="428" y="303"/>
                  <a:pt x="428" y="303"/>
                  <a:pt x="428" y="303"/>
                </a:cubicBezTo>
                <a:cubicBezTo>
                  <a:pt x="429" y="304"/>
                  <a:pt x="429" y="304"/>
                  <a:pt x="429" y="304"/>
                </a:cubicBezTo>
                <a:cubicBezTo>
                  <a:pt x="429" y="305"/>
                  <a:pt x="429" y="305"/>
                  <a:pt x="429" y="305"/>
                </a:cubicBezTo>
                <a:cubicBezTo>
                  <a:pt x="430" y="305"/>
                  <a:pt x="430" y="305"/>
                  <a:pt x="430" y="305"/>
                </a:cubicBezTo>
                <a:cubicBezTo>
                  <a:pt x="430" y="307"/>
                  <a:pt x="430" y="307"/>
                  <a:pt x="430" y="307"/>
                </a:cubicBezTo>
                <a:cubicBezTo>
                  <a:pt x="431" y="309"/>
                  <a:pt x="431" y="309"/>
                  <a:pt x="431" y="309"/>
                </a:cubicBezTo>
                <a:cubicBezTo>
                  <a:pt x="432" y="309"/>
                  <a:pt x="432" y="309"/>
                  <a:pt x="432" y="309"/>
                </a:cubicBezTo>
                <a:cubicBezTo>
                  <a:pt x="431" y="310"/>
                  <a:pt x="431" y="310"/>
                  <a:pt x="431" y="310"/>
                </a:cubicBezTo>
                <a:cubicBezTo>
                  <a:pt x="431" y="311"/>
                  <a:pt x="431" y="311"/>
                  <a:pt x="431" y="311"/>
                </a:cubicBezTo>
                <a:cubicBezTo>
                  <a:pt x="430" y="313"/>
                  <a:pt x="430" y="313"/>
                  <a:pt x="430" y="313"/>
                </a:cubicBezTo>
                <a:cubicBezTo>
                  <a:pt x="430" y="314"/>
                  <a:pt x="430" y="314"/>
                  <a:pt x="430" y="314"/>
                </a:cubicBezTo>
                <a:cubicBezTo>
                  <a:pt x="430" y="314"/>
                  <a:pt x="430" y="314"/>
                  <a:pt x="430" y="314"/>
                </a:cubicBezTo>
                <a:cubicBezTo>
                  <a:pt x="428" y="312"/>
                  <a:pt x="428" y="312"/>
                  <a:pt x="428" y="312"/>
                </a:cubicBezTo>
                <a:cubicBezTo>
                  <a:pt x="428" y="311"/>
                  <a:pt x="428" y="311"/>
                  <a:pt x="428" y="311"/>
                </a:cubicBezTo>
                <a:cubicBezTo>
                  <a:pt x="428" y="310"/>
                  <a:pt x="428" y="310"/>
                  <a:pt x="428" y="310"/>
                </a:cubicBezTo>
                <a:cubicBezTo>
                  <a:pt x="428" y="308"/>
                  <a:pt x="428" y="308"/>
                  <a:pt x="428" y="308"/>
                </a:cubicBezTo>
                <a:cubicBezTo>
                  <a:pt x="428" y="310"/>
                  <a:pt x="428" y="310"/>
                  <a:pt x="428" y="310"/>
                </a:cubicBezTo>
                <a:cubicBezTo>
                  <a:pt x="427" y="311"/>
                  <a:pt x="427" y="311"/>
                  <a:pt x="427" y="311"/>
                </a:cubicBezTo>
                <a:cubicBezTo>
                  <a:pt x="428" y="313"/>
                  <a:pt x="428" y="313"/>
                  <a:pt x="428" y="313"/>
                </a:cubicBezTo>
                <a:cubicBezTo>
                  <a:pt x="428" y="315"/>
                  <a:pt x="428" y="315"/>
                  <a:pt x="428" y="315"/>
                </a:cubicBezTo>
                <a:cubicBezTo>
                  <a:pt x="428" y="316"/>
                  <a:pt x="428" y="316"/>
                  <a:pt x="428" y="316"/>
                </a:cubicBezTo>
                <a:cubicBezTo>
                  <a:pt x="428" y="318"/>
                  <a:pt x="428" y="318"/>
                  <a:pt x="428" y="318"/>
                </a:cubicBezTo>
                <a:cubicBezTo>
                  <a:pt x="428" y="318"/>
                  <a:pt x="428" y="318"/>
                  <a:pt x="428" y="318"/>
                </a:cubicBezTo>
                <a:cubicBezTo>
                  <a:pt x="427" y="318"/>
                  <a:pt x="427" y="318"/>
                  <a:pt x="427" y="318"/>
                </a:cubicBezTo>
                <a:cubicBezTo>
                  <a:pt x="426" y="317"/>
                  <a:pt x="426" y="317"/>
                  <a:pt x="426" y="317"/>
                </a:cubicBezTo>
                <a:cubicBezTo>
                  <a:pt x="425" y="317"/>
                  <a:pt x="425" y="317"/>
                  <a:pt x="425" y="317"/>
                </a:cubicBezTo>
                <a:cubicBezTo>
                  <a:pt x="426" y="319"/>
                  <a:pt x="426" y="319"/>
                  <a:pt x="426" y="319"/>
                </a:cubicBezTo>
                <a:cubicBezTo>
                  <a:pt x="426" y="321"/>
                  <a:pt x="426" y="321"/>
                  <a:pt x="426" y="321"/>
                </a:cubicBezTo>
                <a:cubicBezTo>
                  <a:pt x="426" y="321"/>
                  <a:pt x="426" y="321"/>
                  <a:pt x="426" y="321"/>
                </a:cubicBezTo>
                <a:cubicBezTo>
                  <a:pt x="426" y="322"/>
                  <a:pt x="426" y="322"/>
                  <a:pt x="426" y="322"/>
                </a:cubicBezTo>
                <a:cubicBezTo>
                  <a:pt x="425" y="322"/>
                  <a:pt x="425" y="322"/>
                  <a:pt x="425" y="322"/>
                </a:cubicBezTo>
                <a:cubicBezTo>
                  <a:pt x="424" y="321"/>
                  <a:pt x="424" y="321"/>
                  <a:pt x="424" y="321"/>
                </a:cubicBezTo>
                <a:cubicBezTo>
                  <a:pt x="424" y="319"/>
                  <a:pt x="424" y="319"/>
                  <a:pt x="424" y="319"/>
                </a:cubicBezTo>
                <a:cubicBezTo>
                  <a:pt x="424" y="318"/>
                  <a:pt x="424" y="318"/>
                  <a:pt x="424" y="318"/>
                </a:cubicBezTo>
                <a:cubicBezTo>
                  <a:pt x="424" y="317"/>
                  <a:pt x="424" y="317"/>
                  <a:pt x="424" y="317"/>
                </a:cubicBezTo>
                <a:cubicBezTo>
                  <a:pt x="424" y="318"/>
                  <a:pt x="424" y="318"/>
                  <a:pt x="424" y="318"/>
                </a:cubicBezTo>
                <a:cubicBezTo>
                  <a:pt x="423" y="318"/>
                  <a:pt x="423" y="318"/>
                  <a:pt x="423" y="318"/>
                </a:cubicBezTo>
                <a:cubicBezTo>
                  <a:pt x="422" y="317"/>
                  <a:pt x="422" y="317"/>
                  <a:pt x="422" y="317"/>
                </a:cubicBezTo>
                <a:cubicBezTo>
                  <a:pt x="422" y="315"/>
                  <a:pt x="422" y="315"/>
                  <a:pt x="422" y="315"/>
                </a:cubicBezTo>
                <a:cubicBezTo>
                  <a:pt x="422" y="316"/>
                  <a:pt x="422" y="316"/>
                  <a:pt x="422" y="316"/>
                </a:cubicBezTo>
                <a:cubicBezTo>
                  <a:pt x="422" y="317"/>
                  <a:pt x="422" y="317"/>
                  <a:pt x="422" y="317"/>
                </a:cubicBezTo>
                <a:cubicBezTo>
                  <a:pt x="421" y="316"/>
                  <a:pt x="421" y="316"/>
                  <a:pt x="421" y="316"/>
                </a:cubicBezTo>
                <a:cubicBezTo>
                  <a:pt x="421" y="316"/>
                  <a:pt x="421" y="316"/>
                  <a:pt x="421" y="316"/>
                </a:cubicBezTo>
                <a:cubicBezTo>
                  <a:pt x="421" y="314"/>
                  <a:pt x="421" y="314"/>
                  <a:pt x="421" y="314"/>
                </a:cubicBezTo>
                <a:cubicBezTo>
                  <a:pt x="420" y="314"/>
                  <a:pt x="420" y="314"/>
                  <a:pt x="420" y="314"/>
                </a:cubicBezTo>
                <a:cubicBezTo>
                  <a:pt x="420" y="315"/>
                  <a:pt x="420" y="315"/>
                  <a:pt x="420" y="315"/>
                </a:cubicBezTo>
                <a:cubicBezTo>
                  <a:pt x="421" y="315"/>
                  <a:pt x="421" y="315"/>
                  <a:pt x="421" y="315"/>
                </a:cubicBezTo>
                <a:cubicBezTo>
                  <a:pt x="420" y="316"/>
                  <a:pt x="420" y="316"/>
                  <a:pt x="420" y="316"/>
                </a:cubicBezTo>
                <a:cubicBezTo>
                  <a:pt x="420" y="316"/>
                  <a:pt x="420" y="316"/>
                  <a:pt x="420" y="316"/>
                </a:cubicBezTo>
                <a:cubicBezTo>
                  <a:pt x="419" y="315"/>
                  <a:pt x="419" y="315"/>
                  <a:pt x="419" y="315"/>
                </a:cubicBezTo>
                <a:cubicBezTo>
                  <a:pt x="419" y="314"/>
                  <a:pt x="419" y="314"/>
                  <a:pt x="419" y="314"/>
                </a:cubicBezTo>
                <a:cubicBezTo>
                  <a:pt x="419" y="313"/>
                  <a:pt x="419" y="313"/>
                  <a:pt x="419" y="313"/>
                </a:cubicBezTo>
                <a:cubicBezTo>
                  <a:pt x="418" y="311"/>
                  <a:pt x="418" y="311"/>
                  <a:pt x="418" y="311"/>
                </a:cubicBezTo>
                <a:cubicBezTo>
                  <a:pt x="418" y="311"/>
                  <a:pt x="418" y="311"/>
                  <a:pt x="418" y="311"/>
                </a:cubicBezTo>
                <a:cubicBezTo>
                  <a:pt x="418" y="312"/>
                  <a:pt x="418" y="312"/>
                  <a:pt x="418" y="312"/>
                </a:cubicBezTo>
                <a:cubicBezTo>
                  <a:pt x="418" y="314"/>
                  <a:pt x="418" y="314"/>
                  <a:pt x="418" y="314"/>
                </a:cubicBezTo>
                <a:cubicBezTo>
                  <a:pt x="418" y="315"/>
                  <a:pt x="418" y="315"/>
                  <a:pt x="418" y="315"/>
                </a:cubicBezTo>
                <a:cubicBezTo>
                  <a:pt x="418" y="315"/>
                  <a:pt x="418" y="315"/>
                  <a:pt x="418" y="315"/>
                </a:cubicBezTo>
                <a:cubicBezTo>
                  <a:pt x="417" y="313"/>
                  <a:pt x="417" y="313"/>
                  <a:pt x="417" y="313"/>
                </a:cubicBezTo>
                <a:cubicBezTo>
                  <a:pt x="416" y="313"/>
                  <a:pt x="416" y="313"/>
                  <a:pt x="416" y="313"/>
                </a:cubicBezTo>
                <a:cubicBezTo>
                  <a:pt x="416" y="312"/>
                  <a:pt x="416" y="312"/>
                  <a:pt x="416" y="312"/>
                </a:cubicBezTo>
                <a:cubicBezTo>
                  <a:pt x="415" y="312"/>
                  <a:pt x="415" y="312"/>
                  <a:pt x="415" y="312"/>
                </a:cubicBezTo>
                <a:cubicBezTo>
                  <a:pt x="415" y="310"/>
                  <a:pt x="415" y="310"/>
                  <a:pt x="415" y="310"/>
                </a:cubicBezTo>
                <a:cubicBezTo>
                  <a:pt x="414" y="309"/>
                  <a:pt x="414" y="309"/>
                  <a:pt x="414" y="309"/>
                </a:cubicBezTo>
                <a:cubicBezTo>
                  <a:pt x="414" y="309"/>
                  <a:pt x="414" y="309"/>
                  <a:pt x="414" y="309"/>
                </a:cubicBezTo>
                <a:cubicBezTo>
                  <a:pt x="414" y="308"/>
                  <a:pt x="414" y="308"/>
                  <a:pt x="414" y="308"/>
                </a:cubicBezTo>
                <a:cubicBezTo>
                  <a:pt x="413" y="308"/>
                  <a:pt x="413" y="308"/>
                  <a:pt x="413" y="308"/>
                </a:cubicBezTo>
                <a:cubicBezTo>
                  <a:pt x="413" y="309"/>
                  <a:pt x="413" y="309"/>
                  <a:pt x="413" y="309"/>
                </a:cubicBezTo>
                <a:cubicBezTo>
                  <a:pt x="413" y="310"/>
                  <a:pt x="413" y="310"/>
                  <a:pt x="413" y="310"/>
                </a:cubicBezTo>
                <a:cubicBezTo>
                  <a:pt x="413" y="311"/>
                  <a:pt x="413" y="311"/>
                  <a:pt x="413" y="311"/>
                </a:cubicBezTo>
                <a:cubicBezTo>
                  <a:pt x="413" y="311"/>
                  <a:pt x="413" y="311"/>
                  <a:pt x="413" y="311"/>
                </a:cubicBezTo>
                <a:cubicBezTo>
                  <a:pt x="413" y="310"/>
                  <a:pt x="413" y="310"/>
                  <a:pt x="413" y="310"/>
                </a:cubicBezTo>
                <a:cubicBezTo>
                  <a:pt x="412" y="309"/>
                  <a:pt x="412" y="309"/>
                  <a:pt x="412" y="309"/>
                </a:cubicBezTo>
                <a:cubicBezTo>
                  <a:pt x="411" y="309"/>
                  <a:pt x="411" y="309"/>
                  <a:pt x="411" y="309"/>
                </a:cubicBezTo>
                <a:cubicBezTo>
                  <a:pt x="410" y="307"/>
                  <a:pt x="410" y="307"/>
                  <a:pt x="410" y="307"/>
                </a:cubicBezTo>
                <a:cubicBezTo>
                  <a:pt x="410" y="306"/>
                  <a:pt x="410" y="306"/>
                  <a:pt x="410" y="306"/>
                </a:cubicBezTo>
                <a:cubicBezTo>
                  <a:pt x="409" y="306"/>
                  <a:pt x="409" y="306"/>
                  <a:pt x="409" y="306"/>
                </a:cubicBezTo>
                <a:cubicBezTo>
                  <a:pt x="408" y="306"/>
                  <a:pt x="408" y="306"/>
                  <a:pt x="408" y="306"/>
                </a:cubicBezTo>
                <a:cubicBezTo>
                  <a:pt x="407" y="306"/>
                  <a:pt x="407" y="306"/>
                  <a:pt x="407" y="306"/>
                </a:cubicBezTo>
                <a:cubicBezTo>
                  <a:pt x="407" y="307"/>
                  <a:pt x="407" y="307"/>
                  <a:pt x="407" y="307"/>
                </a:cubicBezTo>
                <a:cubicBezTo>
                  <a:pt x="408" y="309"/>
                  <a:pt x="408" y="309"/>
                  <a:pt x="408" y="309"/>
                </a:cubicBezTo>
                <a:cubicBezTo>
                  <a:pt x="409" y="310"/>
                  <a:pt x="409" y="310"/>
                  <a:pt x="409" y="310"/>
                </a:cubicBezTo>
                <a:cubicBezTo>
                  <a:pt x="409" y="311"/>
                  <a:pt x="409" y="311"/>
                  <a:pt x="409" y="311"/>
                </a:cubicBezTo>
                <a:cubicBezTo>
                  <a:pt x="409" y="311"/>
                  <a:pt x="409" y="311"/>
                  <a:pt x="409" y="311"/>
                </a:cubicBezTo>
                <a:cubicBezTo>
                  <a:pt x="410" y="313"/>
                  <a:pt x="410" y="313"/>
                  <a:pt x="410" y="313"/>
                </a:cubicBezTo>
                <a:cubicBezTo>
                  <a:pt x="410" y="313"/>
                  <a:pt x="410" y="313"/>
                  <a:pt x="410" y="313"/>
                </a:cubicBezTo>
                <a:cubicBezTo>
                  <a:pt x="412" y="313"/>
                  <a:pt x="412" y="313"/>
                  <a:pt x="412" y="313"/>
                </a:cubicBezTo>
                <a:cubicBezTo>
                  <a:pt x="412" y="314"/>
                  <a:pt x="412" y="314"/>
                  <a:pt x="412" y="314"/>
                </a:cubicBezTo>
                <a:cubicBezTo>
                  <a:pt x="412" y="315"/>
                  <a:pt x="412" y="315"/>
                  <a:pt x="412" y="315"/>
                </a:cubicBezTo>
                <a:cubicBezTo>
                  <a:pt x="413" y="315"/>
                  <a:pt x="413" y="315"/>
                  <a:pt x="413" y="315"/>
                </a:cubicBezTo>
                <a:cubicBezTo>
                  <a:pt x="413" y="315"/>
                  <a:pt x="413" y="315"/>
                  <a:pt x="413" y="315"/>
                </a:cubicBezTo>
                <a:cubicBezTo>
                  <a:pt x="413" y="316"/>
                  <a:pt x="413" y="316"/>
                  <a:pt x="413" y="316"/>
                </a:cubicBezTo>
                <a:cubicBezTo>
                  <a:pt x="414" y="316"/>
                  <a:pt x="414" y="316"/>
                  <a:pt x="414" y="316"/>
                </a:cubicBezTo>
                <a:cubicBezTo>
                  <a:pt x="414" y="317"/>
                  <a:pt x="414" y="317"/>
                  <a:pt x="414" y="317"/>
                </a:cubicBezTo>
                <a:cubicBezTo>
                  <a:pt x="415" y="318"/>
                  <a:pt x="415" y="318"/>
                  <a:pt x="415" y="318"/>
                </a:cubicBezTo>
                <a:cubicBezTo>
                  <a:pt x="415" y="319"/>
                  <a:pt x="415" y="319"/>
                  <a:pt x="415" y="319"/>
                </a:cubicBezTo>
                <a:cubicBezTo>
                  <a:pt x="416" y="319"/>
                  <a:pt x="416" y="319"/>
                  <a:pt x="416" y="319"/>
                </a:cubicBezTo>
                <a:cubicBezTo>
                  <a:pt x="416" y="319"/>
                  <a:pt x="416" y="319"/>
                  <a:pt x="416" y="319"/>
                </a:cubicBezTo>
                <a:cubicBezTo>
                  <a:pt x="417" y="320"/>
                  <a:pt x="417" y="320"/>
                  <a:pt x="417" y="320"/>
                </a:cubicBezTo>
                <a:cubicBezTo>
                  <a:pt x="416" y="322"/>
                  <a:pt x="416" y="322"/>
                  <a:pt x="416" y="322"/>
                </a:cubicBezTo>
                <a:cubicBezTo>
                  <a:pt x="416" y="322"/>
                  <a:pt x="416" y="322"/>
                  <a:pt x="416" y="322"/>
                </a:cubicBezTo>
                <a:cubicBezTo>
                  <a:pt x="417" y="322"/>
                  <a:pt x="417" y="322"/>
                  <a:pt x="417" y="322"/>
                </a:cubicBezTo>
                <a:cubicBezTo>
                  <a:pt x="417" y="323"/>
                  <a:pt x="417" y="323"/>
                  <a:pt x="417" y="323"/>
                </a:cubicBezTo>
                <a:cubicBezTo>
                  <a:pt x="418" y="322"/>
                  <a:pt x="418" y="322"/>
                  <a:pt x="418" y="322"/>
                </a:cubicBezTo>
                <a:cubicBezTo>
                  <a:pt x="418" y="322"/>
                  <a:pt x="418" y="322"/>
                  <a:pt x="418" y="322"/>
                </a:cubicBezTo>
                <a:cubicBezTo>
                  <a:pt x="418" y="324"/>
                  <a:pt x="418" y="324"/>
                  <a:pt x="418" y="324"/>
                </a:cubicBezTo>
                <a:cubicBezTo>
                  <a:pt x="418" y="324"/>
                  <a:pt x="418" y="324"/>
                  <a:pt x="418" y="324"/>
                </a:cubicBezTo>
                <a:cubicBezTo>
                  <a:pt x="419" y="324"/>
                  <a:pt x="419" y="324"/>
                  <a:pt x="419" y="324"/>
                </a:cubicBezTo>
                <a:cubicBezTo>
                  <a:pt x="419" y="324"/>
                  <a:pt x="419" y="324"/>
                  <a:pt x="419" y="324"/>
                </a:cubicBezTo>
                <a:cubicBezTo>
                  <a:pt x="419" y="325"/>
                  <a:pt x="419" y="325"/>
                  <a:pt x="419" y="325"/>
                </a:cubicBezTo>
                <a:cubicBezTo>
                  <a:pt x="418" y="325"/>
                  <a:pt x="418" y="325"/>
                  <a:pt x="418" y="325"/>
                </a:cubicBezTo>
                <a:cubicBezTo>
                  <a:pt x="417" y="325"/>
                  <a:pt x="417" y="325"/>
                  <a:pt x="417" y="325"/>
                </a:cubicBezTo>
                <a:cubicBezTo>
                  <a:pt x="418" y="326"/>
                  <a:pt x="418" y="326"/>
                  <a:pt x="418" y="326"/>
                </a:cubicBezTo>
                <a:cubicBezTo>
                  <a:pt x="418" y="327"/>
                  <a:pt x="418" y="327"/>
                  <a:pt x="418" y="327"/>
                </a:cubicBezTo>
                <a:cubicBezTo>
                  <a:pt x="418" y="328"/>
                  <a:pt x="418" y="328"/>
                  <a:pt x="418" y="328"/>
                </a:cubicBezTo>
                <a:cubicBezTo>
                  <a:pt x="418" y="328"/>
                  <a:pt x="418" y="328"/>
                  <a:pt x="418" y="328"/>
                </a:cubicBezTo>
                <a:close/>
                <a:moveTo>
                  <a:pt x="313" y="297"/>
                </a:moveTo>
                <a:cubicBezTo>
                  <a:pt x="313" y="297"/>
                  <a:pt x="314" y="297"/>
                  <a:pt x="314" y="297"/>
                </a:cubicBezTo>
                <a:cubicBezTo>
                  <a:pt x="314" y="296"/>
                  <a:pt x="314" y="296"/>
                  <a:pt x="314" y="296"/>
                </a:cubicBezTo>
                <a:cubicBezTo>
                  <a:pt x="315" y="296"/>
                  <a:pt x="315" y="296"/>
                  <a:pt x="315" y="296"/>
                </a:cubicBezTo>
                <a:cubicBezTo>
                  <a:pt x="315" y="296"/>
                  <a:pt x="315" y="296"/>
                  <a:pt x="315" y="296"/>
                </a:cubicBezTo>
                <a:cubicBezTo>
                  <a:pt x="316" y="297"/>
                  <a:pt x="316" y="297"/>
                  <a:pt x="316" y="297"/>
                </a:cubicBezTo>
                <a:cubicBezTo>
                  <a:pt x="317" y="297"/>
                  <a:pt x="317" y="297"/>
                  <a:pt x="317" y="297"/>
                </a:cubicBezTo>
                <a:cubicBezTo>
                  <a:pt x="317" y="296"/>
                  <a:pt x="317" y="296"/>
                  <a:pt x="317" y="296"/>
                </a:cubicBezTo>
                <a:cubicBezTo>
                  <a:pt x="318" y="296"/>
                  <a:pt x="318" y="296"/>
                  <a:pt x="318" y="296"/>
                </a:cubicBezTo>
                <a:cubicBezTo>
                  <a:pt x="319" y="297"/>
                  <a:pt x="319" y="297"/>
                  <a:pt x="319" y="297"/>
                </a:cubicBezTo>
                <a:cubicBezTo>
                  <a:pt x="319" y="298"/>
                  <a:pt x="319" y="298"/>
                  <a:pt x="319" y="298"/>
                </a:cubicBezTo>
                <a:cubicBezTo>
                  <a:pt x="318" y="299"/>
                  <a:pt x="318" y="299"/>
                  <a:pt x="318" y="299"/>
                </a:cubicBezTo>
                <a:cubicBezTo>
                  <a:pt x="318" y="300"/>
                  <a:pt x="318" y="300"/>
                  <a:pt x="318" y="300"/>
                </a:cubicBezTo>
                <a:cubicBezTo>
                  <a:pt x="317" y="301"/>
                  <a:pt x="317" y="301"/>
                  <a:pt x="317" y="301"/>
                </a:cubicBezTo>
                <a:cubicBezTo>
                  <a:pt x="317" y="302"/>
                  <a:pt x="317" y="302"/>
                  <a:pt x="317" y="302"/>
                </a:cubicBezTo>
                <a:cubicBezTo>
                  <a:pt x="318" y="303"/>
                  <a:pt x="318" y="303"/>
                  <a:pt x="318" y="303"/>
                </a:cubicBezTo>
                <a:cubicBezTo>
                  <a:pt x="318" y="303"/>
                  <a:pt x="318" y="303"/>
                  <a:pt x="318" y="303"/>
                </a:cubicBezTo>
                <a:cubicBezTo>
                  <a:pt x="319" y="303"/>
                  <a:pt x="319" y="303"/>
                  <a:pt x="319" y="303"/>
                </a:cubicBezTo>
                <a:cubicBezTo>
                  <a:pt x="320" y="303"/>
                  <a:pt x="320" y="303"/>
                  <a:pt x="320" y="303"/>
                </a:cubicBezTo>
                <a:cubicBezTo>
                  <a:pt x="320" y="302"/>
                  <a:pt x="320" y="302"/>
                  <a:pt x="320" y="302"/>
                </a:cubicBezTo>
                <a:cubicBezTo>
                  <a:pt x="321" y="303"/>
                  <a:pt x="321" y="303"/>
                  <a:pt x="321" y="303"/>
                </a:cubicBezTo>
                <a:cubicBezTo>
                  <a:pt x="322" y="302"/>
                  <a:pt x="322" y="302"/>
                  <a:pt x="322" y="302"/>
                </a:cubicBezTo>
                <a:cubicBezTo>
                  <a:pt x="323" y="301"/>
                  <a:pt x="323" y="301"/>
                  <a:pt x="323" y="301"/>
                </a:cubicBezTo>
                <a:cubicBezTo>
                  <a:pt x="323" y="302"/>
                  <a:pt x="323" y="302"/>
                  <a:pt x="323" y="302"/>
                </a:cubicBezTo>
                <a:cubicBezTo>
                  <a:pt x="324" y="301"/>
                  <a:pt x="324" y="301"/>
                  <a:pt x="324" y="301"/>
                </a:cubicBezTo>
                <a:cubicBezTo>
                  <a:pt x="325" y="299"/>
                  <a:pt x="325" y="299"/>
                  <a:pt x="325" y="299"/>
                </a:cubicBezTo>
                <a:cubicBezTo>
                  <a:pt x="326" y="298"/>
                  <a:pt x="326" y="298"/>
                  <a:pt x="326" y="298"/>
                </a:cubicBezTo>
                <a:cubicBezTo>
                  <a:pt x="326" y="298"/>
                  <a:pt x="326" y="298"/>
                  <a:pt x="326" y="298"/>
                </a:cubicBezTo>
                <a:cubicBezTo>
                  <a:pt x="327" y="298"/>
                  <a:pt x="327" y="298"/>
                  <a:pt x="327" y="298"/>
                </a:cubicBezTo>
                <a:cubicBezTo>
                  <a:pt x="327" y="298"/>
                  <a:pt x="327" y="298"/>
                  <a:pt x="327" y="298"/>
                </a:cubicBezTo>
                <a:cubicBezTo>
                  <a:pt x="328" y="297"/>
                  <a:pt x="328" y="297"/>
                  <a:pt x="328" y="297"/>
                </a:cubicBezTo>
                <a:cubicBezTo>
                  <a:pt x="329" y="297"/>
                  <a:pt x="329" y="297"/>
                  <a:pt x="329" y="297"/>
                </a:cubicBezTo>
                <a:cubicBezTo>
                  <a:pt x="330" y="297"/>
                  <a:pt x="330" y="297"/>
                  <a:pt x="330" y="297"/>
                </a:cubicBezTo>
                <a:cubicBezTo>
                  <a:pt x="330" y="296"/>
                  <a:pt x="330" y="296"/>
                  <a:pt x="330" y="296"/>
                </a:cubicBezTo>
                <a:cubicBezTo>
                  <a:pt x="330" y="294"/>
                  <a:pt x="330" y="294"/>
                  <a:pt x="330" y="294"/>
                </a:cubicBezTo>
                <a:cubicBezTo>
                  <a:pt x="331" y="293"/>
                  <a:pt x="331" y="293"/>
                  <a:pt x="331" y="293"/>
                </a:cubicBezTo>
                <a:cubicBezTo>
                  <a:pt x="331" y="292"/>
                  <a:pt x="331" y="292"/>
                  <a:pt x="331" y="292"/>
                </a:cubicBezTo>
                <a:cubicBezTo>
                  <a:pt x="332" y="292"/>
                  <a:pt x="332" y="292"/>
                  <a:pt x="332" y="292"/>
                </a:cubicBezTo>
                <a:cubicBezTo>
                  <a:pt x="333" y="293"/>
                  <a:pt x="333" y="293"/>
                  <a:pt x="333" y="293"/>
                </a:cubicBezTo>
                <a:cubicBezTo>
                  <a:pt x="333" y="292"/>
                  <a:pt x="333" y="292"/>
                  <a:pt x="333" y="292"/>
                </a:cubicBezTo>
                <a:cubicBezTo>
                  <a:pt x="334" y="292"/>
                  <a:pt x="334" y="292"/>
                  <a:pt x="334" y="292"/>
                </a:cubicBezTo>
                <a:cubicBezTo>
                  <a:pt x="335" y="292"/>
                  <a:pt x="335" y="292"/>
                  <a:pt x="335" y="292"/>
                </a:cubicBezTo>
                <a:cubicBezTo>
                  <a:pt x="335" y="293"/>
                  <a:pt x="335" y="293"/>
                  <a:pt x="335" y="293"/>
                </a:cubicBezTo>
                <a:cubicBezTo>
                  <a:pt x="334" y="294"/>
                  <a:pt x="334" y="294"/>
                  <a:pt x="334" y="294"/>
                </a:cubicBezTo>
                <a:cubicBezTo>
                  <a:pt x="333" y="295"/>
                  <a:pt x="333" y="295"/>
                  <a:pt x="333" y="295"/>
                </a:cubicBezTo>
                <a:cubicBezTo>
                  <a:pt x="334" y="295"/>
                  <a:pt x="334" y="295"/>
                  <a:pt x="334" y="295"/>
                </a:cubicBezTo>
                <a:cubicBezTo>
                  <a:pt x="336" y="295"/>
                  <a:pt x="336" y="295"/>
                  <a:pt x="336" y="295"/>
                </a:cubicBezTo>
                <a:cubicBezTo>
                  <a:pt x="337" y="296"/>
                  <a:pt x="337" y="296"/>
                  <a:pt x="337" y="296"/>
                </a:cubicBezTo>
                <a:cubicBezTo>
                  <a:pt x="337" y="297"/>
                  <a:pt x="337" y="297"/>
                  <a:pt x="337" y="297"/>
                </a:cubicBezTo>
                <a:cubicBezTo>
                  <a:pt x="337" y="298"/>
                  <a:pt x="337" y="298"/>
                  <a:pt x="337" y="298"/>
                </a:cubicBezTo>
                <a:cubicBezTo>
                  <a:pt x="336" y="298"/>
                  <a:pt x="336" y="298"/>
                  <a:pt x="336" y="298"/>
                </a:cubicBezTo>
                <a:cubicBezTo>
                  <a:pt x="336" y="299"/>
                  <a:pt x="336" y="299"/>
                  <a:pt x="336" y="299"/>
                </a:cubicBezTo>
                <a:cubicBezTo>
                  <a:pt x="336" y="300"/>
                  <a:pt x="336" y="300"/>
                  <a:pt x="336" y="300"/>
                </a:cubicBezTo>
                <a:cubicBezTo>
                  <a:pt x="337" y="299"/>
                  <a:pt x="337" y="299"/>
                  <a:pt x="337" y="299"/>
                </a:cubicBezTo>
                <a:cubicBezTo>
                  <a:pt x="338" y="299"/>
                  <a:pt x="338" y="299"/>
                  <a:pt x="338" y="299"/>
                </a:cubicBezTo>
                <a:cubicBezTo>
                  <a:pt x="338" y="300"/>
                  <a:pt x="338" y="300"/>
                  <a:pt x="338" y="300"/>
                </a:cubicBezTo>
                <a:cubicBezTo>
                  <a:pt x="339" y="300"/>
                  <a:pt x="339" y="300"/>
                  <a:pt x="339" y="300"/>
                </a:cubicBezTo>
                <a:cubicBezTo>
                  <a:pt x="339" y="300"/>
                  <a:pt x="339" y="300"/>
                  <a:pt x="339" y="300"/>
                </a:cubicBezTo>
                <a:cubicBezTo>
                  <a:pt x="340" y="300"/>
                  <a:pt x="340" y="300"/>
                  <a:pt x="340" y="300"/>
                </a:cubicBezTo>
                <a:cubicBezTo>
                  <a:pt x="341" y="301"/>
                  <a:pt x="341" y="301"/>
                  <a:pt x="341" y="301"/>
                </a:cubicBezTo>
                <a:cubicBezTo>
                  <a:pt x="342" y="301"/>
                  <a:pt x="342" y="301"/>
                  <a:pt x="342" y="301"/>
                </a:cubicBezTo>
                <a:cubicBezTo>
                  <a:pt x="343" y="302"/>
                  <a:pt x="343" y="302"/>
                  <a:pt x="343" y="302"/>
                </a:cubicBezTo>
                <a:cubicBezTo>
                  <a:pt x="344" y="302"/>
                  <a:pt x="344" y="302"/>
                  <a:pt x="344" y="302"/>
                </a:cubicBezTo>
                <a:cubicBezTo>
                  <a:pt x="345" y="300"/>
                  <a:pt x="345" y="300"/>
                  <a:pt x="345" y="300"/>
                </a:cubicBezTo>
                <a:cubicBezTo>
                  <a:pt x="345" y="300"/>
                  <a:pt x="345" y="300"/>
                  <a:pt x="345" y="300"/>
                </a:cubicBezTo>
                <a:cubicBezTo>
                  <a:pt x="346" y="299"/>
                  <a:pt x="346" y="299"/>
                  <a:pt x="346" y="299"/>
                </a:cubicBezTo>
                <a:cubicBezTo>
                  <a:pt x="347" y="299"/>
                  <a:pt x="347" y="299"/>
                  <a:pt x="347" y="299"/>
                </a:cubicBezTo>
                <a:cubicBezTo>
                  <a:pt x="348" y="298"/>
                  <a:pt x="348" y="298"/>
                  <a:pt x="348" y="298"/>
                </a:cubicBezTo>
                <a:cubicBezTo>
                  <a:pt x="347" y="298"/>
                  <a:pt x="347" y="298"/>
                  <a:pt x="347" y="298"/>
                </a:cubicBezTo>
                <a:cubicBezTo>
                  <a:pt x="346" y="297"/>
                  <a:pt x="346" y="297"/>
                  <a:pt x="346" y="297"/>
                </a:cubicBezTo>
                <a:cubicBezTo>
                  <a:pt x="347" y="297"/>
                  <a:pt x="347" y="297"/>
                  <a:pt x="347" y="297"/>
                </a:cubicBezTo>
                <a:cubicBezTo>
                  <a:pt x="347" y="296"/>
                  <a:pt x="347" y="296"/>
                  <a:pt x="347" y="296"/>
                </a:cubicBezTo>
                <a:cubicBezTo>
                  <a:pt x="347" y="296"/>
                  <a:pt x="347" y="296"/>
                  <a:pt x="347" y="296"/>
                </a:cubicBezTo>
                <a:cubicBezTo>
                  <a:pt x="346" y="295"/>
                  <a:pt x="346" y="295"/>
                  <a:pt x="346" y="295"/>
                </a:cubicBezTo>
                <a:cubicBezTo>
                  <a:pt x="346" y="295"/>
                  <a:pt x="346" y="295"/>
                  <a:pt x="346" y="295"/>
                </a:cubicBezTo>
                <a:cubicBezTo>
                  <a:pt x="346" y="296"/>
                  <a:pt x="346" y="296"/>
                  <a:pt x="346" y="296"/>
                </a:cubicBezTo>
                <a:cubicBezTo>
                  <a:pt x="345" y="296"/>
                  <a:pt x="345" y="296"/>
                  <a:pt x="345" y="296"/>
                </a:cubicBezTo>
                <a:cubicBezTo>
                  <a:pt x="345" y="296"/>
                  <a:pt x="345" y="296"/>
                  <a:pt x="345" y="296"/>
                </a:cubicBezTo>
                <a:cubicBezTo>
                  <a:pt x="344" y="295"/>
                  <a:pt x="344" y="295"/>
                  <a:pt x="344" y="295"/>
                </a:cubicBezTo>
                <a:cubicBezTo>
                  <a:pt x="344" y="295"/>
                  <a:pt x="344" y="295"/>
                  <a:pt x="344" y="295"/>
                </a:cubicBezTo>
                <a:cubicBezTo>
                  <a:pt x="343" y="295"/>
                  <a:pt x="343" y="295"/>
                  <a:pt x="343" y="295"/>
                </a:cubicBezTo>
                <a:cubicBezTo>
                  <a:pt x="342" y="296"/>
                  <a:pt x="342" y="296"/>
                  <a:pt x="342" y="296"/>
                </a:cubicBezTo>
                <a:cubicBezTo>
                  <a:pt x="340" y="296"/>
                  <a:pt x="340" y="296"/>
                  <a:pt x="340" y="296"/>
                </a:cubicBezTo>
                <a:cubicBezTo>
                  <a:pt x="340" y="295"/>
                  <a:pt x="340" y="295"/>
                  <a:pt x="340" y="295"/>
                </a:cubicBezTo>
                <a:cubicBezTo>
                  <a:pt x="341" y="294"/>
                  <a:pt x="341" y="294"/>
                  <a:pt x="341" y="294"/>
                </a:cubicBezTo>
                <a:cubicBezTo>
                  <a:pt x="341" y="294"/>
                  <a:pt x="341" y="294"/>
                  <a:pt x="341" y="294"/>
                </a:cubicBezTo>
                <a:cubicBezTo>
                  <a:pt x="342" y="294"/>
                  <a:pt x="342" y="294"/>
                  <a:pt x="342" y="294"/>
                </a:cubicBezTo>
                <a:cubicBezTo>
                  <a:pt x="342" y="293"/>
                  <a:pt x="342" y="293"/>
                  <a:pt x="342" y="293"/>
                </a:cubicBezTo>
                <a:cubicBezTo>
                  <a:pt x="342" y="292"/>
                  <a:pt x="342" y="292"/>
                  <a:pt x="342" y="292"/>
                </a:cubicBezTo>
                <a:cubicBezTo>
                  <a:pt x="342" y="291"/>
                  <a:pt x="342" y="291"/>
                  <a:pt x="342" y="291"/>
                </a:cubicBezTo>
                <a:cubicBezTo>
                  <a:pt x="342" y="290"/>
                  <a:pt x="342" y="290"/>
                  <a:pt x="342" y="290"/>
                </a:cubicBezTo>
                <a:cubicBezTo>
                  <a:pt x="342" y="290"/>
                  <a:pt x="342" y="290"/>
                  <a:pt x="342" y="290"/>
                </a:cubicBezTo>
                <a:cubicBezTo>
                  <a:pt x="342" y="289"/>
                  <a:pt x="342" y="289"/>
                  <a:pt x="342" y="289"/>
                </a:cubicBezTo>
                <a:cubicBezTo>
                  <a:pt x="342" y="288"/>
                  <a:pt x="342" y="288"/>
                  <a:pt x="342" y="288"/>
                </a:cubicBezTo>
                <a:cubicBezTo>
                  <a:pt x="340" y="286"/>
                  <a:pt x="340" y="286"/>
                  <a:pt x="340" y="286"/>
                </a:cubicBezTo>
                <a:cubicBezTo>
                  <a:pt x="338" y="286"/>
                  <a:pt x="338" y="286"/>
                  <a:pt x="338" y="286"/>
                </a:cubicBezTo>
                <a:cubicBezTo>
                  <a:pt x="338" y="285"/>
                  <a:pt x="338" y="285"/>
                  <a:pt x="338" y="285"/>
                </a:cubicBezTo>
                <a:cubicBezTo>
                  <a:pt x="338" y="284"/>
                  <a:pt x="338" y="284"/>
                  <a:pt x="338" y="284"/>
                </a:cubicBezTo>
                <a:cubicBezTo>
                  <a:pt x="337" y="284"/>
                  <a:pt x="337" y="284"/>
                  <a:pt x="337" y="284"/>
                </a:cubicBezTo>
                <a:cubicBezTo>
                  <a:pt x="337" y="283"/>
                  <a:pt x="337" y="283"/>
                  <a:pt x="337" y="283"/>
                </a:cubicBezTo>
                <a:cubicBezTo>
                  <a:pt x="337" y="282"/>
                  <a:pt x="337" y="282"/>
                  <a:pt x="337" y="282"/>
                </a:cubicBezTo>
                <a:cubicBezTo>
                  <a:pt x="337" y="281"/>
                  <a:pt x="337" y="281"/>
                  <a:pt x="337" y="281"/>
                </a:cubicBezTo>
                <a:cubicBezTo>
                  <a:pt x="335" y="281"/>
                  <a:pt x="335" y="281"/>
                  <a:pt x="335" y="281"/>
                </a:cubicBezTo>
                <a:cubicBezTo>
                  <a:pt x="333" y="280"/>
                  <a:pt x="333" y="280"/>
                  <a:pt x="333" y="280"/>
                </a:cubicBezTo>
                <a:cubicBezTo>
                  <a:pt x="332" y="279"/>
                  <a:pt x="332" y="279"/>
                  <a:pt x="332" y="279"/>
                </a:cubicBezTo>
                <a:cubicBezTo>
                  <a:pt x="333" y="278"/>
                  <a:pt x="333" y="278"/>
                  <a:pt x="333" y="278"/>
                </a:cubicBezTo>
                <a:cubicBezTo>
                  <a:pt x="333" y="277"/>
                  <a:pt x="333" y="277"/>
                  <a:pt x="333" y="277"/>
                </a:cubicBezTo>
                <a:cubicBezTo>
                  <a:pt x="332" y="277"/>
                  <a:pt x="332" y="277"/>
                  <a:pt x="332" y="277"/>
                </a:cubicBezTo>
                <a:cubicBezTo>
                  <a:pt x="332" y="276"/>
                  <a:pt x="332" y="276"/>
                  <a:pt x="332" y="276"/>
                </a:cubicBezTo>
                <a:cubicBezTo>
                  <a:pt x="331" y="276"/>
                  <a:pt x="331" y="276"/>
                  <a:pt x="331" y="276"/>
                </a:cubicBezTo>
                <a:cubicBezTo>
                  <a:pt x="330" y="277"/>
                  <a:pt x="330" y="277"/>
                  <a:pt x="330" y="277"/>
                </a:cubicBezTo>
                <a:cubicBezTo>
                  <a:pt x="330" y="278"/>
                  <a:pt x="330" y="278"/>
                  <a:pt x="330" y="278"/>
                </a:cubicBezTo>
                <a:cubicBezTo>
                  <a:pt x="329" y="279"/>
                  <a:pt x="329" y="279"/>
                  <a:pt x="329" y="279"/>
                </a:cubicBezTo>
                <a:cubicBezTo>
                  <a:pt x="329" y="278"/>
                  <a:pt x="329" y="278"/>
                  <a:pt x="329" y="278"/>
                </a:cubicBezTo>
                <a:cubicBezTo>
                  <a:pt x="329" y="277"/>
                  <a:pt x="329" y="277"/>
                  <a:pt x="329" y="277"/>
                </a:cubicBezTo>
                <a:cubicBezTo>
                  <a:pt x="328" y="276"/>
                  <a:pt x="328" y="276"/>
                  <a:pt x="328" y="276"/>
                </a:cubicBezTo>
                <a:cubicBezTo>
                  <a:pt x="328" y="275"/>
                  <a:pt x="328" y="275"/>
                  <a:pt x="328" y="275"/>
                </a:cubicBezTo>
                <a:cubicBezTo>
                  <a:pt x="329" y="275"/>
                  <a:pt x="329" y="275"/>
                  <a:pt x="329" y="275"/>
                </a:cubicBezTo>
                <a:cubicBezTo>
                  <a:pt x="330" y="275"/>
                  <a:pt x="330" y="275"/>
                  <a:pt x="330" y="275"/>
                </a:cubicBezTo>
                <a:cubicBezTo>
                  <a:pt x="330" y="274"/>
                  <a:pt x="330" y="274"/>
                  <a:pt x="330" y="274"/>
                </a:cubicBezTo>
                <a:cubicBezTo>
                  <a:pt x="330" y="273"/>
                  <a:pt x="330" y="273"/>
                  <a:pt x="330" y="273"/>
                </a:cubicBezTo>
                <a:cubicBezTo>
                  <a:pt x="330" y="272"/>
                  <a:pt x="330" y="272"/>
                  <a:pt x="330" y="272"/>
                </a:cubicBezTo>
                <a:cubicBezTo>
                  <a:pt x="328" y="272"/>
                  <a:pt x="328" y="272"/>
                  <a:pt x="328" y="272"/>
                </a:cubicBezTo>
                <a:cubicBezTo>
                  <a:pt x="328" y="271"/>
                  <a:pt x="328" y="271"/>
                  <a:pt x="328" y="271"/>
                </a:cubicBezTo>
                <a:cubicBezTo>
                  <a:pt x="329" y="270"/>
                  <a:pt x="329" y="270"/>
                  <a:pt x="329" y="270"/>
                </a:cubicBezTo>
                <a:cubicBezTo>
                  <a:pt x="329" y="270"/>
                  <a:pt x="329" y="270"/>
                  <a:pt x="329" y="270"/>
                </a:cubicBezTo>
                <a:cubicBezTo>
                  <a:pt x="326" y="271"/>
                  <a:pt x="326" y="271"/>
                  <a:pt x="326" y="271"/>
                </a:cubicBezTo>
                <a:cubicBezTo>
                  <a:pt x="325" y="272"/>
                  <a:pt x="325" y="272"/>
                  <a:pt x="325" y="272"/>
                </a:cubicBezTo>
                <a:cubicBezTo>
                  <a:pt x="324" y="274"/>
                  <a:pt x="324" y="274"/>
                  <a:pt x="324" y="274"/>
                </a:cubicBezTo>
                <a:cubicBezTo>
                  <a:pt x="323" y="276"/>
                  <a:pt x="323" y="276"/>
                  <a:pt x="323" y="276"/>
                </a:cubicBezTo>
                <a:cubicBezTo>
                  <a:pt x="323" y="277"/>
                  <a:pt x="323" y="277"/>
                  <a:pt x="323" y="277"/>
                </a:cubicBezTo>
                <a:cubicBezTo>
                  <a:pt x="322" y="278"/>
                  <a:pt x="322" y="278"/>
                  <a:pt x="322" y="278"/>
                </a:cubicBezTo>
                <a:cubicBezTo>
                  <a:pt x="322" y="279"/>
                  <a:pt x="322" y="279"/>
                  <a:pt x="322" y="279"/>
                </a:cubicBezTo>
                <a:cubicBezTo>
                  <a:pt x="321" y="281"/>
                  <a:pt x="321" y="281"/>
                  <a:pt x="321" y="281"/>
                </a:cubicBezTo>
                <a:cubicBezTo>
                  <a:pt x="321" y="282"/>
                  <a:pt x="321" y="282"/>
                  <a:pt x="321" y="282"/>
                </a:cubicBezTo>
                <a:cubicBezTo>
                  <a:pt x="321" y="282"/>
                  <a:pt x="321" y="282"/>
                  <a:pt x="321" y="282"/>
                </a:cubicBezTo>
                <a:cubicBezTo>
                  <a:pt x="320" y="283"/>
                  <a:pt x="320" y="283"/>
                  <a:pt x="320" y="283"/>
                </a:cubicBezTo>
                <a:cubicBezTo>
                  <a:pt x="320" y="284"/>
                  <a:pt x="320" y="284"/>
                  <a:pt x="320" y="284"/>
                </a:cubicBezTo>
                <a:cubicBezTo>
                  <a:pt x="319" y="286"/>
                  <a:pt x="319" y="286"/>
                  <a:pt x="319" y="286"/>
                </a:cubicBezTo>
                <a:cubicBezTo>
                  <a:pt x="318" y="287"/>
                  <a:pt x="318" y="287"/>
                  <a:pt x="318" y="287"/>
                </a:cubicBezTo>
                <a:cubicBezTo>
                  <a:pt x="318" y="288"/>
                  <a:pt x="318" y="288"/>
                  <a:pt x="318" y="288"/>
                </a:cubicBezTo>
                <a:cubicBezTo>
                  <a:pt x="318" y="289"/>
                  <a:pt x="318" y="289"/>
                  <a:pt x="318" y="289"/>
                </a:cubicBezTo>
                <a:cubicBezTo>
                  <a:pt x="318" y="291"/>
                  <a:pt x="318" y="291"/>
                  <a:pt x="318" y="291"/>
                </a:cubicBezTo>
                <a:cubicBezTo>
                  <a:pt x="317" y="292"/>
                  <a:pt x="317" y="292"/>
                  <a:pt x="317" y="292"/>
                </a:cubicBezTo>
                <a:cubicBezTo>
                  <a:pt x="316" y="292"/>
                  <a:pt x="316" y="292"/>
                  <a:pt x="316" y="292"/>
                </a:cubicBezTo>
                <a:cubicBezTo>
                  <a:pt x="314" y="293"/>
                  <a:pt x="314" y="293"/>
                  <a:pt x="314" y="293"/>
                </a:cubicBezTo>
                <a:cubicBezTo>
                  <a:pt x="314" y="294"/>
                  <a:pt x="314" y="294"/>
                  <a:pt x="314" y="294"/>
                </a:cubicBezTo>
                <a:cubicBezTo>
                  <a:pt x="313" y="296"/>
                  <a:pt x="313" y="296"/>
                  <a:pt x="313" y="296"/>
                </a:cubicBezTo>
                <a:cubicBezTo>
                  <a:pt x="313" y="297"/>
                  <a:pt x="313" y="297"/>
                  <a:pt x="313" y="297"/>
                </a:cubicBezTo>
                <a:close/>
                <a:moveTo>
                  <a:pt x="323" y="315"/>
                </a:moveTo>
                <a:cubicBezTo>
                  <a:pt x="323" y="315"/>
                  <a:pt x="324" y="316"/>
                  <a:pt x="324" y="316"/>
                </a:cubicBezTo>
                <a:cubicBezTo>
                  <a:pt x="324" y="316"/>
                  <a:pt x="324" y="316"/>
                  <a:pt x="324" y="316"/>
                </a:cubicBezTo>
                <a:cubicBezTo>
                  <a:pt x="325" y="314"/>
                  <a:pt x="325" y="314"/>
                  <a:pt x="325" y="314"/>
                </a:cubicBezTo>
                <a:cubicBezTo>
                  <a:pt x="326" y="314"/>
                  <a:pt x="326" y="314"/>
                  <a:pt x="326" y="314"/>
                </a:cubicBezTo>
                <a:cubicBezTo>
                  <a:pt x="327" y="314"/>
                  <a:pt x="327" y="314"/>
                  <a:pt x="327" y="314"/>
                </a:cubicBezTo>
                <a:cubicBezTo>
                  <a:pt x="327" y="315"/>
                  <a:pt x="327" y="315"/>
                  <a:pt x="327" y="315"/>
                </a:cubicBezTo>
                <a:cubicBezTo>
                  <a:pt x="328" y="315"/>
                  <a:pt x="328" y="315"/>
                  <a:pt x="328" y="315"/>
                </a:cubicBezTo>
                <a:cubicBezTo>
                  <a:pt x="329" y="313"/>
                  <a:pt x="329" y="313"/>
                  <a:pt x="329" y="313"/>
                </a:cubicBezTo>
                <a:cubicBezTo>
                  <a:pt x="330" y="313"/>
                  <a:pt x="330" y="313"/>
                  <a:pt x="330" y="313"/>
                </a:cubicBezTo>
                <a:cubicBezTo>
                  <a:pt x="331" y="312"/>
                  <a:pt x="331" y="312"/>
                  <a:pt x="331" y="312"/>
                </a:cubicBezTo>
                <a:cubicBezTo>
                  <a:pt x="332" y="311"/>
                  <a:pt x="332" y="311"/>
                  <a:pt x="332" y="311"/>
                </a:cubicBezTo>
                <a:cubicBezTo>
                  <a:pt x="333" y="311"/>
                  <a:pt x="333" y="311"/>
                  <a:pt x="333" y="311"/>
                </a:cubicBezTo>
                <a:cubicBezTo>
                  <a:pt x="335" y="310"/>
                  <a:pt x="335" y="310"/>
                  <a:pt x="335" y="310"/>
                </a:cubicBezTo>
                <a:cubicBezTo>
                  <a:pt x="335" y="309"/>
                  <a:pt x="335" y="309"/>
                  <a:pt x="335" y="309"/>
                </a:cubicBezTo>
                <a:cubicBezTo>
                  <a:pt x="336" y="308"/>
                  <a:pt x="336" y="308"/>
                  <a:pt x="336" y="308"/>
                </a:cubicBezTo>
                <a:cubicBezTo>
                  <a:pt x="336" y="308"/>
                  <a:pt x="336" y="308"/>
                  <a:pt x="336" y="308"/>
                </a:cubicBezTo>
                <a:cubicBezTo>
                  <a:pt x="334" y="308"/>
                  <a:pt x="334" y="308"/>
                  <a:pt x="334" y="308"/>
                </a:cubicBezTo>
                <a:cubicBezTo>
                  <a:pt x="334" y="307"/>
                  <a:pt x="334" y="307"/>
                  <a:pt x="334" y="307"/>
                </a:cubicBezTo>
                <a:cubicBezTo>
                  <a:pt x="333" y="307"/>
                  <a:pt x="333" y="307"/>
                  <a:pt x="333" y="307"/>
                </a:cubicBezTo>
                <a:cubicBezTo>
                  <a:pt x="332" y="308"/>
                  <a:pt x="332" y="308"/>
                  <a:pt x="332" y="308"/>
                </a:cubicBezTo>
                <a:cubicBezTo>
                  <a:pt x="332" y="307"/>
                  <a:pt x="332" y="307"/>
                  <a:pt x="332" y="307"/>
                </a:cubicBezTo>
                <a:cubicBezTo>
                  <a:pt x="331" y="308"/>
                  <a:pt x="331" y="308"/>
                  <a:pt x="331" y="308"/>
                </a:cubicBezTo>
                <a:cubicBezTo>
                  <a:pt x="330" y="308"/>
                  <a:pt x="330" y="308"/>
                  <a:pt x="330" y="308"/>
                </a:cubicBezTo>
                <a:cubicBezTo>
                  <a:pt x="329" y="308"/>
                  <a:pt x="329" y="308"/>
                  <a:pt x="329" y="308"/>
                </a:cubicBezTo>
                <a:cubicBezTo>
                  <a:pt x="329" y="307"/>
                  <a:pt x="329" y="307"/>
                  <a:pt x="329" y="307"/>
                </a:cubicBezTo>
                <a:cubicBezTo>
                  <a:pt x="328" y="307"/>
                  <a:pt x="328" y="307"/>
                  <a:pt x="328" y="307"/>
                </a:cubicBezTo>
                <a:cubicBezTo>
                  <a:pt x="327" y="307"/>
                  <a:pt x="327" y="307"/>
                  <a:pt x="327" y="307"/>
                </a:cubicBezTo>
                <a:cubicBezTo>
                  <a:pt x="326" y="309"/>
                  <a:pt x="326" y="309"/>
                  <a:pt x="326" y="309"/>
                </a:cubicBezTo>
                <a:cubicBezTo>
                  <a:pt x="326" y="310"/>
                  <a:pt x="326" y="310"/>
                  <a:pt x="326" y="310"/>
                </a:cubicBezTo>
                <a:cubicBezTo>
                  <a:pt x="325" y="310"/>
                  <a:pt x="325" y="310"/>
                  <a:pt x="325" y="310"/>
                </a:cubicBezTo>
                <a:cubicBezTo>
                  <a:pt x="323" y="311"/>
                  <a:pt x="323" y="311"/>
                  <a:pt x="323" y="311"/>
                </a:cubicBezTo>
                <a:cubicBezTo>
                  <a:pt x="323" y="312"/>
                  <a:pt x="323" y="312"/>
                  <a:pt x="323" y="312"/>
                </a:cubicBezTo>
                <a:cubicBezTo>
                  <a:pt x="323" y="312"/>
                  <a:pt x="323" y="312"/>
                  <a:pt x="323" y="312"/>
                </a:cubicBezTo>
                <a:cubicBezTo>
                  <a:pt x="324" y="313"/>
                  <a:pt x="324" y="313"/>
                  <a:pt x="324" y="313"/>
                </a:cubicBezTo>
                <a:cubicBezTo>
                  <a:pt x="323" y="314"/>
                  <a:pt x="323" y="314"/>
                  <a:pt x="323" y="314"/>
                </a:cubicBezTo>
                <a:cubicBezTo>
                  <a:pt x="323" y="315"/>
                  <a:pt x="323" y="315"/>
                  <a:pt x="323" y="315"/>
                </a:cubicBezTo>
                <a:close/>
                <a:moveTo>
                  <a:pt x="425" y="324"/>
                </a:moveTo>
                <a:cubicBezTo>
                  <a:pt x="425" y="324"/>
                  <a:pt x="425" y="324"/>
                  <a:pt x="425" y="324"/>
                </a:cubicBezTo>
                <a:cubicBezTo>
                  <a:pt x="426" y="324"/>
                  <a:pt x="426" y="324"/>
                  <a:pt x="426" y="324"/>
                </a:cubicBezTo>
                <a:cubicBezTo>
                  <a:pt x="427" y="325"/>
                  <a:pt x="427" y="325"/>
                  <a:pt x="427" y="325"/>
                </a:cubicBezTo>
                <a:cubicBezTo>
                  <a:pt x="428" y="324"/>
                  <a:pt x="428" y="324"/>
                  <a:pt x="428" y="324"/>
                </a:cubicBezTo>
                <a:cubicBezTo>
                  <a:pt x="428" y="324"/>
                  <a:pt x="428" y="324"/>
                  <a:pt x="428" y="324"/>
                </a:cubicBezTo>
                <a:cubicBezTo>
                  <a:pt x="428" y="323"/>
                  <a:pt x="428" y="323"/>
                  <a:pt x="428" y="323"/>
                </a:cubicBezTo>
                <a:cubicBezTo>
                  <a:pt x="428" y="323"/>
                  <a:pt x="428" y="323"/>
                  <a:pt x="428" y="323"/>
                </a:cubicBezTo>
                <a:cubicBezTo>
                  <a:pt x="428" y="322"/>
                  <a:pt x="428" y="322"/>
                  <a:pt x="428" y="322"/>
                </a:cubicBezTo>
                <a:cubicBezTo>
                  <a:pt x="427" y="323"/>
                  <a:pt x="427" y="323"/>
                  <a:pt x="427" y="323"/>
                </a:cubicBezTo>
                <a:cubicBezTo>
                  <a:pt x="426" y="323"/>
                  <a:pt x="426" y="323"/>
                  <a:pt x="426" y="323"/>
                </a:cubicBezTo>
                <a:cubicBezTo>
                  <a:pt x="425" y="324"/>
                  <a:pt x="425" y="324"/>
                  <a:pt x="425" y="324"/>
                </a:cubicBezTo>
                <a:close/>
                <a:moveTo>
                  <a:pt x="393" y="315"/>
                </a:moveTo>
                <a:cubicBezTo>
                  <a:pt x="393" y="316"/>
                  <a:pt x="393" y="316"/>
                  <a:pt x="393" y="316"/>
                </a:cubicBezTo>
                <a:cubicBezTo>
                  <a:pt x="395" y="316"/>
                  <a:pt x="395" y="316"/>
                  <a:pt x="395" y="316"/>
                </a:cubicBezTo>
                <a:cubicBezTo>
                  <a:pt x="395" y="317"/>
                  <a:pt x="395" y="317"/>
                  <a:pt x="395" y="317"/>
                </a:cubicBezTo>
                <a:cubicBezTo>
                  <a:pt x="395" y="317"/>
                  <a:pt x="395" y="317"/>
                  <a:pt x="395" y="317"/>
                </a:cubicBezTo>
                <a:cubicBezTo>
                  <a:pt x="395" y="318"/>
                  <a:pt x="395" y="318"/>
                  <a:pt x="395" y="318"/>
                </a:cubicBezTo>
                <a:cubicBezTo>
                  <a:pt x="396" y="318"/>
                  <a:pt x="396" y="318"/>
                  <a:pt x="396" y="318"/>
                </a:cubicBezTo>
                <a:cubicBezTo>
                  <a:pt x="396" y="318"/>
                  <a:pt x="396" y="318"/>
                  <a:pt x="396" y="318"/>
                </a:cubicBezTo>
                <a:cubicBezTo>
                  <a:pt x="397" y="318"/>
                  <a:pt x="397" y="318"/>
                  <a:pt x="397" y="318"/>
                </a:cubicBezTo>
                <a:cubicBezTo>
                  <a:pt x="397" y="318"/>
                  <a:pt x="397" y="318"/>
                  <a:pt x="397" y="318"/>
                </a:cubicBezTo>
                <a:cubicBezTo>
                  <a:pt x="397" y="318"/>
                  <a:pt x="397" y="318"/>
                  <a:pt x="397" y="318"/>
                </a:cubicBezTo>
                <a:cubicBezTo>
                  <a:pt x="397" y="317"/>
                  <a:pt x="397" y="317"/>
                  <a:pt x="397" y="317"/>
                </a:cubicBezTo>
                <a:cubicBezTo>
                  <a:pt x="396" y="316"/>
                  <a:pt x="396" y="316"/>
                  <a:pt x="396" y="316"/>
                </a:cubicBezTo>
                <a:cubicBezTo>
                  <a:pt x="396" y="316"/>
                  <a:pt x="396" y="316"/>
                  <a:pt x="396" y="316"/>
                </a:cubicBezTo>
                <a:cubicBezTo>
                  <a:pt x="395" y="316"/>
                  <a:pt x="395" y="316"/>
                  <a:pt x="395" y="316"/>
                </a:cubicBezTo>
                <a:cubicBezTo>
                  <a:pt x="394" y="315"/>
                  <a:pt x="394" y="315"/>
                  <a:pt x="394" y="315"/>
                </a:cubicBezTo>
                <a:cubicBezTo>
                  <a:pt x="393" y="315"/>
                  <a:pt x="393" y="315"/>
                  <a:pt x="393" y="315"/>
                </a:cubicBezTo>
                <a:cubicBezTo>
                  <a:pt x="393" y="315"/>
                  <a:pt x="393" y="315"/>
                  <a:pt x="393" y="315"/>
                </a:cubicBezTo>
                <a:close/>
                <a:moveTo>
                  <a:pt x="423" y="332"/>
                </a:moveTo>
                <a:cubicBezTo>
                  <a:pt x="422" y="331"/>
                  <a:pt x="422" y="331"/>
                  <a:pt x="422" y="331"/>
                </a:cubicBezTo>
                <a:cubicBezTo>
                  <a:pt x="422" y="330"/>
                  <a:pt x="422" y="330"/>
                  <a:pt x="422" y="330"/>
                </a:cubicBezTo>
                <a:cubicBezTo>
                  <a:pt x="422" y="330"/>
                  <a:pt x="422" y="330"/>
                  <a:pt x="422" y="330"/>
                </a:cubicBezTo>
                <a:cubicBezTo>
                  <a:pt x="422" y="329"/>
                  <a:pt x="422" y="329"/>
                  <a:pt x="422" y="329"/>
                </a:cubicBezTo>
                <a:cubicBezTo>
                  <a:pt x="422" y="328"/>
                  <a:pt x="422" y="328"/>
                  <a:pt x="422" y="328"/>
                </a:cubicBezTo>
                <a:cubicBezTo>
                  <a:pt x="423" y="329"/>
                  <a:pt x="423" y="329"/>
                  <a:pt x="423" y="329"/>
                </a:cubicBezTo>
                <a:cubicBezTo>
                  <a:pt x="423" y="330"/>
                  <a:pt x="423" y="330"/>
                  <a:pt x="423" y="330"/>
                </a:cubicBezTo>
                <a:cubicBezTo>
                  <a:pt x="424" y="330"/>
                  <a:pt x="424" y="330"/>
                  <a:pt x="424" y="330"/>
                </a:cubicBezTo>
                <a:cubicBezTo>
                  <a:pt x="424" y="331"/>
                  <a:pt x="424" y="331"/>
                  <a:pt x="424" y="331"/>
                </a:cubicBezTo>
                <a:cubicBezTo>
                  <a:pt x="423" y="332"/>
                  <a:pt x="423" y="332"/>
                  <a:pt x="423" y="332"/>
                </a:cubicBezTo>
                <a:close/>
                <a:moveTo>
                  <a:pt x="422" y="335"/>
                </a:moveTo>
                <a:cubicBezTo>
                  <a:pt x="422" y="335"/>
                  <a:pt x="422" y="335"/>
                  <a:pt x="422" y="335"/>
                </a:cubicBezTo>
                <a:cubicBezTo>
                  <a:pt x="422" y="334"/>
                  <a:pt x="422" y="334"/>
                  <a:pt x="422" y="334"/>
                </a:cubicBezTo>
                <a:cubicBezTo>
                  <a:pt x="421" y="334"/>
                  <a:pt x="421" y="334"/>
                  <a:pt x="421" y="334"/>
                </a:cubicBezTo>
                <a:cubicBezTo>
                  <a:pt x="420" y="334"/>
                  <a:pt x="420" y="334"/>
                  <a:pt x="420" y="334"/>
                </a:cubicBezTo>
                <a:cubicBezTo>
                  <a:pt x="420" y="333"/>
                  <a:pt x="420" y="333"/>
                  <a:pt x="420" y="333"/>
                </a:cubicBezTo>
                <a:cubicBezTo>
                  <a:pt x="420" y="332"/>
                  <a:pt x="420" y="332"/>
                  <a:pt x="420" y="332"/>
                </a:cubicBezTo>
                <a:cubicBezTo>
                  <a:pt x="420" y="332"/>
                  <a:pt x="420" y="332"/>
                  <a:pt x="420" y="332"/>
                </a:cubicBezTo>
                <a:cubicBezTo>
                  <a:pt x="421" y="332"/>
                  <a:pt x="421" y="332"/>
                  <a:pt x="421" y="332"/>
                </a:cubicBezTo>
                <a:cubicBezTo>
                  <a:pt x="423" y="332"/>
                  <a:pt x="423" y="332"/>
                  <a:pt x="423" y="332"/>
                </a:cubicBezTo>
                <a:cubicBezTo>
                  <a:pt x="424" y="333"/>
                  <a:pt x="424" y="333"/>
                  <a:pt x="424" y="333"/>
                </a:cubicBezTo>
                <a:cubicBezTo>
                  <a:pt x="424" y="333"/>
                  <a:pt x="424" y="333"/>
                  <a:pt x="424" y="333"/>
                </a:cubicBezTo>
                <a:cubicBezTo>
                  <a:pt x="423" y="334"/>
                  <a:pt x="423" y="334"/>
                  <a:pt x="423" y="334"/>
                </a:cubicBezTo>
                <a:cubicBezTo>
                  <a:pt x="423" y="334"/>
                  <a:pt x="423" y="334"/>
                  <a:pt x="423" y="334"/>
                </a:cubicBezTo>
                <a:cubicBezTo>
                  <a:pt x="423" y="335"/>
                  <a:pt x="423" y="335"/>
                  <a:pt x="423" y="335"/>
                </a:cubicBezTo>
                <a:cubicBezTo>
                  <a:pt x="423" y="335"/>
                  <a:pt x="423" y="335"/>
                  <a:pt x="423" y="335"/>
                </a:cubicBezTo>
                <a:cubicBezTo>
                  <a:pt x="422" y="335"/>
                  <a:pt x="422" y="335"/>
                  <a:pt x="422" y="335"/>
                </a:cubicBezTo>
                <a:close/>
                <a:moveTo>
                  <a:pt x="391" y="354"/>
                </a:moveTo>
                <a:cubicBezTo>
                  <a:pt x="391" y="355"/>
                  <a:pt x="391" y="355"/>
                  <a:pt x="391" y="355"/>
                </a:cubicBezTo>
                <a:cubicBezTo>
                  <a:pt x="391" y="355"/>
                  <a:pt x="391" y="355"/>
                  <a:pt x="391" y="355"/>
                </a:cubicBezTo>
                <a:cubicBezTo>
                  <a:pt x="391" y="354"/>
                  <a:pt x="391" y="354"/>
                  <a:pt x="391" y="354"/>
                </a:cubicBezTo>
                <a:close/>
                <a:moveTo>
                  <a:pt x="392" y="355"/>
                </a:moveTo>
                <a:cubicBezTo>
                  <a:pt x="391" y="355"/>
                  <a:pt x="391" y="355"/>
                  <a:pt x="391" y="355"/>
                </a:cubicBezTo>
                <a:cubicBezTo>
                  <a:pt x="392" y="355"/>
                  <a:pt x="392" y="355"/>
                  <a:pt x="392" y="355"/>
                </a:cubicBezTo>
                <a:cubicBezTo>
                  <a:pt x="392" y="355"/>
                  <a:pt x="392" y="355"/>
                  <a:pt x="392" y="355"/>
                </a:cubicBezTo>
                <a:close/>
                <a:moveTo>
                  <a:pt x="392" y="354"/>
                </a:moveTo>
                <a:cubicBezTo>
                  <a:pt x="392" y="355"/>
                  <a:pt x="392" y="355"/>
                  <a:pt x="392" y="355"/>
                </a:cubicBezTo>
                <a:cubicBezTo>
                  <a:pt x="392" y="356"/>
                  <a:pt x="392" y="356"/>
                  <a:pt x="392" y="356"/>
                </a:cubicBezTo>
                <a:cubicBezTo>
                  <a:pt x="392" y="357"/>
                  <a:pt x="392" y="357"/>
                  <a:pt x="392" y="357"/>
                </a:cubicBezTo>
                <a:cubicBezTo>
                  <a:pt x="393" y="356"/>
                  <a:pt x="393" y="356"/>
                  <a:pt x="393" y="356"/>
                </a:cubicBezTo>
                <a:cubicBezTo>
                  <a:pt x="393" y="355"/>
                  <a:pt x="393" y="355"/>
                  <a:pt x="393" y="355"/>
                </a:cubicBezTo>
                <a:cubicBezTo>
                  <a:pt x="392" y="354"/>
                  <a:pt x="392" y="354"/>
                  <a:pt x="392" y="354"/>
                </a:cubicBezTo>
                <a:close/>
                <a:moveTo>
                  <a:pt x="401" y="345"/>
                </a:moveTo>
                <a:cubicBezTo>
                  <a:pt x="401" y="344"/>
                  <a:pt x="401" y="344"/>
                  <a:pt x="401" y="344"/>
                </a:cubicBezTo>
                <a:cubicBezTo>
                  <a:pt x="401" y="343"/>
                  <a:pt x="401" y="343"/>
                  <a:pt x="401" y="343"/>
                </a:cubicBezTo>
                <a:cubicBezTo>
                  <a:pt x="401" y="343"/>
                  <a:pt x="401" y="343"/>
                  <a:pt x="401" y="343"/>
                </a:cubicBezTo>
                <a:cubicBezTo>
                  <a:pt x="402" y="342"/>
                  <a:pt x="402" y="342"/>
                  <a:pt x="402" y="342"/>
                </a:cubicBezTo>
                <a:cubicBezTo>
                  <a:pt x="403" y="341"/>
                  <a:pt x="403" y="341"/>
                  <a:pt x="403" y="341"/>
                </a:cubicBezTo>
                <a:cubicBezTo>
                  <a:pt x="404" y="341"/>
                  <a:pt x="404" y="341"/>
                  <a:pt x="404" y="341"/>
                </a:cubicBezTo>
                <a:cubicBezTo>
                  <a:pt x="404" y="341"/>
                  <a:pt x="404" y="341"/>
                  <a:pt x="404" y="341"/>
                </a:cubicBezTo>
                <a:cubicBezTo>
                  <a:pt x="404" y="342"/>
                  <a:pt x="404" y="342"/>
                  <a:pt x="404" y="342"/>
                </a:cubicBezTo>
                <a:cubicBezTo>
                  <a:pt x="405" y="342"/>
                  <a:pt x="405" y="342"/>
                  <a:pt x="405" y="342"/>
                </a:cubicBezTo>
                <a:cubicBezTo>
                  <a:pt x="405" y="343"/>
                  <a:pt x="405" y="343"/>
                  <a:pt x="405" y="343"/>
                </a:cubicBezTo>
                <a:cubicBezTo>
                  <a:pt x="404" y="343"/>
                  <a:pt x="404" y="343"/>
                  <a:pt x="404" y="343"/>
                </a:cubicBezTo>
                <a:cubicBezTo>
                  <a:pt x="403" y="344"/>
                  <a:pt x="403" y="344"/>
                  <a:pt x="403" y="344"/>
                </a:cubicBezTo>
                <a:cubicBezTo>
                  <a:pt x="402" y="344"/>
                  <a:pt x="402" y="344"/>
                  <a:pt x="402" y="344"/>
                </a:cubicBezTo>
                <a:cubicBezTo>
                  <a:pt x="401" y="345"/>
                  <a:pt x="401" y="345"/>
                  <a:pt x="401" y="345"/>
                </a:cubicBezTo>
                <a:cubicBezTo>
                  <a:pt x="401" y="345"/>
                  <a:pt x="401" y="345"/>
                  <a:pt x="401" y="345"/>
                </a:cubicBezTo>
                <a:close/>
                <a:moveTo>
                  <a:pt x="373" y="314"/>
                </a:moveTo>
                <a:cubicBezTo>
                  <a:pt x="374" y="315"/>
                  <a:pt x="374" y="315"/>
                  <a:pt x="374" y="315"/>
                </a:cubicBezTo>
                <a:cubicBezTo>
                  <a:pt x="375" y="316"/>
                  <a:pt x="375" y="316"/>
                  <a:pt x="375" y="316"/>
                </a:cubicBezTo>
                <a:cubicBezTo>
                  <a:pt x="376" y="316"/>
                  <a:pt x="376" y="316"/>
                  <a:pt x="376" y="316"/>
                </a:cubicBezTo>
                <a:cubicBezTo>
                  <a:pt x="377" y="316"/>
                  <a:pt x="377" y="316"/>
                  <a:pt x="377" y="316"/>
                </a:cubicBezTo>
                <a:cubicBezTo>
                  <a:pt x="377" y="316"/>
                  <a:pt x="377" y="316"/>
                  <a:pt x="377" y="316"/>
                </a:cubicBezTo>
                <a:cubicBezTo>
                  <a:pt x="376" y="315"/>
                  <a:pt x="376" y="315"/>
                  <a:pt x="376" y="315"/>
                </a:cubicBezTo>
                <a:cubicBezTo>
                  <a:pt x="375" y="314"/>
                  <a:pt x="375" y="314"/>
                  <a:pt x="375" y="314"/>
                </a:cubicBezTo>
                <a:cubicBezTo>
                  <a:pt x="374" y="314"/>
                  <a:pt x="374" y="314"/>
                  <a:pt x="374" y="314"/>
                </a:cubicBezTo>
                <a:cubicBezTo>
                  <a:pt x="373" y="314"/>
                  <a:pt x="373" y="314"/>
                  <a:pt x="373" y="314"/>
                </a:cubicBezTo>
                <a:close/>
                <a:moveTo>
                  <a:pt x="364" y="305"/>
                </a:moveTo>
                <a:cubicBezTo>
                  <a:pt x="364" y="306"/>
                  <a:pt x="364" y="306"/>
                  <a:pt x="364" y="306"/>
                </a:cubicBezTo>
                <a:cubicBezTo>
                  <a:pt x="365" y="306"/>
                  <a:pt x="365" y="306"/>
                  <a:pt x="365" y="306"/>
                </a:cubicBezTo>
                <a:cubicBezTo>
                  <a:pt x="365" y="306"/>
                  <a:pt x="365" y="306"/>
                  <a:pt x="365" y="306"/>
                </a:cubicBezTo>
                <a:cubicBezTo>
                  <a:pt x="366" y="306"/>
                  <a:pt x="366" y="306"/>
                  <a:pt x="366" y="306"/>
                </a:cubicBezTo>
                <a:cubicBezTo>
                  <a:pt x="366" y="305"/>
                  <a:pt x="366" y="305"/>
                  <a:pt x="366" y="305"/>
                </a:cubicBezTo>
                <a:cubicBezTo>
                  <a:pt x="366" y="305"/>
                  <a:pt x="366" y="305"/>
                  <a:pt x="366" y="305"/>
                </a:cubicBezTo>
                <a:cubicBezTo>
                  <a:pt x="367" y="305"/>
                  <a:pt x="367" y="305"/>
                  <a:pt x="367" y="305"/>
                </a:cubicBezTo>
                <a:cubicBezTo>
                  <a:pt x="366" y="304"/>
                  <a:pt x="366" y="304"/>
                  <a:pt x="366" y="304"/>
                </a:cubicBezTo>
                <a:cubicBezTo>
                  <a:pt x="366" y="304"/>
                  <a:pt x="366" y="304"/>
                  <a:pt x="366" y="304"/>
                </a:cubicBezTo>
                <a:cubicBezTo>
                  <a:pt x="366" y="304"/>
                  <a:pt x="366" y="304"/>
                  <a:pt x="366" y="304"/>
                </a:cubicBezTo>
                <a:cubicBezTo>
                  <a:pt x="365" y="303"/>
                  <a:pt x="365" y="303"/>
                  <a:pt x="365" y="303"/>
                </a:cubicBezTo>
                <a:cubicBezTo>
                  <a:pt x="364" y="303"/>
                  <a:pt x="364" y="303"/>
                  <a:pt x="364" y="303"/>
                </a:cubicBezTo>
                <a:cubicBezTo>
                  <a:pt x="364" y="302"/>
                  <a:pt x="364" y="302"/>
                  <a:pt x="364" y="302"/>
                </a:cubicBezTo>
                <a:cubicBezTo>
                  <a:pt x="364" y="302"/>
                  <a:pt x="364" y="302"/>
                  <a:pt x="364" y="302"/>
                </a:cubicBezTo>
                <a:cubicBezTo>
                  <a:pt x="363" y="302"/>
                  <a:pt x="363" y="302"/>
                  <a:pt x="363" y="302"/>
                </a:cubicBezTo>
                <a:cubicBezTo>
                  <a:pt x="363" y="302"/>
                  <a:pt x="363" y="302"/>
                  <a:pt x="363" y="302"/>
                </a:cubicBezTo>
                <a:cubicBezTo>
                  <a:pt x="362" y="302"/>
                  <a:pt x="362" y="302"/>
                  <a:pt x="362" y="302"/>
                </a:cubicBezTo>
                <a:cubicBezTo>
                  <a:pt x="362" y="302"/>
                  <a:pt x="362" y="302"/>
                  <a:pt x="362" y="302"/>
                </a:cubicBezTo>
                <a:cubicBezTo>
                  <a:pt x="362" y="303"/>
                  <a:pt x="362" y="303"/>
                  <a:pt x="362" y="303"/>
                </a:cubicBezTo>
                <a:cubicBezTo>
                  <a:pt x="362" y="303"/>
                  <a:pt x="362" y="303"/>
                  <a:pt x="362" y="303"/>
                </a:cubicBezTo>
                <a:cubicBezTo>
                  <a:pt x="363" y="303"/>
                  <a:pt x="363" y="303"/>
                  <a:pt x="363" y="303"/>
                </a:cubicBezTo>
                <a:cubicBezTo>
                  <a:pt x="363" y="304"/>
                  <a:pt x="363" y="304"/>
                  <a:pt x="363" y="304"/>
                </a:cubicBezTo>
                <a:cubicBezTo>
                  <a:pt x="364" y="305"/>
                  <a:pt x="364" y="305"/>
                  <a:pt x="364" y="305"/>
                </a:cubicBezTo>
                <a:cubicBezTo>
                  <a:pt x="364" y="305"/>
                  <a:pt x="364" y="305"/>
                  <a:pt x="364" y="305"/>
                </a:cubicBezTo>
                <a:close/>
                <a:moveTo>
                  <a:pt x="357" y="309"/>
                </a:moveTo>
                <a:cubicBezTo>
                  <a:pt x="358" y="308"/>
                  <a:pt x="358" y="308"/>
                  <a:pt x="358" y="308"/>
                </a:cubicBezTo>
                <a:cubicBezTo>
                  <a:pt x="359" y="308"/>
                  <a:pt x="359" y="308"/>
                  <a:pt x="359" y="308"/>
                </a:cubicBezTo>
                <a:cubicBezTo>
                  <a:pt x="360" y="308"/>
                  <a:pt x="360" y="308"/>
                  <a:pt x="360" y="308"/>
                </a:cubicBezTo>
                <a:cubicBezTo>
                  <a:pt x="360" y="307"/>
                  <a:pt x="360" y="307"/>
                  <a:pt x="360" y="307"/>
                </a:cubicBezTo>
                <a:cubicBezTo>
                  <a:pt x="360" y="307"/>
                  <a:pt x="360" y="307"/>
                  <a:pt x="360" y="307"/>
                </a:cubicBezTo>
                <a:cubicBezTo>
                  <a:pt x="360" y="306"/>
                  <a:pt x="360" y="306"/>
                  <a:pt x="360" y="306"/>
                </a:cubicBezTo>
                <a:cubicBezTo>
                  <a:pt x="360" y="305"/>
                  <a:pt x="360" y="305"/>
                  <a:pt x="360" y="305"/>
                </a:cubicBezTo>
                <a:cubicBezTo>
                  <a:pt x="360" y="304"/>
                  <a:pt x="360" y="304"/>
                  <a:pt x="360" y="304"/>
                </a:cubicBezTo>
                <a:cubicBezTo>
                  <a:pt x="358" y="304"/>
                  <a:pt x="358" y="304"/>
                  <a:pt x="358" y="304"/>
                </a:cubicBezTo>
                <a:cubicBezTo>
                  <a:pt x="358" y="304"/>
                  <a:pt x="358" y="304"/>
                  <a:pt x="358" y="304"/>
                </a:cubicBezTo>
                <a:cubicBezTo>
                  <a:pt x="357" y="303"/>
                  <a:pt x="357" y="303"/>
                  <a:pt x="357" y="303"/>
                </a:cubicBezTo>
                <a:cubicBezTo>
                  <a:pt x="357" y="303"/>
                  <a:pt x="357" y="303"/>
                  <a:pt x="357" y="303"/>
                </a:cubicBezTo>
                <a:cubicBezTo>
                  <a:pt x="355" y="303"/>
                  <a:pt x="355" y="303"/>
                  <a:pt x="355" y="303"/>
                </a:cubicBezTo>
                <a:cubicBezTo>
                  <a:pt x="355" y="303"/>
                  <a:pt x="355" y="303"/>
                  <a:pt x="355" y="303"/>
                </a:cubicBezTo>
                <a:cubicBezTo>
                  <a:pt x="355" y="304"/>
                  <a:pt x="355" y="304"/>
                  <a:pt x="355" y="304"/>
                </a:cubicBezTo>
                <a:cubicBezTo>
                  <a:pt x="355" y="305"/>
                  <a:pt x="355" y="305"/>
                  <a:pt x="355" y="305"/>
                </a:cubicBezTo>
                <a:cubicBezTo>
                  <a:pt x="356" y="306"/>
                  <a:pt x="356" y="306"/>
                  <a:pt x="356" y="306"/>
                </a:cubicBezTo>
                <a:cubicBezTo>
                  <a:pt x="356" y="307"/>
                  <a:pt x="356" y="307"/>
                  <a:pt x="356" y="307"/>
                </a:cubicBezTo>
                <a:cubicBezTo>
                  <a:pt x="357" y="307"/>
                  <a:pt x="357" y="307"/>
                  <a:pt x="357" y="307"/>
                </a:cubicBezTo>
                <a:cubicBezTo>
                  <a:pt x="357" y="308"/>
                  <a:pt x="357" y="308"/>
                  <a:pt x="357" y="308"/>
                </a:cubicBezTo>
                <a:cubicBezTo>
                  <a:pt x="357" y="309"/>
                  <a:pt x="357" y="309"/>
                  <a:pt x="357" y="309"/>
                </a:cubicBezTo>
                <a:close/>
                <a:moveTo>
                  <a:pt x="356" y="314"/>
                </a:moveTo>
                <a:cubicBezTo>
                  <a:pt x="356" y="314"/>
                  <a:pt x="357" y="314"/>
                  <a:pt x="357" y="314"/>
                </a:cubicBezTo>
                <a:cubicBezTo>
                  <a:pt x="355" y="313"/>
                  <a:pt x="355" y="313"/>
                  <a:pt x="355" y="313"/>
                </a:cubicBezTo>
                <a:cubicBezTo>
                  <a:pt x="355" y="313"/>
                  <a:pt x="355" y="313"/>
                  <a:pt x="355" y="313"/>
                </a:cubicBezTo>
                <a:cubicBezTo>
                  <a:pt x="355" y="314"/>
                  <a:pt x="355" y="314"/>
                  <a:pt x="355" y="314"/>
                </a:cubicBezTo>
                <a:cubicBezTo>
                  <a:pt x="356" y="314"/>
                  <a:pt x="356" y="314"/>
                  <a:pt x="356" y="314"/>
                </a:cubicBezTo>
                <a:close/>
                <a:moveTo>
                  <a:pt x="342" y="324"/>
                </a:moveTo>
                <a:cubicBezTo>
                  <a:pt x="343" y="324"/>
                  <a:pt x="343" y="324"/>
                  <a:pt x="343" y="324"/>
                </a:cubicBezTo>
                <a:cubicBezTo>
                  <a:pt x="343" y="323"/>
                  <a:pt x="343" y="323"/>
                  <a:pt x="343" y="323"/>
                </a:cubicBezTo>
                <a:cubicBezTo>
                  <a:pt x="343" y="323"/>
                  <a:pt x="343" y="323"/>
                  <a:pt x="343" y="323"/>
                </a:cubicBezTo>
                <a:cubicBezTo>
                  <a:pt x="344" y="322"/>
                  <a:pt x="344" y="322"/>
                  <a:pt x="344" y="322"/>
                </a:cubicBezTo>
                <a:cubicBezTo>
                  <a:pt x="344" y="322"/>
                  <a:pt x="344" y="322"/>
                  <a:pt x="344" y="322"/>
                </a:cubicBezTo>
                <a:cubicBezTo>
                  <a:pt x="344" y="321"/>
                  <a:pt x="344" y="321"/>
                  <a:pt x="344" y="321"/>
                </a:cubicBezTo>
                <a:cubicBezTo>
                  <a:pt x="344" y="321"/>
                  <a:pt x="344" y="321"/>
                  <a:pt x="344" y="321"/>
                </a:cubicBezTo>
                <a:cubicBezTo>
                  <a:pt x="345" y="320"/>
                  <a:pt x="345" y="320"/>
                  <a:pt x="345" y="320"/>
                </a:cubicBezTo>
                <a:cubicBezTo>
                  <a:pt x="346" y="319"/>
                  <a:pt x="346" y="319"/>
                  <a:pt x="346" y="319"/>
                </a:cubicBezTo>
                <a:cubicBezTo>
                  <a:pt x="346" y="319"/>
                  <a:pt x="346" y="319"/>
                  <a:pt x="346" y="319"/>
                </a:cubicBezTo>
                <a:cubicBezTo>
                  <a:pt x="346" y="318"/>
                  <a:pt x="346" y="318"/>
                  <a:pt x="346" y="318"/>
                </a:cubicBezTo>
                <a:cubicBezTo>
                  <a:pt x="346" y="318"/>
                  <a:pt x="346" y="318"/>
                  <a:pt x="346" y="318"/>
                </a:cubicBezTo>
                <a:cubicBezTo>
                  <a:pt x="346" y="317"/>
                  <a:pt x="346" y="317"/>
                  <a:pt x="346" y="317"/>
                </a:cubicBezTo>
                <a:cubicBezTo>
                  <a:pt x="347" y="317"/>
                  <a:pt x="347" y="317"/>
                  <a:pt x="347" y="317"/>
                </a:cubicBezTo>
                <a:cubicBezTo>
                  <a:pt x="347" y="316"/>
                  <a:pt x="347" y="316"/>
                  <a:pt x="347" y="316"/>
                </a:cubicBezTo>
                <a:cubicBezTo>
                  <a:pt x="347" y="315"/>
                  <a:pt x="347" y="315"/>
                  <a:pt x="347" y="315"/>
                </a:cubicBezTo>
                <a:cubicBezTo>
                  <a:pt x="347" y="314"/>
                  <a:pt x="347" y="314"/>
                  <a:pt x="347" y="314"/>
                </a:cubicBezTo>
                <a:cubicBezTo>
                  <a:pt x="347" y="314"/>
                  <a:pt x="347" y="314"/>
                  <a:pt x="347" y="314"/>
                </a:cubicBezTo>
                <a:cubicBezTo>
                  <a:pt x="346" y="314"/>
                  <a:pt x="346" y="314"/>
                  <a:pt x="346" y="314"/>
                </a:cubicBezTo>
                <a:cubicBezTo>
                  <a:pt x="346" y="314"/>
                  <a:pt x="346" y="314"/>
                  <a:pt x="346" y="314"/>
                </a:cubicBezTo>
                <a:cubicBezTo>
                  <a:pt x="345" y="314"/>
                  <a:pt x="345" y="314"/>
                  <a:pt x="345" y="314"/>
                </a:cubicBezTo>
                <a:cubicBezTo>
                  <a:pt x="345" y="313"/>
                  <a:pt x="345" y="313"/>
                  <a:pt x="345" y="313"/>
                </a:cubicBezTo>
                <a:cubicBezTo>
                  <a:pt x="344" y="314"/>
                  <a:pt x="344" y="314"/>
                  <a:pt x="344" y="314"/>
                </a:cubicBezTo>
                <a:cubicBezTo>
                  <a:pt x="343" y="315"/>
                  <a:pt x="343" y="315"/>
                  <a:pt x="343" y="315"/>
                </a:cubicBezTo>
                <a:cubicBezTo>
                  <a:pt x="342" y="315"/>
                  <a:pt x="342" y="315"/>
                  <a:pt x="342" y="315"/>
                </a:cubicBezTo>
                <a:cubicBezTo>
                  <a:pt x="342" y="316"/>
                  <a:pt x="342" y="316"/>
                  <a:pt x="342" y="316"/>
                </a:cubicBezTo>
                <a:cubicBezTo>
                  <a:pt x="341" y="317"/>
                  <a:pt x="341" y="317"/>
                  <a:pt x="341" y="317"/>
                </a:cubicBezTo>
                <a:cubicBezTo>
                  <a:pt x="342" y="318"/>
                  <a:pt x="342" y="318"/>
                  <a:pt x="342" y="318"/>
                </a:cubicBezTo>
                <a:cubicBezTo>
                  <a:pt x="341" y="318"/>
                  <a:pt x="341" y="318"/>
                  <a:pt x="341" y="318"/>
                </a:cubicBezTo>
                <a:cubicBezTo>
                  <a:pt x="341" y="319"/>
                  <a:pt x="341" y="319"/>
                  <a:pt x="341" y="319"/>
                </a:cubicBezTo>
                <a:cubicBezTo>
                  <a:pt x="341" y="320"/>
                  <a:pt x="341" y="320"/>
                  <a:pt x="341" y="320"/>
                </a:cubicBezTo>
                <a:cubicBezTo>
                  <a:pt x="340" y="321"/>
                  <a:pt x="340" y="321"/>
                  <a:pt x="340" y="321"/>
                </a:cubicBezTo>
                <a:cubicBezTo>
                  <a:pt x="341" y="321"/>
                  <a:pt x="341" y="321"/>
                  <a:pt x="341" y="321"/>
                </a:cubicBezTo>
                <a:cubicBezTo>
                  <a:pt x="341" y="322"/>
                  <a:pt x="341" y="322"/>
                  <a:pt x="341" y="322"/>
                </a:cubicBezTo>
                <a:cubicBezTo>
                  <a:pt x="342" y="322"/>
                  <a:pt x="342" y="322"/>
                  <a:pt x="342" y="322"/>
                </a:cubicBezTo>
                <a:cubicBezTo>
                  <a:pt x="342" y="323"/>
                  <a:pt x="342" y="323"/>
                  <a:pt x="342" y="323"/>
                </a:cubicBezTo>
                <a:cubicBezTo>
                  <a:pt x="342" y="324"/>
                  <a:pt x="342" y="324"/>
                  <a:pt x="342" y="324"/>
                </a:cubicBezTo>
                <a:close/>
                <a:moveTo>
                  <a:pt x="330" y="376"/>
                </a:moveTo>
                <a:cubicBezTo>
                  <a:pt x="330" y="377"/>
                  <a:pt x="330" y="377"/>
                  <a:pt x="330" y="377"/>
                </a:cubicBezTo>
                <a:cubicBezTo>
                  <a:pt x="330" y="376"/>
                  <a:pt x="330" y="376"/>
                  <a:pt x="330" y="376"/>
                </a:cubicBezTo>
                <a:cubicBezTo>
                  <a:pt x="330" y="376"/>
                  <a:pt x="330" y="376"/>
                  <a:pt x="330" y="376"/>
                </a:cubicBezTo>
                <a:cubicBezTo>
                  <a:pt x="330" y="376"/>
                  <a:pt x="330" y="376"/>
                  <a:pt x="330" y="376"/>
                </a:cubicBezTo>
                <a:close/>
                <a:moveTo>
                  <a:pt x="331" y="381"/>
                </a:moveTo>
                <a:cubicBezTo>
                  <a:pt x="331" y="380"/>
                  <a:pt x="331" y="380"/>
                  <a:pt x="331" y="380"/>
                </a:cubicBezTo>
                <a:cubicBezTo>
                  <a:pt x="332" y="379"/>
                  <a:pt x="332" y="379"/>
                  <a:pt x="332" y="379"/>
                </a:cubicBezTo>
                <a:cubicBezTo>
                  <a:pt x="332" y="379"/>
                  <a:pt x="332" y="379"/>
                  <a:pt x="332" y="379"/>
                </a:cubicBezTo>
                <a:cubicBezTo>
                  <a:pt x="332" y="381"/>
                  <a:pt x="332" y="381"/>
                  <a:pt x="332" y="381"/>
                </a:cubicBezTo>
                <a:cubicBezTo>
                  <a:pt x="331" y="382"/>
                  <a:pt x="331" y="382"/>
                  <a:pt x="331" y="382"/>
                </a:cubicBezTo>
                <a:cubicBezTo>
                  <a:pt x="331" y="382"/>
                  <a:pt x="331" y="382"/>
                  <a:pt x="331" y="381"/>
                </a:cubicBezTo>
                <a:close/>
                <a:moveTo>
                  <a:pt x="323" y="380"/>
                </a:moveTo>
                <a:cubicBezTo>
                  <a:pt x="324" y="379"/>
                  <a:pt x="324" y="379"/>
                  <a:pt x="324" y="379"/>
                </a:cubicBezTo>
                <a:cubicBezTo>
                  <a:pt x="325" y="379"/>
                  <a:pt x="325" y="379"/>
                  <a:pt x="325" y="379"/>
                </a:cubicBezTo>
                <a:cubicBezTo>
                  <a:pt x="325" y="378"/>
                  <a:pt x="325" y="378"/>
                  <a:pt x="325" y="378"/>
                </a:cubicBezTo>
                <a:cubicBezTo>
                  <a:pt x="325" y="378"/>
                  <a:pt x="325" y="378"/>
                  <a:pt x="325" y="378"/>
                </a:cubicBezTo>
                <a:cubicBezTo>
                  <a:pt x="326" y="378"/>
                  <a:pt x="326" y="378"/>
                  <a:pt x="326" y="378"/>
                </a:cubicBezTo>
                <a:cubicBezTo>
                  <a:pt x="327" y="377"/>
                  <a:pt x="327" y="377"/>
                  <a:pt x="327" y="377"/>
                </a:cubicBezTo>
                <a:cubicBezTo>
                  <a:pt x="326" y="379"/>
                  <a:pt x="326" y="379"/>
                  <a:pt x="326" y="379"/>
                </a:cubicBezTo>
                <a:cubicBezTo>
                  <a:pt x="325" y="380"/>
                  <a:pt x="325" y="380"/>
                  <a:pt x="325" y="380"/>
                </a:cubicBezTo>
                <a:cubicBezTo>
                  <a:pt x="324" y="380"/>
                  <a:pt x="324" y="380"/>
                  <a:pt x="324" y="380"/>
                </a:cubicBezTo>
                <a:cubicBezTo>
                  <a:pt x="323" y="380"/>
                  <a:pt x="323" y="380"/>
                  <a:pt x="323" y="380"/>
                </a:cubicBezTo>
                <a:close/>
                <a:moveTo>
                  <a:pt x="328" y="382"/>
                </a:moveTo>
                <a:cubicBezTo>
                  <a:pt x="330" y="380"/>
                  <a:pt x="330" y="380"/>
                  <a:pt x="330" y="380"/>
                </a:cubicBezTo>
                <a:cubicBezTo>
                  <a:pt x="330" y="379"/>
                  <a:pt x="330" y="379"/>
                  <a:pt x="330" y="379"/>
                </a:cubicBezTo>
                <a:cubicBezTo>
                  <a:pt x="330" y="379"/>
                  <a:pt x="330" y="379"/>
                  <a:pt x="330" y="379"/>
                </a:cubicBezTo>
                <a:cubicBezTo>
                  <a:pt x="330" y="380"/>
                  <a:pt x="330" y="380"/>
                  <a:pt x="330" y="380"/>
                </a:cubicBezTo>
                <a:cubicBezTo>
                  <a:pt x="329" y="382"/>
                  <a:pt x="329" y="382"/>
                  <a:pt x="329" y="382"/>
                </a:cubicBezTo>
                <a:cubicBezTo>
                  <a:pt x="328" y="383"/>
                  <a:pt x="328" y="383"/>
                  <a:pt x="328" y="383"/>
                </a:cubicBezTo>
                <a:cubicBezTo>
                  <a:pt x="329" y="382"/>
                  <a:pt x="329" y="382"/>
                  <a:pt x="329" y="382"/>
                </a:cubicBezTo>
                <a:cubicBezTo>
                  <a:pt x="331" y="381"/>
                  <a:pt x="331" y="381"/>
                  <a:pt x="331" y="381"/>
                </a:cubicBezTo>
                <a:cubicBezTo>
                  <a:pt x="331" y="380"/>
                  <a:pt x="331" y="380"/>
                  <a:pt x="331" y="380"/>
                </a:cubicBezTo>
                <a:cubicBezTo>
                  <a:pt x="331" y="379"/>
                  <a:pt x="331" y="379"/>
                  <a:pt x="331" y="379"/>
                </a:cubicBezTo>
                <a:cubicBezTo>
                  <a:pt x="331" y="378"/>
                  <a:pt x="331" y="378"/>
                  <a:pt x="331" y="378"/>
                </a:cubicBezTo>
                <a:cubicBezTo>
                  <a:pt x="330" y="378"/>
                  <a:pt x="330" y="378"/>
                  <a:pt x="330" y="378"/>
                </a:cubicBezTo>
                <a:cubicBezTo>
                  <a:pt x="330" y="377"/>
                  <a:pt x="330" y="377"/>
                  <a:pt x="330" y="377"/>
                </a:cubicBezTo>
                <a:cubicBezTo>
                  <a:pt x="329" y="377"/>
                  <a:pt x="329" y="377"/>
                  <a:pt x="329" y="377"/>
                </a:cubicBezTo>
                <a:cubicBezTo>
                  <a:pt x="329" y="377"/>
                  <a:pt x="329" y="377"/>
                  <a:pt x="329" y="377"/>
                </a:cubicBezTo>
                <a:cubicBezTo>
                  <a:pt x="329" y="379"/>
                  <a:pt x="329" y="379"/>
                  <a:pt x="329" y="379"/>
                </a:cubicBezTo>
                <a:cubicBezTo>
                  <a:pt x="328" y="380"/>
                  <a:pt x="328" y="380"/>
                  <a:pt x="328" y="380"/>
                </a:cubicBezTo>
                <a:cubicBezTo>
                  <a:pt x="327" y="381"/>
                  <a:pt x="327" y="381"/>
                  <a:pt x="327" y="381"/>
                </a:cubicBezTo>
                <a:cubicBezTo>
                  <a:pt x="327" y="380"/>
                  <a:pt x="327" y="380"/>
                  <a:pt x="327" y="380"/>
                </a:cubicBezTo>
                <a:cubicBezTo>
                  <a:pt x="328" y="379"/>
                  <a:pt x="328" y="379"/>
                  <a:pt x="328" y="379"/>
                </a:cubicBezTo>
                <a:cubicBezTo>
                  <a:pt x="328" y="378"/>
                  <a:pt x="328" y="378"/>
                  <a:pt x="328" y="378"/>
                </a:cubicBezTo>
                <a:cubicBezTo>
                  <a:pt x="328" y="378"/>
                  <a:pt x="328" y="378"/>
                  <a:pt x="328" y="378"/>
                </a:cubicBezTo>
                <a:cubicBezTo>
                  <a:pt x="327" y="378"/>
                  <a:pt x="327" y="378"/>
                  <a:pt x="327" y="378"/>
                </a:cubicBezTo>
                <a:cubicBezTo>
                  <a:pt x="326" y="380"/>
                  <a:pt x="326" y="380"/>
                  <a:pt x="326" y="380"/>
                </a:cubicBezTo>
                <a:cubicBezTo>
                  <a:pt x="325" y="381"/>
                  <a:pt x="325" y="381"/>
                  <a:pt x="325" y="381"/>
                </a:cubicBezTo>
                <a:cubicBezTo>
                  <a:pt x="325" y="382"/>
                  <a:pt x="325" y="382"/>
                  <a:pt x="325" y="382"/>
                </a:cubicBezTo>
                <a:cubicBezTo>
                  <a:pt x="324" y="383"/>
                  <a:pt x="324" y="383"/>
                  <a:pt x="324" y="383"/>
                </a:cubicBezTo>
                <a:cubicBezTo>
                  <a:pt x="324" y="384"/>
                  <a:pt x="324" y="384"/>
                  <a:pt x="324" y="384"/>
                </a:cubicBezTo>
                <a:cubicBezTo>
                  <a:pt x="325" y="383"/>
                  <a:pt x="325" y="383"/>
                  <a:pt x="325" y="383"/>
                </a:cubicBezTo>
                <a:cubicBezTo>
                  <a:pt x="326" y="382"/>
                  <a:pt x="326" y="382"/>
                  <a:pt x="326" y="382"/>
                </a:cubicBezTo>
                <a:cubicBezTo>
                  <a:pt x="327" y="382"/>
                  <a:pt x="327" y="382"/>
                  <a:pt x="327" y="382"/>
                </a:cubicBezTo>
                <a:cubicBezTo>
                  <a:pt x="326" y="382"/>
                  <a:pt x="326" y="382"/>
                  <a:pt x="326" y="382"/>
                </a:cubicBezTo>
                <a:cubicBezTo>
                  <a:pt x="325" y="384"/>
                  <a:pt x="325" y="384"/>
                  <a:pt x="325" y="384"/>
                </a:cubicBezTo>
                <a:cubicBezTo>
                  <a:pt x="326" y="384"/>
                  <a:pt x="326" y="384"/>
                  <a:pt x="326" y="384"/>
                </a:cubicBezTo>
                <a:cubicBezTo>
                  <a:pt x="327" y="383"/>
                  <a:pt x="327" y="383"/>
                  <a:pt x="327" y="383"/>
                </a:cubicBezTo>
                <a:cubicBezTo>
                  <a:pt x="327" y="383"/>
                  <a:pt x="327" y="383"/>
                  <a:pt x="327" y="383"/>
                </a:cubicBezTo>
                <a:cubicBezTo>
                  <a:pt x="327" y="383"/>
                  <a:pt x="328" y="382"/>
                  <a:pt x="328" y="382"/>
                </a:cubicBezTo>
                <a:close/>
                <a:moveTo>
                  <a:pt x="327" y="382"/>
                </a:moveTo>
                <a:cubicBezTo>
                  <a:pt x="327" y="381"/>
                  <a:pt x="327" y="381"/>
                  <a:pt x="327" y="381"/>
                </a:cubicBezTo>
                <a:cubicBezTo>
                  <a:pt x="329" y="380"/>
                  <a:pt x="329" y="380"/>
                  <a:pt x="329" y="380"/>
                </a:cubicBezTo>
                <a:cubicBezTo>
                  <a:pt x="328" y="381"/>
                  <a:pt x="328" y="381"/>
                  <a:pt x="328" y="381"/>
                </a:cubicBezTo>
                <a:cubicBezTo>
                  <a:pt x="328" y="382"/>
                  <a:pt x="328" y="382"/>
                  <a:pt x="328" y="382"/>
                </a:cubicBezTo>
                <a:cubicBezTo>
                  <a:pt x="327" y="382"/>
                  <a:pt x="327" y="382"/>
                  <a:pt x="327" y="382"/>
                </a:cubicBezTo>
                <a:close/>
                <a:moveTo>
                  <a:pt x="412" y="468"/>
                </a:moveTo>
                <a:cubicBezTo>
                  <a:pt x="411" y="468"/>
                  <a:pt x="411" y="468"/>
                  <a:pt x="411" y="468"/>
                </a:cubicBezTo>
                <a:cubicBezTo>
                  <a:pt x="411" y="468"/>
                  <a:pt x="411" y="468"/>
                  <a:pt x="411" y="468"/>
                </a:cubicBezTo>
                <a:cubicBezTo>
                  <a:pt x="411" y="467"/>
                  <a:pt x="411" y="467"/>
                  <a:pt x="411" y="467"/>
                </a:cubicBezTo>
                <a:cubicBezTo>
                  <a:pt x="412" y="467"/>
                  <a:pt x="412" y="467"/>
                  <a:pt x="412" y="467"/>
                </a:cubicBezTo>
                <a:cubicBezTo>
                  <a:pt x="413" y="466"/>
                  <a:pt x="413" y="466"/>
                  <a:pt x="413" y="466"/>
                </a:cubicBezTo>
                <a:cubicBezTo>
                  <a:pt x="413" y="466"/>
                  <a:pt x="413" y="466"/>
                  <a:pt x="413" y="466"/>
                </a:cubicBezTo>
                <a:cubicBezTo>
                  <a:pt x="413" y="466"/>
                  <a:pt x="413" y="466"/>
                  <a:pt x="413" y="466"/>
                </a:cubicBezTo>
                <a:cubicBezTo>
                  <a:pt x="413" y="466"/>
                  <a:pt x="413" y="466"/>
                  <a:pt x="413" y="466"/>
                </a:cubicBezTo>
                <a:cubicBezTo>
                  <a:pt x="411" y="467"/>
                  <a:pt x="411" y="467"/>
                  <a:pt x="411" y="467"/>
                </a:cubicBezTo>
                <a:cubicBezTo>
                  <a:pt x="411" y="468"/>
                  <a:pt x="411" y="468"/>
                  <a:pt x="411" y="468"/>
                </a:cubicBezTo>
                <a:cubicBezTo>
                  <a:pt x="411" y="468"/>
                  <a:pt x="411" y="468"/>
                  <a:pt x="411" y="468"/>
                </a:cubicBezTo>
                <a:cubicBezTo>
                  <a:pt x="412" y="468"/>
                  <a:pt x="412" y="468"/>
                  <a:pt x="412" y="468"/>
                </a:cubicBezTo>
                <a:cubicBezTo>
                  <a:pt x="412" y="468"/>
                  <a:pt x="412" y="468"/>
                  <a:pt x="412" y="468"/>
                </a:cubicBezTo>
                <a:close/>
                <a:moveTo>
                  <a:pt x="443" y="474"/>
                </a:moveTo>
                <a:cubicBezTo>
                  <a:pt x="442" y="473"/>
                  <a:pt x="442" y="473"/>
                  <a:pt x="442" y="473"/>
                </a:cubicBezTo>
                <a:cubicBezTo>
                  <a:pt x="443" y="472"/>
                  <a:pt x="443" y="472"/>
                  <a:pt x="443" y="472"/>
                </a:cubicBezTo>
                <a:cubicBezTo>
                  <a:pt x="443" y="471"/>
                  <a:pt x="443" y="471"/>
                  <a:pt x="443" y="471"/>
                </a:cubicBezTo>
                <a:cubicBezTo>
                  <a:pt x="442" y="470"/>
                  <a:pt x="442" y="470"/>
                  <a:pt x="442" y="470"/>
                </a:cubicBezTo>
                <a:cubicBezTo>
                  <a:pt x="443" y="470"/>
                  <a:pt x="443" y="470"/>
                  <a:pt x="443" y="470"/>
                </a:cubicBezTo>
                <a:cubicBezTo>
                  <a:pt x="443" y="469"/>
                  <a:pt x="443" y="469"/>
                  <a:pt x="443" y="469"/>
                </a:cubicBezTo>
                <a:cubicBezTo>
                  <a:pt x="443" y="470"/>
                  <a:pt x="443" y="470"/>
                  <a:pt x="443" y="470"/>
                </a:cubicBezTo>
                <a:cubicBezTo>
                  <a:pt x="443" y="470"/>
                  <a:pt x="443" y="470"/>
                  <a:pt x="443" y="470"/>
                </a:cubicBezTo>
                <a:cubicBezTo>
                  <a:pt x="443" y="471"/>
                  <a:pt x="443" y="471"/>
                  <a:pt x="443" y="471"/>
                </a:cubicBezTo>
                <a:cubicBezTo>
                  <a:pt x="443" y="472"/>
                  <a:pt x="443" y="472"/>
                  <a:pt x="443" y="472"/>
                </a:cubicBezTo>
                <a:cubicBezTo>
                  <a:pt x="443" y="472"/>
                  <a:pt x="443" y="472"/>
                  <a:pt x="443" y="472"/>
                </a:cubicBezTo>
                <a:cubicBezTo>
                  <a:pt x="443" y="472"/>
                  <a:pt x="443" y="472"/>
                  <a:pt x="443" y="472"/>
                </a:cubicBezTo>
                <a:cubicBezTo>
                  <a:pt x="443" y="473"/>
                  <a:pt x="443" y="473"/>
                  <a:pt x="443" y="473"/>
                </a:cubicBezTo>
                <a:cubicBezTo>
                  <a:pt x="443" y="474"/>
                  <a:pt x="443" y="474"/>
                  <a:pt x="443" y="474"/>
                </a:cubicBezTo>
                <a:cubicBezTo>
                  <a:pt x="443" y="474"/>
                  <a:pt x="443" y="474"/>
                  <a:pt x="443" y="474"/>
                </a:cubicBezTo>
                <a:close/>
                <a:moveTo>
                  <a:pt x="444" y="474"/>
                </a:moveTo>
                <a:cubicBezTo>
                  <a:pt x="444" y="474"/>
                  <a:pt x="444" y="474"/>
                  <a:pt x="444" y="474"/>
                </a:cubicBezTo>
                <a:cubicBezTo>
                  <a:pt x="444" y="474"/>
                  <a:pt x="444" y="474"/>
                  <a:pt x="444" y="474"/>
                </a:cubicBezTo>
                <a:cubicBezTo>
                  <a:pt x="445" y="474"/>
                  <a:pt x="445" y="474"/>
                  <a:pt x="445" y="474"/>
                </a:cubicBezTo>
                <a:cubicBezTo>
                  <a:pt x="444" y="475"/>
                  <a:pt x="444" y="475"/>
                  <a:pt x="444" y="475"/>
                </a:cubicBezTo>
                <a:cubicBezTo>
                  <a:pt x="444" y="474"/>
                  <a:pt x="444" y="474"/>
                  <a:pt x="444" y="474"/>
                </a:cubicBezTo>
                <a:close/>
                <a:moveTo>
                  <a:pt x="456" y="430"/>
                </a:moveTo>
                <a:cubicBezTo>
                  <a:pt x="457" y="429"/>
                  <a:pt x="457" y="429"/>
                  <a:pt x="457" y="429"/>
                </a:cubicBezTo>
                <a:cubicBezTo>
                  <a:pt x="457" y="429"/>
                  <a:pt x="457" y="429"/>
                  <a:pt x="457" y="429"/>
                </a:cubicBezTo>
                <a:cubicBezTo>
                  <a:pt x="457" y="429"/>
                  <a:pt x="457" y="429"/>
                  <a:pt x="457" y="429"/>
                </a:cubicBezTo>
                <a:cubicBezTo>
                  <a:pt x="457" y="430"/>
                  <a:pt x="457" y="430"/>
                  <a:pt x="457" y="430"/>
                </a:cubicBezTo>
                <a:cubicBezTo>
                  <a:pt x="456" y="431"/>
                  <a:pt x="456" y="431"/>
                  <a:pt x="456" y="431"/>
                </a:cubicBezTo>
                <a:cubicBezTo>
                  <a:pt x="456" y="431"/>
                  <a:pt x="456" y="430"/>
                  <a:pt x="456" y="430"/>
                </a:cubicBezTo>
                <a:close/>
                <a:moveTo>
                  <a:pt x="452" y="439"/>
                </a:moveTo>
                <a:cubicBezTo>
                  <a:pt x="452" y="440"/>
                  <a:pt x="452" y="440"/>
                  <a:pt x="452" y="440"/>
                </a:cubicBezTo>
                <a:cubicBezTo>
                  <a:pt x="453" y="440"/>
                  <a:pt x="453" y="440"/>
                  <a:pt x="453" y="440"/>
                </a:cubicBezTo>
                <a:cubicBezTo>
                  <a:pt x="453" y="440"/>
                  <a:pt x="453" y="440"/>
                  <a:pt x="453" y="440"/>
                </a:cubicBezTo>
                <a:cubicBezTo>
                  <a:pt x="453" y="440"/>
                  <a:pt x="453" y="440"/>
                  <a:pt x="453" y="440"/>
                </a:cubicBezTo>
                <a:cubicBezTo>
                  <a:pt x="453" y="439"/>
                  <a:pt x="453" y="439"/>
                  <a:pt x="453" y="439"/>
                </a:cubicBezTo>
                <a:cubicBezTo>
                  <a:pt x="453" y="439"/>
                  <a:pt x="453" y="439"/>
                  <a:pt x="453" y="439"/>
                </a:cubicBezTo>
                <a:cubicBezTo>
                  <a:pt x="452" y="439"/>
                  <a:pt x="452" y="439"/>
                  <a:pt x="452" y="439"/>
                </a:cubicBezTo>
                <a:close/>
                <a:moveTo>
                  <a:pt x="459" y="450"/>
                </a:moveTo>
                <a:cubicBezTo>
                  <a:pt x="459" y="449"/>
                  <a:pt x="459" y="449"/>
                  <a:pt x="459" y="449"/>
                </a:cubicBezTo>
                <a:cubicBezTo>
                  <a:pt x="459" y="448"/>
                  <a:pt x="459" y="448"/>
                  <a:pt x="459" y="448"/>
                </a:cubicBezTo>
                <a:cubicBezTo>
                  <a:pt x="459" y="448"/>
                  <a:pt x="459" y="448"/>
                  <a:pt x="459" y="448"/>
                </a:cubicBezTo>
                <a:cubicBezTo>
                  <a:pt x="459" y="449"/>
                  <a:pt x="459" y="449"/>
                  <a:pt x="459" y="449"/>
                </a:cubicBezTo>
                <a:cubicBezTo>
                  <a:pt x="460" y="449"/>
                  <a:pt x="460" y="449"/>
                  <a:pt x="460" y="449"/>
                </a:cubicBezTo>
                <a:cubicBezTo>
                  <a:pt x="460" y="449"/>
                  <a:pt x="460" y="449"/>
                  <a:pt x="460" y="449"/>
                </a:cubicBezTo>
                <a:cubicBezTo>
                  <a:pt x="460" y="450"/>
                  <a:pt x="460" y="450"/>
                  <a:pt x="460" y="450"/>
                </a:cubicBezTo>
                <a:cubicBezTo>
                  <a:pt x="459" y="450"/>
                  <a:pt x="459" y="450"/>
                  <a:pt x="459" y="450"/>
                </a:cubicBezTo>
                <a:cubicBezTo>
                  <a:pt x="459" y="450"/>
                  <a:pt x="459" y="450"/>
                  <a:pt x="459" y="450"/>
                </a:cubicBezTo>
                <a:close/>
                <a:moveTo>
                  <a:pt x="456" y="450"/>
                </a:moveTo>
                <a:cubicBezTo>
                  <a:pt x="456" y="450"/>
                  <a:pt x="456" y="450"/>
                  <a:pt x="456" y="450"/>
                </a:cubicBezTo>
                <a:cubicBezTo>
                  <a:pt x="457" y="450"/>
                  <a:pt x="457" y="450"/>
                  <a:pt x="457" y="450"/>
                </a:cubicBezTo>
                <a:cubicBezTo>
                  <a:pt x="457" y="449"/>
                  <a:pt x="457" y="449"/>
                  <a:pt x="457" y="449"/>
                </a:cubicBezTo>
                <a:cubicBezTo>
                  <a:pt x="457" y="449"/>
                  <a:pt x="457" y="449"/>
                  <a:pt x="457" y="449"/>
                </a:cubicBezTo>
                <a:cubicBezTo>
                  <a:pt x="457" y="449"/>
                  <a:pt x="457" y="449"/>
                  <a:pt x="457" y="449"/>
                </a:cubicBezTo>
                <a:cubicBezTo>
                  <a:pt x="457" y="450"/>
                  <a:pt x="457" y="450"/>
                  <a:pt x="457" y="450"/>
                </a:cubicBezTo>
                <a:cubicBezTo>
                  <a:pt x="457" y="450"/>
                  <a:pt x="457" y="450"/>
                  <a:pt x="457" y="450"/>
                </a:cubicBezTo>
                <a:cubicBezTo>
                  <a:pt x="456" y="451"/>
                  <a:pt x="456" y="451"/>
                  <a:pt x="456" y="451"/>
                </a:cubicBezTo>
                <a:cubicBezTo>
                  <a:pt x="455" y="451"/>
                  <a:pt x="455" y="451"/>
                  <a:pt x="455" y="451"/>
                </a:cubicBezTo>
                <a:cubicBezTo>
                  <a:pt x="456" y="450"/>
                  <a:pt x="456" y="450"/>
                  <a:pt x="456" y="450"/>
                </a:cubicBezTo>
                <a:cubicBezTo>
                  <a:pt x="456" y="450"/>
                  <a:pt x="456" y="450"/>
                  <a:pt x="456" y="450"/>
                </a:cubicBezTo>
                <a:close/>
                <a:moveTo>
                  <a:pt x="446" y="466"/>
                </a:moveTo>
                <a:cubicBezTo>
                  <a:pt x="446" y="465"/>
                  <a:pt x="446" y="465"/>
                  <a:pt x="446" y="465"/>
                </a:cubicBezTo>
                <a:cubicBezTo>
                  <a:pt x="446" y="466"/>
                  <a:pt x="446" y="466"/>
                  <a:pt x="446" y="466"/>
                </a:cubicBezTo>
                <a:cubicBezTo>
                  <a:pt x="446" y="466"/>
                  <a:pt x="446" y="466"/>
                  <a:pt x="446" y="466"/>
                </a:cubicBezTo>
                <a:cubicBezTo>
                  <a:pt x="446" y="466"/>
                  <a:pt x="446" y="466"/>
                  <a:pt x="446" y="466"/>
                </a:cubicBezTo>
                <a:close/>
                <a:moveTo>
                  <a:pt x="459" y="462"/>
                </a:moveTo>
                <a:cubicBezTo>
                  <a:pt x="459" y="463"/>
                  <a:pt x="459" y="463"/>
                  <a:pt x="459" y="463"/>
                </a:cubicBezTo>
                <a:cubicBezTo>
                  <a:pt x="460" y="463"/>
                  <a:pt x="460" y="463"/>
                  <a:pt x="460" y="463"/>
                </a:cubicBezTo>
                <a:cubicBezTo>
                  <a:pt x="460" y="463"/>
                  <a:pt x="460" y="463"/>
                  <a:pt x="460" y="463"/>
                </a:cubicBezTo>
                <a:cubicBezTo>
                  <a:pt x="461" y="463"/>
                  <a:pt x="461" y="463"/>
                  <a:pt x="461" y="463"/>
                </a:cubicBezTo>
                <a:cubicBezTo>
                  <a:pt x="459" y="462"/>
                  <a:pt x="459" y="462"/>
                  <a:pt x="459" y="462"/>
                </a:cubicBezTo>
                <a:cubicBezTo>
                  <a:pt x="459" y="462"/>
                  <a:pt x="459" y="462"/>
                  <a:pt x="459" y="462"/>
                </a:cubicBezTo>
                <a:close/>
                <a:moveTo>
                  <a:pt x="445" y="438"/>
                </a:moveTo>
                <a:cubicBezTo>
                  <a:pt x="444" y="439"/>
                  <a:pt x="444" y="439"/>
                  <a:pt x="444" y="439"/>
                </a:cubicBezTo>
                <a:cubicBezTo>
                  <a:pt x="443" y="440"/>
                  <a:pt x="443" y="440"/>
                  <a:pt x="443" y="440"/>
                </a:cubicBezTo>
                <a:cubicBezTo>
                  <a:pt x="443" y="440"/>
                  <a:pt x="443" y="440"/>
                  <a:pt x="443" y="440"/>
                </a:cubicBezTo>
                <a:cubicBezTo>
                  <a:pt x="443" y="440"/>
                  <a:pt x="443" y="440"/>
                  <a:pt x="443" y="440"/>
                </a:cubicBezTo>
                <a:cubicBezTo>
                  <a:pt x="442" y="441"/>
                  <a:pt x="442" y="441"/>
                  <a:pt x="442" y="441"/>
                </a:cubicBezTo>
                <a:cubicBezTo>
                  <a:pt x="442" y="441"/>
                  <a:pt x="442" y="441"/>
                  <a:pt x="442" y="441"/>
                </a:cubicBezTo>
                <a:cubicBezTo>
                  <a:pt x="442" y="442"/>
                  <a:pt x="442" y="442"/>
                  <a:pt x="442" y="442"/>
                </a:cubicBezTo>
                <a:cubicBezTo>
                  <a:pt x="442" y="442"/>
                  <a:pt x="442" y="442"/>
                  <a:pt x="442" y="442"/>
                </a:cubicBezTo>
                <a:cubicBezTo>
                  <a:pt x="442" y="442"/>
                  <a:pt x="442" y="442"/>
                  <a:pt x="442" y="442"/>
                </a:cubicBezTo>
                <a:cubicBezTo>
                  <a:pt x="441" y="442"/>
                  <a:pt x="441" y="442"/>
                  <a:pt x="441" y="442"/>
                </a:cubicBezTo>
                <a:cubicBezTo>
                  <a:pt x="441" y="443"/>
                  <a:pt x="441" y="443"/>
                  <a:pt x="441" y="443"/>
                </a:cubicBezTo>
                <a:cubicBezTo>
                  <a:pt x="440" y="444"/>
                  <a:pt x="440" y="444"/>
                  <a:pt x="440" y="444"/>
                </a:cubicBezTo>
                <a:cubicBezTo>
                  <a:pt x="441" y="444"/>
                  <a:pt x="441" y="444"/>
                  <a:pt x="441" y="444"/>
                </a:cubicBezTo>
                <a:cubicBezTo>
                  <a:pt x="441" y="444"/>
                  <a:pt x="441" y="444"/>
                  <a:pt x="441" y="444"/>
                </a:cubicBezTo>
                <a:cubicBezTo>
                  <a:pt x="441" y="444"/>
                  <a:pt x="441" y="444"/>
                  <a:pt x="441" y="444"/>
                </a:cubicBezTo>
                <a:cubicBezTo>
                  <a:pt x="440" y="444"/>
                  <a:pt x="440" y="444"/>
                  <a:pt x="440" y="444"/>
                </a:cubicBezTo>
                <a:cubicBezTo>
                  <a:pt x="439" y="446"/>
                  <a:pt x="439" y="446"/>
                  <a:pt x="439" y="446"/>
                </a:cubicBezTo>
                <a:cubicBezTo>
                  <a:pt x="439" y="446"/>
                  <a:pt x="439" y="446"/>
                  <a:pt x="439" y="446"/>
                </a:cubicBezTo>
                <a:cubicBezTo>
                  <a:pt x="438" y="448"/>
                  <a:pt x="438" y="448"/>
                  <a:pt x="438" y="448"/>
                </a:cubicBezTo>
                <a:cubicBezTo>
                  <a:pt x="438" y="449"/>
                  <a:pt x="438" y="449"/>
                  <a:pt x="438" y="449"/>
                </a:cubicBezTo>
                <a:cubicBezTo>
                  <a:pt x="438" y="449"/>
                  <a:pt x="438" y="449"/>
                  <a:pt x="438" y="449"/>
                </a:cubicBezTo>
                <a:cubicBezTo>
                  <a:pt x="438" y="450"/>
                  <a:pt x="438" y="450"/>
                  <a:pt x="438" y="450"/>
                </a:cubicBezTo>
                <a:cubicBezTo>
                  <a:pt x="438" y="450"/>
                  <a:pt x="438" y="450"/>
                  <a:pt x="438" y="450"/>
                </a:cubicBezTo>
                <a:cubicBezTo>
                  <a:pt x="437" y="450"/>
                  <a:pt x="437" y="450"/>
                  <a:pt x="437" y="450"/>
                </a:cubicBezTo>
                <a:cubicBezTo>
                  <a:pt x="437" y="450"/>
                  <a:pt x="437" y="450"/>
                  <a:pt x="437" y="450"/>
                </a:cubicBezTo>
                <a:cubicBezTo>
                  <a:pt x="436" y="450"/>
                  <a:pt x="436" y="450"/>
                  <a:pt x="436" y="450"/>
                </a:cubicBezTo>
                <a:cubicBezTo>
                  <a:pt x="436" y="451"/>
                  <a:pt x="436" y="451"/>
                  <a:pt x="436" y="451"/>
                </a:cubicBezTo>
                <a:cubicBezTo>
                  <a:pt x="436" y="452"/>
                  <a:pt x="436" y="452"/>
                  <a:pt x="436" y="452"/>
                </a:cubicBezTo>
                <a:cubicBezTo>
                  <a:pt x="436" y="452"/>
                  <a:pt x="436" y="452"/>
                  <a:pt x="436" y="452"/>
                </a:cubicBezTo>
                <a:cubicBezTo>
                  <a:pt x="437" y="452"/>
                  <a:pt x="437" y="452"/>
                  <a:pt x="437" y="452"/>
                </a:cubicBezTo>
                <a:cubicBezTo>
                  <a:pt x="436" y="452"/>
                  <a:pt x="436" y="452"/>
                  <a:pt x="436" y="452"/>
                </a:cubicBezTo>
                <a:cubicBezTo>
                  <a:pt x="436" y="453"/>
                  <a:pt x="436" y="453"/>
                  <a:pt x="436" y="453"/>
                </a:cubicBezTo>
                <a:cubicBezTo>
                  <a:pt x="435" y="454"/>
                  <a:pt x="435" y="454"/>
                  <a:pt x="435" y="454"/>
                </a:cubicBezTo>
                <a:cubicBezTo>
                  <a:pt x="434" y="453"/>
                  <a:pt x="434" y="453"/>
                  <a:pt x="434" y="453"/>
                </a:cubicBezTo>
                <a:cubicBezTo>
                  <a:pt x="434" y="454"/>
                  <a:pt x="434" y="454"/>
                  <a:pt x="434" y="454"/>
                </a:cubicBezTo>
                <a:cubicBezTo>
                  <a:pt x="434" y="454"/>
                  <a:pt x="434" y="454"/>
                  <a:pt x="434" y="454"/>
                </a:cubicBezTo>
                <a:cubicBezTo>
                  <a:pt x="433" y="455"/>
                  <a:pt x="433" y="455"/>
                  <a:pt x="433" y="455"/>
                </a:cubicBezTo>
                <a:cubicBezTo>
                  <a:pt x="432" y="456"/>
                  <a:pt x="432" y="456"/>
                  <a:pt x="432" y="456"/>
                </a:cubicBezTo>
                <a:cubicBezTo>
                  <a:pt x="432" y="457"/>
                  <a:pt x="432" y="457"/>
                  <a:pt x="432" y="457"/>
                </a:cubicBezTo>
                <a:cubicBezTo>
                  <a:pt x="431" y="457"/>
                  <a:pt x="431" y="457"/>
                  <a:pt x="431" y="457"/>
                </a:cubicBezTo>
                <a:cubicBezTo>
                  <a:pt x="431" y="456"/>
                  <a:pt x="431" y="456"/>
                  <a:pt x="431" y="456"/>
                </a:cubicBezTo>
                <a:cubicBezTo>
                  <a:pt x="431" y="457"/>
                  <a:pt x="431" y="457"/>
                  <a:pt x="431" y="457"/>
                </a:cubicBezTo>
                <a:cubicBezTo>
                  <a:pt x="430" y="456"/>
                  <a:pt x="430" y="456"/>
                  <a:pt x="430" y="456"/>
                </a:cubicBezTo>
                <a:cubicBezTo>
                  <a:pt x="431" y="456"/>
                  <a:pt x="431" y="456"/>
                  <a:pt x="431" y="456"/>
                </a:cubicBezTo>
                <a:cubicBezTo>
                  <a:pt x="431" y="455"/>
                  <a:pt x="431" y="455"/>
                  <a:pt x="431" y="455"/>
                </a:cubicBezTo>
                <a:cubicBezTo>
                  <a:pt x="432" y="455"/>
                  <a:pt x="432" y="455"/>
                  <a:pt x="432" y="455"/>
                </a:cubicBezTo>
                <a:cubicBezTo>
                  <a:pt x="431" y="455"/>
                  <a:pt x="431" y="455"/>
                  <a:pt x="431" y="455"/>
                </a:cubicBezTo>
                <a:cubicBezTo>
                  <a:pt x="430" y="456"/>
                  <a:pt x="430" y="456"/>
                  <a:pt x="430" y="456"/>
                </a:cubicBezTo>
                <a:cubicBezTo>
                  <a:pt x="429" y="456"/>
                  <a:pt x="429" y="456"/>
                  <a:pt x="429" y="456"/>
                </a:cubicBezTo>
                <a:cubicBezTo>
                  <a:pt x="428" y="458"/>
                  <a:pt x="428" y="458"/>
                  <a:pt x="428" y="458"/>
                </a:cubicBezTo>
                <a:cubicBezTo>
                  <a:pt x="429" y="458"/>
                  <a:pt x="429" y="458"/>
                  <a:pt x="429" y="458"/>
                </a:cubicBezTo>
                <a:cubicBezTo>
                  <a:pt x="430" y="458"/>
                  <a:pt x="430" y="458"/>
                  <a:pt x="430" y="458"/>
                </a:cubicBezTo>
                <a:cubicBezTo>
                  <a:pt x="431" y="457"/>
                  <a:pt x="431" y="457"/>
                  <a:pt x="431" y="457"/>
                </a:cubicBezTo>
                <a:cubicBezTo>
                  <a:pt x="433" y="457"/>
                  <a:pt x="433" y="457"/>
                  <a:pt x="433" y="457"/>
                </a:cubicBezTo>
                <a:cubicBezTo>
                  <a:pt x="432" y="458"/>
                  <a:pt x="432" y="458"/>
                  <a:pt x="432" y="458"/>
                </a:cubicBezTo>
                <a:cubicBezTo>
                  <a:pt x="431" y="460"/>
                  <a:pt x="431" y="460"/>
                  <a:pt x="431" y="460"/>
                </a:cubicBezTo>
                <a:cubicBezTo>
                  <a:pt x="430" y="461"/>
                  <a:pt x="430" y="461"/>
                  <a:pt x="430" y="461"/>
                </a:cubicBezTo>
                <a:cubicBezTo>
                  <a:pt x="429" y="462"/>
                  <a:pt x="429" y="462"/>
                  <a:pt x="429" y="462"/>
                </a:cubicBezTo>
                <a:cubicBezTo>
                  <a:pt x="427" y="463"/>
                  <a:pt x="427" y="463"/>
                  <a:pt x="427" y="463"/>
                </a:cubicBezTo>
                <a:cubicBezTo>
                  <a:pt x="427" y="463"/>
                  <a:pt x="427" y="463"/>
                  <a:pt x="427" y="463"/>
                </a:cubicBezTo>
                <a:cubicBezTo>
                  <a:pt x="427" y="463"/>
                  <a:pt x="427" y="463"/>
                  <a:pt x="427" y="463"/>
                </a:cubicBezTo>
                <a:cubicBezTo>
                  <a:pt x="427" y="464"/>
                  <a:pt x="427" y="464"/>
                  <a:pt x="427" y="464"/>
                </a:cubicBezTo>
                <a:cubicBezTo>
                  <a:pt x="427" y="465"/>
                  <a:pt x="427" y="465"/>
                  <a:pt x="427" y="465"/>
                </a:cubicBezTo>
                <a:cubicBezTo>
                  <a:pt x="427" y="465"/>
                  <a:pt x="427" y="465"/>
                  <a:pt x="427" y="465"/>
                </a:cubicBezTo>
                <a:cubicBezTo>
                  <a:pt x="427" y="465"/>
                  <a:pt x="427" y="465"/>
                  <a:pt x="427" y="465"/>
                </a:cubicBezTo>
                <a:cubicBezTo>
                  <a:pt x="429" y="466"/>
                  <a:pt x="429" y="466"/>
                  <a:pt x="429" y="466"/>
                </a:cubicBezTo>
                <a:cubicBezTo>
                  <a:pt x="430" y="466"/>
                  <a:pt x="430" y="466"/>
                  <a:pt x="430" y="466"/>
                </a:cubicBezTo>
                <a:cubicBezTo>
                  <a:pt x="431" y="465"/>
                  <a:pt x="431" y="465"/>
                  <a:pt x="431" y="465"/>
                </a:cubicBezTo>
                <a:cubicBezTo>
                  <a:pt x="432" y="465"/>
                  <a:pt x="432" y="465"/>
                  <a:pt x="432" y="465"/>
                </a:cubicBezTo>
                <a:cubicBezTo>
                  <a:pt x="433" y="464"/>
                  <a:pt x="433" y="464"/>
                  <a:pt x="433" y="464"/>
                </a:cubicBezTo>
                <a:cubicBezTo>
                  <a:pt x="433" y="464"/>
                  <a:pt x="433" y="464"/>
                  <a:pt x="433" y="464"/>
                </a:cubicBezTo>
                <a:cubicBezTo>
                  <a:pt x="433" y="464"/>
                  <a:pt x="433" y="464"/>
                  <a:pt x="433" y="464"/>
                </a:cubicBezTo>
                <a:cubicBezTo>
                  <a:pt x="432" y="465"/>
                  <a:pt x="432" y="465"/>
                  <a:pt x="432" y="465"/>
                </a:cubicBezTo>
                <a:cubicBezTo>
                  <a:pt x="434" y="465"/>
                  <a:pt x="434" y="465"/>
                  <a:pt x="434" y="465"/>
                </a:cubicBezTo>
                <a:cubicBezTo>
                  <a:pt x="435" y="465"/>
                  <a:pt x="435" y="465"/>
                  <a:pt x="435" y="465"/>
                </a:cubicBezTo>
                <a:cubicBezTo>
                  <a:pt x="435" y="465"/>
                  <a:pt x="435" y="465"/>
                  <a:pt x="435" y="465"/>
                </a:cubicBezTo>
                <a:cubicBezTo>
                  <a:pt x="437" y="465"/>
                  <a:pt x="437" y="465"/>
                  <a:pt x="437" y="465"/>
                </a:cubicBezTo>
                <a:cubicBezTo>
                  <a:pt x="438" y="465"/>
                  <a:pt x="438" y="465"/>
                  <a:pt x="438" y="465"/>
                </a:cubicBezTo>
                <a:cubicBezTo>
                  <a:pt x="438" y="466"/>
                  <a:pt x="438" y="466"/>
                  <a:pt x="438" y="466"/>
                </a:cubicBezTo>
                <a:cubicBezTo>
                  <a:pt x="438" y="466"/>
                  <a:pt x="438" y="466"/>
                  <a:pt x="438" y="466"/>
                </a:cubicBezTo>
                <a:cubicBezTo>
                  <a:pt x="440" y="466"/>
                  <a:pt x="440" y="466"/>
                  <a:pt x="440" y="466"/>
                </a:cubicBezTo>
                <a:cubicBezTo>
                  <a:pt x="440" y="466"/>
                  <a:pt x="440" y="466"/>
                  <a:pt x="440" y="466"/>
                </a:cubicBezTo>
                <a:cubicBezTo>
                  <a:pt x="440" y="466"/>
                  <a:pt x="440" y="466"/>
                  <a:pt x="440" y="466"/>
                </a:cubicBezTo>
                <a:cubicBezTo>
                  <a:pt x="441" y="466"/>
                  <a:pt x="441" y="466"/>
                  <a:pt x="441" y="466"/>
                </a:cubicBezTo>
                <a:cubicBezTo>
                  <a:pt x="441" y="466"/>
                  <a:pt x="441" y="466"/>
                  <a:pt x="441" y="466"/>
                </a:cubicBezTo>
                <a:cubicBezTo>
                  <a:pt x="441" y="466"/>
                  <a:pt x="441" y="466"/>
                  <a:pt x="441" y="466"/>
                </a:cubicBezTo>
                <a:cubicBezTo>
                  <a:pt x="442" y="466"/>
                  <a:pt x="442" y="466"/>
                  <a:pt x="442" y="466"/>
                </a:cubicBezTo>
                <a:cubicBezTo>
                  <a:pt x="443" y="466"/>
                  <a:pt x="443" y="466"/>
                  <a:pt x="443" y="466"/>
                </a:cubicBezTo>
                <a:cubicBezTo>
                  <a:pt x="443" y="466"/>
                  <a:pt x="443" y="466"/>
                  <a:pt x="443" y="466"/>
                </a:cubicBezTo>
                <a:cubicBezTo>
                  <a:pt x="444" y="466"/>
                  <a:pt x="444" y="466"/>
                  <a:pt x="444" y="466"/>
                </a:cubicBezTo>
                <a:cubicBezTo>
                  <a:pt x="444" y="466"/>
                  <a:pt x="444" y="466"/>
                  <a:pt x="444" y="466"/>
                </a:cubicBezTo>
                <a:cubicBezTo>
                  <a:pt x="445" y="466"/>
                  <a:pt x="445" y="466"/>
                  <a:pt x="445" y="466"/>
                </a:cubicBezTo>
                <a:cubicBezTo>
                  <a:pt x="445" y="465"/>
                  <a:pt x="445" y="465"/>
                  <a:pt x="445" y="465"/>
                </a:cubicBezTo>
                <a:cubicBezTo>
                  <a:pt x="445" y="465"/>
                  <a:pt x="445" y="465"/>
                  <a:pt x="445" y="465"/>
                </a:cubicBezTo>
                <a:cubicBezTo>
                  <a:pt x="445" y="464"/>
                  <a:pt x="445" y="464"/>
                  <a:pt x="445" y="464"/>
                </a:cubicBezTo>
                <a:cubicBezTo>
                  <a:pt x="445" y="464"/>
                  <a:pt x="445" y="464"/>
                  <a:pt x="445" y="464"/>
                </a:cubicBezTo>
                <a:cubicBezTo>
                  <a:pt x="446" y="463"/>
                  <a:pt x="446" y="463"/>
                  <a:pt x="446" y="463"/>
                </a:cubicBezTo>
                <a:cubicBezTo>
                  <a:pt x="446" y="463"/>
                  <a:pt x="446" y="463"/>
                  <a:pt x="446" y="463"/>
                </a:cubicBezTo>
                <a:cubicBezTo>
                  <a:pt x="446" y="464"/>
                  <a:pt x="446" y="464"/>
                  <a:pt x="446" y="464"/>
                </a:cubicBezTo>
                <a:cubicBezTo>
                  <a:pt x="446" y="465"/>
                  <a:pt x="446" y="465"/>
                  <a:pt x="446" y="465"/>
                </a:cubicBezTo>
                <a:cubicBezTo>
                  <a:pt x="446" y="465"/>
                  <a:pt x="446" y="465"/>
                  <a:pt x="446" y="465"/>
                </a:cubicBezTo>
                <a:cubicBezTo>
                  <a:pt x="446" y="464"/>
                  <a:pt x="446" y="464"/>
                  <a:pt x="446" y="464"/>
                </a:cubicBezTo>
                <a:cubicBezTo>
                  <a:pt x="447" y="464"/>
                  <a:pt x="447" y="464"/>
                  <a:pt x="447" y="464"/>
                </a:cubicBezTo>
                <a:cubicBezTo>
                  <a:pt x="447" y="464"/>
                  <a:pt x="447" y="464"/>
                  <a:pt x="447" y="464"/>
                </a:cubicBezTo>
                <a:cubicBezTo>
                  <a:pt x="447" y="464"/>
                  <a:pt x="447" y="464"/>
                  <a:pt x="447" y="464"/>
                </a:cubicBezTo>
                <a:cubicBezTo>
                  <a:pt x="447" y="465"/>
                  <a:pt x="447" y="465"/>
                  <a:pt x="447" y="465"/>
                </a:cubicBezTo>
                <a:cubicBezTo>
                  <a:pt x="447" y="466"/>
                  <a:pt x="447" y="466"/>
                  <a:pt x="447" y="466"/>
                </a:cubicBezTo>
                <a:cubicBezTo>
                  <a:pt x="447" y="465"/>
                  <a:pt x="447" y="465"/>
                  <a:pt x="447" y="465"/>
                </a:cubicBezTo>
                <a:cubicBezTo>
                  <a:pt x="448" y="465"/>
                  <a:pt x="448" y="465"/>
                  <a:pt x="448" y="465"/>
                </a:cubicBezTo>
                <a:cubicBezTo>
                  <a:pt x="448" y="466"/>
                  <a:pt x="448" y="466"/>
                  <a:pt x="448" y="466"/>
                </a:cubicBezTo>
                <a:cubicBezTo>
                  <a:pt x="446" y="466"/>
                  <a:pt x="446" y="466"/>
                  <a:pt x="446" y="466"/>
                </a:cubicBezTo>
                <a:cubicBezTo>
                  <a:pt x="445" y="467"/>
                  <a:pt x="445" y="467"/>
                  <a:pt x="445" y="467"/>
                </a:cubicBezTo>
                <a:cubicBezTo>
                  <a:pt x="446" y="467"/>
                  <a:pt x="446" y="467"/>
                  <a:pt x="446" y="467"/>
                </a:cubicBezTo>
                <a:cubicBezTo>
                  <a:pt x="446" y="467"/>
                  <a:pt x="446" y="467"/>
                  <a:pt x="446" y="467"/>
                </a:cubicBezTo>
                <a:cubicBezTo>
                  <a:pt x="447" y="467"/>
                  <a:pt x="447" y="467"/>
                  <a:pt x="447" y="467"/>
                </a:cubicBezTo>
                <a:cubicBezTo>
                  <a:pt x="447" y="467"/>
                  <a:pt x="447" y="467"/>
                  <a:pt x="447" y="467"/>
                </a:cubicBezTo>
                <a:cubicBezTo>
                  <a:pt x="448" y="467"/>
                  <a:pt x="448" y="467"/>
                  <a:pt x="448" y="467"/>
                </a:cubicBezTo>
                <a:cubicBezTo>
                  <a:pt x="448" y="468"/>
                  <a:pt x="448" y="468"/>
                  <a:pt x="448" y="468"/>
                </a:cubicBezTo>
                <a:cubicBezTo>
                  <a:pt x="448" y="467"/>
                  <a:pt x="448" y="467"/>
                  <a:pt x="448" y="467"/>
                </a:cubicBezTo>
                <a:cubicBezTo>
                  <a:pt x="449" y="467"/>
                  <a:pt x="449" y="467"/>
                  <a:pt x="449" y="467"/>
                </a:cubicBezTo>
                <a:cubicBezTo>
                  <a:pt x="449" y="466"/>
                  <a:pt x="449" y="466"/>
                  <a:pt x="449" y="466"/>
                </a:cubicBezTo>
                <a:cubicBezTo>
                  <a:pt x="449" y="466"/>
                  <a:pt x="449" y="466"/>
                  <a:pt x="449" y="466"/>
                </a:cubicBezTo>
                <a:cubicBezTo>
                  <a:pt x="450" y="466"/>
                  <a:pt x="450" y="466"/>
                  <a:pt x="450" y="466"/>
                </a:cubicBezTo>
                <a:cubicBezTo>
                  <a:pt x="451" y="466"/>
                  <a:pt x="451" y="466"/>
                  <a:pt x="451" y="466"/>
                </a:cubicBezTo>
                <a:cubicBezTo>
                  <a:pt x="451" y="467"/>
                  <a:pt x="451" y="467"/>
                  <a:pt x="451" y="467"/>
                </a:cubicBezTo>
                <a:cubicBezTo>
                  <a:pt x="452" y="466"/>
                  <a:pt x="452" y="466"/>
                  <a:pt x="452" y="466"/>
                </a:cubicBezTo>
                <a:cubicBezTo>
                  <a:pt x="453" y="466"/>
                  <a:pt x="453" y="466"/>
                  <a:pt x="453" y="466"/>
                </a:cubicBezTo>
                <a:cubicBezTo>
                  <a:pt x="453" y="466"/>
                  <a:pt x="453" y="466"/>
                  <a:pt x="453" y="466"/>
                </a:cubicBezTo>
                <a:cubicBezTo>
                  <a:pt x="453" y="467"/>
                  <a:pt x="453" y="467"/>
                  <a:pt x="453" y="467"/>
                </a:cubicBezTo>
                <a:cubicBezTo>
                  <a:pt x="453" y="467"/>
                  <a:pt x="453" y="467"/>
                  <a:pt x="453" y="467"/>
                </a:cubicBezTo>
                <a:cubicBezTo>
                  <a:pt x="452" y="467"/>
                  <a:pt x="452" y="467"/>
                  <a:pt x="452" y="467"/>
                </a:cubicBezTo>
                <a:cubicBezTo>
                  <a:pt x="451" y="468"/>
                  <a:pt x="451" y="468"/>
                  <a:pt x="451" y="468"/>
                </a:cubicBezTo>
                <a:cubicBezTo>
                  <a:pt x="450" y="468"/>
                  <a:pt x="450" y="468"/>
                  <a:pt x="450" y="468"/>
                </a:cubicBezTo>
                <a:cubicBezTo>
                  <a:pt x="450" y="469"/>
                  <a:pt x="450" y="469"/>
                  <a:pt x="450" y="469"/>
                </a:cubicBezTo>
                <a:cubicBezTo>
                  <a:pt x="450" y="469"/>
                  <a:pt x="450" y="469"/>
                  <a:pt x="450" y="469"/>
                </a:cubicBezTo>
                <a:cubicBezTo>
                  <a:pt x="449" y="469"/>
                  <a:pt x="449" y="469"/>
                  <a:pt x="449" y="469"/>
                </a:cubicBezTo>
                <a:cubicBezTo>
                  <a:pt x="449" y="469"/>
                  <a:pt x="449" y="469"/>
                  <a:pt x="449" y="469"/>
                </a:cubicBezTo>
                <a:cubicBezTo>
                  <a:pt x="448" y="470"/>
                  <a:pt x="448" y="470"/>
                  <a:pt x="448" y="470"/>
                </a:cubicBezTo>
                <a:cubicBezTo>
                  <a:pt x="448" y="470"/>
                  <a:pt x="448" y="470"/>
                  <a:pt x="448" y="470"/>
                </a:cubicBezTo>
                <a:cubicBezTo>
                  <a:pt x="447" y="470"/>
                  <a:pt x="447" y="470"/>
                  <a:pt x="447" y="470"/>
                </a:cubicBezTo>
                <a:cubicBezTo>
                  <a:pt x="446" y="471"/>
                  <a:pt x="446" y="471"/>
                  <a:pt x="446" y="471"/>
                </a:cubicBezTo>
                <a:cubicBezTo>
                  <a:pt x="445" y="471"/>
                  <a:pt x="445" y="471"/>
                  <a:pt x="445" y="471"/>
                </a:cubicBezTo>
                <a:cubicBezTo>
                  <a:pt x="445" y="472"/>
                  <a:pt x="445" y="472"/>
                  <a:pt x="445" y="472"/>
                </a:cubicBezTo>
                <a:cubicBezTo>
                  <a:pt x="446" y="472"/>
                  <a:pt x="446" y="472"/>
                  <a:pt x="446" y="472"/>
                </a:cubicBezTo>
                <a:cubicBezTo>
                  <a:pt x="446" y="473"/>
                  <a:pt x="446" y="473"/>
                  <a:pt x="446" y="473"/>
                </a:cubicBezTo>
                <a:cubicBezTo>
                  <a:pt x="447" y="473"/>
                  <a:pt x="447" y="473"/>
                  <a:pt x="447" y="473"/>
                </a:cubicBezTo>
                <a:cubicBezTo>
                  <a:pt x="447" y="472"/>
                  <a:pt x="447" y="472"/>
                  <a:pt x="447" y="472"/>
                </a:cubicBezTo>
                <a:cubicBezTo>
                  <a:pt x="447" y="472"/>
                  <a:pt x="447" y="472"/>
                  <a:pt x="447" y="472"/>
                </a:cubicBezTo>
                <a:cubicBezTo>
                  <a:pt x="448" y="472"/>
                  <a:pt x="448" y="472"/>
                  <a:pt x="448" y="472"/>
                </a:cubicBezTo>
                <a:cubicBezTo>
                  <a:pt x="448" y="472"/>
                  <a:pt x="448" y="472"/>
                  <a:pt x="448" y="472"/>
                </a:cubicBezTo>
                <a:cubicBezTo>
                  <a:pt x="448" y="473"/>
                  <a:pt x="448" y="473"/>
                  <a:pt x="448" y="473"/>
                </a:cubicBezTo>
                <a:cubicBezTo>
                  <a:pt x="449" y="472"/>
                  <a:pt x="449" y="472"/>
                  <a:pt x="449" y="472"/>
                </a:cubicBezTo>
                <a:cubicBezTo>
                  <a:pt x="450" y="472"/>
                  <a:pt x="450" y="472"/>
                  <a:pt x="450" y="472"/>
                </a:cubicBezTo>
                <a:cubicBezTo>
                  <a:pt x="450" y="471"/>
                  <a:pt x="450" y="471"/>
                  <a:pt x="450" y="471"/>
                </a:cubicBezTo>
                <a:cubicBezTo>
                  <a:pt x="450" y="471"/>
                  <a:pt x="450" y="471"/>
                  <a:pt x="450" y="471"/>
                </a:cubicBezTo>
                <a:cubicBezTo>
                  <a:pt x="451" y="470"/>
                  <a:pt x="451" y="470"/>
                  <a:pt x="451" y="470"/>
                </a:cubicBezTo>
                <a:cubicBezTo>
                  <a:pt x="451" y="470"/>
                  <a:pt x="451" y="470"/>
                  <a:pt x="451" y="470"/>
                </a:cubicBezTo>
                <a:cubicBezTo>
                  <a:pt x="451" y="469"/>
                  <a:pt x="451" y="469"/>
                  <a:pt x="451" y="469"/>
                </a:cubicBezTo>
                <a:cubicBezTo>
                  <a:pt x="452" y="468"/>
                  <a:pt x="452" y="468"/>
                  <a:pt x="452" y="468"/>
                </a:cubicBezTo>
                <a:cubicBezTo>
                  <a:pt x="453" y="468"/>
                  <a:pt x="453" y="468"/>
                  <a:pt x="453" y="468"/>
                </a:cubicBezTo>
                <a:cubicBezTo>
                  <a:pt x="453" y="468"/>
                  <a:pt x="453" y="468"/>
                  <a:pt x="453" y="468"/>
                </a:cubicBezTo>
                <a:cubicBezTo>
                  <a:pt x="454" y="468"/>
                  <a:pt x="454" y="468"/>
                  <a:pt x="454" y="468"/>
                </a:cubicBezTo>
                <a:cubicBezTo>
                  <a:pt x="453" y="469"/>
                  <a:pt x="453" y="469"/>
                  <a:pt x="453" y="469"/>
                </a:cubicBezTo>
                <a:cubicBezTo>
                  <a:pt x="454" y="469"/>
                  <a:pt x="454" y="469"/>
                  <a:pt x="454" y="469"/>
                </a:cubicBezTo>
                <a:cubicBezTo>
                  <a:pt x="455" y="468"/>
                  <a:pt x="455" y="468"/>
                  <a:pt x="455" y="468"/>
                </a:cubicBezTo>
                <a:cubicBezTo>
                  <a:pt x="455" y="467"/>
                  <a:pt x="455" y="467"/>
                  <a:pt x="455" y="467"/>
                </a:cubicBezTo>
                <a:cubicBezTo>
                  <a:pt x="456" y="466"/>
                  <a:pt x="456" y="466"/>
                  <a:pt x="456" y="466"/>
                </a:cubicBezTo>
                <a:cubicBezTo>
                  <a:pt x="456" y="464"/>
                  <a:pt x="456" y="464"/>
                  <a:pt x="456" y="464"/>
                </a:cubicBezTo>
                <a:cubicBezTo>
                  <a:pt x="456" y="464"/>
                  <a:pt x="456" y="464"/>
                  <a:pt x="456" y="464"/>
                </a:cubicBezTo>
                <a:cubicBezTo>
                  <a:pt x="456" y="464"/>
                  <a:pt x="456" y="464"/>
                  <a:pt x="456" y="464"/>
                </a:cubicBezTo>
                <a:cubicBezTo>
                  <a:pt x="457" y="464"/>
                  <a:pt x="457" y="464"/>
                  <a:pt x="457" y="464"/>
                </a:cubicBezTo>
                <a:cubicBezTo>
                  <a:pt x="457" y="465"/>
                  <a:pt x="457" y="465"/>
                  <a:pt x="457" y="465"/>
                </a:cubicBezTo>
                <a:cubicBezTo>
                  <a:pt x="458" y="465"/>
                  <a:pt x="458" y="465"/>
                  <a:pt x="458" y="465"/>
                </a:cubicBezTo>
                <a:cubicBezTo>
                  <a:pt x="458" y="466"/>
                  <a:pt x="458" y="466"/>
                  <a:pt x="458" y="466"/>
                </a:cubicBezTo>
                <a:cubicBezTo>
                  <a:pt x="458" y="467"/>
                  <a:pt x="458" y="467"/>
                  <a:pt x="458" y="467"/>
                </a:cubicBezTo>
                <a:cubicBezTo>
                  <a:pt x="457" y="468"/>
                  <a:pt x="457" y="468"/>
                  <a:pt x="457" y="468"/>
                </a:cubicBezTo>
                <a:cubicBezTo>
                  <a:pt x="458" y="468"/>
                  <a:pt x="458" y="468"/>
                  <a:pt x="458" y="468"/>
                </a:cubicBezTo>
                <a:cubicBezTo>
                  <a:pt x="457" y="469"/>
                  <a:pt x="457" y="469"/>
                  <a:pt x="457" y="469"/>
                </a:cubicBezTo>
                <a:cubicBezTo>
                  <a:pt x="456" y="470"/>
                  <a:pt x="456" y="470"/>
                  <a:pt x="456" y="470"/>
                </a:cubicBezTo>
                <a:cubicBezTo>
                  <a:pt x="456" y="472"/>
                  <a:pt x="456" y="472"/>
                  <a:pt x="456" y="472"/>
                </a:cubicBezTo>
                <a:cubicBezTo>
                  <a:pt x="456" y="472"/>
                  <a:pt x="456" y="472"/>
                  <a:pt x="456" y="472"/>
                </a:cubicBezTo>
                <a:cubicBezTo>
                  <a:pt x="455" y="473"/>
                  <a:pt x="455" y="473"/>
                  <a:pt x="455" y="473"/>
                </a:cubicBezTo>
                <a:cubicBezTo>
                  <a:pt x="455" y="474"/>
                  <a:pt x="455" y="474"/>
                  <a:pt x="455" y="474"/>
                </a:cubicBezTo>
                <a:cubicBezTo>
                  <a:pt x="456" y="474"/>
                  <a:pt x="456" y="474"/>
                  <a:pt x="456" y="474"/>
                </a:cubicBezTo>
                <a:cubicBezTo>
                  <a:pt x="457" y="473"/>
                  <a:pt x="457" y="473"/>
                  <a:pt x="457" y="473"/>
                </a:cubicBezTo>
                <a:cubicBezTo>
                  <a:pt x="458" y="472"/>
                  <a:pt x="458" y="472"/>
                  <a:pt x="458" y="472"/>
                </a:cubicBezTo>
                <a:cubicBezTo>
                  <a:pt x="458" y="472"/>
                  <a:pt x="458" y="472"/>
                  <a:pt x="458" y="472"/>
                </a:cubicBezTo>
                <a:cubicBezTo>
                  <a:pt x="459" y="470"/>
                  <a:pt x="459" y="470"/>
                  <a:pt x="459" y="470"/>
                </a:cubicBezTo>
                <a:cubicBezTo>
                  <a:pt x="460" y="470"/>
                  <a:pt x="460" y="470"/>
                  <a:pt x="460" y="470"/>
                </a:cubicBezTo>
                <a:cubicBezTo>
                  <a:pt x="460" y="470"/>
                  <a:pt x="460" y="470"/>
                  <a:pt x="460" y="470"/>
                </a:cubicBezTo>
                <a:cubicBezTo>
                  <a:pt x="461" y="470"/>
                  <a:pt x="461" y="470"/>
                  <a:pt x="461" y="470"/>
                </a:cubicBezTo>
                <a:cubicBezTo>
                  <a:pt x="461" y="471"/>
                  <a:pt x="461" y="471"/>
                  <a:pt x="461" y="471"/>
                </a:cubicBezTo>
                <a:cubicBezTo>
                  <a:pt x="460" y="471"/>
                  <a:pt x="460" y="471"/>
                  <a:pt x="460" y="471"/>
                </a:cubicBezTo>
                <a:cubicBezTo>
                  <a:pt x="459" y="472"/>
                  <a:pt x="459" y="472"/>
                  <a:pt x="459" y="472"/>
                </a:cubicBezTo>
                <a:cubicBezTo>
                  <a:pt x="459" y="473"/>
                  <a:pt x="459" y="473"/>
                  <a:pt x="459" y="473"/>
                </a:cubicBezTo>
                <a:cubicBezTo>
                  <a:pt x="459" y="473"/>
                  <a:pt x="459" y="473"/>
                  <a:pt x="459" y="473"/>
                </a:cubicBezTo>
                <a:cubicBezTo>
                  <a:pt x="459" y="474"/>
                  <a:pt x="459" y="474"/>
                  <a:pt x="459" y="474"/>
                </a:cubicBezTo>
                <a:cubicBezTo>
                  <a:pt x="459" y="475"/>
                  <a:pt x="459" y="475"/>
                  <a:pt x="459" y="475"/>
                </a:cubicBezTo>
                <a:cubicBezTo>
                  <a:pt x="460" y="476"/>
                  <a:pt x="460" y="476"/>
                  <a:pt x="460" y="476"/>
                </a:cubicBezTo>
                <a:cubicBezTo>
                  <a:pt x="460" y="475"/>
                  <a:pt x="460" y="475"/>
                  <a:pt x="460" y="475"/>
                </a:cubicBezTo>
                <a:cubicBezTo>
                  <a:pt x="460" y="474"/>
                  <a:pt x="460" y="474"/>
                  <a:pt x="460" y="474"/>
                </a:cubicBezTo>
                <a:cubicBezTo>
                  <a:pt x="460" y="474"/>
                  <a:pt x="461" y="474"/>
                  <a:pt x="461" y="474"/>
                </a:cubicBezTo>
                <a:cubicBezTo>
                  <a:pt x="461" y="474"/>
                  <a:pt x="462" y="475"/>
                  <a:pt x="462" y="475"/>
                </a:cubicBezTo>
                <a:cubicBezTo>
                  <a:pt x="462" y="475"/>
                  <a:pt x="462" y="475"/>
                  <a:pt x="462" y="475"/>
                </a:cubicBezTo>
                <a:cubicBezTo>
                  <a:pt x="463" y="475"/>
                  <a:pt x="463" y="475"/>
                  <a:pt x="463" y="475"/>
                </a:cubicBezTo>
                <a:cubicBezTo>
                  <a:pt x="463" y="474"/>
                  <a:pt x="463" y="474"/>
                  <a:pt x="463" y="474"/>
                </a:cubicBezTo>
                <a:cubicBezTo>
                  <a:pt x="463" y="474"/>
                  <a:pt x="463" y="474"/>
                  <a:pt x="463" y="474"/>
                </a:cubicBezTo>
                <a:cubicBezTo>
                  <a:pt x="463" y="473"/>
                  <a:pt x="463" y="473"/>
                  <a:pt x="463" y="473"/>
                </a:cubicBezTo>
                <a:cubicBezTo>
                  <a:pt x="463" y="472"/>
                  <a:pt x="463" y="472"/>
                  <a:pt x="463" y="472"/>
                </a:cubicBezTo>
                <a:cubicBezTo>
                  <a:pt x="464" y="472"/>
                  <a:pt x="464" y="472"/>
                  <a:pt x="464" y="472"/>
                </a:cubicBezTo>
                <a:cubicBezTo>
                  <a:pt x="464" y="472"/>
                  <a:pt x="464" y="472"/>
                  <a:pt x="464" y="472"/>
                </a:cubicBezTo>
                <a:cubicBezTo>
                  <a:pt x="464" y="471"/>
                  <a:pt x="464" y="471"/>
                  <a:pt x="464" y="471"/>
                </a:cubicBezTo>
                <a:cubicBezTo>
                  <a:pt x="464" y="470"/>
                  <a:pt x="464" y="470"/>
                  <a:pt x="464" y="470"/>
                </a:cubicBezTo>
                <a:cubicBezTo>
                  <a:pt x="465" y="469"/>
                  <a:pt x="465" y="469"/>
                  <a:pt x="465" y="469"/>
                </a:cubicBezTo>
                <a:cubicBezTo>
                  <a:pt x="466" y="468"/>
                  <a:pt x="466" y="468"/>
                  <a:pt x="466" y="468"/>
                </a:cubicBezTo>
                <a:cubicBezTo>
                  <a:pt x="465" y="466"/>
                  <a:pt x="465" y="466"/>
                  <a:pt x="465" y="466"/>
                </a:cubicBezTo>
                <a:cubicBezTo>
                  <a:pt x="465" y="465"/>
                  <a:pt x="465" y="465"/>
                  <a:pt x="465" y="465"/>
                </a:cubicBezTo>
                <a:cubicBezTo>
                  <a:pt x="465" y="465"/>
                  <a:pt x="465" y="465"/>
                  <a:pt x="465" y="465"/>
                </a:cubicBezTo>
                <a:cubicBezTo>
                  <a:pt x="465" y="466"/>
                  <a:pt x="465" y="466"/>
                  <a:pt x="465" y="466"/>
                </a:cubicBezTo>
                <a:cubicBezTo>
                  <a:pt x="465" y="467"/>
                  <a:pt x="465" y="467"/>
                  <a:pt x="465" y="467"/>
                </a:cubicBezTo>
                <a:cubicBezTo>
                  <a:pt x="464" y="467"/>
                  <a:pt x="464" y="467"/>
                  <a:pt x="464" y="467"/>
                </a:cubicBezTo>
                <a:cubicBezTo>
                  <a:pt x="463" y="468"/>
                  <a:pt x="463" y="468"/>
                  <a:pt x="463" y="468"/>
                </a:cubicBezTo>
                <a:cubicBezTo>
                  <a:pt x="462" y="468"/>
                  <a:pt x="462" y="468"/>
                  <a:pt x="462" y="468"/>
                </a:cubicBezTo>
                <a:cubicBezTo>
                  <a:pt x="462" y="467"/>
                  <a:pt x="462" y="467"/>
                  <a:pt x="462" y="467"/>
                </a:cubicBezTo>
                <a:cubicBezTo>
                  <a:pt x="462" y="467"/>
                  <a:pt x="462" y="467"/>
                  <a:pt x="462" y="467"/>
                </a:cubicBezTo>
                <a:cubicBezTo>
                  <a:pt x="462" y="466"/>
                  <a:pt x="462" y="466"/>
                  <a:pt x="462" y="466"/>
                </a:cubicBezTo>
                <a:cubicBezTo>
                  <a:pt x="463" y="465"/>
                  <a:pt x="463" y="465"/>
                  <a:pt x="463" y="465"/>
                </a:cubicBezTo>
                <a:cubicBezTo>
                  <a:pt x="464" y="464"/>
                  <a:pt x="464" y="464"/>
                  <a:pt x="464" y="464"/>
                </a:cubicBezTo>
                <a:cubicBezTo>
                  <a:pt x="464" y="464"/>
                  <a:pt x="464" y="464"/>
                  <a:pt x="464" y="464"/>
                </a:cubicBezTo>
                <a:cubicBezTo>
                  <a:pt x="465" y="464"/>
                  <a:pt x="465" y="464"/>
                  <a:pt x="465" y="464"/>
                </a:cubicBezTo>
                <a:cubicBezTo>
                  <a:pt x="465" y="463"/>
                  <a:pt x="465" y="463"/>
                  <a:pt x="465" y="463"/>
                </a:cubicBezTo>
                <a:cubicBezTo>
                  <a:pt x="465" y="463"/>
                  <a:pt x="465" y="463"/>
                  <a:pt x="465" y="463"/>
                </a:cubicBezTo>
                <a:cubicBezTo>
                  <a:pt x="464" y="463"/>
                  <a:pt x="464" y="463"/>
                  <a:pt x="464" y="463"/>
                </a:cubicBezTo>
                <a:cubicBezTo>
                  <a:pt x="464" y="463"/>
                  <a:pt x="464" y="463"/>
                  <a:pt x="464" y="463"/>
                </a:cubicBezTo>
                <a:cubicBezTo>
                  <a:pt x="463" y="464"/>
                  <a:pt x="463" y="464"/>
                  <a:pt x="463" y="464"/>
                </a:cubicBezTo>
                <a:cubicBezTo>
                  <a:pt x="463" y="464"/>
                  <a:pt x="463" y="464"/>
                  <a:pt x="463" y="464"/>
                </a:cubicBezTo>
                <a:cubicBezTo>
                  <a:pt x="462" y="464"/>
                  <a:pt x="462" y="464"/>
                  <a:pt x="462" y="464"/>
                </a:cubicBezTo>
                <a:cubicBezTo>
                  <a:pt x="462" y="465"/>
                  <a:pt x="462" y="465"/>
                  <a:pt x="462" y="465"/>
                </a:cubicBezTo>
                <a:cubicBezTo>
                  <a:pt x="460" y="466"/>
                  <a:pt x="460" y="466"/>
                  <a:pt x="460" y="466"/>
                </a:cubicBezTo>
                <a:cubicBezTo>
                  <a:pt x="460" y="467"/>
                  <a:pt x="460" y="467"/>
                  <a:pt x="460" y="467"/>
                </a:cubicBezTo>
                <a:cubicBezTo>
                  <a:pt x="460" y="467"/>
                  <a:pt x="460" y="467"/>
                  <a:pt x="460" y="467"/>
                </a:cubicBezTo>
                <a:cubicBezTo>
                  <a:pt x="459" y="466"/>
                  <a:pt x="459" y="466"/>
                  <a:pt x="459" y="466"/>
                </a:cubicBezTo>
                <a:cubicBezTo>
                  <a:pt x="459" y="466"/>
                  <a:pt x="459" y="466"/>
                  <a:pt x="459" y="466"/>
                </a:cubicBezTo>
                <a:cubicBezTo>
                  <a:pt x="458" y="465"/>
                  <a:pt x="458" y="465"/>
                  <a:pt x="458" y="465"/>
                </a:cubicBezTo>
                <a:cubicBezTo>
                  <a:pt x="458" y="464"/>
                  <a:pt x="458" y="464"/>
                  <a:pt x="458" y="464"/>
                </a:cubicBezTo>
                <a:cubicBezTo>
                  <a:pt x="459" y="465"/>
                  <a:pt x="459" y="465"/>
                  <a:pt x="459" y="465"/>
                </a:cubicBezTo>
                <a:cubicBezTo>
                  <a:pt x="459" y="465"/>
                  <a:pt x="459" y="465"/>
                  <a:pt x="459" y="465"/>
                </a:cubicBezTo>
                <a:cubicBezTo>
                  <a:pt x="460" y="464"/>
                  <a:pt x="460" y="464"/>
                  <a:pt x="460" y="464"/>
                </a:cubicBezTo>
                <a:cubicBezTo>
                  <a:pt x="459" y="464"/>
                  <a:pt x="459" y="464"/>
                  <a:pt x="459" y="464"/>
                </a:cubicBezTo>
                <a:cubicBezTo>
                  <a:pt x="458" y="463"/>
                  <a:pt x="458" y="463"/>
                  <a:pt x="458" y="463"/>
                </a:cubicBezTo>
                <a:cubicBezTo>
                  <a:pt x="459" y="463"/>
                  <a:pt x="459" y="463"/>
                  <a:pt x="459" y="463"/>
                </a:cubicBezTo>
                <a:cubicBezTo>
                  <a:pt x="460" y="463"/>
                  <a:pt x="460" y="463"/>
                  <a:pt x="460" y="463"/>
                </a:cubicBezTo>
                <a:cubicBezTo>
                  <a:pt x="459" y="463"/>
                  <a:pt x="459" y="463"/>
                  <a:pt x="459" y="463"/>
                </a:cubicBezTo>
                <a:cubicBezTo>
                  <a:pt x="459" y="463"/>
                  <a:pt x="459" y="463"/>
                  <a:pt x="459" y="463"/>
                </a:cubicBezTo>
                <a:cubicBezTo>
                  <a:pt x="459" y="462"/>
                  <a:pt x="459" y="462"/>
                  <a:pt x="459" y="462"/>
                </a:cubicBezTo>
                <a:cubicBezTo>
                  <a:pt x="459" y="462"/>
                  <a:pt x="459" y="462"/>
                  <a:pt x="459" y="462"/>
                </a:cubicBezTo>
                <a:cubicBezTo>
                  <a:pt x="460" y="462"/>
                  <a:pt x="460" y="462"/>
                  <a:pt x="460" y="462"/>
                </a:cubicBezTo>
                <a:cubicBezTo>
                  <a:pt x="460" y="462"/>
                  <a:pt x="460" y="462"/>
                  <a:pt x="460" y="462"/>
                </a:cubicBezTo>
                <a:cubicBezTo>
                  <a:pt x="461" y="461"/>
                  <a:pt x="461" y="461"/>
                  <a:pt x="461" y="461"/>
                </a:cubicBezTo>
                <a:cubicBezTo>
                  <a:pt x="462" y="460"/>
                  <a:pt x="462" y="460"/>
                  <a:pt x="462" y="460"/>
                </a:cubicBezTo>
                <a:cubicBezTo>
                  <a:pt x="463" y="460"/>
                  <a:pt x="463" y="460"/>
                  <a:pt x="463" y="460"/>
                </a:cubicBezTo>
                <a:cubicBezTo>
                  <a:pt x="463" y="460"/>
                  <a:pt x="463" y="460"/>
                  <a:pt x="463" y="460"/>
                </a:cubicBezTo>
                <a:cubicBezTo>
                  <a:pt x="464" y="459"/>
                  <a:pt x="464" y="459"/>
                  <a:pt x="464" y="459"/>
                </a:cubicBezTo>
                <a:cubicBezTo>
                  <a:pt x="464" y="459"/>
                  <a:pt x="464" y="459"/>
                  <a:pt x="464" y="459"/>
                </a:cubicBezTo>
                <a:cubicBezTo>
                  <a:pt x="464" y="458"/>
                  <a:pt x="464" y="458"/>
                  <a:pt x="464" y="458"/>
                </a:cubicBezTo>
                <a:cubicBezTo>
                  <a:pt x="464" y="457"/>
                  <a:pt x="464" y="457"/>
                  <a:pt x="464" y="457"/>
                </a:cubicBezTo>
                <a:cubicBezTo>
                  <a:pt x="463" y="458"/>
                  <a:pt x="463" y="458"/>
                  <a:pt x="463" y="458"/>
                </a:cubicBezTo>
                <a:cubicBezTo>
                  <a:pt x="463" y="458"/>
                  <a:pt x="463" y="458"/>
                  <a:pt x="463" y="458"/>
                </a:cubicBezTo>
                <a:cubicBezTo>
                  <a:pt x="462" y="458"/>
                  <a:pt x="462" y="458"/>
                  <a:pt x="462" y="458"/>
                </a:cubicBezTo>
                <a:cubicBezTo>
                  <a:pt x="462" y="458"/>
                  <a:pt x="462" y="458"/>
                  <a:pt x="462" y="458"/>
                </a:cubicBezTo>
                <a:cubicBezTo>
                  <a:pt x="462" y="458"/>
                  <a:pt x="462" y="458"/>
                  <a:pt x="462" y="458"/>
                </a:cubicBezTo>
                <a:cubicBezTo>
                  <a:pt x="462" y="459"/>
                  <a:pt x="462" y="459"/>
                  <a:pt x="462" y="459"/>
                </a:cubicBezTo>
                <a:cubicBezTo>
                  <a:pt x="461" y="459"/>
                  <a:pt x="461" y="459"/>
                  <a:pt x="461" y="459"/>
                </a:cubicBezTo>
                <a:cubicBezTo>
                  <a:pt x="461" y="459"/>
                  <a:pt x="461" y="459"/>
                  <a:pt x="461" y="459"/>
                </a:cubicBezTo>
                <a:cubicBezTo>
                  <a:pt x="460" y="460"/>
                  <a:pt x="460" y="460"/>
                  <a:pt x="460" y="460"/>
                </a:cubicBezTo>
                <a:cubicBezTo>
                  <a:pt x="459" y="460"/>
                  <a:pt x="459" y="460"/>
                  <a:pt x="459" y="460"/>
                </a:cubicBezTo>
                <a:cubicBezTo>
                  <a:pt x="459" y="461"/>
                  <a:pt x="459" y="461"/>
                  <a:pt x="459" y="461"/>
                </a:cubicBezTo>
                <a:cubicBezTo>
                  <a:pt x="459" y="461"/>
                  <a:pt x="459" y="461"/>
                  <a:pt x="459" y="461"/>
                </a:cubicBezTo>
                <a:cubicBezTo>
                  <a:pt x="459" y="461"/>
                  <a:pt x="459" y="461"/>
                  <a:pt x="459" y="461"/>
                </a:cubicBezTo>
                <a:cubicBezTo>
                  <a:pt x="459" y="460"/>
                  <a:pt x="459" y="460"/>
                  <a:pt x="459" y="460"/>
                </a:cubicBezTo>
                <a:cubicBezTo>
                  <a:pt x="459" y="460"/>
                  <a:pt x="459" y="460"/>
                  <a:pt x="459" y="460"/>
                </a:cubicBezTo>
                <a:cubicBezTo>
                  <a:pt x="458" y="460"/>
                  <a:pt x="458" y="460"/>
                  <a:pt x="458" y="460"/>
                </a:cubicBezTo>
                <a:cubicBezTo>
                  <a:pt x="459" y="460"/>
                  <a:pt x="459" y="460"/>
                  <a:pt x="459" y="460"/>
                </a:cubicBezTo>
                <a:cubicBezTo>
                  <a:pt x="459" y="459"/>
                  <a:pt x="459" y="459"/>
                  <a:pt x="459" y="459"/>
                </a:cubicBezTo>
                <a:cubicBezTo>
                  <a:pt x="460" y="459"/>
                  <a:pt x="460" y="459"/>
                  <a:pt x="460" y="459"/>
                </a:cubicBezTo>
                <a:cubicBezTo>
                  <a:pt x="459" y="459"/>
                  <a:pt x="459" y="459"/>
                  <a:pt x="459" y="459"/>
                </a:cubicBezTo>
                <a:cubicBezTo>
                  <a:pt x="460" y="458"/>
                  <a:pt x="460" y="458"/>
                  <a:pt x="460" y="458"/>
                </a:cubicBezTo>
                <a:cubicBezTo>
                  <a:pt x="460" y="457"/>
                  <a:pt x="460" y="457"/>
                  <a:pt x="460" y="457"/>
                </a:cubicBezTo>
                <a:cubicBezTo>
                  <a:pt x="460" y="457"/>
                  <a:pt x="460" y="457"/>
                  <a:pt x="460" y="457"/>
                </a:cubicBezTo>
                <a:cubicBezTo>
                  <a:pt x="459" y="458"/>
                  <a:pt x="459" y="458"/>
                  <a:pt x="459" y="458"/>
                </a:cubicBezTo>
                <a:cubicBezTo>
                  <a:pt x="459" y="457"/>
                  <a:pt x="459" y="457"/>
                  <a:pt x="459" y="457"/>
                </a:cubicBezTo>
                <a:cubicBezTo>
                  <a:pt x="459" y="456"/>
                  <a:pt x="459" y="456"/>
                  <a:pt x="459" y="456"/>
                </a:cubicBezTo>
                <a:cubicBezTo>
                  <a:pt x="459" y="456"/>
                  <a:pt x="459" y="456"/>
                  <a:pt x="459" y="456"/>
                </a:cubicBezTo>
                <a:cubicBezTo>
                  <a:pt x="458" y="456"/>
                  <a:pt x="458" y="456"/>
                  <a:pt x="458" y="456"/>
                </a:cubicBezTo>
                <a:cubicBezTo>
                  <a:pt x="457" y="456"/>
                  <a:pt x="457" y="456"/>
                  <a:pt x="457" y="456"/>
                </a:cubicBezTo>
                <a:cubicBezTo>
                  <a:pt x="458" y="456"/>
                  <a:pt x="458" y="456"/>
                  <a:pt x="458" y="456"/>
                </a:cubicBezTo>
                <a:cubicBezTo>
                  <a:pt x="459" y="456"/>
                  <a:pt x="459" y="456"/>
                  <a:pt x="459" y="456"/>
                </a:cubicBezTo>
                <a:cubicBezTo>
                  <a:pt x="460" y="456"/>
                  <a:pt x="460" y="456"/>
                  <a:pt x="460" y="456"/>
                </a:cubicBezTo>
                <a:cubicBezTo>
                  <a:pt x="460" y="455"/>
                  <a:pt x="460" y="455"/>
                  <a:pt x="460" y="455"/>
                </a:cubicBezTo>
                <a:cubicBezTo>
                  <a:pt x="461" y="455"/>
                  <a:pt x="461" y="455"/>
                  <a:pt x="461" y="455"/>
                </a:cubicBezTo>
                <a:cubicBezTo>
                  <a:pt x="461" y="455"/>
                  <a:pt x="461" y="455"/>
                  <a:pt x="461" y="455"/>
                </a:cubicBezTo>
                <a:cubicBezTo>
                  <a:pt x="462" y="454"/>
                  <a:pt x="462" y="454"/>
                  <a:pt x="462" y="454"/>
                </a:cubicBezTo>
                <a:cubicBezTo>
                  <a:pt x="462" y="454"/>
                  <a:pt x="462" y="454"/>
                  <a:pt x="462" y="454"/>
                </a:cubicBezTo>
                <a:cubicBezTo>
                  <a:pt x="463" y="453"/>
                  <a:pt x="463" y="453"/>
                  <a:pt x="463" y="453"/>
                </a:cubicBezTo>
                <a:cubicBezTo>
                  <a:pt x="463" y="452"/>
                  <a:pt x="463" y="452"/>
                  <a:pt x="463" y="452"/>
                </a:cubicBezTo>
                <a:cubicBezTo>
                  <a:pt x="462" y="452"/>
                  <a:pt x="462" y="452"/>
                  <a:pt x="462" y="452"/>
                </a:cubicBezTo>
                <a:cubicBezTo>
                  <a:pt x="461" y="451"/>
                  <a:pt x="461" y="451"/>
                  <a:pt x="461" y="451"/>
                </a:cubicBezTo>
                <a:cubicBezTo>
                  <a:pt x="460" y="451"/>
                  <a:pt x="460" y="451"/>
                  <a:pt x="460" y="451"/>
                </a:cubicBezTo>
                <a:cubicBezTo>
                  <a:pt x="459" y="451"/>
                  <a:pt x="459" y="451"/>
                  <a:pt x="459" y="451"/>
                </a:cubicBezTo>
                <a:cubicBezTo>
                  <a:pt x="458" y="451"/>
                  <a:pt x="458" y="451"/>
                  <a:pt x="458" y="451"/>
                </a:cubicBezTo>
                <a:cubicBezTo>
                  <a:pt x="458" y="452"/>
                  <a:pt x="458" y="452"/>
                  <a:pt x="458" y="452"/>
                </a:cubicBezTo>
                <a:cubicBezTo>
                  <a:pt x="458" y="453"/>
                  <a:pt x="458" y="453"/>
                  <a:pt x="458" y="453"/>
                </a:cubicBezTo>
                <a:cubicBezTo>
                  <a:pt x="458" y="454"/>
                  <a:pt x="458" y="454"/>
                  <a:pt x="458" y="454"/>
                </a:cubicBezTo>
                <a:cubicBezTo>
                  <a:pt x="457" y="454"/>
                  <a:pt x="457" y="454"/>
                  <a:pt x="457" y="454"/>
                </a:cubicBezTo>
                <a:cubicBezTo>
                  <a:pt x="457" y="454"/>
                  <a:pt x="457" y="454"/>
                  <a:pt x="457" y="454"/>
                </a:cubicBezTo>
                <a:cubicBezTo>
                  <a:pt x="458" y="453"/>
                  <a:pt x="458" y="453"/>
                  <a:pt x="458" y="453"/>
                </a:cubicBezTo>
                <a:cubicBezTo>
                  <a:pt x="457" y="452"/>
                  <a:pt x="457" y="452"/>
                  <a:pt x="457" y="452"/>
                </a:cubicBezTo>
                <a:cubicBezTo>
                  <a:pt x="458" y="452"/>
                  <a:pt x="458" y="452"/>
                  <a:pt x="458" y="452"/>
                </a:cubicBezTo>
                <a:cubicBezTo>
                  <a:pt x="458" y="451"/>
                  <a:pt x="458" y="451"/>
                  <a:pt x="458" y="451"/>
                </a:cubicBezTo>
                <a:cubicBezTo>
                  <a:pt x="458" y="451"/>
                  <a:pt x="458" y="451"/>
                  <a:pt x="458" y="451"/>
                </a:cubicBezTo>
                <a:cubicBezTo>
                  <a:pt x="457" y="451"/>
                  <a:pt x="457" y="451"/>
                  <a:pt x="457" y="451"/>
                </a:cubicBezTo>
                <a:cubicBezTo>
                  <a:pt x="456" y="452"/>
                  <a:pt x="456" y="452"/>
                  <a:pt x="456" y="452"/>
                </a:cubicBezTo>
                <a:cubicBezTo>
                  <a:pt x="456" y="452"/>
                  <a:pt x="456" y="452"/>
                  <a:pt x="456" y="452"/>
                </a:cubicBezTo>
                <a:cubicBezTo>
                  <a:pt x="455" y="452"/>
                  <a:pt x="455" y="452"/>
                  <a:pt x="455" y="452"/>
                </a:cubicBezTo>
                <a:cubicBezTo>
                  <a:pt x="455" y="452"/>
                  <a:pt x="455" y="452"/>
                  <a:pt x="455" y="452"/>
                </a:cubicBezTo>
                <a:cubicBezTo>
                  <a:pt x="454" y="453"/>
                  <a:pt x="454" y="453"/>
                  <a:pt x="454" y="453"/>
                </a:cubicBezTo>
                <a:cubicBezTo>
                  <a:pt x="454" y="452"/>
                  <a:pt x="454" y="452"/>
                  <a:pt x="454" y="452"/>
                </a:cubicBezTo>
                <a:cubicBezTo>
                  <a:pt x="453" y="453"/>
                  <a:pt x="453" y="453"/>
                  <a:pt x="453" y="453"/>
                </a:cubicBezTo>
                <a:cubicBezTo>
                  <a:pt x="453" y="454"/>
                  <a:pt x="453" y="454"/>
                  <a:pt x="453" y="454"/>
                </a:cubicBezTo>
                <a:cubicBezTo>
                  <a:pt x="452" y="455"/>
                  <a:pt x="452" y="455"/>
                  <a:pt x="452" y="455"/>
                </a:cubicBezTo>
                <a:cubicBezTo>
                  <a:pt x="453" y="454"/>
                  <a:pt x="453" y="454"/>
                  <a:pt x="453" y="454"/>
                </a:cubicBezTo>
                <a:cubicBezTo>
                  <a:pt x="453" y="452"/>
                  <a:pt x="453" y="452"/>
                  <a:pt x="453" y="452"/>
                </a:cubicBezTo>
                <a:cubicBezTo>
                  <a:pt x="454" y="451"/>
                  <a:pt x="454" y="451"/>
                  <a:pt x="454" y="451"/>
                </a:cubicBezTo>
                <a:cubicBezTo>
                  <a:pt x="453" y="451"/>
                  <a:pt x="453" y="451"/>
                  <a:pt x="453" y="451"/>
                </a:cubicBezTo>
                <a:cubicBezTo>
                  <a:pt x="453" y="451"/>
                  <a:pt x="453" y="451"/>
                  <a:pt x="453" y="451"/>
                </a:cubicBezTo>
                <a:cubicBezTo>
                  <a:pt x="452" y="452"/>
                  <a:pt x="452" y="452"/>
                  <a:pt x="452" y="452"/>
                </a:cubicBezTo>
                <a:cubicBezTo>
                  <a:pt x="452" y="453"/>
                  <a:pt x="452" y="453"/>
                  <a:pt x="452" y="453"/>
                </a:cubicBezTo>
                <a:cubicBezTo>
                  <a:pt x="451" y="452"/>
                  <a:pt x="451" y="452"/>
                  <a:pt x="451" y="452"/>
                </a:cubicBezTo>
                <a:cubicBezTo>
                  <a:pt x="452" y="452"/>
                  <a:pt x="452" y="452"/>
                  <a:pt x="452" y="452"/>
                </a:cubicBezTo>
                <a:cubicBezTo>
                  <a:pt x="452" y="451"/>
                  <a:pt x="452" y="451"/>
                  <a:pt x="452" y="451"/>
                </a:cubicBezTo>
                <a:cubicBezTo>
                  <a:pt x="452" y="451"/>
                  <a:pt x="452" y="451"/>
                  <a:pt x="452" y="451"/>
                </a:cubicBezTo>
                <a:cubicBezTo>
                  <a:pt x="451" y="451"/>
                  <a:pt x="451" y="451"/>
                  <a:pt x="451" y="451"/>
                </a:cubicBezTo>
                <a:cubicBezTo>
                  <a:pt x="450" y="452"/>
                  <a:pt x="450" y="452"/>
                  <a:pt x="450" y="452"/>
                </a:cubicBezTo>
                <a:cubicBezTo>
                  <a:pt x="450" y="452"/>
                  <a:pt x="450" y="452"/>
                  <a:pt x="450" y="452"/>
                </a:cubicBezTo>
                <a:cubicBezTo>
                  <a:pt x="449" y="451"/>
                  <a:pt x="449" y="451"/>
                  <a:pt x="449" y="451"/>
                </a:cubicBezTo>
                <a:cubicBezTo>
                  <a:pt x="449" y="451"/>
                  <a:pt x="449" y="451"/>
                  <a:pt x="449" y="451"/>
                </a:cubicBezTo>
                <a:cubicBezTo>
                  <a:pt x="448" y="452"/>
                  <a:pt x="448" y="452"/>
                  <a:pt x="448" y="452"/>
                </a:cubicBezTo>
                <a:cubicBezTo>
                  <a:pt x="448" y="452"/>
                  <a:pt x="448" y="452"/>
                  <a:pt x="448" y="452"/>
                </a:cubicBezTo>
                <a:cubicBezTo>
                  <a:pt x="448" y="451"/>
                  <a:pt x="448" y="451"/>
                  <a:pt x="448" y="451"/>
                </a:cubicBezTo>
                <a:cubicBezTo>
                  <a:pt x="449" y="451"/>
                  <a:pt x="449" y="451"/>
                  <a:pt x="449" y="451"/>
                </a:cubicBezTo>
                <a:cubicBezTo>
                  <a:pt x="449" y="450"/>
                  <a:pt x="449" y="450"/>
                  <a:pt x="449" y="450"/>
                </a:cubicBezTo>
                <a:cubicBezTo>
                  <a:pt x="449" y="449"/>
                  <a:pt x="449" y="449"/>
                  <a:pt x="449" y="449"/>
                </a:cubicBezTo>
                <a:cubicBezTo>
                  <a:pt x="449" y="449"/>
                  <a:pt x="449" y="449"/>
                  <a:pt x="449" y="449"/>
                </a:cubicBezTo>
                <a:cubicBezTo>
                  <a:pt x="449" y="449"/>
                  <a:pt x="449" y="449"/>
                  <a:pt x="449" y="449"/>
                </a:cubicBezTo>
                <a:cubicBezTo>
                  <a:pt x="448" y="450"/>
                  <a:pt x="448" y="450"/>
                  <a:pt x="448" y="450"/>
                </a:cubicBezTo>
                <a:cubicBezTo>
                  <a:pt x="448" y="449"/>
                  <a:pt x="448" y="449"/>
                  <a:pt x="448" y="449"/>
                </a:cubicBezTo>
                <a:cubicBezTo>
                  <a:pt x="449" y="448"/>
                  <a:pt x="449" y="448"/>
                  <a:pt x="449" y="448"/>
                </a:cubicBezTo>
                <a:cubicBezTo>
                  <a:pt x="450" y="448"/>
                  <a:pt x="450" y="448"/>
                  <a:pt x="450" y="448"/>
                </a:cubicBezTo>
                <a:cubicBezTo>
                  <a:pt x="451" y="448"/>
                  <a:pt x="451" y="448"/>
                  <a:pt x="451" y="448"/>
                </a:cubicBezTo>
                <a:cubicBezTo>
                  <a:pt x="452" y="447"/>
                  <a:pt x="452" y="447"/>
                  <a:pt x="452" y="447"/>
                </a:cubicBezTo>
                <a:cubicBezTo>
                  <a:pt x="452" y="447"/>
                  <a:pt x="452" y="447"/>
                  <a:pt x="452" y="447"/>
                </a:cubicBezTo>
                <a:cubicBezTo>
                  <a:pt x="452" y="446"/>
                  <a:pt x="452" y="446"/>
                  <a:pt x="452" y="446"/>
                </a:cubicBezTo>
                <a:cubicBezTo>
                  <a:pt x="452" y="446"/>
                  <a:pt x="452" y="446"/>
                  <a:pt x="452" y="446"/>
                </a:cubicBezTo>
                <a:cubicBezTo>
                  <a:pt x="451" y="447"/>
                  <a:pt x="451" y="447"/>
                  <a:pt x="451" y="447"/>
                </a:cubicBezTo>
                <a:cubicBezTo>
                  <a:pt x="450" y="447"/>
                  <a:pt x="450" y="447"/>
                  <a:pt x="450" y="447"/>
                </a:cubicBezTo>
                <a:cubicBezTo>
                  <a:pt x="449" y="446"/>
                  <a:pt x="449" y="446"/>
                  <a:pt x="449" y="446"/>
                </a:cubicBezTo>
                <a:cubicBezTo>
                  <a:pt x="449" y="446"/>
                  <a:pt x="449" y="446"/>
                  <a:pt x="449" y="446"/>
                </a:cubicBezTo>
                <a:cubicBezTo>
                  <a:pt x="448" y="446"/>
                  <a:pt x="448" y="446"/>
                  <a:pt x="448" y="446"/>
                </a:cubicBezTo>
                <a:cubicBezTo>
                  <a:pt x="449" y="445"/>
                  <a:pt x="449" y="445"/>
                  <a:pt x="449" y="445"/>
                </a:cubicBezTo>
                <a:cubicBezTo>
                  <a:pt x="449" y="445"/>
                  <a:pt x="449" y="445"/>
                  <a:pt x="449" y="445"/>
                </a:cubicBezTo>
                <a:cubicBezTo>
                  <a:pt x="449" y="445"/>
                  <a:pt x="449" y="445"/>
                  <a:pt x="449" y="445"/>
                </a:cubicBezTo>
                <a:cubicBezTo>
                  <a:pt x="448" y="445"/>
                  <a:pt x="448" y="445"/>
                  <a:pt x="448" y="445"/>
                </a:cubicBezTo>
                <a:cubicBezTo>
                  <a:pt x="447" y="445"/>
                  <a:pt x="447" y="445"/>
                  <a:pt x="447" y="445"/>
                </a:cubicBezTo>
                <a:cubicBezTo>
                  <a:pt x="447" y="446"/>
                  <a:pt x="447" y="446"/>
                  <a:pt x="447" y="446"/>
                </a:cubicBezTo>
                <a:cubicBezTo>
                  <a:pt x="446" y="447"/>
                  <a:pt x="446" y="447"/>
                  <a:pt x="446" y="447"/>
                </a:cubicBezTo>
                <a:cubicBezTo>
                  <a:pt x="446" y="447"/>
                  <a:pt x="446" y="447"/>
                  <a:pt x="446" y="447"/>
                </a:cubicBezTo>
                <a:cubicBezTo>
                  <a:pt x="445" y="448"/>
                  <a:pt x="445" y="448"/>
                  <a:pt x="445" y="448"/>
                </a:cubicBezTo>
                <a:cubicBezTo>
                  <a:pt x="444" y="449"/>
                  <a:pt x="444" y="449"/>
                  <a:pt x="444" y="449"/>
                </a:cubicBezTo>
                <a:cubicBezTo>
                  <a:pt x="444" y="449"/>
                  <a:pt x="444" y="449"/>
                  <a:pt x="444" y="449"/>
                </a:cubicBezTo>
                <a:cubicBezTo>
                  <a:pt x="444" y="448"/>
                  <a:pt x="444" y="448"/>
                  <a:pt x="444" y="448"/>
                </a:cubicBezTo>
                <a:cubicBezTo>
                  <a:pt x="444" y="448"/>
                  <a:pt x="444" y="448"/>
                  <a:pt x="444" y="448"/>
                </a:cubicBezTo>
                <a:cubicBezTo>
                  <a:pt x="445" y="447"/>
                  <a:pt x="445" y="447"/>
                  <a:pt x="445" y="447"/>
                </a:cubicBezTo>
                <a:cubicBezTo>
                  <a:pt x="445" y="446"/>
                  <a:pt x="445" y="446"/>
                  <a:pt x="445" y="446"/>
                </a:cubicBezTo>
                <a:cubicBezTo>
                  <a:pt x="445" y="445"/>
                  <a:pt x="445" y="445"/>
                  <a:pt x="445" y="445"/>
                </a:cubicBezTo>
                <a:cubicBezTo>
                  <a:pt x="446" y="444"/>
                  <a:pt x="446" y="444"/>
                  <a:pt x="446" y="444"/>
                </a:cubicBezTo>
                <a:cubicBezTo>
                  <a:pt x="446" y="444"/>
                  <a:pt x="446" y="444"/>
                  <a:pt x="446" y="444"/>
                </a:cubicBezTo>
                <a:cubicBezTo>
                  <a:pt x="447" y="443"/>
                  <a:pt x="447" y="443"/>
                  <a:pt x="447" y="443"/>
                </a:cubicBezTo>
                <a:cubicBezTo>
                  <a:pt x="447" y="443"/>
                  <a:pt x="447" y="443"/>
                  <a:pt x="447" y="443"/>
                </a:cubicBezTo>
                <a:cubicBezTo>
                  <a:pt x="447" y="442"/>
                  <a:pt x="447" y="442"/>
                  <a:pt x="447" y="442"/>
                </a:cubicBezTo>
                <a:cubicBezTo>
                  <a:pt x="448" y="441"/>
                  <a:pt x="448" y="441"/>
                  <a:pt x="448" y="441"/>
                </a:cubicBezTo>
                <a:cubicBezTo>
                  <a:pt x="449" y="441"/>
                  <a:pt x="449" y="441"/>
                  <a:pt x="449" y="441"/>
                </a:cubicBezTo>
                <a:cubicBezTo>
                  <a:pt x="449" y="440"/>
                  <a:pt x="449" y="440"/>
                  <a:pt x="449" y="440"/>
                </a:cubicBezTo>
                <a:cubicBezTo>
                  <a:pt x="449" y="440"/>
                  <a:pt x="449" y="440"/>
                  <a:pt x="449" y="440"/>
                </a:cubicBezTo>
                <a:cubicBezTo>
                  <a:pt x="449" y="439"/>
                  <a:pt x="449" y="439"/>
                  <a:pt x="449" y="439"/>
                </a:cubicBezTo>
                <a:cubicBezTo>
                  <a:pt x="450" y="439"/>
                  <a:pt x="450" y="439"/>
                  <a:pt x="450" y="439"/>
                </a:cubicBezTo>
                <a:cubicBezTo>
                  <a:pt x="450" y="438"/>
                  <a:pt x="450" y="438"/>
                  <a:pt x="450" y="438"/>
                </a:cubicBezTo>
                <a:cubicBezTo>
                  <a:pt x="450" y="439"/>
                  <a:pt x="450" y="439"/>
                  <a:pt x="450" y="439"/>
                </a:cubicBezTo>
                <a:cubicBezTo>
                  <a:pt x="450" y="439"/>
                  <a:pt x="450" y="439"/>
                  <a:pt x="450" y="439"/>
                </a:cubicBezTo>
                <a:cubicBezTo>
                  <a:pt x="450" y="440"/>
                  <a:pt x="450" y="440"/>
                  <a:pt x="450" y="440"/>
                </a:cubicBezTo>
                <a:cubicBezTo>
                  <a:pt x="451" y="439"/>
                  <a:pt x="451" y="439"/>
                  <a:pt x="451" y="439"/>
                </a:cubicBezTo>
                <a:cubicBezTo>
                  <a:pt x="452" y="437"/>
                  <a:pt x="452" y="437"/>
                  <a:pt x="452" y="437"/>
                </a:cubicBezTo>
                <a:cubicBezTo>
                  <a:pt x="452" y="437"/>
                  <a:pt x="452" y="437"/>
                  <a:pt x="452" y="437"/>
                </a:cubicBezTo>
                <a:cubicBezTo>
                  <a:pt x="452" y="436"/>
                  <a:pt x="452" y="436"/>
                  <a:pt x="452" y="436"/>
                </a:cubicBezTo>
                <a:cubicBezTo>
                  <a:pt x="452" y="436"/>
                  <a:pt x="452" y="436"/>
                  <a:pt x="452" y="436"/>
                </a:cubicBezTo>
                <a:cubicBezTo>
                  <a:pt x="451" y="437"/>
                  <a:pt x="451" y="437"/>
                  <a:pt x="451" y="437"/>
                </a:cubicBezTo>
                <a:cubicBezTo>
                  <a:pt x="451" y="436"/>
                  <a:pt x="451" y="436"/>
                  <a:pt x="451" y="436"/>
                </a:cubicBezTo>
                <a:cubicBezTo>
                  <a:pt x="450" y="435"/>
                  <a:pt x="450" y="435"/>
                  <a:pt x="450" y="435"/>
                </a:cubicBezTo>
                <a:cubicBezTo>
                  <a:pt x="451" y="435"/>
                  <a:pt x="451" y="435"/>
                  <a:pt x="451" y="435"/>
                </a:cubicBezTo>
                <a:cubicBezTo>
                  <a:pt x="451" y="435"/>
                  <a:pt x="451" y="435"/>
                  <a:pt x="451" y="435"/>
                </a:cubicBezTo>
                <a:cubicBezTo>
                  <a:pt x="452" y="435"/>
                  <a:pt x="452" y="435"/>
                  <a:pt x="452" y="435"/>
                </a:cubicBezTo>
                <a:cubicBezTo>
                  <a:pt x="453" y="435"/>
                  <a:pt x="453" y="435"/>
                  <a:pt x="453" y="435"/>
                </a:cubicBezTo>
                <a:cubicBezTo>
                  <a:pt x="454" y="435"/>
                  <a:pt x="454" y="435"/>
                  <a:pt x="454" y="435"/>
                </a:cubicBezTo>
                <a:cubicBezTo>
                  <a:pt x="454" y="434"/>
                  <a:pt x="454" y="434"/>
                  <a:pt x="454" y="434"/>
                </a:cubicBezTo>
                <a:cubicBezTo>
                  <a:pt x="454" y="433"/>
                  <a:pt x="454" y="433"/>
                  <a:pt x="454" y="433"/>
                </a:cubicBezTo>
                <a:cubicBezTo>
                  <a:pt x="453" y="433"/>
                  <a:pt x="453" y="433"/>
                  <a:pt x="453" y="433"/>
                </a:cubicBezTo>
                <a:cubicBezTo>
                  <a:pt x="453" y="433"/>
                  <a:pt x="453" y="433"/>
                  <a:pt x="453" y="433"/>
                </a:cubicBezTo>
                <a:cubicBezTo>
                  <a:pt x="453" y="434"/>
                  <a:pt x="453" y="434"/>
                  <a:pt x="453" y="434"/>
                </a:cubicBezTo>
                <a:cubicBezTo>
                  <a:pt x="452" y="434"/>
                  <a:pt x="452" y="434"/>
                  <a:pt x="452" y="434"/>
                </a:cubicBezTo>
                <a:cubicBezTo>
                  <a:pt x="452" y="433"/>
                  <a:pt x="452" y="433"/>
                  <a:pt x="452" y="433"/>
                </a:cubicBezTo>
                <a:cubicBezTo>
                  <a:pt x="452" y="433"/>
                  <a:pt x="452" y="433"/>
                  <a:pt x="452" y="433"/>
                </a:cubicBezTo>
                <a:cubicBezTo>
                  <a:pt x="452" y="433"/>
                  <a:pt x="452" y="433"/>
                  <a:pt x="452" y="433"/>
                </a:cubicBezTo>
                <a:cubicBezTo>
                  <a:pt x="451" y="434"/>
                  <a:pt x="451" y="434"/>
                  <a:pt x="451" y="434"/>
                </a:cubicBezTo>
                <a:cubicBezTo>
                  <a:pt x="450" y="434"/>
                  <a:pt x="450" y="434"/>
                  <a:pt x="450" y="434"/>
                </a:cubicBezTo>
                <a:cubicBezTo>
                  <a:pt x="450" y="434"/>
                  <a:pt x="450" y="434"/>
                  <a:pt x="450" y="434"/>
                </a:cubicBezTo>
                <a:cubicBezTo>
                  <a:pt x="449" y="435"/>
                  <a:pt x="449" y="435"/>
                  <a:pt x="449" y="435"/>
                </a:cubicBezTo>
                <a:cubicBezTo>
                  <a:pt x="448" y="435"/>
                  <a:pt x="448" y="435"/>
                  <a:pt x="448" y="435"/>
                </a:cubicBezTo>
                <a:cubicBezTo>
                  <a:pt x="447" y="435"/>
                  <a:pt x="447" y="435"/>
                  <a:pt x="447" y="435"/>
                </a:cubicBezTo>
                <a:cubicBezTo>
                  <a:pt x="446" y="436"/>
                  <a:pt x="446" y="436"/>
                  <a:pt x="446" y="436"/>
                </a:cubicBezTo>
                <a:cubicBezTo>
                  <a:pt x="446" y="437"/>
                  <a:pt x="446" y="437"/>
                  <a:pt x="446" y="437"/>
                </a:cubicBezTo>
                <a:cubicBezTo>
                  <a:pt x="445" y="437"/>
                  <a:pt x="445" y="437"/>
                  <a:pt x="445" y="437"/>
                </a:cubicBezTo>
                <a:cubicBezTo>
                  <a:pt x="445" y="437"/>
                  <a:pt x="445" y="437"/>
                  <a:pt x="445" y="437"/>
                </a:cubicBezTo>
                <a:cubicBezTo>
                  <a:pt x="445" y="437"/>
                  <a:pt x="445" y="437"/>
                  <a:pt x="445" y="437"/>
                </a:cubicBezTo>
                <a:cubicBezTo>
                  <a:pt x="445" y="438"/>
                  <a:pt x="445" y="438"/>
                  <a:pt x="445" y="438"/>
                </a:cubicBezTo>
                <a:cubicBezTo>
                  <a:pt x="445" y="438"/>
                  <a:pt x="445" y="438"/>
                  <a:pt x="445" y="438"/>
                </a:cubicBezTo>
                <a:close/>
                <a:moveTo>
                  <a:pt x="405" y="450"/>
                </a:moveTo>
                <a:cubicBezTo>
                  <a:pt x="405" y="450"/>
                  <a:pt x="405" y="450"/>
                  <a:pt x="405" y="450"/>
                </a:cubicBezTo>
                <a:cubicBezTo>
                  <a:pt x="408" y="452"/>
                  <a:pt x="408" y="452"/>
                  <a:pt x="408" y="452"/>
                </a:cubicBezTo>
                <a:cubicBezTo>
                  <a:pt x="409" y="452"/>
                  <a:pt x="409" y="452"/>
                  <a:pt x="409" y="452"/>
                </a:cubicBezTo>
                <a:cubicBezTo>
                  <a:pt x="411" y="452"/>
                  <a:pt x="411" y="452"/>
                  <a:pt x="411" y="452"/>
                </a:cubicBezTo>
                <a:cubicBezTo>
                  <a:pt x="412" y="453"/>
                  <a:pt x="412" y="453"/>
                  <a:pt x="412" y="453"/>
                </a:cubicBezTo>
                <a:cubicBezTo>
                  <a:pt x="412" y="453"/>
                  <a:pt x="412" y="453"/>
                  <a:pt x="412" y="453"/>
                </a:cubicBezTo>
                <a:cubicBezTo>
                  <a:pt x="414" y="453"/>
                  <a:pt x="414" y="453"/>
                  <a:pt x="414" y="453"/>
                </a:cubicBezTo>
                <a:cubicBezTo>
                  <a:pt x="415" y="453"/>
                  <a:pt x="415" y="453"/>
                  <a:pt x="415" y="453"/>
                </a:cubicBezTo>
                <a:cubicBezTo>
                  <a:pt x="415" y="452"/>
                  <a:pt x="415" y="452"/>
                  <a:pt x="415" y="452"/>
                </a:cubicBezTo>
                <a:cubicBezTo>
                  <a:pt x="414" y="451"/>
                  <a:pt x="414" y="451"/>
                  <a:pt x="414" y="451"/>
                </a:cubicBezTo>
                <a:cubicBezTo>
                  <a:pt x="414" y="451"/>
                  <a:pt x="414" y="451"/>
                  <a:pt x="414" y="451"/>
                </a:cubicBezTo>
                <a:cubicBezTo>
                  <a:pt x="414" y="450"/>
                  <a:pt x="414" y="450"/>
                  <a:pt x="414" y="450"/>
                </a:cubicBezTo>
                <a:cubicBezTo>
                  <a:pt x="413" y="450"/>
                  <a:pt x="413" y="450"/>
                  <a:pt x="413" y="450"/>
                </a:cubicBezTo>
                <a:cubicBezTo>
                  <a:pt x="412" y="449"/>
                  <a:pt x="412" y="449"/>
                  <a:pt x="412" y="449"/>
                </a:cubicBezTo>
                <a:cubicBezTo>
                  <a:pt x="410" y="448"/>
                  <a:pt x="410" y="448"/>
                  <a:pt x="410" y="448"/>
                </a:cubicBezTo>
                <a:cubicBezTo>
                  <a:pt x="410" y="448"/>
                  <a:pt x="410" y="448"/>
                  <a:pt x="410" y="448"/>
                </a:cubicBezTo>
                <a:cubicBezTo>
                  <a:pt x="409" y="446"/>
                  <a:pt x="409" y="446"/>
                  <a:pt x="409" y="446"/>
                </a:cubicBezTo>
                <a:cubicBezTo>
                  <a:pt x="407" y="446"/>
                  <a:pt x="407" y="446"/>
                  <a:pt x="407" y="446"/>
                </a:cubicBezTo>
                <a:cubicBezTo>
                  <a:pt x="405" y="446"/>
                  <a:pt x="405" y="446"/>
                  <a:pt x="405" y="446"/>
                </a:cubicBezTo>
                <a:cubicBezTo>
                  <a:pt x="402" y="445"/>
                  <a:pt x="402" y="445"/>
                  <a:pt x="402" y="445"/>
                </a:cubicBezTo>
                <a:cubicBezTo>
                  <a:pt x="401" y="444"/>
                  <a:pt x="401" y="444"/>
                  <a:pt x="401" y="444"/>
                </a:cubicBezTo>
                <a:cubicBezTo>
                  <a:pt x="400" y="445"/>
                  <a:pt x="400" y="445"/>
                  <a:pt x="400" y="445"/>
                </a:cubicBezTo>
                <a:cubicBezTo>
                  <a:pt x="401" y="446"/>
                  <a:pt x="401" y="446"/>
                  <a:pt x="401" y="446"/>
                </a:cubicBezTo>
                <a:cubicBezTo>
                  <a:pt x="402" y="447"/>
                  <a:pt x="402" y="447"/>
                  <a:pt x="402" y="447"/>
                </a:cubicBezTo>
                <a:cubicBezTo>
                  <a:pt x="404" y="448"/>
                  <a:pt x="404" y="448"/>
                  <a:pt x="404" y="448"/>
                </a:cubicBezTo>
                <a:cubicBezTo>
                  <a:pt x="404" y="449"/>
                  <a:pt x="404" y="449"/>
                  <a:pt x="404" y="449"/>
                </a:cubicBezTo>
                <a:cubicBezTo>
                  <a:pt x="405" y="450"/>
                  <a:pt x="405" y="450"/>
                  <a:pt x="405" y="450"/>
                </a:cubicBezTo>
                <a:close/>
                <a:moveTo>
                  <a:pt x="405" y="479"/>
                </a:moveTo>
                <a:cubicBezTo>
                  <a:pt x="404" y="478"/>
                  <a:pt x="404" y="478"/>
                  <a:pt x="404" y="478"/>
                </a:cubicBezTo>
                <a:cubicBezTo>
                  <a:pt x="403" y="477"/>
                  <a:pt x="403" y="477"/>
                  <a:pt x="403" y="477"/>
                </a:cubicBezTo>
                <a:cubicBezTo>
                  <a:pt x="400" y="476"/>
                  <a:pt x="400" y="476"/>
                  <a:pt x="400" y="476"/>
                </a:cubicBezTo>
                <a:cubicBezTo>
                  <a:pt x="400" y="476"/>
                  <a:pt x="400" y="476"/>
                  <a:pt x="400" y="476"/>
                </a:cubicBezTo>
                <a:cubicBezTo>
                  <a:pt x="399" y="475"/>
                  <a:pt x="399" y="475"/>
                  <a:pt x="399" y="475"/>
                </a:cubicBezTo>
                <a:cubicBezTo>
                  <a:pt x="399" y="474"/>
                  <a:pt x="399" y="474"/>
                  <a:pt x="399" y="474"/>
                </a:cubicBezTo>
                <a:cubicBezTo>
                  <a:pt x="398" y="474"/>
                  <a:pt x="398" y="474"/>
                  <a:pt x="398" y="474"/>
                </a:cubicBezTo>
                <a:cubicBezTo>
                  <a:pt x="398" y="474"/>
                  <a:pt x="398" y="474"/>
                  <a:pt x="398" y="474"/>
                </a:cubicBezTo>
                <a:cubicBezTo>
                  <a:pt x="397" y="473"/>
                  <a:pt x="397" y="473"/>
                  <a:pt x="397" y="473"/>
                </a:cubicBezTo>
                <a:cubicBezTo>
                  <a:pt x="397" y="472"/>
                  <a:pt x="397" y="472"/>
                  <a:pt x="397" y="472"/>
                </a:cubicBezTo>
                <a:cubicBezTo>
                  <a:pt x="397" y="472"/>
                  <a:pt x="397" y="472"/>
                  <a:pt x="397" y="472"/>
                </a:cubicBezTo>
                <a:cubicBezTo>
                  <a:pt x="396" y="472"/>
                  <a:pt x="396" y="472"/>
                  <a:pt x="396" y="472"/>
                </a:cubicBezTo>
                <a:cubicBezTo>
                  <a:pt x="396" y="472"/>
                  <a:pt x="396" y="472"/>
                  <a:pt x="396" y="472"/>
                </a:cubicBezTo>
                <a:cubicBezTo>
                  <a:pt x="396" y="471"/>
                  <a:pt x="396" y="471"/>
                  <a:pt x="396" y="471"/>
                </a:cubicBezTo>
                <a:cubicBezTo>
                  <a:pt x="398" y="469"/>
                  <a:pt x="398" y="469"/>
                  <a:pt x="398" y="469"/>
                </a:cubicBezTo>
                <a:cubicBezTo>
                  <a:pt x="399" y="470"/>
                  <a:pt x="399" y="470"/>
                  <a:pt x="399" y="470"/>
                </a:cubicBezTo>
                <a:cubicBezTo>
                  <a:pt x="398" y="471"/>
                  <a:pt x="398" y="471"/>
                  <a:pt x="398" y="471"/>
                </a:cubicBezTo>
                <a:cubicBezTo>
                  <a:pt x="398" y="471"/>
                  <a:pt x="398" y="471"/>
                  <a:pt x="398" y="471"/>
                </a:cubicBezTo>
                <a:cubicBezTo>
                  <a:pt x="398" y="472"/>
                  <a:pt x="398" y="472"/>
                  <a:pt x="398" y="472"/>
                </a:cubicBezTo>
                <a:cubicBezTo>
                  <a:pt x="398" y="473"/>
                  <a:pt x="398" y="473"/>
                  <a:pt x="398" y="473"/>
                </a:cubicBezTo>
                <a:cubicBezTo>
                  <a:pt x="399" y="474"/>
                  <a:pt x="399" y="474"/>
                  <a:pt x="399" y="474"/>
                </a:cubicBezTo>
                <a:cubicBezTo>
                  <a:pt x="400" y="473"/>
                  <a:pt x="400" y="473"/>
                  <a:pt x="400" y="473"/>
                </a:cubicBezTo>
                <a:cubicBezTo>
                  <a:pt x="400" y="473"/>
                  <a:pt x="400" y="473"/>
                  <a:pt x="400" y="473"/>
                </a:cubicBezTo>
                <a:cubicBezTo>
                  <a:pt x="402" y="474"/>
                  <a:pt x="402" y="474"/>
                  <a:pt x="402" y="474"/>
                </a:cubicBezTo>
                <a:cubicBezTo>
                  <a:pt x="403" y="474"/>
                  <a:pt x="403" y="474"/>
                  <a:pt x="403" y="474"/>
                </a:cubicBezTo>
                <a:cubicBezTo>
                  <a:pt x="403" y="475"/>
                  <a:pt x="403" y="475"/>
                  <a:pt x="403" y="475"/>
                </a:cubicBezTo>
                <a:cubicBezTo>
                  <a:pt x="405" y="475"/>
                  <a:pt x="405" y="475"/>
                  <a:pt x="405" y="475"/>
                </a:cubicBezTo>
                <a:cubicBezTo>
                  <a:pt x="406" y="474"/>
                  <a:pt x="406" y="474"/>
                  <a:pt x="406" y="474"/>
                </a:cubicBezTo>
                <a:cubicBezTo>
                  <a:pt x="407" y="474"/>
                  <a:pt x="407" y="474"/>
                  <a:pt x="407" y="474"/>
                </a:cubicBezTo>
                <a:cubicBezTo>
                  <a:pt x="408" y="474"/>
                  <a:pt x="408" y="474"/>
                  <a:pt x="408" y="474"/>
                </a:cubicBezTo>
                <a:cubicBezTo>
                  <a:pt x="408" y="475"/>
                  <a:pt x="408" y="475"/>
                  <a:pt x="408" y="475"/>
                </a:cubicBezTo>
                <a:cubicBezTo>
                  <a:pt x="407" y="475"/>
                  <a:pt x="407" y="475"/>
                  <a:pt x="407" y="475"/>
                </a:cubicBezTo>
                <a:cubicBezTo>
                  <a:pt x="406" y="476"/>
                  <a:pt x="406" y="476"/>
                  <a:pt x="406" y="476"/>
                </a:cubicBezTo>
                <a:cubicBezTo>
                  <a:pt x="406" y="477"/>
                  <a:pt x="406" y="477"/>
                  <a:pt x="406" y="477"/>
                </a:cubicBezTo>
                <a:cubicBezTo>
                  <a:pt x="406" y="478"/>
                  <a:pt x="406" y="478"/>
                  <a:pt x="406" y="478"/>
                </a:cubicBezTo>
                <a:cubicBezTo>
                  <a:pt x="405" y="479"/>
                  <a:pt x="405" y="479"/>
                  <a:pt x="405" y="479"/>
                </a:cubicBezTo>
                <a:close/>
                <a:moveTo>
                  <a:pt x="414" y="483"/>
                </a:moveTo>
                <a:cubicBezTo>
                  <a:pt x="414" y="482"/>
                  <a:pt x="414" y="482"/>
                  <a:pt x="414" y="482"/>
                </a:cubicBezTo>
                <a:cubicBezTo>
                  <a:pt x="412" y="481"/>
                  <a:pt x="412" y="481"/>
                  <a:pt x="412" y="481"/>
                </a:cubicBezTo>
                <a:cubicBezTo>
                  <a:pt x="412" y="479"/>
                  <a:pt x="412" y="479"/>
                  <a:pt x="412" y="479"/>
                </a:cubicBezTo>
                <a:cubicBezTo>
                  <a:pt x="411" y="478"/>
                  <a:pt x="411" y="478"/>
                  <a:pt x="411" y="478"/>
                </a:cubicBezTo>
                <a:cubicBezTo>
                  <a:pt x="412" y="478"/>
                  <a:pt x="412" y="478"/>
                  <a:pt x="412" y="478"/>
                </a:cubicBezTo>
                <a:cubicBezTo>
                  <a:pt x="413" y="477"/>
                  <a:pt x="413" y="477"/>
                  <a:pt x="413" y="477"/>
                </a:cubicBezTo>
                <a:cubicBezTo>
                  <a:pt x="415" y="475"/>
                  <a:pt x="415" y="475"/>
                  <a:pt x="415" y="475"/>
                </a:cubicBezTo>
                <a:cubicBezTo>
                  <a:pt x="415" y="474"/>
                  <a:pt x="415" y="474"/>
                  <a:pt x="415" y="474"/>
                </a:cubicBezTo>
                <a:cubicBezTo>
                  <a:pt x="416" y="473"/>
                  <a:pt x="416" y="473"/>
                  <a:pt x="416" y="473"/>
                </a:cubicBezTo>
                <a:cubicBezTo>
                  <a:pt x="417" y="471"/>
                  <a:pt x="417" y="471"/>
                  <a:pt x="417" y="471"/>
                </a:cubicBezTo>
                <a:cubicBezTo>
                  <a:pt x="418" y="470"/>
                  <a:pt x="418" y="470"/>
                  <a:pt x="418" y="470"/>
                </a:cubicBezTo>
                <a:cubicBezTo>
                  <a:pt x="419" y="470"/>
                  <a:pt x="419" y="470"/>
                  <a:pt x="419" y="470"/>
                </a:cubicBezTo>
                <a:cubicBezTo>
                  <a:pt x="419" y="471"/>
                  <a:pt x="419" y="471"/>
                  <a:pt x="419" y="471"/>
                </a:cubicBezTo>
                <a:cubicBezTo>
                  <a:pt x="418" y="472"/>
                  <a:pt x="418" y="472"/>
                  <a:pt x="418" y="472"/>
                </a:cubicBezTo>
                <a:cubicBezTo>
                  <a:pt x="419" y="472"/>
                  <a:pt x="419" y="472"/>
                  <a:pt x="419" y="472"/>
                </a:cubicBezTo>
                <a:cubicBezTo>
                  <a:pt x="419" y="473"/>
                  <a:pt x="419" y="473"/>
                  <a:pt x="419" y="473"/>
                </a:cubicBezTo>
                <a:cubicBezTo>
                  <a:pt x="418" y="475"/>
                  <a:pt x="418" y="475"/>
                  <a:pt x="418" y="475"/>
                </a:cubicBezTo>
                <a:cubicBezTo>
                  <a:pt x="417" y="476"/>
                  <a:pt x="417" y="476"/>
                  <a:pt x="417" y="476"/>
                </a:cubicBezTo>
                <a:cubicBezTo>
                  <a:pt x="419" y="476"/>
                  <a:pt x="419" y="476"/>
                  <a:pt x="419" y="476"/>
                </a:cubicBezTo>
                <a:cubicBezTo>
                  <a:pt x="419" y="477"/>
                  <a:pt x="419" y="477"/>
                  <a:pt x="419" y="477"/>
                </a:cubicBezTo>
                <a:cubicBezTo>
                  <a:pt x="419" y="478"/>
                  <a:pt x="419" y="478"/>
                  <a:pt x="419" y="478"/>
                </a:cubicBezTo>
                <a:cubicBezTo>
                  <a:pt x="419" y="478"/>
                  <a:pt x="419" y="478"/>
                  <a:pt x="419" y="478"/>
                </a:cubicBezTo>
                <a:cubicBezTo>
                  <a:pt x="420" y="478"/>
                  <a:pt x="420" y="478"/>
                  <a:pt x="420" y="478"/>
                </a:cubicBezTo>
                <a:cubicBezTo>
                  <a:pt x="420" y="477"/>
                  <a:pt x="420" y="477"/>
                  <a:pt x="420" y="477"/>
                </a:cubicBezTo>
                <a:cubicBezTo>
                  <a:pt x="420" y="477"/>
                  <a:pt x="420" y="477"/>
                  <a:pt x="420" y="477"/>
                </a:cubicBezTo>
                <a:cubicBezTo>
                  <a:pt x="422" y="477"/>
                  <a:pt x="422" y="477"/>
                  <a:pt x="422" y="477"/>
                </a:cubicBezTo>
                <a:cubicBezTo>
                  <a:pt x="422" y="479"/>
                  <a:pt x="422" y="479"/>
                  <a:pt x="422" y="479"/>
                </a:cubicBezTo>
                <a:cubicBezTo>
                  <a:pt x="422" y="479"/>
                  <a:pt x="422" y="479"/>
                  <a:pt x="422" y="479"/>
                </a:cubicBezTo>
                <a:cubicBezTo>
                  <a:pt x="421" y="480"/>
                  <a:pt x="421" y="480"/>
                  <a:pt x="421" y="480"/>
                </a:cubicBezTo>
                <a:cubicBezTo>
                  <a:pt x="420" y="480"/>
                  <a:pt x="420" y="480"/>
                  <a:pt x="420" y="480"/>
                </a:cubicBezTo>
                <a:cubicBezTo>
                  <a:pt x="419" y="480"/>
                  <a:pt x="419" y="480"/>
                  <a:pt x="419" y="480"/>
                </a:cubicBezTo>
                <a:cubicBezTo>
                  <a:pt x="417" y="482"/>
                  <a:pt x="417" y="482"/>
                  <a:pt x="417" y="482"/>
                </a:cubicBezTo>
                <a:cubicBezTo>
                  <a:pt x="416" y="482"/>
                  <a:pt x="416" y="482"/>
                  <a:pt x="416" y="482"/>
                </a:cubicBezTo>
                <a:cubicBezTo>
                  <a:pt x="415" y="481"/>
                  <a:pt x="415" y="481"/>
                  <a:pt x="415" y="481"/>
                </a:cubicBezTo>
                <a:cubicBezTo>
                  <a:pt x="415" y="481"/>
                  <a:pt x="415" y="481"/>
                  <a:pt x="415" y="481"/>
                </a:cubicBezTo>
                <a:cubicBezTo>
                  <a:pt x="414" y="482"/>
                  <a:pt x="414" y="482"/>
                  <a:pt x="414" y="482"/>
                </a:cubicBezTo>
                <a:cubicBezTo>
                  <a:pt x="414" y="483"/>
                  <a:pt x="414" y="483"/>
                  <a:pt x="414" y="483"/>
                </a:cubicBezTo>
                <a:close/>
                <a:moveTo>
                  <a:pt x="317" y="407"/>
                </a:moveTo>
                <a:cubicBezTo>
                  <a:pt x="317" y="408"/>
                  <a:pt x="317" y="408"/>
                  <a:pt x="317" y="408"/>
                </a:cubicBezTo>
                <a:cubicBezTo>
                  <a:pt x="317" y="409"/>
                  <a:pt x="317" y="409"/>
                  <a:pt x="317" y="409"/>
                </a:cubicBezTo>
                <a:cubicBezTo>
                  <a:pt x="318" y="408"/>
                  <a:pt x="318" y="408"/>
                  <a:pt x="318" y="408"/>
                </a:cubicBezTo>
                <a:cubicBezTo>
                  <a:pt x="318" y="407"/>
                  <a:pt x="318" y="407"/>
                  <a:pt x="318" y="407"/>
                </a:cubicBezTo>
                <a:cubicBezTo>
                  <a:pt x="317" y="407"/>
                  <a:pt x="317" y="407"/>
                  <a:pt x="317" y="407"/>
                </a:cubicBezTo>
                <a:cubicBezTo>
                  <a:pt x="317" y="407"/>
                  <a:pt x="317" y="407"/>
                  <a:pt x="317" y="407"/>
                </a:cubicBezTo>
                <a:close/>
                <a:moveTo>
                  <a:pt x="317" y="421"/>
                </a:moveTo>
                <a:cubicBezTo>
                  <a:pt x="317" y="420"/>
                  <a:pt x="317" y="420"/>
                  <a:pt x="317" y="420"/>
                </a:cubicBezTo>
                <a:cubicBezTo>
                  <a:pt x="318" y="420"/>
                  <a:pt x="318" y="420"/>
                  <a:pt x="318" y="420"/>
                </a:cubicBezTo>
                <a:cubicBezTo>
                  <a:pt x="318" y="419"/>
                  <a:pt x="318" y="419"/>
                  <a:pt x="318" y="419"/>
                </a:cubicBezTo>
                <a:cubicBezTo>
                  <a:pt x="319" y="420"/>
                  <a:pt x="319" y="420"/>
                  <a:pt x="319" y="420"/>
                </a:cubicBezTo>
                <a:cubicBezTo>
                  <a:pt x="317" y="421"/>
                  <a:pt x="317" y="421"/>
                  <a:pt x="317" y="421"/>
                </a:cubicBezTo>
                <a:cubicBezTo>
                  <a:pt x="317" y="421"/>
                  <a:pt x="317" y="421"/>
                  <a:pt x="317" y="421"/>
                </a:cubicBezTo>
                <a:close/>
                <a:moveTo>
                  <a:pt x="305" y="411"/>
                </a:moveTo>
                <a:cubicBezTo>
                  <a:pt x="306" y="410"/>
                  <a:pt x="306" y="410"/>
                  <a:pt x="306" y="410"/>
                </a:cubicBezTo>
                <a:cubicBezTo>
                  <a:pt x="307" y="410"/>
                  <a:pt x="307" y="410"/>
                  <a:pt x="307" y="410"/>
                </a:cubicBezTo>
                <a:cubicBezTo>
                  <a:pt x="307" y="409"/>
                  <a:pt x="307" y="409"/>
                  <a:pt x="307" y="409"/>
                </a:cubicBezTo>
                <a:cubicBezTo>
                  <a:pt x="308" y="408"/>
                  <a:pt x="308" y="408"/>
                  <a:pt x="308" y="408"/>
                </a:cubicBezTo>
                <a:cubicBezTo>
                  <a:pt x="309" y="408"/>
                  <a:pt x="309" y="408"/>
                  <a:pt x="309" y="408"/>
                </a:cubicBezTo>
                <a:cubicBezTo>
                  <a:pt x="309" y="409"/>
                  <a:pt x="309" y="409"/>
                  <a:pt x="309" y="409"/>
                </a:cubicBezTo>
                <a:cubicBezTo>
                  <a:pt x="311" y="409"/>
                  <a:pt x="311" y="409"/>
                  <a:pt x="311" y="409"/>
                </a:cubicBezTo>
                <a:cubicBezTo>
                  <a:pt x="312" y="410"/>
                  <a:pt x="312" y="410"/>
                  <a:pt x="312" y="410"/>
                </a:cubicBezTo>
                <a:cubicBezTo>
                  <a:pt x="312" y="411"/>
                  <a:pt x="312" y="411"/>
                  <a:pt x="312" y="411"/>
                </a:cubicBezTo>
                <a:cubicBezTo>
                  <a:pt x="313" y="412"/>
                  <a:pt x="313" y="412"/>
                  <a:pt x="313" y="412"/>
                </a:cubicBezTo>
                <a:cubicBezTo>
                  <a:pt x="312" y="413"/>
                  <a:pt x="312" y="413"/>
                  <a:pt x="312" y="413"/>
                </a:cubicBezTo>
                <a:cubicBezTo>
                  <a:pt x="309" y="412"/>
                  <a:pt x="309" y="412"/>
                  <a:pt x="309" y="412"/>
                </a:cubicBezTo>
                <a:cubicBezTo>
                  <a:pt x="308" y="412"/>
                  <a:pt x="308" y="412"/>
                  <a:pt x="308" y="412"/>
                </a:cubicBezTo>
                <a:cubicBezTo>
                  <a:pt x="307" y="411"/>
                  <a:pt x="307" y="411"/>
                  <a:pt x="307" y="411"/>
                </a:cubicBezTo>
                <a:cubicBezTo>
                  <a:pt x="307" y="412"/>
                  <a:pt x="307" y="412"/>
                  <a:pt x="307" y="412"/>
                </a:cubicBezTo>
                <a:cubicBezTo>
                  <a:pt x="307" y="413"/>
                  <a:pt x="307" y="413"/>
                  <a:pt x="307" y="413"/>
                </a:cubicBezTo>
                <a:cubicBezTo>
                  <a:pt x="307" y="412"/>
                  <a:pt x="307" y="412"/>
                  <a:pt x="307" y="412"/>
                </a:cubicBezTo>
                <a:cubicBezTo>
                  <a:pt x="306" y="411"/>
                  <a:pt x="306" y="411"/>
                  <a:pt x="306" y="411"/>
                </a:cubicBezTo>
                <a:cubicBezTo>
                  <a:pt x="305" y="412"/>
                  <a:pt x="305" y="412"/>
                  <a:pt x="305" y="412"/>
                </a:cubicBezTo>
                <a:cubicBezTo>
                  <a:pt x="305" y="411"/>
                  <a:pt x="305" y="411"/>
                  <a:pt x="305" y="411"/>
                </a:cubicBezTo>
                <a:close/>
                <a:moveTo>
                  <a:pt x="48" y="416"/>
                </a:moveTo>
                <a:cubicBezTo>
                  <a:pt x="49" y="417"/>
                  <a:pt x="49" y="417"/>
                  <a:pt x="49" y="417"/>
                </a:cubicBezTo>
                <a:cubicBezTo>
                  <a:pt x="51" y="419"/>
                  <a:pt x="51" y="419"/>
                  <a:pt x="51" y="419"/>
                </a:cubicBezTo>
                <a:cubicBezTo>
                  <a:pt x="50" y="419"/>
                  <a:pt x="50" y="419"/>
                  <a:pt x="50" y="419"/>
                </a:cubicBezTo>
                <a:cubicBezTo>
                  <a:pt x="48" y="418"/>
                  <a:pt x="48" y="418"/>
                  <a:pt x="48" y="418"/>
                </a:cubicBezTo>
                <a:cubicBezTo>
                  <a:pt x="48" y="416"/>
                  <a:pt x="48" y="416"/>
                  <a:pt x="48" y="416"/>
                </a:cubicBezTo>
                <a:close/>
                <a:moveTo>
                  <a:pt x="46" y="413"/>
                </a:moveTo>
                <a:cubicBezTo>
                  <a:pt x="45" y="411"/>
                  <a:pt x="45" y="411"/>
                  <a:pt x="45" y="411"/>
                </a:cubicBezTo>
                <a:cubicBezTo>
                  <a:pt x="46" y="411"/>
                  <a:pt x="46" y="411"/>
                  <a:pt x="46" y="411"/>
                </a:cubicBezTo>
                <a:cubicBezTo>
                  <a:pt x="46" y="413"/>
                  <a:pt x="46" y="413"/>
                  <a:pt x="46" y="413"/>
                </a:cubicBezTo>
                <a:close/>
                <a:moveTo>
                  <a:pt x="39" y="407"/>
                </a:moveTo>
                <a:cubicBezTo>
                  <a:pt x="41" y="408"/>
                  <a:pt x="41" y="408"/>
                  <a:pt x="41" y="408"/>
                </a:cubicBezTo>
                <a:cubicBezTo>
                  <a:pt x="41" y="407"/>
                  <a:pt x="41" y="407"/>
                  <a:pt x="41" y="407"/>
                </a:cubicBezTo>
                <a:cubicBezTo>
                  <a:pt x="39" y="407"/>
                  <a:pt x="39" y="407"/>
                  <a:pt x="39" y="407"/>
                </a:cubicBezTo>
                <a:close/>
                <a:moveTo>
                  <a:pt x="28" y="403"/>
                </a:moveTo>
                <a:cubicBezTo>
                  <a:pt x="29" y="404"/>
                  <a:pt x="29" y="404"/>
                  <a:pt x="29" y="404"/>
                </a:cubicBezTo>
                <a:cubicBezTo>
                  <a:pt x="29" y="405"/>
                  <a:pt x="29" y="405"/>
                  <a:pt x="29" y="405"/>
                </a:cubicBezTo>
                <a:cubicBezTo>
                  <a:pt x="30" y="406"/>
                  <a:pt x="30" y="406"/>
                  <a:pt x="30" y="406"/>
                </a:cubicBezTo>
                <a:cubicBezTo>
                  <a:pt x="33" y="406"/>
                  <a:pt x="33" y="406"/>
                  <a:pt x="33" y="406"/>
                </a:cubicBezTo>
                <a:cubicBezTo>
                  <a:pt x="32" y="407"/>
                  <a:pt x="32" y="407"/>
                  <a:pt x="32" y="407"/>
                </a:cubicBezTo>
                <a:cubicBezTo>
                  <a:pt x="30" y="407"/>
                  <a:pt x="30" y="407"/>
                  <a:pt x="30" y="407"/>
                </a:cubicBezTo>
                <a:cubicBezTo>
                  <a:pt x="29" y="408"/>
                  <a:pt x="29" y="408"/>
                  <a:pt x="29" y="408"/>
                </a:cubicBezTo>
                <a:cubicBezTo>
                  <a:pt x="30" y="409"/>
                  <a:pt x="30" y="409"/>
                  <a:pt x="30" y="409"/>
                </a:cubicBezTo>
                <a:cubicBezTo>
                  <a:pt x="29" y="410"/>
                  <a:pt x="29" y="410"/>
                  <a:pt x="29" y="410"/>
                </a:cubicBezTo>
                <a:cubicBezTo>
                  <a:pt x="30" y="411"/>
                  <a:pt x="30" y="411"/>
                  <a:pt x="30" y="411"/>
                </a:cubicBezTo>
                <a:cubicBezTo>
                  <a:pt x="31" y="410"/>
                  <a:pt x="31" y="410"/>
                  <a:pt x="31" y="410"/>
                </a:cubicBezTo>
                <a:cubicBezTo>
                  <a:pt x="31" y="411"/>
                  <a:pt x="31" y="411"/>
                  <a:pt x="31" y="411"/>
                </a:cubicBezTo>
                <a:cubicBezTo>
                  <a:pt x="33" y="411"/>
                  <a:pt x="33" y="411"/>
                  <a:pt x="33" y="411"/>
                </a:cubicBezTo>
                <a:cubicBezTo>
                  <a:pt x="33" y="413"/>
                  <a:pt x="33" y="413"/>
                  <a:pt x="33" y="413"/>
                </a:cubicBezTo>
                <a:cubicBezTo>
                  <a:pt x="34" y="413"/>
                  <a:pt x="34" y="413"/>
                  <a:pt x="34" y="413"/>
                </a:cubicBezTo>
                <a:cubicBezTo>
                  <a:pt x="35" y="413"/>
                  <a:pt x="35" y="413"/>
                  <a:pt x="35" y="413"/>
                </a:cubicBezTo>
                <a:cubicBezTo>
                  <a:pt x="34" y="415"/>
                  <a:pt x="34" y="415"/>
                  <a:pt x="34" y="415"/>
                </a:cubicBezTo>
                <a:cubicBezTo>
                  <a:pt x="34" y="416"/>
                  <a:pt x="34" y="416"/>
                  <a:pt x="34" y="416"/>
                </a:cubicBezTo>
                <a:cubicBezTo>
                  <a:pt x="35" y="416"/>
                  <a:pt x="35" y="416"/>
                  <a:pt x="35" y="416"/>
                </a:cubicBezTo>
                <a:cubicBezTo>
                  <a:pt x="35" y="415"/>
                  <a:pt x="35" y="415"/>
                  <a:pt x="35" y="415"/>
                </a:cubicBezTo>
                <a:cubicBezTo>
                  <a:pt x="37" y="414"/>
                  <a:pt x="37" y="414"/>
                  <a:pt x="37" y="414"/>
                </a:cubicBezTo>
                <a:cubicBezTo>
                  <a:pt x="37" y="416"/>
                  <a:pt x="37" y="416"/>
                  <a:pt x="37" y="416"/>
                </a:cubicBezTo>
                <a:cubicBezTo>
                  <a:pt x="36" y="417"/>
                  <a:pt x="36" y="417"/>
                  <a:pt x="36" y="417"/>
                </a:cubicBezTo>
                <a:cubicBezTo>
                  <a:pt x="36" y="418"/>
                  <a:pt x="36" y="418"/>
                  <a:pt x="36" y="418"/>
                </a:cubicBezTo>
                <a:cubicBezTo>
                  <a:pt x="36" y="418"/>
                  <a:pt x="36" y="418"/>
                  <a:pt x="36" y="418"/>
                </a:cubicBezTo>
                <a:cubicBezTo>
                  <a:pt x="37" y="419"/>
                  <a:pt x="37" y="419"/>
                  <a:pt x="37" y="419"/>
                </a:cubicBezTo>
                <a:cubicBezTo>
                  <a:pt x="39" y="419"/>
                  <a:pt x="39" y="419"/>
                  <a:pt x="39" y="419"/>
                </a:cubicBezTo>
                <a:cubicBezTo>
                  <a:pt x="39" y="420"/>
                  <a:pt x="39" y="420"/>
                  <a:pt x="39" y="420"/>
                </a:cubicBezTo>
                <a:cubicBezTo>
                  <a:pt x="40" y="420"/>
                  <a:pt x="40" y="420"/>
                  <a:pt x="40" y="420"/>
                </a:cubicBezTo>
                <a:cubicBezTo>
                  <a:pt x="40" y="421"/>
                  <a:pt x="40" y="421"/>
                  <a:pt x="40" y="421"/>
                </a:cubicBezTo>
                <a:cubicBezTo>
                  <a:pt x="40" y="422"/>
                  <a:pt x="40" y="422"/>
                  <a:pt x="40" y="422"/>
                </a:cubicBezTo>
                <a:cubicBezTo>
                  <a:pt x="41" y="424"/>
                  <a:pt x="41" y="424"/>
                  <a:pt x="41" y="424"/>
                </a:cubicBezTo>
                <a:cubicBezTo>
                  <a:pt x="42" y="423"/>
                  <a:pt x="42" y="423"/>
                  <a:pt x="42" y="423"/>
                </a:cubicBezTo>
                <a:cubicBezTo>
                  <a:pt x="43" y="423"/>
                  <a:pt x="43" y="423"/>
                  <a:pt x="43" y="423"/>
                </a:cubicBezTo>
                <a:cubicBezTo>
                  <a:pt x="44" y="423"/>
                  <a:pt x="44" y="423"/>
                  <a:pt x="44" y="423"/>
                </a:cubicBezTo>
                <a:cubicBezTo>
                  <a:pt x="42" y="425"/>
                  <a:pt x="42" y="425"/>
                  <a:pt x="42" y="425"/>
                </a:cubicBezTo>
                <a:cubicBezTo>
                  <a:pt x="44" y="428"/>
                  <a:pt x="44" y="428"/>
                  <a:pt x="44" y="428"/>
                </a:cubicBezTo>
                <a:cubicBezTo>
                  <a:pt x="45" y="428"/>
                  <a:pt x="45" y="428"/>
                  <a:pt x="45" y="428"/>
                </a:cubicBezTo>
                <a:cubicBezTo>
                  <a:pt x="46" y="429"/>
                  <a:pt x="46" y="429"/>
                  <a:pt x="46" y="429"/>
                </a:cubicBezTo>
                <a:cubicBezTo>
                  <a:pt x="49" y="431"/>
                  <a:pt x="49" y="431"/>
                  <a:pt x="49" y="431"/>
                </a:cubicBezTo>
                <a:cubicBezTo>
                  <a:pt x="50" y="431"/>
                  <a:pt x="50" y="431"/>
                  <a:pt x="50" y="431"/>
                </a:cubicBezTo>
                <a:cubicBezTo>
                  <a:pt x="51" y="431"/>
                  <a:pt x="51" y="431"/>
                  <a:pt x="51" y="431"/>
                </a:cubicBezTo>
                <a:cubicBezTo>
                  <a:pt x="50" y="427"/>
                  <a:pt x="50" y="427"/>
                  <a:pt x="50" y="427"/>
                </a:cubicBezTo>
                <a:cubicBezTo>
                  <a:pt x="51" y="426"/>
                  <a:pt x="51" y="426"/>
                  <a:pt x="51" y="426"/>
                </a:cubicBezTo>
                <a:cubicBezTo>
                  <a:pt x="50" y="425"/>
                  <a:pt x="50" y="425"/>
                  <a:pt x="50" y="425"/>
                </a:cubicBezTo>
                <a:cubicBezTo>
                  <a:pt x="50" y="422"/>
                  <a:pt x="50" y="422"/>
                  <a:pt x="50" y="422"/>
                </a:cubicBezTo>
                <a:cubicBezTo>
                  <a:pt x="49" y="421"/>
                  <a:pt x="49" y="421"/>
                  <a:pt x="49" y="421"/>
                </a:cubicBezTo>
                <a:cubicBezTo>
                  <a:pt x="47" y="419"/>
                  <a:pt x="47" y="419"/>
                  <a:pt x="47" y="419"/>
                </a:cubicBezTo>
                <a:cubicBezTo>
                  <a:pt x="46" y="415"/>
                  <a:pt x="46" y="415"/>
                  <a:pt x="46" y="415"/>
                </a:cubicBezTo>
                <a:cubicBezTo>
                  <a:pt x="45" y="413"/>
                  <a:pt x="45" y="413"/>
                  <a:pt x="45" y="413"/>
                </a:cubicBezTo>
                <a:cubicBezTo>
                  <a:pt x="45" y="411"/>
                  <a:pt x="45" y="411"/>
                  <a:pt x="45" y="411"/>
                </a:cubicBezTo>
                <a:cubicBezTo>
                  <a:pt x="44" y="410"/>
                  <a:pt x="44" y="410"/>
                  <a:pt x="44" y="410"/>
                </a:cubicBezTo>
                <a:cubicBezTo>
                  <a:pt x="43" y="410"/>
                  <a:pt x="43" y="410"/>
                  <a:pt x="43" y="410"/>
                </a:cubicBezTo>
                <a:cubicBezTo>
                  <a:pt x="41" y="409"/>
                  <a:pt x="41" y="409"/>
                  <a:pt x="41" y="409"/>
                </a:cubicBezTo>
                <a:cubicBezTo>
                  <a:pt x="39" y="409"/>
                  <a:pt x="39" y="409"/>
                  <a:pt x="39" y="409"/>
                </a:cubicBezTo>
                <a:cubicBezTo>
                  <a:pt x="38" y="408"/>
                  <a:pt x="38" y="408"/>
                  <a:pt x="38" y="408"/>
                </a:cubicBezTo>
                <a:cubicBezTo>
                  <a:pt x="37" y="407"/>
                  <a:pt x="37" y="407"/>
                  <a:pt x="37" y="407"/>
                </a:cubicBezTo>
                <a:cubicBezTo>
                  <a:pt x="35" y="406"/>
                  <a:pt x="35" y="406"/>
                  <a:pt x="35" y="406"/>
                </a:cubicBezTo>
                <a:cubicBezTo>
                  <a:pt x="34" y="405"/>
                  <a:pt x="34" y="405"/>
                  <a:pt x="34" y="405"/>
                </a:cubicBezTo>
                <a:cubicBezTo>
                  <a:pt x="34" y="404"/>
                  <a:pt x="34" y="404"/>
                  <a:pt x="34" y="404"/>
                </a:cubicBezTo>
                <a:cubicBezTo>
                  <a:pt x="33" y="404"/>
                  <a:pt x="33" y="404"/>
                  <a:pt x="33" y="404"/>
                </a:cubicBezTo>
                <a:cubicBezTo>
                  <a:pt x="32" y="403"/>
                  <a:pt x="32" y="403"/>
                  <a:pt x="32" y="403"/>
                </a:cubicBezTo>
                <a:cubicBezTo>
                  <a:pt x="31" y="402"/>
                  <a:pt x="31" y="402"/>
                  <a:pt x="31" y="402"/>
                </a:cubicBezTo>
                <a:cubicBezTo>
                  <a:pt x="30" y="403"/>
                  <a:pt x="30" y="403"/>
                  <a:pt x="30" y="403"/>
                </a:cubicBezTo>
                <a:cubicBezTo>
                  <a:pt x="28" y="403"/>
                  <a:pt x="28" y="403"/>
                  <a:pt x="28" y="403"/>
                </a:cubicBezTo>
                <a:close/>
                <a:moveTo>
                  <a:pt x="40" y="405"/>
                </a:moveTo>
                <a:cubicBezTo>
                  <a:pt x="41" y="405"/>
                  <a:pt x="41" y="405"/>
                  <a:pt x="41" y="405"/>
                </a:cubicBezTo>
                <a:cubicBezTo>
                  <a:pt x="41" y="405"/>
                  <a:pt x="41" y="405"/>
                  <a:pt x="41" y="405"/>
                </a:cubicBezTo>
                <a:cubicBezTo>
                  <a:pt x="42" y="405"/>
                  <a:pt x="42" y="405"/>
                  <a:pt x="42" y="405"/>
                </a:cubicBezTo>
                <a:cubicBezTo>
                  <a:pt x="41" y="406"/>
                  <a:pt x="41" y="406"/>
                  <a:pt x="41" y="406"/>
                </a:cubicBezTo>
                <a:cubicBezTo>
                  <a:pt x="40" y="406"/>
                  <a:pt x="40" y="406"/>
                  <a:pt x="40" y="406"/>
                </a:cubicBezTo>
                <a:cubicBezTo>
                  <a:pt x="40" y="405"/>
                  <a:pt x="40" y="405"/>
                  <a:pt x="40" y="405"/>
                </a:cubicBezTo>
                <a:close/>
                <a:moveTo>
                  <a:pt x="39" y="404"/>
                </a:moveTo>
                <a:cubicBezTo>
                  <a:pt x="39" y="404"/>
                  <a:pt x="39" y="404"/>
                  <a:pt x="39" y="404"/>
                </a:cubicBezTo>
                <a:cubicBezTo>
                  <a:pt x="40" y="405"/>
                  <a:pt x="40" y="405"/>
                  <a:pt x="40" y="405"/>
                </a:cubicBezTo>
                <a:cubicBezTo>
                  <a:pt x="39" y="404"/>
                  <a:pt x="39" y="404"/>
                  <a:pt x="39" y="404"/>
                </a:cubicBezTo>
                <a:close/>
                <a:moveTo>
                  <a:pt x="31" y="377"/>
                </a:moveTo>
                <a:cubicBezTo>
                  <a:pt x="31" y="378"/>
                  <a:pt x="31" y="378"/>
                  <a:pt x="31" y="378"/>
                </a:cubicBezTo>
                <a:cubicBezTo>
                  <a:pt x="32" y="378"/>
                  <a:pt x="32" y="378"/>
                  <a:pt x="32" y="378"/>
                </a:cubicBezTo>
                <a:cubicBezTo>
                  <a:pt x="31" y="377"/>
                  <a:pt x="31" y="377"/>
                  <a:pt x="31" y="377"/>
                </a:cubicBezTo>
                <a:close/>
                <a:moveTo>
                  <a:pt x="35" y="390"/>
                </a:moveTo>
                <a:cubicBezTo>
                  <a:pt x="35" y="389"/>
                  <a:pt x="35" y="389"/>
                  <a:pt x="35" y="389"/>
                </a:cubicBezTo>
                <a:cubicBezTo>
                  <a:pt x="35" y="388"/>
                  <a:pt x="35" y="388"/>
                  <a:pt x="35" y="388"/>
                </a:cubicBezTo>
                <a:cubicBezTo>
                  <a:pt x="36" y="389"/>
                  <a:pt x="36" y="389"/>
                  <a:pt x="36" y="389"/>
                </a:cubicBezTo>
                <a:cubicBezTo>
                  <a:pt x="35" y="390"/>
                  <a:pt x="35" y="390"/>
                  <a:pt x="35" y="390"/>
                </a:cubicBezTo>
                <a:cubicBezTo>
                  <a:pt x="35" y="390"/>
                  <a:pt x="35" y="390"/>
                  <a:pt x="35" y="390"/>
                </a:cubicBezTo>
                <a:close/>
                <a:moveTo>
                  <a:pt x="34" y="394"/>
                </a:moveTo>
                <a:cubicBezTo>
                  <a:pt x="34" y="395"/>
                  <a:pt x="34" y="395"/>
                  <a:pt x="34" y="395"/>
                </a:cubicBezTo>
                <a:cubicBezTo>
                  <a:pt x="34" y="396"/>
                  <a:pt x="34" y="396"/>
                  <a:pt x="34" y="396"/>
                </a:cubicBezTo>
                <a:cubicBezTo>
                  <a:pt x="34" y="396"/>
                  <a:pt x="34" y="396"/>
                  <a:pt x="34" y="396"/>
                </a:cubicBezTo>
                <a:cubicBezTo>
                  <a:pt x="35" y="395"/>
                  <a:pt x="35" y="395"/>
                  <a:pt x="35" y="395"/>
                </a:cubicBezTo>
                <a:cubicBezTo>
                  <a:pt x="34" y="394"/>
                  <a:pt x="34" y="394"/>
                  <a:pt x="34" y="394"/>
                </a:cubicBezTo>
                <a:close/>
                <a:moveTo>
                  <a:pt x="35" y="392"/>
                </a:moveTo>
                <a:cubicBezTo>
                  <a:pt x="36" y="391"/>
                  <a:pt x="36" y="391"/>
                  <a:pt x="36" y="391"/>
                </a:cubicBezTo>
                <a:cubicBezTo>
                  <a:pt x="36" y="390"/>
                  <a:pt x="36" y="390"/>
                  <a:pt x="36" y="390"/>
                </a:cubicBezTo>
                <a:cubicBezTo>
                  <a:pt x="34" y="391"/>
                  <a:pt x="34" y="391"/>
                  <a:pt x="34" y="391"/>
                </a:cubicBezTo>
                <a:cubicBezTo>
                  <a:pt x="34" y="392"/>
                  <a:pt x="34" y="392"/>
                  <a:pt x="34" y="392"/>
                </a:cubicBezTo>
                <a:cubicBezTo>
                  <a:pt x="35" y="392"/>
                  <a:pt x="35" y="392"/>
                  <a:pt x="35" y="392"/>
                </a:cubicBezTo>
                <a:cubicBezTo>
                  <a:pt x="35" y="392"/>
                  <a:pt x="35" y="392"/>
                  <a:pt x="35" y="392"/>
                </a:cubicBezTo>
                <a:close/>
                <a:moveTo>
                  <a:pt x="37" y="391"/>
                </a:moveTo>
                <a:cubicBezTo>
                  <a:pt x="38" y="389"/>
                  <a:pt x="38" y="389"/>
                  <a:pt x="38" y="389"/>
                </a:cubicBezTo>
                <a:cubicBezTo>
                  <a:pt x="39" y="389"/>
                  <a:pt x="39" y="389"/>
                  <a:pt x="39" y="389"/>
                </a:cubicBezTo>
                <a:cubicBezTo>
                  <a:pt x="40" y="388"/>
                  <a:pt x="40" y="388"/>
                  <a:pt x="40" y="388"/>
                </a:cubicBezTo>
                <a:cubicBezTo>
                  <a:pt x="42" y="387"/>
                  <a:pt x="42" y="387"/>
                  <a:pt x="42" y="387"/>
                </a:cubicBezTo>
                <a:cubicBezTo>
                  <a:pt x="42" y="388"/>
                  <a:pt x="42" y="388"/>
                  <a:pt x="42" y="388"/>
                </a:cubicBezTo>
                <a:cubicBezTo>
                  <a:pt x="40" y="389"/>
                  <a:pt x="40" y="389"/>
                  <a:pt x="40" y="389"/>
                </a:cubicBezTo>
                <a:cubicBezTo>
                  <a:pt x="39" y="390"/>
                  <a:pt x="39" y="390"/>
                  <a:pt x="39" y="390"/>
                </a:cubicBezTo>
                <a:cubicBezTo>
                  <a:pt x="37" y="391"/>
                  <a:pt x="37" y="391"/>
                  <a:pt x="37" y="391"/>
                </a:cubicBezTo>
                <a:cubicBezTo>
                  <a:pt x="37" y="391"/>
                  <a:pt x="37" y="391"/>
                  <a:pt x="37" y="391"/>
                </a:cubicBezTo>
                <a:close/>
                <a:moveTo>
                  <a:pt x="36" y="384"/>
                </a:moveTo>
                <a:cubicBezTo>
                  <a:pt x="36" y="383"/>
                  <a:pt x="36" y="383"/>
                  <a:pt x="36" y="383"/>
                </a:cubicBezTo>
                <a:cubicBezTo>
                  <a:pt x="36" y="382"/>
                  <a:pt x="36" y="382"/>
                  <a:pt x="36" y="382"/>
                </a:cubicBezTo>
                <a:cubicBezTo>
                  <a:pt x="37" y="383"/>
                  <a:pt x="37" y="383"/>
                  <a:pt x="37" y="383"/>
                </a:cubicBezTo>
                <a:cubicBezTo>
                  <a:pt x="36" y="383"/>
                  <a:pt x="36" y="383"/>
                  <a:pt x="36" y="383"/>
                </a:cubicBezTo>
                <a:cubicBezTo>
                  <a:pt x="36" y="384"/>
                  <a:pt x="36" y="384"/>
                  <a:pt x="36" y="384"/>
                </a:cubicBezTo>
                <a:cubicBezTo>
                  <a:pt x="36" y="384"/>
                  <a:pt x="36" y="384"/>
                  <a:pt x="36" y="384"/>
                </a:cubicBezTo>
                <a:close/>
                <a:moveTo>
                  <a:pt x="33" y="384"/>
                </a:moveTo>
                <a:cubicBezTo>
                  <a:pt x="34" y="385"/>
                  <a:pt x="34" y="385"/>
                  <a:pt x="34" y="385"/>
                </a:cubicBezTo>
                <a:cubicBezTo>
                  <a:pt x="35" y="384"/>
                  <a:pt x="35" y="384"/>
                  <a:pt x="35" y="384"/>
                </a:cubicBezTo>
                <a:cubicBezTo>
                  <a:pt x="35" y="383"/>
                  <a:pt x="35" y="383"/>
                  <a:pt x="35" y="383"/>
                </a:cubicBezTo>
                <a:cubicBezTo>
                  <a:pt x="33" y="384"/>
                  <a:pt x="33" y="384"/>
                  <a:pt x="33" y="384"/>
                </a:cubicBezTo>
                <a:close/>
                <a:moveTo>
                  <a:pt x="31" y="380"/>
                </a:moveTo>
                <a:cubicBezTo>
                  <a:pt x="31" y="382"/>
                  <a:pt x="31" y="382"/>
                  <a:pt x="31" y="382"/>
                </a:cubicBezTo>
                <a:cubicBezTo>
                  <a:pt x="32" y="383"/>
                  <a:pt x="32" y="383"/>
                  <a:pt x="32" y="383"/>
                </a:cubicBezTo>
                <a:cubicBezTo>
                  <a:pt x="32" y="384"/>
                  <a:pt x="32" y="384"/>
                  <a:pt x="32" y="384"/>
                </a:cubicBezTo>
                <a:cubicBezTo>
                  <a:pt x="33" y="383"/>
                  <a:pt x="33" y="383"/>
                  <a:pt x="33" y="383"/>
                </a:cubicBezTo>
                <a:cubicBezTo>
                  <a:pt x="32" y="381"/>
                  <a:pt x="32" y="381"/>
                  <a:pt x="32" y="381"/>
                </a:cubicBezTo>
                <a:cubicBezTo>
                  <a:pt x="31" y="380"/>
                  <a:pt x="31" y="380"/>
                  <a:pt x="31" y="380"/>
                </a:cubicBezTo>
                <a:close/>
                <a:moveTo>
                  <a:pt x="32" y="379"/>
                </a:moveTo>
                <a:cubicBezTo>
                  <a:pt x="33" y="379"/>
                  <a:pt x="33" y="379"/>
                  <a:pt x="33" y="379"/>
                </a:cubicBezTo>
                <a:cubicBezTo>
                  <a:pt x="33" y="380"/>
                  <a:pt x="33" y="380"/>
                  <a:pt x="33" y="380"/>
                </a:cubicBezTo>
                <a:cubicBezTo>
                  <a:pt x="33" y="381"/>
                  <a:pt x="33" y="381"/>
                  <a:pt x="33" y="381"/>
                </a:cubicBezTo>
                <a:cubicBezTo>
                  <a:pt x="34" y="381"/>
                  <a:pt x="34" y="381"/>
                  <a:pt x="34" y="381"/>
                </a:cubicBezTo>
                <a:cubicBezTo>
                  <a:pt x="35" y="380"/>
                  <a:pt x="35" y="380"/>
                  <a:pt x="35" y="380"/>
                </a:cubicBezTo>
                <a:cubicBezTo>
                  <a:pt x="34" y="381"/>
                  <a:pt x="34" y="381"/>
                  <a:pt x="34" y="381"/>
                </a:cubicBezTo>
                <a:cubicBezTo>
                  <a:pt x="35" y="383"/>
                  <a:pt x="35" y="383"/>
                  <a:pt x="35" y="383"/>
                </a:cubicBezTo>
                <a:cubicBezTo>
                  <a:pt x="36" y="381"/>
                  <a:pt x="36" y="381"/>
                  <a:pt x="36" y="381"/>
                </a:cubicBezTo>
                <a:cubicBezTo>
                  <a:pt x="36" y="378"/>
                  <a:pt x="36" y="378"/>
                  <a:pt x="36" y="378"/>
                </a:cubicBezTo>
                <a:cubicBezTo>
                  <a:pt x="35" y="377"/>
                  <a:pt x="35" y="377"/>
                  <a:pt x="35" y="377"/>
                </a:cubicBezTo>
                <a:cubicBezTo>
                  <a:pt x="33" y="378"/>
                  <a:pt x="33" y="378"/>
                  <a:pt x="33" y="378"/>
                </a:cubicBezTo>
                <a:cubicBezTo>
                  <a:pt x="32" y="379"/>
                  <a:pt x="32" y="379"/>
                  <a:pt x="32" y="379"/>
                </a:cubicBezTo>
                <a:close/>
                <a:moveTo>
                  <a:pt x="32" y="376"/>
                </a:moveTo>
                <a:cubicBezTo>
                  <a:pt x="33" y="377"/>
                  <a:pt x="33" y="377"/>
                  <a:pt x="33" y="377"/>
                </a:cubicBezTo>
                <a:cubicBezTo>
                  <a:pt x="33" y="376"/>
                  <a:pt x="33" y="376"/>
                  <a:pt x="33" y="376"/>
                </a:cubicBezTo>
                <a:cubicBezTo>
                  <a:pt x="33" y="376"/>
                  <a:pt x="33" y="376"/>
                  <a:pt x="33" y="376"/>
                </a:cubicBezTo>
                <a:cubicBezTo>
                  <a:pt x="32" y="376"/>
                  <a:pt x="32" y="376"/>
                  <a:pt x="32" y="376"/>
                </a:cubicBezTo>
                <a:close/>
                <a:moveTo>
                  <a:pt x="35" y="374"/>
                </a:moveTo>
                <a:cubicBezTo>
                  <a:pt x="35" y="373"/>
                  <a:pt x="35" y="373"/>
                  <a:pt x="35" y="373"/>
                </a:cubicBezTo>
                <a:cubicBezTo>
                  <a:pt x="36" y="372"/>
                  <a:pt x="36" y="372"/>
                  <a:pt x="36" y="372"/>
                </a:cubicBezTo>
                <a:cubicBezTo>
                  <a:pt x="37" y="372"/>
                  <a:pt x="37" y="372"/>
                  <a:pt x="37" y="372"/>
                </a:cubicBezTo>
                <a:cubicBezTo>
                  <a:pt x="37" y="373"/>
                  <a:pt x="37" y="373"/>
                  <a:pt x="37" y="373"/>
                </a:cubicBezTo>
                <a:cubicBezTo>
                  <a:pt x="35" y="374"/>
                  <a:pt x="35" y="374"/>
                  <a:pt x="35" y="374"/>
                </a:cubicBezTo>
                <a:cubicBezTo>
                  <a:pt x="35" y="374"/>
                  <a:pt x="35" y="374"/>
                  <a:pt x="35" y="374"/>
                </a:cubicBezTo>
                <a:close/>
                <a:moveTo>
                  <a:pt x="27" y="371"/>
                </a:moveTo>
                <a:cubicBezTo>
                  <a:pt x="30" y="374"/>
                  <a:pt x="30" y="374"/>
                  <a:pt x="30" y="374"/>
                </a:cubicBezTo>
                <a:cubicBezTo>
                  <a:pt x="30" y="375"/>
                  <a:pt x="30" y="375"/>
                  <a:pt x="30" y="375"/>
                </a:cubicBezTo>
                <a:cubicBezTo>
                  <a:pt x="30" y="376"/>
                  <a:pt x="30" y="376"/>
                  <a:pt x="30" y="376"/>
                </a:cubicBezTo>
                <a:cubicBezTo>
                  <a:pt x="29" y="376"/>
                  <a:pt x="29" y="376"/>
                  <a:pt x="29" y="376"/>
                </a:cubicBezTo>
                <a:cubicBezTo>
                  <a:pt x="29" y="375"/>
                  <a:pt x="29" y="375"/>
                  <a:pt x="29" y="375"/>
                </a:cubicBezTo>
                <a:cubicBezTo>
                  <a:pt x="27" y="373"/>
                  <a:pt x="27" y="373"/>
                  <a:pt x="27" y="373"/>
                </a:cubicBezTo>
                <a:cubicBezTo>
                  <a:pt x="27" y="371"/>
                  <a:pt x="27" y="371"/>
                  <a:pt x="27" y="371"/>
                </a:cubicBezTo>
                <a:cubicBezTo>
                  <a:pt x="27" y="371"/>
                  <a:pt x="27" y="370"/>
                  <a:pt x="27" y="371"/>
                </a:cubicBezTo>
                <a:close/>
                <a:moveTo>
                  <a:pt x="29" y="369"/>
                </a:moveTo>
                <a:cubicBezTo>
                  <a:pt x="30" y="371"/>
                  <a:pt x="30" y="371"/>
                  <a:pt x="30" y="371"/>
                </a:cubicBezTo>
                <a:cubicBezTo>
                  <a:pt x="30" y="372"/>
                  <a:pt x="30" y="372"/>
                  <a:pt x="30" y="372"/>
                </a:cubicBezTo>
                <a:cubicBezTo>
                  <a:pt x="31" y="374"/>
                  <a:pt x="31" y="374"/>
                  <a:pt x="31" y="374"/>
                </a:cubicBezTo>
                <a:cubicBezTo>
                  <a:pt x="32" y="375"/>
                  <a:pt x="32" y="375"/>
                  <a:pt x="32" y="375"/>
                </a:cubicBezTo>
                <a:cubicBezTo>
                  <a:pt x="32" y="373"/>
                  <a:pt x="32" y="373"/>
                  <a:pt x="32" y="373"/>
                </a:cubicBezTo>
                <a:cubicBezTo>
                  <a:pt x="31" y="371"/>
                  <a:pt x="31" y="371"/>
                  <a:pt x="31" y="371"/>
                </a:cubicBezTo>
                <a:cubicBezTo>
                  <a:pt x="30" y="369"/>
                  <a:pt x="30" y="369"/>
                  <a:pt x="30" y="369"/>
                </a:cubicBezTo>
                <a:cubicBezTo>
                  <a:pt x="30" y="369"/>
                  <a:pt x="30" y="369"/>
                  <a:pt x="30" y="369"/>
                </a:cubicBezTo>
                <a:cubicBezTo>
                  <a:pt x="29" y="369"/>
                  <a:pt x="29" y="369"/>
                  <a:pt x="29" y="369"/>
                </a:cubicBezTo>
                <a:close/>
                <a:moveTo>
                  <a:pt x="27" y="368"/>
                </a:moveTo>
                <a:cubicBezTo>
                  <a:pt x="29" y="368"/>
                  <a:pt x="29" y="368"/>
                  <a:pt x="29" y="368"/>
                </a:cubicBezTo>
                <a:cubicBezTo>
                  <a:pt x="29" y="368"/>
                  <a:pt x="29" y="368"/>
                  <a:pt x="29" y="368"/>
                </a:cubicBezTo>
                <a:cubicBezTo>
                  <a:pt x="30" y="368"/>
                  <a:pt x="30" y="368"/>
                  <a:pt x="30" y="368"/>
                </a:cubicBezTo>
                <a:cubicBezTo>
                  <a:pt x="31" y="367"/>
                  <a:pt x="31" y="367"/>
                  <a:pt x="31" y="367"/>
                </a:cubicBezTo>
                <a:cubicBezTo>
                  <a:pt x="29" y="366"/>
                  <a:pt x="29" y="366"/>
                  <a:pt x="29" y="366"/>
                </a:cubicBezTo>
                <a:cubicBezTo>
                  <a:pt x="28" y="367"/>
                  <a:pt x="28" y="367"/>
                  <a:pt x="28" y="367"/>
                </a:cubicBezTo>
                <a:cubicBezTo>
                  <a:pt x="27" y="368"/>
                  <a:pt x="27" y="368"/>
                  <a:pt x="27" y="368"/>
                </a:cubicBezTo>
                <a:close/>
                <a:moveTo>
                  <a:pt x="14" y="368"/>
                </a:moveTo>
                <a:cubicBezTo>
                  <a:pt x="14" y="366"/>
                  <a:pt x="14" y="366"/>
                  <a:pt x="14" y="366"/>
                </a:cubicBezTo>
                <a:cubicBezTo>
                  <a:pt x="16" y="363"/>
                  <a:pt x="16" y="363"/>
                  <a:pt x="16" y="363"/>
                </a:cubicBezTo>
                <a:cubicBezTo>
                  <a:pt x="18" y="363"/>
                  <a:pt x="18" y="363"/>
                  <a:pt x="18" y="363"/>
                </a:cubicBezTo>
                <a:cubicBezTo>
                  <a:pt x="17" y="365"/>
                  <a:pt x="17" y="365"/>
                  <a:pt x="17" y="365"/>
                </a:cubicBezTo>
                <a:cubicBezTo>
                  <a:pt x="18" y="365"/>
                  <a:pt x="18" y="365"/>
                  <a:pt x="18" y="365"/>
                </a:cubicBezTo>
                <a:cubicBezTo>
                  <a:pt x="19" y="364"/>
                  <a:pt x="19" y="364"/>
                  <a:pt x="19" y="364"/>
                </a:cubicBezTo>
                <a:cubicBezTo>
                  <a:pt x="20" y="364"/>
                  <a:pt x="20" y="364"/>
                  <a:pt x="20" y="364"/>
                </a:cubicBezTo>
                <a:cubicBezTo>
                  <a:pt x="20" y="365"/>
                  <a:pt x="20" y="365"/>
                  <a:pt x="20" y="365"/>
                </a:cubicBezTo>
                <a:cubicBezTo>
                  <a:pt x="20" y="367"/>
                  <a:pt x="20" y="367"/>
                  <a:pt x="20" y="367"/>
                </a:cubicBezTo>
                <a:cubicBezTo>
                  <a:pt x="18" y="368"/>
                  <a:pt x="18" y="368"/>
                  <a:pt x="18" y="368"/>
                </a:cubicBezTo>
                <a:cubicBezTo>
                  <a:pt x="16" y="369"/>
                  <a:pt x="16" y="369"/>
                  <a:pt x="16" y="369"/>
                </a:cubicBezTo>
                <a:cubicBezTo>
                  <a:pt x="17" y="369"/>
                  <a:pt x="17" y="369"/>
                  <a:pt x="17" y="369"/>
                </a:cubicBezTo>
                <a:cubicBezTo>
                  <a:pt x="17" y="370"/>
                  <a:pt x="17" y="370"/>
                  <a:pt x="17" y="370"/>
                </a:cubicBezTo>
                <a:cubicBezTo>
                  <a:pt x="18" y="369"/>
                  <a:pt x="18" y="369"/>
                  <a:pt x="18" y="369"/>
                </a:cubicBezTo>
                <a:cubicBezTo>
                  <a:pt x="19" y="368"/>
                  <a:pt x="19" y="368"/>
                  <a:pt x="19" y="368"/>
                </a:cubicBezTo>
                <a:cubicBezTo>
                  <a:pt x="21" y="366"/>
                  <a:pt x="21" y="366"/>
                  <a:pt x="21" y="366"/>
                </a:cubicBezTo>
                <a:cubicBezTo>
                  <a:pt x="23" y="365"/>
                  <a:pt x="23" y="365"/>
                  <a:pt x="23" y="365"/>
                </a:cubicBezTo>
                <a:cubicBezTo>
                  <a:pt x="23" y="365"/>
                  <a:pt x="23" y="365"/>
                  <a:pt x="23" y="365"/>
                </a:cubicBezTo>
                <a:cubicBezTo>
                  <a:pt x="21" y="367"/>
                  <a:pt x="21" y="367"/>
                  <a:pt x="21" y="367"/>
                </a:cubicBezTo>
                <a:cubicBezTo>
                  <a:pt x="21" y="369"/>
                  <a:pt x="21" y="369"/>
                  <a:pt x="21" y="369"/>
                </a:cubicBezTo>
                <a:cubicBezTo>
                  <a:pt x="19" y="371"/>
                  <a:pt x="19" y="371"/>
                  <a:pt x="19" y="371"/>
                </a:cubicBezTo>
                <a:cubicBezTo>
                  <a:pt x="19" y="373"/>
                  <a:pt x="19" y="373"/>
                  <a:pt x="19" y="373"/>
                </a:cubicBezTo>
                <a:cubicBezTo>
                  <a:pt x="18" y="374"/>
                  <a:pt x="18" y="374"/>
                  <a:pt x="18" y="374"/>
                </a:cubicBezTo>
                <a:cubicBezTo>
                  <a:pt x="17" y="374"/>
                  <a:pt x="17" y="374"/>
                  <a:pt x="17" y="374"/>
                </a:cubicBezTo>
                <a:cubicBezTo>
                  <a:pt x="16" y="375"/>
                  <a:pt x="16" y="375"/>
                  <a:pt x="16" y="375"/>
                </a:cubicBezTo>
                <a:cubicBezTo>
                  <a:pt x="17" y="375"/>
                  <a:pt x="17" y="375"/>
                  <a:pt x="17" y="375"/>
                </a:cubicBezTo>
                <a:cubicBezTo>
                  <a:pt x="18" y="375"/>
                  <a:pt x="18" y="375"/>
                  <a:pt x="18" y="375"/>
                </a:cubicBezTo>
                <a:cubicBezTo>
                  <a:pt x="19" y="375"/>
                  <a:pt x="19" y="375"/>
                  <a:pt x="19" y="375"/>
                </a:cubicBezTo>
                <a:cubicBezTo>
                  <a:pt x="19" y="376"/>
                  <a:pt x="19" y="376"/>
                  <a:pt x="19" y="376"/>
                </a:cubicBezTo>
                <a:cubicBezTo>
                  <a:pt x="18" y="376"/>
                  <a:pt x="18" y="376"/>
                  <a:pt x="18" y="376"/>
                </a:cubicBezTo>
                <a:cubicBezTo>
                  <a:pt x="17" y="378"/>
                  <a:pt x="17" y="378"/>
                  <a:pt x="17" y="378"/>
                </a:cubicBezTo>
                <a:cubicBezTo>
                  <a:pt x="17" y="379"/>
                  <a:pt x="17" y="379"/>
                  <a:pt x="17" y="379"/>
                </a:cubicBezTo>
                <a:cubicBezTo>
                  <a:pt x="17" y="381"/>
                  <a:pt x="17" y="381"/>
                  <a:pt x="17" y="381"/>
                </a:cubicBezTo>
                <a:cubicBezTo>
                  <a:pt x="18" y="383"/>
                  <a:pt x="18" y="383"/>
                  <a:pt x="18" y="383"/>
                </a:cubicBezTo>
                <a:cubicBezTo>
                  <a:pt x="18" y="385"/>
                  <a:pt x="18" y="385"/>
                  <a:pt x="18" y="385"/>
                </a:cubicBezTo>
                <a:cubicBezTo>
                  <a:pt x="19" y="384"/>
                  <a:pt x="19" y="384"/>
                  <a:pt x="19" y="384"/>
                </a:cubicBezTo>
                <a:cubicBezTo>
                  <a:pt x="19" y="385"/>
                  <a:pt x="19" y="385"/>
                  <a:pt x="19" y="385"/>
                </a:cubicBezTo>
                <a:cubicBezTo>
                  <a:pt x="19" y="386"/>
                  <a:pt x="19" y="386"/>
                  <a:pt x="19" y="386"/>
                </a:cubicBezTo>
                <a:cubicBezTo>
                  <a:pt x="17" y="386"/>
                  <a:pt x="17" y="386"/>
                  <a:pt x="17" y="386"/>
                </a:cubicBezTo>
                <a:cubicBezTo>
                  <a:pt x="15" y="382"/>
                  <a:pt x="15" y="382"/>
                  <a:pt x="15" y="382"/>
                </a:cubicBezTo>
                <a:cubicBezTo>
                  <a:pt x="15" y="380"/>
                  <a:pt x="15" y="380"/>
                  <a:pt x="15" y="380"/>
                </a:cubicBezTo>
                <a:cubicBezTo>
                  <a:pt x="15" y="379"/>
                  <a:pt x="15" y="379"/>
                  <a:pt x="15" y="379"/>
                </a:cubicBezTo>
                <a:cubicBezTo>
                  <a:pt x="14" y="379"/>
                  <a:pt x="14" y="379"/>
                  <a:pt x="14" y="379"/>
                </a:cubicBezTo>
                <a:cubicBezTo>
                  <a:pt x="14" y="378"/>
                  <a:pt x="14" y="378"/>
                  <a:pt x="14" y="378"/>
                </a:cubicBezTo>
                <a:cubicBezTo>
                  <a:pt x="14" y="377"/>
                  <a:pt x="14" y="377"/>
                  <a:pt x="14" y="377"/>
                </a:cubicBezTo>
                <a:cubicBezTo>
                  <a:pt x="16" y="377"/>
                  <a:pt x="16" y="377"/>
                  <a:pt x="16" y="377"/>
                </a:cubicBezTo>
                <a:cubicBezTo>
                  <a:pt x="14" y="376"/>
                  <a:pt x="14" y="376"/>
                  <a:pt x="14" y="376"/>
                </a:cubicBezTo>
                <a:cubicBezTo>
                  <a:pt x="14" y="376"/>
                  <a:pt x="14" y="376"/>
                  <a:pt x="14" y="376"/>
                </a:cubicBezTo>
                <a:cubicBezTo>
                  <a:pt x="14" y="374"/>
                  <a:pt x="14" y="374"/>
                  <a:pt x="14" y="374"/>
                </a:cubicBezTo>
                <a:cubicBezTo>
                  <a:pt x="13" y="373"/>
                  <a:pt x="13" y="373"/>
                  <a:pt x="13" y="373"/>
                </a:cubicBezTo>
                <a:cubicBezTo>
                  <a:pt x="14" y="372"/>
                  <a:pt x="14" y="372"/>
                  <a:pt x="14" y="372"/>
                </a:cubicBezTo>
                <a:cubicBezTo>
                  <a:pt x="15" y="373"/>
                  <a:pt x="15" y="373"/>
                  <a:pt x="15" y="373"/>
                </a:cubicBezTo>
                <a:cubicBezTo>
                  <a:pt x="15" y="373"/>
                  <a:pt x="15" y="373"/>
                  <a:pt x="15" y="373"/>
                </a:cubicBezTo>
                <a:cubicBezTo>
                  <a:pt x="15" y="372"/>
                  <a:pt x="15" y="372"/>
                  <a:pt x="15" y="372"/>
                </a:cubicBezTo>
                <a:cubicBezTo>
                  <a:pt x="14" y="371"/>
                  <a:pt x="14" y="371"/>
                  <a:pt x="14" y="371"/>
                </a:cubicBezTo>
                <a:cubicBezTo>
                  <a:pt x="13" y="371"/>
                  <a:pt x="13" y="371"/>
                  <a:pt x="13" y="371"/>
                </a:cubicBezTo>
                <a:cubicBezTo>
                  <a:pt x="13" y="370"/>
                  <a:pt x="13" y="370"/>
                  <a:pt x="13" y="370"/>
                </a:cubicBezTo>
                <a:cubicBezTo>
                  <a:pt x="14" y="368"/>
                  <a:pt x="14" y="368"/>
                  <a:pt x="14" y="368"/>
                </a:cubicBezTo>
                <a:close/>
                <a:moveTo>
                  <a:pt x="29" y="362"/>
                </a:moveTo>
                <a:cubicBezTo>
                  <a:pt x="29" y="361"/>
                  <a:pt x="29" y="361"/>
                  <a:pt x="29" y="361"/>
                </a:cubicBezTo>
                <a:cubicBezTo>
                  <a:pt x="30" y="360"/>
                  <a:pt x="30" y="360"/>
                  <a:pt x="30" y="360"/>
                </a:cubicBezTo>
                <a:cubicBezTo>
                  <a:pt x="30" y="361"/>
                  <a:pt x="30" y="361"/>
                  <a:pt x="30" y="361"/>
                </a:cubicBezTo>
                <a:cubicBezTo>
                  <a:pt x="29" y="362"/>
                  <a:pt x="29" y="362"/>
                  <a:pt x="29" y="362"/>
                </a:cubicBezTo>
                <a:close/>
                <a:moveTo>
                  <a:pt x="157" y="170"/>
                </a:moveTo>
                <a:cubicBezTo>
                  <a:pt x="158" y="171"/>
                  <a:pt x="158" y="171"/>
                  <a:pt x="158" y="171"/>
                </a:cubicBezTo>
                <a:cubicBezTo>
                  <a:pt x="158" y="171"/>
                  <a:pt x="158" y="171"/>
                  <a:pt x="158" y="171"/>
                </a:cubicBezTo>
                <a:cubicBezTo>
                  <a:pt x="158" y="170"/>
                  <a:pt x="158" y="170"/>
                  <a:pt x="158" y="170"/>
                </a:cubicBezTo>
                <a:cubicBezTo>
                  <a:pt x="159" y="170"/>
                  <a:pt x="159" y="170"/>
                  <a:pt x="159" y="170"/>
                </a:cubicBezTo>
                <a:cubicBezTo>
                  <a:pt x="157" y="170"/>
                  <a:pt x="157" y="170"/>
                  <a:pt x="157" y="170"/>
                </a:cubicBezTo>
                <a:cubicBezTo>
                  <a:pt x="157" y="170"/>
                  <a:pt x="157" y="170"/>
                  <a:pt x="157" y="170"/>
                </a:cubicBezTo>
                <a:close/>
                <a:moveTo>
                  <a:pt x="145" y="158"/>
                </a:moveTo>
                <a:cubicBezTo>
                  <a:pt x="146" y="159"/>
                  <a:pt x="146" y="159"/>
                  <a:pt x="146" y="159"/>
                </a:cubicBezTo>
                <a:cubicBezTo>
                  <a:pt x="147" y="158"/>
                  <a:pt x="147" y="158"/>
                  <a:pt x="147" y="158"/>
                </a:cubicBezTo>
                <a:cubicBezTo>
                  <a:pt x="147" y="157"/>
                  <a:pt x="147" y="157"/>
                  <a:pt x="147" y="157"/>
                </a:cubicBezTo>
                <a:cubicBezTo>
                  <a:pt x="145" y="157"/>
                  <a:pt x="145" y="157"/>
                  <a:pt x="145" y="157"/>
                </a:cubicBezTo>
                <a:cubicBezTo>
                  <a:pt x="145" y="158"/>
                  <a:pt x="145" y="158"/>
                  <a:pt x="145" y="158"/>
                </a:cubicBezTo>
                <a:close/>
                <a:moveTo>
                  <a:pt x="101" y="162"/>
                </a:moveTo>
                <a:cubicBezTo>
                  <a:pt x="101" y="162"/>
                  <a:pt x="101" y="162"/>
                  <a:pt x="101" y="162"/>
                </a:cubicBezTo>
                <a:cubicBezTo>
                  <a:pt x="102" y="161"/>
                  <a:pt x="102" y="161"/>
                  <a:pt x="102" y="161"/>
                </a:cubicBezTo>
                <a:cubicBezTo>
                  <a:pt x="101" y="161"/>
                  <a:pt x="101" y="161"/>
                  <a:pt x="101" y="161"/>
                </a:cubicBezTo>
                <a:cubicBezTo>
                  <a:pt x="101" y="161"/>
                  <a:pt x="101" y="162"/>
                  <a:pt x="101" y="162"/>
                </a:cubicBezTo>
                <a:close/>
                <a:moveTo>
                  <a:pt x="100" y="164"/>
                </a:moveTo>
                <a:cubicBezTo>
                  <a:pt x="100" y="164"/>
                  <a:pt x="100" y="164"/>
                  <a:pt x="100" y="164"/>
                </a:cubicBezTo>
                <a:cubicBezTo>
                  <a:pt x="101" y="163"/>
                  <a:pt x="101" y="163"/>
                  <a:pt x="101" y="163"/>
                </a:cubicBezTo>
                <a:cubicBezTo>
                  <a:pt x="101" y="164"/>
                  <a:pt x="101" y="164"/>
                  <a:pt x="101" y="164"/>
                </a:cubicBezTo>
                <a:cubicBezTo>
                  <a:pt x="100" y="164"/>
                  <a:pt x="100" y="164"/>
                  <a:pt x="100" y="164"/>
                </a:cubicBezTo>
                <a:close/>
                <a:moveTo>
                  <a:pt x="98" y="168"/>
                </a:moveTo>
                <a:cubicBezTo>
                  <a:pt x="98" y="170"/>
                  <a:pt x="98" y="170"/>
                  <a:pt x="98" y="170"/>
                </a:cubicBezTo>
                <a:cubicBezTo>
                  <a:pt x="98" y="171"/>
                  <a:pt x="98" y="171"/>
                  <a:pt x="98" y="171"/>
                </a:cubicBezTo>
                <a:cubicBezTo>
                  <a:pt x="98" y="172"/>
                  <a:pt x="98" y="172"/>
                  <a:pt x="98" y="172"/>
                </a:cubicBezTo>
                <a:cubicBezTo>
                  <a:pt x="99" y="172"/>
                  <a:pt x="99" y="172"/>
                  <a:pt x="99" y="172"/>
                </a:cubicBezTo>
                <a:cubicBezTo>
                  <a:pt x="100" y="171"/>
                  <a:pt x="100" y="171"/>
                  <a:pt x="100" y="171"/>
                </a:cubicBezTo>
                <a:cubicBezTo>
                  <a:pt x="101" y="171"/>
                  <a:pt x="101" y="171"/>
                  <a:pt x="101" y="171"/>
                </a:cubicBezTo>
                <a:cubicBezTo>
                  <a:pt x="105" y="168"/>
                  <a:pt x="105" y="168"/>
                  <a:pt x="105" y="168"/>
                </a:cubicBezTo>
                <a:cubicBezTo>
                  <a:pt x="107" y="167"/>
                  <a:pt x="107" y="167"/>
                  <a:pt x="107" y="167"/>
                </a:cubicBezTo>
                <a:cubicBezTo>
                  <a:pt x="108" y="165"/>
                  <a:pt x="108" y="165"/>
                  <a:pt x="108" y="165"/>
                </a:cubicBezTo>
                <a:cubicBezTo>
                  <a:pt x="107" y="166"/>
                  <a:pt x="107" y="166"/>
                  <a:pt x="107" y="166"/>
                </a:cubicBezTo>
                <a:cubicBezTo>
                  <a:pt x="106" y="165"/>
                  <a:pt x="106" y="165"/>
                  <a:pt x="106" y="165"/>
                </a:cubicBezTo>
                <a:cubicBezTo>
                  <a:pt x="106" y="163"/>
                  <a:pt x="106" y="163"/>
                  <a:pt x="106" y="163"/>
                </a:cubicBezTo>
                <a:cubicBezTo>
                  <a:pt x="105" y="163"/>
                  <a:pt x="105" y="163"/>
                  <a:pt x="105" y="163"/>
                </a:cubicBezTo>
                <a:cubicBezTo>
                  <a:pt x="104" y="165"/>
                  <a:pt x="104" y="165"/>
                  <a:pt x="104" y="165"/>
                </a:cubicBezTo>
                <a:cubicBezTo>
                  <a:pt x="103" y="165"/>
                  <a:pt x="103" y="165"/>
                  <a:pt x="103" y="165"/>
                </a:cubicBezTo>
                <a:cubicBezTo>
                  <a:pt x="103" y="166"/>
                  <a:pt x="103" y="166"/>
                  <a:pt x="103" y="166"/>
                </a:cubicBezTo>
                <a:cubicBezTo>
                  <a:pt x="102" y="166"/>
                  <a:pt x="102" y="166"/>
                  <a:pt x="102" y="166"/>
                </a:cubicBezTo>
                <a:cubicBezTo>
                  <a:pt x="102" y="167"/>
                  <a:pt x="102" y="167"/>
                  <a:pt x="102" y="167"/>
                </a:cubicBezTo>
                <a:cubicBezTo>
                  <a:pt x="102" y="168"/>
                  <a:pt x="102" y="168"/>
                  <a:pt x="102" y="168"/>
                </a:cubicBezTo>
                <a:cubicBezTo>
                  <a:pt x="101" y="167"/>
                  <a:pt x="101" y="167"/>
                  <a:pt x="101" y="167"/>
                </a:cubicBezTo>
                <a:cubicBezTo>
                  <a:pt x="101" y="166"/>
                  <a:pt x="101" y="166"/>
                  <a:pt x="101" y="166"/>
                </a:cubicBezTo>
                <a:cubicBezTo>
                  <a:pt x="101" y="165"/>
                  <a:pt x="101" y="165"/>
                  <a:pt x="101" y="165"/>
                </a:cubicBezTo>
                <a:cubicBezTo>
                  <a:pt x="100" y="166"/>
                  <a:pt x="100" y="166"/>
                  <a:pt x="100" y="166"/>
                </a:cubicBezTo>
                <a:cubicBezTo>
                  <a:pt x="99" y="166"/>
                  <a:pt x="99" y="166"/>
                  <a:pt x="99" y="166"/>
                </a:cubicBezTo>
                <a:cubicBezTo>
                  <a:pt x="99" y="167"/>
                  <a:pt x="99" y="167"/>
                  <a:pt x="99" y="167"/>
                </a:cubicBezTo>
                <a:cubicBezTo>
                  <a:pt x="98" y="168"/>
                  <a:pt x="98" y="168"/>
                  <a:pt x="98" y="168"/>
                </a:cubicBezTo>
                <a:close/>
                <a:moveTo>
                  <a:pt x="94" y="172"/>
                </a:moveTo>
                <a:cubicBezTo>
                  <a:pt x="94" y="171"/>
                  <a:pt x="94" y="171"/>
                  <a:pt x="94" y="171"/>
                </a:cubicBezTo>
                <a:cubicBezTo>
                  <a:pt x="94" y="168"/>
                  <a:pt x="94" y="168"/>
                  <a:pt x="94" y="168"/>
                </a:cubicBezTo>
                <a:cubicBezTo>
                  <a:pt x="93" y="169"/>
                  <a:pt x="93" y="169"/>
                  <a:pt x="93" y="169"/>
                </a:cubicBezTo>
                <a:cubicBezTo>
                  <a:pt x="93" y="171"/>
                  <a:pt x="93" y="171"/>
                  <a:pt x="93" y="171"/>
                </a:cubicBezTo>
                <a:cubicBezTo>
                  <a:pt x="92" y="171"/>
                  <a:pt x="92" y="171"/>
                  <a:pt x="92" y="171"/>
                </a:cubicBezTo>
                <a:cubicBezTo>
                  <a:pt x="93" y="171"/>
                  <a:pt x="93" y="171"/>
                  <a:pt x="93" y="171"/>
                </a:cubicBezTo>
                <a:cubicBezTo>
                  <a:pt x="93" y="171"/>
                  <a:pt x="94" y="172"/>
                  <a:pt x="94" y="172"/>
                </a:cubicBezTo>
                <a:close/>
                <a:moveTo>
                  <a:pt x="94" y="173"/>
                </a:moveTo>
                <a:cubicBezTo>
                  <a:pt x="95" y="172"/>
                  <a:pt x="95" y="172"/>
                  <a:pt x="95" y="172"/>
                </a:cubicBezTo>
                <a:cubicBezTo>
                  <a:pt x="95" y="171"/>
                  <a:pt x="95" y="171"/>
                  <a:pt x="95" y="171"/>
                </a:cubicBezTo>
                <a:cubicBezTo>
                  <a:pt x="95" y="170"/>
                  <a:pt x="95" y="170"/>
                  <a:pt x="95" y="170"/>
                </a:cubicBezTo>
                <a:cubicBezTo>
                  <a:pt x="95" y="168"/>
                  <a:pt x="95" y="168"/>
                  <a:pt x="95" y="168"/>
                </a:cubicBezTo>
                <a:cubicBezTo>
                  <a:pt x="95" y="167"/>
                  <a:pt x="95" y="167"/>
                  <a:pt x="95" y="167"/>
                </a:cubicBezTo>
                <a:cubicBezTo>
                  <a:pt x="96" y="167"/>
                  <a:pt x="96" y="167"/>
                  <a:pt x="96" y="167"/>
                </a:cubicBezTo>
                <a:cubicBezTo>
                  <a:pt x="96" y="167"/>
                  <a:pt x="96" y="167"/>
                  <a:pt x="96" y="167"/>
                </a:cubicBezTo>
                <a:cubicBezTo>
                  <a:pt x="97" y="166"/>
                  <a:pt x="97" y="166"/>
                  <a:pt x="97" y="166"/>
                </a:cubicBezTo>
                <a:cubicBezTo>
                  <a:pt x="97" y="168"/>
                  <a:pt x="97" y="168"/>
                  <a:pt x="97" y="168"/>
                </a:cubicBezTo>
                <a:cubicBezTo>
                  <a:pt x="97" y="171"/>
                  <a:pt x="97" y="171"/>
                  <a:pt x="97" y="171"/>
                </a:cubicBezTo>
                <a:cubicBezTo>
                  <a:pt x="97" y="172"/>
                  <a:pt x="97" y="172"/>
                  <a:pt x="97" y="172"/>
                </a:cubicBezTo>
                <a:cubicBezTo>
                  <a:pt x="97" y="173"/>
                  <a:pt x="97" y="173"/>
                  <a:pt x="97" y="173"/>
                </a:cubicBezTo>
                <a:cubicBezTo>
                  <a:pt x="96" y="174"/>
                  <a:pt x="96" y="174"/>
                  <a:pt x="96" y="174"/>
                </a:cubicBezTo>
                <a:cubicBezTo>
                  <a:pt x="94" y="173"/>
                  <a:pt x="94" y="173"/>
                  <a:pt x="94" y="173"/>
                </a:cubicBezTo>
                <a:close/>
                <a:moveTo>
                  <a:pt x="96" y="179"/>
                </a:moveTo>
                <a:cubicBezTo>
                  <a:pt x="97" y="178"/>
                  <a:pt x="97" y="178"/>
                  <a:pt x="97" y="178"/>
                </a:cubicBezTo>
                <a:cubicBezTo>
                  <a:pt x="96" y="176"/>
                  <a:pt x="96" y="176"/>
                  <a:pt x="96" y="176"/>
                </a:cubicBezTo>
                <a:cubicBezTo>
                  <a:pt x="96" y="174"/>
                  <a:pt x="96" y="174"/>
                  <a:pt x="96" y="174"/>
                </a:cubicBezTo>
                <a:cubicBezTo>
                  <a:pt x="95" y="174"/>
                  <a:pt x="95" y="174"/>
                  <a:pt x="95" y="174"/>
                </a:cubicBezTo>
                <a:cubicBezTo>
                  <a:pt x="93" y="172"/>
                  <a:pt x="93" y="172"/>
                  <a:pt x="93" y="172"/>
                </a:cubicBezTo>
                <a:cubicBezTo>
                  <a:pt x="92" y="173"/>
                  <a:pt x="92" y="173"/>
                  <a:pt x="92" y="173"/>
                </a:cubicBezTo>
                <a:cubicBezTo>
                  <a:pt x="92" y="173"/>
                  <a:pt x="92" y="173"/>
                  <a:pt x="92" y="173"/>
                </a:cubicBezTo>
                <a:cubicBezTo>
                  <a:pt x="94" y="175"/>
                  <a:pt x="94" y="175"/>
                  <a:pt x="94" y="175"/>
                </a:cubicBezTo>
                <a:cubicBezTo>
                  <a:pt x="93" y="175"/>
                  <a:pt x="93" y="175"/>
                  <a:pt x="93" y="175"/>
                </a:cubicBezTo>
                <a:cubicBezTo>
                  <a:pt x="93" y="176"/>
                  <a:pt x="93" y="176"/>
                  <a:pt x="93" y="176"/>
                </a:cubicBezTo>
                <a:cubicBezTo>
                  <a:pt x="94" y="177"/>
                  <a:pt x="94" y="177"/>
                  <a:pt x="94" y="177"/>
                </a:cubicBezTo>
                <a:cubicBezTo>
                  <a:pt x="96" y="179"/>
                  <a:pt x="96" y="179"/>
                  <a:pt x="96" y="179"/>
                </a:cubicBezTo>
                <a:close/>
                <a:moveTo>
                  <a:pt x="82" y="156"/>
                </a:moveTo>
                <a:cubicBezTo>
                  <a:pt x="83" y="158"/>
                  <a:pt x="83" y="158"/>
                  <a:pt x="83" y="158"/>
                </a:cubicBezTo>
                <a:cubicBezTo>
                  <a:pt x="84" y="158"/>
                  <a:pt x="84" y="158"/>
                  <a:pt x="84" y="158"/>
                </a:cubicBezTo>
                <a:cubicBezTo>
                  <a:pt x="85" y="158"/>
                  <a:pt x="85" y="158"/>
                  <a:pt x="85" y="158"/>
                </a:cubicBezTo>
                <a:cubicBezTo>
                  <a:pt x="85" y="158"/>
                  <a:pt x="85" y="158"/>
                  <a:pt x="85" y="158"/>
                </a:cubicBezTo>
                <a:cubicBezTo>
                  <a:pt x="84" y="156"/>
                  <a:pt x="84" y="156"/>
                  <a:pt x="84" y="156"/>
                </a:cubicBezTo>
                <a:cubicBezTo>
                  <a:pt x="83" y="156"/>
                  <a:pt x="83" y="156"/>
                  <a:pt x="83" y="156"/>
                </a:cubicBezTo>
                <a:cubicBezTo>
                  <a:pt x="82" y="156"/>
                  <a:pt x="82" y="156"/>
                  <a:pt x="82" y="156"/>
                </a:cubicBezTo>
                <a:close/>
                <a:moveTo>
                  <a:pt x="56" y="425"/>
                </a:moveTo>
                <a:cubicBezTo>
                  <a:pt x="56" y="425"/>
                  <a:pt x="56" y="425"/>
                  <a:pt x="56" y="425"/>
                </a:cubicBezTo>
                <a:cubicBezTo>
                  <a:pt x="55" y="424"/>
                  <a:pt x="55" y="424"/>
                  <a:pt x="55" y="424"/>
                </a:cubicBezTo>
                <a:cubicBezTo>
                  <a:pt x="54" y="422"/>
                  <a:pt x="54" y="422"/>
                  <a:pt x="54" y="422"/>
                </a:cubicBezTo>
                <a:cubicBezTo>
                  <a:pt x="56" y="420"/>
                  <a:pt x="56" y="420"/>
                  <a:pt x="56" y="420"/>
                </a:cubicBezTo>
                <a:cubicBezTo>
                  <a:pt x="56" y="418"/>
                  <a:pt x="56" y="418"/>
                  <a:pt x="56" y="418"/>
                </a:cubicBezTo>
                <a:cubicBezTo>
                  <a:pt x="55" y="419"/>
                  <a:pt x="55" y="419"/>
                  <a:pt x="55" y="419"/>
                </a:cubicBezTo>
                <a:cubicBezTo>
                  <a:pt x="54" y="419"/>
                  <a:pt x="54" y="419"/>
                  <a:pt x="54" y="419"/>
                </a:cubicBezTo>
                <a:cubicBezTo>
                  <a:pt x="52" y="420"/>
                  <a:pt x="52" y="420"/>
                  <a:pt x="52" y="420"/>
                </a:cubicBezTo>
                <a:cubicBezTo>
                  <a:pt x="51" y="419"/>
                  <a:pt x="51" y="419"/>
                  <a:pt x="51" y="419"/>
                </a:cubicBezTo>
                <a:cubicBezTo>
                  <a:pt x="51" y="417"/>
                  <a:pt x="51" y="417"/>
                  <a:pt x="51" y="417"/>
                </a:cubicBezTo>
                <a:cubicBezTo>
                  <a:pt x="52" y="417"/>
                  <a:pt x="52" y="417"/>
                  <a:pt x="52" y="417"/>
                </a:cubicBezTo>
                <a:cubicBezTo>
                  <a:pt x="52" y="418"/>
                  <a:pt x="52" y="418"/>
                  <a:pt x="52" y="418"/>
                </a:cubicBezTo>
                <a:cubicBezTo>
                  <a:pt x="53" y="419"/>
                  <a:pt x="53" y="419"/>
                  <a:pt x="53" y="419"/>
                </a:cubicBezTo>
                <a:cubicBezTo>
                  <a:pt x="53" y="418"/>
                  <a:pt x="53" y="418"/>
                  <a:pt x="53" y="418"/>
                </a:cubicBezTo>
                <a:cubicBezTo>
                  <a:pt x="52" y="417"/>
                  <a:pt x="52" y="417"/>
                  <a:pt x="52" y="417"/>
                </a:cubicBezTo>
                <a:cubicBezTo>
                  <a:pt x="52" y="416"/>
                  <a:pt x="52" y="416"/>
                  <a:pt x="52" y="416"/>
                </a:cubicBezTo>
                <a:cubicBezTo>
                  <a:pt x="51" y="416"/>
                  <a:pt x="51" y="416"/>
                  <a:pt x="51" y="416"/>
                </a:cubicBezTo>
                <a:cubicBezTo>
                  <a:pt x="50" y="416"/>
                  <a:pt x="50" y="416"/>
                  <a:pt x="50" y="416"/>
                </a:cubicBezTo>
                <a:cubicBezTo>
                  <a:pt x="49" y="416"/>
                  <a:pt x="49" y="416"/>
                  <a:pt x="49" y="416"/>
                </a:cubicBezTo>
                <a:cubicBezTo>
                  <a:pt x="48" y="414"/>
                  <a:pt x="48" y="414"/>
                  <a:pt x="48" y="414"/>
                </a:cubicBezTo>
                <a:cubicBezTo>
                  <a:pt x="48" y="413"/>
                  <a:pt x="48" y="413"/>
                  <a:pt x="48" y="413"/>
                </a:cubicBezTo>
                <a:cubicBezTo>
                  <a:pt x="50" y="412"/>
                  <a:pt x="50" y="412"/>
                  <a:pt x="50" y="412"/>
                </a:cubicBezTo>
                <a:cubicBezTo>
                  <a:pt x="50" y="411"/>
                  <a:pt x="50" y="411"/>
                  <a:pt x="50" y="411"/>
                </a:cubicBezTo>
                <a:cubicBezTo>
                  <a:pt x="51" y="410"/>
                  <a:pt x="51" y="410"/>
                  <a:pt x="51" y="410"/>
                </a:cubicBezTo>
                <a:cubicBezTo>
                  <a:pt x="51" y="410"/>
                  <a:pt x="51" y="410"/>
                  <a:pt x="51" y="410"/>
                </a:cubicBezTo>
                <a:cubicBezTo>
                  <a:pt x="50" y="410"/>
                  <a:pt x="50" y="410"/>
                  <a:pt x="50" y="410"/>
                </a:cubicBezTo>
                <a:cubicBezTo>
                  <a:pt x="48" y="410"/>
                  <a:pt x="48" y="410"/>
                  <a:pt x="48" y="410"/>
                </a:cubicBezTo>
                <a:cubicBezTo>
                  <a:pt x="48" y="410"/>
                  <a:pt x="48" y="410"/>
                  <a:pt x="48" y="410"/>
                </a:cubicBezTo>
                <a:cubicBezTo>
                  <a:pt x="49" y="409"/>
                  <a:pt x="49" y="409"/>
                  <a:pt x="49" y="409"/>
                </a:cubicBezTo>
                <a:cubicBezTo>
                  <a:pt x="50" y="407"/>
                  <a:pt x="50" y="407"/>
                  <a:pt x="50" y="407"/>
                </a:cubicBezTo>
                <a:cubicBezTo>
                  <a:pt x="50" y="405"/>
                  <a:pt x="50" y="405"/>
                  <a:pt x="50" y="405"/>
                </a:cubicBezTo>
                <a:cubicBezTo>
                  <a:pt x="50" y="405"/>
                  <a:pt x="50" y="405"/>
                  <a:pt x="50" y="405"/>
                </a:cubicBezTo>
                <a:cubicBezTo>
                  <a:pt x="50" y="404"/>
                  <a:pt x="50" y="404"/>
                  <a:pt x="50" y="404"/>
                </a:cubicBezTo>
                <a:cubicBezTo>
                  <a:pt x="50" y="404"/>
                  <a:pt x="50" y="404"/>
                  <a:pt x="50" y="404"/>
                </a:cubicBezTo>
                <a:cubicBezTo>
                  <a:pt x="49" y="405"/>
                  <a:pt x="49" y="405"/>
                  <a:pt x="49" y="405"/>
                </a:cubicBezTo>
                <a:cubicBezTo>
                  <a:pt x="49" y="407"/>
                  <a:pt x="49" y="407"/>
                  <a:pt x="49" y="407"/>
                </a:cubicBezTo>
                <a:cubicBezTo>
                  <a:pt x="48" y="409"/>
                  <a:pt x="48" y="409"/>
                  <a:pt x="48" y="409"/>
                </a:cubicBezTo>
                <a:cubicBezTo>
                  <a:pt x="47" y="409"/>
                  <a:pt x="47" y="409"/>
                  <a:pt x="47" y="409"/>
                </a:cubicBezTo>
                <a:cubicBezTo>
                  <a:pt x="46" y="409"/>
                  <a:pt x="46" y="409"/>
                  <a:pt x="46" y="409"/>
                </a:cubicBezTo>
                <a:cubicBezTo>
                  <a:pt x="45" y="409"/>
                  <a:pt x="45" y="409"/>
                  <a:pt x="45" y="409"/>
                </a:cubicBezTo>
                <a:cubicBezTo>
                  <a:pt x="45" y="408"/>
                  <a:pt x="45" y="408"/>
                  <a:pt x="45" y="408"/>
                </a:cubicBezTo>
                <a:cubicBezTo>
                  <a:pt x="46" y="407"/>
                  <a:pt x="46" y="407"/>
                  <a:pt x="46" y="407"/>
                </a:cubicBezTo>
                <a:cubicBezTo>
                  <a:pt x="46" y="407"/>
                  <a:pt x="46" y="407"/>
                  <a:pt x="46" y="407"/>
                </a:cubicBezTo>
                <a:cubicBezTo>
                  <a:pt x="45" y="407"/>
                  <a:pt x="45" y="407"/>
                  <a:pt x="45" y="407"/>
                </a:cubicBezTo>
                <a:cubicBezTo>
                  <a:pt x="44" y="408"/>
                  <a:pt x="44" y="408"/>
                  <a:pt x="44" y="408"/>
                </a:cubicBezTo>
                <a:cubicBezTo>
                  <a:pt x="44" y="408"/>
                  <a:pt x="44" y="408"/>
                  <a:pt x="44" y="408"/>
                </a:cubicBezTo>
                <a:cubicBezTo>
                  <a:pt x="44" y="408"/>
                  <a:pt x="44" y="408"/>
                  <a:pt x="44" y="408"/>
                </a:cubicBezTo>
                <a:cubicBezTo>
                  <a:pt x="43" y="408"/>
                  <a:pt x="43" y="408"/>
                  <a:pt x="43" y="408"/>
                </a:cubicBezTo>
                <a:cubicBezTo>
                  <a:pt x="42" y="408"/>
                  <a:pt x="42" y="408"/>
                  <a:pt x="42" y="408"/>
                </a:cubicBezTo>
                <a:cubicBezTo>
                  <a:pt x="41" y="408"/>
                  <a:pt x="41" y="408"/>
                  <a:pt x="41" y="408"/>
                </a:cubicBezTo>
                <a:cubicBezTo>
                  <a:pt x="41" y="407"/>
                  <a:pt x="41" y="407"/>
                  <a:pt x="41" y="407"/>
                </a:cubicBezTo>
                <a:cubicBezTo>
                  <a:pt x="42" y="406"/>
                  <a:pt x="42" y="406"/>
                  <a:pt x="42" y="406"/>
                </a:cubicBezTo>
                <a:cubicBezTo>
                  <a:pt x="43" y="406"/>
                  <a:pt x="43" y="406"/>
                  <a:pt x="43" y="406"/>
                </a:cubicBezTo>
                <a:cubicBezTo>
                  <a:pt x="45" y="406"/>
                  <a:pt x="45" y="406"/>
                  <a:pt x="45" y="406"/>
                </a:cubicBezTo>
                <a:cubicBezTo>
                  <a:pt x="46" y="405"/>
                  <a:pt x="46" y="405"/>
                  <a:pt x="46" y="405"/>
                </a:cubicBezTo>
                <a:cubicBezTo>
                  <a:pt x="47" y="404"/>
                  <a:pt x="47" y="404"/>
                  <a:pt x="47" y="404"/>
                </a:cubicBezTo>
                <a:cubicBezTo>
                  <a:pt x="47" y="402"/>
                  <a:pt x="47" y="402"/>
                  <a:pt x="47" y="402"/>
                </a:cubicBezTo>
                <a:cubicBezTo>
                  <a:pt x="47" y="403"/>
                  <a:pt x="47" y="403"/>
                  <a:pt x="47" y="403"/>
                </a:cubicBezTo>
                <a:cubicBezTo>
                  <a:pt x="46" y="404"/>
                  <a:pt x="46" y="404"/>
                  <a:pt x="46" y="404"/>
                </a:cubicBezTo>
                <a:cubicBezTo>
                  <a:pt x="45" y="405"/>
                  <a:pt x="45" y="405"/>
                  <a:pt x="45" y="405"/>
                </a:cubicBezTo>
                <a:cubicBezTo>
                  <a:pt x="44" y="406"/>
                  <a:pt x="44" y="406"/>
                  <a:pt x="44" y="406"/>
                </a:cubicBezTo>
                <a:cubicBezTo>
                  <a:pt x="42" y="405"/>
                  <a:pt x="42" y="405"/>
                  <a:pt x="42" y="405"/>
                </a:cubicBezTo>
                <a:cubicBezTo>
                  <a:pt x="42" y="404"/>
                  <a:pt x="42" y="404"/>
                  <a:pt x="42" y="404"/>
                </a:cubicBezTo>
                <a:cubicBezTo>
                  <a:pt x="41" y="404"/>
                  <a:pt x="41" y="404"/>
                  <a:pt x="41" y="404"/>
                </a:cubicBezTo>
                <a:cubicBezTo>
                  <a:pt x="41" y="404"/>
                  <a:pt x="41" y="404"/>
                  <a:pt x="41" y="404"/>
                </a:cubicBezTo>
                <a:cubicBezTo>
                  <a:pt x="42" y="403"/>
                  <a:pt x="42" y="403"/>
                  <a:pt x="42" y="403"/>
                </a:cubicBezTo>
                <a:cubicBezTo>
                  <a:pt x="41" y="403"/>
                  <a:pt x="41" y="403"/>
                  <a:pt x="41" y="403"/>
                </a:cubicBezTo>
                <a:cubicBezTo>
                  <a:pt x="40" y="403"/>
                  <a:pt x="40" y="403"/>
                  <a:pt x="40" y="403"/>
                </a:cubicBezTo>
                <a:cubicBezTo>
                  <a:pt x="39" y="403"/>
                  <a:pt x="39" y="403"/>
                  <a:pt x="39" y="403"/>
                </a:cubicBezTo>
                <a:cubicBezTo>
                  <a:pt x="38" y="403"/>
                  <a:pt x="38" y="403"/>
                  <a:pt x="38" y="403"/>
                </a:cubicBezTo>
                <a:cubicBezTo>
                  <a:pt x="38" y="404"/>
                  <a:pt x="38" y="404"/>
                  <a:pt x="38" y="404"/>
                </a:cubicBezTo>
                <a:cubicBezTo>
                  <a:pt x="36" y="403"/>
                  <a:pt x="36" y="403"/>
                  <a:pt x="36" y="403"/>
                </a:cubicBezTo>
                <a:cubicBezTo>
                  <a:pt x="36" y="402"/>
                  <a:pt x="36" y="402"/>
                  <a:pt x="36" y="402"/>
                </a:cubicBezTo>
                <a:cubicBezTo>
                  <a:pt x="36" y="401"/>
                  <a:pt x="36" y="401"/>
                  <a:pt x="36" y="401"/>
                </a:cubicBezTo>
                <a:cubicBezTo>
                  <a:pt x="37" y="402"/>
                  <a:pt x="37" y="402"/>
                  <a:pt x="37" y="402"/>
                </a:cubicBezTo>
                <a:cubicBezTo>
                  <a:pt x="38" y="402"/>
                  <a:pt x="38" y="402"/>
                  <a:pt x="38" y="402"/>
                </a:cubicBezTo>
                <a:cubicBezTo>
                  <a:pt x="40" y="402"/>
                  <a:pt x="40" y="402"/>
                  <a:pt x="40" y="402"/>
                </a:cubicBezTo>
                <a:cubicBezTo>
                  <a:pt x="40" y="401"/>
                  <a:pt x="40" y="401"/>
                  <a:pt x="40" y="401"/>
                </a:cubicBezTo>
                <a:cubicBezTo>
                  <a:pt x="39" y="401"/>
                  <a:pt x="39" y="401"/>
                  <a:pt x="39" y="401"/>
                </a:cubicBezTo>
                <a:cubicBezTo>
                  <a:pt x="38" y="401"/>
                  <a:pt x="38" y="401"/>
                  <a:pt x="38" y="401"/>
                </a:cubicBezTo>
                <a:cubicBezTo>
                  <a:pt x="37" y="401"/>
                  <a:pt x="37" y="401"/>
                  <a:pt x="37" y="401"/>
                </a:cubicBezTo>
                <a:cubicBezTo>
                  <a:pt x="37" y="401"/>
                  <a:pt x="37" y="401"/>
                  <a:pt x="37" y="401"/>
                </a:cubicBezTo>
                <a:cubicBezTo>
                  <a:pt x="39" y="401"/>
                  <a:pt x="39" y="401"/>
                  <a:pt x="39" y="401"/>
                </a:cubicBezTo>
                <a:cubicBezTo>
                  <a:pt x="40" y="401"/>
                  <a:pt x="40" y="401"/>
                  <a:pt x="40" y="401"/>
                </a:cubicBezTo>
                <a:cubicBezTo>
                  <a:pt x="40" y="400"/>
                  <a:pt x="40" y="400"/>
                  <a:pt x="40" y="400"/>
                </a:cubicBezTo>
                <a:cubicBezTo>
                  <a:pt x="38" y="400"/>
                  <a:pt x="38" y="400"/>
                  <a:pt x="38" y="400"/>
                </a:cubicBezTo>
                <a:cubicBezTo>
                  <a:pt x="38" y="400"/>
                  <a:pt x="38" y="400"/>
                  <a:pt x="38" y="400"/>
                </a:cubicBezTo>
                <a:cubicBezTo>
                  <a:pt x="36" y="400"/>
                  <a:pt x="36" y="400"/>
                  <a:pt x="36" y="400"/>
                </a:cubicBezTo>
                <a:cubicBezTo>
                  <a:pt x="35" y="400"/>
                  <a:pt x="35" y="400"/>
                  <a:pt x="35" y="400"/>
                </a:cubicBezTo>
                <a:cubicBezTo>
                  <a:pt x="35" y="399"/>
                  <a:pt x="35" y="399"/>
                  <a:pt x="35" y="399"/>
                </a:cubicBezTo>
                <a:cubicBezTo>
                  <a:pt x="35" y="398"/>
                  <a:pt x="35" y="398"/>
                  <a:pt x="35" y="398"/>
                </a:cubicBezTo>
                <a:cubicBezTo>
                  <a:pt x="36" y="398"/>
                  <a:pt x="36" y="398"/>
                  <a:pt x="36" y="398"/>
                </a:cubicBezTo>
                <a:cubicBezTo>
                  <a:pt x="37" y="399"/>
                  <a:pt x="37" y="399"/>
                  <a:pt x="37" y="399"/>
                </a:cubicBezTo>
                <a:cubicBezTo>
                  <a:pt x="38" y="399"/>
                  <a:pt x="38" y="399"/>
                  <a:pt x="38" y="399"/>
                </a:cubicBezTo>
                <a:cubicBezTo>
                  <a:pt x="39" y="398"/>
                  <a:pt x="39" y="398"/>
                  <a:pt x="39" y="398"/>
                </a:cubicBezTo>
                <a:cubicBezTo>
                  <a:pt x="38" y="398"/>
                  <a:pt x="38" y="398"/>
                  <a:pt x="38" y="398"/>
                </a:cubicBezTo>
                <a:cubicBezTo>
                  <a:pt x="37" y="398"/>
                  <a:pt x="37" y="398"/>
                  <a:pt x="37" y="398"/>
                </a:cubicBezTo>
                <a:cubicBezTo>
                  <a:pt x="35" y="397"/>
                  <a:pt x="35" y="397"/>
                  <a:pt x="35" y="397"/>
                </a:cubicBezTo>
                <a:cubicBezTo>
                  <a:pt x="35" y="397"/>
                  <a:pt x="35" y="397"/>
                  <a:pt x="35" y="397"/>
                </a:cubicBezTo>
                <a:cubicBezTo>
                  <a:pt x="37" y="397"/>
                  <a:pt x="37" y="397"/>
                  <a:pt x="37" y="397"/>
                </a:cubicBezTo>
                <a:cubicBezTo>
                  <a:pt x="38" y="397"/>
                  <a:pt x="38" y="397"/>
                  <a:pt x="38" y="397"/>
                </a:cubicBezTo>
                <a:cubicBezTo>
                  <a:pt x="39" y="397"/>
                  <a:pt x="39" y="397"/>
                  <a:pt x="39" y="397"/>
                </a:cubicBezTo>
                <a:cubicBezTo>
                  <a:pt x="38" y="396"/>
                  <a:pt x="38" y="396"/>
                  <a:pt x="38" y="396"/>
                </a:cubicBezTo>
                <a:cubicBezTo>
                  <a:pt x="38" y="395"/>
                  <a:pt x="38" y="395"/>
                  <a:pt x="38" y="395"/>
                </a:cubicBezTo>
                <a:cubicBezTo>
                  <a:pt x="39" y="395"/>
                  <a:pt x="39" y="395"/>
                  <a:pt x="39" y="395"/>
                </a:cubicBezTo>
                <a:cubicBezTo>
                  <a:pt x="41" y="395"/>
                  <a:pt x="41" y="395"/>
                  <a:pt x="41" y="395"/>
                </a:cubicBezTo>
                <a:cubicBezTo>
                  <a:pt x="42" y="395"/>
                  <a:pt x="42" y="395"/>
                  <a:pt x="42" y="395"/>
                </a:cubicBezTo>
                <a:cubicBezTo>
                  <a:pt x="42" y="395"/>
                  <a:pt x="42" y="395"/>
                  <a:pt x="42" y="395"/>
                </a:cubicBezTo>
                <a:cubicBezTo>
                  <a:pt x="40" y="394"/>
                  <a:pt x="40" y="394"/>
                  <a:pt x="40" y="394"/>
                </a:cubicBezTo>
                <a:cubicBezTo>
                  <a:pt x="40" y="394"/>
                  <a:pt x="40" y="394"/>
                  <a:pt x="40" y="394"/>
                </a:cubicBezTo>
                <a:cubicBezTo>
                  <a:pt x="39" y="394"/>
                  <a:pt x="39" y="394"/>
                  <a:pt x="39" y="394"/>
                </a:cubicBezTo>
                <a:cubicBezTo>
                  <a:pt x="38" y="395"/>
                  <a:pt x="38" y="395"/>
                  <a:pt x="38" y="395"/>
                </a:cubicBezTo>
                <a:cubicBezTo>
                  <a:pt x="37" y="395"/>
                  <a:pt x="37" y="395"/>
                  <a:pt x="37" y="395"/>
                </a:cubicBezTo>
                <a:cubicBezTo>
                  <a:pt x="36" y="396"/>
                  <a:pt x="36" y="396"/>
                  <a:pt x="36" y="396"/>
                </a:cubicBezTo>
                <a:cubicBezTo>
                  <a:pt x="36" y="395"/>
                  <a:pt x="36" y="395"/>
                  <a:pt x="36" y="395"/>
                </a:cubicBezTo>
                <a:cubicBezTo>
                  <a:pt x="36" y="394"/>
                  <a:pt x="36" y="394"/>
                  <a:pt x="36" y="394"/>
                </a:cubicBezTo>
                <a:cubicBezTo>
                  <a:pt x="36" y="394"/>
                  <a:pt x="36" y="394"/>
                  <a:pt x="36" y="394"/>
                </a:cubicBezTo>
                <a:cubicBezTo>
                  <a:pt x="36" y="393"/>
                  <a:pt x="36" y="393"/>
                  <a:pt x="36" y="393"/>
                </a:cubicBezTo>
                <a:cubicBezTo>
                  <a:pt x="38" y="392"/>
                  <a:pt x="38" y="392"/>
                  <a:pt x="38" y="392"/>
                </a:cubicBezTo>
                <a:cubicBezTo>
                  <a:pt x="39" y="391"/>
                  <a:pt x="39" y="391"/>
                  <a:pt x="39" y="391"/>
                </a:cubicBezTo>
                <a:cubicBezTo>
                  <a:pt x="42" y="389"/>
                  <a:pt x="42" y="389"/>
                  <a:pt x="42" y="389"/>
                </a:cubicBezTo>
                <a:cubicBezTo>
                  <a:pt x="42" y="388"/>
                  <a:pt x="42" y="388"/>
                  <a:pt x="42" y="388"/>
                </a:cubicBezTo>
                <a:cubicBezTo>
                  <a:pt x="43" y="389"/>
                  <a:pt x="43" y="389"/>
                  <a:pt x="43" y="389"/>
                </a:cubicBezTo>
                <a:cubicBezTo>
                  <a:pt x="43" y="391"/>
                  <a:pt x="43" y="391"/>
                  <a:pt x="43" y="391"/>
                </a:cubicBezTo>
                <a:cubicBezTo>
                  <a:pt x="44" y="392"/>
                  <a:pt x="44" y="392"/>
                  <a:pt x="44" y="392"/>
                </a:cubicBezTo>
                <a:cubicBezTo>
                  <a:pt x="44" y="391"/>
                  <a:pt x="44" y="391"/>
                  <a:pt x="44" y="391"/>
                </a:cubicBezTo>
                <a:cubicBezTo>
                  <a:pt x="44" y="390"/>
                  <a:pt x="44" y="390"/>
                  <a:pt x="44" y="390"/>
                </a:cubicBezTo>
                <a:cubicBezTo>
                  <a:pt x="44" y="388"/>
                  <a:pt x="44" y="388"/>
                  <a:pt x="44" y="388"/>
                </a:cubicBezTo>
                <a:cubicBezTo>
                  <a:pt x="45" y="388"/>
                  <a:pt x="45" y="388"/>
                  <a:pt x="45" y="388"/>
                </a:cubicBezTo>
                <a:cubicBezTo>
                  <a:pt x="46" y="388"/>
                  <a:pt x="46" y="388"/>
                  <a:pt x="46" y="388"/>
                </a:cubicBezTo>
                <a:cubicBezTo>
                  <a:pt x="45" y="387"/>
                  <a:pt x="45" y="387"/>
                  <a:pt x="45" y="387"/>
                </a:cubicBezTo>
                <a:cubicBezTo>
                  <a:pt x="44" y="387"/>
                  <a:pt x="44" y="387"/>
                  <a:pt x="44" y="387"/>
                </a:cubicBezTo>
                <a:cubicBezTo>
                  <a:pt x="43" y="388"/>
                  <a:pt x="43" y="388"/>
                  <a:pt x="43" y="388"/>
                </a:cubicBezTo>
                <a:cubicBezTo>
                  <a:pt x="42" y="387"/>
                  <a:pt x="42" y="387"/>
                  <a:pt x="42" y="387"/>
                </a:cubicBezTo>
                <a:cubicBezTo>
                  <a:pt x="42" y="386"/>
                  <a:pt x="42" y="386"/>
                  <a:pt x="42" y="386"/>
                </a:cubicBezTo>
                <a:cubicBezTo>
                  <a:pt x="44" y="385"/>
                  <a:pt x="44" y="385"/>
                  <a:pt x="44" y="385"/>
                </a:cubicBezTo>
                <a:cubicBezTo>
                  <a:pt x="45" y="385"/>
                  <a:pt x="45" y="385"/>
                  <a:pt x="45" y="385"/>
                </a:cubicBezTo>
                <a:cubicBezTo>
                  <a:pt x="46" y="383"/>
                  <a:pt x="46" y="383"/>
                  <a:pt x="46" y="383"/>
                </a:cubicBezTo>
                <a:cubicBezTo>
                  <a:pt x="46" y="382"/>
                  <a:pt x="46" y="382"/>
                  <a:pt x="46" y="382"/>
                </a:cubicBezTo>
                <a:cubicBezTo>
                  <a:pt x="45" y="382"/>
                  <a:pt x="45" y="382"/>
                  <a:pt x="45" y="382"/>
                </a:cubicBezTo>
                <a:cubicBezTo>
                  <a:pt x="45" y="383"/>
                  <a:pt x="45" y="383"/>
                  <a:pt x="45" y="383"/>
                </a:cubicBezTo>
                <a:cubicBezTo>
                  <a:pt x="44" y="384"/>
                  <a:pt x="44" y="384"/>
                  <a:pt x="44" y="384"/>
                </a:cubicBezTo>
                <a:cubicBezTo>
                  <a:pt x="43" y="384"/>
                  <a:pt x="43" y="384"/>
                  <a:pt x="43" y="384"/>
                </a:cubicBezTo>
                <a:cubicBezTo>
                  <a:pt x="41" y="386"/>
                  <a:pt x="41" y="386"/>
                  <a:pt x="41" y="386"/>
                </a:cubicBezTo>
                <a:cubicBezTo>
                  <a:pt x="40" y="387"/>
                  <a:pt x="40" y="387"/>
                  <a:pt x="40" y="387"/>
                </a:cubicBezTo>
                <a:cubicBezTo>
                  <a:pt x="38" y="388"/>
                  <a:pt x="38" y="388"/>
                  <a:pt x="38" y="388"/>
                </a:cubicBezTo>
                <a:cubicBezTo>
                  <a:pt x="37" y="387"/>
                  <a:pt x="37" y="387"/>
                  <a:pt x="37" y="387"/>
                </a:cubicBezTo>
                <a:cubicBezTo>
                  <a:pt x="37" y="386"/>
                  <a:pt x="37" y="386"/>
                  <a:pt x="37" y="386"/>
                </a:cubicBezTo>
                <a:cubicBezTo>
                  <a:pt x="38" y="386"/>
                  <a:pt x="38" y="386"/>
                  <a:pt x="38" y="386"/>
                </a:cubicBezTo>
                <a:cubicBezTo>
                  <a:pt x="37" y="386"/>
                  <a:pt x="37" y="386"/>
                  <a:pt x="37" y="386"/>
                </a:cubicBezTo>
                <a:cubicBezTo>
                  <a:pt x="36" y="386"/>
                  <a:pt x="36" y="386"/>
                  <a:pt x="36" y="386"/>
                </a:cubicBezTo>
                <a:cubicBezTo>
                  <a:pt x="35" y="386"/>
                  <a:pt x="35" y="386"/>
                  <a:pt x="35" y="386"/>
                </a:cubicBezTo>
                <a:cubicBezTo>
                  <a:pt x="35" y="385"/>
                  <a:pt x="35" y="385"/>
                  <a:pt x="35" y="385"/>
                </a:cubicBezTo>
                <a:cubicBezTo>
                  <a:pt x="37" y="384"/>
                  <a:pt x="37" y="384"/>
                  <a:pt x="37" y="384"/>
                </a:cubicBezTo>
                <a:cubicBezTo>
                  <a:pt x="38" y="384"/>
                  <a:pt x="38" y="384"/>
                  <a:pt x="38" y="384"/>
                </a:cubicBezTo>
                <a:cubicBezTo>
                  <a:pt x="39" y="384"/>
                  <a:pt x="39" y="384"/>
                  <a:pt x="39" y="384"/>
                </a:cubicBezTo>
                <a:cubicBezTo>
                  <a:pt x="39" y="383"/>
                  <a:pt x="39" y="383"/>
                  <a:pt x="39" y="383"/>
                </a:cubicBezTo>
                <a:cubicBezTo>
                  <a:pt x="39" y="383"/>
                  <a:pt x="39" y="383"/>
                  <a:pt x="39" y="383"/>
                </a:cubicBezTo>
                <a:cubicBezTo>
                  <a:pt x="39" y="382"/>
                  <a:pt x="39" y="382"/>
                  <a:pt x="39" y="382"/>
                </a:cubicBezTo>
                <a:cubicBezTo>
                  <a:pt x="39" y="382"/>
                  <a:pt x="39" y="382"/>
                  <a:pt x="39" y="382"/>
                </a:cubicBezTo>
                <a:cubicBezTo>
                  <a:pt x="39" y="381"/>
                  <a:pt x="39" y="381"/>
                  <a:pt x="39" y="381"/>
                </a:cubicBezTo>
                <a:cubicBezTo>
                  <a:pt x="39" y="381"/>
                  <a:pt x="39" y="381"/>
                  <a:pt x="39" y="381"/>
                </a:cubicBezTo>
                <a:cubicBezTo>
                  <a:pt x="38" y="381"/>
                  <a:pt x="38" y="381"/>
                  <a:pt x="38" y="381"/>
                </a:cubicBezTo>
                <a:cubicBezTo>
                  <a:pt x="37" y="381"/>
                  <a:pt x="37" y="381"/>
                  <a:pt x="37" y="381"/>
                </a:cubicBezTo>
                <a:cubicBezTo>
                  <a:pt x="37" y="380"/>
                  <a:pt x="37" y="380"/>
                  <a:pt x="37" y="380"/>
                </a:cubicBezTo>
                <a:cubicBezTo>
                  <a:pt x="37" y="378"/>
                  <a:pt x="37" y="378"/>
                  <a:pt x="37" y="378"/>
                </a:cubicBezTo>
                <a:cubicBezTo>
                  <a:pt x="36" y="377"/>
                  <a:pt x="36" y="377"/>
                  <a:pt x="36" y="377"/>
                </a:cubicBezTo>
                <a:cubicBezTo>
                  <a:pt x="36" y="376"/>
                  <a:pt x="36" y="376"/>
                  <a:pt x="36" y="376"/>
                </a:cubicBezTo>
                <a:cubicBezTo>
                  <a:pt x="36" y="375"/>
                  <a:pt x="36" y="375"/>
                  <a:pt x="36" y="375"/>
                </a:cubicBezTo>
                <a:cubicBezTo>
                  <a:pt x="38" y="375"/>
                  <a:pt x="38" y="375"/>
                  <a:pt x="38" y="375"/>
                </a:cubicBezTo>
                <a:cubicBezTo>
                  <a:pt x="39" y="376"/>
                  <a:pt x="39" y="376"/>
                  <a:pt x="39" y="376"/>
                </a:cubicBezTo>
                <a:cubicBezTo>
                  <a:pt x="41" y="375"/>
                  <a:pt x="41" y="375"/>
                  <a:pt x="41" y="375"/>
                </a:cubicBezTo>
                <a:cubicBezTo>
                  <a:pt x="42" y="376"/>
                  <a:pt x="42" y="376"/>
                  <a:pt x="42" y="376"/>
                </a:cubicBezTo>
                <a:cubicBezTo>
                  <a:pt x="42" y="375"/>
                  <a:pt x="42" y="375"/>
                  <a:pt x="42" y="375"/>
                </a:cubicBezTo>
                <a:cubicBezTo>
                  <a:pt x="41" y="375"/>
                  <a:pt x="41" y="375"/>
                  <a:pt x="41" y="375"/>
                </a:cubicBezTo>
                <a:cubicBezTo>
                  <a:pt x="40" y="375"/>
                  <a:pt x="40" y="375"/>
                  <a:pt x="40" y="375"/>
                </a:cubicBezTo>
                <a:cubicBezTo>
                  <a:pt x="39" y="374"/>
                  <a:pt x="39" y="374"/>
                  <a:pt x="39" y="374"/>
                </a:cubicBezTo>
                <a:cubicBezTo>
                  <a:pt x="38" y="373"/>
                  <a:pt x="38" y="373"/>
                  <a:pt x="38" y="373"/>
                </a:cubicBezTo>
                <a:cubicBezTo>
                  <a:pt x="38" y="373"/>
                  <a:pt x="38" y="373"/>
                  <a:pt x="38" y="373"/>
                </a:cubicBezTo>
                <a:cubicBezTo>
                  <a:pt x="38" y="372"/>
                  <a:pt x="38" y="372"/>
                  <a:pt x="38" y="372"/>
                </a:cubicBezTo>
                <a:cubicBezTo>
                  <a:pt x="39" y="371"/>
                  <a:pt x="39" y="371"/>
                  <a:pt x="39" y="371"/>
                </a:cubicBezTo>
                <a:cubicBezTo>
                  <a:pt x="40" y="370"/>
                  <a:pt x="40" y="370"/>
                  <a:pt x="40" y="370"/>
                </a:cubicBezTo>
                <a:cubicBezTo>
                  <a:pt x="40" y="369"/>
                  <a:pt x="40" y="369"/>
                  <a:pt x="40" y="369"/>
                </a:cubicBezTo>
                <a:cubicBezTo>
                  <a:pt x="39" y="369"/>
                  <a:pt x="39" y="369"/>
                  <a:pt x="39" y="369"/>
                </a:cubicBezTo>
                <a:cubicBezTo>
                  <a:pt x="38" y="370"/>
                  <a:pt x="38" y="370"/>
                  <a:pt x="38" y="370"/>
                </a:cubicBezTo>
                <a:cubicBezTo>
                  <a:pt x="37" y="371"/>
                  <a:pt x="37" y="371"/>
                  <a:pt x="37" y="371"/>
                </a:cubicBezTo>
                <a:cubicBezTo>
                  <a:pt x="35" y="372"/>
                  <a:pt x="35" y="372"/>
                  <a:pt x="35" y="372"/>
                </a:cubicBezTo>
                <a:cubicBezTo>
                  <a:pt x="34" y="373"/>
                  <a:pt x="34" y="373"/>
                  <a:pt x="34" y="373"/>
                </a:cubicBezTo>
                <a:cubicBezTo>
                  <a:pt x="34" y="374"/>
                  <a:pt x="34" y="374"/>
                  <a:pt x="34" y="374"/>
                </a:cubicBezTo>
                <a:cubicBezTo>
                  <a:pt x="33" y="374"/>
                  <a:pt x="33" y="374"/>
                  <a:pt x="33" y="374"/>
                </a:cubicBezTo>
                <a:cubicBezTo>
                  <a:pt x="32" y="372"/>
                  <a:pt x="32" y="372"/>
                  <a:pt x="32" y="372"/>
                </a:cubicBezTo>
                <a:cubicBezTo>
                  <a:pt x="32" y="370"/>
                  <a:pt x="32" y="370"/>
                  <a:pt x="32" y="370"/>
                </a:cubicBezTo>
                <a:cubicBezTo>
                  <a:pt x="32" y="367"/>
                  <a:pt x="32" y="367"/>
                  <a:pt x="32" y="367"/>
                </a:cubicBezTo>
                <a:cubicBezTo>
                  <a:pt x="32" y="365"/>
                  <a:pt x="32" y="365"/>
                  <a:pt x="32" y="365"/>
                </a:cubicBezTo>
                <a:cubicBezTo>
                  <a:pt x="32" y="364"/>
                  <a:pt x="32" y="364"/>
                  <a:pt x="32" y="364"/>
                </a:cubicBezTo>
                <a:cubicBezTo>
                  <a:pt x="31" y="364"/>
                  <a:pt x="31" y="364"/>
                  <a:pt x="31" y="364"/>
                </a:cubicBezTo>
                <a:cubicBezTo>
                  <a:pt x="31" y="362"/>
                  <a:pt x="31" y="362"/>
                  <a:pt x="31" y="362"/>
                </a:cubicBezTo>
                <a:cubicBezTo>
                  <a:pt x="32" y="361"/>
                  <a:pt x="32" y="361"/>
                  <a:pt x="32" y="361"/>
                </a:cubicBezTo>
                <a:cubicBezTo>
                  <a:pt x="32" y="362"/>
                  <a:pt x="32" y="362"/>
                  <a:pt x="32" y="362"/>
                </a:cubicBezTo>
                <a:cubicBezTo>
                  <a:pt x="33" y="362"/>
                  <a:pt x="33" y="362"/>
                  <a:pt x="33" y="362"/>
                </a:cubicBezTo>
                <a:cubicBezTo>
                  <a:pt x="33" y="361"/>
                  <a:pt x="33" y="361"/>
                  <a:pt x="33" y="361"/>
                </a:cubicBezTo>
                <a:cubicBezTo>
                  <a:pt x="34" y="360"/>
                  <a:pt x="34" y="360"/>
                  <a:pt x="34" y="360"/>
                </a:cubicBezTo>
                <a:cubicBezTo>
                  <a:pt x="35" y="358"/>
                  <a:pt x="35" y="358"/>
                  <a:pt x="35" y="358"/>
                </a:cubicBezTo>
                <a:cubicBezTo>
                  <a:pt x="36" y="358"/>
                  <a:pt x="36" y="358"/>
                  <a:pt x="36" y="358"/>
                </a:cubicBezTo>
                <a:cubicBezTo>
                  <a:pt x="37" y="358"/>
                  <a:pt x="37" y="358"/>
                  <a:pt x="37" y="358"/>
                </a:cubicBezTo>
                <a:cubicBezTo>
                  <a:pt x="38" y="358"/>
                  <a:pt x="38" y="358"/>
                  <a:pt x="38" y="358"/>
                </a:cubicBezTo>
                <a:cubicBezTo>
                  <a:pt x="37" y="357"/>
                  <a:pt x="37" y="357"/>
                  <a:pt x="37" y="357"/>
                </a:cubicBezTo>
                <a:cubicBezTo>
                  <a:pt x="37" y="357"/>
                  <a:pt x="37" y="357"/>
                  <a:pt x="37" y="357"/>
                </a:cubicBezTo>
                <a:cubicBezTo>
                  <a:pt x="39" y="355"/>
                  <a:pt x="39" y="355"/>
                  <a:pt x="39" y="355"/>
                </a:cubicBezTo>
                <a:cubicBezTo>
                  <a:pt x="39" y="354"/>
                  <a:pt x="39" y="354"/>
                  <a:pt x="39" y="354"/>
                </a:cubicBezTo>
                <a:cubicBezTo>
                  <a:pt x="41" y="353"/>
                  <a:pt x="41" y="353"/>
                  <a:pt x="41" y="353"/>
                </a:cubicBezTo>
                <a:cubicBezTo>
                  <a:pt x="41" y="352"/>
                  <a:pt x="41" y="352"/>
                  <a:pt x="41" y="352"/>
                </a:cubicBezTo>
                <a:cubicBezTo>
                  <a:pt x="40" y="352"/>
                  <a:pt x="40" y="352"/>
                  <a:pt x="40" y="352"/>
                </a:cubicBezTo>
                <a:cubicBezTo>
                  <a:pt x="40" y="352"/>
                  <a:pt x="40" y="352"/>
                  <a:pt x="40" y="352"/>
                </a:cubicBezTo>
                <a:cubicBezTo>
                  <a:pt x="38" y="353"/>
                  <a:pt x="38" y="353"/>
                  <a:pt x="38" y="353"/>
                </a:cubicBezTo>
                <a:cubicBezTo>
                  <a:pt x="38" y="354"/>
                  <a:pt x="38" y="354"/>
                  <a:pt x="38" y="354"/>
                </a:cubicBezTo>
                <a:cubicBezTo>
                  <a:pt x="36" y="357"/>
                  <a:pt x="36" y="357"/>
                  <a:pt x="36" y="357"/>
                </a:cubicBezTo>
                <a:cubicBezTo>
                  <a:pt x="36" y="357"/>
                  <a:pt x="36" y="357"/>
                  <a:pt x="36" y="357"/>
                </a:cubicBezTo>
                <a:cubicBezTo>
                  <a:pt x="36" y="356"/>
                  <a:pt x="36" y="356"/>
                  <a:pt x="36" y="356"/>
                </a:cubicBezTo>
                <a:cubicBezTo>
                  <a:pt x="37" y="354"/>
                  <a:pt x="37" y="354"/>
                  <a:pt x="37" y="354"/>
                </a:cubicBezTo>
                <a:cubicBezTo>
                  <a:pt x="37" y="352"/>
                  <a:pt x="37" y="352"/>
                  <a:pt x="37" y="352"/>
                </a:cubicBezTo>
                <a:cubicBezTo>
                  <a:pt x="39" y="349"/>
                  <a:pt x="39" y="349"/>
                  <a:pt x="39" y="349"/>
                </a:cubicBezTo>
                <a:cubicBezTo>
                  <a:pt x="40" y="347"/>
                  <a:pt x="40" y="347"/>
                  <a:pt x="40" y="347"/>
                </a:cubicBezTo>
                <a:cubicBezTo>
                  <a:pt x="39" y="347"/>
                  <a:pt x="39" y="347"/>
                  <a:pt x="39" y="347"/>
                </a:cubicBezTo>
                <a:cubicBezTo>
                  <a:pt x="39" y="347"/>
                  <a:pt x="39" y="347"/>
                  <a:pt x="39" y="347"/>
                </a:cubicBezTo>
                <a:cubicBezTo>
                  <a:pt x="39" y="346"/>
                  <a:pt x="39" y="346"/>
                  <a:pt x="39" y="346"/>
                </a:cubicBezTo>
                <a:cubicBezTo>
                  <a:pt x="40" y="346"/>
                  <a:pt x="40" y="346"/>
                  <a:pt x="40" y="346"/>
                </a:cubicBezTo>
                <a:cubicBezTo>
                  <a:pt x="40" y="345"/>
                  <a:pt x="40" y="345"/>
                  <a:pt x="40" y="345"/>
                </a:cubicBezTo>
                <a:cubicBezTo>
                  <a:pt x="40" y="345"/>
                  <a:pt x="40" y="345"/>
                  <a:pt x="40" y="345"/>
                </a:cubicBezTo>
                <a:cubicBezTo>
                  <a:pt x="40" y="344"/>
                  <a:pt x="40" y="344"/>
                  <a:pt x="40" y="344"/>
                </a:cubicBezTo>
                <a:cubicBezTo>
                  <a:pt x="39" y="344"/>
                  <a:pt x="39" y="344"/>
                  <a:pt x="39" y="344"/>
                </a:cubicBezTo>
                <a:cubicBezTo>
                  <a:pt x="39" y="342"/>
                  <a:pt x="39" y="342"/>
                  <a:pt x="39" y="342"/>
                </a:cubicBezTo>
                <a:cubicBezTo>
                  <a:pt x="38" y="341"/>
                  <a:pt x="38" y="341"/>
                  <a:pt x="38" y="341"/>
                </a:cubicBezTo>
                <a:cubicBezTo>
                  <a:pt x="37" y="340"/>
                  <a:pt x="37" y="340"/>
                  <a:pt x="37" y="340"/>
                </a:cubicBezTo>
                <a:cubicBezTo>
                  <a:pt x="36" y="340"/>
                  <a:pt x="36" y="340"/>
                  <a:pt x="36" y="340"/>
                </a:cubicBezTo>
                <a:cubicBezTo>
                  <a:pt x="36" y="339"/>
                  <a:pt x="36" y="339"/>
                  <a:pt x="36" y="339"/>
                </a:cubicBezTo>
                <a:cubicBezTo>
                  <a:pt x="35" y="337"/>
                  <a:pt x="35" y="337"/>
                  <a:pt x="35" y="337"/>
                </a:cubicBezTo>
                <a:cubicBezTo>
                  <a:pt x="34" y="337"/>
                  <a:pt x="34" y="337"/>
                  <a:pt x="34" y="337"/>
                </a:cubicBezTo>
                <a:cubicBezTo>
                  <a:pt x="33" y="337"/>
                  <a:pt x="33" y="337"/>
                  <a:pt x="33" y="337"/>
                </a:cubicBezTo>
                <a:cubicBezTo>
                  <a:pt x="33" y="336"/>
                  <a:pt x="33" y="336"/>
                  <a:pt x="33" y="336"/>
                </a:cubicBezTo>
                <a:cubicBezTo>
                  <a:pt x="33" y="336"/>
                  <a:pt x="33" y="336"/>
                  <a:pt x="33" y="336"/>
                </a:cubicBezTo>
                <a:cubicBezTo>
                  <a:pt x="33" y="335"/>
                  <a:pt x="33" y="335"/>
                  <a:pt x="33" y="335"/>
                </a:cubicBezTo>
                <a:cubicBezTo>
                  <a:pt x="33" y="334"/>
                  <a:pt x="33" y="334"/>
                  <a:pt x="33" y="334"/>
                </a:cubicBezTo>
                <a:cubicBezTo>
                  <a:pt x="32" y="334"/>
                  <a:pt x="32" y="334"/>
                  <a:pt x="32" y="334"/>
                </a:cubicBezTo>
                <a:cubicBezTo>
                  <a:pt x="33" y="333"/>
                  <a:pt x="33" y="333"/>
                  <a:pt x="33" y="333"/>
                </a:cubicBezTo>
                <a:cubicBezTo>
                  <a:pt x="33" y="333"/>
                  <a:pt x="33" y="333"/>
                  <a:pt x="33" y="333"/>
                </a:cubicBezTo>
                <a:cubicBezTo>
                  <a:pt x="33" y="332"/>
                  <a:pt x="33" y="332"/>
                  <a:pt x="33" y="332"/>
                </a:cubicBezTo>
                <a:cubicBezTo>
                  <a:pt x="32" y="332"/>
                  <a:pt x="32" y="332"/>
                  <a:pt x="32" y="332"/>
                </a:cubicBezTo>
                <a:cubicBezTo>
                  <a:pt x="32" y="332"/>
                  <a:pt x="32" y="332"/>
                  <a:pt x="32" y="332"/>
                </a:cubicBezTo>
                <a:cubicBezTo>
                  <a:pt x="32" y="331"/>
                  <a:pt x="32" y="331"/>
                  <a:pt x="32" y="331"/>
                </a:cubicBezTo>
                <a:cubicBezTo>
                  <a:pt x="33" y="330"/>
                  <a:pt x="33" y="330"/>
                  <a:pt x="33" y="330"/>
                </a:cubicBezTo>
                <a:cubicBezTo>
                  <a:pt x="33" y="326"/>
                  <a:pt x="33" y="326"/>
                  <a:pt x="33" y="326"/>
                </a:cubicBezTo>
                <a:cubicBezTo>
                  <a:pt x="33" y="321"/>
                  <a:pt x="33" y="321"/>
                  <a:pt x="33" y="321"/>
                </a:cubicBezTo>
                <a:cubicBezTo>
                  <a:pt x="33" y="318"/>
                  <a:pt x="33" y="318"/>
                  <a:pt x="33" y="318"/>
                </a:cubicBezTo>
                <a:cubicBezTo>
                  <a:pt x="33" y="317"/>
                  <a:pt x="33" y="317"/>
                  <a:pt x="33" y="317"/>
                </a:cubicBezTo>
                <a:cubicBezTo>
                  <a:pt x="33" y="316"/>
                  <a:pt x="33" y="316"/>
                  <a:pt x="33" y="316"/>
                </a:cubicBezTo>
                <a:cubicBezTo>
                  <a:pt x="33" y="314"/>
                  <a:pt x="33" y="314"/>
                  <a:pt x="33" y="314"/>
                </a:cubicBezTo>
                <a:cubicBezTo>
                  <a:pt x="33" y="313"/>
                  <a:pt x="33" y="313"/>
                  <a:pt x="33" y="313"/>
                </a:cubicBezTo>
                <a:cubicBezTo>
                  <a:pt x="32" y="312"/>
                  <a:pt x="32" y="312"/>
                  <a:pt x="32" y="312"/>
                </a:cubicBezTo>
                <a:cubicBezTo>
                  <a:pt x="32" y="310"/>
                  <a:pt x="32" y="310"/>
                  <a:pt x="32" y="310"/>
                </a:cubicBezTo>
                <a:cubicBezTo>
                  <a:pt x="31" y="308"/>
                  <a:pt x="31" y="308"/>
                  <a:pt x="31" y="308"/>
                </a:cubicBezTo>
                <a:cubicBezTo>
                  <a:pt x="30" y="306"/>
                  <a:pt x="30" y="306"/>
                  <a:pt x="30" y="306"/>
                </a:cubicBezTo>
                <a:cubicBezTo>
                  <a:pt x="31" y="305"/>
                  <a:pt x="31" y="305"/>
                  <a:pt x="31" y="305"/>
                </a:cubicBezTo>
                <a:cubicBezTo>
                  <a:pt x="29" y="301"/>
                  <a:pt x="29" y="301"/>
                  <a:pt x="29" y="301"/>
                </a:cubicBezTo>
                <a:cubicBezTo>
                  <a:pt x="30" y="301"/>
                  <a:pt x="30" y="301"/>
                  <a:pt x="30" y="301"/>
                </a:cubicBezTo>
                <a:cubicBezTo>
                  <a:pt x="31" y="299"/>
                  <a:pt x="31" y="299"/>
                  <a:pt x="31" y="299"/>
                </a:cubicBezTo>
                <a:cubicBezTo>
                  <a:pt x="30" y="298"/>
                  <a:pt x="30" y="298"/>
                  <a:pt x="30" y="298"/>
                </a:cubicBezTo>
                <a:cubicBezTo>
                  <a:pt x="30" y="297"/>
                  <a:pt x="30" y="297"/>
                  <a:pt x="30" y="297"/>
                </a:cubicBezTo>
                <a:cubicBezTo>
                  <a:pt x="29" y="296"/>
                  <a:pt x="29" y="296"/>
                  <a:pt x="29" y="296"/>
                </a:cubicBezTo>
                <a:cubicBezTo>
                  <a:pt x="27" y="296"/>
                  <a:pt x="27" y="296"/>
                  <a:pt x="27" y="296"/>
                </a:cubicBezTo>
                <a:cubicBezTo>
                  <a:pt x="25" y="296"/>
                  <a:pt x="25" y="296"/>
                  <a:pt x="25" y="296"/>
                </a:cubicBezTo>
                <a:cubicBezTo>
                  <a:pt x="24" y="297"/>
                  <a:pt x="24" y="297"/>
                  <a:pt x="24" y="297"/>
                </a:cubicBezTo>
                <a:cubicBezTo>
                  <a:pt x="22" y="297"/>
                  <a:pt x="22" y="297"/>
                  <a:pt x="22" y="297"/>
                </a:cubicBezTo>
                <a:cubicBezTo>
                  <a:pt x="21" y="299"/>
                  <a:pt x="21" y="299"/>
                  <a:pt x="21" y="299"/>
                </a:cubicBezTo>
                <a:cubicBezTo>
                  <a:pt x="19" y="301"/>
                  <a:pt x="19" y="301"/>
                  <a:pt x="19" y="301"/>
                </a:cubicBezTo>
                <a:cubicBezTo>
                  <a:pt x="17" y="302"/>
                  <a:pt x="17" y="302"/>
                  <a:pt x="17" y="302"/>
                </a:cubicBezTo>
                <a:cubicBezTo>
                  <a:pt x="15" y="303"/>
                  <a:pt x="15" y="303"/>
                  <a:pt x="15" y="303"/>
                </a:cubicBezTo>
                <a:cubicBezTo>
                  <a:pt x="13" y="303"/>
                  <a:pt x="13" y="303"/>
                  <a:pt x="13" y="303"/>
                </a:cubicBezTo>
                <a:cubicBezTo>
                  <a:pt x="13" y="303"/>
                  <a:pt x="13" y="303"/>
                  <a:pt x="13" y="303"/>
                </a:cubicBezTo>
                <a:cubicBezTo>
                  <a:pt x="13" y="302"/>
                  <a:pt x="13" y="302"/>
                  <a:pt x="13" y="302"/>
                </a:cubicBezTo>
                <a:cubicBezTo>
                  <a:pt x="14" y="300"/>
                  <a:pt x="14" y="300"/>
                  <a:pt x="14" y="300"/>
                </a:cubicBezTo>
                <a:cubicBezTo>
                  <a:pt x="13" y="299"/>
                  <a:pt x="13" y="299"/>
                  <a:pt x="13" y="299"/>
                </a:cubicBezTo>
                <a:cubicBezTo>
                  <a:pt x="11" y="292"/>
                  <a:pt x="11" y="292"/>
                  <a:pt x="11" y="292"/>
                </a:cubicBezTo>
                <a:cubicBezTo>
                  <a:pt x="10" y="288"/>
                  <a:pt x="10" y="288"/>
                  <a:pt x="10" y="288"/>
                </a:cubicBezTo>
                <a:cubicBezTo>
                  <a:pt x="10" y="287"/>
                  <a:pt x="10" y="287"/>
                  <a:pt x="10" y="287"/>
                </a:cubicBezTo>
                <a:cubicBezTo>
                  <a:pt x="11" y="284"/>
                  <a:pt x="11" y="284"/>
                  <a:pt x="11" y="284"/>
                </a:cubicBezTo>
                <a:cubicBezTo>
                  <a:pt x="8" y="284"/>
                  <a:pt x="8" y="284"/>
                  <a:pt x="8" y="284"/>
                </a:cubicBezTo>
                <a:cubicBezTo>
                  <a:pt x="5" y="285"/>
                  <a:pt x="5" y="285"/>
                  <a:pt x="5" y="285"/>
                </a:cubicBezTo>
                <a:cubicBezTo>
                  <a:pt x="4" y="284"/>
                  <a:pt x="4" y="284"/>
                  <a:pt x="4" y="284"/>
                </a:cubicBezTo>
                <a:cubicBezTo>
                  <a:pt x="0" y="284"/>
                  <a:pt x="0" y="284"/>
                  <a:pt x="0" y="284"/>
                </a:cubicBezTo>
                <a:cubicBezTo>
                  <a:pt x="73" y="151"/>
                  <a:pt x="73" y="151"/>
                  <a:pt x="73" y="151"/>
                </a:cubicBezTo>
                <a:cubicBezTo>
                  <a:pt x="73" y="152"/>
                  <a:pt x="73" y="152"/>
                  <a:pt x="73" y="152"/>
                </a:cubicBezTo>
                <a:cubicBezTo>
                  <a:pt x="74" y="152"/>
                  <a:pt x="74" y="152"/>
                  <a:pt x="74" y="152"/>
                </a:cubicBezTo>
                <a:cubicBezTo>
                  <a:pt x="77" y="155"/>
                  <a:pt x="77" y="155"/>
                  <a:pt x="77" y="155"/>
                </a:cubicBezTo>
                <a:cubicBezTo>
                  <a:pt x="78" y="155"/>
                  <a:pt x="78" y="155"/>
                  <a:pt x="78" y="155"/>
                </a:cubicBezTo>
                <a:cubicBezTo>
                  <a:pt x="80" y="156"/>
                  <a:pt x="80" y="156"/>
                  <a:pt x="80" y="156"/>
                </a:cubicBezTo>
                <a:cubicBezTo>
                  <a:pt x="80" y="157"/>
                  <a:pt x="80" y="157"/>
                  <a:pt x="80" y="157"/>
                </a:cubicBezTo>
                <a:cubicBezTo>
                  <a:pt x="80" y="157"/>
                  <a:pt x="80" y="157"/>
                  <a:pt x="80" y="157"/>
                </a:cubicBezTo>
                <a:cubicBezTo>
                  <a:pt x="82" y="158"/>
                  <a:pt x="82" y="158"/>
                  <a:pt x="82" y="158"/>
                </a:cubicBezTo>
                <a:cubicBezTo>
                  <a:pt x="82" y="159"/>
                  <a:pt x="82" y="159"/>
                  <a:pt x="82" y="159"/>
                </a:cubicBezTo>
                <a:cubicBezTo>
                  <a:pt x="83" y="160"/>
                  <a:pt x="83" y="160"/>
                  <a:pt x="83" y="160"/>
                </a:cubicBezTo>
                <a:cubicBezTo>
                  <a:pt x="83" y="161"/>
                  <a:pt x="83" y="161"/>
                  <a:pt x="83" y="161"/>
                </a:cubicBezTo>
                <a:cubicBezTo>
                  <a:pt x="83" y="161"/>
                  <a:pt x="83" y="161"/>
                  <a:pt x="83" y="161"/>
                </a:cubicBezTo>
                <a:cubicBezTo>
                  <a:pt x="82" y="163"/>
                  <a:pt x="82" y="163"/>
                  <a:pt x="82" y="163"/>
                </a:cubicBezTo>
                <a:cubicBezTo>
                  <a:pt x="83" y="164"/>
                  <a:pt x="83" y="164"/>
                  <a:pt x="83" y="164"/>
                </a:cubicBezTo>
                <a:cubicBezTo>
                  <a:pt x="83" y="164"/>
                  <a:pt x="83" y="164"/>
                  <a:pt x="83" y="164"/>
                </a:cubicBezTo>
                <a:cubicBezTo>
                  <a:pt x="84" y="164"/>
                  <a:pt x="84" y="164"/>
                  <a:pt x="84" y="164"/>
                </a:cubicBezTo>
                <a:cubicBezTo>
                  <a:pt x="84" y="164"/>
                  <a:pt x="84" y="164"/>
                  <a:pt x="84" y="164"/>
                </a:cubicBezTo>
                <a:cubicBezTo>
                  <a:pt x="84" y="166"/>
                  <a:pt x="84" y="166"/>
                  <a:pt x="84" y="166"/>
                </a:cubicBezTo>
                <a:cubicBezTo>
                  <a:pt x="85" y="168"/>
                  <a:pt x="85" y="168"/>
                  <a:pt x="85" y="168"/>
                </a:cubicBezTo>
                <a:cubicBezTo>
                  <a:pt x="87" y="170"/>
                  <a:pt x="87" y="170"/>
                  <a:pt x="87" y="170"/>
                </a:cubicBezTo>
                <a:cubicBezTo>
                  <a:pt x="88" y="171"/>
                  <a:pt x="88" y="171"/>
                  <a:pt x="88" y="171"/>
                </a:cubicBezTo>
                <a:cubicBezTo>
                  <a:pt x="88" y="171"/>
                  <a:pt x="88" y="171"/>
                  <a:pt x="88" y="171"/>
                </a:cubicBezTo>
                <a:cubicBezTo>
                  <a:pt x="89" y="171"/>
                  <a:pt x="89" y="171"/>
                  <a:pt x="89" y="171"/>
                </a:cubicBezTo>
                <a:cubicBezTo>
                  <a:pt x="89" y="172"/>
                  <a:pt x="89" y="172"/>
                  <a:pt x="89" y="172"/>
                </a:cubicBezTo>
                <a:cubicBezTo>
                  <a:pt x="90" y="172"/>
                  <a:pt x="90" y="172"/>
                  <a:pt x="90" y="172"/>
                </a:cubicBezTo>
                <a:cubicBezTo>
                  <a:pt x="91" y="172"/>
                  <a:pt x="91" y="172"/>
                  <a:pt x="91" y="172"/>
                </a:cubicBezTo>
                <a:cubicBezTo>
                  <a:pt x="92" y="174"/>
                  <a:pt x="92" y="174"/>
                  <a:pt x="92" y="174"/>
                </a:cubicBezTo>
                <a:cubicBezTo>
                  <a:pt x="92" y="176"/>
                  <a:pt x="92" y="176"/>
                  <a:pt x="92" y="176"/>
                </a:cubicBezTo>
                <a:cubicBezTo>
                  <a:pt x="93" y="176"/>
                  <a:pt x="93" y="176"/>
                  <a:pt x="93" y="176"/>
                </a:cubicBezTo>
                <a:cubicBezTo>
                  <a:pt x="93" y="177"/>
                  <a:pt x="93" y="177"/>
                  <a:pt x="93" y="177"/>
                </a:cubicBezTo>
                <a:cubicBezTo>
                  <a:pt x="94" y="177"/>
                  <a:pt x="94" y="177"/>
                  <a:pt x="94" y="177"/>
                </a:cubicBezTo>
                <a:cubicBezTo>
                  <a:pt x="96" y="179"/>
                  <a:pt x="96" y="179"/>
                  <a:pt x="96" y="179"/>
                </a:cubicBezTo>
                <a:cubicBezTo>
                  <a:pt x="96" y="180"/>
                  <a:pt x="96" y="180"/>
                  <a:pt x="96" y="180"/>
                </a:cubicBezTo>
                <a:cubicBezTo>
                  <a:pt x="96" y="180"/>
                  <a:pt x="96" y="180"/>
                  <a:pt x="96" y="180"/>
                </a:cubicBezTo>
                <a:cubicBezTo>
                  <a:pt x="96" y="181"/>
                  <a:pt x="96" y="181"/>
                  <a:pt x="96" y="181"/>
                </a:cubicBezTo>
                <a:cubicBezTo>
                  <a:pt x="95" y="183"/>
                  <a:pt x="95" y="183"/>
                  <a:pt x="95" y="183"/>
                </a:cubicBezTo>
                <a:cubicBezTo>
                  <a:pt x="94" y="184"/>
                  <a:pt x="94" y="184"/>
                  <a:pt x="94" y="184"/>
                </a:cubicBezTo>
                <a:cubicBezTo>
                  <a:pt x="97" y="182"/>
                  <a:pt x="97" y="182"/>
                  <a:pt x="97" y="182"/>
                </a:cubicBezTo>
                <a:cubicBezTo>
                  <a:pt x="98" y="181"/>
                  <a:pt x="98" y="181"/>
                  <a:pt x="98" y="181"/>
                </a:cubicBezTo>
                <a:cubicBezTo>
                  <a:pt x="98" y="181"/>
                  <a:pt x="98" y="181"/>
                  <a:pt x="98" y="181"/>
                </a:cubicBezTo>
                <a:cubicBezTo>
                  <a:pt x="98" y="180"/>
                  <a:pt x="98" y="180"/>
                  <a:pt x="98" y="180"/>
                </a:cubicBezTo>
                <a:cubicBezTo>
                  <a:pt x="98" y="176"/>
                  <a:pt x="98" y="176"/>
                  <a:pt x="98" y="176"/>
                </a:cubicBezTo>
                <a:cubicBezTo>
                  <a:pt x="98" y="174"/>
                  <a:pt x="98" y="174"/>
                  <a:pt x="98" y="174"/>
                </a:cubicBezTo>
                <a:cubicBezTo>
                  <a:pt x="99" y="173"/>
                  <a:pt x="99" y="173"/>
                  <a:pt x="99" y="173"/>
                </a:cubicBezTo>
                <a:cubicBezTo>
                  <a:pt x="101" y="172"/>
                  <a:pt x="101" y="172"/>
                  <a:pt x="101" y="172"/>
                </a:cubicBezTo>
                <a:cubicBezTo>
                  <a:pt x="103" y="171"/>
                  <a:pt x="103" y="171"/>
                  <a:pt x="103" y="171"/>
                </a:cubicBezTo>
                <a:cubicBezTo>
                  <a:pt x="104" y="170"/>
                  <a:pt x="104" y="170"/>
                  <a:pt x="104" y="170"/>
                </a:cubicBezTo>
                <a:cubicBezTo>
                  <a:pt x="105" y="170"/>
                  <a:pt x="105" y="170"/>
                  <a:pt x="105" y="170"/>
                </a:cubicBezTo>
                <a:cubicBezTo>
                  <a:pt x="106" y="169"/>
                  <a:pt x="106" y="169"/>
                  <a:pt x="106" y="169"/>
                </a:cubicBezTo>
                <a:cubicBezTo>
                  <a:pt x="106" y="169"/>
                  <a:pt x="106" y="169"/>
                  <a:pt x="106" y="169"/>
                </a:cubicBezTo>
                <a:cubicBezTo>
                  <a:pt x="107" y="169"/>
                  <a:pt x="107" y="169"/>
                  <a:pt x="107" y="169"/>
                </a:cubicBezTo>
                <a:cubicBezTo>
                  <a:pt x="109" y="169"/>
                  <a:pt x="109" y="169"/>
                  <a:pt x="109" y="169"/>
                </a:cubicBezTo>
                <a:cubicBezTo>
                  <a:pt x="109" y="169"/>
                  <a:pt x="109" y="169"/>
                  <a:pt x="109" y="169"/>
                </a:cubicBezTo>
                <a:cubicBezTo>
                  <a:pt x="110" y="169"/>
                  <a:pt x="110" y="169"/>
                  <a:pt x="110" y="169"/>
                </a:cubicBezTo>
                <a:cubicBezTo>
                  <a:pt x="111" y="169"/>
                  <a:pt x="111" y="169"/>
                  <a:pt x="111" y="169"/>
                </a:cubicBezTo>
                <a:cubicBezTo>
                  <a:pt x="112" y="168"/>
                  <a:pt x="112" y="168"/>
                  <a:pt x="112" y="168"/>
                </a:cubicBezTo>
                <a:cubicBezTo>
                  <a:pt x="113" y="166"/>
                  <a:pt x="113" y="166"/>
                  <a:pt x="113" y="166"/>
                </a:cubicBezTo>
                <a:cubicBezTo>
                  <a:pt x="114" y="166"/>
                  <a:pt x="114" y="166"/>
                  <a:pt x="114" y="166"/>
                </a:cubicBezTo>
                <a:cubicBezTo>
                  <a:pt x="115" y="166"/>
                  <a:pt x="115" y="166"/>
                  <a:pt x="115" y="166"/>
                </a:cubicBezTo>
                <a:cubicBezTo>
                  <a:pt x="116" y="166"/>
                  <a:pt x="116" y="166"/>
                  <a:pt x="116" y="166"/>
                </a:cubicBezTo>
                <a:cubicBezTo>
                  <a:pt x="115" y="165"/>
                  <a:pt x="115" y="165"/>
                  <a:pt x="115" y="165"/>
                </a:cubicBezTo>
                <a:cubicBezTo>
                  <a:pt x="116" y="165"/>
                  <a:pt x="116" y="165"/>
                  <a:pt x="116" y="165"/>
                </a:cubicBezTo>
                <a:cubicBezTo>
                  <a:pt x="117" y="166"/>
                  <a:pt x="117" y="166"/>
                  <a:pt x="117" y="166"/>
                </a:cubicBezTo>
                <a:cubicBezTo>
                  <a:pt x="120" y="166"/>
                  <a:pt x="120" y="166"/>
                  <a:pt x="120" y="166"/>
                </a:cubicBezTo>
                <a:cubicBezTo>
                  <a:pt x="123" y="165"/>
                  <a:pt x="123" y="165"/>
                  <a:pt x="123" y="165"/>
                </a:cubicBezTo>
                <a:cubicBezTo>
                  <a:pt x="125" y="164"/>
                  <a:pt x="125" y="164"/>
                  <a:pt x="125" y="164"/>
                </a:cubicBezTo>
                <a:cubicBezTo>
                  <a:pt x="125" y="164"/>
                  <a:pt x="125" y="164"/>
                  <a:pt x="125" y="164"/>
                </a:cubicBezTo>
                <a:cubicBezTo>
                  <a:pt x="126" y="165"/>
                  <a:pt x="126" y="165"/>
                  <a:pt x="126" y="165"/>
                </a:cubicBezTo>
                <a:cubicBezTo>
                  <a:pt x="127" y="165"/>
                  <a:pt x="127" y="165"/>
                  <a:pt x="127" y="165"/>
                </a:cubicBezTo>
                <a:cubicBezTo>
                  <a:pt x="127" y="163"/>
                  <a:pt x="127" y="163"/>
                  <a:pt x="127" y="163"/>
                </a:cubicBezTo>
                <a:cubicBezTo>
                  <a:pt x="129" y="162"/>
                  <a:pt x="129" y="162"/>
                  <a:pt x="129" y="162"/>
                </a:cubicBezTo>
                <a:cubicBezTo>
                  <a:pt x="130" y="162"/>
                  <a:pt x="130" y="162"/>
                  <a:pt x="130" y="162"/>
                </a:cubicBezTo>
                <a:cubicBezTo>
                  <a:pt x="131" y="163"/>
                  <a:pt x="131" y="163"/>
                  <a:pt x="131" y="163"/>
                </a:cubicBezTo>
                <a:cubicBezTo>
                  <a:pt x="131" y="163"/>
                  <a:pt x="131" y="163"/>
                  <a:pt x="131" y="163"/>
                </a:cubicBezTo>
                <a:cubicBezTo>
                  <a:pt x="132" y="164"/>
                  <a:pt x="132" y="164"/>
                  <a:pt x="132" y="164"/>
                </a:cubicBezTo>
                <a:cubicBezTo>
                  <a:pt x="133" y="163"/>
                  <a:pt x="133" y="163"/>
                  <a:pt x="133" y="163"/>
                </a:cubicBezTo>
                <a:cubicBezTo>
                  <a:pt x="133" y="162"/>
                  <a:pt x="133" y="162"/>
                  <a:pt x="133" y="162"/>
                </a:cubicBezTo>
                <a:cubicBezTo>
                  <a:pt x="133" y="162"/>
                  <a:pt x="133" y="162"/>
                  <a:pt x="133" y="162"/>
                </a:cubicBezTo>
                <a:cubicBezTo>
                  <a:pt x="134" y="162"/>
                  <a:pt x="134" y="162"/>
                  <a:pt x="134" y="162"/>
                </a:cubicBezTo>
                <a:cubicBezTo>
                  <a:pt x="134" y="164"/>
                  <a:pt x="134" y="164"/>
                  <a:pt x="134" y="164"/>
                </a:cubicBezTo>
                <a:cubicBezTo>
                  <a:pt x="135" y="164"/>
                  <a:pt x="135" y="164"/>
                  <a:pt x="135" y="164"/>
                </a:cubicBezTo>
                <a:cubicBezTo>
                  <a:pt x="134" y="165"/>
                  <a:pt x="134" y="165"/>
                  <a:pt x="134" y="165"/>
                </a:cubicBezTo>
                <a:cubicBezTo>
                  <a:pt x="134" y="165"/>
                  <a:pt x="134" y="165"/>
                  <a:pt x="134" y="165"/>
                </a:cubicBezTo>
                <a:cubicBezTo>
                  <a:pt x="133" y="166"/>
                  <a:pt x="133" y="166"/>
                  <a:pt x="133" y="166"/>
                </a:cubicBezTo>
                <a:cubicBezTo>
                  <a:pt x="131" y="167"/>
                  <a:pt x="131" y="167"/>
                  <a:pt x="131" y="167"/>
                </a:cubicBezTo>
                <a:cubicBezTo>
                  <a:pt x="128" y="167"/>
                  <a:pt x="128" y="167"/>
                  <a:pt x="128" y="167"/>
                </a:cubicBezTo>
                <a:cubicBezTo>
                  <a:pt x="127" y="168"/>
                  <a:pt x="127" y="168"/>
                  <a:pt x="127" y="168"/>
                </a:cubicBezTo>
                <a:cubicBezTo>
                  <a:pt x="126" y="169"/>
                  <a:pt x="126" y="169"/>
                  <a:pt x="126" y="169"/>
                </a:cubicBezTo>
                <a:cubicBezTo>
                  <a:pt x="125" y="169"/>
                  <a:pt x="125" y="169"/>
                  <a:pt x="125" y="169"/>
                </a:cubicBezTo>
                <a:cubicBezTo>
                  <a:pt x="124" y="169"/>
                  <a:pt x="124" y="169"/>
                  <a:pt x="124" y="169"/>
                </a:cubicBezTo>
                <a:cubicBezTo>
                  <a:pt x="123" y="169"/>
                  <a:pt x="123" y="169"/>
                  <a:pt x="123" y="169"/>
                </a:cubicBezTo>
                <a:cubicBezTo>
                  <a:pt x="123" y="169"/>
                  <a:pt x="123" y="169"/>
                  <a:pt x="123" y="169"/>
                </a:cubicBezTo>
                <a:cubicBezTo>
                  <a:pt x="121" y="169"/>
                  <a:pt x="121" y="169"/>
                  <a:pt x="121" y="169"/>
                </a:cubicBezTo>
                <a:cubicBezTo>
                  <a:pt x="119" y="169"/>
                  <a:pt x="119" y="169"/>
                  <a:pt x="119" y="169"/>
                </a:cubicBezTo>
                <a:cubicBezTo>
                  <a:pt x="119" y="170"/>
                  <a:pt x="119" y="170"/>
                  <a:pt x="119" y="170"/>
                </a:cubicBezTo>
                <a:cubicBezTo>
                  <a:pt x="116" y="170"/>
                  <a:pt x="116" y="170"/>
                  <a:pt x="116" y="170"/>
                </a:cubicBezTo>
                <a:cubicBezTo>
                  <a:pt x="115" y="170"/>
                  <a:pt x="115" y="170"/>
                  <a:pt x="115" y="170"/>
                </a:cubicBezTo>
                <a:cubicBezTo>
                  <a:pt x="114" y="172"/>
                  <a:pt x="114" y="172"/>
                  <a:pt x="114" y="172"/>
                </a:cubicBezTo>
                <a:cubicBezTo>
                  <a:pt x="111" y="173"/>
                  <a:pt x="111" y="173"/>
                  <a:pt x="111" y="173"/>
                </a:cubicBezTo>
                <a:cubicBezTo>
                  <a:pt x="111" y="172"/>
                  <a:pt x="111" y="172"/>
                  <a:pt x="111" y="172"/>
                </a:cubicBezTo>
                <a:cubicBezTo>
                  <a:pt x="109" y="173"/>
                  <a:pt x="109" y="173"/>
                  <a:pt x="109" y="173"/>
                </a:cubicBezTo>
                <a:cubicBezTo>
                  <a:pt x="109" y="174"/>
                  <a:pt x="109" y="174"/>
                  <a:pt x="109" y="174"/>
                </a:cubicBezTo>
                <a:cubicBezTo>
                  <a:pt x="108" y="175"/>
                  <a:pt x="108" y="175"/>
                  <a:pt x="108" y="175"/>
                </a:cubicBezTo>
                <a:cubicBezTo>
                  <a:pt x="108" y="174"/>
                  <a:pt x="108" y="174"/>
                  <a:pt x="108" y="174"/>
                </a:cubicBezTo>
                <a:cubicBezTo>
                  <a:pt x="107" y="175"/>
                  <a:pt x="107" y="175"/>
                  <a:pt x="107" y="175"/>
                </a:cubicBezTo>
                <a:cubicBezTo>
                  <a:pt x="106" y="176"/>
                  <a:pt x="106" y="176"/>
                  <a:pt x="106" y="176"/>
                </a:cubicBezTo>
                <a:cubicBezTo>
                  <a:pt x="105" y="176"/>
                  <a:pt x="105" y="176"/>
                  <a:pt x="105" y="176"/>
                </a:cubicBezTo>
                <a:cubicBezTo>
                  <a:pt x="104" y="177"/>
                  <a:pt x="104" y="177"/>
                  <a:pt x="104" y="177"/>
                </a:cubicBezTo>
                <a:cubicBezTo>
                  <a:pt x="105" y="179"/>
                  <a:pt x="105" y="179"/>
                  <a:pt x="105" y="179"/>
                </a:cubicBezTo>
                <a:cubicBezTo>
                  <a:pt x="107" y="180"/>
                  <a:pt x="107" y="180"/>
                  <a:pt x="107" y="180"/>
                </a:cubicBezTo>
                <a:cubicBezTo>
                  <a:pt x="105" y="178"/>
                  <a:pt x="105" y="178"/>
                  <a:pt x="105" y="178"/>
                </a:cubicBezTo>
                <a:cubicBezTo>
                  <a:pt x="105" y="178"/>
                  <a:pt x="105" y="178"/>
                  <a:pt x="105" y="178"/>
                </a:cubicBezTo>
                <a:cubicBezTo>
                  <a:pt x="107" y="178"/>
                  <a:pt x="107" y="178"/>
                  <a:pt x="107" y="178"/>
                </a:cubicBezTo>
                <a:cubicBezTo>
                  <a:pt x="107" y="178"/>
                  <a:pt x="107" y="178"/>
                  <a:pt x="107" y="178"/>
                </a:cubicBezTo>
                <a:cubicBezTo>
                  <a:pt x="108" y="178"/>
                  <a:pt x="108" y="178"/>
                  <a:pt x="108" y="178"/>
                </a:cubicBezTo>
                <a:cubicBezTo>
                  <a:pt x="108" y="177"/>
                  <a:pt x="108" y="177"/>
                  <a:pt x="108" y="177"/>
                </a:cubicBezTo>
                <a:cubicBezTo>
                  <a:pt x="109" y="175"/>
                  <a:pt x="109" y="175"/>
                  <a:pt x="109" y="175"/>
                </a:cubicBezTo>
                <a:cubicBezTo>
                  <a:pt x="112" y="175"/>
                  <a:pt x="112" y="175"/>
                  <a:pt x="112" y="175"/>
                </a:cubicBezTo>
                <a:cubicBezTo>
                  <a:pt x="113" y="175"/>
                  <a:pt x="113" y="175"/>
                  <a:pt x="113" y="175"/>
                </a:cubicBezTo>
                <a:cubicBezTo>
                  <a:pt x="116" y="173"/>
                  <a:pt x="116" y="173"/>
                  <a:pt x="116" y="173"/>
                </a:cubicBezTo>
                <a:cubicBezTo>
                  <a:pt x="116" y="172"/>
                  <a:pt x="116" y="172"/>
                  <a:pt x="116" y="172"/>
                </a:cubicBezTo>
                <a:cubicBezTo>
                  <a:pt x="117" y="171"/>
                  <a:pt x="117" y="171"/>
                  <a:pt x="117" y="171"/>
                </a:cubicBezTo>
                <a:cubicBezTo>
                  <a:pt x="118" y="172"/>
                  <a:pt x="118" y="172"/>
                  <a:pt x="118" y="172"/>
                </a:cubicBezTo>
                <a:cubicBezTo>
                  <a:pt x="119" y="172"/>
                  <a:pt x="119" y="172"/>
                  <a:pt x="119" y="172"/>
                </a:cubicBezTo>
                <a:cubicBezTo>
                  <a:pt x="120" y="171"/>
                  <a:pt x="120" y="171"/>
                  <a:pt x="120" y="171"/>
                </a:cubicBezTo>
                <a:cubicBezTo>
                  <a:pt x="120" y="172"/>
                  <a:pt x="120" y="172"/>
                  <a:pt x="120" y="172"/>
                </a:cubicBezTo>
                <a:cubicBezTo>
                  <a:pt x="122" y="171"/>
                  <a:pt x="122" y="171"/>
                  <a:pt x="122" y="171"/>
                </a:cubicBezTo>
                <a:cubicBezTo>
                  <a:pt x="122" y="171"/>
                  <a:pt x="122" y="171"/>
                  <a:pt x="122" y="171"/>
                </a:cubicBezTo>
                <a:cubicBezTo>
                  <a:pt x="121" y="173"/>
                  <a:pt x="121" y="173"/>
                  <a:pt x="121" y="173"/>
                </a:cubicBezTo>
                <a:cubicBezTo>
                  <a:pt x="121" y="174"/>
                  <a:pt x="121" y="174"/>
                  <a:pt x="121" y="174"/>
                </a:cubicBezTo>
                <a:cubicBezTo>
                  <a:pt x="122" y="172"/>
                  <a:pt x="122" y="172"/>
                  <a:pt x="122" y="172"/>
                </a:cubicBezTo>
                <a:cubicBezTo>
                  <a:pt x="124" y="172"/>
                  <a:pt x="124" y="172"/>
                  <a:pt x="124" y="172"/>
                </a:cubicBezTo>
                <a:cubicBezTo>
                  <a:pt x="128" y="169"/>
                  <a:pt x="128" y="169"/>
                  <a:pt x="128" y="169"/>
                </a:cubicBezTo>
                <a:cubicBezTo>
                  <a:pt x="130" y="169"/>
                  <a:pt x="130" y="169"/>
                  <a:pt x="130" y="169"/>
                </a:cubicBezTo>
                <a:cubicBezTo>
                  <a:pt x="131" y="168"/>
                  <a:pt x="131" y="168"/>
                  <a:pt x="131" y="168"/>
                </a:cubicBezTo>
                <a:cubicBezTo>
                  <a:pt x="134" y="168"/>
                  <a:pt x="134" y="168"/>
                  <a:pt x="134" y="168"/>
                </a:cubicBezTo>
                <a:cubicBezTo>
                  <a:pt x="135" y="167"/>
                  <a:pt x="135" y="167"/>
                  <a:pt x="135" y="167"/>
                </a:cubicBezTo>
                <a:cubicBezTo>
                  <a:pt x="136" y="167"/>
                  <a:pt x="136" y="167"/>
                  <a:pt x="136" y="167"/>
                </a:cubicBezTo>
                <a:cubicBezTo>
                  <a:pt x="135" y="169"/>
                  <a:pt x="135" y="169"/>
                  <a:pt x="135" y="169"/>
                </a:cubicBezTo>
                <a:cubicBezTo>
                  <a:pt x="134" y="169"/>
                  <a:pt x="134" y="169"/>
                  <a:pt x="134" y="169"/>
                </a:cubicBezTo>
                <a:cubicBezTo>
                  <a:pt x="134" y="170"/>
                  <a:pt x="134" y="170"/>
                  <a:pt x="134" y="170"/>
                </a:cubicBezTo>
                <a:cubicBezTo>
                  <a:pt x="135" y="171"/>
                  <a:pt x="135" y="171"/>
                  <a:pt x="135" y="171"/>
                </a:cubicBezTo>
                <a:cubicBezTo>
                  <a:pt x="136" y="169"/>
                  <a:pt x="136" y="169"/>
                  <a:pt x="136" y="169"/>
                </a:cubicBezTo>
                <a:cubicBezTo>
                  <a:pt x="139" y="168"/>
                  <a:pt x="139" y="168"/>
                  <a:pt x="139" y="168"/>
                </a:cubicBezTo>
                <a:cubicBezTo>
                  <a:pt x="140" y="168"/>
                  <a:pt x="140" y="168"/>
                  <a:pt x="140" y="168"/>
                </a:cubicBezTo>
                <a:cubicBezTo>
                  <a:pt x="140" y="167"/>
                  <a:pt x="140" y="167"/>
                  <a:pt x="140" y="167"/>
                </a:cubicBezTo>
                <a:cubicBezTo>
                  <a:pt x="141" y="166"/>
                  <a:pt x="141" y="166"/>
                  <a:pt x="141" y="166"/>
                </a:cubicBezTo>
                <a:cubicBezTo>
                  <a:pt x="142" y="167"/>
                  <a:pt x="142" y="167"/>
                  <a:pt x="142" y="167"/>
                </a:cubicBezTo>
                <a:cubicBezTo>
                  <a:pt x="142" y="166"/>
                  <a:pt x="142" y="166"/>
                  <a:pt x="142" y="166"/>
                </a:cubicBezTo>
                <a:cubicBezTo>
                  <a:pt x="142" y="165"/>
                  <a:pt x="142" y="165"/>
                  <a:pt x="142" y="165"/>
                </a:cubicBezTo>
                <a:cubicBezTo>
                  <a:pt x="143" y="166"/>
                  <a:pt x="143" y="166"/>
                  <a:pt x="143" y="166"/>
                </a:cubicBezTo>
                <a:cubicBezTo>
                  <a:pt x="144" y="166"/>
                  <a:pt x="144" y="166"/>
                  <a:pt x="144" y="166"/>
                </a:cubicBezTo>
                <a:cubicBezTo>
                  <a:pt x="144" y="164"/>
                  <a:pt x="144" y="164"/>
                  <a:pt x="144" y="164"/>
                </a:cubicBezTo>
                <a:cubicBezTo>
                  <a:pt x="144" y="163"/>
                  <a:pt x="144" y="163"/>
                  <a:pt x="144" y="163"/>
                </a:cubicBezTo>
                <a:cubicBezTo>
                  <a:pt x="145" y="162"/>
                  <a:pt x="145" y="162"/>
                  <a:pt x="145" y="162"/>
                </a:cubicBezTo>
                <a:cubicBezTo>
                  <a:pt x="144" y="161"/>
                  <a:pt x="144" y="161"/>
                  <a:pt x="144" y="161"/>
                </a:cubicBezTo>
                <a:cubicBezTo>
                  <a:pt x="145" y="160"/>
                  <a:pt x="145" y="160"/>
                  <a:pt x="145" y="160"/>
                </a:cubicBezTo>
                <a:cubicBezTo>
                  <a:pt x="147" y="159"/>
                  <a:pt x="147" y="159"/>
                  <a:pt x="147" y="159"/>
                </a:cubicBezTo>
                <a:cubicBezTo>
                  <a:pt x="147" y="160"/>
                  <a:pt x="147" y="160"/>
                  <a:pt x="147" y="160"/>
                </a:cubicBezTo>
                <a:cubicBezTo>
                  <a:pt x="147" y="165"/>
                  <a:pt x="147" y="165"/>
                  <a:pt x="147" y="165"/>
                </a:cubicBezTo>
                <a:cubicBezTo>
                  <a:pt x="146" y="167"/>
                  <a:pt x="146" y="167"/>
                  <a:pt x="146" y="167"/>
                </a:cubicBezTo>
                <a:cubicBezTo>
                  <a:pt x="147" y="171"/>
                  <a:pt x="147" y="171"/>
                  <a:pt x="147" y="171"/>
                </a:cubicBezTo>
                <a:cubicBezTo>
                  <a:pt x="145" y="173"/>
                  <a:pt x="145" y="173"/>
                  <a:pt x="145" y="173"/>
                </a:cubicBezTo>
                <a:cubicBezTo>
                  <a:pt x="145" y="178"/>
                  <a:pt x="145" y="178"/>
                  <a:pt x="145" y="178"/>
                </a:cubicBezTo>
                <a:cubicBezTo>
                  <a:pt x="146" y="180"/>
                  <a:pt x="146" y="180"/>
                  <a:pt x="146" y="180"/>
                </a:cubicBezTo>
                <a:cubicBezTo>
                  <a:pt x="147" y="180"/>
                  <a:pt x="147" y="180"/>
                  <a:pt x="147" y="180"/>
                </a:cubicBezTo>
                <a:cubicBezTo>
                  <a:pt x="148" y="182"/>
                  <a:pt x="148" y="182"/>
                  <a:pt x="148" y="182"/>
                </a:cubicBezTo>
                <a:cubicBezTo>
                  <a:pt x="150" y="181"/>
                  <a:pt x="150" y="181"/>
                  <a:pt x="150" y="181"/>
                </a:cubicBezTo>
                <a:cubicBezTo>
                  <a:pt x="149" y="180"/>
                  <a:pt x="149" y="180"/>
                  <a:pt x="149" y="180"/>
                </a:cubicBezTo>
                <a:cubicBezTo>
                  <a:pt x="148" y="180"/>
                  <a:pt x="148" y="180"/>
                  <a:pt x="148" y="180"/>
                </a:cubicBezTo>
                <a:cubicBezTo>
                  <a:pt x="148" y="179"/>
                  <a:pt x="148" y="179"/>
                  <a:pt x="148" y="179"/>
                </a:cubicBezTo>
                <a:cubicBezTo>
                  <a:pt x="149" y="179"/>
                  <a:pt x="149" y="179"/>
                  <a:pt x="149" y="179"/>
                </a:cubicBezTo>
                <a:cubicBezTo>
                  <a:pt x="150" y="179"/>
                  <a:pt x="150" y="179"/>
                  <a:pt x="150" y="179"/>
                </a:cubicBezTo>
                <a:cubicBezTo>
                  <a:pt x="151" y="178"/>
                  <a:pt x="151" y="178"/>
                  <a:pt x="151" y="178"/>
                </a:cubicBezTo>
                <a:cubicBezTo>
                  <a:pt x="150" y="178"/>
                  <a:pt x="150" y="178"/>
                  <a:pt x="150" y="178"/>
                </a:cubicBezTo>
                <a:cubicBezTo>
                  <a:pt x="151" y="176"/>
                  <a:pt x="151" y="176"/>
                  <a:pt x="151" y="176"/>
                </a:cubicBezTo>
                <a:cubicBezTo>
                  <a:pt x="153" y="177"/>
                  <a:pt x="153" y="177"/>
                  <a:pt x="153" y="177"/>
                </a:cubicBezTo>
                <a:cubicBezTo>
                  <a:pt x="153" y="178"/>
                  <a:pt x="153" y="178"/>
                  <a:pt x="153" y="178"/>
                </a:cubicBezTo>
                <a:cubicBezTo>
                  <a:pt x="154" y="177"/>
                  <a:pt x="154" y="177"/>
                  <a:pt x="154" y="177"/>
                </a:cubicBezTo>
                <a:cubicBezTo>
                  <a:pt x="153" y="174"/>
                  <a:pt x="153" y="174"/>
                  <a:pt x="153" y="174"/>
                </a:cubicBezTo>
                <a:cubicBezTo>
                  <a:pt x="154" y="174"/>
                  <a:pt x="154" y="174"/>
                  <a:pt x="154" y="174"/>
                </a:cubicBezTo>
                <a:cubicBezTo>
                  <a:pt x="156" y="173"/>
                  <a:pt x="156" y="173"/>
                  <a:pt x="156" y="173"/>
                </a:cubicBezTo>
                <a:cubicBezTo>
                  <a:pt x="156" y="172"/>
                  <a:pt x="156" y="172"/>
                  <a:pt x="156" y="172"/>
                </a:cubicBezTo>
                <a:cubicBezTo>
                  <a:pt x="158" y="172"/>
                  <a:pt x="158" y="172"/>
                  <a:pt x="158" y="172"/>
                </a:cubicBezTo>
                <a:cubicBezTo>
                  <a:pt x="158" y="173"/>
                  <a:pt x="158" y="173"/>
                  <a:pt x="158" y="173"/>
                </a:cubicBezTo>
                <a:cubicBezTo>
                  <a:pt x="158" y="174"/>
                  <a:pt x="158" y="174"/>
                  <a:pt x="158" y="174"/>
                </a:cubicBezTo>
                <a:cubicBezTo>
                  <a:pt x="157" y="175"/>
                  <a:pt x="157" y="175"/>
                  <a:pt x="157" y="175"/>
                </a:cubicBezTo>
                <a:cubicBezTo>
                  <a:pt x="157" y="176"/>
                  <a:pt x="157" y="176"/>
                  <a:pt x="157" y="176"/>
                </a:cubicBezTo>
                <a:cubicBezTo>
                  <a:pt x="156" y="177"/>
                  <a:pt x="156" y="177"/>
                  <a:pt x="156" y="177"/>
                </a:cubicBezTo>
                <a:cubicBezTo>
                  <a:pt x="156" y="178"/>
                  <a:pt x="156" y="178"/>
                  <a:pt x="156" y="178"/>
                </a:cubicBezTo>
                <a:cubicBezTo>
                  <a:pt x="156" y="178"/>
                  <a:pt x="156" y="178"/>
                  <a:pt x="156" y="178"/>
                </a:cubicBezTo>
                <a:cubicBezTo>
                  <a:pt x="157" y="178"/>
                  <a:pt x="157" y="178"/>
                  <a:pt x="157" y="178"/>
                </a:cubicBezTo>
                <a:cubicBezTo>
                  <a:pt x="157" y="178"/>
                  <a:pt x="157" y="178"/>
                  <a:pt x="157" y="178"/>
                </a:cubicBezTo>
                <a:cubicBezTo>
                  <a:pt x="157" y="179"/>
                  <a:pt x="157" y="179"/>
                  <a:pt x="157" y="179"/>
                </a:cubicBezTo>
                <a:cubicBezTo>
                  <a:pt x="156" y="179"/>
                  <a:pt x="156" y="179"/>
                  <a:pt x="156" y="179"/>
                </a:cubicBezTo>
                <a:cubicBezTo>
                  <a:pt x="155" y="181"/>
                  <a:pt x="155" y="181"/>
                  <a:pt x="155" y="181"/>
                </a:cubicBezTo>
                <a:cubicBezTo>
                  <a:pt x="154" y="180"/>
                  <a:pt x="154" y="180"/>
                  <a:pt x="154" y="180"/>
                </a:cubicBezTo>
                <a:cubicBezTo>
                  <a:pt x="154" y="181"/>
                  <a:pt x="154" y="181"/>
                  <a:pt x="154" y="181"/>
                </a:cubicBezTo>
                <a:cubicBezTo>
                  <a:pt x="153" y="182"/>
                  <a:pt x="153" y="182"/>
                  <a:pt x="153" y="182"/>
                </a:cubicBezTo>
                <a:cubicBezTo>
                  <a:pt x="154" y="183"/>
                  <a:pt x="154" y="183"/>
                  <a:pt x="154" y="183"/>
                </a:cubicBezTo>
                <a:cubicBezTo>
                  <a:pt x="155" y="183"/>
                  <a:pt x="155" y="183"/>
                  <a:pt x="155" y="183"/>
                </a:cubicBezTo>
                <a:cubicBezTo>
                  <a:pt x="156" y="184"/>
                  <a:pt x="156" y="184"/>
                  <a:pt x="156" y="184"/>
                </a:cubicBezTo>
                <a:cubicBezTo>
                  <a:pt x="157" y="184"/>
                  <a:pt x="157" y="184"/>
                  <a:pt x="157" y="184"/>
                </a:cubicBezTo>
                <a:cubicBezTo>
                  <a:pt x="159" y="183"/>
                  <a:pt x="159" y="183"/>
                  <a:pt x="159" y="183"/>
                </a:cubicBezTo>
                <a:cubicBezTo>
                  <a:pt x="160" y="183"/>
                  <a:pt x="160" y="183"/>
                  <a:pt x="160" y="183"/>
                </a:cubicBezTo>
                <a:cubicBezTo>
                  <a:pt x="161" y="180"/>
                  <a:pt x="161" y="180"/>
                  <a:pt x="161" y="180"/>
                </a:cubicBezTo>
                <a:cubicBezTo>
                  <a:pt x="163" y="179"/>
                  <a:pt x="163" y="179"/>
                  <a:pt x="163" y="179"/>
                </a:cubicBezTo>
                <a:cubicBezTo>
                  <a:pt x="164" y="178"/>
                  <a:pt x="164" y="178"/>
                  <a:pt x="164" y="178"/>
                </a:cubicBezTo>
                <a:cubicBezTo>
                  <a:pt x="165" y="179"/>
                  <a:pt x="165" y="179"/>
                  <a:pt x="165" y="179"/>
                </a:cubicBezTo>
                <a:cubicBezTo>
                  <a:pt x="166" y="179"/>
                  <a:pt x="166" y="179"/>
                  <a:pt x="166" y="179"/>
                </a:cubicBezTo>
                <a:cubicBezTo>
                  <a:pt x="167" y="180"/>
                  <a:pt x="167" y="180"/>
                  <a:pt x="167" y="180"/>
                </a:cubicBezTo>
                <a:cubicBezTo>
                  <a:pt x="168" y="180"/>
                  <a:pt x="168" y="180"/>
                  <a:pt x="168" y="180"/>
                </a:cubicBezTo>
                <a:cubicBezTo>
                  <a:pt x="170" y="181"/>
                  <a:pt x="170" y="181"/>
                  <a:pt x="170" y="181"/>
                </a:cubicBezTo>
                <a:cubicBezTo>
                  <a:pt x="171" y="181"/>
                  <a:pt x="171" y="181"/>
                  <a:pt x="171" y="181"/>
                </a:cubicBezTo>
                <a:cubicBezTo>
                  <a:pt x="171" y="183"/>
                  <a:pt x="171" y="183"/>
                  <a:pt x="171" y="183"/>
                </a:cubicBezTo>
                <a:cubicBezTo>
                  <a:pt x="172" y="186"/>
                  <a:pt x="172" y="186"/>
                  <a:pt x="172" y="186"/>
                </a:cubicBezTo>
                <a:cubicBezTo>
                  <a:pt x="172" y="187"/>
                  <a:pt x="172" y="187"/>
                  <a:pt x="172" y="187"/>
                </a:cubicBezTo>
                <a:cubicBezTo>
                  <a:pt x="173" y="189"/>
                  <a:pt x="173" y="189"/>
                  <a:pt x="173" y="189"/>
                </a:cubicBezTo>
                <a:cubicBezTo>
                  <a:pt x="178" y="193"/>
                  <a:pt x="178" y="193"/>
                  <a:pt x="178" y="193"/>
                </a:cubicBezTo>
                <a:cubicBezTo>
                  <a:pt x="179" y="194"/>
                  <a:pt x="179" y="194"/>
                  <a:pt x="179" y="194"/>
                </a:cubicBezTo>
                <a:cubicBezTo>
                  <a:pt x="180" y="195"/>
                  <a:pt x="180" y="195"/>
                  <a:pt x="180" y="195"/>
                </a:cubicBezTo>
                <a:cubicBezTo>
                  <a:pt x="182" y="197"/>
                  <a:pt x="182" y="197"/>
                  <a:pt x="182" y="197"/>
                </a:cubicBezTo>
                <a:cubicBezTo>
                  <a:pt x="183" y="197"/>
                  <a:pt x="183" y="197"/>
                  <a:pt x="183" y="197"/>
                </a:cubicBezTo>
                <a:cubicBezTo>
                  <a:pt x="184" y="197"/>
                  <a:pt x="184" y="197"/>
                  <a:pt x="184" y="197"/>
                </a:cubicBezTo>
                <a:cubicBezTo>
                  <a:pt x="185" y="199"/>
                  <a:pt x="185" y="199"/>
                  <a:pt x="185" y="199"/>
                </a:cubicBezTo>
                <a:cubicBezTo>
                  <a:pt x="185" y="199"/>
                  <a:pt x="185" y="199"/>
                  <a:pt x="185" y="199"/>
                </a:cubicBezTo>
                <a:cubicBezTo>
                  <a:pt x="186" y="198"/>
                  <a:pt x="186" y="198"/>
                  <a:pt x="186" y="198"/>
                </a:cubicBezTo>
                <a:cubicBezTo>
                  <a:pt x="186" y="199"/>
                  <a:pt x="186" y="199"/>
                  <a:pt x="186" y="199"/>
                </a:cubicBezTo>
                <a:cubicBezTo>
                  <a:pt x="188" y="200"/>
                  <a:pt x="188" y="200"/>
                  <a:pt x="188" y="200"/>
                </a:cubicBezTo>
                <a:cubicBezTo>
                  <a:pt x="189" y="200"/>
                  <a:pt x="189" y="200"/>
                  <a:pt x="189" y="200"/>
                </a:cubicBezTo>
                <a:cubicBezTo>
                  <a:pt x="189" y="202"/>
                  <a:pt x="189" y="202"/>
                  <a:pt x="189" y="202"/>
                </a:cubicBezTo>
                <a:cubicBezTo>
                  <a:pt x="190" y="203"/>
                  <a:pt x="190" y="203"/>
                  <a:pt x="190" y="203"/>
                </a:cubicBezTo>
                <a:cubicBezTo>
                  <a:pt x="191" y="202"/>
                  <a:pt x="191" y="202"/>
                  <a:pt x="191" y="202"/>
                </a:cubicBezTo>
                <a:cubicBezTo>
                  <a:pt x="190" y="201"/>
                  <a:pt x="190" y="201"/>
                  <a:pt x="190" y="201"/>
                </a:cubicBezTo>
                <a:cubicBezTo>
                  <a:pt x="190" y="200"/>
                  <a:pt x="190" y="200"/>
                  <a:pt x="190" y="200"/>
                </a:cubicBezTo>
                <a:cubicBezTo>
                  <a:pt x="189" y="199"/>
                  <a:pt x="189" y="199"/>
                  <a:pt x="189" y="199"/>
                </a:cubicBezTo>
                <a:cubicBezTo>
                  <a:pt x="189" y="199"/>
                  <a:pt x="189" y="199"/>
                  <a:pt x="189" y="199"/>
                </a:cubicBezTo>
                <a:cubicBezTo>
                  <a:pt x="191" y="200"/>
                  <a:pt x="191" y="200"/>
                  <a:pt x="191" y="200"/>
                </a:cubicBezTo>
                <a:cubicBezTo>
                  <a:pt x="191" y="200"/>
                  <a:pt x="191" y="200"/>
                  <a:pt x="191" y="200"/>
                </a:cubicBezTo>
                <a:cubicBezTo>
                  <a:pt x="192" y="200"/>
                  <a:pt x="192" y="200"/>
                  <a:pt x="192" y="200"/>
                </a:cubicBezTo>
                <a:cubicBezTo>
                  <a:pt x="192" y="199"/>
                  <a:pt x="192" y="199"/>
                  <a:pt x="192" y="199"/>
                </a:cubicBezTo>
                <a:cubicBezTo>
                  <a:pt x="193" y="199"/>
                  <a:pt x="193" y="199"/>
                  <a:pt x="193" y="199"/>
                </a:cubicBezTo>
                <a:cubicBezTo>
                  <a:pt x="195" y="201"/>
                  <a:pt x="195" y="201"/>
                  <a:pt x="195" y="201"/>
                </a:cubicBezTo>
                <a:cubicBezTo>
                  <a:pt x="195" y="202"/>
                  <a:pt x="195" y="202"/>
                  <a:pt x="195" y="202"/>
                </a:cubicBezTo>
                <a:cubicBezTo>
                  <a:pt x="196" y="202"/>
                  <a:pt x="196" y="202"/>
                  <a:pt x="196" y="202"/>
                </a:cubicBezTo>
                <a:cubicBezTo>
                  <a:pt x="196" y="204"/>
                  <a:pt x="196" y="204"/>
                  <a:pt x="196" y="204"/>
                </a:cubicBezTo>
                <a:cubicBezTo>
                  <a:pt x="197" y="205"/>
                  <a:pt x="197" y="205"/>
                  <a:pt x="197" y="205"/>
                </a:cubicBezTo>
                <a:cubicBezTo>
                  <a:pt x="197" y="206"/>
                  <a:pt x="197" y="206"/>
                  <a:pt x="197" y="206"/>
                </a:cubicBezTo>
                <a:cubicBezTo>
                  <a:pt x="198" y="208"/>
                  <a:pt x="198" y="208"/>
                  <a:pt x="198" y="208"/>
                </a:cubicBezTo>
                <a:cubicBezTo>
                  <a:pt x="197" y="209"/>
                  <a:pt x="197" y="209"/>
                  <a:pt x="197" y="209"/>
                </a:cubicBezTo>
                <a:cubicBezTo>
                  <a:pt x="197" y="210"/>
                  <a:pt x="197" y="210"/>
                  <a:pt x="197" y="210"/>
                </a:cubicBezTo>
                <a:cubicBezTo>
                  <a:pt x="196" y="212"/>
                  <a:pt x="196" y="212"/>
                  <a:pt x="196" y="212"/>
                </a:cubicBezTo>
                <a:cubicBezTo>
                  <a:pt x="193" y="211"/>
                  <a:pt x="193" y="211"/>
                  <a:pt x="193" y="211"/>
                </a:cubicBezTo>
                <a:cubicBezTo>
                  <a:pt x="192" y="211"/>
                  <a:pt x="192" y="211"/>
                  <a:pt x="192" y="211"/>
                </a:cubicBezTo>
                <a:cubicBezTo>
                  <a:pt x="192" y="211"/>
                  <a:pt x="192" y="211"/>
                  <a:pt x="192" y="211"/>
                </a:cubicBezTo>
                <a:cubicBezTo>
                  <a:pt x="191" y="212"/>
                  <a:pt x="191" y="212"/>
                  <a:pt x="191" y="212"/>
                </a:cubicBezTo>
                <a:cubicBezTo>
                  <a:pt x="189" y="211"/>
                  <a:pt x="189" y="211"/>
                  <a:pt x="189" y="211"/>
                </a:cubicBezTo>
                <a:cubicBezTo>
                  <a:pt x="188" y="211"/>
                  <a:pt x="188" y="211"/>
                  <a:pt x="188" y="211"/>
                </a:cubicBezTo>
                <a:cubicBezTo>
                  <a:pt x="189" y="212"/>
                  <a:pt x="189" y="212"/>
                  <a:pt x="189" y="212"/>
                </a:cubicBezTo>
                <a:cubicBezTo>
                  <a:pt x="188" y="213"/>
                  <a:pt x="188" y="213"/>
                  <a:pt x="188" y="213"/>
                </a:cubicBezTo>
                <a:cubicBezTo>
                  <a:pt x="188" y="214"/>
                  <a:pt x="188" y="214"/>
                  <a:pt x="188" y="214"/>
                </a:cubicBezTo>
                <a:cubicBezTo>
                  <a:pt x="186" y="214"/>
                  <a:pt x="186" y="214"/>
                  <a:pt x="186" y="214"/>
                </a:cubicBezTo>
                <a:cubicBezTo>
                  <a:pt x="185" y="214"/>
                  <a:pt x="185" y="214"/>
                  <a:pt x="185" y="214"/>
                </a:cubicBezTo>
                <a:cubicBezTo>
                  <a:pt x="186" y="215"/>
                  <a:pt x="186" y="215"/>
                  <a:pt x="186" y="215"/>
                </a:cubicBezTo>
                <a:cubicBezTo>
                  <a:pt x="187" y="215"/>
                  <a:pt x="187" y="215"/>
                  <a:pt x="187" y="215"/>
                </a:cubicBezTo>
                <a:cubicBezTo>
                  <a:pt x="187" y="217"/>
                  <a:pt x="187" y="217"/>
                  <a:pt x="187" y="217"/>
                </a:cubicBezTo>
                <a:cubicBezTo>
                  <a:pt x="188" y="218"/>
                  <a:pt x="188" y="218"/>
                  <a:pt x="188" y="218"/>
                </a:cubicBezTo>
                <a:cubicBezTo>
                  <a:pt x="189" y="217"/>
                  <a:pt x="189" y="217"/>
                  <a:pt x="189" y="217"/>
                </a:cubicBezTo>
                <a:cubicBezTo>
                  <a:pt x="190" y="218"/>
                  <a:pt x="190" y="218"/>
                  <a:pt x="190" y="218"/>
                </a:cubicBezTo>
                <a:cubicBezTo>
                  <a:pt x="190" y="219"/>
                  <a:pt x="190" y="219"/>
                  <a:pt x="190" y="219"/>
                </a:cubicBezTo>
                <a:cubicBezTo>
                  <a:pt x="192" y="219"/>
                  <a:pt x="192" y="219"/>
                  <a:pt x="192" y="219"/>
                </a:cubicBezTo>
                <a:cubicBezTo>
                  <a:pt x="194" y="220"/>
                  <a:pt x="194" y="220"/>
                  <a:pt x="194" y="220"/>
                </a:cubicBezTo>
                <a:cubicBezTo>
                  <a:pt x="196" y="221"/>
                  <a:pt x="196" y="221"/>
                  <a:pt x="196" y="221"/>
                </a:cubicBezTo>
                <a:cubicBezTo>
                  <a:pt x="199" y="222"/>
                  <a:pt x="199" y="222"/>
                  <a:pt x="199" y="222"/>
                </a:cubicBezTo>
                <a:cubicBezTo>
                  <a:pt x="200" y="222"/>
                  <a:pt x="200" y="222"/>
                  <a:pt x="200" y="222"/>
                </a:cubicBezTo>
                <a:cubicBezTo>
                  <a:pt x="200" y="221"/>
                  <a:pt x="200" y="221"/>
                  <a:pt x="200" y="221"/>
                </a:cubicBezTo>
                <a:cubicBezTo>
                  <a:pt x="201" y="221"/>
                  <a:pt x="201" y="221"/>
                  <a:pt x="201" y="221"/>
                </a:cubicBezTo>
                <a:cubicBezTo>
                  <a:pt x="202" y="222"/>
                  <a:pt x="202" y="222"/>
                  <a:pt x="202" y="222"/>
                </a:cubicBezTo>
                <a:cubicBezTo>
                  <a:pt x="202" y="223"/>
                  <a:pt x="202" y="223"/>
                  <a:pt x="202" y="223"/>
                </a:cubicBezTo>
                <a:cubicBezTo>
                  <a:pt x="204" y="221"/>
                  <a:pt x="204" y="221"/>
                  <a:pt x="204" y="221"/>
                </a:cubicBezTo>
                <a:cubicBezTo>
                  <a:pt x="205" y="222"/>
                  <a:pt x="205" y="222"/>
                  <a:pt x="205" y="222"/>
                </a:cubicBezTo>
                <a:cubicBezTo>
                  <a:pt x="205" y="222"/>
                  <a:pt x="205" y="222"/>
                  <a:pt x="205" y="222"/>
                </a:cubicBezTo>
                <a:cubicBezTo>
                  <a:pt x="206" y="221"/>
                  <a:pt x="206" y="221"/>
                  <a:pt x="206" y="221"/>
                </a:cubicBezTo>
                <a:cubicBezTo>
                  <a:pt x="207" y="221"/>
                  <a:pt x="207" y="221"/>
                  <a:pt x="207" y="221"/>
                </a:cubicBezTo>
                <a:cubicBezTo>
                  <a:pt x="207" y="222"/>
                  <a:pt x="207" y="222"/>
                  <a:pt x="207" y="222"/>
                </a:cubicBezTo>
                <a:cubicBezTo>
                  <a:pt x="207" y="222"/>
                  <a:pt x="207" y="222"/>
                  <a:pt x="207" y="222"/>
                </a:cubicBezTo>
                <a:cubicBezTo>
                  <a:pt x="209" y="221"/>
                  <a:pt x="209" y="221"/>
                  <a:pt x="209" y="221"/>
                </a:cubicBezTo>
                <a:cubicBezTo>
                  <a:pt x="213" y="220"/>
                  <a:pt x="213" y="220"/>
                  <a:pt x="213" y="220"/>
                </a:cubicBezTo>
                <a:cubicBezTo>
                  <a:pt x="214" y="219"/>
                  <a:pt x="214" y="219"/>
                  <a:pt x="214" y="219"/>
                </a:cubicBezTo>
                <a:cubicBezTo>
                  <a:pt x="214" y="220"/>
                  <a:pt x="214" y="220"/>
                  <a:pt x="214" y="220"/>
                </a:cubicBezTo>
                <a:cubicBezTo>
                  <a:pt x="213" y="221"/>
                  <a:pt x="213" y="221"/>
                  <a:pt x="213" y="221"/>
                </a:cubicBezTo>
                <a:cubicBezTo>
                  <a:pt x="213" y="222"/>
                  <a:pt x="213" y="222"/>
                  <a:pt x="213" y="222"/>
                </a:cubicBezTo>
                <a:cubicBezTo>
                  <a:pt x="214" y="222"/>
                  <a:pt x="214" y="222"/>
                  <a:pt x="214" y="222"/>
                </a:cubicBezTo>
                <a:cubicBezTo>
                  <a:pt x="214" y="223"/>
                  <a:pt x="214" y="223"/>
                  <a:pt x="214" y="223"/>
                </a:cubicBezTo>
                <a:cubicBezTo>
                  <a:pt x="214" y="224"/>
                  <a:pt x="214" y="224"/>
                  <a:pt x="214" y="224"/>
                </a:cubicBezTo>
                <a:cubicBezTo>
                  <a:pt x="214" y="225"/>
                  <a:pt x="214" y="225"/>
                  <a:pt x="214" y="225"/>
                </a:cubicBezTo>
                <a:cubicBezTo>
                  <a:pt x="215" y="225"/>
                  <a:pt x="215" y="225"/>
                  <a:pt x="215" y="225"/>
                </a:cubicBezTo>
                <a:cubicBezTo>
                  <a:pt x="215" y="224"/>
                  <a:pt x="215" y="224"/>
                  <a:pt x="215" y="224"/>
                </a:cubicBezTo>
                <a:cubicBezTo>
                  <a:pt x="216" y="225"/>
                  <a:pt x="216" y="225"/>
                  <a:pt x="216" y="225"/>
                </a:cubicBezTo>
                <a:cubicBezTo>
                  <a:pt x="216" y="226"/>
                  <a:pt x="216" y="226"/>
                  <a:pt x="216" y="226"/>
                </a:cubicBezTo>
                <a:cubicBezTo>
                  <a:pt x="215" y="228"/>
                  <a:pt x="215" y="228"/>
                  <a:pt x="215" y="228"/>
                </a:cubicBezTo>
                <a:cubicBezTo>
                  <a:pt x="215" y="229"/>
                  <a:pt x="215" y="229"/>
                  <a:pt x="215" y="229"/>
                </a:cubicBezTo>
                <a:cubicBezTo>
                  <a:pt x="216" y="229"/>
                  <a:pt x="216" y="229"/>
                  <a:pt x="216" y="229"/>
                </a:cubicBezTo>
                <a:cubicBezTo>
                  <a:pt x="217" y="228"/>
                  <a:pt x="217" y="228"/>
                  <a:pt x="217" y="228"/>
                </a:cubicBezTo>
                <a:cubicBezTo>
                  <a:pt x="217" y="227"/>
                  <a:pt x="217" y="227"/>
                  <a:pt x="217" y="227"/>
                </a:cubicBezTo>
                <a:cubicBezTo>
                  <a:pt x="217" y="226"/>
                  <a:pt x="217" y="226"/>
                  <a:pt x="217" y="226"/>
                </a:cubicBezTo>
                <a:cubicBezTo>
                  <a:pt x="218" y="226"/>
                  <a:pt x="218" y="226"/>
                  <a:pt x="218" y="226"/>
                </a:cubicBezTo>
                <a:cubicBezTo>
                  <a:pt x="218" y="228"/>
                  <a:pt x="218" y="228"/>
                  <a:pt x="218" y="228"/>
                </a:cubicBezTo>
                <a:cubicBezTo>
                  <a:pt x="217" y="230"/>
                  <a:pt x="217" y="230"/>
                  <a:pt x="217" y="230"/>
                </a:cubicBezTo>
                <a:cubicBezTo>
                  <a:pt x="216" y="231"/>
                  <a:pt x="216" y="231"/>
                  <a:pt x="216" y="231"/>
                </a:cubicBezTo>
                <a:cubicBezTo>
                  <a:pt x="216" y="233"/>
                  <a:pt x="216" y="233"/>
                  <a:pt x="216" y="233"/>
                </a:cubicBezTo>
                <a:cubicBezTo>
                  <a:pt x="217" y="235"/>
                  <a:pt x="217" y="235"/>
                  <a:pt x="217" y="235"/>
                </a:cubicBezTo>
                <a:cubicBezTo>
                  <a:pt x="217" y="237"/>
                  <a:pt x="217" y="237"/>
                  <a:pt x="217" y="237"/>
                </a:cubicBezTo>
                <a:cubicBezTo>
                  <a:pt x="216" y="239"/>
                  <a:pt x="216" y="239"/>
                  <a:pt x="216" y="239"/>
                </a:cubicBezTo>
                <a:cubicBezTo>
                  <a:pt x="217" y="239"/>
                  <a:pt x="217" y="239"/>
                  <a:pt x="217" y="239"/>
                </a:cubicBezTo>
                <a:cubicBezTo>
                  <a:pt x="217" y="240"/>
                  <a:pt x="217" y="240"/>
                  <a:pt x="217" y="240"/>
                </a:cubicBezTo>
                <a:cubicBezTo>
                  <a:pt x="217" y="241"/>
                  <a:pt x="217" y="241"/>
                  <a:pt x="217" y="241"/>
                </a:cubicBezTo>
                <a:cubicBezTo>
                  <a:pt x="217" y="242"/>
                  <a:pt x="217" y="242"/>
                  <a:pt x="217" y="242"/>
                </a:cubicBezTo>
                <a:cubicBezTo>
                  <a:pt x="218" y="244"/>
                  <a:pt x="218" y="244"/>
                  <a:pt x="218" y="244"/>
                </a:cubicBezTo>
                <a:cubicBezTo>
                  <a:pt x="218" y="248"/>
                  <a:pt x="218" y="248"/>
                  <a:pt x="218" y="248"/>
                </a:cubicBezTo>
                <a:cubicBezTo>
                  <a:pt x="218" y="244"/>
                  <a:pt x="218" y="244"/>
                  <a:pt x="218" y="244"/>
                </a:cubicBezTo>
                <a:cubicBezTo>
                  <a:pt x="218" y="241"/>
                  <a:pt x="218" y="241"/>
                  <a:pt x="218" y="241"/>
                </a:cubicBezTo>
                <a:cubicBezTo>
                  <a:pt x="218" y="238"/>
                  <a:pt x="218" y="238"/>
                  <a:pt x="218" y="238"/>
                </a:cubicBezTo>
                <a:cubicBezTo>
                  <a:pt x="220" y="235"/>
                  <a:pt x="220" y="235"/>
                  <a:pt x="220" y="235"/>
                </a:cubicBezTo>
                <a:cubicBezTo>
                  <a:pt x="220" y="235"/>
                  <a:pt x="220" y="235"/>
                  <a:pt x="220" y="235"/>
                </a:cubicBezTo>
                <a:cubicBezTo>
                  <a:pt x="220" y="237"/>
                  <a:pt x="220" y="237"/>
                  <a:pt x="220" y="237"/>
                </a:cubicBezTo>
                <a:cubicBezTo>
                  <a:pt x="220" y="237"/>
                  <a:pt x="220" y="237"/>
                  <a:pt x="220" y="237"/>
                </a:cubicBezTo>
                <a:cubicBezTo>
                  <a:pt x="220" y="238"/>
                  <a:pt x="220" y="238"/>
                  <a:pt x="220" y="238"/>
                </a:cubicBezTo>
                <a:cubicBezTo>
                  <a:pt x="220" y="238"/>
                  <a:pt x="220" y="238"/>
                  <a:pt x="220" y="238"/>
                </a:cubicBezTo>
                <a:cubicBezTo>
                  <a:pt x="221" y="237"/>
                  <a:pt x="221" y="237"/>
                  <a:pt x="221" y="237"/>
                </a:cubicBezTo>
                <a:cubicBezTo>
                  <a:pt x="221" y="238"/>
                  <a:pt x="221" y="238"/>
                  <a:pt x="221" y="238"/>
                </a:cubicBezTo>
                <a:cubicBezTo>
                  <a:pt x="222" y="237"/>
                  <a:pt x="222" y="237"/>
                  <a:pt x="222" y="237"/>
                </a:cubicBezTo>
                <a:cubicBezTo>
                  <a:pt x="222" y="236"/>
                  <a:pt x="222" y="236"/>
                  <a:pt x="222" y="236"/>
                </a:cubicBezTo>
                <a:cubicBezTo>
                  <a:pt x="221" y="235"/>
                  <a:pt x="221" y="235"/>
                  <a:pt x="221" y="235"/>
                </a:cubicBezTo>
                <a:cubicBezTo>
                  <a:pt x="221" y="234"/>
                  <a:pt x="221" y="234"/>
                  <a:pt x="221" y="234"/>
                </a:cubicBezTo>
                <a:cubicBezTo>
                  <a:pt x="222" y="234"/>
                  <a:pt x="222" y="234"/>
                  <a:pt x="222" y="234"/>
                </a:cubicBezTo>
                <a:cubicBezTo>
                  <a:pt x="223" y="233"/>
                  <a:pt x="223" y="233"/>
                  <a:pt x="223" y="233"/>
                </a:cubicBezTo>
                <a:cubicBezTo>
                  <a:pt x="222" y="232"/>
                  <a:pt x="222" y="232"/>
                  <a:pt x="222" y="232"/>
                </a:cubicBezTo>
                <a:cubicBezTo>
                  <a:pt x="222" y="232"/>
                  <a:pt x="222" y="232"/>
                  <a:pt x="222" y="232"/>
                </a:cubicBezTo>
                <a:cubicBezTo>
                  <a:pt x="222" y="229"/>
                  <a:pt x="222" y="229"/>
                  <a:pt x="222" y="229"/>
                </a:cubicBezTo>
                <a:cubicBezTo>
                  <a:pt x="223" y="226"/>
                  <a:pt x="223" y="226"/>
                  <a:pt x="223" y="226"/>
                </a:cubicBezTo>
                <a:cubicBezTo>
                  <a:pt x="223" y="225"/>
                  <a:pt x="223" y="225"/>
                  <a:pt x="223" y="225"/>
                </a:cubicBezTo>
                <a:cubicBezTo>
                  <a:pt x="223" y="224"/>
                  <a:pt x="223" y="224"/>
                  <a:pt x="223" y="224"/>
                </a:cubicBezTo>
                <a:cubicBezTo>
                  <a:pt x="224" y="223"/>
                  <a:pt x="224" y="223"/>
                  <a:pt x="224" y="223"/>
                </a:cubicBezTo>
                <a:cubicBezTo>
                  <a:pt x="226" y="223"/>
                  <a:pt x="226" y="223"/>
                  <a:pt x="226" y="223"/>
                </a:cubicBezTo>
                <a:cubicBezTo>
                  <a:pt x="226" y="223"/>
                  <a:pt x="226" y="223"/>
                  <a:pt x="226" y="223"/>
                </a:cubicBezTo>
                <a:cubicBezTo>
                  <a:pt x="226" y="222"/>
                  <a:pt x="226" y="222"/>
                  <a:pt x="226" y="222"/>
                </a:cubicBezTo>
                <a:cubicBezTo>
                  <a:pt x="227" y="222"/>
                  <a:pt x="227" y="222"/>
                  <a:pt x="227" y="222"/>
                </a:cubicBezTo>
                <a:cubicBezTo>
                  <a:pt x="228" y="223"/>
                  <a:pt x="228" y="223"/>
                  <a:pt x="228" y="223"/>
                </a:cubicBezTo>
                <a:cubicBezTo>
                  <a:pt x="229" y="222"/>
                  <a:pt x="229" y="222"/>
                  <a:pt x="229" y="222"/>
                </a:cubicBezTo>
                <a:cubicBezTo>
                  <a:pt x="229" y="221"/>
                  <a:pt x="229" y="221"/>
                  <a:pt x="229" y="221"/>
                </a:cubicBezTo>
                <a:cubicBezTo>
                  <a:pt x="230" y="221"/>
                  <a:pt x="230" y="221"/>
                  <a:pt x="230" y="221"/>
                </a:cubicBezTo>
                <a:cubicBezTo>
                  <a:pt x="230" y="222"/>
                  <a:pt x="230" y="222"/>
                  <a:pt x="230" y="222"/>
                </a:cubicBezTo>
                <a:cubicBezTo>
                  <a:pt x="231" y="222"/>
                  <a:pt x="231" y="222"/>
                  <a:pt x="231" y="222"/>
                </a:cubicBezTo>
                <a:cubicBezTo>
                  <a:pt x="232" y="221"/>
                  <a:pt x="232" y="221"/>
                  <a:pt x="232" y="221"/>
                </a:cubicBezTo>
                <a:cubicBezTo>
                  <a:pt x="233" y="220"/>
                  <a:pt x="233" y="220"/>
                  <a:pt x="233" y="220"/>
                </a:cubicBezTo>
                <a:cubicBezTo>
                  <a:pt x="233" y="220"/>
                  <a:pt x="233" y="220"/>
                  <a:pt x="233" y="220"/>
                </a:cubicBezTo>
                <a:cubicBezTo>
                  <a:pt x="234" y="221"/>
                  <a:pt x="234" y="221"/>
                  <a:pt x="234" y="221"/>
                </a:cubicBezTo>
                <a:cubicBezTo>
                  <a:pt x="234" y="221"/>
                  <a:pt x="234" y="221"/>
                  <a:pt x="234" y="221"/>
                </a:cubicBezTo>
                <a:cubicBezTo>
                  <a:pt x="235" y="223"/>
                  <a:pt x="235" y="223"/>
                  <a:pt x="235" y="223"/>
                </a:cubicBezTo>
                <a:cubicBezTo>
                  <a:pt x="235" y="221"/>
                  <a:pt x="235" y="221"/>
                  <a:pt x="235" y="221"/>
                </a:cubicBezTo>
                <a:cubicBezTo>
                  <a:pt x="234" y="220"/>
                  <a:pt x="234" y="220"/>
                  <a:pt x="234" y="220"/>
                </a:cubicBezTo>
                <a:cubicBezTo>
                  <a:pt x="235" y="218"/>
                  <a:pt x="235" y="218"/>
                  <a:pt x="235" y="218"/>
                </a:cubicBezTo>
                <a:cubicBezTo>
                  <a:pt x="236" y="218"/>
                  <a:pt x="236" y="218"/>
                  <a:pt x="236" y="218"/>
                </a:cubicBezTo>
                <a:cubicBezTo>
                  <a:pt x="237" y="218"/>
                  <a:pt x="237" y="218"/>
                  <a:pt x="237" y="218"/>
                </a:cubicBezTo>
                <a:cubicBezTo>
                  <a:pt x="238" y="218"/>
                  <a:pt x="238" y="218"/>
                  <a:pt x="238" y="218"/>
                </a:cubicBezTo>
                <a:cubicBezTo>
                  <a:pt x="238" y="218"/>
                  <a:pt x="238" y="218"/>
                  <a:pt x="238" y="218"/>
                </a:cubicBezTo>
                <a:cubicBezTo>
                  <a:pt x="239" y="218"/>
                  <a:pt x="239" y="218"/>
                  <a:pt x="239" y="218"/>
                </a:cubicBezTo>
                <a:cubicBezTo>
                  <a:pt x="240" y="217"/>
                  <a:pt x="240" y="217"/>
                  <a:pt x="240" y="217"/>
                </a:cubicBezTo>
                <a:cubicBezTo>
                  <a:pt x="240" y="216"/>
                  <a:pt x="240" y="216"/>
                  <a:pt x="240" y="216"/>
                </a:cubicBezTo>
                <a:cubicBezTo>
                  <a:pt x="241" y="215"/>
                  <a:pt x="241" y="215"/>
                  <a:pt x="241" y="215"/>
                </a:cubicBezTo>
                <a:cubicBezTo>
                  <a:pt x="240" y="215"/>
                  <a:pt x="240" y="215"/>
                  <a:pt x="240" y="215"/>
                </a:cubicBezTo>
                <a:cubicBezTo>
                  <a:pt x="240" y="215"/>
                  <a:pt x="240" y="215"/>
                  <a:pt x="240" y="215"/>
                </a:cubicBezTo>
                <a:cubicBezTo>
                  <a:pt x="239" y="215"/>
                  <a:pt x="239" y="215"/>
                  <a:pt x="239" y="215"/>
                </a:cubicBezTo>
                <a:cubicBezTo>
                  <a:pt x="236" y="216"/>
                  <a:pt x="236" y="216"/>
                  <a:pt x="236" y="216"/>
                </a:cubicBezTo>
                <a:cubicBezTo>
                  <a:pt x="235" y="216"/>
                  <a:pt x="235" y="216"/>
                  <a:pt x="235" y="216"/>
                </a:cubicBezTo>
                <a:cubicBezTo>
                  <a:pt x="235" y="217"/>
                  <a:pt x="235" y="217"/>
                  <a:pt x="235" y="217"/>
                </a:cubicBezTo>
                <a:cubicBezTo>
                  <a:pt x="234" y="217"/>
                  <a:pt x="234" y="217"/>
                  <a:pt x="234" y="217"/>
                </a:cubicBezTo>
                <a:cubicBezTo>
                  <a:pt x="234" y="217"/>
                  <a:pt x="234" y="217"/>
                  <a:pt x="234" y="217"/>
                </a:cubicBezTo>
                <a:cubicBezTo>
                  <a:pt x="234" y="218"/>
                  <a:pt x="234" y="218"/>
                  <a:pt x="234" y="218"/>
                </a:cubicBezTo>
                <a:cubicBezTo>
                  <a:pt x="233" y="217"/>
                  <a:pt x="233" y="217"/>
                  <a:pt x="233" y="217"/>
                </a:cubicBezTo>
                <a:cubicBezTo>
                  <a:pt x="233" y="216"/>
                  <a:pt x="233" y="216"/>
                  <a:pt x="233" y="216"/>
                </a:cubicBezTo>
                <a:cubicBezTo>
                  <a:pt x="232" y="216"/>
                  <a:pt x="232" y="216"/>
                  <a:pt x="232" y="216"/>
                </a:cubicBezTo>
                <a:cubicBezTo>
                  <a:pt x="232" y="217"/>
                  <a:pt x="232" y="217"/>
                  <a:pt x="232" y="217"/>
                </a:cubicBezTo>
                <a:cubicBezTo>
                  <a:pt x="231" y="218"/>
                  <a:pt x="231" y="218"/>
                  <a:pt x="231" y="218"/>
                </a:cubicBezTo>
                <a:cubicBezTo>
                  <a:pt x="230" y="217"/>
                  <a:pt x="230" y="217"/>
                  <a:pt x="230" y="217"/>
                </a:cubicBezTo>
                <a:cubicBezTo>
                  <a:pt x="229" y="217"/>
                  <a:pt x="229" y="217"/>
                  <a:pt x="229" y="217"/>
                </a:cubicBezTo>
                <a:cubicBezTo>
                  <a:pt x="229" y="216"/>
                  <a:pt x="229" y="216"/>
                  <a:pt x="229" y="216"/>
                </a:cubicBezTo>
                <a:cubicBezTo>
                  <a:pt x="228" y="217"/>
                  <a:pt x="228" y="217"/>
                  <a:pt x="228" y="217"/>
                </a:cubicBezTo>
                <a:cubicBezTo>
                  <a:pt x="228" y="217"/>
                  <a:pt x="228" y="217"/>
                  <a:pt x="228" y="217"/>
                </a:cubicBezTo>
                <a:cubicBezTo>
                  <a:pt x="228" y="218"/>
                  <a:pt x="228" y="218"/>
                  <a:pt x="228" y="218"/>
                </a:cubicBezTo>
                <a:cubicBezTo>
                  <a:pt x="228" y="219"/>
                  <a:pt x="228" y="219"/>
                  <a:pt x="228" y="219"/>
                </a:cubicBezTo>
                <a:cubicBezTo>
                  <a:pt x="227" y="219"/>
                  <a:pt x="227" y="219"/>
                  <a:pt x="227" y="219"/>
                </a:cubicBezTo>
                <a:cubicBezTo>
                  <a:pt x="227" y="219"/>
                  <a:pt x="227" y="219"/>
                  <a:pt x="227" y="219"/>
                </a:cubicBezTo>
                <a:cubicBezTo>
                  <a:pt x="225" y="219"/>
                  <a:pt x="225" y="219"/>
                  <a:pt x="225" y="219"/>
                </a:cubicBezTo>
                <a:cubicBezTo>
                  <a:pt x="225" y="218"/>
                  <a:pt x="225" y="218"/>
                  <a:pt x="225" y="218"/>
                </a:cubicBezTo>
                <a:cubicBezTo>
                  <a:pt x="226" y="217"/>
                  <a:pt x="226" y="217"/>
                  <a:pt x="226" y="217"/>
                </a:cubicBezTo>
                <a:cubicBezTo>
                  <a:pt x="226" y="216"/>
                  <a:pt x="226" y="216"/>
                  <a:pt x="226" y="216"/>
                </a:cubicBezTo>
                <a:cubicBezTo>
                  <a:pt x="226" y="216"/>
                  <a:pt x="226" y="216"/>
                  <a:pt x="226" y="216"/>
                </a:cubicBezTo>
                <a:cubicBezTo>
                  <a:pt x="225" y="217"/>
                  <a:pt x="225" y="217"/>
                  <a:pt x="225" y="217"/>
                </a:cubicBezTo>
                <a:cubicBezTo>
                  <a:pt x="224" y="216"/>
                  <a:pt x="224" y="216"/>
                  <a:pt x="224" y="216"/>
                </a:cubicBezTo>
                <a:cubicBezTo>
                  <a:pt x="224" y="215"/>
                  <a:pt x="224" y="215"/>
                  <a:pt x="224" y="215"/>
                </a:cubicBezTo>
                <a:cubicBezTo>
                  <a:pt x="225" y="214"/>
                  <a:pt x="225" y="214"/>
                  <a:pt x="225" y="214"/>
                </a:cubicBezTo>
                <a:cubicBezTo>
                  <a:pt x="227" y="212"/>
                  <a:pt x="227" y="212"/>
                  <a:pt x="227" y="212"/>
                </a:cubicBezTo>
                <a:cubicBezTo>
                  <a:pt x="228" y="212"/>
                  <a:pt x="228" y="212"/>
                  <a:pt x="228" y="212"/>
                </a:cubicBezTo>
                <a:cubicBezTo>
                  <a:pt x="230" y="212"/>
                  <a:pt x="230" y="212"/>
                  <a:pt x="230" y="212"/>
                </a:cubicBezTo>
                <a:cubicBezTo>
                  <a:pt x="234" y="212"/>
                  <a:pt x="234" y="212"/>
                  <a:pt x="234" y="212"/>
                </a:cubicBezTo>
                <a:cubicBezTo>
                  <a:pt x="237" y="211"/>
                  <a:pt x="237" y="211"/>
                  <a:pt x="237" y="211"/>
                </a:cubicBezTo>
                <a:cubicBezTo>
                  <a:pt x="238" y="211"/>
                  <a:pt x="238" y="211"/>
                  <a:pt x="238" y="211"/>
                </a:cubicBezTo>
                <a:cubicBezTo>
                  <a:pt x="240" y="211"/>
                  <a:pt x="240" y="211"/>
                  <a:pt x="240" y="211"/>
                </a:cubicBezTo>
                <a:cubicBezTo>
                  <a:pt x="240" y="212"/>
                  <a:pt x="240" y="212"/>
                  <a:pt x="240" y="212"/>
                </a:cubicBezTo>
                <a:cubicBezTo>
                  <a:pt x="241" y="213"/>
                  <a:pt x="241" y="213"/>
                  <a:pt x="241" y="213"/>
                </a:cubicBezTo>
                <a:cubicBezTo>
                  <a:pt x="242" y="213"/>
                  <a:pt x="242" y="213"/>
                  <a:pt x="242" y="213"/>
                </a:cubicBezTo>
                <a:cubicBezTo>
                  <a:pt x="242" y="214"/>
                  <a:pt x="242" y="214"/>
                  <a:pt x="242" y="214"/>
                </a:cubicBezTo>
                <a:cubicBezTo>
                  <a:pt x="242" y="216"/>
                  <a:pt x="242" y="216"/>
                  <a:pt x="242" y="216"/>
                </a:cubicBezTo>
                <a:cubicBezTo>
                  <a:pt x="242" y="217"/>
                  <a:pt x="242" y="217"/>
                  <a:pt x="242" y="217"/>
                </a:cubicBezTo>
                <a:cubicBezTo>
                  <a:pt x="242" y="217"/>
                  <a:pt x="242" y="217"/>
                  <a:pt x="242" y="217"/>
                </a:cubicBezTo>
                <a:cubicBezTo>
                  <a:pt x="242" y="218"/>
                  <a:pt x="242" y="218"/>
                  <a:pt x="242" y="218"/>
                </a:cubicBezTo>
                <a:cubicBezTo>
                  <a:pt x="241" y="218"/>
                  <a:pt x="241" y="218"/>
                  <a:pt x="241" y="218"/>
                </a:cubicBezTo>
                <a:cubicBezTo>
                  <a:pt x="241" y="219"/>
                  <a:pt x="241" y="219"/>
                  <a:pt x="241" y="219"/>
                </a:cubicBezTo>
                <a:cubicBezTo>
                  <a:pt x="242" y="219"/>
                  <a:pt x="242" y="219"/>
                  <a:pt x="242" y="219"/>
                </a:cubicBezTo>
                <a:cubicBezTo>
                  <a:pt x="242" y="222"/>
                  <a:pt x="242" y="222"/>
                  <a:pt x="242" y="222"/>
                </a:cubicBezTo>
                <a:cubicBezTo>
                  <a:pt x="243" y="222"/>
                  <a:pt x="243" y="222"/>
                  <a:pt x="243" y="222"/>
                </a:cubicBezTo>
                <a:cubicBezTo>
                  <a:pt x="244" y="222"/>
                  <a:pt x="244" y="222"/>
                  <a:pt x="244" y="222"/>
                </a:cubicBezTo>
                <a:cubicBezTo>
                  <a:pt x="244" y="223"/>
                  <a:pt x="244" y="223"/>
                  <a:pt x="244" y="223"/>
                </a:cubicBezTo>
                <a:cubicBezTo>
                  <a:pt x="243" y="223"/>
                  <a:pt x="243" y="223"/>
                  <a:pt x="243" y="223"/>
                </a:cubicBezTo>
                <a:cubicBezTo>
                  <a:pt x="242" y="224"/>
                  <a:pt x="242" y="224"/>
                  <a:pt x="242" y="224"/>
                </a:cubicBezTo>
                <a:cubicBezTo>
                  <a:pt x="242" y="225"/>
                  <a:pt x="242" y="225"/>
                  <a:pt x="242" y="225"/>
                </a:cubicBezTo>
                <a:cubicBezTo>
                  <a:pt x="243" y="225"/>
                  <a:pt x="243" y="225"/>
                  <a:pt x="243" y="225"/>
                </a:cubicBezTo>
                <a:cubicBezTo>
                  <a:pt x="244" y="226"/>
                  <a:pt x="244" y="226"/>
                  <a:pt x="244" y="226"/>
                </a:cubicBezTo>
                <a:cubicBezTo>
                  <a:pt x="245" y="226"/>
                  <a:pt x="245" y="226"/>
                  <a:pt x="245" y="226"/>
                </a:cubicBezTo>
                <a:cubicBezTo>
                  <a:pt x="245" y="226"/>
                  <a:pt x="245" y="226"/>
                  <a:pt x="245" y="226"/>
                </a:cubicBezTo>
                <a:cubicBezTo>
                  <a:pt x="246" y="227"/>
                  <a:pt x="246" y="227"/>
                  <a:pt x="246" y="227"/>
                </a:cubicBezTo>
                <a:cubicBezTo>
                  <a:pt x="247" y="227"/>
                  <a:pt x="247" y="227"/>
                  <a:pt x="247" y="227"/>
                </a:cubicBezTo>
                <a:cubicBezTo>
                  <a:pt x="248" y="226"/>
                  <a:pt x="248" y="226"/>
                  <a:pt x="248" y="226"/>
                </a:cubicBezTo>
                <a:cubicBezTo>
                  <a:pt x="249" y="227"/>
                  <a:pt x="249" y="227"/>
                  <a:pt x="249" y="227"/>
                </a:cubicBezTo>
                <a:cubicBezTo>
                  <a:pt x="249" y="227"/>
                  <a:pt x="249" y="227"/>
                  <a:pt x="249" y="227"/>
                </a:cubicBezTo>
                <a:cubicBezTo>
                  <a:pt x="249" y="228"/>
                  <a:pt x="249" y="228"/>
                  <a:pt x="249" y="228"/>
                </a:cubicBezTo>
                <a:cubicBezTo>
                  <a:pt x="250" y="228"/>
                  <a:pt x="250" y="228"/>
                  <a:pt x="250" y="228"/>
                </a:cubicBezTo>
                <a:cubicBezTo>
                  <a:pt x="250" y="228"/>
                  <a:pt x="250" y="228"/>
                  <a:pt x="250" y="228"/>
                </a:cubicBezTo>
                <a:cubicBezTo>
                  <a:pt x="250" y="229"/>
                  <a:pt x="250" y="229"/>
                  <a:pt x="250" y="229"/>
                </a:cubicBezTo>
                <a:cubicBezTo>
                  <a:pt x="250" y="230"/>
                  <a:pt x="250" y="230"/>
                  <a:pt x="250" y="230"/>
                </a:cubicBezTo>
                <a:cubicBezTo>
                  <a:pt x="250" y="230"/>
                  <a:pt x="250" y="230"/>
                  <a:pt x="250" y="230"/>
                </a:cubicBezTo>
                <a:cubicBezTo>
                  <a:pt x="251" y="231"/>
                  <a:pt x="251" y="231"/>
                  <a:pt x="251" y="231"/>
                </a:cubicBezTo>
                <a:cubicBezTo>
                  <a:pt x="252" y="232"/>
                  <a:pt x="252" y="232"/>
                  <a:pt x="252" y="232"/>
                </a:cubicBezTo>
                <a:cubicBezTo>
                  <a:pt x="252" y="233"/>
                  <a:pt x="252" y="233"/>
                  <a:pt x="252" y="233"/>
                </a:cubicBezTo>
                <a:cubicBezTo>
                  <a:pt x="254" y="232"/>
                  <a:pt x="254" y="232"/>
                  <a:pt x="254" y="232"/>
                </a:cubicBezTo>
                <a:cubicBezTo>
                  <a:pt x="254" y="233"/>
                  <a:pt x="254" y="233"/>
                  <a:pt x="254" y="233"/>
                </a:cubicBezTo>
                <a:cubicBezTo>
                  <a:pt x="254" y="234"/>
                  <a:pt x="254" y="234"/>
                  <a:pt x="254" y="234"/>
                </a:cubicBezTo>
                <a:cubicBezTo>
                  <a:pt x="255" y="234"/>
                  <a:pt x="255" y="234"/>
                  <a:pt x="255" y="234"/>
                </a:cubicBezTo>
                <a:cubicBezTo>
                  <a:pt x="256" y="235"/>
                  <a:pt x="256" y="235"/>
                  <a:pt x="256" y="235"/>
                </a:cubicBezTo>
                <a:cubicBezTo>
                  <a:pt x="257" y="234"/>
                  <a:pt x="257" y="234"/>
                  <a:pt x="257" y="234"/>
                </a:cubicBezTo>
                <a:cubicBezTo>
                  <a:pt x="260" y="234"/>
                  <a:pt x="260" y="234"/>
                  <a:pt x="260" y="234"/>
                </a:cubicBezTo>
                <a:cubicBezTo>
                  <a:pt x="260" y="233"/>
                  <a:pt x="260" y="233"/>
                  <a:pt x="260" y="233"/>
                </a:cubicBezTo>
                <a:cubicBezTo>
                  <a:pt x="262" y="232"/>
                  <a:pt x="262" y="232"/>
                  <a:pt x="262" y="232"/>
                </a:cubicBezTo>
                <a:cubicBezTo>
                  <a:pt x="262" y="232"/>
                  <a:pt x="262" y="232"/>
                  <a:pt x="262" y="232"/>
                </a:cubicBezTo>
                <a:cubicBezTo>
                  <a:pt x="263" y="233"/>
                  <a:pt x="263" y="233"/>
                  <a:pt x="263" y="233"/>
                </a:cubicBezTo>
                <a:cubicBezTo>
                  <a:pt x="265" y="233"/>
                  <a:pt x="265" y="233"/>
                  <a:pt x="265" y="233"/>
                </a:cubicBezTo>
                <a:cubicBezTo>
                  <a:pt x="267" y="235"/>
                  <a:pt x="267" y="235"/>
                  <a:pt x="267" y="235"/>
                </a:cubicBezTo>
                <a:cubicBezTo>
                  <a:pt x="268" y="235"/>
                  <a:pt x="268" y="235"/>
                  <a:pt x="268" y="235"/>
                </a:cubicBezTo>
                <a:cubicBezTo>
                  <a:pt x="269" y="236"/>
                  <a:pt x="269" y="236"/>
                  <a:pt x="269" y="236"/>
                </a:cubicBezTo>
                <a:cubicBezTo>
                  <a:pt x="270" y="235"/>
                  <a:pt x="270" y="235"/>
                  <a:pt x="270" y="235"/>
                </a:cubicBezTo>
                <a:cubicBezTo>
                  <a:pt x="272" y="235"/>
                  <a:pt x="272" y="235"/>
                  <a:pt x="272" y="235"/>
                </a:cubicBezTo>
                <a:cubicBezTo>
                  <a:pt x="273" y="236"/>
                  <a:pt x="273" y="236"/>
                  <a:pt x="273" y="236"/>
                </a:cubicBezTo>
                <a:cubicBezTo>
                  <a:pt x="273" y="236"/>
                  <a:pt x="273" y="236"/>
                  <a:pt x="273" y="236"/>
                </a:cubicBezTo>
                <a:cubicBezTo>
                  <a:pt x="273" y="234"/>
                  <a:pt x="273" y="234"/>
                  <a:pt x="273" y="234"/>
                </a:cubicBezTo>
                <a:cubicBezTo>
                  <a:pt x="272" y="233"/>
                  <a:pt x="272" y="233"/>
                  <a:pt x="272" y="233"/>
                </a:cubicBezTo>
                <a:cubicBezTo>
                  <a:pt x="272" y="231"/>
                  <a:pt x="272" y="231"/>
                  <a:pt x="272" y="231"/>
                </a:cubicBezTo>
                <a:cubicBezTo>
                  <a:pt x="272" y="231"/>
                  <a:pt x="272" y="231"/>
                  <a:pt x="272" y="231"/>
                </a:cubicBezTo>
                <a:cubicBezTo>
                  <a:pt x="273" y="231"/>
                  <a:pt x="273" y="231"/>
                  <a:pt x="273" y="231"/>
                </a:cubicBezTo>
                <a:cubicBezTo>
                  <a:pt x="274" y="233"/>
                  <a:pt x="274" y="233"/>
                  <a:pt x="274" y="233"/>
                </a:cubicBezTo>
                <a:cubicBezTo>
                  <a:pt x="274" y="235"/>
                  <a:pt x="274" y="235"/>
                  <a:pt x="274" y="235"/>
                </a:cubicBezTo>
                <a:cubicBezTo>
                  <a:pt x="276" y="237"/>
                  <a:pt x="276" y="237"/>
                  <a:pt x="276" y="237"/>
                </a:cubicBezTo>
                <a:cubicBezTo>
                  <a:pt x="276" y="237"/>
                  <a:pt x="276" y="237"/>
                  <a:pt x="276" y="237"/>
                </a:cubicBezTo>
                <a:cubicBezTo>
                  <a:pt x="277" y="239"/>
                  <a:pt x="277" y="239"/>
                  <a:pt x="277" y="239"/>
                </a:cubicBezTo>
                <a:cubicBezTo>
                  <a:pt x="277" y="236"/>
                  <a:pt x="277" y="236"/>
                  <a:pt x="277" y="236"/>
                </a:cubicBezTo>
                <a:cubicBezTo>
                  <a:pt x="276" y="235"/>
                  <a:pt x="276" y="235"/>
                  <a:pt x="276" y="235"/>
                </a:cubicBezTo>
                <a:cubicBezTo>
                  <a:pt x="275" y="235"/>
                  <a:pt x="275" y="235"/>
                  <a:pt x="275" y="235"/>
                </a:cubicBezTo>
                <a:cubicBezTo>
                  <a:pt x="274" y="233"/>
                  <a:pt x="274" y="233"/>
                  <a:pt x="274" y="233"/>
                </a:cubicBezTo>
                <a:cubicBezTo>
                  <a:pt x="274" y="230"/>
                  <a:pt x="274" y="230"/>
                  <a:pt x="274" y="230"/>
                </a:cubicBezTo>
                <a:cubicBezTo>
                  <a:pt x="274" y="229"/>
                  <a:pt x="274" y="229"/>
                  <a:pt x="274" y="229"/>
                </a:cubicBezTo>
                <a:cubicBezTo>
                  <a:pt x="274" y="230"/>
                  <a:pt x="274" y="230"/>
                  <a:pt x="274" y="230"/>
                </a:cubicBezTo>
                <a:cubicBezTo>
                  <a:pt x="274" y="230"/>
                  <a:pt x="274" y="230"/>
                  <a:pt x="274" y="230"/>
                </a:cubicBezTo>
                <a:cubicBezTo>
                  <a:pt x="275" y="231"/>
                  <a:pt x="275" y="231"/>
                  <a:pt x="275" y="231"/>
                </a:cubicBezTo>
                <a:cubicBezTo>
                  <a:pt x="276" y="230"/>
                  <a:pt x="276" y="230"/>
                  <a:pt x="276" y="230"/>
                </a:cubicBezTo>
                <a:cubicBezTo>
                  <a:pt x="276" y="230"/>
                  <a:pt x="276" y="230"/>
                  <a:pt x="276" y="230"/>
                </a:cubicBezTo>
                <a:cubicBezTo>
                  <a:pt x="275" y="228"/>
                  <a:pt x="275" y="228"/>
                  <a:pt x="275" y="228"/>
                </a:cubicBezTo>
                <a:cubicBezTo>
                  <a:pt x="275" y="228"/>
                  <a:pt x="275" y="228"/>
                  <a:pt x="275" y="228"/>
                </a:cubicBezTo>
                <a:cubicBezTo>
                  <a:pt x="275" y="227"/>
                  <a:pt x="275" y="227"/>
                  <a:pt x="275" y="227"/>
                </a:cubicBezTo>
                <a:cubicBezTo>
                  <a:pt x="275" y="226"/>
                  <a:pt x="275" y="226"/>
                  <a:pt x="275" y="226"/>
                </a:cubicBezTo>
                <a:cubicBezTo>
                  <a:pt x="276" y="226"/>
                  <a:pt x="276" y="226"/>
                  <a:pt x="276" y="226"/>
                </a:cubicBezTo>
                <a:cubicBezTo>
                  <a:pt x="277" y="227"/>
                  <a:pt x="277" y="227"/>
                  <a:pt x="277" y="227"/>
                </a:cubicBezTo>
                <a:cubicBezTo>
                  <a:pt x="277" y="228"/>
                  <a:pt x="277" y="228"/>
                  <a:pt x="277" y="228"/>
                </a:cubicBezTo>
                <a:cubicBezTo>
                  <a:pt x="277" y="228"/>
                  <a:pt x="277" y="228"/>
                  <a:pt x="277" y="228"/>
                </a:cubicBezTo>
                <a:cubicBezTo>
                  <a:pt x="278" y="228"/>
                  <a:pt x="278" y="228"/>
                  <a:pt x="278" y="228"/>
                </a:cubicBezTo>
                <a:cubicBezTo>
                  <a:pt x="279" y="227"/>
                  <a:pt x="279" y="227"/>
                  <a:pt x="279" y="227"/>
                </a:cubicBezTo>
                <a:cubicBezTo>
                  <a:pt x="279" y="226"/>
                  <a:pt x="279" y="226"/>
                  <a:pt x="279" y="226"/>
                </a:cubicBezTo>
                <a:cubicBezTo>
                  <a:pt x="280" y="226"/>
                  <a:pt x="280" y="226"/>
                  <a:pt x="280" y="226"/>
                </a:cubicBezTo>
                <a:cubicBezTo>
                  <a:pt x="281" y="227"/>
                  <a:pt x="281" y="227"/>
                  <a:pt x="281" y="227"/>
                </a:cubicBezTo>
                <a:cubicBezTo>
                  <a:pt x="281" y="228"/>
                  <a:pt x="281" y="228"/>
                  <a:pt x="281" y="228"/>
                </a:cubicBezTo>
                <a:cubicBezTo>
                  <a:pt x="281" y="228"/>
                  <a:pt x="281" y="228"/>
                  <a:pt x="281" y="228"/>
                </a:cubicBezTo>
                <a:cubicBezTo>
                  <a:pt x="281" y="228"/>
                  <a:pt x="281" y="228"/>
                  <a:pt x="281" y="228"/>
                </a:cubicBezTo>
                <a:cubicBezTo>
                  <a:pt x="282" y="227"/>
                  <a:pt x="282" y="227"/>
                  <a:pt x="282" y="227"/>
                </a:cubicBezTo>
                <a:cubicBezTo>
                  <a:pt x="283" y="228"/>
                  <a:pt x="283" y="228"/>
                  <a:pt x="283" y="228"/>
                </a:cubicBezTo>
                <a:cubicBezTo>
                  <a:pt x="282" y="230"/>
                  <a:pt x="282" y="230"/>
                  <a:pt x="282" y="230"/>
                </a:cubicBezTo>
                <a:cubicBezTo>
                  <a:pt x="282" y="231"/>
                  <a:pt x="282" y="231"/>
                  <a:pt x="282" y="231"/>
                </a:cubicBezTo>
                <a:cubicBezTo>
                  <a:pt x="283" y="231"/>
                  <a:pt x="283" y="231"/>
                  <a:pt x="283" y="231"/>
                </a:cubicBezTo>
                <a:cubicBezTo>
                  <a:pt x="284" y="231"/>
                  <a:pt x="284" y="231"/>
                  <a:pt x="284" y="231"/>
                </a:cubicBezTo>
                <a:cubicBezTo>
                  <a:pt x="285" y="232"/>
                  <a:pt x="285" y="232"/>
                  <a:pt x="285" y="232"/>
                </a:cubicBezTo>
                <a:cubicBezTo>
                  <a:pt x="284" y="233"/>
                  <a:pt x="284" y="233"/>
                  <a:pt x="284" y="233"/>
                </a:cubicBezTo>
                <a:cubicBezTo>
                  <a:pt x="283" y="233"/>
                  <a:pt x="283" y="233"/>
                  <a:pt x="283" y="233"/>
                </a:cubicBezTo>
                <a:cubicBezTo>
                  <a:pt x="283" y="234"/>
                  <a:pt x="283" y="234"/>
                  <a:pt x="283" y="234"/>
                </a:cubicBezTo>
                <a:cubicBezTo>
                  <a:pt x="283" y="234"/>
                  <a:pt x="283" y="234"/>
                  <a:pt x="283" y="234"/>
                </a:cubicBezTo>
                <a:cubicBezTo>
                  <a:pt x="285" y="233"/>
                  <a:pt x="285" y="233"/>
                  <a:pt x="285" y="233"/>
                </a:cubicBezTo>
                <a:cubicBezTo>
                  <a:pt x="286" y="232"/>
                  <a:pt x="286" y="232"/>
                  <a:pt x="286" y="232"/>
                </a:cubicBezTo>
                <a:cubicBezTo>
                  <a:pt x="287" y="231"/>
                  <a:pt x="287" y="231"/>
                  <a:pt x="287" y="231"/>
                </a:cubicBezTo>
                <a:cubicBezTo>
                  <a:pt x="288" y="232"/>
                  <a:pt x="288" y="232"/>
                  <a:pt x="288" y="232"/>
                </a:cubicBezTo>
                <a:cubicBezTo>
                  <a:pt x="288" y="232"/>
                  <a:pt x="288" y="232"/>
                  <a:pt x="288" y="232"/>
                </a:cubicBezTo>
                <a:cubicBezTo>
                  <a:pt x="287" y="232"/>
                  <a:pt x="287" y="232"/>
                  <a:pt x="287" y="232"/>
                </a:cubicBezTo>
                <a:cubicBezTo>
                  <a:pt x="287" y="233"/>
                  <a:pt x="287" y="233"/>
                  <a:pt x="287" y="233"/>
                </a:cubicBezTo>
                <a:cubicBezTo>
                  <a:pt x="287" y="234"/>
                  <a:pt x="287" y="234"/>
                  <a:pt x="287" y="234"/>
                </a:cubicBezTo>
                <a:cubicBezTo>
                  <a:pt x="285" y="236"/>
                  <a:pt x="285" y="236"/>
                  <a:pt x="285" y="236"/>
                </a:cubicBezTo>
                <a:cubicBezTo>
                  <a:pt x="285" y="236"/>
                  <a:pt x="285" y="236"/>
                  <a:pt x="285" y="236"/>
                </a:cubicBezTo>
                <a:cubicBezTo>
                  <a:pt x="283" y="238"/>
                  <a:pt x="283" y="238"/>
                  <a:pt x="283" y="238"/>
                </a:cubicBezTo>
                <a:cubicBezTo>
                  <a:pt x="283" y="239"/>
                  <a:pt x="283" y="239"/>
                  <a:pt x="283" y="239"/>
                </a:cubicBezTo>
                <a:cubicBezTo>
                  <a:pt x="282" y="240"/>
                  <a:pt x="282" y="240"/>
                  <a:pt x="282" y="240"/>
                </a:cubicBezTo>
                <a:cubicBezTo>
                  <a:pt x="282" y="238"/>
                  <a:pt x="282" y="238"/>
                  <a:pt x="282" y="238"/>
                </a:cubicBezTo>
                <a:cubicBezTo>
                  <a:pt x="281" y="240"/>
                  <a:pt x="281" y="240"/>
                  <a:pt x="281" y="240"/>
                </a:cubicBezTo>
                <a:cubicBezTo>
                  <a:pt x="281" y="242"/>
                  <a:pt x="281" y="242"/>
                  <a:pt x="281" y="242"/>
                </a:cubicBezTo>
                <a:cubicBezTo>
                  <a:pt x="281" y="242"/>
                  <a:pt x="281" y="242"/>
                  <a:pt x="281" y="242"/>
                </a:cubicBezTo>
                <a:cubicBezTo>
                  <a:pt x="282" y="242"/>
                  <a:pt x="282" y="242"/>
                  <a:pt x="282" y="242"/>
                </a:cubicBezTo>
                <a:cubicBezTo>
                  <a:pt x="283" y="242"/>
                  <a:pt x="283" y="242"/>
                  <a:pt x="283" y="242"/>
                </a:cubicBezTo>
                <a:cubicBezTo>
                  <a:pt x="283" y="243"/>
                  <a:pt x="283" y="243"/>
                  <a:pt x="283" y="243"/>
                </a:cubicBezTo>
                <a:cubicBezTo>
                  <a:pt x="281" y="244"/>
                  <a:pt x="281" y="244"/>
                  <a:pt x="281" y="244"/>
                </a:cubicBezTo>
                <a:cubicBezTo>
                  <a:pt x="281" y="245"/>
                  <a:pt x="281" y="245"/>
                  <a:pt x="281" y="245"/>
                </a:cubicBezTo>
                <a:cubicBezTo>
                  <a:pt x="283" y="244"/>
                  <a:pt x="283" y="244"/>
                  <a:pt x="283" y="244"/>
                </a:cubicBezTo>
                <a:cubicBezTo>
                  <a:pt x="284" y="243"/>
                  <a:pt x="284" y="243"/>
                  <a:pt x="284" y="243"/>
                </a:cubicBezTo>
                <a:cubicBezTo>
                  <a:pt x="285" y="243"/>
                  <a:pt x="285" y="243"/>
                  <a:pt x="285" y="243"/>
                </a:cubicBezTo>
                <a:cubicBezTo>
                  <a:pt x="284" y="245"/>
                  <a:pt x="284" y="245"/>
                  <a:pt x="284" y="245"/>
                </a:cubicBezTo>
                <a:cubicBezTo>
                  <a:pt x="283" y="245"/>
                  <a:pt x="283" y="245"/>
                  <a:pt x="283" y="245"/>
                </a:cubicBezTo>
                <a:cubicBezTo>
                  <a:pt x="284" y="246"/>
                  <a:pt x="284" y="246"/>
                  <a:pt x="284" y="246"/>
                </a:cubicBezTo>
                <a:cubicBezTo>
                  <a:pt x="285" y="245"/>
                  <a:pt x="285" y="245"/>
                  <a:pt x="285" y="245"/>
                </a:cubicBezTo>
                <a:cubicBezTo>
                  <a:pt x="284" y="247"/>
                  <a:pt x="284" y="247"/>
                  <a:pt x="284" y="247"/>
                </a:cubicBezTo>
                <a:cubicBezTo>
                  <a:pt x="284" y="248"/>
                  <a:pt x="284" y="248"/>
                  <a:pt x="284" y="248"/>
                </a:cubicBezTo>
                <a:cubicBezTo>
                  <a:pt x="283" y="248"/>
                  <a:pt x="283" y="248"/>
                  <a:pt x="283" y="248"/>
                </a:cubicBezTo>
                <a:cubicBezTo>
                  <a:pt x="282" y="248"/>
                  <a:pt x="282" y="248"/>
                  <a:pt x="282" y="248"/>
                </a:cubicBezTo>
                <a:cubicBezTo>
                  <a:pt x="281" y="247"/>
                  <a:pt x="281" y="247"/>
                  <a:pt x="281" y="247"/>
                </a:cubicBezTo>
                <a:cubicBezTo>
                  <a:pt x="280" y="248"/>
                  <a:pt x="280" y="248"/>
                  <a:pt x="280" y="248"/>
                </a:cubicBezTo>
                <a:cubicBezTo>
                  <a:pt x="279" y="246"/>
                  <a:pt x="279" y="246"/>
                  <a:pt x="279" y="246"/>
                </a:cubicBezTo>
                <a:cubicBezTo>
                  <a:pt x="279" y="246"/>
                  <a:pt x="279" y="246"/>
                  <a:pt x="279" y="246"/>
                </a:cubicBezTo>
                <a:cubicBezTo>
                  <a:pt x="278" y="248"/>
                  <a:pt x="278" y="248"/>
                  <a:pt x="278" y="248"/>
                </a:cubicBezTo>
                <a:cubicBezTo>
                  <a:pt x="279" y="249"/>
                  <a:pt x="279" y="249"/>
                  <a:pt x="279" y="249"/>
                </a:cubicBezTo>
                <a:cubicBezTo>
                  <a:pt x="280" y="250"/>
                  <a:pt x="280" y="250"/>
                  <a:pt x="280" y="250"/>
                </a:cubicBezTo>
                <a:cubicBezTo>
                  <a:pt x="279" y="253"/>
                  <a:pt x="279" y="253"/>
                  <a:pt x="279" y="253"/>
                </a:cubicBezTo>
                <a:cubicBezTo>
                  <a:pt x="280" y="251"/>
                  <a:pt x="280" y="251"/>
                  <a:pt x="280" y="251"/>
                </a:cubicBezTo>
                <a:cubicBezTo>
                  <a:pt x="280" y="249"/>
                  <a:pt x="280" y="249"/>
                  <a:pt x="280" y="249"/>
                </a:cubicBezTo>
                <a:cubicBezTo>
                  <a:pt x="281" y="248"/>
                  <a:pt x="281" y="248"/>
                  <a:pt x="281" y="248"/>
                </a:cubicBezTo>
                <a:cubicBezTo>
                  <a:pt x="281" y="249"/>
                  <a:pt x="281" y="249"/>
                  <a:pt x="281" y="249"/>
                </a:cubicBezTo>
                <a:cubicBezTo>
                  <a:pt x="283" y="249"/>
                  <a:pt x="283" y="249"/>
                  <a:pt x="283" y="249"/>
                </a:cubicBezTo>
                <a:cubicBezTo>
                  <a:pt x="284" y="250"/>
                  <a:pt x="284" y="250"/>
                  <a:pt x="284" y="250"/>
                </a:cubicBezTo>
                <a:cubicBezTo>
                  <a:pt x="285" y="249"/>
                  <a:pt x="285" y="249"/>
                  <a:pt x="285" y="249"/>
                </a:cubicBezTo>
                <a:cubicBezTo>
                  <a:pt x="285" y="248"/>
                  <a:pt x="285" y="248"/>
                  <a:pt x="285" y="248"/>
                </a:cubicBezTo>
                <a:cubicBezTo>
                  <a:pt x="286" y="247"/>
                  <a:pt x="286" y="247"/>
                  <a:pt x="286" y="247"/>
                </a:cubicBezTo>
                <a:cubicBezTo>
                  <a:pt x="287" y="246"/>
                  <a:pt x="287" y="246"/>
                  <a:pt x="287" y="246"/>
                </a:cubicBezTo>
                <a:cubicBezTo>
                  <a:pt x="289" y="246"/>
                  <a:pt x="289" y="246"/>
                  <a:pt x="289" y="246"/>
                </a:cubicBezTo>
                <a:cubicBezTo>
                  <a:pt x="290" y="245"/>
                  <a:pt x="290" y="245"/>
                  <a:pt x="290" y="245"/>
                </a:cubicBezTo>
                <a:cubicBezTo>
                  <a:pt x="289" y="245"/>
                  <a:pt x="289" y="245"/>
                  <a:pt x="289" y="245"/>
                </a:cubicBezTo>
                <a:cubicBezTo>
                  <a:pt x="287" y="245"/>
                  <a:pt x="287" y="245"/>
                  <a:pt x="287" y="245"/>
                </a:cubicBezTo>
                <a:cubicBezTo>
                  <a:pt x="287" y="246"/>
                  <a:pt x="287" y="246"/>
                  <a:pt x="287" y="246"/>
                </a:cubicBezTo>
                <a:cubicBezTo>
                  <a:pt x="286" y="246"/>
                  <a:pt x="286" y="246"/>
                  <a:pt x="286" y="246"/>
                </a:cubicBezTo>
                <a:cubicBezTo>
                  <a:pt x="285" y="246"/>
                  <a:pt x="285" y="246"/>
                  <a:pt x="285" y="246"/>
                </a:cubicBezTo>
                <a:cubicBezTo>
                  <a:pt x="286" y="245"/>
                  <a:pt x="286" y="245"/>
                  <a:pt x="286" y="245"/>
                </a:cubicBezTo>
                <a:cubicBezTo>
                  <a:pt x="287" y="244"/>
                  <a:pt x="287" y="244"/>
                  <a:pt x="287" y="244"/>
                </a:cubicBezTo>
                <a:cubicBezTo>
                  <a:pt x="286" y="244"/>
                  <a:pt x="286" y="244"/>
                  <a:pt x="286" y="244"/>
                </a:cubicBezTo>
                <a:cubicBezTo>
                  <a:pt x="286" y="243"/>
                  <a:pt x="286" y="243"/>
                  <a:pt x="286" y="243"/>
                </a:cubicBezTo>
                <a:cubicBezTo>
                  <a:pt x="287" y="241"/>
                  <a:pt x="287" y="241"/>
                  <a:pt x="287" y="241"/>
                </a:cubicBezTo>
                <a:cubicBezTo>
                  <a:pt x="287" y="240"/>
                  <a:pt x="287" y="240"/>
                  <a:pt x="287" y="240"/>
                </a:cubicBezTo>
                <a:cubicBezTo>
                  <a:pt x="286" y="239"/>
                  <a:pt x="286" y="239"/>
                  <a:pt x="286" y="239"/>
                </a:cubicBezTo>
                <a:cubicBezTo>
                  <a:pt x="287" y="239"/>
                  <a:pt x="287" y="239"/>
                  <a:pt x="287" y="239"/>
                </a:cubicBezTo>
                <a:cubicBezTo>
                  <a:pt x="288" y="237"/>
                  <a:pt x="288" y="237"/>
                  <a:pt x="288" y="237"/>
                </a:cubicBezTo>
                <a:cubicBezTo>
                  <a:pt x="288" y="236"/>
                  <a:pt x="288" y="236"/>
                  <a:pt x="288" y="236"/>
                </a:cubicBezTo>
                <a:cubicBezTo>
                  <a:pt x="290" y="235"/>
                  <a:pt x="290" y="235"/>
                  <a:pt x="290" y="235"/>
                </a:cubicBezTo>
                <a:cubicBezTo>
                  <a:pt x="290" y="235"/>
                  <a:pt x="290" y="235"/>
                  <a:pt x="290" y="235"/>
                </a:cubicBezTo>
                <a:cubicBezTo>
                  <a:pt x="290" y="236"/>
                  <a:pt x="290" y="236"/>
                  <a:pt x="290" y="236"/>
                </a:cubicBezTo>
                <a:cubicBezTo>
                  <a:pt x="290" y="235"/>
                  <a:pt x="290" y="235"/>
                  <a:pt x="290" y="235"/>
                </a:cubicBezTo>
                <a:cubicBezTo>
                  <a:pt x="291" y="234"/>
                  <a:pt x="291" y="234"/>
                  <a:pt x="291" y="234"/>
                </a:cubicBezTo>
                <a:cubicBezTo>
                  <a:pt x="291" y="235"/>
                  <a:pt x="291" y="235"/>
                  <a:pt x="291" y="235"/>
                </a:cubicBezTo>
                <a:cubicBezTo>
                  <a:pt x="292" y="235"/>
                  <a:pt x="292" y="235"/>
                  <a:pt x="292" y="235"/>
                </a:cubicBezTo>
                <a:cubicBezTo>
                  <a:pt x="292" y="236"/>
                  <a:pt x="292" y="236"/>
                  <a:pt x="292" y="236"/>
                </a:cubicBezTo>
                <a:cubicBezTo>
                  <a:pt x="293" y="235"/>
                  <a:pt x="293" y="235"/>
                  <a:pt x="293" y="235"/>
                </a:cubicBezTo>
                <a:cubicBezTo>
                  <a:pt x="294" y="234"/>
                  <a:pt x="294" y="234"/>
                  <a:pt x="294" y="234"/>
                </a:cubicBezTo>
                <a:cubicBezTo>
                  <a:pt x="297" y="233"/>
                  <a:pt x="297" y="233"/>
                  <a:pt x="297" y="233"/>
                </a:cubicBezTo>
                <a:cubicBezTo>
                  <a:pt x="298" y="232"/>
                  <a:pt x="298" y="232"/>
                  <a:pt x="298" y="232"/>
                </a:cubicBezTo>
                <a:cubicBezTo>
                  <a:pt x="297" y="232"/>
                  <a:pt x="297" y="232"/>
                  <a:pt x="297" y="232"/>
                </a:cubicBezTo>
                <a:cubicBezTo>
                  <a:pt x="298" y="231"/>
                  <a:pt x="298" y="231"/>
                  <a:pt x="298" y="231"/>
                </a:cubicBezTo>
                <a:cubicBezTo>
                  <a:pt x="299" y="230"/>
                  <a:pt x="299" y="230"/>
                  <a:pt x="299" y="230"/>
                </a:cubicBezTo>
                <a:cubicBezTo>
                  <a:pt x="301" y="230"/>
                  <a:pt x="301" y="230"/>
                  <a:pt x="301" y="230"/>
                </a:cubicBezTo>
                <a:cubicBezTo>
                  <a:pt x="302" y="229"/>
                  <a:pt x="302" y="229"/>
                  <a:pt x="302" y="229"/>
                </a:cubicBezTo>
                <a:cubicBezTo>
                  <a:pt x="302" y="228"/>
                  <a:pt x="302" y="228"/>
                  <a:pt x="302" y="228"/>
                </a:cubicBezTo>
                <a:cubicBezTo>
                  <a:pt x="302" y="226"/>
                  <a:pt x="302" y="226"/>
                  <a:pt x="302" y="226"/>
                </a:cubicBezTo>
                <a:cubicBezTo>
                  <a:pt x="303" y="225"/>
                  <a:pt x="303" y="225"/>
                  <a:pt x="303" y="225"/>
                </a:cubicBezTo>
                <a:cubicBezTo>
                  <a:pt x="303" y="224"/>
                  <a:pt x="303" y="224"/>
                  <a:pt x="303" y="224"/>
                </a:cubicBezTo>
                <a:cubicBezTo>
                  <a:pt x="303" y="223"/>
                  <a:pt x="303" y="223"/>
                  <a:pt x="303" y="223"/>
                </a:cubicBezTo>
                <a:cubicBezTo>
                  <a:pt x="302" y="224"/>
                  <a:pt x="302" y="224"/>
                  <a:pt x="302" y="224"/>
                </a:cubicBezTo>
                <a:cubicBezTo>
                  <a:pt x="301" y="224"/>
                  <a:pt x="301" y="224"/>
                  <a:pt x="301" y="224"/>
                </a:cubicBezTo>
                <a:cubicBezTo>
                  <a:pt x="301" y="224"/>
                  <a:pt x="301" y="224"/>
                  <a:pt x="301" y="224"/>
                </a:cubicBezTo>
                <a:cubicBezTo>
                  <a:pt x="301" y="225"/>
                  <a:pt x="301" y="225"/>
                  <a:pt x="301" y="225"/>
                </a:cubicBezTo>
                <a:cubicBezTo>
                  <a:pt x="300" y="226"/>
                  <a:pt x="300" y="226"/>
                  <a:pt x="300" y="226"/>
                </a:cubicBezTo>
                <a:cubicBezTo>
                  <a:pt x="299" y="225"/>
                  <a:pt x="299" y="225"/>
                  <a:pt x="299" y="225"/>
                </a:cubicBezTo>
                <a:cubicBezTo>
                  <a:pt x="298" y="225"/>
                  <a:pt x="298" y="225"/>
                  <a:pt x="298" y="225"/>
                </a:cubicBezTo>
                <a:cubicBezTo>
                  <a:pt x="298" y="225"/>
                  <a:pt x="298" y="225"/>
                  <a:pt x="298" y="225"/>
                </a:cubicBezTo>
                <a:cubicBezTo>
                  <a:pt x="299" y="223"/>
                  <a:pt x="299" y="223"/>
                  <a:pt x="299" y="223"/>
                </a:cubicBezTo>
                <a:cubicBezTo>
                  <a:pt x="300" y="223"/>
                  <a:pt x="300" y="223"/>
                  <a:pt x="300" y="223"/>
                </a:cubicBezTo>
                <a:cubicBezTo>
                  <a:pt x="300" y="222"/>
                  <a:pt x="300" y="222"/>
                  <a:pt x="300" y="222"/>
                </a:cubicBezTo>
                <a:cubicBezTo>
                  <a:pt x="302" y="222"/>
                  <a:pt x="302" y="222"/>
                  <a:pt x="302" y="222"/>
                </a:cubicBezTo>
                <a:cubicBezTo>
                  <a:pt x="302" y="221"/>
                  <a:pt x="302" y="221"/>
                  <a:pt x="302" y="221"/>
                </a:cubicBezTo>
                <a:cubicBezTo>
                  <a:pt x="301" y="220"/>
                  <a:pt x="301" y="220"/>
                  <a:pt x="301" y="220"/>
                </a:cubicBezTo>
                <a:cubicBezTo>
                  <a:pt x="302" y="219"/>
                  <a:pt x="302" y="219"/>
                  <a:pt x="302" y="219"/>
                </a:cubicBezTo>
                <a:cubicBezTo>
                  <a:pt x="304" y="218"/>
                  <a:pt x="304" y="218"/>
                  <a:pt x="304" y="218"/>
                </a:cubicBezTo>
                <a:cubicBezTo>
                  <a:pt x="305" y="219"/>
                  <a:pt x="305" y="219"/>
                  <a:pt x="305" y="219"/>
                </a:cubicBezTo>
                <a:cubicBezTo>
                  <a:pt x="304" y="220"/>
                  <a:pt x="304" y="220"/>
                  <a:pt x="304" y="220"/>
                </a:cubicBezTo>
                <a:cubicBezTo>
                  <a:pt x="304" y="221"/>
                  <a:pt x="304" y="221"/>
                  <a:pt x="304" y="221"/>
                </a:cubicBezTo>
                <a:cubicBezTo>
                  <a:pt x="304" y="221"/>
                  <a:pt x="304" y="221"/>
                  <a:pt x="304" y="221"/>
                </a:cubicBezTo>
                <a:cubicBezTo>
                  <a:pt x="306" y="220"/>
                  <a:pt x="306" y="220"/>
                  <a:pt x="306" y="220"/>
                </a:cubicBezTo>
                <a:cubicBezTo>
                  <a:pt x="307" y="218"/>
                  <a:pt x="307" y="218"/>
                  <a:pt x="307" y="218"/>
                </a:cubicBezTo>
                <a:cubicBezTo>
                  <a:pt x="307" y="217"/>
                  <a:pt x="307" y="217"/>
                  <a:pt x="307" y="217"/>
                </a:cubicBezTo>
                <a:cubicBezTo>
                  <a:pt x="305" y="217"/>
                  <a:pt x="305" y="217"/>
                  <a:pt x="305" y="217"/>
                </a:cubicBezTo>
                <a:cubicBezTo>
                  <a:pt x="304" y="217"/>
                  <a:pt x="304" y="217"/>
                  <a:pt x="304" y="217"/>
                </a:cubicBezTo>
                <a:cubicBezTo>
                  <a:pt x="304" y="216"/>
                  <a:pt x="304" y="216"/>
                  <a:pt x="304" y="216"/>
                </a:cubicBezTo>
                <a:cubicBezTo>
                  <a:pt x="302" y="216"/>
                  <a:pt x="302" y="216"/>
                  <a:pt x="302" y="216"/>
                </a:cubicBezTo>
                <a:cubicBezTo>
                  <a:pt x="301" y="214"/>
                  <a:pt x="301" y="214"/>
                  <a:pt x="301" y="214"/>
                </a:cubicBezTo>
                <a:cubicBezTo>
                  <a:pt x="301" y="213"/>
                  <a:pt x="301" y="213"/>
                  <a:pt x="301" y="213"/>
                </a:cubicBezTo>
                <a:cubicBezTo>
                  <a:pt x="301" y="214"/>
                  <a:pt x="301" y="214"/>
                  <a:pt x="301" y="214"/>
                </a:cubicBezTo>
                <a:cubicBezTo>
                  <a:pt x="300" y="214"/>
                  <a:pt x="300" y="214"/>
                  <a:pt x="300" y="214"/>
                </a:cubicBezTo>
                <a:cubicBezTo>
                  <a:pt x="299" y="213"/>
                  <a:pt x="299" y="213"/>
                  <a:pt x="299" y="213"/>
                </a:cubicBezTo>
                <a:cubicBezTo>
                  <a:pt x="298" y="212"/>
                  <a:pt x="298" y="212"/>
                  <a:pt x="298" y="212"/>
                </a:cubicBezTo>
                <a:cubicBezTo>
                  <a:pt x="298" y="211"/>
                  <a:pt x="298" y="211"/>
                  <a:pt x="298" y="211"/>
                </a:cubicBezTo>
                <a:cubicBezTo>
                  <a:pt x="297" y="211"/>
                  <a:pt x="297" y="211"/>
                  <a:pt x="297" y="211"/>
                </a:cubicBezTo>
                <a:cubicBezTo>
                  <a:pt x="296" y="211"/>
                  <a:pt x="296" y="211"/>
                  <a:pt x="296" y="211"/>
                </a:cubicBezTo>
                <a:cubicBezTo>
                  <a:pt x="296" y="210"/>
                  <a:pt x="296" y="210"/>
                  <a:pt x="296" y="210"/>
                </a:cubicBezTo>
                <a:cubicBezTo>
                  <a:pt x="296" y="209"/>
                  <a:pt x="296" y="209"/>
                  <a:pt x="296" y="209"/>
                </a:cubicBezTo>
                <a:cubicBezTo>
                  <a:pt x="296" y="208"/>
                  <a:pt x="296" y="208"/>
                  <a:pt x="296" y="208"/>
                </a:cubicBezTo>
                <a:cubicBezTo>
                  <a:pt x="296" y="207"/>
                  <a:pt x="296" y="207"/>
                  <a:pt x="296" y="207"/>
                </a:cubicBezTo>
                <a:cubicBezTo>
                  <a:pt x="296" y="206"/>
                  <a:pt x="296" y="206"/>
                  <a:pt x="296" y="206"/>
                </a:cubicBezTo>
                <a:cubicBezTo>
                  <a:pt x="296" y="203"/>
                  <a:pt x="296" y="203"/>
                  <a:pt x="296" y="203"/>
                </a:cubicBezTo>
                <a:cubicBezTo>
                  <a:pt x="297" y="202"/>
                  <a:pt x="297" y="202"/>
                  <a:pt x="297" y="202"/>
                </a:cubicBezTo>
                <a:cubicBezTo>
                  <a:pt x="299" y="200"/>
                  <a:pt x="299" y="200"/>
                  <a:pt x="299" y="200"/>
                </a:cubicBezTo>
                <a:cubicBezTo>
                  <a:pt x="300" y="200"/>
                  <a:pt x="300" y="200"/>
                  <a:pt x="300" y="200"/>
                </a:cubicBezTo>
                <a:cubicBezTo>
                  <a:pt x="301" y="200"/>
                  <a:pt x="301" y="200"/>
                  <a:pt x="301" y="200"/>
                </a:cubicBezTo>
                <a:cubicBezTo>
                  <a:pt x="301" y="199"/>
                  <a:pt x="301" y="199"/>
                  <a:pt x="301" y="199"/>
                </a:cubicBezTo>
                <a:cubicBezTo>
                  <a:pt x="302" y="198"/>
                  <a:pt x="302" y="198"/>
                  <a:pt x="302" y="198"/>
                </a:cubicBezTo>
                <a:cubicBezTo>
                  <a:pt x="302" y="198"/>
                  <a:pt x="302" y="198"/>
                  <a:pt x="302" y="198"/>
                </a:cubicBezTo>
                <a:cubicBezTo>
                  <a:pt x="302" y="198"/>
                  <a:pt x="302" y="198"/>
                  <a:pt x="302" y="198"/>
                </a:cubicBezTo>
                <a:cubicBezTo>
                  <a:pt x="301" y="198"/>
                  <a:pt x="301" y="198"/>
                  <a:pt x="301" y="198"/>
                </a:cubicBezTo>
                <a:cubicBezTo>
                  <a:pt x="300" y="198"/>
                  <a:pt x="300" y="198"/>
                  <a:pt x="300" y="198"/>
                </a:cubicBezTo>
                <a:cubicBezTo>
                  <a:pt x="300" y="197"/>
                  <a:pt x="300" y="197"/>
                  <a:pt x="300" y="197"/>
                </a:cubicBezTo>
                <a:cubicBezTo>
                  <a:pt x="300" y="196"/>
                  <a:pt x="300" y="196"/>
                  <a:pt x="300" y="196"/>
                </a:cubicBezTo>
                <a:cubicBezTo>
                  <a:pt x="300" y="194"/>
                  <a:pt x="300" y="194"/>
                  <a:pt x="300" y="194"/>
                </a:cubicBezTo>
                <a:cubicBezTo>
                  <a:pt x="301" y="193"/>
                  <a:pt x="301" y="193"/>
                  <a:pt x="301" y="193"/>
                </a:cubicBezTo>
                <a:cubicBezTo>
                  <a:pt x="302" y="191"/>
                  <a:pt x="302" y="191"/>
                  <a:pt x="302" y="191"/>
                </a:cubicBezTo>
                <a:cubicBezTo>
                  <a:pt x="303" y="190"/>
                  <a:pt x="303" y="190"/>
                  <a:pt x="303" y="190"/>
                </a:cubicBezTo>
                <a:cubicBezTo>
                  <a:pt x="304" y="189"/>
                  <a:pt x="304" y="189"/>
                  <a:pt x="304" y="189"/>
                </a:cubicBezTo>
                <a:cubicBezTo>
                  <a:pt x="305" y="189"/>
                  <a:pt x="305" y="189"/>
                  <a:pt x="305" y="189"/>
                </a:cubicBezTo>
                <a:cubicBezTo>
                  <a:pt x="306" y="187"/>
                  <a:pt x="306" y="187"/>
                  <a:pt x="306" y="187"/>
                </a:cubicBezTo>
                <a:cubicBezTo>
                  <a:pt x="307" y="186"/>
                  <a:pt x="307" y="186"/>
                  <a:pt x="307" y="186"/>
                </a:cubicBezTo>
                <a:cubicBezTo>
                  <a:pt x="308" y="187"/>
                  <a:pt x="308" y="187"/>
                  <a:pt x="308" y="187"/>
                </a:cubicBezTo>
                <a:cubicBezTo>
                  <a:pt x="308" y="189"/>
                  <a:pt x="308" y="189"/>
                  <a:pt x="308" y="189"/>
                </a:cubicBezTo>
                <a:cubicBezTo>
                  <a:pt x="308" y="189"/>
                  <a:pt x="308" y="189"/>
                  <a:pt x="308" y="189"/>
                </a:cubicBezTo>
                <a:cubicBezTo>
                  <a:pt x="308" y="190"/>
                  <a:pt x="308" y="190"/>
                  <a:pt x="308" y="190"/>
                </a:cubicBezTo>
                <a:cubicBezTo>
                  <a:pt x="309" y="189"/>
                  <a:pt x="309" y="189"/>
                  <a:pt x="309" y="189"/>
                </a:cubicBezTo>
                <a:cubicBezTo>
                  <a:pt x="309" y="189"/>
                  <a:pt x="309" y="189"/>
                  <a:pt x="309" y="189"/>
                </a:cubicBezTo>
                <a:cubicBezTo>
                  <a:pt x="311" y="186"/>
                  <a:pt x="311" y="186"/>
                  <a:pt x="311" y="186"/>
                </a:cubicBezTo>
                <a:cubicBezTo>
                  <a:pt x="311" y="186"/>
                  <a:pt x="311" y="186"/>
                  <a:pt x="311" y="186"/>
                </a:cubicBezTo>
                <a:cubicBezTo>
                  <a:pt x="310" y="186"/>
                  <a:pt x="310" y="186"/>
                  <a:pt x="310" y="186"/>
                </a:cubicBezTo>
                <a:cubicBezTo>
                  <a:pt x="309" y="185"/>
                  <a:pt x="309" y="185"/>
                  <a:pt x="309" y="185"/>
                </a:cubicBezTo>
                <a:cubicBezTo>
                  <a:pt x="308" y="184"/>
                  <a:pt x="308" y="184"/>
                  <a:pt x="308" y="184"/>
                </a:cubicBezTo>
                <a:cubicBezTo>
                  <a:pt x="309" y="183"/>
                  <a:pt x="309" y="183"/>
                  <a:pt x="309" y="183"/>
                </a:cubicBezTo>
                <a:cubicBezTo>
                  <a:pt x="311" y="183"/>
                  <a:pt x="311" y="183"/>
                  <a:pt x="311" y="183"/>
                </a:cubicBezTo>
                <a:cubicBezTo>
                  <a:pt x="311" y="183"/>
                  <a:pt x="311" y="183"/>
                  <a:pt x="311" y="183"/>
                </a:cubicBezTo>
                <a:cubicBezTo>
                  <a:pt x="313" y="181"/>
                  <a:pt x="313" y="181"/>
                  <a:pt x="313" y="181"/>
                </a:cubicBezTo>
                <a:cubicBezTo>
                  <a:pt x="313" y="180"/>
                  <a:pt x="313" y="180"/>
                  <a:pt x="313" y="180"/>
                </a:cubicBezTo>
                <a:cubicBezTo>
                  <a:pt x="314" y="180"/>
                  <a:pt x="314" y="180"/>
                  <a:pt x="314" y="180"/>
                </a:cubicBezTo>
                <a:cubicBezTo>
                  <a:pt x="315" y="180"/>
                  <a:pt x="315" y="180"/>
                  <a:pt x="315" y="180"/>
                </a:cubicBezTo>
                <a:cubicBezTo>
                  <a:pt x="317" y="181"/>
                  <a:pt x="317" y="181"/>
                  <a:pt x="317" y="181"/>
                </a:cubicBezTo>
                <a:cubicBezTo>
                  <a:pt x="317" y="182"/>
                  <a:pt x="317" y="182"/>
                  <a:pt x="317" y="182"/>
                </a:cubicBezTo>
                <a:cubicBezTo>
                  <a:pt x="317" y="183"/>
                  <a:pt x="317" y="183"/>
                  <a:pt x="317" y="183"/>
                </a:cubicBezTo>
                <a:cubicBezTo>
                  <a:pt x="318" y="183"/>
                  <a:pt x="318" y="183"/>
                  <a:pt x="318" y="183"/>
                </a:cubicBezTo>
                <a:cubicBezTo>
                  <a:pt x="319" y="184"/>
                  <a:pt x="319" y="184"/>
                  <a:pt x="319" y="184"/>
                </a:cubicBezTo>
                <a:cubicBezTo>
                  <a:pt x="320" y="184"/>
                  <a:pt x="320" y="184"/>
                  <a:pt x="320" y="184"/>
                </a:cubicBezTo>
                <a:cubicBezTo>
                  <a:pt x="319" y="186"/>
                  <a:pt x="319" y="186"/>
                  <a:pt x="319" y="186"/>
                </a:cubicBezTo>
                <a:cubicBezTo>
                  <a:pt x="319" y="186"/>
                  <a:pt x="319" y="186"/>
                  <a:pt x="319" y="186"/>
                </a:cubicBezTo>
                <a:cubicBezTo>
                  <a:pt x="319" y="187"/>
                  <a:pt x="319" y="187"/>
                  <a:pt x="319" y="187"/>
                </a:cubicBezTo>
                <a:cubicBezTo>
                  <a:pt x="319" y="188"/>
                  <a:pt x="319" y="188"/>
                  <a:pt x="319" y="188"/>
                </a:cubicBezTo>
                <a:cubicBezTo>
                  <a:pt x="320" y="189"/>
                  <a:pt x="320" y="189"/>
                  <a:pt x="320" y="189"/>
                </a:cubicBezTo>
                <a:cubicBezTo>
                  <a:pt x="320" y="190"/>
                  <a:pt x="320" y="190"/>
                  <a:pt x="320" y="190"/>
                </a:cubicBezTo>
                <a:cubicBezTo>
                  <a:pt x="320" y="192"/>
                  <a:pt x="320" y="192"/>
                  <a:pt x="320" y="192"/>
                </a:cubicBezTo>
                <a:cubicBezTo>
                  <a:pt x="321" y="193"/>
                  <a:pt x="321" y="193"/>
                  <a:pt x="321" y="193"/>
                </a:cubicBezTo>
                <a:cubicBezTo>
                  <a:pt x="321" y="193"/>
                  <a:pt x="321" y="193"/>
                  <a:pt x="321" y="193"/>
                </a:cubicBezTo>
                <a:cubicBezTo>
                  <a:pt x="320" y="195"/>
                  <a:pt x="320" y="195"/>
                  <a:pt x="320" y="195"/>
                </a:cubicBezTo>
                <a:cubicBezTo>
                  <a:pt x="320" y="195"/>
                  <a:pt x="320" y="195"/>
                  <a:pt x="320" y="195"/>
                </a:cubicBezTo>
                <a:cubicBezTo>
                  <a:pt x="319" y="197"/>
                  <a:pt x="319" y="197"/>
                  <a:pt x="319" y="197"/>
                </a:cubicBezTo>
                <a:cubicBezTo>
                  <a:pt x="319" y="199"/>
                  <a:pt x="319" y="199"/>
                  <a:pt x="319" y="199"/>
                </a:cubicBezTo>
                <a:cubicBezTo>
                  <a:pt x="318" y="199"/>
                  <a:pt x="318" y="199"/>
                  <a:pt x="318" y="199"/>
                </a:cubicBezTo>
                <a:cubicBezTo>
                  <a:pt x="319" y="200"/>
                  <a:pt x="319" y="200"/>
                  <a:pt x="319" y="200"/>
                </a:cubicBezTo>
                <a:cubicBezTo>
                  <a:pt x="318" y="201"/>
                  <a:pt x="318" y="201"/>
                  <a:pt x="318" y="201"/>
                </a:cubicBezTo>
                <a:cubicBezTo>
                  <a:pt x="320" y="203"/>
                  <a:pt x="320" y="203"/>
                  <a:pt x="320" y="203"/>
                </a:cubicBezTo>
                <a:cubicBezTo>
                  <a:pt x="320" y="204"/>
                  <a:pt x="320" y="204"/>
                  <a:pt x="320" y="204"/>
                </a:cubicBezTo>
                <a:cubicBezTo>
                  <a:pt x="319" y="204"/>
                  <a:pt x="319" y="204"/>
                  <a:pt x="319" y="204"/>
                </a:cubicBezTo>
                <a:cubicBezTo>
                  <a:pt x="320" y="205"/>
                  <a:pt x="320" y="205"/>
                  <a:pt x="320" y="205"/>
                </a:cubicBezTo>
                <a:cubicBezTo>
                  <a:pt x="319" y="206"/>
                  <a:pt x="319" y="206"/>
                  <a:pt x="319" y="206"/>
                </a:cubicBezTo>
                <a:cubicBezTo>
                  <a:pt x="319" y="207"/>
                  <a:pt x="319" y="207"/>
                  <a:pt x="319" y="207"/>
                </a:cubicBezTo>
                <a:cubicBezTo>
                  <a:pt x="320" y="208"/>
                  <a:pt x="320" y="208"/>
                  <a:pt x="320" y="208"/>
                </a:cubicBezTo>
                <a:cubicBezTo>
                  <a:pt x="321" y="209"/>
                  <a:pt x="321" y="209"/>
                  <a:pt x="321" y="209"/>
                </a:cubicBezTo>
                <a:cubicBezTo>
                  <a:pt x="321" y="210"/>
                  <a:pt x="321" y="210"/>
                  <a:pt x="321" y="210"/>
                </a:cubicBezTo>
                <a:cubicBezTo>
                  <a:pt x="320" y="211"/>
                  <a:pt x="320" y="211"/>
                  <a:pt x="320" y="211"/>
                </a:cubicBezTo>
                <a:cubicBezTo>
                  <a:pt x="319" y="210"/>
                  <a:pt x="319" y="210"/>
                  <a:pt x="319" y="210"/>
                </a:cubicBezTo>
                <a:cubicBezTo>
                  <a:pt x="318" y="210"/>
                  <a:pt x="318" y="210"/>
                  <a:pt x="318" y="210"/>
                </a:cubicBezTo>
                <a:cubicBezTo>
                  <a:pt x="317" y="209"/>
                  <a:pt x="317" y="209"/>
                  <a:pt x="317" y="209"/>
                </a:cubicBezTo>
                <a:cubicBezTo>
                  <a:pt x="318" y="208"/>
                  <a:pt x="318" y="208"/>
                  <a:pt x="318" y="208"/>
                </a:cubicBezTo>
                <a:cubicBezTo>
                  <a:pt x="316" y="208"/>
                  <a:pt x="316" y="208"/>
                  <a:pt x="316" y="208"/>
                </a:cubicBezTo>
                <a:cubicBezTo>
                  <a:pt x="316" y="210"/>
                  <a:pt x="316" y="210"/>
                  <a:pt x="316" y="210"/>
                </a:cubicBezTo>
                <a:cubicBezTo>
                  <a:pt x="315" y="210"/>
                  <a:pt x="315" y="210"/>
                  <a:pt x="315" y="210"/>
                </a:cubicBezTo>
                <a:cubicBezTo>
                  <a:pt x="315" y="211"/>
                  <a:pt x="315" y="211"/>
                  <a:pt x="315" y="211"/>
                </a:cubicBezTo>
                <a:cubicBezTo>
                  <a:pt x="316" y="210"/>
                  <a:pt x="316" y="210"/>
                  <a:pt x="316" y="210"/>
                </a:cubicBezTo>
                <a:cubicBezTo>
                  <a:pt x="317" y="211"/>
                  <a:pt x="317" y="211"/>
                  <a:pt x="317" y="211"/>
                </a:cubicBezTo>
                <a:cubicBezTo>
                  <a:pt x="317" y="212"/>
                  <a:pt x="317" y="212"/>
                  <a:pt x="317" y="212"/>
                </a:cubicBezTo>
                <a:cubicBezTo>
                  <a:pt x="314" y="214"/>
                  <a:pt x="314" y="214"/>
                  <a:pt x="314" y="214"/>
                </a:cubicBezTo>
                <a:cubicBezTo>
                  <a:pt x="313" y="214"/>
                  <a:pt x="313" y="214"/>
                  <a:pt x="313" y="214"/>
                </a:cubicBezTo>
                <a:cubicBezTo>
                  <a:pt x="312" y="215"/>
                  <a:pt x="312" y="215"/>
                  <a:pt x="312" y="215"/>
                </a:cubicBezTo>
                <a:cubicBezTo>
                  <a:pt x="312" y="215"/>
                  <a:pt x="312" y="215"/>
                  <a:pt x="312" y="215"/>
                </a:cubicBezTo>
                <a:cubicBezTo>
                  <a:pt x="311" y="217"/>
                  <a:pt x="311" y="217"/>
                  <a:pt x="311" y="217"/>
                </a:cubicBezTo>
                <a:cubicBezTo>
                  <a:pt x="312" y="217"/>
                  <a:pt x="312" y="217"/>
                  <a:pt x="312" y="217"/>
                </a:cubicBezTo>
                <a:cubicBezTo>
                  <a:pt x="313" y="217"/>
                  <a:pt x="313" y="217"/>
                  <a:pt x="313" y="217"/>
                </a:cubicBezTo>
                <a:cubicBezTo>
                  <a:pt x="314" y="217"/>
                  <a:pt x="314" y="217"/>
                  <a:pt x="314" y="217"/>
                </a:cubicBezTo>
                <a:cubicBezTo>
                  <a:pt x="314" y="218"/>
                  <a:pt x="314" y="218"/>
                  <a:pt x="314" y="218"/>
                </a:cubicBezTo>
                <a:cubicBezTo>
                  <a:pt x="315" y="219"/>
                  <a:pt x="315" y="219"/>
                  <a:pt x="315" y="219"/>
                </a:cubicBezTo>
                <a:cubicBezTo>
                  <a:pt x="317" y="219"/>
                  <a:pt x="317" y="219"/>
                  <a:pt x="317" y="219"/>
                </a:cubicBezTo>
                <a:cubicBezTo>
                  <a:pt x="317" y="218"/>
                  <a:pt x="317" y="218"/>
                  <a:pt x="317" y="218"/>
                </a:cubicBezTo>
                <a:cubicBezTo>
                  <a:pt x="318" y="218"/>
                  <a:pt x="318" y="218"/>
                  <a:pt x="318" y="218"/>
                </a:cubicBezTo>
                <a:cubicBezTo>
                  <a:pt x="318" y="218"/>
                  <a:pt x="318" y="218"/>
                  <a:pt x="318" y="218"/>
                </a:cubicBezTo>
                <a:cubicBezTo>
                  <a:pt x="318" y="219"/>
                  <a:pt x="318" y="219"/>
                  <a:pt x="318" y="219"/>
                </a:cubicBezTo>
                <a:cubicBezTo>
                  <a:pt x="318" y="219"/>
                  <a:pt x="318" y="219"/>
                  <a:pt x="318" y="219"/>
                </a:cubicBezTo>
                <a:cubicBezTo>
                  <a:pt x="319" y="220"/>
                  <a:pt x="319" y="220"/>
                  <a:pt x="319" y="220"/>
                </a:cubicBezTo>
                <a:cubicBezTo>
                  <a:pt x="320" y="220"/>
                  <a:pt x="320" y="220"/>
                  <a:pt x="320" y="220"/>
                </a:cubicBezTo>
                <a:cubicBezTo>
                  <a:pt x="321" y="220"/>
                  <a:pt x="321" y="220"/>
                  <a:pt x="321" y="220"/>
                </a:cubicBezTo>
                <a:cubicBezTo>
                  <a:pt x="322" y="220"/>
                  <a:pt x="322" y="220"/>
                  <a:pt x="322" y="220"/>
                </a:cubicBezTo>
                <a:cubicBezTo>
                  <a:pt x="321" y="221"/>
                  <a:pt x="321" y="221"/>
                  <a:pt x="321" y="221"/>
                </a:cubicBezTo>
                <a:cubicBezTo>
                  <a:pt x="320" y="221"/>
                  <a:pt x="320" y="221"/>
                  <a:pt x="320" y="221"/>
                </a:cubicBezTo>
                <a:cubicBezTo>
                  <a:pt x="318" y="222"/>
                  <a:pt x="318" y="222"/>
                  <a:pt x="318" y="222"/>
                </a:cubicBezTo>
                <a:cubicBezTo>
                  <a:pt x="318" y="223"/>
                  <a:pt x="318" y="223"/>
                  <a:pt x="318" y="223"/>
                </a:cubicBezTo>
                <a:cubicBezTo>
                  <a:pt x="318" y="221"/>
                  <a:pt x="318" y="221"/>
                  <a:pt x="318" y="221"/>
                </a:cubicBezTo>
                <a:cubicBezTo>
                  <a:pt x="317" y="221"/>
                  <a:pt x="317" y="221"/>
                  <a:pt x="317" y="221"/>
                </a:cubicBezTo>
                <a:cubicBezTo>
                  <a:pt x="317" y="221"/>
                  <a:pt x="317" y="221"/>
                  <a:pt x="317" y="221"/>
                </a:cubicBezTo>
                <a:cubicBezTo>
                  <a:pt x="317" y="222"/>
                  <a:pt x="317" y="222"/>
                  <a:pt x="317" y="222"/>
                </a:cubicBezTo>
                <a:cubicBezTo>
                  <a:pt x="317" y="223"/>
                  <a:pt x="317" y="223"/>
                  <a:pt x="317" y="223"/>
                </a:cubicBezTo>
                <a:cubicBezTo>
                  <a:pt x="317" y="224"/>
                  <a:pt x="317" y="224"/>
                  <a:pt x="317" y="224"/>
                </a:cubicBezTo>
                <a:cubicBezTo>
                  <a:pt x="318" y="226"/>
                  <a:pt x="318" y="226"/>
                  <a:pt x="318" y="226"/>
                </a:cubicBezTo>
                <a:cubicBezTo>
                  <a:pt x="318" y="227"/>
                  <a:pt x="318" y="227"/>
                  <a:pt x="318" y="227"/>
                </a:cubicBezTo>
                <a:cubicBezTo>
                  <a:pt x="319" y="227"/>
                  <a:pt x="319" y="227"/>
                  <a:pt x="319" y="227"/>
                </a:cubicBezTo>
                <a:cubicBezTo>
                  <a:pt x="318" y="229"/>
                  <a:pt x="318" y="229"/>
                  <a:pt x="318" y="229"/>
                </a:cubicBezTo>
                <a:cubicBezTo>
                  <a:pt x="318" y="229"/>
                  <a:pt x="318" y="229"/>
                  <a:pt x="318" y="229"/>
                </a:cubicBezTo>
                <a:cubicBezTo>
                  <a:pt x="317" y="230"/>
                  <a:pt x="317" y="230"/>
                  <a:pt x="317" y="230"/>
                </a:cubicBezTo>
                <a:cubicBezTo>
                  <a:pt x="317" y="232"/>
                  <a:pt x="317" y="232"/>
                  <a:pt x="317" y="232"/>
                </a:cubicBezTo>
                <a:cubicBezTo>
                  <a:pt x="316" y="233"/>
                  <a:pt x="316" y="233"/>
                  <a:pt x="316" y="233"/>
                </a:cubicBezTo>
                <a:cubicBezTo>
                  <a:pt x="316" y="234"/>
                  <a:pt x="316" y="234"/>
                  <a:pt x="316" y="234"/>
                </a:cubicBezTo>
                <a:cubicBezTo>
                  <a:pt x="316" y="235"/>
                  <a:pt x="316" y="235"/>
                  <a:pt x="316" y="235"/>
                </a:cubicBezTo>
                <a:cubicBezTo>
                  <a:pt x="316" y="236"/>
                  <a:pt x="316" y="236"/>
                  <a:pt x="316" y="236"/>
                </a:cubicBezTo>
                <a:cubicBezTo>
                  <a:pt x="316" y="236"/>
                  <a:pt x="316" y="236"/>
                  <a:pt x="316" y="236"/>
                </a:cubicBezTo>
                <a:cubicBezTo>
                  <a:pt x="317" y="236"/>
                  <a:pt x="317" y="236"/>
                  <a:pt x="317" y="236"/>
                </a:cubicBezTo>
                <a:cubicBezTo>
                  <a:pt x="318" y="235"/>
                  <a:pt x="318" y="235"/>
                  <a:pt x="318" y="235"/>
                </a:cubicBezTo>
                <a:cubicBezTo>
                  <a:pt x="318" y="234"/>
                  <a:pt x="318" y="234"/>
                  <a:pt x="318" y="234"/>
                </a:cubicBezTo>
                <a:cubicBezTo>
                  <a:pt x="320" y="234"/>
                  <a:pt x="320" y="234"/>
                  <a:pt x="320" y="234"/>
                </a:cubicBezTo>
                <a:cubicBezTo>
                  <a:pt x="320" y="233"/>
                  <a:pt x="320" y="233"/>
                  <a:pt x="320" y="233"/>
                </a:cubicBezTo>
                <a:cubicBezTo>
                  <a:pt x="320" y="233"/>
                  <a:pt x="320" y="233"/>
                  <a:pt x="320" y="233"/>
                </a:cubicBezTo>
                <a:cubicBezTo>
                  <a:pt x="320" y="232"/>
                  <a:pt x="320" y="232"/>
                  <a:pt x="320" y="232"/>
                </a:cubicBezTo>
                <a:cubicBezTo>
                  <a:pt x="321" y="232"/>
                  <a:pt x="321" y="232"/>
                  <a:pt x="321" y="232"/>
                </a:cubicBezTo>
                <a:cubicBezTo>
                  <a:pt x="322" y="232"/>
                  <a:pt x="322" y="232"/>
                  <a:pt x="322" y="232"/>
                </a:cubicBezTo>
                <a:cubicBezTo>
                  <a:pt x="322" y="230"/>
                  <a:pt x="322" y="230"/>
                  <a:pt x="322" y="230"/>
                </a:cubicBezTo>
                <a:cubicBezTo>
                  <a:pt x="322" y="228"/>
                  <a:pt x="322" y="228"/>
                  <a:pt x="322" y="228"/>
                </a:cubicBezTo>
                <a:cubicBezTo>
                  <a:pt x="324" y="227"/>
                  <a:pt x="324" y="227"/>
                  <a:pt x="324" y="227"/>
                </a:cubicBezTo>
                <a:cubicBezTo>
                  <a:pt x="325" y="225"/>
                  <a:pt x="325" y="225"/>
                  <a:pt x="325" y="225"/>
                </a:cubicBezTo>
                <a:cubicBezTo>
                  <a:pt x="325" y="224"/>
                  <a:pt x="325" y="224"/>
                  <a:pt x="325" y="224"/>
                </a:cubicBezTo>
                <a:cubicBezTo>
                  <a:pt x="326" y="223"/>
                  <a:pt x="326" y="223"/>
                  <a:pt x="326" y="223"/>
                </a:cubicBezTo>
                <a:cubicBezTo>
                  <a:pt x="327" y="224"/>
                  <a:pt x="327" y="224"/>
                  <a:pt x="327" y="224"/>
                </a:cubicBezTo>
                <a:cubicBezTo>
                  <a:pt x="327" y="225"/>
                  <a:pt x="327" y="225"/>
                  <a:pt x="327" y="225"/>
                </a:cubicBezTo>
                <a:cubicBezTo>
                  <a:pt x="328" y="227"/>
                  <a:pt x="328" y="227"/>
                  <a:pt x="328" y="227"/>
                </a:cubicBezTo>
                <a:cubicBezTo>
                  <a:pt x="328" y="229"/>
                  <a:pt x="328" y="229"/>
                  <a:pt x="328" y="229"/>
                </a:cubicBezTo>
                <a:cubicBezTo>
                  <a:pt x="329" y="230"/>
                  <a:pt x="329" y="230"/>
                  <a:pt x="329" y="230"/>
                </a:cubicBezTo>
                <a:cubicBezTo>
                  <a:pt x="329" y="232"/>
                  <a:pt x="329" y="232"/>
                  <a:pt x="329" y="232"/>
                </a:cubicBezTo>
                <a:cubicBezTo>
                  <a:pt x="329" y="233"/>
                  <a:pt x="329" y="233"/>
                  <a:pt x="329" y="233"/>
                </a:cubicBezTo>
                <a:cubicBezTo>
                  <a:pt x="329" y="235"/>
                  <a:pt x="329" y="235"/>
                  <a:pt x="329" y="235"/>
                </a:cubicBezTo>
                <a:cubicBezTo>
                  <a:pt x="328" y="237"/>
                  <a:pt x="328" y="237"/>
                  <a:pt x="328" y="237"/>
                </a:cubicBezTo>
                <a:cubicBezTo>
                  <a:pt x="327" y="237"/>
                  <a:pt x="327" y="237"/>
                  <a:pt x="327" y="237"/>
                </a:cubicBezTo>
                <a:cubicBezTo>
                  <a:pt x="327" y="236"/>
                  <a:pt x="327" y="236"/>
                  <a:pt x="327" y="236"/>
                </a:cubicBezTo>
                <a:cubicBezTo>
                  <a:pt x="326" y="237"/>
                  <a:pt x="326" y="237"/>
                  <a:pt x="326" y="237"/>
                </a:cubicBezTo>
                <a:cubicBezTo>
                  <a:pt x="325" y="238"/>
                  <a:pt x="325" y="238"/>
                  <a:pt x="325" y="238"/>
                </a:cubicBezTo>
                <a:cubicBezTo>
                  <a:pt x="326" y="239"/>
                  <a:pt x="326" y="239"/>
                  <a:pt x="326" y="239"/>
                </a:cubicBezTo>
                <a:cubicBezTo>
                  <a:pt x="325" y="241"/>
                  <a:pt x="325" y="241"/>
                  <a:pt x="325" y="241"/>
                </a:cubicBezTo>
                <a:cubicBezTo>
                  <a:pt x="324" y="242"/>
                  <a:pt x="324" y="242"/>
                  <a:pt x="324" y="242"/>
                </a:cubicBezTo>
                <a:cubicBezTo>
                  <a:pt x="325" y="243"/>
                  <a:pt x="325" y="243"/>
                  <a:pt x="325" y="243"/>
                </a:cubicBezTo>
                <a:cubicBezTo>
                  <a:pt x="325" y="245"/>
                  <a:pt x="325" y="245"/>
                  <a:pt x="325" y="245"/>
                </a:cubicBezTo>
                <a:cubicBezTo>
                  <a:pt x="326" y="249"/>
                  <a:pt x="326" y="249"/>
                  <a:pt x="326" y="249"/>
                </a:cubicBezTo>
                <a:cubicBezTo>
                  <a:pt x="327" y="251"/>
                  <a:pt x="327" y="251"/>
                  <a:pt x="327" y="251"/>
                </a:cubicBezTo>
                <a:cubicBezTo>
                  <a:pt x="326" y="252"/>
                  <a:pt x="326" y="252"/>
                  <a:pt x="326" y="252"/>
                </a:cubicBezTo>
                <a:cubicBezTo>
                  <a:pt x="327" y="253"/>
                  <a:pt x="327" y="253"/>
                  <a:pt x="327" y="253"/>
                </a:cubicBezTo>
                <a:cubicBezTo>
                  <a:pt x="328" y="253"/>
                  <a:pt x="328" y="253"/>
                  <a:pt x="328" y="253"/>
                </a:cubicBezTo>
                <a:cubicBezTo>
                  <a:pt x="328" y="252"/>
                  <a:pt x="328" y="252"/>
                  <a:pt x="328" y="252"/>
                </a:cubicBezTo>
                <a:cubicBezTo>
                  <a:pt x="327" y="251"/>
                  <a:pt x="327" y="251"/>
                  <a:pt x="327" y="251"/>
                </a:cubicBezTo>
                <a:cubicBezTo>
                  <a:pt x="328" y="250"/>
                  <a:pt x="328" y="250"/>
                  <a:pt x="328" y="250"/>
                </a:cubicBezTo>
                <a:cubicBezTo>
                  <a:pt x="329" y="250"/>
                  <a:pt x="329" y="250"/>
                  <a:pt x="329" y="250"/>
                </a:cubicBezTo>
                <a:cubicBezTo>
                  <a:pt x="330" y="252"/>
                  <a:pt x="330" y="252"/>
                  <a:pt x="330" y="252"/>
                </a:cubicBezTo>
                <a:cubicBezTo>
                  <a:pt x="330" y="252"/>
                  <a:pt x="330" y="252"/>
                  <a:pt x="330" y="252"/>
                </a:cubicBezTo>
                <a:cubicBezTo>
                  <a:pt x="331" y="250"/>
                  <a:pt x="331" y="250"/>
                  <a:pt x="331" y="250"/>
                </a:cubicBezTo>
                <a:cubicBezTo>
                  <a:pt x="332" y="249"/>
                  <a:pt x="332" y="249"/>
                  <a:pt x="332" y="249"/>
                </a:cubicBezTo>
                <a:cubicBezTo>
                  <a:pt x="332" y="247"/>
                  <a:pt x="332" y="247"/>
                  <a:pt x="332" y="247"/>
                </a:cubicBezTo>
                <a:cubicBezTo>
                  <a:pt x="333" y="247"/>
                  <a:pt x="333" y="247"/>
                  <a:pt x="333" y="247"/>
                </a:cubicBezTo>
                <a:cubicBezTo>
                  <a:pt x="334" y="245"/>
                  <a:pt x="334" y="245"/>
                  <a:pt x="334" y="245"/>
                </a:cubicBezTo>
                <a:cubicBezTo>
                  <a:pt x="334" y="245"/>
                  <a:pt x="334" y="245"/>
                  <a:pt x="334" y="245"/>
                </a:cubicBezTo>
                <a:cubicBezTo>
                  <a:pt x="335" y="244"/>
                  <a:pt x="335" y="244"/>
                  <a:pt x="335" y="244"/>
                </a:cubicBezTo>
                <a:cubicBezTo>
                  <a:pt x="337" y="242"/>
                  <a:pt x="337" y="242"/>
                  <a:pt x="337" y="242"/>
                </a:cubicBezTo>
                <a:cubicBezTo>
                  <a:pt x="339" y="240"/>
                  <a:pt x="339" y="240"/>
                  <a:pt x="339" y="240"/>
                </a:cubicBezTo>
                <a:cubicBezTo>
                  <a:pt x="340" y="237"/>
                  <a:pt x="340" y="237"/>
                  <a:pt x="340" y="237"/>
                </a:cubicBezTo>
                <a:cubicBezTo>
                  <a:pt x="341" y="235"/>
                  <a:pt x="341" y="235"/>
                  <a:pt x="341" y="235"/>
                </a:cubicBezTo>
                <a:cubicBezTo>
                  <a:pt x="342" y="234"/>
                  <a:pt x="342" y="234"/>
                  <a:pt x="342" y="234"/>
                </a:cubicBezTo>
                <a:cubicBezTo>
                  <a:pt x="343" y="236"/>
                  <a:pt x="343" y="236"/>
                  <a:pt x="343" y="236"/>
                </a:cubicBezTo>
                <a:cubicBezTo>
                  <a:pt x="344" y="235"/>
                  <a:pt x="344" y="235"/>
                  <a:pt x="344" y="235"/>
                </a:cubicBezTo>
                <a:cubicBezTo>
                  <a:pt x="344" y="235"/>
                  <a:pt x="344" y="235"/>
                  <a:pt x="344" y="235"/>
                </a:cubicBezTo>
                <a:cubicBezTo>
                  <a:pt x="346" y="235"/>
                  <a:pt x="346" y="235"/>
                  <a:pt x="346" y="235"/>
                </a:cubicBezTo>
                <a:cubicBezTo>
                  <a:pt x="346" y="234"/>
                  <a:pt x="346" y="234"/>
                  <a:pt x="346" y="234"/>
                </a:cubicBezTo>
                <a:cubicBezTo>
                  <a:pt x="345" y="234"/>
                  <a:pt x="345" y="234"/>
                  <a:pt x="345" y="234"/>
                </a:cubicBezTo>
                <a:cubicBezTo>
                  <a:pt x="344" y="233"/>
                  <a:pt x="344" y="233"/>
                  <a:pt x="344" y="233"/>
                </a:cubicBezTo>
                <a:cubicBezTo>
                  <a:pt x="344" y="233"/>
                  <a:pt x="344" y="233"/>
                  <a:pt x="344" y="233"/>
                </a:cubicBezTo>
                <a:cubicBezTo>
                  <a:pt x="346" y="232"/>
                  <a:pt x="346" y="232"/>
                  <a:pt x="346" y="232"/>
                </a:cubicBezTo>
                <a:cubicBezTo>
                  <a:pt x="346" y="233"/>
                  <a:pt x="346" y="233"/>
                  <a:pt x="346" y="233"/>
                </a:cubicBezTo>
                <a:cubicBezTo>
                  <a:pt x="347" y="233"/>
                  <a:pt x="347" y="233"/>
                  <a:pt x="347" y="233"/>
                </a:cubicBezTo>
                <a:cubicBezTo>
                  <a:pt x="348" y="233"/>
                  <a:pt x="348" y="233"/>
                  <a:pt x="348" y="233"/>
                </a:cubicBezTo>
                <a:cubicBezTo>
                  <a:pt x="348" y="232"/>
                  <a:pt x="348" y="232"/>
                  <a:pt x="348" y="232"/>
                </a:cubicBezTo>
                <a:cubicBezTo>
                  <a:pt x="348" y="231"/>
                  <a:pt x="348" y="231"/>
                  <a:pt x="348" y="231"/>
                </a:cubicBezTo>
                <a:cubicBezTo>
                  <a:pt x="347" y="231"/>
                  <a:pt x="347" y="231"/>
                  <a:pt x="347" y="231"/>
                </a:cubicBezTo>
                <a:cubicBezTo>
                  <a:pt x="347" y="230"/>
                  <a:pt x="347" y="230"/>
                  <a:pt x="347" y="230"/>
                </a:cubicBezTo>
                <a:cubicBezTo>
                  <a:pt x="346" y="230"/>
                  <a:pt x="346" y="230"/>
                  <a:pt x="346" y="230"/>
                </a:cubicBezTo>
                <a:cubicBezTo>
                  <a:pt x="346" y="228"/>
                  <a:pt x="346" y="228"/>
                  <a:pt x="346" y="228"/>
                </a:cubicBezTo>
                <a:cubicBezTo>
                  <a:pt x="347" y="227"/>
                  <a:pt x="347" y="227"/>
                  <a:pt x="347" y="227"/>
                </a:cubicBezTo>
                <a:cubicBezTo>
                  <a:pt x="347" y="226"/>
                  <a:pt x="347" y="226"/>
                  <a:pt x="347" y="226"/>
                </a:cubicBezTo>
                <a:cubicBezTo>
                  <a:pt x="348" y="226"/>
                  <a:pt x="348" y="226"/>
                  <a:pt x="348" y="226"/>
                </a:cubicBezTo>
                <a:cubicBezTo>
                  <a:pt x="347" y="225"/>
                  <a:pt x="347" y="225"/>
                  <a:pt x="347" y="225"/>
                </a:cubicBezTo>
                <a:cubicBezTo>
                  <a:pt x="347" y="224"/>
                  <a:pt x="347" y="224"/>
                  <a:pt x="347" y="224"/>
                </a:cubicBezTo>
                <a:cubicBezTo>
                  <a:pt x="348" y="223"/>
                  <a:pt x="348" y="223"/>
                  <a:pt x="348" y="223"/>
                </a:cubicBezTo>
                <a:cubicBezTo>
                  <a:pt x="348" y="223"/>
                  <a:pt x="348" y="223"/>
                  <a:pt x="348" y="223"/>
                </a:cubicBezTo>
                <a:cubicBezTo>
                  <a:pt x="348" y="222"/>
                  <a:pt x="348" y="222"/>
                  <a:pt x="348" y="222"/>
                </a:cubicBezTo>
                <a:cubicBezTo>
                  <a:pt x="349" y="222"/>
                  <a:pt x="349" y="222"/>
                  <a:pt x="349" y="222"/>
                </a:cubicBezTo>
                <a:cubicBezTo>
                  <a:pt x="349" y="221"/>
                  <a:pt x="349" y="221"/>
                  <a:pt x="349" y="221"/>
                </a:cubicBezTo>
                <a:cubicBezTo>
                  <a:pt x="348" y="221"/>
                  <a:pt x="348" y="221"/>
                  <a:pt x="348" y="221"/>
                </a:cubicBezTo>
                <a:cubicBezTo>
                  <a:pt x="348" y="220"/>
                  <a:pt x="348" y="220"/>
                  <a:pt x="348" y="220"/>
                </a:cubicBezTo>
                <a:cubicBezTo>
                  <a:pt x="349" y="220"/>
                  <a:pt x="349" y="220"/>
                  <a:pt x="349" y="220"/>
                </a:cubicBezTo>
                <a:cubicBezTo>
                  <a:pt x="350" y="221"/>
                  <a:pt x="350" y="221"/>
                  <a:pt x="350" y="221"/>
                </a:cubicBezTo>
                <a:cubicBezTo>
                  <a:pt x="351" y="221"/>
                  <a:pt x="351" y="221"/>
                  <a:pt x="351" y="221"/>
                </a:cubicBezTo>
                <a:cubicBezTo>
                  <a:pt x="352" y="221"/>
                  <a:pt x="352" y="221"/>
                  <a:pt x="352" y="221"/>
                </a:cubicBezTo>
                <a:cubicBezTo>
                  <a:pt x="354" y="221"/>
                  <a:pt x="354" y="221"/>
                  <a:pt x="354" y="221"/>
                </a:cubicBezTo>
                <a:cubicBezTo>
                  <a:pt x="355" y="222"/>
                  <a:pt x="355" y="222"/>
                  <a:pt x="355" y="222"/>
                </a:cubicBezTo>
                <a:cubicBezTo>
                  <a:pt x="355" y="223"/>
                  <a:pt x="355" y="223"/>
                  <a:pt x="355" y="223"/>
                </a:cubicBezTo>
                <a:cubicBezTo>
                  <a:pt x="356" y="224"/>
                  <a:pt x="356" y="224"/>
                  <a:pt x="356" y="224"/>
                </a:cubicBezTo>
                <a:cubicBezTo>
                  <a:pt x="358" y="225"/>
                  <a:pt x="358" y="225"/>
                  <a:pt x="358" y="225"/>
                </a:cubicBezTo>
                <a:cubicBezTo>
                  <a:pt x="359" y="224"/>
                  <a:pt x="359" y="224"/>
                  <a:pt x="359" y="224"/>
                </a:cubicBezTo>
                <a:cubicBezTo>
                  <a:pt x="361" y="225"/>
                  <a:pt x="361" y="225"/>
                  <a:pt x="361" y="225"/>
                </a:cubicBezTo>
                <a:cubicBezTo>
                  <a:pt x="362" y="226"/>
                  <a:pt x="362" y="226"/>
                  <a:pt x="362" y="226"/>
                </a:cubicBezTo>
                <a:cubicBezTo>
                  <a:pt x="362" y="226"/>
                  <a:pt x="362" y="226"/>
                  <a:pt x="362" y="226"/>
                </a:cubicBezTo>
                <a:cubicBezTo>
                  <a:pt x="362" y="227"/>
                  <a:pt x="362" y="227"/>
                  <a:pt x="362" y="227"/>
                </a:cubicBezTo>
                <a:cubicBezTo>
                  <a:pt x="362" y="227"/>
                  <a:pt x="362" y="227"/>
                  <a:pt x="362" y="227"/>
                </a:cubicBezTo>
                <a:cubicBezTo>
                  <a:pt x="361" y="228"/>
                  <a:pt x="361" y="228"/>
                  <a:pt x="361" y="228"/>
                </a:cubicBezTo>
                <a:cubicBezTo>
                  <a:pt x="361" y="227"/>
                  <a:pt x="361" y="227"/>
                  <a:pt x="361" y="227"/>
                </a:cubicBezTo>
                <a:cubicBezTo>
                  <a:pt x="360" y="227"/>
                  <a:pt x="360" y="227"/>
                  <a:pt x="360" y="227"/>
                </a:cubicBezTo>
                <a:cubicBezTo>
                  <a:pt x="360" y="228"/>
                  <a:pt x="360" y="228"/>
                  <a:pt x="360" y="228"/>
                </a:cubicBezTo>
                <a:cubicBezTo>
                  <a:pt x="363" y="229"/>
                  <a:pt x="363" y="229"/>
                  <a:pt x="363" y="229"/>
                </a:cubicBezTo>
                <a:cubicBezTo>
                  <a:pt x="363" y="231"/>
                  <a:pt x="363" y="231"/>
                  <a:pt x="363" y="231"/>
                </a:cubicBezTo>
                <a:cubicBezTo>
                  <a:pt x="362" y="231"/>
                  <a:pt x="362" y="231"/>
                  <a:pt x="362" y="231"/>
                </a:cubicBezTo>
                <a:cubicBezTo>
                  <a:pt x="362" y="231"/>
                  <a:pt x="362" y="231"/>
                  <a:pt x="362" y="231"/>
                </a:cubicBezTo>
                <a:cubicBezTo>
                  <a:pt x="363" y="231"/>
                  <a:pt x="363" y="231"/>
                  <a:pt x="363" y="231"/>
                </a:cubicBezTo>
                <a:cubicBezTo>
                  <a:pt x="365" y="231"/>
                  <a:pt x="365" y="231"/>
                  <a:pt x="365" y="231"/>
                </a:cubicBezTo>
                <a:cubicBezTo>
                  <a:pt x="366" y="232"/>
                  <a:pt x="366" y="232"/>
                  <a:pt x="366" y="232"/>
                </a:cubicBezTo>
                <a:cubicBezTo>
                  <a:pt x="366" y="232"/>
                  <a:pt x="366" y="232"/>
                  <a:pt x="366" y="232"/>
                </a:cubicBezTo>
                <a:cubicBezTo>
                  <a:pt x="366" y="233"/>
                  <a:pt x="366" y="233"/>
                  <a:pt x="366" y="233"/>
                </a:cubicBezTo>
                <a:cubicBezTo>
                  <a:pt x="366" y="234"/>
                  <a:pt x="366" y="234"/>
                  <a:pt x="366" y="234"/>
                </a:cubicBezTo>
                <a:cubicBezTo>
                  <a:pt x="364" y="236"/>
                  <a:pt x="364" y="236"/>
                  <a:pt x="364" y="236"/>
                </a:cubicBezTo>
                <a:cubicBezTo>
                  <a:pt x="363" y="236"/>
                  <a:pt x="363" y="236"/>
                  <a:pt x="363" y="236"/>
                </a:cubicBezTo>
                <a:cubicBezTo>
                  <a:pt x="362" y="236"/>
                  <a:pt x="362" y="236"/>
                  <a:pt x="362" y="236"/>
                </a:cubicBezTo>
                <a:cubicBezTo>
                  <a:pt x="363" y="236"/>
                  <a:pt x="363" y="236"/>
                  <a:pt x="363" y="236"/>
                </a:cubicBezTo>
                <a:cubicBezTo>
                  <a:pt x="364" y="237"/>
                  <a:pt x="364" y="237"/>
                  <a:pt x="364" y="237"/>
                </a:cubicBezTo>
                <a:cubicBezTo>
                  <a:pt x="364" y="238"/>
                  <a:pt x="364" y="238"/>
                  <a:pt x="364" y="238"/>
                </a:cubicBezTo>
                <a:cubicBezTo>
                  <a:pt x="365" y="238"/>
                  <a:pt x="365" y="238"/>
                  <a:pt x="365" y="238"/>
                </a:cubicBezTo>
                <a:cubicBezTo>
                  <a:pt x="365" y="238"/>
                  <a:pt x="365" y="238"/>
                  <a:pt x="365" y="238"/>
                </a:cubicBezTo>
                <a:cubicBezTo>
                  <a:pt x="364" y="239"/>
                  <a:pt x="364" y="239"/>
                  <a:pt x="364" y="239"/>
                </a:cubicBezTo>
                <a:cubicBezTo>
                  <a:pt x="365" y="240"/>
                  <a:pt x="365" y="240"/>
                  <a:pt x="365" y="240"/>
                </a:cubicBezTo>
                <a:cubicBezTo>
                  <a:pt x="363" y="241"/>
                  <a:pt x="363" y="241"/>
                  <a:pt x="363" y="241"/>
                </a:cubicBezTo>
                <a:cubicBezTo>
                  <a:pt x="361" y="241"/>
                  <a:pt x="361" y="241"/>
                  <a:pt x="361" y="241"/>
                </a:cubicBezTo>
                <a:cubicBezTo>
                  <a:pt x="361" y="241"/>
                  <a:pt x="361" y="241"/>
                  <a:pt x="361" y="241"/>
                </a:cubicBezTo>
                <a:cubicBezTo>
                  <a:pt x="360" y="242"/>
                  <a:pt x="360" y="242"/>
                  <a:pt x="360" y="242"/>
                </a:cubicBezTo>
                <a:cubicBezTo>
                  <a:pt x="359" y="242"/>
                  <a:pt x="359" y="242"/>
                  <a:pt x="359" y="242"/>
                </a:cubicBezTo>
                <a:cubicBezTo>
                  <a:pt x="358" y="240"/>
                  <a:pt x="358" y="240"/>
                  <a:pt x="358" y="240"/>
                </a:cubicBezTo>
                <a:cubicBezTo>
                  <a:pt x="357" y="240"/>
                  <a:pt x="357" y="240"/>
                  <a:pt x="357" y="240"/>
                </a:cubicBezTo>
                <a:cubicBezTo>
                  <a:pt x="357" y="240"/>
                  <a:pt x="357" y="240"/>
                  <a:pt x="357" y="240"/>
                </a:cubicBezTo>
                <a:cubicBezTo>
                  <a:pt x="356" y="240"/>
                  <a:pt x="356" y="240"/>
                  <a:pt x="356" y="240"/>
                </a:cubicBezTo>
                <a:cubicBezTo>
                  <a:pt x="356" y="241"/>
                  <a:pt x="356" y="241"/>
                  <a:pt x="356" y="241"/>
                </a:cubicBezTo>
                <a:cubicBezTo>
                  <a:pt x="355" y="241"/>
                  <a:pt x="355" y="241"/>
                  <a:pt x="355" y="241"/>
                </a:cubicBezTo>
                <a:cubicBezTo>
                  <a:pt x="356" y="241"/>
                  <a:pt x="356" y="241"/>
                  <a:pt x="356" y="241"/>
                </a:cubicBezTo>
                <a:cubicBezTo>
                  <a:pt x="357" y="242"/>
                  <a:pt x="357" y="242"/>
                  <a:pt x="357" y="242"/>
                </a:cubicBezTo>
                <a:cubicBezTo>
                  <a:pt x="357" y="243"/>
                  <a:pt x="357" y="243"/>
                  <a:pt x="357" y="243"/>
                </a:cubicBezTo>
                <a:cubicBezTo>
                  <a:pt x="356" y="244"/>
                  <a:pt x="356" y="244"/>
                  <a:pt x="356" y="244"/>
                </a:cubicBezTo>
                <a:cubicBezTo>
                  <a:pt x="357" y="244"/>
                  <a:pt x="357" y="244"/>
                  <a:pt x="357" y="244"/>
                </a:cubicBezTo>
                <a:cubicBezTo>
                  <a:pt x="356" y="245"/>
                  <a:pt x="356" y="245"/>
                  <a:pt x="356" y="245"/>
                </a:cubicBezTo>
                <a:cubicBezTo>
                  <a:pt x="356" y="246"/>
                  <a:pt x="356" y="246"/>
                  <a:pt x="356" y="246"/>
                </a:cubicBezTo>
                <a:cubicBezTo>
                  <a:pt x="357" y="246"/>
                  <a:pt x="357" y="246"/>
                  <a:pt x="357" y="246"/>
                </a:cubicBezTo>
                <a:cubicBezTo>
                  <a:pt x="357" y="245"/>
                  <a:pt x="357" y="245"/>
                  <a:pt x="357" y="245"/>
                </a:cubicBezTo>
                <a:cubicBezTo>
                  <a:pt x="358" y="245"/>
                  <a:pt x="358" y="245"/>
                  <a:pt x="358" y="245"/>
                </a:cubicBezTo>
                <a:cubicBezTo>
                  <a:pt x="358" y="246"/>
                  <a:pt x="358" y="246"/>
                  <a:pt x="358" y="246"/>
                </a:cubicBezTo>
                <a:cubicBezTo>
                  <a:pt x="356" y="246"/>
                  <a:pt x="356" y="246"/>
                  <a:pt x="356" y="246"/>
                </a:cubicBezTo>
                <a:cubicBezTo>
                  <a:pt x="356" y="248"/>
                  <a:pt x="356" y="248"/>
                  <a:pt x="356" y="248"/>
                </a:cubicBezTo>
                <a:cubicBezTo>
                  <a:pt x="356" y="249"/>
                  <a:pt x="356" y="249"/>
                  <a:pt x="356" y="249"/>
                </a:cubicBezTo>
                <a:cubicBezTo>
                  <a:pt x="357" y="250"/>
                  <a:pt x="357" y="250"/>
                  <a:pt x="357" y="250"/>
                </a:cubicBezTo>
                <a:cubicBezTo>
                  <a:pt x="357" y="251"/>
                  <a:pt x="357" y="251"/>
                  <a:pt x="357" y="251"/>
                </a:cubicBezTo>
                <a:cubicBezTo>
                  <a:pt x="358" y="254"/>
                  <a:pt x="358" y="254"/>
                  <a:pt x="358" y="254"/>
                </a:cubicBezTo>
                <a:cubicBezTo>
                  <a:pt x="358" y="255"/>
                  <a:pt x="358" y="255"/>
                  <a:pt x="358" y="255"/>
                </a:cubicBezTo>
                <a:cubicBezTo>
                  <a:pt x="358" y="255"/>
                  <a:pt x="358" y="255"/>
                  <a:pt x="358" y="255"/>
                </a:cubicBezTo>
                <a:cubicBezTo>
                  <a:pt x="358" y="256"/>
                  <a:pt x="358" y="256"/>
                  <a:pt x="358" y="256"/>
                </a:cubicBezTo>
                <a:cubicBezTo>
                  <a:pt x="356" y="258"/>
                  <a:pt x="356" y="258"/>
                  <a:pt x="356" y="258"/>
                </a:cubicBezTo>
                <a:cubicBezTo>
                  <a:pt x="356" y="259"/>
                  <a:pt x="356" y="259"/>
                  <a:pt x="356" y="259"/>
                </a:cubicBezTo>
                <a:cubicBezTo>
                  <a:pt x="356" y="260"/>
                  <a:pt x="356" y="260"/>
                  <a:pt x="356" y="260"/>
                </a:cubicBezTo>
                <a:cubicBezTo>
                  <a:pt x="355" y="259"/>
                  <a:pt x="355" y="259"/>
                  <a:pt x="355" y="259"/>
                </a:cubicBezTo>
                <a:cubicBezTo>
                  <a:pt x="353" y="259"/>
                  <a:pt x="353" y="259"/>
                  <a:pt x="353" y="259"/>
                </a:cubicBezTo>
                <a:cubicBezTo>
                  <a:pt x="352" y="260"/>
                  <a:pt x="352" y="260"/>
                  <a:pt x="352" y="260"/>
                </a:cubicBezTo>
                <a:cubicBezTo>
                  <a:pt x="351" y="261"/>
                  <a:pt x="351" y="261"/>
                  <a:pt x="351" y="261"/>
                </a:cubicBezTo>
                <a:cubicBezTo>
                  <a:pt x="350" y="262"/>
                  <a:pt x="350" y="262"/>
                  <a:pt x="350" y="262"/>
                </a:cubicBezTo>
                <a:cubicBezTo>
                  <a:pt x="350" y="263"/>
                  <a:pt x="350" y="263"/>
                  <a:pt x="350" y="263"/>
                </a:cubicBezTo>
                <a:cubicBezTo>
                  <a:pt x="349" y="263"/>
                  <a:pt x="349" y="263"/>
                  <a:pt x="349" y="263"/>
                </a:cubicBezTo>
                <a:cubicBezTo>
                  <a:pt x="347" y="265"/>
                  <a:pt x="347" y="265"/>
                  <a:pt x="347" y="265"/>
                </a:cubicBezTo>
                <a:cubicBezTo>
                  <a:pt x="346" y="265"/>
                  <a:pt x="346" y="265"/>
                  <a:pt x="346" y="265"/>
                </a:cubicBezTo>
                <a:cubicBezTo>
                  <a:pt x="345" y="265"/>
                  <a:pt x="345" y="265"/>
                  <a:pt x="345" y="265"/>
                </a:cubicBezTo>
                <a:cubicBezTo>
                  <a:pt x="345" y="266"/>
                  <a:pt x="345" y="266"/>
                  <a:pt x="345" y="266"/>
                </a:cubicBezTo>
                <a:cubicBezTo>
                  <a:pt x="341" y="267"/>
                  <a:pt x="341" y="267"/>
                  <a:pt x="341" y="267"/>
                </a:cubicBezTo>
                <a:cubicBezTo>
                  <a:pt x="341" y="266"/>
                  <a:pt x="341" y="266"/>
                  <a:pt x="341" y="266"/>
                </a:cubicBezTo>
                <a:cubicBezTo>
                  <a:pt x="341" y="265"/>
                  <a:pt x="341" y="265"/>
                  <a:pt x="341" y="265"/>
                </a:cubicBezTo>
                <a:cubicBezTo>
                  <a:pt x="341" y="264"/>
                  <a:pt x="341" y="264"/>
                  <a:pt x="341" y="264"/>
                </a:cubicBezTo>
                <a:cubicBezTo>
                  <a:pt x="340" y="263"/>
                  <a:pt x="340" y="263"/>
                  <a:pt x="340" y="263"/>
                </a:cubicBezTo>
                <a:cubicBezTo>
                  <a:pt x="340" y="262"/>
                  <a:pt x="340" y="262"/>
                  <a:pt x="340" y="262"/>
                </a:cubicBezTo>
                <a:cubicBezTo>
                  <a:pt x="341" y="262"/>
                  <a:pt x="341" y="262"/>
                  <a:pt x="341" y="262"/>
                </a:cubicBezTo>
                <a:cubicBezTo>
                  <a:pt x="341" y="261"/>
                  <a:pt x="341" y="261"/>
                  <a:pt x="341" y="261"/>
                </a:cubicBezTo>
                <a:cubicBezTo>
                  <a:pt x="342" y="259"/>
                  <a:pt x="342" y="259"/>
                  <a:pt x="342" y="259"/>
                </a:cubicBezTo>
                <a:cubicBezTo>
                  <a:pt x="341" y="261"/>
                  <a:pt x="341" y="261"/>
                  <a:pt x="341" y="261"/>
                </a:cubicBezTo>
                <a:cubicBezTo>
                  <a:pt x="340" y="261"/>
                  <a:pt x="340" y="261"/>
                  <a:pt x="340" y="261"/>
                </a:cubicBezTo>
                <a:cubicBezTo>
                  <a:pt x="340" y="258"/>
                  <a:pt x="340" y="258"/>
                  <a:pt x="340" y="258"/>
                </a:cubicBezTo>
                <a:cubicBezTo>
                  <a:pt x="339" y="258"/>
                  <a:pt x="339" y="258"/>
                  <a:pt x="339" y="258"/>
                </a:cubicBezTo>
                <a:cubicBezTo>
                  <a:pt x="339" y="257"/>
                  <a:pt x="339" y="257"/>
                  <a:pt x="339" y="257"/>
                </a:cubicBezTo>
                <a:cubicBezTo>
                  <a:pt x="337" y="257"/>
                  <a:pt x="337" y="257"/>
                  <a:pt x="337" y="257"/>
                </a:cubicBezTo>
                <a:cubicBezTo>
                  <a:pt x="337" y="257"/>
                  <a:pt x="337" y="257"/>
                  <a:pt x="337" y="257"/>
                </a:cubicBezTo>
                <a:cubicBezTo>
                  <a:pt x="336" y="257"/>
                  <a:pt x="336" y="257"/>
                  <a:pt x="336" y="257"/>
                </a:cubicBezTo>
                <a:cubicBezTo>
                  <a:pt x="335" y="259"/>
                  <a:pt x="335" y="259"/>
                  <a:pt x="335" y="259"/>
                </a:cubicBezTo>
                <a:cubicBezTo>
                  <a:pt x="335" y="259"/>
                  <a:pt x="335" y="259"/>
                  <a:pt x="335" y="259"/>
                </a:cubicBezTo>
                <a:cubicBezTo>
                  <a:pt x="337" y="258"/>
                  <a:pt x="337" y="258"/>
                  <a:pt x="337" y="258"/>
                </a:cubicBezTo>
                <a:cubicBezTo>
                  <a:pt x="338" y="258"/>
                  <a:pt x="338" y="258"/>
                  <a:pt x="338" y="258"/>
                </a:cubicBezTo>
                <a:cubicBezTo>
                  <a:pt x="338" y="259"/>
                  <a:pt x="338" y="259"/>
                  <a:pt x="338" y="259"/>
                </a:cubicBezTo>
                <a:cubicBezTo>
                  <a:pt x="339" y="260"/>
                  <a:pt x="339" y="260"/>
                  <a:pt x="339" y="260"/>
                </a:cubicBezTo>
                <a:cubicBezTo>
                  <a:pt x="339" y="262"/>
                  <a:pt x="339" y="262"/>
                  <a:pt x="339" y="262"/>
                </a:cubicBezTo>
                <a:cubicBezTo>
                  <a:pt x="339" y="263"/>
                  <a:pt x="339" y="263"/>
                  <a:pt x="339" y="263"/>
                </a:cubicBezTo>
                <a:cubicBezTo>
                  <a:pt x="340" y="264"/>
                  <a:pt x="340" y="264"/>
                  <a:pt x="340" y="264"/>
                </a:cubicBezTo>
                <a:cubicBezTo>
                  <a:pt x="340" y="266"/>
                  <a:pt x="340" y="266"/>
                  <a:pt x="340" y="266"/>
                </a:cubicBezTo>
                <a:cubicBezTo>
                  <a:pt x="339" y="266"/>
                  <a:pt x="339" y="266"/>
                  <a:pt x="339" y="266"/>
                </a:cubicBezTo>
                <a:cubicBezTo>
                  <a:pt x="340" y="267"/>
                  <a:pt x="340" y="267"/>
                  <a:pt x="340" y="267"/>
                </a:cubicBezTo>
                <a:cubicBezTo>
                  <a:pt x="340" y="268"/>
                  <a:pt x="340" y="268"/>
                  <a:pt x="340" y="268"/>
                </a:cubicBezTo>
                <a:cubicBezTo>
                  <a:pt x="339" y="268"/>
                  <a:pt x="339" y="268"/>
                  <a:pt x="339" y="268"/>
                </a:cubicBezTo>
                <a:cubicBezTo>
                  <a:pt x="337" y="266"/>
                  <a:pt x="337" y="266"/>
                  <a:pt x="337" y="266"/>
                </a:cubicBezTo>
                <a:cubicBezTo>
                  <a:pt x="337" y="265"/>
                  <a:pt x="337" y="265"/>
                  <a:pt x="337" y="265"/>
                </a:cubicBezTo>
                <a:cubicBezTo>
                  <a:pt x="336" y="265"/>
                  <a:pt x="336" y="265"/>
                  <a:pt x="336" y="265"/>
                </a:cubicBezTo>
                <a:cubicBezTo>
                  <a:pt x="336" y="264"/>
                  <a:pt x="336" y="264"/>
                  <a:pt x="336" y="264"/>
                </a:cubicBezTo>
                <a:cubicBezTo>
                  <a:pt x="335" y="265"/>
                  <a:pt x="335" y="265"/>
                  <a:pt x="335" y="265"/>
                </a:cubicBezTo>
                <a:cubicBezTo>
                  <a:pt x="336" y="266"/>
                  <a:pt x="336" y="266"/>
                  <a:pt x="336" y="266"/>
                </a:cubicBezTo>
                <a:cubicBezTo>
                  <a:pt x="336" y="267"/>
                  <a:pt x="336" y="267"/>
                  <a:pt x="336" y="267"/>
                </a:cubicBezTo>
                <a:cubicBezTo>
                  <a:pt x="335" y="266"/>
                  <a:pt x="335" y="266"/>
                  <a:pt x="335" y="266"/>
                </a:cubicBezTo>
                <a:cubicBezTo>
                  <a:pt x="334" y="266"/>
                  <a:pt x="334" y="266"/>
                  <a:pt x="334" y="266"/>
                </a:cubicBezTo>
                <a:cubicBezTo>
                  <a:pt x="333" y="265"/>
                  <a:pt x="333" y="265"/>
                  <a:pt x="333" y="265"/>
                </a:cubicBezTo>
                <a:cubicBezTo>
                  <a:pt x="333" y="266"/>
                  <a:pt x="333" y="266"/>
                  <a:pt x="333" y="266"/>
                </a:cubicBezTo>
                <a:cubicBezTo>
                  <a:pt x="333" y="265"/>
                  <a:pt x="333" y="265"/>
                  <a:pt x="333" y="265"/>
                </a:cubicBezTo>
                <a:cubicBezTo>
                  <a:pt x="333" y="263"/>
                  <a:pt x="333" y="263"/>
                  <a:pt x="333" y="263"/>
                </a:cubicBezTo>
                <a:cubicBezTo>
                  <a:pt x="333" y="263"/>
                  <a:pt x="333" y="263"/>
                  <a:pt x="333" y="263"/>
                </a:cubicBezTo>
                <a:cubicBezTo>
                  <a:pt x="333" y="262"/>
                  <a:pt x="333" y="262"/>
                  <a:pt x="333" y="262"/>
                </a:cubicBezTo>
                <a:cubicBezTo>
                  <a:pt x="333" y="262"/>
                  <a:pt x="333" y="262"/>
                  <a:pt x="333" y="262"/>
                </a:cubicBezTo>
                <a:cubicBezTo>
                  <a:pt x="331" y="262"/>
                  <a:pt x="331" y="262"/>
                  <a:pt x="331" y="262"/>
                </a:cubicBezTo>
                <a:cubicBezTo>
                  <a:pt x="329" y="262"/>
                  <a:pt x="329" y="262"/>
                  <a:pt x="329" y="262"/>
                </a:cubicBezTo>
                <a:cubicBezTo>
                  <a:pt x="328" y="262"/>
                  <a:pt x="328" y="262"/>
                  <a:pt x="328" y="262"/>
                </a:cubicBezTo>
                <a:cubicBezTo>
                  <a:pt x="327" y="262"/>
                  <a:pt x="327" y="262"/>
                  <a:pt x="327" y="262"/>
                </a:cubicBezTo>
                <a:cubicBezTo>
                  <a:pt x="326" y="261"/>
                  <a:pt x="326" y="261"/>
                  <a:pt x="326" y="261"/>
                </a:cubicBezTo>
                <a:cubicBezTo>
                  <a:pt x="326" y="262"/>
                  <a:pt x="326" y="262"/>
                  <a:pt x="326" y="262"/>
                </a:cubicBezTo>
                <a:cubicBezTo>
                  <a:pt x="326" y="263"/>
                  <a:pt x="326" y="263"/>
                  <a:pt x="326" y="263"/>
                </a:cubicBezTo>
                <a:cubicBezTo>
                  <a:pt x="326" y="263"/>
                  <a:pt x="326" y="263"/>
                  <a:pt x="326" y="263"/>
                </a:cubicBezTo>
                <a:cubicBezTo>
                  <a:pt x="326" y="264"/>
                  <a:pt x="326" y="264"/>
                  <a:pt x="326" y="264"/>
                </a:cubicBezTo>
                <a:cubicBezTo>
                  <a:pt x="326" y="265"/>
                  <a:pt x="326" y="265"/>
                  <a:pt x="326" y="265"/>
                </a:cubicBezTo>
                <a:cubicBezTo>
                  <a:pt x="328" y="266"/>
                  <a:pt x="328" y="266"/>
                  <a:pt x="328" y="266"/>
                </a:cubicBezTo>
                <a:cubicBezTo>
                  <a:pt x="328" y="267"/>
                  <a:pt x="328" y="267"/>
                  <a:pt x="328" y="267"/>
                </a:cubicBezTo>
                <a:cubicBezTo>
                  <a:pt x="327" y="268"/>
                  <a:pt x="327" y="268"/>
                  <a:pt x="327" y="268"/>
                </a:cubicBezTo>
                <a:cubicBezTo>
                  <a:pt x="327" y="269"/>
                  <a:pt x="327" y="269"/>
                  <a:pt x="327" y="269"/>
                </a:cubicBezTo>
                <a:cubicBezTo>
                  <a:pt x="324" y="271"/>
                  <a:pt x="324" y="271"/>
                  <a:pt x="324" y="271"/>
                </a:cubicBezTo>
                <a:cubicBezTo>
                  <a:pt x="322" y="272"/>
                  <a:pt x="322" y="272"/>
                  <a:pt x="322" y="272"/>
                </a:cubicBezTo>
                <a:cubicBezTo>
                  <a:pt x="321" y="274"/>
                  <a:pt x="321" y="274"/>
                  <a:pt x="321" y="274"/>
                </a:cubicBezTo>
                <a:cubicBezTo>
                  <a:pt x="320" y="274"/>
                  <a:pt x="320" y="274"/>
                  <a:pt x="320" y="274"/>
                </a:cubicBezTo>
                <a:cubicBezTo>
                  <a:pt x="319" y="274"/>
                  <a:pt x="319" y="274"/>
                  <a:pt x="319" y="274"/>
                </a:cubicBezTo>
                <a:cubicBezTo>
                  <a:pt x="319" y="276"/>
                  <a:pt x="319" y="276"/>
                  <a:pt x="319" y="276"/>
                </a:cubicBezTo>
                <a:cubicBezTo>
                  <a:pt x="317" y="276"/>
                  <a:pt x="317" y="276"/>
                  <a:pt x="317" y="276"/>
                </a:cubicBezTo>
                <a:cubicBezTo>
                  <a:pt x="314" y="276"/>
                  <a:pt x="314" y="276"/>
                  <a:pt x="314" y="276"/>
                </a:cubicBezTo>
                <a:cubicBezTo>
                  <a:pt x="313" y="274"/>
                  <a:pt x="313" y="274"/>
                  <a:pt x="313" y="274"/>
                </a:cubicBezTo>
                <a:cubicBezTo>
                  <a:pt x="312" y="273"/>
                  <a:pt x="312" y="273"/>
                  <a:pt x="312" y="273"/>
                </a:cubicBezTo>
                <a:cubicBezTo>
                  <a:pt x="310" y="272"/>
                  <a:pt x="310" y="272"/>
                  <a:pt x="310" y="272"/>
                </a:cubicBezTo>
                <a:cubicBezTo>
                  <a:pt x="310" y="272"/>
                  <a:pt x="310" y="272"/>
                  <a:pt x="310" y="272"/>
                </a:cubicBezTo>
                <a:cubicBezTo>
                  <a:pt x="311" y="271"/>
                  <a:pt x="311" y="271"/>
                  <a:pt x="311" y="271"/>
                </a:cubicBezTo>
                <a:cubicBezTo>
                  <a:pt x="311" y="271"/>
                  <a:pt x="311" y="271"/>
                  <a:pt x="311" y="271"/>
                </a:cubicBezTo>
                <a:cubicBezTo>
                  <a:pt x="311" y="270"/>
                  <a:pt x="311" y="270"/>
                  <a:pt x="311" y="270"/>
                </a:cubicBezTo>
                <a:cubicBezTo>
                  <a:pt x="310" y="270"/>
                  <a:pt x="310" y="270"/>
                  <a:pt x="310" y="270"/>
                </a:cubicBezTo>
                <a:cubicBezTo>
                  <a:pt x="308" y="268"/>
                  <a:pt x="308" y="268"/>
                  <a:pt x="308" y="268"/>
                </a:cubicBezTo>
                <a:cubicBezTo>
                  <a:pt x="307" y="266"/>
                  <a:pt x="307" y="266"/>
                  <a:pt x="307" y="266"/>
                </a:cubicBezTo>
                <a:cubicBezTo>
                  <a:pt x="304" y="266"/>
                  <a:pt x="304" y="266"/>
                  <a:pt x="304" y="266"/>
                </a:cubicBezTo>
                <a:cubicBezTo>
                  <a:pt x="302" y="265"/>
                  <a:pt x="302" y="265"/>
                  <a:pt x="302" y="265"/>
                </a:cubicBezTo>
                <a:cubicBezTo>
                  <a:pt x="299" y="265"/>
                  <a:pt x="299" y="265"/>
                  <a:pt x="299" y="265"/>
                </a:cubicBezTo>
                <a:cubicBezTo>
                  <a:pt x="298" y="265"/>
                  <a:pt x="298" y="265"/>
                  <a:pt x="298" y="265"/>
                </a:cubicBezTo>
                <a:cubicBezTo>
                  <a:pt x="298" y="266"/>
                  <a:pt x="298" y="266"/>
                  <a:pt x="298" y="266"/>
                </a:cubicBezTo>
                <a:cubicBezTo>
                  <a:pt x="299" y="266"/>
                  <a:pt x="299" y="266"/>
                  <a:pt x="299" y="266"/>
                </a:cubicBezTo>
                <a:cubicBezTo>
                  <a:pt x="299" y="266"/>
                  <a:pt x="299" y="266"/>
                  <a:pt x="299" y="266"/>
                </a:cubicBezTo>
                <a:cubicBezTo>
                  <a:pt x="300" y="266"/>
                  <a:pt x="300" y="266"/>
                  <a:pt x="300" y="266"/>
                </a:cubicBezTo>
                <a:cubicBezTo>
                  <a:pt x="303" y="267"/>
                  <a:pt x="303" y="267"/>
                  <a:pt x="303" y="267"/>
                </a:cubicBezTo>
                <a:cubicBezTo>
                  <a:pt x="306" y="267"/>
                  <a:pt x="306" y="267"/>
                  <a:pt x="306" y="267"/>
                </a:cubicBezTo>
                <a:cubicBezTo>
                  <a:pt x="306" y="267"/>
                  <a:pt x="306" y="267"/>
                  <a:pt x="306" y="267"/>
                </a:cubicBezTo>
                <a:cubicBezTo>
                  <a:pt x="306" y="268"/>
                  <a:pt x="306" y="268"/>
                  <a:pt x="306" y="268"/>
                </a:cubicBezTo>
                <a:cubicBezTo>
                  <a:pt x="306" y="268"/>
                  <a:pt x="306" y="268"/>
                  <a:pt x="306" y="268"/>
                </a:cubicBezTo>
                <a:cubicBezTo>
                  <a:pt x="305" y="268"/>
                  <a:pt x="305" y="268"/>
                  <a:pt x="305" y="268"/>
                </a:cubicBezTo>
                <a:cubicBezTo>
                  <a:pt x="306" y="269"/>
                  <a:pt x="306" y="269"/>
                  <a:pt x="306" y="269"/>
                </a:cubicBezTo>
                <a:cubicBezTo>
                  <a:pt x="306" y="271"/>
                  <a:pt x="306" y="271"/>
                  <a:pt x="306" y="271"/>
                </a:cubicBezTo>
                <a:cubicBezTo>
                  <a:pt x="306" y="271"/>
                  <a:pt x="306" y="271"/>
                  <a:pt x="306" y="271"/>
                </a:cubicBezTo>
                <a:cubicBezTo>
                  <a:pt x="308" y="274"/>
                  <a:pt x="308" y="274"/>
                  <a:pt x="308" y="274"/>
                </a:cubicBezTo>
                <a:cubicBezTo>
                  <a:pt x="309" y="275"/>
                  <a:pt x="309" y="275"/>
                  <a:pt x="309" y="275"/>
                </a:cubicBezTo>
                <a:cubicBezTo>
                  <a:pt x="311" y="276"/>
                  <a:pt x="311" y="276"/>
                  <a:pt x="311" y="276"/>
                </a:cubicBezTo>
                <a:cubicBezTo>
                  <a:pt x="313" y="277"/>
                  <a:pt x="313" y="277"/>
                  <a:pt x="313" y="277"/>
                </a:cubicBezTo>
                <a:cubicBezTo>
                  <a:pt x="318" y="278"/>
                  <a:pt x="318" y="278"/>
                  <a:pt x="318" y="278"/>
                </a:cubicBezTo>
                <a:cubicBezTo>
                  <a:pt x="318" y="279"/>
                  <a:pt x="318" y="279"/>
                  <a:pt x="318" y="279"/>
                </a:cubicBezTo>
                <a:cubicBezTo>
                  <a:pt x="317" y="280"/>
                  <a:pt x="317" y="280"/>
                  <a:pt x="317" y="280"/>
                </a:cubicBezTo>
                <a:cubicBezTo>
                  <a:pt x="316" y="281"/>
                  <a:pt x="316" y="281"/>
                  <a:pt x="316" y="281"/>
                </a:cubicBezTo>
                <a:cubicBezTo>
                  <a:pt x="315" y="281"/>
                  <a:pt x="315" y="281"/>
                  <a:pt x="315" y="281"/>
                </a:cubicBezTo>
                <a:cubicBezTo>
                  <a:pt x="313" y="284"/>
                  <a:pt x="313" y="284"/>
                  <a:pt x="313" y="284"/>
                </a:cubicBezTo>
                <a:cubicBezTo>
                  <a:pt x="313" y="283"/>
                  <a:pt x="313" y="283"/>
                  <a:pt x="313" y="283"/>
                </a:cubicBezTo>
                <a:cubicBezTo>
                  <a:pt x="312" y="284"/>
                  <a:pt x="312" y="284"/>
                  <a:pt x="312" y="284"/>
                </a:cubicBezTo>
                <a:cubicBezTo>
                  <a:pt x="312" y="284"/>
                  <a:pt x="312" y="284"/>
                  <a:pt x="312" y="284"/>
                </a:cubicBezTo>
                <a:cubicBezTo>
                  <a:pt x="308" y="289"/>
                  <a:pt x="308" y="289"/>
                  <a:pt x="308" y="289"/>
                </a:cubicBezTo>
                <a:cubicBezTo>
                  <a:pt x="306" y="289"/>
                  <a:pt x="306" y="289"/>
                  <a:pt x="306" y="289"/>
                </a:cubicBezTo>
                <a:cubicBezTo>
                  <a:pt x="305" y="291"/>
                  <a:pt x="305" y="291"/>
                  <a:pt x="305" y="291"/>
                </a:cubicBezTo>
                <a:cubicBezTo>
                  <a:pt x="304" y="291"/>
                  <a:pt x="304" y="291"/>
                  <a:pt x="304" y="291"/>
                </a:cubicBezTo>
                <a:cubicBezTo>
                  <a:pt x="304" y="291"/>
                  <a:pt x="304" y="291"/>
                  <a:pt x="304" y="291"/>
                </a:cubicBezTo>
                <a:cubicBezTo>
                  <a:pt x="303" y="291"/>
                  <a:pt x="303" y="291"/>
                  <a:pt x="303" y="291"/>
                </a:cubicBezTo>
                <a:cubicBezTo>
                  <a:pt x="303" y="292"/>
                  <a:pt x="303" y="292"/>
                  <a:pt x="303" y="292"/>
                </a:cubicBezTo>
                <a:cubicBezTo>
                  <a:pt x="301" y="290"/>
                  <a:pt x="301" y="290"/>
                  <a:pt x="301" y="290"/>
                </a:cubicBezTo>
                <a:cubicBezTo>
                  <a:pt x="300" y="289"/>
                  <a:pt x="300" y="289"/>
                  <a:pt x="300" y="289"/>
                </a:cubicBezTo>
                <a:cubicBezTo>
                  <a:pt x="299" y="290"/>
                  <a:pt x="299" y="290"/>
                  <a:pt x="299" y="290"/>
                </a:cubicBezTo>
                <a:cubicBezTo>
                  <a:pt x="299" y="289"/>
                  <a:pt x="299" y="289"/>
                  <a:pt x="299" y="289"/>
                </a:cubicBezTo>
                <a:cubicBezTo>
                  <a:pt x="299" y="289"/>
                  <a:pt x="299" y="289"/>
                  <a:pt x="299" y="289"/>
                </a:cubicBezTo>
                <a:cubicBezTo>
                  <a:pt x="300" y="288"/>
                  <a:pt x="300" y="288"/>
                  <a:pt x="300" y="288"/>
                </a:cubicBezTo>
                <a:cubicBezTo>
                  <a:pt x="299" y="288"/>
                  <a:pt x="299" y="288"/>
                  <a:pt x="299" y="288"/>
                </a:cubicBezTo>
                <a:cubicBezTo>
                  <a:pt x="299" y="287"/>
                  <a:pt x="299" y="287"/>
                  <a:pt x="299" y="287"/>
                </a:cubicBezTo>
                <a:cubicBezTo>
                  <a:pt x="298" y="288"/>
                  <a:pt x="298" y="288"/>
                  <a:pt x="298" y="288"/>
                </a:cubicBezTo>
                <a:cubicBezTo>
                  <a:pt x="297" y="290"/>
                  <a:pt x="297" y="290"/>
                  <a:pt x="297" y="290"/>
                </a:cubicBezTo>
                <a:cubicBezTo>
                  <a:pt x="297" y="289"/>
                  <a:pt x="297" y="289"/>
                  <a:pt x="297" y="289"/>
                </a:cubicBezTo>
                <a:cubicBezTo>
                  <a:pt x="296" y="287"/>
                  <a:pt x="296" y="287"/>
                  <a:pt x="296" y="287"/>
                </a:cubicBezTo>
                <a:cubicBezTo>
                  <a:pt x="295" y="289"/>
                  <a:pt x="295" y="289"/>
                  <a:pt x="295" y="289"/>
                </a:cubicBezTo>
                <a:cubicBezTo>
                  <a:pt x="296" y="290"/>
                  <a:pt x="296" y="290"/>
                  <a:pt x="296" y="290"/>
                </a:cubicBezTo>
                <a:cubicBezTo>
                  <a:pt x="296" y="292"/>
                  <a:pt x="296" y="292"/>
                  <a:pt x="296" y="292"/>
                </a:cubicBezTo>
                <a:cubicBezTo>
                  <a:pt x="294" y="294"/>
                  <a:pt x="294" y="294"/>
                  <a:pt x="294" y="294"/>
                </a:cubicBezTo>
                <a:cubicBezTo>
                  <a:pt x="294" y="294"/>
                  <a:pt x="294" y="294"/>
                  <a:pt x="294" y="294"/>
                </a:cubicBezTo>
                <a:cubicBezTo>
                  <a:pt x="293" y="293"/>
                  <a:pt x="293" y="293"/>
                  <a:pt x="293" y="293"/>
                </a:cubicBezTo>
                <a:cubicBezTo>
                  <a:pt x="292" y="292"/>
                  <a:pt x="292" y="292"/>
                  <a:pt x="292" y="292"/>
                </a:cubicBezTo>
                <a:cubicBezTo>
                  <a:pt x="292" y="293"/>
                  <a:pt x="292" y="293"/>
                  <a:pt x="292" y="293"/>
                </a:cubicBezTo>
                <a:cubicBezTo>
                  <a:pt x="293" y="293"/>
                  <a:pt x="293" y="293"/>
                  <a:pt x="293" y="293"/>
                </a:cubicBezTo>
                <a:cubicBezTo>
                  <a:pt x="292" y="294"/>
                  <a:pt x="292" y="294"/>
                  <a:pt x="292" y="294"/>
                </a:cubicBezTo>
                <a:cubicBezTo>
                  <a:pt x="292" y="295"/>
                  <a:pt x="292" y="295"/>
                  <a:pt x="292" y="295"/>
                </a:cubicBezTo>
                <a:cubicBezTo>
                  <a:pt x="291" y="295"/>
                  <a:pt x="291" y="295"/>
                  <a:pt x="291" y="295"/>
                </a:cubicBezTo>
                <a:cubicBezTo>
                  <a:pt x="290" y="295"/>
                  <a:pt x="290" y="295"/>
                  <a:pt x="290" y="295"/>
                </a:cubicBezTo>
                <a:cubicBezTo>
                  <a:pt x="290" y="294"/>
                  <a:pt x="290" y="294"/>
                  <a:pt x="290" y="294"/>
                </a:cubicBezTo>
                <a:cubicBezTo>
                  <a:pt x="289" y="293"/>
                  <a:pt x="289" y="293"/>
                  <a:pt x="289" y="293"/>
                </a:cubicBezTo>
                <a:cubicBezTo>
                  <a:pt x="287" y="291"/>
                  <a:pt x="287" y="291"/>
                  <a:pt x="287" y="291"/>
                </a:cubicBezTo>
                <a:cubicBezTo>
                  <a:pt x="285" y="290"/>
                  <a:pt x="285" y="290"/>
                  <a:pt x="285" y="290"/>
                </a:cubicBezTo>
                <a:cubicBezTo>
                  <a:pt x="282" y="289"/>
                  <a:pt x="282" y="289"/>
                  <a:pt x="282" y="289"/>
                </a:cubicBezTo>
                <a:cubicBezTo>
                  <a:pt x="282" y="287"/>
                  <a:pt x="282" y="287"/>
                  <a:pt x="282" y="287"/>
                </a:cubicBezTo>
                <a:cubicBezTo>
                  <a:pt x="281" y="287"/>
                  <a:pt x="281" y="287"/>
                  <a:pt x="281" y="287"/>
                </a:cubicBezTo>
                <a:cubicBezTo>
                  <a:pt x="279" y="286"/>
                  <a:pt x="279" y="286"/>
                  <a:pt x="279" y="286"/>
                </a:cubicBezTo>
                <a:cubicBezTo>
                  <a:pt x="278" y="285"/>
                  <a:pt x="278" y="285"/>
                  <a:pt x="278" y="285"/>
                </a:cubicBezTo>
                <a:cubicBezTo>
                  <a:pt x="278" y="286"/>
                  <a:pt x="278" y="286"/>
                  <a:pt x="278" y="286"/>
                </a:cubicBezTo>
                <a:cubicBezTo>
                  <a:pt x="277" y="286"/>
                  <a:pt x="277" y="286"/>
                  <a:pt x="277" y="286"/>
                </a:cubicBezTo>
                <a:cubicBezTo>
                  <a:pt x="278" y="288"/>
                  <a:pt x="278" y="288"/>
                  <a:pt x="278" y="288"/>
                </a:cubicBezTo>
                <a:cubicBezTo>
                  <a:pt x="279" y="289"/>
                  <a:pt x="279" y="289"/>
                  <a:pt x="279" y="289"/>
                </a:cubicBezTo>
                <a:cubicBezTo>
                  <a:pt x="279" y="288"/>
                  <a:pt x="279" y="288"/>
                  <a:pt x="279" y="288"/>
                </a:cubicBezTo>
                <a:cubicBezTo>
                  <a:pt x="279" y="288"/>
                  <a:pt x="279" y="288"/>
                  <a:pt x="279" y="288"/>
                </a:cubicBezTo>
                <a:cubicBezTo>
                  <a:pt x="279" y="287"/>
                  <a:pt x="279" y="287"/>
                  <a:pt x="279" y="287"/>
                </a:cubicBezTo>
                <a:cubicBezTo>
                  <a:pt x="280" y="287"/>
                  <a:pt x="280" y="287"/>
                  <a:pt x="280" y="287"/>
                </a:cubicBezTo>
                <a:cubicBezTo>
                  <a:pt x="282" y="290"/>
                  <a:pt x="282" y="290"/>
                  <a:pt x="282" y="290"/>
                </a:cubicBezTo>
                <a:cubicBezTo>
                  <a:pt x="284" y="291"/>
                  <a:pt x="284" y="291"/>
                  <a:pt x="284" y="291"/>
                </a:cubicBezTo>
                <a:cubicBezTo>
                  <a:pt x="285" y="292"/>
                  <a:pt x="285" y="292"/>
                  <a:pt x="285" y="292"/>
                </a:cubicBezTo>
                <a:cubicBezTo>
                  <a:pt x="283" y="293"/>
                  <a:pt x="283" y="293"/>
                  <a:pt x="283" y="293"/>
                </a:cubicBezTo>
                <a:cubicBezTo>
                  <a:pt x="282" y="293"/>
                  <a:pt x="282" y="293"/>
                  <a:pt x="282" y="293"/>
                </a:cubicBezTo>
                <a:cubicBezTo>
                  <a:pt x="281" y="293"/>
                  <a:pt x="281" y="293"/>
                  <a:pt x="281" y="293"/>
                </a:cubicBezTo>
                <a:cubicBezTo>
                  <a:pt x="281" y="293"/>
                  <a:pt x="281" y="293"/>
                  <a:pt x="281" y="293"/>
                </a:cubicBezTo>
                <a:cubicBezTo>
                  <a:pt x="281" y="294"/>
                  <a:pt x="281" y="294"/>
                  <a:pt x="281" y="294"/>
                </a:cubicBezTo>
                <a:cubicBezTo>
                  <a:pt x="282" y="293"/>
                  <a:pt x="282" y="293"/>
                  <a:pt x="282" y="293"/>
                </a:cubicBezTo>
                <a:cubicBezTo>
                  <a:pt x="284" y="293"/>
                  <a:pt x="284" y="293"/>
                  <a:pt x="284" y="293"/>
                </a:cubicBezTo>
                <a:cubicBezTo>
                  <a:pt x="286" y="292"/>
                  <a:pt x="286" y="292"/>
                  <a:pt x="286" y="292"/>
                </a:cubicBezTo>
                <a:cubicBezTo>
                  <a:pt x="286" y="292"/>
                  <a:pt x="286" y="292"/>
                  <a:pt x="286" y="292"/>
                </a:cubicBezTo>
                <a:cubicBezTo>
                  <a:pt x="287" y="293"/>
                  <a:pt x="287" y="293"/>
                  <a:pt x="287" y="293"/>
                </a:cubicBezTo>
                <a:cubicBezTo>
                  <a:pt x="287" y="294"/>
                  <a:pt x="287" y="294"/>
                  <a:pt x="287" y="294"/>
                </a:cubicBezTo>
                <a:cubicBezTo>
                  <a:pt x="290" y="297"/>
                  <a:pt x="290" y="297"/>
                  <a:pt x="290" y="297"/>
                </a:cubicBezTo>
                <a:cubicBezTo>
                  <a:pt x="289" y="300"/>
                  <a:pt x="289" y="300"/>
                  <a:pt x="289" y="300"/>
                </a:cubicBezTo>
                <a:cubicBezTo>
                  <a:pt x="288" y="302"/>
                  <a:pt x="288" y="302"/>
                  <a:pt x="288" y="302"/>
                </a:cubicBezTo>
                <a:cubicBezTo>
                  <a:pt x="287" y="302"/>
                  <a:pt x="287" y="302"/>
                  <a:pt x="287" y="302"/>
                </a:cubicBezTo>
                <a:cubicBezTo>
                  <a:pt x="286" y="302"/>
                  <a:pt x="286" y="302"/>
                  <a:pt x="286" y="302"/>
                </a:cubicBezTo>
                <a:cubicBezTo>
                  <a:pt x="284" y="302"/>
                  <a:pt x="284" y="302"/>
                  <a:pt x="284" y="302"/>
                </a:cubicBezTo>
                <a:cubicBezTo>
                  <a:pt x="283" y="301"/>
                  <a:pt x="283" y="301"/>
                  <a:pt x="283" y="301"/>
                </a:cubicBezTo>
                <a:cubicBezTo>
                  <a:pt x="281" y="301"/>
                  <a:pt x="281" y="301"/>
                  <a:pt x="281" y="301"/>
                </a:cubicBezTo>
                <a:cubicBezTo>
                  <a:pt x="279" y="299"/>
                  <a:pt x="279" y="299"/>
                  <a:pt x="279" y="299"/>
                </a:cubicBezTo>
                <a:cubicBezTo>
                  <a:pt x="278" y="297"/>
                  <a:pt x="278" y="297"/>
                  <a:pt x="278" y="297"/>
                </a:cubicBezTo>
                <a:cubicBezTo>
                  <a:pt x="277" y="296"/>
                  <a:pt x="277" y="296"/>
                  <a:pt x="277" y="296"/>
                </a:cubicBezTo>
                <a:cubicBezTo>
                  <a:pt x="277" y="296"/>
                  <a:pt x="277" y="296"/>
                  <a:pt x="277" y="296"/>
                </a:cubicBezTo>
                <a:cubicBezTo>
                  <a:pt x="277" y="297"/>
                  <a:pt x="277" y="297"/>
                  <a:pt x="277" y="297"/>
                </a:cubicBezTo>
                <a:cubicBezTo>
                  <a:pt x="277" y="298"/>
                  <a:pt x="277" y="298"/>
                  <a:pt x="277" y="298"/>
                </a:cubicBezTo>
                <a:cubicBezTo>
                  <a:pt x="278" y="300"/>
                  <a:pt x="278" y="300"/>
                  <a:pt x="278" y="300"/>
                </a:cubicBezTo>
                <a:cubicBezTo>
                  <a:pt x="279" y="302"/>
                  <a:pt x="279" y="302"/>
                  <a:pt x="279" y="302"/>
                </a:cubicBezTo>
                <a:cubicBezTo>
                  <a:pt x="281" y="305"/>
                  <a:pt x="281" y="305"/>
                  <a:pt x="281" y="305"/>
                </a:cubicBezTo>
                <a:cubicBezTo>
                  <a:pt x="280" y="305"/>
                  <a:pt x="280" y="305"/>
                  <a:pt x="280" y="305"/>
                </a:cubicBezTo>
                <a:cubicBezTo>
                  <a:pt x="279" y="305"/>
                  <a:pt x="279" y="305"/>
                  <a:pt x="279" y="305"/>
                </a:cubicBezTo>
                <a:cubicBezTo>
                  <a:pt x="278" y="305"/>
                  <a:pt x="278" y="305"/>
                  <a:pt x="278" y="305"/>
                </a:cubicBezTo>
                <a:cubicBezTo>
                  <a:pt x="278" y="303"/>
                  <a:pt x="278" y="303"/>
                  <a:pt x="278" y="303"/>
                </a:cubicBezTo>
                <a:cubicBezTo>
                  <a:pt x="277" y="304"/>
                  <a:pt x="277" y="304"/>
                  <a:pt x="277" y="304"/>
                </a:cubicBezTo>
                <a:cubicBezTo>
                  <a:pt x="277" y="305"/>
                  <a:pt x="277" y="305"/>
                  <a:pt x="277" y="305"/>
                </a:cubicBezTo>
                <a:cubicBezTo>
                  <a:pt x="277" y="305"/>
                  <a:pt x="277" y="305"/>
                  <a:pt x="277" y="305"/>
                </a:cubicBezTo>
                <a:cubicBezTo>
                  <a:pt x="278" y="306"/>
                  <a:pt x="278" y="306"/>
                  <a:pt x="278" y="306"/>
                </a:cubicBezTo>
                <a:cubicBezTo>
                  <a:pt x="279" y="307"/>
                  <a:pt x="279" y="307"/>
                  <a:pt x="279" y="307"/>
                </a:cubicBezTo>
                <a:cubicBezTo>
                  <a:pt x="276" y="306"/>
                  <a:pt x="276" y="306"/>
                  <a:pt x="276" y="306"/>
                </a:cubicBezTo>
                <a:cubicBezTo>
                  <a:pt x="276" y="306"/>
                  <a:pt x="276" y="306"/>
                  <a:pt x="276" y="306"/>
                </a:cubicBezTo>
                <a:cubicBezTo>
                  <a:pt x="276" y="307"/>
                  <a:pt x="276" y="307"/>
                  <a:pt x="276" y="307"/>
                </a:cubicBezTo>
                <a:cubicBezTo>
                  <a:pt x="276" y="307"/>
                  <a:pt x="276" y="307"/>
                  <a:pt x="276" y="307"/>
                </a:cubicBezTo>
                <a:cubicBezTo>
                  <a:pt x="276" y="308"/>
                  <a:pt x="276" y="308"/>
                  <a:pt x="276" y="308"/>
                </a:cubicBezTo>
                <a:cubicBezTo>
                  <a:pt x="276" y="309"/>
                  <a:pt x="276" y="309"/>
                  <a:pt x="276" y="309"/>
                </a:cubicBezTo>
                <a:cubicBezTo>
                  <a:pt x="275" y="308"/>
                  <a:pt x="275" y="308"/>
                  <a:pt x="275" y="308"/>
                </a:cubicBezTo>
                <a:cubicBezTo>
                  <a:pt x="275" y="308"/>
                  <a:pt x="275" y="308"/>
                  <a:pt x="275" y="308"/>
                </a:cubicBezTo>
                <a:cubicBezTo>
                  <a:pt x="275" y="308"/>
                  <a:pt x="275" y="308"/>
                  <a:pt x="275" y="308"/>
                </a:cubicBezTo>
                <a:cubicBezTo>
                  <a:pt x="275" y="309"/>
                  <a:pt x="275" y="309"/>
                  <a:pt x="275" y="309"/>
                </a:cubicBezTo>
                <a:cubicBezTo>
                  <a:pt x="274" y="309"/>
                  <a:pt x="274" y="309"/>
                  <a:pt x="274" y="309"/>
                </a:cubicBezTo>
                <a:cubicBezTo>
                  <a:pt x="273" y="309"/>
                  <a:pt x="273" y="309"/>
                  <a:pt x="273" y="309"/>
                </a:cubicBezTo>
                <a:cubicBezTo>
                  <a:pt x="272" y="310"/>
                  <a:pt x="272" y="310"/>
                  <a:pt x="272" y="310"/>
                </a:cubicBezTo>
                <a:cubicBezTo>
                  <a:pt x="270" y="310"/>
                  <a:pt x="270" y="310"/>
                  <a:pt x="270" y="310"/>
                </a:cubicBezTo>
                <a:cubicBezTo>
                  <a:pt x="271" y="311"/>
                  <a:pt x="271" y="311"/>
                  <a:pt x="271" y="311"/>
                </a:cubicBezTo>
                <a:cubicBezTo>
                  <a:pt x="272" y="312"/>
                  <a:pt x="272" y="312"/>
                  <a:pt x="272" y="312"/>
                </a:cubicBezTo>
                <a:cubicBezTo>
                  <a:pt x="271" y="312"/>
                  <a:pt x="271" y="312"/>
                  <a:pt x="271" y="312"/>
                </a:cubicBezTo>
                <a:cubicBezTo>
                  <a:pt x="271" y="312"/>
                  <a:pt x="271" y="312"/>
                  <a:pt x="271" y="312"/>
                </a:cubicBezTo>
                <a:cubicBezTo>
                  <a:pt x="269" y="311"/>
                  <a:pt x="269" y="311"/>
                  <a:pt x="269" y="311"/>
                </a:cubicBezTo>
                <a:cubicBezTo>
                  <a:pt x="268" y="310"/>
                  <a:pt x="268" y="310"/>
                  <a:pt x="268" y="310"/>
                </a:cubicBezTo>
                <a:cubicBezTo>
                  <a:pt x="268" y="311"/>
                  <a:pt x="268" y="311"/>
                  <a:pt x="268" y="311"/>
                </a:cubicBezTo>
                <a:cubicBezTo>
                  <a:pt x="268" y="312"/>
                  <a:pt x="268" y="312"/>
                  <a:pt x="268" y="312"/>
                </a:cubicBezTo>
                <a:cubicBezTo>
                  <a:pt x="269" y="313"/>
                  <a:pt x="269" y="313"/>
                  <a:pt x="269" y="313"/>
                </a:cubicBezTo>
                <a:cubicBezTo>
                  <a:pt x="269" y="313"/>
                  <a:pt x="269" y="313"/>
                  <a:pt x="269" y="313"/>
                </a:cubicBezTo>
                <a:cubicBezTo>
                  <a:pt x="269" y="314"/>
                  <a:pt x="269" y="314"/>
                  <a:pt x="269" y="314"/>
                </a:cubicBezTo>
                <a:cubicBezTo>
                  <a:pt x="267" y="314"/>
                  <a:pt x="267" y="314"/>
                  <a:pt x="267" y="314"/>
                </a:cubicBezTo>
                <a:cubicBezTo>
                  <a:pt x="266" y="316"/>
                  <a:pt x="266" y="316"/>
                  <a:pt x="266" y="316"/>
                </a:cubicBezTo>
                <a:cubicBezTo>
                  <a:pt x="265" y="316"/>
                  <a:pt x="265" y="316"/>
                  <a:pt x="265" y="316"/>
                </a:cubicBezTo>
                <a:cubicBezTo>
                  <a:pt x="266" y="317"/>
                  <a:pt x="266" y="317"/>
                  <a:pt x="266" y="317"/>
                </a:cubicBezTo>
                <a:cubicBezTo>
                  <a:pt x="265" y="318"/>
                  <a:pt x="265" y="318"/>
                  <a:pt x="265" y="318"/>
                </a:cubicBezTo>
                <a:cubicBezTo>
                  <a:pt x="264" y="318"/>
                  <a:pt x="264" y="318"/>
                  <a:pt x="264" y="318"/>
                </a:cubicBezTo>
                <a:cubicBezTo>
                  <a:pt x="264" y="319"/>
                  <a:pt x="264" y="319"/>
                  <a:pt x="264" y="319"/>
                </a:cubicBezTo>
                <a:cubicBezTo>
                  <a:pt x="264" y="320"/>
                  <a:pt x="264" y="320"/>
                  <a:pt x="264" y="320"/>
                </a:cubicBezTo>
                <a:cubicBezTo>
                  <a:pt x="263" y="320"/>
                  <a:pt x="263" y="320"/>
                  <a:pt x="263" y="320"/>
                </a:cubicBezTo>
                <a:cubicBezTo>
                  <a:pt x="261" y="323"/>
                  <a:pt x="261" y="323"/>
                  <a:pt x="261" y="323"/>
                </a:cubicBezTo>
                <a:cubicBezTo>
                  <a:pt x="260" y="323"/>
                  <a:pt x="260" y="323"/>
                  <a:pt x="260" y="323"/>
                </a:cubicBezTo>
                <a:cubicBezTo>
                  <a:pt x="260" y="324"/>
                  <a:pt x="260" y="324"/>
                  <a:pt x="260" y="324"/>
                </a:cubicBezTo>
                <a:cubicBezTo>
                  <a:pt x="258" y="325"/>
                  <a:pt x="258" y="325"/>
                  <a:pt x="258" y="325"/>
                </a:cubicBezTo>
                <a:cubicBezTo>
                  <a:pt x="257" y="324"/>
                  <a:pt x="257" y="324"/>
                  <a:pt x="257" y="324"/>
                </a:cubicBezTo>
                <a:cubicBezTo>
                  <a:pt x="257" y="325"/>
                  <a:pt x="257" y="325"/>
                  <a:pt x="257" y="325"/>
                </a:cubicBezTo>
                <a:cubicBezTo>
                  <a:pt x="257" y="326"/>
                  <a:pt x="257" y="326"/>
                  <a:pt x="257" y="326"/>
                </a:cubicBezTo>
                <a:cubicBezTo>
                  <a:pt x="256" y="328"/>
                  <a:pt x="256" y="328"/>
                  <a:pt x="256" y="328"/>
                </a:cubicBezTo>
                <a:cubicBezTo>
                  <a:pt x="256" y="330"/>
                  <a:pt x="256" y="330"/>
                  <a:pt x="256" y="330"/>
                </a:cubicBezTo>
                <a:cubicBezTo>
                  <a:pt x="255" y="331"/>
                  <a:pt x="255" y="331"/>
                  <a:pt x="255" y="331"/>
                </a:cubicBezTo>
                <a:cubicBezTo>
                  <a:pt x="255" y="333"/>
                  <a:pt x="255" y="333"/>
                  <a:pt x="255" y="333"/>
                </a:cubicBezTo>
                <a:cubicBezTo>
                  <a:pt x="254" y="333"/>
                  <a:pt x="254" y="333"/>
                  <a:pt x="254" y="333"/>
                </a:cubicBezTo>
                <a:cubicBezTo>
                  <a:pt x="253" y="336"/>
                  <a:pt x="253" y="336"/>
                  <a:pt x="253" y="336"/>
                </a:cubicBezTo>
                <a:cubicBezTo>
                  <a:pt x="253" y="336"/>
                  <a:pt x="253" y="336"/>
                  <a:pt x="253" y="336"/>
                </a:cubicBezTo>
                <a:cubicBezTo>
                  <a:pt x="253" y="338"/>
                  <a:pt x="253" y="338"/>
                  <a:pt x="253" y="338"/>
                </a:cubicBezTo>
                <a:cubicBezTo>
                  <a:pt x="252" y="340"/>
                  <a:pt x="252" y="340"/>
                  <a:pt x="252" y="340"/>
                </a:cubicBezTo>
                <a:cubicBezTo>
                  <a:pt x="252" y="341"/>
                  <a:pt x="252" y="341"/>
                  <a:pt x="252" y="341"/>
                </a:cubicBezTo>
                <a:cubicBezTo>
                  <a:pt x="250" y="341"/>
                  <a:pt x="250" y="341"/>
                  <a:pt x="250" y="341"/>
                </a:cubicBezTo>
                <a:cubicBezTo>
                  <a:pt x="250" y="342"/>
                  <a:pt x="250" y="342"/>
                  <a:pt x="250" y="342"/>
                </a:cubicBezTo>
                <a:cubicBezTo>
                  <a:pt x="251" y="342"/>
                  <a:pt x="251" y="342"/>
                  <a:pt x="251" y="342"/>
                </a:cubicBezTo>
                <a:cubicBezTo>
                  <a:pt x="252" y="343"/>
                  <a:pt x="252" y="343"/>
                  <a:pt x="252" y="343"/>
                </a:cubicBezTo>
                <a:cubicBezTo>
                  <a:pt x="251" y="344"/>
                  <a:pt x="251" y="344"/>
                  <a:pt x="251" y="344"/>
                </a:cubicBezTo>
                <a:cubicBezTo>
                  <a:pt x="252" y="345"/>
                  <a:pt x="252" y="345"/>
                  <a:pt x="252" y="345"/>
                </a:cubicBezTo>
                <a:cubicBezTo>
                  <a:pt x="252" y="347"/>
                  <a:pt x="252" y="347"/>
                  <a:pt x="252" y="347"/>
                </a:cubicBezTo>
                <a:cubicBezTo>
                  <a:pt x="252" y="347"/>
                  <a:pt x="252" y="347"/>
                  <a:pt x="252" y="347"/>
                </a:cubicBezTo>
                <a:cubicBezTo>
                  <a:pt x="251" y="350"/>
                  <a:pt x="251" y="350"/>
                  <a:pt x="251" y="350"/>
                </a:cubicBezTo>
                <a:cubicBezTo>
                  <a:pt x="249" y="352"/>
                  <a:pt x="249" y="352"/>
                  <a:pt x="249" y="352"/>
                </a:cubicBezTo>
                <a:cubicBezTo>
                  <a:pt x="246" y="352"/>
                  <a:pt x="246" y="352"/>
                  <a:pt x="246" y="352"/>
                </a:cubicBezTo>
                <a:cubicBezTo>
                  <a:pt x="246" y="354"/>
                  <a:pt x="246" y="354"/>
                  <a:pt x="246" y="354"/>
                </a:cubicBezTo>
                <a:cubicBezTo>
                  <a:pt x="247" y="352"/>
                  <a:pt x="247" y="352"/>
                  <a:pt x="247" y="352"/>
                </a:cubicBezTo>
                <a:cubicBezTo>
                  <a:pt x="250" y="352"/>
                  <a:pt x="250" y="352"/>
                  <a:pt x="250" y="352"/>
                </a:cubicBezTo>
                <a:cubicBezTo>
                  <a:pt x="252" y="349"/>
                  <a:pt x="252" y="349"/>
                  <a:pt x="252" y="349"/>
                </a:cubicBezTo>
                <a:cubicBezTo>
                  <a:pt x="254" y="346"/>
                  <a:pt x="254" y="346"/>
                  <a:pt x="254" y="346"/>
                </a:cubicBezTo>
                <a:cubicBezTo>
                  <a:pt x="258" y="346"/>
                  <a:pt x="258" y="346"/>
                  <a:pt x="258" y="346"/>
                </a:cubicBezTo>
                <a:cubicBezTo>
                  <a:pt x="259" y="346"/>
                  <a:pt x="259" y="346"/>
                  <a:pt x="259" y="346"/>
                </a:cubicBezTo>
                <a:cubicBezTo>
                  <a:pt x="259" y="348"/>
                  <a:pt x="259" y="348"/>
                  <a:pt x="259" y="348"/>
                </a:cubicBezTo>
                <a:cubicBezTo>
                  <a:pt x="258" y="349"/>
                  <a:pt x="258" y="349"/>
                  <a:pt x="258" y="349"/>
                </a:cubicBezTo>
                <a:cubicBezTo>
                  <a:pt x="258" y="350"/>
                  <a:pt x="258" y="350"/>
                  <a:pt x="258" y="350"/>
                </a:cubicBezTo>
                <a:cubicBezTo>
                  <a:pt x="259" y="352"/>
                  <a:pt x="259" y="352"/>
                  <a:pt x="259" y="352"/>
                </a:cubicBezTo>
                <a:cubicBezTo>
                  <a:pt x="259" y="355"/>
                  <a:pt x="259" y="355"/>
                  <a:pt x="259" y="355"/>
                </a:cubicBezTo>
                <a:cubicBezTo>
                  <a:pt x="258" y="357"/>
                  <a:pt x="258" y="357"/>
                  <a:pt x="258" y="357"/>
                </a:cubicBezTo>
                <a:cubicBezTo>
                  <a:pt x="259" y="358"/>
                  <a:pt x="259" y="358"/>
                  <a:pt x="259" y="358"/>
                </a:cubicBezTo>
                <a:cubicBezTo>
                  <a:pt x="259" y="361"/>
                  <a:pt x="259" y="361"/>
                  <a:pt x="259" y="361"/>
                </a:cubicBezTo>
                <a:cubicBezTo>
                  <a:pt x="259" y="362"/>
                  <a:pt x="259" y="362"/>
                  <a:pt x="259" y="362"/>
                </a:cubicBezTo>
                <a:cubicBezTo>
                  <a:pt x="255" y="366"/>
                  <a:pt x="255" y="366"/>
                  <a:pt x="255" y="366"/>
                </a:cubicBezTo>
                <a:cubicBezTo>
                  <a:pt x="253" y="366"/>
                  <a:pt x="253" y="366"/>
                  <a:pt x="253" y="366"/>
                </a:cubicBezTo>
                <a:cubicBezTo>
                  <a:pt x="252" y="366"/>
                  <a:pt x="252" y="366"/>
                  <a:pt x="252" y="366"/>
                </a:cubicBezTo>
                <a:cubicBezTo>
                  <a:pt x="253" y="367"/>
                  <a:pt x="253" y="367"/>
                  <a:pt x="253" y="367"/>
                </a:cubicBezTo>
                <a:cubicBezTo>
                  <a:pt x="255" y="367"/>
                  <a:pt x="255" y="367"/>
                  <a:pt x="255" y="367"/>
                </a:cubicBezTo>
                <a:cubicBezTo>
                  <a:pt x="259" y="365"/>
                  <a:pt x="259" y="365"/>
                  <a:pt x="259" y="365"/>
                </a:cubicBezTo>
                <a:cubicBezTo>
                  <a:pt x="264" y="364"/>
                  <a:pt x="264" y="364"/>
                  <a:pt x="264" y="364"/>
                </a:cubicBezTo>
                <a:cubicBezTo>
                  <a:pt x="266" y="363"/>
                  <a:pt x="266" y="363"/>
                  <a:pt x="266" y="363"/>
                </a:cubicBezTo>
                <a:cubicBezTo>
                  <a:pt x="269" y="365"/>
                  <a:pt x="269" y="365"/>
                  <a:pt x="269" y="365"/>
                </a:cubicBezTo>
                <a:cubicBezTo>
                  <a:pt x="271" y="367"/>
                  <a:pt x="271" y="367"/>
                  <a:pt x="271" y="367"/>
                </a:cubicBezTo>
                <a:cubicBezTo>
                  <a:pt x="273" y="368"/>
                  <a:pt x="273" y="368"/>
                  <a:pt x="273" y="368"/>
                </a:cubicBezTo>
                <a:cubicBezTo>
                  <a:pt x="274" y="368"/>
                  <a:pt x="274" y="368"/>
                  <a:pt x="274" y="368"/>
                </a:cubicBezTo>
                <a:cubicBezTo>
                  <a:pt x="275" y="369"/>
                  <a:pt x="275" y="369"/>
                  <a:pt x="275" y="369"/>
                </a:cubicBezTo>
                <a:cubicBezTo>
                  <a:pt x="277" y="371"/>
                  <a:pt x="277" y="371"/>
                  <a:pt x="277" y="371"/>
                </a:cubicBezTo>
                <a:cubicBezTo>
                  <a:pt x="278" y="371"/>
                  <a:pt x="278" y="371"/>
                  <a:pt x="278" y="371"/>
                </a:cubicBezTo>
                <a:cubicBezTo>
                  <a:pt x="279" y="373"/>
                  <a:pt x="279" y="373"/>
                  <a:pt x="279" y="373"/>
                </a:cubicBezTo>
                <a:cubicBezTo>
                  <a:pt x="280" y="374"/>
                  <a:pt x="280" y="374"/>
                  <a:pt x="280" y="374"/>
                </a:cubicBezTo>
                <a:cubicBezTo>
                  <a:pt x="280" y="375"/>
                  <a:pt x="280" y="375"/>
                  <a:pt x="280" y="375"/>
                </a:cubicBezTo>
                <a:cubicBezTo>
                  <a:pt x="281" y="376"/>
                  <a:pt x="281" y="376"/>
                  <a:pt x="281" y="376"/>
                </a:cubicBezTo>
                <a:cubicBezTo>
                  <a:pt x="282" y="378"/>
                  <a:pt x="282" y="378"/>
                  <a:pt x="282" y="378"/>
                </a:cubicBezTo>
                <a:cubicBezTo>
                  <a:pt x="282" y="378"/>
                  <a:pt x="282" y="378"/>
                  <a:pt x="282" y="378"/>
                </a:cubicBezTo>
                <a:cubicBezTo>
                  <a:pt x="283" y="378"/>
                  <a:pt x="283" y="378"/>
                  <a:pt x="283" y="378"/>
                </a:cubicBezTo>
                <a:cubicBezTo>
                  <a:pt x="283" y="379"/>
                  <a:pt x="283" y="379"/>
                  <a:pt x="283" y="379"/>
                </a:cubicBezTo>
                <a:cubicBezTo>
                  <a:pt x="286" y="380"/>
                  <a:pt x="286" y="380"/>
                  <a:pt x="286" y="380"/>
                </a:cubicBezTo>
                <a:cubicBezTo>
                  <a:pt x="287" y="381"/>
                  <a:pt x="287" y="381"/>
                  <a:pt x="287" y="381"/>
                </a:cubicBezTo>
                <a:cubicBezTo>
                  <a:pt x="289" y="382"/>
                  <a:pt x="289" y="382"/>
                  <a:pt x="289" y="382"/>
                </a:cubicBezTo>
                <a:cubicBezTo>
                  <a:pt x="290" y="382"/>
                  <a:pt x="290" y="382"/>
                  <a:pt x="290" y="382"/>
                </a:cubicBezTo>
                <a:cubicBezTo>
                  <a:pt x="292" y="384"/>
                  <a:pt x="292" y="384"/>
                  <a:pt x="292" y="384"/>
                </a:cubicBezTo>
                <a:cubicBezTo>
                  <a:pt x="292" y="385"/>
                  <a:pt x="292" y="385"/>
                  <a:pt x="292" y="385"/>
                </a:cubicBezTo>
                <a:cubicBezTo>
                  <a:pt x="294" y="387"/>
                  <a:pt x="294" y="387"/>
                  <a:pt x="294" y="387"/>
                </a:cubicBezTo>
                <a:cubicBezTo>
                  <a:pt x="293" y="387"/>
                  <a:pt x="293" y="387"/>
                  <a:pt x="293" y="387"/>
                </a:cubicBezTo>
                <a:cubicBezTo>
                  <a:pt x="294" y="388"/>
                  <a:pt x="294" y="388"/>
                  <a:pt x="294" y="388"/>
                </a:cubicBezTo>
                <a:cubicBezTo>
                  <a:pt x="296" y="388"/>
                  <a:pt x="296" y="388"/>
                  <a:pt x="296" y="388"/>
                </a:cubicBezTo>
                <a:cubicBezTo>
                  <a:pt x="296" y="388"/>
                  <a:pt x="296" y="388"/>
                  <a:pt x="296" y="388"/>
                </a:cubicBezTo>
                <a:cubicBezTo>
                  <a:pt x="298" y="388"/>
                  <a:pt x="298" y="388"/>
                  <a:pt x="298" y="388"/>
                </a:cubicBezTo>
                <a:cubicBezTo>
                  <a:pt x="301" y="388"/>
                  <a:pt x="301" y="388"/>
                  <a:pt x="301" y="388"/>
                </a:cubicBezTo>
                <a:cubicBezTo>
                  <a:pt x="301" y="388"/>
                  <a:pt x="301" y="388"/>
                  <a:pt x="301" y="388"/>
                </a:cubicBezTo>
                <a:cubicBezTo>
                  <a:pt x="302" y="388"/>
                  <a:pt x="302" y="388"/>
                  <a:pt x="302" y="388"/>
                </a:cubicBezTo>
                <a:cubicBezTo>
                  <a:pt x="304" y="389"/>
                  <a:pt x="304" y="389"/>
                  <a:pt x="304" y="389"/>
                </a:cubicBezTo>
                <a:cubicBezTo>
                  <a:pt x="306" y="389"/>
                  <a:pt x="306" y="389"/>
                  <a:pt x="306" y="389"/>
                </a:cubicBezTo>
                <a:cubicBezTo>
                  <a:pt x="307" y="389"/>
                  <a:pt x="307" y="389"/>
                  <a:pt x="307" y="389"/>
                </a:cubicBezTo>
                <a:cubicBezTo>
                  <a:pt x="308" y="389"/>
                  <a:pt x="308" y="389"/>
                  <a:pt x="308" y="389"/>
                </a:cubicBezTo>
                <a:cubicBezTo>
                  <a:pt x="308" y="389"/>
                  <a:pt x="308" y="389"/>
                  <a:pt x="308" y="389"/>
                </a:cubicBezTo>
                <a:cubicBezTo>
                  <a:pt x="309" y="389"/>
                  <a:pt x="309" y="389"/>
                  <a:pt x="309" y="389"/>
                </a:cubicBezTo>
                <a:cubicBezTo>
                  <a:pt x="309" y="389"/>
                  <a:pt x="309" y="389"/>
                  <a:pt x="309" y="389"/>
                </a:cubicBezTo>
                <a:cubicBezTo>
                  <a:pt x="309" y="391"/>
                  <a:pt x="309" y="391"/>
                  <a:pt x="309" y="391"/>
                </a:cubicBezTo>
                <a:cubicBezTo>
                  <a:pt x="308" y="394"/>
                  <a:pt x="308" y="394"/>
                  <a:pt x="308" y="394"/>
                </a:cubicBezTo>
                <a:cubicBezTo>
                  <a:pt x="308" y="395"/>
                  <a:pt x="308" y="395"/>
                  <a:pt x="308" y="395"/>
                </a:cubicBezTo>
                <a:cubicBezTo>
                  <a:pt x="307" y="396"/>
                  <a:pt x="307" y="396"/>
                  <a:pt x="307" y="396"/>
                </a:cubicBezTo>
                <a:cubicBezTo>
                  <a:pt x="306" y="398"/>
                  <a:pt x="306" y="398"/>
                  <a:pt x="306" y="398"/>
                </a:cubicBezTo>
                <a:cubicBezTo>
                  <a:pt x="306" y="399"/>
                  <a:pt x="306" y="399"/>
                  <a:pt x="306" y="399"/>
                </a:cubicBezTo>
                <a:cubicBezTo>
                  <a:pt x="307" y="400"/>
                  <a:pt x="307" y="400"/>
                  <a:pt x="307" y="400"/>
                </a:cubicBezTo>
                <a:cubicBezTo>
                  <a:pt x="307" y="402"/>
                  <a:pt x="307" y="402"/>
                  <a:pt x="307" y="402"/>
                </a:cubicBezTo>
                <a:cubicBezTo>
                  <a:pt x="305" y="405"/>
                  <a:pt x="305" y="405"/>
                  <a:pt x="305" y="405"/>
                </a:cubicBezTo>
                <a:cubicBezTo>
                  <a:pt x="305" y="406"/>
                  <a:pt x="305" y="406"/>
                  <a:pt x="305" y="406"/>
                </a:cubicBezTo>
                <a:cubicBezTo>
                  <a:pt x="305" y="408"/>
                  <a:pt x="305" y="408"/>
                  <a:pt x="305" y="408"/>
                </a:cubicBezTo>
                <a:cubicBezTo>
                  <a:pt x="303" y="409"/>
                  <a:pt x="303" y="409"/>
                  <a:pt x="303" y="409"/>
                </a:cubicBezTo>
                <a:cubicBezTo>
                  <a:pt x="303" y="411"/>
                  <a:pt x="303" y="411"/>
                  <a:pt x="303" y="411"/>
                </a:cubicBezTo>
                <a:cubicBezTo>
                  <a:pt x="303" y="412"/>
                  <a:pt x="303" y="412"/>
                  <a:pt x="303" y="412"/>
                </a:cubicBezTo>
                <a:cubicBezTo>
                  <a:pt x="304" y="413"/>
                  <a:pt x="304" y="413"/>
                  <a:pt x="304" y="413"/>
                </a:cubicBezTo>
                <a:cubicBezTo>
                  <a:pt x="304" y="415"/>
                  <a:pt x="304" y="415"/>
                  <a:pt x="304" y="415"/>
                </a:cubicBezTo>
                <a:cubicBezTo>
                  <a:pt x="305" y="415"/>
                  <a:pt x="305" y="415"/>
                  <a:pt x="305" y="415"/>
                </a:cubicBezTo>
                <a:cubicBezTo>
                  <a:pt x="306" y="416"/>
                  <a:pt x="306" y="416"/>
                  <a:pt x="306" y="416"/>
                </a:cubicBezTo>
                <a:cubicBezTo>
                  <a:pt x="306" y="417"/>
                  <a:pt x="306" y="417"/>
                  <a:pt x="306" y="417"/>
                </a:cubicBezTo>
                <a:cubicBezTo>
                  <a:pt x="306" y="418"/>
                  <a:pt x="306" y="418"/>
                  <a:pt x="306" y="418"/>
                </a:cubicBezTo>
                <a:cubicBezTo>
                  <a:pt x="306" y="419"/>
                  <a:pt x="306" y="419"/>
                  <a:pt x="306" y="419"/>
                </a:cubicBezTo>
                <a:cubicBezTo>
                  <a:pt x="307" y="419"/>
                  <a:pt x="307" y="419"/>
                  <a:pt x="307" y="419"/>
                </a:cubicBezTo>
                <a:cubicBezTo>
                  <a:pt x="309" y="420"/>
                  <a:pt x="309" y="420"/>
                  <a:pt x="309" y="420"/>
                </a:cubicBezTo>
                <a:cubicBezTo>
                  <a:pt x="309" y="420"/>
                  <a:pt x="309" y="420"/>
                  <a:pt x="309" y="420"/>
                </a:cubicBezTo>
                <a:cubicBezTo>
                  <a:pt x="309" y="421"/>
                  <a:pt x="309" y="421"/>
                  <a:pt x="309" y="421"/>
                </a:cubicBezTo>
                <a:cubicBezTo>
                  <a:pt x="310" y="422"/>
                  <a:pt x="310" y="422"/>
                  <a:pt x="310" y="422"/>
                </a:cubicBezTo>
                <a:cubicBezTo>
                  <a:pt x="310" y="424"/>
                  <a:pt x="310" y="424"/>
                  <a:pt x="310" y="424"/>
                </a:cubicBezTo>
                <a:cubicBezTo>
                  <a:pt x="310" y="425"/>
                  <a:pt x="310" y="425"/>
                  <a:pt x="310" y="425"/>
                </a:cubicBezTo>
                <a:cubicBezTo>
                  <a:pt x="310" y="426"/>
                  <a:pt x="310" y="426"/>
                  <a:pt x="310" y="426"/>
                </a:cubicBezTo>
                <a:cubicBezTo>
                  <a:pt x="308" y="429"/>
                  <a:pt x="308" y="429"/>
                  <a:pt x="308" y="429"/>
                </a:cubicBezTo>
                <a:cubicBezTo>
                  <a:pt x="309" y="428"/>
                  <a:pt x="309" y="428"/>
                  <a:pt x="309" y="428"/>
                </a:cubicBezTo>
                <a:cubicBezTo>
                  <a:pt x="311" y="427"/>
                  <a:pt x="311" y="427"/>
                  <a:pt x="311" y="427"/>
                </a:cubicBezTo>
                <a:cubicBezTo>
                  <a:pt x="313" y="427"/>
                  <a:pt x="313" y="427"/>
                  <a:pt x="313" y="427"/>
                </a:cubicBezTo>
                <a:cubicBezTo>
                  <a:pt x="314" y="428"/>
                  <a:pt x="314" y="428"/>
                  <a:pt x="314" y="428"/>
                </a:cubicBezTo>
                <a:cubicBezTo>
                  <a:pt x="315" y="428"/>
                  <a:pt x="315" y="428"/>
                  <a:pt x="315" y="428"/>
                </a:cubicBezTo>
                <a:cubicBezTo>
                  <a:pt x="315" y="427"/>
                  <a:pt x="315" y="427"/>
                  <a:pt x="315" y="427"/>
                </a:cubicBezTo>
                <a:cubicBezTo>
                  <a:pt x="315" y="426"/>
                  <a:pt x="315" y="426"/>
                  <a:pt x="315" y="426"/>
                </a:cubicBezTo>
                <a:cubicBezTo>
                  <a:pt x="317" y="423"/>
                  <a:pt x="317" y="423"/>
                  <a:pt x="317" y="423"/>
                </a:cubicBezTo>
                <a:cubicBezTo>
                  <a:pt x="318" y="423"/>
                  <a:pt x="318" y="423"/>
                  <a:pt x="318" y="423"/>
                </a:cubicBezTo>
                <a:cubicBezTo>
                  <a:pt x="317" y="424"/>
                  <a:pt x="317" y="424"/>
                  <a:pt x="317" y="424"/>
                </a:cubicBezTo>
                <a:cubicBezTo>
                  <a:pt x="318" y="425"/>
                  <a:pt x="318" y="425"/>
                  <a:pt x="318" y="425"/>
                </a:cubicBezTo>
                <a:cubicBezTo>
                  <a:pt x="318" y="425"/>
                  <a:pt x="318" y="425"/>
                  <a:pt x="318" y="425"/>
                </a:cubicBezTo>
                <a:cubicBezTo>
                  <a:pt x="319" y="428"/>
                  <a:pt x="319" y="428"/>
                  <a:pt x="319" y="428"/>
                </a:cubicBezTo>
                <a:cubicBezTo>
                  <a:pt x="318" y="429"/>
                  <a:pt x="318" y="429"/>
                  <a:pt x="318" y="429"/>
                </a:cubicBezTo>
                <a:cubicBezTo>
                  <a:pt x="320" y="430"/>
                  <a:pt x="320" y="430"/>
                  <a:pt x="320" y="430"/>
                </a:cubicBezTo>
                <a:cubicBezTo>
                  <a:pt x="322" y="431"/>
                  <a:pt x="322" y="431"/>
                  <a:pt x="322" y="431"/>
                </a:cubicBezTo>
                <a:cubicBezTo>
                  <a:pt x="321" y="430"/>
                  <a:pt x="321" y="430"/>
                  <a:pt x="321" y="430"/>
                </a:cubicBezTo>
                <a:cubicBezTo>
                  <a:pt x="320" y="429"/>
                  <a:pt x="320" y="429"/>
                  <a:pt x="320" y="429"/>
                </a:cubicBezTo>
                <a:cubicBezTo>
                  <a:pt x="319" y="427"/>
                  <a:pt x="319" y="427"/>
                  <a:pt x="319" y="427"/>
                </a:cubicBezTo>
                <a:cubicBezTo>
                  <a:pt x="320" y="425"/>
                  <a:pt x="320" y="425"/>
                  <a:pt x="320" y="425"/>
                </a:cubicBezTo>
                <a:cubicBezTo>
                  <a:pt x="320" y="424"/>
                  <a:pt x="320" y="424"/>
                  <a:pt x="320" y="424"/>
                </a:cubicBezTo>
                <a:cubicBezTo>
                  <a:pt x="320" y="424"/>
                  <a:pt x="320" y="424"/>
                  <a:pt x="320" y="424"/>
                </a:cubicBezTo>
                <a:cubicBezTo>
                  <a:pt x="320" y="422"/>
                  <a:pt x="320" y="422"/>
                  <a:pt x="320" y="422"/>
                </a:cubicBezTo>
                <a:cubicBezTo>
                  <a:pt x="320" y="423"/>
                  <a:pt x="320" y="423"/>
                  <a:pt x="320" y="423"/>
                </a:cubicBezTo>
                <a:cubicBezTo>
                  <a:pt x="321" y="423"/>
                  <a:pt x="321" y="423"/>
                  <a:pt x="321" y="423"/>
                </a:cubicBezTo>
                <a:cubicBezTo>
                  <a:pt x="321" y="421"/>
                  <a:pt x="321" y="421"/>
                  <a:pt x="321" y="421"/>
                </a:cubicBezTo>
                <a:cubicBezTo>
                  <a:pt x="323" y="419"/>
                  <a:pt x="323" y="419"/>
                  <a:pt x="323" y="419"/>
                </a:cubicBezTo>
                <a:cubicBezTo>
                  <a:pt x="322" y="419"/>
                  <a:pt x="322" y="419"/>
                  <a:pt x="322" y="419"/>
                </a:cubicBezTo>
                <a:cubicBezTo>
                  <a:pt x="322" y="417"/>
                  <a:pt x="322" y="417"/>
                  <a:pt x="322" y="417"/>
                </a:cubicBezTo>
                <a:cubicBezTo>
                  <a:pt x="322" y="416"/>
                  <a:pt x="322" y="416"/>
                  <a:pt x="322" y="416"/>
                </a:cubicBezTo>
                <a:cubicBezTo>
                  <a:pt x="322" y="415"/>
                  <a:pt x="322" y="415"/>
                  <a:pt x="322" y="415"/>
                </a:cubicBezTo>
                <a:cubicBezTo>
                  <a:pt x="323" y="414"/>
                  <a:pt x="323" y="414"/>
                  <a:pt x="323" y="414"/>
                </a:cubicBezTo>
                <a:cubicBezTo>
                  <a:pt x="322" y="413"/>
                  <a:pt x="322" y="413"/>
                  <a:pt x="322" y="413"/>
                </a:cubicBezTo>
                <a:cubicBezTo>
                  <a:pt x="322" y="412"/>
                  <a:pt x="322" y="412"/>
                  <a:pt x="322" y="412"/>
                </a:cubicBezTo>
                <a:cubicBezTo>
                  <a:pt x="322" y="412"/>
                  <a:pt x="322" y="412"/>
                  <a:pt x="322" y="412"/>
                </a:cubicBezTo>
                <a:cubicBezTo>
                  <a:pt x="321" y="411"/>
                  <a:pt x="321" y="411"/>
                  <a:pt x="321" y="411"/>
                </a:cubicBezTo>
                <a:cubicBezTo>
                  <a:pt x="322" y="408"/>
                  <a:pt x="322" y="408"/>
                  <a:pt x="322" y="408"/>
                </a:cubicBezTo>
                <a:cubicBezTo>
                  <a:pt x="322" y="407"/>
                  <a:pt x="322" y="407"/>
                  <a:pt x="322" y="407"/>
                </a:cubicBezTo>
                <a:cubicBezTo>
                  <a:pt x="322" y="405"/>
                  <a:pt x="322" y="405"/>
                  <a:pt x="322" y="405"/>
                </a:cubicBezTo>
                <a:cubicBezTo>
                  <a:pt x="323" y="404"/>
                  <a:pt x="323" y="404"/>
                  <a:pt x="323" y="404"/>
                </a:cubicBezTo>
                <a:cubicBezTo>
                  <a:pt x="323" y="403"/>
                  <a:pt x="323" y="403"/>
                  <a:pt x="323" y="403"/>
                </a:cubicBezTo>
                <a:cubicBezTo>
                  <a:pt x="323" y="403"/>
                  <a:pt x="323" y="403"/>
                  <a:pt x="323" y="403"/>
                </a:cubicBezTo>
                <a:cubicBezTo>
                  <a:pt x="323" y="402"/>
                  <a:pt x="323" y="402"/>
                  <a:pt x="323" y="402"/>
                </a:cubicBezTo>
                <a:cubicBezTo>
                  <a:pt x="324" y="401"/>
                  <a:pt x="324" y="401"/>
                  <a:pt x="324" y="401"/>
                </a:cubicBezTo>
                <a:cubicBezTo>
                  <a:pt x="323" y="401"/>
                  <a:pt x="323" y="401"/>
                  <a:pt x="323" y="401"/>
                </a:cubicBezTo>
                <a:cubicBezTo>
                  <a:pt x="323" y="400"/>
                  <a:pt x="323" y="400"/>
                  <a:pt x="323" y="400"/>
                </a:cubicBezTo>
                <a:cubicBezTo>
                  <a:pt x="323" y="400"/>
                  <a:pt x="323" y="400"/>
                  <a:pt x="323" y="400"/>
                </a:cubicBezTo>
                <a:cubicBezTo>
                  <a:pt x="323" y="399"/>
                  <a:pt x="323" y="399"/>
                  <a:pt x="323" y="399"/>
                </a:cubicBezTo>
                <a:cubicBezTo>
                  <a:pt x="323" y="398"/>
                  <a:pt x="323" y="398"/>
                  <a:pt x="323" y="398"/>
                </a:cubicBezTo>
                <a:cubicBezTo>
                  <a:pt x="322" y="397"/>
                  <a:pt x="322" y="397"/>
                  <a:pt x="322" y="397"/>
                </a:cubicBezTo>
                <a:cubicBezTo>
                  <a:pt x="322" y="395"/>
                  <a:pt x="322" y="395"/>
                  <a:pt x="322" y="395"/>
                </a:cubicBezTo>
                <a:cubicBezTo>
                  <a:pt x="322" y="395"/>
                  <a:pt x="322" y="395"/>
                  <a:pt x="322" y="395"/>
                </a:cubicBezTo>
                <a:cubicBezTo>
                  <a:pt x="323" y="394"/>
                  <a:pt x="323" y="394"/>
                  <a:pt x="323" y="394"/>
                </a:cubicBezTo>
                <a:cubicBezTo>
                  <a:pt x="326" y="394"/>
                  <a:pt x="326" y="394"/>
                  <a:pt x="326" y="394"/>
                </a:cubicBezTo>
                <a:cubicBezTo>
                  <a:pt x="327" y="393"/>
                  <a:pt x="327" y="393"/>
                  <a:pt x="327" y="393"/>
                </a:cubicBezTo>
                <a:cubicBezTo>
                  <a:pt x="329" y="393"/>
                  <a:pt x="329" y="393"/>
                  <a:pt x="329" y="393"/>
                </a:cubicBezTo>
                <a:cubicBezTo>
                  <a:pt x="329" y="392"/>
                  <a:pt x="329" y="392"/>
                  <a:pt x="329" y="392"/>
                </a:cubicBezTo>
                <a:cubicBezTo>
                  <a:pt x="332" y="391"/>
                  <a:pt x="332" y="391"/>
                  <a:pt x="332" y="391"/>
                </a:cubicBezTo>
                <a:cubicBezTo>
                  <a:pt x="336" y="389"/>
                  <a:pt x="336" y="389"/>
                  <a:pt x="336" y="389"/>
                </a:cubicBezTo>
                <a:cubicBezTo>
                  <a:pt x="336" y="389"/>
                  <a:pt x="336" y="389"/>
                  <a:pt x="336" y="389"/>
                </a:cubicBezTo>
                <a:cubicBezTo>
                  <a:pt x="336" y="388"/>
                  <a:pt x="336" y="388"/>
                  <a:pt x="336" y="388"/>
                </a:cubicBezTo>
                <a:cubicBezTo>
                  <a:pt x="339" y="387"/>
                  <a:pt x="339" y="387"/>
                  <a:pt x="339" y="387"/>
                </a:cubicBezTo>
                <a:cubicBezTo>
                  <a:pt x="340" y="386"/>
                  <a:pt x="340" y="386"/>
                  <a:pt x="340" y="386"/>
                </a:cubicBezTo>
                <a:cubicBezTo>
                  <a:pt x="341" y="385"/>
                  <a:pt x="341" y="385"/>
                  <a:pt x="341" y="385"/>
                </a:cubicBezTo>
                <a:cubicBezTo>
                  <a:pt x="343" y="382"/>
                  <a:pt x="343" y="382"/>
                  <a:pt x="343" y="382"/>
                </a:cubicBezTo>
                <a:cubicBezTo>
                  <a:pt x="344" y="383"/>
                  <a:pt x="344" y="383"/>
                  <a:pt x="344" y="383"/>
                </a:cubicBezTo>
                <a:cubicBezTo>
                  <a:pt x="344" y="383"/>
                  <a:pt x="344" y="383"/>
                  <a:pt x="344" y="383"/>
                </a:cubicBezTo>
                <a:cubicBezTo>
                  <a:pt x="345" y="383"/>
                  <a:pt x="345" y="383"/>
                  <a:pt x="345" y="383"/>
                </a:cubicBezTo>
                <a:cubicBezTo>
                  <a:pt x="346" y="382"/>
                  <a:pt x="346" y="382"/>
                  <a:pt x="346" y="382"/>
                </a:cubicBezTo>
                <a:cubicBezTo>
                  <a:pt x="345" y="381"/>
                  <a:pt x="345" y="381"/>
                  <a:pt x="345" y="381"/>
                </a:cubicBezTo>
                <a:cubicBezTo>
                  <a:pt x="345" y="379"/>
                  <a:pt x="345" y="379"/>
                  <a:pt x="345" y="379"/>
                </a:cubicBezTo>
                <a:cubicBezTo>
                  <a:pt x="344" y="380"/>
                  <a:pt x="344" y="380"/>
                  <a:pt x="344" y="380"/>
                </a:cubicBezTo>
                <a:cubicBezTo>
                  <a:pt x="344" y="381"/>
                  <a:pt x="344" y="381"/>
                  <a:pt x="344" y="381"/>
                </a:cubicBezTo>
                <a:cubicBezTo>
                  <a:pt x="344" y="381"/>
                  <a:pt x="344" y="381"/>
                  <a:pt x="344" y="381"/>
                </a:cubicBezTo>
                <a:cubicBezTo>
                  <a:pt x="344" y="379"/>
                  <a:pt x="344" y="379"/>
                  <a:pt x="344" y="379"/>
                </a:cubicBezTo>
                <a:cubicBezTo>
                  <a:pt x="345" y="376"/>
                  <a:pt x="345" y="376"/>
                  <a:pt x="345" y="376"/>
                </a:cubicBezTo>
                <a:cubicBezTo>
                  <a:pt x="346" y="376"/>
                  <a:pt x="346" y="376"/>
                  <a:pt x="346" y="376"/>
                </a:cubicBezTo>
                <a:cubicBezTo>
                  <a:pt x="346" y="374"/>
                  <a:pt x="346" y="374"/>
                  <a:pt x="346" y="374"/>
                </a:cubicBezTo>
                <a:cubicBezTo>
                  <a:pt x="346" y="372"/>
                  <a:pt x="346" y="372"/>
                  <a:pt x="346" y="372"/>
                </a:cubicBezTo>
                <a:cubicBezTo>
                  <a:pt x="345" y="370"/>
                  <a:pt x="345" y="370"/>
                  <a:pt x="345" y="370"/>
                </a:cubicBezTo>
                <a:cubicBezTo>
                  <a:pt x="345" y="366"/>
                  <a:pt x="345" y="366"/>
                  <a:pt x="345" y="366"/>
                </a:cubicBezTo>
                <a:cubicBezTo>
                  <a:pt x="345" y="363"/>
                  <a:pt x="345" y="363"/>
                  <a:pt x="345" y="363"/>
                </a:cubicBezTo>
                <a:cubicBezTo>
                  <a:pt x="343" y="360"/>
                  <a:pt x="343" y="360"/>
                  <a:pt x="343" y="360"/>
                </a:cubicBezTo>
                <a:cubicBezTo>
                  <a:pt x="341" y="359"/>
                  <a:pt x="341" y="359"/>
                  <a:pt x="341" y="359"/>
                </a:cubicBezTo>
                <a:cubicBezTo>
                  <a:pt x="341" y="358"/>
                  <a:pt x="341" y="358"/>
                  <a:pt x="341" y="358"/>
                </a:cubicBezTo>
                <a:cubicBezTo>
                  <a:pt x="340" y="358"/>
                  <a:pt x="340" y="358"/>
                  <a:pt x="340" y="358"/>
                </a:cubicBezTo>
                <a:cubicBezTo>
                  <a:pt x="339" y="357"/>
                  <a:pt x="339" y="357"/>
                  <a:pt x="339" y="357"/>
                </a:cubicBezTo>
                <a:cubicBezTo>
                  <a:pt x="340" y="354"/>
                  <a:pt x="340" y="354"/>
                  <a:pt x="340" y="354"/>
                </a:cubicBezTo>
                <a:cubicBezTo>
                  <a:pt x="341" y="354"/>
                  <a:pt x="341" y="354"/>
                  <a:pt x="341" y="354"/>
                </a:cubicBezTo>
                <a:cubicBezTo>
                  <a:pt x="345" y="350"/>
                  <a:pt x="345" y="350"/>
                  <a:pt x="345" y="350"/>
                </a:cubicBezTo>
                <a:cubicBezTo>
                  <a:pt x="346" y="350"/>
                  <a:pt x="346" y="350"/>
                  <a:pt x="346" y="350"/>
                </a:cubicBezTo>
                <a:cubicBezTo>
                  <a:pt x="346" y="349"/>
                  <a:pt x="346" y="349"/>
                  <a:pt x="346" y="349"/>
                </a:cubicBezTo>
                <a:cubicBezTo>
                  <a:pt x="346" y="348"/>
                  <a:pt x="346" y="348"/>
                  <a:pt x="346" y="348"/>
                </a:cubicBezTo>
                <a:cubicBezTo>
                  <a:pt x="346" y="348"/>
                  <a:pt x="346" y="348"/>
                  <a:pt x="346" y="348"/>
                </a:cubicBezTo>
                <a:cubicBezTo>
                  <a:pt x="346" y="347"/>
                  <a:pt x="346" y="347"/>
                  <a:pt x="346" y="347"/>
                </a:cubicBezTo>
                <a:cubicBezTo>
                  <a:pt x="347" y="346"/>
                  <a:pt x="347" y="346"/>
                  <a:pt x="347" y="346"/>
                </a:cubicBezTo>
                <a:cubicBezTo>
                  <a:pt x="348" y="346"/>
                  <a:pt x="348" y="346"/>
                  <a:pt x="348" y="346"/>
                </a:cubicBezTo>
                <a:cubicBezTo>
                  <a:pt x="349" y="347"/>
                  <a:pt x="349" y="347"/>
                  <a:pt x="349" y="347"/>
                </a:cubicBezTo>
                <a:cubicBezTo>
                  <a:pt x="349" y="348"/>
                  <a:pt x="349" y="348"/>
                  <a:pt x="349" y="348"/>
                </a:cubicBezTo>
                <a:cubicBezTo>
                  <a:pt x="349" y="347"/>
                  <a:pt x="349" y="347"/>
                  <a:pt x="349" y="347"/>
                </a:cubicBezTo>
                <a:cubicBezTo>
                  <a:pt x="349" y="346"/>
                  <a:pt x="349" y="346"/>
                  <a:pt x="349" y="346"/>
                </a:cubicBezTo>
                <a:cubicBezTo>
                  <a:pt x="350" y="345"/>
                  <a:pt x="350" y="345"/>
                  <a:pt x="350" y="345"/>
                </a:cubicBezTo>
                <a:cubicBezTo>
                  <a:pt x="352" y="343"/>
                  <a:pt x="352" y="343"/>
                  <a:pt x="352" y="343"/>
                </a:cubicBezTo>
                <a:cubicBezTo>
                  <a:pt x="351" y="342"/>
                  <a:pt x="351" y="342"/>
                  <a:pt x="351" y="342"/>
                </a:cubicBezTo>
                <a:cubicBezTo>
                  <a:pt x="350" y="342"/>
                  <a:pt x="350" y="342"/>
                  <a:pt x="350" y="342"/>
                </a:cubicBezTo>
                <a:cubicBezTo>
                  <a:pt x="350" y="341"/>
                  <a:pt x="350" y="341"/>
                  <a:pt x="350" y="341"/>
                </a:cubicBezTo>
                <a:cubicBezTo>
                  <a:pt x="351" y="340"/>
                  <a:pt x="351" y="340"/>
                  <a:pt x="351" y="340"/>
                </a:cubicBezTo>
                <a:cubicBezTo>
                  <a:pt x="350" y="339"/>
                  <a:pt x="350" y="339"/>
                  <a:pt x="350" y="339"/>
                </a:cubicBezTo>
                <a:cubicBezTo>
                  <a:pt x="350" y="338"/>
                  <a:pt x="350" y="338"/>
                  <a:pt x="350" y="338"/>
                </a:cubicBezTo>
                <a:cubicBezTo>
                  <a:pt x="351" y="337"/>
                  <a:pt x="351" y="337"/>
                  <a:pt x="351" y="337"/>
                </a:cubicBezTo>
                <a:cubicBezTo>
                  <a:pt x="352" y="337"/>
                  <a:pt x="352" y="337"/>
                  <a:pt x="352" y="337"/>
                </a:cubicBezTo>
                <a:cubicBezTo>
                  <a:pt x="350" y="337"/>
                  <a:pt x="350" y="337"/>
                  <a:pt x="350" y="337"/>
                </a:cubicBezTo>
                <a:cubicBezTo>
                  <a:pt x="350" y="336"/>
                  <a:pt x="350" y="336"/>
                  <a:pt x="350" y="336"/>
                </a:cubicBezTo>
                <a:cubicBezTo>
                  <a:pt x="351" y="334"/>
                  <a:pt x="351" y="334"/>
                  <a:pt x="351" y="334"/>
                </a:cubicBezTo>
                <a:cubicBezTo>
                  <a:pt x="352" y="334"/>
                  <a:pt x="352" y="334"/>
                  <a:pt x="352" y="334"/>
                </a:cubicBezTo>
                <a:cubicBezTo>
                  <a:pt x="351" y="333"/>
                  <a:pt x="351" y="333"/>
                  <a:pt x="351" y="333"/>
                </a:cubicBezTo>
                <a:cubicBezTo>
                  <a:pt x="349" y="334"/>
                  <a:pt x="349" y="334"/>
                  <a:pt x="349" y="334"/>
                </a:cubicBezTo>
                <a:cubicBezTo>
                  <a:pt x="348" y="333"/>
                  <a:pt x="348" y="333"/>
                  <a:pt x="348" y="333"/>
                </a:cubicBezTo>
                <a:cubicBezTo>
                  <a:pt x="348" y="332"/>
                  <a:pt x="348" y="332"/>
                  <a:pt x="348" y="332"/>
                </a:cubicBezTo>
                <a:cubicBezTo>
                  <a:pt x="351" y="330"/>
                  <a:pt x="351" y="330"/>
                  <a:pt x="351" y="330"/>
                </a:cubicBezTo>
                <a:cubicBezTo>
                  <a:pt x="353" y="328"/>
                  <a:pt x="353" y="328"/>
                  <a:pt x="353" y="328"/>
                </a:cubicBezTo>
                <a:cubicBezTo>
                  <a:pt x="353" y="326"/>
                  <a:pt x="353" y="326"/>
                  <a:pt x="353" y="326"/>
                </a:cubicBezTo>
                <a:cubicBezTo>
                  <a:pt x="354" y="327"/>
                  <a:pt x="354" y="327"/>
                  <a:pt x="354" y="327"/>
                </a:cubicBezTo>
                <a:cubicBezTo>
                  <a:pt x="354" y="326"/>
                  <a:pt x="354" y="326"/>
                  <a:pt x="354" y="326"/>
                </a:cubicBezTo>
                <a:cubicBezTo>
                  <a:pt x="354" y="324"/>
                  <a:pt x="354" y="324"/>
                  <a:pt x="354" y="324"/>
                </a:cubicBezTo>
                <a:cubicBezTo>
                  <a:pt x="354" y="324"/>
                  <a:pt x="354" y="324"/>
                  <a:pt x="354" y="324"/>
                </a:cubicBezTo>
                <a:cubicBezTo>
                  <a:pt x="354" y="324"/>
                  <a:pt x="354" y="324"/>
                  <a:pt x="354" y="324"/>
                </a:cubicBezTo>
                <a:cubicBezTo>
                  <a:pt x="353" y="324"/>
                  <a:pt x="353" y="324"/>
                  <a:pt x="353" y="324"/>
                </a:cubicBezTo>
                <a:cubicBezTo>
                  <a:pt x="352" y="322"/>
                  <a:pt x="352" y="322"/>
                  <a:pt x="352" y="322"/>
                </a:cubicBezTo>
                <a:cubicBezTo>
                  <a:pt x="352" y="320"/>
                  <a:pt x="352" y="320"/>
                  <a:pt x="352" y="320"/>
                </a:cubicBezTo>
                <a:cubicBezTo>
                  <a:pt x="353" y="318"/>
                  <a:pt x="353" y="318"/>
                  <a:pt x="353" y="318"/>
                </a:cubicBezTo>
                <a:cubicBezTo>
                  <a:pt x="353" y="316"/>
                  <a:pt x="353" y="316"/>
                  <a:pt x="353" y="316"/>
                </a:cubicBezTo>
                <a:cubicBezTo>
                  <a:pt x="354" y="316"/>
                  <a:pt x="354" y="316"/>
                  <a:pt x="354" y="316"/>
                </a:cubicBezTo>
                <a:cubicBezTo>
                  <a:pt x="355" y="316"/>
                  <a:pt x="355" y="316"/>
                  <a:pt x="355" y="316"/>
                </a:cubicBezTo>
                <a:cubicBezTo>
                  <a:pt x="355" y="316"/>
                  <a:pt x="355" y="316"/>
                  <a:pt x="355" y="316"/>
                </a:cubicBezTo>
                <a:cubicBezTo>
                  <a:pt x="355" y="315"/>
                  <a:pt x="355" y="315"/>
                  <a:pt x="355" y="315"/>
                </a:cubicBezTo>
                <a:cubicBezTo>
                  <a:pt x="356" y="315"/>
                  <a:pt x="356" y="315"/>
                  <a:pt x="356" y="315"/>
                </a:cubicBezTo>
                <a:cubicBezTo>
                  <a:pt x="357" y="315"/>
                  <a:pt x="357" y="315"/>
                  <a:pt x="357" y="315"/>
                </a:cubicBezTo>
                <a:cubicBezTo>
                  <a:pt x="358" y="314"/>
                  <a:pt x="358" y="314"/>
                  <a:pt x="358" y="314"/>
                </a:cubicBezTo>
                <a:cubicBezTo>
                  <a:pt x="359" y="315"/>
                  <a:pt x="359" y="315"/>
                  <a:pt x="359" y="315"/>
                </a:cubicBezTo>
                <a:cubicBezTo>
                  <a:pt x="361" y="315"/>
                  <a:pt x="361" y="315"/>
                  <a:pt x="361" y="315"/>
                </a:cubicBezTo>
                <a:cubicBezTo>
                  <a:pt x="363" y="316"/>
                  <a:pt x="363" y="316"/>
                  <a:pt x="363" y="316"/>
                </a:cubicBezTo>
                <a:cubicBezTo>
                  <a:pt x="366" y="318"/>
                  <a:pt x="366" y="318"/>
                  <a:pt x="366" y="318"/>
                </a:cubicBezTo>
                <a:cubicBezTo>
                  <a:pt x="367" y="318"/>
                  <a:pt x="367" y="318"/>
                  <a:pt x="367" y="318"/>
                </a:cubicBezTo>
                <a:cubicBezTo>
                  <a:pt x="367" y="319"/>
                  <a:pt x="367" y="319"/>
                  <a:pt x="367" y="319"/>
                </a:cubicBezTo>
                <a:cubicBezTo>
                  <a:pt x="365" y="319"/>
                  <a:pt x="365" y="319"/>
                  <a:pt x="365" y="319"/>
                </a:cubicBezTo>
                <a:cubicBezTo>
                  <a:pt x="367" y="319"/>
                  <a:pt x="367" y="319"/>
                  <a:pt x="367" y="319"/>
                </a:cubicBezTo>
                <a:cubicBezTo>
                  <a:pt x="369" y="318"/>
                  <a:pt x="369" y="318"/>
                  <a:pt x="369" y="318"/>
                </a:cubicBezTo>
                <a:cubicBezTo>
                  <a:pt x="370" y="318"/>
                  <a:pt x="370" y="318"/>
                  <a:pt x="370" y="318"/>
                </a:cubicBezTo>
                <a:cubicBezTo>
                  <a:pt x="371" y="319"/>
                  <a:pt x="371" y="319"/>
                  <a:pt x="371" y="319"/>
                </a:cubicBezTo>
                <a:cubicBezTo>
                  <a:pt x="372" y="319"/>
                  <a:pt x="372" y="319"/>
                  <a:pt x="372" y="319"/>
                </a:cubicBezTo>
                <a:cubicBezTo>
                  <a:pt x="373" y="320"/>
                  <a:pt x="373" y="320"/>
                  <a:pt x="373" y="320"/>
                </a:cubicBezTo>
                <a:cubicBezTo>
                  <a:pt x="373" y="319"/>
                  <a:pt x="373" y="319"/>
                  <a:pt x="373" y="319"/>
                </a:cubicBezTo>
                <a:cubicBezTo>
                  <a:pt x="374" y="319"/>
                  <a:pt x="374" y="319"/>
                  <a:pt x="374" y="319"/>
                </a:cubicBezTo>
                <a:cubicBezTo>
                  <a:pt x="375" y="319"/>
                  <a:pt x="375" y="319"/>
                  <a:pt x="375" y="319"/>
                </a:cubicBezTo>
                <a:cubicBezTo>
                  <a:pt x="376" y="319"/>
                  <a:pt x="376" y="319"/>
                  <a:pt x="376" y="319"/>
                </a:cubicBezTo>
                <a:cubicBezTo>
                  <a:pt x="377" y="318"/>
                  <a:pt x="377" y="318"/>
                  <a:pt x="377" y="318"/>
                </a:cubicBezTo>
                <a:cubicBezTo>
                  <a:pt x="379" y="319"/>
                  <a:pt x="379" y="319"/>
                  <a:pt x="379" y="319"/>
                </a:cubicBezTo>
                <a:cubicBezTo>
                  <a:pt x="379" y="321"/>
                  <a:pt x="379" y="321"/>
                  <a:pt x="379" y="321"/>
                </a:cubicBezTo>
                <a:cubicBezTo>
                  <a:pt x="381" y="322"/>
                  <a:pt x="381" y="322"/>
                  <a:pt x="381" y="322"/>
                </a:cubicBezTo>
                <a:cubicBezTo>
                  <a:pt x="382" y="322"/>
                  <a:pt x="382" y="322"/>
                  <a:pt x="382" y="322"/>
                </a:cubicBezTo>
                <a:cubicBezTo>
                  <a:pt x="382" y="324"/>
                  <a:pt x="382" y="324"/>
                  <a:pt x="382" y="324"/>
                </a:cubicBezTo>
                <a:cubicBezTo>
                  <a:pt x="381" y="325"/>
                  <a:pt x="381" y="325"/>
                  <a:pt x="381" y="325"/>
                </a:cubicBezTo>
                <a:cubicBezTo>
                  <a:pt x="381" y="326"/>
                  <a:pt x="381" y="326"/>
                  <a:pt x="381" y="326"/>
                </a:cubicBezTo>
                <a:cubicBezTo>
                  <a:pt x="382" y="325"/>
                  <a:pt x="382" y="325"/>
                  <a:pt x="382" y="325"/>
                </a:cubicBezTo>
                <a:cubicBezTo>
                  <a:pt x="383" y="326"/>
                  <a:pt x="383" y="326"/>
                  <a:pt x="383" y="326"/>
                </a:cubicBezTo>
                <a:cubicBezTo>
                  <a:pt x="384" y="328"/>
                  <a:pt x="384" y="328"/>
                  <a:pt x="384" y="328"/>
                </a:cubicBezTo>
                <a:cubicBezTo>
                  <a:pt x="383" y="328"/>
                  <a:pt x="383" y="328"/>
                  <a:pt x="383" y="328"/>
                </a:cubicBezTo>
                <a:cubicBezTo>
                  <a:pt x="384" y="329"/>
                  <a:pt x="384" y="329"/>
                  <a:pt x="384" y="329"/>
                </a:cubicBezTo>
                <a:cubicBezTo>
                  <a:pt x="385" y="328"/>
                  <a:pt x="385" y="328"/>
                  <a:pt x="385" y="328"/>
                </a:cubicBezTo>
                <a:cubicBezTo>
                  <a:pt x="386" y="329"/>
                  <a:pt x="386" y="329"/>
                  <a:pt x="386" y="329"/>
                </a:cubicBezTo>
                <a:cubicBezTo>
                  <a:pt x="386" y="330"/>
                  <a:pt x="386" y="330"/>
                  <a:pt x="386" y="330"/>
                </a:cubicBezTo>
                <a:cubicBezTo>
                  <a:pt x="385" y="329"/>
                  <a:pt x="385" y="329"/>
                  <a:pt x="385" y="329"/>
                </a:cubicBezTo>
                <a:cubicBezTo>
                  <a:pt x="384" y="331"/>
                  <a:pt x="384" y="331"/>
                  <a:pt x="384" y="331"/>
                </a:cubicBezTo>
                <a:cubicBezTo>
                  <a:pt x="383" y="331"/>
                  <a:pt x="383" y="331"/>
                  <a:pt x="383" y="331"/>
                </a:cubicBezTo>
                <a:cubicBezTo>
                  <a:pt x="385" y="332"/>
                  <a:pt x="385" y="332"/>
                  <a:pt x="385" y="332"/>
                </a:cubicBezTo>
                <a:cubicBezTo>
                  <a:pt x="385" y="333"/>
                  <a:pt x="385" y="333"/>
                  <a:pt x="385" y="333"/>
                </a:cubicBezTo>
                <a:cubicBezTo>
                  <a:pt x="386" y="332"/>
                  <a:pt x="386" y="332"/>
                  <a:pt x="386" y="332"/>
                </a:cubicBezTo>
                <a:cubicBezTo>
                  <a:pt x="386" y="333"/>
                  <a:pt x="386" y="333"/>
                  <a:pt x="386" y="333"/>
                </a:cubicBezTo>
                <a:cubicBezTo>
                  <a:pt x="387" y="333"/>
                  <a:pt x="387" y="333"/>
                  <a:pt x="387" y="333"/>
                </a:cubicBezTo>
                <a:cubicBezTo>
                  <a:pt x="389" y="334"/>
                  <a:pt x="389" y="334"/>
                  <a:pt x="389" y="334"/>
                </a:cubicBezTo>
                <a:cubicBezTo>
                  <a:pt x="390" y="334"/>
                  <a:pt x="390" y="334"/>
                  <a:pt x="390" y="334"/>
                </a:cubicBezTo>
                <a:cubicBezTo>
                  <a:pt x="390" y="335"/>
                  <a:pt x="390" y="335"/>
                  <a:pt x="390" y="335"/>
                </a:cubicBezTo>
                <a:cubicBezTo>
                  <a:pt x="391" y="334"/>
                  <a:pt x="391" y="334"/>
                  <a:pt x="391" y="334"/>
                </a:cubicBezTo>
                <a:cubicBezTo>
                  <a:pt x="393" y="335"/>
                  <a:pt x="393" y="335"/>
                  <a:pt x="393" y="335"/>
                </a:cubicBezTo>
                <a:cubicBezTo>
                  <a:pt x="393" y="337"/>
                  <a:pt x="393" y="337"/>
                  <a:pt x="393" y="337"/>
                </a:cubicBezTo>
                <a:cubicBezTo>
                  <a:pt x="393" y="338"/>
                  <a:pt x="393" y="338"/>
                  <a:pt x="393" y="338"/>
                </a:cubicBezTo>
                <a:cubicBezTo>
                  <a:pt x="395" y="337"/>
                  <a:pt x="395" y="337"/>
                  <a:pt x="395" y="337"/>
                </a:cubicBezTo>
                <a:cubicBezTo>
                  <a:pt x="395" y="335"/>
                  <a:pt x="395" y="335"/>
                  <a:pt x="395" y="335"/>
                </a:cubicBezTo>
                <a:cubicBezTo>
                  <a:pt x="396" y="335"/>
                  <a:pt x="396" y="335"/>
                  <a:pt x="396" y="335"/>
                </a:cubicBezTo>
                <a:cubicBezTo>
                  <a:pt x="396" y="337"/>
                  <a:pt x="396" y="337"/>
                  <a:pt x="396" y="337"/>
                </a:cubicBezTo>
                <a:cubicBezTo>
                  <a:pt x="396" y="339"/>
                  <a:pt x="396" y="339"/>
                  <a:pt x="396" y="339"/>
                </a:cubicBezTo>
                <a:cubicBezTo>
                  <a:pt x="394" y="339"/>
                  <a:pt x="394" y="339"/>
                  <a:pt x="394" y="339"/>
                </a:cubicBezTo>
                <a:cubicBezTo>
                  <a:pt x="393" y="341"/>
                  <a:pt x="393" y="341"/>
                  <a:pt x="393" y="341"/>
                </a:cubicBezTo>
                <a:cubicBezTo>
                  <a:pt x="393" y="344"/>
                  <a:pt x="393" y="344"/>
                  <a:pt x="393" y="344"/>
                </a:cubicBezTo>
                <a:cubicBezTo>
                  <a:pt x="393" y="345"/>
                  <a:pt x="393" y="345"/>
                  <a:pt x="393" y="345"/>
                </a:cubicBezTo>
                <a:cubicBezTo>
                  <a:pt x="393" y="344"/>
                  <a:pt x="393" y="344"/>
                  <a:pt x="393" y="344"/>
                </a:cubicBezTo>
                <a:cubicBezTo>
                  <a:pt x="392" y="345"/>
                  <a:pt x="392" y="345"/>
                  <a:pt x="392" y="345"/>
                </a:cubicBezTo>
                <a:cubicBezTo>
                  <a:pt x="392" y="346"/>
                  <a:pt x="392" y="346"/>
                  <a:pt x="392" y="346"/>
                </a:cubicBezTo>
                <a:cubicBezTo>
                  <a:pt x="389" y="346"/>
                  <a:pt x="389" y="346"/>
                  <a:pt x="389" y="346"/>
                </a:cubicBezTo>
                <a:cubicBezTo>
                  <a:pt x="386" y="345"/>
                  <a:pt x="386" y="345"/>
                  <a:pt x="386" y="345"/>
                </a:cubicBezTo>
                <a:cubicBezTo>
                  <a:pt x="389" y="347"/>
                  <a:pt x="389" y="347"/>
                  <a:pt x="389" y="347"/>
                </a:cubicBezTo>
                <a:cubicBezTo>
                  <a:pt x="391" y="347"/>
                  <a:pt x="391" y="347"/>
                  <a:pt x="391" y="347"/>
                </a:cubicBezTo>
                <a:cubicBezTo>
                  <a:pt x="393" y="348"/>
                  <a:pt x="393" y="348"/>
                  <a:pt x="393" y="348"/>
                </a:cubicBezTo>
                <a:cubicBezTo>
                  <a:pt x="392" y="351"/>
                  <a:pt x="392" y="351"/>
                  <a:pt x="392" y="351"/>
                </a:cubicBezTo>
                <a:cubicBezTo>
                  <a:pt x="391" y="352"/>
                  <a:pt x="391" y="352"/>
                  <a:pt x="391" y="352"/>
                </a:cubicBezTo>
                <a:cubicBezTo>
                  <a:pt x="391" y="353"/>
                  <a:pt x="391" y="353"/>
                  <a:pt x="391" y="353"/>
                </a:cubicBezTo>
                <a:cubicBezTo>
                  <a:pt x="390" y="355"/>
                  <a:pt x="390" y="355"/>
                  <a:pt x="390" y="355"/>
                </a:cubicBezTo>
                <a:cubicBezTo>
                  <a:pt x="390" y="355"/>
                  <a:pt x="390" y="355"/>
                  <a:pt x="390" y="355"/>
                </a:cubicBezTo>
                <a:cubicBezTo>
                  <a:pt x="392" y="357"/>
                  <a:pt x="392" y="357"/>
                  <a:pt x="392" y="357"/>
                </a:cubicBezTo>
                <a:cubicBezTo>
                  <a:pt x="393" y="358"/>
                  <a:pt x="393" y="358"/>
                  <a:pt x="393" y="358"/>
                </a:cubicBezTo>
                <a:cubicBezTo>
                  <a:pt x="392" y="358"/>
                  <a:pt x="392" y="358"/>
                  <a:pt x="392" y="358"/>
                </a:cubicBezTo>
                <a:cubicBezTo>
                  <a:pt x="390" y="357"/>
                  <a:pt x="390" y="357"/>
                  <a:pt x="390" y="357"/>
                </a:cubicBezTo>
                <a:cubicBezTo>
                  <a:pt x="391" y="359"/>
                  <a:pt x="391" y="359"/>
                  <a:pt x="391" y="359"/>
                </a:cubicBezTo>
                <a:cubicBezTo>
                  <a:pt x="393" y="360"/>
                  <a:pt x="393" y="360"/>
                  <a:pt x="393" y="360"/>
                </a:cubicBezTo>
                <a:cubicBezTo>
                  <a:pt x="393" y="360"/>
                  <a:pt x="393" y="360"/>
                  <a:pt x="393" y="360"/>
                </a:cubicBezTo>
                <a:cubicBezTo>
                  <a:pt x="393" y="358"/>
                  <a:pt x="393" y="358"/>
                  <a:pt x="393" y="358"/>
                </a:cubicBezTo>
                <a:cubicBezTo>
                  <a:pt x="394" y="358"/>
                  <a:pt x="394" y="358"/>
                  <a:pt x="394" y="358"/>
                </a:cubicBezTo>
                <a:cubicBezTo>
                  <a:pt x="395" y="360"/>
                  <a:pt x="395" y="360"/>
                  <a:pt x="395" y="360"/>
                </a:cubicBezTo>
                <a:cubicBezTo>
                  <a:pt x="396" y="361"/>
                  <a:pt x="396" y="361"/>
                  <a:pt x="396" y="361"/>
                </a:cubicBezTo>
                <a:cubicBezTo>
                  <a:pt x="395" y="362"/>
                  <a:pt x="395" y="362"/>
                  <a:pt x="395" y="362"/>
                </a:cubicBezTo>
                <a:cubicBezTo>
                  <a:pt x="395" y="364"/>
                  <a:pt x="395" y="364"/>
                  <a:pt x="395" y="364"/>
                </a:cubicBezTo>
                <a:cubicBezTo>
                  <a:pt x="394" y="366"/>
                  <a:pt x="394" y="366"/>
                  <a:pt x="394" y="366"/>
                </a:cubicBezTo>
                <a:cubicBezTo>
                  <a:pt x="394" y="367"/>
                  <a:pt x="394" y="367"/>
                  <a:pt x="394" y="367"/>
                </a:cubicBezTo>
                <a:cubicBezTo>
                  <a:pt x="393" y="368"/>
                  <a:pt x="393" y="368"/>
                  <a:pt x="393" y="368"/>
                </a:cubicBezTo>
                <a:cubicBezTo>
                  <a:pt x="394" y="368"/>
                  <a:pt x="394" y="368"/>
                  <a:pt x="394" y="368"/>
                </a:cubicBezTo>
                <a:cubicBezTo>
                  <a:pt x="396" y="364"/>
                  <a:pt x="396" y="364"/>
                  <a:pt x="396" y="364"/>
                </a:cubicBezTo>
                <a:cubicBezTo>
                  <a:pt x="398" y="363"/>
                  <a:pt x="398" y="363"/>
                  <a:pt x="398" y="363"/>
                </a:cubicBezTo>
                <a:cubicBezTo>
                  <a:pt x="398" y="363"/>
                  <a:pt x="398" y="363"/>
                  <a:pt x="398" y="363"/>
                </a:cubicBezTo>
                <a:cubicBezTo>
                  <a:pt x="398" y="364"/>
                  <a:pt x="398" y="364"/>
                  <a:pt x="398" y="364"/>
                </a:cubicBezTo>
                <a:cubicBezTo>
                  <a:pt x="398" y="366"/>
                  <a:pt x="398" y="366"/>
                  <a:pt x="398" y="366"/>
                </a:cubicBezTo>
                <a:cubicBezTo>
                  <a:pt x="397" y="367"/>
                  <a:pt x="397" y="367"/>
                  <a:pt x="397" y="367"/>
                </a:cubicBezTo>
                <a:cubicBezTo>
                  <a:pt x="398" y="368"/>
                  <a:pt x="398" y="368"/>
                  <a:pt x="398" y="368"/>
                </a:cubicBezTo>
                <a:cubicBezTo>
                  <a:pt x="397" y="369"/>
                  <a:pt x="397" y="369"/>
                  <a:pt x="397" y="369"/>
                </a:cubicBezTo>
                <a:cubicBezTo>
                  <a:pt x="398" y="368"/>
                  <a:pt x="398" y="368"/>
                  <a:pt x="398" y="368"/>
                </a:cubicBezTo>
                <a:cubicBezTo>
                  <a:pt x="399" y="366"/>
                  <a:pt x="399" y="366"/>
                  <a:pt x="399" y="366"/>
                </a:cubicBezTo>
                <a:cubicBezTo>
                  <a:pt x="400" y="365"/>
                  <a:pt x="400" y="365"/>
                  <a:pt x="400" y="365"/>
                </a:cubicBezTo>
                <a:cubicBezTo>
                  <a:pt x="401" y="365"/>
                  <a:pt x="401" y="365"/>
                  <a:pt x="401" y="365"/>
                </a:cubicBezTo>
                <a:cubicBezTo>
                  <a:pt x="402" y="364"/>
                  <a:pt x="402" y="364"/>
                  <a:pt x="402" y="364"/>
                </a:cubicBezTo>
                <a:cubicBezTo>
                  <a:pt x="403" y="364"/>
                  <a:pt x="403" y="364"/>
                  <a:pt x="403" y="364"/>
                </a:cubicBezTo>
                <a:cubicBezTo>
                  <a:pt x="403" y="365"/>
                  <a:pt x="403" y="365"/>
                  <a:pt x="403" y="365"/>
                </a:cubicBezTo>
                <a:cubicBezTo>
                  <a:pt x="404" y="364"/>
                  <a:pt x="404" y="364"/>
                  <a:pt x="404" y="364"/>
                </a:cubicBezTo>
                <a:cubicBezTo>
                  <a:pt x="405" y="364"/>
                  <a:pt x="405" y="364"/>
                  <a:pt x="405" y="364"/>
                </a:cubicBezTo>
                <a:cubicBezTo>
                  <a:pt x="405" y="363"/>
                  <a:pt x="405" y="363"/>
                  <a:pt x="405" y="363"/>
                </a:cubicBezTo>
                <a:cubicBezTo>
                  <a:pt x="406" y="362"/>
                  <a:pt x="406" y="362"/>
                  <a:pt x="406" y="362"/>
                </a:cubicBezTo>
                <a:cubicBezTo>
                  <a:pt x="408" y="360"/>
                  <a:pt x="408" y="360"/>
                  <a:pt x="408" y="360"/>
                </a:cubicBezTo>
                <a:cubicBezTo>
                  <a:pt x="408" y="361"/>
                  <a:pt x="408" y="361"/>
                  <a:pt x="408" y="361"/>
                </a:cubicBezTo>
                <a:cubicBezTo>
                  <a:pt x="409" y="363"/>
                  <a:pt x="409" y="363"/>
                  <a:pt x="409" y="363"/>
                </a:cubicBezTo>
                <a:cubicBezTo>
                  <a:pt x="409" y="364"/>
                  <a:pt x="409" y="364"/>
                  <a:pt x="409" y="364"/>
                </a:cubicBezTo>
                <a:cubicBezTo>
                  <a:pt x="409" y="362"/>
                  <a:pt x="409" y="362"/>
                  <a:pt x="409" y="362"/>
                </a:cubicBezTo>
                <a:cubicBezTo>
                  <a:pt x="409" y="361"/>
                  <a:pt x="409" y="361"/>
                  <a:pt x="409" y="361"/>
                </a:cubicBezTo>
                <a:cubicBezTo>
                  <a:pt x="410" y="360"/>
                  <a:pt x="410" y="360"/>
                  <a:pt x="410" y="360"/>
                </a:cubicBezTo>
                <a:cubicBezTo>
                  <a:pt x="410" y="360"/>
                  <a:pt x="410" y="360"/>
                  <a:pt x="410" y="360"/>
                </a:cubicBezTo>
                <a:cubicBezTo>
                  <a:pt x="411" y="359"/>
                  <a:pt x="411" y="359"/>
                  <a:pt x="411" y="359"/>
                </a:cubicBezTo>
                <a:cubicBezTo>
                  <a:pt x="412" y="358"/>
                  <a:pt x="412" y="358"/>
                  <a:pt x="412" y="358"/>
                </a:cubicBezTo>
                <a:cubicBezTo>
                  <a:pt x="412" y="357"/>
                  <a:pt x="412" y="357"/>
                  <a:pt x="412" y="357"/>
                </a:cubicBezTo>
                <a:cubicBezTo>
                  <a:pt x="413" y="356"/>
                  <a:pt x="413" y="356"/>
                  <a:pt x="413" y="356"/>
                </a:cubicBezTo>
                <a:cubicBezTo>
                  <a:pt x="414" y="355"/>
                  <a:pt x="414" y="355"/>
                  <a:pt x="414" y="355"/>
                </a:cubicBezTo>
                <a:cubicBezTo>
                  <a:pt x="414" y="354"/>
                  <a:pt x="414" y="354"/>
                  <a:pt x="414" y="354"/>
                </a:cubicBezTo>
                <a:cubicBezTo>
                  <a:pt x="415" y="354"/>
                  <a:pt x="415" y="354"/>
                  <a:pt x="415" y="354"/>
                </a:cubicBezTo>
                <a:cubicBezTo>
                  <a:pt x="416" y="355"/>
                  <a:pt x="416" y="355"/>
                  <a:pt x="416" y="355"/>
                </a:cubicBezTo>
                <a:cubicBezTo>
                  <a:pt x="416" y="355"/>
                  <a:pt x="416" y="355"/>
                  <a:pt x="416" y="355"/>
                </a:cubicBezTo>
                <a:cubicBezTo>
                  <a:pt x="415" y="354"/>
                  <a:pt x="415" y="354"/>
                  <a:pt x="415" y="354"/>
                </a:cubicBezTo>
                <a:cubicBezTo>
                  <a:pt x="414" y="354"/>
                  <a:pt x="414" y="354"/>
                  <a:pt x="414" y="354"/>
                </a:cubicBezTo>
                <a:cubicBezTo>
                  <a:pt x="414" y="353"/>
                  <a:pt x="414" y="353"/>
                  <a:pt x="414" y="353"/>
                </a:cubicBezTo>
                <a:cubicBezTo>
                  <a:pt x="415" y="351"/>
                  <a:pt x="415" y="351"/>
                  <a:pt x="415" y="351"/>
                </a:cubicBezTo>
                <a:cubicBezTo>
                  <a:pt x="416" y="351"/>
                  <a:pt x="416" y="351"/>
                  <a:pt x="416" y="351"/>
                </a:cubicBezTo>
                <a:cubicBezTo>
                  <a:pt x="416" y="351"/>
                  <a:pt x="416" y="351"/>
                  <a:pt x="416" y="351"/>
                </a:cubicBezTo>
                <a:cubicBezTo>
                  <a:pt x="416" y="350"/>
                  <a:pt x="416" y="350"/>
                  <a:pt x="416" y="350"/>
                </a:cubicBezTo>
                <a:cubicBezTo>
                  <a:pt x="417" y="350"/>
                  <a:pt x="417" y="350"/>
                  <a:pt x="417" y="350"/>
                </a:cubicBezTo>
                <a:cubicBezTo>
                  <a:pt x="417" y="349"/>
                  <a:pt x="417" y="349"/>
                  <a:pt x="417" y="349"/>
                </a:cubicBezTo>
                <a:cubicBezTo>
                  <a:pt x="418" y="347"/>
                  <a:pt x="418" y="347"/>
                  <a:pt x="418" y="347"/>
                </a:cubicBezTo>
                <a:cubicBezTo>
                  <a:pt x="419" y="346"/>
                  <a:pt x="419" y="346"/>
                  <a:pt x="419" y="346"/>
                </a:cubicBezTo>
                <a:cubicBezTo>
                  <a:pt x="419" y="345"/>
                  <a:pt x="419" y="345"/>
                  <a:pt x="419" y="345"/>
                </a:cubicBezTo>
                <a:cubicBezTo>
                  <a:pt x="420" y="344"/>
                  <a:pt x="420" y="344"/>
                  <a:pt x="420" y="344"/>
                </a:cubicBezTo>
                <a:cubicBezTo>
                  <a:pt x="421" y="343"/>
                  <a:pt x="421" y="343"/>
                  <a:pt x="421" y="343"/>
                </a:cubicBezTo>
                <a:cubicBezTo>
                  <a:pt x="422" y="344"/>
                  <a:pt x="422" y="344"/>
                  <a:pt x="422" y="344"/>
                </a:cubicBezTo>
                <a:cubicBezTo>
                  <a:pt x="421" y="345"/>
                  <a:pt x="421" y="345"/>
                  <a:pt x="421" y="345"/>
                </a:cubicBezTo>
                <a:cubicBezTo>
                  <a:pt x="422" y="344"/>
                  <a:pt x="422" y="344"/>
                  <a:pt x="422" y="344"/>
                </a:cubicBezTo>
                <a:cubicBezTo>
                  <a:pt x="422" y="345"/>
                  <a:pt x="422" y="345"/>
                  <a:pt x="422" y="345"/>
                </a:cubicBezTo>
                <a:cubicBezTo>
                  <a:pt x="421" y="345"/>
                  <a:pt x="421" y="345"/>
                  <a:pt x="421" y="345"/>
                </a:cubicBezTo>
                <a:cubicBezTo>
                  <a:pt x="421" y="346"/>
                  <a:pt x="421" y="346"/>
                  <a:pt x="421" y="346"/>
                </a:cubicBezTo>
                <a:cubicBezTo>
                  <a:pt x="422" y="347"/>
                  <a:pt x="422" y="347"/>
                  <a:pt x="422" y="347"/>
                </a:cubicBezTo>
                <a:cubicBezTo>
                  <a:pt x="421" y="348"/>
                  <a:pt x="421" y="348"/>
                  <a:pt x="421" y="348"/>
                </a:cubicBezTo>
                <a:cubicBezTo>
                  <a:pt x="421" y="348"/>
                  <a:pt x="421" y="348"/>
                  <a:pt x="421" y="348"/>
                </a:cubicBezTo>
                <a:cubicBezTo>
                  <a:pt x="421" y="348"/>
                  <a:pt x="421" y="348"/>
                  <a:pt x="421" y="348"/>
                </a:cubicBezTo>
                <a:cubicBezTo>
                  <a:pt x="421" y="348"/>
                  <a:pt x="421" y="348"/>
                  <a:pt x="421" y="348"/>
                </a:cubicBezTo>
                <a:cubicBezTo>
                  <a:pt x="422" y="348"/>
                  <a:pt x="422" y="348"/>
                  <a:pt x="422" y="348"/>
                </a:cubicBezTo>
                <a:cubicBezTo>
                  <a:pt x="422" y="350"/>
                  <a:pt x="422" y="350"/>
                  <a:pt x="422" y="350"/>
                </a:cubicBezTo>
                <a:cubicBezTo>
                  <a:pt x="421" y="350"/>
                  <a:pt x="421" y="350"/>
                  <a:pt x="421" y="350"/>
                </a:cubicBezTo>
                <a:cubicBezTo>
                  <a:pt x="422" y="350"/>
                  <a:pt x="422" y="350"/>
                  <a:pt x="422" y="350"/>
                </a:cubicBezTo>
                <a:cubicBezTo>
                  <a:pt x="422" y="351"/>
                  <a:pt x="422" y="351"/>
                  <a:pt x="422" y="351"/>
                </a:cubicBezTo>
                <a:cubicBezTo>
                  <a:pt x="422" y="352"/>
                  <a:pt x="422" y="352"/>
                  <a:pt x="422" y="352"/>
                </a:cubicBezTo>
                <a:cubicBezTo>
                  <a:pt x="422" y="353"/>
                  <a:pt x="422" y="353"/>
                  <a:pt x="422" y="353"/>
                </a:cubicBezTo>
                <a:cubicBezTo>
                  <a:pt x="423" y="354"/>
                  <a:pt x="423" y="354"/>
                  <a:pt x="423" y="354"/>
                </a:cubicBezTo>
                <a:cubicBezTo>
                  <a:pt x="423" y="355"/>
                  <a:pt x="423" y="355"/>
                  <a:pt x="423" y="355"/>
                </a:cubicBezTo>
                <a:cubicBezTo>
                  <a:pt x="423" y="356"/>
                  <a:pt x="423" y="356"/>
                  <a:pt x="423" y="356"/>
                </a:cubicBezTo>
                <a:cubicBezTo>
                  <a:pt x="422" y="355"/>
                  <a:pt x="422" y="355"/>
                  <a:pt x="422" y="355"/>
                </a:cubicBezTo>
                <a:cubicBezTo>
                  <a:pt x="421" y="356"/>
                  <a:pt x="421" y="356"/>
                  <a:pt x="421" y="356"/>
                </a:cubicBezTo>
                <a:cubicBezTo>
                  <a:pt x="422" y="357"/>
                  <a:pt x="422" y="357"/>
                  <a:pt x="422" y="357"/>
                </a:cubicBezTo>
                <a:cubicBezTo>
                  <a:pt x="422" y="357"/>
                  <a:pt x="422" y="357"/>
                  <a:pt x="422" y="357"/>
                </a:cubicBezTo>
                <a:cubicBezTo>
                  <a:pt x="423" y="357"/>
                  <a:pt x="423" y="357"/>
                  <a:pt x="423" y="357"/>
                </a:cubicBezTo>
                <a:cubicBezTo>
                  <a:pt x="424" y="356"/>
                  <a:pt x="424" y="356"/>
                  <a:pt x="424" y="356"/>
                </a:cubicBezTo>
                <a:cubicBezTo>
                  <a:pt x="424" y="357"/>
                  <a:pt x="424" y="357"/>
                  <a:pt x="424" y="357"/>
                </a:cubicBezTo>
                <a:cubicBezTo>
                  <a:pt x="425" y="358"/>
                  <a:pt x="425" y="358"/>
                  <a:pt x="425" y="358"/>
                </a:cubicBezTo>
                <a:cubicBezTo>
                  <a:pt x="424" y="359"/>
                  <a:pt x="424" y="359"/>
                  <a:pt x="424" y="359"/>
                </a:cubicBezTo>
                <a:cubicBezTo>
                  <a:pt x="423" y="360"/>
                  <a:pt x="423" y="360"/>
                  <a:pt x="423" y="360"/>
                </a:cubicBezTo>
                <a:cubicBezTo>
                  <a:pt x="421" y="359"/>
                  <a:pt x="421" y="359"/>
                  <a:pt x="421" y="359"/>
                </a:cubicBezTo>
                <a:cubicBezTo>
                  <a:pt x="421" y="360"/>
                  <a:pt x="421" y="360"/>
                  <a:pt x="421" y="360"/>
                </a:cubicBezTo>
                <a:cubicBezTo>
                  <a:pt x="422" y="361"/>
                  <a:pt x="422" y="361"/>
                  <a:pt x="422" y="361"/>
                </a:cubicBezTo>
                <a:cubicBezTo>
                  <a:pt x="424" y="360"/>
                  <a:pt x="424" y="360"/>
                  <a:pt x="424" y="360"/>
                </a:cubicBezTo>
                <a:cubicBezTo>
                  <a:pt x="425" y="360"/>
                  <a:pt x="425" y="360"/>
                  <a:pt x="425" y="360"/>
                </a:cubicBezTo>
                <a:cubicBezTo>
                  <a:pt x="425" y="361"/>
                  <a:pt x="425" y="361"/>
                  <a:pt x="425" y="361"/>
                </a:cubicBezTo>
                <a:cubicBezTo>
                  <a:pt x="424" y="363"/>
                  <a:pt x="424" y="363"/>
                  <a:pt x="424" y="363"/>
                </a:cubicBezTo>
                <a:cubicBezTo>
                  <a:pt x="425" y="363"/>
                  <a:pt x="425" y="363"/>
                  <a:pt x="425" y="363"/>
                </a:cubicBezTo>
                <a:cubicBezTo>
                  <a:pt x="426" y="362"/>
                  <a:pt x="426" y="362"/>
                  <a:pt x="426" y="362"/>
                </a:cubicBezTo>
                <a:cubicBezTo>
                  <a:pt x="426" y="364"/>
                  <a:pt x="426" y="364"/>
                  <a:pt x="426" y="364"/>
                </a:cubicBezTo>
                <a:cubicBezTo>
                  <a:pt x="425" y="365"/>
                  <a:pt x="425" y="365"/>
                  <a:pt x="425" y="365"/>
                </a:cubicBezTo>
                <a:cubicBezTo>
                  <a:pt x="423" y="365"/>
                  <a:pt x="423" y="365"/>
                  <a:pt x="423" y="365"/>
                </a:cubicBezTo>
                <a:cubicBezTo>
                  <a:pt x="422" y="365"/>
                  <a:pt x="422" y="365"/>
                  <a:pt x="422" y="365"/>
                </a:cubicBezTo>
                <a:cubicBezTo>
                  <a:pt x="422" y="365"/>
                  <a:pt x="422" y="365"/>
                  <a:pt x="422" y="365"/>
                </a:cubicBezTo>
                <a:cubicBezTo>
                  <a:pt x="422" y="366"/>
                  <a:pt x="422" y="366"/>
                  <a:pt x="422" y="366"/>
                </a:cubicBezTo>
                <a:cubicBezTo>
                  <a:pt x="421" y="367"/>
                  <a:pt x="421" y="367"/>
                  <a:pt x="421" y="367"/>
                </a:cubicBezTo>
                <a:cubicBezTo>
                  <a:pt x="423" y="367"/>
                  <a:pt x="423" y="367"/>
                  <a:pt x="423" y="367"/>
                </a:cubicBezTo>
                <a:cubicBezTo>
                  <a:pt x="425" y="367"/>
                  <a:pt x="425" y="367"/>
                  <a:pt x="425" y="367"/>
                </a:cubicBezTo>
                <a:cubicBezTo>
                  <a:pt x="426" y="366"/>
                  <a:pt x="426" y="366"/>
                  <a:pt x="426" y="366"/>
                </a:cubicBezTo>
                <a:cubicBezTo>
                  <a:pt x="427" y="366"/>
                  <a:pt x="427" y="366"/>
                  <a:pt x="427" y="366"/>
                </a:cubicBezTo>
                <a:cubicBezTo>
                  <a:pt x="426" y="367"/>
                  <a:pt x="426" y="367"/>
                  <a:pt x="426" y="367"/>
                </a:cubicBezTo>
                <a:cubicBezTo>
                  <a:pt x="426" y="368"/>
                  <a:pt x="426" y="368"/>
                  <a:pt x="426" y="368"/>
                </a:cubicBezTo>
                <a:cubicBezTo>
                  <a:pt x="425" y="368"/>
                  <a:pt x="425" y="368"/>
                  <a:pt x="425" y="368"/>
                </a:cubicBezTo>
                <a:cubicBezTo>
                  <a:pt x="424" y="368"/>
                  <a:pt x="424" y="368"/>
                  <a:pt x="424" y="368"/>
                </a:cubicBezTo>
                <a:cubicBezTo>
                  <a:pt x="422" y="371"/>
                  <a:pt x="422" y="371"/>
                  <a:pt x="422" y="371"/>
                </a:cubicBezTo>
                <a:cubicBezTo>
                  <a:pt x="424" y="370"/>
                  <a:pt x="424" y="370"/>
                  <a:pt x="424" y="370"/>
                </a:cubicBezTo>
                <a:cubicBezTo>
                  <a:pt x="425" y="370"/>
                  <a:pt x="425" y="370"/>
                  <a:pt x="425" y="370"/>
                </a:cubicBezTo>
                <a:cubicBezTo>
                  <a:pt x="426" y="369"/>
                  <a:pt x="426" y="369"/>
                  <a:pt x="426" y="369"/>
                </a:cubicBezTo>
                <a:cubicBezTo>
                  <a:pt x="427" y="370"/>
                  <a:pt x="427" y="370"/>
                  <a:pt x="427" y="370"/>
                </a:cubicBezTo>
                <a:cubicBezTo>
                  <a:pt x="427" y="371"/>
                  <a:pt x="427" y="371"/>
                  <a:pt x="427" y="371"/>
                </a:cubicBezTo>
                <a:cubicBezTo>
                  <a:pt x="426" y="371"/>
                  <a:pt x="426" y="371"/>
                  <a:pt x="426" y="371"/>
                </a:cubicBezTo>
                <a:cubicBezTo>
                  <a:pt x="425" y="372"/>
                  <a:pt x="425" y="372"/>
                  <a:pt x="425" y="372"/>
                </a:cubicBezTo>
                <a:cubicBezTo>
                  <a:pt x="425" y="373"/>
                  <a:pt x="425" y="373"/>
                  <a:pt x="425" y="373"/>
                </a:cubicBezTo>
                <a:cubicBezTo>
                  <a:pt x="425" y="372"/>
                  <a:pt x="425" y="372"/>
                  <a:pt x="425" y="372"/>
                </a:cubicBezTo>
                <a:cubicBezTo>
                  <a:pt x="427" y="373"/>
                  <a:pt x="427" y="373"/>
                  <a:pt x="427" y="373"/>
                </a:cubicBezTo>
                <a:cubicBezTo>
                  <a:pt x="427" y="372"/>
                  <a:pt x="427" y="372"/>
                  <a:pt x="427" y="372"/>
                </a:cubicBezTo>
                <a:cubicBezTo>
                  <a:pt x="428" y="373"/>
                  <a:pt x="428" y="373"/>
                  <a:pt x="428" y="373"/>
                </a:cubicBezTo>
                <a:cubicBezTo>
                  <a:pt x="429" y="375"/>
                  <a:pt x="429" y="375"/>
                  <a:pt x="429" y="375"/>
                </a:cubicBezTo>
                <a:cubicBezTo>
                  <a:pt x="428" y="376"/>
                  <a:pt x="428" y="376"/>
                  <a:pt x="428" y="376"/>
                </a:cubicBezTo>
                <a:cubicBezTo>
                  <a:pt x="427" y="376"/>
                  <a:pt x="427" y="376"/>
                  <a:pt x="427" y="376"/>
                </a:cubicBezTo>
                <a:cubicBezTo>
                  <a:pt x="426" y="376"/>
                  <a:pt x="426" y="376"/>
                  <a:pt x="426" y="376"/>
                </a:cubicBezTo>
                <a:cubicBezTo>
                  <a:pt x="425" y="376"/>
                  <a:pt x="425" y="376"/>
                  <a:pt x="425" y="376"/>
                </a:cubicBezTo>
                <a:cubicBezTo>
                  <a:pt x="426" y="377"/>
                  <a:pt x="426" y="377"/>
                  <a:pt x="426" y="377"/>
                </a:cubicBezTo>
                <a:cubicBezTo>
                  <a:pt x="427" y="377"/>
                  <a:pt x="427" y="377"/>
                  <a:pt x="427" y="377"/>
                </a:cubicBezTo>
                <a:cubicBezTo>
                  <a:pt x="427" y="377"/>
                  <a:pt x="427" y="377"/>
                  <a:pt x="427" y="377"/>
                </a:cubicBezTo>
                <a:cubicBezTo>
                  <a:pt x="429" y="377"/>
                  <a:pt x="429" y="377"/>
                  <a:pt x="429" y="377"/>
                </a:cubicBezTo>
                <a:cubicBezTo>
                  <a:pt x="429" y="378"/>
                  <a:pt x="429" y="378"/>
                  <a:pt x="429" y="378"/>
                </a:cubicBezTo>
                <a:cubicBezTo>
                  <a:pt x="429" y="379"/>
                  <a:pt x="429" y="379"/>
                  <a:pt x="429" y="379"/>
                </a:cubicBezTo>
                <a:cubicBezTo>
                  <a:pt x="428" y="379"/>
                  <a:pt x="428" y="379"/>
                  <a:pt x="428" y="379"/>
                </a:cubicBezTo>
                <a:cubicBezTo>
                  <a:pt x="429" y="380"/>
                  <a:pt x="429" y="380"/>
                  <a:pt x="429" y="380"/>
                </a:cubicBezTo>
                <a:cubicBezTo>
                  <a:pt x="430" y="380"/>
                  <a:pt x="430" y="380"/>
                  <a:pt x="430" y="380"/>
                </a:cubicBezTo>
                <a:cubicBezTo>
                  <a:pt x="431" y="381"/>
                  <a:pt x="431" y="381"/>
                  <a:pt x="431" y="381"/>
                </a:cubicBezTo>
                <a:cubicBezTo>
                  <a:pt x="431" y="382"/>
                  <a:pt x="431" y="382"/>
                  <a:pt x="431" y="382"/>
                </a:cubicBezTo>
                <a:cubicBezTo>
                  <a:pt x="430" y="382"/>
                  <a:pt x="430" y="382"/>
                  <a:pt x="430" y="382"/>
                </a:cubicBezTo>
                <a:cubicBezTo>
                  <a:pt x="428" y="384"/>
                  <a:pt x="428" y="384"/>
                  <a:pt x="428" y="384"/>
                </a:cubicBezTo>
                <a:cubicBezTo>
                  <a:pt x="428" y="383"/>
                  <a:pt x="428" y="383"/>
                  <a:pt x="428" y="383"/>
                </a:cubicBezTo>
                <a:cubicBezTo>
                  <a:pt x="427" y="384"/>
                  <a:pt x="427" y="384"/>
                  <a:pt x="427" y="384"/>
                </a:cubicBezTo>
                <a:cubicBezTo>
                  <a:pt x="428" y="384"/>
                  <a:pt x="428" y="384"/>
                  <a:pt x="428" y="384"/>
                </a:cubicBezTo>
                <a:cubicBezTo>
                  <a:pt x="428" y="385"/>
                  <a:pt x="428" y="385"/>
                  <a:pt x="428" y="385"/>
                </a:cubicBezTo>
                <a:cubicBezTo>
                  <a:pt x="427" y="385"/>
                  <a:pt x="427" y="385"/>
                  <a:pt x="427" y="385"/>
                </a:cubicBezTo>
                <a:cubicBezTo>
                  <a:pt x="425" y="384"/>
                  <a:pt x="425" y="384"/>
                  <a:pt x="425" y="384"/>
                </a:cubicBezTo>
                <a:cubicBezTo>
                  <a:pt x="424" y="384"/>
                  <a:pt x="424" y="384"/>
                  <a:pt x="424" y="384"/>
                </a:cubicBezTo>
                <a:cubicBezTo>
                  <a:pt x="425" y="385"/>
                  <a:pt x="425" y="385"/>
                  <a:pt x="425" y="385"/>
                </a:cubicBezTo>
                <a:cubicBezTo>
                  <a:pt x="425" y="386"/>
                  <a:pt x="425" y="386"/>
                  <a:pt x="425" y="386"/>
                </a:cubicBezTo>
                <a:cubicBezTo>
                  <a:pt x="427" y="387"/>
                  <a:pt x="427" y="387"/>
                  <a:pt x="427" y="387"/>
                </a:cubicBezTo>
                <a:cubicBezTo>
                  <a:pt x="427" y="388"/>
                  <a:pt x="427" y="388"/>
                  <a:pt x="427" y="388"/>
                </a:cubicBezTo>
                <a:cubicBezTo>
                  <a:pt x="427" y="389"/>
                  <a:pt x="427" y="389"/>
                  <a:pt x="427" y="389"/>
                </a:cubicBezTo>
                <a:cubicBezTo>
                  <a:pt x="426" y="389"/>
                  <a:pt x="426" y="389"/>
                  <a:pt x="426" y="389"/>
                </a:cubicBezTo>
                <a:cubicBezTo>
                  <a:pt x="425" y="390"/>
                  <a:pt x="425" y="390"/>
                  <a:pt x="425" y="390"/>
                </a:cubicBezTo>
                <a:cubicBezTo>
                  <a:pt x="423" y="390"/>
                  <a:pt x="423" y="390"/>
                  <a:pt x="423" y="390"/>
                </a:cubicBezTo>
                <a:cubicBezTo>
                  <a:pt x="426" y="390"/>
                  <a:pt x="426" y="390"/>
                  <a:pt x="426" y="390"/>
                </a:cubicBezTo>
                <a:cubicBezTo>
                  <a:pt x="426" y="390"/>
                  <a:pt x="426" y="390"/>
                  <a:pt x="426" y="390"/>
                </a:cubicBezTo>
                <a:cubicBezTo>
                  <a:pt x="427" y="390"/>
                  <a:pt x="427" y="390"/>
                  <a:pt x="427" y="390"/>
                </a:cubicBezTo>
                <a:cubicBezTo>
                  <a:pt x="428" y="389"/>
                  <a:pt x="428" y="389"/>
                  <a:pt x="428" y="389"/>
                </a:cubicBezTo>
                <a:cubicBezTo>
                  <a:pt x="429" y="389"/>
                  <a:pt x="429" y="389"/>
                  <a:pt x="429" y="389"/>
                </a:cubicBezTo>
                <a:cubicBezTo>
                  <a:pt x="429" y="390"/>
                  <a:pt x="429" y="390"/>
                  <a:pt x="429" y="390"/>
                </a:cubicBezTo>
                <a:cubicBezTo>
                  <a:pt x="429" y="391"/>
                  <a:pt x="429" y="391"/>
                  <a:pt x="429" y="391"/>
                </a:cubicBezTo>
                <a:cubicBezTo>
                  <a:pt x="429" y="391"/>
                  <a:pt x="429" y="391"/>
                  <a:pt x="429" y="391"/>
                </a:cubicBezTo>
                <a:cubicBezTo>
                  <a:pt x="430" y="391"/>
                  <a:pt x="430" y="391"/>
                  <a:pt x="430" y="391"/>
                </a:cubicBezTo>
                <a:cubicBezTo>
                  <a:pt x="430" y="392"/>
                  <a:pt x="430" y="392"/>
                  <a:pt x="430" y="392"/>
                </a:cubicBezTo>
                <a:cubicBezTo>
                  <a:pt x="430" y="393"/>
                  <a:pt x="430" y="393"/>
                  <a:pt x="430" y="393"/>
                </a:cubicBezTo>
                <a:cubicBezTo>
                  <a:pt x="430" y="393"/>
                  <a:pt x="430" y="393"/>
                  <a:pt x="430" y="393"/>
                </a:cubicBezTo>
                <a:cubicBezTo>
                  <a:pt x="431" y="392"/>
                  <a:pt x="431" y="392"/>
                  <a:pt x="431" y="392"/>
                </a:cubicBezTo>
                <a:cubicBezTo>
                  <a:pt x="432" y="393"/>
                  <a:pt x="432" y="393"/>
                  <a:pt x="432" y="393"/>
                </a:cubicBezTo>
                <a:cubicBezTo>
                  <a:pt x="432" y="393"/>
                  <a:pt x="432" y="393"/>
                  <a:pt x="432" y="393"/>
                </a:cubicBezTo>
                <a:cubicBezTo>
                  <a:pt x="432" y="394"/>
                  <a:pt x="432" y="394"/>
                  <a:pt x="432" y="394"/>
                </a:cubicBezTo>
                <a:cubicBezTo>
                  <a:pt x="432" y="395"/>
                  <a:pt x="432" y="395"/>
                  <a:pt x="432" y="395"/>
                </a:cubicBezTo>
                <a:cubicBezTo>
                  <a:pt x="432" y="396"/>
                  <a:pt x="432" y="396"/>
                  <a:pt x="432" y="396"/>
                </a:cubicBezTo>
                <a:cubicBezTo>
                  <a:pt x="432" y="396"/>
                  <a:pt x="432" y="396"/>
                  <a:pt x="432" y="396"/>
                </a:cubicBezTo>
                <a:cubicBezTo>
                  <a:pt x="434" y="394"/>
                  <a:pt x="434" y="394"/>
                  <a:pt x="434" y="394"/>
                </a:cubicBezTo>
                <a:cubicBezTo>
                  <a:pt x="434" y="394"/>
                  <a:pt x="434" y="394"/>
                  <a:pt x="434" y="394"/>
                </a:cubicBezTo>
                <a:cubicBezTo>
                  <a:pt x="434" y="395"/>
                  <a:pt x="434" y="395"/>
                  <a:pt x="434" y="395"/>
                </a:cubicBezTo>
                <a:cubicBezTo>
                  <a:pt x="434" y="396"/>
                  <a:pt x="434" y="396"/>
                  <a:pt x="434" y="396"/>
                </a:cubicBezTo>
                <a:cubicBezTo>
                  <a:pt x="433" y="397"/>
                  <a:pt x="433" y="397"/>
                  <a:pt x="433" y="397"/>
                </a:cubicBezTo>
                <a:cubicBezTo>
                  <a:pt x="431" y="399"/>
                  <a:pt x="431" y="399"/>
                  <a:pt x="431" y="399"/>
                </a:cubicBezTo>
                <a:cubicBezTo>
                  <a:pt x="430" y="400"/>
                  <a:pt x="430" y="400"/>
                  <a:pt x="430" y="400"/>
                </a:cubicBezTo>
                <a:cubicBezTo>
                  <a:pt x="429" y="400"/>
                  <a:pt x="429" y="400"/>
                  <a:pt x="429" y="400"/>
                </a:cubicBezTo>
                <a:cubicBezTo>
                  <a:pt x="430" y="401"/>
                  <a:pt x="430" y="401"/>
                  <a:pt x="430" y="401"/>
                </a:cubicBezTo>
                <a:cubicBezTo>
                  <a:pt x="431" y="400"/>
                  <a:pt x="431" y="400"/>
                  <a:pt x="431" y="400"/>
                </a:cubicBezTo>
                <a:cubicBezTo>
                  <a:pt x="433" y="398"/>
                  <a:pt x="433" y="398"/>
                  <a:pt x="433" y="398"/>
                </a:cubicBezTo>
                <a:cubicBezTo>
                  <a:pt x="434" y="398"/>
                  <a:pt x="434" y="398"/>
                  <a:pt x="434" y="398"/>
                </a:cubicBezTo>
                <a:cubicBezTo>
                  <a:pt x="434" y="399"/>
                  <a:pt x="434" y="399"/>
                  <a:pt x="434" y="399"/>
                </a:cubicBezTo>
                <a:cubicBezTo>
                  <a:pt x="433" y="400"/>
                  <a:pt x="433" y="400"/>
                  <a:pt x="433" y="400"/>
                </a:cubicBezTo>
                <a:cubicBezTo>
                  <a:pt x="433" y="401"/>
                  <a:pt x="433" y="401"/>
                  <a:pt x="433" y="401"/>
                </a:cubicBezTo>
                <a:cubicBezTo>
                  <a:pt x="433" y="401"/>
                  <a:pt x="433" y="401"/>
                  <a:pt x="433" y="401"/>
                </a:cubicBezTo>
                <a:cubicBezTo>
                  <a:pt x="434" y="400"/>
                  <a:pt x="434" y="400"/>
                  <a:pt x="434" y="400"/>
                </a:cubicBezTo>
                <a:cubicBezTo>
                  <a:pt x="436" y="398"/>
                  <a:pt x="436" y="398"/>
                  <a:pt x="436" y="398"/>
                </a:cubicBezTo>
                <a:cubicBezTo>
                  <a:pt x="437" y="398"/>
                  <a:pt x="437" y="398"/>
                  <a:pt x="437" y="398"/>
                </a:cubicBezTo>
                <a:cubicBezTo>
                  <a:pt x="437" y="399"/>
                  <a:pt x="437" y="399"/>
                  <a:pt x="437" y="399"/>
                </a:cubicBezTo>
                <a:cubicBezTo>
                  <a:pt x="436" y="399"/>
                  <a:pt x="436" y="399"/>
                  <a:pt x="436" y="399"/>
                </a:cubicBezTo>
                <a:cubicBezTo>
                  <a:pt x="435" y="400"/>
                  <a:pt x="435" y="400"/>
                  <a:pt x="435" y="400"/>
                </a:cubicBezTo>
                <a:cubicBezTo>
                  <a:pt x="436" y="400"/>
                  <a:pt x="436" y="400"/>
                  <a:pt x="436" y="400"/>
                </a:cubicBezTo>
                <a:cubicBezTo>
                  <a:pt x="438" y="399"/>
                  <a:pt x="438" y="399"/>
                  <a:pt x="438" y="399"/>
                </a:cubicBezTo>
                <a:cubicBezTo>
                  <a:pt x="438" y="400"/>
                  <a:pt x="438" y="400"/>
                  <a:pt x="438" y="400"/>
                </a:cubicBezTo>
                <a:cubicBezTo>
                  <a:pt x="436" y="401"/>
                  <a:pt x="436" y="401"/>
                  <a:pt x="436" y="401"/>
                </a:cubicBezTo>
                <a:cubicBezTo>
                  <a:pt x="435" y="402"/>
                  <a:pt x="435" y="402"/>
                  <a:pt x="435" y="402"/>
                </a:cubicBezTo>
                <a:cubicBezTo>
                  <a:pt x="436" y="402"/>
                  <a:pt x="436" y="402"/>
                  <a:pt x="436" y="402"/>
                </a:cubicBezTo>
                <a:cubicBezTo>
                  <a:pt x="437" y="401"/>
                  <a:pt x="437" y="401"/>
                  <a:pt x="437" y="401"/>
                </a:cubicBezTo>
                <a:cubicBezTo>
                  <a:pt x="439" y="399"/>
                  <a:pt x="439" y="399"/>
                  <a:pt x="439" y="399"/>
                </a:cubicBezTo>
                <a:cubicBezTo>
                  <a:pt x="440" y="399"/>
                  <a:pt x="440" y="399"/>
                  <a:pt x="440" y="399"/>
                </a:cubicBezTo>
                <a:cubicBezTo>
                  <a:pt x="439" y="400"/>
                  <a:pt x="439" y="400"/>
                  <a:pt x="439" y="400"/>
                </a:cubicBezTo>
                <a:cubicBezTo>
                  <a:pt x="439" y="401"/>
                  <a:pt x="439" y="401"/>
                  <a:pt x="439" y="401"/>
                </a:cubicBezTo>
                <a:cubicBezTo>
                  <a:pt x="441" y="399"/>
                  <a:pt x="441" y="399"/>
                  <a:pt x="441" y="399"/>
                </a:cubicBezTo>
                <a:cubicBezTo>
                  <a:pt x="441" y="400"/>
                  <a:pt x="441" y="400"/>
                  <a:pt x="441" y="400"/>
                </a:cubicBezTo>
                <a:cubicBezTo>
                  <a:pt x="441" y="402"/>
                  <a:pt x="441" y="402"/>
                  <a:pt x="441" y="402"/>
                </a:cubicBezTo>
                <a:cubicBezTo>
                  <a:pt x="440" y="402"/>
                  <a:pt x="440" y="402"/>
                  <a:pt x="440" y="402"/>
                </a:cubicBezTo>
                <a:cubicBezTo>
                  <a:pt x="440" y="403"/>
                  <a:pt x="440" y="403"/>
                  <a:pt x="440" y="403"/>
                </a:cubicBezTo>
                <a:cubicBezTo>
                  <a:pt x="441" y="403"/>
                  <a:pt x="441" y="403"/>
                  <a:pt x="441" y="403"/>
                </a:cubicBezTo>
                <a:cubicBezTo>
                  <a:pt x="443" y="404"/>
                  <a:pt x="443" y="404"/>
                  <a:pt x="443" y="404"/>
                </a:cubicBezTo>
                <a:cubicBezTo>
                  <a:pt x="444" y="403"/>
                  <a:pt x="444" y="403"/>
                  <a:pt x="444" y="403"/>
                </a:cubicBezTo>
                <a:cubicBezTo>
                  <a:pt x="446" y="402"/>
                  <a:pt x="446" y="402"/>
                  <a:pt x="446" y="402"/>
                </a:cubicBezTo>
                <a:cubicBezTo>
                  <a:pt x="446" y="403"/>
                  <a:pt x="446" y="403"/>
                  <a:pt x="446" y="403"/>
                </a:cubicBezTo>
                <a:cubicBezTo>
                  <a:pt x="446" y="404"/>
                  <a:pt x="446" y="404"/>
                  <a:pt x="446" y="404"/>
                </a:cubicBezTo>
                <a:cubicBezTo>
                  <a:pt x="445" y="404"/>
                  <a:pt x="445" y="404"/>
                  <a:pt x="445" y="404"/>
                </a:cubicBezTo>
                <a:cubicBezTo>
                  <a:pt x="445" y="404"/>
                  <a:pt x="445" y="404"/>
                  <a:pt x="445" y="404"/>
                </a:cubicBezTo>
                <a:cubicBezTo>
                  <a:pt x="448" y="405"/>
                  <a:pt x="448" y="405"/>
                  <a:pt x="448" y="405"/>
                </a:cubicBezTo>
                <a:cubicBezTo>
                  <a:pt x="449" y="406"/>
                  <a:pt x="449" y="406"/>
                  <a:pt x="449" y="406"/>
                </a:cubicBezTo>
                <a:cubicBezTo>
                  <a:pt x="447" y="406"/>
                  <a:pt x="447" y="406"/>
                  <a:pt x="447" y="406"/>
                </a:cubicBezTo>
                <a:cubicBezTo>
                  <a:pt x="447" y="407"/>
                  <a:pt x="447" y="407"/>
                  <a:pt x="447" y="407"/>
                </a:cubicBezTo>
                <a:cubicBezTo>
                  <a:pt x="444" y="407"/>
                  <a:pt x="444" y="407"/>
                  <a:pt x="444" y="407"/>
                </a:cubicBezTo>
                <a:cubicBezTo>
                  <a:pt x="444" y="407"/>
                  <a:pt x="444" y="407"/>
                  <a:pt x="444" y="407"/>
                </a:cubicBezTo>
                <a:cubicBezTo>
                  <a:pt x="442" y="408"/>
                  <a:pt x="442" y="408"/>
                  <a:pt x="442" y="408"/>
                </a:cubicBezTo>
                <a:cubicBezTo>
                  <a:pt x="441" y="409"/>
                  <a:pt x="441" y="409"/>
                  <a:pt x="441" y="409"/>
                </a:cubicBezTo>
                <a:cubicBezTo>
                  <a:pt x="438" y="409"/>
                  <a:pt x="438" y="409"/>
                  <a:pt x="438" y="409"/>
                </a:cubicBezTo>
                <a:cubicBezTo>
                  <a:pt x="435" y="409"/>
                  <a:pt x="435" y="409"/>
                  <a:pt x="435" y="409"/>
                </a:cubicBezTo>
                <a:cubicBezTo>
                  <a:pt x="435" y="410"/>
                  <a:pt x="435" y="410"/>
                  <a:pt x="435" y="410"/>
                </a:cubicBezTo>
                <a:cubicBezTo>
                  <a:pt x="437" y="410"/>
                  <a:pt x="437" y="410"/>
                  <a:pt x="437" y="410"/>
                </a:cubicBezTo>
                <a:cubicBezTo>
                  <a:pt x="440" y="409"/>
                  <a:pt x="440" y="409"/>
                  <a:pt x="440" y="409"/>
                </a:cubicBezTo>
                <a:cubicBezTo>
                  <a:pt x="441" y="409"/>
                  <a:pt x="441" y="409"/>
                  <a:pt x="441" y="409"/>
                </a:cubicBezTo>
                <a:cubicBezTo>
                  <a:pt x="441" y="410"/>
                  <a:pt x="441" y="410"/>
                  <a:pt x="441" y="410"/>
                </a:cubicBezTo>
                <a:cubicBezTo>
                  <a:pt x="438" y="410"/>
                  <a:pt x="438" y="410"/>
                  <a:pt x="438" y="410"/>
                </a:cubicBezTo>
                <a:cubicBezTo>
                  <a:pt x="436" y="411"/>
                  <a:pt x="436" y="411"/>
                  <a:pt x="436" y="411"/>
                </a:cubicBezTo>
                <a:cubicBezTo>
                  <a:pt x="434" y="412"/>
                  <a:pt x="434" y="412"/>
                  <a:pt x="434" y="412"/>
                </a:cubicBezTo>
                <a:cubicBezTo>
                  <a:pt x="433" y="412"/>
                  <a:pt x="433" y="412"/>
                  <a:pt x="433" y="412"/>
                </a:cubicBezTo>
                <a:cubicBezTo>
                  <a:pt x="432" y="412"/>
                  <a:pt x="432" y="412"/>
                  <a:pt x="432" y="412"/>
                </a:cubicBezTo>
                <a:cubicBezTo>
                  <a:pt x="432" y="414"/>
                  <a:pt x="432" y="414"/>
                  <a:pt x="432" y="414"/>
                </a:cubicBezTo>
                <a:cubicBezTo>
                  <a:pt x="431" y="414"/>
                  <a:pt x="431" y="414"/>
                  <a:pt x="431" y="414"/>
                </a:cubicBezTo>
                <a:cubicBezTo>
                  <a:pt x="429" y="413"/>
                  <a:pt x="429" y="413"/>
                  <a:pt x="429" y="413"/>
                </a:cubicBezTo>
                <a:cubicBezTo>
                  <a:pt x="428" y="410"/>
                  <a:pt x="428" y="410"/>
                  <a:pt x="428" y="410"/>
                </a:cubicBezTo>
                <a:cubicBezTo>
                  <a:pt x="428" y="412"/>
                  <a:pt x="428" y="412"/>
                  <a:pt x="428" y="412"/>
                </a:cubicBezTo>
                <a:cubicBezTo>
                  <a:pt x="427" y="412"/>
                  <a:pt x="427" y="412"/>
                  <a:pt x="427" y="412"/>
                </a:cubicBezTo>
                <a:cubicBezTo>
                  <a:pt x="428" y="413"/>
                  <a:pt x="428" y="413"/>
                  <a:pt x="428" y="413"/>
                </a:cubicBezTo>
                <a:cubicBezTo>
                  <a:pt x="428" y="413"/>
                  <a:pt x="428" y="413"/>
                  <a:pt x="428" y="413"/>
                </a:cubicBezTo>
                <a:cubicBezTo>
                  <a:pt x="431" y="415"/>
                  <a:pt x="431" y="415"/>
                  <a:pt x="431" y="415"/>
                </a:cubicBezTo>
                <a:cubicBezTo>
                  <a:pt x="431" y="416"/>
                  <a:pt x="431" y="416"/>
                  <a:pt x="431" y="416"/>
                </a:cubicBezTo>
                <a:cubicBezTo>
                  <a:pt x="430" y="416"/>
                  <a:pt x="430" y="416"/>
                  <a:pt x="430" y="416"/>
                </a:cubicBezTo>
                <a:cubicBezTo>
                  <a:pt x="429" y="416"/>
                  <a:pt x="429" y="416"/>
                  <a:pt x="429" y="416"/>
                </a:cubicBezTo>
                <a:cubicBezTo>
                  <a:pt x="430" y="417"/>
                  <a:pt x="430" y="417"/>
                  <a:pt x="430" y="417"/>
                </a:cubicBezTo>
                <a:cubicBezTo>
                  <a:pt x="430" y="418"/>
                  <a:pt x="430" y="418"/>
                  <a:pt x="430" y="418"/>
                </a:cubicBezTo>
                <a:cubicBezTo>
                  <a:pt x="431" y="417"/>
                  <a:pt x="431" y="417"/>
                  <a:pt x="431" y="417"/>
                </a:cubicBezTo>
                <a:cubicBezTo>
                  <a:pt x="431" y="417"/>
                  <a:pt x="431" y="417"/>
                  <a:pt x="431" y="417"/>
                </a:cubicBezTo>
                <a:cubicBezTo>
                  <a:pt x="432" y="415"/>
                  <a:pt x="432" y="415"/>
                  <a:pt x="432" y="415"/>
                </a:cubicBezTo>
                <a:cubicBezTo>
                  <a:pt x="434" y="415"/>
                  <a:pt x="434" y="415"/>
                  <a:pt x="434" y="415"/>
                </a:cubicBezTo>
                <a:cubicBezTo>
                  <a:pt x="436" y="414"/>
                  <a:pt x="436" y="414"/>
                  <a:pt x="436" y="414"/>
                </a:cubicBezTo>
                <a:cubicBezTo>
                  <a:pt x="437" y="414"/>
                  <a:pt x="437" y="414"/>
                  <a:pt x="437" y="414"/>
                </a:cubicBezTo>
                <a:cubicBezTo>
                  <a:pt x="437" y="413"/>
                  <a:pt x="437" y="413"/>
                  <a:pt x="437" y="413"/>
                </a:cubicBezTo>
                <a:cubicBezTo>
                  <a:pt x="438" y="411"/>
                  <a:pt x="438" y="411"/>
                  <a:pt x="438" y="411"/>
                </a:cubicBezTo>
                <a:cubicBezTo>
                  <a:pt x="440" y="411"/>
                  <a:pt x="440" y="411"/>
                  <a:pt x="440" y="411"/>
                </a:cubicBezTo>
                <a:cubicBezTo>
                  <a:pt x="442" y="410"/>
                  <a:pt x="442" y="410"/>
                  <a:pt x="442" y="410"/>
                </a:cubicBezTo>
                <a:cubicBezTo>
                  <a:pt x="443" y="410"/>
                  <a:pt x="443" y="410"/>
                  <a:pt x="443" y="410"/>
                </a:cubicBezTo>
                <a:cubicBezTo>
                  <a:pt x="445" y="410"/>
                  <a:pt x="445" y="410"/>
                  <a:pt x="445" y="410"/>
                </a:cubicBezTo>
                <a:cubicBezTo>
                  <a:pt x="444" y="410"/>
                  <a:pt x="444" y="410"/>
                  <a:pt x="444" y="410"/>
                </a:cubicBezTo>
                <a:cubicBezTo>
                  <a:pt x="443" y="410"/>
                  <a:pt x="443" y="410"/>
                  <a:pt x="443" y="410"/>
                </a:cubicBezTo>
                <a:cubicBezTo>
                  <a:pt x="442" y="410"/>
                  <a:pt x="442" y="410"/>
                  <a:pt x="442" y="410"/>
                </a:cubicBezTo>
                <a:cubicBezTo>
                  <a:pt x="443" y="409"/>
                  <a:pt x="443" y="409"/>
                  <a:pt x="443" y="409"/>
                </a:cubicBezTo>
                <a:cubicBezTo>
                  <a:pt x="446" y="409"/>
                  <a:pt x="446" y="409"/>
                  <a:pt x="446" y="409"/>
                </a:cubicBezTo>
                <a:cubicBezTo>
                  <a:pt x="448" y="409"/>
                  <a:pt x="448" y="409"/>
                  <a:pt x="448" y="409"/>
                </a:cubicBezTo>
                <a:cubicBezTo>
                  <a:pt x="449" y="411"/>
                  <a:pt x="449" y="411"/>
                  <a:pt x="449" y="411"/>
                </a:cubicBezTo>
                <a:cubicBezTo>
                  <a:pt x="449" y="413"/>
                  <a:pt x="449" y="413"/>
                  <a:pt x="449" y="413"/>
                </a:cubicBezTo>
                <a:cubicBezTo>
                  <a:pt x="447" y="414"/>
                  <a:pt x="447" y="414"/>
                  <a:pt x="447" y="414"/>
                </a:cubicBezTo>
                <a:cubicBezTo>
                  <a:pt x="447" y="414"/>
                  <a:pt x="447" y="414"/>
                  <a:pt x="447" y="414"/>
                </a:cubicBezTo>
                <a:cubicBezTo>
                  <a:pt x="446" y="415"/>
                  <a:pt x="446" y="415"/>
                  <a:pt x="446" y="415"/>
                </a:cubicBezTo>
                <a:cubicBezTo>
                  <a:pt x="447" y="415"/>
                  <a:pt x="447" y="415"/>
                  <a:pt x="447" y="415"/>
                </a:cubicBezTo>
                <a:cubicBezTo>
                  <a:pt x="448" y="416"/>
                  <a:pt x="448" y="416"/>
                  <a:pt x="448" y="416"/>
                </a:cubicBezTo>
                <a:cubicBezTo>
                  <a:pt x="448" y="415"/>
                  <a:pt x="448" y="415"/>
                  <a:pt x="448" y="415"/>
                </a:cubicBezTo>
                <a:cubicBezTo>
                  <a:pt x="449" y="414"/>
                  <a:pt x="449" y="414"/>
                  <a:pt x="449" y="414"/>
                </a:cubicBezTo>
                <a:cubicBezTo>
                  <a:pt x="451" y="413"/>
                  <a:pt x="451" y="413"/>
                  <a:pt x="451" y="413"/>
                </a:cubicBezTo>
                <a:cubicBezTo>
                  <a:pt x="452" y="413"/>
                  <a:pt x="452" y="413"/>
                  <a:pt x="452" y="413"/>
                </a:cubicBezTo>
                <a:cubicBezTo>
                  <a:pt x="452" y="414"/>
                  <a:pt x="452" y="414"/>
                  <a:pt x="452" y="414"/>
                </a:cubicBezTo>
                <a:cubicBezTo>
                  <a:pt x="452" y="414"/>
                  <a:pt x="452" y="414"/>
                  <a:pt x="452" y="414"/>
                </a:cubicBezTo>
                <a:cubicBezTo>
                  <a:pt x="452" y="415"/>
                  <a:pt x="452" y="415"/>
                  <a:pt x="452" y="415"/>
                </a:cubicBezTo>
                <a:cubicBezTo>
                  <a:pt x="453" y="415"/>
                  <a:pt x="453" y="415"/>
                  <a:pt x="453" y="415"/>
                </a:cubicBezTo>
                <a:cubicBezTo>
                  <a:pt x="455" y="416"/>
                  <a:pt x="455" y="416"/>
                  <a:pt x="455" y="416"/>
                </a:cubicBezTo>
                <a:cubicBezTo>
                  <a:pt x="455" y="416"/>
                  <a:pt x="455" y="416"/>
                  <a:pt x="455" y="416"/>
                </a:cubicBezTo>
                <a:cubicBezTo>
                  <a:pt x="454" y="416"/>
                  <a:pt x="454" y="416"/>
                  <a:pt x="454" y="416"/>
                </a:cubicBezTo>
                <a:cubicBezTo>
                  <a:pt x="453" y="416"/>
                  <a:pt x="453" y="416"/>
                  <a:pt x="453" y="416"/>
                </a:cubicBezTo>
                <a:cubicBezTo>
                  <a:pt x="454" y="417"/>
                  <a:pt x="454" y="417"/>
                  <a:pt x="454" y="417"/>
                </a:cubicBezTo>
                <a:cubicBezTo>
                  <a:pt x="455" y="418"/>
                  <a:pt x="455" y="418"/>
                  <a:pt x="455" y="418"/>
                </a:cubicBezTo>
                <a:cubicBezTo>
                  <a:pt x="456" y="419"/>
                  <a:pt x="456" y="419"/>
                  <a:pt x="456" y="419"/>
                </a:cubicBezTo>
                <a:cubicBezTo>
                  <a:pt x="455" y="419"/>
                  <a:pt x="455" y="419"/>
                  <a:pt x="455" y="419"/>
                </a:cubicBezTo>
                <a:cubicBezTo>
                  <a:pt x="454" y="419"/>
                  <a:pt x="454" y="419"/>
                  <a:pt x="454" y="419"/>
                </a:cubicBezTo>
                <a:cubicBezTo>
                  <a:pt x="453" y="420"/>
                  <a:pt x="453" y="420"/>
                  <a:pt x="453" y="420"/>
                </a:cubicBezTo>
                <a:cubicBezTo>
                  <a:pt x="455" y="421"/>
                  <a:pt x="455" y="421"/>
                  <a:pt x="455" y="421"/>
                </a:cubicBezTo>
                <a:cubicBezTo>
                  <a:pt x="454" y="422"/>
                  <a:pt x="454" y="422"/>
                  <a:pt x="454" y="422"/>
                </a:cubicBezTo>
                <a:cubicBezTo>
                  <a:pt x="453" y="422"/>
                  <a:pt x="453" y="422"/>
                  <a:pt x="453" y="422"/>
                </a:cubicBezTo>
                <a:cubicBezTo>
                  <a:pt x="453" y="423"/>
                  <a:pt x="453" y="423"/>
                  <a:pt x="453" y="423"/>
                </a:cubicBezTo>
                <a:cubicBezTo>
                  <a:pt x="452" y="424"/>
                  <a:pt x="452" y="424"/>
                  <a:pt x="452" y="424"/>
                </a:cubicBezTo>
                <a:cubicBezTo>
                  <a:pt x="450" y="423"/>
                  <a:pt x="450" y="423"/>
                  <a:pt x="450" y="423"/>
                </a:cubicBezTo>
                <a:cubicBezTo>
                  <a:pt x="451" y="424"/>
                  <a:pt x="451" y="424"/>
                  <a:pt x="451" y="424"/>
                </a:cubicBezTo>
                <a:cubicBezTo>
                  <a:pt x="453" y="425"/>
                  <a:pt x="453" y="425"/>
                  <a:pt x="453" y="425"/>
                </a:cubicBezTo>
                <a:cubicBezTo>
                  <a:pt x="454" y="424"/>
                  <a:pt x="454" y="424"/>
                  <a:pt x="454" y="424"/>
                </a:cubicBezTo>
                <a:cubicBezTo>
                  <a:pt x="455" y="425"/>
                  <a:pt x="455" y="425"/>
                  <a:pt x="455" y="425"/>
                </a:cubicBezTo>
                <a:cubicBezTo>
                  <a:pt x="454" y="426"/>
                  <a:pt x="454" y="426"/>
                  <a:pt x="454" y="426"/>
                </a:cubicBezTo>
                <a:cubicBezTo>
                  <a:pt x="453" y="426"/>
                  <a:pt x="453" y="426"/>
                  <a:pt x="453" y="426"/>
                </a:cubicBezTo>
                <a:cubicBezTo>
                  <a:pt x="452" y="426"/>
                  <a:pt x="452" y="426"/>
                  <a:pt x="452" y="426"/>
                </a:cubicBezTo>
                <a:cubicBezTo>
                  <a:pt x="453" y="426"/>
                  <a:pt x="453" y="426"/>
                  <a:pt x="453" y="426"/>
                </a:cubicBezTo>
                <a:cubicBezTo>
                  <a:pt x="454" y="426"/>
                  <a:pt x="454" y="426"/>
                  <a:pt x="454" y="426"/>
                </a:cubicBezTo>
                <a:cubicBezTo>
                  <a:pt x="455" y="426"/>
                  <a:pt x="455" y="426"/>
                  <a:pt x="455" y="426"/>
                </a:cubicBezTo>
                <a:cubicBezTo>
                  <a:pt x="454" y="428"/>
                  <a:pt x="454" y="428"/>
                  <a:pt x="454" y="428"/>
                </a:cubicBezTo>
                <a:cubicBezTo>
                  <a:pt x="454" y="429"/>
                  <a:pt x="454" y="429"/>
                  <a:pt x="454" y="429"/>
                </a:cubicBezTo>
                <a:cubicBezTo>
                  <a:pt x="453" y="429"/>
                  <a:pt x="453" y="429"/>
                  <a:pt x="453" y="429"/>
                </a:cubicBezTo>
                <a:cubicBezTo>
                  <a:pt x="452" y="430"/>
                  <a:pt x="452" y="430"/>
                  <a:pt x="452" y="430"/>
                </a:cubicBezTo>
                <a:cubicBezTo>
                  <a:pt x="451" y="431"/>
                  <a:pt x="451" y="431"/>
                  <a:pt x="451" y="431"/>
                </a:cubicBezTo>
                <a:cubicBezTo>
                  <a:pt x="449" y="431"/>
                  <a:pt x="449" y="431"/>
                  <a:pt x="449" y="431"/>
                </a:cubicBezTo>
                <a:cubicBezTo>
                  <a:pt x="448" y="432"/>
                  <a:pt x="448" y="432"/>
                  <a:pt x="448" y="432"/>
                </a:cubicBezTo>
                <a:cubicBezTo>
                  <a:pt x="448" y="432"/>
                  <a:pt x="448" y="432"/>
                  <a:pt x="448" y="432"/>
                </a:cubicBezTo>
                <a:cubicBezTo>
                  <a:pt x="447" y="433"/>
                  <a:pt x="447" y="433"/>
                  <a:pt x="447" y="433"/>
                </a:cubicBezTo>
                <a:cubicBezTo>
                  <a:pt x="446" y="433"/>
                  <a:pt x="446" y="433"/>
                  <a:pt x="446" y="433"/>
                </a:cubicBezTo>
                <a:cubicBezTo>
                  <a:pt x="446" y="434"/>
                  <a:pt x="446" y="434"/>
                  <a:pt x="446" y="434"/>
                </a:cubicBezTo>
                <a:cubicBezTo>
                  <a:pt x="445" y="434"/>
                  <a:pt x="445" y="434"/>
                  <a:pt x="445" y="434"/>
                </a:cubicBezTo>
                <a:cubicBezTo>
                  <a:pt x="444" y="433"/>
                  <a:pt x="444" y="433"/>
                  <a:pt x="444" y="433"/>
                </a:cubicBezTo>
                <a:cubicBezTo>
                  <a:pt x="443" y="434"/>
                  <a:pt x="443" y="434"/>
                  <a:pt x="443" y="434"/>
                </a:cubicBezTo>
                <a:cubicBezTo>
                  <a:pt x="442" y="434"/>
                  <a:pt x="442" y="434"/>
                  <a:pt x="442" y="434"/>
                </a:cubicBezTo>
                <a:cubicBezTo>
                  <a:pt x="442" y="433"/>
                  <a:pt x="442" y="433"/>
                  <a:pt x="442" y="433"/>
                </a:cubicBezTo>
                <a:cubicBezTo>
                  <a:pt x="440" y="434"/>
                  <a:pt x="440" y="434"/>
                  <a:pt x="440" y="434"/>
                </a:cubicBezTo>
                <a:cubicBezTo>
                  <a:pt x="439" y="434"/>
                  <a:pt x="439" y="434"/>
                  <a:pt x="439" y="434"/>
                </a:cubicBezTo>
                <a:cubicBezTo>
                  <a:pt x="438" y="433"/>
                  <a:pt x="438" y="433"/>
                  <a:pt x="438" y="433"/>
                </a:cubicBezTo>
                <a:cubicBezTo>
                  <a:pt x="438" y="433"/>
                  <a:pt x="438" y="433"/>
                  <a:pt x="438" y="433"/>
                </a:cubicBezTo>
                <a:cubicBezTo>
                  <a:pt x="438" y="434"/>
                  <a:pt x="438" y="434"/>
                  <a:pt x="438" y="434"/>
                </a:cubicBezTo>
                <a:cubicBezTo>
                  <a:pt x="437" y="435"/>
                  <a:pt x="437" y="435"/>
                  <a:pt x="437" y="435"/>
                </a:cubicBezTo>
                <a:cubicBezTo>
                  <a:pt x="436" y="434"/>
                  <a:pt x="436" y="434"/>
                  <a:pt x="436" y="434"/>
                </a:cubicBezTo>
                <a:cubicBezTo>
                  <a:pt x="435" y="435"/>
                  <a:pt x="435" y="435"/>
                  <a:pt x="435" y="435"/>
                </a:cubicBezTo>
                <a:cubicBezTo>
                  <a:pt x="436" y="435"/>
                  <a:pt x="436" y="435"/>
                  <a:pt x="436" y="435"/>
                </a:cubicBezTo>
                <a:cubicBezTo>
                  <a:pt x="436" y="436"/>
                  <a:pt x="436" y="436"/>
                  <a:pt x="436" y="436"/>
                </a:cubicBezTo>
                <a:cubicBezTo>
                  <a:pt x="435" y="437"/>
                  <a:pt x="435" y="437"/>
                  <a:pt x="435" y="437"/>
                </a:cubicBezTo>
                <a:cubicBezTo>
                  <a:pt x="434" y="437"/>
                  <a:pt x="434" y="437"/>
                  <a:pt x="434" y="437"/>
                </a:cubicBezTo>
                <a:cubicBezTo>
                  <a:pt x="434" y="438"/>
                  <a:pt x="434" y="438"/>
                  <a:pt x="434" y="438"/>
                </a:cubicBezTo>
                <a:cubicBezTo>
                  <a:pt x="433" y="439"/>
                  <a:pt x="433" y="439"/>
                  <a:pt x="433" y="439"/>
                </a:cubicBezTo>
                <a:cubicBezTo>
                  <a:pt x="432" y="439"/>
                  <a:pt x="432" y="439"/>
                  <a:pt x="432" y="439"/>
                </a:cubicBezTo>
                <a:cubicBezTo>
                  <a:pt x="432" y="440"/>
                  <a:pt x="432" y="440"/>
                  <a:pt x="432" y="440"/>
                </a:cubicBezTo>
                <a:cubicBezTo>
                  <a:pt x="431" y="440"/>
                  <a:pt x="431" y="440"/>
                  <a:pt x="431" y="440"/>
                </a:cubicBezTo>
                <a:cubicBezTo>
                  <a:pt x="430" y="442"/>
                  <a:pt x="430" y="442"/>
                  <a:pt x="430" y="442"/>
                </a:cubicBezTo>
                <a:cubicBezTo>
                  <a:pt x="429" y="441"/>
                  <a:pt x="429" y="441"/>
                  <a:pt x="429" y="441"/>
                </a:cubicBezTo>
                <a:cubicBezTo>
                  <a:pt x="429" y="442"/>
                  <a:pt x="429" y="442"/>
                  <a:pt x="429" y="442"/>
                </a:cubicBezTo>
                <a:cubicBezTo>
                  <a:pt x="427" y="442"/>
                  <a:pt x="427" y="442"/>
                  <a:pt x="427" y="442"/>
                </a:cubicBezTo>
                <a:cubicBezTo>
                  <a:pt x="427" y="443"/>
                  <a:pt x="427" y="443"/>
                  <a:pt x="427" y="443"/>
                </a:cubicBezTo>
                <a:cubicBezTo>
                  <a:pt x="426" y="443"/>
                  <a:pt x="426" y="443"/>
                  <a:pt x="426" y="443"/>
                </a:cubicBezTo>
                <a:cubicBezTo>
                  <a:pt x="425" y="443"/>
                  <a:pt x="425" y="443"/>
                  <a:pt x="425" y="443"/>
                </a:cubicBezTo>
                <a:cubicBezTo>
                  <a:pt x="423" y="443"/>
                  <a:pt x="423" y="443"/>
                  <a:pt x="423" y="443"/>
                </a:cubicBezTo>
                <a:cubicBezTo>
                  <a:pt x="423" y="442"/>
                  <a:pt x="423" y="442"/>
                  <a:pt x="423" y="442"/>
                </a:cubicBezTo>
                <a:cubicBezTo>
                  <a:pt x="421" y="443"/>
                  <a:pt x="421" y="443"/>
                  <a:pt x="421" y="443"/>
                </a:cubicBezTo>
                <a:cubicBezTo>
                  <a:pt x="420" y="443"/>
                  <a:pt x="420" y="443"/>
                  <a:pt x="420" y="443"/>
                </a:cubicBezTo>
                <a:cubicBezTo>
                  <a:pt x="418" y="444"/>
                  <a:pt x="418" y="444"/>
                  <a:pt x="418" y="444"/>
                </a:cubicBezTo>
                <a:cubicBezTo>
                  <a:pt x="416" y="443"/>
                  <a:pt x="416" y="443"/>
                  <a:pt x="416" y="443"/>
                </a:cubicBezTo>
                <a:cubicBezTo>
                  <a:pt x="417" y="443"/>
                  <a:pt x="417" y="443"/>
                  <a:pt x="417" y="443"/>
                </a:cubicBezTo>
                <a:cubicBezTo>
                  <a:pt x="416" y="442"/>
                  <a:pt x="416" y="442"/>
                  <a:pt x="416" y="442"/>
                </a:cubicBezTo>
                <a:cubicBezTo>
                  <a:pt x="415" y="443"/>
                  <a:pt x="415" y="443"/>
                  <a:pt x="415" y="443"/>
                </a:cubicBezTo>
                <a:cubicBezTo>
                  <a:pt x="414" y="443"/>
                  <a:pt x="414" y="443"/>
                  <a:pt x="414" y="443"/>
                </a:cubicBezTo>
                <a:cubicBezTo>
                  <a:pt x="412" y="442"/>
                  <a:pt x="412" y="442"/>
                  <a:pt x="412" y="442"/>
                </a:cubicBezTo>
                <a:cubicBezTo>
                  <a:pt x="411" y="442"/>
                  <a:pt x="411" y="442"/>
                  <a:pt x="411" y="442"/>
                </a:cubicBezTo>
                <a:cubicBezTo>
                  <a:pt x="410" y="442"/>
                  <a:pt x="410" y="442"/>
                  <a:pt x="410" y="442"/>
                </a:cubicBezTo>
                <a:cubicBezTo>
                  <a:pt x="409" y="441"/>
                  <a:pt x="409" y="441"/>
                  <a:pt x="409" y="441"/>
                </a:cubicBezTo>
                <a:cubicBezTo>
                  <a:pt x="408" y="441"/>
                  <a:pt x="408" y="441"/>
                  <a:pt x="408" y="441"/>
                </a:cubicBezTo>
                <a:cubicBezTo>
                  <a:pt x="407" y="442"/>
                  <a:pt x="407" y="442"/>
                  <a:pt x="407" y="442"/>
                </a:cubicBezTo>
                <a:cubicBezTo>
                  <a:pt x="405" y="442"/>
                  <a:pt x="405" y="442"/>
                  <a:pt x="405" y="442"/>
                </a:cubicBezTo>
                <a:cubicBezTo>
                  <a:pt x="404" y="441"/>
                  <a:pt x="404" y="441"/>
                  <a:pt x="404" y="441"/>
                </a:cubicBezTo>
                <a:cubicBezTo>
                  <a:pt x="403" y="442"/>
                  <a:pt x="403" y="442"/>
                  <a:pt x="403" y="442"/>
                </a:cubicBezTo>
                <a:cubicBezTo>
                  <a:pt x="402" y="442"/>
                  <a:pt x="402" y="442"/>
                  <a:pt x="402" y="442"/>
                </a:cubicBezTo>
                <a:cubicBezTo>
                  <a:pt x="401" y="441"/>
                  <a:pt x="401" y="441"/>
                  <a:pt x="401" y="441"/>
                </a:cubicBezTo>
                <a:cubicBezTo>
                  <a:pt x="400" y="442"/>
                  <a:pt x="400" y="442"/>
                  <a:pt x="400" y="442"/>
                </a:cubicBezTo>
                <a:cubicBezTo>
                  <a:pt x="399" y="441"/>
                  <a:pt x="399" y="441"/>
                  <a:pt x="399" y="441"/>
                </a:cubicBezTo>
                <a:cubicBezTo>
                  <a:pt x="398" y="441"/>
                  <a:pt x="398" y="441"/>
                  <a:pt x="398" y="441"/>
                </a:cubicBezTo>
                <a:cubicBezTo>
                  <a:pt x="396" y="441"/>
                  <a:pt x="396" y="441"/>
                  <a:pt x="396" y="441"/>
                </a:cubicBezTo>
                <a:cubicBezTo>
                  <a:pt x="394" y="441"/>
                  <a:pt x="394" y="441"/>
                  <a:pt x="394" y="441"/>
                </a:cubicBezTo>
                <a:cubicBezTo>
                  <a:pt x="392" y="441"/>
                  <a:pt x="392" y="441"/>
                  <a:pt x="392" y="441"/>
                </a:cubicBezTo>
                <a:cubicBezTo>
                  <a:pt x="391" y="439"/>
                  <a:pt x="391" y="439"/>
                  <a:pt x="391" y="439"/>
                </a:cubicBezTo>
                <a:cubicBezTo>
                  <a:pt x="390" y="440"/>
                  <a:pt x="390" y="440"/>
                  <a:pt x="390" y="440"/>
                </a:cubicBezTo>
                <a:cubicBezTo>
                  <a:pt x="389" y="441"/>
                  <a:pt x="389" y="441"/>
                  <a:pt x="389" y="441"/>
                </a:cubicBezTo>
                <a:cubicBezTo>
                  <a:pt x="390" y="441"/>
                  <a:pt x="390" y="441"/>
                  <a:pt x="390" y="441"/>
                </a:cubicBezTo>
                <a:cubicBezTo>
                  <a:pt x="389" y="442"/>
                  <a:pt x="389" y="442"/>
                  <a:pt x="389" y="442"/>
                </a:cubicBezTo>
                <a:cubicBezTo>
                  <a:pt x="388" y="442"/>
                  <a:pt x="388" y="442"/>
                  <a:pt x="388" y="442"/>
                </a:cubicBezTo>
                <a:cubicBezTo>
                  <a:pt x="386" y="444"/>
                  <a:pt x="386" y="444"/>
                  <a:pt x="386" y="444"/>
                </a:cubicBezTo>
                <a:cubicBezTo>
                  <a:pt x="384" y="445"/>
                  <a:pt x="384" y="445"/>
                  <a:pt x="384" y="445"/>
                </a:cubicBezTo>
                <a:cubicBezTo>
                  <a:pt x="384" y="446"/>
                  <a:pt x="384" y="446"/>
                  <a:pt x="384" y="446"/>
                </a:cubicBezTo>
                <a:cubicBezTo>
                  <a:pt x="384" y="446"/>
                  <a:pt x="384" y="446"/>
                  <a:pt x="384" y="446"/>
                </a:cubicBezTo>
                <a:cubicBezTo>
                  <a:pt x="384" y="448"/>
                  <a:pt x="384" y="448"/>
                  <a:pt x="384" y="448"/>
                </a:cubicBezTo>
                <a:cubicBezTo>
                  <a:pt x="383" y="449"/>
                  <a:pt x="383" y="449"/>
                  <a:pt x="383" y="449"/>
                </a:cubicBezTo>
                <a:cubicBezTo>
                  <a:pt x="381" y="449"/>
                  <a:pt x="381" y="449"/>
                  <a:pt x="381" y="449"/>
                </a:cubicBezTo>
                <a:cubicBezTo>
                  <a:pt x="380" y="449"/>
                  <a:pt x="380" y="449"/>
                  <a:pt x="380" y="449"/>
                </a:cubicBezTo>
                <a:cubicBezTo>
                  <a:pt x="378" y="450"/>
                  <a:pt x="378" y="450"/>
                  <a:pt x="378" y="450"/>
                </a:cubicBezTo>
                <a:cubicBezTo>
                  <a:pt x="377" y="451"/>
                  <a:pt x="377" y="451"/>
                  <a:pt x="377" y="451"/>
                </a:cubicBezTo>
                <a:cubicBezTo>
                  <a:pt x="376" y="451"/>
                  <a:pt x="376" y="451"/>
                  <a:pt x="376" y="451"/>
                </a:cubicBezTo>
                <a:cubicBezTo>
                  <a:pt x="376" y="451"/>
                  <a:pt x="376" y="451"/>
                  <a:pt x="376" y="451"/>
                </a:cubicBezTo>
                <a:cubicBezTo>
                  <a:pt x="375" y="451"/>
                  <a:pt x="375" y="451"/>
                  <a:pt x="375" y="451"/>
                </a:cubicBezTo>
                <a:cubicBezTo>
                  <a:pt x="374" y="453"/>
                  <a:pt x="374" y="453"/>
                  <a:pt x="374" y="453"/>
                </a:cubicBezTo>
                <a:cubicBezTo>
                  <a:pt x="373" y="453"/>
                  <a:pt x="373" y="453"/>
                  <a:pt x="373" y="453"/>
                </a:cubicBezTo>
                <a:cubicBezTo>
                  <a:pt x="371" y="454"/>
                  <a:pt x="371" y="454"/>
                  <a:pt x="371" y="454"/>
                </a:cubicBezTo>
                <a:cubicBezTo>
                  <a:pt x="371" y="454"/>
                  <a:pt x="371" y="454"/>
                  <a:pt x="371" y="454"/>
                </a:cubicBezTo>
                <a:cubicBezTo>
                  <a:pt x="370" y="455"/>
                  <a:pt x="370" y="455"/>
                  <a:pt x="370" y="455"/>
                </a:cubicBezTo>
                <a:cubicBezTo>
                  <a:pt x="369" y="457"/>
                  <a:pt x="369" y="457"/>
                  <a:pt x="369" y="457"/>
                </a:cubicBezTo>
                <a:cubicBezTo>
                  <a:pt x="366" y="458"/>
                  <a:pt x="366" y="458"/>
                  <a:pt x="366" y="458"/>
                </a:cubicBezTo>
                <a:cubicBezTo>
                  <a:pt x="366" y="460"/>
                  <a:pt x="366" y="460"/>
                  <a:pt x="366" y="460"/>
                </a:cubicBezTo>
                <a:cubicBezTo>
                  <a:pt x="364" y="461"/>
                  <a:pt x="364" y="461"/>
                  <a:pt x="364" y="461"/>
                </a:cubicBezTo>
                <a:cubicBezTo>
                  <a:pt x="363" y="463"/>
                  <a:pt x="363" y="463"/>
                  <a:pt x="363" y="463"/>
                </a:cubicBezTo>
                <a:cubicBezTo>
                  <a:pt x="362" y="463"/>
                  <a:pt x="362" y="463"/>
                  <a:pt x="362" y="463"/>
                </a:cubicBezTo>
                <a:cubicBezTo>
                  <a:pt x="361" y="465"/>
                  <a:pt x="361" y="465"/>
                  <a:pt x="361" y="465"/>
                </a:cubicBezTo>
                <a:cubicBezTo>
                  <a:pt x="360" y="466"/>
                  <a:pt x="360" y="466"/>
                  <a:pt x="360" y="466"/>
                </a:cubicBezTo>
                <a:cubicBezTo>
                  <a:pt x="357" y="468"/>
                  <a:pt x="357" y="468"/>
                  <a:pt x="357" y="468"/>
                </a:cubicBezTo>
                <a:cubicBezTo>
                  <a:pt x="357" y="469"/>
                  <a:pt x="357" y="469"/>
                  <a:pt x="357" y="469"/>
                </a:cubicBezTo>
                <a:cubicBezTo>
                  <a:pt x="354" y="470"/>
                  <a:pt x="354" y="470"/>
                  <a:pt x="354" y="470"/>
                </a:cubicBezTo>
                <a:cubicBezTo>
                  <a:pt x="352" y="470"/>
                  <a:pt x="352" y="470"/>
                  <a:pt x="352" y="470"/>
                </a:cubicBezTo>
                <a:cubicBezTo>
                  <a:pt x="353" y="471"/>
                  <a:pt x="353" y="471"/>
                  <a:pt x="353" y="471"/>
                </a:cubicBezTo>
                <a:cubicBezTo>
                  <a:pt x="357" y="469"/>
                  <a:pt x="357" y="469"/>
                  <a:pt x="357" y="469"/>
                </a:cubicBezTo>
                <a:cubicBezTo>
                  <a:pt x="359" y="468"/>
                  <a:pt x="359" y="468"/>
                  <a:pt x="359" y="468"/>
                </a:cubicBezTo>
                <a:cubicBezTo>
                  <a:pt x="362" y="466"/>
                  <a:pt x="362" y="466"/>
                  <a:pt x="362" y="466"/>
                </a:cubicBezTo>
                <a:cubicBezTo>
                  <a:pt x="363" y="464"/>
                  <a:pt x="363" y="464"/>
                  <a:pt x="363" y="464"/>
                </a:cubicBezTo>
                <a:cubicBezTo>
                  <a:pt x="365" y="463"/>
                  <a:pt x="365" y="463"/>
                  <a:pt x="365" y="463"/>
                </a:cubicBezTo>
                <a:cubicBezTo>
                  <a:pt x="366" y="462"/>
                  <a:pt x="366" y="462"/>
                  <a:pt x="366" y="462"/>
                </a:cubicBezTo>
                <a:cubicBezTo>
                  <a:pt x="369" y="459"/>
                  <a:pt x="369" y="459"/>
                  <a:pt x="369" y="459"/>
                </a:cubicBezTo>
                <a:cubicBezTo>
                  <a:pt x="373" y="457"/>
                  <a:pt x="373" y="457"/>
                  <a:pt x="373" y="457"/>
                </a:cubicBezTo>
                <a:cubicBezTo>
                  <a:pt x="376" y="455"/>
                  <a:pt x="376" y="455"/>
                  <a:pt x="376" y="455"/>
                </a:cubicBezTo>
                <a:cubicBezTo>
                  <a:pt x="378" y="454"/>
                  <a:pt x="378" y="454"/>
                  <a:pt x="378" y="454"/>
                </a:cubicBezTo>
                <a:cubicBezTo>
                  <a:pt x="379" y="454"/>
                  <a:pt x="379" y="454"/>
                  <a:pt x="379" y="454"/>
                </a:cubicBezTo>
                <a:cubicBezTo>
                  <a:pt x="383" y="453"/>
                  <a:pt x="383" y="453"/>
                  <a:pt x="383" y="453"/>
                </a:cubicBezTo>
                <a:cubicBezTo>
                  <a:pt x="386" y="452"/>
                  <a:pt x="386" y="452"/>
                  <a:pt x="386" y="452"/>
                </a:cubicBezTo>
                <a:cubicBezTo>
                  <a:pt x="388" y="452"/>
                  <a:pt x="388" y="452"/>
                  <a:pt x="388" y="452"/>
                </a:cubicBezTo>
                <a:cubicBezTo>
                  <a:pt x="389" y="451"/>
                  <a:pt x="389" y="451"/>
                  <a:pt x="389" y="451"/>
                </a:cubicBezTo>
                <a:cubicBezTo>
                  <a:pt x="393" y="451"/>
                  <a:pt x="393" y="451"/>
                  <a:pt x="393" y="451"/>
                </a:cubicBezTo>
                <a:cubicBezTo>
                  <a:pt x="396" y="452"/>
                  <a:pt x="396" y="452"/>
                  <a:pt x="396" y="452"/>
                </a:cubicBezTo>
                <a:cubicBezTo>
                  <a:pt x="398" y="453"/>
                  <a:pt x="398" y="453"/>
                  <a:pt x="398" y="453"/>
                </a:cubicBezTo>
                <a:cubicBezTo>
                  <a:pt x="398" y="454"/>
                  <a:pt x="398" y="454"/>
                  <a:pt x="398" y="454"/>
                </a:cubicBezTo>
                <a:cubicBezTo>
                  <a:pt x="396" y="454"/>
                  <a:pt x="396" y="454"/>
                  <a:pt x="396" y="454"/>
                </a:cubicBezTo>
                <a:cubicBezTo>
                  <a:pt x="396" y="454"/>
                  <a:pt x="396" y="454"/>
                  <a:pt x="396" y="454"/>
                </a:cubicBezTo>
                <a:cubicBezTo>
                  <a:pt x="396" y="454"/>
                  <a:pt x="396" y="454"/>
                  <a:pt x="396" y="454"/>
                </a:cubicBezTo>
                <a:cubicBezTo>
                  <a:pt x="397" y="454"/>
                  <a:pt x="397" y="454"/>
                  <a:pt x="397" y="454"/>
                </a:cubicBezTo>
                <a:cubicBezTo>
                  <a:pt x="398" y="455"/>
                  <a:pt x="398" y="455"/>
                  <a:pt x="398" y="455"/>
                </a:cubicBezTo>
                <a:cubicBezTo>
                  <a:pt x="399" y="455"/>
                  <a:pt x="399" y="455"/>
                  <a:pt x="399" y="455"/>
                </a:cubicBezTo>
                <a:cubicBezTo>
                  <a:pt x="398" y="456"/>
                  <a:pt x="398" y="456"/>
                  <a:pt x="398" y="456"/>
                </a:cubicBezTo>
                <a:cubicBezTo>
                  <a:pt x="399" y="456"/>
                  <a:pt x="399" y="456"/>
                  <a:pt x="399" y="456"/>
                </a:cubicBezTo>
                <a:cubicBezTo>
                  <a:pt x="398" y="458"/>
                  <a:pt x="398" y="458"/>
                  <a:pt x="398" y="458"/>
                </a:cubicBezTo>
                <a:cubicBezTo>
                  <a:pt x="396" y="459"/>
                  <a:pt x="396" y="459"/>
                  <a:pt x="396" y="459"/>
                </a:cubicBezTo>
                <a:cubicBezTo>
                  <a:pt x="395" y="460"/>
                  <a:pt x="395" y="460"/>
                  <a:pt x="395" y="460"/>
                </a:cubicBezTo>
                <a:cubicBezTo>
                  <a:pt x="394" y="460"/>
                  <a:pt x="394" y="460"/>
                  <a:pt x="394" y="460"/>
                </a:cubicBezTo>
                <a:cubicBezTo>
                  <a:pt x="393" y="461"/>
                  <a:pt x="393" y="461"/>
                  <a:pt x="393" y="461"/>
                </a:cubicBezTo>
                <a:cubicBezTo>
                  <a:pt x="391" y="461"/>
                  <a:pt x="391" y="461"/>
                  <a:pt x="391" y="461"/>
                </a:cubicBezTo>
                <a:cubicBezTo>
                  <a:pt x="390" y="460"/>
                  <a:pt x="390" y="460"/>
                  <a:pt x="390" y="460"/>
                </a:cubicBezTo>
                <a:cubicBezTo>
                  <a:pt x="389" y="460"/>
                  <a:pt x="389" y="460"/>
                  <a:pt x="389" y="460"/>
                </a:cubicBezTo>
                <a:cubicBezTo>
                  <a:pt x="388" y="460"/>
                  <a:pt x="388" y="460"/>
                  <a:pt x="388" y="460"/>
                </a:cubicBezTo>
                <a:cubicBezTo>
                  <a:pt x="386" y="461"/>
                  <a:pt x="386" y="461"/>
                  <a:pt x="386" y="461"/>
                </a:cubicBezTo>
                <a:cubicBezTo>
                  <a:pt x="385" y="460"/>
                  <a:pt x="385" y="460"/>
                  <a:pt x="385" y="460"/>
                </a:cubicBezTo>
                <a:cubicBezTo>
                  <a:pt x="383" y="461"/>
                  <a:pt x="383" y="461"/>
                  <a:pt x="383" y="461"/>
                </a:cubicBezTo>
                <a:cubicBezTo>
                  <a:pt x="385" y="461"/>
                  <a:pt x="385" y="461"/>
                  <a:pt x="385" y="461"/>
                </a:cubicBezTo>
                <a:cubicBezTo>
                  <a:pt x="387" y="461"/>
                  <a:pt x="387" y="461"/>
                  <a:pt x="387" y="461"/>
                </a:cubicBezTo>
                <a:cubicBezTo>
                  <a:pt x="389" y="462"/>
                  <a:pt x="389" y="462"/>
                  <a:pt x="389" y="462"/>
                </a:cubicBezTo>
                <a:cubicBezTo>
                  <a:pt x="390" y="463"/>
                  <a:pt x="390" y="463"/>
                  <a:pt x="390" y="463"/>
                </a:cubicBezTo>
                <a:cubicBezTo>
                  <a:pt x="390" y="464"/>
                  <a:pt x="390" y="464"/>
                  <a:pt x="390" y="464"/>
                </a:cubicBezTo>
                <a:cubicBezTo>
                  <a:pt x="392" y="463"/>
                  <a:pt x="392" y="463"/>
                  <a:pt x="392" y="463"/>
                </a:cubicBezTo>
                <a:cubicBezTo>
                  <a:pt x="393" y="462"/>
                  <a:pt x="393" y="462"/>
                  <a:pt x="393" y="462"/>
                </a:cubicBezTo>
                <a:cubicBezTo>
                  <a:pt x="394" y="462"/>
                  <a:pt x="394" y="462"/>
                  <a:pt x="394" y="462"/>
                </a:cubicBezTo>
                <a:cubicBezTo>
                  <a:pt x="394" y="463"/>
                  <a:pt x="394" y="463"/>
                  <a:pt x="394" y="463"/>
                </a:cubicBezTo>
                <a:cubicBezTo>
                  <a:pt x="395" y="463"/>
                  <a:pt x="395" y="463"/>
                  <a:pt x="395" y="463"/>
                </a:cubicBezTo>
                <a:cubicBezTo>
                  <a:pt x="396" y="463"/>
                  <a:pt x="396" y="463"/>
                  <a:pt x="396" y="463"/>
                </a:cubicBezTo>
                <a:cubicBezTo>
                  <a:pt x="394" y="464"/>
                  <a:pt x="394" y="464"/>
                  <a:pt x="394" y="464"/>
                </a:cubicBezTo>
                <a:cubicBezTo>
                  <a:pt x="393" y="468"/>
                  <a:pt x="393" y="468"/>
                  <a:pt x="393" y="468"/>
                </a:cubicBezTo>
                <a:cubicBezTo>
                  <a:pt x="392" y="468"/>
                  <a:pt x="392" y="468"/>
                  <a:pt x="392" y="468"/>
                </a:cubicBezTo>
                <a:cubicBezTo>
                  <a:pt x="391" y="469"/>
                  <a:pt x="391" y="469"/>
                  <a:pt x="391" y="469"/>
                </a:cubicBezTo>
                <a:cubicBezTo>
                  <a:pt x="394" y="469"/>
                  <a:pt x="394" y="469"/>
                  <a:pt x="394" y="469"/>
                </a:cubicBezTo>
                <a:cubicBezTo>
                  <a:pt x="394" y="469"/>
                  <a:pt x="394" y="469"/>
                  <a:pt x="394" y="469"/>
                </a:cubicBezTo>
                <a:cubicBezTo>
                  <a:pt x="393" y="470"/>
                  <a:pt x="393" y="470"/>
                  <a:pt x="393" y="470"/>
                </a:cubicBezTo>
                <a:cubicBezTo>
                  <a:pt x="394" y="471"/>
                  <a:pt x="394" y="471"/>
                  <a:pt x="394" y="471"/>
                </a:cubicBezTo>
                <a:cubicBezTo>
                  <a:pt x="394" y="472"/>
                  <a:pt x="394" y="472"/>
                  <a:pt x="394" y="472"/>
                </a:cubicBezTo>
                <a:cubicBezTo>
                  <a:pt x="394" y="474"/>
                  <a:pt x="394" y="474"/>
                  <a:pt x="394" y="474"/>
                </a:cubicBezTo>
                <a:cubicBezTo>
                  <a:pt x="394" y="474"/>
                  <a:pt x="394" y="474"/>
                  <a:pt x="394" y="474"/>
                </a:cubicBezTo>
                <a:cubicBezTo>
                  <a:pt x="395" y="476"/>
                  <a:pt x="395" y="476"/>
                  <a:pt x="395" y="476"/>
                </a:cubicBezTo>
                <a:cubicBezTo>
                  <a:pt x="396" y="476"/>
                  <a:pt x="396" y="476"/>
                  <a:pt x="396" y="476"/>
                </a:cubicBezTo>
                <a:cubicBezTo>
                  <a:pt x="397" y="477"/>
                  <a:pt x="397" y="477"/>
                  <a:pt x="397" y="477"/>
                </a:cubicBezTo>
                <a:cubicBezTo>
                  <a:pt x="399" y="477"/>
                  <a:pt x="399" y="477"/>
                  <a:pt x="399" y="477"/>
                </a:cubicBezTo>
                <a:cubicBezTo>
                  <a:pt x="398" y="478"/>
                  <a:pt x="398" y="478"/>
                  <a:pt x="398" y="478"/>
                </a:cubicBezTo>
                <a:cubicBezTo>
                  <a:pt x="397" y="478"/>
                  <a:pt x="397" y="478"/>
                  <a:pt x="397" y="478"/>
                </a:cubicBezTo>
                <a:cubicBezTo>
                  <a:pt x="399" y="479"/>
                  <a:pt x="399" y="479"/>
                  <a:pt x="399" y="479"/>
                </a:cubicBezTo>
                <a:cubicBezTo>
                  <a:pt x="401" y="479"/>
                  <a:pt x="401" y="479"/>
                  <a:pt x="401" y="479"/>
                </a:cubicBezTo>
                <a:cubicBezTo>
                  <a:pt x="402" y="480"/>
                  <a:pt x="402" y="480"/>
                  <a:pt x="402" y="480"/>
                </a:cubicBezTo>
                <a:cubicBezTo>
                  <a:pt x="402" y="479"/>
                  <a:pt x="402" y="479"/>
                  <a:pt x="402" y="479"/>
                </a:cubicBezTo>
                <a:cubicBezTo>
                  <a:pt x="404" y="480"/>
                  <a:pt x="404" y="480"/>
                  <a:pt x="404" y="480"/>
                </a:cubicBezTo>
                <a:cubicBezTo>
                  <a:pt x="404" y="481"/>
                  <a:pt x="404" y="481"/>
                  <a:pt x="404" y="481"/>
                </a:cubicBezTo>
                <a:cubicBezTo>
                  <a:pt x="406" y="481"/>
                  <a:pt x="406" y="481"/>
                  <a:pt x="406" y="481"/>
                </a:cubicBezTo>
                <a:cubicBezTo>
                  <a:pt x="407" y="480"/>
                  <a:pt x="407" y="480"/>
                  <a:pt x="407" y="480"/>
                </a:cubicBezTo>
                <a:cubicBezTo>
                  <a:pt x="409" y="479"/>
                  <a:pt x="409" y="479"/>
                  <a:pt x="409" y="479"/>
                </a:cubicBezTo>
                <a:cubicBezTo>
                  <a:pt x="409" y="480"/>
                  <a:pt x="409" y="480"/>
                  <a:pt x="409" y="480"/>
                </a:cubicBezTo>
                <a:cubicBezTo>
                  <a:pt x="408" y="481"/>
                  <a:pt x="408" y="481"/>
                  <a:pt x="408" y="481"/>
                </a:cubicBezTo>
                <a:cubicBezTo>
                  <a:pt x="410" y="481"/>
                  <a:pt x="410" y="481"/>
                  <a:pt x="410" y="481"/>
                </a:cubicBezTo>
                <a:cubicBezTo>
                  <a:pt x="412" y="482"/>
                  <a:pt x="412" y="482"/>
                  <a:pt x="412" y="482"/>
                </a:cubicBezTo>
                <a:cubicBezTo>
                  <a:pt x="412" y="483"/>
                  <a:pt x="412" y="483"/>
                  <a:pt x="412" y="483"/>
                </a:cubicBezTo>
                <a:cubicBezTo>
                  <a:pt x="411" y="483"/>
                  <a:pt x="411" y="483"/>
                  <a:pt x="411" y="483"/>
                </a:cubicBezTo>
                <a:cubicBezTo>
                  <a:pt x="411" y="483"/>
                  <a:pt x="411" y="483"/>
                  <a:pt x="411" y="483"/>
                </a:cubicBezTo>
                <a:cubicBezTo>
                  <a:pt x="412" y="484"/>
                  <a:pt x="412" y="484"/>
                  <a:pt x="412" y="484"/>
                </a:cubicBezTo>
                <a:cubicBezTo>
                  <a:pt x="413" y="484"/>
                  <a:pt x="413" y="484"/>
                  <a:pt x="413" y="484"/>
                </a:cubicBezTo>
                <a:cubicBezTo>
                  <a:pt x="414" y="484"/>
                  <a:pt x="414" y="484"/>
                  <a:pt x="414" y="484"/>
                </a:cubicBezTo>
                <a:cubicBezTo>
                  <a:pt x="413" y="485"/>
                  <a:pt x="413" y="485"/>
                  <a:pt x="413" y="485"/>
                </a:cubicBezTo>
                <a:cubicBezTo>
                  <a:pt x="412" y="484"/>
                  <a:pt x="412" y="484"/>
                  <a:pt x="412" y="484"/>
                </a:cubicBezTo>
                <a:cubicBezTo>
                  <a:pt x="411" y="485"/>
                  <a:pt x="411" y="485"/>
                  <a:pt x="411" y="485"/>
                </a:cubicBezTo>
                <a:cubicBezTo>
                  <a:pt x="409" y="485"/>
                  <a:pt x="409" y="485"/>
                  <a:pt x="409" y="485"/>
                </a:cubicBezTo>
                <a:cubicBezTo>
                  <a:pt x="406" y="487"/>
                  <a:pt x="406" y="487"/>
                  <a:pt x="406" y="487"/>
                </a:cubicBezTo>
                <a:cubicBezTo>
                  <a:pt x="405" y="487"/>
                  <a:pt x="405" y="487"/>
                  <a:pt x="405" y="487"/>
                </a:cubicBezTo>
                <a:cubicBezTo>
                  <a:pt x="403" y="487"/>
                  <a:pt x="403" y="487"/>
                  <a:pt x="403" y="487"/>
                </a:cubicBezTo>
                <a:cubicBezTo>
                  <a:pt x="401" y="488"/>
                  <a:pt x="401" y="488"/>
                  <a:pt x="401" y="488"/>
                </a:cubicBezTo>
                <a:cubicBezTo>
                  <a:pt x="399" y="489"/>
                  <a:pt x="399" y="489"/>
                  <a:pt x="399" y="489"/>
                </a:cubicBezTo>
                <a:cubicBezTo>
                  <a:pt x="398" y="489"/>
                  <a:pt x="398" y="489"/>
                  <a:pt x="398" y="489"/>
                </a:cubicBezTo>
                <a:cubicBezTo>
                  <a:pt x="398" y="489"/>
                  <a:pt x="398" y="489"/>
                  <a:pt x="398" y="489"/>
                </a:cubicBezTo>
                <a:cubicBezTo>
                  <a:pt x="396" y="489"/>
                  <a:pt x="396" y="489"/>
                  <a:pt x="396" y="489"/>
                </a:cubicBezTo>
                <a:cubicBezTo>
                  <a:pt x="396" y="488"/>
                  <a:pt x="396" y="488"/>
                  <a:pt x="396" y="488"/>
                </a:cubicBezTo>
                <a:cubicBezTo>
                  <a:pt x="395" y="488"/>
                  <a:pt x="395" y="488"/>
                  <a:pt x="395" y="488"/>
                </a:cubicBezTo>
                <a:cubicBezTo>
                  <a:pt x="395" y="489"/>
                  <a:pt x="395" y="489"/>
                  <a:pt x="395" y="489"/>
                </a:cubicBezTo>
                <a:cubicBezTo>
                  <a:pt x="394" y="488"/>
                  <a:pt x="394" y="488"/>
                  <a:pt x="394" y="488"/>
                </a:cubicBezTo>
                <a:cubicBezTo>
                  <a:pt x="393" y="490"/>
                  <a:pt x="393" y="490"/>
                  <a:pt x="393" y="490"/>
                </a:cubicBezTo>
                <a:cubicBezTo>
                  <a:pt x="394" y="491"/>
                  <a:pt x="394" y="491"/>
                  <a:pt x="394" y="491"/>
                </a:cubicBezTo>
                <a:cubicBezTo>
                  <a:pt x="392" y="492"/>
                  <a:pt x="392" y="492"/>
                  <a:pt x="392" y="492"/>
                </a:cubicBezTo>
                <a:cubicBezTo>
                  <a:pt x="390" y="494"/>
                  <a:pt x="390" y="494"/>
                  <a:pt x="390" y="494"/>
                </a:cubicBezTo>
                <a:cubicBezTo>
                  <a:pt x="389" y="495"/>
                  <a:pt x="389" y="495"/>
                  <a:pt x="389" y="495"/>
                </a:cubicBezTo>
                <a:cubicBezTo>
                  <a:pt x="387" y="496"/>
                  <a:pt x="387" y="496"/>
                  <a:pt x="387" y="496"/>
                </a:cubicBezTo>
                <a:cubicBezTo>
                  <a:pt x="387" y="496"/>
                  <a:pt x="387" y="496"/>
                  <a:pt x="387" y="496"/>
                </a:cubicBezTo>
                <a:cubicBezTo>
                  <a:pt x="386" y="496"/>
                  <a:pt x="386" y="496"/>
                  <a:pt x="386" y="496"/>
                </a:cubicBezTo>
                <a:cubicBezTo>
                  <a:pt x="386" y="497"/>
                  <a:pt x="386" y="497"/>
                  <a:pt x="386" y="497"/>
                </a:cubicBezTo>
                <a:cubicBezTo>
                  <a:pt x="386" y="497"/>
                  <a:pt x="386" y="497"/>
                  <a:pt x="386" y="497"/>
                </a:cubicBezTo>
                <a:cubicBezTo>
                  <a:pt x="385" y="497"/>
                  <a:pt x="385" y="497"/>
                  <a:pt x="385" y="497"/>
                </a:cubicBezTo>
                <a:cubicBezTo>
                  <a:pt x="384" y="497"/>
                  <a:pt x="384" y="497"/>
                  <a:pt x="384" y="497"/>
                </a:cubicBezTo>
                <a:cubicBezTo>
                  <a:pt x="383" y="497"/>
                  <a:pt x="383" y="497"/>
                  <a:pt x="383" y="497"/>
                </a:cubicBezTo>
                <a:cubicBezTo>
                  <a:pt x="383" y="495"/>
                  <a:pt x="383" y="495"/>
                  <a:pt x="383" y="495"/>
                </a:cubicBezTo>
                <a:cubicBezTo>
                  <a:pt x="382" y="495"/>
                  <a:pt x="382" y="495"/>
                  <a:pt x="382" y="495"/>
                </a:cubicBezTo>
                <a:cubicBezTo>
                  <a:pt x="382" y="495"/>
                  <a:pt x="382" y="495"/>
                  <a:pt x="382" y="495"/>
                </a:cubicBezTo>
                <a:cubicBezTo>
                  <a:pt x="382" y="494"/>
                  <a:pt x="382" y="494"/>
                  <a:pt x="382" y="494"/>
                </a:cubicBezTo>
                <a:cubicBezTo>
                  <a:pt x="381" y="493"/>
                  <a:pt x="381" y="493"/>
                  <a:pt x="381" y="493"/>
                </a:cubicBezTo>
                <a:cubicBezTo>
                  <a:pt x="381" y="491"/>
                  <a:pt x="381" y="491"/>
                  <a:pt x="381" y="491"/>
                </a:cubicBezTo>
                <a:cubicBezTo>
                  <a:pt x="382" y="489"/>
                  <a:pt x="382" y="489"/>
                  <a:pt x="382" y="489"/>
                </a:cubicBezTo>
                <a:cubicBezTo>
                  <a:pt x="384" y="488"/>
                  <a:pt x="384" y="488"/>
                  <a:pt x="384" y="488"/>
                </a:cubicBezTo>
                <a:cubicBezTo>
                  <a:pt x="384" y="487"/>
                  <a:pt x="384" y="487"/>
                  <a:pt x="384" y="487"/>
                </a:cubicBezTo>
                <a:cubicBezTo>
                  <a:pt x="386" y="486"/>
                  <a:pt x="386" y="486"/>
                  <a:pt x="386" y="486"/>
                </a:cubicBezTo>
                <a:cubicBezTo>
                  <a:pt x="389" y="485"/>
                  <a:pt x="389" y="485"/>
                  <a:pt x="389" y="485"/>
                </a:cubicBezTo>
                <a:cubicBezTo>
                  <a:pt x="391" y="484"/>
                  <a:pt x="391" y="484"/>
                  <a:pt x="391" y="484"/>
                </a:cubicBezTo>
                <a:cubicBezTo>
                  <a:pt x="393" y="483"/>
                  <a:pt x="393" y="483"/>
                  <a:pt x="393" y="483"/>
                </a:cubicBezTo>
                <a:cubicBezTo>
                  <a:pt x="394" y="484"/>
                  <a:pt x="394" y="484"/>
                  <a:pt x="394" y="484"/>
                </a:cubicBezTo>
                <a:cubicBezTo>
                  <a:pt x="394" y="485"/>
                  <a:pt x="394" y="485"/>
                  <a:pt x="394" y="485"/>
                </a:cubicBezTo>
                <a:cubicBezTo>
                  <a:pt x="395" y="485"/>
                  <a:pt x="395" y="485"/>
                  <a:pt x="395" y="485"/>
                </a:cubicBezTo>
                <a:cubicBezTo>
                  <a:pt x="395" y="485"/>
                  <a:pt x="395" y="485"/>
                  <a:pt x="395" y="485"/>
                </a:cubicBezTo>
                <a:cubicBezTo>
                  <a:pt x="395" y="484"/>
                  <a:pt x="395" y="484"/>
                  <a:pt x="395" y="484"/>
                </a:cubicBezTo>
                <a:cubicBezTo>
                  <a:pt x="396" y="484"/>
                  <a:pt x="396" y="484"/>
                  <a:pt x="396" y="484"/>
                </a:cubicBezTo>
                <a:cubicBezTo>
                  <a:pt x="398" y="483"/>
                  <a:pt x="398" y="483"/>
                  <a:pt x="398" y="483"/>
                </a:cubicBezTo>
                <a:cubicBezTo>
                  <a:pt x="399" y="483"/>
                  <a:pt x="399" y="483"/>
                  <a:pt x="399" y="483"/>
                </a:cubicBezTo>
                <a:cubicBezTo>
                  <a:pt x="397" y="483"/>
                  <a:pt x="397" y="483"/>
                  <a:pt x="397" y="483"/>
                </a:cubicBezTo>
                <a:cubicBezTo>
                  <a:pt x="395" y="483"/>
                  <a:pt x="395" y="483"/>
                  <a:pt x="395" y="483"/>
                </a:cubicBezTo>
                <a:cubicBezTo>
                  <a:pt x="394" y="482"/>
                  <a:pt x="394" y="482"/>
                  <a:pt x="394" y="482"/>
                </a:cubicBezTo>
                <a:cubicBezTo>
                  <a:pt x="393" y="482"/>
                  <a:pt x="393" y="482"/>
                  <a:pt x="393" y="482"/>
                </a:cubicBezTo>
                <a:cubicBezTo>
                  <a:pt x="392" y="483"/>
                  <a:pt x="392" y="483"/>
                  <a:pt x="392" y="483"/>
                </a:cubicBezTo>
                <a:cubicBezTo>
                  <a:pt x="390" y="483"/>
                  <a:pt x="390" y="483"/>
                  <a:pt x="390" y="483"/>
                </a:cubicBezTo>
                <a:cubicBezTo>
                  <a:pt x="392" y="481"/>
                  <a:pt x="392" y="481"/>
                  <a:pt x="392" y="481"/>
                </a:cubicBezTo>
                <a:cubicBezTo>
                  <a:pt x="393" y="481"/>
                  <a:pt x="393" y="481"/>
                  <a:pt x="393" y="481"/>
                </a:cubicBezTo>
                <a:cubicBezTo>
                  <a:pt x="394" y="480"/>
                  <a:pt x="394" y="480"/>
                  <a:pt x="394" y="480"/>
                </a:cubicBezTo>
                <a:cubicBezTo>
                  <a:pt x="394" y="479"/>
                  <a:pt x="394" y="479"/>
                  <a:pt x="394" y="479"/>
                </a:cubicBezTo>
                <a:cubicBezTo>
                  <a:pt x="393" y="479"/>
                  <a:pt x="393" y="479"/>
                  <a:pt x="393" y="479"/>
                </a:cubicBezTo>
                <a:cubicBezTo>
                  <a:pt x="393" y="479"/>
                  <a:pt x="393" y="479"/>
                  <a:pt x="393" y="479"/>
                </a:cubicBezTo>
                <a:cubicBezTo>
                  <a:pt x="392" y="480"/>
                  <a:pt x="392" y="480"/>
                  <a:pt x="392" y="480"/>
                </a:cubicBezTo>
                <a:cubicBezTo>
                  <a:pt x="391" y="481"/>
                  <a:pt x="391" y="481"/>
                  <a:pt x="391" y="481"/>
                </a:cubicBezTo>
                <a:cubicBezTo>
                  <a:pt x="390" y="482"/>
                  <a:pt x="390" y="482"/>
                  <a:pt x="390" y="482"/>
                </a:cubicBezTo>
                <a:cubicBezTo>
                  <a:pt x="388" y="482"/>
                  <a:pt x="388" y="482"/>
                  <a:pt x="388" y="482"/>
                </a:cubicBezTo>
                <a:cubicBezTo>
                  <a:pt x="388" y="483"/>
                  <a:pt x="388" y="483"/>
                  <a:pt x="388" y="483"/>
                </a:cubicBezTo>
                <a:cubicBezTo>
                  <a:pt x="385" y="484"/>
                  <a:pt x="385" y="484"/>
                  <a:pt x="385" y="484"/>
                </a:cubicBezTo>
                <a:cubicBezTo>
                  <a:pt x="384" y="483"/>
                  <a:pt x="384" y="483"/>
                  <a:pt x="384" y="483"/>
                </a:cubicBezTo>
                <a:cubicBezTo>
                  <a:pt x="385" y="483"/>
                  <a:pt x="385" y="483"/>
                  <a:pt x="385" y="483"/>
                </a:cubicBezTo>
                <a:cubicBezTo>
                  <a:pt x="384" y="483"/>
                  <a:pt x="384" y="483"/>
                  <a:pt x="384" y="483"/>
                </a:cubicBezTo>
                <a:cubicBezTo>
                  <a:pt x="385" y="481"/>
                  <a:pt x="385" y="481"/>
                  <a:pt x="385" y="481"/>
                </a:cubicBezTo>
                <a:cubicBezTo>
                  <a:pt x="384" y="483"/>
                  <a:pt x="384" y="483"/>
                  <a:pt x="384" y="483"/>
                </a:cubicBezTo>
                <a:cubicBezTo>
                  <a:pt x="383" y="484"/>
                  <a:pt x="383" y="484"/>
                  <a:pt x="383" y="484"/>
                </a:cubicBezTo>
                <a:cubicBezTo>
                  <a:pt x="382" y="484"/>
                  <a:pt x="382" y="484"/>
                  <a:pt x="382" y="484"/>
                </a:cubicBezTo>
                <a:cubicBezTo>
                  <a:pt x="381" y="484"/>
                  <a:pt x="381" y="484"/>
                  <a:pt x="381" y="484"/>
                </a:cubicBezTo>
                <a:cubicBezTo>
                  <a:pt x="380" y="485"/>
                  <a:pt x="380" y="485"/>
                  <a:pt x="380" y="485"/>
                </a:cubicBezTo>
                <a:cubicBezTo>
                  <a:pt x="379" y="484"/>
                  <a:pt x="379" y="484"/>
                  <a:pt x="379" y="484"/>
                </a:cubicBezTo>
                <a:cubicBezTo>
                  <a:pt x="379" y="483"/>
                  <a:pt x="379" y="483"/>
                  <a:pt x="379" y="483"/>
                </a:cubicBezTo>
                <a:cubicBezTo>
                  <a:pt x="378" y="484"/>
                  <a:pt x="378" y="484"/>
                  <a:pt x="378" y="484"/>
                </a:cubicBezTo>
                <a:cubicBezTo>
                  <a:pt x="376" y="483"/>
                  <a:pt x="376" y="483"/>
                  <a:pt x="376" y="483"/>
                </a:cubicBezTo>
                <a:cubicBezTo>
                  <a:pt x="376" y="483"/>
                  <a:pt x="376" y="483"/>
                  <a:pt x="376" y="483"/>
                </a:cubicBezTo>
                <a:cubicBezTo>
                  <a:pt x="375" y="483"/>
                  <a:pt x="375" y="483"/>
                  <a:pt x="375" y="483"/>
                </a:cubicBezTo>
                <a:cubicBezTo>
                  <a:pt x="376" y="482"/>
                  <a:pt x="376" y="482"/>
                  <a:pt x="376" y="482"/>
                </a:cubicBezTo>
                <a:cubicBezTo>
                  <a:pt x="376" y="482"/>
                  <a:pt x="376" y="482"/>
                  <a:pt x="376" y="482"/>
                </a:cubicBezTo>
                <a:cubicBezTo>
                  <a:pt x="376" y="481"/>
                  <a:pt x="376" y="481"/>
                  <a:pt x="376" y="481"/>
                </a:cubicBezTo>
                <a:cubicBezTo>
                  <a:pt x="376" y="480"/>
                  <a:pt x="376" y="480"/>
                  <a:pt x="376" y="480"/>
                </a:cubicBezTo>
                <a:cubicBezTo>
                  <a:pt x="375" y="479"/>
                  <a:pt x="375" y="479"/>
                  <a:pt x="375" y="479"/>
                </a:cubicBezTo>
                <a:cubicBezTo>
                  <a:pt x="375" y="479"/>
                  <a:pt x="375" y="479"/>
                  <a:pt x="375" y="479"/>
                </a:cubicBezTo>
                <a:cubicBezTo>
                  <a:pt x="374" y="478"/>
                  <a:pt x="374" y="478"/>
                  <a:pt x="374" y="478"/>
                </a:cubicBezTo>
                <a:cubicBezTo>
                  <a:pt x="375" y="478"/>
                  <a:pt x="375" y="478"/>
                  <a:pt x="375" y="478"/>
                </a:cubicBezTo>
                <a:cubicBezTo>
                  <a:pt x="376" y="470"/>
                  <a:pt x="376" y="470"/>
                  <a:pt x="376" y="470"/>
                </a:cubicBezTo>
                <a:cubicBezTo>
                  <a:pt x="376" y="468"/>
                  <a:pt x="376" y="468"/>
                  <a:pt x="376" y="468"/>
                </a:cubicBezTo>
                <a:cubicBezTo>
                  <a:pt x="373" y="465"/>
                  <a:pt x="373" y="465"/>
                  <a:pt x="373" y="465"/>
                </a:cubicBezTo>
                <a:cubicBezTo>
                  <a:pt x="373" y="466"/>
                  <a:pt x="373" y="466"/>
                  <a:pt x="373" y="466"/>
                </a:cubicBezTo>
                <a:cubicBezTo>
                  <a:pt x="371" y="465"/>
                  <a:pt x="371" y="465"/>
                  <a:pt x="371" y="465"/>
                </a:cubicBezTo>
                <a:cubicBezTo>
                  <a:pt x="370" y="466"/>
                  <a:pt x="370" y="466"/>
                  <a:pt x="370" y="466"/>
                </a:cubicBezTo>
                <a:cubicBezTo>
                  <a:pt x="369" y="465"/>
                  <a:pt x="369" y="465"/>
                  <a:pt x="369" y="465"/>
                </a:cubicBezTo>
                <a:cubicBezTo>
                  <a:pt x="368" y="464"/>
                  <a:pt x="368" y="464"/>
                  <a:pt x="368" y="464"/>
                </a:cubicBezTo>
                <a:cubicBezTo>
                  <a:pt x="368" y="464"/>
                  <a:pt x="368" y="464"/>
                  <a:pt x="368" y="464"/>
                </a:cubicBezTo>
                <a:cubicBezTo>
                  <a:pt x="367" y="465"/>
                  <a:pt x="367" y="465"/>
                  <a:pt x="367" y="465"/>
                </a:cubicBezTo>
                <a:cubicBezTo>
                  <a:pt x="366" y="466"/>
                  <a:pt x="366" y="466"/>
                  <a:pt x="366" y="466"/>
                </a:cubicBezTo>
                <a:cubicBezTo>
                  <a:pt x="364" y="469"/>
                  <a:pt x="364" y="469"/>
                  <a:pt x="364" y="469"/>
                </a:cubicBezTo>
                <a:cubicBezTo>
                  <a:pt x="363" y="470"/>
                  <a:pt x="363" y="470"/>
                  <a:pt x="363" y="470"/>
                </a:cubicBezTo>
                <a:cubicBezTo>
                  <a:pt x="363" y="471"/>
                  <a:pt x="363" y="471"/>
                  <a:pt x="363" y="471"/>
                </a:cubicBezTo>
                <a:cubicBezTo>
                  <a:pt x="362" y="472"/>
                  <a:pt x="362" y="472"/>
                  <a:pt x="362" y="472"/>
                </a:cubicBezTo>
                <a:cubicBezTo>
                  <a:pt x="361" y="474"/>
                  <a:pt x="361" y="474"/>
                  <a:pt x="361" y="474"/>
                </a:cubicBezTo>
                <a:cubicBezTo>
                  <a:pt x="361" y="475"/>
                  <a:pt x="361" y="475"/>
                  <a:pt x="361" y="475"/>
                </a:cubicBezTo>
                <a:cubicBezTo>
                  <a:pt x="359" y="477"/>
                  <a:pt x="359" y="477"/>
                  <a:pt x="359" y="477"/>
                </a:cubicBezTo>
                <a:cubicBezTo>
                  <a:pt x="358" y="477"/>
                  <a:pt x="358" y="477"/>
                  <a:pt x="358" y="477"/>
                </a:cubicBezTo>
                <a:cubicBezTo>
                  <a:pt x="356" y="480"/>
                  <a:pt x="356" y="480"/>
                  <a:pt x="356" y="480"/>
                </a:cubicBezTo>
                <a:cubicBezTo>
                  <a:pt x="356" y="480"/>
                  <a:pt x="356" y="480"/>
                  <a:pt x="356" y="480"/>
                </a:cubicBezTo>
                <a:cubicBezTo>
                  <a:pt x="355" y="481"/>
                  <a:pt x="355" y="481"/>
                  <a:pt x="355" y="481"/>
                </a:cubicBezTo>
                <a:cubicBezTo>
                  <a:pt x="354" y="481"/>
                  <a:pt x="354" y="481"/>
                  <a:pt x="354" y="481"/>
                </a:cubicBezTo>
                <a:cubicBezTo>
                  <a:pt x="353" y="481"/>
                  <a:pt x="353" y="481"/>
                  <a:pt x="353" y="481"/>
                </a:cubicBezTo>
                <a:cubicBezTo>
                  <a:pt x="353" y="481"/>
                  <a:pt x="353" y="481"/>
                  <a:pt x="353" y="481"/>
                </a:cubicBezTo>
                <a:cubicBezTo>
                  <a:pt x="352" y="481"/>
                  <a:pt x="352" y="481"/>
                  <a:pt x="352" y="481"/>
                </a:cubicBezTo>
                <a:cubicBezTo>
                  <a:pt x="351" y="483"/>
                  <a:pt x="351" y="483"/>
                  <a:pt x="351" y="483"/>
                </a:cubicBezTo>
                <a:cubicBezTo>
                  <a:pt x="333" y="482"/>
                  <a:pt x="333" y="482"/>
                  <a:pt x="333" y="482"/>
                </a:cubicBezTo>
                <a:cubicBezTo>
                  <a:pt x="330" y="483"/>
                  <a:pt x="330" y="483"/>
                  <a:pt x="330" y="483"/>
                </a:cubicBezTo>
                <a:cubicBezTo>
                  <a:pt x="329" y="484"/>
                  <a:pt x="329" y="484"/>
                  <a:pt x="329" y="484"/>
                </a:cubicBezTo>
                <a:cubicBezTo>
                  <a:pt x="328" y="484"/>
                  <a:pt x="328" y="484"/>
                  <a:pt x="328" y="484"/>
                </a:cubicBezTo>
                <a:cubicBezTo>
                  <a:pt x="326" y="485"/>
                  <a:pt x="326" y="485"/>
                  <a:pt x="326" y="485"/>
                </a:cubicBezTo>
                <a:cubicBezTo>
                  <a:pt x="324" y="488"/>
                  <a:pt x="324" y="488"/>
                  <a:pt x="324" y="488"/>
                </a:cubicBezTo>
                <a:cubicBezTo>
                  <a:pt x="322" y="488"/>
                  <a:pt x="322" y="488"/>
                  <a:pt x="322" y="488"/>
                </a:cubicBezTo>
                <a:cubicBezTo>
                  <a:pt x="321" y="489"/>
                  <a:pt x="321" y="489"/>
                  <a:pt x="321" y="489"/>
                </a:cubicBezTo>
                <a:cubicBezTo>
                  <a:pt x="316" y="493"/>
                  <a:pt x="316" y="493"/>
                  <a:pt x="316" y="493"/>
                </a:cubicBezTo>
                <a:cubicBezTo>
                  <a:pt x="304" y="497"/>
                  <a:pt x="304" y="497"/>
                  <a:pt x="304" y="497"/>
                </a:cubicBezTo>
                <a:cubicBezTo>
                  <a:pt x="303" y="500"/>
                  <a:pt x="303" y="500"/>
                  <a:pt x="303" y="500"/>
                </a:cubicBezTo>
                <a:cubicBezTo>
                  <a:pt x="300" y="501"/>
                  <a:pt x="300" y="501"/>
                  <a:pt x="300" y="501"/>
                </a:cubicBezTo>
                <a:cubicBezTo>
                  <a:pt x="279" y="506"/>
                  <a:pt x="279" y="506"/>
                  <a:pt x="279" y="506"/>
                </a:cubicBezTo>
                <a:cubicBezTo>
                  <a:pt x="278" y="504"/>
                  <a:pt x="278" y="504"/>
                  <a:pt x="278" y="504"/>
                </a:cubicBezTo>
                <a:cubicBezTo>
                  <a:pt x="279" y="503"/>
                  <a:pt x="279" y="503"/>
                  <a:pt x="279" y="503"/>
                </a:cubicBezTo>
                <a:cubicBezTo>
                  <a:pt x="281" y="502"/>
                  <a:pt x="281" y="502"/>
                  <a:pt x="281" y="502"/>
                </a:cubicBezTo>
                <a:cubicBezTo>
                  <a:pt x="282" y="500"/>
                  <a:pt x="282" y="500"/>
                  <a:pt x="282" y="500"/>
                </a:cubicBezTo>
                <a:cubicBezTo>
                  <a:pt x="283" y="499"/>
                  <a:pt x="283" y="499"/>
                  <a:pt x="283" y="499"/>
                </a:cubicBezTo>
                <a:cubicBezTo>
                  <a:pt x="284" y="498"/>
                  <a:pt x="284" y="498"/>
                  <a:pt x="284" y="498"/>
                </a:cubicBezTo>
                <a:cubicBezTo>
                  <a:pt x="284" y="489"/>
                  <a:pt x="284" y="489"/>
                  <a:pt x="284" y="489"/>
                </a:cubicBezTo>
                <a:cubicBezTo>
                  <a:pt x="280" y="470"/>
                  <a:pt x="280" y="470"/>
                  <a:pt x="280" y="470"/>
                </a:cubicBezTo>
                <a:cubicBezTo>
                  <a:pt x="276" y="467"/>
                  <a:pt x="276" y="467"/>
                  <a:pt x="276" y="467"/>
                </a:cubicBezTo>
                <a:cubicBezTo>
                  <a:pt x="275" y="465"/>
                  <a:pt x="275" y="465"/>
                  <a:pt x="275" y="465"/>
                </a:cubicBezTo>
                <a:cubicBezTo>
                  <a:pt x="250" y="453"/>
                  <a:pt x="250" y="453"/>
                  <a:pt x="250" y="453"/>
                </a:cubicBezTo>
                <a:cubicBezTo>
                  <a:pt x="249" y="452"/>
                  <a:pt x="249" y="452"/>
                  <a:pt x="249" y="452"/>
                </a:cubicBezTo>
                <a:cubicBezTo>
                  <a:pt x="247" y="452"/>
                  <a:pt x="247" y="452"/>
                  <a:pt x="247" y="452"/>
                </a:cubicBezTo>
                <a:cubicBezTo>
                  <a:pt x="247" y="451"/>
                  <a:pt x="247" y="451"/>
                  <a:pt x="247" y="451"/>
                </a:cubicBezTo>
                <a:cubicBezTo>
                  <a:pt x="244" y="451"/>
                  <a:pt x="244" y="451"/>
                  <a:pt x="244" y="451"/>
                </a:cubicBezTo>
                <a:cubicBezTo>
                  <a:pt x="243" y="450"/>
                  <a:pt x="243" y="450"/>
                  <a:pt x="243" y="450"/>
                </a:cubicBezTo>
                <a:cubicBezTo>
                  <a:pt x="242" y="450"/>
                  <a:pt x="242" y="450"/>
                  <a:pt x="242" y="450"/>
                </a:cubicBezTo>
                <a:cubicBezTo>
                  <a:pt x="241" y="450"/>
                  <a:pt x="241" y="450"/>
                  <a:pt x="241" y="450"/>
                </a:cubicBezTo>
                <a:cubicBezTo>
                  <a:pt x="239" y="450"/>
                  <a:pt x="239" y="450"/>
                  <a:pt x="239" y="450"/>
                </a:cubicBezTo>
                <a:cubicBezTo>
                  <a:pt x="238" y="450"/>
                  <a:pt x="238" y="450"/>
                  <a:pt x="238" y="450"/>
                </a:cubicBezTo>
                <a:cubicBezTo>
                  <a:pt x="238" y="449"/>
                  <a:pt x="238" y="449"/>
                  <a:pt x="238" y="449"/>
                </a:cubicBezTo>
                <a:cubicBezTo>
                  <a:pt x="236" y="449"/>
                  <a:pt x="236" y="449"/>
                  <a:pt x="236" y="449"/>
                </a:cubicBezTo>
                <a:cubicBezTo>
                  <a:pt x="234" y="448"/>
                  <a:pt x="234" y="448"/>
                  <a:pt x="234" y="448"/>
                </a:cubicBezTo>
                <a:cubicBezTo>
                  <a:pt x="234" y="446"/>
                  <a:pt x="234" y="446"/>
                  <a:pt x="234" y="446"/>
                </a:cubicBezTo>
                <a:cubicBezTo>
                  <a:pt x="233" y="446"/>
                  <a:pt x="233" y="446"/>
                  <a:pt x="233" y="446"/>
                </a:cubicBezTo>
                <a:cubicBezTo>
                  <a:pt x="231" y="445"/>
                  <a:pt x="231" y="445"/>
                  <a:pt x="231" y="445"/>
                </a:cubicBezTo>
                <a:cubicBezTo>
                  <a:pt x="230" y="445"/>
                  <a:pt x="230" y="445"/>
                  <a:pt x="230" y="445"/>
                </a:cubicBezTo>
                <a:cubicBezTo>
                  <a:pt x="229" y="445"/>
                  <a:pt x="229" y="445"/>
                  <a:pt x="229" y="445"/>
                </a:cubicBezTo>
                <a:cubicBezTo>
                  <a:pt x="228" y="445"/>
                  <a:pt x="228" y="445"/>
                  <a:pt x="228" y="445"/>
                </a:cubicBezTo>
                <a:cubicBezTo>
                  <a:pt x="227" y="446"/>
                  <a:pt x="227" y="446"/>
                  <a:pt x="227" y="446"/>
                </a:cubicBezTo>
                <a:cubicBezTo>
                  <a:pt x="227" y="445"/>
                  <a:pt x="227" y="445"/>
                  <a:pt x="227" y="445"/>
                </a:cubicBezTo>
                <a:cubicBezTo>
                  <a:pt x="225" y="444"/>
                  <a:pt x="225" y="444"/>
                  <a:pt x="225" y="444"/>
                </a:cubicBezTo>
                <a:cubicBezTo>
                  <a:pt x="225" y="444"/>
                  <a:pt x="225" y="444"/>
                  <a:pt x="225" y="444"/>
                </a:cubicBezTo>
                <a:cubicBezTo>
                  <a:pt x="224" y="444"/>
                  <a:pt x="224" y="444"/>
                  <a:pt x="224" y="444"/>
                </a:cubicBezTo>
                <a:cubicBezTo>
                  <a:pt x="224" y="443"/>
                  <a:pt x="224" y="443"/>
                  <a:pt x="224" y="443"/>
                </a:cubicBezTo>
                <a:cubicBezTo>
                  <a:pt x="223" y="443"/>
                  <a:pt x="223" y="443"/>
                  <a:pt x="223" y="443"/>
                </a:cubicBezTo>
                <a:cubicBezTo>
                  <a:pt x="223" y="442"/>
                  <a:pt x="223" y="442"/>
                  <a:pt x="223" y="442"/>
                </a:cubicBezTo>
                <a:cubicBezTo>
                  <a:pt x="221" y="441"/>
                  <a:pt x="221" y="441"/>
                  <a:pt x="221" y="441"/>
                </a:cubicBezTo>
                <a:cubicBezTo>
                  <a:pt x="220" y="441"/>
                  <a:pt x="220" y="441"/>
                  <a:pt x="220" y="441"/>
                </a:cubicBezTo>
                <a:cubicBezTo>
                  <a:pt x="219" y="441"/>
                  <a:pt x="219" y="441"/>
                  <a:pt x="219" y="441"/>
                </a:cubicBezTo>
                <a:lnTo>
                  <a:pt x="56" y="425"/>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2" name="Freeform 170">
            <a:extLst>
              <a:ext uri="{FF2B5EF4-FFF2-40B4-BE49-F238E27FC236}">
                <a16:creationId xmlns:a16="http://schemas.microsoft.com/office/drawing/2014/main" id="{626C8DC7-A7DB-26E2-5246-0096D74C27AA}"/>
              </a:ext>
            </a:extLst>
          </p:cNvPr>
          <p:cNvSpPr>
            <a:spLocks noEditPoints="1"/>
          </p:cNvSpPr>
          <p:nvPr userDrawn="1"/>
        </p:nvSpPr>
        <p:spPr bwMode="auto">
          <a:xfrm>
            <a:off x="2898581" y="2444037"/>
            <a:ext cx="3352582" cy="2562226"/>
          </a:xfrm>
          <a:custGeom>
            <a:avLst/>
            <a:gdLst>
              <a:gd name="T0" fmla="*/ 296 w 338"/>
              <a:gd name="T1" fmla="*/ 207 h 258"/>
              <a:gd name="T2" fmla="*/ 332 w 338"/>
              <a:gd name="T3" fmla="*/ 43 h 258"/>
              <a:gd name="T4" fmla="*/ 311 w 338"/>
              <a:gd name="T5" fmla="*/ 33 h 258"/>
              <a:gd name="T6" fmla="*/ 296 w 338"/>
              <a:gd name="T7" fmla="*/ 16 h 258"/>
              <a:gd name="T8" fmla="*/ 280 w 338"/>
              <a:gd name="T9" fmla="*/ 10 h 258"/>
              <a:gd name="T10" fmla="*/ 265 w 338"/>
              <a:gd name="T11" fmla="*/ 3 h 258"/>
              <a:gd name="T12" fmla="*/ 238 w 338"/>
              <a:gd name="T13" fmla="*/ 13 h 258"/>
              <a:gd name="T14" fmla="*/ 206 w 338"/>
              <a:gd name="T15" fmla="*/ 57 h 258"/>
              <a:gd name="T16" fmla="*/ 202 w 338"/>
              <a:gd name="T17" fmla="*/ 69 h 258"/>
              <a:gd name="T18" fmla="*/ 192 w 338"/>
              <a:gd name="T19" fmla="*/ 62 h 258"/>
              <a:gd name="T20" fmla="*/ 170 w 338"/>
              <a:gd name="T21" fmla="*/ 79 h 258"/>
              <a:gd name="T22" fmla="*/ 180 w 338"/>
              <a:gd name="T23" fmla="*/ 93 h 258"/>
              <a:gd name="T24" fmla="*/ 184 w 338"/>
              <a:gd name="T25" fmla="*/ 110 h 258"/>
              <a:gd name="T26" fmla="*/ 148 w 338"/>
              <a:gd name="T27" fmla="*/ 122 h 258"/>
              <a:gd name="T28" fmla="*/ 148 w 338"/>
              <a:gd name="T29" fmla="*/ 139 h 258"/>
              <a:gd name="T30" fmla="*/ 143 w 338"/>
              <a:gd name="T31" fmla="*/ 158 h 258"/>
              <a:gd name="T32" fmla="*/ 147 w 338"/>
              <a:gd name="T33" fmla="*/ 171 h 258"/>
              <a:gd name="T34" fmla="*/ 159 w 338"/>
              <a:gd name="T35" fmla="*/ 177 h 258"/>
              <a:gd name="T36" fmla="*/ 156 w 338"/>
              <a:gd name="T37" fmla="*/ 195 h 258"/>
              <a:gd name="T38" fmla="*/ 127 w 338"/>
              <a:gd name="T39" fmla="*/ 211 h 258"/>
              <a:gd name="T40" fmla="*/ 120 w 338"/>
              <a:gd name="T41" fmla="*/ 220 h 258"/>
              <a:gd name="T42" fmla="*/ 138 w 338"/>
              <a:gd name="T43" fmla="*/ 214 h 258"/>
              <a:gd name="T44" fmla="*/ 157 w 338"/>
              <a:gd name="T45" fmla="*/ 205 h 258"/>
              <a:gd name="T46" fmla="*/ 180 w 338"/>
              <a:gd name="T47" fmla="*/ 191 h 258"/>
              <a:gd name="T48" fmla="*/ 196 w 338"/>
              <a:gd name="T49" fmla="*/ 174 h 258"/>
              <a:gd name="T50" fmla="*/ 226 w 338"/>
              <a:gd name="T51" fmla="*/ 156 h 258"/>
              <a:gd name="T52" fmla="*/ 203 w 338"/>
              <a:gd name="T53" fmla="*/ 179 h 258"/>
              <a:gd name="T54" fmla="*/ 218 w 338"/>
              <a:gd name="T55" fmla="*/ 176 h 258"/>
              <a:gd name="T56" fmla="*/ 233 w 338"/>
              <a:gd name="T57" fmla="*/ 168 h 258"/>
              <a:gd name="T58" fmla="*/ 240 w 338"/>
              <a:gd name="T59" fmla="*/ 173 h 258"/>
              <a:gd name="T60" fmla="*/ 261 w 338"/>
              <a:gd name="T61" fmla="*/ 185 h 258"/>
              <a:gd name="T62" fmla="*/ 276 w 338"/>
              <a:gd name="T63" fmla="*/ 197 h 258"/>
              <a:gd name="T64" fmla="*/ 282 w 338"/>
              <a:gd name="T65" fmla="*/ 203 h 258"/>
              <a:gd name="T66" fmla="*/ 291 w 338"/>
              <a:gd name="T67" fmla="*/ 206 h 258"/>
              <a:gd name="T68" fmla="*/ 293 w 338"/>
              <a:gd name="T69" fmla="*/ 229 h 258"/>
              <a:gd name="T70" fmla="*/ 299 w 338"/>
              <a:gd name="T71" fmla="*/ 244 h 258"/>
              <a:gd name="T72" fmla="*/ 286 w 338"/>
              <a:gd name="T73" fmla="*/ 253 h 258"/>
              <a:gd name="T74" fmla="*/ 283 w 338"/>
              <a:gd name="T75" fmla="*/ 253 h 258"/>
              <a:gd name="T76" fmla="*/ 286 w 338"/>
              <a:gd name="T77" fmla="*/ 241 h 258"/>
              <a:gd name="T78" fmla="*/ 287 w 338"/>
              <a:gd name="T79" fmla="*/ 256 h 258"/>
              <a:gd name="T80" fmla="*/ 293 w 338"/>
              <a:gd name="T81" fmla="*/ 243 h 258"/>
              <a:gd name="T82" fmla="*/ 291 w 338"/>
              <a:gd name="T83" fmla="*/ 235 h 258"/>
              <a:gd name="T84" fmla="*/ 285 w 338"/>
              <a:gd name="T85" fmla="*/ 236 h 258"/>
              <a:gd name="T86" fmla="*/ 282 w 338"/>
              <a:gd name="T87" fmla="*/ 226 h 258"/>
              <a:gd name="T88" fmla="*/ 289 w 338"/>
              <a:gd name="T89" fmla="*/ 225 h 258"/>
              <a:gd name="T90" fmla="*/ 279 w 338"/>
              <a:gd name="T91" fmla="*/ 222 h 258"/>
              <a:gd name="T92" fmla="*/ 156 w 338"/>
              <a:gd name="T93" fmla="*/ 117 h 258"/>
              <a:gd name="T94" fmla="*/ 245 w 338"/>
              <a:gd name="T95" fmla="*/ 182 h 258"/>
              <a:gd name="T96" fmla="*/ 227 w 338"/>
              <a:gd name="T97" fmla="*/ 180 h 258"/>
              <a:gd name="T98" fmla="*/ 128 w 338"/>
              <a:gd name="T99" fmla="*/ 97 h 258"/>
              <a:gd name="T100" fmla="*/ 130 w 338"/>
              <a:gd name="T101" fmla="*/ 148 h 258"/>
              <a:gd name="T102" fmla="*/ 190 w 338"/>
              <a:gd name="T103" fmla="*/ 189 h 258"/>
              <a:gd name="T104" fmla="*/ 180 w 338"/>
              <a:gd name="T105" fmla="*/ 197 h 258"/>
              <a:gd name="T106" fmla="*/ 184 w 338"/>
              <a:gd name="T107" fmla="*/ 200 h 258"/>
              <a:gd name="T108" fmla="*/ 171 w 338"/>
              <a:gd name="T109" fmla="*/ 211 h 258"/>
              <a:gd name="T110" fmla="*/ 132 w 338"/>
              <a:gd name="T111" fmla="*/ 222 h 258"/>
              <a:gd name="T112" fmla="*/ 4 w 338"/>
              <a:gd name="T113" fmla="*/ 243 h 258"/>
              <a:gd name="T114" fmla="*/ 31 w 338"/>
              <a:gd name="T115" fmla="*/ 243 h 258"/>
              <a:gd name="T116" fmla="*/ 59 w 338"/>
              <a:gd name="T117" fmla="*/ 241 h 258"/>
              <a:gd name="T118" fmla="*/ 85 w 338"/>
              <a:gd name="T119" fmla="*/ 232 h 258"/>
              <a:gd name="T120" fmla="*/ 97 w 338"/>
              <a:gd name="T121" fmla="*/ 230 h 258"/>
              <a:gd name="T122" fmla="*/ 102 w 338"/>
              <a:gd name="T123" fmla="*/ 22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8" h="258">
                <a:moveTo>
                  <a:pt x="304" y="246"/>
                </a:moveTo>
                <a:cubicBezTo>
                  <a:pt x="304" y="246"/>
                  <a:pt x="304" y="246"/>
                  <a:pt x="304" y="246"/>
                </a:cubicBezTo>
                <a:cubicBezTo>
                  <a:pt x="304" y="245"/>
                  <a:pt x="304" y="245"/>
                  <a:pt x="304" y="245"/>
                </a:cubicBezTo>
                <a:cubicBezTo>
                  <a:pt x="305" y="245"/>
                  <a:pt x="305" y="245"/>
                  <a:pt x="305" y="245"/>
                </a:cubicBezTo>
                <a:cubicBezTo>
                  <a:pt x="305" y="244"/>
                  <a:pt x="305" y="244"/>
                  <a:pt x="305" y="244"/>
                </a:cubicBezTo>
                <a:cubicBezTo>
                  <a:pt x="305" y="244"/>
                  <a:pt x="305" y="244"/>
                  <a:pt x="305" y="244"/>
                </a:cubicBezTo>
                <a:cubicBezTo>
                  <a:pt x="305" y="243"/>
                  <a:pt x="305" y="243"/>
                  <a:pt x="305" y="243"/>
                </a:cubicBezTo>
                <a:cubicBezTo>
                  <a:pt x="304" y="243"/>
                  <a:pt x="304" y="243"/>
                  <a:pt x="304" y="243"/>
                </a:cubicBezTo>
                <a:cubicBezTo>
                  <a:pt x="304" y="241"/>
                  <a:pt x="304" y="241"/>
                  <a:pt x="304" y="241"/>
                </a:cubicBezTo>
                <a:cubicBezTo>
                  <a:pt x="303" y="240"/>
                  <a:pt x="303" y="240"/>
                  <a:pt x="303" y="240"/>
                </a:cubicBezTo>
                <a:cubicBezTo>
                  <a:pt x="302" y="239"/>
                  <a:pt x="302" y="239"/>
                  <a:pt x="302" y="239"/>
                </a:cubicBezTo>
                <a:cubicBezTo>
                  <a:pt x="301" y="239"/>
                  <a:pt x="301" y="239"/>
                  <a:pt x="301" y="239"/>
                </a:cubicBezTo>
                <a:cubicBezTo>
                  <a:pt x="301" y="238"/>
                  <a:pt x="301" y="238"/>
                  <a:pt x="301" y="238"/>
                </a:cubicBezTo>
                <a:cubicBezTo>
                  <a:pt x="300" y="236"/>
                  <a:pt x="300" y="236"/>
                  <a:pt x="300" y="236"/>
                </a:cubicBezTo>
                <a:cubicBezTo>
                  <a:pt x="299" y="236"/>
                  <a:pt x="299" y="236"/>
                  <a:pt x="299" y="236"/>
                </a:cubicBezTo>
                <a:cubicBezTo>
                  <a:pt x="298" y="236"/>
                  <a:pt x="298" y="236"/>
                  <a:pt x="298" y="236"/>
                </a:cubicBezTo>
                <a:cubicBezTo>
                  <a:pt x="298" y="235"/>
                  <a:pt x="298" y="235"/>
                  <a:pt x="298" y="235"/>
                </a:cubicBezTo>
                <a:cubicBezTo>
                  <a:pt x="298" y="235"/>
                  <a:pt x="298" y="235"/>
                  <a:pt x="298" y="235"/>
                </a:cubicBezTo>
                <a:cubicBezTo>
                  <a:pt x="298" y="234"/>
                  <a:pt x="298" y="234"/>
                  <a:pt x="298" y="234"/>
                </a:cubicBezTo>
                <a:cubicBezTo>
                  <a:pt x="298" y="233"/>
                  <a:pt x="298" y="233"/>
                  <a:pt x="298" y="233"/>
                </a:cubicBezTo>
                <a:cubicBezTo>
                  <a:pt x="297" y="233"/>
                  <a:pt x="297" y="233"/>
                  <a:pt x="297" y="233"/>
                </a:cubicBezTo>
                <a:cubicBezTo>
                  <a:pt x="298" y="232"/>
                  <a:pt x="298" y="232"/>
                  <a:pt x="298" y="232"/>
                </a:cubicBezTo>
                <a:cubicBezTo>
                  <a:pt x="298" y="232"/>
                  <a:pt x="298" y="232"/>
                  <a:pt x="298" y="232"/>
                </a:cubicBezTo>
                <a:cubicBezTo>
                  <a:pt x="298" y="231"/>
                  <a:pt x="298" y="231"/>
                  <a:pt x="298" y="231"/>
                </a:cubicBezTo>
                <a:cubicBezTo>
                  <a:pt x="297" y="231"/>
                  <a:pt x="297" y="231"/>
                  <a:pt x="297" y="231"/>
                </a:cubicBezTo>
                <a:cubicBezTo>
                  <a:pt x="297" y="231"/>
                  <a:pt x="297" y="231"/>
                  <a:pt x="297" y="231"/>
                </a:cubicBezTo>
                <a:cubicBezTo>
                  <a:pt x="297" y="230"/>
                  <a:pt x="297" y="230"/>
                  <a:pt x="297" y="230"/>
                </a:cubicBezTo>
                <a:cubicBezTo>
                  <a:pt x="298" y="229"/>
                  <a:pt x="298" y="229"/>
                  <a:pt x="298" y="229"/>
                </a:cubicBezTo>
                <a:cubicBezTo>
                  <a:pt x="298" y="225"/>
                  <a:pt x="298" y="225"/>
                  <a:pt x="298" y="225"/>
                </a:cubicBezTo>
                <a:cubicBezTo>
                  <a:pt x="298" y="220"/>
                  <a:pt x="298" y="220"/>
                  <a:pt x="298" y="220"/>
                </a:cubicBezTo>
                <a:cubicBezTo>
                  <a:pt x="298" y="217"/>
                  <a:pt x="298" y="217"/>
                  <a:pt x="298" y="217"/>
                </a:cubicBezTo>
                <a:cubicBezTo>
                  <a:pt x="298" y="216"/>
                  <a:pt x="298" y="216"/>
                  <a:pt x="298" y="216"/>
                </a:cubicBezTo>
                <a:cubicBezTo>
                  <a:pt x="298" y="215"/>
                  <a:pt x="298" y="215"/>
                  <a:pt x="298" y="215"/>
                </a:cubicBezTo>
                <a:cubicBezTo>
                  <a:pt x="298" y="213"/>
                  <a:pt x="298" y="213"/>
                  <a:pt x="298" y="213"/>
                </a:cubicBezTo>
                <a:cubicBezTo>
                  <a:pt x="298" y="212"/>
                  <a:pt x="298" y="212"/>
                  <a:pt x="298" y="212"/>
                </a:cubicBezTo>
                <a:cubicBezTo>
                  <a:pt x="297" y="211"/>
                  <a:pt x="297" y="211"/>
                  <a:pt x="297" y="211"/>
                </a:cubicBezTo>
                <a:cubicBezTo>
                  <a:pt x="297" y="209"/>
                  <a:pt x="297" y="209"/>
                  <a:pt x="297" y="209"/>
                </a:cubicBezTo>
                <a:cubicBezTo>
                  <a:pt x="296" y="207"/>
                  <a:pt x="296" y="207"/>
                  <a:pt x="296" y="207"/>
                </a:cubicBezTo>
                <a:cubicBezTo>
                  <a:pt x="295" y="205"/>
                  <a:pt x="295" y="205"/>
                  <a:pt x="295" y="205"/>
                </a:cubicBezTo>
                <a:cubicBezTo>
                  <a:pt x="296" y="204"/>
                  <a:pt x="296" y="204"/>
                  <a:pt x="296" y="204"/>
                </a:cubicBezTo>
                <a:cubicBezTo>
                  <a:pt x="294" y="200"/>
                  <a:pt x="294" y="200"/>
                  <a:pt x="294" y="200"/>
                </a:cubicBezTo>
                <a:cubicBezTo>
                  <a:pt x="295" y="200"/>
                  <a:pt x="295" y="200"/>
                  <a:pt x="295" y="200"/>
                </a:cubicBezTo>
                <a:cubicBezTo>
                  <a:pt x="296" y="198"/>
                  <a:pt x="296" y="198"/>
                  <a:pt x="296" y="198"/>
                </a:cubicBezTo>
                <a:cubicBezTo>
                  <a:pt x="295" y="197"/>
                  <a:pt x="295" y="197"/>
                  <a:pt x="295" y="197"/>
                </a:cubicBezTo>
                <a:cubicBezTo>
                  <a:pt x="295" y="196"/>
                  <a:pt x="295" y="196"/>
                  <a:pt x="295" y="196"/>
                </a:cubicBezTo>
                <a:cubicBezTo>
                  <a:pt x="294" y="195"/>
                  <a:pt x="294" y="195"/>
                  <a:pt x="294" y="195"/>
                </a:cubicBezTo>
                <a:cubicBezTo>
                  <a:pt x="292" y="195"/>
                  <a:pt x="292" y="195"/>
                  <a:pt x="292" y="195"/>
                </a:cubicBezTo>
                <a:cubicBezTo>
                  <a:pt x="290" y="195"/>
                  <a:pt x="290" y="195"/>
                  <a:pt x="290" y="195"/>
                </a:cubicBezTo>
                <a:cubicBezTo>
                  <a:pt x="289" y="196"/>
                  <a:pt x="289" y="196"/>
                  <a:pt x="289" y="196"/>
                </a:cubicBezTo>
                <a:cubicBezTo>
                  <a:pt x="287" y="196"/>
                  <a:pt x="287" y="196"/>
                  <a:pt x="287" y="196"/>
                </a:cubicBezTo>
                <a:cubicBezTo>
                  <a:pt x="286" y="198"/>
                  <a:pt x="286" y="198"/>
                  <a:pt x="286" y="198"/>
                </a:cubicBezTo>
                <a:cubicBezTo>
                  <a:pt x="284" y="200"/>
                  <a:pt x="284" y="200"/>
                  <a:pt x="284" y="200"/>
                </a:cubicBezTo>
                <a:cubicBezTo>
                  <a:pt x="282" y="201"/>
                  <a:pt x="282" y="201"/>
                  <a:pt x="282" y="201"/>
                </a:cubicBezTo>
                <a:cubicBezTo>
                  <a:pt x="280" y="202"/>
                  <a:pt x="280" y="202"/>
                  <a:pt x="280" y="202"/>
                </a:cubicBezTo>
                <a:cubicBezTo>
                  <a:pt x="278" y="202"/>
                  <a:pt x="278" y="202"/>
                  <a:pt x="278" y="202"/>
                </a:cubicBezTo>
                <a:cubicBezTo>
                  <a:pt x="278" y="202"/>
                  <a:pt x="278" y="202"/>
                  <a:pt x="278" y="202"/>
                </a:cubicBezTo>
                <a:cubicBezTo>
                  <a:pt x="278" y="201"/>
                  <a:pt x="278" y="201"/>
                  <a:pt x="278" y="201"/>
                </a:cubicBezTo>
                <a:cubicBezTo>
                  <a:pt x="279" y="199"/>
                  <a:pt x="279" y="199"/>
                  <a:pt x="279" y="199"/>
                </a:cubicBezTo>
                <a:cubicBezTo>
                  <a:pt x="278" y="198"/>
                  <a:pt x="278" y="198"/>
                  <a:pt x="278" y="198"/>
                </a:cubicBezTo>
                <a:cubicBezTo>
                  <a:pt x="276" y="191"/>
                  <a:pt x="276" y="191"/>
                  <a:pt x="276" y="191"/>
                </a:cubicBezTo>
                <a:cubicBezTo>
                  <a:pt x="275" y="187"/>
                  <a:pt x="275" y="187"/>
                  <a:pt x="275" y="187"/>
                </a:cubicBezTo>
                <a:cubicBezTo>
                  <a:pt x="275" y="186"/>
                  <a:pt x="275" y="186"/>
                  <a:pt x="275" y="186"/>
                </a:cubicBezTo>
                <a:cubicBezTo>
                  <a:pt x="276" y="183"/>
                  <a:pt x="276" y="183"/>
                  <a:pt x="276" y="183"/>
                </a:cubicBezTo>
                <a:cubicBezTo>
                  <a:pt x="273" y="183"/>
                  <a:pt x="273" y="183"/>
                  <a:pt x="273" y="183"/>
                </a:cubicBezTo>
                <a:cubicBezTo>
                  <a:pt x="270" y="184"/>
                  <a:pt x="270" y="184"/>
                  <a:pt x="270" y="184"/>
                </a:cubicBezTo>
                <a:cubicBezTo>
                  <a:pt x="269" y="183"/>
                  <a:pt x="269" y="183"/>
                  <a:pt x="269" y="183"/>
                </a:cubicBezTo>
                <a:cubicBezTo>
                  <a:pt x="265" y="183"/>
                  <a:pt x="265" y="183"/>
                  <a:pt x="265" y="183"/>
                </a:cubicBezTo>
                <a:cubicBezTo>
                  <a:pt x="338" y="50"/>
                  <a:pt x="338" y="50"/>
                  <a:pt x="338" y="50"/>
                </a:cubicBezTo>
                <a:cubicBezTo>
                  <a:pt x="338" y="50"/>
                  <a:pt x="338" y="50"/>
                  <a:pt x="338" y="50"/>
                </a:cubicBezTo>
                <a:cubicBezTo>
                  <a:pt x="336" y="50"/>
                  <a:pt x="336" y="50"/>
                  <a:pt x="336" y="50"/>
                </a:cubicBezTo>
                <a:cubicBezTo>
                  <a:pt x="335" y="50"/>
                  <a:pt x="335" y="50"/>
                  <a:pt x="335" y="50"/>
                </a:cubicBezTo>
                <a:cubicBezTo>
                  <a:pt x="335" y="49"/>
                  <a:pt x="335" y="49"/>
                  <a:pt x="335" y="49"/>
                </a:cubicBezTo>
                <a:cubicBezTo>
                  <a:pt x="334" y="46"/>
                  <a:pt x="334" y="46"/>
                  <a:pt x="334" y="46"/>
                </a:cubicBezTo>
                <a:cubicBezTo>
                  <a:pt x="333" y="45"/>
                  <a:pt x="333" y="45"/>
                  <a:pt x="333" y="45"/>
                </a:cubicBezTo>
                <a:cubicBezTo>
                  <a:pt x="333" y="45"/>
                  <a:pt x="333" y="45"/>
                  <a:pt x="333" y="45"/>
                </a:cubicBezTo>
                <a:cubicBezTo>
                  <a:pt x="332" y="43"/>
                  <a:pt x="332" y="43"/>
                  <a:pt x="332" y="43"/>
                </a:cubicBezTo>
                <a:cubicBezTo>
                  <a:pt x="332" y="42"/>
                  <a:pt x="332" y="42"/>
                  <a:pt x="332" y="42"/>
                </a:cubicBezTo>
                <a:cubicBezTo>
                  <a:pt x="331" y="41"/>
                  <a:pt x="331" y="41"/>
                  <a:pt x="331" y="41"/>
                </a:cubicBezTo>
                <a:cubicBezTo>
                  <a:pt x="329" y="41"/>
                  <a:pt x="329" y="41"/>
                  <a:pt x="329" y="41"/>
                </a:cubicBezTo>
                <a:cubicBezTo>
                  <a:pt x="328" y="41"/>
                  <a:pt x="328" y="41"/>
                  <a:pt x="328" y="41"/>
                </a:cubicBezTo>
                <a:cubicBezTo>
                  <a:pt x="327" y="41"/>
                  <a:pt x="327" y="41"/>
                  <a:pt x="327" y="41"/>
                </a:cubicBezTo>
                <a:cubicBezTo>
                  <a:pt x="325" y="42"/>
                  <a:pt x="325" y="42"/>
                  <a:pt x="325" y="42"/>
                </a:cubicBezTo>
                <a:cubicBezTo>
                  <a:pt x="324" y="41"/>
                  <a:pt x="324" y="41"/>
                  <a:pt x="324" y="41"/>
                </a:cubicBezTo>
                <a:cubicBezTo>
                  <a:pt x="324" y="41"/>
                  <a:pt x="324" y="41"/>
                  <a:pt x="324" y="41"/>
                </a:cubicBezTo>
                <a:cubicBezTo>
                  <a:pt x="323" y="41"/>
                  <a:pt x="323" y="41"/>
                  <a:pt x="323" y="41"/>
                </a:cubicBezTo>
                <a:cubicBezTo>
                  <a:pt x="323" y="41"/>
                  <a:pt x="323" y="41"/>
                  <a:pt x="323" y="41"/>
                </a:cubicBezTo>
                <a:cubicBezTo>
                  <a:pt x="322" y="41"/>
                  <a:pt x="322" y="41"/>
                  <a:pt x="322" y="41"/>
                </a:cubicBezTo>
                <a:cubicBezTo>
                  <a:pt x="322" y="41"/>
                  <a:pt x="322" y="41"/>
                  <a:pt x="322" y="41"/>
                </a:cubicBezTo>
                <a:cubicBezTo>
                  <a:pt x="323" y="41"/>
                  <a:pt x="323" y="41"/>
                  <a:pt x="323" y="41"/>
                </a:cubicBezTo>
                <a:cubicBezTo>
                  <a:pt x="323" y="40"/>
                  <a:pt x="323" y="40"/>
                  <a:pt x="323" y="40"/>
                </a:cubicBezTo>
                <a:cubicBezTo>
                  <a:pt x="322" y="39"/>
                  <a:pt x="322" y="39"/>
                  <a:pt x="322" y="39"/>
                </a:cubicBezTo>
                <a:cubicBezTo>
                  <a:pt x="321" y="40"/>
                  <a:pt x="321" y="40"/>
                  <a:pt x="321" y="40"/>
                </a:cubicBezTo>
                <a:cubicBezTo>
                  <a:pt x="320" y="39"/>
                  <a:pt x="320" y="39"/>
                  <a:pt x="320" y="39"/>
                </a:cubicBezTo>
                <a:cubicBezTo>
                  <a:pt x="320" y="39"/>
                  <a:pt x="320" y="39"/>
                  <a:pt x="320" y="39"/>
                </a:cubicBezTo>
                <a:cubicBezTo>
                  <a:pt x="321" y="39"/>
                  <a:pt x="321" y="39"/>
                  <a:pt x="321" y="39"/>
                </a:cubicBezTo>
                <a:cubicBezTo>
                  <a:pt x="320" y="38"/>
                  <a:pt x="320" y="38"/>
                  <a:pt x="320" y="38"/>
                </a:cubicBezTo>
                <a:cubicBezTo>
                  <a:pt x="320" y="38"/>
                  <a:pt x="320" y="38"/>
                  <a:pt x="320" y="38"/>
                </a:cubicBezTo>
                <a:cubicBezTo>
                  <a:pt x="319" y="38"/>
                  <a:pt x="319" y="38"/>
                  <a:pt x="319" y="38"/>
                </a:cubicBezTo>
                <a:cubicBezTo>
                  <a:pt x="319" y="37"/>
                  <a:pt x="319" y="37"/>
                  <a:pt x="319" y="37"/>
                </a:cubicBezTo>
                <a:cubicBezTo>
                  <a:pt x="318" y="36"/>
                  <a:pt x="318" y="36"/>
                  <a:pt x="318" y="36"/>
                </a:cubicBezTo>
                <a:cubicBezTo>
                  <a:pt x="316" y="35"/>
                  <a:pt x="316" y="35"/>
                  <a:pt x="316" y="35"/>
                </a:cubicBezTo>
                <a:cubicBezTo>
                  <a:pt x="316" y="35"/>
                  <a:pt x="316" y="35"/>
                  <a:pt x="316" y="35"/>
                </a:cubicBezTo>
                <a:cubicBezTo>
                  <a:pt x="315" y="35"/>
                  <a:pt x="315" y="35"/>
                  <a:pt x="315" y="35"/>
                </a:cubicBezTo>
                <a:cubicBezTo>
                  <a:pt x="315" y="35"/>
                  <a:pt x="315" y="35"/>
                  <a:pt x="315" y="35"/>
                </a:cubicBezTo>
                <a:cubicBezTo>
                  <a:pt x="314" y="35"/>
                  <a:pt x="314" y="35"/>
                  <a:pt x="314" y="35"/>
                </a:cubicBezTo>
                <a:cubicBezTo>
                  <a:pt x="314" y="35"/>
                  <a:pt x="314" y="35"/>
                  <a:pt x="314" y="35"/>
                </a:cubicBezTo>
                <a:cubicBezTo>
                  <a:pt x="314" y="35"/>
                  <a:pt x="314" y="35"/>
                  <a:pt x="314" y="35"/>
                </a:cubicBezTo>
                <a:cubicBezTo>
                  <a:pt x="313" y="34"/>
                  <a:pt x="313" y="34"/>
                  <a:pt x="313" y="34"/>
                </a:cubicBezTo>
                <a:cubicBezTo>
                  <a:pt x="312" y="35"/>
                  <a:pt x="312" y="35"/>
                  <a:pt x="312" y="35"/>
                </a:cubicBezTo>
                <a:cubicBezTo>
                  <a:pt x="312" y="35"/>
                  <a:pt x="312" y="35"/>
                  <a:pt x="312" y="35"/>
                </a:cubicBezTo>
                <a:cubicBezTo>
                  <a:pt x="312" y="34"/>
                  <a:pt x="312" y="34"/>
                  <a:pt x="312" y="34"/>
                </a:cubicBezTo>
                <a:cubicBezTo>
                  <a:pt x="312" y="34"/>
                  <a:pt x="312" y="34"/>
                  <a:pt x="312" y="34"/>
                </a:cubicBezTo>
                <a:cubicBezTo>
                  <a:pt x="312" y="33"/>
                  <a:pt x="312" y="33"/>
                  <a:pt x="312" y="33"/>
                </a:cubicBezTo>
                <a:cubicBezTo>
                  <a:pt x="311" y="33"/>
                  <a:pt x="311" y="33"/>
                  <a:pt x="311" y="33"/>
                </a:cubicBezTo>
                <a:cubicBezTo>
                  <a:pt x="310" y="33"/>
                  <a:pt x="310" y="33"/>
                  <a:pt x="310" y="33"/>
                </a:cubicBezTo>
                <a:cubicBezTo>
                  <a:pt x="310" y="32"/>
                  <a:pt x="310" y="32"/>
                  <a:pt x="310" y="32"/>
                </a:cubicBezTo>
                <a:cubicBezTo>
                  <a:pt x="310" y="32"/>
                  <a:pt x="310" y="32"/>
                  <a:pt x="310" y="32"/>
                </a:cubicBezTo>
                <a:cubicBezTo>
                  <a:pt x="309" y="31"/>
                  <a:pt x="309" y="31"/>
                  <a:pt x="309" y="31"/>
                </a:cubicBezTo>
                <a:cubicBezTo>
                  <a:pt x="308" y="30"/>
                  <a:pt x="308" y="30"/>
                  <a:pt x="308" y="30"/>
                </a:cubicBezTo>
                <a:cubicBezTo>
                  <a:pt x="308" y="30"/>
                  <a:pt x="308" y="30"/>
                  <a:pt x="308" y="30"/>
                </a:cubicBezTo>
                <a:cubicBezTo>
                  <a:pt x="308" y="29"/>
                  <a:pt x="308" y="29"/>
                  <a:pt x="308" y="29"/>
                </a:cubicBezTo>
                <a:cubicBezTo>
                  <a:pt x="307" y="29"/>
                  <a:pt x="307" y="29"/>
                  <a:pt x="307" y="29"/>
                </a:cubicBezTo>
                <a:cubicBezTo>
                  <a:pt x="307" y="30"/>
                  <a:pt x="307" y="30"/>
                  <a:pt x="307" y="30"/>
                </a:cubicBezTo>
                <a:cubicBezTo>
                  <a:pt x="304" y="32"/>
                  <a:pt x="304" y="32"/>
                  <a:pt x="304" y="32"/>
                </a:cubicBezTo>
                <a:cubicBezTo>
                  <a:pt x="302" y="33"/>
                  <a:pt x="302" y="33"/>
                  <a:pt x="302" y="33"/>
                </a:cubicBezTo>
                <a:cubicBezTo>
                  <a:pt x="304" y="32"/>
                  <a:pt x="304" y="32"/>
                  <a:pt x="304" y="32"/>
                </a:cubicBezTo>
                <a:cubicBezTo>
                  <a:pt x="305" y="29"/>
                  <a:pt x="305" y="29"/>
                  <a:pt x="305" y="29"/>
                </a:cubicBezTo>
                <a:cubicBezTo>
                  <a:pt x="307" y="28"/>
                  <a:pt x="307" y="28"/>
                  <a:pt x="307" y="28"/>
                </a:cubicBezTo>
                <a:cubicBezTo>
                  <a:pt x="307" y="26"/>
                  <a:pt x="307" y="26"/>
                  <a:pt x="307" y="26"/>
                </a:cubicBezTo>
                <a:cubicBezTo>
                  <a:pt x="306" y="26"/>
                  <a:pt x="306" y="26"/>
                  <a:pt x="306" y="26"/>
                </a:cubicBezTo>
                <a:cubicBezTo>
                  <a:pt x="305" y="25"/>
                  <a:pt x="305" y="25"/>
                  <a:pt x="305" y="25"/>
                </a:cubicBezTo>
                <a:cubicBezTo>
                  <a:pt x="303" y="25"/>
                  <a:pt x="303" y="25"/>
                  <a:pt x="303" y="25"/>
                </a:cubicBezTo>
                <a:cubicBezTo>
                  <a:pt x="301" y="25"/>
                  <a:pt x="301" y="25"/>
                  <a:pt x="301" y="25"/>
                </a:cubicBezTo>
                <a:cubicBezTo>
                  <a:pt x="300" y="25"/>
                  <a:pt x="300" y="25"/>
                  <a:pt x="300" y="25"/>
                </a:cubicBezTo>
                <a:cubicBezTo>
                  <a:pt x="300" y="26"/>
                  <a:pt x="300" y="26"/>
                  <a:pt x="300" y="26"/>
                </a:cubicBezTo>
                <a:cubicBezTo>
                  <a:pt x="298" y="26"/>
                  <a:pt x="298" y="26"/>
                  <a:pt x="298" y="26"/>
                </a:cubicBezTo>
                <a:cubicBezTo>
                  <a:pt x="297" y="28"/>
                  <a:pt x="297" y="28"/>
                  <a:pt x="297" y="28"/>
                </a:cubicBezTo>
                <a:cubicBezTo>
                  <a:pt x="295" y="29"/>
                  <a:pt x="295" y="29"/>
                  <a:pt x="295" y="29"/>
                </a:cubicBezTo>
                <a:cubicBezTo>
                  <a:pt x="296" y="28"/>
                  <a:pt x="296" y="28"/>
                  <a:pt x="296" y="28"/>
                </a:cubicBezTo>
                <a:cubicBezTo>
                  <a:pt x="296" y="26"/>
                  <a:pt x="296" y="26"/>
                  <a:pt x="296" y="26"/>
                </a:cubicBezTo>
                <a:cubicBezTo>
                  <a:pt x="296" y="24"/>
                  <a:pt x="296" y="24"/>
                  <a:pt x="296" y="24"/>
                </a:cubicBezTo>
                <a:cubicBezTo>
                  <a:pt x="296" y="23"/>
                  <a:pt x="296" y="23"/>
                  <a:pt x="296" y="23"/>
                </a:cubicBezTo>
                <a:cubicBezTo>
                  <a:pt x="294" y="22"/>
                  <a:pt x="294" y="22"/>
                  <a:pt x="294" y="22"/>
                </a:cubicBezTo>
                <a:cubicBezTo>
                  <a:pt x="294" y="22"/>
                  <a:pt x="294" y="22"/>
                  <a:pt x="294" y="22"/>
                </a:cubicBezTo>
                <a:cubicBezTo>
                  <a:pt x="295" y="21"/>
                  <a:pt x="295" y="21"/>
                  <a:pt x="295" y="21"/>
                </a:cubicBezTo>
                <a:cubicBezTo>
                  <a:pt x="296" y="21"/>
                  <a:pt x="296" y="21"/>
                  <a:pt x="296" y="21"/>
                </a:cubicBezTo>
                <a:cubicBezTo>
                  <a:pt x="296" y="21"/>
                  <a:pt x="296" y="21"/>
                  <a:pt x="296" y="21"/>
                </a:cubicBezTo>
                <a:cubicBezTo>
                  <a:pt x="293" y="19"/>
                  <a:pt x="293" y="19"/>
                  <a:pt x="293" y="19"/>
                </a:cubicBezTo>
                <a:cubicBezTo>
                  <a:pt x="293" y="18"/>
                  <a:pt x="293" y="18"/>
                  <a:pt x="293" y="18"/>
                </a:cubicBezTo>
                <a:cubicBezTo>
                  <a:pt x="294" y="17"/>
                  <a:pt x="294" y="17"/>
                  <a:pt x="294" y="17"/>
                </a:cubicBezTo>
                <a:cubicBezTo>
                  <a:pt x="295" y="16"/>
                  <a:pt x="295" y="16"/>
                  <a:pt x="295" y="16"/>
                </a:cubicBezTo>
                <a:cubicBezTo>
                  <a:pt x="296" y="16"/>
                  <a:pt x="296" y="16"/>
                  <a:pt x="296" y="16"/>
                </a:cubicBezTo>
                <a:cubicBezTo>
                  <a:pt x="296" y="15"/>
                  <a:pt x="296" y="15"/>
                  <a:pt x="296" y="15"/>
                </a:cubicBezTo>
                <a:cubicBezTo>
                  <a:pt x="295" y="13"/>
                  <a:pt x="295" y="13"/>
                  <a:pt x="295" y="13"/>
                </a:cubicBezTo>
                <a:cubicBezTo>
                  <a:pt x="294" y="13"/>
                  <a:pt x="294" y="13"/>
                  <a:pt x="294" y="13"/>
                </a:cubicBezTo>
                <a:cubicBezTo>
                  <a:pt x="294" y="14"/>
                  <a:pt x="294" y="14"/>
                  <a:pt x="294" y="14"/>
                </a:cubicBezTo>
                <a:cubicBezTo>
                  <a:pt x="293" y="13"/>
                  <a:pt x="293" y="13"/>
                  <a:pt x="293" y="13"/>
                </a:cubicBezTo>
                <a:cubicBezTo>
                  <a:pt x="292" y="12"/>
                  <a:pt x="292" y="12"/>
                  <a:pt x="292" y="12"/>
                </a:cubicBezTo>
                <a:cubicBezTo>
                  <a:pt x="291" y="13"/>
                  <a:pt x="291" y="13"/>
                  <a:pt x="291" y="13"/>
                </a:cubicBezTo>
                <a:cubicBezTo>
                  <a:pt x="290" y="12"/>
                  <a:pt x="290" y="12"/>
                  <a:pt x="290" y="12"/>
                </a:cubicBezTo>
                <a:cubicBezTo>
                  <a:pt x="289" y="12"/>
                  <a:pt x="289" y="12"/>
                  <a:pt x="289" y="12"/>
                </a:cubicBezTo>
                <a:cubicBezTo>
                  <a:pt x="288" y="12"/>
                  <a:pt x="288" y="12"/>
                  <a:pt x="288" y="12"/>
                </a:cubicBezTo>
                <a:cubicBezTo>
                  <a:pt x="287" y="12"/>
                  <a:pt x="287" y="12"/>
                  <a:pt x="287" y="12"/>
                </a:cubicBezTo>
                <a:cubicBezTo>
                  <a:pt x="286" y="13"/>
                  <a:pt x="286" y="13"/>
                  <a:pt x="286" y="13"/>
                </a:cubicBezTo>
                <a:cubicBezTo>
                  <a:pt x="286" y="14"/>
                  <a:pt x="286" y="14"/>
                  <a:pt x="286" y="14"/>
                </a:cubicBezTo>
                <a:cubicBezTo>
                  <a:pt x="285" y="13"/>
                  <a:pt x="285" y="13"/>
                  <a:pt x="285" y="13"/>
                </a:cubicBezTo>
                <a:cubicBezTo>
                  <a:pt x="286" y="12"/>
                  <a:pt x="286" y="12"/>
                  <a:pt x="286" y="12"/>
                </a:cubicBezTo>
                <a:cubicBezTo>
                  <a:pt x="286" y="11"/>
                  <a:pt x="286" y="11"/>
                  <a:pt x="286" y="11"/>
                </a:cubicBezTo>
                <a:cubicBezTo>
                  <a:pt x="286" y="10"/>
                  <a:pt x="286" y="10"/>
                  <a:pt x="286" y="10"/>
                </a:cubicBezTo>
                <a:cubicBezTo>
                  <a:pt x="286" y="9"/>
                  <a:pt x="286" y="9"/>
                  <a:pt x="286" y="9"/>
                </a:cubicBezTo>
                <a:cubicBezTo>
                  <a:pt x="287" y="9"/>
                  <a:pt x="287" y="9"/>
                  <a:pt x="287" y="9"/>
                </a:cubicBezTo>
                <a:cubicBezTo>
                  <a:pt x="287" y="8"/>
                  <a:pt x="287" y="8"/>
                  <a:pt x="287" y="8"/>
                </a:cubicBezTo>
                <a:cubicBezTo>
                  <a:pt x="288" y="7"/>
                  <a:pt x="288" y="7"/>
                  <a:pt x="288" y="7"/>
                </a:cubicBezTo>
                <a:cubicBezTo>
                  <a:pt x="287" y="6"/>
                  <a:pt x="287" y="6"/>
                  <a:pt x="287" y="6"/>
                </a:cubicBezTo>
                <a:cubicBezTo>
                  <a:pt x="287" y="6"/>
                  <a:pt x="287" y="6"/>
                  <a:pt x="287" y="6"/>
                </a:cubicBezTo>
                <a:cubicBezTo>
                  <a:pt x="285" y="7"/>
                  <a:pt x="285" y="7"/>
                  <a:pt x="285" y="7"/>
                </a:cubicBezTo>
                <a:cubicBezTo>
                  <a:pt x="285" y="8"/>
                  <a:pt x="285" y="8"/>
                  <a:pt x="285" y="8"/>
                </a:cubicBezTo>
                <a:cubicBezTo>
                  <a:pt x="285" y="8"/>
                  <a:pt x="285" y="8"/>
                  <a:pt x="285" y="8"/>
                </a:cubicBezTo>
                <a:cubicBezTo>
                  <a:pt x="284" y="8"/>
                  <a:pt x="284" y="8"/>
                  <a:pt x="284" y="8"/>
                </a:cubicBezTo>
                <a:cubicBezTo>
                  <a:pt x="283" y="8"/>
                  <a:pt x="283" y="8"/>
                  <a:pt x="283" y="8"/>
                </a:cubicBezTo>
                <a:cubicBezTo>
                  <a:pt x="282" y="9"/>
                  <a:pt x="282" y="9"/>
                  <a:pt x="282" y="9"/>
                </a:cubicBezTo>
                <a:cubicBezTo>
                  <a:pt x="283" y="10"/>
                  <a:pt x="283" y="10"/>
                  <a:pt x="283" y="10"/>
                </a:cubicBezTo>
                <a:cubicBezTo>
                  <a:pt x="282" y="11"/>
                  <a:pt x="282" y="11"/>
                  <a:pt x="282" y="11"/>
                </a:cubicBezTo>
                <a:cubicBezTo>
                  <a:pt x="281" y="11"/>
                  <a:pt x="281" y="11"/>
                  <a:pt x="281" y="11"/>
                </a:cubicBezTo>
                <a:cubicBezTo>
                  <a:pt x="281" y="11"/>
                  <a:pt x="281" y="11"/>
                  <a:pt x="281" y="11"/>
                </a:cubicBezTo>
                <a:cubicBezTo>
                  <a:pt x="280" y="12"/>
                  <a:pt x="280" y="12"/>
                  <a:pt x="280" y="12"/>
                </a:cubicBezTo>
                <a:cubicBezTo>
                  <a:pt x="280" y="13"/>
                  <a:pt x="280" y="13"/>
                  <a:pt x="280" y="13"/>
                </a:cubicBezTo>
                <a:cubicBezTo>
                  <a:pt x="280" y="12"/>
                  <a:pt x="280" y="12"/>
                  <a:pt x="280" y="12"/>
                </a:cubicBezTo>
                <a:cubicBezTo>
                  <a:pt x="280" y="11"/>
                  <a:pt x="280" y="11"/>
                  <a:pt x="280" y="11"/>
                </a:cubicBezTo>
                <a:cubicBezTo>
                  <a:pt x="280" y="10"/>
                  <a:pt x="280" y="10"/>
                  <a:pt x="280" y="10"/>
                </a:cubicBezTo>
                <a:cubicBezTo>
                  <a:pt x="280" y="10"/>
                  <a:pt x="280" y="10"/>
                  <a:pt x="280" y="10"/>
                </a:cubicBezTo>
                <a:cubicBezTo>
                  <a:pt x="279" y="11"/>
                  <a:pt x="279" y="11"/>
                  <a:pt x="279" y="11"/>
                </a:cubicBezTo>
                <a:cubicBezTo>
                  <a:pt x="279" y="11"/>
                  <a:pt x="279" y="11"/>
                  <a:pt x="279" y="11"/>
                </a:cubicBezTo>
                <a:cubicBezTo>
                  <a:pt x="278" y="12"/>
                  <a:pt x="278" y="12"/>
                  <a:pt x="278" y="12"/>
                </a:cubicBezTo>
                <a:cubicBezTo>
                  <a:pt x="278" y="10"/>
                  <a:pt x="278" y="10"/>
                  <a:pt x="278" y="10"/>
                </a:cubicBezTo>
                <a:cubicBezTo>
                  <a:pt x="278" y="9"/>
                  <a:pt x="278" y="9"/>
                  <a:pt x="278" y="9"/>
                </a:cubicBezTo>
                <a:cubicBezTo>
                  <a:pt x="276" y="9"/>
                  <a:pt x="276" y="9"/>
                  <a:pt x="276" y="9"/>
                </a:cubicBezTo>
                <a:cubicBezTo>
                  <a:pt x="277" y="8"/>
                  <a:pt x="277" y="8"/>
                  <a:pt x="277" y="8"/>
                </a:cubicBezTo>
                <a:cubicBezTo>
                  <a:pt x="278" y="7"/>
                  <a:pt x="278" y="7"/>
                  <a:pt x="278" y="7"/>
                </a:cubicBezTo>
                <a:cubicBezTo>
                  <a:pt x="279" y="6"/>
                  <a:pt x="279" y="6"/>
                  <a:pt x="279" y="6"/>
                </a:cubicBezTo>
                <a:cubicBezTo>
                  <a:pt x="281" y="7"/>
                  <a:pt x="281" y="7"/>
                  <a:pt x="281" y="7"/>
                </a:cubicBezTo>
                <a:cubicBezTo>
                  <a:pt x="282" y="7"/>
                  <a:pt x="282" y="7"/>
                  <a:pt x="282" y="7"/>
                </a:cubicBezTo>
                <a:cubicBezTo>
                  <a:pt x="284" y="6"/>
                  <a:pt x="284" y="6"/>
                  <a:pt x="284" y="6"/>
                </a:cubicBezTo>
                <a:cubicBezTo>
                  <a:pt x="285" y="5"/>
                  <a:pt x="285" y="5"/>
                  <a:pt x="285" y="5"/>
                </a:cubicBezTo>
                <a:cubicBezTo>
                  <a:pt x="285" y="5"/>
                  <a:pt x="285" y="5"/>
                  <a:pt x="285" y="5"/>
                </a:cubicBezTo>
                <a:cubicBezTo>
                  <a:pt x="285" y="4"/>
                  <a:pt x="285" y="4"/>
                  <a:pt x="285" y="4"/>
                </a:cubicBezTo>
                <a:cubicBezTo>
                  <a:pt x="285" y="4"/>
                  <a:pt x="285" y="4"/>
                  <a:pt x="285" y="4"/>
                </a:cubicBezTo>
                <a:cubicBezTo>
                  <a:pt x="284" y="3"/>
                  <a:pt x="284" y="3"/>
                  <a:pt x="284" y="3"/>
                </a:cubicBezTo>
                <a:cubicBezTo>
                  <a:pt x="283" y="3"/>
                  <a:pt x="283" y="3"/>
                  <a:pt x="283" y="3"/>
                </a:cubicBezTo>
                <a:cubicBezTo>
                  <a:pt x="283" y="2"/>
                  <a:pt x="283" y="2"/>
                  <a:pt x="283" y="2"/>
                </a:cubicBezTo>
                <a:cubicBezTo>
                  <a:pt x="282" y="1"/>
                  <a:pt x="282" y="1"/>
                  <a:pt x="282" y="1"/>
                </a:cubicBezTo>
                <a:cubicBezTo>
                  <a:pt x="282" y="1"/>
                  <a:pt x="282" y="1"/>
                  <a:pt x="282" y="1"/>
                </a:cubicBezTo>
                <a:cubicBezTo>
                  <a:pt x="282" y="1"/>
                  <a:pt x="282" y="1"/>
                  <a:pt x="282" y="1"/>
                </a:cubicBezTo>
                <a:cubicBezTo>
                  <a:pt x="283" y="0"/>
                  <a:pt x="283" y="0"/>
                  <a:pt x="283" y="0"/>
                </a:cubicBezTo>
                <a:cubicBezTo>
                  <a:pt x="283" y="0"/>
                  <a:pt x="283" y="0"/>
                  <a:pt x="283" y="0"/>
                </a:cubicBezTo>
                <a:cubicBezTo>
                  <a:pt x="283" y="0"/>
                  <a:pt x="283" y="0"/>
                  <a:pt x="283" y="0"/>
                </a:cubicBezTo>
                <a:cubicBezTo>
                  <a:pt x="280" y="1"/>
                  <a:pt x="280" y="1"/>
                  <a:pt x="280" y="1"/>
                </a:cubicBezTo>
                <a:cubicBezTo>
                  <a:pt x="280" y="2"/>
                  <a:pt x="280" y="2"/>
                  <a:pt x="280" y="2"/>
                </a:cubicBezTo>
                <a:cubicBezTo>
                  <a:pt x="278" y="2"/>
                  <a:pt x="278" y="2"/>
                  <a:pt x="278" y="2"/>
                </a:cubicBezTo>
                <a:cubicBezTo>
                  <a:pt x="277" y="2"/>
                  <a:pt x="277" y="2"/>
                  <a:pt x="277" y="2"/>
                </a:cubicBezTo>
                <a:cubicBezTo>
                  <a:pt x="274" y="5"/>
                  <a:pt x="274" y="5"/>
                  <a:pt x="274" y="5"/>
                </a:cubicBezTo>
                <a:cubicBezTo>
                  <a:pt x="272" y="5"/>
                  <a:pt x="272" y="5"/>
                  <a:pt x="272" y="5"/>
                </a:cubicBezTo>
                <a:cubicBezTo>
                  <a:pt x="270" y="5"/>
                  <a:pt x="270" y="5"/>
                  <a:pt x="270" y="5"/>
                </a:cubicBezTo>
                <a:cubicBezTo>
                  <a:pt x="268" y="4"/>
                  <a:pt x="268" y="4"/>
                  <a:pt x="268" y="4"/>
                </a:cubicBezTo>
                <a:cubicBezTo>
                  <a:pt x="267" y="4"/>
                  <a:pt x="267" y="4"/>
                  <a:pt x="267" y="4"/>
                </a:cubicBezTo>
                <a:cubicBezTo>
                  <a:pt x="267" y="4"/>
                  <a:pt x="267" y="4"/>
                  <a:pt x="267" y="4"/>
                </a:cubicBezTo>
                <a:cubicBezTo>
                  <a:pt x="266" y="4"/>
                  <a:pt x="266" y="4"/>
                  <a:pt x="266" y="4"/>
                </a:cubicBezTo>
                <a:cubicBezTo>
                  <a:pt x="265" y="3"/>
                  <a:pt x="265" y="3"/>
                  <a:pt x="265" y="3"/>
                </a:cubicBezTo>
                <a:cubicBezTo>
                  <a:pt x="264" y="4"/>
                  <a:pt x="264" y="4"/>
                  <a:pt x="264" y="4"/>
                </a:cubicBezTo>
                <a:cubicBezTo>
                  <a:pt x="264" y="5"/>
                  <a:pt x="264" y="5"/>
                  <a:pt x="264" y="5"/>
                </a:cubicBezTo>
                <a:cubicBezTo>
                  <a:pt x="263" y="5"/>
                  <a:pt x="263" y="5"/>
                  <a:pt x="263" y="5"/>
                </a:cubicBezTo>
                <a:cubicBezTo>
                  <a:pt x="263" y="4"/>
                  <a:pt x="263" y="4"/>
                  <a:pt x="263" y="4"/>
                </a:cubicBezTo>
                <a:cubicBezTo>
                  <a:pt x="263" y="3"/>
                  <a:pt x="263" y="3"/>
                  <a:pt x="263" y="3"/>
                </a:cubicBezTo>
                <a:cubicBezTo>
                  <a:pt x="264" y="3"/>
                  <a:pt x="264" y="3"/>
                  <a:pt x="264" y="3"/>
                </a:cubicBezTo>
                <a:cubicBezTo>
                  <a:pt x="263" y="2"/>
                  <a:pt x="263" y="2"/>
                  <a:pt x="263" y="2"/>
                </a:cubicBezTo>
                <a:cubicBezTo>
                  <a:pt x="262" y="3"/>
                  <a:pt x="262" y="3"/>
                  <a:pt x="262" y="3"/>
                </a:cubicBezTo>
                <a:cubicBezTo>
                  <a:pt x="259" y="4"/>
                  <a:pt x="259" y="4"/>
                  <a:pt x="259" y="4"/>
                </a:cubicBezTo>
                <a:cubicBezTo>
                  <a:pt x="258" y="5"/>
                  <a:pt x="258" y="5"/>
                  <a:pt x="258" y="5"/>
                </a:cubicBezTo>
                <a:cubicBezTo>
                  <a:pt x="257" y="6"/>
                  <a:pt x="257" y="6"/>
                  <a:pt x="257" y="6"/>
                </a:cubicBezTo>
                <a:cubicBezTo>
                  <a:pt x="257" y="7"/>
                  <a:pt x="257" y="7"/>
                  <a:pt x="257" y="7"/>
                </a:cubicBezTo>
                <a:cubicBezTo>
                  <a:pt x="259" y="7"/>
                  <a:pt x="259" y="7"/>
                  <a:pt x="259" y="7"/>
                </a:cubicBezTo>
                <a:cubicBezTo>
                  <a:pt x="258" y="8"/>
                  <a:pt x="258" y="8"/>
                  <a:pt x="258" y="8"/>
                </a:cubicBezTo>
                <a:cubicBezTo>
                  <a:pt x="256" y="8"/>
                  <a:pt x="256" y="8"/>
                  <a:pt x="256" y="8"/>
                </a:cubicBezTo>
                <a:cubicBezTo>
                  <a:pt x="255" y="9"/>
                  <a:pt x="255" y="9"/>
                  <a:pt x="255" y="9"/>
                </a:cubicBezTo>
                <a:cubicBezTo>
                  <a:pt x="254" y="12"/>
                  <a:pt x="254" y="12"/>
                  <a:pt x="254" y="12"/>
                </a:cubicBezTo>
                <a:cubicBezTo>
                  <a:pt x="253" y="14"/>
                  <a:pt x="253" y="14"/>
                  <a:pt x="253" y="14"/>
                </a:cubicBezTo>
                <a:cubicBezTo>
                  <a:pt x="252" y="14"/>
                  <a:pt x="252" y="14"/>
                  <a:pt x="252" y="14"/>
                </a:cubicBezTo>
                <a:cubicBezTo>
                  <a:pt x="252" y="14"/>
                  <a:pt x="252" y="14"/>
                  <a:pt x="252" y="14"/>
                </a:cubicBezTo>
                <a:cubicBezTo>
                  <a:pt x="252" y="12"/>
                  <a:pt x="252" y="12"/>
                  <a:pt x="252" y="12"/>
                </a:cubicBezTo>
                <a:cubicBezTo>
                  <a:pt x="254" y="9"/>
                  <a:pt x="254" y="9"/>
                  <a:pt x="254" y="9"/>
                </a:cubicBezTo>
                <a:cubicBezTo>
                  <a:pt x="254" y="8"/>
                  <a:pt x="254" y="8"/>
                  <a:pt x="254" y="8"/>
                </a:cubicBezTo>
                <a:cubicBezTo>
                  <a:pt x="254" y="8"/>
                  <a:pt x="254" y="8"/>
                  <a:pt x="254" y="8"/>
                </a:cubicBezTo>
                <a:cubicBezTo>
                  <a:pt x="251" y="10"/>
                  <a:pt x="251" y="10"/>
                  <a:pt x="251" y="10"/>
                </a:cubicBezTo>
                <a:cubicBezTo>
                  <a:pt x="249" y="10"/>
                  <a:pt x="249" y="10"/>
                  <a:pt x="249" y="10"/>
                </a:cubicBezTo>
                <a:cubicBezTo>
                  <a:pt x="249" y="9"/>
                  <a:pt x="249" y="9"/>
                  <a:pt x="249" y="9"/>
                </a:cubicBezTo>
                <a:cubicBezTo>
                  <a:pt x="248" y="8"/>
                  <a:pt x="248" y="8"/>
                  <a:pt x="248" y="8"/>
                </a:cubicBezTo>
                <a:cubicBezTo>
                  <a:pt x="246" y="8"/>
                  <a:pt x="246" y="8"/>
                  <a:pt x="246" y="8"/>
                </a:cubicBezTo>
                <a:cubicBezTo>
                  <a:pt x="245" y="8"/>
                  <a:pt x="245" y="8"/>
                  <a:pt x="245" y="8"/>
                </a:cubicBezTo>
                <a:cubicBezTo>
                  <a:pt x="245" y="8"/>
                  <a:pt x="245" y="8"/>
                  <a:pt x="245" y="8"/>
                </a:cubicBezTo>
                <a:cubicBezTo>
                  <a:pt x="247" y="9"/>
                  <a:pt x="247" y="9"/>
                  <a:pt x="247" y="9"/>
                </a:cubicBezTo>
                <a:cubicBezTo>
                  <a:pt x="248" y="10"/>
                  <a:pt x="248" y="10"/>
                  <a:pt x="248" y="10"/>
                </a:cubicBezTo>
                <a:cubicBezTo>
                  <a:pt x="247" y="10"/>
                  <a:pt x="247" y="10"/>
                  <a:pt x="247" y="10"/>
                </a:cubicBezTo>
                <a:cubicBezTo>
                  <a:pt x="246" y="10"/>
                  <a:pt x="246" y="10"/>
                  <a:pt x="246" y="10"/>
                </a:cubicBezTo>
                <a:cubicBezTo>
                  <a:pt x="243" y="9"/>
                  <a:pt x="243" y="9"/>
                  <a:pt x="243" y="9"/>
                </a:cubicBezTo>
                <a:cubicBezTo>
                  <a:pt x="241" y="11"/>
                  <a:pt x="241" y="11"/>
                  <a:pt x="241" y="11"/>
                </a:cubicBezTo>
                <a:cubicBezTo>
                  <a:pt x="238" y="13"/>
                  <a:pt x="238" y="13"/>
                  <a:pt x="238" y="13"/>
                </a:cubicBezTo>
                <a:cubicBezTo>
                  <a:pt x="234" y="15"/>
                  <a:pt x="234" y="15"/>
                  <a:pt x="234" y="15"/>
                </a:cubicBezTo>
                <a:cubicBezTo>
                  <a:pt x="231" y="17"/>
                  <a:pt x="231" y="17"/>
                  <a:pt x="231" y="17"/>
                </a:cubicBezTo>
                <a:cubicBezTo>
                  <a:pt x="229" y="19"/>
                  <a:pt x="229" y="19"/>
                  <a:pt x="229" y="19"/>
                </a:cubicBezTo>
                <a:cubicBezTo>
                  <a:pt x="226" y="22"/>
                  <a:pt x="226" y="22"/>
                  <a:pt x="226" y="22"/>
                </a:cubicBezTo>
                <a:cubicBezTo>
                  <a:pt x="224" y="23"/>
                  <a:pt x="224" y="23"/>
                  <a:pt x="224" y="23"/>
                </a:cubicBezTo>
                <a:cubicBezTo>
                  <a:pt x="222" y="23"/>
                  <a:pt x="222" y="23"/>
                  <a:pt x="222" y="23"/>
                </a:cubicBezTo>
                <a:cubicBezTo>
                  <a:pt x="221" y="24"/>
                  <a:pt x="221" y="24"/>
                  <a:pt x="221" y="24"/>
                </a:cubicBezTo>
                <a:cubicBezTo>
                  <a:pt x="219" y="24"/>
                  <a:pt x="219" y="24"/>
                  <a:pt x="219" y="24"/>
                </a:cubicBezTo>
                <a:cubicBezTo>
                  <a:pt x="217" y="26"/>
                  <a:pt x="217" y="26"/>
                  <a:pt x="217" y="26"/>
                </a:cubicBezTo>
                <a:cubicBezTo>
                  <a:pt x="215" y="26"/>
                  <a:pt x="215" y="26"/>
                  <a:pt x="215" y="26"/>
                </a:cubicBezTo>
                <a:cubicBezTo>
                  <a:pt x="214" y="25"/>
                  <a:pt x="214" y="25"/>
                  <a:pt x="214" y="25"/>
                </a:cubicBezTo>
                <a:cubicBezTo>
                  <a:pt x="213" y="25"/>
                  <a:pt x="213" y="25"/>
                  <a:pt x="213" y="25"/>
                </a:cubicBezTo>
                <a:cubicBezTo>
                  <a:pt x="211" y="24"/>
                  <a:pt x="211" y="24"/>
                  <a:pt x="211" y="24"/>
                </a:cubicBezTo>
                <a:cubicBezTo>
                  <a:pt x="210" y="23"/>
                  <a:pt x="210" y="23"/>
                  <a:pt x="210" y="23"/>
                </a:cubicBezTo>
                <a:cubicBezTo>
                  <a:pt x="208" y="22"/>
                  <a:pt x="208" y="22"/>
                  <a:pt x="208" y="22"/>
                </a:cubicBezTo>
                <a:cubicBezTo>
                  <a:pt x="207" y="22"/>
                  <a:pt x="207" y="22"/>
                  <a:pt x="207" y="22"/>
                </a:cubicBezTo>
                <a:cubicBezTo>
                  <a:pt x="205" y="24"/>
                  <a:pt x="205" y="24"/>
                  <a:pt x="205" y="24"/>
                </a:cubicBezTo>
                <a:cubicBezTo>
                  <a:pt x="203" y="26"/>
                  <a:pt x="203" y="26"/>
                  <a:pt x="203" y="26"/>
                </a:cubicBezTo>
                <a:cubicBezTo>
                  <a:pt x="203" y="27"/>
                  <a:pt x="203" y="27"/>
                  <a:pt x="203" y="27"/>
                </a:cubicBezTo>
                <a:cubicBezTo>
                  <a:pt x="201" y="29"/>
                  <a:pt x="201" y="29"/>
                  <a:pt x="201" y="29"/>
                </a:cubicBezTo>
                <a:cubicBezTo>
                  <a:pt x="201" y="30"/>
                  <a:pt x="201" y="30"/>
                  <a:pt x="201" y="30"/>
                </a:cubicBezTo>
                <a:cubicBezTo>
                  <a:pt x="200" y="30"/>
                  <a:pt x="200" y="30"/>
                  <a:pt x="200" y="30"/>
                </a:cubicBezTo>
                <a:cubicBezTo>
                  <a:pt x="199" y="29"/>
                  <a:pt x="199" y="29"/>
                  <a:pt x="199" y="29"/>
                </a:cubicBezTo>
                <a:cubicBezTo>
                  <a:pt x="198" y="30"/>
                  <a:pt x="198" y="30"/>
                  <a:pt x="198" y="30"/>
                </a:cubicBezTo>
                <a:cubicBezTo>
                  <a:pt x="199" y="33"/>
                  <a:pt x="199" y="33"/>
                  <a:pt x="199" y="33"/>
                </a:cubicBezTo>
                <a:cubicBezTo>
                  <a:pt x="201" y="38"/>
                  <a:pt x="201" y="38"/>
                  <a:pt x="201" y="38"/>
                </a:cubicBezTo>
                <a:cubicBezTo>
                  <a:pt x="202" y="42"/>
                  <a:pt x="202" y="42"/>
                  <a:pt x="202" y="42"/>
                </a:cubicBezTo>
                <a:cubicBezTo>
                  <a:pt x="203" y="46"/>
                  <a:pt x="203" y="46"/>
                  <a:pt x="203" y="46"/>
                </a:cubicBezTo>
                <a:cubicBezTo>
                  <a:pt x="203" y="50"/>
                  <a:pt x="203" y="50"/>
                  <a:pt x="203" y="50"/>
                </a:cubicBezTo>
                <a:cubicBezTo>
                  <a:pt x="201" y="52"/>
                  <a:pt x="201" y="52"/>
                  <a:pt x="201" y="52"/>
                </a:cubicBezTo>
                <a:cubicBezTo>
                  <a:pt x="200" y="54"/>
                  <a:pt x="200" y="54"/>
                  <a:pt x="200" y="54"/>
                </a:cubicBezTo>
                <a:cubicBezTo>
                  <a:pt x="200" y="54"/>
                  <a:pt x="200" y="54"/>
                  <a:pt x="200" y="54"/>
                </a:cubicBezTo>
                <a:cubicBezTo>
                  <a:pt x="203" y="57"/>
                  <a:pt x="203" y="57"/>
                  <a:pt x="203" y="57"/>
                </a:cubicBezTo>
                <a:cubicBezTo>
                  <a:pt x="204" y="58"/>
                  <a:pt x="204" y="58"/>
                  <a:pt x="204" y="58"/>
                </a:cubicBezTo>
                <a:cubicBezTo>
                  <a:pt x="204" y="57"/>
                  <a:pt x="204" y="57"/>
                  <a:pt x="204" y="57"/>
                </a:cubicBezTo>
                <a:cubicBezTo>
                  <a:pt x="204" y="57"/>
                  <a:pt x="204" y="57"/>
                  <a:pt x="204" y="57"/>
                </a:cubicBezTo>
                <a:cubicBezTo>
                  <a:pt x="205" y="57"/>
                  <a:pt x="205" y="57"/>
                  <a:pt x="205" y="57"/>
                </a:cubicBezTo>
                <a:cubicBezTo>
                  <a:pt x="206" y="57"/>
                  <a:pt x="206" y="57"/>
                  <a:pt x="206" y="57"/>
                </a:cubicBezTo>
                <a:cubicBezTo>
                  <a:pt x="205" y="57"/>
                  <a:pt x="205" y="57"/>
                  <a:pt x="205" y="57"/>
                </a:cubicBezTo>
                <a:cubicBezTo>
                  <a:pt x="205" y="58"/>
                  <a:pt x="205" y="58"/>
                  <a:pt x="205" y="58"/>
                </a:cubicBezTo>
                <a:cubicBezTo>
                  <a:pt x="208" y="61"/>
                  <a:pt x="208" y="61"/>
                  <a:pt x="208" y="61"/>
                </a:cubicBezTo>
                <a:cubicBezTo>
                  <a:pt x="208" y="61"/>
                  <a:pt x="208" y="61"/>
                  <a:pt x="208" y="61"/>
                </a:cubicBezTo>
                <a:cubicBezTo>
                  <a:pt x="206" y="61"/>
                  <a:pt x="206" y="61"/>
                  <a:pt x="206" y="61"/>
                </a:cubicBezTo>
                <a:cubicBezTo>
                  <a:pt x="206" y="62"/>
                  <a:pt x="206" y="62"/>
                  <a:pt x="206" y="62"/>
                </a:cubicBezTo>
                <a:cubicBezTo>
                  <a:pt x="206" y="65"/>
                  <a:pt x="206" y="65"/>
                  <a:pt x="206" y="65"/>
                </a:cubicBezTo>
                <a:cubicBezTo>
                  <a:pt x="206" y="66"/>
                  <a:pt x="206" y="66"/>
                  <a:pt x="206" y="66"/>
                </a:cubicBezTo>
                <a:cubicBezTo>
                  <a:pt x="207" y="67"/>
                  <a:pt x="207" y="67"/>
                  <a:pt x="207" y="67"/>
                </a:cubicBezTo>
                <a:cubicBezTo>
                  <a:pt x="208" y="66"/>
                  <a:pt x="208" y="66"/>
                  <a:pt x="208" y="66"/>
                </a:cubicBezTo>
                <a:cubicBezTo>
                  <a:pt x="209" y="66"/>
                  <a:pt x="209" y="66"/>
                  <a:pt x="209" y="66"/>
                </a:cubicBezTo>
                <a:cubicBezTo>
                  <a:pt x="210" y="66"/>
                  <a:pt x="210" y="66"/>
                  <a:pt x="210" y="66"/>
                </a:cubicBezTo>
                <a:cubicBezTo>
                  <a:pt x="210" y="67"/>
                  <a:pt x="210" y="67"/>
                  <a:pt x="210" y="67"/>
                </a:cubicBezTo>
                <a:cubicBezTo>
                  <a:pt x="212" y="67"/>
                  <a:pt x="212" y="67"/>
                  <a:pt x="212" y="67"/>
                </a:cubicBezTo>
                <a:cubicBezTo>
                  <a:pt x="214" y="67"/>
                  <a:pt x="214" y="67"/>
                  <a:pt x="214" y="67"/>
                </a:cubicBezTo>
                <a:cubicBezTo>
                  <a:pt x="216" y="68"/>
                  <a:pt x="216" y="68"/>
                  <a:pt x="216" y="68"/>
                </a:cubicBezTo>
                <a:cubicBezTo>
                  <a:pt x="214" y="69"/>
                  <a:pt x="214" y="69"/>
                  <a:pt x="214" y="69"/>
                </a:cubicBezTo>
                <a:cubicBezTo>
                  <a:pt x="214" y="70"/>
                  <a:pt x="214" y="70"/>
                  <a:pt x="214" y="70"/>
                </a:cubicBezTo>
                <a:cubicBezTo>
                  <a:pt x="214" y="72"/>
                  <a:pt x="214" y="72"/>
                  <a:pt x="214" y="72"/>
                </a:cubicBezTo>
                <a:cubicBezTo>
                  <a:pt x="212" y="72"/>
                  <a:pt x="212" y="72"/>
                  <a:pt x="212" y="72"/>
                </a:cubicBezTo>
                <a:cubicBezTo>
                  <a:pt x="212" y="71"/>
                  <a:pt x="212" y="71"/>
                  <a:pt x="212" y="71"/>
                </a:cubicBezTo>
                <a:cubicBezTo>
                  <a:pt x="211" y="70"/>
                  <a:pt x="211" y="70"/>
                  <a:pt x="211" y="70"/>
                </a:cubicBezTo>
                <a:cubicBezTo>
                  <a:pt x="210" y="71"/>
                  <a:pt x="210" y="71"/>
                  <a:pt x="210" y="71"/>
                </a:cubicBezTo>
                <a:cubicBezTo>
                  <a:pt x="208" y="71"/>
                  <a:pt x="208" y="71"/>
                  <a:pt x="208" y="71"/>
                </a:cubicBezTo>
                <a:cubicBezTo>
                  <a:pt x="208" y="70"/>
                  <a:pt x="208" y="70"/>
                  <a:pt x="208" y="70"/>
                </a:cubicBezTo>
                <a:cubicBezTo>
                  <a:pt x="207" y="68"/>
                  <a:pt x="207" y="68"/>
                  <a:pt x="207" y="68"/>
                </a:cubicBezTo>
                <a:cubicBezTo>
                  <a:pt x="206" y="68"/>
                  <a:pt x="206" y="68"/>
                  <a:pt x="206" y="68"/>
                </a:cubicBezTo>
                <a:cubicBezTo>
                  <a:pt x="205" y="68"/>
                  <a:pt x="205" y="68"/>
                  <a:pt x="205" y="68"/>
                </a:cubicBezTo>
                <a:cubicBezTo>
                  <a:pt x="204" y="67"/>
                  <a:pt x="204" y="67"/>
                  <a:pt x="204" y="67"/>
                </a:cubicBezTo>
                <a:cubicBezTo>
                  <a:pt x="204" y="65"/>
                  <a:pt x="204" y="65"/>
                  <a:pt x="204" y="65"/>
                </a:cubicBezTo>
                <a:cubicBezTo>
                  <a:pt x="206" y="61"/>
                  <a:pt x="206" y="61"/>
                  <a:pt x="206" y="61"/>
                </a:cubicBezTo>
                <a:cubicBezTo>
                  <a:pt x="205" y="60"/>
                  <a:pt x="205" y="60"/>
                  <a:pt x="205" y="60"/>
                </a:cubicBezTo>
                <a:cubicBezTo>
                  <a:pt x="205" y="60"/>
                  <a:pt x="205" y="60"/>
                  <a:pt x="205" y="60"/>
                </a:cubicBezTo>
                <a:cubicBezTo>
                  <a:pt x="204" y="61"/>
                  <a:pt x="204" y="61"/>
                  <a:pt x="204" y="61"/>
                </a:cubicBezTo>
                <a:cubicBezTo>
                  <a:pt x="204" y="65"/>
                  <a:pt x="204" y="65"/>
                  <a:pt x="204" y="65"/>
                </a:cubicBezTo>
                <a:cubicBezTo>
                  <a:pt x="203" y="67"/>
                  <a:pt x="203" y="67"/>
                  <a:pt x="203" y="67"/>
                </a:cubicBezTo>
                <a:cubicBezTo>
                  <a:pt x="202" y="68"/>
                  <a:pt x="202" y="68"/>
                  <a:pt x="202" y="68"/>
                </a:cubicBezTo>
                <a:cubicBezTo>
                  <a:pt x="202" y="69"/>
                  <a:pt x="202" y="69"/>
                  <a:pt x="202" y="69"/>
                </a:cubicBezTo>
                <a:cubicBezTo>
                  <a:pt x="203" y="68"/>
                  <a:pt x="203" y="68"/>
                  <a:pt x="203" y="68"/>
                </a:cubicBezTo>
                <a:cubicBezTo>
                  <a:pt x="204" y="68"/>
                  <a:pt x="204" y="68"/>
                  <a:pt x="204" y="68"/>
                </a:cubicBezTo>
                <a:cubicBezTo>
                  <a:pt x="204" y="69"/>
                  <a:pt x="204" y="69"/>
                  <a:pt x="204" y="69"/>
                </a:cubicBezTo>
                <a:cubicBezTo>
                  <a:pt x="206" y="69"/>
                  <a:pt x="206" y="69"/>
                  <a:pt x="206" y="69"/>
                </a:cubicBezTo>
                <a:cubicBezTo>
                  <a:pt x="206" y="70"/>
                  <a:pt x="206" y="70"/>
                  <a:pt x="206" y="70"/>
                </a:cubicBezTo>
                <a:cubicBezTo>
                  <a:pt x="206" y="72"/>
                  <a:pt x="206" y="72"/>
                  <a:pt x="206" y="72"/>
                </a:cubicBezTo>
                <a:cubicBezTo>
                  <a:pt x="205" y="74"/>
                  <a:pt x="205" y="74"/>
                  <a:pt x="205" y="74"/>
                </a:cubicBezTo>
                <a:cubicBezTo>
                  <a:pt x="203" y="74"/>
                  <a:pt x="203" y="74"/>
                  <a:pt x="203" y="74"/>
                </a:cubicBezTo>
                <a:cubicBezTo>
                  <a:pt x="205" y="72"/>
                  <a:pt x="205" y="72"/>
                  <a:pt x="205" y="72"/>
                </a:cubicBezTo>
                <a:cubicBezTo>
                  <a:pt x="205" y="71"/>
                  <a:pt x="205" y="71"/>
                  <a:pt x="205" y="71"/>
                </a:cubicBezTo>
                <a:cubicBezTo>
                  <a:pt x="204" y="71"/>
                  <a:pt x="204" y="71"/>
                  <a:pt x="204" y="71"/>
                </a:cubicBezTo>
                <a:cubicBezTo>
                  <a:pt x="203" y="71"/>
                  <a:pt x="203" y="71"/>
                  <a:pt x="203" y="71"/>
                </a:cubicBezTo>
                <a:cubicBezTo>
                  <a:pt x="203" y="71"/>
                  <a:pt x="203" y="71"/>
                  <a:pt x="203" y="71"/>
                </a:cubicBezTo>
                <a:cubicBezTo>
                  <a:pt x="201" y="73"/>
                  <a:pt x="201" y="73"/>
                  <a:pt x="201" y="73"/>
                </a:cubicBezTo>
                <a:cubicBezTo>
                  <a:pt x="201" y="74"/>
                  <a:pt x="201" y="74"/>
                  <a:pt x="201" y="74"/>
                </a:cubicBezTo>
                <a:cubicBezTo>
                  <a:pt x="200" y="74"/>
                  <a:pt x="200" y="74"/>
                  <a:pt x="200" y="74"/>
                </a:cubicBezTo>
                <a:cubicBezTo>
                  <a:pt x="198" y="75"/>
                  <a:pt x="198" y="75"/>
                  <a:pt x="198" y="75"/>
                </a:cubicBezTo>
                <a:cubicBezTo>
                  <a:pt x="198" y="74"/>
                  <a:pt x="198" y="74"/>
                  <a:pt x="198" y="74"/>
                </a:cubicBezTo>
                <a:cubicBezTo>
                  <a:pt x="198" y="73"/>
                  <a:pt x="198" y="73"/>
                  <a:pt x="198" y="73"/>
                </a:cubicBezTo>
                <a:cubicBezTo>
                  <a:pt x="196" y="73"/>
                  <a:pt x="196" y="73"/>
                  <a:pt x="196" y="73"/>
                </a:cubicBezTo>
                <a:cubicBezTo>
                  <a:pt x="195" y="73"/>
                  <a:pt x="195" y="73"/>
                  <a:pt x="195" y="73"/>
                </a:cubicBezTo>
                <a:cubicBezTo>
                  <a:pt x="195" y="72"/>
                  <a:pt x="195" y="72"/>
                  <a:pt x="195" y="72"/>
                </a:cubicBezTo>
                <a:cubicBezTo>
                  <a:pt x="194" y="72"/>
                  <a:pt x="194" y="72"/>
                  <a:pt x="194" y="72"/>
                </a:cubicBezTo>
                <a:cubicBezTo>
                  <a:pt x="193" y="72"/>
                  <a:pt x="193" y="72"/>
                  <a:pt x="193" y="72"/>
                </a:cubicBezTo>
                <a:cubicBezTo>
                  <a:pt x="192" y="72"/>
                  <a:pt x="192" y="72"/>
                  <a:pt x="192" y="72"/>
                </a:cubicBezTo>
                <a:cubicBezTo>
                  <a:pt x="192" y="71"/>
                  <a:pt x="192" y="71"/>
                  <a:pt x="192" y="71"/>
                </a:cubicBezTo>
                <a:cubicBezTo>
                  <a:pt x="191" y="70"/>
                  <a:pt x="191" y="70"/>
                  <a:pt x="191" y="70"/>
                </a:cubicBezTo>
                <a:cubicBezTo>
                  <a:pt x="191" y="71"/>
                  <a:pt x="191" y="71"/>
                  <a:pt x="191" y="71"/>
                </a:cubicBezTo>
                <a:cubicBezTo>
                  <a:pt x="190" y="71"/>
                  <a:pt x="190" y="71"/>
                  <a:pt x="190" y="71"/>
                </a:cubicBezTo>
                <a:cubicBezTo>
                  <a:pt x="190" y="69"/>
                  <a:pt x="190" y="69"/>
                  <a:pt x="190" y="69"/>
                </a:cubicBezTo>
                <a:cubicBezTo>
                  <a:pt x="189" y="68"/>
                  <a:pt x="189" y="68"/>
                  <a:pt x="189" y="68"/>
                </a:cubicBezTo>
                <a:cubicBezTo>
                  <a:pt x="189" y="67"/>
                  <a:pt x="189" y="67"/>
                  <a:pt x="189" y="67"/>
                </a:cubicBezTo>
                <a:cubicBezTo>
                  <a:pt x="191" y="67"/>
                  <a:pt x="191" y="67"/>
                  <a:pt x="191" y="67"/>
                </a:cubicBezTo>
                <a:cubicBezTo>
                  <a:pt x="192" y="65"/>
                  <a:pt x="192" y="65"/>
                  <a:pt x="192" y="65"/>
                </a:cubicBezTo>
                <a:cubicBezTo>
                  <a:pt x="193" y="65"/>
                  <a:pt x="193" y="65"/>
                  <a:pt x="193" y="65"/>
                </a:cubicBezTo>
                <a:cubicBezTo>
                  <a:pt x="193" y="64"/>
                  <a:pt x="193" y="64"/>
                  <a:pt x="193" y="64"/>
                </a:cubicBezTo>
                <a:cubicBezTo>
                  <a:pt x="193" y="63"/>
                  <a:pt x="193" y="63"/>
                  <a:pt x="193" y="63"/>
                </a:cubicBezTo>
                <a:cubicBezTo>
                  <a:pt x="192" y="62"/>
                  <a:pt x="192" y="62"/>
                  <a:pt x="192" y="62"/>
                </a:cubicBezTo>
                <a:cubicBezTo>
                  <a:pt x="191" y="61"/>
                  <a:pt x="191" y="61"/>
                  <a:pt x="191" y="61"/>
                </a:cubicBezTo>
                <a:cubicBezTo>
                  <a:pt x="189" y="61"/>
                  <a:pt x="189" y="61"/>
                  <a:pt x="189" y="61"/>
                </a:cubicBezTo>
                <a:cubicBezTo>
                  <a:pt x="187" y="62"/>
                  <a:pt x="187" y="62"/>
                  <a:pt x="187" y="62"/>
                </a:cubicBezTo>
                <a:cubicBezTo>
                  <a:pt x="186" y="62"/>
                  <a:pt x="186" y="62"/>
                  <a:pt x="186" y="62"/>
                </a:cubicBezTo>
                <a:cubicBezTo>
                  <a:pt x="185" y="62"/>
                  <a:pt x="185" y="62"/>
                  <a:pt x="185" y="62"/>
                </a:cubicBezTo>
                <a:cubicBezTo>
                  <a:pt x="184" y="62"/>
                  <a:pt x="184" y="62"/>
                  <a:pt x="184" y="62"/>
                </a:cubicBezTo>
                <a:cubicBezTo>
                  <a:pt x="180" y="63"/>
                  <a:pt x="180" y="63"/>
                  <a:pt x="180" y="63"/>
                </a:cubicBezTo>
                <a:cubicBezTo>
                  <a:pt x="180" y="64"/>
                  <a:pt x="180" y="64"/>
                  <a:pt x="180" y="64"/>
                </a:cubicBezTo>
                <a:cubicBezTo>
                  <a:pt x="181" y="64"/>
                  <a:pt x="181" y="64"/>
                  <a:pt x="181" y="64"/>
                </a:cubicBezTo>
                <a:cubicBezTo>
                  <a:pt x="182" y="66"/>
                  <a:pt x="182" y="66"/>
                  <a:pt x="182" y="66"/>
                </a:cubicBezTo>
                <a:cubicBezTo>
                  <a:pt x="182" y="66"/>
                  <a:pt x="182" y="66"/>
                  <a:pt x="182" y="66"/>
                </a:cubicBezTo>
                <a:cubicBezTo>
                  <a:pt x="181" y="66"/>
                  <a:pt x="181" y="66"/>
                  <a:pt x="181" y="66"/>
                </a:cubicBezTo>
                <a:cubicBezTo>
                  <a:pt x="180" y="66"/>
                  <a:pt x="180" y="66"/>
                  <a:pt x="180" y="66"/>
                </a:cubicBezTo>
                <a:cubicBezTo>
                  <a:pt x="179" y="65"/>
                  <a:pt x="179" y="65"/>
                  <a:pt x="179" y="65"/>
                </a:cubicBezTo>
                <a:cubicBezTo>
                  <a:pt x="178" y="65"/>
                  <a:pt x="178" y="65"/>
                  <a:pt x="178" y="65"/>
                </a:cubicBezTo>
                <a:cubicBezTo>
                  <a:pt x="176" y="64"/>
                  <a:pt x="176" y="64"/>
                  <a:pt x="176" y="64"/>
                </a:cubicBezTo>
                <a:cubicBezTo>
                  <a:pt x="174" y="65"/>
                  <a:pt x="174" y="65"/>
                  <a:pt x="174" y="65"/>
                </a:cubicBezTo>
                <a:cubicBezTo>
                  <a:pt x="173" y="66"/>
                  <a:pt x="173" y="66"/>
                  <a:pt x="173" y="66"/>
                </a:cubicBezTo>
                <a:cubicBezTo>
                  <a:pt x="173" y="66"/>
                  <a:pt x="173" y="66"/>
                  <a:pt x="173" y="66"/>
                </a:cubicBezTo>
                <a:cubicBezTo>
                  <a:pt x="171" y="66"/>
                  <a:pt x="171" y="66"/>
                  <a:pt x="171" y="66"/>
                </a:cubicBezTo>
                <a:cubicBezTo>
                  <a:pt x="171" y="66"/>
                  <a:pt x="171" y="66"/>
                  <a:pt x="171" y="66"/>
                </a:cubicBezTo>
                <a:cubicBezTo>
                  <a:pt x="170" y="66"/>
                  <a:pt x="170" y="66"/>
                  <a:pt x="170" y="66"/>
                </a:cubicBezTo>
                <a:cubicBezTo>
                  <a:pt x="168" y="67"/>
                  <a:pt x="168" y="67"/>
                  <a:pt x="168" y="67"/>
                </a:cubicBezTo>
                <a:cubicBezTo>
                  <a:pt x="168" y="68"/>
                  <a:pt x="168" y="68"/>
                  <a:pt x="168" y="68"/>
                </a:cubicBezTo>
                <a:cubicBezTo>
                  <a:pt x="167" y="68"/>
                  <a:pt x="167" y="68"/>
                  <a:pt x="167" y="68"/>
                </a:cubicBezTo>
                <a:cubicBezTo>
                  <a:pt x="166" y="69"/>
                  <a:pt x="166" y="69"/>
                  <a:pt x="166" y="69"/>
                </a:cubicBezTo>
                <a:cubicBezTo>
                  <a:pt x="164" y="70"/>
                  <a:pt x="164" y="70"/>
                  <a:pt x="164" y="70"/>
                </a:cubicBezTo>
                <a:cubicBezTo>
                  <a:pt x="163" y="70"/>
                  <a:pt x="163" y="70"/>
                  <a:pt x="163" y="70"/>
                </a:cubicBezTo>
                <a:cubicBezTo>
                  <a:pt x="164" y="69"/>
                  <a:pt x="164" y="69"/>
                  <a:pt x="164" y="69"/>
                </a:cubicBezTo>
                <a:cubicBezTo>
                  <a:pt x="164" y="69"/>
                  <a:pt x="164" y="69"/>
                  <a:pt x="164" y="69"/>
                </a:cubicBezTo>
                <a:cubicBezTo>
                  <a:pt x="163" y="69"/>
                  <a:pt x="163" y="69"/>
                  <a:pt x="163" y="69"/>
                </a:cubicBezTo>
                <a:cubicBezTo>
                  <a:pt x="162" y="70"/>
                  <a:pt x="162" y="70"/>
                  <a:pt x="162" y="70"/>
                </a:cubicBezTo>
                <a:cubicBezTo>
                  <a:pt x="162" y="71"/>
                  <a:pt x="162" y="71"/>
                  <a:pt x="162" y="71"/>
                </a:cubicBezTo>
                <a:cubicBezTo>
                  <a:pt x="164" y="73"/>
                  <a:pt x="164" y="73"/>
                  <a:pt x="164" y="73"/>
                </a:cubicBezTo>
                <a:cubicBezTo>
                  <a:pt x="165" y="76"/>
                  <a:pt x="165" y="76"/>
                  <a:pt x="165" y="76"/>
                </a:cubicBezTo>
                <a:cubicBezTo>
                  <a:pt x="167" y="76"/>
                  <a:pt x="167" y="76"/>
                  <a:pt x="167" y="76"/>
                </a:cubicBezTo>
                <a:cubicBezTo>
                  <a:pt x="168" y="78"/>
                  <a:pt x="168" y="78"/>
                  <a:pt x="168" y="78"/>
                </a:cubicBezTo>
                <a:cubicBezTo>
                  <a:pt x="170" y="79"/>
                  <a:pt x="170" y="79"/>
                  <a:pt x="170" y="79"/>
                </a:cubicBezTo>
                <a:cubicBezTo>
                  <a:pt x="170" y="80"/>
                  <a:pt x="170" y="80"/>
                  <a:pt x="170" y="80"/>
                </a:cubicBezTo>
                <a:cubicBezTo>
                  <a:pt x="172" y="80"/>
                  <a:pt x="172" y="80"/>
                  <a:pt x="172" y="80"/>
                </a:cubicBezTo>
                <a:cubicBezTo>
                  <a:pt x="173" y="81"/>
                  <a:pt x="173" y="81"/>
                  <a:pt x="173" y="81"/>
                </a:cubicBezTo>
                <a:cubicBezTo>
                  <a:pt x="173" y="82"/>
                  <a:pt x="173" y="82"/>
                  <a:pt x="173" y="82"/>
                </a:cubicBezTo>
                <a:cubicBezTo>
                  <a:pt x="170" y="82"/>
                  <a:pt x="170" y="82"/>
                  <a:pt x="170" y="82"/>
                </a:cubicBezTo>
                <a:cubicBezTo>
                  <a:pt x="170" y="80"/>
                  <a:pt x="170" y="80"/>
                  <a:pt x="170" y="80"/>
                </a:cubicBezTo>
                <a:cubicBezTo>
                  <a:pt x="169" y="79"/>
                  <a:pt x="169" y="79"/>
                  <a:pt x="169" y="79"/>
                </a:cubicBezTo>
                <a:cubicBezTo>
                  <a:pt x="168" y="79"/>
                  <a:pt x="168" y="79"/>
                  <a:pt x="168" y="79"/>
                </a:cubicBezTo>
                <a:cubicBezTo>
                  <a:pt x="167" y="79"/>
                  <a:pt x="167" y="79"/>
                  <a:pt x="167" y="79"/>
                </a:cubicBezTo>
                <a:cubicBezTo>
                  <a:pt x="166" y="80"/>
                  <a:pt x="166" y="80"/>
                  <a:pt x="166" y="80"/>
                </a:cubicBezTo>
                <a:cubicBezTo>
                  <a:pt x="165" y="80"/>
                  <a:pt x="165" y="80"/>
                  <a:pt x="165" y="80"/>
                </a:cubicBezTo>
                <a:cubicBezTo>
                  <a:pt x="164" y="79"/>
                  <a:pt x="164" y="79"/>
                  <a:pt x="164" y="79"/>
                </a:cubicBezTo>
                <a:cubicBezTo>
                  <a:pt x="165" y="78"/>
                  <a:pt x="165" y="78"/>
                  <a:pt x="165" y="78"/>
                </a:cubicBezTo>
                <a:cubicBezTo>
                  <a:pt x="165" y="77"/>
                  <a:pt x="165" y="77"/>
                  <a:pt x="165" y="77"/>
                </a:cubicBezTo>
                <a:cubicBezTo>
                  <a:pt x="164" y="77"/>
                  <a:pt x="164" y="77"/>
                  <a:pt x="164" y="77"/>
                </a:cubicBezTo>
                <a:cubicBezTo>
                  <a:pt x="163" y="79"/>
                  <a:pt x="163" y="79"/>
                  <a:pt x="163" y="79"/>
                </a:cubicBezTo>
                <a:cubicBezTo>
                  <a:pt x="164" y="81"/>
                  <a:pt x="164" y="81"/>
                  <a:pt x="164" y="81"/>
                </a:cubicBezTo>
                <a:cubicBezTo>
                  <a:pt x="164" y="82"/>
                  <a:pt x="164" y="82"/>
                  <a:pt x="164" y="82"/>
                </a:cubicBezTo>
                <a:cubicBezTo>
                  <a:pt x="164" y="83"/>
                  <a:pt x="164" y="83"/>
                  <a:pt x="164" y="83"/>
                </a:cubicBezTo>
                <a:cubicBezTo>
                  <a:pt x="163" y="84"/>
                  <a:pt x="163" y="84"/>
                  <a:pt x="163" y="84"/>
                </a:cubicBezTo>
                <a:cubicBezTo>
                  <a:pt x="162" y="85"/>
                  <a:pt x="162" y="85"/>
                  <a:pt x="162" y="85"/>
                </a:cubicBezTo>
                <a:cubicBezTo>
                  <a:pt x="161" y="87"/>
                  <a:pt x="161" y="87"/>
                  <a:pt x="161" y="87"/>
                </a:cubicBezTo>
                <a:cubicBezTo>
                  <a:pt x="162" y="89"/>
                  <a:pt x="162" y="89"/>
                  <a:pt x="162" y="89"/>
                </a:cubicBezTo>
                <a:cubicBezTo>
                  <a:pt x="164" y="91"/>
                  <a:pt x="164" y="91"/>
                  <a:pt x="164" y="91"/>
                </a:cubicBezTo>
                <a:cubicBezTo>
                  <a:pt x="166" y="92"/>
                  <a:pt x="166" y="92"/>
                  <a:pt x="166" y="92"/>
                </a:cubicBezTo>
                <a:cubicBezTo>
                  <a:pt x="167" y="94"/>
                  <a:pt x="167" y="94"/>
                  <a:pt x="167" y="94"/>
                </a:cubicBezTo>
                <a:cubicBezTo>
                  <a:pt x="168" y="94"/>
                  <a:pt x="168" y="94"/>
                  <a:pt x="168" y="94"/>
                </a:cubicBezTo>
                <a:cubicBezTo>
                  <a:pt x="170" y="93"/>
                  <a:pt x="170" y="93"/>
                  <a:pt x="170" y="93"/>
                </a:cubicBezTo>
                <a:cubicBezTo>
                  <a:pt x="171" y="92"/>
                  <a:pt x="171" y="92"/>
                  <a:pt x="171" y="92"/>
                </a:cubicBezTo>
                <a:cubicBezTo>
                  <a:pt x="173" y="93"/>
                  <a:pt x="173" y="93"/>
                  <a:pt x="173" y="93"/>
                </a:cubicBezTo>
                <a:cubicBezTo>
                  <a:pt x="176" y="93"/>
                  <a:pt x="176" y="93"/>
                  <a:pt x="176" y="93"/>
                </a:cubicBezTo>
                <a:cubicBezTo>
                  <a:pt x="177" y="94"/>
                  <a:pt x="177" y="94"/>
                  <a:pt x="177" y="94"/>
                </a:cubicBezTo>
                <a:cubicBezTo>
                  <a:pt x="177" y="95"/>
                  <a:pt x="177" y="95"/>
                  <a:pt x="177" y="95"/>
                </a:cubicBezTo>
                <a:cubicBezTo>
                  <a:pt x="178" y="96"/>
                  <a:pt x="178" y="96"/>
                  <a:pt x="178" y="96"/>
                </a:cubicBezTo>
                <a:cubicBezTo>
                  <a:pt x="178" y="95"/>
                  <a:pt x="178" y="95"/>
                  <a:pt x="178" y="95"/>
                </a:cubicBezTo>
                <a:cubicBezTo>
                  <a:pt x="178" y="93"/>
                  <a:pt x="178" y="93"/>
                  <a:pt x="178" y="93"/>
                </a:cubicBezTo>
                <a:cubicBezTo>
                  <a:pt x="179" y="93"/>
                  <a:pt x="179" y="93"/>
                  <a:pt x="179" y="93"/>
                </a:cubicBezTo>
                <a:cubicBezTo>
                  <a:pt x="180" y="93"/>
                  <a:pt x="180" y="93"/>
                  <a:pt x="180" y="93"/>
                </a:cubicBezTo>
                <a:cubicBezTo>
                  <a:pt x="180" y="94"/>
                  <a:pt x="180" y="94"/>
                  <a:pt x="180" y="94"/>
                </a:cubicBezTo>
                <a:cubicBezTo>
                  <a:pt x="179" y="95"/>
                  <a:pt x="179" y="95"/>
                  <a:pt x="179" y="95"/>
                </a:cubicBezTo>
                <a:cubicBezTo>
                  <a:pt x="179" y="97"/>
                  <a:pt x="179" y="97"/>
                  <a:pt x="179" y="97"/>
                </a:cubicBezTo>
                <a:cubicBezTo>
                  <a:pt x="179" y="97"/>
                  <a:pt x="179" y="97"/>
                  <a:pt x="179" y="97"/>
                </a:cubicBezTo>
                <a:cubicBezTo>
                  <a:pt x="181" y="95"/>
                  <a:pt x="181" y="95"/>
                  <a:pt x="181" y="95"/>
                </a:cubicBezTo>
                <a:cubicBezTo>
                  <a:pt x="181" y="95"/>
                  <a:pt x="181" y="95"/>
                  <a:pt x="181" y="95"/>
                </a:cubicBezTo>
                <a:cubicBezTo>
                  <a:pt x="183" y="94"/>
                  <a:pt x="183" y="94"/>
                  <a:pt x="183" y="94"/>
                </a:cubicBezTo>
                <a:cubicBezTo>
                  <a:pt x="186" y="93"/>
                  <a:pt x="186" y="93"/>
                  <a:pt x="186" y="93"/>
                </a:cubicBezTo>
                <a:cubicBezTo>
                  <a:pt x="188" y="92"/>
                  <a:pt x="188" y="92"/>
                  <a:pt x="188" y="92"/>
                </a:cubicBezTo>
                <a:cubicBezTo>
                  <a:pt x="189" y="91"/>
                  <a:pt x="189" y="91"/>
                  <a:pt x="189" y="91"/>
                </a:cubicBezTo>
                <a:cubicBezTo>
                  <a:pt x="189" y="91"/>
                  <a:pt x="189" y="91"/>
                  <a:pt x="189" y="91"/>
                </a:cubicBezTo>
                <a:cubicBezTo>
                  <a:pt x="189" y="92"/>
                  <a:pt x="189" y="92"/>
                  <a:pt x="189" y="92"/>
                </a:cubicBezTo>
                <a:cubicBezTo>
                  <a:pt x="190" y="92"/>
                  <a:pt x="190" y="92"/>
                  <a:pt x="190" y="92"/>
                </a:cubicBezTo>
                <a:cubicBezTo>
                  <a:pt x="192" y="91"/>
                  <a:pt x="192" y="91"/>
                  <a:pt x="192" y="91"/>
                </a:cubicBezTo>
                <a:cubicBezTo>
                  <a:pt x="194" y="91"/>
                  <a:pt x="194" y="91"/>
                  <a:pt x="194" y="91"/>
                </a:cubicBezTo>
                <a:cubicBezTo>
                  <a:pt x="194" y="90"/>
                  <a:pt x="194" y="90"/>
                  <a:pt x="194" y="90"/>
                </a:cubicBezTo>
                <a:cubicBezTo>
                  <a:pt x="194" y="91"/>
                  <a:pt x="194" y="91"/>
                  <a:pt x="194" y="91"/>
                </a:cubicBezTo>
                <a:cubicBezTo>
                  <a:pt x="192" y="92"/>
                  <a:pt x="192" y="92"/>
                  <a:pt x="192" y="92"/>
                </a:cubicBezTo>
                <a:cubicBezTo>
                  <a:pt x="193" y="93"/>
                  <a:pt x="193" y="93"/>
                  <a:pt x="193" y="93"/>
                </a:cubicBezTo>
                <a:cubicBezTo>
                  <a:pt x="193" y="93"/>
                  <a:pt x="193" y="93"/>
                  <a:pt x="193" y="93"/>
                </a:cubicBezTo>
                <a:cubicBezTo>
                  <a:pt x="192" y="95"/>
                  <a:pt x="192" y="95"/>
                  <a:pt x="192" y="95"/>
                </a:cubicBezTo>
                <a:cubicBezTo>
                  <a:pt x="190" y="95"/>
                  <a:pt x="190" y="95"/>
                  <a:pt x="190" y="95"/>
                </a:cubicBezTo>
                <a:cubicBezTo>
                  <a:pt x="190" y="95"/>
                  <a:pt x="190" y="95"/>
                  <a:pt x="190" y="95"/>
                </a:cubicBezTo>
                <a:cubicBezTo>
                  <a:pt x="189" y="95"/>
                  <a:pt x="189" y="95"/>
                  <a:pt x="189" y="95"/>
                </a:cubicBezTo>
                <a:cubicBezTo>
                  <a:pt x="187" y="96"/>
                  <a:pt x="187" y="96"/>
                  <a:pt x="187" y="96"/>
                </a:cubicBezTo>
                <a:cubicBezTo>
                  <a:pt x="187" y="96"/>
                  <a:pt x="187" y="96"/>
                  <a:pt x="187" y="96"/>
                </a:cubicBezTo>
                <a:cubicBezTo>
                  <a:pt x="189" y="96"/>
                  <a:pt x="189" y="96"/>
                  <a:pt x="189" y="96"/>
                </a:cubicBezTo>
                <a:cubicBezTo>
                  <a:pt x="190" y="97"/>
                  <a:pt x="190" y="97"/>
                  <a:pt x="190" y="97"/>
                </a:cubicBezTo>
                <a:cubicBezTo>
                  <a:pt x="189" y="99"/>
                  <a:pt x="189" y="99"/>
                  <a:pt x="189" y="99"/>
                </a:cubicBezTo>
                <a:cubicBezTo>
                  <a:pt x="187" y="101"/>
                  <a:pt x="187" y="101"/>
                  <a:pt x="187" y="101"/>
                </a:cubicBezTo>
                <a:cubicBezTo>
                  <a:pt x="187" y="103"/>
                  <a:pt x="187" y="103"/>
                  <a:pt x="187" y="103"/>
                </a:cubicBezTo>
                <a:cubicBezTo>
                  <a:pt x="186" y="104"/>
                  <a:pt x="186" y="104"/>
                  <a:pt x="186" y="104"/>
                </a:cubicBezTo>
                <a:cubicBezTo>
                  <a:pt x="186" y="104"/>
                  <a:pt x="186" y="104"/>
                  <a:pt x="186" y="104"/>
                </a:cubicBezTo>
                <a:cubicBezTo>
                  <a:pt x="186" y="105"/>
                  <a:pt x="186" y="105"/>
                  <a:pt x="186" y="105"/>
                </a:cubicBezTo>
                <a:cubicBezTo>
                  <a:pt x="187" y="106"/>
                  <a:pt x="187" y="106"/>
                  <a:pt x="187" y="106"/>
                </a:cubicBezTo>
                <a:cubicBezTo>
                  <a:pt x="186" y="107"/>
                  <a:pt x="186" y="107"/>
                  <a:pt x="186" y="107"/>
                </a:cubicBezTo>
                <a:cubicBezTo>
                  <a:pt x="185" y="109"/>
                  <a:pt x="185" y="109"/>
                  <a:pt x="185" y="109"/>
                </a:cubicBezTo>
                <a:cubicBezTo>
                  <a:pt x="184" y="110"/>
                  <a:pt x="184" y="110"/>
                  <a:pt x="184" y="110"/>
                </a:cubicBezTo>
                <a:cubicBezTo>
                  <a:pt x="183" y="109"/>
                  <a:pt x="183" y="109"/>
                  <a:pt x="183" y="109"/>
                </a:cubicBezTo>
                <a:cubicBezTo>
                  <a:pt x="182" y="110"/>
                  <a:pt x="182" y="110"/>
                  <a:pt x="182" y="110"/>
                </a:cubicBezTo>
                <a:cubicBezTo>
                  <a:pt x="181" y="111"/>
                  <a:pt x="181" y="111"/>
                  <a:pt x="181" y="111"/>
                </a:cubicBezTo>
                <a:cubicBezTo>
                  <a:pt x="180" y="111"/>
                  <a:pt x="180" y="111"/>
                  <a:pt x="180" y="111"/>
                </a:cubicBezTo>
                <a:cubicBezTo>
                  <a:pt x="178" y="111"/>
                  <a:pt x="178" y="111"/>
                  <a:pt x="178" y="111"/>
                </a:cubicBezTo>
                <a:cubicBezTo>
                  <a:pt x="177" y="110"/>
                  <a:pt x="177" y="110"/>
                  <a:pt x="177" y="110"/>
                </a:cubicBezTo>
                <a:cubicBezTo>
                  <a:pt x="176" y="110"/>
                  <a:pt x="176" y="110"/>
                  <a:pt x="176" y="110"/>
                </a:cubicBezTo>
                <a:cubicBezTo>
                  <a:pt x="176" y="110"/>
                  <a:pt x="176" y="110"/>
                  <a:pt x="176" y="110"/>
                </a:cubicBezTo>
                <a:cubicBezTo>
                  <a:pt x="175" y="109"/>
                  <a:pt x="175" y="109"/>
                  <a:pt x="175" y="109"/>
                </a:cubicBezTo>
                <a:cubicBezTo>
                  <a:pt x="174" y="109"/>
                  <a:pt x="174" y="109"/>
                  <a:pt x="174" y="109"/>
                </a:cubicBezTo>
                <a:cubicBezTo>
                  <a:pt x="173" y="110"/>
                  <a:pt x="173" y="110"/>
                  <a:pt x="173" y="110"/>
                </a:cubicBezTo>
                <a:cubicBezTo>
                  <a:pt x="172" y="111"/>
                  <a:pt x="172" y="111"/>
                  <a:pt x="172" y="111"/>
                </a:cubicBezTo>
                <a:cubicBezTo>
                  <a:pt x="171" y="113"/>
                  <a:pt x="171" y="113"/>
                  <a:pt x="171" y="113"/>
                </a:cubicBezTo>
                <a:cubicBezTo>
                  <a:pt x="168" y="113"/>
                  <a:pt x="168" y="113"/>
                  <a:pt x="168" y="113"/>
                </a:cubicBezTo>
                <a:cubicBezTo>
                  <a:pt x="167" y="114"/>
                  <a:pt x="167" y="114"/>
                  <a:pt x="167" y="114"/>
                </a:cubicBezTo>
                <a:cubicBezTo>
                  <a:pt x="166" y="114"/>
                  <a:pt x="166" y="114"/>
                  <a:pt x="166" y="114"/>
                </a:cubicBezTo>
                <a:cubicBezTo>
                  <a:pt x="165" y="114"/>
                  <a:pt x="165" y="114"/>
                  <a:pt x="165" y="114"/>
                </a:cubicBezTo>
                <a:cubicBezTo>
                  <a:pt x="163" y="114"/>
                  <a:pt x="163" y="114"/>
                  <a:pt x="163" y="114"/>
                </a:cubicBezTo>
                <a:cubicBezTo>
                  <a:pt x="162" y="115"/>
                  <a:pt x="162" y="115"/>
                  <a:pt x="162" y="115"/>
                </a:cubicBezTo>
                <a:cubicBezTo>
                  <a:pt x="160" y="115"/>
                  <a:pt x="160" y="115"/>
                  <a:pt x="160" y="115"/>
                </a:cubicBezTo>
                <a:cubicBezTo>
                  <a:pt x="159" y="116"/>
                  <a:pt x="159" y="116"/>
                  <a:pt x="159" y="116"/>
                </a:cubicBezTo>
                <a:cubicBezTo>
                  <a:pt x="159" y="117"/>
                  <a:pt x="159" y="117"/>
                  <a:pt x="159" y="117"/>
                </a:cubicBezTo>
                <a:cubicBezTo>
                  <a:pt x="158" y="119"/>
                  <a:pt x="158" y="119"/>
                  <a:pt x="158" y="119"/>
                </a:cubicBezTo>
                <a:cubicBezTo>
                  <a:pt x="158" y="120"/>
                  <a:pt x="158" y="120"/>
                  <a:pt x="158" y="120"/>
                </a:cubicBezTo>
                <a:cubicBezTo>
                  <a:pt x="157" y="120"/>
                  <a:pt x="157" y="120"/>
                  <a:pt x="157" y="120"/>
                </a:cubicBezTo>
                <a:cubicBezTo>
                  <a:pt x="156" y="118"/>
                  <a:pt x="156" y="118"/>
                  <a:pt x="156" y="118"/>
                </a:cubicBezTo>
                <a:cubicBezTo>
                  <a:pt x="154" y="118"/>
                  <a:pt x="154" y="118"/>
                  <a:pt x="154" y="118"/>
                </a:cubicBezTo>
                <a:cubicBezTo>
                  <a:pt x="153" y="118"/>
                  <a:pt x="153" y="118"/>
                  <a:pt x="153" y="118"/>
                </a:cubicBezTo>
                <a:cubicBezTo>
                  <a:pt x="154" y="119"/>
                  <a:pt x="154" y="119"/>
                  <a:pt x="154" y="119"/>
                </a:cubicBezTo>
                <a:cubicBezTo>
                  <a:pt x="154" y="120"/>
                  <a:pt x="154" y="120"/>
                  <a:pt x="154" y="120"/>
                </a:cubicBezTo>
                <a:cubicBezTo>
                  <a:pt x="154" y="121"/>
                  <a:pt x="154" y="121"/>
                  <a:pt x="154" y="121"/>
                </a:cubicBezTo>
                <a:cubicBezTo>
                  <a:pt x="153" y="121"/>
                  <a:pt x="153" y="121"/>
                  <a:pt x="153" y="121"/>
                </a:cubicBezTo>
                <a:cubicBezTo>
                  <a:pt x="153" y="120"/>
                  <a:pt x="153" y="120"/>
                  <a:pt x="153" y="120"/>
                </a:cubicBezTo>
                <a:cubicBezTo>
                  <a:pt x="152" y="118"/>
                  <a:pt x="152" y="118"/>
                  <a:pt x="152" y="118"/>
                </a:cubicBezTo>
                <a:cubicBezTo>
                  <a:pt x="151" y="119"/>
                  <a:pt x="151" y="119"/>
                  <a:pt x="151" y="119"/>
                </a:cubicBezTo>
                <a:cubicBezTo>
                  <a:pt x="149" y="120"/>
                  <a:pt x="149" y="120"/>
                  <a:pt x="149" y="120"/>
                </a:cubicBezTo>
                <a:cubicBezTo>
                  <a:pt x="149" y="122"/>
                  <a:pt x="149" y="122"/>
                  <a:pt x="149" y="122"/>
                </a:cubicBezTo>
                <a:cubicBezTo>
                  <a:pt x="148" y="122"/>
                  <a:pt x="148" y="122"/>
                  <a:pt x="148" y="122"/>
                </a:cubicBezTo>
                <a:cubicBezTo>
                  <a:pt x="147" y="122"/>
                  <a:pt x="147" y="122"/>
                  <a:pt x="147" y="122"/>
                </a:cubicBezTo>
                <a:cubicBezTo>
                  <a:pt x="144" y="125"/>
                  <a:pt x="144" y="125"/>
                  <a:pt x="144" y="125"/>
                </a:cubicBezTo>
                <a:cubicBezTo>
                  <a:pt x="144" y="127"/>
                  <a:pt x="144" y="127"/>
                  <a:pt x="144" y="127"/>
                </a:cubicBezTo>
                <a:cubicBezTo>
                  <a:pt x="143" y="127"/>
                  <a:pt x="143" y="127"/>
                  <a:pt x="143" y="127"/>
                </a:cubicBezTo>
                <a:cubicBezTo>
                  <a:pt x="142" y="127"/>
                  <a:pt x="142" y="127"/>
                  <a:pt x="142" y="127"/>
                </a:cubicBezTo>
                <a:cubicBezTo>
                  <a:pt x="141" y="127"/>
                  <a:pt x="141" y="127"/>
                  <a:pt x="141" y="127"/>
                </a:cubicBezTo>
                <a:cubicBezTo>
                  <a:pt x="140" y="127"/>
                  <a:pt x="140" y="127"/>
                  <a:pt x="140" y="127"/>
                </a:cubicBezTo>
                <a:cubicBezTo>
                  <a:pt x="142" y="129"/>
                  <a:pt x="142" y="129"/>
                  <a:pt x="142" y="129"/>
                </a:cubicBezTo>
                <a:cubicBezTo>
                  <a:pt x="141" y="130"/>
                  <a:pt x="141" y="130"/>
                  <a:pt x="141" y="130"/>
                </a:cubicBezTo>
                <a:cubicBezTo>
                  <a:pt x="141" y="130"/>
                  <a:pt x="141" y="130"/>
                  <a:pt x="141" y="130"/>
                </a:cubicBezTo>
                <a:cubicBezTo>
                  <a:pt x="140" y="129"/>
                  <a:pt x="140" y="129"/>
                  <a:pt x="140" y="129"/>
                </a:cubicBezTo>
                <a:cubicBezTo>
                  <a:pt x="139" y="129"/>
                  <a:pt x="139" y="129"/>
                  <a:pt x="139" y="129"/>
                </a:cubicBezTo>
                <a:cubicBezTo>
                  <a:pt x="139" y="130"/>
                  <a:pt x="139" y="130"/>
                  <a:pt x="139" y="130"/>
                </a:cubicBezTo>
                <a:cubicBezTo>
                  <a:pt x="137" y="132"/>
                  <a:pt x="137" y="132"/>
                  <a:pt x="137" y="132"/>
                </a:cubicBezTo>
                <a:cubicBezTo>
                  <a:pt x="137" y="132"/>
                  <a:pt x="137" y="132"/>
                  <a:pt x="137" y="132"/>
                </a:cubicBezTo>
                <a:cubicBezTo>
                  <a:pt x="138" y="134"/>
                  <a:pt x="138" y="134"/>
                  <a:pt x="138" y="134"/>
                </a:cubicBezTo>
                <a:cubicBezTo>
                  <a:pt x="139" y="136"/>
                  <a:pt x="139" y="136"/>
                  <a:pt x="139" y="136"/>
                </a:cubicBezTo>
                <a:cubicBezTo>
                  <a:pt x="138" y="137"/>
                  <a:pt x="138" y="137"/>
                  <a:pt x="138" y="137"/>
                </a:cubicBezTo>
                <a:cubicBezTo>
                  <a:pt x="138" y="138"/>
                  <a:pt x="138" y="138"/>
                  <a:pt x="138" y="138"/>
                </a:cubicBezTo>
                <a:cubicBezTo>
                  <a:pt x="138" y="139"/>
                  <a:pt x="138" y="139"/>
                  <a:pt x="138" y="139"/>
                </a:cubicBezTo>
                <a:cubicBezTo>
                  <a:pt x="139" y="139"/>
                  <a:pt x="139" y="139"/>
                  <a:pt x="139" y="139"/>
                </a:cubicBezTo>
                <a:cubicBezTo>
                  <a:pt x="140" y="138"/>
                  <a:pt x="140" y="138"/>
                  <a:pt x="140" y="138"/>
                </a:cubicBezTo>
                <a:cubicBezTo>
                  <a:pt x="140" y="138"/>
                  <a:pt x="140" y="138"/>
                  <a:pt x="140" y="138"/>
                </a:cubicBezTo>
                <a:cubicBezTo>
                  <a:pt x="140" y="140"/>
                  <a:pt x="140" y="140"/>
                  <a:pt x="140" y="140"/>
                </a:cubicBezTo>
                <a:cubicBezTo>
                  <a:pt x="139" y="140"/>
                  <a:pt x="139" y="140"/>
                  <a:pt x="139" y="140"/>
                </a:cubicBezTo>
                <a:cubicBezTo>
                  <a:pt x="139" y="141"/>
                  <a:pt x="139" y="141"/>
                  <a:pt x="139" y="141"/>
                </a:cubicBezTo>
                <a:cubicBezTo>
                  <a:pt x="139" y="141"/>
                  <a:pt x="139" y="141"/>
                  <a:pt x="139" y="141"/>
                </a:cubicBezTo>
                <a:cubicBezTo>
                  <a:pt x="140" y="141"/>
                  <a:pt x="140" y="141"/>
                  <a:pt x="140" y="141"/>
                </a:cubicBezTo>
                <a:cubicBezTo>
                  <a:pt x="141" y="141"/>
                  <a:pt x="141" y="141"/>
                  <a:pt x="141" y="141"/>
                </a:cubicBezTo>
                <a:cubicBezTo>
                  <a:pt x="142" y="141"/>
                  <a:pt x="142" y="141"/>
                  <a:pt x="142" y="141"/>
                </a:cubicBezTo>
                <a:cubicBezTo>
                  <a:pt x="142" y="141"/>
                  <a:pt x="142" y="141"/>
                  <a:pt x="142" y="141"/>
                </a:cubicBezTo>
                <a:cubicBezTo>
                  <a:pt x="142" y="142"/>
                  <a:pt x="142" y="142"/>
                  <a:pt x="142" y="142"/>
                </a:cubicBezTo>
                <a:cubicBezTo>
                  <a:pt x="143" y="142"/>
                  <a:pt x="143" y="142"/>
                  <a:pt x="143" y="142"/>
                </a:cubicBezTo>
                <a:cubicBezTo>
                  <a:pt x="144" y="143"/>
                  <a:pt x="144" y="143"/>
                  <a:pt x="144" y="143"/>
                </a:cubicBezTo>
                <a:cubicBezTo>
                  <a:pt x="146" y="143"/>
                  <a:pt x="146" y="143"/>
                  <a:pt x="146" y="143"/>
                </a:cubicBezTo>
                <a:cubicBezTo>
                  <a:pt x="147" y="142"/>
                  <a:pt x="147" y="142"/>
                  <a:pt x="147" y="142"/>
                </a:cubicBezTo>
                <a:cubicBezTo>
                  <a:pt x="147" y="140"/>
                  <a:pt x="147" y="140"/>
                  <a:pt x="147" y="140"/>
                </a:cubicBezTo>
                <a:cubicBezTo>
                  <a:pt x="148" y="139"/>
                  <a:pt x="148" y="139"/>
                  <a:pt x="148" y="139"/>
                </a:cubicBezTo>
                <a:cubicBezTo>
                  <a:pt x="150" y="139"/>
                  <a:pt x="150" y="139"/>
                  <a:pt x="150" y="139"/>
                </a:cubicBezTo>
                <a:cubicBezTo>
                  <a:pt x="151" y="138"/>
                  <a:pt x="151" y="138"/>
                  <a:pt x="151" y="138"/>
                </a:cubicBezTo>
                <a:cubicBezTo>
                  <a:pt x="150" y="139"/>
                  <a:pt x="150" y="139"/>
                  <a:pt x="150" y="139"/>
                </a:cubicBezTo>
                <a:cubicBezTo>
                  <a:pt x="149" y="139"/>
                  <a:pt x="149" y="139"/>
                  <a:pt x="149" y="139"/>
                </a:cubicBezTo>
                <a:cubicBezTo>
                  <a:pt x="147" y="141"/>
                  <a:pt x="147" y="141"/>
                  <a:pt x="147" y="141"/>
                </a:cubicBezTo>
                <a:cubicBezTo>
                  <a:pt x="147" y="143"/>
                  <a:pt x="147" y="143"/>
                  <a:pt x="147" y="143"/>
                </a:cubicBezTo>
                <a:cubicBezTo>
                  <a:pt x="146" y="143"/>
                  <a:pt x="146" y="143"/>
                  <a:pt x="146" y="143"/>
                </a:cubicBezTo>
                <a:cubicBezTo>
                  <a:pt x="147" y="145"/>
                  <a:pt x="147" y="145"/>
                  <a:pt x="147" y="145"/>
                </a:cubicBezTo>
                <a:cubicBezTo>
                  <a:pt x="147" y="146"/>
                  <a:pt x="147" y="146"/>
                  <a:pt x="147" y="146"/>
                </a:cubicBezTo>
                <a:cubicBezTo>
                  <a:pt x="146" y="146"/>
                  <a:pt x="146" y="146"/>
                  <a:pt x="146" y="146"/>
                </a:cubicBezTo>
                <a:cubicBezTo>
                  <a:pt x="145" y="145"/>
                  <a:pt x="145" y="145"/>
                  <a:pt x="145" y="145"/>
                </a:cubicBezTo>
                <a:cubicBezTo>
                  <a:pt x="145" y="145"/>
                  <a:pt x="145" y="145"/>
                  <a:pt x="145" y="145"/>
                </a:cubicBezTo>
                <a:cubicBezTo>
                  <a:pt x="145" y="144"/>
                  <a:pt x="145" y="144"/>
                  <a:pt x="145" y="144"/>
                </a:cubicBezTo>
                <a:cubicBezTo>
                  <a:pt x="144" y="144"/>
                  <a:pt x="144" y="144"/>
                  <a:pt x="144" y="144"/>
                </a:cubicBezTo>
                <a:cubicBezTo>
                  <a:pt x="143" y="143"/>
                  <a:pt x="143" y="143"/>
                  <a:pt x="143" y="143"/>
                </a:cubicBezTo>
                <a:cubicBezTo>
                  <a:pt x="141" y="143"/>
                  <a:pt x="141" y="143"/>
                  <a:pt x="141" y="143"/>
                </a:cubicBezTo>
                <a:cubicBezTo>
                  <a:pt x="141" y="142"/>
                  <a:pt x="141" y="142"/>
                  <a:pt x="141" y="142"/>
                </a:cubicBezTo>
                <a:cubicBezTo>
                  <a:pt x="140" y="143"/>
                  <a:pt x="140" y="143"/>
                  <a:pt x="140" y="143"/>
                </a:cubicBezTo>
                <a:cubicBezTo>
                  <a:pt x="139" y="143"/>
                  <a:pt x="139" y="143"/>
                  <a:pt x="139" y="143"/>
                </a:cubicBezTo>
                <a:cubicBezTo>
                  <a:pt x="138" y="144"/>
                  <a:pt x="138" y="144"/>
                  <a:pt x="138" y="144"/>
                </a:cubicBezTo>
                <a:cubicBezTo>
                  <a:pt x="137" y="145"/>
                  <a:pt x="137" y="145"/>
                  <a:pt x="137" y="145"/>
                </a:cubicBezTo>
                <a:cubicBezTo>
                  <a:pt x="136" y="144"/>
                  <a:pt x="136" y="144"/>
                  <a:pt x="136" y="144"/>
                </a:cubicBezTo>
                <a:cubicBezTo>
                  <a:pt x="136" y="145"/>
                  <a:pt x="136" y="145"/>
                  <a:pt x="136" y="145"/>
                </a:cubicBezTo>
                <a:cubicBezTo>
                  <a:pt x="136" y="146"/>
                  <a:pt x="136" y="146"/>
                  <a:pt x="136" y="146"/>
                </a:cubicBezTo>
                <a:cubicBezTo>
                  <a:pt x="137" y="146"/>
                  <a:pt x="137" y="146"/>
                  <a:pt x="137" y="146"/>
                </a:cubicBezTo>
                <a:cubicBezTo>
                  <a:pt x="136" y="147"/>
                  <a:pt x="136" y="147"/>
                  <a:pt x="136" y="147"/>
                </a:cubicBezTo>
                <a:cubicBezTo>
                  <a:pt x="136" y="149"/>
                  <a:pt x="136" y="149"/>
                  <a:pt x="136" y="149"/>
                </a:cubicBezTo>
                <a:cubicBezTo>
                  <a:pt x="136" y="150"/>
                  <a:pt x="136" y="150"/>
                  <a:pt x="136" y="150"/>
                </a:cubicBezTo>
                <a:cubicBezTo>
                  <a:pt x="137" y="150"/>
                  <a:pt x="137" y="150"/>
                  <a:pt x="137" y="150"/>
                </a:cubicBezTo>
                <a:cubicBezTo>
                  <a:pt x="137" y="152"/>
                  <a:pt x="137" y="152"/>
                  <a:pt x="137" y="152"/>
                </a:cubicBezTo>
                <a:cubicBezTo>
                  <a:pt x="138" y="153"/>
                  <a:pt x="138" y="153"/>
                  <a:pt x="138" y="153"/>
                </a:cubicBezTo>
                <a:cubicBezTo>
                  <a:pt x="138" y="154"/>
                  <a:pt x="138" y="154"/>
                  <a:pt x="138" y="154"/>
                </a:cubicBezTo>
                <a:cubicBezTo>
                  <a:pt x="139" y="155"/>
                  <a:pt x="139" y="155"/>
                  <a:pt x="139" y="155"/>
                </a:cubicBezTo>
                <a:cubicBezTo>
                  <a:pt x="139" y="155"/>
                  <a:pt x="139" y="155"/>
                  <a:pt x="139" y="155"/>
                </a:cubicBezTo>
                <a:cubicBezTo>
                  <a:pt x="137" y="155"/>
                  <a:pt x="137" y="155"/>
                  <a:pt x="137" y="155"/>
                </a:cubicBezTo>
                <a:cubicBezTo>
                  <a:pt x="137" y="156"/>
                  <a:pt x="137" y="156"/>
                  <a:pt x="137" y="156"/>
                </a:cubicBezTo>
                <a:cubicBezTo>
                  <a:pt x="141" y="158"/>
                  <a:pt x="141" y="158"/>
                  <a:pt x="141" y="158"/>
                </a:cubicBezTo>
                <a:cubicBezTo>
                  <a:pt x="143" y="158"/>
                  <a:pt x="143" y="158"/>
                  <a:pt x="143" y="158"/>
                </a:cubicBezTo>
                <a:cubicBezTo>
                  <a:pt x="145" y="157"/>
                  <a:pt x="145" y="157"/>
                  <a:pt x="145" y="157"/>
                </a:cubicBezTo>
                <a:cubicBezTo>
                  <a:pt x="146" y="157"/>
                  <a:pt x="146" y="157"/>
                  <a:pt x="146" y="157"/>
                </a:cubicBezTo>
                <a:cubicBezTo>
                  <a:pt x="146" y="157"/>
                  <a:pt x="146" y="157"/>
                  <a:pt x="146" y="157"/>
                </a:cubicBezTo>
                <a:cubicBezTo>
                  <a:pt x="147" y="157"/>
                  <a:pt x="147" y="157"/>
                  <a:pt x="147" y="157"/>
                </a:cubicBezTo>
                <a:cubicBezTo>
                  <a:pt x="149" y="155"/>
                  <a:pt x="149" y="155"/>
                  <a:pt x="149" y="155"/>
                </a:cubicBezTo>
                <a:cubicBezTo>
                  <a:pt x="149" y="154"/>
                  <a:pt x="149" y="154"/>
                  <a:pt x="149" y="154"/>
                </a:cubicBezTo>
                <a:cubicBezTo>
                  <a:pt x="148" y="153"/>
                  <a:pt x="148" y="153"/>
                  <a:pt x="148" y="153"/>
                </a:cubicBezTo>
                <a:cubicBezTo>
                  <a:pt x="148" y="152"/>
                  <a:pt x="148" y="152"/>
                  <a:pt x="148" y="152"/>
                </a:cubicBezTo>
                <a:cubicBezTo>
                  <a:pt x="150" y="152"/>
                  <a:pt x="150" y="152"/>
                  <a:pt x="150" y="152"/>
                </a:cubicBezTo>
                <a:cubicBezTo>
                  <a:pt x="152" y="150"/>
                  <a:pt x="152" y="150"/>
                  <a:pt x="152" y="150"/>
                </a:cubicBezTo>
                <a:cubicBezTo>
                  <a:pt x="154" y="148"/>
                  <a:pt x="154" y="148"/>
                  <a:pt x="154" y="148"/>
                </a:cubicBezTo>
                <a:cubicBezTo>
                  <a:pt x="155" y="149"/>
                  <a:pt x="155" y="149"/>
                  <a:pt x="155" y="149"/>
                </a:cubicBezTo>
                <a:cubicBezTo>
                  <a:pt x="154" y="149"/>
                  <a:pt x="154" y="149"/>
                  <a:pt x="154" y="149"/>
                </a:cubicBezTo>
                <a:cubicBezTo>
                  <a:pt x="152" y="151"/>
                  <a:pt x="152" y="151"/>
                  <a:pt x="152" y="151"/>
                </a:cubicBezTo>
                <a:cubicBezTo>
                  <a:pt x="150" y="152"/>
                  <a:pt x="150" y="152"/>
                  <a:pt x="150" y="152"/>
                </a:cubicBezTo>
                <a:cubicBezTo>
                  <a:pt x="150" y="153"/>
                  <a:pt x="150" y="153"/>
                  <a:pt x="150" y="153"/>
                </a:cubicBezTo>
                <a:cubicBezTo>
                  <a:pt x="151" y="154"/>
                  <a:pt x="151" y="154"/>
                  <a:pt x="151" y="154"/>
                </a:cubicBezTo>
                <a:cubicBezTo>
                  <a:pt x="151" y="155"/>
                  <a:pt x="151" y="155"/>
                  <a:pt x="151" y="155"/>
                </a:cubicBezTo>
                <a:cubicBezTo>
                  <a:pt x="150" y="156"/>
                  <a:pt x="150" y="156"/>
                  <a:pt x="150" y="156"/>
                </a:cubicBezTo>
                <a:cubicBezTo>
                  <a:pt x="149" y="157"/>
                  <a:pt x="149" y="157"/>
                  <a:pt x="149" y="157"/>
                </a:cubicBezTo>
                <a:cubicBezTo>
                  <a:pt x="148" y="159"/>
                  <a:pt x="148" y="159"/>
                  <a:pt x="148" y="159"/>
                </a:cubicBezTo>
                <a:cubicBezTo>
                  <a:pt x="149" y="160"/>
                  <a:pt x="149" y="160"/>
                  <a:pt x="149" y="160"/>
                </a:cubicBezTo>
                <a:cubicBezTo>
                  <a:pt x="148" y="161"/>
                  <a:pt x="148" y="161"/>
                  <a:pt x="148" y="161"/>
                </a:cubicBezTo>
                <a:cubicBezTo>
                  <a:pt x="148" y="162"/>
                  <a:pt x="148" y="162"/>
                  <a:pt x="148" y="162"/>
                </a:cubicBezTo>
                <a:cubicBezTo>
                  <a:pt x="148" y="163"/>
                  <a:pt x="148" y="163"/>
                  <a:pt x="148" y="163"/>
                </a:cubicBezTo>
                <a:cubicBezTo>
                  <a:pt x="148" y="164"/>
                  <a:pt x="148" y="164"/>
                  <a:pt x="148" y="164"/>
                </a:cubicBezTo>
                <a:cubicBezTo>
                  <a:pt x="147" y="165"/>
                  <a:pt x="147" y="165"/>
                  <a:pt x="147" y="165"/>
                </a:cubicBezTo>
                <a:cubicBezTo>
                  <a:pt x="146" y="166"/>
                  <a:pt x="146" y="166"/>
                  <a:pt x="146" y="166"/>
                </a:cubicBezTo>
                <a:cubicBezTo>
                  <a:pt x="146" y="167"/>
                  <a:pt x="146" y="167"/>
                  <a:pt x="146" y="167"/>
                </a:cubicBezTo>
                <a:cubicBezTo>
                  <a:pt x="145" y="166"/>
                  <a:pt x="145" y="166"/>
                  <a:pt x="145" y="166"/>
                </a:cubicBezTo>
                <a:cubicBezTo>
                  <a:pt x="145" y="167"/>
                  <a:pt x="145" y="167"/>
                  <a:pt x="145" y="167"/>
                </a:cubicBezTo>
                <a:cubicBezTo>
                  <a:pt x="145" y="168"/>
                  <a:pt x="145" y="168"/>
                  <a:pt x="145" y="168"/>
                </a:cubicBezTo>
                <a:cubicBezTo>
                  <a:pt x="145" y="169"/>
                  <a:pt x="145" y="169"/>
                  <a:pt x="145" y="169"/>
                </a:cubicBezTo>
                <a:cubicBezTo>
                  <a:pt x="146" y="170"/>
                  <a:pt x="146" y="170"/>
                  <a:pt x="146" y="170"/>
                </a:cubicBezTo>
                <a:cubicBezTo>
                  <a:pt x="147" y="169"/>
                  <a:pt x="147" y="169"/>
                  <a:pt x="147" y="169"/>
                </a:cubicBezTo>
                <a:cubicBezTo>
                  <a:pt x="148" y="169"/>
                  <a:pt x="148" y="169"/>
                  <a:pt x="148" y="169"/>
                </a:cubicBezTo>
                <a:cubicBezTo>
                  <a:pt x="148" y="170"/>
                  <a:pt x="148" y="170"/>
                  <a:pt x="148" y="170"/>
                </a:cubicBezTo>
                <a:cubicBezTo>
                  <a:pt x="147" y="171"/>
                  <a:pt x="147" y="171"/>
                  <a:pt x="147" y="171"/>
                </a:cubicBezTo>
                <a:cubicBezTo>
                  <a:pt x="146" y="171"/>
                  <a:pt x="146" y="171"/>
                  <a:pt x="146" y="171"/>
                </a:cubicBezTo>
                <a:cubicBezTo>
                  <a:pt x="145" y="171"/>
                  <a:pt x="145" y="171"/>
                  <a:pt x="145" y="171"/>
                </a:cubicBezTo>
                <a:cubicBezTo>
                  <a:pt x="146" y="172"/>
                  <a:pt x="146" y="172"/>
                  <a:pt x="146" y="172"/>
                </a:cubicBezTo>
                <a:cubicBezTo>
                  <a:pt x="145" y="172"/>
                  <a:pt x="145" y="172"/>
                  <a:pt x="145" y="172"/>
                </a:cubicBezTo>
                <a:cubicBezTo>
                  <a:pt x="146" y="173"/>
                  <a:pt x="146" y="173"/>
                  <a:pt x="146" y="173"/>
                </a:cubicBezTo>
                <a:cubicBezTo>
                  <a:pt x="145" y="174"/>
                  <a:pt x="145" y="174"/>
                  <a:pt x="145" y="174"/>
                </a:cubicBezTo>
                <a:cubicBezTo>
                  <a:pt x="144" y="174"/>
                  <a:pt x="144" y="174"/>
                  <a:pt x="144" y="174"/>
                </a:cubicBezTo>
                <a:cubicBezTo>
                  <a:pt x="143" y="175"/>
                  <a:pt x="143" y="175"/>
                  <a:pt x="143" y="175"/>
                </a:cubicBezTo>
                <a:cubicBezTo>
                  <a:pt x="142" y="174"/>
                  <a:pt x="142" y="174"/>
                  <a:pt x="142" y="174"/>
                </a:cubicBezTo>
                <a:cubicBezTo>
                  <a:pt x="142" y="175"/>
                  <a:pt x="142" y="175"/>
                  <a:pt x="142" y="175"/>
                </a:cubicBezTo>
                <a:cubicBezTo>
                  <a:pt x="142" y="175"/>
                  <a:pt x="142" y="175"/>
                  <a:pt x="142" y="175"/>
                </a:cubicBezTo>
                <a:cubicBezTo>
                  <a:pt x="144" y="175"/>
                  <a:pt x="144" y="175"/>
                  <a:pt x="144" y="175"/>
                </a:cubicBezTo>
                <a:cubicBezTo>
                  <a:pt x="144" y="176"/>
                  <a:pt x="144" y="176"/>
                  <a:pt x="144" y="176"/>
                </a:cubicBezTo>
                <a:cubicBezTo>
                  <a:pt x="146" y="175"/>
                  <a:pt x="146" y="175"/>
                  <a:pt x="146" y="175"/>
                </a:cubicBezTo>
                <a:cubicBezTo>
                  <a:pt x="148" y="173"/>
                  <a:pt x="148" y="173"/>
                  <a:pt x="148" y="173"/>
                </a:cubicBezTo>
                <a:cubicBezTo>
                  <a:pt x="149" y="173"/>
                  <a:pt x="149" y="173"/>
                  <a:pt x="149" y="173"/>
                </a:cubicBezTo>
                <a:cubicBezTo>
                  <a:pt x="150" y="173"/>
                  <a:pt x="150" y="173"/>
                  <a:pt x="150" y="173"/>
                </a:cubicBezTo>
                <a:cubicBezTo>
                  <a:pt x="151" y="172"/>
                  <a:pt x="151" y="172"/>
                  <a:pt x="151" y="172"/>
                </a:cubicBezTo>
                <a:cubicBezTo>
                  <a:pt x="153" y="172"/>
                  <a:pt x="153" y="172"/>
                  <a:pt x="153" y="172"/>
                </a:cubicBezTo>
                <a:cubicBezTo>
                  <a:pt x="152" y="173"/>
                  <a:pt x="152" y="173"/>
                  <a:pt x="152" y="173"/>
                </a:cubicBezTo>
                <a:cubicBezTo>
                  <a:pt x="151" y="173"/>
                  <a:pt x="151" y="173"/>
                  <a:pt x="151" y="173"/>
                </a:cubicBezTo>
                <a:cubicBezTo>
                  <a:pt x="151" y="174"/>
                  <a:pt x="151" y="174"/>
                  <a:pt x="151" y="174"/>
                </a:cubicBezTo>
                <a:cubicBezTo>
                  <a:pt x="152" y="174"/>
                  <a:pt x="152" y="174"/>
                  <a:pt x="152" y="174"/>
                </a:cubicBezTo>
                <a:cubicBezTo>
                  <a:pt x="153" y="175"/>
                  <a:pt x="153" y="175"/>
                  <a:pt x="153" y="175"/>
                </a:cubicBezTo>
                <a:cubicBezTo>
                  <a:pt x="152" y="176"/>
                  <a:pt x="152" y="176"/>
                  <a:pt x="152" y="176"/>
                </a:cubicBezTo>
                <a:cubicBezTo>
                  <a:pt x="153" y="176"/>
                  <a:pt x="153" y="176"/>
                  <a:pt x="153" y="176"/>
                </a:cubicBezTo>
                <a:cubicBezTo>
                  <a:pt x="154" y="176"/>
                  <a:pt x="154" y="176"/>
                  <a:pt x="154" y="176"/>
                </a:cubicBezTo>
                <a:cubicBezTo>
                  <a:pt x="155" y="175"/>
                  <a:pt x="155" y="175"/>
                  <a:pt x="155" y="175"/>
                </a:cubicBezTo>
                <a:cubicBezTo>
                  <a:pt x="155" y="175"/>
                  <a:pt x="155" y="175"/>
                  <a:pt x="155" y="175"/>
                </a:cubicBezTo>
                <a:cubicBezTo>
                  <a:pt x="155" y="176"/>
                  <a:pt x="155" y="176"/>
                  <a:pt x="155" y="176"/>
                </a:cubicBezTo>
                <a:cubicBezTo>
                  <a:pt x="156" y="177"/>
                  <a:pt x="156" y="177"/>
                  <a:pt x="156" y="177"/>
                </a:cubicBezTo>
                <a:cubicBezTo>
                  <a:pt x="156" y="179"/>
                  <a:pt x="156" y="179"/>
                  <a:pt x="156" y="179"/>
                </a:cubicBezTo>
                <a:cubicBezTo>
                  <a:pt x="156" y="180"/>
                  <a:pt x="156" y="180"/>
                  <a:pt x="156" y="180"/>
                </a:cubicBezTo>
                <a:cubicBezTo>
                  <a:pt x="157" y="182"/>
                  <a:pt x="157" y="182"/>
                  <a:pt x="157" y="182"/>
                </a:cubicBezTo>
                <a:cubicBezTo>
                  <a:pt x="157" y="182"/>
                  <a:pt x="157" y="182"/>
                  <a:pt x="157" y="182"/>
                </a:cubicBezTo>
                <a:cubicBezTo>
                  <a:pt x="158" y="181"/>
                  <a:pt x="158" y="181"/>
                  <a:pt x="158" y="181"/>
                </a:cubicBezTo>
                <a:cubicBezTo>
                  <a:pt x="158" y="179"/>
                  <a:pt x="158" y="179"/>
                  <a:pt x="158" y="179"/>
                </a:cubicBezTo>
                <a:cubicBezTo>
                  <a:pt x="159" y="177"/>
                  <a:pt x="159" y="177"/>
                  <a:pt x="159" y="177"/>
                </a:cubicBezTo>
                <a:cubicBezTo>
                  <a:pt x="159" y="176"/>
                  <a:pt x="159" y="176"/>
                  <a:pt x="159" y="176"/>
                </a:cubicBezTo>
                <a:cubicBezTo>
                  <a:pt x="160" y="175"/>
                  <a:pt x="160" y="175"/>
                  <a:pt x="160" y="175"/>
                </a:cubicBezTo>
                <a:cubicBezTo>
                  <a:pt x="161" y="175"/>
                  <a:pt x="161" y="175"/>
                  <a:pt x="161" y="175"/>
                </a:cubicBezTo>
                <a:cubicBezTo>
                  <a:pt x="162" y="174"/>
                  <a:pt x="162" y="174"/>
                  <a:pt x="162" y="174"/>
                </a:cubicBezTo>
                <a:cubicBezTo>
                  <a:pt x="164" y="174"/>
                  <a:pt x="164" y="174"/>
                  <a:pt x="164" y="174"/>
                </a:cubicBezTo>
                <a:cubicBezTo>
                  <a:pt x="162" y="175"/>
                  <a:pt x="162" y="175"/>
                  <a:pt x="162" y="175"/>
                </a:cubicBezTo>
                <a:cubicBezTo>
                  <a:pt x="161" y="177"/>
                  <a:pt x="161" y="177"/>
                  <a:pt x="161" y="177"/>
                </a:cubicBezTo>
                <a:cubicBezTo>
                  <a:pt x="160" y="178"/>
                  <a:pt x="160" y="178"/>
                  <a:pt x="160" y="178"/>
                </a:cubicBezTo>
                <a:cubicBezTo>
                  <a:pt x="162" y="179"/>
                  <a:pt x="162" y="179"/>
                  <a:pt x="162" y="179"/>
                </a:cubicBezTo>
                <a:cubicBezTo>
                  <a:pt x="163" y="180"/>
                  <a:pt x="163" y="180"/>
                  <a:pt x="163" y="180"/>
                </a:cubicBezTo>
                <a:cubicBezTo>
                  <a:pt x="165" y="179"/>
                  <a:pt x="165" y="179"/>
                  <a:pt x="165" y="179"/>
                </a:cubicBezTo>
                <a:cubicBezTo>
                  <a:pt x="167" y="178"/>
                  <a:pt x="167" y="178"/>
                  <a:pt x="167" y="178"/>
                </a:cubicBezTo>
                <a:cubicBezTo>
                  <a:pt x="168" y="177"/>
                  <a:pt x="168" y="177"/>
                  <a:pt x="168" y="177"/>
                </a:cubicBezTo>
                <a:cubicBezTo>
                  <a:pt x="169" y="177"/>
                  <a:pt x="169" y="177"/>
                  <a:pt x="169" y="177"/>
                </a:cubicBezTo>
                <a:cubicBezTo>
                  <a:pt x="171" y="176"/>
                  <a:pt x="171" y="176"/>
                  <a:pt x="171" y="176"/>
                </a:cubicBezTo>
                <a:cubicBezTo>
                  <a:pt x="172" y="176"/>
                  <a:pt x="172" y="176"/>
                  <a:pt x="172" y="176"/>
                </a:cubicBezTo>
                <a:cubicBezTo>
                  <a:pt x="171" y="177"/>
                  <a:pt x="171" y="177"/>
                  <a:pt x="171" y="177"/>
                </a:cubicBezTo>
                <a:cubicBezTo>
                  <a:pt x="170" y="178"/>
                  <a:pt x="170" y="178"/>
                  <a:pt x="170" y="178"/>
                </a:cubicBezTo>
                <a:cubicBezTo>
                  <a:pt x="170" y="179"/>
                  <a:pt x="170" y="179"/>
                  <a:pt x="170" y="179"/>
                </a:cubicBezTo>
                <a:cubicBezTo>
                  <a:pt x="169" y="180"/>
                  <a:pt x="169" y="180"/>
                  <a:pt x="169" y="180"/>
                </a:cubicBezTo>
                <a:cubicBezTo>
                  <a:pt x="165" y="182"/>
                  <a:pt x="165" y="182"/>
                  <a:pt x="165" y="182"/>
                </a:cubicBezTo>
                <a:cubicBezTo>
                  <a:pt x="164" y="183"/>
                  <a:pt x="164" y="183"/>
                  <a:pt x="164" y="183"/>
                </a:cubicBezTo>
                <a:cubicBezTo>
                  <a:pt x="163" y="185"/>
                  <a:pt x="163" y="185"/>
                  <a:pt x="163" y="185"/>
                </a:cubicBezTo>
                <a:cubicBezTo>
                  <a:pt x="163" y="186"/>
                  <a:pt x="163" y="186"/>
                  <a:pt x="163" y="186"/>
                </a:cubicBezTo>
                <a:cubicBezTo>
                  <a:pt x="163" y="187"/>
                  <a:pt x="163" y="187"/>
                  <a:pt x="163" y="187"/>
                </a:cubicBezTo>
                <a:cubicBezTo>
                  <a:pt x="164" y="188"/>
                  <a:pt x="164" y="188"/>
                  <a:pt x="164" y="188"/>
                </a:cubicBezTo>
                <a:cubicBezTo>
                  <a:pt x="162" y="188"/>
                  <a:pt x="162" y="188"/>
                  <a:pt x="162" y="188"/>
                </a:cubicBezTo>
                <a:cubicBezTo>
                  <a:pt x="161" y="188"/>
                  <a:pt x="161" y="188"/>
                  <a:pt x="161" y="188"/>
                </a:cubicBezTo>
                <a:cubicBezTo>
                  <a:pt x="160" y="189"/>
                  <a:pt x="160" y="189"/>
                  <a:pt x="160" y="189"/>
                </a:cubicBezTo>
                <a:cubicBezTo>
                  <a:pt x="160" y="191"/>
                  <a:pt x="160" y="191"/>
                  <a:pt x="160" y="191"/>
                </a:cubicBezTo>
                <a:cubicBezTo>
                  <a:pt x="158" y="193"/>
                  <a:pt x="158" y="193"/>
                  <a:pt x="158" y="193"/>
                </a:cubicBezTo>
                <a:cubicBezTo>
                  <a:pt x="158" y="194"/>
                  <a:pt x="158" y="194"/>
                  <a:pt x="158" y="194"/>
                </a:cubicBezTo>
                <a:cubicBezTo>
                  <a:pt x="158" y="194"/>
                  <a:pt x="158" y="194"/>
                  <a:pt x="158" y="194"/>
                </a:cubicBezTo>
                <a:cubicBezTo>
                  <a:pt x="158" y="195"/>
                  <a:pt x="158" y="195"/>
                  <a:pt x="158" y="195"/>
                </a:cubicBezTo>
                <a:cubicBezTo>
                  <a:pt x="158" y="196"/>
                  <a:pt x="158" y="196"/>
                  <a:pt x="158" y="196"/>
                </a:cubicBezTo>
                <a:cubicBezTo>
                  <a:pt x="157" y="196"/>
                  <a:pt x="157" y="196"/>
                  <a:pt x="157" y="196"/>
                </a:cubicBezTo>
                <a:cubicBezTo>
                  <a:pt x="157" y="195"/>
                  <a:pt x="157" y="195"/>
                  <a:pt x="157" y="195"/>
                </a:cubicBezTo>
                <a:cubicBezTo>
                  <a:pt x="156" y="195"/>
                  <a:pt x="156" y="195"/>
                  <a:pt x="156" y="195"/>
                </a:cubicBezTo>
                <a:cubicBezTo>
                  <a:pt x="155" y="196"/>
                  <a:pt x="155" y="196"/>
                  <a:pt x="155" y="196"/>
                </a:cubicBezTo>
                <a:cubicBezTo>
                  <a:pt x="154" y="197"/>
                  <a:pt x="154" y="197"/>
                  <a:pt x="154" y="197"/>
                </a:cubicBezTo>
                <a:cubicBezTo>
                  <a:pt x="154" y="198"/>
                  <a:pt x="154" y="198"/>
                  <a:pt x="154" y="198"/>
                </a:cubicBezTo>
                <a:cubicBezTo>
                  <a:pt x="154" y="198"/>
                  <a:pt x="154" y="198"/>
                  <a:pt x="154" y="198"/>
                </a:cubicBezTo>
                <a:cubicBezTo>
                  <a:pt x="153" y="198"/>
                  <a:pt x="153" y="198"/>
                  <a:pt x="153" y="198"/>
                </a:cubicBezTo>
                <a:cubicBezTo>
                  <a:pt x="152" y="198"/>
                  <a:pt x="152" y="198"/>
                  <a:pt x="152" y="198"/>
                </a:cubicBezTo>
                <a:cubicBezTo>
                  <a:pt x="152" y="198"/>
                  <a:pt x="152" y="198"/>
                  <a:pt x="152" y="198"/>
                </a:cubicBezTo>
                <a:cubicBezTo>
                  <a:pt x="149" y="200"/>
                  <a:pt x="149" y="200"/>
                  <a:pt x="149" y="200"/>
                </a:cubicBezTo>
                <a:cubicBezTo>
                  <a:pt x="148" y="202"/>
                  <a:pt x="148" y="202"/>
                  <a:pt x="148" y="202"/>
                </a:cubicBezTo>
                <a:cubicBezTo>
                  <a:pt x="148" y="202"/>
                  <a:pt x="148" y="202"/>
                  <a:pt x="148" y="202"/>
                </a:cubicBezTo>
                <a:cubicBezTo>
                  <a:pt x="148" y="203"/>
                  <a:pt x="148" y="203"/>
                  <a:pt x="148" y="203"/>
                </a:cubicBezTo>
                <a:cubicBezTo>
                  <a:pt x="147" y="202"/>
                  <a:pt x="147" y="202"/>
                  <a:pt x="147" y="202"/>
                </a:cubicBezTo>
                <a:cubicBezTo>
                  <a:pt x="147" y="201"/>
                  <a:pt x="147" y="201"/>
                  <a:pt x="147" y="201"/>
                </a:cubicBezTo>
                <a:cubicBezTo>
                  <a:pt x="145" y="202"/>
                  <a:pt x="145" y="202"/>
                  <a:pt x="145" y="202"/>
                </a:cubicBezTo>
                <a:cubicBezTo>
                  <a:pt x="144" y="203"/>
                  <a:pt x="144" y="203"/>
                  <a:pt x="144" y="203"/>
                </a:cubicBezTo>
                <a:cubicBezTo>
                  <a:pt x="143" y="203"/>
                  <a:pt x="143" y="203"/>
                  <a:pt x="143" y="203"/>
                </a:cubicBezTo>
                <a:cubicBezTo>
                  <a:pt x="143" y="204"/>
                  <a:pt x="143" y="204"/>
                  <a:pt x="143" y="204"/>
                </a:cubicBezTo>
                <a:cubicBezTo>
                  <a:pt x="141" y="205"/>
                  <a:pt x="141" y="205"/>
                  <a:pt x="141" y="205"/>
                </a:cubicBezTo>
                <a:cubicBezTo>
                  <a:pt x="140" y="205"/>
                  <a:pt x="140" y="205"/>
                  <a:pt x="140" y="205"/>
                </a:cubicBezTo>
                <a:cubicBezTo>
                  <a:pt x="138" y="206"/>
                  <a:pt x="138" y="206"/>
                  <a:pt x="138" y="206"/>
                </a:cubicBezTo>
                <a:cubicBezTo>
                  <a:pt x="135" y="207"/>
                  <a:pt x="135" y="207"/>
                  <a:pt x="135" y="207"/>
                </a:cubicBezTo>
                <a:cubicBezTo>
                  <a:pt x="133" y="209"/>
                  <a:pt x="133" y="209"/>
                  <a:pt x="133" y="209"/>
                </a:cubicBezTo>
                <a:cubicBezTo>
                  <a:pt x="132" y="211"/>
                  <a:pt x="132" y="211"/>
                  <a:pt x="132" y="211"/>
                </a:cubicBezTo>
                <a:cubicBezTo>
                  <a:pt x="132" y="211"/>
                  <a:pt x="132" y="211"/>
                  <a:pt x="132" y="211"/>
                </a:cubicBezTo>
                <a:cubicBezTo>
                  <a:pt x="133" y="212"/>
                  <a:pt x="133" y="212"/>
                  <a:pt x="133" y="212"/>
                </a:cubicBezTo>
                <a:cubicBezTo>
                  <a:pt x="133" y="213"/>
                  <a:pt x="133" y="213"/>
                  <a:pt x="133" y="213"/>
                </a:cubicBezTo>
                <a:cubicBezTo>
                  <a:pt x="132" y="214"/>
                  <a:pt x="132" y="214"/>
                  <a:pt x="132" y="214"/>
                </a:cubicBezTo>
                <a:cubicBezTo>
                  <a:pt x="132" y="213"/>
                  <a:pt x="132" y="213"/>
                  <a:pt x="132" y="213"/>
                </a:cubicBezTo>
                <a:cubicBezTo>
                  <a:pt x="131" y="213"/>
                  <a:pt x="131" y="213"/>
                  <a:pt x="131" y="213"/>
                </a:cubicBezTo>
                <a:cubicBezTo>
                  <a:pt x="131" y="213"/>
                  <a:pt x="131" y="213"/>
                  <a:pt x="131" y="213"/>
                </a:cubicBezTo>
                <a:cubicBezTo>
                  <a:pt x="131" y="214"/>
                  <a:pt x="131" y="214"/>
                  <a:pt x="131" y="214"/>
                </a:cubicBezTo>
                <a:cubicBezTo>
                  <a:pt x="130" y="214"/>
                  <a:pt x="130" y="214"/>
                  <a:pt x="130" y="214"/>
                </a:cubicBezTo>
                <a:cubicBezTo>
                  <a:pt x="130" y="214"/>
                  <a:pt x="130" y="214"/>
                  <a:pt x="130" y="214"/>
                </a:cubicBezTo>
                <a:cubicBezTo>
                  <a:pt x="130" y="212"/>
                  <a:pt x="130" y="212"/>
                  <a:pt x="130" y="212"/>
                </a:cubicBezTo>
                <a:cubicBezTo>
                  <a:pt x="130" y="212"/>
                  <a:pt x="130" y="212"/>
                  <a:pt x="130" y="212"/>
                </a:cubicBezTo>
                <a:cubicBezTo>
                  <a:pt x="129" y="211"/>
                  <a:pt x="129" y="211"/>
                  <a:pt x="129" y="211"/>
                </a:cubicBezTo>
                <a:cubicBezTo>
                  <a:pt x="128" y="211"/>
                  <a:pt x="128" y="211"/>
                  <a:pt x="128" y="211"/>
                </a:cubicBezTo>
                <a:cubicBezTo>
                  <a:pt x="127" y="211"/>
                  <a:pt x="127" y="211"/>
                  <a:pt x="127" y="211"/>
                </a:cubicBezTo>
                <a:cubicBezTo>
                  <a:pt x="126" y="211"/>
                  <a:pt x="126" y="211"/>
                  <a:pt x="126" y="211"/>
                </a:cubicBezTo>
                <a:cubicBezTo>
                  <a:pt x="124" y="212"/>
                  <a:pt x="124" y="212"/>
                  <a:pt x="124" y="212"/>
                </a:cubicBezTo>
                <a:cubicBezTo>
                  <a:pt x="123" y="212"/>
                  <a:pt x="123" y="212"/>
                  <a:pt x="123" y="212"/>
                </a:cubicBezTo>
                <a:cubicBezTo>
                  <a:pt x="122" y="213"/>
                  <a:pt x="122" y="213"/>
                  <a:pt x="122" y="213"/>
                </a:cubicBezTo>
                <a:cubicBezTo>
                  <a:pt x="121" y="214"/>
                  <a:pt x="121" y="214"/>
                  <a:pt x="121" y="214"/>
                </a:cubicBezTo>
                <a:cubicBezTo>
                  <a:pt x="119" y="215"/>
                  <a:pt x="119" y="215"/>
                  <a:pt x="119" y="215"/>
                </a:cubicBezTo>
                <a:cubicBezTo>
                  <a:pt x="118" y="216"/>
                  <a:pt x="118" y="216"/>
                  <a:pt x="118" y="216"/>
                </a:cubicBezTo>
                <a:cubicBezTo>
                  <a:pt x="118" y="217"/>
                  <a:pt x="118" y="217"/>
                  <a:pt x="118" y="217"/>
                </a:cubicBezTo>
                <a:cubicBezTo>
                  <a:pt x="118" y="217"/>
                  <a:pt x="118" y="217"/>
                  <a:pt x="118" y="217"/>
                </a:cubicBezTo>
                <a:cubicBezTo>
                  <a:pt x="117" y="217"/>
                  <a:pt x="117" y="217"/>
                  <a:pt x="117" y="217"/>
                </a:cubicBezTo>
                <a:cubicBezTo>
                  <a:pt x="115" y="218"/>
                  <a:pt x="115" y="218"/>
                  <a:pt x="115" y="218"/>
                </a:cubicBezTo>
                <a:cubicBezTo>
                  <a:pt x="115" y="218"/>
                  <a:pt x="115" y="218"/>
                  <a:pt x="115" y="218"/>
                </a:cubicBezTo>
                <a:cubicBezTo>
                  <a:pt x="114" y="219"/>
                  <a:pt x="114" y="219"/>
                  <a:pt x="114" y="219"/>
                </a:cubicBezTo>
                <a:cubicBezTo>
                  <a:pt x="114" y="219"/>
                  <a:pt x="114" y="219"/>
                  <a:pt x="114" y="219"/>
                </a:cubicBezTo>
                <a:cubicBezTo>
                  <a:pt x="113" y="219"/>
                  <a:pt x="113" y="219"/>
                  <a:pt x="113" y="219"/>
                </a:cubicBezTo>
                <a:cubicBezTo>
                  <a:pt x="112" y="219"/>
                  <a:pt x="112" y="219"/>
                  <a:pt x="112" y="219"/>
                </a:cubicBezTo>
                <a:cubicBezTo>
                  <a:pt x="111" y="220"/>
                  <a:pt x="111" y="220"/>
                  <a:pt x="111" y="220"/>
                </a:cubicBezTo>
                <a:cubicBezTo>
                  <a:pt x="111" y="221"/>
                  <a:pt x="111" y="221"/>
                  <a:pt x="111" y="221"/>
                </a:cubicBezTo>
                <a:cubicBezTo>
                  <a:pt x="111" y="222"/>
                  <a:pt x="111" y="222"/>
                  <a:pt x="111" y="222"/>
                </a:cubicBezTo>
                <a:cubicBezTo>
                  <a:pt x="112" y="222"/>
                  <a:pt x="112" y="222"/>
                  <a:pt x="112" y="222"/>
                </a:cubicBezTo>
                <a:cubicBezTo>
                  <a:pt x="112" y="221"/>
                  <a:pt x="112" y="221"/>
                  <a:pt x="112" y="221"/>
                </a:cubicBezTo>
                <a:cubicBezTo>
                  <a:pt x="112" y="220"/>
                  <a:pt x="112" y="220"/>
                  <a:pt x="112" y="220"/>
                </a:cubicBezTo>
                <a:cubicBezTo>
                  <a:pt x="113" y="220"/>
                  <a:pt x="113" y="220"/>
                  <a:pt x="113" y="220"/>
                </a:cubicBezTo>
                <a:cubicBezTo>
                  <a:pt x="113" y="220"/>
                  <a:pt x="113" y="220"/>
                  <a:pt x="113" y="220"/>
                </a:cubicBezTo>
                <a:cubicBezTo>
                  <a:pt x="113" y="221"/>
                  <a:pt x="113" y="221"/>
                  <a:pt x="113" y="221"/>
                </a:cubicBezTo>
                <a:cubicBezTo>
                  <a:pt x="113" y="222"/>
                  <a:pt x="113" y="222"/>
                  <a:pt x="113" y="222"/>
                </a:cubicBezTo>
                <a:cubicBezTo>
                  <a:pt x="115" y="222"/>
                  <a:pt x="115" y="222"/>
                  <a:pt x="115" y="222"/>
                </a:cubicBezTo>
                <a:cubicBezTo>
                  <a:pt x="116" y="220"/>
                  <a:pt x="116" y="220"/>
                  <a:pt x="116" y="220"/>
                </a:cubicBezTo>
                <a:cubicBezTo>
                  <a:pt x="116" y="219"/>
                  <a:pt x="116" y="219"/>
                  <a:pt x="116" y="219"/>
                </a:cubicBezTo>
                <a:cubicBezTo>
                  <a:pt x="117" y="220"/>
                  <a:pt x="117" y="220"/>
                  <a:pt x="117" y="220"/>
                </a:cubicBezTo>
                <a:cubicBezTo>
                  <a:pt x="116" y="221"/>
                  <a:pt x="116" y="221"/>
                  <a:pt x="116" y="221"/>
                </a:cubicBezTo>
                <a:cubicBezTo>
                  <a:pt x="117" y="221"/>
                  <a:pt x="117" y="221"/>
                  <a:pt x="117" y="221"/>
                </a:cubicBezTo>
                <a:cubicBezTo>
                  <a:pt x="118" y="221"/>
                  <a:pt x="118" y="221"/>
                  <a:pt x="118" y="221"/>
                </a:cubicBezTo>
                <a:cubicBezTo>
                  <a:pt x="118" y="220"/>
                  <a:pt x="118" y="220"/>
                  <a:pt x="118" y="220"/>
                </a:cubicBezTo>
                <a:cubicBezTo>
                  <a:pt x="119" y="221"/>
                  <a:pt x="119" y="221"/>
                  <a:pt x="119" y="221"/>
                </a:cubicBezTo>
                <a:cubicBezTo>
                  <a:pt x="119" y="221"/>
                  <a:pt x="119" y="221"/>
                  <a:pt x="119" y="221"/>
                </a:cubicBezTo>
                <a:cubicBezTo>
                  <a:pt x="119" y="220"/>
                  <a:pt x="119" y="220"/>
                  <a:pt x="119" y="220"/>
                </a:cubicBezTo>
                <a:cubicBezTo>
                  <a:pt x="120" y="220"/>
                  <a:pt x="120" y="220"/>
                  <a:pt x="120" y="220"/>
                </a:cubicBezTo>
                <a:cubicBezTo>
                  <a:pt x="121" y="220"/>
                  <a:pt x="121" y="220"/>
                  <a:pt x="121" y="220"/>
                </a:cubicBezTo>
                <a:cubicBezTo>
                  <a:pt x="122" y="219"/>
                  <a:pt x="122" y="219"/>
                  <a:pt x="122" y="219"/>
                </a:cubicBezTo>
                <a:cubicBezTo>
                  <a:pt x="123" y="218"/>
                  <a:pt x="123" y="218"/>
                  <a:pt x="123" y="218"/>
                </a:cubicBezTo>
                <a:cubicBezTo>
                  <a:pt x="123" y="217"/>
                  <a:pt x="123" y="217"/>
                  <a:pt x="123" y="217"/>
                </a:cubicBezTo>
                <a:cubicBezTo>
                  <a:pt x="124" y="216"/>
                  <a:pt x="124" y="216"/>
                  <a:pt x="124" y="216"/>
                </a:cubicBezTo>
                <a:cubicBezTo>
                  <a:pt x="125" y="215"/>
                  <a:pt x="125" y="215"/>
                  <a:pt x="125" y="215"/>
                </a:cubicBezTo>
                <a:cubicBezTo>
                  <a:pt x="125" y="215"/>
                  <a:pt x="125" y="215"/>
                  <a:pt x="125" y="215"/>
                </a:cubicBezTo>
                <a:cubicBezTo>
                  <a:pt x="127" y="216"/>
                  <a:pt x="127" y="216"/>
                  <a:pt x="127" y="216"/>
                </a:cubicBezTo>
                <a:cubicBezTo>
                  <a:pt x="126" y="216"/>
                  <a:pt x="126" y="216"/>
                  <a:pt x="126" y="216"/>
                </a:cubicBezTo>
                <a:cubicBezTo>
                  <a:pt x="125" y="216"/>
                  <a:pt x="125" y="216"/>
                  <a:pt x="125" y="216"/>
                </a:cubicBezTo>
                <a:cubicBezTo>
                  <a:pt x="125" y="217"/>
                  <a:pt x="125" y="217"/>
                  <a:pt x="125" y="217"/>
                </a:cubicBezTo>
                <a:cubicBezTo>
                  <a:pt x="125" y="219"/>
                  <a:pt x="125" y="219"/>
                  <a:pt x="125" y="219"/>
                </a:cubicBezTo>
                <a:cubicBezTo>
                  <a:pt x="125" y="219"/>
                  <a:pt x="125" y="219"/>
                  <a:pt x="125" y="219"/>
                </a:cubicBezTo>
                <a:cubicBezTo>
                  <a:pt x="127" y="218"/>
                  <a:pt x="127" y="218"/>
                  <a:pt x="127" y="218"/>
                </a:cubicBezTo>
                <a:cubicBezTo>
                  <a:pt x="127" y="217"/>
                  <a:pt x="127" y="217"/>
                  <a:pt x="127" y="217"/>
                </a:cubicBezTo>
                <a:cubicBezTo>
                  <a:pt x="128" y="216"/>
                  <a:pt x="128" y="216"/>
                  <a:pt x="128" y="216"/>
                </a:cubicBezTo>
                <a:cubicBezTo>
                  <a:pt x="128" y="217"/>
                  <a:pt x="128" y="217"/>
                  <a:pt x="128" y="217"/>
                </a:cubicBezTo>
                <a:cubicBezTo>
                  <a:pt x="129" y="216"/>
                  <a:pt x="129" y="216"/>
                  <a:pt x="129" y="216"/>
                </a:cubicBezTo>
                <a:cubicBezTo>
                  <a:pt x="129" y="216"/>
                  <a:pt x="129" y="216"/>
                  <a:pt x="129" y="216"/>
                </a:cubicBezTo>
                <a:cubicBezTo>
                  <a:pt x="129" y="217"/>
                  <a:pt x="129" y="217"/>
                  <a:pt x="129" y="217"/>
                </a:cubicBezTo>
                <a:cubicBezTo>
                  <a:pt x="129" y="218"/>
                  <a:pt x="129" y="218"/>
                  <a:pt x="129" y="218"/>
                </a:cubicBezTo>
                <a:cubicBezTo>
                  <a:pt x="129" y="218"/>
                  <a:pt x="129" y="218"/>
                  <a:pt x="129" y="218"/>
                </a:cubicBezTo>
                <a:cubicBezTo>
                  <a:pt x="130" y="217"/>
                  <a:pt x="130" y="217"/>
                  <a:pt x="130" y="217"/>
                </a:cubicBezTo>
                <a:cubicBezTo>
                  <a:pt x="131" y="217"/>
                  <a:pt x="131" y="217"/>
                  <a:pt x="131" y="217"/>
                </a:cubicBezTo>
                <a:cubicBezTo>
                  <a:pt x="132" y="216"/>
                  <a:pt x="132" y="216"/>
                  <a:pt x="132" y="216"/>
                </a:cubicBezTo>
                <a:cubicBezTo>
                  <a:pt x="133" y="216"/>
                  <a:pt x="133" y="216"/>
                  <a:pt x="133" y="216"/>
                </a:cubicBezTo>
                <a:cubicBezTo>
                  <a:pt x="135" y="214"/>
                  <a:pt x="135" y="214"/>
                  <a:pt x="135" y="214"/>
                </a:cubicBezTo>
                <a:cubicBezTo>
                  <a:pt x="136" y="214"/>
                  <a:pt x="136" y="214"/>
                  <a:pt x="136" y="214"/>
                </a:cubicBezTo>
                <a:cubicBezTo>
                  <a:pt x="136" y="214"/>
                  <a:pt x="136" y="214"/>
                  <a:pt x="136" y="214"/>
                </a:cubicBezTo>
                <a:cubicBezTo>
                  <a:pt x="136" y="215"/>
                  <a:pt x="136" y="215"/>
                  <a:pt x="136" y="215"/>
                </a:cubicBezTo>
                <a:cubicBezTo>
                  <a:pt x="136" y="216"/>
                  <a:pt x="136" y="216"/>
                  <a:pt x="136" y="216"/>
                </a:cubicBezTo>
                <a:cubicBezTo>
                  <a:pt x="135" y="217"/>
                  <a:pt x="135" y="217"/>
                  <a:pt x="135" y="217"/>
                </a:cubicBezTo>
                <a:cubicBezTo>
                  <a:pt x="135" y="218"/>
                  <a:pt x="135" y="218"/>
                  <a:pt x="135" y="218"/>
                </a:cubicBezTo>
                <a:cubicBezTo>
                  <a:pt x="135" y="218"/>
                  <a:pt x="135" y="218"/>
                  <a:pt x="135" y="218"/>
                </a:cubicBezTo>
                <a:cubicBezTo>
                  <a:pt x="137" y="216"/>
                  <a:pt x="137" y="216"/>
                  <a:pt x="137" y="216"/>
                </a:cubicBezTo>
                <a:cubicBezTo>
                  <a:pt x="137" y="214"/>
                  <a:pt x="137" y="214"/>
                  <a:pt x="137" y="214"/>
                </a:cubicBezTo>
                <a:cubicBezTo>
                  <a:pt x="137" y="214"/>
                  <a:pt x="137" y="214"/>
                  <a:pt x="137" y="214"/>
                </a:cubicBezTo>
                <a:cubicBezTo>
                  <a:pt x="138" y="214"/>
                  <a:pt x="138" y="214"/>
                  <a:pt x="138" y="214"/>
                </a:cubicBezTo>
                <a:cubicBezTo>
                  <a:pt x="139" y="214"/>
                  <a:pt x="139" y="214"/>
                  <a:pt x="139" y="214"/>
                </a:cubicBezTo>
                <a:cubicBezTo>
                  <a:pt x="140" y="214"/>
                  <a:pt x="140" y="214"/>
                  <a:pt x="140" y="214"/>
                </a:cubicBezTo>
                <a:cubicBezTo>
                  <a:pt x="141" y="214"/>
                  <a:pt x="141" y="214"/>
                  <a:pt x="141" y="214"/>
                </a:cubicBezTo>
                <a:cubicBezTo>
                  <a:pt x="142" y="213"/>
                  <a:pt x="142" y="213"/>
                  <a:pt x="142" y="213"/>
                </a:cubicBezTo>
                <a:cubicBezTo>
                  <a:pt x="143" y="213"/>
                  <a:pt x="143" y="213"/>
                  <a:pt x="143" y="213"/>
                </a:cubicBezTo>
                <a:cubicBezTo>
                  <a:pt x="143" y="213"/>
                  <a:pt x="143" y="213"/>
                  <a:pt x="143" y="213"/>
                </a:cubicBezTo>
                <a:cubicBezTo>
                  <a:pt x="144" y="212"/>
                  <a:pt x="144" y="212"/>
                  <a:pt x="144" y="212"/>
                </a:cubicBezTo>
                <a:cubicBezTo>
                  <a:pt x="144" y="211"/>
                  <a:pt x="144" y="211"/>
                  <a:pt x="144" y="211"/>
                </a:cubicBezTo>
                <a:cubicBezTo>
                  <a:pt x="144" y="211"/>
                  <a:pt x="144" y="211"/>
                  <a:pt x="144" y="211"/>
                </a:cubicBezTo>
                <a:cubicBezTo>
                  <a:pt x="144" y="212"/>
                  <a:pt x="144" y="212"/>
                  <a:pt x="144" y="212"/>
                </a:cubicBezTo>
                <a:cubicBezTo>
                  <a:pt x="144" y="213"/>
                  <a:pt x="144" y="213"/>
                  <a:pt x="144" y="213"/>
                </a:cubicBezTo>
                <a:cubicBezTo>
                  <a:pt x="145" y="213"/>
                  <a:pt x="145" y="213"/>
                  <a:pt x="145" y="213"/>
                </a:cubicBezTo>
                <a:cubicBezTo>
                  <a:pt x="146" y="212"/>
                  <a:pt x="146" y="212"/>
                  <a:pt x="146" y="212"/>
                </a:cubicBezTo>
                <a:cubicBezTo>
                  <a:pt x="145" y="212"/>
                  <a:pt x="145" y="212"/>
                  <a:pt x="145" y="212"/>
                </a:cubicBezTo>
                <a:cubicBezTo>
                  <a:pt x="146" y="211"/>
                  <a:pt x="146" y="211"/>
                  <a:pt x="146" y="211"/>
                </a:cubicBezTo>
                <a:cubicBezTo>
                  <a:pt x="146" y="210"/>
                  <a:pt x="146" y="210"/>
                  <a:pt x="146" y="210"/>
                </a:cubicBezTo>
                <a:cubicBezTo>
                  <a:pt x="144" y="210"/>
                  <a:pt x="144" y="210"/>
                  <a:pt x="144" y="210"/>
                </a:cubicBezTo>
                <a:cubicBezTo>
                  <a:pt x="144" y="210"/>
                  <a:pt x="144" y="210"/>
                  <a:pt x="144" y="210"/>
                </a:cubicBezTo>
                <a:cubicBezTo>
                  <a:pt x="146" y="210"/>
                  <a:pt x="146" y="210"/>
                  <a:pt x="146" y="210"/>
                </a:cubicBezTo>
                <a:cubicBezTo>
                  <a:pt x="148" y="209"/>
                  <a:pt x="148" y="209"/>
                  <a:pt x="148" y="209"/>
                </a:cubicBezTo>
                <a:cubicBezTo>
                  <a:pt x="150" y="209"/>
                  <a:pt x="150" y="209"/>
                  <a:pt x="150" y="209"/>
                </a:cubicBezTo>
                <a:cubicBezTo>
                  <a:pt x="151" y="208"/>
                  <a:pt x="151" y="208"/>
                  <a:pt x="151" y="208"/>
                </a:cubicBezTo>
                <a:cubicBezTo>
                  <a:pt x="150" y="207"/>
                  <a:pt x="150" y="207"/>
                  <a:pt x="150" y="207"/>
                </a:cubicBezTo>
                <a:cubicBezTo>
                  <a:pt x="150" y="207"/>
                  <a:pt x="150" y="207"/>
                  <a:pt x="150" y="207"/>
                </a:cubicBezTo>
                <a:cubicBezTo>
                  <a:pt x="151" y="207"/>
                  <a:pt x="151" y="207"/>
                  <a:pt x="151" y="207"/>
                </a:cubicBezTo>
                <a:cubicBezTo>
                  <a:pt x="151" y="207"/>
                  <a:pt x="151" y="207"/>
                  <a:pt x="151" y="207"/>
                </a:cubicBezTo>
                <a:cubicBezTo>
                  <a:pt x="152" y="206"/>
                  <a:pt x="152" y="206"/>
                  <a:pt x="152" y="206"/>
                </a:cubicBezTo>
                <a:cubicBezTo>
                  <a:pt x="153" y="206"/>
                  <a:pt x="153" y="206"/>
                  <a:pt x="153" y="206"/>
                </a:cubicBezTo>
                <a:cubicBezTo>
                  <a:pt x="153" y="207"/>
                  <a:pt x="153" y="207"/>
                  <a:pt x="153" y="207"/>
                </a:cubicBezTo>
                <a:cubicBezTo>
                  <a:pt x="154" y="207"/>
                  <a:pt x="154" y="207"/>
                  <a:pt x="154" y="207"/>
                </a:cubicBezTo>
                <a:cubicBezTo>
                  <a:pt x="154" y="206"/>
                  <a:pt x="154" y="206"/>
                  <a:pt x="154" y="206"/>
                </a:cubicBezTo>
                <a:cubicBezTo>
                  <a:pt x="154" y="206"/>
                  <a:pt x="154" y="206"/>
                  <a:pt x="154" y="206"/>
                </a:cubicBezTo>
                <a:cubicBezTo>
                  <a:pt x="155" y="205"/>
                  <a:pt x="155" y="205"/>
                  <a:pt x="155" y="205"/>
                </a:cubicBezTo>
                <a:cubicBezTo>
                  <a:pt x="155" y="204"/>
                  <a:pt x="155" y="204"/>
                  <a:pt x="155" y="204"/>
                </a:cubicBezTo>
                <a:cubicBezTo>
                  <a:pt x="155" y="204"/>
                  <a:pt x="155" y="204"/>
                  <a:pt x="155" y="204"/>
                </a:cubicBezTo>
                <a:cubicBezTo>
                  <a:pt x="156" y="204"/>
                  <a:pt x="156" y="204"/>
                  <a:pt x="156" y="204"/>
                </a:cubicBezTo>
                <a:cubicBezTo>
                  <a:pt x="156" y="205"/>
                  <a:pt x="156" y="205"/>
                  <a:pt x="156" y="205"/>
                </a:cubicBezTo>
                <a:cubicBezTo>
                  <a:pt x="157" y="205"/>
                  <a:pt x="157" y="205"/>
                  <a:pt x="157" y="205"/>
                </a:cubicBezTo>
                <a:cubicBezTo>
                  <a:pt x="158" y="204"/>
                  <a:pt x="158" y="204"/>
                  <a:pt x="158" y="204"/>
                </a:cubicBezTo>
                <a:cubicBezTo>
                  <a:pt x="159" y="203"/>
                  <a:pt x="159" y="203"/>
                  <a:pt x="159" y="203"/>
                </a:cubicBezTo>
                <a:cubicBezTo>
                  <a:pt x="160" y="204"/>
                  <a:pt x="160" y="204"/>
                  <a:pt x="160" y="204"/>
                </a:cubicBezTo>
                <a:cubicBezTo>
                  <a:pt x="160" y="202"/>
                  <a:pt x="160" y="202"/>
                  <a:pt x="160" y="202"/>
                </a:cubicBezTo>
                <a:cubicBezTo>
                  <a:pt x="161" y="202"/>
                  <a:pt x="161" y="202"/>
                  <a:pt x="161" y="202"/>
                </a:cubicBezTo>
                <a:cubicBezTo>
                  <a:pt x="161" y="203"/>
                  <a:pt x="161" y="203"/>
                  <a:pt x="161" y="203"/>
                </a:cubicBezTo>
                <a:cubicBezTo>
                  <a:pt x="162" y="203"/>
                  <a:pt x="162" y="203"/>
                  <a:pt x="162" y="203"/>
                </a:cubicBezTo>
                <a:cubicBezTo>
                  <a:pt x="164" y="201"/>
                  <a:pt x="164" y="201"/>
                  <a:pt x="164" y="201"/>
                </a:cubicBezTo>
                <a:cubicBezTo>
                  <a:pt x="164" y="200"/>
                  <a:pt x="164" y="200"/>
                  <a:pt x="164" y="200"/>
                </a:cubicBezTo>
                <a:cubicBezTo>
                  <a:pt x="163" y="200"/>
                  <a:pt x="163" y="200"/>
                  <a:pt x="163" y="200"/>
                </a:cubicBezTo>
                <a:cubicBezTo>
                  <a:pt x="162" y="200"/>
                  <a:pt x="162" y="200"/>
                  <a:pt x="162" y="200"/>
                </a:cubicBezTo>
                <a:cubicBezTo>
                  <a:pt x="162" y="200"/>
                  <a:pt x="162" y="200"/>
                  <a:pt x="162" y="200"/>
                </a:cubicBezTo>
                <a:cubicBezTo>
                  <a:pt x="164" y="199"/>
                  <a:pt x="164" y="199"/>
                  <a:pt x="164" y="199"/>
                </a:cubicBezTo>
                <a:cubicBezTo>
                  <a:pt x="165" y="198"/>
                  <a:pt x="165" y="198"/>
                  <a:pt x="165" y="198"/>
                </a:cubicBezTo>
                <a:cubicBezTo>
                  <a:pt x="166" y="197"/>
                  <a:pt x="166" y="197"/>
                  <a:pt x="166" y="197"/>
                </a:cubicBezTo>
                <a:cubicBezTo>
                  <a:pt x="166" y="197"/>
                  <a:pt x="166" y="197"/>
                  <a:pt x="166" y="197"/>
                </a:cubicBezTo>
                <a:cubicBezTo>
                  <a:pt x="167" y="198"/>
                  <a:pt x="167" y="198"/>
                  <a:pt x="167" y="198"/>
                </a:cubicBezTo>
                <a:cubicBezTo>
                  <a:pt x="168" y="196"/>
                  <a:pt x="168" y="196"/>
                  <a:pt x="168" y="196"/>
                </a:cubicBezTo>
                <a:cubicBezTo>
                  <a:pt x="169" y="196"/>
                  <a:pt x="169" y="196"/>
                  <a:pt x="169" y="196"/>
                </a:cubicBezTo>
                <a:cubicBezTo>
                  <a:pt x="170" y="195"/>
                  <a:pt x="170" y="195"/>
                  <a:pt x="170" y="195"/>
                </a:cubicBezTo>
                <a:cubicBezTo>
                  <a:pt x="170" y="195"/>
                  <a:pt x="170" y="195"/>
                  <a:pt x="170" y="195"/>
                </a:cubicBezTo>
                <a:cubicBezTo>
                  <a:pt x="171" y="194"/>
                  <a:pt x="171" y="194"/>
                  <a:pt x="171" y="194"/>
                </a:cubicBezTo>
                <a:cubicBezTo>
                  <a:pt x="172" y="194"/>
                  <a:pt x="172" y="194"/>
                  <a:pt x="172" y="194"/>
                </a:cubicBezTo>
                <a:cubicBezTo>
                  <a:pt x="172" y="195"/>
                  <a:pt x="172" y="195"/>
                  <a:pt x="172" y="195"/>
                </a:cubicBezTo>
                <a:cubicBezTo>
                  <a:pt x="173" y="195"/>
                  <a:pt x="173" y="195"/>
                  <a:pt x="173" y="195"/>
                </a:cubicBezTo>
                <a:cubicBezTo>
                  <a:pt x="173" y="194"/>
                  <a:pt x="173" y="194"/>
                  <a:pt x="173" y="194"/>
                </a:cubicBezTo>
                <a:cubicBezTo>
                  <a:pt x="174" y="194"/>
                  <a:pt x="174" y="194"/>
                  <a:pt x="174" y="194"/>
                </a:cubicBezTo>
                <a:cubicBezTo>
                  <a:pt x="174" y="194"/>
                  <a:pt x="174" y="194"/>
                  <a:pt x="174" y="194"/>
                </a:cubicBezTo>
                <a:cubicBezTo>
                  <a:pt x="174" y="193"/>
                  <a:pt x="174" y="193"/>
                  <a:pt x="174" y="193"/>
                </a:cubicBezTo>
                <a:cubicBezTo>
                  <a:pt x="175" y="193"/>
                  <a:pt x="175" y="193"/>
                  <a:pt x="175" y="193"/>
                </a:cubicBezTo>
                <a:cubicBezTo>
                  <a:pt x="176" y="192"/>
                  <a:pt x="176" y="192"/>
                  <a:pt x="176" y="192"/>
                </a:cubicBezTo>
                <a:cubicBezTo>
                  <a:pt x="176" y="192"/>
                  <a:pt x="176" y="192"/>
                  <a:pt x="176" y="192"/>
                </a:cubicBezTo>
                <a:cubicBezTo>
                  <a:pt x="178" y="193"/>
                  <a:pt x="178" y="193"/>
                  <a:pt x="178" y="193"/>
                </a:cubicBezTo>
                <a:cubicBezTo>
                  <a:pt x="178" y="191"/>
                  <a:pt x="178" y="191"/>
                  <a:pt x="178" y="191"/>
                </a:cubicBezTo>
                <a:cubicBezTo>
                  <a:pt x="179" y="191"/>
                  <a:pt x="179" y="191"/>
                  <a:pt x="179" y="191"/>
                </a:cubicBezTo>
                <a:cubicBezTo>
                  <a:pt x="179" y="192"/>
                  <a:pt x="179" y="192"/>
                  <a:pt x="179" y="192"/>
                </a:cubicBezTo>
                <a:cubicBezTo>
                  <a:pt x="179" y="192"/>
                  <a:pt x="179" y="192"/>
                  <a:pt x="179" y="192"/>
                </a:cubicBezTo>
                <a:cubicBezTo>
                  <a:pt x="180" y="191"/>
                  <a:pt x="180" y="191"/>
                  <a:pt x="180" y="191"/>
                </a:cubicBezTo>
                <a:cubicBezTo>
                  <a:pt x="181" y="192"/>
                  <a:pt x="181" y="192"/>
                  <a:pt x="181" y="192"/>
                </a:cubicBezTo>
                <a:cubicBezTo>
                  <a:pt x="181" y="192"/>
                  <a:pt x="181" y="192"/>
                  <a:pt x="181" y="192"/>
                </a:cubicBezTo>
                <a:cubicBezTo>
                  <a:pt x="182" y="190"/>
                  <a:pt x="182" y="190"/>
                  <a:pt x="182" y="190"/>
                </a:cubicBezTo>
                <a:cubicBezTo>
                  <a:pt x="181" y="190"/>
                  <a:pt x="181" y="190"/>
                  <a:pt x="181" y="190"/>
                </a:cubicBezTo>
                <a:cubicBezTo>
                  <a:pt x="180" y="190"/>
                  <a:pt x="180" y="190"/>
                  <a:pt x="180" y="190"/>
                </a:cubicBezTo>
                <a:cubicBezTo>
                  <a:pt x="181" y="189"/>
                  <a:pt x="181" y="189"/>
                  <a:pt x="181" y="189"/>
                </a:cubicBezTo>
                <a:cubicBezTo>
                  <a:pt x="182" y="188"/>
                  <a:pt x="182" y="188"/>
                  <a:pt x="182" y="188"/>
                </a:cubicBezTo>
                <a:cubicBezTo>
                  <a:pt x="183" y="188"/>
                  <a:pt x="183" y="188"/>
                  <a:pt x="183" y="188"/>
                </a:cubicBezTo>
                <a:cubicBezTo>
                  <a:pt x="183" y="189"/>
                  <a:pt x="183" y="189"/>
                  <a:pt x="183" y="189"/>
                </a:cubicBezTo>
                <a:cubicBezTo>
                  <a:pt x="183" y="188"/>
                  <a:pt x="183" y="188"/>
                  <a:pt x="183" y="188"/>
                </a:cubicBezTo>
                <a:cubicBezTo>
                  <a:pt x="183" y="188"/>
                  <a:pt x="183" y="188"/>
                  <a:pt x="183" y="188"/>
                </a:cubicBezTo>
                <a:cubicBezTo>
                  <a:pt x="182" y="187"/>
                  <a:pt x="182" y="187"/>
                  <a:pt x="182" y="187"/>
                </a:cubicBezTo>
                <a:cubicBezTo>
                  <a:pt x="183" y="187"/>
                  <a:pt x="183" y="187"/>
                  <a:pt x="183" y="187"/>
                </a:cubicBezTo>
                <a:cubicBezTo>
                  <a:pt x="184" y="187"/>
                  <a:pt x="184" y="187"/>
                  <a:pt x="184" y="187"/>
                </a:cubicBezTo>
                <a:cubicBezTo>
                  <a:pt x="185" y="186"/>
                  <a:pt x="185" y="186"/>
                  <a:pt x="185" y="186"/>
                </a:cubicBezTo>
                <a:cubicBezTo>
                  <a:pt x="187" y="186"/>
                  <a:pt x="187" y="186"/>
                  <a:pt x="187" y="186"/>
                </a:cubicBezTo>
                <a:cubicBezTo>
                  <a:pt x="188" y="185"/>
                  <a:pt x="188" y="185"/>
                  <a:pt x="188" y="185"/>
                </a:cubicBezTo>
                <a:cubicBezTo>
                  <a:pt x="189" y="185"/>
                  <a:pt x="189" y="185"/>
                  <a:pt x="189" y="185"/>
                </a:cubicBezTo>
                <a:cubicBezTo>
                  <a:pt x="190" y="183"/>
                  <a:pt x="190" y="183"/>
                  <a:pt x="190" y="183"/>
                </a:cubicBezTo>
                <a:cubicBezTo>
                  <a:pt x="190" y="181"/>
                  <a:pt x="190" y="181"/>
                  <a:pt x="190" y="181"/>
                </a:cubicBezTo>
                <a:cubicBezTo>
                  <a:pt x="190" y="181"/>
                  <a:pt x="190" y="181"/>
                  <a:pt x="190" y="181"/>
                </a:cubicBezTo>
                <a:cubicBezTo>
                  <a:pt x="190" y="181"/>
                  <a:pt x="190" y="181"/>
                  <a:pt x="190" y="181"/>
                </a:cubicBezTo>
                <a:cubicBezTo>
                  <a:pt x="189" y="180"/>
                  <a:pt x="189" y="180"/>
                  <a:pt x="189" y="180"/>
                </a:cubicBezTo>
                <a:cubicBezTo>
                  <a:pt x="188" y="179"/>
                  <a:pt x="188" y="179"/>
                  <a:pt x="188" y="179"/>
                </a:cubicBezTo>
                <a:cubicBezTo>
                  <a:pt x="187" y="179"/>
                  <a:pt x="187" y="179"/>
                  <a:pt x="187" y="179"/>
                </a:cubicBezTo>
                <a:cubicBezTo>
                  <a:pt x="187" y="178"/>
                  <a:pt x="187" y="178"/>
                  <a:pt x="187" y="178"/>
                </a:cubicBezTo>
                <a:cubicBezTo>
                  <a:pt x="187" y="177"/>
                  <a:pt x="187" y="177"/>
                  <a:pt x="187" y="177"/>
                </a:cubicBezTo>
                <a:cubicBezTo>
                  <a:pt x="189" y="176"/>
                  <a:pt x="189" y="176"/>
                  <a:pt x="189" y="176"/>
                </a:cubicBezTo>
                <a:cubicBezTo>
                  <a:pt x="189" y="176"/>
                  <a:pt x="189" y="176"/>
                  <a:pt x="189" y="176"/>
                </a:cubicBezTo>
                <a:cubicBezTo>
                  <a:pt x="190" y="175"/>
                  <a:pt x="190" y="175"/>
                  <a:pt x="190" y="175"/>
                </a:cubicBezTo>
                <a:cubicBezTo>
                  <a:pt x="190" y="175"/>
                  <a:pt x="190" y="175"/>
                  <a:pt x="190" y="175"/>
                </a:cubicBezTo>
                <a:cubicBezTo>
                  <a:pt x="190" y="175"/>
                  <a:pt x="190" y="175"/>
                  <a:pt x="190" y="175"/>
                </a:cubicBezTo>
                <a:cubicBezTo>
                  <a:pt x="190" y="174"/>
                  <a:pt x="190" y="174"/>
                  <a:pt x="190" y="174"/>
                </a:cubicBezTo>
                <a:cubicBezTo>
                  <a:pt x="192" y="174"/>
                  <a:pt x="192" y="174"/>
                  <a:pt x="192" y="174"/>
                </a:cubicBezTo>
                <a:cubicBezTo>
                  <a:pt x="193" y="173"/>
                  <a:pt x="193" y="173"/>
                  <a:pt x="193" y="173"/>
                </a:cubicBezTo>
                <a:cubicBezTo>
                  <a:pt x="194" y="174"/>
                  <a:pt x="194" y="174"/>
                  <a:pt x="194" y="174"/>
                </a:cubicBezTo>
                <a:cubicBezTo>
                  <a:pt x="196" y="173"/>
                  <a:pt x="196" y="173"/>
                  <a:pt x="196" y="173"/>
                </a:cubicBezTo>
                <a:cubicBezTo>
                  <a:pt x="196" y="174"/>
                  <a:pt x="196" y="174"/>
                  <a:pt x="196" y="174"/>
                </a:cubicBezTo>
                <a:cubicBezTo>
                  <a:pt x="196" y="175"/>
                  <a:pt x="196" y="175"/>
                  <a:pt x="196" y="175"/>
                </a:cubicBezTo>
                <a:cubicBezTo>
                  <a:pt x="197" y="175"/>
                  <a:pt x="197" y="175"/>
                  <a:pt x="197" y="175"/>
                </a:cubicBezTo>
                <a:cubicBezTo>
                  <a:pt x="198" y="173"/>
                  <a:pt x="198" y="173"/>
                  <a:pt x="198" y="173"/>
                </a:cubicBezTo>
                <a:cubicBezTo>
                  <a:pt x="198" y="173"/>
                  <a:pt x="198" y="173"/>
                  <a:pt x="198" y="173"/>
                </a:cubicBezTo>
                <a:cubicBezTo>
                  <a:pt x="197" y="173"/>
                  <a:pt x="197" y="173"/>
                  <a:pt x="197" y="173"/>
                </a:cubicBezTo>
                <a:cubicBezTo>
                  <a:pt x="197" y="172"/>
                  <a:pt x="197" y="172"/>
                  <a:pt x="197" y="172"/>
                </a:cubicBezTo>
                <a:cubicBezTo>
                  <a:pt x="198" y="172"/>
                  <a:pt x="198" y="172"/>
                  <a:pt x="198" y="172"/>
                </a:cubicBezTo>
                <a:cubicBezTo>
                  <a:pt x="199" y="172"/>
                  <a:pt x="199" y="172"/>
                  <a:pt x="199" y="172"/>
                </a:cubicBezTo>
                <a:cubicBezTo>
                  <a:pt x="201" y="172"/>
                  <a:pt x="201" y="172"/>
                  <a:pt x="201" y="172"/>
                </a:cubicBezTo>
                <a:cubicBezTo>
                  <a:pt x="201" y="170"/>
                  <a:pt x="201" y="170"/>
                  <a:pt x="201" y="170"/>
                </a:cubicBezTo>
                <a:cubicBezTo>
                  <a:pt x="201" y="168"/>
                  <a:pt x="201" y="168"/>
                  <a:pt x="201" y="168"/>
                </a:cubicBezTo>
                <a:cubicBezTo>
                  <a:pt x="199" y="167"/>
                  <a:pt x="199" y="167"/>
                  <a:pt x="199" y="167"/>
                </a:cubicBezTo>
                <a:cubicBezTo>
                  <a:pt x="198" y="167"/>
                  <a:pt x="198" y="167"/>
                  <a:pt x="198" y="167"/>
                </a:cubicBezTo>
                <a:cubicBezTo>
                  <a:pt x="198" y="168"/>
                  <a:pt x="198" y="168"/>
                  <a:pt x="198" y="168"/>
                </a:cubicBezTo>
                <a:cubicBezTo>
                  <a:pt x="198" y="168"/>
                  <a:pt x="198" y="168"/>
                  <a:pt x="198" y="168"/>
                </a:cubicBezTo>
                <a:cubicBezTo>
                  <a:pt x="199" y="167"/>
                  <a:pt x="199" y="167"/>
                  <a:pt x="199" y="167"/>
                </a:cubicBezTo>
                <a:cubicBezTo>
                  <a:pt x="200" y="167"/>
                  <a:pt x="200" y="167"/>
                  <a:pt x="200" y="167"/>
                </a:cubicBezTo>
                <a:cubicBezTo>
                  <a:pt x="201" y="168"/>
                  <a:pt x="201" y="168"/>
                  <a:pt x="201" y="168"/>
                </a:cubicBezTo>
                <a:cubicBezTo>
                  <a:pt x="203" y="167"/>
                  <a:pt x="203" y="167"/>
                  <a:pt x="203" y="167"/>
                </a:cubicBezTo>
                <a:cubicBezTo>
                  <a:pt x="204" y="166"/>
                  <a:pt x="204" y="166"/>
                  <a:pt x="204" y="166"/>
                </a:cubicBezTo>
                <a:cubicBezTo>
                  <a:pt x="204" y="166"/>
                  <a:pt x="204" y="166"/>
                  <a:pt x="204" y="166"/>
                </a:cubicBezTo>
                <a:cubicBezTo>
                  <a:pt x="207" y="164"/>
                  <a:pt x="207" y="164"/>
                  <a:pt x="207" y="164"/>
                </a:cubicBezTo>
                <a:cubicBezTo>
                  <a:pt x="208" y="163"/>
                  <a:pt x="208" y="163"/>
                  <a:pt x="208" y="163"/>
                </a:cubicBezTo>
                <a:cubicBezTo>
                  <a:pt x="210" y="163"/>
                  <a:pt x="210" y="163"/>
                  <a:pt x="210" y="163"/>
                </a:cubicBezTo>
                <a:cubicBezTo>
                  <a:pt x="210" y="162"/>
                  <a:pt x="210" y="162"/>
                  <a:pt x="210" y="162"/>
                </a:cubicBezTo>
                <a:cubicBezTo>
                  <a:pt x="210" y="161"/>
                  <a:pt x="210" y="161"/>
                  <a:pt x="210" y="161"/>
                </a:cubicBezTo>
                <a:cubicBezTo>
                  <a:pt x="213" y="159"/>
                  <a:pt x="213" y="159"/>
                  <a:pt x="213" y="159"/>
                </a:cubicBezTo>
                <a:cubicBezTo>
                  <a:pt x="215" y="159"/>
                  <a:pt x="215" y="159"/>
                  <a:pt x="215" y="159"/>
                </a:cubicBezTo>
                <a:cubicBezTo>
                  <a:pt x="218" y="157"/>
                  <a:pt x="218" y="157"/>
                  <a:pt x="218" y="157"/>
                </a:cubicBezTo>
                <a:cubicBezTo>
                  <a:pt x="220" y="157"/>
                  <a:pt x="220" y="157"/>
                  <a:pt x="220" y="157"/>
                </a:cubicBezTo>
                <a:cubicBezTo>
                  <a:pt x="222" y="154"/>
                  <a:pt x="222" y="154"/>
                  <a:pt x="222" y="154"/>
                </a:cubicBezTo>
                <a:cubicBezTo>
                  <a:pt x="221" y="156"/>
                  <a:pt x="221" y="156"/>
                  <a:pt x="221" y="156"/>
                </a:cubicBezTo>
                <a:cubicBezTo>
                  <a:pt x="221" y="157"/>
                  <a:pt x="221" y="157"/>
                  <a:pt x="221" y="157"/>
                </a:cubicBezTo>
                <a:cubicBezTo>
                  <a:pt x="222" y="157"/>
                  <a:pt x="222" y="157"/>
                  <a:pt x="222" y="157"/>
                </a:cubicBezTo>
                <a:cubicBezTo>
                  <a:pt x="223" y="158"/>
                  <a:pt x="223" y="158"/>
                  <a:pt x="223" y="158"/>
                </a:cubicBezTo>
                <a:cubicBezTo>
                  <a:pt x="223" y="158"/>
                  <a:pt x="223" y="158"/>
                  <a:pt x="223" y="158"/>
                </a:cubicBezTo>
                <a:cubicBezTo>
                  <a:pt x="225" y="156"/>
                  <a:pt x="225" y="156"/>
                  <a:pt x="225" y="156"/>
                </a:cubicBezTo>
                <a:cubicBezTo>
                  <a:pt x="226" y="156"/>
                  <a:pt x="226" y="156"/>
                  <a:pt x="226" y="156"/>
                </a:cubicBezTo>
                <a:cubicBezTo>
                  <a:pt x="228" y="155"/>
                  <a:pt x="228" y="155"/>
                  <a:pt x="228" y="155"/>
                </a:cubicBezTo>
                <a:cubicBezTo>
                  <a:pt x="229" y="154"/>
                  <a:pt x="229" y="154"/>
                  <a:pt x="229" y="154"/>
                </a:cubicBezTo>
                <a:cubicBezTo>
                  <a:pt x="229" y="156"/>
                  <a:pt x="229" y="156"/>
                  <a:pt x="229" y="156"/>
                </a:cubicBezTo>
                <a:cubicBezTo>
                  <a:pt x="227" y="157"/>
                  <a:pt x="227" y="157"/>
                  <a:pt x="227" y="157"/>
                </a:cubicBezTo>
                <a:cubicBezTo>
                  <a:pt x="225" y="157"/>
                  <a:pt x="225" y="157"/>
                  <a:pt x="225" y="157"/>
                </a:cubicBezTo>
                <a:cubicBezTo>
                  <a:pt x="222" y="160"/>
                  <a:pt x="222" y="160"/>
                  <a:pt x="222" y="160"/>
                </a:cubicBezTo>
                <a:cubicBezTo>
                  <a:pt x="222" y="161"/>
                  <a:pt x="222" y="161"/>
                  <a:pt x="222" y="161"/>
                </a:cubicBezTo>
                <a:cubicBezTo>
                  <a:pt x="224" y="163"/>
                  <a:pt x="224" y="163"/>
                  <a:pt x="224" y="163"/>
                </a:cubicBezTo>
                <a:cubicBezTo>
                  <a:pt x="224" y="164"/>
                  <a:pt x="224" y="164"/>
                  <a:pt x="224" y="164"/>
                </a:cubicBezTo>
                <a:cubicBezTo>
                  <a:pt x="223" y="163"/>
                  <a:pt x="223" y="163"/>
                  <a:pt x="223" y="163"/>
                </a:cubicBezTo>
                <a:cubicBezTo>
                  <a:pt x="222" y="163"/>
                  <a:pt x="222" y="163"/>
                  <a:pt x="222" y="163"/>
                </a:cubicBezTo>
                <a:cubicBezTo>
                  <a:pt x="221" y="163"/>
                  <a:pt x="221" y="163"/>
                  <a:pt x="221" y="163"/>
                </a:cubicBezTo>
                <a:cubicBezTo>
                  <a:pt x="220" y="163"/>
                  <a:pt x="220" y="163"/>
                  <a:pt x="220" y="163"/>
                </a:cubicBezTo>
                <a:cubicBezTo>
                  <a:pt x="219" y="162"/>
                  <a:pt x="219" y="162"/>
                  <a:pt x="219" y="162"/>
                </a:cubicBezTo>
                <a:cubicBezTo>
                  <a:pt x="219" y="161"/>
                  <a:pt x="219" y="161"/>
                  <a:pt x="219" y="161"/>
                </a:cubicBezTo>
                <a:cubicBezTo>
                  <a:pt x="217" y="162"/>
                  <a:pt x="217" y="162"/>
                  <a:pt x="217" y="162"/>
                </a:cubicBezTo>
                <a:cubicBezTo>
                  <a:pt x="216" y="162"/>
                  <a:pt x="216" y="162"/>
                  <a:pt x="216" y="162"/>
                </a:cubicBezTo>
                <a:cubicBezTo>
                  <a:pt x="214" y="163"/>
                  <a:pt x="214" y="163"/>
                  <a:pt x="214" y="163"/>
                </a:cubicBezTo>
                <a:cubicBezTo>
                  <a:pt x="212" y="163"/>
                  <a:pt x="212" y="163"/>
                  <a:pt x="212" y="163"/>
                </a:cubicBezTo>
                <a:cubicBezTo>
                  <a:pt x="211" y="164"/>
                  <a:pt x="211" y="164"/>
                  <a:pt x="211" y="164"/>
                </a:cubicBezTo>
                <a:cubicBezTo>
                  <a:pt x="211" y="166"/>
                  <a:pt x="211" y="166"/>
                  <a:pt x="211" y="166"/>
                </a:cubicBezTo>
                <a:cubicBezTo>
                  <a:pt x="211" y="166"/>
                  <a:pt x="211" y="166"/>
                  <a:pt x="211" y="166"/>
                </a:cubicBezTo>
                <a:cubicBezTo>
                  <a:pt x="210" y="168"/>
                  <a:pt x="210" y="168"/>
                  <a:pt x="210" y="168"/>
                </a:cubicBezTo>
                <a:cubicBezTo>
                  <a:pt x="209" y="169"/>
                  <a:pt x="209" y="169"/>
                  <a:pt x="209" y="169"/>
                </a:cubicBezTo>
                <a:cubicBezTo>
                  <a:pt x="208" y="171"/>
                  <a:pt x="208" y="171"/>
                  <a:pt x="208" y="171"/>
                </a:cubicBezTo>
                <a:cubicBezTo>
                  <a:pt x="204" y="174"/>
                  <a:pt x="204" y="174"/>
                  <a:pt x="204" y="174"/>
                </a:cubicBezTo>
                <a:cubicBezTo>
                  <a:pt x="203" y="175"/>
                  <a:pt x="203" y="175"/>
                  <a:pt x="203" y="175"/>
                </a:cubicBezTo>
                <a:cubicBezTo>
                  <a:pt x="203" y="176"/>
                  <a:pt x="203" y="176"/>
                  <a:pt x="203" y="176"/>
                </a:cubicBezTo>
                <a:cubicBezTo>
                  <a:pt x="205" y="178"/>
                  <a:pt x="205" y="178"/>
                  <a:pt x="205" y="178"/>
                </a:cubicBezTo>
                <a:cubicBezTo>
                  <a:pt x="205" y="177"/>
                  <a:pt x="205" y="177"/>
                  <a:pt x="205" y="177"/>
                </a:cubicBezTo>
                <a:cubicBezTo>
                  <a:pt x="206" y="177"/>
                  <a:pt x="206" y="177"/>
                  <a:pt x="206" y="177"/>
                </a:cubicBezTo>
                <a:cubicBezTo>
                  <a:pt x="207" y="176"/>
                  <a:pt x="207" y="176"/>
                  <a:pt x="207" y="176"/>
                </a:cubicBezTo>
                <a:cubicBezTo>
                  <a:pt x="208" y="176"/>
                  <a:pt x="208" y="176"/>
                  <a:pt x="208" y="176"/>
                </a:cubicBezTo>
                <a:cubicBezTo>
                  <a:pt x="208" y="177"/>
                  <a:pt x="208" y="177"/>
                  <a:pt x="208" y="177"/>
                </a:cubicBezTo>
                <a:cubicBezTo>
                  <a:pt x="206" y="178"/>
                  <a:pt x="206" y="178"/>
                  <a:pt x="206" y="178"/>
                </a:cubicBezTo>
                <a:cubicBezTo>
                  <a:pt x="205" y="179"/>
                  <a:pt x="205" y="179"/>
                  <a:pt x="205" y="179"/>
                </a:cubicBezTo>
                <a:cubicBezTo>
                  <a:pt x="204" y="180"/>
                  <a:pt x="204" y="180"/>
                  <a:pt x="204" y="180"/>
                </a:cubicBezTo>
                <a:cubicBezTo>
                  <a:pt x="203" y="179"/>
                  <a:pt x="203" y="179"/>
                  <a:pt x="203" y="179"/>
                </a:cubicBezTo>
                <a:cubicBezTo>
                  <a:pt x="202" y="179"/>
                  <a:pt x="202" y="179"/>
                  <a:pt x="202" y="179"/>
                </a:cubicBezTo>
                <a:cubicBezTo>
                  <a:pt x="201" y="180"/>
                  <a:pt x="201" y="180"/>
                  <a:pt x="201" y="180"/>
                </a:cubicBezTo>
                <a:cubicBezTo>
                  <a:pt x="201" y="181"/>
                  <a:pt x="201" y="181"/>
                  <a:pt x="201" y="181"/>
                </a:cubicBezTo>
                <a:cubicBezTo>
                  <a:pt x="200" y="180"/>
                  <a:pt x="200" y="180"/>
                  <a:pt x="200" y="180"/>
                </a:cubicBezTo>
                <a:cubicBezTo>
                  <a:pt x="199" y="181"/>
                  <a:pt x="199" y="181"/>
                  <a:pt x="199" y="181"/>
                </a:cubicBezTo>
                <a:cubicBezTo>
                  <a:pt x="200" y="182"/>
                  <a:pt x="200" y="182"/>
                  <a:pt x="200" y="182"/>
                </a:cubicBezTo>
                <a:cubicBezTo>
                  <a:pt x="201" y="184"/>
                  <a:pt x="201" y="184"/>
                  <a:pt x="201" y="184"/>
                </a:cubicBezTo>
                <a:cubicBezTo>
                  <a:pt x="202" y="184"/>
                  <a:pt x="202" y="184"/>
                  <a:pt x="202" y="184"/>
                </a:cubicBezTo>
                <a:cubicBezTo>
                  <a:pt x="202" y="183"/>
                  <a:pt x="202" y="183"/>
                  <a:pt x="202" y="183"/>
                </a:cubicBezTo>
                <a:cubicBezTo>
                  <a:pt x="203" y="184"/>
                  <a:pt x="203" y="184"/>
                  <a:pt x="203" y="184"/>
                </a:cubicBezTo>
                <a:cubicBezTo>
                  <a:pt x="203" y="182"/>
                  <a:pt x="203" y="182"/>
                  <a:pt x="203" y="182"/>
                </a:cubicBezTo>
                <a:cubicBezTo>
                  <a:pt x="204" y="182"/>
                  <a:pt x="204" y="182"/>
                  <a:pt x="204" y="182"/>
                </a:cubicBezTo>
                <a:cubicBezTo>
                  <a:pt x="204" y="183"/>
                  <a:pt x="204" y="183"/>
                  <a:pt x="204" y="183"/>
                </a:cubicBezTo>
                <a:cubicBezTo>
                  <a:pt x="205" y="183"/>
                  <a:pt x="205" y="183"/>
                  <a:pt x="205" y="183"/>
                </a:cubicBezTo>
                <a:cubicBezTo>
                  <a:pt x="205" y="182"/>
                  <a:pt x="205" y="182"/>
                  <a:pt x="205" y="182"/>
                </a:cubicBezTo>
                <a:cubicBezTo>
                  <a:pt x="206" y="182"/>
                  <a:pt x="206" y="182"/>
                  <a:pt x="206" y="182"/>
                </a:cubicBezTo>
                <a:cubicBezTo>
                  <a:pt x="208" y="181"/>
                  <a:pt x="208" y="181"/>
                  <a:pt x="208" y="181"/>
                </a:cubicBezTo>
                <a:cubicBezTo>
                  <a:pt x="208" y="179"/>
                  <a:pt x="208" y="179"/>
                  <a:pt x="208" y="179"/>
                </a:cubicBezTo>
                <a:cubicBezTo>
                  <a:pt x="209" y="179"/>
                  <a:pt x="209" y="179"/>
                  <a:pt x="209" y="179"/>
                </a:cubicBezTo>
                <a:cubicBezTo>
                  <a:pt x="209" y="179"/>
                  <a:pt x="209" y="179"/>
                  <a:pt x="209" y="179"/>
                </a:cubicBezTo>
                <a:cubicBezTo>
                  <a:pt x="208" y="180"/>
                  <a:pt x="208" y="180"/>
                  <a:pt x="208" y="180"/>
                </a:cubicBezTo>
                <a:cubicBezTo>
                  <a:pt x="209" y="181"/>
                  <a:pt x="209" y="181"/>
                  <a:pt x="209" y="181"/>
                </a:cubicBezTo>
                <a:cubicBezTo>
                  <a:pt x="210" y="181"/>
                  <a:pt x="210" y="181"/>
                  <a:pt x="210" y="181"/>
                </a:cubicBezTo>
                <a:cubicBezTo>
                  <a:pt x="212" y="179"/>
                  <a:pt x="212" y="179"/>
                  <a:pt x="212" y="179"/>
                </a:cubicBezTo>
                <a:cubicBezTo>
                  <a:pt x="213" y="179"/>
                  <a:pt x="213" y="179"/>
                  <a:pt x="213" y="179"/>
                </a:cubicBezTo>
                <a:cubicBezTo>
                  <a:pt x="214" y="180"/>
                  <a:pt x="214" y="180"/>
                  <a:pt x="214" y="180"/>
                </a:cubicBezTo>
                <a:cubicBezTo>
                  <a:pt x="214" y="179"/>
                  <a:pt x="214" y="179"/>
                  <a:pt x="214" y="179"/>
                </a:cubicBezTo>
                <a:cubicBezTo>
                  <a:pt x="215" y="177"/>
                  <a:pt x="215" y="177"/>
                  <a:pt x="215" y="177"/>
                </a:cubicBezTo>
                <a:cubicBezTo>
                  <a:pt x="216" y="176"/>
                  <a:pt x="216" y="176"/>
                  <a:pt x="216" y="176"/>
                </a:cubicBezTo>
                <a:cubicBezTo>
                  <a:pt x="217" y="176"/>
                  <a:pt x="217" y="176"/>
                  <a:pt x="217" y="176"/>
                </a:cubicBezTo>
                <a:cubicBezTo>
                  <a:pt x="216" y="178"/>
                  <a:pt x="216" y="178"/>
                  <a:pt x="216" y="178"/>
                </a:cubicBezTo>
                <a:cubicBezTo>
                  <a:pt x="216" y="179"/>
                  <a:pt x="216" y="179"/>
                  <a:pt x="216" y="179"/>
                </a:cubicBezTo>
                <a:cubicBezTo>
                  <a:pt x="216" y="178"/>
                  <a:pt x="216" y="178"/>
                  <a:pt x="216" y="178"/>
                </a:cubicBezTo>
                <a:cubicBezTo>
                  <a:pt x="218" y="176"/>
                  <a:pt x="218" y="176"/>
                  <a:pt x="218" y="176"/>
                </a:cubicBezTo>
                <a:cubicBezTo>
                  <a:pt x="218" y="174"/>
                  <a:pt x="218" y="174"/>
                  <a:pt x="218" y="174"/>
                </a:cubicBezTo>
                <a:cubicBezTo>
                  <a:pt x="219" y="174"/>
                  <a:pt x="219" y="174"/>
                  <a:pt x="219" y="174"/>
                </a:cubicBezTo>
                <a:cubicBezTo>
                  <a:pt x="219" y="175"/>
                  <a:pt x="219" y="175"/>
                  <a:pt x="219" y="175"/>
                </a:cubicBezTo>
                <a:cubicBezTo>
                  <a:pt x="218" y="176"/>
                  <a:pt x="218" y="176"/>
                  <a:pt x="218" y="176"/>
                </a:cubicBezTo>
                <a:cubicBezTo>
                  <a:pt x="219" y="177"/>
                  <a:pt x="219" y="177"/>
                  <a:pt x="219" y="177"/>
                </a:cubicBezTo>
                <a:cubicBezTo>
                  <a:pt x="220" y="175"/>
                  <a:pt x="220" y="175"/>
                  <a:pt x="220" y="175"/>
                </a:cubicBezTo>
                <a:cubicBezTo>
                  <a:pt x="221" y="176"/>
                  <a:pt x="221" y="176"/>
                  <a:pt x="221" y="176"/>
                </a:cubicBezTo>
                <a:cubicBezTo>
                  <a:pt x="221" y="177"/>
                  <a:pt x="221" y="177"/>
                  <a:pt x="221" y="177"/>
                </a:cubicBezTo>
                <a:cubicBezTo>
                  <a:pt x="222" y="177"/>
                  <a:pt x="222" y="177"/>
                  <a:pt x="222" y="177"/>
                </a:cubicBezTo>
                <a:cubicBezTo>
                  <a:pt x="222" y="177"/>
                  <a:pt x="222" y="177"/>
                  <a:pt x="222" y="177"/>
                </a:cubicBezTo>
                <a:cubicBezTo>
                  <a:pt x="223" y="177"/>
                  <a:pt x="223" y="177"/>
                  <a:pt x="223" y="177"/>
                </a:cubicBezTo>
                <a:cubicBezTo>
                  <a:pt x="224" y="175"/>
                  <a:pt x="224" y="175"/>
                  <a:pt x="224" y="175"/>
                </a:cubicBezTo>
                <a:cubicBezTo>
                  <a:pt x="226" y="175"/>
                  <a:pt x="226" y="175"/>
                  <a:pt x="226" y="175"/>
                </a:cubicBezTo>
                <a:cubicBezTo>
                  <a:pt x="227" y="174"/>
                  <a:pt x="227" y="174"/>
                  <a:pt x="227" y="174"/>
                </a:cubicBezTo>
                <a:cubicBezTo>
                  <a:pt x="226" y="174"/>
                  <a:pt x="226" y="174"/>
                  <a:pt x="226" y="174"/>
                </a:cubicBezTo>
                <a:cubicBezTo>
                  <a:pt x="226" y="173"/>
                  <a:pt x="226" y="173"/>
                  <a:pt x="226" y="173"/>
                </a:cubicBezTo>
                <a:cubicBezTo>
                  <a:pt x="229" y="172"/>
                  <a:pt x="229" y="172"/>
                  <a:pt x="229" y="172"/>
                </a:cubicBezTo>
                <a:cubicBezTo>
                  <a:pt x="229" y="171"/>
                  <a:pt x="229" y="171"/>
                  <a:pt x="229" y="171"/>
                </a:cubicBezTo>
                <a:cubicBezTo>
                  <a:pt x="229" y="170"/>
                  <a:pt x="229" y="170"/>
                  <a:pt x="229" y="170"/>
                </a:cubicBezTo>
                <a:cubicBezTo>
                  <a:pt x="228" y="170"/>
                  <a:pt x="228" y="170"/>
                  <a:pt x="228" y="170"/>
                </a:cubicBezTo>
                <a:cubicBezTo>
                  <a:pt x="227" y="169"/>
                  <a:pt x="227" y="169"/>
                  <a:pt x="227" y="169"/>
                </a:cubicBezTo>
                <a:cubicBezTo>
                  <a:pt x="226" y="169"/>
                  <a:pt x="226" y="169"/>
                  <a:pt x="226" y="169"/>
                </a:cubicBezTo>
                <a:cubicBezTo>
                  <a:pt x="226" y="168"/>
                  <a:pt x="226" y="168"/>
                  <a:pt x="226" y="168"/>
                </a:cubicBezTo>
                <a:cubicBezTo>
                  <a:pt x="227" y="168"/>
                  <a:pt x="227" y="168"/>
                  <a:pt x="227" y="168"/>
                </a:cubicBezTo>
                <a:cubicBezTo>
                  <a:pt x="228" y="169"/>
                  <a:pt x="228" y="169"/>
                  <a:pt x="228" y="169"/>
                </a:cubicBezTo>
                <a:cubicBezTo>
                  <a:pt x="229" y="168"/>
                  <a:pt x="229" y="168"/>
                  <a:pt x="229" y="168"/>
                </a:cubicBezTo>
                <a:cubicBezTo>
                  <a:pt x="229" y="167"/>
                  <a:pt x="229" y="167"/>
                  <a:pt x="229" y="167"/>
                </a:cubicBezTo>
                <a:cubicBezTo>
                  <a:pt x="228" y="167"/>
                  <a:pt x="228" y="167"/>
                  <a:pt x="228" y="167"/>
                </a:cubicBezTo>
                <a:cubicBezTo>
                  <a:pt x="226" y="166"/>
                  <a:pt x="226" y="166"/>
                  <a:pt x="226" y="166"/>
                </a:cubicBezTo>
                <a:cubicBezTo>
                  <a:pt x="226" y="165"/>
                  <a:pt x="226" y="165"/>
                  <a:pt x="226" y="165"/>
                </a:cubicBezTo>
                <a:cubicBezTo>
                  <a:pt x="228" y="165"/>
                  <a:pt x="228" y="165"/>
                  <a:pt x="228" y="165"/>
                </a:cubicBezTo>
                <a:cubicBezTo>
                  <a:pt x="229" y="165"/>
                  <a:pt x="229" y="165"/>
                  <a:pt x="229" y="165"/>
                </a:cubicBezTo>
                <a:cubicBezTo>
                  <a:pt x="229" y="165"/>
                  <a:pt x="229" y="165"/>
                  <a:pt x="229" y="165"/>
                </a:cubicBezTo>
                <a:cubicBezTo>
                  <a:pt x="229" y="165"/>
                  <a:pt x="229" y="165"/>
                  <a:pt x="229" y="165"/>
                </a:cubicBezTo>
                <a:cubicBezTo>
                  <a:pt x="229" y="163"/>
                  <a:pt x="229" y="163"/>
                  <a:pt x="229" y="163"/>
                </a:cubicBezTo>
                <a:cubicBezTo>
                  <a:pt x="231" y="162"/>
                  <a:pt x="231" y="162"/>
                  <a:pt x="231" y="162"/>
                </a:cubicBezTo>
                <a:cubicBezTo>
                  <a:pt x="232" y="163"/>
                  <a:pt x="232" y="163"/>
                  <a:pt x="232" y="163"/>
                </a:cubicBezTo>
                <a:cubicBezTo>
                  <a:pt x="233" y="163"/>
                  <a:pt x="233" y="163"/>
                  <a:pt x="233" y="163"/>
                </a:cubicBezTo>
                <a:cubicBezTo>
                  <a:pt x="235" y="163"/>
                  <a:pt x="235" y="163"/>
                  <a:pt x="235" y="163"/>
                </a:cubicBezTo>
                <a:cubicBezTo>
                  <a:pt x="232" y="164"/>
                  <a:pt x="232" y="164"/>
                  <a:pt x="232" y="164"/>
                </a:cubicBezTo>
                <a:cubicBezTo>
                  <a:pt x="232" y="165"/>
                  <a:pt x="232" y="165"/>
                  <a:pt x="232" y="165"/>
                </a:cubicBezTo>
                <a:cubicBezTo>
                  <a:pt x="233" y="168"/>
                  <a:pt x="233" y="168"/>
                  <a:pt x="233" y="168"/>
                </a:cubicBezTo>
                <a:cubicBezTo>
                  <a:pt x="233" y="167"/>
                  <a:pt x="233" y="167"/>
                  <a:pt x="233" y="167"/>
                </a:cubicBezTo>
                <a:cubicBezTo>
                  <a:pt x="234" y="165"/>
                  <a:pt x="234" y="165"/>
                  <a:pt x="234" y="165"/>
                </a:cubicBezTo>
                <a:cubicBezTo>
                  <a:pt x="235" y="164"/>
                  <a:pt x="235" y="164"/>
                  <a:pt x="235" y="164"/>
                </a:cubicBezTo>
                <a:cubicBezTo>
                  <a:pt x="236" y="164"/>
                  <a:pt x="236" y="164"/>
                  <a:pt x="236" y="164"/>
                </a:cubicBezTo>
                <a:cubicBezTo>
                  <a:pt x="235" y="165"/>
                  <a:pt x="235" y="165"/>
                  <a:pt x="235" y="165"/>
                </a:cubicBezTo>
                <a:cubicBezTo>
                  <a:pt x="235" y="166"/>
                  <a:pt x="235" y="166"/>
                  <a:pt x="235" y="166"/>
                </a:cubicBezTo>
                <a:cubicBezTo>
                  <a:pt x="235" y="167"/>
                  <a:pt x="235" y="167"/>
                  <a:pt x="235" y="167"/>
                </a:cubicBezTo>
                <a:cubicBezTo>
                  <a:pt x="236" y="166"/>
                  <a:pt x="236" y="166"/>
                  <a:pt x="236" y="166"/>
                </a:cubicBezTo>
                <a:cubicBezTo>
                  <a:pt x="237" y="165"/>
                  <a:pt x="237" y="165"/>
                  <a:pt x="237" y="165"/>
                </a:cubicBezTo>
                <a:cubicBezTo>
                  <a:pt x="238" y="166"/>
                  <a:pt x="238" y="166"/>
                  <a:pt x="238" y="166"/>
                </a:cubicBezTo>
                <a:cubicBezTo>
                  <a:pt x="239" y="165"/>
                  <a:pt x="239" y="165"/>
                  <a:pt x="239" y="165"/>
                </a:cubicBezTo>
                <a:cubicBezTo>
                  <a:pt x="239" y="165"/>
                  <a:pt x="239" y="165"/>
                  <a:pt x="239" y="165"/>
                </a:cubicBezTo>
                <a:cubicBezTo>
                  <a:pt x="241" y="164"/>
                  <a:pt x="241" y="164"/>
                  <a:pt x="241" y="164"/>
                </a:cubicBezTo>
                <a:cubicBezTo>
                  <a:pt x="242" y="164"/>
                  <a:pt x="242" y="164"/>
                  <a:pt x="242" y="164"/>
                </a:cubicBezTo>
                <a:cubicBezTo>
                  <a:pt x="243" y="164"/>
                  <a:pt x="243" y="164"/>
                  <a:pt x="243" y="164"/>
                </a:cubicBezTo>
                <a:cubicBezTo>
                  <a:pt x="243" y="165"/>
                  <a:pt x="243" y="165"/>
                  <a:pt x="243" y="165"/>
                </a:cubicBezTo>
                <a:cubicBezTo>
                  <a:pt x="241" y="165"/>
                  <a:pt x="241" y="165"/>
                  <a:pt x="241" y="165"/>
                </a:cubicBezTo>
                <a:cubicBezTo>
                  <a:pt x="240" y="166"/>
                  <a:pt x="240" y="166"/>
                  <a:pt x="240" y="166"/>
                </a:cubicBezTo>
                <a:cubicBezTo>
                  <a:pt x="239" y="166"/>
                  <a:pt x="239" y="166"/>
                  <a:pt x="239" y="166"/>
                </a:cubicBezTo>
                <a:cubicBezTo>
                  <a:pt x="239" y="167"/>
                  <a:pt x="239" y="167"/>
                  <a:pt x="239" y="167"/>
                </a:cubicBezTo>
                <a:cubicBezTo>
                  <a:pt x="239" y="168"/>
                  <a:pt x="239" y="168"/>
                  <a:pt x="239" y="168"/>
                </a:cubicBezTo>
                <a:cubicBezTo>
                  <a:pt x="242" y="168"/>
                  <a:pt x="242" y="168"/>
                  <a:pt x="242" y="168"/>
                </a:cubicBezTo>
                <a:cubicBezTo>
                  <a:pt x="242" y="169"/>
                  <a:pt x="242" y="169"/>
                  <a:pt x="242" y="169"/>
                </a:cubicBezTo>
                <a:cubicBezTo>
                  <a:pt x="242" y="169"/>
                  <a:pt x="242" y="169"/>
                  <a:pt x="242" y="169"/>
                </a:cubicBezTo>
                <a:cubicBezTo>
                  <a:pt x="241" y="168"/>
                  <a:pt x="241" y="168"/>
                  <a:pt x="241" y="168"/>
                </a:cubicBezTo>
                <a:cubicBezTo>
                  <a:pt x="239" y="168"/>
                  <a:pt x="239" y="168"/>
                  <a:pt x="239" y="168"/>
                </a:cubicBezTo>
                <a:cubicBezTo>
                  <a:pt x="238" y="169"/>
                  <a:pt x="238" y="169"/>
                  <a:pt x="238" y="169"/>
                </a:cubicBezTo>
                <a:cubicBezTo>
                  <a:pt x="238" y="170"/>
                  <a:pt x="238" y="170"/>
                  <a:pt x="238" y="170"/>
                </a:cubicBezTo>
                <a:cubicBezTo>
                  <a:pt x="239" y="170"/>
                  <a:pt x="239" y="170"/>
                  <a:pt x="239" y="170"/>
                </a:cubicBezTo>
                <a:cubicBezTo>
                  <a:pt x="240" y="169"/>
                  <a:pt x="240" y="169"/>
                  <a:pt x="240" y="169"/>
                </a:cubicBezTo>
                <a:cubicBezTo>
                  <a:pt x="241" y="170"/>
                  <a:pt x="241" y="170"/>
                  <a:pt x="241" y="170"/>
                </a:cubicBezTo>
                <a:cubicBezTo>
                  <a:pt x="240" y="170"/>
                  <a:pt x="240" y="170"/>
                  <a:pt x="240" y="170"/>
                </a:cubicBezTo>
                <a:cubicBezTo>
                  <a:pt x="239" y="170"/>
                  <a:pt x="239" y="170"/>
                  <a:pt x="239" y="170"/>
                </a:cubicBezTo>
                <a:cubicBezTo>
                  <a:pt x="239" y="171"/>
                  <a:pt x="239" y="171"/>
                  <a:pt x="239" y="171"/>
                </a:cubicBezTo>
                <a:cubicBezTo>
                  <a:pt x="241" y="172"/>
                  <a:pt x="241" y="172"/>
                  <a:pt x="241" y="172"/>
                </a:cubicBezTo>
                <a:cubicBezTo>
                  <a:pt x="241" y="173"/>
                  <a:pt x="241" y="173"/>
                  <a:pt x="241" y="173"/>
                </a:cubicBezTo>
                <a:cubicBezTo>
                  <a:pt x="241" y="173"/>
                  <a:pt x="241" y="173"/>
                  <a:pt x="241" y="173"/>
                </a:cubicBezTo>
                <a:cubicBezTo>
                  <a:pt x="240" y="173"/>
                  <a:pt x="240" y="173"/>
                  <a:pt x="240" y="173"/>
                </a:cubicBezTo>
                <a:cubicBezTo>
                  <a:pt x="240" y="174"/>
                  <a:pt x="240" y="174"/>
                  <a:pt x="240" y="174"/>
                </a:cubicBezTo>
                <a:cubicBezTo>
                  <a:pt x="241" y="174"/>
                  <a:pt x="241" y="174"/>
                  <a:pt x="241" y="174"/>
                </a:cubicBezTo>
                <a:cubicBezTo>
                  <a:pt x="242" y="173"/>
                  <a:pt x="242" y="173"/>
                  <a:pt x="242" y="173"/>
                </a:cubicBezTo>
                <a:cubicBezTo>
                  <a:pt x="243" y="174"/>
                  <a:pt x="243" y="174"/>
                  <a:pt x="243" y="174"/>
                </a:cubicBezTo>
                <a:cubicBezTo>
                  <a:pt x="244" y="175"/>
                  <a:pt x="244" y="175"/>
                  <a:pt x="244" y="175"/>
                </a:cubicBezTo>
                <a:cubicBezTo>
                  <a:pt x="246" y="174"/>
                  <a:pt x="246" y="174"/>
                  <a:pt x="246" y="174"/>
                </a:cubicBezTo>
                <a:cubicBezTo>
                  <a:pt x="247" y="175"/>
                  <a:pt x="247" y="175"/>
                  <a:pt x="247" y="175"/>
                </a:cubicBezTo>
                <a:cubicBezTo>
                  <a:pt x="247" y="176"/>
                  <a:pt x="247" y="176"/>
                  <a:pt x="247" y="176"/>
                </a:cubicBezTo>
                <a:cubicBezTo>
                  <a:pt x="246" y="176"/>
                  <a:pt x="246" y="176"/>
                  <a:pt x="246" y="176"/>
                </a:cubicBezTo>
                <a:cubicBezTo>
                  <a:pt x="246" y="177"/>
                  <a:pt x="246" y="177"/>
                  <a:pt x="246" y="177"/>
                </a:cubicBezTo>
                <a:cubicBezTo>
                  <a:pt x="247" y="177"/>
                  <a:pt x="247" y="177"/>
                  <a:pt x="247" y="177"/>
                </a:cubicBezTo>
                <a:cubicBezTo>
                  <a:pt x="247" y="178"/>
                  <a:pt x="247" y="178"/>
                  <a:pt x="247" y="178"/>
                </a:cubicBezTo>
                <a:cubicBezTo>
                  <a:pt x="248" y="178"/>
                  <a:pt x="248" y="178"/>
                  <a:pt x="248" y="178"/>
                </a:cubicBezTo>
                <a:cubicBezTo>
                  <a:pt x="249" y="177"/>
                  <a:pt x="249" y="177"/>
                  <a:pt x="249" y="177"/>
                </a:cubicBezTo>
                <a:cubicBezTo>
                  <a:pt x="248" y="176"/>
                  <a:pt x="248" y="176"/>
                  <a:pt x="248" y="176"/>
                </a:cubicBezTo>
                <a:cubicBezTo>
                  <a:pt x="249" y="176"/>
                  <a:pt x="249" y="176"/>
                  <a:pt x="249" y="176"/>
                </a:cubicBezTo>
                <a:cubicBezTo>
                  <a:pt x="250" y="176"/>
                  <a:pt x="250" y="176"/>
                  <a:pt x="250" y="176"/>
                </a:cubicBezTo>
                <a:cubicBezTo>
                  <a:pt x="249" y="177"/>
                  <a:pt x="249" y="177"/>
                  <a:pt x="249" y="177"/>
                </a:cubicBezTo>
                <a:cubicBezTo>
                  <a:pt x="249" y="178"/>
                  <a:pt x="249" y="178"/>
                  <a:pt x="249" y="178"/>
                </a:cubicBezTo>
                <a:cubicBezTo>
                  <a:pt x="248" y="179"/>
                  <a:pt x="248" y="179"/>
                  <a:pt x="248" y="179"/>
                </a:cubicBezTo>
                <a:cubicBezTo>
                  <a:pt x="249" y="181"/>
                  <a:pt x="249" y="181"/>
                  <a:pt x="249" y="181"/>
                </a:cubicBezTo>
                <a:cubicBezTo>
                  <a:pt x="248" y="181"/>
                  <a:pt x="248" y="181"/>
                  <a:pt x="248" y="181"/>
                </a:cubicBezTo>
                <a:cubicBezTo>
                  <a:pt x="248" y="181"/>
                  <a:pt x="248" y="181"/>
                  <a:pt x="248" y="181"/>
                </a:cubicBezTo>
                <a:cubicBezTo>
                  <a:pt x="247" y="181"/>
                  <a:pt x="247" y="181"/>
                  <a:pt x="247" y="181"/>
                </a:cubicBezTo>
                <a:cubicBezTo>
                  <a:pt x="247" y="182"/>
                  <a:pt x="247" y="182"/>
                  <a:pt x="247" y="182"/>
                </a:cubicBezTo>
                <a:cubicBezTo>
                  <a:pt x="250" y="182"/>
                  <a:pt x="250" y="182"/>
                  <a:pt x="250" y="182"/>
                </a:cubicBezTo>
                <a:cubicBezTo>
                  <a:pt x="251" y="182"/>
                  <a:pt x="251" y="182"/>
                  <a:pt x="251" y="182"/>
                </a:cubicBezTo>
                <a:cubicBezTo>
                  <a:pt x="252" y="182"/>
                  <a:pt x="252" y="182"/>
                  <a:pt x="252" y="182"/>
                </a:cubicBezTo>
                <a:cubicBezTo>
                  <a:pt x="253" y="182"/>
                  <a:pt x="253" y="182"/>
                  <a:pt x="253" y="182"/>
                </a:cubicBezTo>
                <a:cubicBezTo>
                  <a:pt x="255" y="182"/>
                  <a:pt x="255" y="182"/>
                  <a:pt x="255" y="182"/>
                </a:cubicBezTo>
                <a:cubicBezTo>
                  <a:pt x="256" y="182"/>
                  <a:pt x="256" y="182"/>
                  <a:pt x="256" y="182"/>
                </a:cubicBezTo>
                <a:cubicBezTo>
                  <a:pt x="257" y="182"/>
                  <a:pt x="257" y="182"/>
                  <a:pt x="257" y="182"/>
                </a:cubicBezTo>
                <a:cubicBezTo>
                  <a:pt x="257" y="183"/>
                  <a:pt x="257" y="183"/>
                  <a:pt x="257" y="183"/>
                </a:cubicBezTo>
                <a:cubicBezTo>
                  <a:pt x="258" y="183"/>
                  <a:pt x="258" y="183"/>
                  <a:pt x="258" y="183"/>
                </a:cubicBezTo>
                <a:cubicBezTo>
                  <a:pt x="259" y="184"/>
                  <a:pt x="259" y="184"/>
                  <a:pt x="259" y="184"/>
                </a:cubicBezTo>
                <a:cubicBezTo>
                  <a:pt x="259" y="185"/>
                  <a:pt x="259" y="185"/>
                  <a:pt x="259" y="185"/>
                </a:cubicBezTo>
                <a:cubicBezTo>
                  <a:pt x="260" y="185"/>
                  <a:pt x="260" y="185"/>
                  <a:pt x="260" y="185"/>
                </a:cubicBezTo>
                <a:cubicBezTo>
                  <a:pt x="261" y="185"/>
                  <a:pt x="261" y="185"/>
                  <a:pt x="261" y="185"/>
                </a:cubicBezTo>
                <a:cubicBezTo>
                  <a:pt x="263" y="185"/>
                  <a:pt x="263" y="185"/>
                  <a:pt x="263" y="185"/>
                </a:cubicBezTo>
                <a:cubicBezTo>
                  <a:pt x="263" y="184"/>
                  <a:pt x="263" y="184"/>
                  <a:pt x="263" y="184"/>
                </a:cubicBezTo>
                <a:cubicBezTo>
                  <a:pt x="264" y="184"/>
                  <a:pt x="264" y="184"/>
                  <a:pt x="264" y="184"/>
                </a:cubicBezTo>
                <a:cubicBezTo>
                  <a:pt x="263" y="185"/>
                  <a:pt x="263" y="185"/>
                  <a:pt x="263" y="185"/>
                </a:cubicBezTo>
                <a:cubicBezTo>
                  <a:pt x="263" y="186"/>
                  <a:pt x="263" y="186"/>
                  <a:pt x="263" y="186"/>
                </a:cubicBezTo>
                <a:cubicBezTo>
                  <a:pt x="261" y="186"/>
                  <a:pt x="261" y="186"/>
                  <a:pt x="261" y="186"/>
                </a:cubicBezTo>
                <a:cubicBezTo>
                  <a:pt x="262" y="187"/>
                  <a:pt x="262" y="187"/>
                  <a:pt x="262" y="187"/>
                </a:cubicBezTo>
                <a:cubicBezTo>
                  <a:pt x="263" y="188"/>
                  <a:pt x="263" y="188"/>
                  <a:pt x="263" y="188"/>
                </a:cubicBezTo>
                <a:cubicBezTo>
                  <a:pt x="264" y="189"/>
                  <a:pt x="264" y="189"/>
                  <a:pt x="264" y="189"/>
                </a:cubicBezTo>
                <a:cubicBezTo>
                  <a:pt x="265" y="189"/>
                  <a:pt x="265" y="189"/>
                  <a:pt x="265" y="189"/>
                </a:cubicBezTo>
                <a:cubicBezTo>
                  <a:pt x="266" y="190"/>
                  <a:pt x="266" y="190"/>
                  <a:pt x="266" y="190"/>
                </a:cubicBezTo>
                <a:cubicBezTo>
                  <a:pt x="269" y="189"/>
                  <a:pt x="269" y="189"/>
                  <a:pt x="269" y="189"/>
                </a:cubicBezTo>
                <a:cubicBezTo>
                  <a:pt x="270" y="189"/>
                  <a:pt x="270" y="189"/>
                  <a:pt x="270" y="189"/>
                </a:cubicBezTo>
                <a:cubicBezTo>
                  <a:pt x="270" y="190"/>
                  <a:pt x="270" y="190"/>
                  <a:pt x="270" y="190"/>
                </a:cubicBezTo>
                <a:cubicBezTo>
                  <a:pt x="271" y="189"/>
                  <a:pt x="271" y="189"/>
                  <a:pt x="271" y="189"/>
                </a:cubicBezTo>
                <a:cubicBezTo>
                  <a:pt x="272" y="188"/>
                  <a:pt x="272" y="188"/>
                  <a:pt x="272" y="188"/>
                </a:cubicBezTo>
                <a:cubicBezTo>
                  <a:pt x="273" y="188"/>
                  <a:pt x="273" y="188"/>
                  <a:pt x="273" y="188"/>
                </a:cubicBezTo>
                <a:cubicBezTo>
                  <a:pt x="272" y="188"/>
                  <a:pt x="272" y="188"/>
                  <a:pt x="272" y="188"/>
                </a:cubicBezTo>
                <a:cubicBezTo>
                  <a:pt x="271" y="189"/>
                  <a:pt x="271" y="189"/>
                  <a:pt x="271" y="189"/>
                </a:cubicBezTo>
                <a:cubicBezTo>
                  <a:pt x="271" y="191"/>
                  <a:pt x="271" y="191"/>
                  <a:pt x="271" y="191"/>
                </a:cubicBezTo>
                <a:cubicBezTo>
                  <a:pt x="271" y="193"/>
                  <a:pt x="271" y="193"/>
                  <a:pt x="271" y="193"/>
                </a:cubicBezTo>
                <a:cubicBezTo>
                  <a:pt x="270" y="193"/>
                  <a:pt x="270" y="193"/>
                  <a:pt x="270" y="193"/>
                </a:cubicBezTo>
                <a:cubicBezTo>
                  <a:pt x="268" y="192"/>
                  <a:pt x="268" y="192"/>
                  <a:pt x="268" y="192"/>
                </a:cubicBezTo>
                <a:cubicBezTo>
                  <a:pt x="268" y="192"/>
                  <a:pt x="268" y="192"/>
                  <a:pt x="268" y="192"/>
                </a:cubicBezTo>
                <a:cubicBezTo>
                  <a:pt x="269" y="194"/>
                  <a:pt x="269" y="194"/>
                  <a:pt x="269" y="194"/>
                </a:cubicBezTo>
                <a:cubicBezTo>
                  <a:pt x="269" y="195"/>
                  <a:pt x="269" y="195"/>
                  <a:pt x="269" y="195"/>
                </a:cubicBezTo>
                <a:cubicBezTo>
                  <a:pt x="270" y="196"/>
                  <a:pt x="270" y="196"/>
                  <a:pt x="270" y="196"/>
                </a:cubicBezTo>
                <a:cubicBezTo>
                  <a:pt x="271" y="195"/>
                  <a:pt x="271" y="195"/>
                  <a:pt x="271" y="195"/>
                </a:cubicBezTo>
                <a:cubicBezTo>
                  <a:pt x="272" y="196"/>
                  <a:pt x="272" y="196"/>
                  <a:pt x="272" y="196"/>
                </a:cubicBezTo>
                <a:cubicBezTo>
                  <a:pt x="271" y="197"/>
                  <a:pt x="271" y="197"/>
                  <a:pt x="271" y="197"/>
                </a:cubicBezTo>
                <a:cubicBezTo>
                  <a:pt x="271" y="197"/>
                  <a:pt x="271" y="197"/>
                  <a:pt x="271" y="197"/>
                </a:cubicBezTo>
                <a:cubicBezTo>
                  <a:pt x="271" y="197"/>
                  <a:pt x="271" y="197"/>
                  <a:pt x="271" y="197"/>
                </a:cubicBezTo>
                <a:cubicBezTo>
                  <a:pt x="272" y="199"/>
                  <a:pt x="272" y="199"/>
                  <a:pt x="272" y="199"/>
                </a:cubicBezTo>
                <a:cubicBezTo>
                  <a:pt x="273" y="198"/>
                  <a:pt x="273" y="198"/>
                  <a:pt x="273" y="198"/>
                </a:cubicBezTo>
                <a:cubicBezTo>
                  <a:pt x="274" y="199"/>
                  <a:pt x="274" y="199"/>
                  <a:pt x="274" y="199"/>
                </a:cubicBezTo>
                <a:cubicBezTo>
                  <a:pt x="275" y="197"/>
                  <a:pt x="275" y="197"/>
                  <a:pt x="275" y="197"/>
                </a:cubicBezTo>
                <a:cubicBezTo>
                  <a:pt x="276" y="195"/>
                  <a:pt x="276" y="195"/>
                  <a:pt x="276" y="195"/>
                </a:cubicBezTo>
                <a:cubicBezTo>
                  <a:pt x="276" y="197"/>
                  <a:pt x="276" y="197"/>
                  <a:pt x="276" y="197"/>
                </a:cubicBezTo>
                <a:cubicBezTo>
                  <a:pt x="276" y="198"/>
                  <a:pt x="276" y="198"/>
                  <a:pt x="276" y="198"/>
                </a:cubicBezTo>
                <a:cubicBezTo>
                  <a:pt x="275" y="199"/>
                  <a:pt x="275" y="199"/>
                  <a:pt x="275" y="199"/>
                </a:cubicBezTo>
                <a:cubicBezTo>
                  <a:pt x="275" y="199"/>
                  <a:pt x="275" y="199"/>
                  <a:pt x="275" y="199"/>
                </a:cubicBezTo>
                <a:cubicBezTo>
                  <a:pt x="274" y="200"/>
                  <a:pt x="274" y="200"/>
                  <a:pt x="274" y="200"/>
                </a:cubicBezTo>
                <a:cubicBezTo>
                  <a:pt x="274" y="201"/>
                  <a:pt x="274" y="201"/>
                  <a:pt x="274" y="201"/>
                </a:cubicBezTo>
                <a:cubicBezTo>
                  <a:pt x="275" y="202"/>
                  <a:pt x="275" y="202"/>
                  <a:pt x="275" y="202"/>
                </a:cubicBezTo>
                <a:cubicBezTo>
                  <a:pt x="275" y="202"/>
                  <a:pt x="275" y="202"/>
                  <a:pt x="275" y="202"/>
                </a:cubicBezTo>
                <a:cubicBezTo>
                  <a:pt x="275" y="205"/>
                  <a:pt x="275" y="205"/>
                  <a:pt x="275" y="205"/>
                </a:cubicBezTo>
                <a:cubicBezTo>
                  <a:pt x="275" y="206"/>
                  <a:pt x="275" y="206"/>
                  <a:pt x="275" y="206"/>
                </a:cubicBezTo>
                <a:cubicBezTo>
                  <a:pt x="276" y="206"/>
                  <a:pt x="276" y="206"/>
                  <a:pt x="276" y="206"/>
                </a:cubicBezTo>
                <a:cubicBezTo>
                  <a:pt x="276" y="207"/>
                  <a:pt x="276" y="207"/>
                  <a:pt x="276" y="207"/>
                </a:cubicBezTo>
                <a:cubicBezTo>
                  <a:pt x="276" y="208"/>
                  <a:pt x="276" y="208"/>
                  <a:pt x="276" y="208"/>
                </a:cubicBezTo>
                <a:cubicBezTo>
                  <a:pt x="278" y="210"/>
                  <a:pt x="278" y="210"/>
                  <a:pt x="278" y="210"/>
                </a:cubicBezTo>
                <a:cubicBezTo>
                  <a:pt x="279" y="211"/>
                  <a:pt x="279" y="211"/>
                  <a:pt x="279" y="211"/>
                </a:cubicBezTo>
                <a:cubicBezTo>
                  <a:pt x="279" y="211"/>
                  <a:pt x="279" y="211"/>
                  <a:pt x="279" y="211"/>
                </a:cubicBezTo>
                <a:cubicBezTo>
                  <a:pt x="279" y="211"/>
                  <a:pt x="279" y="211"/>
                  <a:pt x="279" y="211"/>
                </a:cubicBezTo>
                <a:cubicBezTo>
                  <a:pt x="280" y="212"/>
                  <a:pt x="280" y="212"/>
                  <a:pt x="280" y="212"/>
                </a:cubicBezTo>
                <a:cubicBezTo>
                  <a:pt x="281" y="211"/>
                  <a:pt x="281" y="211"/>
                  <a:pt x="281" y="211"/>
                </a:cubicBezTo>
                <a:cubicBezTo>
                  <a:pt x="281" y="211"/>
                  <a:pt x="281" y="211"/>
                  <a:pt x="281" y="211"/>
                </a:cubicBezTo>
                <a:cubicBezTo>
                  <a:pt x="281" y="210"/>
                  <a:pt x="281" y="210"/>
                  <a:pt x="281" y="210"/>
                </a:cubicBezTo>
                <a:cubicBezTo>
                  <a:pt x="281" y="211"/>
                  <a:pt x="281" y="211"/>
                  <a:pt x="281" y="211"/>
                </a:cubicBezTo>
                <a:cubicBezTo>
                  <a:pt x="282" y="211"/>
                  <a:pt x="282" y="211"/>
                  <a:pt x="282" y="211"/>
                </a:cubicBezTo>
                <a:cubicBezTo>
                  <a:pt x="283" y="210"/>
                  <a:pt x="283" y="210"/>
                  <a:pt x="283" y="210"/>
                </a:cubicBezTo>
                <a:cubicBezTo>
                  <a:pt x="282" y="208"/>
                  <a:pt x="282" y="208"/>
                  <a:pt x="282" y="208"/>
                </a:cubicBezTo>
                <a:cubicBezTo>
                  <a:pt x="281" y="208"/>
                  <a:pt x="281" y="208"/>
                  <a:pt x="281" y="208"/>
                </a:cubicBezTo>
                <a:cubicBezTo>
                  <a:pt x="281" y="208"/>
                  <a:pt x="281" y="208"/>
                  <a:pt x="281" y="208"/>
                </a:cubicBezTo>
                <a:cubicBezTo>
                  <a:pt x="280" y="208"/>
                  <a:pt x="280" y="208"/>
                  <a:pt x="280" y="208"/>
                </a:cubicBezTo>
                <a:cubicBezTo>
                  <a:pt x="281" y="207"/>
                  <a:pt x="281" y="207"/>
                  <a:pt x="281" y="207"/>
                </a:cubicBezTo>
                <a:cubicBezTo>
                  <a:pt x="281" y="206"/>
                  <a:pt x="281" y="206"/>
                  <a:pt x="281" y="206"/>
                </a:cubicBezTo>
                <a:cubicBezTo>
                  <a:pt x="281" y="205"/>
                  <a:pt x="281" y="205"/>
                  <a:pt x="281" y="205"/>
                </a:cubicBezTo>
                <a:cubicBezTo>
                  <a:pt x="280" y="205"/>
                  <a:pt x="280" y="205"/>
                  <a:pt x="280" y="205"/>
                </a:cubicBezTo>
                <a:cubicBezTo>
                  <a:pt x="280" y="204"/>
                  <a:pt x="280" y="204"/>
                  <a:pt x="280" y="204"/>
                </a:cubicBezTo>
                <a:cubicBezTo>
                  <a:pt x="280" y="204"/>
                  <a:pt x="280" y="204"/>
                  <a:pt x="280" y="204"/>
                </a:cubicBezTo>
                <a:cubicBezTo>
                  <a:pt x="280" y="202"/>
                  <a:pt x="280" y="202"/>
                  <a:pt x="280" y="202"/>
                </a:cubicBezTo>
                <a:cubicBezTo>
                  <a:pt x="281" y="202"/>
                  <a:pt x="281" y="202"/>
                  <a:pt x="281" y="202"/>
                </a:cubicBezTo>
                <a:cubicBezTo>
                  <a:pt x="281" y="204"/>
                  <a:pt x="281" y="204"/>
                  <a:pt x="281" y="204"/>
                </a:cubicBezTo>
                <a:cubicBezTo>
                  <a:pt x="282" y="204"/>
                  <a:pt x="282" y="204"/>
                  <a:pt x="282" y="204"/>
                </a:cubicBezTo>
                <a:cubicBezTo>
                  <a:pt x="282" y="203"/>
                  <a:pt x="282" y="203"/>
                  <a:pt x="282" y="203"/>
                </a:cubicBezTo>
                <a:cubicBezTo>
                  <a:pt x="283" y="204"/>
                  <a:pt x="283" y="204"/>
                  <a:pt x="283" y="204"/>
                </a:cubicBezTo>
                <a:cubicBezTo>
                  <a:pt x="283" y="205"/>
                  <a:pt x="283" y="205"/>
                  <a:pt x="283" y="205"/>
                </a:cubicBezTo>
                <a:cubicBezTo>
                  <a:pt x="283" y="206"/>
                  <a:pt x="283" y="206"/>
                  <a:pt x="283" y="206"/>
                </a:cubicBezTo>
                <a:cubicBezTo>
                  <a:pt x="283" y="207"/>
                  <a:pt x="283" y="207"/>
                  <a:pt x="283" y="207"/>
                </a:cubicBezTo>
                <a:cubicBezTo>
                  <a:pt x="284" y="207"/>
                  <a:pt x="284" y="207"/>
                  <a:pt x="284" y="207"/>
                </a:cubicBezTo>
                <a:cubicBezTo>
                  <a:pt x="285" y="206"/>
                  <a:pt x="285" y="206"/>
                  <a:pt x="285" y="206"/>
                </a:cubicBezTo>
                <a:cubicBezTo>
                  <a:pt x="285" y="206"/>
                  <a:pt x="285" y="206"/>
                  <a:pt x="285" y="206"/>
                </a:cubicBezTo>
                <a:cubicBezTo>
                  <a:pt x="285" y="207"/>
                  <a:pt x="285" y="207"/>
                  <a:pt x="285" y="207"/>
                </a:cubicBezTo>
                <a:cubicBezTo>
                  <a:pt x="284" y="208"/>
                  <a:pt x="284" y="208"/>
                  <a:pt x="284" y="208"/>
                </a:cubicBezTo>
                <a:cubicBezTo>
                  <a:pt x="284" y="209"/>
                  <a:pt x="284" y="209"/>
                  <a:pt x="284" y="209"/>
                </a:cubicBezTo>
                <a:cubicBezTo>
                  <a:pt x="284" y="210"/>
                  <a:pt x="284" y="210"/>
                  <a:pt x="284" y="210"/>
                </a:cubicBezTo>
                <a:cubicBezTo>
                  <a:pt x="284" y="211"/>
                  <a:pt x="284" y="211"/>
                  <a:pt x="284" y="211"/>
                </a:cubicBezTo>
                <a:cubicBezTo>
                  <a:pt x="284" y="212"/>
                  <a:pt x="284" y="212"/>
                  <a:pt x="284" y="212"/>
                </a:cubicBezTo>
                <a:cubicBezTo>
                  <a:pt x="286" y="212"/>
                  <a:pt x="286" y="212"/>
                  <a:pt x="286" y="212"/>
                </a:cubicBezTo>
                <a:cubicBezTo>
                  <a:pt x="286" y="212"/>
                  <a:pt x="286" y="212"/>
                  <a:pt x="286" y="212"/>
                </a:cubicBezTo>
                <a:cubicBezTo>
                  <a:pt x="287" y="211"/>
                  <a:pt x="287" y="211"/>
                  <a:pt x="287" y="211"/>
                </a:cubicBezTo>
                <a:cubicBezTo>
                  <a:pt x="287" y="212"/>
                  <a:pt x="287" y="212"/>
                  <a:pt x="287" y="212"/>
                </a:cubicBezTo>
                <a:cubicBezTo>
                  <a:pt x="286" y="212"/>
                  <a:pt x="286" y="212"/>
                  <a:pt x="286" y="212"/>
                </a:cubicBezTo>
                <a:cubicBezTo>
                  <a:pt x="287" y="214"/>
                  <a:pt x="287" y="214"/>
                  <a:pt x="287" y="214"/>
                </a:cubicBezTo>
                <a:cubicBezTo>
                  <a:pt x="287" y="214"/>
                  <a:pt x="287" y="214"/>
                  <a:pt x="287" y="214"/>
                </a:cubicBezTo>
                <a:cubicBezTo>
                  <a:pt x="289" y="212"/>
                  <a:pt x="289" y="212"/>
                  <a:pt x="289" y="212"/>
                </a:cubicBezTo>
                <a:cubicBezTo>
                  <a:pt x="289" y="211"/>
                  <a:pt x="289" y="211"/>
                  <a:pt x="289" y="211"/>
                </a:cubicBezTo>
                <a:cubicBezTo>
                  <a:pt x="289" y="210"/>
                  <a:pt x="289" y="210"/>
                  <a:pt x="289" y="210"/>
                </a:cubicBezTo>
                <a:cubicBezTo>
                  <a:pt x="289" y="207"/>
                  <a:pt x="289" y="207"/>
                  <a:pt x="289" y="207"/>
                </a:cubicBezTo>
                <a:cubicBezTo>
                  <a:pt x="290" y="204"/>
                  <a:pt x="290" y="204"/>
                  <a:pt x="290" y="204"/>
                </a:cubicBezTo>
                <a:cubicBezTo>
                  <a:pt x="290" y="201"/>
                  <a:pt x="290" y="201"/>
                  <a:pt x="290" y="201"/>
                </a:cubicBezTo>
                <a:cubicBezTo>
                  <a:pt x="290" y="200"/>
                  <a:pt x="290" y="200"/>
                  <a:pt x="290" y="200"/>
                </a:cubicBezTo>
                <a:cubicBezTo>
                  <a:pt x="290" y="199"/>
                  <a:pt x="290" y="199"/>
                  <a:pt x="290" y="199"/>
                </a:cubicBezTo>
                <a:cubicBezTo>
                  <a:pt x="290" y="198"/>
                  <a:pt x="290" y="198"/>
                  <a:pt x="290" y="198"/>
                </a:cubicBezTo>
                <a:cubicBezTo>
                  <a:pt x="290" y="199"/>
                  <a:pt x="290" y="199"/>
                  <a:pt x="290" y="199"/>
                </a:cubicBezTo>
                <a:cubicBezTo>
                  <a:pt x="291" y="200"/>
                  <a:pt x="291" y="200"/>
                  <a:pt x="291" y="200"/>
                </a:cubicBezTo>
                <a:cubicBezTo>
                  <a:pt x="291" y="200"/>
                  <a:pt x="291" y="200"/>
                  <a:pt x="291" y="200"/>
                </a:cubicBezTo>
                <a:cubicBezTo>
                  <a:pt x="292" y="199"/>
                  <a:pt x="292" y="199"/>
                  <a:pt x="292" y="199"/>
                </a:cubicBezTo>
                <a:cubicBezTo>
                  <a:pt x="293" y="198"/>
                  <a:pt x="293" y="198"/>
                  <a:pt x="293" y="198"/>
                </a:cubicBezTo>
                <a:cubicBezTo>
                  <a:pt x="292" y="200"/>
                  <a:pt x="292" y="200"/>
                  <a:pt x="292" y="200"/>
                </a:cubicBezTo>
                <a:cubicBezTo>
                  <a:pt x="292" y="202"/>
                  <a:pt x="292" y="202"/>
                  <a:pt x="292" y="202"/>
                </a:cubicBezTo>
                <a:cubicBezTo>
                  <a:pt x="292" y="204"/>
                  <a:pt x="292" y="204"/>
                  <a:pt x="292" y="204"/>
                </a:cubicBezTo>
                <a:cubicBezTo>
                  <a:pt x="291" y="206"/>
                  <a:pt x="291" y="206"/>
                  <a:pt x="291" y="206"/>
                </a:cubicBezTo>
                <a:cubicBezTo>
                  <a:pt x="291" y="207"/>
                  <a:pt x="291" y="207"/>
                  <a:pt x="291" y="207"/>
                </a:cubicBezTo>
                <a:cubicBezTo>
                  <a:pt x="291" y="208"/>
                  <a:pt x="291" y="208"/>
                  <a:pt x="291" y="208"/>
                </a:cubicBezTo>
                <a:cubicBezTo>
                  <a:pt x="291" y="209"/>
                  <a:pt x="291" y="209"/>
                  <a:pt x="291" y="209"/>
                </a:cubicBezTo>
                <a:cubicBezTo>
                  <a:pt x="290" y="211"/>
                  <a:pt x="290" y="211"/>
                  <a:pt x="290" y="211"/>
                </a:cubicBezTo>
                <a:cubicBezTo>
                  <a:pt x="291" y="212"/>
                  <a:pt x="291" y="212"/>
                  <a:pt x="291" y="212"/>
                </a:cubicBezTo>
                <a:cubicBezTo>
                  <a:pt x="291" y="213"/>
                  <a:pt x="291" y="213"/>
                  <a:pt x="291" y="213"/>
                </a:cubicBezTo>
                <a:cubicBezTo>
                  <a:pt x="292" y="214"/>
                  <a:pt x="292" y="214"/>
                  <a:pt x="292" y="214"/>
                </a:cubicBezTo>
                <a:cubicBezTo>
                  <a:pt x="292" y="216"/>
                  <a:pt x="292" y="216"/>
                  <a:pt x="292" y="216"/>
                </a:cubicBezTo>
                <a:cubicBezTo>
                  <a:pt x="293" y="216"/>
                  <a:pt x="293" y="216"/>
                  <a:pt x="293" y="216"/>
                </a:cubicBezTo>
                <a:cubicBezTo>
                  <a:pt x="293" y="217"/>
                  <a:pt x="293" y="217"/>
                  <a:pt x="293" y="217"/>
                </a:cubicBezTo>
                <a:cubicBezTo>
                  <a:pt x="294" y="218"/>
                  <a:pt x="294" y="218"/>
                  <a:pt x="294" y="218"/>
                </a:cubicBezTo>
                <a:cubicBezTo>
                  <a:pt x="295" y="217"/>
                  <a:pt x="295" y="217"/>
                  <a:pt x="295" y="217"/>
                </a:cubicBezTo>
                <a:cubicBezTo>
                  <a:pt x="295" y="218"/>
                  <a:pt x="295" y="218"/>
                  <a:pt x="295" y="218"/>
                </a:cubicBezTo>
                <a:cubicBezTo>
                  <a:pt x="296" y="217"/>
                  <a:pt x="296" y="217"/>
                  <a:pt x="296" y="217"/>
                </a:cubicBezTo>
                <a:cubicBezTo>
                  <a:pt x="298" y="217"/>
                  <a:pt x="298" y="217"/>
                  <a:pt x="298" y="217"/>
                </a:cubicBezTo>
                <a:cubicBezTo>
                  <a:pt x="298" y="217"/>
                  <a:pt x="298" y="217"/>
                  <a:pt x="298" y="217"/>
                </a:cubicBezTo>
                <a:cubicBezTo>
                  <a:pt x="296" y="218"/>
                  <a:pt x="296" y="218"/>
                  <a:pt x="296" y="218"/>
                </a:cubicBezTo>
                <a:cubicBezTo>
                  <a:pt x="295" y="219"/>
                  <a:pt x="295" y="219"/>
                  <a:pt x="295" y="219"/>
                </a:cubicBezTo>
                <a:cubicBezTo>
                  <a:pt x="295" y="219"/>
                  <a:pt x="295" y="219"/>
                  <a:pt x="295" y="219"/>
                </a:cubicBezTo>
                <a:cubicBezTo>
                  <a:pt x="296" y="220"/>
                  <a:pt x="296" y="220"/>
                  <a:pt x="296" y="220"/>
                </a:cubicBezTo>
                <a:cubicBezTo>
                  <a:pt x="296" y="220"/>
                  <a:pt x="296" y="220"/>
                  <a:pt x="296" y="220"/>
                </a:cubicBezTo>
                <a:cubicBezTo>
                  <a:pt x="295" y="221"/>
                  <a:pt x="295" y="221"/>
                  <a:pt x="295" y="221"/>
                </a:cubicBezTo>
                <a:cubicBezTo>
                  <a:pt x="295" y="221"/>
                  <a:pt x="295" y="221"/>
                  <a:pt x="295" y="221"/>
                </a:cubicBezTo>
                <a:cubicBezTo>
                  <a:pt x="296" y="223"/>
                  <a:pt x="296" y="223"/>
                  <a:pt x="296" y="223"/>
                </a:cubicBezTo>
                <a:cubicBezTo>
                  <a:pt x="296" y="224"/>
                  <a:pt x="296" y="224"/>
                  <a:pt x="296" y="224"/>
                </a:cubicBezTo>
                <a:cubicBezTo>
                  <a:pt x="295" y="224"/>
                  <a:pt x="295" y="224"/>
                  <a:pt x="295" y="224"/>
                </a:cubicBezTo>
                <a:cubicBezTo>
                  <a:pt x="294" y="223"/>
                  <a:pt x="294" y="223"/>
                  <a:pt x="294" y="223"/>
                </a:cubicBezTo>
                <a:cubicBezTo>
                  <a:pt x="294" y="222"/>
                  <a:pt x="294" y="222"/>
                  <a:pt x="294" y="222"/>
                </a:cubicBezTo>
                <a:cubicBezTo>
                  <a:pt x="293" y="223"/>
                  <a:pt x="293" y="223"/>
                  <a:pt x="293" y="223"/>
                </a:cubicBezTo>
                <a:cubicBezTo>
                  <a:pt x="294" y="224"/>
                  <a:pt x="294" y="224"/>
                  <a:pt x="294" y="224"/>
                </a:cubicBezTo>
                <a:cubicBezTo>
                  <a:pt x="293" y="225"/>
                  <a:pt x="293" y="225"/>
                  <a:pt x="293" y="225"/>
                </a:cubicBezTo>
                <a:cubicBezTo>
                  <a:pt x="293" y="226"/>
                  <a:pt x="293" y="226"/>
                  <a:pt x="293" y="226"/>
                </a:cubicBezTo>
                <a:cubicBezTo>
                  <a:pt x="294" y="226"/>
                  <a:pt x="294" y="226"/>
                  <a:pt x="294" y="226"/>
                </a:cubicBezTo>
                <a:cubicBezTo>
                  <a:pt x="293" y="227"/>
                  <a:pt x="293" y="227"/>
                  <a:pt x="293" y="227"/>
                </a:cubicBezTo>
                <a:cubicBezTo>
                  <a:pt x="292" y="227"/>
                  <a:pt x="292" y="227"/>
                  <a:pt x="292" y="227"/>
                </a:cubicBezTo>
                <a:cubicBezTo>
                  <a:pt x="292" y="228"/>
                  <a:pt x="292" y="228"/>
                  <a:pt x="292" y="228"/>
                </a:cubicBezTo>
                <a:cubicBezTo>
                  <a:pt x="292" y="229"/>
                  <a:pt x="292" y="229"/>
                  <a:pt x="292" y="229"/>
                </a:cubicBezTo>
                <a:cubicBezTo>
                  <a:pt x="293" y="229"/>
                  <a:pt x="293" y="229"/>
                  <a:pt x="293" y="229"/>
                </a:cubicBezTo>
                <a:cubicBezTo>
                  <a:pt x="293" y="229"/>
                  <a:pt x="293" y="229"/>
                  <a:pt x="293" y="229"/>
                </a:cubicBezTo>
                <a:cubicBezTo>
                  <a:pt x="294" y="230"/>
                  <a:pt x="294" y="230"/>
                  <a:pt x="294" y="230"/>
                </a:cubicBezTo>
                <a:cubicBezTo>
                  <a:pt x="295" y="230"/>
                  <a:pt x="295" y="230"/>
                  <a:pt x="295" y="230"/>
                </a:cubicBezTo>
                <a:cubicBezTo>
                  <a:pt x="295" y="230"/>
                  <a:pt x="295" y="230"/>
                  <a:pt x="295" y="230"/>
                </a:cubicBezTo>
                <a:cubicBezTo>
                  <a:pt x="296" y="231"/>
                  <a:pt x="296" y="231"/>
                  <a:pt x="296" y="231"/>
                </a:cubicBezTo>
                <a:cubicBezTo>
                  <a:pt x="296" y="231"/>
                  <a:pt x="296" y="231"/>
                  <a:pt x="296" y="231"/>
                </a:cubicBezTo>
                <a:cubicBezTo>
                  <a:pt x="295" y="231"/>
                  <a:pt x="295" y="231"/>
                  <a:pt x="295" y="231"/>
                </a:cubicBezTo>
                <a:cubicBezTo>
                  <a:pt x="294" y="231"/>
                  <a:pt x="294" y="231"/>
                  <a:pt x="294" y="231"/>
                </a:cubicBezTo>
                <a:cubicBezTo>
                  <a:pt x="295" y="232"/>
                  <a:pt x="295" y="232"/>
                  <a:pt x="295" y="232"/>
                </a:cubicBezTo>
                <a:cubicBezTo>
                  <a:pt x="296" y="233"/>
                  <a:pt x="296" y="233"/>
                  <a:pt x="296" y="233"/>
                </a:cubicBezTo>
                <a:cubicBezTo>
                  <a:pt x="296" y="234"/>
                  <a:pt x="296" y="234"/>
                  <a:pt x="296" y="234"/>
                </a:cubicBezTo>
                <a:cubicBezTo>
                  <a:pt x="297" y="235"/>
                  <a:pt x="297" y="235"/>
                  <a:pt x="297" y="235"/>
                </a:cubicBezTo>
                <a:cubicBezTo>
                  <a:pt x="298" y="235"/>
                  <a:pt x="298" y="235"/>
                  <a:pt x="298" y="235"/>
                </a:cubicBezTo>
                <a:cubicBezTo>
                  <a:pt x="297" y="235"/>
                  <a:pt x="297" y="235"/>
                  <a:pt x="297" y="235"/>
                </a:cubicBezTo>
                <a:cubicBezTo>
                  <a:pt x="296" y="235"/>
                  <a:pt x="296" y="235"/>
                  <a:pt x="296" y="235"/>
                </a:cubicBezTo>
                <a:cubicBezTo>
                  <a:pt x="295" y="236"/>
                  <a:pt x="295" y="236"/>
                  <a:pt x="295" y="236"/>
                </a:cubicBezTo>
                <a:cubicBezTo>
                  <a:pt x="296" y="237"/>
                  <a:pt x="296" y="237"/>
                  <a:pt x="296" y="237"/>
                </a:cubicBezTo>
                <a:cubicBezTo>
                  <a:pt x="297" y="239"/>
                  <a:pt x="297" y="239"/>
                  <a:pt x="297" y="239"/>
                </a:cubicBezTo>
                <a:cubicBezTo>
                  <a:pt x="298" y="240"/>
                  <a:pt x="298" y="240"/>
                  <a:pt x="298" y="240"/>
                </a:cubicBezTo>
                <a:cubicBezTo>
                  <a:pt x="299" y="240"/>
                  <a:pt x="299" y="240"/>
                  <a:pt x="299" y="240"/>
                </a:cubicBezTo>
                <a:cubicBezTo>
                  <a:pt x="300" y="240"/>
                  <a:pt x="300" y="240"/>
                  <a:pt x="300" y="240"/>
                </a:cubicBezTo>
                <a:cubicBezTo>
                  <a:pt x="298" y="241"/>
                  <a:pt x="298" y="241"/>
                  <a:pt x="298" y="241"/>
                </a:cubicBezTo>
                <a:cubicBezTo>
                  <a:pt x="297" y="241"/>
                  <a:pt x="297" y="241"/>
                  <a:pt x="297" y="241"/>
                </a:cubicBezTo>
                <a:cubicBezTo>
                  <a:pt x="296" y="241"/>
                  <a:pt x="296" y="241"/>
                  <a:pt x="296" y="241"/>
                </a:cubicBezTo>
                <a:cubicBezTo>
                  <a:pt x="295" y="242"/>
                  <a:pt x="295" y="242"/>
                  <a:pt x="295" y="242"/>
                </a:cubicBezTo>
                <a:cubicBezTo>
                  <a:pt x="293" y="245"/>
                  <a:pt x="293" y="245"/>
                  <a:pt x="293" y="245"/>
                </a:cubicBezTo>
                <a:cubicBezTo>
                  <a:pt x="292" y="246"/>
                  <a:pt x="292" y="246"/>
                  <a:pt x="292" y="246"/>
                </a:cubicBezTo>
                <a:cubicBezTo>
                  <a:pt x="292" y="247"/>
                  <a:pt x="292" y="247"/>
                  <a:pt x="292" y="247"/>
                </a:cubicBezTo>
                <a:cubicBezTo>
                  <a:pt x="293" y="248"/>
                  <a:pt x="293" y="248"/>
                  <a:pt x="293" y="248"/>
                </a:cubicBezTo>
                <a:cubicBezTo>
                  <a:pt x="294" y="247"/>
                  <a:pt x="294" y="247"/>
                  <a:pt x="294" y="247"/>
                </a:cubicBezTo>
                <a:cubicBezTo>
                  <a:pt x="295" y="245"/>
                  <a:pt x="295" y="245"/>
                  <a:pt x="295" y="245"/>
                </a:cubicBezTo>
                <a:cubicBezTo>
                  <a:pt x="295" y="245"/>
                  <a:pt x="295" y="245"/>
                  <a:pt x="295" y="245"/>
                </a:cubicBezTo>
                <a:cubicBezTo>
                  <a:pt x="296" y="244"/>
                  <a:pt x="296" y="244"/>
                  <a:pt x="296" y="244"/>
                </a:cubicBezTo>
                <a:cubicBezTo>
                  <a:pt x="297" y="243"/>
                  <a:pt x="297" y="243"/>
                  <a:pt x="297" y="243"/>
                </a:cubicBezTo>
                <a:cubicBezTo>
                  <a:pt x="297" y="243"/>
                  <a:pt x="297" y="243"/>
                  <a:pt x="297" y="243"/>
                </a:cubicBezTo>
                <a:cubicBezTo>
                  <a:pt x="298" y="243"/>
                  <a:pt x="298" y="243"/>
                  <a:pt x="298" y="243"/>
                </a:cubicBezTo>
                <a:cubicBezTo>
                  <a:pt x="300" y="243"/>
                  <a:pt x="300" y="243"/>
                  <a:pt x="300" y="243"/>
                </a:cubicBezTo>
                <a:cubicBezTo>
                  <a:pt x="299" y="244"/>
                  <a:pt x="299" y="244"/>
                  <a:pt x="299" y="244"/>
                </a:cubicBezTo>
                <a:cubicBezTo>
                  <a:pt x="299" y="245"/>
                  <a:pt x="299" y="245"/>
                  <a:pt x="299" y="245"/>
                </a:cubicBezTo>
                <a:cubicBezTo>
                  <a:pt x="301" y="245"/>
                  <a:pt x="301" y="245"/>
                  <a:pt x="301" y="245"/>
                </a:cubicBezTo>
                <a:cubicBezTo>
                  <a:pt x="301" y="245"/>
                  <a:pt x="301" y="245"/>
                  <a:pt x="301" y="245"/>
                </a:cubicBezTo>
                <a:cubicBezTo>
                  <a:pt x="299" y="246"/>
                  <a:pt x="299" y="246"/>
                  <a:pt x="299" y="246"/>
                </a:cubicBezTo>
                <a:cubicBezTo>
                  <a:pt x="299" y="247"/>
                  <a:pt x="299" y="247"/>
                  <a:pt x="299" y="247"/>
                </a:cubicBezTo>
                <a:cubicBezTo>
                  <a:pt x="300" y="248"/>
                  <a:pt x="300" y="248"/>
                  <a:pt x="300" y="248"/>
                </a:cubicBezTo>
                <a:cubicBezTo>
                  <a:pt x="299" y="250"/>
                  <a:pt x="299" y="250"/>
                  <a:pt x="299" y="250"/>
                </a:cubicBezTo>
                <a:cubicBezTo>
                  <a:pt x="298" y="251"/>
                  <a:pt x="298" y="251"/>
                  <a:pt x="298" y="251"/>
                </a:cubicBezTo>
                <a:cubicBezTo>
                  <a:pt x="299" y="251"/>
                  <a:pt x="299" y="251"/>
                  <a:pt x="299" y="251"/>
                </a:cubicBezTo>
                <a:cubicBezTo>
                  <a:pt x="299" y="252"/>
                  <a:pt x="299" y="252"/>
                  <a:pt x="299" y="252"/>
                </a:cubicBezTo>
                <a:cubicBezTo>
                  <a:pt x="298" y="252"/>
                  <a:pt x="298" y="252"/>
                  <a:pt x="298" y="252"/>
                </a:cubicBezTo>
                <a:cubicBezTo>
                  <a:pt x="297" y="252"/>
                  <a:pt x="297" y="252"/>
                  <a:pt x="297" y="252"/>
                </a:cubicBezTo>
                <a:cubicBezTo>
                  <a:pt x="296" y="253"/>
                  <a:pt x="296" y="253"/>
                  <a:pt x="296" y="253"/>
                </a:cubicBezTo>
                <a:cubicBezTo>
                  <a:pt x="296" y="253"/>
                  <a:pt x="296" y="253"/>
                  <a:pt x="296" y="253"/>
                </a:cubicBezTo>
                <a:cubicBezTo>
                  <a:pt x="297" y="253"/>
                  <a:pt x="297" y="253"/>
                  <a:pt x="297" y="253"/>
                </a:cubicBezTo>
                <a:cubicBezTo>
                  <a:pt x="298" y="253"/>
                  <a:pt x="298" y="253"/>
                  <a:pt x="298" y="253"/>
                </a:cubicBezTo>
                <a:cubicBezTo>
                  <a:pt x="299" y="253"/>
                  <a:pt x="299" y="253"/>
                  <a:pt x="299" y="253"/>
                </a:cubicBezTo>
                <a:cubicBezTo>
                  <a:pt x="299" y="254"/>
                  <a:pt x="299" y="254"/>
                  <a:pt x="299" y="254"/>
                </a:cubicBezTo>
                <a:cubicBezTo>
                  <a:pt x="298" y="254"/>
                  <a:pt x="298" y="254"/>
                  <a:pt x="298" y="254"/>
                </a:cubicBezTo>
                <a:cubicBezTo>
                  <a:pt x="297" y="254"/>
                  <a:pt x="297" y="254"/>
                  <a:pt x="297" y="254"/>
                </a:cubicBezTo>
                <a:cubicBezTo>
                  <a:pt x="296" y="254"/>
                  <a:pt x="296" y="254"/>
                  <a:pt x="296" y="254"/>
                </a:cubicBezTo>
                <a:cubicBezTo>
                  <a:pt x="296" y="255"/>
                  <a:pt x="296" y="255"/>
                  <a:pt x="296" y="255"/>
                </a:cubicBezTo>
                <a:cubicBezTo>
                  <a:pt x="295" y="256"/>
                  <a:pt x="295" y="256"/>
                  <a:pt x="295" y="256"/>
                </a:cubicBezTo>
                <a:cubicBezTo>
                  <a:pt x="296" y="258"/>
                  <a:pt x="296" y="258"/>
                  <a:pt x="296" y="258"/>
                </a:cubicBezTo>
                <a:cubicBezTo>
                  <a:pt x="297" y="257"/>
                  <a:pt x="297" y="257"/>
                  <a:pt x="297" y="257"/>
                </a:cubicBezTo>
                <a:cubicBezTo>
                  <a:pt x="297" y="256"/>
                  <a:pt x="297" y="256"/>
                  <a:pt x="297" y="256"/>
                </a:cubicBezTo>
                <a:cubicBezTo>
                  <a:pt x="298" y="256"/>
                  <a:pt x="298" y="256"/>
                  <a:pt x="298" y="256"/>
                </a:cubicBezTo>
                <a:cubicBezTo>
                  <a:pt x="299" y="256"/>
                  <a:pt x="299" y="256"/>
                  <a:pt x="299" y="256"/>
                </a:cubicBezTo>
                <a:cubicBezTo>
                  <a:pt x="301" y="254"/>
                  <a:pt x="301" y="254"/>
                  <a:pt x="301" y="254"/>
                </a:cubicBezTo>
                <a:cubicBezTo>
                  <a:pt x="302" y="252"/>
                  <a:pt x="302" y="252"/>
                  <a:pt x="302" y="252"/>
                </a:cubicBezTo>
                <a:cubicBezTo>
                  <a:pt x="302" y="250"/>
                  <a:pt x="302" y="250"/>
                  <a:pt x="302" y="250"/>
                </a:cubicBezTo>
                <a:cubicBezTo>
                  <a:pt x="304" y="247"/>
                  <a:pt x="304" y="247"/>
                  <a:pt x="304" y="247"/>
                </a:cubicBezTo>
                <a:cubicBezTo>
                  <a:pt x="304" y="246"/>
                  <a:pt x="304" y="246"/>
                  <a:pt x="304" y="246"/>
                </a:cubicBezTo>
                <a:cubicBezTo>
                  <a:pt x="304" y="246"/>
                  <a:pt x="304" y="246"/>
                  <a:pt x="304" y="246"/>
                </a:cubicBezTo>
                <a:close/>
                <a:moveTo>
                  <a:pt x="286" y="253"/>
                </a:moveTo>
                <a:cubicBezTo>
                  <a:pt x="285" y="253"/>
                  <a:pt x="285" y="253"/>
                  <a:pt x="285" y="253"/>
                </a:cubicBezTo>
                <a:cubicBezTo>
                  <a:pt x="286" y="252"/>
                  <a:pt x="286" y="252"/>
                  <a:pt x="286" y="252"/>
                </a:cubicBezTo>
                <a:cubicBezTo>
                  <a:pt x="286" y="253"/>
                  <a:pt x="286" y="253"/>
                  <a:pt x="286" y="253"/>
                </a:cubicBezTo>
                <a:cubicBezTo>
                  <a:pt x="286" y="253"/>
                  <a:pt x="286" y="253"/>
                  <a:pt x="286" y="253"/>
                </a:cubicBezTo>
                <a:close/>
                <a:moveTo>
                  <a:pt x="293" y="255"/>
                </a:moveTo>
                <a:cubicBezTo>
                  <a:pt x="294" y="255"/>
                  <a:pt x="294" y="255"/>
                  <a:pt x="294" y="255"/>
                </a:cubicBezTo>
                <a:cubicBezTo>
                  <a:pt x="295" y="255"/>
                  <a:pt x="295" y="255"/>
                  <a:pt x="295" y="255"/>
                </a:cubicBezTo>
                <a:cubicBezTo>
                  <a:pt x="294" y="256"/>
                  <a:pt x="294" y="256"/>
                  <a:pt x="294" y="256"/>
                </a:cubicBezTo>
                <a:cubicBezTo>
                  <a:pt x="293" y="255"/>
                  <a:pt x="293" y="255"/>
                  <a:pt x="293" y="255"/>
                </a:cubicBezTo>
                <a:close/>
                <a:moveTo>
                  <a:pt x="293" y="252"/>
                </a:moveTo>
                <a:cubicBezTo>
                  <a:pt x="294" y="252"/>
                  <a:pt x="294" y="252"/>
                  <a:pt x="294" y="252"/>
                </a:cubicBezTo>
                <a:cubicBezTo>
                  <a:pt x="295" y="253"/>
                  <a:pt x="295" y="253"/>
                  <a:pt x="295" y="253"/>
                </a:cubicBezTo>
                <a:cubicBezTo>
                  <a:pt x="294" y="254"/>
                  <a:pt x="294" y="254"/>
                  <a:pt x="294" y="254"/>
                </a:cubicBezTo>
                <a:cubicBezTo>
                  <a:pt x="293" y="254"/>
                  <a:pt x="293" y="254"/>
                  <a:pt x="293" y="254"/>
                </a:cubicBezTo>
                <a:cubicBezTo>
                  <a:pt x="293" y="253"/>
                  <a:pt x="293" y="253"/>
                  <a:pt x="293" y="253"/>
                </a:cubicBezTo>
                <a:cubicBezTo>
                  <a:pt x="293" y="252"/>
                  <a:pt x="293" y="252"/>
                  <a:pt x="293" y="252"/>
                </a:cubicBezTo>
                <a:close/>
                <a:moveTo>
                  <a:pt x="293" y="249"/>
                </a:moveTo>
                <a:cubicBezTo>
                  <a:pt x="294" y="251"/>
                  <a:pt x="294" y="251"/>
                  <a:pt x="294" y="251"/>
                </a:cubicBezTo>
                <a:cubicBezTo>
                  <a:pt x="293" y="252"/>
                  <a:pt x="293" y="252"/>
                  <a:pt x="293" y="252"/>
                </a:cubicBezTo>
                <a:cubicBezTo>
                  <a:pt x="293" y="251"/>
                  <a:pt x="293" y="251"/>
                  <a:pt x="293" y="251"/>
                </a:cubicBezTo>
                <a:cubicBezTo>
                  <a:pt x="292" y="250"/>
                  <a:pt x="292" y="250"/>
                  <a:pt x="292" y="250"/>
                </a:cubicBezTo>
                <a:cubicBezTo>
                  <a:pt x="293" y="249"/>
                  <a:pt x="293" y="249"/>
                  <a:pt x="293" y="249"/>
                </a:cubicBezTo>
                <a:close/>
                <a:moveTo>
                  <a:pt x="294" y="249"/>
                </a:moveTo>
                <a:cubicBezTo>
                  <a:pt x="295" y="248"/>
                  <a:pt x="295" y="248"/>
                  <a:pt x="295" y="248"/>
                </a:cubicBezTo>
                <a:cubicBezTo>
                  <a:pt x="295" y="247"/>
                  <a:pt x="295" y="247"/>
                  <a:pt x="295" y="247"/>
                </a:cubicBezTo>
                <a:cubicBezTo>
                  <a:pt x="296" y="246"/>
                  <a:pt x="296" y="246"/>
                  <a:pt x="296" y="246"/>
                </a:cubicBezTo>
                <a:cubicBezTo>
                  <a:pt x="297" y="245"/>
                  <a:pt x="297" y="245"/>
                  <a:pt x="297" y="245"/>
                </a:cubicBezTo>
                <a:cubicBezTo>
                  <a:pt x="297" y="245"/>
                  <a:pt x="297" y="245"/>
                  <a:pt x="297" y="245"/>
                </a:cubicBezTo>
                <a:cubicBezTo>
                  <a:pt x="298" y="245"/>
                  <a:pt x="298" y="245"/>
                  <a:pt x="298" y="245"/>
                </a:cubicBezTo>
                <a:cubicBezTo>
                  <a:pt x="299" y="246"/>
                  <a:pt x="299" y="246"/>
                  <a:pt x="299" y="246"/>
                </a:cubicBezTo>
                <a:cubicBezTo>
                  <a:pt x="298" y="247"/>
                  <a:pt x="298" y="247"/>
                  <a:pt x="298" y="247"/>
                </a:cubicBezTo>
                <a:cubicBezTo>
                  <a:pt x="299" y="248"/>
                  <a:pt x="299" y="248"/>
                  <a:pt x="299" y="248"/>
                </a:cubicBezTo>
                <a:cubicBezTo>
                  <a:pt x="297" y="251"/>
                  <a:pt x="297" y="251"/>
                  <a:pt x="297" y="251"/>
                </a:cubicBezTo>
                <a:cubicBezTo>
                  <a:pt x="295" y="252"/>
                  <a:pt x="295" y="252"/>
                  <a:pt x="295" y="252"/>
                </a:cubicBezTo>
                <a:cubicBezTo>
                  <a:pt x="295" y="252"/>
                  <a:pt x="295" y="252"/>
                  <a:pt x="295" y="252"/>
                </a:cubicBezTo>
                <a:cubicBezTo>
                  <a:pt x="295" y="250"/>
                  <a:pt x="295" y="250"/>
                  <a:pt x="295" y="250"/>
                </a:cubicBezTo>
                <a:cubicBezTo>
                  <a:pt x="297" y="249"/>
                  <a:pt x="297" y="249"/>
                  <a:pt x="297" y="249"/>
                </a:cubicBezTo>
                <a:cubicBezTo>
                  <a:pt x="297" y="249"/>
                  <a:pt x="297" y="249"/>
                  <a:pt x="297" y="249"/>
                </a:cubicBezTo>
                <a:cubicBezTo>
                  <a:pt x="294" y="250"/>
                  <a:pt x="294" y="250"/>
                  <a:pt x="294" y="250"/>
                </a:cubicBezTo>
                <a:cubicBezTo>
                  <a:pt x="294" y="249"/>
                  <a:pt x="294" y="249"/>
                  <a:pt x="294" y="249"/>
                </a:cubicBezTo>
                <a:close/>
                <a:moveTo>
                  <a:pt x="283" y="253"/>
                </a:moveTo>
                <a:cubicBezTo>
                  <a:pt x="283" y="253"/>
                  <a:pt x="283" y="253"/>
                  <a:pt x="283" y="253"/>
                </a:cubicBezTo>
                <a:cubicBezTo>
                  <a:pt x="284" y="253"/>
                  <a:pt x="284" y="253"/>
                  <a:pt x="284" y="253"/>
                </a:cubicBezTo>
                <a:cubicBezTo>
                  <a:pt x="284" y="254"/>
                  <a:pt x="284" y="254"/>
                  <a:pt x="284" y="254"/>
                </a:cubicBezTo>
                <a:cubicBezTo>
                  <a:pt x="285" y="256"/>
                  <a:pt x="285" y="256"/>
                  <a:pt x="285" y="256"/>
                </a:cubicBezTo>
                <a:cubicBezTo>
                  <a:pt x="284" y="257"/>
                  <a:pt x="284" y="257"/>
                  <a:pt x="284" y="257"/>
                </a:cubicBezTo>
                <a:cubicBezTo>
                  <a:pt x="284" y="257"/>
                  <a:pt x="284" y="257"/>
                  <a:pt x="284" y="257"/>
                </a:cubicBezTo>
                <a:cubicBezTo>
                  <a:pt x="283" y="255"/>
                  <a:pt x="283" y="255"/>
                  <a:pt x="283" y="255"/>
                </a:cubicBezTo>
                <a:cubicBezTo>
                  <a:pt x="283" y="254"/>
                  <a:pt x="283" y="254"/>
                  <a:pt x="283" y="254"/>
                </a:cubicBezTo>
                <a:cubicBezTo>
                  <a:pt x="283" y="253"/>
                  <a:pt x="283" y="253"/>
                  <a:pt x="283" y="253"/>
                </a:cubicBezTo>
                <a:close/>
                <a:moveTo>
                  <a:pt x="283" y="251"/>
                </a:moveTo>
                <a:cubicBezTo>
                  <a:pt x="284" y="251"/>
                  <a:pt x="284" y="251"/>
                  <a:pt x="284" y="251"/>
                </a:cubicBezTo>
                <a:cubicBezTo>
                  <a:pt x="284" y="251"/>
                  <a:pt x="284" y="251"/>
                  <a:pt x="284" y="251"/>
                </a:cubicBezTo>
                <a:cubicBezTo>
                  <a:pt x="285" y="252"/>
                  <a:pt x="285" y="252"/>
                  <a:pt x="285" y="252"/>
                </a:cubicBezTo>
                <a:cubicBezTo>
                  <a:pt x="284" y="252"/>
                  <a:pt x="284" y="252"/>
                  <a:pt x="284" y="252"/>
                </a:cubicBezTo>
                <a:cubicBezTo>
                  <a:pt x="283" y="251"/>
                  <a:pt x="283" y="251"/>
                  <a:pt x="283" y="251"/>
                </a:cubicBezTo>
                <a:close/>
                <a:moveTo>
                  <a:pt x="283" y="250"/>
                </a:moveTo>
                <a:cubicBezTo>
                  <a:pt x="283" y="249"/>
                  <a:pt x="283" y="249"/>
                  <a:pt x="283" y="249"/>
                </a:cubicBezTo>
                <a:cubicBezTo>
                  <a:pt x="283" y="250"/>
                  <a:pt x="283" y="250"/>
                  <a:pt x="283" y="250"/>
                </a:cubicBezTo>
                <a:cubicBezTo>
                  <a:pt x="283" y="250"/>
                  <a:pt x="283" y="250"/>
                  <a:pt x="283" y="250"/>
                </a:cubicBezTo>
                <a:close/>
                <a:moveTo>
                  <a:pt x="282" y="248"/>
                </a:moveTo>
                <a:cubicBezTo>
                  <a:pt x="283" y="248"/>
                  <a:pt x="283" y="248"/>
                  <a:pt x="283" y="248"/>
                </a:cubicBezTo>
                <a:cubicBezTo>
                  <a:pt x="281" y="250"/>
                  <a:pt x="281" y="250"/>
                  <a:pt x="281" y="250"/>
                </a:cubicBezTo>
                <a:cubicBezTo>
                  <a:pt x="282" y="248"/>
                  <a:pt x="282" y="248"/>
                  <a:pt x="282" y="248"/>
                </a:cubicBezTo>
                <a:close/>
                <a:moveTo>
                  <a:pt x="281" y="242"/>
                </a:moveTo>
                <a:cubicBezTo>
                  <a:pt x="281" y="241"/>
                  <a:pt x="281" y="241"/>
                  <a:pt x="281" y="241"/>
                </a:cubicBezTo>
                <a:cubicBezTo>
                  <a:pt x="282" y="242"/>
                  <a:pt x="282" y="242"/>
                  <a:pt x="282" y="242"/>
                </a:cubicBezTo>
                <a:cubicBezTo>
                  <a:pt x="281" y="242"/>
                  <a:pt x="281" y="242"/>
                  <a:pt x="281" y="242"/>
                </a:cubicBezTo>
                <a:close/>
                <a:moveTo>
                  <a:pt x="284" y="244"/>
                </a:moveTo>
                <a:cubicBezTo>
                  <a:pt x="285" y="243"/>
                  <a:pt x="285" y="243"/>
                  <a:pt x="285" y="243"/>
                </a:cubicBezTo>
                <a:cubicBezTo>
                  <a:pt x="285" y="244"/>
                  <a:pt x="285" y="244"/>
                  <a:pt x="285" y="244"/>
                </a:cubicBezTo>
                <a:cubicBezTo>
                  <a:pt x="285" y="245"/>
                  <a:pt x="285" y="245"/>
                  <a:pt x="285" y="245"/>
                </a:cubicBezTo>
                <a:cubicBezTo>
                  <a:pt x="284" y="244"/>
                  <a:pt x="284" y="244"/>
                  <a:pt x="284" y="244"/>
                </a:cubicBezTo>
                <a:close/>
                <a:moveTo>
                  <a:pt x="285" y="242"/>
                </a:moveTo>
                <a:cubicBezTo>
                  <a:pt x="285" y="240"/>
                  <a:pt x="285" y="240"/>
                  <a:pt x="285" y="240"/>
                </a:cubicBezTo>
                <a:cubicBezTo>
                  <a:pt x="287" y="240"/>
                  <a:pt x="287" y="240"/>
                  <a:pt x="287" y="240"/>
                </a:cubicBezTo>
                <a:cubicBezTo>
                  <a:pt x="287" y="241"/>
                  <a:pt x="287" y="241"/>
                  <a:pt x="287" y="241"/>
                </a:cubicBezTo>
                <a:cubicBezTo>
                  <a:pt x="287" y="241"/>
                  <a:pt x="287" y="241"/>
                  <a:pt x="287" y="241"/>
                </a:cubicBezTo>
                <a:cubicBezTo>
                  <a:pt x="286" y="241"/>
                  <a:pt x="286" y="241"/>
                  <a:pt x="286" y="241"/>
                </a:cubicBezTo>
                <a:cubicBezTo>
                  <a:pt x="285" y="242"/>
                  <a:pt x="285" y="242"/>
                  <a:pt x="285" y="242"/>
                </a:cubicBezTo>
                <a:cubicBezTo>
                  <a:pt x="285" y="242"/>
                  <a:pt x="285" y="242"/>
                  <a:pt x="285" y="242"/>
                </a:cubicBezTo>
                <a:close/>
                <a:moveTo>
                  <a:pt x="287" y="243"/>
                </a:moveTo>
                <a:cubicBezTo>
                  <a:pt x="288" y="241"/>
                  <a:pt x="288" y="241"/>
                  <a:pt x="288" y="241"/>
                </a:cubicBezTo>
                <a:cubicBezTo>
                  <a:pt x="288" y="240"/>
                  <a:pt x="288" y="240"/>
                  <a:pt x="288" y="240"/>
                </a:cubicBezTo>
                <a:cubicBezTo>
                  <a:pt x="287" y="239"/>
                  <a:pt x="287" y="239"/>
                  <a:pt x="287" y="239"/>
                </a:cubicBezTo>
                <a:cubicBezTo>
                  <a:pt x="287" y="238"/>
                  <a:pt x="287" y="238"/>
                  <a:pt x="287" y="238"/>
                </a:cubicBezTo>
                <a:cubicBezTo>
                  <a:pt x="289" y="238"/>
                  <a:pt x="289" y="238"/>
                  <a:pt x="289" y="238"/>
                </a:cubicBezTo>
                <a:cubicBezTo>
                  <a:pt x="289" y="240"/>
                  <a:pt x="289" y="240"/>
                  <a:pt x="289" y="240"/>
                </a:cubicBezTo>
                <a:cubicBezTo>
                  <a:pt x="289" y="241"/>
                  <a:pt x="289" y="241"/>
                  <a:pt x="289" y="241"/>
                </a:cubicBezTo>
                <a:cubicBezTo>
                  <a:pt x="288" y="242"/>
                  <a:pt x="288" y="242"/>
                  <a:pt x="288" y="242"/>
                </a:cubicBezTo>
                <a:cubicBezTo>
                  <a:pt x="289" y="242"/>
                  <a:pt x="289" y="242"/>
                  <a:pt x="289" y="242"/>
                </a:cubicBezTo>
                <a:cubicBezTo>
                  <a:pt x="289" y="242"/>
                  <a:pt x="289" y="242"/>
                  <a:pt x="289" y="242"/>
                </a:cubicBezTo>
                <a:cubicBezTo>
                  <a:pt x="291" y="243"/>
                  <a:pt x="291" y="243"/>
                  <a:pt x="291" y="243"/>
                </a:cubicBezTo>
                <a:cubicBezTo>
                  <a:pt x="291" y="245"/>
                  <a:pt x="291" y="245"/>
                  <a:pt x="291" y="245"/>
                </a:cubicBezTo>
                <a:cubicBezTo>
                  <a:pt x="290" y="245"/>
                  <a:pt x="290" y="245"/>
                  <a:pt x="290" y="245"/>
                </a:cubicBezTo>
                <a:cubicBezTo>
                  <a:pt x="291" y="246"/>
                  <a:pt x="291" y="246"/>
                  <a:pt x="291" y="246"/>
                </a:cubicBezTo>
                <a:cubicBezTo>
                  <a:pt x="291" y="247"/>
                  <a:pt x="291" y="247"/>
                  <a:pt x="291" y="247"/>
                </a:cubicBezTo>
                <a:cubicBezTo>
                  <a:pt x="290" y="247"/>
                  <a:pt x="290" y="247"/>
                  <a:pt x="290" y="247"/>
                </a:cubicBezTo>
                <a:cubicBezTo>
                  <a:pt x="290" y="247"/>
                  <a:pt x="290" y="247"/>
                  <a:pt x="290" y="247"/>
                </a:cubicBezTo>
                <a:cubicBezTo>
                  <a:pt x="289" y="248"/>
                  <a:pt x="289" y="248"/>
                  <a:pt x="289" y="248"/>
                </a:cubicBezTo>
                <a:cubicBezTo>
                  <a:pt x="291" y="249"/>
                  <a:pt x="291" y="249"/>
                  <a:pt x="291" y="249"/>
                </a:cubicBezTo>
                <a:cubicBezTo>
                  <a:pt x="291" y="250"/>
                  <a:pt x="291" y="250"/>
                  <a:pt x="291" y="250"/>
                </a:cubicBezTo>
                <a:cubicBezTo>
                  <a:pt x="290" y="251"/>
                  <a:pt x="290" y="251"/>
                  <a:pt x="290" y="251"/>
                </a:cubicBezTo>
                <a:cubicBezTo>
                  <a:pt x="290" y="251"/>
                  <a:pt x="290" y="251"/>
                  <a:pt x="290" y="251"/>
                </a:cubicBezTo>
                <a:cubicBezTo>
                  <a:pt x="291" y="251"/>
                  <a:pt x="291" y="251"/>
                  <a:pt x="291" y="251"/>
                </a:cubicBezTo>
                <a:cubicBezTo>
                  <a:pt x="291" y="251"/>
                  <a:pt x="291" y="251"/>
                  <a:pt x="291" y="251"/>
                </a:cubicBezTo>
                <a:cubicBezTo>
                  <a:pt x="291" y="252"/>
                  <a:pt x="291" y="252"/>
                  <a:pt x="291" y="252"/>
                </a:cubicBezTo>
                <a:cubicBezTo>
                  <a:pt x="290" y="253"/>
                  <a:pt x="290" y="253"/>
                  <a:pt x="290" y="253"/>
                </a:cubicBezTo>
                <a:cubicBezTo>
                  <a:pt x="289" y="253"/>
                  <a:pt x="289" y="253"/>
                  <a:pt x="289" y="253"/>
                </a:cubicBezTo>
                <a:cubicBezTo>
                  <a:pt x="289" y="254"/>
                  <a:pt x="289" y="254"/>
                  <a:pt x="289" y="254"/>
                </a:cubicBezTo>
                <a:cubicBezTo>
                  <a:pt x="289" y="254"/>
                  <a:pt x="289" y="254"/>
                  <a:pt x="289" y="254"/>
                </a:cubicBezTo>
                <a:cubicBezTo>
                  <a:pt x="290" y="255"/>
                  <a:pt x="290" y="255"/>
                  <a:pt x="290" y="255"/>
                </a:cubicBezTo>
                <a:cubicBezTo>
                  <a:pt x="289" y="255"/>
                  <a:pt x="289" y="255"/>
                  <a:pt x="289" y="255"/>
                </a:cubicBezTo>
                <a:cubicBezTo>
                  <a:pt x="290" y="256"/>
                  <a:pt x="290" y="256"/>
                  <a:pt x="290" y="256"/>
                </a:cubicBezTo>
                <a:cubicBezTo>
                  <a:pt x="289" y="257"/>
                  <a:pt x="289" y="257"/>
                  <a:pt x="289" y="257"/>
                </a:cubicBezTo>
                <a:cubicBezTo>
                  <a:pt x="288" y="257"/>
                  <a:pt x="288" y="257"/>
                  <a:pt x="288" y="257"/>
                </a:cubicBezTo>
                <a:cubicBezTo>
                  <a:pt x="287" y="256"/>
                  <a:pt x="287" y="256"/>
                  <a:pt x="287" y="256"/>
                </a:cubicBezTo>
                <a:cubicBezTo>
                  <a:pt x="288" y="255"/>
                  <a:pt x="288" y="255"/>
                  <a:pt x="288" y="255"/>
                </a:cubicBezTo>
                <a:cubicBezTo>
                  <a:pt x="287" y="254"/>
                  <a:pt x="287" y="254"/>
                  <a:pt x="287" y="254"/>
                </a:cubicBezTo>
                <a:cubicBezTo>
                  <a:pt x="287" y="254"/>
                  <a:pt x="287" y="254"/>
                  <a:pt x="287" y="254"/>
                </a:cubicBezTo>
                <a:cubicBezTo>
                  <a:pt x="288" y="253"/>
                  <a:pt x="288" y="253"/>
                  <a:pt x="288" y="253"/>
                </a:cubicBezTo>
                <a:cubicBezTo>
                  <a:pt x="287" y="252"/>
                  <a:pt x="287" y="252"/>
                  <a:pt x="287" y="252"/>
                </a:cubicBezTo>
                <a:cubicBezTo>
                  <a:pt x="287" y="251"/>
                  <a:pt x="287" y="251"/>
                  <a:pt x="287" y="251"/>
                </a:cubicBezTo>
                <a:cubicBezTo>
                  <a:pt x="288" y="251"/>
                  <a:pt x="288" y="251"/>
                  <a:pt x="288" y="251"/>
                </a:cubicBezTo>
                <a:cubicBezTo>
                  <a:pt x="288" y="250"/>
                  <a:pt x="288" y="250"/>
                  <a:pt x="288" y="250"/>
                </a:cubicBezTo>
                <a:cubicBezTo>
                  <a:pt x="287" y="250"/>
                  <a:pt x="287" y="250"/>
                  <a:pt x="287" y="250"/>
                </a:cubicBezTo>
                <a:cubicBezTo>
                  <a:pt x="286" y="251"/>
                  <a:pt x="286" y="251"/>
                  <a:pt x="286" y="251"/>
                </a:cubicBezTo>
                <a:cubicBezTo>
                  <a:pt x="286" y="250"/>
                  <a:pt x="286" y="250"/>
                  <a:pt x="286" y="250"/>
                </a:cubicBezTo>
                <a:cubicBezTo>
                  <a:pt x="285" y="250"/>
                  <a:pt x="285" y="250"/>
                  <a:pt x="285" y="250"/>
                </a:cubicBezTo>
                <a:cubicBezTo>
                  <a:pt x="285" y="250"/>
                  <a:pt x="285" y="250"/>
                  <a:pt x="285" y="250"/>
                </a:cubicBezTo>
                <a:cubicBezTo>
                  <a:pt x="285" y="249"/>
                  <a:pt x="285" y="249"/>
                  <a:pt x="285" y="249"/>
                </a:cubicBezTo>
                <a:cubicBezTo>
                  <a:pt x="286" y="249"/>
                  <a:pt x="286" y="249"/>
                  <a:pt x="286" y="249"/>
                </a:cubicBezTo>
                <a:cubicBezTo>
                  <a:pt x="286" y="248"/>
                  <a:pt x="286" y="248"/>
                  <a:pt x="286" y="248"/>
                </a:cubicBezTo>
                <a:cubicBezTo>
                  <a:pt x="286" y="248"/>
                  <a:pt x="286" y="248"/>
                  <a:pt x="286" y="248"/>
                </a:cubicBezTo>
                <a:cubicBezTo>
                  <a:pt x="287" y="247"/>
                  <a:pt x="287" y="247"/>
                  <a:pt x="287" y="247"/>
                </a:cubicBezTo>
                <a:cubicBezTo>
                  <a:pt x="287" y="246"/>
                  <a:pt x="287" y="246"/>
                  <a:pt x="287" y="246"/>
                </a:cubicBezTo>
                <a:cubicBezTo>
                  <a:pt x="287" y="246"/>
                  <a:pt x="287" y="246"/>
                  <a:pt x="287" y="246"/>
                </a:cubicBezTo>
                <a:cubicBezTo>
                  <a:pt x="286" y="246"/>
                  <a:pt x="286" y="246"/>
                  <a:pt x="286" y="246"/>
                </a:cubicBezTo>
                <a:cubicBezTo>
                  <a:pt x="286" y="246"/>
                  <a:pt x="286" y="246"/>
                  <a:pt x="286" y="246"/>
                </a:cubicBezTo>
                <a:cubicBezTo>
                  <a:pt x="286" y="245"/>
                  <a:pt x="286" y="245"/>
                  <a:pt x="286" y="245"/>
                </a:cubicBezTo>
                <a:cubicBezTo>
                  <a:pt x="287" y="245"/>
                  <a:pt x="287" y="245"/>
                  <a:pt x="287" y="245"/>
                </a:cubicBezTo>
                <a:cubicBezTo>
                  <a:pt x="287" y="244"/>
                  <a:pt x="287" y="244"/>
                  <a:pt x="287" y="244"/>
                </a:cubicBezTo>
                <a:cubicBezTo>
                  <a:pt x="287" y="243"/>
                  <a:pt x="287" y="243"/>
                  <a:pt x="287" y="243"/>
                </a:cubicBezTo>
                <a:close/>
                <a:moveTo>
                  <a:pt x="295" y="242"/>
                </a:moveTo>
                <a:cubicBezTo>
                  <a:pt x="294" y="241"/>
                  <a:pt x="294" y="241"/>
                  <a:pt x="294" y="241"/>
                </a:cubicBezTo>
                <a:cubicBezTo>
                  <a:pt x="295" y="240"/>
                  <a:pt x="295" y="240"/>
                  <a:pt x="295" y="240"/>
                </a:cubicBezTo>
                <a:cubicBezTo>
                  <a:pt x="295" y="239"/>
                  <a:pt x="295" y="239"/>
                  <a:pt x="295" y="239"/>
                </a:cubicBezTo>
                <a:cubicBezTo>
                  <a:pt x="296" y="239"/>
                  <a:pt x="296" y="239"/>
                  <a:pt x="296" y="239"/>
                </a:cubicBezTo>
                <a:cubicBezTo>
                  <a:pt x="296" y="241"/>
                  <a:pt x="296" y="241"/>
                  <a:pt x="296" y="241"/>
                </a:cubicBezTo>
                <a:cubicBezTo>
                  <a:pt x="295" y="242"/>
                  <a:pt x="295" y="242"/>
                  <a:pt x="295" y="242"/>
                </a:cubicBezTo>
                <a:close/>
                <a:moveTo>
                  <a:pt x="292" y="243"/>
                </a:moveTo>
                <a:cubicBezTo>
                  <a:pt x="293" y="241"/>
                  <a:pt x="293" y="241"/>
                  <a:pt x="293" y="241"/>
                </a:cubicBezTo>
                <a:cubicBezTo>
                  <a:pt x="294" y="241"/>
                  <a:pt x="294" y="241"/>
                  <a:pt x="294" y="241"/>
                </a:cubicBezTo>
                <a:cubicBezTo>
                  <a:pt x="294" y="243"/>
                  <a:pt x="294" y="243"/>
                  <a:pt x="294" y="243"/>
                </a:cubicBezTo>
                <a:cubicBezTo>
                  <a:pt x="293" y="243"/>
                  <a:pt x="293" y="243"/>
                  <a:pt x="293" y="243"/>
                </a:cubicBezTo>
                <a:cubicBezTo>
                  <a:pt x="292" y="243"/>
                  <a:pt x="292" y="243"/>
                  <a:pt x="292" y="243"/>
                </a:cubicBezTo>
                <a:close/>
                <a:moveTo>
                  <a:pt x="292" y="242"/>
                </a:moveTo>
                <a:cubicBezTo>
                  <a:pt x="292" y="241"/>
                  <a:pt x="292" y="241"/>
                  <a:pt x="292" y="241"/>
                </a:cubicBezTo>
                <a:cubicBezTo>
                  <a:pt x="294" y="239"/>
                  <a:pt x="294" y="239"/>
                  <a:pt x="294" y="239"/>
                </a:cubicBezTo>
                <a:cubicBezTo>
                  <a:pt x="294" y="240"/>
                  <a:pt x="294" y="240"/>
                  <a:pt x="294" y="240"/>
                </a:cubicBezTo>
                <a:cubicBezTo>
                  <a:pt x="293" y="241"/>
                  <a:pt x="293" y="241"/>
                  <a:pt x="293" y="241"/>
                </a:cubicBezTo>
                <a:cubicBezTo>
                  <a:pt x="292" y="242"/>
                  <a:pt x="292" y="242"/>
                  <a:pt x="292" y="242"/>
                </a:cubicBezTo>
                <a:cubicBezTo>
                  <a:pt x="292" y="242"/>
                  <a:pt x="292" y="242"/>
                  <a:pt x="292" y="242"/>
                </a:cubicBezTo>
                <a:close/>
                <a:moveTo>
                  <a:pt x="290" y="239"/>
                </a:moveTo>
                <a:cubicBezTo>
                  <a:pt x="291" y="238"/>
                  <a:pt x="291" y="238"/>
                  <a:pt x="291" y="238"/>
                </a:cubicBezTo>
                <a:cubicBezTo>
                  <a:pt x="293" y="238"/>
                  <a:pt x="293" y="238"/>
                  <a:pt x="293" y="238"/>
                </a:cubicBezTo>
                <a:cubicBezTo>
                  <a:pt x="293" y="239"/>
                  <a:pt x="293" y="239"/>
                  <a:pt x="293" y="239"/>
                </a:cubicBezTo>
                <a:cubicBezTo>
                  <a:pt x="292" y="240"/>
                  <a:pt x="292" y="240"/>
                  <a:pt x="292" y="240"/>
                </a:cubicBezTo>
                <a:cubicBezTo>
                  <a:pt x="291" y="240"/>
                  <a:pt x="291" y="240"/>
                  <a:pt x="291" y="240"/>
                </a:cubicBezTo>
                <a:cubicBezTo>
                  <a:pt x="290" y="239"/>
                  <a:pt x="290" y="239"/>
                  <a:pt x="290" y="239"/>
                </a:cubicBezTo>
                <a:close/>
                <a:moveTo>
                  <a:pt x="292" y="236"/>
                </a:moveTo>
                <a:cubicBezTo>
                  <a:pt x="293" y="234"/>
                  <a:pt x="293" y="234"/>
                  <a:pt x="293" y="234"/>
                </a:cubicBezTo>
                <a:cubicBezTo>
                  <a:pt x="294" y="233"/>
                  <a:pt x="294" y="233"/>
                  <a:pt x="294" y="233"/>
                </a:cubicBezTo>
                <a:cubicBezTo>
                  <a:pt x="295" y="235"/>
                  <a:pt x="295" y="235"/>
                  <a:pt x="295" y="235"/>
                </a:cubicBezTo>
                <a:cubicBezTo>
                  <a:pt x="294" y="236"/>
                  <a:pt x="294" y="236"/>
                  <a:pt x="294" y="236"/>
                </a:cubicBezTo>
                <a:cubicBezTo>
                  <a:pt x="292" y="237"/>
                  <a:pt x="292" y="237"/>
                  <a:pt x="292" y="237"/>
                </a:cubicBezTo>
                <a:cubicBezTo>
                  <a:pt x="292" y="236"/>
                  <a:pt x="292" y="236"/>
                  <a:pt x="292" y="236"/>
                </a:cubicBezTo>
                <a:cubicBezTo>
                  <a:pt x="292" y="236"/>
                  <a:pt x="292" y="236"/>
                  <a:pt x="292" y="236"/>
                </a:cubicBezTo>
                <a:close/>
                <a:moveTo>
                  <a:pt x="288" y="237"/>
                </a:moveTo>
                <a:cubicBezTo>
                  <a:pt x="288" y="236"/>
                  <a:pt x="288" y="236"/>
                  <a:pt x="288" y="236"/>
                </a:cubicBezTo>
                <a:cubicBezTo>
                  <a:pt x="289" y="233"/>
                  <a:pt x="289" y="233"/>
                  <a:pt x="289" y="233"/>
                </a:cubicBezTo>
                <a:cubicBezTo>
                  <a:pt x="289" y="232"/>
                  <a:pt x="289" y="232"/>
                  <a:pt x="289" y="232"/>
                </a:cubicBezTo>
                <a:cubicBezTo>
                  <a:pt x="288" y="231"/>
                  <a:pt x="288" y="231"/>
                  <a:pt x="288" y="231"/>
                </a:cubicBezTo>
                <a:cubicBezTo>
                  <a:pt x="288" y="230"/>
                  <a:pt x="288" y="230"/>
                  <a:pt x="288" y="230"/>
                </a:cubicBezTo>
                <a:cubicBezTo>
                  <a:pt x="288" y="230"/>
                  <a:pt x="288" y="230"/>
                  <a:pt x="288" y="230"/>
                </a:cubicBezTo>
                <a:cubicBezTo>
                  <a:pt x="288" y="229"/>
                  <a:pt x="288" y="229"/>
                  <a:pt x="288" y="229"/>
                </a:cubicBezTo>
                <a:cubicBezTo>
                  <a:pt x="290" y="229"/>
                  <a:pt x="290" y="229"/>
                  <a:pt x="290" y="229"/>
                </a:cubicBezTo>
                <a:cubicBezTo>
                  <a:pt x="291" y="230"/>
                  <a:pt x="291" y="230"/>
                  <a:pt x="291" y="230"/>
                </a:cubicBezTo>
                <a:cubicBezTo>
                  <a:pt x="292" y="230"/>
                  <a:pt x="292" y="230"/>
                  <a:pt x="292" y="230"/>
                </a:cubicBezTo>
                <a:cubicBezTo>
                  <a:pt x="293" y="231"/>
                  <a:pt x="293" y="231"/>
                  <a:pt x="293" y="231"/>
                </a:cubicBezTo>
                <a:cubicBezTo>
                  <a:pt x="293" y="233"/>
                  <a:pt x="293" y="233"/>
                  <a:pt x="293" y="233"/>
                </a:cubicBezTo>
                <a:cubicBezTo>
                  <a:pt x="292" y="235"/>
                  <a:pt x="292" y="235"/>
                  <a:pt x="292" y="235"/>
                </a:cubicBezTo>
                <a:cubicBezTo>
                  <a:pt x="291" y="235"/>
                  <a:pt x="291" y="235"/>
                  <a:pt x="291" y="235"/>
                </a:cubicBezTo>
                <a:cubicBezTo>
                  <a:pt x="291" y="233"/>
                  <a:pt x="291" y="233"/>
                  <a:pt x="291" y="233"/>
                </a:cubicBezTo>
                <a:cubicBezTo>
                  <a:pt x="291" y="233"/>
                  <a:pt x="291" y="233"/>
                  <a:pt x="291" y="233"/>
                </a:cubicBezTo>
                <a:cubicBezTo>
                  <a:pt x="291" y="235"/>
                  <a:pt x="291" y="235"/>
                  <a:pt x="291" y="235"/>
                </a:cubicBezTo>
                <a:cubicBezTo>
                  <a:pt x="290" y="235"/>
                  <a:pt x="290" y="235"/>
                  <a:pt x="290" y="235"/>
                </a:cubicBezTo>
                <a:cubicBezTo>
                  <a:pt x="291" y="236"/>
                  <a:pt x="291" y="236"/>
                  <a:pt x="291" y="236"/>
                </a:cubicBezTo>
                <a:cubicBezTo>
                  <a:pt x="290" y="237"/>
                  <a:pt x="290" y="237"/>
                  <a:pt x="290" y="237"/>
                </a:cubicBezTo>
                <a:cubicBezTo>
                  <a:pt x="289" y="236"/>
                  <a:pt x="289" y="236"/>
                  <a:pt x="289" y="236"/>
                </a:cubicBezTo>
                <a:cubicBezTo>
                  <a:pt x="289" y="237"/>
                  <a:pt x="289" y="237"/>
                  <a:pt x="289" y="237"/>
                </a:cubicBezTo>
                <a:cubicBezTo>
                  <a:pt x="288" y="237"/>
                  <a:pt x="288" y="237"/>
                  <a:pt x="288" y="237"/>
                </a:cubicBezTo>
                <a:close/>
                <a:moveTo>
                  <a:pt x="285" y="235"/>
                </a:moveTo>
                <a:cubicBezTo>
                  <a:pt x="284" y="235"/>
                  <a:pt x="284" y="235"/>
                  <a:pt x="284" y="235"/>
                </a:cubicBezTo>
                <a:cubicBezTo>
                  <a:pt x="285" y="233"/>
                  <a:pt x="285" y="233"/>
                  <a:pt x="285" y="233"/>
                </a:cubicBezTo>
                <a:cubicBezTo>
                  <a:pt x="284" y="233"/>
                  <a:pt x="284" y="233"/>
                  <a:pt x="284" y="233"/>
                </a:cubicBezTo>
                <a:cubicBezTo>
                  <a:pt x="284" y="232"/>
                  <a:pt x="284" y="232"/>
                  <a:pt x="284" y="232"/>
                </a:cubicBezTo>
                <a:cubicBezTo>
                  <a:pt x="285" y="231"/>
                  <a:pt x="285" y="231"/>
                  <a:pt x="285" y="231"/>
                </a:cubicBezTo>
                <a:cubicBezTo>
                  <a:pt x="286" y="231"/>
                  <a:pt x="286" y="231"/>
                  <a:pt x="286" y="231"/>
                </a:cubicBezTo>
                <a:cubicBezTo>
                  <a:pt x="286" y="230"/>
                  <a:pt x="286" y="230"/>
                  <a:pt x="286" y="230"/>
                </a:cubicBezTo>
                <a:cubicBezTo>
                  <a:pt x="286" y="230"/>
                  <a:pt x="286" y="230"/>
                  <a:pt x="286" y="230"/>
                </a:cubicBezTo>
                <a:cubicBezTo>
                  <a:pt x="287" y="231"/>
                  <a:pt x="287" y="231"/>
                  <a:pt x="287" y="231"/>
                </a:cubicBezTo>
                <a:cubicBezTo>
                  <a:pt x="287" y="232"/>
                  <a:pt x="287" y="232"/>
                  <a:pt x="287" y="232"/>
                </a:cubicBezTo>
                <a:cubicBezTo>
                  <a:pt x="287" y="233"/>
                  <a:pt x="287" y="233"/>
                  <a:pt x="287" y="233"/>
                </a:cubicBezTo>
                <a:cubicBezTo>
                  <a:pt x="288" y="233"/>
                  <a:pt x="288" y="233"/>
                  <a:pt x="288" y="233"/>
                </a:cubicBezTo>
                <a:cubicBezTo>
                  <a:pt x="288" y="233"/>
                  <a:pt x="288" y="233"/>
                  <a:pt x="288" y="233"/>
                </a:cubicBezTo>
                <a:cubicBezTo>
                  <a:pt x="287" y="236"/>
                  <a:pt x="287" y="236"/>
                  <a:pt x="287" y="236"/>
                </a:cubicBezTo>
                <a:cubicBezTo>
                  <a:pt x="285" y="238"/>
                  <a:pt x="285" y="238"/>
                  <a:pt x="285" y="238"/>
                </a:cubicBezTo>
                <a:cubicBezTo>
                  <a:pt x="285" y="239"/>
                  <a:pt x="285" y="239"/>
                  <a:pt x="285" y="239"/>
                </a:cubicBezTo>
                <a:cubicBezTo>
                  <a:pt x="285" y="240"/>
                  <a:pt x="285" y="240"/>
                  <a:pt x="285" y="240"/>
                </a:cubicBezTo>
                <a:cubicBezTo>
                  <a:pt x="283" y="240"/>
                  <a:pt x="283" y="240"/>
                  <a:pt x="283" y="240"/>
                </a:cubicBezTo>
                <a:cubicBezTo>
                  <a:pt x="284" y="239"/>
                  <a:pt x="284" y="239"/>
                  <a:pt x="284" y="239"/>
                </a:cubicBezTo>
                <a:cubicBezTo>
                  <a:pt x="283" y="238"/>
                  <a:pt x="283" y="238"/>
                  <a:pt x="283" y="238"/>
                </a:cubicBezTo>
                <a:cubicBezTo>
                  <a:pt x="283" y="240"/>
                  <a:pt x="283" y="240"/>
                  <a:pt x="283" y="240"/>
                </a:cubicBezTo>
                <a:cubicBezTo>
                  <a:pt x="282" y="240"/>
                  <a:pt x="282" y="240"/>
                  <a:pt x="282" y="240"/>
                </a:cubicBezTo>
                <a:cubicBezTo>
                  <a:pt x="282" y="239"/>
                  <a:pt x="282" y="239"/>
                  <a:pt x="282" y="239"/>
                </a:cubicBezTo>
                <a:cubicBezTo>
                  <a:pt x="283" y="238"/>
                  <a:pt x="283" y="238"/>
                  <a:pt x="283" y="238"/>
                </a:cubicBezTo>
                <a:cubicBezTo>
                  <a:pt x="283" y="237"/>
                  <a:pt x="283" y="237"/>
                  <a:pt x="283" y="237"/>
                </a:cubicBezTo>
                <a:cubicBezTo>
                  <a:pt x="283" y="236"/>
                  <a:pt x="283" y="236"/>
                  <a:pt x="283" y="236"/>
                </a:cubicBezTo>
                <a:cubicBezTo>
                  <a:pt x="284" y="237"/>
                  <a:pt x="284" y="237"/>
                  <a:pt x="284" y="237"/>
                </a:cubicBezTo>
                <a:cubicBezTo>
                  <a:pt x="285" y="236"/>
                  <a:pt x="285" y="236"/>
                  <a:pt x="285" y="236"/>
                </a:cubicBezTo>
                <a:cubicBezTo>
                  <a:pt x="285" y="235"/>
                  <a:pt x="285" y="235"/>
                  <a:pt x="285" y="235"/>
                </a:cubicBezTo>
                <a:close/>
                <a:moveTo>
                  <a:pt x="284" y="224"/>
                </a:moveTo>
                <a:cubicBezTo>
                  <a:pt x="285" y="225"/>
                  <a:pt x="285" y="225"/>
                  <a:pt x="285" y="225"/>
                </a:cubicBezTo>
                <a:cubicBezTo>
                  <a:pt x="284" y="225"/>
                  <a:pt x="284" y="225"/>
                  <a:pt x="284" y="225"/>
                </a:cubicBezTo>
                <a:cubicBezTo>
                  <a:pt x="284" y="224"/>
                  <a:pt x="284" y="224"/>
                  <a:pt x="284" y="224"/>
                </a:cubicBezTo>
                <a:close/>
                <a:moveTo>
                  <a:pt x="281" y="225"/>
                </a:moveTo>
                <a:cubicBezTo>
                  <a:pt x="282" y="224"/>
                  <a:pt x="282" y="224"/>
                  <a:pt x="282" y="224"/>
                </a:cubicBezTo>
                <a:cubicBezTo>
                  <a:pt x="283" y="224"/>
                  <a:pt x="283" y="224"/>
                  <a:pt x="283" y="224"/>
                </a:cubicBezTo>
                <a:cubicBezTo>
                  <a:pt x="283" y="224"/>
                  <a:pt x="283" y="224"/>
                  <a:pt x="283" y="224"/>
                </a:cubicBezTo>
                <a:cubicBezTo>
                  <a:pt x="284" y="226"/>
                  <a:pt x="284" y="226"/>
                  <a:pt x="284" y="226"/>
                </a:cubicBezTo>
                <a:cubicBezTo>
                  <a:pt x="284" y="228"/>
                  <a:pt x="284" y="228"/>
                  <a:pt x="284" y="228"/>
                </a:cubicBezTo>
                <a:cubicBezTo>
                  <a:pt x="283" y="230"/>
                  <a:pt x="283" y="230"/>
                  <a:pt x="283" y="230"/>
                </a:cubicBezTo>
                <a:cubicBezTo>
                  <a:pt x="283" y="230"/>
                  <a:pt x="283" y="230"/>
                  <a:pt x="283" y="230"/>
                </a:cubicBezTo>
                <a:cubicBezTo>
                  <a:pt x="283" y="233"/>
                  <a:pt x="283" y="233"/>
                  <a:pt x="283" y="233"/>
                </a:cubicBezTo>
                <a:cubicBezTo>
                  <a:pt x="282" y="233"/>
                  <a:pt x="282" y="233"/>
                  <a:pt x="282" y="233"/>
                </a:cubicBezTo>
                <a:cubicBezTo>
                  <a:pt x="281" y="235"/>
                  <a:pt x="281" y="235"/>
                  <a:pt x="281" y="235"/>
                </a:cubicBezTo>
                <a:cubicBezTo>
                  <a:pt x="281" y="237"/>
                  <a:pt x="281" y="237"/>
                  <a:pt x="281" y="237"/>
                </a:cubicBezTo>
                <a:cubicBezTo>
                  <a:pt x="281" y="238"/>
                  <a:pt x="281" y="238"/>
                  <a:pt x="281" y="238"/>
                </a:cubicBezTo>
                <a:cubicBezTo>
                  <a:pt x="280" y="238"/>
                  <a:pt x="280" y="238"/>
                  <a:pt x="280" y="238"/>
                </a:cubicBezTo>
                <a:cubicBezTo>
                  <a:pt x="280" y="237"/>
                  <a:pt x="280" y="237"/>
                  <a:pt x="280" y="237"/>
                </a:cubicBezTo>
                <a:cubicBezTo>
                  <a:pt x="280" y="236"/>
                  <a:pt x="280" y="236"/>
                  <a:pt x="280" y="236"/>
                </a:cubicBezTo>
                <a:cubicBezTo>
                  <a:pt x="280" y="236"/>
                  <a:pt x="280" y="236"/>
                  <a:pt x="280" y="236"/>
                </a:cubicBezTo>
                <a:cubicBezTo>
                  <a:pt x="279" y="234"/>
                  <a:pt x="279" y="234"/>
                  <a:pt x="279" y="234"/>
                </a:cubicBezTo>
                <a:cubicBezTo>
                  <a:pt x="280" y="233"/>
                  <a:pt x="280" y="233"/>
                  <a:pt x="280" y="233"/>
                </a:cubicBezTo>
                <a:cubicBezTo>
                  <a:pt x="281" y="233"/>
                  <a:pt x="281" y="233"/>
                  <a:pt x="281" y="233"/>
                </a:cubicBezTo>
                <a:cubicBezTo>
                  <a:pt x="281" y="232"/>
                  <a:pt x="281" y="232"/>
                  <a:pt x="281" y="232"/>
                </a:cubicBezTo>
                <a:cubicBezTo>
                  <a:pt x="281" y="232"/>
                  <a:pt x="281" y="232"/>
                  <a:pt x="281" y="232"/>
                </a:cubicBezTo>
                <a:cubicBezTo>
                  <a:pt x="281" y="232"/>
                  <a:pt x="281" y="232"/>
                  <a:pt x="281" y="232"/>
                </a:cubicBezTo>
                <a:cubicBezTo>
                  <a:pt x="280" y="232"/>
                  <a:pt x="280" y="232"/>
                  <a:pt x="280" y="232"/>
                </a:cubicBezTo>
                <a:cubicBezTo>
                  <a:pt x="280" y="231"/>
                  <a:pt x="280" y="231"/>
                  <a:pt x="280" y="231"/>
                </a:cubicBezTo>
                <a:cubicBezTo>
                  <a:pt x="280" y="231"/>
                  <a:pt x="280" y="231"/>
                  <a:pt x="280" y="231"/>
                </a:cubicBezTo>
                <a:cubicBezTo>
                  <a:pt x="281" y="230"/>
                  <a:pt x="281" y="230"/>
                  <a:pt x="281" y="230"/>
                </a:cubicBezTo>
                <a:cubicBezTo>
                  <a:pt x="279" y="230"/>
                  <a:pt x="279" y="230"/>
                  <a:pt x="279" y="230"/>
                </a:cubicBezTo>
                <a:cubicBezTo>
                  <a:pt x="279" y="229"/>
                  <a:pt x="279" y="229"/>
                  <a:pt x="279" y="229"/>
                </a:cubicBezTo>
                <a:cubicBezTo>
                  <a:pt x="280" y="229"/>
                  <a:pt x="280" y="229"/>
                  <a:pt x="280" y="229"/>
                </a:cubicBezTo>
                <a:cubicBezTo>
                  <a:pt x="281" y="228"/>
                  <a:pt x="281" y="228"/>
                  <a:pt x="281" y="228"/>
                </a:cubicBezTo>
                <a:cubicBezTo>
                  <a:pt x="281" y="227"/>
                  <a:pt x="281" y="227"/>
                  <a:pt x="281" y="227"/>
                </a:cubicBezTo>
                <a:cubicBezTo>
                  <a:pt x="282" y="226"/>
                  <a:pt x="282" y="226"/>
                  <a:pt x="282" y="226"/>
                </a:cubicBezTo>
                <a:cubicBezTo>
                  <a:pt x="281" y="226"/>
                  <a:pt x="281" y="226"/>
                  <a:pt x="281" y="226"/>
                </a:cubicBezTo>
                <a:cubicBezTo>
                  <a:pt x="281" y="225"/>
                  <a:pt x="281" y="225"/>
                  <a:pt x="281" y="225"/>
                </a:cubicBezTo>
                <a:close/>
                <a:moveTo>
                  <a:pt x="279" y="225"/>
                </a:moveTo>
                <a:cubicBezTo>
                  <a:pt x="279" y="224"/>
                  <a:pt x="279" y="224"/>
                  <a:pt x="279" y="224"/>
                </a:cubicBezTo>
                <a:cubicBezTo>
                  <a:pt x="280" y="225"/>
                  <a:pt x="280" y="225"/>
                  <a:pt x="280" y="225"/>
                </a:cubicBezTo>
                <a:cubicBezTo>
                  <a:pt x="279" y="226"/>
                  <a:pt x="279" y="226"/>
                  <a:pt x="279" y="226"/>
                </a:cubicBezTo>
                <a:cubicBezTo>
                  <a:pt x="279" y="228"/>
                  <a:pt x="279" y="228"/>
                  <a:pt x="279" y="228"/>
                </a:cubicBezTo>
                <a:cubicBezTo>
                  <a:pt x="278" y="228"/>
                  <a:pt x="278" y="228"/>
                  <a:pt x="278" y="228"/>
                </a:cubicBezTo>
                <a:cubicBezTo>
                  <a:pt x="278" y="227"/>
                  <a:pt x="278" y="227"/>
                  <a:pt x="278" y="227"/>
                </a:cubicBezTo>
                <a:cubicBezTo>
                  <a:pt x="279" y="226"/>
                  <a:pt x="279" y="226"/>
                  <a:pt x="279" y="226"/>
                </a:cubicBezTo>
                <a:cubicBezTo>
                  <a:pt x="278" y="226"/>
                  <a:pt x="278" y="226"/>
                  <a:pt x="278" y="226"/>
                </a:cubicBezTo>
                <a:cubicBezTo>
                  <a:pt x="279" y="225"/>
                  <a:pt x="279" y="225"/>
                  <a:pt x="279" y="225"/>
                </a:cubicBezTo>
                <a:close/>
                <a:moveTo>
                  <a:pt x="285" y="228"/>
                </a:moveTo>
                <a:cubicBezTo>
                  <a:pt x="285" y="227"/>
                  <a:pt x="285" y="227"/>
                  <a:pt x="285" y="227"/>
                </a:cubicBezTo>
                <a:cubicBezTo>
                  <a:pt x="285" y="225"/>
                  <a:pt x="285" y="225"/>
                  <a:pt x="285" y="225"/>
                </a:cubicBezTo>
                <a:cubicBezTo>
                  <a:pt x="286" y="225"/>
                  <a:pt x="286" y="225"/>
                  <a:pt x="286" y="225"/>
                </a:cubicBezTo>
                <a:cubicBezTo>
                  <a:pt x="288" y="225"/>
                  <a:pt x="288" y="225"/>
                  <a:pt x="288" y="225"/>
                </a:cubicBezTo>
                <a:cubicBezTo>
                  <a:pt x="287" y="224"/>
                  <a:pt x="287" y="224"/>
                  <a:pt x="287" y="224"/>
                </a:cubicBezTo>
                <a:cubicBezTo>
                  <a:pt x="288" y="223"/>
                  <a:pt x="288" y="223"/>
                  <a:pt x="288" y="223"/>
                </a:cubicBezTo>
                <a:cubicBezTo>
                  <a:pt x="287" y="222"/>
                  <a:pt x="287" y="222"/>
                  <a:pt x="287" y="222"/>
                </a:cubicBezTo>
                <a:cubicBezTo>
                  <a:pt x="287" y="220"/>
                  <a:pt x="287" y="220"/>
                  <a:pt x="287" y="220"/>
                </a:cubicBezTo>
                <a:cubicBezTo>
                  <a:pt x="288" y="219"/>
                  <a:pt x="288" y="219"/>
                  <a:pt x="288" y="219"/>
                </a:cubicBezTo>
                <a:cubicBezTo>
                  <a:pt x="288" y="215"/>
                  <a:pt x="288" y="215"/>
                  <a:pt x="288" y="215"/>
                </a:cubicBezTo>
                <a:cubicBezTo>
                  <a:pt x="289" y="213"/>
                  <a:pt x="289" y="213"/>
                  <a:pt x="289" y="213"/>
                </a:cubicBezTo>
                <a:cubicBezTo>
                  <a:pt x="290" y="214"/>
                  <a:pt x="290" y="214"/>
                  <a:pt x="290" y="214"/>
                </a:cubicBezTo>
                <a:cubicBezTo>
                  <a:pt x="290" y="215"/>
                  <a:pt x="290" y="215"/>
                  <a:pt x="290" y="215"/>
                </a:cubicBezTo>
                <a:cubicBezTo>
                  <a:pt x="291" y="216"/>
                  <a:pt x="291" y="216"/>
                  <a:pt x="291" y="216"/>
                </a:cubicBezTo>
                <a:cubicBezTo>
                  <a:pt x="292" y="217"/>
                  <a:pt x="292" y="217"/>
                  <a:pt x="292" y="217"/>
                </a:cubicBezTo>
                <a:cubicBezTo>
                  <a:pt x="292" y="222"/>
                  <a:pt x="292" y="222"/>
                  <a:pt x="292" y="222"/>
                </a:cubicBezTo>
                <a:cubicBezTo>
                  <a:pt x="292" y="223"/>
                  <a:pt x="292" y="223"/>
                  <a:pt x="292" y="223"/>
                </a:cubicBezTo>
                <a:cubicBezTo>
                  <a:pt x="291" y="223"/>
                  <a:pt x="291" y="223"/>
                  <a:pt x="291" y="223"/>
                </a:cubicBezTo>
                <a:cubicBezTo>
                  <a:pt x="291" y="220"/>
                  <a:pt x="291" y="220"/>
                  <a:pt x="291" y="220"/>
                </a:cubicBezTo>
                <a:cubicBezTo>
                  <a:pt x="291" y="218"/>
                  <a:pt x="291" y="218"/>
                  <a:pt x="291" y="218"/>
                </a:cubicBezTo>
                <a:cubicBezTo>
                  <a:pt x="290" y="219"/>
                  <a:pt x="290" y="219"/>
                  <a:pt x="290" y="219"/>
                </a:cubicBezTo>
                <a:cubicBezTo>
                  <a:pt x="290" y="223"/>
                  <a:pt x="290" y="223"/>
                  <a:pt x="290" y="223"/>
                </a:cubicBezTo>
                <a:cubicBezTo>
                  <a:pt x="290" y="224"/>
                  <a:pt x="290" y="224"/>
                  <a:pt x="290" y="224"/>
                </a:cubicBezTo>
                <a:cubicBezTo>
                  <a:pt x="290" y="225"/>
                  <a:pt x="290" y="225"/>
                  <a:pt x="290" y="225"/>
                </a:cubicBezTo>
                <a:cubicBezTo>
                  <a:pt x="289" y="225"/>
                  <a:pt x="289" y="225"/>
                  <a:pt x="289" y="225"/>
                </a:cubicBezTo>
                <a:cubicBezTo>
                  <a:pt x="288" y="225"/>
                  <a:pt x="288" y="225"/>
                  <a:pt x="288" y="225"/>
                </a:cubicBezTo>
                <a:cubicBezTo>
                  <a:pt x="288" y="227"/>
                  <a:pt x="288" y="227"/>
                  <a:pt x="288" y="227"/>
                </a:cubicBezTo>
                <a:cubicBezTo>
                  <a:pt x="286" y="228"/>
                  <a:pt x="286" y="228"/>
                  <a:pt x="286" y="228"/>
                </a:cubicBezTo>
                <a:cubicBezTo>
                  <a:pt x="285" y="229"/>
                  <a:pt x="285" y="229"/>
                  <a:pt x="285" y="229"/>
                </a:cubicBezTo>
                <a:cubicBezTo>
                  <a:pt x="285" y="228"/>
                  <a:pt x="285" y="228"/>
                  <a:pt x="285" y="228"/>
                </a:cubicBezTo>
                <a:close/>
                <a:moveTo>
                  <a:pt x="281" y="214"/>
                </a:moveTo>
                <a:cubicBezTo>
                  <a:pt x="283" y="213"/>
                  <a:pt x="283" y="213"/>
                  <a:pt x="283" y="213"/>
                </a:cubicBezTo>
                <a:cubicBezTo>
                  <a:pt x="284" y="214"/>
                  <a:pt x="284" y="214"/>
                  <a:pt x="284" y="214"/>
                </a:cubicBezTo>
                <a:cubicBezTo>
                  <a:pt x="284" y="215"/>
                  <a:pt x="284" y="215"/>
                  <a:pt x="284" y="215"/>
                </a:cubicBezTo>
                <a:cubicBezTo>
                  <a:pt x="284" y="216"/>
                  <a:pt x="284" y="216"/>
                  <a:pt x="284" y="216"/>
                </a:cubicBezTo>
                <a:cubicBezTo>
                  <a:pt x="284" y="217"/>
                  <a:pt x="284" y="217"/>
                  <a:pt x="284" y="217"/>
                </a:cubicBezTo>
                <a:cubicBezTo>
                  <a:pt x="285" y="216"/>
                  <a:pt x="285" y="216"/>
                  <a:pt x="285" y="216"/>
                </a:cubicBezTo>
                <a:cubicBezTo>
                  <a:pt x="286" y="215"/>
                  <a:pt x="286" y="215"/>
                  <a:pt x="286" y="215"/>
                </a:cubicBezTo>
                <a:cubicBezTo>
                  <a:pt x="287" y="217"/>
                  <a:pt x="287" y="217"/>
                  <a:pt x="287" y="217"/>
                </a:cubicBezTo>
                <a:cubicBezTo>
                  <a:pt x="287" y="217"/>
                  <a:pt x="287" y="217"/>
                  <a:pt x="287" y="217"/>
                </a:cubicBezTo>
                <a:cubicBezTo>
                  <a:pt x="286" y="218"/>
                  <a:pt x="286" y="218"/>
                  <a:pt x="286" y="218"/>
                </a:cubicBezTo>
                <a:cubicBezTo>
                  <a:pt x="286" y="219"/>
                  <a:pt x="286" y="219"/>
                  <a:pt x="286" y="219"/>
                </a:cubicBezTo>
                <a:cubicBezTo>
                  <a:pt x="286" y="219"/>
                  <a:pt x="286" y="219"/>
                  <a:pt x="286" y="219"/>
                </a:cubicBezTo>
                <a:cubicBezTo>
                  <a:pt x="285" y="219"/>
                  <a:pt x="285" y="219"/>
                  <a:pt x="285" y="219"/>
                </a:cubicBezTo>
                <a:cubicBezTo>
                  <a:pt x="284" y="218"/>
                  <a:pt x="284" y="218"/>
                  <a:pt x="284" y="218"/>
                </a:cubicBezTo>
                <a:cubicBezTo>
                  <a:pt x="282" y="216"/>
                  <a:pt x="282" y="216"/>
                  <a:pt x="282" y="216"/>
                </a:cubicBezTo>
                <a:cubicBezTo>
                  <a:pt x="282" y="217"/>
                  <a:pt x="282" y="217"/>
                  <a:pt x="282" y="217"/>
                </a:cubicBezTo>
                <a:cubicBezTo>
                  <a:pt x="284" y="219"/>
                  <a:pt x="284" y="219"/>
                  <a:pt x="284" y="219"/>
                </a:cubicBezTo>
                <a:cubicBezTo>
                  <a:pt x="284" y="220"/>
                  <a:pt x="284" y="220"/>
                  <a:pt x="284" y="220"/>
                </a:cubicBezTo>
                <a:cubicBezTo>
                  <a:pt x="285" y="220"/>
                  <a:pt x="285" y="220"/>
                  <a:pt x="285" y="220"/>
                </a:cubicBezTo>
                <a:cubicBezTo>
                  <a:pt x="286" y="221"/>
                  <a:pt x="286" y="221"/>
                  <a:pt x="286" y="221"/>
                </a:cubicBezTo>
                <a:cubicBezTo>
                  <a:pt x="285" y="222"/>
                  <a:pt x="285" y="222"/>
                  <a:pt x="285" y="222"/>
                </a:cubicBezTo>
                <a:cubicBezTo>
                  <a:pt x="285" y="224"/>
                  <a:pt x="285" y="224"/>
                  <a:pt x="285" y="224"/>
                </a:cubicBezTo>
                <a:cubicBezTo>
                  <a:pt x="284" y="224"/>
                  <a:pt x="284" y="224"/>
                  <a:pt x="284" y="224"/>
                </a:cubicBezTo>
                <a:cubicBezTo>
                  <a:pt x="283" y="222"/>
                  <a:pt x="283" y="222"/>
                  <a:pt x="283" y="222"/>
                </a:cubicBezTo>
                <a:cubicBezTo>
                  <a:pt x="283" y="221"/>
                  <a:pt x="283" y="221"/>
                  <a:pt x="283" y="221"/>
                </a:cubicBezTo>
                <a:cubicBezTo>
                  <a:pt x="281" y="218"/>
                  <a:pt x="281" y="218"/>
                  <a:pt x="281" y="218"/>
                </a:cubicBezTo>
                <a:cubicBezTo>
                  <a:pt x="281" y="220"/>
                  <a:pt x="281" y="220"/>
                  <a:pt x="281" y="220"/>
                </a:cubicBezTo>
                <a:cubicBezTo>
                  <a:pt x="282" y="221"/>
                  <a:pt x="282" y="221"/>
                  <a:pt x="282" y="221"/>
                </a:cubicBezTo>
                <a:cubicBezTo>
                  <a:pt x="282" y="223"/>
                  <a:pt x="282" y="223"/>
                  <a:pt x="282" y="223"/>
                </a:cubicBezTo>
                <a:cubicBezTo>
                  <a:pt x="281" y="224"/>
                  <a:pt x="281" y="224"/>
                  <a:pt x="281" y="224"/>
                </a:cubicBezTo>
                <a:cubicBezTo>
                  <a:pt x="280" y="224"/>
                  <a:pt x="280" y="224"/>
                  <a:pt x="280" y="224"/>
                </a:cubicBezTo>
                <a:cubicBezTo>
                  <a:pt x="279" y="222"/>
                  <a:pt x="279" y="222"/>
                  <a:pt x="279" y="222"/>
                </a:cubicBezTo>
                <a:cubicBezTo>
                  <a:pt x="280" y="221"/>
                  <a:pt x="280" y="221"/>
                  <a:pt x="280" y="221"/>
                </a:cubicBezTo>
                <a:cubicBezTo>
                  <a:pt x="279" y="221"/>
                  <a:pt x="279" y="221"/>
                  <a:pt x="279" y="221"/>
                </a:cubicBezTo>
                <a:cubicBezTo>
                  <a:pt x="279" y="220"/>
                  <a:pt x="279" y="220"/>
                  <a:pt x="279" y="220"/>
                </a:cubicBezTo>
                <a:cubicBezTo>
                  <a:pt x="278" y="218"/>
                  <a:pt x="278" y="218"/>
                  <a:pt x="278" y="218"/>
                </a:cubicBezTo>
                <a:cubicBezTo>
                  <a:pt x="279" y="217"/>
                  <a:pt x="279" y="217"/>
                  <a:pt x="279" y="217"/>
                </a:cubicBezTo>
                <a:cubicBezTo>
                  <a:pt x="280" y="217"/>
                  <a:pt x="280" y="217"/>
                  <a:pt x="280" y="217"/>
                </a:cubicBezTo>
                <a:cubicBezTo>
                  <a:pt x="280" y="217"/>
                  <a:pt x="280" y="217"/>
                  <a:pt x="280" y="217"/>
                </a:cubicBezTo>
                <a:cubicBezTo>
                  <a:pt x="280" y="216"/>
                  <a:pt x="280" y="216"/>
                  <a:pt x="280" y="216"/>
                </a:cubicBezTo>
                <a:cubicBezTo>
                  <a:pt x="279" y="215"/>
                  <a:pt x="279" y="215"/>
                  <a:pt x="279" y="215"/>
                </a:cubicBezTo>
                <a:cubicBezTo>
                  <a:pt x="280" y="213"/>
                  <a:pt x="280" y="213"/>
                  <a:pt x="280" y="213"/>
                </a:cubicBezTo>
                <a:cubicBezTo>
                  <a:pt x="281" y="215"/>
                  <a:pt x="281" y="215"/>
                  <a:pt x="281" y="215"/>
                </a:cubicBezTo>
                <a:cubicBezTo>
                  <a:pt x="281" y="214"/>
                  <a:pt x="281" y="214"/>
                  <a:pt x="281" y="214"/>
                </a:cubicBezTo>
                <a:cubicBezTo>
                  <a:pt x="281" y="214"/>
                  <a:pt x="281" y="214"/>
                  <a:pt x="281" y="214"/>
                </a:cubicBezTo>
                <a:close/>
                <a:moveTo>
                  <a:pt x="282" y="212"/>
                </a:moveTo>
                <a:cubicBezTo>
                  <a:pt x="283" y="211"/>
                  <a:pt x="283" y="211"/>
                  <a:pt x="283" y="211"/>
                </a:cubicBezTo>
                <a:cubicBezTo>
                  <a:pt x="283" y="212"/>
                  <a:pt x="283" y="212"/>
                  <a:pt x="283" y="212"/>
                </a:cubicBezTo>
                <a:cubicBezTo>
                  <a:pt x="282" y="213"/>
                  <a:pt x="282" y="213"/>
                  <a:pt x="282" y="213"/>
                </a:cubicBezTo>
                <a:cubicBezTo>
                  <a:pt x="282" y="212"/>
                  <a:pt x="282" y="212"/>
                  <a:pt x="282" y="212"/>
                </a:cubicBezTo>
                <a:close/>
                <a:moveTo>
                  <a:pt x="94" y="135"/>
                </a:moveTo>
                <a:cubicBezTo>
                  <a:pt x="94" y="134"/>
                  <a:pt x="94" y="134"/>
                  <a:pt x="94" y="134"/>
                </a:cubicBezTo>
                <a:cubicBezTo>
                  <a:pt x="94" y="134"/>
                  <a:pt x="94" y="134"/>
                  <a:pt x="94" y="134"/>
                </a:cubicBezTo>
                <a:cubicBezTo>
                  <a:pt x="95" y="135"/>
                  <a:pt x="95" y="135"/>
                  <a:pt x="95" y="135"/>
                </a:cubicBezTo>
                <a:cubicBezTo>
                  <a:pt x="94" y="135"/>
                  <a:pt x="94" y="135"/>
                  <a:pt x="94" y="135"/>
                </a:cubicBezTo>
                <a:close/>
                <a:moveTo>
                  <a:pt x="94" y="136"/>
                </a:moveTo>
                <a:cubicBezTo>
                  <a:pt x="94" y="136"/>
                  <a:pt x="94" y="136"/>
                  <a:pt x="94" y="136"/>
                </a:cubicBezTo>
                <a:cubicBezTo>
                  <a:pt x="94" y="137"/>
                  <a:pt x="94" y="137"/>
                  <a:pt x="94" y="137"/>
                </a:cubicBezTo>
                <a:cubicBezTo>
                  <a:pt x="96" y="139"/>
                  <a:pt x="96" y="139"/>
                  <a:pt x="96" y="139"/>
                </a:cubicBezTo>
                <a:cubicBezTo>
                  <a:pt x="96" y="140"/>
                  <a:pt x="96" y="140"/>
                  <a:pt x="96" y="140"/>
                </a:cubicBezTo>
                <a:cubicBezTo>
                  <a:pt x="94" y="138"/>
                  <a:pt x="94" y="138"/>
                  <a:pt x="94" y="138"/>
                </a:cubicBezTo>
                <a:cubicBezTo>
                  <a:pt x="93" y="137"/>
                  <a:pt x="93" y="137"/>
                  <a:pt x="93" y="137"/>
                </a:cubicBezTo>
                <a:cubicBezTo>
                  <a:pt x="93" y="136"/>
                  <a:pt x="93" y="136"/>
                  <a:pt x="93" y="136"/>
                </a:cubicBezTo>
                <a:cubicBezTo>
                  <a:pt x="93" y="136"/>
                  <a:pt x="94" y="136"/>
                  <a:pt x="94" y="136"/>
                </a:cubicBezTo>
                <a:close/>
                <a:moveTo>
                  <a:pt x="159" y="114"/>
                </a:moveTo>
                <a:cubicBezTo>
                  <a:pt x="158" y="116"/>
                  <a:pt x="158" y="116"/>
                  <a:pt x="158" y="116"/>
                </a:cubicBezTo>
                <a:cubicBezTo>
                  <a:pt x="158" y="119"/>
                  <a:pt x="158" y="119"/>
                  <a:pt x="158" y="119"/>
                </a:cubicBezTo>
                <a:cubicBezTo>
                  <a:pt x="157" y="118"/>
                  <a:pt x="157" y="118"/>
                  <a:pt x="157" y="118"/>
                </a:cubicBezTo>
                <a:cubicBezTo>
                  <a:pt x="157" y="117"/>
                  <a:pt x="157" y="117"/>
                  <a:pt x="157" y="117"/>
                </a:cubicBezTo>
                <a:cubicBezTo>
                  <a:pt x="156" y="117"/>
                  <a:pt x="156" y="117"/>
                  <a:pt x="156" y="117"/>
                </a:cubicBezTo>
                <a:cubicBezTo>
                  <a:pt x="155" y="117"/>
                  <a:pt x="155" y="117"/>
                  <a:pt x="155" y="117"/>
                </a:cubicBezTo>
                <a:cubicBezTo>
                  <a:pt x="154" y="116"/>
                  <a:pt x="154" y="116"/>
                  <a:pt x="154" y="116"/>
                </a:cubicBezTo>
                <a:cubicBezTo>
                  <a:pt x="154" y="116"/>
                  <a:pt x="154" y="116"/>
                  <a:pt x="154" y="116"/>
                </a:cubicBezTo>
                <a:cubicBezTo>
                  <a:pt x="157" y="112"/>
                  <a:pt x="157" y="112"/>
                  <a:pt x="157" y="112"/>
                </a:cubicBezTo>
                <a:cubicBezTo>
                  <a:pt x="158" y="111"/>
                  <a:pt x="158" y="111"/>
                  <a:pt x="158" y="111"/>
                </a:cubicBezTo>
                <a:cubicBezTo>
                  <a:pt x="159" y="112"/>
                  <a:pt x="159" y="112"/>
                  <a:pt x="159" y="112"/>
                </a:cubicBezTo>
                <a:cubicBezTo>
                  <a:pt x="159" y="114"/>
                  <a:pt x="159" y="114"/>
                  <a:pt x="159" y="114"/>
                </a:cubicBezTo>
                <a:close/>
                <a:moveTo>
                  <a:pt x="160" y="114"/>
                </a:moveTo>
                <a:cubicBezTo>
                  <a:pt x="160" y="114"/>
                  <a:pt x="161" y="114"/>
                  <a:pt x="161" y="114"/>
                </a:cubicBezTo>
                <a:cubicBezTo>
                  <a:pt x="161" y="113"/>
                  <a:pt x="161" y="113"/>
                  <a:pt x="161" y="113"/>
                </a:cubicBezTo>
                <a:cubicBezTo>
                  <a:pt x="160" y="112"/>
                  <a:pt x="160" y="112"/>
                  <a:pt x="160" y="112"/>
                </a:cubicBezTo>
                <a:cubicBezTo>
                  <a:pt x="160" y="111"/>
                  <a:pt x="160" y="111"/>
                  <a:pt x="160" y="111"/>
                </a:cubicBezTo>
                <a:cubicBezTo>
                  <a:pt x="159" y="110"/>
                  <a:pt x="159" y="110"/>
                  <a:pt x="159" y="110"/>
                </a:cubicBezTo>
                <a:cubicBezTo>
                  <a:pt x="160" y="110"/>
                  <a:pt x="160" y="110"/>
                  <a:pt x="160" y="110"/>
                </a:cubicBezTo>
                <a:cubicBezTo>
                  <a:pt x="162" y="110"/>
                  <a:pt x="162" y="110"/>
                  <a:pt x="162" y="110"/>
                </a:cubicBezTo>
                <a:cubicBezTo>
                  <a:pt x="165" y="111"/>
                  <a:pt x="165" y="111"/>
                  <a:pt x="165" y="111"/>
                </a:cubicBezTo>
                <a:cubicBezTo>
                  <a:pt x="165" y="112"/>
                  <a:pt x="165" y="112"/>
                  <a:pt x="165" y="112"/>
                </a:cubicBezTo>
                <a:cubicBezTo>
                  <a:pt x="163" y="112"/>
                  <a:pt x="163" y="112"/>
                  <a:pt x="163" y="112"/>
                </a:cubicBezTo>
                <a:cubicBezTo>
                  <a:pt x="161" y="115"/>
                  <a:pt x="161" y="115"/>
                  <a:pt x="161" y="115"/>
                </a:cubicBezTo>
                <a:cubicBezTo>
                  <a:pt x="160" y="114"/>
                  <a:pt x="160" y="114"/>
                  <a:pt x="160" y="114"/>
                </a:cubicBezTo>
                <a:close/>
                <a:moveTo>
                  <a:pt x="172" y="106"/>
                </a:moveTo>
                <a:cubicBezTo>
                  <a:pt x="173" y="106"/>
                  <a:pt x="173" y="106"/>
                  <a:pt x="173" y="106"/>
                </a:cubicBezTo>
                <a:cubicBezTo>
                  <a:pt x="174" y="106"/>
                  <a:pt x="174" y="106"/>
                  <a:pt x="174" y="106"/>
                </a:cubicBezTo>
                <a:cubicBezTo>
                  <a:pt x="175" y="107"/>
                  <a:pt x="175" y="107"/>
                  <a:pt x="175" y="107"/>
                </a:cubicBezTo>
                <a:cubicBezTo>
                  <a:pt x="174" y="108"/>
                  <a:pt x="174" y="108"/>
                  <a:pt x="174" y="108"/>
                </a:cubicBezTo>
                <a:cubicBezTo>
                  <a:pt x="174" y="108"/>
                  <a:pt x="174" y="108"/>
                  <a:pt x="174" y="108"/>
                </a:cubicBezTo>
                <a:cubicBezTo>
                  <a:pt x="172" y="106"/>
                  <a:pt x="172" y="106"/>
                  <a:pt x="172" y="106"/>
                </a:cubicBezTo>
                <a:close/>
                <a:moveTo>
                  <a:pt x="236" y="167"/>
                </a:moveTo>
                <a:cubicBezTo>
                  <a:pt x="237" y="166"/>
                  <a:pt x="237" y="166"/>
                  <a:pt x="237" y="166"/>
                </a:cubicBezTo>
                <a:cubicBezTo>
                  <a:pt x="238" y="167"/>
                  <a:pt x="238" y="167"/>
                  <a:pt x="238" y="167"/>
                </a:cubicBezTo>
                <a:cubicBezTo>
                  <a:pt x="237" y="167"/>
                  <a:pt x="237" y="167"/>
                  <a:pt x="237" y="167"/>
                </a:cubicBezTo>
                <a:cubicBezTo>
                  <a:pt x="236" y="167"/>
                  <a:pt x="236" y="167"/>
                  <a:pt x="236" y="167"/>
                </a:cubicBezTo>
                <a:close/>
                <a:moveTo>
                  <a:pt x="230" y="186"/>
                </a:moveTo>
                <a:cubicBezTo>
                  <a:pt x="231" y="185"/>
                  <a:pt x="231" y="185"/>
                  <a:pt x="231" y="185"/>
                </a:cubicBezTo>
                <a:cubicBezTo>
                  <a:pt x="232" y="186"/>
                  <a:pt x="232" y="186"/>
                  <a:pt x="232" y="186"/>
                </a:cubicBezTo>
                <a:cubicBezTo>
                  <a:pt x="230" y="186"/>
                  <a:pt x="230" y="186"/>
                  <a:pt x="230" y="186"/>
                </a:cubicBezTo>
                <a:close/>
                <a:moveTo>
                  <a:pt x="244" y="182"/>
                </a:moveTo>
                <a:cubicBezTo>
                  <a:pt x="245" y="182"/>
                  <a:pt x="245" y="182"/>
                  <a:pt x="245" y="182"/>
                </a:cubicBezTo>
                <a:cubicBezTo>
                  <a:pt x="246" y="182"/>
                  <a:pt x="246" y="182"/>
                  <a:pt x="246" y="182"/>
                </a:cubicBezTo>
                <a:cubicBezTo>
                  <a:pt x="245" y="183"/>
                  <a:pt x="245" y="183"/>
                  <a:pt x="245" y="183"/>
                </a:cubicBezTo>
                <a:cubicBezTo>
                  <a:pt x="244" y="183"/>
                  <a:pt x="244" y="183"/>
                  <a:pt x="244" y="183"/>
                </a:cubicBezTo>
                <a:cubicBezTo>
                  <a:pt x="244" y="182"/>
                  <a:pt x="244" y="182"/>
                  <a:pt x="244" y="182"/>
                </a:cubicBezTo>
                <a:close/>
                <a:moveTo>
                  <a:pt x="234" y="170"/>
                </a:moveTo>
                <a:cubicBezTo>
                  <a:pt x="234" y="169"/>
                  <a:pt x="234" y="169"/>
                  <a:pt x="234" y="169"/>
                </a:cubicBezTo>
                <a:cubicBezTo>
                  <a:pt x="235" y="169"/>
                  <a:pt x="235" y="169"/>
                  <a:pt x="235" y="169"/>
                </a:cubicBezTo>
                <a:cubicBezTo>
                  <a:pt x="235" y="170"/>
                  <a:pt x="235" y="170"/>
                  <a:pt x="235" y="170"/>
                </a:cubicBezTo>
                <a:cubicBezTo>
                  <a:pt x="234" y="170"/>
                  <a:pt x="234" y="170"/>
                  <a:pt x="234" y="170"/>
                </a:cubicBezTo>
                <a:close/>
                <a:moveTo>
                  <a:pt x="235" y="175"/>
                </a:moveTo>
                <a:cubicBezTo>
                  <a:pt x="235" y="173"/>
                  <a:pt x="235" y="173"/>
                  <a:pt x="235" y="173"/>
                </a:cubicBezTo>
                <a:cubicBezTo>
                  <a:pt x="236" y="172"/>
                  <a:pt x="236" y="172"/>
                  <a:pt x="236" y="172"/>
                </a:cubicBezTo>
                <a:cubicBezTo>
                  <a:pt x="237" y="172"/>
                  <a:pt x="237" y="172"/>
                  <a:pt x="237" y="172"/>
                </a:cubicBezTo>
                <a:cubicBezTo>
                  <a:pt x="237" y="174"/>
                  <a:pt x="237" y="174"/>
                  <a:pt x="237" y="174"/>
                </a:cubicBezTo>
                <a:cubicBezTo>
                  <a:pt x="238" y="174"/>
                  <a:pt x="238" y="174"/>
                  <a:pt x="238" y="174"/>
                </a:cubicBezTo>
                <a:cubicBezTo>
                  <a:pt x="238" y="174"/>
                  <a:pt x="238" y="174"/>
                  <a:pt x="238" y="174"/>
                </a:cubicBezTo>
                <a:cubicBezTo>
                  <a:pt x="237" y="175"/>
                  <a:pt x="237" y="175"/>
                  <a:pt x="237" y="175"/>
                </a:cubicBezTo>
                <a:cubicBezTo>
                  <a:pt x="235" y="175"/>
                  <a:pt x="235" y="175"/>
                  <a:pt x="235" y="175"/>
                </a:cubicBezTo>
                <a:close/>
                <a:moveTo>
                  <a:pt x="225" y="180"/>
                </a:moveTo>
                <a:cubicBezTo>
                  <a:pt x="226" y="179"/>
                  <a:pt x="226" y="179"/>
                  <a:pt x="226" y="179"/>
                </a:cubicBezTo>
                <a:cubicBezTo>
                  <a:pt x="227" y="179"/>
                  <a:pt x="227" y="179"/>
                  <a:pt x="227" y="179"/>
                </a:cubicBezTo>
                <a:cubicBezTo>
                  <a:pt x="227" y="178"/>
                  <a:pt x="227" y="178"/>
                  <a:pt x="227" y="178"/>
                </a:cubicBezTo>
                <a:cubicBezTo>
                  <a:pt x="229" y="177"/>
                  <a:pt x="229" y="177"/>
                  <a:pt x="229" y="177"/>
                </a:cubicBezTo>
                <a:cubicBezTo>
                  <a:pt x="230" y="176"/>
                  <a:pt x="230" y="176"/>
                  <a:pt x="230" y="176"/>
                </a:cubicBezTo>
                <a:cubicBezTo>
                  <a:pt x="232" y="175"/>
                  <a:pt x="232" y="175"/>
                  <a:pt x="232" y="175"/>
                </a:cubicBezTo>
                <a:cubicBezTo>
                  <a:pt x="232" y="175"/>
                  <a:pt x="232" y="175"/>
                  <a:pt x="232" y="175"/>
                </a:cubicBezTo>
                <a:cubicBezTo>
                  <a:pt x="233" y="173"/>
                  <a:pt x="233" y="173"/>
                  <a:pt x="233" y="173"/>
                </a:cubicBezTo>
                <a:cubicBezTo>
                  <a:pt x="234" y="174"/>
                  <a:pt x="234" y="174"/>
                  <a:pt x="234" y="174"/>
                </a:cubicBezTo>
                <a:cubicBezTo>
                  <a:pt x="233" y="174"/>
                  <a:pt x="233" y="174"/>
                  <a:pt x="233" y="174"/>
                </a:cubicBezTo>
                <a:cubicBezTo>
                  <a:pt x="234" y="175"/>
                  <a:pt x="234" y="175"/>
                  <a:pt x="234" y="175"/>
                </a:cubicBezTo>
                <a:cubicBezTo>
                  <a:pt x="233" y="176"/>
                  <a:pt x="233" y="176"/>
                  <a:pt x="233" y="176"/>
                </a:cubicBezTo>
                <a:cubicBezTo>
                  <a:pt x="232" y="176"/>
                  <a:pt x="232" y="176"/>
                  <a:pt x="232" y="176"/>
                </a:cubicBezTo>
                <a:cubicBezTo>
                  <a:pt x="230" y="178"/>
                  <a:pt x="230" y="178"/>
                  <a:pt x="230" y="178"/>
                </a:cubicBezTo>
                <a:cubicBezTo>
                  <a:pt x="229" y="179"/>
                  <a:pt x="229" y="179"/>
                  <a:pt x="229" y="179"/>
                </a:cubicBezTo>
                <a:cubicBezTo>
                  <a:pt x="229" y="179"/>
                  <a:pt x="229" y="179"/>
                  <a:pt x="229" y="179"/>
                </a:cubicBezTo>
                <a:cubicBezTo>
                  <a:pt x="229" y="180"/>
                  <a:pt x="229" y="180"/>
                  <a:pt x="229" y="180"/>
                </a:cubicBezTo>
                <a:cubicBezTo>
                  <a:pt x="227" y="180"/>
                  <a:pt x="227" y="180"/>
                  <a:pt x="227" y="180"/>
                </a:cubicBezTo>
                <a:cubicBezTo>
                  <a:pt x="227" y="180"/>
                  <a:pt x="227" y="180"/>
                  <a:pt x="227" y="180"/>
                </a:cubicBezTo>
                <a:cubicBezTo>
                  <a:pt x="225" y="180"/>
                  <a:pt x="225" y="180"/>
                  <a:pt x="225" y="180"/>
                </a:cubicBezTo>
                <a:cubicBezTo>
                  <a:pt x="225" y="180"/>
                  <a:pt x="225" y="180"/>
                  <a:pt x="225" y="180"/>
                </a:cubicBezTo>
                <a:close/>
                <a:moveTo>
                  <a:pt x="225" y="177"/>
                </a:moveTo>
                <a:cubicBezTo>
                  <a:pt x="227" y="176"/>
                  <a:pt x="227" y="176"/>
                  <a:pt x="227" y="176"/>
                </a:cubicBezTo>
                <a:cubicBezTo>
                  <a:pt x="227" y="177"/>
                  <a:pt x="227" y="177"/>
                  <a:pt x="227" y="177"/>
                </a:cubicBezTo>
                <a:cubicBezTo>
                  <a:pt x="226" y="178"/>
                  <a:pt x="226" y="178"/>
                  <a:pt x="226" y="178"/>
                </a:cubicBezTo>
                <a:cubicBezTo>
                  <a:pt x="226" y="178"/>
                  <a:pt x="225" y="177"/>
                  <a:pt x="225" y="177"/>
                </a:cubicBezTo>
                <a:close/>
                <a:moveTo>
                  <a:pt x="228" y="174"/>
                </a:moveTo>
                <a:cubicBezTo>
                  <a:pt x="230" y="173"/>
                  <a:pt x="230" y="173"/>
                  <a:pt x="230" y="173"/>
                </a:cubicBezTo>
                <a:cubicBezTo>
                  <a:pt x="230" y="172"/>
                  <a:pt x="230" y="172"/>
                  <a:pt x="230" y="172"/>
                </a:cubicBezTo>
                <a:cubicBezTo>
                  <a:pt x="231" y="171"/>
                  <a:pt x="231" y="171"/>
                  <a:pt x="231" y="171"/>
                </a:cubicBezTo>
                <a:cubicBezTo>
                  <a:pt x="232" y="171"/>
                  <a:pt x="232" y="171"/>
                  <a:pt x="232" y="171"/>
                </a:cubicBezTo>
                <a:cubicBezTo>
                  <a:pt x="232" y="171"/>
                  <a:pt x="232" y="171"/>
                  <a:pt x="232" y="171"/>
                </a:cubicBezTo>
                <a:cubicBezTo>
                  <a:pt x="231" y="172"/>
                  <a:pt x="231" y="172"/>
                  <a:pt x="231" y="172"/>
                </a:cubicBezTo>
                <a:cubicBezTo>
                  <a:pt x="230" y="173"/>
                  <a:pt x="230" y="173"/>
                  <a:pt x="230" y="173"/>
                </a:cubicBezTo>
                <a:cubicBezTo>
                  <a:pt x="229" y="174"/>
                  <a:pt x="229" y="174"/>
                  <a:pt x="229" y="174"/>
                </a:cubicBezTo>
                <a:cubicBezTo>
                  <a:pt x="229" y="175"/>
                  <a:pt x="229" y="175"/>
                  <a:pt x="229" y="175"/>
                </a:cubicBezTo>
                <a:cubicBezTo>
                  <a:pt x="228" y="175"/>
                  <a:pt x="228" y="175"/>
                  <a:pt x="228" y="175"/>
                </a:cubicBezTo>
                <a:cubicBezTo>
                  <a:pt x="228" y="174"/>
                  <a:pt x="228" y="174"/>
                  <a:pt x="228" y="174"/>
                </a:cubicBezTo>
                <a:close/>
                <a:moveTo>
                  <a:pt x="230" y="166"/>
                </a:moveTo>
                <a:cubicBezTo>
                  <a:pt x="231" y="165"/>
                  <a:pt x="231" y="165"/>
                  <a:pt x="231" y="165"/>
                </a:cubicBezTo>
                <a:cubicBezTo>
                  <a:pt x="232" y="166"/>
                  <a:pt x="232" y="166"/>
                  <a:pt x="232" y="166"/>
                </a:cubicBezTo>
                <a:cubicBezTo>
                  <a:pt x="231" y="166"/>
                  <a:pt x="231" y="166"/>
                  <a:pt x="231" y="166"/>
                </a:cubicBezTo>
                <a:cubicBezTo>
                  <a:pt x="232" y="167"/>
                  <a:pt x="232" y="167"/>
                  <a:pt x="232" y="167"/>
                </a:cubicBezTo>
                <a:cubicBezTo>
                  <a:pt x="231" y="168"/>
                  <a:pt x="231" y="168"/>
                  <a:pt x="231" y="168"/>
                </a:cubicBezTo>
                <a:cubicBezTo>
                  <a:pt x="230" y="166"/>
                  <a:pt x="230" y="166"/>
                  <a:pt x="230" y="166"/>
                </a:cubicBezTo>
                <a:close/>
                <a:moveTo>
                  <a:pt x="154" y="79"/>
                </a:moveTo>
                <a:cubicBezTo>
                  <a:pt x="154" y="79"/>
                  <a:pt x="155" y="79"/>
                  <a:pt x="155" y="79"/>
                </a:cubicBezTo>
                <a:cubicBezTo>
                  <a:pt x="156" y="79"/>
                  <a:pt x="156" y="79"/>
                  <a:pt x="156" y="79"/>
                </a:cubicBezTo>
                <a:cubicBezTo>
                  <a:pt x="155" y="80"/>
                  <a:pt x="155" y="80"/>
                  <a:pt x="155" y="80"/>
                </a:cubicBezTo>
                <a:cubicBezTo>
                  <a:pt x="154" y="79"/>
                  <a:pt x="154" y="79"/>
                  <a:pt x="154" y="79"/>
                </a:cubicBezTo>
                <a:close/>
                <a:moveTo>
                  <a:pt x="130" y="105"/>
                </a:moveTo>
                <a:cubicBezTo>
                  <a:pt x="131" y="103"/>
                  <a:pt x="131" y="103"/>
                  <a:pt x="131" y="103"/>
                </a:cubicBezTo>
                <a:cubicBezTo>
                  <a:pt x="131" y="102"/>
                  <a:pt x="131" y="102"/>
                  <a:pt x="131" y="102"/>
                </a:cubicBezTo>
                <a:cubicBezTo>
                  <a:pt x="129" y="101"/>
                  <a:pt x="129" y="101"/>
                  <a:pt x="129" y="101"/>
                </a:cubicBezTo>
                <a:cubicBezTo>
                  <a:pt x="130" y="100"/>
                  <a:pt x="130" y="100"/>
                  <a:pt x="130" y="100"/>
                </a:cubicBezTo>
                <a:cubicBezTo>
                  <a:pt x="129" y="98"/>
                  <a:pt x="129" y="98"/>
                  <a:pt x="129" y="98"/>
                </a:cubicBezTo>
                <a:cubicBezTo>
                  <a:pt x="128" y="97"/>
                  <a:pt x="128" y="97"/>
                  <a:pt x="128" y="97"/>
                </a:cubicBezTo>
                <a:cubicBezTo>
                  <a:pt x="126" y="96"/>
                  <a:pt x="126" y="96"/>
                  <a:pt x="126" y="96"/>
                </a:cubicBezTo>
                <a:cubicBezTo>
                  <a:pt x="125" y="98"/>
                  <a:pt x="125" y="98"/>
                  <a:pt x="125" y="98"/>
                </a:cubicBezTo>
                <a:cubicBezTo>
                  <a:pt x="124" y="98"/>
                  <a:pt x="124" y="98"/>
                  <a:pt x="124" y="98"/>
                </a:cubicBezTo>
                <a:cubicBezTo>
                  <a:pt x="123" y="96"/>
                  <a:pt x="123" y="96"/>
                  <a:pt x="123" y="96"/>
                </a:cubicBezTo>
                <a:cubicBezTo>
                  <a:pt x="123" y="94"/>
                  <a:pt x="123" y="94"/>
                  <a:pt x="123" y="94"/>
                </a:cubicBezTo>
                <a:cubicBezTo>
                  <a:pt x="126" y="92"/>
                  <a:pt x="126" y="92"/>
                  <a:pt x="126" y="92"/>
                </a:cubicBezTo>
                <a:cubicBezTo>
                  <a:pt x="127" y="89"/>
                  <a:pt x="127" y="89"/>
                  <a:pt x="127" y="89"/>
                </a:cubicBezTo>
                <a:cubicBezTo>
                  <a:pt x="127" y="89"/>
                  <a:pt x="127" y="89"/>
                  <a:pt x="127" y="89"/>
                </a:cubicBezTo>
                <a:cubicBezTo>
                  <a:pt x="127" y="92"/>
                  <a:pt x="127" y="92"/>
                  <a:pt x="127" y="92"/>
                </a:cubicBezTo>
                <a:cubicBezTo>
                  <a:pt x="127" y="93"/>
                  <a:pt x="127" y="93"/>
                  <a:pt x="127" y="93"/>
                </a:cubicBezTo>
                <a:cubicBezTo>
                  <a:pt x="129" y="93"/>
                  <a:pt x="129" y="93"/>
                  <a:pt x="129" y="93"/>
                </a:cubicBezTo>
                <a:cubicBezTo>
                  <a:pt x="129" y="94"/>
                  <a:pt x="129" y="94"/>
                  <a:pt x="129" y="94"/>
                </a:cubicBezTo>
                <a:cubicBezTo>
                  <a:pt x="130" y="94"/>
                  <a:pt x="130" y="94"/>
                  <a:pt x="130" y="94"/>
                </a:cubicBezTo>
                <a:cubicBezTo>
                  <a:pt x="131" y="94"/>
                  <a:pt x="131" y="94"/>
                  <a:pt x="131" y="94"/>
                </a:cubicBezTo>
                <a:cubicBezTo>
                  <a:pt x="133" y="94"/>
                  <a:pt x="133" y="94"/>
                  <a:pt x="133" y="94"/>
                </a:cubicBezTo>
                <a:cubicBezTo>
                  <a:pt x="134" y="95"/>
                  <a:pt x="134" y="95"/>
                  <a:pt x="134" y="95"/>
                </a:cubicBezTo>
                <a:cubicBezTo>
                  <a:pt x="134" y="96"/>
                  <a:pt x="134" y="96"/>
                  <a:pt x="134" y="96"/>
                </a:cubicBezTo>
                <a:cubicBezTo>
                  <a:pt x="133" y="96"/>
                  <a:pt x="133" y="96"/>
                  <a:pt x="133" y="96"/>
                </a:cubicBezTo>
                <a:cubicBezTo>
                  <a:pt x="134" y="98"/>
                  <a:pt x="134" y="98"/>
                  <a:pt x="134" y="98"/>
                </a:cubicBezTo>
                <a:cubicBezTo>
                  <a:pt x="135" y="99"/>
                  <a:pt x="135" y="99"/>
                  <a:pt x="135" y="99"/>
                </a:cubicBezTo>
                <a:cubicBezTo>
                  <a:pt x="135" y="100"/>
                  <a:pt x="135" y="100"/>
                  <a:pt x="135" y="100"/>
                </a:cubicBezTo>
                <a:cubicBezTo>
                  <a:pt x="138" y="102"/>
                  <a:pt x="138" y="102"/>
                  <a:pt x="138" y="102"/>
                </a:cubicBezTo>
                <a:cubicBezTo>
                  <a:pt x="138" y="104"/>
                  <a:pt x="138" y="104"/>
                  <a:pt x="138" y="104"/>
                </a:cubicBezTo>
                <a:cubicBezTo>
                  <a:pt x="137" y="104"/>
                  <a:pt x="137" y="104"/>
                  <a:pt x="137" y="104"/>
                </a:cubicBezTo>
                <a:cubicBezTo>
                  <a:pt x="135" y="103"/>
                  <a:pt x="135" y="103"/>
                  <a:pt x="135" y="103"/>
                </a:cubicBezTo>
                <a:cubicBezTo>
                  <a:pt x="135" y="103"/>
                  <a:pt x="135" y="103"/>
                  <a:pt x="135" y="103"/>
                </a:cubicBezTo>
                <a:cubicBezTo>
                  <a:pt x="134" y="104"/>
                  <a:pt x="134" y="104"/>
                  <a:pt x="134" y="104"/>
                </a:cubicBezTo>
                <a:cubicBezTo>
                  <a:pt x="133" y="104"/>
                  <a:pt x="133" y="104"/>
                  <a:pt x="133" y="104"/>
                </a:cubicBezTo>
                <a:cubicBezTo>
                  <a:pt x="131" y="106"/>
                  <a:pt x="131" y="106"/>
                  <a:pt x="131" y="106"/>
                </a:cubicBezTo>
                <a:cubicBezTo>
                  <a:pt x="130" y="105"/>
                  <a:pt x="130" y="105"/>
                  <a:pt x="130" y="105"/>
                </a:cubicBezTo>
                <a:close/>
                <a:moveTo>
                  <a:pt x="122" y="148"/>
                </a:moveTo>
                <a:cubicBezTo>
                  <a:pt x="123" y="148"/>
                  <a:pt x="123" y="148"/>
                  <a:pt x="123" y="148"/>
                </a:cubicBezTo>
                <a:cubicBezTo>
                  <a:pt x="125" y="148"/>
                  <a:pt x="125" y="148"/>
                  <a:pt x="125" y="148"/>
                </a:cubicBezTo>
                <a:cubicBezTo>
                  <a:pt x="126" y="148"/>
                  <a:pt x="126" y="148"/>
                  <a:pt x="126" y="148"/>
                </a:cubicBezTo>
                <a:cubicBezTo>
                  <a:pt x="127" y="148"/>
                  <a:pt x="127" y="148"/>
                  <a:pt x="127" y="148"/>
                </a:cubicBezTo>
                <a:cubicBezTo>
                  <a:pt x="128" y="147"/>
                  <a:pt x="128" y="147"/>
                  <a:pt x="128" y="147"/>
                </a:cubicBezTo>
                <a:cubicBezTo>
                  <a:pt x="130" y="147"/>
                  <a:pt x="130" y="147"/>
                  <a:pt x="130" y="147"/>
                </a:cubicBezTo>
                <a:cubicBezTo>
                  <a:pt x="130" y="148"/>
                  <a:pt x="130" y="148"/>
                  <a:pt x="130" y="148"/>
                </a:cubicBezTo>
                <a:cubicBezTo>
                  <a:pt x="131" y="149"/>
                  <a:pt x="131" y="149"/>
                  <a:pt x="131" y="149"/>
                </a:cubicBezTo>
                <a:cubicBezTo>
                  <a:pt x="131" y="150"/>
                  <a:pt x="131" y="150"/>
                  <a:pt x="131" y="150"/>
                </a:cubicBezTo>
                <a:cubicBezTo>
                  <a:pt x="130" y="152"/>
                  <a:pt x="130" y="152"/>
                  <a:pt x="130" y="152"/>
                </a:cubicBezTo>
                <a:cubicBezTo>
                  <a:pt x="130" y="153"/>
                  <a:pt x="130" y="153"/>
                  <a:pt x="130" y="153"/>
                </a:cubicBezTo>
                <a:cubicBezTo>
                  <a:pt x="128" y="153"/>
                  <a:pt x="128" y="153"/>
                  <a:pt x="128" y="153"/>
                </a:cubicBezTo>
                <a:cubicBezTo>
                  <a:pt x="127" y="153"/>
                  <a:pt x="127" y="153"/>
                  <a:pt x="127" y="153"/>
                </a:cubicBezTo>
                <a:cubicBezTo>
                  <a:pt x="126" y="153"/>
                  <a:pt x="126" y="153"/>
                  <a:pt x="126" y="153"/>
                </a:cubicBezTo>
                <a:cubicBezTo>
                  <a:pt x="125" y="153"/>
                  <a:pt x="125" y="153"/>
                  <a:pt x="125" y="153"/>
                </a:cubicBezTo>
                <a:cubicBezTo>
                  <a:pt x="124" y="152"/>
                  <a:pt x="124" y="152"/>
                  <a:pt x="124" y="152"/>
                </a:cubicBezTo>
                <a:cubicBezTo>
                  <a:pt x="122" y="150"/>
                  <a:pt x="122" y="150"/>
                  <a:pt x="122" y="150"/>
                </a:cubicBezTo>
                <a:cubicBezTo>
                  <a:pt x="122" y="148"/>
                  <a:pt x="122" y="148"/>
                  <a:pt x="122" y="148"/>
                </a:cubicBezTo>
                <a:close/>
                <a:moveTo>
                  <a:pt x="205" y="167"/>
                </a:moveTo>
                <a:cubicBezTo>
                  <a:pt x="207" y="165"/>
                  <a:pt x="207" y="165"/>
                  <a:pt x="207" y="165"/>
                </a:cubicBezTo>
                <a:cubicBezTo>
                  <a:pt x="208" y="165"/>
                  <a:pt x="208" y="165"/>
                  <a:pt x="208" y="165"/>
                </a:cubicBezTo>
                <a:cubicBezTo>
                  <a:pt x="208" y="166"/>
                  <a:pt x="208" y="166"/>
                  <a:pt x="208" y="166"/>
                </a:cubicBezTo>
                <a:cubicBezTo>
                  <a:pt x="206" y="167"/>
                  <a:pt x="206" y="167"/>
                  <a:pt x="206" y="167"/>
                </a:cubicBezTo>
                <a:cubicBezTo>
                  <a:pt x="205" y="167"/>
                  <a:pt x="205" y="167"/>
                  <a:pt x="205" y="167"/>
                </a:cubicBezTo>
                <a:close/>
                <a:moveTo>
                  <a:pt x="192" y="176"/>
                </a:moveTo>
                <a:cubicBezTo>
                  <a:pt x="193" y="176"/>
                  <a:pt x="193" y="176"/>
                  <a:pt x="193" y="176"/>
                </a:cubicBezTo>
                <a:cubicBezTo>
                  <a:pt x="194" y="176"/>
                  <a:pt x="194" y="176"/>
                  <a:pt x="194" y="176"/>
                </a:cubicBezTo>
                <a:cubicBezTo>
                  <a:pt x="193" y="177"/>
                  <a:pt x="193" y="177"/>
                  <a:pt x="193" y="177"/>
                </a:cubicBezTo>
                <a:cubicBezTo>
                  <a:pt x="192" y="176"/>
                  <a:pt x="192" y="176"/>
                  <a:pt x="192" y="176"/>
                </a:cubicBezTo>
                <a:close/>
                <a:moveTo>
                  <a:pt x="192" y="187"/>
                </a:moveTo>
                <a:cubicBezTo>
                  <a:pt x="192" y="186"/>
                  <a:pt x="192" y="186"/>
                  <a:pt x="192" y="186"/>
                </a:cubicBezTo>
                <a:cubicBezTo>
                  <a:pt x="193" y="187"/>
                  <a:pt x="193" y="187"/>
                  <a:pt x="193" y="187"/>
                </a:cubicBezTo>
                <a:cubicBezTo>
                  <a:pt x="193" y="188"/>
                  <a:pt x="193" y="188"/>
                  <a:pt x="193" y="188"/>
                </a:cubicBezTo>
                <a:cubicBezTo>
                  <a:pt x="192" y="188"/>
                  <a:pt x="192" y="188"/>
                  <a:pt x="192" y="188"/>
                </a:cubicBezTo>
                <a:cubicBezTo>
                  <a:pt x="191" y="188"/>
                  <a:pt x="191" y="188"/>
                  <a:pt x="191" y="188"/>
                </a:cubicBezTo>
                <a:cubicBezTo>
                  <a:pt x="192" y="187"/>
                  <a:pt x="192" y="187"/>
                  <a:pt x="192" y="187"/>
                </a:cubicBezTo>
                <a:close/>
                <a:moveTo>
                  <a:pt x="187" y="193"/>
                </a:moveTo>
                <a:cubicBezTo>
                  <a:pt x="186" y="192"/>
                  <a:pt x="186" y="192"/>
                  <a:pt x="186" y="192"/>
                </a:cubicBezTo>
                <a:cubicBezTo>
                  <a:pt x="187" y="192"/>
                  <a:pt x="187" y="192"/>
                  <a:pt x="187" y="192"/>
                </a:cubicBezTo>
                <a:cubicBezTo>
                  <a:pt x="188" y="192"/>
                  <a:pt x="188" y="192"/>
                  <a:pt x="188" y="192"/>
                </a:cubicBezTo>
                <a:cubicBezTo>
                  <a:pt x="188" y="191"/>
                  <a:pt x="188" y="191"/>
                  <a:pt x="188" y="191"/>
                </a:cubicBezTo>
                <a:cubicBezTo>
                  <a:pt x="189" y="192"/>
                  <a:pt x="189" y="192"/>
                  <a:pt x="189" y="192"/>
                </a:cubicBezTo>
                <a:cubicBezTo>
                  <a:pt x="190" y="191"/>
                  <a:pt x="190" y="191"/>
                  <a:pt x="190" y="191"/>
                </a:cubicBezTo>
                <a:cubicBezTo>
                  <a:pt x="189" y="190"/>
                  <a:pt x="189" y="190"/>
                  <a:pt x="189" y="190"/>
                </a:cubicBezTo>
                <a:cubicBezTo>
                  <a:pt x="190" y="189"/>
                  <a:pt x="190" y="189"/>
                  <a:pt x="190" y="189"/>
                </a:cubicBezTo>
                <a:cubicBezTo>
                  <a:pt x="191" y="189"/>
                  <a:pt x="191" y="189"/>
                  <a:pt x="191" y="189"/>
                </a:cubicBezTo>
                <a:cubicBezTo>
                  <a:pt x="192" y="189"/>
                  <a:pt x="192" y="189"/>
                  <a:pt x="192" y="189"/>
                </a:cubicBezTo>
                <a:cubicBezTo>
                  <a:pt x="191" y="190"/>
                  <a:pt x="191" y="190"/>
                  <a:pt x="191" y="190"/>
                </a:cubicBezTo>
                <a:cubicBezTo>
                  <a:pt x="192" y="190"/>
                  <a:pt x="192" y="190"/>
                  <a:pt x="192" y="190"/>
                </a:cubicBezTo>
                <a:cubicBezTo>
                  <a:pt x="192" y="190"/>
                  <a:pt x="192" y="190"/>
                  <a:pt x="192" y="190"/>
                </a:cubicBezTo>
                <a:cubicBezTo>
                  <a:pt x="193" y="190"/>
                  <a:pt x="193" y="190"/>
                  <a:pt x="193" y="190"/>
                </a:cubicBezTo>
                <a:cubicBezTo>
                  <a:pt x="194" y="191"/>
                  <a:pt x="194" y="191"/>
                  <a:pt x="194" y="191"/>
                </a:cubicBezTo>
                <a:cubicBezTo>
                  <a:pt x="193" y="191"/>
                  <a:pt x="193" y="191"/>
                  <a:pt x="193" y="191"/>
                </a:cubicBezTo>
                <a:cubicBezTo>
                  <a:pt x="193" y="192"/>
                  <a:pt x="193" y="192"/>
                  <a:pt x="193" y="192"/>
                </a:cubicBezTo>
                <a:cubicBezTo>
                  <a:pt x="193" y="192"/>
                  <a:pt x="193" y="192"/>
                  <a:pt x="193" y="192"/>
                </a:cubicBezTo>
                <a:cubicBezTo>
                  <a:pt x="194" y="193"/>
                  <a:pt x="194" y="193"/>
                  <a:pt x="194" y="193"/>
                </a:cubicBezTo>
                <a:cubicBezTo>
                  <a:pt x="193" y="193"/>
                  <a:pt x="193" y="193"/>
                  <a:pt x="193" y="193"/>
                </a:cubicBezTo>
                <a:cubicBezTo>
                  <a:pt x="192" y="193"/>
                  <a:pt x="192" y="193"/>
                  <a:pt x="192" y="193"/>
                </a:cubicBezTo>
                <a:cubicBezTo>
                  <a:pt x="191" y="194"/>
                  <a:pt x="191" y="194"/>
                  <a:pt x="191" y="194"/>
                </a:cubicBezTo>
                <a:cubicBezTo>
                  <a:pt x="190" y="194"/>
                  <a:pt x="190" y="194"/>
                  <a:pt x="190" y="194"/>
                </a:cubicBezTo>
                <a:cubicBezTo>
                  <a:pt x="190" y="193"/>
                  <a:pt x="190" y="193"/>
                  <a:pt x="190" y="193"/>
                </a:cubicBezTo>
                <a:cubicBezTo>
                  <a:pt x="189" y="194"/>
                  <a:pt x="189" y="194"/>
                  <a:pt x="189" y="194"/>
                </a:cubicBezTo>
                <a:cubicBezTo>
                  <a:pt x="188" y="194"/>
                  <a:pt x="188" y="194"/>
                  <a:pt x="188" y="194"/>
                </a:cubicBezTo>
                <a:cubicBezTo>
                  <a:pt x="187" y="193"/>
                  <a:pt x="187" y="193"/>
                  <a:pt x="187" y="193"/>
                </a:cubicBezTo>
                <a:close/>
                <a:moveTo>
                  <a:pt x="174" y="206"/>
                </a:moveTo>
                <a:cubicBezTo>
                  <a:pt x="173" y="206"/>
                  <a:pt x="173" y="206"/>
                  <a:pt x="173" y="206"/>
                </a:cubicBezTo>
                <a:cubicBezTo>
                  <a:pt x="173" y="207"/>
                  <a:pt x="173" y="207"/>
                  <a:pt x="173" y="207"/>
                </a:cubicBezTo>
                <a:cubicBezTo>
                  <a:pt x="172" y="206"/>
                  <a:pt x="172" y="206"/>
                  <a:pt x="172" y="206"/>
                </a:cubicBezTo>
                <a:cubicBezTo>
                  <a:pt x="172" y="205"/>
                  <a:pt x="172" y="205"/>
                  <a:pt x="172" y="205"/>
                </a:cubicBezTo>
                <a:cubicBezTo>
                  <a:pt x="172" y="204"/>
                  <a:pt x="172" y="204"/>
                  <a:pt x="172" y="204"/>
                </a:cubicBezTo>
                <a:cubicBezTo>
                  <a:pt x="173" y="203"/>
                  <a:pt x="173" y="203"/>
                  <a:pt x="173" y="203"/>
                </a:cubicBezTo>
                <a:cubicBezTo>
                  <a:pt x="173" y="201"/>
                  <a:pt x="173" y="201"/>
                  <a:pt x="173" y="201"/>
                </a:cubicBezTo>
                <a:cubicBezTo>
                  <a:pt x="172" y="201"/>
                  <a:pt x="172" y="201"/>
                  <a:pt x="172" y="201"/>
                </a:cubicBezTo>
                <a:cubicBezTo>
                  <a:pt x="172" y="200"/>
                  <a:pt x="172" y="200"/>
                  <a:pt x="172" y="200"/>
                </a:cubicBezTo>
                <a:cubicBezTo>
                  <a:pt x="174" y="199"/>
                  <a:pt x="174" y="199"/>
                  <a:pt x="174" y="199"/>
                </a:cubicBezTo>
                <a:cubicBezTo>
                  <a:pt x="177" y="197"/>
                  <a:pt x="177" y="197"/>
                  <a:pt x="177" y="197"/>
                </a:cubicBezTo>
                <a:cubicBezTo>
                  <a:pt x="178" y="197"/>
                  <a:pt x="178" y="197"/>
                  <a:pt x="178" y="197"/>
                </a:cubicBezTo>
                <a:cubicBezTo>
                  <a:pt x="179" y="197"/>
                  <a:pt x="179" y="197"/>
                  <a:pt x="179" y="197"/>
                </a:cubicBezTo>
                <a:cubicBezTo>
                  <a:pt x="179" y="200"/>
                  <a:pt x="179" y="200"/>
                  <a:pt x="179" y="200"/>
                </a:cubicBezTo>
                <a:cubicBezTo>
                  <a:pt x="179" y="200"/>
                  <a:pt x="179" y="200"/>
                  <a:pt x="179" y="200"/>
                </a:cubicBezTo>
                <a:cubicBezTo>
                  <a:pt x="180" y="199"/>
                  <a:pt x="180" y="199"/>
                  <a:pt x="180" y="199"/>
                </a:cubicBezTo>
                <a:cubicBezTo>
                  <a:pt x="180" y="198"/>
                  <a:pt x="180" y="198"/>
                  <a:pt x="180" y="198"/>
                </a:cubicBezTo>
                <a:cubicBezTo>
                  <a:pt x="180" y="197"/>
                  <a:pt x="180" y="197"/>
                  <a:pt x="180" y="197"/>
                </a:cubicBezTo>
                <a:cubicBezTo>
                  <a:pt x="181" y="198"/>
                  <a:pt x="181" y="198"/>
                  <a:pt x="181" y="198"/>
                </a:cubicBezTo>
                <a:cubicBezTo>
                  <a:pt x="182" y="197"/>
                  <a:pt x="182" y="197"/>
                  <a:pt x="182" y="197"/>
                </a:cubicBezTo>
                <a:cubicBezTo>
                  <a:pt x="180" y="196"/>
                  <a:pt x="180" y="196"/>
                  <a:pt x="180" y="196"/>
                </a:cubicBezTo>
                <a:cubicBezTo>
                  <a:pt x="180" y="196"/>
                  <a:pt x="180" y="196"/>
                  <a:pt x="180" y="196"/>
                </a:cubicBezTo>
                <a:cubicBezTo>
                  <a:pt x="181" y="194"/>
                  <a:pt x="181" y="194"/>
                  <a:pt x="181" y="194"/>
                </a:cubicBezTo>
                <a:cubicBezTo>
                  <a:pt x="182" y="194"/>
                  <a:pt x="182" y="194"/>
                  <a:pt x="182" y="194"/>
                </a:cubicBezTo>
                <a:cubicBezTo>
                  <a:pt x="183" y="195"/>
                  <a:pt x="183" y="195"/>
                  <a:pt x="183" y="195"/>
                </a:cubicBezTo>
                <a:cubicBezTo>
                  <a:pt x="183" y="196"/>
                  <a:pt x="183" y="196"/>
                  <a:pt x="183" y="196"/>
                </a:cubicBezTo>
                <a:cubicBezTo>
                  <a:pt x="182" y="197"/>
                  <a:pt x="182" y="197"/>
                  <a:pt x="182" y="197"/>
                </a:cubicBezTo>
                <a:cubicBezTo>
                  <a:pt x="182" y="198"/>
                  <a:pt x="182" y="198"/>
                  <a:pt x="182" y="198"/>
                </a:cubicBezTo>
                <a:cubicBezTo>
                  <a:pt x="183" y="197"/>
                  <a:pt x="183" y="197"/>
                  <a:pt x="183" y="197"/>
                </a:cubicBezTo>
                <a:cubicBezTo>
                  <a:pt x="184" y="196"/>
                  <a:pt x="184" y="196"/>
                  <a:pt x="184" y="196"/>
                </a:cubicBezTo>
                <a:cubicBezTo>
                  <a:pt x="184" y="196"/>
                  <a:pt x="184" y="196"/>
                  <a:pt x="184" y="196"/>
                </a:cubicBezTo>
                <a:cubicBezTo>
                  <a:pt x="185" y="197"/>
                  <a:pt x="185" y="197"/>
                  <a:pt x="185" y="197"/>
                </a:cubicBezTo>
                <a:cubicBezTo>
                  <a:pt x="185" y="195"/>
                  <a:pt x="185" y="195"/>
                  <a:pt x="185" y="195"/>
                </a:cubicBezTo>
                <a:cubicBezTo>
                  <a:pt x="185" y="195"/>
                  <a:pt x="185" y="195"/>
                  <a:pt x="185" y="195"/>
                </a:cubicBezTo>
                <a:cubicBezTo>
                  <a:pt x="185" y="194"/>
                  <a:pt x="185" y="194"/>
                  <a:pt x="185" y="194"/>
                </a:cubicBezTo>
                <a:cubicBezTo>
                  <a:pt x="186" y="195"/>
                  <a:pt x="186" y="195"/>
                  <a:pt x="186" y="195"/>
                </a:cubicBezTo>
                <a:cubicBezTo>
                  <a:pt x="186" y="196"/>
                  <a:pt x="186" y="196"/>
                  <a:pt x="186" y="196"/>
                </a:cubicBezTo>
                <a:cubicBezTo>
                  <a:pt x="186" y="196"/>
                  <a:pt x="186" y="196"/>
                  <a:pt x="186" y="196"/>
                </a:cubicBezTo>
                <a:cubicBezTo>
                  <a:pt x="186" y="197"/>
                  <a:pt x="186" y="197"/>
                  <a:pt x="186" y="197"/>
                </a:cubicBezTo>
                <a:cubicBezTo>
                  <a:pt x="187" y="197"/>
                  <a:pt x="187" y="197"/>
                  <a:pt x="187" y="197"/>
                </a:cubicBezTo>
                <a:cubicBezTo>
                  <a:pt x="188" y="196"/>
                  <a:pt x="188" y="196"/>
                  <a:pt x="188" y="196"/>
                </a:cubicBezTo>
                <a:cubicBezTo>
                  <a:pt x="189" y="195"/>
                  <a:pt x="189" y="195"/>
                  <a:pt x="189" y="195"/>
                </a:cubicBezTo>
                <a:cubicBezTo>
                  <a:pt x="190" y="196"/>
                  <a:pt x="190" y="196"/>
                  <a:pt x="190" y="196"/>
                </a:cubicBezTo>
                <a:cubicBezTo>
                  <a:pt x="190" y="197"/>
                  <a:pt x="190" y="197"/>
                  <a:pt x="190" y="197"/>
                </a:cubicBezTo>
                <a:cubicBezTo>
                  <a:pt x="189" y="197"/>
                  <a:pt x="189" y="197"/>
                  <a:pt x="189" y="197"/>
                </a:cubicBezTo>
                <a:cubicBezTo>
                  <a:pt x="188" y="197"/>
                  <a:pt x="188" y="197"/>
                  <a:pt x="188" y="197"/>
                </a:cubicBezTo>
                <a:cubicBezTo>
                  <a:pt x="188" y="198"/>
                  <a:pt x="188" y="198"/>
                  <a:pt x="188" y="198"/>
                </a:cubicBezTo>
                <a:cubicBezTo>
                  <a:pt x="189" y="198"/>
                  <a:pt x="189" y="198"/>
                  <a:pt x="189" y="198"/>
                </a:cubicBezTo>
                <a:cubicBezTo>
                  <a:pt x="189" y="199"/>
                  <a:pt x="189" y="199"/>
                  <a:pt x="189" y="199"/>
                </a:cubicBezTo>
                <a:cubicBezTo>
                  <a:pt x="188" y="201"/>
                  <a:pt x="188" y="201"/>
                  <a:pt x="188" y="201"/>
                </a:cubicBezTo>
                <a:cubicBezTo>
                  <a:pt x="187" y="200"/>
                  <a:pt x="187" y="200"/>
                  <a:pt x="187" y="200"/>
                </a:cubicBezTo>
                <a:cubicBezTo>
                  <a:pt x="187" y="200"/>
                  <a:pt x="187" y="200"/>
                  <a:pt x="187" y="200"/>
                </a:cubicBezTo>
                <a:cubicBezTo>
                  <a:pt x="186" y="200"/>
                  <a:pt x="186" y="200"/>
                  <a:pt x="186" y="200"/>
                </a:cubicBezTo>
                <a:cubicBezTo>
                  <a:pt x="185" y="200"/>
                  <a:pt x="185" y="200"/>
                  <a:pt x="185" y="200"/>
                </a:cubicBezTo>
                <a:cubicBezTo>
                  <a:pt x="184" y="200"/>
                  <a:pt x="184" y="200"/>
                  <a:pt x="184" y="200"/>
                </a:cubicBezTo>
                <a:cubicBezTo>
                  <a:pt x="184" y="200"/>
                  <a:pt x="184" y="200"/>
                  <a:pt x="184" y="200"/>
                </a:cubicBezTo>
                <a:cubicBezTo>
                  <a:pt x="185" y="201"/>
                  <a:pt x="185" y="201"/>
                  <a:pt x="185" y="201"/>
                </a:cubicBezTo>
                <a:cubicBezTo>
                  <a:pt x="185" y="202"/>
                  <a:pt x="185" y="202"/>
                  <a:pt x="185" y="202"/>
                </a:cubicBezTo>
                <a:cubicBezTo>
                  <a:pt x="185" y="203"/>
                  <a:pt x="185" y="203"/>
                  <a:pt x="185" y="203"/>
                </a:cubicBezTo>
                <a:cubicBezTo>
                  <a:pt x="184" y="203"/>
                  <a:pt x="184" y="203"/>
                  <a:pt x="184" y="203"/>
                </a:cubicBezTo>
                <a:cubicBezTo>
                  <a:pt x="183" y="202"/>
                  <a:pt x="183" y="202"/>
                  <a:pt x="183" y="202"/>
                </a:cubicBezTo>
                <a:cubicBezTo>
                  <a:pt x="181" y="202"/>
                  <a:pt x="181" y="202"/>
                  <a:pt x="181" y="202"/>
                </a:cubicBezTo>
                <a:cubicBezTo>
                  <a:pt x="181" y="202"/>
                  <a:pt x="181" y="202"/>
                  <a:pt x="181" y="202"/>
                </a:cubicBezTo>
                <a:cubicBezTo>
                  <a:pt x="182" y="203"/>
                  <a:pt x="182" y="203"/>
                  <a:pt x="182" y="203"/>
                </a:cubicBezTo>
                <a:cubicBezTo>
                  <a:pt x="182" y="203"/>
                  <a:pt x="182" y="203"/>
                  <a:pt x="182" y="203"/>
                </a:cubicBezTo>
                <a:cubicBezTo>
                  <a:pt x="181" y="204"/>
                  <a:pt x="181" y="204"/>
                  <a:pt x="181" y="204"/>
                </a:cubicBezTo>
                <a:cubicBezTo>
                  <a:pt x="180" y="204"/>
                  <a:pt x="180" y="204"/>
                  <a:pt x="180" y="204"/>
                </a:cubicBezTo>
                <a:cubicBezTo>
                  <a:pt x="179" y="204"/>
                  <a:pt x="179" y="204"/>
                  <a:pt x="179" y="204"/>
                </a:cubicBezTo>
                <a:cubicBezTo>
                  <a:pt x="179" y="204"/>
                  <a:pt x="179" y="204"/>
                  <a:pt x="179" y="204"/>
                </a:cubicBezTo>
                <a:cubicBezTo>
                  <a:pt x="178" y="205"/>
                  <a:pt x="178" y="205"/>
                  <a:pt x="178" y="205"/>
                </a:cubicBezTo>
                <a:cubicBezTo>
                  <a:pt x="177" y="205"/>
                  <a:pt x="177" y="205"/>
                  <a:pt x="177" y="205"/>
                </a:cubicBezTo>
                <a:cubicBezTo>
                  <a:pt x="177" y="206"/>
                  <a:pt x="177" y="206"/>
                  <a:pt x="177" y="206"/>
                </a:cubicBezTo>
                <a:cubicBezTo>
                  <a:pt x="177" y="206"/>
                  <a:pt x="177" y="206"/>
                  <a:pt x="177" y="206"/>
                </a:cubicBezTo>
                <a:cubicBezTo>
                  <a:pt x="176" y="207"/>
                  <a:pt x="176" y="207"/>
                  <a:pt x="176" y="207"/>
                </a:cubicBezTo>
                <a:cubicBezTo>
                  <a:pt x="176" y="208"/>
                  <a:pt x="176" y="208"/>
                  <a:pt x="176" y="208"/>
                </a:cubicBezTo>
                <a:cubicBezTo>
                  <a:pt x="175" y="209"/>
                  <a:pt x="175" y="209"/>
                  <a:pt x="175" y="209"/>
                </a:cubicBezTo>
                <a:cubicBezTo>
                  <a:pt x="174" y="209"/>
                  <a:pt x="174" y="209"/>
                  <a:pt x="174" y="209"/>
                </a:cubicBezTo>
                <a:cubicBezTo>
                  <a:pt x="173" y="209"/>
                  <a:pt x="173" y="209"/>
                  <a:pt x="173" y="209"/>
                </a:cubicBezTo>
                <a:cubicBezTo>
                  <a:pt x="173" y="208"/>
                  <a:pt x="173" y="208"/>
                  <a:pt x="173" y="208"/>
                </a:cubicBezTo>
                <a:cubicBezTo>
                  <a:pt x="176" y="207"/>
                  <a:pt x="176" y="207"/>
                  <a:pt x="176" y="207"/>
                </a:cubicBezTo>
                <a:cubicBezTo>
                  <a:pt x="176" y="206"/>
                  <a:pt x="176" y="206"/>
                  <a:pt x="176" y="206"/>
                </a:cubicBezTo>
                <a:cubicBezTo>
                  <a:pt x="176" y="205"/>
                  <a:pt x="176" y="205"/>
                  <a:pt x="176" y="205"/>
                </a:cubicBezTo>
                <a:cubicBezTo>
                  <a:pt x="176" y="205"/>
                  <a:pt x="176" y="205"/>
                  <a:pt x="176" y="205"/>
                </a:cubicBezTo>
                <a:cubicBezTo>
                  <a:pt x="175" y="206"/>
                  <a:pt x="175" y="206"/>
                  <a:pt x="175" y="206"/>
                </a:cubicBezTo>
                <a:cubicBezTo>
                  <a:pt x="174" y="205"/>
                  <a:pt x="174" y="205"/>
                  <a:pt x="174" y="205"/>
                </a:cubicBezTo>
                <a:cubicBezTo>
                  <a:pt x="175" y="205"/>
                  <a:pt x="175" y="205"/>
                  <a:pt x="175" y="205"/>
                </a:cubicBezTo>
                <a:cubicBezTo>
                  <a:pt x="173" y="205"/>
                  <a:pt x="173" y="205"/>
                  <a:pt x="173" y="205"/>
                </a:cubicBezTo>
                <a:cubicBezTo>
                  <a:pt x="173" y="205"/>
                  <a:pt x="173" y="205"/>
                  <a:pt x="173" y="205"/>
                </a:cubicBezTo>
                <a:cubicBezTo>
                  <a:pt x="173" y="205"/>
                  <a:pt x="173" y="205"/>
                  <a:pt x="173" y="205"/>
                </a:cubicBezTo>
                <a:cubicBezTo>
                  <a:pt x="174" y="206"/>
                  <a:pt x="174" y="206"/>
                  <a:pt x="174" y="206"/>
                </a:cubicBezTo>
                <a:close/>
                <a:moveTo>
                  <a:pt x="171" y="211"/>
                </a:moveTo>
                <a:cubicBezTo>
                  <a:pt x="172" y="210"/>
                  <a:pt x="172" y="210"/>
                  <a:pt x="172" y="210"/>
                </a:cubicBezTo>
                <a:cubicBezTo>
                  <a:pt x="172" y="211"/>
                  <a:pt x="172" y="211"/>
                  <a:pt x="172" y="211"/>
                </a:cubicBezTo>
                <a:cubicBezTo>
                  <a:pt x="171" y="211"/>
                  <a:pt x="171" y="211"/>
                  <a:pt x="171" y="211"/>
                </a:cubicBezTo>
                <a:close/>
                <a:moveTo>
                  <a:pt x="168" y="212"/>
                </a:moveTo>
                <a:cubicBezTo>
                  <a:pt x="169" y="210"/>
                  <a:pt x="169" y="210"/>
                  <a:pt x="169" y="210"/>
                </a:cubicBezTo>
                <a:cubicBezTo>
                  <a:pt x="171" y="209"/>
                  <a:pt x="171" y="209"/>
                  <a:pt x="171" y="209"/>
                </a:cubicBezTo>
                <a:cubicBezTo>
                  <a:pt x="169" y="212"/>
                  <a:pt x="169" y="212"/>
                  <a:pt x="169" y="212"/>
                </a:cubicBezTo>
                <a:cubicBezTo>
                  <a:pt x="168" y="212"/>
                  <a:pt x="168" y="212"/>
                  <a:pt x="168" y="212"/>
                </a:cubicBezTo>
                <a:close/>
                <a:moveTo>
                  <a:pt x="159" y="219"/>
                </a:moveTo>
                <a:cubicBezTo>
                  <a:pt x="159" y="219"/>
                  <a:pt x="159" y="219"/>
                  <a:pt x="159" y="219"/>
                </a:cubicBezTo>
                <a:cubicBezTo>
                  <a:pt x="159" y="218"/>
                  <a:pt x="159" y="218"/>
                  <a:pt x="159" y="218"/>
                </a:cubicBezTo>
                <a:cubicBezTo>
                  <a:pt x="160" y="218"/>
                  <a:pt x="160" y="218"/>
                  <a:pt x="160" y="218"/>
                </a:cubicBezTo>
                <a:cubicBezTo>
                  <a:pt x="160" y="219"/>
                  <a:pt x="160" y="219"/>
                  <a:pt x="160" y="219"/>
                </a:cubicBezTo>
                <a:cubicBezTo>
                  <a:pt x="159" y="219"/>
                  <a:pt x="159" y="219"/>
                  <a:pt x="159" y="219"/>
                </a:cubicBezTo>
                <a:close/>
                <a:moveTo>
                  <a:pt x="154" y="208"/>
                </a:moveTo>
                <a:cubicBezTo>
                  <a:pt x="156" y="208"/>
                  <a:pt x="156" y="208"/>
                  <a:pt x="156" y="208"/>
                </a:cubicBezTo>
                <a:cubicBezTo>
                  <a:pt x="156" y="209"/>
                  <a:pt x="156" y="209"/>
                  <a:pt x="156" y="209"/>
                </a:cubicBezTo>
                <a:cubicBezTo>
                  <a:pt x="155" y="209"/>
                  <a:pt x="155" y="209"/>
                  <a:pt x="155" y="209"/>
                </a:cubicBezTo>
                <a:cubicBezTo>
                  <a:pt x="154" y="208"/>
                  <a:pt x="154" y="208"/>
                  <a:pt x="154" y="208"/>
                </a:cubicBezTo>
                <a:close/>
                <a:moveTo>
                  <a:pt x="130" y="219"/>
                </a:moveTo>
                <a:cubicBezTo>
                  <a:pt x="130" y="219"/>
                  <a:pt x="131" y="219"/>
                  <a:pt x="131" y="219"/>
                </a:cubicBezTo>
                <a:cubicBezTo>
                  <a:pt x="131" y="219"/>
                  <a:pt x="131" y="219"/>
                  <a:pt x="131" y="219"/>
                </a:cubicBezTo>
                <a:cubicBezTo>
                  <a:pt x="130" y="219"/>
                  <a:pt x="130" y="219"/>
                  <a:pt x="130" y="219"/>
                </a:cubicBezTo>
                <a:close/>
                <a:moveTo>
                  <a:pt x="129" y="219"/>
                </a:moveTo>
                <a:cubicBezTo>
                  <a:pt x="129" y="220"/>
                  <a:pt x="129" y="220"/>
                  <a:pt x="129" y="220"/>
                </a:cubicBezTo>
                <a:cubicBezTo>
                  <a:pt x="129" y="220"/>
                  <a:pt x="129" y="220"/>
                  <a:pt x="129" y="220"/>
                </a:cubicBezTo>
                <a:cubicBezTo>
                  <a:pt x="129" y="219"/>
                  <a:pt x="129" y="219"/>
                  <a:pt x="129" y="219"/>
                </a:cubicBezTo>
                <a:close/>
                <a:moveTo>
                  <a:pt x="134" y="224"/>
                </a:moveTo>
                <a:cubicBezTo>
                  <a:pt x="134" y="225"/>
                  <a:pt x="134" y="225"/>
                  <a:pt x="134" y="225"/>
                </a:cubicBezTo>
                <a:cubicBezTo>
                  <a:pt x="134" y="225"/>
                  <a:pt x="134" y="225"/>
                  <a:pt x="134" y="225"/>
                </a:cubicBezTo>
                <a:cubicBezTo>
                  <a:pt x="134" y="225"/>
                  <a:pt x="134" y="225"/>
                  <a:pt x="134" y="225"/>
                </a:cubicBezTo>
                <a:cubicBezTo>
                  <a:pt x="134" y="224"/>
                  <a:pt x="134" y="224"/>
                  <a:pt x="134" y="224"/>
                </a:cubicBezTo>
                <a:close/>
                <a:moveTo>
                  <a:pt x="133" y="224"/>
                </a:moveTo>
                <a:cubicBezTo>
                  <a:pt x="134" y="222"/>
                  <a:pt x="134" y="222"/>
                  <a:pt x="134" y="222"/>
                </a:cubicBezTo>
                <a:cubicBezTo>
                  <a:pt x="134" y="223"/>
                  <a:pt x="134" y="223"/>
                  <a:pt x="134" y="223"/>
                </a:cubicBezTo>
                <a:cubicBezTo>
                  <a:pt x="134" y="223"/>
                  <a:pt x="133" y="224"/>
                  <a:pt x="133" y="224"/>
                </a:cubicBezTo>
                <a:close/>
                <a:moveTo>
                  <a:pt x="128" y="225"/>
                </a:moveTo>
                <a:cubicBezTo>
                  <a:pt x="129" y="223"/>
                  <a:pt x="129" y="223"/>
                  <a:pt x="129" y="223"/>
                </a:cubicBezTo>
                <a:cubicBezTo>
                  <a:pt x="130" y="222"/>
                  <a:pt x="130" y="222"/>
                  <a:pt x="130" y="222"/>
                </a:cubicBezTo>
                <a:cubicBezTo>
                  <a:pt x="130" y="222"/>
                  <a:pt x="130" y="222"/>
                  <a:pt x="130" y="222"/>
                </a:cubicBezTo>
                <a:cubicBezTo>
                  <a:pt x="132" y="222"/>
                  <a:pt x="132" y="222"/>
                  <a:pt x="132" y="222"/>
                </a:cubicBezTo>
                <a:cubicBezTo>
                  <a:pt x="131" y="223"/>
                  <a:pt x="131" y="223"/>
                  <a:pt x="131" y="223"/>
                </a:cubicBezTo>
                <a:cubicBezTo>
                  <a:pt x="131" y="223"/>
                  <a:pt x="131" y="223"/>
                  <a:pt x="131" y="223"/>
                </a:cubicBezTo>
                <a:cubicBezTo>
                  <a:pt x="129" y="224"/>
                  <a:pt x="129" y="224"/>
                  <a:pt x="129" y="224"/>
                </a:cubicBezTo>
                <a:cubicBezTo>
                  <a:pt x="128" y="225"/>
                  <a:pt x="128" y="225"/>
                  <a:pt x="128" y="225"/>
                </a:cubicBezTo>
                <a:close/>
                <a:moveTo>
                  <a:pt x="126" y="221"/>
                </a:moveTo>
                <a:cubicBezTo>
                  <a:pt x="126" y="221"/>
                  <a:pt x="126" y="221"/>
                  <a:pt x="126" y="221"/>
                </a:cubicBezTo>
                <a:cubicBezTo>
                  <a:pt x="126" y="219"/>
                  <a:pt x="126" y="219"/>
                  <a:pt x="126" y="219"/>
                </a:cubicBezTo>
                <a:cubicBezTo>
                  <a:pt x="127" y="219"/>
                  <a:pt x="127" y="219"/>
                  <a:pt x="127" y="219"/>
                </a:cubicBezTo>
                <a:cubicBezTo>
                  <a:pt x="128" y="220"/>
                  <a:pt x="128" y="220"/>
                  <a:pt x="128" y="220"/>
                </a:cubicBezTo>
                <a:cubicBezTo>
                  <a:pt x="127" y="221"/>
                  <a:pt x="127" y="221"/>
                  <a:pt x="127" y="221"/>
                </a:cubicBezTo>
                <a:cubicBezTo>
                  <a:pt x="127" y="221"/>
                  <a:pt x="127" y="221"/>
                  <a:pt x="127" y="221"/>
                </a:cubicBezTo>
                <a:cubicBezTo>
                  <a:pt x="126" y="221"/>
                  <a:pt x="126" y="221"/>
                  <a:pt x="126" y="221"/>
                </a:cubicBezTo>
                <a:close/>
                <a:moveTo>
                  <a:pt x="120" y="221"/>
                </a:moveTo>
                <a:cubicBezTo>
                  <a:pt x="121" y="220"/>
                  <a:pt x="121" y="220"/>
                  <a:pt x="121" y="220"/>
                </a:cubicBezTo>
                <a:cubicBezTo>
                  <a:pt x="121" y="221"/>
                  <a:pt x="121" y="221"/>
                  <a:pt x="121" y="221"/>
                </a:cubicBezTo>
                <a:cubicBezTo>
                  <a:pt x="121" y="222"/>
                  <a:pt x="121" y="222"/>
                  <a:pt x="121" y="222"/>
                </a:cubicBezTo>
                <a:cubicBezTo>
                  <a:pt x="120" y="221"/>
                  <a:pt x="120" y="221"/>
                  <a:pt x="120" y="221"/>
                </a:cubicBezTo>
                <a:close/>
                <a:moveTo>
                  <a:pt x="116" y="224"/>
                </a:moveTo>
                <a:cubicBezTo>
                  <a:pt x="116" y="223"/>
                  <a:pt x="116" y="223"/>
                  <a:pt x="116" y="223"/>
                </a:cubicBezTo>
                <a:cubicBezTo>
                  <a:pt x="117" y="222"/>
                  <a:pt x="117" y="222"/>
                  <a:pt x="117" y="222"/>
                </a:cubicBezTo>
                <a:cubicBezTo>
                  <a:pt x="117" y="223"/>
                  <a:pt x="117" y="223"/>
                  <a:pt x="117" y="223"/>
                </a:cubicBezTo>
                <a:cubicBezTo>
                  <a:pt x="116" y="224"/>
                  <a:pt x="116" y="224"/>
                  <a:pt x="116" y="224"/>
                </a:cubicBezTo>
                <a:close/>
                <a:moveTo>
                  <a:pt x="112" y="227"/>
                </a:moveTo>
                <a:cubicBezTo>
                  <a:pt x="113" y="228"/>
                  <a:pt x="113" y="228"/>
                  <a:pt x="113" y="228"/>
                </a:cubicBezTo>
                <a:cubicBezTo>
                  <a:pt x="112" y="228"/>
                  <a:pt x="112" y="228"/>
                  <a:pt x="112" y="228"/>
                </a:cubicBezTo>
                <a:cubicBezTo>
                  <a:pt x="111" y="227"/>
                  <a:pt x="111" y="227"/>
                  <a:pt x="111" y="227"/>
                </a:cubicBezTo>
                <a:cubicBezTo>
                  <a:pt x="112" y="227"/>
                  <a:pt x="112" y="227"/>
                  <a:pt x="112" y="227"/>
                </a:cubicBezTo>
                <a:close/>
                <a:moveTo>
                  <a:pt x="1" y="248"/>
                </a:moveTo>
                <a:cubicBezTo>
                  <a:pt x="0" y="249"/>
                  <a:pt x="0" y="249"/>
                  <a:pt x="0" y="249"/>
                </a:cubicBezTo>
                <a:cubicBezTo>
                  <a:pt x="1" y="249"/>
                  <a:pt x="1" y="249"/>
                  <a:pt x="1" y="249"/>
                </a:cubicBezTo>
                <a:cubicBezTo>
                  <a:pt x="1" y="248"/>
                  <a:pt x="1" y="248"/>
                  <a:pt x="1" y="248"/>
                </a:cubicBezTo>
                <a:close/>
                <a:moveTo>
                  <a:pt x="2" y="245"/>
                </a:moveTo>
                <a:cubicBezTo>
                  <a:pt x="1" y="246"/>
                  <a:pt x="1" y="246"/>
                  <a:pt x="1" y="246"/>
                </a:cubicBezTo>
                <a:cubicBezTo>
                  <a:pt x="2" y="247"/>
                  <a:pt x="2" y="247"/>
                  <a:pt x="2" y="247"/>
                </a:cubicBezTo>
                <a:cubicBezTo>
                  <a:pt x="3" y="246"/>
                  <a:pt x="3" y="246"/>
                  <a:pt x="3" y="246"/>
                </a:cubicBezTo>
                <a:cubicBezTo>
                  <a:pt x="2" y="245"/>
                  <a:pt x="2" y="245"/>
                  <a:pt x="2" y="245"/>
                </a:cubicBezTo>
                <a:close/>
                <a:moveTo>
                  <a:pt x="3" y="243"/>
                </a:moveTo>
                <a:cubicBezTo>
                  <a:pt x="4" y="243"/>
                  <a:pt x="4" y="243"/>
                  <a:pt x="4" y="243"/>
                </a:cubicBezTo>
                <a:cubicBezTo>
                  <a:pt x="4" y="242"/>
                  <a:pt x="4" y="242"/>
                  <a:pt x="4" y="242"/>
                </a:cubicBezTo>
                <a:cubicBezTo>
                  <a:pt x="3" y="243"/>
                  <a:pt x="3" y="243"/>
                  <a:pt x="3" y="243"/>
                </a:cubicBezTo>
                <a:close/>
                <a:moveTo>
                  <a:pt x="11" y="244"/>
                </a:moveTo>
                <a:cubicBezTo>
                  <a:pt x="10" y="242"/>
                  <a:pt x="10" y="242"/>
                  <a:pt x="10" y="242"/>
                </a:cubicBezTo>
                <a:cubicBezTo>
                  <a:pt x="9" y="242"/>
                  <a:pt x="9" y="242"/>
                  <a:pt x="9" y="242"/>
                </a:cubicBezTo>
                <a:cubicBezTo>
                  <a:pt x="8" y="243"/>
                  <a:pt x="8" y="243"/>
                  <a:pt x="8" y="243"/>
                </a:cubicBezTo>
                <a:cubicBezTo>
                  <a:pt x="8" y="243"/>
                  <a:pt x="8" y="243"/>
                  <a:pt x="8" y="243"/>
                </a:cubicBezTo>
                <a:cubicBezTo>
                  <a:pt x="9" y="244"/>
                  <a:pt x="9" y="244"/>
                  <a:pt x="9" y="244"/>
                </a:cubicBezTo>
                <a:cubicBezTo>
                  <a:pt x="8" y="244"/>
                  <a:pt x="8" y="244"/>
                  <a:pt x="8" y="244"/>
                </a:cubicBezTo>
                <a:cubicBezTo>
                  <a:pt x="9" y="245"/>
                  <a:pt x="9" y="245"/>
                  <a:pt x="9" y="245"/>
                </a:cubicBezTo>
                <a:cubicBezTo>
                  <a:pt x="10" y="245"/>
                  <a:pt x="10" y="245"/>
                  <a:pt x="10" y="245"/>
                </a:cubicBezTo>
                <a:cubicBezTo>
                  <a:pt x="10" y="244"/>
                  <a:pt x="10" y="244"/>
                  <a:pt x="10" y="244"/>
                </a:cubicBezTo>
                <a:cubicBezTo>
                  <a:pt x="11" y="244"/>
                  <a:pt x="11" y="244"/>
                  <a:pt x="11" y="244"/>
                </a:cubicBezTo>
                <a:close/>
                <a:moveTo>
                  <a:pt x="12" y="246"/>
                </a:moveTo>
                <a:cubicBezTo>
                  <a:pt x="13" y="246"/>
                  <a:pt x="13" y="246"/>
                  <a:pt x="13" y="246"/>
                </a:cubicBezTo>
                <a:cubicBezTo>
                  <a:pt x="14" y="245"/>
                  <a:pt x="14" y="245"/>
                  <a:pt x="14" y="245"/>
                </a:cubicBezTo>
                <a:cubicBezTo>
                  <a:pt x="14" y="244"/>
                  <a:pt x="14" y="244"/>
                  <a:pt x="14" y="244"/>
                </a:cubicBezTo>
                <a:cubicBezTo>
                  <a:pt x="15" y="243"/>
                  <a:pt x="15" y="243"/>
                  <a:pt x="15" y="243"/>
                </a:cubicBezTo>
                <a:cubicBezTo>
                  <a:pt x="14" y="243"/>
                  <a:pt x="14" y="243"/>
                  <a:pt x="14" y="243"/>
                </a:cubicBezTo>
                <a:cubicBezTo>
                  <a:pt x="13" y="244"/>
                  <a:pt x="13" y="244"/>
                  <a:pt x="13" y="244"/>
                </a:cubicBezTo>
                <a:cubicBezTo>
                  <a:pt x="13" y="245"/>
                  <a:pt x="13" y="245"/>
                  <a:pt x="13" y="245"/>
                </a:cubicBezTo>
                <a:cubicBezTo>
                  <a:pt x="12" y="246"/>
                  <a:pt x="12" y="246"/>
                  <a:pt x="12" y="246"/>
                </a:cubicBezTo>
                <a:close/>
                <a:moveTo>
                  <a:pt x="18" y="245"/>
                </a:moveTo>
                <a:cubicBezTo>
                  <a:pt x="18" y="243"/>
                  <a:pt x="18" y="243"/>
                  <a:pt x="18" y="243"/>
                </a:cubicBezTo>
                <a:cubicBezTo>
                  <a:pt x="17" y="243"/>
                  <a:pt x="17" y="243"/>
                  <a:pt x="17" y="243"/>
                </a:cubicBezTo>
                <a:cubicBezTo>
                  <a:pt x="17" y="245"/>
                  <a:pt x="17" y="245"/>
                  <a:pt x="17" y="245"/>
                </a:cubicBezTo>
                <a:cubicBezTo>
                  <a:pt x="16" y="245"/>
                  <a:pt x="16" y="245"/>
                  <a:pt x="16" y="245"/>
                </a:cubicBezTo>
                <a:cubicBezTo>
                  <a:pt x="16" y="246"/>
                  <a:pt x="16" y="246"/>
                  <a:pt x="16" y="246"/>
                </a:cubicBezTo>
                <a:cubicBezTo>
                  <a:pt x="17" y="246"/>
                  <a:pt x="17" y="246"/>
                  <a:pt x="17" y="246"/>
                </a:cubicBezTo>
                <a:cubicBezTo>
                  <a:pt x="18" y="245"/>
                  <a:pt x="18" y="245"/>
                  <a:pt x="18" y="245"/>
                </a:cubicBezTo>
                <a:close/>
                <a:moveTo>
                  <a:pt x="33" y="245"/>
                </a:moveTo>
                <a:cubicBezTo>
                  <a:pt x="33" y="244"/>
                  <a:pt x="33" y="244"/>
                  <a:pt x="33" y="244"/>
                </a:cubicBezTo>
                <a:cubicBezTo>
                  <a:pt x="34" y="243"/>
                  <a:pt x="34" y="243"/>
                  <a:pt x="34" y="243"/>
                </a:cubicBezTo>
                <a:cubicBezTo>
                  <a:pt x="34" y="242"/>
                  <a:pt x="34" y="242"/>
                  <a:pt x="34" y="242"/>
                </a:cubicBezTo>
                <a:cubicBezTo>
                  <a:pt x="33" y="241"/>
                  <a:pt x="33" y="241"/>
                  <a:pt x="33" y="241"/>
                </a:cubicBezTo>
                <a:cubicBezTo>
                  <a:pt x="32" y="242"/>
                  <a:pt x="32" y="242"/>
                  <a:pt x="32" y="242"/>
                </a:cubicBezTo>
                <a:cubicBezTo>
                  <a:pt x="32" y="243"/>
                  <a:pt x="32" y="243"/>
                  <a:pt x="32" y="243"/>
                </a:cubicBezTo>
                <a:cubicBezTo>
                  <a:pt x="31" y="243"/>
                  <a:pt x="31" y="243"/>
                  <a:pt x="31" y="243"/>
                </a:cubicBezTo>
                <a:cubicBezTo>
                  <a:pt x="31" y="243"/>
                  <a:pt x="31" y="243"/>
                  <a:pt x="31" y="243"/>
                </a:cubicBezTo>
                <a:cubicBezTo>
                  <a:pt x="30" y="244"/>
                  <a:pt x="30" y="244"/>
                  <a:pt x="30" y="244"/>
                </a:cubicBezTo>
                <a:cubicBezTo>
                  <a:pt x="29" y="244"/>
                  <a:pt x="29" y="244"/>
                  <a:pt x="29" y="244"/>
                </a:cubicBezTo>
                <a:cubicBezTo>
                  <a:pt x="28" y="244"/>
                  <a:pt x="28" y="244"/>
                  <a:pt x="28" y="244"/>
                </a:cubicBezTo>
                <a:cubicBezTo>
                  <a:pt x="28" y="244"/>
                  <a:pt x="28" y="244"/>
                  <a:pt x="28" y="244"/>
                </a:cubicBezTo>
                <a:cubicBezTo>
                  <a:pt x="28" y="245"/>
                  <a:pt x="28" y="245"/>
                  <a:pt x="28" y="245"/>
                </a:cubicBezTo>
                <a:cubicBezTo>
                  <a:pt x="29" y="245"/>
                  <a:pt x="29" y="245"/>
                  <a:pt x="29" y="245"/>
                </a:cubicBezTo>
                <a:cubicBezTo>
                  <a:pt x="30" y="245"/>
                  <a:pt x="30" y="245"/>
                  <a:pt x="30" y="245"/>
                </a:cubicBezTo>
                <a:cubicBezTo>
                  <a:pt x="32" y="244"/>
                  <a:pt x="32" y="244"/>
                  <a:pt x="32" y="244"/>
                </a:cubicBezTo>
                <a:cubicBezTo>
                  <a:pt x="33" y="245"/>
                  <a:pt x="33" y="245"/>
                  <a:pt x="33" y="245"/>
                </a:cubicBezTo>
                <a:close/>
                <a:moveTo>
                  <a:pt x="36" y="245"/>
                </a:moveTo>
                <a:cubicBezTo>
                  <a:pt x="39" y="246"/>
                  <a:pt x="39" y="246"/>
                  <a:pt x="39" y="246"/>
                </a:cubicBezTo>
                <a:cubicBezTo>
                  <a:pt x="39" y="245"/>
                  <a:pt x="39" y="245"/>
                  <a:pt x="39" y="245"/>
                </a:cubicBezTo>
                <a:cubicBezTo>
                  <a:pt x="40" y="246"/>
                  <a:pt x="40" y="246"/>
                  <a:pt x="40" y="246"/>
                </a:cubicBezTo>
                <a:cubicBezTo>
                  <a:pt x="39" y="247"/>
                  <a:pt x="39" y="247"/>
                  <a:pt x="39" y="247"/>
                </a:cubicBezTo>
                <a:cubicBezTo>
                  <a:pt x="36" y="246"/>
                  <a:pt x="36" y="246"/>
                  <a:pt x="36" y="246"/>
                </a:cubicBezTo>
                <a:cubicBezTo>
                  <a:pt x="35" y="246"/>
                  <a:pt x="35" y="246"/>
                  <a:pt x="35" y="246"/>
                </a:cubicBezTo>
                <a:cubicBezTo>
                  <a:pt x="34" y="245"/>
                  <a:pt x="34" y="245"/>
                  <a:pt x="34" y="245"/>
                </a:cubicBezTo>
                <a:cubicBezTo>
                  <a:pt x="34" y="245"/>
                  <a:pt x="36" y="245"/>
                  <a:pt x="36" y="245"/>
                </a:cubicBezTo>
                <a:close/>
                <a:moveTo>
                  <a:pt x="46" y="244"/>
                </a:moveTo>
                <a:cubicBezTo>
                  <a:pt x="45" y="243"/>
                  <a:pt x="45" y="243"/>
                  <a:pt x="45" y="243"/>
                </a:cubicBezTo>
                <a:cubicBezTo>
                  <a:pt x="43" y="243"/>
                  <a:pt x="43" y="243"/>
                  <a:pt x="43" y="243"/>
                </a:cubicBezTo>
                <a:cubicBezTo>
                  <a:pt x="43" y="244"/>
                  <a:pt x="43" y="244"/>
                  <a:pt x="43" y="244"/>
                </a:cubicBezTo>
                <a:cubicBezTo>
                  <a:pt x="45" y="244"/>
                  <a:pt x="45" y="244"/>
                  <a:pt x="45" y="244"/>
                </a:cubicBezTo>
                <a:cubicBezTo>
                  <a:pt x="46" y="244"/>
                  <a:pt x="46" y="244"/>
                  <a:pt x="46" y="244"/>
                </a:cubicBezTo>
                <a:close/>
                <a:moveTo>
                  <a:pt x="53" y="243"/>
                </a:moveTo>
                <a:cubicBezTo>
                  <a:pt x="52" y="241"/>
                  <a:pt x="52" y="241"/>
                  <a:pt x="52" y="241"/>
                </a:cubicBezTo>
                <a:cubicBezTo>
                  <a:pt x="52" y="243"/>
                  <a:pt x="52" y="243"/>
                  <a:pt x="52" y="243"/>
                </a:cubicBezTo>
                <a:cubicBezTo>
                  <a:pt x="53" y="243"/>
                  <a:pt x="53" y="243"/>
                  <a:pt x="53" y="243"/>
                </a:cubicBezTo>
                <a:close/>
                <a:moveTo>
                  <a:pt x="58" y="241"/>
                </a:moveTo>
                <a:cubicBezTo>
                  <a:pt x="56" y="240"/>
                  <a:pt x="56" y="240"/>
                  <a:pt x="56" y="240"/>
                </a:cubicBezTo>
                <a:cubicBezTo>
                  <a:pt x="55" y="241"/>
                  <a:pt x="55" y="241"/>
                  <a:pt x="55" y="241"/>
                </a:cubicBezTo>
                <a:cubicBezTo>
                  <a:pt x="55" y="242"/>
                  <a:pt x="55" y="242"/>
                  <a:pt x="55" y="242"/>
                </a:cubicBezTo>
                <a:cubicBezTo>
                  <a:pt x="57" y="241"/>
                  <a:pt x="57" y="241"/>
                  <a:pt x="57" y="241"/>
                </a:cubicBezTo>
                <a:cubicBezTo>
                  <a:pt x="58" y="241"/>
                  <a:pt x="58" y="241"/>
                  <a:pt x="58" y="241"/>
                </a:cubicBezTo>
                <a:close/>
                <a:moveTo>
                  <a:pt x="61" y="241"/>
                </a:moveTo>
                <a:cubicBezTo>
                  <a:pt x="60" y="240"/>
                  <a:pt x="60" y="240"/>
                  <a:pt x="60" y="240"/>
                </a:cubicBezTo>
                <a:cubicBezTo>
                  <a:pt x="59" y="241"/>
                  <a:pt x="59" y="241"/>
                  <a:pt x="59" y="241"/>
                </a:cubicBezTo>
                <a:cubicBezTo>
                  <a:pt x="60" y="241"/>
                  <a:pt x="60" y="241"/>
                  <a:pt x="60" y="241"/>
                </a:cubicBezTo>
                <a:cubicBezTo>
                  <a:pt x="61" y="241"/>
                  <a:pt x="61" y="241"/>
                  <a:pt x="61" y="241"/>
                </a:cubicBezTo>
                <a:close/>
                <a:moveTo>
                  <a:pt x="61" y="239"/>
                </a:moveTo>
                <a:cubicBezTo>
                  <a:pt x="61" y="238"/>
                  <a:pt x="61" y="238"/>
                  <a:pt x="61" y="238"/>
                </a:cubicBezTo>
                <a:cubicBezTo>
                  <a:pt x="60" y="239"/>
                  <a:pt x="60" y="239"/>
                  <a:pt x="60" y="239"/>
                </a:cubicBezTo>
                <a:cubicBezTo>
                  <a:pt x="61" y="239"/>
                  <a:pt x="61" y="239"/>
                  <a:pt x="61" y="239"/>
                </a:cubicBezTo>
                <a:close/>
                <a:moveTo>
                  <a:pt x="61" y="240"/>
                </a:moveTo>
                <a:cubicBezTo>
                  <a:pt x="62" y="240"/>
                  <a:pt x="62" y="240"/>
                  <a:pt x="62" y="240"/>
                </a:cubicBezTo>
                <a:cubicBezTo>
                  <a:pt x="63" y="240"/>
                  <a:pt x="63" y="240"/>
                  <a:pt x="63" y="240"/>
                </a:cubicBezTo>
                <a:cubicBezTo>
                  <a:pt x="63" y="239"/>
                  <a:pt x="63" y="239"/>
                  <a:pt x="63" y="239"/>
                </a:cubicBezTo>
                <a:cubicBezTo>
                  <a:pt x="61" y="240"/>
                  <a:pt x="61" y="240"/>
                  <a:pt x="61" y="240"/>
                </a:cubicBezTo>
                <a:close/>
                <a:moveTo>
                  <a:pt x="76" y="233"/>
                </a:moveTo>
                <a:cubicBezTo>
                  <a:pt x="76" y="234"/>
                  <a:pt x="76" y="234"/>
                  <a:pt x="76" y="234"/>
                </a:cubicBezTo>
                <a:cubicBezTo>
                  <a:pt x="77" y="234"/>
                  <a:pt x="77" y="234"/>
                  <a:pt x="77" y="234"/>
                </a:cubicBezTo>
                <a:cubicBezTo>
                  <a:pt x="76" y="235"/>
                  <a:pt x="76" y="235"/>
                  <a:pt x="76" y="235"/>
                </a:cubicBezTo>
                <a:cubicBezTo>
                  <a:pt x="75" y="236"/>
                  <a:pt x="75" y="236"/>
                  <a:pt x="75" y="236"/>
                </a:cubicBezTo>
                <a:cubicBezTo>
                  <a:pt x="74" y="237"/>
                  <a:pt x="74" y="237"/>
                  <a:pt x="74" y="237"/>
                </a:cubicBezTo>
                <a:cubicBezTo>
                  <a:pt x="72" y="239"/>
                  <a:pt x="72" y="239"/>
                  <a:pt x="72" y="239"/>
                </a:cubicBezTo>
                <a:cubicBezTo>
                  <a:pt x="70" y="239"/>
                  <a:pt x="70" y="239"/>
                  <a:pt x="70" y="239"/>
                </a:cubicBezTo>
                <a:cubicBezTo>
                  <a:pt x="69" y="241"/>
                  <a:pt x="69" y="241"/>
                  <a:pt x="69" y="241"/>
                </a:cubicBezTo>
                <a:cubicBezTo>
                  <a:pt x="66" y="241"/>
                  <a:pt x="66" y="241"/>
                  <a:pt x="66" y="241"/>
                </a:cubicBezTo>
                <a:cubicBezTo>
                  <a:pt x="67" y="240"/>
                  <a:pt x="67" y="240"/>
                  <a:pt x="67" y="240"/>
                </a:cubicBezTo>
                <a:cubicBezTo>
                  <a:pt x="68" y="240"/>
                  <a:pt x="68" y="240"/>
                  <a:pt x="68" y="240"/>
                </a:cubicBezTo>
                <a:cubicBezTo>
                  <a:pt x="69" y="238"/>
                  <a:pt x="69" y="238"/>
                  <a:pt x="69" y="238"/>
                </a:cubicBezTo>
                <a:cubicBezTo>
                  <a:pt x="70" y="238"/>
                  <a:pt x="70" y="238"/>
                  <a:pt x="70" y="238"/>
                </a:cubicBezTo>
                <a:cubicBezTo>
                  <a:pt x="70" y="237"/>
                  <a:pt x="70" y="237"/>
                  <a:pt x="70" y="237"/>
                </a:cubicBezTo>
                <a:cubicBezTo>
                  <a:pt x="71" y="236"/>
                  <a:pt x="71" y="236"/>
                  <a:pt x="71" y="236"/>
                </a:cubicBezTo>
                <a:cubicBezTo>
                  <a:pt x="73" y="236"/>
                  <a:pt x="73" y="236"/>
                  <a:pt x="73" y="236"/>
                </a:cubicBezTo>
                <a:cubicBezTo>
                  <a:pt x="73" y="234"/>
                  <a:pt x="73" y="234"/>
                  <a:pt x="73" y="234"/>
                </a:cubicBezTo>
                <a:cubicBezTo>
                  <a:pt x="73" y="234"/>
                  <a:pt x="73" y="234"/>
                  <a:pt x="73" y="234"/>
                </a:cubicBezTo>
                <a:cubicBezTo>
                  <a:pt x="75" y="234"/>
                  <a:pt x="75" y="234"/>
                  <a:pt x="75" y="234"/>
                </a:cubicBezTo>
                <a:cubicBezTo>
                  <a:pt x="75" y="234"/>
                  <a:pt x="76" y="233"/>
                  <a:pt x="76" y="233"/>
                </a:cubicBezTo>
                <a:close/>
                <a:moveTo>
                  <a:pt x="86" y="229"/>
                </a:moveTo>
                <a:cubicBezTo>
                  <a:pt x="85" y="229"/>
                  <a:pt x="85" y="229"/>
                  <a:pt x="85" y="229"/>
                </a:cubicBezTo>
                <a:cubicBezTo>
                  <a:pt x="84" y="230"/>
                  <a:pt x="84" y="230"/>
                  <a:pt x="84" y="230"/>
                </a:cubicBezTo>
                <a:cubicBezTo>
                  <a:pt x="84" y="231"/>
                  <a:pt x="84" y="231"/>
                  <a:pt x="84" y="231"/>
                </a:cubicBezTo>
                <a:cubicBezTo>
                  <a:pt x="85" y="232"/>
                  <a:pt x="85" y="232"/>
                  <a:pt x="85" y="232"/>
                </a:cubicBezTo>
                <a:cubicBezTo>
                  <a:pt x="85" y="232"/>
                  <a:pt x="85" y="232"/>
                  <a:pt x="85" y="232"/>
                </a:cubicBezTo>
                <a:cubicBezTo>
                  <a:pt x="83" y="232"/>
                  <a:pt x="83" y="232"/>
                  <a:pt x="83" y="232"/>
                </a:cubicBezTo>
                <a:cubicBezTo>
                  <a:pt x="82" y="232"/>
                  <a:pt x="82" y="232"/>
                  <a:pt x="82" y="232"/>
                </a:cubicBezTo>
                <a:cubicBezTo>
                  <a:pt x="82" y="233"/>
                  <a:pt x="82" y="233"/>
                  <a:pt x="82" y="233"/>
                </a:cubicBezTo>
                <a:cubicBezTo>
                  <a:pt x="82" y="233"/>
                  <a:pt x="82" y="233"/>
                  <a:pt x="82" y="233"/>
                </a:cubicBezTo>
                <a:cubicBezTo>
                  <a:pt x="81" y="235"/>
                  <a:pt x="81" y="235"/>
                  <a:pt x="81" y="235"/>
                </a:cubicBezTo>
                <a:cubicBezTo>
                  <a:pt x="80" y="235"/>
                  <a:pt x="80" y="235"/>
                  <a:pt x="80" y="235"/>
                </a:cubicBezTo>
                <a:cubicBezTo>
                  <a:pt x="78" y="236"/>
                  <a:pt x="78" y="236"/>
                  <a:pt x="78" y="236"/>
                </a:cubicBezTo>
                <a:cubicBezTo>
                  <a:pt x="77" y="236"/>
                  <a:pt x="77" y="236"/>
                  <a:pt x="77" y="236"/>
                </a:cubicBezTo>
                <a:cubicBezTo>
                  <a:pt x="77" y="236"/>
                  <a:pt x="77" y="236"/>
                  <a:pt x="77" y="236"/>
                </a:cubicBezTo>
                <a:cubicBezTo>
                  <a:pt x="77" y="237"/>
                  <a:pt x="77" y="237"/>
                  <a:pt x="77" y="237"/>
                </a:cubicBezTo>
                <a:cubicBezTo>
                  <a:pt x="79" y="237"/>
                  <a:pt x="79" y="237"/>
                  <a:pt x="79" y="237"/>
                </a:cubicBezTo>
                <a:cubicBezTo>
                  <a:pt x="81" y="236"/>
                  <a:pt x="81" y="236"/>
                  <a:pt x="81" y="236"/>
                </a:cubicBezTo>
                <a:cubicBezTo>
                  <a:pt x="82" y="235"/>
                  <a:pt x="82" y="235"/>
                  <a:pt x="82" y="235"/>
                </a:cubicBezTo>
                <a:cubicBezTo>
                  <a:pt x="83" y="236"/>
                  <a:pt x="83" y="236"/>
                  <a:pt x="83" y="236"/>
                </a:cubicBezTo>
                <a:cubicBezTo>
                  <a:pt x="83" y="236"/>
                  <a:pt x="83" y="236"/>
                  <a:pt x="83" y="236"/>
                </a:cubicBezTo>
                <a:cubicBezTo>
                  <a:pt x="84" y="235"/>
                  <a:pt x="84" y="235"/>
                  <a:pt x="84" y="235"/>
                </a:cubicBezTo>
                <a:cubicBezTo>
                  <a:pt x="84" y="234"/>
                  <a:pt x="84" y="234"/>
                  <a:pt x="84" y="234"/>
                </a:cubicBezTo>
                <a:cubicBezTo>
                  <a:pt x="85" y="234"/>
                  <a:pt x="85" y="234"/>
                  <a:pt x="85" y="234"/>
                </a:cubicBezTo>
                <a:cubicBezTo>
                  <a:pt x="85" y="235"/>
                  <a:pt x="85" y="235"/>
                  <a:pt x="85" y="235"/>
                </a:cubicBezTo>
                <a:cubicBezTo>
                  <a:pt x="86" y="235"/>
                  <a:pt x="86" y="235"/>
                  <a:pt x="86" y="235"/>
                </a:cubicBezTo>
                <a:cubicBezTo>
                  <a:pt x="87" y="233"/>
                  <a:pt x="87" y="233"/>
                  <a:pt x="87" y="233"/>
                </a:cubicBezTo>
                <a:cubicBezTo>
                  <a:pt x="88" y="233"/>
                  <a:pt x="88" y="233"/>
                  <a:pt x="88" y="233"/>
                </a:cubicBezTo>
                <a:cubicBezTo>
                  <a:pt x="88" y="232"/>
                  <a:pt x="88" y="232"/>
                  <a:pt x="88" y="232"/>
                </a:cubicBezTo>
                <a:cubicBezTo>
                  <a:pt x="87" y="232"/>
                  <a:pt x="87" y="232"/>
                  <a:pt x="87" y="232"/>
                </a:cubicBezTo>
                <a:cubicBezTo>
                  <a:pt x="89" y="231"/>
                  <a:pt x="89" y="231"/>
                  <a:pt x="89" y="231"/>
                </a:cubicBezTo>
                <a:cubicBezTo>
                  <a:pt x="88" y="230"/>
                  <a:pt x="88" y="230"/>
                  <a:pt x="88" y="230"/>
                </a:cubicBezTo>
                <a:cubicBezTo>
                  <a:pt x="87" y="229"/>
                  <a:pt x="87" y="229"/>
                  <a:pt x="87" y="229"/>
                </a:cubicBezTo>
                <a:cubicBezTo>
                  <a:pt x="86" y="229"/>
                  <a:pt x="86" y="229"/>
                  <a:pt x="86" y="229"/>
                </a:cubicBezTo>
                <a:close/>
                <a:moveTo>
                  <a:pt x="90" y="230"/>
                </a:moveTo>
                <a:cubicBezTo>
                  <a:pt x="90" y="230"/>
                  <a:pt x="90" y="230"/>
                  <a:pt x="90" y="230"/>
                </a:cubicBezTo>
                <a:cubicBezTo>
                  <a:pt x="89" y="229"/>
                  <a:pt x="89" y="229"/>
                  <a:pt x="89" y="229"/>
                </a:cubicBezTo>
                <a:cubicBezTo>
                  <a:pt x="89" y="230"/>
                  <a:pt x="89" y="230"/>
                  <a:pt x="89" y="230"/>
                </a:cubicBezTo>
                <a:cubicBezTo>
                  <a:pt x="90" y="230"/>
                  <a:pt x="90" y="230"/>
                  <a:pt x="90" y="230"/>
                </a:cubicBezTo>
                <a:close/>
                <a:moveTo>
                  <a:pt x="97" y="229"/>
                </a:moveTo>
                <a:cubicBezTo>
                  <a:pt x="97" y="229"/>
                  <a:pt x="97" y="229"/>
                  <a:pt x="97" y="229"/>
                </a:cubicBezTo>
                <a:cubicBezTo>
                  <a:pt x="98" y="229"/>
                  <a:pt x="98" y="229"/>
                  <a:pt x="98" y="229"/>
                </a:cubicBezTo>
                <a:cubicBezTo>
                  <a:pt x="98" y="230"/>
                  <a:pt x="98" y="230"/>
                  <a:pt x="98" y="230"/>
                </a:cubicBezTo>
                <a:cubicBezTo>
                  <a:pt x="97" y="230"/>
                  <a:pt x="97" y="230"/>
                  <a:pt x="97" y="230"/>
                </a:cubicBezTo>
                <a:cubicBezTo>
                  <a:pt x="97" y="229"/>
                  <a:pt x="97" y="229"/>
                  <a:pt x="97" y="229"/>
                </a:cubicBezTo>
                <a:close/>
                <a:moveTo>
                  <a:pt x="95" y="230"/>
                </a:moveTo>
                <a:cubicBezTo>
                  <a:pt x="95" y="229"/>
                  <a:pt x="95" y="229"/>
                  <a:pt x="95" y="229"/>
                </a:cubicBezTo>
                <a:cubicBezTo>
                  <a:pt x="96" y="230"/>
                  <a:pt x="96" y="230"/>
                  <a:pt x="96" y="230"/>
                </a:cubicBezTo>
                <a:cubicBezTo>
                  <a:pt x="95" y="230"/>
                  <a:pt x="95" y="230"/>
                  <a:pt x="95" y="230"/>
                </a:cubicBezTo>
                <a:close/>
                <a:moveTo>
                  <a:pt x="94" y="229"/>
                </a:moveTo>
                <a:cubicBezTo>
                  <a:pt x="94" y="228"/>
                  <a:pt x="94" y="228"/>
                  <a:pt x="94" y="228"/>
                </a:cubicBezTo>
                <a:cubicBezTo>
                  <a:pt x="94" y="227"/>
                  <a:pt x="94" y="227"/>
                  <a:pt x="94" y="227"/>
                </a:cubicBezTo>
                <a:cubicBezTo>
                  <a:pt x="95" y="227"/>
                  <a:pt x="95" y="227"/>
                  <a:pt x="95" y="227"/>
                </a:cubicBezTo>
                <a:cubicBezTo>
                  <a:pt x="95" y="228"/>
                  <a:pt x="95" y="228"/>
                  <a:pt x="95" y="228"/>
                </a:cubicBezTo>
                <a:cubicBezTo>
                  <a:pt x="94" y="229"/>
                  <a:pt x="94" y="229"/>
                  <a:pt x="94" y="229"/>
                </a:cubicBezTo>
                <a:close/>
                <a:moveTo>
                  <a:pt x="92" y="227"/>
                </a:moveTo>
                <a:cubicBezTo>
                  <a:pt x="91" y="228"/>
                  <a:pt x="91" y="228"/>
                  <a:pt x="91" y="228"/>
                </a:cubicBezTo>
                <a:cubicBezTo>
                  <a:pt x="91" y="229"/>
                  <a:pt x="91" y="229"/>
                  <a:pt x="91" y="229"/>
                </a:cubicBezTo>
                <a:cubicBezTo>
                  <a:pt x="92" y="230"/>
                  <a:pt x="92" y="230"/>
                  <a:pt x="92" y="230"/>
                </a:cubicBezTo>
                <a:cubicBezTo>
                  <a:pt x="93" y="229"/>
                  <a:pt x="93" y="229"/>
                  <a:pt x="93" y="229"/>
                </a:cubicBezTo>
                <a:cubicBezTo>
                  <a:pt x="93" y="228"/>
                  <a:pt x="93" y="228"/>
                  <a:pt x="93" y="228"/>
                </a:cubicBezTo>
                <a:cubicBezTo>
                  <a:pt x="92" y="228"/>
                  <a:pt x="92" y="228"/>
                  <a:pt x="92" y="228"/>
                </a:cubicBezTo>
                <a:cubicBezTo>
                  <a:pt x="92" y="227"/>
                  <a:pt x="92" y="227"/>
                  <a:pt x="92" y="227"/>
                </a:cubicBezTo>
                <a:close/>
                <a:moveTo>
                  <a:pt x="150" y="176"/>
                </a:moveTo>
                <a:cubicBezTo>
                  <a:pt x="149" y="176"/>
                  <a:pt x="149" y="176"/>
                  <a:pt x="149" y="176"/>
                </a:cubicBezTo>
                <a:cubicBezTo>
                  <a:pt x="151" y="175"/>
                  <a:pt x="151" y="175"/>
                  <a:pt x="151" y="175"/>
                </a:cubicBezTo>
                <a:cubicBezTo>
                  <a:pt x="150" y="176"/>
                  <a:pt x="150" y="176"/>
                  <a:pt x="150" y="176"/>
                </a:cubicBezTo>
                <a:cubicBezTo>
                  <a:pt x="150" y="176"/>
                  <a:pt x="150" y="176"/>
                  <a:pt x="150" y="176"/>
                </a:cubicBezTo>
                <a:close/>
                <a:moveTo>
                  <a:pt x="147" y="177"/>
                </a:moveTo>
                <a:cubicBezTo>
                  <a:pt x="147" y="177"/>
                  <a:pt x="147" y="177"/>
                  <a:pt x="147" y="177"/>
                </a:cubicBezTo>
                <a:cubicBezTo>
                  <a:pt x="147" y="176"/>
                  <a:pt x="147" y="176"/>
                  <a:pt x="147" y="176"/>
                </a:cubicBezTo>
                <a:cubicBezTo>
                  <a:pt x="148" y="175"/>
                  <a:pt x="148" y="175"/>
                  <a:pt x="148" y="175"/>
                </a:cubicBezTo>
                <a:cubicBezTo>
                  <a:pt x="149" y="174"/>
                  <a:pt x="149" y="174"/>
                  <a:pt x="149" y="174"/>
                </a:cubicBezTo>
                <a:cubicBezTo>
                  <a:pt x="149" y="175"/>
                  <a:pt x="149" y="175"/>
                  <a:pt x="149" y="175"/>
                </a:cubicBezTo>
                <a:cubicBezTo>
                  <a:pt x="148" y="176"/>
                  <a:pt x="148" y="176"/>
                  <a:pt x="148" y="176"/>
                </a:cubicBezTo>
                <a:cubicBezTo>
                  <a:pt x="147" y="177"/>
                  <a:pt x="147" y="177"/>
                  <a:pt x="147" y="177"/>
                </a:cubicBezTo>
                <a:close/>
                <a:moveTo>
                  <a:pt x="99" y="225"/>
                </a:moveTo>
                <a:cubicBezTo>
                  <a:pt x="100" y="223"/>
                  <a:pt x="100" y="223"/>
                  <a:pt x="100" y="223"/>
                </a:cubicBezTo>
                <a:cubicBezTo>
                  <a:pt x="100" y="223"/>
                  <a:pt x="100" y="223"/>
                  <a:pt x="100" y="223"/>
                </a:cubicBezTo>
                <a:cubicBezTo>
                  <a:pt x="101" y="223"/>
                  <a:pt x="101" y="223"/>
                  <a:pt x="101" y="223"/>
                </a:cubicBezTo>
                <a:cubicBezTo>
                  <a:pt x="102" y="222"/>
                  <a:pt x="102" y="222"/>
                  <a:pt x="102" y="222"/>
                </a:cubicBezTo>
                <a:cubicBezTo>
                  <a:pt x="102" y="222"/>
                  <a:pt x="102" y="222"/>
                  <a:pt x="102" y="222"/>
                </a:cubicBezTo>
                <a:cubicBezTo>
                  <a:pt x="103" y="220"/>
                  <a:pt x="103" y="220"/>
                  <a:pt x="103" y="220"/>
                </a:cubicBezTo>
                <a:cubicBezTo>
                  <a:pt x="104" y="220"/>
                  <a:pt x="104" y="220"/>
                  <a:pt x="104" y="220"/>
                </a:cubicBezTo>
                <a:cubicBezTo>
                  <a:pt x="105" y="221"/>
                  <a:pt x="105" y="221"/>
                  <a:pt x="105" y="221"/>
                </a:cubicBezTo>
                <a:cubicBezTo>
                  <a:pt x="105" y="220"/>
                  <a:pt x="105" y="220"/>
                  <a:pt x="105" y="220"/>
                </a:cubicBezTo>
                <a:cubicBezTo>
                  <a:pt x="107" y="221"/>
                  <a:pt x="107" y="221"/>
                  <a:pt x="107" y="221"/>
                </a:cubicBezTo>
                <a:cubicBezTo>
                  <a:pt x="108" y="220"/>
                  <a:pt x="108" y="220"/>
                  <a:pt x="108" y="220"/>
                </a:cubicBezTo>
                <a:cubicBezTo>
                  <a:pt x="108" y="220"/>
                  <a:pt x="108" y="220"/>
                  <a:pt x="108" y="220"/>
                </a:cubicBezTo>
                <a:cubicBezTo>
                  <a:pt x="110" y="220"/>
                  <a:pt x="110" y="220"/>
                  <a:pt x="110" y="220"/>
                </a:cubicBezTo>
                <a:cubicBezTo>
                  <a:pt x="110" y="221"/>
                  <a:pt x="110" y="221"/>
                  <a:pt x="110" y="221"/>
                </a:cubicBezTo>
                <a:cubicBezTo>
                  <a:pt x="110" y="222"/>
                  <a:pt x="110" y="222"/>
                  <a:pt x="110" y="222"/>
                </a:cubicBezTo>
                <a:cubicBezTo>
                  <a:pt x="112" y="223"/>
                  <a:pt x="112" y="223"/>
                  <a:pt x="112" y="223"/>
                </a:cubicBezTo>
                <a:cubicBezTo>
                  <a:pt x="112" y="224"/>
                  <a:pt x="112" y="224"/>
                  <a:pt x="112" y="224"/>
                </a:cubicBezTo>
                <a:cubicBezTo>
                  <a:pt x="110" y="224"/>
                  <a:pt x="110" y="224"/>
                  <a:pt x="110" y="224"/>
                </a:cubicBezTo>
                <a:cubicBezTo>
                  <a:pt x="109" y="225"/>
                  <a:pt x="109" y="225"/>
                  <a:pt x="109" y="225"/>
                </a:cubicBezTo>
                <a:cubicBezTo>
                  <a:pt x="107" y="225"/>
                  <a:pt x="107" y="225"/>
                  <a:pt x="107" y="225"/>
                </a:cubicBezTo>
                <a:cubicBezTo>
                  <a:pt x="106" y="224"/>
                  <a:pt x="106" y="224"/>
                  <a:pt x="106" y="224"/>
                </a:cubicBezTo>
                <a:cubicBezTo>
                  <a:pt x="103" y="224"/>
                  <a:pt x="103" y="224"/>
                  <a:pt x="103" y="224"/>
                </a:cubicBezTo>
                <a:cubicBezTo>
                  <a:pt x="102" y="226"/>
                  <a:pt x="102" y="226"/>
                  <a:pt x="102" y="226"/>
                </a:cubicBezTo>
                <a:cubicBezTo>
                  <a:pt x="102" y="226"/>
                  <a:pt x="102" y="226"/>
                  <a:pt x="102" y="226"/>
                </a:cubicBezTo>
                <a:cubicBezTo>
                  <a:pt x="101" y="226"/>
                  <a:pt x="101" y="226"/>
                  <a:pt x="101" y="226"/>
                </a:cubicBezTo>
                <a:cubicBezTo>
                  <a:pt x="100" y="226"/>
                  <a:pt x="100" y="226"/>
                  <a:pt x="100" y="226"/>
                </a:cubicBezTo>
                <a:lnTo>
                  <a:pt x="99" y="225"/>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3" name="Freeform 171">
            <a:extLst>
              <a:ext uri="{FF2B5EF4-FFF2-40B4-BE49-F238E27FC236}">
                <a16:creationId xmlns:a16="http://schemas.microsoft.com/office/drawing/2014/main" id="{6E1BCBA6-4DC1-3C57-70CD-9D13C7A8245A}"/>
              </a:ext>
            </a:extLst>
          </p:cNvPr>
          <p:cNvSpPr>
            <a:spLocks/>
          </p:cNvSpPr>
          <p:nvPr userDrawn="1"/>
        </p:nvSpPr>
        <p:spPr bwMode="auto">
          <a:xfrm>
            <a:off x="8168743" y="8133633"/>
            <a:ext cx="19049" cy="12702"/>
          </a:xfrm>
          <a:custGeom>
            <a:avLst/>
            <a:gdLst>
              <a:gd name="T0" fmla="*/ 6 w 6"/>
              <a:gd name="T1" fmla="*/ 0 h 4"/>
              <a:gd name="T2" fmla="*/ 3 w 6"/>
              <a:gd name="T3" fmla="*/ 0 h 4"/>
              <a:gd name="T4" fmla="*/ 0 w 6"/>
              <a:gd name="T5" fmla="*/ 4 h 4"/>
              <a:gd name="T6" fmla="*/ 3 w 6"/>
              <a:gd name="T7" fmla="*/ 4 h 4"/>
              <a:gd name="T8" fmla="*/ 6 w 6"/>
              <a:gd name="T9" fmla="*/ 0 h 4"/>
            </a:gdLst>
            <a:ahLst/>
            <a:cxnLst>
              <a:cxn ang="0">
                <a:pos x="T0" y="T1"/>
              </a:cxn>
              <a:cxn ang="0">
                <a:pos x="T2" y="T3"/>
              </a:cxn>
              <a:cxn ang="0">
                <a:pos x="T4" y="T5"/>
              </a:cxn>
              <a:cxn ang="0">
                <a:pos x="T6" y="T7"/>
              </a:cxn>
              <a:cxn ang="0">
                <a:pos x="T8" y="T9"/>
              </a:cxn>
            </a:cxnLst>
            <a:rect l="0" t="0" r="r" b="b"/>
            <a:pathLst>
              <a:path w="6" h="4">
                <a:moveTo>
                  <a:pt x="6" y="0"/>
                </a:moveTo>
                <a:lnTo>
                  <a:pt x="3" y="0"/>
                </a:lnTo>
                <a:lnTo>
                  <a:pt x="0" y="4"/>
                </a:lnTo>
                <a:lnTo>
                  <a:pt x="3" y="4"/>
                </a:lnTo>
                <a:lnTo>
                  <a:pt x="6"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4" name="Freeform 172">
            <a:extLst>
              <a:ext uri="{FF2B5EF4-FFF2-40B4-BE49-F238E27FC236}">
                <a16:creationId xmlns:a16="http://schemas.microsoft.com/office/drawing/2014/main" id="{B30FBD93-DEBC-EF1E-658A-A3FB3C890D7B}"/>
              </a:ext>
            </a:extLst>
          </p:cNvPr>
          <p:cNvSpPr>
            <a:spLocks/>
          </p:cNvSpPr>
          <p:nvPr userDrawn="1"/>
        </p:nvSpPr>
        <p:spPr bwMode="auto">
          <a:xfrm>
            <a:off x="8356053" y="8193959"/>
            <a:ext cx="139693" cy="60326"/>
          </a:xfrm>
          <a:custGeom>
            <a:avLst/>
            <a:gdLst>
              <a:gd name="T0" fmla="*/ 6 w 44"/>
              <a:gd name="T1" fmla="*/ 0 h 19"/>
              <a:gd name="T2" fmla="*/ 9 w 44"/>
              <a:gd name="T3" fmla="*/ 0 h 19"/>
              <a:gd name="T4" fmla="*/ 16 w 44"/>
              <a:gd name="T5" fmla="*/ 0 h 19"/>
              <a:gd name="T6" fmla="*/ 31 w 44"/>
              <a:gd name="T7" fmla="*/ 0 h 19"/>
              <a:gd name="T8" fmla="*/ 34 w 44"/>
              <a:gd name="T9" fmla="*/ 6 h 19"/>
              <a:gd name="T10" fmla="*/ 41 w 44"/>
              <a:gd name="T11" fmla="*/ 6 h 19"/>
              <a:gd name="T12" fmla="*/ 44 w 44"/>
              <a:gd name="T13" fmla="*/ 10 h 19"/>
              <a:gd name="T14" fmla="*/ 44 w 44"/>
              <a:gd name="T15" fmla="*/ 13 h 19"/>
              <a:gd name="T16" fmla="*/ 38 w 44"/>
              <a:gd name="T17" fmla="*/ 13 h 19"/>
              <a:gd name="T18" fmla="*/ 34 w 44"/>
              <a:gd name="T19" fmla="*/ 13 h 19"/>
              <a:gd name="T20" fmla="*/ 31 w 44"/>
              <a:gd name="T21" fmla="*/ 16 h 19"/>
              <a:gd name="T22" fmla="*/ 31 w 44"/>
              <a:gd name="T23" fmla="*/ 16 h 19"/>
              <a:gd name="T24" fmla="*/ 28 w 44"/>
              <a:gd name="T25" fmla="*/ 13 h 19"/>
              <a:gd name="T26" fmla="*/ 25 w 44"/>
              <a:gd name="T27" fmla="*/ 13 h 19"/>
              <a:gd name="T28" fmla="*/ 25 w 44"/>
              <a:gd name="T29" fmla="*/ 19 h 19"/>
              <a:gd name="T30" fmla="*/ 22 w 44"/>
              <a:gd name="T31" fmla="*/ 16 h 19"/>
              <a:gd name="T32" fmla="*/ 19 w 44"/>
              <a:gd name="T33" fmla="*/ 16 h 19"/>
              <a:gd name="T34" fmla="*/ 13 w 44"/>
              <a:gd name="T35" fmla="*/ 16 h 19"/>
              <a:gd name="T36" fmla="*/ 9 w 44"/>
              <a:gd name="T37" fmla="*/ 13 h 19"/>
              <a:gd name="T38" fmla="*/ 9 w 44"/>
              <a:gd name="T39" fmla="*/ 6 h 19"/>
              <a:gd name="T40" fmla="*/ 6 w 44"/>
              <a:gd name="T41" fmla="*/ 6 h 19"/>
              <a:gd name="T42" fmla="*/ 3 w 44"/>
              <a:gd name="T43" fmla="*/ 6 h 19"/>
              <a:gd name="T44" fmla="*/ 0 w 44"/>
              <a:gd name="T45" fmla="*/ 3 h 19"/>
              <a:gd name="T46" fmla="*/ 3 w 44"/>
              <a:gd name="T47" fmla="*/ 0 h 19"/>
              <a:gd name="T48" fmla="*/ 6 w 44"/>
              <a:gd name="T4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19">
                <a:moveTo>
                  <a:pt x="6" y="0"/>
                </a:moveTo>
                <a:lnTo>
                  <a:pt x="9" y="0"/>
                </a:lnTo>
                <a:lnTo>
                  <a:pt x="16" y="0"/>
                </a:lnTo>
                <a:lnTo>
                  <a:pt x="31" y="0"/>
                </a:lnTo>
                <a:lnTo>
                  <a:pt x="34" y="6"/>
                </a:lnTo>
                <a:lnTo>
                  <a:pt x="41" y="6"/>
                </a:lnTo>
                <a:lnTo>
                  <a:pt x="44" y="10"/>
                </a:lnTo>
                <a:lnTo>
                  <a:pt x="44" y="13"/>
                </a:lnTo>
                <a:lnTo>
                  <a:pt x="38" y="13"/>
                </a:lnTo>
                <a:lnTo>
                  <a:pt x="34" y="13"/>
                </a:lnTo>
                <a:lnTo>
                  <a:pt x="31" y="16"/>
                </a:lnTo>
                <a:lnTo>
                  <a:pt x="31" y="16"/>
                </a:lnTo>
                <a:lnTo>
                  <a:pt x="28" y="13"/>
                </a:lnTo>
                <a:lnTo>
                  <a:pt x="25" y="13"/>
                </a:lnTo>
                <a:lnTo>
                  <a:pt x="25" y="19"/>
                </a:lnTo>
                <a:lnTo>
                  <a:pt x="22" y="16"/>
                </a:lnTo>
                <a:lnTo>
                  <a:pt x="19" y="16"/>
                </a:lnTo>
                <a:lnTo>
                  <a:pt x="13" y="16"/>
                </a:lnTo>
                <a:lnTo>
                  <a:pt x="9" y="13"/>
                </a:lnTo>
                <a:lnTo>
                  <a:pt x="9" y="6"/>
                </a:lnTo>
                <a:lnTo>
                  <a:pt x="6" y="6"/>
                </a:lnTo>
                <a:lnTo>
                  <a:pt x="3" y="6"/>
                </a:lnTo>
                <a:lnTo>
                  <a:pt x="0" y="3"/>
                </a:lnTo>
                <a:lnTo>
                  <a:pt x="3" y="0"/>
                </a:lnTo>
                <a:lnTo>
                  <a:pt x="6"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5" name="Freeform 173">
            <a:extLst>
              <a:ext uri="{FF2B5EF4-FFF2-40B4-BE49-F238E27FC236}">
                <a16:creationId xmlns:a16="http://schemas.microsoft.com/office/drawing/2014/main" id="{583C1B08-E6C0-599B-A719-1F568E64D1BC}"/>
              </a:ext>
            </a:extLst>
          </p:cNvPr>
          <p:cNvSpPr>
            <a:spLocks noEditPoints="1"/>
          </p:cNvSpPr>
          <p:nvPr userDrawn="1"/>
        </p:nvSpPr>
        <p:spPr bwMode="auto">
          <a:xfrm>
            <a:off x="8603689" y="8086007"/>
            <a:ext cx="168267" cy="139702"/>
          </a:xfrm>
          <a:custGeom>
            <a:avLst/>
            <a:gdLst>
              <a:gd name="T0" fmla="*/ 15 w 17"/>
              <a:gd name="T1" fmla="*/ 13 h 14"/>
              <a:gd name="T2" fmla="*/ 16 w 17"/>
              <a:gd name="T3" fmla="*/ 10 h 14"/>
              <a:gd name="T4" fmla="*/ 16 w 17"/>
              <a:gd name="T5" fmla="*/ 8 h 14"/>
              <a:gd name="T6" fmla="*/ 17 w 17"/>
              <a:gd name="T7" fmla="*/ 7 h 14"/>
              <a:gd name="T8" fmla="*/ 17 w 17"/>
              <a:gd name="T9" fmla="*/ 5 h 14"/>
              <a:gd name="T10" fmla="*/ 17 w 17"/>
              <a:gd name="T11" fmla="*/ 3 h 14"/>
              <a:gd name="T12" fmla="*/ 16 w 17"/>
              <a:gd name="T13" fmla="*/ 3 h 14"/>
              <a:gd name="T14" fmla="*/ 14 w 17"/>
              <a:gd name="T15" fmla="*/ 2 h 14"/>
              <a:gd name="T16" fmla="*/ 10 w 17"/>
              <a:gd name="T17" fmla="*/ 2 h 14"/>
              <a:gd name="T18" fmla="*/ 7 w 17"/>
              <a:gd name="T19" fmla="*/ 2 h 14"/>
              <a:gd name="T20" fmla="*/ 8 w 17"/>
              <a:gd name="T21" fmla="*/ 3 h 14"/>
              <a:gd name="T22" fmla="*/ 11 w 17"/>
              <a:gd name="T23" fmla="*/ 5 h 14"/>
              <a:gd name="T24" fmla="*/ 11 w 17"/>
              <a:gd name="T25" fmla="*/ 7 h 14"/>
              <a:gd name="T26" fmla="*/ 13 w 17"/>
              <a:gd name="T27" fmla="*/ 9 h 14"/>
              <a:gd name="T28" fmla="*/ 14 w 17"/>
              <a:gd name="T29" fmla="*/ 11 h 14"/>
              <a:gd name="T30" fmla="*/ 11 w 17"/>
              <a:gd name="T31" fmla="*/ 11 h 14"/>
              <a:gd name="T32" fmla="*/ 8 w 17"/>
              <a:gd name="T33" fmla="*/ 11 h 14"/>
              <a:gd name="T34" fmla="*/ 5 w 17"/>
              <a:gd name="T35" fmla="*/ 11 h 14"/>
              <a:gd name="T36" fmla="*/ 5 w 17"/>
              <a:gd name="T37" fmla="*/ 10 h 14"/>
              <a:gd name="T38" fmla="*/ 2 w 17"/>
              <a:gd name="T39" fmla="*/ 10 h 14"/>
              <a:gd name="T40" fmla="*/ 0 w 17"/>
              <a:gd name="T41" fmla="*/ 11 h 14"/>
              <a:gd name="T42" fmla="*/ 2 w 17"/>
              <a:gd name="T43" fmla="*/ 12 h 14"/>
              <a:gd name="T44" fmla="*/ 4 w 17"/>
              <a:gd name="T45" fmla="*/ 14 h 14"/>
              <a:gd name="T46" fmla="*/ 5 w 17"/>
              <a:gd name="T47" fmla="*/ 13 h 14"/>
              <a:gd name="T48" fmla="*/ 9 w 17"/>
              <a:gd name="T49" fmla="*/ 13 h 14"/>
              <a:gd name="T50" fmla="*/ 13 w 17"/>
              <a:gd name="T51" fmla="*/ 13 h 14"/>
              <a:gd name="T52" fmla="*/ 15 w 17"/>
              <a:gd name="T53" fmla="*/ 14 h 14"/>
              <a:gd name="T54" fmla="*/ 11 w 17"/>
              <a:gd name="T55" fmla="*/ 0 h 14"/>
              <a:gd name="T56" fmla="*/ 11 w 17"/>
              <a:gd name="T57" fmla="*/ 1 h 14"/>
              <a:gd name="T58" fmla="*/ 7 w 17"/>
              <a:gd name="T59" fmla="*/ 8 h 14"/>
              <a:gd name="T60" fmla="*/ 10 w 17"/>
              <a:gd name="T61" fmla="*/ 8 h 14"/>
              <a:gd name="T62" fmla="*/ 8 w 17"/>
              <a:gd name="T63"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14">
                <a:moveTo>
                  <a:pt x="15" y="14"/>
                </a:moveTo>
                <a:cubicBezTo>
                  <a:pt x="15" y="13"/>
                  <a:pt x="15" y="13"/>
                  <a:pt x="15" y="13"/>
                </a:cubicBezTo>
                <a:cubicBezTo>
                  <a:pt x="16" y="11"/>
                  <a:pt x="16" y="11"/>
                  <a:pt x="16" y="11"/>
                </a:cubicBezTo>
                <a:cubicBezTo>
                  <a:pt x="16" y="10"/>
                  <a:pt x="16" y="10"/>
                  <a:pt x="16" y="10"/>
                </a:cubicBezTo>
                <a:cubicBezTo>
                  <a:pt x="16" y="9"/>
                  <a:pt x="16" y="9"/>
                  <a:pt x="16" y="9"/>
                </a:cubicBezTo>
                <a:cubicBezTo>
                  <a:pt x="16" y="8"/>
                  <a:pt x="16" y="8"/>
                  <a:pt x="16" y="8"/>
                </a:cubicBezTo>
                <a:cubicBezTo>
                  <a:pt x="16" y="8"/>
                  <a:pt x="16" y="8"/>
                  <a:pt x="16" y="8"/>
                </a:cubicBezTo>
                <a:cubicBezTo>
                  <a:pt x="17" y="7"/>
                  <a:pt x="17" y="7"/>
                  <a:pt x="17" y="7"/>
                </a:cubicBezTo>
                <a:cubicBezTo>
                  <a:pt x="17" y="6"/>
                  <a:pt x="17" y="6"/>
                  <a:pt x="17" y="6"/>
                </a:cubicBezTo>
                <a:cubicBezTo>
                  <a:pt x="17" y="5"/>
                  <a:pt x="17" y="5"/>
                  <a:pt x="17" y="5"/>
                </a:cubicBezTo>
                <a:cubicBezTo>
                  <a:pt x="17" y="4"/>
                  <a:pt x="17" y="4"/>
                  <a:pt x="17" y="4"/>
                </a:cubicBezTo>
                <a:cubicBezTo>
                  <a:pt x="17" y="3"/>
                  <a:pt x="17" y="3"/>
                  <a:pt x="17" y="3"/>
                </a:cubicBezTo>
                <a:cubicBezTo>
                  <a:pt x="17" y="3"/>
                  <a:pt x="17" y="3"/>
                  <a:pt x="17" y="3"/>
                </a:cubicBezTo>
                <a:cubicBezTo>
                  <a:pt x="16" y="3"/>
                  <a:pt x="16" y="3"/>
                  <a:pt x="16" y="3"/>
                </a:cubicBezTo>
                <a:cubicBezTo>
                  <a:pt x="15" y="3"/>
                  <a:pt x="15" y="3"/>
                  <a:pt x="15" y="3"/>
                </a:cubicBezTo>
                <a:cubicBezTo>
                  <a:pt x="14" y="2"/>
                  <a:pt x="14" y="2"/>
                  <a:pt x="14" y="2"/>
                </a:cubicBezTo>
                <a:cubicBezTo>
                  <a:pt x="11" y="2"/>
                  <a:pt x="11" y="2"/>
                  <a:pt x="11" y="2"/>
                </a:cubicBezTo>
                <a:cubicBezTo>
                  <a:pt x="10" y="2"/>
                  <a:pt x="10" y="2"/>
                  <a:pt x="10" y="2"/>
                </a:cubicBezTo>
                <a:cubicBezTo>
                  <a:pt x="9" y="2"/>
                  <a:pt x="9" y="2"/>
                  <a:pt x="9" y="2"/>
                </a:cubicBezTo>
                <a:cubicBezTo>
                  <a:pt x="7" y="2"/>
                  <a:pt x="7" y="2"/>
                  <a:pt x="7" y="2"/>
                </a:cubicBezTo>
                <a:cubicBezTo>
                  <a:pt x="7" y="2"/>
                  <a:pt x="7" y="2"/>
                  <a:pt x="7" y="2"/>
                </a:cubicBezTo>
                <a:cubicBezTo>
                  <a:pt x="7" y="2"/>
                  <a:pt x="8" y="3"/>
                  <a:pt x="8" y="3"/>
                </a:cubicBezTo>
                <a:cubicBezTo>
                  <a:pt x="11" y="4"/>
                  <a:pt x="11" y="4"/>
                  <a:pt x="11" y="4"/>
                </a:cubicBezTo>
                <a:cubicBezTo>
                  <a:pt x="11" y="5"/>
                  <a:pt x="11" y="5"/>
                  <a:pt x="11" y="5"/>
                </a:cubicBezTo>
                <a:cubicBezTo>
                  <a:pt x="11" y="6"/>
                  <a:pt x="11" y="6"/>
                  <a:pt x="11" y="6"/>
                </a:cubicBezTo>
                <a:cubicBezTo>
                  <a:pt x="11" y="7"/>
                  <a:pt x="11" y="7"/>
                  <a:pt x="11" y="7"/>
                </a:cubicBezTo>
                <a:cubicBezTo>
                  <a:pt x="11" y="8"/>
                  <a:pt x="11" y="8"/>
                  <a:pt x="11" y="8"/>
                </a:cubicBezTo>
                <a:cubicBezTo>
                  <a:pt x="13" y="9"/>
                  <a:pt x="13" y="9"/>
                  <a:pt x="13" y="9"/>
                </a:cubicBezTo>
                <a:cubicBezTo>
                  <a:pt x="14" y="10"/>
                  <a:pt x="14" y="10"/>
                  <a:pt x="14" y="10"/>
                </a:cubicBezTo>
                <a:cubicBezTo>
                  <a:pt x="14" y="11"/>
                  <a:pt x="14" y="11"/>
                  <a:pt x="14" y="11"/>
                </a:cubicBezTo>
                <a:cubicBezTo>
                  <a:pt x="11" y="11"/>
                  <a:pt x="11" y="11"/>
                  <a:pt x="11" y="11"/>
                </a:cubicBezTo>
                <a:cubicBezTo>
                  <a:pt x="11" y="11"/>
                  <a:pt x="11" y="11"/>
                  <a:pt x="11" y="11"/>
                </a:cubicBezTo>
                <a:cubicBezTo>
                  <a:pt x="9" y="11"/>
                  <a:pt x="9" y="11"/>
                  <a:pt x="9" y="11"/>
                </a:cubicBezTo>
                <a:cubicBezTo>
                  <a:pt x="8" y="11"/>
                  <a:pt x="8" y="11"/>
                  <a:pt x="8" y="11"/>
                </a:cubicBezTo>
                <a:cubicBezTo>
                  <a:pt x="7" y="10"/>
                  <a:pt x="7" y="10"/>
                  <a:pt x="7" y="10"/>
                </a:cubicBezTo>
                <a:cubicBezTo>
                  <a:pt x="5" y="11"/>
                  <a:pt x="5" y="11"/>
                  <a:pt x="5" y="11"/>
                </a:cubicBezTo>
                <a:cubicBezTo>
                  <a:pt x="5" y="10"/>
                  <a:pt x="5" y="10"/>
                  <a:pt x="5" y="10"/>
                </a:cubicBezTo>
                <a:cubicBezTo>
                  <a:pt x="5" y="10"/>
                  <a:pt x="5" y="10"/>
                  <a:pt x="5" y="10"/>
                </a:cubicBezTo>
                <a:cubicBezTo>
                  <a:pt x="3" y="11"/>
                  <a:pt x="3" y="11"/>
                  <a:pt x="3" y="11"/>
                </a:cubicBezTo>
                <a:cubicBezTo>
                  <a:pt x="2" y="10"/>
                  <a:pt x="2" y="10"/>
                  <a:pt x="2" y="10"/>
                </a:cubicBezTo>
                <a:cubicBezTo>
                  <a:pt x="0" y="10"/>
                  <a:pt x="0" y="10"/>
                  <a:pt x="0" y="10"/>
                </a:cubicBezTo>
                <a:cubicBezTo>
                  <a:pt x="0" y="11"/>
                  <a:pt x="0" y="11"/>
                  <a:pt x="0" y="11"/>
                </a:cubicBezTo>
                <a:cubicBezTo>
                  <a:pt x="0" y="12"/>
                  <a:pt x="0" y="12"/>
                  <a:pt x="0" y="12"/>
                </a:cubicBezTo>
                <a:cubicBezTo>
                  <a:pt x="2" y="12"/>
                  <a:pt x="2" y="12"/>
                  <a:pt x="2" y="12"/>
                </a:cubicBezTo>
                <a:cubicBezTo>
                  <a:pt x="3" y="14"/>
                  <a:pt x="3" y="14"/>
                  <a:pt x="3" y="14"/>
                </a:cubicBezTo>
                <a:cubicBezTo>
                  <a:pt x="4" y="14"/>
                  <a:pt x="4" y="14"/>
                  <a:pt x="4" y="14"/>
                </a:cubicBezTo>
                <a:cubicBezTo>
                  <a:pt x="4" y="13"/>
                  <a:pt x="4" y="13"/>
                  <a:pt x="4" y="13"/>
                </a:cubicBezTo>
                <a:cubicBezTo>
                  <a:pt x="5" y="13"/>
                  <a:pt x="5" y="13"/>
                  <a:pt x="5" y="13"/>
                </a:cubicBezTo>
                <a:cubicBezTo>
                  <a:pt x="7" y="13"/>
                  <a:pt x="7" y="13"/>
                  <a:pt x="7" y="13"/>
                </a:cubicBezTo>
                <a:cubicBezTo>
                  <a:pt x="9" y="13"/>
                  <a:pt x="9" y="13"/>
                  <a:pt x="9" y="13"/>
                </a:cubicBezTo>
                <a:cubicBezTo>
                  <a:pt x="12" y="13"/>
                  <a:pt x="12" y="13"/>
                  <a:pt x="12" y="13"/>
                </a:cubicBezTo>
                <a:cubicBezTo>
                  <a:pt x="13" y="13"/>
                  <a:pt x="13" y="13"/>
                  <a:pt x="13" y="13"/>
                </a:cubicBezTo>
                <a:cubicBezTo>
                  <a:pt x="14" y="13"/>
                  <a:pt x="14" y="13"/>
                  <a:pt x="14" y="13"/>
                </a:cubicBezTo>
                <a:cubicBezTo>
                  <a:pt x="15" y="14"/>
                  <a:pt x="15" y="14"/>
                  <a:pt x="15" y="14"/>
                </a:cubicBezTo>
                <a:close/>
                <a:moveTo>
                  <a:pt x="10" y="0"/>
                </a:moveTo>
                <a:cubicBezTo>
                  <a:pt x="11" y="0"/>
                  <a:pt x="11" y="0"/>
                  <a:pt x="11" y="0"/>
                </a:cubicBezTo>
                <a:cubicBezTo>
                  <a:pt x="13" y="1"/>
                  <a:pt x="13" y="1"/>
                  <a:pt x="13" y="1"/>
                </a:cubicBezTo>
                <a:cubicBezTo>
                  <a:pt x="11" y="1"/>
                  <a:pt x="11" y="1"/>
                  <a:pt x="11" y="1"/>
                </a:cubicBezTo>
                <a:cubicBezTo>
                  <a:pt x="10" y="0"/>
                  <a:pt x="10" y="0"/>
                  <a:pt x="10" y="0"/>
                </a:cubicBezTo>
                <a:close/>
                <a:moveTo>
                  <a:pt x="7" y="8"/>
                </a:moveTo>
                <a:cubicBezTo>
                  <a:pt x="9" y="7"/>
                  <a:pt x="9" y="7"/>
                  <a:pt x="9" y="7"/>
                </a:cubicBezTo>
                <a:cubicBezTo>
                  <a:pt x="10" y="8"/>
                  <a:pt x="10" y="8"/>
                  <a:pt x="10" y="8"/>
                </a:cubicBezTo>
                <a:cubicBezTo>
                  <a:pt x="10" y="9"/>
                  <a:pt x="10" y="9"/>
                  <a:pt x="10" y="9"/>
                </a:cubicBezTo>
                <a:cubicBezTo>
                  <a:pt x="8" y="9"/>
                  <a:pt x="8" y="9"/>
                  <a:pt x="8" y="9"/>
                </a:cubicBezTo>
                <a:lnTo>
                  <a:pt x="7" y="8"/>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6" name="Freeform 174">
            <a:extLst>
              <a:ext uri="{FF2B5EF4-FFF2-40B4-BE49-F238E27FC236}">
                <a16:creationId xmlns:a16="http://schemas.microsoft.com/office/drawing/2014/main" id="{68F24B00-3D21-7270-2EA8-68ACA1209A96}"/>
              </a:ext>
            </a:extLst>
          </p:cNvPr>
          <p:cNvSpPr>
            <a:spLocks noEditPoints="1"/>
          </p:cNvSpPr>
          <p:nvPr userDrawn="1"/>
        </p:nvSpPr>
        <p:spPr bwMode="auto">
          <a:xfrm>
            <a:off x="7959204" y="7876461"/>
            <a:ext cx="663533" cy="238126"/>
          </a:xfrm>
          <a:custGeom>
            <a:avLst/>
            <a:gdLst>
              <a:gd name="T0" fmla="*/ 44 w 209"/>
              <a:gd name="T1" fmla="*/ 28 h 75"/>
              <a:gd name="T2" fmla="*/ 44 w 209"/>
              <a:gd name="T3" fmla="*/ 38 h 75"/>
              <a:gd name="T4" fmla="*/ 41 w 209"/>
              <a:gd name="T5" fmla="*/ 34 h 75"/>
              <a:gd name="T6" fmla="*/ 41 w 209"/>
              <a:gd name="T7" fmla="*/ 31 h 75"/>
              <a:gd name="T8" fmla="*/ 13 w 209"/>
              <a:gd name="T9" fmla="*/ 19 h 75"/>
              <a:gd name="T10" fmla="*/ 9 w 209"/>
              <a:gd name="T11" fmla="*/ 22 h 75"/>
              <a:gd name="T12" fmla="*/ 0 w 209"/>
              <a:gd name="T13" fmla="*/ 28 h 75"/>
              <a:gd name="T14" fmla="*/ 9 w 209"/>
              <a:gd name="T15" fmla="*/ 25 h 75"/>
              <a:gd name="T16" fmla="*/ 19 w 209"/>
              <a:gd name="T17" fmla="*/ 25 h 75"/>
              <a:gd name="T18" fmla="*/ 28 w 209"/>
              <a:gd name="T19" fmla="*/ 19 h 75"/>
              <a:gd name="T20" fmla="*/ 41 w 209"/>
              <a:gd name="T21" fmla="*/ 13 h 75"/>
              <a:gd name="T22" fmla="*/ 53 w 209"/>
              <a:gd name="T23" fmla="*/ 13 h 75"/>
              <a:gd name="T24" fmla="*/ 69 w 209"/>
              <a:gd name="T25" fmla="*/ 16 h 75"/>
              <a:gd name="T26" fmla="*/ 56 w 209"/>
              <a:gd name="T27" fmla="*/ 19 h 75"/>
              <a:gd name="T28" fmla="*/ 75 w 209"/>
              <a:gd name="T29" fmla="*/ 22 h 75"/>
              <a:gd name="T30" fmla="*/ 88 w 209"/>
              <a:gd name="T31" fmla="*/ 25 h 75"/>
              <a:gd name="T32" fmla="*/ 94 w 209"/>
              <a:gd name="T33" fmla="*/ 25 h 75"/>
              <a:gd name="T34" fmla="*/ 106 w 209"/>
              <a:gd name="T35" fmla="*/ 31 h 75"/>
              <a:gd name="T36" fmla="*/ 116 w 209"/>
              <a:gd name="T37" fmla="*/ 34 h 75"/>
              <a:gd name="T38" fmla="*/ 125 w 209"/>
              <a:gd name="T39" fmla="*/ 34 h 75"/>
              <a:gd name="T40" fmla="*/ 138 w 209"/>
              <a:gd name="T41" fmla="*/ 53 h 75"/>
              <a:gd name="T42" fmla="*/ 150 w 209"/>
              <a:gd name="T43" fmla="*/ 53 h 75"/>
              <a:gd name="T44" fmla="*/ 153 w 209"/>
              <a:gd name="T45" fmla="*/ 63 h 75"/>
              <a:gd name="T46" fmla="*/ 144 w 209"/>
              <a:gd name="T47" fmla="*/ 72 h 75"/>
              <a:gd name="T48" fmla="*/ 156 w 209"/>
              <a:gd name="T49" fmla="*/ 72 h 75"/>
              <a:gd name="T50" fmla="*/ 178 w 209"/>
              <a:gd name="T51" fmla="*/ 75 h 75"/>
              <a:gd name="T52" fmla="*/ 194 w 209"/>
              <a:gd name="T53" fmla="*/ 69 h 75"/>
              <a:gd name="T54" fmla="*/ 206 w 209"/>
              <a:gd name="T55" fmla="*/ 66 h 75"/>
              <a:gd name="T56" fmla="*/ 203 w 209"/>
              <a:gd name="T57" fmla="*/ 60 h 75"/>
              <a:gd name="T58" fmla="*/ 184 w 209"/>
              <a:gd name="T59" fmla="*/ 53 h 75"/>
              <a:gd name="T60" fmla="*/ 184 w 209"/>
              <a:gd name="T61" fmla="*/ 44 h 75"/>
              <a:gd name="T62" fmla="*/ 175 w 209"/>
              <a:gd name="T63" fmla="*/ 44 h 75"/>
              <a:gd name="T64" fmla="*/ 163 w 209"/>
              <a:gd name="T65" fmla="*/ 38 h 75"/>
              <a:gd name="T66" fmla="*/ 153 w 209"/>
              <a:gd name="T67" fmla="*/ 34 h 75"/>
              <a:gd name="T68" fmla="*/ 150 w 209"/>
              <a:gd name="T69" fmla="*/ 34 h 75"/>
              <a:gd name="T70" fmla="*/ 134 w 209"/>
              <a:gd name="T71" fmla="*/ 25 h 75"/>
              <a:gd name="T72" fmla="*/ 116 w 209"/>
              <a:gd name="T73" fmla="*/ 19 h 75"/>
              <a:gd name="T74" fmla="*/ 106 w 209"/>
              <a:gd name="T75" fmla="*/ 6 h 75"/>
              <a:gd name="T76" fmla="*/ 84 w 209"/>
              <a:gd name="T77" fmla="*/ 3 h 75"/>
              <a:gd name="T78" fmla="*/ 72 w 209"/>
              <a:gd name="T79" fmla="*/ 0 h 75"/>
              <a:gd name="T80" fmla="*/ 50 w 209"/>
              <a:gd name="T81" fmla="*/ 3 h 75"/>
              <a:gd name="T82" fmla="*/ 28 w 209"/>
              <a:gd name="T83" fmla="*/ 6 h 75"/>
              <a:gd name="T84" fmla="*/ 13 w 209"/>
              <a:gd name="T85" fmla="*/ 1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9" h="75">
                <a:moveTo>
                  <a:pt x="41" y="28"/>
                </a:moveTo>
                <a:lnTo>
                  <a:pt x="41" y="25"/>
                </a:lnTo>
                <a:lnTo>
                  <a:pt x="44" y="28"/>
                </a:lnTo>
                <a:lnTo>
                  <a:pt x="50" y="31"/>
                </a:lnTo>
                <a:lnTo>
                  <a:pt x="47" y="34"/>
                </a:lnTo>
                <a:lnTo>
                  <a:pt x="44" y="38"/>
                </a:lnTo>
                <a:lnTo>
                  <a:pt x="38" y="34"/>
                </a:lnTo>
                <a:lnTo>
                  <a:pt x="38" y="31"/>
                </a:lnTo>
                <a:lnTo>
                  <a:pt x="41" y="34"/>
                </a:lnTo>
                <a:lnTo>
                  <a:pt x="41" y="34"/>
                </a:lnTo>
                <a:lnTo>
                  <a:pt x="44" y="31"/>
                </a:lnTo>
                <a:lnTo>
                  <a:pt x="41" y="31"/>
                </a:lnTo>
                <a:lnTo>
                  <a:pt x="41" y="28"/>
                </a:lnTo>
                <a:lnTo>
                  <a:pt x="41" y="28"/>
                </a:lnTo>
                <a:close/>
                <a:moveTo>
                  <a:pt x="13" y="19"/>
                </a:moveTo>
                <a:lnTo>
                  <a:pt x="16" y="22"/>
                </a:lnTo>
                <a:lnTo>
                  <a:pt x="13" y="25"/>
                </a:lnTo>
                <a:lnTo>
                  <a:pt x="9" y="22"/>
                </a:lnTo>
                <a:lnTo>
                  <a:pt x="3" y="28"/>
                </a:lnTo>
                <a:lnTo>
                  <a:pt x="0" y="25"/>
                </a:lnTo>
                <a:lnTo>
                  <a:pt x="0" y="28"/>
                </a:lnTo>
                <a:lnTo>
                  <a:pt x="3" y="31"/>
                </a:lnTo>
                <a:lnTo>
                  <a:pt x="9" y="25"/>
                </a:lnTo>
                <a:lnTo>
                  <a:pt x="9" y="25"/>
                </a:lnTo>
                <a:lnTo>
                  <a:pt x="9" y="28"/>
                </a:lnTo>
                <a:lnTo>
                  <a:pt x="16" y="28"/>
                </a:lnTo>
                <a:lnTo>
                  <a:pt x="19" y="25"/>
                </a:lnTo>
                <a:lnTo>
                  <a:pt x="22" y="22"/>
                </a:lnTo>
                <a:lnTo>
                  <a:pt x="28" y="22"/>
                </a:lnTo>
                <a:lnTo>
                  <a:pt x="28" y="19"/>
                </a:lnTo>
                <a:lnTo>
                  <a:pt x="31" y="22"/>
                </a:lnTo>
                <a:lnTo>
                  <a:pt x="34" y="22"/>
                </a:lnTo>
                <a:lnTo>
                  <a:pt x="41" y="13"/>
                </a:lnTo>
                <a:lnTo>
                  <a:pt x="44" y="13"/>
                </a:lnTo>
                <a:lnTo>
                  <a:pt x="47" y="9"/>
                </a:lnTo>
                <a:lnTo>
                  <a:pt x="53" y="13"/>
                </a:lnTo>
                <a:lnTo>
                  <a:pt x="56" y="13"/>
                </a:lnTo>
                <a:lnTo>
                  <a:pt x="66" y="13"/>
                </a:lnTo>
                <a:lnTo>
                  <a:pt x="69" y="16"/>
                </a:lnTo>
                <a:lnTo>
                  <a:pt x="66" y="16"/>
                </a:lnTo>
                <a:lnTo>
                  <a:pt x="59" y="16"/>
                </a:lnTo>
                <a:lnTo>
                  <a:pt x="56" y="19"/>
                </a:lnTo>
                <a:lnTo>
                  <a:pt x="59" y="22"/>
                </a:lnTo>
                <a:lnTo>
                  <a:pt x="72" y="22"/>
                </a:lnTo>
                <a:lnTo>
                  <a:pt x="75" y="22"/>
                </a:lnTo>
                <a:lnTo>
                  <a:pt x="78" y="22"/>
                </a:lnTo>
                <a:lnTo>
                  <a:pt x="81" y="25"/>
                </a:lnTo>
                <a:lnTo>
                  <a:pt x="88" y="25"/>
                </a:lnTo>
                <a:lnTo>
                  <a:pt x="91" y="25"/>
                </a:lnTo>
                <a:lnTo>
                  <a:pt x="91" y="22"/>
                </a:lnTo>
                <a:lnTo>
                  <a:pt x="94" y="25"/>
                </a:lnTo>
                <a:lnTo>
                  <a:pt x="94" y="25"/>
                </a:lnTo>
                <a:lnTo>
                  <a:pt x="100" y="31"/>
                </a:lnTo>
                <a:lnTo>
                  <a:pt x="106" y="31"/>
                </a:lnTo>
                <a:lnTo>
                  <a:pt x="106" y="31"/>
                </a:lnTo>
                <a:lnTo>
                  <a:pt x="109" y="34"/>
                </a:lnTo>
                <a:lnTo>
                  <a:pt x="116" y="34"/>
                </a:lnTo>
                <a:lnTo>
                  <a:pt x="119" y="34"/>
                </a:lnTo>
                <a:lnTo>
                  <a:pt x="122" y="31"/>
                </a:lnTo>
                <a:lnTo>
                  <a:pt x="125" y="34"/>
                </a:lnTo>
                <a:lnTo>
                  <a:pt x="128" y="44"/>
                </a:lnTo>
                <a:lnTo>
                  <a:pt x="134" y="53"/>
                </a:lnTo>
                <a:lnTo>
                  <a:pt x="138" y="53"/>
                </a:lnTo>
                <a:lnTo>
                  <a:pt x="141" y="50"/>
                </a:lnTo>
                <a:lnTo>
                  <a:pt x="144" y="53"/>
                </a:lnTo>
                <a:lnTo>
                  <a:pt x="150" y="53"/>
                </a:lnTo>
                <a:lnTo>
                  <a:pt x="153" y="56"/>
                </a:lnTo>
                <a:lnTo>
                  <a:pt x="156" y="56"/>
                </a:lnTo>
                <a:lnTo>
                  <a:pt x="153" y="63"/>
                </a:lnTo>
                <a:lnTo>
                  <a:pt x="150" y="63"/>
                </a:lnTo>
                <a:lnTo>
                  <a:pt x="144" y="69"/>
                </a:lnTo>
                <a:lnTo>
                  <a:pt x="144" y="72"/>
                </a:lnTo>
                <a:lnTo>
                  <a:pt x="150" y="72"/>
                </a:lnTo>
                <a:lnTo>
                  <a:pt x="153" y="72"/>
                </a:lnTo>
                <a:lnTo>
                  <a:pt x="156" y="72"/>
                </a:lnTo>
                <a:lnTo>
                  <a:pt x="166" y="69"/>
                </a:lnTo>
                <a:lnTo>
                  <a:pt x="172" y="72"/>
                </a:lnTo>
                <a:lnTo>
                  <a:pt x="178" y="75"/>
                </a:lnTo>
                <a:lnTo>
                  <a:pt x="191" y="72"/>
                </a:lnTo>
                <a:lnTo>
                  <a:pt x="191" y="69"/>
                </a:lnTo>
                <a:lnTo>
                  <a:pt x="194" y="69"/>
                </a:lnTo>
                <a:lnTo>
                  <a:pt x="197" y="66"/>
                </a:lnTo>
                <a:lnTo>
                  <a:pt x="203" y="69"/>
                </a:lnTo>
                <a:lnTo>
                  <a:pt x="206" y="66"/>
                </a:lnTo>
                <a:lnTo>
                  <a:pt x="209" y="63"/>
                </a:lnTo>
                <a:lnTo>
                  <a:pt x="209" y="60"/>
                </a:lnTo>
                <a:lnTo>
                  <a:pt x="203" y="60"/>
                </a:lnTo>
                <a:lnTo>
                  <a:pt x="203" y="56"/>
                </a:lnTo>
                <a:lnTo>
                  <a:pt x="194" y="53"/>
                </a:lnTo>
                <a:lnTo>
                  <a:pt x="184" y="53"/>
                </a:lnTo>
                <a:lnTo>
                  <a:pt x="181" y="50"/>
                </a:lnTo>
                <a:lnTo>
                  <a:pt x="181" y="50"/>
                </a:lnTo>
                <a:lnTo>
                  <a:pt x="184" y="44"/>
                </a:lnTo>
                <a:lnTo>
                  <a:pt x="181" y="44"/>
                </a:lnTo>
                <a:lnTo>
                  <a:pt x="178" y="44"/>
                </a:lnTo>
                <a:lnTo>
                  <a:pt x="175" y="44"/>
                </a:lnTo>
                <a:lnTo>
                  <a:pt x="169" y="38"/>
                </a:lnTo>
                <a:lnTo>
                  <a:pt x="166" y="41"/>
                </a:lnTo>
                <a:lnTo>
                  <a:pt x="163" y="38"/>
                </a:lnTo>
                <a:lnTo>
                  <a:pt x="156" y="34"/>
                </a:lnTo>
                <a:lnTo>
                  <a:pt x="153" y="38"/>
                </a:lnTo>
                <a:lnTo>
                  <a:pt x="153" y="34"/>
                </a:lnTo>
                <a:lnTo>
                  <a:pt x="153" y="31"/>
                </a:lnTo>
                <a:lnTo>
                  <a:pt x="150" y="31"/>
                </a:lnTo>
                <a:lnTo>
                  <a:pt x="150" y="34"/>
                </a:lnTo>
                <a:lnTo>
                  <a:pt x="147" y="31"/>
                </a:lnTo>
                <a:lnTo>
                  <a:pt x="141" y="31"/>
                </a:lnTo>
                <a:lnTo>
                  <a:pt x="134" y="25"/>
                </a:lnTo>
                <a:lnTo>
                  <a:pt x="131" y="22"/>
                </a:lnTo>
                <a:lnTo>
                  <a:pt x="125" y="19"/>
                </a:lnTo>
                <a:lnTo>
                  <a:pt x="116" y="19"/>
                </a:lnTo>
                <a:lnTo>
                  <a:pt x="113" y="16"/>
                </a:lnTo>
                <a:lnTo>
                  <a:pt x="109" y="13"/>
                </a:lnTo>
                <a:lnTo>
                  <a:pt x="106" y="6"/>
                </a:lnTo>
                <a:lnTo>
                  <a:pt x="100" y="9"/>
                </a:lnTo>
                <a:lnTo>
                  <a:pt x="100" y="6"/>
                </a:lnTo>
                <a:lnTo>
                  <a:pt x="84" y="3"/>
                </a:lnTo>
                <a:lnTo>
                  <a:pt x="81" y="6"/>
                </a:lnTo>
                <a:lnTo>
                  <a:pt x="75" y="3"/>
                </a:lnTo>
                <a:lnTo>
                  <a:pt x="72" y="0"/>
                </a:lnTo>
                <a:lnTo>
                  <a:pt x="63" y="0"/>
                </a:lnTo>
                <a:lnTo>
                  <a:pt x="53" y="0"/>
                </a:lnTo>
                <a:lnTo>
                  <a:pt x="50" y="3"/>
                </a:lnTo>
                <a:lnTo>
                  <a:pt x="38" y="3"/>
                </a:lnTo>
                <a:lnTo>
                  <a:pt x="31" y="3"/>
                </a:lnTo>
                <a:lnTo>
                  <a:pt x="28" y="6"/>
                </a:lnTo>
                <a:lnTo>
                  <a:pt x="19" y="9"/>
                </a:lnTo>
                <a:lnTo>
                  <a:pt x="16" y="13"/>
                </a:lnTo>
                <a:lnTo>
                  <a:pt x="13" y="16"/>
                </a:lnTo>
                <a:lnTo>
                  <a:pt x="13" y="19"/>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7" name="Freeform 175">
            <a:extLst>
              <a:ext uri="{FF2B5EF4-FFF2-40B4-BE49-F238E27FC236}">
                <a16:creationId xmlns:a16="http://schemas.microsoft.com/office/drawing/2014/main" id="{F6F02A16-5D98-A7A9-926E-EDF41F9E6314}"/>
              </a:ext>
            </a:extLst>
          </p:cNvPr>
          <p:cNvSpPr>
            <a:spLocks noEditPoints="1"/>
          </p:cNvSpPr>
          <p:nvPr userDrawn="1"/>
        </p:nvSpPr>
        <p:spPr bwMode="auto">
          <a:xfrm>
            <a:off x="8365577" y="7619285"/>
            <a:ext cx="358753" cy="415926"/>
          </a:xfrm>
          <a:custGeom>
            <a:avLst/>
            <a:gdLst>
              <a:gd name="T0" fmla="*/ 106 w 113"/>
              <a:gd name="T1" fmla="*/ 115 h 131"/>
              <a:gd name="T2" fmla="*/ 91 w 113"/>
              <a:gd name="T3" fmla="*/ 131 h 131"/>
              <a:gd name="T4" fmla="*/ 106 w 113"/>
              <a:gd name="T5" fmla="*/ 122 h 131"/>
              <a:gd name="T6" fmla="*/ 97 w 113"/>
              <a:gd name="T7" fmla="*/ 122 h 131"/>
              <a:gd name="T8" fmla="*/ 91 w 113"/>
              <a:gd name="T9" fmla="*/ 131 h 131"/>
              <a:gd name="T10" fmla="*/ 113 w 113"/>
              <a:gd name="T11" fmla="*/ 100 h 131"/>
              <a:gd name="T12" fmla="*/ 106 w 113"/>
              <a:gd name="T13" fmla="*/ 100 h 131"/>
              <a:gd name="T14" fmla="*/ 94 w 113"/>
              <a:gd name="T15" fmla="*/ 90 h 131"/>
              <a:gd name="T16" fmla="*/ 85 w 113"/>
              <a:gd name="T17" fmla="*/ 97 h 131"/>
              <a:gd name="T18" fmla="*/ 85 w 113"/>
              <a:gd name="T19" fmla="*/ 100 h 131"/>
              <a:gd name="T20" fmla="*/ 94 w 113"/>
              <a:gd name="T21" fmla="*/ 90 h 131"/>
              <a:gd name="T22" fmla="*/ 85 w 113"/>
              <a:gd name="T23" fmla="*/ 87 h 131"/>
              <a:gd name="T24" fmla="*/ 81 w 113"/>
              <a:gd name="T25" fmla="*/ 87 h 131"/>
              <a:gd name="T26" fmla="*/ 66 w 113"/>
              <a:gd name="T27" fmla="*/ 72 h 131"/>
              <a:gd name="T28" fmla="*/ 75 w 113"/>
              <a:gd name="T29" fmla="*/ 87 h 131"/>
              <a:gd name="T30" fmla="*/ 66 w 113"/>
              <a:gd name="T31" fmla="*/ 78 h 131"/>
              <a:gd name="T32" fmla="*/ 66 w 113"/>
              <a:gd name="T33" fmla="*/ 72 h 131"/>
              <a:gd name="T34" fmla="*/ 50 w 113"/>
              <a:gd name="T35" fmla="*/ 72 h 131"/>
              <a:gd name="T36" fmla="*/ 53 w 113"/>
              <a:gd name="T37" fmla="*/ 69 h 131"/>
              <a:gd name="T38" fmla="*/ 81 w 113"/>
              <a:gd name="T39" fmla="*/ 65 h 131"/>
              <a:gd name="T40" fmla="*/ 81 w 113"/>
              <a:gd name="T41" fmla="*/ 59 h 131"/>
              <a:gd name="T42" fmla="*/ 63 w 113"/>
              <a:gd name="T43" fmla="*/ 56 h 131"/>
              <a:gd name="T44" fmla="*/ 66 w 113"/>
              <a:gd name="T45" fmla="*/ 65 h 131"/>
              <a:gd name="T46" fmla="*/ 66 w 113"/>
              <a:gd name="T47" fmla="*/ 56 h 131"/>
              <a:gd name="T48" fmla="*/ 63 w 113"/>
              <a:gd name="T49" fmla="*/ 50 h 131"/>
              <a:gd name="T50" fmla="*/ 53 w 113"/>
              <a:gd name="T51" fmla="*/ 40 h 131"/>
              <a:gd name="T52" fmla="*/ 50 w 113"/>
              <a:gd name="T53" fmla="*/ 47 h 131"/>
              <a:gd name="T54" fmla="*/ 50 w 113"/>
              <a:gd name="T55" fmla="*/ 37 h 131"/>
              <a:gd name="T56" fmla="*/ 44 w 113"/>
              <a:gd name="T57" fmla="*/ 34 h 131"/>
              <a:gd name="T58" fmla="*/ 38 w 113"/>
              <a:gd name="T59" fmla="*/ 3 h 131"/>
              <a:gd name="T60" fmla="*/ 41 w 113"/>
              <a:gd name="T61" fmla="*/ 15 h 131"/>
              <a:gd name="T62" fmla="*/ 35 w 113"/>
              <a:gd name="T63" fmla="*/ 22 h 131"/>
              <a:gd name="T64" fmla="*/ 35 w 113"/>
              <a:gd name="T65" fmla="*/ 9 h 131"/>
              <a:gd name="T66" fmla="*/ 25 w 113"/>
              <a:gd name="T67" fmla="*/ 0 h 131"/>
              <a:gd name="T68" fmla="*/ 6 w 113"/>
              <a:gd name="T69" fmla="*/ 3 h 131"/>
              <a:gd name="T70" fmla="*/ 19 w 113"/>
              <a:gd name="T71" fmla="*/ 0 h 131"/>
              <a:gd name="T72" fmla="*/ 19 w 113"/>
              <a:gd name="T73" fmla="*/ 3 h 131"/>
              <a:gd name="T74" fmla="*/ 0 w 113"/>
              <a:gd name="T75" fmla="*/ 3 h 131"/>
              <a:gd name="T76" fmla="*/ 31 w 113"/>
              <a:gd name="T77" fmla="*/ 37 h 131"/>
              <a:gd name="T78" fmla="*/ 28 w 113"/>
              <a:gd name="T79" fmla="*/ 40 h 131"/>
              <a:gd name="T80" fmla="*/ 19 w 113"/>
              <a:gd name="T81" fmla="*/ 59 h 131"/>
              <a:gd name="T82" fmla="*/ 19 w 113"/>
              <a:gd name="T83" fmla="*/ 59 h 131"/>
              <a:gd name="T84" fmla="*/ 19 w 113"/>
              <a:gd name="T85" fmla="*/ 59 h 131"/>
              <a:gd name="T86" fmla="*/ 16 w 113"/>
              <a:gd name="T87" fmla="*/ 59 h 131"/>
              <a:gd name="T88" fmla="*/ 19 w 113"/>
              <a:gd name="T89" fmla="*/ 47 h 131"/>
              <a:gd name="T90" fmla="*/ 13 w 113"/>
              <a:gd name="T91" fmla="*/ 44 h 131"/>
              <a:gd name="T92" fmla="*/ 16 w 113"/>
              <a:gd name="T93" fmla="*/ 50 h 131"/>
              <a:gd name="T94" fmla="*/ 22 w 113"/>
              <a:gd name="T95" fmla="*/ 59 h 131"/>
              <a:gd name="T96" fmla="*/ 19 w 113"/>
              <a:gd name="T97" fmla="*/ 72 h 131"/>
              <a:gd name="T98" fmla="*/ 25 w 113"/>
              <a:gd name="T99" fmla="*/ 6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 h="131">
                <a:moveTo>
                  <a:pt x="106" y="119"/>
                </a:moveTo>
                <a:lnTo>
                  <a:pt x="106" y="119"/>
                </a:lnTo>
                <a:lnTo>
                  <a:pt x="106" y="115"/>
                </a:lnTo>
                <a:lnTo>
                  <a:pt x="106" y="119"/>
                </a:lnTo>
                <a:lnTo>
                  <a:pt x="106" y="119"/>
                </a:lnTo>
                <a:close/>
                <a:moveTo>
                  <a:pt x="91" y="131"/>
                </a:moveTo>
                <a:lnTo>
                  <a:pt x="103" y="131"/>
                </a:lnTo>
                <a:lnTo>
                  <a:pt x="106" y="125"/>
                </a:lnTo>
                <a:lnTo>
                  <a:pt x="106" y="122"/>
                </a:lnTo>
                <a:lnTo>
                  <a:pt x="103" y="122"/>
                </a:lnTo>
                <a:lnTo>
                  <a:pt x="103" y="125"/>
                </a:lnTo>
                <a:lnTo>
                  <a:pt x="97" y="122"/>
                </a:lnTo>
                <a:lnTo>
                  <a:pt x="94" y="125"/>
                </a:lnTo>
                <a:lnTo>
                  <a:pt x="91" y="131"/>
                </a:lnTo>
                <a:lnTo>
                  <a:pt x="91" y="131"/>
                </a:lnTo>
                <a:close/>
                <a:moveTo>
                  <a:pt x="103" y="100"/>
                </a:moveTo>
                <a:lnTo>
                  <a:pt x="106" y="97"/>
                </a:lnTo>
                <a:lnTo>
                  <a:pt x="113" y="100"/>
                </a:lnTo>
                <a:lnTo>
                  <a:pt x="113" y="103"/>
                </a:lnTo>
                <a:lnTo>
                  <a:pt x="110" y="100"/>
                </a:lnTo>
                <a:lnTo>
                  <a:pt x="106" y="100"/>
                </a:lnTo>
                <a:lnTo>
                  <a:pt x="103" y="100"/>
                </a:lnTo>
                <a:lnTo>
                  <a:pt x="103" y="100"/>
                </a:lnTo>
                <a:close/>
                <a:moveTo>
                  <a:pt x="94" y="90"/>
                </a:moveTo>
                <a:lnTo>
                  <a:pt x="88" y="90"/>
                </a:lnTo>
                <a:lnTo>
                  <a:pt x="88" y="94"/>
                </a:lnTo>
                <a:lnTo>
                  <a:pt x="85" y="97"/>
                </a:lnTo>
                <a:lnTo>
                  <a:pt x="85" y="100"/>
                </a:lnTo>
                <a:lnTo>
                  <a:pt x="81" y="100"/>
                </a:lnTo>
                <a:lnTo>
                  <a:pt x="85" y="100"/>
                </a:lnTo>
                <a:lnTo>
                  <a:pt x="94" y="97"/>
                </a:lnTo>
                <a:lnTo>
                  <a:pt x="94" y="90"/>
                </a:lnTo>
                <a:lnTo>
                  <a:pt x="94" y="90"/>
                </a:lnTo>
                <a:lnTo>
                  <a:pt x="94" y="90"/>
                </a:lnTo>
                <a:close/>
                <a:moveTo>
                  <a:pt x="81" y="87"/>
                </a:moveTo>
                <a:lnTo>
                  <a:pt x="85" y="87"/>
                </a:lnTo>
                <a:lnTo>
                  <a:pt x="88" y="90"/>
                </a:lnTo>
                <a:lnTo>
                  <a:pt x="85" y="90"/>
                </a:lnTo>
                <a:lnTo>
                  <a:pt x="81" y="87"/>
                </a:lnTo>
                <a:lnTo>
                  <a:pt x="81" y="87"/>
                </a:lnTo>
                <a:lnTo>
                  <a:pt x="81" y="87"/>
                </a:lnTo>
                <a:close/>
                <a:moveTo>
                  <a:pt x="66" y="72"/>
                </a:moveTo>
                <a:lnTo>
                  <a:pt x="69" y="78"/>
                </a:lnTo>
                <a:lnTo>
                  <a:pt x="72" y="81"/>
                </a:lnTo>
                <a:lnTo>
                  <a:pt x="75" y="87"/>
                </a:lnTo>
                <a:lnTo>
                  <a:pt x="72" y="87"/>
                </a:lnTo>
                <a:lnTo>
                  <a:pt x="69" y="84"/>
                </a:lnTo>
                <a:lnTo>
                  <a:pt x="66" y="78"/>
                </a:lnTo>
                <a:lnTo>
                  <a:pt x="69" y="78"/>
                </a:lnTo>
                <a:lnTo>
                  <a:pt x="66" y="72"/>
                </a:lnTo>
                <a:lnTo>
                  <a:pt x="66" y="72"/>
                </a:lnTo>
                <a:lnTo>
                  <a:pt x="66" y="72"/>
                </a:lnTo>
                <a:close/>
                <a:moveTo>
                  <a:pt x="53" y="69"/>
                </a:moveTo>
                <a:lnTo>
                  <a:pt x="50" y="72"/>
                </a:lnTo>
                <a:lnTo>
                  <a:pt x="53" y="72"/>
                </a:lnTo>
                <a:lnTo>
                  <a:pt x="53" y="69"/>
                </a:lnTo>
                <a:lnTo>
                  <a:pt x="53" y="69"/>
                </a:lnTo>
                <a:close/>
                <a:moveTo>
                  <a:pt x="81" y="59"/>
                </a:moveTo>
                <a:lnTo>
                  <a:pt x="81" y="65"/>
                </a:lnTo>
                <a:lnTo>
                  <a:pt x="81" y="65"/>
                </a:lnTo>
                <a:lnTo>
                  <a:pt x="85" y="62"/>
                </a:lnTo>
                <a:lnTo>
                  <a:pt x="81" y="59"/>
                </a:lnTo>
                <a:lnTo>
                  <a:pt x="81" y="59"/>
                </a:lnTo>
                <a:close/>
                <a:moveTo>
                  <a:pt x="63" y="50"/>
                </a:moveTo>
                <a:lnTo>
                  <a:pt x="60" y="53"/>
                </a:lnTo>
                <a:lnTo>
                  <a:pt x="63" y="56"/>
                </a:lnTo>
                <a:lnTo>
                  <a:pt x="66" y="62"/>
                </a:lnTo>
                <a:lnTo>
                  <a:pt x="63" y="62"/>
                </a:lnTo>
                <a:lnTo>
                  <a:pt x="66" y="65"/>
                </a:lnTo>
                <a:lnTo>
                  <a:pt x="69" y="65"/>
                </a:lnTo>
                <a:lnTo>
                  <a:pt x="69" y="62"/>
                </a:lnTo>
                <a:lnTo>
                  <a:pt x="66" y="56"/>
                </a:lnTo>
                <a:lnTo>
                  <a:pt x="66" y="53"/>
                </a:lnTo>
                <a:lnTo>
                  <a:pt x="63" y="50"/>
                </a:lnTo>
                <a:lnTo>
                  <a:pt x="63" y="50"/>
                </a:lnTo>
                <a:close/>
                <a:moveTo>
                  <a:pt x="44" y="34"/>
                </a:moveTo>
                <a:lnTo>
                  <a:pt x="50" y="37"/>
                </a:lnTo>
                <a:lnTo>
                  <a:pt x="53" y="40"/>
                </a:lnTo>
                <a:lnTo>
                  <a:pt x="53" y="47"/>
                </a:lnTo>
                <a:lnTo>
                  <a:pt x="50" y="47"/>
                </a:lnTo>
                <a:lnTo>
                  <a:pt x="50" y="47"/>
                </a:lnTo>
                <a:lnTo>
                  <a:pt x="50" y="44"/>
                </a:lnTo>
                <a:lnTo>
                  <a:pt x="53" y="40"/>
                </a:lnTo>
                <a:lnTo>
                  <a:pt x="50" y="37"/>
                </a:lnTo>
                <a:lnTo>
                  <a:pt x="44" y="37"/>
                </a:lnTo>
                <a:lnTo>
                  <a:pt x="44" y="34"/>
                </a:lnTo>
                <a:lnTo>
                  <a:pt x="44" y="34"/>
                </a:lnTo>
                <a:close/>
                <a:moveTo>
                  <a:pt x="25" y="0"/>
                </a:moveTo>
                <a:lnTo>
                  <a:pt x="31" y="0"/>
                </a:lnTo>
                <a:lnTo>
                  <a:pt x="38" y="3"/>
                </a:lnTo>
                <a:lnTo>
                  <a:pt x="38" y="6"/>
                </a:lnTo>
                <a:lnTo>
                  <a:pt x="41" y="9"/>
                </a:lnTo>
                <a:lnTo>
                  <a:pt x="41" y="15"/>
                </a:lnTo>
                <a:lnTo>
                  <a:pt x="38" y="15"/>
                </a:lnTo>
                <a:lnTo>
                  <a:pt x="38" y="19"/>
                </a:lnTo>
                <a:lnTo>
                  <a:pt x="35" y="22"/>
                </a:lnTo>
                <a:lnTo>
                  <a:pt x="35" y="15"/>
                </a:lnTo>
                <a:lnTo>
                  <a:pt x="35" y="12"/>
                </a:lnTo>
                <a:lnTo>
                  <a:pt x="35" y="9"/>
                </a:lnTo>
                <a:lnTo>
                  <a:pt x="31" y="6"/>
                </a:lnTo>
                <a:lnTo>
                  <a:pt x="31" y="0"/>
                </a:lnTo>
                <a:lnTo>
                  <a:pt x="25" y="0"/>
                </a:lnTo>
                <a:lnTo>
                  <a:pt x="25" y="0"/>
                </a:lnTo>
                <a:close/>
                <a:moveTo>
                  <a:pt x="0" y="3"/>
                </a:moveTo>
                <a:lnTo>
                  <a:pt x="6" y="3"/>
                </a:lnTo>
                <a:lnTo>
                  <a:pt x="10" y="6"/>
                </a:lnTo>
                <a:lnTo>
                  <a:pt x="16" y="0"/>
                </a:lnTo>
                <a:lnTo>
                  <a:pt x="19" y="0"/>
                </a:lnTo>
                <a:lnTo>
                  <a:pt x="25" y="6"/>
                </a:lnTo>
                <a:lnTo>
                  <a:pt x="22" y="6"/>
                </a:lnTo>
                <a:lnTo>
                  <a:pt x="19" y="3"/>
                </a:lnTo>
                <a:lnTo>
                  <a:pt x="10" y="9"/>
                </a:lnTo>
                <a:lnTo>
                  <a:pt x="6" y="9"/>
                </a:lnTo>
                <a:lnTo>
                  <a:pt x="0" y="3"/>
                </a:lnTo>
                <a:lnTo>
                  <a:pt x="0" y="3"/>
                </a:lnTo>
                <a:close/>
                <a:moveTo>
                  <a:pt x="25" y="40"/>
                </a:moveTo>
                <a:lnTo>
                  <a:pt x="31" y="37"/>
                </a:lnTo>
                <a:lnTo>
                  <a:pt x="35" y="37"/>
                </a:lnTo>
                <a:lnTo>
                  <a:pt x="35" y="40"/>
                </a:lnTo>
                <a:lnTo>
                  <a:pt x="28" y="40"/>
                </a:lnTo>
                <a:lnTo>
                  <a:pt x="25" y="40"/>
                </a:lnTo>
                <a:lnTo>
                  <a:pt x="25" y="40"/>
                </a:lnTo>
                <a:close/>
                <a:moveTo>
                  <a:pt x="19" y="59"/>
                </a:moveTo>
                <a:lnTo>
                  <a:pt x="19" y="56"/>
                </a:lnTo>
                <a:lnTo>
                  <a:pt x="22" y="56"/>
                </a:lnTo>
                <a:lnTo>
                  <a:pt x="19" y="59"/>
                </a:lnTo>
                <a:lnTo>
                  <a:pt x="19" y="59"/>
                </a:lnTo>
                <a:close/>
                <a:moveTo>
                  <a:pt x="16" y="59"/>
                </a:moveTo>
                <a:lnTo>
                  <a:pt x="19" y="59"/>
                </a:lnTo>
                <a:lnTo>
                  <a:pt x="19" y="62"/>
                </a:lnTo>
                <a:lnTo>
                  <a:pt x="16" y="59"/>
                </a:lnTo>
                <a:lnTo>
                  <a:pt x="16" y="59"/>
                </a:lnTo>
                <a:close/>
                <a:moveTo>
                  <a:pt x="16" y="56"/>
                </a:moveTo>
                <a:lnTo>
                  <a:pt x="22" y="53"/>
                </a:lnTo>
                <a:lnTo>
                  <a:pt x="19" y="47"/>
                </a:lnTo>
                <a:lnTo>
                  <a:pt x="19" y="40"/>
                </a:lnTo>
                <a:lnTo>
                  <a:pt x="16" y="40"/>
                </a:lnTo>
                <a:lnTo>
                  <a:pt x="13" y="44"/>
                </a:lnTo>
                <a:lnTo>
                  <a:pt x="10" y="50"/>
                </a:lnTo>
                <a:lnTo>
                  <a:pt x="13" y="53"/>
                </a:lnTo>
                <a:lnTo>
                  <a:pt x="16" y="50"/>
                </a:lnTo>
                <a:lnTo>
                  <a:pt x="16" y="56"/>
                </a:lnTo>
                <a:lnTo>
                  <a:pt x="16" y="56"/>
                </a:lnTo>
                <a:close/>
                <a:moveTo>
                  <a:pt x="22" y="59"/>
                </a:moveTo>
                <a:lnTo>
                  <a:pt x="19" y="62"/>
                </a:lnTo>
                <a:lnTo>
                  <a:pt x="19" y="65"/>
                </a:lnTo>
                <a:lnTo>
                  <a:pt x="19" y="72"/>
                </a:lnTo>
                <a:lnTo>
                  <a:pt x="22" y="72"/>
                </a:lnTo>
                <a:lnTo>
                  <a:pt x="25" y="65"/>
                </a:lnTo>
                <a:lnTo>
                  <a:pt x="25" y="65"/>
                </a:lnTo>
                <a:lnTo>
                  <a:pt x="25" y="62"/>
                </a:lnTo>
                <a:lnTo>
                  <a:pt x="22" y="59"/>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8" name="Freeform 176">
            <a:extLst>
              <a:ext uri="{FF2B5EF4-FFF2-40B4-BE49-F238E27FC236}">
                <a16:creationId xmlns:a16="http://schemas.microsoft.com/office/drawing/2014/main" id="{2B5C1226-5034-C0ED-C1B7-C042AA27001C}"/>
              </a:ext>
            </a:extLst>
          </p:cNvPr>
          <p:cNvSpPr>
            <a:spLocks noEditPoints="1"/>
          </p:cNvSpPr>
          <p:nvPr userDrawn="1"/>
        </p:nvSpPr>
        <p:spPr bwMode="auto">
          <a:xfrm>
            <a:off x="5774947" y="5660311"/>
            <a:ext cx="3524021" cy="2076450"/>
          </a:xfrm>
          <a:custGeom>
            <a:avLst/>
            <a:gdLst>
              <a:gd name="T0" fmla="*/ 206 w 355"/>
              <a:gd name="T1" fmla="*/ 20 h 209"/>
              <a:gd name="T2" fmla="*/ 250 w 355"/>
              <a:gd name="T3" fmla="*/ 40 h 209"/>
              <a:gd name="T4" fmla="*/ 297 w 355"/>
              <a:gd name="T5" fmla="*/ 63 h 209"/>
              <a:gd name="T6" fmla="*/ 334 w 355"/>
              <a:gd name="T7" fmla="*/ 52 h 209"/>
              <a:gd name="T8" fmla="*/ 351 w 355"/>
              <a:gd name="T9" fmla="*/ 43 h 209"/>
              <a:gd name="T10" fmla="*/ 354 w 355"/>
              <a:gd name="T11" fmla="*/ 62 h 209"/>
              <a:gd name="T12" fmla="*/ 342 w 355"/>
              <a:gd name="T13" fmla="*/ 65 h 209"/>
              <a:gd name="T14" fmla="*/ 332 w 355"/>
              <a:gd name="T15" fmla="*/ 71 h 209"/>
              <a:gd name="T16" fmla="*/ 330 w 355"/>
              <a:gd name="T17" fmla="*/ 83 h 209"/>
              <a:gd name="T18" fmla="*/ 323 w 355"/>
              <a:gd name="T19" fmla="*/ 89 h 209"/>
              <a:gd name="T20" fmla="*/ 305 w 355"/>
              <a:gd name="T21" fmla="*/ 96 h 209"/>
              <a:gd name="T22" fmla="*/ 298 w 355"/>
              <a:gd name="T23" fmla="*/ 107 h 209"/>
              <a:gd name="T24" fmla="*/ 296 w 355"/>
              <a:gd name="T25" fmla="*/ 110 h 209"/>
              <a:gd name="T26" fmla="*/ 290 w 355"/>
              <a:gd name="T27" fmla="*/ 117 h 209"/>
              <a:gd name="T28" fmla="*/ 289 w 355"/>
              <a:gd name="T29" fmla="*/ 105 h 209"/>
              <a:gd name="T30" fmla="*/ 287 w 355"/>
              <a:gd name="T31" fmla="*/ 114 h 209"/>
              <a:gd name="T32" fmla="*/ 287 w 355"/>
              <a:gd name="T33" fmla="*/ 118 h 209"/>
              <a:gd name="T34" fmla="*/ 284 w 355"/>
              <a:gd name="T35" fmla="*/ 122 h 209"/>
              <a:gd name="T36" fmla="*/ 285 w 355"/>
              <a:gd name="T37" fmla="*/ 130 h 209"/>
              <a:gd name="T38" fmla="*/ 289 w 355"/>
              <a:gd name="T39" fmla="*/ 134 h 209"/>
              <a:gd name="T40" fmla="*/ 284 w 355"/>
              <a:gd name="T41" fmla="*/ 138 h 209"/>
              <a:gd name="T42" fmla="*/ 273 w 355"/>
              <a:gd name="T43" fmla="*/ 147 h 209"/>
              <a:gd name="T44" fmla="*/ 258 w 355"/>
              <a:gd name="T45" fmla="*/ 156 h 209"/>
              <a:gd name="T46" fmla="*/ 249 w 355"/>
              <a:gd name="T47" fmla="*/ 173 h 209"/>
              <a:gd name="T48" fmla="*/ 254 w 355"/>
              <a:gd name="T49" fmla="*/ 200 h 209"/>
              <a:gd name="T50" fmla="*/ 244 w 355"/>
              <a:gd name="T51" fmla="*/ 204 h 209"/>
              <a:gd name="T52" fmla="*/ 239 w 355"/>
              <a:gd name="T53" fmla="*/ 195 h 209"/>
              <a:gd name="T54" fmla="*/ 238 w 355"/>
              <a:gd name="T55" fmla="*/ 181 h 209"/>
              <a:gd name="T56" fmla="*/ 227 w 355"/>
              <a:gd name="T57" fmla="*/ 176 h 209"/>
              <a:gd name="T58" fmla="*/ 221 w 355"/>
              <a:gd name="T59" fmla="*/ 172 h 209"/>
              <a:gd name="T60" fmla="*/ 210 w 355"/>
              <a:gd name="T61" fmla="*/ 171 h 209"/>
              <a:gd name="T62" fmla="*/ 196 w 355"/>
              <a:gd name="T63" fmla="*/ 175 h 209"/>
              <a:gd name="T64" fmla="*/ 197 w 355"/>
              <a:gd name="T65" fmla="*/ 181 h 209"/>
              <a:gd name="T66" fmla="*/ 187 w 355"/>
              <a:gd name="T67" fmla="*/ 179 h 209"/>
              <a:gd name="T68" fmla="*/ 177 w 355"/>
              <a:gd name="T69" fmla="*/ 176 h 209"/>
              <a:gd name="T70" fmla="*/ 164 w 355"/>
              <a:gd name="T71" fmla="*/ 177 h 209"/>
              <a:gd name="T72" fmla="*/ 153 w 355"/>
              <a:gd name="T73" fmla="*/ 184 h 209"/>
              <a:gd name="T74" fmla="*/ 146 w 355"/>
              <a:gd name="T75" fmla="*/ 202 h 209"/>
              <a:gd name="T76" fmla="*/ 135 w 355"/>
              <a:gd name="T77" fmla="*/ 193 h 209"/>
              <a:gd name="T78" fmla="*/ 128 w 355"/>
              <a:gd name="T79" fmla="*/ 176 h 209"/>
              <a:gd name="T80" fmla="*/ 116 w 355"/>
              <a:gd name="T81" fmla="*/ 177 h 209"/>
              <a:gd name="T82" fmla="*/ 108 w 355"/>
              <a:gd name="T83" fmla="*/ 176 h 209"/>
              <a:gd name="T84" fmla="*/ 103 w 355"/>
              <a:gd name="T85" fmla="*/ 168 h 209"/>
              <a:gd name="T86" fmla="*/ 95 w 355"/>
              <a:gd name="T87" fmla="*/ 158 h 209"/>
              <a:gd name="T88" fmla="*/ 25 w 355"/>
              <a:gd name="T89" fmla="*/ 138 h 209"/>
              <a:gd name="T90" fmla="*/ 13 w 355"/>
              <a:gd name="T91" fmla="*/ 129 h 209"/>
              <a:gd name="T92" fmla="*/ 8 w 355"/>
              <a:gd name="T93" fmla="*/ 112 h 209"/>
              <a:gd name="T94" fmla="*/ 8 w 355"/>
              <a:gd name="T95" fmla="*/ 104 h 209"/>
              <a:gd name="T96" fmla="*/ 6 w 355"/>
              <a:gd name="T97" fmla="*/ 103 h 209"/>
              <a:gd name="T98" fmla="*/ 1 w 355"/>
              <a:gd name="T99" fmla="*/ 82 h 209"/>
              <a:gd name="T100" fmla="*/ 4 w 355"/>
              <a:gd name="T101" fmla="*/ 60 h 209"/>
              <a:gd name="T102" fmla="*/ 15 w 355"/>
              <a:gd name="T103" fmla="*/ 30 h 209"/>
              <a:gd name="T104" fmla="*/ 16 w 355"/>
              <a:gd name="T105" fmla="*/ 25 h 209"/>
              <a:gd name="T106" fmla="*/ 18 w 355"/>
              <a:gd name="T107" fmla="*/ 11 h 209"/>
              <a:gd name="T108" fmla="*/ 26 w 355"/>
              <a:gd name="T109" fmla="*/ 12 h 209"/>
              <a:gd name="T110" fmla="*/ 27 w 355"/>
              <a:gd name="T111" fmla="*/ 18 h 209"/>
              <a:gd name="T112" fmla="*/ 32 w 355"/>
              <a:gd name="T113" fmla="*/ 4 h 209"/>
              <a:gd name="T114" fmla="*/ 308 w 355"/>
              <a:gd name="T115" fmla="*/ 94 h 209"/>
              <a:gd name="T116" fmla="*/ 315 w 355"/>
              <a:gd name="T117" fmla="*/ 91 h 209"/>
              <a:gd name="T118" fmla="*/ 31 w 355"/>
              <a:gd name="T119" fmla="*/ 6 h 209"/>
              <a:gd name="T120" fmla="*/ 148 w 355"/>
              <a:gd name="T121" fmla="*/ 193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5" h="209">
                <a:moveTo>
                  <a:pt x="31" y="0"/>
                </a:moveTo>
                <a:cubicBezTo>
                  <a:pt x="194" y="16"/>
                  <a:pt x="194" y="16"/>
                  <a:pt x="194" y="16"/>
                </a:cubicBezTo>
                <a:cubicBezTo>
                  <a:pt x="195" y="16"/>
                  <a:pt x="195" y="16"/>
                  <a:pt x="195" y="16"/>
                </a:cubicBezTo>
                <a:cubicBezTo>
                  <a:pt x="196" y="16"/>
                  <a:pt x="196" y="16"/>
                  <a:pt x="196" y="16"/>
                </a:cubicBezTo>
                <a:cubicBezTo>
                  <a:pt x="198" y="17"/>
                  <a:pt x="198" y="17"/>
                  <a:pt x="198" y="17"/>
                </a:cubicBezTo>
                <a:cubicBezTo>
                  <a:pt x="198" y="18"/>
                  <a:pt x="198" y="18"/>
                  <a:pt x="198" y="18"/>
                </a:cubicBezTo>
                <a:cubicBezTo>
                  <a:pt x="199" y="18"/>
                  <a:pt x="199" y="18"/>
                  <a:pt x="199" y="18"/>
                </a:cubicBezTo>
                <a:cubicBezTo>
                  <a:pt x="199" y="19"/>
                  <a:pt x="199" y="19"/>
                  <a:pt x="199" y="19"/>
                </a:cubicBezTo>
                <a:cubicBezTo>
                  <a:pt x="200" y="19"/>
                  <a:pt x="200" y="19"/>
                  <a:pt x="200" y="19"/>
                </a:cubicBezTo>
                <a:cubicBezTo>
                  <a:pt x="200" y="19"/>
                  <a:pt x="200" y="19"/>
                  <a:pt x="200" y="19"/>
                </a:cubicBezTo>
                <a:cubicBezTo>
                  <a:pt x="202" y="20"/>
                  <a:pt x="202" y="20"/>
                  <a:pt x="202" y="20"/>
                </a:cubicBezTo>
                <a:cubicBezTo>
                  <a:pt x="202" y="21"/>
                  <a:pt x="202" y="21"/>
                  <a:pt x="202" y="21"/>
                </a:cubicBezTo>
                <a:cubicBezTo>
                  <a:pt x="203" y="20"/>
                  <a:pt x="203" y="20"/>
                  <a:pt x="203" y="20"/>
                </a:cubicBezTo>
                <a:cubicBezTo>
                  <a:pt x="204" y="20"/>
                  <a:pt x="204" y="20"/>
                  <a:pt x="204" y="20"/>
                </a:cubicBezTo>
                <a:cubicBezTo>
                  <a:pt x="205" y="20"/>
                  <a:pt x="205" y="20"/>
                  <a:pt x="205" y="20"/>
                </a:cubicBezTo>
                <a:cubicBezTo>
                  <a:pt x="206" y="20"/>
                  <a:pt x="206" y="20"/>
                  <a:pt x="206" y="20"/>
                </a:cubicBezTo>
                <a:cubicBezTo>
                  <a:pt x="208" y="21"/>
                  <a:pt x="208" y="21"/>
                  <a:pt x="208" y="21"/>
                </a:cubicBezTo>
                <a:cubicBezTo>
                  <a:pt x="209" y="21"/>
                  <a:pt x="209" y="21"/>
                  <a:pt x="209" y="21"/>
                </a:cubicBezTo>
                <a:cubicBezTo>
                  <a:pt x="209" y="23"/>
                  <a:pt x="209" y="23"/>
                  <a:pt x="209" y="23"/>
                </a:cubicBezTo>
                <a:cubicBezTo>
                  <a:pt x="211" y="24"/>
                  <a:pt x="211" y="24"/>
                  <a:pt x="211" y="24"/>
                </a:cubicBezTo>
                <a:cubicBezTo>
                  <a:pt x="213" y="24"/>
                  <a:pt x="213" y="24"/>
                  <a:pt x="213" y="24"/>
                </a:cubicBezTo>
                <a:cubicBezTo>
                  <a:pt x="213" y="25"/>
                  <a:pt x="213" y="25"/>
                  <a:pt x="213" y="25"/>
                </a:cubicBezTo>
                <a:cubicBezTo>
                  <a:pt x="214" y="25"/>
                  <a:pt x="214" y="25"/>
                  <a:pt x="214" y="25"/>
                </a:cubicBezTo>
                <a:cubicBezTo>
                  <a:pt x="216" y="25"/>
                  <a:pt x="216" y="25"/>
                  <a:pt x="216" y="25"/>
                </a:cubicBezTo>
                <a:cubicBezTo>
                  <a:pt x="217" y="25"/>
                  <a:pt x="217" y="25"/>
                  <a:pt x="217" y="25"/>
                </a:cubicBezTo>
                <a:cubicBezTo>
                  <a:pt x="218" y="25"/>
                  <a:pt x="218" y="25"/>
                  <a:pt x="218" y="25"/>
                </a:cubicBezTo>
                <a:cubicBezTo>
                  <a:pt x="219" y="26"/>
                  <a:pt x="219" y="26"/>
                  <a:pt x="219" y="26"/>
                </a:cubicBezTo>
                <a:cubicBezTo>
                  <a:pt x="222" y="26"/>
                  <a:pt x="222" y="26"/>
                  <a:pt x="222" y="26"/>
                </a:cubicBezTo>
                <a:cubicBezTo>
                  <a:pt x="222" y="27"/>
                  <a:pt x="222" y="27"/>
                  <a:pt x="222" y="27"/>
                </a:cubicBezTo>
                <a:cubicBezTo>
                  <a:pt x="224" y="27"/>
                  <a:pt x="224" y="27"/>
                  <a:pt x="224" y="27"/>
                </a:cubicBezTo>
                <a:cubicBezTo>
                  <a:pt x="225" y="28"/>
                  <a:pt x="225" y="28"/>
                  <a:pt x="225" y="28"/>
                </a:cubicBezTo>
                <a:cubicBezTo>
                  <a:pt x="250" y="40"/>
                  <a:pt x="250" y="40"/>
                  <a:pt x="250" y="40"/>
                </a:cubicBezTo>
                <a:cubicBezTo>
                  <a:pt x="251" y="42"/>
                  <a:pt x="251" y="42"/>
                  <a:pt x="251" y="42"/>
                </a:cubicBezTo>
                <a:cubicBezTo>
                  <a:pt x="255" y="45"/>
                  <a:pt x="255" y="45"/>
                  <a:pt x="255" y="45"/>
                </a:cubicBezTo>
                <a:cubicBezTo>
                  <a:pt x="259" y="64"/>
                  <a:pt x="259" y="64"/>
                  <a:pt x="259" y="64"/>
                </a:cubicBezTo>
                <a:cubicBezTo>
                  <a:pt x="259" y="73"/>
                  <a:pt x="259" y="73"/>
                  <a:pt x="259" y="73"/>
                </a:cubicBezTo>
                <a:cubicBezTo>
                  <a:pt x="258" y="74"/>
                  <a:pt x="258" y="74"/>
                  <a:pt x="258" y="74"/>
                </a:cubicBezTo>
                <a:cubicBezTo>
                  <a:pt x="257" y="75"/>
                  <a:pt x="257" y="75"/>
                  <a:pt x="257" y="75"/>
                </a:cubicBezTo>
                <a:cubicBezTo>
                  <a:pt x="256" y="77"/>
                  <a:pt x="256" y="77"/>
                  <a:pt x="256" y="77"/>
                </a:cubicBezTo>
                <a:cubicBezTo>
                  <a:pt x="254" y="78"/>
                  <a:pt x="254" y="78"/>
                  <a:pt x="254" y="78"/>
                </a:cubicBezTo>
                <a:cubicBezTo>
                  <a:pt x="253" y="79"/>
                  <a:pt x="253" y="79"/>
                  <a:pt x="253" y="79"/>
                </a:cubicBezTo>
                <a:cubicBezTo>
                  <a:pt x="254" y="81"/>
                  <a:pt x="254" y="81"/>
                  <a:pt x="254" y="81"/>
                </a:cubicBezTo>
                <a:cubicBezTo>
                  <a:pt x="275" y="76"/>
                  <a:pt x="275" y="76"/>
                  <a:pt x="275" y="76"/>
                </a:cubicBezTo>
                <a:cubicBezTo>
                  <a:pt x="278" y="75"/>
                  <a:pt x="278" y="75"/>
                  <a:pt x="278" y="75"/>
                </a:cubicBezTo>
                <a:cubicBezTo>
                  <a:pt x="279" y="72"/>
                  <a:pt x="279" y="72"/>
                  <a:pt x="279" y="72"/>
                </a:cubicBezTo>
                <a:cubicBezTo>
                  <a:pt x="291" y="68"/>
                  <a:pt x="291" y="68"/>
                  <a:pt x="291" y="68"/>
                </a:cubicBezTo>
                <a:cubicBezTo>
                  <a:pt x="296" y="64"/>
                  <a:pt x="296" y="64"/>
                  <a:pt x="296" y="64"/>
                </a:cubicBezTo>
                <a:cubicBezTo>
                  <a:pt x="297" y="63"/>
                  <a:pt x="297" y="63"/>
                  <a:pt x="297" y="63"/>
                </a:cubicBezTo>
                <a:cubicBezTo>
                  <a:pt x="299" y="63"/>
                  <a:pt x="299" y="63"/>
                  <a:pt x="299" y="63"/>
                </a:cubicBezTo>
                <a:cubicBezTo>
                  <a:pt x="301" y="60"/>
                  <a:pt x="301" y="60"/>
                  <a:pt x="301" y="60"/>
                </a:cubicBezTo>
                <a:cubicBezTo>
                  <a:pt x="303" y="59"/>
                  <a:pt x="303" y="59"/>
                  <a:pt x="303" y="59"/>
                </a:cubicBezTo>
                <a:cubicBezTo>
                  <a:pt x="304" y="59"/>
                  <a:pt x="304" y="59"/>
                  <a:pt x="304" y="59"/>
                </a:cubicBezTo>
                <a:cubicBezTo>
                  <a:pt x="305" y="58"/>
                  <a:pt x="305" y="58"/>
                  <a:pt x="305" y="58"/>
                </a:cubicBezTo>
                <a:cubicBezTo>
                  <a:pt x="308" y="57"/>
                  <a:pt x="308" y="57"/>
                  <a:pt x="308" y="57"/>
                </a:cubicBezTo>
                <a:cubicBezTo>
                  <a:pt x="326" y="58"/>
                  <a:pt x="326" y="58"/>
                  <a:pt x="326" y="58"/>
                </a:cubicBezTo>
                <a:cubicBezTo>
                  <a:pt x="327" y="56"/>
                  <a:pt x="327" y="56"/>
                  <a:pt x="327" y="56"/>
                </a:cubicBezTo>
                <a:cubicBezTo>
                  <a:pt x="328" y="56"/>
                  <a:pt x="328" y="56"/>
                  <a:pt x="328" y="56"/>
                </a:cubicBezTo>
                <a:cubicBezTo>
                  <a:pt x="328" y="56"/>
                  <a:pt x="328" y="56"/>
                  <a:pt x="328" y="56"/>
                </a:cubicBezTo>
                <a:cubicBezTo>
                  <a:pt x="329" y="56"/>
                  <a:pt x="329" y="56"/>
                  <a:pt x="329" y="56"/>
                </a:cubicBezTo>
                <a:cubicBezTo>
                  <a:pt x="330" y="56"/>
                  <a:pt x="330" y="56"/>
                  <a:pt x="330" y="56"/>
                </a:cubicBezTo>
                <a:cubicBezTo>
                  <a:pt x="331" y="55"/>
                  <a:pt x="331" y="55"/>
                  <a:pt x="331" y="55"/>
                </a:cubicBezTo>
                <a:cubicBezTo>
                  <a:pt x="331" y="55"/>
                  <a:pt x="331" y="55"/>
                  <a:pt x="331" y="55"/>
                </a:cubicBezTo>
                <a:cubicBezTo>
                  <a:pt x="333" y="52"/>
                  <a:pt x="333" y="52"/>
                  <a:pt x="333" y="52"/>
                </a:cubicBezTo>
                <a:cubicBezTo>
                  <a:pt x="334" y="52"/>
                  <a:pt x="334" y="52"/>
                  <a:pt x="334" y="52"/>
                </a:cubicBezTo>
                <a:cubicBezTo>
                  <a:pt x="336" y="50"/>
                  <a:pt x="336" y="50"/>
                  <a:pt x="336" y="50"/>
                </a:cubicBezTo>
                <a:cubicBezTo>
                  <a:pt x="336" y="49"/>
                  <a:pt x="336" y="49"/>
                  <a:pt x="336" y="49"/>
                </a:cubicBezTo>
                <a:cubicBezTo>
                  <a:pt x="337" y="47"/>
                  <a:pt x="337" y="47"/>
                  <a:pt x="337" y="47"/>
                </a:cubicBezTo>
                <a:cubicBezTo>
                  <a:pt x="338" y="46"/>
                  <a:pt x="338" y="46"/>
                  <a:pt x="338" y="46"/>
                </a:cubicBezTo>
                <a:cubicBezTo>
                  <a:pt x="338" y="45"/>
                  <a:pt x="338" y="45"/>
                  <a:pt x="338" y="45"/>
                </a:cubicBezTo>
                <a:cubicBezTo>
                  <a:pt x="339" y="44"/>
                  <a:pt x="339" y="44"/>
                  <a:pt x="339" y="44"/>
                </a:cubicBezTo>
                <a:cubicBezTo>
                  <a:pt x="341" y="41"/>
                  <a:pt x="341" y="41"/>
                  <a:pt x="341" y="41"/>
                </a:cubicBezTo>
                <a:cubicBezTo>
                  <a:pt x="342" y="40"/>
                  <a:pt x="342" y="40"/>
                  <a:pt x="342" y="40"/>
                </a:cubicBezTo>
                <a:cubicBezTo>
                  <a:pt x="343" y="39"/>
                  <a:pt x="343" y="39"/>
                  <a:pt x="343" y="39"/>
                </a:cubicBezTo>
                <a:cubicBezTo>
                  <a:pt x="343" y="39"/>
                  <a:pt x="343" y="39"/>
                  <a:pt x="343" y="39"/>
                </a:cubicBezTo>
                <a:cubicBezTo>
                  <a:pt x="344" y="40"/>
                  <a:pt x="344" y="40"/>
                  <a:pt x="344" y="40"/>
                </a:cubicBezTo>
                <a:cubicBezTo>
                  <a:pt x="345" y="41"/>
                  <a:pt x="345" y="41"/>
                  <a:pt x="345" y="41"/>
                </a:cubicBezTo>
                <a:cubicBezTo>
                  <a:pt x="346" y="40"/>
                  <a:pt x="346" y="40"/>
                  <a:pt x="346" y="40"/>
                </a:cubicBezTo>
                <a:cubicBezTo>
                  <a:pt x="348" y="41"/>
                  <a:pt x="348" y="41"/>
                  <a:pt x="348" y="41"/>
                </a:cubicBezTo>
                <a:cubicBezTo>
                  <a:pt x="348" y="40"/>
                  <a:pt x="348" y="40"/>
                  <a:pt x="348" y="40"/>
                </a:cubicBezTo>
                <a:cubicBezTo>
                  <a:pt x="351" y="43"/>
                  <a:pt x="351" y="43"/>
                  <a:pt x="351" y="43"/>
                </a:cubicBezTo>
                <a:cubicBezTo>
                  <a:pt x="351" y="45"/>
                  <a:pt x="351" y="45"/>
                  <a:pt x="351" y="45"/>
                </a:cubicBezTo>
                <a:cubicBezTo>
                  <a:pt x="350" y="53"/>
                  <a:pt x="350" y="53"/>
                  <a:pt x="350" y="53"/>
                </a:cubicBezTo>
                <a:cubicBezTo>
                  <a:pt x="349" y="53"/>
                  <a:pt x="349" y="53"/>
                  <a:pt x="349" y="53"/>
                </a:cubicBezTo>
                <a:cubicBezTo>
                  <a:pt x="350" y="54"/>
                  <a:pt x="350" y="54"/>
                  <a:pt x="350" y="54"/>
                </a:cubicBezTo>
                <a:cubicBezTo>
                  <a:pt x="350" y="54"/>
                  <a:pt x="350" y="54"/>
                  <a:pt x="350" y="54"/>
                </a:cubicBezTo>
                <a:cubicBezTo>
                  <a:pt x="351" y="55"/>
                  <a:pt x="351" y="55"/>
                  <a:pt x="351" y="55"/>
                </a:cubicBezTo>
                <a:cubicBezTo>
                  <a:pt x="351" y="56"/>
                  <a:pt x="351" y="56"/>
                  <a:pt x="351" y="56"/>
                </a:cubicBezTo>
                <a:cubicBezTo>
                  <a:pt x="351" y="57"/>
                  <a:pt x="351" y="57"/>
                  <a:pt x="351" y="57"/>
                </a:cubicBezTo>
                <a:cubicBezTo>
                  <a:pt x="351" y="57"/>
                  <a:pt x="351" y="57"/>
                  <a:pt x="351" y="57"/>
                </a:cubicBezTo>
                <a:cubicBezTo>
                  <a:pt x="350" y="58"/>
                  <a:pt x="350" y="58"/>
                  <a:pt x="350" y="58"/>
                </a:cubicBezTo>
                <a:cubicBezTo>
                  <a:pt x="351" y="58"/>
                  <a:pt x="351" y="58"/>
                  <a:pt x="351" y="58"/>
                </a:cubicBezTo>
                <a:cubicBezTo>
                  <a:pt x="351" y="58"/>
                  <a:pt x="351" y="58"/>
                  <a:pt x="351" y="58"/>
                </a:cubicBezTo>
                <a:cubicBezTo>
                  <a:pt x="351" y="58"/>
                  <a:pt x="351" y="58"/>
                  <a:pt x="351" y="58"/>
                </a:cubicBezTo>
                <a:cubicBezTo>
                  <a:pt x="353" y="60"/>
                  <a:pt x="353" y="60"/>
                  <a:pt x="353" y="60"/>
                </a:cubicBezTo>
                <a:cubicBezTo>
                  <a:pt x="353" y="61"/>
                  <a:pt x="353" y="61"/>
                  <a:pt x="353" y="61"/>
                </a:cubicBezTo>
                <a:cubicBezTo>
                  <a:pt x="354" y="62"/>
                  <a:pt x="354" y="62"/>
                  <a:pt x="354" y="62"/>
                </a:cubicBezTo>
                <a:cubicBezTo>
                  <a:pt x="354" y="61"/>
                  <a:pt x="354" y="61"/>
                  <a:pt x="354" y="61"/>
                </a:cubicBezTo>
                <a:cubicBezTo>
                  <a:pt x="355" y="62"/>
                  <a:pt x="355" y="62"/>
                  <a:pt x="355" y="62"/>
                </a:cubicBezTo>
                <a:cubicBezTo>
                  <a:pt x="355" y="63"/>
                  <a:pt x="355" y="63"/>
                  <a:pt x="355" y="63"/>
                </a:cubicBezTo>
                <a:cubicBezTo>
                  <a:pt x="353" y="63"/>
                  <a:pt x="353" y="63"/>
                  <a:pt x="353" y="63"/>
                </a:cubicBezTo>
                <a:cubicBezTo>
                  <a:pt x="353" y="62"/>
                  <a:pt x="353" y="62"/>
                  <a:pt x="353" y="62"/>
                </a:cubicBezTo>
                <a:cubicBezTo>
                  <a:pt x="351" y="63"/>
                  <a:pt x="351" y="63"/>
                  <a:pt x="351" y="63"/>
                </a:cubicBezTo>
                <a:cubicBezTo>
                  <a:pt x="350" y="63"/>
                  <a:pt x="350" y="63"/>
                  <a:pt x="350" y="63"/>
                </a:cubicBezTo>
                <a:cubicBezTo>
                  <a:pt x="349" y="64"/>
                  <a:pt x="349" y="64"/>
                  <a:pt x="349" y="64"/>
                </a:cubicBezTo>
                <a:cubicBezTo>
                  <a:pt x="349" y="64"/>
                  <a:pt x="349" y="64"/>
                  <a:pt x="349" y="64"/>
                </a:cubicBezTo>
                <a:cubicBezTo>
                  <a:pt x="348" y="64"/>
                  <a:pt x="348" y="64"/>
                  <a:pt x="348" y="64"/>
                </a:cubicBezTo>
                <a:cubicBezTo>
                  <a:pt x="347" y="65"/>
                  <a:pt x="347" y="65"/>
                  <a:pt x="347" y="65"/>
                </a:cubicBezTo>
                <a:cubicBezTo>
                  <a:pt x="346" y="65"/>
                  <a:pt x="346" y="65"/>
                  <a:pt x="346" y="65"/>
                </a:cubicBezTo>
                <a:cubicBezTo>
                  <a:pt x="345" y="64"/>
                  <a:pt x="345" y="64"/>
                  <a:pt x="345" y="64"/>
                </a:cubicBezTo>
                <a:cubicBezTo>
                  <a:pt x="344" y="64"/>
                  <a:pt x="344" y="64"/>
                  <a:pt x="344" y="64"/>
                </a:cubicBezTo>
                <a:cubicBezTo>
                  <a:pt x="343" y="65"/>
                  <a:pt x="343" y="65"/>
                  <a:pt x="343" y="65"/>
                </a:cubicBezTo>
                <a:cubicBezTo>
                  <a:pt x="342" y="65"/>
                  <a:pt x="342" y="65"/>
                  <a:pt x="342" y="65"/>
                </a:cubicBezTo>
                <a:cubicBezTo>
                  <a:pt x="341" y="64"/>
                  <a:pt x="341" y="64"/>
                  <a:pt x="341" y="64"/>
                </a:cubicBezTo>
                <a:cubicBezTo>
                  <a:pt x="342" y="63"/>
                  <a:pt x="342" y="63"/>
                  <a:pt x="342" y="63"/>
                </a:cubicBezTo>
                <a:cubicBezTo>
                  <a:pt x="340" y="65"/>
                  <a:pt x="340" y="65"/>
                  <a:pt x="340" y="65"/>
                </a:cubicBezTo>
                <a:cubicBezTo>
                  <a:pt x="339" y="67"/>
                  <a:pt x="339" y="67"/>
                  <a:pt x="339" y="67"/>
                </a:cubicBezTo>
                <a:cubicBezTo>
                  <a:pt x="338" y="67"/>
                  <a:pt x="338" y="67"/>
                  <a:pt x="338" y="67"/>
                </a:cubicBezTo>
                <a:cubicBezTo>
                  <a:pt x="338" y="67"/>
                  <a:pt x="338" y="67"/>
                  <a:pt x="338" y="67"/>
                </a:cubicBezTo>
                <a:cubicBezTo>
                  <a:pt x="337" y="68"/>
                  <a:pt x="337" y="68"/>
                  <a:pt x="337" y="68"/>
                </a:cubicBezTo>
                <a:cubicBezTo>
                  <a:pt x="337" y="68"/>
                  <a:pt x="337" y="68"/>
                  <a:pt x="337" y="68"/>
                </a:cubicBezTo>
                <a:cubicBezTo>
                  <a:pt x="336" y="67"/>
                  <a:pt x="336" y="67"/>
                  <a:pt x="336" y="67"/>
                </a:cubicBezTo>
                <a:cubicBezTo>
                  <a:pt x="336" y="68"/>
                  <a:pt x="336" y="68"/>
                  <a:pt x="336" y="68"/>
                </a:cubicBezTo>
                <a:cubicBezTo>
                  <a:pt x="335" y="69"/>
                  <a:pt x="335" y="69"/>
                  <a:pt x="335" y="69"/>
                </a:cubicBezTo>
                <a:cubicBezTo>
                  <a:pt x="334" y="69"/>
                  <a:pt x="334" y="69"/>
                  <a:pt x="334" y="69"/>
                </a:cubicBezTo>
                <a:cubicBezTo>
                  <a:pt x="334" y="68"/>
                  <a:pt x="334" y="68"/>
                  <a:pt x="334" y="68"/>
                </a:cubicBezTo>
                <a:cubicBezTo>
                  <a:pt x="333" y="69"/>
                  <a:pt x="333" y="69"/>
                  <a:pt x="333" y="69"/>
                </a:cubicBezTo>
                <a:cubicBezTo>
                  <a:pt x="333" y="69"/>
                  <a:pt x="333" y="69"/>
                  <a:pt x="333" y="69"/>
                </a:cubicBezTo>
                <a:cubicBezTo>
                  <a:pt x="332" y="71"/>
                  <a:pt x="332" y="71"/>
                  <a:pt x="332" y="71"/>
                </a:cubicBezTo>
                <a:cubicBezTo>
                  <a:pt x="330" y="72"/>
                  <a:pt x="330" y="72"/>
                  <a:pt x="330" y="72"/>
                </a:cubicBezTo>
                <a:cubicBezTo>
                  <a:pt x="329" y="75"/>
                  <a:pt x="329" y="75"/>
                  <a:pt x="329" y="75"/>
                </a:cubicBezTo>
                <a:cubicBezTo>
                  <a:pt x="328" y="76"/>
                  <a:pt x="328" y="76"/>
                  <a:pt x="328" y="76"/>
                </a:cubicBezTo>
                <a:cubicBezTo>
                  <a:pt x="328" y="77"/>
                  <a:pt x="328" y="77"/>
                  <a:pt x="328" y="77"/>
                </a:cubicBezTo>
                <a:cubicBezTo>
                  <a:pt x="327" y="77"/>
                  <a:pt x="327" y="77"/>
                  <a:pt x="327" y="77"/>
                </a:cubicBezTo>
                <a:cubicBezTo>
                  <a:pt x="327" y="78"/>
                  <a:pt x="327" y="78"/>
                  <a:pt x="327" y="78"/>
                </a:cubicBezTo>
                <a:cubicBezTo>
                  <a:pt x="328" y="78"/>
                  <a:pt x="328" y="78"/>
                  <a:pt x="328" y="78"/>
                </a:cubicBezTo>
                <a:cubicBezTo>
                  <a:pt x="328" y="79"/>
                  <a:pt x="328" y="79"/>
                  <a:pt x="328" y="79"/>
                </a:cubicBezTo>
                <a:cubicBezTo>
                  <a:pt x="326" y="81"/>
                  <a:pt x="326" y="81"/>
                  <a:pt x="326" y="81"/>
                </a:cubicBezTo>
                <a:cubicBezTo>
                  <a:pt x="326" y="81"/>
                  <a:pt x="326" y="81"/>
                  <a:pt x="326" y="81"/>
                </a:cubicBezTo>
                <a:cubicBezTo>
                  <a:pt x="327" y="82"/>
                  <a:pt x="327" y="82"/>
                  <a:pt x="327" y="82"/>
                </a:cubicBezTo>
                <a:cubicBezTo>
                  <a:pt x="328" y="84"/>
                  <a:pt x="328" y="84"/>
                  <a:pt x="328" y="84"/>
                </a:cubicBezTo>
                <a:cubicBezTo>
                  <a:pt x="328" y="85"/>
                  <a:pt x="328" y="85"/>
                  <a:pt x="328" y="85"/>
                </a:cubicBezTo>
                <a:cubicBezTo>
                  <a:pt x="330" y="85"/>
                  <a:pt x="330" y="85"/>
                  <a:pt x="330" y="85"/>
                </a:cubicBezTo>
                <a:cubicBezTo>
                  <a:pt x="330" y="84"/>
                  <a:pt x="330" y="84"/>
                  <a:pt x="330" y="84"/>
                </a:cubicBezTo>
                <a:cubicBezTo>
                  <a:pt x="330" y="83"/>
                  <a:pt x="330" y="83"/>
                  <a:pt x="330" y="83"/>
                </a:cubicBezTo>
                <a:cubicBezTo>
                  <a:pt x="331" y="83"/>
                  <a:pt x="331" y="83"/>
                  <a:pt x="331" y="83"/>
                </a:cubicBezTo>
                <a:cubicBezTo>
                  <a:pt x="331" y="85"/>
                  <a:pt x="331" y="85"/>
                  <a:pt x="331" y="85"/>
                </a:cubicBezTo>
                <a:cubicBezTo>
                  <a:pt x="331" y="86"/>
                  <a:pt x="331" y="86"/>
                  <a:pt x="331" y="86"/>
                </a:cubicBezTo>
                <a:cubicBezTo>
                  <a:pt x="328" y="87"/>
                  <a:pt x="328" y="87"/>
                  <a:pt x="328" y="87"/>
                </a:cubicBezTo>
                <a:cubicBezTo>
                  <a:pt x="327" y="87"/>
                  <a:pt x="327" y="87"/>
                  <a:pt x="327" y="87"/>
                </a:cubicBezTo>
                <a:cubicBezTo>
                  <a:pt x="327" y="86"/>
                  <a:pt x="327" y="86"/>
                  <a:pt x="327" y="86"/>
                </a:cubicBezTo>
                <a:cubicBezTo>
                  <a:pt x="326" y="85"/>
                  <a:pt x="326" y="85"/>
                  <a:pt x="326" y="85"/>
                </a:cubicBezTo>
                <a:cubicBezTo>
                  <a:pt x="325" y="87"/>
                  <a:pt x="325" y="87"/>
                  <a:pt x="325" y="87"/>
                </a:cubicBezTo>
                <a:cubicBezTo>
                  <a:pt x="324" y="89"/>
                  <a:pt x="324" y="89"/>
                  <a:pt x="324" y="89"/>
                </a:cubicBezTo>
                <a:cubicBezTo>
                  <a:pt x="323" y="88"/>
                  <a:pt x="323" y="88"/>
                  <a:pt x="323" y="88"/>
                </a:cubicBezTo>
                <a:cubicBezTo>
                  <a:pt x="323" y="88"/>
                  <a:pt x="323" y="88"/>
                  <a:pt x="323" y="88"/>
                </a:cubicBezTo>
                <a:cubicBezTo>
                  <a:pt x="323" y="86"/>
                  <a:pt x="323" y="86"/>
                  <a:pt x="323" y="86"/>
                </a:cubicBezTo>
                <a:cubicBezTo>
                  <a:pt x="322" y="85"/>
                  <a:pt x="322" y="85"/>
                  <a:pt x="322" y="85"/>
                </a:cubicBezTo>
                <a:cubicBezTo>
                  <a:pt x="322" y="86"/>
                  <a:pt x="322" y="86"/>
                  <a:pt x="322" y="86"/>
                </a:cubicBezTo>
                <a:cubicBezTo>
                  <a:pt x="322" y="88"/>
                  <a:pt x="322" y="88"/>
                  <a:pt x="322" y="88"/>
                </a:cubicBezTo>
                <a:cubicBezTo>
                  <a:pt x="323" y="89"/>
                  <a:pt x="323" y="89"/>
                  <a:pt x="323" y="89"/>
                </a:cubicBezTo>
                <a:cubicBezTo>
                  <a:pt x="322" y="89"/>
                  <a:pt x="322" y="89"/>
                  <a:pt x="322" y="89"/>
                </a:cubicBezTo>
                <a:cubicBezTo>
                  <a:pt x="319" y="89"/>
                  <a:pt x="319" y="89"/>
                  <a:pt x="319" y="89"/>
                </a:cubicBezTo>
                <a:cubicBezTo>
                  <a:pt x="318" y="89"/>
                  <a:pt x="318" y="89"/>
                  <a:pt x="318" y="89"/>
                </a:cubicBezTo>
                <a:cubicBezTo>
                  <a:pt x="316" y="89"/>
                  <a:pt x="316" y="89"/>
                  <a:pt x="316" y="89"/>
                </a:cubicBezTo>
                <a:cubicBezTo>
                  <a:pt x="314" y="89"/>
                  <a:pt x="314" y="89"/>
                  <a:pt x="314" y="89"/>
                </a:cubicBezTo>
                <a:cubicBezTo>
                  <a:pt x="313" y="89"/>
                  <a:pt x="313" y="89"/>
                  <a:pt x="313" y="89"/>
                </a:cubicBezTo>
                <a:cubicBezTo>
                  <a:pt x="313" y="89"/>
                  <a:pt x="313" y="89"/>
                  <a:pt x="313" y="89"/>
                </a:cubicBezTo>
                <a:cubicBezTo>
                  <a:pt x="311" y="90"/>
                  <a:pt x="311" y="90"/>
                  <a:pt x="311" y="90"/>
                </a:cubicBezTo>
                <a:cubicBezTo>
                  <a:pt x="309" y="90"/>
                  <a:pt x="309" y="90"/>
                  <a:pt x="309" y="90"/>
                </a:cubicBezTo>
                <a:cubicBezTo>
                  <a:pt x="307" y="91"/>
                  <a:pt x="307" y="91"/>
                  <a:pt x="307" y="91"/>
                </a:cubicBezTo>
                <a:cubicBezTo>
                  <a:pt x="306" y="92"/>
                  <a:pt x="306" y="92"/>
                  <a:pt x="306" y="92"/>
                </a:cubicBezTo>
                <a:cubicBezTo>
                  <a:pt x="305" y="93"/>
                  <a:pt x="305" y="93"/>
                  <a:pt x="305" y="93"/>
                </a:cubicBezTo>
                <a:cubicBezTo>
                  <a:pt x="305" y="94"/>
                  <a:pt x="305" y="94"/>
                  <a:pt x="305" y="94"/>
                </a:cubicBezTo>
                <a:cubicBezTo>
                  <a:pt x="304" y="94"/>
                  <a:pt x="304" y="94"/>
                  <a:pt x="304" y="94"/>
                </a:cubicBezTo>
                <a:cubicBezTo>
                  <a:pt x="304" y="95"/>
                  <a:pt x="304" y="95"/>
                  <a:pt x="304" y="95"/>
                </a:cubicBezTo>
                <a:cubicBezTo>
                  <a:pt x="305" y="96"/>
                  <a:pt x="305" y="96"/>
                  <a:pt x="305" y="96"/>
                </a:cubicBezTo>
                <a:cubicBezTo>
                  <a:pt x="305" y="97"/>
                  <a:pt x="305" y="97"/>
                  <a:pt x="305" y="97"/>
                </a:cubicBezTo>
                <a:cubicBezTo>
                  <a:pt x="304" y="98"/>
                  <a:pt x="304" y="98"/>
                  <a:pt x="304" y="98"/>
                </a:cubicBezTo>
                <a:cubicBezTo>
                  <a:pt x="304" y="98"/>
                  <a:pt x="304" y="98"/>
                  <a:pt x="304" y="98"/>
                </a:cubicBezTo>
                <a:cubicBezTo>
                  <a:pt x="304" y="99"/>
                  <a:pt x="304" y="99"/>
                  <a:pt x="304" y="99"/>
                </a:cubicBezTo>
                <a:cubicBezTo>
                  <a:pt x="304" y="100"/>
                  <a:pt x="304" y="100"/>
                  <a:pt x="304" y="100"/>
                </a:cubicBezTo>
                <a:cubicBezTo>
                  <a:pt x="304" y="101"/>
                  <a:pt x="304" y="101"/>
                  <a:pt x="304" y="101"/>
                </a:cubicBezTo>
                <a:cubicBezTo>
                  <a:pt x="303" y="102"/>
                  <a:pt x="303" y="102"/>
                  <a:pt x="303" y="102"/>
                </a:cubicBezTo>
                <a:cubicBezTo>
                  <a:pt x="303" y="102"/>
                  <a:pt x="303" y="102"/>
                  <a:pt x="303" y="102"/>
                </a:cubicBezTo>
                <a:cubicBezTo>
                  <a:pt x="302" y="103"/>
                  <a:pt x="302" y="103"/>
                  <a:pt x="302" y="103"/>
                </a:cubicBezTo>
                <a:cubicBezTo>
                  <a:pt x="301" y="105"/>
                  <a:pt x="301" y="105"/>
                  <a:pt x="301" y="105"/>
                </a:cubicBezTo>
                <a:cubicBezTo>
                  <a:pt x="301" y="105"/>
                  <a:pt x="301" y="105"/>
                  <a:pt x="301" y="105"/>
                </a:cubicBezTo>
                <a:cubicBezTo>
                  <a:pt x="300" y="106"/>
                  <a:pt x="300" y="106"/>
                  <a:pt x="300" y="106"/>
                </a:cubicBezTo>
                <a:cubicBezTo>
                  <a:pt x="300" y="105"/>
                  <a:pt x="300" y="105"/>
                  <a:pt x="300" y="105"/>
                </a:cubicBezTo>
                <a:cubicBezTo>
                  <a:pt x="299" y="106"/>
                  <a:pt x="299" y="106"/>
                  <a:pt x="299" y="106"/>
                </a:cubicBezTo>
                <a:cubicBezTo>
                  <a:pt x="298" y="108"/>
                  <a:pt x="298" y="108"/>
                  <a:pt x="298" y="108"/>
                </a:cubicBezTo>
                <a:cubicBezTo>
                  <a:pt x="298" y="107"/>
                  <a:pt x="298" y="107"/>
                  <a:pt x="298" y="107"/>
                </a:cubicBezTo>
                <a:cubicBezTo>
                  <a:pt x="297" y="108"/>
                  <a:pt x="297" y="108"/>
                  <a:pt x="297" y="108"/>
                </a:cubicBezTo>
                <a:cubicBezTo>
                  <a:pt x="298" y="106"/>
                  <a:pt x="298" y="106"/>
                  <a:pt x="298" y="106"/>
                </a:cubicBezTo>
                <a:cubicBezTo>
                  <a:pt x="298" y="106"/>
                  <a:pt x="298" y="106"/>
                  <a:pt x="298" y="106"/>
                </a:cubicBezTo>
                <a:cubicBezTo>
                  <a:pt x="297" y="106"/>
                  <a:pt x="297" y="106"/>
                  <a:pt x="297" y="106"/>
                </a:cubicBezTo>
                <a:cubicBezTo>
                  <a:pt x="295" y="104"/>
                  <a:pt x="295" y="104"/>
                  <a:pt x="295" y="104"/>
                </a:cubicBezTo>
                <a:cubicBezTo>
                  <a:pt x="295" y="103"/>
                  <a:pt x="295" y="103"/>
                  <a:pt x="295" y="103"/>
                </a:cubicBezTo>
                <a:cubicBezTo>
                  <a:pt x="295" y="103"/>
                  <a:pt x="295" y="103"/>
                  <a:pt x="295" y="103"/>
                </a:cubicBezTo>
                <a:cubicBezTo>
                  <a:pt x="297" y="100"/>
                  <a:pt x="297" y="100"/>
                  <a:pt x="297" y="100"/>
                </a:cubicBezTo>
                <a:cubicBezTo>
                  <a:pt x="296" y="101"/>
                  <a:pt x="296" y="101"/>
                  <a:pt x="296" y="101"/>
                </a:cubicBezTo>
                <a:cubicBezTo>
                  <a:pt x="295" y="102"/>
                  <a:pt x="295" y="102"/>
                  <a:pt x="295" y="102"/>
                </a:cubicBezTo>
                <a:cubicBezTo>
                  <a:pt x="294" y="103"/>
                  <a:pt x="294" y="103"/>
                  <a:pt x="294" y="103"/>
                </a:cubicBezTo>
                <a:cubicBezTo>
                  <a:pt x="294" y="105"/>
                  <a:pt x="294" y="105"/>
                  <a:pt x="294" y="105"/>
                </a:cubicBezTo>
                <a:cubicBezTo>
                  <a:pt x="295" y="105"/>
                  <a:pt x="295" y="105"/>
                  <a:pt x="295" y="105"/>
                </a:cubicBezTo>
                <a:cubicBezTo>
                  <a:pt x="295" y="107"/>
                  <a:pt x="295" y="107"/>
                  <a:pt x="295" y="107"/>
                </a:cubicBezTo>
                <a:cubicBezTo>
                  <a:pt x="295" y="108"/>
                  <a:pt x="295" y="108"/>
                  <a:pt x="295" y="108"/>
                </a:cubicBezTo>
                <a:cubicBezTo>
                  <a:pt x="296" y="110"/>
                  <a:pt x="296" y="110"/>
                  <a:pt x="296" y="110"/>
                </a:cubicBezTo>
                <a:cubicBezTo>
                  <a:pt x="296" y="111"/>
                  <a:pt x="296" y="111"/>
                  <a:pt x="296" y="111"/>
                </a:cubicBezTo>
                <a:cubicBezTo>
                  <a:pt x="295" y="114"/>
                  <a:pt x="295" y="114"/>
                  <a:pt x="295" y="114"/>
                </a:cubicBezTo>
                <a:cubicBezTo>
                  <a:pt x="294" y="114"/>
                  <a:pt x="294" y="114"/>
                  <a:pt x="294" y="114"/>
                </a:cubicBezTo>
                <a:cubicBezTo>
                  <a:pt x="293" y="117"/>
                  <a:pt x="293" y="117"/>
                  <a:pt x="293" y="117"/>
                </a:cubicBezTo>
                <a:cubicBezTo>
                  <a:pt x="292" y="118"/>
                  <a:pt x="292" y="118"/>
                  <a:pt x="292" y="118"/>
                </a:cubicBezTo>
                <a:cubicBezTo>
                  <a:pt x="292" y="119"/>
                  <a:pt x="292" y="119"/>
                  <a:pt x="292" y="119"/>
                </a:cubicBezTo>
                <a:cubicBezTo>
                  <a:pt x="292" y="119"/>
                  <a:pt x="292" y="119"/>
                  <a:pt x="292" y="119"/>
                </a:cubicBezTo>
                <a:cubicBezTo>
                  <a:pt x="292" y="119"/>
                  <a:pt x="292" y="119"/>
                  <a:pt x="292" y="119"/>
                </a:cubicBezTo>
                <a:cubicBezTo>
                  <a:pt x="291" y="118"/>
                  <a:pt x="291" y="118"/>
                  <a:pt x="291" y="118"/>
                </a:cubicBezTo>
                <a:cubicBezTo>
                  <a:pt x="290" y="121"/>
                  <a:pt x="290" y="121"/>
                  <a:pt x="290" y="121"/>
                </a:cubicBezTo>
                <a:cubicBezTo>
                  <a:pt x="290" y="121"/>
                  <a:pt x="290" y="121"/>
                  <a:pt x="290" y="121"/>
                </a:cubicBezTo>
                <a:cubicBezTo>
                  <a:pt x="290" y="122"/>
                  <a:pt x="290" y="122"/>
                  <a:pt x="290" y="122"/>
                </a:cubicBezTo>
                <a:cubicBezTo>
                  <a:pt x="290" y="121"/>
                  <a:pt x="290" y="121"/>
                  <a:pt x="290" y="121"/>
                </a:cubicBezTo>
                <a:cubicBezTo>
                  <a:pt x="290" y="119"/>
                  <a:pt x="290" y="119"/>
                  <a:pt x="290" y="119"/>
                </a:cubicBezTo>
                <a:cubicBezTo>
                  <a:pt x="291" y="118"/>
                  <a:pt x="291" y="118"/>
                  <a:pt x="291" y="118"/>
                </a:cubicBezTo>
                <a:cubicBezTo>
                  <a:pt x="290" y="117"/>
                  <a:pt x="290" y="117"/>
                  <a:pt x="290" y="117"/>
                </a:cubicBezTo>
                <a:cubicBezTo>
                  <a:pt x="291" y="116"/>
                  <a:pt x="291" y="116"/>
                  <a:pt x="291" y="116"/>
                </a:cubicBezTo>
                <a:cubicBezTo>
                  <a:pt x="291" y="116"/>
                  <a:pt x="291" y="116"/>
                  <a:pt x="291" y="116"/>
                </a:cubicBezTo>
                <a:cubicBezTo>
                  <a:pt x="292" y="115"/>
                  <a:pt x="292" y="115"/>
                  <a:pt x="292" y="115"/>
                </a:cubicBezTo>
                <a:cubicBezTo>
                  <a:pt x="291" y="115"/>
                  <a:pt x="291" y="115"/>
                  <a:pt x="291" y="115"/>
                </a:cubicBezTo>
                <a:cubicBezTo>
                  <a:pt x="290" y="114"/>
                  <a:pt x="290" y="114"/>
                  <a:pt x="290" y="114"/>
                </a:cubicBezTo>
                <a:cubicBezTo>
                  <a:pt x="291" y="114"/>
                  <a:pt x="291" y="114"/>
                  <a:pt x="291" y="114"/>
                </a:cubicBezTo>
                <a:cubicBezTo>
                  <a:pt x="291" y="114"/>
                  <a:pt x="291" y="114"/>
                  <a:pt x="291" y="114"/>
                </a:cubicBezTo>
                <a:cubicBezTo>
                  <a:pt x="290" y="114"/>
                  <a:pt x="290" y="114"/>
                  <a:pt x="290" y="114"/>
                </a:cubicBezTo>
                <a:cubicBezTo>
                  <a:pt x="290" y="113"/>
                  <a:pt x="290" y="113"/>
                  <a:pt x="290" y="113"/>
                </a:cubicBezTo>
                <a:cubicBezTo>
                  <a:pt x="289" y="114"/>
                  <a:pt x="289" y="114"/>
                  <a:pt x="289" y="114"/>
                </a:cubicBezTo>
                <a:cubicBezTo>
                  <a:pt x="288" y="112"/>
                  <a:pt x="288" y="112"/>
                  <a:pt x="288" y="112"/>
                </a:cubicBezTo>
                <a:cubicBezTo>
                  <a:pt x="288" y="111"/>
                  <a:pt x="288" y="111"/>
                  <a:pt x="288" y="111"/>
                </a:cubicBezTo>
                <a:cubicBezTo>
                  <a:pt x="289" y="110"/>
                  <a:pt x="289" y="110"/>
                  <a:pt x="289" y="110"/>
                </a:cubicBezTo>
                <a:cubicBezTo>
                  <a:pt x="290" y="108"/>
                  <a:pt x="290" y="108"/>
                  <a:pt x="290" y="108"/>
                </a:cubicBezTo>
                <a:cubicBezTo>
                  <a:pt x="289" y="106"/>
                  <a:pt x="289" y="106"/>
                  <a:pt x="289" y="106"/>
                </a:cubicBezTo>
                <a:cubicBezTo>
                  <a:pt x="289" y="105"/>
                  <a:pt x="289" y="105"/>
                  <a:pt x="289" y="105"/>
                </a:cubicBezTo>
                <a:cubicBezTo>
                  <a:pt x="290" y="104"/>
                  <a:pt x="290" y="104"/>
                  <a:pt x="290" y="104"/>
                </a:cubicBezTo>
                <a:cubicBezTo>
                  <a:pt x="290" y="104"/>
                  <a:pt x="290" y="104"/>
                  <a:pt x="290" y="104"/>
                </a:cubicBezTo>
                <a:cubicBezTo>
                  <a:pt x="290" y="103"/>
                  <a:pt x="290" y="103"/>
                  <a:pt x="290" y="103"/>
                </a:cubicBezTo>
                <a:cubicBezTo>
                  <a:pt x="290" y="102"/>
                  <a:pt x="290" y="102"/>
                  <a:pt x="290" y="102"/>
                </a:cubicBezTo>
                <a:cubicBezTo>
                  <a:pt x="290" y="103"/>
                  <a:pt x="290" y="103"/>
                  <a:pt x="290" y="103"/>
                </a:cubicBezTo>
                <a:cubicBezTo>
                  <a:pt x="290" y="104"/>
                  <a:pt x="290" y="104"/>
                  <a:pt x="290" y="104"/>
                </a:cubicBezTo>
                <a:cubicBezTo>
                  <a:pt x="288" y="105"/>
                  <a:pt x="288" y="105"/>
                  <a:pt x="288" y="105"/>
                </a:cubicBezTo>
                <a:cubicBezTo>
                  <a:pt x="288" y="105"/>
                  <a:pt x="288" y="105"/>
                  <a:pt x="288" y="105"/>
                </a:cubicBezTo>
                <a:cubicBezTo>
                  <a:pt x="287" y="105"/>
                  <a:pt x="287" y="105"/>
                  <a:pt x="287" y="105"/>
                </a:cubicBezTo>
                <a:cubicBezTo>
                  <a:pt x="288" y="106"/>
                  <a:pt x="288" y="106"/>
                  <a:pt x="288" y="106"/>
                </a:cubicBezTo>
                <a:cubicBezTo>
                  <a:pt x="287" y="107"/>
                  <a:pt x="287" y="107"/>
                  <a:pt x="287" y="107"/>
                </a:cubicBezTo>
                <a:cubicBezTo>
                  <a:pt x="287" y="109"/>
                  <a:pt x="287" y="109"/>
                  <a:pt x="287" y="109"/>
                </a:cubicBezTo>
                <a:cubicBezTo>
                  <a:pt x="287" y="110"/>
                  <a:pt x="287" y="110"/>
                  <a:pt x="287" y="110"/>
                </a:cubicBezTo>
                <a:cubicBezTo>
                  <a:pt x="287" y="110"/>
                  <a:pt x="287" y="110"/>
                  <a:pt x="287" y="110"/>
                </a:cubicBezTo>
                <a:cubicBezTo>
                  <a:pt x="287" y="112"/>
                  <a:pt x="287" y="112"/>
                  <a:pt x="287" y="112"/>
                </a:cubicBezTo>
                <a:cubicBezTo>
                  <a:pt x="287" y="114"/>
                  <a:pt x="287" y="114"/>
                  <a:pt x="287" y="114"/>
                </a:cubicBezTo>
                <a:cubicBezTo>
                  <a:pt x="287" y="114"/>
                  <a:pt x="287" y="114"/>
                  <a:pt x="287" y="114"/>
                </a:cubicBezTo>
                <a:cubicBezTo>
                  <a:pt x="285" y="112"/>
                  <a:pt x="285" y="112"/>
                  <a:pt x="285" y="112"/>
                </a:cubicBezTo>
                <a:cubicBezTo>
                  <a:pt x="284" y="112"/>
                  <a:pt x="284" y="112"/>
                  <a:pt x="284" y="112"/>
                </a:cubicBezTo>
                <a:cubicBezTo>
                  <a:pt x="283" y="111"/>
                  <a:pt x="283" y="111"/>
                  <a:pt x="283" y="111"/>
                </a:cubicBezTo>
                <a:cubicBezTo>
                  <a:pt x="283" y="111"/>
                  <a:pt x="283" y="111"/>
                  <a:pt x="283" y="111"/>
                </a:cubicBezTo>
                <a:cubicBezTo>
                  <a:pt x="283" y="110"/>
                  <a:pt x="283" y="110"/>
                  <a:pt x="283" y="110"/>
                </a:cubicBezTo>
                <a:cubicBezTo>
                  <a:pt x="283" y="109"/>
                  <a:pt x="283" y="109"/>
                  <a:pt x="283" y="109"/>
                </a:cubicBezTo>
                <a:cubicBezTo>
                  <a:pt x="282" y="110"/>
                  <a:pt x="282" y="110"/>
                  <a:pt x="282" y="110"/>
                </a:cubicBezTo>
                <a:cubicBezTo>
                  <a:pt x="282" y="111"/>
                  <a:pt x="282" y="111"/>
                  <a:pt x="282" y="111"/>
                </a:cubicBezTo>
                <a:cubicBezTo>
                  <a:pt x="283" y="112"/>
                  <a:pt x="283" y="112"/>
                  <a:pt x="283" y="112"/>
                </a:cubicBezTo>
                <a:cubicBezTo>
                  <a:pt x="284" y="113"/>
                  <a:pt x="284" y="113"/>
                  <a:pt x="284" y="113"/>
                </a:cubicBezTo>
                <a:cubicBezTo>
                  <a:pt x="285" y="113"/>
                  <a:pt x="285" y="113"/>
                  <a:pt x="285" y="113"/>
                </a:cubicBezTo>
                <a:cubicBezTo>
                  <a:pt x="287" y="115"/>
                  <a:pt x="287" y="115"/>
                  <a:pt x="287" y="115"/>
                </a:cubicBezTo>
                <a:cubicBezTo>
                  <a:pt x="288" y="116"/>
                  <a:pt x="288" y="116"/>
                  <a:pt x="288" y="116"/>
                </a:cubicBezTo>
                <a:cubicBezTo>
                  <a:pt x="288" y="117"/>
                  <a:pt x="288" y="117"/>
                  <a:pt x="288" y="117"/>
                </a:cubicBezTo>
                <a:cubicBezTo>
                  <a:pt x="287" y="118"/>
                  <a:pt x="287" y="118"/>
                  <a:pt x="287" y="118"/>
                </a:cubicBezTo>
                <a:cubicBezTo>
                  <a:pt x="286" y="118"/>
                  <a:pt x="286" y="118"/>
                  <a:pt x="286" y="118"/>
                </a:cubicBezTo>
                <a:cubicBezTo>
                  <a:pt x="286" y="117"/>
                  <a:pt x="286" y="117"/>
                  <a:pt x="286" y="117"/>
                </a:cubicBezTo>
                <a:cubicBezTo>
                  <a:pt x="285" y="116"/>
                  <a:pt x="285" y="116"/>
                  <a:pt x="285" y="116"/>
                </a:cubicBezTo>
                <a:cubicBezTo>
                  <a:pt x="286" y="118"/>
                  <a:pt x="286" y="118"/>
                  <a:pt x="286" y="118"/>
                </a:cubicBezTo>
                <a:cubicBezTo>
                  <a:pt x="287" y="119"/>
                  <a:pt x="287" y="119"/>
                  <a:pt x="287" y="119"/>
                </a:cubicBezTo>
                <a:cubicBezTo>
                  <a:pt x="288" y="120"/>
                  <a:pt x="288" y="120"/>
                  <a:pt x="288" y="120"/>
                </a:cubicBezTo>
                <a:cubicBezTo>
                  <a:pt x="287" y="120"/>
                  <a:pt x="287" y="120"/>
                  <a:pt x="287" y="120"/>
                </a:cubicBezTo>
                <a:cubicBezTo>
                  <a:pt x="287" y="121"/>
                  <a:pt x="287" y="121"/>
                  <a:pt x="287" y="121"/>
                </a:cubicBezTo>
                <a:cubicBezTo>
                  <a:pt x="286" y="120"/>
                  <a:pt x="286" y="120"/>
                  <a:pt x="286" y="120"/>
                </a:cubicBezTo>
                <a:cubicBezTo>
                  <a:pt x="288" y="122"/>
                  <a:pt x="288" y="122"/>
                  <a:pt x="288" y="122"/>
                </a:cubicBezTo>
                <a:cubicBezTo>
                  <a:pt x="287" y="123"/>
                  <a:pt x="287" y="123"/>
                  <a:pt x="287" y="123"/>
                </a:cubicBezTo>
                <a:cubicBezTo>
                  <a:pt x="286" y="122"/>
                  <a:pt x="286" y="122"/>
                  <a:pt x="286" y="122"/>
                </a:cubicBezTo>
                <a:cubicBezTo>
                  <a:pt x="286" y="121"/>
                  <a:pt x="286" y="121"/>
                  <a:pt x="286" y="121"/>
                </a:cubicBezTo>
                <a:cubicBezTo>
                  <a:pt x="284" y="121"/>
                  <a:pt x="284" y="121"/>
                  <a:pt x="284" y="121"/>
                </a:cubicBezTo>
                <a:cubicBezTo>
                  <a:pt x="283" y="121"/>
                  <a:pt x="283" y="121"/>
                  <a:pt x="283" y="121"/>
                </a:cubicBezTo>
                <a:cubicBezTo>
                  <a:pt x="284" y="122"/>
                  <a:pt x="284" y="122"/>
                  <a:pt x="284" y="122"/>
                </a:cubicBezTo>
                <a:cubicBezTo>
                  <a:pt x="285" y="122"/>
                  <a:pt x="285" y="122"/>
                  <a:pt x="285" y="122"/>
                </a:cubicBezTo>
                <a:cubicBezTo>
                  <a:pt x="286" y="122"/>
                  <a:pt x="286" y="122"/>
                  <a:pt x="286" y="122"/>
                </a:cubicBezTo>
                <a:cubicBezTo>
                  <a:pt x="286" y="124"/>
                  <a:pt x="286" y="124"/>
                  <a:pt x="286" y="124"/>
                </a:cubicBezTo>
                <a:cubicBezTo>
                  <a:pt x="287" y="124"/>
                  <a:pt x="287" y="124"/>
                  <a:pt x="287" y="124"/>
                </a:cubicBezTo>
                <a:cubicBezTo>
                  <a:pt x="288" y="124"/>
                  <a:pt x="288" y="124"/>
                  <a:pt x="288" y="124"/>
                </a:cubicBezTo>
                <a:cubicBezTo>
                  <a:pt x="289" y="124"/>
                  <a:pt x="289" y="124"/>
                  <a:pt x="289" y="124"/>
                </a:cubicBezTo>
                <a:cubicBezTo>
                  <a:pt x="289" y="125"/>
                  <a:pt x="289" y="125"/>
                  <a:pt x="289" y="125"/>
                </a:cubicBezTo>
                <a:cubicBezTo>
                  <a:pt x="289" y="126"/>
                  <a:pt x="289" y="126"/>
                  <a:pt x="289" y="126"/>
                </a:cubicBezTo>
                <a:cubicBezTo>
                  <a:pt x="288" y="126"/>
                  <a:pt x="288" y="126"/>
                  <a:pt x="288" y="126"/>
                </a:cubicBezTo>
                <a:cubicBezTo>
                  <a:pt x="288" y="127"/>
                  <a:pt x="288" y="127"/>
                  <a:pt x="288" y="127"/>
                </a:cubicBezTo>
                <a:cubicBezTo>
                  <a:pt x="288" y="127"/>
                  <a:pt x="288" y="127"/>
                  <a:pt x="288" y="127"/>
                </a:cubicBezTo>
                <a:cubicBezTo>
                  <a:pt x="289" y="129"/>
                  <a:pt x="289" y="129"/>
                  <a:pt x="289" y="129"/>
                </a:cubicBezTo>
                <a:cubicBezTo>
                  <a:pt x="288" y="129"/>
                  <a:pt x="288" y="129"/>
                  <a:pt x="288" y="129"/>
                </a:cubicBezTo>
                <a:cubicBezTo>
                  <a:pt x="287" y="129"/>
                  <a:pt x="287" y="129"/>
                  <a:pt x="287" y="129"/>
                </a:cubicBezTo>
                <a:cubicBezTo>
                  <a:pt x="287" y="130"/>
                  <a:pt x="287" y="130"/>
                  <a:pt x="287" y="130"/>
                </a:cubicBezTo>
                <a:cubicBezTo>
                  <a:pt x="285" y="130"/>
                  <a:pt x="285" y="130"/>
                  <a:pt x="285" y="130"/>
                </a:cubicBezTo>
                <a:cubicBezTo>
                  <a:pt x="285" y="131"/>
                  <a:pt x="285" y="131"/>
                  <a:pt x="285" y="131"/>
                </a:cubicBezTo>
                <a:cubicBezTo>
                  <a:pt x="284" y="130"/>
                  <a:pt x="284" y="130"/>
                  <a:pt x="284" y="130"/>
                </a:cubicBezTo>
                <a:cubicBezTo>
                  <a:pt x="283" y="129"/>
                  <a:pt x="283" y="129"/>
                  <a:pt x="283" y="129"/>
                </a:cubicBezTo>
                <a:cubicBezTo>
                  <a:pt x="283" y="129"/>
                  <a:pt x="283" y="129"/>
                  <a:pt x="283" y="129"/>
                </a:cubicBezTo>
                <a:cubicBezTo>
                  <a:pt x="283" y="131"/>
                  <a:pt x="283" y="131"/>
                  <a:pt x="283" y="131"/>
                </a:cubicBezTo>
                <a:cubicBezTo>
                  <a:pt x="283" y="132"/>
                  <a:pt x="283" y="132"/>
                  <a:pt x="283" y="132"/>
                </a:cubicBezTo>
                <a:cubicBezTo>
                  <a:pt x="284" y="132"/>
                  <a:pt x="284" y="132"/>
                  <a:pt x="284" y="132"/>
                </a:cubicBezTo>
                <a:cubicBezTo>
                  <a:pt x="286" y="131"/>
                  <a:pt x="286" y="131"/>
                  <a:pt x="286" y="131"/>
                </a:cubicBezTo>
                <a:cubicBezTo>
                  <a:pt x="287" y="131"/>
                  <a:pt x="287" y="131"/>
                  <a:pt x="287" y="131"/>
                </a:cubicBezTo>
                <a:cubicBezTo>
                  <a:pt x="287" y="133"/>
                  <a:pt x="287" y="133"/>
                  <a:pt x="287" y="133"/>
                </a:cubicBezTo>
                <a:cubicBezTo>
                  <a:pt x="288" y="134"/>
                  <a:pt x="288" y="134"/>
                  <a:pt x="288" y="134"/>
                </a:cubicBezTo>
                <a:cubicBezTo>
                  <a:pt x="288" y="133"/>
                  <a:pt x="288" y="133"/>
                  <a:pt x="288" y="133"/>
                </a:cubicBezTo>
                <a:cubicBezTo>
                  <a:pt x="288" y="132"/>
                  <a:pt x="288" y="132"/>
                  <a:pt x="288" y="132"/>
                </a:cubicBezTo>
                <a:cubicBezTo>
                  <a:pt x="289" y="131"/>
                  <a:pt x="289" y="131"/>
                  <a:pt x="289" y="131"/>
                </a:cubicBezTo>
                <a:cubicBezTo>
                  <a:pt x="289" y="132"/>
                  <a:pt x="289" y="132"/>
                  <a:pt x="289" y="132"/>
                </a:cubicBezTo>
                <a:cubicBezTo>
                  <a:pt x="289" y="134"/>
                  <a:pt x="289" y="134"/>
                  <a:pt x="289" y="134"/>
                </a:cubicBezTo>
                <a:cubicBezTo>
                  <a:pt x="289" y="134"/>
                  <a:pt x="289" y="134"/>
                  <a:pt x="289" y="134"/>
                </a:cubicBezTo>
                <a:cubicBezTo>
                  <a:pt x="287" y="135"/>
                  <a:pt x="287" y="135"/>
                  <a:pt x="287" y="135"/>
                </a:cubicBezTo>
                <a:cubicBezTo>
                  <a:pt x="287" y="136"/>
                  <a:pt x="287" y="136"/>
                  <a:pt x="287" y="136"/>
                </a:cubicBezTo>
                <a:cubicBezTo>
                  <a:pt x="286" y="136"/>
                  <a:pt x="286" y="136"/>
                  <a:pt x="286" y="136"/>
                </a:cubicBezTo>
                <a:cubicBezTo>
                  <a:pt x="285" y="136"/>
                  <a:pt x="285" y="136"/>
                  <a:pt x="285" y="136"/>
                </a:cubicBezTo>
                <a:cubicBezTo>
                  <a:pt x="285" y="136"/>
                  <a:pt x="285" y="136"/>
                  <a:pt x="285" y="136"/>
                </a:cubicBezTo>
                <a:cubicBezTo>
                  <a:pt x="284" y="135"/>
                  <a:pt x="284" y="135"/>
                  <a:pt x="284" y="135"/>
                </a:cubicBezTo>
                <a:cubicBezTo>
                  <a:pt x="284" y="135"/>
                  <a:pt x="284" y="135"/>
                  <a:pt x="284" y="135"/>
                </a:cubicBezTo>
                <a:cubicBezTo>
                  <a:pt x="283" y="136"/>
                  <a:pt x="283" y="136"/>
                  <a:pt x="283" y="136"/>
                </a:cubicBezTo>
                <a:cubicBezTo>
                  <a:pt x="282" y="135"/>
                  <a:pt x="282" y="135"/>
                  <a:pt x="282" y="135"/>
                </a:cubicBezTo>
                <a:cubicBezTo>
                  <a:pt x="281" y="135"/>
                  <a:pt x="281" y="135"/>
                  <a:pt x="281" y="135"/>
                </a:cubicBezTo>
                <a:cubicBezTo>
                  <a:pt x="282" y="136"/>
                  <a:pt x="282" y="136"/>
                  <a:pt x="282" y="136"/>
                </a:cubicBezTo>
                <a:cubicBezTo>
                  <a:pt x="284" y="136"/>
                  <a:pt x="284" y="136"/>
                  <a:pt x="284" y="136"/>
                </a:cubicBezTo>
                <a:cubicBezTo>
                  <a:pt x="284" y="137"/>
                  <a:pt x="284" y="137"/>
                  <a:pt x="284" y="137"/>
                </a:cubicBezTo>
                <a:cubicBezTo>
                  <a:pt x="283" y="138"/>
                  <a:pt x="283" y="138"/>
                  <a:pt x="283" y="138"/>
                </a:cubicBezTo>
                <a:cubicBezTo>
                  <a:pt x="284" y="138"/>
                  <a:pt x="284" y="138"/>
                  <a:pt x="284" y="138"/>
                </a:cubicBezTo>
                <a:cubicBezTo>
                  <a:pt x="282" y="139"/>
                  <a:pt x="282" y="139"/>
                  <a:pt x="282" y="139"/>
                </a:cubicBezTo>
                <a:cubicBezTo>
                  <a:pt x="281" y="138"/>
                  <a:pt x="281" y="138"/>
                  <a:pt x="281" y="138"/>
                </a:cubicBezTo>
                <a:cubicBezTo>
                  <a:pt x="282" y="139"/>
                  <a:pt x="282" y="139"/>
                  <a:pt x="282" y="139"/>
                </a:cubicBezTo>
                <a:cubicBezTo>
                  <a:pt x="283" y="139"/>
                  <a:pt x="283" y="139"/>
                  <a:pt x="283" y="139"/>
                </a:cubicBezTo>
                <a:cubicBezTo>
                  <a:pt x="284" y="138"/>
                  <a:pt x="284" y="138"/>
                  <a:pt x="284" y="138"/>
                </a:cubicBezTo>
                <a:cubicBezTo>
                  <a:pt x="285" y="139"/>
                  <a:pt x="285" y="139"/>
                  <a:pt x="285" y="139"/>
                </a:cubicBezTo>
                <a:cubicBezTo>
                  <a:pt x="285" y="139"/>
                  <a:pt x="285" y="139"/>
                  <a:pt x="285" y="139"/>
                </a:cubicBezTo>
                <a:cubicBezTo>
                  <a:pt x="284" y="140"/>
                  <a:pt x="284" y="140"/>
                  <a:pt x="284" y="140"/>
                </a:cubicBezTo>
                <a:cubicBezTo>
                  <a:pt x="283" y="140"/>
                  <a:pt x="283" y="140"/>
                  <a:pt x="283" y="140"/>
                </a:cubicBezTo>
                <a:cubicBezTo>
                  <a:pt x="283" y="140"/>
                  <a:pt x="283" y="140"/>
                  <a:pt x="283" y="140"/>
                </a:cubicBezTo>
                <a:cubicBezTo>
                  <a:pt x="282" y="140"/>
                  <a:pt x="282" y="140"/>
                  <a:pt x="282" y="140"/>
                </a:cubicBezTo>
                <a:cubicBezTo>
                  <a:pt x="282" y="140"/>
                  <a:pt x="282" y="140"/>
                  <a:pt x="282" y="140"/>
                </a:cubicBezTo>
                <a:cubicBezTo>
                  <a:pt x="280" y="141"/>
                  <a:pt x="280" y="141"/>
                  <a:pt x="280" y="141"/>
                </a:cubicBezTo>
                <a:cubicBezTo>
                  <a:pt x="277" y="142"/>
                  <a:pt x="277" y="142"/>
                  <a:pt x="277" y="142"/>
                </a:cubicBezTo>
                <a:cubicBezTo>
                  <a:pt x="274" y="145"/>
                  <a:pt x="274" y="145"/>
                  <a:pt x="274" y="145"/>
                </a:cubicBezTo>
                <a:cubicBezTo>
                  <a:pt x="273" y="147"/>
                  <a:pt x="273" y="147"/>
                  <a:pt x="273" y="147"/>
                </a:cubicBezTo>
                <a:cubicBezTo>
                  <a:pt x="272" y="147"/>
                  <a:pt x="272" y="147"/>
                  <a:pt x="272" y="147"/>
                </a:cubicBezTo>
                <a:cubicBezTo>
                  <a:pt x="272" y="146"/>
                  <a:pt x="272" y="146"/>
                  <a:pt x="272" y="146"/>
                </a:cubicBezTo>
                <a:cubicBezTo>
                  <a:pt x="270" y="147"/>
                  <a:pt x="270" y="147"/>
                  <a:pt x="270" y="147"/>
                </a:cubicBezTo>
                <a:cubicBezTo>
                  <a:pt x="269" y="148"/>
                  <a:pt x="269" y="148"/>
                  <a:pt x="269" y="148"/>
                </a:cubicBezTo>
                <a:cubicBezTo>
                  <a:pt x="266" y="151"/>
                  <a:pt x="266" y="151"/>
                  <a:pt x="266" y="151"/>
                </a:cubicBezTo>
                <a:cubicBezTo>
                  <a:pt x="266" y="152"/>
                  <a:pt x="266" y="152"/>
                  <a:pt x="266" y="152"/>
                </a:cubicBezTo>
                <a:cubicBezTo>
                  <a:pt x="265" y="152"/>
                  <a:pt x="265" y="152"/>
                  <a:pt x="265" y="152"/>
                </a:cubicBezTo>
                <a:cubicBezTo>
                  <a:pt x="265" y="152"/>
                  <a:pt x="265" y="152"/>
                  <a:pt x="265" y="152"/>
                </a:cubicBezTo>
                <a:cubicBezTo>
                  <a:pt x="265" y="153"/>
                  <a:pt x="265" y="153"/>
                  <a:pt x="265" y="153"/>
                </a:cubicBezTo>
                <a:cubicBezTo>
                  <a:pt x="264" y="154"/>
                  <a:pt x="264" y="154"/>
                  <a:pt x="264" y="154"/>
                </a:cubicBezTo>
                <a:cubicBezTo>
                  <a:pt x="263" y="154"/>
                  <a:pt x="263" y="154"/>
                  <a:pt x="263" y="154"/>
                </a:cubicBezTo>
                <a:cubicBezTo>
                  <a:pt x="262" y="154"/>
                  <a:pt x="262" y="154"/>
                  <a:pt x="262" y="154"/>
                </a:cubicBezTo>
                <a:cubicBezTo>
                  <a:pt x="262" y="155"/>
                  <a:pt x="262" y="155"/>
                  <a:pt x="262" y="155"/>
                </a:cubicBezTo>
                <a:cubicBezTo>
                  <a:pt x="260" y="155"/>
                  <a:pt x="260" y="155"/>
                  <a:pt x="260" y="155"/>
                </a:cubicBezTo>
                <a:cubicBezTo>
                  <a:pt x="260" y="156"/>
                  <a:pt x="260" y="156"/>
                  <a:pt x="260" y="156"/>
                </a:cubicBezTo>
                <a:cubicBezTo>
                  <a:pt x="258" y="156"/>
                  <a:pt x="258" y="156"/>
                  <a:pt x="258" y="156"/>
                </a:cubicBezTo>
                <a:cubicBezTo>
                  <a:pt x="258" y="157"/>
                  <a:pt x="258" y="157"/>
                  <a:pt x="258" y="157"/>
                </a:cubicBezTo>
                <a:cubicBezTo>
                  <a:pt x="256" y="157"/>
                  <a:pt x="256" y="157"/>
                  <a:pt x="256" y="157"/>
                </a:cubicBezTo>
                <a:cubicBezTo>
                  <a:pt x="256" y="157"/>
                  <a:pt x="256" y="157"/>
                  <a:pt x="256" y="157"/>
                </a:cubicBezTo>
                <a:cubicBezTo>
                  <a:pt x="255" y="157"/>
                  <a:pt x="255" y="157"/>
                  <a:pt x="255" y="157"/>
                </a:cubicBezTo>
                <a:cubicBezTo>
                  <a:pt x="254" y="158"/>
                  <a:pt x="254" y="158"/>
                  <a:pt x="254" y="158"/>
                </a:cubicBezTo>
                <a:cubicBezTo>
                  <a:pt x="255" y="158"/>
                  <a:pt x="255" y="158"/>
                  <a:pt x="255" y="158"/>
                </a:cubicBezTo>
                <a:cubicBezTo>
                  <a:pt x="255" y="159"/>
                  <a:pt x="255" y="159"/>
                  <a:pt x="255" y="159"/>
                </a:cubicBezTo>
                <a:cubicBezTo>
                  <a:pt x="254" y="160"/>
                  <a:pt x="254" y="160"/>
                  <a:pt x="254" y="160"/>
                </a:cubicBezTo>
                <a:cubicBezTo>
                  <a:pt x="253" y="160"/>
                  <a:pt x="253" y="160"/>
                  <a:pt x="253" y="160"/>
                </a:cubicBezTo>
                <a:cubicBezTo>
                  <a:pt x="253" y="161"/>
                  <a:pt x="253" y="161"/>
                  <a:pt x="253" y="161"/>
                </a:cubicBezTo>
                <a:cubicBezTo>
                  <a:pt x="252" y="161"/>
                  <a:pt x="252" y="161"/>
                  <a:pt x="252" y="161"/>
                </a:cubicBezTo>
                <a:cubicBezTo>
                  <a:pt x="251" y="163"/>
                  <a:pt x="251" y="163"/>
                  <a:pt x="251" y="163"/>
                </a:cubicBezTo>
                <a:cubicBezTo>
                  <a:pt x="250" y="165"/>
                  <a:pt x="250" y="165"/>
                  <a:pt x="250" y="165"/>
                </a:cubicBezTo>
                <a:cubicBezTo>
                  <a:pt x="250" y="167"/>
                  <a:pt x="250" y="167"/>
                  <a:pt x="250" y="167"/>
                </a:cubicBezTo>
                <a:cubicBezTo>
                  <a:pt x="249" y="171"/>
                  <a:pt x="249" y="171"/>
                  <a:pt x="249" y="171"/>
                </a:cubicBezTo>
                <a:cubicBezTo>
                  <a:pt x="249" y="173"/>
                  <a:pt x="249" y="173"/>
                  <a:pt x="249" y="173"/>
                </a:cubicBezTo>
                <a:cubicBezTo>
                  <a:pt x="249" y="175"/>
                  <a:pt x="249" y="175"/>
                  <a:pt x="249" y="175"/>
                </a:cubicBezTo>
                <a:cubicBezTo>
                  <a:pt x="250" y="177"/>
                  <a:pt x="250" y="177"/>
                  <a:pt x="250" y="177"/>
                </a:cubicBezTo>
                <a:cubicBezTo>
                  <a:pt x="250" y="180"/>
                  <a:pt x="250" y="180"/>
                  <a:pt x="250" y="180"/>
                </a:cubicBezTo>
                <a:cubicBezTo>
                  <a:pt x="251" y="181"/>
                  <a:pt x="251" y="181"/>
                  <a:pt x="251" y="181"/>
                </a:cubicBezTo>
                <a:cubicBezTo>
                  <a:pt x="251" y="184"/>
                  <a:pt x="251" y="184"/>
                  <a:pt x="251" y="184"/>
                </a:cubicBezTo>
                <a:cubicBezTo>
                  <a:pt x="252" y="185"/>
                  <a:pt x="252" y="185"/>
                  <a:pt x="252" y="185"/>
                </a:cubicBezTo>
                <a:cubicBezTo>
                  <a:pt x="253" y="186"/>
                  <a:pt x="253" y="186"/>
                  <a:pt x="253" y="186"/>
                </a:cubicBezTo>
                <a:cubicBezTo>
                  <a:pt x="252" y="188"/>
                  <a:pt x="252" y="188"/>
                  <a:pt x="252" y="188"/>
                </a:cubicBezTo>
                <a:cubicBezTo>
                  <a:pt x="252" y="190"/>
                  <a:pt x="252" y="190"/>
                  <a:pt x="252" y="190"/>
                </a:cubicBezTo>
                <a:cubicBezTo>
                  <a:pt x="252" y="190"/>
                  <a:pt x="252" y="190"/>
                  <a:pt x="252" y="190"/>
                </a:cubicBezTo>
                <a:cubicBezTo>
                  <a:pt x="253" y="194"/>
                  <a:pt x="253" y="194"/>
                  <a:pt x="253" y="194"/>
                </a:cubicBezTo>
                <a:cubicBezTo>
                  <a:pt x="254" y="195"/>
                  <a:pt x="254" y="195"/>
                  <a:pt x="254" y="195"/>
                </a:cubicBezTo>
                <a:cubicBezTo>
                  <a:pt x="255" y="197"/>
                  <a:pt x="255" y="197"/>
                  <a:pt x="255" y="197"/>
                </a:cubicBezTo>
                <a:cubicBezTo>
                  <a:pt x="254" y="198"/>
                  <a:pt x="254" y="198"/>
                  <a:pt x="254" y="198"/>
                </a:cubicBezTo>
                <a:cubicBezTo>
                  <a:pt x="254" y="198"/>
                  <a:pt x="254" y="198"/>
                  <a:pt x="254" y="198"/>
                </a:cubicBezTo>
                <a:cubicBezTo>
                  <a:pt x="254" y="200"/>
                  <a:pt x="254" y="200"/>
                  <a:pt x="254" y="200"/>
                </a:cubicBezTo>
                <a:cubicBezTo>
                  <a:pt x="254" y="201"/>
                  <a:pt x="254" y="201"/>
                  <a:pt x="254" y="201"/>
                </a:cubicBezTo>
                <a:cubicBezTo>
                  <a:pt x="254" y="202"/>
                  <a:pt x="254" y="202"/>
                  <a:pt x="254" y="202"/>
                </a:cubicBezTo>
                <a:cubicBezTo>
                  <a:pt x="253" y="204"/>
                  <a:pt x="253" y="204"/>
                  <a:pt x="253" y="204"/>
                </a:cubicBezTo>
                <a:cubicBezTo>
                  <a:pt x="252" y="206"/>
                  <a:pt x="252" y="206"/>
                  <a:pt x="252" y="206"/>
                </a:cubicBezTo>
                <a:cubicBezTo>
                  <a:pt x="251" y="207"/>
                  <a:pt x="251" y="207"/>
                  <a:pt x="251" y="207"/>
                </a:cubicBezTo>
                <a:cubicBezTo>
                  <a:pt x="251" y="208"/>
                  <a:pt x="251" y="208"/>
                  <a:pt x="251" y="208"/>
                </a:cubicBezTo>
                <a:cubicBezTo>
                  <a:pt x="250" y="209"/>
                  <a:pt x="250" y="209"/>
                  <a:pt x="250" y="209"/>
                </a:cubicBezTo>
                <a:cubicBezTo>
                  <a:pt x="249" y="209"/>
                  <a:pt x="249" y="209"/>
                  <a:pt x="249" y="209"/>
                </a:cubicBezTo>
                <a:cubicBezTo>
                  <a:pt x="248" y="209"/>
                  <a:pt x="248" y="209"/>
                  <a:pt x="248" y="209"/>
                </a:cubicBezTo>
                <a:cubicBezTo>
                  <a:pt x="247" y="208"/>
                  <a:pt x="247" y="208"/>
                  <a:pt x="247" y="208"/>
                </a:cubicBezTo>
                <a:cubicBezTo>
                  <a:pt x="246" y="208"/>
                  <a:pt x="246" y="208"/>
                  <a:pt x="246" y="208"/>
                </a:cubicBezTo>
                <a:cubicBezTo>
                  <a:pt x="247" y="207"/>
                  <a:pt x="247" y="207"/>
                  <a:pt x="247" y="207"/>
                </a:cubicBezTo>
                <a:cubicBezTo>
                  <a:pt x="245" y="206"/>
                  <a:pt x="245" y="206"/>
                  <a:pt x="245" y="206"/>
                </a:cubicBezTo>
                <a:cubicBezTo>
                  <a:pt x="245" y="205"/>
                  <a:pt x="245" y="205"/>
                  <a:pt x="245" y="205"/>
                </a:cubicBezTo>
                <a:cubicBezTo>
                  <a:pt x="245" y="204"/>
                  <a:pt x="245" y="204"/>
                  <a:pt x="245" y="204"/>
                </a:cubicBezTo>
                <a:cubicBezTo>
                  <a:pt x="244" y="204"/>
                  <a:pt x="244" y="204"/>
                  <a:pt x="244" y="204"/>
                </a:cubicBezTo>
                <a:cubicBezTo>
                  <a:pt x="243" y="204"/>
                  <a:pt x="243" y="204"/>
                  <a:pt x="243" y="204"/>
                </a:cubicBezTo>
                <a:cubicBezTo>
                  <a:pt x="243" y="202"/>
                  <a:pt x="243" y="202"/>
                  <a:pt x="243" y="202"/>
                </a:cubicBezTo>
                <a:cubicBezTo>
                  <a:pt x="243" y="201"/>
                  <a:pt x="243" y="201"/>
                  <a:pt x="243" y="201"/>
                </a:cubicBezTo>
                <a:cubicBezTo>
                  <a:pt x="242" y="200"/>
                  <a:pt x="242" y="200"/>
                  <a:pt x="242" y="200"/>
                </a:cubicBezTo>
                <a:cubicBezTo>
                  <a:pt x="241" y="199"/>
                  <a:pt x="241" y="199"/>
                  <a:pt x="241" y="199"/>
                </a:cubicBezTo>
                <a:cubicBezTo>
                  <a:pt x="242" y="198"/>
                  <a:pt x="242" y="198"/>
                  <a:pt x="242" y="198"/>
                </a:cubicBezTo>
                <a:cubicBezTo>
                  <a:pt x="242" y="197"/>
                  <a:pt x="242" y="197"/>
                  <a:pt x="242" y="197"/>
                </a:cubicBezTo>
                <a:cubicBezTo>
                  <a:pt x="243" y="196"/>
                  <a:pt x="243" y="196"/>
                  <a:pt x="243" y="196"/>
                </a:cubicBezTo>
                <a:cubicBezTo>
                  <a:pt x="242" y="197"/>
                  <a:pt x="242" y="197"/>
                  <a:pt x="242" y="197"/>
                </a:cubicBezTo>
                <a:cubicBezTo>
                  <a:pt x="241" y="196"/>
                  <a:pt x="241" y="196"/>
                  <a:pt x="241" y="196"/>
                </a:cubicBezTo>
                <a:cubicBezTo>
                  <a:pt x="241" y="197"/>
                  <a:pt x="241" y="197"/>
                  <a:pt x="241" y="197"/>
                </a:cubicBezTo>
                <a:cubicBezTo>
                  <a:pt x="241" y="197"/>
                  <a:pt x="241" y="197"/>
                  <a:pt x="241" y="197"/>
                </a:cubicBezTo>
                <a:cubicBezTo>
                  <a:pt x="241" y="196"/>
                  <a:pt x="241" y="196"/>
                  <a:pt x="241" y="196"/>
                </a:cubicBezTo>
                <a:cubicBezTo>
                  <a:pt x="240" y="196"/>
                  <a:pt x="240" y="196"/>
                  <a:pt x="240" y="196"/>
                </a:cubicBezTo>
                <a:cubicBezTo>
                  <a:pt x="240" y="196"/>
                  <a:pt x="240" y="196"/>
                  <a:pt x="240" y="196"/>
                </a:cubicBezTo>
                <a:cubicBezTo>
                  <a:pt x="239" y="195"/>
                  <a:pt x="239" y="195"/>
                  <a:pt x="239" y="195"/>
                </a:cubicBezTo>
                <a:cubicBezTo>
                  <a:pt x="239" y="194"/>
                  <a:pt x="239" y="194"/>
                  <a:pt x="239" y="194"/>
                </a:cubicBezTo>
                <a:cubicBezTo>
                  <a:pt x="239" y="193"/>
                  <a:pt x="239" y="193"/>
                  <a:pt x="239" y="193"/>
                </a:cubicBezTo>
                <a:cubicBezTo>
                  <a:pt x="240" y="191"/>
                  <a:pt x="240" y="191"/>
                  <a:pt x="240" y="191"/>
                </a:cubicBezTo>
                <a:cubicBezTo>
                  <a:pt x="240" y="190"/>
                  <a:pt x="240" y="190"/>
                  <a:pt x="240" y="190"/>
                </a:cubicBezTo>
                <a:cubicBezTo>
                  <a:pt x="239" y="189"/>
                  <a:pt x="239" y="189"/>
                  <a:pt x="239" y="189"/>
                </a:cubicBezTo>
                <a:cubicBezTo>
                  <a:pt x="239" y="190"/>
                  <a:pt x="239" y="190"/>
                  <a:pt x="239" y="190"/>
                </a:cubicBezTo>
                <a:cubicBezTo>
                  <a:pt x="239" y="190"/>
                  <a:pt x="239" y="190"/>
                  <a:pt x="239" y="190"/>
                </a:cubicBezTo>
                <a:cubicBezTo>
                  <a:pt x="238" y="191"/>
                  <a:pt x="238" y="191"/>
                  <a:pt x="238" y="191"/>
                </a:cubicBezTo>
                <a:cubicBezTo>
                  <a:pt x="238" y="191"/>
                  <a:pt x="238" y="191"/>
                  <a:pt x="238" y="191"/>
                </a:cubicBezTo>
                <a:cubicBezTo>
                  <a:pt x="237" y="190"/>
                  <a:pt x="237" y="190"/>
                  <a:pt x="237" y="190"/>
                </a:cubicBezTo>
                <a:cubicBezTo>
                  <a:pt x="237" y="189"/>
                  <a:pt x="237" y="189"/>
                  <a:pt x="237" y="189"/>
                </a:cubicBezTo>
                <a:cubicBezTo>
                  <a:pt x="239" y="187"/>
                  <a:pt x="239" y="187"/>
                  <a:pt x="239" y="187"/>
                </a:cubicBezTo>
                <a:cubicBezTo>
                  <a:pt x="239" y="184"/>
                  <a:pt x="239" y="184"/>
                  <a:pt x="239" y="184"/>
                </a:cubicBezTo>
                <a:cubicBezTo>
                  <a:pt x="239" y="183"/>
                  <a:pt x="239" y="183"/>
                  <a:pt x="239" y="183"/>
                </a:cubicBezTo>
                <a:cubicBezTo>
                  <a:pt x="239" y="181"/>
                  <a:pt x="239" y="181"/>
                  <a:pt x="239" y="181"/>
                </a:cubicBezTo>
                <a:cubicBezTo>
                  <a:pt x="238" y="181"/>
                  <a:pt x="238" y="181"/>
                  <a:pt x="238" y="181"/>
                </a:cubicBezTo>
                <a:cubicBezTo>
                  <a:pt x="237" y="180"/>
                  <a:pt x="237" y="180"/>
                  <a:pt x="237" y="180"/>
                </a:cubicBezTo>
                <a:cubicBezTo>
                  <a:pt x="237" y="179"/>
                  <a:pt x="237" y="179"/>
                  <a:pt x="237" y="179"/>
                </a:cubicBezTo>
                <a:cubicBezTo>
                  <a:pt x="237" y="179"/>
                  <a:pt x="237" y="179"/>
                  <a:pt x="237" y="179"/>
                </a:cubicBezTo>
                <a:cubicBezTo>
                  <a:pt x="236" y="179"/>
                  <a:pt x="236" y="179"/>
                  <a:pt x="236" y="179"/>
                </a:cubicBezTo>
                <a:cubicBezTo>
                  <a:pt x="236" y="177"/>
                  <a:pt x="236" y="177"/>
                  <a:pt x="236" y="177"/>
                </a:cubicBezTo>
                <a:cubicBezTo>
                  <a:pt x="235" y="177"/>
                  <a:pt x="235" y="177"/>
                  <a:pt x="235" y="177"/>
                </a:cubicBezTo>
                <a:cubicBezTo>
                  <a:pt x="235" y="177"/>
                  <a:pt x="235" y="177"/>
                  <a:pt x="235" y="177"/>
                </a:cubicBezTo>
                <a:cubicBezTo>
                  <a:pt x="234" y="174"/>
                  <a:pt x="234" y="174"/>
                  <a:pt x="234" y="174"/>
                </a:cubicBezTo>
                <a:cubicBezTo>
                  <a:pt x="232" y="174"/>
                  <a:pt x="232" y="174"/>
                  <a:pt x="232" y="174"/>
                </a:cubicBezTo>
                <a:cubicBezTo>
                  <a:pt x="232" y="174"/>
                  <a:pt x="232" y="174"/>
                  <a:pt x="232" y="174"/>
                </a:cubicBezTo>
                <a:cubicBezTo>
                  <a:pt x="230" y="174"/>
                  <a:pt x="230" y="174"/>
                  <a:pt x="230" y="174"/>
                </a:cubicBezTo>
                <a:cubicBezTo>
                  <a:pt x="230" y="174"/>
                  <a:pt x="230" y="174"/>
                  <a:pt x="230" y="174"/>
                </a:cubicBezTo>
                <a:cubicBezTo>
                  <a:pt x="230" y="175"/>
                  <a:pt x="230" y="175"/>
                  <a:pt x="230" y="175"/>
                </a:cubicBezTo>
                <a:cubicBezTo>
                  <a:pt x="229" y="175"/>
                  <a:pt x="229" y="175"/>
                  <a:pt x="229" y="175"/>
                </a:cubicBezTo>
                <a:cubicBezTo>
                  <a:pt x="229" y="175"/>
                  <a:pt x="229" y="175"/>
                  <a:pt x="229" y="175"/>
                </a:cubicBezTo>
                <a:cubicBezTo>
                  <a:pt x="227" y="176"/>
                  <a:pt x="227" y="176"/>
                  <a:pt x="227" y="176"/>
                </a:cubicBezTo>
                <a:cubicBezTo>
                  <a:pt x="226" y="176"/>
                  <a:pt x="226" y="176"/>
                  <a:pt x="226" y="176"/>
                </a:cubicBezTo>
                <a:cubicBezTo>
                  <a:pt x="224" y="177"/>
                  <a:pt x="224" y="177"/>
                  <a:pt x="224" y="177"/>
                </a:cubicBezTo>
                <a:cubicBezTo>
                  <a:pt x="224" y="176"/>
                  <a:pt x="224" y="176"/>
                  <a:pt x="224" y="176"/>
                </a:cubicBezTo>
                <a:cubicBezTo>
                  <a:pt x="224" y="176"/>
                  <a:pt x="224" y="176"/>
                  <a:pt x="224" y="176"/>
                </a:cubicBezTo>
                <a:cubicBezTo>
                  <a:pt x="224" y="176"/>
                  <a:pt x="224" y="176"/>
                  <a:pt x="224" y="176"/>
                </a:cubicBezTo>
                <a:cubicBezTo>
                  <a:pt x="225" y="176"/>
                  <a:pt x="225" y="176"/>
                  <a:pt x="225" y="176"/>
                </a:cubicBezTo>
                <a:cubicBezTo>
                  <a:pt x="224" y="175"/>
                  <a:pt x="224" y="175"/>
                  <a:pt x="224" y="175"/>
                </a:cubicBezTo>
                <a:cubicBezTo>
                  <a:pt x="224" y="175"/>
                  <a:pt x="224" y="175"/>
                  <a:pt x="224" y="175"/>
                </a:cubicBezTo>
                <a:cubicBezTo>
                  <a:pt x="222" y="174"/>
                  <a:pt x="222" y="174"/>
                  <a:pt x="222" y="174"/>
                </a:cubicBezTo>
                <a:cubicBezTo>
                  <a:pt x="222" y="173"/>
                  <a:pt x="222" y="173"/>
                  <a:pt x="222" y="173"/>
                </a:cubicBezTo>
                <a:cubicBezTo>
                  <a:pt x="223" y="174"/>
                  <a:pt x="223" y="174"/>
                  <a:pt x="223" y="174"/>
                </a:cubicBezTo>
                <a:cubicBezTo>
                  <a:pt x="223" y="173"/>
                  <a:pt x="223" y="173"/>
                  <a:pt x="223" y="173"/>
                </a:cubicBezTo>
                <a:cubicBezTo>
                  <a:pt x="222" y="173"/>
                  <a:pt x="222" y="173"/>
                  <a:pt x="222" y="173"/>
                </a:cubicBezTo>
                <a:cubicBezTo>
                  <a:pt x="222" y="172"/>
                  <a:pt x="222" y="172"/>
                  <a:pt x="222" y="172"/>
                </a:cubicBezTo>
                <a:cubicBezTo>
                  <a:pt x="221" y="172"/>
                  <a:pt x="221" y="172"/>
                  <a:pt x="221" y="172"/>
                </a:cubicBezTo>
                <a:cubicBezTo>
                  <a:pt x="221" y="172"/>
                  <a:pt x="221" y="172"/>
                  <a:pt x="221" y="172"/>
                </a:cubicBezTo>
                <a:cubicBezTo>
                  <a:pt x="222" y="173"/>
                  <a:pt x="222" y="173"/>
                  <a:pt x="222" y="173"/>
                </a:cubicBezTo>
                <a:cubicBezTo>
                  <a:pt x="221" y="173"/>
                  <a:pt x="221" y="173"/>
                  <a:pt x="221" y="173"/>
                </a:cubicBezTo>
                <a:cubicBezTo>
                  <a:pt x="220" y="172"/>
                  <a:pt x="220" y="172"/>
                  <a:pt x="220" y="172"/>
                </a:cubicBezTo>
                <a:cubicBezTo>
                  <a:pt x="218" y="172"/>
                  <a:pt x="218" y="172"/>
                  <a:pt x="218" y="172"/>
                </a:cubicBezTo>
                <a:cubicBezTo>
                  <a:pt x="217" y="172"/>
                  <a:pt x="217" y="172"/>
                  <a:pt x="217" y="172"/>
                </a:cubicBezTo>
                <a:cubicBezTo>
                  <a:pt x="217" y="171"/>
                  <a:pt x="217" y="171"/>
                  <a:pt x="217" y="171"/>
                </a:cubicBezTo>
                <a:cubicBezTo>
                  <a:pt x="218" y="171"/>
                  <a:pt x="218" y="171"/>
                  <a:pt x="218" y="171"/>
                </a:cubicBezTo>
                <a:cubicBezTo>
                  <a:pt x="219" y="171"/>
                  <a:pt x="219" y="171"/>
                  <a:pt x="219" y="171"/>
                </a:cubicBezTo>
                <a:cubicBezTo>
                  <a:pt x="219" y="171"/>
                  <a:pt x="219" y="171"/>
                  <a:pt x="219" y="171"/>
                </a:cubicBezTo>
                <a:cubicBezTo>
                  <a:pt x="217" y="171"/>
                  <a:pt x="217" y="171"/>
                  <a:pt x="217" y="171"/>
                </a:cubicBezTo>
                <a:cubicBezTo>
                  <a:pt x="216" y="172"/>
                  <a:pt x="216" y="172"/>
                  <a:pt x="216" y="172"/>
                </a:cubicBezTo>
                <a:cubicBezTo>
                  <a:pt x="216" y="171"/>
                  <a:pt x="216" y="171"/>
                  <a:pt x="216" y="171"/>
                </a:cubicBezTo>
                <a:cubicBezTo>
                  <a:pt x="214" y="172"/>
                  <a:pt x="214" y="172"/>
                  <a:pt x="214" y="172"/>
                </a:cubicBezTo>
                <a:cubicBezTo>
                  <a:pt x="213" y="171"/>
                  <a:pt x="213" y="171"/>
                  <a:pt x="213" y="171"/>
                </a:cubicBezTo>
                <a:cubicBezTo>
                  <a:pt x="212" y="171"/>
                  <a:pt x="212" y="171"/>
                  <a:pt x="212" y="171"/>
                </a:cubicBezTo>
                <a:cubicBezTo>
                  <a:pt x="210" y="171"/>
                  <a:pt x="210" y="171"/>
                  <a:pt x="210" y="171"/>
                </a:cubicBezTo>
                <a:cubicBezTo>
                  <a:pt x="209" y="172"/>
                  <a:pt x="209" y="172"/>
                  <a:pt x="209" y="172"/>
                </a:cubicBezTo>
                <a:cubicBezTo>
                  <a:pt x="208" y="171"/>
                  <a:pt x="208" y="171"/>
                  <a:pt x="208" y="171"/>
                </a:cubicBezTo>
                <a:cubicBezTo>
                  <a:pt x="208" y="170"/>
                  <a:pt x="208" y="170"/>
                  <a:pt x="208" y="170"/>
                </a:cubicBezTo>
                <a:cubicBezTo>
                  <a:pt x="208" y="169"/>
                  <a:pt x="208" y="169"/>
                  <a:pt x="208" y="169"/>
                </a:cubicBezTo>
                <a:cubicBezTo>
                  <a:pt x="207" y="169"/>
                  <a:pt x="207" y="169"/>
                  <a:pt x="207" y="169"/>
                </a:cubicBezTo>
                <a:cubicBezTo>
                  <a:pt x="207" y="170"/>
                  <a:pt x="207" y="170"/>
                  <a:pt x="207" y="170"/>
                </a:cubicBezTo>
                <a:cubicBezTo>
                  <a:pt x="206" y="171"/>
                  <a:pt x="206" y="171"/>
                  <a:pt x="206" y="171"/>
                </a:cubicBezTo>
                <a:cubicBezTo>
                  <a:pt x="205" y="171"/>
                  <a:pt x="205" y="171"/>
                  <a:pt x="205" y="171"/>
                </a:cubicBezTo>
                <a:cubicBezTo>
                  <a:pt x="205" y="171"/>
                  <a:pt x="205" y="171"/>
                  <a:pt x="205" y="171"/>
                </a:cubicBezTo>
                <a:cubicBezTo>
                  <a:pt x="203" y="171"/>
                  <a:pt x="203" y="171"/>
                  <a:pt x="203" y="171"/>
                </a:cubicBezTo>
                <a:cubicBezTo>
                  <a:pt x="199" y="172"/>
                  <a:pt x="199" y="172"/>
                  <a:pt x="199" y="172"/>
                </a:cubicBezTo>
                <a:cubicBezTo>
                  <a:pt x="198" y="173"/>
                  <a:pt x="198" y="173"/>
                  <a:pt x="198" y="173"/>
                </a:cubicBezTo>
                <a:cubicBezTo>
                  <a:pt x="196" y="173"/>
                  <a:pt x="196" y="173"/>
                  <a:pt x="196" y="173"/>
                </a:cubicBezTo>
                <a:cubicBezTo>
                  <a:pt x="195" y="175"/>
                  <a:pt x="195" y="175"/>
                  <a:pt x="195" y="175"/>
                </a:cubicBezTo>
                <a:cubicBezTo>
                  <a:pt x="195" y="176"/>
                  <a:pt x="195" y="176"/>
                  <a:pt x="195" y="176"/>
                </a:cubicBezTo>
                <a:cubicBezTo>
                  <a:pt x="196" y="175"/>
                  <a:pt x="196" y="175"/>
                  <a:pt x="196" y="175"/>
                </a:cubicBezTo>
                <a:cubicBezTo>
                  <a:pt x="197" y="174"/>
                  <a:pt x="197" y="174"/>
                  <a:pt x="197" y="174"/>
                </a:cubicBezTo>
                <a:cubicBezTo>
                  <a:pt x="197" y="175"/>
                  <a:pt x="197" y="175"/>
                  <a:pt x="197" y="175"/>
                </a:cubicBezTo>
                <a:cubicBezTo>
                  <a:pt x="198" y="175"/>
                  <a:pt x="198" y="175"/>
                  <a:pt x="198" y="175"/>
                </a:cubicBezTo>
                <a:cubicBezTo>
                  <a:pt x="199" y="176"/>
                  <a:pt x="199" y="176"/>
                  <a:pt x="199" y="176"/>
                </a:cubicBezTo>
                <a:cubicBezTo>
                  <a:pt x="198" y="176"/>
                  <a:pt x="198" y="176"/>
                  <a:pt x="198" y="176"/>
                </a:cubicBezTo>
                <a:cubicBezTo>
                  <a:pt x="196" y="177"/>
                  <a:pt x="196" y="177"/>
                  <a:pt x="196" y="177"/>
                </a:cubicBezTo>
                <a:cubicBezTo>
                  <a:pt x="196" y="178"/>
                  <a:pt x="196" y="178"/>
                  <a:pt x="196" y="178"/>
                </a:cubicBezTo>
                <a:cubicBezTo>
                  <a:pt x="197" y="179"/>
                  <a:pt x="197" y="179"/>
                  <a:pt x="197" y="179"/>
                </a:cubicBezTo>
                <a:cubicBezTo>
                  <a:pt x="199" y="179"/>
                  <a:pt x="199" y="179"/>
                  <a:pt x="199" y="179"/>
                </a:cubicBezTo>
                <a:cubicBezTo>
                  <a:pt x="200" y="181"/>
                  <a:pt x="200" y="181"/>
                  <a:pt x="200" y="181"/>
                </a:cubicBezTo>
                <a:cubicBezTo>
                  <a:pt x="200" y="181"/>
                  <a:pt x="200" y="181"/>
                  <a:pt x="200" y="181"/>
                </a:cubicBezTo>
                <a:cubicBezTo>
                  <a:pt x="199" y="181"/>
                  <a:pt x="199" y="181"/>
                  <a:pt x="199" y="181"/>
                </a:cubicBezTo>
                <a:cubicBezTo>
                  <a:pt x="199" y="182"/>
                  <a:pt x="199" y="182"/>
                  <a:pt x="199" y="182"/>
                </a:cubicBezTo>
                <a:cubicBezTo>
                  <a:pt x="199" y="181"/>
                  <a:pt x="199" y="181"/>
                  <a:pt x="199" y="181"/>
                </a:cubicBezTo>
                <a:cubicBezTo>
                  <a:pt x="198" y="180"/>
                  <a:pt x="198" y="180"/>
                  <a:pt x="198" y="180"/>
                </a:cubicBezTo>
                <a:cubicBezTo>
                  <a:pt x="197" y="181"/>
                  <a:pt x="197" y="181"/>
                  <a:pt x="197" y="181"/>
                </a:cubicBezTo>
                <a:cubicBezTo>
                  <a:pt x="197" y="180"/>
                  <a:pt x="197" y="180"/>
                  <a:pt x="197" y="180"/>
                </a:cubicBezTo>
                <a:cubicBezTo>
                  <a:pt x="196" y="179"/>
                  <a:pt x="196" y="179"/>
                  <a:pt x="196" y="179"/>
                </a:cubicBezTo>
                <a:cubicBezTo>
                  <a:pt x="195" y="178"/>
                  <a:pt x="195" y="178"/>
                  <a:pt x="195" y="178"/>
                </a:cubicBezTo>
                <a:cubicBezTo>
                  <a:pt x="194" y="178"/>
                  <a:pt x="194" y="178"/>
                  <a:pt x="194" y="178"/>
                </a:cubicBezTo>
                <a:cubicBezTo>
                  <a:pt x="194" y="179"/>
                  <a:pt x="194" y="179"/>
                  <a:pt x="194" y="179"/>
                </a:cubicBezTo>
                <a:cubicBezTo>
                  <a:pt x="194" y="181"/>
                  <a:pt x="194" y="181"/>
                  <a:pt x="194" y="181"/>
                </a:cubicBezTo>
                <a:cubicBezTo>
                  <a:pt x="193" y="181"/>
                  <a:pt x="193" y="181"/>
                  <a:pt x="193" y="181"/>
                </a:cubicBezTo>
                <a:cubicBezTo>
                  <a:pt x="193" y="180"/>
                  <a:pt x="193" y="180"/>
                  <a:pt x="193" y="180"/>
                </a:cubicBezTo>
                <a:cubicBezTo>
                  <a:pt x="192" y="180"/>
                  <a:pt x="192" y="180"/>
                  <a:pt x="192" y="180"/>
                </a:cubicBezTo>
                <a:cubicBezTo>
                  <a:pt x="191" y="180"/>
                  <a:pt x="191" y="180"/>
                  <a:pt x="191" y="180"/>
                </a:cubicBezTo>
                <a:cubicBezTo>
                  <a:pt x="190" y="181"/>
                  <a:pt x="190" y="181"/>
                  <a:pt x="190" y="181"/>
                </a:cubicBezTo>
                <a:cubicBezTo>
                  <a:pt x="189" y="181"/>
                  <a:pt x="189" y="181"/>
                  <a:pt x="189" y="181"/>
                </a:cubicBezTo>
                <a:cubicBezTo>
                  <a:pt x="188" y="180"/>
                  <a:pt x="188" y="180"/>
                  <a:pt x="188" y="180"/>
                </a:cubicBezTo>
                <a:cubicBezTo>
                  <a:pt x="187" y="180"/>
                  <a:pt x="187" y="180"/>
                  <a:pt x="187" y="180"/>
                </a:cubicBezTo>
                <a:cubicBezTo>
                  <a:pt x="186" y="180"/>
                  <a:pt x="186" y="180"/>
                  <a:pt x="186" y="180"/>
                </a:cubicBezTo>
                <a:cubicBezTo>
                  <a:pt x="187" y="179"/>
                  <a:pt x="187" y="179"/>
                  <a:pt x="187" y="179"/>
                </a:cubicBezTo>
                <a:cubicBezTo>
                  <a:pt x="187" y="179"/>
                  <a:pt x="187" y="179"/>
                  <a:pt x="187" y="179"/>
                </a:cubicBezTo>
                <a:cubicBezTo>
                  <a:pt x="187" y="178"/>
                  <a:pt x="187" y="178"/>
                  <a:pt x="187" y="178"/>
                </a:cubicBezTo>
                <a:cubicBezTo>
                  <a:pt x="186" y="178"/>
                  <a:pt x="186" y="178"/>
                  <a:pt x="186" y="178"/>
                </a:cubicBezTo>
                <a:cubicBezTo>
                  <a:pt x="185" y="178"/>
                  <a:pt x="185" y="178"/>
                  <a:pt x="185" y="178"/>
                </a:cubicBezTo>
                <a:cubicBezTo>
                  <a:pt x="185" y="177"/>
                  <a:pt x="185" y="177"/>
                  <a:pt x="185" y="177"/>
                </a:cubicBezTo>
                <a:cubicBezTo>
                  <a:pt x="185" y="176"/>
                  <a:pt x="185" y="176"/>
                  <a:pt x="185" y="176"/>
                </a:cubicBezTo>
                <a:cubicBezTo>
                  <a:pt x="184" y="177"/>
                  <a:pt x="184" y="177"/>
                  <a:pt x="184" y="177"/>
                </a:cubicBezTo>
                <a:cubicBezTo>
                  <a:pt x="183" y="176"/>
                  <a:pt x="183" y="176"/>
                  <a:pt x="183" y="176"/>
                </a:cubicBezTo>
                <a:cubicBezTo>
                  <a:pt x="184" y="176"/>
                  <a:pt x="184" y="176"/>
                  <a:pt x="184" y="176"/>
                </a:cubicBezTo>
                <a:cubicBezTo>
                  <a:pt x="183" y="175"/>
                  <a:pt x="183" y="175"/>
                  <a:pt x="183" y="175"/>
                </a:cubicBezTo>
                <a:cubicBezTo>
                  <a:pt x="182" y="176"/>
                  <a:pt x="182" y="176"/>
                  <a:pt x="182" y="176"/>
                </a:cubicBezTo>
                <a:cubicBezTo>
                  <a:pt x="182" y="176"/>
                  <a:pt x="182" y="176"/>
                  <a:pt x="182" y="176"/>
                </a:cubicBezTo>
                <a:cubicBezTo>
                  <a:pt x="182" y="177"/>
                  <a:pt x="182" y="177"/>
                  <a:pt x="182" y="177"/>
                </a:cubicBezTo>
                <a:cubicBezTo>
                  <a:pt x="181" y="177"/>
                  <a:pt x="181" y="177"/>
                  <a:pt x="181" y="177"/>
                </a:cubicBezTo>
                <a:cubicBezTo>
                  <a:pt x="177" y="177"/>
                  <a:pt x="177" y="177"/>
                  <a:pt x="177" y="177"/>
                </a:cubicBezTo>
                <a:cubicBezTo>
                  <a:pt x="177" y="176"/>
                  <a:pt x="177" y="176"/>
                  <a:pt x="177" y="176"/>
                </a:cubicBezTo>
                <a:cubicBezTo>
                  <a:pt x="174" y="176"/>
                  <a:pt x="174" y="176"/>
                  <a:pt x="174" y="176"/>
                </a:cubicBezTo>
                <a:cubicBezTo>
                  <a:pt x="172" y="176"/>
                  <a:pt x="172" y="176"/>
                  <a:pt x="172" y="176"/>
                </a:cubicBezTo>
                <a:cubicBezTo>
                  <a:pt x="170" y="176"/>
                  <a:pt x="170" y="176"/>
                  <a:pt x="170" y="176"/>
                </a:cubicBezTo>
                <a:cubicBezTo>
                  <a:pt x="169" y="177"/>
                  <a:pt x="169" y="177"/>
                  <a:pt x="169" y="177"/>
                </a:cubicBezTo>
                <a:cubicBezTo>
                  <a:pt x="168" y="177"/>
                  <a:pt x="168" y="177"/>
                  <a:pt x="168" y="177"/>
                </a:cubicBezTo>
                <a:cubicBezTo>
                  <a:pt x="167" y="178"/>
                  <a:pt x="167" y="178"/>
                  <a:pt x="167" y="178"/>
                </a:cubicBezTo>
                <a:cubicBezTo>
                  <a:pt x="166" y="178"/>
                  <a:pt x="166" y="178"/>
                  <a:pt x="166" y="178"/>
                </a:cubicBezTo>
                <a:cubicBezTo>
                  <a:pt x="166" y="177"/>
                  <a:pt x="166" y="177"/>
                  <a:pt x="166" y="177"/>
                </a:cubicBezTo>
                <a:cubicBezTo>
                  <a:pt x="166" y="176"/>
                  <a:pt x="166" y="176"/>
                  <a:pt x="166" y="176"/>
                </a:cubicBezTo>
                <a:cubicBezTo>
                  <a:pt x="167" y="175"/>
                  <a:pt x="167" y="175"/>
                  <a:pt x="167" y="175"/>
                </a:cubicBezTo>
                <a:cubicBezTo>
                  <a:pt x="166" y="174"/>
                  <a:pt x="166" y="174"/>
                  <a:pt x="166" y="174"/>
                </a:cubicBezTo>
                <a:cubicBezTo>
                  <a:pt x="166" y="175"/>
                  <a:pt x="166" y="175"/>
                  <a:pt x="166" y="175"/>
                </a:cubicBezTo>
                <a:cubicBezTo>
                  <a:pt x="165" y="176"/>
                  <a:pt x="165" y="176"/>
                  <a:pt x="165" y="176"/>
                </a:cubicBezTo>
                <a:cubicBezTo>
                  <a:pt x="164" y="176"/>
                  <a:pt x="164" y="176"/>
                  <a:pt x="164" y="176"/>
                </a:cubicBezTo>
                <a:cubicBezTo>
                  <a:pt x="163" y="175"/>
                  <a:pt x="163" y="175"/>
                  <a:pt x="163" y="175"/>
                </a:cubicBezTo>
                <a:cubicBezTo>
                  <a:pt x="164" y="177"/>
                  <a:pt x="164" y="177"/>
                  <a:pt x="164" y="177"/>
                </a:cubicBezTo>
                <a:cubicBezTo>
                  <a:pt x="164" y="178"/>
                  <a:pt x="164" y="178"/>
                  <a:pt x="164" y="178"/>
                </a:cubicBezTo>
                <a:cubicBezTo>
                  <a:pt x="164" y="179"/>
                  <a:pt x="164" y="179"/>
                  <a:pt x="164" y="179"/>
                </a:cubicBezTo>
                <a:cubicBezTo>
                  <a:pt x="164" y="180"/>
                  <a:pt x="164" y="180"/>
                  <a:pt x="164" y="180"/>
                </a:cubicBezTo>
                <a:cubicBezTo>
                  <a:pt x="163" y="180"/>
                  <a:pt x="163" y="180"/>
                  <a:pt x="163" y="180"/>
                </a:cubicBezTo>
                <a:cubicBezTo>
                  <a:pt x="161" y="182"/>
                  <a:pt x="161" y="182"/>
                  <a:pt x="161" y="182"/>
                </a:cubicBezTo>
                <a:cubicBezTo>
                  <a:pt x="158" y="183"/>
                  <a:pt x="158" y="183"/>
                  <a:pt x="158" y="183"/>
                </a:cubicBezTo>
                <a:cubicBezTo>
                  <a:pt x="157" y="183"/>
                  <a:pt x="157" y="183"/>
                  <a:pt x="157" y="183"/>
                </a:cubicBezTo>
                <a:cubicBezTo>
                  <a:pt x="156" y="184"/>
                  <a:pt x="156" y="184"/>
                  <a:pt x="156" y="184"/>
                </a:cubicBezTo>
                <a:cubicBezTo>
                  <a:pt x="155" y="184"/>
                  <a:pt x="155" y="184"/>
                  <a:pt x="155" y="184"/>
                </a:cubicBezTo>
                <a:cubicBezTo>
                  <a:pt x="156" y="183"/>
                  <a:pt x="156" y="183"/>
                  <a:pt x="156" y="183"/>
                </a:cubicBezTo>
                <a:cubicBezTo>
                  <a:pt x="155" y="183"/>
                  <a:pt x="155" y="183"/>
                  <a:pt x="155" y="183"/>
                </a:cubicBezTo>
                <a:cubicBezTo>
                  <a:pt x="155" y="183"/>
                  <a:pt x="155" y="183"/>
                  <a:pt x="155" y="183"/>
                </a:cubicBezTo>
                <a:cubicBezTo>
                  <a:pt x="154" y="183"/>
                  <a:pt x="154" y="183"/>
                  <a:pt x="154" y="183"/>
                </a:cubicBezTo>
                <a:cubicBezTo>
                  <a:pt x="153" y="183"/>
                  <a:pt x="153" y="183"/>
                  <a:pt x="153" y="183"/>
                </a:cubicBezTo>
                <a:cubicBezTo>
                  <a:pt x="154" y="184"/>
                  <a:pt x="154" y="184"/>
                  <a:pt x="154" y="184"/>
                </a:cubicBezTo>
                <a:cubicBezTo>
                  <a:pt x="153" y="184"/>
                  <a:pt x="153" y="184"/>
                  <a:pt x="153" y="184"/>
                </a:cubicBezTo>
                <a:cubicBezTo>
                  <a:pt x="152" y="184"/>
                  <a:pt x="152" y="184"/>
                  <a:pt x="152" y="184"/>
                </a:cubicBezTo>
                <a:cubicBezTo>
                  <a:pt x="152" y="185"/>
                  <a:pt x="152" y="185"/>
                  <a:pt x="152" y="185"/>
                </a:cubicBezTo>
                <a:cubicBezTo>
                  <a:pt x="151" y="186"/>
                  <a:pt x="151" y="186"/>
                  <a:pt x="151" y="186"/>
                </a:cubicBezTo>
                <a:cubicBezTo>
                  <a:pt x="150" y="186"/>
                  <a:pt x="150" y="186"/>
                  <a:pt x="150" y="186"/>
                </a:cubicBezTo>
                <a:cubicBezTo>
                  <a:pt x="149" y="187"/>
                  <a:pt x="149" y="187"/>
                  <a:pt x="149" y="187"/>
                </a:cubicBezTo>
                <a:cubicBezTo>
                  <a:pt x="150" y="188"/>
                  <a:pt x="150" y="188"/>
                  <a:pt x="150" y="188"/>
                </a:cubicBezTo>
                <a:cubicBezTo>
                  <a:pt x="149" y="189"/>
                  <a:pt x="149" y="189"/>
                  <a:pt x="149" y="189"/>
                </a:cubicBezTo>
                <a:cubicBezTo>
                  <a:pt x="148" y="189"/>
                  <a:pt x="148" y="189"/>
                  <a:pt x="148" y="189"/>
                </a:cubicBezTo>
                <a:cubicBezTo>
                  <a:pt x="148" y="192"/>
                  <a:pt x="148" y="192"/>
                  <a:pt x="148" y="192"/>
                </a:cubicBezTo>
                <a:cubicBezTo>
                  <a:pt x="147" y="193"/>
                  <a:pt x="147" y="193"/>
                  <a:pt x="147" y="193"/>
                </a:cubicBezTo>
                <a:cubicBezTo>
                  <a:pt x="147" y="195"/>
                  <a:pt x="147" y="195"/>
                  <a:pt x="147" y="195"/>
                </a:cubicBezTo>
                <a:cubicBezTo>
                  <a:pt x="146" y="196"/>
                  <a:pt x="146" y="196"/>
                  <a:pt x="146" y="196"/>
                </a:cubicBezTo>
                <a:cubicBezTo>
                  <a:pt x="146" y="197"/>
                  <a:pt x="146" y="197"/>
                  <a:pt x="146" y="197"/>
                </a:cubicBezTo>
                <a:cubicBezTo>
                  <a:pt x="146" y="200"/>
                  <a:pt x="146" y="200"/>
                  <a:pt x="146" y="200"/>
                </a:cubicBezTo>
                <a:cubicBezTo>
                  <a:pt x="147" y="201"/>
                  <a:pt x="147" y="201"/>
                  <a:pt x="147" y="201"/>
                </a:cubicBezTo>
                <a:cubicBezTo>
                  <a:pt x="146" y="202"/>
                  <a:pt x="146" y="202"/>
                  <a:pt x="146" y="202"/>
                </a:cubicBezTo>
                <a:cubicBezTo>
                  <a:pt x="146" y="204"/>
                  <a:pt x="146" y="204"/>
                  <a:pt x="146" y="204"/>
                </a:cubicBezTo>
                <a:cubicBezTo>
                  <a:pt x="145" y="204"/>
                  <a:pt x="145" y="204"/>
                  <a:pt x="145" y="204"/>
                </a:cubicBezTo>
                <a:cubicBezTo>
                  <a:pt x="145" y="203"/>
                  <a:pt x="145" y="203"/>
                  <a:pt x="145" y="203"/>
                </a:cubicBezTo>
                <a:cubicBezTo>
                  <a:pt x="144" y="203"/>
                  <a:pt x="144" y="203"/>
                  <a:pt x="144" y="203"/>
                </a:cubicBezTo>
                <a:cubicBezTo>
                  <a:pt x="142" y="202"/>
                  <a:pt x="142" y="202"/>
                  <a:pt x="142" y="202"/>
                </a:cubicBezTo>
                <a:cubicBezTo>
                  <a:pt x="140" y="201"/>
                  <a:pt x="140" y="201"/>
                  <a:pt x="140" y="201"/>
                </a:cubicBezTo>
                <a:cubicBezTo>
                  <a:pt x="139" y="200"/>
                  <a:pt x="139" y="200"/>
                  <a:pt x="139" y="200"/>
                </a:cubicBezTo>
                <a:cubicBezTo>
                  <a:pt x="138" y="200"/>
                  <a:pt x="138" y="200"/>
                  <a:pt x="138" y="200"/>
                </a:cubicBezTo>
                <a:cubicBezTo>
                  <a:pt x="138" y="200"/>
                  <a:pt x="138" y="200"/>
                  <a:pt x="138" y="200"/>
                </a:cubicBezTo>
                <a:cubicBezTo>
                  <a:pt x="137" y="200"/>
                  <a:pt x="137" y="200"/>
                  <a:pt x="137" y="200"/>
                </a:cubicBezTo>
                <a:cubicBezTo>
                  <a:pt x="137" y="200"/>
                  <a:pt x="137" y="200"/>
                  <a:pt x="137" y="200"/>
                </a:cubicBezTo>
                <a:cubicBezTo>
                  <a:pt x="136" y="199"/>
                  <a:pt x="136" y="199"/>
                  <a:pt x="136" y="199"/>
                </a:cubicBezTo>
                <a:cubicBezTo>
                  <a:pt x="136" y="197"/>
                  <a:pt x="136" y="197"/>
                  <a:pt x="136" y="197"/>
                </a:cubicBezTo>
                <a:cubicBezTo>
                  <a:pt x="135" y="194"/>
                  <a:pt x="135" y="194"/>
                  <a:pt x="135" y="194"/>
                </a:cubicBezTo>
                <a:cubicBezTo>
                  <a:pt x="135" y="193"/>
                  <a:pt x="135" y="193"/>
                  <a:pt x="135" y="193"/>
                </a:cubicBezTo>
                <a:cubicBezTo>
                  <a:pt x="135" y="193"/>
                  <a:pt x="135" y="193"/>
                  <a:pt x="135" y="193"/>
                </a:cubicBezTo>
                <a:cubicBezTo>
                  <a:pt x="135" y="192"/>
                  <a:pt x="135" y="192"/>
                  <a:pt x="135" y="192"/>
                </a:cubicBezTo>
                <a:cubicBezTo>
                  <a:pt x="135" y="191"/>
                  <a:pt x="135" y="191"/>
                  <a:pt x="135" y="191"/>
                </a:cubicBezTo>
                <a:cubicBezTo>
                  <a:pt x="134" y="189"/>
                  <a:pt x="134" y="189"/>
                  <a:pt x="134" y="189"/>
                </a:cubicBezTo>
                <a:cubicBezTo>
                  <a:pt x="134" y="188"/>
                  <a:pt x="134" y="188"/>
                  <a:pt x="134" y="188"/>
                </a:cubicBezTo>
                <a:cubicBezTo>
                  <a:pt x="133" y="187"/>
                  <a:pt x="133" y="187"/>
                  <a:pt x="133" y="187"/>
                </a:cubicBezTo>
                <a:cubicBezTo>
                  <a:pt x="132" y="187"/>
                  <a:pt x="132" y="187"/>
                  <a:pt x="132" y="187"/>
                </a:cubicBezTo>
                <a:cubicBezTo>
                  <a:pt x="132" y="186"/>
                  <a:pt x="132" y="186"/>
                  <a:pt x="132" y="186"/>
                </a:cubicBezTo>
                <a:cubicBezTo>
                  <a:pt x="132" y="186"/>
                  <a:pt x="132" y="186"/>
                  <a:pt x="132" y="186"/>
                </a:cubicBezTo>
                <a:cubicBezTo>
                  <a:pt x="131" y="183"/>
                  <a:pt x="131" y="183"/>
                  <a:pt x="131" y="183"/>
                </a:cubicBezTo>
                <a:cubicBezTo>
                  <a:pt x="130" y="182"/>
                  <a:pt x="130" y="182"/>
                  <a:pt x="130" y="182"/>
                </a:cubicBezTo>
                <a:cubicBezTo>
                  <a:pt x="130" y="182"/>
                  <a:pt x="130" y="182"/>
                  <a:pt x="130" y="182"/>
                </a:cubicBezTo>
                <a:cubicBezTo>
                  <a:pt x="130" y="181"/>
                  <a:pt x="130" y="181"/>
                  <a:pt x="130" y="181"/>
                </a:cubicBezTo>
                <a:cubicBezTo>
                  <a:pt x="129" y="180"/>
                  <a:pt x="129" y="180"/>
                  <a:pt x="129" y="180"/>
                </a:cubicBezTo>
                <a:cubicBezTo>
                  <a:pt x="129" y="179"/>
                  <a:pt x="129" y="179"/>
                  <a:pt x="129" y="179"/>
                </a:cubicBezTo>
                <a:cubicBezTo>
                  <a:pt x="129" y="178"/>
                  <a:pt x="129" y="178"/>
                  <a:pt x="129" y="178"/>
                </a:cubicBezTo>
                <a:cubicBezTo>
                  <a:pt x="128" y="176"/>
                  <a:pt x="128" y="176"/>
                  <a:pt x="128" y="176"/>
                </a:cubicBezTo>
                <a:cubicBezTo>
                  <a:pt x="126" y="175"/>
                  <a:pt x="126" y="175"/>
                  <a:pt x="126" y="175"/>
                </a:cubicBezTo>
                <a:cubicBezTo>
                  <a:pt x="126" y="174"/>
                  <a:pt x="126" y="174"/>
                  <a:pt x="126" y="174"/>
                </a:cubicBezTo>
                <a:cubicBezTo>
                  <a:pt x="125" y="174"/>
                  <a:pt x="125" y="174"/>
                  <a:pt x="125" y="174"/>
                </a:cubicBezTo>
                <a:cubicBezTo>
                  <a:pt x="124" y="174"/>
                  <a:pt x="124" y="174"/>
                  <a:pt x="124" y="174"/>
                </a:cubicBezTo>
                <a:cubicBezTo>
                  <a:pt x="124" y="174"/>
                  <a:pt x="124" y="174"/>
                  <a:pt x="124" y="174"/>
                </a:cubicBezTo>
                <a:cubicBezTo>
                  <a:pt x="123" y="173"/>
                  <a:pt x="123" y="173"/>
                  <a:pt x="123" y="173"/>
                </a:cubicBezTo>
                <a:cubicBezTo>
                  <a:pt x="122" y="174"/>
                  <a:pt x="122" y="174"/>
                  <a:pt x="122" y="174"/>
                </a:cubicBezTo>
                <a:cubicBezTo>
                  <a:pt x="121" y="173"/>
                  <a:pt x="121" y="173"/>
                  <a:pt x="121" y="173"/>
                </a:cubicBezTo>
                <a:cubicBezTo>
                  <a:pt x="120" y="173"/>
                  <a:pt x="120" y="173"/>
                  <a:pt x="120" y="173"/>
                </a:cubicBezTo>
                <a:cubicBezTo>
                  <a:pt x="120" y="174"/>
                  <a:pt x="120" y="174"/>
                  <a:pt x="120" y="174"/>
                </a:cubicBezTo>
                <a:cubicBezTo>
                  <a:pt x="119" y="174"/>
                  <a:pt x="119" y="174"/>
                  <a:pt x="119" y="174"/>
                </a:cubicBezTo>
                <a:cubicBezTo>
                  <a:pt x="119" y="174"/>
                  <a:pt x="119" y="174"/>
                  <a:pt x="119" y="174"/>
                </a:cubicBezTo>
                <a:cubicBezTo>
                  <a:pt x="119" y="174"/>
                  <a:pt x="119" y="174"/>
                  <a:pt x="119" y="174"/>
                </a:cubicBezTo>
                <a:cubicBezTo>
                  <a:pt x="118" y="174"/>
                  <a:pt x="118" y="174"/>
                  <a:pt x="118" y="174"/>
                </a:cubicBezTo>
                <a:cubicBezTo>
                  <a:pt x="117" y="175"/>
                  <a:pt x="117" y="175"/>
                  <a:pt x="117" y="175"/>
                </a:cubicBezTo>
                <a:cubicBezTo>
                  <a:pt x="116" y="177"/>
                  <a:pt x="116" y="177"/>
                  <a:pt x="116" y="177"/>
                </a:cubicBezTo>
                <a:cubicBezTo>
                  <a:pt x="116" y="177"/>
                  <a:pt x="116" y="177"/>
                  <a:pt x="116" y="177"/>
                </a:cubicBezTo>
                <a:cubicBezTo>
                  <a:pt x="116" y="178"/>
                  <a:pt x="116" y="178"/>
                  <a:pt x="116" y="178"/>
                </a:cubicBezTo>
                <a:cubicBezTo>
                  <a:pt x="116" y="178"/>
                  <a:pt x="116" y="178"/>
                  <a:pt x="116" y="178"/>
                </a:cubicBezTo>
                <a:cubicBezTo>
                  <a:pt x="115" y="178"/>
                  <a:pt x="115" y="178"/>
                  <a:pt x="115" y="178"/>
                </a:cubicBezTo>
                <a:cubicBezTo>
                  <a:pt x="114" y="179"/>
                  <a:pt x="114" y="179"/>
                  <a:pt x="114" y="179"/>
                </a:cubicBezTo>
                <a:cubicBezTo>
                  <a:pt x="114" y="179"/>
                  <a:pt x="114" y="179"/>
                  <a:pt x="114" y="179"/>
                </a:cubicBezTo>
                <a:cubicBezTo>
                  <a:pt x="114" y="180"/>
                  <a:pt x="114" y="180"/>
                  <a:pt x="114" y="180"/>
                </a:cubicBezTo>
                <a:cubicBezTo>
                  <a:pt x="113" y="180"/>
                  <a:pt x="113" y="180"/>
                  <a:pt x="113" y="180"/>
                </a:cubicBezTo>
                <a:cubicBezTo>
                  <a:pt x="113" y="179"/>
                  <a:pt x="113" y="179"/>
                  <a:pt x="113" y="179"/>
                </a:cubicBezTo>
                <a:cubicBezTo>
                  <a:pt x="111" y="178"/>
                  <a:pt x="111" y="178"/>
                  <a:pt x="111" y="178"/>
                </a:cubicBezTo>
                <a:cubicBezTo>
                  <a:pt x="110" y="178"/>
                  <a:pt x="110" y="178"/>
                  <a:pt x="110" y="178"/>
                </a:cubicBezTo>
                <a:cubicBezTo>
                  <a:pt x="110" y="178"/>
                  <a:pt x="110" y="178"/>
                  <a:pt x="110" y="178"/>
                </a:cubicBezTo>
                <a:cubicBezTo>
                  <a:pt x="109" y="177"/>
                  <a:pt x="109" y="177"/>
                  <a:pt x="109" y="177"/>
                </a:cubicBezTo>
                <a:cubicBezTo>
                  <a:pt x="108" y="177"/>
                  <a:pt x="108" y="177"/>
                  <a:pt x="108" y="177"/>
                </a:cubicBezTo>
                <a:cubicBezTo>
                  <a:pt x="108" y="177"/>
                  <a:pt x="108" y="177"/>
                  <a:pt x="108" y="177"/>
                </a:cubicBezTo>
                <a:cubicBezTo>
                  <a:pt x="108" y="176"/>
                  <a:pt x="108" y="176"/>
                  <a:pt x="108" y="176"/>
                </a:cubicBezTo>
                <a:cubicBezTo>
                  <a:pt x="107" y="176"/>
                  <a:pt x="107" y="176"/>
                  <a:pt x="107" y="176"/>
                </a:cubicBezTo>
                <a:cubicBezTo>
                  <a:pt x="107" y="175"/>
                  <a:pt x="107" y="175"/>
                  <a:pt x="107" y="175"/>
                </a:cubicBezTo>
                <a:cubicBezTo>
                  <a:pt x="106" y="175"/>
                  <a:pt x="106" y="175"/>
                  <a:pt x="106" y="175"/>
                </a:cubicBezTo>
                <a:cubicBezTo>
                  <a:pt x="106" y="175"/>
                  <a:pt x="106" y="175"/>
                  <a:pt x="106" y="175"/>
                </a:cubicBezTo>
                <a:cubicBezTo>
                  <a:pt x="106" y="175"/>
                  <a:pt x="106" y="175"/>
                  <a:pt x="106" y="175"/>
                </a:cubicBezTo>
                <a:cubicBezTo>
                  <a:pt x="106" y="175"/>
                  <a:pt x="106" y="175"/>
                  <a:pt x="106" y="175"/>
                </a:cubicBezTo>
                <a:cubicBezTo>
                  <a:pt x="105" y="174"/>
                  <a:pt x="105" y="174"/>
                  <a:pt x="105" y="174"/>
                </a:cubicBezTo>
                <a:cubicBezTo>
                  <a:pt x="104" y="173"/>
                  <a:pt x="104" y="173"/>
                  <a:pt x="104" y="173"/>
                </a:cubicBezTo>
                <a:cubicBezTo>
                  <a:pt x="103" y="171"/>
                  <a:pt x="103" y="171"/>
                  <a:pt x="103" y="171"/>
                </a:cubicBezTo>
                <a:cubicBezTo>
                  <a:pt x="103" y="171"/>
                  <a:pt x="103" y="171"/>
                  <a:pt x="103" y="171"/>
                </a:cubicBezTo>
                <a:cubicBezTo>
                  <a:pt x="104" y="171"/>
                  <a:pt x="104" y="171"/>
                  <a:pt x="104" y="171"/>
                </a:cubicBezTo>
                <a:cubicBezTo>
                  <a:pt x="104" y="171"/>
                  <a:pt x="104" y="171"/>
                  <a:pt x="104" y="171"/>
                </a:cubicBezTo>
                <a:cubicBezTo>
                  <a:pt x="104" y="170"/>
                  <a:pt x="104" y="170"/>
                  <a:pt x="104" y="170"/>
                </a:cubicBezTo>
                <a:cubicBezTo>
                  <a:pt x="104" y="169"/>
                  <a:pt x="104" y="169"/>
                  <a:pt x="104" y="169"/>
                </a:cubicBezTo>
                <a:cubicBezTo>
                  <a:pt x="103" y="168"/>
                  <a:pt x="103" y="168"/>
                  <a:pt x="103" y="168"/>
                </a:cubicBezTo>
                <a:cubicBezTo>
                  <a:pt x="103" y="168"/>
                  <a:pt x="103" y="168"/>
                  <a:pt x="103" y="168"/>
                </a:cubicBezTo>
                <a:cubicBezTo>
                  <a:pt x="103" y="168"/>
                  <a:pt x="103" y="168"/>
                  <a:pt x="103" y="168"/>
                </a:cubicBezTo>
                <a:cubicBezTo>
                  <a:pt x="103" y="166"/>
                  <a:pt x="103" y="166"/>
                  <a:pt x="103" y="166"/>
                </a:cubicBezTo>
                <a:cubicBezTo>
                  <a:pt x="102" y="166"/>
                  <a:pt x="102" y="166"/>
                  <a:pt x="102" y="166"/>
                </a:cubicBezTo>
                <a:cubicBezTo>
                  <a:pt x="101" y="165"/>
                  <a:pt x="101" y="165"/>
                  <a:pt x="101" y="165"/>
                </a:cubicBezTo>
                <a:cubicBezTo>
                  <a:pt x="100" y="165"/>
                  <a:pt x="100" y="165"/>
                  <a:pt x="100" y="165"/>
                </a:cubicBezTo>
                <a:cubicBezTo>
                  <a:pt x="101" y="164"/>
                  <a:pt x="101" y="164"/>
                  <a:pt x="101" y="164"/>
                </a:cubicBezTo>
                <a:cubicBezTo>
                  <a:pt x="101" y="164"/>
                  <a:pt x="101" y="164"/>
                  <a:pt x="101" y="164"/>
                </a:cubicBezTo>
                <a:cubicBezTo>
                  <a:pt x="100" y="163"/>
                  <a:pt x="100" y="163"/>
                  <a:pt x="100" y="163"/>
                </a:cubicBezTo>
                <a:cubicBezTo>
                  <a:pt x="99" y="163"/>
                  <a:pt x="99" y="163"/>
                  <a:pt x="99" y="163"/>
                </a:cubicBezTo>
                <a:cubicBezTo>
                  <a:pt x="99" y="162"/>
                  <a:pt x="99" y="162"/>
                  <a:pt x="99" y="162"/>
                </a:cubicBezTo>
                <a:cubicBezTo>
                  <a:pt x="98" y="161"/>
                  <a:pt x="98" y="161"/>
                  <a:pt x="98" y="161"/>
                </a:cubicBezTo>
                <a:cubicBezTo>
                  <a:pt x="98" y="161"/>
                  <a:pt x="98" y="161"/>
                  <a:pt x="98" y="161"/>
                </a:cubicBezTo>
                <a:cubicBezTo>
                  <a:pt x="98" y="161"/>
                  <a:pt x="98" y="161"/>
                  <a:pt x="98" y="161"/>
                </a:cubicBezTo>
                <a:cubicBezTo>
                  <a:pt x="97" y="160"/>
                  <a:pt x="97" y="160"/>
                  <a:pt x="97" y="160"/>
                </a:cubicBezTo>
                <a:cubicBezTo>
                  <a:pt x="96" y="158"/>
                  <a:pt x="96" y="158"/>
                  <a:pt x="96" y="158"/>
                </a:cubicBezTo>
                <a:cubicBezTo>
                  <a:pt x="95" y="158"/>
                  <a:pt x="95" y="158"/>
                  <a:pt x="95" y="158"/>
                </a:cubicBezTo>
                <a:cubicBezTo>
                  <a:pt x="85" y="157"/>
                  <a:pt x="85" y="157"/>
                  <a:pt x="85" y="157"/>
                </a:cubicBezTo>
                <a:cubicBezTo>
                  <a:pt x="85" y="160"/>
                  <a:pt x="85" y="160"/>
                  <a:pt x="85" y="160"/>
                </a:cubicBezTo>
                <a:cubicBezTo>
                  <a:pt x="67" y="159"/>
                  <a:pt x="67" y="159"/>
                  <a:pt x="67" y="159"/>
                </a:cubicBezTo>
                <a:cubicBezTo>
                  <a:pt x="45" y="149"/>
                  <a:pt x="45" y="149"/>
                  <a:pt x="45" y="149"/>
                </a:cubicBezTo>
                <a:cubicBezTo>
                  <a:pt x="46" y="149"/>
                  <a:pt x="46" y="149"/>
                  <a:pt x="46" y="149"/>
                </a:cubicBezTo>
                <a:cubicBezTo>
                  <a:pt x="45" y="148"/>
                  <a:pt x="45" y="148"/>
                  <a:pt x="45" y="148"/>
                </a:cubicBezTo>
                <a:cubicBezTo>
                  <a:pt x="30" y="149"/>
                  <a:pt x="30" y="149"/>
                  <a:pt x="30" y="149"/>
                </a:cubicBezTo>
                <a:cubicBezTo>
                  <a:pt x="30" y="148"/>
                  <a:pt x="30" y="148"/>
                  <a:pt x="30" y="148"/>
                </a:cubicBezTo>
                <a:cubicBezTo>
                  <a:pt x="30" y="146"/>
                  <a:pt x="30" y="146"/>
                  <a:pt x="30" y="146"/>
                </a:cubicBezTo>
                <a:cubicBezTo>
                  <a:pt x="30" y="144"/>
                  <a:pt x="30" y="144"/>
                  <a:pt x="30" y="144"/>
                </a:cubicBezTo>
                <a:cubicBezTo>
                  <a:pt x="28" y="141"/>
                  <a:pt x="28" y="141"/>
                  <a:pt x="28" y="141"/>
                </a:cubicBezTo>
                <a:cubicBezTo>
                  <a:pt x="27" y="139"/>
                  <a:pt x="27" y="139"/>
                  <a:pt x="27" y="139"/>
                </a:cubicBezTo>
                <a:cubicBezTo>
                  <a:pt x="26" y="140"/>
                  <a:pt x="26" y="140"/>
                  <a:pt x="26" y="140"/>
                </a:cubicBezTo>
                <a:cubicBezTo>
                  <a:pt x="25" y="140"/>
                  <a:pt x="25" y="140"/>
                  <a:pt x="25" y="140"/>
                </a:cubicBezTo>
                <a:cubicBezTo>
                  <a:pt x="25" y="139"/>
                  <a:pt x="25" y="139"/>
                  <a:pt x="25" y="139"/>
                </a:cubicBezTo>
                <a:cubicBezTo>
                  <a:pt x="25" y="138"/>
                  <a:pt x="25" y="138"/>
                  <a:pt x="25" y="138"/>
                </a:cubicBezTo>
                <a:cubicBezTo>
                  <a:pt x="25" y="138"/>
                  <a:pt x="25" y="138"/>
                  <a:pt x="25" y="138"/>
                </a:cubicBezTo>
                <a:cubicBezTo>
                  <a:pt x="23" y="137"/>
                  <a:pt x="23" y="137"/>
                  <a:pt x="23" y="137"/>
                </a:cubicBezTo>
                <a:cubicBezTo>
                  <a:pt x="22" y="137"/>
                  <a:pt x="22" y="137"/>
                  <a:pt x="22" y="137"/>
                </a:cubicBezTo>
                <a:cubicBezTo>
                  <a:pt x="20" y="136"/>
                  <a:pt x="20" y="136"/>
                  <a:pt x="20" y="136"/>
                </a:cubicBezTo>
                <a:cubicBezTo>
                  <a:pt x="20" y="135"/>
                  <a:pt x="20" y="135"/>
                  <a:pt x="20" y="135"/>
                </a:cubicBezTo>
                <a:cubicBezTo>
                  <a:pt x="19" y="134"/>
                  <a:pt x="19" y="134"/>
                  <a:pt x="19" y="134"/>
                </a:cubicBezTo>
                <a:cubicBezTo>
                  <a:pt x="18" y="134"/>
                  <a:pt x="18" y="134"/>
                  <a:pt x="18" y="134"/>
                </a:cubicBezTo>
                <a:cubicBezTo>
                  <a:pt x="17" y="134"/>
                  <a:pt x="17" y="134"/>
                  <a:pt x="17" y="134"/>
                </a:cubicBezTo>
                <a:cubicBezTo>
                  <a:pt x="16" y="133"/>
                  <a:pt x="16" y="133"/>
                  <a:pt x="16" y="133"/>
                </a:cubicBezTo>
                <a:cubicBezTo>
                  <a:pt x="15" y="133"/>
                  <a:pt x="15" y="133"/>
                  <a:pt x="15" y="133"/>
                </a:cubicBezTo>
                <a:cubicBezTo>
                  <a:pt x="12" y="133"/>
                  <a:pt x="12" y="133"/>
                  <a:pt x="12" y="133"/>
                </a:cubicBezTo>
                <a:cubicBezTo>
                  <a:pt x="12" y="133"/>
                  <a:pt x="12" y="133"/>
                  <a:pt x="12" y="133"/>
                </a:cubicBezTo>
                <a:cubicBezTo>
                  <a:pt x="11" y="132"/>
                  <a:pt x="11" y="132"/>
                  <a:pt x="11" y="132"/>
                </a:cubicBezTo>
                <a:cubicBezTo>
                  <a:pt x="12" y="131"/>
                  <a:pt x="12" y="131"/>
                  <a:pt x="12" y="131"/>
                </a:cubicBezTo>
                <a:cubicBezTo>
                  <a:pt x="12" y="130"/>
                  <a:pt x="12" y="130"/>
                  <a:pt x="12" y="130"/>
                </a:cubicBezTo>
                <a:cubicBezTo>
                  <a:pt x="13" y="129"/>
                  <a:pt x="13" y="129"/>
                  <a:pt x="13" y="129"/>
                </a:cubicBezTo>
                <a:cubicBezTo>
                  <a:pt x="12" y="127"/>
                  <a:pt x="12" y="127"/>
                  <a:pt x="12" y="127"/>
                </a:cubicBezTo>
                <a:cubicBezTo>
                  <a:pt x="11" y="126"/>
                  <a:pt x="11" y="126"/>
                  <a:pt x="11" y="126"/>
                </a:cubicBezTo>
                <a:cubicBezTo>
                  <a:pt x="11" y="126"/>
                  <a:pt x="11" y="126"/>
                  <a:pt x="11" y="126"/>
                </a:cubicBezTo>
                <a:cubicBezTo>
                  <a:pt x="11" y="125"/>
                  <a:pt x="11" y="125"/>
                  <a:pt x="11" y="125"/>
                </a:cubicBezTo>
                <a:cubicBezTo>
                  <a:pt x="11" y="125"/>
                  <a:pt x="11" y="125"/>
                  <a:pt x="11" y="125"/>
                </a:cubicBezTo>
                <a:cubicBezTo>
                  <a:pt x="10" y="124"/>
                  <a:pt x="10" y="124"/>
                  <a:pt x="10" y="124"/>
                </a:cubicBezTo>
                <a:cubicBezTo>
                  <a:pt x="8" y="121"/>
                  <a:pt x="8" y="121"/>
                  <a:pt x="8" y="121"/>
                </a:cubicBezTo>
                <a:cubicBezTo>
                  <a:pt x="8" y="119"/>
                  <a:pt x="8" y="119"/>
                  <a:pt x="8" y="119"/>
                </a:cubicBezTo>
                <a:cubicBezTo>
                  <a:pt x="7" y="118"/>
                  <a:pt x="7" y="118"/>
                  <a:pt x="7" y="118"/>
                </a:cubicBezTo>
                <a:cubicBezTo>
                  <a:pt x="7" y="117"/>
                  <a:pt x="7" y="117"/>
                  <a:pt x="7" y="117"/>
                </a:cubicBezTo>
                <a:cubicBezTo>
                  <a:pt x="7" y="116"/>
                  <a:pt x="7" y="116"/>
                  <a:pt x="7" y="116"/>
                </a:cubicBezTo>
                <a:cubicBezTo>
                  <a:pt x="7" y="115"/>
                  <a:pt x="7" y="115"/>
                  <a:pt x="7" y="115"/>
                </a:cubicBezTo>
                <a:cubicBezTo>
                  <a:pt x="7" y="114"/>
                  <a:pt x="7" y="114"/>
                  <a:pt x="7" y="114"/>
                </a:cubicBezTo>
                <a:cubicBezTo>
                  <a:pt x="7" y="114"/>
                  <a:pt x="7" y="114"/>
                  <a:pt x="7" y="114"/>
                </a:cubicBezTo>
                <a:cubicBezTo>
                  <a:pt x="8" y="113"/>
                  <a:pt x="8" y="113"/>
                  <a:pt x="8" y="113"/>
                </a:cubicBezTo>
                <a:cubicBezTo>
                  <a:pt x="8" y="112"/>
                  <a:pt x="8" y="112"/>
                  <a:pt x="8" y="112"/>
                </a:cubicBezTo>
                <a:cubicBezTo>
                  <a:pt x="7" y="112"/>
                  <a:pt x="7" y="112"/>
                  <a:pt x="7" y="112"/>
                </a:cubicBezTo>
                <a:cubicBezTo>
                  <a:pt x="7" y="111"/>
                  <a:pt x="7" y="111"/>
                  <a:pt x="7" y="111"/>
                </a:cubicBezTo>
                <a:cubicBezTo>
                  <a:pt x="6" y="110"/>
                  <a:pt x="6" y="110"/>
                  <a:pt x="6" y="110"/>
                </a:cubicBezTo>
                <a:cubicBezTo>
                  <a:pt x="6" y="109"/>
                  <a:pt x="6" y="109"/>
                  <a:pt x="6" y="109"/>
                </a:cubicBezTo>
                <a:cubicBezTo>
                  <a:pt x="6" y="108"/>
                  <a:pt x="6" y="108"/>
                  <a:pt x="6" y="108"/>
                </a:cubicBezTo>
                <a:cubicBezTo>
                  <a:pt x="6" y="107"/>
                  <a:pt x="6" y="107"/>
                  <a:pt x="6" y="107"/>
                </a:cubicBezTo>
                <a:cubicBezTo>
                  <a:pt x="6" y="107"/>
                  <a:pt x="6" y="107"/>
                  <a:pt x="6" y="107"/>
                </a:cubicBezTo>
                <a:cubicBezTo>
                  <a:pt x="6" y="106"/>
                  <a:pt x="6" y="106"/>
                  <a:pt x="6" y="106"/>
                </a:cubicBezTo>
                <a:cubicBezTo>
                  <a:pt x="6" y="105"/>
                  <a:pt x="6" y="105"/>
                  <a:pt x="6" y="105"/>
                </a:cubicBezTo>
                <a:cubicBezTo>
                  <a:pt x="7" y="105"/>
                  <a:pt x="7" y="105"/>
                  <a:pt x="7" y="105"/>
                </a:cubicBezTo>
                <a:cubicBezTo>
                  <a:pt x="7" y="105"/>
                  <a:pt x="7" y="105"/>
                  <a:pt x="7" y="105"/>
                </a:cubicBezTo>
                <a:cubicBezTo>
                  <a:pt x="8" y="106"/>
                  <a:pt x="8" y="106"/>
                  <a:pt x="8" y="106"/>
                </a:cubicBezTo>
                <a:cubicBezTo>
                  <a:pt x="9" y="107"/>
                  <a:pt x="9" y="107"/>
                  <a:pt x="9" y="107"/>
                </a:cubicBezTo>
                <a:cubicBezTo>
                  <a:pt x="8" y="106"/>
                  <a:pt x="8" y="106"/>
                  <a:pt x="8" y="106"/>
                </a:cubicBezTo>
                <a:cubicBezTo>
                  <a:pt x="8" y="105"/>
                  <a:pt x="8" y="105"/>
                  <a:pt x="8" y="105"/>
                </a:cubicBezTo>
                <a:cubicBezTo>
                  <a:pt x="8" y="104"/>
                  <a:pt x="8" y="104"/>
                  <a:pt x="8" y="104"/>
                </a:cubicBezTo>
                <a:cubicBezTo>
                  <a:pt x="7" y="103"/>
                  <a:pt x="7" y="103"/>
                  <a:pt x="7" y="103"/>
                </a:cubicBezTo>
                <a:cubicBezTo>
                  <a:pt x="7" y="102"/>
                  <a:pt x="7" y="102"/>
                  <a:pt x="7" y="102"/>
                </a:cubicBezTo>
                <a:cubicBezTo>
                  <a:pt x="8" y="102"/>
                  <a:pt x="8" y="102"/>
                  <a:pt x="8" y="102"/>
                </a:cubicBezTo>
                <a:cubicBezTo>
                  <a:pt x="8" y="103"/>
                  <a:pt x="8" y="103"/>
                  <a:pt x="8" y="103"/>
                </a:cubicBezTo>
                <a:cubicBezTo>
                  <a:pt x="9" y="103"/>
                  <a:pt x="9" y="103"/>
                  <a:pt x="9" y="103"/>
                </a:cubicBezTo>
                <a:cubicBezTo>
                  <a:pt x="11" y="102"/>
                  <a:pt x="11" y="102"/>
                  <a:pt x="11" y="102"/>
                </a:cubicBezTo>
                <a:cubicBezTo>
                  <a:pt x="9" y="102"/>
                  <a:pt x="9" y="102"/>
                  <a:pt x="9" y="102"/>
                </a:cubicBezTo>
                <a:cubicBezTo>
                  <a:pt x="9" y="102"/>
                  <a:pt x="9" y="102"/>
                  <a:pt x="9" y="102"/>
                </a:cubicBezTo>
                <a:cubicBezTo>
                  <a:pt x="8" y="102"/>
                  <a:pt x="8" y="102"/>
                  <a:pt x="8" y="102"/>
                </a:cubicBezTo>
                <a:cubicBezTo>
                  <a:pt x="8" y="101"/>
                  <a:pt x="8" y="101"/>
                  <a:pt x="8" y="101"/>
                </a:cubicBezTo>
                <a:cubicBezTo>
                  <a:pt x="7" y="101"/>
                  <a:pt x="7" y="101"/>
                  <a:pt x="7" y="101"/>
                </a:cubicBezTo>
                <a:cubicBezTo>
                  <a:pt x="6" y="101"/>
                  <a:pt x="6" y="101"/>
                  <a:pt x="6" y="101"/>
                </a:cubicBezTo>
                <a:cubicBezTo>
                  <a:pt x="6" y="102"/>
                  <a:pt x="6" y="102"/>
                  <a:pt x="6" y="102"/>
                </a:cubicBezTo>
                <a:cubicBezTo>
                  <a:pt x="6" y="104"/>
                  <a:pt x="6" y="104"/>
                  <a:pt x="6" y="104"/>
                </a:cubicBezTo>
                <a:cubicBezTo>
                  <a:pt x="6" y="103"/>
                  <a:pt x="6" y="103"/>
                  <a:pt x="6" y="103"/>
                </a:cubicBezTo>
                <a:cubicBezTo>
                  <a:pt x="6" y="103"/>
                  <a:pt x="6" y="103"/>
                  <a:pt x="6" y="103"/>
                </a:cubicBezTo>
                <a:cubicBezTo>
                  <a:pt x="5" y="103"/>
                  <a:pt x="5" y="103"/>
                  <a:pt x="5" y="103"/>
                </a:cubicBezTo>
                <a:cubicBezTo>
                  <a:pt x="4" y="102"/>
                  <a:pt x="4" y="102"/>
                  <a:pt x="4" y="102"/>
                </a:cubicBezTo>
                <a:cubicBezTo>
                  <a:pt x="4" y="101"/>
                  <a:pt x="4" y="101"/>
                  <a:pt x="4" y="101"/>
                </a:cubicBezTo>
                <a:cubicBezTo>
                  <a:pt x="4" y="100"/>
                  <a:pt x="4" y="100"/>
                  <a:pt x="4" y="100"/>
                </a:cubicBezTo>
                <a:cubicBezTo>
                  <a:pt x="4" y="99"/>
                  <a:pt x="4" y="99"/>
                  <a:pt x="4" y="99"/>
                </a:cubicBezTo>
                <a:cubicBezTo>
                  <a:pt x="1" y="95"/>
                  <a:pt x="1" y="95"/>
                  <a:pt x="1" y="95"/>
                </a:cubicBezTo>
                <a:cubicBezTo>
                  <a:pt x="1" y="94"/>
                  <a:pt x="1" y="94"/>
                  <a:pt x="1" y="94"/>
                </a:cubicBezTo>
                <a:cubicBezTo>
                  <a:pt x="1" y="93"/>
                  <a:pt x="1" y="93"/>
                  <a:pt x="1" y="93"/>
                </a:cubicBezTo>
                <a:cubicBezTo>
                  <a:pt x="2" y="92"/>
                  <a:pt x="2" y="92"/>
                  <a:pt x="2" y="92"/>
                </a:cubicBezTo>
                <a:cubicBezTo>
                  <a:pt x="1" y="91"/>
                  <a:pt x="1" y="91"/>
                  <a:pt x="1" y="91"/>
                </a:cubicBezTo>
                <a:cubicBezTo>
                  <a:pt x="1" y="90"/>
                  <a:pt x="1" y="90"/>
                  <a:pt x="1" y="90"/>
                </a:cubicBezTo>
                <a:cubicBezTo>
                  <a:pt x="1" y="89"/>
                  <a:pt x="1" y="89"/>
                  <a:pt x="1" y="89"/>
                </a:cubicBezTo>
                <a:cubicBezTo>
                  <a:pt x="2" y="88"/>
                  <a:pt x="2" y="88"/>
                  <a:pt x="2" y="88"/>
                </a:cubicBezTo>
                <a:cubicBezTo>
                  <a:pt x="2" y="87"/>
                  <a:pt x="2" y="87"/>
                  <a:pt x="2" y="87"/>
                </a:cubicBezTo>
                <a:cubicBezTo>
                  <a:pt x="2" y="84"/>
                  <a:pt x="2" y="84"/>
                  <a:pt x="2" y="84"/>
                </a:cubicBezTo>
                <a:cubicBezTo>
                  <a:pt x="1" y="82"/>
                  <a:pt x="1" y="82"/>
                  <a:pt x="1" y="82"/>
                </a:cubicBezTo>
                <a:cubicBezTo>
                  <a:pt x="0" y="80"/>
                  <a:pt x="0" y="80"/>
                  <a:pt x="0" y="80"/>
                </a:cubicBezTo>
                <a:cubicBezTo>
                  <a:pt x="0" y="79"/>
                  <a:pt x="0" y="79"/>
                  <a:pt x="0" y="79"/>
                </a:cubicBezTo>
                <a:cubicBezTo>
                  <a:pt x="0" y="77"/>
                  <a:pt x="0" y="77"/>
                  <a:pt x="0" y="77"/>
                </a:cubicBezTo>
                <a:cubicBezTo>
                  <a:pt x="2" y="76"/>
                  <a:pt x="2" y="76"/>
                  <a:pt x="2" y="76"/>
                </a:cubicBezTo>
                <a:cubicBezTo>
                  <a:pt x="3" y="74"/>
                  <a:pt x="3" y="74"/>
                  <a:pt x="3" y="74"/>
                </a:cubicBezTo>
                <a:cubicBezTo>
                  <a:pt x="2" y="74"/>
                  <a:pt x="2" y="74"/>
                  <a:pt x="2" y="74"/>
                </a:cubicBezTo>
                <a:cubicBezTo>
                  <a:pt x="2" y="73"/>
                  <a:pt x="2" y="73"/>
                  <a:pt x="2" y="73"/>
                </a:cubicBezTo>
                <a:cubicBezTo>
                  <a:pt x="3" y="73"/>
                  <a:pt x="3" y="73"/>
                  <a:pt x="3" y="73"/>
                </a:cubicBezTo>
                <a:cubicBezTo>
                  <a:pt x="4" y="71"/>
                  <a:pt x="4" y="71"/>
                  <a:pt x="4" y="71"/>
                </a:cubicBezTo>
                <a:cubicBezTo>
                  <a:pt x="4" y="69"/>
                  <a:pt x="4" y="69"/>
                  <a:pt x="4" y="69"/>
                </a:cubicBezTo>
                <a:cubicBezTo>
                  <a:pt x="3" y="67"/>
                  <a:pt x="3" y="67"/>
                  <a:pt x="3" y="67"/>
                </a:cubicBezTo>
                <a:cubicBezTo>
                  <a:pt x="4" y="66"/>
                  <a:pt x="4" y="66"/>
                  <a:pt x="4" y="66"/>
                </a:cubicBezTo>
                <a:cubicBezTo>
                  <a:pt x="4" y="65"/>
                  <a:pt x="4" y="65"/>
                  <a:pt x="4" y="65"/>
                </a:cubicBezTo>
                <a:cubicBezTo>
                  <a:pt x="3" y="64"/>
                  <a:pt x="3" y="64"/>
                  <a:pt x="3" y="64"/>
                </a:cubicBezTo>
                <a:cubicBezTo>
                  <a:pt x="3" y="63"/>
                  <a:pt x="3" y="63"/>
                  <a:pt x="3" y="63"/>
                </a:cubicBezTo>
                <a:cubicBezTo>
                  <a:pt x="4" y="60"/>
                  <a:pt x="4" y="60"/>
                  <a:pt x="4" y="60"/>
                </a:cubicBezTo>
                <a:cubicBezTo>
                  <a:pt x="4" y="58"/>
                  <a:pt x="4" y="58"/>
                  <a:pt x="4" y="58"/>
                </a:cubicBezTo>
                <a:cubicBezTo>
                  <a:pt x="4" y="57"/>
                  <a:pt x="4" y="57"/>
                  <a:pt x="4" y="57"/>
                </a:cubicBezTo>
                <a:cubicBezTo>
                  <a:pt x="6" y="55"/>
                  <a:pt x="6" y="55"/>
                  <a:pt x="6" y="55"/>
                </a:cubicBezTo>
                <a:cubicBezTo>
                  <a:pt x="6" y="53"/>
                  <a:pt x="6" y="53"/>
                  <a:pt x="6" y="53"/>
                </a:cubicBezTo>
                <a:cubicBezTo>
                  <a:pt x="7" y="53"/>
                  <a:pt x="7" y="53"/>
                  <a:pt x="7" y="53"/>
                </a:cubicBezTo>
                <a:cubicBezTo>
                  <a:pt x="8" y="51"/>
                  <a:pt x="8" y="51"/>
                  <a:pt x="8" y="51"/>
                </a:cubicBezTo>
                <a:cubicBezTo>
                  <a:pt x="9" y="49"/>
                  <a:pt x="9" y="49"/>
                  <a:pt x="9" y="49"/>
                </a:cubicBezTo>
                <a:cubicBezTo>
                  <a:pt x="10" y="48"/>
                  <a:pt x="10" y="48"/>
                  <a:pt x="10" y="48"/>
                </a:cubicBezTo>
                <a:cubicBezTo>
                  <a:pt x="10" y="44"/>
                  <a:pt x="10" y="44"/>
                  <a:pt x="10" y="44"/>
                </a:cubicBezTo>
                <a:cubicBezTo>
                  <a:pt x="12" y="41"/>
                  <a:pt x="12" y="41"/>
                  <a:pt x="12" y="41"/>
                </a:cubicBezTo>
                <a:cubicBezTo>
                  <a:pt x="12" y="38"/>
                  <a:pt x="12" y="38"/>
                  <a:pt x="12" y="38"/>
                </a:cubicBezTo>
                <a:cubicBezTo>
                  <a:pt x="14" y="35"/>
                  <a:pt x="14" y="35"/>
                  <a:pt x="14" y="35"/>
                </a:cubicBezTo>
                <a:cubicBezTo>
                  <a:pt x="14" y="33"/>
                  <a:pt x="14" y="33"/>
                  <a:pt x="14" y="33"/>
                </a:cubicBezTo>
                <a:cubicBezTo>
                  <a:pt x="15" y="32"/>
                  <a:pt x="15" y="32"/>
                  <a:pt x="15" y="32"/>
                </a:cubicBezTo>
                <a:cubicBezTo>
                  <a:pt x="15" y="31"/>
                  <a:pt x="15" y="31"/>
                  <a:pt x="15" y="31"/>
                </a:cubicBezTo>
                <a:cubicBezTo>
                  <a:pt x="15" y="30"/>
                  <a:pt x="15" y="30"/>
                  <a:pt x="15" y="30"/>
                </a:cubicBezTo>
                <a:cubicBezTo>
                  <a:pt x="16" y="28"/>
                  <a:pt x="16" y="28"/>
                  <a:pt x="16" y="28"/>
                </a:cubicBezTo>
                <a:cubicBezTo>
                  <a:pt x="16" y="27"/>
                  <a:pt x="16" y="27"/>
                  <a:pt x="16" y="27"/>
                </a:cubicBezTo>
                <a:cubicBezTo>
                  <a:pt x="17" y="27"/>
                  <a:pt x="17" y="27"/>
                  <a:pt x="17" y="27"/>
                </a:cubicBezTo>
                <a:cubicBezTo>
                  <a:pt x="17" y="27"/>
                  <a:pt x="17" y="27"/>
                  <a:pt x="17" y="27"/>
                </a:cubicBezTo>
                <a:cubicBezTo>
                  <a:pt x="19" y="27"/>
                  <a:pt x="19" y="27"/>
                  <a:pt x="19" y="27"/>
                </a:cubicBezTo>
                <a:cubicBezTo>
                  <a:pt x="20" y="28"/>
                  <a:pt x="20" y="28"/>
                  <a:pt x="20" y="28"/>
                </a:cubicBezTo>
                <a:cubicBezTo>
                  <a:pt x="21" y="28"/>
                  <a:pt x="21" y="28"/>
                  <a:pt x="21" y="28"/>
                </a:cubicBezTo>
                <a:cubicBezTo>
                  <a:pt x="22" y="29"/>
                  <a:pt x="22" y="29"/>
                  <a:pt x="22" y="29"/>
                </a:cubicBezTo>
                <a:cubicBezTo>
                  <a:pt x="23" y="30"/>
                  <a:pt x="23" y="30"/>
                  <a:pt x="23" y="30"/>
                </a:cubicBezTo>
                <a:cubicBezTo>
                  <a:pt x="23" y="28"/>
                  <a:pt x="23" y="28"/>
                  <a:pt x="23" y="28"/>
                </a:cubicBezTo>
                <a:cubicBezTo>
                  <a:pt x="22" y="28"/>
                  <a:pt x="22" y="28"/>
                  <a:pt x="22" y="28"/>
                </a:cubicBezTo>
                <a:cubicBezTo>
                  <a:pt x="21" y="27"/>
                  <a:pt x="21" y="27"/>
                  <a:pt x="21" y="27"/>
                </a:cubicBezTo>
                <a:cubicBezTo>
                  <a:pt x="20" y="26"/>
                  <a:pt x="20" y="26"/>
                  <a:pt x="20" y="26"/>
                </a:cubicBezTo>
                <a:cubicBezTo>
                  <a:pt x="18" y="26"/>
                  <a:pt x="18" y="26"/>
                  <a:pt x="18" y="26"/>
                </a:cubicBezTo>
                <a:cubicBezTo>
                  <a:pt x="16" y="26"/>
                  <a:pt x="16" y="26"/>
                  <a:pt x="16" y="26"/>
                </a:cubicBezTo>
                <a:cubicBezTo>
                  <a:pt x="16" y="25"/>
                  <a:pt x="16" y="25"/>
                  <a:pt x="16" y="25"/>
                </a:cubicBezTo>
                <a:cubicBezTo>
                  <a:pt x="17" y="25"/>
                  <a:pt x="17" y="25"/>
                  <a:pt x="17" y="25"/>
                </a:cubicBezTo>
                <a:cubicBezTo>
                  <a:pt x="17" y="25"/>
                  <a:pt x="17" y="25"/>
                  <a:pt x="17" y="25"/>
                </a:cubicBezTo>
                <a:cubicBezTo>
                  <a:pt x="18" y="24"/>
                  <a:pt x="18" y="24"/>
                  <a:pt x="18" y="24"/>
                </a:cubicBezTo>
                <a:cubicBezTo>
                  <a:pt x="18" y="23"/>
                  <a:pt x="18" y="23"/>
                  <a:pt x="18" y="23"/>
                </a:cubicBezTo>
                <a:cubicBezTo>
                  <a:pt x="18" y="22"/>
                  <a:pt x="18" y="22"/>
                  <a:pt x="18" y="22"/>
                </a:cubicBezTo>
                <a:cubicBezTo>
                  <a:pt x="17" y="21"/>
                  <a:pt x="17" y="21"/>
                  <a:pt x="17" y="21"/>
                </a:cubicBezTo>
                <a:cubicBezTo>
                  <a:pt x="17" y="21"/>
                  <a:pt x="17" y="21"/>
                  <a:pt x="17" y="21"/>
                </a:cubicBezTo>
                <a:cubicBezTo>
                  <a:pt x="17" y="20"/>
                  <a:pt x="17" y="20"/>
                  <a:pt x="17" y="20"/>
                </a:cubicBezTo>
                <a:cubicBezTo>
                  <a:pt x="18" y="20"/>
                  <a:pt x="18" y="20"/>
                  <a:pt x="18" y="20"/>
                </a:cubicBezTo>
                <a:cubicBezTo>
                  <a:pt x="18" y="19"/>
                  <a:pt x="18" y="19"/>
                  <a:pt x="18" y="19"/>
                </a:cubicBezTo>
                <a:cubicBezTo>
                  <a:pt x="18" y="19"/>
                  <a:pt x="18" y="19"/>
                  <a:pt x="18" y="19"/>
                </a:cubicBezTo>
                <a:cubicBezTo>
                  <a:pt x="17" y="19"/>
                  <a:pt x="17" y="19"/>
                  <a:pt x="17" y="19"/>
                </a:cubicBezTo>
                <a:cubicBezTo>
                  <a:pt x="17" y="18"/>
                  <a:pt x="17" y="18"/>
                  <a:pt x="17" y="18"/>
                </a:cubicBezTo>
                <a:cubicBezTo>
                  <a:pt x="17" y="16"/>
                  <a:pt x="17" y="16"/>
                  <a:pt x="17" y="16"/>
                </a:cubicBezTo>
                <a:cubicBezTo>
                  <a:pt x="17" y="15"/>
                  <a:pt x="17" y="15"/>
                  <a:pt x="17" y="15"/>
                </a:cubicBezTo>
                <a:cubicBezTo>
                  <a:pt x="18" y="11"/>
                  <a:pt x="18" y="11"/>
                  <a:pt x="18" y="11"/>
                </a:cubicBezTo>
                <a:cubicBezTo>
                  <a:pt x="17" y="9"/>
                  <a:pt x="17" y="9"/>
                  <a:pt x="17" y="9"/>
                </a:cubicBezTo>
                <a:cubicBezTo>
                  <a:pt x="17" y="8"/>
                  <a:pt x="17" y="8"/>
                  <a:pt x="17" y="8"/>
                </a:cubicBezTo>
                <a:cubicBezTo>
                  <a:pt x="18" y="6"/>
                  <a:pt x="18" y="6"/>
                  <a:pt x="18" y="6"/>
                </a:cubicBezTo>
                <a:cubicBezTo>
                  <a:pt x="18" y="4"/>
                  <a:pt x="18" y="4"/>
                  <a:pt x="18" y="4"/>
                </a:cubicBezTo>
                <a:cubicBezTo>
                  <a:pt x="19" y="4"/>
                  <a:pt x="19" y="4"/>
                  <a:pt x="19" y="4"/>
                </a:cubicBezTo>
                <a:cubicBezTo>
                  <a:pt x="21" y="7"/>
                  <a:pt x="21" y="7"/>
                  <a:pt x="21" y="7"/>
                </a:cubicBezTo>
                <a:cubicBezTo>
                  <a:pt x="23" y="8"/>
                  <a:pt x="23" y="8"/>
                  <a:pt x="23" y="8"/>
                </a:cubicBezTo>
                <a:cubicBezTo>
                  <a:pt x="26" y="8"/>
                  <a:pt x="26" y="8"/>
                  <a:pt x="26" y="8"/>
                </a:cubicBezTo>
                <a:cubicBezTo>
                  <a:pt x="27" y="8"/>
                  <a:pt x="27" y="8"/>
                  <a:pt x="27" y="8"/>
                </a:cubicBezTo>
                <a:cubicBezTo>
                  <a:pt x="27" y="9"/>
                  <a:pt x="27" y="9"/>
                  <a:pt x="27" y="9"/>
                </a:cubicBezTo>
                <a:cubicBezTo>
                  <a:pt x="28" y="9"/>
                  <a:pt x="28" y="9"/>
                  <a:pt x="28" y="9"/>
                </a:cubicBezTo>
                <a:cubicBezTo>
                  <a:pt x="29" y="9"/>
                  <a:pt x="29" y="9"/>
                  <a:pt x="29" y="9"/>
                </a:cubicBezTo>
                <a:cubicBezTo>
                  <a:pt x="29" y="10"/>
                  <a:pt x="29" y="10"/>
                  <a:pt x="29" y="10"/>
                </a:cubicBezTo>
                <a:cubicBezTo>
                  <a:pt x="29" y="11"/>
                  <a:pt x="29" y="11"/>
                  <a:pt x="29" y="11"/>
                </a:cubicBezTo>
                <a:cubicBezTo>
                  <a:pt x="27" y="11"/>
                  <a:pt x="27" y="11"/>
                  <a:pt x="27" y="11"/>
                </a:cubicBezTo>
                <a:cubicBezTo>
                  <a:pt x="26" y="12"/>
                  <a:pt x="26" y="12"/>
                  <a:pt x="26" y="12"/>
                </a:cubicBezTo>
                <a:cubicBezTo>
                  <a:pt x="26" y="13"/>
                  <a:pt x="26" y="13"/>
                  <a:pt x="26" y="13"/>
                </a:cubicBezTo>
                <a:cubicBezTo>
                  <a:pt x="27" y="13"/>
                  <a:pt x="27" y="13"/>
                  <a:pt x="27" y="13"/>
                </a:cubicBezTo>
                <a:cubicBezTo>
                  <a:pt x="28" y="12"/>
                  <a:pt x="28" y="12"/>
                  <a:pt x="28" y="12"/>
                </a:cubicBezTo>
                <a:cubicBezTo>
                  <a:pt x="29" y="11"/>
                  <a:pt x="29" y="11"/>
                  <a:pt x="29" y="11"/>
                </a:cubicBezTo>
                <a:cubicBezTo>
                  <a:pt x="29" y="11"/>
                  <a:pt x="29" y="11"/>
                  <a:pt x="29" y="11"/>
                </a:cubicBezTo>
                <a:cubicBezTo>
                  <a:pt x="30" y="12"/>
                  <a:pt x="30" y="12"/>
                  <a:pt x="30" y="12"/>
                </a:cubicBezTo>
                <a:cubicBezTo>
                  <a:pt x="29" y="13"/>
                  <a:pt x="29" y="13"/>
                  <a:pt x="29" y="13"/>
                </a:cubicBezTo>
                <a:cubicBezTo>
                  <a:pt x="28" y="14"/>
                  <a:pt x="28" y="14"/>
                  <a:pt x="28" y="14"/>
                </a:cubicBezTo>
                <a:cubicBezTo>
                  <a:pt x="28" y="16"/>
                  <a:pt x="28" y="16"/>
                  <a:pt x="28" y="16"/>
                </a:cubicBezTo>
                <a:cubicBezTo>
                  <a:pt x="27" y="16"/>
                  <a:pt x="27" y="16"/>
                  <a:pt x="27" y="16"/>
                </a:cubicBezTo>
                <a:cubicBezTo>
                  <a:pt x="27" y="15"/>
                  <a:pt x="27" y="15"/>
                  <a:pt x="27" y="15"/>
                </a:cubicBezTo>
                <a:cubicBezTo>
                  <a:pt x="26" y="16"/>
                  <a:pt x="26" y="16"/>
                  <a:pt x="26" y="16"/>
                </a:cubicBezTo>
                <a:cubicBezTo>
                  <a:pt x="26" y="16"/>
                  <a:pt x="26" y="16"/>
                  <a:pt x="26" y="16"/>
                </a:cubicBezTo>
                <a:cubicBezTo>
                  <a:pt x="25" y="17"/>
                  <a:pt x="25" y="17"/>
                  <a:pt x="25" y="17"/>
                </a:cubicBezTo>
                <a:cubicBezTo>
                  <a:pt x="26" y="17"/>
                  <a:pt x="26" y="17"/>
                  <a:pt x="26" y="17"/>
                </a:cubicBezTo>
                <a:cubicBezTo>
                  <a:pt x="27" y="18"/>
                  <a:pt x="27" y="18"/>
                  <a:pt x="27" y="18"/>
                </a:cubicBezTo>
                <a:cubicBezTo>
                  <a:pt x="28" y="17"/>
                  <a:pt x="28" y="17"/>
                  <a:pt x="28" y="17"/>
                </a:cubicBezTo>
                <a:cubicBezTo>
                  <a:pt x="28" y="16"/>
                  <a:pt x="28" y="16"/>
                  <a:pt x="28" y="16"/>
                </a:cubicBezTo>
                <a:cubicBezTo>
                  <a:pt x="29" y="15"/>
                  <a:pt x="29" y="15"/>
                  <a:pt x="29" y="15"/>
                </a:cubicBezTo>
                <a:cubicBezTo>
                  <a:pt x="29" y="14"/>
                  <a:pt x="29" y="14"/>
                  <a:pt x="29" y="14"/>
                </a:cubicBezTo>
                <a:cubicBezTo>
                  <a:pt x="30" y="13"/>
                  <a:pt x="30" y="13"/>
                  <a:pt x="30" y="13"/>
                </a:cubicBezTo>
                <a:cubicBezTo>
                  <a:pt x="30" y="12"/>
                  <a:pt x="30" y="12"/>
                  <a:pt x="30" y="12"/>
                </a:cubicBezTo>
                <a:cubicBezTo>
                  <a:pt x="31" y="11"/>
                  <a:pt x="31" y="11"/>
                  <a:pt x="31" y="11"/>
                </a:cubicBezTo>
                <a:cubicBezTo>
                  <a:pt x="32" y="10"/>
                  <a:pt x="32" y="10"/>
                  <a:pt x="32" y="10"/>
                </a:cubicBezTo>
                <a:cubicBezTo>
                  <a:pt x="32" y="9"/>
                  <a:pt x="32" y="9"/>
                  <a:pt x="32" y="9"/>
                </a:cubicBezTo>
                <a:cubicBezTo>
                  <a:pt x="32" y="8"/>
                  <a:pt x="32" y="8"/>
                  <a:pt x="32" y="8"/>
                </a:cubicBezTo>
                <a:cubicBezTo>
                  <a:pt x="31" y="8"/>
                  <a:pt x="31" y="8"/>
                  <a:pt x="31" y="8"/>
                </a:cubicBezTo>
                <a:cubicBezTo>
                  <a:pt x="32" y="7"/>
                  <a:pt x="32" y="7"/>
                  <a:pt x="32" y="7"/>
                </a:cubicBezTo>
                <a:cubicBezTo>
                  <a:pt x="32" y="6"/>
                  <a:pt x="32" y="6"/>
                  <a:pt x="32" y="6"/>
                </a:cubicBezTo>
                <a:cubicBezTo>
                  <a:pt x="32" y="6"/>
                  <a:pt x="32" y="6"/>
                  <a:pt x="32" y="6"/>
                </a:cubicBezTo>
                <a:cubicBezTo>
                  <a:pt x="31" y="4"/>
                  <a:pt x="31" y="4"/>
                  <a:pt x="31" y="4"/>
                </a:cubicBezTo>
                <a:cubicBezTo>
                  <a:pt x="32" y="4"/>
                  <a:pt x="32" y="4"/>
                  <a:pt x="32" y="4"/>
                </a:cubicBezTo>
                <a:cubicBezTo>
                  <a:pt x="33" y="3"/>
                  <a:pt x="33" y="3"/>
                  <a:pt x="33" y="3"/>
                </a:cubicBezTo>
                <a:cubicBezTo>
                  <a:pt x="31" y="2"/>
                  <a:pt x="31" y="2"/>
                  <a:pt x="31" y="2"/>
                </a:cubicBezTo>
                <a:cubicBezTo>
                  <a:pt x="31" y="0"/>
                  <a:pt x="31" y="0"/>
                  <a:pt x="31" y="0"/>
                </a:cubicBezTo>
                <a:close/>
                <a:moveTo>
                  <a:pt x="326" y="89"/>
                </a:moveTo>
                <a:cubicBezTo>
                  <a:pt x="326" y="89"/>
                  <a:pt x="326" y="89"/>
                  <a:pt x="326" y="89"/>
                </a:cubicBezTo>
                <a:cubicBezTo>
                  <a:pt x="327" y="89"/>
                  <a:pt x="327" y="89"/>
                  <a:pt x="327" y="89"/>
                </a:cubicBezTo>
                <a:cubicBezTo>
                  <a:pt x="327" y="89"/>
                  <a:pt x="327" y="89"/>
                  <a:pt x="327" y="89"/>
                </a:cubicBezTo>
                <a:cubicBezTo>
                  <a:pt x="328" y="89"/>
                  <a:pt x="328" y="89"/>
                  <a:pt x="328" y="89"/>
                </a:cubicBezTo>
                <a:cubicBezTo>
                  <a:pt x="328" y="88"/>
                  <a:pt x="328" y="88"/>
                  <a:pt x="328" y="88"/>
                </a:cubicBezTo>
                <a:cubicBezTo>
                  <a:pt x="327" y="88"/>
                  <a:pt x="327" y="88"/>
                  <a:pt x="327" y="88"/>
                </a:cubicBezTo>
                <a:cubicBezTo>
                  <a:pt x="326" y="88"/>
                  <a:pt x="326" y="88"/>
                  <a:pt x="326" y="88"/>
                </a:cubicBezTo>
                <a:cubicBezTo>
                  <a:pt x="326" y="89"/>
                  <a:pt x="326" y="89"/>
                  <a:pt x="326" y="89"/>
                </a:cubicBezTo>
                <a:close/>
                <a:moveTo>
                  <a:pt x="307" y="94"/>
                </a:moveTo>
                <a:cubicBezTo>
                  <a:pt x="306" y="94"/>
                  <a:pt x="306" y="94"/>
                  <a:pt x="306" y="94"/>
                </a:cubicBezTo>
                <a:cubicBezTo>
                  <a:pt x="307" y="94"/>
                  <a:pt x="307" y="94"/>
                  <a:pt x="307" y="94"/>
                </a:cubicBezTo>
                <a:cubicBezTo>
                  <a:pt x="308" y="94"/>
                  <a:pt x="308" y="94"/>
                  <a:pt x="308" y="94"/>
                </a:cubicBezTo>
                <a:cubicBezTo>
                  <a:pt x="309" y="94"/>
                  <a:pt x="309" y="94"/>
                  <a:pt x="309" y="94"/>
                </a:cubicBezTo>
                <a:cubicBezTo>
                  <a:pt x="310" y="93"/>
                  <a:pt x="310" y="93"/>
                  <a:pt x="310" y="93"/>
                </a:cubicBezTo>
                <a:cubicBezTo>
                  <a:pt x="312" y="93"/>
                  <a:pt x="312" y="93"/>
                  <a:pt x="312" y="93"/>
                </a:cubicBezTo>
                <a:cubicBezTo>
                  <a:pt x="313" y="93"/>
                  <a:pt x="313" y="93"/>
                  <a:pt x="313" y="93"/>
                </a:cubicBezTo>
                <a:cubicBezTo>
                  <a:pt x="315" y="93"/>
                  <a:pt x="315" y="93"/>
                  <a:pt x="315" y="93"/>
                </a:cubicBezTo>
                <a:cubicBezTo>
                  <a:pt x="316" y="92"/>
                  <a:pt x="316" y="92"/>
                  <a:pt x="316" y="92"/>
                </a:cubicBezTo>
                <a:cubicBezTo>
                  <a:pt x="316" y="92"/>
                  <a:pt x="316" y="92"/>
                  <a:pt x="316" y="92"/>
                </a:cubicBezTo>
                <a:cubicBezTo>
                  <a:pt x="318" y="92"/>
                  <a:pt x="318" y="92"/>
                  <a:pt x="318" y="92"/>
                </a:cubicBezTo>
                <a:cubicBezTo>
                  <a:pt x="318" y="91"/>
                  <a:pt x="318" y="91"/>
                  <a:pt x="318" y="91"/>
                </a:cubicBezTo>
                <a:cubicBezTo>
                  <a:pt x="317" y="92"/>
                  <a:pt x="317" y="92"/>
                  <a:pt x="317" y="92"/>
                </a:cubicBezTo>
                <a:cubicBezTo>
                  <a:pt x="317" y="91"/>
                  <a:pt x="317" y="91"/>
                  <a:pt x="317" y="91"/>
                </a:cubicBezTo>
                <a:cubicBezTo>
                  <a:pt x="316" y="92"/>
                  <a:pt x="316" y="92"/>
                  <a:pt x="316" y="92"/>
                </a:cubicBezTo>
                <a:cubicBezTo>
                  <a:pt x="316" y="91"/>
                  <a:pt x="316" y="91"/>
                  <a:pt x="316" y="91"/>
                </a:cubicBezTo>
                <a:cubicBezTo>
                  <a:pt x="316" y="91"/>
                  <a:pt x="316" y="91"/>
                  <a:pt x="316" y="91"/>
                </a:cubicBezTo>
                <a:cubicBezTo>
                  <a:pt x="316" y="90"/>
                  <a:pt x="316" y="90"/>
                  <a:pt x="316" y="90"/>
                </a:cubicBezTo>
                <a:cubicBezTo>
                  <a:pt x="315" y="91"/>
                  <a:pt x="315" y="91"/>
                  <a:pt x="315" y="91"/>
                </a:cubicBezTo>
                <a:cubicBezTo>
                  <a:pt x="313" y="91"/>
                  <a:pt x="313" y="91"/>
                  <a:pt x="313" y="91"/>
                </a:cubicBezTo>
                <a:cubicBezTo>
                  <a:pt x="311" y="92"/>
                  <a:pt x="311" y="92"/>
                  <a:pt x="311" y="92"/>
                </a:cubicBezTo>
                <a:cubicBezTo>
                  <a:pt x="310" y="92"/>
                  <a:pt x="310" y="92"/>
                  <a:pt x="310" y="92"/>
                </a:cubicBezTo>
                <a:cubicBezTo>
                  <a:pt x="308" y="92"/>
                  <a:pt x="308" y="92"/>
                  <a:pt x="308" y="92"/>
                </a:cubicBezTo>
                <a:cubicBezTo>
                  <a:pt x="307" y="93"/>
                  <a:pt x="307" y="93"/>
                  <a:pt x="307" y="93"/>
                </a:cubicBezTo>
                <a:cubicBezTo>
                  <a:pt x="306" y="93"/>
                  <a:pt x="306" y="93"/>
                  <a:pt x="306" y="93"/>
                </a:cubicBezTo>
                <a:cubicBezTo>
                  <a:pt x="306" y="94"/>
                  <a:pt x="306" y="94"/>
                  <a:pt x="306" y="94"/>
                </a:cubicBezTo>
                <a:cubicBezTo>
                  <a:pt x="307" y="94"/>
                  <a:pt x="307" y="94"/>
                  <a:pt x="307" y="94"/>
                </a:cubicBezTo>
                <a:close/>
                <a:moveTo>
                  <a:pt x="31" y="6"/>
                </a:moveTo>
                <a:cubicBezTo>
                  <a:pt x="30" y="7"/>
                  <a:pt x="30" y="7"/>
                  <a:pt x="30" y="7"/>
                </a:cubicBezTo>
                <a:cubicBezTo>
                  <a:pt x="30" y="9"/>
                  <a:pt x="30" y="9"/>
                  <a:pt x="30" y="9"/>
                </a:cubicBezTo>
                <a:cubicBezTo>
                  <a:pt x="30" y="10"/>
                  <a:pt x="30" y="10"/>
                  <a:pt x="30" y="10"/>
                </a:cubicBezTo>
                <a:cubicBezTo>
                  <a:pt x="31" y="10"/>
                  <a:pt x="31" y="10"/>
                  <a:pt x="31" y="10"/>
                </a:cubicBezTo>
                <a:cubicBezTo>
                  <a:pt x="30" y="8"/>
                  <a:pt x="30" y="8"/>
                  <a:pt x="30" y="8"/>
                </a:cubicBezTo>
                <a:cubicBezTo>
                  <a:pt x="30" y="7"/>
                  <a:pt x="30" y="7"/>
                  <a:pt x="30" y="7"/>
                </a:cubicBezTo>
                <a:cubicBezTo>
                  <a:pt x="31" y="6"/>
                  <a:pt x="31" y="6"/>
                  <a:pt x="31" y="6"/>
                </a:cubicBezTo>
                <a:cubicBezTo>
                  <a:pt x="31" y="6"/>
                  <a:pt x="31" y="6"/>
                  <a:pt x="31" y="6"/>
                </a:cubicBezTo>
                <a:close/>
                <a:moveTo>
                  <a:pt x="150" y="189"/>
                </a:moveTo>
                <a:cubicBezTo>
                  <a:pt x="150" y="189"/>
                  <a:pt x="150" y="189"/>
                  <a:pt x="150" y="189"/>
                </a:cubicBezTo>
                <a:cubicBezTo>
                  <a:pt x="152" y="187"/>
                  <a:pt x="152" y="187"/>
                  <a:pt x="152" y="187"/>
                </a:cubicBezTo>
                <a:cubicBezTo>
                  <a:pt x="153" y="186"/>
                  <a:pt x="153" y="186"/>
                  <a:pt x="153" y="186"/>
                </a:cubicBezTo>
                <a:cubicBezTo>
                  <a:pt x="151" y="187"/>
                  <a:pt x="151" y="187"/>
                  <a:pt x="151" y="187"/>
                </a:cubicBezTo>
                <a:cubicBezTo>
                  <a:pt x="150" y="189"/>
                  <a:pt x="150" y="189"/>
                  <a:pt x="150" y="189"/>
                </a:cubicBezTo>
                <a:close/>
                <a:moveTo>
                  <a:pt x="148" y="192"/>
                </a:moveTo>
                <a:cubicBezTo>
                  <a:pt x="149" y="192"/>
                  <a:pt x="149" y="192"/>
                  <a:pt x="149" y="192"/>
                </a:cubicBezTo>
                <a:cubicBezTo>
                  <a:pt x="149" y="190"/>
                  <a:pt x="149" y="190"/>
                  <a:pt x="149" y="190"/>
                </a:cubicBezTo>
                <a:cubicBezTo>
                  <a:pt x="149" y="190"/>
                  <a:pt x="149" y="190"/>
                  <a:pt x="149" y="190"/>
                </a:cubicBezTo>
                <a:cubicBezTo>
                  <a:pt x="148" y="192"/>
                  <a:pt x="148" y="192"/>
                  <a:pt x="148" y="192"/>
                </a:cubicBezTo>
                <a:close/>
                <a:moveTo>
                  <a:pt x="148" y="201"/>
                </a:moveTo>
                <a:cubicBezTo>
                  <a:pt x="147" y="199"/>
                  <a:pt x="147" y="199"/>
                  <a:pt x="147" y="199"/>
                </a:cubicBezTo>
                <a:cubicBezTo>
                  <a:pt x="147" y="196"/>
                  <a:pt x="147" y="196"/>
                  <a:pt x="147" y="196"/>
                </a:cubicBezTo>
                <a:cubicBezTo>
                  <a:pt x="148" y="193"/>
                  <a:pt x="148" y="193"/>
                  <a:pt x="148" y="193"/>
                </a:cubicBezTo>
                <a:cubicBezTo>
                  <a:pt x="147" y="196"/>
                  <a:pt x="147" y="196"/>
                  <a:pt x="147" y="196"/>
                </a:cubicBezTo>
                <a:cubicBezTo>
                  <a:pt x="147" y="199"/>
                  <a:pt x="147" y="199"/>
                  <a:pt x="147" y="199"/>
                </a:cubicBezTo>
                <a:cubicBezTo>
                  <a:pt x="147" y="199"/>
                  <a:pt x="148" y="201"/>
                  <a:pt x="148" y="201"/>
                </a:cubicBez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79" name="Freeform 177">
            <a:extLst>
              <a:ext uri="{FF2B5EF4-FFF2-40B4-BE49-F238E27FC236}">
                <a16:creationId xmlns:a16="http://schemas.microsoft.com/office/drawing/2014/main" id="{CFF70BC5-D379-357D-B8DF-61A944CA94A3}"/>
              </a:ext>
            </a:extLst>
          </p:cNvPr>
          <p:cNvSpPr>
            <a:spLocks noEditPoints="1"/>
          </p:cNvSpPr>
          <p:nvPr userDrawn="1"/>
        </p:nvSpPr>
        <p:spPr bwMode="auto">
          <a:xfrm>
            <a:off x="9737087" y="13010435"/>
            <a:ext cx="1438184" cy="260350"/>
          </a:xfrm>
          <a:custGeom>
            <a:avLst/>
            <a:gdLst>
              <a:gd name="T0" fmla="*/ 142 w 145"/>
              <a:gd name="T1" fmla="*/ 24 h 26"/>
              <a:gd name="T2" fmla="*/ 141 w 145"/>
              <a:gd name="T3" fmla="*/ 22 h 26"/>
              <a:gd name="T4" fmla="*/ 139 w 145"/>
              <a:gd name="T5" fmla="*/ 21 h 26"/>
              <a:gd name="T6" fmla="*/ 138 w 145"/>
              <a:gd name="T7" fmla="*/ 20 h 26"/>
              <a:gd name="T8" fmla="*/ 141 w 145"/>
              <a:gd name="T9" fmla="*/ 21 h 26"/>
              <a:gd name="T10" fmla="*/ 141 w 145"/>
              <a:gd name="T11" fmla="*/ 21 h 26"/>
              <a:gd name="T12" fmla="*/ 143 w 145"/>
              <a:gd name="T13" fmla="*/ 23 h 26"/>
              <a:gd name="T14" fmla="*/ 144 w 145"/>
              <a:gd name="T15" fmla="*/ 24 h 26"/>
              <a:gd name="T16" fmla="*/ 145 w 145"/>
              <a:gd name="T17" fmla="*/ 25 h 26"/>
              <a:gd name="T18" fmla="*/ 143 w 145"/>
              <a:gd name="T19" fmla="*/ 26 h 26"/>
              <a:gd name="T20" fmla="*/ 142 w 145"/>
              <a:gd name="T21" fmla="*/ 25 h 26"/>
              <a:gd name="T22" fmla="*/ 8 w 145"/>
              <a:gd name="T23" fmla="*/ 0 h 26"/>
              <a:gd name="T24" fmla="*/ 7 w 145"/>
              <a:gd name="T25" fmla="*/ 0 h 26"/>
              <a:gd name="T26" fmla="*/ 5 w 145"/>
              <a:gd name="T27" fmla="*/ 1 h 26"/>
              <a:gd name="T28" fmla="*/ 5 w 145"/>
              <a:gd name="T29" fmla="*/ 0 h 26"/>
              <a:gd name="T30" fmla="*/ 1 w 145"/>
              <a:gd name="T31" fmla="*/ 5 h 26"/>
              <a:gd name="T32" fmla="*/ 2 w 145"/>
              <a:gd name="T33" fmla="*/ 6 h 26"/>
              <a:gd name="T34" fmla="*/ 0 w 145"/>
              <a:gd name="T35" fmla="*/ 6 h 26"/>
              <a:gd name="T36" fmla="*/ 10 w 145"/>
              <a:gd name="T37" fmla="*/ 8 h 26"/>
              <a:gd name="T38" fmla="*/ 12 w 145"/>
              <a:gd name="T39" fmla="*/ 9 h 26"/>
              <a:gd name="T40" fmla="*/ 11 w 145"/>
              <a:gd name="T41" fmla="*/ 8 h 26"/>
              <a:gd name="T42" fmla="*/ 13 w 145"/>
              <a:gd name="T43" fmla="*/ 8 h 26"/>
              <a:gd name="T44" fmla="*/ 13 w 145"/>
              <a:gd name="T45" fmla="*/ 7 h 26"/>
              <a:gd name="T46" fmla="*/ 14 w 145"/>
              <a:gd name="T47" fmla="*/ 7 h 26"/>
              <a:gd name="T48" fmla="*/ 15 w 145"/>
              <a:gd name="T49" fmla="*/ 6 h 26"/>
              <a:gd name="T50" fmla="*/ 13 w 145"/>
              <a:gd name="T51" fmla="*/ 6 h 26"/>
              <a:gd name="T52" fmla="*/ 15 w 145"/>
              <a:gd name="T53" fmla="*/ 5 h 26"/>
              <a:gd name="T54" fmla="*/ 18 w 145"/>
              <a:gd name="T55" fmla="*/ 4 h 26"/>
              <a:gd name="T56" fmla="*/ 19 w 145"/>
              <a:gd name="T57" fmla="*/ 3 h 26"/>
              <a:gd name="T58" fmla="*/ 18 w 145"/>
              <a:gd name="T59" fmla="*/ 3 h 26"/>
              <a:gd name="T60" fmla="*/ 19 w 145"/>
              <a:gd name="T61" fmla="*/ 2 h 26"/>
              <a:gd name="T62" fmla="*/ 17 w 145"/>
              <a:gd name="T63" fmla="*/ 1 h 26"/>
              <a:gd name="T64" fmla="*/ 17 w 145"/>
              <a:gd name="T65" fmla="*/ 2 h 26"/>
              <a:gd name="T66" fmla="*/ 15 w 145"/>
              <a:gd name="T67" fmla="*/ 1 h 26"/>
              <a:gd name="T68" fmla="*/ 13 w 145"/>
              <a:gd name="T69" fmla="*/ 0 h 26"/>
              <a:gd name="T70" fmla="*/ 12 w 145"/>
              <a:gd name="T71" fmla="*/ 1 h 26"/>
              <a:gd name="T72" fmla="*/ 12 w 145"/>
              <a:gd name="T73" fmla="*/ 3 h 26"/>
              <a:gd name="T74" fmla="*/ 13 w 145"/>
              <a:gd name="T75" fmla="*/ 5 h 26"/>
              <a:gd name="T76" fmla="*/ 11 w 145"/>
              <a:gd name="T77" fmla="*/ 5 h 26"/>
              <a:gd name="T78" fmla="*/ 8 w 145"/>
              <a:gd name="T79" fmla="*/ 1 h 26"/>
              <a:gd name="T80" fmla="*/ 9 w 145"/>
              <a:gd name="T81" fmla="*/ 2 h 26"/>
              <a:gd name="T82" fmla="*/ 10 w 145"/>
              <a:gd name="T83" fmla="*/ 1 h 26"/>
              <a:gd name="T84" fmla="*/ 10 w 145"/>
              <a:gd name="T85" fmla="*/ 3 h 26"/>
              <a:gd name="T86" fmla="*/ 9 w 145"/>
              <a:gd name="T87" fmla="*/ 6 h 26"/>
              <a:gd name="T88" fmla="*/ 6 w 145"/>
              <a:gd name="T89" fmla="*/ 6 h 26"/>
              <a:gd name="T90" fmla="*/ 6 w 145"/>
              <a:gd name="T91" fmla="*/ 8 h 26"/>
              <a:gd name="T92" fmla="*/ 4 w 145"/>
              <a:gd name="T93" fmla="*/ 8 h 26"/>
              <a:gd name="T94" fmla="*/ 2 w 145"/>
              <a:gd name="T95" fmla="*/ 8 h 26"/>
              <a:gd name="T96" fmla="*/ 3 w 145"/>
              <a:gd name="T97" fmla="*/ 7 h 26"/>
              <a:gd name="T98" fmla="*/ 4 w 145"/>
              <a:gd name="T99" fmla="*/ 5 h 26"/>
              <a:gd name="T100" fmla="*/ 6 w 145"/>
              <a:gd name="T101" fmla="*/ 5 h 26"/>
              <a:gd name="T102" fmla="*/ 5 w 145"/>
              <a:gd name="T103" fmla="*/ 4 h 26"/>
              <a:gd name="T104" fmla="*/ 4 w 145"/>
              <a:gd name="T105" fmla="*/ 2 h 26"/>
              <a:gd name="T106" fmla="*/ 6 w 145"/>
              <a:gd name="T107" fmla="*/ 3 h 26"/>
              <a:gd name="T108" fmla="*/ 8 w 145"/>
              <a:gd name="T109"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5" h="26">
                <a:moveTo>
                  <a:pt x="142" y="25"/>
                </a:moveTo>
                <a:cubicBezTo>
                  <a:pt x="142" y="24"/>
                  <a:pt x="142" y="24"/>
                  <a:pt x="142" y="24"/>
                </a:cubicBezTo>
                <a:cubicBezTo>
                  <a:pt x="141" y="23"/>
                  <a:pt x="141" y="23"/>
                  <a:pt x="141" y="23"/>
                </a:cubicBezTo>
                <a:cubicBezTo>
                  <a:pt x="141" y="22"/>
                  <a:pt x="141" y="22"/>
                  <a:pt x="141" y="22"/>
                </a:cubicBezTo>
                <a:cubicBezTo>
                  <a:pt x="140" y="22"/>
                  <a:pt x="140" y="22"/>
                  <a:pt x="140" y="22"/>
                </a:cubicBezTo>
                <a:cubicBezTo>
                  <a:pt x="139" y="21"/>
                  <a:pt x="139" y="21"/>
                  <a:pt x="139" y="21"/>
                </a:cubicBezTo>
                <a:cubicBezTo>
                  <a:pt x="138" y="21"/>
                  <a:pt x="138" y="21"/>
                  <a:pt x="138" y="21"/>
                </a:cubicBezTo>
                <a:cubicBezTo>
                  <a:pt x="138" y="20"/>
                  <a:pt x="138" y="20"/>
                  <a:pt x="138" y="20"/>
                </a:cubicBezTo>
                <a:cubicBezTo>
                  <a:pt x="139" y="20"/>
                  <a:pt x="139" y="20"/>
                  <a:pt x="139" y="20"/>
                </a:cubicBezTo>
                <a:cubicBezTo>
                  <a:pt x="141" y="21"/>
                  <a:pt x="141" y="21"/>
                  <a:pt x="141" y="21"/>
                </a:cubicBezTo>
                <a:cubicBezTo>
                  <a:pt x="141" y="21"/>
                  <a:pt x="141" y="21"/>
                  <a:pt x="141" y="21"/>
                </a:cubicBezTo>
                <a:cubicBezTo>
                  <a:pt x="141" y="21"/>
                  <a:pt x="141" y="21"/>
                  <a:pt x="141" y="21"/>
                </a:cubicBezTo>
                <a:cubicBezTo>
                  <a:pt x="142" y="22"/>
                  <a:pt x="143" y="22"/>
                  <a:pt x="143" y="22"/>
                </a:cubicBezTo>
                <a:cubicBezTo>
                  <a:pt x="143" y="23"/>
                  <a:pt x="143" y="23"/>
                  <a:pt x="143" y="23"/>
                </a:cubicBezTo>
                <a:cubicBezTo>
                  <a:pt x="143" y="24"/>
                  <a:pt x="143" y="24"/>
                  <a:pt x="143" y="24"/>
                </a:cubicBezTo>
                <a:cubicBezTo>
                  <a:pt x="144" y="24"/>
                  <a:pt x="144" y="24"/>
                  <a:pt x="144" y="24"/>
                </a:cubicBezTo>
                <a:cubicBezTo>
                  <a:pt x="145" y="24"/>
                  <a:pt x="145" y="24"/>
                  <a:pt x="145" y="24"/>
                </a:cubicBezTo>
                <a:cubicBezTo>
                  <a:pt x="145" y="25"/>
                  <a:pt x="145" y="25"/>
                  <a:pt x="145" y="25"/>
                </a:cubicBezTo>
                <a:cubicBezTo>
                  <a:pt x="144" y="25"/>
                  <a:pt x="144" y="25"/>
                  <a:pt x="144" y="25"/>
                </a:cubicBezTo>
                <a:cubicBezTo>
                  <a:pt x="143" y="26"/>
                  <a:pt x="143" y="26"/>
                  <a:pt x="143" y="26"/>
                </a:cubicBezTo>
                <a:cubicBezTo>
                  <a:pt x="142" y="26"/>
                  <a:pt x="142" y="26"/>
                  <a:pt x="142" y="26"/>
                </a:cubicBezTo>
                <a:cubicBezTo>
                  <a:pt x="142" y="25"/>
                  <a:pt x="142" y="25"/>
                  <a:pt x="142" y="25"/>
                </a:cubicBezTo>
                <a:close/>
                <a:moveTo>
                  <a:pt x="7" y="0"/>
                </a:moveTo>
                <a:cubicBezTo>
                  <a:pt x="8" y="0"/>
                  <a:pt x="8" y="0"/>
                  <a:pt x="8" y="0"/>
                </a:cubicBezTo>
                <a:cubicBezTo>
                  <a:pt x="9" y="0"/>
                  <a:pt x="9" y="0"/>
                  <a:pt x="9" y="0"/>
                </a:cubicBezTo>
                <a:cubicBezTo>
                  <a:pt x="7" y="0"/>
                  <a:pt x="7" y="0"/>
                  <a:pt x="7" y="0"/>
                </a:cubicBezTo>
                <a:close/>
                <a:moveTo>
                  <a:pt x="5" y="0"/>
                </a:moveTo>
                <a:cubicBezTo>
                  <a:pt x="5" y="1"/>
                  <a:pt x="5" y="1"/>
                  <a:pt x="5" y="1"/>
                </a:cubicBezTo>
                <a:cubicBezTo>
                  <a:pt x="6" y="1"/>
                  <a:pt x="6" y="1"/>
                  <a:pt x="6" y="1"/>
                </a:cubicBezTo>
                <a:cubicBezTo>
                  <a:pt x="5" y="0"/>
                  <a:pt x="5" y="0"/>
                  <a:pt x="5" y="0"/>
                </a:cubicBezTo>
                <a:close/>
                <a:moveTo>
                  <a:pt x="0" y="6"/>
                </a:moveTo>
                <a:cubicBezTo>
                  <a:pt x="1" y="5"/>
                  <a:pt x="1" y="5"/>
                  <a:pt x="1" y="5"/>
                </a:cubicBezTo>
                <a:cubicBezTo>
                  <a:pt x="2" y="6"/>
                  <a:pt x="2" y="6"/>
                  <a:pt x="2" y="6"/>
                </a:cubicBezTo>
                <a:cubicBezTo>
                  <a:pt x="2" y="6"/>
                  <a:pt x="2" y="6"/>
                  <a:pt x="2" y="6"/>
                </a:cubicBezTo>
                <a:cubicBezTo>
                  <a:pt x="1" y="6"/>
                  <a:pt x="1" y="6"/>
                  <a:pt x="1" y="6"/>
                </a:cubicBezTo>
                <a:cubicBezTo>
                  <a:pt x="0" y="6"/>
                  <a:pt x="0" y="6"/>
                  <a:pt x="0" y="6"/>
                </a:cubicBezTo>
                <a:close/>
                <a:moveTo>
                  <a:pt x="9" y="8"/>
                </a:moveTo>
                <a:cubicBezTo>
                  <a:pt x="10" y="8"/>
                  <a:pt x="10" y="8"/>
                  <a:pt x="10" y="8"/>
                </a:cubicBezTo>
                <a:cubicBezTo>
                  <a:pt x="11" y="9"/>
                  <a:pt x="11" y="9"/>
                  <a:pt x="11" y="9"/>
                </a:cubicBezTo>
                <a:cubicBezTo>
                  <a:pt x="12" y="9"/>
                  <a:pt x="12" y="9"/>
                  <a:pt x="12" y="9"/>
                </a:cubicBezTo>
                <a:cubicBezTo>
                  <a:pt x="12" y="9"/>
                  <a:pt x="12" y="9"/>
                  <a:pt x="12" y="9"/>
                </a:cubicBezTo>
                <a:cubicBezTo>
                  <a:pt x="11" y="8"/>
                  <a:pt x="11" y="8"/>
                  <a:pt x="11" y="8"/>
                </a:cubicBezTo>
                <a:cubicBezTo>
                  <a:pt x="12" y="7"/>
                  <a:pt x="12" y="7"/>
                  <a:pt x="12" y="7"/>
                </a:cubicBezTo>
                <a:cubicBezTo>
                  <a:pt x="13" y="8"/>
                  <a:pt x="13" y="8"/>
                  <a:pt x="13" y="8"/>
                </a:cubicBezTo>
                <a:cubicBezTo>
                  <a:pt x="13" y="8"/>
                  <a:pt x="13" y="8"/>
                  <a:pt x="13" y="8"/>
                </a:cubicBezTo>
                <a:cubicBezTo>
                  <a:pt x="13" y="7"/>
                  <a:pt x="13" y="7"/>
                  <a:pt x="13" y="7"/>
                </a:cubicBezTo>
                <a:cubicBezTo>
                  <a:pt x="13" y="6"/>
                  <a:pt x="13" y="6"/>
                  <a:pt x="13" y="6"/>
                </a:cubicBezTo>
                <a:cubicBezTo>
                  <a:pt x="14" y="7"/>
                  <a:pt x="14" y="7"/>
                  <a:pt x="14" y="7"/>
                </a:cubicBezTo>
                <a:cubicBezTo>
                  <a:pt x="15" y="6"/>
                  <a:pt x="15" y="6"/>
                  <a:pt x="15" y="6"/>
                </a:cubicBezTo>
                <a:cubicBezTo>
                  <a:pt x="15" y="6"/>
                  <a:pt x="15" y="6"/>
                  <a:pt x="15" y="6"/>
                </a:cubicBezTo>
                <a:cubicBezTo>
                  <a:pt x="14" y="6"/>
                  <a:pt x="14" y="6"/>
                  <a:pt x="14" y="6"/>
                </a:cubicBezTo>
                <a:cubicBezTo>
                  <a:pt x="13" y="6"/>
                  <a:pt x="13" y="6"/>
                  <a:pt x="13" y="6"/>
                </a:cubicBezTo>
                <a:cubicBezTo>
                  <a:pt x="14" y="5"/>
                  <a:pt x="14" y="5"/>
                  <a:pt x="14" y="5"/>
                </a:cubicBezTo>
                <a:cubicBezTo>
                  <a:pt x="15" y="5"/>
                  <a:pt x="15" y="5"/>
                  <a:pt x="15" y="5"/>
                </a:cubicBezTo>
                <a:cubicBezTo>
                  <a:pt x="17" y="5"/>
                  <a:pt x="17" y="5"/>
                  <a:pt x="17" y="5"/>
                </a:cubicBezTo>
                <a:cubicBezTo>
                  <a:pt x="18" y="4"/>
                  <a:pt x="18" y="4"/>
                  <a:pt x="18" y="4"/>
                </a:cubicBezTo>
                <a:cubicBezTo>
                  <a:pt x="19" y="4"/>
                  <a:pt x="19" y="4"/>
                  <a:pt x="19" y="4"/>
                </a:cubicBezTo>
                <a:cubicBezTo>
                  <a:pt x="19" y="3"/>
                  <a:pt x="19" y="3"/>
                  <a:pt x="19" y="3"/>
                </a:cubicBezTo>
                <a:cubicBezTo>
                  <a:pt x="18" y="3"/>
                  <a:pt x="18" y="3"/>
                  <a:pt x="18" y="3"/>
                </a:cubicBezTo>
                <a:cubicBezTo>
                  <a:pt x="18" y="3"/>
                  <a:pt x="18" y="3"/>
                  <a:pt x="18" y="3"/>
                </a:cubicBezTo>
                <a:cubicBezTo>
                  <a:pt x="18" y="2"/>
                  <a:pt x="18" y="2"/>
                  <a:pt x="18" y="2"/>
                </a:cubicBezTo>
                <a:cubicBezTo>
                  <a:pt x="19" y="2"/>
                  <a:pt x="19" y="2"/>
                  <a:pt x="19" y="2"/>
                </a:cubicBezTo>
                <a:cubicBezTo>
                  <a:pt x="19" y="2"/>
                  <a:pt x="19" y="2"/>
                  <a:pt x="19" y="2"/>
                </a:cubicBezTo>
                <a:cubicBezTo>
                  <a:pt x="17" y="1"/>
                  <a:pt x="17" y="1"/>
                  <a:pt x="17" y="1"/>
                </a:cubicBezTo>
                <a:cubicBezTo>
                  <a:pt x="16" y="1"/>
                  <a:pt x="16" y="1"/>
                  <a:pt x="16" y="1"/>
                </a:cubicBezTo>
                <a:cubicBezTo>
                  <a:pt x="17" y="2"/>
                  <a:pt x="17" y="2"/>
                  <a:pt x="17" y="2"/>
                </a:cubicBezTo>
                <a:cubicBezTo>
                  <a:pt x="16" y="3"/>
                  <a:pt x="16" y="3"/>
                  <a:pt x="16" y="3"/>
                </a:cubicBezTo>
                <a:cubicBezTo>
                  <a:pt x="15" y="1"/>
                  <a:pt x="15" y="1"/>
                  <a:pt x="15" y="1"/>
                </a:cubicBezTo>
                <a:cubicBezTo>
                  <a:pt x="15" y="0"/>
                  <a:pt x="15" y="0"/>
                  <a:pt x="15" y="0"/>
                </a:cubicBezTo>
                <a:cubicBezTo>
                  <a:pt x="13" y="0"/>
                  <a:pt x="13" y="0"/>
                  <a:pt x="13" y="0"/>
                </a:cubicBezTo>
                <a:cubicBezTo>
                  <a:pt x="13" y="1"/>
                  <a:pt x="13" y="1"/>
                  <a:pt x="13" y="1"/>
                </a:cubicBezTo>
                <a:cubicBezTo>
                  <a:pt x="12" y="1"/>
                  <a:pt x="12" y="1"/>
                  <a:pt x="12" y="1"/>
                </a:cubicBezTo>
                <a:cubicBezTo>
                  <a:pt x="12" y="2"/>
                  <a:pt x="12" y="2"/>
                  <a:pt x="12" y="2"/>
                </a:cubicBezTo>
                <a:cubicBezTo>
                  <a:pt x="12" y="3"/>
                  <a:pt x="12" y="3"/>
                  <a:pt x="12" y="3"/>
                </a:cubicBezTo>
                <a:cubicBezTo>
                  <a:pt x="13" y="4"/>
                  <a:pt x="13" y="4"/>
                  <a:pt x="13" y="4"/>
                </a:cubicBezTo>
                <a:cubicBezTo>
                  <a:pt x="13" y="5"/>
                  <a:pt x="13" y="5"/>
                  <a:pt x="13" y="5"/>
                </a:cubicBezTo>
                <a:cubicBezTo>
                  <a:pt x="12" y="4"/>
                  <a:pt x="12" y="4"/>
                  <a:pt x="12" y="4"/>
                </a:cubicBezTo>
                <a:cubicBezTo>
                  <a:pt x="11" y="5"/>
                  <a:pt x="11" y="5"/>
                  <a:pt x="11" y="5"/>
                </a:cubicBezTo>
                <a:cubicBezTo>
                  <a:pt x="9" y="8"/>
                  <a:pt x="9" y="8"/>
                  <a:pt x="9" y="8"/>
                </a:cubicBezTo>
                <a:close/>
                <a:moveTo>
                  <a:pt x="8" y="1"/>
                </a:moveTo>
                <a:cubicBezTo>
                  <a:pt x="9" y="2"/>
                  <a:pt x="9" y="2"/>
                  <a:pt x="9" y="2"/>
                </a:cubicBezTo>
                <a:cubicBezTo>
                  <a:pt x="9" y="2"/>
                  <a:pt x="9" y="2"/>
                  <a:pt x="9" y="2"/>
                </a:cubicBezTo>
                <a:cubicBezTo>
                  <a:pt x="10" y="1"/>
                  <a:pt x="10" y="1"/>
                  <a:pt x="10" y="1"/>
                </a:cubicBezTo>
                <a:cubicBezTo>
                  <a:pt x="10" y="1"/>
                  <a:pt x="10" y="1"/>
                  <a:pt x="10" y="1"/>
                </a:cubicBezTo>
                <a:cubicBezTo>
                  <a:pt x="11" y="2"/>
                  <a:pt x="11" y="2"/>
                  <a:pt x="11" y="2"/>
                </a:cubicBezTo>
                <a:cubicBezTo>
                  <a:pt x="10" y="3"/>
                  <a:pt x="10" y="3"/>
                  <a:pt x="10" y="3"/>
                </a:cubicBezTo>
                <a:cubicBezTo>
                  <a:pt x="9" y="5"/>
                  <a:pt x="9" y="5"/>
                  <a:pt x="9" y="5"/>
                </a:cubicBezTo>
                <a:cubicBezTo>
                  <a:pt x="9" y="6"/>
                  <a:pt x="9" y="6"/>
                  <a:pt x="9" y="6"/>
                </a:cubicBezTo>
                <a:cubicBezTo>
                  <a:pt x="7" y="7"/>
                  <a:pt x="7" y="7"/>
                  <a:pt x="7" y="7"/>
                </a:cubicBezTo>
                <a:cubicBezTo>
                  <a:pt x="6" y="6"/>
                  <a:pt x="6" y="6"/>
                  <a:pt x="6" y="6"/>
                </a:cubicBezTo>
                <a:cubicBezTo>
                  <a:pt x="5" y="7"/>
                  <a:pt x="5" y="7"/>
                  <a:pt x="5" y="7"/>
                </a:cubicBezTo>
                <a:cubicBezTo>
                  <a:pt x="6" y="8"/>
                  <a:pt x="6" y="8"/>
                  <a:pt x="6" y="8"/>
                </a:cubicBezTo>
                <a:cubicBezTo>
                  <a:pt x="5" y="9"/>
                  <a:pt x="5" y="9"/>
                  <a:pt x="5" y="9"/>
                </a:cubicBezTo>
                <a:cubicBezTo>
                  <a:pt x="4" y="8"/>
                  <a:pt x="4" y="8"/>
                  <a:pt x="4" y="8"/>
                </a:cubicBezTo>
                <a:cubicBezTo>
                  <a:pt x="3" y="9"/>
                  <a:pt x="3" y="9"/>
                  <a:pt x="3" y="9"/>
                </a:cubicBezTo>
                <a:cubicBezTo>
                  <a:pt x="2" y="8"/>
                  <a:pt x="2" y="8"/>
                  <a:pt x="2" y="8"/>
                </a:cubicBezTo>
                <a:cubicBezTo>
                  <a:pt x="2" y="7"/>
                  <a:pt x="2" y="7"/>
                  <a:pt x="2" y="7"/>
                </a:cubicBezTo>
                <a:cubicBezTo>
                  <a:pt x="3" y="7"/>
                  <a:pt x="3" y="7"/>
                  <a:pt x="3" y="7"/>
                </a:cubicBezTo>
                <a:cubicBezTo>
                  <a:pt x="4" y="6"/>
                  <a:pt x="4" y="6"/>
                  <a:pt x="4" y="6"/>
                </a:cubicBezTo>
                <a:cubicBezTo>
                  <a:pt x="4" y="5"/>
                  <a:pt x="4" y="5"/>
                  <a:pt x="4" y="5"/>
                </a:cubicBezTo>
                <a:cubicBezTo>
                  <a:pt x="5" y="5"/>
                  <a:pt x="5" y="5"/>
                  <a:pt x="5" y="5"/>
                </a:cubicBezTo>
                <a:cubicBezTo>
                  <a:pt x="6" y="5"/>
                  <a:pt x="6" y="5"/>
                  <a:pt x="6" y="5"/>
                </a:cubicBezTo>
                <a:cubicBezTo>
                  <a:pt x="6" y="4"/>
                  <a:pt x="6" y="4"/>
                  <a:pt x="6" y="4"/>
                </a:cubicBezTo>
                <a:cubicBezTo>
                  <a:pt x="5" y="4"/>
                  <a:pt x="5" y="4"/>
                  <a:pt x="5" y="4"/>
                </a:cubicBezTo>
                <a:cubicBezTo>
                  <a:pt x="3" y="2"/>
                  <a:pt x="3" y="2"/>
                  <a:pt x="3" y="2"/>
                </a:cubicBezTo>
                <a:cubicBezTo>
                  <a:pt x="4" y="2"/>
                  <a:pt x="4" y="2"/>
                  <a:pt x="4" y="2"/>
                </a:cubicBezTo>
                <a:cubicBezTo>
                  <a:pt x="5" y="3"/>
                  <a:pt x="5" y="3"/>
                  <a:pt x="5" y="3"/>
                </a:cubicBezTo>
                <a:cubicBezTo>
                  <a:pt x="6" y="3"/>
                  <a:pt x="6" y="3"/>
                  <a:pt x="6" y="3"/>
                </a:cubicBezTo>
                <a:cubicBezTo>
                  <a:pt x="7" y="1"/>
                  <a:pt x="7" y="1"/>
                  <a:pt x="7" y="1"/>
                </a:cubicBezTo>
                <a:lnTo>
                  <a:pt x="8" y="1"/>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0" name="Freeform 178">
            <a:extLst>
              <a:ext uri="{FF2B5EF4-FFF2-40B4-BE49-F238E27FC236}">
                <a16:creationId xmlns:a16="http://schemas.microsoft.com/office/drawing/2014/main" id="{C9036A10-C271-105B-72A7-E19633EBB030}"/>
              </a:ext>
            </a:extLst>
          </p:cNvPr>
          <p:cNvSpPr>
            <a:spLocks/>
          </p:cNvSpPr>
          <p:nvPr userDrawn="1"/>
        </p:nvSpPr>
        <p:spPr bwMode="auto">
          <a:xfrm>
            <a:off x="8048103" y="8771811"/>
            <a:ext cx="349227" cy="158750"/>
          </a:xfrm>
          <a:custGeom>
            <a:avLst/>
            <a:gdLst>
              <a:gd name="T0" fmla="*/ 94 w 110"/>
              <a:gd name="T1" fmla="*/ 43 h 50"/>
              <a:gd name="T2" fmla="*/ 88 w 110"/>
              <a:gd name="T3" fmla="*/ 31 h 50"/>
              <a:gd name="T4" fmla="*/ 94 w 110"/>
              <a:gd name="T5" fmla="*/ 25 h 50"/>
              <a:gd name="T6" fmla="*/ 97 w 110"/>
              <a:gd name="T7" fmla="*/ 25 h 50"/>
              <a:gd name="T8" fmla="*/ 94 w 110"/>
              <a:gd name="T9" fmla="*/ 22 h 50"/>
              <a:gd name="T10" fmla="*/ 91 w 110"/>
              <a:gd name="T11" fmla="*/ 25 h 50"/>
              <a:gd name="T12" fmla="*/ 88 w 110"/>
              <a:gd name="T13" fmla="*/ 18 h 50"/>
              <a:gd name="T14" fmla="*/ 81 w 110"/>
              <a:gd name="T15" fmla="*/ 15 h 50"/>
              <a:gd name="T16" fmla="*/ 75 w 110"/>
              <a:gd name="T17" fmla="*/ 9 h 50"/>
              <a:gd name="T18" fmla="*/ 66 w 110"/>
              <a:gd name="T19" fmla="*/ 12 h 50"/>
              <a:gd name="T20" fmla="*/ 66 w 110"/>
              <a:gd name="T21" fmla="*/ 18 h 50"/>
              <a:gd name="T22" fmla="*/ 60 w 110"/>
              <a:gd name="T23" fmla="*/ 25 h 50"/>
              <a:gd name="T24" fmla="*/ 50 w 110"/>
              <a:gd name="T25" fmla="*/ 28 h 50"/>
              <a:gd name="T26" fmla="*/ 50 w 110"/>
              <a:gd name="T27" fmla="*/ 34 h 50"/>
              <a:gd name="T28" fmla="*/ 56 w 110"/>
              <a:gd name="T29" fmla="*/ 37 h 50"/>
              <a:gd name="T30" fmla="*/ 56 w 110"/>
              <a:gd name="T31" fmla="*/ 43 h 50"/>
              <a:gd name="T32" fmla="*/ 50 w 110"/>
              <a:gd name="T33" fmla="*/ 47 h 50"/>
              <a:gd name="T34" fmla="*/ 41 w 110"/>
              <a:gd name="T35" fmla="*/ 47 h 50"/>
              <a:gd name="T36" fmla="*/ 41 w 110"/>
              <a:gd name="T37" fmla="*/ 43 h 50"/>
              <a:gd name="T38" fmla="*/ 41 w 110"/>
              <a:gd name="T39" fmla="*/ 37 h 50"/>
              <a:gd name="T40" fmla="*/ 38 w 110"/>
              <a:gd name="T41" fmla="*/ 34 h 50"/>
              <a:gd name="T42" fmla="*/ 38 w 110"/>
              <a:gd name="T43" fmla="*/ 37 h 50"/>
              <a:gd name="T44" fmla="*/ 31 w 110"/>
              <a:gd name="T45" fmla="*/ 40 h 50"/>
              <a:gd name="T46" fmla="*/ 25 w 110"/>
              <a:gd name="T47" fmla="*/ 34 h 50"/>
              <a:gd name="T48" fmla="*/ 19 w 110"/>
              <a:gd name="T49" fmla="*/ 28 h 50"/>
              <a:gd name="T50" fmla="*/ 16 w 110"/>
              <a:gd name="T51" fmla="*/ 25 h 50"/>
              <a:gd name="T52" fmla="*/ 13 w 110"/>
              <a:gd name="T53" fmla="*/ 25 h 50"/>
              <a:gd name="T54" fmla="*/ 6 w 110"/>
              <a:gd name="T55" fmla="*/ 25 h 50"/>
              <a:gd name="T56" fmla="*/ 3 w 110"/>
              <a:gd name="T57" fmla="*/ 25 h 50"/>
              <a:gd name="T58" fmla="*/ 3 w 110"/>
              <a:gd name="T59" fmla="*/ 18 h 50"/>
              <a:gd name="T60" fmla="*/ 3 w 110"/>
              <a:gd name="T61" fmla="*/ 12 h 50"/>
              <a:gd name="T62" fmla="*/ 3 w 110"/>
              <a:gd name="T63" fmla="*/ 9 h 50"/>
              <a:gd name="T64" fmla="*/ 3 w 110"/>
              <a:gd name="T65" fmla="*/ 3 h 50"/>
              <a:gd name="T66" fmla="*/ 10 w 110"/>
              <a:gd name="T67" fmla="*/ 3 h 50"/>
              <a:gd name="T68" fmla="*/ 13 w 110"/>
              <a:gd name="T69" fmla="*/ 6 h 50"/>
              <a:gd name="T70" fmla="*/ 16 w 110"/>
              <a:gd name="T71" fmla="*/ 6 h 50"/>
              <a:gd name="T72" fmla="*/ 16 w 110"/>
              <a:gd name="T73" fmla="*/ 9 h 50"/>
              <a:gd name="T74" fmla="*/ 16 w 110"/>
              <a:gd name="T75" fmla="*/ 12 h 50"/>
              <a:gd name="T76" fmla="*/ 22 w 110"/>
              <a:gd name="T77" fmla="*/ 12 h 50"/>
              <a:gd name="T78" fmla="*/ 19 w 110"/>
              <a:gd name="T79" fmla="*/ 9 h 50"/>
              <a:gd name="T80" fmla="*/ 25 w 110"/>
              <a:gd name="T81" fmla="*/ 9 h 50"/>
              <a:gd name="T82" fmla="*/ 38 w 110"/>
              <a:gd name="T83" fmla="*/ 15 h 50"/>
              <a:gd name="T84" fmla="*/ 47 w 110"/>
              <a:gd name="T85" fmla="*/ 12 h 50"/>
              <a:gd name="T86" fmla="*/ 63 w 110"/>
              <a:gd name="T87" fmla="*/ 3 h 50"/>
              <a:gd name="T88" fmla="*/ 72 w 110"/>
              <a:gd name="T89" fmla="*/ 0 h 50"/>
              <a:gd name="T90" fmla="*/ 75 w 110"/>
              <a:gd name="T91" fmla="*/ 3 h 50"/>
              <a:gd name="T92" fmla="*/ 88 w 110"/>
              <a:gd name="T93" fmla="*/ 3 h 50"/>
              <a:gd name="T94" fmla="*/ 100 w 110"/>
              <a:gd name="T95" fmla="*/ 9 h 50"/>
              <a:gd name="T96" fmla="*/ 103 w 110"/>
              <a:gd name="T97" fmla="*/ 15 h 50"/>
              <a:gd name="T98" fmla="*/ 110 w 110"/>
              <a:gd name="T99" fmla="*/ 18 h 50"/>
              <a:gd name="T100" fmla="*/ 110 w 110"/>
              <a:gd name="T101" fmla="*/ 25 h 50"/>
              <a:gd name="T102" fmla="*/ 106 w 110"/>
              <a:gd name="T103" fmla="*/ 34 h 50"/>
              <a:gd name="T104" fmla="*/ 103 w 110"/>
              <a:gd name="T105" fmla="*/ 40 h 50"/>
              <a:gd name="T106" fmla="*/ 100 w 110"/>
              <a:gd name="T107" fmla="*/ 4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 h="50">
                <a:moveTo>
                  <a:pt x="100" y="47"/>
                </a:moveTo>
                <a:lnTo>
                  <a:pt x="94" y="43"/>
                </a:lnTo>
                <a:lnTo>
                  <a:pt x="91" y="37"/>
                </a:lnTo>
                <a:lnTo>
                  <a:pt x="88" y="31"/>
                </a:lnTo>
                <a:lnTo>
                  <a:pt x="91" y="31"/>
                </a:lnTo>
                <a:lnTo>
                  <a:pt x="94" y="25"/>
                </a:lnTo>
                <a:lnTo>
                  <a:pt x="97" y="25"/>
                </a:lnTo>
                <a:lnTo>
                  <a:pt x="97" y="25"/>
                </a:lnTo>
                <a:lnTo>
                  <a:pt x="97" y="22"/>
                </a:lnTo>
                <a:lnTo>
                  <a:pt x="94" y="22"/>
                </a:lnTo>
                <a:lnTo>
                  <a:pt x="91" y="25"/>
                </a:lnTo>
                <a:lnTo>
                  <a:pt x="91" y="25"/>
                </a:lnTo>
                <a:lnTo>
                  <a:pt x="88" y="25"/>
                </a:lnTo>
                <a:lnTo>
                  <a:pt x="88" y="18"/>
                </a:lnTo>
                <a:lnTo>
                  <a:pt x="85" y="15"/>
                </a:lnTo>
                <a:lnTo>
                  <a:pt x="81" y="15"/>
                </a:lnTo>
                <a:lnTo>
                  <a:pt x="78" y="12"/>
                </a:lnTo>
                <a:lnTo>
                  <a:pt x="75" y="9"/>
                </a:lnTo>
                <a:lnTo>
                  <a:pt x="69" y="9"/>
                </a:lnTo>
                <a:lnTo>
                  <a:pt x="66" y="12"/>
                </a:lnTo>
                <a:lnTo>
                  <a:pt x="63" y="18"/>
                </a:lnTo>
                <a:lnTo>
                  <a:pt x="66" y="18"/>
                </a:lnTo>
                <a:lnTo>
                  <a:pt x="66" y="18"/>
                </a:lnTo>
                <a:lnTo>
                  <a:pt x="60" y="25"/>
                </a:lnTo>
                <a:lnTo>
                  <a:pt x="53" y="25"/>
                </a:lnTo>
                <a:lnTo>
                  <a:pt x="50" y="28"/>
                </a:lnTo>
                <a:lnTo>
                  <a:pt x="50" y="31"/>
                </a:lnTo>
                <a:lnTo>
                  <a:pt x="50" y="34"/>
                </a:lnTo>
                <a:lnTo>
                  <a:pt x="53" y="34"/>
                </a:lnTo>
                <a:lnTo>
                  <a:pt x="56" y="37"/>
                </a:lnTo>
                <a:lnTo>
                  <a:pt x="56" y="43"/>
                </a:lnTo>
                <a:lnTo>
                  <a:pt x="56" y="43"/>
                </a:lnTo>
                <a:lnTo>
                  <a:pt x="53" y="43"/>
                </a:lnTo>
                <a:lnTo>
                  <a:pt x="50" y="47"/>
                </a:lnTo>
                <a:lnTo>
                  <a:pt x="47" y="50"/>
                </a:lnTo>
                <a:lnTo>
                  <a:pt x="41" y="47"/>
                </a:lnTo>
                <a:lnTo>
                  <a:pt x="41" y="47"/>
                </a:lnTo>
                <a:lnTo>
                  <a:pt x="41" y="43"/>
                </a:lnTo>
                <a:lnTo>
                  <a:pt x="41" y="40"/>
                </a:lnTo>
                <a:lnTo>
                  <a:pt x="41" y="37"/>
                </a:lnTo>
                <a:lnTo>
                  <a:pt x="38" y="34"/>
                </a:lnTo>
                <a:lnTo>
                  <a:pt x="38" y="34"/>
                </a:lnTo>
                <a:lnTo>
                  <a:pt x="35" y="37"/>
                </a:lnTo>
                <a:lnTo>
                  <a:pt x="38" y="37"/>
                </a:lnTo>
                <a:lnTo>
                  <a:pt x="35" y="40"/>
                </a:lnTo>
                <a:lnTo>
                  <a:pt x="31" y="40"/>
                </a:lnTo>
                <a:lnTo>
                  <a:pt x="28" y="40"/>
                </a:lnTo>
                <a:lnTo>
                  <a:pt x="25" y="34"/>
                </a:lnTo>
                <a:lnTo>
                  <a:pt x="25" y="28"/>
                </a:lnTo>
                <a:lnTo>
                  <a:pt x="19" y="28"/>
                </a:lnTo>
                <a:lnTo>
                  <a:pt x="16" y="28"/>
                </a:lnTo>
                <a:lnTo>
                  <a:pt x="16" y="25"/>
                </a:lnTo>
                <a:lnTo>
                  <a:pt x="16" y="25"/>
                </a:lnTo>
                <a:lnTo>
                  <a:pt x="13" y="25"/>
                </a:lnTo>
                <a:lnTo>
                  <a:pt x="10" y="25"/>
                </a:lnTo>
                <a:lnTo>
                  <a:pt x="6" y="25"/>
                </a:lnTo>
                <a:lnTo>
                  <a:pt x="3" y="25"/>
                </a:lnTo>
                <a:lnTo>
                  <a:pt x="3" y="25"/>
                </a:lnTo>
                <a:lnTo>
                  <a:pt x="3" y="22"/>
                </a:lnTo>
                <a:lnTo>
                  <a:pt x="3" y="18"/>
                </a:lnTo>
                <a:lnTo>
                  <a:pt x="6" y="15"/>
                </a:lnTo>
                <a:lnTo>
                  <a:pt x="3" y="12"/>
                </a:lnTo>
                <a:lnTo>
                  <a:pt x="0" y="12"/>
                </a:lnTo>
                <a:lnTo>
                  <a:pt x="3" y="9"/>
                </a:lnTo>
                <a:lnTo>
                  <a:pt x="3" y="6"/>
                </a:lnTo>
                <a:lnTo>
                  <a:pt x="3" y="3"/>
                </a:lnTo>
                <a:lnTo>
                  <a:pt x="6" y="3"/>
                </a:lnTo>
                <a:lnTo>
                  <a:pt x="10" y="3"/>
                </a:lnTo>
                <a:lnTo>
                  <a:pt x="10" y="3"/>
                </a:lnTo>
                <a:lnTo>
                  <a:pt x="13" y="6"/>
                </a:lnTo>
                <a:lnTo>
                  <a:pt x="16" y="6"/>
                </a:lnTo>
                <a:lnTo>
                  <a:pt x="16" y="6"/>
                </a:lnTo>
                <a:lnTo>
                  <a:pt x="16" y="9"/>
                </a:lnTo>
                <a:lnTo>
                  <a:pt x="16" y="9"/>
                </a:lnTo>
                <a:lnTo>
                  <a:pt x="16" y="9"/>
                </a:lnTo>
                <a:lnTo>
                  <a:pt x="16" y="12"/>
                </a:lnTo>
                <a:lnTo>
                  <a:pt x="19" y="12"/>
                </a:lnTo>
                <a:lnTo>
                  <a:pt x="22" y="12"/>
                </a:lnTo>
                <a:lnTo>
                  <a:pt x="22" y="9"/>
                </a:lnTo>
                <a:lnTo>
                  <a:pt x="19" y="9"/>
                </a:lnTo>
                <a:lnTo>
                  <a:pt x="22" y="9"/>
                </a:lnTo>
                <a:lnTo>
                  <a:pt x="25" y="9"/>
                </a:lnTo>
                <a:lnTo>
                  <a:pt x="31" y="15"/>
                </a:lnTo>
                <a:lnTo>
                  <a:pt x="38" y="15"/>
                </a:lnTo>
                <a:lnTo>
                  <a:pt x="44" y="15"/>
                </a:lnTo>
                <a:lnTo>
                  <a:pt x="47" y="12"/>
                </a:lnTo>
                <a:lnTo>
                  <a:pt x="56" y="6"/>
                </a:lnTo>
                <a:lnTo>
                  <a:pt x="63" y="3"/>
                </a:lnTo>
                <a:lnTo>
                  <a:pt x="69" y="0"/>
                </a:lnTo>
                <a:lnTo>
                  <a:pt x="72" y="0"/>
                </a:lnTo>
                <a:lnTo>
                  <a:pt x="75" y="0"/>
                </a:lnTo>
                <a:lnTo>
                  <a:pt x="75" y="3"/>
                </a:lnTo>
                <a:lnTo>
                  <a:pt x="78" y="3"/>
                </a:lnTo>
                <a:lnTo>
                  <a:pt x="88" y="3"/>
                </a:lnTo>
                <a:lnTo>
                  <a:pt x="91" y="3"/>
                </a:lnTo>
                <a:lnTo>
                  <a:pt x="100" y="9"/>
                </a:lnTo>
                <a:lnTo>
                  <a:pt x="103" y="12"/>
                </a:lnTo>
                <a:lnTo>
                  <a:pt x="103" y="15"/>
                </a:lnTo>
                <a:lnTo>
                  <a:pt x="106" y="15"/>
                </a:lnTo>
                <a:lnTo>
                  <a:pt x="110" y="18"/>
                </a:lnTo>
                <a:lnTo>
                  <a:pt x="106" y="22"/>
                </a:lnTo>
                <a:lnTo>
                  <a:pt x="110" y="25"/>
                </a:lnTo>
                <a:lnTo>
                  <a:pt x="110" y="28"/>
                </a:lnTo>
                <a:lnTo>
                  <a:pt x="106" y="34"/>
                </a:lnTo>
                <a:lnTo>
                  <a:pt x="106" y="37"/>
                </a:lnTo>
                <a:lnTo>
                  <a:pt x="103" y="40"/>
                </a:lnTo>
                <a:lnTo>
                  <a:pt x="100" y="40"/>
                </a:lnTo>
                <a:lnTo>
                  <a:pt x="100" y="47"/>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1" name="Freeform 179">
            <a:extLst>
              <a:ext uri="{FF2B5EF4-FFF2-40B4-BE49-F238E27FC236}">
                <a16:creationId xmlns:a16="http://schemas.microsoft.com/office/drawing/2014/main" id="{0AF6BB0E-7B6A-5016-6E7B-AA9B7488B2CC}"/>
              </a:ext>
            </a:extLst>
          </p:cNvPr>
          <p:cNvSpPr>
            <a:spLocks/>
          </p:cNvSpPr>
          <p:nvPr userDrawn="1"/>
        </p:nvSpPr>
        <p:spPr bwMode="auto">
          <a:xfrm>
            <a:off x="7870313" y="8670211"/>
            <a:ext cx="209536" cy="200026"/>
          </a:xfrm>
          <a:custGeom>
            <a:avLst/>
            <a:gdLst>
              <a:gd name="T0" fmla="*/ 59 w 66"/>
              <a:gd name="T1" fmla="*/ 57 h 63"/>
              <a:gd name="T2" fmla="*/ 59 w 66"/>
              <a:gd name="T3" fmla="*/ 57 h 63"/>
              <a:gd name="T4" fmla="*/ 59 w 66"/>
              <a:gd name="T5" fmla="*/ 63 h 63"/>
              <a:gd name="T6" fmla="*/ 53 w 66"/>
              <a:gd name="T7" fmla="*/ 60 h 63"/>
              <a:gd name="T8" fmla="*/ 53 w 66"/>
              <a:gd name="T9" fmla="*/ 60 h 63"/>
              <a:gd name="T10" fmla="*/ 50 w 66"/>
              <a:gd name="T11" fmla="*/ 50 h 63"/>
              <a:gd name="T12" fmla="*/ 47 w 66"/>
              <a:gd name="T13" fmla="*/ 50 h 63"/>
              <a:gd name="T14" fmla="*/ 50 w 66"/>
              <a:gd name="T15" fmla="*/ 54 h 63"/>
              <a:gd name="T16" fmla="*/ 50 w 66"/>
              <a:gd name="T17" fmla="*/ 60 h 63"/>
              <a:gd name="T18" fmla="*/ 47 w 66"/>
              <a:gd name="T19" fmla="*/ 57 h 63"/>
              <a:gd name="T20" fmla="*/ 41 w 66"/>
              <a:gd name="T21" fmla="*/ 54 h 63"/>
              <a:gd name="T22" fmla="*/ 41 w 66"/>
              <a:gd name="T23" fmla="*/ 47 h 63"/>
              <a:gd name="T24" fmla="*/ 37 w 66"/>
              <a:gd name="T25" fmla="*/ 41 h 63"/>
              <a:gd name="T26" fmla="*/ 31 w 66"/>
              <a:gd name="T27" fmla="*/ 35 h 63"/>
              <a:gd name="T28" fmla="*/ 25 w 66"/>
              <a:gd name="T29" fmla="*/ 28 h 63"/>
              <a:gd name="T30" fmla="*/ 22 w 66"/>
              <a:gd name="T31" fmla="*/ 22 h 63"/>
              <a:gd name="T32" fmla="*/ 12 w 66"/>
              <a:gd name="T33" fmla="*/ 19 h 63"/>
              <a:gd name="T34" fmla="*/ 12 w 66"/>
              <a:gd name="T35" fmla="*/ 22 h 63"/>
              <a:gd name="T36" fmla="*/ 19 w 66"/>
              <a:gd name="T37" fmla="*/ 28 h 63"/>
              <a:gd name="T38" fmla="*/ 16 w 66"/>
              <a:gd name="T39" fmla="*/ 35 h 63"/>
              <a:gd name="T40" fmla="*/ 9 w 66"/>
              <a:gd name="T41" fmla="*/ 28 h 63"/>
              <a:gd name="T42" fmla="*/ 0 w 66"/>
              <a:gd name="T43" fmla="*/ 22 h 63"/>
              <a:gd name="T44" fmla="*/ 0 w 66"/>
              <a:gd name="T45" fmla="*/ 16 h 63"/>
              <a:gd name="T46" fmla="*/ 3 w 66"/>
              <a:gd name="T47" fmla="*/ 10 h 63"/>
              <a:gd name="T48" fmla="*/ 0 w 66"/>
              <a:gd name="T49" fmla="*/ 7 h 63"/>
              <a:gd name="T50" fmla="*/ 3 w 66"/>
              <a:gd name="T51" fmla="*/ 3 h 63"/>
              <a:gd name="T52" fmla="*/ 3 w 66"/>
              <a:gd name="T53" fmla="*/ 0 h 63"/>
              <a:gd name="T54" fmla="*/ 9 w 66"/>
              <a:gd name="T55" fmla="*/ 0 h 63"/>
              <a:gd name="T56" fmla="*/ 25 w 66"/>
              <a:gd name="T57" fmla="*/ 0 h 63"/>
              <a:gd name="T58" fmla="*/ 31 w 66"/>
              <a:gd name="T59" fmla="*/ 3 h 63"/>
              <a:gd name="T60" fmla="*/ 34 w 66"/>
              <a:gd name="T61" fmla="*/ 7 h 63"/>
              <a:gd name="T62" fmla="*/ 41 w 66"/>
              <a:gd name="T63" fmla="*/ 10 h 63"/>
              <a:gd name="T64" fmla="*/ 41 w 66"/>
              <a:gd name="T65" fmla="*/ 10 h 63"/>
              <a:gd name="T66" fmla="*/ 47 w 66"/>
              <a:gd name="T67" fmla="*/ 10 h 63"/>
              <a:gd name="T68" fmla="*/ 50 w 66"/>
              <a:gd name="T69" fmla="*/ 13 h 63"/>
              <a:gd name="T70" fmla="*/ 53 w 66"/>
              <a:gd name="T71" fmla="*/ 19 h 63"/>
              <a:gd name="T72" fmla="*/ 56 w 66"/>
              <a:gd name="T73" fmla="*/ 28 h 63"/>
              <a:gd name="T74" fmla="*/ 62 w 66"/>
              <a:gd name="T75" fmla="*/ 32 h 63"/>
              <a:gd name="T76" fmla="*/ 66 w 66"/>
              <a:gd name="T77" fmla="*/ 35 h 63"/>
              <a:gd name="T78" fmla="*/ 59 w 66"/>
              <a:gd name="T79" fmla="*/ 35 h 63"/>
              <a:gd name="T80" fmla="*/ 59 w 66"/>
              <a:gd name="T81" fmla="*/ 41 h 63"/>
              <a:gd name="T82" fmla="*/ 59 w 66"/>
              <a:gd name="T83" fmla="*/ 44 h 63"/>
              <a:gd name="T84" fmla="*/ 59 w 66"/>
              <a:gd name="T85" fmla="*/ 50 h 63"/>
              <a:gd name="T86" fmla="*/ 59 w 66"/>
              <a:gd name="T87" fmla="*/ 57 h 63"/>
              <a:gd name="T88" fmla="*/ 59 w 66"/>
              <a:gd name="T89" fmla="*/ 5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 h="63">
                <a:moveTo>
                  <a:pt x="59" y="57"/>
                </a:moveTo>
                <a:lnTo>
                  <a:pt x="59" y="57"/>
                </a:lnTo>
                <a:lnTo>
                  <a:pt x="59" y="57"/>
                </a:lnTo>
                <a:lnTo>
                  <a:pt x="59" y="57"/>
                </a:lnTo>
                <a:lnTo>
                  <a:pt x="59" y="60"/>
                </a:lnTo>
                <a:lnTo>
                  <a:pt x="59" y="63"/>
                </a:lnTo>
                <a:lnTo>
                  <a:pt x="56" y="63"/>
                </a:lnTo>
                <a:lnTo>
                  <a:pt x="53" y="60"/>
                </a:lnTo>
                <a:lnTo>
                  <a:pt x="53" y="60"/>
                </a:lnTo>
                <a:lnTo>
                  <a:pt x="53" y="60"/>
                </a:lnTo>
                <a:lnTo>
                  <a:pt x="53" y="57"/>
                </a:lnTo>
                <a:lnTo>
                  <a:pt x="50" y="50"/>
                </a:lnTo>
                <a:lnTo>
                  <a:pt x="47" y="50"/>
                </a:lnTo>
                <a:lnTo>
                  <a:pt x="47" y="50"/>
                </a:lnTo>
                <a:lnTo>
                  <a:pt x="47" y="50"/>
                </a:lnTo>
                <a:lnTo>
                  <a:pt x="50" y="54"/>
                </a:lnTo>
                <a:lnTo>
                  <a:pt x="50" y="57"/>
                </a:lnTo>
                <a:lnTo>
                  <a:pt x="50" y="60"/>
                </a:lnTo>
                <a:lnTo>
                  <a:pt x="50" y="60"/>
                </a:lnTo>
                <a:lnTo>
                  <a:pt x="47" y="57"/>
                </a:lnTo>
                <a:lnTo>
                  <a:pt x="41" y="57"/>
                </a:lnTo>
                <a:lnTo>
                  <a:pt x="41" y="54"/>
                </a:lnTo>
                <a:lnTo>
                  <a:pt x="41" y="50"/>
                </a:lnTo>
                <a:lnTo>
                  <a:pt x="41" y="47"/>
                </a:lnTo>
                <a:lnTo>
                  <a:pt x="41" y="44"/>
                </a:lnTo>
                <a:lnTo>
                  <a:pt x="37" y="41"/>
                </a:lnTo>
                <a:lnTo>
                  <a:pt x="34" y="38"/>
                </a:lnTo>
                <a:lnTo>
                  <a:pt x="31" y="35"/>
                </a:lnTo>
                <a:lnTo>
                  <a:pt x="25" y="32"/>
                </a:lnTo>
                <a:lnTo>
                  <a:pt x="25" y="28"/>
                </a:lnTo>
                <a:lnTo>
                  <a:pt x="22" y="25"/>
                </a:lnTo>
                <a:lnTo>
                  <a:pt x="22" y="22"/>
                </a:lnTo>
                <a:lnTo>
                  <a:pt x="19" y="22"/>
                </a:lnTo>
                <a:lnTo>
                  <a:pt x="12" y="19"/>
                </a:lnTo>
                <a:lnTo>
                  <a:pt x="12" y="19"/>
                </a:lnTo>
                <a:lnTo>
                  <a:pt x="12" y="22"/>
                </a:lnTo>
                <a:lnTo>
                  <a:pt x="19" y="25"/>
                </a:lnTo>
                <a:lnTo>
                  <a:pt x="19" y="28"/>
                </a:lnTo>
                <a:lnTo>
                  <a:pt x="19" y="35"/>
                </a:lnTo>
                <a:lnTo>
                  <a:pt x="16" y="35"/>
                </a:lnTo>
                <a:lnTo>
                  <a:pt x="12" y="32"/>
                </a:lnTo>
                <a:lnTo>
                  <a:pt x="9" y="28"/>
                </a:lnTo>
                <a:lnTo>
                  <a:pt x="6" y="28"/>
                </a:lnTo>
                <a:lnTo>
                  <a:pt x="0" y="22"/>
                </a:lnTo>
                <a:lnTo>
                  <a:pt x="0" y="19"/>
                </a:lnTo>
                <a:lnTo>
                  <a:pt x="0" y="16"/>
                </a:lnTo>
                <a:lnTo>
                  <a:pt x="3" y="13"/>
                </a:lnTo>
                <a:lnTo>
                  <a:pt x="3" y="10"/>
                </a:lnTo>
                <a:lnTo>
                  <a:pt x="0" y="10"/>
                </a:lnTo>
                <a:lnTo>
                  <a:pt x="0" y="7"/>
                </a:lnTo>
                <a:lnTo>
                  <a:pt x="0" y="7"/>
                </a:lnTo>
                <a:lnTo>
                  <a:pt x="3" y="3"/>
                </a:lnTo>
                <a:lnTo>
                  <a:pt x="0" y="0"/>
                </a:lnTo>
                <a:lnTo>
                  <a:pt x="3" y="0"/>
                </a:lnTo>
                <a:lnTo>
                  <a:pt x="3" y="0"/>
                </a:lnTo>
                <a:lnTo>
                  <a:pt x="9" y="0"/>
                </a:lnTo>
                <a:lnTo>
                  <a:pt x="19" y="3"/>
                </a:lnTo>
                <a:lnTo>
                  <a:pt x="25" y="0"/>
                </a:lnTo>
                <a:lnTo>
                  <a:pt x="28" y="0"/>
                </a:lnTo>
                <a:lnTo>
                  <a:pt x="31" y="3"/>
                </a:lnTo>
                <a:lnTo>
                  <a:pt x="34" y="7"/>
                </a:lnTo>
                <a:lnTo>
                  <a:pt x="34" y="7"/>
                </a:lnTo>
                <a:lnTo>
                  <a:pt x="37" y="10"/>
                </a:lnTo>
                <a:lnTo>
                  <a:pt x="41" y="10"/>
                </a:lnTo>
                <a:lnTo>
                  <a:pt x="41" y="10"/>
                </a:lnTo>
                <a:lnTo>
                  <a:pt x="41" y="10"/>
                </a:lnTo>
                <a:lnTo>
                  <a:pt x="44" y="10"/>
                </a:lnTo>
                <a:lnTo>
                  <a:pt x="47" y="10"/>
                </a:lnTo>
                <a:lnTo>
                  <a:pt x="47" y="10"/>
                </a:lnTo>
                <a:lnTo>
                  <a:pt x="50" y="13"/>
                </a:lnTo>
                <a:lnTo>
                  <a:pt x="50" y="16"/>
                </a:lnTo>
                <a:lnTo>
                  <a:pt x="53" y="19"/>
                </a:lnTo>
                <a:lnTo>
                  <a:pt x="56" y="25"/>
                </a:lnTo>
                <a:lnTo>
                  <a:pt x="56" y="28"/>
                </a:lnTo>
                <a:lnTo>
                  <a:pt x="59" y="28"/>
                </a:lnTo>
                <a:lnTo>
                  <a:pt x="62" y="32"/>
                </a:lnTo>
                <a:lnTo>
                  <a:pt x="66" y="32"/>
                </a:lnTo>
                <a:lnTo>
                  <a:pt x="66" y="35"/>
                </a:lnTo>
                <a:lnTo>
                  <a:pt x="62" y="35"/>
                </a:lnTo>
                <a:lnTo>
                  <a:pt x="59" y="35"/>
                </a:lnTo>
                <a:lnTo>
                  <a:pt x="59" y="38"/>
                </a:lnTo>
                <a:lnTo>
                  <a:pt x="59" y="41"/>
                </a:lnTo>
                <a:lnTo>
                  <a:pt x="56" y="44"/>
                </a:lnTo>
                <a:lnTo>
                  <a:pt x="59" y="44"/>
                </a:lnTo>
                <a:lnTo>
                  <a:pt x="62" y="47"/>
                </a:lnTo>
                <a:lnTo>
                  <a:pt x="59" y="50"/>
                </a:lnTo>
                <a:lnTo>
                  <a:pt x="59" y="54"/>
                </a:lnTo>
                <a:lnTo>
                  <a:pt x="59" y="57"/>
                </a:lnTo>
                <a:lnTo>
                  <a:pt x="59" y="57"/>
                </a:lnTo>
                <a:lnTo>
                  <a:pt x="59" y="57"/>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2" name="Freeform 180">
            <a:extLst>
              <a:ext uri="{FF2B5EF4-FFF2-40B4-BE49-F238E27FC236}">
                <a16:creationId xmlns:a16="http://schemas.microsoft.com/office/drawing/2014/main" id="{754DBB29-E5B2-DD9D-8970-4F521F668BAA}"/>
              </a:ext>
            </a:extLst>
          </p:cNvPr>
          <p:cNvSpPr>
            <a:spLocks/>
          </p:cNvSpPr>
          <p:nvPr userDrawn="1"/>
        </p:nvSpPr>
        <p:spPr bwMode="auto">
          <a:xfrm>
            <a:off x="7771895" y="8422558"/>
            <a:ext cx="285731" cy="279400"/>
          </a:xfrm>
          <a:custGeom>
            <a:avLst/>
            <a:gdLst>
              <a:gd name="T0" fmla="*/ 11 w 29"/>
              <a:gd name="T1" fmla="*/ 25 h 28"/>
              <a:gd name="T2" fmla="*/ 13 w 29"/>
              <a:gd name="T3" fmla="*/ 25 h 28"/>
              <a:gd name="T4" fmla="*/ 18 w 29"/>
              <a:gd name="T5" fmla="*/ 25 h 28"/>
              <a:gd name="T6" fmla="*/ 20 w 29"/>
              <a:gd name="T7" fmla="*/ 26 h 28"/>
              <a:gd name="T8" fmla="*/ 21 w 29"/>
              <a:gd name="T9" fmla="*/ 27 h 28"/>
              <a:gd name="T10" fmla="*/ 23 w 29"/>
              <a:gd name="T11" fmla="*/ 28 h 28"/>
              <a:gd name="T12" fmla="*/ 23 w 29"/>
              <a:gd name="T13" fmla="*/ 28 h 28"/>
              <a:gd name="T14" fmla="*/ 24 w 29"/>
              <a:gd name="T15" fmla="*/ 26 h 28"/>
              <a:gd name="T16" fmla="*/ 23 w 29"/>
              <a:gd name="T17" fmla="*/ 24 h 28"/>
              <a:gd name="T18" fmla="*/ 24 w 29"/>
              <a:gd name="T19" fmla="*/ 22 h 28"/>
              <a:gd name="T20" fmla="*/ 24 w 29"/>
              <a:gd name="T21" fmla="*/ 21 h 28"/>
              <a:gd name="T22" fmla="*/ 23 w 29"/>
              <a:gd name="T23" fmla="*/ 22 h 28"/>
              <a:gd name="T24" fmla="*/ 23 w 29"/>
              <a:gd name="T25" fmla="*/ 20 h 28"/>
              <a:gd name="T26" fmla="*/ 24 w 29"/>
              <a:gd name="T27" fmla="*/ 18 h 28"/>
              <a:gd name="T28" fmla="*/ 24 w 29"/>
              <a:gd name="T29" fmla="*/ 15 h 28"/>
              <a:gd name="T30" fmla="*/ 25 w 29"/>
              <a:gd name="T31" fmla="*/ 16 h 28"/>
              <a:gd name="T32" fmla="*/ 25 w 29"/>
              <a:gd name="T33" fmla="*/ 18 h 28"/>
              <a:gd name="T34" fmla="*/ 26 w 29"/>
              <a:gd name="T35" fmla="*/ 18 h 28"/>
              <a:gd name="T36" fmla="*/ 26 w 29"/>
              <a:gd name="T37" fmla="*/ 12 h 28"/>
              <a:gd name="T38" fmla="*/ 26 w 29"/>
              <a:gd name="T39" fmla="*/ 11 h 28"/>
              <a:gd name="T40" fmla="*/ 25 w 29"/>
              <a:gd name="T41" fmla="*/ 10 h 28"/>
              <a:gd name="T42" fmla="*/ 26 w 29"/>
              <a:gd name="T43" fmla="*/ 10 h 28"/>
              <a:gd name="T44" fmla="*/ 27 w 29"/>
              <a:gd name="T45" fmla="*/ 8 h 28"/>
              <a:gd name="T46" fmla="*/ 28 w 29"/>
              <a:gd name="T47" fmla="*/ 6 h 28"/>
              <a:gd name="T48" fmla="*/ 28 w 29"/>
              <a:gd name="T49" fmla="*/ 5 h 28"/>
              <a:gd name="T50" fmla="*/ 28 w 29"/>
              <a:gd name="T51" fmla="*/ 4 h 28"/>
              <a:gd name="T52" fmla="*/ 28 w 29"/>
              <a:gd name="T53" fmla="*/ 1 h 28"/>
              <a:gd name="T54" fmla="*/ 29 w 29"/>
              <a:gd name="T55" fmla="*/ 0 h 28"/>
              <a:gd name="T56" fmla="*/ 27 w 29"/>
              <a:gd name="T57" fmla="*/ 0 h 28"/>
              <a:gd name="T58" fmla="*/ 26 w 29"/>
              <a:gd name="T59" fmla="*/ 0 h 28"/>
              <a:gd name="T60" fmla="*/ 25 w 29"/>
              <a:gd name="T61" fmla="*/ 1 h 28"/>
              <a:gd name="T62" fmla="*/ 23 w 29"/>
              <a:gd name="T63" fmla="*/ 2 h 28"/>
              <a:gd name="T64" fmla="*/ 22 w 29"/>
              <a:gd name="T65" fmla="*/ 3 h 28"/>
              <a:gd name="T66" fmla="*/ 20 w 29"/>
              <a:gd name="T67" fmla="*/ 3 h 28"/>
              <a:gd name="T68" fmla="*/ 19 w 29"/>
              <a:gd name="T69" fmla="*/ 2 h 28"/>
              <a:gd name="T70" fmla="*/ 18 w 29"/>
              <a:gd name="T71" fmla="*/ 3 h 28"/>
              <a:gd name="T72" fmla="*/ 16 w 29"/>
              <a:gd name="T73" fmla="*/ 4 h 28"/>
              <a:gd name="T74" fmla="*/ 15 w 29"/>
              <a:gd name="T75" fmla="*/ 5 h 28"/>
              <a:gd name="T76" fmla="*/ 13 w 29"/>
              <a:gd name="T77" fmla="*/ 7 h 28"/>
              <a:gd name="T78" fmla="*/ 11 w 29"/>
              <a:gd name="T79" fmla="*/ 8 h 28"/>
              <a:gd name="T80" fmla="*/ 10 w 29"/>
              <a:gd name="T81" fmla="*/ 7 h 28"/>
              <a:gd name="T82" fmla="*/ 7 w 29"/>
              <a:gd name="T83" fmla="*/ 8 h 28"/>
              <a:gd name="T84" fmla="*/ 5 w 29"/>
              <a:gd name="T85" fmla="*/ 9 h 28"/>
              <a:gd name="T86" fmla="*/ 5 w 29"/>
              <a:gd name="T87" fmla="*/ 12 h 28"/>
              <a:gd name="T88" fmla="*/ 3 w 29"/>
              <a:gd name="T89" fmla="*/ 13 h 28"/>
              <a:gd name="T90" fmla="*/ 1 w 29"/>
              <a:gd name="T91" fmla="*/ 14 h 28"/>
              <a:gd name="T92" fmla="*/ 0 w 29"/>
              <a:gd name="T93" fmla="*/ 13 h 28"/>
              <a:gd name="T94" fmla="*/ 2 w 29"/>
              <a:gd name="T95" fmla="*/ 17 h 28"/>
              <a:gd name="T96" fmla="*/ 3 w 29"/>
              <a:gd name="T97" fmla="*/ 18 h 28"/>
              <a:gd name="T98" fmla="*/ 6 w 29"/>
              <a:gd name="T99" fmla="*/ 22 h 28"/>
              <a:gd name="T100" fmla="*/ 10 w 29"/>
              <a:gd name="T10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 h="28">
                <a:moveTo>
                  <a:pt x="10" y="25"/>
                </a:moveTo>
                <a:cubicBezTo>
                  <a:pt x="11" y="25"/>
                  <a:pt x="11" y="25"/>
                  <a:pt x="11" y="25"/>
                </a:cubicBezTo>
                <a:cubicBezTo>
                  <a:pt x="11" y="25"/>
                  <a:pt x="11" y="25"/>
                  <a:pt x="11" y="25"/>
                </a:cubicBezTo>
                <a:cubicBezTo>
                  <a:pt x="13" y="25"/>
                  <a:pt x="13" y="25"/>
                  <a:pt x="13" y="25"/>
                </a:cubicBezTo>
                <a:cubicBezTo>
                  <a:pt x="16" y="26"/>
                  <a:pt x="16" y="26"/>
                  <a:pt x="16" y="26"/>
                </a:cubicBezTo>
                <a:cubicBezTo>
                  <a:pt x="18" y="25"/>
                  <a:pt x="18" y="25"/>
                  <a:pt x="18" y="25"/>
                </a:cubicBezTo>
                <a:cubicBezTo>
                  <a:pt x="19" y="25"/>
                  <a:pt x="19" y="25"/>
                  <a:pt x="19" y="25"/>
                </a:cubicBezTo>
                <a:cubicBezTo>
                  <a:pt x="20" y="26"/>
                  <a:pt x="20" y="26"/>
                  <a:pt x="20" y="26"/>
                </a:cubicBezTo>
                <a:cubicBezTo>
                  <a:pt x="21" y="27"/>
                  <a:pt x="21" y="27"/>
                  <a:pt x="21" y="27"/>
                </a:cubicBezTo>
                <a:cubicBezTo>
                  <a:pt x="21" y="27"/>
                  <a:pt x="21" y="27"/>
                  <a:pt x="21" y="27"/>
                </a:cubicBezTo>
                <a:cubicBezTo>
                  <a:pt x="22" y="28"/>
                  <a:pt x="22" y="28"/>
                  <a:pt x="22" y="28"/>
                </a:cubicBezTo>
                <a:cubicBezTo>
                  <a:pt x="23" y="28"/>
                  <a:pt x="23" y="28"/>
                  <a:pt x="23" y="28"/>
                </a:cubicBezTo>
                <a:cubicBezTo>
                  <a:pt x="23" y="28"/>
                  <a:pt x="23" y="28"/>
                  <a:pt x="23" y="28"/>
                </a:cubicBezTo>
                <a:cubicBezTo>
                  <a:pt x="23" y="28"/>
                  <a:pt x="23" y="28"/>
                  <a:pt x="23" y="28"/>
                </a:cubicBezTo>
                <a:cubicBezTo>
                  <a:pt x="24" y="27"/>
                  <a:pt x="24" y="27"/>
                  <a:pt x="24" y="27"/>
                </a:cubicBezTo>
                <a:cubicBezTo>
                  <a:pt x="24" y="26"/>
                  <a:pt x="24" y="26"/>
                  <a:pt x="24" y="26"/>
                </a:cubicBezTo>
                <a:cubicBezTo>
                  <a:pt x="23" y="26"/>
                  <a:pt x="23" y="26"/>
                  <a:pt x="23" y="26"/>
                </a:cubicBezTo>
                <a:cubicBezTo>
                  <a:pt x="23" y="24"/>
                  <a:pt x="23" y="24"/>
                  <a:pt x="23" y="24"/>
                </a:cubicBezTo>
                <a:cubicBezTo>
                  <a:pt x="24" y="23"/>
                  <a:pt x="24" y="23"/>
                  <a:pt x="24" y="23"/>
                </a:cubicBezTo>
                <a:cubicBezTo>
                  <a:pt x="24" y="22"/>
                  <a:pt x="24" y="22"/>
                  <a:pt x="24" y="22"/>
                </a:cubicBezTo>
                <a:cubicBezTo>
                  <a:pt x="24" y="20"/>
                  <a:pt x="24" y="20"/>
                  <a:pt x="24" y="20"/>
                </a:cubicBezTo>
                <a:cubicBezTo>
                  <a:pt x="24" y="21"/>
                  <a:pt x="24" y="21"/>
                  <a:pt x="24" y="21"/>
                </a:cubicBezTo>
                <a:cubicBezTo>
                  <a:pt x="24" y="22"/>
                  <a:pt x="24" y="22"/>
                  <a:pt x="24" y="22"/>
                </a:cubicBezTo>
                <a:cubicBezTo>
                  <a:pt x="23" y="22"/>
                  <a:pt x="23" y="22"/>
                  <a:pt x="23" y="22"/>
                </a:cubicBezTo>
                <a:cubicBezTo>
                  <a:pt x="23" y="21"/>
                  <a:pt x="23" y="21"/>
                  <a:pt x="23" y="21"/>
                </a:cubicBezTo>
                <a:cubicBezTo>
                  <a:pt x="23" y="20"/>
                  <a:pt x="23" y="20"/>
                  <a:pt x="23" y="20"/>
                </a:cubicBezTo>
                <a:cubicBezTo>
                  <a:pt x="24" y="19"/>
                  <a:pt x="24" y="19"/>
                  <a:pt x="24" y="19"/>
                </a:cubicBezTo>
                <a:cubicBezTo>
                  <a:pt x="24" y="18"/>
                  <a:pt x="24" y="18"/>
                  <a:pt x="24" y="18"/>
                </a:cubicBezTo>
                <a:cubicBezTo>
                  <a:pt x="24" y="17"/>
                  <a:pt x="24" y="17"/>
                  <a:pt x="24" y="17"/>
                </a:cubicBezTo>
                <a:cubicBezTo>
                  <a:pt x="24" y="15"/>
                  <a:pt x="24" y="15"/>
                  <a:pt x="24" y="15"/>
                </a:cubicBezTo>
                <a:cubicBezTo>
                  <a:pt x="25" y="15"/>
                  <a:pt x="25" y="15"/>
                  <a:pt x="25" y="15"/>
                </a:cubicBezTo>
                <a:cubicBezTo>
                  <a:pt x="25" y="16"/>
                  <a:pt x="25" y="16"/>
                  <a:pt x="25" y="16"/>
                </a:cubicBezTo>
                <a:cubicBezTo>
                  <a:pt x="25" y="16"/>
                  <a:pt x="25" y="17"/>
                  <a:pt x="25" y="17"/>
                </a:cubicBezTo>
                <a:cubicBezTo>
                  <a:pt x="25" y="17"/>
                  <a:pt x="25" y="18"/>
                  <a:pt x="25" y="18"/>
                </a:cubicBezTo>
                <a:cubicBezTo>
                  <a:pt x="25" y="18"/>
                  <a:pt x="25" y="18"/>
                  <a:pt x="25" y="18"/>
                </a:cubicBezTo>
                <a:cubicBezTo>
                  <a:pt x="26" y="18"/>
                  <a:pt x="26" y="18"/>
                  <a:pt x="26" y="18"/>
                </a:cubicBezTo>
                <a:cubicBezTo>
                  <a:pt x="26" y="15"/>
                  <a:pt x="26" y="15"/>
                  <a:pt x="26" y="15"/>
                </a:cubicBezTo>
                <a:cubicBezTo>
                  <a:pt x="26" y="12"/>
                  <a:pt x="26" y="12"/>
                  <a:pt x="26" y="12"/>
                </a:cubicBezTo>
                <a:cubicBezTo>
                  <a:pt x="26" y="12"/>
                  <a:pt x="26" y="12"/>
                  <a:pt x="26" y="12"/>
                </a:cubicBezTo>
                <a:cubicBezTo>
                  <a:pt x="26" y="11"/>
                  <a:pt x="26" y="11"/>
                  <a:pt x="26" y="11"/>
                </a:cubicBezTo>
                <a:cubicBezTo>
                  <a:pt x="25" y="11"/>
                  <a:pt x="25" y="11"/>
                  <a:pt x="25" y="11"/>
                </a:cubicBezTo>
                <a:cubicBezTo>
                  <a:pt x="25" y="10"/>
                  <a:pt x="25" y="10"/>
                  <a:pt x="25" y="10"/>
                </a:cubicBezTo>
                <a:cubicBezTo>
                  <a:pt x="26" y="10"/>
                  <a:pt x="26" y="10"/>
                  <a:pt x="26" y="10"/>
                </a:cubicBezTo>
                <a:cubicBezTo>
                  <a:pt x="26" y="10"/>
                  <a:pt x="26" y="10"/>
                  <a:pt x="26" y="10"/>
                </a:cubicBezTo>
                <a:cubicBezTo>
                  <a:pt x="26" y="10"/>
                  <a:pt x="26" y="10"/>
                  <a:pt x="26" y="10"/>
                </a:cubicBezTo>
                <a:cubicBezTo>
                  <a:pt x="27" y="8"/>
                  <a:pt x="27" y="8"/>
                  <a:pt x="27" y="8"/>
                </a:cubicBezTo>
                <a:cubicBezTo>
                  <a:pt x="28" y="7"/>
                  <a:pt x="28" y="7"/>
                  <a:pt x="28" y="7"/>
                </a:cubicBezTo>
                <a:cubicBezTo>
                  <a:pt x="28" y="6"/>
                  <a:pt x="28" y="6"/>
                  <a:pt x="28" y="6"/>
                </a:cubicBezTo>
                <a:cubicBezTo>
                  <a:pt x="28" y="6"/>
                  <a:pt x="28" y="6"/>
                  <a:pt x="28" y="6"/>
                </a:cubicBezTo>
                <a:cubicBezTo>
                  <a:pt x="28" y="5"/>
                  <a:pt x="28" y="5"/>
                  <a:pt x="28" y="5"/>
                </a:cubicBezTo>
                <a:cubicBezTo>
                  <a:pt x="28" y="5"/>
                  <a:pt x="28" y="5"/>
                  <a:pt x="28" y="5"/>
                </a:cubicBezTo>
                <a:cubicBezTo>
                  <a:pt x="28" y="4"/>
                  <a:pt x="28" y="4"/>
                  <a:pt x="28" y="4"/>
                </a:cubicBezTo>
                <a:cubicBezTo>
                  <a:pt x="28" y="3"/>
                  <a:pt x="28" y="3"/>
                  <a:pt x="28" y="3"/>
                </a:cubicBezTo>
                <a:cubicBezTo>
                  <a:pt x="28" y="1"/>
                  <a:pt x="28" y="1"/>
                  <a:pt x="28" y="1"/>
                </a:cubicBezTo>
                <a:cubicBezTo>
                  <a:pt x="28" y="0"/>
                  <a:pt x="28" y="0"/>
                  <a:pt x="28" y="0"/>
                </a:cubicBezTo>
                <a:cubicBezTo>
                  <a:pt x="29" y="0"/>
                  <a:pt x="29" y="0"/>
                  <a:pt x="29" y="0"/>
                </a:cubicBezTo>
                <a:cubicBezTo>
                  <a:pt x="28" y="0"/>
                  <a:pt x="28" y="0"/>
                  <a:pt x="28" y="0"/>
                </a:cubicBezTo>
                <a:cubicBezTo>
                  <a:pt x="27" y="0"/>
                  <a:pt x="27" y="0"/>
                  <a:pt x="27" y="0"/>
                </a:cubicBezTo>
                <a:cubicBezTo>
                  <a:pt x="27" y="0"/>
                  <a:pt x="27" y="0"/>
                  <a:pt x="27" y="0"/>
                </a:cubicBezTo>
                <a:cubicBezTo>
                  <a:pt x="26" y="0"/>
                  <a:pt x="26" y="0"/>
                  <a:pt x="26" y="0"/>
                </a:cubicBezTo>
                <a:cubicBezTo>
                  <a:pt x="25" y="0"/>
                  <a:pt x="25" y="0"/>
                  <a:pt x="25" y="0"/>
                </a:cubicBezTo>
                <a:cubicBezTo>
                  <a:pt x="25" y="1"/>
                  <a:pt x="25" y="1"/>
                  <a:pt x="25" y="1"/>
                </a:cubicBezTo>
                <a:cubicBezTo>
                  <a:pt x="24" y="1"/>
                  <a:pt x="24" y="1"/>
                  <a:pt x="24" y="1"/>
                </a:cubicBezTo>
                <a:cubicBezTo>
                  <a:pt x="23" y="2"/>
                  <a:pt x="23" y="2"/>
                  <a:pt x="23" y="2"/>
                </a:cubicBezTo>
                <a:cubicBezTo>
                  <a:pt x="22" y="2"/>
                  <a:pt x="22" y="2"/>
                  <a:pt x="22" y="2"/>
                </a:cubicBezTo>
                <a:cubicBezTo>
                  <a:pt x="22" y="3"/>
                  <a:pt x="22" y="3"/>
                  <a:pt x="22" y="3"/>
                </a:cubicBezTo>
                <a:cubicBezTo>
                  <a:pt x="21" y="3"/>
                  <a:pt x="21" y="3"/>
                  <a:pt x="21" y="3"/>
                </a:cubicBezTo>
                <a:cubicBezTo>
                  <a:pt x="20" y="3"/>
                  <a:pt x="20" y="3"/>
                  <a:pt x="20" y="3"/>
                </a:cubicBezTo>
                <a:cubicBezTo>
                  <a:pt x="20" y="2"/>
                  <a:pt x="20" y="2"/>
                  <a:pt x="20" y="2"/>
                </a:cubicBezTo>
                <a:cubicBezTo>
                  <a:pt x="19" y="2"/>
                  <a:pt x="19" y="2"/>
                  <a:pt x="19" y="2"/>
                </a:cubicBezTo>
                <a:cubicBezTo>
                  <a:pt x="18" y="2"/>
                  <a:pt x="18" y="2"/>
                  <a:pt x="18" y="2"/>
                </a:cubicBezTo>
                <a:cubicBezTo>
                  <a:pt x="18" y="3"/>
                  <a:pt x="18" y="3"/>
                  <a:pt x="18" y="3"/>
                </a:cubicBezTo>
                <a:cubicBezTo>
                  <a:pt x="17" y="3"/>
                  <a:pt x="17" y="3"/>
                  <a:pt x="17" y="3"/>
                </a:cubicBezTo>
                <a:cubicBezTo>
                  <a:pt x="16" y="4"/>
                  <a:pt x="16" y="4"/>
                  <a:pt x="16" y="4"/>
                </a:cubicBezTo>
                <a:cubicBezTo>
                  <a:pt x="16" y="5"/>
                  <a:pt x="16" y="5"/>
                  <a:pt x="16" y="5"/>
                </a:cubicBezTo>
                <a:cubicBezTo>
                  <a:pt x="15" y="5"/>
                  <a:pt x="15" y="5"/>
                  <a:pt x="15" y="5"/>
                </a:cubicBezTo>
                <a:cubicBezTo>
                  <a:pt x="14" y="7"/>
                  <a:pt x="14" y="7"/>
                  <a:pt x="14" y="7"/>
                </a:cubicBezTo>
                <a:cubicBezTo>
                  <a:pt x="13" y="7"/>
                  <a:pt x="13" y="7"/>
                  <a:pt x="13" y="7"/>
                </a:cubicBezTo>
                <a:cubicBezTo>
                  <a:pt x="12" y="8"/>
                  <a:pt x="12" y="8"/>
                  <a:pt x="12" y="8"/>
                </a:cubicBezTo>
                <a:cubicBezTo>
                  <a:pt x="11" y="8"/>
                  <a:pt x="11" y="8"/>
                  <a:pt x="11" y="8"/>
                </a:cubicBezTo>
                <a:cubicBezTo>
                  <a:pt x="11" y="8"/>
                  <a:pt x="11" y="8"/>
                  <a:pt x="11" y="8"/>
                </a:cubicBezTo>
                <a:cubicBezTo>
                  <a:pt x="10" y="7"/>
                  <a:pt x="10" y="7"/>
                  <a:pt x="10" y="7"/>
                </a:cubicBezTo>
                <a:cubicBezTo>
                  <a:pt x="9" y="7"/>
                  <a:pt x="9" y="7"/>
                  <a:pt x="9" y="7"/>
                </a:cubicBezTo>
                <a:cubicBezTo>
                  <a:pt x="7" y="8"/>
                  <a:pt x="7" y="8"/>
                  <a:pt x="7" y="8"/>
                </a:cubicBezTo>
                <a:cubicBezTo>
                  <a:pt x="5" y="8"/>
                  <a:pt x="5" y="8"/>
                  <a:pt x="5" y="8"/>
                </a:cubicBezTo>
                <a:cubicBezTo>
                  <a:pt x="5" y="9"/>
                  <a:pt x="5" y="9"/>
                  <a:pt x="5" y="9"/>
                </a:cubicBezTo>
                <a:cubicBezTo>
                  <a:pt x="5" y="10"/>
                  <a:pt x="5" y="10"/>
                  <a:pt x="5" y="10"/>
                </a:cubicBezTo>
                <a:cubicBezTo>
                  <a:pt x="5" y="12"/>
                  <a:pt x="5" y="12"/>
                  <a:pt x="5" y="12"/>
                </a:cubicBezTo>
                <a:cubicBezTo>
                  <a:pt x="4" y="13"/>
                  <a:pt x="4" y="13"/>
                  <a:pt x="4" y="13"/>
                </a:cubicBezTo>
                <a:cubicBezTo>
                  <a:pt x="3" y="13"/>
                  <a:pt x="3" y="13"/>
                  <a:pt x="3" y="13"/>
                </a:cubicBezTo>
                <a:cubicBezTo>
                  <a:pt x="2" y="13"/>
                  <a:pt x="2" y="13"/>
                  <a:pt x="2" y="13"/>
                </a:cubicBezTo>
                <a:cubicBezTo>
                  <a:pt x="1" y="14"/>
                  <a:pt x="1" y="14"/>
                  <a:pt x="1" y="14"/>
                </a:cubicBezTo>
                <a:cubicBezTo>
                  <a:pt x="1" y="14"/>
                  <a:pt x="1" y="14"/>
                  <a:pt x="1" y="14"/>
                </a:cubicBezTo>
                <a:cubicBezTo>
                  <a:pt x="0" y="13"/>
                  <a:pt x="0" y="13"/>
                  <a:pt x="0" y="13"/>
                </a:cubicBezTo>
                <a:cubicBezTo>
                  <a:pt x="0" y="14"/>
                  <a:pt x="0" y="14"/>
                  <a:pt x="0" y="14"/>
                </a:cubicBezTo>
                <a:cubicBezTo>
                  <a:pt x="2" y="17"/>
                  <a:pt x="2" y="17"/>
                  <a:pt x="2" y="17"/>
                </a:cubicBezTo>
                <a:cubicBezTo>
                  <a:pt x="3" y="17"/>
                  <a:pt x="3" y="17"/>
                  <a:pt x="3" y="17"/>
                </a:cubicBezTo>
                <a:cubicBezTo>
                  <a:pt x="3" y="18"/>
                  <a:pt x="3" y="18"/>
                  <a:pt x="3" y="18"/>
                </a:cubicBezTo>
                <a:cubicBezTo>
                  <a:pt x="5" y="20"/>
                  <a:pt x="5" y="20"/>
                  <a:pt x="5" y="20"/>
                </a:cubicBezTo>
                <a:cubicBezTo>
                  <a:pt x="6" y="22"/>
                  <a:pt x="6" y="22"/>
                  <a:pt x="6" y="22"/>
                </a:cubicBezTo>
                <a:cubicBezTo>
                  <a:pt x="9" y="25"/>
                  <a:pt x="9" y="25"/>
                  <a:pt x="9" y="25"/>
                </a:cubicBezTo>
                <a:cubicBezTo>
                  <a:pt x="10" y="25"/>
                  <a:pt x="10" y="25"/>
                  <a:pt x="10" y="25"/>
                </a:cubicBez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3" name="Freeform 181">
            <a:extLst>
              <a:ext uri="{FF2B5EF4-FFF2-40B4-BE49-F238E27FC236}">
                <a16:creationId xmlns:a16="http://schemas.microsoft.com/office/drawing/2014/main" id="{F1C238C5-1AD8-4C15-E7A1-86C875AC8613}"/>
              </a:ext>
            </a:extLst>
          </p:cNvPr>
          <p:cNvSpPr>
            <a:spLocks/>
          </p:cNvSpPr>
          <p:nvPr userDrawn="1"/>
        </p:nvSpPr>
        <p:spPr bwMode="auto">
          <a:xfrm>
            <a:off x="7641728" y="8352709"/>
            <a:ext cx="415899" cy="200026"/>
          </a:xfrm>
          <a:custGeom>
            <a:avLst/>
            <a:gdLst>
              <a:gd name="T0" fmla="*/ 50 w 131"/>
              <a:gd name="T1" fmla="*/ 63 h 63"/>
              <a:gd name="T2" fmla="*/ 56 w 131"/>
              <a:gd name="T3" fmla="*/ 60 h 63"/>
              <a:gd name="T4" fmla="*/ 56 w 131"/>
              <a:gd name="T5" fmla="*/ 50 h 63"/>
              <a:gd name="T6" fmla="*/ 63 w 131"/>
              <a:gd name="T7" fmla="*/ 47 h 63"/>
              <a:gd name="T8" fmla="*/ 72 w 131"/>
              <a:gd name="T9" fmla="*/ 44 h 63"/>
              <a:gd name="T10" fmla="*/ 75 w 131"/>
              <a:gd name="T11" fmla="*/ 47 h 63"/>
              <a:gd name="T12" fmla="*/ 81 w 131"/>
              <a:gd name="T13" fmla="*/ 44 h 63"/>
              <a:gd name="T14" fmla="*/ 88 w 131"/>
              <a:gd name="T15" fmla="*/ 38 h 63"/>
              <a:gd name="T16" fmla="*/ 91 w 131"/>
              <a:gd name="T17" fmla="*/ 35 h 63"/>
              <a:gd name="T18" fmla="*/ 97 w 131"/>
              <a:gd name="T19" fmla="*/ 32 h 63"/>
              <a:gd name="T20" fmla="*/ 100 w 131"/>
              <a:gd name="T21" fmla="*/ 28 h 63"/>
              <a:gd name="T22" fmla="*/ 103 w 131"/>
              <a:gd name="T23" fmla="*/ 32 h 63"/>
              <a:gd name="T24" fmla="*/ 109 w 131"/>
              <a:gd name="T25" fmla="*/ 32 h 63"/>
              <a:gd name="T26" fmla="*/ 113 w 131"/>
              <a:gd name="T27" fmla="*/ 28 h 63"/>
              <a:gd name="T28" fmla="*/ 119 w 131"/>
              <a:gd name="T29" fmla="*/ 25 h 63"/>
              <a:gd name="T30" fmla="*/ 122 w 131"/>
              <a:gd name="T31" fmla="*/ 22 h 63"/>
              <a:gd name="T32" fmla="*/ 125 w 131"/>
              <a:gd name="T33" fmla="*/ 22 h 63"/>
              <a:gd name="T34" fmla="*/ 131 w 131"/>
              <a:gd name="T35" fmla="*/ 22 h 63"/>
              <a:gd name="T36" fmla="*/ 131 w 131"/>
              <a:gd name="T37" fmla="*/ 19 h 63"/>
              <a:gd name="T38" fmla="*/ 122 w 131"/>
              <a:gd name="T39" fmla="*/ 13 h 63"/>
              <a:gd name="T40" fmla="*/ 122 w 131"/>
              <a:gd name="T41" fmla="*/ 19 h 63"/>
              <a:gd name="T42" fmla="*/ 113 w 131"/>
              <a:gd name="T43" fmla="*/ 16 h 63"/>
              <a:gd name="T44" fmla="*/ 106 w 131"/>
              <a:gd name="T45" fmla="*/ 16 h 63"/>
              <a:gd name="T46" fmla="*/ 106 w 131"/>
              <a:gd name="T47" fmla="*/ 13 h 63"/>
              <a:gd name="T48" fmla="*/ 106 w 131"/>
              <a:gd name="T49" fmla="*/ 10 h 63"/>
              <a:gd name="T50" fmla="*/ 113 w 131"/>
              <a:gd name="T51" fmla="*/ 10 h 63"/>
              <a:gd name="T52" fmla="*/ 119 w 131"/>
              <a:gd name="T53" fmla="*/ 13 h 63"/>
              <a:gd name="T54" fmla="*/ 109 w 131"/>
              <a:gd name="T55" fmla="*/ 6 h 63"/>
              <a:gd name="T56" fmla="*/ 103 w 131"/>
              <a:gd name="T57" fmla="*/ 6 h 63"/>
              <a:gd name="T58" fmla="*/ 100 w 131"/>
              <a:gd name="T59" fmla="*/ 10 h 63"/>
              <a:gd name="T60" fmla="*/ 91 w 131"/>
              <a:gd name="T61" fmla="*/ 6 h 63"/>
              <a:gd name="T62" fmla="*/ 75 w 131"/>
              <a:gd name="T63" fmla="*/ 0 h 63"/>
              <a:gd name="T64" fmla="*/ 72 w 131"/>
              <a:gd name="T65" fmla="*/ 3 h 63"/>
              <a:gd name="T66" fmla="*/ 69 w 131"/>
              <a:gd name="T67" fmla="*/ 3 h 63"/>
              <a:gd name="T68" fmla="*/ 66 w 131"/>
              <a:gd name="T69" fmla="*/ 3 h 63"/>
              <a:gd name="T70" fmla="*/ 50 w 131"/>
              <a:gd name="T71" fmla="*/ 6 h 63"/>
              <a:gd name="T72" fmla="*/ 34 w 131"/>
              <a:gd name="T73" fmla="*/ 10 h 63"/>
              <a:gd name="T74" fmla="*/ 31 w 131"/>
              <a:gd name="T75" fmla="*/ 10 h 63"/>
              <a:gd name="T76" fmla="*/ 25 w 131"/>
              <a:gd name="T77" fmla="*/ 13 h 63"/>
              <a:gd name="T78" fmla="*/ 19 w 131"/>
              <a:gd name="T79" fmla="*/ 16 h 63"/>
              <a:gd name="T80" fmla="*/ 9 w 131"/>
              <a:gd name="T81" fmla="*/ 25 h 63"/>
              <a:gd name="T82" fmla="*/ 9 w 131"/>
              <a:gd name="T83" fmla="*/ 35 h 63"/>
              <a:gd name="T84" fmla="*/ 3 w 131"/>
              <a:gd name="T85" fmla="*/ 38 h 63"/>
              <a:gd name="T86" fmla="*/ 3 w 131"/>
              <a:gd name="T87" fmla="*/ 41 h 63"/>
              <a:gd name="T88" fmla="*/ 3 w 131"/>
              <a:gd name="T89" fmla="*/ 53 h 63"/>
              <a:gd name="T90" fmla="*/ 12 w 131"/>
              <a:gd name="T91" fmla="*/ 57 h 63"/>
              <a:gd name="T92" fmla="*/ 19 w 131"/>
              <a:gd name="T93" fmla="*/ 60 h 63"/>
              <a:gd name="T94" fmla="*/ 16 w 131"/>
              <a:gd name="T95" fmla="*/ 57 h 63"/>
              <a:gd name="T96" fmla="*/ 25 w 131"/>
              <a:gd name="T97" fmla="*/ 60 h 63"/>
              <a:gd name="T98" fmla="*/ 34 w 131"/>
              <a:gd name="T99" fmla="*/ 63 h 63"/>
              <a:gd name="T100" fmla="*/ 38 w 131"/>
              <a:gd name="T101" fmla="*/ 57 h 63"/>
              <a:gd name="T102" fmla="*/ 41 w 131"/>
              <a:gd name="T103" fmla="*/ 57 h 63"/>
              <a:gd name="T104" fmla="*/ 41 w 131"/>
              <a:gd name="T105" fmla="*/ 60 h 63"/>
              <a:gd name="T106" fmla="*/ 44 w 131"/>
              <a:gd name="T107" fmla="*/ 60 h 63"/>
              <a:gd name="T108" fmla="*/ 47 w 131"/>
              <a:gd name="T109"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1" h="63">
                <a:moveTo>
                  <a:pt x="47" y="63"/>
                </a:moveTo>
                <a:lnTo>
                  <a:pt x="50" y="63"/>
                </a:lnTo>
                <a:lnTo>
                  <a:pt x="53" y="63"/>
                </a:lnTo>
                <a:lnTo>
                  <a:pt x="56" y="60"/>
                </a:lnTo>
                <a:lnTo>
                  <a:pt x="56" y="53"/>
                </a:lnTo>
                <a:lnTo>
                  <a:pt x="56" y="50"/>
                </a:lnTo>
                <a:lnTo>
                  <a:pt x="56" y="47"/>
                </a:lnTo>
                <a:lnTo>
                  <a:pt x="63" y="47"/>
                </a:lnTo>
                <a:lnTo>
                  <a:pt x="69" y="44"/>
                </a:lnTo>
                <a:lnTo>
                  <a:pt x="72" y="44"/>
                </a:lnTo>
                <a:lnTo>
                  <a:pt x="75" y="47"/>
                </a:lnTo>
                <a:lnTo>
                  <a:pt x="75" y="47"/>
                </a:lnTo>
                <a:lnTo>
                  <a:pt x="78" y="47"/>
                </a:lnTo>
                <a:lnTo>
                  <a:pt x="81" y="44"/>
                </a:lnTo>
                <a:lnTo>
                  <a:pt x="84" y="44"/>
                </a:lnTo>
                <a:lnTo>
                  <a:pt x="88" y="38"/>
                </a:lnTo>
                <a:lnTo>
                  <a:pt x="91" y="38"/>
                </a:lnTo>
                <a:lnTo>
                  <a:pt x="91" y="35"/>
                </a:lnTo>
                <a:lnTo>
                  <a:pt x="94" y="32"/>
                </a:lnTo>
                <a:lnTo>
                  <a:pt x="97" y="32"/>
                </a:lnTo>
                <a:lnTo>
                  <a:pt x="97" y="28"/>
                </a:lnTo>
                <a:lnTo>
                  <a:pt x="100" y="28"/>
                </a:lnTo>
                <a:lnTo>
                  <a:pt x="103" y="28"/>
                </a:lnTo>
                <a:lnTo>
                  <a:pt x="103" y="32"/>
                </a:lnTo>
                <a:lnTo>
                  <a:pt x="106" y="32"/>
                </a:lnTo>
                <a:lnTo>
                  <a:pt x="109" y="32"/>
                </a:lnTo>
                <a:lnTo>
                  <a:pt x="109" y="28"/>
                </a:lnTo>
                <a:lnTo>
                  <a:pt x="113" y="28"/>
                </a:lnTo>
                <a:lnTo>
                  <a:pt x="116" y="25"/>
                </a:lnTo>
                <a:lnTo>
                  <a:pt x="119" y="25"/>
                </a:lnTo>
                <a:lnTo>
                  <a:pt x="119" y="22"/>
                </a:lnTo>
                <a:lnTo>
                  <a:pt x="122" y="22"/>
                </a:lnTo>
                <a:lnTo>
                  <a:pt x="125" y="22"/>
                </a:lnTo>
                <a:lnTo>
                  <a:pt x="125" y="22"/>
                </a:lnTo>
                <a:lnTo>
                  <a:pt x="128" y="22"/>
                </a:lnTo>
                <a:lnTo>
                  <a:pt x="131" y="22"/>
                </a:lnTo>
                <a:lnTo>
                  <a:pt x="131" y="22"/>
                </a:lnTo>
                <a:lnTo>
                  <a:pt x="131" y="19"/>
                </a:lnTo>
                <a:lnTo>
                  <a:pt x="125" y="16"/>
                </a:lnTo>
                <a:lnTo>
                  <a:pt x="122" y="13"/>
                </a:lnTo>
                <a:lnTo>
                  <a:pt x="122" y="13"/>
                </a:lnTo>
                <a:lnTo>
                  <a:pt x="122" y="19"/>
                </a:lnTo>
                <a:lnTo>
                  <a:pt x="119" y="16"/>
                </a:lnTo>
                <a:lnTo>
                  <a:pt x="113" y="16"/>
                </a:lnTo>
                <a:lnTo>
                  <a:pt x="113" y="16"/>
                </a:lnTo>
                <a:lnTo>
                  <a:pt x="106" y="16"/>
                </a:lnTo>
                <a:lnTo>
                  <a:pt x="103" y="16"/>
                </a:lnTo>
                <a:lnTo>
                  <a:pt x="106" y="13"/>
                </a:lnTo>
                <a:lnTo>
                  <a:pt x="106" y="13"/>
                </a:lnTo>
                <a:lnTo>
                  <a:pt x="106" y="10"/>
                </a:lnTo>
                <a:lnTo>
                  <a:pt x="109" y="10"/>
                </a:lnTo>
                <a:lnTo>
                  <a:pt x="113" y="10"/>
                </a:lnTo>
                <a:lnTo>
                  <a:pt x="119" y="13"/>
                </a:lnTo>
                <a:lnTo>
                  <a:pt x="119" y="13"/>
                </a:lnTo>
                <a:lnTo>
                  <a:pt x="116" y="10"/>
                </a:lnTo>
                <a:lnTo>
                  <a:pt x="109" y="6"/>
                </a:lnTo>
                <a:lnTo>
                  <a:pt x="106" y="6"/>
                </a:lnTo>
                <a:lnTo>
                  <a:pt x="103" y="6"/>
                </a:lnTo>
                <a:lnTo>
                  <a:pt x="100" y="6"/>
                </a:lnTo>
                <a:lnTo>
                  <a:pt x="100" y="10"/>
                </a:lnTo>
                <a:lnTo>
                  <a:pt x="97" y="6"/>
                </a:lnTo>
                <a:lnTo>
                  <a:pt x="91" y="6"/>
                </a:lnTo>
                <a:lnTo>
                  <a:pt x="81" y="6"/>
                </a:lnTo>
                <a:lnTo>
                  <a:pt x="75" y="0"/>
                </a:lnTo>
                <a:lnTo>
                  <a:pt x="72" y="0"/>
                </a:lnTo>
                <a:lnTo>
                  <a:pt x="72" y="3"/>
                </a:lnTo>
                <a:lnTo>
                  <a:pt x="72" y="3"/>
                </a:lnTo>
                <a:lnTo>
                  <a:pt x="69" y="3"/>
                </a:lnTo>
                <a:lnTo>
                  <a:pt x="69" y="6"/>
                </a:lnTo>
                <a:lnTo>
                  <a:pt x="66" y="3"/>
                </a:lnTo>
                <a:lnTo>
                  <a:pt x="59" y="6"/>
                </a:lnTo>
                <a:lnTo>
                  <a:pt x="50" y="6"/>
                </a:lnTo>
                <a:lnTo>
                  <a:pt x="38" y="6"/>
                </a:lnTo>
                <a:lnTo>
                  <a:pt x="34" y="10"/>
                </a:lnTo>
                <a:lnTo>
                  <a:pt x="31" y="6"/>
                </a:lnTo>
                <a:lnTo>
                  <a:pt x="31" y="10"/>
                </a:lnTo>
                <a:lnTo>
                  <a:pt x="28" y="10"/>
                </a:lnTo>
                <a:lnTo>
                  <a:pt x="25" y="13"/>
                </a:lnTo>
                <a:lnTo>
                  <a:pt x="22" y="16"/>
                </a:lnTo>
                <a:lnTo>
                  <a:pt x="19" y="16"/>
                </a:lnTo>
                <a:lnTo>
                  <a:pt x="12" y="22"/>
                </a:lnTo>
                <a:lnTo>
                  <a:pt x="9" y="25"/>
                </a:lnTo>
                <a:lnTo>
                  <a:pt x="9" y="28"/>
                </a:lnTo>
                <a:lnTo>
                  <a:pt x="9" y="35"/>
                </a:lnTo>
                <a:lnTo>
                  <a:pt x="3" y="38"/>
                </a:lnTo>
                <a:lnTo>
                  <a:pt x="3" y="38"/>
                </a:lnTo>
                <a:lnTo>
                  <a:pt x="3" y="41"/>
                </a:lnTo>
                <a:lnTo>
                  <a:pt x="3" y="41"/>
                </a:lnTo>
                <a:lnTo>
                  <a:pt x="0" y="50"/>
                </a:lnTo>
                <a:lnTo>
                  <a:pt x="3" y="53"/>
                </a:lnTo>
                <a:lnTo>
                  <a:pt x="3" y="53"/>
                </a:lnTo>
                <a:lnTo>
                  <a:pt x="12" y="57"/>
                </a:lnTo>
                <a:lnTo>
                  <a:pt x="19" y="60"/>
                </a:lnTo>
                <a:lnTo>
                  <a:pt x="19" y="60"/>
                </a:lnTo>
                <a:lnTo>
                  <a:pt x="16" y="57"/>
                </a:lnTo>
                <a:lnTo>
                  <a:pt x="16" y="57"/>
                </a:lnTo>
                <a:lnTo>
                  <a:pt x="22" y="57"/>
                </a:lnTo>
                <a:lnTo>
                  <a:pt x="25" y="60"/>
                </a:lnTo>
                <a:lnTo>
                  <a:pt x="25" y="63"/>
                </a:lnTo>
                <a:lnTo>
                  <a:pt x="34" y="63"/>
                </a:lnTo>
                <a:lnTo>
                  <a:pt x="38" y="60"/>
                </a:lnTo>
                <a:lnTo>
                  <a:pt x="38" y="57"/>
                </a:lnTo>
                <a:lnTo>
                  <a:pt x="38" y="57"/>
                </a:lnTo>
                <a:lnTo>
                  <a:pt x="41" y="57"/>
                </a:lnTo>
                <a:lnTo>
                  <a:pt x="41" y="60"/>
                </a:lnTo>
                <a:lnTo>
                  <a:pt x="41" y="60"/>
                </a:lnTo>
                <a:lnTo>
                  <a:pt x="44" y="57"/>
                </a:lnTo>
                <a:lnTo>
                  <a:pt x="44" y="60"/>
                </a:lnTo>
                <a:lnTo>
                  <a:pt x="44" y="60"/>
                </a:lnTo>
                <a:lnTo>
                  <a:pt x="47" y="63"/>
                </a:lnTo>
                <a:lnTo>
                  <a:pt x="47" y="63"/>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4" name="Freeform 182">
            <a:extLst>
              <a:ext uri="{FF2B5EF4-FFF2-40B4-BE49-F238E27FC236}">
                <a16:creationId xmlns:a16="http://schemas.microsoft.com/office/drawing/2014/main" id="{136970D4-DDC5-8DE8-F723-3FC854B763D5}"/>
              </a:ext>
            </a:extLst>
          </p:cNvPr>
          <p:cNvSpPr>
            <a:spLocks/>
          </p:cNvSpPr>
          <p:nvPr userDrawn="1"/>
        </p:nvSpPr>
        <p:spPr bwMode="auto">
          <a:xfrm>
            <a:off x="7613156" y="8463831"/>
            <a:ext cx="149216" cy="88902"/>
          </a:xfrm>
          <a:custGeom>
            <a:avLst/>
            <a:gdLst>
              <a:gd name="T0" fmla="*/ 15 w 47"/>
              <a:gd name="T1" fmla="*/ 0 h 28"/>
              <a:gd name="T2" fmla="*/ 18 w 47"/>
              <a:gd name="T3" fmla="*/ 0 h 28"/>
              <a:gd name="T4" fmla="*/ 21 w 47"/>
              <a:gd name="T5" fmla="*/ 0 h 28"/>
              <a:gd name="T6" fmla="*/ 21 w 47"/>
              <a:gd name="T7" fmla="*/ 3 h 28"/>
              <a:gd name="T8" fmla="*/ 25 w 47"/>
              <a:gd name="T9" fmla="*/ 3 h 28"/>
              <a:gd name="T10" fmla="*/ 28 w 47"/>
              <a:gd name="T11" fmla="*/ 3 h 28"/>
              <a:gd name="T12" fmla="*/ 31 w 47"/>
              <a:gd name="T13" fmla="*/ 3 h 28"/>
              <a:gd name="T14" fmla="*/ 34 w 47"/>
              <a:gd name="T15" fmla="*/ 6 h 28"/>
              <a:gd name="T16" fmla="*/ 34 w 47"/>
              <a:gd name="T17" fmla="*/ 9 h 28"/>
              <a:gd name="T18" fmla="*/ 37 w 47"/>
              <a:gd name="T19" fmla="*/ 12 h 28"/>
              <a:gd name="T20" fmla="*/ 37 w 47"/>
              <a:gd name="T21" fmla="*/ 9 h 28"/>
              <a:gd name="T22" fmla="*/ 40 w 47"/>
              <a:gd name="T23" fmla="*/ 6 h 28"/>
              <a:gd name="T24" fmla="*/ 43 w 47"/>
              <a:gd name="T25" fmla="*/ 6 h 28"/>
              <a:gd name="T26" fmla="*/ 43 w 47"/>
              <a:gd name="T27" fmla="*/ 6 h 28"/>
              <a:gd name="T28" fmla="*/ 47 w 47"/>
              <a:gd name="T29" fmla="*/ 9 h 28"/>
              <a:gd name="T30" fmla="*/ 47 w 47"/>
              <a:gd name="T31" fmla="*/ 12 h 28"/>
              <a:gd name="T32" fmla="*/ 47 w 47"/>
              <a:gd name="T33" fmla="*/ 15 h 28"/>
              <a:gd name="T34" fmla="*/ 47 w 47"/>
              <a:gd name="T35" fmla="*/ 15 h 28"/>
              <a:gd name="T36" fmla="*/ 47 w 47"/>
              <a:gd name="T37" fmla="*/ 18 h 28"/>
              <a:gd name="T38" fmla="*/ 47 w 47"/>
              <a:gd name="T39" fmla="*/ 22 h 28"/>
              <a:gd name="T40" fmla="*/ 47 w 47"/>
              <a:gd name="T41" fmla="*/ 22 h 28"/>
              <a:gd name="T42" fmla="*/ 47 w 47"/>
              <a:gd name="T43" fmla="*/ 25 h 28"/>
              <a:gd name="T44" fmla="*/ 43 w 47"/>
              <a:gd name="T45" fmla="*/ 28 h 28"/>
              <a:gd name="T46" fmla="*/ 34 w 47"/>
              <a:gd name="T47" fmla="*/ 28 h 28"/>
              <a:gd name="T48" fmla="*/ 34 w 47"/>
              <a:gd name="T49" fmla="*/ 25 h 28"/>
              <a:gd name="T50" fmla="*/ 31 w 47"/>
              <a:gd name="T51" fmla="*/ 22 h 28"/>
              <a:gd name="T52" fmla="*/ 25 w 47"/>
              <a:gd name="T53" fmla="*/ 22 h 28"/>
              <a:gd name="T54" fmla="*/ 25 w 47"/>
              <a:gd name="T55" fmla="*/ 22 h 28"/>
              <a:gd name="T56" fmla="*/ 28 w 47"/>
              <a:gd name="T57" fmla="*/ 25 h 28"/>
              <a:gd name="T58" fmla="*/ 28 w 47"/>
              <a:gd name="T59" fmla="*/ 25 h 28"/>
              <a:gd name="T60" fmla="*/ 21 w 47"/>
              <a:gd name="T61" fmla="*/ 22 h 28"/>
              <a:gd name="T62" fmla="*/ 12 w 47"/>
              <a:gd name="T63" fmla="*/ 18 h 28"/>
              <a:gd name="T64" fmla="*/ 12 w 47"/>
              <a:gd name="T65" fmla="*/ 18 h 28"/>
              <a:gd name="T66" fmla="*/ 6 w 47"/>
              <a:gd name="T67" fmla="*/ 18 h 28"/>
              <a:gd name="T68" fmla="*/ 3 w 47"/>
              <a:gd name="T69" fmla="*/ 15 h 28"/>
              <a:gd name="T70" fmla="*/ 0 w 47"/>
              <a:gd name="T71" fmla="*/ 15 h 28"/>
              <a:gd name="T72" fmla="*/ 0 w 47"/>
              <a:gd name="T73" fmla="*/ 15 h 28"/>
              <a:gd name="T74" fmla="*/ 0 w 47"/>
              <a:gd name="T75" fmla="*/ 12 h 28"/>
              <a:gd name="T76" fmla="*/ 0 w 47"/>
              <a:gd name="T77" fmla="*/ 12 h 28"/>
              <a:gd name="T78" fmla="*/ 3 w 47"/>
              <a:gd name="T79" fmla="*/ 6 h 28"/>
              <a:gd name="T80" fmla="*/ 9 w 47"/>
              <a:gd name="T81" fmla="*/ 6 h 28"/>
              <a:gd name="T82" fmla="*/ 12 w 47"/>
              <a:gd name="T83" fmla="*/ 6 h 28"/>
              <a:gd name="T84" fmla="*/ 12 w 47"/>
              <a:gd name="T85" fmla="*/ 3 h 28"/>
              <a:gd name="T86" fmla="*/ 15 w 47"/>
              <a:gd name="T8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 h="28">
                <a:moveTo>
                  <a:pt x="15" y="0"/>
                </a:moveTo>
                <a:lnTo>
                  <a:pt x="18" y="0"/>
                </a:lnTo>
                <a:lnTo>
                  <a:pt x="21" y="0"/>
                </a:lnTo>
                <a:lnTo>
                  <a:pt x="21" y="3"/>
                </a:lnTo>
                <a:lnTo>
                  <a:pt x="25" y="3"/>
                </a:lnTo>
                <a:lnTo>
                  <a:pt x="28" y="3"/>
                </a:lnTo>
                <a:lnTo>
                  <a:pt x="31" y="3"/>
                </a:lnTo>
                <a:lnTo>
                  <a:pt x="34" y="6"/>
                </a:lnTo>
                <a:lnTo>
                  <a:pt x="34" y="9"/>
                </a:lnTo>
                <a:lnTo>
                  <a:pt x="37" y="12"/>
                </a:lnTo>
                <a:lnTo>
                  <a:pt x="37" y="9"/>
                </a:lnTo>
                <a:lnTo>
                  <a:pt x="40" y="6"/>
                </a:lnTo>
                <a:lnTo>
                  <a:pt x="43" y="6"/>
                </a:lnTo>
                <a:lnTo>
                  <a:pt x="43" y="6"/>
                </a:lnTo>
                <a:lnTo>
                  <a:pt x="47" y="9"/>
                </a:lnTo>
                <a:lnTo>
                  <a:pt x="47" y="12"/>
                </a:lnTo>
                <a:lnTo>
                  <a:pt x="47" y="15"/>
                </a:lnTo>
                <a:lnTo>
                  <a:pt x="47" y="15"/>
                </a:lnTo>
                <a:lnTo>
                  <a:pt x="47" y="18"/>
                </a:lnTo>
                <a:lnTo>
                  <a:pt x="47" y="22"/>
                </a:lnTo>
                <a:lnTo>
                  <a:pt x="47" y="22"/>
                </a:lnTo>
                <a:lnTo>
                  <a:pt x="47" y="25"/>
                </a:lnTo>
                <a:lnTo>
                  <a:pt x="43" y="28"/>
                </a:lnTo>
                <a:lnTo>
                  <a:pt x="34" y="28"/>
                </a:lnTo>
                <a:lnTo>
                  <a:pt x="34" y="25"/>
                </a:lnTo>
                <a:lnTo>
                  <a:pt x="31" y="22"/>
                </a:lnTo>
                <a:lnTo>
                  <a:pt x="25" y="22"/>
                </a:lnTo>
                <a:lnTo>
                  <a:pt x="25" y="22"/>
                </a:lnTo>
                <a:lnTo>
                  <a:pt x="28" y="25"/>
                </a:lnTo>
                <a:lnTo>
                  <a:pt x="28" y="25"/>
                </a:lnTo>
                <a:lnTo>
                  <a:pt x="21" y="22"/>
                </a:lnTo>
                <a:lnTo>
                  <a:pt x="12" y="18"/>
                </a:lnTo>
                <a:lnTo>
                  <a:pt x="12" y="18"/>
                </a:lnTo>
                <a:lnTo>
                  <a:pt x="6" y="18"/>
                </a:lnTo>
                <a:lnTo>
                  <a:pt x="3" y="15"/>
                </a:lnTo>
                <a:lnTo>
                  <a:pt x="0" y="15"/>
                </a:lnTo>
                <a:lnTo>
                  <a:pt x="0" y="15"/>
                </a:lnTo>
                <a:lnTo>
                  <a:pt x="0" y="12"/>
                </a:lnTo>
                <a:lnTo>
                  <a:pt x="0" y="12"/>
                </a:lnTo>
                <a:lnTo>
                  <a:pt x="3" y="6"/>
                </a:lnTo>
                <a:lnTo>
                  <a:pt x="9" y="6"/>
                </a:lnTo>
                <a:lnTo>
                  <a:pt x="12" y="6"/>
                </a:lnTo>
                <a:lnTo>
                  <a:pt x="12" y="3"/>
                </a:lnTo>
                <a:lnTo>
                  <a:pt x="15"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5" name="Freeform 183">
            <a:extLst>
              <a:ext uri="{FF2B5EF4-FFF2-40B4-BE49-F238E27FC236}">
                <a16:creationId xmlns:a16="http://schemas.microsoft.com/office/drawing/2014/main" id="{842829A1-0C84-FE0B-C144-7F4FC36884E2}"/>
              </a:ext>
            </a:extLst>
          </p:cNvPr>
          <p:cNvSpPr>
            <a:spLocks/>
          </p:cNvSpPr>
          <p:nvPr userDrawn="1"/>
        </p:nvSpPr>
        <p:spPr bwMode="auto">
          <a:xfrm>
            <a:off x="7679823" y="8203487"/>
            <a:ext cx="69845" cy="158750"/>
          </a:xfrm>
          <a:custGeom>
            <a:avLst/>
            <a:gdLst>
              <a:gd name="T0" fmla="*/ 0 w 22"/>
              <a:gd name="T1" fmla="*/ 13 h 50"/>
              <a:gd name="T2" fmla="*/ 0 w 22"/>
              <a:gd name="T3" fmla="*/ 13 h 50"/>
              <a:gd name="T4" fmla="*/ 0 w 22"/>
              <a:gd name="T5" fmla="*/ 10 h 50"/>
              <a:gd name="T6" fmla="*/ 4 w 22"/>
              <a:gd name="T7" fmla="*/ 10 h 50"/>
              <a:gd name="T8" fmla="*/ 4 w 22"/>
              <a:gd name="T9" fmla="*/ 10 h 50"/>
              <a:gd name="T10" fmla="*/ 4 w 22"/>
              <a:gd name="T11" fmla="*/ 10 h 50"/>
              <a:gd name="T12" fmla="*/ 7 w 22"/>
              <a:gd name="T13" fmla="*/ 10 h 50"/>
              <a:gd name="T14" fmla="*/ 7 w 22"/>
              <a:gd name="T15" fmla="*/ 10 h 50"/>
              <a:gd name="T16" fmla="*/ 7 w 22"/>
              <a:gd name="T17" fmla="*/ 10 h 50"/>
              <a:gd name="T18" fmla="*/ 10 w 22"/>
              <a:gd name="T19" fmla="*/ 10 h 50"/>
              <a:gd name="T20" fmla="*/ 10 w 22"/>
              <a:gd name="T21" fmla="*/ 7 h 50"/>
              <a:gd name="T22" fmla="*/ 13 w 22"/>
              <a:gd name="T23" fmla="*/ 3 h 50"/>
              <a:gd name="T24" fmla="*/ 13 w 22"/>
              <a:gd name="T25" fmla="*/ 0 h 50"/>
              <a:gd name="T26" fmla="*/ 16 w 22"/>
              <a:gd name="T27" fmla="*/ 0 h 50"/>
              <a:gd name="T28" fmla="*/ 16 w 22"/>
              <a:gd name="T29" fmla="*/ 0 h 50"/>
              <a:gd name="T30" fmla="*/ 16 w 22"/>
              <a:gd name="T31" fmla="*/ 0 h 50"/>
              <a:gd name="T32" fmla="*/ 19 w 22"/>
              <a:gd name="T33" fmla="*/ 0 h 50"/>
              <a:gd name="T34" fmla="*/ 22 w 22"/>
              <a:gd name="T35" fmla="*/ 0 h 50"/>
              <a:gd name="T36" fmla="*/ 22 w 22"/>
              <a:gd name="T37" fmla="*/ 3 h 50"/>
              <a:gd name="T38" fmla="*/ 22 w 22"/>
              <a:gd name="T39" fmla="*/ 3 h 50"/>
              <a:gd name="T40" fmla="*/ 22 w 22"/>
              <a:gd name="T41" fmla="*/ 13 h 50"/>
              <a:gd name="T42" fmla="*/ 19 w 22"/>
              <a:gd name="T43" fmla="*/ 16 h 50"/>
              <a:gd name="T44" fmla="*/ 19 w 22"/>
              <a:gd name="T45" fmla="*/ 22 h 50"/>
              <a:gd name="T46" fmla="*/ 19 w 22"/>
              <a:gd name="T47" fmla="*/ 25 h 50"/>
              <a:gd name="T48" fmla="*/ 19 w 22"/>
              <a:gd name="T49" fmla="*/ 32 h 50"/>
              <a:gd name="T50" fmla="*/ 19 w 22"/>
              <a:gd name="T51" fmla="*/ 38 h 50"/>
              <a:gd name="T52" fmla="*/ 13 w 22"/>
              <a:gd name="T53" fmla="*/ 44 h 50"/>
              <a:gd name="T54" fmla="*/ 10 w 22"/>
              <a:gd name="T55" fmla="*/ 44 h 50"/>
              <a:gd name="T56" fmla="*/ 7 w 22"/>
              <a:gd name="T57" fmla="*/ 47 h 50"/>
              <a:gd name="T58" fmla="*/ 7 w 22"/>
              <a:gd name="T59" fmla="*/ 50 h 50"/>
              <a:gd name="T60" fmla="*/ 7 w 22"/>
              <a:gd name="T61" fmla="*/ 50 h 50"/>
              <a:gd name="T62" fmla="*/ 4 w 22"/>
              <a:gd name="T63" fmla="*/ 50 h 50"/>
              <a:gd name="T64" fmla="*/ 0 w 22"/>
              <a:gd name="T65" fmla="*/ 50 h 50"/>
              <a:gd name="T66" fmla="*/ 0 w 22"/>
              <a:gd name="T67" fmla="*/ 50 h 50"/>
              <a:gd name="T68" fmla="*/ 0 w 22"/>
              <a:gd name="T69" fmla="*/ 13 h 50"/>
              <a:gd name="T70" fmla="*/ 0 w 22"/>
              <a:gd name="T71" fmla="*/ 1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 h="50">
                <a:moveTo>
                  <a:pt x="0" y="13"/>
                </a:moveTo>
                <a:lnTo>
                  <a:pt x="0" y="13"/>
                </a:lnTo>
                <a:lnTo>
                  <a:pt x="0" y="10"/>
                </a:lnTo>
                <a:lnTo>
                  <a:pt x="4" y="10"/>
                </a:lnTo>
                <a:lnTo>
                  <a:pt x="4" y="10"/>
                </a:lnTo>
                <a:lnTo>
                  <a:pt x="4" y="10"/>
                </a:lnTo>
                <a:lnTo>
                  <a:pt x="7" y="10"/>
                </a:lnTo>
                <a:lnTo>
                  <a:pt x="7" y="10"/>
                </a:lnTo>
                <a:lnTo>
                  <a:pt x="7" y="10"/>
                </a:lnTo>
                <a:lnTo>
                  <a:pt x="10" y="10"/>
                </a:lnTo>
                <a:lnTo>
                  <a:pt x="10" y="7"/>
                </a:lnTo>
                <a:lnTo>
                  <a:pt x="13" y="3"/>
                </a:lnTo>
                <a:lnTo>
                  <a:pt x="13" y="0"/>
                </a:lnTo>
                <a:lnTo>
                  <a:pt x="16" y="0"/>
                </a:lnTo>
                <a:lnTo>
                  <a:pt x="16" y="0"/>
                </a:lnTo>
                <a:lnTo>
                  <a:pt x="16" y="0"/>
                </a:lnTo>
                <a:lnTo>
                  <a:pt x="19" y="0"/>
                </a:lnTo>
                <a:lnTo>
                  <a:pt x="22" y="0"/>
                </a:lnTo>
                <a:lnTo>
                  <a:pt x="22" y="3"/>
                </a:lnTo>
                <a:lnTo>
                  <a:pt x="22" y="3"/>
                </a:lnTo>
                <a:lnTo>
                  <a:pt x="22" y="13"/>
                </a:lnTo>
                <a:lnTo>
                  <a:pt x="19" y="16"/>
                </a:lnTo>
                <a:lnTo>
                  <a:pt x="19" y="22"/>
                </a:lnTo>
                <a:lnTo>
                  <a:pt x="19" y="25"/>
                </a:lnTo>
                <a:lnTo>
                  <a:pt x="19" y="32"/>
                </a:lnTo>
                <a:lnTo>
                  <a:pt x="19" y="38"/>
                </a:lnTo>
                <a:lnTo>
                  <a:pt x="13" y="44"/>
                </a:lnTo>
                <a:lnTo>
                  <a:pt x="10" y="44"/>
                </a:lnTo>
                <a:lnTo>
                  <a:pt x="7" y="47"/>
                </a:lnTo>
                <a:lnTo>
                  <a:pt x="7" y="50"/>
                </a:lnTo>
                <a:lnTo>
                  <a:pt x="7" y="50"/>
                </a:lnTo>
                <a:lnTo>
                  <a:pt x="4" y="50"/>
                </a:lnTo>
                <a:lnTo>
                  <a:pt x="0" y="50"/>
                </a:lnTo>
                <a:lnTo>
                  <a:pt x="0" y="50"/>
                </a:lnTo>
                <a:lnTo>
                  <a:pt x="0" y="13"/>
                </a:lnTo>
                <a:lnTo>
                  <a:pt x="0" y="13"/>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6" name="Freeform 184">
            <a:extLst>
              <a:ext uri="{FF2B5EF4-FFF2-40B4-BE49-F238E27FC236}">
                <a16:creationId xmlns:a16="http://schemas.microsoft.com/office/drawing/2014/main" id="{093E5B98-960C-44A8-A13C-9269B6DFAD16}"/>
              </a:ext>
            </a:extLst>
          </p:cNvPr>
          <p:cNvSpPr>
            <a:spLocks/>
          </p:cNvSpPr>
          <p:nvPr userDrawn="1"/>
        </p:nvSpPr>
        <p:spPr bwMode="auto">
          <a:xfrm>
            <a:off x="7482983" y="8244761"/>
            <a:ext cx="257159" cy="266702"/>
          </a:xfrm>
          <a:custGeom>
            <a:avLst/>
            <a:gdLst>
              <a:gd name="T0" fmla="*/ 41 w 81"/>
              <a:gd name="T1" fmla="*/ 84 h 84"/>
              <a:gd name="T2" fmla="*/ 41 w 81"/>
              <a:gd name="T3" fmla="*/ 81 h 84"/>
              <a:gd name="T4" fmla="*/ 41 w 81"/>
              <a:gd name="T5" fmla="*/ 81 h 84"/>
              <a:gd name="T6" fmla="*/ 44 w 81"/>
              <a:gd name="T7" fmla="*/ 75 h 84"/>
              <a:gd name="T8" fmla="*/ 50 w 81"/>
              <a:gd name="T9" fmla="*/ 75 h 84"/>
              <a:gd name="T10" fmla="*/ 53 w 81"/>
              <a:gd name="T11" fmla="*/ 75 h 84"/>
              <a:gd name="T12" fmla="*/ 53 w 81"/>
              <a:gd name="T13" fmla="*/ 72 h 84"/>
              <a:gd name="T14" fmla="*/ 59 w 81"/>
              <a:gd name="T15" fmla="*/ 69 h 84"/>
              <a:gd name="T16" fmla="*/ 59 w 81"/>
              <a:gd name="T17" fmla="*/ 62 h 84"/>
              <a:gd name="T18" fmla="*/ 59 w 81"/>
              <a:gd name="T19" fmla="*/ 59 h 84"/>
              <a:gd name="T20" fmla="*/ 62 w 81"/>
              <a:gd name="T21" fmla="*/ 56 h 84"/>
              <a:gd name="T22" fmla="*/ 69 w 81"/>
              <a:gd name="T23" fmla="*/ 50 h 84"/>
              <a:gd name="T24" fmla="*/ 72 w 81"/>
              <a:gd name="T25" fmla="*/ 50 h 84"/>
              <a:gd name="T26" fmla="*/ 75 w 81"/>
              <a:gd name="T27" fmla="*/ 47 h 84"/>
              <a:gd name="T28" fmla="*/ 78 w 81"/>
              <a:gd name="T29" fmla="*/ 44 h 84"/>
              <a:gd name="T30" fmla="*/ 81 w 81"/>
              <a:gd name="T31" fmla="*/ 44 h 84"/>
              <a:gd name="T32" fmla="*/ 81 w 81"/>
              <a:gd name="T33" fmla="*/ 40 h 84"/>
              <a:gd name="T34" fmla="*/ 78 w 81"/>
              <a:gd name="T35" fmla="*/ 40 h 84"/>
              <a:gd name="T36" fmla="*/ 75 w 81"/>
              <a:gd name="T37" fmla="*/ 40 h 84"/>
              <a:gd name="T38" fmla="*/ 75 w 81"/>
              <a:gd name="T39" fmla="*/ 40 h 84"/>
              <a:gd name="T40" fmla="*/ 72 w 81"/>
              <a:gd name="T41" fmla="*/ 40 h 84"/>
              <a:gd name="T42" fmla="*/ 69 w 81"/>
              <a:gd name="T43" fmla="*/ 40 h 84"/>
              <a:gd name="T44" fmla="*/ 69 w 81"/>
              <a:gd name="T45" fmla="*/ 37 h 84"/>
              <a:gd name="T46" fmla="*/ 66 w 81"/>
              <a:gd name="T47" fmla="*/ 37 h 84"/>
              <a:gd name="T48" fmla="*/ 62 w 81"/>
              <a:gd name="T49" fmla="*/ 37 h 84"/>
              <a:gd name="T50" fmla="*/ 62 w 81"/>
              <a:gd name="T51" fmla="*/ 37 h 84"/>
              <a:gd name="T52" fmla="*/ 62 w 81"/>
              <a:gd name="T53" fmla="*/ 0 h 84"/>
              <a:gd name="T54" fmla="*/ 62 w 81"/>
              <a:gd name="T55" fmla="*/ 0 h 84"/>
              <a:gd name="T56" fmla="*/ 28 w 81"/>
              <a:gd name="T57" fmla="*/ 0 h 84"/>
              <a:gd name="T58" fmla="*/ 28 w 81"/>
              <a:gd name="T59" fmla="*/ 9 h 84"/>
              <a:gd name="T60" fmla="*/ 19 w 81"/>
              <a:gd name="T61" fmla="*/ 9 h 84"/>
              <a:gd name="T62" fmla="*/ 22 w 81"/>
              <a:gd name="T63" fmla="*/ 12 h 84"/>
              <a:gd name="T64" fmla="*/ 22 w 81"/>
              <a:gd name="T65" fmla="*/ 15 h 84"/>
              <a:gd name="T66" fmla="*/ 25 w 81"/>
              <a:gd name="T67" fmla="*/ 19 h 84"/>
              <a:gd name="T68" fmla="*/ 28 w 81"/>
              <a:gd name="T69" fmla="*/ 22 h 84"/>
              <a:gd name="T70" fmla="*/ 31 w 81"/>
              <a:gd name="T71" fmla="*/ 22 h 84"/>
              <a:gd name="T72" fmla="*/ 31 w 81"/>
              <a:gd name="T73" fmla="*/ 25 h 84"/>
              <a:gd name="T74" fmla="*/ 34 w 81"/>
              <a:gd name="T75" fmla="*/ 25 h 84"/>
              <a:gd name="T76" fmla="*/ 34 w 81"/>
              <a:gd name="T77" fmla="*/ 28 h 84"/>
              <a:gd name="T78" fmla="*/ 37 w 81"/>
              <a:gd name="T79" fmla="*/ 28 h 84"/>
              <a:gd name="T80" fmla="*/ 41 w 81"/>
              <a:gd name="T81" fmla="*/ 28 h 84"/>
              <a:gd name="T82" fmla="*/ 41 w 81"/>
              <a:gd name="T83" fmla="*/ 31 h 84"/>
              <a:gd name="T84" fmla="*/ 37 w 81"/>
              <a:gd name="T85" fmla="*/ 34 h 84"/>
              <a:gd name="T86" fmla="*/ 12 w 81"/>
              <a:gd name="T87" fmla="*/ 34 h 84"/>
              <a:gd name="T88" fmla="*/ 0 w 81"/>
              <a:gd name="T89" fmla="*/ 53 h 84"/>
              <a:gd name="T90" fmla="*/ 0 w 81"/>
              <a:gd name="T91" fmla="*/ 56 h 84"/>
              <a:gd name="T92" fmla="*/ 3 w 81"/>
              <a:gd name="T93" fmla="*/ 56 h 84"/>
              <a:gd name="T94" fmla="*/ 0 w 81"/>
              <a:gd name="T95" fmla="*/ 59 h 84"/>
              <a:gd name="T96" fmla="*/ 3 w 81"/>
              <a:gd name="T97" fmla="*/ 59 h 84"/>
              <a:gd name="T98" fmla="*/ 3 w 81"/>
              <a:gd name="T99" fmla="*/ 62 h 84"/>
              <a:gd name="T100" fmla="*/ 3 w 81"/>
              <a:gd name="T101" fmla="*/ 62 h 84"/>
              <a:gd name="T102" fmla="*/ 0 w 81"/>
              <a:gd name="T103" fmla="*/ 66 h 84"/>
              <a:gd name="T104" fmla="*/ 0 w 81"/>
              <a:gd name="T105" fmla="*/ 66 h 84"/>
              <a:gd name="T106" fmla="*/ 0 w 81"/>
              <a:gd name="T107" fmla="*/ 66 h 84"/>
              <a:gd name="T108" fmla="*/ 3 w 81"/>
              <a:gd name="T109" fmla="*/ 72 h 84"/>
              <a:gd name="T110" fmla="*/ 6 w 81"/>
              <a:gd name="T111" fmla="*/ 75 h 84"/>
              <a:gd name="T112" fmla="*/ 9 w 81"/>
              <a:gd name="T113" fmla="*/ 75 h 84"/>
              <a:gd name="T114" fmla="*/ 9 w 81"/>
              <a:gd name="T115" fmla="*/ 78 h 84"/>
              <a:gd name="T116" fmla="*/ 22 w 81"/>
              <a:gd name="T117" fmla="*/ 81 h 84"/>
              <a:gd name="T118" fmla="*/ 28 w 81"/>
              <a:gd name="T119" fmla="*/ 81 h 84"/>
              <a:gd name="T120" fmla="*/ 31 w 81"/>
              <a:gd name="T121" fmla="*/ 81 h 84"/>
              <a:gd name="T122" fmla="*/ 41 w 81"/>
              <a:gd name="T12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 h="84">
                <a:moveTo>
                  <a:pt x="41" y="84"/>
                </a:moveTo>
                <a:lnTo>
                  <a:pt x="41" y="81"/>
                </a:lnTo>
                <a:lnTo>
                  <a:pt x="41" y="81"/>
                </a:lnTo>
                <a:lnTo>
                  <a:pt x="44" y="75"/>
                </a:lnTo>
                <a:lnTo>
                  <a:pt x="50" y="75"/>
                </a:lnTo>
                <a:lnTo>
                  <a:pt x="53" y="75"/>
                </a:lnTo>
                <a:lnTo>
                  <a:pt x="53" y="72"/>
                </a:lnTo>
                <a:lnTo>
                  <a:pt x="59" y="69"/>
                </a:lnTo>
                <a:lnTo>
                  <a:pt x="59" y="62"/>
                </a:lnTo>
                <a:lnTo>
                  <a:pt x="59" y="59"/>
                </a:lnTo>
                <a:lnTo>
                  <a:pt x="62" y="56"/>
                </a:lnTo>
                <a:lnTo>
                  <a:pt x="69" y="50"/>
                </a:lnTo>
                <a:lnTo>
                  <a:pt x="72" y="50"/>
                </a:lnTo>
                <a:lnTo>
                  <a:pt x="75" y="47"/>
                </a:lnTo>
                <a:lnTo>
                  <a:pt x="78" y="44"/>
                </a:lnTo>
                <a:lnTo>
                  <a:pt x="81" y="44"/>
                </a:lnTo>
                <a:lnTo>
                  <a:pt x="81" y="40"/>
                </a:lnTo>
                <a:lnTo>
                  <a:pt x="78" y="40"/>
                </a:lnTo>
                <a:lnTo>
                  <a:pt x="75" y="40"/>
                </a:lnTo>
                <a:lnTo>
                  <a:pt x="75" y="40"/>
                </a:lnTo>
                <a:lnTo>
                  <a:pt x="72" y="40"/>
                </a:lnTo>
                <a:lnTo>
                  <a:pt x="69" y="40"/>
                </a:lnTo>
                <a:lnTo>
                  <a:pt x="69" y="37"/>
                </a:lnTo>
                <a:lnTo>
                  <a:pt x="66" y="37"/>
                </a:lnTo>
                <a:lnTo>
                  <a:pt x="62" y="37"/>
                </a:lnTo>
                <a:lnTo>
                  <a:pt x="62" y="37"/>
                </a:lnTo>
                <a:lnTo>
                  <a:pt x="62" y="0"/>
                </a:lnTo>
                <a:lnTo>
                  <a:pt x="62" y="0"/>
                </a:lnTo>
                <a:lnTo>
                  <a:pt x="28" y="0"/>
                </a:lnTo>
                <a:lnTo>
                  <a:pt x="28" y="9"/>
                </a:lnTo>
                <a:lnTo>
                  <a:pt x="19" y="9"/>
                </a:lnTo>
                <a:lnTo>
                  <a:pt x="22" y="12"/>
                </a:lnTo>
                <a:lnTo>
                  <a:pt x="22" y="15"/>
                </a:lnTo>
                <a:lnTo>
                  <a:pt x="25" y="19"/>
                </a:lnTo>
                <a:lnTo>
                  <a:pt x="28" y="22"/>
                </a:lnTo>
                <a:lnTo>
                  <a:pt x="31" y="22"/>
                </a:lnTo>
                <a:lnTo>
                  <a:pt x="31" y="25"/>
                </a:lnTo>
                <a:lnTo>
                  <a:pt x="34" y="25"/>
                </a:lnTo>
                <a:lnTo>
                  <a:pt x="34" y="28"/>
                </a:lnTo>
                <a:lnTo>
                  <a:pt x="37" y="28"/>
                </a:lnTo>
                <a:lnTo>
                  <a:pt x="41" y="28"/>
                </a:lnTo>
                <a:lnTo>
                  <a:pt x="41" y="31"/>
                </a:lnTo>
                <a:lnTo>
                  <a:pt x="37" y="34"/>
                </a:lnTo>
                <a:lnTo>
                  <a:pt x="12" y="34"/>
                </a:lnTo>
                <a:lnTo>
                  <a:pt x="0" y="53"/>
                </a:lnTo>
                <a:lnTo>
                  <a:pt x="0" y="56"/>
                </a:lnTo>
                <a:lnTo>
                  <a:pt x="3" y="56"/>
                </a:lnTo>
                <a:lnTo>
                  <a:pt x="0" y="59"/>
                </a:lnTo>
                <a:lnTo>
                  <a:pt x="3" y="59"/>
                </a:lnTo>
                <a:lnTo>
                  <a:pt x="3" y="62"/>
                </a:lnTo>
                <a:lnTo>
                  <a:pt x="3" y="62"/>
                </a:lnTo>
                <a:lnTo>
                  <a:pt x="0" y="66"/>
                </a:lnTo>
                <a:lnTo>
                  <a:pt x="0" y="66"/>
                </a:lnTo>
                <a:lnTo>
                  <a:pt x="0" y="66"/>
                </a:lnTo>
                <a:lnTo>
                  <a:pt x="3" y="72"/>
                </a:lnTo>
                <a:lnTo>
                  <a:pt x="6" y="75"/>
                </a:lnTo>
                <a:lnTo>
                  <a:pt x="9" y="75"/>
                </a:lnTo>
                <a:lnTo>
                  <a:pt x="9" y="78"/>
                </a:lnTo>
                <a:lnTo>
                  <a:pt x="22" y="81"/>
                </a:lnTo>
                <a:lnTo>
                  <a:pt x="28" y="81"/>
                </a:lnTo>
                <a:lnTo>
                  <a:pt x="31" y="81"/>
                </a:lnTo>
                <a:lnTo>
                  <a:pt x="41" y="84"/>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7" name="Freeform 185">
            <a:extLst>
              <a:ext uri="{FF2B5EF4-FFF2-40B4-BE49-F238E27FC236}">
                <a16:creationId xmlns:a16="http://schemas.microsoft.com/office/drawing/2014/main" id="{2FA0F238-30F0-6052-AD94-219AC3ED2BDC}"/>
              </a:ext>
            </a:extLst>
          </p:cNvPr>
          <p:cNvSpPr>
            <a:spLocks noEditPoints="1"/>
          </p:cNvSpPr>
          <p:nvPr userDrawn="1"/>
        </p:nvSpPr>
        <p:spPr bwMode="auto">
          <a:xfrm>
            <a:off x="6073378" y="7130332"/>
            <a:ext cx="1787410" cy="1323976"/>
          </a:xfrm>
          <a:custGeom>
            <a:avLst/>
            <a:gdLst>
              <a:gd name="T0" fmla="*/ 213 w 563"/>
              <a:gd name="T1" fmla="*/ 41 h 417"/>
              <a:gd name="T2" fmla="*/ 228 w 563"/>
              <a:gd name="T3" fmla="*/ 57 h 417"/>
              <a:gd name="T4" fmla="*/ 235 w 563"/>
              <a:gd name="T5" fmla="*/ 82 h 417"/>
              <a:gd name="T6" fmla="*/ 250 w 563"/>
              <a:gd name="T7" fmla="*/ 94 h 417"/>
              <a:gd name="T8" fmla="*/ 269 w 563"/>
              <a:gd name="T9" fmla="*/ 91 h 417"/>
              <a:gd name="T10" fmla="*/ 291 w 563"/>
              <a:gd name="T11" fmla="*/ 79 h 417"/>
              <a:gd name="T12" fmla="*/ 313 w 563"/>
              <a:gd name="T13" fmla="*/ 107 h 417"/>
              <a:gd name="T14" fmla="*/ 328 w 563"/>
              <a:gd name="T15" fmla="*/ 141 h 417"/>
              <a:gd name="T16" fmla="*/ 350 w 563"/>
              <a:gd name="T17" fmla="*/ 169 h 417"/>
              <a:gd name="T18" fmla="*/ 366 w 563"/>
              <a:gd name="T19" fmla="*/ 176 h 417"/>
              <a:gd name="T20" fmla="*/ 356 w 563"/>
              <a:gd name="T21" fmla="*/ 194 h 417"/>
              <a:gd name="T22" fmla="*/ 347 w 563"/>
              <a:gd name="T23" fmla="*/ 248 h 417"/>
              <a:gd name="T24" fmla="*/ 353 w 563"/>
              <a:gd name="T25" fmla="*/ 279 h 417"/>
              <a:gd name="T26" fmla="*/ 385 w 563"/>
              <a:gd name="T27" fmla="*/ 329 h 417"/>
              <a:gd name="T28" fmla="*/ 428 w 563"/>
              <a:gd name="T29" fmla="*/ 335 h 417"/>
              <a:gd name="T30" fmla="*/ 463 w 563"/>
              <a:gd name="T31" fmla="*/ 341 h 417"/>
              <a:gd name="T32" fmla="*/ 481 w 563"/>
              <a:gd name="T33" fmla="*/ 310 h 417"/>
              <a:gd name="T34" fmla="*/ 532 w 563"/>
              <a:gd name="T35" fmla="*/ 273 h 417"/>
              <a:gd name="T36" fmla="*/ 557 w 563"/>
              <a:gd name="T37" fmla="*/ 291 h 417"/>
              <a:gd name="T38" fmla="*/ 541 w 563"/>
              <a:gd name="T39" fmla="*/ 323 h 417"/>
              <a:gd name="T40" fmla="*/ 532 w 563"/>
              <a:gd name="T41" fmla="*/ 329 h 417"/>
              <a:gd name="T42" fmla="*/ 513 w 563"/>
              <a:gd name="T43" fmla="*/ 348 h 417"/>
              <a:gd name="T44" fmla="*/ 466 w 563"/>
              <a:gd name="T45" fmla="*/ 366 h 417"/>
              <a:gd name="T46" fmla="*/ 456 w 563"/>
              <a:gd name="T47" fmla="*/ 385 h 417"/>
              <a:gd name="T48" fmla="*/ 441 w 563"/>
              <a:gd name="T49" fmla="*/ 413 h 417"/>
              <a:gd name="T50" fmla="*/ 403 w 563"/>
              <a:gd name="T51" fmla="*/ 382 h 417"/>
              <a:gd name="T52" fmla="*/ 400 w 563"/>
              <a:gd name="T53" fmla="*/ 382 h 417"/>
              <a:gd name="T54" fmla="*/ 394 w 563"/>
              <a:gd name="T55" fmla="*/ 385 h 417"/>
              <a:gd name="T56" fmla="*/ 328 w 563"/>
              <a:gd name="T57" fmla="*/ 382 h 417"/>
              <a:gd name="T58" fmla="*/ 285 w 563"/>
              <a:gd name="T59" fmla="*/ 366 h 417"/>
              <a:gd name="T60" fmla="*/ 238 w 563"/>
              <a:gd name="T61" fmla="*/ 341 h 417"/>
              <a:gd name="T62" fmla="*/ 203 w 563"/>
              <a:gd name="T63" fmla="*/ 320 h 417"/>
              <a:gd name="T64" fmla="*/ 194 w 563"/>
              <a:gd name="T65" fmla="*/ 291 h 417"/>
              <a:gd name="T66" fmla="*/ 194 w 563"/>
              <a:gd name="T67" fmla="*/ 251 h 417"/>
              <a:gd name="T68" fmla="*/ 150 w 563"/>
              <a:gd name="T69" fmla="*/ 198 h 417"/>
              <a:gd name="T70" fmla="*/ 131 w 563"/>
              <a:gd name="T71" fmla="*/ 176 h 417"/>
              <a:gd name="T72" fmla="*/ 131 w 563"/>
              <a:gd name="T73" fmla="*/ 154 h 417"/>
              <a:gd name="T74" fmla="*/ 110 w 563"/>
              <a:gd name="T75" fmla="*/ 126 h 417"/>
              <a:gd name="T76" fmla="*/ 91 w 563"/>
              <a:gd name="T77" fmla="*/ 104 h 417"/>
              <a:gd name="T78" fmla="*/ 75 w 563"/>
              <a:gd name="T79" fmla="*/ 69 h 417"/>
              <a:gd name="T80" fmla="*/ 66 w 563"/>
              <a:gd name="T81" fmla="*/ 35 h 417"/>
              <a:gd name="T82" fmla="*/ 41 w 563"/>
              <a:gd name="T83" fmla="*/ 38 h 417"/>
              <a:gd name="T84" fmla="*/ 56 w 563"/>
              <a:gd name="T85" fmla="*/ 91 h 417"/>
              <a:gd name="T86" fmla="*/ 75 w 563"/>
              <a:gd name="T87" fmla="*/ 122 h 417"/>
              <a:gd name="T88" fmla="*/ 88 w 563"/>
              <a:gd name="T89" fmla="*/ 144 h 417"/>
              <a:gd name="T90" fmla="*/ 97 w 563"/>
              <a:gd name="T91" fmla="*/ 182 h 417"/>
              <a:gd name="T92" fmla="*/ 106 w 563"/>
              <a:gd name="T93" fmla="*/ 204 h 417"/>
              <a:gd name="T94" fmla="*/ 113 w 563"/>
              <a:gd name="T95" fmla="*/ 235 h 417"/>
              <a:gd name="T96" fmla="*/ 85 w 563"/>
              <a:gd name="T97" fmla="*/ 201 h 417"/>
              <a:gd name="T98" fmla="*/ 72 w 563"/>
              <a:gd name="T99" fmla="*/ 157 h 417"/>
              <a:gd name="T100" fmla="*/ 47 w 563"/>
              <a:gd name="T101" fmla="*/ 141 h 417"/>
              <a:gd name="T102" fmla="*/ 31 w 563"/>
              <a:gd name="T103" fmla="*/ 119 h 417"/>
              <a:gd name="T104" fmla="*/ 44 w 563"/>
              <a:gd name="T105" fmla="*/ 110 h 417"/>
              <a:gd name="T106" fmla="*/ 22 w 563"/>
              <a:gd name="T107" fmla="*/ 72 h 417"/>
              <a:gd name="T108" fmla="*/ 13 w 563"/>
              <a:gd name="T109" fmla="*/ 38 h 417"/>
              <a:gd name="T110" fmla="*/ 103 w 563"/>
              <a:gd name="T111" fmla="*/ 188 h 417"/>
              <a:gd name="T112" fmla="*/ 106 w 563"/>
              <a:gd name="T113" fmla="*/ 201 h 417"/>
              <a:gd name="T114" fmla="*/ 356 w 563"/>
              <a:gd name="T115" fmla="*/ 194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63" h="417">
                <a:moveTo>
                  <a:pt x="0" y="4"/>
                </a:moveTo>
                <a:lnTo>
                  <a:pt x="47" y="0"/>
                </a:lnTo>
                <a:lnTo>
                  <a:pt x="50" y="4"/>
                </a:lnTo>
                <a:lnTo>
                  <a:pt x="47" y="4"/>
                </a:lnTo>
                <a:lnTo>
                  <a:pt x="116" y="35"/>
                </a:lnTo>
                <a:lnTo>
                  <a:pt x="172" y="38"/>
                </a:lnTo>
                <a:lnTo>
                  <a:pt x="172" y="29"/>
                </a:lnTo>
                <a:lnTo>
                  <a:pt x="203" y="32"/>
                </a:lnTo>
                <a:lnTo>
                  <a:pt x="206" y="32"/>
                </a:lnTo>
                <a:lnTo>
                  <a:pt x="210" y="38"/>
                </a:lnTo>
                <a:lnTo>
                  <a:pt x="213" y="41"/>
                </a:lnTo>
                <a:lnTo>
                  <a:pt x="213" y="41"/>
                </a:lnTo>
                <a:lnTo>
                  <a:pt x="213" y="41"/>
                </a:lnTo>
                <a:lnTo>
                  <a:pt x="216" y="44"/>
                </a:lnTo>
                <a:lnTo>
                  <a:pt x="216" y="47"/>
                </a:lnTo>
                <a:lnTo>
                  <a:pt x="219" y="47"/>
                </a:lnTo>
                <a:lnTo>
                  <a:pt x="222" y="51"/>
                </a:lnTo>
                <a:lnTo>
                  <a:pt x="222" y="51"/>
                </a:lnTo>
                <a:lnTo>
                  <a:pt x="219" y="54"/>
                </a:lnTo>
                <a:lnTo>
                  <a:pt x="222" y="54"/>
                </a:lnTo>
                <a:lnTo>
                  <a:pt x="225" y="57"/>
                </a:lnTo>
                <a:lnTo>
                  <a:pt x="228" y="57"/>
                </a:lnTo>
                <a:lnTo>
                  <a:pt x="228" y="63"/>
                </a:lnTo>
                <a:lnTo>
                  <a:pt x="228" y="63"/>
                </a:lnTo>
                <a:lnTo>
                  <a:pt x="228" y="63"/>
                </a:lnTo>
                <a:lnTo>
                  <a:pt x="231" y="66"/>
                </a:lnTo>
                <a:lnTo>
                  <a:pt x="231" y="69"/>
                </a:lnTo>
                <a:lnTo>
                  <a:pt x="231" y="72"/>
                </a:lnTo>
                <a:lnTo>
                  <a:pt x="231" y="72"/>
                </a:lnTo>
                <a:lnTo>
                  <a:pt x="228" y="72"/>
                </a:lnTo>
                <a:lnTo>
                  <a:pt x="228" y="72"/>
                </a:lnTo>
                <a:lnTo>
                  <a:pt x="231" y="79"/>
                </a:lnTo>
                <a:lnTo>
                  <a:pt x="235" y="82"/>
                </a:lnTo>
                <a:lnTo>
                  <a:pt x="238" y="85"/>
                </a:lnTo>
                <a:lnTo>
                  <a:pt x="238" y="85"/>
                </a:lnTo>
                <a:lnTo>
                  <a:pt x="238" y="85"/>
                </a:lnTo>
                <a:lnTo>
                  <a:pt x="238" y="85"/>
                </a:lnTo>
                <a:lnTo>
                  <a:pt x="241" y="85"/>
                </a:lnTo>
                <a:lnTo>
                  <a:pt x="241" y="88"/>
                </a:lnTo>
                <a:lnTo>
                  <a:pt x="244" y="88"/>
                </a:lnTo>
                <a:lnTo>
                  <a:pt x="244" y="91"/>
                </a:lnTo>
                <a:lnTo>
                  <a:pt x="244" y="91"/>
                </a:lnTo>
                <a:lnTo>
                  <a:pt x="247" y="91"/>
                </a:lnTo>
                <a:lnTo>
                  <a:pt x="250" y="94"/>
                </a:lnTo>
                <a:lnTo>
                  <a:pt x="250" y="94"/>
                </a:lnTo>
                <a:lnTo>
                  <a:pt x="253" y="94"/>
                </a:lnTo>
                <a:lnTo>
                  <a:pt x="260" y="97"/>
                </a:lnTo>
                <a:lnTo>
                  <a:pt x="260" y="101"/>
                </a:lnTo>
                <a:lnTo>
                  <a:pt x="263" y="101"/>
                </a:lnTo>
                <a:lnTo>
                  <a:pt x="263" y="97"/>
                </a:lnTo>
                <a:lnTo>
                  <a:pt x="263" y="97"/>
                </a:lnTo>
                <a:lnTo>
                  <a:pt x="266" y="94"/>
                </a:lnTo>
                <a:lnTo>
                  <a:pt x="269" y="94"/>
                </a:lnTo>
                <a:lnTo>
                  <a:pt x="269" y="94"/>
                </a:lnTo>
                <a:lnTo>
                  <a:pt x="269" y="91"/>
                </a:lnTo>
                <a:lnTo>
                  <a:pt x="269" y="91"/>
                </a:lnTo>
                <a:lnTo>
                  <a:pt x="272" y="85"/>
                </a:lnTo>
                <a:lnTo>
                  <a:pt x="275" y="82"/>
                </a:lnTo>
                <a:lnTo>
                  <a:pt x="278" y="82"/>
                </a:lnTo>
                <a:lnTo>
                  <a:pt x="278" y="82"/>
                </a:lnTo>
                <a:lnTo>
                  <a:pt x="278" y="82"/>
                </a:lnTo>
                <a:lnTo>
                  <a:pt x="281" y="82"/>
                </a:lnTo>
                <a:lnTo>
                  <a:pt x="281" y="79"/>
                </a:lnTo>
                <a:lnTo>
                  <a:pt x="285" y="79"/>
                </a:lnTo>
                <a:lnTo>
                  <a:pt x="288" y="82"/>
                </a:lnTo>
                <a:lnTo>
                  <a:pt x="291" y="79"/>
                </a:lnTo>
                <a:lnTo>
                  <a:pt x="294" y="82"/>
                </a:lnTo>
                <a:lnTo>
                  <a:pt x="294" y="82"/>
                </a:lnTo>
                <a:lnTo>
                  <a:pt x="297" y="82"/>
                </a:lnTo>
                <a:lnTo>
                  <a:pt x="300" y="82"/>
                </a:lnTo>
                <a:lnTo>
                  <a:pt x="300" y="85"/>
                </a:lnTo>
                <a:lnTo>
                  <a:pt x="306" y="88"/>
                </a:lnTo>
                <a:lnTo>
                  <a:pt x="310" y="94"/>
                </a:lnTo>
                <a:lnTo>
                  <a:pt x="310" y="97"/>
                </a:lnTo>
                <a:lnTo>
                  <a:pt x="310" y="101"/>
                </a:lnTo>
                <a:lnTo>
                  <a:pt x="313" y="104"/>
                </a:lnTo>
                <a:lnTo>
                  <a:pt x="313" y="107"/>
                </a:lnTo>
                <a:lnTo>
                  <a:pt x="313" y="107"/>
                </a:lnTo>
                <a:lnTo>
                  <a:pt x="316" y="110"/>
                </a:lnTo>
                <a:lnTo>
                  <a:pt x="319" y="119"/>
                </a:lnTo>
                <a:lnTo>
                  <a:pt x="319" y="119"/>
                </a:lnTo>
                <a:lnTo>
                  <a:pt x="319" y="122"/>
                </a:lnTo>
                <a:lnTo>
                  <a:pt x="322" y="122"/>
                </a:lnTo>
                <a:lnTo>
                  <a:pt x="325" y="126"/>
                </a:lnTo>
                <a:lnTo>
                  <a:pt x="325" y="129"/>
                </a:lnTo>
                <a:lnTo>
                  <a:pt x="328" y="135"/>
                </a:lnTo>
                <a:lnTo>
                  <a:pt x="328" y="138"/>
                </a:lnTo>
                <a:lnTo>
                  <a:pt x="328" y="141"/>
                </a:lnTo>
                <a:lnTo>
                  <a:pt x="328" y="141"/>
                </a:lnTo>
                <a:lnTo>
                  <a:pt x="328" y="144"/>
                </a:lnTo>
                <a:lnTo>
                  <a:pt x="331" y="154"/>
                </a:lnTo>
                <a:lnTo>
                  <a:pt x="331" y="160"/>
                </a:lnTo>
                <a:lnTo>
                  <a:pt x="335" y="163"/>
                </a:lnTo>
                <a:lnTo>
                  <a:pt x="335" y="163"/>
                </a:lnTo>
                <a:lnTo>
                  <a:pt x="338" y="163"/>
                </a:lnTo>
                <a:lnTo>
                  <a:pt x="338" y="163"/>
                </a:lnTo>
                <a:lnTo>
                  <a:pt x="341" y="163"/>
                </a:lnTo>
                <a:lnTo>
                  <a:pt x="344" y="166"/>
                </a:lnTo>
                <a:lnTo>
                  <a:pt x="350" y="169"/>
                </a:lnTo>
                <a:lnTo>
                  <a:pt x="356" y="173"/>
                </a:lnTo>
                <a:lnTo>
                  <a:pt x="360" y="173"/>
                </a:lnTo>
                <a:lnTo>
                  <a:pt x="360" y="176"/>
                </a:lnTo>
                <a:lnTo>
                  <a:pt x="363" y="176"/>
                </a:lnTo>
                <a:lnTo>
                  <a:pt x="360" y="179"/>
                </a:lnTo>
                <a:lnTo>
                  <a:pt x="363" y="176"/>
                </a:lnTo>
                <a:lnTo>
                  <a:pt x="366" y="169"/>
                </a:lnTo>
                <a:lnTo>
                  <a:pt x="369" y="169"/>
                </a:lnTo>
                <a:lnTo>
                  <a:pt x="366" y="169"/>
                </a:lnTo>
                <a:lnTo>
                  <a:pt x="366" y="176"/>
                </a:lnTo>
                <a:lnTo>
                  <a:pt x="366" y="176"/>
                </a:lnTo>
                <a:lnTo>
                  <a:pt x="363" y="182"/>
                </a:lnTo>
                <a:lnTo>
                  <a:pt x="360" y="185"/>
                </a:lnTo>
                <a:lnTo>
                  <a:pt x="360" y="188"/>
                </a:lnTo>
                <a:lnTo>
                  <a:pt x="360" y="188"/>
                </a:lnTo>
                <a:lnTo>
                  <a:pt x="360" y="188"/>
                </a:lnTo>
                <a:lnTo>
                  <a:pt x="360" y="185"/>
                </a:lnTo>
                <a:lnTo>
                  <a:pt x="356" y="182"/>
                </a:lnTo>
                <a:lnTo>
                  <a:pt x="356" y="188"/>
                </a:lnTo>
                <a:lnTo>
                  <a:pt x="353" y="191"/>
                </a:lnTo>
                <a:lnTo>
                  <a:pt x="356" y="194"/>
                </a:lnTo>
                <a:lnTo>
                  <a:pt x="356" y="194"/>
                </a:lnTo>
                <a:lnTo>
                  <a:pt x="353" y="201"/>
                </a:lnTo>
                <a:lnTo>
                  <a:pt x="353" y="204"/>
                </a:lnTo>
                <a:lnTo>
                  <a:pt x="353" y="207"/>
                </a:lnTo>
                <a:lnTo>
                  <a:pt x="353" y="210"/>
                </a:lnTo>
                <a:lnTo>
                  <a:pt x="353" y="213"/>
                </a:lnTo>
                <a:lnTo>
                  <a:pt x="353" y="216"/>
                </a:lnTo>
                <a:lnTo>
                  <a:pt x="350" y="226"/>
                </a:lnTo>
                <a:lnTo>
                  <a:pt x="350" y="232"/>
                </a:lnTo>
                <a:lnTo>
                  <a:pt x="350" y="241"/>
                </a:lnTo>
                <a:lnTo>
                  <a:pt x="347" y="244"/>
                </a:lnTo>
                <a:lnTo>
                  <a:pt x="347" y="248"/>
                </a:lnTo>
                <a:lnTo>
                  <a:pt x="350" y="254"/>
                </a:lnTo>
                <a:lnTo>
                  <a:pt x="347" y="260"/>
                </a:lnTo>
                <a:lnTo>
                  <a:pt x="353" y="266"/>
                </a:lnTo>
                <a:lnTo>
                  <a:pt x="353" y="273"/>
                </a:lnTo>
                <a:lnTo>
                  <a:pt x="353" y="273"/>
                </a:lnTo>
                <a:lnTo>
                  <a:pt x="353" y="266"/>
                </a:lnTo>
                <a:lnTo>
                  <a:pt x="347" y="260"/>
                </a:lnTo>
                <a:lnTo>
                  <a:pt x="347" y="266"/>
                </a:lnTo>
                <a:lnTo>
                  <a:pt x="350" y="269"/>
                </a:lnTo>
                <a:lnTo>
                  <a:pt x="353" y="276"/>
                </a:lnTo>
                <a:lnTo>
                  <a:pt x="353" y="279"/>
                </a:lnTo>
                <a:lnTo>
                  <a:pt x="353" y="282"/>
                </a:lnTo>
                <a:lnTo>
                  <a:pt x="353" y="285"/>
                </a:lnTo>
                <a:lnTo>
                  <a:pt x="356" y="288"/>
                </a:lnTo>
                <a:lnTo>
                  <a:pt x="366" y="301"/>
                </a:lnTo>
                <a:lnTo>
                  <a:pt x="369" y="304"/>
                </a:lnTo>
                <a:lnTo>
                  <a:pt x="372" y="310"/>
                </a:lnTo>
                <a:lnTo>
                  <a:pt x="372" y="313"/>
                </a:lnTo>
                <a:lnTo>
                  <a:pt x="372" y="316"/>
                </a:lnTo>
                <a:lnTo>
                  <a:pt x="381" y="326"/>
                </a:lnTo>
                <a:lnTo>
                  <a:pt x="381" y="329"/>
                </a:lnTo>
                <a:lnTo>
                  <a:pt x="385" y="329"/>
                </a:lnTo>
                <a:lnTo>
                  <a:pt x="391" y="329"/>
                </a:lnTo>
                <a:lnTo>
                  <a:pt x="391" y="329"/>
                </a:lnTo>
                <a:lnTo>
                  <a:pt x="397" y="332"/>
                </a:lnTo>
                <a:lnTo>
                  <a:pt x="400" y="338"/>
                </a:lnTo>
                <a:lnTo>
                  <a:pt x="403" y="345"/>
                </a:lnTo>
                <a:lnTo>
                  <a:pt x="406" y="341"/>
                </a:lnTo>
                <a:lnTo>
                  <a:pt x="413" y="341"/>
                </a:lnTo>
                <a:lnTo>
                  <a:pt x="416" y="341"/>
                </a:lnTo>
                <a:lnTo>
                  <a:pt x="419" y="341"/>
                </a:lnTo>
                <a:lnTo>
                  <a:pt x="425" y="338"/>
                </a:lnTo>
                <a:lnTo>
                  <a:pt x="428" y="335"/>
                </a:lnTo>
                <a:lnTo>
                  <a:pt x="435" y="335"/>
                </a:lnTo>
                <a:lnTo>
                  <a:pt x="438" y="335"/>
                </a:lnTo>
                <a:lnTo>
                  <a:pt x="444" y="332"/>
                </a:lnTo>
                <a:lnTo>
                  <a:pt x="447" y="332"/>
                </a:lnTo>
                <a:lnTo>
                  <a:pt x="453" y="332"/>
                </a:lnTo>
                <a:lnTo>
                  <a:pt x="453" y="332"/>
                </a:lnTo>
                <a:lnTo>
                  <a:pt x="460" y="332"/>
                </a:lnTo>
                <a:lnTo>
                  <a:pt x="456" y="335"/>
                </a:lnTo>
                <a:lnTo>
                  <a:pt x="453" y="338"/>
                </a:lnTo>
                <a:lnTo>
                  <a:pt x="460" y="338"/>
                </a:lnTo>
                <a:lnTo>
                  <a:pt x="463" y="341"/>
                </a:lnTo>
                <a:lnTo>
                  <a:pt x="463" y="338"/>
                </a:lnTo>
                <a:lnTo>
                  <a:pt x="466" y="338"/>
                </a:lnTo>
                <a:lnTo>
                  <a:pt x="469" y="335"/>
                </a:lnTo>
                <a:lnTo>
                  <a:pt x="469" y="329"/>
                </a:lnTo>
                <a:lnTo>
                  <a:pt x="469" y="326"/>
                </a:lnTo>
                <a:lnTo>
                  <a:pt x="466" y="329"/>
                </a:lnTo>
                <a:lnTo>
                  <a:pt x="466" y="326"/>
                </a:lnTo>
                <a:lnTo>
                  <a:pt x="472" y="323"/>
                </a:lnTo>
                <a:lnTo>
                  <a:pt x="475" y="323"/>
                </a:lnTo>
                <a:lnTo>
                  <a:pt x="481" y="316"/>
                </a:lnTo>
                <a:lnTo>
                  <a:pt x="481" y="310"/>
                </a:lnTo>
                <a:lnTo>
                  <a:pt x="488" y="304"/>
                </a:lnTo>
                <a:lnTo>
                  <a:pt x="488" y="301"/>
                </a:lnTo>
                <a:lnTo>
                  <a:pt x="488" y="288"/>
                </a:lnTo>
                <a:lnTo>
                  <a:pt x="494" y="282"/>
                </a:lnTo>
                <a:lnTo>
                  <a:pt x="491" y="282"/>
                </a:lnTo>
                <a:lnTo>
                  <a:pt x="491" y="279"/>
                </a:lnTo>
                <a:lnTo>
                  <a:pt x="503" y="276"/>
                </a:lnTo>
                <a:lnTo>
                  <a:pt x="522" y="276"/>
                </a:lnTo>
                <a:lnTo>
                  <a:pt x="525" y="269"/>
                </a:lnTo>
                <a:lnTo>
                  <a:pt x="528" y="269"/>
                </a:lnTo>
                <a:lnTo>
                  <a:pt x="532" y="273"/>
                </a:lnTo>
                <a:lnTo>
                  <a:pt x="535" y="269"/>
                </a:lnTo>
                <a:lnTo>
                  <a:pt x="535" y="266"/>
                </a:lnTo>
                <a:lnTo>
                  <a:pt x="544" y="266"/>
                </a:lnTo>
                <a:lnTo>
                  <a:pt x="550" y="269"/>
                </a:lnTo>
                <a:lnTo>
                  <a:pt x="553" y="269"/>
                </a:lnTo>
                <a:lnTo>
                  <a:pt x="553" y="266"/>
                </a:lnTo>
                <a:lnTo>
                  <a:pt x="557" y="266"/>
                </a:lnTo>
                <a:lnTo>
                  <a:pt x="563" y="273"/>
                </a:lnTo>
                <a:lnTo>
                  <a:pt x="563" y="279"/>
                </a:lnTo>
                <a:lnTo>
                  <a:pt x="560" y="282"/>
                </a:lnTo>
                <a:lnTo>
                  <a:pt x="557" y="291"/>
                </a:lnTo>
                <a:lnTo>
                  <a:pt x="547" y="298"/>
                </a:lnTo>
                <a:lnTo>
                  <a:pt x="544" y="301"/>
                </a:lnTo>
                <a:lnTo>
                  <a:pt x="544" y="307"/>
                </a:lnTo>
                <a:lnTo>
                  <a:pt x="541" y="307"/>
                </a:lnTo>
                <a:lnTo>
                  <a:pt x="541" y="310"/>
                </a:lnTo>
                <a:lnTo>
                  <a:pt x="541" y="313"/>
                </a:lnTo>
                <a:lnTo>
                  <a:pt x="544" y="313"/>
                </a:lnTo>
                <a:lnTo>
                  <a:pt x="544" y="316"/>
                </a:lnTo>
                <a:lnTo>
                  <a:pt x="541" y="320"/>
                </a:lnTo>
                <a:lnTo>
                  <a:pt x="541" y="323"/>
                </a:lnTo>
                <a:lnTo>
                  <a:pt x="541" y="323"/>
                </a:lnTo>
                <a:lnTo>
                  <a:pt x="544" y="320"/>
                </a:lnTo>
                <a:lnTo>
                  <a:pt x="547" y="320"/>
                </a:lnTo>
                <a:lnTo>
                  <a:pt x="544" y="323"/>
                </a:lnTo>
                <a:lnTo>
                  <a:pt x="541" y="335"/>
                </a:lnTo>
                <a:lnTo>
                  <a:pt x="538" y="341"/>
                </a:lnTo>
                <a:lnTo>
                  <a:pt x="535" y="341"/>
                </a:lnTo>
                <a:lnTo>
                  <a:pt x="535" y="338"/>
                </a:lnTo>
                <a:lnTo>
                  <a:pt x="532" y="335"/>
                </a:lnTo>
                <a:lnTo>
                  <a:pt x="528" y="335"/>
                </a:lnTo>
                <a:lnTo>
                  <a:pt x="532" y="332"/>
                </a:lnTo>
                <a:lnTo>
                  <a:pt x="532" y="329"/>
                </a:lnTo>
                <a:lnTo>
                  <a:pt x="528" y="329"/>
                </a:lnTo>
                <a:lnTo>
                  <a:pt x="525" y="335"/>
                </a:lnTo>
                <a:lnTo>
                  <a:pt x="522" y="338"/>
                </a:lnTo>
                <a:lnTo>
                  <a:pt x="522" y="338"/>
                </a:lnTo>
                <a:lnTo>
                  <a:pt x="522" y="338"/>
                </a:lnTo>
                <a:lnTo>
                  <a:pt x="519" y="338"/>
                </a:lnTo>
                <a:lnTo>
                  <a:pt x="519" y="341"/>
                </a:lnTo>
                <a:lnTo>
                  <a:pt x="516" y="345"/>
                </a:lnTo>
                <a:lnTo>
                  <a:pt x="516" y="348"/>
                </a:lnTo>
                <a:lnTo>
                  <a:pt x="513" y="348"/>
                </a:lnTo>
                <a:lnTo>
                  <a:pt x="513" y="348"/>
                </a:lnTo>
                <a:lnTo>
                  <a:pt x="513" y="348"/>
                </a:lnTo>
                <a:lnTo>
                  <a:pt x="510" y="348"/>
                </a:lnTo>
                <a:lnTo>
                  <a:pt x="510" y="348"/>
                </a:lnTo>
                <a:lnTo>
                  <a:pt x="510" y="348"/>
                </a:lnTo>
                <a:lnTo>
                  <a:pt x="506" y="348"/>
                </a:lnTo>
                <a:lnTo>
                  <a:pt x="506" y="351"/>
                </a:lnTo>
                <a:lnTo>
                  <a:pt x="472" y="351"/>
                </a:lnTo>
                <a:lnTo>
                  <a:pt x="472" y="360"/>
                </a:lnTo>
                <a:lnTo>
                  <a:pt x="463" y="360"/>
                </a:lnTo>
                <a:lnTo>
                  <a:pt x="466" y="363"/>
                </a:lnTo>
                <a:lnTo>
                  <a:pt x="466" y="366"/>
                </a:lnTo>
                <a:lnTo>
                  <a:pt x="469" y="370"/>
                </a:lnTo>
                <a:lnTo>
                  <a:pt x="472" y="373"/>
                </a:lnTo>
                <a:lnTo>
                  <a:pt x="475" y="373"/>
                </a:lnTo>
                <a:lnTo>
                  <a:pt x="475" y="376"/>
                </a:lnTo>
                <a:lnTo>
                  <a:pt x="478" y="376"/>
                </a:lnTo>
                <a:lnTo>
                  <a:pt x="478" y="379"/>
                </a:lnTo>
                <a:lnTo>
                  <a:pt x="481" y="379"/>
                </a:lnTo>
                <a:lnTo>
                  <a:pt x="485" y="379"/>
                </a:lnTo>
                <a:lnTo>
                  <a:pt x="485" y="382"/>
                </a:lnTo>
                <a:lnTo>
                  <a:pt x="481" y="385"/>
                </a:lnTo>
                <a:lnTo>
                  <a:pt x="456" y="385"/>
                </a:lnTo>
                <a:lnTo>
                  <a:pt x="444" y="404"/>
                </a:lnTo>
                <a:lnTo>
                  <a:pt x="444" y="407"/>
                </a:lnTo>
                <a:lnTo>
                  <a:pt x="447" y="407"/>
                </a:lnTo>
                <a:lnTo>
                  <a:pt x="444" y="410"/>
                </a:lnTo>
                <a:lnTo>
                  <a:pt x="447" y="410"/>
                </a:lnTo>
                <a:lnTo>
                  <a:pt x="447" y="413"/>
                </a:lnTo>
                <a:lnTo>
                  <a:pt x="447" y="413"/>
                </a:lnTo>
                <a:lnTo>
                  <a:pt x="444" y="417"/>
                </a:lnTo>
                <a:lnTo>
                  <a:pt x="444" y="417"/>
                </a:lnTo>
                <a:lnTo>
                  <a:pt x="444" y="417"/>
                </a:lnTo>
                <a:lnTo>
                  <a:pt x="441" y="413"/>
                </a:lnTo>
                <a:lnTo>
                  <a:pt x="435" y="410"/>
                </a:lnTo>
                <a:lnTo>
                  <a:pt x="435" y="407"/>
                </a:lnTo>
                <a:lnTo>
                  <a:pt x="431" y="407"/>
                </a:lnTo>
                <a:lnTo>
                  <a:pt x="416" y="395"/>
                </a:lnTo>
                <a:lnTo>
                  <a:pt x="416" y="391"/>
                </a:lnTo>
                <a:lnTo>
                  <a:pt x="416" y="391"/>
                </a:lnTo>
                <a:lnTo>
                  <a:pt x="413" y="385"/>
                </a:lnTo>
                <a:lnTo>
                  <a:pt x="406" y="382"/>
                </a:lnTo>
                <a:lnTo>
                  <a:pt x="403" y="382"/>
                </a:lnTo>
                <a:lnTo>
                  <a:pt x="403" y="382"/>
                </a:lnTo>
                <a:lnTo>
                  <a:pt x="403" y="382"/>
                </a:lnTo>
                <a:lnTo>
                  <a:pt x="403" y="382"/>
                </a:lnTo>
                <a:lnTo>
                  <a:pt x="410" y="385"/>
                </a:lnTo>
                <a:lnTo>
                  <a:pt x="413" y="391"/>
                </a:lnTo>
                <a:lnTo>
                  <a:pt x="413" y="391"/>
                </a:lnTo>
                <a:lnTo>
                  <a:pt x="410" y="388"/>
                </a:lnTo>
                <a:lnTo>
                  <a:pt x="403" y="385"/>
                </a:lnTo>
                <a:lnTo>
                  <a:pt x="400" y="385"/>
                </a:lnTo>
                <a:lnTo>
                  <a:pt x="397" y="385"/>
                </a:lnTo>
                <a:lnTo>
                  <a:pt x="397" y="385"/>
                </a:lnTo>
                <a:lnTo>
                  <a:pt x="397" y="382"/>
                </a:lnTo>
                <a:lnTo>
                  <a:pt x="400" y="382"/>
                </a:lnTo>
                <a:lnTo>
                  <a:pt x="400" y="382"/>
                </a:lnTo>
                <a:lnTo>
                  <a:pt x="397" y="382"/>
                </a:lnTo>
                <a:lnTo>
                  <a:pt x="394" y="382"/>
                </a:lnTo>
                <a:lnTo>
                  <a:pt x="394" y="379"/>
                </a:lnTo>
                <a:lnTo>
                  <a:pt x="394" y="379"/>
                </a:lnTo>
                <a:lnTo>
                  <a:pt x="388" y="382"/>
                </a:lnTo>
                <a:lnTo>
                  <a:pt x="388" y="385"/>
                </a:lnTo>
                <a:lnTo>
                  <a:pt x="391" y="385"/>
                </a:lnTo>
                <a:lnTo>
                  <a:pt x="397" y="385"/>
                </a:lnTo>
                <a:lnTo>
                  <a:pt x="397" y="385"/>
                </a:lnTo>
                <a:lnTo>
                  <a:pt x="394" y="385"/>
                </a:lnTo>
                <a:lnTo>
                  <a:pt x="388" y="385"/>
                </a:lnTo>
                <a:lnTo>
                  <a:pt x="385" y="385"/>
                </a:lnTo>
                <a:lnTo>
                  <a:pt x="378" y="391"/>
                </a:lnTo>
                <a:lnTo>
                  <a:pt x="375" y="391"/>
                </a:lnTo>
                <a:lnTo>
                  <a:pt x="366" y="395"/>
                </a:lnTo>
                <a:lnTo>
                  <a:pt x="363" y="395"/>
                </a:lnTo>
                <a:lnTo>
                  <a:pt x="350" y="391"/>
                </a:lnTo>
                <a:lnTo>
                  <a:pt x="347" y="388"/>
                </a:lnTo>
                <a:lnTo>
                  <a:pt x="341" y="388"/>
                </a:lnTo>
                <a:lnTo>
                  <a:pt x="331" y="385"/>
                </a:lnTo>
                <a:lnTo>
                  <a:pt x="328" y="382"/>
                </a:lnTo>
                <a:lnTo>
                  <a:pt x="328" y="385"/>
                </a:lnTo>
                <a:lnTo>
                  <a:pt x="325" y="382"/>
                </a:lnTo>
                <a:lnTo>
                  <a:pt x="319" y="382"/>
                </a:lnTo>
                <a:lnTo>
                  <a:pt x="316" y="376"/>
                </a:lnTo>
                <a:lnTo>
                  <a:pt x="316" y="376"/>
                </a:lnTo>
                <a:lnTo>
                  <a:pt x="313" y="376"/>
                </a:lnTo>
                <a:lnTo>
                  <a:pt x="306" y="376"/>
                </a:lnTo>
                <a:lnTo>
                  <a:pt x="300" y="376"/>
                </a:lnTo>
                <a:lnTo>
                  <a:pt x="300" y="370"/>
                </a:lnTo>
                <a:lnTo>
                  <a:pt x="294" y="366"/>
                </a:lnTo>
                <a:lnTo>
                  <a:pt x="285" y="366"/>
                </a:lnTo>
                <a:lnTo>
                  <a:pt x="275" y="363"/>
                </a:lnTo>
                <a:lnTo>
                  <a:pt x="272" y="357"/>
                </a:lnTo>
                <a:lnTo>
                  <a:pt x="269" y="357"/>
                </a:lnTo>
                <a:lnTo>
                  <a:pt x="260" y="348"/>
                </a:lnTo>
                <a:lnTo>
                  <a:pt x="256" y="345"/>
                </a:lnTo>
                <a:lnTo>
                  <a:pt x="253" y="345"/>
                </a:lnTo>
                <a:lnTo>
                  <a:pt x="253" y="348"/>
                </a:lnTo>
                <a:lnTo>
                  <a:pt x="250" y="348"/>
                </a:lnTo>
                <a:lnTo>
                  <a:pt x="244" y="345"/>
                </a:lnTo>
                <a:lnTo>
                  <a:pt x="241" y="345"/>
                </a:lnTo>
                <a:lnTo>
                  <a:pt x="238" y="341"/>
                </a:lnTo>
                <a:lnTo>
                  <a:pt x="235" y="341"/>
                </a:lnTo>
                <a:lnTo>
                  <a:pt x="231" y="341"/>
                </a:lnTo>
                <a:lnTo>
                  <a:pt x="228" y="335"/>
                </a:lnTo>
                <a:lnTo>
                  <a:pt x="225" y="332"/>
                </a:lnTo>
                <a:lnTo>
                  <a:pt x="219" y="326"/>
                </a:lnTo>
                <a:lnTo>
                  <a:pt x="216" y="326"/>
                </a:lnTo>
                <a:lnTo>
                  <a:pt x="216" y="323"/>
                </a:lnTo>
                <a:lnTo>
                  <a:pt x="216" y="320"/>
                </a:lnTo>
                <a:lnTo>
                  <a:pt x="216" y="320"/>
                </a:lnTo>
                <a:lnTo>
                  <a:pt x="210" y="323"/>
                </a:lnTo>
                <a:lnTo>
                  <a:pt x="203" y="320"/>
                </a:lnTo>
                <a:lnTo>
                  <a:pt x="203" y="316"/>
                </a:lnTo>
                <a:lnTo>
                  <a:pt x="200" y="316"/>
                </a:lnTo>
                <a:lnTo>
                  <a:pt x="197" y="316"/>
                </a:lnTo>
                <a:lnTo>
                  <a:pt x="197" y="310"/>
                </a:lnTo>
                <a:lnTo>
                  <a:pt x="194" y="307"/>
                </a:lnTo>
                <a:lnTo>
                  <a:pt x="194" y="304"/>
                </a:lnTo>
                <a:lnTo>
                  <a:pt x="191" y="301"/>
                </a:lnTo>
                <a:lnTo>
                  <a:pt x="188" y="295"/>
                </a:lnTo>
                <a:lnTo>
                  <a:pt x="188" y="291"/>
                </a:lnTo>
                <a:lnTo>
                  <a:pt x="191" y="291"/>
                </a:lnTo>
                <a:lnTo>
                  <a:pt x="194" y="291"/>
                </a:lnTo>
                <a:lnTo>
                  <a:pt x="197" y="288"/>
                </a:lnTo>
                <a:lnTo>
                  <a:pt x="194" y="288"/>
                </a:lnTo>
                <a:lnTo>
                  <a:pt x="191" y="285"/>
                </a:lnTo>
                <a:lnTo>
                  <a:pt x="194" y="285"/>
                </a:lnTo>
                <a:lnTo>
                  <a:pt x="197" y="279"/>
                </a:lnTo>
                <a:lnTo>
                  <a:pt x="200" y="276"/>
                </a:lnTo>
                <a:lnTo>
                  <a:pt x="200" y="273"/>
                </a:lnTo>
                <a:lnTo>
                  <a:pt x="194" y="260"/>
                </a:lnTo>
                <a:lnTo>
                  <a:pt x="194" y="257"/>
                </a:lnTo>
                <a:lnTo>
                  <a:pt x="191" y="254"/>
                </a:lnTo>
                <a:lnTo>
                  <a:pt x="194" y="251"/>
                </a:lnTo>
                <a:lnTo>
                  <a:pt x="191" y="244"/>
                </a:lnTo>
                <a:lnTo>
                  <a:pt x="185" y="238"/>
                </a:lnTo>
                <a:lnTo>
                  <a:pt x="185" y="232"/>
                </a:lnTo>
                <a:lnTo>
                  <a:pt x="178" y="226"/>
                </a:lnTo>
                <a:lnTo>
                  <a:pt x="175" y="219"/>
                </a:lnTo>
                <a:lnTo>
                  <a:pt x="169" y="210"/>
                </a:lnTo>
                <a:lnTo>
                  <a:pt x="163" y="207"/>
                </a:lnTo>
                <a:lnTo>
                  <a:pt x="160" y="204"/>
                </a:lnTo>
                <a:lnTo>
                  <a:pt x="160" y="201"/>
                </a:lnTo>
                <a:lnTo>
                  <a:pt x="153" y="201"/>
                </a:lnTo>
                <a:lnTo>
                  <a:pt x="150" y="198"/>
                </a:lnTo>
                <a:lnTo>
                  <a:pt x="150" y="198"/>
                </a:lnTo>
                <a:lnTo>
                  <a:pt x="153" y="194"/>
                </a:lnTo>
                <a:lnTo>
                  <a:pt x="156" y="191"/>
                </a:lnTo>
                <a:lnTo>
                  <a:pt x="153" y="188"/>
                </a:lnTo>
                <a:lnTo>
                  <a:pt x="153" y="185"/>
                </a:lnTo>
                <a:lnTo>
                  <a:pt x="150" y="185"/>
                </a:lnTo>
                <a:lnTo>
                  <a:pt x="150" y="185"/>
                </a:lnTo>
                <a:lnTo>
                  <a:pt x="144" y="182"/>
                </a:lnTo>
                <a:lnTo>
                  <a:pt x="138" y="176"/>
                </a:lnTo>
                <a:lnTo>
                  <a:pt x="135" y="176"/>
                </a:lnTo>
                <a:lnTo>
                  <a:pt x="131" y="176"/>
                </a:lnTo>
                <a:lnTo>
                  <a:pt x="128" y="173"/>
                </a:lnTo>
                <a:lnTo>
                  <a:pt x="128" y="169"/>
                </a:lnTo>
                <a:lnTo>
                  <a:pt x="128" y="163"/>
                </a:lnTo>
                <a:lnTo>
                  <a:pt x="131" y="160"/>
                </a:lnTo>
                <a:lnTo>
                  <a:pt x="135" y="157"/>
                </a:lnTo>
                <a:lnTo>
                  <a:pt x="138" y="160"/>
                </a:lnTo>
                <a:lnTo>
                  <a:pt x="138" y="157"/>
                </a:lnTo>
                <a:lnTo>
                  <a:pt x="138" y="157"/>
                </a:lnTo>
                <a:lnTo>
                  <a:pt x="138" y="154"/>
                </a:lnTo>
                <a:lnTo>
                  <a:pt x="135" y="157"/>
                </a:lnTo>
                <a:lnTo>
                  <a:pt x="131" y="154"/>
                </a:lnTo>
                <a:lnTo>
                  <a:pt x="131" y="151"/>
                </a:lnTo>
                <a:lnTo>
                  <a:pt x="128" y="147"/>
                </a:lnTo>
                <a:lnTo>
                  <a:pt x="125" y="147"/>
                </a:lnTo>
                <a:lnTo>
                  <a:pt x="122" y="147"/>
                </a:lnTo>
                <a:lnTo>
                  <a:pt x="122" y="144"/>
                </a:lnTo>
                <a:lnTo>
                  <a:pt x="122" y="141"/>
                </a:lnTo>
                <a:lnTo>
                  <a:pt x="119" y="138"/>
                </a:lnTo>
                <a:lnTo>
                  <a:pt x="116" y="138"/>
                </a:lnTo>
                <a:lnTo>
                  <a:pt x="110" y="132"/>
                </a:lnTo>
                <a:lnTo>
                  <a:pt x="110" y="129"/>
                </a:lnTo>
                <a:lnTo>
                  <a:pt x="110" y="126"/>
                </a:lnTo>
                <a:lnTo>
                  <a:pt x="110" y="122"/>
                </a:lnTo>
                <a:lnTo>
                  <a:pt x="110" y="119"/>
                </a:lnTo>
                <a:lnTo>
                  <a:pt x="106" y="119"/>
                </a:lnTo>
                <a:lnTo>
                  <a:pt x="103" y="119"/>
                </a:lnTo>
                <a:lnTo>
                  <a:pt x="103" y="119"/>
                </a:lnTo>
                <a:lnTo>
                  <a:pt x="100" y="116"/>
                </a:lnTo>
                <a:lnTo>
                  <a:pt x="100" y="116"/>
                </a:lnTo>
                <a:lnTo>
                  <a:pt x="97" y="113"/>
                </a:lnTo>
                <a:lnTo>
                  <a:pt x="97" y="107"/>
                </a:lnTo>
                <a:lnTo>
                  <a:pt x="94" y="107"/>
                </a:lnTo>
                <a:lnTo>
                  <a:pt x="91" y="104"/>
                </a:lnTo>
                <a:lnTo>
                  <a:pt x="91" y="101"/>
                </a:lnTo>
                <a:lnTo>
                  <a:pt x="91" y="97"/>
                </a:lnTo>
                <a:lnTo>
                  <a:pt x="88" y="97"/>
                </a:lnTo>
                <a:lnTo>
                  <a:pt x="85" y="88"/>
                </a:lnTo>
                <a:lnTo>
                  <a:pt x="85" y="88"/>
                </a:lnTo>
                <a:lnTo>
                  <a:pt x="81" y="88"/>
                </a:lnTo>
                <a:lnTo>
                  <a:pt x="81" y="85"/>
                </a:lnTo>
                <a:lnTo>
                  <a:pt x="81" y="82"/>
                </a:lnTo>
                <a:lnTo>
                  <a:pt x="81" y="82"/>
                </a:lnTo>
                <a:lnTo>
                  <a:pt x="78" y="76"/>
                </a:lnTo>
                <a:lnTo>
                  <a:pt x="75" y="69"/>
                </a:lnTo>
                <a:lnTo>
                  <a:pt x="78" y="69"/>
                </a:lnTo>
                <a:lnTo>
                  <a:pt x="75" y="63"/>
                </a:lnTo>
                <a:lnTo>
                  <a:pt x="75" y="60"/>
                </a:lnTo>
                <a:lnTo>
                  <a:pt x="75" y="54"/>
                </a:lnTo>
                <a:lnTo>
                  <a:pt x="72" y="47"/>
                </a:lnTo>
                <a:lnTo>
                  <a:pt x="72" y="44"/>
                </a:lnTo>
                <a:lnTo>
                  <a:pt x="75" y="41"/>
                </a:lnTo>
                <a:lnTo>
                  <a:pt x="75" y="41"/>
                </a:lnTo>
                <a:lnTo>
                  <a:pt x="69" y="38"/>
                </a:lnTo>
                <a:lnTo>
                  <a:pt x="66" y="38"/>
                </a:lnTo>
                <a:lnTo>
                  <a:pt x="66" y="35"/>
                </a:lnTo>
                <a:lnTo>
                  <a:pt x="63" y="32"/>
                </a:lnTo>
                <a:lnTo>
                  <a:pt x="60" y="35"/>
                </a:lnTo>
                <a:lnTo>
                  <a:pt x="56" y="35"/>
                </a:lnTo>
                <a:lnTo>
                  <a:pt x="53" y="32"/>
                </a:lnTo>
                <a:lnTo>
                  <a:pt x="50" y="29"/>
                </a:lnTo>
                <a:lnTo>
                  <a:pt x="47" y="25"/>
                </a:lnTo>
                <a:lnTo>
                  <a:pt x="44" y="19"/>
                </a:lnTo>
                <a:lnTo>
                  <a:pt x="44" y="25"/>
                </a:lnTo>
                <a:lnTo>
                  <a:pt x="44" y="29"/>
                </a:lnTo>
                <a:lnTo>
                  <a:pt x="44" y="35"/>
                </a:lnTo>
                <a:lnTo>
                  <a:pt x="41" y="38"/>
                </a:lnTo>
                <a:lnTo>
                  <a:pt x="44" y="47"/>
                </a:lnTo>
                <a:lnTo>
                  <a:pt x="44" y="63"/>
                </a:lnTo>
                <a:lnTo>
                  <a:pt x="41" y="66"/>
                </a:lnTo>
                <a:lnTo>
                  <a:pt x="44" y="66"/>
                </a:lnTo>
                <a:lnTo>
                  <a:pt x="47" y="72"/>
                </a:lnTo>
                <a:lnTo>
                  <a:pt x="47" y="76"/>
                </a:lnTo>
                <a:lnTo>
                  <a:pt x="47" y="76"/>
                </a:lnTo>
                <a:lnTo>
                  <a:pt x="50" y="79"/>
                </a:lnTo>
                <a:lnTo>
                  <a:pt x="56" y="82"/>
                </a:lnTo>
                <a:lnTo>
                  <a:pt x="56" y="88"/>
                </a:lnTo>
                <a:lnTo>
                  <a:pt x="56" y="91"/>
                </a:lnTo>
                <a:lnTo>
                  <a:pt x="56" y="94"/>
                </a:lnTo>
                <a:lnTo>
                  <a:pt x="60" y="97"/>
                </a:lnTo>
                <a:lnTo>
                  <a:pt x="63" y="97"/>
                </a:lnTo>
                <a:lnTo>
                  <a:pt x="63" y="104"/>
                </a:lnTo>
                <a:lnTo>
                  <a:pt x="66" y="104"/>
                </a:lnTo>
                <a:lnTo>
                  <a:pt x="66" y="107"/>
                </a:lnTo>
                <a:lnTo>
                  <a:pt x="72" y="110"/>
                </a:lnTo>
                <a:lnTo>
                  <a:pt x="69" y="113"/>
                </a:lnTo>
                <a:lnTo>
                  <a:pt x="69" y="119"/>
                </a:lnTo>
                <a:lnTo>
                  <a:pt x="75" y="122"/>
                </a:lnTo>
                <a:lnTo>
                  <a:pt x="75" y="122"/>
                </a:lnTo>
                <a:lnTo>
                  <a:pt x="78" y="129"/>
                </a:lnTo>
                <a:lnTo>
                  <a:pt x="78" y="135"/>
                </a:lnTo>
                <a:lnTo>
                  <a:pt x="81" y="135"/>
                </a:lnTo>
                <a:lnTo>
                  <a:pt x="81" y="138"/>
                </a:lnTo>
                <a:lnTo>
                  <a:pt x="81" y="141"/>
                </a:lnTo>
                <a:lnTo>
                  <a:pt x="81" y="144"/>
                </a:lnTo>
                <a:lnTo>
                  <a:pt x="85" y="151"/>
                </a:lnTo>
                <a:lnTo>
                  <a:pt x="88" y="147"/>
                </a:lnTo>
                <a:lnTo>
                  <a:pt x="88" y="144"/>
                </a:lnTo>
                <a:lnTo>
                  <a:pt x="88" y="144"/>
                </a:lnTo>
                <a:lnTo>
                  <a:pt x="88" y="144"/>
                </a:lnTo>
                <a:lnTo>
                  <a:pt x="88" y="147"/>
                </a:lnTo>
                <a:lnTo>
                  <a:pt x="91" y="151"/>
                </a:lnTo>
                <a:lnTo>
                  <a:pt x="94" y="157"/>
                </a:lnTo>
                <a:lnTo>
                  <a:pt x="91" y="160"/>
                </a:lnTo>
                <a:lnTo>
                  <a:pt x="91" y="166"/>
                </a:lnTo>
                <a:lnTo>
                  <a:pt x="94" y="169"/>
                </a:lnTo>
                <a:lnTo>
                  <a:pt x="94" y="173"/>
                </a:lnTo>
                <a:lnTo>
                  <a:pt x="97" y="176"/>
                </a:lnTo>
                <a:lnTo>
                  <a:pt x="97" y="179"/>
                </a:lnTo>
                <a:lnTo>
                  <a:pt x="97" y="179"/>
                </a:lnTo>
                <a:lnTo>
                  <a:pt x="97" y="182"/>
                </a:lnTo>
                <a:lnTo>
                  <a:pt x="97" y="185"/>
                </a:lnTo>
                <a:lnTo>
                  <a:pt x="100" y="188"/>
                </a:lnTo>
                <a:lnTo>
                  <a:pt x="100" y="191"/>
                </a:lnTo>
                <a:lnTo>
                  <a:pt x="97" y="198"/>
                </a:lnTo>
                <a:lnTo>
                  <a:pt x="97" y="201"/>
                </a:lnTo>
                <a:lnTo>
                  <a:pt x="100" y="204"/>
                </a:lnTo>
                <a:lnTo>
                  <a:pt x="103" y="207"/>
                </a:lnTo>
                <a:lnTo>
                  <a:pt x="106" y="207"/>
                </a:lnTo>
                <a:lnTo>
                  <a:pt x="106" y="207"/>
                </a:lnTo>
                <a:lnTo>
                  <a:pt x="106" y="204"/>
                </a:lnTo>
                <a:lnTo>
                  <a:pt x="106" y="204"/>
                </a:lnTo>
                <a:lnTo>
                  <a:pt x="110" y="204"/>
                </a:lnTo>
                <a:lnTo>
                  <a:pt x="113" y="207"/>
                </a:lnTo>
                <a:lnTo>
                  <a:pt x="113" y="210"/>
                </a:lnTo>
                <a:lnTo>
                  <a:pt x="116" y="210"/>
                </a:lnTo>
                <a:lnTo>
                  <a:pt x="116" y="216"/>
                </a:lnTo>
                <a:lnTo>
                  <a:pt x="119" y="216"/>
                </a:lnTo>
                <a:lnTo>
                  <a:pt x="119" y="219"/>
                </a:lnTo>
                <a:lnTo>
                  <a:pt x="122" y="223"/>
                </a:lnTo>
                <a:lnTo>
                  <a:pt x="122" y="226"/>
                </a:lnTo>
                <a:lnTo>
                  <a:pt x="119" y="232"/>
                </a:lnTo>
                <a:lnTo>
                  <a:pt x="113" y="235"/>
                </a:lnTo>
                <a:lnTo>
                  <a:pt x="110" y="235"/>
                </a:lnTo>
                <a:lnTo>
                  <a:pt x="110" y="229"/>
                </a:lnTo>
                <a:lnTo>
                  <a:pt x="110" y="229"/>
                </a:lnTo>
                <a:lnTo>
                  <a:pt x="106" y="226"/>
                </a:lnTo>
                <a:lnTo>
                  <a:pt x="106" y="219"/>
                </a:lnTo>
                <a:lnTo>
                  <a:pt x="103" y="216"/>
                </a:lnTo>
                <a:lnTo>
                  <a:pt x="100" y="216"/>
                </a:lnTo>
                <a:lnTo>
                  <a:pt x="97" y="213"/>
                </a:lnTo>
                <a:lnTo>
                  <a:pt x="94" y="210"/>
                </a:lnTo>
                <a:lnTo>
                  <a:pt x="91" y="210"/>
                </a:lnTo>
                <a:lnTo>
                  <a:pt x="85" y="201"/>
                </a:lnTo>
                <a:lnTo>
                  <a:pt x="81" y="198"/>
                </a:lnTo>
                <a:lnTo>
                  <a:pt x="78" y="198"/>
                </a:lnTo>
                <a:lnTo>
                  <a:pt x="78" y="194"/>
                </a:lnTo>
                <a:lnTo>
                  <a:pt x="75" y="194"/>
                </a:lnTo>
                <a:lnTo>
                  <a:pt x="72" y="191"/>
                </a:lnTo>
                <a:lnTo>
                  <a:pt x="72" y="188"/>
                </a:lnTo>
                <a:lnTo>
                  <a:pt x="75" y="182"/>
                </a:lnTo>
                <a:lnTo>
                  <a:pt x="75" y="176"/>
                </a:lnTo>
                <a:lnTo>
                  <a:pt x="75" y="166"/>
                </a:lnTo>
                <a:lnTo>
                  <a:pt x="72" y="160"/>
                </a:lnTo>
                <a:lnTo>
                  <a:pt x="72" y="157"/>
                </a:lnTo>
                <a:lnTo>
                  <a:pt x="69" y="157"/>
                </a:lnTo>
                <a:lnTo>
                  <a:pt x="66" y="157"/>
                </a:lnTo>
                <a:lnTo>
                  <a:pt x="60" y="151"/>
                </a:lnTo>
                <a:lnTo>
                  <a:pt x="60" y="144"/>
                </a:lnTo>
                <a:lnTo>
                  <a:pt x="60" y="141"/>
                </a:lnTo>
                <a:lnTo>
                  <a:pt x="56" y="141"/>
                </a:lnTo>
                <a:lnTo>
                  <a:pt x="53" y="144"/>
                </a:lnTo>
                <a:lnTo>
                  <a:pt x="53" y="144"/>
                </a:lnTo>
                <a:lnTo>
                  <a:pt x="50" y="144"/>
                </a:lnTo>
                <a:lnTo>
                  <a:pt x="47" y="141"/>
                </a:lnTo>
                <a:lnTo>
                  <a:pt x="47" y="141"/>
                </a:lnTo>
                <a:lnTo>
                  <a:pt x="47" y="141"/>
                </a:lnTo>
                <a:lnTo>
                  <a:pt x="44" y="141"/>
                </a:lnTo>
                <a:lnTo>
                  <a:pt x="44" y="138"/>
                </a:lnTo>
                <a:lnTo>
                  <a:pt x="38" y="135"/>
                </a:lnTo>
                <a:lnTo>
                  <a:pt x="35" y="135"/>
                </a:lnTo>
                <a:lnTo>
                  <a:pt x="35" y="132"/>
                </a:lnTo>
                <a:lnTo>
                  <a:pt x="35" y="129"/>
                </a:lnTo>
                <a:lnTo>
                  <a:pt x="28" y="126"/>
                </a:lnTo>
                <a:lnTo>
                  <a:pt x="25" y="119"/>
                </a:lnTo>
                <a:lnTo>
                  <a:pt x="28" y="119"/>
                </a:lnTo>
                <a:lnTo>
                  <a:pt x="31" y="119"/>
                </a:lnTo>
                <a:lnTo>
                  <a:pt x="35" y="119"/>
                </a:lnTo>
                <a:lnTo>
                  <a:pt x="41" y="122"/>
                </a:lnTo>
                <a:lnTo>
                  <a:pt x="44" y="122"/>
                </a:lnTo>
                <a:lnTo>
                  <a:pt x="44" y="122"/>
                </a:lnTo>
                <a:lnTo>
                  <a:pt x="44" y="119"/>
                </a:lnTo>
                <a:lnTo>
                  <a:pt x="41" y="119"/>
                </a:lnTo>
                <a:lnTo>
                  <a:pt x="41" y="116"/>
                </a:lnTo>
                <a:lnTo>
                  <a:pt x="44" y="116"/>
                </a:lnTo>
                <a:lnTo>
                  <a:pt x="44" y="116"/>
                </a:lnTo>
                <a:lnTo>
                  <a:pt x="47" y="113"/>
                </a:lnTo>
                <a:lnTo>
                  <a:pt x="44" y="110"/>
                </a:lnTo>
                <a:lnTo>
                  <a:pt x="44" y="107"/>
                </a:lnTo>
                <a:lnTo>
                  <a:pt x="47" y="107"/>
                </a:lnTo>
                <a:lnTo>
                  <a:pt x="44" y="101"/>
                </a:lnTo>
                <a:lnTo>
                  <a:pt x="44" y="101"/>
                </a:lnTo>
                <a:lnTo>
                  <a:pt x="41" y="94"/>
                </a:lnTo>
                <a:lnTo>
                  <a:pt x="35" y="91"/>
                </a:lnTo>
                <a:lnTo>
                  <a:pt x="35" y="88"/>
                </a:lnTo>
                <a:lnTo>
                  <a:pt x="31" y="82"/>
                </a:lnTo>
                <a:lnTo>
                  <a:pt x="25" y="76"/>
                </a:lnTo>
                <a:lnTo>
                  <a:pt x="25" y="79"/>
                </a:lnTo>
                <a:lnTo>
                  <a:pt x="22" y="72"/>
                </a:lnTo>
                <a:lnTo>
                  <a:pt x="19" y="69"/>
                </a:lnTo>
                <a:lnTo>
                  <a:pt x="19" y="63"/>
                </a:lnTo>
                <a:lnTo>
                  <a:pt x="19" y="60"/>
                </a:lnTo>
                <a:lnTo>
                  <a:pt x="16" y="57"/>
                </a:lnTo>
                <a:lnTo>
                  <a:pt x="16" y="54"/>
                </a:lnTo>
                <a:lnTo>
                  <a:pt x="16" y="51"/>
                </a:lnTo>
                <a:lnTo>
                  <a:pt x="16" y="47"/>
                </a:lnTo>
                <a:lnTo>
                  <a:pt x="13" y="44"/>
                </a:lnTo>
                <a:lnTo>
                  <a:pt x="13" y="41"/>
                </a:lnTo>
                <a:lnTo>
                  <a:pt x="13" y="41"/>
                </a:lnTo>
                <a:lnTo>
                  <a:pt x="13" y="38"/>
                </a:lnTo>
                <a:lnTo>
                  <a:pt x="6" y="32"/>
                </a:lnTo>
                <a:lnTo>
                  <a:pt x="6" y="29"/>
                </a:lnTo>
                <a:lnTo>
                  <a:pt x="6" y="25"/>
                </a:lnTo>
                <a:lnTo>
                  <a:pt x="10" y="25"/>
                </a:lnTo>
                <a:lnTo>
                  <a:pt x="6" y="22"/>
                </a:lnTo>
                <a:lnTo>
                  <a:pt x="3" y="16"/>
                </a:lnTo>
                <a:lnTo>
                  <a:pt x="0" y="7"/>
                </a:lnTo>
                <a:lnTo>
                  <a:pt x="0" y="4"/>
                </a:lnTo>
                <a:lnTo>
                  <a:pt x="0" y="4"/>
                </a:lnTo>
                <a:close/>
                <a:moveTo>
                  <a:pt x="103" y="191"/>
                </a:moveTo>
                <a:lnTo>
                  <a:pt x="103" y="188"/>
                </a:lnTo>
                <a:lnTo>
                  <a:pt x="103" y="188"/>
                </a:lnTo>
                <a:lnTo>
                  <a:pt x="103" y="185"/>
                </a:lnTo>
                <a:lnTo>
                  <a:pt x="100" y="185"/>
                </a:lnTo>
                <a:lnTo>
                  <a:pt x="103" y="188"/>
                </a:lnTo>
                <a:lnTo>
                  <a:pt x="103" y="191"/>
                </a:lnTo>
                <a:lnTo>
                  <a:pt x="103" y="191"/>
                </a:lnTo>
                <a:close/>
                <a:moveTo>
                  <a:pt x="106" y="201"/>
                </a:moveTo>
                <a:lnTo>
                  <a:pt x="106" y="201"/>
                </a:lnTo>
                <a:lnTo>
                  <a:pt x="106" y="201"/>
                </a:lnTo>
                <a:lnTo>
                  <a:pt x="110" y="201"/>
                </a:lnTo>
                <a:lnTo>
                  <a:pt x="106" y="201"/>
                </a:lnTo>
                <a:lnTo>
                  <a:pt x="106" y="201"/>
                </a:lnTo>
                <a:close/>
                <a:moveTo>
                  <a:pt x="356" y="194"/>
                </a:moveTo>
                <a:lnTo>
                  <a:pt x="360" y="194"/>
                </a:lnTo>
                <a:lnTo>
                  <a:pt x="360" y="191"/>
                </a:lnTo>
                <a:lnTo>
                  <a:pt x="356" y="191"/>
                </a:lnTo>
                <a:lnTo>
                  <a:pt x="356" y="194"/>
                </a:lnTo>
                <a:lnTo>
                  <a:pt x="356" y="194"/>
                </a:lnTo>
                <a:close/>
                <a:moveTo>
                  <a:pt x="356" y="198"/>
                </a:moveTo>
                <a:lnTo>
                  <a:pt x="356" y="198"/>
                </a:lnTo>
                <a:lnTo>
                  <a:pt x="356" y="194"/>
                </a:lnTo>
                <a:lnTo>
                  <a:pt x="356" y="194"/>
                </a:lnTo>
                <a:lnTo>
                  <a:pt x="356" y="198"/>
                </a:lnTo>
                <a:lnTo>
                  <a:pt x="356" y="198"/>
                </a:lnTo>
                <a:close/>
                <a:moveTo>
                  <a:pt x="353" y="207"/>
                </a:moveTo>
                <a:lnTo>
                  <a:pt x="356" y="204"/>
                </a:lnTo>
                <a:lnTo>
                  <a:pt x="356" y="201"/>
                </a:lnTo>
                <a:lnTo>
                  <a:pt x="353" y="207"/>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8" name="Freeform 186">
            <a:extLst>
              <a:ext uri="{FF2B5EF4-FFF2-40B4-BE49-F238E27FC236}">
                <a16:creationId xmlns:a16="http://schemas.microsoft.com/office/drawing/2014/main" id="{99A70323-1BE6-74D2-CAFB-2866B1FDE2E7}"/>
              </a:ext>
            </a:extLst>
          </p:cNvPr>
          <p:cNvSpPr>
            <a:spLocks noEditPoints="1"/>
          </p:cNvSpPr>
          <p:nvPr userDrawn="1"/>
        </p:nvSpPr>
        <p:spPr bwMode="auto">
          <a:xfrm>
            <a:off x="8613212" y="9048037"/>
            <a:ext cx="2431892" cy="2562226"/>
          </a:xfrm>
          <a:custGeom>
            <a:avLst/>
            <a:gdLst>
              <a:gd name="T0" fmla="*/ 146 w 245"/>
              <a:gd name="T1" fmla="*/ 35 h 258"/>
              <a:gd name="T2" fmla="*/ 148 w 245"/>
              <a:gd name="T3" fmla="*/ 34 h 258"/>
              <a:gd name="T4" fmla="*/ 150 w 245"/>
              <a:gd name="T5" fmla="*/ 34 h 258"/>
              <a:gd name="T6" fmla="*/ 154 w 245"/>
              <a:gd name="T7" fmla="*/ 35 h 258"/>
              <a:gd name="T8" fmla="*/ 141 w 245"/>
              <a:gd name="T9" fmla="*/ 7 h 258"/>
              <a:gd name="T10" fmla="*/ 133 w 245"/>
              <a:gd name="T11" fmla="*/ 19 h 258"/>
              <a:gd name="T12" fmla="*/ 124 w 245"/>
              <a:gd name="T13" fmla="*/ 21 h 258"/>
              <a:gd name="T14" fmla="*/ 112 w 245"/>
              <a:gd name="T15" fmla="*/ 19 h 258"/>
              <a:gd name="T16" fmla="*/ 106 w 245"/>
              <a:gd name="T17" fmla="*/ 21 h 258"/>
              <a:gd name="T18" fmla="*/ 91 w 245"/>
              <a:gd name="T19" fmla="*/ 24 h 258"/>
              <a:gd name="T20" fmla="*/ 90 w 245"/>
              <a:gd name="T21" fmla="*/ 8 h 258"/>
              <a:gd name="T22" fmla="*/ 83 w 245"/>
              <a:gd name="T23" fmla="*/ 0 h 258"/>
              <a:gd name="T24" fmla="*/ 62 w 245"/>
              <a:gd name="T25" fmla="*/ 9 h 258"/>
              <a:gd name="T26" fmla="*/ 65 w 245"/>
              <a:gd name="T27" fmla="*/ 18 h 258"/>
              <a:gd name="T28" fmla="*/ 43 w 245"/>
              <a:gd name="T29" fmla="*/ 26 h 258"/>
              <a:gd name="T30" fmla="*/ 25 w 245"/>
              <a:gd name="T31" fmla="*/ 25 h 258"/>
              <a:gd name="T32" fmla="*/ 28 w 245"/>
              <a:gd name="T33" fmla="*/ 44 h 258"/>
              <a:gd name="T34" fmla="*/ 14 w 245"/>
              <a:gd name="T35" fmla="*/ 63 h 258"/>
              <a:gd name="T36" fmla="*/ 3 w 245"/>
              <a:gd name="T37" fmla="*/ 77 h 258"/>
              <a:gd name="T38" fmla="*/ 7 w 245"/>
              <a:gd name="T39" fmla="*/ 94 h 258"/>
              <a:gd name="T40" fmla="*/ 22 w 245"/>
              <a:gd name="T41" fmla="*/ 105 h 258"/>
              <a:gd name="T42" fmla="*/ 38 w 245"/>
              <a:gd name="T43" fmla="*/ 103 h 258"/>
              <a:gd name="T44" fmla="*/ 53 w 245"/>
              <a:gd name="T45" fmla="*/ 103 h 258"/>
              <a:gd name="T46" fmla="*/ 71 w 245"/>
              <a:gd name="T47" fmla="*/ 118 h 258"/>
              <a:gd name="T48" fmla="*/ 88 w 245"/>
              <a:gd name="T49" fmla="*/ 135 h 258"/>
              <a:gd name="T50" fmla="*/ 104 w 245"/>
              <a:gd name="T51" fmla="*/ 166 h 258"/>
              <a:gd name="T52" fmla="*/ 119 w 245"/>
              <a:gd name="T53" fmla="*/ 179 h 258"/>
              <a:gd name="T54" fmla="*/ 127 w 245"/>
              <a:gd name="T55" fmla="*/ 199 h 258"/>
              <a:gd name="T56" fmla="*/ 130 w 245"/>
              <a:gd name="T57" fmla="*/ 213 h 258"/>
              <a:gd name="T58" fmla="*/ 117 w 245"/>
              <a:gd name="T59" fmla="*/ 225 h 258"/>
              <a:gd name="T60" fmla="*/ 119 w 245"/>
              <a:gd name="T61" fmla="*/ 235 h 258"/>
              <a:gd name="T62" fmla="*/ 135 w 245"/>
              <a:gd name="T63" fmla="*/ 246 h 258"/>
              <a:gd name="T64" fmla="*/ 144 w 245"/>
              <a:gd name="T65" fmla="*/ 250 h 258"/>
              <a:gd name="T66" fmla="*/ 149 w 245"/>
              <a:gd name="T67" fmla="*/ 238 h 258"/>
              <a:gd name="T68" fmla="*/ 153 w 245"/>
              <a:gd name="T69" fmla="*/ 233 h 258"/>
              <a:gd name="T70" fmla="*/ 147 w 245"/>
              <a:gd name="T71" fmla="*/ 244 h 258"/>
              <a:gd name="T72" fmla="*/ 164 w 245"/>
              <a:gd name="T73" fmla="*/ 219 h 258"/>
              <a:gd name="T74" fmla="*/ 164 w 245"/>
              <a:gd name="T75" fmla="*/ 208 h 258"/>
              <a:gd name="T76" fmla="*/ 168 w 245"/>
              <a:gd name="T77" fmla="*/ 197 h 258"/>
              <a:gd name="T78" fmla="*/ 184 w 245"/>
              <a:gd name="T79" fmla="*/ 186 h 258"/>
              <a:gd name="T80" fmla="*/ 193 w 245"/>
              <a:gd name="T81" fmla="*/ 181 h 258"/>
              <a:gd name="T82" fmla="*/ 199 w 245"/>
              <a:gd name="T83" fmla="*/ 181 h 258"/>
              <a:gd name="T84" fmla="*/ 210 w 245"/>
              <a:gd name="T85" fmla="*/ 170 h 258"/>
              <a:gd name="T86" fmla="*/ 217 w 245"/>
              <a:gd name="T87" fmla="*/ 150 h 258"/>
              <a:gd name="T88" fmla="*/ 221 w 245"/>
              <a:gd name="T89" fmla="*/ 123 h 258"/>
              <a:gd name="T90" fmla="*/ 219 w 245"/>
              <a:gd name="T91" fmla="*/ 114 h 258"/>
              <a:gd name="T92" fmla="*/ 227 w 245"/>
              <a:gd name="T93" fmla="*/ 112 h 258"/>
              <a:gd name="T94" fmla="*/ 244 w 245"/>
              <a:gd name="T95" fmla="*/ 88 h 258"/>
              <a:gd name="T96" fmla="*/ 238 w 245"/>
              <a:gd name="T97" fmla="*/ 66 h 258"/>
              <a:gd name="T98" fmla="*/ 214 w 245"/>
              <a:gd name="T99" fmla="*/ 52 h 258"/>
              <a:gd name="T100" fmla="*/ 201 w 245"/>
              <a:gd name="T101" fmla="*/ 52 h 258"/>
              <a:gd name="T102" fmla="*/ 190 w 245"/>
              <a:gd name="T103" fmla="*/ 50 h 258"/>
              <a:gd name="T104" fmla="*/ 184 w 245"/>
              <a:gd name="T105" fmla="*/ 55 h 258"/>
              <a:gd name="T106" fmla="*/ 178 w 245"/>
              <a:gd name="T107" fmla="*/ 45 h 258"/>
              <a:gd name="T108" fmla="*/ 170 w 245"/>
              <a:gd name="T109" fmla="*/ 40 h 258"/>
              <a:gd name="T110" fmla="*/ 160 w 245"/>
              <a:gd name="T111" fmla="*/ 43 h 258"/>
              <a:gd name="T112" fmla="*/ 151 w 245"/>
              <a:gd name="T113" fmla="*/ 52 h 258"/>
              <a:gd name="T114" fmla="*/ 148 w 245"/>
              <a:gd name="T115" fmla="*/ 46 h 258"/>
              <a:gd name="T116" fmla="*/ 160 w 245"/>
              <a:gd name="T117" fmla="*/ 37 h 258"/>
              <a:gd name="T118" fmla="*/ 146 w 245"/>
              <a:gd name="T119" fmla="*/ 39 h 258"/>
              <a:gd name="T120" fmla="*/ 139 w 245"/>
              <a:gd name="T121" fmla="*/ 40 h 258"/>
              <a:gd name="T122" fmla="*/ 149 w 245"/>
              <a:gd name="T123" fmla="*/ 28 h 258"/>
              <a:gd name="T124" fmla="*/ 143 w 245"/>
              <a:gd name="T125" fmla="*/ 1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5" h="258">
                <a:moveTo>
                  <a:pt x="143" y="38"/>
                </a:moveTo>
                <a:cubicBezTo>
                  <a:pt x="144" y="37"/>
                  <a:pt x="144" y="37"/>
                  <a:pt x="144" y="37"/>
                </a:cubicBezTo>
                <a:cubicBezTo>
                  <a:pt x="145" y="37"/>
                  <a:pt x="145" y="37"/>
                  <a:pt x="145" y="37"/>
                </a:cubicBezTo>
                <a:cubicBezTo>
                  <a:pt x="145" y="37"/>
                  <a:pt x="145" y="37"/>
                  <a:pt x="145" y="37"/>
                </a:cubicBezTo>
                <a:cubicBezTo>
                  <a:pt x="145" y="38"/>
                  <a:pt x="145" y="38"/>
                  <a:pt x="145" y="38"/>
                </a:cubicBezTo>
                <a:cubicBezTo>
                  <a:pt x="144" y="38"/>
                  <a:pt x="144" y="38"/>
                  <a:pt x="144" y="38"/>
                </a:cubicBezTo>
                <a:cubicBezTo>
                  <a:pt x="143" y="38"/>
                  <a:pt x="143" y="38"/>
                  <a:pt x="143" y="38"/>
                </a:cubicBezTo>
                <a:close/>
                <a:moveTo>
                  <a:pt x="142" y="38"/>
                </a:moveTo>
                <a:cubicBezTo>
                  <a:pt x="143" y="38"/>
                  <a:pt x="143" y="38"/>
                  <a:pt x="143" y="38"/>
                </a:cubicBezTo>
                <a:cubicBezTo>
                  <a:pt x="143" y="37"/>
                  <a:pt x="143" y="37"/>
                  <a:pt x="143" y="37"/>
                </a:cubicBezTo>
                <a:cubicBezTo>
                  <a:pt x="144" y="36"/>
                  <a:pt x="144" y="36"/>
                  <a:pt x="144" y="36"/>
                </a:cubicBezTo>
                <a:cubicBezTo>
                  <a:pt x="145" y="36"/>
                  <a:pt x="145" y="36"/>
                  <a:pt x="145" y="36"/>
                </a:cubicBezTo>
                <a:cubicBezTo>
                  <a:pt x="146" y="35"/>
                  <a:pt x="146" y="35"/>
                  <a:pt x="146" y="35"/>
                </a:cubicBezTo>
                <a:cubicBezTo>
                  <a:pt x="146" y="35"/>
                  <a:pt x="146" y="35"/>
                  <a:pt x="146" y="35"/>
                </a:cubicBezTo>
                <a:cubicBezTo>
                  <a:pt x="145" y="35"/>
                  <a:pt x="145" y="35"/>
                  <a:pt x="145" y="35"/>
                </a:cubicBezTo>
                <a:cubicBezTo>
                  <a:pt x="145" y="35"/>
                  <a:pt x="145" y="35"/>
                  <a:pt x="145" y="35"/>
                </a:cubicBezTo>
                <a:cubicBezTo>
                  <a:pt x="144" y="35"/>
                  <a:pt x="144" y="35"/>
                  <a:pt x="144" y="35"/>
                </a:cubicBezTo>
                <a:cubicBezTo>
                  <a:pt x="143" y="36"/>
                  <a:pt x="143" y="36"/>
                  <a:pt x="143" y="36"/>
                </a:cubicBezTo>
                <a:cubicBezTo>
                  <a:pt x="142" y="38"/>
                  <a:pt x="142" y="38"/>
                  <a:pt x="142" y="38"/>
                </a:cubicBezTo>
                <a:close/>
                <a:moveTo>
                  <a:pt x="148" y="34"/>
                </a:moveTo>
                <a:cubicBezTo>
                  <a:pt x="147" y="33"/>
                  <a:pt x="147" y="33"/>
                  <a:pt x="147" y="33"/>
                </a:cubicBezTo>
                <a:cubicBezTo>
                  <a:pt x="147" y="33"/>
                  <a:pt x="147" y="33"/>
                  <a:pt x="147" y="33"/>
                </a:cubicBezTo>
                <a:cubicBezTo>
                  <a:pt x="147" y="33"/>
                  <a:pt x="147" y="33"/>
                  <a:pt x="147" y="33"/>
                </a:cubicBezTo>
                <a:cubicBezTo>
                  <a:pt x="147" y="34"/>
                  <a:pt x="147" y="34"/>
                  <a:pt x="147" y="34"/>
                </a:cubicBezTo>
                <a:cubicBezTo>
                  <a:pt x="148" y="34"/>
                  <a:pt x="148" y="34"/>
                  <a:pt x="148" y="34"/>
                </a:cubicBezTo>
                <a:cubicBezTo>
                  <a:pt x="148" y="34"/>
                  <a:pt x="148" y="34"/>
                  <a:pt x="148" y="34"/>
                </a:cubicBezTo>
                <a:close/>
                <a:moveTo>
                  <a:pt x="148" y="32"/>
                </a:moveTo>
                <a:cubicBezTo>
                  <a:pt x="147" y="31"/>
                  <a:pt x="147" y="31"/>
                  <a:pt x="147" y="31"/>
                </a:cubicBezTo>
                <a:cubicBezTo>
                  <a:pt x="148" y="30"/>
                  <a:pt x="148" y="30"/>
                  <a:pt x="148" y="30"/>
                </a:cubicBezTo>
                <a:cubicBezTo>
                  <a:pt x="149" y="30"/>
                  <a:pt x="149" y="30"/>
                  <a:pt x="149" y="30"/>
                </a:cubicBezTo>
                <a:cubicBezTo>
                  <a:pt x="150" y="29"/>
                  <a:pt x="150" y="29"/>
                  <a:pt x="150" y="29"/>
                </a:cubicBezTo>
                <a:cubicBezTo>
                  <a:pt x="150" y="30"/>
                  <a:pt x="150" y="30"/>
                  <a:pt x="150" y="30"/>
                </a:cubicBezTo>
                <a:cubicBezTo>
                  <a:pt x="150" y="30"/>
                  <a:pt x="150" y="30"/>
                  <a:pt x="150" y="30"/>
                </a:cubicBezTo>
                <a:cubicBezTo>
                  <a:pt x="149" y="31"/>
                  <a:pt x="149" y="31"/>
                  <a:pt x="149" y="31"/>
                </a:cubicBezTo>
                <a:cubicBezTo>
                  <a:pt x="148" y="32"/>
                  <a:pt x="148" y="32"/>
                  <a:pt x="148" y="32"/>
                </a:cubicBezTo>
                <a:cubicBezTo>
                  <a:pt x="148" y="32"/>
                  <a:pt x="148" y="32"/>
                  <a:pt x="148" y="32"/>
                </a:cubicBezTo>
                <a:close/>
                <a:moveTo>
                  <a:pt x="148" y="33"/>
                </a:moveTo>
                <a:cubicBezTo>
                  <a:pt x="149" y="33"/>
                  <a:pt x="149" y="33"/>
                  <a:pt x="149" y="33"/>
                </a:cubicBezTo>
                <a:cubicBezTo>
                  <a:pt x="150" y="34"/>
                  <a:pt x="150" y="34"/>
                  <a:pt x="150" y="34"/>
                </a:cubicBezTo>
                <a:cubicBezTo>
                  <a:pt x="151" y="34"/>
                  <a:pt x="151" y="34"/>
                  <a:pt x="151" y="34"/>
                </a:cubicBezTo>
                <a:cubicBezTo>
                  <a:pt x="151" y="33"/>
                  <a:pt x="151" y="33"/>
                  <a:pt x="151" y="33"/>
                </a:cubicBezTo>
                <a:cubicBezTo>
                  <a:pt x="152" y="33"/>
                  <a:pt x="152" y="33"/>
                  <a:pt x="152" y="33"/>
                </a:cubicBezTo>
                <a:cubicBezTo>
                  <a:pt x="151" y="32"/>
                  <a:pt x="151" y="32"/>
                  <a:pt x="151" y="32"/>
                </a:cubicBezTo>
                <a:cubicBezTo>
                  <a:pt x="149" y="33"/>
                  <a:pt x="149" y="33"/>
                  <a:pt x="149" y="33"/>
                </a:cubicBezTo>
                <a:cubicBezTo>
                  <a:pt x="148" y="33"/>
                  <a:pt x="148" y="33"/>
                  <a:pt x="148" y="33"/>
                </a:cubicBezTo>
                <a:cubicBezTo>
                  <a:pt x="148" y="33"/>
                  <a:pt x="148" y="33"/>
                  <a:pt x="148" y="33"/>
                </a:cubicBezTo>
                <a:close/>
                <a:moveTo>
                  <a:pt x="152" y="35"/>
                </a:moveTo>
                <a:cubicBezTo>
                  <a:pt x="153" y="34"/>
                  <a:pt x="153" y="34"/>
                  <a:pt x="153" y="34"/>
                </a:cubicBezTo>
                <a:cubicBezTo>
                  <a:pt x="153" y="34"/>
                  <a:pt x="153" y="34"/>
                  <a:pt x="153" y="34"/>
                </a:cubicBezTo>
                <a:cubicBezTo>
                  <a:pt x="154" y="34"/>
                  <a:pt x="154" y="34"/>
                  <a:pt x="154" y="34"/>
                </a:cubicBezTo>
                <a:cubicBezTo>
                  <a:pt x="154" y="34"/>
                  <a:pt x="154" y="34"/>
                  <a:pt x="154" y="34"/>
                </a:cubicBezTo>
                <a:cubicBezTo>
                  <a:pt x="154" y="35"/>
                  <a:pt x="154" y="35"/>
                  <a:pt x="154" y="35"/>
                </a:cubicBezTo>
                <a:cubicBezTo>
                  <a:pt x="153" y="35"/>
                  <a:pt x="153" y="35"/>
                  <a:pt x="153" y="35"/>
                </a:cubicBezTo>
                <a:cubicBezTo>
                  <a:pt x="152" y="35"/>
                  <a:pt x="152" y="35"/>
                  <a:pt x="152" y="35"/>
                </a:cubicBezTo>
                <a:close/>
                <a:moveTo>
                  <a:pt x="148" y="22"/>
                </a:moveTo>
                <a:cubicBezTo>
                  <a:pt x="147" y="21"/>
                  <a:pt x="147" y="21"/>
                  <a:pt x="147" y="21"/>
                </a:cubicBezTo>
                <a:cubicBezTo>
                  <a:pt x="147" y="19"/>
                  <a:pt x="147" y="19"/>
                  <a:pt x="147" y="19"/>
                </a:cubicBezTo>
                <a:cubicBezTo>
                  <a:pt x="147" y="19"/>
                  <a:pt x="147" y="19"/>
                  <a:pt x="147" y="19"/>
                </a:cubicBezTo>
                <a:cubicBezTo>
                  <a:pt x="148" y="19"/>
                  <a:pt x="148" y="19"/>
                  <a:pt x="148" y="19"/>
                </a:cubicBezTo>
                <a:cubicBezTo>
                  <a:pt x="149" y="21"/>
                  <a:pt x="149" y="21"/>
                  <a:pt x="149" y="21"/>
                </a:cubicBezTo>
                <a:cubicBezTo>
                  <a:pt x="148" y="22"/>
                  <a:pt x="148" y="22"/>
                  <a:pt x="148" y="22"/>
                </a:cubicBezTo>
                <a:cubicBezTo>
                  <a:pt x="148" y="22"/>
                  <a:pt x="148" y="22"/>
                  <a:pt x="148" y="22"/>
                </a:cubicBezTo>
                <a:close/>
                <a:moveTo>
                  <a:pt x="142" y="9"/>
                </a:moveTo>
                <a:cubicBezTo>
                  <a:pt x="142" y="9"/>
                  <a:pt x="142" y="9"/>
                  <a:pt x="142" y="9"/>
                </a:cubicBezTo>
                <a:cubicBezTo>
                  <a:pt x="141" y="7"/>
                  <a:pt x="141" y="7"/>
                  <a:pt x="141" y="7"/>
                </a:cubicBezTo>
                <a:cubicBezTo>
                  <a:pt x="141" y="6"/>
                  <a:pt x="141" y="6"/>
                  <a:pt x="141" y="6"/>
                </a:cubicBezTo>
                <a:cubicBezTo>
                  <a:pt x="140" y="6"/>
                  <a:pt x="140" y="6"/>
                  <a:pt x="140" y="6"/>
                </a:cubicBezTo>
                <a:cubicBezTo>
                  <a:pt x="140" y="7"/>
                  <a:pt x="140" y="7"/>
                  <a:pt x="140" y="7"/>
                </a:cubicBezTo>
                <a:cubicBezTo>
                  <a:pt x="140" y="8"/>
                  <a:pt x="140" y="8"/>
                  <a:pt x="140" y="8"/>
                </a:cubicBezTo>
                <a:cubicBezTo>
                  <a:pt x="138" y="9"/>
                  <a:pt x="138" y="9"/>
                  <a:pt x="138" y="9"/>
                </a:cubicBezTo>
                <a:cubicBezTo>
                  <a:pt x="138" y="9"/>
                  <a:pt x="138" y="9"/>
                  <a:pt x="138" y="9"/>
                </a:cubicBezTo>
                <a:cubicBezTo>
                  <a:pt x="138" y="9"/>
                  <a:pt x="138" y="9"/>
                  <a:pt x="138" y="9"/>
                </a:cubicBezTo>
                <a:cubicBezTo>
                  <a:pt x="138" y="10"/>
                  <a:pt x="138" y="10"/>
                  <a:pt x="138" y="10"/>
                </a:cubicBezTo>
                <a:cubicBezTo>
                  <a:pt x="136" y="12"/>
                  <a:pt x="136" y="12"/>
                  <a:pt x="136" y="12"/>
                </a:cubicBezTo>
                <a:cubicBezTo>
                  <a:pt x="135" y="14"/>
                  <a:pt x="135" y="14"/>
                  <a:pt x="135" y="14"/>
                </a:cubicBezTo>
                <a:cubicBezTo>
                  <a:pt x="135" y="15"/>
                  <a:pt x="135" y="15"/>
                  <a:pt x="135" y="15"/>
                </a:cubicBezTo>
                <a:cubicBezTo>
                  <a:pt x="134" y="17"/>
                  <a:pt x="134" y="17"/>
                  <a:pt x="134" y="17"/>
                </a:cubicBezTo>
                <a:cubicBezTo>
                  <a:pt x="133" y="19"/>
                  <a:pt x="133" y="19"/>
                  <a:pt x="133" y="19"/>
                </a:cubicBezTo>
                <a:cubicBezTo>
                  <a:pt x="132" y="21"/>
                  <a:pt x="132" y="21"/>
                  <a:pt x="132" y="21"/>
                </a:cubicBezTo>
                <a:cubicBezTo>
                  <a:pt x="131" y="21"/>
                  <a:pt x="131" y="21"/>
                  <a:pt x="131" y="21"/>
                </a:cubicBezTo>
                <a:cubicBezTo>
                  <a:pt x="130" y="21"/>
                  <a:pt x="130" y="21"/>
                  <a:pt x="130" y="21"/>
                </a:cubicBezTo>
                <a:cubicBezTo>
                  <a:pt x="130" y="22"/>
                  <a:pt x="130" y="22"/>
                  <a:pt x="130" y="22"/>
                </a:cubicBezTo>
                <a:cubicBezTo>
                  <a:pt x="129" y="23"/>
                  <a:pt x="129" y="23"/>
                  <a:pt x="129" y="23"/>
                </a:cubicBezTo>
                <a:cubicBezTo>
                  <a:pt x="128" y="23"/>
                  <a:pt x="128" y="23"/>
                  <a:pt x="128" y="23"/>
                </a:cubicBezTo>
                <a:cubicBezTo>
                  <a:pt x="128" y="21"/>
                  <a:pt x="128" y="21"/>
                  <a:pt x="128" y="21"/>
                </a:cubicBezTo>
                <a:cubicBezTo>
                  <a:pt x="127" y="21"/>
                  <a:pt x="127" y="21"/>
                  <a:pt x="127" y="21"/>
                </a:cubicBezTo>
                <a:cubicBezTo>
                  <a:pt x="127" y="20"/>
                  <a:pt x="127" y="20"/>
                  <a:pt x="127" y="20"/>
                </a:cubicBezTo>
                <a:cubicBezTo>
                  <a:pt x="127" y="20"/>
                  <a:pt x="127" y="20"/>
                  <a:pt x="127" y="20"/>
                </a:cubicBezTo>
                <a:cubicBezTo>
                  <a:pt x="126" y="21"/>
                  <a:pt x="126" y="21"/>
                  <a:pt x="126" y="21"/>
                </a:cubicBezTo>
                <a:cubicBezTo>
                  <a:pt x="125" y="21"/>
                  <a:pt x="125" y="21"/>
                  <a:pt x="125" y="21"/>
                </a:cubicBezTo>
                <a:cubicBezTo>
                  <a:pt x="124" y="21"/>
                  <a:pt x="124" y="21"/>
                  <a:pt x="124" y="21"/>
                </a:cubicBezTo>
                <a:cubicBezTo>
                  <a:pt x="123" y="20"/>
                  <a:pt x="123" y="20"/>
                  <a:pt x="123" y="20"/>
                </a:cubicBezTo>
                <a:cubicBezTo>
                  <a:pt x="123" y="20"/>
                  <a:pt x="123" y="20"/>
                  <a:pt x="123" y="20"/>
                </a:cubicBezTo>
                <a:cubicBezTo>
                  <a:pt x="123" y="19"/>
                  <a:pt x="123" y="19"/>
                  <a:pt x="123" y="19"/>
                </a:cubicBezTo>
                <a:cubicBezTo>
                  <a:pt x="122" y="18"/>
                  <a:pt x="122" y="18"/>
                  <a:pt x="122" y="18"/>
                </a:cubicBezTo>
                <a:cubicBezTo>
                  <a:pt x="122" y="18"/>
                  <a:pt x="122" y="18"/>
                  <a:pt x="122" y="18"/>
                </a:cubicBezTo>
                <a:cubicBezTo>
                  <a:pt x="121" y="18"/>
                  <a:pt x="121" y="18"/>
                  <a:pt x="121" y="18"/>
                </a:cubicBezTo>
                <a:cubicBezTo>
                  <a:pt x="120" y="16"/>
                  <a:pt x="120" y="16"/>
                  <a:pt x="120" y="16"/>
                </a:cubicBezTo>
                <a:cubicBezTo>
                  <a:pt x="118" y="16"/>
                  <a:pt x="118" y="16"/>
                  <a:pt x="118" y="16"/>
                </a:cubicBezTo>
                <a:cubicBezTo>
                  <a:pt x="117" y="17"/>
                  <a:pt x="117" y="17"/>
                  <a:pt x="117" y="17"/>
                </a:cubicBezTo>
                <a:cubicBezTo>
                  <a:pt x="115" y="17"/>
                  <a:pt x="115" y="17"/>
                  <a:pt x="115" y="17"/>
                </a:cubicBezTo>
                <a:cubicBezTo>
                  <a:pt x="113" y="17"/>
                  <a:pt x="113" y="17"/>
                  <a:pt x="113" y="17"/>
                </a:cubicBezTo>
                <a:cubicBezTo>
                  <a:pt x="112" y="17"/>
                  <a:pt x="112" y="17"/>
                  <a:pt x="112" y="17"/>
                </a:cubicBezTo>
                <a:cubicBezTo>
                  <a:pt x="112" y="19"/>
                  <a:pt x="112" y="19"/>
                  <a:pt x="112" y="19"/>
                </a:cubicBezTo>
                <a:cubicBezTo>
                  <a:pt x="113" y="20"/>
                  <a:pt x="113" y="20"/>
                  <a:pt x="113" y="20"/>
                </a:cubicBezTo>
                <a:cubicBezTo>
                  <a:pt x="113" y="20"/>
                  <a:pt x="113" y="20"/>
                  <a:pt x="113" y="20"/>
                </a:cubicBezTo>
                <a:cubicBezTo>
                  <a:pt x="114" y="22"/>
                  <a:pt x="114" y="22"/>
                  <a:pt x="114" y="22"/>
                </a:cubicBezTo>
                <a:cubicBezTo>
                  <a:pt x="114" y="22"/>
                  <a:pt x="114" y="22"/>
                  <a:pt x="114" y="22"/>
                </a:cubicBezTo>
                <a:cubicBezTo>
                  <a:pt x="112" y="22"/>
                  <a:pt x="112" y="22"/>
                  <a:pt x="112" y="22"/>
                </a:cubicBezTo>
                <a:cubicBezTo>
                  <a:pt x="111" y="22"/>
                  <a:pt x="111" y="22"/>
                  <a:pt x="111" y="22"/>
                </a:cubicBezTo>
                <a:cubicBezTo>
                  <a:pt x="111" y="22"/>
                  <a:pt x="111" y="22"/>
                  <a:pt x="111" y="22"/>
                </a:cubicBezTo>
                <a:cubicBezTo>
                  <a:pt x="110" y="22"/>
                  <a:pt x="110" y="22"/>
                  <a:pt x="110" y="22"/>
                </a:cubicBezTo>
                <a:cubicBezTo>
                  <a:pt x="110" y="22"/>
                  <a:pt x="110" y="22"/>
                  <a:pt x="110" y="22"/>
                </a:cubicBezTo>
                <a:cubicBezTo>
                  <a:pt x="110" y="22"/>
                  <a:pt x="110" y="22"/>
                  <a:pt x="110" y="22"/>
                </a:cubicBezTo>
                <a:cubicBezTo>
                  <a:pt x="108" y="22"/>
                  <a:pt x="108" y="22"/>
                  <a:pt x="108" y="22"/>
                </a:cubicBezTo>
                <a:cubicBezTo>
                  <a:pt x="107" y="22"/>
                  <a:pt x="107" y="22"/>
                  <a:pt x="107" y="22"/>
                </a:cubicBezTo>
                <a:cubicBezTo>
                  <a:pt x="106" y="21"/>
                  <a:pt x="106" y="21"/>
                  <a:pt x="106" y="21"/>
                </a:cubicBezTo>
                <a:cubicBezTo>
                  <a:pt x="104" y="21"/>
                  <a:pt x="104" y="21"/>
                  <a:pt x="104" y="21"/>
                </a:cubicBezTo>
                <a:cubicBezTo>
                  <a:pt x="103" y="22"/>
                  <a:pt x="103" y="22"/>
                  <a:pt x="103" y="22"/>
                </a:cubicBezTo>
                <a:cubicBezTo>
                  <a:pt x="102" y="24"/>
                  <a:pt x="102" y="24"/>
                  <a:pt x="102" y="24"/>
                </a:cubicBezTo>
                <a:cubicBezTo>
                  <a:pt x="100" y="24"/>
                  <a:pt x="100" y="24"/>
                  <a:pt x="100" y="24"/>
                </a:cubicBezTo>
                <a:cubicBezTo>
                  <a:pt x="98" y="24"/>
                  <a:pt x="98" y="24"/>
                  <a:pt x="98" y="24"/>
                </a:cubicBezTo>
                <a:cubicBezTo>
                  <a:pt x="98" y="25"/>
                  <a:pt x="98" y="25"/>
                  <a:pt x="98" y="25"/>
                </a:cubicBezTo>
                <a:cubicBezTo>
                  <a:pt x="97" y="26"/>
                  <a:pt x="97" y="26"/>
                  <a:pt x="97" y="26"/>
                </a:cubicBezTo>
                <a:cubicBezTo>
                  <a:pt x="96" y="26"/>
                  <a:pt x="96" y="26"/>
                  <a:pt x="96" y="26"/>
                </a:cubicBezTo>
                <a:cubicBezTo>
                  <a:pt x="96" y="26"/>
                  <a:pt x="96" y="26"/>
                  <a:pt x="96" y="26"/>
                </a:cubicBezTo>
                <a:cubicBezTo>
                  <a:pt x="95" y="26"/>
                  <a:pt x="95" y="26"/>
                  <a:pt x="95" y="26"/>
                </a:cubicBezTo>
                <a:cubicBezTo>
                  <a:pt x="94" y="27"/>
                  <a:pt x="94" y="27"/>
                  <a:pt x="94" y="27"/>
                </a:cubicBezTo>
                <a:cubicBezTo>
                  <a:pt x="93" y="26"/>
                  <a:pt x="93" y="26"/>
                  <a:pt x="93" y="26"/>
                </a:cubicBezTo>
                <a:cubicBezTo>
                  <a:pt x="91" y="24"/>
                  <a:pt x="91" y="24"/>
                  <a:pt x="91" y="24"/>
                </a:cubicBezTo>
                <a:cubicBezTo>
                  <a:pt x="90" y="23"/>
                  <a:pt x="90" y="23"/>
                  <a:pt x="90" y="23"/>
                </a:cubicBezTo>
                <a:cubicBezTo>
                  <a:pt x="90" y="22"/>
                  <a:pt x="90" y="22"/>
                  <a:pt x="90" y="22"/>
                </a:cubicBezTo>
                <a:cubicBezTo>
                  <a:pt x="88" y="21"/>
                  <a:pt x="88" y="21"/>
                  <a:pt x="88" y="21"/>
                </a:cubicBezTo>
                <a:cubicBezTo>
                  <a:pt x="87" y="20"/>
                  <a:pt x="87" y="20"/>
                  <a:pt x="87" y="20"/>
                </a:cubicBezTo>
                <a:cubicBezTo>
                  <a:pt x="87" y="18"/>
                  <a:pt x="87" y="18"/>
                  <a:pt x="87" y="18"/>
                </a:cubicBezTo>
                <a:cubicBezTo>
                  <a:pt x="87" y="18"/>
                  <a:pt x="87" y="18"/>
                  <a:pt x="87" y="18"/>
                </a:cubicBezTo>
                <a:cubicBezTo>
                  <a:pt x="87" y="17"/>
                  <a:pt x="87" y="17"/>
                  <a:pt x="87" y="17"/>
                </a:cubicBezTo>
                <a:cubicBezTo>
                  <a:pt x="87" y="16"/>
                  <a:pt x="87" y="16"/>
                  <a:pt x="87" y="16"/>
                </a:cubicBezTo>
                <a:cubicBezTo>
                  <a:pt x="88" y="15"/>
                  <a:pt x="88" y="15"/>
                  <a:pt x="88" y="15"/>
                </a:cubicBezTo>
                <a:cubicBezTo>
                  <a:pt x="88" y="13"/>
                  <a:pt x="88" y="13"/>
                  <a:pt x="88" y="13"/>
                </a:cubicBezTo>
                <a:cubicBezTo>
                  <a:pt x="89" y="11"/>
                  <a:pt x="89" y="11"/>
                  <a:pt x="89" y="11"/>
                </a:cubicBezTo>
                <a:cubicBezTo>
                  <a:pt x="89" y="10"/>
                  <a:pt x="89" y="10"/>
                  <a:pt x="89" y="10"/>
                </a:cubicBezTo>
                <a:cubicBezTo>
                  <a:pt x="90" y="8"/>
                  <a:pt x="90" y="8"/>
                  <a:pt x="90" y="8"/>
                </a:cubicBezTo>
                <a:cubicBezTo>
                  <a:pt x="90" y="8"/>
                  <a:pt x="90" y="8"/>
                  <a:pt x="90" y="8"/>
                </a:cubicBezTo>
                <a:cubicBezTo>
                  <a:pt x="89" y="8"/>
                  <a:pt x="89" y="8"/>
                  <a:pt x="89" y="8"/>
                </a:cubicBezTo>
                <a:cubicBezTo>
                  <a:pt x="89" y="7"/>
                  <a:pt x="89" y="7"/>
                  <a:pt x="89" y="7"/>
                </a:cubicBezTo>
                <a:cubicBezTo>
                  <a:pt x="88" y="6"/>
                  <a:pt x="88" y="6"/>
                  <a:pt x="88" y="6"/>
                </a:cubicBezTo>
                <a:cubicBezTo>
                  <a:pt x="87" y="6"/>
                  <a:pt x="87" y="6"/>
                  <a:pt x="87" y="6"/>
                </a:cubicBezTo>
                <a:cubicBezTo>
                  <a:pt x="86" y="5"/>
                  <a:pt x="86" y="5"/>
                  <a:pt x="86" y="5"/>
                </a:cubicBezTo>
                <a:cubicBezTo>
                  <a:pt x="86" y="5"/>
                  <a:pt x="86" y="5"/>
                  <a:pt x="86" y="5"/>
                </a:cubicBezTo>
                <a:cubicBezTo>
                  <a:pt x="87" y="3"/>
                  <a:pt x="87" y="3"/>
                  <a:pt x="87" y="3"/>
                </a:cubicBezTo>
                <a:cubicBezTo>
                  <a:pt x="87" y="2"/>
                  <a:pt x="87" y="2"/>
                  <a:pt x="87" y="2"/>
                </a:cubicBezTo>
                <a:cubicBezTo>
                  <a:pt x="86" y="0"/>
                  <a:pt x="86" y="0"/>
                  <a:pt x="86" y="0"/>
                </a:cubicBezTo>
                <a:cubicBezTo>
                  <a:pt x="85" y="0"/>
                  <a:pt x="85" y="0"/>
                  <a:pt x="85" y="0"/>
                </a:cubicBezTo>
                <a:cubicBezTo>
                  <a:pt x="84" y="1"/>
                  <a:pt x="84" y="1"/>
                  <a:pt x="84" y="1"/>
                </a:cubicBezTo>
                <a:cubicBezTo>
                  <a:pt x="83" y="0"/>
                  <a:pt x="83" y="0"/>
                  <a:pt x="83" y="0"/>
                </a:cubicBezTo>
                <a:cubicBezTo>
                  <a:pt x="83" y="0"/>
                  <a:pt x="83" y="0"/>
                  <a:pt x="83" y="0"/>
                </a:cubicBezTo>
                <a:cubicBezTo>
                  <a:pt x="83" y="1"/>
                  <a:pt x="83" y="1"/>
                  <a:pt x="83" y="1"/>
                </a:cubicBezTo>
                <a:cubicBezTo>
                  <a:pt x="82" y="3"/>
                  <a:pt x="82" y="3"/>
                  <a:pt x="82" y="3"/>
                </a:cubicBezTo>
                <a:cubicBezTo>
                  <a:pt x="79" y="5"/>
                  <a:pt x="79" y="5"/>
                  <a:pt x="79" y="5"/>
                </a:cubicBezTo>
                <a:cubicBezTo>
                  <a:pt x="77" y="5"/>
                  <a:pt x="77" y="5"/>
                  <a:pt x="77" y="5"/>
                </a:cubicBezTo>
                <a:cubicBezTo>
                  <a:pt x="74" y="7"/>
                  <a:pt x="74" y="7"/>
                  <a:pt x="74" y="7"/>
                </a:cubicBezTo>
                <a:cubicBezTo>
                  <a:pt x="73" y="6"/>
                  <a:pt x="73" y="6"/>
                  <a:pt x="73" y="6"/>
                </a:cubicBezTo>
                <a:cubicBezTo>
                  <a:pt x="71" y="6"/>
                  <a:pt x="71" y="6"/>
                  <a:pt x="71" y="6"/>
                </a:cubicBezTo>
                <a:cubicBezTo>
                  <a:pt x="69" y="8"/>
                  <a:pt x="69" y="8"/>
                  <a:pt x="69" y="8"/>
                </a:cubicBezTo>
                <a:cubicBezTo>
                  <a:pt x="67" y="9"/>
                  <a:pt x="67" y="9"/>
                  <a:pt x="67" y="9"/>
                </a:cubicBezTo>
                <a:cubicBezTo>
                  <a:pt x="67" y="8"/>
                  <a:pt x="67" y="8"/>
                  <a:pt x="67" y="8"/>
                </a:cubicBezTo>
                <a:cubicBezTo>
                  <a:pt x="64" y="9"/>
                  <a:pt x="64" y="9"/>
                  <a:pt x="64" y="9"/>
                </a:cubicBezTo>
                <a:cubicBezTo>
                  <a:pt x="62" y="9"/>
                  <a:pt x="62" y="9"/>
                  <a:pt x="62" y="9"/>
                </a:cubicBezTo>
                <a:cubicBezTo>
                  <a:pt x="60" y="8"/>
                  <a:pt x="60" y="8"/>
                  <a:pt x="60" y="8"/>
                </a:cubicBezTo>
                <a:cubicBezTo>
                  <a:pt x="58" y="7"/>
                  <a:pt x="58" y="7"/>
                  <a:pt x="58" y="7"/>
                </a:cubicBezTo>
                <a:cubicBezTo>
                  <a:pt x="56" y="7"/>
                  <a:pt x="56" y="7"/>
                  <a:pt x="56" y="7"/>
                </a:cubicBezTo>
                <a:cubicBezTo>
                  <a:pt x="57" y="8"/>
                  <a:pt x="57" y="8"/>
                  <a:pt x="57" y="8"/>
                </a:cubicBezTo>
                <a:cubicBezTo>
                  <a:pt x="58" y="9"/>
                  <a:pt x="58" y="9"/>
                  <a:pt x="58" y="9"/>
                </a:cubicBezTo>
                <a:cubicBezTo>
                  <a:pt x="60" y="10"/>
                  <a:pt x="60" y="10"/>
                  <a:pt x="60" y="10"/>
                </a:cubicBezTo>
                <a:cubicBezTo>
                  <a:pt x="60" y="11"/>
                  <a:pt x="60" y="11"/>
                  <a:pt x="60" y="11"/>
                </a:cubicBezTo>
                <a:cubicBezTo>
                  <a:pt x="58" y="14"/>
                  <a:pt x="58" y="14"/>
                  <a:pt x="58" y="14"/>
                </a:cubicBezTo>
                <a:cubicBezTo>
                  <a:pt x="59" y="15"/>
                  <a:pt x="59" y="15"/>
                  <a:pt x="59" y="15"/>
                </a:cubicBezTo>
                <a:cubicBezTo>
                  <a:pt x="59" y="17"/>
                  <a:pt x="59" y="17"/>
                  <a:pt x="59" y="17"/>
                </a:cubicBezTo>
                <a:cubicBezTo>
                  <a:pt x="61" y="18"/>
                  <a:pt x="61" y="18"/>
                  <a:pt x="61" y="18"/>
                </a:cubicBezTo>
                <a:cubicBezTo>
                  <a:pt x="63" y="18"/>
                  <a:pt x="63" y="18"/>
                  <a:pt x="63" y="18"/>
                </a:cubicBezTo>
                <a:cubicBezTo>
                  <a:pt x="65" y="18"/>
                  <a:pt x="65" y="18"/>
                  <a:pt x="65" y="18"/>
                </a:cubicBezTo>
                <a:cubicBezTo>
                  <a:pt x="65" y="20"/>
                  <a:pt x="65" y="20"/>
                  <a:pt x="65" y="20"/>
                </a:cubicBezTo>
                <a:cubicBezTo>
                  <a:pt x="64" y="20"/>
                  <a:pt x="64" y="20"/>
                  <a:pt x="64" y="20"/>
                </a:cubicBezTo>
                <a:cubicBezTo>
                  <a:pt x="61" y="21"/>
                  <a:pt x="61" y="21"/>
                  <a:pt x="61" y="21"/>
                </a:cubicBezTo>
                <a:cubicBezTo>
                  <a:pt x="60" y="22"/>
                  <a:pt x="60" y="22"/>
                  <a:pt x="60" y="22"/>
                </a:cubicBezTo>
                <a:cubicBezTo>
                  <a:pt x="59" y="24"/>
                  <a:pt x="59" y="24"/>
                  <a:pt x="59" y="24"/>
                </a:cubicBezTo>
                <a:cubicBezTo>
                  <a:pt x="56" y="25"/>
                  <a:pt x="56" y="25"/>
                  <a:pt x="56" y="25"/>
                </a:cubicBezTo>
                <a:cubicBezTo>
                  <a:pt x="55" y="27"/>
                  <a:pt x="55" y="27"/>
                  <a:pt x="55" y="27"/>
                </a:cubicBezTo>
                <a:cubicBezTo>
                  <a:pt x="53" y="28"/>
                  <a:pt x="53" y="28"/>
                  <a:pt x="53" y="28"/>
                </a:cubicBezTo>
                <a:cubicBezTo>
                  <a:pt x="52" y="30"/>
                  <a:pt x="52" y="30"/>
                  <a:pt x="52" y="30"/>
                </a:cubicBezTo>
                <a:cubicBezTo>
                  <a:pt x="49" y="30"/>
                  <a:pt x="49" y="30"/>
                  <a:pt x="49" y="30"/>
                </a:cubicBezTo>
                <a:cubicBezTo>
                  <a:pt x="48" y="30"/>
                  <a:pt x="48" y="30"/>
                  <a:pt x="48" y="30"/>
                </a:cubicBezTo>
                <a:cubicBezTo>
                  <a:pt x="45" y="28"/>
                  <a:pt x="45" y="28"/>
                  <a:pt x="45" y="28"/>
                </a:cubicBezTo>
                <a:cubicBezTo>
                  <a:pt x="43" y="26"/>
                  <a:pt x="43" y="26"/>
                  <a:pt x="43" y="26"/>
                </a:cubicBezTo>
                <a:cubicBezTo>
                  <a:pt x="41" y="26"/>
                  <a:pt x="41" y="26"/>
                  <a:pt x="41" y="26"/>
                </a:cubicBezTo>
                <a:cubicBezTo>
                  <a:pt x="41" y="25"/>
                  <a:pt x="41" y="25"/>
                  <a:pt x="41" y="25"/>
                </a:cubicBezTo>
                <a:cubicBezTo>
                  <a:pt x="41" y="23"/>
                  <a:pt x="41" y="23"/>
                  <a:pt x="41" y="23"/>
                </a:cubicBezTo>
                <a:cubicBezTo>
                  <a:pt x="40" y="22"/>
                  <a:pt x="40" y="22"/>
                  <a:pt x="40" y="22"/>
                </a:cubicBezTo>
                <a:cubicBezTo>
                  <a:pt x="39" y="21"/>
                  <a:pt x="39" y="21"/>
                  <a:pt x="39" y="21"/>
                </a:cubicBezTo>
                <a:cubicBezTo>
                  <a:pt x="38" y="22"/>
                  <a:pt x="38" y="22"/>
                  <a:pt x="38" y="22"/>
                </a:cubicBezTo>
                <a:cubicBezTo>
                  <a:pt x="36" y="23"/>
                  <a:pt x="36" y="23"/>
                  <a:pt x="36" y="23"/>
                </a:cubicBezTo>
                <a:cubicBezTo>
                  <a:pt x="36" y="23"/>
                  <a:pt x="36" y="23"/>
                  <a:pt x="36" y="23"/>
                </a:cubicBezTo>
                <a:cubicBezTo>
                  <a:pt x="35" y="22"/>
                  <a:pt x="35" y="22"/>
                  <a:pt x="35" y="22"/>
                </a:cubicBezTo>
                <a:cubicBezTo>
                  <a:pt x="34" y="22"/>
                  <a:pt x="34" y="22"/>
                  <a:pt x="34" y="22"/>
                </a:cubicBezTo>
                <a:cubicBezTo>
                  <a:pt x="33" y="23"/>
                  <a:pt x="33" y="23"/>
                  <a:pt x="33" y="23"/>
                </a:cubicBezTo>
                <a:cubicBezTo>
                  <a:pt x="26" y="23"/>
                  <a:pt x="26" y="23"/>
                  <a:pt x="26" y="23"/>
                </a:cubicBezTo>
                <a:cubicBezTo>
                  <a:pt x="25" y="25"/>
                  <a:pt x="25" y="25"/>
                  <a:pt x="25" y="25"/>
                </a:cubicBezTo>
                <a:cubicBezTo>
                  <a:pt x="26" y="27"/>
                  <a:pt x="26" y="27"/>
                  <a:pt x="26" y="27"/>
                </a:cubicBezTo>
                <a:cubicBezTo>
                  <a:pt x="28" y="27"/>
                  <a:pt x="28" y="27"/>
                  <a:pt x="28" y="27"/>
                </a:cubicBezTo>
                <a:cubicBezTo>
                  <a:pt x="29" y="29"/>
                  <a:pt x="29" y="29"/>
                  <a:pt x="29" y="29"/>
                </a:cubicBezTo>
                <a:cubicBezTo>
                  <a:pt x="29" y="30"/>
                  <a:pt x="29" y="30"/>
                  <a:pt x="29" y="30"/>
                </a:cubicBezTo>
                <a:cubicBezTo>
                  <a:pt x="29" y="31"/>
                  <a:pt x="29" y="31"/>
                  <a:pt x="29" y="31"/>
                </a:cubicBezTo>
                <a:cubicBezTo>
                  <a:pt x="29" y="32"/>
                  <a:pt x="29" y="32"/>
                  <a:pt x="29" y="32"/>
                </a:cubicBezTo>
                <a:cubicBezTo>
                  <a:pt x="28" y="31"/>
                  <a:pt x="28" y="31"/>
                  <a:pt x="28" y="31"/>
                </a:cubicBezTo>
                <a:cubicBezTo>
                  <a:pt x="23" y="32"/>
                  <a:pt x="23" y="32"/>
                  <a:pt x="23" y="32"/>
                </a:cubicBezTo>
                <a:cubicBezTo>
                  <a:pt x="24" y="36"/>
                  <a:pt x="24" y="36"/>
                  <a:pt x="24" y="36"/>
                </a:cubicBezTo>
                <a:cubicBezTo>
                  <a:pt x="25" y="37"/>
                  <a:pt x="25" y="37"/>
                  <a:pt x="25" y="37"/>
                </a:cubicBezTo>
                <a:cubicBezTo>
                  <a:pt x="27" y="39"/>
                  <a:pt x="27" y="39"/>
                  <a:pt x="27" y="39"/>
                </a:cubicBezTo>
                <a:cubicBezTo>
                  <a:pt x="29" y="42"/>
                  <a:pt x="29" y="42"/>
                  <a:pt x="29" y="42"/>
                </a:cubicBezTo>
                <a:cubicBezTo>
                  <a:pt x="28" y="44"/>
                  <a:pt x="28" y="44"/>
                  <a:pt x="28" y="44"/>
                </a:cubicBezTo>
                <a:cubicBezTo>
                  <a:pt x="28" y="45"/>
                  <a:pt x="28" y="45"/>
                  <a:pt x="28" y="45"/>
                </a:cubicBezTo>
                <a:cubicBezTo>
                  <a:pt x="25" y="58"/>
                  <a:pt x="25" y="58"/>
                  <a:pt x="25" y="58"/>
                </a:cubicBezTo>
                <a:cubicBezTo>
                  <a:pt x="24" y="61"/>
                  <a:pt x="24" y="61"/>
                  <a:pt x="24" y="61"/>
                </a:cubicBezTo>
                <a:cubicBezTo>
                  <a:pt x="24" y="62"/>
                  <a:pt x="24" y="62"/>
                  <a:pt x="24" y="62"/>
                </a:cubicBezTo>
                <a:cubicBezTo>
                  <a:pt x="23" y="63"/>
                  <a:pt x="23" y="63"/>
                  <a:pt x="23" y="63"/>
                </a:cubicBezTo>
                <a:cubicBezTo>
                  <a:pt x="22" y="62"/>
                  <a:pt x="22" y="62"/>
                  <a:pt x="22" y="62"/>
                </a:cubicBezTo>
                <a:cubicBezTo>
                  <a:pt x="22" y="62"/>
                  <a:pt x="22" y="62"/>
                  <a:pt x="22" y="62"/>
                </a:cubicBezTo>
                <a:cubicBezTo>
                  <a:pt x="21" y="61"/>
                  <a:pt x="21" y="61"/>
                  <a:pt x="21" y="61"/>
                </a:cubicBezTo>
                <a:cubicBezTo>
                  <a:pt x="20" y="61"/>
                  <a:pt x="20" y="61"/>
                  <a:pt x="20" y="61"/>
                </a:cubicBezTo>
                <a:cubicBezTo>
                  <a:pt x="19" y="61"/>
                  <a:pt x="19" y="61"/>
                  <a:pt x="19" y="61"/>
                </a:cubicBezTo>
                <a:cubicBezTo>
                  <a:pt x="19" y="61"/>
                  <a:pt x="19" y="61"/>
                  <a:pt x="19" y="61"/>
                </a:cubicBezTo>
                <a:cubicBezTo>
                  <a:pt x="18" y="62"/>
                  <a:pt x="18" y="62"/>
                  <a:pt x="18" y="62"/>
                </a:cubicBezTo>
                <a:cubicBezTo>
                  <a:pt x="14" y="63"/>
                  <a:pt x="14" y="63"/>
                  <a:pt x="14" y="63"/>
                </a:cubicBezTo>
                <a:cubicBezTo>
                  <a:pt x="11" y="64"/>
                  <a:pt x="11" y="64"/>
                  <a:pt x="11" y="64"/>
                </a:cubicBezTo>
                <a:cubicBezTo>
                  <a:pt x="10" y="65"/>
                  <a:pt x="10" y="65"/>
                  <a:pt x="10" y="65"/>
                </a:cubicBezTo>
                <a:cubicBezTo>
                  <a:pt x="9" y="65"/>
                  <a:pt x="9" y="65"/>
                  <a:pt x="9" y="65"/>
                </a:cubicBezTo>
                <a:cubicBezTo>
                  <a:pt x="8" y="66"/>
                  <a:pt x="8" y="66"/>
                  <a:pt x="8" y="66"/>
                </a:cubicBezTo>
                <a:cubicBezTo>
                  <a:pt x="6" y="67"/>
                  <a:pt x="6" y="67"/>
                  <a:pt x="6" y="67"/>
                </a:cubicBezTo>
                <a:cubicBezTo>
                  <a:pt x="5" y="68"/>
                  <a:pt x="5" y="68"/>
                  <a:pt x="5" y="68"/>
                </a:cubicBezTo>
                <a:cubicBezTo>
                  <a:pt x="5" y="69"/>
                  <a:pt x="5" y="69"/>
                  <a:pt x="5" y="69"/>
                </a:cubicBezTo>
                <a:cubicBezTo>
                  <a:pt x="5" y="70"/>
                  <a:pt x="5" y="70"/>
                  <a:pt x="5" y="70"/>
                </a:cubicBezTo>
                <a:cubicBezTo>
                  <a:pt x="5" y="71"/>
                  <a:pt x="5" y="71"/>
                  <a:pt x="5" y="71"/>
                </a:cubicBezTo>
                <a:cubicBezTo>
                  <a:pt x="3" y="73"/>
                  <a:pt x="3" y="73"/>
                  <a:pt x="3" y="73"/>
                </a:cubicBezTo>
                <a:cubicBezTo>
                  <a:pt x="4" y="75"/>
                  <a:pt x="4" y="75"/>
                  <a:pt x="4" y="75"/>
                </a:cubicBezTo>
                <a:cubicBezTo>
                  <a:pt x="4" y="76"/>
                  <a:pt x="4" y="76"/>
                  <a:pt x="4" y="76"/>
                </a:cubicBezTo>
                <a:cubicBezTo>
                  <a:pt x="3" y="77"/>
                  <a:pt x="3" y="77"/>
                  <a:pt x="3" y="77"/>
                </a:cubicBezTo>
                <a:cubicBezTo>
                  <a:pt x="2" y="77"/>
                  <a:pt x="2" y="77"/>
                  <a:pt x="2" y="77"/>
                </a:cubicBezTo>
                <a:cubicBezTo>
                  <a:pt x="1" y="78"/>
                  <a:pt x="1" y="78"/>
                  <a:pt x="1" y="78"/>
                </a:cubicBezTo>
                <a:cubicBezTo>
                  <a:pt x="1" y="80"/>
                  <a:pt x="1" y="80"/>
                  <a:pt x="1" y="80"/>
                </a:cubicBezTo>
                <a:cubicBezTo>
                  <a:pt x="0" y="80"/>
                  <a:pt x="0" y="80"/>
                  <a:pt x="0" y="80"/>
                </a:cubicBezTo>
                <a:cubicBezTo>
                  <a:pt x="0" y="81"/>
                  <a:pt x="0" y="81"/>
                  <a:pt x="0" y="81"/>
                </a:cubicBezTo>
                <a:cubicBezTo>
                  <a:pt x="0" y="83"/>
                  <a:pt x="0" y="83"/>
                  <a:pt x="0" y="83"/>
                </a:cubicBezTo>
                <a:cubicBezTo>
                  <a:pt x="0" y="84"/>
                  <a:pt x="0" y="84"/>
                  <a:pt x="0" y="84"/>
                </a:cubicBezTo>
                <a:cubicBezTo>
                  <a:pt x="0" y="85"/>
                  <a:pt x="0" y="85"/>
                  <a:pt x="0" y="85"/>
                </a:cubicBezTo>
                <a:cubicBezTo>
                  <a:pt x="0" y="86"/>
                  <a:pt x="0" y="86"/>
                  <a:pt x="0" y="86"/>
                </a:cubicBezTo>
                <a:cubicBezTo>
                  <a:pt x="2" y="87"/>
                  <a:pt x="2" y="87"/>
                  <a:pt x="2" y="87"/>
                </a:cubicBezTo>
                <a:cubicBezTo>
                  <a:pt x="5" y="92"/>
                  <a:pt x="5" y="92"/>
                  <a:pt x="5" y="92"/>
                </a:cubicBezTo>
                <a:cubicBezTo>
                  <a:pt x="3" y="94"/>
                  <a:pt x="3" y="94"/>
                  <a:pt x="3" y="94"/>
                </a:cubicBezTo>
                <a:cubicBezTo>
                  <a:pt x="7" y="94"/>
                  <a:pt x="7" y="94"/>
                  <a:pt x="7" y="94"/>
                </a:cubicBezTo>
                <a:cubicBezTo>
                  <a:pt x="9" y="94"/>
                  <a:pt x="9" y="94"/>
                  <a:pt x="9" y="94"/>
                </a:cubicBezTo>
                <a:cubicBezTo>
                  <a:pt x="10" y="96"/>
                  <a:pt x="10" y="96"/>
                  <a:pt x="10" y="96"/>
                </a:cubicBezTo>
                <a:cubicBezTo>
                  <a:pt x="11" y="98"/>
                  <a:pt x="11" y="98"/>
                  <a:pt x="11" y="98"/>
                </a:cubicBezTo>
                <a:cubicBezTo>
                  <a:pt x="13" y="98"/>
                  <a:pt x="13" y="98"/>
                  <a:pt x="13" y="98"/>
                </a:cubicBezTo>
                <a:cubicBezTo>
                  <a:pt x="16" y="98"/>
                  <a:pt x="16" y="98"/>
                  <a:pt x="16" y="98"/>
                </a:cubicBezTo>
                <a:cubicBezTo>
                  <a:pt x="19" y="96"/>
                  <a:pt x="19" y="96"/>
                  <a:pt x="19" y="96"/>
                </a:cubicBezTo>
                <a:cubicBezTo>
                  <a:pt x="21" y="95"/>
                  <a:pt x="21" y="95"/>
                  <a:pt x="21" y="95"/>
                </a:cubicBezTo>
                <a:cubicBezTo>
                  <a:pt x="22" y="95"/>
                  <a:pt x="22" y="95"/>
                  <a:pt x="22" y="95"/>
                </a:cubicBezTo>
                <a:cubicBezTo>
                  <a:pt x="22" y="97"/>
                  <a:pt x="22" y="97"/>
                  <a:pt x="22" y="97"/>
                </a:cubicBezTo>
                <a:cubicBezTo>
                  <a:pt x="21" y="97"/>
                  <a:pt x="21" y="97"/>
                  <a:pt x="21" y="97"/>
                </a:cubicBezTo>
                <a:cubicBezTo>
                  <a:pt x="21" y="99"/>
                  <a:pt x="21" y="99"/>
                  <a:pt x="21" y="99"/>
                </a:cubicBezTo>
                <a:cubicBezTo>
                  <a:pt x="21" y="103"/>
                  <a:pt x="21" y="103"/>
                  <a:pt x="21" y="103"/>
                </a:cubicBezTo>
                <a:cubicBezTo>
                  <a:pt x="22" y="105"/>
                  <a:pt x="22" y="105"/>
                  <a:pt x="22" y="105"/>
                </a:cubicBezTo>
                <a:cubicBezTo>
                  <a:pt x="22" y="105"/>
                  <a:pt x="22" y="105"/>
                  <a:pt x="22" y="105"/>
                </a:cubicBezTo>
                <a:cubicBezTo>
                  <a:pt x="24" y="105"/>
                  <a:pt x="24" y="105"/>
                  <a:pt x="24" y="105"/>
                </a:cubicBezTo>
                <a:cubicBezTo>
                  <a:pt x="25" y="105"/>
                  <a:pt x="25" y="105"/>
                  <a:pt x="25" y="105"/>
                </a:cubicBezTo>
                <a:cubicBezTo>
                  <a:pt x="26" y="105"/>
                  <a:pt x="26" y="105"/>
                  <a:pt x="26" y="105"/>
                </a:cubicBezTo>
                <a:cubicBezTo>
                  <a:pt x="27" y="105"/>
                  <a:pt x="27" y="105"/>
                  <a:pt x="27" y="105"/>
                </a:cubicBezTo>
                <a:cubicBezTo>
                  <a:pt x="27" y="105"/>
                  <a:pt x="27" y="105"/>
                  <a:pt x="27" y="105"/>
                </a:cubicBezTo>
                <a:cubicBezTo>
                  <a:pt x="28" y="105"/>
                  <a:pt x="28" y="105"/>
                  <a:pt x="28" y="105"/>
                </a:cubicBezTo>
                <a:cubicBezTo>
                  <a:pt x="28" y="105"/>
                  <a:pt x="28" y="105"/>
                  <a:pt x="28" y="105"/>
                </a:cubicBezTo>
                <a:cubicBezTo>
                  <a:pt x="32" y="105"/>
                  <a:pt x="32" y="105"/>
                  <a:pt x="32" y="105"/>
                </a:cubicBezTo>
                <a:cubicBezTo>
                  <a:pt x="33" y="105"/>
                  <a:pt x="33" y="105"/>
                  <a:pt x="33" y="105"/>
                </a:cubicBezTo>
                <a:cubicBezTo>
                  <a:pt x="35" y="104"/>
                  <a:pt x="35" y="104"/>
                  <a:pt x="35" y="104"/>
                </a:cubicBezTo>
                <a:cubicBezTo>
                  <a:pt x="36" y="104"/>
                  <a:pt x="36" y="104"/>
                  <a:pt x="36" y="104"/>
                </a:cubicBezTo>
                <a:cubicBezTo>
                  <a:pt x="38" y="103"/>
                  <a:pt x="38" y="103"/>
                  <a:pt x="38" y="103"/>
                </a:cubicBezTo>
                <a:cubicBezTo>
                  <a:pt x="39" y="103"/>
                  <a:pt x="39" y="103"/>
                  <a:pt x="39" y="103"/>
                </a:cubicBezTo>
                <a:cubicBezTo>
                  <a:pt x="41" y="103"/>
                  <a:pt x="41" y="103"/>
                  <a:pt x="41" y="103"/>
                </a:cubicBezTo>
                <a:cubicBezTo>
                  <a:pt x="42" y="100"/>
                  <a:pt x="42" y="100"/>
                  <a:pt x="42" y="100"/>
                </a:cubicBezTo>
                <a:cubicBezTo>
                  <a:pt x="45" y="98"/>
                  <a:pt x="45" y="98"/>
                  <a:pt x="45" y="98"/>
                </a:cubicBezTo>
                <a:cubicBezTo>
                  <a:pt x="47" y="97"/>
                  <a:pt x="47" y="97"/>
                  <a:pt x="47" y="97"/>
                </a:cubicBezTo>
                <a:cubicBezTo>
                  <a:pt x="49" y="96"/>
                  <a:pt x="49" y="96"/>
                  <a:pt x="49" y="96"/>
                </a:cubicBezTo>
                <a:cubicBezTo>
                  <a:pt x="50" y="96"/>
                  <a:pt x="50" y="96"/>
                  <a:pt x="50" y="96"/>
                </a:cubicBezTo>
                <a:cubicBezTo>
                  <a:pt x="52" y="97"/>
                  <a:pt x="52" y="97"/>
                  <a:pt x="52" y="97"/>
                </a:cubicBezTo>
                <a:cubicBezTo>
                  <a:pt x="53" y="96"/>
                  <a:pt x="53" y="96"/>
                  <a:pt x="53" y="96"/>
                </a:cubicBezTo>
                <a:cubicBezTo>
                  <a:pt x="54" y="97"/>
                  <a:pt x="54" y="97"/>
                  <a:pt x="54" y="97"/>
                </a:cubicBezTo>
                <a:cubicBezTo>
                  <a:pt x="54" y="99"/>
                  <a:pt x="54" y="99"/>
                  <a:pt x="54" y="99"/>
                </a:cubicBezTo>
                <a:cubicBezTo>
                  <a:pt x="54" y="101"/>
                  <a:pt x="54" y="101"/>
                  <a:pt x="54" y="101"/>
                </a:cubicBezTo>
                <a:cubicBezTo>
                  <a:pt x="53" y="103"/>
                  <a:pt x="53" y="103"/>
                  <a:pt x="53" y="103"/>
                </a:cubicBezTo>
                <a:cubicBezTo>
                  <a:pt x="54" y="105"/>
                  <a:pt x="54" y="105"/>
                  <a:pt x="54" y="105"/>
                </a:cubicBezTo>
                <a:cubicBezTo>
                  <a:pt x="54" y="107"/>
                  <a:pt x="54" y="107"/>
                  <a:pt x="54" y="107"/>
                </a:cubicBezTo>
                <a:cubicBezTo>
                  <a:pt x="55" y="109"/>
                  <a:pt x="55" y="109"/>
                  <a:pt x="55" y="109"/>
                </a:cubicBezTo>
                <a:cubicBezTo>
                  <a:pt x="56" y="110"/>
                  <a:pt x="56" y="110"/>
                  <a:pt x="56" y="110"/>
                </a:cubicBezTo>
                <a:cubicBezTo>
                  <a:pt x="57" y="112"/>
                  <a:pt x="57" y="112"/>
                  <a:pt x="57" y="112"/>
                </a:cubicBezTo>
                <a:cubicBezTo>
                  <a:pt x="58" y="112"/>
                  <a:pt x="58" y="112"/>
                  <a:pt x="58" y="112"/>
                </a:cubicBezTo>
                <a:cubicBezTo>
                  <a:pt x="60" y="114"/>
                  <a:pt x="60" y="114"/>
                  <a:pt x="60" y="114"/>
                </a:cubicBezTo>
                <a:cubicBezTo>
                  <a:pt x="62" y="115"/>
                  <a:pt x="62" y="115"/>
                  <a:pt x="62" y="115"/>
                </a:cubicBezTo>
                <a:cubicBezTo>
                  <a:pt x="62" y="114"/>
                  <a:pt x="62" y="114"/>
                  <a:pt x="62" y="114"/>
                </a:cubicBezTo>
                <a:cubicBezTo>
                  <a:pt x="65" y="114"/>
                  <a:pt x="65" y="114"/>
                  <a:pt x="65" y="114"/>
                </a:cubicBezTo>
                <a:cubicBezTo>
                  <a:pt x="67" y="116"/>
                  <a:pt x="67" y="116"/>
                  <a:pt x="67" y="116"/>
                </a:cubicBezTo>
                <a:cubicBezTo>
                  <a:pt x="68" y="115"/>
                  <a:pt x="68" y="115"/>
                  <a:pt x="68" y="115"/>
                </a:cubicBezTo>
                <a:cubicBezTo>
                  <a:pt x="71" y="118"/>
                  <a:pt x="71" y="118"/>
                  <a:pt x="71" y="118"/>
                </a:cubicBezTo>
                <a:cubicBezTo>
                  <a:pt x="72" y="118"/>
                  <a:pt x="72" y="118"/>
                  <a:pt x="72" y="118"/>
                </a:cubicBezTo>
                <a:cubicBezTo>
                  <a:pt x="74" y="119"/>
                  <a:pt x="74" y="119"/>
                  <a:pt x="74" y="119"/>
                </a:cubicBezTo>
                <a:cubicBezTo>
                  <a:pt x="76" y="119"/>
                  <a:pt x="76" y="119"/>
                  <a:pt x="76" y="119"/>
                </a:cubicBezTo>
                <a:cubicBezTo>
                  <a:pt x="77" y="121"/>
                  <a:pt x="77" y="121"/>
                  <a:pt x="77" y="121"/>
                </a:cubicBezTo>
                <a:cubicBezTo>
                  <a:pt x="78" y="121"/>
                  <a:pt x="78" y="121"/>
                  <a:pt x="78" y="121"/>
                </a:cubicBezTo>
                <a:cubicBezTo>
                  <a:pt x="79" y="122"/>
                  <a:pt x="79" y="122"/>
                  <a:pt x="79" y="122"/>
                </a:cubicBezTo>
                <a:cubicBezTo>
                  <a:pt x="83" y="122"/>
                  <a:pt x="83" y="122"/>
                  <a:pt x="83" y="122"/>
                </a:cubicBezTo>
                <a:cubicBezTo>
                  <a:pt x="86" y="123"/>
                  <a:pt x="86" y="123"/>
                  <a:pt x="86" y="123"/>
                </a:cubicBezTo>
                <a:cubicBezTo>
                  <a:pt x="86" y="125"/>
                  <a:pt x="86" y="125"/>
                  <a:pt x="86" y="125"/>
                </a:cubicBezTo>
                <a:cubicBezTo>
                  <a:pt x="86" y="127"/>
                  <a:pt x="86" y="127"/>
                  <a:pt x="86" y="127"/>
                </a:cubicBezTo>
                <a:cubicBezTo>
                  <a:pt x="86" y="130"/>
                  <a:pt x="86" y="130"/>
                  <a:pt x="86" y="130"/>
                </a:cubicBezTo>
                <a:cubicBezTo>
                  <a:pt x="86" y="131"/>
                  <a:pt x="86" y="131"/>
                  <a:pt x="86" y="131"/>
                </a:cubicBezTo>
                <a:cubicBezTo>
                  <a:pt x="88" y="135"/>
                  <a:pt x="88" y="135"/>
                  <a:pt x="88" y="135"/>
                </a:cubicBezTo>
                <a:cubicBezTo>
                  <a:pt x="88" y="138"/>
                  <a:pt x="88" y="138"/>
                  <a:pt x="88" y="138"/>
                </a:cubicBezTo>
                <a:cubicBezTo>
                  <a:pt x="99" y="138"/>
                  <a:pt x="99" y="138"/>
                  <a:pt x="99" y="138"/>
                </a:cubicBezTo>
                <a:cubicBezTo>
                  <a:pt x="99" y="142"/>
                  <a:pt x="99" y="142"/>
                  <a:pt x="99" y="142"/>
                </a:cubicBezTo>
                <a:cubicBezTo>
                  <a:pt x="99" y="145"/>
                  <a:pt x="99" y="145"/>
                  <a:pt x="99" y="145"/>
                </a:cubicBezTo>
                <a:cubicBezTo>
                  <a:pt x="102" y="146"/>
                  <a:pt x="102" y="146"/>
                  <a:pt x="102" y="146"/>
                </a:cubicBezTo>
                <a:cubicBezTo>
                  <a:pt x="106" y="151"/>
                  <a:pt x="106" y="151"/>
                  <a:pt x="106" y="151"/>
                </a:cubicBezTo>
                <a:cubicBezTo>
                  <a:pt x="106" y="154"/>
                  <a:pt x="106" y="154"/>
                  <a:pt x="106" y="154"/>
                </a:cubicBezTo>
                <a:cubicBezTo>
                  <a:pt x="103" y="161"/>
                  <a:pt x="103" y="161"/>
                  <a:pt x="103" y="161"/>
                </a:cubicBezTo>
                <a:cubicBezTo>
                  <a:pt x="103" y="161"/>
                  <a:pt x="103" y="161"/>
                  <a:pt x="103" y="161"/>
                </a:cubicBezTo>
                <a:cubicBezTo>
                  <a:pt x="102" y="163"/>
                  <a:pt x="102" y="163"/>
                  <a:pt x="102" y="163"/>
                </a:cubicBezTo>
                <a:cubicBezTo>
                  <a:pt x="103" y="163"/>
                  <a:pt x="103" y="163"/>
                  <a:pt x="103" y="163"/>
                </a:cubicBezTo>
                <a:cubicBezTo>
                  <a:pt x="102" y="165"/>
                  <a:pt x="102" y="165"/>
                  <a:pt x="102" y="165"/>
                </a:cubicBezTo>
                <a:cubicBezTo>
                  <a:pt x="104" y="166"/>
                  <a:pt x="104" y="166"/>
                  <a:pt x="104" y="166"/>
                </a:cubicBezTo>
                <a:cubicBezTo>
                  <a:pt x="104" y="168"/>
                  <a:pt x="104" y="168"/>
                  <a:pt x="104" y="168"/>
                </a:cubicBezTo>
                <a:cubicBezTo>
                  <a:pt x="105" y="170"/>
                  <a:pt x="105" y="170"/>
                  <a:pt x="105" y="170"/>
                </a:cubicBezTo>
                <a:cubicBezTo>
                  <a:pt x="105" y="173"/>
                  <a:pt x="105" y="173"/>
                  <a:pt x="105" y="173"/>
                </a:cubicBezTo>
                <a:cubicBezTo>
                  <a:pt x="105" y="175"/>
                  <a:pt x="105" y="175"/>
                  <a:pt x="105" y="175"/>
                </a:cubicBezTo>
                <a:cubicBezTo>
                  <a:pt x="105" y="176"/>
                  <a:pt x="105" y="176"/>
                  <a:pt x="105" y="176"/>
                </a:cubicBezTo>
                <a:cubicBezTo>
                  <a:pt x="105" y="178"/>
                  <a:pt x="105" y="178"/>
                  <a:pt x="105" y="178"/>
                </a:cubicBezTo>
                <a:cubicBezTo>
                  <a:pt x="107" y="178"/>
                  <a:pt x="107" y="178"/>
                  <a:pt x="107" y="178"/>
                </a:cubicBezTo>
                <a:cubicBezTo>
                  <a:pt x="108" y="178"/>
                  <a:pt x="108" y="178"/>
                  <a:pt x="108" y="178"/>
                </a:cubicBezTo>
                <a:cubicBezTo>
                  <a:pt x="111" y="178"/>
                  <a:pt x="111" y="178"/>
                  <a:pt x="111" y="178"/>
                </a:cubicBezTo>
                <a:cubicBezTo>
                  <a:pt x="113" y="178"/>
                  <a:pt x="113" y="178"/>
                  <a:pt x="113" y="178"/>
                </a:cubicBezTo>
                <a:cubicBezTo>
                  <a:pt x="116" y="177"/>
                  <a:pt x="116" y="177"/>
                  <a:pt x="116" y="177"/>
                </a:cubicBezTo>
                <a:cubicBezTo>
                  <a:pt x="118" y="178"/>
                  <a:pt x="118" y="178"/>
                  <a:pt x="118" y="178"/>
                </a:cubicBezTo>
                <a:cubicBezTo>
                  <a:pt x="119" y="179"/>
                  <a:pt x="119" y="179"/>
                  <a:pt x="119" y="179"/>
                </a:cubicBezTo>
                <a:cubicBezTo>
                  <a:pt x="119" y="180"/>
                  <a:pt x="119" y="180"/>
                  <a:pt x="119" y="180"/>
                </a:cubicBezTo>
                <a:cubicBezTo>
                  <a:pt x="121" y="187"/>
                  <a:pt x="121" y="187"/>
                  <a:pt x="121" y="187"/>
                </a:cubicBezTo>
                <a:cubicBezTo>
                  <a:pt x="122" y="189"/>
                  <a:pt x="122" y="189"/>
                  <a:pt x="122" y="189"/>
                </a:cubicBezTo>
                <a:cubicBezTo>
                  <a:pt x="123" y="190"/>
                  <a:pt x="123" y="190"/>
                  <a:pt x="123" y="190"/>
                </a:cubicBezTo>
                <a:cubicBezTo>
                  <a:pt x="125" y="188"/>
                  <a:pt x="125" y="188"/>
                  <a:pt x="125" y="188"/>
                </a:cubicBezTo>
                <a:cubicBezTo>
                  <a:pt x="127" y="189"/>
                  <a:pt x="127" y="189"/>
                  <a:pt x="127" y="189"/>
                </a:cubicBezTo>
                <a:cubicBezTo>
                  <a:pt x="128" y="190"/>
                  <a:pt x="128" y="190"/>
                  <a:pt x="128" y="190"/>
                </a:cubicBezTo>
                <a:cubicBezTo>
                  <a:pt x="129" y="190"/>
                  <a:pt x="129" y="190"/>
                  <a:pt x="129" y="190"/>
                </a:cubicBezTo>
                <a:cubicBezTo>
                  <a:pt x="128" y="191"/>
                  <a:pt x="128" y="191"/>
                  <a:pt x="128" y="191"/>
                </a:cubicBezTo>
                <a:cubicBezTo>
                  <a:pt x="128" y="197"/>
                  <a:pt x="128" y="197"/>
                  <a:pt x="128" y="197"/>
                </a:cubicBezTo>
                <a:cubicBezTo>
                  <a:pt x="128" y="198"/>
                  <a:pt x="128" y="198"/>
                  <a:pt x="128" y="198"/>
                </a:cubicBezTo>
                <a:cubicBezTo>
                  <a:pt x="127" y="198"/>
                  <a:pt x="127" y="198"/>
                  <a:pt x="127" y="198"/>
                </a:cubicBezTo>
                <a:cubicBezTo>
                  <a:pt x="127" y="199"/>
                  <a:pt x="127" y="199"/>
                  <a:pt x="127" y="199"/>
                </a:cubicBezTo>
                <a:cubicBezTo>
                  <a:pt x="127" y="199"/>
                  <a:pt x="127" y="199"/>
                  <a:pt x="127" y="199"/>
                </a:cubicBezTo>
                <a:cubicBezTo>
                  <a:pt x="127" y="200"/>
                  <a:pt x="127" y="200"/>
                  <a:pt x="127" y="200"/>
                </a:cubicBezTo>
                <a:cubicBezTo>
                  <a:pt x="128" y="199"/>
                  <a:pt x="128" y="199"/>
                  <a:pt x="128" y="199"/>
                </a:cubicBezTo>
                <a:cubicBezTo>
                  <a:pt x="131" y="200"/>
                  <a:pt x="131" y="200"/>
                  <a:pt x="131" y="200"/>
                </a:cubicBezTo>
                <a:cubicBezTo>
                  <a:pt x="131" y="201"/>
                  <a:pt x="131" y="201"/>
                  <a:pt x="131" y="201"/>
                </a:cubicBezTo>
                <a:cubicBezTo>
                  <a:pt x="133" y="204"/>
                  <a:pt x="133" y="204"/>
                  <a:pt x="133" y="204"/>
                </a:cubicBezTo>
                <a:cubicBezTo>
                  <a:pt x="132" y="206"/>
                  <a:pt x="132" y="206"/>
                  <a:pt x="132" y="206"/>
                </a:cubicBezTo>
                <a:cubicBezTo>
                  <a:pt x="133" y="208"/>
                  <a:pt x="133" y="208"/>
                  <a:pt x="133" y="208"/>
                </a:cubicBezTo>
                <a:cubicBezTo>
                  <a:pt x="133" y="210"/>
                  <a:pt x="133" y="210"/>
                  <a:pt x="133" y="210"/>
                </a:cubicBezTo>
                <a:cubicBezTo>
                  <a:pt x="133" y="211"/>
                  <a:pt x="133" y="211"/>
                  <a:pt x="133" y="211"/>
                </a:cubicBezTo>
                <a:cubicBezTo>
                  <a:pt x="131" y="211"/>
                  <a:pt x="131" y="211"/>
                  <a:pt x="131" y="211"/>
                </a:cubicBezTo>
                <a:cubicBezTo>
                  <a:pt x="130" y="212"/>
                  <a:pt x="130" y="212"/>
                  <a:pt x="130" y="212"/>
                </a:cubicBezTo>
                <a:cubicBezTo>
                  <a:pt x="130" y="213"/>
                  <a:pt x="130" y="213"/>
                  <a:pt x="130" y="213"/>
                </a:cubicBezTo>
                <a:cubicBezTo>
                  <a:pt x="129" y="213"/>
                  <a:pt x="129" y="213"/>
                  <a:pt x="129" y="213"/>
                </a:cubicBezTo>
                <a:cubicBezTo>
                  <a:pt x="128" y="213"/>
                  <a:pt x="128" y="213"/>
                  <a:pt x="128" y="213"/>
                </a:cubicBezTo>
                <a:cubicBezTo>
                  <a:pt x="126" y="215"/>
                  <a:pt x="126" y="215"/>
                  <a:pt x="126" y="215"/>
                </a:cubicBezTo>
                <a:cubicBezTo>
                  <a:pt x="125" y="216"/>
                  <a:pt x="125" y="216"/>
                  <a:pt x="125" y="216"/>
                </a:cubicBezTo>
                <a:cubicBezTo>
                  <a:pt x="124" y="216"/>
                  <a:pt x="124" y="216"/>
                  <a:pt x="124" y="216"/>
                </a:cubicBezTo>
                <a:cubicBezTo>
                  <a:pt x="122" y="218"/>
                  <a:pt x="122" y="218"/>
                  <a:pt x="122" y="218"/>
                </a:cubicBezTo>
                <a:cubicBezTo>
                  <a:pt x="121" y="218"/>
                  <a:pt x="121" y="218"/>
                  <a:pt x="121" y="218"/>
                </a:cubicBezTo>
                <a:cubicBezTo>
                  <a:pt x="121" y="220"/>
                  <a:pt x="121" y="220"/>
                  <a:pt x="121" y="220"/>
                </a:cubicBezTo>
                <a:cubicBezTo>
                  <a:pt x="120" y="220"/>
                  <a:pt x="120" y="220"/>
                  <a:pt x="120" y="220"/>
                </a:cubicBezTo>
                <a:cubicBezTo>
                  <a:pt x="119" y="220"/>
                  <a:pt x="119" y="220"/>
                  <a:pt x="119" y="220"/>
                </a:cubicBezTo>
                <a:cubicBezTo>
                  <a:pt x="117" y="222"/>
                  <a:pt x="117" y="222"/>
                  <a:pt x="117" y="222"/>
                </a:cubicBezTo>
                <a:cubicBezTo>
                  <a:pt x="117" y="223"/>
                  <a:pt x="117" y="223"/>
                  <a:pt x="117" y="223"/>
                </a:cubicBezTo>
                <a:cubicBezTo>
                  <a:pt x="117" y="225"/>
                  <a:pt x="117" y="225"/>
                  <a:pt x="117" y="225"/>
                </a:cubicBezTo>
                <a:cubicBezTo>
                  <a:pt x="116" y="225"/>
                  <a:pt x="116" y="225"/>
                  <a:pt x="116" y="225"/>
                </a:cubicBezTo>
                <a:cubicBezTo>
                  <a:pt x="116" y="226"/>
                  <a:pt x="116" y="226"/>
                  <a:pt x="116" y="226"/>
                </a:cubicBezTo>
                <a:cubicBezTo>
                  <a:pt x="114" y="228"/>
                  <a:pt x="114" y="228"/>
                  <a:pt x="114" y="228"/>
                </a:cubicBezTo>
                <a:cubicBezTo>
                  <a:pt x="113" y="229"/>
                  <a:pt x="113" y="229"/>
                  <a:pt x="113" y="229"/>
                </a:cubicBezTo>
                <a:cubicBezTo>
                  <a:pt x="112" y="231"/>
                  <a:pt x="112" y="231"/>
                  <a:pt x="112" y="231"/>
                </a:cubicBezTo>
                <a:cubicBezTo>
                  <a:pt x="112" y="231"/>
                  <a:pt x="112" y="231"/>
                  <a:pt x="112" y="231"/>
                </a:cubicBezTo>
                <a:cubicBezTo>
                  <a:pt x="111" y="232"/>
                  <a:pt x="111" y="232"/>
                  <a:pt x="111" y="232"/>
                </a:cubicBezTo>
                <a:cubicBezTo>
                  <a:pt x="111" y="233"/>
                  <a:pt x="111" y="233"/>
                  <a:pt x="111" y="233"/>
                </a:cubicBezTo>
                <a:cubicBezTo>
                  <a:pt x="112" y="233"/>
                  <a:pt x="112" y="233"/>
                  <a:pt x="112" y="233"/>
                </a:cubicBezTo>
                <a:cubicBezTo>
                  <a:pt x="113" y="233"/>
                  <a:pt x="113" y="233"/>
                  <a:pt x="113" y="233"/>
                </a:cubicBezTo>
                <a:cubicBezTo>
                  <a:pt x="116" y="232"/>
                  <a:pt x="116" y="232"/>
                  <a:pt x="116" y="232"/>
                </a:cubicBezTo>
                <a:cubicBezTo>
                  <a:pt x="117" y="233"/>
                  <a:pt x="117" y="233"/>
                  <a:pt x="117" y="233"/>
                </a:cubicBezTo>
                <a:cubicBezTo>
                  <a:pt x="119" y="235"/>
                  <a:pt x="119" y="235"/>
                  <a:pt x="119" y="235"/>
                </a:cubicBezTo>
                <a:cubicBezTo>
                  <a:pt x="120" y="235"/>
                  <a:pt x="120" y="235"/>
                  <a:pt x="120" y="235"/>
                </a:cubicBezTo>
                <a:cubicBezTo>
                  <a:pt x="121" y="237"/>
                  <a:pt x="121" y="237"/>
                  <a:pt x="121" y="237"/>
                </a:cubicBezTo>
                <a:cubicBezTo>
                  <a:pt x="122" y="240"/>
                  <a:pt x="122" y="240"/>
                  <a:pt x="122" y="240"/>
                </a:cubicBezTo>
                <a:cubicBezTo>
                  <a:pt x="123" y="240"/>
                  <a:pt x="123" y="240"/>
                  <a:pt x="123" y="240"/>
                </a:cubicBezTo>
                <a:cubicBezTo>
                  <a:pt x="124" y="238"/>
                  <a:pt x="124" y="238"/>
                  <a:pt x="124" y="238"/>
                </a:cubicBezTo>
                <a:cubicBezTo>
                  <a:pt x="125" y="238"/>
                  <a:pt x="125" y="238"/>
                  <a:pt x="125" y="238"/>
                </a:cubicBezTo>
                <a:cubicBezTo>
                  <a:pt x="126" y="241"/>
                  <a:pt x="126" y="241"/>
                  <a:pt x="126" y="241"/>
                </a:cubicBezTo>
                <a:cubicBezTo>
                  <a:pt x="128" y="241"/>
                  <a:pt x="128" y="241"/>
                  <a:pt x="128" y="241"/>
                </a:cubicBezTo>
                <a:cubicBezTo>
                  <a:pt x="129" y="242"/>
                  <a:pt x="129" y="242"/>
                  <a:pt x="129" y="242"/>
                </a:cubicBezTo>
                <a:cubicBezTo>
                  <a:pt x="131" y="243"/>
                  <a:pt x="131" y="243"/>
                  <a:pt x="131" y="243"/>
                </a:cubicBezTo>
                <a:cubicBezTo>
                  <a:pt x="131" y="245"/>
                  <a:pt x="131" y="245"/>
                  <a:pt x="131" y="245"/>
                </a:cubicBezTo>
                <a:cubicBezTo>
                  <a:pt x="132" y="245"/>
                  <a:pt x="132" y="245"/>
                  <a:pt x="132" y="245"/>
                </a:cubicBezTo>
                <a:cubicBezTo>
                  <a:pt x="135" y="246"/>
                  <a:pt x="135" y="246"/>
                  <a:pt x="135" y="246"/>
                </a:cubicBezTo>
                <a:cubicBezTo>
                  <a:pt x="136" y="248"/>
                  <a:pt x="136" y="248"/>
                  <a:pt x="136" y="248"/>
                </a:cubicBezTo>
                <a:cubicBezTo>
                  <a:pt x="138" y="250"/>
                  <a:pt x="138" y="250"/>
                  <a:pt x="138" y="250"/>
                </a:cubicBezTo>
                <a:cubicBezTo>
                  <a:pt x="139" y="251"/>
                  <a:pt x="139" y="251"/>
                  <a:pt x="139" y="251"/>
                </a:cubicBezTo>
                <a:cubicBezTo>
                  <a:pt x="139" y="253"/>
                  <a:pt x="139" y="253"/>
                  <a:pt x="139" y="253"/>
                </a:cubicBezTo>
                <a:cubicBezTo>
                  <a:pt x="138" y="254"/>
                  <a:pt x="138" y="254"/>
                  <a:pt x="138" y="254"/>
                </a:cubicBezTo>
                <a:cubicBezTo>
                  <a:pt x="138" y="256"/>
                  <a:pt x="138" y="256"/>
                  <a:pt x="138" y="256"/>
                </a:cubicBezTo>
                <a:cubicBezTo>
                  <a:pt x="138" y="257"/>
                  <a:pt x="138" y="257"/>
                  <a:pt x="138" y="257"/>
                </a:cubicBezTo>
                <a:cubicBezTo>
                  <a:pt x="138" y="257"/>
                  <a:pt x="138" y="257"/>
                  <a:pt x="138" y="257"/>
                </a:cubicBezTo>
                <a:cubicBezTo>
                  <a:pt x="139" y="258"/>
                  <a:pt x="139" y="258"/>
                  <a:pt x="139" y="258"/>
                </a:cubicBezTo>
                <a:cubicBezTo>
                  <a:pt x="140" y="258"/>
                  <a:pt x="140" y="258"/>
                  <a:pt x="140" y="258"/>
                </a:cubicBezTo>
                <a:cubicBezTo>
                  <a:pt x="142" y="256"/>
                  <a:pt x="142" y="256"/>
                  <a:pt x="142" y="256"/>
                </a:cubicBezTo>
                <a:cubicBezTo>
                  <a:pt x="143" y="254"/>
                  <a:pt x="143" y="254"/>
                  <a:pt x="143" y="254"/>
                </a:cubicBezTo>
                <a:cubicBezTo>
                  <a:pt x="144" y="250"/>
                  <a:pt x="144" y="250"/>
                  <a:pt x="144" y="250"/>
                </a:cubicBezTo>
                <a:cubicBezTo>
                  <a:pt x="145" y="247"/>
                  <a:pt x="145" y="247"/>
                  <a:pt x="145" y="247"/>
                </a:cubicBezTo>
                <a:cubicBezTo>
                  <a:pt x="145" y="246"/>
                  <a:pt x="145" y="246"/>
                  <a:pt x="145" y="246"/>
                </a:cubicBezTo>
                <a:cubicBezTo>
                  <a:pt x="145" y="246"/>
                  <a:pt x="145" y="246"/>
                  <a:pt x="145" y="246"/>
                </a:cubicBezTo>
                <a:cubicBezTo>
                  <a:pt x="144" y="244"/>
                  <a:pt x="144" y="244"/>
                  <a:pt x="144" y="244"/>
                </a:cubicBezTo>
                <a:cubicBezTo>
                  <a:pt x="144" y="243"/>
                  <a:pt x="144" y="243"/>
                  <a:pt x="144" y="243"/>
                </a:cubicBezTo>
                <a:cubicBezTo>
                  <a:pt x="145" y="243"/>
                  <a:pt x="145" y="243"/>
                  <a:pt x="145" y="243"/>
                </a:cubicBezTo>
                <a:cubicBezTo>
                  <a:pt x="145" y="242"/>
                  <a:pt x="145" y="242"/>
                  <a:pt x="145" y="242"/>
                </a:cubicBezTo>
                <a:cubicBezTo>
                  <a:pt x="146" y="241"/>
                  <a:pt x="146" y="241"/>
                  <a:pt x="146" y="241"/>
                </a:cubicBezTo>
                <a:cubicBezTo>
                  <a:pt x="146" y="240"/>
                  <a:pt x="146" y="240"/>
                  <a:pt x="146" y="240"/>
                </a:cubicBezTo>
                <a:cubicBezTo>
                  <a:pt x="147" y="240"/>
                  <a:pt x="147" y="240"/>
                  <a:pt x="147" y="240"/>
                </a:cubicBezTo>
                <a:cubicBezTo>
                  <a:pt x="148" y="240"/>
                  <a:pt x="148" y="240"/>
                  <a:pt x="148" y="240"/>
                </a:cubicBezTo>
                <a:cubicBezTo>
                  <a:pt x="149" y="239"/>
                  <a:pt x="149" y="239"/>
                  <a:pt x="149" y="239"/>
                </a:cubicBezTo>
                <a:cubicBezTo>
                  <a:pt x="149" y="238"/>
                  <a:pt x="149" y="238"/>
                  <a:pt x="149" y="238"/>
                </a:cubicBezTo>
                <a:cubicBezTo>
                  <a:pt x="149" y="237"/>
                  <a:pt x="149" y="237"/>
                  <a:pt x="149" y="237"/>
                </a:cubicBezTo>
                <a:cubicBezTo>
                  <a:pt x="149" y="236"/>
                  <a:pt x="149" y="236"/>
                  <a:pt x="149" y="236"/>
                </a:cubicBezTo>
                <a:cubicBezTo>
                  <a:pt x="150" y="235"/>
                  <a:pt x="150" y="235"/>
                  <a:pt x="150" y="235"/>
                </a:cubicBezTo>
                <a:cubicBezTo>
                  <a:pt x="150" y="235"/>
                  <a:pt x="150" y="235"/>
                  <a:pt x="150" y="235"/>
                </a:cubicBezTo>
                <a:cubicBezTo>
                  <a:pt x="151" y="234"/>
                  <a:pt x="151" y="234"/>
                  <a:pt x="151" y="234"/>
                </a:cubicBezTo>
                <a:cubicBezTo>
                  <a:pt x="151" y="233"/>
                  <a:pt x="151" y="233"/>
                  <a:pt x="151" y="233"/>
                </a:cubicBezTo>
                <a:cubicBezTo>
                  <a:pt x="150" y="232"/>
                  <a:pt x="150" y="232"/>
                  <a:pt x="150" y="232"/>
                </a:cubicBezTo>
                <a:cubicBezTo>
                  <a:pt x="150" y="231"/>
                  <a:pt x="150" y="231"/>
                  <a:pt x="150" y="231"/>
                </a:cubicBezTo>
                <a:cubicBezTo>
                  <a:pt x="149" y="230"/>
                  <a:pt x="149" y="230"/>
                  <a:pt x="149" y="230"/>
                </a:cubicBezTo>
                <a:cubicBezTo>
                  <a:pt x="150" y="230"/>
                  <a:pt x="150" y="230"/>
                  <a:pt x="150" y="230"/>
                </a:cubicBezTo>
                <a:cubicBezTo>
                  <a:pt x="151" y="232"/>
                  <a:pt x="151" y="232"/>
                  <a:pt x="151" y="232"/>
                </a:cubicBezTo>
                <a:cubicBezTo>
                  <a:pt x="152" y="233"/>
                  <a:pt x="152" y="233"/>
                  <a:pt x="152" y="233"/>
                </a:cubicBezTo>
                <a:cubicBezTo>
                  <a:pt x="153" y="233"/>
                  <a:pt x="153" y="233"/>
                  <a:pt x="153" y="233"/>
                </a:cubicBezTo>
                <a:cubicBezTo>
                  <a:pt x="153" y="233"/>
                  <a:pt x="153" y="233"/>
                  <a:pt x="153" y="233"/>
                </a:cubicBezTo>
                <a:cubicBezTo>
                  <a:pt x="154" y="233"/>
                  <a:pt x="154" y="233"/>
                  <a:pt x="154" y="233"/>
                </a:cubicBezTo>
                <a:cubicBezTo>
                  <a:pt x="154" y="235"/>
                  <a:pt x="154" y="235"/>
                  <a:pt x="154" y="235"/>
                </a:cubicBezTo>
                <a:cubicBezTo>
                  <a:pt x="154" y="235"/>
                  <a:pt x="154" y="235"/>
                  <a:pt x="154" y="235"/>
                </a:cubicBezTo>
                <a:cubicBezTo>
                  <a:pt x="153" y="237"/>
                  <a:pt x="153" y="237"/>
                  <a:pt x="153" y="237"/>
                </a:cubicBezTo>
                <a:cubicBezTo>
                  <a:pt x="151" y="239"/>
                  <a:pt x="151" y="239"/>
                  <a:pt x="151" y="239"/>
                </a:cubicBezTo>
                <a:cubicBezTo>
                  <a:pt x="150" y="239"/>
                  <a:pt x="150" y="239"/>
                  <a:pt x="150" y="239"/>
                </a:cubicBezTo>
                <a:cubicBezTo>
                  <a:pt x="150" y="241"/>
                  <a:pt x="150" y="241"/>
                  <a:pt x="150" y="241"/>
                </a:cubicBezTo>
                <a:cubicBezTo>
                  <a:pt x="150" y="242"/>
                  <a:pt x="150" y="242"/>
                  <a:pt x="150" y="242"/>
                </a:cubicBezTo>
                <a:cubicBezTo>
                  <a:pt x="149" y="242"/>
                  <a:pt x="149" y="242"/>
                  <a:pt x="149" y="242"/>
                </a:cubicBezTo>
                <a:cubicBezTo>
                  <a:pt x="148" y="242"/>
                  <a:pt x="148" y="242"/>
                  <a:pt x="148" y="242"/>
                </a:cubicBezTo>
                <a:cubicBezTo>
                  <a:pt x="147" y="243"/>
                  <a:pt x="147" y="243"/>
                  <a:pt x="147" y="243"/>
                </a:cubicBezTo>
                <a:cubicBezTo>
                  <a:pt x="147" y="244"/>
                  <a:pt x="147" y="244"/>
                  <a:pt x="147" y="244"/>
                </a:cubicBezTo>
                <a:cubicBezTo>
                  <a:pt x="146" y="244"/>
                  <a:pt x="146" y="244"/>
                  <a:pt x="146" y="244"/>
                </a:cubicBezTo>
                <a:cubicBezTo>
                  <a:pt x="145" y="245"/>
                  <a:pt x="145" y="245"/>
                  <a:pt x="145" y="245"/>
                </a:cubicBezTo>
                <a:cubicBezTo>
                  <a:pt x="145" y="245"/>
                  <a:pt x="145" y="245"/>
                  <a:pt x="145" y="245"/>
                </a:cubicBezTo>
                <a:cubicBezTo>
                  <a:pt x="147" y="246"/>
                  <a:pt x="147" y="246"/>
                  <a:pt x="147" y="246"/>
                </a:cubicBezTo>
                <a:cubicBezTo>
                  <a:pt x="150" y="242"/>
                  <a:pt x="150" y="242"/>
                  <a:pt x="150" y="242"/>
                </a:cubicBezTo>
                <a:cubicBezTo>
                  <a:pt x="153" y="240"/>
                  <a:pt x="153" y="240"/>
                  <a:pt x="153" y="240"/>
                </a:cubicBezTo>
                <a:cubicBezTo>
                  <a:pt x="155" y="235"/>
                  <a:pt x="155" y="235"/>
                  <a:pt x="155" y="235"/>
                </a:cubicBezTo>
                <a:cubicBezTo>
                  <a:pt x="157" y="233"/>
                  <a:pt x="157" y="233"/>
                  <a:pt x="157" y="233"/>
                </a:cubicBezTo>
                <a:cubicBezTo>
                  <a:pt x="158" y="229"/>
                  <a:pt x="158" y="229"/>
                  <a:pt x="158" y="229"/>
                </a:cubicBezTo>
                <a:cubicBezTo>
                  <a:pt x="161" y="224"/>
                  <a:pt x="161" y="224"/>
                  <a:pt x="161" y="224"/>
                </a:cubicBezTo>
                <a:cubicBezTo>
                  <a:pt x="163" y="221"/>
                  <a:pt x="163" y="221"/>
                  <a:pt x="163" y="221"/>
                </a:cubicBezTo>
                <a:cubicBezTo>
                  <a:pt x="164" y="220"/>
                  <a:pt x="164" y="220"/>
                  <a:pt x="164" y="220"/>
                </a:cubicBezTo>
                <a:cubicBezTo>
                  <a:pt x="164" y="219"/>
                  <a:pt x="164" y="219"/>
                  <a:pt x="164" y="219"/>
                </a:cubicBezTo>
                <a:cubicBezTo>
                  <a:pt x="164" y="218"/>
                  <a:pt x="164" y="218"/>
                  <a:pt x="164" y="218"/>
                </a:cubicBezTo>
                <a:cubicBezTo>
                  <a:pt x="164" y="218"/>
                  <a:pt x="164" y="218"/>
                  <a:pt x="164" y="218"/>
                </a:cubicBezTo>
                <a:cubicBezTo>
                  <a:pt x="165" y="217"/>
                  <a:pt x="165" y="217"/>
                  <a:pt x="165" y="217"/>
                </a:cubicBezTo>
                <a:cubicBezTo>
                  <a:pt x="166" y="216"/>
                  <a:pt x="166" y="216"/>
                  <a:pt x="166" y="216"/>
                </a:cubicBezTo>
                <a:cubicBezTo>
                  <a:pt x="165" y="215"/>
                  <a:pt x="165" y="215"/>
                  <a:pt x="165" y="215"/>
                </a:cubicBezTo>
                <a:cubicBezTo>
                  <a:pt x="166" y="214"/>
                  <a:pt x="166" y="214"/>
                  <a:pt x="166" y="214"/>
                </a:cubicBezTo>
                <a:cubicBezTo>
                  <a:pt x="165" y="214"/>
                  <a:pt x="165" y="214"/>
                  <a:pt x="165" y="214"/>
                </a:cubicBezTo>
                <a:cubicBezTo>
                  <a:pt x="165" y="214"/>
                  <a:pt x="165" y="214"/>
                  <a:pt x="165" y="214"/>
                </a:cubicBezTo>
                <a:cubicBezTo>
                  <a:pt x="165" y="212"/>
                  <a:pt x="165" y="212"/>
                  <a:pt x="165" y="212"/>
                </a:cubicBezTo>
                <a:cubicBezTo>
                  <a:pt x="164" y="211"/>
                  <a:pt x="164" y="211"/>
                  <a:pt x="164" y="211"/>
                </a:cubicBezTo>
                <a:cubicBezTo>
                  <a:pt x="164" y="210"/>
                  <a:pt x="164" y="210"/>
                  <a:pt x="164" y="210"/>
                </a:cubicBezTo>
                <a:cubicBezTo>
                  <a:pt x="164" y="209"/>
                  <a:pt x="164" y="209"/>
                  <a:pt x="164" y="209"/>
                </a:cubicBezTo>
                <a:cubicBezTo>
                  <a:pt x="164" y="208"/>
                  <a:pt x="164" y="208"/>
                  <a:pt x="164" y="208"/>
                </a:cubicBezTo>
                <a:cubicBezTo>
                  <a:pt x="163" y="206"/>
                  <a:pt x="163" y="206"/>
                  <a:pt x="163" y="206"/>
                </a:cubicBezTo>
                <a:cubicBezTo>
                  <a:pt x="163" y="205"/>
                  <a:pt x="163" y="205"/>
                  <a:pt x="163" y="205"/>
                </a:cubicBezTo>
                <a:cubicBezTo>
                  <a:pt x="163" y="204"/>
                  <a:pt x="163" y="204"/>
                  <a:pt x="163" y="204"/>
                </a:cubicBezTo>
                <a:cubicBezTo>
                  <a:pt x="165" y="204"/>
                  <a:pt x="165" y="204"/>
                  <a:pt x="165" y="204"/>
                </a:cubicBezTo>
                <a:cubicBezTo>
                  <a:pt x="164" y="203"/>
                  <a:pt x="164" y="203"/>
                  <a:pt x="164" y="203"/>
                </a:cubicBezTo>
                <a:cubicBezTo>
                  <a:pt x="164" y="202"/>
                  <a:pt x="164" y="202"/>
                  <a:pt x="164" y="202"/>
                </a:cubicBezTo>
                <a:cubicBezTo>
                  <a:pt x="165" y="202"/>
                  <a:pt x="165" y="202"/>
                  <a:pt x="165" y="202"/>
                </a:cubicBezTo>
                <a:cubicBezTo>
                  <a:pt x="165" y="201"/>
                  <a:pt x="165" y="201"/>
                  <a:pt x="165" y="201"/>
                </a:cubicBezTo>
                <a:cubicBezTo>
                  <a:pt x="164" y="200"/>
                  <a:pt x="164" y="200"/>
                  <a:pt x="164" y="200"/>
                </a:cubicBezTo>
                <a:cubicBezTo>
                  <a:pt x="165" y="200"/>
                  <a:pt x="165" y="200"/>
                  <a:pt x="165" y="200"/>
                </a:cubicBezTo>
                <a:cubicBezTo>
                  <a:pt x="166" y="198"/>
                  <a:pt x="166" y="198"/>
                  <a:pt x="166" y="198"/>
                </a:cubicBezTo>
                <a:cubicBezTo>
                  <a:pt x="166" y="199"/>
                  <a:pt x="166" y="199"/>
                  <a:pt x="166" y="199"/>
                </a:cubicBezTo>
                <a:cubicBezTo>
                  <a:pt x="168" y="197"/>
                  <a:pt x="168" y="197"/>
                  <a:pt x="168" y="197"/>
                </a:cubicBezTo>
                <a:cubicBezTo>
                  <a:pt x="169" y="196"/>
                  <a:pt x="169" y="196"/>
                  <a:pt x="169" y="196"/>
                </a:cubicBezTo>
                <a:cubicBezTo>
                  <a:pt x="169" y="196"/>
                  <a:pt x="169" y="196"/>
                  <a:pt x="169" y="196"/>
                </a:cubicBezTo>
                <a:cubicBezTo>
                  <a:pt x="171" y="194"/>
                  <a:pt x="171" y="194"/>
                  <a:pt x="171" y="194"/>
                </a:cubicBezTo>
                <a:cubicBezTo>
                  <a:pt x="173" y="193"/>
                  <a:pt x="173" y="193"/>
                  <a:pt x="173" y="193"/>
                </a:cubicBezTo>
                <a:cubicBezTo>
                  <a:pt x="176" y="190"/>
                  <a:pt x="176" y="190"/>
                  <a:pt x="176" y="190"/>
                </a:cubicBezTo>
                <a:cubicBezTo>
                  <a:pt x="178" y="190"/>
                  <a:pt x="178" y="190"/>
                  <a:pt x="178" y="190"/>
                </a:cubicBezTo>
                <a:cubicBezTo>
                  <a:pt x="179" y="189"/>
                  <a:pt x="179" y="189"/>
                  <a:pt x="179" y="189"/>
                </a:cubicBezTo>
                <a:cubicBezTo>
                  <a:pt x="180" y="188"/>
                  <a:pt x="180" y="188"/>
                  <a:pt x="180" y="188"/>
                </a:cubicBezTo>
                <a:cubicBezTo>
                  <a:pt x="182" y="188"/>
                  <a:pt x="182" y="188"/>
                  <a:pt x="182" y="188"/>
                </a:cubicBezTo>
                <a:cubicBezTo>
                  <a:pt x="182" y="188"/>
                  <a:pt x="182" y="188"/>
                  <a:pt x="182" y="188"/>
                </a:cubicBezTo>
                <a:cubicBezTo>
                  <a:pt x="183" y="188"/>
                  <a:pt x="183" y="188"/>
                  <a:pt x="183" y="188"/>
                </a:cubicBezTo>
                <a:cubicBezTo>
                  <a:pt x="183" y="188"/>
                  <a:pt x="183" y="188"/>
                  <a:pt x="183" y="188"/>
                </a:cubicBezTo>
                <a:cubicBezTo>
                  <a:pt x="184" y="186"/>
                  <a:pt x="184" y="186"/>
                  <a:pt x="184" y="186"/>
                </a:cubicBezTo>
                <a:cubicBezTo>
                  <a:pt x="187" y="184"/>
                  <a:pt x="187" y="184"/>
                  <a:pt x="187" y="184"/>
                </a:cubicBezTo>
                <a:cubicBezTo>
                  <a:pt x="188" y="184"/>
                  <a:pt x="188" y="184"/>
                  <a:pt x="188" y="184"/>
                </a:cubicBezTo>
                <a:cubicBezTo>
                  <a:pt x="188" y="183"/>
                  <a:pt x="188" y="183"/>
                  <a:pt x="188" y="183"/>
                </a:cubicBezTo>
                <a:cubicBezTo>
                  <a:pt x="188" y="183"/>
                  <a:pt x="188" y="183"/>
                  <a:pt x="188" y="183"/>
                </a:cubicBezTo>
                <a:cubicBezTo>
                  <a:pt x="187" y="183"/>
                  <a:pt x="187" y="183"/>
                  <a:pt x="187" y="183"/>
                </a:cubicBezTo>
                <a:cubicBezTo>
                  <a:pt x="186" y="182"/>
                  <a:pt x="186" y="182"/>
                  <a:pt x="186" y="182"/>
                </a:cubicBezTo>
                <a:cubicBezTo>
                  <a:pt x="187" y="182"/>
                  <a:pt x="187" y="182"/>
                  <a:pt x="187" y="182"/>
                </a:cubicBezTo>
                <a:cubicBezTo>
                  <a:pt x="189" y="181"/>
                  <a:pt x="189" y="181"/>
                  <a:pt x="189" y="181"/>
                </a:cubicBezTo>
                <a:cubicBezTo>
                  <a:pt x="190" y="181"/>
                  <a:pt x="190" y="181"/>
                  <a:pt x="190" y="181"/>
                </a:cubicBezTo>
                <a:cubicBezTo>
                  <a:pt x="191" y="181"/>
                  <a:pt x="191" y="181"/>
                  <a:pt x="191" y="181"/>
                </a:cubicBezTo>
                <a:cubicBezTo>
                  <a:pt x="192" y="180"/>
                  <a:pt x="192" y="180"/>
                  <a:pt x="192" y="180"/>
                </a:cubicBezTo>
                <a:cubicBezTo>
                  <a:pt x="193" y="180"/>
                  <a:pt x="193" y="180"/>
                  <a:pt x="193" y="180"/>
                </a:cubicBezTo>
                <a:cubicBezTo>
                  <a:pt x="193" y="181"/>
                  <a:pt x="193" y="181"/>
                  <a:pt x="193" y="181"/>
                </a:cubicBezTo>
                <a:cubicBezTo>
                  <a:pt x="191" y="182"/>
                  <a:pt x="191" y="182"/>
                  <a:pt x="191" y="182"/>
                </a:cubicBezTo>
                <a:cubicBezTo>
                  <a:pt x="189" y="182"/>
                  <a:pt x="189" y="182"/>
                  <a:pt x="189" y="182"/>
                </a:cubicBezTo>
                <a:cubicBezTo>
                  <a:pt x="189" y="182"/>
                  <a:pt x="189" y="182"/>
                  <a:pt x="189" y="182"/>
                </a:cubicBezTo>
                <a:cubicBezTo>
                  <a:pt x="190" y="183"/>
                  <a:pt x="190" y="183"/>
                  <a:pt x="190" y="183"/>
                </a:cubicBezTo>
                <a:cubicBezTo>
                  <a:pt x="192" y="182"/>
                  <a:pt x="192" y="182"/>
                  <a:pt x="192" y="182"/>
                </a:cubicBezTo>
                <a:cubicBezTo>
                  <a:pt x="195" y="181"/>
                  <a:pt x="195" y="181"/>
                  <a:pt x="195" y="181"/>
                </a:cubicBezTo>
                <a:cubicBezTo>
                  <a:pt x="195" y="180"/>
                  <a:pt x="195" y="180"/>
                  <a:pt x="195" y="180"/>
                </a:cubicBezTo>
                <a:cubicBezTo>
                  <a:pt x="196" y="180"/>
                  <a:pt x="196" y="180"/>
                  <a:pt x="196" y="180"/>
                </a:cubicBezTo>
                <a:cubicBezTo>
                  <a:pt x="196" y="180"/>
                  <a:pt x="196" y="180"/>
                  <a:pt x="196" y="180"/>
                </a:cubicBezTo>
                <a:cubicBezTo>
                  <a:pt x="196" y="180"/>
                  <a:pt x="196" y="180"/>
                  <a:pt x="196" y="180"/>
                </a:cubicBezTo>
                <a:cubicBezTo>
                  <a:pt x="196" y="180"/>
                  <a:pt x="196" y="182"/>
                  <a:pt x="196" y="182"/>
                </a:cubicBezTo>
                <a:cubicBezTo>
                  <a:pt x="196" y="182"/>
                  <a:pt x="198" y="182"/>
                  <a:pt x="198" y="182"/>
                </a:cubicBezTo>
                <a:cubicBezTo>
                  <a:pt x="199" y="181"/>
                  <a:pt x="199" y="181"/>
                  <a:pt x="199" y="181"/>
                </a:cubicBezTo>
                <a:cubicBezTo>
                  <a:pt x="201" y="181"/>
                  <a:pt x="201" y="181"/>
                  <a:pt x="201" y="181"/>
                </a:cubicBezTo>
                <a:cubicBezTo>
                  <a:pt x="203" y="182"/>
                  <a:pt x="203" y="182"/>
                  <a:pt x="203" y="182"/>
                </a:cubicBezTo>
                <a:cubicBezTo>
                  <a:pt x="204" y="181"/>
                  <a:pt x="204" y="181"/>
                  <a:pt x="204" y="181"/>
                </a:cubicBezTo>
                <a:cubicBezTo>
                  <a:pt x="204" y="180"/>
                  <a:pt x="204" y="180"/>
                  <a:pt x="204" y="180"/>
                </a:cubicBezTo>
                <a:cubicBezTo>
                  <a:pt x="204" y="180"/>
                  <a:pt x="204" y="180"/>
                  <a:pt x="204" y="180"/>
                </a:cubicBezTo>
                <a:cubicBezTo>
                  <a:pt x="204" y="179"/>
                  <a:pt x="204" y="179"/>
                  <a:pt x="204" y="179"/>
                </a:cubicBezTo>
                <a:cubicBezTo>
                  <a:pt x="207" y="177"/>
                  <a:pt x="207" y="177"/>
                  <a:pt x="207" y="177"/>
                </a:cubicBezTo>
                <a:cubicBezTo>
                  <a:pt x="209" y="176"/>
                  <a:pt x="209" y="176"/>
                  <a:pt x="209" y="176"/>
                </a:cubicBezTo>
                <a:cubicBezTo>
                  <a:pt x="210" y="176"/>
                  <a:pt x="210" y="176"/>
                  <a:pt x="210" y="176"/>
                </a:cubicBezTo>
                <a:cubicBezTo>
                  <a:pt x="211" y="175"/>
                  <a:pt x="211" y="175"/>
                  <a:pt x="211" y="175"/>
                </a:cubicBezTo>
                <a:cubicBezTo>
                  <a:pt x="211" y="174"/>
                  <a:pt x="211" y="174"/>
                  <a:pt x="211" y="174"/>
                </a:cubicBezTo>
                <a:cubicBezTo>
                  <a:pt x="209" y="172"/>
                  <a:pt x="209" y="172"/>
                  <a:pt x="209" y="172"/>
                </a:cubicBezTo>
                <a:cubicBezTo>
                  <a:pt x="210" y="170"/>
                  <a:pt x="210" y="170"/>
                  <a:pt x="210" y="170"/>
                </a:cubicBezTo>
                <a:cubicBezTo>
                  <a:pt x="211" y="169"/>
                  <a:pt x="211" y="169"/>
                  <a:pt x="211" y="169"/>
                </a:cubicBezTo>
                <a:cubicBezTo>
                  <a:pt x="211" y="168"/>
                  <a:pt x="211" y="168"/>
                  <a:pt x="211" y="168"/>
                </a:cubicBezTo>
                <a:cubicBezTo>
                  <a:pt x="212" y="167"/>
                  <a:pt x="212" y="167"/>
                  <a:pt x="212" y="167"/>
                </a:cubicBezTo>
                <a:cubicBezTo>
                  <a:pt x="213" y="167"/>
                  <a:pt x="213" y="167"/>
                  <a:pt x="213" y="167"/>
                </a:cubicBezTo>
                <a:cubicBezTo>
                  <a:pt x="213" y="165"/>
                  <a:pt x="213" y="165"/>
                  <a:pt x="213" y="165"/>
                </a:cubicBezTo>
                <a:cubicBezTo>
                  <a:pt x="213" y="165"/>
                  <a:pt x="213" y="165"/>
                  <a:pt x="213" y="165"/>
                </a:cubicBezTo>
                <a:cubicBezTo>
                  <a:pt x="214" y="162"/>
                  <a:pt x="214" y="162"/>
                  <a:pt x="214" y="162"/>
                </a:cubicBezTo>
                <a:cubicBezTo>
                  <a:pt x="217" y="160"/>
                  <a:pt x="217" y="160"/>
                  <a:pt x="217" y="160"/>
                </a:cubicBezTo>
                <a:cubicBezTo>
                  <a:pt x="217" y="158"/>
                  <a:pt x="217" y="158"/>
                  <a:pt x="217" y="158"/>
                </a:cubicBezTo>
                <a:cubicBezTo>
                  <a:pt x="216" y="154"/>
                  <a:pt x="216" y="154"/>
                  <a:pt x="216" y="154"/>
                </a:cubicBezTo>
                <a:cubicBezTo>
                  <a:pt x="216" y="154"/>
                  <a:pt x="216" y="154"/>
                  <a:pt x="216" y="154"/>
                </a:cubicBezTo>
                <a:cubicBezTo>
                  <a:pt x="217" y="151"/>
                  <a:pt x="217" y="151"/>
                  <a:pt x="217" y="151"/>
                </a:cubicBezTo>
                <a:cubicBezTo>
                  <a:pt x="217" y="150"/>
                  <a:pt x="217" y="150"/>
                  <a:pt x="217" y="150"/>
                </a:cubicBezTo>
                <a:cubicBezTo>
                  <a:pt x="218" y="149"/>
                  <a:pt x="218" y="149"/>
                  <a:pt x="218" y="149"/>
                </a:cubicBezTo>
                <a:cubicBezTo>
                  <a:pt x="219" y="148"/>
                  <a:pt x="219" y="148"/>
                  <a:pt x="219" y="148"/>
                </a:cubicBezTo>
                <a:cubicBezTo>
                  <a:pt x="220" y="147"/>
                  <a:pt x="220" y="147"/>
                  <a:pt x="220" y="147"/>
                </a:cubicBezTo>
                <a:cubicBezTo>
                  <a:pt x="219" y="145"/>
                  <a:pt x="219" y="145"/>
                  <a:pt x="219" y="145"/>
                </a:cubicBezTo>
                <a:cubicBezTo>
                  <a:pt x="220" y="142"/>
                  <a:pt x="220" y="142"/>
                  <a:pt x="220" y="142"/>
                </a:cubicBezTo>
                <a:cubicBezTo>
                  <a:pt x="220" y="140"/>
                  <a:pt x="220" y="140"/>
                  <a:pt x="220" y="140"/>
                </a:cubicBezTo>
                <a:cubicBezTo>
                  <a:pt x="220" y="138"/>
                  <a:pt x="220" y="138"/>
                  <a:pt x="220" y="138"/>
                </a:cubicBezTo>
                <a:cubicBezTo>
                  <a:pt x="220" y="137"/>
                  <a:pt x="220" y="137"/>
                  <a:pt x="220" y="137"/>
                </a:cubicBezTo>
                <a:cubicBezTo>
                  <a:pt x="221" y="135"/>
                  <a:pt x="221" y="135"/>
                  <a:pt x="221" y="135"/>
                </a:cubicBezTo>
                <a:cubicBezTo>
                  <a:pt x="220" y="127"/>
                  <a:pt x="220" y="127"/>
                  <a:pt x="220" y="127"/>
                </a:cubicBezTo>
                <a:cubicBezTo>
                  <a:pt x="220" y="125"/>
                  <a:pt x="220" y="125"/>
                  <a:pt x="220" y="125"/>
                </a:cubicBezTo>
                <a:cubicBezTo>
                  <a:pt x="221" y="124"/>
                  <a:pt x="221" y="124"/>
                  <a:pt x="221" y="124"/>
                </a:cubicBezTo>
                <a:cubicBezTo>
                  <a:pt x="221" y="123"/>
                  <a:pt x="221" y="123"/>
                  <a:pt x="221" y="123"/>
                </a:cubicBezTo>
                <a:cubicBezTo>
                  <a:pt x="220" y="123"/>
                  <a:pt x="220" y="123"/>
                  <a:pt x="220" y="123"/>
                </a:cubicBezTo>
                <a:cubicBezTo>
                  <a:pt x="219" y="123"/>
                  <a:pt x="219" y="123"/>
                  <a:pt x="219" y="123"/>
                </a:cubicBezTo>
                <a:cubicBezTo>
                  <a:pt x="219" y="122"/>
                  <a:pt x="219" y="122"/>
                  <a:pt x="219" y="122"/>
                </a:cubicBezTo>
                <a:cubicBezTo>
                  <a:pt x="220" y="120"/>
                  <a:pt x="220" y="120"/>
                  <a:pt x="220" y="120"/>
                </a:cubicBezTo>
                <a:cubicBezTo>
                  <a:pt x="220" y="119"/>
                  <a:pt x="220" y="119"/>
                  <a:pt x="220" y="119"/>
                </a:cubicBezTo>
                <a:cubicBezTo>
                  <a:pt x="220" y="118"/>
                  <a:pt x="220" y="118"/>
                  <a:pt x="220" y="118"/>
                </a:cubicBezTo>
                <a:cubicBezTo>
                  <a:pt x="221" y="118"/>
                  <a:pt x="221" y="118"/>
                  <a:pt x="221" y="118"/>
                </a:cubicBezTo>
                <a:cubicBezTo>
                  <a:pt x="221" y="116"/>
                  <a:pt x="221" y="116"/>
                  <a:pt x="221" y="116"/>
                </a:cubicBezTo>
                <a:cubicBezTo>
                  <a:pt x="220" y="115"/>
                  <a:pt x="220" y="115"/>
                  <a:pt x="220" y="115"/>
                </a:cubicBezTo>
                <a:cubicBezTo>
                  <a:pt x="218" y="114"/>
                  <a:pt x="218" y="114"/>
                  <a:pt x="218" y="114"/>
                </a:cubicBezTo>
                <a:cubicBezTo>
                  <a:pt x="219" y="114"/>
                  <a:pt x="219" y="114"/>
                  <a:pt x="219" y="114"/>
                </a:cubicBezTo>
                <a:cubicBezTo>
                  <a:pt x="219" y="113"/>
                  <a:pt x="219" y="113"/>
                  <a:pt x="219" y="113"/>
                </a:cubicBezTo>
                <a:cubicBezTo>
                  <a:pt x="219" y="114"/>
                  <a:pt x="219" y="114"/>
                  <a:pt x="219" y="114"/>
                </a:cubicBezTo>
                <a:cubicBezTo>
                  <a:pt x="220" y="115"/>
                  <a:pt x="220" y="115"/>
                  <a:pt x="220" y="115"/>
                </a:cubicBezTo>
                <a:cubicBezTo>
                  <a:pt x="221" y="115"/>
                  <a:pt x="221" y="115"/>
                  <a:pt x="221" y="115"/>
                </a:cubicBezTo>
                <a:cubicBezTo>
                  <a:pt x="222" y="114"/>
                  <a:pt x="222" y="114"/>
                  <a:pt x="222" y="114"/>
                </a:cubicBezTo>
                <a:cubicBezTo>
                  <a:pt x="223" y="114"/>
                  <a:pt x="223" y="114"/>
                  <a:pt x="223" y="114"/>
                </a:cubicBezTo>
                <a:cubicBezTo>
                  <a:pt x="223" y="114"/>
                  <a:pt x="223" y="114"/>
                  <a:pt x="223" y="114"/>
                </a:cubicBezTo>
                <a:cubicBezTo>
                  <a:pt x="224" y="115"/>
                  <a:pt x="224" y="115"/>
                  <a:pt x="224" y="115"/>
                </a:cubicBezTo>
                <a:cubicBezTo>
                  <a:pt x="223" y="116"/>
                  <a:pt x="223" y="116"/>
                  <a:pt x="223" y="116"/>
                </a:cubicBezTo>
                <a:cubicBezTo>
                  <a:pt x="222" y="116"/>
                  <a:pt x="222" y="116"/>
                  <a:pt x="222" y="116"/>
                </a:cubicBezTo>
                <a:cubicBezTo>
                  <a:pt x="222" y="117"/>
                  <a:pt x="222" y="117"/>
                  <a:pt x="222" y="117"/>
                </a:cubicBezTo>
                <a:cubicBezTo>
                  <a:pt x="222" y="117"/>
                  <a:pt x="222" y="117"/>
                  <a:pt x="222" y="117"/>
                </a:cubicBezTo>
                <a:cubicBezTo>
                  <a:pt x="224" y="116"/>
                  <a:pt x="224" y="116"/>
                  <a:pt x="224" y="116"/>
                </a:cubicBezTo>
                <a:cubicBezTo>
                  <a:pt x="225" y="115"/>
                  <a:pt x="225" y="115"/>
                  <a:pt x="225" y="115"/>
                </a:cubicBezTo>
                <a:cubicBezTo>
                  <a:pt x="227" y="112"/>
                  <a:pt x="227" y="112"/>
                  <a:pt x="227" y="112"/>
                </a:cubicBezTo>
                <a:cubicBezTo>
                  <a:pt x="228" y="110"/>
                  <a:pt x="228" y="110"/>
                  <a:pt x="228" y="110"/>
                </a:cubicBezTo>
                <a:cubicBezTo>
                  <a:pt x="229" y="108"/>
                  <a:pt x="229" y="108"/>
                  <a:pt x="229" y="108"/>
                </a:cubicBezTo>
                <a:cubicBezTo>
                  <a:pt x="229" y="107"/>
                  <a:pt x="229" y="107"/>
                  <a:pt x="229" y="107"/>
                </a:cubicBezTo>
                <a:cubicBezTo>
                  <a:pt x="230" y="105"/>
                  <a:pt x="230" y="105"/>
                  <a:pt x="230" y="105"/>
                </a:cubicBezTo>
                <a:cubicBezTo>
                  <a:pt x="231" y="103"/>
                  <a:pt x="231" y="103"/>
                  <a:pt x="231" y="103"/>
                </a:cubicBezTo>
                <a:cubicBezTo>
                  <a:pt x="234" y="101"/>
                  <a:pt x="234" y="101"/>
                  <a:pt x="234" y="101"/>
                </a:cubicBezTo>
                <a:cubicBezTo>
                  <a:pt x="235" y="100"/>
                  <a:pt x="235" y="100"/>
                  <a:pt x="235" y="100"/>
                </a:cubicBezTo>
                <a:cubicBezTo>
                  <a:pt x="236" y="100"/>
                  <a:pt x="236" y="100"/>
                  <a:pt x="236" y="100"/>
                </a:cubicBezTo>
                <a:cubicBezTo>
                  <a:pt x="237" y="99"/>
                  <a:pt x="237" y="99"/>
                  <a:pt x="237" y="99"/>
                </a:cubicBezTo>
                <a:cubicBezTo>
                  <a:pt x="239" y="96"/>
                  <a:pt x="239" y="96"/>
                  <a:pt x="239" y="96"/>
                </a:cubicBezTo>
                <a:cubicBezTo>
                  <a:pt x="242" y="93"/>
                  <a:pt x="242" y="93"/>
                  <a:pt x="242" y="93"/>
                </a:cubicBezTo>
                <a:cubicBezTo>
                  <a:pt x="243" y="92"/>
                  <a:pt x="243" y="92"/>
                  <a:pt x="243" y="92"/>
                </a:cubicBezTo>
                <a:cubicBezTo>
                  <a:pt x="244" y="88"/>
                  <a:pt x="244" y="88"/>
                  <a:pt x="244" y="88"/>
                </a:cubicBezTo>
                <a:cubicBezTo>
                  <a:pt x="244" y="87"/>
                  <a:pt x="244" y="87"/>
                  <a:pt x="244" y="87"/>
                </a:cubicBezTo>
                <a:cubicBezTo>
                  <a:pt x="245" y="86"/>
                  <a:pt x="245" y="86"/>
                  <a:pt x="245" y="86"/>
                </a:cubicBezTo>
                <a:cubicBezTo>
                  <a:pt x="245" y="85"/>
                  <a:pt x="245" y="85"/>
                  <a:pt x="245" y="85"/>
                </a:cubicBezTo>
                <a:cubicBezTo>
                  <a:pt x="244" y="83"/>
                  <a:pt x="244" y="83"/>
                  <a:pt x="244" y="83"/>
                </a:cubicBezTo>
                <a:cubicBezTo>
                  <a:pt x="245" y="82"/>
                  <a:pt x="245" y="82"/>
                  <a:pt x="245" y="82"/>
                </a:cubicBezTo>
                <a:cubicBezTo>
                  <a:pt x="245" y="82"/>
                  <a:pt x="245" y="82"/>
                  <a:pt x="245" y="82"/>
                </a:cubicBezTo>
                <a:cubicBezTo>
                  <a:pt x="245" y="78"/>
                  <a:pt x="245" y="78"/>
                  <a:pt x="245" y="78"/>
                </a:cubicBezTo>
                <a:cubicBezTo>
                  <a:pt x="245" y="78"/>
                  <a:pt x="245" y="78"/>
                  <a:pt x="245" y="78"/>
                </a:cubicBezTo>
                <a:cubicBezTo>
                  <a:pt x="244" y="76"/>
                  <a:pt x="244" y="76"/>
                  <a:pt x="244" y="76"/>
                </a:cubicBezTo>
                <a:cubicBezTo>
                  <a:pt x="242" y="72"/>
                  <a:pt x="242" y="72"/>
                  <a:pt x="242" y="72"/>
                </a:cubicBezTo>
                <a:cubicBezTo>
                  <a:pt x="242" y="70"/>
                  <a:pt x="242" y="70"/>
                  <a:pt x="242" y="70"/>
                </a:cubicBezTo>
                <a:cubicBezTo>
                  <a:pt x="242" y="68"/>
                  <a:pt x="242" y="68"/>
                  <a:pt x="242" y="68"/>
                </a:cubicBezTo>
                <a:cubicBezTo>
                  <a:pt x="238" y="66"/>
                  <a:pt x="238" y="66"/>
                  <a:pt x="238" y="66"/>
                </a:cubicBezTo>
                <a:cubicBezTo>
                  <a:pt x="235" y="66"/>
                  <a:pt x="235" y="66"/>
                  <a:pt x="235" y="66"/>
                </a:cubicBezTo>
                <a:cubicBezTo>
                  <a:pt x="234" y="67"/>
                  <a:pt x="234" y="67"/>
                  <a:pt x="234" y="67"/>
                </a:cubicBezTo>
                <a:cubicBezTo>
                  <a:pt x="232" y="65"/>
                  <a:pt x="232" y="65"/>
                  <a:pt x="232" y="65"/>
                </a:cubicBezTo>
                <a:cubicBezTo>
                  <a:pt x="231" y="65"/>
                  <a:pt x="231" y="65"/>
                  <a:pt x="231" y="65"/>
                </a:cubicBezTo>
                <a:cubicBezTo>
                  <a:pt x="230" y="64"/>
                  <a:pt x="230" y="64"/>
                  <a:pt x="230" y="64"/>
                </a:cubicBezTo>
                <a:cubicBezTo>
                  <a:pt x="228" y="63"/>
                  <a:pt x="228" y="63"/>
                  <a:pt x="228" y="63"/>
                </a:cubicBezTo>
                <a:cubicBezTo>
                  <a:pt x="227" y="62"/>
                  <a:pt x="227" y="62"/>
                  <a:pt x="227" y="62"/>
                </a:cubicBezTo>
                <a:cubicBezTo>
                  <a:pt x="224" y="59"/>
                  <a:pt x="224" y="59"/>
                  <a:pt x="224" y="59"/>
                </a:cubicBezTo>
                <a:cubicBezTo>
                  <a:pt x="222" y="56"/>
                  <a:pt x="222" y="56"/>
                  <a:pt x="222" y="56"/>
                </a:cubicBezTo>
                <a:cubicBezTo>
                  <a:pt x="220" y="56"/>
                  <a:pt x="220" y="56"/>
                  <a:pt x="220" y="56"/>
                </a:cubicBezTo>
                <a:cubicBezTo>
                  <a:pt x="219" y="55"/>
                  <a:pt x="219" y="55"/>
                  <a:pt x="219" y="55"/>
                </a:cubicBezTo>
                <a:cubicBezTo>
                  <a:pt x="218" y="55"/>
                  <a:pt x="218" y="55"/>
                  <a:pt x="218" y="55"/>
                </a:cubicBezTo>
                <a:cubicBezTo>
                  <a:pt x="214" y="52"/>
                  <a:pt x="214" y="52"/>
                  <a:pt x="214" y="52"/>
                </a:cubicBezTo>
                <a:cubicBezTo>
                  <a:pt x="212" y="52"/>
                  <a:pt x="212" y="52"/>
                  <a:pt x="212" y="52"/>
                </a:cubicBezTo>
                <a:cubicBezTo>
                  <a:pt x="210" y="51"/>
                  <a:pt x="210" y="51"/>
                  <a:pt x="210" y="51"/>
                </a:cubicBezTo>
                <a:cubicBezTo>
                  <a:pt x="209" y="52"/>
                  <a:pt x="209" y="52"/>
                  <a:pt x="209" y="52"/>
                </a:cubicBezTo>
                <a:cubicBezTo>
                  <a:pt x="207" y="52"/>
                  <a:pt x="207" y="52"/>
                  <a:pt x="207" y="52"/>
                </a:cubicBezTo>
                <a:cubicBezTo>
                  <a:pt x="206" y="51"/>
                  <a:pt x="206" y="51"/>
                  <a:pt x="206" y="51"/>
                </a:cubicBezTo>
                <a:cubicBezTo>
                  <a:pt x="205" y="52"/>
                  <a:pt x="205" y="52"/>
                  <a:pt x="205" y="52"/>
                </a:cubicBezTo>
                <a:cubicBezTo>
                  <a:pt x="204" y="53"/>
                  <a:pt x="204" y="53"/>
                  <a:pt x="204" y="53"/>
                </a:cubicBezTo>
                <a:cubicBezTo>
                  <a:pt x="204" y="52"/>
                  <a:pt x="204" y="52"/>
                  <a:pt x="204" y="52"/>
                </a:cubicBezTo>
                <a:cubicBezTo>
                  <a:pt x="202" y="51"/>
                  <a:pt x="202" y="51"/>
                  <a:pt x="202" y="51"/>
                </a:cubicBezTo>
                <a:cubicBezTo>
                  <a:pt x="202" y="51"/>
                  <a:pt x="202" y="51"/>
                  <a:pt x="202" y="51"/>
                </a:cubicBezTo>
                <a:cubicBezTo>
                  <a:pt x="201" y="51"/>
                  <a:pt x="201" y="51"/>
                  <a:pt x="201" y="51"/>
                </a:cubicBezTo>
                <a:cubicBezTo>
                  <a:pt x="201" y="51"/>
                  <a:pt x="201" y="51"/>
                  <a:pt x="201" y="51"/>
                </a:cubicBezTo>
                <a:cubicBezTo>
                  <a:pt x="201" y="52"/>
                  <a:pt x="201" y="52"/>
                  <a:pt x="201" y="52"/>
                </a:cubicBezTo>
                <a:cubicBezTo>
                  <a:pt x="200" y="51"/>
                  <a:pt x="200" y="51"/>
                  <a:pt x="200" y="51"/>
                </a:cubicBezTo>
                <a:cubicBezTo>
                  <a:pt x="199" y="51"/>
                  <a:pt x="199" y="51"/>
                  <a:pt x="199" y="51"/>
                </a:cubicBezTo>
                <a:cubicBezTo>
                  <a:pt x="199" y="50"/>
                  <a:pt x="199" y="50"/>
                  <a:pt x="199" y="50"/>
                </a:cubicBezTo>
                <a:cubicBezTo>
                  <a:pt x="199" y="51"/>
                  <a:pt x="199" y="51"/>
                  <a:pt x="199" y="51"/>
                </a:cubicBezTo>
                <a:cubicBezTo>
                  <a:pt x="199" y="51"/>
                  <a:pt x="199" y="51"/>
                  <a:pt x="199" y="51"/>
                </a:cubicBezTo>
                <a:cubicBezTo>
                  <a:pt x="197" y="50"/>
                  <a:pt x="197" y="50"/>
                  <a:pt x="197" y="50"/>
                </a:cubicBezTo>
                <a:cubicBezTo>
                  <a:pt x="196" y="51"/>
                  <a:pt x="196" y="51"/>
                  <a:pt x="196" y="51"/>
                </a:cubicBezTo>
                <a:cubicBezTo>
                  <a:pt x="195" y="50"/>
                  <a:pt x="195" y="50"/>
                  <a:pt x="195" y="50"/>
                </a:cubicBezTo>
                <a:cubicBezTo>
                  <a:pt x="191" y="49"/>
                  <a:pt x="191" y="49"/>
                  <a:pt x="191" y="49"/>
                </a:cubicBezTo>
                <a:cubicBezTo>
                  <a:pt x="190" y="49"/>
                  <a:pt x="190" y="49"/>
                  <a:pt x="190" y="49"/>
                </a:cubicBezTo>
                <a:cubicBezTo>
                  <a:pt x="190" y="49"/>
                  <a:pt x="190" y="49"/>
                  <a:pt x="190" y="49"/>
                </a:cubicBezTo>
                <a:cubicBezTo>
                  <a:pt x="190" y="50"/>
                  <a:pt x="190" y="50"/>
                  <a:pt x="190" y="50"/>
                </a:cubicBezTo>
                <a:cubicBezTo>
                  <a:pt x="190" y="50"/>
                  <a:pt x="190" y="50"/>
                  <a:pt x="190" y="50"/>
                </a:cubicBezTo>
                <a:cubicBezTo>
                  <a:pt x="189" y="50"/>
                  <a:pt x="189" y="50"/>
                  <a:pt x="189" y="50"/>
                </a:cubicBezTo>
                <a:cubicBezTo>
                  <a:pt x="189" y="50"/>
                  <a:pt x="189" y="50"/>
                  <a:pt x="189" y="50"/>
                </a:cubicBezTo>
                <a:cubicBezTo>
                  <a:pt x="188" y="50"/>
                  <a:pt x="188" y="50"/>
                  <a:pt x="188" y="50"/>
                </a:cubicBezTo>
                <a:cubicBezTo>
                  <a:pt x="187" y="51"/>
                  <a:pt x="187" y="51"/>
                  <a:pt x="187" y="51"/>
                </a:cubicBezTo>
                <a:cubicBezTo>
                  <a:pt x="187" y="52"/>
                  <a:pt x="187" y="52"/>
                  <a:pt x="187" y="52"/>
                </a:cubicBezTo>
                <a:cubicBezTo>
                  <a:pt x="187" y="53"/>
                  <a:pt x="187" y="53"/>
                  <a:pt x="187" y="53"/>
                </a:cubicBezTo>
                <a:cubicBezTo>
                  <a:pt x="186" y="52"/>
                  <a:pt x="186" y="52"/>
                  <a:pt x="186" y="52"/>
                </a:cubicBezTo>
                <a:cubicBezTo>
                  <a:pt x="186" y="51"/>
                  <a:pt x="186" y="51"/>
                  <a:pt x="186" y="51"/>
                </a:cubicBezTo>
                <a:cubicBezTo>
                  <a:pt x="185" y="51"/>
                  <a:pt x="185" y="51"/>
                  <a:pt x="185" y="51"/>
                </a:cubicBezTo>
                <a:cubicBezTo>
                  <a:pt x="185" y="53"/>
                  <a:pt x="185" y="53"/>
                  <a:pt x="185" y="53"/>
                </a:cubicBezTo>
                <a:cubicBezTo>
                  <a:pt x="184" y="55"/>
                  <a:pt x="184" y="55"/>
                  <a:pt x="184" y="55"/>
                </a:cubicBezTo>
                <a:cubicBezTo>
                  <a:pt x="184" y="56"/>
                  <a:pt x="184" y="56"/>
                  <a:pt x="184" y="56"/>
                </a:cubicBezTo>
                <a:cubicBezTo>
                  <a:pt x="184" y="55"/>
                  <a:pt x="184" y="55"/>
                  <a:pt x="184" y="55"/>
                </a:cubicBezTo>
                <a:cubicBezTo>
                  <a:pt x="184" y="53"/>
                  <a:pt x="184" y="53"/>
                  <a:pt x="184" y="53"/>
                </a:cubicBezTo>
                <a:cubicBezTo>
                  <a:pt x="184" y="52"/>
                  <a:pt x="184" y="52"/>
                  <a:pt x="184" y="52"/>
                </a:cubicBezTo>
                <a:cubicBezTo>
                  <a:pt x="184" y="50"/>
                  <a:pt x="184" y="50"/>
                  <a:pt x="184" y="50"/>
                </a:cubicBezTo>
                <a:cubicBezTo>
                  <a:pt x="185" y="49"/>
                  <a:pt x="185" y="49"/>
                  <a:pt x="185" y="49"/>
                </a:cubicBezTo>
                <a:cubicBezTo>
                  <a:pt x="185" y="49"/>
                  <a:pt x="185" y="49"/>
                  <a:pt x="185" y="49"/>
                </a:cubicBezTo>
                <a:cubicBezTo>
                  <a:pt x="184" y="49"/>
                  <a:pt x="184" y="49"/>
                  <a:pt x="184" y="49"/>
                </a:cubicBezTo>
                <a:cubicBezTo>
                  <a:pt x="185" y="47"/>
                  <a:pt x="185" y="47"/>
                  <a:pt x="185" y="47"/>
                </a:cubicBezTo>
                <a:cubicBezTo>
                  <a:pt x="183" y="45"/>
                  <a:pt x="183" y="45"/>
                  <a:pt x="183" y="45"/>
                </a:cubicBezTo>
                <a:cubicBezTo>
                  <a:pt x="182" y="44"/>
                  <a:pt x="182" y="44"/>
                  <a:pt x="182" y="44"/>
                </a:cubicBezTo>
                <a:cubicBezTo>
                  <a:pt x="181" y="44"/>
                  <a:pt x="181" y="44"/>
                  <a:pt x="181" y="44"/>
                </a:cubicBezTo>
                <a:cubicBezTo>
                  <a:pt x="180" y="44"/>
                  <a:pt x="180" y="44"/>
                  <a:pt x="180" y="44"/>
                </a:cubicBezTo>
                <a:cubicBezTo>
                  <a:pt x="179" y="45"/>
                  <a:pt x="179" y="45"/>
                  <a:pt x="179" y="45"/>
                </a:cubicBezTo>
                <a:cubicBezTo>
                  <a:pt x="178" y="45"/>
                  <a:pt x="178" y="45"/>
                  <a:pt x="178" y="45"/>
                </a:cubicBezTo>
                <a:cubicBezTo>
                  <a:pt x="178" y="44"/>
                  <a:pt x="178" y="44"/>
                  <a:pt x="178" y="44"/>
                </a:cubicBezTo>
                <a:cubicBezTo>
                  <a:pt x="177" y="44"/>
                  <a:pt x="177" y="44"/>
                  <a:pt x="177" y="44"/>
                </a:cubicBezTo>
                <a:cubicBezTo>
                  <a:pt x="177" y="43"/>
                  <a:pt x="177" y="43"/>
                  <a:pt x="177" y="43"/>
                </a:cubicBezTo>
                <a:cubicBezTo>
                  <a:pt x="176" y="42"/>
                  <a:pt x="176" y="42"/>
                  <a:pt x="176" y="42"/>
                </a:cubicBezTo>
                <a:cubicBezTo>
                  <a:pt x="175" y="42"/>
                  <a:pt x="175" y="42"/>
                  <a:pt x="175" y="42"/>
                </a:cubicBezTo>
                <a:cubicBezTo>
                  <a:pt x="175" y="42"/>
                  <a:pt x="175" y="42"/>
                  <a:pt x="175" y="42"/>
                </a:cubicBezTo>
                <a:cubicBezTo>
                  <a:pt x="174" y="41"/>
                  <a:pt x="174" y="41"/>
                  <a:pt x="174" y="41"/>
                </a:cubicBezTo>
                <a:cubicBezTo>
                  <a:pt x="173" y="42"/>
                  <a:pt x="173" y="42"/>
                  <a:pt x="173" y="42"/>
                </a:cubicBezTo>
                <a:cubicBezTo>
                  <a:pt x="173" y="41"/>
                  <a:pt x="173" y="41"/>
                  <a:pt x="173" y="41"/>
                </a:cubicBezTo>
                <a:cubicBezTo>
                  <a:pt x="173" y="41"/>
                  <a:pt x="173" y="41"/>
                  <a:pt x="173" y="41"/>
                </a:cubicBezTo>
                <a:cubicBezTo>
                  <a:pt x="172" y="40"/>
                  <a:pt x="172" y="40"/>
                  <a:pt x="172" y="40"/>
                </a:cubicBezTo>
                <a:cubicBezTo>
                  <a:pt x="171" y="40"/>
                  <a:pt x="171" y="40"/>
                  <a:pt x="171" y="40"/>
                </a:cubicBezTo>
                <a:cubicBezTo>
                  <a:pt x="170" y="40"/>
                  <a:pt x="170" y="40"/>
                  <a:pt x="170" y="40"/>
                </a:cubicBezTo>
                <a:cubicBezTo>
                  <a:pt x="168" y="39"/>
                  <a:pt x="168" y="39"/>
                  <a:pt x="168" y="39"/>
                </a:cubicBezTo>
                <a:cubicBezTo>
                  <a:pt x="168" y="39"/>
                  <a:pt x="168" y="39"/>
                  <a:pt x="168" y="39"/>
                </a:cubicBezTo>
                <a:cubicBezTo>
                  <a:pt x="167" y="39"/>
                  <a:pt x="167" y="39"/>
                  <a:pt x="167" y="39"/>
                </a:cubicBezTo>
                <a:cubicBezTo>
                  <a:pt x="166" y="39"/>
                  <a:pt x="166" y="39"/>
                  <a:pt x="166" y="39"/>
                </a:cubicBezTo>
                <a:cubicBezTo>
                  <a:pt x="165" y="39"/>
                  <a:pt x="165" y="39"/>
                  <a:pt x="165" y="39"/>
                </a:cubicBezTo>
                <a:cubicBezTo>
                  <a:pt x="165" y="40"/>
                  <a:pt x="165" y="40"/>
                  <a:pt x="165" y="40"/>
                </a:cubicBezTo>
                <a:cubicBezTo>
                  <a:pt x="165" y="40"/>
                  <a:pt x="165" y="40"/>
                  <a:pt x="165" y="40"/>
                </a:cubicBezTo>
                <a:cubicBezTo>
                  <a:pt x="164" y="39"/>
                  <a:pt x="164" y="39"/>
                  <a:pt x="164" y="39"/>
                </a:cubicBezTo>
                <a:cubicBezTo>
                  <a:pt x="163" y="39"/>
                  <a:pt x="163" y="39"/>
                  <a:pt x="163" y="39"/>
                </a:cubicBezTo>
                <a:cubicBezTo>
                  <a:pt x="162" y="39"/>
                  <a:pt x="162" y="39"/>
                  <a:pt x="162" y="39"/>
                </a:cubicBezTo>
                <a:cubicBezTo>
                  <a:pt x="161" y="41"/>
                  <a:pt x="161" y="41"/>
                  <a:pt x="161" y="41"/>
                </a:cubicBezTo>
                <a:cubicBezTo>
                  <a:pt x="161" y="41"/>
                  <a:pt x="161" y="41"/>
                  <a:pt x="161" y="41"/>
                </a:cubicBezTo>
                <a:cubicBezTo>
                  <a:pt x="160" y="43"/>
                  <a:pt x="160" y="43"/>
                  <a:pt x="160" y="43"/>
                </a:cubicBezTo>
                <a:cubicBezTo>
                  <a:pt x="158" y="44"/>
                  <a:pt x="158" y="44"/>
                  <a:pt x="158" y="44"/>
                </a:cubicBezTo>
                <a:cubicBezTo>
                  <a:pt x="156" y="45"/>
                  <a:pt x="156" y="45"/>
                  <a:pt x="156" y="45"/>
                </a:cubicBezTo>
                <a:cubicBezTo>
                  <a:pt x="155" y="46"/>
                  <a:pt x="155" y="46"/>
                  <a:pt x="155" y="46"/>
                </a:cubicBezTo>
                <a:cubicBezTo>
                  <a:pt x="154" y="48"/>
                  <a:pt x="154" y="48"/>
                  <a:pt x="154" y="48"/>
                </a:cubicBezTo>
                <a:cubicBezTo>
                  <a:pt x="154" y="50"/>
                  <a:pt x="154" y="50"/>
                  <a:pt x="154" y="50"/>
                </a:cubicBezTo>
                <a:cubicBezTo>
                  <a:pt x="153" y="51"/>
                  <a:pt x="153" y="51"/>
                  <a:pt x="153" y="51"/>
                </a:cubicBezTo>
                <a:cubicBezTo>
                  <a:pt x="152" y="52"/>
                  <a:pt x="152" y="52"/>
                  <a:pt x="152" y="52"/>
                </a:cubicBezTo>
                <a:cubicBezTo>
                  <a:pt x="152" y="53"/>
                  <a:pt x="152" y="53"/>
                  <a:pt x="152" y="53"/>
                </a:cubicBezTo>
                <a:cubicBezTo>
                  <a:pt x="152" y="54"/>
                  <a:pt x="152" y="54"/>
                  <a:pt x="152" y="54"/>
                </a:cubicBezTo>
                <a:cubicBezTo>
                  <a:pt x="152" y="56"/>
                  <a:pt x="152" y="56"/>
                  <a:pt x="152" y="56"/>
                </a:cubicBezTo>
                <a:cubicBezTo>
                  <a:pt x="152" y="55"/>
                  <a:pt x="152" y="55"/>
                  <a:pt x="152" y="55"/>
                </a:cubicBezTo>
                <a:cubicBezTo>
                  <a:pt x="151" y="53"/>
                  <a:pt x="151" y="53"/>
                  <a:pt x="151" y="53"/>
                </a:cubicBezTo>
                <a:cubicBezTo>
                  <a:pt x="151" y="52"/>
                  <a:pt x="151" y="52"/>
                  <a:pt x="151" y="52"/>
                </a:cubicBezTo>
                <a:cubicBezTo>
                  <a:pt x="152" y="51"/>
                  <a:pt x="152" y="51"/>
                  <a:pt x="152" y="51"/>
                </a:cubicBezTo>
                <a:cubicBezTo>
                  <a:pt x="153" y="50"/>
                  <a:pt x="153" y="50"/>
                  <a:pt x="153" y="50"/>
                </a:cubicBezTo>
                <a:cubicBezTo>
                  <a:pt x="153" y="49"/>
                  <a:pt x="153" y="49"/>
                  <a:pt x="153" y="49"/>
                </a:cubicBezTo>
                <a:cubicBezTo>
                  <a:pt x="153" y="47"/>
                  <a:pt x="153" y="47"/>
                  <a:pt x="153" y="47"/>
                </a:cubicBezTo>
                <a:cubicBezTo>
                  <a:pt x="153" y="46"/>
                  <a:pt x="153" y="46"/>
                  <a:pt x="153" y="46"/>
                </a:cubicBezTo>
                <a:cubicBezTo>
                  <a:pt x="152" y="46"/>
                  <a:pt x="152" y="46"/>
                  <a:pt x="152" y="46"/>
                </a:cubicBezTo>
                <a:cubicBezTo>
                  <a:pt x="151" y="47"/>
                  <a:pt x="151" y="47"/>
                  <a:pt x="151" y="47"/>
                </a:cubicBezTo>
                <a:cubicBezTo>
                  <a:pt x="149" y="47"/>
                  <a:pt x="149" y="47"/>
                  <a:pt x="149" y="47"/>
                </a:cubicBezTo>
                <a:cubicBezTo>
                  <a:pt x="148" y="47"/>
                  <a:pt x="148" y="47"/>
                  <a:pt x="148" y="47"/>
                </a:cubicBezTo>
                <a:cubicBezTo>
                  <a:pt x="147" y="47"/>
                  <a:pt x="147" y="47"/>
                  <a:pt x="147" y="47"/>
                </a:cubicBezTo>
                <a:cubicBezTo>
                  <a:pt x="146" y="46"/>
                  <a:pt x="146" y="46"/>
                  <a:pt x="146" y="46"/>
                </a:cubicBezTo>
                <a:cubicBezTo>
                  <a:pt x="147" y="46"/>
                  <a:pt x="147" y="46"/>
                  <a:pt x="147" y="46"/>
                </a:cubicBezTo>
                <a:cubicBezTo>
                  <a:pt x="148" y="46"/>
                  <a:pt x="148" y="46"/>
                  <a:pt x="148" y="46"/>
                </a:cubicBezTo>
                <a:cubicBezTo>
                  <a:pt x="149" y="45"/>
                  <a:pt x="149" y="45"/>
                  <a:pt x="149" y="45"/>
                </a:cubicBezTo>
                <a:cubicBezTo>
                  <a:pt x="151" y="46"/>
                  <a:pt x="151" y="46"/>
                  <a:pt x="151" y="46"/>
                </a:cubicBezTo>
                <a:cubicBezTo>
                  <a:pt x="152" y="45"/>
                  <a:pt x="152" y="45"/>
                  <a:pt x="152" y="45"/>
                </a:cubicBezTo>
                <a:cubicBezTo>
                  <a:pt x="153" y="44"/>
                  <a:pt x="153" y="44"/>
                  <a:pt x="153" y="44"/>
                </a:cubicBezTo>
                <a:cubicBezTo>
                  <a:pt x="153" y="44"/>
                  <a:pt x="153" y="44"/>
                  <a:pt x="153" y="44"/>
                </a:cubicBezTo>
                <a:cubicBezTo>
                  <a:pt x="154" y="45"/>
                  <a:pt x="154" y="45"/>
                  <a:pt x="154" y="45"/>
                </a:cubicBezTo>
                <a:cubicBezTo>
                  <a:pt x="155" y="44"/>
                  <a:pt x="155" y="44"/>
                  <a:pt x="155" y="44"/>
                </a:cubicBezTo>
                <a:cubicBezTo>
                  <a:pt x="156" y="44"/>
                  <a:pt x="156" y="44"/>
                  <a:pt x="156" y="44"/>
                </a:cubicBezTo>
                <a:cubicBezTo>
                  <a:pt x="157" y="43"/>
                  <a:pt x="157" y="43"/>
                  <a:pt x="157" y="43"/>
                </a:cubicBezTo>
                <a:cubicBezTo>
                  <a:pt x="157" y="42"/>
                  <a:pt x="157" y="42"/>
                  <a:pt x="157" y="42"/>
                </a:cubicBezTo>
                <a:cubicBezTo>
                  <a:pt x="159" y="40"/>
                  <a:pt x="159" y="40"/>
                  <a:pt x="159" y="40"/>
                </a:cubicBezTo>
                <a:cubicBezTo>
                  <a:pt x="159" y="38"/>
                  <a:pt x="159" y="38"/>
                  <a:pt x="159" y="38"/>
                </a:cubicBezTo>
                <a:cubicBezTo>
                  <a:pt x="160" y="37"/>
                  <a:pt x="160" y="37"/>
                  <a:pt x="160" y="37"/>
                </a:cubicBezTo>
                <a:cubicBezTo>
                  <a:pt x="160" y="36"/>
                  <a:pt x="160" y="36"/>
                  <a:pt x="160" y="36"/>
                </a:cubicBezTo>
                <a:cubicBezTo>
                  <a:pt x="158" y="36"/>
                  <a:pt x="158" y="36"/>
                  <a:pt x="158" y="36"/>
                </a:cubicBezTo>
                <a:cubicBezTo>
                  <a:pt x="157" y="35"/>
                  <a:pt x="157" y="35"/>
                  <a:pt x="157" y="35"/>
                </a:cubicBezTo>
                <a:cubicBezTo>
                  <a:pt x="155" y="35"/>
                  <a:pt x="155" y="35"/>
                  <a:pt x="155" y="35"/>
                </a:cubicBezTo>
                <a:cubicBezTo>
                  <a:pt x="154" y="36"/>
                  <a:pt x="154" y="36"/>
                  <a:pt x="154" y="36"/>
                </a:cubicBezTo>
                <a:cubicBezTo>
                  <a:pt x="152" y="36"/>
                  <a:pt x="152" y="36"/>
                  <a:pt x="152" y="36"/>
                </a:cubicBezTo>
                <a:cubicBezTo>
                  <a:pt x="150" y="35"/>
                  <a:pt x="150" y="35"/>
                  <a:pt x="150" y="35"/>
                </a:cubicBezTo>
                <a:cubicBezTo>
                  <a:pt x="148" y="35"/>
                  <a:pt x="148" y="35"/>
                  <a:pt x="148" y="35"/>
                </a:cubicBezTo>
                <a:cubicBezTo>
                  <a:pt x="146" y="37"/>
                  <a:pt x="146" y="37"/>
                  <a:pt x="146" y="37"/>
                </a:cubicBezTo>
                <a:cubicBezTo>
                  <a:pt x="146" y="38"/>
                  <a:pt x="146" y="38"/>
                  <a:pt x="146" y="38"/>
                </a:cubicBezTo>
                <a:cubicBezTo>
                  <a:pt x="147" y="38"/>
                  <a:pt x="147" y="38"/>
                  <a:pt x="147" y="38"/>
                </a:cubicBezTo>
                <a:cubicBezTo>
                  <a:pt x="147" y="39"/>
                  <a:pt x="147" y="39"/>
                  <a:pt x="147" y="39"/>
                </a:cubicBezTo>
                <a:cubicBezTo>
                  <a:pt x="146" y="39"/>
                  <a:pt x="146" y="39"/>
                  <a:pt x="146" y="39"/>
                </a:cubicBezTo>
                <a:cubicBezTo>
                  <a:pt x="146" y="39"/>
                  <a:pt x="146" y="39"/>
                  <a:pt x="146" y="39"/>
                </a:cubicBezTo>
                <a:cubicBezTo>
                  <a:pt x="145" y="40"/>
                  <a:pt x="145" y="40"/>
                  <a:pt x="145" y="40"/>
                </a:cubicBezTo>
                <a:cubicBezTo>
                  <a:pt x="145" y="39"/>
                  <a:pt x="145" y="39"/>
                  <a:pt x="145" y="39"/>
                </a:cubicBezTo>
                <a:cubicBezTo>
                  <a:pt x="144" y="39"/>
                  <a:pt x="144" y="39"/>
                  <a:pt x="144" y="39"/>
                </a:cubicBezTo>
                <a:cubicBezTo>
                  <a:pt x="143" y="39"/>
                  <a:pt x="143" y="39"/>
                  <a:pt x="143" y="39"/>
                </a:cubicBezTo>
                <a:cubicBezTo>
                  <a:pt x="141" y="41"/>
                  <a:pt x="141" y="41"/>
                  <a:pt x="141" y="41"/>
                </a:cubicBezTo>
                <a:cubicBezTo>
                  <a:pt x="139" y="44"/>
                  <a:pt x="139" y="44"/>
                  <a:pt x="139" y="44"/>
                </a:cubicBezTo>
                <a:cubicBezTo>
                  <a:pt x="141" y="42"/>
                  <a:pt x="141" y="42"/>
                  <a:pt x="141" y="42"/>
                </a:cubicBezTo>
                <a:cubicBezTo>
                  <a:pt x="141" y="40"/>
                  <a:pt x="141" y="40"/>
                  <a:pt x="141" y="40"/>
                </a:cubicBezTo>
                <a:cubicBezTo>
                  <a:pt x="141" y="40"/>
                  <a:pt x="141" y="40"/>
                  <a:pt x="141" y="40"/>
                </a:cubicBezTo>
                <a:cubicBezTo>
                  <a:pt x="141" y="39"/>
                  <a:pt x="141" y="39"/>
                  <a:pt x="141" y="39"/>
                </a:cubicBezTo>
                <a:cubicBezTo>
                  <a:pt x="141" y="39"/>
                  <a:pt x="141" y="39"/>
                  <a:pt x="141" y="39"/>
                </a:cubicBezTo>
                <a:cubicBezTo>
                  <a:pt x="139" y="40"/>
                  <a:pt x="139" y="40"/>
                  <a:pt x="139" y="40"/>
                </a:cubicBezTo>
                <a:cubicBezTo>
                  <a:pt x="139" y="41"/>
                  <a:pt x="139" y="41"/>
                  <a:pt x="139" y="41"/>
                </a:cubicBezTo>
                <a:cubicBezTo>
                  <a:pt x="138" y="43"/>
                  <a:pt x="138" y="43"/>
                  <a:pt x="138" y="43"/>
                </a:cubicBezTo>
                <a:cubicBezTo>
                  <a:pt x="137" y="43"/>
                  <a:pt x="137" y="43"/>
                  <a:pt x="137" y="43"/>
                </a:cubicBezTo>
                <a:cubicBezTo>
                  <a:pt x="138" y="42"/>
                  <a:pt x="138" y="42"/>
                  <a:pt x="138" y="42"/>
                </a:cubicBezTo>
                <a:cubicBezTo>
                  <a:pt x="138" y="40"/>
                  <a:pt x="138" y="40"/>
                  <a:pt x="138" y="40"/>
                </a:cubicBezTo>
                <a:cubicBezTo>
                  <a:pt x="141" y="37"/>
                  <a:pt x="141" y="37"/>
                  <a:pt x="141" y="37"/>
                </a:cubicBezTo>
                <a:cubicBezTo>
                  <a:pt x="141" y="35"/>
                  <a:pt x="141" y="35"/>
                  <a:pt x="141" y="35"/>
                </a:cubicBezTo>
                <a:cubicBezTo>
                  <a:pt x="142" y="34"/>
                  <a:pt x="142" y="34"/>
                  <a:pt x="142" y="34"/>
                </a:cubicBezTo>
                <a:cubicBezTo>
                  <a:pt x="143" y="34"/>
                  <a:pt x="143" y="34"/>
                  <a:pt x="143" y="34"/>
                </a:cubicBezTo>
                <a:cubicBezTo>
                  <a:pt x="144" y="33"/>
                  <a:pt x="144" y="33"/>
                  <a:pt x="144" y="33"/>
                </a:cubicBezTo>
                <a:cubicBezTo>
                  <a:pt x="145" y="32"/>
                  <a:pt x="145" y="32"/>
                  <a:pt x="145" y="32"/>
                </a:cubicBezTo>
                <a:cubicBezTo>
                  <a:pt x="147" y="31"/>
                  <a:pt x="147" y="31"/>
                  <a:pt x="147" y="31"/>
                </a:cubicBezTo>
                <a:cubicBezTo>
                  <a:pt x="149" y="28"/>
                  <a:pt x="149" y="28"/>
                  <a:pt x="149" y="28"/>
                </a:cubicBezTo>
                <a:cubicBezTo>
                  <a:pt x="150" y="27"/>
                  <a:pt x="150" y="27"/>
                  <a:pt x="150" y="27"/>
                </a:cubicBezTo>
                <a:cubicBezTo>
                  <a:pt x="150" y="26"/>
                  <a:pt x="150" y="26"/>
                  <a:pt x="150" y="26"/>
                </a:cubicBezTo>
                <a:cubicBezTo>
                  <a:pt x="150" y="26"/>
                  <a:pt x="150" y="26"/>
                  <a:pt x="150" y="26"/>
                </a:cubicBezTo>
                <a:cubicBezTo>
                  <a:pt x="150" y="25"/>
                  <a:pt x="150" y="25"/>
                  <a:pt x="150" y="25"/>
                </a:cubicBezTo>
                <a:cubicBezTo>
                  <a:pt x="150" y="24"/>
                  <a:pt x="150" y="24"/>
                  <a:pt x="150" y="24"/>
                </a:cubicBezTo>
                <a:cubicBezTo>
                  <a:pt x="150" y="23"/>
                  <a:pt x="150" y="23"/>
                  <a:pt x="150" y="23"/>
                </a:cubicBezTo>
                <a:cubicBezTo>
                  <a:pt x="149" y="22"/>
                  <a:pt x="149" y="22"/>
                  <a:pt x="149" y="22"/>
                </a:cubicBezTo>
                <a:cubicBezTo>
                  <a:pt x="148" y="22"/>
                  <a:pt x="148" y="22"/>
                  <a:pt x="148" y="22"/>
                </a:cubicBezTo>
                <a:cubicBezTo>
                  <a:pt x="147" y="23"/>
                  <a:pt x="147" y="23"/>
                  <a:pt x="147" y="23"/>
                </a:cubicBezTo>
                <a:cubicBezTo>
                  <a:pt x="147" y="22"/>
                  <a:pt x="147" y="22"/>
                  <a:pt x="147" y="22"/>
                </a:cubicBezTo>
                <a:cubicBezTo>
                  <a:pt x="146" y="19"/>
                  <a:pt x="146" y="19"/>
                  <a:pt x="146" y="19"/>
                </a:cubicBezTo>
                <a:cubicBezTo>
                  <a:pt x="145" y="16"/>
                  <a:pt x="145" y="16"/>
                  <a:pt x="145" y="16"/>
                </a:cubicBezTo>
                <a:cubicBezTo>
                  <a:pt x="143" y="14"/>
                  <a:pt x="143" y="14"/>
                  <a:pt x="143" y="14"/>
                </a:cubicBezTo>
                <a:cubicBezTo>
                  <a:pt x="142" y="12"/>
                  <a:pt x="142" y="12"/>
                  <a:pt x="142" y="12"/>
                </a:cubicBezTo>
                <a:cubicBezTo>
                  <a:pt x="142" y="10"/>
                  <a:pt x="142" y="10"/>
                  <a:pt x="142" y="10"/>
                </a:cubicBezTo>
                <a:lnTo>
                  <a:pt x="142" y="9"/>
                </a:lnTo>
                <a:close/>
              </a:path>
            </a:pathLst>
          </a:custGeom>
          <a:solidFill>
            <a:srgbClr val="B3B2B2"/>
          </a:solidFill>
          <a:ln>
            <a:solidFill>
              <a:srgbClr val="B3B2B2"/>
            </a:solidFill>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89" name="Freeform 187">
            <a:extLst>
              <a:ext uri="{FF2B5EF4-FFF2-40B4-BE49-F238E27FC236}">
                <a16:creationId xmlns:a16="http://schemas.microsoft.com/office/drawing/2014/main" id="{F53695C5-84B2-F1CC-F43F-739D717FCDEE}"/>
              </a:ext>
            </a:extLst>
          </p:cNvPr>
          <p:cNvSpPr>
            <a:spLocks/>
          </p:cNvSpPr>
          <p:nvPr userDrawn="1"/>
        </p:nvSpPr>
        <p:spPr bwMode="auto">
          <a:xfrm>
            <a:off x="9825983" y="9019456"/>
            <a:ext cx="177788" cy="257176"/>
          </a:xfrm>
          <a:custGeom>
            <a:avLst/>
            <a:gdLst>
              <a:gd name="T0" fmla="*/ 0 w 56"/>
              <a:gd name="T1" fmla="*/ 66 h 81"/>
              <a:gd name="T2" fmla="*/ 0 w 56"/>
              <a:gd name="T3" fmla="*/ 66 h 81"/>
              <a:gd name="T4" fmla="*/ 3 w 56"/>
              <a:gd name="T5" fmla="*/ 69 h 81"/>
              <a:gd name="T6" fmla="*/ 3 w 56"/>
              <a:gd name="T7" fmla="*/ 72 h 81"/>
              <a:gd name="T8" fmla="*/ 3 w 56"/>
              <a:gd name="T9" fmla="*/ 72 h 81"/>
              <a:gd name="T10" fmla="*/ 6 w 56"/>
              <a:gd name="T11" fmla="*/ 75 h 81"/>
              <a:gd name="T12" fmla="*/ 9 w 56"/>
              <a:gd name="T13" fmla="*/ 75 h 81"/>
              <a:gd name="T14" fmla="*/ 12 w 56"/>
              <a:gd name="T15" fmla="*/ 75 h 81"/>
              <a:gd name="T16" fmla="*/ 15 w 56"/>
              <a:gd name="T17" fmla="*/ 72 h 81"/>
              <a:gd name="T18" fmla="*/ 15 w 56"/>
              <a:gd name="T19" fmla="*/ 72 h 81"/>
              <a:gd name="T20" fmla="*/ 15 w 56"/>
              <a:gd name="T21" fmla="*/ 75 h 81"/>
              <a:gd name="T22" fmla="*/ 18 w 56"/>
              <a:gd name="T23" fmla="*/ 75 h 81"/>
              <a:gd name="T24" fmla="*/ 18 w 56"/>
              <a:gd name="T25" fmla="*/ 81 h 81"/>
              <a:gd name="T26" fmla="*/ 22 w 56"/>
              <a:gd name="T27" fmla="*/ 81 h 81"/>
              <a:gd name="T28" fmla="*/ 25 w 56"/>
              <a:gd name="T29" fmla="*/ 78 h 81"/>
              <a:gd name="T30" fmla="*/ 25 w 56"/>
              <a:gd name="T31" fmla="*/ 75 h 81"/>
              <a:gd name="T32" fmla="*/ 28 w 56"/>
              <a:gd name="T33" fmla="*/ 75 h 81"/>
              <a:gd name="T34" fmla="*/ 31 w 56"/>
              <a:gd name="T35" fmla="*/ 75 h 81"/>
              <a:gd name="T36" fmla="*/ 34 w 56"/>
              <a:gd name="T37" fmla="*/ 69 h 81"/>
              <a:gd name="T38" fmla="*/ 37 w 56"/>
              <a:gd name="T39" fmla="*/ 62 h 81"/>
              <a:gd name="T40" fmla="*/ 40 w 56"/>
              <a:gd name="T41" fmla="*/ 56 h 81"/>
              <a:gd name="T42" fmla="*/ 40 w 56"/>
              <a:gd name="T43" fmla="*/ 53 h 81"/>
              <a:gd name="T44" fmla="*/ 43 w 56"/>
              <a:gd name="T45" fmla="*/ 47 h 81"/>
              <a:gd name="T46" fmla="*/ 50 w 56"/>
              <a:gd name="T47" fmla="*/ 40 h 81"/>
              <a:gd name="T48" fmla="*/ 50 w 56"/>
              <a:gd name="T49" fmla="*/ 37 h 81"/>
              <a:gd name="T50" fmla="*/ 50 w 56"/>
              <a:gd name="T51" fmla="*/ 37 h 81"/>
              <a:gd name="T52" fmla="*/ 56 w 56"/>
              <a:gd name="T53" fmla="*/ 31 h 81"/>
              <a:gd name="T54" fmla="*/ 53 w 56"/>
              <a:gd name="T55" fmla="*/ 28 h 81"/>
              <a:gd name="T56" fmla="*/ 50 w 56"/>
              <a:gd name="T57" fmla="*/ 25 h 81"/>
              <a:gd name="T58" fmla="*/ 50 w 56"/>
              <a:gd name="T59" fmla="*/ 25 h 81"/>
              <a:gd name="T60" fmla="*/ 47 w 56"/>
              <a:gd name="T61" fmla="*/ 22 h 81"/>
              <a:gd name="T62" fmla="*/ 47 w 56"/>
              <a:gd name="T63" fmla="*/ 19 h 81"/>
              <a:gd name="T64" fmla="*/ 40 w 56"/>
              <a:gd name="T65" fmla="*/ 12 h 81"/>
              <a:gd name="T66" fmla="*/ 37 w 56"/>
              <a:gd name="T67" fmla="*/ 12 h 81"/>
              <a:gd name="T68" fmla="*/ 34 w 56"/>
              <a:gd name="T69" fmla="*/ 9 h 81"/>
              <a:gd name="T70" fmla="*/ 22 w 56"/>
              <a:gd name="T71" fmla="*/ 6 h 81"/>
              <a:gd name="T72" fmla="*/ 18 w 56"/>
              <a:gd name="T73" fmla="*/ 3 h 81"/>
              <a:gd name="T74" fmla="*/ 12 w 56"/>
              <a:gd name="T75" fmla="*/ 0 h 81"/>
              <a:gd name="T76" fmla="*/ 9 w 56"/>
              <a:gd name="T77" fmla="*/ 3 h 81"/>
              <a:gd name="T78" fmla="*/ 3 w 56"/>
              <a:gd name="T79" fmla="*/ 6 h 81"/>
              <a:gd name="T80" fmla="*/ 3 w 56"/>
              <a:gd name="T81" fmla="*/ 6 h 81"/>
              <a:gd name="T82" fmla="*/ 3 w 56"/>
              <a:gd name="T83" fmla="*/ 6 h 81"/>
              <a:gd name="T84" fmla="*/ 3 w 56"/>
              <a:gd name="T85" fmla="*/ 6 h 81"/>
              <a:gd name="T86" fmla="*/ 0 w 56"/>
              <a:gd name="T87" fmla="*/ 12 h 81"/>
              <a:gd name="T88" fmla="*/ 0 w 56"/>
              <a:gd name="T89" fmla="*/ 19 h 81"/>
              <a:gd name="T90" fmla="*/ 0 w 56"/>
              <a:gd name="T91" fmla="*/ 22 h 81"/>
              <a:gd name="T92" fmla="*/ 0 w 56"/>
              <a:gd name="T93" fmla="*/ 25 h 81"/>
              <a:gd name="T94" fmla="*/ 0 w 56"/>
              <a:gd name="T95" fmla="*/ 28 h 81"/>
              <a:gd name="T96" fmla="*/ 3 w 56"/>
              <a:gd name="T97" fmla="*/ 31 h 81"/>
              <a:gd name="T98" fmla="*/ 6 w 56"/>
              <a:gd name="T99" fmla="*/ 34 h 81"/>
              <a:gd name="T100" fmla="*/ 9 w 56"/>
              <a:gd name="T101" fmla="*/ 37 h 81"/>
              <a:gd name="T102" fmla="*/ 9 w 56"/>
              <a:gd name="T103" fmla="*/ 40 h 81"/>
              <a:gd name="T104" fmla="*/ 9 w 56"/>
              <a:gd name="T105" fmla="*/ 44 h 81"/>
              <a:gd name="T106" fmla="*/ 9 w 56"/>
              <a:gd name="T107" fmla="*/ 47 h 81"/>
              <a:gd name="T108" fmla="*/ 6 w 56"/>
              <a:gd name="T109" fmla="*/ 50 h 81"/>
              <a:gd name="T110" fmla="*/ 6 w 56"/>
              <a:gd name="T111" fmla="*/ 56 h 81"/>
              <a:gd name="T112" fmla="*/ 9 w 56"/>
              <a:gd name="T113" fmla="*/ 56 h 81"/>
              <a:gd name="T114" fmla="*/ 6 w 56"/>
              <a:gd name="T115" fmla="*/ 62 h 81"/>
              <a:gd name="T116" fmla="*/ 0 w 56"/>
              <a:gd name="T117" fmla="*/ 66 h 81"/>
              <a:gd name="T118" fmla="*/ 0 w 56"/>
              <a:gd name="T119" fmla="*/ 6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 h="81">
                <a:moveTo>
                  <a:pt x="0" y="66"/>
                </a:moveTo>
                <a:lnTo>
                  <a:pt x="0" y="66"/>
                </a:lnTo>
                <a:lnTo>
                  <a:pt x="3" y="69"/>
                </a:lnTo>
                <a:lnTo>
                  <a:pt x="3" y="72"/>
                </a:lnTo>
                <a:lnTo>
                  <a:pt x="3" y="72"/>
                </a:lnTo>
                <a:lnTo>
                  <a:pt x="6" y="75"/>
                </a:lnTo>
                <a:lnTo>
                  <a:pt x="9" y="75"/>
                </a:lnTo>
                <a:lnTo>
                  <a:pt x="12" y="75"/>
                </a:lnTo>
                <a:lnTo>
                  <a:pt x="15" y="72"/>
                </a:lnTo>
                <a:lnTo>
                  <a:pt x="15" y="72"/>
                </a:lnTo>
                <a:lnTo>
                  <a:pt x="15" y="75"/>
                </a:lnTo>
                <a:lnTo>
                  <a:pt x="18" y="75"/>
                </a:lnTo>
                <a:lnTo>
                  <a:pt x="18" y="81"/>
                </a:lnTo>
                <a:lnTo>
                  <a:pt x="22" y="81"/>
                </a:lnTo>
                <a:lnTo>
                  <a:pt x="25" y="78"/>
                </a:lnTo>
                <a:lnTo>
                  <a:pt x="25" y="75"/>
                </a:lnTo>
                <a:lnTo>
                  <a:pt x="28" y="75"/>
                </a:lnTo>
                <a:lnTo>
                  <a:pt x="31" y="75"/>
                </a:lnTo>
                <a:lnTo>
                  <a:pt x="34" y="69"/>
                </a:lnTo>
                <a:lnTo>
                  <a:pt x="37" y="62"/>
                </a:lnTo>
                <a:lnTo>
                  <a:pt x="40" y="56"/>
                </a:lnTo>
                <a:lnTo>
                  <a:pt x="40" y="53"/>
                </a:lnTo>
                <a:lnTo>
                  <a:pt x="43" y="47"/>
                </a:lnTo>
                <a:lnTo>
                  <a:pt x="50" y="40"/>
                </a:lnTo>
                <a:lnTo>
                  <a:pt x="50" y="37"/>
                </a:lnTo>
                <a:lnTo>
                  <a:pt x="50" y="37"/>
                </a:lnTo>
                <a:lnTo>
                  <a:pt x="56" y="31"/>
                </a:lnTo>
                <a:lnTo>
                  <a:pt x="53" y="28"/>
                </a:lnTo>
                <a:lnTo>
                  <a:pt x="50" y="25"/>
                </a:lnTo>
                <a:lnTo>
                  <a:pt x="50" y="25"/>
                </a:lnTo>
                <a:lnTo>
                  <a:pt x="47" y="22"/>
                </a:lnTo>
                <a:lnTo>
                  <a:pt x="47" y="19"/>
                </a:lnTo>
                <a:lnTo>
                  <a:pt x="40" y="12"/>
                </a:lnTo>
                <a:lnTo>
                  <a:pt x="37" y="12"/>
                </a:lnTo>
                <a:lnTo>
                  <a:pt x="34" y="9"/>
                </a:lnTo>
                <a:lnTo>
                  <a:pt x="22" y="6"/>
                </a:lnTo>
                <a:lnTo>
                  <a:pt x="18" y="3"/>
                </a:lnTo>
                <a:lnTo>
                  <a:pt x="12" y="0"/>
                </a:lnTo>
                <a:lnTo>
                  <a:pt x="9" y="3"/>
                </a:lnTo>
                <a:lnTo>
                  <a:pt x="3" y="6"/>
                </a:lnTo>
                <a:lnTo>
                  <a:pt x="3" y="6"/>
                </a:lnTo>
                <a:lnTo>
                  <a:pt x="3" y="6"/>
                </a:lnTo>
                <a:lnTo>
                  <a:pt x="3" y="6"/>
                </a:lnTo>
                <a:lnTo>
                  <a:pt x="0" y="12"/>
                </a:lnTo>
                <a:lnTo>
                  <a:pt x="0" y="19"/>
                </a:lnTo>
                <a:lnTo>
                  <a:pt x="0" y="22"/>
                </a:lnTo>
                <a:lnTo>
                  <a:pt x="0" y="25"/>
                </a:lnTo>
                <a:lnTo>
                  <a:pt x="0" y="28"/>
                </a:lnTo>
                <a:lnTo>
                  <a:pt x="3" y="31"/>
                </a:lnTo>
                <a:lnTo>
                  <a:pt x="6" y="34"/>
                </a:lnTo>
                <a:lnTo>
                  <a:pt x="9" y="37"/>
                </a:lnTo>
                <a:lnTo>
                  <a:pt x="9" y="40"/>
                </a:lnTo>
                <a:lnTo>
                  <a:pt x="9" y="44"/>
                </a:lnTo>
                <a:lnTo>
                  <a:pt x="9" y="47"/>
                </a:lnTo>
                <a:lnTo>
                  <a:pt x="6" y="50"/>
                </a:lnTo>
                <a:lnTo>
                  <a:pt x="6" y="56"/>
                </a:lnTo>
                <a:lnTo>
                  <a:pt x="9" y="56"/>
                </a:lnTo>
                <a:lnTo>
                  <a:pt x="6" y="62"/>
                </a:lnTo>
                <a:lnTo>
                  <a:pt x="0" y="66"/>
                </a:lnTo>
                <a:lnTo>
                  <a:pt x="0" y="66"/>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0" name="Freeform 188">
            <a:extLst>
              <a:ext uri="{FF2B5EF4-FFF2-40B4-BE49-F238E27FC236}">
                <a16:creationId xmlns:a16="http://schemas.microsoft.com/office/drawing/2014/main" id="{B6CDB116-E5ED-C037-23BB-197483D808DD}"/>
              </a:ext>
            </a:extLst>
          </p:cNvPr>
          <p:cNvSpPr>
            <a:spLocks/>
          </p:cNvSpPr>
          <p:nvPr userDrawn="1"/>
        </p:nvSpPr>
        <p:spPr bwMode="auto">
          <a:xfrm>
            <a:off x="9606926" y="9000409"/>
            <a:ext cx="247634" cy="266702"/>
          </a:xfrm>
          <a:custGeom>
            <a:avLst/>
            <a:gdLst>
              <a:gd name="T0" fmla="*/ 31 w 78"/>
              <a:gd name="T1" fmla="*/ 84 h 84"/>
              <a:gd name="T2" fmla="*/ 34 w 78"/>
              <a:gd name="T3" fmla="*/ 84 h 84"/>
              <a:gd name="T4" fmla="*/ 44 w 78"/>
              <a:gd name="T5" fmla="*/ 84 h 84"/>
              <a:gd name="T6" fmla="*/ 41 w 78"/>
              <a:gd name="T7" fmla="*/ 78 h 84"/>
              <a:gd name="T8" fmla="*/ 37 w 78"/>
              <a:gd name="T9" fmla="*/ 75 h 84"/>
              <a:gd name="T10" fmla="*/ 41 w 78"/>
              <a:gd name="T11" fmla="*/ 68 h 84"/>
              <a:gd name="T12" fmla="*/ 53 w 78"/>
              <a:gd name="T13" fmla="*/ 68 h 84"/>
              <a:gd name="T14" fmla="*/ 62 w 78"/>
              <a:gd name="T15" fmla="*/ 65 h 84"/>
              <a:gd name="T16" fmla="*/ 69 w 78"/>
              <a:gd name="T17" fmla="*/ 72 h 84"/>
              <a:gd name="T18" fmla="*/ 78 w 78"/>
              <a:gd name="T19" fmla="*/ 62 h 84"/>
              <a:gd name="T20" fmla="*/ 75 w 78"/>
              <a:gd name="T21" fmla="*/ 56 h 84"/>
              <a:gd name="T22" fmla="*/ 78 w 78"/>
              <a:gd name="T23" fmla="*/ 50 h 84"/>
              <a:gd name="T24" fmla="*/ 78 w 78"/>
              <a:gd name="T25" fmla="*/ 43 h 84"/>
              <a:gd name="T26" fmla="*/ 72 w 78"/>
              <a:gd name="T27" fmla="*/ 37 h 84"/>
              <a:gd name="T28" fmla="*/ 69 w 78"/>
              <a:gd name="T29" fmla="*/ 31 h 84"/>
              <a:gd name="T30" fmla="*/ 69 w 78"/>
              <a:gd name="T31" fmla="*/ 25 h 84"/>
              <a:gd name="T32" fmla="*/ 72 w 78"/>
              <a:gd name="T33" fmla="*/ 12 h 84"/>
              <a:gd name="T34" fmla="*/ 72 w 78"/>
              <a:gd name="T35" fmla="*/ 12 h 84"/>
              <a:gd name="T36" fmla="*/ 78 w 78"/>
              <a:gd name="T37" fmla="*/ 6 h 84"/>
              <a:gd name="T38" fmla="*/ 66 w 78"/>
              <a:gd name="T39" fmla="*/ 3 h 84"/>
              <a:gd name="T40" fmla="*/ 56 w 78"/>
              <a:gd name="T41" fmla="*/ 0 h 84"/>
              <a:gd name="T42" fmla="*/ 47 w 78"/>
              <a:gd name="T43" fmla="*/ 0 h 84"/>
              <a:gd name="T44" fmla="*/ 31 w 78"/>
              <a:gd name="T45" fmla="*/ 0 h 84"/>
              <a:gd name="T46" fmla="*/ 19 w 78"/>
              <a:gd name="T47" fmla="*/ 3 h 84"/>
              <a:gd name="T48" fmla="*/ 19 w 78"/>
              <a:gd name="T49" fmla="*/ 6 h 84"/>
              <a:gd name="T50" fmla="*/ 16 w 78"/>
              <a:gd name="T51" fmla="*/ 12 h 84"/>
              <a:gd name="T52" fmla="*/ 9 w 78"/>
              <a:gd name="T53" fmla="*/ 18 h 84"/>
              <a:gd name="T54" fmla="*/ 3 w 78"/>
              <a:gd name="T55" fmla="*/ 25 h 84"/>
              <a:gd name="T56" fmla="*/ 0 w 78"/>
              <a:gd name="T57" fmla="*/ 37 h 84"/>
              <a:gd name="T58" fmla="*/ 3 w 78"/>
              <a:gd name="T59" fmla="*/ 40 h 84"/>
              <a:gd name="T60" fmla="*/ 6 w 78"/>
              <a:gd name="T61" fmla="*/ 43 h 84"/>
              <a:gd name="T62" fmla="*/ 9 w 78"/>
              <a:gd name="T63" fmla="*/ 50 h 84"/>
              <a:gd name="T64" fmla="*/ 12 w 78"/>
              <a:gd name="T65" fmla="*/ 53 h 84"/>
              <a:gd name="T66" fmla="*/ 16 w 78"/>
              <a:gd name="T67" fmla="*/ 56 h 84"/>
              <a:gd name="T68" fmla="*/ 19 w 78"/>
              <a:gd name="T69" fmla="*/ 65 h 84"/>
              <a:gd name="T70" fmla="*/ 22 w 78"/>
              <a:gd name="T71" fmla="*/ 72 h 84"/>
              <a:gd name="T72" fmla="*/ 28 w 78"/>
              <a:gd name="T73" fmla="*/ 78 h 84"/>
              <a:gd name="T74" fmla="*/ 28 w 78"/>
              <a:gd name="T75" fmla="*/ 8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84">
                <a:moveTo>
                  <a:pt x="31" y="84"/>
                </a:moveTo>
                <a:lnTo>
                  <a:pt x="31" y="84"/>
                </a:lnTo>
                <a:lnTo>
                  <a:pt x="34" y="84"/>
                </a:lnTo>
                <a:lnTo>
                  <a:pt x="34" y="84"/>
                </a:lnTo>
                <a:lnTo>
                  <a:pt x="37" y="84"/>
                </a:lnTo>
                <a:lnTo>
                  <a:pt x="44" y="84"/>
                </a:lnTo>
                <a:lnTo>
                  <a:pt x="44" y="84"/>
                </a:lnTo>
                <a:lnTo>
                  <a:pt x="41" y="78"/>
                </a:lnTo>
                <a:lnTo>
                  <a:pt x="41" y="78"/>
                </a:lnTo>
                <a:lnTo>
                  <a:pt x="37" y="75"/>
                </a:lnTo>
                <a:lnTo>
                  <a:pt x="37" y="68"/>
                </a:lnTo>
                <a:lnTo>
                  <a:pt x="41" y="68"/>
                </a:lnTo>
                <a:lnTo>
                  <a:pt x="47" y="68"/>
                </a:lnTo>
                <a:lnTo>
                  <a:pt x="53" y="68"/>
                </a:lnTo>
                <a:lnTo>
                  <a:pt x="56" y="65"/>
                </a:lnTo>
                <a:lnTo>
                  <a:pt x="62" y="65"/>
                </a:lnTo>
                <a:lnTo>
                  <a:pt x="66" y="72"/>
                </a:lnTo>
                <a:lnTo>
                  <a:pt x="69" y="72"/>
                </a:lnTo>
                <a:lnTo>
                  <a:pt x="75" y="68"/>
                </a:lnTo>
                <a:lnTo>
                  <a:pt x="78" y="62"/>
                </a:lnTo>
                <a:lnTo>
                  <a:pt x="75" y="62"/>
                </a:lnTo>
                <a:lnTo>
                  <a:pt x="75" y="56"/>
                </a:lnTo>
                <a:lnTo>
                  <a:pt x="78" y="53"/>
                </a:lnTo>
                <a:lnTo>
                  <a:pt x="78" y="50"/>
                </a:lnTo>
                <a:lnTo>
                  <a:pt x="78" y="46"/>
                </a:lnTo>
                <a:lnTo>
                  <a:pt x="78" y="43"/>
                </a:lnTo>
                <a:lnTo>
                  <a:pt x="75" y="40"/>
                </a:lnTo>
                <a:lnTo>
                  <a:pt x="72" y="37"/>
                </a:lnTo>
                <a:lnTo>
                  <a:pt x="69" y="34"/>
                </a:lnTo>
                <a:lnTo>
                  <a:pt x="69" y="31"/>
                </a:lnTo>
                <a:lnTo>
                  <a:pt x="69" y="28"/>
                </a:lnTo>
                <a:lnTo>
                  <a:pt x="69" y="25"/>
                </a:lnTo>
                <a:lnTo>
                  <a:pt x="69" y="18"/>
                </a:lnTo>
                <a:lnTo>
                  <a:pt x="72" y="12"/>
                </a:lnTo>
                <a:lnTo>
                  <a:pt x="72" y="12"/>
                </a:lnTo>
                <a:lnTo>
                  <a:pt x="72" y="12"/>
                </a:lnTo>
                <a:lnTo>
                  <a:pt x="78" y="6"/>
                </a:lnTo>
                <a:lnTo>
                  <a:pt x="78" y="6"/>
                </a:lnTo>
                <a:lnTo>
                  <a:pt x="72" y="3"/>
                </a:lnTo>
                <a:lnTo>
                  <a:pt x="66" y="3"/>
                </a:lnTo>
                <a:lnTo>
                  <a:pt x="59" y="0"/>
                </a:lnTo>
                <a:lnTo>
                  <a:pt x="56" y="0"/>
                </a:lnTo>
                <a:lnTo>
                  <a:pt x="53" y="0"/>
                </a:lnTo>
                <a:lnTo>
                  <a:pt x="47" y="0"/>
                </a:lnTo>
                <a:lnTo>
                  <a:pt x="37" y="3"/>
                </a:lnTo>
                <a:lnTo>
                  <a:pt x="31" y="0"/>
                </a:lnTo>
                <a:lnTo>
                  <a:pt x="22" y="0"/>
                </a:lnTo>
                <a:lnTo>
                  <a:pt x="19" y="3"/>
                </a:lnTo>
                <a:lnTo>
                  <a:pt x="19" y="6"/>
                </a:lnTo>
                <a:lnTo>
                  <a:pt x="19" y="6"/>
                </a:lnTo>
                <a:lnTo>
                  <a:pt x="16" y="9"/>
                </a:lnTo>
                <a:lnTo>
                  <a:pt x="16" y="12"/>
                </a:lnTo>
                <a:lnTo>
                  <a:pt x="12" y="15"/>
                </a:lnTo>
                <a:lnTo>
                  <a:pt x="9" y="18"/>
                </a:lnTo>
                <a:lnTo>
                  <a:pt x="6" y="18"/>
                </a:lnTo>
                <a:lnTo>
                  <a:pt x="3" y="25"/>
                </a:lnTo>
                <a:lnTo>
                  <a:pt x="3" y="28"/>
                </a:lnTo>
                <a:lnTo>
                  <a:pt x="0" y="37"/>
                </a:lnTo>
                <a:lnTo>
                  <a:pt x="0" y="37"/>
                </a:lnTo>
                <a:lnTo>
                  <a:pt x="3" y="40"/>
                </a:lnTo>
                <a:lnTo>
                  <a:pt x="6" y="43"/>
                </a:lnTo>
                <a:lnTo>
                  <a:pt x="6" y="43"/>
                </a:lnTo>
                <a:lnTo>
                  <a:pt x="9" y="46"/>
                </a:lnTo>
                <a:lnTo>
                  <a:pt x="9" y="50"/>
                </a:lnTo>
                <a:lnTo>
                  <a:pt x="12" y="53"/>
                </a:lnTo>
                <a:lnTo>
                  <a:pt x="12" y="53"/>
                </a:lnTo>
                <a:lnTo>
                  <a:pt x="16" y="53"/>
                </a:lnTo>
                <a:lnTo>
                  <a:pt x="16" y="56"/>
                </a:lnTo>
                <a:lnTo>
                  <a:pt x="19" y="62"/>
                </a:lnTo>
                <a:lnTo>
                  <a:pt x="19" y="65"/>
                </a:lnTo>
                <a:lnTo>
                  <a:pt x="19" y="68"/>
                </a:lnTo>
                <a:lnTo>
                  <a:pt x="22" y="72"/>
                </a:lnTo>
                <a:lnTo>
                  <a:pt x="22" y="75"/>
                </a:lnTo>
                <a:lnTo>
                  <a:pt x="28" y="78"/>
                </a:lnTo>
                <a:lnTo>
                  <a:pt x="28" y="78"/>
                </a:lnTo>
                <a:lnTo>
                  <a:pt x="28" y="81"/>
                </a:lnTo>
                <a:lnTo>
                  <a:pt x="31" y="84"/>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1" name="Freeform 189">
            <a:extLst>
              <a:ext uri="{FF2B5EF4-FFF2-40B4-BE49-F238E27FC236}">
                <a16:creationId xmlns:a16="http://schemas.microsoft.com/office/drawing/2014/main" id="{24AEFDAE-C9AD-8DDF-5776-3E4357F4E250}"/>
              </a:ext>
            </a:extLst>
          </p:cNvPr>
          <p:cNvSpPr>
            <a:spLocks/>
          </p:cNvSpPr>
          <p:nvPr userDrawn="1"/>
        </p:nvSpPr>
        <p:spPr bwMode="auto">
          <a:xfrm>
            <a:off x="9387862" y="8841661"/>
            <a:ext cx="317481" cy="476250"/>
          </a:xfrm>
          <a:custGeom>
            <a:avLst/>
            <a:gdLst>
              <a:gd name="T0" fmla="*/ 16 w 100"/>
              <a:gd name="T1" fmla="*/ 65 h 150"/>
              <a:gd name="T2" fmla="*/ 22 w 100"/>
              <a:gd name="T3" fmla="*/ 65 h 150"/>
              <a:gd name="T4" fmla="*/ 28 w 100"/>
              <a:gd name="T5" fmla="*/ 71 h 150"/>
              <a:gd name="T6" fmla="*/ 25 w 100"/>
              <a:gd name="T7" fmla="*/ 81 h 150"/>
              <a:gd name="T8" fmla="*/ 28 w 100"/>
              <a:gd name="T9" fmla="*/ 84 h 150"/>
              <a:gd name="T10" fmla="*/ 34 w 100"/>
              <a:gd name="T11" fmla="*/ 87 h 150"/>
              <a:gd name="T12" fmla="*/ 38 w 100"/>
              <a:gd name="T13" fmla="*/ 90 h 150"/>
              <a:gd name="T14" fmla="*/ 34 w 100"/>
              <a:gd name="T15" fmla="*/ 96 h 150"/>
              <a:gd name="T16" fmla="*/ 31 w 100"/>
              <a:gd name="T17" fmla="*/ 106 h 150"/>
              <a:gd name="T18" fmla="*/ 28 w 100"/>
              <a:gd name="T19" fmla="*/ 115 h 150"/>
              <a:gd name="T20" fmla="*/ 28 w 100"/>
              <a:gd name="T21" fmla="*/ 122 h 150"/>
              <a:gd name="T22" fmla="*/ 28 w 100"/>
              <a:gd name="T23" fmla="*/ 128 h 150"/>
              <a:gd name="T24" fmla="*/ 38 w 100"/>
              <a:gd name="T25" fmla="*/ 134 h 150"/>
              <a:gd name="T26" fmla="*/ 41 w 100"/>
              <a:gd name="T27" fmla="*/ 140 h 150"/>
              <a:gd name="T28" fmla="*/ 50 w 100"/>
              <a:gd name="T29" fmla="*/ 150 h 150"/>
              <a:gd name="T30" fmla="*/ 56 w 100"/>
              <a:gd name="T31" fmla="*/ 147 h 150"/>
              <a:gd name="T32" fmla="*/ 59 w 100"/>
              <a:gd name="T33" fmla="*/ 147 h 150"/>
              <a:gd name="T34" fmla="*/ 63 w 100"/>
              <a:gd name="T35" fmla="*/ 140 h 150"/>
              <a:gd name="T36" fmla="*/ 75 w 100"/>
              <a:gd name="T37" fmla="*/ 140 h 150"/>
              <a:gd name="T38" fmla="*/ 81 w 100"/>
              <a:gd name="T39" fmla="*/ 131 h 150"/>
              <a:gd name="T40" fmla="*/ 91 w 100"/>
              <a:gd name="T41" fmla="*/ 134 h 150"/>
              <a:gd name="T42" fmla="*/ 100 w 100"/>
              <a:gd name="T43" fmla="*/ 134 h 150"/>
              <a:gd name="T44" fmla="*/ 97 w 100"/>
              <a:gd name="T45" fmla="*/ 128 h 150"/>
              <a:gd name="T46" fmla="*/ 91 w 100"/>
              <a:gd name="T47" fmla="*/ 125 h 150"/>
              <a:gd name="T48" fmla="*/ 88 w 100"/>
              <a:gd name="T49" fmla="*/ 118 h 150"/>
              <a:gd name="T50" fmla="*/ 88 w 100"/>
              <a:gd name="T51" fmla="*/ 112 h 150"/>
              <a:gd name="T52" fmla="*/ 85 w 100"/>
              <a:gd name="T53" fmla="*/ 103 h 150"/>
              <a:gd name="T54" fmla="*/ 81 w 100"/>
              <a:gd name="T55" fmla="*/ 103 h 150"/>
              <a:gd name="T56" fmla="*/ 78 w 100"/>
              <a:gd name="T57" fmla="*/ 96 h 150"/>
              <a:gd name="T58" fmla="*/ 75 w 100"/>
              <a:gd name="T59" fmla="*/ 93 h 150"/>
              <a:gd name="T60" fmla="*/ 69 w 100"/>
              <a:gd name="T61" fmla="*/ 87 h 150"/>
              <a:gd name="T62" fmla="*/ 72 w 100"/>
              <a:gd name="T63" fmla="*/ 78 h 150"/>
              <a:gd name="T64" fmla="*/ 75 w 100"/>
              <a:gd name="T65" fmla="*/ 68 h 150"/>
              <a:gd name="T66" fmla="*/ 81 w 100"/>
              <a:gd name="T67" fmla="*/ 65 h 150"/>
              <a:gd name="T68" fmla="*/ 85 w 100"/>
              <a:gd name="T69" fmla="*/ 59 h 150"/>
              <a:gd name="T70" fmla="*/ 88 w 100"/>
              <a:gd name="T71" fmla="*/ 56 h 150"/>
              <a:gd name="T72" fmla="*/ 85 w 100"/>
              <a:gd name="T73" fmla="*/ 53 h 150"/>
              <a:gd name="T74" fmla="*/ 85 w 100"/>
              <a:gd name="T75" fmla="*/ 43 h 150"/>
              <a:gd name="T76" fmla="*/ 69 w 100"/>
              <a:gd name="T77" fmla="*/ 37 h 150"/>
              <a:gd name="T78" fmla="*/ 63 w 100"/>
              <a:gd name="T79" fmla="*/ 34 h 150"/>
              <a:gd name="T80" fmla="*/ 56 w 100"/>
              <a:gd name="T81" fmla="*/ 37 h 150"/>
              <a:gd name="T82" fmla="*/ 56 w 100"/>
              <a:gd name="T83" fmla="*/ 37 h 150"/>
              <a:gd name="T84" fmla="*/ 59 w 100"/>
              <a:gd name="T85" fmla="*/ 28 h 150"/>
              <a:gd name="T86" fmla="*/ 53 w 100"/>
              <a:gd name="T87" fmla="*/ 18 h 150"/>
              <a:gd name="T88" fmla="*/ 41 w 100"/>
              <a:gd name="T89" fmla="*/ 9 h 150"/>
              <a:gd name="T90" fmla="*/ 34 w 100"/>
              <a:gd name="T91" fmla="*/ 3 h 150"/>
              <a:gd name="T92" fmla="*/ 31 w 100"/>
              <a:gd name="T93" fmla="*/ 0 h 150"/>
              <a:gd name="T94" fmla="*/ 25 w 100"/>
              <a:gd name="T95" fmla="*/ 9 h 150"/>
              <a:gd name="T96" fmla="*/ 19 w 100"/>
              <a:gd name="T97" fmla="*/ 12 h 150"/>
              <a:gd name="T98" fmla="*/ 13 w 100"/>
              <a:gd name="T99" fmla="*/ 21 h 150"/>
              <a:gd name="T100" fmla="*/ 22 w 100"/>
              <a:gd name="T101" fmla="*/ 25 h 150"/>
              <a:gd name="T102" fmla="*/ 25 w 100"/>
              <a:gd name="T103" fmla="*/ 34 h 150"/>
              <a:gd name="T104" fmla="*/ 13 w 100"/>
              <a:gd name="T105" fmla="*/ 34 h 150"/>
              <a:gd name="T106" fmla="*/ 9 w 100"/>
              <a:gd name="T107" fmla="*/ 34 h 150"/>
              <a:gd name="T108" fmla="*/ 6 w 100"/>
              <a:gd name="T109" fmla="*/ 43 h 150"/>
              <a:gd name="T110" fmla="*/ 3 w 100"/>
              <a:gd name="T111" fmla="*/ 53 h 150"/>
              <a:gd name="T112" fmla="*/ 16 w 100"/>
              <a:gd name="T113" fmla="*/ 6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0" h="150">
                <a:moveTo>
                  <a:pt x="16" y="65"/>
                </a:moveTo>
                <a:lnTo>
                  <a:pt x="16" y="65"/>
                </a:lnTo>
                <a:lnTo>
                  <a:pt x="19" y="68"/>
                </a:lnTo>
                <a:lnTo>
                  <a:pt x="22" y="65"/>
                </a:lnTo>
                <a:lnTo>
                  <a:pt x="25" y="65"/>
                </a:lnTo>
                <a:lnTo>
                  <a:pt x="28" y="71"/>
                </a:lnTo>
                <a:lnTo>
                  <a:pt x="28" y="75"/>
                </a:lnTo>
                <a:lnTo>
                  <a:pt x="25" y="81"/>
                </a:lnTo>
                <a:lnTo>
                  <a:pt x="25" y="81"/>
                </a:lnTo>
                <a:lnTo>
                  <a:pt x="28" y="84"/>
                </a:lnTo>
                <a:lnTo>
                  <a:pt x="31" y="84"/>
                </a:lnTo>
                <a:lnTo>
                  <a:pt x="34" y="87"/>
                </a:lnTo>
                <a:lnTo>
                  <a:pt x="34" y="90"/>
                </a:lnTo>
                <a:lnTo>
                  <a:pt x="38" y="90"/>
                </a:lnTo>
                <a:lnTo>
                  <a:pt x="38" y="90"/>
                </a:lnTo>
                <a:lnTo>
                  <a:pt x="34" y="96"/>
                </a:lnTo>
                <a:lnTo>
                  <a:pt x="34" y="100"/>
                </a:lnTo>
                <a:lnTo>
                  <a:pt x="31" y="106"/>
                </a:lnTo>
                <a:lnTo>
                  <a:pt x="31" y="112"/>
                </a:lnTo>
                <a:lnTo>
                  <a:pt x="28" y="115"/>
                </a:lnTo>
                <a:lnTo>
                  <a:pt x="28" y="118"/>
                </a:lnTo>
                <a:lnTo>
                  <a:pt x="28" y="122"/>
                </a:lnTo>
                <a:lnTo>
                  <a:pt x="28" y="122"/>
                </a:lnTo>
                <a:lnTo>
                  <a:pt x="28" y="128"/>
                </a:lnTo>
                <a:lnTo>
                  <a:pt x="31" y="131"/>
                </a:lnTo>
                <a:lnTo>
                  <a:pt x="38" y="134"/>
                </a:lnTo>
                <a:lnTo>
                  <a:pt x="38" y="137"/>
                </a:lnTo>
                <a:lnTo>
                  <a:pt x="41" y="140"/>
                </a:lnTo>
                <a:lnTo>
                  <a:pt x="47" y="147"/>
                </a:lnTo>
                <a:lnTo>
                  <a:pt x="50" y="150"/>
                </a:lnTo>
                <a:lnTo>
                  <a:pt x="53" y="147"/>
                </a:lnTo>
                <a:lnTo>
                  <a:pt x="56" y="147"/>
                </a:lnTo>
                <a:lnTo>
                  <a:pt x="56" y="147"/>
                </a:lnTo>
                <a:lnTo>
                  <a:pt x="59" y="147"/>
                </a:lnTo>
                <a:lnTo>
                  <a:pt x="63" y="143"/>
                </a:lnTo>
                <a:lnTo>
                  <a:pt x="63" y="140"/>
                </a:lnTo>
                <a:lnTo>
                  <a:pt x="69" y="140"/>
                </a:lnTo>
                <a:lnTo>
                  <a:pt x="75" y="140"/>
                </a:lnTo>
                <a:lnTo>
                  <a:pt x="78" y="134"/>
                </a:lnTo>
                <a:lnTo>
                  <a:pt x="81" y="131"/>
                </a:lnTo>
                <a:lnTo>
                  <a:pt x="88" y="131"/>
                </a:lnTo>
                <a:lnTo>
                  <a:pt x="91" y="134"/>
                </a:lnTo>
                <a:lnTo>
                  <a:pt x="94" y="134"/>
                </a:lnTo>
                <a:lnTo>
                  <a:pt x="100" y="134"/>
                </a:lnTo>
                <a:lnTo>
                  <a:pt x="97" y="131"/>
                </a:lnTo>
                <a:lnTo>
                  <a:pt x="97" y="128"/>
                </a:lnTo>
                <a:lnTo>
                  <a:pt x="97" y="128"/>
                </a:lnTo>
                <a:lnTo>
                  <a:pt x="91" y="125"/>
                </a:lnTo>
                <a:lnTo>
                  <a:pt x="91" y="122"/>
                </a:lnTo>
                <a:lnTo>
                  <a:pt x="88" y="118"/>
                </a:lnTo>
                <a:lnTo>
                  <a:pt x="88" y="115"/>
                </a:lnTo>
                <a:lnTo>
                  <a:pt x="88" y="112"/>
                </a:lnTo>
                <a:lnTo>
                  <a:pt x="85" y="106"/>
                </a:lnTo>
                <a:lnTo>
                  <a:pt x="85" y="103"/>
                </a:lnTo>
                <a:lnTo>
                  <a:pt x="81" y="103"/>
                </a:lnTo>
                <a:lnTo>
                  <a:pt x="81" y="103"/>
                </a:lnTo>
                <a:lnTo>
                  <a:pt x="78" y="100"/>
                </a:lnTo>
                <a:lnTo>
                  <a:pt x="78" y="96"/>
                </a:lnTo>
                <a:lnTo>
                  <a:pt x="75" y="93"/>
                </a:lnTo>
                <a:lnTo>
                  <a:pt x="75" y="93"/>
                </a:lnTo>
                <a:lnTo>
                  <a:pt x="72" y="90"/>
                </a:lnTo>
                <a:lnTo>
                  <a:pt x="69" y="87"/>
                </a:lnTo>
                <a:lnTo>
                  <a:pt x="69" y="87"/>
                </a:lnTo>
                <a:lnTo>
                  <a:pt x="72" y="78"/>
                </a:lnTo>
                <a:lnTo>
                  <a:pt x="72" y="75"/>
                </a:lnTo>
                <a:lnTo>
                  <a:pt x="75" y="68"/>
                </a:lnTo>
                <a:lnTo>
                  <a:pt x="78" y="68"/>
                </a:lnTo>
                <a:lnTo>
                  <a:pt x="81" y="65"/>
                </a:lnTo>
                <a:lnTo>
                  <a:pt x="85" y="62"/>
                </a:lnTo>
                <a:lnTo>
                  <a:pt x="85" y="59"/>
                </a:lnTo>
                <a:lnTo>
                  <a:pt x="88" y="56"/>
                </a:lnTo>
                <a:lnTo>
                  <a:pt x="88" y="56"/>
                </a:lnTo>
                <a:lnTo>
                  <a:pt x="88" y="56"/>
                </a:lnTo>
                <a:lnTo>
                  <a:pt x="85" y="53"/>
                </a:lnTo>
                <a:lnTo>
                  <a:pt x="85" y="46"/>
                </a:lnTo>
                <a:lnTo>
                  <a:pt x="85" y="43"/>
                </a:lnTo>
                <a:lnTo>
                  <a:pt x="75" y="43"/>
                </a:lnTo>
                <a:lnTo>
                  <a:pt x="69" y="37"/>
                </a:lnTo>
                <a:lnTo>
                  <a:pt x="66" y="34"/>
                </a:lnTo>
                <a:lnTo>
                  <a:pt x="63" y="34"/>
                </a:lnTo>
                <a:lnTo>
                  <a:pt x="59" y="34"/>
                </a:lnTo>
                <a:lnTo>
                  <a:pt x="56" y="37"/>
                </a:lnTo>
                <a:lnTo>
                  <a:pt x="56" y="43"/>
                </a:lnTo>
                <a:lnTo>
                  <a:pt x="56" y="37"/>
                </a:lnTo>
                <a:lnTo>
                  <a:pt x="56" y="31"/>
                </a:lnTo>
                <a:lnTo>
                  <a:pt x="59" y="28"/>
                </a:lnTo>
                <a:lnTo>
                  <a:pt x="56" y="21"/>
                </a:lnTo>
                <a:lnTo>
                  <a:pt x="53" y="18"/>
                </a:lnTo>
                <a:lnTo>
                  <a:pt x="44" y="15"/>
                </a:lnTo>
                <a:lnTo>
                  <a:pt x="41" y="9"/>
                </a:lnTo>
                <a:lnTo>
                  <a:pt x="41" y="6"/>
                </a:lnTo>
                <a:lnTo>
                  <a:pt x="34" y="3"/>
                </a:lnTo>
                <a:lnTo>
                  <a:pt x="31" y="0"/>
                </a:lnTo>
                <a:lnTo>
                  <a:pt x="31" y="0"/>
                </a:lnTo>
                <a:lnTo>
                  <a:pt x="31" y="3"/>
                </a:lnTo>
                <a:lnTo>
                  <a:pt x="25" y="9"/>
                </a:lnTo>
                <a:lnTo>
                  <a:pt x="22" y="12"/>
                </a:lnTo>
                <a:lnTo>
                  <a:pt x="19" y="12"/>
                </a:lnTo>
                <a:lnTo>
                  <a:pt x="13" y="18"/>
                </a:lnTo>
                <a:lnTo>
                  <a:pt x="13" y="21"/>
                </a:lnTo>
                <a:lnTo>
                  <a:pt x="16" y="25"/>
                </a:lnTo>
                <a:lnTo>
                  <a:pt x="22" y="25"/>
                </a:lnTo>
                <a:lnTo>
                  <a:pt x="25" y="28"/>
                </a:lnTo>
                <a:lnTo>
                  <a:pt x="25" y="34"/>
                </a:lnTo>
                <a:lnTo>
                  <a:pt x="19" y="34"/>
                </a:lnTo>
                <a:lnTo>
                  <a:pt x="13" y="34"/>
                </a:lnTo>
                <a:lnTo>
                  <a:pt x="13" y="37"/>
                </a:lnTo>
                <a:lnTo>
                  <a:pt x="9" y="34"/>
                </a:lnTo>
                <a:lnTo>
                  <a:pt x="6" y="37"/>
                </a:lnTo>
                <a:lnTo>
                  <a:pt x="6" y="43"/>
                </a:lnTo>
                <a:lnTo>
                  <a:pt x="0" y="46"/>
                </a:lnTo>
                <a:lnTo>
                  <a:pt x="3" y="53"/>
                </a:lnTo>
                <a:lnTo>
                  <a:pt x="6" y="59"/>
                </a:lnTo>
                <a:lnTo>
                  <a:pt x="16" y="65"/>
                </a:lnTo>
                <a:lnTo>
                  <a:pt x="16" y="65"/>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2" name="Freeform 190">
            <a:extLst>
              <a:ext uri="{FF2B5EF4-FFF2-40B4-BE49-F238E27FC236}">
                <a16:creationId xmlns:a16="http://schemas.microsoft.com/office/drawing/2014/main" id="{E89152DC-3D06-CAC3-A46D-764C830B359A}"/>
              </a:ext>
            </a:extLst>
          </p:cNvPr>
          <p:cNvSpPr>
            <a:spLocks noEditPoints="1"/>
          </p:cNvSpPr>
          <p:nvPr userDrawn="1"/>
        </p:nvSpPr>
        <p:spPr bwMode="auto">
          <a:xfrm>
            <a:off x="8654488" y="8581308"/>
            <a:ext cx="831796" cy="765176"/>
          </a:xfrm>
          <a:custGeom>
            <a:avLst/>
            <a:gdLst>
              <a:gd name="T0" fmla="*/ 48 w 84"/>
              <a:gd name="T1" fmla="*/ 77 h 77"/>
              <a:gd name="T2" fmla="*/ 56 w 84"/>
              <a:gd name="T3" fmla="*/ 69 h 77"/>
              <a:gd name="T4" fmla="*/ 59 w 84"/>
              <a:gd name="T5" fmla="*/ 65 h 77"/>
              <a:gd name="T6" fmla="*/ 56 w 84"/>
              <a:gd name="T7" fmla="*/ 58 h 77"/>
              <a:gd name="T8" fmla="*/ 54 w 84"/>
              <a:gd name="T9" fmla="*/ 54 h 77"/>
              <a:gd name="T10" fmla="*/ 63 w 84"/>
              <a:gd name="T11" fmla="*/ 56 h 77"/>
              <a:gd name="T12" fmla="*/ 73 w 84"/>
              <a:gd name="T13" fmla="*/ 52 h 77"/>
              <a:gd name="T14" fmla="*/ 76 w 84"/>
              <a:gd name="T15" fmla="*/ 45 h 77"/>
              <a:gd name="T16" fmla="*/ 77 w 84"/>
              <a:gd name="T17" fmla="*/ 37 h 77"/>
              <a:gd name="T18" fmla="*/ 82 w 84"/>
              <a:gd name="T19" fmla="*/ 35 h 77"/>
              <a:gd name="T20" fmla="*/ 80 w 84"/>
              <a:gd name="T21" fmla="*/ 30 h 77"/>
              <a:gd name="T22" fmla="*/ 84 w 84"/>
              <a:gd name="T23" fmla="*/ 26 h 77"/>
              <a:gd name="T24" fmla="*/ 78 w 84"/>
              <a:gd name="T25" fmla="*/ 25 h 77"/>
              <a:gd name="T26" fmla="*/ 74 w 84"/>
              <a:gd name="T27" fmla="*/ 25 h 77"/>
              <a:gd name="T28" fmla="*/ 77 w 84"/>
              <a:gd name="T29" fmla="*/ 22 h 77"/>
              <a:gd name="T30" fmla="*/ 72 w 84"/>
              <a:gd name="T31" fmla="*/ 19 h 77"/>
              <a:gd name="T32" fmla="*/ 68 w 84"/>
              <a:gd name="T33" fmla="*/ 16 h 77"/>
              <a:gd name="T34" fmla="*/ 65 w 84"/>
              <a:gd name="T35" fmla="*/ 15 h 77"/>
              <a:gd name="T36" fmla="*/ 71 w 84"/>
              <a:gd name="T37" fmla="*/ 13 h 77"/>
              <a:gd name="T38" fmla="*/ 63 w 84"/>
              <a:gd name="T39" fmla="*/ 11 h 77"/>
              <a:gd name="T40" fmla="*/ 55 w 84"/>
              <a:gd name="T41" fmla="*/ 14 h 77"/>
              <a:gd name="T42" fmla="*/ 50 w 84"/>
              <a:gd name="T43" fmla="*/ 16 h 77"/>
              <a:gd name="T44" fmla="*/ 36 w 84"/>
              <a:gd name="T45" fmla="*/ 14 h 77"/>
              <a:gd name="T46" fmla="*/ 33 w 84"/>
              <a:gd name="T47" fmla="*/ 11 h 77"/>
              <a:gd name="T48" fmla="*/ 26 w 84"/>
              <a:gd name="T49" fmla="*/ 7 h 77"/>
              <a:gd name="T50" fmla="*/ 22 w 84"/>
              <a:gd name="T51" fmla="*/ 2 h 77"/>
              <a:gd name="T52" fmla="*/ 19 w 84"/>
              <a:gd name="T53" fmla="*/ 7 h 77"/>
              <a:gd name="T54" fmla="*/ 21 w 84"/>
              <a:gd name="T55" fmla="*/ 8 h 77"/>
              <a:gd name="T56" fmla="*/ 18 w 84"/>
              <a:gd name="T57" fmla="*/ 9 h 77"/>
              <a:gd name="T58" fmla="*/ 12 w 84"/>
              <a:gd name="T59" fmla="*/ 14 h 77"/>
              <a:gd name="T60" fmla="*/ 10 w 84"/>
              <a:gd name="T61" fmla="*/ 23 h 77"/>
              <a:gd name="T62" fmla="*/ 8 w 84"/>
              <a:gd name="T63" fmla="*/ 17 h 77"/>
              <a:gd name="T64" fmla="*/ 10 w 84"/>
              <a:gd name="T65" fmla="*/ 10 h 77"/>
              <a:gd name="T66" fmla="*/ 10 w 84"/>
              <a:gd name="T67" fmla="*/ 6 h 77"/>
              <a:gd name="T68" fmla="*/ 9 w 84"/>
              <a:gd name="T69" fmla="*/ 6 h 77"/>
              <a:gd name="T70" fmla="*/ 3 w 84"/>
              <a:gd name="T71" fmla="*/ 12 h 77"/>
              <a:gd name="T72" fmla="*/ 0 w 84"/>
              <a:gd name="T73" fmla="*/ 21 h 77"/>
              <a:gd name="T74" fmla="*/ 6 w 84"/>
              <a:gd name="T75" fmla="*/ 28 h 77"/>
              <a:gd name="T76" fmla="*/ 5 w 84"/>
              <a:gd name="T77" fmla="*/ 33 h 77"/>
              <a:gd name="T78" fmla="*/ 12 w 84"/>
              <a:gd name="T79" fmla="*/ 35 h 77"/>
              <a:gd name="T80" fmla="*/ 19 w 84"/>
              <a:gd name="T81" fmla="*/ 35 h 77"/>
              <a:gd name="T82" fmla="*/ 28 w 84"/>
              <a:gd name="T83" fmla="*/ 40 h 77"/>
              <a:gd name="T84" fmla="*/ 34 w 84"/>
              <a:gd name="T85" fmla="*/ 41 h 77"/>
              <a:gd name="T86" fmla="*/ 36 w 84"/>
              <a:gd name="T87" fmla="*/ 44 h 77"/>
              <a:gd name="T88" fmla="*/ 34 w 84"/>
              <a:gd name="T89" fmla="*/ 50 h 77"/>
              <a:gd name="T90" fmla="*/ 34 w 84"/>
              <a:gd name="T91" fmla="*/ 56 h 77"/>
              <a:gd name="T92" fmla="*/ 35 w 84"/>
              <a:gd name="T93" fmla="*/ 64 h 77"/>
              <a:gd name="T94" fmla="*/ 37 w 84"/>
              <a:gd name="T95" fmla="*/ 67 h 77"/>
              <a:gd name="T96" fmla="*/ 30 w 84"/>
              <a:gd name="T97" fmla="*/ 2 h 77"/>
              <a:gd name="T98" fmla="*/ 31 w 84"/>
              <a:gd name="T99" fmla="*/ 3 h 77"/>
              <a:gd name="T100" fmla="*/ 28 w 84"/>
              <a:gd name="T101" fmla="*/ 3 h 77"/>
              <a:gd name="T102" fmla="*/ 21 w 84"/>
              <a:gd name="T103" fmla="*/ 1 h 77"/>
              <a:gd name="T104" fmla="*/ 57 w 84"/>
              <a:gd name="T105" fmla="*/ 9 h 77"/>
              <a:gd name="T106" fmla="*/ 58 w 84"/>
              <a:gd name="T107" fmla="*/ 1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 h="77">
                <a:moveTo>
                  <a:pt x="39" y="73"/>
                </a:moveTo>
                <a:cubicBezTo>
                  <a:pt x="41" y="75"/>
                  <a:pt x="41" y="75"/>
                  <a:pt x="41" y="75"/>
                </a:cubicBezTo>
                <a:cubicBezTo>
                  <a:pt x="44" y="77"/>
                  <a:pt x="44" y="77"/>
                  <a:pt x="44" y="77"/>
                </a:cubicBezTo>
                <a:cubicBezTo>
                  <a:pt x="45" y="77"/>
                  <a:pt x="45" y="77"/>
                  <a:pt x="45" y="77"/>
                </a:cubicBezTo>
                <a:cubicBezTo>
                  <a:pt x="48" y="77"/>
                  <a:pt x="48" y="77"/>
                  <a:pt x="48" y="77"/>
                </a:cubicBezTo>
                <a:cubicBezTo>
                  <a:pt x="49" y="75"/>
                  <a:pt x="49" y="75"/>
                  <a:pt x="49" y="75"/>
                </a:cubicBezTo>
                <a:cubicBezTo>
                  <a:pt x="51" y="74"/>
                  <a:pt x="51" y="74"/>
                  <a:pt x="51" y="74"/>
                </a:cubicBezTo>
                <a:cubicBezTo>
                  <a:pt x="52" y="72"/>
                  <a:pt x="52" y="72"/>
                  <a:pt x="52" y="72"/>
                </a:cubicBezTo>
                <a:cubicBezTo>
                  <a:pt x="55" y="71"/>
                  <a:pt x="55" y="71"/>
                  <a:pt x="55" y="71"/>
                </a:cubicBezTo>
                <a:cubicBezTo>
                  <a:pt x="56" y="69"/>
                  <a:pt x="56" y="69"/>
                  <a:pt x="56" y="69"/>
                </a:cubicBezTo>
                <a:cubicBezTo>
                  <a:pt x="57" y="68"/>
                  <a:pt x="57" y="68"/>
                  <a:pt x="57" y="68"/>
                </a:cubicBezTo>
                <a:cubicBezTo>
                  <a:pt x="60" y="67"/>
                  <a:pt x="60" y="67"/>
                  <a:pt x="60" y="67"/>
                </a:cubicBezTo>
                <a:cubicBezTo>
                  <a:pt x="61" y="67"/>
                  <a:pt x="61" y="67"/>
                  <a:pt x="61" y="67"/>
                </a:cubicBezTo>
                <a:cubicBezTo>
                  <a:pt x="61" y="65"/>
                  <a:pt x="61" y="65"/>
                  <a:pt x="61" y="65"/>
                </a:cubicBezTo>
                <a:cubicBezTo>
                  <a:pt x="59" y="65"/>
                  <a:pt x="59" y="65"/>
                  <a:pt x="59" y="65"/>
                </a:cubicBezTo>
                <a:cubicBezTo>
                  <a:pt x="57" y="65"/>
                  <a:pt x="57" y="65"/>
                  <a:pt x="57" y="65"/>
                </a:cubicBezTo>
                <a:cubicBezTo>
                  <a:pt x="55" y="64"/>
                  <a:pt x="55" y="64"/>
                  <a:pt x="55" y="64"/>
                </a:cubicBezTo>
                <a:cubicBezTo>
                  <a:pt x="55" y="62"/>
                  <a:pt x="55" y="62"/>
                  <a:pt x="55" y="62"/>
                </a:cubicBezTo>
                <a:cubicBezTo>
                  <a:pt x="54" y="61"/>
                  <a:pt x="54" y="61"/>
                  <a:pt x="54" y="61"/>
                </a:cubicBezTo>
                <a:cubicBezTo>
                  <a:pt x="56" y="58"/>
                  <a:pt x="56" y="58"/>
                  <a:pt x="56" y="58"/>
                </a:cubicBezTo>
                <a:cubicBezTo>
                  <a:pt x="56" y="57"/>
                  <a:pt x="56" y="57"/>
                  <a:pt x="56" y="57"/>
                </a:cubicBezTo>
                <a:cubicBezTo>
                  <a:pt x="54" y="56"/>
                  <a:pt x="54" y="56"/>
                  <a:pt x="54" y="56"/>
                </a:cubicBezTo>
                <a:cubicBezTo>
                  <a:pt x="53" y="55"/>
                  <a:pt x="53" y="55"/>
                  <a:pt x="53" y="55"/>
                </a:cubicBezTo>
                <a:cubicBezTo>
                  <a:pt x="52" y="54"/>
                  <a:pt x="52" y="54"/>
                  <a:pt x="52" y="54"/>
                </a:cubicBezTo>
                <a:cubicBezTo>
                  <a:pt x="54" y="54"/>
                  <a:pt x="54" y="54"/>
                  <a:pt x="54" y="54"/>
                </a:cubicBezTo>
                <a:cubicBezTo>
                  <a:pt x="56" y="55"/>
                  <a:pt x="56" y="55"/>
                  <a:pt x="56" y="55"/>
                </a:cubicBezTo>
                <a:cubicBezTo>
                  <a:pt x="58" y="56"/>
                  <a:pt x="58" y="56"/>
                  <a:pt x="58" y="56"/>
                </a:cubicBezTo>
                <a:cubicBezTo>
                  <a:pt x="60" y="56"/>
                  <a:pt x="60" y="56"/>
                  <a:pt x="60" y="56"/>
                </a:cubicBezTo>
                <a:cubicBezTo>
                  <a:pt x="63" y="55"/>
                  <a:pt x="63" y="55"/>
                  <a:pt x="63" y="55"/>
                </a:cubicBezTo>
                <a:cubicBezTo>
                  <a:pt x="63" y="56"/>
                  <a:pt x="63" y="56"/>
                  <a:pt x="63" y="56"/>
                </a:cubicBezTo>
                <a:cubicBezTo>
                  <a:pt x="65" y="55"/>
                  <a:pt x="65" y="55"/>
                  <a:pt x="65" y="55"/>
                </a:cubicBezTo>
                <a:cubicBezTo>
                  <a:pt x="67" y="53"/>
                  <a:pt x="67" y="53"/>
                  <a:pt x="67" y="53"/>
                </a:cubicBezTo>
                <a:cubicBezTo>
                  <a:pt x="69" y="53"/>
                  <a:pt x="69" y="53"/>
                  <a:pt x="69" y="53"/>
                </a:cubicBezTo>
                <a:cubicBezTo>
                  <a:pt x="70" y="54"/>
                  <a:pt x="70" y="54"/>
                  <a:pt x="70" y="54"/>
                </a:cubicBezTo>
                <a:cubicBezTo>
                  <a:pt x="73" y="52"/>
                  <a:pt x="73" y="52"/>
                  <a:pt x="73" y="52"/>
                </a:cubicBezTo>
                <a:cubicBezTo>
                  <a:pt x="75" y="52"/>
                  <a:pt x="75" y="52"/>
                  <a:pt x="75" y="52"/>
                </a:cubicBezTo>
                <a:cubicBezTo>
                  <a:pt x="78" y="50"/>
                  <a:pt x="78" y="50"/>
                  <a:pt x="78" y="50"/>
                </a:cubicBezTo>
                <a:cubicBezTo>
                  <a:pt x="79" y="48"/>
                  <a:pt x="79" y="48"/>
                  <a:pt x="79" y="48"/>
                </a:cubicBezTo>
                <a:cubicBezTo>
                  <a:pt x="79" y="47"/>
                  <a:pt x="79" y="47"/>
                  <a:pt x="79" y="47"/>
                </a:cubicBezTo>
                <a:cubicBezTo>
                  <a:pt x="76" y="45"/>
                  <a:pt x="76" y="45"/>
                  <a:pt x="76" y="45"/>
                </a:cubicBezTo>
                <a:cubicBezTo>
                  <a:pt x="75" y="43"/>
                  <a:pt x="75" y="43"/>
                  <a:pt x="75" y="43"/>
                </a:cubicBezTo>
                <a:cubicBezTo>
                  <a:pt x="74" y="41"/>
                  <a:pt x="74" y="41"/>
                  <a:pt x="74" y="41"/>
                </a:cubicBezTo>
                <a:cubicBezTo>
                  <a:pt x="76" y="40"/>
                  <a:pt x="76" y="40"/>
                  <a:pt x="76" y="40"/>
                </a:cubicBezTo>
                <a:cubicBezTo>
                  <a:pt x="76" y="38"/>
                  <a:pt x="76" y="38"/>
                  <a:pt x="76" y="38"/>
                </a:cubicBezTo>
                <a:cubicBezTo>
                  <a:pt x="77" y="37"/>
                  <a:pt x="77" y="37"/>
                  <a:pt x="77" y="37"/>
                </a:cubicBezTo>
                <a:cubicBezTo>
                  <a:pt x="78" y="38"/>
                  <a:pt x="78" y="38"/>
                  <a:pt x="78" y="38"/>
                </a:cubicBezTo>
                <a:cubicBezTo>
                  <a:pt x="78" y="37"/>
                  <a:pt x="78" y="37"/>
                  <a:pt x="78" y="37"/>
                </a:cubicBezTo>
                <a:cubicBezTo>
                  <a:pt x="80" y="37"/>
                  <a:pt x="80" y="37"/>
                  <a:pt x="80" y="37"/>
                </a:cubicBezTo>
                <a:cubicBezTo>
                  <a:pt x="82" y="37"/>
                  <a:pt x="82" y="37"/>
                  <a:pt x="82" y="37"/>
                </a:cubicBezTo>
                <a:cubicBezTo>
                  <a:pt x="82" y="35"/>
                  <a:pt x="82" y="35"/>
                  <a:pt x="82" y="35"/>
                </a:cubicBezTo>
                <a:cubicBezTo>
                  <a:pt x="81" y="34"/>
                  <a:pt x="81" y="34"/>
                  <a:pt x="81" y="34"/>
                </a:cubicBezTo>
                <a:cubicBezTo>
                  <a:pt x="79" y="34"/>
                  <a:pt x="79" y="34"/>
                  <a:pt x="79" y="34"/>
                </a:cubicBezTo>
                <a:cubicBezTo>
                  <a:pt x="78" y="33"/>
                  <a:pt x="78" y="33"/>
                  <a:pt x="78" y="33"/>
                </a:cubicBezTo>
                <a:cubicBezTo>
                  <a:pt x="78" y="32"/>
                  <a:pt x="78" y="32"/>
                  <a:pt x="78" y="32"/>
                </a:cubicBezTo>
                <a:cubicBezTo>
                  <a:pt x="80" y="30"/>
                  <a:pt x="80" y="30"/>
                  <a:pt x="80" y="30"/>
                </a:cubicBezTo>
                <a:cubicBezTo>
                  <a:pt x="81" y="30"/>
                  <a:pt x="81" y="30"/>
                  <a:pt x="81" y="30"/>
                </a:cubicBezTo>
                <a:cubicBezTo>
                  <a:pt x="82" y="29"/>
                  <a:pt x="82" y="29"/>
                  <a:pt x="82" y="29"/>
                </a:cubicBezTo>
                <a:cubicBezTo>
                  <a:pt x="84" y="27"/>
                  <a:pt x="84" y="27"/>
                  <a:pt x="84" y="27"/>
                </a:cubicBezTo>
                <a:cubicBezTo>
                  <a:pt x="84" y="26"/>
                  <a:pt x="84" y="26"/>
                  <a:pt x="84" y="26"/>
                </a:cubicBezTo>
                <a:cubicBezTo>
                  <a:pt x="84" y="26"/>
                  <a:pt x="84" y="26"/>
                  <a:pt x="84" y="26"/>
                </a:cubicBezTo>
                <a:cubicBezTo>
                  <a:pt x="81" y="25"/>
                  <a:pt x="81" y="25"/>
                  <a:pt x="81" y="25"/>
                </a:cubicBezTo>
                <a:cubicBezTo>
                  <a:pt x="80" y="25"/>
                  <a:pt x="80" y="25"/>
                  <a:pt x="80" y="25"/>
                </a:cubicBezTo>
                <a:cubicBezTo>
                  <a:pt x="80" y="25"/>
                  <a:pt x="80" y="25"/>
                  <a:pt x="80" y="25"/>
                </a:cubicBezTo>
                <a:cubicBezTo>
                  <a:pt x="78" y="25"/>
                  <a:pt x="78" y="25"/>
                  <a:pt x="78" y="25"/>
                </a:cubicBezTo>
                <a:cubicBezTo>
                  <a:pt x="78" y="25"/>
                  <a:pt x="78" y="25"/>
                  <a:pt x="78" y="25"/>
                </a:cubicBezTo>
                <a:cubicBezTo>
                  <a:pt x="77" y="25"/>
                  <a:pt x="77" y="25"/>
                  <a:pt x="77" y="25"/>
                </a:cubicBezTo>
                <a:cubicBezTo>
                  <a:pt x="75" y="26"/>
                  <a:pt x="75" y="26"/>
                  <a:pt x="75" y="26"/>
                </a:cubicBezTo>
                <a:cubicBezTo>
                  <a:pt x="73" y="26"/>
                  <a:pt x="73" y="26"/>
                  <a:pt x="73" y="26"/>
                </a:cubicBezTo>
                <a:cubicBezTo>
                  <a:pt x="72" y="26"/>
                  <a:pt x="72" y="26"/>
                  <a:pt x="72" y="26"/>
                </a:cubicBezTo>
                <a:cubicBezTo>
                  <a:pt x="74" y="25"/>
                  <a:pt x="74" y="25"/>
                  <a:pt x="74" y="25"/>
                </a:cubicBezTo>
                <a:cubicBezTo>
                  <a:pt x="74" y="25"/>
                  <a:pt x="74" y="25"/>
                  <a:pt x="74" y="25"/>
                </a:cubicBezTo>
                <a:cubicBezTo>
                  <a:pt x="75" y="25"/>
                  <a:pt x="75" y="25"/>
                  <a:pt x="75" y="25"/>
                </a:cubicBezTo>
                <a:cubicBezTo>
                  <a:pt x="76" y="24"/>
                  <a:pt x="76" y="24"/>
                  <a:pt x="76" y="24"/>
                </a:cubicBezTo>
                <a:cubicBezTo>
                  <a:pt x="77" y="23"/>
                  <a:pt x="77" y="23"/>
                  <a:pt x="77" y="23"/>
                </a:cubicBezTo>
                <a:cubicBezTo>
                  <a:pt x="77" y="22"/>
                  <a:pt x="77" y="22"/>
                  <a:pt x="77" y="22"/>
                </a:cubicBezTo>
                <a:cubicBezTo>
                  <a:pt x="77" y="22"/>
                  <a:pt x="77" y="22"/>
                  <a:pt x="77" y="22"/>
                </a:cubicBezTo>
                <a:cubicBezTo>
                  <a:pt x="77" y="21"/>
                  <a:pt x="77" y="21"/>
                  <a:pt x="77" y="21"/>
                </a:cubicBezTo>
                <a:cubicBezTo>
                  <a:pt x="76" y="20"/>
                  <a:pt x="76" y="20"/>
                  <a:pt x="76" y="20"/>
                </a:cubicBezTo>
                <a:cubicBezTo>
                  <a:pt x="75" y="19"/>
                  <a:pt x="75" y="19"/>
                  <a:pt x="75" y="19"/>
                </a:cubicBezTo>
                <a:cubicBezTo>
                  <a:pt x="72" y="19"/>
                  <a:pt x="72" y="19"/>
                  <a:pt x="72" y="19"/>
                </a:cubicBezTo>
                <a:cubicBezTo>
                  <a:pt x="72" y="18"/>
                  <a:pt x="72" y="18"/>
                  <a:pt x="72" y="18"/>
                </a:cubicBezTo>
                <a:cubicBezTo>
                  <a:pt x="71" y="18"/>
                  <a:pt x="71" y="18"/>
                  <a:pt x="71" y="18"/>
                </a:cubicBezTo>
                <a:cubicBezTo>
                  <a:pt x="70" y="18"/>
                  <a:pt x="70" y="18"/>
                  <a:pt x="70" y="18"/>
                </a:cubicBezTo>
                <a:cubicBezTo>
                  <a:pt x="69" y="17"/>
                  <a:pt x="69" y="17"/>
                  <a:pt x="69" y="17"/>
                </a:cubicBezTo>
                <a:cubicBezTo>
                  <a:pt x="68" y="16"/>
                  <a:pt x="68" y="16"/>
                  <a:pt x="68" y="16"/>
                </a:cubicBezTo>
                <a:cubicBezTo>
                  <a:pt x="67" y="16"/>
                  <a:pt x="67" y="16"/>
                  <a:pt x="67" y="16"/>
                </a:cubicBezTo>
                <a:cubicBezTo>
                  <a:pt x="68" y="18"/>
                  <a:pt x="68" y="18"/>
                  <a:pt x="68" y="18"/>
                </a:cubicBezTo>
                <a:cubicBezTo>
                  <a:pt x="67" y="16"/>
                  <a:pt x="67" y="16"/>
                  <a:pt x="67" y="16"/>
                </a:cubicBezTo>
                <a:cubicBezTo>
                  <a:pt x="66" y="15"/>
                  <a:pt x="66" y="15"/>
                  <a:pt x="66" y="15"/>
                </a:cubicBezTo>
                <a:cubicBezTo>
                  <a:pt x="65" y="15"/>
                  <a:pt x="65" y="15"/>
                  <a:pt x="65" y="15"/>
                </a:cubicBezTo>
                <a:cubicBezTo>
                  <a:pt x="65" y="14"/>
                  <a:pt x="65" y="14"/>
                  <a:pt x="65" y="14"/>
                </a:cubicBezTo>
                <a:cubicBezTo>
                  <a:pt x="65" y="13"/>
                  <a:pt x="65" y="13"/>
                  <a:pt x="65" y="13"/>
                </a:cubicBezTo>
                <a:cubicBezTo>
                  <a:pt x="68" y="13"/>
                  <a:pt x="68" y="13"/>
                  <a:pt x="68" y="13"/>
                </a:cubicBezTo>
                <a:cubicBezTo>
                  <a:pt x="69" y="13"/>
                  <a:pt x="69" y="13"/>
                  <a:pt x="69" y="13"/>
                </a:cubicBezTo>
                <a:cubicBezTo>
                  <a:pt x="71" y="13"/>
                  <a:pt x="71" y="13"/>
                  <a:pt x="71" y="13"/>
                </a:cubicBezTo>
                <a:cubicBezTo>
                  <a:pt x="71" y="12"/>
                  <a:pt x="71" y="12"/>
                  <a:pt x="71" y="12"/>
                </a:cubicBezTo>
                <a:cubicBezTo>
                  <a:pt x="69" y="12"/>
                  <a:pt x="69" y="12"/>
                  <a:pt x="69" y="12"/>
                </a:cubicBezTo>
                <a:cubicBezTo>
                  <a:pt x="67" y="11"/>
                  <a:pt x="67" y="11"/>
                  <a:pt x="67" y="11"/>
                </a:cubicBezTo>
                <a:cubicBezTo>
                  <a:pt x="65" y="12"/>
                  <a:pt x="65" y="12"/>
                  <a:pt x="65" y="12"/>
                </a:cubicBezTo>
                <a:cubicBezTo>
                  <a:pt x="63" y="11"/>
                  <a:pt x="63" y="11"/>
                  <a:pt x="63" y="11"/>
                </a:cubicBezTo>
                <a:cubicBezTo>
                  <a:pt x="60" y="12"/>
                  <a:pt x="60" y="12"/>
                  <a:pt x="60" y="12"/>
                </a:cubicBezTo>
                <a:cubicBezTo>
                  <a:pt x="60" y="12"/>
                  <a:pt x="60" y="12"/>
                  <a:pt x="60" y="12"/>
                </a:cubicBezTo>
                <a:cubicBezTo>
                  <a:pt x="58" y="12"/>
                  <a:pt x="58" y="12"/>
                  <a:pt x="58" y="12"/>
                </a:cubicBezTo>
                <a:cubicBezTo>
                  <a:pt x="56" y="14"/>
                  <a:pt x="56" y="14"/>
                  <a:pt x="56" y="14"/>
                </a:cubicBezTo>
                <a:cubicBezTo>
                  <a:pt x="55" y="14"/>
                  <a:pt x="55" y="14"/>
                  <a:pt x="55" y="14"/>
                </a:cubicBezTo>
                <a:cubicBezTo>
                  <a:pt x="53" y="15"/>
                  <a:pt x="53" y="15"/>
                  <a:pt x="53" y="15"/>
                </a:cubicBezTo>
                <a:cubicBezTo>
                  <a:pt x="53" y="15"/>
                  <a:pt x="53" y="15"/>
                  <a:pt x="53" y="15"/>
                </a:cubicBezTo>
                <a:cubicBezTo>
                  <a:pt x="51" y="16"/>
                  <a:pt x="51" y="16"/>
                  <a:pt x="51" y="16"/>
                </a:cubicBezTo>
                <a:cubicBezTo>
                  <a:pt x="51" y="16"/>
                  <a:pt x="51" y="16"/>
                  <a:pt x="51" y="16"/>
                </a:cubicBezTo>
                <a:cubicBezTo>
                  <a:pt x="50" y="16"/>
                  <a:pt x="50" y="16"/>
                  <a:pt x="50" y="16"/>
                </a:cubicBezTo>
                <a:cubicBezTo>
                  <a:pt x="47" y="14"/>
                  <a:pt x="47" y="14"/>
                  <a:pt x="47" y="14"/>
                </a:cubicBezTo>
                <a:cubicBezTo>
                  <a:pt x="46" y="13"/>
                  <a:pt x="46" y="13"/>
                  <a:pt x="46" y="13"/>
                </a:cubicBezTo>
                <a:cubicBezTo>
                  <a:pt x="45" y="13"/>
                  <a:pt x="45" y="13"/>
                  <a:pt x="45" y="13"/>
                </a:cubicBezTo>
                <a:cubicBezTo>
                  <a:pt x="42" y="13"/>
                  <a:pt x="42" y="13"/>
                  <a:pt x="42" y="13"/>
                </a:cubicBezTo>
                <a:cubicBezTo>
                  <a:pt x="36" y="14"/>
                  <a:pt x="36" y="14"/>
                  <a:pt x="36" y="14"/>
                </a:cubicBezTo>
                <a:cubicBezTo>
                  <a:pt x="34" y="14"/>
                  <a:pt x="34" y="14"/>
                  <a:pt x="34" y="14"/>
                </a:cubicBezTo>
                <a:cubicBezTo>
                  <a:pt x="32" y="13"/>
                  <a:pt x="32" y="13"/>
                  <a:pt x="32" y="13"/>
                </a:cubicBezTo>
                <a:cubicBezTo>
                  <a:pt x="32" y="12"/>
                  <a:pt x="32" y="12"/>
                  <a:pt x="32" y="12"/>
                </a:cubicBezTo>
                <a:cubicBezTo>
                  <a:pt x="32" y="11"/>
                  <a:pt x="32" y="11"/>
                  <a:pt x="32" y="11"/>
                </a:cubicBezTo>
                <a:cubicBezTo>
                  <a:pt x="33" y="11"/>
                  <a:pt x="33" y="11"/>
                  <a:pt x="33" y="11"/>
                </a:cubicBezTo>
                <a:cubicBezTo>
                  <a:pt x="33" y="10"/>
                  <a:pt x="33" y="10"/>
                  <a:pt x="33" y="10"/>
                </a:cubicBezTo>
                <a:cubicBezTo>
                  <a:pt x="31" y="8"/>
                  <a:pt x="31" y="8"/>
                  <a:pt x="31" y="8"/>
                </a:cubicBezTo>
                <a:cubicBezTo>
                  <a:pt x="30" y="8"/>
                  <a:pt x="30" y="8"/>
                  <a:pt x="30" y="8"/>
                </a:cubicBezTo>
                <a:cubicBezTo>
                  <a:pt x="27" y="8"/>
                  <a:pt x="27" y="8"/>
                  <a:pt x="27" y="8"/>
                </a:cubicBezTo>
                <a:cubicBezTo>
                  <a:pt x="26" y="7"/>
                  <a:pt x="26" y="7"/>
                  <a:pt x="26" y="7"/>
                </a:cubicBezTo>
                <a:cubicBezTo>
                  <a:pt x="25" y="7"/>
                  <a:pt x="25" y="7"/>
                  <a:pt x="25" y="7"/>
                </a:cubicBezTo>
                <a:cubicBezTo>
                  <a:pt x="24" y="8"/>
                  <a:pt x="24" y="8"/>
                  <a:pt x="24" y="8"/>
                </a:cubicBezTo>
                <a:cubicBezTo>
                  <a:pt x="23" y="6"/>
                  <a:pt x="23" y="6"/>
                  <a:pt x="23" y="6"/>
                </a:cubicBezTo>
                <a:cubicBezTo>
                  <a:pt x="23" y="4"/>
                  <a:pt x="23" y="4"/>
                  <a:pt x="23" y="4"/>
                </a:cubicBezTo>
                <a:cubicBezTo>
                  <a:pt x="22" y="2"/>
                  <a:pt x="22" y="2"/>
                  <a:pt x="22" y="2"/>
                </a:cubicBezTo>
                <a:cubicBezTo>
                  <a:pt x="22" y="2"/>
                  <a:pt x="22" y="2"/>
                  <a:pt x="22" y="2"/>
                </a:cubicBezTo>
                <a:cubicBezTo>
                  <a:pt x="20" y="3"/>
                  <a:pt x="20" y="3"/>
                  <a:pt x="20" y="3"/>
                </a:cubicBezTo>
                <a:cubicBezTo>
                  <a:pt x="18" y="5"/>
                  <a:pt x="18" y="5"/>
                  <a:pt x="18" y="5"/>
                </a:cubicBezTo>
                <a:cubicBezTo>
                  <a:pt x="19" y="6"/>
                  <a:pt x="19" y="6"/>
                  <a:pt x="19" y="6"/>
                </a:cubicBezTo>
                <a:cubicBezTo>
                  <a:pt x="19" y="7"/>
                  <a:pt x="19" y="7"/>
                  <a:pt x="19" y="7"/>
                </a:cubicBezTo>
                <a:cubicBezTo>
                  <a:pt x="21" y="6"/>
                  <a:pt x="21" y="6"/>
                  <a:pt x="21" y="6"/>
                </a:cubicBezTo>
                <a:cubicBezTo>
                  <a:pt x="22" y="6"/>
                  <a:pt x="22" y="6"/>
                  <a:pt x="22" y="6"/>
                </a:cubicBezTo>
                <a:cubicBezTo>
                  <a:pt x="23" y="7"/>
                  <a:pt x="23" y="7"/>
                  <a:pt x="23" y="7"/>
                </a:cubicBezTo>
                <a:cubicBezTo>
                  <a:pt x="22" y="8"/>
                  <a:pt x="22" y="8"/>
                  <a:pt x="22" y="8"/>
                </a:cubicBezTo>
                <a:cubicBezTo>
                  <a:pt x="21" y="8"/>
                  <a:pt x="21" y="8"/>
                  <a:pt x="21" y="8"/>
                </a:cubicBezTo>
                <a:cubicBezTo>
                  <a:pt x="20" y="8"/>
                  <a:pt x="20" y="8"/>
                  <a:pt x="20" y="8"/>
                </a:cubicBezTo>
                <a:cubicBezTo>
                  <a:pt x="20" y="7"/>
                  <a:pt x="20" y="7"/>
                  <a:pt x="20" y="7"/>
                </a:cubicBezTo>
                <a:cubicBezTo>
                  <a:pt x="19" y="8"/>
                  <a:pt x="19" y="8"/>
                  <a:pt x="19" y="8"/>
                </a:cubicBezTo>
                <a:cubicBezTo>
                  <a:pt x="19" y="8"/>
                  <a:pt x="19" y="8"/>
                  <a:pt x="19" y="8"/>
                </a:cubicBezTo>
                <a:cubicBezTo>
                  <a:pt x="18" y="9"/>
                  <a:pt x="18" y="9"/>
                  <a:pt x="18" y="9"/>
                </a:cubicBezTo>
                <a:cubicBezTo>
                  <a:pt x="15" y="9"/>
                  <a:pt x="15" y="9"/>
                  <a:pt x="15" y="9"/>
                </a:cubicBezTo>
                <a:cubicBezTo>
                  <a:pt x="12" y="11"/>
                  <a:pt x="12" y="11"/>
                  <a:pt x="12" y="11"/>
                </a:cubicBezTo>
                <a:cubicBezTo>
                  <a:pt x="11" y="12"/>
                  <a:pt x="11" y="12"/>
                  <a:pt x="11" y="12"/>
                </a:cubicBezTo>
                <a:cubicBezTo>
                  <a:pt x="11" y="13"/>
                  <a:pt x="11" y="13"/>
                  <a:pt x="11" y="13"/>
                </a:cubicBezTo>
                <a:cubicBezTo>
                  <a:pt x="12" y="14"/>
                  <a:pt x="12" y="14"/>
                  <a:pt x="12" y="14"/>
                </a:cubicBezTo>
                <a:cubicBezTo>
                  <a:pt x="12" y="17"/>
                  <a:pt x="12" y="17"/>
                  <a:pt x="12" y="17"/>
                </a:cubicBezTo>
                <a:cubicBezTo>
                  <a:pt x="12" y="18"/>
                  <a:pt x="12" y="18"/>
                  <a:pt x="12" y="18"/>
                </a:cubicBezTo>
                <a:cubicBezTo>
                  <a:pt x="13" y="20"/>
                  <a:pt x="13" y="20"/>
                  <a:pt x="13" y="20"/>
                </a:cubicBezTo>
                <a:cubicBezTo>
                  <a:pt x="12" y="22"/>
                  <a:pt x="12" y="22"/>
                  <a:pt x="12" y="22"/>
                </a:cubicBezTo>
                <a:cubicBezTo>
                  <a:pt x="10" y="23"/>
                  <a:pt x="10" y="23"/>
                  <a:pt x="10" y="23"/>
                </a:cubicBezTo>
                <a:cubicBezTo>
                  <a:pt x="9" y="23"/>
                  <a:pt x="9" y="23"/>
                  <a:pt x="9" y="23"/>
                </a:cubicBezTo>
                <a:cubicBezTo>
                  <a:pt x="9" y="21"/>
                  <a:pt x="9" y="21"/>
                  <a:pt x="9" y="21"/>
                </a:cubicBezTo>
                <a:cubicBezTo>
                  <a:pt x="7" y="19"/>
                  <a:pt x="7" y="19"/>
                  <a:pt x="7" y="19"/>
                </a:cubicBezTo>
                <a:cubicBezTo>
                  <a:pt x="7" y="18"/>
                  <a:pt x="7" y="18"/>
                  <a:pt x="7" y="18"/>
                </a:cubicBezTo>
                <a:cubicBezTo>
                  <a:pt x="8" y="17"/>
                  <a:pt x="8" y="17"/>
                  <a:pt x="8" y="17"/>
                </a:cubicBezTo>
                <a:cubicBezTo>
                  <a:pt x="8" y="16"/>
                  <a:pt x="8" y="16"/>
                  <a:pt x="8" y="16"/>
                </a:cubicBezTo>
                <a:cubicBezTo>
                  <a:pt x="11" y="14"/>
                  <a:pt x="11" y="14"/>
                  <a:pt x="11" y="14"/>
                </a:cubicBezTo>
                <a:cubicBezTo>
                  <a:pt x="11" y="12"/>
                  <a:pt x="11" y="12"/>
                  <a:pt x="11" y="12"/>
                </a:cubicBezTo>
                <a:cubicBezTo>
                  <a:pt x="10" y="11"/>
                  <a:pt x="10" y="11"/>
                  <a:pt x="10" y="11"/>
                </a:cubicBezTo>
                <a:cubicBezTo>
                  <a:pt x="10" y="10"/>
                  <a:pt x="10" y="10"/>
                  <a:pt x="10" y="10"/>
                </a:cubicBezTo>
                <a:cubicBezTo>
                  <a:pt x="10" y="9"/>
                  <a:pt x="10" y="9"/>
                  <a:pt x="10" y="9"/>
                </a:cubicBezTo>
                <a:cubicBezTo>
                  <a:pt x="9" y="9"/>
                  <a:pt x="9" y="9"/>
                  <a:pt x="9" y="9"/>
                </a:cubicBezTo>
                <a:cubicBezTo>
                  <a:pt x="9" y="8"/>
                  <a:pt x="9" y="8"/>
                  <a:pt x="9" y="8"/>
                </a:cubicBezTo>
                <a:cubicBezTo>
                  <a:pt x="9" y="7"/>
                  <a:pt x="9" y="7"/>
                  <a:pt x="9" y="7"/>
                </a:cubicBezTo>
                <a:cubicBezTo>
                  <a:pt x="10" y="6"/>
                  <a:pt x="10" y="6"/>
                  <a:pt x="10" y="6"/>
                </a:cubicBezTo>
                <a:cubicBezTo>
                  <a:pt x="12" y="6"/>
                  <a:pt x="12" y="6"/>
                  <a:pt x="12" y="6"/>
                </a:cubicBezTo>
                <a:cubicBezTo>
                  <a:pt x="13" y="4"/>
                  <a:pt x="13" y="4"/>
                  <a:pt x="13" y="4"/>
                </a:cubicBezTo>
                <a:cubicBezTo>
                  <a:pt x="12" y="4"/>
                  <a:pt x="12" y="4"/>
                  <a:pt x="12" y="4"/>
                </a:cubicBezTo>
                <a:cubicBezTo>
                  <a:pt x="12" y="4"/>
                  <a:pt x="12" y="4"/>
                  <a:pt x="12" y="4"/>
                </a:cubicBezTo>
                <a:cubicBezTo>
                  <a:pt x="9" y="6"/>
                  <a:pt x="9" y="6"/>
                  <a:pt x="9" y="6"/>
                </a:cubicBezTo>
                <a:cubicBezTo>
                  <a:pt x="7" y="9"/>
                  <a:pt x="7" y="9"/>
                  <a:pt x="7" y="9"/>
                </a:cubicBezTo>
                <a:cubicBezTo>
                  <a:pt x="6" y="9"/>
                  <a:pt x="6" y="9"/>
                  <a:pt x="6" y="9"/>
                </a:cubicBezTo>
                <a:cubicBezTo>
                  <a:pt x="5" y="10"/>
                  <a:pt x="5" y="10"/>
                  <a:pt x="5" y="10"/>
                </a:cubicBezTo>
                <a:cubicBezTo>
                  <a:pt x="4" y="11"/>
                  <a:pt x="4" y="11"/>
                  <a:pt x="4" y="11"/>
                </a:cubicBezTo>
                <a:cubicBezTo>
                  <a:pt x="3" y="12"/>
                  <a:pt x="3" y="12"/>
                  <a:pt x="3" y="12"/>
                </a:cubicBezTo>
                <a:cubicBezTo>
                  <a:pt x="1" y="15"/>
                  <a:pt x="1" y="15"/>
                  <a:pt x="1" y="15"/>
                </a:cubicBezTo>
                <a:cubicBezTo>
                  <a:pt x="1" y="16"/>
                  <a:pt x="1" y="16"/>
                  <a:pt x="1" y="16"/>
                </a:cubicBezTo>
                <a:cubicBezTo>
                  <a:pt x="1" y="17"/>
                  <a:pt x="1" y="17"/>
                  <a:pt x="1" y="17"/>
                </a:cubicBezTo>
                <a:cubicBezTo>
                  <a:pt x="1" y="19"/>
                  <a:pt x="1" y="19"/>
                  <a:pt x="1" y="19"/>
                </a:cubicBezTo>
                <a:cubicBezTo>
                  <a:pt x="0" y="21"/>
                  <a:pt x="0" y="21"/>
                  <a:pt x="0" y="21"/>
                </a:cubicBezTo>
                <a:cubicBezTo>
                  <a:pt x="0" y="22"/>
                  <a:pt x="0" y="22"/>
                  <a:pt x="0" y="22"/>
                </a:cubicBezTo>
                <a:cubicBezTo>
                  <a:pt x="1" y="22"/>
                  <a:pt x="1" y="22"/>
                  <a:pt x="1" y="22"/>
                </a:cubicBezTo>
                <a:cubicBezTo>
                  <a:pt x="2" y="22"/>
                  <a:pt x="2" y="22"/>
                  <a:pt x="2" y="22"/>
                </a:cubicBezTo>
                <a:cubicBezTo>
                  <a:pt x="5" y="26"/>
                  <a:pt x="5" y="26"/>
                  <a:pt x="5" y="26"/>
                </a:cubicBezTo>
                <a:cubicBezTo>
                  <a:pt x="6" y="28"/>
                  <a:pt x="6" y="28"/>
                  <a:pt x="6" y="28"/>
                </a:cubicBezTo>
                <a:cubicBezTo>
                  <a:pt x="6" y="29"/>
                  <a:pt x="6" y="29"/>
                  <a:pt x="6" y="29"/>
                </a:cubicBezTo>
                <a:cubicBezTo>
                  <a:pt x="5" y="31"/>
                  <a:pt x="5" y="31"/>
                  <a:pt x="5" y="31"/>
                </a:cubicBezTo>
                <a:cubicBezTo>
                  <a:pt x="5" y="31"/>
                  <a:pt x="5" y="31"/>
                  <a:pt x="5" y="31"/>
                </a:cubicBezTo>
                <a:cubicBezTo>
                  <a:pt x="5" y="32"/>
                  <a:pt x="5" y="32"/>
                  <a:pt x="5" y="32"/>
                </a:cubicBezTo>
                <a:cubicBezTo>
                  <a:pt x="5" y="33"/>
                  <a:pt x="5" y="33"/>
                  <a:pt x="5" y="33"/>
                </a:cubicBezTo>
                <a:cubicBezTo>
                  <a:pt x="7" y="34"/>
                  <a:pt x="7" y="34"/>
                  <a:pt x="7" y="34"/>
                </a:cubicBezTo>
                <a:cubicBezTo>
                  <a:pt x="8" y="35"/>
                  <a:pt x="8" y="35"/>
                  <a:pt x="8" y="35"/>
                </a:cubicBezTo>
                <a:cubicBezTo>
                  <a:pt x="9" y="35"/>
                  <a:pt x="9" y="35"/>
                  <a:pt x="9" y="35"/>
                </a:cubicBezTo>
                <a:cubicBezTo>
                  <a:pt x="11" y="36"/>
                  <a:pt x="11" y="36"/>
                  <a:pt x="11" y="36"/>
                </a:cubicBezTo>
                <a:cubicBezTo>
                  <a:pt x="12" y="35"/>
                  <a:pt x="12" y="35"/>
                  <a:pt x="12" y="35"/>
                </a:cubicBezTo>
                <a:cubicBezTo>
                  <a:pt x="13" y="35"/>
                  <a:pt x="13" y="35"/>
                  <a:pt x="13" y="35"/>
                </a:cubicBezTo>
                <a:cubicBezTo>
                  <a:pt x="15" y="36"/>
                  <a:pt x="15" y="36"/>
                  <a:pt x="15" y="36"/>
                </a:cubicBezTo>
                <a:cubicBezTo>
                  <a:pt x="15" y="35"/>
                  <a:pt x="15" y="35"/>
                  <a:pt x="15" y="35"/>
                </a:cubicBezTo>
                <a:cubicBezTo>
                  <a:pt x="17" y="35"/>
                  <a:pt x="17" y="35"/>
                  <a:pt x="17" y="35"/>
                </a:cubicBezTo>
                <a:cubicBezTo>
                  <a:pt x="19" y="35"/>
                  <a:pt x="19" y="35"/>
                  <a:pt x="19" y="35"/>
                </a:cubicBezTo>
                <a:cubicBezTo>
                  <a:pt x="20" y="36"/>
                  <a:pt x="20" y="36"/>
                  <a:pt x="20" y="36"/>
                </a:cubicBezTo>
                <a:cubicBezTo>
                  <a:pt x="25" y="41"/>
                  <a:pt x="25" y="41"/>
                  <a:pt x="25" y="41"/>
                </a:cubicBezTo>
                <a:cubicBezTo>
                  <a:pt x="27" y="40"/>
                  <a:pt x="27" y="40"/>
                  <a:pt x="27" y="40"/>
                </a:cubicBezTo>
                <a:cubicBezTo>
                  <a:pt x="27" y="41"/>
                  <a:pt x="27" y="41"/>
                  <a:pt x="27" y="41"/>
                </a:cubicBezTo>
                <a:cubicBezTo>
                  <a:pt x="28" y="40"/>
                  <a:pt x="28" y="40"/>
                  <a:pt x="28" y="40"/>
                </a:cubicBezTo>
                <a:cubicBezTo>
                  <a:pt x="29" y="41"/>
                  <a:pt x="29" y="41"/>
                  <a:pt x="29" y="41"/>
                </a:cubicBezTo>
                <a:cubicBezTo>
                  <a:pt x="30" y="41"/>
                  <a:pt x="30" y="41"/>
                  <a:pt x="30" y="41"/>
                </a:cubicBezTo>
                <a:cubicBezTo>
                  <a:pt x="31" y="41"/>
                  <a:pt x="31" y="41"/>
                  <a:pt x="31" y="41"/>
                </a:cubicBezTo>
                <a:cubicBezTo>
                  <a:pt x="32" y="41"/>
                  <a:pt x="32" y="41"/>
                  <a:pt x="32" y="41"/>
                </a:cubicBezTo>
                <a:cubicBezTo>
                  <a:pt x="34" y="41"/>
                  <a:pt x="34" y="41"/>
                  <a:pt x="34" y="41"/>
                </a:cubicBezTo>
                <a:cubicBezTo>
                  <a:pt x="34" y="40"/>
                  <a:pt x="34" y="40"/>
                  <a:pt x="34" y="40"/>
                </a:cubicBezTo>
                <a:cubicBezTo>
                  <a:pt x="35" y="40"/>
                  <a:pt x="35" y="40"/>
                  <a:pt x="35" y="40"/>
                </a:cubicBezTo>
                <a:cubicBezTo>
                  <a:pt x="36" y="41"/>
                  <a:pt x="36" y="41"/>
                  <a:pt x="36" y="41"/>
                </a:cubicBezTo>
                <a:cubicBezTo>
                  <a:pt x="37" y="43"/>
                  <a:pt x="37" y="43"/>
                  <a:pt x="37" y="43"/>
                </a:cubicBezTo>
                <a:cubicBezTo>
                  <a:pt x="36" y="44"/>
                  <a:pt x="36" y="44"/>
                  <a:pt x="36" y="44"/>
                </a:cubicBezTo>
                <a:cubicBezTo>
                  <a:pt x="36" y="45"/>
                  <a:pt x="36" y="45"/>
                  <a:pt x="36" y="45"/>
                </a:cubicBezTo>
                <a:cubicBezTo>
                  <a:pt x="36" y="46"/>
                  <a:pt x="36" y="46"/>
                  <a:pt x="36" y="46"/>
                </a:cubicBezTo>
                <a:cubicBezTo>
                  <a:pt x="34" y="47"/>
                  <a:pt x="34" y="47"/>
                  <a:pt x="34" y="47"/>
                </a:cubicBezTo>
                <a:cubicBezTo>
                  <a:pt x="34" y="48"/>
                  <a:pt x="34" y="48"/>
                  <a:pt x="34" y="48"/>
                </a:cubicBezTo>
                <a:cubicBezTo>
                  <a:pt x="34" y="50"/>
                  <a:pt x="34" y="50"/>
                  <a:pt x="34" y="50"/>
                </a:cubicBezTo>
                <a:cubicBezTo>
                  <a:pt x="34" y="51"/>
                  <a:pt x="34" y="51"/>
                  <a:pt x="34" y="51"/>
                </a:cubicBezTo>
                <a:cubicBezTo>
                  <a:pt x="34" y="52"/>
                  <a:pt x="34" y="52"/>
                  <a:pt x="34" y="52"/>
                </a:cubicBezTo>
                <a:cubicBezTo>
                  <a:pt x="34" y="54"/>
                  <a:pt x="34" y="54"/>
                  <a:pt x="34" y="54"/>
                </a:cubicBezTo>
                <a:cubicBezTo>
                  <a:pt x="34" y="55"/>
                  <a:pt x="34" y="55"/>
                  <a:pt x="34" y="55"/>
                </a:cubicBezTo>
                <a:cubicBezTo>
                  <a:pt x="34" y="56"/>
                  <a:pt x="34" y="56"/>
                  <a:pt x="34" y="56"/>
                </a:cubicBezTo>
                <a:cubicBezTo>
                  <a:pt x="36" y="59"/>
                  <a:pt x="36" y="59"/>
                  <a:pt x="36" y="59"/>
                </a:cubicBezTo>
                <a:cubicBezTo>
                  <a:pt x="34" y="63"/>
                  <a:pt x="34" y="63"/>
                  <a:pt x="34" y="63"/>
                </a:cubicBezTo>
                <a:cubicBezTo>
                  <a:pt x="34" y="64"/>
                  <a:pt x="34" y="64"/>
                  <a:pt x="34" y="64"/>
                </a:cubicBezTo>
                <a:cubicBezTo>
                  <a:pt x="35" y="64"/>
                  <a:pt x="35" y="64"/>
                  <a:pt x="35" y="64"/>
                </a:cubicBezTo>
                <a:cubicBezTo>
                  <a:pt x="35" y="64"/>
                  <a:pt x="35" y="64"/>
                  <a:pt x="35" y="64"/>
                </a:cubicBezTo>
                <a:cubicBezTo>
                  <a:pt x="35" y="64"/>
                  <a:pt x="35" y="64"/>
                  <a:pt x="35" y="64"/>
                </a:cubicBezTo>
                <a:cubicBezTo>
                  <a:pt x="36" y="65"/>
                  <a:pt x="36" y="65"/>
                  <a:pt x="36" y="65"/>
                </a:cubicBezTo>
                <a:cubicBezTo>
                  <a:pt x="36" y="65"/>
                  <a:pt x="36" y="65"/>
                  <a:pt x="36" y="65"/>
                </a:cubicBezTo>
                <a:cubicBezTo>
                  <a:pt x="37" y="67"/>
                  <a:pt x="37" y="67"/>
                  <a:pt x="37" y="67"/>
                </a:cubicBezTo>
                <a:cubicBezTo>
                  <a:pt x="37" y="67"/>
                  <a:pt x="37" y="67"/>
                  <a:pt x="37" y="67"/>
                </a:cubicBezTo>
                <a:cubicBezTo>
                  <a:pt x="37" y="69"/>
                  <a:pt x="37" y="69"/>
                  <a:pt x="37" y="69"/>
                </a:cubicBezTo>
                <a:cubicBezTo>
                  <a:pt x="39" y="72"/>
                  <a:pt x="39" y="72"/>
                  <a:pt x="39" y="72"/>
                </a:cubicBezTo>
                <a:cubicBezTo>
                  <a:pt x="39" y="73"/>
                  <a:pt x="39" y="73"/>
                  <a:pt x="39" y="73"/>
                </a:cubicBezTo>
                <a:cubicBezTo>
                  <a:pt x="39" y="73"/>
                  <a:pt x="39" y="73"/>
                  <a:pt x="39" y="73"/>
                </a:cubicBezTo>
                <a:close/>
                <a:moveTo>
                  <a:pt x="30" y="2"/>
                </a:moveTo>
                <a:cubicBezTo>
                  <a:pt x="32" y="2"/>
                  <a:pt x="32" y="2"/>
                  <a:pt x="32" y="2"/>
                </a:cubicBezTo>
                <a:cubicBezTo>
                  <a:pt x="33" y="3"/>
                  <a:pt x="33" y="3"/>
                  <a:pt x="33" y="3"/>
                </a:cubicBezTo>
                <a:cubicBezTo>
                  <a:pt x="32" y="4"/>
                  <a:pt x="32" y="4"/>
                  <a:pt x="32" y="4"/>
                </a:cubicBezTo>
                <a:cubicBezTo>
                  <a:pt x="32" y="3"/>
                  <a:pt x="32" y="3"/>
                  <a:pt x="32" y="3"/>
                </a:cubicBezTo>
                <a:cubicBezTo>
                  <a:pt x="31" y="3"/>
                  <a:pt x="31" y="3"/>
                  <a:pt x="31" y="3"/>
                </a:cubicBezTo>
                <a:cubicBezTo>
                  <a:pt x="30" y="2"/>
                  <a:pt x="30" y="2"/>
                  <a:pt x="30" y="2"/>
                </a:cubicBezTo>
                <a:close/>
                <a:moveTo>
                  <a:pt x="26" y="1"/>
                </a:moveTo>
                <a:cubicBezTo>
                  <a:pt x="27" y="2"/>
                  <a:pt x="27" y="2"/>
                  <a:pt x="27" y="2"/>
                </a:cubicBezTo>
                <a:cubicBezTo>
                  <a:pt x="28" y="3"/>
                  <a:pt x="28" y="3"/>
                  <a:pt x="28" y="3"/>
                </a:cubicBezTo>
                <a:cubicBezTo>
                  <a:pt x="28" y="3"/>
                  <a:pt x="28" y="3"/>
                  <a:pt x="28" y="3"/>
                </a:cubicBezTo>
                <a:cubicBezTo>
                  <a:pt x="26" y="3"/>
                  <a:pt x="26" y="3"/>
                  <a:pt x="26" y="3"/>
                </a:cubicBezTo>
                <a:cubicBezTo>
                  <a:pt x="26" y="2"/>
                  <a:pt x="26" y="2"/>
                  <a:pt x="26" y="2"/>
                </a:cubicBezTo>
                <a:cubicBezTo>
                  <a:pt x="26" y="1"/>
                  <a:pt x="26" y="1"/>
                  <a:pt x="26" y="1"/>
                </a:cubicBezTo>
                <a:close/>
                <a:moveTo>
                  <a:pt x="20" y="0"/>
                </a:moveTo>
                <a:cubicBezTo>
                  <a:pt x="21" y="1"/>
                  <a:pt x="21" y="1"/>
                  <a:pt x="21" y="1"/>
                </a:cubicBezTo>
                <a:cubicBezTo>
                  <a:pt x="22" y="1"/>
                  <a:pt x="22" y="1"/>
                  <a:pt x="22" y="1"/>
                </a:cubicBezTo>
                <a:cubicBezTo>
                  <a:pt x="21" y="0"/>
                  <a:pt x="21" y="0"/>
                  <a:pt x="21" y="0"/>
                </a:cubicBezTo>
                <a:cubicBezTo>
                  <a:pt x="20" y="0"/>
                  <a:pt x="20" y="0"/>
                  <a:pt x="20" y="0"/>
                </a:cubicBezTo>
                <a:close/>
                <a:moveTo>
                  <a:pt x="56" y="10"/>
                </a:moveTo>
                <a:cubicBezTo>
                  <a:pt x="57" y="9"/>
                  <a:pt x="57" y="9"/>
                  <a:pt x="57" y="9"/>
                </a:cubicBezTo>
                <a:cubicBezTo>
                  <a:pt x="57" y="10"/>
                  <a:pt x="57" y="10"/>
                  <a:pt x="57" y="10"/>
                </a:cubicBezTo>
                <a:cubicBezTo>
                  <a:pt x="59" y="9"/>
                  <a:pt x="59" y="9"/>
                  <a:pt x="59" y="9"/>
                </a:cubicBezTo>
                <a:cubicBezTo>
                  <a:pt x="60" y="10"/>
                  <a:pt x="60" y="10"/>
                  <a:pt x="60" y="10"/>
                </a:cubicBezTo>
                <a:cubicBezTo>
                  <a:pt x="59" y="11"/>
                  <a:pt x="59" y="11"/>
                  <a:pt x="59" y="11"/>
                </a:cubicBezTo>
                <a:cubicBezTo>
                  <a:pt x="58" y="11"/>
                  <a:pt x="58" y="11"/>
                  <a:pt x="58" y="11"/>
                </a:cubicBezTo>
                <a:cubicBezTo>
                  <a:pt x="56" y="11"/>
                  <a:pt x="56" y="11"/>
                  <a:pt x="56" y="11"/>
                </a:cubicBezTo>
                <a:cubicBezTo>
                  <a:pt x="56" y="11"/>
                  <a:pt x="56" y="10"/>
                  <a:pt x="56" y="10"/>
                </a:cubicBez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3" name="Freeform 191">
            <a:extLst>
              <a:ext uri="{FF2B5EF4-FFF2-40B4-BE49-F238E27FC236}">
                <a16:creationId xmlns:a16="http://schemas.microsoft.com/office/drawing/2014/main" id="{CD2A600B-203D-EB08-82F8-EFDF5CF99B56}"/>
              </a:ext>
            </a:extLst>
          </p:cNvPr>
          <p:cNvSpPr>
            <a:spLocks/>
          </p:cNvSpPr>
          <p:nvPr userDrawn="1"/>
        </p:nvSpPr>
        <p:spPr bwMode="auto">
          <a:xfrm>
            <a:off x="8286212" y="8590835"/>
            <a:ext cx="755601" cy="1063626"/>
          </a:xfrm>
          <a:custGeom>
            <a:avLst/>
            <a:gdLst>
              <a:gd name="T0" fmla="*/ 194 w 238"/>
              <a:gd name="T1" fmla="*/ 276 h 335"/>
              <a:gd name="T2" fmla="*/ 191 w 238"/>
              <a:gd name="T3" fmla="*/ 241 h 335"/>
              <a:gd name="T4" fmla="*/ 191 w 238"/>
              <a:gd name="T5" fmla="*/ 229 h 335"/>
              <a:gd name="T6" fmla="*/ 210 w 238"/>
              <a:gd name="T7" fmla="*/ 213 h 335"/>
              <a:gd name="T8" fmla="*/ 225 w 238"/>
              <a:gd name="T9" fmla="*/ 210 h 335"/>
              <a:gd name="T10" fmla="*/ 238 w 238"/>
              <a:gd name="T11" fmla="*/ 226 h 335"/>
              <a:gd name="T12" fmla="*/ 228 w 238"/>
              <a:gd name="T13" fmla="*/ 201 h 335"/>
              <a:gd name="T14" fmla="*/ 222 w 238"/>
              <a:gd name="T15" fmla="*/ 197 h 335"/>
              <a:gd name="T16" fmla="*/ 222 w 238"/>
              <a:gd name="T17" fmla="*/ 166 h 335"/>
              <a:gd name="T18" fmla="*/ 222 w 238"/>
              <a:gd name="T19" fmla="*/ 144 h 335"/>
              <a:gd name="T20" fmla="*/ 228 w 238"/>
              <a:gd name="T21" fmla="*/ 125 h 335"/>
              <a:gd name="T22" fmla="*/ 213 w 238"/>
              <a:gd name="T23" fmla="*/ 125 h 335"/>
              <a:gd name="T24" fmla="*/ 200 w 238"/>
              <a:gd name="T25" fmla="*/ 122 h 335"/>
              <a:gd name="T26" fmla="*/ 163 w 238"/>
              <a:gd name="T27" fmla="*/ 107 h 335"/>
              <a:gd name="T28" fmla="*/ 144 w 238"/>
              <a:gd name="T29" fmla="*/ 107 h 335"/>
              <a:gd name="T30" fmla="*/ 131 w 238"/>
              <a:gd name="T31" fmla="*/ 94 h 335"/>
              <a:gd name="T32" fmla="*/ 122 w 238"/>
              <a:gd name="T33" fmla="*/ 66 h 335"/>
              <a:gd name="T34" fmla="*/ 119 w 238"/>
              <a:gd name="T35" fmla="*/ 50 h 335"/>
              <a:gd name="T36" fmla="*/ 131 w 238"/>
              <a:gd name="T37" fmla="*/ 28 h 335"/>
              <a:gd name="T38" fmla="*/ 153 w 238"/>
              <a:gd name="T39" fmla="*/ 10 h 335"/>
              <a:gd name="T40" fmla="*/ 160 w 238"/>
              <a:gd name="T41" fmla="*/ 3 h 335"/>
              <a:gd name="T42" fmla="*/ 144 w 238"/>
              <a:gd name="T43" fmla="*/ 3 h 335"/>
              <a:gd name="T44" fmla="*/ 138 w 238"/>
              <a:gd name="T45" fmla="*/ 10 h 335"/>
              <a:gd name="T46" fmla="*/ 113 w 238"/>
              <a:gd name="T47" fmla="*/ 22 h 335"/>
              <a:gd name="T48" fmla="*/ 100 w 238"/>
              <a:gd name="T49" fmla="*/ 28 h 335"/>
              <a:gd name="T50" fmla="*/ 94 w 238"/>
              <a:gd name="T51" fmla="*/ 28 h 335"/>
              <a:gd name="T52" fmla="*/ 78 w 238"/>
              <a:gd name="T53" fmla="*/ 32 h 335"/>
              <a:gd name="T54" fmla="*/ 69 w 238"/>
              <a:gd name="T55" fmla="*/ 50 h 335"/>
              <a:gd name="T56" fmla="*/ 63 w 238"/>
              <a:gd name="T57" fmla="*/ 60 h 335"/>
              <a:gd name="T58" fmla="*/ 47 w 238"/>
              <a:gd name="T59" fmla="*/ 75 h 335"/>
              <a:gd name="T60" fmla="*/ 47 w 238"/>
              <a:gd name="T61" fmla="*/ 91 h 335"/>
              <a:gd name="T62" fmla="*/ 38 w 238"/>
              <a:gd name="T63" fmla="*/ 82 h 335"/>
              <a:gd name="T64" fmla="*/ 35 w 238"/>
              <a:gd name="T65" fmla="*/ 85 h 335"/>
              <a:gd name="T66" fmla="*/ 25 w 238"/>
              <a:gd name="T67" fmla="*/ 104 h 335"/>
              <a:gd name="T68" fmla="*/ 31 w 238"/>
              <a:gd name="T69" fmla="*/ 119 h 335"/>
              <a:gd name="T70" fmla="*/ 31 w 238"/>
              <a:gd name="T71" fmla="*/ 129 h 335"/>
              <a:gd name="T72" fmla="*/ 31 w 238"/>
              <a:gd name="T73" fmla="*/ 141 h 335"/>
              <a:gd name="T74" fmla="*/ 31 w 238"/>
              <a:gd name="T75" fmla="*/ 166 h 335"/>
              <a:gd name="T76" fmla="*/ 41 w 238"/>
              <a:gd name="T77" fmla="*/ 172 h 335"/>
              <a:gd name="T78" fmla="*/ 28 w 238"/>
              <a:gd name="T79" fmla="*/ 194 h 335"/>
              <a:gd name="T80" fmla="*/ 3 w 238"/>
              <a:gd name="T81" fmla="*/ 219 h 335"/>
              <a:gd name="T82" fmla="*/ 25 w 238"/>
              <a:gd name="T83" fmla="*/ 235 h 335"/>
              <a:gd name="T84" fmla="*/ 44 w 238"/>
              <a:gd name="T85" fmla="*/ 251 h 335"/>
              <a:gd name="T86" fmla="*/ 56 w 238"/>
              <a:gd name="T87" fmla="*/ 244 h 335"/>
              <a:gd name="T88" fmla="*/ 72 w 238"/>
              <a:gd name="T89" fmla="*/ 251 h 335"/>
              <a:gd name="T90" fmla="*/ 88 w 238"/>
              <a:gd name="T91" fmla="*/ 257 h 335"/>
              <a:gd name="T92" fmla="*/ 97 w 238"/>
              <a:gd name="T93" fmla="*/ 276 h 335"/>
              <a:gd name="T94" fmla="*/ 116 w 238"/>
              <a:gd name="T95" fmla="*/ 291 h 335"/>
              <a:gd name="T96" fmla="*/ 125 w 238"/>
              <a:gd name="T97" fmla="*/ 301 h 335"/>
              <a:gd name="T98" fmla="*/ 147 w 238"/>
              <a:gd name="T99" fmla="*/ 297 h 335"/>
              <a:gd name="T100" fmla="*/ 166 w 238"/>
              <a:gd name="T101" fmla="*/ 297 h 335"/>
              <a:gd name="T102" fmla="*/ 163 w 238"/>
              <a:gd name="T103" fmla="*/ 326 h 335"/>
              <a:gd name="T104" fmla="*/ 178 w 238"/>
              <a:gd name="T105" fmla="*/ 335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8" h="335">
                <a:moveTo>
                  <a:pt x="178" y="335"/>
                </a:moveTo>
                <a:lnTo>
                  <a:pt x="181" y="326"/>
                </a:lnTo>
                <a:lnTo>
                  <a:pt x="191" y="285"/>
                </a:lnTo>
                <a:lnTo>
                  <a:pt x="191" y="282"/>
                </a:lnTo>
                <a:lnTo>
                  <a:pt x="194" y="276"/>
                </a:lnTo>
                <a:lnTo>
                  <a:pt x="188" y="266"/>
                </a:lnTo>
                <a:lnTo>
                  <a:pt x="181" y="260"/>
                </a:lnTo>
                <a:lnTo>
                  <a:pt x="178" y="257"/>
                </a:lnTo>
                <a:lnTo>
                  <a:pt x="175" y="244"/>
                </a:lnTo>
                <a:lnTo>
                  <a:pt x="191" y="241"/>
                </a:lnTo>
                <a:lnTo>
                  <a:pt x="194" y="244"/>
                </a:lnTo>
                <a:lnTo>
                  <a:pt x="194" y="241"/>
                </a:lnTo>
                <a:lnTo>
                  <a:pt x="194" y="238"/>
                </a:lnTo>
                <a:lnTo>
                  <a:pt x="194" y="235"/>
                </a:lnTo>
                <a:lnTo>
                  <a:pt x="191" y="229"/>
                </a:lnTo>
                <a:lnTo>
                  <a:pt x="185" y="229"/>
                </a:lnTo>
                <a:lnTo>
                  <a:pt x="181" y="222"/>
                </a:lnTo>
                <a:lnTo>
                  <a:pt x="185" y="216"/>
                </a:lnTo>
                <a:lnTo>
                  <a:pt x="206" y="216"/>
                </a:lnTo>
                <a:lnTo>
                  <a:pt x="210" y="213"/>
                </a:lnTo>
                <a:lnTo>
                  <a:pt x="213" y="213"/>
                </a:lnTo>
                <a:lnTo>
                  <a:pt x="216" y="216"/>
                </a:lnTo>
                <a:lnTo>
                  <a:pt x="216" y="216"/>
                </a:lnTo>
                <a:lnTo>
                  <a:pt x="222" y="213"/>
                </a:lnTo>
                <a:lnTo>
                  <a:pt x="225" y="210"/>
                </a:lnTo>
                <a:lnTo>
                  <a:pt x="228" y="213"/>
                </a:lnTo>
                <a:lnTo>
                  <a:pt x="231" y="216"/>
                </a:lnTo>
                <a:lnTo>
                  <a:pt x="231" y="222"/>
                </a:lnTo>
                <a:lnTo>
                  <a:pt x="231" y="226"/>
                </a:lnTo>
                <a:lnTo>
                  <a:pt x="238" y="226"/>
                </a:lnTo>
                <a:lnTo>
                  <a:pt x="238" y="222"/>
                </a:lnTo>
                <a:lnTo>
                  <a:pt x="231" y="213"/>
                </a:lnTo>
                <a:lnTo>
                  <a:pt x="231" y="207"/>
                </a:lnTo>
                <a:lnTo>
                  <a:pt x="231" y="207"/>
                </a:lnTo>
                <a:lnTo>
                  <a:pt x="228" y="201"/>
                </a:lnTo>
                <a:lnTo>
                  <a:pt x="228" y="201"/>
                </a:lnTo>
                <a:lnTo>
                  <a:pt x="225" y="197"/>
                </a:lnTo>
                <a:lnTo>
                  <a:pt x="225" y="197"/>
                </a:lnTo>
                <a:lnTo>
                  <a:pt x="225" y="197"/>
                </a:lnTo>
                <a:lnTo>
                  <a:pt x="222" y="197"/>
                </a:lnTo>
                <a:lnTo>
                  <a:pt x="222" y="194"/>
                </a:lnTo>
                <a:lnTo>
                  <a:pt x="228" y="182"/>
                </a:lnTo>
                <a:lnTo>
                  <a:pt x="222" y="172"/>
                </a:lnTo>
                <a:lnTo>
                  <a:pt x="222" y="169"/>
                </a:lnTo>
                <a:lnTo>
                  <a:pt x="222" y="166"/>
                </a:lnTo>
                <a:lnTo>
                  <a:pt x="222" y="160"/>
                </a:lnTo>
                <a:lnTo>
                  <a:pt x="222" y="157"/>
                </a:lnTo>
                <a:lnTo>
                  <a:pt x="222" y="154"/>
                </a:lnTo>
                <a:lnTo>
                  <a:pt x="222" y="147"/>
                </a:lnTo>
                <a:lnTo>
                  <a:pt x="222" y="144"/>
                </a:lnTo>
                <a:lnTo>
                  <a:pt x="228" y="141"/>
                </a:lnTo>
                <a:lnTo>
                  <a:pt x="228" y="138"/>
                </a:lnTo>
                <a:lnTo>
                  <a:pt x="228" y="135"/>
                </a:lnTo>
                <a:lnTo>
                  <a:pt x="231" y="132"/>
                </a:lnTo>
                <a:lnTo>
                  <a:pt x="228" y="125"/>
                </a:lnTo>
                <a:lnTo>
                  <a:pt x="225" y="122"/>
                </a:lnTo>
                <a:lnTo>
                  <a:pt x="222" y="122"/>
                </a:lnTo>
                <a:lnTo>
                  <a:pt x="222" y="125"/>
                </a:lnTo>
                <a:lnTo>
                  <a:pt x="216" y="125"/>
                </a:lnTo>
                <a:lnTo>
                  <a:pt x="213" y="125"/>
                </a:lnTo>
                <a:lnTo>
                  <a:pt x="210" y="125"/>
                </a:lnTo>
                <a:lnTo>
                  <a:pt x="206" y="125"/>
                </a:lnTo>
                <a:lnTo>
                  <a:pt x="203" y="122"/>
                </a:lnTo>
                <a:lnTo>
                  <a:pt x="200" y="125"/>
                </a:lnTo>
                <a:lnTo>
                  <a:pt x="200" y="122"/>
                </a:lnTo>
                <a:lnTo>
                  <a:pt x="194" y="125"/>
                </a:lnTo>
                <a:lnTo>
                  <a:pt x="178" y="110"/>
                </a:lnTo>
                <a:lnTo>
                  <a:pt x="175" y="107"/>
                </a:lnTo>
                <a:lnTo>
                  <a:pt x="169" y="107"/>
                </a:lnTo>
                <a:lnTo>
                  <a:pt x="163" y="107"/>
                </a:lnTo>
                <a:lnTo>
                  <a:pt x="163" y="110"/>
                </a:lnTo>
                <a:lnTo>
                  <a:pt x="156" y="107"/>
                </a:lnTo>
                <a:lnTo>
                  <a:pt x="153" y="107"/>
                </a:lnTo>
                <a:lnTo>
                  <a:pt x="150" y="110"/>
                </a:lnTo>
                <a:lnTo>
                  <a:pt x="144" y="107"/>
                </a:lnTo>
                <a:lnTo>
                  <a:pt x="141" y="107"/>
                </a:lnTo>
                <a:lnTo>
                  <a:pt x="138" y="104"/>
                </a:lnTo>
                <a:lnTo>
                  <a:pt x="131" y="100"/>
                </a:lnTo>
                <a:lnTo>
                  <a:pt x="131" y="97"/>
                </a:lnTo>
                <a:lnTo>
                  <a:pt x="131" y="94"/>
                </a:lnTo>
                <a:lnTo>
                  <a:pt x="131" y="94"/>
                </a:lnTo>
                <a:lnTo>
                  <a:pt x="135" y="88"/>
                </a:lnTo>
                <a:lnTo>
                  <a:pt x="135" y="85"/>
                </a:lnTo>
                <a:lnTo>
                  <a:pt x="131" y="79"/>
                </a:lnTo>
                <a:lnTo>
                  <a:pt x="122" y="66"/>
                </a:lnTo>
                <a:lnTo>
                  <a:pt x="119" y="66"/>
                </a:lnTo>
                <a:lnTo>
                  <a:pt x="116" y="66"/>
                </a:lnTo>
                <a:lnTo>
                  <a:pt x="116" y="63"/>
                </a:lnTo>
                <a:lnTo>
                  <a:pt x="119" y="57"/>
                </a:lnTo>
                <a:lnTo>
                  <a:pt x="119" y="50"/>
                </a:lnTo>
                <a:lnTo>
                  <a:pt x="119" y="47"/>
                </a:lnTo>
                <a:lnTo>
                  <a:pt x="119" y="44"/>
                </a:lnTo>
                <a:lnTo>
                  <a:pt x="125" y="35"/>
                </a:lnTo>
                <a:lnTo>
                  <a:pt x="128" y="32"/>
                </a:lnTo>
                <a:lnTo>
                  <a:pt x="131" y="28"/>
                </a:lnTo>
                <a:lnTo>
                  <a:pt x="135" y="25"/>
                </a:lnTo>
                <a:lnTo>
                  <a:pt x="138" y="25"/>
                </a:lnTo>
                <a:lnTo>
                  <a:pt x="144" y="16"/>
                </a:lnTo>
                <a:lnTo>
                  <a:pt x="153" y="10"/>
                </a:lnTo>
                <a:lnTo>
                  <a:pt x="153" y="10"/>
                </a:lnTo>
                <a:lnTo>
                  <a:pt x="156" y="10"/>
                </a:lnTo>
                <a:lnTo>
                  <a:pt x="156" y="10"/>
                </a:lnTo>
                <a:lnTo>
                  <a:pt x="160" y="10"/>
                </a:lnTo>
                <a:lnTo>
                  <a:pt x="160" y="7"/>
                </a:lnTo>
                <a:lnTo>
                  <a:pt x="160" y="3"/>
                </a:lnTo>
                <a:lnTo>
                  <a:pt x="150" y="0"/>
                </a:lnTo>
                <a:lnTo>
                  <a:pt x="147" y="0"/>
                </a:lnTo>
                <a:lnTo>
                  <a:pt x="147" y="0"/>
                </a:lnTo>
                <a:lnTo>
                  <a:pt x="147" y="3"/>
                </a:lnTo>
                <a:lnTo>
                  <a:pt x="144" y="3"/>
                </a:lnTo>
                <a:lnTo>
                  <a:pt x="144" y="3"/>
                </a:lnTo>
                <a:lnTo>
                  <a:pt x="141" y="3"/>
                </a:lnTo>
                <a:lnTo>
                  <a:pt x="138" y="3"/>
                </a:lnTo>
                <a:lnTo>
                  <a:pt x="135" y="7"/>
                </a:lnTo>
                <a:lnTo>
                  <a:pt x="138" y="10"/>
                </a:lnTo>
                <a:lnTo>
                  <a:pt x="135" y="10"/>
                </a:lnTo>
                <a:lnTo>
                  <a:pt x="131" y="13"/>
                </a:lnTo>
                <a:lnTo>
                  <a:pt x="122" y="16"/>
                </a:lnTo>
                <a:lnTo>
                  <a:pt x="119" y="19"/>
                </a:lnTo>
                <a:lnTo>
                  <a:pt x="113" y="22"/>
                </a:lnTo>
                <a:lnTo>
                  <a:pt x="106" y="22"/>
                </a:lnTo>
                <a:lnTo>
                  <a:pt x="100" y="22"/>
                </a:lnTo>
                <a:lnTo>
                  <a:pt x="97" y="22"/>
                </a:lnTo>
                <a:lnTo>
                  <a:pt x="97" y="25"/>
                </a:lnTo>
                <a:lnTo>
                  <a:pt x="100" y="28"/>
                </a:lnTo>
                <a:lnTo>
                  <a:pt x="100" y="32"/>
                </a:lnTo>
                <a:lnTo>
                  <a:pt x="97" y="35"/>
                </a:lnTo>
                <a:lnTo>
                  <a:pt x="94" y="35"/>
                </a:lnTo>
                <a:lnTo>
                  <a:pt x="94" y="32"/>
                </a:lnTo>
                <a:lnTo>
                  <a:pt x="94" y="28"/>
                </a:lnTo>
                <a:lnTo>
                  <a:pt x="97" y="28"/>
                </a:lnTo>
                <a:lnTo>
                  <a:pt x="94" y="28"/>
                </a:lnTo>
                <a:lnTo>
                  <a:pt x="88" y="25"/>
                </a:lnTo>
                <a:lnTo>
                  <a:pt x="85" y="25"/>
                </a:lnTo>
                <a:lnTo>
                  <a:pt x="78" y="32"/>
                </a:lnTo>
                <a:lnTo>
                  <a:pt x="78" y="32"/>
                </a:lnTo>
                <a:lnTo>
                  <a:pt x="72" y="38"/>
                </a:lnTo>
                <a:lnTo>
                  <a:pt x="69" y="47"/>
                </a:lnTo>
                <a:lnTo>
                  <a:pt x="66" y="50"/>
                </a:lnTo>
                <a:lnTo>
                  <a:pt x="69" y="50"/>
                </a:lnTo>
                <a:lnTo>
                  <a:pt x="69" y="50"/>
                </a:lnTo>
                <a:lnTo>
                  <a:pt x="69" y="53"/>
                </a:lnTo>
                <a:lnTo>
                  <a:pt x="69" y="60"/>
                </a:lnTo>
                <a:lnTo>
                  <a:pt x="66" y="60"/>
                </a:lnTo>
                <a:lnTo>
                  <a:pt x="63" y="60"/>
                </a:lnTo>
                <a:lnTo>
                  <a:pt x="60" y="63"/>
                </a:lnTo>
                <a:lnTo>
                  <a:pt x="56" y="66"/>
                </a:lnTo>
                <a:lnTo>
                  <a:pt x="53" y="69"/>
                </a:lnTo>
                <a:lnTo>
                  <a:pt x="50" y="72"/>
                </a:lnTo>
                <a:lnTo>
                  <a:pt x="47" y="75"/>
                </a:lnTo>
                <a:lnTo>
                  <a:pt x="44" y="75"/>
                </a:lnTo>
                <a:lnTo>
                  <a:pt x="44" y="79"/>
                </a:lnTo>
                <a:lnTo>
                  <a:pt x="47" y="82"/>
                </a:lnTo>
                <a:lnTo>
                  <a:pt x="47" y="85"/>
                </a:lnTo>
                <a:lnTo>
                  <a:pt x="47" y="91"/>
                </a:lnTo>
                <a:lnTo>
                  <a:pt x="44" y="91"/>
                </a:lnTo>
                <a:lnTo>
                  <a:pt x="41" y="88"/>
                </a:lnTo>
                <a:lnTo>
                  <a:pt x="41" y="85"/>
                </a:lnTo>
                <a:lnTo>
                  <a:pt x="41" y="85"/>
                </a:lnTo>
                <a:lnTo>
                  <a:pt x="38" y="82"/>
                </a:lnTo>
                <a:lnTo>
                  <a:pt x="38" y="79"/>
                </a:lnTo>
                <a:lnTo>
                  <a:pt x="35" y="75"/>
                </a:lnTo>
                <a:lnTo>
                  <a:pt x="31" y="79"/>
                </a:lnTo>
                <a:lnTo>
                  <a:pt x="35" y="82"/>
                </a:lnTo>
                <a:lnTo>
                  <a:pt x="35" y="85"/>
                </a:lnTo>
                <a:lnTo>
                  <a:pt x="31" y="91"/>
                </a:lnTo>
                <a:lnTo>
                  <a:pt x="31" y="94"/>
                </a:lnTo>
                <a:lnTo>
                  <a:pt x="28" y="97"/>
                </a:lnTo>
                <a:lnTo>
                  <a:pt x="25" y="97"/>
                </a:lnTo>
                <a:lnTo>
                  <a:pt x="25" y="104"/>
                </a:lnTo>
                <a:lnTo>
                  <a:pt x="25" y="104"/>
                </a:lnTo>
                <a:lnTo>
                  <a:pt x="25" y="110"/>
                </a:lnTo>
                <a:lnTo>
                  <a:pt x="25" y="113"/>
                </a:lnTo>
                <a:lnTo>
                  <a:pt x="31" y="119"/>
                </a:lnTo>
                <a:lnTo>
                  <a:pt x="31" y="119"/>
                </a:lnTo>
                <a:lnTo>
                  <a:pt x="35" y="116"/>
                </a:lnTo>
                <a:lnTo>
                  <a:pt x="35" y="119"/>
                </a:lnTo>
                <a:lnTo>
                  <a:pt x="35" y="122"/>
                </a:lnTo>
                <a:lnTo>
                  <a:pt x="31" y="125"/>
                </a:lnTo>
                <a:lnTo>
                  <a:pt x="31" y="129"/>
                </a:lnTo>
                <a:lnTo>
                  <a:pt x="35" y="132"/>
                </a:lnTo>
                <a:lnTo>
                  <a:pt x="35" y="135"/>
                </a:lnTo>
                <a:lnTo>
                  <a:pt x="31" y="138"/>
                </a:lnTo>
                <a:lnTo>
                  <a:pt x="31" y="141"/>
                </a:lnTo>
                <a:lnTo>
                  <a:pt x="31" y="141"/>
                </a:lnTo>
                <a:lnTo>
                  <a:pt x="35" y="144"/>
                </a:lnTo>
                <a:lnTo>
                  <a:pt x="35" y="150"/>
                </a:lnTo>
                <a:lnTo>
                  <a:pt x="35" y="160"/>
                </a:lnTo>
                <a:lnTo>
                  <a:pt x="31" y="163"/>
                </a:lnTo>
                <a:lnTo>
                  <a:pt x="31" y="166"/>
                </a:lnTo>
                <a:lnTo>
                  <a:pt x="31" y="169"/>
                </a:lnTo>
                <a:lnTo>
                  <a:pt x="38" y="169"/>
                </a:lnTo>
                <a:lnTo>
                  <a:pt x="35" y="169"/>
                </a:lnTo>
                <a:lnTo>
                  <a:pt x="38" y="172"/>
                </a:lnTo>
                <a:lnTo>
                  <a:pt x="41" y="172"/>
                </a:lnTo>
                <a:lnTo>
                  <a:pt x="41" y="175"/>
                </a:lnTo>
                <a:lnTo>
                  <a:pt x="38" y="179"/>
                </a:lnTo>
                <a:lnTo>
                  <a:pt x="38" y="182"/>
                </a:lnTo>
                <a:lnTo>
                  <a:pt x="28" y="188"/>
                </a:lnTo>
                <a:lnTo>
                  <a:pt x="28" y="194"/>
                </a:lnTo>
                <a:lnTo>
                  <a:pt x="22" y="197"/>
                </a:lnTo>
                <a:lnTo>
                  <a:pt x="13" y="201"/>
                </a:lnTo>
                <a:lnTo>
                  <a:pt x="10" y="204"/>
                </a:lnTo>
                <a:lnTo>
                  <a:pt x="3" y="213"/>
                </a:lnTo>
                <a:lnTo>
                  <a:pt x="3" y="219"/>
                </a:lnTo>
                <a:lnTo>
                  <a:pt x="0" y="222"/>
                </a:lnTo>
                <a:lnTo>
                  <a:pt x="6" y="226"/>
                </a:lnTo>
                <a:lnTo>
                  <a:pt x="13" y="229"/>
                </a:lnTo>
                <a:lnTo>
                  <a:pt x="22" y="235"/>
                </a:lnTo>
                <a:lnTo>
                  <a:pt x="25" y="235"/>
                </a:lnTo>
                <a:lnTo>
                  <a:pt x="31" y="241"/>
                </a:lnTo>
                <a:lnTo>
                  <a:pt x="28" y="244"/>
                </a:lnTo>
                <a:lnTo>
                  <a:pt x="31" y="244"/>
                </a:lnTo>
                <a:lnTo>
                  <a:pt x="38" y="247"/>
                </a:lnTo>
                <a:lnTo>
                  <a:pt x="44" y="251"/>
                </a:lnTo>
                <a:lnTo>
                  <a:pt x="47" y="251"/>
                </a:lnTo>
                <a:lnTo>
                  <a:pt x="53" y="254"/>
                </a:lnTo>
                <a:lnTo>
                  <a:pt x="53" y="251"/>
                </a:lnTo>
                <a:lnTo>
                  <a:pt x="53" y="247"/>
                </a:lnTo>
                <a:lnTo>
                  <a:pt x="56" y="244"/>
                </a:lnTo>
                <a:lnTo>
                  <a:pt x="60" y="244"/>
                </a:lnTo>
                <a:lnTo>
                  <a:pt x="63" y="247"/>
                </a:lnTo>
                <a:lnTo>
                  <a:pt x="66" y="247"/>
                </a:lnTo>
                <a:lnTo>
                  <a:pt x="69" y="251"/>
                </a:lnTo>
                <a:lnTo>
                  <a:pt x="72" y="251"/>
                </a:lnTo>
                <a:lnTo>
                  <a:pt x="72" y="251"/>
                </a:lnTo>
                <a:lnTo>
                  <a:pt x="72" y="251"/>
                </a:lnTo>
                <a:lnTo>
                  <a:pt x="75" y="254"/>
                </a:lnTo>
                <a:lnTo>
                  <a:pt x="81" y="257"/>
                </a:lnTo>
                <a:lnTo>
                  <a:pt x="88" y="257"/>
                </a:lnTo>
                <a:lnTo>
                  <a:pt x="88" y="260"/>
                </a:lnTo>
                <a:lnTo>
                  <a:pt x="91" y="263"/>
                </a:lnTo>
                <a:lnTo>
                  <a:pt x="94" y="269"/>
                </a:lnTo>
                <a:lnTo>
                  <a:pt x="97" y="276"/>
                </a:lnTo>
                <a:lnTo>
                  <a:pt x="97" y="276"/>
                </a:lnTo>
                <a:lnTo>
                  <a:pt x="106" y="279"/>
                </a:lnTo>
                <a:lnTo>
                  <a:pt x="113" y="282"/>
                </a:lnTo>
                <a:lnTo>
                  <a:pt x="113" y="288"/>
                </a:lnTo>
                <a:lnTo>
                  <a:pt x="113" y="288"/>
                </a:lnTo>
                <a:lnTo>
                  <a:pt x="116" y="291"/>
                </a:lnTo>
                <a:lnTo>
                  <a:pt x="119" y="294"/>
                </a:lnTo>
                <a:lnTo>
                  <a:pt x="116" y="297"/>
                </a:lnTo>
                <a:lnTo>
                  <a:pt x="119" y="301"/>
                </a:lnTo>
                <a:lnTo>
                  <a:pt x="122" y="301"/>
                </a:lnTo>
                <a:lnTo>
                  <a:pt x="125" y="301"/>
                </a:lnTo>
                <a:lnTo>
                  <a:pt x="128" y="301"/>
                </a:lnTo>
                <a:lnTo>
                  <a:pt x="135" y="301"/>
                </a:lnTo>
                <a:lnTo>
                  <a:pt x="135" y="301"/>
                </a:lnTo>
                <a:lnTo>
                  <a:pt x="141" y="297"/>
                </a:lnTo>
                <a:lnTo>
                  <a:pt x="147" y="297"/>
                </a:lnTo>
                <a:lnTo>
                  <a:pt x="153" y="301"/>
                </a:lnTo>
                <a:lnTo>
                  <a:pt x="160" y="297"/>
                </a:lnTo>
                <a:lnTo>
                  <a:pt x="163" y="297"/>
                </a:lnTo>
                <a:lnTo>
                  <a:pt x="163" y="297"/>
                </a:lnTo>
                <a:lnTo>
                  <a:pt x="166" y="297"/>
                </a:lnTo>
                <a:lnTo>
                  <a:pt x="172" y="301"/>
                </a:lnTo>
                <a:lnTo>
                  <a:pt x="172" y="304"/>
                </a:lnTo>
                <a:lnTo>
                  <a:pt x="175" y="304"/>
                </a:lnTo>
                <a:lnTo>
                  <a:pt x="175" y="304"/>
                </a:lnTo>
                <a:lnTo>
                  <a:pt x="163" y="326"/>
                </a:lnTo>
                <a:lnTo>
                  <a:pt x="166" y="329"/>
                </a:lnTo>
                <a:lnTo>
                  <a:pt x="169" y="329"/>
                </a:lnTo>
                <a:lnTo>
                  <a:pt x="175" y="329"/>
                </a:lnTo>
                <a:lnTo>
                  <a:pt x="178" y="332"/>
                </a:lnTo>
                <a:lnTo>
                  <a:pt x="178" y="335"/>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4" name="Freeform 192">
            <a:extLst>
              <a:ext uri="{FF2B5EF4-FFF2-40B4-BE49-F238E27FC236}">
                <a16:creationId xmlns:a16="http://schemas.microsoft.com/office/drawing/2014/main" id="{877E7F5E-0181-874D-0ACB-88BC510E4A48}"/>
              </a:ext>
            </a:extLst>
          </p:cNvPr>
          <p:cNvSpPr>
            <a:spLocks noEditPoints="1"/>
          </p:cNvSpPr>
          <p:nvPr userDrawn="1"/>
        </p:nvSpPr>
        <p:spPr bwMode="auto">
          <a:xfrm>
            <a:off x="8159216" y="9295680"/>
            <a:ext cx="365102" cy="409576"/>
          </a:xfrm>
          <a:custGeom>
            <a:avLst/>
            <a:gdLst>
              <a:gd name="T0" fmla="*/ 112 w 115"/>
              <a:gd name="T1" fmla="*/ 29 h 129"/>
              <a:gd name="T2" fmla="*/ 106 w 115"/>
              <a:gd name="T3" fmla="*/ 25 h 129"/>
              <a:gd name="T4" fmla="*/ 100 w 115"/>
              <a:gd name="T5" fmla="*/ 22 h 129"/>
              <a:gd name="T6" fmla="*/ 93 w 115"/>
              <a:gd name="T7" fmla="*/ 25 h 129"/>
              <a:gd name="T8" fmla="*/ 93 w 115"/>
              <a:gd name="T9" fmla="*/ 32 h 129"/>
              <a:gd name="T10" fmla="*/ 84 w 115"/>
              <a:gd name="T11" fmla="*/ 29 h 129"/>
              <a:gd name="T12" fmla="*/ 71 w 115"/>
              <a:gd name="T13" fmla="*/ 22 h 129"/>
              <a:gd name="T14" fmla="*/ 71 w 115"/>
              <a:gd name="T15" fmla="*/ 19 h 129"/>
              <a:gd name="T16" fmla="*/ 62 w 115"/>
              <a:gd name="T17" fmla="*/ 13 h 129"/>
              <a:gd name="T18" fmla="*/ 46 w 115"/>
              <a:gd name="T19" fmla="*/ 4 h 129"/>
              <a:gd name="T20" fmla="*/ 40 w 115"/>
              <a:gd name="T21" fmla="*/ 7 h 129"/>
              <a:gd name="T22" fmla="*/ 25 w 115"/>
              <a:gd name="T23" fmla="*/ 13 h 129"/>
              <a:gd name="T24" fmla="*/ 15 w 115"/>
              <a:gd name="T25" fmla="*/ 16 h 129"/>
              <a:gd name="T26" fmla="*/ 18 w 115"/>
              <a:gd name="T27" fmla="*/ 22 h 129"/>
              <a:gd name="T28" fmla="*/ 18 w 115"/>
              <a:gd name="T29" fmla="*/ 32 h 129"/>
              <a:gd name="T30" fmla="*/ 12 w 115"/>
              <a:gd name="T31" fmla="*/ 41 h 129"/>
              <a:gd name="T32" fmla="*/ 9 w 115"/>
              <a:gd name="T33" fmla="*/ 50 h 129"/>
              <a:gd name="T34" fmla="*/ 3 w 115"/>
              <a:gd name="T35" fmla="*/ 54 h 129"/>
              <a:gd name="T36" fmla="*/ 3 w 115"/>
              <a:gd name="T37" fmla="*/ 63 h 129"/>
              <a:gd name="T38" fmla="*/ 6 w 115"/>
              <a:gd name="T39" fmla="*/ 72 h 129"/>
              <a:gd name="T40" fmla="*/ 0 w 115"/>
              <a:gd name="T41" fmla="*/ 75 h 129"/>
              <a:gd name="T42" fmla="*/ 6 w 115"/>
              <a:gd name="T43" fmla="*/ 82 h 129"/>
              <a:gd name="T44" fmla="*/ 15 w 115"/>
              <a:gd name="T45" fmla="*/ 88 h 129"/>
              <a:gd name="T46" fmla="*/ 18 w 115"/>
              <a:gd name="T47" fmla="*/ 82 h 129"/>
              <a:gd name="T48" fmla="*/ 21 w 115"/>
              <a:gd name="T49" fmla="*/ 75 h 129"/>
              <a:gd name="T50" fmla="*/ 21 w 115"/>
              <a:gd name="T51" fmla="*/ 82 h 129"/>
              <a:gd name="T52" fmla="*/ 21 w 115"/>
              <a:gd name="T53" fmla="*/ 79 h 129"/>
              <a:gd name="T54" fmla="*/ 25 w 115"/>
              <a:gd name="T55" fmla="*/ 82 h 129"/>
              <a:gd name="T56" fmla="*/ 25 w 115"/>
              <a:gd name="T57" fmla="*/ 91 h 129"/>
              <a:gd name="T58" fmla="*/ 18 w 115"/>
              <a:gd name="T59" fmla="*/ 101 h 129"/>
              <a:gd name="T60" fmla="*/ 21 w 115"/>
              <a:gd name="T61" fmla="*/ 107 h 129"/>
              <a:gd name="T62" fmla="*/ 12 w 115"/>
              <a:gd name="T63" fmla="*/ 113 h 129"/>
              <a:gd name="T64" fmla="*/ 18 w 115"/>
              <a:gd name="T65" fmla="*/ 116 h 129"/>
              <a:gd name="T66" fmla="*/ 25 w 115"/>
              <a:gd name="T67" fmla="*/ 119 h 129"/>
              <a:gd name="T68" fmla="*/ 34 w 115"/>
              <a:gd name="T69" fmla="*/ 119 h 129"/>
              <a:gd name="T70" fmla="*/ 43 w 115"/>
              <a:gd name="T71" fmla="*/ 129 h 129"/>
              <a:gd name="T72" fmla="*/ 62 w 115"/>
              <a:gd name="T73" fmla="*/ 94 h 129"/>
              <a:gd name="T74" fmla="*/ 84 w 115"/>
              <a:gd name="T75" fmla="*/ 85 h 129"/>
              <a:gd name="T76" fmla="*/ 106 w 115"/>
              <a:gd name="T77" fmla="*/ 66 h 129"/>
              <a:gd name="T78" fmla="*/ 115 w 115"/>
              <a:gd name="T79" fmla="*/ 54 h 129"/>
              <a:gd name="T80" fmla="*/ 115 w 115"/>
              <a:gd name="T81" fmla="*/ 47 h 129"/>
              <a:gd name="T82" fmla="*/ 112 w 115"/>
              <a:gd name="T83" fmla="*/ 35 h 129"/>
              <a:gd name="T84" fmla="*/ 112 w 115"/>
              <a:gd name="T85" fmla="*/ 29 h 129"/>
              <a:gd name="T86" fmla="*/ 112 w 115"/>
              <a:gd name="T87" fmla="*/ 29 h 129"/>
              <a:gd name="T88" fmla="*/ 15 w 115"/>
              <a:gd name="T89" fmla="*/ 91 h 129"/>
              <a:gd name="T90" fmla="*/ 18 w 115"/>
              <a:gd name="T91" fmla="*/ 85 h 129"/>
              <a:gd name="T92" fmla="*/ 18 w 115"/>
              <a:gd name="T93" fmla="*/ 88 h 129"/>
              <a:gd name="T94" fmla="*/ 18 w 115"/>
              <a:gd name="T95" fmla="*/ 94 h 129"/>
              <a:gd name="T96" fmla="*/ 15 w 115"/>
              <a:gd name="T97" fmla="*/ 9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5" h="129">
                <a:moveTo>
                  <a:pt x="112" y="29"/>
                </a:moveTo>
                <a:lnTo>
                  <a:pt x="112" y="29"/>
                </a:lnTo>
                <a:lnTo>
                  <a:pt x="109" y="29"/>
                </a:lnTo>
                <a:lnTo>
                  <a:pt x="106" y="25"/>
                </a:lnTo>
                <a:lnTo>
                  <a:pt x="103" y="25"/>
                </a:lnTo>
                <a:lnTo>
                  <a:pt x="100" y="22"/>
                </a:lnTo>
                <a:lnTo>
                  <a:pt x="96" y="22"/>
                </a:lnTo>
                <a:lnTo>
                  <a:pt x="93" y="25"/>
                </a:lnTo>
                <a:lnTo>
                  <a:pt x="93" y="29"/>
                </a:lnTo>
                <a:lnTo>
                  <a:pt x="93" y="32"/>
                </a:lnTo>
                <a:lnTo>
                  <a:pt x="87" y="29"/>
                </a:lnTo>
                <a:lnTo>
                  <a:pt x="84" y="29"/>
                </a:lnTo>
                <a:lnTo>
                  <a:pt x="78" y="25"/>
                </a:lnTo>
                <a:lnTo>
                  <a:pt x="71" y="22"/>
                </a:lnTo>
                <a:lnTo>
                  <a:pt x="68" y="22"/>
                </a:lnTo>
                <a:lnTo>
                  <a:pt x="71" y="19"/>
                </a:lnTo>
                <a:lnTo>
                  <a:pt x="65" y="13"/>
                </a:lnTo>
                <a:lnTo>
                  <a:pt x="62" y="13"/>
                </a:lnTo>
                <a:lnTo>
                  <a:pt x="53" y="7"/>
                </a:lnTo>
                <a:lnTo>
                  <a:pt x="46" y="4"/>
                </a:lnTo>
                <a:lnTo>
                  <a:pt x="40" y="0"/>
                </a:lnTo>
                <a:lnTo>
                  <a:pt x="40" y="7"/>
                </a:lnTo>
                <a:lnTo>
                  <a:pt x="34" y="7"/>
                </a:lnTo>
                <a:lnTo>
                  <a:pt x="25" y="13"/>
                </a:lnTo>
                <a:lnTo>
                  <a:pt x="21" y="13"/>
                </a:lnTo>
                <a:lnTo>
                  <a:pt x="15" y="16"/>
                </a:lnTo>
                <a:lnTo>
                  <a:pt x="18" y="19"/>
                </a:lnTo>
                <a:lnTo>
                  <a:pt x="18" y="22"/>
                </a:lnTo>
                <a:lnTo>
                  <a:pt x="18" y="25"/>
                </a:lnTo>
                <a:lnTo>
                  <a:pt x="18" y="32"/>
                </a:lnTo>
                <a:lnTo>
                  <a:pt x="12" y="38"/>
                </a:lnTo>
                <a:lnTo>
                  <a:pt x="12" y="41"/>
                </a:lnTo>
                <a:lnTo>
                  <a:pt x="12" y="44"/>
                </a:lnTo>
                <a:lnTo>
                  <a:pt x="9" y="50"/>
                </a:lnTo>
                <a:lnTo>
                  <a:pt x="6" y="50"/>
                </a:lnTo>
                <a:lnTo>
                  <a:pt x="3" y="54"/>
                </a:lnTo>
                <a:lnTo>
                  <a:pt x="3" y="57"/>
                </a:lnTo>
                <a:lnTo>
                  <a:pt x="3" y="63"/>
                </a:lnTo>
                <a:lnTo>
                  <a:pt x="3" y="66"/>
                </a:lnTo>
                <a:lnTo>
                  <a:pt x="6" y="72"/>
                </a:lnTo>
                <a:lnTo>
                  <a:pt x="3" y="75"/>
                </a:lnTo>
                <a:lnTo>
                  <a:pt x="0" y="75"/>
                </a:lnTo>
                <a:lnTo>
                  <a:pt x="3" y="79"/>
                </a:lnTo>
                <a:lnTo>
                  <a:pt x="6" y="82"/>
                </a:lnTo>
                <a:lnTo>
                  <a:pt x="12" y="85"/>
                </a:lnTo>
                <a:lnTo>
                  <a:pt x="15" y="88"/>
                </a:lnTo>
                <a:lnTo>
                  <a:pt x="15" y="85"/>
                </a:lnTo>
                <a:lnTo>
                  <a:pt x="18" y="82"/>
                </a:lnTo>
                <a:lnTo>
                  <a:pt x="18" y="79"/>
                </a:lnTo>
                <a:lnTo>
                  <a:pt x="21" y="75"/>
                </a:lnTo>
                <a:lnTo>
                  <a:pt x="21" y="79"/>
                </a:lnTo>
                <a:lnTo>
                  <a:pt x="21" y="82"/>
                </a:lnTo>
                <a:lnTo>
                  <a:pt x="21" y="82"/>
                </a:lnTo>
                <a:lnTo>
                  <a:pt x="21" y="79"/>
                </a:lnTo>
                <a:lnTo>
                  <a:pt x="25" y="79"/>
                </a:lnTo>
                <a:lnTo>
                  <a:pt x="25" y="82"/>
                </a:lnTo>
                <a:lnTo>
                  <a:pt x="25" y="88"/>
                </a:lnTo>
                <a:lnTo>
                  <a:pt x="25" y="91"/>
                </a:lnTo>
                <a:lnTo>
                  <a:pt x="21" y="97"/>
                </a:lnTo>
                <a:lnTo>
                  <a:pt x="18" y="101"/>
                </a:lnTo>
                <a:lnTo>
                  <a:pt x="18" y="101"/>
                </a:lnTo>
                <a:lnTo>
                  <a:pt x="21" y="107"/>
                </a:lnTo>
                <a:lnTo>
                  <a:pt x="15" y="110"/>
                </a:lnTo>
                <a:lnTo>
                  <a:pt x="12" y="113"/>
                </a:lnTo>
                <a:lnTo>
                  <a:pt x="15" y="116"/>
                </a:lnTo>
                <a:lnTo>
                  <a:pt x="18" y="116"/>
                </a:lnTo>
                <a:lnTo>
                  <a:pt x="21" y="116"/>
                </a:lnTo>
                <a:lnTo>
                  <a:pt x="25" y="119"/>
                </a:lnTo>
                <a:lnTo>
                  <a:pt x="31" y="119"/>
                </a:lnTo>
                <a:lnTo>
                  <a:pt x="34" y="119"/>
                </a:lnTo>
                <a:lnTo>
                  <a:pt x="40" y="129"/>
                </a:lnTo>
                <a:lnTo>
                  <a:pt x="43" y="129"/>
                </a:lnTo>
                <a:lnTo>
                  <a:pt x="46" y="126"/>
                </a:lnTo>
                <a:lnTo>
                  <a:pt x="62" y="94"/>
                </a:lnTo>
                <a:lnTo>
                  <a:pt x="62" y="91"/>
                </a:lnTo>
                <a:lnTo>
                  <a:pt x="84" y="85"/>
                </a:lnTo>
                <a:lnTo>
                  <a:pt x="93" y="79"/>
                </a:lnTo>
                <a:lnTo>
                  <a:pt x="106" y="66"/>
                </a:lnTo>
                <a:lnTo>
                  <a:pt x="112" y="54"/>
                </a:lnTo>
                <a:lnTo>
                  <a:pt x="115" y="54"/>
                </a:lnTo>
                <a:lnTo>
                  <a:pt x="115" y="50"/>
                </a:lnTo>
                <a:lnTo>
                  <a:pt x="115" y="47"/>
                </a:lnTo>
                <a:lnTo>
                  <a:pt x="115" y="41"/>
                </a:lnTo>
                <a:lnTo>
                  <a:pt x="112" y="35"/>
                </a:lnTo>
                <a:lnTo>
                  <a:pt x="112" y="32"/>
                </a:lnTo>
                <a:lnTo>
                  <a:pt x="112" y="29"/>
                </a:lnTo>
                <a:lnTo>
                  <a:pt x="112" y="29"/>
                </a:lnTo>
                <a:lnTo>
                  <a:pt x="112" y="29"/>
                </a:lnTo>
                <a:close/>
                <a:moveTo>
                  <a:pt x="15" y="94"/>
                </a:moveTo>
                <a:lnTo>
                  <a:pt x="15" y="91"/>
                </a:lnTo>
                <a:lnTo>
                  <a:pt x="15" y="88"/>
                </a:lnTo>
                <a:lnTo>
                  <a:pt x="18" y="85"/>
                </a:lnTo>
                <a:lnTo>
                  <a:pt x="18" y="85"/>
                </a:lnTo>
                <a:lnTo>
                  <a:pt x="18" y="88"/>
                </a:lnTo>
                <a:lnTo>
                  <a:pt x="18" y="91"/>
                </a:lnTo>
                <a:lnTo>
                  <a:pt x="18" y="94"/>
                </a:lnTo>
                <a:lnTo>
                  <a:pt x="15" y="94"/>
                </a:lnTo>
                <a:lnTo>
                  <a:pt x="15" y="94"/>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5" name="Freeform 193">
            <a:extLst>
              <a:ext uri="{FF2B5EF4-FFF2-40B4-BE49-F238E27FC236}">
                <a16:creationId xmlns:a16="http://schemas.microsoft.com/office/drawing/2014/main" id="{EE2A6835-450E-2E8B-CFC8-04F45F113745}"/>
              </a:ext>
            </a:extLst>
          </p:cNvPr>
          <p:cNvSpPr>
            <a:spLocks/>
          </p:cNvSpPr>
          <p:nvPr userDrawn="1"/>
        </p:nvSpPr>
        <p:spPr bwMode="auto">
          <a:xfrm>
            <a:off x="8136993" y="9387761"/>
            <a:ext cx="803226" cy="1190626"/>
          </a:xfrm>
          <a:custGeom>
            <a:avLst/>
            <a:gdLst>
              <a:gd name="T0" fmla="*/ 232 w 253"/>
              <a:gd name="T1" fmla="*/ 222 h 375"/>
              <a:gd name="T2" fmla="*/ 219 w 253"/>
              <a:gd name="T3" fmla="*/ 222 h 375"/>
              <a:gd name="T4" fmla="*/ 219 w 253"/>
              <a:gd name="T5" fmla="*/ 197 h 375"/>
              <a:gd name="T6" fmla="*/ 200 w 253"/>
              <a:gd name="T7" fmla="*/ 200 h 375"/>
              <a:gd name="T8" fmla="*/ 178 w 253"/>
              <a:gd name="T9" fmla="*/ 187 h 375"/>
              <a:gd name="T10" fmla="*/ 157 w 253"/>
              <a:gd name="T11" fmla="*/ 165 h 375"/>
              <a:gd name="T12" fmla="*/ 150 w 253"/>
              <a:gd name="T13" fmla="*/ 153 h 375"/>
              <a:gd name="T14" fmla="*/ 153 w 253"/>
              <a:gd name="T15" fmla="*/ 137 h 375"/>
              <a:gd name="T16" fmla="*/ 163 w 253"/>
              <a:gd name="T17" fmla="*/ 128 h 375"/>
              <a:gd name="T18" fmla="*/ 166 w 253"/>
              <a:gd name="T19" fmla="*/ 109 h 375"/>
              <a:gd name="T20" fmla="*/ 178 w 253"/>
              <a:gd name="T21" fmla="*/ 97 h 375"/>
              <a:gd name="T22" fmla="*/ 207 w 253"/>
              <a:gd name="T23" fmla="*/ 87 h 375"/>
              <a:gd name="T24" fmla="*/ 216 w 253"/>
              <a:gd name="T25" fmla="*/ 84 h 375"/>
              <a:gd name="T26" fmla="*/ 225 w 253"/>
              <a:gd name="T27" fmla="*/ 87 h 375"/>
              <a:gd name="T28" fmla="*/ 213 w 253"/>
              <a:gd name="T29" fmla="*/ 78 h 375"/>
              <a:gd name="T30" fmla="*/ 219 w 253"/>
              <a:gd name="T31" fmla="*/ 53 h 375"/>
              <a:gd name="T32" fmla="*/ 210 w 253"/>
              <a:gd name="T33" fmla="*/ 46 h 375"/>
              <a:gd name="T34" fmla="*/ 188 w 253"/>
              <a:gd name="T35" fmla="*/ 46 h 375"/>
              <a:gd name="T36" fmla="*/ 172 w 253"/>
              <a:gd name="T37" fmla="*/ 50 h 375"/>
              <a:gd name="T38" fmla="*/ 166 w 253"/>
              <a:gd name="T39" fmla="*/ 43 h 375"/>
              <a:gd name="T40" fmla="*/ 160 w 253"/>
              <a:gd name="T41" fmla="*/ 31 h 375"/>
              <a:gd name="T42" fmla="*/ 141 w 253"/>
              <a:gd name="T43" fmla="*/ 18 h 375"/>
              <a:gd name="T44" fmla="*/ 128 w 253"/>
              <a:gd name="T45" fmla="*/ 6 h 375"/>
              <a:gd name="T46" fmla="*/ 119 w 253"/>
              <a:gd name="T47" fmla="*/ 3 h 375"/>
              <a:gd name="T48" fmla="*/ 122 w 253"/>
              <a:gd name="T49" fmla="*/ 21 h 375"/>
              <a:gd name="T50" fmla="*/ 100 w 253"/>
              <a:gd name="T51" fmla="*/ 50 h 375"/>
              <a:gd name="T52" fmla="*/ 53 w 253"/>
              <a:gd name="T53" fmla="*/ 97 h 375"/>
              <a:gd name="T54" fmla="*/ 38 w 253"/>
              <a:gd name="T55" fmla="*/ 90 h 375"/>
              <a:gd name="T56" fmla="*/ 22 w 253"/>
              <a:gd name="T57" fmla="*/ 87 h 375"/>
              <a:gd name="T58" fmla="*/ 25 w 253"/>
              <a:gd name="T59" fmla="*/ 72 h 375"/>
              <a:gd name="T60" fmla="*/ 10 w 253"/>
              <a:gd name="T61" fmla="*/ 81 h 375"/>
              <a:gd name="T62" fmla="*/ 0 w 253"/>
              <a:gd name="T63" fmla="*/ 97 h 375"/>
              <a:gd name="T64" fmla="*/ 3 w 253"/>
              <a:gd name="T65" fmla="*/ 106 h 375"/>
              <a:gd name="T66" fmla="*/ 7 w 253"/>
              <a:gd name="T67" fmla="*/ 118 h 375"/>
              <a:gd name="T68" fmla="*/ 10 w 253"/>
              <a:gd name="T69" fmla="*/ 128 h 375"/>
              <a:gd name="T70" fmla="*/ 32 w 253"/>
              <a:gd name="T71" fmla="*/ 140 h 375"/>
              <a:gd name="T72" fmla="*/ 41 w 253"/>
              <a:gd name="T73" fmla="*/ 159 h 375"/>
              <a:gd name="T74" fmla="*/ 57 w 253"/>
              <a:gd name="T75" fmla="*/ 178 h 375"/>
              <a:gd name="T76" fmla="*/ 66 w 253"/>
              <a:gd name="T77" fmla="*/ 197 h 375"/>
              <a:gd name="T78" fmla="*/ 75 w 253"/>
              <a:gd name="T79" fmla="*/ 219 h 375"/>
              <a:gd name="T80" fmla="*/ 78 w 253"/>
              <a:gd name="T81" fmla="*/ 228 h 375"/>
              <a:gd name="T82" fmla="*/ 91 w 253"/>
              <a:gd name="T83" fmla="*/ 247 h 375"/>
              <a:gd name="T84" fmla="*/ 103 w 253"/>
              <a:gd name="T85" fmla="*/ 265 h 375"/>
              <a:gd name="T86" fmla="*/ 107 w 253"/>
              <a:gd name="T87" fmla="*/ 278 h 375"/>
              <a:gd name="T88" fmla="*/ 110 w 253"/>
              <a:gd name="T89" fmla="*/ 287 h 375"/>
              <a:gd name="T90" fmla="*/ 119 w 253"/>
              <a:gd name="T91" fmla="*/ 297 h 375"/>
              <a:gd name="T92" fmla="*/ 132 w 253"/>
              <a:gd name="T93" fmla="*/ 306 h 375"/>
              <a:gd name="T94" fmla="*/ 141 w 253"/>
              <a:gd name="T95" fmla="*/ 312 h 375"/>
              <a:gd name="T96" fmla="*/ 153 w 253"/>
              <a:gd name="T97" fmla="*/ 322 h 375"/>
              <a:gd name="T98" fmla="*/ 163 w 253"/>
              <a:gd name="T99" fmla="*/ 331 h 375"/>
              <a:gd name="T100" fmla="*/ 182 w 253"/>
              <a:gd name="T101" fmla="*/ 337 h 375"/>
              <a:gd name="T102" fmla="*/ 194 w 253"/>
              <a:gd name="T103" fmla="*/ 347 h 375"/>
              <a:gd name="T104" fmla="*/ 203 w 253"/>
              <a:gd name="T105" fmla="*/ 356 h 375"/>
              <a:gd name="T106" fmla="*/ 213 w 253"/>
              <a:gd name="T107" fmla="*/ 362 h 375"/>
              <a:gd name="T108" fmla="*/ 228 w 253"/>
              <a:gd name="T109" fmla="*/ 375 h 375"/>
              <a:gd name="T110" fmla="*/ 244 w 253"/>
              <a:gd name="T111" fmla="*/ 369 h 375"/>
              <a:gd name="T112" fmla="*/ 244 w 253"/>
              <a:gd name="T113" fmla="*/ 353 h 375"/>
              <a:gd name="T114" fmla="*/ 241 w 253"/>
              <a:gd name="T115" fmla="*/ 350 h 375"/>
              <a:gd name="T116" fmla="*/ 253 w 253"/>
              <a:gd name="T117" fmla="*/ 331 h 375"/>
              <a:gd name="T118" fmla="*/ 250 w 253"/>
              <a:gd name="T119" fmla="*/ 306 h 375"/>
              <a:gd name="T120" fmla="*/ 250 w 253"/>
              <a:gd name="T121" fmla="*/ 281 h 375"/>
              <a:gd name="T122" fmla="*/ 253 w 253"/>
              <a:gd name="T123" fmla="*/ 25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375">
                <a:moveTo>
                  <a:pt x="238" y="222"/>
                </a:moveTo>
                <a:lnTo>
                  <a:pt x="235" y="222"/>
                </a:lnTo>
                <a:lnTo>
                  <a:pt x="235" y="222"/>
                </a:lnTo>
                <a:lnTo>
                  <a:pt x="232" y="222"/>
                </a:lnTo>
                <a:lnTo>
                  <a:pt x="228" y="222"/>
                </a:lnTo>
                <a:lnTo>
                  <a:pt x="225" y="222"/>
                </a:lnTo>
                <a:lnTo>
                  <a:pt x="219" y="222"/>
                </a:lnTo>
                <a:lnTo>
                  <a:pt x="219" y="222"/>
                </a:lnTo>
                <a:lnTo>
                  <a:pt x="216" y="215"/>
                </a:lnTo>
                <a:lnTo>
                  <a:pt x="216" y="203"/>
                </a:lnTo>
                <a:lnTo>
                  <a:pt x="216" y="197"/>
                </a:lnTo>
                <a:lnTo>
                  <a:pt x="219" y="197"/>
                </a:lnTo>
                <a:lnTo>
                  <a:pt x="219" y="190"/>
                </a:lnTo>
                <a:lnTo>
                  <a:pt x="216" y="190"/>
                </a:lnTo>
                <a:lnTo>
                  <a:pt x="210" y="194"/>
                </a:lnTo>
                <a:lnTo>
                  <a:pt x="200" y="200"/>
                </a:lnTo>
                <a:lnTo>
                  <a:pt x="191" y="200"/>
                </a:lnTo>
                <a:lnTo>
                  <a:pt x="185" y="200"/>
                </a:lnTo>
                <a:lnTo>
                  <a:pt x="182" y="194"/>
                </a:lnTo>
                <a:lnTo>
                  <a:pt x="178" y="187"/>
                </a:lnTo>
                <a:lnTo>
                  <a:pt x="172" y="187"/>
                </a:lnTo>
                <a:lnTo>
                  <a:pt x="160" y="187"/>
                </a:lnTo>
                <a:lnTo>
                  <a:pt x="166" y="181"/>
                </a:lnTo>
                <a:lnTo>
                  <a:pt x="157" y="165"/>
                </a:lnTo>
                <a:lnTo>
                  <a:pt x="150" y="162"/>
                </a:lnTo>
                <a:lnTo>
                  <a:pt x="150" y="159"/>
                </a:lnTo>
                <a:lnTo>
                  <a:pt x="150" y="156"/>
                </a:lnTo>
                <a:lnTo>
                  <a:pt x="150" y="153"/>
                </a:lnTo>
                <a:lnTo>
                  <a:pt x="150" y="147"/>
                </a:lnTo>
                <a:lnTo>
                  <a:pt x="150" y="143"/>
                </a:lnTo>
                <a:lnTo>
                  <a:pt x="153" y="143"/>
                </a:lnTo>
                <a:lnTo>
                  <a:pt x="153" y="137"/>
                </a:lnTo>
                <a:lnTo>
                  <a:pt x="157" y="134"/>
                </a:lnTo>
                <a:lnTo>
                  <a:pt x="160" y="134"/>
                </a:lnTo>
                <a:lnTo>
                  <a:pt x="163" y="131"/>
                </a:lnTo>
                <a:lnTo>
                  <a:pt x="163" y="128"/>
                </a:lnTo>
                <a:lnTo>
                  <a:pt x="160" y="122"/>
                </a:lnTo>
                <a:lnTo>
                  <a:pt x="166" y="115"/>
                </a:lnTo>
                <a:lnTo>
                  <a:pt x="166" y="112"/>
                </a:lnTo>
                <a:lnTo>
                  <a:pt x="166" y="109"/>
                </a:lnTo>
                <a:lnTo>
                  <a:pt x="166" y="106"/>
                </a:lnTo>
                <a:lnTo>
                  <a:pt x="169" y="103"/>
                </a:lnTo>
                <a:lnTo>
                  <a:pt x="175" y="100"/>
                </a:lnTo>
                <a:lnTo>
                  <a:pt x="178" y="97"/>
                </a:lnTo>
                <a:lnTo>
                  <a:pt x="182" y="97"/>
                </a:lnTo>
                <a:lnTo>
                  <a:pt x="185" y="93"/>
                </a:lnTo>
                <a:lnTo>
                  <a:pt x="194" y="90"/>
                </a:lnTo>
                <a:lnTo>
                  <a:pt x="207" y="87"/>
                </a:lnTo>
                <a:lnTo>
                  <a:pt x="210" y="84"/>
                </a:lnTo>
                <a:lnTo>
                  <a:pt x="210" y="84"/>
                </a:lnTo>
                <a:lnTo>
                  <a:pt x="213" y="84"/>
                </a:lnTo>
                <a:lnTo>
                  <a:pt x="216" y="84"/>
                </a:lnTo>
                <a:lnTo>
                  <a:pt x="219" y="87"/>
                </a:lnTo>
                <a:lnTo>
                  <a:pt x="219" y="87"/>
                </a:lnTo>
                <a:lnTo>
                  <a:pt x="222" y="90"/>
                </a:lnTo>
                <a:lnTo>
                  <a:pt x="225" y="87"/>
                </a:lnTo>
                <a:lnTo>
                  <a:pt x="225" y="81"/>
                </a:lnTo>
                <a:lnTo>
                  <a:pt x="222" y="78"/>
                </a:lnTo>
                <a:lnTo>
                  <a:pt x="216" y="78"/>
                </a:lnTo>
                <a:lnTo>
                  <a:pt x="213" y="78"/>
                </a:lnTo>
                <a:lnTo>
                  <a:pt x="210" y="75"/>
                </a:lnTo>
                <a:lnTo>
                  <a:pt x="222" y="53"/>
                </a:lnTo>
                <a:lnTo>
                  <a:pt x="222" y="53"/>
                </a:lnTo>
                <a:lnTo>
                  <a:pt x="219" y="53"/>
                </a:lnTo>
                <a:lnTo>
                  <a:pt x="219" y="50"/>
                </a:lnTo>
                <a:lnTo>
                  <a:pt x="213" y="46"/>
                </a:lnTo>
                <a:lnTo>
                  <a:pt x="210" y="46"/>
                </a:lnTo>
                <a:lnTo>
                  <a:pt x="210" y="46"/>
                </a:lnTo>
                <a:lnTo>
                  <a:pt x="207" y="46"/>
                </a:lnTo>
                <a:lnTo>
                  <a:pt x="200" y="50"/>
                </a:lnTo>
                <a:lnTo>
                  <a:pt x="194" y="46"/>
                </a:lnTo>
                <a:lnTo>
                  <a:pt x="188" y="46"/>
                </a:lnTo>
                <a:lnTo>
                  <a:pt x="182" y="50"/>
                </a:lnTo>
                <a:lnTo>
                  <a:pt x="182" y="50"/>
                </a:lnTo>
                <a:lnTo>
                  <a:pt x="175" y="50"/>
                </a:lnTo>
                <a:lnTo>
                  <a:pt x="172" y="50"/>
                </a:lnTo>
                <a:lnTo>
                  <a:pt x="169" y="50"/>
                </a:lnTo>
                <a:lnTo>
                  <a:pt x="166" y="50"/>
                </a:lnTo>
                <a:lnTo>
                  <a:pt x="163" y="46"/>
                </a:lnTo>
                <a:lnTo>
                  <a:pt x="166" y="43"/>
                </a:lnTo>
                <a:lnTo>
                  <a:pt x="163" y="40"/>
                </a:lnTo>
                <a:lnTo>
                  <a:pt x="160" y="37"/>
                </a:lnTo>
                <a:lnTo>
                  <a:pt x="160" y="37"/>
                </a:lnTo>
                <a:lnTo>
                  <a:pt x="160" y="31"/>
                </a:lnTo>
                <a:lnTo>
                  <a:pt x="153" y="28"/>
                </a:lnTo>
                <a:lnTo>
                  <a:pt x="144" y="25"/>
                </a:lnTo>
                <a:lnTo>
                  <a:pt x="144" y="25"/>
                </a:lnTo>
                <a:lnTo>
                  <a:pt x="141" y="18"/>
                </a:lnTo>
                <a:lnTo>
                  <a:pt x="138" y="12"/>
                </a:lnTo>
                <a:lnTo>
                  <a:pt x="135" y="9"/>
                </a:lnTo>
                <a:lnTo>
                  <a:pt x="135" y="6"/>
                </a:lnTo>
                <a:lnTo>
                  <a:pt x="128" y="6"/>
                </a:lnTo>
                <a:lnTo>
                  <a:pt x="122" y="3"/>
                </a:lnTo>
                <a:lnTo>
                  <a:pt x="119" y="0"/>
                </a:lnTo>
                <a:lnTo>
                  <a:pt x="119" y="0"/>
                </a:lnTo>
                <a:lnTo>
                  <a:pt x="119" y="3"/>
                </a:lnTo>
                <a:lnTo>
                  <a:pt x="119" y="6"/>
                </a:lnTo>
                <a:lnTo>
                  <a:pt x="122" y="12"/>
                </a:lnTo>
                <a:lnTo>
                  <a:pt x="122" y="18"/>
                </a:lnTo>
                <a:lnTo>
                  <a:pt x="122" y="21"/>
                </a:lnTo>
                <a:lnTo>
                  <a:pt x="122" y="25"/>
                </a:lnTo>
                <a:lnTo>
                  <a:pt x="119" y="25"/>
                </a:lnTo>
                <a:lnTo>
                  <a:pt x="113" y="37"/>
                </a:lnTo>
                <a:lnTo>
                  <a:pt x="100" y="50"/>
                </a:lnTo>
                <a:lnTo>
                  <a:pt x="91" y="56"/>
                </a:lnTo>
                <a:lnTo>
                  <a:pt x="69" y="62"/>
                </a:lnTo>
                <a:lnTo>
                  <a:pt x="69" y="65"/>
                </a:lnTo>
                <a:lnTo>
                  <a:pt x="53" y="97"/>
                </a:lnTo>
                <a:lnTo>
                  <a:pt x="50" y="100"/>
                </a:lnTo>
                <a:lnTo>
                  <a:pt x="47" y="100"/>
                </a:lnTo>
                <a:lnTo>
                  <a:pt x="41" y="90"/>
                </a:lnTo>
                <a:lnTo>
                  <a:pt x="38" y="90"/>
                </a:lnTo>
                <a:lnTo>
                  <a:pt x="32" y="90"/>
                </a:lnTo>
                <a:lnTo>
                  <a:pt x="28" y="87"/>
                </a:lnTo>
                <a:lnTo>
                  <a:pt x="25" y="87"/>
                </a:lnTo>
                <a:lnTo>
                  <a:pt x="22" y="87"/>
                </a:lnTo>
                <a:lnTo>
                  <a:pt x="19" y="84"/>
                </a:lnTo>
                <a:lnTo>
                  <a:pt x="22" y="81"/>
                </a:lnTo>
                <a:lnTo>
                  <a:pt x="28" y="78"/>
                </a:lnTo>
                <a:lnTo>
                  <a:pt x="25" y="72"/>
                </a:lnTo>
                <a:lnTo>
                  <a:pt x="25" y="72"/>
                </a:lnTo>
                <a:lnTo>
                  <a:pt x="25" y="72"/>
                </a:lnTo>
                <a:lnTo>
                  <a:pt x="16" y="78"/>
                </a:lnTo>
                <a:lnTo>
                  <a:pt x="10" y="81"/>
                </a:lnTo>
                <a:lnTo>
                  <a:pt x="3" y="87"/>
                </a:lnTo>
                <a:lnTo>
                  <a:pt x="3" y="90"/>
                </a:lnTo>
                <a:lnTo>
                  <a:pt x="0" y="97"/>
                </a:lnTo>
                <a:lnTo>
                  <a:pt x="0" y="97"/>
                </a:lnTo>
                <a:lnTo>
                  <a:pt x="3" y="100"/>
                </a:lnTo>
                <a:lnTo>
                  <a:pt x="7" y="103"/>
                </a:lnTo>
                <a:lnTo>
                  <a:pt x="3" y="103"/>
                </a:lnTo>
                <a:lnTo>
                  <a:pt x="3" y="106"/>
                </a:lnTo>
                <a:lnTo>
                  <a:pt x="7" y="109"/>
                </a:lnTo>
                <a:lnTo>
                  <a:pt x="10" y="115"/>
                </a:lnTo>
                <a:lnTo>
                  <a:pt x="10" y="118"/>
                </a:lnTo>
                <a:lnTo>
                  <a:pt x="7" y="118"/>
                </a:lnTo>
                <a:lnTo>
                  <a:pt x="3" y="122"/>
                </a:lnTo>
                <a:lnTo>
                  <a:pt x="0" y="125"/>
                </a:lnTo>
                <a:lnTo>
                  <a:pt x="7" y="128"/>
                </a:lnTo>
                <a:lnTo>
                  <a:pt x="10" y="128"/>
                </a:lnTo>
                <a:lnTo>
                  <a:pt x="16" y="134"/>
                </a:lnTo>
                <a:lnTo>
                  <a:pt x="19" y="134"/>
                </a:lnTo>
                <a:lnTo>
                  <a:pt x="28" y="140"/>
                </a:lnTo>
                <a:lnTo>
                  <a:pt x="32" y="140"/>
                </a:lnTo>
                <a:lnTo>
                  <a:pt x="35" y="143"/>
                </a:lnTo>
                <a:lnTo>
                  <a:pt x="38" y="150"/>
                </a:lnTo>
                <a:lnTo>
                  <a:pt x="38" y="156"/>
                </a:lnTo>
                <a:lnTo>
                  <a:pt x="41" y="159"/>
                </a:lnTo>
                <a:lnTo>
                  <a:pt x="47" y="162"/>
                </a:lnTo>
                <a:lnTo>
                  <a:pt x="53" y="168"/>
                </a:lnTo>
                <a:lnTo>
                  <a:pt x="53" y="175"/>
                </a:lnTo>
                <a:lnTo>
                  <a:pt x="57" y="178"/>
                </a:lnTo>
                <a:lnTo>
                  <a:pt x="57" y="184"/>
                </a:lnTo>
                <a:lnTo>
                  <a:pt x="60" y="190"/>
                </a:lnTo>
                <a:lnTo>
                  <a:pt x="63" y="190"/>
                </a:lnTo>
                <a:lnTo>
                  <a:pt x="66" y="197"/>
                </a:lnTo>
                <a:lnTo>
                  <a:pt x="66" y="203"/>
                </a:lnTo>
                <a:lnTo>
                  <a:pt x="66" y="203"/>
                </a:lnTo>
                <a:lnTo>
                  <a:pt x="69" y="209"/>
                </a:lnTo>
                <a:lnTo>
                  <a:pt x="75" y="219"/>
                </a:lnTo>
                <a:lnTo>
                  <a:pt x="75" y="222"/>
                </a:lnTo>
                <a:lnTo>
                  <a:pt x="75" y="225"/>
                </a:lnTo>
                <a:lnTo>
                  <a:pt x="75" y="228"/>
                </a:lnTo>
                <a:lnTo>
                  <a:pt x="78" y="228"/>
                </a:lnTo>
                <a:lnTo>
                  <a:pt x="85" y="234"/>
                </a:lnTo>
                <a:lnTo>
                  <a:pt x="88" y="237"/>
                </a:lnTo>
                <a:lnTo>
                  <a:pt x="88" y="244"/>
                </a:lnTo>
                <a:lnTo>
                  <a:pt x="91" y="247"/>
                </a:lnTo>
                <a:lnTo>
                  <a:pt x="94" y="250"/>
                </a:lnTo>
                <a:lnTo>
                  <a:pt x="97" y="253"/>
                </a:lnTo>
                <a:lnTo>
                  <a:pt x="100" y="262"/>
                </a:lnTo>
                <a:lnTo>
                  <a:pt x="103" y="265"/>
                </a:lnTo>
                <a:lnTo>
                  <a:pt x="110" y="275"/>
                </a:lnTo>
                <a:lnTo>
                  <a:pt x="110" y="278"/>
                </a:lnTo>
                <a:lnTo>
                  <a:pt x="107" y="281"/>
                </a:lnTo>
                <a:lnTo>
                  <a:pt x="107" y="278"/>
                </a:lnTo>
                <a:lnTo>
                  <a:pt x="107" y="281"/>
                </a:lnTo>
                <a:lnTo>
                  <a:pt x="107" y="284"/>
                </a:lnTo>
                <a:lnTo>
                  <a:pt x="107" y="287"/>
                </a:lnTo>
                <a:lnTo>
                  <a:pt x="110" y="287"/>
                </a:lnTo>
                <a:lnTo>
                  <a:pt x="113" y="287"/>
                </a:lnTo>
                <a:lnTo>
                  <a:pt x="113" y="290"/>
                </a:lnTo>
                <a:lnTo>
                  <a:pt x="110" y="294"/>
                </a:lnTo>
                <a:lnTo>
                  <a:pt x="119" y="297"/>
                </a:lnTo>
                <a:lnTo>
                  <a:pt x="125" y="300"/>
                </a:lnTo>
                <a:lnTo>
                  <a:pt x="125" y="303"/>
                </a:lnTo>
                <a:lnTo>
                  <a:pt x="128" y="306"/>
                </a:lnTo>
                <a:lnTo>
                  <a:pt x="132" y="306"/>
                </a:lnTo>
                <a:lnTo>
                  <a:pt x="132" y="309"/>
                </a:lnTo>
                <a:lnTo>
                  <a:pt x="135" y="312"/>
                </a:lnTo>
                <a:lnTo>
                  <a:pt x="135" y="316"/>
                </a:lnTo>
                <a:lnTo>
                  <a:pt x="141" y="312"/>
                </a:lnTo>
                <a:lnTo>
                  <a:pt x="144" y="312"/>
                </a:lnTo>
                <a:lnTo>
                  <a:pt x="144" y="316"/>
                </a:lnTo>
                <a:lnTo>
                  <a:pt x="147" y="319"/>
                </a:lnTo>
                <a:lnTo>
                  <a:pt x="153" y="322"/>
                </a:lnTo>
                <a:lnTo>
                  <a:pt x="157" y="325"/>
                </a:lnTo>
                <a:lnTo>
                  <a:pt x="157" y="328"/>
                </a:lnTo>
                <a:lnTo>
                  <a:pt x="160" y="328"/>
                </a:lnTo>
                <a:lnTo>
                  <a:pt x="163" y="331"/>
                </a:lnTo>
                <a:lnTo>
                  <a:pt x="166" y="331"/>
                </a:lnTo>
                <a:lnTo>
                  <a:pt x="169" y="331"/>
                </a:lnTo>
                <a:lnTo>
                  <a:pt x="175" y="337"/>
                </a:lnTo>
                <a:lnTo>
                  <a:pt x="182" y="337"/>
                </a:lnTo>
                <a:lnTo>
                  <a:pt x="185" y="337"/>
                </a:lnTo>
                <a:lnTo>
                  <a:pt x="188" y="341"/>
                </a:lnTo>
                <a:lnTo>
                  <a:pt x="188" y="341"/>
                </a:lnTo>
                <a:lnTo>
                  <a:pt x="194" y="347"/>
                </a:lnTo>
                <a:lnTo>
                  <a:pt x="197" y="347"/>
                </a:lnTo>
                <a:lnTo>
                  <a:pt x="200" y="353"/>
                </a:lnTo>
                <a:lnTo>
                  <a:pt x="203" y="353"/>
                </a:lnTo>
                <a:lnTo>
                  <a:pt x="203" y="356"/>
                </a:lnTo>
                <a:lnTo>
                  <a:pt x="203" y="356"/>
                </a:lnTo>
                <a:lnTo>
                  <a:pt x="203" y="359"/>
                </a:lnTo>
                <a:lnTo>
                  <a:pt x="210" y="362"/>
                </a:lnTo>
                <a:lnTo>
                  <a:pt x="213" y="362"/>
                </a:lnTo>
                <a:lnTo>
                  <a:pt x="219" y="369"/>
                </a:lnTo>
                <a:lnTo>
                  <a:pt x="222" y="372"/>
                </a:lnTo>
                <a:lnTo>
                  <a:pt x="225" y="375"/>
                </a:lnTo>
                <a:lnTo>
                  <a:pt x="228" y="375"/>
                </a:lnTo>
                <a:lnTo>
                  <a:pt x="232" y="372"/>
                </a:lnTo>
                <a:lnTo>
                  <a:pt x="238" y="369"/>
                </a:lnTo>
                <a:lnTo>
                  <a:pt x="238" y="369"/>
                </a:lnTo>
                <a:lnTo>
                  <a:pt x="244" y="369"/>
                </a:lnTo>
                <a:lnTo>
                  <a:pt x="244" y="366"/>
                </a:lnTo>
                <a:lnTo>
                  <a:pt x="241" y="362"/>
                </a:lnTo>
                <a:lnTo>
                  <a:pt x="241" y="356"/>
                </a:lnTo>
                <a:lnTo>
                  <a:pt x="244" y="353"/>
                </a:lnTo>
                <a:lnTo>
                  <a:pt x="247" y="356"/>
                </a:lnTo>
                <a:lnTo>
                  <a:pt x="247" y="353"/>
                </a:lnTo>
                <a:lnTo>
                  <a:pt x="244" y="353"/>
                </a:lnTo>
                <a:lnTo>
                  <a:pt x="241" y="350"/>
                </a:lnTo>
                <a:lnTo>
                  <a:pt x="244" y="344"/>
                </a:lnTo>
                <a:lnTo>
                  <a:pt x="250" y="341"/>
                </a:lnTo>
                <a:lnTo>
                  <a:pt x="253" y="334"/>
                </a:lnTo>
                <a:lnTo>
                  <a:pt x="253" y="331"/>
                </a:lnTo>
                <a:lnTo>
                  <a:pt x="247" y="319"/>
                </a:lnTo>
                <a:lnTo>
                  <a:pt x="250" y="316"/>
                </a:lnTo>
                <a:lnTo>
                  <a:pt x="250" y="309"/>
                </a:lnTo>
                <a:lnTo>
                  <a:pt x="250" y="306"/>
                </a:lnTo>
                <a:lnTo>
                  <a:pt x="247" y="303"/>
                </a:lnTo>
                <a:lnTo>
                  <a:pt x="250" y="300"/>
                </a:lnTo>
                <a:lnTo>
                  <a:pt x="250" y="294"/>
                </a:lnTo>
                <a:lnTo>
                  <a:pt x="250" y="281"/>
                </a:lnTo>
                <a:lnTo>
                  <a:pt x="250" y="275"/>
                </a:lnTo>
                <a:lnTo>
                  <a:pt x="250" y="269"/>
                </a:lnTo>
                <a:lnTo>
                  <a:pt x="250" y="256"/>
                </a:lnTo>
                <a:lnTo>
                  <a:pt x="253" y="250"/>
                </a:lnTo>
                <a:lnTo>
                  <a:pt x="253" y="247"/>
                </a:lnTo>
                <a:lnTo>
                  <a:pt x="238" y="222"/>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6" name="Freeform 194">
            <a:extLst>
              <a:ext uri="{FF2B5EF4-FFF2-40B4-BE49-F238E27FC236}">
                <a16:creationId xmlns:a16="http://schemas.microsoft.com/office/drawing/2014/main" id="{84F21FE4-DAC7-1475-3D86-0152371FB15B}"/>
              </a:ext>
            </a:extLst>
          </p:cNvPr>
          <p:cNvSpPr>
            <a:spLocks/>
          </p:cNvSpPr>
          <p:nvPr userDrawn="1"/>
        </p:nvSpPr>
        <p:spPr bwMode="auto">
          <a:xfrm>
            <a:off x="8892596" y="10003711"/>
            <a:ext cx="774652" cy="873126"/>
          </a:xfrm>
          <a:custGeom>
            <a:avLst/>
            <a:gdLst>
              <a:gd name="T0" fmla="*/ 234 w 244"/>
              <a:gd name="T1" fmla="*/ 203 h 275"/>
              <a:gd name="T2" fmla="*/ 231 w 244"/>
              <a:gd name="T3" fmla="*/ 156 h 275"/>
              <a:gd name="T4" fmla="*/ 222 w 244"/>
              <a:gd name="T5" fmla="*/ 131 h 275"/>
              <a:gd name="T6" fmla="*/ 181 w 244"/>
              <a:gd name="T7" fmla="*/ 109 h 275"/>
              <a:gd name="T8" fmla="*/ 181 w 244"/>
              <a:gd name="T9" fmla="*/ 90 h 275"/>
              <a:gd name="T10" fmla="*/ 159 w 244"/>
              <a:gd name="T11" fmla="*/ 81 h 275"/>
              <a:gd name="T12" fmla="*/ 150 w 244"/>
              <a:gd name="T13" fmla="*/ 71 h 275"/>
              <a:gd name="T14" fmla="*/ 134 w 244"/>
              <a:gd name="T15" fmla="*/ 68 h 275"/>
              <a:gd name="T16" fmla="*/ 115 w 244"/>
              <a:gd name="T17" fmla="*/ 56 h 275"/>
              <a:gd name="T18" fmla="*/ 100 w 244"/>
              <a:gd name="T19" fmla="*/ 56 h 275"/>
              <a:gd name="T20" fmla="*/ 87 w 244"/>
              <a:gd name="T21" fmla="*/ 43 h 275"/>
              <a:gd name="T22" fmla="*/ 81 w 244"/>
              <a:gd name="T23" fmla="*/ 28 h 275"/>
              <a:gd name="T24" fmla="*/ 81 w 244"/>
              <a:gd name="T25" fmla="*/ 9 h 275"/>
              <a:gd name="T26" fmla="*/ 75 w 244"/>
              <a:gd name="T27" fmla="*/ 3 h 275"/>
              <a:gd name="T28" fmla="*/ 59 w 244"/>
              <a:gd name="T29" fmla="*/ 3 h 275"/>
              <a:gd name="T30" fmla="*/ 40 w 244"/>
              <a:gd name="T31" fmla="*/ 21 h 275"/>
              <a:gd name="T32" fmla="*/ 25 w 244"/>
              <a:gd name="T33" fmla="*/ 25 h 275"/>
              <a:gd name="T34" fmla="*/ 12 w 244"/>
              <a:gd name="T35" fmla="*/ 28 h 275"/>
              <a:gd name="T36" fmla="*/ 15 w 244"/>
              <a:gd name="T37" fmla="*/ 56 h 275"/>
              <a:gd name="T38" fmla="*/ 12 w 244"/>
              <a:gd name="T39" fmla="*/ 81 h 275"/>
              <a:gd name="T40" fmla="*/ 12 w 244"/>
              <a:gd name="T41" fmla="*/ 106 h 275"/>
              <a:gd name="T42" fmla="*/ 12 w 244"/>
              <a:gd name="T43" fmla="*/ 115 h 275"/>
              <a:gd name="T44" fmla="*/ 15 w 244"/>
              <a:gd name="T45" fmla="*/ 137 h 275"/>
              <a:gd name="T46" fmla="*/ 6 w 244"/>
              <a:gd name="T47" fmla="*/ 150 h 275"/>
              <a:gd name="T48" fmla="*/ 9 w 244"/>
              <a:gd name="T49" fmla="*/ 159 h 275"/>
              <a:gd name="T50" fmla="*/ 9 w 244"/>
              <a:gd name="T51" fmla="*/ 165 h 275"/>
              <a:gd name="T52" fmla="*/ 15 w 244"/>
              <a:gd name="T53" fmla="*/ 175 h 275"/>
              <a:gd name="T54" fmla="*/ 19 w 244"/>
              <a:gd name="T55" fmla="*/ 187 h 275"/>
              <a:gd name="T56" fmla="*/ 31 w 244"/>
              <a:gd name="T57" fmla="*/ 203 h 275"/>
              <a:gd name="T58" fmla="*/ 25 w 244"/>
              <a:gd name="T59" fmla="*/ 222 h 275"/>
              <a:gd name="T60" fmla="*/ 53 w 244"/>
              <a:gd name="T61" fmla="*/ 275 h 275"/>
              <a:gd name="T62" fmla="*/ 62 w 244"/>
              <a:gd name="T63" fmla="*/ 272 h 275"/>
              <a:gd name="T64" fmla="*/ 69 w 244"/>
              <a:gd name="T65" fmla="*/ 262 h 275"/>
              <a:gd name="T66" fmla="*/ 84 w 244"/>
              <a:gd name="T67" fmla="*/ 256 h 275"/>
              <a:gd name="T68" fmla="*/ 100 w 244"/>
              <a:gd name="T69" fmla="*/ 256 h 275"/>
              <a:gd name="T70" fmla="*/ 109 w 244"/>
              <a:gd name="T71" fmla="*/ 259 h 275"/>
              <a:gd name="T72" fmla="*/ 115 w 244"/>
              <a:gd name="T73" fmla="*/ 269 h 275"/>
              <a:gd name="T74" fmla="*/ 119 w 244"/>
              <a:gd name="T75" fmla="*/ 256 h 275"/>
              <a:gd name="T76" fmla="*/ 144 w 244"/>
              <a:gd name="T77" fmla="*/ 253 h 275"/>
              <a:gd name="T78" fmla="*/ 153 w 244"/>
              <a:gd name="T79" fmla="*/ 240 h 275"/>
              <a:gd name="T80" fmla="*/ 150 w 244"/>
              <a:gd name="T81" fmla="*/ 225 h 275"/>
              <a:gd name="T82" fmla="*/ 159 w 244"/>
              <a:gd name="T83" fmla="*/ 206 h 275"/>
              <a:gd name="T84" fmla="*/ 212 w 244"/>
              <a:gd name="T85" fmla="*/ 197 h 275"/>
              <a:gd name="T86" fmla="*/ 231 w 244"/>
              <a:gd name="T87" fmla="*/ 20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4" h="275">
                <a:moveTo>
                  <a:pt x="231" y="209"/>
                </a:moveTo>
                <a:lnTo>
                  <a:pt x="234" y="203"/>
                </a:lnTo>
                <a:lnTo>
                  <a:pt x="234" y="203"/>
                </a:lnTo>
                <a:lnTo>
                  <a:pt x="244" y="181"/>
                </a:lnTo>
                <a:lnTo>
                  <a:pt x="244" y="172"/>
                </a:lnTo>
                <a:lnTo>
                  <a:pt x="231" y="156"/>
                </a:lnTo>
                <a:lnTo>
                  <a:pt x="222" y="153"/>
                </a:lnTo>
                <a:lnTo>
                  <a:pt x="222" y="143"/>
                </a:lnTo>
                <a:lnTo>
                  <a:pt x="222" y="131"/>
                </a:lnTo>
                <a:lnTo>
                  <a:pt x="187" y="131"/>
                </a:lnTo>
                <a:lnTo>
                  <a:pt x="187" y="122"/>
                </a:lnTo>
                <a:lnTo>
                  <a:pt x="181" y="109"/>
                </a:lnTo>
                <a:lnTo>
                  <a:pt x="181" y="106"/>
                </a:lnTo>
                <a:lnTo>
                  <a:pt x="181" y="96"/>
                </a:lnTo>
                <a:lnTo>
                  <a:pt x="181" y="90"/>
                </a:lnTo>
                <a:lnTo>
                  <a:pt x="181" y="84"/>
                </a:lnTo>
                <a:lnTo>
                  <a:pt x="172" y="81"/>
                </a:lnTo>
                <a:lnTo>
                  <a:pt x="159" y="81"/>
                </a:lnTo>
                <a:lnTo>
                  <a:pt x="156" y="78"/>
                </a:lnTo>
                <a:lnTo>
                  <a:pt x="153" y="78"/>
                </a:lnTo>
                <a:lnTo>
                  <a:pt x="150" y="71"/>
                </a:lnTo>
                <a:lnTo>
                  <a:pt x="144" y="71"/>
                </a:lnTo>
                <a:lnTo>
                  <a:pt x="137" y="68"/>
                </a:lnTo>
                <a:lnTo>
                  <a:pt x="134" y="68"/>
                </a:lnTo>
                <a:lnTo>
                  <a:pt x="125" y="59"/>
                </a:lnTo>
                <a:lnTo>
                  <a:pt x="122" y="62"/>
                </a:lnTo>
                <a:lnTo>
                  <a:pt x="115" y="56"/>
                </a:lnTo>
                <a:lnTo>
                  <a:pt x="106" y="56"/>
                </a:lnTo>
                <a:lnTo>
                  <a:pt x="106" y="59"/>
                </a:lnTo>
                <a:lnTo>
                  <a:pt x="100" y="56"/>
                </a:lnTo>
                <a:lnTo>
                  <a:pt x="94" y="50"/>
                </a:lnTo>
                <a:lnTo>
                  <a:pt x="90" y="50"/>
                </a:lnTo>
                <a:lnTo>
                  <a:pt x="87" y="43"/>
                </a:lnTo>
                <a:lnTo>
                  <a:pt x="84" y="40"/>
                </a:lnTo>
                <a:lnTo>
                  <a:pt x="81" y="34"/>
                </a:lnTo>
                <a:lnTo>
                  <a:pt x="81" y="28"/>
                </a:lnTo>
                <a:lnTo>
                  <a:pt x="78" y="21"/>
                </a:lnTo>
                <a:lnTo>
                  <a:pt x="81" y="15"/>
                </a:lnTo>
                <a:lnTo>
                  <a:pt x="81" y="9"/>
                </a:lnTo>
                <a:lnTo>
                  <a:pt x="81" y="3"/>
                </a:lnTo>
                <a:lnTo>
                  <a:pt x="78" y="0"/>
                </a:lnTo>
                <a:lnTo>
                  <a:pt x="75" y="3"/>
                </a:lnTo>
                <a:lnTo>
                  <a:pt x="69" y="0"/>
                </a:lnTo>
                <a:lnTo>
                  <a:pt x="65" y="0"/>
                </a:lnTo>
                <a:lnTo>
                  <a:pt x="59" y="3"/>
                </a:lnTo>
                <a:lnTo>
                  <a:pt x="53" y="6"/>
                </a:lnTo>
                <a:lnTo>
                  <a:pt x="44" y="12"/>
                </a:lnTo>
                <a:lnTo>
                  <a:pt x="40" y="21"/>
                </a:lnTo>
                <a:lnTo>
                  <a:pt x="34" y="21"/>
                </a:lnTo>
                <a:lnTo>
                  <a:pt x="31" y="21"/>
                </a:lnTo>
                <a:lnTo>
                  <a:pt x="25" y="25"/>
                </a:lnTo>
                <a:lnTo>
                  <a:pt x="22" y="25"/>
                </a:lnTo>
                <a:lnTo>
                  <a:pt x="15" y="28"/>
                </a:lnTo>
                <a:lnTo>
                  <a:pt x="12" y="28"/>
                </a:lnTo>
                <a:lnTo>
                  <a:pt x="0" y="28"/>
                </a:lnTo>
                <a:lnTo>
                  <a:pt x="15" y="53"/>
                </a:lnTo>
                <a:lnTo>
                  <a:pt x="15" y="56"/>
                </a:lnTo>
                <a:lnTo>
                  <a:pt x="12" y="62"/>
                </a:lnTo>
                <a:lnTo>
                  <a:pt x="12" y="75"/>
                </a:lnTo>
                <a:lnTo>
                  <a:pt x="12" y="81"/>
                </a:lnTo>
                <a:lnTo>
                  <a:pt x="12" y="87"/>
                </a:lnTo>
                <a:lnTo>
                  <a:pt x="12" y="100"/>
                </a:lnTo>
                <a:lnTo>
                  <a:pt x="12" y="106"/>
                </a:lnTo>
                <a:lnTo>
                  <a:pt x="9" y="109"/>
                </a:lnTo>
                <a:lnTo>
                  <a:pt x="12" y="112"/>
                </a:lnTo>
                <a:lnTo>
                  <a:pt x="12" y="115"/>
                </a:lnTo>
                <a:lnTo>
                  <a:pt x="12" y="122"/>
                </a:lnTo>
                <a:lnTo>
                  <a:pt x="9" y="125"/>
                </a:lnTo>
                <a:lnTo>
                  <a:pt x="15" y="137"/>
                </a:lnTo>
                <a:lnTo>
                  <a:pt x="15" y="140"/>
                </a:lnTo>
                <a:lnTo>
                  <a:pt x="12" y="147"/>
                </a:lnTo>
                <a:lnTo>
                  <a:pt x="6" y="150"/>
                </a:lnTo>
                <a:lnTo>
                  <a:pt x="3" y="156"/>
                </a:lnTo>
                <a:lnTo>
                  <a:pt x="6" y="159"/>
                </a:lnTo>
                <a:lnTo>
                  <a:pt x="9" y="159"/>
                </a:lnTo>
                <a:lnTo>
                  <a:pt x="9" y="162"/>
                </a:lnTo>
                <a:lnTo>
                  <a:pt x="9" y="162"/>
                </a:lnTo>
                <a:lnTo>
                  <a:pt x="9" y="165"/>
                </a:lnTo>
                <a:lnTo>
                  <a:pt x="15" y="168"/>
                </a:lnTo>
                <a:lnTo>
                  <a:pt x="15" y="172"/>
                </a:lnTo>
                <a:lnTo>
                  <a:pt x="15" y="175"/>
                </a:lnTo>
                <a:lnTo>
                  <a:pt x="15" y="178"/>
                </a:lnTo>
                <a:lnTo>
                  <a:pt x="15" y="181"/>
                </a:lnTo>
                <a:lnTo>
                  <a:pt x="19" y="187"/>
                </a:lnTo>
                <a:lnTo>
                  <a:pt x="22" y="193"/>
                </a:lnTo>
                <a:lnTo>
                  <a:pt x="31" y="200"/>
                </a:lnTo>
                <a:lnTo>
                  <a:pt x="31" y="203"/>
                </a:lnTo>
                <a:lnTo>
                  <a:pt x="28" y="209"/>
                </a:lnTo>
                <a:lnTo>
                  <a:pt x="31" y="212"/>
                </a:lnTo>
                <a:lnTo>
                  <a:pt x="25" y="222"/>
                </a:lnTo>
                <a:lnTo>
                  <a:pt x="28" y="228"/>
                </a:lnTo>
                <a:lnTo>
                  <a:pt x="37" y="237"/>
                </a:lnTo>
                <a:lnTo>
                  <a:pt x="53" y="275"/>
                </a:lnTo>
                <a:lnTo>
                  <a:pt x="56" y="275"/>
                </a:lnTo>
                <a:lnTo>
                  <a:pt x="59" y="272"/>
                </a:lnTo>
                <a:lnTo>
                  <a:pt x="62" y="272"/>
                </a:lnTo>
                <a:lnTo>
                  <a:pt x="62" y="272"/>
                </a:lnTo>
                <a:lnTo>
                  <a:pt x="65" y="269"/>
                </a:lnTo>
                <a:lnTo>
                  <a:pt x="69" y="262"/>
                </a:lnTo>
                <a:lnTo>
                  <a:pt x="75" y="253"/>
                </a:lnTo>
                <a:lnTo>
                  <a:pt x="81" y="253"/>
                </a:lnTo>
                <a:lnTo>
                  <a:pt x="84" y="256"/>
                </a:lnTo>
                <a:lnTo>
                  <a:pt x="90" y="256"/>
                </a:lnTo>
                <a:lnTo>
                  <a:pt x="94" y="256"/>
                </a:lnTo>
                <a:lnTo>
                  <a:pt x="100" y="256"/>
                </a:lnTo>
                <a:lnTo>
                  <a:pt x="106" y="253"/>
                </a:lnTo>
                <a:lnTo>
                  <a:pt x="109" y="256"/>
                </a:lnTo>
                <a:lnTo>
                  <a:pt x="109" y="259"/>
                </a:lnTo>
                <a:lnTo>
                  <a:pt x="112" y="269"/>
                </a:lnTo>
                <a:lnTo>
                  <a:pt x="115" y="272"/>
                </a:lnTo>
                <a:lnTo>
                  <a:pt x="115" y="269"/>
                </a:lnTo>
                <a:lnTo>
                  <a:pt x="115" y="265"/>
                </a:lnTo>
                <a:lnTo>
                  <a:pt x="119" y="262"/>
                </a:lnTo>
                <a:lnTo>
                  <a:pt x="119" y="256"/>
                </a:lnTo>
                <a:lnTo>
                  <a:pt x="122" y="253"/>
                </a:lnTo>
                <a:lnTo>
                  <a:pt x="131" y="253"/>
                </a:lnTo>
                <a:lnTo>
                  <a:pt x="144" y="253"/>
                </a:lnTo>
                <a:lnTo>
                  <a:pt x="147" y="256"/>
                </a:lnTo>
                <a:lnTo>
                  <a:pt x="147" y="250"/>
                </a:lnTo>
                <a:lnTo>
                  <a:pt x="153" y="240"/>
                </a:lnTo>
                <a:lnTo>
                  <a:pt x="153" y="234"/>
                </a:lnTo>
                <a:lnTo>
                  <a:pt x="153" y="228"/>
                </a:lnTo>
                <a:lnTo>
                  <a:pt x="150" y="225"/>
                </a:lnTo>
                <a:lnTo>
                  <a:pt x="156" y="215"/>
                </a:lnTo>
                <a:lnTo>
                  <a:pt x="159" y="209"/>
                </a:lnTo>
                <a:lnTo>
                  <a:pt x="159" y="206"/>
                </a:lnTo>
                <a:lnTo>
                  <a:pt x="165" y="203"/>
                </a:lnTo>
                <a:lnTo>
                  <a:pt x="190" y="197"/>
                </a:lnTo>
                <a:lnTo>
                  <a:pt x="212" y="197"/>
                </a:lnTo>
                <a:lnTo>
                  <a:pt x="225" y="206"/>
                </a:lnTo>
                <a:lnTo>
                  <a:pt x="228" y="206"/>
                </a:lnTo>
                <a:lnTo>
                  <a:pt x="231" y="209"/>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7" name="Freeform 195">
            <a:extLst>
              <a:ext uri="{FF2B5EF4-FFF2-40B4-BE49-F238E27FC236}">
                <a16:creationId xmlns:a16="http://schemas.microsoft.com/office/drawing/2014/main" id="{A76EBC4B-BCBC-7308-665D-33E1342228B7}"/>
              </a:ext>
            </a:extLst>
          </p:cNvPr>
          <p:cNvSpPr>
            <a:spLocks/>
          </p:cNvSpPr>
          <p:nvPr userDrawn="1"/>
        </p:nvSpPr>
        <p:spPr bwMode="auto">
          <a:xfrm>
            <a:off x="9359287" y="10629185"/>
            <a:ext cx="536541" cy="555626"/>
          </a:xfrm>
          <a:custGeom>
            <a:avLst/>
            <a:gdLst>
              <a:gd name="T0" fmla="*/ 0 w 169"/>
              <a:gd name="T1" fmla="*/ 53 h 175"/>
              <a:gd name="T2" fmla="*/ 6 w 169"/>
              <a:gd name="T3" fmla="*/ 37 h 175"/>
              <a:gd name="T4" fmla="*/ 3 w 169"/>
              <a:gd name="T5" fmla="*/ 28 h 175"/>
              <a:gd name="T6" fmla="*/ 12 w 169"/>
              <a:gd name="T7" fmla="*/ 12 h 175"/>
              <a:gd name="T8" fmla="*/ 18 w 169"/>
              <a:gd name="T9" fmla="*/ 6 h 175"/>
              <a:gd name="T10" fmla="*/ 65 w 169"/>
              <a:gd name="T11" fmla="*/ 0 h 175"/>
              <a:gd name="T12" fmla="*/ 81 w 169"/>
              <a:gd name="T13" fmla="*/ 9 h 175"/>
              <a:gd name="T14" fmla="*/ 84 w 169"/>
              <a:gd name="T15" fmla="*/ 18 h 175"/>
              <a:gd name="T16" fmla="*/ 90 w 169"/>
              <a:gd name="T17" fmla="*/ 28 h 175"/>
              <a:gd name="T18" fmla="*/ 94 w 169"/>
              <a:gd name="T19" fmla="*/ 43 h 175"/>
              <a:gd name="T20" fmla="*/ 94 w 169"/>
              <a:gd name="T21" fmla="*/ 53 h 175"/>
              <a:gd name="T22" fmla="*/ 100 w 169"/>
              <a:gd name="T23" fmla="*/ 59 h 175"/>
              <a:gd name="T24" fmla="*/ 112 w 169"/>
              <a:gd name="T25" fmla="*/ 59 h 175"/>
              <a:gd name="T26" fmla="*/ 128 w 169"/>
              <a:gd name="T27" fmla="*/ 56 h 175"/>
              <a:gd name="T28" fmla="*/ 137 w 169"/>
              <a:gd name="T29" fmla="*/ 62 h 175"/>
              <a:gd name="T30" fmla="*/ 144 w 169"/>
              <a:gd name="T31" fmla="*/ 87 h 175"/>
              <a:gd name="T32" fmla="*/ 150 w 169"/>
              <a:gd name="T33" fmla="*/ 97 h 175"/>
              <a:gd name="T34" fmla="*/ 162 w 169"/>
              <a:gd name="T35" fmla="*/ 93 h 175"/>
              <a:gd name="T36" fmla="*/ 169 w 169"/>
              <a:gd name="T37" fmla="*/ 97 h 175"/>
              <a:gd name="T38" fmla="*/ 165 w 169"/>
              <a:gd name="T39" fmla="*/ 118 h 175"/>
              <a:gd name="T40" fmla="*/ 162 w 169"/>
              <a:gd name="T41" fmla="*/ 122 h 175"/>
              <a:gd name="T42" fmla="*/ 162 w 169"/>
              <a:gd name="T43" fmla="*/ 125 h 175"/>
              <a:gd name="T44" fmla="*/ 162 w 169"/>
              <a:gd name="T45" fmla="*/ 128 h 175"/>
              <a:gd name="T46" fmla="*/ 162 w 169"/>
              <a:gd name="T47" fmla="*/ 137 h 175"/>
              <a:gd name="T48" fmla="*/ 159 w 169"/>
              <a:gd name="T49" fmla="*/ 147 h 175"/>
              <a:gd name="T50" fmla="*/ 153 w 169"/>
              <a:gd name="T51" fmla="*/ 156 h 175"/>
              <a:gd name="T52" fmla="*/ 144 w 169"/>
              <a:gd name="T53" fmla="*/ 165 h 175"/>
              <a:gd name="T54" fmla="*/ 137 w 169"/>
              <a:gd name="T55" fmla="*/ 169 h 175"/>
              <a:gd name="T56" fmla="*/ 131 w 169"/>
              <a:gd name="T57" fmla="*/ 175 h 175"/>
              <a:gd name="T58" fmla="*/ 125 w 169"/>
              <a:gd name="T59" fmla="*/ 175 h 175"/>
              <a:gd name="T60" fmla="*/ 112 w 169"/>
              <a:gd name="T61" fmla="*/ 172 h 175"/>
              <a:gd name="T62" fmla="*/ 87 w 169"/>
              <a:gd name="T63" fmla="*/ 169 h 175"/>
              <a:gd name="T64" fmla="*/ 84 w 169"/>
              <a:gd name="T65" fmla="*/ 165 h 175"/>
              <a:gd name="T66" fmla="*/ 94 w 169"/>
              <a:gd name="T67" fmla="*/ 150 h 175"/>
              <a:gd name="T68" fmla="*/ 94 w 169"/>
              <a:gd name="T69" fmla="*/ 144 h 175"/>
              <a:gd name="T70" fmla="*/ 103 w 169"/>
              <a:gd name="T71" fmla="*/ 137 h 175"/>
              <a:gd name="T72" fmla="*/ 100 w 169"/>
              <a:gd name="T73" fmla="*/ 128 h 175"/>
              <a:gd name="T74" fmla="*/ 90 w 169"/>
              <a:gd name="T75" fmla="*/ 118 h 175"/>
              <a:gd name="T76" fmla="*/ 68 w 169"/>
              <a:gd name="T77" fmla="*/ 112 h 175"/>
              <a:gd name="T78" fmla="*/ 56 w 169"/>
              <a:gd name="T79" fmla="*/ 103 h 175"/>
              <a:gd name="T80" fmla="*/ 37 w 169"/>
              <a:gd name="T81" fmla="*/ 97 h 175"/>
              <a:gd name="T82" fmla="*/ 31 w 169"/>
              <a:gd name="T83" fmla="*/ 87 h 175"/>
              <a:gd name="T84" fmla="*/ 12 w 169"/>
              <a:gd name="T85" fmla="*/ 75 h 175"/>
              <a:gd name="T86" fmla="*/ 3 w 169"/>
              <a:gd name="T87" fmla="*/ 65 h 175"/>
              <a:gd name="T88" fmla="*/ 0 w 169"/>
              <a:gd name="T89" fmla="*/ 5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9" h="175">
                <a:moveTo>
                  <a:pt x="0" y="59"/>
                </a:moveTo>
                <a:lnTo>
                  <a:pt x="0" y="53"/>
                </a:lnTo>
                <a:lnTo>
                  <a:pt x="6" y="43"/>
                </a:lnTo>
                <a:lnTo>
                  <a:pt x="6" y="37"/>
                </a:lnTo>
                <a:lnTo>
                  <a:pt x="6" y="31"/>
                </a:lnTo>
                <a:lnTo>
                  <a:pt x="3" y="28"/>
                </a:lnTo>
                <a:lnTo>
                  <a:pt x="9" y="18"/>
                </a:lnTo>
                <a:lnTo>
                  <a:pt x="12" y="12"/>
                </a:lnTo>
                <a:lnTo>
                  <a:pt x="12" y="9"/>
                </a:lnTo>
                <a:lnTo>
                  <a:pt x="18" y="6"/>
                </a:lnTo>
                <a:lnTo>
                  <a:pt x="43" y="0"/>
                </a:lnTo>
                <a:lnTo>
                  <a:pt x="65" y="0"/>
                </a:lnTo>
                <a:lnTo>
                  <a:pt x="78" y="9"/>
                </a:lnTo>
                <a:lnTo>
                  <a:pt x="81" y="9"/>
                </a:lnTo>
                <a:lnTo>
                  <a:pt x="87" y="12"/>
                </a:lnTo>
                <a:lnTo>
                  <a:pt x="84" y="18"/>
                </a:lnTo>
                <a:lnTo>
                  <a:pt x="90" y="21"/>
                </a:lnTo>
                <a:lnTo>
                  <a:pt x="90" y="28"/>
                </a:lnTo>
                <a:lnTo>
                  <a:pt x="94" y="34"/>
                </a:lnTo>
                <a:lnTo>
                  <a:pt x="94" y="43"/>
                </a:lnTo>
                <a:lnTo>
                  <a:pt x="94" y="50"/>
                </a:lnTo>
                <a:lnTo>
                  <a:pt x="94" y="53"/>
                </a:lnTo>
                <a:lnTo>
                  <a:pt x="94" y="59"/>
                </a:lnTo>
                <a:lnTo>
                  <a:pt x="100" y="59"/>
                </a:lnTo>
                <a:lnTo>
                  <a:pt x="103" y="59"/>
                </a:lnTo>
                <a:lnTo>
                  <a:pt x="112" y="59"/>
                </a:lnTo>
                <a:lnTo>
                  <a:pt x="119" y="59"/>
                </a:lnTo>
                <a:lnTo>
                  <a:pt x="128" y="56"/>
                </a:lnTo>
                <a:lnTo>
                  <a:pt x="134" y="59"/>
                </a:lnTo>
                <a:lnTo>
                  <a:pt x="137" y="62"/>
                </a:lnTo>
                <a:lnTo>
                  <a:pt x="137" y="65"/>
                </a:lnTo>
                <a:lnTo>
                  <a:pt x="144" y="87"/>
                </a:lnTo>
                <a:lnTo>
                  <a:pt x="147" y="93"/>
                </a:lnTo>
                <a:lnTo>
                  <a:pt x="150" y="97"/>
                </a:lnTo>
                <a:lnTo>
                  <a:pt x="156" y="90"/>
                </a:lnTo>
                <a:lnTo>
                  <a:pt x="162" y="93"/>
                </a:lnTo>
                <a:lnTo>
                  <a:pt x="165" y="97"/>
                </a:lnTo>
                <a:lnTo>
                  <a:pt x="169" y="97"/>
                </a:lnTo>
                <a:lnTo>
                  <a:pt x="165" y="100"/>
                </a:lnTo>
                <a:lnTo>
                  <a:pt x="165" y="118"/>
                </a:lnTo>
                <a:lnTo>
                  <a:pt x="165" y="122"/>
                </a:lnTo>
                <a:lnTo>
                  <a:pt x="162" y="122"/>
                </a:lnTo>
                <a:lnTo>
                  <a:pt x="162" y="125"/>
                </a:lnTo>
                <a:lnTo>
                  <a:pt x="162" y="125"/>
                </a:lnTo>
                <a:lnTo>
                  <a:pt x="162" y="128"/>
                </a:lnTo>
                <a:lnTo>
                  <a:pt x="162" y="128"/>
                </a:lnTo>
                <a:lnTo>
                  <a:pt x="162" y="134"/>
                </a:lnTo>
                <a:lnTo>
                  <a:pt x="162" y="137"/>
                </a:lnTo>
                <a:lnTo>
                  <a:pt x="162" y="144"/>
                </a:lnTo>
                <a:lnTo>
                  <a:pt x="159" y="147"/>
                </a:lnTo>
                <a:lnTo>
                  <a:pt x="156" y="150"/>
                </a:lnTo>
                <a:lnTo>
                  <a:pt x="153" y="156"/>
                </a:lnTo>
                <a:lnTo>
                  <a:pt x="147" y="162"/>
                </a:lnTo>
                <a:lnTo>
                  <a:pt x="144" y="165"/>
                </a:lnTo>
                <a:lnTo>
                  <a:pt x="140" y="172"/>
                </a:lnTo>
                <a:lnTo>
                  <a:pt x="137" y="169"/>
                </a:lnTo>
                <a:lnTo>
                  <a:pt x="134" y="172"/>
                </a:lnTo>
                <a:lnTo>
                  <a:pt x="131" y="175"/>
                </a:lnTo>
                <a:lnTo>
                  <a:pt x="128" y="175"/>
                </a:lnTo>
                <a:lnTo>
                  <a:pt x="125" y="175"/>
                </a:lnTo>
                <a:lnTo>
                  <a:pt x="122" y="175"/>
                </a:lnTo>
                <a:lnTo>
                  <a:pt x="112" y="172"/>
                </a:lnTo>
                <a:lnTo>
                  <a:pt x="103" y="169"/>
                </a:lnTo>
                <a:lnTo>
                  <a:pt x="87" y="169"/>
                </a:lnTo>
                <a:lnTo>
                  <a:pt x="84" y="169"/>
                </a:lnTo>
                <a:lnTo>
                  <a:pt x="84" y="165"/>
                </a:lnTo>
                <a:lnTo>
                  <a:pt x="90" y="159"/>
                </a:lnTo>
                <a:lnTo>
                  <a:pt x="94" y="150"/>
                </a:lnTo>
                <a:lnTo>
                  <a:pt x="94" y="147"/>
                </a:lnTo>
                <a:lnTo>
                  <a:pt x="94" y="144"/>
                </a:lnTo>
                <a:lnTo>
                  <a:pt x="100" y="140"/>
                </a:lnTo>
                <a:lnTo>
                  <a:pt x="103" y="137"/>
                </a:lnTo>
                <a:lnTo>
                  <a:pt x="103" y="131"/>
                </a:lnTo>
                <a:lnTo>
                  <a:pt x="100" y="128"/>
                </a:lnTo>
                <a:lnTo>
                  <a:pt x="94" y="122"/>
                </a:lnTo>
                <a:lnTo>
                  <a:pt x="90" y="118"/>
                </a:lnTo>
                <a:lnTo>
                  <a:pt x="78" y="115"/>
                </a:lnTo>
                <a:lnTo>
                  <a:pt x="68" y="112"/>
                </a:lnTo>
                <a:lnTo>
                  <a:pt x="62" y="103"/>
                </a:lnTo>
                <a:lnTo>
                  <a:pt x="56" y="103"/>
                </a:lnTo>
                <a:lnTo>
                  <a:pt x="50" y="100"/>
                </a:lnTo>
                <a:lnTo>
                  <a:pt x="37" y="97"/>
                </a:lnTo>
                <a:lnTo>
                  <a:pt x="34" y="90"/>
                </a:lnTo>
                <a:lnTo>
                  <a:pt x="31" y="87"/>
                </a:lnTo>
                <a:lnTo>
                  <a:pt x="25" y="87"/>
                </a:lnTo>
                <a:lnTo>
                  <a:pt x="12" y="75"/>
                </a:lnTo>
                <a:lnTo>
                  <a:pt x="9" y="65"/>
                </a:lnTo>
                <a:lnTo>
                  <a:pt x="3" y="65"/>
                </a:lnTo>
                <a:lnTo>
                  <a:pt x="0" y="59"/>
                </a:lnTo>
                <a:lnTo>
                  <a:pt x="0" y="59"/>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8" name="Freeform 196">
            <a:extLst>
              <a:ext uri="{FF2B5EF4-FFF2-40B4-BE49-F238E27FC236}">
                <a16:creationId xmlns:a16="http://schemas.microsoft.com/office/drawing/2014/main" id="{12129FFC-58A1-ECA0-2D14-422B63CA42CA}"/>
              </a:ext>
            </a:extLst>
          </p:cNvPr>
          <p:cNvSpPr>
            <a:spLocks/>
          </p:cNvSpPr>
          <p:nvPr userDrawn="1"/>
        </p:nvSpPr>
        <p:spPr bwMode="auto">
          <a:xfrm>
            <a:off x="9686295" y="11353080"/>
            <a:ext cx="317481" cy="358776"/>
          </a:xfrm>
          <a:custGeom>
            <a:avLst/>
            <a:gdLst>
              <a:gd name="T0" fmla="*/ 12 w 100"/>
              <a:gd name="T1" fmla="*/ 3 h 113"/>
              <a:gd name="T2" fmla="*/ 25 w 100"/>
              <a:gd name="T3" fmla="*/ 0 h 113"/>
              <a:gd name="T4" fmla="*/ 34 w 100"/>
              <a:gd name="T5" fmla="*/ 9 h 113"/>
              <a:gd name="T6" fmla="*/ 41 w 100"/>
              <a:gd name="T7" fmla="*/ 16 h 113"/>
              <a:gd name="T8" fmla="*/ 47 w 100"/>
              <a:gd name="T9" fmla="*/ 25 h 113"/>
              <a:gd name="T10" fmla="*/ 53 w 100"/>
              <a:gd name="T11" fmla="*/ 19 h 113"/>
              <a:gd name="T12" fmla="*/ 62 w 100"/>
              <a:gd name="T13" fmla="*/ 28 h 113"/>
              <a:gd name="T14" fmla="*/ 72 w 100"/>
              <a:gd name="T15" fmla="*/ 34 h 113"/>
              <a:gd name="T16" fmla="*/ 75 w 100"/>
              <a:gd name="T17" fmla="*/ 41 h 113"/>
              <a:gd name="T18" fmla="*/ 87 w 100"/>
              <a:gd name="T19" fmla="*/ 50 h 113"/>
              <a:gd name="T20" fmla="*/ 97 w 100"/>
              <a:gd name="T21" fmla="*/ 59 h 113"/>
              <a:gd name="T22" fmla="*/ 94 w 100"/>
              <a:gd name="T23" fmla="*/ 69 h 113"/>
              <a:gd name="T24" fmla="*/ 94 w 100"/>
              <a:gd name="T25" fmla="*/ 78 h 113"/>
              <a:gd name="T26" fmla="*/ 97 w 100"/>
              <a:gd name="T27" fmla="*/ 81 h 113"/>
              <a:gd name="T28" fmla="*/ 97 w 100"/>
              <a:gd name="T29" fmla="*/ 84 h 113"/>
              <a:gd name="T30" fmla="*/ 94 w 100"/>
              <a:gd name="T31" fmla="*/ 94 h 113"/>
              <a:gd name="T32" fmla="*/ 87 w 100"/>
              <a:gd name="T33" fmla="*/ 100 h 113"/>
              <a:gd name="T34" fmla="*/ 87 w 100"/>
              <a:gd name="T35" fmla="*/ 103 h 113"/>
              <a:gd name="T36" fmla="*/ 75 w 100"/>
              <a:gd name="T37" fmla="*/ 109 h 113"/>
              <a:gd name="T38" fmla="*/ 72 w 100"/>
              <a:gd name="T39" fmla="*/ 109 h 113"/>
              <a:gd name="T40" fmla="*/ 72 w 100"/>
              <a:gd name="T41" fmla="*/ 113 h 113"/>
              <a:gd name="T42" fmla="*/ 66 w 100"/>
              <a:gd name="T43" fmla="*/ 113 h 113"/>
              <a:gd name="T44" fmla="*/ 59 w 100"/>
              <a:gd name="T45" fmla="*/ 109 h 113"/>
              <a:gd name="T46" fmla="*/ 50 w 100"/>
              <a:gd name="T47" fmla="*/ 109 h 113"/>
              <a:gd name="T48" fmla="*/ 44 w 100"/>
              <a:gd name="T49" fmla="*/ 113 h 113"/>
              <a:gd name="T50" fmla="*/ 44 w 100"/>
              <a:gd name="T51" fmla="*/ 109 h 113"/>
              <a:gd name="T52" fmla="*/ 41 w 100"/>
              <a:gd name="T53" fmla="*/ 109 h 113"/>
              <a:gd name="T54" fmla="*/ 31 w 100"/>
              <a:gd name="T55" fmla="*/ 103 h 113"/>
              <a:gd name="T56" fmla="*/ 19 w 100"/>
              <a:gd name="T57" fmla="*/ 103 h 113"/>
              <a:gd name="T58" fmla="*/ 9 w 100"/>
              <a:gd name="T59" fmla="*/ 100 h 113"/>
              <a:gd name="T60" fmla="*/ 3 w 100"/>
              <a:gd name="T61" fmla="*/ 91 h 113"/>
              <a:gd name="T62" fmla="*/ 0 w 100"/>
              <a:gd name="T63" fmla="*/ 75 h 113"/>
              <a:gd name="T64" fmla="*/ 0 w 100"/>
              <a:gd name="T65" fmla="*/ 72 h 113"/>
              <a:gd name="T66" fmla="*/ 3 w 100"/>
              <a:gd name="T67" fmla="*/ 66 h 113"/>
              <a:gd name="T68" fmla="*/ 0 w 100"/>
              <a:gd name="T69" fmla="*/ 53 h 113"/>
              <a:gd name="T70" fmla="*/ 0 w 100"/>
              <a:gd name="T71" fmla="*/ 44 h 113"/>
              <a:gd name="T72" fmla="*/ 3 w 100"/>
              <a:gd name="T73" fmla="*/ 38 h 113"/>
              <a:gd name="T74" fmla="*/ 3 w 100"/>
              <a:gd name="T75" fmla="*/ 25 h 113"/>
              <a:gd name="T76" fmla="*/ 6 w 100"/>
              <a:gd name="T77" fmla="*/ 19 h 113"/>
              <a:gd name="T78" fmla="*/ 6 w 100"/>
              <a:gd name="T79" fmla="*/ 6 h 113"/>
              <a:gd name="T80" fmla="*/ 9 w 100"/>
              <a:gd name="T81" fmla="*/ 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113">
                <a:moveTo>
                  <a:pt x="9" y="3"/>
                </a:moveTo>
                <a:lnTo>
                  <a:pt x="12" y="3"/>
                </a:lnTo>
                <a:lnTo>
                  <a:pt x="16" y="3"/>
                </a:lnTo>
                <a:lnTo>
                  <a:pt x="25" y="0"/>
                </a:lnTo>
                <a:lnTo>
                  <a:pt x="28" y="3"/>
                </a:lnTo>
                <a:lnTo>
                  <a:pt x="34" y="9"/>
                </a:lnTo>
                <a:lnTo>
                  <a:pt x="37" y="9"/>
                </a:lnTo>
                <a:lnTo>
                  <a:pt x="41" y="16"/>
                </a:lnTo>
                <a:lnTo>
                  <a:pt x="44" y="25"/>
                </a:lnTo>
                <a:lnTo>
                  <a:pt x="47" y="25"/>
                </a:lnTo>
                <a:lnTo>
                  <a:pt x="50" y="19"/>
                </a:lnTo>
                <a:lnTo>
                  <a:pt x="53" y="19"/>
                </a:lnTo>
                <a:lnTo>
                  <a:pt x="56" y="28"/>
                </a:lnTo>
                <a:lnTo>
                  <a:pt x="62" y="28"/>
                </a:lnTo>
                <a:lnTo>
                  <a:pt x="66" y="31"/>
                </a:lnTo>
                <a:lnTo>
                  <a:pt x="72" y="34"/>
                </a:lnTo>
                <a:lnTo>
                  <a:pt x="72" y="41"/>
                </a:lnTo>
                <a:lnTo>
                  <a:pt x="75" y="41"/>
                </a:lnTo>
                <a:lnTo>
                  <a:pt x="84" y="44"/>
                </a:lnTo>
                <a:lnTo>
                  <a:pt x="87" y="50"/>
                </a:lnTo>
                <a:lnTo>
                  <a:pt x="94" y="56"/>
                </a:lnTo>
                <a:lnTo>
                  <a:pt x="97" y="59"/>
                </a:lnTo>
                <a:lnTo>
                  <a:pt x="97" y="66"/>
                </a:lnTo>
                <a:lnTo>
                  <a:pt x="94" y="69"/>
                </a:lnTo>
                <a:lnTo>
                  <a:pt x="94" y="75"/>
                </a:lnTo>
                <a:lnTo>
                  <a:pt x="94" y="78"/>
                </a:lnTo>
                <a:lnTo>
                  <a:pt x="94" y="78"/>
                </a:lnTo>
                <a:lnTo>
                  <a:pt x="97" y="81"/>
                </a:lnTo>
                <a:lnTo>
                  <a:pt x="100" y="81"/>
                </a:lnTo>
                <a:lnTo>
                  <a:pt x="97" y="84"/>
                </a:lnTo>
                <a:lnTo>
                  <a:pt x="94" y="88"/>
                </a:lnTo>
                <a:lnTo>
                  <a:pt x="94" y="94"/>
                </a:lnTo>
                <a:lnTo>
                  <a:pt x="91" y="97"/>
                </a:lnTo>
                <a:lnTo>
                  <a:pt x="87" y="100"/>
                </a:lnTo>
                <a:lnTo>
                  <a:pt x="87" y="100"/>
                </a:lnTo>
                <a:lnTo>
                  <a:pt x="87" y="103"/>
                </a:lnTo>
                <a:lnTo>
                  <a:pt x="84" y="106"/>
                </a:lnTo>
                <a:lnTo>
                  <a:pt x="75" y="109"/>
                </a:lnTo>
                <a:lnTo>
                  <a:pt x="75" y="109"/>
                </a:lnTo>
                <a:lnTo>
                  <a:pt x="72" y="109"/>
                </a:lnTo>
                <a:lnTo>
                  <a:pt x="72" y="113"/>
                </a:lnTo>
                <a:lnTo>
                  <a:pt x="72" y="113"/>
                </a:lnTo>
                <a:lnTo>
                  <a:pt x="69" y="113"/>
                </a:lnTo>
                <a:lnTo>
                  <a:pt x="66" y="113"/>
                </a:lnTo>
                <a:lnTo>
                  <a:pt x="62" y="113"/>
                </a:lnTo>
                <a:lnTo>
                  <a:pt x="59" y="109"/>
                </a:lnTo>
                <a:lnTo>
                  <a:pt x="56" y="109"/>
                </a:lnTo>
                <a:lnTo>
                  <a:pt x="50" y="109"/>
                </a:lnTo>
                <a:lnTo>
                  <a:pt x="47" y="113"/>
                </a:lnTo>
                <a:lnTo>
                  <a:pt x="44" y="113"/>
                </a:lnTo>
                <a:lnTo>
                  <a:pt x="44" y="109"/>
                </a:lnTo>
                <a:lnTo>
                  <a:pt x="44" y="109"/>
                </a:lnTo>
                <a:lnTo>
                  <a:pt x="44" y="109"/>
                </a:lnTo>
                <a:lnTo>
                  <a:pt x="41" y="109"/>
                </a:lnTo>
                <a:lnTo>
                  <a:pt x="37" y="106"/>
                </a:lnTo>
                <a:lnTo>
                  <a:pt x="31" y="103"/>
                </a:lnTo>
                <a:lnTo>
                  <a:pt x="25" y="103"/>
                </a:lnTo>
                <a:lnTo>
                  <a:pt x="19" y="103"/>
                </a:lnTo>
                <a:lnTo>
                  <a:pt x="16" y="103"/>
                </a:lnTo>
                <a:lnTo>
                  <a:pt x="9" y="100"/>
                </a:lnTo>
                <a:lnTo>
                  <a:pt x="6" y="97"/>
                </a:lnTo>
                <a:lnTo>
                  <a:pt x="3" y="91"/>
                </a:lnTo>
                <a:lnTo>
                  <a:pt x="0" y="84"/>
                </a:lnTo>
                <a:lnTo>
                  <a:pt x="0" y="75"/>
                </a:lnTo>
                <a:lnTo>
                  <a:pt x="0" y="75"/>
                </a:lnTo>
                <a:lnTo>
                  <a:pt x="0" y="72"/>
                </a:lnTo>
                <a:lnTo>
                  <a:pt x="3" y="69"/>
                </a:lnTo>
                <a:lnTo>
                  <a:pt x="3" y="66"/>
                </a:lnTo>
                <a:lnTo>
                  <a:pt x="3" y="59"/>
                </a:lnTo>
                <a:lnTo>
                  <a:pt x="0" y="53"/>
                </a:lnTo>
                <a:lnTo>
                  <a:pt x="3" y="50"/>
                </a:lnTo>
                <a:lnTo>
                  <a:pt x="0" y="44"/>
                </a:lnTo>
                <a:lnTo>
                  <a:pt x="3" y="41"/>
                </a:lnTo>
                <a:lnTo>
                  <a:pt x="3" y="38"/>
                </a:lnTo>
                <a:lnTo>
                  <a:pt x="3" y="34"/>
                </a:lnTo>
                <a:lnTo>
                  <a:pt x="3" y="25"/>
                </a:lnTo>
                <a:lnTo>
                  <a:pt x="3" y="22"/>
                </a:lnTo>
                <a:lnTo>
                  <a:pt x="6" y="19"/>
                </a:lnTo>
                <a:lnTo>
                  <a:pt x="3" y="12"/>
                </a:lnTo>
                <a:lnTo>
                  <a:pt x="6" y="6"/>
                </a:lnTo>
                <a:lnTo>
                  <a:pt x="9" y="3"/>
                </a:lnTo>
                <a:lnTo>
                  <a:pt x="9" y="3"/>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799" name="Freeform 197">
            <a:extLst>
              <a:ext uri="{FF2B5EF4-FFF2-40B4-BE49-F238E27FC236}">
                <a16:creationId xmlns:a16="http://schemas.microsoft.com/office/drawing/2014/main" id="{D915A085-F1EA-0203-864E-78018120857D}"/>
              </a:ext>
            </a:extLst>
          </p:cNvPr>
          <p:cNvSpPr>
            <a:spLocks noEditPoints="1"/>
          </p:cNvSpPr>
          <p:nvPr userDrawn="1"/>
        </p:nvSpPr>
        <p:spPr bwMode="auto">
          <a:xfrm>
            <a:off x="8930692" y="10806985"/>
            <a:ext cx="1003237" cy="2581278"/>
          </a:xfrm>
          <a:custGeom>
            <a:avLst/>
            <a:gdLst>
              <a:gd name="T0" fmla="*/ 82 w 316"/>
              <a:gd name="T1" fmla="*/ 3 h 813"/>
              <a:gd name="T2" fmla="*/ 103 w 316"/>
              <a:gd name="T3" fmla="*/ 12 h 813"/>
              <a:gd name="T4" fmla="*/ 144 w 316"/>
              <a:gd name="T5" fmla="*/ 9 h 813"/>
              <a:gd name="T6" fmla="*/ 197 w 316"/>
              <a:gd name="T7" fmla="*/ 47 h 813"/>
              <a:gd name="T8" fmla="*/ 235 w 316"/>
              <a:gd name="T9" fmla="*/ 84 h 813"/>
              <a:gd name="T10" fmla="*/ 238 w 316"/>
              <a:gd name="T11" fmla="*/ 113 h 813"/>
              <a:gd name="T12" fmla="*/ 275 w 316"/>
              <a:gd name="T13" fmla="*/ 116 h 813"/>
              <a:gd name="T14" fmla="*/ 297 w 316"/>
              <a:gd name="T15" fmla="*/ 78 h 813"/>
              <a:gd name="T16" fmla="*/ 316 w 316"/>
              <a:gd name="T17" fmla="*/ 103 h 813"/>
              <a:gd name="T18" fmla="*/ 291 w 316"/>
              <a:gd name="T19" fmla="*/ 122 h 813"/>
              <a:gd name="T20" fmla="*/ 266 w 316"/>
              <a:gd name="T21" fmla="*/ 144 h 813"/>
              <a:gd name="T22" fmla="*/ 247 w 316"/>
              <a:gd name="T23" fmla="*/ 172 h 813"/>
              <a:gd name="T24" fmla="*/ 241 w 316"/>
              <a:gd name="T25" fmla="*/ 210 h 813"/>
              <a:gd name="T26" fmla="*/ 238 w 316"/>
              <a:gd name="T27" fmla="*/ 244 h 813"/>
              <a:gd name="T28" fmla="*/ 238 w 316"/>
              <a:gd name="T29" fmla="*/ 269 h 813"/>
              <a:gd name="T30" fmla="*/ 263 w 316"/>
              <a:gd name="T31" fmla="*/ 310 h 813"/>
              <a:gd name="T32" fmla="*/ 279 w 316"/>
              <a:gd name="T33" fmla="*/ 328 h 813"/>
              <a:gd name="T34" fmla="*/ 269 w 316"/>
              <a:gd name="T35" fmla="*/ 357 h 813"/>
              <a:gd name="T36" fmla="*/ 213 w 316"/>
              <a:gd name="T37" fmla="*/ 382 h 813"/>
              <a:gd name="T38" fmla="*/ 182 w 316"/>
              <a:gd name="T39" fmla="*/ 375 h 813"/>
              <a:gd name="T40" fmla="*/ 188 w 316"/>
              <a:gd name="T41" fmla="*/ 397 h 813"/>
              <a:gd name="T42" fmla="*/ 188 w 316"/>
              <a:gd name="T43" fmla="*/ 416 h 813"/>
              <a:gd name="T44" fmla="*/ 163 w 316"/>
              <a:gd name="T45" fmla="*/ 438 h 813"/>
              <a:gd name="T46" fmla="*/ 132 w 316"/>
              <a:gd name="T47" fmla="*/ 428 h 813"/>
              <a:gd name="T48" fmla="*/ 150 w 316"/>
              <a:gd name="T49" fmla="*/ 463 h 813"/>
              <a:gd name="T50" fmla="*/ 153 w 316"/>
              <a:gd name="T51" fmla="*/ 460 h 813"/>
              <a:gd name="T52" fmla="*/ 169 w 316"/>
              <a:gd name="T53" fmla="*/ 475 h 813"/>
              <a:gd name="T54" fmla="*/ 147 w 316"/>
              <a:gd name="T55" fmla="*/ 472 h 813"/>
              <a:gd name="T56" fmla="*/ 144 w 316"/>
              <a:gd name="T57" fmla="*/ 491 h 813"/>
              <a:gd name="T58" fmla="*/ 141 w 316"/>
              <a:gd name="T59" fmla="*/ 513 h 813"/>
              <a:gd name="T60" fmla="*/ 141 w 316"/>
              <a:gd name="T61" fmla="*/ 535 h 813"/>
              <a:gd name="T62" fmla="*/ 116 w 316"/>
              <a:gd name="T63" fmla="*/ 547 h 813"/>
              <a:gd name="T64" fmla="*/ 113 w 316"/>
              <a:gd name="T65" fmla="*/ 576 h 813"/>
              <a:gd name="T66" fmla="*/ 147 w 316"/>
              <a:gd name="T67" fmla="*/ 591 h 813"/>
              <a:gd name="T68" fmla="*/ 150 w 316"/>
              <a:gd name="T69" fmla="*/ 613 h 813"/>
              <a:gd name="T70" fmla="*/ 138 w 316"/>
              <a:gd name="T71" fmla="*/ 632 h 813"/>
              <a:gd name="T72" fmla="*/ 122 w 316"/>
              <a:gd name="T73" fmla="*/ 654 h 813"/>
              <a:gd name="T74" fmla="*/ 113 w 316"/>
              <a:gd name="T75" fmla="*/ 669 h 813"/>
              <a:gd name="T76" fmla="*/ 103 w 316"/>
              <a:gd name="T77" fmla="*/ 694 h 813"/>
              <a:gd name="T78" fmla="*/ 113 w 316"/>
              <a:gd name="T79" fmla="*/ 719 h 813"/>
              <a:gd name="T80" fmla="*/ 116 w 316"/>
              <a:gd name="T81" fmla="*/ 729 h 813"/>
              <a:gd name="T82" fmla="*/ 53 w 316"/>
              <a:gd name="T83" fmla="*/ 713 h 813"/>
              <a:gd name="T84" fmla="*/ 22 w 316"/>
              <a:gd name="T85" fmla="*/ 682 h 813"/>
              <a:gd name="T86" fmla="*/ 35 w 316"/>
              <a:gd name="T87" fmla="*/ 607 h 813"/>
              <a:gd name="T88" fmla="*/ 32 w 316"/>
              <a:gd name="T89" fmla="*/ 557 h 813"/>
              <a:gd name="T90" fmla="*/ 19 w 316"/>
              <a:gd name="T91" fmla="*/ 532 h 813"/>
              <a:gd name="T92" fmla="*/ 19 w 316"/>
              <a:gd name="T93" fmla="*/ 507 h 813"/>
              <a:gd name="T94" fmla="*/ 13 w 316"/>
              <a:gd name="T95" fmla="*/ 460 h 813"/>
              <a:gd name="T96" fmla="*/ 13 w 316"/>
              <a:gd name="T97" fmla="*/ 388 h 813"/>
              <a:gd name="T98" fmla="*/ 19 w 316"/>
              <a:gd name="T99" fmla="*/ 319 h 813"/>
              <a:gd name="T100" fmla="*/ 22 w 316"/>
              <a:gd name="T101" fmla="*/ 269 h 813"/>
              <a:gd name="T102" fmla="*/ 0 w 316"/>
              <a:gd name="T103" fmla="*/ 210 h 813"/>
              <a:gd name="T104" fmla="*/ 10 w 316"/>
              <a:gd name="T105" fmla="*/ 153 h 813"/>
              <a:gd name="T106" fmla="*/ 28 w 316"/>
              <a:gd name="T107" fmla="*/ 103 h 813"/>
              <a:gd name="T108" fmla="*/ 28 w 316"/>
              <a:gd name="T109" fmla="*/ 72 h 813"/>
              <a:gd name="T110" fmla="*/ 210 w 316"/>
              <a:gd name="T111" fmla="*/ 804 h 813"/>
              <a:gd name="T112" fmla="*/ 210 w 316"/>
              <a:gd name="T113" fmla="*/ 804 h 813"/>
              <a:gd name="T114" fmla="*/ 132 w 316"/>
              <a:gd name="T115" fmla="*/ 760 h 813"/>
              <a:gd name="T116" fmla="*/ 141 w 316"/>
              <a:gd name="T117" fmla="*/ 776 h 813"/>
              <a:gd name="T118" fmla="*/ 185 w 316"/>
              <a:gd name="T119" fmla="*/ 798 h 813"/>
              <a:gd name="T120" fmla="*/ 188 w 316"/>
              <a:gd name="T121" fmla="*/ 807 h 813"/>
              <a:gd name="T122" fmla="*/ 144 w 316"/>
              <a:gd name="T123" fmla="*/ 810 h 813"/>
              <a:gd name="T124" fmla="*/ 147 w 316"/>
              <a:gd name="T125" fmla="*/ 801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 h="813">
                <a:moveTo>
                  <a:pt x="50" y="19"/>
                </a:moveTo>
                <a:lnTo>
                  <a:pt x="53" y="16"/>
                </a:lnTo>
                <a:lnTo>
                  <a:pt x="57" y="9"/>
                </a:lnTo>
                <a:lnTo>
                  <a:pt x="63" y="0"/>
                </a:lnTo>
                <a:lnTo>
                  <a:pt x="69" y="0"/>
                </a:lnTo>
                <a:lnTo>
                  <a:pt x="72" y="3"/>
                </a:lnTo>
                <a:lnTo>
                  <a:pt x="78" y="3"/>
                </a:lnTo>
                <a:lnTo>
                  <a:pt x="82" y="3"/>
                </a:lnTo>
                <a:lnTo>
                  <a:pt x="88" y="3"/>
                </a:lnTo>
                <a:lnTo>
                  <a:pt x="94" y="0"/>
                </a:lnTo>
                <a:lnTo>
                  <a:pt x="97" y="3"/>
                </a:lnTo>
                <a:lnTo>
                  <a:pt x="97" y="6"/>
                </a:lnTo>
                <a:lnTo>
                  <a:pt x="100" y="16"/>
                </a:lnTo>
                <a:lnTo>
                  <a:pt x="103" y="19"/>
                </a:lnTo>
                <a:lnTo>
                  <a:pt x="103" y="16"/>
                </a:lnTo>
                <a:lnTo>
                  <a:pt x="103" y="12"/>
                </a:lnTo>
                <a:lnTo>
                  <a:pt x="107" y="9"/>
                </a:lnTo>
                <a:lnTo>
                  <a:pt x="107" y="3"/>
                </a:lnTo>
                <a:lnTo>
                  <a:pt x="110" y="0"/>
                </a:lnTo>
                <a:lnTo>
                  <a:pt x="119" y="0"/>
                </a:lnTo>
                <a:lnTo>
                  <a:pt x="132" y="0"/>
                </a:lnTo>
                <a:lnTo>
                  <a:pt x="135" y="3"/>
                </a:lnTo>
                <a:lnTo>
                  <a:pt x="138" y="9"/>
                </a:lnTo>
                <a:lnTo>
                  <a:pt x="144" y="9"/>
                </a:lnTo>
                <a:lnTo>
                  <a:pt x="147" y="19"/>
                </a:lnTo>
                <a:lnTo>
                  <a:pt x="160" y="31"/>
                </a:lnTo>
                <a:lnTo>
                  <a:pt x="166" y="31"/>
                </a:lnTo>
                <a:lnTo>
                  <a:pt x="169" y="34"/>
                </a:lnTo>
                <a:lnTo>
                  <a:pt x="172" y="41"/>
                </a:lnTo>
                <a:lnTo>
                  <a:pt x="185" y="44"/>
                </a:lnTo>
                <a:lnTo>
                  <a:pt x="191" y="47"/>
                </a:lnTo>
                <a:lnTo>
                  <a:pt x="197" y="47"/>
                </a:lnTo>
                <a:lnTo>
                  <a:pt x="203" y="56"/>
                </a:lnTo>
                <a:lnTo>
                  <a:pt x="213" y="59"/>
                </a:lnTo>
                <a:lnTo>
                  <a:pt x="225" y="62"/>
                </a:lnTo>
                <a:lnTo>
                  <a:pt x="229" y="66"/>
                </a:lnTo>
                <a:lnTo>
                  <a:pt x="235" y="72"/>
                </a:lnTo>
                <a:lnTo>
                  <a:pt x="238" y="75"/>
                </a:lnTo>
                <a:lnTo>
                  <a:pt x="238" y="81"/>
                </a:lnTo>
                <a:lnTo>
                  <a:pt x="235" y="84"/>
                </a:lnTo>
                <a:lnTo>
                  <a:pt x="229" y="88"/>
                </a:lnTo>
                <a:lnTo>
                  <a:pt x="229" y="91"/>
                </a:lnTo>
                <a:lnTo>
                  <a:pt x="229" y="94"/>
                </a:lnTo>
                <a:lnTo>
                  <a:pt x="225" y="103"/>
                </a:lnTo>
                <a:lnTo>
                  <a:pt x="219" y="109"/>
                </a:lnTo>
                <a:lnTo>
                  <a:pt x="219" y="113"/>
                </a:lnTo>
                <a:lnTo>
                  <a:pt x="222" y="113"/>
                </a:lnTo>
                <a:lnTo>
                  <a:pt x="238" y="113"/>
                </a:lnTo>
                <a:lnTo>
                  <a:pt x="247" y="116"/>
                </a:lnTo>
                <a:lnTo>
                  <a:pt x="257" y="119"/>
                </a:lnTo>
                <a:lnTo>
                  <a:pt x="260" y="119"/>
                </a:lnTo>
                <a:lnTo>
                  <a:pt x="263" y="119"/>
                </a:lnTo>
                <a:lnTo>
                  <a:pt x="266" y="119"/>
                </a:lnTo>
                <a:lnTo>
                  <a:pt x="269" y="116"/>
                </a:lnTo>
                <a:lnTo>
                  <a:pt x="272" y="113"/>
                </a:lnTo>
                <a:lnTo>
                  <a:pt x="275" y="116"/>
                </a:lnTo>
                <a:lnTo>
                  <a:pt x="279" y="109"/>
                </a:lnTo>
                <a:lnTo>
                  <a:pt x="282" y="106"/>
                </a:lnTo>
                <a:lnTo>
                  <a:pt x="288" y="100"/>
                </a:lnTo>
                <a:lnTo>
                  <a:pt x="291" y="94"/>
                </a:lnTo>
                <a:lnTo>
                  <a:pt x="294" y="91"/>
                </a:lnTo>
                <a:lnTo>
                  <a:pt x="297" y="88"/>
                </a:lnTo>
                <a:lnTo>
                  <a:pt x="297" y="81"/>
                </a:lnTo>
                <a:lnTo>
                  <a:pt x="297" y="78"/>
                </a:lnTo>
                <a:lnTo>
                  <a:pt x="297" y="72"/>
                </a:lnTo>
                <a:lnTo>
                  <a:pt x="300" y="69"/>
                </a:lnTo>
                <a:lnTo>
                  <a:pt x="310" y="72"/>
                </a:lnTo>
                <a:lnTo>
                  <a:pt x="310" y="75"/>
                </a:lnTo>
                <a:lnTo>
                  <a:pt x="316" y="84"/>
                </a:lnTo>
                <a:lnTo>
                  <a:pt x="313" y="91"/>
                </a:lnTo>
                <a:lnTo>
                  <a:pt x="316" y="97"/>
                </a:lnTo>
                <a:lnTo>
                  <a:pt x="316" y="103"/>
                </a:lnTo>
                <a:lnTo>
                  <a:pt x="316" y="106"/>
                </a:lnTo>
                <a:lnTo>
                  <a:pt x="310" y="106"/>
                </a:lnTo>
                <a:lnTo>
                  <a:pt x="307" y="109"/>
                </a:lnTo>
                <a:lnTo>
                  <a:pt x="307" y="113"/>
                </a:lnTo>
                <a:lnTo>
                  <a:pt x="304" y="113"/>
                </a:lnTo>
                <a:lnTo>
                  <a:pt x="300" y="113"/>
                </a:lnTo>
                <a:lnTo>
                  <a:pt x="294" y="119"/>
                </a:lnTo>
                <a:lnTo>
                  <a:pt x="291" y="122"/>
                </a:lnTo>
                <a:lnTo>
                  <a:pt x="288" y="122"/>
                </a:lnTo>
                <a:lnTo>
                  <a:pt x="282" y="128"/>
                </a:lnTo>
                <a:lnTo>
                  <a:pt x="279" y="128"/>
                </a:lnTo>
                <a:lnTo>
                  <a:pt x="279" y="134"/>
                </a:lnTo>
                <a:lnTo>
                  <a:pt x="275" y="134"/>
                </a:lnTo>
                <a:lnTo>
                  <a:pt x="272" y="134"/>
                </a:lnTo>
                <a:lnTo>
                  <a:pt x="266" y="141"/>
                </a:lnTo>
                <a:lnTo>
                  <a:pt x="266" y="144"/>
                </a:lnTo>
                <a:lnTo>
                  <a:pt x="266" y="150"/>
                </a:lnTo>
                <a:lnTo>
                  <a:pt x="263" y="150"/>
                </a:lnTo>
                <a:lnTo>
                  <a:pt x="263" y="153"/>
                </a:lnTo>
                <a:lnTo>
                  <a:pt x="257" y="159"/>
                </a:lnTo>
                <a:lnTo>
                  <a:pt x="254" y="163"/>
                </a:lnTo>
                <a:lnTo>
                  <a:pt x="250" y="169"/>
                </a:lnTo>
                <a:lnTo>
                  <a:pt x="250" y="169"/>
                </a:lnTo>
                <a:lnTo>
                  <a:pt x="247" y="172"/>
                </a:lnTo>
                <a:lnTo>
                  <a:pt x="247" y="175"/>
                </a:lnTo>
                <a:lnTo>
                  <a:pt x="244" y="178"/>
                </a:lnTo>
                <a:lnTo>
                  <a:pt x="241" y="184"/>
                </a:lnTo>
                <a:lnTo>
                  <a:pt x="244" y="191"/>
                </a:lnTo>
                <a:lnTo>
                  <a:pt x="241" y="194"/>
                </a:lnTo>
                <a:lnTo>
                  <a:pt x="241" y="197"/>
                </a:lnTo>
                <a:lnTo>
                  <a:pt x="241" y="206"/>
                </a:lnTo>
                <a:lnTo>
                  <a:pt x="241" y="210"/>
                </a:lnTo>
                <a:lnTo>
                  <a:pt x="241" y="213"/>
                </a:lnTo>
                <a:lnTo>
                  <a:pt x="238" y="216"/>
                </a:lnTo>
                <a:lnTo>
                  <a:pt x="241" y="222"/>
                </a:lnTo>
                <a:lnTo>
                  <a:pt x="238" y="225"/>
                </a:lnTo>
                <a:lnTo>
                  <a:pt x="241" y="231"/>
                </a:lnTo>
                <a:lnTo>
                  <a:pt x="241" y="238"/>
                </a:lnTo>
                <a:lnTo>
                  <a:pt x="241" y="241"/>
                </a:lnTo>
                <a:lnTo>
                  <a:pt x="238" y="244"/>
                </a:lnTo>
                <a:lnTo>
                  <a:pt x="238" y="247"/>
                </a:lnTo>
                <a:lnTo>
                  <a:pt x="238" y="247"/>
                </a:lnTo>
                <a:lnTo>
                  <a:pt x="238" y="247"/>
                </a:lnTo>
                <a:lnTo>
                  <a:pt x="235" y="253"/>
                </a:lnTo>
                <a:lnTo>
                  <a:pt x="238" y="263"/>
                </a:lnTo>
                <a:lnTo>
                  <a:pt x="238" y="263"/>
                </a:lnTo>
                <a:lnTo>
                  <a:pt x="238" y="266"/>
                </a:lnTo>
                <a:lnTo>
                  <a:pt x="238" y="269"/>
                </a:lnTo>
                <a:lnTo>
                  <a:pt x="238" y="272"/>
                </a:lnTo>
                <a:lnTo>
                  <a:pt x="241" y="275"/>
                </a:lnTo>
                <a:lnTo>
                  <a:pt x="247" y="281"/>
                </a:lnTo>
                <a:lnTo>
                  <a:pt x="257" y="285"/>
                </a:lnTo>
                <a:lnTo>
                  <a:pt x="266" y="291"/>
                </a:lnTo>
                <a:lnTo>
                  <a:pt x="269" y="294"/>
                </a:lnTo>
                <a:lnTo>
                  <a:pt x="269" y="300"/>
                </a:lnTo>
                <a:lnTo>
                  <a:pt x="263" y="310"/>
                </a:lnTo>
                <a:lnTo>
                  <a:pt x="263" y="313"/>
                </a:lnTo>
                <a:lnTo>
                  <a:pt x="266" y="316"/>
                </a:lnTo>
                <a:lnTo>
                  <a:pt x="272" y="319"/>
                </a:lnTo>
                <a:lnTo>
                  <a:pt x="275" y="319"/>
                </a:lnTo>
                <a:lnTo>
                  <a:pt x="279" y="319"/>
                </a:lnTo>
                <a:lnTo>
                  <a:pt x="279" y="319"/>
                </a:lnTo>
                <a:lnTo>
                  <a:pt x="279" y="322"/>
                </a:lnTo>
                <a:lnTo>
                  <a:pt x="279" y="328"/>
                </a:lnTo>
                <a:lnTo>
                  <a:pt x="279" y="335"/>
                </a:lnTo>
                <a:lnTo>
                  <a:pt x="275" y="341"/>
                </a:lnTo>
                <a:lnTo>
                  <a:pt x="275" y="347"/>
                </a:lnTo>
                <a:lnTo>
                  <a:pt x="272" y="347"/>
                </a:lnTo>
                <a:lnTo>
                  <a:pt x="272" y="344"/>
                </a:lnTo>
                <a:lnTo>
                  <a:pt x="269" y="347"/>
                </a:lnTo>
                <a:lnTo>
                  <a:pt x="269" y="353"/>
                </a:lnTo>
                <a:lnTo>
                  <a:pt x="269" y="357"/>
                </a:lnTo>
                <a:lnTo>
                  <a:pt x="269" y="363"/>
                </a:lnTo>
                <a:lnTo>
                  <a:pt x="257" y="369"/>
                </a:lnTo>
                <a:lnTo>
                  <a:pt x="250" y="372"/>
                </a:lnTo>
                <a:lnTo>
                  <a:pt x="247" y="369"/>
                </a:lnTo>
                <a:lnTo>
                  <a:pt x="247" y="372"/>
                </a:lnTo>
                <a:lnTo>
                  <a:pt x="235" y="375"/>
                </a:lnTo>
                <a:lnTo>
                  <a:pt x="222" y="378"/>
                </a:lnTo>
                <a:lnTo>
                  <a:pt x="213" y="382"/>
                </a:lnTo>
                <a:lnTo>
                  <a:pt x="207" y="378"/>
                </a:lnTo>
                <a:lnTo>
                  <a:pt x="200" y="382"/>
                </a:lnTo>
                <a:lnTo>
                  <a:pt x="197" y="382"/>
                </a:lnTo>
                <a:lnTo>
                  <a:pt x="191" y="378"/>
                </a:lnTo>
                <a:lnTo>
                  <a:pt x="188" y="375"/>
                </a:lnTo>
                <a:lnTo>
                  <a:pt x="185" y="375"/>
                </a:lnTo>
                <a:lnTo>
                  <a:pt x="182" y="372"/>
                </a:lnTo>
                <a:lnTo>
                  <a:pt x="182" y="375"/>
                </a:lnTo>
                <a:lnTo>
                  <a:pt x="182" y="378"/>
                </a:lnTo>
                <a:lnTo>
                  <a:pt x="182" y="382"/>
                </a:lnTo>
                <a:lnTo>
                  <a:pt x="182" y="388"/>
                </a:lnTo>
                <a:lnTo>
                  <a:pt x="185" y="391"/>
                </a:lnTo>
                <a:lnTo>
                  <a:pt x="185" y="391"/>
                </a:lnTo>
                <a:lnTo>
                  <a:pt x="188" y="391"/>
                </a:lnTo>
                <a:lnTo>
                  <a:pt x="188" y="394"/>
                </a:lnTo>
                <a:lnTo>
                  <a:pt x="188" y="397"/>
                </a:lnTo>
                <a:lnTo>
                  <a:pt x="185" y="397"/>
                </a:lnTo>
                <a:lnTo>
                  <a:pt x="185" y="400"/>
                </a:lnTo>
                <a:lnTo>
                  <a:pt x="182" y="403"/>
                </a:lnTo>
                <a:lnTo>
                  <a:pt x="182" y="407"/>
                </a:lnTo>
                <a:lnTo>
                  <a:pt x="182" y="407"/>
                </a:lnTo>
                <a:lnTo>
                  <a:pt x="182" y="413"/>
                </a:lnTo>
                <a:lnTo>
                  <a:pt x="185" y="416"/>
                </a:lnTo>
                <a:lnTo>
                  <a:pt x="188" y="416"/>
                </a:lnTo>
                <a:lnTo>
                  <a:pt x="185" y="419"/>
                </a:lnTo>
                <a:lnTo>
                  <a:pt x="185" y="422"/>
                </a:lnTo>
                <a:lnTo>
                  <a:pt x="185" y="425"/>
                </a:lnTo>
                <a:lnTo>
                  <a:pt x="185" y="428"/>
                </a:lnTo>
                <a:lnTo>
                  <a:pt x="182" y="432"/>
                </a:lnTo>
                <a:lnTo>
                  <a:pt x="182" y="432"/>
                </a:lnTo>
                <a:lnTo>
                  <a:pt x="175" y="438"/>
                </a:lnTo>
                <a:lnTo>
                  <a:pt x="163" y="438"/>
                </a:lnTo>
                <a:lnTo>
                  <a:pt x="157" y="435"/>
                </a:lnTo>
                <a:lnTo>
                  <a:pt x="150" y="432"/>
                </a:lnTo>
                <a:lnTo>
                  <a:pt x="144" y="428"/>
                </a:lnTo>
                <a:lnTo>
                  <a:pt x="138" y="428"/>
                </a:lnTo>
                <a:lnTo>
                  <a:pt x="138" y="428"/>
                </a:lnTo>
                <a:lnTo>
                  <a:pt x="138" y="425"/>
                </a:lnTo>
                <a:lnTo>
                  <a:pt x="135" y="425"/>
                </a:lnTo>
                <a:lnTo>
                  <a:pt x="132" y="428"/>
                </a:lnTo>
                <a:lnTo>
                  <a:pt x="132" y="438"/>
                </a:lnTo>
                <a:lnTo>
                  <a:pt x="135" y="441"/>
                </a:lnTo>
                <a:lnTo>
                  <a:pt x="138" y="447"/>
                </a:lnTo>
                <a:lnTo>
                  <a:pt x="138" y="457"/>
                </a:lnTo>
                <a:lnTo>
                  <a:pt x="138" y="460"/>
                </a:lnTo>
                <a:lnTo>
                  <a:pt x="144" y="463"/>
                </a:lnTo>
                <a:lnTo>
                  <a:pt x="150" y="463"/>
                </a:lnTo>
                <a:lnTo>
                  <a:pt x="150" y="463"/>
                </a:lnTo>
                <a:lnTo>
                  <a:pt x="150" y="466"/>
                </a:lnTo>
                <a:lnTo>
                  <a:pt x="147" y="466"/>
                </a:lnTo>
                <a:lnTo>
                  <a:pt x="150" y="469"/>
                </a:lnTo>
                <a:lnTo>
                  <a:pt x="157" y="466"/>
                </a:lnTo>
                <a:lnTo>
                  <a:pt x="157" y="463"/>
                </a:lnTo>
                <a:lnTo>
                  <a:pt x="153" y="463"/>
                </a:lnTo>
                <a:lnTo>
                  <a:pt x="153" y="463"/>
                </a:lnTo>
                <a:lnTo>
                  <a:pt x="153" y="460"/>
                </a:lnTo>
                <a:lnTo>
                  <a:pt x="157" y="460"/>
                </a:lnTo>
                <a:lnTo>
                  <a:pt x="163" y="457"/>
                </a:lnTo>
                <a:lnTo>
                  <a:pt x="163" y="457"/>
                </a:lnTo>
                <a:lnTo>
                  <a:pt x="166" y="463"/>
                </a:lnTo>
                <a:lnTo>
                  <a:pt x="166" y="466"/>
                </a:lnTo>
                <a:lnTo>
                  <a:pt x="166" y="466"/>
                </a:lnTo>
                <a:lnTo>
                  <a:pt x="166" y="469"/>
                </a:lnTo>
                <a:lnTo>
                  <a:pt x="169" y="475"/>
                </a:lnTo>
                <a:lnTo>
                  <a:pt x="169" y="479"/>
                </a:lnTo>
                <a:lnTo>
                  <a:pt x="160" y="482"/>
                </a:lnTo>
                <a:lnTo>
                  <a:pt x="157" y="482"/>
                </a:lnTo>
                <a:lnTo>
                  <a:pt x="157" y="479"/>
                </a:lnTo>
                <a:lnTo>
                  <a:pt x="157" y="475"/>
                </a:lnTo>
                <a:lnTo>
                  <a:pt x="157" y="472"/>
                </a:lnTo>
                <a:lnTo>
                  <a:pt x="150" y="472"/>
                </a:lnTo>
                <a:lnTo>
                  <a:pt x="147" y="472"/>
                </a:lnTo>
                <a:lnTo>
                  <a:pt x="144" y="475"/>
                </a:lnTo>
                <a:lnTo>
                  <a:pt x="141" y="479"/>
                </a:lnTo>
                <a:lnTo>
                  <a:pt x="144" y="482"/>
                </a:lnTo>
                <a:lnTo>
                  <a:pt x="147" y="482"/>
                </a:lnTo>
                <a:lnTo>
                  <a:pt x="153" y="482"/>
                </a:lnTo>
                <a:lnTo>
                  <a:pt x="153" y="485"/>
                </a:lnTo>
                <a:lnTo>
                  <a:pt x="150" y="488"/>
                </a:lnTo>
                <a:lnTo>
                  <a:pt x="144" y="491"/>
                </a:lnTo>
                <a:lnTo>
                  <a:pt x="141" y="494"/>
                </a:lnTo>
                <a:lnTo>
                  <a:pt x="144" y="494"/>
                </a:lnTo>
                <a:lnTo>
                  <a:pt x="141" y="497"/>
                </a:lnTo>
                <a:lnTo>
                  <a:pt x="138" y="500"/>
                </a:lnTo>
                <a:lnTo>
                  <a:pt x="138" y="507"/>
                </a:lnTo>
                <a:lnTo>
                  <a:pt x="141" y="510"/>
                </a:lnTo>
                <a:lnTo>
                  <a:pt x="141" y="513"/>
                </a:lnTo>
                <a:lnTo>
                  <a:pt x="141" y="513"/>
                </a:lnTo>
                <a:lnTo>
                  <a:pt x="144" y="519"/>
                </a:lnTo>
                <a:lnTo>
                  <a:pt x="144" y="519"/>
                </a:lnTo>
                <a:lnTo>
                  <a:pt x="144" y="522"/>
                </a:lnTo>
                <a:lnTo>
                  <a:pt x="144" y="525"/>
                </a:lnTo>
                <a:lnTo>
                  <a:pt x="138" y="529"/>
                </a:lnTo>
                <a:lnTo>
                  <a:pt x="138" y="532"/>
                </a:lnTo>
                <a:lnTo>
                  <a:pt x="138" y="532"/>
                </a:lnTo>
                <a:lnTo>
                  <a:pt x="141" y="535"/>
                </a:lnTo>
                <a:lnTo>
                  <a:pt x="144" y="535"/>
                </a:lnTo>
                <a:lnTo>
                  <a:pt x="141" y="538"/>
                </a:lnTo>
                <a:lnTo>
                  <a:pt x="135" y="538"/>
                </a:lnTo>
                <a:lnTo>
                  <a:pt x="132" y="538"/>
                </a:lnTo>
                <a:lnTo>
                  <a:pt x="128" y="538"/>
                </a:lnTo>
                <a:lnTo>
                  <a:pt x="122" y="544"/>
                </a:lnTo>
                <a:lnTo>
                  <a:pt x="119" y="544"/>
                </a:lnTo>
                <a:lnTo>
                  <a:pt x="116" y="547"/>
                </a:lnTo>
                <a:lnTo>
                  <a:pt x="113" y="547"/>
                </a:lnTo>
                <a:lnTo>
                  <a:pt x="113" y="554"/>
                </a:lnTo>
                <a:lnTo>
                  <a:pt x="110" y="557"/>
                </a:lnTo>
                <a:lnTo>
                  <a:pt x="107" y="560"/>
                </a:lnTo>
                <a:lnTo>
                  <a:pt x="107" y="563"/>
                </a:lnTo>
                <a:lnTo>
                  <a:pt x="107" y="566"/>
                </a:lnTo>
                <a:lnTo>
                  <a:pt x="107" y="569"/>
                </a:lnTo>
                <a:lnTo>
                  <a:pt x="113" y="576"/>
                </a:lnTo>
                <a:lnTo>
                  <a:pt x="116" y="579"/>
                </a:lnTo>
                <a:lnTo>
                  <a:pt x="119" y="582"/>
                </a:lnTo>
                <a:lnTo>
                  <a:pt x="125" y="585"/>
                </a:lnTo>
                <a:lnTo>
                  <a:pt x="132" y="591"/>
                </a:lnTo>
                <a:lnTo>
                  <a:pt x="138" y="591"/>
                </a:lnTo>
                <a:lnTo>
                  <a:pt x="141" y="591"/>
                </a:lnTo>
                <a:lnTo>
                  <a:pt x="144" y="591"/>
                </a:lnTo>
                <a:lnTo>
                  <a:pt x="147" y="591"/>
                </a:lnTo>
                <a:lnTo>
                  <a:pt x="147" y="594"/>
                </a:lnTo>
                <a:lnTo>
                  <a:pt x="147" y="594"/>
                </a:lnTo>
                <a:lnTo>
                  <a:pt x="147" y="597"/>
                </a:lnTo>
                <a:lnTo>
                  <a:pt x="147" y="604"/>
                </a:lnTo>
                <a:lnTo>
                  <a:pt x="147" y="607"/>
                </a:lnTo>
                <a:lnTo>
                  <a:pt x="144" y="610"/>
                </a:lnTo>
                <a:lnTo>
                  <a:pt x="147" y="610"/>
                </a:lnTo>
                <a:lnTo>
                  <a:pt x="150" y="613"/>
                </a:lnTo>
                <a:lnTo>
                  <a:pt x="147" y="613"/>
                </a:lnTo>
                <a:lnTo>
                  <a:pt x="147" y="616"/>
                </a:lnTo>
                <a:lnTo>
                  <a:pt x="150" y="616"/>
                </a:lnTo>
                <a:lnTo>
                  <a:pt x="147" y="622"/>
                </a:lnTo>
                <a:lnTo>
                  <a:pt x="144" y="622"/>
                </a:lnTo>
                <a:lnTo>
                  <a:pt x="141" y="626"/>
                </a:lnTo>
                <a:lnTo>
                  <a:pt x="141" y="626"/>
                </a:lnTo>
                <a:lnTo>
                  <a:pt x="138" y="632"/>
                </a:lnTo>
                <a:lnTo>
                  <a:pt x="135" y="635"/>
                </a:lnTo>
                <a:lnTo>
                  <a:pt x="132" y="635"/>
                </a:lnTo>
                <a:lnTo>
                  <a:pt x="128" y="638"/>
                </a:lnTo>
                <a:lnTo>
                  <a:pt x="125" y="644"/>
                </a:lnTo>
                <a:lnTo>
                  <a:pt x="125" y="647"/>
                </a:lnTo>
                <a:lnTo>
                  <a:pt x="122" y="651"/>
                </a:lnTo>
                <a:lnTo>
                  <a:pt x="122" y="654"/>
                </a:lnTo>
                <a:lnTo>
                  <a:pt x="122" y="654"/>
                </a:lnTo>
                <a:lnTo>
                  <a:pt x="125" y="654"/>
                </a:lnTo>
                <a:lnTo>
                  <a:pt x="128" y="660"/>
                </a:lnTo>
                <a:lnTo>
                  <a:pt x="125" y="663"/>
                </a:lnTo>
                <a:lnTo>
                  <a:pt x="122" y="666"/>
                </a:lnTo>
                <a:lnTo>
                  <a:pt x="122" y="669"/>
                </a:lnTo>
                <a:lnTo>
                  <a:pt x="119" y="672"/>
                </a:lnTo>
                <a:lnTo>
                  <a:pt x="116" y="672"/>
                </a:lnTo>
                <a:lnTo>
                  <a:pt x="113" y="669"/>
                </a:lnTo>
                <a:lnTo>
                  <a:pt x="110" y="666"/>
                </a:lnTo>
                <a:lnTo>
                  <a:pt x="113" y="669"/>
                </a:lnTo>
                <a:lnTo>
                  <a:pt x="113" y="672"/>
                </a:lnTo>
                <a:lnTo>
                  <a:pt x="113" y="676"/>
                </a:lnTo>
                <a:lnTo>
                  <a:pt x="110" y="679"/>
                </a:lnTo>
                <a:lnTo>
                  <a:pt x="107" y="682"/>
                </a:lnTo>
                <a:lnTo>
                  <a:pt x="103" y="688"/>
                </a:lnTo>
                <a:lnTo>
                  <a:pt x="103" y="694"/>
                </a:lnTo>
                <a:lnTo>
                  <a:pt x="110" y="701"/>
                </a:lnTo>
                <a:lnTo>
                  <a:pt x="113" y="710"/>
                </a:lnTo>
                <a:lnTo>
                  <a:pt x="113" y="713"/>
                </a:lnTo>
                <a:lnTo>
                  <a:pt x="113" y="713"/>
                </a:lnTo>
                <a:lnTo>
                  <a:pt x="113" y="716"/>
                </a:lnTo>
                <a:lnTo>
                  <a:pt x="110" y="716"/>
                </a:lnTo>
                <a:lnTo>
                  <a:pt x="113" y="719"/>
                </a:lnTo>
                <a:lnTo>
                  <a:pt x="113" y="719"/>
                </a:lnTo>
                <a:lnTo>
                  <a:pt x="116" y="723"/>
                </a:lnTo>
                <a:lnTo>
                  <a:pt x="119" y="726"/>
                </a:lnTo>
                <a:lnTo>
                  <a:pt x="125" y="729"/>
                </a:lnTo>
                <a:lnTo>
                  <a:pt x="128" y="732"/>
                </a:lnTo>
                <a:lnTo>
                  <a:pt x="128" y="735"/>
                </a:lnTo>
                <a:lnTo>
                  <a:pt x="128" y="735"/>
                </a:lnTo>
                <a:lnTo>
                  <a:pt x="122" y="735"/>
                </a:lnTo>
                <a:lnTo>
                  <a:pt x="116" y="729"/>
                </a:lnTo>
                <a:lnTo>
                  <a:pt x="113" y="729"/>
                </a:lnTo>
                <a:lnTo>
                  <a:pt x="113" y="726"/>
                </a:lnTo>
                <a:lnTo>
                  <a:pt x="88" y="726"/>
                </a:lnTo>
                <a:lnTo>
                  <a:pt x="72" y="729"/>
                </a:lnTo>
                <a:lnTo>
                  <a:pt x="69" y="729"/>
                </a:lnTo>
                <a:lnTo>
                  <a:pt x="60" y="726"/>
                </a:lnTo>
                <a:lnTo>
                  <a:pt x="57" y="719"/>
                </a:lnTo>
                <a:lnTo>
                  <a:pt x="53" y="713"/>
                </a:lnTo>
                <a:lnTo>
                  <a:pt x="50" y="707"/>
                </a:lnTo>
                <a:lnTo>
                  <a:pt x="50" y="698"/>
                </a:lnTo>
                <a:lnTo>
                  <a:pt x="50" y="691"/>
                </a:lnTo>
                <a:lnTo>
                  <a:pt x="44" y="691"/>
                </a:lnTo>
                <a:lnTo>
                  <a:pt x="38" y="694"/>
                </a:lnTo>
                <a:lnTo>
                  <a:pt x="35" y="698"/>
                </a:lnTo>
                <a:lnTo>
                  <a:pt x="32" y="698"/>
                </a:lnTo>
                <a:lnTo>
                  <a:pt x="22" y="682"/>
                </a:lnTo>
                <a:lnTo>
                  <a:pt x="22" y="676"/>
                </a:lnTo>
                <a:lnTo>
                  <a:pt x="25" y="657"/>
                </a:lnTo>
                <a:lnTo>
                  <a:pt x="28" y="651"/>
                </a:lnTo>
                <a:lnTo>
                  <a:pt x="35" y="644"/>
                </a:lnTo>
                <a:lnTo>
                  <a:pt x="38" y="635"/>
                </a:lnTo>
                <a:lnTo>
                  <a:pt x="35" y="626"/>
                </a:lnTo>
                <a:lnTo>
                  <a:pt x="32" y="616"/>
                </a:lnTo>
                <a:lnTo>
                  <a:pt x="35" y="607"/>
                </a:lnTo>
                <a:lnTo>
                  <a:pt x="38" y="604"/>
                </a:lnTo>
                <a:lnTo>
                  <a:pt x="35" y="594"/>
                </a:lnTo>
                <a:lnTo>
                  <a:pt x="35" y="588"/>
                </a:lnTo>
                <a:lnTo>
                  <a:pt x="38" y="585"/>
                </a:lnTo>
                <a:lnTo>
                  <a:pt x="35" y="576"/>
                </a:lnTo>
                <a:lnTo>
                  <a:pt x="35" y="566"/>
                </a:lnTo>
                <a:lnTo>
                  <a:pt x="32" y="560"/>
                </a:lnTo>
                <a:lnTo>
                  <a:pt x="32" y="557"/>
                </a:lnTo>
                <a:lnTo>
                  <a:pt x="38" y="554"/>
                </a:lnTo>
                <a:lnTo>
                  <a:pt x="38" y="547"/>
                </a:lnTo>
                <a:lnTo>
                  <a:pt x="32" y="541"/>
                </a:lnTo>
                <a:lnTo>
                  <a:pt x="25" y="538"/>
                </a:lnTo>
                <a:lnTo>
                  <a:pt x="22" y="538"/>
                </a:lnTo>
                <a:lnTo>
                  <a:pt x="22" y="538"/>
                </a:lnTo>
                <a:lnTo>
                  <a:pt x="19" y="535"/>
                </a:lnTo>
                <a:lnTo>
                  <a:pt x="19" y="532"/>
                </a:lnTo>
                <a:lnTo>
                  <a:pt x="28" y="532"/>
                </a:lnTo>
                <a:lnTo>
                  <a:pt x="32" y="525"/>
                </a:lnTo>
                <a:lnTo>
                  <a:pt x="32" y="522"/>
                </a:lnTo>
                <a:lnTo>
                  <a:pt x="32" y="522"/>
                </a:lnTo>
                <a:lnTo>
                  <a:pt x="28" y="522"/>
                </a:lnTo>
                <a:lnTo>
                  <a:pt x="22" y="522"/>
                </a:lnTo>
                <a:lnTo>
                  <a:pt x="22" y="513"/>
                </a:lnTo>
                <a:lnTo>
                  <a:pt x="19" y="507"/>
                </a:lnTo>
                <a:lnTo>
                  <a:pt x="19" y="500"/>
                </a:lnTo>
                <a:lnTo>
                  <a:pt x="19" y="494"/>
                </a:lnTo>
                <a:lnTo>
                  <a:pt x="13" y="491"/>
                </a:lnTo>
                <a:lnTo>
                  <a:pt x="10" y="485"/>
                </a:lnTo>
                <a:lnTo>
                  <a:pt x="10" y="469"/>
                </a:lnTo>
                <a:lnTo>
                  <a:pt x="13" y="466"/>
                </a:lnTo>
                <a:lnTo>
                  <a:pt x="16" y="463"/>
                </a:lnTo>
                <a:lnTo>
                  <a:pt x="13" y="460"/>
                </a:lnTo>
                <a:lnTo>
                  <a:pt x="10" y="457"/>
                </a:lnTo>
                <a:lnTo>
                  <a:pt x="7" y="447"/>
                </a:lnTo>
                <a:lnTo>
                  <a:pt x="7" y="435"/>
                </a:lnTo>
                <a:lnTo>
                  <a:pt x="7" y="419"/>
                </a:lnTo>
                <a:lnTo>
                  <a:pt x="3" y="413"/>
                </a:lnTo>
                <a:lnTo>
                  <a:pt x="3" y="407"/>
                </a:lnTo>
                <a:lnTo>
                  <a:pt x="10" y="397"/>
                </a:lnTo>
                <a:lnTo>
                  <a:pt x="13" y="388"/>
                </a:lnTo>
                <a:lnTo>
                  <a:pt x="16" y="385"/>
                </a:lnTo>
                <a:lnTo>
                  <a:pt x="19" y="382"/>
                </a:lnTo>
                <a:lnTo>
                  <a:pt x="7" y="357"/>
                </a:lnTo>
                <a:lnTo>
                  <a:pt x="10" y="350"/>
                </a:lnTo>
                <a:lnTo>
                  <a:pt x="10" y="344"/>
                </a:lnTo>
                <a:lnTo>
                  <a:pt x="10" y="332"/>
                </a:lnTo>
                <a:lnTo>
                  <a:pt x="13" y="322"/>
                </a:lnTo>
                <a:lnTo>
                  <a:pt x="19" y="319"/>
                </a:lnTo>
                <a:lnTo>
                  <a:pt x="16" y="310"/>
                </a:lnTo>
                <a:lnTo>
                  <a:pt x="13" y="303"/>
                </a:lnTo>
                <a:lnTo>
                  <a:pt x="10" y="300"/>
                </a:lnTo>
                <a:lnTo>
                  <a:pt x="16" y="294"/>
                </a:lnTo>
                <a:lnTo>
                  <a:pt x="13" y="288"/>
                </a:lnTo>
                <a:lnTo>
                  <a:pt x="16" y="278"/>
                </a:lnTo>
                <a:lnTo>
                  <a:pt x="22" y="278"/>
                </a:lnTo>
                <a:lnTo>
                  <a:pt x="22" y="269"/>
                </a:lnTo>
                <a:lnTo>
                  <a:pt x="19" y="253"/>
                </a:lnTo>
                <a:lnTo>
                  <a:pt x="16" y="250"/>
                </a:lnTo>
                <a:lnTo>
                  <a:pt x="16" y="241"/>
                </a:lnTo>
                <a:lnTo>
                  <a:pt x="13" y="235"/>
                </a:lnTo>
                <a:lnTo>
                  <a:pt x="7" y="225"/>
                </a:lnTo>
                <a:lnTo>
                  <a:pt x="7" y="222"/>
                </a:lnTo>
                <a:lnTo>
                  <a:pt x="3" y="219"/>
                </a:lnTo>
                <a:lnTo>
                  <a:pt x="0" y="210"/>
                </a:lnTo>
                <a:lnTo>
                  <a:pt x="3" y="200"/>
                </a:lnTo>
                <a:lnTo>
                  <a:pt x="7" y="197"/>
                </a:lnTo>
                <a:lnTo>
                  <a:pt x="7" y="188"/>
                </a:lnTo>
                <a:lnTo>
                  <a:pt x="10" y="184"/>
                </a:lnTo>
                <a:lnTo>
                  <a:pt x="10" y="175"/>
                </a:lnTo>
                <a:lnTo>
                  <a:pt x="7" y="169"/>
                </a:lnTo>
                <a:lnTo>
                  <a:pt x="7" y="156"/>
                </a:lnTo>
                <a:lnTo>
                  <a:pt x="10" y="153"/>
                </a:lnTo>
                <a:lnTo>
                  <a:pt x="10" y="141"/>
                </a:lnTo>
                <a:lnTo>
                  <a:pt x="16" y="134"/>
                </a:lnTo>
                <a:lnTo>
                  <a:pt x="19" y="122"/>
                </a:lnTo>
                <a:lnTo>
                  <a:pt x="25" y="116"/>
                </a:lnTo>
                <a:lnTo>
                  <a:pt x="28" y="116"/>
                </a:lnTo>
                <a:lnTo>
                  <a:pt x="32" y="109"/>
                </a:lnTo>
                <a:lnTo>
                  <a:pt x="28" y="109"/>
                </a:lnTo>
                <a:lnTo>
                  <a:pt x="28" y="103"/>
                </a:lnTo>
                <a:lnTo>
                  <a:pt x="28" y="100"/>
                </a:lnTo>
                <a:lnTo>
                  <a:pt x="25" y="97"/>
                </a:lnTo>
                <a:lnTo>
                  <a:pt x="25" y="94"/>
                </a:lnTo>
                <a:lnTo>
                  <a:pt x="32" y="91"/>
                </a:lnTo>
                <a:lnTo>
                  <a:pt x="32" y="88"/>
                </a:lnTo>
                <a:lnTo>
                  <a:pt x="25" y="81"/>
                </a:lnTo>
                <a:lnTo>
                  <a:pt x="25" y="75"/>
                </a:lnTo>
                <a:lnTo>
                  <a:pt x="28" y="72"/>
                </a:lnTo>
                <a:lnTo>
                  <a:pt x="25" y="66"/>
                </a:lnTo>
                <a:lnTo>
                  <a:pt x="22" y="62"/>
                </a:lnTo>
                <a:lnTo>
                  <a:pt x="25" y="59"/>
                </a:lnTo>
                <a:lnTo>
                  <a:pt x="47" y="47"/>
                </a:lnTo>
                <a:lnTo>
                  <a:pt x="53" y="25"/>
                </a:lnTo>
                <a:lnTo>
                  <a:pt x="50" y="19"/>
                </a:lnTo>
                <a:lnTo>
                  <a:pt x="50" y="19"/>
                </a:lnTo>
                <a:close/>
                <a:moveTo>
                  <a:pt x="210" y="804"/>
                </a:moveTo>
                <a:lnTo>
                  <a:pt x="213" y="807"/>
                </a:lnTo>
                <a:lnTo>
                  <a:pt x="219" y="804"/>
                </a:lnTo>
                <a:lnTo>
                  <a:pt x="222" y="804"/>
                </a:lnTo>
                <a:lnTo>
                  <a:pt x="225" y="798"/>
                </a:lnTo>
                <a:lnTo>
                  <a:pt x="222" y="798"/>
                </a:lnTo>
                <a:lnTo>
                  <a:pt x="219" y="801"/>
                </a:lnTo>
                <a:lnTo>
                  <a:pt x="213" y="801"/>
                </a:lnTo>
                <a:lnTo>
                  <a:pt x="210" y="804"/>
                </a:lnTo>
                <a:lnTo>
                  <a:pt x="210" y="804"/>
                </a:lnTo>
                <a:close/>
                <a:moveTo>
                  <a:pt x="122" y="741"/>
                </a:moveTo>
                <a:lnTo>
                  <a:pt x="125" y="741"/>
                </a:lnTo>
                <a:lnTo>
                  <a:pt x="125" y="744"/>
                </a:lnTo>
                <a:lnTo>
                  <a:pt x="132" y="751"/>
                </a:lnTo>
                <a:lnTo>
                  <a:pt x="135" y="760"/>
                </a:lnTo>
                <a:lnTo>
                  <a:pt x="132" y="760"/>
                </a:lnTo>
                <a:lnTo>
                  <a:pt x="132" y="760"/>
                </a:lnTo>
                <a:lnTo>
                  <a:pt x="128" y="763"/>
                </a:lnTo>
                <a:lnTo>
                  <a:pt x="122" y="741"/>
                </a:lnTo>
                <a:lnTo>
                  <a:pt x="122" y="741"/>
                </a:lnTo>
                <a:close/>
                <a:moveTo>
                  <a:pt x="128" y="763"/>
                </a:moveTo>
                <a:lnTo>
                  <a:pt x="132" y="766"/>
                </a:lnTo>
                <a:lnTo>
                  <a:pt x="138" y="766"/>
                </a:lnTo>
                <a:lnTo>
                  <a:pt x="141" y="769"/>
                </a:lnTo>
                <a:lnTo>
                  <a:pt x="141" y="776"/>
                </a:lnTo>
                <a:lnTo>
                  <a:pt x="147" y="776"/>
                </a:lnTo>
                <a:lnTo>
                  <a:pt x="153" y="779"/>
                </a:lnTo>
                <a:lnTo>
                  <a:pt x="153" y="785"/>
                </a:lnTo>
                <a:lnTo>
                  <a:pt x="157" y="785"/>
                </a:lnTo>
                <a:lnTo>
                  <a:pt x="172" y="791"/>
                </a:lnTo>
                <a:lnTo>
                  <a:pt x="175" y="794"/>
                </a:lnTo>
                <a:lnTo>
                  <a:pt x="178" y="794"/>
                </a:lnTo>
                <a:lnTo>
                  <a:pt x="185" y="798"/>
                </a:lnTo>
                <a:lnTo>
                  <a:pt x="188" y="801"/>
                </a:lnTo>
                <a:lnTo>
                  <a:pt x="197" y="798"/>
                </a:lnTo>
                <a:lnTo>
                  <a:pt x="200" y="798"/>
                </a:lnTo>
                <a:lnTo>
                  <a:pt x="200" y="804"/>
                </a:lnTo>
                <a:lnTo>
                  <a:pt x="194" y="804"/>
                </a:lnTo>
                <a:lnTo>
                  <a:pt x="194" y="804"/>
                </a:lnTo>
                <a:lnTo>
                  <a:pt x="188" y="804"/>
                </a:lnTo>
                <a:lnTo>
                  <a:pt x="188" y="807"/>
                </a:lnTo>
                <a:lnTo>
                  <a:pt x="185" y="813"/>
                </a:lnTo>
                <a:lnTo>
                  <a:pt x="182" y="813"/>
                </a:lnTo>
                <a:lnTo>
                  <a:pt x="175" y="810"/>
                </a:lnTo>
                <a:lnTo>
                  <a:pt x="172" y="810"/>
                </a:lnTo>
                <a:lnTo>
                  <a:pt x="163" y="807"/>
                </a:lnTo>
                <a:lnTo>
                  <a:pt x="157" y="810"/>
                </a:lnTo>
                <a:lnTo>
                  <a:pt x="150" y="807"/>
                </a:lnTo>
                <a:lnTo>
                  <a:pt x="144" y="810"/>
                </a:lnTo>
                <a:lnTo>
                  <a:pt x="141" y="810"/>
                </a:lnTo>
                <a:lnTo>
                  <a:pt x="138" y="804"/>
                </a:lnTo>
                <a:lnTo>
                  <a:pt x="147" y="804"/>
                </a:lnTo>
                <a:lnTo>
                  <a:pt x="153" y="801"/>
                </a:lnTo>
                <a:lnTo>
                  <a:pt x="157" y="801"/>
                </a:lnTo>
                <a:lnTo>
                  <a:pt x="157" y="798"/>
                </a:lnTo>
                <a:lnTo>
                  <a:pt x="150" y="801"/>
                </a:lnTo>
                <a:lnTo>
                  <a:pt x="147" y="801"/>
                </a:lnTo>
                <a:lnTo>
                  <a:pt x="141" y="801"/>
                </a:lnTo>
                <a:lnTo>
                  <a:pt x="138" y="801"/>
                </a:lnTo>
                <a:lnTo>
                  <a:pt x="128" y="763"/>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0" name="Freeform 198">
            <a:extLst>
              <a:ext uri="{FF2B5EF4-FFF2-40B4-BE49-F238E27FC236}">
                <a16:creationId xmlns:a16="http://schemas.microsoft.com/office/drawing/2014/main" id="{87595A88-9575-6967-AFA9-6B4931DC6FEF}"/>
              </a:ext>
            </a:extLst>
          </p:cNvPr>
          <p:cNvSpPr>
            <a:spLocks noEditPoints="1"/>
          </p:cNvSpPr>
          <p:nvPr userDrawn="1"/>
        </p:nvSpPr>
        <p:spPr bwMode="auto">
          <a:xfrm>
            <a:off x="8794176" y="10508535"/>
            <a:ext cx="682582" cy="2968626"/>
          </a:xfrm>
          <a:custGeom>
            <a:avLst/>
            <a:gdLst>
              <a:gd name="T0" fmla="*/ 47 w 69"/>
              <a:gd name="T1" fmla="*/ 287 h 299"/>
              <a:gd name="T2" fmla="*/ 46 w 69"/>
              <a:gd name="T3" fmla="*/ 290 h 299"/>
              <a:gd name="T4" fmla="*/ 57 w 69"/>
              <a:gd name="T5" fmla="*/ 290 h 299"/>
              <a:gd name="T6" fmla="*/ 47 w 69"/>
              <a:gd name="T7" fmla="*/ 278 h 299"/>
              <a:gd name="T8" fmla="*/ 55 w 69"/>
              <a:gd name="T9" fmla="*/ 274 h 299"/>
              <a:gd name="T10" fmla="*/ 21 w 69"/>
              <a:gd name="T11" fmla="*/ 246 h 299"/>
              <a:gd name="T12" fmla="*/ 21 w 69"/>
              <a:gd name="T13" fmla="*/ 202 h 299"/>
              <a:gd name="T14" fmla="*/ 16 w 69"/>
              <a:gd name="T15" fmla="*/ 169 h 299"/>
              <a:gd name="T16" fmla="*/ 21 w 69"/>
              <a:gd name="T17" fmla="*/ 116 h 299"/>
              <a:gd name="T18" fmla="*/ 23 w 69"/>
              <a:gd name="T19" fmla="*/ 67 h 299"/>
              <a:gd name="T20" fmla="*/ 22 w 69"/>
              <a:gd name="T21" fmla="*/ 25 h 299"/>
              <a:gd name="T22" fmla="*/ 10 w 69"/>
              <a:gd name="T23" fmla="*/ 5 h 299"/>
              <a:gd name="T24" fmla="*/ 7 w 69"/>
              <a:gd name="T25" fmla="*/ 39 h 299"/>
              <a:gd name="T26" fmla="*/ 7 w 69"/>
              <a:gd name="T27" fmla="*/ 74 h 299"/>
              <a:gd name="T28" fmla="*/ 9 w 69"/>
              <a:gd name="T29" fmla="*/ 106 h 299"/>
              <a:gd name="T30" fmla="*/ 6 w 69"/>
              <a:gd name="T31" fmla="*/ 129 h 299"/>
              <a:gd name="T32" fmla="*/ 3 w 69"/>
              <a:gd name="T33" fmla="*/ 148 h 299"/>
              <a:gd name="T34" fmla="*/ 4 w 69"/>
              <a:gd name="T35" fmla="*/ 172 h 299"/>
              <a:gd name="T36" fmla="*/ 15 w 69"/>
              <a:gd name="T37" fmla="*/ 183 h 299"/>
              <a:gd name="T38" fmla="*/ 12 w 69"/>
              <a:gd name="T39" fmla="*/ 196 h 299"/>
              <a:gd name="T40" fmla="*/ 12 w 69"/>
              <a:gd name="T41" fmla="*/ 216 h 299"/>
              <a:gd name="T42" fmla="*/ 4 w 69"/>
              <a:gd name="T43" fmla="*/ 211 h 299"/>
              <a:gd name="T44" fmla="*/ 8 w 69"/>
              <a:gd name="T45" fmla="*/ 219 h 299"/>
              <a:gd name="T46" fmla="*/ 14 w 69"/>
              <a:gd name="T47" fmla="*/ 227 h 299"/>
              <a:gd name="T48" fmla="*/ 14 w 69"/>
              <a:gd name="T49" fmla="*/ 235 h 299"/>
              <a:gd name="T50" fmla="*/ 16 w 69"/>
              <a:gd name="T51" fmla="*/ 246 h 299"/>
              <a:gd name="T52" fmla="*/ 22 w 69"/>
              <a:gd name="T53" fmla="*/ 258 h 299"/>
              <a:gd name="T54" fmla="*/ 28 w 69"/>
              <a:gd name="T55" fmla="*/ 262 h 299"/>
              <a:gd name="T56" fmla="*/ 30 w 69"/>
              <a:gd name="T57" fmla="*/ 267 h 299"/>
              <a:gd name="T58" fmla="*/ 26 w 69"/>
              <a:gd name="T59" fmla="*/ 270 h 299"/>
              <a:gd name="T60" fmla="*/ 32 w 69"/>
              <a:gd name="T61" fmla="*/ 269 h 299"/>
              <a:gd name="T62" fmla="*/ 30 w 69"/>
              <a:gd name="T63" fmla="*/ 275 h 299"/>
              <a:gd name="T64" fmla="*/ 40 w 69"/>
              <a:gd name="T65" fmla="*/ 272 h 299"/>
              <a:gd name="T66" fmla="*/ 41 w 69"/>
              <a:gd name="T67" fmla="*/ 281 h 299"/>
              <a:gd name="T68" fmla="*/ 53 w 69"/>
              <a:gd name="T69" fmla="*/ 265 h 299"/>
              <a:gd name="T70" fmla="*/ 4 w 69"/>
              <a:gd name="T71" fmla="*/ 184 h 299"/>
              <a:gd name="T72" fmla="*/ 11 w 69"/>
              <a:gd name="T73" fmla="*/ 181 h 299"/>
              <a:gd name="T74" fmla="*/ 9 w 69"/>
              <a:gd name="T75" fmla="*/ 194 h 299"/>
              <a:gd name="T76" fmla="*/ 4 w 69"/>
              <a:gd name="T77" fmla="*/ 201 h 299"/>
              <a:gd name="T78" fmla="*/ 6 w 69"/>
              <a:gd name="T79" fmla="*/ 200 h 299"/>
              <a:gd name="T80" fmla="*/ 13 w 69"/>
              <a:gd name="T81" fmla="*/ 198 h 299"/>
              <a:gd name="T82" fmla="*/ 8 w 69"/>
              <a:gd name="T83" fmla="*/ 204 h 299"/>
              <a:gd name="T84" fmla="*/ 10 w 69"/>
              <a:gd name="T85" fmla="*/ 233 h 299"/>
              <a:gd name="T86" fmla="*/ 8 w 69"/>
              <a:gd name="T87" fmla="*/ 232 h 299"/>
              <a:gd name="T88" fmla="*/ 7 w 69"/>
              <a:gd name="T89" fmla="*/ 239 h 299"/>
              <a:gd name="T90" fmla="*/ 9 w 69"/>
              <a:gd name="T91" fmla="*/ 241 h 299"/>
              <a:gd name="T92" fmla="*/ 13 w 69"/>
              <a:gd name="T93" fmla="*/ 245 h 299"/>
              <a:gd name="T94" fmla="*/ 14 w 69"/>
              <a:gd name="T95" fmla="*/ 254 h 299"/>
              <a:gd name="T96" fmla="*/ 14 w 69"/>
              <a:gd name="T97" fmla="*/ 253 h 299"/>
              <a:gd name="T98" fmla="*/ 16 w 69"/>
              <a:gd name="T99" fmla="*/ 262 h 299"/>
              <a:gd name="T100" fmla="*/ 20 w 69"/>
              <a:gd name="T101" fmla="*/ 265 h 299"/>
              <a:gd name="T102" fmla="*/ 21 w 69"/>
              <a:gd name="T103" fmla="*/ 265 h 299"/>
              <a:gd name="T104" fmla="*/ 25 w 69"/>
              <a:gd name="T105" fmla="*/ 270 h 299"/>
              <a:gd name="T106" fmla="*/ 30 w 69"/>
              <a:gd name="T107" fmla="*/ 277 h 299"/>
              <a:gd name="T108" fmla="*/ 31 w 69"/>
              <a:gd name="T109" fmla="*/ 283 h 299"/>
              <a:gd name="T110" fmla="*/ 36 w 69"/>
              <a:gd name="T111" fmla="*/ 283 h 299"/>
              <a:gd name="T112" fmla="*/ 38 w 69"/>
              <a:gd name="T113" fmla="*/ 284 h 299"/>
              <a:gd name="T114" fmla="*/ 44 w 69"/>
              <a:gd name="T115" fmla="*/ 281 h 299"/>
              <a:gd name="T116" fmla="*/ 68 w 69"/>
              <a:gd name="T117" fmla="*/ 296 h 299"/>
              <a:gd name="T118" fmla="*/ 64 w 69"/>
              <a:gd name="T119" fmla="*/ 292 h 299"/>
              <a:gd name="T120" fmla="*/ 58 w 69"/>
              <a:gd name="T121" fmla="*/ 29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 h="299">
                <a:moveTo>
                  <a:pt x="59" y="289"/>
                </a:moveTo>
                <a:cubicBezTo>
                  <a:pt x="58" y="287"/>
                  <a:pt x="58" y="287"/>
                  <a:pt x="58" y="287"/>
                </a:cubicBezTo>
                <a:cubicBezTo>
                  <a:pt x="58" y="287"/>
                  <a:pt x="58" y="287"/>
                  <a:pt x="58" y="287"/>
                </a:cubicBezTo>
                <a:cubicBezTo>
                  <a:pt x="56" y="286"/>
                  <a:pt x="56" y="286"/>
                  <a:pt x="56" y="286"/>
                </a:cubicBezTo>
                <a:cubicBezTo>
                  <a:pt x="54" y="285"/>
                  <a:pt x="54" y="285"/>
                  <a:pt x="54" y="285"/>
                </a:cubicBezTo>
                <a:cubicBezTo>
                  <a:pt x="51" y="284"/>
                  <a:pt x="51" y="284"/>
                  <a:pt x="51" y="284"/>
                </a:cubicBezTo>
                <a:cubicBezTo>
                  <a:pt x="50" y="284"/>
                  <a:pt x="50" y="284"/>
                  <a:pt x="50" y="284"/>
                </a:cubicBezTo>
                <a:cubicBezTo>
                  <a:pt x="49" y="284"/>
                  <a:pt x="49" y="284"/>
                  <a:pt x="49" y="284"/>
                </a:cubicBezTo>
                <a:cubicBezTo>
                  <a:pt x="50" y="285"/>
                  <a:pt x="50" y="285"/>
                  <a:pt x="50" y="285"/>
                </a:cubicBezTo>
                <a:cubicBezTo>
                  <a:pt x="49" y="285"/>
                  <a:pt x="49" y="285"/>
                  <a:pt x="49" y="285"/>
                </a:cubicBezTo>
                <a:cubicBezTo>
                  <a:pt x="49" y="285"/>
                  <a:pt x="49" y="285"/>
                  <a:pt x="49" y="285"/>
                </a:cubicBezTo>
                <a:cubicBezTo>
                  <a:pt x="47" y="284"/>
                  <a:pt x="47" y="284"/>
                  <a:pt x="47" y="284"/>
                </a:cubicBezTo>
                <a:cubicBezTo>
                  <a:pt x="46" y="283"/>
                  <a:pt x="46" y="283"/>
                  <a:pt x="46" y="283"/>
                </a:cubicBezTo>
                <a:cubicBezTo>
                  <a:pt x="45" y="284"/>
                  <a:pt x="45" y="284"/>
                  <a:pt x="45" y="284"/>
                </a:cubicBezTo>
                <a:cubicBezTo>
                  <a:pt x="46" y="284"/>
                  <a:pt x="46" y="284"/>
                  <a:pt x="46" y="284"/>
                </a:cubicBezTo>
                <a:cubicBezTo>
                  <a:pt x="48" y="286"/>
                  <a:pt x="48" y="286"/>
                  <a:pt x="48" y="286"/>
                </a:cubicBezTo>
                <a:cubicBezTo>
                  <a:pt x="49" y="286"/>
                  <a:pt x="49" y="286"/>
                  <a:pt x="49" y="286"/>
                </a:cubicBezTo>
                <a:cubicBezTo>
                  <a:pt x="48" y="286"/>
                  <a:pt x="48" y="286"/>
                  <a:pt x="48" y="286"/>
                </a:cubicBezTo>
                <a:cubicBezTo>
                  <a:pt x="48" y="286"/>
                  <a:pt x="48" y="286"/>
                  <a:pt x="48" y="286"/>
                </a:cubicBezTo>
                <a:cubicBezTo>
                  <a:pt x="48" y="287"/>
                  <a:pt x="48" y="287"/>
                  <a:pt x="48" y="287"/>
                </a:cubicBezTo>
                <a:cubicBezTo>
                  <a:pt x="47" y="287"/>
                  <a:pt x="47" y="287"/>
                  <a:pt x="47" y="287"/>
                </a:cubicBezTo>
                <a:cubicBezTo>
                  <a:pt x="47" y="286"/>
                  <a:pt x="47" y="286"/>
                  <a:pt x="47" y="286"/>
                </a:cubicBezTo>
                <a:cubicBezTo>
                  <a:pt x="45" y="285"/>
                  <a:pt x="45" y="285"/>
                  <a:pt x="45" y="285"/>
                </a:cubicBezTo>
                <a:cubicBezTo>
                  <a:pt x="45" y="286"/>
                  <a:pt x="45" y="286"/>
                  <a:pt x="45" y="286"/>
                </a:cubicBezTo>
                <a:cubicBezTo>
                  <a:pt x="45" y="286"/>
                  <a:pt x="45" y="286"/>
                  <a:pt x="45" y="286"/>
                </a:cubicBezTo>
                <a:cubicBezTo>
                  <a:pt x="44" y="287"/>
                  <a:pt x="44" y="287"/>
                  <a:pt x="44" y="287"/>
                </a:cubicBezTo>
                <a:cubicBezTo>
                  <a:pt x="42" y="287"/>
                  <a:pt x="42" y="287"/>
                  <a:pt x="42" y="287"/>
                </a:cubicBezTo>
                <a:cubicBezTo>
                  <a:pt x="42" y="287"/>
                  <a:pt x="42" y="287"/>
                  <a:pt x="42" y="287"/>
                </a:cubicBezTo>
                <a:cubicBezTo>
                  <a:pt x="42" y="287"/>
                  <a:pt x="42" y="287"/>
                  <a:pt x="42" y="287"/>
                </a:cubicBezTo>
                <a:cubicBezTo>
                  <a:pt x="42" y="288"/>
                  <a:pt x="42" y="288"/>
                  <a:pt x="42" y="288"/>
                </a:cubicBezTo>
                <a:cubicBezTo>
                  <a:pt x="41" y="288"/>
                  <a:pt x="41" y="288"/>
                  <a:pt x="41" y="288"/>
                </a:cubicBezTo>
                <a:cubicBezTo>
                  <a:pt x="40" y="288"/>
                  <a:pt x="40" y="288"/>
                  <a:pt x="40" y="288"/>
                </a:cubicBezTo>
                <a:cubicBezTo>
                  <a:pt x="40" y="289"/>
                  <a:pt x="40" y="289"/>
                  <a:pt x="40" y="289"/>
                </a:cubicBezTo>
                <a:cubicBezTo>
                  <a:pt x="41" y="289"/>
                  <a:pt x="41" y="289"/>
                  <a:pt x="41" y="289"/>
                </a:cubicBezTo>
                <a:cubicBezTo>
                  <a:pt x="43" y="289"/>
                  <a:pt x="43" y="289"/>
                  <a:pt x="43" y="289"/>
                </a:cubicBezTo>
                <a:cubicBezTo>
                  <a:pt x="43" y="288"/>
                  <a:pt x="43" y="288"/>
                  <a:pt x="43" y="288"/>
                </a:cubicBezTo>
                <a:cubicBezTo>
                  <a:pt x="43" y="288"/>
                  <a:pt x="43" y="288"/>
                  <a:pt x="43" y="288"/>
                </a:cubicBezTo>
                <a:cubicBezTo>
                  <a:pt x="44" y="288"/>
                  <a:pt x="44" y="288"/>
                  <a:pt x="44" y="288"/>
                </a:cubicBezTo>
                <a:cubicBezTo>
                  <a:pt x="45" y="289"/>
                  <a:pt x="45" y="289"/>
                  <a:pt x="45" y="289"/>
                </a:cubicBezTo>
                <a:cubicBezTo>
                  <a:pt x="46" y="289"/>
                  <a:pt x="46" y="289"/>
                  <a:pt x="46" y="289"/>
                </a:cubicBezTo>
                <a:cubicBezTo>
                  <a:pt x="46" y="289"/>
                  <a:pt x="46" y="289"/>
                  <a:pt x="46" y="289"/>
                </a:cubicBezTo>
                <a:cubicBezTo>
                  <a:pt x="46" y="290"/>
                  <a:pt x="46" y="290"/>
                  <a:pt x="46" y="290"/>
                </a:cubicBezTo>
                <a:cubicBezTo>
                  <a:pt x="47" y="290"/>
                  <a:pt x="47" y="290"/>
                  <a:pt x="47" y="290"/>
                </a:cubicBezTo>
                <a:cubicBezTo>
                  <a:pt x="46" y="291"/>
                  <a:pt x="46" y="291"/>
                  <a:pt x="46" y="291"/>
                </a:cubicBezTo>
                <a:cubicBezTo>
                  <a:pt x="46" y="292"/>
                  <a:pt x="46" y="292"/>
                  <a:pt x="46" y="292"/>
                </a:cubicBezTo>
                <a:cubicBezTo>
                  <a:pt x="46" y="293"/>
                  <a:pt x="46" y="293"/>
                  <a:pt x="46" y="293"/>
                </a:cubicBezTo>
                <a:cubicBezTo>
                  <a:pt x="47" y="293"/>
                  <a:pt x="47" y="293"/>
                  <a:pt x="47" y="293"/>
                </a:cubicBezTo>
                <a:cubicBezTo>
                  <a:pt x="48" y="293"/>
                  <a:pt x="48" y="293"/>
                  <a:pt x="48" y="293"/>
                </a:cubicBezTo>
                <a:cubicBezTo>
                  <a:pt x="49" y="294"/>
                  <a:pt x="49" y="294"/>
                  <a:pt x="49" y="294"/>
                </a:cubicBezTo>
                <a:cubicBezTo>
                  <a:pt x="50" y="294"/>
                  <a:pt x="50" y="294"/>
                  <a:pt x="50" y="294"/>
                </a:cubicBezTo>
                <a:cubicBezTo>
                  <a:pt x="50" y="294"/>
                  <a:pt x="50" y="294"/>
                  <a:pt x="50" y="294"/>
                </a:cubicBezTo>
                <a:cubicBezTo>
                  <a:pt x="49" y="293"/>
                  <a:pt x="49" y="293"/>
                  <a:pt x="49" y="293"/>
                </a:cubicBezTo>
                <a:cubicBezTo>
                  <a:pt x="48" y="292"/>
                  <a:pt x="48" y="292"/>
                  <a:pt x="48" y="292"/>
                </a:cubicBezTo>
                <a:cubicBezTo>
                  <a:pt x="48" y="292"/>
                  <a:pt x="48" y="292"/>
                  <a:pt x="48" y="292"/>
                </a:cubicBezTo>
                <a:cubicBezTo>
                  <a:pt x="48" y="292"/>
                  <a:pt x="48" y="292"/>
                  <a:pt x="48" y="292"/>
                </a:cubicBezTo>
                <a:cubicBezTo>
                  <a:pt x="49" y="292"/>
                  <a:pt x="49" y="292"/>
                  <a:pt x="49" y="292"/>
                </a:cubicBezTo>
                <a:cubicBezTo>
                  <a:pt x="50" y="292"/>
                  <a:pt x="50" y="292"/>
                  <a:pt x="50" y="292"/>
                </a:cubicBezTo>
                <a:cubicBezTo>
                  <a:pt x="50" y="291"/>
                  <a:pt x="50" y="291"/>
                  <a:pt x="50" y="291"/>
                </a:cubicBezTo>
                <a:cubicBezTo>
                  <a:pt x="49" y="291"/>
                  <a:pt x="49" y="291"/>
                  <a:pt x="49" y="291"/>
                </a:cubicBezTo>
                <a:cubicBezTo>
                  <a:pt x="48" y="290"/>
                  <a:pt x="48" y="290"/>
                  <a:pt x="48" y="290"/>
                </a:cubicBezTo>
                <a:cubicBezTo>
                  <a:pt x="51" y="289"/>
                  <a:pt x="51" y="289"/>
                  <a:pt x="51" y="289"/>
                </a:cubicBezTo>
                <a:cubicBezTo>
                  <a:pt x="52" y="289"/>
                  <a:pt x="52" y="289"/>
                  <a:pt x="52" y="289"/>
                </a:cubicBezTo>
                <a:cubicBezTo>
                  <a:pt x="57" y="290"/>
                  <a:pt x="57" y="290"/>
                  <a:pt x="57" y="290"/>
                </a:cubicBezTo>
                <a:cubicBezTo>
                  <a:pt x="58" y="290"/>
                  <a:pt x="58" y="290"/>
                  <a:pt x="58" y="290"/>
                </a:cubicBezTo>
                <a:cubicBezTo>
                  <a:pt x="57" y="289"/>
                  <a:pt x="57" y="289"/>
                  <a:pt x="57" y="289"/>
                </a:cubicBezTo>
                <a:cubicBezTo>
                  <a:pt x="59" y="289"/>
                  <a:pt x="59" y="289"/>
                  <a:pt x="59" y="289"/>
                </a:cubicBezTo>
                <a:close/>
                <a:moveTo>
                  <a:pt x="58" y="286"/>
                </a:moveTo>
                <a:cubicBezTo>
                  <a:pt x="57" y="286"/>
                  <a:pt x="57" y="286"/>
                  <a:pt x="57" y="286"/>
                </a:cubicBezTo>
                <a:cubicBezTo>
                  <a:pt x="54" y="284"/>
                  <a:pt x="54" y="284"/>
                  <a:pt x="54" y="284"/>
                </a:cubicBezTo>
                <a:cubicBezTo>
                  <a:pt x="52" y="283"/>
                  <a:pt x="52" y="283"/>
                  <a:pt x="52" y="283"/>
                </a:cubicBezTo>
                <a:cubicBezTo>
                  <a:pt x="50" y="283"/>
                  <a:pt x="50" y="283"/>
                  <a:pt x="50" y="283"/>
                </a:cubicBezTo>
                <a:cubicBezTo>
                  <a:pt x="49" y="282"/>
                  <a:pt x="49" y="282"/>
                  <a:pt x="49" y="282"/>
                </a:cubicBezTo>
                <a:cubicBezTo>
                  <a:pt x="48" y="281"/>
                  <a:pt x="48" y="281"/>
                  <a:pt x="48" y="281"/>
                </a:cubicBezTo>
                <a:cubicBezTo>
                  <a:pt x="48" y="280"/>
                  <a:pt x="48" y="280"/>
                  <a:pt x="48" y="280"/>
                </a:cubicBezTo>
                <a:cubicBezTo>
                  <a:pt x="48" y="280"/>
                  <a:pt x="48" y="280"/>
                  <a:pt x="48" y="280"/>
                </a:cubicBezTo>
                <a:cubicBezTo>
                  <a:pt x="50" y="279"/>
                  <a:pt x="50" y="279"/>
                  <a:pt x="50" y="279"/>
                </a:cubicBezTo>
                <a:cubicBezTo>
                  <a:pt x="50" y="278"/>
                  <a:pt x="50" y="278"/>
                  <a:pt x="50" y="278"/>
                </a:cubicBezTo>
                <a:cubicBezTo>
                  <a:pt x="51" y="278"/>
                  <a:pt x="51" y="278"/>
                  <a:pt x="51" y="278"/>
                </a:cubicBezTo>
                <a:cubicBezTo>
                  <a:pt x="52" y="277"/>
                  <a:pt x="52" y="277"/>
                  <a:pt x="52" y="277"/>
                </a:cubicBezTo>
                <a:cubicBezTo>
                  <a:pt x="52" y="275"/>
                  <a:pt x="52" y="275"/>
                  <a:pt x="52" y="275"/>
                </a:cubicBezTo>
                <a:cubicBezTo>
                  <a:pt x="50" y="275"/>
                  <a:pt x="50" y="275"/>
                  <a:pt x="50" y="275"/>
                </a:cubicBezTo>
                <a:cubicBezTo>
                  <a:pt x="49" y="276"/>
                  <a:pt x="49" y="276"/>
                  <a:pt x="49" y="276"/>
                </a:cubicBezTo>
                <a:cubicBezTo>
                  <a:pt x="48" y="277"/>
                  <a:pt x="48" y="277"/>
                  <a:pt x="48" y="277"/>
                </a:cubicBezTo>
                <a:cubicBezTo>
                  <a:pt x="47" y="278"/>
                  <a:pt x="47" y="278"/>
                  <a:pt x="47" y="278"/>
                </a:cubicBezTo>
                <a:cubicBezTo>
                  <a:pt x="46" y="276"/>
                  <a:pt x="46" y="276"/>
                  <a:pt x="46" y="276"/>
                </a:cubicBezTo>
                <a:cubicBezTo>
                  <a:pt x="45" y="275"/>
                  <a:pt x="45" y="275"/>
                  <a:pt x="45" y="275"/>
                </a:cubicBezTo>
                <a:cubicBezTo>
                  <a:pt x="45" y="274"/>
                  <a:pt x="45" y="274"/>
                  <a:pt x="45" y="274"/>
                </a:cubicBezTo>
                <a:cubicBezTo>
                  <a:pt x="46" y="273"/>
                  <a:pt x="46" y="273"/>
                  <a:pt x="46" y="273"/>
                </a:cubicBezTo>
                <a:cubicBezTo>
                  <a:pt x="46" y="272"/>
                  <a:pt x="46" y="272"/>
                  <a:pt x="46" y="272"/>
                </a:cubicBezTo>
                <a:cubicBezTo>
                  <a:pt x="45" y="272"/>
                  <a:pt x="45" y="272"/>
                  <a:pt x="45" y="272"/>
                </a:cubicBezTo>
                <a:cubicBezTo>
                  <a:pt x="45" y="271"/>
                  <a:pt x="45" y="271"/>
                  <a:pt x="45" y="271"/>
                </a:cubicBezTo>
                <a:cubicBezTo>
                  <a:pt x="45" y="270"/>
                  <a:pt x="45" y="270"/>
                  <a:pt x="45" y="270"/>
                </a:cubicBezTo>
                <a:cubicBezTo>
                  <a:pt x="46" y="271"/>
                  <a:pt x="46" y="271"/>
                  <a:pt x="46" y="271"/>
                </a:cubicBezTo>
                <a:cubicBezTo>
                  <a:pt x="47" y="271"/>
                  <a:pt x="47" y="271"/>
                  <a:pt x="47" y="271"/>
                </a:cubicBezTo>
                <a:cubicBezTo>
                  <a:pt x="48" y="271"/>
                  <a:pt x="48" y="271"/>
                  <a:pt x="48" y="271"/>
                </a:cubicBezTo>
                <a:cubicBezTo>
                  <a:pt x="49" y="270"/>
                  <a:pt x="49" y="270"/>
                  <a:pt x="49" y="270"/>
                </a:cubicBezTo>
                <a:cubicBezTo>
                  <a:pt x="49" y="269"/>
                  <a:pt x="49" y="269"/>
                  <a:pt x="49" y="269"/>
                </a:cubicBezTo>
                <a:cubicBezTo>
                  <a:pt x="49" y="268"/>
                  <a:pt x="49" y="268"/>
                  <a:pt x="49" y="268"/>
                </a:cubicBezTo>
                <a:cubicBezTo>
                  <a:pt x="49" y="267"/>
                  <a:pt x="49" y="267"/>
                  <a:pt x="49" y="267"/>
                </a:cubicBezTo>
                <a:cubicBezTo>
                  <a:pt x="50" y="267"/>
                  <a:pt x="50" y="267"/>
                  <a:pt x="50" y="267"/>
                </a:cubicBezTo>
                <a:cubicBezTo>
                  <a:pt x="51" y="268"/>
                  <a:pt x="51" y="268"/>
                  <a:pt x="51" y="268"/>
                </a:cubicBezTo>
                <a:cubicBezTo>
                  <a:pt x="52" y="268"/>
                  <a:pt x="52" y="268"/>
                  <a:pt x="52" y="268"/>
                </a:cubicBezTo>
                <a:cubicBezTo>
                  <a:pt x="53" y="267"/>
                  <a:pt x="53" y="267"/>
                  <a:pt x="53" y="267"/>
                </a:cubicBezTo>
                <a:cubicBezTo>
                  <a:pt x="55" y="274"/>
                  <a:pt x="55" y="274"/>
                  <a:pt x="55" y="274"/>
                </a:cubicBezTo>
                <a:cubicBezTo>
                  <a:pt x="55" y="274"/>
                  <a:pt x="55" y="274"/>
                  <a:pt x="55" y="274"/>
                </a:cubicBezTo>
                <a:cubicBezTo>
                  <a:pt x="55" y="274"/>
                  <a:pt x="55" y="274"/>
                  <a:pt x="55" y="274"/>
                </a:cubicBezTo>
                <a:cubicBezTo>
                  <a:pt x="58" y="286"/>
                  <a:pt x="58" y="286"/>
                  <a:pt x="58" y="286"/>
                </a:cubicBezTo>
                <a:close/>
                <a:moveTo>
                  <a:pt x="53" y="265"/>
                </a:moveTo>
                <a:cubicBezTo>
                  <a:pt x="51" y="263"/>
                  <a:pt x="51" y="263"/>
                  <a:pt x="51" y="263"/>
                </a:cubicBezTo>
                <a:cubicBezTo>
                  <a:pt x="50" y="263"/>
                  <a:pt x="50" y="263"/>
                  <a:pt x="50" y="263"/>
                </a:cubicBezTo>
                <a:cubicBezTo>
                  <a:pt x="50" y="262"/>
                  <a:pt x="50" y="262"/>
                  <a:pt x="50" y="262"/>
                </a:cubicBezTo>
                <a:cubicBezTo>
                  <a:pt x="42" y="262"/>
                  <a:pt x="42" y="262"/>
                  <a:pt x="42" y="262"/>
                </a:cubicBezTo>
                <a:cubicBezTo>
                  <a:pt x="37" y="263"/>
                  <a:pt x="37" y="263"/>
                  <a:pt x="37" y="263"/>
                </a:cubicBezTo>
                <a:cubicBezTo>
                  <a:pt x="36" y="263"/>
                  <a:pt x="36" y="263"/>
                  <a:pt x="36" y="263"/>
                </a:cubicBezTo>
                <a:cubicBezTo>
                  <a:pt x="33" y="262"/>
                  <a:pt x="33" y="262"/>
                  <a:pt x="33" y="262"/>
                </a:cubicBezTo>
                <a:cubicBezTo>
                  <a:pt x="32" y="260"/>
                  <a:pt x="32" y="260"/>
                  <a:pt x="32" y="260"/>
                </a:cubicBezTo>
                <a:cubicBezTo>
                  <a:pt x="31" y="258"/>
                  <a:pt x="31" y="258"/>
                  <a:pt x="31" y="258"/>
                </a:cubicBezTo>
                <a:cubicBezTo>
                  <a:pt x="30" y="256"/>
                  <a:pt x="30" y="256"/>
                  <a:pt x="30" y="256"/>
                </a:cubicBezTo>
                <a:cubicBezTo>
                  <a:pt x="30" y="253"/>
                  <a:pt x="30" y="253"/>
                  <a:pt x="30" y="253"/>
                </a:cubicBezTo>
                <a:cubicBezTo>
                  <a:pt x="30" y="251"/>
                  <a:pt x="30" y="251"/>
                  <a:pt x="30" y="251"/>
                </a:cubicBezTo>
                <a:cubicBezTo>
                  <a:pt x="28" y="251"/>
                  <a:pt x="28" y="251"/>
                  <a:pt x="28" y="251"/>
                </a:cubicBezTo>
                <a:cubicBezTo>
                  <a:pt x="26" y="252"/>
                  <a:pt x="26" y="252"/>
                  <a:pt x="26" y="252"/>
                </a:cubicBezTo>
                <a:cubicBezTo>
                  <a:pt x="25" y="253"/>
                  <a:pt x="25" y="253"/>
                  <a:pt x="25" y="253"/>
                </a:cubicBezTo>
                <a:cubicBezTo>
                  <a:pt x="24" y="253"/>
                  <a:pt x="24" y="253"/>
                  <a:pt x="24" y="253"/>
                </a:cubicBezTo>
                <a:cubicBezTo>
                  <a:pt x="21" y="248"/>
                  <a:pt x="21" y="248"/>
                  <a:pt x="21" y="248"/>
                </a:cubicBezTo>
                <a:cubicBezTo>
                  <a:pt x="21" y="246"/>
                  <a:pt x="21" y="246"/>
                  <a:pt x="21" y="246"/>
                </a:cubicBezTo>
                <a:cubicBezTo>
                  <a:pt x="22" y="240"/>
                  <a:pt x="22" y="240"/>
                  <a:pt x="22" y="240"/>
                </a:cubicBezTo>
                <a:cubicBezTo>
                  <a:pt x="23" y="238"/>
                  <a:pt x="23" y="238"/>
                  <a:pt x="23" y="238"/>
                </a:cubicBezTo>
                <a:cubicBezTo>
                  <a:pt x="25" y="236"/>
                  <a:pt x="25" y="236"/>
                  <a:pt x="25" y="236"/>
                </a:cubicBezTo>
                <a:cubicBezTo>
                  <a:pt x="26" y="233"/>
                  <a:pt x="26" y="233"/>
                  <a:pt x="26" y="233"/>
                </a:cubicBezTo>
                <a:cubicBezTo>
                  <a:pt x="25" y="230"/>
                  <a:pt x="25" y="230"/>
                  <a:pt x="25" y="230"/>
                </a:cubicBezTo>
                <a:cubicBezTo>
                  <a:pt x="24" y="227"/>
                  <a:pt x="24" y="227"/>
                  <a:pt x="24" y="227"/>
                </a:cubicBezTo>
                <a:cubicBezTo>
                  <a:pt x="25" y="224"/>
                  <a:pt x="25" y="224"/>
                  <a:pt x="25" y="224"/>
                </a:cubicBezTo>
                <a:cubicBezTo>
                  <a:pt x="26" y="223"/>
                  <a:pt x="26" y="223"/>
                  <a:pt x="26" y="223"/>
                </a:cubicBezTo>
                <a:cubicBezTo>
                  <a:pt x="25" y="220"/>
                  <a:pt x="25" y="220"/>
                  <a:pt x="25" y="220"/>
                </a:cubicBezTo>
                <a:cubicBezTo>
                  <a:pt x="25" y="218"/>
                  <a:pt x="25" y="218"/>
                  <a:pt x="25" y="218"/>
                </a:cubicBezTo>
                <a:cubicBezTo>
                  <a:pt x="26" y="217"/>
                  <a:pt x="26" y="217"/>
                  <a:pt x="26" y="217"/>
                </a:cubicBezTo>
                <a:cubicBezTo>
                  <a:pt x="25" y="214"/>
                  <a:pt x="25" y="214"/>
                  <a:pt x="25" y="214"/>
                </a:cubicBezTo>
                <a:cubicBezTo>
                  <a:pt x="25" y="211"/>
                  <a:pt x="25" y="211"/>
                  <a:pt x="25" y="211"/>
                </a:cubicBezTo>
                <a:cubicBezTo>
                  <a:pt x="24" y="209"/>
                  <a:pt x="24" y="209"/>
                  <a:pt x="24" y="209"/>
                </a:cubicBezTo>
                <a:cubicBezTo>
                  <a:pt x="24" y="208"/>
                  <a:pt x="24" y="208"/>
                  <a:pt x="24" y="208"/>
                </a:cubicBezTo>
                <a:cubicBezTo>
                  <a:pt x="26" y="207"/>
                  <a:pt x="26" y="207"/>
                  <a:pt x="26" y="207"/>
                </a:cubicBezTo>
                <a:cubicBezTo>
                  <a:pt x="26" y="205"/>
                  <a:pt x="26" y="205"/>
                  <a:pt x="26" y="205"/>
                </a:cubicBezTo>
                <a:cubicBezTo>
                  <a:pt x="24" y="203"/>
                  <a:pt x="24" y="203"/>
                  <a:pt x="24" y="203"/>
                </a:cubicBezTo>
                <a:cubicBezTo>
                  <a:pt x="22" y="202"/>
                  <a:pt x="22" y="202"/>
                  <a:pt x="22" y="202"/>
                </a:cubicBezTo>
                <a:cubicBezTo>
                  <a:pt x="21" y="202"/>
                  <a:pt x="21" y="202"/>
                  <a:pt x="21" y="202"/>
                </a:cubicBezTo>
                <a:cubicBezTo>
                  <a:pt x="21" y="202"/>
                  <a:pt x="21" y="202"/>
                  <a:pt x="21" y="202"/>
                </a:cubicBezTo>
                <a:cubicBezTo>
                  <a:pt x="20" y="201"/>
                  <a:pt x="20" y="201"/>
                  <a:pt x="20" y="201"/>
                </a:cubicBezTo>
                <a:cubicBezTo>
                  <a:pt x="20" y="200"/>
                  <a:pt x="20" y="200"/>
                  <a:pt x="20" y="200"/>
                </a:cubicBezTo>
                <a:cubicBezTo>
                  <a:pt x="23" y="200"/>
                  <a:pt x="23" y="200"/>
                  <a:pt x="23" y="200"/>
                </a:cubicBezTo>
                <a:cubicBezTo>
                  <a:pt x="24" y="198"/>
                  <a:pt x="24" y="198"/>
                  <a:pt x="24" y="198"/>
                </a:cubicBezTo>
                <a:cubicBezTo>
                  <a:pt x="24" y="197"/>
                  <a:pt x="24" y="197"/>
                  <a:pt x="24" y="197"/>
                </a:cubicBezTo>
                <a:cubicBezTo>
                  <a:pt x="24" y="197"/>
                  <a:pt x="24" y="197"/>
                  <a:pt x="24" y="197"/>
                </a:cubicBezTo>
                <a:cubicBezTo>
                  <a:pt x="23" y="197"/>
                  <a:pt x="23" y="197"/>
                  <a:pt x="23" y="197"/>
                </a:cubicBezTo>
                <a:cubicBezTo>
                  <a:pt x="21" y="197"/>
                  <a:pt x="21" y="197"/>
                  <a:pt x="21" y="197"/>
                </a:cubicBezTo>
                <a:cubicBezTo>
                  <a:pt x="21" y="194"/>
                  <a:pt x="21" y="194"/>
                  <a:pt x="21" y="194"/>
                </a:cubicBezTo>
                <a:cubicBezTo>
                  <a:pt x="20" y="192"/>
                  <a:pt x="20" y="192"/>
                  <a:pt x="20" y="192"/>
                </a:cubicBezTo>
                <a:cubicBezTo>
                  <a:pt x="20" y="190"/>
                  <a:pt x="20" y="190"/>
                  <a:pt x="20" y="190"/>
                </a:cubicBezTo>
                <a:cubicBezTo>
                  <a:pt x="20" y="188"/>
                  <a:pt x="20" y="188"/>
                  <a:pt x="20" y="188"/>
                </a:cubicBezTo>
                <a:cubicBezTo>
                  <a:pt x="18" y="187"/>
                  <a:pt x="18" y="187"/>
                  <a:pt x="18" y="187"/>
                </a:cubicBezTo>
                <a:cubicBezTo>
                  <a:pt x="17" y="185"/>
                  <a:pt x="17" y="185"/>
                  <a:pt x="17" y="185"/>
                </a:cubicBezTo>
                <a:cubicBezTo>
                  <a:pt x="17" y="180"/>
                  <a:pt x="17" y="180"/>
                  <a:pt x="17" y="180"/>
                </a:cubicBezTo>
                <a:cubicBezTo>
                  <a:pt x="18" y="179"/>
                  <a:pt x="18" y="179"/>
                  <a:pt x="18" y="179"/>
                </a:cubicBezTo>
                <a:cubicBezTo>
                  <a:pt x="19" y="178"/>
                  <a:pt x="19" y="178"/>
                  <a:pt x="19" y="178"/>
                </a:cubicBezTo>
                <a:cubicBezTo>
                  <a:pt x="18" y="177"/>
                  <a:pt x="18" y="177"/>
                  <a:pt x="18" y="177"/>
                </a:cubicBezTo>
                <a:cubicBezTo>
                  <a:pt x="17" y="176"/>
                  <a:pt x="17" y="176"/>
                  <a:pt x="17" y="176"/>
                </a:cubicBezTo>
                <a:cubicBezTo>
                  <a:pt x="16" y="173"/>
                  <a:pt x="16" y="173"/>
                  <a:pt x="16" y="173"/>
                </a:cubicBezTo>
                <a:cubicBezTo>
                  <a:pt x="16" y="169"/>
                  <a:pt x="16" y="169"/>
                  <a:pt x="16" y="169"/>
                </a:cubicBezTo>
                <a:cubicBezTo>
                  <a:pt x="16" y="164"/>
                  <a:pt x="16" y="164"/>
                  <a:pt x="16" y="164"/>
                </a:cubicBezTo>
                <a:cubicBezTo>
                  <a:pt x="15" y="162"/>
                  <a:pt x="15" y="162"/>
                  <a:pt x="15" y="162"/>
                </a:cubicBezTo>
                <a:cubicBezTo>
                  <a:pt x="15" y="160"/>
                  <a:pt x="15" y="160"/>
                  <a:pt x="15" y="160"/>
                </a:cubicBezTo>
                <a:cubicBezTo>
                  <a:pt x="17" y="157"/>
                  <a:pt x="17" y="157"/>
                  <a:pt x="17" y="157"/>
                </a:cubicBezTo>
                <a:cubicBezTo>
                  <a:pt x="18" y="154"/>
                  <a:pt x="18" y="154"/>
                  <a:pt x="18" y="154"/>
                </a:cubicBezTo>
                <a:cubicBezTo>
                  <a:pt x="19" y="153"/>
                  <a:pt x="19" y="153"/>
                  <a:pt x="19" y="153"/>
                </a:cubicBezTo>
                <a:cubicBezTo>
                  <a:pt x="20" y="152"/>
                  <a:pt x="20" y="152"/>
                  <a:pt x="20" y="152"/>
                </a:cubicBezTo>
                <a:cubicBezTo>
                  <a:pt x="16" y="144"/>
                  <a:pt x="16" y="144"/>
                  <a:pt x="16" y="144"/>
                </a:cubicBezTo>
                <a:cubicBezTo>
                  <a:pt x="17" y="142"/>
                  <a:pt x="17" y="142"/>
                  <a:pt x="17" y="142"/>
                </a:cubicBezTo>
                <a:cubicBezTo>
                  <a:pt x="17" y="140"/>
                  <a:pt x="17" y="140"/>
                  <a:pt x="17" y="140"/>
                </a:cubicBezTo>
                <a:cubicBezTo>
                  <a:pt x="17" y="136"/>
                  <a:pt x="17" y="136"/>
                  <a:pt x="17" y="136"/>
                </a:cubicBezTo>
                <a:cubicBezTo>
                  <a:pt x="18" y="133"/>
                  <a:pt x="18" y="133"/>
                  <a:pt x="18" y="133"/>
                </a:cubicBezTo>
                <a:cubicBezTo>
                  <a:pt x="20" y="132"/>
                  <a:pt x="20" y="132"/>
                  <a:pt x="20" y="132"/>
                </a:cubicBezTo>
                <a:cubicBezTo>
                  <a:pt x="19" y="129"/>
                  <a:pt x="19" y="129"/>
                  <a:pt x="19" y="129"/>
                </a:cubicBezTo>
                <a:cubicBezTo>
                  <a:pt x="18" y="127"/>
                  <a:pt x="18" y="127"/>
                  <a:pt x="18" y="127"/>
                </a:cubicBezTo>
                <a:cubicBezTo>
                  <a:pt x="17" y="126"/>
                  <a:pt x="17" y="126"/>
                  <a:pt x="17" y="126"/>
                </a:cubicBezTo>
                <a:cubicBezTo>
                  <a:pt x="19" y="124"/>
                  <a:pt x="19" y="124"/>
                  <a:pt x="19" y="124"/>
                </a:cubicBezTo>
                <a:cubicBezTo>
                  <a:pt x="18" y="122"/>
                  <a:pt x="18" y="122"/>
                  <a:pt x="18" y="122"/>
                </a:cubicBezTo>
                <a:cubicBezTo>
                  <a:pt x="19" y="119"/>
                  <a:pt x="19" y="119"/>
                  <a:pt x="19" y="119"/>
                </a:cubicBezTo>
                <a:cubicBezTo>
                  <a:pt x="21" y="119"/>
                  <a:pt x="21" y="119"/>
                  <a:pt x="21" y="119"/>
                </a:cubicBezTo>
                <a:cubicBezTo>
                  <a:pt x="21" y="116"/>
                  <a:pt x="21" y="116"/>
                  <a:pt x="21" y="116"/>
                </a:cubicBezTo>
                <a:cubicBezTo>
                  <a:pt x="20" y="111"/>
                  <a:pt x="20" y="111"/>
                  <a:pt x="20" y="111"/>
                </a:cubicBezTo>
                <a:cubicBezTo>
                  <a:pt x="19" y="110"/>
                  <a:pt x="19" y="110"/>
                  <a:pt x="19" y="110"/>
                </a:cubicBezTo>
                <a:cubicBezTo>
                  <a:pt x="19" y="107"/>
                  <a:pt x="19" y="107"/>
                  <a:pt x="19" y="107"/>
                </a:cubicBezTo>
                <a:cubicBezTo>
                  <a:pt x="18" y="105"/>
                  <a:pt x="18" y="105"/>
                  <a:pt x="18" y="105"/>
                </a:cubicBezTo>
                <a:cubicBezTo>
                  <a:pt x="16" y="102"/>
                  <a:pt x="16" y="102"/>
                  <a:pt x="16" y="102"/>
                </a:cubicBezTo>
                <a:cubicBezTo>
                  <a:pt x="16" y="101"/>
                  <a:pt x="16" y="101"/>
                  <a:pt x="16" y="101"/>
                </a:cubicBezTo>
                <a:cubicBezTo>
                  <a:pt x="15" y="100"/>
                  <a:pt x="15" y="100"/>
                  <a:pt x="15" y="100"/>
                </a:cubicBezTo>
                <a:cubicBezTo>
                  <a:pt x="14" y="97"/>
                  <a:pt x="14" y="97"/>
                  <a:pt x="14" y="97"/>
                </a:cubicBezTo>
                <a:cubicBezTo>
                  <a:pt x="15" y="94"/>
                  <a:pt x="15" y="94"/>
                  <a:pt x="15" y="94"/>
                </a:cubicBezTo>
                <a:cubicBezTo>
                  <a:pt x="16" y="93"/>
                  <a:pt x="16" y="93"/>
                  <a:pt x="16" y="93"/>
                </a:cubicBezTo>
                <a:cubicBezTo>
                  <a:pt x="16" y="90"/>
                  <a:pt x="16" y="90"/>
                  <a:pt x="16" y="90"/>
                </a:cubicBezTo>
                <a:cubicBezTo>
                  <a:pt x="17" y="89"/>
                  <a:pt x="17" y="89"/>
                  <a:pt x="17" y="89"/>
                </a:cubicBezTo>
                <a:cubicBezTo>
                  <a:pt x="17" y="86"/>
                  <a:pt x="17" y="86"/>
                  <a:pt x="17" y="86"/>
                </a:cubicBezTo>
                <a:cubicBezTo>
                  <a:pt x="16" y="84"/>
                  <a:pt x="16" y="84"/>
                  <a:pt x="16" y="84"/>
                </a:cubicBezTo>
                <a:cubicBezTo>
                  <a:pt x="16" y="80"/>
                  <a:pt x="16" y="80"/>
                  <a:pt x="16" y="80"/>
                </a:cubicBezTo>
                <a:cubicBezTo>
                  <a:pt x="17" y="79"/>
                  <a:pt x="17" y="79"/>
                  <a:pt x="17" y="79"/>
                </a:cubicBezTo>
                <a:cubicBezTo>
                  <a:pt x="17" y="75"/>
                  <a:pt x="17" y="75"/>
                  <a:pt x="17" y="75"/>
                </a:cubicBezTo>
                <a:cubicBezTo>
                  <a:pt x="19" y="73"/>
                  <a:pt x="19" y="73"/>
                  <a:pt x="19" y="73"/>
                </a:cubicBezTo>
                <a:cubicBezTo>
                  <a:pt x="20" y="69"/>
                  <a:pt x="20" y="69"/>
                  <a:pt x="20" y="69"/>
                </a:cubicBezTo>
                <a:cubicBezTo>
                  <a:pt x="22" y="67"/>
                  <a:pt x="22" y="67"/>
                  <a:pt x="22" y="67"/>
                </a:cubicBezTo>
                <a:cubicBezTo>
                  <a:pt x="23" y="67"/>
                  <a:pt x="23" y="67"/>
                  <a:pt x="23" y="67"/>
                </a:cubicBezTo>
                <a:cubicBezTo>
                  <a:pt x="24" y="65"/>
                  <a:pt x="24" y="65"/>
                  <a:pt x="24" y="65"/>
                </a:cubicBezTo>
                <a:cubicBezTo>
                  <a:pt x="23" y="65"/>
                  <a:pt x="23" y="65"/>
                  <a:pt x="23" y="65"/>
                </a:cubicBezTo>
                <a:cubicBezTo>
                  <a:pt x="23" y="63"/>
                  <a:pt x="23" y="63"/>
                  <a:pt x="23" y="63"/>
                </a:cubicBezTo>
                <a:cubicBezTo>
                  <a:pt x="23" y="62"/>
                  <a:pt x="23" y="62"/>
                  <a:pt x="23" y="62"/>
                </a:cubicBezTo>
                <a:cubicBezTo>
                  <a:pt x="22" y="61"/>
                  <a:pt x="22" y="61"/>
                  <a:pt x="22" y="61"/>
                </a:cubicBezTo>
                <a:cubicBezTo>
                  <a:pt x="22" y="60"/>
                  <a:pt x="22" y="60"/>
                  <a:pt x="22" y="60"/>
                </a:cubicBezTo>
                <a:cubicBezTo>
                  <a:pt x="24" y="59"/>
                  <a:pt x="24" y="59"/>
                  <a:pt x="24" y="59"/>
                </a:cubicBezTo>
                <a:cubicBezTo>
                  <a:pt x="24" y="58"/>
                  <a:pt x="24" y="58"/>
                  <a:pt x="24" y="58"/>
                </a:cubicBezTo>
                <a:cubicBezTo>
                  <a:pt x="22" y="56"/>
                  <a:pt x="22" y="56"/>
                  <a:pt x="22" y="56"/>
                </a:cubicBezTo>
                <a:cubicBezTo>
                  <a:pt x="22" y="54"/>
                  <a:pt x="22" y="54"/>
                  <a:pt x="22" y="54"/>
                </a:cubicBezTo>
                <a:cubicBezTo>
                  <a:pt x="23" y="53"/>
                  <a:pt x="23" y="53"/>
                  <a:pt x="23" y="53"/>
                </a:cubicBezTo>
                <a:cubicBezTo>
                  <a:pt x="22" y="51"/>
                  <a:pt x="22" y="51"/>
                  <a:pt x="22" y="51"/>
                </a:cubicBezTo>
                <a:cubicBezTo>
                  <a:pt x="21" y="50"/>
                  <a:pt x="21" y="50"/>
                  <a:pt x="21" y="50"/>
                </a:cubicBezTo>
                <a:cubicBezTo>
                  <a:pt x="22" y="49"/>
                  <a:pt x="22" y="49"/>
                  <a:pt x="22" y="49"/>
                </a:cubicBezTo>
                <a:cubicBezTo>
                  <a:pt x="29" y="45"/>
                  <a:pt x="29" y="45"/>
                  <a:pt x="29" y="45"/>
                </a:cubicBezTo>
                <a:cubicBezTo>
                  <a:pt x="31" y="38"/>
                  <a:pt x="31" y="38"/>
                  <a:pt x="31" y="38"/>
                </a:cubicBezTo>
                <a:cubicBezTo>
                  <a:pt x="30" y="36"/>
                  <a:pt x="30" y="36"/>
                  <a:pt x="30" y="36"/>
                </a:cubicBezTo>
                <a:cubicBezTo>
                  <a:pt x="29" y="36"/>
                  <a:pt x="29" y="36"/>
                  <a:pt x="29" y="36"/>
                </a:cubicBezTo>
                <a:cubicBezTo>
                  <a:pt x="28" y="37"/>
                  <a:pt x="28" y="37"/>
                  <a:pt x="28" y="37"/>
                </a:cubicBezTo>
                <a:cubicBezTo>
                  <a:pt x="27" y="37"/>
                  <a:pt x="27" y="37"/>
                  <a:pt x="27" y="37"/>
                </a:cubicBezTo>
                <a:cubicBezTo>
                  <a:pt x="22" y="25"/>
                  <a:pt x="22" y="25"/>
                  <a:pt x="22" y="25"/>
                </a:cubicBezTo>
                <a:cubicBezTo>
                  <a:pt x="19" y="22"/>
                  <a:pt x="19" y="22"/>
                  <a:pt x="19" y="22"/>
                </a:cubicBezTo>
                <a:cubicBezTo>
                  <a:pt x="18" y="20"/>
                  <a:pt x="18" y="20"/>
                  <a:pt x="18" y="20"/>
                </a:cubicBezTo>
                <a:cubicBezTo>
                  <a:pt x="20" y="17"/>
                  <a:pt x="20" y="17"/>
                  <a:pt x="20" y="17"/>
                </a:cubicBezTo>
                <a:cubicBezTo>
                  <a:pt x="19" y="16"/>
                  <a:pt x="19" y="16"/>
                  <a:pt x="19" y="16"/>
                </a:cubicBezTo>
                <a:cubicBezTo>
                  <a:pt x="20" y="14"/>
                  <a:pt x="20" y="14"/>
                  <a:pt x="20" y="14"/>
                </a:cubicBezTo>
                <a:cubicBezTo>
                  <a:pt x="20" y="13"/>
                  <a:pt x="20" y="13"/>
                  <a:pt x="20" y="13"/>
                </a:cubicBezTo>
                <a:cubicBezTo>
                  <a:pt x="17" y="11"/>
                  <a:pt x="17" y="11"/>
                  <a:pt x="17" y="11"/>
                </a:cubicBezTo>
                <a:cubicBezTo>
                  <a:pt x="16" y="9"/>
                  <a:pt x="16" y="9"/>
                  <a:pt x="16" y="9"/>
                </a:cubicBezTo>
                <a:cubicBezTo>
                  <a:pt x="15" y="7"/>
                  <a:pt x="15" y="7"/>
                  <a:pt x="15" y="7"/>
                </a:cubicBezTo>
                <a:cubicBezTo>
                  <a:pt x="15" y="6"/>
                  <a:pt x="15" y="6"/>
                  <a:pt x="15" y="6"/>
                </a:cubicBezTo>
                <a:cubicBezTo>
                  <a:pt x="15" y="5"/>
                  <a:pt x="15" y="5"/>
                  <a:pt x="15" y="5"/>
                </a:cubicBezTo>
                <a:cubicBezTo>
                  <a:pt x="15" y="4"/>
                  <a:pt x="15" y="4"/>
                  <a:pt x="15" y="4"/>
                </a:cubicBezTo>
                <a:cubicBezTo>
                  <a:pt x="15" y="3"/>
                  <a:pt x="15" y="3"/>
                  <a:pt x="15" y="3"/>
                </a:cubicBezTo>
                <a:cubicBezTo>
                  <a:pt x="13" y="2"/>
                  <a:pt x="13" y="2"/>
                  <a:pt x="13" y="2"/>
                </a:cubicBezTo>
                <a:cubicBezTo>
                  <a:pt x="13" y="1"/>
                  <a:pt x="13" y="1"/>
                  <a:pt x="13" y="1"/>
                </a:cubicBezTo>
                <a:cubicBezTo>
                  <a:pt x="12" y="0"/>
                  <a:pt x="12" y="0"/>
                  <a:pt x="12" y="0"/>
                </a:cubicBezTo>
                <a:cubicBezTo>
                  <a:pt x="11" y="1"/>
                  <a:pt x="11" y="1"/>
                  <a:pt x="11" y="1"/>
                </a:cubicBezTo>
                <a:cubicBezTo>
                  <a:pt x="11" y="3"/>
                  <a:pt x="11" y="3"/>
                  <a:pt x="11" y="3"/>
                </a:cubicBezTo>
                <a:cubicBezTo>
                  <a:pt x="12" y="4"/>
                  <a:pt x="12" y="4"/>
                  <a:pt x="12" y="4"/>
                </a:cubicBezTo>
                <a:cubicBezTo>
                  <a:pt x="12" y="5"/>
                  <a:pt x="12" y="5"/>
                  <a:pt x="12" y="5"/>
                </a:cubicBezTo>
                <a:cubicBezTo>
                  <a:pt x="10" y="5"/>
                  <a:pt x="10" y="5"/>
                  <a:pt x="10" y="5"/>
                </a:cubicBezTo>
                <a:cubicBezTo>
                  <a:pt x="10" y="5"/>
                  <a:pt x="10" y="5"/>
                  <a:pt x="10" y="5"/>
                </a:cubicBezTo>
                <a:cubicBezTo>
                  <a:pt x="8" y="6"/>
                  <a:pt x="8" y="6"/>
                  <a:pt x="8" y="6"/>
                </a:cubicBezTo>
                <a:cubicBezTo>
                  <a:pt x="7" y="7"/>
                  <a:pt x="7" y="7"/>
                  <a:pt x="7" y="7"/>
                </a:cubicBezTo>
                <a:cubicBezTo>
                  <a:pt x="7" y="7"/>
                  <a:pt x="7" y="7"/>
                  <a:pt x="7" y="7"/>
                </a:cubicBezTo>
                <a:cubicBezTo>
                  <a:pt x="7" y="9"/>
                  <a:pt x="7" y="9"/>
                  <a:pt x="7" y="9"/>
                </a:cubicBezTo>
                <a:cubicBezTo>
                  <a:pt x="7" y="11"/>
                  <a:pt x="7" y="11"/>
                  <a:pt x="7" y="11"/>
                </a:cubicBezTo>
                <a:cubicBezTo>
                  <a:pt x="8" y="12"/>
                  <a:pt x="8" y="12"/>
                  <a:pt x="8" y="12"/>
                </a:cubicBezTo>
                <a:cubicBezTo>
                  <a:pt x="9" y="17"/>
                  <a:pt x="9" y="17"/>
                  <a:pt x="9" y="17"/>
                </a:cubicBezTo>
                <a:cubicBezTo>
                  <a:pt x="9" y="19"/>
                  <a:pt x="9" y="19"/>
                  <a:pt x="9" y="19"/>
                </a:cubicBezTo>
                <a:cubicBezTo>
                  <a:pt x="8" y="20"/>
                  <a:pt x="8" y="20"/>
                  <a:pt x="8" y="20"/>
                </a:cubicBezTo>
                <a:cubicBezTo>
                  <a:pt x="8" y="21"/>
                  <a:pt x="8" y="21"/>
                  <a:pt x="8" y="21"/>
                </a:cubicBezTo>
                <a:cubicBezTo>
                  <a:pt x="8" y="23"/>
                  <a:pt x="8" y="23"/>
                  <a:pt x="8" y="23"/>
                </a:cubicBezTo>
                <a:cubicBezTo>
                  <a:pt x="9" y="25"/>
                  <a:pt x="9" y="25"/>
                  <a:pt x="9" y="25"/>
                </a:cubicBezTo>
                <a:cubicBezTo>
                  <a:pt x="10" y="27"/>
                  <a:pt x="10" y="27"/>
                  <a:pt x="10" y="27"/>
                </a:cubicBezTo>
                <a:cubicBezTo>
                  <a:pt x="10" y="31"/>
                  <a:pt x="10" y="31"/>
                  <a:pt x="10" y="31"/>
                </a:cubicBezTo>
                <a:cubicBezTo>
                  <a:pt x="9" y="32"/>
                  <a:pt x="9" y="32"/>
                  <a:pt x="9" y="32"/>
                </a:cubicBezTo>
                <a:cubicBezTo>
                  <a:pt x="9" y="32"/>
                  <a:pt x="9" y="32"/>
                  <a:pt x="9" y="32"/>
                </a:cubicBezTo>
                <a:cubicBezTo>
                  <a:pt x="9" y="37"/>
                  <a:pt x="9" y="37"/>
                  <a:pt x="9" y="37"/>
                </a:cubicBezTo>
                <a:cubicBezTo>
                  <a:pt x="9" y="38"/>
                  <a:pt x="9" y="38"/>
                  <a:pt x="9" y="38"/>
                </a:cubicBezTo>
                <a:cubicBezTo>
                  <a:pt x="8" y="38"/>
                  <a:pt x="8" y="38"/>
                  <a:pt x="8" y="38"/>
                </a:cubicBezTo>
                <a:cubicBezTo>
                  <a:pt x="7" y="39"/>
                  <a:pt x="7" y="39"/>
                  <a:pt x="7" y="39"/>
                </a:cubicBezTo>
                <a:cubicBezTo>
                  <a:pt x="8" y="41"/>
                  <a:pt x="8" y="41"/>
                  <a:pt x="8" y="41"/>
                </a:cubicBezTo>
                <a:cubicBezTo>
                  <a:pt x="8" y="42"/>
                  <a:pt x="8" y="42"/>
                  <a:pt x="8" y="42"/>
                </a:cubicBezTo>
                <a:cubicBezTo>
                  <a:pt x="9" y="41"/>
                  <a:pt x="9" y="41"/>
                  <a:pt x="9" y="41"/>
                </a:cubicBezTo>
                <a:cubicBezTo>
                  <a:pt x="9" y="42"/>
                  <a:pt x="9" y="42"/>
                  <a:pt x="9" y="42"/>
                </a:cubicBezTo>
                <a:cubicBezTo>
                  <a:pt x="8" y="43"/>
                  <a:pt x="8" y="43"/>
                  <a:pt x="8" y="43"/>
                </a:cubicBezTo>
                <a:cubicBezTo>
                  <a:pt x="9" y="49"/>
                  <a:pt x="9" y="49"/>
                  <a:pt x="9" y="49"/>
                </a:cubicBezTo>
                <a:cubicBezTo>
                  <a:pt x="9" y="52"/>
                  <a:pt x="9" y="52"/>
                  <a:pt x="9" y="52"/>
                </a:cubicBezTo>
                <a:cubicBezTo>
                  <a:pt x="10" y="54"/>
                  <a:pt x="10" y="54"/>
                  <a:pt x="10" y="54"/>
                </a:cubicBezTo>
                <a:cubicBezTo>
                  <a:pt x="9" y="55"/>
                  <a:pt x="9" y="55"/>
                  <a:pt x="9" y="55"/>
                </a:cubicBezTo>
                <a:cubicBezTo>
                  <a:pt x="8" y="57"/>
                  <a:pt x="8" y="57"/>
                  <a:pt x="8" y="57"/>
                </a:cubicBezTo>
                <a:cubicBezTo>
                  <a:pt x="8" y="59"/>
                  <a:pt x="8" y="59"/>
                  <a:pt x="8" y="59"/>
                </a:cubicBezTo>
                <a:cubicBezTo>
                  <a:pt x="10" y="61"/>
                  <a:pt x="10" y="61"/>
                  <a:pt x="10" y="61"/>
                </a:cubicBezTo>
                <a:cubicBezTo>
                  <a:pt x="9" y="62"/>
                  <a:pt x="9" y="62"/>
                  <a:pt x="9" y="62"/>
                </a:cubicBezTo>
                <a:cubicBezTo>
                  <a:pt x="9" y="65"/>
                  <a:pt x="9" y="65"/>
                  <a:pt x="9" y="65"/>
                </a:cubicBezTo>
                <a:cubicBezTo>
                  <a:pt x="8" y="66"/>
                  <a:pt x="8" y="66"/>
                  <a:pt x="8" y="66"/>
                </a:cubicBezTo>
                <a:cubicBezTo>
                  <a:pt x="8" y="68"/>
                  <a:pt x="8" y="68"/>
                  <a:pt x="8" y="68"/>
                </a:cubicBezTo>
                <a:cubicBezTo>
                  <a:pt x="9" y="69"/>
                  <a:pt x="9" y="69"/>
                  <a:pt x="9" y="69"/>
                </a:cubicBezTo>
                <a:cubicBezTo>
                  <a:pt x="9" y="70"/>
                  <a:pt x="9" y="70"/>
                  <a:pt x="9" y="70"/>
                </a:cubicBezTo>
                <a:cubicBezTo>
                  <a:pt x="8" y="71"/>
                  <a:pt x="8" y="71"/>
                  <a:pt x="8" y="71"/>
                </a:cubicBezTo>
                <a:cubicBezTo>
                  <a:pt x="8" y="73"/>
                  <a:pt x="8" y="73"/>
                  <a:pt x="8" y="73"/>
                </a:cubicBezTo>
                <a:cubicBezTo>
                  <a:pt x="7" y="74"/>
                  <a:pt x="7" y="74"/>
                  <a:pt x="7" y="74"/>
                </a:cubicBezTo>
                <a:cubicBezTo>
                  <a:pt x="7" y="76"/>
                  <a:pt x="7" y="76"/>
                  <a:pt x="7" y="76"/>
                </a:cubicBezTo>
                <a:cubicBezTo>
                  <a:pt x="7" y="77"/>
                  <a:pt x="7" y="77"/>
                  <a:pt x="7" y="77"/>
                </a:cubicBezTo>
                <a:cubicBezTo>
                  <a:pt x="6" y="79"/>
                  <a:pt x="6" y="79"/>
                  <a:pt x="6" y="79"/>
                </a:cubicBezTo>
                <a:cubicBezTo>
                  <a:pt x="6" y="80"/>
                  <a:pt x="6" y="80"/>
                  <a:pt x="6" y="80"/>
                </a:cubicBezTo>
                <a:cubicBezTo>
                  <a:pt x="7" y="82"/>
                  <a:pt x="7" y="82"/>
                  <a:pt x="7" y="82"/>
                </a:cubicBezTo>
                <a:cubicBezTo>
                  <a:pt x="7" y="84"/>
                  <a:pt x="7" y="84"/>
                  <a:pt x="7" y="84"/>
                </a:cubicBezTo>
                <a:cubicBezTo>
                  <a:pt x="8" y="85"/>
                  <a:pt x="8" y="85"/>
                  <a:pt x="8" y="85"/>
                </a:cubicBezTo>
                <a:cubicBezTo>
                  <a:pt x="7" y="85"/>
                  <a:pt x="7" y="85"/>
                  <a:pt x="7" y="85"/>
                </a:cubicBezTo>
                <a:cubicBezTo>
                  <a:pt x="7" y="87"/>
                  <a:pt x="7" y="87"/>
                  <a:pt x="7" y="87"/>
                </a:cubicBezTo>
                <a:cubicBezTo>
                  <a:pt x="8" y="88"/>
                  <a:pt x="8" y="88"/>
                  <a:pt x="8" y="88"/>
                </a:cubicBezTo>
                <a:cubicBezTo>
                  <a:pt x="7" y="89"/>
                  <a:pt x="7" y="89"/>
                  <a:pt x="7" y="89"/>
                </a:cubicBezTo>
                <a:cubicBezTo>
                  <a:pt x="6" y="89"/>
                  <a:pt x="6" y="89"/>
                  <a:pt x="6" y="89"/>
                </a:cubicBezTo>
                <a:cubicBezTo>
                  <a:pt x="6" y="91"/>
                  <a:pt x="6" y="91"/>
                  <a:pt x="6" y="91"/>
                </a:cubicBezTo>
                <a:cubicBezTo>
                  <a:pt x="6" y="92"/>
                  <a:pt x="6" y="92"/>
                  <a:pt x="6" y="92"/>
                </a:cubicBezTo>
                <a:cubicBezTo>
                  <a:pt x="6" y="94"/>
                  <a:pt x="6" y="94"/>
                  <a:pt x="6" y="94"/>
                </a:cubicBezTo>
                <a:cubicBezTo>
                  <a:pt x="8" y="98"/>
                  <a:pt x="8" y="98"/>
                  <a:pt x="8" y="98"/>
                </a:cubicBezTo>
                <a:cubicBezTo>
                  <a:pt x="8" y="100"/>
                  <a:pt x="8" y="100"/>
                  <a:pt x="8" y="100"/>
                </a:cubicBezTo>
                <a:cubicBezTo>
                  <a:pt x="7" y="100"/>
                  <a:pt x="7" y="100"/>
                  <a:pt x="7" y="100"/>
                </a:cubicBezTo>
                <a:cubicBezTo>
                  <a:pt x="7" y="101"/>
                  <a:pt x="7" y="101"/>
                  <a:pt x="7" y="101"/>
                </a:cubicBezTo>
                <a:cubicBezTo>
                  <a:pt x="8" y="103"/>
                  <a:pt x="8" y="103"/>
                  <a:pt x="8" y="103"/>
                </a:cubicBezTo>
                <a:cubicBezTo>
                  <a:pt x="9" y="106"/>
                  <a:pt x="9" y="106"/>
                  <a:pt x="9" y="106"/>
                </a:cubicBezTo>
                <a:cubicBezTo>
                  <a:pt x="8" y="107"/>
                  <a:pt x="8" y="107"/>
                  <a:pt x="8" y="107"/>
                </a:cubicBezTo>
                <a:cubicBezTo>
                  <a:pt x="8" y="108"/>
                  <a:pt x="8" y="108"/>
                  <a:pt x="8" y="108"/>
                </a:cubicBezTo>
                <a:cubicBezTo>
                  <a:pt x="9" y="109"/>
                  <a:pt x="9" y="109"/>
                  <a:pt x="9" y="109"/>
                </a:cubicBezTo>
                <a:cubicBezTo>
                  <a:pt x="8" y="110"/>
                  <a:pt x="8" y="110"/>
                  <a:pt x="8" y="110"/>
                </a:cubicBezTo>
                <a:cubicBezTo>
                  <a:pt x="8" y="111"/>
                  <a:pt x="8" y="111"/>
                  <a:pt x="8" y="111"/>
                </a:cubicBezTo>
                <a:cubicBezTo>
                  <a:pt x="8" y="111"/>
                  <a:pt x="8" y="111"/>
                  <a:pt x="8" y="111"/>
                </a:cubicBezTo>
                <a:cubicBezTo>
                  <a:pt x="10" y="113"/>
                  <a:pt x="10" y="113"/>
                  <a:pt x="10" y="113"/>
                </a:cubicBezTo>
                <a:cubicBezTo>
                  <a:pt x="10" y="114"/>
                  <a:pt x="10" y="114"/>
                  <a:pt x="10" y="114"/>
                </a:cubicBezTo>
                <a:cubicBezTo>
                  <a:pt x="9" y="116"/>
                  <a:pt x="9" y="116"/>
                  <a:pt x="9" y="116"/>
                </a:cubicBezTo>
                <a:cubicBezTo>
                  <a:pt x="8" y="116"/>
                  <a:pt x="8" y="116"/>
                  <a:pt x="8" y="116"/>
                </a:cubicBezTo>
                <a:cubicBezTo>
                  <a:pt x="8" y="118"/>
                  <a:pt x="8" y="118"/>
                  <a:pt x="8" y="118"/>
                </a:cubicBezTo>
                <a:cubicBezTo>
                  <a:pt x="8" y="118"/>
                  <a:pt x="8" y="118"/>
                  <a:pt x="8" y="118"/>
                </a:cubicBezTo>
                <a:cubicBezTo>
                  <a:pt x="8" y="119"/>
                  <a:pt x="8" y="119"/>
                  <a:pt x="8" y="119"/>
                </a:cubicBezTo>
                <a:cubicBezTo>
                  <a:pt x="8" y="121"/>
                  <a:pt x="8" y="121"/>
                  <a:pt x="8" y="121"/>
                </a:cubicBezTo>
                <a:cubicBezTo>
                  <a:pt x="7" y="121"/>
                  <a:pt x="7" y="121"/>
                  <a:pt x="7" y="121"/>
                </a:cubicBezTo>
                <a:cubicBezTo>
                  <a:pt x="7" y="122"/>
                  <a:pt x="7" y="122"/>
                  <a:pt x="7" y="122"/>
                </a:cubicBezTo>
                <a:cubicBezTo>
                  <a:pt x="7" y="124"/>
                  <a:pt x="7" y="124"/>
                  <a:pt x="7" y="124"/>
                </a:cubicBezTo>
                <a:cubicBezTo>
                  <a:pt x="6" y="125"/>
                  <a:pt x="6" y="125"/>
                  <a:pt x="6" y="125"/>
                </a:cubicBezTo>
                <a:cubicBezTo>
                  <a:pt x="6" y="126"/>
                  <a:pt x="6" y="126"/>
                  <a:pt x="6" y="126"/>
                </a:cubicBezTo>
                <a:cubicBezTo>
                  <a:pt x="6" y="127"/>
                  <a:pt x="6" y="127"/>
                  <a:pt x="6" y="127"/>
                </a:cubicBezTo>
                <a:cubicBezTo>
                  <a:pt x="6" y="129"/>
                  <a:pt x="6" y="129"/>
                  <a:pt x="6" y="129"/>
                </a:cubicBezTo>
                <a:cubicBezTo>
                  <a:pt x="5" y="129"/>
                  <a:pt x="5" y="129"/>
                  <a:pt x="5" y="129"/>
                </a:cubicBezTo>
                <a:cubicBezTo>
                  <a:pt x="5" y="130"/>
                  <a:pt x="5" y="130"/>
                  <a:pt x="5" y="130"/>
                </a:cubicBezTo>
                <a:cubicBezTo>
                  <a:pt x="6" y="131"/>
                  <a:pt x="6" y="131"/>
                  <a:pt x="6" y="131"/>
                </a:cubicBezTo>
                <a:cubicBezTo>
                  <a:pt x="5" y="132"/>
                  <a:pt x="5" y="132"/>
                  <a:pt x="5" y="132"/>
                </a:cubicBezTo>
                <a:cubicBezTo>
                  <a:pt x="5" y="134"/>
                  <a:pt x="5" y="134"/>
                  <a:pt x="5" y="134"/>
                </a:cubicBezTo>
                <a:cubicBezTo>
                  <a:pt x="5" y="135"/>
                  <a:pt x="5" y="135"/>
                  <a:pt x="5" y="135"/>
                </a:cubicBezTo>
                <a:cubicBezTo>
                  <a:pt x="4" y="135"/>
                  <a:pt x="4" y="135"/>
                  <a:pt x="4" y="135"/>
                </a:cubicBezTo>
                <a:cubicBezTo>
                  <a:pt x="4" y="136"/>
                  <a:pt x="4" y="136"/>
                  <a:pt x="4" y="136"/>
                </a:cubicBezTo>
                <a:cubicBezTo>
                  <a:pt x="3" y="137"/>
                  <a:pt x="3" y="137"/>
                  <a:pt x="3" y="137"/>
                </a:cubicBezTo>
                <a:cubicBezTo>
                  <a:pt x="3" y="138"/>
                  <a:pt x="3" y="138"/>
                  <a:pt x="3" y="138"/>
                </a:cubicBezTo>
                <a:cubicBezTo>
                  <a:pt x="4" y="139"/>
                  <a:pt x="4" y="139"/>
                  <a:pt x="4" y="139"/>
                </a:cubicBezTo>
                <a:cubicBezTo>
                  <a:pt x="4" y="140"/>
                  <a:pt x="4" y="140"/>
                  <a:pt x="4" y="140"/>
                </a:cubicBezTo>
                <a:cubicBezTo>
                  <a:pt x="3" y="141"/>
                  <a:pt x="3" y="141"/>
                  <a:pt x="3" y="141"/>
                </a:cubicBezTo>
                <a:cubicBezTo>
                  <a:pt x="2" y="141"/>
                  <a:pt x="2" y="141"/>
                  <a:pt x="2" y="141"/>
                </a:cubicBezTo>
                <a:cubicBezTo>
                  <a:pt x="1" y="141"/>
                  <a:pt x="1" y="141"/>
                  <a:pt x="1" y="141"/>
                </a:cubicBezTo>
                <a:cubicBezTo>
                  <a:pt x="1" y="141"/>
                  <a:pt x="1" y="141"/>
                  <a:pt x="1" y="141"/>
                </a:cubicBezTo>
                <a:cubicBezTo>
                  <a:pt x="0" y="142"/>
                  <a:pt x="0" y="142"/>
                  <a:pt x="0" y="142"/>
                </a:cubicBezTo>
                <a:cubicBezTo>
                  <a:pt x="1" y="143"/>
                  <a:pt x="1" y="143"/>
                  <a:pt x="1" y="143"/>
                </a:cubicBezTo>
                <a:cubicBezTo>
                  <a:pt x="1" y="145"/>
                  <a:pt x="1" y="145"/>
                  <a:pt x="1" y="145"/>
                </a:cubicBezTo>
                <a:cubicBezTo>
                  <a:pt x="2" y="146"/>
                  <a:pt x="2" y="146"/>
                  <a:pt x="2" y="146"/>
                </a:cubicBezTo>
                <a:cubicBezTo>
                  <a:pt x="3" y="148"/>
                  <a:pt x="3" y="148"/>
                  <a:pt x="3" y="148"/>
                </a:cubicBezTo>
                <a:cubicBezTo>
                  <a:pt x="3" y="149"/>
                  <a:pt x="3" y="149"/>
                  <a:pt x="3" y="149"/>
                </a:cubicBezTo>
                <a:cubicBezTo>
                  <a:pt x="3" y="151"/>
                  <a:pt x="3" y="151"/>
                  <a:pt x="3" y="151"/>
                </a:cubicBezTo>
                <a:cubicBezTo>
                  <a:pt x="5" y="154"/>
                  <a:pt x="5" y="154"/>
                  <a:pt x="5" y="154"/>
                </a:cubicBezTo>
                <a:cubicBezTo>
                  <a:pt x="5" y="155"/>
                  <a:pt x="5" y="155"/>
                  <a:pt x="5" y="155"/>
                </a:cubicBezTo>
                <a:cubicBezTo>
                  <a:pt x="6" y="155"/>
                  <a:pt x="6" y="155"/>
                  <a:pt x="6" y="155"/>
                </a:cubicBezTo>
                <a:cubicBezTo>
                  <a:pt x="6" y="158"/>
                  <a:pt x="6" y="158"/>
                  <a:pt x="6" y="158"/>
                </a:cubicBezTo>
                <a:cubicBezTo>
                  <a:pt x="5" y="160"/>
                  <a:pt x="5" y="160"/>
                  <a:pt x="5" y="160"/>
                </a:cubicBezTo>
                <a:cubicBezTo>
                  <a:pt x="5" y="161"/>
                  <a:pt x="5" y="161"/>
                  <a:pt x="5" y="161"/>
                </a:cubicBezTo>
                <a:cubicBezTo>
                  <a:pt x="5" y="162"/>
                  <a:pt x="5" y="162"/>
                  <a:pt x="5" y="162"/>
                </a:cubicBezTo>
                <a:cubicBezTo>
                  <a:pt x="5" y="162"/>
                  <a:pt x="5" y="162"/>
                  <a:pt x="5" y="162"/>
                </a:cubicBezTo>
                <a:cubicBezTo>
                  <a:pt x="4" y="162"/>
                  <a:pt x="4" y="162"/>
                  <a:pt x="4" y="162"/>
                </a:cubicBezTo>
                <a:cubicBezTo>
                  <a:pt x="4" y="162"/>
                  <a:pt x="4" y="162"/>
                  <a:pt x="4" y="162"/>
                </a:cubicBezTo>
                <a:cubicBezTo>
                  <a:pt x="3" y="163"/>
                  <a:pt x="3" y="163"/>
                  <a:pt x="3" y="163"/>
                </a:cubicBezTo>
                <a:cubicBezTo>
                  <a:pt x="4" y="165"/>
                  <a:pt x="4" y="165"/>
                  <a:pt x="4" y="165"/>
                </a:cubicBezTo>
                <a:cubicBezTo>
                  <a:pt x="4" y="165"/>
                  <a:pt x="4" y="165"/>
                  <a:pt x="4" y="165"/>
                </a:cubicBezTo>
                <a:cubicBezTo>
                  <a:pt x="4" y="168"/>
                  <a:pt x="4" y="168"/>
                  <a:pt x="4" y="168"/>
                </a:cubicBezTo>
                <a:cubicBezTo>
                  <a:pt x="4" y="169"/>
                  <a:pt x="4" y="169"/>
                  <a:pt x="4" y="169"/>
                </a:cubicBezTo>
                <a:cubicBezTo>
                  <a:pt x="3" y="170"/>
                  <a:pt x="3" y="170"/>
                  <a:pt x="3" y="170"/>
                </a:cubicBezTo>
                <a:cubicBezTo>
                  <a:pt x="4" y="170"/>
                  <a:pt x="4" y="170"/>
                  <a:pt x="4" y="170"/>
                </a:cubicBezTo>
                <a:cubicBezTo>
                  <a:pt x="4" y="171"/>
                  <a:pt x="4" y="171"/>
                  <a:pt x="4" y="171"/>
                </a:cubicBezTo>
                <a:cubicBezTo>
                  <a:pt x="4" y="172"/>
                  <a:pt x="4" y="172"/>
                  <a:pt x="4" y="172"/>
                </a:cubicBezTo>
                <a:cubicBezTo>
                  <a:pt x="4" y="172"/>
                  <a:pt x="4" y="172"/>
                  <a:pt x="4" y="172"/>
                </a:cubicBezTo>
                <a:cubicBezTo>
                  <a:pt x="6" y="175"/>
                  <a:pt x="6" y="175"/>
                  <a:pt x="6" y="175"/>
                </a:cubicBezTo>
                <a:cubicBezTo>
                  <a:pt x="7" y="176"/>
                  <a:pt x="7" y="176"/>
                  <a:pt x="7" y="176"/>
                </a:cubicBezTo>
                <a:cubicBezTo>
                  <a:pt x="7" y="177"/>
                  <a:pt x="7" y="177"/>
                  <a:pt x="7" y="177"/>
                </a:cubicBezTo>
                <a:cubicBezTo>
                  <a:pt x="9" y="177"/>
                  <a:pt x="9" y="177"/>
                  <a:pt x="9" y="177"/>
                </a:cubicBezTo>
                <a:cubicBezTo>
                  <a:pt x="11" y="177"/>
                  <a:pt x="11" y="177"/>
                  <a:pt x="11" y="177"/>
                </a:cubicBezTo>
                <a:cubicBezTo>
                  <a:pt x="11" y="175"/>
                  <a:pt x="11" y="175"/>
                  <a:pt x="11" y="175"/>
                </a:cubicBezTo>
                <a:cubicBezTo>
                  <a:pt x="11" y="175"/>
                  <a:pt x="11" y="175"/>
                  <a:pt x="11" y="175"/>
                </a:cubicBezTo>
                <a:cubicBezTo>
                  <a:pt x="12" y="175"/>
                  <a:pt x="12" y="175"/>
                  <a:pt x="12" y="175"/>
                </a:cubicBezTo>
                <a:cubicBezTo>
                  <a:pt x="13" y="176"/>
                  <a:pt x="13" y="176"/>
                  <a:pt x="13" y="176"/>
                </a:cubicBezTo>
                <a:cubicBezTo>
                  <a:pt x="13" y="176"/>
                  <a:pt x="13" y="176"/>
                  <a:pt x="13" y="176"/>
                </a:cubicBezTo>
                <a:cubicBezTo>
                  <a:pt x="14" y="176"/>
                  <a:pt x="14" y="176"/>
                  <a:pt x="14" y="176"/>
                </a:cubicBezTo>
                <a:cubicBezTo>
                  <a:pt x="14" y="177"/>
                  <a:pt x="14" y="177"/>
                  <a:pt x="14" y="177"/>
                </a:cubicBezTo>
                <a:cubicBezTo>
                  <a:pt x="12" y="178"/>
                  <a:pt x="12" y="178"/>
                  <a:pt x="12" y="178"/>
                </a:cubicBezTo>
                <a:cubicBezTo>
                  <a:pt x="12" y="179"/>
                  <a:pt x="12" y="179"/>
                  <a:pt x="12" y="179"/>
                </a:cubicBezTo>
                <a:cubicBezTo>
                  <a:pt x="13" y="179"/>
                  <a:pt x="13" y="179"/>
                  <a:pt x="13" y="179"/>
                </a:cubicBezTo>
                <a:cubicBezTo>
                  <a:pt x="14" y="179"/>
                  <a:pt x="14" y="179"/>
                  <a:pt x="14" y="179"/>
                </a:cubicBezTo>
                <a:cubicBezTo>
                  <a:pt x="14" y="180"/>
                  <a:pt x="14" y="180"/>
                  <a:pt x="14" y="180"/>
                </a:cubicBezTo>
                <a:cubicBezTo>
                  <a:pt x="14" y="182"/>
                  <a:pt x="14" y="182"/>
                  <a:pt x="14" y="182"/>
                </a:cubicBezTo>
                <a:cubicBezTo>
                  <a:pt x="15" y="183"/>
                  <a:pt x="15" y="183"/>
                  <a:pt x="15" y="183"/>
                </a:cubicBezTo>
                <a:cubicBezTo>
                  <a:pt x="15" y="183"/>
                  <a:pt x="15" y="183"/>
                  <a:pt x="15" y="183"/>
                </a:cubicBezTo>
                <a:cubicBezTo>
                  <a:pt x="14" y="182"/>
                  <a:pt x="14" y="182"/>
                  <a:pt x="14" y="182"/>
                </a:cubicBezTo>
                <a:cubicBezTo>
                  <a:pt x="13" y="181"/>
                  <a:pt x="13" y="181"/>
                  <a:pt x="13" y="181"/>
                </a:cubicBezTo>
                <a:cubicBezTo>
                  <a:pt x="13" y="181"/>
                  <a:pt x="13" y="181"/>
                  <a:pt x="13" y="181"/>
                </a:cubicBezTo>
                <a:cubicBezTo>
                  <a:pt x="12" y="181"/>
                  <a:pt x="12" y="181"/>
                  <a:pt x="12" y="181"/>
                </a:cubicBezTo>
                <a:cubicBezTo>
                  <a:pt x="12" y="182"/>
                  <a:pt x="12" y="182"/>
                  <a:pt x="12" y="182"/>
                </a:cubicBezTo>
                <a:cubicBezTo>
                  <a:pt x="14" y="183"/>
                  <a:pt x="14" y="183"/>
                  <a:pt x="14" y="183"/>
                </a:cubicBezTo>
                <a:cubicBezTo>
                  <a:pt x="14" y="184"/>
                  <a:pt x="14" y="184"/>
                  <a:pt x="14" y="184"/>
                </a:cubicBezTo>
                <a:cubicBezTo>
                  <a:pt x="13" y="184"/>
                  <a:pt x="13" y="184"/>
                  <a:pt x="13" y="184"/>
                </a:cubicBezTo>
                <a:cubicBezTo>
                  <a:pt x="13" y="184"/>
                  <a:pt x="13" y="184"/>
                  <a:pt x="13" y="184"/>
                </a:cubicBezTo>
                <a:cubicBezTo>
                  <a:pt x="13" y="186"/>
                  <a:pt x="13" y="186"/>
                  <a:pt x="13" y="186"/>
                </a:cubicBezTo>
                <a:cubicBezTo>
                  <a:pt x="14" y="187"/>
                  <a:pt x="14" y="187"/>
                  <a:pt x="14" y="187"/>
                </a:cubicBezTo>
                <a:cubicBezTo>
                  <a:pt x="13" y="188"/>
                  <a:pt x="13" y="188"/>
                  <a:pt x="13" y="188"/>
                </a:cubicBezTo>
                <a:cubicBezTo>
                  <a:pt x="13" y="189"/>
                  <a:pt x="13" y="189"/>
                  <a:pt x="13" y="189"/>
                </a:cubicBezTo>
                <a:cubicBezTo>
                  <a:pt x="13" y="189"/>
                  <a:pt x="13" y="189"/>
                  <a:pt x="13" y="189"/>
                </a:cubicBezTo>
                <a:cubicBezTo>
                  <a:pt x="12" y="190"/>
                  <a:pt x="12" y="190"/>
                  <a:pt x="12" y="190"/>
                </a:cubicBezTo>
                <a:cubicBezTo>
                  <a:pt x="12" y="191"/>
                  <a:pt x="12" y="191"/>
                  <a:pt x="12" y="191"/>
                </a:cubicBezTo>
                <a:cubicBezTo>
                  <a:pt x="14" y="192"/>
                  <a:pt x="14" y="192"/>
                  <a:pt x="14" y="192"/>
                </a:cubicBezTo>
                <a:cubicBezTo>
                  <a:pt x="13" y="193"/>
                  <a:pt x="13" y="193"/>
                  <a:pt x="13" y="193"/>
                </a:cubicBezTo>
                <a:cubicBezTo>
                  <a:pt x="13" y="194"/>
                  <a:pt x="13" y="194"/>
                  <a:pt x="13" y="194"/>
                </a:cubicBezTo>
                <a:cubicBezTo>
                  <a:pt x="12" y="195"/>
                  <a:pt x="12" y="195"/>
                  <a:pt x="12" y="195"/>
                </a:cubicBezTo>
                <a:cubicBezTo>
                  <a:pt x="12" y="196"/>
                  <a:pt x="12" y="196"/>
                  <a:pt x="12" y="196"/>
                </a:cubicBezTo>
                <a:cubicBezTo>
                  <a:pt x="13" y="197"/>
                  <a:pt x="13" y="197"/>
                  <a:pt x="13" y="197"/>
                </a:cubicBezTo>
                <a:cubicBezTo>
                  <a:pt x="14" y="197"/>
                  <a:pt x="14" y="197"/>
                  <a:pt x="14" y="197"/>
                </a:cubicBezTo>
                <a:cubicBezTo>
                  <a:pt x="15" y="198"/>
                  <a:pt x="15" y="198"/>
                  <a:pt x="15" y="198"/>
                </a:cubicBezTo>
                <a:cubicBezTo>
                  <a:pt x="15" y="199"/>
                  <a:pt x="15" y="199"/>
                  <a:pt x="15" y="199"/>
                </a:cubicBezTo>
                <a:cubicBezTo>
                  <a:pt x="16" y="199"/>
                  <a:pt x="16" y="199"/>
                  <a:pt x="16" y="199"/>
                </a:cubicBezTo>
                <a:cubicBezTo>
                  <a:pt x="16" y="199"/>
                  <a:pt x="16" y="199"/>
                  <a:pt x="16" y="199"/>
                </a:cubicBezTo>
                <a:cubicBezTo>
                  <a:pt x="16" y="201"/>
                  <a:pt x="16" y="201"/>
                  <a:pt x="16" y="201"/>
                </a:cubicBezTo>
                <a:cubicBezTo>
                  <a:pt x="15" y="203"/>
                  <a:pt x="15" y="203"/>
                  <a:pt x="15" y="203"/>
                </a:cubicBezTo>
                <a:cubicBezTo>
                  <a:pt x="14" y="204"/>
                  <a:pt x="14" y="204"/>
                  <a:pt x="14" y="204"/>
                </a:cubicBezTo>
                <a:cubicBezTo>
                  <a:pt x="13" y="204"/>
                  <a:pt x="13" y="204"/>
                  <a:pt x="13" y="204"/>
                </a:cubicBezTo>
                <a:cubicBezTo>
                  <a:pt x="13" y="205"/>
                  <a:pt x="13" y="205"/>
                  <a:pt x="13" y="205"/>
                </a:cubicBezTo>
                <a:cubicBezTo>
                  <a:pt x="13" y="206"/>
                  <a:pt x="13" y="206"/>
                  <a:pt x="13" y="206"/>
                </a:cubicBezTo>
                <a:cubicBezTo>
                  <a:pt x="13" y="207"/>
                  <a:pt x="13" y="207"/>
                  <a:pt x="13" y="207"/>
                </a:cubicBezTo>
                <a:cubicBezTo>
                  <a:pt x="13" y="208"/>
                  <a:pt x="13" y="208"/>
                  <a:pt x="13" y="208"/>
                </a:cubicBezTo>
                <a:cubicBezTo>
                  <a:pt x="14" y="208"/>
                  <a:pt x="14" y="208"/>
                  <a:pt x="14" y="208"/>
                </a:cubicBezTo>
                <a:cubicBezTo>
                  <a:pt x="13" y="209"/>
                  <a:pt x="13" y="209"/>
                  <a:pt x="13" y="209"/>
                </a:cubicBezTo>
                <a:cubicBezTo>
                  <a:pt x="12" y="211"/>
                  <a:pt x="12" y="211"/>
                  <a:pt x="12" y="211"/>
                </a:cubicBezTo>
                <a:cubicBezTo>
                  <a:pt x="12" y="213"/>
                  <a:pt x="12" y="213"/>
                  <a:pt x="12" y="213"/>
                </a:cubicBezTo>
                <a:cubicBezTo>
                  <a:pt x="13" y="213"/>
                  <a:pt x="13" y="213"/>
                  <a:pt x="13" y="213"/>
                </a:cubicBezTo>
                <a:cubicBezTo>
                  <a:pt x="12" y="214"/>
                  <a:pt x="12" y="214"/>
                  <a:pt x="12" y="214"/>
                </a:cubicBezTo>
                <a:cubicBezTo>
                  <a:pt x="12" y="216"/>
                  <a:pt x="12" y="216"/>
                  <a:pt x="12" y="216"/>
                </a:cubicBezTo>
                <a:cubicBezTo>
                  <a:pt x="11" y="216"/>
                  <a:pt x="11" y="216"/>
                  <a:pt x="11" y="216"/>
                </a:cubicBezTo>
                <a:cubicBezTo>
                  <a:pt x="11" y="218"/>
                  <a:pt x="11" y="218"/>
                  <a:pt x="11" y="218"/>
                </a:cubicBezTo>
                <a:cubicBezTo>
                  <a:pt x="11" y="217"/>
                  <a:pt x="11" y="217"/>
                  <a:pt x="11" y="217"/>
                </a:cubicBezTo>
                <a:cubicBezTo>
                  <a:pt x="11" y="216"/>
                  <a:pt x="11" y="216"/>
                  <a:pt x="11" y="216"/>
                </a:cubicBezTo>
                <a:cubicBezTo>
                  <a:pt x="11" y="214"/>
                  <a:pt x="11" y="214"/>
                  <a:pt x="11" y="214"/>
                </a:cubicBezTo>
                <a:cubicBezTo>
                  <a:pt x="11" y="213"/>
                  <a:pt x="11" y="213"/>
                  <a:pt x="11" y="213"/>
                </a:cubicBezTo>
                <a:cubicBezTo>
                  <a:pt x="11" y="213"/>
                  <a:pt x="11" y="213"/>
                  <a:pt x="11" y="213"/>
                </a:cubicBezTo>
                <a:cubicBezTo>
                  <a:pt x="11" y="212"/>
                  <a:pt x="11" y="212"/>
                  <a:pt x="11" y="212"/>
                </a:cubicBezTo>
                <a:cubicBezTo>
                  <a:pt x="9" y="213"/>
                  <a:pt x="9" y="213"/>
                  <a:pt x="9" y="213"/>
                </a:cubicBezTo>
                <a:cubicBezTo>
                  <a:pt x="8" y="214"/>
                  <a:pt x="8" y="214"/>
                  <a:pt x="8" y="214"/>
                </a:cubicBezTo>
                <a:cubicBezTo>
                  <a:pt x="7" y="214"/>
                  <a:pt x="7" y="214"/>
                  <a:pt x="7" y="214"/>
                </a:cubicBezTo>
                <a:cubicBezTo>
                  <a:pt x="8" y="213"/>
                  <a:pt x="8" y="213"/>
                  <a:pt x="8" y="213"/>
                </a:cubicBezTo>
                <a:cubicBezTo>
                  <a:pt x="9" y="213"/>
                  <a:pt x="9" y="213"/>
                  <a:pt x="9" y="213"/>
                </a:cubicBezTo>
                <a:cubicBezTo>
                  <a:pt x="9" y="212"/>
                  <a:pt x="9" y="212"/>
                  <a:pt x="9" y="212"/>
                </a:cubicBezTo>
                <a:cubicBezTo>
                  <a:pt x="9" y="210"/>
                  <a:pt x="9" y="210"/>
                  <a:pt x="9" y="210"/>
                </a:cubicBezTo>
                <a:cubicBezTo>
                  <a:pt x="9" y="210"/>
                  <a:pt x="9" y="210"/>
                  <a:pt x="9" y="210"/>
                </a:cubicBezTo>
                <a:cubicBezTo>
                  <a:pt x="8" y="211"/>
                  <a:pt x="8" y="211"/>
                  <a:pt x="8" y="211"/>
                </a:cubicBezTo>
                <a:cubicBezTo>
                  <a:pt x="5" y="211"/>
                  <a:pt x="5" y="211"/>
                  <a:pt x="5" y="211"/>
                </a:cubicBezTo>
                <a:cubicBezTo>
                  <a:pt x="5" y="210"/>
                  <a:pt x="5" y="210"/>
                  <a:pt x="5" y="210"/>
                </a:cubicBezTo>
                <a:cubicBezTo>
                  <a:pt x="4" y="211"/>
                  <a:pt x="4" y="211"/>
                  <a:pt x="4" y="211"/>
                </a:cubicBezTo>
                <a:cubicBezTo>
                  <a:pt x="4" y="211"/>
                  <a:pt x="4" y="211"/>
                  <a:pt x="4" y="211"/>
                </a:cubicBezTo>
                <a:cubicBezTo>
                  <a:pt x="4" y="213"/>
                  <a:pt x="4" y="213"/>
                  <a:pt x="4" y="213"/>
                </a:cubicBezTo>
                <a:cubicBezTo>
                  <a:pt x="5" y="213"/>
                  <a:pt x="5" y="213"/>
                  <a:pt x="5" y="213"/>
                </a:cubicBezTo>
                <a:cubicBezTo>
                  <a:pt x="5" y="214"/>
                  <a:pt x="5" y="214"/>
                  <a:pt x="5" y="214"/>
                </a:cubicBezTo>
                <a:cubicBezTo>
                  <a:pt x="4" y="214"/>
                  <a:pt x="4" y="214"/>
                  <a:pt x="4" y="214"/>
                </a:cubicBezTo>
                <a:cubicBezTo>
                  <a:pt x="4" y="215"/>
                  <a:pt x="4" y="215"/>
                  <a:pt x="4" y="215"/>
                </a:cubicBezTo>
                <a:cubicBezTo>
                  <a:pt x="3" y="216"/>
                  <a:pt x="3" y="216"/>
                  <a:pt x="3" y="216"/>
                </a:cubicBezTo>
                <a:cubicBezTo>
                  <a:pt x="3" y="217"/>
                  <a:pt x="3" y="217"/>
                  <a:pt x="3" y="217"/>
                </a:cubicBezTo>
                <a:cubicBezTo>
                  <a:pt x="1" y="218"/>
                  <a:pt x="1" y="218"/>
                  <a:pt x="1" y="218"/>
                </a:cubicBezTo>
                <a:cubicBezTo>
                  <a:pt x="1" y="219"/>
                  <a:pt x="1" y="219"/>
                  <a:pt x="1" y="219"/>
                </a:cubicBezTo>
                <a:cubicBezTo>
                  <a:pt x="3" y="221"/>
                  <a:pt x="3" y="221"/>
                  <a:pt x="3" y="221"/>
                </a:cubicBezTo>
                <a:cubicBezTo>
                  <a:pt x="4" y="221"/>
                  <a:pt x="4" y="221"/>
                  <a:pt x="4" y="221"/>
                </a:cubicBezTo>
                <a:cubicBezTo>
                  <a:pt x="4" y="220"/>
                  <a:pt x="4" y="220"/>
                  <a:pt x="4" y="220"/>
                </a:cubicBezTo>
                <a:cubicBezTo>
                  <a:pt x="4" y="219"/>
                  <a:pt x="4" y="219"/>
                  <a:pt x="4" y="219"/>
                </a:cubicBezTo>
                <a:cubicBezTo>
                  <a:pt x="3" y="219"/>
                  <a:pt x="3" y="219"/>
                  <a:pt x="3" y="219"/>
                </a:cubicBezTo>
                <a:cubicBezTo>
                  <a:pt x="3" y="218"/>
                  <a:pt x="3" y="218"/>
                  <a:pt x="3" y="218"/>
                </a:cubicBezTo>
                <a:cubicBezTo>
                  <a:pt x="3" y="217"/>
                  <a:pt x="3" y="217"/>
                  <a:pt x="3" y="217"/>
                </a:cubicBezTo>
                <a:cubicBezTo>
                  <a:pt x="5" y="217"/>
                  <a:pt x="5" y="217"/>
                  <a:pt x="5" y="217"/>
                </a:cubicBezTo>
                <a:cubicBezTo>
                  <a:pt x="5" y="217"/>
                  <a:pt x="5" y="217"/>
                  <a:pt x="5" y="217"/>
                </a:cubicBezTo>
                <a:cubicBezTo>
                  <a:pt x="6" y="218"/>
                  <a:pt x="6" y="218"/>
                  <a:pt x="6" y="218"/>
                </a:cubicBezTo>
                <a:cubicBezTo>
                  <a:pt x="7" y="219"/>
                  <a:pt x="7" y="219"/>
                  <a:pt x="7" y="219"/>
                </a:cubicBezTo>
                <a:cubicBezTo>
                  <a:pt x="8" y="219"/>
                  <a:pt x="8" y="219"/>
                  <a:pt x="8" y="219"/>
                </a:cubicBezTo>
                <a:cubicBezTo>
                  <a:pt x="9" y="218"/>
                  <a:pt x="9" y="218"/>
                  <a:pt x="9" y="218"/>
                </a:cubicBezTo>
                <a:cubicBezTo>
                  <a:pt x="10" y="218"/>
                  <a:pt x="10" y="218"/>
                  <a:pt x="10" y="218"/>
                </a:cubicBezTo>
                <a:cubicBezTo>
                  <a:pt x="10" y="219"/>
                  <a:pt x="10" y="219"/>
                  <a:pt x="10" y="219"/>
                </a:cubicBezTo>
                <a:cubicBezTo>
                  <a:pt x="12" y="220"/>
                  <a:pt x="12" y="220"/>
                  <a:pt x="12" y="220"/>
                </a:cubicBezTo>
                <a:cubicBezTo>
                  <a:pt x="12" y="221"/>
                  <a:pt x="12" y="221"/>
                  <a:pt x="12" y="221"/>
                </a:cubicBezTo>
                <a:cubicBezTo>
                  <a:pt x="12" y="221"/>
                  <a:pt x="12" y="221"/>
                  <a:pt x="12" y="221"/>
                </a:cubicBezTo>
                <a:cubicBezTo>
                  <a:pt x="11" y="221"/>
                  <a:pt x="11" y="221"/>
                  <a:pt x="11" y="221"/>
                </a:cubicBezTo>
                <a:cubicBezTo>
                  <a:pt x="12" y="222"/>
                  <a:pt x="12" y="222"/>
                  <a:pt x="12" y="222"/>
                </a:cubicBezTo>
                <a:cubicBezTo>
                  <a:pt x="11" y="223"/>
                  <a:pt x="11" y="223"/>
                  <a:pt x="11" y="223"/>
                </a:cubicBezTo>
                <a:cubicBezTo>
                  <a:pt x="11" y="224"/>
                  <a:pt x="11" y="224"/>
                  <a:pt x="11" y="224"/>
                </a:cubicBezTo>
                <a:cubicBezTo>
                  <a:pt x="11" y="224"/>
                  <a:pt x="11" y="224"/>
                  <a:pt x="11" y="224"/>
                </a:cubicBezTo>
                <a:cubicBezTo>
                  <a:pt x="12" y="225"/>
                  <a:pt x="12" y="225"/>
                  <a:pt x="12" y="225"/>
                </a:cubicBezTo>
                <a:cubicBezTo>
                  <a:pt x="12" y="225"/>
                  <a:pt x="12" y="225"/>
                  <a:pt x="12" y="225"/>
                </a:cubicBezTo>
                <a:cubicBezTo>
                  <a:pt x="11" y="225"/>
                  <a:pt x="11" y="225"/>
                  <a:pt x="11" y="225"/>
                </a:cubicBezTo>
                <a:cubicBezTo>
                  <a:pt x="10" y="224"/>
                  <a:pt x="10" y="224"/>
                  <a:pt x="10" y="224"/>
                </a:cubicBezTo>
                <a:cubicBezTo>
                  <a:pt x="10" y="224"/>
                  <a:pt x="10" y="224"/>
                  <a:pt x="10" y="224"/>
                </a:cubicBezTo>
                <a:cubicBezTo>
                  <a:pt x="10" y="225"/>
                  <a:pt x="10" y="225"/>
                  <a:pt x="10" y="225"/>
                </a:cubicBezTo>
                <a:cubicBezTo>
                  <a:pt x="11" y="226"/>
                  <a:pt x="11" y="226"/>
                  <a:pt x="11" y="226"/>
                </a:cubicBezTo>
                <a:cubicBezTo>
                  <a:pt x="11" y="227"/>
                  <a:pt x="11" y="227"/>
                  <a:pt x="11" y="227"/>
                </a:cubicBezTo>
                <a:cubicBezTo>
                  <a:pt x="13" y="227"/>
                  <a:pt x="13" y="227"/>
                  <a:pt x="13" y="227"/>
                </a:cubicBezTo>
                <a:cubicBezTo>
                  <a:pt x="14" y="227"/>
                  <a:pt x="14" y="227"/>
                  <a:pt x="14" y="227"/>
                </a:cubicBezTo>
                <a:cubicBezTo>
                  <a:pt x="15" y="227"/>
                  <a:pt x="15" y="227"/>
                  <a:pt x="15" y="227"/>
                </a:cubicBezTo>
                <a:cubicBezTo>
                  <a:pt x="16" y="227"/>
                  <a:pt x="16" y="227"/>
                  <a:pt x="16" y="227"/>
                </a:cubicBezTo>
                <a:cubicBezTo>
                  <a:pt x="17" y="227"/>
                  <a:pt x="17" y="227"/>
                  <a:pt x="17" y="227"/>
                </a:cubicBezTo>
                <a:cubicBezTo>
                  <a:pt x="16" y="228"/>
                  <a:pt x="16" y="228"/>
                  <a:pt x="16" y="228"/>
                </a:cubicBezTo>
                <a:cubicBezTo>
                  <a:pt x="17" y="228"/>
                  <a:pt x="17" y="228"/>
                  <a:pt x="17" y="228"/>
                </a:cubicBezTo>
                <a:cubicBezTo>
                  <a:pt x="16" y="228"/>
                  <a:pt x="16" y="228"/>
                  <a:pt x="16" y="228"/>
                </a:cubicBezTo>
                <a:cubicBezTo>
                  <a:pt x="15" y="228"/>
                  <a:pt x="15" y="228"/>
                  <a:pt x="15" y="228"/>
                </a:cubicBezTo>
                <a:cubicBezTo>
                  <a:pt x="15" y="229"/>
                  <a:pt x="15" y="229"/>
                  <a:pt x="15" y="229"/>
                </a:cubicBezTo>
                <a:cubicBezTo>
                  <a:pt x="14" y="228"/>
                  <a:pt x="14" y="228"/>
                  <a:pt x="14" y="228"/>
                </a:cubicBezTo>
                <a:cubicBezTo>
                  <a:pt x="12" y="229"/>
                  <a:pt x="12" y="229"/>
                  <a:pt x="12" y="229"/>
                </a:cubicBezTo>
                <a:cubicBezTo>
                  <a:pt x="11" y="229"/>
                  <a:pt x="11" y="229"/>
                  <a:pt x="11" y="229"/>
                </a:cubicBezTo>
                <a:cubicBezTo>
                  <a:pt x="12" y="230"/>
                  <a:pt x="12" y="230"/>
                  <a:pt x="12" y="230"/>
                </a:cubicBezTo>
                <a:cubicBezTo>
                  <a:pt x="13" y="231"/>
                  <a:pt x="13" y="231"/>
                  <a:pt x="13" y="231"/>
                </a:cubicBezTo>
                <a:cubicBezTo>
                  <a:pt x="13" y="232"/>
                  <a:pt x="13" y="232"/>
                  <a:pt x="13" y="232"/>
                </a:cubicBezTo>
                <a:cubicBezTo>
                  <a:pt x="14" y="232"/>
                  <a:pt x="14" y="232"/>
                  <a:pt x="14" y="232"/>
                </a:cubicBezTo>
                <a:cubicBezTo>
                  <a:pt x="15" y="232"/>
                  <a:pt x="15" y="232"/>
                  <a:pt x="15" y="232"/>
                </a:cubicBezTo>
                <a:cubicBezTo>
                  <a:pt x="15" y="232"/>
                  <a:pt x="15" y="232"/>
                  <a:pt x="15" y="232"/>
                </a:cubicBezTo>
                <a:cubicBezTo>
                  <a:pt x="14" y="233"/>
                  <a:pt x="14" y="233"/>
                  <a:pt x="14" y="233"/>
                </a:cubicBezTo>
                <a:cubicBezTo>
                  <a:pt x="14" y="234"/>
                  <a:pt x="14" y="234"/>
                  <a:pt x="14" y="234"/>
                </a:cubicBezTo>
                <a:cubicBezTo>
                  <a:pt x="14" y="234"/>
                  <a:pt x="14" y="234"/>
                  <a:pt x="14" y="234"/>
                </a:cubicBezTo>
                <a:cubicBezTo>
                  <a:pt x="14" y="235"/>
                  <a:pt x="14" y="235"/>
                  <a:pt x="14" y="235"/>
                </a:cubicBezTo>
                <a:cubicBezTo>
                  <a:pt x="13" y="235"/>
                  <a:pt x="13" y="235"/>
                  <a:pt x="13" y="235"/>
                </a:cubicBezTo>
                <a:cubicBezTo>
                  <a:pt x="13" y="236"/>
                  <a:pt x="13" y="236"/>
                  <a:pt x="13" y="236"/>
                </a:cubicBezTo>
                <a:cubicBezTo>
                  <a:pt x="14" y="239"/>
                  <a:pt x="14" y="239"/>
                  <a:pt x="14" y="239"/>
                </a:cubicBezTo>
                <a:cubicBezTo>
                  <a:pt x="15" y="240"/>
                  <a:pt x="15" y="240"/>
                  <a:pt x="15" y="240"/>
                </a:cubicBezTo>
                <a:cubicBezTo>
                  <a:pt x="14" y="241"/>
                  <a:pt x="14" y="241"/>
                  <a:pt x="14" y="241"/>
                </a:cubicBezTo>
                <a:cubicBezTo>
                  <a:pt x="15" y="243"/>
                  <a:pt x="15" y="243"/>
                  <a:pt x="15" y="243"/>
                </a:cubicBezTo>
                <a:cubicBezTo>
                  <a:pt x="16" y="243"/>
                  <a:pt x="16" y="243"/>
                  <a:pt x="16" y="243"/>
                </a:cubicBezTo>
                <a:cubicBezTo>
                  <a:pt x="16" y="241"/>
                  <a:pt x="16" y="241"/>
                  <a:pt x="16" y="241"/>
                </a:cubicBezTo>
                <a:cubicBezTo>
                  <a:pt x="17" y="239"/>
                  <a:pt x="17" y="239"/>
                  <a:pt x="17" y="239"/>
                </a:cubicBezTo>
                <a:cubicBezTo>
                  <a:pt x="18" y="238"/>
                  <a:pt x="18" y="238"/>
                  <a:pt x="18" y="238"/>
                </a:cubicBezTo>
                <a:cubicBezTo>
                  <a:pt x="18" y="238"/>
                  <a:pt x="18" y="238"/>
                  <a:pt x="18" y="238"/>
                </a:cubicBezTo>
                <a:cubicBezTo>
                  <a:pt x="17" y="239"/>
                  <a:pt x="17" y="239"/>
                  <a:pt x="17" y="239"/>
                </a:cubicBezTo>
                <a:cubicBezTo>
                  <a:pt x="17" y="241"/>
                  <a:pt x="17" y="241"/>
                  <a:pt x="17" y="241"/>
                </a:cubicBezTo>
                <a:cubicBezTo>
                  <a:pt x="17" y="242"/>
                  <a:pt x="17" y="242"/>
                  <a:pt x="17" y="242"/>
                </a:cubicBezTo>
                <a:cubicBezTo>
                  <a:pt x="18" y="242"/>
                  <a:pt x="18" y="242"/>
                  <a:pt x="18" y="242"/>
                </a:cubicBezTo>
                <a:cubicBezTo>
                  <a:pt x="19" y="242"/>
                  <a:pt x="19" y="242"/>
                  <a:pt x="19" y="242"/>
                </a:cubicBezTo>
                <a:cubicBezTo>
                  <a:pt x="18" y="243"/>
                  <a:pt x="18" y="243"/>
                  <a:pt x="18" y="243"/>
                </a:cubicBezTo>
                <a:cubicBezTo>
                  <a:pt x="17" y="243"/>
                  <a:pt x="17" y="243"/>
                  <a:pt x="17" y="243"/>
                </a:cubicBezTo>
                <a:cubicBezTo>
                  <a:pt x="16" y="244"/>
                  <a:pt x="16" y="244"/>
                  <a:pt x="16" y="244"/>
                </a:cubicBezTo>
                <a:cubicBezTo>
                  <a:pt x="16" y="245"/>
                  <a:pt x="16" y="245"/>
                  <a:pt x="16" y="245"/>
                </a:cubicBezTo>
                <a:cubicBezTo>
                  <a:pt x="16" y="246"/>
                  <a:pt x="16" y="246"/>
                  <a:pt x="16" y="246"/>
                </a:cubicBezTo>
                <a:cubicBezTo>
                  <a:pt x="16" y="247"/>
                  <a:pt x="16" y="247"/>
                  <a:pt x="16" y="247"/>
                </a:cubicBezTo>
                <a:cubicBezTo>
                  <a:pt x="15" y="247"/>
                  <a:pt x="15" y="247"/>
                  <a:pt x="15" y="247"/>
                </a:cubicBezTo>
                <a:cubicBezTo>
                  <a:pt x="14" y="248"/>
                  <a:pt x="14" y="248"/>
                  <a:pt x="14" y="248"/>
                </a:cubicBezTo>
                <a:cubicBezTo>
                  <a:pt x="15" y="249"/>
                  <a:pt x="15" y="249"/>
                  <a:pt x="15" y="249"/>
                </a:cubicBezTo>
                <a:cubicBezTo>
                  <a:pt x="16" y="251"/>
                  <a:pt x="16" y="251"/>
                  <a:pt x="16" y="251"/>
                </a:cubicBezTo>
                <a:cubicBezTo>
                  <a:pt x="19" y="251"/>
                  <a:pt x="19" y="251"/>
                  <a:pt x="19" y="251"/>
                </a:cubicBezTo>
                <a:cubicBezTo>
                  <a:pt x="20" y="252"/>
                  <a:pt x="20" y="252"/>
                  <a:pt x="20" y="252"/>
                </a:cubicBezTo>
                <a:cubicBezTo>
                  <a:pt x="19" y="252"/>
                  <a:pt x="19" y="252"/>
                  <a:pt x="19" y="252"/>
                </a:cubicBezTo>
                <a:cubicBezTo>
                  <a:pt x="19" y="252"/>
                  <a:pt x="19" y="252"/>
                  <a:pt x="19" y="252"/>
                </a:cubicBezTo>
                <a:cubicBezTo>
                  <a:pt x="19" y="254"/>
                  <a:pt x="19" y="254"/>
                  <a:pt x="19" y="254"/>
                </a:cubicBezTo>
                <a:cubicBezTo>
                  <a:pt x="20" y="254"/>
                  <a:pt x="20" y="254"/>
                  <a:pt x="20" y="254"/>
                </a:cubicBezTo>
                <a:cubicBezTo>
                  <a:pt x="21" y="253"/>
                  <a:pt x="21" y="253"/>
                  <a:pt x="21" y="253"/>
                </a:cubicBezTo>
                <a:cubicBezTo>
                  <a:pt x="21" y="254"/>
                  <a:pt x="21" y="254"/>
                  <a:pt x="21" y="254"/>
                </a:cubicBezTo>
                <a:cubicBezTo>
                  <a:pt x="20" y="255"/>
                  <a:pt x="20" y="255"/>
                  <a:pt x="20" y="255"/>
                </a:cubicBezTo>
                <a:cubicBezTo>
                  <a:pt x="19" y="255"/>
                  <a:pt x="19" y="255"/>
                  <a:pt x="19" y="255"/>
                </a:cubicBezTo>
                <a:cubicBezTo>
                  <a:pt x="19" y="256"/>
                  <a:pt x="19" y="256"/>
                  <a:pt x="19" y="256"/>
                </a:cubicBezTo>
                <a:cubicBezTo>
                  <a:pt x="19" y="257"/>
                  <a:pt x="19" y="257"/>
                  <a:pt x="19" y="257"/>
                </a:cubicBezTo>
                <a:cubicBezTo>
                  <a:pt x="20" y="257"/>
                  <a:pt x="20" y="257"/>
                  <a:pt x="20" y="257"/>
                </a:cubicBezTo>
                <a:cubicBezTo>
                  <a:pt x="20" y="257"/>
                  <a:pt x="20" y="257"/>
                  <a:pt x="20" y="257"/>
                </a:cubicBezTo>
                <a:cubicBezTo>
                  <a:pt x="21" y="258"/>
                  <a:pt x="21" y="258"/>
                  <a:pt x="21" y="258"/>
                </a:cubicBezTo>
                <a:cubicBezTo>
                  <a:pt x="22" y="258"/>
                  <a:pt x="22" y="258"/>
                  <a:pt x="22" y="258"/>
                </a:cubicBezTo>
                <a:cubicBezTo>
                  <a:pt x="22" y="258"/>
                  <a:pt x="22" y="258"/>
                  <a:pt x="22" y="258"/>
                </a:cubicBezTo>
                <a:cubicBezTo>
                  <a:pt x="22" y="259"/>
                  <a:pt x="22" y="259"/>
                  <a:pt x="22" y="259"/>
                </a:cubicBezTo>
                <a:cubicBezTo>
                  <a:pt x="23" y="260"/>
                  <a:pt x="23" y="260"/>
                  <a:pt x="23" y="260"/>
                </a:cubicBezTo>
                <a:cubicBezTo>
                  <a:pt x="22" y="260"/>
                  <a:pt x="22" y="260"/>
                  <a:pt x="22" y="260"/>
                </a:cubicBezTo>
                <a:cubicBezTo>
                  <a:pt x="22" y="260"/>
                  <a:pt x="22" y="260"/>
                  <a:pt x="22" y="260"/>
                </a:cubicBezTo>
                <a:cubicBezTo>
                  <a:pt x="21" y="260"/>
                  <a:pt x="21" y="260"/>
                  <a:pt x="21" y="260"/>
                </a:cubicBezTo>
                <a:cubicBezTo>
                  <a:pt x="21" y="260"/>
                  <a:pt x="21" y="260"/>
                  <a:pt x="21" y="260"/>
                </a:cubicBezTo>
                <a:cubicBezTo>
                  <a:pt x="22" y="262"/>
                  <a:pt x="22" y="262"/>
                  <a:pt x="22" y="262"/>
                </a:cubicBezTo>
                <a:cubicBezTo>
                  <a:pt x="22" y="262"/>
                  <a:pt x="22" y="262"/>
                  <a:pt x="22" y="262"/>
                </a:cubicBezTo>
                <a:cubicBezTo>
                  <a:pt x="23" y="263"/>
                  <a:pt x="23" y="263"/>
                  <a:pt x="23" y="263"/>
                </a:cubicBezTo>
                <a:cubicBezTo>
                  <a:pt x="23" y="264"/>
                  <a:pt x="23" y="264"/>
                  <a:pt x="23" y="264"/>
                </a:cubicBezTo>
                <a:cubicBezTo>
                  <a:pt x="24" y="265"/>
                  <a:pt x="24" y="265"/>
                  <a:pt x="24" y="265"/>
                </a:cubicBezTo>
                <a:cubicBezTo>
                  <a:pt x="25" y="265"/>
                  <a:pt x="25" y="265"/>
                  <a:pt x="25" y="265"/>
                </a:cubicBezTo>
                <a:cubicBezTo>
                  <a:pt x="25" y="263"/>
                  <a:pt x="25" y="263"/>
                  <a:pt x="25" y="263"/>
                </a:cubicBezTo>
                <a:cubicBezTo>
                  <a:pt x="25" y="262"/>
                  <a:pt x="25" y="262"/>
                  <a:pt x="25" y="262"/>
                </a:cubicBezTo>
                <a:cubicBezTo>
                  <a:pt x="25" y="262"/>
                  <a:pt x="25" y="262"/>
                  <a:pt x="25" y="262"/>
                </a:cubicBezTo>
                <a:cubicBezTo>
                  <a:pt x="26" y="262"/>
                  <a:pt x="26" y="262"/>
                  <a:pt x="26" y="262"/>
                </a:cubicBezTo>
                <a:cubicBezTo>
                  <a:pt x="26" y="263"/>
                  <a:pt x="26" y="263"/>
                  <a:pt x="26" y="263"/>
                </a:cubicBezTo>
                <a:cubicBezTo>
                  <a:pt x="26" y="264"/>
                  <a:pt x="26" y="264"/>
                  <a:pt x="26" y="264"/>
                </a:cubicBezTo>
                <a:cubicBezTo>
                  <a:pt x="27" y="263"/>
                  <a:pt x="27" y="263"/>
                  <a:pt x="27" y="263"/>
                </a:cubicBezTo>
                <a:cubicBezTo>
                  <a:pt x="28" y="262"/>
                  <a:pt x="28" y="262"/>
                  <a:pt x="28" y="262"/>
                </a:cubicBezTo>
                <a:cubicBezTo>
                  <a:pt x="28" y="261"/>
                  <a:pt x="28" y="261"/>
                  <a:pt x="28" y="261"/>
                </a:cubicBezTo>
                <a:cubicBezTo>
                  <a:pt x="27" y="261"/>
                  <a:pt x="27" y="261"/>
                  <a:pt x="27" y="261"/>
                </a:cubicBezTo>
                <a:cubicBezTo>
                  <a:pt x="25" y="261"/>
                  <a:pt x="25" y="261"/>
                  <a:pt x="25" y="261"/>
                </a:cubicBezTo>
                <a:cubicBezTo>
                  <a:pt x="25" y="260"/>
                  <a:pt x="25" y="260"/>
                  <a:pt x="25" y="260"/>
                </a:cubicBezTo>
                <a:cubicBezTo>
                  <a:pt x="26" y="260"/>
                  <a:pt x="26" y="260"/>
                  <a:pt x="26" y="260"/>
                </a:cubicBezTo>
                <a:cubicBezTo>
                  <a:pt x="28" y="261"/>
                  <a:pt x="28" y="261"/>
                  <a:pt x="28" y="261"/>
                </a:cubicBezTo>
                <a:cubicBezTo>
                  <a:pt x="29" y="261"/>
                  <a:pt x="29" y="261"/>
                  <a:pt x="29" y="261"/>
                </a:cubicBezTo>
                <a:cubicBezTo>
                  <a:pt x="30" y="262"/>
                  <a:pt x="30" y="262"/>
                  <a:pt x="30" y="262"/>
                </a:cubicBezTo>
                <a:cubicBezTo>
                  <a:pt x="30" y="260"/>
                  <a:pt x="30" y="260"/>
                  <a:pt x="30" y="260"/>
                </a:cubicBezTo>
                <a:cubicBezTo>
                  <a:pt x="28" y="260"/>
                  <a:pt x="28" y="260"/>
                  <a:pt x="28" y="260"/>
                </a:cubicBezTo>
                <a:cubicBezTo>
                  <a:pt x="26" y="260"/>
                  <a:pt x="26" y="260"/>
                  <a:pt x="26" y="260"/>
                </a:cubicBezTo>
                <a:cubicBezTo>
                  <a:pt x="26" y="259"/>
                  <a:pt x="26" y="259"/>
                  <a:pt x="26" y="259"/>
                </a:cubicBezTo>
                <a:cubicBezTo>
                  <a:pt x="27" y="259"/>
                  <a:pt x="27" y="259"/>
                  <a:pt x="27" y="259"/>
                </a:cubicBezTo>
                <a:cubicBezTo>
                  <a:pt x="29" y="260"/>
                  <a:pt x="29" y="260"/>
                  <a:pt x="29" y="260"/>
                </a:cubicBezTo>
                <a:cubicBezTo>
                  <a:pt x="31" y="261"/>
                  <a:pt x="31" y="261"/>
                  <a:pt x="31" y="261"/>
                </a:cubicBezTo>
                <a:cubicBezTo>
                  <a:pt x="31" y="262"/>
                  <a:pt x="31" y="262"/>
                  <a:pt x="31" y="262"/>
                </a:cubicBezTo>
                <a:cubicBezTo>
                  <a:pt x="30" y="263"/>
                  <a:pt x="30" y="263"/>
                  <a:pt x="30" y="263"/>
                </a:cubicBezTo>
                <a:cubicBezTo>
                  <a:pt x="30" y="264"/>
                  <a:pt x="30" y="264"/>
                  <a:pt x="30" y="264"/>
                </a:cubicBezTo>
                <a:cubicBezTo>
                  <a:pt x="31" y="266"/>
                  <a:pt x="31" y="266"/>
                  <a:pt x="31" y="266"/>
                </a:cubicBezTo>
                <a:cubicBezTo>
                  <a:pt x="31" y="267"/>
                  <a:pt x="31" y="267"/>
                  <a:pt x="31" y="267"/>
                </a:cubicBezTo>
                <a:cubicBezTo>
                  <a:pt x="30" y="267"/>
                  <a:pt x="30" y="267"/>
                  <a:pt x="30" y="267"/>
                </a:cubicBezTo>
                <a:cubicBezTo>
                  <a:pt x="30" y="266"/>
                  <a:pt x="30" y="266"/>
                  <a:pt x="30" y="266"/>
                </a:cubicBezTo>
                <a:cubicBezTo>
                  <a:pt x="29" y="264"/>
                  <a:pt x="29" y="264"/>
                  <a:pt x="29" y="264"/>
                </a:cubicBezTo>
                <a:cubicBezTo>
                  <a:pt x="29" y="263"/>
                  <a:pt x="29" y="263"/>
                  <a:pt x="29" y="263"/>
                </a:cubicBezTo>
                <a:cubicBezTo>
                  <a:pt x="28" y="264"/>
                  <a:pt x="28" y="264"/>
                  <a:pt x="28" y="264"/>
                </a:cubicBezTo>
                <a:cubicBezTo>
                  <a:pt x="28" y="265"/>
                  <a:pt x="28" y="265"/>
                  <a:pt x="28" y="265"/>
                </a:cubicBezTo>
                <a:cubicBezTo>
                  <a:pt x="29" y="266"/>
                  <a:pt x="29" y="266"/>
                  <a:pt x="29" y="266"/>
                </a:cubicBezTo>
                <a:cubicBezTo>
                  <a:pt x="28" y="267"/>
                  <a:pt x="28" y="267"/>
                  <a:pt x="28" y="267"/>
                </a:cubicBezTo>
                <a:cubicBezTo>
                  <a:pt x="28" y="266"/>
                  <a:pt x="28" y="266"/>
                  <a:pt x="28" y="266"/>
                </a:cubicBezTo>
                <a:cubicBezTo>
                  <a:pt x="27" y="265"/>
                  <a:pt x="27" y="265"/>
                  <a:pt x="27" y="265"/>
                </a:cubicBezTo>
                <a:cubicBezTo>
                  <a:pt x="27" y="265"/>
                  <a:pt x="27" y="265"/>
                  <a:pt x="27" y="265"/>
                </a:cubicBezTo>
                <a:cubicBezTo>
                  <a:pt x="26" y="266"/>
                  <a:pt x="26" y="266"/>
                  <a:pt x="26" y="266"/>
                </a:cubicBezTo>
                <a:cubicBezTo>
                  <a:pt x="24" y="266"/>
                  <a:pt x="24" y="266"/>
                  <a:pt x="24" y="266"/>
                </a:cubicBezTo>
                <a:cubicBezTo>
                  <a:pt x="23" y="266"/>
                  <a:pt x="23" y="266"/>
                  <a:pt x="23" y="266"/>
                </a:cubicBezTo>
                <a:cubicBezTo>
                  <a:pt x="24" y="267"/>
                  <a:pt x="24" y="267"/>
                  <a:pt x="24" y="267"/>
                </a:cubicBezTo>
                <a:cubicBezTo>
                  <a:pt x="24" y="269"/>
                  <a:pt x="24" y="269"/>
                  <a:pt x="24" y="269"/>
                </a:cubicBezTo>
                <a:cubicBezTo>
                  <a:pt x="25" y="269"/>
                  <a:pt x="25" y="269"/>
                  <a:pt x="25" y="269"/>
                </a:cubicBezTo>
                <a:cubicBezTo>
                  <a:pt x="25" y="270"/>
                  <a:pt x="25" y="270"/>
                  <a:pt x="25" y="270"/>
                </a:cubicBezTo>
                <a:cubicBezTo>
                  <a:pt x="25" y="271"/>
                  <a:pt x="25" y="271"/>
                  <a:pt x="25" y="271"/>
                </a:cubicBezTo>
                <a:cubicBezTo>
                  <a:pt x="25" y="271"/>
                  <a:pt x="25" y="271"/>
                  <a:pt x="25" y="271"/>
                </a:cubicBezTo>
                <a:cubicBezTo>
                  <a:pt x="26" y="271"/>
                  <a:pt x="26" y="271"/>
                  <a:pt x="26" y="271"/>
                </a:cubicBezTo>
                <a:cubicBezTo>
                  <a:pt x="26" y="270"/>
                  <a:pt x="26" y="270"/>
                  <a:pt x="26" y="270"/>
                </a:cubicBezTo>
                <a:cubicBezTo>
                  <a:pt x="27" y="271"/>
                  <a:pt x="27" y="271"/>
                  <a:pt x="27" y="271"/>
                </a:cubicBezTo>
                <a:cubicBezTo>
                  <a:pt x="28" y="271"/>
                  <a:pt x="28" y="271"/>
                  <a:pt x="28" y="271"/>
                </a:cubicBezTo>
                <a:cubicBezTo>
                  <a:pt x="28" y="272"/>
                  <a:pt x="28" y="272"/>
                  <a:pt x="28" y="272"/>
                </a:cubicBezTo>
                <a:cubicBezTo>
                  <a:pt x="27" y="272"/>
                  <a:pt x="27" y="272"/>
                  <a:pt x="27" y="272"/>
                </a:cubicBezTo>
                <a:cubicBezTo>
                  <a:pt x="26" y="273"/>
                  <a:pt x="26" y="273"/>
                  <a:pt x="26" y="273"/>
                </a:cubicBezTo>
                <a:cubicBezTo>
                  <a:pt x="26" y="273"/>
                  <a:pt x="26" y="273"/>
                  <a:pt x="26" y="273"/>
                </a:cubicBezTo>
                <a:cubicBezTo>
                  <a:pt x="28" y="273"/>
                  <a:pt x="28" y="273"/>
                  <a:pt x="28" y="273"/>
                </a:cubicBezTo>
                <a:cubicBezTo>
                  <a:pt x="29" y="274"/>
                  <a:pt x="29" y="274"/>
                  <a:pt x="29" y="274"/>
                </a:cubicBezTo>
                <a:cubicBezTo>
                  <a:pt x="30" y="274"/>
                  <a:pt x="30" y="274"/>
                  <a:pt x="30" y="274"/>
                </a:cubicBezTo>
                <a:cubicBezTo>
                  <a:pt x="31" y="273"/>
                  <a:pt x="31" y="273"/>
                  <a:pt x="31" y="273"/>
                </a:cubicBezTo>
                <a:cubicBezTo>
                  <a:pt x="30" y="272"/>
                  <a:pt x="30" y="272"/>
                  <a:pt x="30" y="272"/>
                </a:cubicBezTo>
                <a:cubicBezTo>
                  <a:pt x="30" y="271"/>
                  <a:pt x="30" y="271"/>
                  <a:pt x="30" y="271"/>
                </a:cubicBezTo>
                <a:cubicBezTo>
                  <a:pt x="30" y="270"/>
                  <a:pt x="30" y="270"/>
                  <a:pt x="30" y="270"/>
                </a:cubicBezTo>
                <a:cubicBezTo>
                  <a:pt x="30" y="270"/>
                  <a:pt x="30" y="270"/>
                  <a:pt x="30" y="270"/>
                </a:cubicBezTo>
                <a:cubicBezTo>
                  <a:pt x="29" y="270"/>
                  <a:pt x="29" y="270"/>
                  <a:pt x="29" y="270"/>
                </a:cubicBezTo>
                <a:cubicBezTo>
                  <a:pt x="29" y="270"/>
                  <a:pt x="29" y="270"/>
                  <a:pt x="29" y="270"/>
                </a:cubicBezTo>
                <a:cubicBezTo>
                  <a:pt x="30" y="269"/>
                  <a:pt x="30" y="269"/>
                  <a:pt x="30" y="269"/>
                </a:cubicBezTo>
                <a:cubicBezTo>
                  <a:pt x="30" y="269"/>
                  <a:pt x="30" y="269"/>
                  <a:pt x="30" y="269"/>
                </a:cubicBezTo>
                <a:cubicBezTo>
                  <a:pt x="30" y="268"/>
                  <a:pt x="30" y="268"/>
                  <a:pt x="30" y="268"/>
                </a:cubicBezTo>
                <a:cubicBezTo>
                  <a:pt x="32" y="269"/>
                  <a:pt x="32" y="269"/>
                  <a:pt x="32" y="269"/>
                </a:cubicBezTo>
                <a:cubicBezTo>
                  <a:pt x="32" y="269"/>
                  <a:pt x="32" y="269"/>
                  <a:pt x="32" y="269"/>
                </a:cubicBezTo>
                <a:cubicBezTo>
                  <a:pt x="32" y="269"/>
                  <a:pt x="32" y="269"/>
                  <a:pt x="32" y="269"/>
                </a:cubicBezTo>
                <a:cubicBezTo>
                  <a:pt x="33" y="269"/>
                  <a:pt x="33" y="269"/>
                  <a:pt x="33" y="269"/>
                </a:cubicBezTo>
                <a:cubicBezTo>
                  <a:pt x="33" y="269"/>
                  <a:pt x="33" y="269"/>
                  <a:pt x="33" y="269"/>
                </a:cubicBezTo>
                <a:cubicBezTo>
                  <a:pt x="35" y="269"/>
                  <a:pt x="35" y="269"/>
                  <a:pt x="35" y="269"/>
                </a:cubicBezTo>
                <a:cubicBezTo>
                  <a:pt x="36" y="269"/>
                  <a:pt x="36" y="269"/>
                  <a:pt x="36" y="269"/>
                </a:cubicBezTo>
                <a:cubicBezTo>
                  <a:pt x="37" y="269"/>
                  <a:pt x="37" y="269"/>
                  <a:pt x="37" y="269"/>
                </a:cubicBezTo>
                <a:cubicBezTo>
                  <a:pt x="38" y="269"/>
                  <a:pt x="38" y="269"/>
                  <a:pt x="38" y="269"/>
                </a:cubicBezTo>
                <a:cubicBezTo>
                  <a:pt x="38" y="269"/>
                  <a:pt x="38" y="269"/>
                  <a:pt x="38" y="269"/>
                </a:cubicBezTo>
                <a:cubicBezTo>
                  <a:pt x="37" y="270"/>
                  <a:pt x="37" y="270"/>
                  <a:pt x="37" y="270"/>
                </a:cubicBezTo>
                <a:cubicBezTo>
                  <a:pt x="37" y="270"/>
                  <a:pt x="37" y="270"/>
                  <a:pt x="37" y="270"/>
                </a:cubicBezTo>
                <a:cubicBezTo>
                  <a:pt x="36" y="270"/>
                  <a:pt x="36" y="270"/>
                  <a:pt x="36" y="270"/>
                </a:cubicBezTo>
                <a:cubicBezTo>
                  <a:pt x="35" y="270"/>
                  <a:pt x="35" y="270"/>
                  <a:pt x="35" y="270"/>
                </a:cubicBezTo>
                <a:cubicBezTo>
                  <a:pt x="35" y="270"/>
                  <a:pt x="35" y="270"/>
                  <a:pt x="35" y="270"/>
                </a:cubicBezTo>
                <a:cubicBezTo>
                  <a:pt x="33" y="272"/>
                  <a:pt x="33" y="272"/>
                  <a:pt x="33" y="272"/>
                </a:cubicBezTo>
                <a:cubicBezTo>
                  <a:pt x="32" y="272"/>
                  <a:pt x="32" y="272"/>
                  <a:pt x="32" y="272"/>
                </a:cubicBezTo>
                <a:cubicBezTo>
                  <a:pt x="32" y="272"/>
                  <a:pt x="32" y="272"/>
                  <a:pt x="32" y="272"/>
                </a:cubicBezTo>
                <a:cubicBezTo>
                  <a:pt x="31" y="272"/>
                  <a:pt x="31" y="272"/>
                  <a:pt x="31" y="272"/>
                </a:cubicBezTo>
                <a:cubicBezTo>
                  <a:pt x="31" y="273"/>
                  <a:pt x="31" y="273"/>
                  <a:pt x="31" y="273"/>
                </a:cubicBezTo>
                <a:cubicBezTo>
                  <a:pt x="31" y="274"/>
                  <a:pt x="31" y="274"/>
                  <a:pt x="31" y="274"/>
                </a:cubicBezTo>
                <a:cubicBezTo>
                  <a:pt x="30" y="274"/>
                  <a:pt x="30" y="274"/>
                  <a:pt x="30" y="274"/>
                </a:cubicBezTo>
                <a:cubicBezTo>
                  <a:pt x="30" y="275"/>
                  <a:pt x="30" y="275"/>
                  <a:pt x="30" y="275"/>
                </a:cubicBezTo>
                <a:cubicBezTo>
                  <a:pt x="31" y="275"/>
                  <a:pt x="31" y="275"/>
                  <a:pt x="31" y="275"/>
                </a:cubicBezTo>
                <a:cubicBezTo>
                  <a:pt x="30" y="276"/>
                  <a:pt x="30" y="276"/>
                  <a:pt x="30" y="276"/>
                </a:cubicBezTo>
                <a:cubicBezTo>
                  <a:pt x="30" y="276"/>
                  <a:pt x="30" y="276"/>
                  <a:pt x="30" y="276"/>
                </a:cubicBezTo>
                <a:cubicBezTo>
                  <a:pt x="32" y="277"/>
                  <a:pt x="32" y="277"/>
                  <a:pt x="32" y="277"/>
                </a:cubicBezTo>
                <a:cubicBezTo>
                  <a:pt x="34" y="278"/>
                  <a:pt x="34" y="278"/>
                  <a:pt x="34" y="278"/>
                </a:cubicBezTo>
                <a:cubicBezTo>
                  <a:pt x="34" y="278"/>
                  <a:pt x="34" y="278"/>
                  <a:pt x="34" y="278"/>
                </a:cubicBezTo>
                <a:cubicBezTo>
                  <a:pt x="34" y="278"/>
                  <a:pt x="34" y="278"/>
                  <a:pt x="34" y="278"/>
                </a:cubicBezTo>
                <a:cubicBezTo>
                  <a:pt x="34" y="277"/>
                  <a:pt x="34" y="277"/>
                  <a:pt x="34" y="277"/>
                </a:cubicBezTo>
                <a:cubicBezTo>
                  <a:pt x="35" y="276"/>
                  <a:pt x="35" y="276"/>
                  <a:pt x="35" y="276"/>
                </a:cubicBezTo>
                <a:cubicBezTo>
                  <a:pt x="35" y="276"/>
                  <a:pt x="35" y="276"/>
                  <a:pt x="35" y="276"/>
                </a:cubicBezTo>
                <a:cubicBezTo>
                  <a:pt x="36" y="275"/>
                  <a:pt x="36" y="275"/>
                  <a:pt x="36" y="275"/>
                </a:cubicBezTo>
                <a:cubicBezTo>
                  <a:pt x="35" y="274"/>
                  <a:pt x="35" y="274"/>
                  <a:pt x="35" y="274"/>
                </a:cubicBezTo>
                <a:cubicBezTo>
                  <a:pt x="36" y="274"/>
                  <a:pt x="36" y="274"/>
                  <a:pt x="36" y="274"/>
                </a:cubicBezTo>
                <a:cubicBezTo>
                  <a:pt x="37" y="273"/>
                  <a:pt x="37" y="273"/>
                  <a:pt x="37" y="273"/>
                </a:cubicBezTo>
                <a:cubicBezTo>
                  <a:pt x="38" y="271"/>
                  <a:pt x="38" y="271"/>
                  <a:pt x="38" y="271"/>
                </a:cubicBezTo>
                <a:cubicBezTo>
                  <a:pt x="39" y="271"/>
                  <a:pt x="39" y="271"/>
                  <a:pt x="39" y="271"/>
                </a:cubicBezTo>
                <a:cubicBezTo>
                  <a:pt x="39" y="271"/>
                  <a:pt x="39" y="271"/>
                  <a:pt x="39" y="271"/>
                </a:cubicBezTo>
                <a:cubicBezTo>
                  <a:pt x="40" y="271"/>
                  <a:pt x="40" y="271"/>
                  <a:pt x="40" y="271"/>
                </a:cubicBezTo>
                <a:cubicBezTo>
                  <a:pt x="41" y="271"/>
                  <a:pt x="41" y="271"/>
                  <a:pt x="41" y="271"/>
                </a:cubicBezTo>
                <a:cubicBezTo>
                  <a:pt x="41" y="272"/>
                  <a:pt x="41" y="272"/>
                  <a:pt x="41" y="272"/>
                </a:cubicBezTo>
                <a:cubicBezTo>
                  <a:pt x="40" y="272"/>
                  <a:pt x="40" y="272"/>
                  <a:pt x="40" y="272"/>
                </a:cubicBezTo>
                <a:cubicBezTo>
                  <a:pt x="40" y="273"/>
                  <a:pt x="40" y="273"/>
                  <a:pt x="40" y="273"/>
                </a:cubicBezTo>
                <a:cubicBezTo>
                  <a:pt x="39" y="274"/>
                  <a:pt x="39" y="274"/>
                  <a:pt x="39" y="274"/>
                </a:cubicBezTo>
                <a:cubicBezTo>
                  <a:pt x="38" y="275"/>
                  <a:pt x="38" y="275"/>
                  <a:pt x="38" y="275"/>
                </a:cubicBezTo>
                <a:cubicBezTo>
                  <a:pt x="38" y="276"/>
                  <a:pt x="38" y="276"/>
                  <a:pt x="38" y="276"/>
                </a:cubicBezTo>
                <a:cubicBezTo>
                  <a:pt x="39" y="277"/>
                  <a:pt x="39" y="277"/>
                  <a:pt x="39" y="277"/>
                </a:cubicBezTo>
                <a:cubicBezTo>
                  <a:pt x="38" y="278"/>
                  <a:pt x="38" y="278"/>
                  <a:pt x="38" y="278"/>
                </a:cubicBezTo>
                <a:cubicBezTo>
                  <a:pt x="37" y="278"/>
                  <a:pt x="37" y="278"/>
                  <a:pt x="37" y="278"/>
                </a:cubicBezTo>
                <a:cubicBezTo>
                  <a:pt x="37" y="278"/>
                  <a:pt x="37" y="278"/>
                  <a:pt x="37" y="278"/>
                </a:cubicBezTo>
                <a:cubicBezTo>
                  <a:pt x="38" y="277"/>
                  <a:pt x="38" y="277"/>
                  <a:pt x="38" y="277"/>
                </a:cubicBezTo>
                <a:cubicBezTo>
                  <a:pt x="38" y="276"/>
                  <a:pt x="38" y="276"/>
                  <a:pt x="38" y="276"/>
                </a:cubicBezTo>
                <a:cubicBezTo>
                  <a:pt x="37" y="276"/>
                  <a:pt x="37" y="276"/>
                  <a:pt x="37" y="276"/>
                </a:cubicBezTo>
                <a:cubicBezTo>
                  <a:pt x="37" y="276"/>
                  <a:pt x="37" y="276"/>
                  <a:pt x="37" y="276"/>
                </a:cubicBezTo>
                <a:cubicBezTo>
                  <a:pt x="36" y="277"/>
                  <a:pt x="36" y="277"/>
                  <a:pt x="36" y="277"/>
                </a:cubicBezTo>
                <a:cubicBezTo>
                  <a:pt x="36" y="277"/>
                  <a:pt x="36" y="277"/>
                  <a:pt x="36" y="277"/>
                </a:cubicBezTo>
                <a:cubicBezTo>
                  <a:pt x="35" y="277"/>
                  <a:pt x="35" y="277"/>
                  <a:pt x="35" y="277"/>
                </a:cubicBezTo>
                <a:cubicBezTo>
                  <a:pt x="35" y="277"/>
                  <a:pt x="35" y="277"/>
                  <a:pt x="35" y="277"/>
                </a:cubicBezTo>
                <a:cubicBezTo>
                  <a:pt x="35" y="278"/>
                  <a:pt x="35" y="278"/>
                  <a:pt x="35" y="278"/>
                </a:cubicBezTo>
                <a:cubicBezTo>
                  <a:pt x="37" y="280"/>
                  <a:pt x="37" y="280"/>
                  <a:pt x="37" y="280"/>
                </a:cubicBezTo>
                <a:cubicBezTo>
                  <a:pt x="39" y="281"/>
                  <a:pt x="39" y="281"/>
                  <a:pt x="39" y="281"/>
                </a:cubicBezTo>
                <a:cubicBezTo>
                  <a:pt x="40" y="281"/>
                  <a:pt x="40" y="281"/>
                  <a:pt x="40" y="281"/>
                </a:cubicBezTo>
                <a:cubicBezTo>
                  <a:pt x="41" y="281"/>
                  <a:pt x="41" y="281"/>
                  <a:pt x="41" y="281"/>
                </a:cubicBezTo>
                <a:cubicBezTo>
                  <a:pt x="42" y="282"/>
                  <a:pt x="42" y="282"/>
                  <a:pt x="42" y="282"/>
                </a:cubicBezTo>
                <a:cubicBezTo>
                  <a:pt x="43" y="281"/>
                  <a:pt x="43" y="281"/>
                  <a:pt x="43" y="281"/>
                </a:cubicBezTo>
                <a:cubicBezTo>
                  <a:pt x="43" y="280"/>
                  <a:pt x="43" y="280"/>
                  <a:pt x="43" y="280"/>
                </a:cubicBezTo>
                <a:cubicBezTo>
                  <a:pt x="43" y="278"/>
                  <a:pt x="43" y="278"/>
                  <a:pt x="43" y="278"/>
                </a:cubicBezTo>
                <a:cubicBezTo>
                  <a:pt x="43" y="277"/>
                  <a:pt x="43" y="277"/>
                  <a:pt x="43" y="277"/>
                </a:cubicBezTo>
                <a:cubicBezTo>
                  <a:pt x="43" y="276"/>
                  <a:pt x="43" y="276"/>
                  <a:pt x="43" y="276"/>
                </a:cubicBezTo>
                <a:cubicBezTo>
                  <a:pt x="43" y="274"/>
                  <a:pt x="43" y="274"/>
                  <a:pt x="43" y="274"/>
                </a:cubicBezTo>
                <a:cubicBezTo>
                  <a:pt x="43" y="272"/>
                  <a:pt x="43" y="272"/>
                  <a:pt x="43" y="272"/>
                </a:cubicBezTo>
                <a:cubicBezTo>
                  <a:pt x="43" y="271"/>
                  <a:pt x="43" y="271"/>
                  <a:pt x="43" y="271"/>
                </a:cubicBezTo>
                <a:cubicBezTo>
                  <a:pt x="43" y="270"/>
                  <a:pt x="43" y="270"/>
                  <a:pt x="43" y="270"/>
                </a:cubicBezTo>
                <a:cubicBezTo>
                  <a:pt x="44" y="269"/>
                  <a:pt x="44" y="269"/>
                  <a:pt x="44" y="269"/>
                </a:cubicBezTo>
                <a:cubicBezTo>
                  <a:pt x="46" y="268"/>
                  <a:pt x="46" y="268"/>
                  <a:pt x="46" y="268"/>
                </a:cubicBezTo>
                <a:cubicBezTo>
                  <a:pt x="47" y="267"/>
                  <a:pt x="47" y="267"/>
                  <a:pt x="47" y="267"/>
                </a:cubicBezTo>
                <a:cubicBezTo>
                  <a:pt x="48" y="267"/>
                  <a:pt x="48" y="267"/>
                  <a:pt x="48" y="267"/>
                </a:cubicBezTo>
                <a:cubicBezTo>
                  <a:pt x="49" y="267"/>
                  <a:pt x="49" y="267"/>
                  <a:pt x="49" y="267"/>
                </a:cubicBezTo>
                <a:cubicBezTo>
                  <a:pt x="48" y="265"/>
                  <a:pt x="48" y="265"/>
                  <a:pt x="48" y="265"/>
                </a:cubicBezTo>
                <a:cubicBezTo>
                  <a:pt x="49" y="265"/>
                  <a:pt x="49" y="265"/>
                  <a:pt x="49" y="265"/>
                </a:cubicBezTo>
                <a:cubicBezTo>
                  <a:pt x="51" y="264"/>
                  <a:pt x="51" y="264"/>
                  <a:pt x="51" y="264"/>
                </a:cubicBezTo>
                <a:cubicBezTo>
                  <a:pt x="52" y="265"/>
                  <a:pt x="52" y="265"/>
                  <a:pt x="52" y="265"/>
                </a:cubicBezTo>
                <a:cubicBezTo>
                  <a:pt x="53" y="265"/>
                  <a:pt x="53" y="265"/>
                  <a:pt x="53" y="265"/>
                </a:cubicBezTo>
                <a:cubicBezTo>
                  <a:pt x="53" y="265"/>
                  <a:pt x="53" y="265"/>
                  <a:pt x="53" y="265"/>
                </a:cubicBezTo>
                <a:close/>
                <a:moveTo>
                  <a:pt x="66" y="298"/>
                </a:moveTo>
                <a:cubicBezTo>
                  <a:pt x="66" y="299"/>
                  <a:pt x="66" y="299"/>
                  <a:pt x="66" y="299"/>
                </a:cubicBezTo>
                <a:cubicBezTo>
                  <a:pt x="67" y="298"/>
                  <a:pt x="67" y="298"/>
                  <a:pt x="67" y="298"/>
                </a:cubicBezTo>
                <a:cubicBezTo>
                  <a:pt x="66" y="298"/>
                  <a:pt x="66" y="298"/>
                  <a:pt x="66" y="298"/>
                </a:cubicBezTo>
                <a:cubicBezTo>
                  <a:pt x="66" y="298"/>
                  <a:pt x="66" y="298"/>
                  <a:pt x="66" y="298"/>
                </a:cubicBezTo>
                <a:close/>
                <a:moveTo>
                  <a:pt x="9" y="184"/>
                </a:moveTo>
                <a:cubicBezTo>
                  <a:pt x="8" y="184"/>
                  <a:pt x="8" y="184"/>
                  <a:pt x="8" y="184"/>
                </a:cubicBezTo>
                <a:cubicBezTo>
                  <a:pt x="7" y="184"/>
                  <a:pt x="7" y="184"/>
                  <a:pt x="7" y="184"/>
                </a:cubicBezTo>
                <a:cubicBezTo>
                  <a:pt x="7" y="184"/>
                  <a:pt x="7" y="184"/>
                  <a:pt x="7" y="184"/>
                </a:cubicBezTo>
                <a:cubicBezTo>
                  <a:pt x="8" y="186"/>
                  <a:pt x="8" y="186"/>
                  <a:pt x="8" y="186"/>
                </a:cubicBezTo>
                <a:cubicBezTo>
                  <a:pt x="8" y="186"/>
                  <a:pt x="8" y="186"/>
                  <a:pt x="8" y="186"/>
                </a:cubicBezTo>
                <a:cubicBezTo>
                  <a:pt x="9" y="188"/>
                  <a:pt x="9" y="188"/>
                  <a:pt x="9" y="188"/>
                </a:cubicBezTo>
                <a:cubicBezTo>
                  <a:pt x="9" y="188"/>
                  <a:pt x="9" y="188"/>
                  <a:pt x="9" y="188"/>
                </a:cubicBezTo>
                <a:cubicBezTo>
                  <a:pt x="8" y="187"/>
                  <a:pt x="8" y="187"/>
                  <a:pt x="8" y="187"/>
                </a:cubicBezTo>
                <a:cubicBezTo>
                  <a:pt x="7" y="188"/>
                  <a:pt x="7" y="188"/>
                  <a:pt x="7" y="188"/>
                </a:cubicBezTo>
                <a:cubicBezTo>
                  <a:pt x="7" y="190"/>
                  <a:pt x="7" y="190"/>
                  <a:pt x="7" y="190"/>
                </a:cubicBezTo>
                <a:cubicBezTo>
                  <a:pt x="7" y="190"/>
                  <a:pt x="7" y="190"/>
                  <a:pt x="7" y="190"/>
                </a:cubicBezTo>
                <a:cubicBezTo>
                  <a:pt x="5" y="190"/>
                  <a:pt x="5" y="190"/>
                  <a:pt x="5" y="190"/>
                </a:cubicBezTo>
                <a:cubicBezTo>
                  <a:pt x="4" y="190"/>
                  <a:pt x="4" y="190"/>
                  <a:pt x="4" y="190"/>
                </a:cubicBezTo>
                <a:cubicBezTo>
                  <a:pt x="4" y="188"/>
                  <a:pt x="4" y="188"/>
                  <a:pt x="4" y="188"/>
                </a:cubicBezTo>
                <a:cubicBezTo>
                  <a:pt x="4" y="184"/>
                  <a:pt x="4" y="184"/>
                  <a:pt x="4" y="184"/>
                </a:cubicBezTo>
                <a:cubicBezTo>
                  <a:pt x="4" y="183"/>
                  <a:pt x="4" y="183"/>
                  <a:pt x="4" y="183"/>
                </a:cubicBezTo>
                <a:cubicBezTo>
                  <a:pt x="3" y="183"/>
                  <a:pt x="3" y="183"/>
                  <a:pt x="3" y="183"/>
                </a:cubicBezTo>
                <a:cubicBezTo>
                  <a:pt x="3" y="182"/>
                  <a:pt x="3" y="182"/>
                  <a:pt x="3" y="182"/>
                </a:cubicBezTo>
                <a:cubicBezTo>
                  <a:pt x="3" y="181"/>
                  <a:pt x="3" y="181"/>
                  <a:pt x="3" y="181"/>
                </a:cubicBezTo>
                <a:cubicBezTo>
                  <a:pt x="4" y="180"/>
                  <a:pt x="4" y="180"/>
                  <a:pt x="4" y="180"/>
                </a:cubicBezTo>
                <a:cubicBezTo>
                  <a:pt x="4" y="179"/>
                  <a:pt x="4" y="179"/>
                  <a:pt x="4" y="179"/>
                </a:cubicBezTo>
                <a:cubicBezTo>
                  <a:pt x="4" y="179"/>
                  <a:pt x="4" y="179"/>
                  <a:pt x="4" y="179"/>
                </a:cubicBezTo>
                <a:cubicBezTo>
                  <a:pt x="4" y="178"/>
                  <a:pt x="4" y="178"/>
                  <a:pt x="4" y="178"/>
                </a:cubicBezTo>
                <a:cubicBezTo>
                  <a:pt x="5" y="177"/>
                  <a:pt x="5" y="177"/>
                  <a:pt x="5" y="177"/>
                </a:cubicBezTo>
                <a:cubicBezTo>
                  <a:pt x="6" y="177"/>
                  <a:pt x="6" y="177"/>
                  <a:pt x="6" y="177"/>
                </a:cubicBezTo>
                <a:cubicBezTo>
                  <a:pt x="7" y="178"/>
                  <a:pt x="7" y="178"/>
                  <a:pt x="7" y="178"/>
                </a:cubicBezTo>
                <a:cubicBezTo>
                  <a:pt x="8" y="179"/>
                  <a:pt x="8" y="179"/>
                  <a:pt x="8" y="179"/>
                </a:cubicBezTo>
                <a:cubicBezTo>
                  <a:pt x="8" y="181"/>
                  <a:pt x="8" y="181"/>
                  <a:pt x="8" y="181"/>
                </a:cubicBezTo>
                <a:cubicBezTo>
                  <a:pt x="8" y="181"/>
                  <a:pt x="8" y="181"/>
                  <a:pt x="8" y="181"/>
                </a:cubicBezTo>
                <a:cubicBezTo>
                  <a:pt x="8" y="183"/>
                  <a:pt x="8" y="183"/>
                  <a:pt x="8" y="183"/>
                </a:cubicBezTo>
                <a:cubicBezTo>
                  <a:pt x="7" y="182"/>
                  <a:pt x="7" y="182"/>
                  <a:pt x="7" y="182"/>
                </a:cubicBezTo>
                <a:cubicBezTo>
                  <a:pt x="8" y="183"/>
                  <a:pt x="8" y="183"/>
                  <a:pt x="8" y="183"/>
                </a:cubicBezTo>
                <a:cubicBezTo>
                  <a:pt x="9" y="184"/>
                  <a:pt x="9" y="184"/>
                  <a:pt x="9" y="184"/>
                </a:cubicBezTo>
                <a:cubicBezTo>
                  <a:pt x="9" y="184"/>
                  <a:pt x="9" y="184"/>
                  <a:pt x="9" y="184"/>
                </a:cubicBezTo>
                <a:close/>
                <a:moveTo>
                  <a:pt x="10" y="181"/>
                </a:moveTo>
                <a:cubicBezTo>
                  <a:pt x="11" y="181"/>
                  <a:pt x="11" y="181"/>
                  <a:pt x="11" y="181"/>
                </a:cubicBezTo>
                <a:cubicBezTo>
                  <a:pt x="11" y="181"/>
                  <a:pt x="11" y="181"/>
                  <a:pt x="11" y="181"/>
                </a:cubicBezTo>
                <a:cubicBezTo>
                  <a:pt x="11" y="182"/>
                  <a:pt x="11" y="182"/>
                  <a:pt x="11" y="182"/>
                </a:cubicBezTo>
                <a:cubicBezTo>
                  <a:pt x="10" y="181"/>
                  <a:pt x="10" y="181"/>
                  <a:pt x="10" y="181"/>
                </a:cubicBezTo>
                <a:close/>
                <a:moveTo>
                  <a:pt x="2" y="193"/>
                </a:moveTo>
                <a:cubicBezTo>
                  <a:pt x="3" y="192"/>
                  <a:pt x="3" y="192"/>
                  <a:pt x="3" y="192"/>
                </a:cubicBezTo>
                <a:cubicBezTo>
                  <a:pt x="4" y="192"/>
                  <a:pt x="4" y="192"/>
                  <a:pt x="4" y="192"/>
                </a:cubicBezTo>
                <a:cubicBezTo>
                  <a:pt x="5" y="193"/>
                  <a:pt x="5" y="193"/>
                  <a:pt x="5" y="193"/>
                </a:cubicBezTo>
                <a:cubicBezTo>
                  <a:pt x="3" y="194"/>
                  <a:pt x="3" y="194"/>
                  <a:pt x="3" y="194"/>
                </a:cubicBezTo>
                <a:cubicBezTo>
                  <a:pt x="2" y="193"/>
                  <a:pt x="2" y="193"/>
                  <a:pt x="2" y="193"/>
                </a:cubicBezTo>
                <a:close/>
                <a:moveTo>
                  <a:pt x="11" y="194"/>
                </a:moveTo>
                <a:cubicBezTo>
                  <a:pt x="12" y="194"/>
                  <a:pt x="12" y="194"/>
                  <a:pt x="12" y="194"/>
                </a:cubicBezTo>
                <a:cubicBezTo>
                  <a:pt x="12" y="194"/>
                  <a:pt x="12" y="194"/>
                  <a:pt x="12" y="194"/>
                </a:cubicBezTo>
                <a:cubicBezTo>
                  <a:pt x="11" y="195"/>
                  <a:pt x="11" y="195"/>
                  <a:pt x="11" y="195"/>
                </a:cubicBezTo>
                <a:cubicBezTo>
                  <a:pt x="11" y="194"/>
                  <a:pt x="11" y="194"/>
                  <a:pt x="11" y="194"/>
                </a:cubicBezTo>
                <a:close/>
                <a:moveTo>
                  <a:pt x="9" y="194"/>
                </a:moveTo>
                <a:cubicBezTo>
                  <a:pt x="10" y="194"/>
                  <a:pt x="10" y="194"/>
                  <a:pt x="10" y="194"/>
                </a:cubicBezTo>
                <a:cubicBezTo>
                  <a:pt x="10" y="196"/>
                  <a:pt x="10" y="196"/>
                  <a:pt x="10" y="196"/>
                </a:cubicBezTo>
                <a:cubicBezTo>
                  <a:pt x="9" y="196"/>
                  <a:pt x="9" y="196"/>
                  <a:pt x="9" y="196"/>
                </a:cubicBezTo>
                <a:cubicBezTo>
                  <a:pt x="9" y="195"/>
                  <a:pt x="9" y="195"/>
                  <a:pt x="9" y="195"/>
                </a:cubicBezTo>
                <a:cubicBezTo>
                  <a:pt x="8" y="195"/>
                  <a:pt x="8" y="195"/>
                  <a:pt x="8" y="195"/>
                </a:cubicBezTo>
                <a:cubicBezTo>
                  <a:pt x="9" y="194"/>
                  <a:pt x="9" y="194"/>
                  <a:pt x="9" y="194"/>
                </a:cubicBezTo>
                <a:close/>
                <a:moveTo>
                  <a:pt x="6" y="194"/>
                </a:moveTo>
                <a:cubicBezTo>
                  <a:pt x="7" y="193"/>
                  <a:pt x="7" y="193"/>
                  <a:pt x="7" y="193"/>
                </a:cubicBezTo>
                <a:cubicBezTo>
                  <a:pt x="8" y="194"/>
                  <a:pt x="8" y="194"/>
                  <a:pt x="8" y="194"/>
                </a:cubicBezTo>
                <a:cubicBezTo>
                  <a:pt x="7" y="194"/>
                  <a:pt x="7" y="194"/>
                  <a:pt x="7" y="194"/>
                </a:cubicBezTo>
                <a:cubicBezTo>
                  <a:pt x="6" y="194"/>
                  <a:pt x="6" y="194"/>
                  <a:pt x="6" y="194"/>
                </a:cubicBezTo>
                <a:close/>
                <a:moveTo>
                  <a:pt x="7" y="196"/>
                </a:moveTo>
                <a:cubicBezTo>
                  <a:pt x="7" y="196"/>
                  <a:pt x="7" y="196"/>
                  <a:pt x="7" y="196"/>
                </a:cubicBezTo>
                <a:cubicBezTo>
                  <a:pt x="8" y="196"/>
                  <a:pt x="8" y="196"/>
                  <a:pt x="8" y="196"/>
                </a:cubicBezTo>
                <a:cubicBezTo>
                  <a:pt x="7" y="197"/>
                  <a:pt x="7" y="197"/>
                  <a:pt x="7" y="197"/>
                </a:cubicBezTo>
                <a:cubicBezTo>
                  <a:pt x="7" y="196"/>
                  <a:pt x="7" y="196"/>
                  <a:pt x="7" y="196"/>
                </a:cubicBezTo>
                <a:close/>
                <a:moveTo>
                  <a:pt x="5" y="198"/>
                </a:moveTo>
                <a:cubicBezTo>
                  <a:pt x="6" y="197"/>
                  <a:pt x="6" y="197"/>
                  <a:pt x="6" y="197"/>
                </a:cubicBezTo>
                <a:cubicBezTo>
                  <a:pt x="6" y="197"/>
                  <a:pt x="6" y="197"/>
                  <a:pt x="6" y="197"/>
                </a:cubicBezTo>
                <a:cubicBezTo>
                  <a:pt x="7" y="198"/>
                  <a:pt x="7" y="198"/>
                  <a:pt x="7" y="198"/>
                </a:cubicBezTo>
                <a:cubicBezTo>
                  <a:pt x="7" y="198"/>
                  <a:pt x="7" y="198"/>
                  <a:pt x="7" y="198"/>
                </a:cubicBezTo>
                <a:cubicBezTo>
                  <a:pt x="6" y="198"/>
                  <a:pt x="6" y="198"/>
                  <a:pt x="6" y="198"/>
                </a:cubicBezTo>
                <a:cubicBezTo>
                  <a:pt x="5" y="198"/>
                  <a:pt x="5" y="198"/>
                  <a:pt x="5" y="198"/>
                </a:cubicBezTo>
                <a:cubicBezTo>
                  <a:pt x="5" y="198"/>
                  <a:pt x="5" y="198"/>
                  <a:pt x="5" y="198"/>
                </a:cubicBezTo>
                <a:close/>
                <a:moveTo>
                  <a:pt x="4" y="200"/>
                </a:moveTo>
                <a:cubicBezTo>
                  <a:pt x="5" y="200"/>
                  <a:pt x="5" y="200"/>
                  <a:pt x="5" y="200"/>
                </a:cubicBezTo>
                <a:cubicBezTo>
                  <a:pt x="4" y="201"/>
                  <a:pt x="4" y="201"/>
                  <a:pt x="4" y="201"/>
                </a:cubicBezTo>
                <a:cubicBezTo>
                  <a:pt x="3" y="201"/>
                  <a:pt x="3" y="201"/>
                  <a:pt x="3" y="201"/>
                </a:cubicBezTo>
                <a:cubicBezTo>
                  <a:pt x="4" y="200"/>
                  <a:pt x="4" y="200"/>
                  <a:pt x="4" y="200"/>
                </a:cubicBezTo>
                <a:close/>
                <a:moveTo>
                  <a:pt x="10" y="199"/>
                </a:moveTo>
                <a:cubicBezTo>
                  <a:pt x="10" y="201"/>
                  <a:pt x="10" y="201"/>
                  <a:pt x="10" y="201"/>
                </a:cubicBezTo>
                <a:cubicBezTo>
                  <a:pt x="10" y="201"/>
                  <a:pt x="10" y="201"/>
                  <a:pt x="10" y="201"/>
                </a:cubicBezTo>
                <a:cubicBezTo>
                  <a:pt x="10" y="199"/>
                  <a:pt x="10" y="199"/>
                  <a:pt x="10" y="199"/>
                </a:cubicBezTo>
                <a:close/>
                <a:moveTo>
                  <a:pt x="8" y="199"/>
                </a:moveTo>
                <a:cubicBezTo>
                  <a:pt x="9" y="198"/>
                  <a:pt x="9" y="198"/>
                  <a:pt x="9" y="198"/>
                </a:cubicBezTo>
                <a:cubicBezTo>
                  <a:pt x="9" y="200"/>
                  <a:pt x="9" y="200"/>
                  <a:pt x="9" y="200"/>
                </a:cubicBezTo>
                <a:cubicBezTo>
                  <a:pt x="8" y="199"/>
                  <a:pt x="8" y="199"/>
                  <a:pt x="8" y="199"/>
                </a:cubicBezTo>
                <a:close/>
                <a:moveTo>
                  <a:pt x="5" y="209"/>
                </a:moveTo>
                <a:cubicBezTo>
                  <a:pt x="6" y="209"/>
                  <a:pt x="6" y="209"/>
                  <a:pt x="6" y="209"/>
                </a:cubicBezTo>
                <a:cubicBezTo>
                  <a:pt x="6" y="210"/>
                  <a:pt x="6" y="210"/>
                  <a:pt x="6" y="210"/>
                </a:cubicBezTo>
                <a:cubicBezTo>
                  <a:pt x="5" y="210"/>
                  <a:pt x="5" y="210"/>
                  <a:pt x="5" y="210"/>
                </a:cubicBezTo>
                <a:cubicBezTo>
                  <a:pt x="5" y="209"/>
                  <a:pt x="5" y="209"/>
                  <a:pt x="5" y="209"/>
                </a:cubicBezTo>
                <a:close/>
                <a:moveTo>
                  <a:pt x="5" y="201"/>
                </a:moveTo>
                <a:cubicBezTo>
                  <a:pt x="5" y="200"/>
                  <a:pt x="5" y="200"/>
                  <a:pt x="5" y="200"/>
                </a:cubicBezTo>
                <a:cubicBezTo>
                  <a:pt x="5" y="199"/>
                  <a:pt x="5" y="199"/>
                  <a:pt x="5" y="199"/>
                </a:cubicBezTo>
                <a:cubicBezTo>
                  <a:pt x="6" y="199"/>
                  <a:pt x="6" y="199"/>
                  <a:pt x="6" y="199"/>
                </a:cubicBezTo>
                <a:cubicBezTo>
                  <a:pt x="7" y="200"/>
                  <a:pt x="7" y="200"/>
                  <a:pt x="7" y="200"/>
                </a:cubicBezTo>
                <a:cubicBezTo>
                  <a:pt x="6" y="200"/>
                  <a:pt x="6" y="200"/>
                  <a:pt x="6" y="200"/>
                </a:cubicBezTo>
                <a:cubicBezTo>
                  <a:pt x="5" y="201"/>
                  <a:pt x="5" y="201"/>
                  <a:pt x="5" y="201"/>
                </a:cubicBezTo>
                <a:close/>
                <a:moveTo>
                  <a:pt x="3" y="203"/>
                </a:moveTo>
                <a:cubicBezTo>
                  <a:pt x="1" y="202"/>
                  <a:pt x="1" y="202"/>
                  <a:pt x="1" y="202"/>
                </a:cubicBezTo>
                <a:cubicBezTo>
                  <a:pt x="1" y="201"/>
                  <a:pt x="1" y="201"/>
                  <a:pt x="1" y="201"/>
                </a:cubicBezTo>
                <a:cubicBezTo>
                  <a:pt x="3" y="201"/>
                  <a:pt x="3" y="201"/>
                  <a:pt x="3" y="201"/>
                </a:cubicBezTo>
                <a:cubicBezTo>
                  <a:pt x="3" y="202"/>
                  <a:pt x="3" y="202"/>
                  <a:pt x="3" y="202"/>
                </a:cubicBezTo>
                <a:cubicBezTo>
                  <a:pt x="3" y="203"/>
                  <a:pt x="3" y="203"/>
                  <a:pt x="3" y="203"/>
                </a:cubicBezTo>
                <a:close/>
                <a:moveTo>
                  <a:pt x="7" y="207"/>
                </a:moveTo>
                <a:cubicBezTo>
                  <a:pt x="8" y="207"/>
                  <a:pt x="8" y="207"/>
                  <a:pt x="8" y="207"/>
                </a:cubicBezTo>
                <a:cubicBezTo>
                  <a:pt x="8" y="208"/>
                  <a:pt x="8" y="208"/>
                  <a:pt x="8" y="208"/>
                </a:cubicBezTo>
                <a:cubicBezTo>
                  <a:pt x="7" y="207"/>
                  <a:pt x="7" y="207"/>
                  <a:pt x="7" y="207"/>
                </a:cubicBezTo>
                <a:close/>
                <a:moveTo>
                  <a:pt x="9" y="208"/>
                </a:moveTo>
                <a:cubicBezTo>
                  <a:pt x="10" y="208"/>
                  <a:pt x="10" y="208"/>
                  <a:pt x="10" y="208"/>
                </a:cubicBezTo>
                <a:cubicBezTo>
                  <a:pt x="9" y="209"/>
                  <a:pt x="9" y="209"/>
                  <a:pt x="9" y="209"/>
                </a:cubicBezTo>
                <a:cubicBezTo>
                  <a:pt x="9" y="208"/>
                  <a:pt x="9" y="208"/>
                  <a:pt x="9" y="208"/>
                </a:cubicBezTo>
                <a:close/>
                <a:moveTo>
                  <a:pt x="11" y="197"/>
                </a:moveTo>
                <a:cubicBezTo>
                  <a:pt x="12" y="197"/>
                  <a:pt x="12" y="197"/>
                  <a:pt x="12" y="197"/>
                </a:cubicBezTo>
                <a:cubicBezTo>
                  <a:pt x="13" y="198"/>
                  <a:pt x="13" y="198"/>
                  <a:pt x="13" y="198"/>
                </a:cubicBezTo>
                <a:cubicBezTo>
                  <a:pt x="11" y="198"/>
                  <a:pt x="11" y="198"/>
                  <a:pt x="11" y="198"/>
                </a:cubicBezTo>
                <a:cubicBezTo>
                  <a:pt x="11" y="197"/>
                  <a:pt x="11" y="197"/>
                  <a:pt x="11" y="197"/>
                </a:cubicBezTo>
                <a:close/>
                <a:moveTo>
                  <a:pt x="13" y="198"/>
                </a:moveTo>
                <a:cubicBezTo>
                  <a:pt x="14" y="199"/>
                  <a:pt x="14" y="199"/>
                  <a:pt x="14" y="199"/>
                </a:cubicBezTo>
                <a:cubicBezTo>
                  <a:pt x="15" y="199"/>
                  <a:pt x="15" y="199"/>
                  <a:pt x="15" y="199"/>
                </a:cubicBezTo>
                <a:cubicBezTo>
                  <a:pt x="16" y="201"/>
                  <a:pt x="16" y="201"/>
                  <a:pt x="16" y="201"/>
                </a:cubicBezTo>
                <a:cubicBezTo>
                  <a:pt x="15" y="202"/>
                  <a:pt x="15" y="202"/>
                  <a:pt x="15" y="202"/>
                </a:cubicBezTo>
                <a:cubicBezTo>
                  <a:pt x="15" y="202"/>
                  <a:pt x="15" y="202"/>
                  <a:pt x="15" y="202"/>
                </a:cubicBezTo>
                <a:cubicBezTo>
                  <a:pt x="14" y="203"/>
                  <a:pt x="14" y="203"/>
                  <a:pt x="14" y="203"/>
                </a:cubicBezTo>
                <a:cubicBezTo>
                  <a:pt x="13" y="202"/>
                  <a:pt x="13" y="202"/>
                  <a:pt x="13" y="202"/>
                </a:cubicBezTo>
                <a:cubicBezTo>
                  <a:pt x="13" y="202"/>
                  <a:pt x="13" y="202"/>
                  <a:pt x="13" y="202"/>
                </a:cubicBezTo>
                <a:cubicBezTo>
                  <a:pt x="12" y="203"/>
                  <a:pt x="12" y="203"/>
                  <a:pt x="12" y="203"/>
                </a:cubicBezTo>
                <a:cubicBezTo>
                  <a:pt x="12" y="202"/>
                  <a:pt x="12" y="202"/>
                  <a:pt x="12" y="202"/>
                </a:cubicBezTo>
                <a:cubicBezTo>
                  <a:pt x="11" y="201"/>
                  <a:pt x="11" y="201"/>
                  <a:pt x="11" y="201"/>
                </a:cubicBezTo>
                <a:cubicBezTo>
                  <a:pt x="12" y="199"/>
                  <a:pt x="12" y="199"/>
                  <a:pt x="12" y="199"/>
                </a:cubicBezTo>
                <a:cubicBezTo>
                  <a:pt x="13" y="198"/>
                  <a:pt x="13" y="198"/>
                  <a:pt x="13" y="198"/>
                </a:cubicBezTo>
                <a:close/>
                <a:moveTo>
                  <a:pt x="6" y="202"/>
                </a:moveTo>
                <a:cubicBezTo>
                  <a:pt x="7" y="201"/>
                  <a:pt x="7" y="201"/>
                  <a:pt x="7" y="201"/>
                </a:cubicBezTo>
                <a:cubicBezTo>
                  <a:pt x="9" y="201"/>
                  <a:pt x="9" y="201"/>
                  <a:pt x="9" y="201"/>
                </a:cubicBezTo>
                <a:cubicBezTo>
                  <a:pt x="9" y="202"/>
                  <a:pt x="9" y="202"/>
                  <a:pt x="9" y="202"/>
                </a:cubicBezTo>
                <a:cubicBezTo>
                  <a:pt x="7" y="202"/>
                  <a:pt x="7" y="202"/>
                  <a:pt x="7" y="202"/>
                </a:cubicBezTo>
                <a:cubicBezTo>
                  <a:pt x="7" y="203"/>
                  <a:pt x="7" y="203"/>
                  <a:pt x="7" y="203"/>
                </a:cubicBezTo>
                <a:cubicBezTo>
                  <a:pt x="7" y="203"/>
                  <a:pt x="6" y="202"/>
                  <a:pt x="6" y="202"/>
                </a:cubicBezTo>
                <a:close/>
                <a:moveTo>
                  <a:pt x="8" y="204"/>
                </a:moveTo>
                <a:cubicBezTo>
                  <a:pt x="7" y="204"/>
                  <a:pt x="7" y="204"/>
                  <a:pt x="7" y="204"/>
                </a:cubicBezTo>
                <a:cubicBezTo>
                  <a:pt x="8" y="203"/>
                  <a:pt x="8" y="203"/>
                  <a:pt x="8" y="203"/>
                </a:cubicBezTo>
                <a:cubicBezTo>
                  <a:pt x="9" y="203"/>
                  <a:pt x="9" y="203"/>
                  <a:pt x="9" y="203"/>
                </a:cubicBezTo>
                <a:cubicBezTo>
                  <a:pt x="9" y="204"/>
                  <a:pt x="9" y="204"/>
                  <a:pt x="9" y="204"/>
                </a:cubicBezTo>
                <a:cubicBezTo>
                  <a:pt x="8" y="204"/>
                  <a:pt x="8" y="204"/>
                  <a:pt x="8" y="204"/>
                </a:cubicBezTo>
                <a:close/>
                <a:moveTo>
                  <a:pt x="8" y="205"/>
                </a:moveTo>
                <a:cubicBezTo>
                  <a:pt x="9" y="205"/>
                  <a:pt x="9" y="205"/>
                  <a:pt x="9" y="205"/>
                </a:cubicBezTo>
                <a:cubicBezTo>
                  <a:pt x="11" y="205"/>
                  <a:pt x="11" y="205"/>
                  <a:pt x="11" y="205"/>
                </a:cubicBezTo>
                <a:cubicBezTo>
                  <a:pt x="11" y="207"/>
                  <a:pt x="11" y="207"/>
                  <a:pt x="11" y="207"/>
                </a:cubicBezTo>
                <a:cubicBezTo>
                  <a:pt x="10" y="208"/>
                  <a:pt x="10" y="208"/>
                  <a:pt x="10" y="208"/>
                </a:cubicBezTo>
                <a:cubicBezTo>
                  <a:pt x="9" y="207"/>
                  <a:pt x="9" y="207"/>
                  <a:pt x="9" y="207"/>
                </a:cubicBezTo>
                <a:cubicBezTo>
                  <a:pt x="9" y="206"/>
                  <a:pt x="9" y="206"/>
                  <a:pt x="9" y="206"/>
                </a:cubicBezTo>
                <a:cubicBezTo>
                  <a:pt x="8" y="205"/>
                  <a:pt x="8" y="205"/>
                  <a:pt x="8" y="205"/>
                </a:cubicBezTo>
                <a:close/>
                <a:moveTo>
                  <a:pt x="6" y="209"/>
                </a:moveTo>
                <a:cubicBezTo>
                  <a:pt x="7" y="208"/>
                  <a:pt x="7" y="208"/>
                  <a:pt x="7" y="208"/>
                </a:cubicBezTo>
                <a:cubicBezTo>
                  <a:pt x="7" y="208"/>
                  <a:pt x="7" y="208"/>
                  <a:pt x="7" y="208"/>
                </a:cubicBezTo>
                <a:cubicBezTo>
                  <a:pt x="8" y="209"/>
                  <a:pt x="8" y="209"/>
                  <a:pt x="8" y="209"/>
                </a:cubicBezTo>
                <a:cubicBezTo>
                  <a:pt x="9" y="210"/>
                  <a:pt x="9" y="210"/>
                  <a:pt x="9" y="210"/>
                </a:cubicBezTo>
                <a:cubicBezTo>
                  <a:pt x="8" y="210"/>
                  <a:pt x="8" y="210"/>
                  <a:pt x="8" y="210"/>
                </a:cubicBezTo>
                <a:cubicBezTo>
                  <a:pt x="6" y="209"/>
                  <a:pt x="6" y="209"/>
                  <a:pt x="6" y="209"/>
                </a:cubicBezTo>
                <a:close/>
                <a:moveTo>
                  <a:pt x="10" y="233"/>
                </a:moveTo>
                <a:cubicBezTo>
                  <a:pt x="10" y="232"/>
                  <a:pt x="10" y="232"/>
                  <a:pt x="10" y="232"/>
                </a:cubicBezTo>
                <a:cubicBezTo>
                  <a:pt x="10" y="232"/>
                  <a:pt x="10" y="232"/>
                  <a:pt x="10" y="232"/>
                </a:cubicBezTo>
                <a:cubicBezTo>
                  <a:pt x="10" y="232"/>
                  <a:pt x="10" y="232"/>
                  <a:pt x="10" y="232"/>
                </a:cubicBezTo>
                <a:cubicBezTo>
                  <a:pt x="8" y="230"/>
                  <a:pt x="8" y="230"/>
                  <a:pt x="8" y="230"/>
                </a:cubicBezTo>
                <a:cubicBezTo>
                  <a:pt x="7" y="229"/>
                  <a:pt x="7" y="229"/>
                  <a:pt x="7" y="229"/>
                </a:cubicBezTo>
                <a:cubicBezTo>
                  <a:pt x="7" y="228"/>
                  <a:pt x="7" y="228"/>
                  <a:pt x="7" y="228"/>
                </a:cubicBezTo>
                <a:cubicBezTo>
                  <a:pt x="8" y="228"/>
                  <a:pt x="8" y="228"/>
                  <a:pt x="8" y="228"/>
                </a:cubicBezTo>
                <a:cubicBezTo>
                  <a:pt x="9" y="228"/>
                  <a:pt x="9" y="228"/>
                  <a:pt x="9" y="228"/>
                </a:cubicBezTo>
                <a:cubicBezTo>
                  <a:pt x="10" y="230"/>
                  <a:pt x="10" y="230"/>
                  <a:pt x="10" y="230"/>
                </a:cubicBezTo>
                <a:cubicBezTo>
                  <a:pt x="11" y="230"/>
                  <a:pt x="11" y="230"/>
                  <a:pt x="11" y="230"/>
                </a:cubicBezTo>
                <a:cubicBezTo>
                  <a:pt x="11" y="231"/>
                  <a:pt x="11" y="231"/>
                  <a:pt x="11" y="231"/>
                </a:cubicBezTo>
                <a:cubicBezTo>
                  <a:pt x="12" y="232"/>
                  <a:pt x="12" y="232"/>
                  <a:pt x="12" y="232"/>
                </a:cubicBezTo>
                <a:cubicBezTo>
                  <a:pt x="13" y="234"/>
                  <a:pt x="13" y="234"/>
                  <a:pt x="13" y="234"/>
                </a:cubicBezTo>
                <a:cubicBezTo>
                  <a:pt x="11" y="234"/>
                  <a:pt x="11" y="234"/>
                  <a:pt x="11" y="234"/>
                </a:cubicBezTo>
                <a:cubicBezTo>
                  <a:pt x="10" y="234"/>
                  <a:pt x="10" y="234"/>
                  <a:pt x="10" y="234"/>
                </a:cubicBezTo>
                <a:cubicBezTo>
                  <a:pt x="10" y="233"/>
                  <a:pt x="10" y="233"/>
                  <a:pt x="10" y="233"/>
                </a:cubicBezTo>
                <a:close/>
                <a:moveTo>
                  <a:pt x="5" y="231"/>
                </a:moveTo>
                <a:cubicBezTo>
                  <a:pt x="5" y="230"/>
                  <a:pt x="5" y="230"/>
                  <a:pt x="5" y="230"/>
                </a:cubicBezTo>
                <a:cubicBezTo>
                  <a:pt x="5" y="229"/>
                  <a:pt x="5" y="229"/>
                  <a:pt x="5" y="229"/>
                </a:cubicBezTo>
                <a:cubicBezTo>
                  <a:pt x="7" y="230"/>
                  <a:pt x="7" y="230"/>
                  <a:pt x="7" y="230"/>
                </a:cubicBezTo>
                <a:cubicBezTo>
                  <a:pt x="8" y="232"/>
                  <a:pt x="8" y="232"/>
                  <a:pt x="8" y="232"/>
                </a:cubicBezTo>
                <a:cubicBezTo>
                  <a:pt x="9" y="234"/>
                  <a:pt x="9" y="234"/>
                  <a:pt x="9" y="234"/>
                </a:cubicBezTo>
                <a:cubicBezTo>
                  <a:pt x="9" y="235"/>
                  <a:pt x="9" y="235"/>
                  <a:pt x="9" y="235"/>
                </a:cubicBezTo>
                <a:cubicBezTo>
                  <a:pt x="9" y="236"/>
                  <a:pt x="9" y="236"/>
                  <a:pt x="9" y="236"/>
                </a:cubicBezTo>
                <a:cubicBezTo>
                  <a:pt x="8" y="235"/>
                  <a:pt x="8" y="235"/>
                  <a:pt x="8" y="235"/>
                </a:cubicBezTo>
                <a:cubicBezTo>
                  <a:pt x="7" y="233"/>
                  <a:pt x="7" y="233"/>
                  <a:pt x="7" y="233"/>
                </a:cubicBezTo>
                <a:cubicBezTo>
                  <a:pt x="7" y="233"/>
                  <a:pt x="7" y="233"/>
                  <a:pt x="7" y="233"/>
                </a:cubicBezTo>
                <a:cubicBezTo>
                  <a:pt x="7" y="232"/>
                  <a:pt x="7" y="232"/>
                  <a:pt x="7" y="232"/>
                </a:cubicBezTo>
                <a:cubicBezTo>
                  <a:pt x="5" y="232"/>
                  <a:pt x="5" y="232"/>
                  <a:pt x="5" y="232"/>
                </a:cubicBezTo>
                <a:cubicBezTo>
                  <a:pt x="5" y="231"/>
                  <a:pt x="5" y="231"/>
                  <a:pt x="5" y="231"/>
                </a:cubicBezTo>
                <a:close/>
                <a:moveTo>
                  <a:pt x="5" y="233"/>
                </a:moveTo>
                <a:cubicBezTo>
                  <a:pt x="6" y="233"/>
                  <a:pt x="6" y="233"/>
                  <a:pt x="6" y="233"/>
                </a:cubicBezTo>
                <a:cubicBezTo>
                  <a:pt x="7" y="233"/>
                  <a:pt x="7" y="233"/>
                  <a:pt x="7" y="233"/>
                </a:cubicBezTo>
                <a:cubicBezTo>
                  <a:pt x="7" y="234"/>
                  <a:pt x="7" y="234"/>
                  <a:pt x="7" y="234"/>
                </a:cubicBezTo>
                <a:cubicBezTo>
                  <a:pt x="7" y="235"/>
                  <a:pt x="7" y="235"/>
                  <a:pt x="7" y="235"/>
                </a:cubicBezTo>
                <a:cubicBezTo>
                  <a:pt x="6" y="235"/>
                  <a:pt x="6" y="235"/>
                  <a:pt x="6" y="235"/>
                </a:cubicBezTo>
                <a:cubicBezTo>
                  <a:pt x="6" y="235"/>
                  <a:pt x="6" y="235"/>
                  <a:pt x="6" y="235"/>
                </a:cubicBezTo>
                <a:cubicBezTo>
                  <a:pt x="5" y="234"/>
                  <a:pt x="5" y="234"/>
                  <a:pt x="5" y="234"/>
                </a:cubicBezTo>
                <a:cubicBezTo>
                  <a:pt x="5" y="233"/>
                  <a:pt x="5" y="233"/>
                  <a:pt x="5" y="233"/>
                </a:cubicBezTo>
                <a:close/>
                <a:moveTo>
                  <a:pt x="8" y="240"/>
                </a:moveTo>
                <a:cubicBezTo>
                  <a:pt x="7" y="240"/>
                  <a:pt x="7" y="240"/>
                  <a:pt x="7" y="240"/>
                </a:cubicBezTo>
                <a:cubicBezTo>
                  <a:pt x="7" y="239"/>
                  <a:pt x="7" y="239"/>
                  <a:pt x="7" y="239"/>
                </a:cubicBezTo>
                <a:cubicBezTo>
                  <a:pt x="7" y="237"/>
                  <a:pt x="7" y="237"/>
                  <a:pt x="7" y="237"/>
                </a:cubicBezTo>
                <a:cubicBezTo>
                  <a:pt x="7" y="236"/>
                  <a:pt x="7" y="236"/>
                  <a:pt x="7" y="236"/>
                </a:cubicBezTo>
                <a:cubicBezTo>
                  <a:pt x="7" y="237"/>
                  <a:pt x="7" y="237"/>
                  <a:pt x="7" y="237"/>
                </a:cubicBezTo>
                <a:cubicBezTo>
                  <a:pt x="9" y="237"/>
                  <a:pt x="9" y="237"/>
                  <a:pt x="9" y="237"/>
                </a:cubicBezTo>
                <a:cubicBezTo>
                  <a:pt x="9" y="238"/>
                  <a:pt x="9" y="238"/>
                  <a:pt x="9" y="238"/>
                </a:cubicBezTo>
                <a:cubicBezTo>
                  <a:pt x="9" y="238"/>
                  <a:pt x="9" y="238"/>
                  <a:pt x="9" y="238"/>
                </a:cubicBezTo>
                <a:cubicBezTo>
                  <a:pt x="8" y="240"/>
                  <a:pt x="8" y="240"/>
                  <a:pt x="8" y="240"/>
                </a:cubicBezTo>
                <a:close/>
                <a:moveTo>
                  <a:pt x="9" y="245"/>
                </a:moveTo>
                <a:cubicBezTo>
                  <a:pt x="8" y="245"/>
                  <a:pt x="8" y="245"/>
                  <a:pt x="8" y="245"/>
                </a:cubicBezTo>
                <a:cubicBezTo>
                  <a:pt x="8" y="245"/>
                  <a:pt x="8" y="245"/>
                  <a:pt x="8" y="245"/>
                </a:cubicBezTo>
                <a:cubicBezTo>
                  <a:pt x="8" y="244"/>
                  <a:pt x="8" y="244"/>
                  <a:pt x="8" y="244"/>
                </a:cubicBezTo>
                <a:cubicBezTo>
                  <a:pt x="7" y="243"/>
                  <a:pt x="7" y="243"/>
                  <a:pt x="7" y="243"/>
                </a:cubicBezTo>
                <a:cubicBezTo>
                  <a:pt x="9" y="243"/>
                  <a:pt x="9" y="243"/>
                  <a:pt x="9" y="243"/>
                </a:cubicBezTo>
                <a:cubicBezTo>
                  <a:pt x="10" y="244"/>
                  <a:pt x="10" y="244"/>
                  <a:pt x="10" y="244"/>
                </a:cubicBezTo>
                <a:cubicBezTo>
                  <a:pt x="9" y="245"/>
                  <a:pt x="9" y="245"/>
                  <a:pt x="9" y="245"/>
                </a:cubicBezTo>
                <a:close/>
                <a:moveTo>
                  <a:pt x="12" y="244"/>
                </a:moveTo>
                <a:cubicBezTo>
                  <a:pt x="12" y="246"/>
                  <a:pt x="12" y="246"/>
                  <a:pt x="12" y="246"/>
                </a:cubicBezTo>
                <a:cubicBezTo>
                  <a:pt x="12" y="246"/>
                  <a:pt x="12" y="246"/>
                  <a:pt x="12" y="246"/>
                </a:cubicBezTo>
                <a:cubicBezTo>
                  <a:pt x="10" y="245"/>
                  <a:pt x="10" y="245"/>
                  <a:pt x="10" y="245"/>
                </a:cubicBezTo>
                <a:cubicBezTo>
                  <a:pt x="10" y="244"/>
                  <a:pt x="10" y="244"/>
                  <a:pt x="10" y="244"/>
                </a:cubicBezTo>
                <a:cubicBezTo>
                  <a:pt x="9" y="241"/>
                  <a:pt x="9" y="241"/>
                  <a:pt x="9" y="241"/>
                </a:cubicBezTo>
                <a:cubicBezTo>
                  <a:pt x="10" y="241"/>
                  <a:pt x="10" y="241"/>
                  <a:pt x="10" y="241"/>
                </a:cubicBezTo>
                <a:cubicBezTo>
                  <a:pt x="11" y="240"/>
                  <a:pt x="11" y="240"/>
                  <a:pt x="11" y="240"/>
                </a:cubicBezTo>
                <a:cubicBezTo>
                  <a:pt x="11" y="239"/>
                  <a:pt x="11" y="239"/>
                  <a:pt x="11" y="239"/>
                </a:cubicBezTo>
                <a:cubicBezTo>
                  <a:pt x="11" y="240"/>
                  <a:pt x="11" y="240"/>
                  <a:pt x="11" y="240"/>
                </a:cubicBezTo>
                <a:cubicBezTo>
                  <a:pt x="10" y="240"/>
                  <a:pt x="10" y="240"/>
                  <a:pt x="10" y="240"/>
                </a:cubicBezTo>
                <a:cubicBezTo>
                  <a:pt x="10" y="239"/>
                  <a:pt x="10" y="239"/>
                  <a:pt x="10" y="239"/>
                </a:cubicBezTo>
                <a:cubicBezTo>
                  <a:pt x="10" y="238"/>
                  <a:pt x="10" y="238"/>
                  <a:pt x="10" y="238"/>
                </a:cubicBezTo>
                <a:cubicBezTo>
                  <a:pt x="9" y="237"/>
                  <a:pt x="9" y="237"/>
                  <a:pt x="9" y="237"/>
                </a:cubicBezTo>
                <a:cubicBezTo>
                  <a:pt x="9" y="236"/>
                  <a:pt x="9" y="236"/>
                  <a:pt x="9" y="236"/>
                </a:cubicBezTo>
                <a:cubicBezTo>
                  <a:pt x="10" y="235"/>
                  <a:pt x="10" y="235"/>
                  <a:pt x="10" y="235"/>
                </a:cubicBezTo>
                <a:cubicBezTo>
                  <a:pt x="12" y="235"/>
                  <a:pt x="12" y="235"/>
                  <a:pt x="12" y="235"/>
                </a:cubicBezTo>
                <a:cubicBezTo>
                  <a:pt x="13" y="236"/>
                  <a:pt x="13" y="236"/>
                  <a:pt x="13" y="236"/>
                </a:cubicBezTo>
                <a:cubicBezTo>
                  <a:pt x="13" y="239"/>
                  <a:pt x="13" y="239"/>
                  <a:pt x="13" y="239"/>
                </a:cubicBezTo>
                <a:cubicBezTo>
                  <a:pt x="14" y="240"/>
                  <a:pt x="14" y="240"/>
                  <a:pt x="14" y="240"/>
                </a:cubicBezTo>
                <a:cubicBezTo>
                  <a:pt x="14" y="242"/>
                  <a:pt x="14" y="242"/>
                  <a:pt x="14" y="242"/>
                </a:cubicBezTo>
                <a:cubicBezTo>
                  <a:pt x="14" y="243"/>
                  <a:pt x="14" y="243"/>
                  <a:pt x="14" y="243"/>
                </a:cubicBezTo>
                <a:cubicBezTo>
                  <a:pt x="15" y="245"/>
                  <a:pt x="15" y="245"/>
                  <a:pt x="15" y="245"/>
                </a:cubicBezTo>
                <a:cubicBezTo>
                  <a:pt x="15" y="246"/>
                  <a:pt x="15" y="246"/>
                  <a:pt x="15" y="246"/>
                </a:cubicBezTo>
                <a:cubicBezTo>
                  <a:pt x="14" y="247"/>
                  <a:pt x="14" y="247"/>
                  <a:pt x="14" y="247"/>
                </a:cubicBezTo>
                <a:cubicBezTo>
                  <a:pt x="13" y="247"/>
                  <a:pt x="13" y="247"/>
                  <a:pt x="13" y="247"/>
                </a:cubicBezTo>
                <a:cubicBezTo>
                  <a:pt x="13" y="245"/>
                  <a:pt x="13" y="245"/>
                  <a:pt x="13" y="245"/>
                </a:cubicBezTo>
                <a:cubicBezTo>
                  <a:pt x="12" y="244"/>
                  <a:pt x="12" y="244"/>
                  <a:pt x="12" y="244"/>
                </a:cubicBezTo>
                <a:close/>
                <a:moveTo>
                  <a:pt x="11" y="251"/>
                </a:moveTo>
                <a:cubicBezTo>
                  <a:pt x="11" y="250"/>
                  <a:pt x="11" y="250"/>
                  <a:pt x="11" y="250"/>
                </a:cubicBezTo>
                <a:cubicBezTo>
                  <a:pt x="10" y="249"/>
                  <a:pt x="10" y="249"/>
                  <a:pt x="10" y="249"/>
                </a:cubicBezTo>
                <a:cubicBezTo>
                  <a:pt x="11" y="249"/>
                  <a:pt x="11" y="249"/>
                  <a:pt x="11" y="249"/>
                </a:cubicBezTo>
                <a:cubicBezTo>
                  <a:pt x="11" y="248"/>
                  <a:pt x="11" y="248"/>
                  <a:pt x="11" y="248"/>
                </a:cubicBezTo>
                <a:cubicBezTo>
                  <a:pt x="11" y="248"/>
                  <a:pt x="11" y="248"/>
                  <a:pt x="11" y="248"/>
                </a:cubicBezTo>
                <a:cubicBezTo>
                  <a:pt x="12" y="248"/>
                  <a:pt x="12" y="248"/>
                  <a:pt x="12" y="248"/>
                </a:cubicBezTo>
                <a:cubicBezTo>
                  <a:pt x="13" y="248"/>
                  <a:pt x="13" y="248"/>
                  <a:pt x="13" y="248"/>
                </a:cubicBezTo>
                <a:cubicBezTo>
                  <a:pt x="13" y="249"/>
                  <a:pt x="13" y="249"/>
                  <a:pt x="13" y="249"/>
                </a:cubicBezTo>
                <a:cubicBezTo>
                  <a:pt x="13" y="250"/>
                  <a:pt x="13" y="250"/>
                  <a:pt x="13" y="250"/>
                </a:cubicBezTo>
                <a:cubicBezTo>
                  <a:pt x="12" y="251"/>
                  <a:pt x="12" y="251"/>
                  <a:pt x="12" y="251"/>
                </a:cubicBezTo>
                <a:cubicBezTo>
                  <a:pt x="11" y="251"/>
                  <a:pt x="11" y="251"/>
                  <a:pt x="11" y="251"/>
                </a:cubicBezTo>
                <a:close/>
                <a:moveTo>
                  <a:pt x="11" y="253"/>
                </a:moveTo>
                <a:cubicBezTo>
                  <a:pt x="11" y="252"/>
                  <a:pt x="11" y="252"/>
                  <a:pt x="11" y="252"/>
                </a:cubicBezTo>
                <a:cubicBezTo>
                  <a:pt x="12" y="252"/>
                  <a:pt x="12" y="252"/>
                  <a:pt x="12" y="252"/>
                </a:cubicBezTo>
                <a:cubicBezTo>
                  <a:pt x="11" y="252"/>
                  <a:pt x="11" y="252"/>
                  <a:pt x="11" y="252"/>
                </a:cubicBezTo>
                <a:cubicBezTo>
                  <a:pt x="11" y="253"/>
                  <a:pt x="11" y="253"/>
                  <a:pt x="11" y="253"/>
                </a:cubicBezTo>
                <a:close/>
                <a:moveTo>
                  <a:pt x="13" y="252"/>
                </a:moveTo>
                <a:cubicBezTo>
                  <a:pt x="14" y="253"/>
                  <a:pt x="14" y="253"/>
                  <a:pt x="14" y="253"/>
                </a:cubicBezTo>
                <a:cubicBezTo>
                  <a:pt x="14" y="254"/>
                  <a:pt x="14" y="254"/>
                  <a:pt x="14" y="254"/>
                </a:cubicBezTo>
                <a:cubicBezTo>
                  <a:pt x="13" y="254"/>
                  <a:pt x="13" y="254"/>
                  <a:pt x="13" y="254"/>
                </a:cubicBezTo>
                <a:cubicBezTo>
                  <a:pt x="13" y="253"/>
                  <a:pt x="13" y="253"/>
                  <a:pt x="13" y="253"/>
                </a:cubicBezTo>
                <a:cubicBezTo>
                  <a:pt x="13" y="252"/>
                  <a:pt x="13" y="252"/>
                  <a:pt x="13" y="252"/>
                </a:cubicBezTo>
                <a:close/>
                <a:moveTo>
                  <a:pt x="14" y="251"/>
                </a:moveTo>
                <a:cubicBezTo>
                  <a:pt x="14" y="251"/>
                  <a:pt x="14" y="251"/>
                  <a:pt x="14" y="251"/>
                </a:cubicBezTo>
                <a:cubicBezTo>
                  <a:pt x="15" y="251"/>
                  <a:pt x="15" y="251"/>
                  <a:pt x="15" y="251"/>
                </a:cubicBezTo>
                <a:cubicBezTo>
                  <a:pt x="16" y="251"/>
                  <a:pt x="16" y="251"/>
                  <a:pt x="16" y="251"/>
                </a:cubicBezTo>
                <a:cubicBezTo>
                  <a:pt x="16" y="251"/>
                  <a:pt x="16" y="251"/>
                  <a:pt x="16" y="251"/>
                </a:cubicBezTo>
                <a:cubicBezTo>
                  <a:pt x="17" y="253"/>
                  <a:pt x="17" y="253"/>
                  <a:pt x="17" y="253"/>
                </a:cubicBezTo>
                <a:cubicBezTo>
                  <a:pt x="18" y="255"/>
                  <a:pt x="18" y="255"/>
                  <a:pt x="18" y="255"/>
                </a:cubicBezTo>
                <a:cubicBezTo>
                  <a:pt x="16" y="253"/>
                  <a:pt x="16" y="253"/>
                  <a:pt x="16" y="253"/>
                </a:cubicBezTo>
                <a:cubicBezTo>
                  <a:pt x="15" y="253"/>
                  <a:pt x="15" y="253"/>
                  <a:pt x="15" y="253"/>
                </a:cubicBezTo>
                <a:cubicBezTo>
                  <a:pt x="14" y="251"/>
                  <a:pt x="14" y="251"/>
                  <a:pt x="14" y="251"/>
                </a:cubicBezTo>
                <a:close/>
                <a:moveTo>
                  <a:pt x="14" y="253"/>
                </a:moveTo>
                <a:cubicBezTo>
                  <a:pt x="15" y="253"/>
                  <a:pt x="15" y="253"/>
                  <a:pt x="15" y="253"/>
                </a:cubicBezTo>
                <a:cubicBezTo>
                  <a:pt x="16" y="254"/>
                  <a:pt x="16" y="254"/>
                  <a:pt x="16" y="254"/>
                </a:cubicBezTo>
                <a:cubicBezTo>
                  <a:pt x="17" y="256"/>
                  <a:pt x="17" y="256"/>
                  <a:pt x="17" y="256"/>
                </a:cubicBezTo>
                <a:cubicBezTo>
                  <a:pt x="17" y="257"/>
                  <a:pt x="17" y="257"/>
                  <a:pt x="17" y="257"/>
                </a:cubicBezTo>
                <a:cubicBezTo>
                  <a:pt x="16" y="257"/>
                  <a:pt x="16" y="257"/>
                  <a:pt x="16" y="257"/>
                </a:cubicBezTo>
                <a:cubicBezTo>
                  <a:pt x="14" y="255"/>
                  <a:pt x="14" y="255"/>
                  <a:pt x="14" y="255"/>
                </a:cubicBezTo>
                <a:cubicBezTo>
                  <a:pt x="14" y="253"/>
                  <a:pt x="14" y="253"/>
                  <a:pt x="14" y="253"/>
                </a:cubicBezTo>
                <a:close/>
                <a:moveTo>
                  <a:pt x="15" y="260"/>
                </a:moveTo>
                <a:cubicBezTo>
                  <a:pt x="14" y="260"/>
                  <a:pt x="14" y="260"/>
                  <a:pt x="14" y="260"/>
                </a:cubicBezTo>
                <a:cubicBezTo>
                  <a:pt x="13" y="259"/>
                  <a:pt x="13" y="259"/>
                  <a:pt x="13" y="259"/>
                </a:cubicBezTo>
                <a:cubicBezTo>
                  <a:pt x="14" y="259"/>
                  <a:pt x="14" y="259"/>
                  <a:pt x="14" y="259"/>
                </a:cubicBezTo>
                <a:cubicBezTo>
                  <a:pt x="14" y="258"/>
                  <a:pt x="14" y="258"/>
                  <a:pt x="14" y="258"/>
                </a:cubicBezTo>
                <a:cubicBezTo>
                  <a:pt x="13" y="257"/>
                  <a:pt x="13" y="257"/>
                  <a:pt x="13" y="257"/>
                </a:cubicBezTo>
                <a:cubicBezTo>
                  <a:pt x="14" y="256"/>
                  <a:pt x="14" y="256"/>
                  <a:pt x="14" y="256"/>
                </a:cubicBezTo>
                <a:cubicBezTo>
                  <a:pt x="15" y="257"/>
                  <a:pt x="15" y="257"/>
                  <a:pt x="15" y="257"/>
                </a:cubicBezTo>
                <a:cubicBezTo>
                  <a:pt x="16" y="257"/>
                  <a:pt x="16" y="257"/>
                  <a:pt x="16" y="257"/>
                </a:cubicBezTo>
                <a:cubicBezTo>
                  <a:pt x="18" y="258"/>
                  <a:pt x="18" y="258"/>
                  <a:pt x="18" y="258"/>
                </a:cubicBezTo>
                <a:cubicBezTo>
                  <a:pt x="18" y="259"/>
                  <a:pt x="18" y="259"/>
                  <a:pt x="18" y="259"/>
                </a:cubicBezTo>
                <a:cubicBezTo>
                  <a:pt x="17" y="259"/>
                  <a:pt x="17" y="259"/>
                  <a:pt x="17" y="259"/>
                </a:cubicBezTo>
                <a:cubicBezTo>
                  <a:pt x="17" y="259"/>
                  <a:pt x="17" y="259"/>
                  <a:pt x="17" y="259"/>
                </a:cubicBezTo>
                <a:cubicBezTo>
                  <a:pt x="15" y="260"/>
                  <a:pt x="15" y="260"/>
                  <a:pt x="15" y="260"/>
                </a:cubicBezTo>
                <a:close/>
                <a:moveTo>
                  <a:pt x="17" y="265"/>
                </a:moveTo>
                <a:cubicBezTo>
                  <a:pt x="16" y="265"/>
                  <a:pt x="16" y="265"/>
                  <a:pt x="16" y="265"/>
                </a:cubicBezTo>
                <a:cubicBezTo>
                  <a:pt x="15" y="264"/>
                  <a:pt x="15" y="264"/>
                  <a:pt x="15" y="264"/>
                </a:cubicBezTo>
                <a:cubicBezTo>
                  <a:pt x="15" y="263"/>
                  <a:pt x="15" y="263"/>
                  <a:pt x="15" y="263"/>
                </a:cubicBezTo>
                <a:cubicBezTo>
                  <a:pt x="15" y="263"/>
                  <a:pt x="15" y="263"/>
                  <a:pt x="15" y="263"/>
                </a:cubicBezTo>
                <a:cubicBezTo>
                  <a:pt x="16" y="262"/>
                  <a:pt x="16" y="262"/>
                  <a:pt x="16" y="262"/>
                </a:cubicBezTo>
                <a:cubicBezTo>
                  <a:pt x="16" y="262"/>
                  <a:pt x="16" y="262"/>
                  <a:pt x="16" y="262"/>
                </a:cubicBezTo>
                <a:cubicBezTo>
                  <a:pt x="15" y="261"/>
                  <a:pt x="15" y="261"/>
                  <a:pt x="15" y="261"/>
                </a:cubicBezTo>
                <a:cubicBezTo>
                  <a:pt x="16" y="261"/>
                  <a:pt x="16" y="261"/>
                  <a:pt x="16" y="261"/>
                </a:cubicBezTo>
                <a:cubicBezTo>
                  <a:pt x="17" y="262"/>
                  <a:pt x="17" y="262"/>
                  <a:pt x="17" y="262"/>
                </a:cubicBezTo>
                <a:cubicBezTo>
                  <a:pt x="17" y="263"/>
                  <a:pt x="17" y="263"/>
                  <a:pt x="17" y="263"/>
                </a:cubicBezTo>
                <a:cubicBezTo>
                  <a:pt x="16" y="264"/>
                  <a:pt x="16" y="264"/>
                  <a:pt x="16" y="264"/>
                </a:cubicBezTo>
                <a:cubicBezTo>
                  <a:pt x="17" y="265"/>
                  <a:pt x="17" y="265"/>
                  <a:pt x="17" y="265"/>
                </a:cubicBezTo>
                <a:close/>
                <a:moveTo>
                  <a:pt x="17" y="263"/>
                </a:moveTo>
                <a:cubicBezTo>
                  <a:pt x="17" y="262"/>
                  <a:pt x="17" y="262"/>
                  <a:pt x="17" y="262"/>
                </a:cubicBezTo>
                <a:cubicBezTo>
                  <a:pt x="18" y="262"/>
                  <a:pt x="18" y="262"/>
                  <a:pt x="18" y="262"/>
                </a:cubicBezTo>
                <a:cubicBezTo>
                  <a:pt x="18" y="262"/>
                  <a:pt x="18" y="262"/>
                  <a:pt x="18" y="262"/>
                </a:cubicBezTo>
                <a:cubicBezTo>
                  <a:pt x="19" y="263"/>
                  <a:pt x="19" y="263"/>
                  <a:pt x="19" y="263"/>
                </a:cubicBezTo>
                <a:cubicBezTo>
                  <a:pt x="19" y="264"/>
                  <a:pt x="19" y="264"/>
                  <a:pt x="19" y="264"/>
                </a:cubicBezTo>
                <a:cubicBezTo>
                  <a:pt x="18" y="265"/>
                  <a:pt x="18" y="265"/>
                  <a:pt x="18" y="265"/>
                </a:cubicBezTo>
                <a:cubicBezTo>
                  <a:pt x="18" y="265"/>
                  <a:pt x="18" y="265"/>
                  <a:pt x="18" y="265"/>
                </a:cubicBezTo>
                <a:cubicBezTo>
                  <a:pt x="17" y="264"/>
                  <a:pt x="17" y="264"/>
                  <a:pt x="17" y="264"/>
                </a:cubicBezTo>
                <a:cubicBezTo>
                  <a:pt x="17" y="264"/>
                  <a:pt x="17" y="264"/>
                  <a:pt x="17" y="264"/>
                </a:cubicBezTo>
                <a:cubicBezTo>
                  <a:pt x="17" y="263"/>
                  <a:pt x="17" y="263"/>
                  <a:pt x="17" y="263"/>
                </a:cubicBezTo>
                <a:close/>
                <a:moveTo>
                  <a:pt x="19" y="263"/>
                </a:moveTo>
                <a:cubicBezTo>
                  <a:pt x="20" y="264"/>
                  <a:pt x="20" y="264"/>
                  <a:pt x="20" y="264"/>
                </a:cubicBezTo>
                <a:cubicBezTo>
                  <a:pt x="21" y="265"/>
                  <a:pt x="21" y="265"/>
                  <a:pt x="21" y="265"/>
                </a:cubicBezTo>
                <a:cubicBezTo>
                  <a:pt x="20" y="265"/>
                  <a:pt x="20" y="265"/>
                  <a:pt x="20" y="265"/>
                </a:cubicBezTo>
                <a:cubicBezTo>
                  <a:pt x="19" y="264"/>
                  <a:pt x="19" y="264"/>
                  <a:pt x="19" y="264"/>
                </a:cubicBezTo>
                <a:cubicBezTo>
                  <a:pt x="19" y="263"/>
                  <a:pt x="19" y="263"/>
                  <a:pt x="19" y="263"/>
                </a:cubicBezTo>
                <a:close/>
                <a:moveTo>
                  <a:pt x="19" y="268"/>
                </a:moveTo>
                <a:cubicBezTo>
                  <a:pt x="18" y="268"/>
                  <a:pt x="18" y="268"/>
                  <a:pt x="18" y="268"/>
                </a:cubicBezTo>
                <a:cubicBezTo>
                  <a:pt x="18" y="267"/>
                  <a:pt x="18" y="267"/>
                  <a:pt x="18" y="267"/>
                </a:cubicBezTo>
                <a:cubicBezTo>
                  <a:pt x="18" y="267"/>
                  <a:pt x="18" y="267"/>
                  <a:pt x="18" y="267"/>
                </a:cubicBezTo>
                <a:cubicBezTo>
                  <a:pt x="18" y="266"/>
                  <a:pt x="18" y="266"/>
                  <a:pt x="18" y="266"/>
                </a:cubicBezTo>
                <a:cubicBezTo>
                  <a:pt x="19" y="265"/>
                  <a:pt x="19" y="265"/>
                  <a:pt x="19" y="265"/>
                </a:cubicBezTo>
                <a:cubicBezTo>
                  <a:pt x="19" y="266"/>
                  <a:pt x="19" y="266"/>
                  <a:pt x="19" y="266"/>
                </a:cubicBezTo>
                <a:cubicBezTo>
                  <a:pt x="19" y="268"/>
                  <a:pt x="19" y="268"/>
                  <a:pt x="19" y="268"/>
                </a:cubicBezTo>
                <a:close/>
                <a:moveTo>
                  <a:pt x="22" y="264"/>
                </a:moveTo>
                <a:cubicBezTo>
                  <a:pt x="21" y="264"/>
                  <a:pt x="21" y="264"/>
                  <a:pt x="21" y="264"/>
                </a:cubicBezTo>
                <a:cubicBezTo>
                  <a:pt x="20" y="263"/>
                  <a:pt x="20" y="263"/>
                  <a:pt x="20" y="263"/>
                </a:cubicBezTo>
                <a:cubicBezTo>
                  <a:pt x="20" y="261"/>
                  <a:pt x="20" y="261"/>
                  <a:pt x="20" y="261"/>
                </a:cubicBezTo>
                <a:cubicBezTo>
                  <a:pt x="21" y="261"/>
                  <a:pt x="21" y="261"/>
                  <a:pt x="21" y="261"/>
                </a:cubicBezTo>
                <a:cubicBezTo>
                  <a:pt x="21" y="262"/>
                  <a:pt x="21" y="262"/>
                  <a:pt x="21" y="262"/>
                </a:cubicBezTo>
                <a:cubicBezTo>
                  <a:pt x="22" y="264"/>
                  <a:pt x="22" y="264"/>
                  <a:pt x="22" y="264"/>
                </a:cubicBezTo>
                <a:cubicBezTo>
                  <a:pt x="23" y="264"/>
                  <a:pt x="23" y="264"/>
                  <a:pt x="23" y="264"/>
                </a:cubicBezTo>
                <a:cubicBezTo>
                  <a:pt x="22" y="264"/>
                  <a:pt x="22" y="264"/>
                  <a:pt x="22" y="264"/>
                </a:cubicBezTo>
                <a:close/>
                <a:moveTo>
                  <a:pt x="22" y="266"/>
                </a:moveTo>
                <a:cubicBezTo>
                  <a:pt x="21" y="265"/>
                  <a:pt x="21" y="265"/>
                  <a:pt x="21" y="265"/>
                </a:cubicBezTo>
                <a:cubicBezTo>
                  <a:pt x="21" y="265"/>
                  <a:pt x="21" y="265"/>
                  <a:pt x="21" y="265"/>
                </a:cubicBezTo>
                <a:cubicBezTo>
                  <a:pt x="22" y="265"/>
                  <a:pt x="22" y="265"/>
                  <a:pt x="22" y="265"/>
                </a:cubicBezTo>
                <a:cubicBezTo>
                  <a:pt x="23" y="266"/>
                  <a:pt x="23" y="266"/>
                  <a:pt x="23" y="266"/>
                </a:cubicBezTo>
                <a:cubicBezTo>
                  <a:pt x="22" y="266"/>
                  <a:pt x="22" y="266"/>
                  <a:pt x="22" y="266"/>
                </a:cubicBezTo>
                <a:close/>
                <a:moveTo>
                  <a:pt x="23" y="269"/>
                </a:moveTo>
                <a:cubicBezTo>
                  <a:pt x="21" y="267"/>
                  <a:pt x="21" y="267"/>
                  <a:pt x="21" y="267"/>
                </a:cubicBezTo>
                <a:cubicBezTo>
                  <a:pt x="21" y="266"/>
                  <a:pt x="21" y="266"/>
                  <a:pt x="21" y="266"/>
                </a:cubicBezTo>
                <a:cubicBezTo>
                  <a:pt x="21" y="266"/>
                  <a:pt x="21" y="266"/>
                  <a:pt x="21" y="266"/>
                </a:cubicBezTo>
                <a:cubicBezTo>
                  <a:pt x="23" y="267"/>
                  <a:pt x="23" y="267"/>
                  <a:pt x="23" y="267"/>
                </a:cubicBezTo>
                <a:cubicBezTo>
                  <a:pt x="23" y="268"/>
                  <a:pt x="23" y="268"/>
                  <a:pt x="23" y="268"/>
                </a:cubicBezTo>
                <a:cubicBezTo>
                  <a:pt x="23" y="269"/>
                  <a:pt x="23" y="269"/>
                  <a:pt x="23" y="269"/>
                </a:cubicBezTo>
                <a:close/>
                <a:moveTo>
                  <a:pt x="24" y="271"/>
                </a:moveTo>
                <a:cubicBezTo>
                  <a:pt x="23" y="271"/>
                  <a:pt x="23" y="271"/>
                  <a:pt x="23" y="271"/>
                </a:cubicBezTo>
                <a:cubicBezTo>
                  <a:pt x="23" y="271"/>
                  <a:pt x="23" y="271"/>
                  <a:pt x="23" y="271"/>
                </a:cubicBezTo>
                <a:cubicBezTo>
                  <a:pt x="23" y="270"/>
                  <a:pt x="23" y="270"/>
                  <a:pt x="23" y="270"/>
                </a:cubicBezTo>
                <a:cubicBezTo>
                  <a:pt x="21" y="270"/>
                  <a:pt x="21" y="270"/>
                  <a:pt x="21" y="270"/>
                </a:cubicBezTo>
                <a:cubicBezTo>
                  <a:pt x="21" y="270"/>
                  <a:pt x="21" y="270"/>
                  <a:pt x="21" y="270"/>
                </a:cubicBezTo>
                <a:cubicBezTo>
                  <a:pt x="22" y="269"/>
                  <a:pt x="22" y="269"/>
                  <a:pt x="22" y="269"/>
                </a:cubicBezTo>
                <a:cubicBezTo>
                  <a:pt x="23" y="269"/>
                  <a:pt x="23" y="269"/>
                  <a:pt x="23" y="269"/>
                </a:cubicBezTo>
                <a:cubicBezTo>
                  <a:pt x="24" y="269"/>
                  <a:pt x="24" y="269"/>
                  <a:pt x="24" y="269"/>
                </a:cubicBezTo>
                <a:cubicBezTo>
                  <a:pt x="25" y="270"/>
                  <a:pt x="25" y="270"/>
                  <a:pt x="25" y="270"/>
                </a:cubicBezTo>
                <a:cubicBezTo>
                  <a:pt x="24" y="271"/>
                  <a:pt x="24" y="271"/>
                  <a:pt x="24" y="271"/>
                </a:cubicBezTo>
                <a:close/>
                <a:moveTo>
                  <a:pt x="28" y="278"/>
                </a:moveTo>
                <a:cubicBezTo>
                  <a:pt x="26" y="277"/>
                  <a:pt x="26" y="277"/>
                  <a:pt x="26" y="277"/>
                </a:cubicBezTo>
                <a:cubicBezTo>
                  <a:pt x="26" y="277"/>
                  <a:pt x="26" y="277"/>
                  <a:pt x="26" y="277"/>
                </a:cubicBezTo>
                <a:cubicBezTo>
                  <a:pt x="25" y="277"/>
                  <a:pt x="25" y="277"/>
                  <a:pt x="25" y="277"/>
                </a:cubicBezTo>
                <a:cubicBezTo>
                  <a:pt x="24" y="277"/>
                  <a:pt x="24" y="277"/>
                  <a:pt x="24" y="277"/>
                </a:cubicBezTo>
                <a:cubicBezTo>
                  <a:pt x="22" y="276"/>
                  <a:pt x="22" y="276"/>
                  <a:pt x="22" y="276"/>
                </a:cubicBezTo>
                <a:cubicBezTo>
                  <a:pt x="21" y="276"/>
                  <a:pt x="21" y="276"/>
                  <a:pt x="21" y="276"/>
                </a:cubicBezTo>
                <a:cubicBezTo>
                  <a:pt x="20" y="274"/>
                  <a:pt x="20" y="274"/>
                  <a:pt x="20" y="274"/>
                </a:cubicBezTo>
                <a:cubicBezTo>
                  <a:pt x="20" y="273"/>
                  <a:pt x="20" y="273"/>
                  <a:pt x="20" y="273"/>
                </a:cubicBezTo>
                <a:cubicBezTo>
                  <a:pt x="20" y="272"/>
                  <a:pt x="20" y="272"/>
                  <a:pt x="20" y="272"/>
                </a:cubicBezTo>
                <a:cubicBezTo>
                  <a:pt x="21" y="273"/>
                  <a:pt x="21" y="273"/>
                  <a:pt x="21" y="273"/>
                </a:cubicBezTo>
                <a:cubicBezTo>
                  <a:pt x="22" y="274"/>
                  <a:pt x="22" y="274"/>
                  <a:pt x="22" y="274"/>
                </a:cubicBezTo>
                <a:cubicBezTo>
                  <a:pt x="23" y="275"/>
                  <a:pt x="23" y="275"/>
                  <a:pt x="23" y="275"/>
                </a:cubicBezTo>
                <a:cubicBezTo>
                  <a:pt x="24" y="275"/>
                  <a:pt x="24" y="275"/>
                  <a:pt x="24" y="275"/>
                </a:cubicBezTo>
                <a:cubicBezTo>
                  <a:pt x="25" y="275"/>
                  <a:pt x="25" y="275"/>
                  <a:pt x="25" y="275"/>
                </a:cubicBezTo>
                <a:cubicBezTo>
                  <a:pt x="26" y="276"/>
                  <a:pt x="26" y="276"/>
                  <a:pt x="26" y="276"/>
                </a:cubicBezTo>
                <a:cubicBezTo>
                  <a:pt x="28" y="276"/>
                  <a:pt x="28" y="276"/>
                  <a:pt x="28" y="276"/>
                </a:cubicBezTo>
                <a:cubicBezTo>
                  <a:pt x="28" y="276"/>
                  <a:pt x="28" y="276"/>
                  <a:pt x="28" y="276"/>
                </a:cubicBezTo>
                <a:cubicBezTo>
                  <a:pt x="29" y="277"/>
                  <a:pt x="29" y="277"/>
                  <a:pt x="29" y="277"/>
                </a:cubicBezTo>
                <a:cubicBezTo>
                  <a:pt x="30" y="277"/>
                  <a:pt x="30" y="277"/>
                  <a:pt x="30" y="277"/>
                </a:cubicBezTo>
                <a:cubicBezTo>
                  <a:pt x="30" y="278"/>
                  <a:pt x="30" y="278"/>
                  <a:pt x="30" y="278"/>
                </a:cubicBezTo>
                <a:cubicBezTo>
                  <a:pt x="30" y="278"/>
                  <a:pt x="30" y="278"/>
                  <a:pt x="30" y="278"/>
                </a:cubicBezTo>
                <a:cubicBezTo>
                  <a:pt x="29" y="278"/>
                  <a:pt x="29" y="278"/>
                  <a:pt x="29" y="278"/>
                </a:cubicBezTo>
                <a:cubicBezTo>
                  <a:pt x="28" y="278"/>
                  <a:pt x="28" y="278"/>
                  <a:pt x="28" y="278"/>
                </a:cubicBezTo>
                <a:close/>
                <a:moveTo>
                  <a:pt x="24" y="278"/>
                </a:moveTo>
                <a:cubicBezTo>
                  <a:pt x="24" y="278"/>
                  <a:pt x="25" y="279"/>
                  <a:pt x="25" y="279"/>
                </a:cubicBezTo>
                <a:cubicBezTo>
                  <a:pt x="23" y="279"/>
                  <a:pt x="23" y="279"/>
                  <a:pt x="23" y="279"/>
                </a:cubicBezTo>
                <a:cubicBezTo>
                  <a:pt x="24" y="278"/>
                  <a:pt x="24" y="278"/>
                  <a:pt x="24" y="278"/>
                </a:cubicBezTo>
                <a:close/>
                <a:moveTo>
                  <a:pt x="32" y="284"/>
                </a:moveTo>
                <a:cubicBezTo>
                  <a:pt x="33" y="284"/>
                  <a:pt x="33" y="284"/>
                  <a:pt x="33" y="284"/>
                </a:cubicBezTo>
                <a:cubicBezTo>
                  <a:pt x="33" y="284"/>
                  <a:pt x="33" y="284"/>
                  <a:pt x="33" y="284"/>
                </a:cubicBezTo>
                <a:cubicBezTo>
                  <a:pt x="33" y="283"/>
                  <a:pt x="33" y="283"/>
                  <a:pt x="33" y="283"/>
                </a:cubicBezTo>
                <a:cubicBezTo>
                  <a:pt x="32" y="284"/>
                  <a:pt x="32" y="284"/>
                  <a:pt x="32" y="284"/>
                </a:cubicBezTo>
                <a:cubicBezTo>
                  <a:pt x="32" y="284"/>
                  <a:pt x="32" y="284"/>
                  <a:pt x="32" y="284"/>
                </a:cubicBezTo>
                <a:close/>
                <a:moveTo>
                  <a:pt x="36" y="285"/>
                </a:moveTo>
                <a:cubicBezTo>
                  <a:pt x="35" y="285"/>
                  <a:pt x="35" y="285"/>
                  <a:pt x="35" y="285"/>
                </a:cubicBezTo>
                <a:cubicBezTo>
                  <a:pt x="34" y="284"/>
                  <a:pt x="34" y="284"/>
                  <a:pt x="34" y="284"/>
                </a:cubicBezTo>
                <a:cubicBezTo>
                  <a:pt x="34" y="283"/>
                  <a:pt x="34" y="283"/>
                  <a:pt x="34" y="283"/>
                </a:cubicBezTo>
                <a:cubicBezTo>
                  <a:pt x="33" y="283"/>
                  <a:pt x="33" y="283"/>
                  <a:pt x="33" y="283"/>
                </a:cubicBezTo>
                <a:cubicBezTo>
                  <a:pt x="32" y="283"/>
                  <a:pt x="32" y="283"/>
                  <a:pt x="32" y="283"/>
                </a:cubicBezTo>
                <a:cubicBezTo>
                  <a:pt x="31" y="283"/>
                  <a:pt x="31" y="283"/>
                  <a:pt x="31" y="283"/>
                </a:cubicBezTo>
                <a:cubicBezTo>
                  <a:pt x="30" y="282"/>
                  <a:pt x="30" y="282"/>
                  <a:pt x="30" y="282"/>
                </a:cubicBezTo>
                <a:cubicBezTo>
                  <a:pt x="28" y="281"/>
                  <a:pt x="28" y="281"/>
                  <a:pt x="28" y="281"/>
                </a:cubicBezTo>
                <a:cubicBezTo>
                  <a:pt x="28" y="280"/>
                  <a:pt x="28" y="280"/>
                  <a:pt x="28" y="280"/>
                </a:cubicBezTo>
                <a:cubicBezTo>
                  <a:pt x="27" y="279"/>
                  <a:pt x="27" y="279"/>
                  <a:pt x="27" y="279"/>
                </a:cubicBezTo>
                <a:cubicBezTo>
                  <a:pt x="27" y="279"/>
                  <a:pt x="27" y="279"/>
                  <a:pt x="27" y="279"/>
                </a:cubicBezTo>
                <a:cubicBezTo>
                  <a:pt x="27" y="278"/>
                  <a:pt x="27" y="278"/>
                  <a:pt x="27" y="278"/>
                </a:cubicBezTo>
                <a:cubicBezTo>
                  <a:pt x="28" y="278"/>
                  <a:pt x="28" y="278"/>
                  <a:pt x="28" y="278"/>
                </a:cubicBezTo>
                <a:cubicBezTo>
                  <a:pt x="29" y="279"/>
                  <a:pt x="29" y="279"/>
                  <a:pt x="29" y="279"/>
                </a:cubicBezTo>
                <a:cubicBezTo>
                  <a:pt x="29" y="279"/>
                  <a:pt x="29" y="279"/>
                  <a:pt x="29" y="279"/>
                </a:cubicBezTo>
                <a:cubicBezTo>
                  <a:pt x="30" y="279"/>
                  <a:pt x="30" y="279"/>
                  <a:pt x="30" y="279"/>
                </a:cubicBezTo>
                <a:cubicBezTo>
                  <a:pt x="32" y="279"/>
                  <a:pt x="32" y="279"/>
                  <a:pt x="32" y="279"/>
                </a:cubicBezTo>
                <a:cubicBezTo>
                  <a:pt x="33" y="280"/>
                  <a:pt x="33" y="280"/>
                  <a:pt x="33" y="280"/>
                </a:cubicBezTo>
                <a:cubicBezTo>
                  <a:pt x="34" y="280"/>
                  <a:pt x="34" y="280"/>
                  <a:pt x="34" y="280"/>
                </a:cubicBezTo>
                <a:cubicBezTo>
                  <a:pt x="35" y="281"/>
                  <a:pt x="35" y="281"/>
                  <a:pt x="35" y="281"/>
                </a:cubicBezTo>
                <a:cubicBezTo>
                  <a:pt x="36" y="281"/>
                  <a:pt x="36" y="281"/>
                  <a:pt x="36" y="281"/>
                </a:cubicBezTo>
                <a:cubicBezTo>
                  <a:pt x="37" y="281"/>
                  <a:pt x="37" y="281"/>
                  <a:pt x="37" y="281"/>
                </a:cubicBezTo>
                <a:cubicBezTo>
                  <a:pt x="37" y="282"/>
                  <a:pt x="37" y="282"/>
                  <a:pt x="37" y="282"/>
                </a:cubicBezTo>
                <a:cubicBezTo>
                  <a:pt x="36" y="282"/>
                  <a:pt x="36" y="282"/>
                  <a:pt x="36" y="282"/>
                </a:cubicBezTo>
                <a:cubicBezTo>
                  <a:pt x="36" y="282"/>
                  <a:pt x="36" y="282"/>
                  <a:pt x="36" y="282"/>
                </a:cubicBezTo>
                <a:cubicBezTo>
                  <a:pt x="36" y="282"/>
                  <a:pt x="36" y="282"/>
                  <a:pt x="36" y="282"/>
                </a:cubicBezTo>
                <a:cubicBezTo>
                  <a:pt x="36" y="283"/>
                  <a:pt x="36" y="283"/>
                  <a:pt x="36" y="283"/>
                </a:cubicBezTo>
                <a:cubicBezTo>
                  <a:pt x="35" y="284"/>
                  <a:pt x="35" y="284"/>
                  <a:pt x="35" y="284"/>
                </a:cubicBezTo>
                <a:cubicBezTo>
                  <a:pt x="36" y="285"/>
                  <a:pt x="36" y="285"/>
                  <a:pt x="36" y="285"/>
                </a:cubicBezTo>
                <a:close/>
                <a:moveTo>
                  <a:pt x="37" y="284"/>
                </a:moveTo>
                <a:cubicBezTo>
                  <a:pt x="36" y="285"/>
                  <a:pt x="36" y="285"/>
                  <a:pt x="36" y="285"/>
                </a:cubicBezTo>
                <a:cubicBezTo>
                  <a:pt x="36" y="286"/>
                  <a:pt x="36" y="286"/>
                  <a:pt x="36" y="286"/>
                </a:cubicBezTo>
                <a:cubicBezTo>
                  <a:pt x="37" y="286"/>
                  <a:pt x="37" y="286"/>
                  <a:pt x="37" y="286"/>
                </a:cubicBezTo>
                <a:cubicBezTo>
                  <a:pt x="38" y="285"/>
                  <a:pt x="38" y="285"/>
                  <a:pt x="38" y="285"/>
                </a:cubicBezTo>
                <a:cubicBezTo>
                  <a:pt x="38" y="284"/>
                  <a:pt x="38" y="284"/>
                  <a:pt x="38" y="284"/>
                </a:cubicBezTo>
                <a:cubicBezTo>
                  <a:pt x="37" y="284"/>
                  <a:pt x="37" y="284"/>
                  <a:pt x="37" y="284"/>
                </a:cubicBezTo>
                <a:cubicBezTo>
                  <a:pt x="37" y="284"/>
                  <a:pt x="37" y="284"/>
                  <a:pt x="37" y="284"/>
                </a:cubicBezTo>
                <a:close/>
                <a:moveTo>
                  <a:pt x="44" y="283"/>
                </a:moveTo>
                <a:cubicBezTo>
                  <a:pt x="44" y="284"/>
                  <a:pt x="44" y="284"/>
                  <a:pt x="44" y="284"/>
                </a:cubicBezTo>
                <a:cubicBezTo>
                  <a:pt x="44" y="285"/>
                  <a:pt x="44" y="285"/>
                  <a:pt x="44" y="285"/>
                </a:cubicBezTo>
                <a:cubicBezTo>
                  <a:pt x="43" y="285"/>
                  <a:pt x="43" y="285"/>
                  <a:pt x="43" y="285"/>
                </a:cubicBezTo>
                <a:cubicBezTo>
                  <a:pt x="42" y="285"/>
                  <a:pt x="42" y="285"/>
                  <a:pt x="42" y="285"/>
                </a:cubicBezTo>
                <a:cubicBezTo>
                  <a:pt x="42" y="284"/>
                  <a:pt x="42" y="284"/>
                  <a:pt x="42" y="284"/>
                </a:cubicBezTo>
                <a:cubicBezTo>
                  <a:pt x="41" y="285"/>
                  <a:pt x="41" y="285"/>
                  <a:pt x="41" y="285"/>
                </a:cubicBezTo>
                <a:cubicBezTo>
                  <a:pt x="41" y="284"/>
                  <a:pt x="41" y="284"/>
                  <a:pt x="41" y="284"/>
                </a:cubicBezTo>
                <a:cubicBezTo>
                  <a:pt x="39" y="284"/>
                  <a:pt x="39" y="284"/>
                  <a:pt x="39" y="284"/>
                </a:cubicBezTo>
                <a:cubicBezTo>
                  <a:pt x="39" y="285"/>
                  <a:pt x="39" y="285"/>
                  <a:pt x="39" y="285"/>
                </a:cubicBezTo>
                <a:cubicBezTo>
                  <a:pt x="38" y="284"/>
                  <a:pt x="38" y="284"/>
                  <a:pt x="38" y="284"/>
                </a:cubicBezTo>
                <a:cubicBezTo>
                  <a:pt x="38" y="283"/>
                  <a:pt x="38" y="283"/>
                  <a:pt x="38" y="283"/>
                </a:cubicBezTo>
                <a:cubicBezTo>
                  <a:pt x="38" y="283"/>
                  <a:pt x="38" y="283"/>
                  <a:pt x="38" y="283"/>
                </a:cubicBezTo>
                <a:cubicBezTo>
                  <a:pt x="39" y="282"/>
                  <a:pt x="39" y="282"/>
                  <a:pt x="39" y="282"/>
                </a:cubicBezTo>
                <a:cubicBezTo>
                  <a:pt x="40" y="282"/>
                  <a:pt x="40" y="282"/>
                  <a:pt x="40" y="282"/>
                </a:cubicBezTo>
                <a:cubicBezTo>
                  <a:pt x="42" y="283"/>
                  <a:pt x="42" y="283"/>
                  <a:pt x="42" y="283"/>
                </a:cubicBezTo>
                <a:cubicBezTo>
                  <a:pt x="42" y="283"/>
                  <a:pt x="42" y="283"/>
                  <a:pt x="42" y="283"/>
                </a:cubicBezTo>
                <a:cubicBezTo>
                  <a:pt x="43" y="283"/>
                  <a:pt x="43" y="283"/>
                  <a:pt x="43" y="283"/>
                </a:cubicBezTo>
                <a:cubicBezTo>
                  <a:pt x="44" y="283"/>
                  <a:pt x="44" y="283"/>
                  <a:pt x="44" y="283"/>
                </a:cubicBezTo>
                <a:cubicBezTo>
                  <a:pt x="44" y="283"/>
                  <a:pt x="44" y="283"/>
                  <a:pt x="44" y="283"/>
                </a:cubicBezTo>
                <a:close/>
                <a:moveTo>
                  <a:pt x="48" y="283"/>
                </a:moveTo>
                <a:cubicBezTo>
                  <a:pt x="46" y="282"/>
                  <a:pt x="46" y="282"/>
                  <a:pt x="46" y="282"/>
                </a:cubicBezTo>
                <a:cubicBezTo>
                  <a:pt x="47" y="281"/>
                  <a:pt x="47" y="281"/>
                  <a:pt x="47" y="281"/>
                </a:cubicBezTo>
                <a:cubicBezTo>
                  <a:pt x="47" y="280"/>
                  <a:pt x="47" y="280"/>
                  <a:pt x="47" y="280"/>
                </a:cubicBezTo>
                <a:cubicBezTo>
                  <a:pt x="47" y="280"/>
                  <a:pt x="47" y="280"/>
                  <a:pt x="47" y="280"/>
                </a:cubicBezTo>
                <a:cubicBezTo>
                  <a:pt x="46" y="278"/>
                  <a:pt x="46" y="278"/>
                  <a:pt x="46" y="278"/>
                </a:cubicBezTo>
                <a:cubicBezTo>
                  <a:pt x="46" y="277"/>
                  <a:pt x="46" y="277"/>
                  <a:pt x="46" y="277"/>
                </a:cubicBezTo>
                <a:cubicBezTo>
                  <a:pt x="45" y="277"/>
                  <a:pt x="45" y="277"/>
                  <a:pt x="45" y="277"/>
                </a:cubicBezTo>
                <a:cubicBezTo>
                  <a:pt x="45" y="278"/>
                  <a:pt x="45" y="278"/>
                  <a:pt x="45" y="278"/>
                </a:cubicBezTo>
                <a:cubicBezTo>
                  <a:pt x="44" y="279"/>
                  <a:pt x="44" y="279"/>
                  <a:pt x="44" y="279"/>
                </a:cubicBezTo>
                <a:cubicBezTo>
                  <a:pt x="45" y="280"/>
                  <a:pt x="45" y="280"/>
                  <a:pt x="45" y="280"/>
                </a:cubicBezTo>
                <a:cubicBezTo>
                  <a:pt x="44" y="281"/>
                  <a:pt x="44" y="281"/>
                  <a:pt x="44" y="281"/>
                </a:cubicBezTo>
                <a:cubicBezTo>
                  <a:pt x="44" y="282"/>
                  <a:pt x="44" y="282"/>
                  <a:pt x="44" y="282"/>
                </a:cubicBezTo>
                <a:cubicBezTo>
                  <a:pt x="46" y="283"/>
                  <a:pt x="46" y="283"/>
                  <a:pt x="46" y="283"/>
                </a:cubicBezTo>
                <a:cubicBezTo>
                  <a:pt x="47" y="283"/>
                  <a:pt x="47" y="283"/>
                  <a:pt x="47" y="283"/>
                </a:cubicBezTo>
                <a:cubicBezTo>
                  <a:pt x="47" y="283"/>
                  <a:pt x="47" y="283"/>
                  <a:pt x="47" y="283"/>
                </a:cubicBezTo>
                <a:cubicBezTo>
                  <a:pt x="48" y="283"/>
                  <a:pt x="48" y="283"/>
                  <a:pt x="48" y="283"/>
                </a:cubicBezTo>
                <a:close/>
                <a:moveTo>
                  <a:pt x="43" y="292"/>
                </a:moveTo>
                <a:cubicBezTo>
                  <a:pt x="44" y="292"/>
                  <a:pt x="44" y="292"/>
                  <a:pt x="44" y="292"/>
                </a:cubicBezTo>
                <a:cubicBezTo>
                  <a:pt x="44" y="292"/>
                  <a:pt x="44" y="292"/>
                  <a:pt x="44" y="292"/>
                </a:cubicBezTo>
                <a:cubicBezTo>
                  <a:pt x="44" y="293"/>
                  <a:pt x="44" y="293"/>
                  <a:pt x="44" y="293"/>
                </a:cubicBezTo>
                <a:cubicBezTo>
                  <a:pt x="43" y="292"/>
                  <a:pt x="43" y="292"/>
                  <a:pt x="43" y="292"/>
                </a:cubicBezTo>
                <a:close/>
                <a:moveTo>
                  <a:pt x="43" y="291"/>
                </a:moveTo>
                <a:cubicBezTo>
                  <a:pt x="43" y="290"/>
                  <a:pt x="43" y="290"/>
                  <a:pt x="43" y="290"/>
                </a:cubicBezTo>
                <a:cubicBezTo>
                  <a:pt x="43" y="290"/>
                  <a:pt x="43" y="290"/>
                  <a:pt x="43" y="290"/>
                </a:cubicBezTo>
                <a:cubicBezTo>
                  <a:pt x="44" y="290"/>
                  <a:pt x="44" y="290"/>
                  <a:pt x="44" y="290"/>
                </a:cubicBezTo>
                <a:cubicBezTo>
                  <a:pt x="44" y="291"/>
                  <a:pt x="44" y="291"/>
                  <a:pt x="44" y="291"/>
                </a:cubicBezTo>
                <a:cubicBezTo>
                  <a:pt x="43" y="291"/>
                  <a:pt x="43" y="291"/>
                  <a:pt x="43" y="291"/>
                </a:cubicBezTo>
                <a:close/>
                <a:moveTo>
                  <a:pt x="68" y="297"/>
                </a:moveTo>
                <a:cubicBezTo>
                  <a:pt x="67" y="297"/>
                  <a:pt x="67" y="297"/>
                  <a:pt x="67" y="297"/>
                </a:cubicBezTo>
                <a:cubicBezTo>
                  <a:pt x="68" y="296"/>
                  <a:pt x="68" y="296"/>
                  <a:pt x="68" y="296"/>
                </a:cubicBezTo>
                <a:cubicBezTo>
                  <a:pt x="68" y="295"/>
                  <a:pt x="68" y="295"/>
                  <a:pt x="68" y="295"/>
                </a:cubicBezTo>
                <a:cubicBezTo>
                  <a:pt x="68" y="296"/>
                  <a:pt x="68" y="296"/>
                  <a:pt x="68" y="296"/>
                </a:cubicBezTo>
                <a:cubicBezTo>
                  <a:pt x="69" y="296"/>
                  <a:pt x="69" y="296"/>
                  <a:pt x="69" y="296"/>
                </a:cubicBezTo>
                <a:cubicBezTo>
                  <a:pt x="69" y="298"/>
                  <a:pt x="69" y="298"/>
                  <a:pt x="69" y="298"/>
                </a:cubicBezTo>
                <a:cubicBezTo>
                  <a:pt x="68" y="297"/>
                  <a:pt x="68" y="297"/>
                  <a:pt x="68" y="297"/>
                </a:cubicBezTo>
                <a:close/>
                <a:moveTo>
                  <a:pt x="52" y="291"/>
                </a:moveTo>
                <a:cubicBezTo>
                  <a:pt x="53" y="291"/>
                  <a:pt x="53" y="291"/>
                  <a:pt x="53" y="291"/>
                </a:cubicBezTo>
                <a:cubicBezTo>
                  <a:pt x="54" y="291"/>
                  <a:pt x="54" y="291"/>
                  <a:pt x="54" y="291"/>
                </a:cubicBezTo>
                <a:cubicBezTo>
                  <a:pt x="55" y="291"/>
                  <a:pt x="55" y="291"/>
                  <a:pt x="55" y="291"/>
                </a:cubicBezTo>
                <a:cubicBezTo>
                  <a:pt x="56" y="291"/>
                  <a:pt x="56" y="291"/>
                  <a:pt x="56" y="291"/>
                </a:cubicBezTo>
                <a:cubicBezTo>
                  <a:pt x="59" y="290"/>
                  <a:pt x="59" y="290"/>
                  <a:pt x="59" y="290"/>
                </a:cubicBezTo>
                <a:cubicBezTo>
                  <a:pt x="61" y="289"/>
                  <a:pt x="61" y="289"/>
                  <a:pt x="61" y="289"/>
                </a:cubicBezTo>
                <a:cubicBezTo>
                  <a:pt x="63" y="290"/>
                  <a:pt x="63" y="290"/>
                  <a:pt x="63" y="290"/>
                </a:cubicBezTo>
                <a:cubicBezTo>
                  <a:pt x="64" y="289"/>
                  <a:pt x="64" y="289"/>
                  <a:pt x="64" y="289"/>
                </a:cubicBezTo>
                <a:cubicBezTo>
                  <a:pt x="66" y="289"/>
                  <a:pt x="66" y="289"/>
                  <a:pt x="66" y="289"/>
                </a:cubicBezTo>
                <a:cubicBezTo>
                  <a:pt x="67" y="290"/>
                  <a:pt x="67" y="290"/>
                  <a:pt x="67" y="290"/>
                </a:cubicBezTo>
                <a:cubicBezTo>
                  <a:pt x="68" y="291"/>
                  <a:pt x="68" y="291"/>
                  <a:pt x="68" y="291"/>
                </a:cubicBezTo>
                <a:cubicBezTo>
                  <a:pt x="68" y="291"/>
                  <a:pt x="68" y="291"/>
                  <a:pt x="68" y="291"/>
                </a:cubicBezTo>
                <a:cubicBezTo>
                  <a:pt x="68" y="292"/>
                  <a:pt x="68" y="292"/>
                  <a:pt x="68" y="292"/>
                </a:cubicBezTo>
                <a:cubicBezTo>
                  <a:pt x="67" y="293"/>
                  <a:pt x="67" y="293"/>
                  <a:pt x="67" y="293"/>
                </a:cubicBezTo>
                <a:cubicBezTo>
                  <a:pt x="66" y="292"/>
                  <a:pt x="66" y="292"/>
                  <a:pt x="66" y="292"/>
                </a:cubicBezTo>
                <a:cubicBezTo>
                  <a:pt x="65" y="292"/>
                  <a:pt x="65" y="292"/>
                  <a:pt x="65" y="292"/>
                </a:cubicBezTo>
                <a:cubicBezTo>
                  <a:pt x="64" y="292"/>
                  <a:pt x="64" y="292"/>
                  <a:pt x="64" y="292"/>
                </a:cubicBezTo>
                <a:cubicBezTo>
                  <a:pt x="63" y="293"/>
                  <a:pt x="63" y="293"/>
                  <a:pt x="63" y="293"/>
                </a:cubicBezTo>
                <a:cubicBezTo>
                  <a:pt x="62" y="292"/>
                  <a:pt x="62" y="292"/>
                  <a:pt x="62" y="292"/>
                </a:cubicBezTo>
                <a:cubicBezTo>
                  <a:pt x="62" y="291"/>
                  <a:pt x="62" y="291"/>
                  <a:pt x="62" y="291"/>
                </a:cubicBezTo>
                <a:cubicBezTo>
                  <a:pt x="61" y="291"/>
                  <a:pt x="61" y="291"/>
                  <a:pt x="61" y="291"/>
                </a:cubicBezTo>
                <a:cubicBezTo>
                  <a:pt x="60" y="292"/>
                  <a:pt x="60" y="292"/>
                  <a:pt x="60" y="292"/>
                </a:cubicBezTo>
                <a:cubicBezTo>
                  <a:pt x="59" y="292"/>
                  <a:pt x="59" y="292"/>
                  <a:pt x="59" y="292"/>
                </a:cubicBezTo>
                <a:cubicBezTo>
                  <a:pt x="58" y="292"/>
                  <a:pt x="58" y="292"/>
                  <a:pt x="58" y="292"/>
                </a:cubicBezTo>
                <a:cubicBezTo>
                  <a:pt x="59" y="293"/>
                  <a:pt x="59" y="293"/>
                  <a:pt x="59" y="293"/>
                </a:cubicBezTo>
                <a:cubicBezTo>
                  <a:pt x="59" y="293"/>
                  <a:pt x="59" y="293"/>
                  <a:pt x="59" y="293"/>
                </a:cubicBezTo>
                <a:cubicBezTo>
                  <a:pt x="61" y="293"/>
                  <a:pt x="61" y="293"/>
                  <a:pt x="61" y="293"/>
                </a:cubicBezTo>
                <a:cubicBezTo>
                  <a:pt x="61" y="293"/>
                  <a:pt x="61" y="293"/>
                  <a:pt x="61" y="293"/>
                </a:cubicBezTo>
                <a:cubicBezTo>
                  <a:pt x="61" y="294"/>
                  <a:pt x="61" y="294"/>
                  <a:pt x="61" y="294"/>
                </a:cubicBezTo>
                <a:cubicBezTo>
                  <a:pt x="62" y="294"/>
                  <a:pt x="62" y="294"/>
                  <a:pt x="62" y="294"/>
                </a:cubicBezTo>
                <a:cubicBezTo>
                  <a:pt x="63" y="295"/>
                  <a:pt x="63" y="295"/>
                  <a:pt x="63" y="295"/>
                </a:cubicBezTo>
                <a:cubicBezTo>
                  <a:pt x="63" y="296"/>
                  <a:pt x="63" y="296"/>
                  <a:pt x="63" y="296"/>
                </a:cubicBezTo>
                <a:cubicBezTo>
                  <a:pt x="63" y="296"/>
                  <a:pt x="63" y="296"/>
                  <a:pt x="63" y="296"/>
                </a:cubicBezTo>
                <a:cubicBezTo>
                  <a:pt x="61" y="295"/>
                  <a:pt x="61" y="295"/>
                  <a:pt x="61" y="295"/>
                </a:cubicBezTo>
                <a:cubicBezTo>
                  <a:pt x="60" y="295"/>
                  <a:pt x="60" y="295"/>
                  <a:pt x="60" y="295"/>
                </a:cubicBezTo>
                <a:cubicBezTo>
                  <a:pt x="59" y="295"/>
                  <a:pt x="59" y="295"/>
                  <a:pt x="59" y="295"/>
                </a:cubicBezTo>
                <a:cubicBezTo>
                  <a:pt x="58" y="295"/>
                  <a:pt x="58" y="295"/>
                  <a:pt x="58" y="295"/>
                </a:cubicBezTo>
                <a:cubicBezTo>
                  <a:pt x="58" y="294"/>
                  <a:pt x="58" y="294"/>
                  <a:pt x="58" y="294"/>
                </a:cubicBezTo>
                <a:cubicBezTo>
                  <a:pt x="57" y="294"/>
                  <a:pt x="57" y="294"/>
                  <a:pt x="57" y="294"/>
                </a:cubicBezTo>
                <a:cubicBezTo>
                  <a:pt x="57" y="294"/>
                  <a:pt x="57" y="294"/>
                  <a:pt x="57" y="294"/>
                </a:cubicBezTo>
                <a:cubicBezTo>
                  <a:pt x="58" y="295"/>
                  <a:pt x="58" y="295"/>
                  <a:pt x="58" y="295"/>
                </a:cubicBezTo>
                <a:cubicBezTo>
                  <a:pt x="57" y="296"/>
                  <a:pt x="57" y="296"/>
                  <a:pt x="57" y="296"/>
                </a:cubicBezTo>
                <a:cubicBezTo>
                  <a:pt x="57" y="296"/>
                  <a:pt x="57" y="296"/>
                  <a:pt x="57" y="296"/>
                </a:cubicBezTo>
                <a:cubicBezTo>
                  <a:pt x="55" y="295"/>
                  <a:pt x="55" y="295"/>
                  <a:pt x="55" y="295"/>
                </a:cubicBezTo>
                <a:cubicBezTo>
                  <a:pt x="55" y="296"/>
                  <a:pt x="55" y="296"/>
                  <a:pt x="55" y="296"/>
                </a:cubicBezTo>
                <a:cubicBezTo>
                  <a:pt x="54" y="295"/>
                  <a:pt x="54" y="295"/>
                  <a:pt x="54" y="295"/>
                </a:cubicBezTo>
                <a:cubicBezTo>
                  <a:pt x="53" y="295"/>
                  <a:pt x="53" y="295"/>
                  <a:pt x="53" y="295"/>
                </a:cubicBezTo>
                <a:cubicBezTo>
                  <a:pt x="54" y="294"/>
                  <a:pt x="54" y="294"/>
                  <a:pt x="54" y="294"/>
                </a:cubicBezTo>
                <a:cubicBezTo>
                  <a:pt x="53" y="294"/>
                  <a:pt x="53" y="294"/>
                  <a:pt x="53" y="294"/>
                </a:cubicBezTo>
                <a:cubicBezTo>
                  <a:pt x="52" y="294"/>
                  <a:pt x="52" y="294"/>
                  <a:pt x="52" y="294"/>
                </a:cubicBezTo>
                <a:cubicBezTo>
                  <a:pt x="52" y="293"/>
                  <a:pt x="52" y="293"/>
                  <a:pt x="52" y="293"/>
                </a:cubicBezTo>
                <a:cubicBezTo>
                  <a:pt x="53" y="293"/>
                  <a:pt x="53" y="293"/>
                  <a:pt x="53" y="293"/>
                </a:cubicBezTo>
                <a:cubicBezTo>
                  <a:pt x="55" y="292"/>
                  <a:pt x="55" y="292"/>
                  <a:pt x="55" y="292"/>
                </a:cubicBezTo>
                <a:cubicBezTo>
                  <a:pt x="54" y="291"/>
                  <a:pt x="54" y="291"/>
                  <a:pt x="54" y="291"/>
                </a:cubicBezTo>
                <a:cubicBezTo>
                  <a:pt x="53" y="292"/>
                  <a:pt x="53" y="292"/>
                  <a:pt x="53" y="292"/>
                </a:cubicBezTo>
                <a:lnTo>
                  <a:pt x="52" y="291"/>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1" name="Freeform 199">
            <a:extLst>
              <a:ext uri="{FF2B5EF4-FFF2-40B4-BE49-F238E27FC236}">
                <a16:creationId xmlns:a16="http://schemas.microsoft.com/office/drawing/2014/main" id="{BC8622D6-FC47-4739-4F3D-0AC22DC4D758}"/>
              </a:ext>
            </a:extLst>
          </p:cNvPr>
          <p:cNvSpPr>
            <a:spLocks/>
          </p:cNvSpPr>
          <p:nvPr userDrawn="1"/>
        </p:nvSpPr>
        <p:spPr bwMode="auto">
          <a:xfrm>
            <a:off x="9349765" y="8305085"/>
            <a:ext cx="9525" cy="9526"/>
          </a:xfrm>
          <a:custGeom>
            <a:avLst/>
            <a:gdLst>
              <a:gd name="T0" fmla="*/ 0 w 3"/>
              <a:gd name="T1" fmla="*/ 0 h 3"/>
              <a:gd name="T2" fmla="*/ 0 w 3"/>
              <a:gd name="T3" fmla="*/ 3 h 3"/>
              <a:gd name="T4" fmla="*/ 3 w 3"/>
              <a:gd name="T5" fmla="*/ 3 h 3"/>
              <a:gd name="T6" fmla="*/ 0 w 3"/>
              <a:gd name="T7" fmla="*/ 0 h 3"/>
            </a:gdLst>
            <a:ahLst/>
            <a:cxnLst>
              <a:cxn ang="0">
                <a:pos x="T0" y="T1"/>
              </a:cxn>
              <a:cxn ang="0">
                <a:pos x="T2" y="T3"/>
              </a:cxn>
              <a:cxn ang="0">
                <a:pos x="T4" y="T5"/>
              </a:cxn>
              <a:cxn ang="0">
                <a:pos x="T6" y="T7"/>
              </a:cxn>
            </a:cxnLst>
            <a:rect l="0" t="0" r="r" b="b"/>
            <a:pathLst>
              <a:path w="3" h="3">
                <a:moveTo>
                  <a:pt x="0" y="0"/>
                </a:moveTo>
                <a:lnTo>
                  <a:pt x="0" y="3"/>
                </a:lnTo>
                <a:lnTo>
                  <a:pt x="3" y="3"/>
                </a:lnTo>
                <a:lnTo>
                  <a:pt x="0"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2" name="Freeform 200">
            <a:extLst>
              <a:ext uri="{FF2B5EF4-FFF2-40B4-BE49-F238E27FC236}">
                <a16:creationId xmlns:a16="http://schemas.microsoft.com/office/drawing/2014/main" id="{371BB57B-7889-6AF9-26F3-B9FC21E56906}"/>
              </a:ext>
            </a:extLst>
          </p:cNvPr>
          <p:cNvSpPr>
            <a:spLocks noEditPoints="1"/>
          </p:cNvSpPr>
          <p:nvPr userDrawn="1"/>
        </p:nvSpPr>
        <p:spPr bwMode="auto">
          <a:xfrm>
            <a:off x="9378336" y="8314611"/>
            <a:ext cx="38100" cy="57150"/>
          </a:xfrm>
          <a:custGeom>
            <a:avLst/>
            <a:gdLst>
              <a:gd name="T0" fmla="*/ 12 w 12"/>
              <a:gd name="T1" fmla="*/ 12 h 18"/>
              <a:gd name="T2" fmla="*/ 9 w 12"/>
              <a:gd name="T3" fmla="*/ 15 h 18"/>
              <a:gd name="T4" fmla="*/ 12 w 12"/>
              <a:gd name="T5" fmla="*/ 18 h 18"/>
              <a:gd name="T6" fmla="*/ 12 w 12"/>
              <a:gd name="T7" fmla="*/ 12 h 18"/>
              <a:gd name="T8" fmla="*/ 12 w 12"/>
              <a:gd name="T9" fmla="*/ 12 h 18"/>
              <a:gd name="T10" fmla="*/ 9 w 12"/>
              <a:gd name="T11" fmla="*/ 0 h 18"/>
              <a:gd name="T12" fmla="*/ 6 w 12"/>
              <a:gd name="T13" fmla="*/ 3 h 18"/>
              <a:gd name="T14" fmla="*/ 9 w 12"/>
              <a:gd name="T15" fmla="*/ 9 h 18"/>
              <a:gd name="T16" fmla="*/ 12 w 12"/>
              <a:gd name="T17" fmla="*/ 9 h 18"/>
              <a:gd name="T18" fmla="*/ 9 w 12"/>
              <a:gd name="T19" fmla="*/ 0 h 18"/>
              <a:gd name="T20" fmla="*/ 9 w 12"/>
              <a:gd name="T21" fmla="*/ 0 h 18"/>
              <a:gd name="T22" fmla="*/ 3 w 12"/>
              <a:gd name="T23" fmla="*/ 6 h 18"/>
              <a:gd name="T24" fmla="*/ 6 w 12"/>
              <a:gd name="T25" fmla="*/ 9 h 18"/>
              <a:gd name="T26" fmla="*/ 3 w 12"/>
              <a:gd name="T27" fmla="*/ 15 h 18"/>
              <a:gd name="T28" fmla="*/ 0 w 12"/>
              <a:gd name="T29" fmla="*/ 9 h 18"/>
              <a:gd name="T30" fmla="*/ 0 w 12"/>
              <a:gd name="T31" fmla="*/ 6 h 18"/>
              <a:gd name="T32" fmla="*/ 3 w 12"/>
              <a:gd name="T33"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8">
                <a:moveTo>
                  <a:pt x="12" y="12"/>
                </a:moveTo>
                <a:lnTo>
                  <a:pt x="9" y="15"/>
                </a:lnTo>
                <a:lnTo>
                  <a:pt x="12" y="18"/>
                </a:lnTo>
                <a:lnTo>
                  <a:pt x="12" y="12"/>
                </a:lnTo>
                <a:lnTo>
                  <a:pt x="12" y="12"/>
                </a:lnTo>
                <a:close/>
                <a:moveTo>
                  <a:pt x="9" y="0"/>
                </a:moveTo>
                <a:lnTo>
                  <a:pt x="6" y="3"/>
                </a:lnTo>
                <a:lnTo>
                  <a:pt x="9" y="9"/>
                </a:lnTo>
                <a:lnTo>
                  <a:pt x="12" y="9"/>
                </a:lnTo>
                <a:lnTo>
                  <a:pt x="9" y="0"/>
                </a:lnTo>
                <a:lnTo>
                  <a:pt x="9" y="0"/>
                </a:lnTo>
                <a:close/>
                <a:moveTo>
                  <a:pt x="3" y="6"/>
                </a:moveTo>
                <a:lnTo>
                  <a:pt x="6" y="9"/>
                </a:lnTo>
                <a:lnTo>
                  <a:pt x="3" y="15"/>
                </a:lnTo>
                <a:lnTo>
                  <a:pt x="0" y="9"/>
                </a:lnTo>
                <a:lnTo>
                  <a:pt x="0" y="6"/>
                </a:lnTo>
                <a:lnTo>
                  <a:pt x="3" y="6"/>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3" name="Freeform 201">
            <a:extLst>
              <a:ext uri="{FF2B5EF4-FFF2-40B4-BE49-F238E27FC236}">
                <a16:creationId xmlns:a16="http://schemas.microsoft.com/office/drawing/2014/main" id="{017CC1B0-9632-0826-888B-8F1915141D17}"/>
              </a:ext>
            </a:extLst>
          </p:cNvPr>
          <p:cNvSpPr>
            <a:spLocks/>
          </p:cNvSpPr>
          <p:nvPr userDrawn="1"/>
        </p:nvSpPr>
        <p:spPr bwMode="auto">
          <a:xfrm>
            <a:off x="9397390" y="8384456"/>
            <a:ext cx="9525" cy="28576"/>
          </a:xfrm>
          <a:custGeom>
            <a:avLst/>
            <a:gdLst>
              <a:gd name="T0" fmla="*/ 0 w 1"/>
              <a:gd name="T1" fmla="*/ 0 h 3"/>
              <a:gd name="T2" fmla="*/ 1 w 1"/>
              <a:gd name="T3" fmla="*/ 1 h 3"/>
              <a:gd name="T4" fmla="*/ 1 w 1"/>
              <a:gd name="T5" fmla="*/ 3 h 3"/>
              <a:gd name="T6" fmla="*/ 0 w 1"/>
              <a:gd name="T7" fmla="*/ 3 h 3"/>
              <a:gd name="T8" fmla="*/ 0 w 1"/>
              <a:gd name="T9" fmla="*/ 1 h 3"/>
              <a:gd name="T10" fmla="*/ 0 w 1"/>
              <a:gd name="T11" fmla="*/ 0 h 3"/>
            </a:gdLst>
            <a:ahLst/>
            <a:cxnLst>
              <a:cxn ang="0">
                <a:pos x="T0" y="T1"/>
              </a:cxn>
              <a:cxn ang="0">
                <a:pos x="T2" y="T3"/>
              </a:cxn>
              <a:cxn ang="0">
                <a:pos x="T4" y="T5"/>
              </a:cxn>
              <a:cxn ang="0">
                <a:pos x="T6" y="T7"/>
              </a:cxn>
              <a:cxn ang="0">
                <a:pos x="T8" y="T9"/>
              </a:cxn>
              <a:cxn ang="0">
                <a:pos x="T10" y="T11"/>
              </a:cxn>
            </a:cxnLst>
            <a:rect l="0" t="0" r="r" b="b"/>
            <a:pathLst>
              <a:path w="1" h="3">
                <a:moveTo>
                  <a:pt x="0" y="0"/>
                </a:moveTo>
                <a:cubicBezTo>
                  <a:pt x="1" y="1"/>
                  <a:pt x="1" y="1"/>
                  <a:pt x="1" y="1"/>
                </a:cubicBezTo>
                <a:cubicBezTo>
                  <a:pt x="1" y="3"/>
                  <a:pt x="1" y="3"/>
                  <a:pt x="1" y="3"/>
                </a:cubicBezTo>
                <a:cubicBezTo>
                  <a:pt x="0" y="3"/>
                  <a:pt x="0" y="3"/>
                  <a:pt x="0" y="3"/>
                </a:cubicBezTo>
                <a:cubicBezTo>
                  <a:pt x="0" y="1"/>
                  <a:pt x="0" y="1"/>
                  <a:pt x="0" y="1"/>
                </a:cubicBezTo>
                <a:cubicBezTo>
                  <a:pt x="0" y="1"/>
                  <a:pt x="1" y="0"/>
                  <a:pt x="0" y="0"/>
                </a:cubicBez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4" name="Freeform 202">
            <a:extLst>
              <a:ext uri="{FF2B5EF4-FFF2-40B4-BE49-F238E27FC236}">
                <a16:creationId xmlns:a16="http://schemas.microsoft.com/office/drawing/2014/main" id="{53D89D10-7854-3228-CCA2-401329FC8AA3}"/>
              </a:ext>
            </a:extLst>
          </p:cNvPr>
          <p:cNvSpPr>
            <a:spLocks noEditPoints="1"/>
          </p:cNvSpPr>
          <p:nvPr userDrawn="1"/>
        </p:nvSpPr>
        <p:spPr bwMode="auto">
          <a:xfrm>
            <a:off x="9397388" y="8432083"/>
            <a:ext cx="41275" cy="88902"/>
          </a:xfrm>
          <a:custGeom>
            <a:avLst/>
            <a:gdLst>
              <a:gd name="T0" fmla="*/ 10 w 13"/>
              <a:gd name="T1" fmla="*/ 16 h 28"/>
              <a:gd name="T2" fmla="*/ 3 w 13"/>
              <a:gd name="T3" fmla="*/ 22 h 28"/>
              <a:gd name="T4" fmla="*/ 6 w 13"/>
              <a:gd name="T5" fmla="*/ 25 h 28"/>
              <a:gd name="T6" fmla="*/ 10 w 13"/>
              <a:gd name="T7" fmla="*/ 28 h 28"/>
              <a:gd name="T8" fmla="*/ 10 w 13"/>
              <a:gd name="T9" fmla="*/ 22 h 28"/>
              <a:gd name="T10" fmla="*/ 10 w 13"/>
              <a:gd name="T11" fmla="*/ 16 h 28"/>
              <a:gd name="T12" fmla="*/ 10 w 13"/>
              <a:gd name="T13" fmla="*/ 16 h 28"/>
              <a:gd name="T14" fmla="*/ 0 w 13"/>
              <a:gd name="T15" fmla="*/ 0 h 28"/>
              <a:gd name="T16" fmla="*/ 10 w 13"/>
              <a:gd name="T17" fmla="*/ 0 h 28"/>
              <a:gd name="T18" fmla="*/ 13 w 13"/>
              <a:gd name="T19" fmla="*/ 10 h 28"/>
              <a:gd name="T20" fmla="*/ 10 w 13"/>
              <a:gd name="T21" fmla="*/ 13 h 28"/>
              <a:gd name="T22" fmla="*/ 6 w 13"/>
              <a:gd name="T23" fmla="*/ 10 h 28"/>
              <a:gd name="T24" fmla="*/ 6 w 13"/>
              <a:gd name="T25" fmla="*/ 10 h 28"/>
              <a:gd name="T26" fmla="*/ 6 w 13"/>
              <a:gd name="T27" fmla="*/ 7 h 28"/>
              <a:gd name="T28" fmla="*/ 0 w 13"/>
              <a:gd name="T29" fmla="*/ 3 h 28"/>
              <a:gd name="T30" fmla="*/ 0 w 13"/>
              <a:gd name="T3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28">
                <a:moveTo>
                  <a:pt x="10" y="16"/>
                </a:moveTo>
                <a:lnTo>
                  <a:pt x="3" y="22"/>
                </a:lnTo>
                <a:lnTo>
                  <a:pt x="6" y="25"/>
                </a:lnTo>
                <a:lnTo>
                  <a:pt x="10" y="28"/>
                </a:lnTo>
                <a:lnTo>
                  <a:pt x="10" y="22"/>
                </a:lnTo>
                <a:lnTo>
                  <a:pt x="10" y="16"/>
                </a:lnTo>
                <a:lnTo>
                  <a:pt x="10" y="16"/>
                </a:lnTo>
                <a:close/>
                <a:moveTo>
                  <a:pt x="0" y="0"/>
                </a:moveTo>
                <a:lnTo>
                  <a:pt x="10" y="0"/>
                </a:lnTo>
                <a:lnTo>
                  <a:pt x="13" y="10"/>
                </a:lnTo>
                <a:lnTo>
                  <a:pt x="10" y="13"/>
                </a:lnTo>
                <a:lnTo>
                  <a:pt x="6" y="10"/>
                </a:lnTo>
                <a:lnTo>
                  <a:pt x="6" y="10"/>
                </a:lnTo>
                <a:lnTo>
                  <a:pt x="6" y="7"/>
                </a:lnTo>
                <a:lnTo>
                  <a:pt x="0" y="3"/>
                </a:lnTo>
                <a:lnTo>
                  <a:pt x="0"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5" name="Freeform 203">
            <a:extLst>
              <a:ext uri="{FF2B5EF4-FFF2-40B4-BE49-F238E27FC236}">
                <a16:creationId xmlns:a16="http://schemas.microsoft.com/office/drawing/2014/main" id="{22F856E7-7FE7-D54C-3C13-F6428F97EEA2}"/>
              </a:ext>
            </a:extLst>
          </p:cNvPr>
          <p:cNvSpPr>
            <a:spLocks/>
          </p:cNvSpPr>
          <p:nvPr userDrawn="1"/>
        </p:nvSpPr>
        <p:spPr bwMode="auto">
          <a:xfrm>
            <a:off x="9508504" y="8533685"/>
            <a:ext cx="19049" cy="19050"/>
          </a:xfrm>
          <a:custGeom>
            <a:avLst/>
            <a:gdLst>
              <a:gd name="T0" fmla="*/ 3 w 6"/>
              <a:gd name="T1" fmla="*/ 0 h 6"/>
              <a:gd name="T2" fmla="*/ 0 w 6"/>
              <a:gd name="T3" fmla="*/ 3 h 6"/>
              <a:gd name="T4" fmla="*/ 3 w 6"/>
              <a:gd name="T5" fmla="*/ 6 h 6"/>
              <a:gd name="T6" fmla="*/ 6 w 6"/>
              <a:gd name="T7" fmla="*/ 6 h 6"/>
              <a:gd name="T8" fmla="*/ 6 w 6"/>
              <a:gd name="T9" fmla="*/ 3 h 6"/>
              <a:gd name="T10" fmla="*/ 3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3" y="0"/>
                </a:moveTo>
                <a:lnTo>
                  <a:pt x="0" y="3"/>
                </a:lnTo>
                <a:lnTo>
                  <a:pt x="3" y="6"/>
                </a:lnTo>
                <a:lnTo>
                  <a:pt x="6" y="6"/>
                </a:lnTo>
                <a:lnTo>
                  <a:pt x="6" y="3"/>
                </a:lnTo>
                <a:lnTo>
                  <a:pt x="3"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6" name="Freeform 204">
            <a:extLst>
              <a:ext uri="{FF2B5EF4-FFF2-40B4-BE49-F238E27FC236}">
                <a16:creationId xmlns:a16="http://schemas.microsoft.com/office/drawing/2014/main" id="{030E276F-F0D1-B967-8A8B-53C0050D74E0}"/>
              </a:ext>
            </a:extLst>
          </p:cNvPr>
          <p:cNvSpPr>
            <a:spLocks noEditPoints="1"/>
          </p:cNvSpPr>
          <p:nvPr userDrawn="1"/>
        </p:nvSpPr>
        <p:spPr bwMode="auto">
          <a:xfrm>
            <a:off x="9368815" y="8520980"/>
            <a:ext cx="47623" cy="101600"/>
          </a:xfrm>
          <a:custGeom>
            <a:avLst/>
            <a:gdLst>
              <a:gd name="T0" fmla="*/ 3 w 5"/>
              <a:gd name="T1" fmla="*/ 9 h 10"/>
              <a:gd name="T2" fmla="*/ 2 w 5"/>
              <a:gd name="T3" fmla="*/ 8 h 10"/>
              <a:gd name="T4" fmla="*/ 1 w 5"/>
              <a:gd name="T5" fmla="*/ 8 h 10"/>
              <a:gd name="T6" fmla="*/ 0 w 5"/>
              <a:gd name="T7" fmla="*/ 10 h 10"/>
              <a:gd name="T8" fmla="*/ 2 w 5"/>
              <a:gd name="T9" fmla="*/ 10 h 10"/>
              <a:gd name="T10" fmla="*/ 3 w 5"/>
              <a:gd name="T11" fmla="*/ 9 h 10"/>
              <a:gd name="T12" fmla="*/ 3 w 5"/>
              <a:gd name="T13" fmla="*/ 6 h 10"/>
              <a:gd name="T14" fmla="*/ 4 w 5"/>
              <a:gd name="T15" fmla="*/ 7 h 10"/>
              <a:gd name="T16" fmla="*/ 3 w 5"/>
              <a:gd name="T17" fmla="*/ 7 h 10"/>
              <a:gd name="T18" fmla="*/ 3 w 5"/>
              <a:gd name="T19" fmla="*/ 6 h 10"/>
              <a:gd name="T20" fmla="*/ 4 w 5"/>
              <a:gd name="T21" fmla="*/ 0 h 10"/>
              <a:gd name="T22" fmla="*/ 5 w 5"/>
              <a:gd name="T23" fmla="*/ 2 h 10"/>
              <a:gd name="T24" fmla="*/ 4 w 5"/>
              <a:gd name="T25" fmla="*/ 4 h 10"/>
              <a:gd name="T26" fmla="*/ 4 w 5"/>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0">
                <a:moveTo>
                  <a:pt x="3" y="9"/>
                </a:moveTo>
                <a:cubicBezTo>
                  <a:pt x="2" y="8"/>
                  <a:pt x="2" y="8"/>
                  <a:pt x="2" y="8"/>
                </a:cubicBezTo>
                <a:cubicBezTo>
                  <a:pt x="1" y="8"/>
                  <a:pt x="1" y="8"/>
                  <a:pt x="1" y="8"/>
                </a:cubicBezTo>
                <a:cubicBezTo>
                  <a:pt x="0" y="10"/>
                  <a:pt x="0" y="10"/>
                  <a:pt x="0" y="10"/>
                </a:cubicBezTo>
                <a:cubicBezTo>
                  <a:pt x="2" y="10"/>
                  <a:pt x="2" y="10"/>
                  <a:pt x="2" y="10"/>
                </a:cubicBezTo>
                <a:cubicBezTo>
                  <a:pt x="3" y="9"/>
                  <a:pt x="3" y="9"/>
                  <a:pt x="3" y="9"/>
                </a:cubicBezTo>
                <a:close/>
                <a:moveTo>
                  <a:pt x="3" y="6"/>
                </a:moveTo>
                <a:cubicBezTo>
                  <a:pt x="4" y="7"/>
                  <a:pt x="4" y="7"/>
                  <a:pt x="4" y="7"/>
                </a:cubicBezTo>
                <a:cubicBezTo>
                  <a:pt x="3" y="7"/>
                  <a:pt x="3" y="7"/>
                  <a:pt x="3" y="7"/>
                </a:cubicBezTo>
                <a:cubicBezTo>
                  <a:pt x="3" y="7"/>
                  <a:pt x="3" y="6"/>
                  <a:pt x="3" y="6"/>
                </a:cubicBezTo>
                <a:close/>
                <a:moveTo>
                  <a:pt x="4" y="0"/>
                </a:moveTo>
                <a:cubicBezTo>
                  <a:pt x="5" y="2"/>
                  <a:pt x="5" y="2"/>
                  <a:pt x="5" y="2"/>
                </a:cubicBezTo>
                <a:cubicBezTo>
                  <a:pt x="4" y="4"/>
                  <a:pt x="4" y="4"/>
                  <a:pt x="4" y="4"/>
                </a:cubicBezTo>
                <a:lnTo>
                  <a:pt x="4" y="0"/>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07" name="Freeform 206">
            <a:extLst>
              <a:ext uri="{FF2B5EF4-FFF2-40B4-BE49-F238E27FC236}">
                <a16:creationId xmlns:a16="http://schemas.microsoft.com/office/drawing/2014/main" id="{9A5B5C91-D579-9050-0555-59DDAEBAE129}"/>
              </a:ext>
            </a:extLst>
          </p:cNvPr>
          <p:cNvSpPr>
            <a:spLocks noEditPoints="1"/>
          </p:cNvSpPr>
          <p:nvPr userDrawn="1"/>
        </p:nvSpPr>
        <p:spPr bwMode="auto">
          <a:xfrm>
            <a:off x="9359290" y="8670208"/>
            <a:ext cx="88896" cy="79376"/>
          </a:xfrm>
          <a:custGeom>
            <a:avLst/>
            <a:gdLst>
              <a:gd name="T0" fmla="*/ 22 w 28"/>
              <a:gd name="T1" fmla="*/ 3 h 25"/>
              <a:gd name="T2" fmla="*/ 28 w 28"/>
              <a:gd name="T3" fmla="*/ 0 h 25"/>
              <a:gd name="T4" fmla="*/ 25 w 28"/>
              <a:gd name="T5" fmla="*/ 3 h 25"/>
              <a:gd name="T6" fmla="*/ 22 w 28"/>
              <a:gd name="T7" fmla="*/ 3 h 25"/>
              <a:gd name="T8" fmla="*/ 22 w 28"/>
              <a:gd name="T9" fmla="*/ 3 h 25"/>
              <a:gd name="T10" fmla="*/ 22 w 28"/>
              <a:gd name="T11" fmla="*/ 7 h 25"/>
              <a:gd name="T12" fmla="*/ 12 w 28"/>
              <a:gd name="T13" fmla="*/ 10 h 25"/>
              <a:gd name="T14" fmla="*/ 9 w 28"/>
              <a:gd name="T15" fmla="*/ 7 h 25"/>
              <a:gd name="T16" fmla="*/ 6 w 28"/>
              <a:gd name="T17" fmla="*/ 10 h 25"/>
              <a:gd name="T18" fmla="*/ 3 w 28"/>
              <a:gd name="T19" fmla="*/ 10 h 25"/>
              <a:gd name="T20" fmla="*/ 9 w 28"/>
              <a:gd name="T21" fmla="*/ 13 h 25"/>
              <a:gd name="T22" fmla="*/ 9 w 28"/>
              <a:gd name="T23" fmla="*/ 19 h 25"/>
              <a:gd name="T24" fmla="*/ 6 w 28"/>
              <a:gd name="T25" fmla="*/ 22 h 25"/>
              <a:gd name="T26" fmla="*/ 0 w 28"/>
              <a:gd name="T27" fmla="*/ 22 h 25"/>
              <a:gd name="T28" fmla="*/ 6 w 28"/>
              <a:gd name="T29" fmla="*/ 25 h 25"/>
              <a:gd name="T30" fmla="*/ 15 w 28"/>
              <a:gd name="T31" fmla="*/ 22 h 25"/>
              <a:gd name="T32" fmla="*/ 18 w 28"/>
              <a:gd name="T33" fmla="*/ 19 h 25"/>
              <a:gd name="T34" fmla="*/ 18 w 28"/>
              <a:gd name="T35" fmla="*/ 16 h 25"/>
              <a:gd name="T36" fmla="*/ 15 w 28"/>
              <a:gd name="T37" fmla="*/ 13 h 25"/>
              <a:gd name="T38" fmla="*/ 22 w 28"/>
              <a:gd name="T39" fmla="*/ 7 h 25"/>
              <a:gd name="T40" fmla="*/ 22 w 28"/>
              <a:gd name="T41"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25">
                <a:moveTo>
                  <a:pt x="22" y="3"/>
                </a:moveTo>
                <a:lnTo>
                  <a:pt x="28" y="0"/>
                </a:lnTo>
                <a:lnTo>
                  <a:pt x="25" y="3"/>
                </a:lnTo>
                <a:lnTo>
                  <a:pt x="22" y="3"/>
                </a:lnTo>
                <a:lnTo>
                  <a:pt x="22" y="3"/>
                </a:lnTo>
                <a:close/>
                <a:moveTo>
                  <a:pt x="22" y="7"/>
                </a:moveTo>
                <a:lnTo>
                  <a:pt x="12" y="10"/>
                </a:lnTo>
                <a:lnTo>
                  <a:pt x="9" y="7"/>
                </a:lnTo>
                <a:lnTo>
                  <a:pt x="6" y="10"/>
                </a:lnTo>
                <a:lnTo>
                  <a:pt x="3" y="10"/>
                </a:lnTo>
                <a:lnTo>
                  <a:pt x="9" y="13"/>
                </a:lnTo>
                <a:lnTo>
                  <a:pt x="9" y="19"/>
                </a:lnTo>
                <a:lnTo>
                  <a:pt x="6" y="22"/>
                </a:lnTo>
                <a:lnTo>
                  <a:pt x="0" y="22"/>
                </a:lnTo>
                <a:lnTo>
                  <a:pt x="6" y="25"/>
                </a:lnTo>
                <a:lnTo>
                  <a:pt x="15" y="22"/>
                </a:lnTo>
                <a:lnTo>
                  <a:pt x="18" y="19"/>
                </a:lnTo>
                <a:lnTo>
                  <a:pt x="18" y="16"/>
                </a:lnTo>
                <a:lnTo>
                  <a:pt x="15" y="13"/>
                </a:lnTo>
                <a:lnTo>
                  <a:pt x="22" y="7"/>
                </a:lnTo>
                <a:lnTo>
                  <a:pt x="22" y="7"/>
                </a:lnTo>
                <a:close/>
              </a:path>
            </a:pathLst>
          </a:custGeom>
          <a:solidFill>
            <a:srgbClr val="B3B2B2"/>
          </a:solidFill>
          <a:ln w="9525">
            <a:solidFill>
              <a:srgbClr val="B3B2B2"/>
            </a:solidFill>
            <a:round/>
            <a:headEnd/>
            <a:tailEnd/>
          </a:ln>
        </p:spPr>
        <p:txBody>
          <a:bodyPr vert="horz" wrap="square" lIns="182856" tIns="91428" rIns="182856" bIns="91428" numCol="1" anchor="t" anchorCtr="0" compatLnSpc="1">
            <a:prstTxWarp prst="textNoShape">
              <a:avLst/>
            </a:prstTxWarp>
          </a:bodyPr>
          <a:lstStyle/>
          <a:p>
            <a:pPr marL="0" marR="0" lvl="0" indent="0" algn="l" defTabSz="1828619"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000000"/>
              </a:solidFill>
              <a:effectLst/>
              <a:uLnTx/>
              <a:uFillTx/>
              <a:latin typeface="Noto IKEA Latin"/>
              <a:ea typeface="+mn-ea"/>
              <a:cs typeface="+mn-cs"/>
            </a:endParaRPr>
          </a:p>
        </p:txBody>
      </p:sp>
      <p:sp>
        <p:nvSpPr>
          <p:cNvPr id="1810" name="TextBox 1809">
            <a:extLst>
              <a:ext uri="{FF2B5EF4-FFF2-40B4-BE49-F238E27FC236}">
                <a16:creationId xmlns:a16="http://schemas.microsoft.com/office/drawing/2014/main" id="{5C9C8613-F3BE-4825-58D3-4A2EE0066D6E}"/>
              </a:ext>
            </a:extLst>
          </p:cNvPr>
          <p:cNvSpPr txBox="1"/>
          <p:nvPr userDrawn="1"/>
        </p:nvSpPr>
        <p:spPr>
          <a:xfrm>
            <a:off x="22416463" y="13226644"/>
            <a:ext cx="1872086" cy="400110"/>
          </a:xfrm>
          <a:prstGeom prst="rect">
            <a:avLst/>
          </a:prstGeom>
          <a:noFill/>
        </p:spPr>
        <p:txBody>
          <a:bodyPr wrap="square" rtlCol="0" anchor="b">
            <a:spAutoFit/>
          </a:bodyPr>
          <a:lstStyle/>
          <a:p>
            <a:pPr marL="0" marR="0" lvl="0" indent="0" algn="r" defTabSz="1828573" rtl="0" eaLnBrk="1" fontAlgn="auto" latinLnBrk="0" hangingPunct="1">
              <a:lnSpc>
                <a:spcPct val="100000"/>
              </a:lnSpc>
              <a:spcBef>
                <a:spcPts val="0"/>
              </a:spcBef>
              <a:spcAft>
                <a:spcPts val="0"/>
              </a:spcAft>
              <a:buClrTx/>
              <a:buSzTx/>
              <a:buFontTx/>
              <a:buNone/>
              <a:tabLst/>
              <a:defRPr/>
            </a:pPr>
            <a:fld id="{6CE035FB-656D-BE4C-9C54-3AFE6E724348}" type="slidenum">
              <a:rPr kumimoji="0" lang="en-GB" sz="2000" b="0" i="0" u="none" strike="noStrike" kern="1200" cap="none" spc="0" normalizeH="0" baseline="0" noProof="0" smtClean="0">
                <a:ln>
                  <a:noFill/>
                </a:ln>
                <a:solidFill>
                  <a:srgbClr val="000000"/>
                </a:solidFill>
                <a:effectLst/>
                <a:uLnTx/>
                <a:uFillTx/>
                <a:latin typeface="Noto IKEA Latin" panose="020B0502040504020204" pitchFamily="34" charset="0"/>
                <a:ea typeface="+mn-ea"/>
                <a:cs typeface="+mn-cs"/>
              </a:rPr>
              <a:pPr marL="0" marR="0" lvl="0" indent="0" algn="r" defTabSz="1828573" rtl="0" eaLnBrk="1" fontAlgn="auto" latinLnBrk="0" hangingPunct="1">
                <a:lnSpc>
                  <a:spcPct val="100000"/>
                </a:lnSpc>
                <a:spcBef>
                  <a:spcPts val="0"/>
                </a:spcBef>
                <a:spcAft>
                  <a:spcPts val="0"/>
                </a:spcAft>
                <a:buClrTx/>
                <a:buSzTx/>
                <a:buFontTx/>
                <a:buNone/>
                <a:tabLst/>
                <a:defRPr/>
              </a:pPr>
              <a:t>‹#›</a:t>
            </a:fld>
            <a:endParaRPr kumimoji="0" lang="en-GB" sz="2000" b="0" i="0" u="none" strike="noStrike" kern="1200" cap="none" spc="0" normalizeH="0" baseline="0" noProof="0">
              <a:ln>
                <a:noFill/>
              </a:ln>
              <a:solidFill>
                <a:srgbClr val="000000"/>
              </a:solidFill>
              <a:effectLst/>
              <a:uLnTx/>
              <a:uFillTx/>
              <a:latin typeface="Noto IKEA Latin" panose="020B0502040504020204" pitchFamily="34" charset="0"/>
              <a:ea typeface="+mn-ea"/>
              <a:cs typeface="+mn-cs"/>
            </a:endParaRPr>
          </a:p>
        </p:txBody>
      </p:sp>
    </p:spTree>
    <p:extLst>
      <p:ext uri="{BB962C8B-B14F-4D97-AF65-F5344CB8AC3E}">
        <p14:creationId xmlns:p14="http://schemas.microsoft.com/office/powerpoint/2010/main" val="12155159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and picture on the right">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DD48D48A-6A5E-1641-B321-0C5DA93B51AF}"/>
              </a:ext>
            </a:extLst>
          </p:cNvPr>
          <p:cNvSpPr>
            <a:spLocks noGrp="1"/>
          </p:cNvSpPr>
          <p:nvPr>
            <p:ph type="pic" sz="quarter" idx="15" hasCustomPrompt="1"/>
          </p:nvPr>
        </p:nvSpPr>
        <p:spPr>
          <a:xfrm>
            <a:off x="13127310" y="486000"/>
            <a:ext cx="10764000" cy="12744000"/>
          </a:xfrm>
          <a:solidFill>
            <a:schemeClr val="bg1">
              <a:lumMod val="95000"/>
            </a:schemeClr>
          </a:solidFill>
        </p:spPr>
        <p:txBody>
          <a:bodyPr>
            <a:normAutofit/>
          </a:bodyPr>
          <a:lstStyle>
            <a:lvl1pPr marL="0" marR="0" indent="0" algn="ctr" defTabSz="1828663" rtl="0" eaLnBrk="1" fontAlgn="auto" latinLnBrk="0" hangingPunct="1">
              <a:lnSpc>
                <a:spcPct val="90000"/>
              </a:lnSpc>
              <a:spcBef>
                <a:spcPts val="2000"/>
              </a:spcBef>
              <a:spcAft>
                <a:spcPts val="0"/>
              </a:spcAft>
              <a:buClrTx/>
              <a:buSzTx/>
              <a:buFont typeface="Arial" panose="020B0604020202020204" pitchFamily="34" charset="0"/>
              <a:buNone/>
              <a:tabLst/>
              <a:defRPr sz="2400">
                <a:solidFill>
                  <a:schemeClr val="tx1">
                    <a:lumMod val="65000"/>
                    <a:lumOff val="35000"/>
                  </a:schemeClr>
                </a:solidFill>
              </a:defRPr>
            </a:lvl1pPr>
          </a:lstStyle>
          <a:p>
            <a:r>
              <a:rPr lang="en-NL"/>
              <a:t>Drag and drop a topic-related picture into this frame</a:t>
            </a:r>
          </a:p>
        </p:txBody>
      </p:sp>
      <p:sp>
        <p:nvSpPr>
          <p:cNvPr id="4" name="Text Placeholder 3">
            <a:extLst>
              <a:ext uri="{FF2B5EF4-FFF2-40B4-BE49-F238E27FC236}">
                <a16:creationId xmlns:a16="http://schemas.microsoft.com/office/drawing/2014/main" id="{52E9B177-8DA0-0441-A221-80226E11295B}"/>
              </a:ext>
            </a:extLst>
          </p:cNvPr>
          <p:cNvSpPr>
            <a:spLocks noGrp="1"/>
          </p:cNvSpPr>
          <p:nvPr>
            <p:ph type="body" sz="quarter" idx="18" hasCustomPrompt="1"/>
          </p:nvPr>
        </p:nvSpPr>
        <p:spPr>
          <a:xfrm>
            <a:off x="1674329" y="5129213"/>
            <a:ext cx="10516084" cy="6904512"/>
          </a:xfrm>
        </p:spPr>
        <p:txBody>
          <a:bodyPr>
            <a:noAutofit/>
          </a:bodyPr>
          <a:lstStyle>
            <a:lvl1pPr>
              <a:spcBef>
                <a:spcPts val="2000"/>
              </a:spcBef>
              <a:defRPr sz="3200"/>
            </a:lvl1pPr>
          </a:lstStyle>
          <a:p>
            <a:pPr lvl="0"/>
            <a:r>
              <a:rPr lang="en-GB" noProof="0"/>
              <a:t>Put the paragraph text here, keep it regular 32 </a:t>
            </a:r>
            <a:r>
              <a:rPr lang="en-GB" noProof="0" err="1"/>
              <a:t>pt</a:t>
            </a:r>
            <a:endParaRPr lang="en-GB" noProof="0"/>
          </a:p>
        </p:txBody>
      </p:sp>
      <p:sp>
        <p:nvSpPr>
          <p:cNvPr id="2" name="Title 1">
            <a:extLst>
              <a:ext uri="{FF2B5EF4-FFF2-40B4-BE49-F238E27FC236}">
                <a16:creationId xmlns:a16="http://schemas.microsoft.com/office/drawing/2014/main" id="{44A2E15B-0973-F742-A266-E1107E35FE40}"/>
              </a:ext>
            </a:extLst>
          </p:cNvPr>
          <p:cNvSpPr>
            <a:spLocks noGrp="1"/>
          </p:cNvSpPr>
          <p:nvPr>
            <p:ph type="title" hasCustomPrompt="1"/>
          </p:nvPr>
        </p:nvSpPr>
        <p:spPr>
          <a:xfrm>
            <a:off x="1676293" y="1677600"/>
            <a:ext cx="10514913" cy="3011659"/>
          </a:xfrm>
        </p:spPr>
        <p:txBody>
          <a:bodyPr/>
          <a:lstStyle/>
          <a:p>
            <a:r>
              <a:rPr lang="en-GB"/>
              <a:t>Put the headline here, keep it 80 </a:t>
            </a:r>
            <a:r>
              <a:rPr lang="en-GB" err="1"/>
              <a:t>pt</a:t>
            </a:r>
            <a:endParaRPr lang="en-NL"/>
          </a:p>
        </p:txBody>
      </p:sp>
      <p:sp>
        <p:nvSpPr>
          <p:cNvPr id="7" name="Footer Placeholder 6">
            <a:extLst>
              <a:ext uri="{FF2B5EF4-FFF2-40B4-BE49-F238E27FC236}">
                <a16:creationId xmlns:a16="http://schemas.microsoft.com/office/drawing/2014/main" id="{1BBF2C0D-081E-D341-990A-85E80DD0D1B7}"/>
              </a:ext>
            </a:extLst>
          </p:cNvPr>
          <p:cNvSpPr>
            <a:spLocks noGrp="1"/>
          </p:cNvSpPr>
          <p:nvPr>
            <p:ph type="ftr" sz="quarter" idx="19"/>
          </p:nvPr>
        </p:nvSpPr>
        <p:spPr/>
        <p:txBody>
          <a:bodyPr/>
          <a:lstStyle/>
          <a:p>
            <a:endParaRPr lang="en-NL"/>
          </a:p>
        </p:txBody>
      </p:sp>
      <p:sp>
        <p:nvSpPr>
          <p:cNvPr id="10" name="TextBox 9">
            <a:extLst>
              <a:ext uri="{FF2B5EF4-FFF2-40B4-BE49-F238E27FC236}">
                <a16:creationId xmlns:a16="http://schemas.microsoft.com/office/drawing/2014/main" id="{894FC958-E5A8-B74F-A7E7-30B82C0B44E8}"/>
              </a:ext>
            </a:extLst>
          </p:cNvPr>
          <p:cNvSpPr txBox="1"/>
          <p:nvPr userDrawn="1"/>
        </p:nvSpPr>
        <p:spPr>
          <a:xfrm>
            <a:off x="22416464" y="13226642"/>
            <a:ext cx="1872086" cy="400110"/>
          </a:xfrm>
          <a:prstGeom prst="rect">
            <a:avLst/>
          </a:prstGeom>
          <a:noFill/>
        </p:spPr>
        <p:txBody>
          <a:bodyPr wrap="square" rtlCol="0" anchor="b">
            <a:spAutoFit/>
          </a:bodyPr>
          <a:lstStyle/>
          <a:p>
            <a:pPr algn="r"/>
            <a:fld id="{6CE035FB-656D-BE4C-9C54-3AFE6E724348}" type="slidenum">
              <a:rPr lang="en-GB" sz="2000" noProof="0" smtClean="0">
                <a:latin typeface="Noto IKEA Latin" panose="020B0502040504020204" pitchFamily="34" charset="0"/>
              </a:rPr>
              <a:pPr algn="r"/>
              <a:t>‹#›</a:t>
            </a:fld>
            <a:endParaRPr lang="en-GB" sz="2000" noProof="0">
              <a:latin typeface="Noto IKEA Latin" panose="020B0502040504020204" pitchFamily="34" charset="0"/>
            </a:endParaRPr>
          </a:p>
        </p:txBody>
      </p:sp>
    </p:spTree>
    <p:extLst>
      <p:ext uri="{BB962C8B-B14F-4D97-AF65-F5344CB8AC3E}">
        <p14:creationId xmlns:p14="http://schemas.microsoft.com/office/powerpoint/2010/main" val="226922303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itle on partial colour background, texture or image with IKEA logo">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87BBF9D-BEB5-5444-89E4-010A3501B6E5}"/>
              </a:ext>
            </a:extLst>
          </p:cNvPr>
          <p:cNvSpPr>
            <a:spLocks noGrp="1"/>
          </p:cNvSpPr>
          <p:nvPr>
            <p:ph type="pic" sz="quarter" idx="14" hasCustomPrompt="1"/>
          </p:nvPr>
        </p:nvSpPr>
        <p:spPr>
          <a:xfrm>
            <a:off x="0" y="-1"/>
            <a:ext cx="24382413" cy="10458450"/>
          </a:xfrm>
          <a:solidFill>
            <a:srgbClr val="E4E5E3"/>
          </a:solidFill>
        </p:spPr>
        <p:txBody>
          <a:bodyPr>
            <a:normAutofit/>
          </a:bodyPr>
          <a:lstStyle>
            <a:lvl1pPr marL="0" marR="0" indent="0" algn="l" defTabSz="1828573" rtl="0" eaLnBrk="1" fontAlgn="auto" latinLnBrk="0" hangingPunct="1">
              <a:lnSpc>
                <a:spcPct val="90000"/>
              </a:lnSpc>
              <a:spcBef>
                <a:spcPts val="2000"/>
              </a:spcBef>
              <a:spcAft>
                <a:spcPts val="0"/>
              </a:spcAft>
              <a:buClrTx/>
              <a:buSzTx/>
              <a:buFont typeface="Arial" panose="020B0604020202020204" pitchFamily="34" charset="0"/>
              <a:buNone/>
              <a:tabLst/>
              <a:defRPr sz="2800">
                <a:solidFill>
                  <a:schemeClr val="bg1">
                    <a:lumMod val="50000"/>
                  </a:schemeClr>
                </a:solidFill>
              </a:defRPr>
            </a:lvl1pPr>
          </a:lstStyle>
          <a:p>
            <a:r>
              <a:rPr lang="en-GB" noProof="0"/>
              <a:t>Drag and drop to add a picture</a:t>
            </a:r>
          </a:p>
        </p:txBody>
      </p:sp>
      <p:sp>
        <p:nvSpPr>
          <p:cNvPr id="12" name="Title Placeholder 6">
            <a:extLst>
              <a:ext uri="{FF2B5EF4-FFF2-40B4-BE49-F238E27FC236}">
                <a16:creationId xmlns:a16="http://schemas.microsoft.com/office/drawing/2014/main" id="{71F3579E-5690-174D-A58E-585FA9CDD0B1}"/>
              </a:ext>
            </a:extLst>
          </p:cNvPr>
          <p:cNvSpPr>
            <a:spLocks noGrp="1"/>
          </p:cNvSpPr>
          <p:nvPr>
            <p:ph type="title" hasCustomPrompt="1"/>
          </p:nvPr>
        </p:nvSpPr>
        <p:spPr>
          <a:xfrm>
            <a:off x="1679467" y="1677603"/>
            <a:ext cx="21029831" cy="4013370"/>
          </a:xfrm>
          <a:prstGeom prst="rect">
            <a:avLst/>
          </a:prstGeom>
        </p:spPr>
        <p:txBody>
          <a:bodyPr vert="horz" lIns="91440" tIns="45720" rIns="91440" bIns="45720" rtlCol="0" anchor="t">
            <a:noAutofit/>
          </a:bodyPr>
          <a:lstStyle>
            <a:lvl1pPr>
              <a:defRPr/>
            </a:lvl1pPr>
          </a:lstStyle>
          <a:p>
            <a:r>
              <a:rPr lang="en-GB" noProof="0"/>
              <a:t>Put the title here,</a:t>
            </a:r>
            <a:br>
              <a:rPr lang="en-GB" noProof="0"/>
            </a:br>
            <a:r>
              <a:rPr lang="en-GB" noProof="0"/>
              <a:t>keep it bold 60 pt</a:t>
            </a:r>
          </a:p>
        </p:txBody>
      </p:sp>
      <p:sp>
        <p:nvSpPr>
          <p:cNvPr id="10" name="Text Placeholder 6">
            <a:extLst>
              <a:ext uri="{FF2B5EF4-FFF2-40B4-BE49-F238E27FC236}">
                <a16:creationId xmlns:a16="http://schemas.microsoft.com/office/drawing/2014/main" id="{ECC773ED-664B-824F-91D1-6C08CFB17BDA}"/>
              </a:ext>
            </a:extLst>
          </p:cNvPr>
          <p:cNvSpPr>
            <a:spLocks noGrp="1"/>
          </p:cNvSpPr>
          <p:nvPr>
            <p:ph type="body" sz="quarter" idx="13" hasCustomPrompt="1"/>
          </p:nvPr>
        </p:nvSpPr>
        <p:spPr>
          <a:xfrm>
            <a:off x="1700166" y="6137281"/>
            <a:ext cx="10657784" cy="3457030"/>
          </a:xfrm>
        </p:spPr>
        <p:txBody>
          <a:bodyPr/>
          <a:lstStyle>
            <a:lvl1pPr>
              <a:spcBef>
                <a:spcPts val="0"/>
              </a:spcBef>
              <a:defRPr sz="4800"/>
            </a:lvl1pPr>
          </a:lstStyle>
          <a:p>
            <a:pPr lvl="0"/>
            <a:r>
              <a:rPr lang="en-GB" noProof="0"/>
              <a:t>Put the subtitle here,</a:t>
            </a:r>
            <a:br>
              <a:rPr lang="en-GB" noProof="0"/>
            </a:br>
            <a:r>
              <a:rPr lang="en-GB" noProof="0"/>
              <a:t>keep it regular 24 </a:t>
            </a:r>
            <a:r>
              <a:rPr lang="en-GB" noProof="0" err="1"/>
              <a:t>pt</a:t>
            </a:r>
            <a:endParaRPr lang="en-GB" noProof="0"/>
          </a:p>
        </p:txBody>
      </p:sp>
      <p:pic>
        <p:nvPicPr>
          <p:cNvPr id="9" name="Picture 8">
            <a:extLst>
              <a:ext uri="{FF2B5EF4-FFF2-40B4-BE49-F238E27FC236}">
                <a16:creationId xmlns:a16="http://schemas.microsoft.com/office/drawing/2014/main" id="{96D72230-E953-2344-BE6F-83C4D88C1C4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570075" y="10514135"/>
            <a:ext cx="4812341" cy="3236442"/>
          </a:xfrm>
          <a:prstGeom prst="rect">
            <a:avLst/>
          </a:prstGeom>
        </p:spPr>
      </p:pic>
      <p:sp>
        <p:nvSpPr>
          <p:cNvPr id="4" name="Text Placeholder 3">
            <a:extLst>
              <a:ext uri="{FF2B5EF4-FFF2-40B4-BE49-F238E27FC236}">
                <a16:creationId xmlns:a16="http://schemas.microsoft.com/office/drawing/2014/main" id="{B5329D23-EF50-DA48-938A-1EBB7615B30C}"/>
              </a:ext>
            </a:extLst>
          </p:cNvPr>
          <p:cNvSpPr>
            <a:spLocks noGrp="1"/>
          </p:cNvSpPr>
          <p:nvPr>
            <p:ph type="body" sz="quarter" idx="18" hasCustomPrompt="1"/>
          </p:nvPr>
        </p:nvSpPr>
        <p:spPr>
          <a:xfrm rot="5400000">
            <a:off x="20902621" y="2898380"/>
            <a:ext cx="5759746" cy="719337"/>
          </a:xfrm>
        </p:spPr>
        <p:txBody>
          <a:bodyPr anchor="ctr"/>
          <a:lstStyle>
            <a:lvl1pPr>
              <a:defRPr sz="1600">
                <a:solidFill>
                  <a:schemeClr val="tx1">
                    <a:lumMod val="50000"/>
                    <a:lumOff val="50000"/>
                  </a:schemeClr>
                </a:solidFill>
              </a:defRPr>
            </a:lvl1pPr>
          </a:lstStyle>
          <a:p>
            <a:pPr lvl="0"/>
            <a:r>
              <a:rPr lang="en-US"/>
              <a:t>© Inter IKEA Systems B.V. 2020</a:t>
            </a:r>
            <a:endParaRPr lang="en-GB"/>
          </a:p>
        </p:txBody>
      </p:sp>
    </p:spTree>
    <p:extLst>
      <p:ext uri="{BB962C8B-B14F-4D97-AF65-F5344CB8AC3E}">
        <p14:creationId xmlns:p14="http://schemas.microsoft.com/office/powerpoint/2010/main" val="13350490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63592" y="3419479"/>
            <a:ext cx="21029831" cy="5705474"/>
          </a:xfrm>
        </p:spPr>
        <p:txBody>
          <a:bodyPr anchor="b"/>
          <a:lstStyle>
            <a:lvl1pPr>
              <a:defRPr sz="11999"/>
            </a:lvl1pPr>
          </a:lstStyle>
          <a:p>
            <a:r>
              <a:rPr lang="en-US"/>
              <a:t>Click to edit Master title style</a:t>
            </a:r>
            <a:endParaRPr lang="en-GB"/>
          </a:p>
        </p:txBody>
      </p:sp>
      <p:sp>
        <p:nvSpPr>
          <p:cNvPr id="3" name="Text Placeholder 2"/>
          <p:cNvSpPr>
            <a:spLocks noGrp="1"/>
          </p:cNvSpPr>
          <p:nvPr>
            <p:ph type="body" idx="1"/>
          </p:nvPr>
        </p:nvSpPr>
        <p:spPr>
          <a:xfrm>
            <a:off x="1663592" y="9178929"/>
            <a:ext cx="21029831" cy="3000374"/>
          </a:xfrm>
        </p:spPr>
        <p:txBody>
          <a:bodyPr/>
          <a:lstStyle>
            <a:lvl1pPr marL="0" indent="0">
              <a:buNone/>
              <a:defRPr sz="4800">
                <a:solidFill>
                  <a:schemeClr val="tx1">
                    <a:tint val="75000"/>
                  </a:schemeClr>
                </a:solidFill>
              </a:defRPr>
            </a:lvl1pPr>
            <a:lvl2pPr marL="914308" indent="0">
              <a:buNone/>
              <a:defRPr sz="4000">
                <a:solidFill>
                  <a:schemeClr val="tx1">
                    <a:tint val="75000"/>
                  </a:schemeClr>
                </a:solidFill>
              </a:defRPr>
            </a:lvl2pPr>
            <a:lvl3pPr marL="1828619" indent="0">
              <a:buNone/>
              <a:defRPr sz="3600">
                <a:solidFill>
                  <a:schemeClr val="tx1">
                    <a:tint val="75000"/>
                  </a:schemeClr>
                </a:solidFill>
              </a:defRPr>
            </a:lvl3pPr>
            <a:lvl4pPr marL="2742927" indent="0">
              <a:buNone/>
              <a:defRPr sz="3200">
                <a:solidFill>
                  <a:schemeClr val="tx1">
                    <a:tint val="75000"/>
                  </a:schemeClr>
                </a:solidFill>
              </a:defRPr>
            </a:lvl4pPr>
            <a:lvl5pPr marL="3657235" indent="0">
              <a:buNone/>
              <a:defRPr sz="3200">
                <a:solidFill>
                  <a:schemeClr val="tx1">
                    <a:tint val="75000"/>
                  </a:schemeClr>
                </a:solidFill>
              </a:defRPr>
            </a:lvl5pPr>
            <a:lvl6pPr marL="4571543" indent="0">
              <a:buNone/>
              <a:defRPr sz="3200">
                <a:solidFill>
                  <a:schemeClr val="tx1">
                    <a:tint val="75000"/>
                  </a:schemeClr>
                </a:solidFill>
              </a:defRPr>
            </a:lvl6pPr>
            <a:lvl7pPr marL="5485852" indent="0">
              <a:buNone/>
              <a:defRPr sz="3200">
                <a:solidFill>
                  <a:schemeClr val="tx1">
                    <a:tint val="75000"/>
                  </a:schemeClr>
                </a:solidFill>
              </a:defRPr>
            </a:lvl7pPr>
            <a:lvl8pPr marL="6400160" indent="0">
              <a:buNone/>
              <a:defRPr sz="3200">
                <a:solidFill>
                  <a:schemeClr val="tx1">
                    <a:tint val="75000"/>
                  </a:schemeClr>
                </a:solidFill>
              </a:defRPr>
            </a:lvl8pPr>
            <a:lvl9pPr marL="7314468" indent="0">
              <a:buNone/>
              <a:defRPr sz="3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8CB2AC7-B352-4C06-A37F-C1AFABEB433B}" type="datetimeFigureOut">
              <a:rPr lang="en-GB" smtClean="0">
                <a:solidFill>
                  <a:prstClr val="black">
                    <a:tint val="75000"/>
                  </a:prstClr>
                </a:solidFill>
              </a:rPr>
              <a:pPr/>
              <a:t>12/03/202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A225A4FA-9CCD-446F-8574-0A543A292A1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02690483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600" b="1" i="0">
                <a:solidFill>
                  <a:schemeClr val="tx1"/>
                </a:solidFill>
                <a:latin typeface="Noto Sans" panose="020B0502040504020204" pitchFamily="34" charset="0"/>
                <a:cs typeface="Arial"/>
              </a:defRPr>
            </a:lvl1pPr>
          </a:lstStyle>
          <a:p>
            <a:r>
              <a:rPr lang="en-US"/>
              <a:t>Click to edit Master title style</a:t>
            </a:r>
            <a:endParaRPr/>
          </a:p>
        </p:txBody>
      </p:sp>
      <p:sp>
        <p:nvSpPr>
          <p:cNvPr id="3" name="Holder 3"/>
          <p:cNvSpPr>
            <a:spLocks noGrp="1"/>
          </p:cNvSpPr>
          <p:nvPr>
            <p:ph type="body" idx="1"/>
          </p:nvPr>
        </p:nvSpPr>
        <p:spPr/>
        <p:txBody>
          <a:bodyPr lIns="0" tIns="0" rIns="0" bIns="0"/>
          <a:lstStyle>
            <a:lvl1pPr>
              <a:defRPr sz="2400" b="1" i="0">
                <a:solidFill>
                  <a:schemeClr val="tx1"/>
                </a:solidFill>
                <a:latin typeface="Noto Sans" panose="020B0502040504020204" pitchFamily="34" charset="0"/>
                <a:cs typeface="Arial"/>
              </a:defRPr>
            </a:lvl1pPr>
          </a:lstStyle>
          <a:p>
            <a:pPr lvl="0"/>
            <a:r>
              <a:rPr lang="en-US"/>
              <a:t>Click to edit Master text styles</a:t>
            </a: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2/2025</a:t>
            </a:fld>
            <a:endParaRPr lang="en-US"/>
          </a:p>
        </p:txBody>
      </p:sp>
      <p:sp>
        <p:nvSpPr>
          <p:cNvPr id="6" name="Holder 6"/>
          <p:cNvSpPr>
            <a:spLocks noGrp="1"/>
          </p:cNvSpPr>
          <p:nvPr>
            <p:ph type="sldNum" sz="quarter" idx="7"/>
          </p:nvPr>
        </p:nvSpPr>
        <p:spPr/>
        <p:txBody>
          <a:bodyPr lIns="0" tIns="0" rIns="0" bIns="0"/>
          <a:lstStyle>
            <a:lvl1pPr>
              <a:defRPr sz="2000" b="0" i="0">
                <a:solidFill>
                  <a:schemeClr val="tx1"/>
                </a:solidFill>
                <a:latin typeface="Arial"/>
                <a:cs typeface="Arial"/>
              </a:defRPr>
            </a:lvl1pPr>
          </a:lstStyle>
          <a:p>
            <a:pPr marL="198100">
              <a:spcBef>
                <a:spcPts val="450"/>
              </a:spcBef>
            </a:pPr>
            <a:fld id="{81D60167-4931-47E6-BA6A-407CBD079E47}" type="slidenum">
              <a:rPr lang="sv-SE" spc="-10" smtClean="0">
                <a:latin typeface="Franklin Gothic Medium"/>
                <a:cs typeface="Franklin Gothic Medium"/>
              </a:rPr>
              <a:pPr marL="198100">
                <a:spcBef>
                  <a:spcPts val="450"/>
                </a:spcBef>
              </a:pPr>
              <a:t>‹#›</a:t>
            </a:fld>
            <a:endParaRPr lang="sv-SE" spc="-10">
              <a:latin typeface="Franklin Gothic Medium"/>
              <a:cs typeface="Franklin Gothic Medium"/>
            </a:endParaRPr>
          </a:p>
        </p:txBody>
      </p:sp>
    </p:spTree>
    <p:extLst>
      <p:ext uri="{BB962C8B-B14F-4D97-AF65-F5344CB8AC3E}">
        <p14:creationId xmlns:p14="http://schemas.microsoft.com/office/powerpoint/2010/main" val="403208162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Fullscreen image + title + text">
    <p:spTree>
      <p:nvGrpSpPr>
        <p:cNvPr id="1" name=""/>
        <p:cNvGrpSpPr/>
        <p:nvPr/>
      </p:nvGrpSpPr>
      <p:grpSpPr>
        <a:xfrm>
          <a:off x="0" y="0"/>
          <a:ext cx="0" cy="0"/>
          <a:chOff x="0" y="0"/>
          <a:chExt cx="0" cy="0"/>
        </a:xfrm>
      </p:grpSpPr>
      <p:sp>
        <p:nvSpPr>
          <p:cNvPr id="7" name="Picture Placeholder 4"/>
          <p:cNvSpPr>
            <a:spLocks noGrp="1"/>
          </p:cNvSpPr>
          <p:nvPr>
            <p:ph type="pic" sz="quarter" idx="10" hasCustomPrompt="1"/>
          </p:nvPr>
        </p:nvSpPr>
        <p:spPr>
          <a:xfrm>
            <a:off x="0" y="0"/>
            <a:ext cx="24382413" cy="13716000"/>
          </a:xfrm>
          <a:prstGeom prst="rect">
            <a:avLst/>
          </a:prstGeom>
        </p:spPr>
        <p:txBody>
          <a:bodyPr/>
          <a:lstStyle>
            <a:lvl1pPr marL="237036" indent="0" algn="l">
              <a:buNone/>
              <a:defRPr b="1" baseline="0">
                <a:solidFill>
                  <a:schemeClr val="bg1">
                    <a:lumMod val="95000"/>
                  </a:schemeClr>
                </a:solidFill>
              </a:defRPr>
            </a:lvl1pPr>
          </a:lstStyle>
          <a:p>
            <a:r>
              <a:rPr lang="en-GB"/>
              <a:t>Drop background picture here</a:t>
            </a:r>
          </a:p>
        </p:txBody>
      </p:sp>
      <p:sp>
        <p:nvSpPr>
          <p:cNvPr id="8" name="Text Placeholder 2"/>
          <p:cNvSpPr>
            <a:spLocks noGrp="1"/>
          </p:cNvSpPr>
          <p:nvPr>
            <p:ph type="body" sz="quarter" idx="13" hasCustomPrompt="1"/>
          </p:nvPr>
        </p:nvSpPr>
        <p:spPr>
          <a:xfrm>
            <a:off x="1980680" y="1998990"/>
            <a:ext cx="12214879" cy="2610285"/>
          </a:xfrm>
          <a:prstGeom prst="rect">
            <a:avLst/>
          </a:prstGeom>
          <a:noFill/>
          <a:effectLst>
            <a:outerShdw blurRad="101600" dir="2700000" algn="tl" rotWithShape="0">
              <a:prstClr val="black">
                <a:alpha val="50000"/>
              </a:prstClr>
            </a:outerShdw>
            <a:softEdge rad="0"/>
          </a:effectLst>
        </p:spPr>
        <p:txBody>
          <a:bodyPr wrap="square" lIns="180000" tIns="180000" rIns="180000" bIns="180000" anchor="t">
            <a:spAutoFit/>
          </a:bodyPr>
          <a:lstStyle>
            <a:lvl1pPr marL="177783" indent="0" algn="l">
              <a:spcAft>
                <a:spcPts val="1200"/>
              </a:spcAft>
              <a:buNone/>
              <a:tabLst/>
              <a:defRPr sz="9600" b="1" cap="none" spc="0">
                <a:solidFill>
                  <a:schemeClr val="bg1"/>
                </a:solidFill>
                <a:latin typeface="+mj-lt"/>
              </a:defRPr>
            </a:lvl1pPr>
            <a:lvl2pPr marL="177783" indent="0" algn="l">
              <a:spcBef>
                <a:spcPts val="0"/>
              </a:spcBef>
              <a:spcAft>
                <a:spcPts val="1200"/>
              </a:spcAft>
              <a:buFont typeface="Arial" panose="020B0604020202020204" pitchFamily="34" charset="0"/>
              <a:buNone/>
              <a:tabLst/>
              <a:defRPr sz="4000" b="1">
                <a:solidFill>
                  <a:schemeClr val="bg1"/>
                </a:solidFill>
                <a:latin typeface="+mj-lt"/>
              </a:defRPr>
            </a:lvl2pPr>
            <a:lvl3pPr marL="184133" indent="0" algn="ctr">
              <a:spcBef>
                <a:spcPts val="0"/>
              </a:spcBef>
              <a:spcAft>
                <a:spcPts val="1200"/>
              </a:spcAft>
              <a:buFont typeface="Arial" panose="020B0604020202020204" pitchFamily="34" charset="0"/>
              <a:buNone/>
              <a:tabLst>
                <a:tab pos="1671958" algn="l"/>
                <a:tab pos="1680424" algn="l"/>
              </a:tabLst>
              <a:defRPr sz="3200" b="1" i="1">
                <a:solidFill>
                  <a:schemeClr val="tx1">
                    <a:lumMod val="75000"/>
                    <a:lumOff val="25000"/>
                  </a:schemeClr>
                </a:solidFill>
              </a:defRPr>
            </a:lvl3pPr>
            <a:lvl4pPr marL="184133" indent="0" algn="ctr">
              <a:spcBef>
                <a:spcPts val="0"/>
              </a:spcBef>
              <a:spcAft>
                <a:spcPts val="1200"/>
              </a:spcAft>
              <a:buFont typeface="Arial" charset="0"/>
              <a:buNone/>
              <a:tabLst/>
              <a:defRPr sz="3200" b="1">
                <a:solidFill>
                  <a:schemeClr val="tx1">
                    <a:lumMod val="75000"/>
                    <a:lumOff val="25000"/>
                  </a:schemeClr>
                </a:solidFill>
              </a:defRPr>
            </a:lvl4pPr>
            <a:lvl5pPr marL="184133" indent="0" algn="ctr">
              <a:spcBef>
                <a:spcPts val="0"/>
              </a:spcBef>
              <a:spcAft>
                <a:spcPts val="1200"/>
              </a:spcAft>
              <a:buFont typeface="Arial" charset="0"/>
              <a:buNone/>
              <a:tabLst/>
              <a:defRPr sz="3200" b="1">
                <a:solidFill>
                  <a:schemeClr val="tx1">
                    <a:lumMod val="75000"/>
                    <a:lumOff val="25000"/>
                  </a:schemeClr>
                </a:solidFill>
              </a:defRPr>
            </a:lvl5pPr>
          </a:lstStyle>
          <a:p>
            <a:pPr lvl="0"/>
            <a:r>
              <a:rPr lang="en-GB" noProof="0"/>
              <a:t>Text</a:t>
            </a:r>
          </a:p>
          <a:p>
            <a:pPr lvl="1"/>
            <a:r>
              <a:rPr lang="en-GB" noProof="0"/>
              <a:t>More text</a:t>
            </a:r>
          </a:p>
        </p:txBody>
      </p:sp>
      <p:sp>
        <p:nvSpPr>
          <p:cNvPr id="4" name="Text Placeholder 2"/>
          <p:cNvSpPr>
            <a:spLocks noGrp="1"/>
          </p:cNvSpPr>
          <p:nvPr>
            <p:ph type="body" sz="quarter" idx="14" hasCustomPrompt="1"/>
          </p:nvPr>
        </p:nvSpPr>
        <p:spPr>
          <a:xfrm>
            <a:off x="14791989" y="1134930"/>
            <a:ext cx="7679500" cy="10081712"/>
          </a:xfrm>
          <a:prstGeom prst="rect">
            <a:avLst/>
          </a:prstGeom>
          <a:solidFill>
            <a:schemeClr val="bg1"/>
          </a:solidFill>
          <a:effectLst>
            <a:outerShdw blurRad="38100" dist="12700" dir="2700000" algn="tl" rotWithShape="0">
              <a:prstClr val="black">
                <a:alpha val="30000"/>
              </a:prstClr>
            </a:outerShdw>
          </a:effectLst>
        </p:spPr>
        <p:txBody>
          <a:bodyPr lIns="108000" tIns="180000" rIns="108000" bIns="108000">
            <a:noAutofit/>
          </a:bodyPr>
          <a:lstStyle>
            <a:lvl1pPr marL="237036" indent="0">
              <a:spcAft>
                <a:spcPts val="1200"/>
              </a:spcAft>
              <a:buNone/>
              <a:tabLst/>
              <a:defRPr sz="4800" b="1" cap="none" spc="0">
                <a:solidFill>
                  <a:schemeClr val="tx1">
                    <a:lumMod val="75000"/>
                    <a:lumOff val="25000"/>
                  </a:schemeClr>
                </a:solidFill>
                <a:latin typeface="+mj-lt"/>
              </a:defRPr>
            </a:lvl1pPr>
            <a:lvl2pPr marL="239970" indent="0">
              <a:spcBef>
                <a:spcPts val="0"/>
              </a:spcBef>
              <a:spcAft>
                <a:spcPts val="1200"/>
              </a:spcAft>
              <a:buNone/>
              <a:tabLst/>
              <a:defRPr sz="3600" b="0">
                <a:solidFill>
                  <a:schemeClr val="tx1">
                    <a:lumMod val="75000"/>
                    <a:lumOff val="25000"/>
                  </a:schemeClr>
                </a:solidFill>
                <a:latin typeface="+mj-lt"/>
              </a:defRPr>
            </a:lvl2pPr>
            <a:lvl3pPr marL="895261" indent="-536523" defTabSz="1254001">
              <a:spcBef>
                <a:spcPts val="0"/>
              </a:spcBef>
              <a:spcAft>
                <a:spcPts val="1200"/>
              </a:spcAft>
              <a:buFont typeface="Arial" panose="020B0604020202020204" pitchFamily="34" charset="0"/>
              <a:buChar char="•"/>
              <a:tabLst/>
              <a:defRPr lang="en-GB" sz="3600" kern="1200" noProof="0" dirty="0" smtClean="0">
                <a:solidFill>
                  <a:schemeClr val="tx1">
                    <a:lumMod val="75000"/>
                    <a:lumOff val="25000"/>
                  </a:schemeClr>
                </a:solidFill>
                <a:latin typeface="Verdana"/>
                <a:ea typeface="+mn-ea"/>
                <a:cs typeface="Verdana"/>
              </a:defRPr>
            </a:lvl3pPr>
            <a:lvl4pPr marL="1254001" indent="-536523">
              <a:spcBef>
                <a:spcPts val="0"/>
              </a:spcBef>
              <a:spcAft>
                <a:spcPts val="1200"/>
              </a:spcAft>
              <a:buFont typeface="Arial" charset="0"/>
              <a:buChar char="•"/>
              <a:tabLst/>
              <a:defRPr sz="3200">
                <a:solidFill>
                  <a:schemeClr val="tx1">
                    <a:lumMod val="75000"/>
                    <a:lumOff val="25000"/>
                  </a:schemeClr>
                </a:solidFill>
              </a:defRPr>
            </a:lvl4pPr>
            <a:lvl5pPr marL="1443388" indent="-461379">
              <a:spcBef>
                <a:spcPts val="0"/>
              </a:spcBef>
              <a:spcAft>
                <a:spcPts val="1200"/>
              </a:spcAft>
              <a:buFont typeface="Arial" charset="0"/>
              <a:buChar char="•"/>
              <a:tabLst/>
              <a:defRPr sz="3200">
                <a:solidFill>
                  <a:schemeClr val="tx1">
                    <a:lumMod val="75000"/>
                    <a:lumOff val="25000"/>
                  </a:schemeClr>
                </a:solidFill>
              </a:defRPr>
            </a:lvl5pPr>
          </a:lstStyle>
          <a:p>
            <a:pPr lvl="0"/>
            <a:r>
              <a:rPr lang="en-GB" noProof="0"/>
              <a:t>Main headline</a:t>
            </a:r>
          </a:p>
          <a:p>
            <a:pPr lvl="1"/>
            <a:r>
              <a:rPr lang="en-GB" noProof="0"/>
              <a:t>Body</a:t>
            </a:r>
          </a:p>
          <a:p>
            <a:pPr lvl="2"/>
            <a:r>
              <a:rPr lang="en-GB" noProof="0"/>
              <a:t>Bullet</a:t>
            </a:r>
          </a:p>
          <a:p>
            <a:pPr lvl="3"/>
            <a:r>
              <a:rPr lang="en-GB" noProof="0"/>
              <a:t>Bullet lvl2</a:t>
            </a:r>
          </a:p>
          <a:p>
            <a:pPr lvl="4"/>
            <a:r>
              <a:rPr lang="en-GB" noProof="0"/>
              <a:t>Bullet lvl3</a:t>
            </a:r>
          </a:p>
        </p:txBody>
      </p:sp>
    </p:spTree>
    <p:extLst>
      <p:ext uri="{BB962C8B-B14F-4D97-AF65-F5344CB8AC3E}">
        <p14:creationId xmlns:p14="http://schemas.microsoft.com/office/powerpoint/2010/main" val="368144518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14BB9-DF4D-4D19-4232-B021C8145262}"/>
              </a:ext>
            </a:extLst>
          </p:cNvPr>
          <p:cNvSpPr>
            <a:spLocks noGrp="1"/>
          </p:cNvSpPr>
          <p:nvPr>
            <p:ph type="ctrTitle"/>
          </p:nvPr>
        </p:nvSpPr>
        <p:spPr>
          <a:xfrm>
            <a:off x="3048000" y="2244725"/>
            <a:ext cx="18286413" cy="4775200"/>
          </a:xfrm>
        </p:spPr>
        <p:txBody>
          <a:bodyPr anchor="b"/>
          <a:lstStyle>
            <a:lvl1pPr algn="ctr">
              <a:defRPr sz="6000"/>
            </a:lvl1pPr>
          </a:lstStyle>
          <a:p>
            <a:r>
              <a:rPr lang="en-US"/>
              <a:t>Click to edit Master title style</a:t>
            </a:r>
            <a:endParaRPr lang="sv-SE"/>
          </a:p>
        </p:txBody>
      </p:sp>
      <p:sp>
        <p:nvSpPr>
          <p:cNvPr id="3" name="Subtitle 2">
            <a:extLst>
              <a:ext uri="{FF2B5EF4-FFF2-40B4-BE49-F238E27FC236}">
                <a16:creationId xmlns:a16="http://schemas.microsoft.com/office/drawing/2014/main" id="{C9910D71-781D-785E-D75A-2439D7C0E0EC}"/>
              </a:ext>
            </a:extLst>
          </p:cNvPr>
          <p:cNvSpPr>
            <a:spLocks noGrp="1"/>
          </p:cNvSpPr>
          <p:nvPr>
            <p:ph type="subTitle" idx="1"/>
          </p:nvPr>
        </p:nvSpPr>
        <p:spPr>
          <a:xfrm>
            <a:off x="3048000" y="7204075"/>
            <a:ext cx="18286413" cy="33115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sv-SE"/>
          </a:p>
        </p:txBody>
      </p:sp>
      <p:sp>
        <p:nvSpPr>
          <p:cNvPr id="4" name="Date Placeholder 3">
            <a:extLst>
              <a:ext uri="{FF2B5EF4-FFF2-40B4-BE49-F238E27FC236}">
                <a16:creationId xmlns:a16="http://schemas.microsoft.com/office/drawing/2014/main" id="{1B1817EC-6034-000E-70ED-A8AFC10D6B51}"/>
              </a:ext>
            </a:extLst>
          </p:cNvPr>
          <p:cNvSpPr>
            <a:spLocks noGrp="1"/>
          </p:cNvSpPr>
          <p:nvPr>
            <p:ph type="dt" sz="half" idx="10"/>
          </p:nvPr>
        </p:nvSpPr>
        <p:spPr/>
        <p:txBody>
          <a:bodyPr/>
          <a:lstStyle/>
          <a:p>
            <a:fld id="{AE4ACE06-5616-430E-A18B-1355E7E310A7}" type="datetimeFigureOut">
              <a:rPr lang="sv-SE" smtClean="0"/>
              <a:t>2025-03-12</a:t>
            </a:fld>
            <a:endParaRPr lang="sv-SE"/>
          </a:p>
        </p:txBody>
      </p:sp>
      <p:sp>
        <p:nvSpPr>
          <p:cNvPr id="5" name="Footer Placeholder 4">
            <a:extLst>
              <a:ext uri="{FF2B5EF4-FFF2-40B4-BE49-F238E27FC236}">
                <a16:creationId xmlns:a16="http://schemas.microsoft.com/office/drawing/2014/main" id="{27FEE8B1-CA95-4A19-13E4-5528F708D245}"/>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F31D27D1-2F56-3515-6587-522FCEC378CF}"/>
              </a:ext>
            </a:extLst>
          </p:cNvPr>
          <p:cNvSpPr>
            <a:spLocks noGrp="1"/>
          </p:cNvSpPr>
          <p:nvPr>
            <p:ph type="sldNum" sz="quarter" idx="12"/>
          </p:nvPr>
        </p:nvSpPr>
        <p:spPr/>
        <p:txBody>
          <a:bodyPr/>
          <a:lstStyle/>
          <a:p>
            <a:fld id="{FC6CEC44-A5F5-4E58-B7C4-7A584EAFB293}" type="slidenum">
              <a:rPr lang="sv-SE" smtClean="0"/>
              <a:t>‹#›</a:t>
            </a:fld>
            <a:endParaRPr lang="sv-SE"/>
          </a:p>
        </p:txBody>
      </p:sp>
    </p:spTree>
    <p:extLst>
      <p:ext uri="{BB962C8B-B14F-4D97-AF65-F5344CB8AC3E}">
        <p14:creationId xmlns:p14="http://schemas.microsoft.com/office/powerpoint/2010/main" val="333752133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40E9E8-247B-6E8C-456B-3D3426E75895}"/>
              </a:ext>
            </a:extLst>
          </p:cNvPr>
          <p:cNvSpPr>
            <a:spLocks noGrp="1"/>
          </p:cNvSpPr>
          <p:nvPr>
            <p:ph type="title"/>
          </p:nvPr>
        </p:nvSpPr>
        <p:spPr/>
        <p:txBody>
          <a:bodyPr/>
          <a:lstStyle/>
          <a:p>
            <a:r>
              <a:rPr lang="en-US"/>
              <a:t>Click to edit Master title style</a:t>
            </a:r>
            <a:endParaRPr lang="sv-SE"/>
          </a:p>
        </p:txBody>
      </p:sp>
      <p:sp>
        <p:nvSpPr>
          <p:cNvPr id="3" name="Content Placeholder 2">
            <a:extLst>
              <a:ext uri="{FF2B5EF4-FFF2-40B4-BE49-F238E27FC236}">
                <a16:creationId xmlns:a16="http://schemas.microsoft.com/office/drawing/2014/main" id="{C86B9533-C9B2-0EBC-2087-BD1BC0FB689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8459804E-6FBE-E0F8-0D54-29028D874C14}"/>
              </a:ext>
            </a:extLst>
          </p:cNvPr>
          <p:cNvSpPr>
            <a:spLocks noGrp="1"/>
          </p:cNvSpPr>
          <p:nvPr>
            <p:ph type="dt" sz="half" idx="10"/>
          </p:nvPr>
        </p:nvSpPr>
        <p:spPr/>
        <p:txBody>
          <a:bodyPr/>
          <a:lstStyle/>
          <a:p>
            <a:fld id="{AE4ACE06-5616-430E-A18B-1355E7E310A7}" type="datetimeFigureOut">
              <a:rPr lang="sv-SE" smtClean="0"/>
              <a:t>2025-03-12</a:t>
            </a:fld>
            <a:endParaRPr lang="sv-SE"/>
          </a:p>
        </p:txBody>
      </p:sp>
      <p:sp>
        <p:nvSpPr>
          <p:cNvPr id="5" name="Footer Placeholder 4">
            <a:extLst>
              <a:ext uri="{FF2B5EF4-FFF2-40B4-BE49-F238E27FC236}">
                <a16:creationId xmlns:a16="http://schemas.microsoft.com/office/drawing/2014/main" id="{7CD44F4A-B69A-41E0-0A6B-924842E7390A}"/>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621EDCD8-5CB7-36DC-4EB2-B6126FCA9F84}"/>
              </a:ext>
            </a:extLst>
          </p:cNvPr>
          <p:cNvSpPr>
            <a:spLocks noGrp="1"/>
          </p:cNvSpPr>
          <p:nvPr>
            <p:ph type="sldNum" sz="quarter" idx="12"/>
          </p:nvPr>
        </p:nvSpPr>
        <p:spPr/>
        <p:txBody>
          <a:bodyPr/>
          <a:lstStyle/>
          <a:p>
            <a:fld id="{FC6CEC44-A5F5-4E58-B7C4-7A584EAFB293}" type="slidenum">
              <a:rPr lang="sv-SE" smtClean="0"/>
              <a:t>‹#›</a:t>
            </a:fld>
            <a:endParaRPr lang="sv-SE"/>
          </a:p>
        </p:txBody>
      </p:sp>
    </p:spTree>
    <p:extLst>
      <p:ext uri="{BB962C8B-B14F-4D97-AF65-F5344CB8AC3E}">
        <p14:creationId xmlns:p14="http://schemas.microsoft.com/office/powerpoint/2010/main" val="172341254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A85628-28D2-37F9-48F8-D5E2BA7CE595}"/>
              </a:ext>
            </a:extLst>
          </p:cNvPr>
          <p:cNvSpPr>
            <a:spLocks noGrp="1"/>
          </p:cNvSpPr>
          <p:nvPr>
            <p:ph type="title"/>
          </p:nvPr>
        </p:nvSpPr>
        <p:spPr>
          <a:xfrm>
            <a:off x="1663700" y="3419475"/>
            <a:ext cx="21029613" cy="5705475"/>
          </a:xfrm>
        </p:spPr>
        <p:txBody>
          <a:bodyPr anchor="b"/>
          <a:lstStyle>
            <a:lvl1pPr>
              <a:defRPr sz="6000"/>
            </a:lvl1pPr>
          </a:lstStyle>
          <a:p>
            <a:r>
              <a:rPr lang="en-US"/>
              <a:t>Click to edit Master title style</a:t>
            </a:r>
            <a:endParaRPr lang="sv-SE"/>
          </a:p>
        </p:txBody>
      </p:sp>
      <p:sp>
        <p:nvSpPr>
          <p:cNvPr id="3" name="Text Placeholder 2">
            <a:extLst>
              <a:ext uri="{FF2B5EF4-FFF2-40B4-BE49-F238E27FC236}">
                <a16:creationId xmlns:a16="http://schemas.microsoft.com/office/drawing/2014/main" id="{DFBE820C-154D-E02F-A6F5-7BF417ACFC91}"/>
              </a:ext>
            </a:extLst>
          </p:cNvPr>
          <p:cNvSpPr>
            <a:spLocks noGrp="1"/>
          </p:cNvSpPr>
          <p:nvPr>
            <p:ph type="body" idx="1"/>
          </p:nvPr>
        </p:nvSpPr>
        <p:spPr>
          <a:xfrm>
            <a:off x="1663700" y="9178925"/>
            <a:ext cx="21029613" cy="3000375"/>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4AE6B28-AFDC-457C-5A87-CD6118A7B2BC}"/>
              </a:ext>
            </a:extLst>
          </p:cNvPr>
          <p:cNvSpPr>
            <a:spLocks noGrp="1"/>
          </p:cNvSpPr>
          <p:nvPr>
            <p:ph type="dt" sz="half" idx="10"/>
          </p:nvPr>
        </p:nvSpPr>
        <p:spPr/>
        <p:txBody>
          <a:bodyPr/>
          <a:lstStyle/>
          <a:p>
            <a:fld id="{AE4ACE06-5616-430E-A18B-1355E7E310A7}" type="datetimeFigureOut">
              <a:rPr lang="sv-SE" smtClean="0"/>
              <a:t>2025-03-12</a:t>
            </a:fld>
            <a:endParaRPr lang="sv-SE"/>
          </a:p>
        </p:txBody>
      </p:sp>
      <p:sp>
        <p:nvSpPr>
          <p:cNvPr id="5" name="Footer Placeholder 4">
            <a:extLst>
              <a:ext uri="{FF2B5EF4-FFF2-40B4-BE49-F238E27FC236}">
                <a16:creationId xmlns:a16="http://schemas.microsoft.com/office/drawing/2014/main" id="{F1D8436A-F2EA-D643-F9A4-5C81C8B7C0A1}"/>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EE513FDE-4E0C-6C19-C180-197244F42216}"/>
              </a:ext>
            </a:extLst>
          </p:cNvPr>
          <p:cNvSpPr>
            <a:spLocks noGrp="1"/>
          </p:cNvSpPr>
          <p:nvPr>
            <p:ph type="sldNum" sz="quarter" idx="12"/>
          </p:nvPr>
        </p:nvSpPr>
        <p:spPr/>
        <p:txBody>
          <a:bodyPr/>
          <a:lstStyle/>
          <a:p>
            <a:fld id="{FC6CEC44-A5F5-4E58-B7C4-7A584EAFB293}" type="slidenum">
              <a:rPr lang="sv-SE" smtClean="0"/>
              <a:t>‹#›</a:t>
            </a:fld>
            <a:endParaRPr lang="sv-SE"/>
          </a:p>
        </p:txBody>
      </p:sp>
    </p:spTree>
    <p:extLst>
      <p:ext uri="{BB962C8B-B14F-4D97-AF65-F5344CB8AC3E}">
        <p14:creationId xmlns:p14="http://schemas.microsoft.com/office/powerpoint/2010/main" val="170258332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773364-2321-24FF-039E-DFB1A31F4743}"/>
              </a:ext>
            </a:extLst>
          </p:cNvPr>
          <p:cNvSpPr>
            <a:spLocks noGrp="1"/>
          </p:cNvSpPr>
          <p:nvPr>
            <p:ph type="title"/>
          </p:nvPr>
        </p:nvSpPr>
        <p:spPr/>
        <p:txBody>
          <a:bodyPr/>
          <a:lstStyle/>
          <a:p>
            <a:r>
              <a:rPr lang="en-US"/>
              <a:t>Click to edit Master title style</a:t>
            </a:r>
            <a:endParaRPr lang="sv-SE"/>
          </a:p>
        </p:txBody>
      </p:sp>
      <p:sp>
        <p:nvSpPr>
          <p:cNvPr id="3" name="Content Placeholder 2">
            <a:extLst>
              <a:ext uri="{FF2B5EF4-FFF2-40B4-BE49-F238E27FC236}">
                <a16:creationId xmlns:a16="http://schemas.microsoft.com/office/drawing/2014/main" id="{69966400-4854-A129-BFAC-CFB775757763}"/>
              </a:ext>
            </a:extLst>
          </p:cNvPr>
          <p:cNvSpPr>
            <a:spLocks noGrp="1"/>
          </p:cNvSpPr>
          <p:nvPr>
            <p:ph sz="half" idx="1"/>
          </p:nvPr>
        </p:nvSpPr>
        <p:spPr>
          <a:xfrm>
            <a:off x="1676400" y="3651250"/>
            <a:ext cx="10437813" cy="8702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Content Placeholder 3">
            <a:extLst>
              <a:ext uri="{FF2B5EF4-FFF2-40B4-BE49-F238E27FC236}">
                <a16:creationId xmlns:a16="http://schemas.microsoft.com/office/drawing/2014/main" id="{4DD339CB-A54E-185D-A005-179768B6928E}"/>
              </a:ext>
            </a:extLst>
          </p:cNvPr>
          <p:cNvSpPr>
            <a:spLocks noGrp="1"/>
          </p:cNvSpPr>
          <p:nvPr>
            <p:ph sz="half" idx="2"/>
          </p:nvPr>
        </p:nvSpPr>
        <p:spPr>
          <a:xfrm>
            <a:off x="12266613" y="3651250"/>
            <a:ext cx="10439400" cy="8702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Date Placeholder 4">
            <a:extLst>
              <a:ext uri="{FF2B5EF4-FFF2-40B4-BE49-F238E27FC236}">
                <a16:creationId xmlns:a16="http://schemas.microsoft.com/office/drawing/2014/main" id="{D9D3F768-82BA-D127-EFA2-3B0835EA569C}"/>
              </a:ext>
            </a:extLst>
          </p:cNvPr>
          <p:cNvSpPr>
            <a:spLocks noGrp="1"/>
          </p:cNvSpPr>
          <p:nvPr>
            <p:ph type="dt" sz="half" idx="10"/>
          </p:nvPr>
        </p:nvSpPr>
        <p:spPr/>
        <p:txBody>
          <a:bodyPr/>
          <a:lstStyle/>
          <a:p>
            <a:fld id="{AE4ACE06-5616-430E-A18B-1355E7E310A7}" type="datetimeFigureOut">
              <a:rPr lang="sv-SE" smtClean="0"/>
              <a:t>2025-03-12</a:t>
            </a:fld>
            <a:endParaRPr lang="sv-SE"/>
          </a:p>
        </p:txBody>
      </p:sp>
      <p:sp>
        <p:nvSpPr>
          <p:cNvPr id="6" name="Footer Placeholder 5">
            <a:extLst>
              <a:ext uri="{FF2B5EF4-FFF2-40B4-BE49-F238E27FC236}">
                <a16:creationId xmlns:a16="http://schemas.microsoft.com/office/drawing/2014/main" id="{259B2539-B597-4BA9-328C-1FE5AFB6B843}"/>
              </a:ext>
            </a:extLst>
          </p:cNvPr>
          <p:cNvSpPr>
            <a:spLocks noGrp="1"/>
          </p:cNvSpPr>
          <p:nvPr>
            <p:ph type="ftr" sz="quarter" idx="11"/>
          </p:nvPr>
        </p:nvSpPr>
        <p:spPr/>
        <p:txBody>
          <a:bodyPr/>
          <a:lstStyle/>
          <a:p>
            <a:endParaRPr lang="sv-SE"/>
          </a:p>
        </p:txBody>
      </p:sp>
      <p:sp>
        <p:nvSpPr>
          <p:cNvPr id="7" name="Slide Number Placeholder 6">
            <a:extLst>
              <a:ext uri="{FF2B5EF4-FFF2-40B4-BE49-F238E27FC236}">
                <a16:creationId xmlns:a16="http://schemas.microsoft.com/office/drawing/2014/main" id="{2209C994-CA11-3B23-D39D-B0316E28A907}"/>
              </a:ext>
            </a:extLst>
          </p:cNvPr>
          <p:cNvSpPr>
            <a:spLocks noGrp="1"/>
          </p:cNvSpPr>
          <p:nvPr>
            <p:ph type="sldNum" sz="quarter" idx="12"/>
          </p:nvPr>
        </p:nvSpPr>
        <p:spPr/>
        <p:txBody>
          <a:bodyPr/>
          <a:lstStyle/>
          <a:p>
            <a:fld id="{FC6CEC44-A5F5-4E58-B7C4-7A584EAFB293}" type="slidenum">
              <a:rPr lang="sv-SE" smtClean="0"/>
              <a:t>‹#›</a:t>
            </a:fld>
            <a:endParaRPr lang="sv-SE"/>
          </a:p>
        </p:txBody>
      </p:sp>
    </p:spTree>
    <p:extLst>
      <p:ext uri="{BB962C8B-B14F-4D97-AF65-F5344CB8AC3E}">
        <p14:creationId xmlns:p14="http://schemas.microsoft.com/office/powerpoint/2010/main" val="360830734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8E7101-9AF8-11AC-B71F-1B937C47DBEE}"/>
              </a:ext>
            </a:extLst>
          </p:cNvPr>
          <p:cNvSpPr>
            <a:spLocks noGrp="1"/>
          </p:cNvSpPr>
          <p:nvPr>
            <p:ph type="title"/>
          </p:nvPr>
        </p:nvSpPr>
        <p:spPr>
          <a:xfrm>
            <a:off x="1679575" y="730250"/>
            <a:ext cx="21029613" cy="2651125"/>
          </a:xfrm>
        </p:spPr>
        <p:txBody>
          <a:bodyPr/>
          <a:lstStyle/>
          <a:p>
            <a:r>
              <a:rPr lang="en-US"/>
              <a:t>Click to edit Master title style</a:t>
            </a:r>
            <a:endParaRPr lang="sv-SE"/>
          </a:p>
        </p:txBody>
      </p:sp>
      <p:sp>
        <p:nvSpPr>
          <p:cNvPr id="3" name="Text Placeholder 2">
            <a:extLst>
              <a:ext uri="{FF2B5EF4-FFF2-40B4-BE49-F238E27FC236}">
                <a16:creationId xmlns:a16="http://schemas.microsoft.com/office/drawing/2014/main" id="{ADC35D58-66B5-55A2-BC65-42759E8105A8}"/>
              </a:ext>
            </a:extLst>
          </p:cNvPr>
          <p:cNvSpPr>
            <a:spLocks noGrp="1"/>
          </p:cNvSpPr>
          <p:nvPr>
            <p:ph type="body" idx="1"/>
          </p:nvPr>
        </p:nvSpPr>
        <p:spPr>
          <a:xfrm>
            <a:off x="1679575" y="3362325"/>
            <a:ext cx="10315575" cy="16478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D769712-11F2-A907-AEE4-F81F577E230E}"/>
              </a:ext>
            </a:extLst>
          </p:cNvPr>
          <p:cNvSpPr>
            <a:spLocks noGrp="1"/>
          </p:cNvSpPr>
          <p:nvPr>
            <p:ph sz="half" idx="2"/>
          </p:nvPr>
        </p:nvSpPr>
        <p:spPr>
          <a:xfrm>
            <a:off x="1679575" y="5010150"/>
            <a:ext cx="10315575" cy="7369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Text Placeholder 4">
            <a:extLst>
              <a:ext uri="{FF2B5EF4-FFF2-40B4-BE49-F238E27FC236}">
                <a16:creationId xmlns:a16="http://schemas.microsoft.com/office/drawing/2014/main" id="{1C8985BC-1768-D578-E0E3-DA336DC5B52A}"/>
              </a:ext>
            </a:extLst>
          </p:cNvPr>
          <p:cNvSpPr>
            <a:spLocks noGrp="1"/>
          </p:cNvSpPr>
          <p:nvPr>
            <p:ph type="body" sz="quarter" idx="3"/>
          </p:nvPr>
        </p:nvSpPr>
        <p:spPr>
          <a:xfrm>
            <a:off x="12342813" y="3362325"/>
            <a:ext cx="10366375" cy="16478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6852E6D-700D-1293-092D-2C6DE823A54A}"/>
              </a:ext>
            </a:extLst>
          </p:cNvPr>
          <p:cNvSpPr>
            <a:spLocks noGrp="1"/>
          </p:cNvSpPr>
          <p:nvPr>
            <p:ph sz="quarter" idx="4"/>
          </p:nvPr>
        </p:nvSpPr>
        <p:spPr>
          <a:xfrm>
            <a:off x="12342813" y="5010150"/>
            <a:ext cx="10366375" cy="7369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7" name="Date Placeholder 6">
            <a:extLst>
              <a:ext uri="{FF2B5EF4-FFF2-40B4-BE49-F238E27FC236}">
                <a16:creationId xmlns:a16="http://schemas.microsoft.com/office/drawing/2014/main" id="{35A88DB3-CC40-4760-FA0D-9F00BF0B27CA}"/>
              </a:ext>
            </a:extLst>
          </p:cNvPr>
          <p:cNvSpPr>
            <a:spLocks noGrp="1"/>
          </p:cNvSpPr>
          <p:nvPr>
            <p:ph type="dt" sz="half" idx="10"/>
          </p:nvPr>
        </p:nvSpPr>
        <p:spPr/>
        <p:txBody>
          <a:bodyPr/>
          <a:lstStyle/>
          <a:p>
            <a:fld id="{AE4ACE06-5616-430E-A18B-1355E7E310A7}" type="datetimeFigureOut">
              <a:rPr lang="sv-SE" smtClean="0"/>
              <a:t>2025-03-12</a:t>
            </a:fld>
            <a:endParaRPr lang="sv-SE"/>
          </a:p>
        </p:txBody>
      </p:sp>
      <p:sp>
        <p:nvSpPr>
          <p:cNvPr id="8" name="Footer Placeholder 7">
            <a:extLst>
              <a:ext uri="{FF2B5EF4-FFF2-40B4-BE49-F238E27FC236}">
                <a16:creationId xmlns:a16="http://schemas.microsoft.com/office/drawing/2014/main" id="{8E9626AB-0F74-0FD5-54DA-9F8E4DC2D798}"/>
              </a:ext>
            </a:extLst>
          </p:cNvPr>
          <p:cNvSpPr>
            <a:spLocks noGrp="1"/>
          </p:cNvSpPr>
          <p:nvPr>
            <p:ph type="ftr" sz="quarter" idx="11"/>
          </p:nvPr>
        </p:nvSpPr>
        <p:spPr/>
        <p:txBody>
          <a:bodyPr/>
          <a:lstStyle/>
          <a:p>
            <a:endParaRPr lang="sv-SE"/>
          </a:p>
        </p:txBody>
      </p:sp>
      <p:sp>
        <p:nvSpPr>
          <p:cNvPr id="9" name="Slide Number Placeholder 8">
            <a:extLst>
              <a:ext uri="{FF2B5EF4-FFF2-40B4-BE49-F238E27FC236}">
                <a16:creationId xmlns:a16="http://schemas.microsoft.com/office/drawing/2014/main" id="{5EE723B0-9622-4FA4-EB45-A2567860A561}"/>
              </a:ext>
            </a:extLst>
          </p:cNvPr>
          <p:cNvSpPr>
            <a:spLocks noGrp="1"/>
          </p:cNvSpPr>
          <p:nvPr>
            <p:ph type="sldNum" sz="quarter" idx="12"/>
          </p:nvPr>
        </p:nvSpPr>
        <p:spPr/>
        <p:txBody>
          <a:bodyPr/>
          <a:lstStyle/>
          <a:p>
            <a:fld id="{FC6CEC44-A5F5-4E58-B7C4-7A584EAFB293}" type="slidenum">
              <a:rPr lang="sv-SE" smtClean="0"/>
              <a:t>‹#›</a:t>
            </a:fld>
            <a:endParaRPr lang="sv-SE"/>
          </a:p>
        </p:txBody>
      </p:sp>
    </p:spTree>
    <p:extLst>
      <p:ext uri="{BB962C8B-B14F-4D97-AF65-F5344CB8AC3E}">
        <p14:creationId xmlns:p14="http://schemas.microsoft.com/office/powerpoint/2010/main" val="72785408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062FB-86E5-640F-FC27-0EA5776EAE41}"/>
              </a:ext>
            </a:extLst>
          </p:cNvPr>
          <p:cNvSpPr>
            <a:spLocks noGrp="1"/>
          </p:cNvSpPr>
          <p:nvPr>
            <p:ph type="title"/>
          </p:nvPr>
        </p:nvSpPr>
        <p:spPr/>
        <p:txBody>
          <a:bodyPr/>
          <a:lstStyle/>
          <a:p>
            <a:r>
              <a:rPr lang="en-US"/>
              <a:t>Click to edit Master title style</a:t>
            </a:r>
            <a:endParaRPr lang="sv-SE"/>
          </a:p>
        </p:txBody>
      </p:sp>
      <p:sp>
        <p:nvSpPr>
          <p:cNvPr id="3" name="Date Placeholder 2">
            <a:extLst>
              <a:ext uri="{FF2B5EF4-FFF2-40B4-BE49-F238E27FC236}">
                <a16:creationId xmlns:a16="http://schemas.microsoft.com/office/drawing/2014/main" id="{7097AA88-9B48-218C-E6F0-C8BB36F326EF}"/>
              </a:ext>
            </a:extLst>
          </p:cNvPr>
          <p:cNvSpPr>
            <a:spLocks noGrp="1"/>
          </p:cNvSpPr>
          <p:nvPr>
            <p:ph type="dt" sz="half" idx="10"/>
          </p:nvPr>
        </p:nvSpPr>
        <p:spPr/>
        <p:txBody>
          <a:bodyPr/>
          <a:lstStyle/>
          <a:p>
            <a:fld id="{AE4ACE06-5616-430E-A18B-1355E7E310A7}" type="datetimeFigureOut">
              <a:rPr lang="sv-SE" smtClean="0"/>
              <a:t>2025-03-12</a:t>
            </a:fld>
            <a:endParaRPr lang="sv-SE"/>
          </a:p>
        </p:txBody>
      </p:sp>
      <p:sp>
        <p:nvSpPr>
          <p:cNvPr id="4" name="Footer Placeholder 3">
            <a:extLst>
              <a:ext uri="{FF2B5EF4-FFF2-40B4-BE49-F238E27FC236}">
                <a16:creationId xmlns:a16="http://schemas.microsoft.com/office/drawing/2014/main" id="{D8CBDA60-378F-D47E-3400-559D0155759B}"/>
              </a:ext>
            </a:extLst>
          </p:cNvPr>
          <p:cNvSpPr>
            <a:spLocks noGrp="1"/>
          </p:cNvSpPr>
          <p:nvPr>
            <p:ph type="ftr" sz="quarter" idx="11"/>
          </p:nvPr>
        </p:nvSpPr>
        <p:spPr/>
        <p:txBody>
          <a:bodyPr/>
          <a:lstStyle/>
          <a:p>
            <a:endParaRPr lang="sv-SE"/>
          </a:p>
        </p:txBody>
      </p:sp>
      <p:sp>
        <p:nvSpPr>
          <p:cNvPr id="5" name="Slide Number Placeholder 4">
            <a:extLst>
              <a:ext uri="{FF2B5EF4-FFF2-40B4-BE49-F238E27FC236}">
                <a16:creationId xmlns:a16="http://schemas.microsoft.com/office/drawing/2014/main" id="{975574CC-D74F-A22F-F989-16E7E45429AE}"/>
              </a:ext>
            </a:extLst>
          </p:cNvPr>
          <p:cNvSpPr>
            <a:spLocks noGrp="1"/>
          </p:cNvSpPr>
          <p:nvPr>
            <p:ph type="sldNum" sz="quarter" idx="12"/>
          </p:nvPr>
        </p:nvSpPr>
        <p:spPr/>
        <p:txBody>
          <a:bodyPr/>
          <a:lstStyle/>
          <a:p>
            <a:fld id="{FC6CEC44-A5F5-4E58-B7C4-7A584EAFB293}" type="slidenum">
              <a:rPr lang="sv-SE" smtClean="0"/>
              <a:t>‹#›</a:t>
            </a:fld>
            <a:endParaRPr lang="sv-SE"/>
          </a:p>
        </p:txBody>
      </p:sp>
    </p:spTree>
    <p:extLst>
      <p:ext uri="{BB962C8B-B14F-4D97-AF65-F5344CB8AC3E}">
        <p14:creationId xmlns:p14="http://schemas.microsoft.com/office/powerpoint/2010/main" val="405954381"/>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422.xml"/><Relationship Id="rId13" Type="http://schemas.openxmlformats.org/officeDocument/2006/relationships/slideLayout" Target="../slideLayouts/slideLayout427.xml"/><Relationship Id="rId18" Type="http://schemas.openxmlformats.org/officeDocument/2006/relationships/slideLayout" Target="../slideLayouts/slideLayout432.xml"/><Relationship Id="rId26" Type="http://schemas.openxmlformats.org/officeDocument/2006/relationships/slideLayout" Target="../slideLayouts/slideLayout440.xml"/><Relationship Id="rId3" Type="http://schemas.openxmlformats.org/officeDocument/2006/relationships/slideLayout" Target="../slideLayouts/slideLayout417.xml"/><Relationship Id="rId21" Type="http://schemas.openxmlformats.org/officeDocument/2006/relationships/slideLayout" Target="../slideLayouts/slideLayout435.xml"/><Relationship Id="rId7" Type="http://schemas.openxmlformats.org/officeDocument/2006/relationships/slideLayout" Target="../slideLayouts/slideLayout421.xml"/><Relationship Id="rId12" Type="http://schemas.openxmlformats.org/officeDocument/2006/relationships/slideLayout" Target="../slideLayouts/slideLayout426.xml"/><Relationship Id="rId17" Type="http://schemas.openxmlformats.org/officeDocument/2006/relationships/slideLayout" Target="../slideLayouts/slideLayout431.xml"/><Relationship Id="rId25" Type="http://schemas.openxmlformats.org/officeDocument/2006/relationships/slideLayout" Target="../slideLayouts/slideLayout439.xml"/><Relationship Id="rId2" Type="http://schemas.openxmlformats.org/officeDocument/2006/relationships/slideLayout" Target="../slideLayouts/slideLayout416.xml"/><Relationship Id="rId16" Type="http://schemas.openxmlformats.org/officeDocument/2006/relationships/slideLayout" Target="../slideLayouts/slideLayout430.xml"/><Relationship Id="rId20" Type="http://schemas.openxmlformats.org/officeDocument/2006/relationships/slideLayout" Target="../slideLayouts/slideLayout434.xml"/><Relationship Id="rId29" Type="http://schemas.openxmlformats.org/officeDocument/2006/relationships/slideLayout" Target="../slideLayouts/slideLayout443.xml"/><Relationship Id="rId1" Type="http://schemas.openxmlformats.org/officeDocument/2006/relationships/slideLayout" Target="../slideLayouts/slideLayout415.xml"/><Relationship Id="rId6" Type="http://schemas.openxmlformats.org/officeDocument/2006/relationships/slideLayout" Target="../slideLayouts/slideLayout420.xml"/><Relationship Id="rId11" Type="http://schemas.openxmlformats.org/officeDocument/2006/relationships/slideLayout" Target="../slideLayouts/slideLayout425.xml"/><Relationship Id="rId24" Type="http://schemas.openxmlformats.org/officeDocument/2006/relationships/slideLayout" Target="../slideLayouts/slideLayout438.xml"/><Relationship Id="rId5" Type="http://schemas.openxmlformats.org/officeDocument/2006/relationships/slideLayout" Target="../slideLayouts/slideLayout419.xml"/><Relationship Id="rId15" Type="http://schemas.openxmlformats.org/officeDocument/2006/relationships/slideLayout" Target="../slideLayouts/slideLayout429.xml"/><Relationship Id="rId23" Type="http://schemas.openxmlformats.org/officeDocument/2006/relationships/slideLayout" Target="../slideLayouts/slideLayout437.xml"/><Relationship Id="rId28" Type="http://schemas.openxmlformats.org/officeDocument/2006/relationships/slideLayout" Target="../slideLayouts/slideLayout442.xml"/><Relationship Id="rId10" Type="http://schemas.openxmlformats.org/officeDocument/2006/relationships/slideLayout" Target="../slideLayouts/slideLayout424.xml"/><Relationship Id="rId19" Type="http://schemas.openxmlformats.org/officeDocument/2006/relationships/slideLayout" Target="../slideLayouts/slideLayout433.xml"/><Relationship Id="rId4" Type="http://schemas.openxmlformats.org/officeDocument/2006/relationships/slideLayout" Target="../slideLayouts/slideLayout418.xml"/><Relationship Id="rId9" Type="http://schemas.openxmlformats.org/officeDocument/2006/relationships/slideLayout" Target="../slideLayouts/slideLayout423.xml"/><Relationship Id="rId14" Type="http://schemas.openxmlformats.org/officeDocument/2006/relationships/slideLayout" Target="../slideLayouts/slideLayout428.xml"/><Relationship Id="rId22" Type="http://schemas.openxmlformats.org/officeDocument/2006/relationships/slideLayout" Target="../slideLayouts/slideLayout436.xml"/><Relationship Id="rId27" Type="http://schemas.openxmlformats.org/officeDocument/2006/relationships/slideLayout" Target="../slideLayouts/slideLayout441.xml"/><Relationship Id="rId30"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456.xml"/><Relationship Id="rId18" Type="http://schemas.openxmlformats.org/officeDocument/2006/relationships/slideLayout" Target="../slideLayouts/slideLayout461.xml"/><Relationship Id="rId26" Type="http://schemas.openxmlformats.org/officeDocument/2006/relationships/slideLayout" Target="../slideLayouts/slideLayout469.xml"/><Relationship Id="rId39" Type="http://schemas.openxmlformats.org/officeDocument/2006/relationships/slideLayout" Target="../slideLayouts/slideLayout482.xml"/><Relationship Id="rId21" Type="http://schemas.openxmlformats.org/officeDocument/2006/relationships/slideLayout" Target="../slideLayouts/slideLayout464.xml"/><Relationship Id="rId34" Type="http://schemas.openxmlformats.org/officeDocument/2006/relationships/slideLayout" Target="../slideLayouts/slideLayout477.xml"/><Relationship Id="rId42" Type="http://schemas.openxmlformats.org/officeDocument/2006/relationships/slideLayout" Target="../slideLayouts/slideLayout485.xml"/><Relationship Id="rId7" Type="http://schemas.openxmlformats.org/officeDocument/2006/relationships/slideLayout" Target="../slideLayouts/slideLayout450.xml"/><Relationship Id="rId2" Type="http://schemas.openxmlformats.org/officeDocument/2006/relationships/slideLayout" Target="../slideLayouts/slideLayout445.xml"/><Relationship Id="rId16" Type="http://schemas.openxmlformats.org/officeDocument/2006/relationships/slideLayout" Target="../slideLayouts/slideLayout459.xml"/><Relationship Id="rId29" Type="http://schemas.openxmlformats.org/officeDocument/2006/relationships/slideLayout" Target="../slideLayouts/slideLayout472.xml"/><Relationship Id="rId1" Type="http://schemas.openxmlformats.org/officeDocument/2006/relationships/slideLayout" Target="../slideLayouts/slideLayout444.xml"/><Relationship Id="rId6" Type="http://schemas.openxmlformats.org/officeDocument/2006/relationships/slideLayout" Target="../slideLayouts/slideLayout449.xml"/><Relationship Id="rId11" Type="http://schemas.openxmlformats.org/officeDocument/2006/relationships/slideLayout" Target="../slideLayouts/slideLayout454.xml"/><Relationship Id="rId24" Type="http://schemas.openxmlformats.org/officeDocument/2006/relationships/slideLayout" Target="../slideLayouts/slideLayout467.xml"/><Relationship Id="rId32" Type="http://schemas.openxmlformats.org/officeDocument/2006/relationships/slideLayout" Target="../slideLayouts/slideLayout475.xml"/><Relationship Id="rId37" Type="http://schemas.openxmlformats.org/officeDocument/2006/relationships/slideLayout" Target="../slideLayouts/slideLayout480.xml"/><Relationship Id="rId40" Type="http://schemas.openxmlformats.org/officeDocument/2006/relationships/slideLayout" Target="../slideLayouts/slideLayout483.xml"/><Relationship Id="rId45" Type="http://schemas.openxmlformats.org/officeDocument/2006/relationships/slideLayout" Target="../slideLayouts/slideLayout488.xml"/><Relationship Id="rId5" Type="http://schemas.openxmlformats.org/officeDocument/2006/relationships/slideLayout" Target="../slideLayouts/slideLayout448.xml"/><Relationship Id="rId15" Type="http://schemas.openxmlformats.org/officeDocument/2006/relationships/slideLayout" Target="../slideLayouts/slideLayout458.xml"/><Relationship Id="rId23" Type="http://schemas.openxmlformats.org/officeDocument/2006/relationships/slideLayout" Target="../slideLayouts/slideLayout466.xml"/><Relationship Id="rId28" Type="http://schemas.openxmlformats.org/officeDocument/2006/relationships/slideLayout" Target="../slideLayouts/slideLayout471.xml"/><Relationship Id="rId36" Type="http://schemas.openxmlformats.org/officeDocument/2006/relationships/slideLayout" Target="../slideLayouts/slideLayout479.xml"/><Relationship Id="rId10" Type="http://schemas.openxmlformats.org/officeDocument/2006/relationships/slideLayout" Target="../slideLayouts/slideLayout453.xml"/><Relationship Id="rId19" Type="http://schemas.openxmlformats.org/officeDocument/2006/relationships/slideLayout" Target="../slideLayouts/slideLayout462.xml"/><Relationship Id="rId31" Type="http://schemas.openxmlformats.org/officeDocument/2006/relationships/slideLayout" Target="../slideLayouts/slideLayout474.xml"/><Relationship Id="rId44" Type="http://schemas.openxmlformats.org/officeDocument/2006/relationships/slideLayout" Target="../slideLayouts/slideLayout487.xml"/><Relationship Id="rId4" Type="http://schemas.openxmlformats.org/officeDocument/2006/relationships/slideLayout" Target="../slideLayouts/slideLayout447.xml"/><Relationship Id="rId9" Type="http://schemas.openxmlformats.org/officeDocument/2006/relationships/slideLayout" Target="../slideLayouts/slideLayout452.xml"/><Relationship Id="rId14" Type="http://schemas.openxmlformats.org/officeDocument/2006/relationships/slideLayout" Target="../slideLayouts/slideLayout457.xml"/><Relationship Id="rId22" Type="http://schemas.openxmlformats.org/officeDocument/2006/relationships/slideLayout" Target="../slideLayouts/slideLayout465.xml"/><Relationship Id="rId27" Type="http://schemas.openxmlformats.org/officeDocument/2006/relationships/slideLayout" Target="../slideLayouts/slideLayout470.xml"/><Relationship Id="rId30" Type="http://schemas.openxmlformats.org/officeDocument/2006/relationships/slideLayout" Target="../slideLayouts/slideLayout473.xml"/><Relationship Id="rId35" Type="http://schemas.openxmlformats.org/officeDocument/2006/relationships/slideLayout" Target="../slideLayouts/slideLayout478.xml"/><Relationship Id="rId43" Type="http://schemas.openxmlformats.org/officeDocument/2006/relationships/slideLayout" Target="../slideLayouts/slideLayout486.xml"/><Relationship Id="rId8" Type="http://schemas.openxmlformats.org/officeDocument/2006/relationships/slideLayout" Target="../slideLayouts/slideLayout451.xml"/><Relationship Id="rId3" Type="http://schemas.openxmlformats.org/officeDocument/2006/relationships/slideLayout" Target="../slideLayouts/slideLayout446.xml"/><Relationship Id="rId12" Type="http://schemas.openxmlformats.org/officeDocument/2006/relationships/slideLayout" Target="../slideLayouts/slideLayout455.xml"/><Relationship Id="rId17" Type="http://schemas.openxmlformats.org/officeDocument/2006/relationships/slideLayout" Target="../slideLayouts/slideLayout460.xml"/><Relationship Id="rId25" Type="http://schemas.openxmlformats.org/officeDocument/2006/relationships/slideLayout" Target="../slideLayouts/slideLayout468.xml"/><Relationship Id="rId33" Type="http://schemas.openxmlformats.org/officeDocument/2006/relationships/slideLayout" Target="../slideLayouts/slideLayout476.xml"/><Relationship Id="rId38" Type="http://schemas.openxmlformats.org/officeDocument/2006/relationships/slideLayout" Target="../slideLayouts/slideLayout481.xml"/><Relationship Id="rId46" Type="http://schemas.openxmlformats.org/officeDocument/2006/relationships/theme" Target="../theme/theme11.xml"/><Relationship Id="rId20" Type="http://schemas.openxmlformats.org/officeDocument/2006/relationships/slideLayout" Target="../slideLayouts/slideLayout463.xml"/><Relationship Id="rId41" Type="http://schemas.openxmlformats.org/officeDocument/2006/relationships/slideLayout" Target="../slideLayouts/slideLayout48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496.xml"/><Relationship Id="rId13" Type="http://schemas.openxmlformats.org/officeDocument/2006/relationships/slideLayout" Target="../slideLayouts/slideLayout501.xml"/><Relationship Id="rId18" Type="http://schemas.openxmlformats.org/officeDocument/2006/relationships/slideLayout" Target="../slideLayouts/slideLayout506.xml"/><Relationship Id="rId26" Type="http://schemas.openxmlformats.org/officeDocument/2006/relationships/slideLayout" Target="../slideLayouts/slideLayout514.xml"/><Relationship Id="rId3" Type="http://schemas.openxmlformats.org/officeDocument/2006/relationships/slideLayout" Target="../slideLayouts/slideLayout491.xml"/><Relationship Id="rId21" Type="http://schemas.openxmlformats.org/officeDocument/2006/relationships/slideLayout" Target="../slideLayouts/slideLayout509.xml"/><Relationship Id="rId7" Type="http://schemas.openxmlformats.org/officeDocument/2006/relationships/slideLayout" Target="../slideLayouts/slideLayout495.xml"/><Relationship Id="rId12" Type="http://schemas.openxmlformats.org/officeDocument/2006/relationships/slideLayout" Target="../slideLayouts/slideLayout500.xml"/><Relationship Id="rId17" Type="http://schemas.openxmlformats.org/officeDocument/2006/relationships/slideLayout" Target="../slideLayouts/slideLayout505.xml"/><Relationship Id="rId25" Type="http://schemas.openxmlformats.org/officeDocument/2006/relationships/slideLayout" Target="../slideLayouts/slideLayout513.xml"/><Relationship Id="rId2" Type="http://schemas.openxmlformats.org/officeDocument/2006/relationships/slideLayout" Target="../slideLayouts/slideLayout490.xml"/><Relationship Id="rId16" Type="http://schemas.openxmlformats.org/officeDocument/2006/relationships/slideLayout" Target="../slideLayouts/slideLayout504.xml"/><Relationship Id="rId20" Type="http://schemas.openxmlformats.org/officeDocument/2006/relationships/slideLayout" Target="../slideLayouts/slideLayout508.xml"/><Relationship Id="rId1" Type="http://schemas.openxmlformats.org/officeDocument/2006/relationships/slideLayout" Target="../slideLayouts/slideLayout489.xml"/><Relationship Id="rId6" Type="http://schemas.openxmlformats.org/officeDocument/2006/relationships/slideLayout" Target="../slideLayouts/slideLayout494.xml"/><Relationship Id="rId11" Type="http://schemas.openxmlformats.org/officeDocument/2006/relationships/slideLayout" Target="../slideLayouts/slideLayout499.xml"/><Relationship Id="rId24" Type="http://schemas.openxmlformats.org/officeDocument/2006/relationships/slideLayout" Target="../slideLayouts/slideLayout512.xml"/><Relationship Id="rId5" Type="http://schemas.openxmlformats.org/officeDocument/2006/relationships/slideLayout" Target="../slideLayouts/slideLayout493.xml"/><Relationship Id="rId15" Type="http://schemas.openxmlformats.org/officeDocument/2006/relationships/slideLayout" Target="../slideLayouts/slideLayout503.xml"/><Relationship Id="rId23" Type="http://schemas.openxmlformats.org/officeDocument/2006/relationships/slideLayout" Target="../slideLayouts/slideLayout511.xml"/><Relationship Id="rId10" Type="http://schemas.openxmlformats.org/officeDocument/2006/relationships/slideLayout" Target="../slideLayouts/slideLayout498.xml"/><Relationship Id="rId19" Type="http://schemas.openxmlformats.org/officeDocument/2006/relationships/slideLayout" Target="../slideLayouts/slideLayout507.xml"/><Relationship Id="rId4" Type="http://schemas.openxmlformats.org/officeDocument/2006/relationships/slideLayout" Target="../slideLayouts/slideLayout492.xml"/><Relationship Id="rId9" Type="http://schemas.openxmlformats.org/officeDocument/2006/relationships/slideLayout" Target="../slideLayouts/slideLayout497.xml"/><Relationship Id="rId14" Type="http://schemas.openxmlformats.org/officeDocument/2006/relationships/slideLayout" Target="../slideLayouts/slideLayout502.xml"/><Relationship Id="rId22" Type="http://schemas.openxmlformats.org/officeDocument/2006/relationships/slideLayout" Target="../slideLayouts/slideLayout510.xml"/><Relationship Id="rId27" Type="http://schemas.openxmlformats.org/officeDocument/2006/relationships/theme" Target="../theme/theme1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1.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theme" Target="../theme/theme2.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9" Type="http://schemas.openxmlformats.org/officeDocument/2006/relationships/slideLayout" Target="../slideLayouts/slideLayout143.xml"/><Relationship Id="rId21" Type="http://schemas.openxmlformats.org/officeDocument/2006/relationships/slideLayout" Target="../slideLayouts/slideLayout125.xml"/><Relationship Id="rId34" Type="http://schemas.openxmlformats.org/officeDocument/2006/relationships/slideLayout" Target="../slideLayouts/slideLayout138.xml"/><Relationship Id="rId42" Type="http://schemas.openxmlformats.org/officeDocument/2006/relationships/theme" Target="../theme/theme3.xml"/><Relationship Id="rId7" Type="http://schemas.openxmlformats.org/officeDocument/2006/relationships/slideLayout" Target="../slideLayouts/slideLayout11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29" Type="http://schemas.openxmlformats.org/officeDocument/2006/relationships/slideLayout" Target="../slideLayouts/slideLayout133.xml"/><Relationship Id="rId41" Type="http://schemas.openxmlformats.org/officeDocument/2006/relationships/slideLayout" Target="../slideLayouts/slideLayout145.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slideLayout" Target="../slideLayouts/slideLayout136.xml"/><Relationship Id="rId37" Type="http://schemas.openxmlformats.org/officeDocument/2006/relationships/slideLayout" Target="../slideLayouts/slideLayout141.xml"/><Relationship Id="rId40" Type="http://schemas.openxmlformats.org/officeDocument/2006/relationships/slideLayout" Target="../slideLayouts/slideLayout144.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36" Type="http://schemas.openxmlformats.org/officeDocument/2006/relationships/slideLayout" Target="../slideLayouts/slideLayout140.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slideLayout" Target="../slideLayouts/slideLayout135.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slideLayout" Target="../slideLayouts/slideLayout134.xml"/><Relationship Id="rId35" Type="http://schemas.openxmlformats.org/officeDocument/2006/relationships/slideLayout" Target="../slideLayouts/slideLayout139.xml"/><Relationship Id="rId8" Type="http://schemas.openxmlformats.org/officeDocument/2006/relationships/slideLayout" Target="../slideLayouts/slideLayout112.xml"/><Relationship Id="rId3" Type="http://schemas.openxmlformats.org/officeDocument/2006/relationships/slideLayout" Target="../slideLayouts/slideLayout107.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slideLayout" Target="../slideLayouts/slideLayout137.xml"/><Relationship Id="rId38" Type="http://schemas.openxmlformats.org/officeDocument/2006/relationships/slideLayout" Target="../slideLayouts/slideLayout142.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71.xml"/><Relationship Id="rId21" Type="http://schemas.openxmlformats.org/officeDocument/2006/relationships/slideLayout" Target="../slideLayouts/slideLayout166.xml"/><Relationship Id="rId42" Type="http://schemas.openxmlformats.org/officeDocument/2006/relationships/slideLayout" Target="../slideLayouts/slideLayout187.xml"/><Relationship Id="rId47" Type="http://schemas.openxmlformats.org/officeDocument/2006/relationships/slideLayout" Target="../slideLayouts/slideLayout192.xml"/><Relationship Id="rId63" Type="http://schemas.openxmlformats.org/officeDocument/2006/relationships/slideLayout" Target="../slideLayouts/slideLayout208.xml"/><Relationship Id="rId68" Type="http://schemas.openxmlformats.org/officeDocument/2006/relationships/slideLayout" Target="../slideLayouts/slideLayout213.xml"/><Relationship Id="rId84" Type="http://schemas.openxmlformats.org/officeDocument/2006/relationships/slideLayout" Target="../slideLayouts/slideLayout229.xml"/><Relationship Id="rId89" Type="http://schemas.openxmlformats.org/officeDocument/2006/relationships/slideLayout" Target="../slideLayouts/slideLayout234.xml"/><Relationship Id="rId112" Type="http://schemas.openxmlformats.org/officeDocument/2006/relationships/slideLayout" Target="../slideLayouts/slideLayout257.xml"/><Relationship Id="rId16" Type="http://schemas.openxmlformats.org/officeDocument/2006/relationships/slideLayout" Target="../slideLayouts/slideLayout161.xml"/><Relationship Id="rId107" Type="http://schemas.openxmlformats.org/officeDocument/2006/relationships/slideLayout" Target="../slideLayouts/slideLayout252.xml"/><Relationship Id="rId11" Type="http://schemas.openxmlformats.org/officeDocument/2006/relationships/slideLayout" Target="../slideLayouts/slideLayout156.xml"/><Relationship Id="rId32" Type="http://schemas.openxmlformats.org/officeDocument/2006/relationships/slideLayout" Target="../slideLayouts/slideLayout177.xml"/><Relationship Id="rId37" Type="http://schemas.openxmlformats.org/officeDocument/2006/relationships/slideLayout" Target="../slideLayouts/slideLayout182.xml"/><Relationship Id="rId53" Type="http://schemas.openxmlformats.org/officeDocument/2006/relationships/slideLayout" Target="../slideLayouts/slideLayout198.xml"/><Relationship Id="rId58" Type="http://schemas.openxmlformats.org/officeDocument/2006/relationships/slideLayout" Target="../slideLayouts/slideLayout203.xml"/><Relationship Id="rId74" Type="http://schemas.openxmlformats.org/officeDocument/2006/relationships/slideLayout" Target="../slideLayouts/slideLayout219.xml"/><Relationship Id="rId79" Type="http://schemas.openxmlformats.org/officeDocument/2006/relationships/slideLayout" Target="../slideLayouts/slideLayout224.xml"/><Relationship Id="rId102" Type="http://schemas.openxmlformats.org/officeDocument/2006/relationships/slideLayout" Target="../slideLayouts/slideLayout247.xml"/><Relationship Id="rId5" Type="http://schemas.openxmlformats.org/officeDocument/2006/relationships/slideLayout" Target="../slideLayouts/slideLayout150.xml"/><Relationship Id="rId90" Type="http://schemas.openxmlformats.org/officeDocument/2006/relationships/slideLayout" Target="../slideLayouts/slideLayout235.xml"/><Relationship Id="rId95" Type="http://schemas.openxmlformats.org/officeDocument/2006/relationships/slideLayout" Target="../slideLayouts/slideLayout240.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43" Type="http://schemas.openxmlformats.org/officeDocument/2006/relationships/slideLayout" Target="../slideLayouts/slideLayout188.xml"/><Relationship Id="rId48" Type="http://schemas.openxmlformats.org/officeDocument/2006/relationships/slideLayout" Target="../slideLayouts/slideLayout193.xml"/><Relationship Id="rId64" Type="http://schemas.openxmlformats.org/officeDocument/2006/relationships/slideLayout" Target="../slideLayouts/slideLayout209.xml"/><Relationship Id="rId69" Type="http://schemas.openxmlformats.org/officeDocument/2006/relationships/slideLayout" Target="../slideLayouts/slideLayout214.xml"/><Relationship Id="rId113" Type="http://schemas.openxmlformats.org/officeDocument/2006/relationships/slideLayout" Target="../slideLayouts/slideLayout258.xml"/><Relationship Id="rId80" Type="http://schemas.openxmlformats.org/officeDocument/2006/relationships/slideLayout" Target="../slideLayouts/slideLayout225.xml"/><Relationship Id="rId85" Type="http://schemas.openxmlformats.org/officeDocument/2006/relationships/slideLayout" Target="../slideLayouts/slideLayout230.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33" Type="http://schemas.openxmlformats.org/officeDocument/2006/relationships/slideLayout" Target="../slideLayouts/slideLayout178.xml"/><Relationship Id="rId38" Type="http://schemas.openxmlformats.org/officeDocument/2006/relationships/slideLayout" Target="../slideLayouts/slideLayout183.xml"/><Relationship Id="rId59" Type="http://schemas.openxmlformats.org/officeDocument/2006/relationships/slideLayout" Target="../slideLayouts/slideLayout204.xml"/><Relationship Id="rId103" Type="http://schemas.openxmlformats.org/officeDocument/2006/relationships/slideLayout" Target="../slideLayouts/slideLayout248.xml"/><Relationship Id="rId108" Type="http://schemas.openxmlformats.org/officeDocument/2006/relationships/slideLayout" Target="../slideLayouts/slideLayout253.xml"/><Relationship Id="rId54" Type="http://schemas.openxmlformats.org/officeDocument/2006/relationships/slideLayout" Target="../slideLayouts/slideLayout199.xml"/><Relationship Id="rId70" Type="http://schemas.openxmlformats.org/officeDocument/2006/relationships/slideLayout" Target="../slideLayouts/slideLayout215.xml"/><Relationship Id="rId75" Type="http://schemas.openxmlformats.org/officeDocument/2006/relationships/slideLayout" Target="../slideLayouts/slideLayout220.xml"/><Relationship Id="rId91" Type="http://schemas.openxmlformats.org/officeDocument/2006/relationships/slideLayout" Target="../slideLayouts/slideLayout236.xml"/><Relationship Id="rId96" Type="http://schemas.openxmlformats.org/officeDocument/2006/relationships/slideLayout" Target="../slideLayouts/slideLayout241.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36" Type="http://schemas.openxmlformats.org/officeDocument/2006/relationships/slideLayout" Target="../slideLayouts/slideLayout181.xml"/><Relationship Id="rId49" Type="http://schemas.openxmlformats.org/officeDocument/2006/relationships/slideLayout" Target="../slideLayouts/slideLayout194.xml"/><Relationship Id="rId57" Type="http://schemas.openxmlformats.org/officeDocument/2006/relationships/slideLayout" Target="../slideLayouts/slideLayout202.xml"/><Relationship Id="rId106" Type="http://schemas.openxmlformats.org/officeDocument/2006/relationships/slideLayout" Target="../slideLayouts/slideLayout251.xml"/><Relationship Id="rId114" Type="http://schemas.openxmlformats.org/officeDocument/2006/relationships/slideLayout" Target="../slideLayouts/slideLayout259.xml"/><Relationship Id="rId10" Type="http://schemas.openxmlformats.org/officeDocument/2006/relationships/slideLayout" Target="../slideLayouts/slideLayout155.xml"/><Relationship Id="rId31" Type="http://schemas.openxmlformats.org/officeDocument/2006/relationships/slideLayout" Target="../slideLayouts/slideLayout176.xml"/><Relationship Id="rId44" Type="http://schemas.openxmlformats.org/officeDocument/2006/relationships/slideLayout" Target="../slideLayouts/slideLayout189.xml"/><Relationship Id="rId52" Type="http://schemas.openxmlformats.org/officeDocument/2006/relationships/slideLayout" Target="../slideLayouts/slideLayout197.xml"/><Relationship Id="rId60" Type="http://schemas.openxmlformats.org/officeDocument/2006/relationships/slideLayout" Target="../slideLayouts/slideLayout205.xml"/><Relationship Id="rId65" Type="http://schemas.openxmlformats.org/officeDocument/2006/relationships/slideLayout" Target="../slideLayouts/slideLayout210.xml"/><Relationship Id="rId73" Type="http://schemas.openxmlformats.org/officeDocument/2006/relationships/slideLayout" Target="../slideLayouts/slideLayout218.xml"/><Relationship Id="rId78" Type="http://schemas.openxmlformats.org/officeDocument/2006/relationships/slideLayout" Target="../slideLayouts/slideLayout223.xml"/><Relationship Id="rId81" Type="http://schemas.openxmlformats.org/officeDocument/2006/relationships/slideLayout" Target="../slideLayouts/slideLayout226.xml"/><Relationship Id="rId86" Type="http://schemas.openxmlformats.org/officeDocument/2006/relationships/slideLayout" Target="../slideLayouts/slideLayout231.xml"/><Relationship Id="rId94" Type="http://schemas.openxmlformats.org/officeDocument/2006/relationships/slideLayout" Target="../slideLayouts/slideLayout239.xml"/><Relationship Id="rId99" Type="http://schemas.openxmlformats.org/officeDocument/2006/relationships/slideLayout" Target="../slideLayouts/slideLayout244.xml"/><Relationship Id="rId101" Type="http://schemas.openxmlformats.org/officeDocument/2006/relationships/slideLayout" Target="../slideLayouts/slideLayout246.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39" Type="http://schemas.openxmlformats.org/officeDocument/2006/relationships/slideLayout" Target="../slideLayouts/slideLayout184.xml"/><Relationship Id="rId109" Type="http://schemas.openxmlformats.org/officeDocument/2006/relationships/slideLayout" Target="../slideLayouts/slideLayout254.xml"/><Relationship Id="rId34" Type="http://schemas.openxmlformats.org/officeDocument/2006/relationships/slideLayout" Target="../slideLayouts/slideLayout179.xml"/><Relationship Id="rId50" Type="http://schemas.openxmlformats.org/officeDocument/2006/relationships/slideLayout" Target="../slideLayouts/slideLayout195.xml"/><Relationship Id="rId55" Type="http://schemas.openxmlformats.org/officeDocument/2006/relationships/slideLayout" Target="../slideLayouts/slideLayout200.xml"/><Relationship Id="rId76" Type="http://schemas.openxmlformats.org/officeDocument/2006/relationships/slideLayout" Target="../slideLayouts/slideLayout221.xml"/><Relationship Id="rId97" Type="http://schemas.openxmlformats.org/officeDocument/2006/relationships/slideLayout" Target="../slideLayouts/slideLayout242.xml"/><Relationship Id="rId104" Type="http://schemas.openxmlformats.org/officeDocument/2006/relationships/slideLayout" Target="../slideLayouts/slideLayout249.xml"/><Relationship Id="rId7" Type="http://schemas.openxmlformats.org/officeDocument/2006/relationships/slideLayout" Target="../slideLayouts/slideLayout152.xml"/><Relationship Id="rId71" Type="http://schemas.openxmlformats.org/officeDocument/2006/relationships/slideLayout" Target="../slideLayouts/slideLayout216.xml"/><Relationship Id="rId92" Type="http://schemas.openxmlformats.org/officeDocument/2006/relationships/slideLayout" Target="../slideLayouts/slideLayout237.xml"/><Relationship Id="rId2" Type="http://schemas.openxmlformats.org/officeDocument/2006/relationships/slideLayout" Target="../slideLayouts/slideLayout147.xml"/><Relationship Id="rId29" Type="http://schemas.openxmlformats.org/officeDocument/2006/relationships/slideLayout" Target="../slideLayouts/slideLayout174.xml"/><Relationship Id="rId24" Type="http://schemas.openxmlformats.org/officeDocument/2006/relationships/slideLayout" Target="../slideLayouts/slideLayout169.xml"/><Relationship Id="rId40" Type="http://schemas.openxmlformats.org/officeDocument/2006/relationships/slideLayout" Target="../slideLayouts/slideLayout185.xml"/><Relationship Id="rId45" Type="http://schemas.openxmlformats.org/officeDocument/2006/relationships/slideLayout" Target="../slideLayouts/slideLayout190.xml"/><Relationship Id="rId66" Type="http://schemas.openxmlformats.org/officeDocument/2006/relationships/slideLayout" Target="../slideLayouts/slideLayout211.xml"/><Relationship Id="rId87" Type="http://schemas.openxmlformats.org/officeDocument/2006/relationships/slideLayout" Target="../slideLayouts/slideLayout232.xml"/><Relationship Id="rId110" Type="http://schemas.openxmlformats.org/officeDocument/2006/relationships/slideLayout" Target="../slideLayouts/slideLayout255.xml"/><Relationship Id="rId115" Type="http://schemas.openxmlformats.org/officeDocument/2006/relationships/slideLayout" Target="../slideLayouts/slideLayout260.xml"/><Relationship Id="rId61" Type="http://schemas.openxmlformats.org/officeDocument/2006/relationships/slideLayout" Target="../slideLayouts/slideLayout206.xml"/><Relationship Id="rId82" Type="http://schemas.openxmlformats.org/officeDocument/2006/relationships/slideLayout" Target="../slideLayouts/slideLayout227.xml"/><Relationship Id="rId19" Type="http://schemas.openxmlformats.org/officeDocument/2006/relationships/slideLayout" Target="../slideLayouts/slideLayout164.xml"/><Relationship Id="rId14" Type="http://schemas.openxmlformats.org/officeDocument/2006/relationships/slideLayout" Target="../slideLayouts/slideLayout159.xml"/><Relationship Id="rId30" Type="http://schemas.openxmlformats.org/officeDocument/2006/relationships/slideLayout" Target="../slideLayouts/slideLayout175.xml"/><Relationship Id="rId35" Type="http://schemas.openxmlformats.org/officeDocument/2006/relationships/slideLayout" Target="../slideLayouts/slideLayout180.xml"/><Relationship Id="rId56" Type="http://schemas.openxmlformats.org/officeDocument/2006/relationships/slideLayout" Target="../slideLayouts/slideLayout201.xml"/><Relationship Id="rId77" Type="http://schemas.openxmlformats.org/officeDocument/2006/relationships/slideLayout" Target="../slideLayouts/slideLayout222.xml"/><Relationship Id="rId100" Type="http://schemas.openxmlformats.org/officeDocument/2006/relationships/slideLayout" Target="../slideLayouts/slideLayout245.xml"/><Relationship Id="rId105" Type="http://schemas.openxmlformats.org/officeDocument/2006/relationships/slideLayout" Target="../slideLayouts/slideLayout250.xml"/><Relationship Id="rId8" Type="http://schemas.openxmlformats.org/officeDocument/2006/relationships/slideLayout" Target="../slideLayouts/slideLayout153.xml"/><Relationship Id="rId51" Type="http://schemas.openxmlformats.org/officeDocument/2006/relationships/slideLayout" Target="../slideLayouts/slideLayout196.xml"/><Relationship Id="rId72" Type="http://schemas.openxmlformats.org/officeDocument/2006/relationships/slideLayout" Target="../slideLayouts/slideLayout217.xml"/><Relationship Id="rId93" Type="http://schemas.openxmlformats.org/officeDocument/2006/relationships/slideLayout" Target="../slideLayouts/slideLayout238.xml"/><Relationship Id="rId98" Type="http://schemas.openxmlformats.org/officeDocument/2006/relationships/slideLayout" Target="../slideLayouts/slideLayout243.xml"/><Relationship Id="rId3" Type="http://schemas.openxmlformats.org/officeDocument/2006/relationships/slideLayout" Target="../slideLayouts/slideLayout148.xml"/><Relationship Id="rId25" Type="http://schemas.openxmlformats.org/officeDocument/2006/relationships/slideLayout" Target="../slideLayouts/slideLayout170.xml"/><Relationship Id="rId46" Type="http://schemas.openxmlformats.org/officeDocument/2006/relationships/slideLayout" Target="../slideLayouts/slideLayout191.xml"/><Relationship Id="rId67" Type="http://schemas.openxmlformats.org/officeDocument/2006/relationships/slideLayout" Target="../slideLayouts/slideLayout212.xml"/><Relationship Id="rId116" Type="http://schemas.openxmlformats.org/officeDocument/2006/relationships/theme" Target="../theme/theme4.xml"/><Relationship Id="rId20" Type="http://schemas.openxmlformats.org/officeDocument/2006/relationships/slideLayout" Target="../slideLayouts/slideLayout165.xml"/><Relationship Id="rId41" Type="http://schemas.openxmlformats.org/officeDocument/2006/relationships/slideLayout" Target="../slideLayouts/slideLayout186.xml"/><Relationship Id="rId62" Type="http://schemas.openxmlformats.org/officeDocument/2006/relationships/slideLayout" Target="../slideLayouts/slideLayout207.xml"/><Relationship Id="rId83" Type="http://schemas.openxmlformats.org/officeDocument/2006/relationships/slideLayout" Target="../slideLayouts/slideLayout228.xml"/><Relationship Id="rId88" Type="http://schemas.openxmlformats.org/officeDocument/2006/relationships/slideLayout" Target="../slideLayouts/slideLayout233.xml"/><Relationship Id="rId111" Type="http://schemas.openxmlformats.org/officeDocument/2006/relationships/slideLayout" Target="../slideLayouts/slideLayout25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73.xml"/><Relationship Id="rId18" Type="http://schemas.openxmlformats.org/officeDocument/2006/relationships/slideLayout" Target="../slideLayouts/slideLayout278.xml"/><Relationship Id="rId26" Type="http://schemas.openxmlformats.org/officeDocument/2006/relationships/slideLayout" Target="../slideLayouts/slideLayout286.xml"/><Relationship Id="rId21" Type="http://schemas.openxmlformats.org/officeDocument/2006/relationships/slideLayout" Target="../slideLayouts/slideLayout281.xml"/><Relationship Id="rId34" Type="http://schemas.openxmlformats.org/officeDocument/2006/relationships/slideLayout" Target="../slideLayouts/slideLayout294.xml"/><Relationship Id="rId7" Type="http://schemas.openxmlformats.org/officeDocument/2006/relationships/slideLayout" Target="../slideLayouts/slideLayout267.xml"/><Relationship Id="rId12" Type="http://schemas.openxmlformats.org/officeDocument/2006/relationships/slideLayout" Target="../slideLayouts/slideLayout272.xml"/><Relationship Id="rId17" Type="http://schemas.openxmlformats.org/officeDocument/2006/relationships/slideLayout" Target="../slideLayouts/slideLayout277.xml"/><Relationship Id="rId25" Type="http://schemas.openxmlformats.org/officeDocument/2006/relationships/slideLayout" Target="../slideLayouts/slideLayout285.xml"/><Relationship Id="rId33" Type="http://schemas.openxmlformats.org/officeDocument/2006/relationships/slideLayout" Target="../slideLayouts/slideLayout293.xml"/><Relationship Id="rId38" Type="http://schemas.openxmlformats.org/officeDocument/2006/relationships/theme" Target="../theme/theme5.xml"/><Relationship Id="rId2" Type="http://schemas.openxmlformats.org/officeDocument/2006/relationships/slideLayout" Target="../slideLayouts/slideLayout262.xml"/><Relationship Id="rId16" Type="http://schemas.openxmlformats.org/officeDocument/2006/relationships/slideLayout" Target="../slideLayouts/slideLayout276.xml"/><Relationship Id="rId20" Type="http://schemas.openxmlformats.org/officeDocument/2006/relationships/slideLayout" Target="../slideLayouts/slideLayout280.xml"/><Relationship Id="rId29" Type="http://schemas.openxmlformats.org/officeDocument/2006/relationships/slideLayout" Target="../slideLayouts/slideLayout289.xml"/><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slideLayout" Target="../slideLayouts/slideLayout271.xml"/><Relationship Id="rId24" Type="http://schemas.openxmlformats.org/officeDocument/2006/relationships/slideLayout" Target="../slideLayouts/slideLayout284.xml"/><Relationship Id="rId32" Type="http://schemas.openxmlformats.org/officeDocument/2006/relationships/slideLayout" Target="../slideLayouts/slideLayout292.xml"/><Relationship Id="rId37" Type="http://schemas.openxmlformats.org/officeDocument/2006/relationships/slideLayout" Target="../slideLayouts/slideLayout297.xml"/><Relationship Id="rId5" Type="http://schemas.openxmlformats.org/officeDocument/2006/relationships/slideLayout" Target="../slideLayouts/slideLayout265.xml"/><Relationship Id="rId15" Type="http://schemas.openxmlformats.org/officeDocument/2006/relationships/slideLayout" Target="../slideLayouts/slideLayout275.xml"/><Relationship Id="rId23" Type="http://schemas.openxmlformats.org/officeDocument/2006/relationships/slideLayout" Target="../slideLayouts/slideLayout283.xml"/><Relationship Id="rId28" Type="http://schemas.openxmlformats.org/officeDocument/2006/relationships/slideLayout" Target="../slideLayouts/slideLayout288.xml"/><Relationship Id="rId36" Type="http://schemas.openxmlformats.org/officeDocument/2006/relationships/slideLayout" Target="../slideLayouts/slideLayout296.xml"/><Relationship Id="rId10" Type="http://schemas.openxmlformats.org/officeDocument/2006/relationships/slideLayout" Target="../slideLayouts/slideLayout270.xml"/><Relationship Id="rId19" Type="http://schemas.openxmlformats.org/officeDocument/2006/relationships/slideLayout" Target="../slideLayouts/slideLayout279.xml"/><Relationship Id="rId31" Type="http://schemas.openxmlformats.org/officeDocument/2006/relationships/slideLayout" Target="../slideLayouts/slideLayout291.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4" Type="http://schemas.openxmlformats.org/officeDocument/2006/relationships/slideLayout" Target="../slideLayouts/slideLayout274.xml"/><Relationship Id="rId22" Type="http://schemas.openxmlformats.org/officeDocument/2006/relationships/slideLayout" Target="../slideLayouts/slideLayout282.xml"/><Relationship Id="rId27" Type="http://schemas.openxmlformats.org/officeDocument/2006/relationships/slideLayout" Target="../slideLayouts/slideLayout287.xml"/><Relationship Id="rId30" Type="http://schemas.openxmlformats.org/officeDocument/2006/relationships/slideLayout" Target="../slideLayouts/slideLayout290.xml"/><Relationship Id="rId35" Type="http://schemas.openxmlformats.org/officeDocument/2006/relationships/slideLayout" Target="../slideLayouts/slideLayout295.xml"/><Relationship Id="rId8" Type="http://schemas.openxmlformats.org/officeDocument/2006/relationships/slideLayout" Target="../slideLayouts/slideLayout268.xml"/><Relationship Id="rId3" Type="http://schemas.openxmlformats.org/officeDocument/2006/relationships/slideLayout" Target="../slideLayouts/slideLayout26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310.xml"/><Relationship Id="rId18" Type="http://schemas.openxmlformats.org/officeDocument/2006/relationships/slideLayout" Target="../slideLayouts/slideLayout315.xml"/><Relationship Id="rId26" Type="http://schemas.openxmlformats.org/officeDocument/2006/relationships/slideLayout" Target="../slideLayouts/slideLayout323.xml"/><Relationship Id="rId39" Type="http://schemas.openxmlformats.org/officeDocument/2006/relationships/slideLayout" Target="../slideLayouts/slideLayout336.xml"/><Relationship Id="rId21" Type="http://schemas.openxmlformats.org/officeDocument/2006/relationships/slideLayout" Target="../slideLayouts/slideLayout318.xml"/><Relationship Id="rId34" Type="http://schemas.openxmlformats.org/officeDocument/2006/relationships/slideLayout" Target="../slideLayouts/slideLayout331.xml"/><Relationship Id="rId42" Type="http://schemas.openxmlformats.org/officeDocument/2006/relationships/slideLayout" Target="../slideLayouts/slideLayout339.xml"/><Relationship Id="rId47" Type="http://schemas.openxmlformats.org/officeDocument/2006/relationships/slideLayout" Target="../slideLayouts/slideLayout344.xml"/><Relationship Id="rId50" Type="http://schemas.openxmlformats.org/officeDocument/2006/relationships/slideLayout" Target="../slideLayouts/slideLayout347.xml"/><Relationship Id="rId7" Type="http://schemas.openxmlformats.org/officeDocument/2006/relationships/slideLayout" Target="../slideLayouts/slideLayout304.xml"/><Relationship Id="rId2" Type="http://schemas.openxmlformats.org/officeDocument/2006/relationships/slideLayout" Target="../slideLayouts/slideLayout299.xml"/><Relationship Id="rId16" Type="http://schemas.openxmlformats.org/officeDocument/2006/relationships/slideLayout" Target="../slideLayouts/slideLayout313.xml"/><Relationship Id="rId29" Type="http://schemas.openxmlformats.org/officeDocument/2006/relationships/slideLayout" Target="../slideLayouts/slideLayout326.xml"/><Relationship Id="rId11" Type="http://schemas.openxmlformats.org/officeDocument/2006/relationships/slideLayout" Target="../slideLayouts/slideLayout308.xml"/><Relationship Id="rId24" Type="http://schemas.openxmlformats.org/officeDocument/2006/relationships/slideLayout" Target="../slideLayouts/slideLayout321.xml"/><Relationship Id="rId32" Type="http://schemas.openxmlformats.org/officeDocument/2006/relationships/slideLayout" Target="../slideLayouts/slideLayout329.xml"/><Relationship Id="rId37" Type="http://schemas.openxmlformats.org/officeDocument/2006/relationships/slideLayout" Target="../slideLayouts/slideLayout334.xml"/><Relationship Id="rId40" Type="http://schemas.openxmlformats.org/officeDocument/2006/relationships/slideLayout" Target="../slideLayouts/slideLayout337.xml"/><Relationship Id="rId45" Type="http://schemas.openxmlformats.org/officeDocument/2006/relationships/slideLayout" Target="../slideLayouts/slideLayout342.xml"/><Relationship Id="rId53" Type="http://schemas.openxmlformats.org/officeDocument/2006/relationships/slideLayout" Target="../slideLayouts/slideLayout350.xml"/><Relationship Id="rId5" Type="http://schemas.openxmlformats.org/officeDocument/2006/relationships/slideLayout" Target="../slideLayouts/slideLayout302.xml"/><Relationship Id="rId10" Type="http://schemas.openxmlformats.org/officeDocument/2006/relationships/slideLayout" Target="../slideLayouts/slideLayout307.xml"/><Relationship Id="rId19" Type="http://schemas.openxmlformats.org/officeDocument/2006/relationships/slideLayout" Target="../slideLayouts/slideLayout316.xml"/><Relationship Id="rId31" Type="http://schemas.openxmlformats.org/officeDocument/2006/relationships/slideLayout" Target="../slideLayouts/slideLayout328.xml"/><Relationship Id="rId44" Type="http://schemas.openxmlformats.org/officeDocument/2006/relationships/slideLayout" Target="../slideLayouts/slideLayout341.xml"/><Relationship Id="rId52" Type="http://schemas.openxmlformats.org/officeDocument/2006/relationships/slideLayout" Target="../slideLayouts/slideLayout349.xml"/><Relationship Id="rId4" Type="http://schemas.openxmlformats.org/officeDocument/2006/relationships/slideLayout" Target="../slideLayouts/slideLayout301.xml"/><Relationship Id="rId9" Type="http://schemas.openxmlformats.org/officeDocument/2006/relationships/slideLayout" Target="../slideLayouts/slideLayout306.xml"/><Relationship Id="rId14" Type="http://schemas.openxmlformats.org/officeDocument/2006/relationships/slideLayout" Target="../slideLayouts/slideLayout311.xml"/><Relationship Id="rId22" Type="http://schemas.openxmlformats.org/officeDocument/2006/relationships/slideLayout" Target="../slideLayouts/slideLayout319.xml"/><Relationship Id="rId27" Type="http://schemas.openxmlformats.org/officeDocument/2006/relationships/slideLayout" Target="../slideLayouts/slideLayout324.xml"/><Relationship Id="rId30" Type="http://schemas.openxmlformats.org/officeDocument/2006/relationships/slideLayout" Target="../slideLayouts/slideLayout327.xml"/><Relationship Id="rId35" Type="http://schemas.openxmlformats.org/officeDocument/2006/relationships/slideLayout" Target="../slideLayouts/slideLayout332.xml"/><Relationship Id="rId43" Type="http://schemas.openxmlformats.org/officeDocument/2006/relationships/slideLayout" Target="../slideLayouts/slideLayout340.xml"/><Relationship Id="rId48" Type="http://schemas.openxmlformats.org/officeDocument/2006/relationships/slideLayout" Target="../slideLayouts/slideLayout345.xml"/><Relationship Id="rId8" Type="http://schemas.openxmlformats.org/officeDocument/2006/relationships/slideLayout" Target="../slideLayouts/slideLayout305.xml"/><Relationship Id="rId51" Type="http://schemas.openxmlformats.org/officeDocument/2006/relationships/slideLayout" Target="../slideLayouts/slideLayout348.xml"/><Relationship Id="rId3" Type="http://schemas.openxmlformats.org/officeDocument/2006/relationships/slideLayout" Target="../slideLayouts/slideLayout300.xml"/><Relationship Id="rId12" Type="http://schemas.openxmlformats.org/officeDocument/2006/relationships/slideLayout" Target="../slideLayouts/slideLayout309.xml"/><Relationship Id="rId17" Type="http://schemas.openxmlformats.org/officeDocument/2006/relationships/slideLayout" Target="../slideLayouts/slideLayout314.xml"/><Relationship Id="rId25" Type="http://schemas.openxmlformats.org/officeDocument/2006/relationships/slideLayout" Target="../slideLayouts/slideLayout322.xml"/><Relationship Id="rId33" Type="http://schemas.openxmlformats.org/officeDocument/2006/relationships/slideLayout" Target="../slideLayouts/slideLayout330.xml"/><Relationship Id="rId38" Type="http://schemas.openxmlformats.org/officeDocument/2006/relationships/slideLayout" Target="../slideLayouts/slideLayout335.xml"/><Relationship Id="rId46" Type="http://schemas.openxmlformats.org/officeDocument/2006/relationships/slideLayout" Target="../slideLayouts/slideLayout343.xml"/><Relationship Id="rId20" Type="http://schemas.openxmlformats.org/officeDocument/2006/relationships/slideLayout" Target="../slideLayouts/slideLayout317.xml"/><Relationship Id="rId41" Type="http://schemas.openxmlformats.org/officeDocument/2006/relationships/slideLayout" Target="../slideLayouts/slideLayout338.xml"/><Relationship Id="rId54" Type="http://schemas.openxmlformats.org/officeDocument/2006/relationships/theme" Target="../theme/theme6.xml"/><Relationship Id="rId1" Type="http://schemas.openxmlformats.org/officeDocument/2006/relationships/slideLayout" Target="../slideLayouts/slideLayout298.xml"/><Relationship Id="rId6" Type="http://schemas.openxmlformats.org/officeDocument/2006/relationships/slideLayout" Target="../slideLayouts/slideLayout303.xml"/><Relationship Id="rId15" Type="http://schemas.openxmlformats.org/officeDocument/2006/relationships/slideLayout" Target="../slideLayouts/slideLayout312.xml"/><Relationship Id="rId23" Type="http://schemas.openxmlformats.org/officeDocument/2006/relationships/slideLayout" Target="../slideLayouts/slideLayout320.xml"/><Relationship Id="rId28" Type="http://schemas.openxmlformats.org/officeDocument/2006/relationships/slideLayout" Target="../slideLayouts/slideLayout325.xml"/><Relationship Id="rId36" Type="http://schemas.openxmlformats.org/officeDocument/2006/relationships/slideLayout" Target="../slideLayouts/slideLayout333.xml"/><Relationship Id="rId49" Type="http://schemas.openxmlformats.org/officeDocument/2006/relationships/slideLayout" Target="../slideLayouts/slideLayout34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58.xml"/><Relationship Id="rId13" Type="http://schemas.openxmlformats.org/officeDocument/2006/relationships/slideLayout" Target="../slideLayouts/slideLayout363.xml"/><Relationship Id="rId3" Type="http://schemas.openxmlformats.org/officeDocument/2006/relationships/slideLayout" Target="../slideLayouts/slideLayout353.xml"/><Relationship Id="rId7" Type="http://schemas.openxmlformats.org/officeDocument/2006/relationships/slideLayout" Target="../slideLayouts/slideLayout357.xml"/><Relationship Id="rId12" Type="http://schemas.openxmlformats.org/officeDocument/2006/relationships/slideLayout" Target="../slideLayouts/slideLayout362.xml"/><Relationship Id="rId2" Type="http://schemas.openxmlformats.org/officeDocument/2006/relationships/slideLayout" Target="../slideLayouts/slideLayout352.xml"/><Relationship Id="rId1" Type="http://schemas.openxmlformats.org/officeDocument/2006/relationships/slideLayout" Target="../slideLayouts/slideLayout351.xml"/><Relationship Id="rId6" Type="http://schemas.openxmlformats.org/officeDocument/2006/relationships/slideLayout" Target="../slideLayouts/slideLayout356.xml"/><Relationship Id="rId11" Type="http://schemas.openxmlformats.org/officeDocument/2006/relationships/slideLayout" Target="../slideLayouts/slideLayout361.xml"/><Relationship Id="rId5" Type="http://schemas.openxmlformats.org/officeDocument/2006/relationships/slideLayout" Target="../slideLayouts/slideLayout355.xml"/><Relationship Id="rId15" Type="http://schemas.openxmlformats.org/officeDocument/2006/relationships/theme" Target="../theme/theme7.xml"/><Relationship Id="rId10" Type="http://schemas.openxmlformats.org/officeDocument/2006/relationships/slideLayout" Target="../slideLayouts/slideLayout360.xml"/><Relationship Id="rId4" Type="http://schemas.openxmlformats.org/officeDocument/2006/relationships/slideLayout" Target="../slideLayouts/slideLayout354.xml"/><Relationship Id="rId9" Type="http://schemas.openxmlformats.org/officeDocument/2006/relationships/slideLayout" Target="../slideLayouts/slideLayout359.xml"/><Relationship Id="rId14" Type="http://schemas.openxmlformats.org/officeDocument/2006/relationships/slideLayout" Target="../slideLayouts/slideLayout36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72.xml"/><Relationship Id="rId13" Type="http://schemas.openxmlformats.org/officeDocument/2006/relationships/theme" Target="../theme/theme8.xml"/><Relationship Id="rId3" Type="http://schemas.openxmlformats.org/officeDocument/2006/relationships/slideLayout" Target="../slideLayouts/slideLayout367.xml"/><Relationship Id="rId7" Type="http://schemas.openxmlformats.org/officeDocument/2006/relationships/slideLayout" Target="../slideLayouts/slideLayout371.xml"/><Relationship Id="rId12" Type="http://schemas.openxmlformats.org/officeDocument/2006/relationships/slideLayout" Target="../slideLayouts/slideLayout376.xml"/><Relationship Id="rId2" Type="http://schemas.openxmlformats.org/officeDocument/2006/relationships/slideLayout" Target="../slideLayouts/slideLayout366.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1" Type="http://schemas.openxmlformats.org/officeDocument/2006/relationships/slideLayout" Target="../slideLayouts/slideLayout375.xml"/><Relationship Id="rId5" Type="http://schemas.openxmlformats.org/officeDocument/2006/relationships/slideLayout" Target="../slideLayouts/slideLayout369.xml"/><Relationship Id="rId10" Type="http://schemas.openxmlformats.org/officeDocument/2006/relationships/slideLayout" Target="../slideLayouts/slideLayout374.xml"/><Relationship Id="rId4" Type="http://schemas.openxmlformats.org/officeDocument/2006/relationships/slideLayout" Target="../slideLayouts/slideLayout368.xml"/><Relationship Id="rId9" Type="http://schemas.openxmlformats.org/officeDocument/2006/relationships/slideLayout" Target="../slideLayouts/slideLayout373.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89.xml"/><Relationship Id="rId18" Type="http://schemas.openxmlformats.org/officeDocument/2006/relationships/slideLayout" Target="../slideLayouts/slideLayout394.xml"/><Relationship Id="rId26" Type="http://schemas.openxmlformats.org/officeDocument/2006/relationships/slideLayout" Target="../slideLayouts/slideLayout402.xml"/><Relationship Id="rId39" Type="http://schemas.openxmlformats.org/officeDocument/2006/relationships/theme" Target="../theme/theme9.xml"/><Relationship Id="rId21" Type="http://schemas.openxmlformats.org/officeDocument/2006/relationships/slideLayout" Target="../slideLayouts/slideLayout397.xml"/><Relationship Id="rId34" Type="http://schemas.openxmlformats.org/officeDocument/2006/relationships/slideLayout" Target="../slideLayouts/slideLayout410.xml"/><Relationship Id="rId7" Type="http://schemas.openxmlformats.org/officeDocument/2006/relationships/slideLayout" Target="../slideLayouts/slideLayout383.xml"/><Relationship Id="rId12" Type="http://schemas.openxmlformats.org/officeDocument/2006/relationships/slideLayout" Target="../slideLayouts/slideLayout388.xml"/><Relationship Id="rId17" Type="http://schemas.openxmlformats.org/officeDocument/2006/relationships/slideLayout" Target="../slideLayouts/slideLayout393.xml"/><Relationship Id="rId25" Type="http://schemas.openxmlformats.org/officeDocument/2006/relationships/slideLayout" Target="../slideLayouts/slideLayout401.xml"/><Relationship Id="rId33" Type="http://schemas.openxmlformats.org/officeDocument/2006/relationships/slideLayout" Target="../slideLayouts/slideLayout409.xml"/><Relationship Id="rId38" Type="http://schemas.openxmlformats.org/officeDocument/2006/relationships/slideLayout" Target="../slideLayouts/slideLayout414.xml"/><Relationship Id="rId2" Type="http://schemas.openxmlformats.org/officeDocument/2006/relationships/slideLayout" Target="../slideLayouts/slideLayout378.xml"/><Relationship Id="rId16" Type="http://schemas.openxmlformats.org/officeDocument/2006/relationships/slideLayout" Target="../slideLayouts/slideLayout392.xml"/><Relationship Id="rId20" Type="http://schemas.openxmlformats.org/officeDocument/2006/relationships/slideLayout" Target="../slideLayouts/slideLayout396.xml"/><Relationship Id="rId29" Type="http://schemas.openxmlformats.org/officeDocument/2006/relationships/slideLayout" Target="../slideLayouts/slideLayout405.xml"/><Relationship Id="rId1" Type="http://schemas.openxmlformats.org/officeDocument/2006/relationships/slideLayout" Target="../slideLayouts/slideLayout377.xml"/><Relationship Id="rId6" Type="http://schemas.openxmlformats.org/officeDocument/2006/relationships/slideLayout" Target="../slideLayouts/slideLayout382.xml"/><Relationship Id="rId11" Type="http://schemas.openxmlformats.org/officeDocument/2006/relationships/slideLayout" Target="../slideLayouts/slideLayout387.xml"/><Relationship Id="rId24" Type="http://schemas.openxmlformats.org/officeDocument/2006/relationships/slideLayout" Target="../slideLayouts/slideLayout400.xml"/><Relationship Id="rId32" Type="http://schemas.openxmlformats.org/officeDocument/2006/relationships/slideLayout" Target="../slideLayouts/slideLayout408.xml"/><Relationship Id="rId37" Type="http://schemas.openxmlformats.org/officeDocument/2006/relationships/slideLayout" Target="../slideLayouts/slideLayout413.xml"/><Relationship Id="rId5" Type="http://schemas.openxmlformats.org/officeDocument/2006/relationships/slideLayout" Target="../slideLayouts/slideLayout381.xml"/><Relationship Id="rId15" Type="http://schemas.openxmlformats.org/officeDocument/2006/relationships/slideLayout" Target="../slideLayouts/slideLayout391.xml"/><Relationship Id="rId23" Type="http://schemas.openxmlformats.org/officeDocument/2006/relationships/slideLayout" Target="../slideLayouts/slideLayout399.xml"/><Relationship Id="rId28" Type="http://schemas.openxmlformats.org/officeDocument/2006/relationships/slideLayout" Target="../slideLayouts/slideLayout404.xml"/><Relationship Id="rId36" Type="http://schemas.openxmlformats.org/officeDocument/2006/relationships/slideLayout" Target="../slideLayouts/slideLayout412.xml"/><Relationship Id="rId10" Type="http://schemas.openxmlformats.org/officeDocument/2006/relationships/slideLayout" Target="../slideLayouts/slideLayout386.xml"/><Relationship Id="rId19" Type="http://schemas.openxmlformats.org/officeDocument/2006/relationships/slideLayout" Target="../slideLayouts/slideLayout395.xml"/><Relationship Id="rId31" Type="http://schemas.openxmlformats.org/officeDocument/2006/relationships/slideLayout" Target="../slideLayouts/slideLayout407.xml"/><Relationship Id="rId4" Type="http://schemas.openxmlformats.org/officeDocument/2006/relationships/slideLayout" Target="../slideLayouts/slideLayout380.xml"/><Relationship Id="rId9" Type="http://schemas.openxmlformats.org/officeDocument/2006/relationships/slideLayout" Target="../slideLayouts/slideLayout385.xml"/><Relationship Id="rId14" Type="http://schemas.openxmlformats.org/officeDocument/2006/relationships/slideLayout" Target="../slideLayouts/slideLayout390.xml"/><Relationship Id="rId22" Type="http://schemas.openxmlformats.org/officeDocument/2006/relationships/slideLayout" Target="../slideLayouts/slideLayout398.xml"/><Relationship Id="rId27" Type="http://schemas.openxmlformats.org/officeDocument/2006/relationships/slideLayout" Target="../slideLayouts/slideLayout403.xml"/><Relationship Id="rId30" Type="http://schemas.openxmlformats.org/officeDocument/2006/relationships/slideLayout" Target="../slideLayouts/slideLayout406.xml"/><Relationship Id="rId35" Type="http://schemas.openxmlformats.org/officeDocument/2006/relationships/slideLayout" Target="../slideLayouts/slideLayout411.xml"/><Relationship Id="rId8" Type="http://schemas.openxmlformats.org/officeDocument/2006/relationships/slideLayout" Target="../slideLayouts/slideLayout384.xml"/><Relationship Id="rId3" Type="http://schemas.openxmlformats.org/officeDocument/2006/relationships/slideLayout" Target="../slideLayouts/slideLayout3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C5E5B2-D7B7-0743-B449-C3B8D5EF3BBC}"/>
              </a:ext>
            </a:extLst>
          </p:cNvPr>
          <p:cNvSpPr>
            <a:spLocks noGrp="1"/>
          </p:cNvSpPr>
          <p:nvPr>
            <p:ph type="body" idx="1"/>
          </p:nvPr>
        </p:nvSpPr>
        <p:spPr>
          <a:xfrm>
            <a:off x="1676291" y="5129808"/>
            <a:ext cx="21029831" cy="6908592"/>
          </a:xfrm>
          <a:prstGeom prst="rect">
            <a:avLst/>
          </a:prstGeom>
        </p:spPr>
        <p:txBody>
          <a:bodyPr vert="horz" lIns="91440" tIns="45720" rIns="91440" bIns="45720" rtlCol="0" anchor="t">
            <a:noAutofit/>
          </a:bodyPr>
          <a:lstStyle/>
          <a:p>
            <a:pPr lvl="0"/>
            <a:r>
              <a:rPr lang="en-GB" noProof="0"/>
              <a:t>Put the body text here</a:t>
            </a:r>
          </a:p>
          <a:p>
            <a:pPr lvl="1"/>
            <a:r>
              <a:rPr lang="en-GB" noProof="0"/>
              <a:t>Bullet list</a:t>
            </a:r>
          </a:p>
        </p:txBody>
      </p:sp>
      <p:sp>
        <p:nvSpPr>
          <p:cNvPr id="7" name="Title Placeholder 6">
            <a:extLst>
              <a:ext uri="{FF2B5EF4-FFF2-40B4-BE49-F238E27FC236}">
                <a16:creationId xmlns:a16="http://schemas.microsoft.com/office/drawing/2014/main" id="{98BFA95D-7754-EC48-8FDA-5BF403130B73}"/>
              </a:ext>
            </a:extLst>
          </p:cNvPr>
          <p:cNvSpPr>
            <a:spLocks noGrp="1"/>
          </p:cNvSpPr>
          <p:nvPr>
            <p:ph type="title"/>
          </p:nvPr>
        </p:nvSpPr>
        <p:spPr>
          <a:xfrm>
            <a:off x="1676293" y="1677600"/>
            <a:ext cx="21033007" cy="3011659"/>
          </a:xfrm>
          <a:prstGeom prst="rect">
            <a:avLst/>
          </a:prstGeom>
        </p:spPr>
        <p:txBody>
          <a:bodyPr vert="horz" lIns="91440" tIns="45720" rIns="91440" bIns="45720" rtlCol="0" anchor="t">
            <a:noAutofit/>
          </a:bodyPr>
          <a:lstStyle/>
          <a:p>
            <a:r>
              <a:rPr lang="en-GB" noProof="0"/>
              <a:t>Put the headline here</a:t>
            </a:r>
          </a:p>
        </p:txBody>
      </p:sp>
      <p:sp>
        <p:nvSpPr>
          <p:cNvPr id="8" name="Text Placeholder 3">
            <a:extLst>
              <a:ext uri="{FF2B5EF4-FFF2-40B4-BE49-F238E27FC236}">
                <a16:creationId xmlns:a16="http://schemas.microsoft.com/office/drawing/2014/main" id="{1A4157D2-ADF3-D54C-A50B-CB0D5F86760F}"/>
              </a:ext>
            </a:extLst>
          </p:cNvPr>
          <p:cNvSpPr txBox="1">
            <a:spLocks/>
          </p:cNvSpPr>
          <p:nvPr userDrawn="1"/>
        </p:nvSpPr>
        <p:spPr>
          <a:xfrm rot="5400000">
            <a:off x="21412413" y="2735272"/>
            <a:ext cx="5400000" cy="540000"/>
          </a:xfrm>
          <a:prstGeom prst="rect">
            <a:avLst/>
          </a:prstGeom>
        </p:spPr>
        <p:txBody>
          <a:bodyPr anchor="ctr"/>
          <a:lstStyle>
            <a:lvl1pPr marL="0" indent="0" algn="l" defTabSz="914377" rtl="0" eaLnBrk="1" latinLnBrk="0" hangingPunct="1">
              <a:lnSpc>
                <a:spcPct val="100000"/>
              </a:lnSpc>
              <a:spcBef>
                <a:spcPts val="1000"/>
              </a:spcBef>
              <a:buFont typeface="Arial" panose="020B0604020202020204" pitchFamily="34" charset="0"/>
              <a:buNone/>
              <a:defRPr sz="1000" kern="1200">
                <a:solidFill>
                  <a:schemeClr val="tx1">
                    <a:lumMod val="50000"/>
                    <a:lumOff val="50000"/>
                  </a:schemeClr>
                </a:solidFill>
                <a:latin typeface="Noto IKEA Latin" panose="020B0502040504020204" pitchFamily="34" charset="0"/>
                <a:ea typeface="+mn-ea"/>
                <a:cs typeface="+mn-cs"/>
              </a:defRPr>
            </a:lvl1pPr>
            <a:lvl2pPr marL="0" indent="-342900" algn="l" defTabSz="914377" rtl="0" eaLnBrk="1" latinLnBrk="0" hangingPunct="1">
              <a:lnSpc>
                <a:spcPct val="100000"/>
              </a:lnSpc>
              <a:spcBef>
                <a:spcPts val="1000"/>
              </a:spcBef>
              <a:buFont typeface="Arial" panose="020B0604020202020204" pitchFamily="34" charset="0"/>
              <a:buChar char="•"/>
              <a:defRPr sz="2400" kern="1200" spc="0">
                <a:solidFill>
                  <a:schemeClr val="tx1"/>
                </a:solidFill>
                <a:latin typeface="Noto IKEA Latin" panose="020B0502040504020204" pitchFamily="34" charset="0"/>
                <a:ea typeface="+mn-ea"/>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800" i="0" kern="1200">
                <a:solidFill>
                  <a:schemeClr val="tx1"/>
                </a:solidFill>
                <a:latin typeface="Noto IKEA Latin" panose="020B0502040504020204" pitchFamily="34" charset="0"/>
                <a:ea typeface="+mn-ea"/>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400" kern="1200">
                <a:solidFill>
                  <a:schemeClr val="tx1"/>
                </a:solidFill>
                <a:latin typeface="Noto IKEA Latin" panose="020B0502040504020204" pitchFamily="34" charset="0"/>
                <a:ea typeface="+mn-ea"/>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000" kern="1200">
                <a:solidFill>
                  <a:schemeClr val="tx1"/>
                </a:solidFill>
                <a:latin typeface="Noto IKEA Latin" panose="020B0502040504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chemeClr val="tx1">
                    <a:lumMod val="65000"/>
                    <a:lumOff val="35000"/>
                  </a:schemeClr>
                </a:solidFill>
              </a:rPr>
              <a:t>© Inter IKEA Systems B.V. </a:t>
            </a:r>
            <a:fld id="{A223BBD4-A7A9-AF46-B8EF-A4920416D8B0}" type="datetimeyyyy">
              <a:rPr lang="en-US" sz="1600" smtClean="0">
                <a:solidFill>
                  <a:schemeClr val="tx1">
                    <a:lumMod val="65000"/>
                    <a:lumOff val="35000"/>
                  </a:schemeClr>
                </a:solidFill>
              </a:rPr>
              <a:t>2025</a:t>
            </a:fld>
            <a:endParaRPr lang="en-GB" sz="1600">
              <a:solidFill>
                <a:schemeClr val="tx1">
                  <a:lumMod val="65000"/>
                  <a:lumOff val="35000"/>
                </a:schemeClr>
              </a:solidFill>
            </a:endParaRPr>
          </a:p>
        </p:txBody>
      </p:sp>
      <p:sp>
        <p:nvSpPr>
          <p:cNvPr id="5" name="TextBox 4">
            <a:extLst>
              <a:ext uri="{FF2B5EF4-FFF2-40B4-BE49-F238E27FC236}">
                <a16:creationId xmlns:a16="http://schemas.microsoft.com/office/drawing/2014/main" id="{070AD071-164B-344E-96A0-3FC8C726BF23}"/>
              </a:ext>
            </a:extLst>
          </p:cNvPr>
          <p:cNvSpPr txBox="1"/>
          <p:nvPr userDrawn="1">
            <p:extLst>
              <p:ext uri="{1162E1C5-73C7-4A58-AE30-91384D911F3F}">
                <p184:classification xmlns:p184="http://schemas.microsoft.com/office/powerpoint/2018/4/main" val="ftr"/>
              </p:ext>
            </p:extLst>
          </p:nvPr>
        </p:nvSpPr>
        <p:spPr>
          <a:xfrm>
            <a:off x="11632443" y="13338720"/>
            <a:ext cx="803224" cy="246221"/>
          </a:xfrm>
          <a:prstGeom prst="rect">
            <a:avLst/>
          </a:prstGeom>
        </p:spPr>
        <p:txBody>
          <a:bodyPr horzOverflow="overflow" lIns="0" tIns="0" rIns="0" bIns="0">
            <a:spAutoFit/>
          </a:bodyPr>
          <a:lstStyle/>
          <a:p>
            <a:pPr algn="ctr"/>
            <a:r>
              <a:rPr lang="en-NL" sz="1600">
                <a:solidFill>
                  <a:srgbClr val="5A5A5A"/>
                </a:solidFill>
                <a:latin typeface="Noto IKEA Latin" panose="020B0502040504020204" pitchFamily="34" charset="0"/>
              </a:rPr>
              <a:t>Internal</a:t>
            </a:r>
          </a:p>
        </p:txBody>
      </p:sp>
      <p:sp>
        <p:nvSpPr>
          <p:cNvPr id="2" name="Footer Placeholder 1">
            <a:extLst>
              <a:ext uri="{FF2B5EF4-FFF2-40B4-BE49-F238E27FC236}">
                <a16:creationId xmlns:a16="http://schemas.microsoft.com/office/drawing/2014/main" id="{D1826FC7-2513-0447-A9A7-4C6A2FBE72EF}"/>
              </a:ext>
            </a:extLst>
          </p:cNvPr>
          <p:cNvSpPr>
            <a:spLocks noGrp="1"/>
          </p:cNvSpPr>
          <p:nvPr>
            <p:ph type="ftr" sz="quarter" idx="3"/>
          </p:nvPr>
        </p:nvSpPr>
        <p:spPr>
          <a:xfrm>
            <a:off x="1677600" y="12690000"/>
            <a:ext cx="8228013" cy="540000"/>
          </a:xfrm>
          <a:prstGeom prst="rect">
            <a:avLst/>
          </a:prstGeom>
        </p:spPr>
        <p:txBody>
          <a:bodyPr vert="horz" lIns="91440" tIns="45720" rIns="91440" bIns="45720" rtlCol="0" anchor="t"/>
          <a:lstStyle>
            <a:lvl1pPr algn="l">
              <a:defRPr sz="1600">
                <a:solidFill>
                  <a:schemeClr val="tx1">
                    <a:lumMod val="65000"/>
                    <a:lumOff val="35000"/>
                  </a:schemeClr>
                </a:solidFill>
              </a:defRPr>
            </a:lvl1pPr>
          </a:lstStyle>
          <a:p>
            <a:endParaRPr lang="en-NL"/>
          </a:p>
        </p:txBody>
      </p:sp>
    </p:spTree>
    <p:extLst>
      <p:ext uri="{BB962C8B-B14F-4D97-AF65-F5344CB8AC3E}">
        <p14:creationId xmlns:p14="http://schemas.microsoft.com/office/powerpoint/2010/main" val="445214946"/>
      </p:ext>
    </p:extLst>
  </p:cSld>
  <p:clrMap bg1="lt1" tx1="dk1" bg2="lt2" tx2="dk2" accent1="accent1" accent2="accent2" accent3="accent3" accent4="accent4" accent5="accent5" accent6="accent6" hlink="hlink" folHlink="folHlink"/>
  <p:sldLayoutIdLst>
    <p:sldLayoutId id="2147483712" r:id="rId1"/>
    <p:sldLayoutId id="2147483701" r:id="rId2"/>
    <p:sldLayoutId id="2147483716" r:id="rId3"/>
    <p:sldLayoutId id="2147483651" r:id="rId4"/>
    <p:sldLayoutId id="2147483664" r:id="rId5"/>
    <p:sldLayoutId id="2147483705" r:id="rId6"/>
    <p:sldLayoutId id="2147483667" r:id="rId7"/>
    <p:sldLayoutId id="2147483693" r:id="rId8"/>
    <p:sldLayoutId id="2147483653" r:id="rId9"/>
    <p:sldLayoutId id="2147483669" r:id="rId10"/>
    <p:sldLayoutId id="2147483652" r:id="rId11"/>
    <p:sldLayoutId id="2147484210" r:id="rId12"/>
    <p:sldLayoutId id="2147483708" r:id="rId13"/>
    <p:sldLayoutId id="2147483668" r:id="rId14"/>
    <p:sldLayoutId id="2147484000" r:id="rId15"/>
    <p:sldLayoutId id="2147483704" r:id="rId16"/>
    <p:sldLayoutId id="2147483703" r:id="rId17"/>
    <p:sldLayoutId id="2147483654" r:id="rId18"/>
    <p:sldLayoutId id="2147483670" r:id="rId19"/>
    <p:sldLayoutId id="2147483671" r:id="rId20"/>
    <p:sldLayoutId id="2147483709" r:id="rId21"/>
    <p:sldLayoutId id="2147483710" r:id="rId22"/>
    <p:sldLayoutId id="2147483711" r:id="rId23"/>
    <p:sldLayoutId id="2147483706" r:id="rId24"/>
    <p:sldLayoutId id="2147483695" r:id="rId25"/>
    <p:sldLayoutId id="2147483715" r:id="rId26"/>
    <p:sldLayoutId id="2147483694" r:id="rId27"/>
    <p:sldLayoutId id="2147483698" r:id="rId28"/>
    <p:sldLayoutId id="2147483687" r:id="rId29"/>
    <p:sldLayoutId id="2147483713" r:id="rId30"/>
    <p:sldLayoutId id="2147483714" r:id="rId31"/>
    <p:sldLayoutId id="2147483655" r:id="rId32"/>
    <p:sldLayoutId id="2147483656" r:id="rId33"/>
    <p:sldLayoutId id="2147483678" r:id="rId34"/>
    <p:sldLayoutId id="2147483679" r:id="rId35"/>
    <p:sldLayoutId id="2147484211" r:id="rId36"/>
    <p:sldLayoutId id="2147484212" r:id="rId37"/>
    <p:sldLayoutId id="2147483700" r:id="rId38"/>
    <p:sldLayoutId id="2147483672" r:id="rId39"/>
    <p:sldLayoutId id="2147483718" r:id="rId40"/>
    <p:sldLayoutId id="2147483719" r:id="rId41"/>
    <p:sldLayoutId id="2147483720" r:id="rId42"/>
    <p:sldLayoutId id="2147483722" r:id="rId43"/>
    <p:sldLayoutId id="2147483724" r:id="rId44"/>
    <p:sldLayoutId id="2147483725" r:id="rId45"/>
    <p:sldLayoutId id="2147483726" r:id="rId46"/>
    <p:sldLayoutId id="2147483727" r:id="rId47"/>
    <p:sldLayoutId id="2147483732" r:id="rId48"/>
    <p:sldLayoutId id="2147483742" r:id="rId49"/>
    <p:sldLayoutId id="2147483743" r:id="rId50"/>
    <p:sldLayoutId id="2147484091" r:id="rId51"/>
    <p:sldLayoutId id="2147483748" r:id="rId52"/>
    <p:sldLayoutId id="2147484094" r:id="rId53"/>
    <p:sldLayoutId id="2147484226" r:id="rId54"/>
    <p:sldLayoutId id="2147484227" r:id="rId55"/>
    <p:sldLayoutId id="2147484229" r:id="rId56"/>
    <p:sldLayoutId id="2147484230" r:id="rId57"/>
    <p:sldLayoutId id="2147484231" r:id="rId58"/>
    <p:sldLayoutId id="2147484232" r:id="rId59"/>
    <p:sldLayoutId id="2147484233" r:id="rId60"/>
    <p:sldLayoutId id="2147484234" r:id="rId61"/>
    <p:sldLayoutId id="2147484235" r:id="rId62"/>
    <p:sldLayoutId id="2147484237" r:id="rId63"/>
    <p:sldLayoutId id="2147484238" r:id="rId64"/>
    <p:sldLayoutId id="2147484239" r:id="rId65"/>
    <p:sldLayoutId id="2147484240" r:id="rId66"/>
    <p:sldLayoutId id="2147484241" r:id="rId67"/>
    <p:sldLayoutId id="2147484242" r:id="rId68"/>
    <p:sldLayoutId id="2147484245" r:id="rId69"/>
    <p:sldLayoutId id="2147484247" r:id="rId70"/>
    <p:sldLayoutId id="2147484248" r:id="rId71"/>
    <p:sldLayoutId id="2147484249" r:id="rId72"/>
    <p:sldLayoutId id="2147484250" r:id="rId73"/>
    <p:sldLayoutId id="2147484253" r:id="rId74"/>
    <p:sldLayoutId id="2147484254" r:id="rId75"/>
    <p:sldLayoutId id="2147484256" r:id="rId76"/>
    <p:sldLayoutId id="2147484257" r:id="rId77"/>
    <p:sldLayoutId id="2147484258" r:id="rId78"/>
    <p:sldLayoutId id="2147484259" r:id="rId79"/>
    <p:sldLayoutId id="2147484260" r:id="rId80"/>
    <p:sldLayoutId id="2147484261" r:id="rId81"/>
    <p:sldLayoutId id="2147484266" r:id="rId82"/>
    <p:sldLayoutId id="2147484267" r:id="rId83"/>
    <p:sldLayoutId id="2147484268" r:id="rId84"/>
    <p:sldLayoutId id="2147484269" r:id="rId85"/>
    <p:sldLayoutId id="2147484270" r:id="rId86"/>
    <p:sldLayoutId id="2147484271" r:id="rId87"/>
    <p:sldLayoutId id="2147484272" r:id="rId88"/>
    <p:sldLayoutId id="2147484274" r:id="rId89"/>
    <p:sldLayoutId id="2147484275" r:id="rId90"/>
    <p:sldLayoutId id="2147484276" r:id="rId91"/>
    <p:sldLayoutId id="2147484278" r:id="rId92"/>
    <p:sldLayoutId id="2147484280" r:id="rId93"/>
  </p:sldLayoutIdLst>
  <p:hf sldNum="0" hdr="0" dt="0"/>
  <p:txStyles>
    <p:titleStyle>
      <a:lvl1pPr algn="l" defTabSz="1828663" rtl="0" eaLnBrk="1" latinLnBrk="0" hangingPunct="1">
        <a:lnSpc>
          <a:spcPct val="100000"/>
        </a:lnSpc>
        <a:spcBef>
          <a:spcPct val="0"/>
        </a:spcBef>
        <a:buNone/>
        <a:defRPr sz="8000" b="1" kern="1200" spc="-200" baseline="0">
          <a:solidFill>
            <a:schemeClr val="tx1"/>
          </a:solidFill>
          <a:latin typeface="Noto IKEA Latin" panose="020B0502040504020204" pitchFamily="34" charset="0"/>
          <a:ea typeface="+mj-ea"/>
          <a:cs typeface="+mj-cs"/>
        </a:defRPr>
      </a:lvl1pPr>
    </p:titleStyle>
    <p:bodyStyle>
      <a:lvl1pPr marL="0" indent="0" algn="l" defTabSz="1828663" rtl="0" eaLnBrk="1" latinLnBrk="0" hangingPunct="1">
        <a:lnSpc>
          <a:spcPct val="100000"/>
        </a:lnSpc>
        <a:spcBef>
          <a:spcPts val="2000"/>
        </a:spcBef>
        <a:buFont typeface="Arial" panose="020B0604020202020204" pitchFamily="34" charset="0"/>
        <a:buNone/>
        <a:defRPr sz="3200" kern="1200">
          <a:solidFill>
            <a:schemeClr val="tx1"/>
          </a:solidFill>
          <a:latin typeface="Noto IKEA Latin" panose="020B0502040504020204" pitchFamily="34" charset="0"/>
          <a:ea typeface="+mn-ea"/>
          <a:cs typeface="+mn-cs"/>
        </a:defRPr>
      </a:lvl1pPr>
      <a:lvl2pPr marL="0" indent="-685766" algn="l" defTabSz="1828663" rtl="0" eaLnBrk="1" latinLnBrk="0" hangingPunct="1">
        <a:lnSpc>
          <a:spcPct val="100000"/>
        </a:lnSpc>
        <a:spcBef>
          <a:spcPts val="2000"/>
        </a:spcBef>
        <a:buFont typeface="Arial" panose="020B0604020202020204" pitchFamily="34" charset="0"/>
        <a:buChar char="•"/>
        <a:defRPr sz="3200" kern="1200" spc="0">
          <a:solidFill>
            <a:schemeClr val="tx1"/>
          </a:solidFill>
          <a:latin typeface="Noto IKEA Latin" panose="020B0502040504020204" pitchFamily="34" charset="0"/>
          <a:ea typeface="+mn-ea"/>
          <a:cs typeface="+mn-cs"/>
        </a:defRPr>
      </a:lvl2pPr>
      <a:lvl3pPr marL="2285828" indent="-457165" algn="l" defTabSz="1828663" rtl="0" eaLnBrk="1" latinLnBrk="0" hangingPunct="1">
        <a:lnSpc>
          <a:spcPct val="100000"/>
        </a:lnSpc>
        <a:spcBef>
          <a:spcPts val="1000"/>
        </a:spcBef>
        <a:buFont typeface="Arial" panose="020B0604020202020204" pitchFamily="34" charset="0"/>
        <a:buChar char="•"/>
        <a:defRPr sz="3600" i="0" kern="1200">
          <a:solidFill>
            <a:schemeClr val="tx1"/>
          </a:solidFill>
          <a:latin typeface="Noto IKEA Latin" panose="020B0502040504020204" pitchFamily="34" charset="0"/>
          <a:ea typeface="+mn-ea"/>
          <a:cs typeface="+mn-cs"/>
        </a:defRPr>
      </a:lvl3pPr>
      <a:lvl4pPr marL="3200160" indent="-457165" algn="l" defTabSz="1828663" rtl="0" eaLnBrk="1" latinLnBrk="0" hangingPunct="1">
        <a:lnSpc>
          <a:spcPct val="100000"/>
        </a:lnSpc>
        <a:spcBef>
          <a:spcPts val="1000"/>
        </a:spcBef>
        <a:buFont typeface="Arial" panose="020B0604020202020204" pitchFamily="34" charset="0"/>
        <a:buChar char="•"/>
        <a:defRPr sz="2800" kern="1200">
          <a:solidFill>
            <a:schemeClr val="tx1"/>
          </a:solidFill>
          <a:latin typeface="Noto IKEA Latin" panose="020B0502040504020204" pitchFamily="34" charset="0"/>
          <a:ea typeface="+mn-ea"/>
          <a:cs typeface="+mn-cs"/>
        </a:defRPr>
      </a:lvl4pPr>
      <a:lvl5pPr marL="4114492" indent="-457165" algn="l" defTabSz="1828663" rtl="0" eaLnBrk="1" latinLnBrk="0" hangingPunct="1">
        <a:lnSpc>
          <a:spcPct val="100000"/>
        </a:lnSpc>
        <a:spcBef>
          <a:spcPts val="1000"/>
        </a:spcBef>
        <a:buFont typeface="Arial" panose="020B0604020202020204" pitchFamily="34" charset="0"/>
        <a:buChar char="•"/>
        <a:defRPr sz="2000" kern="1200">
          <a:solidFill>
            <a:schemeClr val="tx1"/>
          </a:solidFill>
          <a:latin typeface="Noto IKEA Latin" panose="020B0502040504020204" pitchFamily="34" charset="0"/>
          <a:ea typeface="+mn-ea"/>
          <a:cs typeface="+mn-cs"/>
        </a:defRPr>
      </a:lvl5pPr>
      <a:lvl6pPr marL="5028823"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155"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485"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1817"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663" rtl="0" eaLnBrk="1" latinLnBrk="0" hangingPunct="1">
        <a:defRPr sz="3600" kern="1200">
          <a:solidFill>
            <a:schemeClr val="tx1"/>
          </a:solidFill>
          <a:latin typeface="+mn-lt"/>
          <a:ea typeface="+mn-ea"/>
          <a:cs typeface="+mn-cs"/>
        </a:defRPr>
      </a:lvl1pPr>
      <a:lvl2pPr marL="914332" algn="l" defTabSz="1828663" rtl="0" eaLnBrk="1" latinLnBrk="0" hangingPunct="1">
        <a:defRPr sz="3600" kern="1200">
          <a:solidFill>
            <a:schemeClr val="tx1"/>
          </a:solidFill>
          <a:latin typeface="+mn-lt"/>
          <a:ea typeface="+mn-ea"/>
          <a:cs typeface="+mn-cs"/>
        </a:defRPr>
      </a:lvl2pPr>
      <a:lvl3pPr marL="1828663" algn="l" defTabSz="1828663" rtl="0" eaLnBrk="1" latinLnBrk="0" hangingPunct="1">
        <a:defRPr sz="3600" kern="1200">
          <a:solidFill>
            <a:schemeClr val="tx1"/>
          </a:solidFill>
          <a:latin typeface="+mn-lt"/>
          <a:ea typeface="+mn-ea"/>
          <a:cs typeface="+mn-cs"/>
        </a:defRPr>
      </a:lvl3pPr>
      <a:lvl4pPr marL="2742995" algn="l" defTabSz="1828663" rtl="0" eaLnBrk="1" latinLnBrk="0" hangingPunct="1">
        <a:defRPr sz="3600" kern="1200">
          <a:solidFill>
            <a:schemeClr val="tx1"/>
          </a:solidFill>
          <a:latin typeface="+mn-lt"/>
          <a:ea typeface="+mn-ea"/>
          <a:cs typeface="+mn-cs"/>
        </a:defRPr>
      </a:lvl4pPr>
      <a:lvl5pPr marL="3657325" algn="l" defTabSz="1828663" rtl="0" eaLnBrk="1" latinLnBrk="0" hangingPunct="1">
        <a:defRPr sz="3600" kern="1200">
          <a:solidFill>
            <a:schemeClr val="tx1"/>
          </a:solidFill>
          <a:latin typeface="+mn-lt"/>
          <a:ea typeface="+mn-ea"/>
          <a:cs typeface="+mn-cs"/>
        </a:defRPr>
      </a:lvl5pPr>
      <a:lvl6pPr marL="4571657" algn="l" defTabSz="1828663" rtl="0" eaLnBrk="1" latinLnBrk="0" hangingPunct="1">
        <a:defRPr sz="3600" kern="1200">
          <a:solidFill>
            <a:schemeClr val="tx1"/>
          </a:solidFill>
          <a:latin typeface="+mn-lt"/>
          <a:ea typeface="+mn-ea"/>
          <a:cs typeface="+mn-cs"/>
        </a:defRPr>
      </a:lvl6pPr>
      <a:lvl7pPr marL="5485988" algn="l" defTabSz="1828663" rtl="0" eaLnBrk="1" latinLnBrk="0" hangingPunct="1">
        <a:defRPr sz="3600" kern="1200">
          <a:solidFill>
            <a:schemeClr val="tx1"/>
          </a:solidFill>
          <a:latin typeface="+mn-lt"/>
          <a:ea typeface="+mn-ea"/>
          <a:cs typeface="+mn-cs"/>
        </a:defRPr>
      </a:lvl7pPr>
      <a:lvl8pPr marL="6400320" algn="l" defTabSz="1828663" rtl="0" eaLnBrk="1" latinLnBrk="0" hangingPunct="1">
        <a:defRPr sz="3600" kern="1200">
          <a:solidFill>
            <a:schemeClr val="tx1"/>
          </a:solidFill>
          <a:latin typeface="+mn-lt"/>
          <a:ea typeface="+mn-ea"/>
          <a:cs typeface="+mn-cs"/>
        </a:defRPr>
      </a:lvl8pPr>
      <a:lvl9pPr marL="7314652" algn="l" defTabSz="1828663"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0" userDrawn="1">
          <p15:clr>
            <a:srgbClr val="F26B43"/>
          </p15:clr>
        </p15:guide>
        <p15:guide id="2" pos="1919" userDrawn="1">
          <p15:clr>
            <a:srgbClr val="F26B43"/>
          </p15:clr>
        </p15:guide>
        <p15:guide id="3" orient="horz" pos="2143" userDrawn="1">
          <p15:clr>
            <a:srgbClr val="F26B43"/>
          </p15:clr>
        </p15:guide>
        <p15:guide id="4" pos="3824" userDrawn="1">
          <p15:clr>
            <a:srgbClr val="F26B43"/>
          </p15:clr>
        </p15:guide>
        <p15:guide id="5" pos="11535" userDrawn="1">
          <p15:clr>
            <a:srgbClr val="F26B43"/>
          </p15:clr>
        </p15:guide>
        <p15:guide id="6" orient="horz" pos="7586" userDrawn="1">
          <p15:clr>
            <a:srgbClr val="F26B43"/>
          </p15:clr>
        </p15:guide>
        <p15:guide id="7" orient="horz" pos="3231" userDrawn="1">
          <p15:clr>
            <a:srgbClr val="F26B43"/>
          </p15:clr>
        </p15:guide>
        <p15:guide id="8" orient="horz" pos="1054" userDrawn="1">
          <p15:clr>
            <a:srgbClr val="F26B43"/>
          </p15:clr>
        </p15:guide>
        <p15:guide id="9" pos="5774" userDrawn="1">
          <p15:clr>
            <a:srgbClr val="F26B43"/>
          </p15:clr>
        </p15:guide>
        <p15:guide id="10" pos="13440" userDrawn="1">
          <p15:clr>
            <a:srgbClr val="F26B43"/>
          </p15:clr>
        </p15:guide>
        <p15:guide id="11" pos="9585" userDrawn="1">
          <p15:clr>
            <a:srgbClr val="F26B43"/>
          </p15:clr>
        </p15:guide>
        <p15:guide id="12" pos="7679" userDrawn="1">
          <p15:clr>
            <a:srgbClr val="F26B43"/>
          </p15:clr>
        </p15:guide>
        <p15:guide id="13" orient="horz" pos="5409" userDrawn="1">
          <p15:clr>
            <a:srgbClr val="F26B43"/>
          </p15:clr>
        </p15:guide>
        <p15:guide id="14" orient="horz" pos="6497"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C5E5B2-D7B7-0743-B449-C3B8D5EF3BBC}"/>
              </a:ext>
            </a:extLst>
          </p:cNvPr>
          <p:cNvSpPr>
            <a:spLocks noGrp="1"/>
          </p:cNvSpPr>
          <p:nvPr>
            <p:ph type="body" idx="1"/>
          </p:nvPr>
        </p:nvSpPr>
        <p:spPr>
          <a:xfrm>
            <a:off x="1676291" y="6137921"/>
            <a:ext cx="21029831" cy="5885578"/>
          </a:xfrm>
          <a:prstGeom prst="rect">
            <a:avLst/>
          </a:prstGeom>
        </p:spPr>
        <p:txBody>
          <a:bodyPr vert="horz" lIns="91440" tIns="45720" rIns="91440" bIns="45720" rtlCol="0" anchor="t">
            <a:noAutofit/>
          </a:bodyPr>
          <a:lstStyle/>
          <a:p>
            <a:pPr lvl="0"/>
            <a:r>
              <a:rPr lang="en-GB" noProof="0"/>
              <a:t>Put the body text here</a:t>
            </a:r>
          </a:p>
          <a:p>
            <a:pPr lvl="1"/>
            <a:r>
              <a:rPr lang="en-GB" noProof="0"/>
              <a:t>Bullet list</a:t>
            </a:r>
          </a:p>
        </p:txBody>
      </p:sp>
      <p:sp>
        <p:nvSpPr>
          <p:cNvPr id="7" name="Title Placeholder 6">
            <a:extLst>
              <a:ext uri="{FF2B5EF4-FFF2-40B4-BE49-F238E27FC236}">
                <a16:creationId xmlns:a16="http://schemas.microsoft.com/office/drawing/2014/main" id="{98BFA95D-7754-EC48-8FDA-5BF403130B73}"/>
              </a:ext>
            </a:extLst>
          </p:cNvPr>
          <p:cNvSpPr>
            <a:spLocks noGrp="1"/>
          </p:cNvSpPr>
          <p:nvPr>
            <p:ph type="title"/>
          </p:nvPr>
        </p:nvSpPr>
        <p:spPr>
          <a:xfrm>
            <a:off x="1676293" y="1692505"/>
            <a:ext cx="21033007" cy="4013370"/>
          </a:xfrm>
          <a:prstGeom prst="rect">
            <a:avLst/>
          </a:prstGeom>
        </p:spPr>
        <p:txBody>
          <a:bodyPr vert="horz" lIns="91440" tIns="45720" rIns="91440" bIns="45720" rtlCol="0" anchor="t">
            <a:noAutofit/>
          </a:bodyPr>
          <a:lstStyle/>
          <a:p>
            <a:r>
              <a:rPr lang="en-GB" noProof="0"/>
              <a:t>Put the headline</a:t>
            </a:r>
            <a:br>
              <a:rPr lang="en-GB" noProof="0"/>
            </a:br>
            <a:r>
              <a:rPr lang="en-GB" noProof="0"/>
              <a:t>here</a:t>
            </a:r>
          </a:p>
        </p:txBody>
      </p:sp>
      <p:sp>
        <p:nvSpPr>
          <p:cNvPr id="4" name="Footer Placeholder 3">
            <a:extLst>
              <a:ext uri="{FF2B5EF4-FFF2-40B4-BE49-F238E27FC236}">
                <a16:creationId xmlns:a16="http://schemas.microsoft.com/office/drawing/2014/main" id="{D81F1B77-438A-7747-8BF3-5B7613BF29D4}"/>
              </a:ext>
            </a:extLst>
          </p:cNvPr>
          <p:cNvSpPr>
            <a:spLocks noGrp="1"/>
          </p:cNvSpPr>
          <p:nvPr>
            <p:ph type="ftr" sz="quarter" idx="3"/>
          </p:nvPr>
        </p:nvSpPr>
        <p:spPr>
          <a:xfrm>
            <a:off x="1676291" y="12906672"/>
            <a:ext cx="8229064" cy="536280"/>
          </a:xfrm>
          <a:prstGeom prst="rect">
            <a:avLst/>
          </a:prstGeom>
        </p:spPr>
        <p:txBody>
          <a:bodyPr vert="horz" lIns="91440" tIns="45720" rIns="91440" bIns="45720" rtlCol="0" anchor="b" anchorCtr="0"/>
          <a:lstStyle>
            <a:lvl1pPr algn="l">
              <a:defRPr sz="2000">
                <a:solidFill>
                  <a:schemeClr val="tx1">
                    <a:tint val="75000"/>
                  </a:schemeClr>
                </a:solidFill>
              </a:defRPr>
            </a:lvl1pPr>
          </a:lstStyle>
          <a:p>
            <a:endParaRPr lang="en-GB" noProof="0"/>
          </a:p>
        </p:txBody>
      </p:sp>
      <p:sp>
        <p:nvSpPr>
          <p:cNvPr id="8" name="Text Placeholder 3">
            <a:extLst>
              <a:ext uri="{FF2B5EF4-FFF2-40B4-BE49-F238E27FC236}">
                <a16:creationId xmlns:a16="http://schemas.microsoft.com/office/drawing/2014/main" id="{1A4157D2-ADF3-D54C-A50B-CB0D5F86760F}"/>
              </a:ext>
            </a:extLst>
          </p:cNvPr>
          <p:cNvSpPr txBox="1">
            <a:spLocks/>
          </p:cNvSpPr>
          <p:nvPr userDrawn="1"/>
        </p:nvSpPr>
        <p:spPr>
          <a:xfrm rot="5400000">
            <a:off x="20902621" y="2898378"/>
            <a:ext cx="5759746" cy="719337"/>
          </a:xfrm>
          <a:prstGeom prst="rect">
            <a:avLst/>
          </a:prstGeom>
        </p:spPr>
        <p:txBody>
          <a:bodyPr anchor="ctr"/>
          <a:lstStyle>
            <a:lvl1pPr marL="0" indent="0" algn="l" defTabSz="914377" rtl="0" eaLnBrk="1" latinLnBrk="0" hangingPunct="1">
              <a:lnSpc>
                <a:spcPct val="100000"/>
              </a:lnSpc>
              <a:spcBef>
                <a:spcPts val="1000"/>
              </a:spcBef>
              <a:buFont typeface="Arial" panose="020B0604020202020204" pitchFamily="34" charset="0"/>
              <a:buNone/>
              <a:defRPr sz="1000" kern="1200">
                <a:solidFill>
                  <a:schemeClr val="tx1">
                    <a:lumMod val="50000"/>
                    <a:lumOff val="50000"/>
                  </a:schemeClr>
                </a:solidFill>
                <a:latin typeface="Noto IKEA Latin" panose="020B0502040504020204" pitchFamily="34" charset="0"/>
                <a:ea typeface="+mn-ea"/>
                <a:cs typeface="+mn-cs"/>
              </a:defRPr>
            </a:lvl1pPr>
            <a:lvl2pPr marL="0" indent="-342900" algn="l" defTabSz="914377" rtl="0" eaLnBrk="1" latinLnBrk="0" hangingPunct="1">
              <a:lnSpc>
                <a:spcPct val="100000"/>
              </a:lnSpc>
              <a:spcBef>
                <a:spcPts val="1000"/>
              </a:spcBef>
              <a:buFont typeface="Arial" panose="020B0604020202020204" pitchFamily="34" charset="0"/>
              <a:buChar char="•"/>
              <a:defRPr sz="2400" kern="1200" spc="0">
                <a:solidFill>
                  <a:schemeClr val="tx1"/>
                </a:solidFill>
                <a:latin typeface="Noto IKEA Latin" panose="020B0502040504020204" pitchFamily="34" charset="0"/>
                <a:ea typeface="+mn-ea"/>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800" i="0" kern="1200">
                <a:solidFill>
                  <a:schemeClr val="tx1"/>
                </a:solidFill>
                <a:latin typeface="Noto IKEA Latin" panose="020B0502040504020204" pitchFamily="34" charset="0"/>
                <a:ea typeface="+mn-ea"/>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400" kern="1200">
                <a:solidFill>
                  <a:schemeClr val="tx1"/>
                </a:solidFill>
                <a:latin typeface="Noto IKEA Latin" panose="020B0502040504020204" pitchFamily="34" charset="0"/>
                <a:ea typeface="+mn-ea"/>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000" kern="1200">
                <a:solidFill>
                  <a:schemeClr val="tx1"/>
                </a:solidFill>
                <a:latin typeface="Noto IKEA Latin" panose="020B0502040504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t>© Inter IKEA Systems B.V. 2021</a:t>
            </a:r>
            <a:endParaRPr lang="en-GB" sz="1600"/>
          </a:p>
        </p:txBody>
      </p:sp>
      <p:sp>
        <p:nvSpPr>
          <p:cNvPr id="5" name="TextBox 4">
            <a:extLst>
              <a:ext uri="{FF2B5EF4-FFF2-40B4-BE49-F238E27FC236}">
                <a16:creationId xmlns:a16="http://schemas.microsoft.com/office/drawing/2014/main" id="{5933F5FD-6907-4C37-B05C-1234E2205124}"/>
              </a:ext>
            </a:extLst>
          </p:cNvPr>
          <p:cNvSpPr txBox="1"/>
          <p:nvPr>
            <p:extLst>
              <p:ext uri="{1162E1C5-73C7-4A58-AE30-91384D911F3F}">
                <p184:classification xmlns:p184="http://schemas.microsoft.com/office/powerpoint/2018/4/main" val="ftr"/>
              </p:ext>
            </p:extLst>
          </p:nvPr>
        </p:nvSpPr>
        <p:spPr>
          <a:xfrm>
            <a:off x="11865728" y="13472161"/>
            <a:ext cx="695279" cy="246221"/>
          </a:xfrm>
          <a:prstGeom prst="rect">
            <a:avLst/>
          </a:prstGeom>
        </p:spPr>
        <p:txBody>
          <a:bodyPr horzOverflow="overflow" lIns="0" tIns="0" rIns="0" bIns="0">
            <a:spAutoFit/>
          </a:bodyPr>
          <a:lstStyle/>
          <a:p>
            <a:pPr algn="ctr"/>
            <a:r>
              <a:rPr lang="en-US" sz="1600">
                <a:solidFill>
                  <a:srgbClr val="5A5A5A"/>
                </a:solidFill>
                <a:latin typeface="Calibri" panose="020F0502020204030204" pitchFamily="34" charset="0"/>
                <a:ea typeface="Calibri" panose="020F0502020204030204" pitchFamily="34" charset="0"/>
                <a:cs typeface="Calibri" panose="020F0502020204030204" pitchFamily="34" charset="0"/>
              </a:rPr>
              <a:t>Internal</a:t>
            </a:r>
          </a:p>
        </p:txBody>
      </p:sp>
    </p:spTree>
    <p:extLst>
      <p:ext uri="{BB962C8B-B14F-4D97-AF65-F5344CB8AC3E}">
        <p14:creationId xmlns:p14="http://schemas.microsoft.com/office/powerpoint/2010/main" val="2752156736"/>
      </p:ext>
    </p:extLst>
  </p:cSld>
  <p:clrMap bg1="lt1" tx1="dk1" bg2="lt2" tx2="dk2" accent1="accent1" accent2="accent2" accent3="accent3" accent4="accent4" accent5="accent5" accent6="accent6" hlink="hlink" folHlink="folHlink"/>
  <p:sldLayoutIdLst>
    <p:sldLayoutId id="2147484355" r:id="rId1"/>
    <p:sldLayoutId id="2147484356" r:id="rId2"/>
    <p:sldLayoutId id="2147484357" r:id="rId3"/>
    <p:sldLayoutId id="2147484358" r:id="rId4"/>
    <p:sldLayoutId id="2147484359" r:id="rId5"/>
    <p:sldLayoutId id="2147484360" r:id="rId6"/>
    <p:sldLayoutId id="2147484361" r:id="rId7"/>
    <p:sldLayoutId id="2147484362" r:id="rId8"/>
    <p:sldLayoutId id="2147484363" r:id="rId9"/>
    <p:sldLayoutId id="2147484364" r:id="rId10"/>
    <p:sldLayoutId id="2147484365" r:id="rId11"/>
    <p:sldLayoutId id="2147484366" r:id="rId12"/>
    <p:sldLayoutId id="2147484367" r:id="rId13"/>
    <p:sldLayoutId id="2147484368" r:id="rId14"/>
    <p:sldLayoutId id="2147484369" r:id="rId15"/>
    <p:sldLayoutId id="2147484370" r:id="rId16"/>
    <p:sldLayoutId id="2147484371" r:id="rId17"/>
    <p:sldLayoutId id="2147484372" r:id="rId18"/>
    <p:sldLayoutId id="2147484373" r:id="rId19"/>
    <p:sldLayoutId id="2147484374" r:id="rId20"/>
    <p:sldLayoutId id="2147484375" r:id="rId21"/>
    <p:sldLayoutId id="2147484376" r:id="rId22"/>
    <p:sldLayoutId id="2147484377" r:id="rId23"/>
    <p:sldLayoutId id="2147484378" r:id="rId24"/>
    <p:sldLayoutId id="2147484379" r:id="rId25"/>
    <p:sldLayoutId id="2147484380" r:id="rId26"/>
    <p:sldLayoutId id="2147484381" r:id="rId27"/>
    <p:sldLayoutId id="2147484382" r:id="rId28"/>
    <p:sldLayoutId id="2147484383" r:id="rId29"/>
  </p:sldLayoutIdLst>
  <p:hf sldNum="0" hdr="0" dt="0"/>
  <p:txStyles>
    <p:titleStyle>
      <a:lvl1pPr algn="l" defTabSz="1828663" rtl="0" eaLnBrk="1" latinLnBrk="0" hangingPunct="1">
        <a:lnSpc>
          <a:spcPct val="100000"/>
        </a:lnSpc>
        <a:spcBef>
          <a:spcPct val="0"/>
        </a:spcBef>
        <a:buNone/>
        <a:defRPr sz="11999" b="1" kern="1200" spc="-200" baseline="0">
          <a:solidFill>
            <a:schemeClr val="tx1"/>
          </a:solidFill>
          <a:latin typeface="Noto IKEA Latin" panose="020B0502040504020204" pitchFamily="34" charset="0"/>
          <a:ea typeface="+mj-ea"/>
          <a:cs typeface="+mj-cs"/>
        </a:defRPr>
      </a:lvl1pPr>
    </p:titleStyle>
    <p:bodyStyle>
      <a:lvl1pPr marL="0" indent="0" algn="l" defTabSz="1828663" rtl="0" eaLnBrk="1" latinLnBrk="0" hangingPunct="1">
        <a:lnSpc>
          <a:spcPct val="100000"/>
        </a:lnSpc>
        <a:spcBef>
          <a:spcPts val="2000"/>
        </a:spcBef>
        <a:buFont typeface="Arial" panose="020B0604020202020204" pitchFamily="34" charset="0"/>
        <a:buNone/>
        <a:defRPr sz="2800" kern="1200">
          <a:solidFill>
            <a:schemeClr val="tx1"/>
          </a:solidFill>
          <a:latin typeface="Noto IKEA Latin" panose="020B0502040504020204" pitchFamily="34" charset="0"/>
          <a:ea typeface="+mn-ea"/>
          <a:cs typeface="+mn-cs"/>
        </a:defRPr>
      </a:lvl1pPr>
      <a:lvl2pPr marL="0" indent="-685766" algn="l" defTabSz="1828663" rtl="0" eaLnBrk="1" latinLnBrk="0" hangingPunct="1">
        <a:lnSpc>
          <a:spcPct val="100000"/>
        </a:lnSpc>
        <a:spcBef>
          <a:spcPts val="2000"/>
        </a:spcBef>
        <a:buFont typeface="Arial" panose="020B0604020202020204" pitchFamily="34" charset="0"/>
        <a:buChar char="•"/>
        <a:defRPr sz="2800" kern="1200" spc="0">
          <a:solidFill>
            <a:schemeClr val="tx1"/>
          </a:solidFill>
          <a:latin typeface="Noto IKEA Latin" panose="020B0502040504020204" pitchFamily="34" charset="0"/>
          <a:ea typeface="+mn-ea"/>
          <a:cs typeface="+mn-cs"/>
        </a:defRPr>
      </a:lvl2pPr>
      <a:lvl3pPr marL="2285828" indent="-457165" algn="l" defTabSz="1828663" rtl="0" eaLnBrk="1" latinLnBrk="0" hangingPunct="1">
        <a:lnSpc>
          <a:spcPct val="100000"/>
        </a:lnSpc>
        <a:spcBef>
          <a:spcPts val="1000"/>
        </a:spcBef>
        <a:buFont typeface="Arial" panose="020B0604020202020204" pitchFamily="34" charset="0"/>
        <a:buChar char="•"/>
        <a:defRPr sz="3600" i="0" kern="1200">
          <a:solidFill>
            <a:schemeClr val="tx1"/>
          </a:solidFill>
          <a:latin typeface="Noto IKEA Latin" panose="020B0502040504020204" pitchFamily="34" charset="0"/>
          <a:ea typeface="+mn-ea"/>
          <a:cs typeface="+mn-cs"/>
        </a:defRPr>
      </a:lvl3pPr>
      <a:lvl4pPr marL="3200160" indent="-457165" algn="l" defTabSz="1828663" rtl="0" eaLnBrk="1" latinLnBrk="0" hangingPunct="1">
        <a:lnSpc>
          <a:spcPct val="100000"/>
        </a:lnSpc>
        <a:spcBef>
          <a:spcPts val="1000"/>
        </a:spcBef>
        <a:buFont typeface="Arial" panose="020B0604020202020204" pitchFamily="34" charset="0"/>
        <a:buChar char="•"/>
        <a:defRPr sz="2800" kern="1200">
          <a:solidFill>
            <a:schemeClr val="tx1"/>
          </a:solidFill>
          <a:latin typeface="Noto IKEA Latin" panose="020B0502040504020204" pitchFamily="34" charset="0"/>
          <a:ea typeface="+mn-ea"/>
          <a:cs typeface="+mn-cs"/>
        </a:defRPr>
      </a:lvl4pPr>
      <a:lvl5pPr marL="4114492" indent="-457165" algn="l" defTabSz="1828663" rtl="0" eaLnBrk="1" latinLnBrk="0" hangingPunct="1">
        <a:lnSpc>
          <a:spcPct val="100000"/>
        </a:lnSpc>
        <a:spcBef>
          <a:spcPts val="1000"/>
        </a:spcBef>
        <a:buFont typeface="Arial" panose="020B0604020202020204" pitchFamily="34" charset="0"/>
        <a:buChar char="•"/>
        <a:defRPr sz="2000" kern="1200">
          <a:solidFill>
            <a:schemeClr val="tx1"/>
          </a:solidFill>
          <a:latin typeface="Noto IKEA Latin" panose="020B0502040504020204" pitchFamily="34" charset="0"/>
          <a:ea typeface="+mn-ea"/>
          <a:cs typeface="+mn-cs"/>
        </a:defRPr>
      </a:lvl5pPr>
      <a:lvl6pPr marL="5028823"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155"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485"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1817"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663" rtl="0" eaLnBrk="1" latinLnBrk="0" hangingPunct="1">
        <a:defRPr sz="3600" kern="1200">
          <a:solidFill>
            <a:schemeClr val="tx1"/>
          </a:solidFill>
          <a:latin typeface="+mn-lt"/>
          <a:ea typeface="+mn-ea"/>
          <a:cs typeface="+mn-cs"/>
        </a:defRPr>
      </a:lvl1pPr>
      <a:lvl2pPr marL="914332" algn="l" defTabSz="1828663" rtl="0" eaLnBrk="1" latinLnBrk="0" hangingPunct="1">
        <a:defRPr sz="3600" kern="1200">
          <a:solidFill>
            <a:schemeClr val="tx1"/>
          </a:solidFill>
          <a:latin typeface="+mn-lt"/>
          <a:ea typeface="+mn-ea"/>
          <a:cs typeface="+mn-cs"/>
        </a:defRPr>
      </a:lvl2pPr>
      <a:lvl3pPr marL="1828663" algn="l" defTabSz="1828663" rtl="0" eaLnBrk="1" latinLnBrk="0" hangingPunct="1">
        <a:defRPr sz="3600" kern="1200">
          <a:solidFill>
            <a:schemeClr val="tx1"/>
          </a:solidFill>
          <a:latin typeface="+mn-lt"/>
          <a:ea typeface="+mn-ea"/>
          <a:cs typeface="+mn-cs"/>
        </a:defRPr>
      </a:lvl3pPr>
      <a:lvl4pPr marL="2742995" algn="l" defTabSz="1828663" rtl="0" eaLnBrk="1" latinLnBrk="0" hangingPunct="1">
        <a:defRPr sz="3600" kern="1200">
          <a:solidFill>
            <a:schemeClr val="tx1"/>
          </a:solidFill>
          <a:latin typeface="+mn-lt"/>
          <a:ea typeface="+mn-ea"/>
          <a:cs typeface="+mn-cs"/>
        </a:defRPr>
      </a:lvl4pPr>
      <a:lvl5pPr marL="3657325" algn="l" defTabSz="1828663" rtl="0" eaLnBrk="1" latinLnBrk="0" hangingPunct="1">
        <a:defRPr sz="3600" kern="1200">
          <a:solidFill>
            <a:schemeClr val="tx1"/>
          </a:solidFill>
          <a:latin typeface="+mn-lt"/>
          <a:ea typeface="+mn-ea"/>
          <a:cs typeface="+mn-cs"/>
        </a:defRPr>
      </a:lvl5pPr>
      <a:lvl6pPr marL="4571657" algn="l" defTabSz="1828663" rtl="0" eaLnBrk="1" latinLnBrk="0" hangingPunct="1">
        <a:defRPr sz="3600" kern="1200">
          <a:solidFill>
            <a:schemeClr val="tx1"/>
          </a:solidFill>
          <a:latin typeface="+mn-lt"/>
          <a:ea typeface="+mn-ea"/>
          <a:cs typeface="+mn-cs"/>
        </a:defRPr>
      </a:lvl6pPr>
      <a:lvl7pPr marL="5485988" algn="l" defTabSz="1828663" rtl="0" eaLnBrk="1" latinLnBrk="0" hangingPunct="1">
        <a:defRPr sz="3600" kern="1200">
          <a:solidFill>
            <a:schemeClr val="tx1"/>
          </a:solidFill>
          <a:latin typeface="+mn-lt"/>
          <a:ea typeface="+mn-ea"/>
          <a:cs typeface="+mn-cs"/>
        </a:defRPr>
      </a:lvl7pPr>
      <a:lvl8pPr marL="6400320" algn="l" defTabSz="1828663" rtl="0" eaLnBrk="1" latinLnBrk="0" hangingPunct="1">
        <a:defRPr sz="3600" kern="1200">
          <a:solidFill>
            <a:schemeClr val="tx1"/>
          </a:solidFill>
          <a:latin typeface="+mn-lt"/>
          <a:ea typeface="+mn-ea"/>
          <a:cs typeface="+mn-cs"/>
        </a:defRPr>
      </a:lvl8pPr>
      <a:lvl9pPr marL="7314652" algn="l" defTabSz="1828663"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527">
          <p15:clr>
            <a:srgbClr val="F26B43"/>
          </p15:clr>
        </p15:guide>
        <p15:guide id="4" pos="529">
          <p15:clr>
            <a:srgbClr val="F26B43"/>
          </p15:clr>
        </p15:guide>
        <p15:guide id="5" pos="7151">
          <p15:clr>
            <a:srgbClr val="F26B43"/>
          </p15:clr>
        </p15:guide>
        <p15:guide id="6" orient="horz" pos="3793">
          <p15:clr>
            <a:srgbClr val="F26B43"/>
          </p15:clr>
        </p15:guide>
        <p15:guide id="7" orient="horz" pos="1797">
          <p15:clr>
            <a:srgbClr val="F26B43"/>
          </p15:clr>
        </p15:guide>
        <p15:guide id="8" orient="horz" pos="161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C5E5B2-D7B7-0743-B449-C3B8D5EF3BBC}"/>
              </a:ext>
            </a:extLst>
          </p:cNvPr>
          <p:cNvSpPr>
            <a:spLocks noGrp="1"/>
          </p:cNvSpPr>
          <p:nvPr>
            <p:ph type="body" idx="1"/>
          </p:nvPr>
        </p:nvSpPr>
        <p:spPr>
          <a:xfrm>
            <a:off x="1676291" y="5129808"/>
            <a:ext cx="21029831" cy="6908592"/>
          </a:xfrm>
          <a:prstGeom prst="rect">
            <a:avLst/>
          </a:prstGeom>
        </p:spPr>
        <p:txBody>
          <a:bodyPr vert="horz" lIns="91440" tIns="45720" rIns="91440" bIns="45720" rtlCol="0" anchor="t">
            <a:noAutofit/>
          </a:bodyPr>
          <a:lstStyle/>
          <a:p>
            <a:pPr lvl="0"/>
            <a:r>
              <a:rPr lang="en-GB" noProof="0"/>
              <a:t>Put the body text here</a:t>
            </a:r>
          </a:p>
          <a:p>
            <a:pPr lvl="1"/>
            <a:r>
              <a:rPr lang="en-GB" noProof="0"/>
              <a:t>Bullet list</a:t>
            </a:r>
          </a:p>
        </p:txBody>
      </p:sp>
      <p:sp>
        <p:nvSpPr>
          <p:cNvPr id="7" name="Title Placeholder 6">
            <a:extLst>
              <a:ext uri="{FF2B5EF4-FFF2-40B4-BE49-F238E27FC236}">
                <a16:creationId xmlns:a16="http://schemas.microsoft.com/office/drawing/2014/main" id="{98BFA95D-7754-EC48-8FDA-5BF403130B73}"/>
              </a:ext>
            </a:extLst>
          </p:cNvPr>
          <p:cNvSpPr>
            <a:spLocks noGrp="1"/>
          </p:cNvSpPr>
          <p:nvPr>
            <p:ph type="title"/>
          </p:nvPr>
        </p:nvSpPr>
        <p:spPr>
          <a:xfrm>
            <a:off x="1676293" y="1677600"/>
            <a:ext cx="21033007" cy="3011659"/>
          </a:xfrm>
          <a:prstGeom prst="rect">
            <a:avLst/>
          </a:prstGeom>
        </p:spPr>
        <p:txBody>
          <a:bodyPr vert="horz" lIns="91440" tIns="45720" rIns="91440" bIns="45720" rtlCol="0" anchor="t">
            <a:noAutofit/>
          </a:bodyPr>
          <a:lstStyle/>
          <a:p>
            <a:r>
              <a:rPr lang="en-GB" noProof="0"/>
              <a:t>Put the headline here</a:t>
            </a:r>
          </a:p>
        </p:txBody>
      </p:sp>
      <p:sp>
        <p:nvSpPr>
          <p:cNvPr id="8" name="Text Placeholder 3">
            <a:extLst>
              <a:ext uri="{FF2B5EF4-FFF2-40B4-BE49-F238E27FC236}">
                <a16:creationId xmlns:a16="http://schemas.microsoft.com/office/drawing/2014/main" id="{1A4157D2-ADF3-D54C-A50B-CB0D5F86760F}"/>
              </a:ext>
            </a:extLst>
          </p:cNvPr>
          <p:cNvSpPr txBox="1">
            <a:spLocks/>
          </p:cNvSpPr>
          <p:nvPr userDrawn="1"/>
        </p:nvSpPr>
        <p:spPr>
          <a:xfrm rot="5400000">
            <a:off x="21412413" y="2735272"/>
            <a:ext cx="5400000" cy="540000"/>
          </a:xfrm>
          <a:prstGeom prst="rect">
            <a:avLst/>
          </a:prstGeom>
        </p:spPr>
        <p:txBody>
          <a:bodyPr anchor="ctr"/>
          <a:lstStyle>
            <a:lvl1pPr marL="0" indent="0" algn="l" defTabSz="914377" rtl="0" eaLnBrk="1" latinLnBrk="0" hangingPunct="1">
              <a:lnSpc>
                <a:spcPct val="100000"/>
              </a:lnSpc>
              <a:spcBef>
                <a:spcPts val="1000"/>
              </a:spcBef>
              <a:buFont typeface="Arial" panose="020B0604020202020204" pitchFamily="34" charset="0"/>
              <a:buNone/>
              <a:defRPr sz="1000" kern="1200">
                <a:solidFill>
                  <a:schemeClr val="tx1">
                    <a:lumMod val="50000"/>
                    <a:lumOff val="50000"/>
                  </a:schemeClr>
                </a:solidFill>
                <a:latin typeface="Noto IKEA Latin" panose="020B0502040504020204" pitchFamily="34" charset="0"/>
                <a:ea typeface="+mn-ea"/>
                <a:cs typeface="+mn-cs"/>
              </a:defRPr>
            </a:lvl1pPr>
            <a:lvl2pPr marL="0" indent="-342900" algn="l" defTabSz="914377" rtl="0" eaLnBrk="1" latinLnBrk="0" hangingPunct="1">
              <a:lnSpc>
                <a:spcPct val="100000"/>
              </a:lnSpc>
              <a:spcBef>
                <a:spcPts val="1000"/>
              </a:spcBef>
              <a:buFont typeface="Arial" panose="020B0604020202020204" pitchFamily="34" charset="0"/>
              <a:buChar char="•"/>
              <a:defRPr sz="2400" kern="1200" spc="0">
                <a:solidFill>
                  <a:schemeClr val="tx1"/>
                </a:solidFill>
                <a:latin typeface="Noto IKEA Latin" panose="020B0502040504020204" pitchFamily="34" charset="0"/>
                <a:ea typeface="+mn-ea"/>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800" i="0" kern="1200">
                <a:solidFill>
                  <a:schemeClr val="tx1"/>
                </a:solidFill>
                <a:latin typeface="Noto IKEA Latin" panose="020B0502040504020204" pitchFamily="34" charset="0"/>
                <a:ea typeface="+mn-ea"/>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400" kern="1200">
                <a:solidFill>
                  <a:schemeClr val="tx1"/>
                </a:solidFill>
                <a:latin typeface="Noto IKEA Latin" panose="020B0502040504020204" pitchFamily="34" charset="0"/>
                <a:ea typeface="+mn-ea"/>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000" kern="1200">
                <a:solidFill>
                  <a:schemeClr val="tx1"/>
                </a:solidFill>
                <a:latin typeface="Noto IKEA Latin" panose="020B0502040504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chemeClr val="tx1">
                    <a:lumMod val="65000"/>
                    <a:lumOff val="35000"/>
                  </a:schemeClr>
                </a:solidFill>
              </a:rPr>
              <a:t>© Inter IKEA Systems B.V. </a:t>
            </a:r>
            <a:fld id="{A223BBD4-A7A9-AF46-B8EF-A4920416D8B0}" type="datetimeyyyy">
              <a:rPr lang="en-US" sz="1600" smtClean="0">
                <a:solidFill>
                  <a:schemeClr val="tx1">
                    <a:lumMod val="65000"/>
                    <a:lumOff val="35000"/>
                  </a:schemeClr>
                </a:solidFill>
              </a:rPr>
              <a:t>2025</a:t>
            </a:fld>
            <a:endParaRPr lang="en-GB" sz="1600">
              <a:solidFill>
                <a:schemeClr val="tx1">
                  <a:lumMod val="65000"/>
                  <a:lumOff val="35000"/>
                </a:schemeClr>
              </a:solidFill>
            </a:endParaRPr>
          </a:p>
        </p:txBody>
      </p:sp>
      <p:sp>
        <p:nvSpPr>
          <p:cNvPr id="5" name="TextBox 4">
            <a:extLst>
              <a:ext uri="{FF2B5EF4-FFF2-40B4-BE49-F238E27FC236}">
                <a16:creationId xmlns:a16="http://schemas.microsoft.com/office/drawing/2014/main" id="{070AD071-164B-344E-96A0-3FC8C726BF23}"/>
              </a:ext>
            </a:extLst>
          </p:cNvPr>
          <p:cNvSpPr txBox="1"/>
          <p:nvPr userDrawn="1">
            <p:extLst>
              <p:ext uri="{1162E1C5-73C7-4A58-AE30-91384D911F3F}">
                <p184:classification xmlns:p184="http://schemas.microsoft.com/office/powerpoint/2018/4/main" val="ftr"/>
              </p:ext>
            </p:extLst>
          </p:nvPr>
        </p:nvSpPr>
        <p:spPr>
          <a:xfrm>
            <a:off x="11632443" y="13338720"/>
            <a:ext cx="803224" cy="246221"/>
          </a:xfrm>
          <a:prstGeom prst="rect">
            <a:avLst/>
          </a:prstGeom>
        </p:spPr>
        <p:txBody>
          <a:bodyPr horzOverflow="overflow" lIns="0" tIns="0" rIns="0" bIns="0">
            <a:spAutoFit/>
          </a:bodyPr>
          <a:lstStyle/>
          <a:p>
            <a:pPr algn="ctr"/>
            <a:r>
              <a:rPr lang="en-NL" sz="1600">
                <a:solidFill>
                  <a:srgbClr val="5A5A5A"/>
                </a:solidFill>
                <a:latin typeface="Noto IKEA Latin" panose="020B0502040504020204" pitchFamily="34" charset="0"/>
              </a:rPr>
              <a:t>Internal</a:t>
            </a:r>
          </a:p>
        </p:txBody>
      </p:sp>
      <p:sp>
        <p:nvSpPr>
          <p:cNvPr id="2" name="Footer Placeholder 1">
            <a:extLst>
              <a:ext uri="{FF2B5EF4-FFF2-40B4-BE49-F238E27FC236}">
                <a16:creationId xmlns:a16="http://schemas.microsoft.com/office/drawing/2014/main" id="{D1826FC7-2513-0447-A9A7-4C6A2FBE72EF}"/>
              </a:ext>
            </a:extLst>
          </p:cNvPr>
          <p:cNvSpPr>
            <a:spLocks noGrp="1"/>
          </p:cNvSpPr>
          <p:nvPr>
            <p:ph type="ftr" sz="quarter" idx="3"/>
          </p:nvPr>
        </p:nvSpPr>
        <p:spPr>
          <a:xfrm>
            <a:off x="1677600" y="12690000"/>
            <a:ext cx="8228013" cy="540000"/>
          </a:xfrm>
          <a:prstGeom prst="rect">
            <a:avLst/>
          </a:prstGeom>
        </p:spPr>
        <p:txBody>
          <a:bodyPr vert="horz" lIns="91440" tIns="45720" rIns="91440" bIns="45720" rtlCol="0" anchor="t"/>
          <a:lstStyle>
            <a:lvl1pPr algn="l">
              <a:defRPr sz="1600">
                <a:solidFill>
                  <a:schemeClr val="tx1">
                    <a:lumMod val="65000"/>
                    <a:lumOff val="35000"/>
                  </a:schemeClr>
                </a:solidFill>
              </a:defRPr>
            </a:lvl1pPr>
          </a:lstStyle>
          <a:p>
            <a:endParaRPr lang="en-NL"/>
          </a:p>
        </p:txBody>
      </p:sp>
    </p:spTree>
    <p:extLst>
      <p:ext uri="{BB962C8B-B14F-4D97-AF65-F5344CB8AC3E}">
        <p14:creationId xmlns:p14="http://schemas.microsoft.com/office/powerpoint/2010/main" val="3647157279"/>
      </p:ext>
    </p:extLst>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 id="2147484396" r:id="rId11"/>
    <p:sldLayoutId id="2147484397" r:id="rId12"/>
    <p:sldLayoutId id="2147484398" r:id="rId13"/>
    <p:sldLayoutId id="2147484399" r:id="rId14"/>
    <p:sldLayoutId id="2147484400" r:id="rId15"/>
    <p:sldLayoutId id="2147484401" r:id="rId16"/>
    <p:sldLayoutId id="2147484402" r:id="rId17"/>
    <p:sldLayoutId id="2147484403" r:id="rId18"/>
    <p:sldLayoutId id="2147484404" r:id="rId19"/>
    <p:sldLayoutId id="2147484405" r:id="rId20"/>
    <p:sldLayoutId id="2147484406" r:id="rId21"/>
    <p:sldLayoutId id="2147484407" r:id="rId22"/>
    <p:sldLayoutId id="2147484408" r:id="rId23"/>
    <p:sldLayoutId id="2147484409" r:id="rId24"/>
    <p:sldLayoutId id="2147484410" r:id="rId25"/>
    <p:sldLayoutId id="2147484411" r:id="rId26"/>
    <p:sldLayoutId id="2147484412" r:id="rId27"/>
    <p:sldLayoutId id="2147484413" r:id="rId28"/>
    <p:sldLayoutId id="2147484414" r:id="rId29"/>
    <p:sldLayoutId id="2147484415" r:id="rId30"/>
    <p:sldLayoutId id="2147484416" r:id="rId31"/>
    <p:sldLayoutId id="2147484417" r:id="rId32"/>
    <p:sldLayoutId id="2147484418" r:id="rId33"/>
    <p:sldLayoutId id="2147484419" r:id="rId34"/>
    <p:sldLayoutId id="2147484420" r:id="rId35"/>
    <p:sldLayoutId id="2147484421" r:id="rId36"/>
    <p:sldLayoutId id="2147484422" r:id="rId37"/>
    <p:sldLayoutId id="2147484423" r:id="rId38"/>
    <p:sldLayoutId id="2147484424" r:id="rId39"/>
    <p:sldLayoutId id="2147484425" r:id="rId40"/>
    <p:sldLayoutId id="2147484426" r:id="rId41"/>
    <p:sldLayoutId id="2147484427" r:id="rId42"/>
    <p:sldLayoutId id="2147484428" r:id="rId43"/>
    <p:sldLayoutId id="2147484429" r:id="rId44"/>
    <p:sldLayoutId id="2147484430" r:id="rId45"/>
  </p:sldLayoutIdLst>
  <p:hf sldNum="0" hdr="0" dt="0"/>
  <p:txStyles>
    <p:titleStyle>
      <a:lvl1pPr algn="l" defTabSz="1828663" rtl="0" eaLnBrk="1" latinLnBrk="0" hangingPunct="1">
        <a:lnSpc>
          <a:spcPct val="100000"/>
        </a:lnSpc>
        <a:spcBef>
          <a:spcPct val="0"/>
        </a:spcBef>
        <a:buNone/>
        <a:defRPr sz="8000" b="1" kern="1200" spc="-200" baseline="0">
          <a:solidFill>
            <a:schemeClr val="tx1"/>
          </a:solidFill>
          <a:latin typeface="Noto IKEA Latin" panose="020B0502040504020204" pitchFamily="34" charset="0"/>
          <a:ea typeface="+mj-ea"/>
          <a:cs typeface="+mj-cs"/>
        </a:defRPr>
      </a:lvl1pPr>
    </p:titleStyle>
    <p:bodyStyle>
      <a:lvl1pPr marL="0" indent="0" algn="l" defTabSz="1828663" rtl="0" eaLnBrk="1" latinLnBrk="0" hangingPunct="1">
        <a:lnSpc>
          <a:spcPct val="100000"/>
        </a:lnSpc>
        <a:spcBef>
          <a:spcPts val="2000"/>
        </a:spcBef>
        <a:buFont typeface="Arial" panose="020B0604020202020204" pitchFamily="34" charset="0"/>
        <a:buNone/>
        <a:defRPr sz="3200" kern="1200">
          <a:solidFill>
            <a:schemeClr val="tx1"/>
          </a:solidFill>
          <a:latin typeface="Noto IKEA Latin" panose="020B0502040504020204" pitchFamily="34" charset="0"/>
          <a:ea typeface="+mn-ea"/>
          <a:cs typeface="+mn-cs"/>
        </a:defRPr>
      </a:lvl1pPr>
      <a:lvl2pPr marL="0" indent="-685766" algn="l" defTabSz="1828663" rtl="0" eaLnBrk="1" latinLnBrk="0" hangingPunct="1">
        <a:lnSpc>
          <a:spcPct val="100000"/>
        </a:lnSpc>
        <a:spcBef>
          <a:spcPts val="2000"/>
        </a:spcBef>
        <a:buFont typeface="Arial" panose="020B0604020202020204" pitchFamily="34" charset="0"/>
        <a:buChar char="•"/>
        <a:defRPr sz="3200" kern="1200" spc="0">
          <a:solidFill>
            <a:schemeClr val="tx1"/>
          </a:solidFill>
          <a:latin typeface="Noto IKEA Latin" panose="020B0502040504020204" pitchFamily="34" charset="0"/>
          <a:ea typeface="+mn-ea"/>
          <a:cs typeface="+mn-cs"/>
        </a:defRPr>
      </a:lvl2pPr>
      <a:lvl3pPr marL="2285828" indent="-457165" algn="l" defTabSz="1828663" rtl="0" eaLnBrk="1" latinLnBrk="0" hangingPunct="1">
        <a:lnSpc>
          <a:spcPct val="100000"/>
        </a:lnSpc>
        <a:spcBef>
          <a:spcPts val="1000"/>
        </a:spcBef>
        <a:buFont typeface="Arial" panose="020B0604020202020204" pitchFamily="34" charset="0"/>
        <a:buChar char="•"/>
        <a:defRPr sz="3600" i="0" kern="1200">
          <a:solidFill>
            <a:schemeClr val="tx1"/>
          </a:solidFill>
          <a:latin typeface="Noto IKEA Latin" panose="020B0502040504020204" pitchFamily="34" charset="0"/>
          <a:ea typeface="+mn-ea"/>
          <a:cs typeface="+mn-cs"/>
        </a:defRPr>
      </a:lvl3pPr>
      <a:lvl4pPr marL="3200160" indent="-457165" algn="l" defTabSz="1828663" rtl="0" eaLnBrk="1" latinLnBrk="0" hangingPunct="1">
        <a:lnSpc>
          <a:spcPct val="100000"/>
        </a:lnSpc>
        <a:spcBef>
          <a:spcPts val="1000"/>
        </a:spcBef>
        <a:buFont typeface="Arial" panose="020B0604020202020204" pitchFamily="34" charset="0"/>
        <a:buChar char="•"/>
        <a:defRPr sz="2800" kern="1200">
          <a:solidFill>
            <a:schemeClr val="tx1"/>
          </a:solidFill>
          <a:latin typeface="Noto IKEA Latin" panose="020B0502040504020204" pitchFamily="34" charset="0"/>
          <a:ea typeface="+mn-ea"/>
          <a:cs typeface="+mn-cs"/>
        </a:defRPr>
      </a:lvl4pPr>
      <a:lvl5pPr marL="4114492" indent="-457165" algn="l" defTabSz="1828663" rtl="0" eaLnBrk="1" latinLnBrk="0" hangingPunct="1">
        <a:lnSpc>
          <a:spcPct val="100000"/>
        </a:lnSpc>
        <a:spcBef>
          <a:spcPts val="1000"/>
        </a:spcBef>
        <a:buFont typeface="Arial" panose="020B0604020202020204" pitchFamily="34" charset="0"/>
        <a:buChar char="•"/>
        <a:defRPr sz="2000" kern="1200">
          <a:solidFill>
            <a:schemeClr val="tx1"/>
          </a:solidFill>
          <a:latin typeface="Noto IKEA Latin" panose="020B0502040504020204" pitchFamily="34" charset="0"/>
          <a:ea typeface="+mn-ea"/>
          <a:cs typeface="+mn-cs"/>
        </a:defRPr>
      </a:lvl5pPr>
      <a:lvl6pPr marL="5028823"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155"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485"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1817"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663" rtl="0" eaLnBrk="1" latinLnBrk="0" hangingPunct="1">
        <a:defRPr sz="3600" kern="1200">
          <a:solidFill>
            <a:schemeClr val="tx1"/>
          </a:solidFill>
          <a:latin typeface="+mn-lt"/>
          <a:ea typeface="+mn-ea"/>
          <a:cs typeface="+mn-cs"/>
        </a:defRPr>
      </a:lvl1pPr>
      <a:lvl2pPr marL="914332" algn="l" defTabSz="1828663" rtl="0" eaLnBrk="1" latinLnBrk="0" hangingPunct="1">
        <a:defRPr sz="3600" kern="1200">
          <a:solidFill>
            <a:schemeClr val="tx1"/>
          </a:solidFill>
          <a:latin typeface="+mn-lt"/>
          <a:ea typeface="+mn-ea"/>
          <a:cs typeface="+mn-cs"/>
        </a:defRPr>
      </a:lvl2pPr>
      <a:lvl3pPr marL="1828663" algn="l" defTabSz="1828663" rtl="0" eaLnBrk="1" latinLnBrk="0" hangingPunct="1">
        <a:defRPr sz="3600" kern="1200">
          <a:solidFill>
            <a:schemeClr val="tx1"/>
          </a:solidFill>
          <a:latin typeface="+mn-lt"/>
          <a:ea typeface="+mn-ea"/>
          <a:cs typeface="+mn-cs"/>
        </a:defRPr>
      </a:lvl3pPr>
      <a:lvl4pPr marL="2742995" algn="l" defTabSz="1828663" rtl="0" eaLnBrk="1" latinLnBrk="0" hangingPunct="1">
        <a:defRPr sz="3600" kern="1200">
          <a:solidFill>
            <a:schemeClr val="tx1"/>
          </a:solidFill>
          <a:latin typeface="+mn-lt"/>
          <a:ea typeface="+mn-ea"/>
          <a:cs typeface="+mn-cs"/>
        </a:defRPr>
      </a:lvl4pPr>
      <a:lvl5pPr marL="3657325" algn="l" defTabSz="1828663" rtl="0" eaLnBrk="1" latinLnBrk="0" hangingPunct="1">
        <a:defRPr sz="3600" kern="1200">
          <a:solidFill>
            <a:schemeClr val="tx1"/>
          </a:solidFill>
          <a:latin typeface="+mn-lt"/>
          <a:ea typeface="+mn-ea"/>
          <a:cs typeface="+mn-cs"/>
        </a:defRPr>
      </a:lvl5pPr>
      <a:lvl6pPr marL="4571657" algn="l" defTabSz="1828663" rtl="0" eaLnBrk="1" latinLnBrk="0" hangingPunct="1">
        <a:defRPr sz="3600" kern="1200">
          <a:solidFill>
            <a:schemeClr val="tx1"/>
          </a:solidFill>
          <a:latin typeface="+mn-lt"/>
          <a:ea typeface="+mn-ea"/>
          <a:cs typeface="+mn-cs"/>
        </a:defRPr>
      </a:lvl6pPr>
      <a:lvl7pPr marL="5485988" algn="l" defTabSz="1828663" rtl="0" eaLnBrk="1" latinLnBrk="0" hangingPunct="1">
        <a:defRPr sz="3600" kern="1200">
          <a:solidFill>
            <a:schemeClr val="tx1"/>
          </a:solidFill>
          <a:latin typeface="+mn-lt"/>
          <a:ea typeface="+mn-ea"/>
          <a:cs typeface="+mn-cs"/>
        </a:defRPr>
      </a:lvl7pPr>
      <a:lvl8pPr marL="6400320" algn="l" defTabSz="1828663" rtl="0" eaLnBrk="1" latinLnBrk="0" hangingPunct="1">
        <a:defRPr sz="3600" kern="1200">
          <a:solidFill>
            <a:schemeClr val="tx1"/>
          </a:solidFill>
          <a:latin typeface="+mn-lt"/>
          <a:ea typeface="+mn-ea"/>
          <a:cs typeface="+mn-cs"/>
        </a:defRPr>
      </a:lvl8pPr>
      <a:lvl9pPr marL="7314652" algn="l" defTabSz="1828663"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0">
          <p15:clr>
            <a:srgbClr val="F26B43"/>
          </p15:clr>
        </p15:guide>
        <p15:guide id="2" pos="1919">
          <p15:clr>
            <a:srgbClr val="F26B43"/>
          </p15:clr>
        </p15:guide>
        <p15:guide id="3" orient="horz" pos="2143">
          <p15:clr>
            <a:srgbClr val="F26B43"/>
          </p15:clr>
        </p15:guide>
        <p15:guide id="4" pos="3824">
          <p15:clr>
            <a:srgbClr val="F26B43"/>
          </p15:clr>
        </p15:guide>
        <p15:guide id="5" pos="11535">
          <p15:clr>
            <a:srgbClr val="F26B43"/>
          </p15:clr>
        </p15:guide>
        <p15:guide id="6" orient="horz" pos="7586">
          <p15:clr>
            <a:srgbClr val="F26B43"/>
          </p15:clr>
        </p15:guide>
        <p15:guide id="7" orient="horz" pos="3231">
          <p15:clr>
            <a:srgbClr val="F26B43"/>
          </p15:clr>
        </p15:guide>
        <p15:guide id="8" orient="horz" pos="1054">
          <p15:clr>
            <a:srgbClr val="F26B43"/>
          </p15:clr>
        </p15:guide>
        <p15:guide id="9" pos="5774">
          <p15:clr>
            <a:srgbClr val="F26B43"/>
          </p15:clr>
        </p15:guide>
        <p15:guide id="10" pos="13440">
          <p15:clr>
            <a:srgbClr val="F26B43"/>
          </p15:clr>
        </p15:guide>
        <p15:guide id="11" pos="9585">
          <p15:clr>
            <a:srgbClr val="F26B43"/>
          </p15:clr>
        </p15:guide>
        <p15:guide id="12" pos="7679">
          <p15:clr>
            <a:srgbClr val="F26B43"/>
          </p15:clr>
        </p15:guide>
        <p15:guide id="13" orient="horz" pos="5409">
          <p15:clr>
            <a:srgbClr val="F26B43"/>
          </p15:clr>
        </p15:guide>
        <p15:guide id="14" orient="horz" pos="6497">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C5E5B2-D7B7-0743-B449-C3B8D5EF3BBC}"/>
              </a:ext>
            </a:extLst>
          </p:cNvPr>
          <p:cNvSpPr>
            <a:spLocks noGrp="1"/>
          </p:cNvSpPr>
          <p:nvPr>
            <p:ph type="body" idx="1"/>
          </p:nvPr>
        </p:nvSpPr>
        <p:spPr>
          <a:xfrm>
            <a:off x="1676291" y="6137921"/>
            <a:ext cx="21029831" cy="5885578"/>
          </a:xfrm>
          <a:prstGeom prst="rect">
            <a:avLst/>
          </a:prstGeom>
        </p:spPr>
        <p:txBody>
          <a:bodyPr vert="horz" lIns="91440" tIns="45720" rIns="91440" bIns="45720" rtlCol="0" anchor="t">
            <a:noAutofit/>
          </a:bodyPr>
          <a:lstStyle/>
          <a:p>
            <a:pPr lvl="0"/>
            <a:r>
              <a:rPr lang="en-GB" noProof="0"/>
              <a:t>Put the body text here</a:t>
            </a:r>
          </a:p>
          <a:p>
            <a:pPr lvl="1"/>
            <a:r>
              <a:rPr lang="en-GB" noProof="0"/>
              <a:t>Bullet list</a:t>
            </a:r>
          </a:p>
        </p:txBody>
      </p:sp>
      <p:sp>
        <p:nvSpPr>
          <p:cNvPr id="7" name="Title Placeholder 6">
            <a:extLst>
              <a:ext uri="{FF2B5EF4-FFF2-40B4-BE49-F238E27FC236}">
                <a16:creationId xmlns:a16="http://schemas.microsoft.com/office/drawing/2014/main" id="{98BFA95D-7754-EC48-8FDA-5BF403130B73}"/>
              </a:ext>
            </a:extLst>
          </p:cNvPr>
          <p:cNvSpPr>
            <a:spLocks noGrp="1"/>
          </p:cNvSpPr>
          <p:nvPr>
            <p:ph type="title"/>
          </p:nvPr>
        </p:nvSpPr>
        <p:spPr>
          <a:xfrm>
            <a:off x="1676293" y="1692505"/>
            <a:ext cx="21033007" cy="4013370"/>
          </a:xfrm>
          <a:prstGeom prst="rect">
            <a:avLst/>
          </a:prstGeom>
        </p:spPr>
        <p:txBody>
          <a:bodyPr vert="horz" lIns="91440" tIns="45720" rIns="91440" bIns="45720" rtlCol="0" anchor="t">
            <a:noAutofit/>
          </a:bodyPr>
          <a:lstStyle/>
          <a:p>
            <a:r>
              <a:rPr lang="en-GB" noProof="0"/>
              <a:t>Put the headline</a:t>
            </a:r>
            <a:br>
              <a:rPr lang="en-GB" noProof="0"/>
            </a:br>
            <a:r>
              <a:rPr lang="en-GB" noProof="0"/>
              <a:t>here</a:t>
            </a:r>
          </a:p>
        </p:txBody>
      </p:sp>
      <p:sp>
        <p:nvSpPr>
          <p:cNvPr id="8" name="Text Placeholder 3">
            <a:extLst>
              <a:ext uri="{FF2B5EF4-FFF2-40B4-BE49-F238E27FC236}">
                <a16:creationId xmlns:a16="http://schemas.microsoft.com/office/drawing/2014/main" id="{1A4157D2-ADF3-D54C-A50B-CB0D5F86760F}"/>
              </a:ext>
            </a:extLst>
          </p:cNvPr>
          <p:cNvSpPr txBox="1">
            <a:spLocks/>
          </p:cNvSpPr>
          <p:nvPr userDrawn="1"/>
        </p:nvSpPr>
        <p:spPr>
          <a:xfrm rot="5400000">
            <a:off x="20902621" y="2898378"/>
            <a:ext cx="5759746" cy="719337"/>
          </a:xfrm>
          <a:prstGeom prst="rect">
            <a:avLst/>
          </a:prstGeom>
        </p:spPr>
        <p:txBody>
          <a:bodyPr anchor="ctr"/>
          <a:lstStyle>
            <a:lvl1pPr marL="0" indent="0" algn="l" defTabSz="914377" rtl="0" eaLnBrk="1" latinLnBrk="0" hangingPunct="1">
              <a:lnSpc>
                <a:spcPct val="100000"/>
              </a:lnSpc>
              <a:spcBef>
                <a:spcPts val="1000"/>
              </a:spcBef>
              <a:buFont typeface="Arial" panose="020B0604020202020204" pitchFamily="34" charset="0"/>
              <a:buNone/>
              <a:defRPr sz="1000" kern="1200">
                <a:solidFill>
                  <a:schemeClr val="tx1">
                    <a:lumMod val="50000"/>
                    <a:lumOff val="50000"/>
                  </a:schemeClr>
                </a:solidFill>
                <a:latin typeface="Noto IKEA Latin" panose="020B0502040504020204" pitchFamily="34" charset="0"/>
                <a:ea typeface="+mn-ea"/>
                <a:cs typeface="+mn-cs"/>
              </a:defRPr>
            </a:lvl1pPr>
            <a:lvl2pPr marL="0" indent="-342900" algn="l" defTabSz="914377" rtl="0" eaLnBrk="1" latinLnBrk="0" hangingPunct="1">
              <a:lnSpc>
                <a:spcPct val="100000"/>
              </a:lnSpc>
              <a:spcBef>
                <a:spcPts val="1000"/>
              </a:spcBef>
              <a:buFont typeface="Arial" panose="020B0604020202020204" pitchFamily="34" charset="0"/>
              <a:buChar char="•"/>
              <a:defRPr sz="2400" kern="1200" spc="0">
                <a:solidFill>
                  <a:schemeClr val="tx1"/>
                </a:solidFill>
                <a:latin typeface="Noto IKEA Latin" panose="020B0502040504020204" pitchFamily="34" charset="0"/>
                <a:ea typeface="+mn-ea"/>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800" i="0" kern="1200">
                <a:solidFill>
                  <a:schemeClr val="tx1"/>
                </a:solidFill>
                <a:latin typeface="Noto IKEA Latin" panose="020B0502040504020204" pitchFamily="34" charset="0"/>
                <a:ea typeface="+mn-ea"/>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400" kern="1200">
                <a:solidFill>
                  <a:schemeClr val="tx1"/>
                </a:solidFill>
                <a:latin typeface="Noto IKEA Latin" panose="020B0502040504020204" pitchFamily="34" charset="0"/>
                <a:ea typeface="+mn-ea"/>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000" kern="1200">
                <a:solidFill>
                  <a:schemeClr val="tx1"/>
                </a:solidFill>
                <a:latin typeface="Noto IKEA Latin" panose="020B0502040504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t>© Inter IKEA Systems B.V. 2022</a:t>
            </a:r>
            <a:endParaRPr lang="en-GB" sz="1600"/>
          </a:p>
        </p:txBody>
      </p:sp>
      <p:sp>
        <p:nvSpPr>
          <p:cNvPr id="9" name="Text Placeholder 3">
            <a:extLst>
              <a:ext uri="{FF2B5EF4-FFF2-40B4-BE49-F238E27FC236}">
                <a16:creationId xmlns:a16="http://schemas.microsoft.com/office/drawing/2014/main" id="{E35A1473-DC87-465F-9B9E-D16CE9E863C5}"/>
              </a:ext>
            </a:extLst>
          </p:cNvPr>
          <p:cNvSpPr txBox="1">
            <a:spLocks/>
          </p:cNvSpPr>
          <p:nvPr userDrawn="1"/>
        </p:nvSpPr>
        <p:spPr>
          <a:xfrm rot="5400000">
            <a:off x="20902621" y="2898380"/>
            <a:ext cx="5759746" cy="719337"/>
          </a:xfrm>
          <a:prstGeom prst="rect">
            <a:avLst/>
          </a:prstGeom>
        </p:spPr>
        <p:txBody>
          <a:bodyPr anchor="ctr"/>
          <a:lstStyle>
            <a:lvl1pPr marL="0" indent="0" algn="l" defTabSz="914377" rtl="0" eaLnBrk="1" latinLnBrk="0" hangingPunct="1">
              <a:lnSpc>
                <a:spcPct val="100000"/>
              </a:lnSpc>
              <a:spcBef>
                <a:spcPts val="1000"/>
              </a:spcBef>
              <a:buFont typeface="Arial" panose="020B0604020202020204" pitchFamily="34" charset="0"/>
              <a:buNone/>
              <a:defRPr sz="1000" kern="1200">
                <a:solidFill>
                  <a:schemeClr val="tx1">
                    <a:lumMod val="50000"/>
                    <a:lumOff val="50000"/>
                  </a:schemeClr>
                </a:solidFill>
                <a:latin typeface="Noto IKEA Latin" panose="020B0502040504020204" pitchFamily="34" charset="0"/>
                <a:ea typeface="+mn-ea"/>
                <a:cs typeface="+mn-cs"/>
              </a:defRPr>
            </a:lvl1pPr>
            <a:lvl2pPr marL="0" indent="-342900" algn="l" defTabSz="914377" rtl="0" eaLnBrk="1" latinLnBrk="0" hangingPunct="1">
              <a:lnSpc>
                <a:spcPct val="100000"/>
              </a:lnSpc>
              <a:spcBef>
                <a:spcPts val="1000"/>
              </a:spcBef>
              <a:buFont typeface="Arial" panose="020B0604020202020204" pitchFamily="34" charset="0"/>
              <a:buChar char="•"/>
              <a:defRPr sz="2400" kern="1200" spc="0">
                <a:solidFill>
                  <a:schemeClr val="tx1"/>
                </a:solidFill>
                <a:latin typeface="Noto IKEA Latin" panose="020B0502040504020204" pitchFamily="34" charset="0"/>
                <a:ea typeface="+mn-ea"/>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800" i="0" kern="1200">
                <a:solidFill>
                  <a:schemeClr val="tx1"/>
                </a:solidFill>
                <a:latin typeface="Noto IKEA Latin" panose="020B0502040504020204" pitchFamily="34" charset="0"/>
                <a:ea typeface="+mn-ea"/>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400" kern="1200">
                <a:solidFill>
                  <a:schemeClr val="tx1"/>
                </a:solidFill>
                <a:latin typeface="Noto IKEA Latin" panose="020B0502040504020204" pitchFamily="34" charset="0"/>
                <a:ea typeface="+mn-ea"/>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000" kern="1200">
                <a:solidFill>
                  <a:schemeClr val="tx1"/>
                </a:solidFill>
                <a:latin typeface="Noto IKEA Latin" panose="020B0502040504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t>© Inter IKEA Systems B.V. 2022</a:t>
            </a:r>
            <a:endParaRPr lang="en-GB" sz="1600"/>
          </a:p>
        </p:txBody>
      </p:sp>
      <p:sp>
        <p:nvSpPr>
          <p:cNvPr id="12" name="Text Placeholder 3">
            <a:extLst>
              <a:ext uri="{FF2B5EF4-FFF2-40B4-BE49-F238E27FC236}">
                <a16:creationId xmlns:a16="http://schemas.microsoft.com/office/drawing/2014/main" id="{FB60D98D-52FB-493D-A1C6-629B135DBE8D}"/>
              </a:ext>
            </a:extLst>
          </p:cNvPr>
          <p:cNvSpPr txBox="1">
            <a:spLocks/>
          </p:cNvSpPr>
          <p:nvPr userDrawn="1"/>
        </p:nvSpPr>
        <p:spPr>
          <a:xfrm>
            <a:off x="1676294" y="12674304"/>
            <a:ext cx="5759371" cy="719384"/>
          </a:xfrm>
          <a:prstGeom prst="rect">
            <a:avLst/>
          </a:prstGeom>
        </p:spPr>
        <p:txBody>
          <a:bodyPr anchor="ctr"/>
          <a:lstStyle>
            <a:lvl1pPr marL="0" indent="0" algn="l" defTabSz="914377" rtl="0" eaLnBrk="1" latinLnBrk="0" hangingPunct="1">
              <a:lnSpc>
                <a:spcPct val="100000"/>
              </a:lnSpc>
              <a:spcBef>
                <a:spcPts val="1000"/>
              </a:spcBef>
              <a:buFont typeface="Arial" panose="020B0604020202020204" pitchFamily="34" charset="0"/>
              <a:buNone/>
              <a:defRPr sz="1000" kern="1200">
                <a:solidFill>
                  <a:schemeClr val="tx1">
                    <a:lumMod val="50000"/>
                    <a:lumOff val="50000"/>
                  </a:schemeClr>
                </a:solidFill>
                <a:latin typeface="Noto IKEA Latin" panose="020B0502040504020204" pitchFamily="34" charset="0"/>
                <a:ea typeface="+mn-ea"/>
                <a:cs typeface="+mn-cs"/>
              </a:defRPr>
            </a:lvl1pPr>
            <a:lvl2pPr marL="0" indent="-342900" algn="l" defTabSz="914377" rtl="0" eaLnBrk="1" latinLnBrk="0" hangingPunct="1">
              <a:lnSpc>
                <a:spcPct val="100000"/>
              </a:lnSpc>
              <a:spcBef>
                <a:spcPts val="1000"/>
              </a:spcBef>
              <a:buFont typeface="Arial" panose="020B0604020202020204" pitchFamily="34" charset="0"/>
              <a:buChar char="•"/>
              <a:defRPr sz="2400" kern="1200" spc="0">
                <a:solidFill>
                  <a:schemeClr val="tx1"/>
                </a:solidFill>
                <a:latin typeface="Noto IKEA Latin" panose="020B0502040504020204" pitchFamily="34" charset="0"/>
                <a:ea typeface="+mn-ea"/>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800" i="0" kern="1200">
                <a:solidFill>
                  <a:schemeClr val="tx1"/>
                </a:solidFill>
                <a:latin typeface="Noto IKEA Latin" panose="020B0502040504020204" pitchFamily="34" charset="0"/>
                <a:ea typeface="+mn-ea"/>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400" kern="1200">
                <a:solidFill>
                  <a:schemeClr val="tx1"/>
                </a:solidFill>
                <a:latin typeface="Noto IKEA Latin" panose="020B0502040504020204" pitchFamily="34" charset="0"/>
                <a:ea typeface="+mn-ea"/>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000" kern="1200">
                <a:solidFill>
                  <a:schemeClr val="tx1"/>
                </a:solidFill>
                <a:latin typeface="Noto IKEA Latin" panose="020B0502040504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t>Intralogistics | Supply Chain Development </a:t>
            </a:r>
            <a:endParaRPr lang="en-GB" sz="1600"/>
          </a:p>
        </p:txBody>
      </p:sp>
    </p:spTree>
    <p:extLst>
      <p:ext uri="{BB962C8B-B14F-4D97-AF65-F5344CB8AC3E}">
        <p14:creationId xmlns:p14="http://schemas.microsoft.com/office/powerpoint/2010/main" val="2166487534"/>
      </p:ext>
    </p:extLst>
  </p:cSld>
  <p:clrMap bg1="lt1" tx1="dk1" bg2="lt2" tx2="dk2" accent1="accent1" accent2="accent2" accent3="accent3" accent4="accent4" accent5="accent5" accent6="accent6" hlink="hlink" folHlink="folHlink"/>
  <p:sldLayoutIdLst>
    <p:sldLayoutId id="2147484432" r:id="rId1"/>
    <p:sldLayoutId id="2147484433" r:id="rId2"/>
    <p:sldLayoutId id="2147484434" r:id="rId3"/>
    <p:sldLayoutId id="2147484435" r:id="rId4"/>
    <p:sldLayoutId id="2147484436" r:id="rId5"/>
    <p:sldLayoutId id="2147484437" r:id="rId6"/>
    <p:sldLayoutId id="2147484438" r:id="rId7"/>
    <p:sldLayoutId id="2147484439" r:id="rId8"/>
    <p:sldLayoutId id="2147484440" r:id="rId9"/>
    <p:sldLayoutId id="2147484441" r:id="rId10"/>
    <p:sldLayoutId id="2147484442" r:id="rId11"/>
    <p:sldLayoutId id="2147484443" r:id="rId12"/>
    <p:sldLayoutId id="2147484444" r:id="rId13"/>
    <p:sldLayoutId id="2147484445" r:id="rId14"/>
    <p:sldLayoutId id="2147484446" r:id="rId15"/>
    <p:sldLayoutId id="2147484447" r:id="rId16"/>
    <p:sldLayoutId id="2147484448" r:id="rId17"/>
    <p:sldLayoutId id="2147484449" r:id="rId18"/>
    <p:sldLayoutId id="2147484450" r:id="rId19"/>
    <p:sldLayoutId id="2147484451" r:id="rId20"/>
    <p:sldLayoutId id="2147484452" r:id="rId21"/>
    <p:sldLayoutId id="2147484453" r:id="rId22"/>
    <p:sldLayoutId id="2147484454" r:id="rId23"/>
    <p:sldLayoutId id="2147484455" r:id="rId24"/>
    <p:sldLayoutId id="2147484456" r:id="rId25"/>
    <p:sldLayoutId id="2147484457" r:id="rId26"/>
  </p:sldLayoutIdLst>
  <p:hf sldNum="0" hdr="0" dt="0"/>
  <p:txStyles>
    <p:titleStyle>
      <a:lvl1pPr algn="l" defTabSz="1828663" rtl="0" eaLnBrk="1" latinLnBrk="0" hangingPunct="1">
        <a:lnSpc>
          <a:spcPct val="100000"/>
        </a:lnSpc>
        <a:spcBef>
          <a:spcPct val="0"/>
        </a:spcBef>
        <a:buNone/>
        <a:defRPr sz="11999" b="1" kern="1200" spc="-200" baseline="0">
          <a:solidFill>
            <a:schemeClr val="tx1"/>
          </a:solidFill>
          <a:latin typeface="Noto IKEA Latin" panose="020B0502040504020204" pitchFamily="34" charset="0"/>
          <a:ea typeface="+mj-ea"/>
          <a:cs typeface="+mj-cs"/>
        </a:defRPr>
      </a:lvl1pPr>
    </p:titleStyle>
    <p:bodyStyle>
      <a:lvl1pPr marL="0" indent="0" algn="l" defTabSz="1828663" rtl="0" eaLnBrk="1" latinLnBrk="0" hangingPunct="1">
        <a:lnSpc>
          <a:spcPct val="100000"/>
        </a:lnSpc>
        <a:spcBef>
          <a:spcPts val="2000"/>
        </a:spcBef>
        <a:buFont typeface="Arial" panose="020B0604020202020204" pitchFamily="34" charset="0"/>
        <a:buNone/>
        <a:defRPr sz="2800" kern="1200">
          <a:solidFill>
            <a:schemeClr val="tx1"/>
          </a:solidFill>
          <a:latin typeface="Noto IKEA Latin" panose="020B0502040504020204" pitchFamily="34" charset="0"/>
          <a:ea typeface="+mn-ea"/>
          <a:cs typeface="+mn-cs"/>
        </a:defRPr>
      </a:lvl1pPr>
      <a:lvl2pPr marL="0" indent="-685766" algn="l" defTabSz="1828663" rtl="0" eaLnBrk="1" latinLnBrk="0" hangingPunct="1">
        <a:lnSpc>
          <a:spcPct val="100000"/>
        </a:lnSpc>
        <a:spcBef>
          <a:spcPts val="2000"/>
        </a:spcBef>
        <a:buFont typeface="Arial" panose="020B0604020202020204" pitchFamily="34" charset="0"/>
        <a:buChar char="•"/>
        <a:defRPr sz="2800" kern="1200" spc="0">
          <a:solidFill>
            <a:schemeClr val="tx1"/>
          </a:solidFill>
          <a:latin typeface="Noto IKEA Latin" panose="020B0502040504020204" pitchFamily="34" charset="0"/>
          <a:ea typeface="+mn-ea"/>
          <a:cs typeface="+mn-cs"/>
        </a:defRPr>
      </a:lvl2pPr>
      <a:lvl3pPr marL="2285828" indent="-457165" algn="l" defTabSz="1828663" rtl="0" eaLnBrk="1" latinLnBrk="0" hangingPunct="1">
        <a:lnSpc>
          <a:spcPct val="100000"/>
        </a:lnSpc>
        <a:spcBef>
          <a:spcPts val="1000"/>
        </a:spcBef>
        <a:buFont typeface="Arial" panose="020B0604020202020204" pitchFamily="34" charset="0"/>
        <a:buChar char="•"/>
        <a:defRPr sz="3600" i="0" kern="1200">
          <a:solidFill>
            <a:schemeClr val="tx1"/>
          </a:solidFill>
          <a:latin typeface="Noto IKEA Latin" panose="020B0502040504020204" pitchFamily="34" charset="0"/>
          <a:ea typeface="+mn-ea"/>
          <a:cs typeface="+mn-cs"/>
        </a:defRPr>
      </a:lvl3pPr>
      <a:lvl4pPr marL="3200160" indent="-457165" algn="l" defTabSz="1828663" rtl="0" eaLnBrk="1" latinLnBrk="0" hangingPunct="1">
        <a:lnSpc>
          <a:spcPct val="100000"/>
        </a:lnSpc>
        <a:spcBef>
          <a:spcPts val="1000"/>
        </a:spcBef>
        <a:buFont typeface="Arial" panose="020B0604020202020204" pitchFamily="34" charset="0"/>
        <a:buChar char="•"/>
        <a:defRPr sz="2800" kern="1200">
          <a:solidFill>
            <a:schemeClr val="tx1"/>
          </a:solidFill>
          <a:latin typeface="Noto IKEA Latin" panose="020B0502040504020204" pitchFamily="34" charset="0"/>
          <a:ea typeface="+mn-ea"/>
          <a:cs typeface="+mn-cs"/>
        </a:defRPr>
      </a:lvl4pPr>
      <a:lvl5pPr marL="4114492" indent="-457165" algn="l" defTabSz="1828663" rtl="0" eaLnBrk="1" latinLnBrk="0" hangingPunct="1">
        <a:lnSpc>
          <a:spcPct val="100000"/>
        </a:lnSpc>
        <a:spcBef>
          <a:spcPts val="1000"/>
        </a:spcBef>
        <a:buFont typeface="Arial" panose="020B0604020202020204" pitchFamily="34" charset="0"/>
        <a:buChar char="•"/>
        <a:defRPr sz="2000" kern="1200">
          <a:solidFill>
            <a:schemeClr val="tx1"/>
          </a:solidFill>
          <a:latin typeface="Noto IKEA Latin" panose="020B0502040504020204" pitchFamily="34" charset="0"/>
          <a:ea typeface="+mn-ea"/>
          <a:cs typeface="+mn-cs"/>
        </a:defRPr>
      </a:lvl5pPr>
      <a:lvl6pPr marL="5028823"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155"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485"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1817"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663" rtl="0" eaLnBrk="1" latinLnBrk="0" hangingPunct="1">
        <a:defRPr sz="3600" kern="1200">
          <a:solidFill>
            <a:schemeClr val="tx1"/>
          </a:solidFill>
          <a:latin typeface="+mn-lt"/>
          <a:ea typeface="+mn-ea"/>
          <a:cs typeface="+mn-cs"/>
        </a:defRPr>
      </a:lvl1pPr>
      <a:lvl2pPr marL="914332" algn="l" defTabSz="1828663" rtl="0" eaLnBrk="1" latinLnBrk="0" hangingPunct="1">
        <a:defRPr sz="3600" kern="1200">
          <a:solidFill>
            <a:schemeClr val="tx1"/>
          </a:solidFill>
          <a:latin typeface="+mn-lt"/>
          <a:ea typeface="+mn-ea"/>
          <a:cs typeface="+mn-cs"/>
        </a:defRPr>
      </a:lvl2pPr>
      <a:lvl3pPr marL="1828663" algn="l" defTabSz="1828663" rtl="0" eaLnBrk="1" latinLnBrk="0" hangingPunct="1">
        <a:defRPr sz="3600" kern="1200">
          <a:solidFill>
            <a:schemeClr val="tx1"/>
          </a:solidFill>
          <a:latin typeface="+mn-lt"/>
          <a:ea typeface="+mn-ea"/>
          <a:cs typeface="+mn-cs"/>
        </a:defRPr>
      </a:lvl3pPr>
      <a:lvl4pPr marL="2742995" algn="l" defTabSz="1828663" rtl="0" eaLnBrk="1" latinLnBrk="0" hangingPunct="1">
        <a:defRPr sz="3600" kern="1200">
          <a:solidFill>
            <a:schemeClr val="tx1"/>
          </a:solidFill>
          <a:latin typeface="+mn-lt"/>
          <a:ea typeface="+mn-ea"/>
          <a:cs typeface="+mn-cs"/>
        </a:defRPr>
      </a:lvl4pPr>
      <a:lvl5pPr marL="3657325" algn="l" defTabSz="1828663" rtl="0" eaLnBrk="1" latinLnBrk="0" hangingPunct="1">
        <a:defRPr sz="3600" kern="1200">
          <a:solidFill>
            <a:schemeClr val="tx1"/>
          </a:solidFill>
          <a:latin typeface="+mn-lt"/>
          <a:ea typeface="+mn-ea"/>
          <a:cs typeface="+mn-cs"/>
        </a:defRPr>
      </a:lvl5pPr>
      <a:lvl6pPr marL="4571657" algn="l" defTabSz="1828663" rtl="0" eaLnBrk="1" latinLnBrk="0" hangingPunct="1">
        <a:defRPr sz="3600" kern="1200">
          <a:solidFill>
            <a:schemeClr val="tx1"/>
          </a:solidFill>
          <a:latin typeface="+mn-lt"/>
          <a:ea typeface="+mn-ea"/>
          <a:cs typeface="+mn-cs"/>
        </a:defRPr>
      </a:lvl6pPr>
      <a:lvl7pPr marL="5485988" algn="l" defTabSz="1828663" rtl="0" eaLnBrk="1" latinLnBrk="0" hangingPunct="1">
        <a:defRPr sz="3600" kern="1200">
          <a:solidFill>
            <a:schemeClr val="tx1"/>
          </a:solidFill>
          <a:latin typeface="+mn-lt"/>
          <a:ea typeface="+mn-ea"/>
          <a:cs typeface="+mn-cs"/>
        </a:defRPr>
      </a:lvl7pPr>
      <a:lvl8pPr marL="6400320" algn="l" defTabSz="1828663" rtl="0" eaLnBrk="1" latinLnBrk="0" hangingPunct="1">
        <a:defRPr sz="3600" kern="1200">
          <a:solidFill>
            <a:schemeClr val="tx1"/>
          </a:solidFill>
          <a:latin typeface="+mn-lt"/>
          <a:ea typeface="+mn-ea"/>
          <a:cs typeface="+mn-cs"/>
        </a:defRPr>
      </a:lvl8pPr>
      <a:lvl9pPr marL="7314652" algn="l" defTabSz="1828663"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527">
          <p15:clr>
            <a:srgbClr val="F26B43"/>
          </p15:clr>
        </p15:guide>
        <p15:guide id="4" pos="529">
          <p15:clr>
            <a:srgbClr val="F26B43"/>
          </p15:clr>
        </p15:guide>
        <p15:guide id="5" pos="7151">
          <p15:clr>
            <a:srgbClr val="F26B43"/>
          </p15:clr>
        </p15:guide>
        <p15:guide id="6" orient="horz" pos="3793">
          <p15:clr>
            <a:srgbClr val="F26B43"/>
          </p15:clr>
        </p15:guide>
        <p15:guide id="7" orient="horz" pos="1797">
          <p15:clr>
            <a:srgbClr val="F26B43"/>
          </p15:clr>
        </p15:guide>
        <p15:guide id="8" orient="horz" pos="161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19F9513-B361-342A-C061-5CB5A6541D8C}"/>
              </a:ext>
            </a:extLst>
          </p:cNvPr>
          <p:cNvSpPr>
            <a:spLocks noGrp="1"/>
          </p:cNvSpPr>
          <p:nvPr>
            <p:ph type="title"/>
          </p:nvPr>
        </p:nvSpPr>
        <p:spPr>
          <a:xfrm>
            <a:off x="1676400" y="730250"/>
            <a:ext cx="21029613" cy="2651125"/>
          </a:xfrm>
          <a:prstGeom prst="rect">
            <a:avLst/>
          </a:prstGeom>
        </p:spPr>
        <p:txBody>
          <a:bodyPr vert="horz" lIns="91440" tIns="45720" rIns="91440" bIns="45720" rtlCol="0" anchor="ctr">
            <a:normAutofit/>
          </a:bodyPr>
          <a:lstStyle/>
          <a:p>
            <a:r>
              <a:rPr lang="en-US"/>
              <a:t>Click to edit Master title style</a:t>
            </a:r>
            <a:endParaRPr lang="sv-SE"/>
          </a:p>
        </p:txBody>
      </p:sp>
      <p:sp>
        <p:nvSpPr>
          <p:cNvPr id="3" name="Text Placeholder 2">
            <a:extLst>
              <a:ext uri="{FF2B5EF4-FFF2-40B4-BE49-F238E27FC236}">
                <a16:creationId xmlns:a16="http://schemas.microsoft.com/office/drawing/2014/main" id="{34C958F7-86F9-4386-D972-AFCA8C317F8A}"/>
              </a:ext>
            </a:extLst>
          </p:cNvPr>
          <p:cNvSpPr>
            <a:spLocks noGrp="1"/>
          </p:cNvSpPr>
          <p:nvPr>
            <p:ph type="body" idx="1"/>
          </p:nvPr>
        </p:nvSpPr>
        <p:spPr>
          <a:xfrm>
            <a:off x="1676400" y="3651250"/>
            <a:ext cx="21029613" cy="870267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1B972B0C-84CD-C898-7671-9D681919C017}"/>
              </a:ext>
            </a:extLst>
          </p:cNvPr>
          <p:cNvSpPr>
            <a:spLocks noGrp="1"/>
          </p:cNvSpPr>
          <p:nvPr>
            <p:ph type="dt" sz="half" idx="2"/>
          </p:nvPr>
        </p:nvSpPr>
        <p:spPr>
          <a:xfrm>
            <a:off x="1676400" y="12712700"/>
            <a:ext cx="5486400" cy="730250"/>
          </a:xfrm>
          <a:prstGeom prst="rect">
            <a:avLst/>
          </a:prstGeom>
        </p:spPr>
        <p:txBody>
          <a:bodyPr vert="horz" lIns="91440" tIns="45720" rIns="91440" bIns="45720" rtlCol="0" anchor="ctr"/>
          <a:lstStyle>
            <a:lvl1pPr algn="l">
              <a:defRPr sz="1200">
                <a:solidFill>
                  <a:schemeClr val="tx1">
                    <a:tint val="75000"/>
                  </a:schemeClr>
                </a:solidFill>
              </a:defRPr>
            </a:lvl1pPr>
          </a:lstStyle>
          <a:p>
            <a:fld id="{AE4ACE06-5616-430E-A18B-1355E7E310A7}" type="datetimeFigureOut">
              <a:rPr lang="sv-SE" smtClean="0"/>
              <a:t>2025-03-12</a:t>
            </a:fld>
            <a:endParaRPr lang="sv-SE"/>
          </a:p>
        </p:txBody>
      </p:sp>
      <p:sp>
        <p:nvSpPr>
          <p:cNvPr id="5" name="Footer Placeholder 4">
            <a:extLst>
              <a:ext uri="{FF2B5EF4-FFF2-40B4-BE49-F238E27FC236}">
                <a16:creationId xmlns:a16="http://schemas.microsoft.com/office/drawing/2014/main" id="{E54CD0A3-A8B8-9D76-5DA7-66DF1D08BD5A}"/>
              </a:ext>
            </a:extLst>
          </p:cNvPr>
          <p:cNvSpPr>
            <a:spLocks noGrp="1"/>
          </p:cNvSpPr>
          <p:nvPr>
            <p:ph type="ftr" sz="quarter" idx="3"/>
          </p:nvPr>
        </p:nvSpPr>
        <p:spPr>
          <a:xfrm>
            <a:off x="8077200" y="12712700"/>
            <a:ext cx="8228013" cy="730250"/>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Slide Number Placeholder 5">
            <a:extLst>
              <a:ext uri="{FF2B5EF4-FFF2-40B4-BE49-F238E27FC236}">
                <a16:creationId xmlns:a16="http://schemas.microsoft.com/office/drawing/2014/main" id="{1534B2C6-8FA2-1083-C9D5-ABE4E74A9FFD}"/>
              </a:ext>
            </a:extLst>
          </p:cNvPr>
          <p:cNvSpPr>
            <a:spLocks noGrp="1"/>
          </p:cNvSpPr>
          <p:nvPr>
            <p:ph type="sldNum" sz="quarter" idx="4"/>
          </p:nvPr>
        </p:nvSpPr>
        <p:spPr>
          <a:xfrm>
            <a:off x="17219613" y="12712700"/>
            <a:ext cx="5486400" cy="730250"/>
          </a:xfrm>
          <a:prstGeom prst="rect">
            <a:avLst/>
          </a:prstGeom>
        </p:spPr>
        <p:txBody>
          <a:bodyPr vert="horz" lIns="91440" tIns="45720" rIns="91440" bIns="45720" rtlCol="0" anchor="ctr"/>
          <a:lstStyle>
            <a:lvl1pPr algn="r">
              <a:defRPr sz="1200">
                <a:solidFill>
                  <a:schemeClr val="tx1">
                    <a:tint val="75000"/>
                  </a:schemeClr>
                </a:solidFill>
              </a:defRPr>
            </a:lvl1pPr>
          </a:lstStyle>
          <a:p>
            <a:fld id="{FC6CEC44-A5F5-4E58-B7C4-7A584EAFB293}" type="slidenum">
              <a:rPr lang="sv-SE" smtClean="0"/>
              <a:t>‹#›</a:t>
            </a:fld>
            <a:endParaRPr lang="sv-SE"/>
          </a:p>
        </p:txBody>
      </p:sp>
    </p:spTree>
    <p:extLst>
      <p:ext uri="{BB962C8B-B14F-4D97-AF65-F5344CB8AC3E}">
        <p14:creationId xmlns:p14="http://schemas.microsoft.com/office/powerpoint/2010/main" val="3325065561"/>
      </p:ext>
    </p:extLst>
  </p:cSld>
  <p:clrMap bg1="lt1" tx1="dk1" bg2="lt2" tx2="dk2" accent1="accent1" accent2="accent2" accent3="accent3" accent4="accent4" accent5="accent5" accent6="accent6" hlink="hlink" folHlink="folHlink"/>
  <p:sldLayoutIdLst>
    <p:sldLayoutId id="2147484214" r:id="rId1"/>
    <p:sldLayoutId id="2147484215" r:id="rId2"/>
    <p:sldLayoutId id="2147484216" r:id="rId3"/>
    <p:sldLayoutId id="2147484217" r:id="rId4"/>
    <p:sldLayoutId id="2147484218" r:id="rId5"/>
    <p:sldLayoutId id="2147484219" r:id="rId6"/>
    <p:sldLayoutId id="2147484220" r:id="rId7"/>
    <p:sldLayoutId id="2147484221" r:id="rId8"/>
    <p:sldLayoutId id="2147484222" r:id="rId9"/>
    <p:sldLayoutId id="2147484223" r:id="rId10"/>
    <p:sldLayoutId id="214748422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C5E5B2-D7B7-0743-B449-C3B8D5EF3BBC}"/>
              </a:ext>
            </a:extLst>
          </p:cNvPr>
          <p:cNvSpPr>
            <a:spLocks noGrp="1"/>
          </p:cNvSpPr>
          <p:nvPr>
            <p:ph type="body" idx="1"/>
          </p:nvPr>
        </p:nvSpPr>
        <p:spPr>
          <a:xfrm>
            <a:off x="1676291" y="5129808"/>
            <a:ext cx="21029831" cy="6908592"/>
          </a:xfrm>
          <a:prstGeom prst="rect">
            <a:avLst/>
          </a:prstGeom>
        </p:spPr>
        <p:txBody>
          <a:bodyPr vert="horz" lIns="91440" tIns="45720" rIns="91440" bIns="45720" rtlCol="0" anchor="t">
            <a:noAutofit/>
          </a:bodyPr>
          <a:lstStyle/>
          <a:p>
            <a:pPr lvl="0"/>
            <a:r>
              <a:rPr lang="en-GB" noProof="0"/>
              <a:t>Put the body text here</a:t>
            </a:r>
          </a:p>
          <a:p>
            <a:pPr lvl="1"/>
            <a:r>
              <a:rPr lang="en-GB" noProof="0"/>
              <a:t>Bullet list</a:t>
            </a:r>
          </a:p>
        </p:txBody>
      </p:sp>
      <p:sp>
        <p:nvSpPr>
          <p:cNvPr id="7" name="Title Placeholder 6">
            <a:extLst>
              <a:ext uri="{FF2B5EF4-FFF2-40B4-BE49-F238E27FC236}">
                <a16:creationId xmlns:a16="http://schemas.microsoft.com/office/drawing/2014/main" id="{98BFA95D-7754-EC48-8FDA-5BF403130B73}"/>
              </a:ext>
            </a:extLst>
          </p:cNvPr>
          <p:cNvSpPr>
            <a:spLocks noGrp="1"/>
          </p:cNvSpPr>
          <p:nvPr>
            <p:ph type="title"/>
          </p:nvPr>
        </p:nvSpPr>
        <p:spPr>
          <a:xfrm>
            <a:off x="1676293" y="1677600"/>
            <a:ext cx="21033007" cy="3011660"/>
          </a:xfrm>
          <a:prstGeom prst="rect">
            <a:avLst/>
          </a:prstGeom>
        </p:spPr>
        <p:txBody>
          <a:bodyPr vert="horz" lIns="91440" tIns="45720" rIns="91440" bIns="45720" rtlCol="0" anchor="t">
            <a:noAutofit/>
          </a:bodyPr>
          <a:lstStyle/>
          <a:p>
            <a:r>
              <a:rPr lang="en-GB" noProof="0"/>
              <a:t>Put the headline here</a:t>
            </a:r>
          </a:p>
        </p:txBody>
      </p:sp>
      <p:sp>
        <p:nvSpPr>
          <p:cNvPr id="8" name="Text Placeholder 3">
            <a:extLst>
              <a:ext uri="{FF2B5EF4-FFF2-40B4-BE49-F238E27FC236}">
                <a16:creationId xmlns:a16="http://schemas.microsoft.com/office/drawing/2014/main" id="{1A4157D2-ADF3-D54C-A50B-CB0D5F86760F}"/>
              </a:ext>
            </a:extLst>
          </p:cNvPr>
          <p:cNvSpPr txBox="1">
            <a:spLocks/>
          </p:cNvSpPr>
          <p:nvPr userDrawn="1"/>
        </p:nvSpPr>
        <p:spPr>
          <a:xfrm rot="5400000">
            <a:off x="21412413" y="2735272"/>
            <a:ext cx="5400000" cy="540001"/>
          </a:xfrm>
          <a:prstGeom prst="rect">
            <a:avLst/>
          </a:prstGeom>
        </p:spPr>
        <p:txBody>
          <a:bodyPr anchor="ctr"/>
          <a:lstStyle>
            <a:lvl1pPr marL="0" indent="0" algn="l" defTabSz="914377" rtl="0" eaLnBrk="1" latinLnBrk="0" hangingPunct="1">
              <a:lnSpc>
                <a:spcPct val="100000"/>
              </a:lnSpc>
              <a:spcBef>
                <a:spcPts val="1000"/>
              </a:spcBef>
              <a:buFont typeface="Arial" panose="020B0604020202020204" pitchFamily="34" charset="0"/>
              <a:buNone/>
              <a:defRPr sz="1000" kern="1200">
                <a:solidFill>
                  <a:schemeClr val="tx1">
                    <a:lumMod val="50000"/>
                    <a:lumOff val="50000"/>
                  </a:schemeClr>
                </a:solidFill>
                <a:latin typeface="Noto IKEA Latin" panose="020B0502040504020204" pitchFamily="34" charset="0"/>
                <a:ea typeface="+mn-ea"/>
                <a:cs typeface="+mn-cs"/>
              </a:defRPr>
            </a:lvl1pPr>
            <a:lvl2pPr marL="0" indent="-342900" algn="l" defTabSz="914377" rtl="0" eaLnBrk="1" latinLnBrk="0" hangingPunct="1">
              <a:lnSpc>
                <a:spcPct val="100000"/>
              </a:lnSpc>
              <a:spcBef>
                <a:spcPts val="1000"/>
              </a:spcBef>
              <a:buFont typeface="Arial" panose="020B0604020202020204" pitchFamily="34" charset="0"/>
              <a:buChar char="•"/>
              <a:defRPr sz="2400" kern="1200" spc="0">
                <a:solidFill>
                  <a:schemeClr val="tx1"/>
                </a:solidFill>
                <a:latin typeface="Noto IKEA Latin" panose="020B0502040504020204" pitchFamily="34" charset="0"/>
                <a:ea typeface="+mn-ea"/>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800" i="0" kern="1200">
                <a:solidFill>
                  <a:schemeClr val="tx1"/>
                </a:solidFill>
                <a:latin typeface="Noto IKEA Latin" panose="020B0502040504020204" pitchFamily="34" charset="0"/>
                <a:ea typeface="+mn-ea"/>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400" kern="1200">
                <a:solidFill>
                  <a:schemeClr val="tx1"/>
                </a:solidFill>
                <a:latin typeface="Noto IKEA Latin" panose="020B0502040504020204" pitchFamily="34" charset="0"/>
                <a:ea typeface="+mn-ea"/>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000" kern="1200">
                <a:solidFill>
                  <a:schemeClr val="tx1"/>
                </a:solidFill>
                <a:latin typeface="Noto IKEA Latin" panose="020B0502040504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chemeClr val="tx1">
                    <a:lumMod val="65000"/>
                    <a:lumOff val="35000"/>
                  </a:schemeClr>
                </a:solidFill>
              </a:rPr>
              <a:t>© Inter IKEA Systems B.V. </a:t>
            </a:r>
            <a:fld id="{A223BBD4-A7A9-AF46-B8EF-A4920416D8B0}" type="datetimeyyyy">
              <a:rPr lang="en-US" sz="1600" smtClean="0">
                <a:solidFill>
                  <a:schemeClr val="tx1">
                    <a:lumMod val="65000"/>
                    <a:lumOff val="35000"/>
                  </a:schemeClr>
                </a:solidFill>
              </a:rPr>
              <a:t>2025</a:t>
            </a:fld>
            <a:endParaRPr lang="en-GB" sz="1600">
              <a:solidFill>
                <a:schemeClr val="tx1">
                  <a:lumMod val="65000"/>
                  <a:lumOff val="35000"/>
                </a:schemeClr>
              </a:solidFill>
            </a:endParaRPr>
          </a:p>
        </p:txBody>
      </p:sp>
      <p:sp>
        <p:nvSpPr>
          <p:cNvPr id="5" name="TextBox 4">
            <a:extLst>
              <a:ext uri="{FF2B5EF4-FFF2-40B4-BE49-F238E27FC236}">
                <a16:creationId xmlns:a16="http://schemas.microsoft.com/office/drawing/2014/main" id="{070AD071-164B-344E-96A0-3FC8C726BF23}"/>
              </a:ext>
            </a:extLst>
          </p:cNvPr>
          <p:cNvSpPr txBox="1"/>
          <p:nvPr userDrawn="1">
            <p:extLst>
              <p:ext uri="{1162E1C5-73C7-4A58-AE30-91384D911F3F}">
                <p184:classification xmlns:p184="http://schemas.microsoft.com/office/powerpoint/2018/4/main" val="ftr"/>
              </p:ext>
            </p:extLst>
          </p:nvPr>
        </p:nvSpPr>
        <p:spPr>
          <a:xfrm>
            <a:off x="11632443" y="13338721"/>
            <a:ext cx="803224" cy="246221"/>
          </a:xfrm>
          <a:prstGeom prst="rect">
            <a:avLst/>
          </a:prstGeom>
        </p:spPr>
        <p:txBody>
          <a:bodyPr horzOverflow="overflow" lIns="0" tIns="0" rIns="0" bIns="0">
            <a:spAutoFit/>
          </a:bodyPr>
          <a:lstStyle/>
          <a:p>
            <a:pPr algn="ctr"/>
            <a:r>
              <a:rPr lang="en-NL" sz="1600">
                <a:solidFill>
                  <a:srgbClr val="5A5A5A"/>
                </a:solidFill>
                <a:latin typeface="Noto IKEA Latin" panose="020B0502040504020204" pitchFamily="34" charset="0"/>
              </a:rPr>
              <a:t>Internal</a:t>
            </a:r>
          </a:p>
        </p:txBody>
      </p:sp>
      <p:sp>
        <p:nvSpPr>
          <p:cNvPr id="2" name="Footer Placeholder 1">
            <a:extLst>
              <a:ext uri="{FF2B5EF4-FFF2-40B4-BE49-F238E27FC236}">
                <a16:creationId xmlns:a16="http://schemas.microsoft.com/office/drawing/2014/main" id="{D1826FC7-2513-0447-A9A7-4C6A2FBE72EF}"/>
              </a:ext>
            </a:extLst>
          </p:cNvPr>
          <p:cNvSpPr>
            <a:spLocks noGrp="1"/>
          </p:cNvSpPr>
          <p:nvPr>
            <p:ph type="ftr" sz="quarter" idx="3"/>
          </p:nvPr>
        </p:nvSpPr>
        <p:spPr>
          <a:xfrm>
            <a:off x="1677601" y="12690000"/>
            <a:ext cx="8228012" cy="540000"/>
          </a:xfrm>
          <a:prstGeom prst="rect">
            <a:avLst/>
          </a:prstGeom>
        </p:spPr>
        <p:txBody>
          <a:bodyPr vert="horz" lIns="91440" tIns="45720" rIns="91440" bIns="45720" rtlCol="0" anchor="t"/>
          <a:lstStyle>
            <a:lvl1pPr algn="l">
              <a:defRPr sz="1600">
                <a:solidFill>
                  <a:schemeClr val="tx1">
                    <a:lumMod val="65000"/>
                    <a:lumOff val="35000"/>
                  </a:schemeClr>
                </a:solidFill>
              </a:defRPr>
            </a:lvl1pPr>
          </a:lstStyle>
          <a:p>
            <a:endParaRPr lang="en-NL"/>
          </a:p>
        </p:txBody>
      </p:sp>
    </p:spTree>
    <p:extLst>
      <p:ext uri="{BB962C8B-B14F-4D97-AF65-F5344CB8AC3E}">
        <p14:creationId xmlns:p14="http://schemas.microsoft.com/office/powerpoint/2010/main" val="301440516"/>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4093" r:id="rId11"/>
    <p:sldLayoutId id="2147483762" r:id="rId12"/>
    <p:sldLayoutId id="2147484092"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 id="2147483778" r:id="rId28"/>
    <p:sldLayoutId id="2147483779" r:id="rId29"/>
    <p:sldLayoutId id="2147483780" r:id="rId30"/>
    <p:sldLayoutId id="2147483781" r:id="rId31"/>
    <p:sldLayoutId id="2147483782" r:id="rId32"/>
    <p:sldLayoutId id="2147483783" r:id="rId33"/>
    <p:sldLayoutId id="2147483784" r:id="rId34"/>
    <p:sldLayoutId id="2147483785" r:id="rId35"/>
    <p:sldLayoutId id="2147483786" r:id="rId36"/>
    <p:sldLayoutId id="2147483787" r:id="rId37"/>
    <p:sldLayoutId id="2147484095" r:id="rId38"/>
    <p:sldLayoutId id="2147484097" r:id="rId39"/>
    <p:sldLayoutId id="2147484100" r:id="rId40"/>
    <p:sldLayoutId id="2147484353" r:id="rId41"/>
  </p:sldLayoutIdLst>
  <p:hf sldNum="0" hdr="0" dt="0"/>
  <p:txStyles>
    <p:titleStyle>
      <a:lvl1pPr algn="l" defTabSz="1828573" rtl="0" eaLnBrk="1" latinLnBrk="0" hangingPunct="1">
        <a:lnSpc>
          <a:spcPct val="100000"/>
        </a:lnSpc>
        <a:spcBef>
          <a:spcPct val="0"/>
        </a:spcBef>
        <a:buNone/>
        <a:defRPr sz="8000" b="1" kern="1200" spc="-200" baseline="0">
          <a:solidFill>
            <a:schemeClr val="tx1"/>
          </a:solidFill>
          <a:latin typeface="Noto IKEA Latin" panose="020B0502040504020204" pitchFamily="34" charset="0"/>
          <a:ea typeface="+mj-ea"/>
          <a:cs typeface="+mj-cs"/>
        </a:defRPr>
      </a:lvl1pPr>
    </p:titleStyle>
    <p:bodyStyle>
      <a:lvl1pPr marL="0" indent="0" algn="l" defTabSz="1828573" rtl="0" eaLnBrk="1" latinLnBrk="0" hangingPunct="1">
        <a:lnSpc>
          <a:spcPct val="100000"/>
        </a:lnSpc>
        <a:spcBef>
          <a:spcPts val="2000"/>
        </a:spcBef>
        <a:buFont typeface="Arial" panose="020B0604020202020204" pitchFamily="34" charset="0"/>
        <a:buNone/>
        <a:defRPr sz="3200" kern="1200">
          <a:solidFill>
            <a:schemeClr val="tx1"/>
          </a:solidFill>
          <a:latin typeface="Noto IKEA Latin" panose="020B0502040504020204" pitchFamily="34" charset="0"/>
          <a:ea typeface="+mn-ea"/>
          <a:cs typeface="+mn-cs"/>
        </a:defRPr>
      </a:lvl1pPr>
      <a:lvl2pPr marL="0" indent="-685732" algn="l" defTabSz="1828573" rtl="0" eaLnBrk="1" latinLnBrk="0" hangingPunct="1">
        <a:lnSpc>
          <a:spcPct val="100000"/>
        </a:lnSpc>
        <a:spcBef>
          <a:spcPts val="2000"/>
        </a:spcBef>
        <a:buFont typeface="Arial" panose="020B0604020202020204" pitchFamily="34" charset="0"/>
        <a:buChar char="•"/>
        <a:defRPr sz="3200" kern="1200" spc="0">
          <a:solidFill>
            <a:schemeClr val="tx1"/>
          </a:solidFill>
          <a:latin typeface="Noto IKEA Latin" panose="020B0502040504020204" pitchFamily="34" charset="0"/>
          <a:ea typeface="+mn-ea"/>
          <a:cs typeface="+mn-cs"/>
        </a:defRPr>
      </a:lvl2pPr>
      <a:lvl3pPr marL="2285714" indent="-457143" algn="l" defTabSz="1828573" rtl="0" eaLnBrk="1" latinLnBrk="0" hangingPunct="1">
        <a:lnSpc>
          <a:spcPct val="100000"/>
        </a:lnSpc>
        <a:spcBef>
          <a:spcPts val="1000"/>
        </a:spcBef>
        <a:buFont typeface="Arial" panose="020B0604020202020204" pitchFamily="34" charset="0"/>
        <a:buChar char="•"/>
        <a:defRPr sz="3600" i="0" kern="1200">
          <a:solidFill>
            <a:schemeClr val="tx1"/>
          </a:solidFill>
          <a:latin typeface="Noto IKEA Latin" panose="020B0502040504020204" pitchFamily="34" charset="0"/>
          <a:ea typeface="+mn-ea"/>
          <a:cs typeface="+mn-cs"/>
        </a:defRPr>
      </a:lvl3pPr>
      <a:lvl4pPr marL="3200000" indent="-457143" algn="l" defTabSz="1828573" rtl="0" eaLnBrk="1" latinLnBrk="0" hangingPunct="1">
        <a:lnSpc>
          <a:spcPct val="100000"/>
        </a:lnSpc>
        <a:spcBef>
          <a:spcPts val="1000"/>
        </a:spcBef>
        <a:buFont typeface="Arial" panose="020B0604020202020204" pitchFamily="34" charset="0"/>
        <a:buChar char="•"/>
        <a:defRPr sz="2800" kern="1200">
          <a:solidFill>
            <a:schemeClr val="tx1"/>
          </a:solidFill>
          <a:latin typeface="Noto IKEA Latin" panose="020B0502040504020204" pitchFamily="34" charset="0"/>
          <a:ea typeface="+mn-ea"/>
          <a:cs typeface="+mn-cs"/>
        </a:defRPr>
      </a:lvl4pPr>
      <a:lvl5pPr marL="4114286" indent="-457143" algn="l" defTabSz="1828573" rtl="0" eaLnBrk="1" latinLnBrk="0" hangingPunct="1">
        <a:lnSpc>
          <a:spcPct val="100000"/>
        </a:lnSpc>
        <a:spcBef>
          <a:spcPts val="1000"/>
        </a:spcBef>
        <a:buFont typeface="Arial" panose="020B0604020202020204" pitchFamily="34" charset="0"/>
        <a:buChar char="•"/>
        <a:defRPr sz="2000" kern="1200">
          <a:solidFill>
            <a:schemeClr val="tx1"/>
          </a:solidFill>
          <a:latin typeface="Noto IKEA Latin" panose="020B0502040504020204" pitchFamily="34" charset="0"/>
          <a:ea typeface="+mn-ea"/>
          <a:cs typeface="+mn-cs"/>
        </a:defRPr>
      </a:lvl5pPr>
      <a:lvl6pPr marL="5028573"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2859"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143"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1429"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573" rtl="0" eaLnBrk="1" latinLnBrk="0" hangingPunct="1">
        <a:defRPr sz="3600" kern="1200">
          <a:solidFill>
            <a:schemeClr val="tx1"/>
          </a:solidFill>
          <a:latin typeface="+mn-lt"/>
          <a:ea typeface="+mn-ea"/>
          <a:cs typeface="+mn-cs"/>
        </a:defRPr>
      </a:lvl1pPr>
      <a:lvl2pPr marL="914286" algn="l" defTabSz="1828573" rtl="0" eaLnBrk="1" latinLnBrk="0" hangingPunct="1">
        <a:defRPr sz="3600" kern="1200">
          <a:solidFill>
            <a:schemeClr val="tx1"/>
          </a:solidFill>
          <a:latin typeface="+mn-lt"/>
          <a:ea typeface="+mn-ea"/>
          <a:cs typeface="+mn-cs"/>
        </a:defRPr>
      </a:lvl2pPr>
      <a:lvl3pPr marL="1828573" algn="l" defTabSz="1828573" rtl="0" eaLnBrk="1" latinLnBrk="0" hangingPunct="1">
        <a:defRPr sz="3600" kern="1200">
          <a:solidFill>
            <a:schemeClr val="tx1"/>
          </a:solidFill>
          <a:latin typeface="+mn-lt"/>
          <a:ea typeface="+mn-ea"/>
          <a:cs typeface="+mn-cs"/>
        </a:defRPr>
      </a:lvl3pPr>
      <a:lvl4pPr marL="2742859" algn="l" defTabSz="1828573" rtl="0" eaLnBrk="1" latinLnBrk="0" hangingPunct="1">
        <a:defRPr sz="3600" kern="1200">
          <a:solidFill>
            <a:schemeClr val="tx1"/>
          </a:solidFill>
          <a:latin typeface="+mn-lt"/>
          <a:ea typeface="+mn-ea"/>
          <a:cs typeface="+mn-cs"/>
        </a:defRPr>
      </a:lvl4pPr>
      <a:lvl5pPr marL="3657143" algn="l" defTabSz="1828573" rtl="0" eaLnBrk="1" latinLnBrk="0" hangingPunct="1">
        <a:defRPr sz="3600" kern="1200">
          <a:solidFill>
            <a:schemeClr val="tx1"/>
          </a:solidFill>
          <a:latin typeface="+mn-lt"/>
          <a:ea typeface="+mn-ea"/>
          <a:cs typeface="+mn-cs"/>
        </a:defRPr>
      </a:lvl5pPr>
      <a:lvl6pPr marL="4571429" algn="l" defTabSz="1828573" rtl="0" eaLnBrk="1" latinLnBrk="0" hangingPunct="1">
        <a:defRPr sz="3600" kern="1200">
          <a:solidFill>
            <a:schemeClr val="tx1"/>
          </a:solidFill>
          <a:latin typeface="+mn-lt"/>
          <a:ea typeface="+mn-ea"/>
          <a:cs typeface="+mn-cs"/>
        </a:defRPr>
      </a:lvl6pPr>
      <a:lvl7pPr marL="5485714" algn="l" defTabSz="1828573" rtl="0" eaLnBrk="1" latinLnBrk="0" hangingPunct="1">
        <a:defRPr sz="3600" kern="1200">
          <a:solidFill>
            <a:schemeClr val="tx1"/>
          </a:solidFill>
          <a:latin typeface="+mn-lt"/>
          <a:ea typeface="+mn-ea"/>
          <a:cs typeface="+mn-cs"/>
        </a:defRPr>
      </a:lvl7pPr>
      <a:lvl8pPr marL="6400000" algn="l" defTabSz="1828573" rtl="0" eaLnBrk="1" latinLnBrk="0" hangingPunct="1">
        <a:defRPr sz="3600" kern="1200">
          <a:solidFill>
            <a:schemeClr val="tx1"/>
          </a:solidFill>
          <a:latin typeface="+mn-lt"/>
          <a:ea typeface="+mn-ea"/>
          <a:cs typeface="+mn-cs"/>
        </a:defRPr>
      </a:lvl8pPr>
      <a:lvl9pPr marL="7314286" algn="l" defTabSz="1828573"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0">
          <p15:clr>
            <a:srgbClr val="F26B43"/>
          </p15:clr>
        </p15:guide>
        <p15:guide id="2" pos="1919">
          <p15:clr>
            <a:srgbClr val="F26B43"/>
          </p15:clr>
        </p15:guide>
        <p15:guide id="3" orient="horz" pos="2143">
          <p15:clr>
            <a:srgbClr val="F26B43"/>
          </p15:clr>
        </p15:guide>
        <p15:guide id="4" pos="3824">
          <p15:clr>
            <a:srgbClr val="F26B43"/>
          </p15:clr>
        </p15:guide>
        <p15:guide id="5" pos="11535">
          <p15:clr>
            <a:srgbClr val="F26B43"/>
          </p15:clr>
        </p15:guide>
        <p15:guide id="6" orient="horz" pos="7586">
          <p15:clr>
            <a:srgbClr val="F26B43"/>
          </p15:clr>
        </p15:guide>
        <p15:guide id="7" orient="horz" pos="3231">
          <p15:clr>
            <a:srgbClr val="F26B43"/>
          </p15:clr>
        </p15:guide>
        <p15:guide id="8" orient="horz" pos="1054">
          <p15:clr>
            <a:srgbClr val="F26B43"/>
          </p15:clr>
        </p15:guide>
        <p15:guide id="9" pos="5774">
          <p15:clr>
            <a:srgbClr val="F26B43"/>
          </p15:clr>
        </p15:guide>
        <p15:guide id="10" pos="13440">
          <p15:clr>
            <a:srgbClr val="F26B43"/>
          </p15:clr>
        </p15:guide>
        <p15:guide id="11" pos="9585">
          <p15:clr>
            <a:srgbClr val="F26B43"/>
          </p15:clr>
        </p15:guide>
        <p15:guide id="12" pos="7679">
          <p15:clr>
            <a:srgbClr val="F26B43"/>
          </p15:clr>
        </p15:guide>
        <p15:guide id="13" orient="horz" pos="5409">
          <p15:clr>
            <a:srgbClr val="F26B43"/>
          </p15:clr>
        </p15:guide>
        <p15:guide id="14" orient="horz" pos="649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C5E5B2-D7B7-0743-B449-C3B8D5EF3BBC}"/>
              </a:ext>
            </a:extLst>
          </p:cNvPr>
          <p:cNvSpPr>
            <a:spLocks noGrp="1"/>
          </p:cNvSpPr>
          <p:nvPr>
            <p:ph type="body" idx="1"/>
          </p:nvPr>
        </p:nvSpPr>
        <p:spPr>
          <a:xfrm>
            <a:off x="1676291" y="5129808"/>
            <a:ext cx="21029831" cy="6908592"/>
          </a:xfrm>
          <a:prstGeom prst="rect">
            <a:avLst/>
          </a:prstGeom>
        </p:spPr>
        <p:txBody>
          <a:bodyPr vert="horz" lIns="91440" tIns="45720" rIns="91440" bIns="45720" rtlCol="0" anchor="t">
            <a:noAutofit/>
          </a:bodyPr>
          <a:lstStyle/>
          <a:p>
            <a:pPr lvl="0"/>
            <a:r>
              <a:rPr lang="en-GB" noProof="0"/>
              <a:t>Put the body text here</a:t>
            </a:r>
          </a:p>
          <a:p>
            <a:pPr lvl="1"/>
            <a:r>
              <a:rPr lang="en-GB" noProof="0"/>
              <a:t>Bullet list</a:t>
            </a:r>
          </a:p>
        </p:txBody>
      </p:sp>
      <p:sp>
        <p:nvSpPr>
          <p:cNvPr id="7" name="Title Placeholder 6">
            <a:extLst>
              <a:ext uri="{FF2B5EF4-FFF2-40B4-BE49-F238E27FC236}">
                <a16:creationId xmlns:a16="http://schemas.microsoft.com/office/drawing/2014/main" id="{98BFA95D-7754-EC48-8FDA-5BF403130B73}"/>
              </a:ext>
            </a:extLst>
          </p:cNvPr>
          <p:cNvSpPr>
            <a:spLocks noGrp="1"/>
          </p:cNvSpPr>
          <p:nvPr>
            <p:ph type="title"/>
          </p:nvPr>
        </p:nvSpPr>
        <p:spPr>
          <a:xfrm>
            <a:off x="1676293" y="1677600"/>
            <a:ext cx="21033007" cy="3011660"/>
          </a:xfrm>
          <a:prstGeom prst="rect">
            <a:avLst/>
          </a:prstGeom>
        </p:spPr>
        <p:txBody>
          <a:bodyPr vert="horz" lIns="91440" tIns="45720" rIns="91440" bIns="45720" rtlCol="0" anchor="t">
            <a:noAutofit/>
          </a:bodyPr>
          <a:lstStyle/>
          <a:p>
            <a:r>
              <a:rPr lang="en-GB" noProof="0"/>
              <a:t>Put the headline here</a:t>
            </a:r>
          </a:p>
        </p:txBody>
      </p:sp>
      <p:sp>
        <p:nvSpPr>
          <p:cNvPr id="8" name="Text Placeholder 3">
            <a:extLst>
              <a:ext uri="{FF2B5EF4-FFF2-40B4-BE49-F238E27FC236}">
                <a16:creationId xmlns:a16="http://schemas.microsoft.com/office/drawing/2014/main" id="{1A4157D2-ADF3-D54C-A50B-CB0D5F86760F}"/>
              </a:ext>
            </a:extLst>
          </p:cNvPr>
          <p:cNvSpPr txBox="1">
            <a:spLocks/>
          </p:cNvSpPr>
          <p:nvPr userDrawn="1"/>
        </p:nvSpPr>
        <p:spPr>
          <a:xfrm rot="5400000">
            <a:off x="21412413" y="2735272"/>
            <a:ext cx="5400000" cy="540001"/>
          </a:xfrm>
          <a:prstGeom prst="rect">
            <a:avLst/>
          </a:prstGeom>
        </p:spPr>
        <p:txBody>
          <a:bodyPr anchor="ctr"/>
          <a:lstStyle>
            <a:lvl1pPr marL="0" indent="0" algn="l" defTabSz="914377" rtl="0" eaLnBrk="1" latinLnBrk="0" hangingPunct="1">
              <a:lnSpc>
                <a:spcPct val="100000"/>
              </a:lnSpc>
              <a:spcBef>
                <a:spcPts val="1000"/>
              </a:spcBef>
              <a:buFont typeface="Arial" panose="020B0604020202020204" pitchFamily="34" charset="0"/>
              <a:buNone/>
              <a:defRPr sz="1000" kern="1200">
                <a:solidFill>
                  <a:schemeClr val="tx1">
                    <a:lumMod val="50000"/>
                    <a:lumOff val="50000"/>
                  </a:schemeClr>
                </a:solidFill>
                <a:latin typeface="Noto IKEA Latin" panose="020B0502040504020204" pitchFamily="34" charset="0"/>
                <a:ea typeface="+mn-ea"/>
                <a:cs typeface="+mn-cs"/>
              </a:defRPr>
            </a:lvl1pPr>
            <a:lvl2pPr marL="0" indent="-342900" algn="l" defTabSz="914377" rtl="0" eaLnBrk="1" latinLnBrk="0" hangingPunct="1">
              <a:lnSpc>
                <a:spcPct val="100000"/>
              </a:lnSpc>
              <a:spcBef>
                <a:spcPts val="1000"/>
              </a:spcBef>
              <a:buFont typeface="Arial" panose="020B0604020202020204" pitchFamily="34" charset="0"/>
              <a:buChar char="•"/>
              <a:defRPr sz="2400" kern="1200" spc="0">
                <a:solidFill>
                  <a:schemeClr val="tx1"/>
                </a:solidFill>
                <a:latin typeface="Noto IKEA Latin" panose="020B0502040504020204" pitchFamily="34" charset="0"/>
                <a:ea typeface="+mn-ea"/>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800" i="0" kern="1200">
                <a:solidFill>
                  <a:schemeClr val="tx1"/>
                </a:solidFill>
                <a:latin typeface="Noto IKEA Latin" panose="020B0502040504020204" pitchFamily="34" charset="0"/>
                <a:ea typeface="+mn-ea"/>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400" kern="1200">
                <a:solidFill>
                  <a:schemeClr val="tx1"/>
                </a:solidFill>
                <a:latin typeface="Noto IKEA Latin" panose="020B0502040504020204" pitchFamily="34" charset="0"/>
                <a:ea typeface="+mn-ea"/>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000" kern="1200">
                <a:solidFill>
                  <a:schemeClr val="tx1"/>
                </a:solidFill>
                <a:latin typeface="Noto IKEA Latin" panose="020B0502040504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chemeClr val="tx1">
                    <a:lumMod val="65000"/>
                    <a:lumOff val="35000"/>
                  </a:schemeClr>
                </a:solidFill>
              </a:rPr>
              <a:t>© Inter IKEA Systems B.V. </a:t>
            </a:r>
            <a:fld id="{A223BBD4-A7A9-AF46-B8EF-A4920416D8B0}" type="datetimeyyyy">
              <a:rPr lang="en-US" sz="1600" smtClean="0">
                <a:solidFill>
                  <a:schemeClr val="tx1">
                    <a:lumMod val="65000"/>
                    <a:lumOff val="35000"/>
                  </a:schemeClr>
                </a:solidFill>
              </a:rPr>
              <a:t>2025</a:t>
            </a:fld>
            <a:endParaRPr lang="en-GB" sz="1600">
              <a:solidFill>
                <a:schemeClr val="tx1">
                  <a:lumMod val="65000"/>
                  <a:lumOff val="35000"/>
                </a:schemeClr>
              </a:solidFill>
            </a:endParaRPr>
          </a:p>
        </p:txBody>
      </p:sp>
      <p:sp>
        <p:nvSpPr>
          <p:cNvPr id="5" name="TextBox 4">
            <a:extLst>
              <a:ext uri="{FF2B5EF4-FFF2-40B4-BE49-F238E27FC236}">
                <a16:creationId xmlns:a16="http://schemas.microsoft.com/office/drawing/2014/main" id="{070AD071-164B-344E-96A0-3FC8C726BF23}"/>
              </a:ext>
            </a:extLst>
          </p:cNvPr>
          <p:cNvSpPr txBox="1"/>
          <p:nvPr userDrawn="1">
            <p:extLst>
              <p:ext uri="{1162E1C5-73C7-4A58-AE30-91384D911F3F}">
                <p184:classification xmlns:p184="http://schemas.microsoft.com/office/powerpoint/2018/4/main" val="ftr"/>
              </p:ext>
            </p:extLst>
          </p:nvPr>
        </p:nvSpPr>
        <p:spPr>
          <a:xfrm>
            <a:off x="11632443" y="13338721"/>
            <a:ext cx="803224" cy="246221"/>
          </a:xfrm>
          <a:prstGeom prst="rect">
            <a:avLst/>
          </a:prstGeom>
        </p:spPr>
        <p:txBody>
          <a:bodyPr horzOverflow="overflow" lIns="0" tIns="0" rIns="0" bIns="0">
            <a:spAutoFit/>
          </a:bodyPr>
          <a:lstStyle/>
          <a:p>
            <a:pPr algn="ctr"/>
            <a:r>
              <a:rPr lang="en-NL" sz="1600">
                <a:solidFill>
                  <a:srgbClr val="5A5A5A"/>
                </a:solidFill>
                <a:latin typeface="Noto IKEA Latin" panose="020B0502040504020204" pitchFamily="34" charset="0"/>
              </a:rPr>
              <a:t>Internal</a:t>
            </a:r>
          </a:p>
        </p:txBody>
      </p:sp>
      <p:sp>
        <p:nvSpPr>
          <p:cNvPr id="2" name="Footer Placeholder 1">
            <a:extLst>
              <a:ext uri="{FF2B5EF4-FFF2-40B4-BE49-F238E27FC236}">
                <a16:creationId xmlns:a16="http://schemas.microsoft.com/office/drawing/2014/main" id="{D1826FC7-2513-0447-A9A7-4C6A2FBE72EF}"/>
              </a:ext>
            </a:extLst>
          </p:cNvPr>
          <p:cNvSpPr>
            <a:spLocks noGrp="1"/>
          </p:cNvSpPr>
          <p:nvPr>
            <p:ph type="ftr" sz="quarter" idx="3"/>
          </p:nvPr>
        </p:nvSpPr>
        <p:spPr>
          <a:xfrm>
            <a:off x="1677601" y="12690000"/>
            <a:ext cx="8228012" cy="540000"/>
          </a:xfrm>
          <a:prstGeom prst="rect">
            <a:avLst/>
          </a:prstGeom>
        </p:spPr>
        <p:txBody>
          <a:bodyPr vert="horz" lIns="91440" tIns="45720" rIns="91440" bIns="45720" rtlCol="0" anchor="t"/>
          <a:lstStyle>
            <a:lvl1pPr algn="l">
              <a:defRPr sz="1600">
                <a:solidFill>
                  <a:schemeClr val="tx1">
                    <a:lumMod val="65000"/>
                    <a:lumOff val="35000"/>
                  </a:schemeClr>
                </a:solidFill>
              </a:defRPr>
            </a:lvl1pPr>
          </a:lstStyle>
          <a:p>
            <a:endParaRPr lang="en-NL"/>
          </a:p>
        </p:txBody>
      </p:sp>
    </p:spTree>
    <p:extLst>
      <p:ext uri="{BB962C8B-B14F-4D97-AF65-F5344CB8AC3E}">
        <p14:creationId xmlns:p14="http://schemas.microsoft.com/office/powerpoint/2010/main" val="2830863172"/>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 id="2147483947" r:id="rId22"/>
    <p:sldLayoutId id="2147483948" r:id="rId23"/>
    <p:sldLayoutId id="2147483949" r:id="rId24"/>
    <p:sldLayoutId id="2147483950" r:id="rId25"/>
    <p:sldLayoutId id="2147483951" r:id="rId26"/>
    <p:sldLayoutId id="2147483952" r:id="rId27"/>
    <p:sldLayoutId id="2147483953" r:id="rId28"/>
    <p:sldLayoutId id="2147483954" r:id="rId29"/>
    <p:sldLayoutId id="2147483955" r:id="rId30"/>
    <p:sldLayoutId id="2147483956" r:id="rId31"/>
    <p:sldLayoutId id="2147483957" r:id="rId32"/>
    <p:sldLayoutId id="2147483958" r:id="rId33"/>
    <p:sldLayoutId id="2147483959" r:id="rId34"/>
    <p:sldLayoutId id="2147483960" r:id="rId35"/>
    <p:sldLayoutId id="2147483961" r:id="rId36"/>
    <p:sldLayoutId id="2147483962" r:id="rId37"/>
    <p:sldLayoutId id="2147483963" r:id="rId38"/>
    <p:sldLayoutId id="2147483964" r:id="rId39"/>
    <p:sldLayoutId id="2147483965" r:id="rId40"/>
    <p:sldLayoutId id="2147483966" r:id="rId41"/>
    <p:sldLayoutId id="2147483967" r:id="rId42"/>
    <p:sldLayoutId id="2147483968" r:id="rId43"/>
    <p:sldLayoutId id="2147483969" r:id="rId44"/>
    <p:sldLayoutId id="2147483970" r:id="rId45"/>
    <p:sldLayoutId id="2147483971" r:id="rId46"/>
    <p:sldLayoutId id="2147483972" r:id="rId47"/>
    <p:sldLayoutId id="2147483973" r:id="rId48"/>
    <p:sldLayoutId id="2147483974" r:id="rId49"/>
    <p:sldLayoutId id="2147483975" r:id="rId50"/>
    <p:sldLayoutId id="2147483976" r:id="rId51"/>
    <p:sldLayoutId id="2147483977" r:id="rId52"/>
    <p:sldLayoutId id="2147483978" r:id="rId53"/>
    <p:sldLayoutId id="2147483979" r:id="rId54"/>
    <p:sldLayoutId id="2147483980" r:id="rId55"/>
    <p:sldLayoutId id="2147483981" r:id="rId56"/>
    <p:sldLayoutId id="2147483982" r:id="rId57"/>
    <p:sldLayoutId id="2147483983" r:id="rId58"/>
    <p:sldLayoutId id="2147483984" r:id="rId59"/>
    <p:sldLayoutId id="2147483985" r:id="rId60"/>
    <p:sldLayoutId id="2147483986" r:id="rId61"/>
    <p:sldLayoutId id="2147483987" r:id="rId62"/>
    <p:sldLayoutId id="2147483988" r:id="rId63"/>
    <p:sldLayoutId id="2147483989" r:id="rId64"/>
    <p:sldLayoutId id="2147483990" r:id="rId65"/>
    <p:sldLayoutId id="2147483991" r:id="rId66"/>
    <p:sldLayoutId id="2147483992" r:id="rId67"/>
    <p:sldLayoutId id="2147483993" r:id="rId68"/>
    <p:sldLayoutId id="2147483994" r:id="rId69"/>
    <p:sldLayoutId id="2147483996" r:id="rId70"/>
    <p:sldLayoutId id="2147484283" r:id="rId71"/>
    <p:sldLayoutId id="2147484284" r:id="rId72"/>
    <p:sldLayoutId id="2147484286" r:id="rId73"/>
    <p:sldLayoutId id="2147484287" r:id="rId74"/>
    <p:sldLayoutId id="2147484288" r:id="rId75"/>
    <p:sldLayoutId id="2147484289" r:id="rId76"/>
    <p:sldLayoutId id="2147484291" r:id="rId77"/>
    <p:sldLayoutId id="2147484292" r:id="rId78"/>
    <p:sldLayoutId id="2147484294" r:id="rId79"/>
    <p:sldLayoutId id="2147484295" r:id="rId80"/>
    <p:sldLayoutId id="2147484296" r:id="rId81"/>
    <p:sldLayoutId id="2147484297" r:id="rId82"/>
    <p:sldLayoutId id="2147484298" r:id="rId83"/>
    <p:sldLayoutId id="2147484301" r:id="rId84"/>
    <p:sldLayoutId id="2147484303" r:id="rId85"/>
    <p:sldLayoutId id="2147484304" r:id="rId86"/>
    <p:sldLayoutId id="2147484305" r:id="rId87"/>
    <p:sldLayoutId id="2147484306" r:id="rId88"/>
    <p:sldLayoutId id="2147484309" r:id="rId89"/>
    <p:sldLayoutId id="2147484310" r:id="rId90"/>
    <p:sldLayoutId id="2147484312" r:id="rId91"/>
    <p:sldLayoutId id="2147484313" r:id="rId92"/>
    <p:sldLayoutId id="2147484314" r:id="rId93"/>
    <p:sldLayoutId id="2147484315" r:id="rId94"/>
    <p:sldLayoutId id="2147484316" r:id="rId95"/>
    <p:sldLayoutId id="2147484317" r:id="rId96"/>
    <p:sldLayoutId id="2147484323" r:id="rId97"/>
    <p:sldLayoutId id="2147484324" r:id="rId98"/>
    <p:sldLayoutId id="2147484325" r:id="rId99"/>
    <p:sldLayoutId id="2147484326" r:id="rId100"/>
    <p:sldLayoutId id="2147484328" r:id="rId101"/>
    <p:sldLayoutId id="2147484329" r:id="rId102"/>
    <p:sldLayoutId id="2147484330" r:id="rId103"/>
    <p:sldLayoutId id="2147484331" r:id="rId104"/>
    <p:sldLayoutId id="2147484332" r:id="rId105"/>
    <p:sldLayoutId id="2147484333" r:id="rId106"/>
    <p:sldLayoutId id="2147484334" r:id="rId107"/>
    <p:sldLayoutId id="2147484337" r:id="rId108"/>
    <p:sldLayoutId id="2147484339" r:id="rId109"/>
    <p:sldLayoutId id="2147484340" r:id="rId110"/>
    <p:sldLayoutId id="2147484345" r:id="rId111"/>
    <p:sldLayoutId id="2147484346" r:id="rId112"/>
    <p:sldLayoutId id="2147484347" r:id="rId113"/>
    <p:sldLayoutId id="2147484349" r:id="rId114"/>
    <p:sldLayoutId id="2147484352" r:id="rId115"/>
  </p:sldLayoutIdLst>
  <p:hf sldNum="0" hdr="0" dt="0"/>
  <p:txStyles>
    <p:titleStyle>
      <a:lvl1pPr algn="l" defTabSz="1828573" rtl="0" eaLnBrk="1" latinLnBrk="0" hangingPunct="1">
        <a:lnSpc>
          <a:spcPct val="100000"/>
        </a:lnSpc>
        <a:spcBef>
          <a:spcPct val="0"/>
        </a:spcBef>
        <a:buNone/>
        <a:defRPr sz="8000" b="1" kern="1200" spc="-200" baseline="0">
          <a:solidFill>
            <a:schemeClr val="tx1"/>
          </a:solidFill>
          <a:latin typeface="Noto IKEA Latin" panose="020B0502040504020204" pitchFamily="34" charset="0"/>
          <a:ea typeface="+mj-ea"/>
          <a:cs typeface="+mj-cs"/>
        </a:defRPr>
      </a:lvl1pPr>
    </p:titleStyle>
    <p:bodyStyle>
      <a:lvl1pPr marL="0" indent="0" algn="l" defTabSz="1828573" rtl="0" eaLnBrk="1" latinLnBrk="0" hangingPunct="1">
        <a:lnSpc>
          <a:spcPct val="100000"/>
        </a:lnSpc>
        <a:spcBef>
          <a:spcPts val="2000"/>
        </a:spcBef>
        <a:buFont typeface="Arial" panose="020B0604020202020204" pitchFamily="34" charset="0"/>
        <a:buNone/>
        <a:defRPr sz="3200" kern="1200">
          <a:solidFill>
            <a:schemeClr val="tx1"/>
          </a:solidFill>
          <a:latin typeface="Noto IKEA Latin" panose="020B0502040504020204" pitchFamily="34" charset="0"/>
          <a:ea typeface="+mn-ea"/>
          <a:cs typeface="+mn-cs"/>
        </a:defRPr>
      </a:lvl1pPr>
      <a:lvl2pPr marL="0" indent="-685732" algn="l" defTabSz="1828573" rtl="0" eaLnBrk="1" latinLnBrk="0" hangingPunct="1">
        <a:lnSpc>
          <a:spcPct val="100000"/>
        </a:lnSpc>
        <a:spcBef>
          <a:spcPts val="2000"/>
        </a:spcBef>
        <a:buFont typeface="Arial" panose="020B0604020202020204" pitchFamily="34" charset="0"/>
        <a:buChar char="•"/>
        <a:defRPr sz="3200" kern="1200" spc="0">
          <a:solidFill>
            <a:schemeClr val="tx1"/>
          </a:solidFill>
          <a:latin typeface="Noto IKEA Latin" panose="020B0502040504020204" pitchFamily="34" charset="0"/>
          <a:ea typeface="+mn-ea"/>
          <a:cs typeface="+mn-cs"/>
        </a:defRPr>
      </a:lvl2pPr>
      <a:lvl3pPr marL="2285714" indent="-457143" algn="l" defTabSz="1828573" rtl="0" eaLnBrk="1" latinLnBrk="0" hangingPunct="1">
        <a:lnSpc>
          <a:spcPct val="100000"/>
        </a:lnSpc>
        <a:spcBef>
          <a:spcPts val="1000"/>
        </a:spcBef>
        <a:buFont typeface="Arial" panose="020B0604020202020204" pitchFamily="34" charset="0"/>
        <a:buChar char="•"/>
        <a:defRPr sz="3600" i="0" kern="1200">
          <a:solidFill>
            <a:schemeClr val="tx1"/>
          </a:solidFill>
          <a:latin typeface="Noto IKEA Latin" panose="020B0502040504020204" pitchFamily="34" charset="0"/>
          <a:ea typeface="+mn-ea"/>
          <a:cs typeface="+mn-cs"/>
        </a:defRPr>
      </a:lvl3pPr>
      <a:lvl4pPr marL="3200000" indent="-457143" algn="l" defTabSz="1828573" rtl="0" eaLnBrk="1" latinLnBrk="0" hangingPunct="1">
        <a:lnSpc>
          <a:spcPct val="100000"/>
        </a:lnSpc>
        <a:spcBef>
          <a:spcPts val="1000"/>
        </a:spcBef>
        <a:buFont typeface="Arial" panose="020B0604020202020204" pitchFamily="34" charset="0"/>
        <a:buChar char="•"/>
        <a:defRPr sz="2800" kern="1200">
          <a:solidFill>
            <a:schemeClr val="tx1"/>
          </a:solidFill>
          <a:latin typeface="Noto IKEA Latin" panose="020B0502040504020204" pitchFamily="34" charset="0"/>
          <a:ea typeface="+mn-ea"/>
          <a:cs typeface="+mn-cs"/>
        </a:defRPr>
      </a:lvl4pPr>
      <a:lvl5pPr marL="4114286" indent="-457143" algn="l" defTabSz="1828573" rtl="0" eaLnBrk="1" latinLnBrk="0" hangingPunct="1">
        <a:lnSpc>
          <a:spcPct val="100000"/>
        </a:lnSpc>
        <a:spcBef>
          <a:spcPts val="1000"/>
        </a:spcBef>
        <a:buFont typeface="Arial" panose="020B0604020202020204" pitchFamily="34" charset="0"/>
        <a:buChar char="•"/>
        <a:defRPr sz="2000" kern="1200">
          <a:solidFill>
            <a:schemeClr val="tx1"/>
          </a:solidFill>
          <a:latin typeface="Noto IKEA Latin" panose="020B0502040504020204" pitchFamily="34" charset="0"/>
          <a:ea typeface="+mn-ea"/>
          <a:cs typeface="+mn-cs"/>
        </a:defRPr>
      </a:lvl5pPr>
      <a:lvl6pPr marL="5028573"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2859"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143"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1429"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573" rtl="0" eaLnBrk="1" latinLnBrk="0" hangingPunct="1">
        <a:defRPr sz="3600" kern="1200">
          <a:solidFill>
            <a:schemeClr val="tx1"/>
          </a:solidFill>
          <a:latin typeface="+mn-lt"/>
          <a:ea typeface="+mn-ea"/>
          <a:cs typeface="+mn-cs"/>
        </a:defRPr>
      </a:lvl1pPr>
      <a:lvl2pPr marL="914286" algn="l" defTabSz="1828573" rtl="0" eaLnBrk="1" latinLnBrk="0" hangingPunct="1">
        <a:defRPr sz="3600" kern="1200">
          <a:solidFill>
            <a:schemeClr val="tx1"/>
          </a:solidFill>
          <a:latin typeface="+mn-lt"/>
          <a:ea typeface="+mn-ea"/>
          <a:cs typeface="+mn-cs"/>
        </a:defRPr>
      </a:lvl2pPr>
      <a:lvl3pPr marL="1828573" algn="l" defTabSz="1828573" rtl="0" eaLnBrk="1" latinLnBrk="0" hangingPunct="1">
        <a:defRPr sz="3600" kern="1200">
          <a:solidFill>
            <a:schemeClr val="tx1"/>
          </a:solidFill>
          <a:latin typeface="+mn-lt"/>
          <a:ea typeface="+mn-ea"/>
          <a:cs typeface="+mn-cs"/>
        </a:defRPr>
      </a:lvl3pPr>
      <a:lvl4pPr marL="2742859" algn="l" defTabSz="1828573" rtl="0" eaLnBrk="1" latinLnBrk="0" hangingPunct="1">
        <a:defRPr sz="3600" kern="1200">
          <a:solidFill>
            <a:schemeClr val="tx1"/>
          </a:solidFill>
          <a:latin typeface="+mn-lt"/>
          <a:ea typeface="+mn-ea"/>
          <a:cs typeface="+mn-cs"/>
        </a:defRPr>
      </a:lvl4pPr>
      <a:lvl5pPr marL="3657143" algn="l" defTabSz="1828573" rtl="0" eaLnBrk="1" latinLnBrk="0" hangingPunct="1">
        <a:defRPr sz="3600" kern="1200">
          <a:solidFill>
            <a:schemeClr val="tx1"/>
          </a:solidFill>
          <a:latin typeface="+mn-lt"/>
          <a:ea typeface="+mn-ea"/>
          <a:cs typeface="+mn-cs"/>
        </a:defRPr>
      </a:lvl5pPr>
      <a:lvl6pPr marL="4571429" algn="l" defTabSz="1828573" rtl="0" eaLnBrk="1" latinLnBrk="0" hangingPunct="1">
        <a:defRPr sz="3600" kern="1200">
          <a:solidFill>
            <a:schemeClr val="tx1"/>
          </a:solidFill>
          <a:latin typeface="+mn-lt"/>
          <a:ea typeface="+mn-ea"/>
          <a:cs typeface="+mn-cs"/>
        </a:defRPr>
      </a:lvl6pPr>
      <a:lvl7pPr marL="5485714" algn="l" defTabSz="1828573" rtl="0" eaLnBrk="1" latinLnBrk="0" hangingPunct="1">
        <a:defRPr sz="3600" kern="1200">
          <a:solidFill>
            <a:schemeClr val="tx1"/>
          </a:solidFill>
          <a:latin typeface="+mn-lt"/>
          <a:ea typeface="+mn-ea"/>
          <a:cs typeface="+mn-cs"/>
        </a:defRPr>
      </a:lvl7pPr>
      <a:lvl8pPr marL="6400000" algn="l" defTabSz="1828573" rtl="0" eaLnBrk="1" latinLnBrk="0" hangingPunct="1">
        <a:defRPr sz="3600" kern="1200">
          <a:solidFill>
            <a:schemeClr val="tx1"/>
          </a:solidFill>
          <a:latin typeface="+mn-lt"/>
          <a:ea typeface="+mn-ea"/>
          <a:cs typeface="+mn-cs"/>
        </a:defRPr>
      </a:lvl8pPr>
      <a:lvl9pPr marL="7314286" algn="l" defTabSz="1828573"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0">
          <p15:clr>
            <a:srgbClr val="F26B43"/>
          </p15:clr>
        </p15:guide>
        <p15:guide id="2" pos="1919">
          <p15:clr>
            <a:srgbClr val="F26B43"/>
          </p15:clr>
        </p15:guide>
        <p15:guide id="3" orient="horz" pos="2143">
          <p15:clr>
            <a:srgbClr val="F26B43"/>
          </p15:clr>
        </p15:guide>
        <p15:guide id="4" pos="3824">
          <p15:clr>
            <a:srgbClr val="F26B43"/>
          </p15:clr>
        </p15:guide>
        <p15:guide id="5" pos="11535">
          <p15:clr>
            <a:srgbClr val="F26B43"/>
          </p15:clr>
        </p15:guide>
        <p15:guide id="6" orient="horz" pos="7586">
          <p15:clr>
            <a:srgbClr val="F26B43"/>
          </p15:clr>
        </p15:guide>
        <p15:guide id="7" orient="horz" pos="3231">
          <p15:clr>
            <a:srgbClr val="F26B43"/>
          </p15:clr>
        </p15:guide>
        <p15:guide id="8" orient="horz" pos="1054">
          <p15:clr>
            <a:srgbClr val="F26B43"/>
          </p15:clr>
        </p15:guide>
        <p15:guide id="9" pos="5774">
          <p15:clr>
            <a:srgbClr val="F26B43"/>
          </p15:clr>
        </p15:guide>
        <p15:guide id="10" pos="13440">
          <p15:clr>
            <a:srgbClr val="F26B43"/>
          </p15:clr>
        </p15:guide>
        <p15:guide id="11" pos="9585">
          <p15:clr>
            <a:srgbClr val="F26B43"/>
          </p15:clr>
        </p15:guide>
        <p15:guide id="12" pos="7679">
          <p15:clr>
            <a:srgbClr val="F26B43"/>
          </p15:clr>
        </p15:guide>
        <p15:guide id="13" orient="horz" pos="5409">
          <p15:clr>
            <a:srgbClr val="F26B43"/>
          </p15:clr>
        </p15:guide>
        <p15:guide id="14" orient="horz" pos="649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C5E5B2-D7B7-0743-B449-C3B8D5EF3BBC}"/>
              </a:ext>
            </a:extLst>
          </p:cNvPr>
          <p:cNvSpPr>
            <a:spLocks noGrp="1"/>
          </p:cNvSpPr>
          <p:nvPr>
            <p:ph type="body" idx="1"/>
          </p:nvPr>
        </p:nvSpPr>
        <p:spPr>
          <a:xfrm>
            <a:off x="1676291" y="5129808"/>
            <a:ext cx="21029831" cy="6908592"/>
          </a:xfrm>
          <a:prstGeom prst="rect">
            <a:avLst/>
          </a:prstGeom>
        </p:spPr>
        <p:txBody>
          <a:bodyPr vert="horz" lIns="91440" tIns="45720" rIns="91440" bIns="45720" rtlCol="0" anchor="t">
            <a:noAutofit/>
          </a:bodyPr>
          <a:lstStyle/>
          <a:p>
            <a:pPr lvl="0"/>
            <a:r>
              <a:rPr lang="en-GB" noProof="0"/>
              <a:t>Put the body text here</a:t>
            </a:r>
          </a:p>
          <a:p>
            <a:pPr lvl="1"/>
            <a:r>
              <a:rPr lang="en-GB" noProof="0"/>
              <a:t>Bullet list</a:t>
            </a:r>
          </a:p>
        </p:txBody>
      </p:sp>
      <p:sp>
        <p:nvSpPr>
          <p:cNvPr id="7" name="Title Placeholder 6">
            <a:extLst>
              <a:ext uri="{FF2B5EF4-FFF2-40B4-BE49-F238E27FC236}">
                <a16:creationId xmlns:a16="http://schemas.microsoft.com/office/drawing/2014/main" id="{98BFA95D-7754-EC48-8FDA-5BF403130B73}"/>
              </a:ext>
            </a:extLst>
          </p:cNvPr>
          <p:cNvSpPr>
            <a:spLocks noGrp="1"/>
          </p:cNvSpPr>
          <p:nvPr>
            <p:ph type="title"/>
          </p:nvPr>
        </p:nvSpPr>
        <p:spPr>
          <a:xfrm>
            <a:off x="1676293" y="1677600"/>
            <a:ext cx="21033007" cy="3011660"/>
          </a:xfrm>
          <a:prstGeom prst="rect">
            <a:avLst/>
          </a:prstGeom>
        </p:spPr>
        <p:txBody>
          <a:bodyPr vert="horz" lIns="91440" tIns="45720" rIns="91440" bIns="45720" rtlCol="0" anchor="t">
            <a:noAutofit/>
          </a:bodyPr>
          <a:lstStyle/>
          <a:p>
            <a:r>
              <a:rPr lang="en-GB" noProof="0"/>
              <a:t>Put the headline here</a:t>
            </a:r>
          </a:p>
        </p:txBody>
      </p:sp>
      <p:sp>
        <p:nvSpPr>
          <p:cNvPr id="8" name="Text Placeholder 3">
            <a:extLst>
              <a:ext uri="{FF2B5EF4-FFF2-40B4-BE49-F238E27FC236}">
                <a16:creationId xmlns:a16="http://schemas.microsoft.com/office/drawing/2014/main" id="{1A4157D2-ADF3-D54C-A50B-CB0D5F86760F}"/>
              </a:ext>
            </a:extLst>
          </p:cNvPr>
          <p:cNvSpPr txBox="1">
            <a:spLocks/>
          </p:cNvSpPr>
          <p:nvPr userDrawn="1"/>
        </p:nvSpPr>
        <p:spPr>
          <a:xfrm rot="5400000">
            <a:off x="21412413" y="2735272"/>
            <a:ext cx="5400000" cy="540001"/>
          </a:xfrm>
          <a:prstGeom prst="rect">
            <a:avLst/>
          </a:prstGeom>
        </p:spPr>
        <p:txBody>
          <a:bodyPr anchor="ctr"/>
          <a:lstStyle>
            <a:lvl1pPr marL="0" indent="0" algn="l" defTabSz="914377" rtl="0" eaLnBrk="1" latinLnBrk="0" hangingPunct="1">
              <a:lnSpc>
                <a:spcPct val="100000"/>
              </a:lnSpc>
              <a:spcBef>
                <a:spcPts val="1000"/>
              </a:spcBef>
              <a:buFont typeface="Arial" panose="020B0604020202020204" pitchFamily="34" charset="0"/>
              <a:buNone/>
              <a:defRPr sz="1000" kern="1200">
                <a:solidFill>
                  <a:schemeClr val="tx1">
                    <a:lumMod val="50000"/>
                    <a:lumOff val="50000"/>
                  </a:schemeClr>
                </a:solidFill>
                <a:latin typeface="Noto IKEA Latin" panose="020B0502040504020204" pitchFamily="34" charset="0"/>
                <a:ea typeface="+mn-ea"/>
                <a:cs typeface="+mn-cs"/>
              </a:defRPr>
            </a:lvl1pPr>
            <a:lvl2pPr marL="0" indent="-342900" algn="l" defTabSz="914377" rtl="0" eaLnBrk="1" latinLnBrk="0" hangingPunct="1">
              <a:lnSpc>
                <a:spcPct val="100000"/>
              </a:lnSpc>
              <a:spcBef>
                <a:spcPts val="1000"/>
              </a:spcBef>
              <a:buFont typeface="Arial" panose="020B0604020202020204" pitchFamily="34" charset="0"/>
              <a:buChar char="•"/>
              <a:defRPr sz="2400" kern="1200" spc="0">
                <a:solidFill>
                  <a:schemeClr val="tx1"/>
                </a:solidFill>
                <a:latin typeface="Noto IKEA Latin" panose="020B0502040504020204" pitchFamily="34" charset="0"/>
                <a:ea typeface="+mn-ea"/>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800" i="0" kern="1200">
                <a:solidFill>
                  <a:schemeClr val="tx1"/>
                </a:solidFill>
                <a:latin typeface="Noto IKEA Latin" panose="020B0502040504020204" pitchFamily="34" charset="0"/>
                <a:ea typeface="+mn-ea"/>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400" kern="1200">
                <a:solidFill>
                  <a:schemeClr val="tx1"/>
                </a:solidFill>
                <a:latin typeface="Noto IKEA Latin" panose="020B0502040504020204" pitchFamily="34" charset="0"/>
                <a:ea typeface="+mn-ea"/>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000" kern="1200">
                <a:solidFill>
                  <a:schemeClr val="tx1"/>
                </a:solidFill>
                <a:latin typeface="Noto IKEA Latin" panose="020B0502040504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chemeClr val="tx1">
                    <a:lumMod val="65000"/>
                    <a:lumOff val="35000"/>
                  </a:schemeClr>
                </a:solidFill>
              </a:rPr>
              <a:t>© Inter IKEA Systems B.V. </a:t>
            </a:r>
            <a:fld id="{A223BBD4-A7A9-AF46-B8EF-A4920416D8B0}" type="datetimeyyyy">
              <a:rPr lang="en-US" sz="1600" smtClean="0">
                <a:solidFill>
                  <a:schemeClr val="tx1">
                    <a:lumMod val="65000"/>
                    <a:lumOff val="35000"/>
                  </a:schemeClr>
                </a:solidFill>
              </a:rPr>
              <a:t>2025</a:t>
            </a:fld>
            <a:endParaRPr lang="en-GB" sz="1600">
              <a:solidFill>
                <a:schemeClr val="tx1">
                  <a:lumMod val="65000"/>
                  <a:lumOff val="35000"/>
                </a:schemeClr>
              </a:solidFill>
            </a:endParaRPr>
          </a:p>
        </p:txBody>
      </p:sp>
      <p:sp>
        <p:nvSpPr>
          <p:cNvPr id="5" name="TextBox 4">
            <a:extLst>
              <a:ext uri="{FF2B5EF4-FFF2-40B4-BE49-F238E27FC236}">
                <a16:creationId xmlns:a16="http://schemas.microsoft.com/office/drawing/2014/main" id="{070AD071-164B-344E-96A0-3FC8C726BF23}"/>
              </a:ext>
            </a:extLst>
          </p:cNvPr>
          <p:cNvSpPr txBox="1"/>
          <p:nvPr userDrawn="1">
            <p:extLst>
              <p:ext uri="{1162E1C5-73C7-4A58-AE30-91384D911F3F}">
                <p184:classification xmlns:p184="http://schemas.microsoft.com/office/powerpoint/2018/4/main" val="ftr"/>
              </p:ext>
            </p:extLst>
          </p:nvPr>
        </p:nvSpPr>
        <p:spPr>
          <a:xfrm>
            <a:off x="11632443" y="13338721"/>
            <a:ext cx="803224" cy="246221"/>
          </a:xfrm>
          <a:prstGeom prst="rect">
            <a:avLst/>
          </a:prstGeom>
        </p:spPr>
        <p:txBody>
          <a:bodyPr horzOverflow="overflow" lIns="0" tIns="0" rIns="0" bIns="0">
            <a:spAutoFit/>
          </a:bodyPr>
          <a:lstStyle/>
          <a:p>
            <a:pPr algn="ctr"/>
            <a:r>
              <a:rPr lang="en-NL" sz="1600">
                <a:solidFill>
                  <a:srgbClr val="5A5A5A"/>
                </a:solidFill>
                <a:latin typeface="Noto IKEA Latin" panose="020B0502040504020204" pitchFamily="34" charset="0"/>
              </a:rPr>
              <a:t>Internal</a:t>
            </a:r>
          </a:p>
        </p:txBody>
      </p:sp>
      <p:sp>
        <p:nvSpPr>
          <p:cNvPr id="2" name="Footer Placeholder 1">
            <a:extLst>
              <a:ext uri="{FF2B5EF4-FFF2-40B4-BE49-F238E27FC236}">
                <a16:creationId xmlns:a16="http://schemas.microsoft.com/office/drawing/2014/main" id="{D1826FC7-2513-0447-A9A7-4C6A2FBE72EF}"/>
              </a:ext>
            </a:extLst>
          </p:cNvPr>
          <p:cNvSpPr>
            <a:spLocks noGrp="1"/>
          </p:cNvSpPr>
          <p:nvPr>
            <p:ph type="ftr" sz="quarter" idx="3"/>
          </p:nvPr>
        </p:nvSpPr>
        <p:spPr>
          <a:xfrm>
            <a:off x="1677601" y="12690000"/>
            <a:ext cx="8228012" cy="540000"/>
          </a:xfrm>
          <a:prstGeom prst="rect">
            <a:avLst/>
          </a:prstGeom>
        </p:spPr>
        <p:txBody>
          <a:bodyPr vert="horz" lIns="91440" tIns="45720" rIns="91440" bIns="45720" rtlCol="0" anchor="t"/>
          <a:lstStyle>
            <a:lvl1pPr algn="l">
              <a:defRPr sz="1600">
                <a:solidFill>
                  <a:schemeClr val="tx1">
                    <a:lumMod val="65000"/>
                    <a:lumOff val="35000"/>
                  </a:schemeClr>
                </a:solidFill>
              </a:defRPr>
            </a:lvl1pPr>
          </a:lstStyle>
          <a:p>
            <a:endParaRPr lang="en-NL"/>
          </a:p>
        </p:txBody>
      </p:sp>
    </p:spTree>
    <p:extLst>
      <p:ext uri="{BB962C8B-B14F-4D97-AF65-F5344CB8AC3E}">
        <p14:creationId xmlns:p14="http://schemas.microsoft.com/office/powerpoint/2010/main" val="2876233920"/>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 id="2147484017" r:id="rId15"/>
    <p:sldLayoutId id="2147484018" r:id="rId16"/>
    <p:sldLayoutId id="2147484019" r:id="rId17"/>
    <p:sldLayoutId id="2147484020" r:id="rId18"/>
    <p:sldLayoutId id="2147484021" r:id="rId19"/>
    <p:sldLayoutId id="2147484022" r:id="rId20"/>
    <p:sldLayoutId id="2147484023" r:id="rId21"/>
    <p:sldLayoutId id="2147484024" r:id="rId22"/>
    <p:sldLayoutId id="2147484025" r:id="rId23"/>
    <p:sldLayoutId id="2147484026" r:id="rId24"/>
    <p:sldLayoutId id="2147484027" r:id="rId25"/>
    <p:sldLayoutId id="2147484028" r:id="rId26"/>
    <p:sldLayoutId id="2147484029" r:id="rId27"/>
    <p:sldLayoutId id="2147484030" r:id="rId28"/>
    <p:sldLayoutId id="2147484031" r:id="rId29"/>
    <p:sldLayoutId id="2147484032" r:id="rId30"/>
    <p:sldLayoutId id="2147484033" r:id="rId31"/>
    <p:sldLayoutId id="2147484034" r:id="rId32"/>
    <p:sldLayoutId id="2147484035" r:id="rId33"/>
    <p:sldLayoutId id="2147484036" r:id="rId34"/>
    <p:sldLayoutId id="2147484037" r:id="rId35"/>
    <p:sldLayoutId id="2147484038" r:id="rId36"/>
    <p:sldLayoutId id="2147484039" r:id="rId37"/>
  </p:sldLayoutIdLst>
  <p:hf sldNum="0" hdr="0" dt="0"/>
  <p:txStyles>
    <p:titleStyle>
      <a:lvl1pPr algn="l" defTabSz="1828573" rtl="0" eaLnBrk="1" latinLnBrk="0" hangingPunct="1">
        <a:lnSpc>
          <a:spcPct val="100000"/>
        </a:lnSpc>
        <a:spcBef>
          <a:spcPct val="0"/>
        </a:spcBef>
        <a:buNone/>
        <a:defRPr sz="8000" b="1" kern="1200" spc="-200" baseline="0">
          <a:solidFill>
            <a:schemeClr val="tx1"/>
          </a:solidFill>
          <a:latin typeface="Noto IKEA Latin" panose="020B0502040504020204" pitchFamily="34" charset="0"/>
          <a:ea typeface="+mj-ea"/>
          <a:cs typeface="+mj-cs"/>
        </a:defRPr>
      </a:lvl1pPr>
    </p:titleStyle>
    <p:bodyStyle>
      <a:lvl1pPr marL="0" indent="0" algn="l" defTabSz="1828573" rtl="0" eaLnBrk="1" latinLnBrk="0" hangingPunct="1">
        <a:lnSpc>
          <a:spcPct val="100000"/>
        </a:lnSpc>
        <a:spcBef>
          <a:spcPts val="2000"/>
        </a:spcBef>
        <a:buFont typeface="Arial" panose="020B0604020202020204" pitchFamily="34" charset="0"/>
        <a:buNone/>
        <a:defRPr sz="3200" kern="1200">
          <a:solidFill>
            <a:schemeClr val="tx1"/>
          </a:solidFill>
          <a:latin typeface="Noto IKEA Latin" panose="020B0502040504020204" pitchFamily="34" charset="0"/>
          <a:ea typeface="+mn-ea"/>
          <a:cs typeface="+mn-cs"/>
        </a:defRPr>
      </a:lvl1pPr>
      <a:lvl2pPr marL="0" indent="-685732" algn="l" defTabSz="1828573" rtl="0" eaLnBrk="1" latinLnBrk="0" hangingPunct="1">
        <a:lnSpc>
          <a:spcPct val="100000"/>
        </a:lnSpc>
        <a:spcBef>
          <a:spcPts val="2000"/>
        </a:spcBef>
        <a:buFont typeface="Arial" panose="020B0604020202020204" pitchFamily="34" charset="0"/>
        <a:buChar char="•"/>
        <a:defRPr sz="3200" kern="1200" spc="0">
          <a:solidFill>
            <a:schemeClr val="tx1"/>
          </a:solidFill>
          <a:latin typeface="Noto IKEA Latin" panose="020B0502040504020204" pitchFamily="34" charset="0"/>
          <a:ea typeface="+mn-ea"/>
          <a:cs typeface="+mn-cs"/>
        </a:defRPr>
      </a:lvl2pPr>
      <a:lvl3pPr marL="2285714" indent="-457143" algn="l" defTabSz="1828573" rtl="0" eaLnBrk="1" latinLnBrk="0" hangingPunct="1">
        <a:lnSpc>
          <a:spcPct val="100000"/>
        </a:lnSpc>
        <a:spcBef>
          <a:spcPts val="1000"/>
        </a:spcBef>
        <a:buFont typeface="Arial" panose="020B0604020202020204" pitchFamily="34" charset="0"/>
        <a:buChar char="•"/>
        <a:defRPr sz="3600" i="0" kern="1200">
          <a:solidFill>
            <a:schemeClr val="tx1"/>
          </a:solidFill>
          <a:latin typeface="Noto IKEA Latin" panose="020B0502040504020204" pitchFamily="34" charset="0"/>
          <a:ea typeface="+mn-ea"/>
          <a:cs typeface="+mn-cs"/>
        </a:defRPr>
      </a:lvl3pPr>
      <a:lvl4pPr marL="3200000" indent="-457143" algn="l" defTabSz="1828573" rtl="0" eaLnBrk="1" latinLnBrk="0" hangingPunct="1">
        <a:lnSpc>
          <a:spcPct val="100000"/>
        </a:lnSpc>
        <a:spcBef>
          <a:spcPts val="1000"/>
        </a:spcBef>
        <a:buFont typeface="Arial" panose="020B0604020202020204" pitchFamily="34" charset="0"/>
        <a:buChar char="•"/>
        <a:defRPr sz="2800" kern="1200">
          <a:solidFill>
            <a:schemeClr val="tx1"/>
          </a:solidFill>
          <a:latin typeface="Noto IKEA Latin" panose="020B0502040504020204" pitchFamily="34" charset="0"/>
          <a:ea typeface="+mn-ea"/>
          <a:cs typeface="+mn-cs"/>
        </a:defRPr>
      </a:lvl4pPr>
      <a:lvl5pPr marL="4114286" indent="-457143" algn="l" defTabSz="1828573" rtl="0" eaLnBrk="1" latinLnBrk="0" hangingPunct="1">
        <a:lnSpc>
          <a:spcPct val="100000"/>
        </a:lnSpc>
        <a:spcBef>
          <a:spcPts val="1000"/>
        </a:spcBef>
        <a:buFont typeface="Arial" panose="020B0604020202020204" pitchFamily="34" charset="0"/>
        <a:buChar char="•"/>
        <a:defRPr sz="2000" kern="1200">
          <a:solidFill>
            <a:schemeClr val="tx1"/>
          </a:solidFill>
          <a:latin typeface="Noto IKEA Latin" panose="020B0502040504020204" pitchFamily="34" charset="0"/>
          <a:ea typeface="+mn-ea"/>
          <a:cs typeface="+mn-cs"/>
        </a:defRPr>
      </a:lvl5pPr>
      <a:lvl6pPr marL="5028573"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2859"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143"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1429"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573" rtl="0" eaLnBrk="1" latinLnBrk="0" hangingPunct="1">
        <a:defRPr sz="3600" kern="1200">
          <a:solidFill>
            <a:schemeClr val="tx1"/>
          </a:solidFill>
          <a:latin typeface="+mn-lt"/>
          <a:ea typeface="+mn-ea"/>
          <a:cs typeface="+mn-cs"/>
        </a:defRPr>
      </a:lvl1pPr>
      <a:lvl2pPr marL="914286" algn="l" defTabSz="1828573" rtl="0" eaLnBrk="1" latinLnBrk="0" hangingPunct="1">
        <a:defRPr sz="3600" kern="1200">
          <a:solidFill>
            <a:schemeClr val="tx1"/>
          </a:solidFill>
          <a:latin typeface="+mn-lt"/>
          <a:ea typeface="+mn-ea"/>
          <a:cs typeface="+mn-cs"/>
        </a:defRPr>
      </a:lvl2pPr>
      <a:lvl3pPr marL="1828573" algn="l" defTabSz="1828573" rtl="0" eaLnBrk="1" latinLnBrk="0" hangingPunct="1">
        <a:defRPr sz="3600" kern="1200">
          <a:solidFill>
            <a:schemeClr val="tx1"/>
          </a:solidFill>
          <a:latin typeface="+mn-lt"/>
          <a:ea typeface="+mn-ea"/>
          <a:cs typeface="+mn-cs"/>
        </a:defRPr>
      </a:lvl3pPr>
      <a:lvl4pPr marL="2742859" algn="l" defTabSz="1828573" rtl="0" eaLnBrk="1" latinLnBrk="0" hangingPunct="1">
        <a:defRPr sz="3600" kern="1200">
          <a:solidFill>
            <a:schemeClr val="tx1"/>
          </a:solidFill>
          <a:latin typeface="+mn-lt"/>
          <a:ea typeface="+mn-ea"/>
          <a:cs typeface="+mn-cs"/>
        </a:defRPr>
      </a:lvl4pPr>
      <a:lvl5pPr marL="3657143" algn="l" defTabSz="1828573" rtl="0" eaLnBrk="1" latinLnBrk="0" hangingPunct="1">
        <a:defRPr sz="3600" kern="1200">
          <a:solidFill>
            <a:schemeClr val="tx1"/>
          </a:solidFill>
          <a:latin typeface="+mn-lt"/>
          <a:ea typeface="+mn-ea"/>
          <a:cs typeface="+mn-cs"/>
        </a:defRPr>
      </a:lvl5pPr>
      <a:lvl6pPr marL="4571429" algn="l" defTabSz="1828573" rtl="0" eaLnBrk="1" latinLnBrk="0" hangingPunct="1">
        <a:defRPr sz="3600" kern="1200">
          <a:solidFill>
            <a:schemeClr val="tx1"/>
          </a:solidFill>
          <a:latin typeface="+mn-lt"/>
          <a:ea typeface="+mn-ea"/>
          <a:cs typeface="+mn-cs"/>
        </a:defRPr>
      </a:lvl6pPr>
      <a:lvl7pPr marL="5485714" algn="l" defTabSz="1828573" rtl="0" eaLnBrk="1" latinLnBrk="0" hangingPunct="1">
        <a:defRPr sz="3600" kern="1200">
          <a:solidFill>
            <a:schemeClr val="tx1"/>
          </a:solidFill>
          <a:latin typeface="+mn-lt"/>
          <a:ea typeface="+mn-ea"/>
          <a:cs typeface="+mn-cs"/>
        </a:defRPr>
      </a:lvl7pPr>
      <a:lvl8pPr marL="6400000" algn="l" defTabSz="1828573" rtl="0" eaLnBrk="1" latinLnBrk="0" hangingPunct="1">
        <a:defRPr sz="3600" kern="1200">
          <a:solidFill>
            <a:schemeClr val="tx1"/>
          </a:solidFill>
          <a:latin typeface="+mn-lt"/>
          <a:ea typeface="+mn-ea"/>
          <a:cs typeface="+mn-cs"/>
        </a:defRPr>
      </a:lvl8pPr>
      <a:lvl9pPr marL="7314286" algn="l" defTabSz="1828573"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0">
          <p15:clr>
            <a:srgbClr val="F26B43"/>
          </p15:clr>
        </p15:guide>
        <p15:guide id="2" pos="1919">
          <p15:clr>
            <a:srgbClr val="F26B43"/>
          </p15:clr>
        </p15:guide>
        <p15:guide id="3" orient="horz" pos="2143">
          <p15:clr>
            <a:srgbClr val="F26B43"/>
          </p15:clr>
        </p15:guide>
        <p15:guide id="4" pos="3824">
          <p15:clr>
            <a:srgbClr val="F26B43"/>
          </p15:clr>
        </p15:guide>
        <p15:guide id="5" pos="11535">
          <p15:clr>
            <a:srgbClr val="F26B43"/>
          </p15:clr>
        </p15:guide>
        <p15:guide id="6" orient="horz" pos="7586">
          <p15:clr>
            <a:srgbClr val="F26B43"/>
          </p15:clr>
        </p15:guide>
        <p15:guide id="7" orient="horz" pos="3231">
          <p15:clr>
            <a:srgbClr val="F26B43"/>
          </p15:clr>
        </p15:guide>
        <p15:guide id="8" orient="horz" pos="1054">
          <p15:clr>
            <a:srgbClr val="F26B43"/>
          </p15:clr>
        </p15:guide>
        <p15:guide id="9" pos="5774">
          <p15:clr>
            <a:srgbClr val="F26B43"/>
          </p15:clr>
        </p15:guide>
        <p15:guide id="10" pos="13440">
          <p15:clr>
            <a:srgbClr val="F26B43"/>
          </p15:clr>
        </p15:guide>
        <p15:guide id="11" pos="9585">
          <p15:clr>
            <a:srgbClr val="F26B43"/>
          </p15:clr>
        </p15:guide>
        <p15:guide id="12" pos="7679">
          <p15:clr>
            <a:srgbClr val="F26B43"/>
          </p15:clr>
        </p15:guide>
        <p15:guide id="13" orient="horz" pos="5409">
          <p15:clr>
            <a:srgbClr val="F26B43"/>
          </p15:clr>
        </p15:guide>
        <p15:guide id="14" orient="horz" pos="649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C5E5B2-D7B7-0743-B449-C3B8D5EF3BBC}"/>
              </a:ext>
            </a:extLst>
          </p:cNvPr>
          <p:cNvSpPr>
            <a:spLocks noGrp="1"/>
          </p:cNvSpPr>
          <p:nvPr>
            <p:ph type="body" idx="1"/>
          </p:nvPr>
        </p:nvSpPr>
        <p:spPr>
          <a:xfrm>
            <a:off x="1676291" y="5129808"/>
            <a:ext cx="21029831" cy="6908592"/>
          </a:xfrm>
          <a:prstGeom prst="rect">
            <a:avLst/>
          </a:prstGeom>
        </p:spPr>
        <p:txBody>
          <a:bodyPr vert="horz" lIns="91440" tIns="45720" rIns="91440" bIns="45720" rtlCol="0" anchor="t">
            <a:noAutofit/>
          </a:bodyPr>
          <a:lstStyle/>
          <a:p>
            <a:pPr lvl="0"/>
            <a:r>
              <a:rPr lang="en-GB" noProof="0"/>
              <a:t>Put the body text here</a:t>
            </a:r>
          </a:p>
          <a:p>
            <a:pPr lvl="1"/>
            <a:r>
              <a:rPr lang="en-GB" noProof="0"/>
              <a:t>Bullet list</a:t>
            </a:r>
          </a:p>
        </p:txBody>
      </p:sp>
      <p:sp>
        <p:nvSpPr>
          <p:cNvPr id="7" name="Title Placeholder 6">
            <a:extLst>
              <a:ext uri="{FF2B5EF4-FFF2-40B4-BE49-F238E27FC236}">
                <a16:creationId xmlns:a16="http://schemas.microsoft.com/office/drawing/2014/main" id="{98BFA95D-7754-EC48-8FDA-5BF403130B73}"/>
              </a:ext>
            </a:extLst>
          </p:cNvPr>
          <p:cNvSpPr>
            <a:spLocks noGrp="1"/>
          </p:cNvSpPr>
          <p:nvPr>
            <p:ph type="title"/>
          </p:nvPr>
        </p:nvSpPr>
        <p:spPr>
          <a:xfrm>
            <a:off x="1676293" y="1677600"/>
            <a:ext cx="21033007" cy="3011659"/>
          </a:xfrm>
          <a:prstGeom prst="rect">
            <a:avLst/>
          </a:prstGeom>
        </p:spPr>
        <p:txBody>
          <a:bodyPr vert="horz" lIns="91440" tIns="45720" rIns="91440" bIns="45720" rtlCol="0" anchor="t">
            <a:noAutofit/>
          </a:bodyPr>
          <a:lstStyle/>
          <a:p>
            <a:r>
              <a:rPr lang="en-GB" noProof="0"/>
              <a:t>Put the headline here</a:t>
            </a:r>
          </a:p>
        </p:txBody>
      </p:sp>
      <p:sp>
        <p:nvSpPr>
          <p:cNvPr id="8" name="Text Placeholder 3">
            <a:extLst>
              <a:ext uri="{FF2B5EF4-FFF2-40B4-BE49-F238E27FC236}">
                <a16:creationId xmlns:a16="http://schemas.microsoft.com/office/drawing/2014/main" id="{1A4157D2-ADF3-D54C-A50B-CB0D5F86760F}"/>
              </a:ext>
            </a:extLst>
          </p:cNvPr>
          <p:cNvSpPr txBox="1">
            <a:spLocks/>
          </p:cNvSpPr>
          <p:nvPr userDrawn="1"/>
        </p:nvSpPr>
        <p:spPr>
          <a:xfrm rot="5400000">
            <a:off x="21412413" y="2735272"/>
            <a:ext cx="5400000" cy="540000"/>
          </a:xfrm>
          <a:prstGeom prst="rect">
            <a:avLst/>
          </a:prstGeom>
        </p:spPr>
        <p:txBody>
          <a:bodyPr anchor="ctr"/>
          <a:lstStyle>
            <a:lvl1pPr marL="0" indent="0" algn="l" defTabSz="914377" rtl="0" eaLnBrk="1" latinLnBrk="0" hangingPunct="1">
              <a:lnSpc>
                <a:spcPct val="100000"/>
              </a:lnSpc>
              <a:spcBef>
                <a:spcPts val="1000"/>
              </a:spcBef>
              <a:buFont typeface="Arial" panose="020B0604020202020204" pitchFamily="34" charset="0"/>
              <a:buNone/>
              <a:defRPr sz="1000" kern="1200">
                <a:solidFill>
                  <a:schemeClr val="tx1">
                    <a:lumMod val="50000"/>
                    <a:lumOff val="50000"/>
                  </a:schemeClr>
                </a:solidFill>
                <a:latin typeface="Noto IKEA Latin" panose="020B0502040504020204" pitchFamily="34" charset="0"/>
                <a:ea typeface="+mn-ea"/>
                <a:cs typeface="+mn-cs"/>
              </a:defRPr>
            </a:lvl1pPr>
            <a:lvl2pPr marL="0" indent="-342900" algn="l" defTabSz="914377" rtl="0" eaLnBrk="1" latinLnBrk="0" hangingPunct="1">
              <a:lnSpc>
                <a:spcPct val="100000"/>
              </a:lnSpc>
              <a:spcBef>
                <a:spcPts val="1000"/>
              </a:spcBef>
              <a:buFont typeface="Arial" panose="020B0604020202020204" pitchFamily="34" charset="0"/>
              <a:buChar char="•"/>
              <a:defRPr sz="2400" kern="1200" spc="0">
                <a:solidFill>
                  <a:schemeClr val="tx1"/>
                </a:solidFill>
                <a:latin typeface="Noto IKEA Latin" panose="020B0502040504020204" pitchFamily="34" charset="0"/>
                <a:ea typeface="+mn-ea"/>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800" i="0" kern="1200">
                <a:solidFill>
                  <a:schemeClr val="tx1"/>
                </a:solidFill>
                <a:latin typeface="Noto IKEA Latin" panose="020B0502040504020204" pitchFamily="34" charset="0"/>
                <a:ea typeface="+mn-ea"/>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400" kern="1200">
                <a:solidFill>
                  <a:schemeClr val="tx1"/>
                </a:solidFill>
                <a:latin typeface="Noto IKEA Latin" panose="020B0502040504020204" pitchFamily="34" charset="0"/>
                <a:ea typeface="+mn-ea"/>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000" kern="1200">
                <a:solidFill>
                  <a:schemeClr val="tx1"/>
                </a:solidFill>
                <a:latin typeface="Noto IKEA Latin" panose="020B0502040504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chemeClr val="tx1">
                    <a:lumMod val="65000"/>
                    <a:lumOff val="35000"/>
                  </a:schemeClr>
                </a:solidFill>
              </a:rPr>
              <a:t>© Inter IKEA Systems B.V. </a:t>
            </a:r>
            <a:fld id="{A223BBD4-A7A9-AF46-B8EF-A4920416D8B0}" type="datetimeyyyy">
              <a:rPr lang="en-US" sz="1600" smtClean="0">
                <a:solidFill>
                  <a:schemeClr val="tx1">
                    <a:lumMod val="65000"/>
                    <a:lumOff val="35000"/>
                  </a:schemeClr>
                </a:solidFill>
              </a:rPr>
              <a:t>2025</a:t>
            </a:fld>
            <a:endParaRPr lang="en-GB" sz="1600">
              <a:solidFill>
                <a:schemeClr val="tx1">
                  <a:lumMod val="65000"/>
                  <a:lumOff val="35000"/>
                </a:schemeClr>
              </a:solidFill>
            </a:endParaRPr>
          </a:p>
        </p:txBody>
      </p:sp>
      <p:sp>
        <p:nvSpPr>
          <p:cNvPr id="5" name="TextBox 4">
            <a:extLst>
              <a:ext uri="{FF2B5EF4-FFF2-40B4-BE49-F238E27FC236}">
                <a16:creationId xmlns:a16="http://schemas.microsoft.com/office/drawing/2014/main" id="{070AD071-164B-344E-96A0-3FC8C726BF23}"/>
              </a:ext>
            </a:extLst>
          </p:cNvPr>
          <p:cNvSpPr txBox="1"/>
          <p:nvPr userDrawn="1">
            <p:extLst>
              <p:ext uri="{1162E1C5-73C7-4A58-AE30-91384D911F3F}">
                <p184:classification xmlns:p184="http://schemas.microsoft.com/office/powerpoint/2018/4/main" val="ftr"/>
              </p:ext>
            </p:extLst>
          </p:nvPr>
        </p:nvSpPr>
        <p:spPr>
          <a:xfrm>
            <a:off x="11632443" y="13338720"/>
            <a:ext cx="803224" cy="246221"/>
          </a:xfrm>
          <a:prstGeom prst="rect">
            <a:avLst/>
          </a:prstGeom>
        </p:spPr>
        <p:txBody>
          <a:bodyPr horzOverflow="overflow" lIns="0" tIns="0" rIns="0" bIns="0">
            <a:spAutoFit/>
          </a:bodyPr>
          <a:lstStyle/>
          <a:p>
            <a:pPr algn="ctr"/>
            <a:r>
              <a:rPr lang="en-NL" sz="1600">
                <a:solidFill>
                  <a:srgbClr val="5A5A5A"/>
                </a:solidFill>
                <a:latin typeface="Noto IKEA Latin" panose="020B0502040504020204" pitchFamily="34" charset="0"/>
              </a:rPr>
              <a:t>Internal</a:t>
            </a:r>
          </a:p>
        </p:txBody>
      </p:sp>
      <p:sp>
        <p:nvSpPr>
          <p:cNvPr id="2" name="Footer Placeholder 1">
            <a:extLst>
              <a:ext uri="{FF2B5EF4-FFF2-40B4-BE49-F238E27FC236}">
                <a16:creationId xmlns:a16="http://schemas.microsoft.com/office/drawing/2014/main" id="{D1826FC7-2513-0447-A9A7-4C6A2FBE72EF}"/>
              </a:ext>
            </a:extLst>
          </p:cNvPr>
          <p:cNvSpPr>
            <a:spLocks noGrp="1"/>
          </p:cNvSpPr>
          <p:nvPr>
            <p:ph type="ftr" sz="quarter" idx="3"/>
          </p:nvPr>
        </p:nvSpPr>
        <p:spPr>
          <a:xfrm>
            <a:off x="1677600" y="12690000"/>
            <a:ext cx="8228013" cy="540000"/>
          </a:xfrm>
          <a:prstGeom prst="rect">
            <a:avLst/>
          </a:prstGeom>
        </p:spPr>
        <p:txBody>
          <a:bodyPr vert="horz" lIns="91440" tIns="45720" rIns="91440" bIns="45720" rtlCol="0" anchor="t"/>
          <a:lstStyle>
            <a:lvl1pPr algn="l">
              <a:defRPr sz="1600">
                <a:solidFill>
                  <a:schemeClr val="tx1">
                    <a:lumMod val="65000"/>
                    <a:lumOff val="35000"/>
                  </a:schemeClr>
                </a:solidFill>
              </a:defRPr>
            </a:lvl1pPr>
          </a:lstStyle>
          <a:p>
            <a:endParaRPr lang="en-NL"/>
          </a:p>
        </p:txBody>
      </p:sp>
    </p:spTree>
    <p:extLst>
      <p:ext uri="{BB962C8B-B14F-4D97-AF65-F5344CB8AC3E}">
        <p14:creationId xmlns:p14="http://schemas.microsoft.com/office/powerpoint/2010/main" val="445214946"/>
      </p:ext>
    </p:extLst>
  </p:cSld>
  <p:clrMap bg1="lt1" tx1="dk1" bg2="lt2" tx2="dk2" accent1="accent1" accent2="accent2" accent3="accent3" accent4="accent4" accent5="accent5" accent6="accent6" hlink="hlink" folHlink="folHlink"/>
  <p:sldLayoutIdLst>
    <p:sldLayoutId id="2147484041" r:id="rId1"/>
    <p:sldLayoutId id="2147484042" r:id="rId2"/>
    <p:sldLayoutId id="2147484043" r:id="rId3"/>
    <p:sldLayoutId id="2147484044" r:id="rId4"/>
    <p:sldLayoutId id="2147484045" r:id="rId5"/>
    <p:sldLayoutId id="2147484046" r:id="rId6"/>
    <p:sldLayoutId id="2147484047" r:id="rId7"/>
    <p:sldLayoutId id="2147484048" r:id="rId8"/>
    <p:sldLayoutId id="2147484049" r:id="rId9"/>
    <p:sldLayoutId id="2147484050" r:id="rId10"/>
    <p:sldLayoutId id="2147484051" r:id="rId11"/>
    <p:sldLayoutId id="2147484052" r:id="rId12"/>
    <p:sldLayoutId id="2147484053" r:id="rId13"/>
    <p:sldLayoutId id="2147483702" r:id="rId14"/>
    <p:sldLayoutId id="2147484055" r:id="rId15"/>
    <p:sldLayoutId id="2147484056" r:id="rId16"/>
    <p:sldLayoutId id="2147484057" r:id="rId17"/>
    <p:sldLayoutId id="2147484058" r:id="rId18"/>
    <p:sldLayoutId id="2147484059" r:id="rId19"/>
    <p:sldLayoutId id="2147484060" r:id="rId20"/>
    <p:sldLayoutId id="2147484061" r:id="rId21"/>
    <p:sldLayoutId id="2147484062" r:id="rId22"/>
    <p:sldLayoutId id="2147484063" r:id="rId23"/>
    <p:sldLayoutId id="2147484064"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89" r:id="rId35"/>
    <p:sldLayoutId id="2147484090" r:id="rId36"/>
    <p:sldLayoutId id="2147484077" r:id="rId37"/>
    <p:sldLayoutId id="2147484078" r:id="rId38"/>
    <p:sldLayoutId id="2147484079" r:id="rId39"/>
    <p:sldLayoutId id="2147484080" r:id="rId40"/>
    <p:sldLayoutId id="2147483721" r:id="rId41"/>
    <p:sldLayoutId id="2147484081" r:id="rId42"/>
    <p:sldLayoutId id="2147484082" r:id="rId43"/>
    <p:sldLayoutId id="2147484083" r:id="rId44"/>
    <p:sldLayoutId id="2147484084" r:id="rId45"/>
    <p:sldLayoutId id="2147483728" r:id="rId46"/>
    <p:sldLayoutId id="2147483729" r:id="rId47"/>
    <p:sldLayoutId id="2147483735" r:id="rId48"/>
    <p:sldLayoutId id="2147484086" r:id="rId49"/>
    <p:sldLayoutId id="2147483737" r:id="rId50"/>
    <p:sldLayoutId id="2147483738" r:id="rId51"/>
    <p:sldLayoutId id="2147483739" r:id="rId52"/>
    <p:sldLayoutId id="2147483740" r:id="rId53"/>
  </p:sldLayoutIdLst>
  <p:hf sldNum="0" hdr="0" dt="0"/>
  <p:txStyles>
    <p:titleStyle>
      <a:lvl1pPr algn="l" defTabSz="1828663" rtl="0" eaLnBrk="1" latinLnBrk="0" hangingPunct="1">
        <a:lnSpc>
          <a:spcPct val="100000"/>
        </a:lnSpc>
        <a:spcBef>
          <a:spcPct val="0"/>
        </a:spcBef>
        <a:buNone/>
        <a:defRPr sz="8000" b="1" kern="1200" spc="-200" baseline="0">
          <a:solidFill>
            <a:schemeClr val="tx1"/>
          </a:solidFill>
          <a:latin typeface="Noto IKEA Latin" panose="020B0502040504020204" pitchFamily="34" charset="0"/>
          <a:ea typeface="+mj-ea"/>
          <a:cs typeface="+mj-cs"/>
        </a:defRPr>
      </a:lvl1pPr>
    </p:titleStyle>
    <p:bodyStyle>
      <a:lvl1pPr marL="0" indent="0" algn="l" defTabSz="1828663" rtl="0" eaLnBrk="1" latinLnBrk="0" hangingPunct="1">
        <a:lnSpc>
          <a:spcPct val="100000"/>
        </a:lnSpc>
        <a:spcBef>
          <a:spcPts val="2000"/>
        </a:spcBef>
        <a:buFont typeface="Arial" panose="020B0604020202020204" pitchFamily="34" charset="0"/>
        <a:buNone/>
        <a:defRPr sz="3200" kern="1200">
          <a:solidFill>
            <a:schemeClr val="tx1"/>
          </a:solidFill>
          <a:latin typeface="Noto IKEA Latin" panose="020B0502040504020204" pitchFamily="34" charset="0"/>
          <a:ea typeface="+mn-ea"/>
          <a:cs typeface="+mn-cs"/>
        </a:defRPr>
      </a:lvl1pPr>
      <a:lvl2pPr marL="0" indent="-685766" algn="l" defTabSz="1828663" rtl="0" eaLnBrk="1" latinLnBrk="0" hangingPunct="1">
        <a:lnSpc>
          <a:spcPct val="100000"/>
        </a:lnSpc>
        <a:spcBef>
          <a:spcPts val="2000"/>
        </a:spcBef>
        <a:buFont typeface="Arial" panose="020B0604020202020204" pitchFamily="34" charset="0"/>
        <a:buChar char="•"/>
        <a:defRPr sz="3200" kern="1200" spc="0">
          <a:solidFill>
            <a:schemeClr val="tx1"/>
          </a:solidFill>
          <a:latin typeface="Noto IKEA Latin" panose="020B0502040504020204" pitchFamily="34" charset="0"/>
          <a:ea typeface="+mn-ea"/>
          <a:cs typeface="+mn-cs"/>
        </a:defRPr>
      </a:lvl2pPr>
      <a:lvl3pPr marL="2285828" indent="-457165" algn="l" defTabSz="1828663" rtl="0" eaLnBrk="1" latinLnBrk="0" hangingPunct="1">
        <a:lnSpc>
          <a:spcPct val="100000"/>
        </a:lnSpc>
        <a:spcBef>
          <a:spcPts val="1000"/>
        </a:spcBef>
        <a:buFont typeface="Arial" panose="020B0604020202020204" pitchFamily="34" charset="0"/>
        <a:buChar char="•"/>
        <a:defRPr sz="3600" i="0" kern="1200">
          <a:solidFill>
            <a:schemeClr val="tx1"/>
          </a:solidFill>
          <a:latin typeface="Noto IKEA Latin" panose="020B0502040504020204" pitchFamily="34" charset="0"/>
          <a:ea typeface="+mn-ea"/>
          <a:cs typeface="+mn-cs"/>
        </a:defRPr>
      </a:lvl3pPr>
      <a:lvl4pPr marL="3200160" indent="-457165" algn="l" defTabSz="1828663" rtl="0" eaLnBrk="1" latinLnBrk="0" hangingPunct="1">
        <a:lnSpc>
          <a:spcPct val="100000"/>
        </a:lnSpc>
        <a:spcBef>
          <a:spcPts val="1000"/>
        </a:spcBef>
        <a:buFont typeface="Arial" panose="020B0604020202020204" pitchFamily="34" charset="0"/>
        <a:buChar char="•"/>
        <a:defRPr sz="2800" kern="1200">
          <a:solidFill>
            <a:schemeClr val="tx1"/>
          </a:solidFill>
          <a:latin typeface="Noto IKEA Latin" panose="020B0502040504020204" pitchFamily="34" charset="0"/>
          <a:ea typeface="+mn-ea"/>
          <a:cs typeface="+mn-cs"/>
        </a:defRPr>
      </a:lvl4pPr>
      <a:lvl5pPr marL="4114492" indent="-457165" algn="l" defTabSz="1828663" rtl="0" eaLnBrk="1" latinLnBrk="0" hangingPunct="1">
        <a:lnSpc>
          <a:spcPct val="100000"/>
        </a:lnSpc>
        <a:spcBef>
          <a:spcPts val="1000"/>
        </a:spcBef>
        <a:buFont typeface="Arial" panose="020B0604020202020204" pitchFamily="34" charset="0"/>
        <a:buChar char="•"/>
        <a:defRPr sz="2000" kern="1200">
          <a:solidFill>
            <a:schemeClr val="tx1"/>
          </a:solidFill>
          <a:latin typeface="Noto IKEA Latin" panose="020B0502040504020204" pitchFamily="34" charset="0"/>
          <a:ea typeface="+mn-ea"/>
          <a:cs typeface="+mn-cs"/>
        </a:defRPr>
      </a:lvl5pPr>
      <a:lvl6pPr marL="5028823"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155"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485"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1817"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663" rtl="0" eaLnBrk="1" latinLnBrk="0" hangingPunct="1">
        <a:defRPr sz="3600" kern="1200">
          <a:solidFill>
            <a:schemeClr val="tx1"/>
          </a:solidFill>
          <a:latin typeface="+mn-lt"/>
          <a:ea typeface="+mn-ea"/>
          <a:cs typeface="+mn-cs"/>
        </a:defRPr>
      </a:lvl1pPr>
      <a:lvl2pPr marL="914332" algn="l" defTabSz="1828663" rtl="0" eaLnBrk="1" latinLnBrk="0" hangingPunct="1">
        <a:defRPr sz="3600" kern="1200">
          <a:solidFill>
            <a:schemeClr val="tx1"/>
          </a:solidFill>
          <a:latin typeface="+mn-lt"/>
          <a:ea typeface="+mn-ea"/>
          <a:cs typeface="+mn-cs"/>
        </a:defRPr>
      </a:lvl2pPr>
      <a:lvl3pPr marL="1828663" algn="l" defTabSz="1828663" rtl="0" eaLnBrk="1" latinLnBrk="0" hangingPunct="1">
        <a:defRPr sz="3600" kern="1200">
          <a:solidFill>
            <a:schemeClr val="tx1"/>
          </a:solidFill>
          <a:latin typeface="+mn-lt"/>
          <a:ea typeface="+mn-ea"/>
          <a:cs typeface="+mn-cs"/>
        </a:defRPr>
      </a:lvl3pPr>
      <a:lvl4pPr marL="2742995" algn="l" defTabSz="1828663" rtl="0" eaLnBrk="1" latinLnBrk="0" hangingPunct="1">
        <a:defRPr sz="3600" kern="1200">
          <a:solidFill>
            <a:schemeClr val="tx1"/>
          </a:solidFill>
          <a:latin typeface="+mn-lt"/>
          <a:ea typeface="+mn-ea"/>
          <a:cs typeface="+mn-cs"/>
        </a:defRPr>
      </a:lvl4pPr>
      <a:lvl5pPr marL="3657325" algn="l" defTabSz="1828663" rtl="0" eaLnBrk="1" latinLnBrk="0" hangingPunct="1">
        <a:defRPr sz="3600" kern="1200">
          <a:solidFill>
            <a:schemeClr val="tx1"/>
          </a:solidFill>
          <a:latin typeface="+mn-lt"/>
          <a:ea typeface="+mn-ea"/>
          <a:cs typeface="+mn-cs"/>
        </a:defRPr>
      </a:lvl5pPr>
      <a:lvl6pPr marL="4571657" algn="l" defTabSz="1828663" rtl="0" eaLnBrk="1" latinLnBrk="0" hangingPunct="1">
        <a:defRPr sz="3600" kern="1200">
          <a:solidFill>
            <a:schemeClr val="tx1"/>
          </a:solidFill>
          <a:latin typeface="+mn-lt"/>
          <a:ea typeface="+mn-ea"/>
          <a:cs typeface="+mn-cs"/>
        </a:defRPr>
      </a:lvl6pPr>
      <a:lvl7pPr marL="5485988" algn="l" defTabSz="1828663" rtl="0" eaLnBrk="1" latinLnBrk="0" hangingPunct="1">
        <a:defRPr sz="3600" kern="1200">
          <a:solidFill>
            <a:schemeClr val="tx1"/>
          </a:solidFill>
          <a:latin typeface="+mn-lt"/>
          <a:ea typeface="+mn-ea"/>
          <a:cs typeface="+mn-cs"/>
        </a:defRPr>
      </a:lvl7pPr>
      <a:lvl8pPr marL="6400320" algn="l" defTabSz="1828663" rtl="0" eaLnBrk="1" latinLnBrk="0" hangingPunct="1">
        <a:defRPr sz="3600" kern="1200">
          <a:solidFill>
            <a:schemeClr val="tx1"/>
          </a:solidFill>
          <a:latin typeface="+mn-lt"/>
          <a:ea typeface="+mn-ea"/>
          <a:cs typeface="+mn-cs"/>
        </a:defRPr>
      </a:lvl8pPr>
      <a:lvl9pPr marL="7314652" algn="l" defTabSz="1828663"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0" userDrawn="1">
          <p15:clr>
            <a:srgbClr val="F26B43"/>
          </p15:clr>
        </p15:guide>
        <p15:guide id="2" pos="1919" userDrawn="1">
          <p15:clr>
            <a:srgbClr val="F26B43"/>
          </p15:clr>
        </p15:guide>
        <p15:guide id="3" orient="horz" pos="2143" userDrawn="1">
          <p15:clr>
            <a:srgbClr val="F26B43"/>
          </p15:clr>
        </p15:guide>
        <p15:guide id="4" pos="3824" userDrawn="1">
          <p15:clr>
            <a:srgbClr val="F26B43"/>
          </p15:clr>
        </p15:guide>
        <p15:guide id="5" pos="11535" userDrawn="1">
          <p15:clr>
            <a:srgbClr val="F26B43"/>
          </p15:clr>
        </p15:guide>
        <p15:guide id="6" orient="horz" pos="7586" userDrawn="1">
          <p15:clr>
            <a:srgbClr val="F26B43"/>
          </p15:clr>
        </p15:guide>
        <p15:guide id="7" orient="horz" pos="3231" userDrawn="1">
          <p15:clr>
            <a:srgbClr val="F26B43"/>
          </p15:clr>
        </p15:guide>
        <p15:guide id="8" orient="horz" pos="1054" userDrawn="1">
          <p15:clr>
            <a:srgbClr val="F26B43"/>
          </p15:clr>
        </p15:guide>
        <p15:guide id="9" pos="5774" userDrawn="1">
          <p15:clr>
            <a:srgbClr val="F26B43"/>
          </p15:clr>
        </p15:guide>
        <p15:guide id="10" pos="13440" userDrawn="1">
          <p15:clr>
            <a:srgbClr val="F26B43"/>
          </p15:clr>
        </p15:guide>
        <p15:guide id="11" pos="9585" userDrawn="1">
          <p15:clr>
            <a:srgbClr val="F26B43"/>
          </p15:clr>
        </p15:guide>
        <p15:guide id="12" pos="7679" userDrawn="1">
          <p15:clr>
            <a:srgbClr val="F26B43"/>
          </p15:clr>
        </p15:guide>
        <p15:guide id="13" orient="horz" pos="5409" userDrawn="1">
          <p15:clr>
            <a:srgbClr val="F26B43"/>
          </p15:clr>
        </p15:guide>
        <p15:guide id="14" orient="horz" pos="6497"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10"/>
          <p:cNvSpPr/>
          <p:nvPr userDrawn="1"/>
        </p:nvSpPr>
        <p:spPr>
          <a:xfrm rot="5400000">
            <a:off x="21697859" y="1708131"/>
            <a:ext cx="4397024" cy="980762"/>
          </a:xfrm>
          <a:prstGeom prst="rect">
            <a:avLst/>
          </a:prstGeom>
        </p:spPr>
        <p:txBody>
          <a:bodyPr lIns="767950" tIns="383975" rIns="383975" bIns="383975" anchor="ctr">
            <a:spAutoFit/>
          </a:bodyPr>
          <a:lstStyle/>
          <a:p>
            <a:pPr>
              <a:defRPr/>
            </a:pPr>
            <a:r>
              <a:rPr lang="en-GB" sz="1334">
                <a:solidFill>
                  <a:schemeClr val="tx1">
                    <a:lumMod val="25000"/>
                    <a:lumOff val="75000"/>
                  </a:schemeClr>
                </a:solidFill>
                <a:cs typeface="Verdana"/>
              </a:rPr>
              <a:t>© Inter IKEA Systems B.V. 2019</a:t>
            </a:r>
            <a:endParaRPr lang="sv-SE" sz="1334">
              <a:solidFill>
                <a:schemeClr val="tx1">
                  <a:lumMod val="25000"/>
                  <a:lumOff val="75000"/>
                </a:schemeClr>
              </a:solidFill>
            </a:endParaRPr>
          </a:p>
        </p:txBody>
      </p:sp>
      <p:sp>
        <p:nvSpPr>
          <p:cNvPr id="3" name="TextBox 2">
            <a:extLst>
              <a:ext uri="{FF2B5EF4-FFF2-40B4-BE49-F238E27FC236}">
                <a16:creationId xmlns:a16="http://schemas.microsoft.com/office/drawing/2014/main" id="{89D42EB2-5B29-4BDE-A7E1-FCADF5A9157A}"/>
              </a:ext>
            </a:extLst>
          </p:cNvPr>
          <p:cNvSpPr txBox="1"/>
          <p:nvPr userDrawn="1">
            <p:extLst>
              <p:ext uri="{1162E1C5-73C7-4A58-AE30-91384D911F3F}">
                <p184:classification xmlns:p184="http://schemas.microsoft.com/office/powerpoint/2018/4/main" val="ftr"/>
              </p:ext>
            </p:extLst>
          </p:nvPr>
        </p:nvSpPr>
        <p:spPr>
          <a:xfrm>
            <a:off x="11632443" y="13472161"/>
            <a:ext cx="803224" cy="246221"/>
          </a:xfrm>
          <a:prstGeom prst="rect">
            <a:avLst/>
          </a:prstGeom>
        </p:spPr>
        <p:txBody>
          <a:bodyPr horzOverflow="overflow" lIns="0" tIns="0" rIns="0" bIns="0">
            <a:spAutoFit/>
          </a:bodyPr>
          <a:lstStyle/>
          <a:p>
            <a:pPr algn="ctr"/>
            <a:r>
              <a:rPr lang="sv-SE" sz="1600">
                <a:solidFill>
                  <a:srgbClr val="5A5A5A"/>
                </a:solidFill>
                <a:latin typeface="Noto IKEA Latin" panose="020B0502040504020204" pitchFamily="34" charset="0"/>
              </a:rPr>
              <a:t>Internal</a:t>
            </a:r>
          </a:p>
        </p:txBody>
      </p:sp>
    </p:spTree>
    <p:extLst>
      <p:ext uri="{BB962C8B-B14F-4D97-AF65-F5344CB8AC3E}">
        <p14:creationId xmlns:p14="http://schemas.microsoft.com/office/powerpoint/2010/main" val="519374082"/>
      </p:ext>
    </p:extLst>
  </p:cSld>
  <p:clrMap bg1="lt1" tx1="dk1" bg2="lt2" tx2="dk2" accent1="accent1" accent2="accent2" accent3="accent3" accent4="accent4" accent5="accent5" accent6="accent6" hlink="hlink" folHlink="folHlink"/>
  <p:sldLayoutIdLst>
    <p:sldLayoutId id="2147483795" r:id="rId1"/>
    <p:sldLayoutId id="2147483825" r:id="rId2"/>
    <p:sldLayoutId id="2147483824" r:id="rId3"/>
    <p:sldLayoutId id="2147483763" r:id="rId4"/>
    <p:sldLayoutId id="2147483817" r:id="rId5"/>
    <p:sldLayoutId id="2147483819" r:id="rId6"/>
    <p:sldLayoutId id="2147483818" r:id="rId7"/>
    <p:sldLayoutId id="2147483761" r:id="rId8"/>
    <p:sldLayoutId id="2147483823" r:id="rId9"/>
    <p:sldLayoutId id="2147483815" r:id="rId10"/>
    <p:sldLayoutId id="2147483814" r:id="rId11"/>
    <p:sldLayoutId id="2147483822" r:id="rId12"/>
    <p:sldLayoutId id="2147483820" r:id="rId13"/>
    <p:sldLayoutId id="2147483821" r:id="rId14"/>
  </p:sldLayoutIdLst>
  <p:txStyles>
    <p:titleStyle>
      <a:lvl1pPr algn="ctr" defTabSz="1219109" rtl="0" eaLnBrk="1" latinLnBrk="0" hangingPunct="1">
        <a:spcBef>
          <a:spcPct val="0"/>
        </a:spcBef>
        <a:buNone/>
        <a:defRPr sz="4800" b="1" kern="1200" spc="800">
          <a:solidFill>
            <a:schemeClr val="tx1">
              <a:lumMod val="75000"/>
              <a:lumOff val="25000"/>
            </a:schemeClr>
          </a:solidFill>
          <a:latin typeface="Verdana"/>
          <a:ea typeface="+mj-ea"/>
          <a:cs typeface="Verdana"/>
        </a:defRPr>
      </a:lvl1pPr>
    </p:titleStyle>
    <p:bodyStyle>
      <a:lvl1pPr marL="706915" indent="-469867" algn="l" defTabSz="1219109" rtl="0" eaLnBrk="1" latinLnBrk="0" hangingPunct="1">
        <a:lnSpc>
          <a:spcPct val="100000"/>
        </a:lnSpc>
        <a:spcBef>
          <a:spcPts val="3200"/>
        </a:spcBef>
        <a:buFont typeface="Arial"/>
        <a:buChar char="•"/>
        <a:defRPr sz="3734" kern="1200">
          <a:solidFill>
            <a:schemeClr val="tx1">
              <a:lumMod val="50000"/>
              <a:lumOff val="50000"/>
            </a:schemeClr>
          </a:solidFill>
          <a:latin typeface="Verdana"/>
          <a:ea typeface="+mn-ea"/>
          <a:cs typeface="Verdana"/>
        </a:defRPr>
      </a:lvl1pPr>
      <a:lvl2pPr marL="1185245" indent="-474098" algn="l" defTabSz="1219109" rtl="0" eaLnBrk="1" latinLnBrk="0" hangingPunct="1">
        <a:lnSpc>
          <a:spcPct val="100000"/>
        </a:lnSpc>
        <a:spcBef>
          <a:spcPts val="3200"/>
        </a:spcBef>
        <a:buFont typeface="Arial"/>
        <a:buChar char="•"/>
        <a:defRPr sz="3200" kern="1200">
          <a:solidFill>
            <a:schemeClr val="tx1">
              <a:lumMod val="50000"/>
              <a:lumOff val="50000"/>
            </a:schemeClr>
          </a:solidFill>
          <a:latin typeface="Verdana"/>
          <a:ea typeface="+mn-ea"/>
          <a:cs typeface="Verdana"/>
        </a:defRPr>
      </a:lvl2pPr>
      <a:lvl3pPr marL="1680508" indent="-495263" algn="l" defTabSz="1219109" rtl="0" eaLnBrk="1" latinLnBrk="0" hangingPunct="1">
        <a:lnSpc>
          <a:spcPct val="100000"/>
        </a:lnSpc>
        <a:spcBef>
          <a:spcPts val="3200"/>
        </a:spcBef>
        <a:buFont typeface="Arial"/>
        <a:buChar char="•"/>
        <a:tabLst>
          <a:tab pos="1672042" algn="l"/>
          <a:tab pos="1680508" algn="l"/>
        </a:tabLst>
        <a:defRPr sz="2934" kern="1200">
          <a:solidFill>
            <a:schemeClr val="tx1">
              <a:lumMod val="50000"/>
              <a:lumOff val="50000"/>
            </a:schemeClr>
          </a:solidFill>
          <a:latin typeface="Verdana"/>
          <a:ea typeface="+mn-ea"/>
          <a:cs typeface="Verdana"/>
        </a:defRPr>
      </a:lvl3pPr>
      <a:lvl4pPr marL="2154606" indent="-474098" algn="l" defTabSz="1219109" rtl="0" eaLnBrk="1" latinLnBrk="0" hangingPunct="1">
        <a:lnSpc>
          <a:spcPct val="100000"/>
        </a:lnSpc>
        <a:spcBef>
          <a:spcPts val="3200"/>
        </a:spcBef>
        <a:buFont typeface="Arial"/>
        <a:buChar char="•"/>
        <a:defRPr sz="2666" kern="1200">
          <a:solidFill>
            <a:schemeClr val="tx1">
              <a:lumMod val="50000"/>
              <a:lumOff val="50000"/>
            </a:schemeClr>
          </a:solidFill>
          <a:latin typeface="Verdana"/>
          <a:ea typeface="+mn-ea"/>
          <a:cs typeface="Verdana"/>
        </a:defRPr>
      </a:lvl4pPr>
      <a:lvl5pPr marL="2628705" indent="-474098" algn="l" defTabSz="1219109" rtl="0" eaLnBrk="1" latinLnBrk="0" hangingPunct="1">
        <a:lnSpc>
          <a:spcPct val="100000"/>
        </a:lnSpc>
        <a:spcBef>
          <a:spcPts val="3200"/>
        </a:spcBef>
        <a:buFont typeface="Arial"/>
        <a:buChar char="•"/>
        <a:defRPr sz="2134" kern="1200">
          <a:solidFill>
            <a:schemeClr val="tx1">
              <a:lumMod val="50000"/>
              <a:lumOff val="50000"/>
            </a:schemeClr>
          </a:solidFill>
          <a:latin typeface="Verdana"/>
          <a:ea typeface="+mn-ea"/>
          <a:cs typeface="Verdana"/>
        </a:defRPr>
      </a:lvl5pPr>
      <a:lvl6pPr marL="6705097" indent="-609554" algn="l" defTabSz="1219109" rtl="0" eaLnBrk="1" latinLnBrk="0" hangingPunct="1">
        <a:spcBef>
          <a:spcPct val="20000"/>
        </a:spcBef>
        <a:buFont typeface="Arial"/>
        <a:buChar char="•"/>
        <a:defRPr sz="5334" kern="1200">
          <a:solidFill>
            <a:schemeClr val="tx1"/>
          </a:solidFill>
          <a:latin typeface="+mn-lt"/>
          <a:ea typeface="+mn-ea"/>
          <a:cs typeface="+mn-cs"/>
        </a:defRPr>
      </a:lvl6pPr>
      <a:lvl7pPr marL="7924206" indent="-609554" algn="l" defTabSz="1219109" rtl="0" eaLnBrk="1" latinLnBrk="0" hangingPunct="1">
        <a:spcBef>
          <a:spcPct val="20000"/>
        </a:spcBef>
        <a:buFont typeface="Arial"/>
        <a:buChar char="•"/>
        <a:defRPr sz="5334" kern="1200">
          <a:solidFill>
            <a:schemeClr val="tx1"/>
          </a:solidFill>
          <a:latin typeface="+mn-lt"/>
          <a:ea typeface="+mn-ea"/>
          <a:cs typeface="+mn-cs"/>
        </a:defRPr>
      </a:lvl7pPr>
      <a:lvl8pPr marL="9143315" indent="-609554" algn="l" defTabSz="1219109" rtl="0" eaLnBrk="1" latinLnBrk="0" hangingPunct="1">
        <a:spcBef>
          <a:spcPct val="20000"/>
        </a:spcBef>
        <a:buFont typeface="Arial"/>
        <a:buChar char="•"/>
        <a:defRPr sz="5334" kern="1200">
          <a:solidFill>
            <a:schemeClr val="tx1"/>
          </a:solidFill>
          <a:latin typeface="+mn-lt"/>
          <a:ea typeface="+mn-ea"/>
          <a:cs typeface="+mn-cs"/>
        </a:defRPr>
      </a:lvl8pPr>
      <a:lvl9pPr marL="10362422" indent="-609554" algn="l" defTabSz="1219109" rtl="0" eaLnBrk="1" latinLnBrk="0" hangingPunct="1">
        <a:spcBef>
          <a:spcPct val="20000"/>
        </a:spcBef>
        <a:buFont typeface="Arial"/>
        <a:buChar char="•"/>
        <a:defRPr sz="5334" kern="1200">
          <a:solidFill>
            <a:schemeClr val="tx1"/>
          </a:solidFill>
          <a:latin typeface="+mn-lt"/>
          <a:ea typeface="+mn-ea"/>
          <a:cs typeface="+mn-cs"/>
        </a:defRPr>
      </a:lvl9pPr>
    </p:bodyStyle>
    <p:otherStyle>
      <a:defPPr>
        <a:defRPr lang="sv-SE"/>
      </a:defPPr>
      <a:lvl1pPr marL="0" algn="l" defTabSz="1219109" rtl="0" eaLnBrk="1" latinLnBrk="0" hangingPunct="1">
        <a:defRPr sz="4800" kern="1200">
          <a:solidFill>
            <a:schemeClr val="tx1"/>
          </a:solidFill>
          <a:latin typeface="+mn-lt"/>
          <a:ea typeface="+mn-ea"/>
          <a:cs typeface="+mn-cs"/>
        </a:defRPr>
      </a:lvl1pPr>
      <a:lvl2pPr marL="1219109" algn="l" defTabSz="1219109" rtl="0" eaLnBrk="1" latinLnBrk="0" hangingPunct="1">
        <a:defRPr sz="4800" kern="1200">
          <a:solidFill>
            <a:schemeClr val="tx1"/>
          </a:solidFill>
          <a:latin typeface="+mn-lt"/>
          <a:ea typeface="+mn-ea"/>
          <a:cs typeface="+mn-cs"/>
        </a:defRPr>
      </a:lvl2pPr>
      <a:lvl3pPr marL="2438218" algn="l" defTabSz="1219109" rtl="0" eaLnBrk="1" latinLnBrk="0" hangingPunct="1">
        <a:defRPr sz="4800" kern="1200">
          <a:solidFill>
            <a:schemeClr val="tx1"/>
          </a:solidFill>
          <a:latin typeface="+mn-lt"/>
          <a:ea typeface="+mn-ea"/>
          <a:cs typeface="+mn-cs"/>
        </a:defRPr>
      </a:lvl3pPr>
      <a:lvl4pPr marL="3657325" algn="l" defTabSz="1219109" rtl="0" eaLnBrk="1" latinLnBrk="0" hangingPunct="1">
        <a:defRPr sz="4800" kern="1200">
          <a:solidFill>
            <a:schemeClr val="tx1"/>
          </a:solidFill>
          <a:latin typeface="+mn-lt"/>
          <a:ea typeface="+mn-ea"/>
          <a:cs typeface="+mn-cs"/>
        </a:defRPr>
      </a:lvl4pPr>
      <a:lvl5pPr marL="4876434" algn="l" defTabSz="1219109" rtl="0" eaLnBrk="1" latinLnBrk="0" hangingPunct="1">
        <a:defRPr sz="4800" kern="1200">
          <a:solidFill>
            <a:schemeClr val="tx1"/>
          </a:solidFill>
          <a:latin typeface="+mn-lt"/>
          <a:ea typeface="+mn-ea"/>
          <a:cs typeface="+mn-cs"/>
        </a:defRPr>
      </a:lvl5pPr>
      <a:lvl6pPr marL="6095543" algn="l" defTabSz="1219109" rtl="0" eaLnBrk="1" latinLnBrk="0" hangingPunct="1">
        <a:defRPr sz="4800" kern="1200">
          <a:solidFill>
            <a:schemeClr val="tx1"/>
          </a:solidFill>
          <a:latin typeface="+mn-lt"/>
          <a:ea typeface="+mn-ea"/>
          <a:cs typeface="+mn-cs"/>
        </a:defRPr>
      </a:lvl6pPr>
      <a:lvl7pPr marL="7314652" algn="l" defTabSz="1219109" rtl="0" eaLnBrk="1" latinLnBrk="0" hangingPunct="1">
        <a:defRPr sz="4800" kern="1200">
          <a:solidFill>
            <a:schemeClr val="tx1"/>
          </a:solidFill>
          <a:latin typeface="+mn-lt"/>
          <a:ea typeface="+mn-ea"/>
          <a:cs typeface="+mn-cs"/>
        </a:defRPr>
      </a:lvl7pPr>
      <a:lvl8pPr marL="8533759" algn="l" defTabSz="1219109" rtl="0" eaLnBrk="1" latinLnBrk="0" hangingPunct="1">
        <a:defRPr sz="4800" kern="1200">
          <a:solidFill>
            <a:schemeClr val="tx1"/>
          </a:solidFill>
          <a:latin typeface="+mn-lt"/>
          <a:ea typeface="+mn-ea"/>
          <a:cs typeface="+mn-cs"/>
        </a:defRPr>
      </a:lvl8pPr>
      <a:lvl9pPr marL="9752868" algn="l" defTabSz="1219109" rtl="0" eaLnBrk="1" latinLnBrk="0" hangingPunct="1">
        <a:defRPr sz="4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C5E5B2-D7B7-0743-B449-C3B8D5EF3BBC}"/>
              </a:ext>
            </a:extLst>
          </p:cNvPr>
          <p:cNvSpPr>
            <a:spLocks noGrp="1"/>
          </p:cNvSpPr>
          <p:nvPr>
            <p:ph type="body" idx="1"/>
          </p:nvPr>
        </p:nvSpPr>
        <p:spPr>
          <a:xfrm>
            <a:off x="1676291" y="6137921"/>
            <a:ext cx="21029831" cy="5885578"/>
          </a:xfrm>
          <a:prstGeom prst="rect">
            <a:avLst/>
          </a:prstGeom>
        </p:spPr>
        <p:txBody>
          <a:bodyPr vert="horz" lIns="91440" tIns="45720" rIns="91440" bIns="45720" rtlCol="0" anchor="t">
            <a:noAutofit/>
          </a:bodyPr>
          <a:lstStyle/>
          <a:p>
            <a:pPr lvl="0"/>
            <a:r>
              <a:rPr lang="en-GB" noProof="0"/>
              <a:t>Put the body text here</a:t>
            </a:r>
          </a:p>
          <a:p>
            <a:pPr lvl="1"/>
            <a:r>
              <a:rPr lang="en-GB" noProof="0"/>
              <a:t>Bullet list</a:t>
            </a:r>
          </a:p>
        </p:txBody>
      </p:sp>
      <p:sp>
        <p:nvSpPr>
          <p:cNvPr id="7" name="Title Placeholder 6">
            <a:extLst>
              <a:ext uri="{FF2B5EF4-FFF2-40B4-BE49-F238E27FC236}">
                <a16:creationId xmlns:a16="http://schemas.microsoft.com/office/drawing/2014/main" id="{98BFA95D-7754-EC48-8FDA-5BF403130B73}"/>
              </a:ext>
            </a:extLst>
          </p:cNvPr>
          <p:cNvSpPr>
            <a:spLocks noGrp="1"/>
          </p:cNvSpPr>
          <p:nvPr>
            <p:ph type="title"/>
          </p:nvPr>
        </p:nvSpPr>
        <p:spPr>
          <a:xfrm>
            <a:off x="1676293" y="1692505"/>
            <a:ext cx="21033007" cy="4013370"/>
          </a:xfrm>
          <a:prstGeom prst="rect">
            <a:avLst/>
          </a:prstGeom>
        </p:spPr>
        <p:txBody>
          <a:bodyPr vert="horz" lIns="91440" tIns="45720" rIns="91440" bIns="45720" rtlCol="0" anchor="t">
            <a:noAutofit/>
          </a:bodyPr>
          <a:lstStyle/>
          <a:p>
            <a:r>
              <a:rPr lang="en-GB" noProof="0"/>
              <a:t>Put the headline</a:t>
            </a:r>
            <a:br>
              <a:rPr lang="en-GB" noProof="0"/>
            </a:br>
            <a:r>
              <a:rPr lang="en-GB" noProof="0"/>
              <a:t>here</a:t>
            </a:r>
          </a:p>
        </p:txBody>
      </p:sp>
      <p:sp>
        <p:nvSpPr>
          <p:cNvPr id="4" name="Footer Placeholder 3">
            <a:extLst>
              <a:ext uri="{FF2B5EF4-FFF2-40B4-BE49-F238E27FC236}">
                <a16:creationId xmlns:a16="http://schemas.microsoft.com/office/drawing/2014/main" id="{D81F1B77-438A-7747-8BF3-5B7613BF29D4}"/>
              </a:ext>
            </a:extLst>
          </p:cNvPr>
          <p:cNvSpPr>
            <a:spLocks noGrp="1"/>
          </p:cNvSpPr>
          <p:nvPr>
            <p:ph type="ftr" sz="quarter" idx="3"/>
          </p:nvPr>
        </p:nvSpPr>
        <p:spPr>
          <a:xfrm>
            <a:off x="1676291" y="12906672"/>
            <a:ext cx="8229064" cy="536280"/>
          </a:xfrm>
          <a:prstGeom prst="rect">
            <a:avLst/>
          </a:prstGeom>
        </p:spPr>
        <p:txBody>
          <a:bodyPr vert="horz" lIns="91440" tIns="45720" rIns="91440" bIns="45720" rtlCol="0" anchor="b" anchorCtr="0"/>
          <a:lstStyle>
            <a:lvl1pPr algn="l">
              <a:defRPr sz="2000">
                <a:solidFill>
                  <a:schemeClr val="tx1">
                    <a:tint val="75000"/>
                  </a:schemeClr>
                </a:solidFill>
              </a:defRPr>
            </a:lvl1pPr>
          </a:lstStyle>
          <a:p>
            <a:endParaRPr lang="en-GB">
              <a:solidFill>
                <a:srgbClr val="000000">
                  <a:tint val="75000"/>
                </a:srgbClr>
              </a:solidFill>
            </a:endParaRPr>
          </a:p>
        </p:txBody>
      </p:sp>
      <p:sp>
        <p:nvSpPr>
          <p:cNvPr id="8" name="Text Placeholder 3">
            <a:extLst>
              <a:ext uri="{FF2B5EF4-FFF2-40B4-BE49-F238E27FC236}">
                <a16:creationId xmlns:a16="http://schemas.microsoft.com/office/drawing/2014/main" id="{1A4157D2-ADF3-D54C-A50B-CB0D5F86760F}"/>
              </a:ext>
            </a:extLst>
          </p:cNvPr>
          <p:cNvSpPr txBox="1">
            <a:spLocks/>
          </p:cNvSpPr>
          <p:nvPr/>
        </p:nvSpPr>
        <p:spPr>
          <a:xfrm rot="5400000">
            <a:off x="20902621" y="2898378"/>
            <a:ext cx="5759746" cy="719337"/>
          </a:xfrm>
          <a:prstGeom prst="rect">
            <a:avLst/>
          </a:prstGeom>
        </p:spPr>
        <p:txBody>
          <a:bodyPr anchor="ctr"/>
          <a:lstStyle>
            <a:lvl1pPr marL="0" indent="0" algn="l" defTabSz="914377" rtl="0" eaLnBrk="1" latinLnBrk="0" hangingPunct="1">
              <a:lnSpc>
                <a:spcPct val="100000"/>
              </a:lnSpc>
              <a:spcBef>
                <a:spcPts val="1000"/>
              </a:spcBef>
              <a:buFont typeface="Arial" panose="020B0604020202020204" pitchFamily="34" charset="0"/>
              <a:buNone/>
              <a:defRPr sz="1000" kern="1200">
                <a:solidFill>
                  <a:schemeClr val="tx1">
                    <a:lumMod val="50000"/>
                    <a:lumOff val="50000"/>
                  </a:schemeClr>
                </a:solidFill>
                <a:latin typeface="Noto IKEA Latin" panose="020B0502040504020204" pitchFamily="34" charset="0"/>
                <a:ea typeface="+mn-ea"/>
                <a:cs typeface="+mn-cs"/>
              </a:defRPr>
            </a:lvl1pPr>
            <a:lvl2pPr marL="0" indent="-342900" algn="l" defTabSz="914377" rtl="0" eaLnBrk="1" latinLnBrk="0" hangingPunct="1">
              <a:lnSpc>
                <a:spcPct val="100000"/>
              </a:lnSpc>
              <a:spcBef>
                <a:spcPts val="1000"/>
              </a:spcBef>
              <a:buFont typeface="Arial" panose="020B0604020202020204" pitchFamily="34" charset="0"/>
              <a:buChar char="•"/>
              <a:defRPr sz="2400" kern="1200" spc="0">
                <a:solidFill>
                  <a:schemeClr val="tx1"/>
                </a:solidFill>
                <a:latin typeface="Noto IKEA Latin" panose="020B0502040504020204" pitchFamily="34" charset="0"/>
                <a:ea typeface="+mn-ea"/>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800" i="0" kern="1200">
                <a:solidFill>
                  <a:schemeClr val="tx1"/>
                </a:solidFill>
                <a:latin typeface="Noto IKEA Latin" panose="020B0502040504020204" pitchFamily="34" charset="0"/>
                <a:ea typeface="+mn-ea"/>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400" kern="1200">
                <a:solidFill>
                  <a:schemeClr val="tx1"/>
                </a:solidFill>
                <a:latin typeface="Noto IKEA Latin" panose="020B0502040504020204" pitchFamily="34" charset="0"/>
                <a:ea typeface="+mn-ea"/>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000" kern="1200">
                <a:solidFill>
                  <a:schemeClr val="tx1"/>
                </a:solidFill>
                <a:latin typeface="Noto IKEA Latin" panose="020B0502040504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rgbClr val="000000">
                    <a:lumMod val="50000"/>
                    <a:lumOff val="50000"/>
                  </a:srgbClr>
                </a:solidFill>
              </a:rPr>
              <a:t>© Inter IKEA Systems B.V. 2022</a:t>
            </a:r>
            <a:endParaRPr lang="en-GB" sz="1600">
              <a:solidFill>
                <a:srgbClr val="000000">
                  <a:lumMod val="50000"/>
                  <a:lumOff val="50000"/>
                </a:srgbClr>
              </a:solidFill>
            </a:endParaRPr>
          </a:p>
        </p:txBody>
      </p:sp>
      <p:sp>
        <p:nvSpPr>
          <p:cNvPr id="9" name="TextBox 8">
            <a:extLst>
              <a:ext uri="{FF2B5EF4-FFF2-40B4-BE49-F238E27FC236}">
                <a16:creationId xmlns:a16="http://schemas.microsoft.com/office/drawing/2014/main" id="{1B632BF6-8B34-41FD-806C-14A733F96336}"/>
              </a:ext>
            </a:extLst>
          </p:cNvPr>
          <p:cNvSpPr txBox="1"/>
          <p:nvPr userDrawn="1">
            <p:extLst>
              <p:ext uri="{1162E1C5-73C7-4A58-AE30-91384D911F3F}">
                <p184:classification xmlns:p184="http://schemas.microsoft.com/office/powerpoint/2018/4/main" val="ftr"/>
              </p:ext>
            </p:extLst>
          </p:nvPr>
        </p:nvSpPr>
        <p:spPr>
          <a:xfrm>
            <a:off x="11632443" y="13472161"/>
            <a:ext cx="803224" cy="246221"/>
          </a:xfrm>
          <a:prstGeom prst="rect">
            <a:avLst/>
          </a:prstGeom>
        </p:spPr>
        <p:txBody>
          <a:bodyPr horzOverflow="overflow" lIns="0" tIns="0" rIns="0" bIns="0">
            <a:spAutoFit/>
          </a:bodyPr>
          <a:lstStyle/>
          <a:p>
            <a:pPr algn="ctr"/>
            <a:r>
              <a:rPr lang="en-GB" sz="1600">
                <a:solidFill>
                  <a:srgbClr val="5A5A5A"/>
                </a:solidFill>
                <a:latin typeface="Noto IKEA Latin" panose="020B0502040504020204" pitchFamily="34" charset="0"/>
              </a:rPr>
              <a:t>Internal</a:t>
            </a:r>
          </a:p>
        </p:txBody>
      </p:sp>
    </p:spTree>
    <p:extLst>
      <p:ext uri="{BB962C8B-B14F-4D97-AF65-F5344CB8AC3E}">
        <p14:creationId xmlns:p14="http://schemas.microsoft.com/office/powerpoint/2010/main" val="4213241211"/>
      </p:ext>
    </p:extLst>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 id="2147484141" r:id="rId11"/>
    <p:sldLayoutId id="2147484142" r:id="rId12"/>
  </p:sldLayoutIdLst>
  <p:txStyles>
    <p:titleStyle>
      <a:lvl1pPr algn="l" defTabSz="1828663" rtl="0" eaLnBrk="1" latinLnBrk="0" hangingPunct="1">
        <a:lnSpc>
          <a:spcPct val="100000"/>
        </a:lnSpc>
        <a:spcBef>
          <a:spcPct val="0"/>
        </a:spcBef>
        <a:buNone/>
        <a:defRPr sz="11999" b="1" kern="1200" spc="-200" baseline="0">
          <a:solidFill>
            <a:schemeClr val="tx1"/>
          </a:solidFill>
          <a:latin typeface="Noto IKEA Latin" panose="020B0502040504020204" pitchFamily="34" charset="0"/>
          <a:ea typeface="+mj-ea"/>
          <a:cs typeface="+mj-cs"/>
        </a:defRPr>
      </a:lvl1pPr>
    </p:titleStyle>
    <p:bodyStyle>
      <a:lvl1pPr marL="0" indent="0" algn="l" defTabSz="1828663" rtl="0" eaLnBrk="1" latinLnBrk="0" hangingPunct="1">
        <a:lnSpc>
          <a:spcPct val="100000"/>
        </a:lnSpc>
        <a:spcBef>
          <a:spcPts val="2000"/>
        </a:spcBef>
        <a:buFont typeface="Arial" panose="020B0604020202020204" pitchFamily="34" charset="0"/>
        <a:buNone/>
        <a:defRPr sz="2800" kern="1200">
          <a:solidFill>
            <a:schemeClr val="tx1"/>
          </a:solidFill>
          <a:latin typeface="Noto IKEA Latin" panose="020B0502040504020204" pitchFamily="34" charset="0"/>
          <a:ea typeface="+mn-ea"/>
          <a:cs typeface="+mn-cs"/>
        </a:defRPr>
      </a:lvl1pPr>
      <a:lvl2pPr marL="0" indent="-685766" algn="l" defTabSz="1828663" rtl="0" eaLnBrk="1" latinLnBrk="0" hangingPunct="1">
        <a:lnSpc>
          <a:spcPct val="100000"/>
        </a:lnSpc>
        <a:spcBef>
          <a:spcPts val="2000"/>
        </a:spcBef>
        <a:buFont typeface="Arial" panose="020B0604020202020204" pitchFamily="34" charset="0"/>
        <a:buChar char="•"/>
        <a:defRPr sz="2800" kern="1200" spc="0">
          <a:solidFill>
            <a:schemeClr val="tx1"/>
          </a:solidFill>
          <a:latin typeface="Noto IKEA Latin" panose="020B0502040504020204" pitchFamily="34" charset="0"/>
          <a:ea typeface="+mn-ea"/>
          <a:cs typeface="+mn-cs"/>
        </a:defRPr>
      </a:lvl2pPr>
      <a:lvl3pPr marL="2285828" indent="-457165" algn="l" defTabSz="1828663" rtl="0" eaLnBrk="1" latinLnBrk="0" hangingPunct="1">
        <a:lnSpc>
          <a:spcPct val="100000"/>
        </a:lnSpc>
        <a:spcBef>
          <a:spcPts val="1000"/>
        </a:spcBef>
        <a:buFont typeface="Arial" panose="020B0604020202020204" pitchFamily="34" charset="0"/>
        <a:buChar char="•"/>
        <a:defRPr sz="3600" i="0" kern="1200">
          <a:solidFill>
            <a:schemeClr val="tx1"/>
          </a:solidFill>
          <a:latin typeface="Noto IKEA Latin" panose="020B0502040504020204" pitchFamily="34" charset="0"/>
          <a:ea typeface="+mn-ea"/>
          <a:cs typeface="+mn-cs"/>
        </a:defRPr>
      </a:lvl3pPr>
      <a:lvl4pPr marL="3200160" indent="-457165" algn="l" defTabSz="1828663" rtl="0" eaLnBrk="1" latinLnBrk="0" hangingPunct="1">
        <a:lnSpc>
          <a:spcPct val="100000"/>
        </a:lnSpc>
        <a:spcBef>
          <a:spcPts val="1000"/>
        </a:spcBef>
        <a:buFont typeface="Arial" panose="020B0604020202020204" pitchFamily="34" charset="0"/>
        <a:buChar char="•"/>
        <a:defRPr sz="2800" kern="1200">
          <a:solidFill>
            <a:schemeClr val="tx1"/>
          </a:solidFill>
          <a:latin typeface="Noto IKEA Latin" panose="020B0502040504020204" pitchFamily="34" charset="0"/>
          <a:ea typeface="+mn-ea"/>
          <a:cs typeface="+mn-cs"/>
        </a:defRPr>
      </a:lvl4pPr>
      <a:lvl5pPr marL="4114492" indent="-457165" algn="l" defTabSz="1828663" rtl="0" eaLnBrk="1" latinLnBrk="0" hangingPunct="1">
        <a:lnSpc>
          <a:spcPct val="100000"/>
        </a:lnSpc>
        <a:spcBef>
          <a:spcPts val="1000"/>
        </a:spcBef>
        <a:buFont typeface="Arial" panose="020B0604020202020204" pitchFamily="34" charset="0"/>
        <a:buChar char="•"/>
        <a:defRPr sz="2000" kern="1200">
          <a:solidFill>
            <a:schemeClr val="tx1"/>
          </a:solidFill>
          <a:latin typeface="Noto IKEA Latin" panose="020B0502040504020204" pitchFamily="34" charset="0"/>
          <a:ea typeface="+mn-ea"/>
          <a:cs typeface="+mn-cs"/>
        </a:defRPr>
      </a:lvl5pPr>
      <a:lvl6pPr marL="5028823"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155"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485"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1817"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663" rtl="0" eaLnBrk="1" latinLnBrk="0" hangingPunct="1">
        <a:defRPr sz="3600" kern="1200">
          <a:solidFill>
            <a:schemeClr val="tx1"/>
          </a:solidFill>
          <a:latin typeface="+mn-lt"/>
          <a:ea typeface="+mn-ea"/>
          <a:cs typeface="+mn-cs"/>
        </a:defRPr>
      </a:lvl1pPr>
      <a:lvl2pPr marL="914332" algn="l" defTabSz="1828663" rtl="0" eaLnBrk="1" latinLnBrk="0" hangingPunct="1">
        <a:defRPr sz="3600" kern="1200">
          <a:solidFill>
            <a:schemeClr val="tx1"/>
          </a:solidFill>
          <a:latin typeface="+mn-lt"/>
          <a:ea typeface="+mn-ea"/>
          <a:cs typeface="+mn-cs"/>
        </a:defRPr>
      </a:lvl2pPr>
      <a:lvl3pPr marL="1828663" algn="l" defTabSz="1828663" rtl="0" eaLnBrk="1" latinLnBrk="0" hangingPunct="1">
        <a:defRPr sz="3600" kern="1200">
          <a:solidFill>
            <a:schemeClr val="tx1"/>
          </a:solidFill>
          <a:latin typeface="+mn-lt"/>
          <a:ea typeface="+mn-ea"/>
          <a:cs typeface="+mn-cs"/>
        </a:defRPr>
      </a:lvl3pPr>
      <a:lvl4pPr marL="2742995" algn="l" defTabSz="1828663" rtl="0" eaLnBrk="1" latinLnBrk="0" hangingPunct="1">
        <a:defRPr sz="3600" kern="1200">
          <a:solidFill>
            <a:schemeClr val="tx1"/>
          </a:solidFill>
          <a:latin typeface="+mn-lt"/>
          <a:ea typeface="+mn-ea"/>
          <a:cs typeface="+mn-cs"/>
        </a:defRPr>
      </a:lvl4pPr>
      <a:lvl5pPr marL="3657325" algn="l" defTabSz="1828663" rtl="0" eaLnBrk="1" latinLnBrk="0" hangingPunct="1">
        <a:defRPr sz="3600" kern="1200">
          <a:solidFill>
            <a:schemeClr val="tx1"/>
          </a:solidFill>
          <a:latin typeface="+mn-lt"/>
          <a:ea typeface="+mn-ea"/>
          <a:cs typeface="+mn-cs"/>
        </a:defRPr>
      </a:lvl5pPr>
      <a:lvl6pPr marL="4571657" algn="l" defTabSz="1828663" rtl="0" eaLnBrk="1" latinLnBrk="0" hangingPunct="1">
        <a:defRPr sz="3600" kern="1200">
          <a:solidFill>
            <a:schemeClr val="tx1"/>
          </a:solidFill>
          <a:latin typeface="+mn-lt"/>
          <a:ea typeface="+mn-ea"/>
          <a:cs typeface="+mn-cs"/>
        </a:defRPr>
      </a:lvl6pPr>
      <a:lvl7pPr marL="5485988" algn="l" defTabSz="1828663" rtl="0" eaLnBrk="1" latinLnBrk="0" hangingPunct="1">
        <a:defRPr sz="3600" kern="1200">
          <a:solidFill>
            <a:schemeClr val="tx1"/>
          </a:solidFill>
          <a:latin typeface="+mn-lt"/>
          <a:ea typeface="+mn-ea"/>
          <a:cs typeface="+mn-cs"/>
        </a:defRPr>
      </a:lvl7pPr>
      <a:lvl8pPr marL="6400320" algn="l" defTabSz="1828663" rtl="0" eaLnBrk="1" latinLnBrk="0" hangingPunct="1">
        <a:defRPr sz="3600" kern="1200">
          <a:solidFill>
            <a:schemeClr val="tx1"/>
          </a:solidFill>
          <a:latin typeface="+mn-lt"/>
          <a:ea typeface="+mn-ea"/>
          <a:cs typeface="+mn-cs"/>
        </a:defRPr>
      </a:lvl8pPr>
      <a:lvl9pPr marL="7314652" algn="l" defTabSz="1828663"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527">
          <p15:clr>
            <a:srgbClr val="F26B43"/>
          </p15:clr>
        </p15:guide>
        <p15:guide id="4" pos="529">
          <p15:clr>
            <a:srgbClr val="F26B43"/>
          </p15:clr>
        </p15:guide>
        <p15:guide id="5" pos="7151">
          <p15:clr>
            <a:srgbClr val="F26B43"/>
          </p15:clr>
        </p15:guide>
        <p15:guide id="6" orient="horz" pos="3793">
          <p15:clr>
            <a:srgbClr val="F26B43"/>
          </p15:clr>
        </p15:guide>
        <p15:guide id="7" orient="horz" pos="1797">
          <p15:clr>
            <a:srgbClr val="F26B43"/>
          </p15:clr>
        </p15:guide>
        <p15:guide id="8" orient="horz" pos="1616">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C5E5B2-D7B7-0743-B449-C3B8D5EF3BBC}"/>
              </a:ext>
            </a:extLst>
          </p:cNvPr>
          <p:cNvSpPr>
            <a:spLocks noGrp="1"/>
          </p:cNvSpPr>
          <p:nvPr>
            <p:ph type="body" idx="1"/>
          </p:nvPr>
        </p:nvSpPr>
        <p:spPr>
          <a:xfrm>
            <a:off x="1676291" y="5129808"/>
            <a:ext cx="21029831" cy="6908592"/>
          </a:xfrm>
          <a:prstGeom prst="rect">
            <a:avLst/>
          </a:prstGeom>
        </p:spPr>
        <p:txBody>
          <a:bodyPr vert="horz" lIns="91440" tIns="45720" rIns="91440" bIns="45720" rtlCol="0" anchor="t">
            <a:noAutofit/>
          </a:bodyPr>
          <a:lstStyle/>
          <a:p>
            <a:pPr lvl="0"/>
            <a:r>
              <a:rPr lang="en-GB" noProof="0"/>
              <a:t>Put the body text here</a:t>
            </a:r>
          </a:p>
          <a:p>
            <a:pPr lvl="1"/>
            <a:r>
              <a:rPr lang="en-GB" noProof="0"/>
              <a:t>Bullet list</a:t>
            </a:r>
          </a:p>
        </p:txBody>
      </p:sp>
      <p:sp>
        <p:nvSpPr>
          <p:cNvPr id="7" name="Title Placeholder 6">
            <a:extLst>
              <a:ext uri="{FF2B5EF4-FFF2-40B4-BE49-F238E27FC236}">
                <a16:creationId xmlns:a16="http://schemas.microsoft.com/office/drawing/2014/main" id="{98BFA95D-7754-EC48-8FDA-5BF403130B73}"/>
              </a:ext>
            </a:extLst>
          </p:cNvPr>
          <p:cNvSpPr>
            <a:spLocks noGrp="1"/>
          </p:cNvSpPr>
          <p:nvPr>
            <p:ph type="title"/>
          </p:nvPr>
        </p:nvSpPr>
        <p:spPr>
          <a:xfrm>
            <a:off x="1676293" y="1677600"/>
            <a:ext cx="21033007" cy="3011659"/>
          </a:xfrm>
          <a:prstGeom prst="rect">
            <a:avLst/>
          </a:prstGeom>
        </p:spPr>
        <p:txBody>
          <a:bodyPr vert="horz" lIns="91440" tIns="45720" rIns="91440" bIns="45720" rtlCol="0" anchor="t">
            <a:noAutofit/>
          </a:bodyPr>
          <a:lstStyle/>
          <a:p>
            <a:r>
              <a:rPr lang="en-GB" noProof="0"/>
              <a:t>Put the headline here</a:t>
            </a:r>
          </a:p>
        </p:txBody>
      </p:sp>
      <p:sp>
        <p:nvSpPr>
          <p:cNvPr id="2" name="Footer Placeholder 1">
            <a:extLst>
              <a:ext uri="{FF2B5EF4-FFF2-40B4-BE49-F238E27FC236}">
                <a16:creationId xmlns:a16="http://schemas.microsoft.com/office/drawing/2014/main" id="{D1826FC7-2513-0447-A9A7-4C6A2FBE72EF}"/>
              </a:ext>
            </a:extLst>
          </p:cNvPr>
          <p:cNvSpPr>
            <a:spLocks noGrp="1"/>
          </p:cNvSpPr>
          <p:nvPr>
            <p:ph type="ftr" sz="quarter" idx="3"/>
          </p:nvPr>
        </p:nvSpPr>
        <p:spPr>
          <a:xfrm>
            <a:off x="1677600" y="12690000"/>
            <a:ext cx="8228013" cy="540000"/>
          </a:xfrm>
          <a:prstGeom prst="rect">
            <a:avLst/>
          </a:prstGeom>
        </p:spPr>
        <p:txBody>
          <a:bodyPr vert="horz" lIns="91440" tIns="45720" rIns="91440" bIns="45720" rtlCol="0" anchor="t"/>
          <a:lstStyle>
            <a:lvl1pPr algn="l">
              <a:defRPr sz="1600">
                <a:solidFill>
                  <a:schemeClr val="tx1">
                    <a:lumMod val="65000"/>
                    <a:lumOff val="35000"/>
                  </a:schemeClr>
                </a:solidFill>
              </a:defRPr>
            </a:lvl1pPr>
          </a:lstStyle>
          <a:p>
            <a:endParaRPr lang="en-NL"/>
          </a:p>
        </p:txBody>
      </p:sp>
      <p:sp>
        <p:nvSpPr>
          <p:cNvPr id="5" name="TextBox 4">
            <a:extLst>
              <a:ext uri="{FF2B5EF4-FFF2-40B4-BE49-F238E27FC236}">
                <a16:creationId xmlns:a16="http://schemas.microsoft.com/office/drawing/2014/main" id="{3248AD6A-6F57-254A-8A2F-1338D03DA904}"/>
              </a:ext>
            </a:extLst>
          </p:cNvPr>
          <p:cNvSpPr txBox="1"/>
          <p:nvPr userDrawn="1">
            <p:extLst>
              <p:ext uri="{1162E1C5-73C7-4A58-AE30-91384D911F3F}">
                <p184:classification xmlns:p184="http://schemas.microsoft.com/office/powerpoint/2018/4/main" val="ftr"/>
              </p:ext>
            </p:extLst>
          </p:nvPr>
        </p:nvSpPr>
        <p:spPr>
          <a:xfrm>
            <a:off x="11632443" y="13338720"/>
            <a:ext cx="803224" cy="246221"/>
          </a:xfrm>
          <a:prstGeom prst="rect">
            <a:avLst/>
          </a:prstGeom>
        </p:spPr>
        <p:txBody>
          <a:bodyPr horzOverflow="overflow" lIns="0" tIns="0" rIns="0" bIns="0">
            <a:spAutoFit/>
          </a:bodyPr>
          <a:lstStyle/>
          <a:p>
            <a:pPr algn="ctr"/>
            <a:r>
              <a:rPr lang="en-NL" sz="1600">
                <a:solidFill>
                  <a:srgbClr val="5A5A5A"/>
                </a:solidFill>
                <a:latin typeface="Noto IKEA Latin" panose="020B0502040504020204" pitchFamily="34" charset="0"/>
              </a:rPr>
              <a:t>Internal</a:t>
            </a:r>
          </a:p>
        </p:txBody>
      </p:sp>
    </p:spTree>
    <p:extLst>
      <p:ext uri="{BB962C8B-B14F-4D97-AF65-F5344CB8AC3E}">
        <p14:creationId xmlns:p14="http://schemas.microsoft.com/office/powerpoint/2010/main" val="3039898746"/>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46" r:id="rId3"/>
    <p:sldLayoutId id="2147484147" r:id="rId4"/>
    <p:sldLayoutId id="2147484148" r:id="rId5"/>
    <p:sldLayoutId id="2147484149" r:id="rId6"/>
    <p:sldLayoutId id="2147484150" r:id="rId7"/>
    <p:sldLayoutId id="2147484151" r:id="rId8"/>
    <p:sldLayoutId id="2147484152" r:id="rId9"/>
    <p:sldLayoutId id="2147484153" r:id="rId10"/>
    <p:sldLayoutId id="2147484154" r:id="rId11"/>
    <p:sldLayoutId id="2147484155" r:id="rId12"/>
    <p:sldLayoutId id="2147484156" r:id="rId13"/>
    <p:sldLayoutId id="2147484157" r:id="rId14"/>
    <p:sldLayoutId id="2147484158" r:id="rId15"/>
    <p:sldLayoutId id="2147484159" r:id="rId16"/>
    <p:sldLayoutId id="2147484160" r:id="rId17"/>
    <p:sldLayoutId id="2147484161" r:id="rId18"/>
    <p:sldLayoutId id="2147484162" r:id="rId19"/>
    <p:sldLayoutId id="2147484163" r:id="rId20"/>
    <p:sldLayoutId id="2147484164" r:id="rId21"/>
    <p:sldLayoutId id="2147484165" r:id="rId22"/>
    <p:sldLayoutId id="2147484166" r:id="rId23"/>
    <p:sldLayoutId id="2147484167" r:id="rId24"/>
    <p:sldLayoutId id="2147484168" r:id="rId25"/>
    <p:sldLayoutId id="2147484169" r:id="rId26"/>
    <p:sldLayoutId id="2147484170" r:id="rId27"/>
    <p:sldLayoutId id="2147484171" r:id="rId28"/>
    <p:sldLayoutId id="2147484172" r:id="rId29"/>
    <p:sldLayoutId id="2147484173" r:id="rId30"/>
    <p:sldLayoutId id="2147484174" r:id="rId31"/>
    <p:sldLayoutId id="2147484175" r:id="rId32"/>
    <p:sldLayoutId id="2147484176" r:id="rId33"/>
    <p:sldLayoutId id="2147484177" r:id="rId34"/>
    <p:sldLayoutId id="2147484178" r:id="rId35"/>
    <p:sldLayoutId id="2147484179" r:id="rId36"/>
    <p:sldLayoutId id="2147484180" r:id="rId37"/>
    <p:sldLayoutId id="2147484181" r:id="rId38"/>
  </p:sldLayoutIdLst>
  <p:hf sldNum="0" hdr="0" dt="0"/>
  <p:txStyles>
    <p:titleStyle>
      <a:lvl1pPr algn="l" defTabSz="1828663" rtl="0" eaLnBrk="1" latinLnBrk="0" hangingPunct="1">
        <a:lnSpc>
          <a:spcPct val="100000"/>
        </a:lnSpc>
        <a:spcBef>
          <a:spcPct val="0"/>
        </a:spcBef>
        <a:buNone/>
        <a:defRPr sz="8000" b="1" kern="1200" spc="-200" baseline="0">
          <a:solidFill>
            <a:schemeClr val="tx1"/>
          </a:solidFill>
          <a:latin typeface="Noto IKEA Latin" panose="020B0502040504020204" pitchFamily="34" charset="0"/>
          <a:ea typeface="+mj-ea"/>
          <a:cs typeface="+mj-cs"/>
        </a:defRPr>
      </a:lvl1pPr>
    </p:titleStyle>
    <p:bodyStyle>
      <a:lvl1pPr marL="0" indent="0" algn="l" defTabSz="1828663" rtl="0" eaLnBrk="1" latinLnBrk="0" hangingPunct="1">
        <a:lnSpc>
          <a:spcPct val="100000"/>
        </a:lnSpc>
        <a:spcBef>
          <a:spcPts val="2000"/>
        </a:spcBef>
        <a:buFont typeface="Arial" panose="020B0604020202020204" pitchFamily="34" charset="0"/>
        <a:buNone/>
        <a:defRPr sz="3200" kern="1200">
          <a:solidFill>
            <a:schemeClr val="tx1"/>
          </a:solidFill>
          <a:latin typeface="Noto IKEA Latin" panose="020B0502040504020204" pitchFamily="34" charset="0"/>
          <a:ea typeface="+mn-ea"/>
          <a:cs typeface="+mn-cs"/>
        </a:defRPr>
      </a:lvl1pPr>
      <a:lvl2pPr marL="0" indent="-685766" algn="l" defTabSz="1828663" rtl="0" eaLnBrk="1" latinLnBrk="0" hangingPunct="1">
        <a:lnSpc>
          <a:spcPct val="100000"/>
        </a:lnSpc>
        <a:spcBef>
          <a:spcPts val="2000"/>
        </a:spcBef>
        <a:buFont typeface="Arial" panose="020B0604020202020204" pitchFamily="34" charset="0"/>
        <a:buChar char="•"/>
        <a:defRPr sz="3200" kern="1200" spc="0">
          <a:solidFill>
            <a:schemeClr val="tx1"/>
          </a:solidFill>
          <a:latin typeface="Noto IKEA Latin" panose="020B0502040504020204" pitchFamily="34" charset="0"/>
          <a:ea typeface="+mn-ea"/>
          <a:cs typeface="+mn-cs"/>
        </a:defRPr>
      </a:lvl2pPr>
      <a:lvl3pPr marL="2285828" indent="-457165" algn="l" defTabSz="1828663" rtl="0" eaLnBrk="1" latinLnBrk="0" hangingPunct="1">
        <a:lnSpc>
          <a:spcPct val="100000"/>
        </a:lnSpc>
        <a:spcBef>
          <a:spcPts val="1000"/>
        </a:spcBef>
        <a:buFont typeface="Arial" panose="020B0604020202020204" pitchFamily="34" charset="0"/>
        <a:buChar char="•"/>
        <a:defRPr sz="3600" i="0" kern="1200">
          <a:solidFill>
            <a:schemeClr val="tx1"/>
          </a:solidFill>
          <a:latin typeface="Noto IKEA Latin" panose="020B0502040504020204" pitchFamily="34" charset="0"/>
          <a:ea typeface="+mn-ea"/>
          <a:cs typeface="+mn-cs"/>
        </a:defRPr>
      </a:lvl3pPr>
      <a:lvl4pPr marL="3200160" indent="-457165" algn="l" defTabSz="1828663" rtl="0" eaLnBrk="1" latinLnBrk="0" hangingPunct="1">
        <a:lnSpc>
          <a:spcPct val="100000"/>
        </a:lnSpc>
        <a:spcBef>
          <a:spcPts val="1000"/>
        </a:spcBef>
        <a:buFont typeface="Arial" panose="020B0604020202020204" pitchFamily="34" charset="0"/>
        <a:buChar char="•"/>
        <a:defRPr sz="2800" kern="1200">
          <a:solidFill>
            <a:schemeClr val="tx1"/>
          </a:solidFill>
          <a:latin typeface="Noto IKEA Latin" panose="020B0502040504020204" pitchFamily="34" charset="0"/>
          <a:ea typeface="+mn-ea"/>
          <a:cs typeface="+mn-cs"/>
        </a:defRPr>
      </a:lvl4pPr>
      <a:lvl5pPr marL="4114492" indent="-457165" algn="l" defTabSz="1828663" rtl="0" eaLnBrk="1" latinLnBrk="0" hangingPunct="1">
        <a:lnSpc>
          <a:spcPct val="100000"/>
        </a:lnSpc>
        <a:spcBef>
          <a:spcPts val="1000"/>
        </a:spcBef>
        <a:buFont typeface="Arial" panose="020B0604020202020204" pitchFamily="34" charset="0"/>
        <a:buChar char="•"/>
        <a:defRPr sz="2000" kern="1200">
          <a:solidFill>
            <a:schemeClr val="tx1"/>
          </a:solidFill>
          <a:latin typeface="Noto IKEA Latin" panose="020B0502040504020204" pitchFamily="34" charset="0"/>
          <a:ea typeface="+mn-ea"/>
          <a:cs typeface="+mn-cs"/>
        </a:defRPr>
      </a:lvl5pPr>
      <a:lvl6pPr marL="5028823"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155"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485"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1817"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663" rtl="0" eaLnBrk="1" latinLnBrk="0" hangingPunct="1">
        <a:defRPr sz="3600" kern="1200">
          <a:solidFill>
            <a:schemeClr val="tx1"/>
          </a:solidFill>
          <a:latin typeface="+mn-lt"/>
          <a:ea typeface="+mn-ea"/>
          <a:cs typeface="+mn-cs"/>
        </a:defRPr>
      </a:lvl1pPr>
      <a:lvl2pPr marL="914332" algn="l" defTabSz="1828663" rtl="0" eaLnBrk="1" latinLnBrk="0" hangingPunct="1">
        <a:defRPr sz="3600" kern="1200">
          <a:solidFill>
            <a:schemeClr val="tx1"/>
          </a:solidFill>
          <a:latin typeface="+mn-lt"/>
          <a:ea typeface="+mn-ea"/>
          <a:cs typeface="+mn-cs"/>
        </a:defRPr>
      </a:lvl2pPr>
      <a:lvl3pPr marL="1828663" algn="l" defTabSz="1828663" rtl="0" eaLnBrk="1" latinLnBrk="0" hangingPunct="1">
        <a:defRPr sz="3600" kern="1200">
          <a:solidFill>
            <a:schemeClr val="tx1"/>
          </a:solidFill>
          <a:latin typeface="+mn-lt"/>
          <a:ea typeface="+mn-ea"/>
          <a:cs typeface="+mn-cs"/>
        </a:defRPr>
      </a:lvl3pPr>
      <a:lvl4pPr marL="2742995" algn="l" defTabSz="1828663" rtl="0" eaLnBrk="1" latinLnBrk="0" hangingPunct="1">
        <a:defRPr sz="3600" kern="1200">
          <a:solidFill>
            <a:schemeClr val="tx1"/>
          </a:solidFill>
          <a:latin typeface="+mn-lt"/>
          <a:ea typeface="+mn-ea"/>
          <a:cs typeface="+mn-cs"/>
        </a:defRPr>
      </a:lvl4pPr>
      <a:lvl5pPr marL="3657325" algn="l" defTabSz="1828663" rtl="0" eaLnBrk="1" latinLnBrk="0" hangingPunct="1">
        <a:defRPr sz="3600" kern="1200">
          <a:solidFill>
            <a:schemeClr val="tx1"/>
          </a:solidFill>
          <a:latin typeface="+mn-lt"/>
          <a:ea typeface="+mn-ea"/>
          <a:cs typeface="+mn-cs"/>
        </a:defRPr>
      </a:lvl5pPr>
      <a:lvl6pPr marL="4571657" algn="l" defTabSz="1828663" rtl="0" eaLnBrk="1" latinLnBrk="0" hangingPunct="1">
        <a:defRPr sz="3600" kern="1200">
          <a:solidFill>
            <a:schemeClr val="tx1"/>
          </a:solidFill>
          <a:latin typeface="+mn-lt"/>
          <a:ea typeface="+mn-ea"/>
          <a:cs typeface="+mn-cs"/>
        </a:defRPr>
      </a:lvl6pPr>
      <a:lvl7pPr marL="5485988" algn="l" defTabSz="1828663" rtl="0" eaLnBrk="1" latinLnBrk="0" hangingPunct="1">
        <a:defRPr sz="3600" kern="1200">
          <a:solidFill>
            <a:schemeClr val="tx1"/>
          </a:solidFill>
          <a:latin typeface="+mn-lt"/>
          <a:ea typeface="+mn-ea"/>
          <a:cs typeface="+mn-cs"/>
        </a:defRPr>
      </a:lvl7pPr>
      <a:lvl8pPr marL="6400320" algn="l" defTabSz="1828663" rtl="0" eaLnBrk="1" latinLnBrk="0" hangingPunct="1">
        <a:defRPr sz="3600" kern="1200">
          <a:solidFill>
            <a:schemeClr val="tx1"/>
          </a:solidFill>
          <a:latin typeface="+mn-lt"/>
          <a:ea typeface="+mn-ea"/>
          <a:cs typeface="+mn-cs"/>
        </a:defRPr>
      </a:lvl8pPr>
      <a:lvl9pPr marL="7314652" algn="l" defTabSz="1828663"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0">
          <p15:clr>
            <a:srgbClr val="F26B43"/>
          </p15:clr>
        </p15:guide>
        <p15:guide id="2" pos="1919">
          <p15:clr>
            <a:srgbClr val="F26B43"/>
          </p15:clr>
        </p15:guide>
        <p15:guide id="3" orient="horz" pos="2143">
          <p15:clr>
            <a:srgbClr val="F26B43"/>
          </p15:clr>
        </p15:guide>
        <p15:guide id="4" pos="3824">
          <p15:clr>
            <a:srgbClr val="F26B43"/>
          </p15:clr>
        </p15:guide>
        <p15:guide id="5" pos="11535">
          <p15:clr>
            <a:srgbClr val="F26B43"/>
          </p15:clr>
        </p15:guide>
        <p15:guide id="6" orient="horz" pos="7586">
          <p15:clr>
            <a:srgbClr val="F26B43"/>
          </p15:clr>
        </p15:guide>
        <p15:guide id="7" orient="horz" pos="3231">
          <p15:clr>
            <a:srgbClr val="F26B43"/>
          </p15:clr>
        </p15:guide>
        <p15:guide id="8" orient="horz" pos="1054">
          <p15:clr>
            <a:srgbClr val="F26B43"/>
          </p15:clr>
        </p15:guide>
        <p15:guide id="9" pos="5774">
          <p15:clr>
            <a:srgbClr val="F26B43"/>
          </p15:clr>
        </p15:guide>
        <p15:guide id="10" pos="13440">
          <p15:clr>
            <a:srgbClr val="F26B43"/>
          </p15:clr>
        </p15:guide>
        <p15:guide id="11" pos="9585">
          <p15:clr>
            <a:srgbClr val="F26B43"/>
          </p15:clr>
        </p15:guide>
        <p15:guide id="12" pos="7679">
          <p15:clr>
            <a:srgbClr val="F26B43"/>
          </p15:clr>
        </p15:guide>
        <p15:guide id="13" orient="horz" pos="5409">
          <p15:clr>
            <a:srgbClr val="F26B43"/>
          </p15:clr>
        </p15:guide>
        <p15:guide id="14" orient="horz" pos="649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105.xml"/></Relationships>
</file>

<file path=ppt/slides/_rels/slide1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90.xml"/></Relationships>
</file>

<file path=ppt/slides/_rels/slide11.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8.xml"/><Relationship Id="rId1" Type="http://schemas.openxmlformats.org/officeDocument/2006/relationships/slideLayout" Target="../slideLayouts/slideLayout454.xml"/></Relationships>
</file>

<file path=ppt/slides/_rels/slide1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80.xml"/></Relationships>
</file>

<file path=ppt/slides/_rels/slide13.xml.rels><?xml version="1.0" encoding="UTF-8" standalone="yes"?>
<Relationships xmlns="http://schemas.openxmlformats.org/package/2006/relationships"><Relationship Id="rId8" Type="http://schemas.openxmlformats.org/officeDocument/2006/relationships/image" Target="../media/image49.jpeg"/><Relationship Id="rId13" Type="http://schemas.openxmlformats.org/officeDocument/2006/relationships/image" Target="../media/image54.png"/><Relationship Id="rId18" Type="http://schemas.openxmlformats.org/officeDocument/2006/relationships/image" Target="../media/image59.svg"/><Relationship Id="rId3" Type="http://schemas.openxmlformats.org/officeDocument/2006/relationships/image" Target="../media/image44.png"/><Relationship Id="rId7" Type="http://schemas.openxmlformats.org/officeDocument/2006/relationships/image" Target="../media/image48.png"/><Relationship Id="rId12" Type="http://schemas.openxmlformats.org/officeDocument/2006/relationships/image" Target="../media/image53.jpeg"/><Relationship Id="rId17" Type="http://schemas.openxmlformats.org/officeDocument/2006/relationships/image" Target="../media/image58.png"/><Relationship Id="rId2" Type="http://schemas.openxmlformats.org/officeDocument/2006/relationships/notesSlide" Target="../notesSlides/notesSlide9.xml"/><Relationship Id="rId16" Type="http://schemas.openxmlformats.org/officeDocument/2006/relationships/image" Target="../media/image57.svg"/><Relationship Id="rId1" Type="http://schemas.openxmlformats.org/officeDocument/2006/relationships/slideLayout" Target="../slideLayouts/slideLayout145.xml"/><Relationship Id="rId6" Type="http://schemas.openxmlformats.org/officeDocument/2006/relationships/image" Target="../media/image47.jpeg"/><Relationship Id="rId11" Type="http://schemas.openxmlformats.org/officeDocument/2006/relationships/image" Target="../media/image52.jpeg"/><Relationship Id="rId5" Type="http://schemas.openxmlformats.org/officeDocument/2006/relationships/image" Target="../media/image46.jpeg"/><Relationship Id="rId15" Type="http://schemas.openxmlformats.org/officeDocument/2006/relationships/image" Target="../media/image56.png"/><Relationship Id="rId10" Type="http://schemas.openxmlformats.org/officeDocument/2006/relationships/image" Target="../media/image51.png"/><Relationship Id="rId4" Type="http://schemas.openxmlformats.org/officeDocument/2006/relationships/image" Target="../media/image45.jpeg"/><Relationship Id="rId9" Type="http://schemas.openxmlformats.org/officeDocument/2006/relationships/image" Target="../media/image50.jpeg"/><Relationship Id="rId14" Type="http://schemas.openxmlformats.org/officeDocument/2006/relationships/image" Target="../media/image55.svg"/></Relationships>
</file>

<file path=ppt/slides/_rels/slide14.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0.xml"/><Relationship Id="rId1" Type="http://schemas.openxmlformats.org/officeDocument/2006/relationships/slideLayout" Target="../slideLayouts/slideLayout373.xml"/><Relationship Id="rId4" Type="http://schemas.openxmlformats.org/officeDocument/2006/relationships/image" Target="../media/image61.jpg"/></Relationships>
</file>

<file path=ppt/slides/_rels/slide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7.jpeg"/><Relationship Id="rId7" Type="http://schemas.openxmlformats.org/officeDocument/2006/relationships/diagramColors" Target="../diagrams/colors1.xml"/><Relationship Id="rId2" Type="http://schemas.openxmlformats.org/officeDocument/2006/relationships/notesSlide" Target="../notesSlides/notesSlide2.xml"/><Relationship Id="rId1" Type="http://schemas.openxmlformats.org/officeDocument/2006/relationships/slideLayout" Target="../slideLayouts/slideLayout120.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2.png"/><Relationship Id="rId18" Type="http://schemas.openxmlformats.org/officeDocument/2006/relationships/image" Target="../media/image26.jpeg"/><Relationship Id="rId3" Type="http://schemas.microsoft.com/office/2018/10/relationships/comments" Target="../comments/modernComment_7FFFD033_A9A0B555.xml"/><Relationship Id="rId21" Type="http://schemas.openxmlformats.org/officeDocument/2006/relationships/image" Target="../media/image29.png"/><Relationship Id="rId7" Type="http://schemas.openxmlformats.org/officeDocument/2006/relationships/image" Target="../media/image19.png"/><Relationship Id="rId12" Type="http://schemas.microsoft.com/office/2007/relationships/hdphoto" Target="../media/hdphoto3.wdp"/><Relationship Id="rId17" Type="http://schemas.openxmlformats.org/officeDocument/2006/relationships/image" Target="../media/image25.png"/><Relationship Id="rId2" Type="http://schemas.openxmlformats.org/officeDocument/2006/relationships/notesSlide" Target="../notesSlides/notesSlide3.xml"/><Relationship Id="rId16" Type="http://schemas.openxmlformats.org/officeDocument/2006/relationships/image" Target="../media/image24.jpeg"/><Relationship Id="rId20" Type="http://schemas.openxmlformats.org/officeDocument/2006/relationships/image" Target="../media/image28.jpeg"/><Relationship Id="rId1" Type="http://schemas.openxmlformats.org/officeDocument/2006/relationships/slideLayout" Target="../slideLayouts/slideLayout120.xml"/><Relationship Id="rId6" Type="http://schemas.openxmlformats.org/officeDocument/2006/relationships/customXml" Target="../ink/ink2.xml"/><Relationship Id="rId11" Type="http://schemas.openxmlformats.org/officeDocument/2006/relationships/image" Target="../media/image21.png"/><Relationship Id="rId24" Type="http://schemas.microsoft.com/office/2007/relationships/hdphoto" Target="../media/hdphoto5.wdp"/><Relationship Id="rId5" Type="http://schemas.openxmlformats.org/officeDocument/2006/relationships/image" Target="../media/image18.png"/><Relationship Id="rId15" Type="http://schemas.openxmlformats.org/officeDocument/2006/relationships/image" Target="../media/image23.jpeg"/><Relationship Id="rId23" Type="http://schemas.openxmlformats.org/officeDocument/2006/relationships/image" Target="../media/image31.png"/><Relationship Id="rId10" Type="http://schemas.microsoft.com/office/2007/relationships/hdphoto" Target="../media/hdphoto2.wdp"/><Relationship Id="rId19" Type="http://schemas.openxmlformats.org/officeDocument/2006/relationships/image" Target="../media/image27.jpeg"/><Relationship Id="rId4" Type="http://schemas.openxmlformats.org/officeDocument/2006/relationships/customXml" Target="../ink/ink1.xml"/><Relationship Id="rId9" Type="http://schemas.openxmlformats.org/officeDocument/2006/relationships/image" Target="../media/image20.png"/><Relationship Id="rId14" Type="http://schemas.microsoft.com/office/2007/relationships/hdphoto" Target="../media/hdphoto4.wdp"/><Relationship Id="rId22" Type="http://schemas.openxmlformats.org/officeDocument/2006/relationships/image" Target="../media/image30.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0.xml"/></Relationships>
</file>

<file path=ppt/slides/_rels/slide5.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131.xml"/><Relationship Id="rId6" Type="http://schemas.openxmlformats.org/officeDocument/2006/relationships/image" Target="../media/image35.svg"/><Relationship Id="rId5" Type="http://schemas.openxmlformats.org/officeDocument/2006/relationships/image" Target="../media/image34.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s>
</file>

<file path=ppt/slides/_rels/slide6.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oleObject" Target="../embeddings/oleObject2.bin"/><Relationship Id="rId7" Type="http://schemas.openxmlformats.org/officeDocument/2006/relationships/diagramQuickStyle" Target="../diagrams/quickStyle2.xml"/><Relationship Id="rId2" Type="http://schemas.openxmlformats.org/officeDocument/2006/relationships/slideLayout" Target="../slideLayouts/slideLayout442.xml"/><Relationship Id="rId1" Type="http://schemas.openxmlformats.org/officeDocument/2006/relationships/tags" Target="../tags/tag3.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40.emf"/><Relationship Id="rId9" Type="http://schemas.microsoft.com/office/2007/relationships/diagramDrawing" Target="../diagrams/drawing2.xml"/></Relationships>
</file>

<file path=ppt/slides/_rels/slide7.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6.xml"/><Relationship Id="rId1" Type="http://schemas.openxmlformats.org/officeDocument/2006/relationships/slideLayout" Target="../slideLayouts/slideLayout454.xml"/></Relationships>
</file>

<file path=ppt/slides/_rels/slide8.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443.xml"/></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112.xml"/><Relationship Id="rId4" Type="http://schemas.openxmlformats.org/officeDocument/2006/relationships/image" Target="../media/image3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3" descr="A ball of yarn and a bunch of strings&#10;&#10;Description automatically generated">
            <a:extLst>
              <a:ext uri="{FF2B5EF4-FFF2-40B4-BE49-F238E27FC236}">
                <a16:creationId xmlns:a16="http://schemas.microsoft.com/office/drawing/2014/main" id="{DEEB17FE-E78C-9CB4-A5AF-363033EDAB88}"/>
              </a:ext>
            </a:extLst>
          </p:cNvPr>
          <p:cNvPicPr>
            <a:picLocks noGrp="1" noChangeAspect="1"/>
          </p:cNvPicPr>
          <p:nvPr>
            <p:ph type="pic" sz="quarter" idx="18"/>
          </p:nvPr>
        </p:nvPicPr>
        <p:blipFill>
          <a:blip r:embed="rId3"/>
          <a:srcRect t="9143" b="9143"/>
          <a:stretch>
            <a:fillRect/>
          </a:stretch>
        </p:blipFill>
        <p:spPr>
          <a:xfrm>
            <a:off x="490538" y="485775"/>
            <a:ext cx="23401337" cy="12744450"/>
          </a:xfrm>
        </p:spPr>
      </p:pic>
      <p:sp>
        <p:nvSpPr>
          <p:cNvPr id="3" name="Title 2">
            <a:extLst>
              <a:ext uri="{FF2B5EF4-FFF2-40B4-BE49-F238E27FC236}">
                <a16:creationId xmlns:a16="http://schemas.microsoft.com/office/drawing/2014/main" id="{9E074DFA-FA13-E8CA-7AFA-12647893BE5F}"/>
              </a:ext>
            </a:extLst>
          </p:cNvPr>
          <p:cNvSpPr>
            <a:spLocks noGrp="1"/>
          </p:cNvSpPr>
          <p:nvPr>
            <p:ph type="title"/>
          </p:nvPr>
        </p:nvSpPr>
        <p:spPr>
          <a:xfrm>
            <a:off x="3059999" y="3402014"/>
            <a:ext cx="12156189" cy="3156441"/>
          </a:xfrm>
        </p:spPr>
        <p:txBody>
          <a:bodyPr anchor="t">
            <a:normAutofit fontScale="90000"/>
          </a:bodyPr>
          <a:lstStyle/>
          <a:p>
            <a:pPr>
              <a:lnSpc>
                <a:spcPct val="90000"/>
              </a:lnSpc>
            </a:pPr>
            <a:r>
              <a:rPr lang="en-US" sz="8900">
                <a:latin typeface="Noto IKEA Latin"/>
              </a:rPr>
              <a:t>This is Innovation </a:t>
            </a:r>
            <a:br>
              <a:rPr lang="en-US" sz="8900">
                <a:latin typeface="Noto IKEA Latin"/>
              </a:rPr>
            </a:br>
            <a:r>
              <a:rPr lang="en-US" sz="6600" b="0">
                <a:latin typeface="Noto IKEA Latin"/>
              </a:rPr>
              <a:t>at Intralogistics Development</a:t>
            </a:r>
            <a:br>
              <a:rPr lang="en-US" sz="10700">
                <a:latin typeface="Noto IKEA Latin"/>
              </a:rPr>
            </a:br>
            <a:br>
              <a:rPr lang="en-US" sz="5000"/>
            </a:br>
            <a:br>
              <a:rPr lang="en-US" sz="5000"/>
            </a:br>
            <a:r>
              <a:rPr lang="en-US" sz="4000" b="0">
                <a:solidFill>
                  <a:schemeClr val="tx2"/>
                </a:solidFill>
                <a:latin typeface="Noto IKEA Latin"/>
              </a:rPr>
              <a:t> </a:t>
            </a:r>
            <a:br>
              <a:rPr lang="sv-SE" sz="5000"/>
            </a:br>
            <a:endParaRPr lang="sv-SE" sz="5000"/>
          </a:p>
        </p:txBody>
      </p:sp>
    </p:spTree>
    <p:extLst>
      <p:ext uri="{BB962C8B-B14F-4D97-AF65-F5344CB8AC3E}">
        <p14:creationId xmlns:p14="http://schemas.microsoft.com/office/powerpoint/2010/main" val="2987589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8D88347-CD96-E0CC-9109-775E6DAE46F2}"/>
              </a:ext>
            </a:extLst>
          </p:cNvPr>
          <p:cNvPicPr>
            <a:picLocks noChangeAspect="1"/>
          </p:cNvPicPr>
          <p:nvPr/>
        </p:nvPicPr>
        <p:blipFill rotWithShape="1">
          <a:blip r:embed="rId2"/>
          <a:srcRect l="11940" t="6010" r="8844"/>
          <a:stretch/>
        </p:blipFill>
        <p:spPr>
          <a:xfrm>
            <a:off x="18000228" y="2057453"/>
            <a:ext cx="5184238" cy="5967503"/>
          </a:xfrm>
          <a:prstGeom prst="rect">
            <a:avLst/>
          </a:prstGeom>
        </p:spPr>
      </p:pic>
      <p:pic>
        <p:nvPicPr>
          <p:cNvPr id="11" name="Picture 10">
            <a:extLst>
              <a:ext uri="{FF2B5EF4-FFF2-40B4-BE49-F238E27FC236}">
                <a16:creationId xmlns:a16="http://schemas.microsoft.com/office/drawing/2014/main" id="{AA3F54A7-732F-26E4-4274-1DF7494A69D9}"/>
              </a:ext>
            </a:extLst>
          </p:cNvPr>
          <p:cNvPicPr>
            <a:picLocks noChangeAspect="1"/>
          </p:cNvPicPr>
          <p:nvPr/>
        </p:nvPicPr>
        <p:blipFill rotWithShape="1">
          <a:blip r:embed="rId2"/>
          <a:srcRect l="11940" t="6010" r="8844"/>
          <a:stretch/>
        </p:blipFill>
        <p:spPr>
          <a:xfrm>
            <a:off x="20611246" y="7595312"/>
            <a:ext cx="3472926" cy="3997636"/>
          </a:xfrm>
          <a:prstGeom prst="rect">
            <a:avLst/>
          </a:prstGeom>
        </p:spPr>
      </p:pic>
      <p:sp>
        <p:nvSpPr>
          <p:cNvPr id="5" name="Title 4">
            <a:extLst>
              <a:ext uri="{FF2B5EF4-FFF2-40B4-BE49-F238E27FC236}">
                <a16:creationId xmlns:a16="http://schemas.microsoft.com/office/drawing/2014/main" id="{7E888404-60A9-3448-AF8A-063E30E00A57}"/>
              </a:ext>
            </a:extLst>
          </p:cNvPr>
          <p:cNvSpPr>
            <a:spLocks noGrp="1"/>
          </p:cNvSpPr>
          <p:nvPr>
            <p:ph type="title"/>
          </p:nvPr>
        </p:nvSpPr>
        <p:spPr/>
        <p:txBody>
          <a:bodyPr/>
          <a:lstStyle/>
          <a:p>
            <a:r>
              <a:rPr lang="en-GB"/>
              <a:t>Ideation Techniques</a:t>
            </a:r>
          </a:p>
        </p:txBody>
      </p:sp>
      <p:sp>
        <p:nvSpPr>
          <p:cNvPr id="6" name="Text Placeholder 5">
            <a:extLst>
              <a:ext uri="{FF2B5EF4-FFF2-40B4-BE49-F238E27FC236}">
                <a16:creationId xmlns:a16="http://schemas.microsoft.com/office/drawing/2014/main" id="{DD7E3864-A8DA-6043-8D75-6A58EE421228}"/>
              </a:ext>
            </a:extLst>
          </p:cNvPr>
          <p:cNvSpPr>
            <a:spLocks noGrp="1"/>
          </p:cNvSpPr>
          <p:nvPr>
            <p:ph type="body" sz="quarter" idx="13"/>
          </p:nvPr>
        </p:nvSpPr>
        <p:spPr/>
        <p:txBody>
          <a:bodyPr/>
          <a:lstStyle/>
          <a:p>
            <a:r>
              <a:rPr lang="en-GB"/>
              <a:t>Intralogistics Innovation</a:t>
            </a:r>
          </a:p>
        </p:txBody>
      </p:sp>
      <p:pic>
        <p:nvPicPr>
          <p:cNvPr id="7" name="Picture 6">
            <a:extLst>
              <a:ext uri="{FF2B5EF4-FFF2-40B4-BE49-F238E27FC236}">
                <a16:creationId xmlns:a16="http://schemas.microsoft.com/office/drawing/2014/main" id="{A4583017-62DD-BD4A-04C4-94419D3CD58C}"/>
              </a:ext>
            </a:extLst>
          </p:cNvPr>
          <p:cNvPicPr>
            <a:picLocks noChangeAspect="1"/>
          </p:cNvPicPr>
          <p:nvPr/>
        </p:nvPicPr>
        <p:blipFill rotWithShape="1">
          <a:blip r:embed="rId2"/>
          <a:srcRect t="8307"/>
          <a:stretch/>
        </p:blipFill>
        <p:spPr>
          <a:xfrm>
            <a:off x="10502033" y="5318551"/>
            <a:ext cx="8933868" cy="7947153"/>
          </a:xfrm>
          <a:prstGeom prst="rect">
            <a:avLst/>
          </a:prstGeom>
        </p:spPr>
      </p:pic>
    </p:spTree>
    <p:extLst>
      <p:ext uri="{BB962C8B-B14F-4D97-AF65-F5344CB8AC3E}">
        <p14:creationId xmlns:p14="http://schemas.microsoft.com/office/powerpoint/2010/main" val="31858079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3D box skeletons">
            <a:extLst>
              <a:ext uri="{FF2B5EF4-FFF2-40B4-BE49-F238E27FC236}">
                <a16:creationId xmlns:a16="http://schemas.microsoft.com/office/drawing/2014/main" id="{6765AD79-7873-380A-65D6-A8889B358AC0}"/>
              </a:ext>
            </a:extLst>
          </p:cNvPr>
          <p:cNvPicPr>
            <a:picLocks noChangeAspect="1"/>
          </p:cNvPicPr>
          <p:nvPr/>
        </p:nvPicPr>
        <p:blipFill rotWithShape="1">
          <a:blip r:embed="rId3">
            <a:alphaModFix amt="5000"/>
            <a:duotone>
              <a:schemeClr val="accent3">
                <a:shade val="45000"/>
                <a:satMod val="135000"/>
              </a:schemeClr>
              <a:prstClr val="white"/>
            </a:duotone>
          </a:blip>
          <a:srcRect b="14004"/>
          <a:stretch/>
        </p:blipFill>
        <p:spPr>
          <a:xfrm>
            <a:off x="0" y="3358"/>
            <a:ext cx="24424420" cy="13999246"/>
          </a:xfrm>
          <a:prstGeom prst="rect">
            <a:avLst/>
          </a:prstGeom>
        </p:spPr>
      </p:pic>
      <p:sp>
        <p:nvSpPr>
          <p:cNvPr id="4" name="Rectangle 3">
            <a:extLst>
              <a:ext uri="{FF2B5EF4-FFF2-40B4-BE49-F238E27FC236}">
                <a16:creationId xmlns:a16="http://schemas.microsoft.com/office/drawing/2014/main" id="{59252DE1-B53A-5C49-0299-7658EBD9F98E}"/>
              </a:ext>
            </a:extLst>
          </p:cNvPr>
          <p:cNvSpPr/>
          <p:nvPr/>
        </p:nvSpPr>
        <p:spPr>
          <a:xfrm>
            <a:off x="873457" y="2456597"/>
            <a:ext cx="21536167" cy="1154600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828663" rtl="0" eaLnBrk="1" fontAlgn="auto" latinLnBrk="0" hangingPunct="1">
              <a:lnSpc>
                <a:spcPct val="100000"/>
              </a:lnSpc>
              <a:spcBef>
                <a:spcPts val="0"/>
              </a:spcBef>
              <a:spcAft>
                <a:spcPts val="0"/>
              </a:spcAft>
              <a:buClrTx/>
              <a:buSzTx/>
              <a:buFontTx/>
              <a:buNone/>
              <a:tabLst/>
              <a:defRPr/>
            </a:pPr>
            <a:endParaRPr kumimoji="0" lang="sv-SE" sz="3600" b="0" i="0" u="none" strike="noStrike" kern="1200" cap="none" spc="0" normalizeH="0" baseline="0" noProof="0">
              <a:ln>
                <a:noFill/>
              </a:ln>
              <a:solidFill>
                <a:srgbClr val="FFFFFF"/>
              </a:solidFill>
              <a:effectLst/>
              <a:uLnTx/>
              <a:uFillTx/>
              <a:latin typeface="Noto IKEA Latin"/>
              <a:ea typeface="+mn-ea"/>
              <a:cs typeface="+mn-cs"/>
            </a:endParaRPr>
          </a:p>
        </p:txBody>
      </p:sp>
      <p:grpSp>
        <p:nvGrpSpPr>
          <p:cNvPr id="303" name="Group 2">
            <a:extLst>
              <a:ext uri="{FF2B5EF4-FFF2-40B4-BE49-F238E27FC236}">
                <a16:creationId xmlns:a16="http://schemas.microsoft.com/office/drawing/2014/main" id="{1721179D-2A1B-A350-2F54-5EA87E89A0F8}"/>
              </a:ext>
            </a:extLst>
          </p:cNvPr>
          <p:cNvGrpSpPr/>
          <p:nvPr/>
        </p:nvGrpSpPr>
        <p:grpSpPr>
          <a:xfrm>
            <a:off x="1295587" y="2808514"/>
            <a:ext cx="20713878" cy="10907486"/>
            <a:chOff x="3612579" y="1935347"/>
            <a:chExt cx="7104413" cy="3883271"/>
          </a:xfrm>
        </p:grpSpPr>
        <p:sp>
          <p:nvSpPr>
            <p:cNvPr id="304" name="Rectangle 22">
              <a:extLst>
                <a:ext uri="{FF2B5EF4-FFF2-40B4-BE49-F238E27FC236}">
                  <a16:creationId xmlns:a16="http://schemas.microsoft.com/office/drawing/2014/main" id="{B136E256-663D-F26B-E43B-115C3FD0FA42}"/>
                </a:ext>
              </a:extLst>
            </p:cNvPr>
            <p:cNvSpPr/>
            <p:nvPr/>
          </p:nvSpPr>
          <p:spPr>
            <a:xfrm>
              <a:off x="3612579" y="1950470"/>
              <a:ext cx="7095821" cy="509726"/>
            </a:xfrm>
            <a:prstGeom prst="rect">
              <a:avLst/>
            </a:prstGeom>
            <a:solidFill>
              <a:srgbClr val="FFFFFF">
                <a:lumMod val="85000"/>
                <a:alpha val="36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cxnSp>
          <p:nvCxnSpPr>
            <p:cNvPr id="305" name="Straight Connector 23">
              <a:extLst>
                <a:ext uri="{FF2B5EF4-FFF2-40B4-BE49-F238E27FC236}">
                  <a16:creationId xmlns:a16="http://schemas.microsoft.com/office/drawing/2014/main" id="{4492F19E-ACDA-A4D7-85EC-F0EEC9B37850}"/>
                </a:ext>
              </a:extLst>
            </p:cNvPr>
            <p:cNvCxnSpPr/>
            <p:nvPr/>
          </p:nvCxnSpPr>
          <p:spPr>
            <a:xfrm>
              <a:off x="7164785" y="1942011"/>
              <a:ext cx="0" cy="3866757"/>
            </a:xfrm>
            <a:prstGeom prst="line">
              <a:avLst/>
            </a:prstGeom>
            <a:noFill/>
            <a:ln w="25400" cap="rnd" cmpd="sng" algn="ctr">
              <a:solidFill>
                <a:srgbClr val="FFFFFF">
                  <a:lumMod val="50000"/>
                </a:srgbClr>
              </a:solidFill>
              <a:prstDash val="sysDot"/>
              <a:miter lim="800000"/>
              <a:headEnd type="none" w="lg" len="lg"/>
              <a:tailEnd type="oval" w="sm" len="sm"/>
            </a:ln>
            <a:effectLst/>
          </p:spPr>
        </p:cxnSp>
        <p:cxnSp>
          <p:nvCxnSpPr>
            <p:cNvPr id="306" name="Straight Connector 24">
              <a:extLst>
                <a:ext uri="{FF2B5EF4-FFF2-40B4-BE49-F238E27FC236}">
                  <a16:creationId xmlns:a16="http://schemas.microsoft.com/office/drawing/2014/main" id="{79C2D7FF-9371-91D7-BB6D-25CBDAD54D77}"/>
                </a:ext>
              </a:extLst>
            </p:cNvPr>
            <p:cNvCxnSpPr/>
            <p:nvPr/>
          </p:nvCxnSpPr>
          <p:spPr>
            <a:xfrm>
              <a:off x="5983580" y="1942011"/>
              <a:ext cx="0" cy="3866757"/>
            </a:xfrm>
            <a:prstGeom prst="line">
              <a:avLst/>
            </a:prstGeom>
            <a:noFill/>
            <a:ln w="25400" cap="rnd" cmpd="sng" algn="ctr">
              <a:solidFill>
                <a:srgbClr val="FFFFFF">
                  <a:lumMod val="50000"/>
                </a:srgbClr>
              </a:solidFill>
              <a:prstDash val="sysDot"/>
              <a:miter lim="800000"/>
              <a:headEnd type="none" w="lg" len="lg"/>
              <a:tailEnd type="oval" w="sm" len="sm"/>
            </a:ln>
            <a:effectLst/>
          </p:spPr>
        </p:cxnSp>
        <p:cxnSp>
          <p:nvCxnSpPr>
            <p:cNvPr id="307" name="Straight Connector 25">
              <a:extLst>
                <a:ext uri="{FF2B5EF4-FFF2-40B4-BE49-F238E27FC236}">
                  <a16:creationId xmlns:a16="http://schemas.microsoft.com/office/drawing/2014/main" id="{ACDFFAF1-21B0-91D9-71ED-C3FF16F23BFF}"/>
                </a:ext>
              </a:extLst>
            </p:cNvPr>
            <p:cNvCxnSpPr/>
            <p:nvPr/>
          </p:nvCxnSpPr>
          <p:spPr>
            <a:xfrm>
              <a:off x="8345990" y="1942393"/>
              <a:ext cx="0" cy="3866757"/>
            </a:xfrm>
            <a:prstGeom prst="line">
              <a:avLst/>
            </a:prstGeom>
            <a:noFill/>
            <a:ln w="25400" cap="rnd" cmpd="sng" algn="ctr">
              <a:solidFill>
                <a:srgbClr val="FFFFFF">
                  <a:lumMod val="50000"/>
                </a:srgbClr>
              </a:solidFill>
              <a:prstDash val="sysDot"/>
              <a:miter lim="800000"/>
              <a:headEnd type="none" w="lg" len="lg"/>
              <a:tailEnd type="oval" w="sm" len="sm"/>
            </a:ln>
            <a:effectLst/>
          </p:spPr>
        </p:cxnSp>
        <p:cxnSp>
          <p:nvCxnSpPr>
            <p:cNvPr id="309" name="Straight Connector 121">
              <a:extLst>
                <a:ext uri="{FF2B5EF4-FFF2-40B4-BE49-F238E27FC236}">
                  <a16:creationId xmlns:a16="http://schemas.microsoft.com/office/drawing/2014/main" id="{F93AF986-CF99-633C-704F-CDFCBA739626}"/>
                </a:ext>
              </a:extLst>
            </p:cNvPr>
            <p:cNvCxnSpPr/>
            <p:nvPr/>
          </p:nvCxnSpPr>
          <p:spPr>
            <a:xfrm>
              <a:off x="4802375" y="1942011"/>
              <a:ext cx="0" cy="3866757"/>
            </a:xfrm>
            <a:prstGeom prst="line">
              <a:avLst/>
            </a:prstGeom>
            <a:noFill/>
            <a:ln w="25400" cap="rnd" cmpd="sng" algn="ctr">
              <a:solidFill>
                <a:srgbClr val="FFFFFF">
                  <a:lumMod val="50000"/>
                </a:srgbClr>
              </a:solidFill>
              <a:prstDash val="sysDot"/>
              <a:miter lim="800000"/>
              <a:headEnd type="none" w="lg" len="lg"/>
              <a:tailEnd type="oval" w="sm" len="sm"/>
            </a:ln>
            <a:effectLst/>
          </p:spPr>
        </p:cxnSp>
        <p:cxnSp>
          <p:nvCxnSpPr>
            <p:cNvPr id="312" name="Straight Connector 124">
              <a:extLst>
                <a:ext uri="{FF2B5EF4-FFF2-40B4-BE49-F238E27FC236}">
                  <a16:creationId xmlns:a16="http://schemas.microsoft.com/office/drawing/2014/main" id="{809B5B8A-1A49-D3EC-A534-752722A1FD87}"/>
                </a:ext>
              </a:extLst>
            </p:cNvPr>
            <p:cNvCxnSpPr/>
            <p:nvPr/>
          </p:nvCxnSpPr>
          <p:spPr>
            <a:xfrm>
              <a:off x="3621170" y="1951861"/>
              <a:ext cx="0" cy="3866757"/>
            </a:xfrm>
            <a:prstGeom prst="line">
              <a:avLst/>
            </a:prstGeom>
            <a:noFill/>
            <a:ln w="25400" cap="rnd" cmpd="sng" algn="ctr">
              <a:solidFill>
                <a:srgbClr val="FFFFFF">
                  <a:lumMod val="50000"/>
                </a:srgbClr>
              </a:solidFill>
              <a:prstDash val="sysDot"/>
              <a:miter lim="800000"/>
              <a:headEnd type="none" w="lg" len="lg"/>
              <a:tailEnd type="oval" w="sm" len="sm"/>
            </a:ln>
            <a:effectLst/>
          </p:spPr>
        </p:cxnSp>
        <p:cxnSp>
          <p:nvCxnSpPr>
            <p:cNvPr id="313" name="Straight Connector 125">
              <a:extLst>
                <a:ext uri="{FF2B5EF4-FFF2-40B4-BE49-F238E27FC236}">
                  <a16:creationId xmlns:a16="http://schemas.microsoft.com/office/drawing/2014/main" id="{C0AF2BDB-1552-7A57-8A13-D3D8979A1609}"/>
                </a:ext>
              </a:extLst>
            </p:cNvPr>
            <p:cNvCxnSpPr/>
            <p:nvPr/>
          </p:nvCxnSpPr>
          <p:spPr>
            <a:xfrm>
              <a:off x="9527195" y="1942011"/>
              <a:ext cx="0" cy="3866757"/>
            </a:xfrm>
            <a:prstGeom prst="line">
              <a:avLst/>
            </a:prstGeom>
            <a:noFill/>
            <a:ln w="25400" cap="rnd" cmpd="sng" algn="ctr">
              <a:solidFill>
                <a:srgbClr val="FFFFFF">
                  <a:lumMod val="50000"/>
                </a:srgbClr>
              </a:solidFill>
              <a:prstDash val="sysDot"/>
              <a:miter lim="800000"/>
              <a:headEnd type="none" w="lg" len="lg"/>
              <a:tailEnd type="oval" w="sm" len="sm"/>
            </a:ln>
            <a:effectLst/>
          </p:spPr>
        </p:cxnSp>
        <p:cxnSp>
          <p:nvCxnSpPr>
            <p:cNvPr id="314" name="Straight Connector 126">
              <a:extLst>
                <a:ext uri="{FF2B5EF4-FFF2-40B4-BE49-F238E27FC236}">
                  <a16:creationId xmlns:a16="http://schemas.microsoft.com/office/drawing/2014/main" id="{7938C2A4-08E0-5F1A-8C82-E5943427FD1A}"/>
                </a:ext>
              </a:extLst>
            </p:cNvPr>
            <p:cNvCxnSpPr/>
            <p:nvPr/>
          </p:nvCxnSpPr>
          <p:spPr>
            <a:xfrm>
              <a:off x="10708401" y="1935347"/>
              <a:ext cx="0" cy="3866757"/>
            </a:xfrm>
            <a:prstGeom prst="line">
              <a:avLst/>
            </a:prstGeom>
            <a:noFill/>
            <a:ln w="25400" cap="rnd" cmpd="sng" algn="ctr">
              <a:solidFill>
                <a:srgbClr val="FFFFFF">
                  <a:lumMod val="50000"/>
                </a:srgbClr>
              </a:solidFill>
              <a:prstDash val="sysDot"/>
              <a:miter lim="800000"/>
              <a:headEnd type="none" w="lg" len="lg"/>
              <a:tailEnd type="oval" w="sm" len="sm"/>
            </a:ln>
            <a:effectLst/>
          </p:spPr>
        </p:cxnSp>
        <p:sp>
          <p:nvSpPr>
            <p:cNvPr id="316" name="TextBox 128">
              <a:extLst>
                <a:ext uri="{FF2B5EF4-FFF2-40B4-BE49-F238E27FC236}">
                  <a16:creationId xmlns:a16="http://schemas.microsoft.com/office/drawing/2014/main" id="{01B6E9FF-366D-186B-6D8D-3C71779C743F}"/>
                </a:ext>
              </a:extLst>
            </p:cNvPr>
            <p:cNvSpPr txBox="1"/>
            <p:nvPr/>
          </p:nvSpPr>
          <p:spPr>
            <a:xfrm>
              <a:off x="3621168" y="1953973"/>
              <a:ext cx="1181205" cy="502720"/>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0" cap="none" spc="0" normalizeH="0" baseline="0" noProof="0">
                  <a:ln>
                    <a:noFill/>
                  </a:ln>
                  <a:solidFill>
                    <a:srgbClr val="000000"/>
                  </a:solidFill>
                  <a:effectLst/>
                  <a:uLnTx/>
                  <a:uFillTx/>
                  <a:latin typeface="Noto IKEA Latin"/>
                  <a:ea typeface="+mn-ea"/>
                  <a:cs typeface="Arial" panose="020B0604020202020204" pitchFamily="34" charset="0"/>
                </a:rPr>
                <a:t>Explore Opportunities </a:t>
              </a:r>
            </a:p>
          </p:txBody>
        </p:sp>
        <p:sp>
          <p:nvSpPr>
            <p:cNvPr id="317" name="TextBox 129">
              <a:extLst>
                <a:ext uri="{FF2B5EF4-FFF2-40B4-BE49-F238E27FC236}">
                  <a16:creationId xmlns:a16="http://schemas.microsoft.com/office/drawing/2014/main" id="{EFAF4480-E4A5-11EE-7DE0-FFCBAFC937E1}"/>
                </a:ext>
              </a:extLst>
            </p:cNvPr>
            <p:cNvSpPr txBox="1"/>
            <p:nvPr/>
          </p:nvSpPr>
          <p:spPr>
            <a:xfrm>
              <a:off x="4795347" y="1953973"/>
              <a:ext cx="1181205" cy="502720"/>
            </a:xfrm>
            <a:prstGeom prst="rect">
              <a:avLst/>
            </a:prstGeom>
            <a:noFill/>
          </p:spPr>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3200" b="1" i="0" u="none" strike="noStrike" kern="0" cap="none" spc="0" normalizeH="0" baseline="0">
                  <a:ln>
                    <a:noFill/>
                  </a:ln>
                  <a:solidFill>
                    <a:srgbClr val="3F3F3F"/>
                  </a:solidFill>
                  <a:effectLst/>
                  <a:uLnTx/>
                  <a:uFillTx/>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0" cap="none" spc="0" normalizeH="0" baseline="0" noProof="0">
                  <a:ln>
                    <a:noFill/>
                  </a:ln>
                  <a:solidFill>
                    <a:srgbClr val="000000"/>
                  </a:solidFill>
                  <a:effectLst/>
                  <a:uLnTx/>
                  <a:uFillTx/>
                  <a:latin typeface="Noto IKEA Latin"/>
                  <a:ea typeface="+mn-ea"/>
                  <a:cs typeface="Arial" panose="020B0604020202020204" pitchFamily="34" charset="0"/>
                </a:rPr>
                <a:t>Ideate Concepts</a:t>
              </a:r>
            </a:p>
          </p:txBody>
        </p:sp>
        <p:sp>
          <p:nvSpPr>
            <p:cNvPr id="318" name="TextBox 130">
              <a:extLst>
                <a:ext uri="{FF2B5EF4-FFF2-40B4-BE49-F238E27FC236}">
                  <a16:creationId xmlns:a16="http://schemas.microsoft.com/office/drawing/2014/main" id="{3029AACE-3AAD-F7F2-ABFC-E12C5BEA3F9B}"/>
                </a:ext>
              </a:extLst>
            </p:cNvPr>
            <p:cNvSpPr txBox="1"/>
            <p:nvPr/>
          </p:nvSpPr>
          <p:spPr>
            <a:xfrm>
              <a:off x="6021478" y="1953973"/>
              <a:ext cx="1181205" cy="502720"/>
            </a:xfrm>
            <a:prstGeom prst="rect">
              <a:avLst/>
            </a:prstGeom>
            <a:noFill/>
          </p:spPr>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3200" b="1" i="0" u="none" strike="noStrike" kern="0" cap="none" spc="0" normalizeH="0" baseline="0">
                  <a:ln>
                    <a:noFill/>
                  </a:ln>
                  <a:solidFill>
                    <a:srgbClr val="3F3F3F"/>
                  </a:solidFill>
                  <a:effectLst/>
                  <a:uLnTx/>
                  <a:uFillTx/>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0" cap="none" spc="0" normalizeH="0" baseline="0" noProof="0">
                  <a:ln>
                    <a:noFill/>
                  </a:ln>
                  <a:solidFill>
                    <a:srgbClr val="000000"/>
                  </a:solidFill>
                  <a:effectLst/>
                  <a:uLnTx/>
                  <a:uFillTx/>
                  <a:latin typeface="Noto IKEA Latin"/>
                  <a:ea typeface="+mn-ea"/>
                  <a:cs typeface="Arial" panose="020B0604020202020204" pitchFamily="34" charset="0"/>
                </a:rPr>
                <a:t>Evaluate and Define Concepts</a:t>
              </a:r>
            </a:p>
          </p:txBody>
        </p:sp>
        <p:sp>
          <p:nvSpPr>
            <p:cNvPr id="319" name="TextBox 131">
              <a:extLst>
                <a:ext uri="{FF2B5EF4-FFF2-40B4-BE49-F238E27FC236}">
                  <a16:creationId xmlns:a16="http://schemas.microsoft.com/office/drawing/2014/main" id="{585439C9-FF22-0306-8385-4D7B2777ED27}"/>
                </a:ext>
              </a:extLst>
            </p:cNvPr>
            <p:cNvSpPr txBox="1"/>
            <p:nvPr/>
          </p:nvSpPr>
          <p:spPr>
            <a:xfrm>
              <a:off x="7158178" y="1953973"/>
              <a:ext cx="1181205" cy="502720"/>
            </a:xfrm>
            <a:prstGeom prst="rect">
              <a:avLst/>
            </a:prstGeom>
            <a:noFill/>
          </p:spPr>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b="1" i="0" u="none" strike="noStrike" kern="0" cap="none" spc="0" normalizeH="0" baseline="0">
                  <a:ln>
                    <a:noFill/>
                  </a:ln>
                  <a:solidFill>
                    <a:srgbClr val="3F3F3F"/>
                  </a:solidFill>
                  <a:effectLst/>
                  <a:uLnTx/>
                  <a:uFillTx/>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0" cap="none" spc="0" normalizeH="0" baseline="0" noProof="0">
                  <a:ln>
                    <a:noFill/>
                  </a:ln>
                  <a:solidFill>
                    <a:srgbClr val="000000"/>
                  </a:solidFill>
                  <a:effectLst/>
                  <a:uLnTx/>
                  <a:uFillTx/>
                  <a:latin typeface="Noto IKEA Latin"/>
                  <a:ea typeface="+mn-ea"/>
                  <a:cs typeface="Arial" panose="020B0604020202020204" pitchFamily="34" charset="0"/>
                </a:rPr>
                <a:t>Proof of Concepts</a:t>
              </a:r>
            </a:p>
          </p:txBody>
        </p:sp>
        <p:sp>
          <p:nvSpPr>
            <p:cNvPr id="320" name="TextBox 132">
              <a:extLst>
                <a:ext uri="{FF2B5EF4-FFF2-40B4-BE49-F238E27FC236}">
                  <a16:creationId xmlns:a16="http://schemas.microsoft.com/office/drawing/2014/main" id="{3D154E47-297B-5392-0F56-9198EBF38F61}"/>
                </a:ext>
              </a:extLst>
            </p:cNvPr>
            <p:cNvSpPr txBox="1"/>
            <p:nvPr/>
          </p:nvSpPr>
          <p:spPr>
            <a:xfrm>
              <a:off x="8339109" y="1953973"/>
              <a:ext cx="1181205" cy="502720"/>
            </a:xfrm>
            <a:prstGeom prst="rect">
              <a:avLst/>
            </a:prstGeom>
            <a:noFill/>
          </p:spPr>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b="1" i="0" u="none" strike="noStrike" kern="0" cap="none" spc="0" normalizeH="0" baseline="0">
                  <a:ln>
                    <a:noFill/>
                  </a:ln>
                  <a:solidFill>
                    <a:srgbClr val="3F3F3F"/>
                  </a:solidFill>
                  <a:effectLst/>
                  <a:uLnTx/>
                  <a:uFillTx/>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0" cap="none" spc="0" normalizeH="0" baseline="0" noProof="0">
                  <a:ln>
                    <a:noFill/>
                  </a:ln>
                  <a:solidFill>
                    <a:srgbClr val="000000"/>
                  </a:solidFill>
                  <a:effectLst/>
                  <a:uLnTx/>
                  <a:uFillTx/>
                  <a:latin typeface="Noto IKEA Latin"/>
                  <a:ea typeface="+mn-ea"/>
                  <a:cs typeface="Arial" panose="020B0604020202020204" pitchFamily="34" charset="0"/>
                </a:rPr>
                <a:t>Pilot</a:t>
              </a:r>
            </a:p>
          </p:txBody>
        </p:sp>
        <p:sp>
          <p:nvSpPr>
            <p:cNvPr id="321" name="TextBox 133">
              <a:extLst>
                <a:ext uri="{FF2B5EF4-FFF2-40B4-BE49-F238E27FC236}">
                  <a16:creationId xmlns:a16="http://schemas.microsoft.com/office/drawing/2014/main" id="{008727E2-222D-C6BD-E394-ADA5AC04EA7F}"/>
                </a:ext>
              </a:extLst>
            </p:cNvPr>
            <p:cNvSpPr txBox="1"/>
            <p:nvPr/>
          </p:nvSpPr>
          <p:spPr>
            <a:xfrm>
              <a:off x="9535787" y="1953973"/>
              <a:ext cx="1181205" cy="502720"/>
            </a:xfrm>
            <a:prstGeom prst="rect">
              <a:avLst/>
            </a:prstGeom>
            <a:noFill/>
          </p:spPr>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b="1" i="0" u="none" strike="noStrike" kern="0" cap="none" spc="0" normalizeH="0" baseline="0">
                  <a:ln>
                    <a:noFill/>
                  </a:ln>
                  <a:solidFill>
                    <a:srgbClr val="3F3F3F"/>
                  </a:solidFill>
                  <a:effectLst/>
                  <a:uLnTx/>
                  <a:uFillTx/>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0" cap="none" spc="0" normalizeH="0" baseline="0" noProof="0">
                  <a:ln>
                    <a:noFill/>
                  </a:ln>
                  <a:solidFill>
                    <a:srgbClr val="000000"/>
                  </a:solidFill>
                  <a:effectLst/>
                  <a:uLnTx/>
                  <a:uFillTx/>
                  <a:latin typeface="Noto IKEA Latin"/>
                  <a:ea typeface="+mn-ea"/>
                  <a:cs typeface="Arial" panose="020B0604020202020204" pitchFamily="34" charset="0"/>
                </a:rPr>
                <a:t>Prepare for Deployment</a:t>
              </a:r>
            </a:p>
          </p:txBody>
        </p:sp>
        <p:grpSp>
          <p:nvGrpSpPr>
            <p:cNvPr id="322" name="Group 4">
              <a:extLst>
                <a:ext uri="{FF2B5EF4-FFF2-40B4-BE49-F238E27FC236}">
                  <a16:creationId xmlns:a16="http://schemas.microsoft.com/office/drawing/2014/main" id="{E231E7FA-A0CC-14E1-E9B3-3DA39EAFF2E1}"/>
                </a:ext>
              </a:extLst>
            </p:cNvPr>
            <p:cNvGrpSpPr/>
            <p:nvPr/>
          </p:nvGrpSpPr>
          <p:grpSpPr>
            <a:xfrm>
              <a:off x="3803415" y="2707094"/>
              <a:ext cx="6322974" cy="2844608"/>
              <a:chOff x="2777745" y="2335293"/>
              <a:chExt cx="6322974" cy="2844608"/>
            </a:xfrm>
          </p:grpSpPr>
          <p:sp>
            <p:nvSpPr>
              <p:cNvPr id="329" name="Rectangle 6">
                <a:extLst>
                  <a:ext uri="{FF2B5EF4-FFF2-40B4-BE49-F238E27FC236}">
                    <a16:creationId xmlns:a16="http://schemas.microsoft.com/office/drawing/2014/main" id="{29838549-7991-208B-459B-9B1A705A1A24}"/>
                  </a:ext>
                </a:extLst>
              </p:cNvPr>
              <p:cNvSpPr/>
              <p:nvPr/>
            </p:nvSpPr>
            <p:spPr>
              <a:xfrm flipH="1" flipV="1">
                <a:off x="2844168" y="2335293"/>
                <a:ext cx="6256551" cy="1265011"/>
              </a:xfrm>
              <a:custGeom>
                <a:avLst/>
                <a:gdLst>
                  <a:gd name="connsiteX0" fmla="*/ 0 w 6324600"/>
                  <a:gd name="connsiteY0" fmla="*/ 0 h 3505200"/>
                  <a:gd name="connsiteX1" fmla="*/ 6324600 w 6324600"/>
                  <a:gd name="connsiteY1" fmla="*/ 0 h 3505200"/>
                  <a:gd name="connsiteX2" fmla="*/ 6324600 w 6324600"/>
                  <a:gd name="connsiteY2" fmla="*/ 3505200 h 3505200"/>
                  <a:gd name="connsiteX3" fmla="*/ 0 w 6324600"/>
                  <a:gd name="connsiteY3" fmla="*/ 3505200 h 3505200"/>
                  <a:gd name="connsiteX4" fmla="*/ 0 w 6324600"/>
                  <a:gd name="connsiteY4" fmla="*/ 0 h 3505200"/>
                  <a:gd name="connsiteX0" fmla="*/ 0 w 6324600"/>
                  <a:gd name="connsiteY0" fmla="*/ 0 h 3505200"/>
                  <a:gd name="connsiteX1" fmla="*/ 6324600 w 6324600"/>
                  <a:gd name="connsiteY1" fmla="*/ 0 h 3505200"/>
                  <a:gd name="connsiteX2" fmla="*/ 6324600 w 6324600"/>
                  <a:gd name="connsiteY2" fmla="*/ 3505200 h 3505200"/>
                  <a:gd name="connsiteX3" fmla="*/ 0 w 6324600"/>
                  <a:gd name="connsiteY3" fmla="*/ 0 h 3505200"/>
                  <a:gd name="connsiteX0" fmla="*/ 6324600 w 6416040"/>
                  <a:gd name="connsiteY0" fmla="*/ 3505200 h 3596640"/>
                  <a:gd name="connsiteX1" fmla="*/ 0 w 6416040"/>
                  <a:gd name="connsiteY1" fmla="*/ 0 h 3596640"/>
                  <a:gd name="connsiteX2" fmla="*/ 6324600 w 6416040"/>
                  <a:gd name="connsiteY2" fmla="*/ 0 h 3596640"/>
                  <a:gd name="connsiteX3" fmla="*/ 6416040 w 6416040"/>
                  <a:gd name="connsiteY3" fmla="*/ 3596640 h 3596640"/>
                  <a:gd name="connsiteX0" fmla="*/ 2327787 w 6416040"/>
                  <a:gd name="connsiteY0" fmla="*/ 1941871 h 3596640"/>
                  <a:gd name="connsiteX1" fmla="*/ 0 w 6416040"/>
                  <a:gd name="connsiteY1" fmla="*/ 0 h 3596640"/>
                  <a:gd name="connsiteX2" fmla="*/ 6324600 w 6416040"/>
                  <a:gd name="connsiteY2" fmla="*/ 0 h 3596640"/>
                  <a:gd name="connsiteX3" fmla="*/ 6416040 w 6416040"/>
                  <a:gd name="connsiteY3" fmla="*/ 3596640 h 3596640"/>
                  <a:gd name="connsiteX0" fmla="*/ 0 w 6416040"/>
                  <a:gd name="connsiteY0" fmla="*/ 0 h 3596640"/>
                  <a:gd name="connsiteX1" fmla="*/ 6324600 w 6416040"/>
                  <a:gd name="connsiteY1" fmla="*/ 0 h 3596640"/>
                  <a:gd name="connsiteX2" fmla="*/ 6416040 w 6416040"/>
                  <a:gd name="connsiteY2" fmla="*/ 3596640 h 3596640"/>
                  <a:gd name="connsiteX0" fmla="*/ 0 w 6416040"/>
                  <a:gd name="connsiteY0" fmla="*/ 0 h 3596640"/>
                  <a:gd name="connsiteX1" fmla="*/ 6324600 w 6416040"/>
                  <a:gd name="connsiteY1" fmla="*/ 0 h 3596640"/>
                  <a:gd name="connsiteX2" fmla="*/ 6416040 w 6416040"/>
                  <a:gd name="connsiteY2" fmla="*/ 3596640 h 3596640"/>
                  <a:gd name="connsiteX3" fmla="*/ 0 w 6416040"/>
                  <a:gd name="connsiteY3" fmla="*/ 0 h 3596640"/>
                  <a:gd name="connsiteX0" fmla="*/ 6416040 w 6507480"/>
                  <a:gd name="connsiteY0" fmla="*/ 3596640 h 3688080"/>
                  <a:gd name="connsiteX1" fmla="*/ 0 w 6507480"/>
                  <a:gd name="connsiteY1" fmla="*/ 0 h 3688080"/>
                  <a:gd name="connsiteX2" fmla="*/ 6324600 w 6507480"/>
                  <a:gd name="connsiteY2" fmla="*/ 0 h 3688080"/>
                  <a:gd name="connsiteX3" fmla="*/ 6507480 w 6507480"/>
                  <a:gd name="connsiteY3" fmla="*/ 3688080 h 3688080"/>
                  <a:gd name="connsiteX0" fmla="*/ 1563821 w 6507480"/>
                  <a:gd name="connsiteY0" fmla="*/ 3050950 h 3688080"/>
                  <a:gd name="connsiteX1" fmla="*/ 0 w 6507480"/>
                  <a:gd name="connsiteY1" fmla="*/ 0 h 3688080"/>
                  <a:gd name="connsiteX2" fmla="*/ 6324600 w 6507480"/>
                  <a:gd name="connsiteY2" fmla="*/ 0 h 3688080"/>
                  <a:gd name="connsiteX3" fmla="*/ 6507480 w 6507480"/>
                  <a:gd name="connsiteY3" fmla="*/ 3688080 h 3688080"/>
                  <a:gd name="connsiteX0" fmla="*/ 0 w 6507480"/>
                  <a:gd name="connsiteY0" fmla="*/ 0 h 3688080"/>
                  <a:gd name="connsiteX1" fmla="*/ 6324600 w 6507480"/>
                  <a:gd name="connsiteY1" fmla="*/ 0 h 3688080"/>
                  <a:gd name="connsiteX2" fmla="*/ 6507480 w 6507480"/>
                  <a:gd name="connsiteY2" fmla="*/ 3688080 h 3688080"/>
                  <a:gd name="connsiteX0" fmla="*/ 0 w 6324600"/>
                  <a:gd name="connsiteY0" fmla="*/ 0 h 2168996"/>
                  <a:gd name="connsiteX1" fmla="*/ 6324600 w 6324600"/>
                  <a:gd name="connsiteY1" fmla="*/ 0 h 2168996"/>
                  <a:gd name="connsiteX2" fmla="*/ 6242009 w 6324600"/>
                  <a:gd name="connsiteY2" fmla="*/ 2168996 h 2168996"/>
                  <a:gd name="connsiteX0" fmla="*/ 0 w 6522228"/>
                  <a:gd name="connsiteY0" fmla="*/ 0 h 2404970"/>
                  <a:gd name="connsiteX1" fmla="*/ 6324600 w 6522228"/>
                  <a:gd name="connsiteY1" fmla="*/ 0 h 2404970"/>
                  <a:gd name="connsiteX2" fmla="*/ 6522228 w 6522228"/>
                  <a:gd name="connsiteY2" fmla="*/ 2404970 h 2404970"/>
                  <a:gd name="connsiteX0" fmla="*/ 0 w 7057136"/>
                  <a:gd name="connsiteY0" fmla="*/ 0 h 2589105"/>
                  <a:gd name="connsiteX1" fmla="*/ 6324600 w 7057136"/>
                  <a:gd name="connsiteY1" fmla="*/ 0 h 2589105"/>
                  <a:gd name="connsiteX2" fmla="*/ 6522228 w 7057136"/>
                  <a:gd name="connsiteY2" fmla="*/ 2404970 h 2589105"/>
                  <a:gd name="connsiteX0" fmla="*/ 0 w 6522228"/>
                  <a:gd name="connsiteY0" fmla="*/ 0 h 2884378"/>
                  <a:gd name="connsiteX1" fmla="*/ 6324600 w 6522228"/>
                  <a:gd name="connsiteY1" fmla="*/ 0 h 2884378"/>
                  <a:gd name="connsiteX2" fmla="*/ 6522228 w 6522228"/>
                  <a:gd name="connsiteY2" fmla="*/ 2404970 h 2884378"/>
                  <a:gd name="connsiteX0" fmla="*/ 0 w 6959565"/>
                  <a:gd name="connsiteY0" fmla="*/ 0 h 2629590"/>
                  <a:gd name="connsiteX1" fmla="*/ 6324600 w 6959565"/>
                  <a:gd name="connsiteY1" fmla="*/ 0 h 2629590"/>
                  <a:gd name="connsiteX2" fmla="*/ 6522228 w 6959565"/>
                  <a:gd name="connsiteY2" fmla="*/ 2404970 h 2629590"/>
                  <a:gd name="connsiteX0" fmla="*/ 0 w 6959565"/>
                  <a:gd name="connsiteY0" fmla="*/ 0 h 2629590"/>
                  <a:gd name="connsiteX1" fmla="*/ 6324600 w 6959565"/>
                  <a:gd name="connsiteY1" fmla="*/ 0 h 2629590"/>
                  <a:gd name="connsiteX2" fmla="*/ 6522228 w 6959565"/>
                  <a:gd name="connsiteY2" fmla="*/ 2404970 h 2629590"/>
                  <a:gd name="connsiteX0" fmla="*/ 0 w 6522228"/>
                  <a:gd name="connsiteY0" fmla="*/ 0 h 2404970"/>
                  <a:gd name="connsiteX1" fmla="*/ 6324600 w 6522228"/>
                  <a:gd name="connsiteY1" fmla="*/ 0 h 2404970"/>
                  <a:gd name="connsiteX2" fmla="*/ 6522228 w 6522228"/>
                  <a:gd name="connsiteY2" fmla="*/ 2404970 h 2404970"/>
                  <a:gd name="connsiteX0" fmla="*/ 0 w 6839285"/>
                  <a:gd name="connsiteY0" fmla="*/ 178145 h 2583115"/>
                  <a:gd name="connsiteX1" fmla="*/ 6324600 w 6839285"/>
                  <a:gd name="connsiteY1" fmla="*/ 178145 h 2583115"/>
                  <a:gd name="connsiteX2" fmla="*/ 6522228 w 6839285"/>
                  <a:gd name="connsiteY2" fmla="*/ 2583115 h 2583115"/>
                  <a:gd name="connsiteX0" fmla="*/ 0 w 6522228"/>
                  <a:gd name="connsiteY0" fmla="*/ 0 h 2404970"/>
                  <a:gd name="connsiteX1" fmla="*/ 3699387 w 6522228"/>
                  <a:gd name="connsiteY1" fmla="*/ 575187 h 2404970"/>
                  <a:gd name="connsiteX2" fmla="*/ 6522228 w 6522228"/>
                  <a:gd name="connsiteY2" fmla="*/ 2404970 h 2404970"/>
                  <a:gd name="connsiteX0" fmla="*/ 0 w 6522228"/>
                  <a:gd name="connsiteY0" fmla="*/ 5635 h 2410605"/>
                  <a:gd name="connsiteX1" fmla="*/ 3699387 w 6522228"/>
                  <a:gd name="connsiteY1" fmla="*/ 580822 h 2410605"/>
                  <a:gd name="connsiteX2" fmla="*/ 6522228 w 6522228"/>
                  <a:gd name="connsiteY2" fmla="*/ 2410605 h 2410605"/>
                  <a:gd name="connsiteX0" fmla="*/ 0 w 6522228"/>
                  <a:gd name="connsiteY0" fmla="*/ 5635 h 2410605"/>
                  <a:gd name="connsiteX1" fmla="*/ 3699387 w 6522228"/>
                  <a:gd name="connsiteY1" fmla="*/ 580822 h 2410605"/>
                  <a:gd name="connsiteX2" fmla="*/ 6522228 w 6522228"/>
                  <a:gd name="connsiteY2" fmla="*/ 2410605 h 2410605"/>
                  <a:gd name="connsiteX0" fmla="*/ 0 w 6522228"/>
                  <a:gd name="connsiteY0" fmla="*/ 6310 h 2411280"/>
                  <a:gd name="connsiteX1" fmla="*/ 4628535 w 6522228"/>
                  <a:gd name="connsiteY1" fmla="*/ 552000 h 2411280"/>
                  <a:gd name="connsiteX2" fmla="*/ 6522228 w 6522228"/>
                  <a:gd name="connsiteY2" fmla="*/ 2411280 h 2411280"/>
                  <a:gd name="connsiteX0" fmla="*/ 0 w 6522228"/>
                  <a:gd name="connsiteY0" fmla="*/ 5347 h 2410317"/>
                  <a:gd name="connsiteX1" fmla="*/ 4023851 w 6522228"/>
                  <a:gd name="connsiteY1" fmla="*/ 595282 h 2410317"/>
                  <a:gd name="connsiteX2" fmla="*/ 6522228 w 6522228"/>
                  <a:gd name="connsiteY2" fmla="*/ 2410317 h 2410317"/>
                  <a:gd name="connsiteX0" fmla="*/ 0 w 6509203"/>
                  <a:gd name="connsiteY0" fmla="*/ 163951 h 1949489"/>
                  <a:gd name="connsiteX1" fmla="*/ 4010826 w 6509203"/>
                  <a:gd name="connsiteY1" fmla="*/ 134454 h 1949489"/>
                  <a:gd name="connsiteX2" fmla="*/ 6509203 w 6509203"/>
                  <a:gd name="connsiteY2" fmla="*/ 1949489 h 1949489"/>
                  <a:gd name="connsiteX0" fmla="*/ 0 w 6535251"/>
                  <a:gd name="connsiteY0" fmla="*/ 155212 h 1822763"/>
                  <a:gd name="connsiteX1" fmla="*/ 4010826 w 6535251"/>
                  <a:gd name="connsiteY1" fmla="*/ 125715 h 1822763"/>
                  <a:gd name="connsiteX2" fmla="*/ 6535251 w 6535251"/>
                  <a:gd name="connsiteY2" fmla="*/ 1822763 h 1822763"/>
                  <a:gd name="connsiteX0" fmla="*/ 0 w 6535251"/>
                  <a:gd name="connsiteY0" fmla="*/ 155212 h 1822763"/>
                  <a:gd name="connsiteX1" fmla="*/ 4010826 w 6535251"/>
                  <a:gd name="connsiteY1" fmla="*/ 125715 h 1822763"/>
                  <a:gd name="connsiteX2" fmla="*/ 6535251 w 6535251"/>
                  <a:gd name="connsiteY2" fmla="*/ 1822763 h 1822763"/>
                  <a:gd name="connsiteX0" fmla="*/ 0 w 6535251"/>
                  <a:gd name="connsiteY0" fmla="*/ 10655 h 1678206"/>
                  <a:gd name="connsiteX1" fmla="*/ 4062921 w 6535251"/>
                  <a:gd name="connsiteY1" fmla="*/ 335120 h 1678206"/>
                  <a:gd name="connsiteX2" fmla="*/ 6535251 w 6535251"/>
                  <a:gd name="connsiteY2" fmla="*/ 1678206 h 1678206"/>
                  <a:gd name="connsiteX0" fmla="*/ 0 w 6535251"/>
                  <a:gd name="connsiteY0" fmla="*/ 3375 h 1670926"/>
                  <a:gd name="connsiteX1" fmla="*/ 4128041 w 6535251"/>
                  <a:gd name="connsiteY1" fmla="*/ 637556 h 1670926"/>
                  <a:gd name="connsiteX2" fmla="*/ 6535251 w 6535251"/>
                  <a:gd name="connsiteY2" fmla="*/ 1670926 h 1670926"/>
                  <a:gd name="connsiteX0" fmla="*/ 0 w 6535251"/>
                  <a:gd name="connsiteY0" fmla="*/ 7668 h 1675219"/>
                  <a:gd name="connsiteX1" fmla="*/ 4023848 w 6535251"/>
                  <a:gd name="connsiteY1" fmla="*/ 391126 h 1675219"/>
                  <a:gd name="connsiteX2" fmla="*/ 6535251 w 6535251"/>
                  <a:gd name="connsiteY2" fmla="*/ 1675219 h 1675219"/>
                  <a:gd name="connsiteX0" fmla="*/ 0 w 6535251"/>
                  <a:gd name="connsiteY0" fmla="*/ 7668 h 1675219"/>
                  <a:gd name="connsiteX1" fmla="*/ 4023848 w 6535251"/>
                  <a:gd name="connsiteY1" fmla="*/ 391126 h 1675219"/>
                  <a:gd name="connsiteX2" fmla="*/ 6535251 w 6535251"/>
                  <a:gd name="connsiteY2" fmla="*/ 1675219 h 1675219"/>
                </a:gdLst>
                <a:ahLst/>
                <a:cxnLst>
                  <a:cxn ang="0">
                    <a:pos x="connsiteX0" y="connsiteY0"/>
                  </a:cxn>
                  <a:cxn ang="0">
                    <a:pos x="connsiteX1" y="connsiteY1"/>
                  </a:cxn>
                  <a:cxn ang="0">
                    <a:pos x="connsiteX2" y="connsiteY2"/>
                  </a:cxn>
                </a:cxnLst>
                <a:rect l="l" t="t" r="r" b="b"/>
                <a:pathLst>
                  <a:path w="6535251" h="1675219">
                    <a:moveTo>
                      <a:pt x="0" y="7668"/>
                    </a:moveTo>
                    <a:cubicBezTo>
                      <a:pt x="618613" y="-36578"/>
                      <a:pt x="2934640" y="113201"/>
                      <a:pt x="4023848" y="391126"/>
                    </a:cubicBezTo>
                    <a:cubicBezTo>
                      <a:pt x="5113057" y="669051"/>
                      <a:pt x="6017867" y="1075450"/>
                      <a:pt x="6535251" y="1675219"/>
                    </a:cubicBezTo>
                  </a:path>
                </a:pathLst>
              </a:custGeom>
              <a:noFill/>
              <a:ln w="19050" cap="flat" cmpd="sng" algn="ctr">
                <a:solidFill>
                  <a:srgbClr val="000000">
                    <a:lumMod val="50000"/>
                    <a:lumOff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30" name="Rectangle 6">
                <a:extLst>
                  <a:ext uri="{FF2B5EF4-FFF2-40B4-BE49-F238E27FC236}">
                    <a16:creationId xmlns:a16="http://schemas.microsoft.com/office/drawing/2014/main" id="{AEA1BBF0-C3B1-4215-86AF-44D7B1EFBCFA}"/>
                  </a:ext>
                </a:extLst>
              </p:cNvPr>
              <p:cNvSpPr/>
              <p:nvPr/>
            </p:nvSpPr>
            <p:spPr>
              <a:xfrm flipH="1">
                <a:off x="2844168" y="3914890"/>
                <a:ext cx="6256551" cy="1265011"/>
              </a:xfrm>
              <a:custGeom>
                <a:avLst/>
                <a:gdLst>
                  <a:gd name="connsiteX0" fmla="*/ 0 w 6324600"/>
                  <a:gd name="connsiteY0" fmla="*/ 0 h 3505200"/>
                  <a:gd name="connsiteX1" fmla="*/ 6324600 w 6324600"/>
                  <a:gd name="connsiteY1" fmla="*/ 0 h 3505200"/>
                  <a:gd name="connsiteX2" fmla="*/ 6324600 w 6324600"/>
                  <a:gd name="connsiteY2" fmla="*/ 3505200 h 3505200"/>
                  <a:gd name="connsiteX3" fmla="*/ 0 w 6324600"/>
                  <a:gd name="connsiteY3" fmla="*/ 3505200 h 3505200"/>
                  <a:gd name="connsiteX4" fmla="*/ 0 w 6324600"/>
                  <a:gd name="connsiteY4" fmla="*/ 0 h 3505200"/>
                  <a:gd name="connsiteX0" fmla="*/ 0 w 6324600"/>
                  <a:gd name="connsiteY0" fmla="*/ 0 h 3505200"/>
                  <a:gd name="connsiteX1" fmla="*/ 6324600 w 6324600"/>
                  <a:gd name="connsiteY1" fmla="*/ 0 h 3505200"/>
                  <a:gd name="connsiteX2" fmla="*/ 6324600 w 6324600"/>
                  <a:gd name="connsiteY2" fmla="*/ 3505200 h 3505200"/>
                  <a:gd name="connsiteX3" fmla="*/ 0 w 6324600"/>
                  <a:gd name="connsiteY3" fmla="*/ 0 h 3505200"/>
                  <a:gd name="connsiteX0" fmla="*/ 6324600 w 6416040"/>
                  <a:gd name="connsiteY0" fmla="*/ 3505200 h 3596640"/>
                  <a:gd name="connsiteX1" fmla="*/ 0 w 6416040"/>
                  <a:gd name="connsiteY1" fmla="*/ 0 h 3596640"/>
                  <a:gd name="connsiteX2" fmla="*/ 6324600 w 6416040"/>
                  <a:gd name="connsiteY2" fmla="*/ 0 h 3596640"/>
                  <a:gd name="connsiteX3" fmla="*/ 6416040 w 6416040"/>
                  <a:gd name="connsiteY3" fmla="*/ 3596640 h 3596640"/>
                  <a:gd name="connsiteX0" fmla="*/ 2327787 w 6416040"/>
                  <a:gd name="connsiteY0" fmla="*/ 1941871 h 3596640"/>
                  <a:gd name="connsiteX1" fmla="*/ 0 w 6416040"/>
                  <a:gd name="connsiteY1" fmla="*/ 0 h 3596640"/>
                  <a:gd name="connsiteX2" fmla="*/ 6324600 w 6416040"/>
                  <a:gd name="connsiteY2" fmla="*/ 0 h 3596640"/>
                  <a:gd name="connsiteX3" fmla="*/ 6416040 w 6416040"/>
                  <a:gd name="connsiteY3" fmla="*/ 3596640 h 3596640"/>
                  <a:gd name="connsiteX0" fmla="*/ 0 w 6416040"/>
                  <a:gd name="connsiteY0" fmla="*/ 0 h 3596640"/>
                  <a:gd name="connsiteX1" fmla="*/ 6324600 w 6416040"/>
                  <a:gd name="connsiteY1" fmla="*/ 0 h 3596640"/>
                  <a:gd name="connsiteX2" fmla="*/ 6416040 w 6416040"/>
                  <a:gd name="connsiteY2" fmla="*/ 3596640 h 3596640"/>
                  <a:gd name="connsiteX0" fmla="*/ 0 w 6416040"/>
                  <a:gd name="connsiteY0" fmla="*/ 0 h 3596640"/>
                  <a:gd name="connsiteX1" fmla="*/ 6324600 w 6416040"/>
                  <a:gd name="connsiteY1" fmla="*/ 0 h 3596640"/>
                  <a:gd name="connsiteX2" fmla="*/ 6416040 w 6416040"/>
                  <a:gd name="connsiteY2" fmla="*/ 3596640 h 3596640"/>
                  <a:gd name="connsiteX3" fmla="*/ 0 w 6416040"/>
                  <a:gd name="connsiteY3" fmla="*/ 0 h 3596640"/>
                  <a:gd name="connsiteX0" fmla="*/ 6416040 w 6507480"/>
                  <a:gd name="connsiteY0" fmla="*/ 3596640 h 3688080"/>
                  <a:gd name="connsiteX1" fmla="*/ 0 w 6507480"/>
                  <a:gd name="connsiteY1" fmla="*/ 0 h 3688080"/>
                  <a:gd name="connsiteX2" fmla="*/ 6324600 w 6507480"/>
                  <a:gd name="connsiteY2" fmla="*/ 0 h 3688080"/>
                  <a:gd name="connsiteX3" fmla="*/ 6507480 w 6507480"/>
                  <a:gd name="connsiteY3" fmla="*/ 3688080 h 3688080"/>
                  <a:gd name="connsiteX0" fmla="*/ 1563821 w 6507480"/>
                  <a:gd name="connsiteY0" fmla="*/ 3050950 h 3688080"/>
                  <a:gd name="connsiteX1" fmla="*/ 0 w 6507480"/>
                  <a:gd name="connsiteY1" fmla="*/ 0 h 3688080"/>
                  <a:gd name="connsiteX2" fmla="*/ 6324600 w 6507480"/>
                  <a:gd name="connsiteY2" fmla="*/ 0 h 3688080"/>
                  <a:gd name="connsiteX3" fmla="*/ 6507480 w 6507480"/>
                  <a:gd name="connsiteY3" fmla="*/ 3688080 h 3688080"/>
                  <a:gd name="connsiteX0" fmla="*/ 0 w 6507480"/>
                  <a:gd name="connsiteY0" fmla="*/ 0 h 3688080"/>
                  <a:gd name="connsiteX1" fmla="*/ 6324600 w 6507480"/>
                  <a:gd name="connsiteY1" fmla="*/ 0 h 3688080"/>
                  <a:gd name="connsiteX2" fmla="*/ 6507480 w 6507480"/>
                  <a:gd name="connsiteY2" fmla="*/ 3688080 h 3688080"/>
                  <a:gd name="connsiteX0" fmla="*/ 0 w 6324600"/>
                  <a:gd name="connsiteY0" fmla="*/ 0 h 2168996"/>
                  <a:gd name="connsiteX1" fmla="*/ 6324600 w 6324600"/>
                  <a:gd name="connsiteY1" fmla="*/ 0 h 2168996"/>
                  <a:gd name="connsiteX2" fmla="*/ 6242009 w 6324600"/>
                  <a:gd name="connsiteY2" fmla="*/ 2168996 h 2168996"/>
                  <a:gd name="connsiteX0" fmla="*/ 0 w 6522228"/>
                  <a:gd name="connsiteY0" fmla="*/ 0 h 2404970"/>
                  <a:gd name="connsiteX1" fmla="*/ 6324600 w 6522228"/>
                  <a:gd name="connsiteY1" fmla="*/ 0 h 2404970"/>
                  <a:gd name="connsiteX2" fmla="*/ 6522228 w 6522228"/>
                  <a:gd name="connsiteY2" fmla="*/ 2404970 h 2404970"/>
                  <a:gd name="connsiteX0" fmla="*/ 0 w 7057136"/>
                  <a:gd name="connsiteY0" fmla="*/ 0 h 2589105"/>
                  <a:gd name="connsiteX1" fmla="*/ 6324600 w 7057136"/>
                  <a:gd name="connsiteY1" fmla="*/ 0 h 2589105"/>
                  <a:gd name="connsiteX2" fmla="*/ 6522228 w 7057136"/>
                  <a:gd name="connsiteY2" fmla="*/ 2404970 h 2589105"/>
                  <a:gd name="connsiteX0" fmla="*/ 0 w 6522228"/>
                  <a:gd name="connsiteY0" fmla="*/ 0 h 2884378"/>
                  <a:gd name="connsiteX1" fmla="*/ 6324600 w 6522228"/>
                  <a:gd name="connsiteY1" fmla="*/ 0 h 2884378"/>
                  <a:gd name="connsiteX2" fmla="*/ 6522228 w 6522228"/>
                  <a:gd name="connsiteY2" fmla="*/ 2404970 h 2884378"/>
                  <a:gd name="connsiteX0" fmla="*/ 0 w 6959565"/>
                  <a:gd name="connsiteY0" fmla="*/ 0 h 2629590"/>
                  <a:gd name="connsiteX1" fmla="*/ 6324600 w 6959565"/>
                  <a:gd name="connsiteY1" fmla="*/ 0 h 2629590"/>
                  <a:gd name="connsiteX2" fmla="*/ 6522228 w 6959565"/>
                  <a:gd name="connsiteY2" fmla="*/ 2404970 h 2629590"/>
                  <a:gd name="connsiteX0" fmla="*/ 0 w 6959565"/>
                  <a:gd name="connsiteY0" fmla="*/ 0 h 2629590"/>
                  <a:gd name="connsiteX1" fmla="*/ 6324600 w 6959565"/>
                  <a:gd name="connsiteY1" fmla="*/ 0 h 2629590"/>
                  <a:gd name="connsiteX2" fmla="*/ 6522228 w 6959565"/>
                  <a:gd name="connsiteY2" fmla="*/ 2404970 h 2629590"/>
                  <a:gd name="connsiteX0" fmla="*/ 0 w 6522228"/>
                  <a:gd name="connsiteY0" fmla="*/ 0 h 2404970"/>
                  <a:gd name="connsiteX1" fmla="*/ 6324600 w 6522228"/>
                  <a:gd name="connsiteY1" fmla="*/ 0 h 2404970"/>
                  <a:gd name="connsiteX2" fmla="*/ 6522228 w 6522228"/>
                  <a:gd name="connsiteY2" fmla="*/ 2404970 h 2404970"/>
                  <a:gd name="connsiteX0" fmla="*/ 0 w 6839285"/>
                  <a:gd name="connsiteY0" fmla="*/ 178145 h 2583115"/>
                  <a:gd name="connsiteX1" fmla="*/ 6324600 w 6839285"/>
                  <a:gd name="connsiteY1" fmla="*/ 178145 h 2583115"/>
                  <a:gd name="connsiteX2" fmla="*/ 6522228 w 6839285"/>
                  <a:gd name="connsiteY2" fmla="*/ 2583115 h 2583115"/>
                  <a:gd name="connsiteX0" fmla="*/ 0 w 6522228"/>
                  <a:gd name="connsiteY0" fmla="*/ 0 h 2404970"/>
                  <a:gd name="connsiteX1" fmla="*/ 3699387 w 6522228"/>
                  <a:gd name="connsiteY1" fmla="*/ 575187 h 2404970"/>
                  <a:gd name="connsiteX2" fmla="*/ 6522228 w 6522228"/>
                  <a:gd name="connsiteY2" fmla="*/ 2404970 h 2404970"/>
                  <a:gd name="connsiteX0" fmla="*/ 0 w 6522228"/>
                  <a:gd name="connsiteY0" fmla="*/ 5635 h 2410605"/>
                  <a:gd name="connsiteX1" fmla="*/ 3699387 w 6522228"/>
                  <a:gd name="connsiteY1" fmla="*/ 580822 h 2410605"/>
                  <a:gd name="connsiteX2" fmla="*/ 6522228 w 6522228"/>
                  <a:gd name="connsiteY2" fmla="*/ 2410605 h 2410605"/>
                  <a:gd name="connsiteX0" fmla="*/ 0 w 6522228"/>
                  <a:gd name="connsiteY0" fmla="*/ 5635 h 2410605"/>
                  <a:gd name="connsiteX1" fmla="*/ 3699387 w 6522228"/>
                  <a:gd name="connsiteY1" fmla="*/ 580822 h 2410605"/>
                  <a:gd name="connsiteX2" fmla="*/ 6522228 w 6522228"/>
                  <a:gd name="connsiteY2" fmla="*/ 2410605 h 2410605"/>
                  <a:gd name="connsiteX0" fmla="*/ 0 w 6522228"/>
                  <a:gd name="connsiteY0" fmla="*/ 6310 h 2411280"/>
                  <a:gd name="connsiteX1" fmla="*/ 4628535 w 6522228"/>
                  <a:gd name="connsiteY1" fmla="*/ 552000 h 2411280"/>
                  <a:gd name="connsiteX2" fmla="*/ 6522228 w 6522228"/>
                  <a:gd name="connsiteY2" fmla="*/ 2411280 h 2411280"/>
                  <a:gd name="connsiteX0" fmla="*/ 0 w 6522228"/>
                  <a:gd name="connsiteY0" fmla="*/ 5347 h 2410317"/>
                  <a:gd name="connsiteX1" fmla="*/ 4023851 w 6522228"/>
                  <a:gd name="connsiteY1" fmla="*/ 595282 h 2410317"/>
                  <a:gd name="connsiteX2" fmla="*/ 6522228 w 6522228"/>
                  <a:gd name="connsiteY2" fmla="*/ 2410317 h 2410317"/>
                  <a:gd name="connsiteX0" fmla="*/ 0 w 6509203"/>
                  <a:gd name="connsiteY0" fmla="*/ 163951 h 1949489"/>
                  <a:gd name="connsiteX1" fmla="*/ 4010826 w 6509203"/>
                  <a:gd name="connsiteY1" fmla="*/ 134454 h 1949489"/>
                  <a:gd name="connsiteX2" fmla="*/ 6509203 w 6509203"/>
                  <a:gd name="connsiteY2" fmla="*/ 1949489 h 1949489"/>
                  <a:gd name="connsiteX0" fmla="*/ 0 w 6535251"/>
                  <a:gd name="connsiteY0" fmla="*/ 155212 h 1822763"/>
                  <a:gd name="connsiteX1" fmla="*/ 4010826 w 6535251"/>
                  <a:gd name="connsiteY1" fmla="*/ 125715 h 1822763"/>
                  <a:gd name="connsiteX2" fmla="*/ 6535251 w 6535251"/>
                  <a:gd name="connsiteY2" fmla="*/ 1822763 h 1822763"/>
                  <a:gd name="connsiteX0" fmla="*/ 0 w 6535251"/>
                  <a:gd name="connsiteY0" fmla="*/ 155212 h 1822763"/>
                  <a:gd name="connsiteX1" fmla="*/ 4010826 w 6535251"/>
                  <a:gd name="connsiteY1" fmla="*/ 125715 h 1822763"/>
                  <a:gd name="connsiteX2" fmla="*/ 6535251 w 6535251"/>
                  <a:gd name="connsiteY2" fmla="*/ 1822763 h 1822763"/>
                  <a:gd name="connsiteX0" fmla="*/ 0 w 6535251"/>
                  <a:gd name="connsiteY0" fmla="*/ 10655 h 1678206"/>
                  <a:gd name="connsiteX1" fmla="*/ 4062921 w 6535251"/>
                  <a:gd name="connsiteY1" fmla="*/ 335120 h 1678206"/>
                  <a:gd name="connsiteX2" fmla="*/ 6535251 w 6535251"/>
                  <a:gd name="connsiteY2" fmla="*/ 1678206 h 1678206"/>
                  <a:gd name="connsiteX0" fmla="*/ 0 w 6535251"/>
                  <a:gd name="connsiteY0" fmla="*/ 3375 h 1670926"/>
                  <a:gd name="connsiteX1" fmla="*/ 4128041 w 6535251"/>
                  <a:gd name="connsiteY1" fmla="*/ 637556 h 1670926"/>
                  <a:gd name="connsiteX2" fmla="*/ 6535251 w 6535251"/>
                  <a:gd name="connsiteY2" fmla="*/ 1670926 h 1670926"/>
                  <a:gd name="connsiteX0" fmla="*/ 0 w 6535251"/>
                  <a:gd name="connsiteY0" fmla="*/ 7668 h 1675219"/>
                  <a:gd name="connsiteX1" fmla="*/ 4023848 w 6535251"/>
                  <a:gd name="connsiteY1" fmla="*/ 391126 h 1675219"/>
                  <a:gd name="connsiteX2" fmla="*/ 6535251 w 6535251"/>
                  <a:gd name="connsiteY2" fmla="*/ 1675219 h 1675219"/>
                  <a:gd name="connsiteX0" fmla="*/ 0 w 6535251"/>
                  <a:gd name="connsiteY0" fmla="*/ 7668 h 1675219"/>
                  <a:gd name="connsiteX1" fmla="*/ 4023848 w 6535251"/>
                  <a:gd name="connsiteY1" fmla="*/ 391126 h 1675219"/>
                  <a:gd name="connsiteX2" fmla="*/ 6535251 w 6535251"/>
                  <a:gd name="connsiteY2" fmla="*/ 1675219 h 1675219"/>
                </a:gdLst>
                <a:ahLst/>
                <a:cxnLst>
                  <a:cxn ang="0">
                    <a:pos x="connsiteX0" y="connsiteY0"/>
                  </a:cxn>
                  <a:cxn ang="0">
                    <a:pos x="connsiteX1" y="connsiteY1"/>
                  </a:cxn>
                  <a:cxn ang="0">
                    <a:pos x="connsiteX2" y="connsiteY2"/>
                  </a:cxn>
                </a:cxnLst>
                <a:rect l="l" t="t" r="r" b="b"/>
                <a:pathLst>
                  <a:path w="6535251" h="1675219">
                    <a:moveTo>
                      <a:pt x="0" y="7668"/>
                    </a:moveTo>
                    <a:cubicBezTo>
                      <a:pt x="618613" y="-36578"/>
                      <a:pt x="2934640" y="113201"/>
                      <a:pt x="4023848" y="391126"/>
                    </a:cubicBezTo>
                    <a:cubicBezTo>
                      <a:pt x="5113057" y="669051"/>
                      <a:pt x="6017867" y="1075450"/>
                      <a:pt x="6535251" y="1675219"/>
                    </a:cubicBezTo>
                  </a:path>
                </a:pathLst>
              </a:custGeom>
              <a:noFill/>
              <a:ln w="19050" cap="flat" cmpd="sng" algn="ctr">
                <a:solidFill>
                  <a:srgbClr val="000000">
                    <a:lumMod val="50000"/>
                    <a:lumOff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31" name="Oval 30">
                <a:extLst>
                  <a:ext uri="{FF2B5EF4-FFF2-40B4-BE49-F238E27FC236}">
                    <a16:creationId xmlns:a16="http://schemas.microsoft.com/office/drawing/2014/main" id="{519B59DC-54FA-2F27-F2A3-DED3F7D2DF96}"/>
                  </a:ext>
                </a:extLst>
              </p:cNvPr>
              <p:cNvSpPr>
                <a:spLocks noChangeAspect="1"/>
              </p:cNvSpPr>
              <p:nvPr/>
            </p:nvSpPr>
            <p:spPr>
              <a:xfrm>
                <a:off x="2884020" y="2584343"/>
                <a:ext cx="304521" cy="304521"/>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32" name="Oval 31">
                <a:extLst>
                  <a:ext uri="{FF2B5EF4-FFF2-40B4-BE49-F238E27FC236}">
                    <a16:creationId xmlns:a16="http://schemas.microsoft.com/office/drawing/2014/main" id="{7B779102-91C9-8FD4-E951-699F845143BD}"/>
                  </a:ext>
                </a:extLst>
              </p:cNvPr>
              <p:cNvSpPr>
                <a:spLocks noChangeAspect="1"/>
              </p:cNvSpPr>
              <p:nvPr/>
            </p:nvSpPr>
            <p:spPr>
              <a:xfrm>
                <a:off x="3548495" y="2964785"/>
                <a:ext cx="304521" cy="304521"/>
              </a:xfrm>
              <a:prstGeom prst="ellipse">
                <a:avLst/>
              </a:prstGeom>
              <a:solidFill>
                <a:srgbClr val="F06A11"/>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33" name="Oval 32">
                <a:extLst>
                  <a:ext uri="{FF2B5EF4-FFF2-40B4-BE49-F238E27FC236}">
                    <a16:creationId xmlns:a16="http://schemas.microsoft.com/office/drawing/2014/main" id="{A417324A-EBC2-E607-CE38-90C04423CFE6}"/>
                  </a:ext>
                </a:extLst>
              </p:cNvPr>
              <p:cNvSpPr>
                <a:spLocks noChangeAspect="1"/>
              </p:cNvSpPr>
              <p:nvPr/>
            </p:nvSpPr>
            <p:spPr>
              <a:xfrm>
                <a:off x="3297107" y="3494704"/>
                <a:ext cx="276837" cy="276837"/>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34" name="Oval 33">
                <a:extLst>
                  <a:ext uri="{FF2B5EF4-FFF2-40B4-BE49-F238E27FC236}">
                    <a16:creationId xmlns:a16="http://schemas.microsoft.com/office/drawing/2014/main" id="{F5D89A2B-3E65-E9CA-03EA-24680B858E0F}"/>
                  </a:ext>
                </a:extLst>
              </p:cNvPr>
              <p:cNvSpPr>
                <a:spLocks noChangeAspect="1"/>
              </p:cNvSpPr>
              <p:nvPr/>
            </p:nvSpPr>
            <p:spPr>
              <a:xfrm>
                <a:off x="3700627" y="3975716"/>
                <a:ext cx="304521" cy="304521"/>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35" name="Oval 41">
                <a:extLst>
                  <a:ext uri="{FF2B5EF4-FFF2-40B4-BE49-F238E27FC236}">
                    <a16:creationId xmlns:a16="http://schemas.microsoft.com/office/drawing/2014/main" id="{0CE91CC9-4DCA-40AE-DC15-EB0F799ED3A5}"/>
                  </a:ext>
                </a:extLst>
              </p:cNvPr>
              <p:cNvSpPr>
                <a:spLocks noChangeAspect="1"/>
              </p:cNvSpPr>
              <p:nvPr/>
            </p:nvSpPr>
            <p:spPr>
              <a:xfrm>
                <a:off x="3724276" y="3788160"/>
                <a:ext cx="141575" cy="141575"/>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36" name="Oval 42">
                <a:extLst>
                  <a:ext uri="{FF2B5EF4-FFF2-40B4-BE49-F238E27FC236}">
                    <a16:creationId xmlns:a16="http://schemas.microsoft.com/office/drawing/2014/main" id="{03B6E373-F9C6-7240-6496-D283906053AA}"/>
                  </a:ext>
                </a:extLst>
              </p:cNvPr>
              <p:cNvSpPr>
                <a:spLocks noChangeAspect="1"/>
              </p:cNvSpPr>
              <p:nvPr/>
            </p:nvSpPr>
            <p:spPr>
              <a:xfrm>
                <a:off x="3829051" y="3321093"/>
                <a:ext cx="141575" cy="141575"/>
              </a:xfrm>
              <a:prstGeom prst="ellipse">
                <a:avLst/>
              </a:prstGeom>
              <a:solidFill>
                <a:schemeClr val="accent3">
                  <a:lumMod val="60000"/>
                  <a:lumOff val="40000"/>
                </a:scheme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37" name="Oval 43">
                <a:extLst>
                  <a:ext uri="{FF2B5EF4-FFF2-40B4-BE49-F238E27FC236}">
                    <a16:creationId xmlns:a16="http://schemas.microsoft.com/office/drawing/2014/main" id="{43FB1A91-6732-E98A-4C39-452789C33EFF}"/>
                  </a:ext>
                </a:extLst>
              </p:cNvPr>
              <p:cNvSpPr>
                <a:spLocks noChangeAspect="1"/>
              </p:cNvSpPr>
              <p:nvPr/>
            </p:nvSpPr>
            <p:spPr>
              <a:xfrm>
                <a:off x="3862911" y="4327470"/>
                <a:ext cx="141575" cy="141575"/>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38" name="Oval 44">
                <a:extLst>
                  <a:ext uri="{FF2B5EF4-FFF2-40B4-BE49-F238E27FC236}">
                    <a16:creationId xmlns:a16="http://schemas.microsoft.com/office/drawing/2014/main" id="{8EFC6A19-8472-A4C7-2B12-E28A385CB3EE}"/>
                  </a:ext>
                </a:extLst>
              </p:cNvPr>
              <p:cNvSpPr>
                <a:spLocks noChangeAspect="1"/>
              </p:cNvSpPr>
              <p:nvPr/>
            </p:nvSpPr>
            <p:spPr>
              <a:xfrm>
                <a:off x="4248135" y="3978964"/>
                <a:ext cx="304521" cy="304521"/>
              </a:xfrm>
              <a:prstGeom prst="ellipse">
                <a:avLst/>
              </a:prstGeom>
              <a:solidFill>
                <a:srgbClr val="F06A11"/>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39" name="Oval 45">
                <a:extLst>
                  <a:ext uri="{FF2B5EF4-FFF2-40B4-BE49-F238E27FC236}">
                    <a16:creationId xmlns:a16="http://schemas.microsoft.com/office/drawing/2014/main" id="{20092C3D-68A0-9798-214B-97CC7F2146AE}"/>
                  </a:ext>
                </a:extLst>
              </p:cNvPr>
              <p:cNvSpPr>
                <a:spLocks noChangeAspect="1"/>
              </p:cNvSpPr>
              <p:nvPr/>
            </p:nvSpPr>
            <p:spPr>
              <a:xfrm>
                <a:off x="4636770" y="3458851"/>
                <a:ext cx="276837" cy="276837"/>
              </a:xfrm>
              <a:prstGeom prst="ellipse">
                <a:avLst/>
              </a:prstGeom>
              <a:solidFill>
                <a:schemeClr val="accent3">
                  <a:lumMod val="60000"/>
                  <a:lumOff val="40000"/>
                </a:scheme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40" name="Oval 46">
                <a:extLst>
                  <a:ext uri="{FF2B5EF4-FFF2-40B4-BE49-F238E27FC236}">
                    <a16:creationId xmlns:a16="http://schemas.microsoft.com/office/drawing/2014/main" id="{4857D9ED-210B-A01E-F0C1-942BA380494E}"/>
                  </a:ext>
                </a:extLst>
              </p:cNvPr>
              <p:cNvSpPr>
                <a:spLocks noChangeAspect="1"/>
              </p:cNvSpPr>
              <p:nvPr/>
            </p:nvSpPr>
            <p:spPr>
              <a:xfrm>
                <a:off x="4749496" y="3908559"/>
                <a:ext cx="251670" cy="251670"/>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41" name="Oval 47">
                <a:extLst>
                  <a:ext uri="{FF2B5EF4-FFF2-40B4-BE49-F238E27FC236}">
                    <a16:creationId xmlns:a16="http://schemas.microsoft.com/office/drawing/2014/main" id="{4B11DFBD-9B63-DABE-1C39-AE5AA309D149}"/>
                  </a:ext>
                </a:extLst>
              </p:cNvPr>
              <p:cNvSpPr>
                <a:spLocks noChangeAspect="1"/>
              </p:cNvSpPr>
              <p:nvPr/>
            </p:nvSpPr>
            <p:spPr>
              <a:xfrm>
                <a:off x="4132733" y="3229182"/>
                <a:ext cx="276837" cy="276837"/>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42" name="Oval 48">
                <a:extLst>
                  <a:ext uri="{FF2B5EF4-FFF2-40B4-BE49-F238E27FC236}">
                    <a16:creationId xmlns:a16="http://schemas.microsoft.com/office/drawing/2014/main" id="{4E206984-0A24-489B-5E92-3B2E125F02D7}"/>
                  </a:ext>
                </a:extLst>
              </p:cNvPr>
              <p:cNvSpPr>
                <a:spLocks noChangeAspect="1"/>
              </p:cNvSpPr>
              <p:nvPr/>
            </p:nvSpPr>
            <p:spPr>
              <a:xfrm>
                <a:off x="4211222" y="3562807"/>
                <a:ext cx="171197" cy="171197"/>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43" name="Oval 49">
                <a:extLst>
                  <a:ext uri="{FF2B5EF4-FFF2-40B4-BE49-F238E27FC236}">
                    <a16:creationId xmlns:a16="http://schemas.microsoft.com/office/drawing/2014/main" id="{F58C3582-0597-DAD5-8608-C2C098FC0596}"/>
                  </a:ext>
                </a:extLst>
              </p:cNvPr>
              <p:cNvSpPr>
                <a:spLocks noChangeAspect="1"/>
              </p:cNvSpPr>
              <p:nvPr/>
            </p:nvSpPr>
            <p:spPr>
              <a:xfrm>
                <a:off x="5105003" y="3437163"/>
                <a:ext cx="207148" cy="207148"/>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44" name="Oval 50">
                <a:extLst>
                  <a:ext uri="{FF2B5EF4-FFF2-40B4-BE49-F238E27FC236}">
                    <a16:creationId xmlns:a16="http://schemas.microsoft.com/office/drawing/2014/main" id="{559191AB-F612-5016-B085-5EEA550F325A}"/>
                  </a:ext>
                </a:extLst>
              </p:cNvPr>
              <p:cNvSpPr>
                <a:spLocks noChangeAspect="1"/>
              </p:cNvSpPr>
              <p:nvPr/>
            </p:nvSpPr>
            <p:spPr>
              <a:xfrm>
                <a:off x="4167578" y="4327470"/>
                <a:ext cx="103574" cy="103574"/>
              </a:xfrm>
              <a:prstGeom prst="ellipse">
                <a:avLst/>
              </a:prstGeom>
              <a:solidFill>
                <a:srgbClr val="FFFFFF"/>
              </a:solidFill>
              <a:ln w="3175"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45" name="Oval 51">
                <a:extLst>
                  <a:ext uri="{FF2B5EF4-FFF2-40B4-BE49-F238E27FC236}">
                    <a16:creationId xmlns:a16="http://schemas.microsoft.com/office/drawing/2014/main" id="{E590B129-FA16-62EE-F64A-F1F856E4A2B5}"/>
                  </a:ext>
                </a:extLst>
              </p:cNvPr>
              <p:cNvSpPr>
                <a:spLocks noChangeAspect="1"/>
              </p:cNvSpPr>
              <p:nvPr/>
            </p:nvSpPr>
            <p:spPr>
              <a:xfrm>
                <a:off x="5189155" y="3719194"/>
                <a:ext cx="103574" cy="103574"/>
              </a:xfrm>
              <a:prstGeom prst="ellipse">
                <a:avLst/>
              </a:prstGeom>
              <a:solidFill>
                <a:srgbClr val="F5CA13"/>
              </a:solidFill>
              <a:ln w="3175"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46" name="Oval 52">
                <a:extLst>
                  <a:ext uri="{FF2B5EF4-FFF2-40B4-BE49-F238E27FC236}">
                    <a16:creationId xmlns:a16="http://schemas.microsoft.com/office/drawing/2014/main" id="{C314EEEA-337A-A34E-AC37-2D10FA7B3A04}"/>
                  </a:ext>
                </a:extLst>
              </p:cNvPr>
              <p:cNvSpPr>
                <a:spLocks noChangeAspect="1"/>
              </p:cNvSpPr>
              <p:nvPr/>
            </p:nvSpPr>
            <p:spPr>
              <a:xfrm>
                <a:off x="4510217" y="3833453"/>
                <a:ext cx="103574" cy="103574"/>
              </a:xfrm>
              <a:prstGeom prst="ellipse">
                <a:avLst/>
              </a:prstGeom>
              <a:solidFill>
                <a:schemeClr val="accent3">
                  <a:lumMod val="20000"/>
                  <a:lumOff val="80000"/>
                </a:scheme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47" name="Oval 53">
                <a:extLst>
                  <a:ext uri="{FF2B5EF4-FFF2-40B4-BE49-F238E27FC236}">
                    <a16:creationId xmlns:a16="http://schemas.microsoft.com/office/drawing/2014/main" id="{5A0CE1B1-1FF6-5DE1-E4F9-0A1386C0EA68}"/>
                  </a:ext>
                </a:extLst>
              </p:cNvPr>
              <p:cNvSpPr>
                <a:spLocks noChangeAspect="1"/>
              </p:cNvSpPr>
              <p:nvPr/>
            </p:nvSpPr>
            <p:spPr>
              <a:xfrm>
                <a:off x="5137368" y="4027650"/>
                <a:ext cx="103574" cy="103574"/>
              </a:xfrm>
              <a:prstGeom prst="ellipse">
                <a:avLst/>
              </a:prstGeom>
              <a:solidFill>
                <a:srgbClr val="F5CA13">
                  <a:lumMod val="20000"/>
                  <a:lumOff val="80000"/>
                </a:srgbClr>
              </a:solidFill>
              <a:ln w="3175"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48" name="Oval 54">
                <a:extLst>
                  <a:ext uri="{FF2B5EF4-FFF2-40B4-BE49-F238E27FC236}">
                    <a16:creationId xmlns:a16="http://schemas.microsoft.com/office/drawing/2014/main" id="{CE9EE814-9983-0AE9-2397-83751B793995}"/>
                  </a:ext>
                </a:extLst>
              </p:cNvPr>
              <p:cNvSpPr>
                <a:spLocks noChangeAspect="1"/>
              </p:cNvSpPr>
              <p:nvPr/>
            </p:nvSpPr>
            <p:spPr>
              <a:xfrm>
                <a:off x="4486144" y="3214960"/>
                <a:ext cx="103574" cy="103574"/>
              </a:xfrm>
              <a:prstGeom prst="ellipse">
                <a:avLst/>
              </a:prstGeom>
              <a:solidFill>
                <a:srgbClr val="F5CA13"/>
              </a:solidFill>
              <a:ln w="3175"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49" name="Oval 55">
                <a:extLst>
                  <a:ext uri="{FF2B5EF4-FFF2-40B4-BE49-F238E27FC236}">
                    <a16:creationId xmlns:a16="http://schemas.microsoft.com/office/drawing/2014/main" id="{6C428DF6-D8DB-476E-7EC6-65E7D650A2E6}"/>
                  </a:ext>
                </a:extLst>
              </p:cNvPr>
              <p:cNvSpPr>
                <a:spLocks noChangeAspect="1"/>
              </p:cNvSpPr>
              <p:nvPr/>
            </p:nvSpPr>
            <p:spPr>
              <a:xfrm>
                <a:off x="4141460" y="3875390"/>
                <a:ext cx="103574" cy="103574"/>
              </a:xfrm>
              <a:prstGeom prst="ellipse">
                <a:avLst/>
              </a:prstGeom>
              <a:solidFill>
                <a:schemeClr val="accent3">
                  <a:lumMod val="20000"/>
                  <a:lumOff val="80000"/>
                </a:scheme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50" name="Oval 56">
                <a:extLst>
                  <a:ext uri="{FF2B5EF4-FFF2-40B4-BE49-F238E27FC236}">
                    <a16:creationId xmlns:a16="http://schemas.microsoft.com/office/drawing/2014/main" id="{61D1AB96-12C7-AC11-F87A-06C0815C1CBC}"/>
                  </a:ext>
                </a:extLst>
              </p:cNvPr>
              <p:cNvSpPr>
                <a:spLocks noChangeAspect="1"/>
              </p:cNvSpPr>
              <p:nvPr/>
            </p:nvSpPr>
            <p:spPr>
              <a:xfrm>
                <a:off x="4920847" y="3740936"/>
                <a:ext cx="103574" cy="103574"/>
              </a:xfrm>
              <a:prstGeom prst="ellipse">
                <a:avLst/>
              </a:prstGeom>
              <a:solidFill>
                <a:srgbClr val="F5CA13"/>
              </a:solidFill>
              <a:ln w="3175"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51" name="Oval 57">
                <a:extLst>
                  <a:ext uri="{FF2B5EF4-FFF2-40B4-BE49-F238E27FC236}">
                    <a16:creationId xmlns:a16="http://schemas.microsoft.com/office/drawing/2014/main" id="{9D220E63-C3D3-6FE2-4962-979C709D623C}"/>
                  </a:ext>
                </a:extLst>
              </p:cNvPr>
              <p:cNvSpPr>
                <a:spLocks noChangeAspect="1"/>
              </p:cNvSpPr>
              <p:nvPr/>
            </p:nvSpPr>
            <p:spPr>
              <a:xfrm>
                <a:off x="4458430" y="3528932"/>
                <a:ext cx="103574" cy="103574"/>
              </a:xfrm>
              <a:prstGeom prst="ellipse">
                <a:avLst/>
              </a:prstGeom>
              <a:solidFill>
                <a:srgbClr val="F06A11"/>
              </a:solidFill>
              <a:ln w="3175"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52" name="Oval 58">
                <a:extLst>
                  <a:ext uri="{FF2B5EF4-FFF2-40B4-BE49-F238E27FC236}">
                    <a16:creationId xmlns:a16="http://schemas.microsoft.com/office/drawing/2014/main" id="{4A620AD4-C9A4-DC62-2936-3AF229DCD398}"/>
                  </a:ext>
                </a:extLst>
              </p:cNvPr>
              <p:cNvSpPr>
                <a:spLocks noChangeAspect="1"/>
              </p:cNvSpPr>
              <p:nvPr/>
            </p:nvSpPr>
            <p:spPr>
              <a:xfrm>
                <a:off x="4623937" y="4161984"/>
                <a:ext cx="103574" cy="103574"/>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53" name="Oval 59">
                <a:extLst>
                  <a:ext uri="{FF2B5EF4-FFF2-40B4-BE49-F238E27FC236}">
                    <a16:creationId xmlns:a16="http://schemas.microsoft.com/office/drawing/2014/main" id="{58DD3CCD-E9F0-4E71-432B-E9A7BE785976}"/>
                  </a:ext>
                </a:extLst>
              </p:cNvPr>
              <p:cNvSpPr>
                <a:spLocks noChangeAspect="1"/>
              </p:cNvSpPr>
              <p:nvPr/>
            </p:nvSpPr>
            <p:spPr>
              <a:xfrm>
                <a:off x="4927338" y="3306795"/>
                <a:ext cx="171197" cy="171197"/>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54" name="Oval 60">
                <a:extLst>
                  <a:ext uri="{FF2B5EF4-FFF2-40B4-BE49-F238E27FC236}">
                    <a16:creationId xmlns:a16="http://schemas.microsoft.com/office/drawing/2014/main" id="{8CC72BDB-3688-5989-577F-E7AF0EF72DED}"/>
                  </a:ext>
                </a:extLst>
              </p:cNvPr>
              <p:cNvSpPr>
                <a:spLocks noChangeAspect="1"/>
              </p:cNvSpPr>
              <p:nvPr/>
            </p:nvSpPr>
            <p:spPr>
              <a:xfrm>
                <a:off x="4719312" y="3269306"/>
                <a:ext cx="103574" cy="103574"/>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55" name="Oval 61">
                <a:extLst>
                  <a:ext uri="{FF2B5EF4-FFF2-40B4-BE49-F238E27FC236}">
                    <a16:creationId xmlns:a16="http://schemas.microsoft.com/office/drawing/2014/main" id="{E65DB1F7-7B74-54E9-2ED2-6C551F0BA9B5}"/>
                  </a:ext>
                </a:extLst>
              </p:cNvPr>
              <p:cNvSpPr>
                <a:spLocks noChangeAspect="1"/>
              </p:cNvSpPr>
              <p:nvPr/>
            </p:nvSpPr>
            <p:spPr>
              <a:xfrm>
                <a:off x="2985919" y="3724868"/>
                <a:ext cx="304521" cy="304521"/>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56" name="Oval 62">
                <a:extLst>
                  <a:ext uri="{FF2B5EF4-FFF2-40B4-BE49-F238E27FC236}">
                    <a16:creationId xmlns:a16="http://schemas.microsoft.com/office/drawing/2014/main" id="{DF80E73E-1FC4-86DA-4DAD-EB1393FA1D79}"/>
                  </a:ext>
                </a:extLst>
              </p:cNvPr>
              <p:cNvSpPr>
                <a:spLocks noChangeAspect="1"/>
              </p:cNvSpPr>
              <p:nvPr/>
            </p:nvSpPr>
            <p:spPr>
              <a:xfrm>
                <a:off x="3888866" y="3575260"/>
                <a:ext cx="207148" cy="207148"/>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57" name="Oval 63">
                <a:extLst>
                  <a:ext uri="{FF2B5EF4-FFF2-40B4-BE49-F238E27FC236}">
                    <a16:creationId xmlns:a16="http://schemas.microsoft.com/office/drawing/2014/main" id="{B0AD17E6-FE6B-C626-ECF1-9ECE6DDB066D}"/>
                  </a:ext>
                </a:extLst>
              </p:cNvPr>
              <p:cNvSpPr>
                <a:spLocks noChangeAspect="1"/>
              </p:cNvSpPr>
              <p:nvPr/>
            </p:nvSpPr>
            <p:spPr>
              <a:xfrm>
                <a:off x="3587260" y="3360849"/>
                <a:ext cx="207148" cy="207148"/>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58" name="Oval 64">
                <a:extLst>
                  <a:ext uri="{FF2B5EF4-FFF2-40B4-BE49-F238E27FC236}">
                    <a16:creationId xmlns:a16="http://schemas.microsoft.com/office/drawing/2014/main" id="{4BC8293F-F674-97CE-61FD-014978F3193B}"/>
                  </a:ext>
                </a:extLst>
              </p:cNvPr>
              <p:cNvSpPr>
                <a:spLocks noChangeAspect="1"/>
              </p:cNvSpPr>
              <p:nvPr/>
            </p:nvSpPr>
            <p:spPr>
              <a:xfrm>
                <a:off x="3301949" y="2736604"/>
                <a:ext cx="103574" cy="103574"/>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59" name="Oval 65">
                <a:extLst>
                  <a:ext uri="{FF2B5EF4-FFF2-40B4-BE49-F238E27FC236}">
                    <a16:creationId xmlns:a16="http://schemas.microsoft.com/office/drawing/2014/main" id="{C2361325-446D-C5F6-622C-A8074CADC90C}"/>
                  </a:ext>
                </a:extLst>
              </p:cNvPr>
              <p:cNvSpPr>
                <a:spLocks noChangeAspect="1"/>
              </p:cNvSpPr>
              <p:nvPr/>
            </p:nvSpPr>
            <p:spPr>
              <a:xfrm>
                <a:off x="3340395" y="3915175"/>
                <a:ext cx="207148" cy="207148"/>
              </a:xfrm>
              <a:prstGeom prst="ellipse">
                <a:avLst/>
              </a:prstGeom>
              <a:solidFill>
                <a:srgbClr val="F5CA13"/>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60" name="Oval 66">
                <a:extLst>
                  <a:ext uri="{FF2B5EF4-FFF2-40B4-BE49-F238E27FC236}">
                    <a16:creationId xmlns:a16="http://schemas.microsoft.com/office/drawing/2014/main" id="{FB47598D-86FB-DFB7-E3B8-BF20266D5E3D}"/>
                  </a:ext>
                </a:extLst>
              </p:cNvPr>
              <p:cNvSpPr>
                <a:spLocks noChangeAspect="1"/>
              </p:cNvSpPr>
              <p:nvPr/>
            </p:nvSpPr>
            <p:spPr>
              <a:xfrm>
                <a:off x="3188134" y="3083383"/>
                <a:ext cx="304521" cy="304521"/>
              </a:xfrm>
              <a:prstGeom prst="ellipse">
                <a:avLst/>
              </a:prstGeom>
              <a:solidFill>
                <a:schemeClr val="accent3">
                  <a:lumMod val="60000"/>
                  <a:lumOff val="40000"/>
                </a:scheme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61" name="Oval 67">
                <a:extLst>
                  <a:ext uri="{FF2B5EF4-FFF2-40B4-BE49-F238E27FC236}">
                    <a16:creationId xmlns:a16="http://schemas.microsoft.com/office/drawing/2014/main" id="{B36F5005-A74E-044B-361A-1BA40DA2CE28}"/>
                  </a:ext>
                </a:extLst>
              </p:cNvPr>
              <p:cNvSpPr>
                <a:spLocks noChangeAspect="1"/>
              </p:cNvSpPr>
              <p:nvPr/>
            </p:nvSpPr>
            <p:spPr>
              <a:xfrm>
                <a:off x="2954830" y="2947721"/>
                <a:ext cx="141575" cy="141575"/>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62" name="Oval 68">
                <a:extLst>
                  <a:ext uri="{FF2B5EF4-FFF2-40B4-BE49-F238E27FC236}">
                    <a16:creationId xmlns:a16="http://schemas.microsoft.com/office/drawing/2014/main" id="{29634479-1F99-F7F9-22A4-F6B2DA336411}"/>
                  </a:ext>
                </a:extLst>
              </p:cNvPr>
              <p:cNvSpPr>
                <a:spLocks noChangeAspect="1"/>
              </p:cNvSpPr>
              <p:nvPr/>
            </p:nvSpPr>
            <p:spPr>
              <a:xfrm>
                <a:off x="2830112" y="3185245"/>
                <a:ext cx="207148" cy="207148"/>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63" name="Oval 69">
                <a:extLst>
                  <a:ext uri="{FF2B5EF4-FFF2-40B4-BE49-F238E27FC236}">
                    <a16:creationId xmlns:a16="http://schemas.microsoft.com/office/drawing/2014/main" id="{701A4D89-959B-4F53-A6B5-EB74DA5C3081}"/>
                  </a:ext>
                </a:extLst>
              </p:cNvPr>
              <p:cNvSpPr>
                <a:spLocks noChangeAspect="1"/>
              </p:cNvSpPr>
              <p:nvPr/>
            </p:nvSpPr>
            <p:spPr>
              <a:xfrm>
                <a:off x="3886473" y="3018509"/>
                <a:ext cx="103574" cy="103574"/>
              </a:xfrm>
              <a:prstGeom prst="ellipse">
                <a:avLst/>
              </a:prstGeom>
              <a:solidFill>
                <a:srgbClr val="FFFFFF"/>
              </a:solidFill>
              <a:ln w="3175"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64" name="Oval 70">
                <a:extLst>
                  <a:ext uri="{FF2B5EF4-FFF2-40B4-BE49-F238E27FC236}">
                    <a16:creationId xmlns:a16="http://schemas.microsoft.com/office/drawing/2014/main" id="{21530084-AFB9-841B-DD36-CD54D689286F}"/>
                  </a:ext>
                </a:extLst>
              </p:cNvPr>
              <p:cNvSpPr>
                <a:spLocks noChangeAspect="1"/>
              </p:cNvSpPr>
              <p:nvPr/>
            </p:nvSpPr>
            <p:spPr>
              <a:xfrm>
                <a:off x="3347981" y="2930802"/>
                <a:ext cx="103574" cy="103574"/>
              </a:xfrm>
              <a:prstGeom prst="ellipse">
                <a:avLst/>
              </a:prstGeom>
              <a:solidFill>
                <a:srgbClr val="FFFFFF"/>
              </a:solidFill>
              <a:ln w="3175"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65" name="Oval 71">
                <a:extLst>
                  <a:ext uri="{FF2B5EF4-FFF2-40B4-BE49-F238E27FC236}">
                    <a16:creationId xmlns:a16="http://schemas.microsoft.com/office/drawing/2014/main" id="{A1F4F390-AA07-31A1-1176-D6281F239E69}"/>
                  </a:ext>
                </a:extLst>
              </p:cNvPr>
              <p:cNvSpPr>
                <a:spLocks noChangeAspect="1"/>
              </p:cNvSpPr>
              <p:nvPr/>
            </p:nvSpPr>
            <p:spPr>
              <a:xfrm>
                <a:off x="2885975" y="3472084"/>
                <a:ext cx="207148" cy="207148"/>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66" name="Oval 72">
                <a:extLst>
                  <a:ext uri="{FF2B5EF4-FFF2-40B4-BE49-F238E27FC236}">
                    <a16:creationId xmlns:a16="http://schemas.microsoft.com/office/drawing/2014/main" id="{A20AA0BF-1115-EA55-93FB-5F97CAC6E6D8}"/>
                  </a:ext>
                </a:extLst>
              </p:cNvPr>
              <p:cNvSpPr>
                <a:spLocks noChangeAspect="1"/>
              </p:cNvSpPr>
              <p:nvPr/>
            </p:nvSpPr>
            <p:spPr>
              <a:xfrm>
                <a:off x="3074118" y="4201521"/>
                <a:ext cx="276837" cy="276837"/>
              </a:xfrm>
              <a:prstGeom prst="ellipse">
                <a:avLst/>
              </a:prstGeom>
              <a:solidFill>
                <a:schemeClr val="accent3">
                  <a:lumMod val="60000"/>
                  <a:lumOff val="40000"/>
                </a:scheme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67" name="Oval 73">
                <a:extLst>
                  <a:ext uri="{FF2B5EF4-FFF2-40B4-BE49-F238E27FC236}">
                    <a16:creationId xmlns:a16="http://schemas.microsoft.com/office/drawing/2014/main" id="{9696B8ED-BA83-C1F1-393E-F3B0BB8B3270}"/>
                  </a:ext>
                </a:extLst>
              </p:cNvPr>
              <p:cNvSpPr>
                <a:spLocks noChangeAspect="1"/>
              </p:cNvSpPr>
              <p:nvPr/>
            </p:nvSpPr>
            <p:spPr>
              <a:xfrm>
                <a:off x="3346182" y="4587983"/>
                <a:ext cx="141575" cy="141575"/>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68" name="Oval 74">
                <a:extLst>
                  <a:ext uri="{FF2B5EF4-FFF2-40B4-BE49-F238E27FC236}">
                    <a16:creationId xmlns:a16="http://schemas.microsoft.com/office/drawing/2014/main" id="{C2A60A92-51FA-EAD0-7E8E-3CD95A0B76D8}"/>
                  </a:ext>
                </a:extLst>
              </p:cNvPr>
              <p:cNvSpPr>
                <a:spLocks noChangeAspect="1"/>
              </p:cNvSpPr>
              <p:nvPr/>
            </p:nvSpPr>
            <p:spPr>
              <a:xfrm>
                <a:off x="2847241" y="4236367"/>
                <a:ext cx="103574" cy="103574"/>
              </a:xfrm>
              <a:prstGeom prst="ellipse">
                <a:avLst/>
              </a:prstGeom>
              <a:solidFill>
                <a:srgbClr val="F5CA13"/>
              </a:solidFill>
              <a:ln w="3175"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69" name="Oval 75">
                <a:extLst>
                  <a:ext uri="{FF2B5EF4-FFF2-40B4-BE49-F238E27FC236}">
                    <a16:creationId xmlns:a16="http://schemas.microsoft.com/office/drawing/2014/main" id="{97F91572-9194-73A2-37A4-0F502B480647}"/>
                  </a:ext>
                </a:extLst>
              </p:cNvPr>
              <p:cNvSpPr>
                <a:spLocks noChangeAspect="1"/>
              </p:cNvSpPr>
              <p:nvPr/>
            </p:nvSpPr>
            <p:spPr>
              <a:xfrm>
                <a:off x="3475056" y="4171755"/>
                <a:ext cx="207148" cy="207148"/>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70" name="Oval 76">
                <a:extLst>
                  <a:ext uri="{FF2B5EF4-FFF2-40B4-BE49-F238E27FC236}">
                    <a16:creationId xmlns:a16="http://schemas.microsoft.com/office/drawing/2014/main" id="{3A7D6F84-C42F-F20D-6F68-CE57291CF556}"/>
                  </a:ext>
                </a:extLst>
              </p:cNvPr>
              <p:cNvSpPr>
                <a:spLocks noChangeAspect="1"/>
              </p:cNvSpPr>
              <p:nvPr/>
            </p:nvSpPr>
            <p:spPr>
              <a:xfrm>
                <a:off x="3605349" y="4417051"/>
                <a:ext cx="207148" cy="207148"/>
              </a:xfrm>
              <a:prstGeom prst="ellipse">
                <a:avLst/>
              </a:prstGeom>
              <a:solidFill>
                <a:srgbClr val="F06A11"/>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71" name="Oval 77">
                <a:extLst>
                  <a:ext uri="{FF2B5EF4-FFF2-40B4-BE49-F238E27FC236}">
                    <a16:creationId xmlns:a16="http://schemas.microsoft.com/office/drawing/2014/main" id="{7547575F-2F4E-23CC-8F97-1A36DE7569B9}"/>
                  </a:ext>
                </a:extLst>
              </p:cNvPr>
              <p:cNvSpPr>
                <a:spLocks noChangeAspect="1"/>
              </p:cNvSpPr>
              <p:nvPr/>
            </p:nvSpPr>
            <p:spPr>
              <a:xfrm>
                <a:off x="2861027" y="4045080"/>
                <a:ext cx="141575" cy="141575"/>
              </a:xfrm>
              <a:prstGeom prst="ellipse">
                <a:avLst/>
              </a:prstGeom>
              <a:solidFill>
                <a:srgbClr val="F06A11"/>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72" name="Oval 78">
                <a:extLst>
                  <a:ext uri="{FF2B5EF4-FFF2-40B4-BE49-F238E27FC236}">
                    <a16:creationId xmlns:a16="http://schemas.microsoft.com/office/drawing/2014/main" id="{F64E8618-4719-DE86-0917-9C9A17B3F176}"/>
                  </a:ext>
                </a:extLst>
              </p:cNvPr>
              <p:cNvSpPr>
                <a:spLocks noChangeAspect="1"/>
              </p:cNvSpPr>
              <p:nvPr/>
            </p:nvSpPr>
            <p:spPr>
              <a:xfrm>
                <a:off x="3019862" y="4587983"/>
                <a:ext cx="207148" cy="207148"/>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73" name="Oval 79">
                <a:extLst>
                  <a:ext uri="{FF2B5EF4-FFF2-40B4-BE49-F238E27FC236}">
                    <a16:creationId xmlns:a16="http://schemas.microsoft.com/office/drawing/2014/main" id="{A70B8D4B-793A-5669-5C08-0D4D8E935CB8}"/>
                  </a:ext>
                </a:extLst>
              </p:cNvPr>
              <p:cNvSpPr>
                <a:spLocks noChangeAspect="1"/>
              </p:cNvSpPr>
              <p:nvPr/>
            </p:nvSpPr>
            <p:spPr>
              <a:xfrm>
                <a:off x="2899028" y="4856909"/>
                <a:ext cx="103574" cy="103574"/>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74" name="Oval 80">
                <a:extLst>
                  <a:ext uri="{FF2B5EF4-FFF2-40B4-BE49-F238E27FC236}">
                    <a16:creationId xmlns:a16="http://schemas.microsoft.com/office/drawing/2014/main" id="{29AE4B8E-1AFA-6B3B-C747-38E3A1FEE3AE}"/>
                  </a:ext>
                </a:extLst>
              </p:cNvPr>
              <p:cNvSpPr>
                <a:spLocks noChangeAspect="1"/>
              </p:cNvSpPr>
              <p:nvPr/>
            </p:nvSpPr>
            <p:spPr>
              <a:xfrm>
                <a:off x="2777745" y="4500154"/>
                <a:ext cx="207148" cy="207148"/>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75" name="Oval 81">
                <a:extLst>
                  <a:ext uri="{FF2B5EF4-FFF2-40B4-BE49-F238E27FC236}">
                    <a16:creationId xmlns:a16="http://schemas.microsoft.com/office/drawing/2014/main" id="{8C997B51-063F-B443-E4D2-63912FFF1F64}"/>
                  </a:ext>
                </a:extLst>
              </p:cNvPr>
              <p:cNvSpPr>
                <a:spLocks noChangeAspect="1"/>
              </p:cNvSpPr>
              <p:nvPr/>
            </p:nvSpPr>
            <p:spPr>
              <a:xfrm>
                <a:off x="6106253" y="3512658"/>
                <a:ext cx="251670" cy="251670"/>
              </a:xfrm>
              <a:prstGeom prst="ellipse">
                <a:avLst/>
              </a:prstGeom>
              <a:solidFill>
                <a:srgbClr val="F06A11"/>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76" name="Oval 82">
                <a:extLst>
                  <a:ext uri="{FF2B5EF4-FFF2-40B4-BE49-F238E27FC236}">
                    <a16:creationId xmlns:a16="http://schemas.microsoft.com/office/drawing/2014/main" id="{A9115618-54F5-1D19-BDC5-9E7A97614234}"/>
                  </a:ext>
                </a:extLst>
              </p:cNvPr>
              <p:cNvSpPr>
                <a:spLocks noChangeAspect="1"/>
              </p:cNvSpPr>
              <p:nvPr/>
            </p:nvSpPr>
            <p:spPr>
              <a:xfrm>
                <a:off x="6543786" y="3529253"/>
                <a:ext cx="141575" cy="141575"/>
              </a:xfrm>
              <a:prstGeom prst="ellipse">
                <a:avLst/>
              </a:prstGeom>
              <a:solidFill>
                <a:srgbClr val="FF9933"/>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77" name="Oval 83">
                <a:extLst>
                  <a:ext uri="{FF2B5EF4-FFF2-40B4-BE49-F238E27FC236}">
                    <a16:creationId xmlns:a16="http://schemas.microsoft.com/office/drawing/2014/main" id="{603D329E-7AA6-EC80-9BC5-AF06202CB11F}"/>
                  </a:ext>
                </a:extLst>
              </p:cNvPr>
              <p:cNvSpPr>
                <a:spLocks noChangeAspect="1"/>
              </p:cNvSpPr>
              <p:nvPr/>
            </p:nvSpPr>
            <p:spPr>
              <a:xfrm>
                <a:off x="6448779" y="3817200"/>
                <a:ext cx="171197" cy="171197"/>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78" name="Oval 84">
                <a:extLst>
                  <a:ext uri="{FF2B5EF4-FFF2-40B4-BE49-F238E27FC236}">
                    <a16:creationId xmlns:a16="http://schemas.microsoft.com/office/drawing/2014/main" id="{D00C0224-38E9-3CAD-5A2E-CF25FDC5C21A}"/>
                  </a:ext>
                </a:extLst>
              </p:cNvPr>
              <p:cNvSpPr>
                <a:spLocks noChangeAspect="1"/>
              </p:cNvSpPr>
              <p:nvPr/>
            </p:nvSpPr>
            <p:spPr>
              <a:xfrm>
                <a:off x="6177201" y="3828441"/>
                <a:ext cx="207148" cy="207148"/>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79" name="Oval 85">
                <a:extLst>
                  <a:ext uri="{FF2B5EF4-FFF2-40B4-BE49-F238E27FC236}">
                    <a16:creationId xmlns:a16="http://schemas.microsoft.com/office/drawing/2014/main" id="{15A32DAA-41C7-6545-A67B-FD881916FC15}"/>
                  </a:ext>
                </a:extLst>
              </p:cNvPr>
              <p:cNvSpPr>
                <a:spLocks noChangeAspect="1"/>
              </p:cNvSpPr>
              <p:nvPr/>
            </p:nvSpPr>
            <p:spPr>
              <a:xfrm>
                <a:off x="5819018" y="3762048"/>
                <a:ext cx="304521" cy="304521"/>
              </a:xfrm>
              <a:prstGeom prst="ellipse">
                <a:avLst/>
              </a:prstGeom>
              <a:solidFill>
                <a:schemeClr val="accent3">
                  <a:lumMod val="60000"/>
                  <a:lumOff val="40000"/>
                </a:scheme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80" name="Oval 86">
                <a:extLst>
                  <a:ext uri="{FF2B5EF4-FFF2-40B4-BE49-F238E27FC236}">
                    <a16:creationId xmlns:a16="http://schemas.microsoft.com/office/drawing/2014/main" id="{B4935EB6-4961-91FC-77FC-70672B05BAFF}"/>
                  </a:ext>
                </a:extLst>
              </p:cNvPr>
              <p:cNvSpPr>
                <a:spLocks noChangeAspect="1"/>
              </p:cNvSpPr>
              <p:nvPr/>
            </p:nvSpPr>
            <p:spPr>
              <a:xfrm>
                <a:off x="5677443" y="3685988"/>
                <a:ext cx="141575" cy="141575"/>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81" name="Oval 87">
                <a:extLst>
                  <a:ext uri="{FF2B5EF4-FFF2-40B4-BE49-F238E27FC236}">
                    <a16:creationId xmlns:a16="http://schemas.microsoft.com/office/drawing/2014/main" id="{FC3D7998-BF0E-7D99-DF43-6BC3CC1E085B}"/>
                  </a:ext>
                </a:extLst>
              </p:cNvPr>
              <p:cNvSpPr>
                <a:spLocks noChangeAspect="1"/>
              </p:cNvSpPr>
              <p:nvPr/>
            </p:nvSpPr>
            <p:spPr>
              <a:xfrm>
                <a:off x="5836993" y="3499976"/>
                <a:ext cx="171197" cy="171197"/>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82" name="Oval 88">
                <a:extLst>
                  <a:ext uri="{FF2B5EF4-FFF2-40B4-BE49-F238E27FC236}">
                    <a16:creationId xmlns:a16="http://schemas.microsoft.com/office/drawing/2014/main" id="{F6D6FF2C-5201-41FE-4CB1-BAA8449E151F}"/>
                  </a:ext>
                </a:extLst>
              </p:cNvPr>
              <p:cNvSpPr>
                <a:spLocks noChangeAspect="1"/>
              </p:cNvSpPr>
              <p:nvPr/>
            </p:nvSpPr>
            <p:spPr>
              <a:xfrm>
                <a:off x="6410209" y="3667131"/>
                <a:ext cx="103574" cy="103574"/>
              </a:xfrm>
              <a:prstGeom prst="ellipse">
                <a:avLst/>
              </a:prstGeom>
              <a:solidFill>
                <a:srgbClr val="FFFFFF"/>
              </a:solidFill>
              <a:ln w="3175"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83" name="Oval 89">
                <a:extLst>
                  <a:ext uri="{FF2B5EF4-FFF2-40B4-BE49-F238E27FC236}">
                    <a16:creationId xmlns:a16="http://schemas.microsoft.com/office/drawing/2014/main" id="{4FAA74FF-A2F7-A297-93BA-4D86197926F1}"/>
                  </a:ext>
                </a:extLst>
              </p:cNvPr>
              <p:cNvSpPr>
                <a:spLocks noChangeAspect="1"/>
              </p:cNvSpPr>
              <p:nvPr/>
            </p:nvSpPr>
            <p:spPr>
              <a:xfrm>
                <a:off x="5544748" y="3902799"/>
                <a:ext cx="207148" cy="207148"/>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84" name="Oval 90">
                <a:extLst>
                  <a:ext uri="{FF2B5EF4-FFF2-40B4-BE49-F238E27FC236}">
                    <a16:creationId xmlns:a16="http://schemas.microsoft.com/office/drawing/2014/main" id="{15478357-29A4-6634-5E63-C88763E8757E}"/>
                  </a:ext>
                </a:extLst>
              </p:cNvPr>
              <p:cNvSpPr>
                <a:spLocks noChangeAspect="1"/>
              </p:cNvSpPr>
              <p:nvPr/>
            </p:nvSpPr>
            <p:spPr>
              <a:xfrm>
                <a:off x="5428591" y="3691875"/>
                <a:ext cx="171197" cy="171197"/>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85" name="Oval 91">
                <a:extLst>
                  <a:ext uri="{FF2B5EF4-FFF2-40B4-BE49-F238E27FC236}">
                    <a16:creationId xmlns:a16="http://schemas.microsoft.com/office/drawing/2014/main" id="{822AD0EC-9362-5929-E02B-48D38237FA7E}"/>
                  </a:ext>
                </a:extLst>
              </p:cNvPr>
              <p:cNvSpPr>
                <a:spLocks noChangeAspect="1"/>
              </p:cNvSpPr>
              <p:nvPr/>
            </p:nvSpPr>
            <p:spPr>
              <a:xfrm>
                <a:off x="5601864" y="3502736"/>
                <a:ext cx="141575" cy="141575"/>
              </a:xfrm>
              <a:prstGeom prst="ellipse">
                <a:avLst/>
              </a:prstGeom>
              <a:solidFill>
                <a:schemeClr val="accent3">
                  <a:lumMod val="60000"/>
                  <a:lumOff val="40000"/>
                </a:scheme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86" name="Oval 92">
                <a:extLst>
                  <a:ext uri="{FF2B5EF4-FFF2-40B4-BE49-F238E27FC236}">
                    <a16:creationId xmlns:a16="http://schemas.microsoft.com/office/drawing/2014/main" id="{BEBD0067-13BA-9D1F-E34E-4A5725267E55}"/>
                  </a:ext>
                </a:extLst>
              </p:cNvPr>
              <p:cNvSpPr>
                <a:spLocks noChangeAspect="1"/>
              </p:cNvSpPr>
              <p:nvPr/>
            </p:nvSpPr>
            <p:spPr>
              <a:xfrm>
                <a:off x="5431027" y="3391373"/>
                <a:ext cx="103574" cy="103574"/>
              </a:xfrm>
              <a:prstGeom prst="ellipse">
                <a:avLst/>
              </a:prstGeom>
              <a:solidFill>
                <a:schemeClr val="accent3">
                  <a:lumMod val="20000"/>
                  <a:lumOff val="80000"/>
                </a:scheme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87" name="Oval 93">
                <a:extLst>
                  <a:ext uri="{FF2B5EF4-FFF2-40B4-BE49-F238E27FC236}">
                    <a16:creationId xmlns:a16="http://schemas.microsoft.com/office/drawing/2014/main" id="{BA0AB9B0-5A78-346E-F5F1-3189B22EE9BD}"/>
                  </a:ext>
                </a:extLst>
              </p:cNvPr>
              <p:cNvSpPr>
                <a:spLocks noChangeAspect="1"/>
              </p:cNvSpPr>
              <p:nvPr/>
            </p:nvSpPr>
            <p:spPr>
              <a:xfrm>
                <a:off x="5462403" y="3523871"/>
                <a:ext cx="103574" cy="103574"/>
              </a:xfrm>
              <a:prstGeom prst="ellipse">
                <a:avLst/>
              </a:prstGeom>
              <a:solidFill>
                <a:srgbClr val="F5CA13">
                  <a:lumMod val="20000"/>
                  <a:lumOff val="80000"/>
                </a:srgbClr>
              </a:solidFill>
              <a:ln w="3175"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88" name="Oval 94">
                <a:extLst>
                  <a:ext uri="{FF2B5EF4-FFF2-40B4-BE49-F238E27FC236}">
                    <a16:creationId xmlns:a16="http://schemas.microsoft.com/office/drawing/2014/main" id="{27B991B0-6843-A504-112A-23BA97965381}"/>
                  </a:ext>
                </a:extLst>
              </p:cNvPr>
              <p:cNvSpPr>
                <a:spLocks noChangeAspect="1"/>
              </p:cNvSpPr>
              <p:nvPr/>
            </p:nvSpPr>
            <p:spPr>
              <a:xfrm>
                <a:off x="7181724" y="3600105"/>
                <a:ext cx="251670" cy="251670"/>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89" name="Oval 95">
                <a:extLst>
                  <a:ext uri="{FF2B5EF4-FFF2-40B4-BE49-F238E27FC236}">
                    <a16:creationId xmlns:a16="http://schemas.microsoft.com/office/drawing/2014/main" id="{D62F2DE6-FA70-18BE-DD19-79ACDEF172A7}"/>
                  </a:ext>
                </a:extLst>
              </p:cNvPr>
              <p:cNvSpPr>
                <a:spLocks noChangeAspect="1"/>
              </p:cNvSpPr>
              <p:nvPr/>
            </p:nvSpPr>
            <p:spPr>
              <a:xfrm>
                <a:off x="7677662" y="3596344"/>
                <a:ext cx="141575" cy="141575"/>
              </a:xfrm>
              <a:prstGeom prst="ellipse">
                <a:avLst/>
              </a:prstGeom>
              <a:solidFill>
                <a:srgbClr val="F06A11"/>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90" name="Oval 96">
                <a:extLst>
                  <a:ext uri="{FF2B5EF4-FFF2-40B4-BE49-F238E27FC236}">
                    <a16:creationId xmlns:a16="http://schemas.microsoft.com/office/drawing/2014/main" id="{E8DC1FC7-CBA5-6CAD-42CC-02587B68A236}"/>
                  </a:ext>
                </a:extLst>
              </p:cNvPr>
              <p:cNvSpPr>
                <a:spLocks noChangeAspect="1"/>
              </p:cNvSpPr>
              <p:nvPr/>
            </p:nvSpPr>
            <p:spPr>
              <a:xfrm>
                <a:off x="7859197" y="3725732"/>
                <a:ext cx="207148" cy="207148"/>
              </a:xfrm>
              <a:prstGeom prst="ellipse">
                <a:avLst/>
              </a:prstGeom>
              <a:solidFill>
                <a:schemeClr val="accent3">
                  <a:lumMod val="60000"/>
                  <a:lumOff val="40000"/>
                </a:scheme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91" name="Oval 97">
                <a:extLst>
                  <a:ext uri="{FF2B5EF4-FFF2-40B4-BE49-F238E27FC236}">
                    <a16:creationId xmlns:a16="http://schemas.microsoft.com/office/drawing/2014/main" id="{11735AB0-7080-F905-A7D8-68E88EAC9084}"/>
                  </a:ext>
                </a:extLst>
              </p:cNvPr>
              <p:cNvSpPr>
                <a:spLocks noChangeAspect="1"/>
              </p:cNvSpPr>
              <p:nvPr/>
            </p:nvSpPr>
            <p:spPr>
              <a:xfrm>
                <a:off x="7513951" y="3747883"/>
                <a:ext cx="207148" cy="207148"/>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92" name="Oval 98">
                <a:extLst>
                  <a:ext uri="{FF2B5EF4-FFF2-40B4-BE49-F238E27FC236}">
                    <a16:creationId xmlns:a16="http://schemas.microsoft.com/office/drawing/2014/main" id="{235A149A-8C22-9E4F-6654-4C4851F0C429}"/>
                  </a:ext>
                </a:extLst>
              </p:cNvPr>
              <p:cNvSpPr>
                <a:spLocks noChangeAspect="1"/>
              </p:cNvSpPr>
              <p:nvPr/>
            </p:nvSpPr>
            <p:spPr>
              <a:xfrm>
                <a:off x="6957684" y="3773348"/>
                <a:ext cx="171197" cy="171197"/>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93" name="Oval 99">
                <a:extLst>
                  <a:ext uri="{FF2B5EF4-FFF2-40B4-BE49-F238E27FC236}">
                    <a16:creationId xmlns:a16="http://schemas.microsoft.com/office/drawing/2014/main" id="{9E4ED65B-65DE-20EB-6D6D-5DE2BA4C9615}"/>
                  </a:ext>
                </a:extLst>
              </p:cNvPr>
              <p:cNvSpPr>
                <a:spLocks noChangeAspect="1"/>
              </p:cNvSpPr>
              <p:nvPr/>
            </p:nvSpPr>
            <p:spPr>
              <a:xfrm>
                <a:off x="7852024" y="3601377"/>
                <a:ext cx="103574" cy="103574"/>
              </a:xfrm>
              <a:prstGeom prst="ellipse">
                <a:avLst/>
              </a:prstGeom>
              <a:solidFill>
                <a:srgbClr val="FFFFFF"/>
              </a:solidFill>
              <a:ln w="3175"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94" name="Oval 100">
                <a:extLst>
                  <a:ext uri="{FF2B5EF4-FFF2-40B4-BE49-F238E27FC236}">
                    <a16:creationId xmlns:a16="http://schemas.microsoft.com/office/drawing/2014/main" id="{FC107BD3-CE76-7D76-AB76-ADC19241A723}"/>
                  </a:ext>
                </a:extLst>
              </p:cNvPr>
              <p:cNvSpPr>
                <a:spLocks noChangeAspect="1"/>
              </p:cNvSpPr>
              <p:nvPr/>
            </p:nvSpPr>
            <p:spPr>
              <a:xfrm>
                <a:off x="7491796" y="3592524"/>
                <a:ext cx="103574" cy="103574"/>
              </a:xfrm>
              <a:prstGeom prst="ellipse">
                <a:avLst/>
              </a:prstGeom>
              <a:solidFill>
                <a:schemeClr val="accent3">
                  <a:lumMod val="20000"/>
                  <a:lumOff val="80000"/>
                </a:schemeClr>
              </a:solidFill>
              <a:ln w="3175"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95" name="Oval 101">
                <a:extLst>
                  <a:ext uri="{FF2B5EF4-FFF2-40B4-BE49-F238E27FC236}">
                    <a16:creationId xmlns:a16="http://schemas.microsoft.com/office/drawing/2014/main" id="{C5C9852C-56F3-508B-270B-6875288758E9}"/>
                  </a:ext>
                </a:extLst>
              </p:cNvPr>
              <p:cNvSpPr>
                <a:spLocks noChangeAspect="1"/>
              </p:cNvSpPr>
              <p:nvPr/>
            </p:nvSpPr>
            <p:spPr>
              <a:xfrm>
                <a:off x="7009408" y="3558900"/>
                <a:ext cx="141575" cy="141575"/>
              </a:xfrm>
              <a:prstGeom prst="ellipse">
                <a:avLst/>
              </a:prstGeom>
              <a:solidFill>
                <a:srgbClr val="FF9933"/>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96" name="Oval 102">
                <a:extLst>
                  <a:ext uri="{FF2B5EF4-FFF2-40B4-BE49-F238E27FC236}">
                    <a16:creationId xmlns:a16="http://schemas.microsoft.com/office/drawing/2014/main" id="{F81868DD-35B2-2F8E-60C8-21B80D89D727}"/>
                  </a:ext>
                </a:extLst>
              </p:cNvPr>
              <p:cNvSpPr>
                <a:spLocks noChangeAspect="1"/>
              </p:cNvSpPr>
              <p:nvPr/>
            </p:nvSpPr>
            <p:spPr>
              <a:xfrm>
                <a:off x="6732561" y="3530770"/>
                <a:ext cx="207148" cy="207148"/>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97" name="Oval 103">
                <a:extLst>
                  <a:ext uri="{FF2B5EF4-FFF2-40B4-BE49-F238E27FC236}">
                    <a16:creationId xmlns:a16="http://schemas.microsoft.com/office/drawing/2014/main" id="{FB2A292D-9DAF-80F8-B456-41F31D3C29FB}"/>
                  </a:ext>
                </a:extLst>
              </p:cNvPr>
              <p:cNvSpPr>
                <a:spLocks noChangeAspect="1"/>
              </p:cNvSpPr>
              <p:nvPr/>
            </p:nvSpPr>
            <p:spPr>
              <a:xfrm>
                <a:off x="6685361" y="3820718"/>
                <a:ext cx="141575" cy="141575"/>
              </a:xfrm>
              <a:prstGeom prst="ellipse">
                <a:avLst/>
              </a:prstGeom>
              <a:solidFill>
                <a:schemeClr val="accent3">
                  <a:lumMod val="20000"/>
                  <a:lumOff val="80000"/>
                </a:scheme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98" name="Oval 104">
                <a:extLst>
                  <a:ext uri="{FF2B5EF4-FFF2-40B4-BE49-F238E27FC236}">
                    <a16:creationId xmlns:a16="http://schemas.microsoft.com/office/drawing/2014/main" id="{99C62887-5C1A-C487-C9DB-ED4721E77D40}"/>
                  </a:ext>
                </a:extLst>
              </p:cNvPr>
              <p:cNvSpPr>
                <a:spLocks noChangeAspect="1"/>
              </p:cNvSpPr>
              <p:nvPr/>
            </p:nvSpPr>
            <p:spPr>
              <a:xfrm>
                <a:off x="8780808" y="3662531"/>
                <a:ext cx="206195" cy="206195"/>
              </a:xfrm>
              <a:prstGeom prst="ellipse">
                <a:avLst/>
              </a:prstGeom>
              <a:solidFill>
                <a:schemeClr val="accent3">
                  <a:lumMod val="40000"/>
                  <a:lumOff val="60000"/>
                </a:scheme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99" name="Oval 105">
                <a:extLst>
                  <a:ext uri="{FF2B5EF4-FFF2-40B4-BE49-F238E27FC236}">
                    <a16:creationId xmlns:a16="http://schemas.microsoft.com/office/drawing/2014/main" id="{9166235B-4FF6-7864-4DB5-D633B10741EF}"/>
                  </a:ext>
                </a:extLst>
              </p:cNvPr>
              <p:cNvSpPr>
                <a:spLocks noChangeAspect="1"/>
              </p:cNvSpPr>
              <p:nvPr/>
            </p:nvSpPr>
            <p:spPr>
              <a:xfrm>
                <a:off x="8105755" y="3640881"/>
                <a:ext cx="249495" cy="249496"/>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400" name="Oval 106">
                <a:extLst>
                  <a:ext uri="{FF2B5EF4-FFF2-40B4-BE49-F238E27FC236}">
                    <a16:creationId xmlns:a16="http://schemas.microsoft.com/office/drawing/2014/main" id="{DD32E212-4A27-8D6E-433B-634C9AFDF5C7}"/>
                  </a:ext>
                </a:extLst>
              </p:cNvPr>
              <p:cNvSpPr>
                <a:spLocks noChangeAspect="1"/>
              </p:cNvSpPr>
              <p:nvPr/>
            </p:nvSpPr>
            <p:spPr>
              <a:xfrm>
                <a:off x="8462341" y="3652221"/>
                <a:ext cx="226814" cy="226814"/>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401" name="Oval 107">
                <a:extLst>
                  <a:ext uri="{FF2B5EF4-FFF2-40B4-BE49-F238E27FC236}">
                    <a16:creationId xmlns:a16="http://schemas.microsoft.com/office/drawing/2014/main" id="{B74FE1AC-5977-643B-4ACF-91938798A572}"/>
                  </a:ext>
                </a:extLst>
              </p:cNvPr>
              <p:cNvSpPr>
                <a:spLocks noChangeAspect="1"/>
              </p:cNvSpPr>
              <p:nvPr/>
            </p:nvSpPr>
            <p:spPr>
              <a:xfrm>
                <a:off x="5311617" y="3903298"/>
                <a:ext cx="171197" cy="171197"/>
              </a:xfrm>
              <a:prstGeom prst="ellipse">
                <a:avLst/>
              </a:prstGeom>
              <a:solidFill>
                <a:srgbClr val="F5CA13"/>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grpSp>
      </p:grpSp>
      <p:sp>
        <p:nvSpPr>
          <p:cNvPr id="408" name="Titel 3">
            <a:extLst>
              <a:ext uri="{FF2B5EF4-FFF2-40B4-BE49-F238E27FC236}">
                <a16:creationId xmlns:a16="http://schemas.microsoft.com/office/drawing/2014/main" id="{4AD248FC-2AEF-09FA-164B-62AAEEB7F573}"/>
              </a:ext>
            </a:extLst>
          </p:cNvPr>
          <p:cNvSpPr>
            <a:spLocks noGrp="1"/>
          </p:cNvSpPr>
          <p:nvPr>
            <p:ph type="title"/>
          </p:nvPr>
        </p:nvSpPr>
        <p:spPr>
          <a:xfrm>
            <a:off x="1166408" y="340225"/>
            <a:ext cx="15399595" cy="2403087"/>
          </a:xfrm>
        </p:spPr>
        <p:txBody>
          <a:bodyPr/>
          <a:lstStyle/>
          <a:p>
            <a:r>
              <a:rPr lang="de-DE" b="1">
                <a:solidFill>
                  <a:schemeClr val="tx1"/>
                </a:solidFill>
              </a:rPr>
              <a:t>The Innovation Funnel</a:t>
            </a:r>
            <a:endParaRPr lang="de-DE"/>
          </a:p>
        </p:txBody>
      </p:sp>
      <p:sp>
        <p:nvSpPr>
          <p:cNvPr id="2" name="Rectangle 1">
            <a:extLst>
              <a:ext uri="{FF2B5EF4-FFF2-40B4-BE49-F238E27FC236}">
                <a16:creationId xmlns:a16="http://schemas.microsoft.com/office/drawing/2014/main" id="{78A06F18-00EC-B1A5-0264-34512C54F097}"/>
              </a:ext>
            </a:extLst>
          </p:cNvPr>
          <p:cNvSpPr/>
          <p:nvPr/>
        </p:nvSpPr>
        <p:spPr>
          <a:xfrm>
            <a:off x="11652525" y="7363607"/>
            <a:ext cx="6825647" cy="349156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Tree>
    <p:extLst>
      <p:ext uri="{BB962C8B-B14F-4D97-AF65-F5344CB8AC3E}">
        <p14:creationId xmlns:p14="http://schemas.microsoft.com/office/powerpoint/2010/main" val="30272824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450A50DE-1AB2-8D6A-3837-3A6A1D4F5A2C}"/>
              </a:ext>
            </a:extLst>
          </p:cNvPr>
          <p:cNvSpPr txBox="1"/>
          <p:nvPr/>
        </p:nvSpPr>
        <p:spPr>
          <a:xfrm>
            <a:off x="2404696" y="8536419"/>
            <a:ext cx="19259549" cy="3518912"/>
          </a:xfrm>
          <a:prstGeom prst="rect">
            <a:avLst/>
          </a:prstGeom>
          <a:noFill/>
        </p:spPr>
        <p:txBody>
          <a:bodyPr wrap="square">
            <a:spAutoFit/>
          </a:bodyPr>
          <a:lstStyle/>
          <a:p>
            <a:pPr marL="171450" indent="-171450" defTabSz="914400">
              <a:spcBef>
                <a:spcPts val="200"/>
              </a:spcBef>
              <a:buFont typeface="Arial" panose="020B0604020202020204" pitchFamily="34" charset="0"/>
              <a:buChar char="•"/>
              <a:defRPr/>
            </a:pPr>
            <a:r>
              <a:rPr lang="en-US">
                <a:solidFill>
                  <a:srgbClr val="000000"/>
                </a:solidFill>
                <a:latin typeface="+mn-lt"/>
              </a:rPr>
              <a:t>Testing existing solutions</a:t>
            </a:r>
          </a:p>
          <a:p>
            <a:pPr marL="171450" lvl="1" indent="-171450" defTabSz="914400">
              <a:spcBef>
                <a:spcPts val="200"/>
              </a:spcBef>
              <a:buFont typeface="Arial" panose="020B0604020202020204" pitchFamily="34" charset="0"/>
              <a:buChar char="•"/>
              <a:defRPr/>
            </a:pPr>
            <a:r>
              <a:rPr lang="en-US">
                <a:solidFill>
                  <a:srgbClr val="000000"/>
                </a:solidFill>
                <a:latin typeface="+mn-lt"/>
              </a:rPr>
              <a:t>Co-developing together with an industrial partner</a:t>
            </a:r>
          </a:p>
          <a:p>
            <a:pPr marL="171450" lvl="1" indent="-171450" defTabSz="914400">
              <a:spcBef>
                <a:spcPts val="200"/>
              </a:spcBef>
              <a:buFont typeface="Arial" panose="020B0604020202020204" pitchFamily="34" charset="0"/>
              <a:buChar char="•"/>
              <a:defRPr/>
            </a:pPr>
            <a:r>
              <a:rPr lang="en-US">
                <a:solidFill>
                  <a:srgbClr val="000000"/>
                </a:solidFill>
                <a:latin typeface="+mn-lt"/>
              </a:rPr>
              <a:t>Testing off the shelf solutions in a safe, non-operational environment</a:t>
            </a:r>
          </a:p>
          <a:p>
            <a:pPr marL="171450" lvl="1" indent="-171450" defTabSz="914400">
              <a:spcBef>
                <a:spcPts val="200"/>
              </a:spcBef>
              <a:buFont typeface="Arial" panose="020B0604020202020204" pitchFamily="34" charset="0"/>
              <a:buChar char="•"/>
              <a:defRPr/>
            </a:pPr>
            <a:r>
              <a:rPr lang="en-US">
                <a:solidFill>
                  <a:srgbClr val="000000"/>
                </a:solidFill>
                <a:latin typeface="+mn-lt"/>
              </a:rPr>
              <a:t>Piloting​ in an IKEA operational site</a:t>
            </a:r>
          </a:p>
          <a:p>
            <a:pPr marL="171450" lvl="1" indent="-171450" defTabSz="914400">
              <a:spcBef>
                <a:spcPts val="200"/>
              </a:spcBef>
              <a:buFont typeface="Arial" panose="020B0604020202020204" pitchFamily="34" charset="0"/>
              <a:buChar char="•"/>
              <a:defRPr/>
            </a:pPr>
            <a:r>
              <a:rPr lang="en-US">
                <a:solidFill>
                  <a:srgbClr val="000000"/>
                </a:solidFill>
                <a:latin typeface="+mn-lt"/>
              </a:rPr>
              <a:t>Support in preparing business case for deployment</a:t>
            </a:r>
            <a:br>
              <a:rPr lang="en-US"/>
            </a:br>
            <a:endParaRPr lang="en-US">
              <a:solidFill>
                <a:srgbClr val="000000"/>
              </a:solidFill>
            </a:endParaRPr>
          </a:p>
        </p:txBody>
      </p:sp>
      <p:pic>
        <p:nvPicPr>
          <p:cNvPr id="7" name="Picture 6">
            <a:extLst>
              <a:ext uri="{FF2B5EF4-FFF2-40B4-BE49-F238E27FC236}">
                <a16:creationId xmlns:a16="http://schemas.microsoft.com/office/drawing/2014/main" id="{868FA4BC-1EF5-127F-0E2C-4C9F4FBA3E84}"/>
              </a:ext>
            </a:extLst>
          </p:cNvPr>
          <p:cNvPicPr>
            <a:picLocks noChangeAspect="1"/>
          </p:cNvPicPr>
          <p:nvPr/>
        </p:nvPicPr>
        <p:blipFill>
          <a:blip r:embed="rId2"/>
          <a:stretch>
            <a:fillRect/>
          </a:stretch>
        </p:blipFill>
        <p:spPr>
          <a:xfrm>
            <a:off x="1874533" y="1000125"/>
            <a:ext cx="18459966" cy="6860198"/>
          </a:xfrm>
          <a:prstGeom prst="rect">
            <a:avLst/>
          </a:prstGeom>
        </p:spPr>
      </p:pic>
    </p:spTree>
    <p:extLst>
      <p:ext uri="{BB962C8B-B14F-4D97-AF65-F5344CB8AC3E}">
        <p14:creationId xmlns:p14="http://schemas.microsoft.com/office/powerpoint/2010/main" val="39673143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187" name="Rectangle 5186">
            <a:extLst>
              <a:ext uri="{FF2B5EF4-FFF2-40B4-BE49-F238E27FC236}">
                <a16:creationId xmlns:a16="http://schemas.microsoft.com/office/drawing/2014/main" id="{B618C4A5-93E8-E873-26A9-12C3F6A13E0C}"/>
              </a:ext>
            </a:extLst>
          </p:cNvPr>
          <p:cNvSpPr/>
          <p:nvPr/>
        </p:nvSpPr>
        <p:spPr>
          <a:xfrm>
            <a:off x="15982794" y="1169368"/>
            <a:ext cx="4075388" cy="9904806"/>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111" name="TextBox 2110">
            <a:extLst>
              <a:ext uri="{FF2B5EF4-FFF2-40B4-BE49-F238E27FC236}">
                <a16:creationId xmlns:a16="http://schemas.microsoft.com/office/drawing/2014/main" id="{5E759216-160C-7C8D-597F-85D52BE0E745}"/>
              </a:ext>
            </a:extLst>
          </p:cNvPr>
          <p:cNvSpPr txBox="1"/>
          <p:nvPr/>
        </p:nvSpPr>
        <p:spPr>
          <a:xfrm>
            <a:off x="1650435" y="1169368"/>
            <a:ext cx="6193887" cy="400110"/>
          </a:xfrm>
          <a:prstGeom prst="rect">
            <a:avLst/>
          </a:prstGeom>
          <a:noFill/>
          <a:effectLst>
            <a:outerShdw blurRad="50800" dist="38100" dir="5400000" algn="t" rotWithShape="0">
              <a:prstClr val="black">
                <a:alpha val="40000"/>
              </a:prstClr>
            </a:outerShdw>
          </a:effectLst>
        </p:spPr>
        <p:txBody>
          <a:bodyPr wrap="square" rtlCol="0">
            <a:spAutoFit/>
          </a:bodyPr>
          <a:lstStyle/>
          <a:p>
            <a:pPr algn="ctr"/>
            <a:r>
              <a:rPr lang="en-US" sz="2000">
                <a:latin typeface="Noto IKEA Latin" panose="020B0502040504020204" pitchFamily="34" charset="0"/>
              </a:rPr>
              <a:t>What has to be investigated and tracked?</a:t>
            </a:r>
            <a:endParaRPr lang="sv-SE" sz="2000">
              <a:latin typeface="Noto IKEA Latin" panose="020B0502040504020204" pitchFamily="34" charset="0"/>
            </a:endParaRPr>
          </a:p>
        </p:txBody>
      </p:sp>
      <p:grpSp>
        <p:nvGrpSpPr>
          <p:cNvPr id="1080" name="Group 1079">
            <a:extLst>
              <a:ext uri="{FF2B5EF4-FFF2-40B4-BE49-F238E27FC236}">
                <a16:creationId xmlns:a16="http://schemas.microsoft.com/office/drawing/2014/main" id="{EDEFA782-D954-EE5F-B424-979BC4E09EAA}"/>
              </a:ext>
            </a:extLst>
          </p:cNvPr>
          <p:cNvGrpSpPr/>
          <p:nvPr/>
        </p:nvGrpSpPr>
        <p:grpSpPr>
          <a:xfrm>
            <a:off x="16008580" y="8142651"/>
            <a:ext cx="2268946" cy="1501354"/>
            <a:chOff x="8610986" y="3280783"/>
            <a:chExt cx="1134547" cy="750726"/>
          </a:xfrm>
        </p:grpSpPr>
        <p:cxnSp>
          <p:nvCxnSpPr>
            <p:cNvPr id="2089" name="Straight Connector 2088">
              <a:extLst>
                <a:ext uri="{FF2B5EF4-FFF2-40B4-BE49-F238E27FC236}">
                  <a16:creationId xmlns:a16="http://schemas.microsoft.com/office/drawing/2014/main" id="{20CD6AAD-4488-6BFF-BBF9-0C938F27D295}"/>
                </a:ext>
              </a:extLst>
            </p:cNvPr>
            <p:cNvCxnSpPr>
              <a:cxnSpLocks/>
            </p:cNvCxnSpPr>
            <p:nvPr/>
          </p:nvCxnSpPr>
          <p:spPr>
            <a:xfrm>
              <a:off x="8891024" y="3587281"/>
              <a:ext cx="197943" cy="0"/>
            </a:xfrm>
            <a:prstGeom prst="line">
              <a:avLst/>
            </a:prstGeom>
          </p:spPr>
          <p:style>
            <a:lnRef idx="3">
              <a:schemeClr val="accent1"/>
            </a:lnRef>
            <a:fillRef idx="0">
              <a:schemeClr val="accent1"/>
            </a:fillRef>
            <a:effectRef idx="2">
              <a:schemeClr val="accent1"/>
            </a:effectRef>
            <a:fontRef idx="minor">
              <a:schemeClr val="tx1"/>
            </a:fontRef>
          </p:style>
        </p:cxnSp>
        <p:cxnSp>
          <p:nvCxnSpPr>
            <p:cNvPr id="2095" name="Straight Connector 2094">
              <a:extLst>
                <a:ext uri="{FF2B5EF4-FFF2-40B4-BE49-F238E27FC236}">
                  <a16:creationId xmlns:a16="http://schemas.microsoft.com/office/drawing/2014/main" id="{CDCDC4A4-C016-26B8-05FA-475867DEFD26}"/>
                </a:ext>
              </a:extLst>
            </p:cNvPr>
            <p:cNvCxnSpPr>
              <a:cxnSpLocks/>
            </p:cNvCxnSpPr>
            <p:nvPr/>
          </p:nvCxnSpPr>
          <p:spPr>
            <a:xfrm>
              <a:off x="9088963" y="3480768"/>
              <a:ext cx="0" cy="101538"/>
            </a:xfrm>
            <a:prstGeom prst="line">
              <a:avLst/>
            </a:prstGeom>
          </p:spPr>
          <p:style>
            <a:lnRef idx="3">
              <a:schemeClr val="accent1"/>
            </a:lnRef>
            <a:fillRef idx="0">
              <a:schemeClr val="accent1"/>
            </a:fillRef>
            <a:effectRef idx="2">
              <a:schemeClr val="accent1"/>
            </a:effectRef>
            <a:fontRef idx="minor">
              <a:schemeClr val="tx1"/>
            </a:fontRef>
          </p:style>
        </p:cxnSp>
        <p:cxnSp>
          <p:nvCxnSpPr>
            <p:cNvPr id="2105" name="Straight Connector 2104">
              <a:extLst>
                <a:ext uri="{FF2B5EF4-FFF2-40B4-BE49-F238E27FC236}">
                  <a16:creationId xmlns:a16="http://schemas.microsoft.com/office/drawing/2014/main" id="{A33DEA79-AA5D-2DB3-1AB3-261DF9FF9E11}"/>
                </a:ext>
              </a:extLst>
            </p:cNvPr>
            <p:cNvCxnSpPr>
              <a:cxnSpLocks/>
            </p:cNvCxnSpPr>
            <p:nvPr/>
          </p:nvCxnSpPr>
          <p:spPr>
            <a:xfrm>
              <a:off x="8894235" y="3587281"/>
              <a:ext cx="0" cy="171823"/>
            </a:xfrm>
            <a:prstGeom prst="line">
              <a:avLst/>
            </a:prstGeom>
          </p:spPr>
          <p:style>
            <a:lnRef idx="3">
              <a:schemeClr val="accent1"/>
            </a:lnRef>
            <a:fillRef idx="0">
              <a:schemeClr val="accent1"/>
            </a:fillRef>
            <a:effectRef idx="2">
              <a:schemeClr val="accent1"/>
            </a:effectRef>
            <a:fontRef idx="minor">
              <a:schemeClr val="tx1"/>
            </a:fontRef>
          </p:style>
        </p:cxnSp>
        <p:cxnSp>
          <p:nvCxnSpPr>
            <p:cNvPr id="2107" name="Straight Connector 2106">
              <a:extLst>
                <a:ext uri="{FF2B5EF4-FFF2-40B4-BE49-F238E27FC236}">
                  <a16:creationId xmlns:a16="http://schemas.microsoft.com/office/drawing/2014/main" id="{3B293AC5-2AB3-88DA-C61C-3862819CE124}"/>
                </a:ext>
              </a:extLst>
            </p:cNvPr>
            <p:cNvCxnSpPr>
              <a:cxnSpLocks/>
            </p:cNvCxnSpPr>
            <p:nvPr/>
          </p:nvCxnSpPr>
          <p:spPr>
            <a:xfrm>
              <a:off x="9088963" y="3475697"/>
              <a:ext cx="173568" cy="0"/>
            </a:xfrm>
            <a:prstGeom prst="line">
              <a:avLst/>
            </a:prstGeom>
          </p:spPr>
          <p:style>
            <a:lnRef idx="3">
              <a:schemeClr val="accent1"/>
            </a:lnRef>
            <a:fillRef idx="0">
              <a:schemeClr val="accent1"/>
            </a:fillRef>
            <a:effectRef idx="2">
              <a:schemeClr val="accent1"/>
            </a:effectRef>
            <a:fontRef idx="minor">
              <a:schemeClr val="tx1"/>
            </a:fontRef>
          </p:style>
        </p:cxnSp>
        <p:cxnSp>
          <p:nvCxnSpPr>
            <p:cNvPr id="2109" name="Straight Connector 2108">
              <a:extLst>
                <a:ext uri="{FF2B5EF4-FFF2-40B4-BE49-F238E27FC236}">
                  <a16:creationId xmlns:a16="http://schemas.microsoft.com/office/drawing/2014/main" id="{313B908D-6A16-2509-D8AC-AB9500438863}"/>
                </a:ext>
              </a:extLst>
            </p:cNvPr>
            <p:cNvCxnSpPr>
              <a:cxnSpLocks/>
            </p:cNvCxnSpPr>
            <p:nvPr/>
          </p:nvCxnSpPr>
          <p:spPr>
            <a:xfrm>
              <a:off x="9262531" y="3480768"/>
              <a:ext cx="0" cy="101538"/>
            </a:xfrm>
            <a:prstGeom prst="line">
              <a:avLst/>
            </a:prstGeom>
          </p:spPr>
          <p:style>
            <a:lnRef idx="3">
              <a:schemeClr val="accent1"/>
            </a:lnRef>
            <a:fillRef idx="0">
              <a:schemeClr val="accent1"/>
            </a:fillRef>
            <a:effectRef idx="2">
              <a:schemeClr val="accent1"/>
            </a:effectRef>
            <a:fontRef idx="minor">
              <a:schemeClr val="tx1"/>
            </a:fontRef>
          </p:style>
        </p:cxnSp>
        <p:cxnSp>
          <p:nvCxnSpPr>
            <p:cNvPr id="2110" name="Straight Connector 2109">
              <a:extLst>
                <a:ext uri="{FF2B5EF4-FFF2-40B4-BE49-F238E27FC236}">
                  <a16:creationId xmlns:a16="http://schemas.microsoft.com/office/drawing/2014/main" id="{9BD66F1E-7890-C64D-2AB5-9FB3C4D32542}"/>
                </a:ext>
              </a:extLst>
            </p:cNvPr>
            <p:cNvCxnSpPr>
              <a:cxnSpLocks/>
            </p:cNvCxnSpPr>
            <p:nvPr/>
          </p:nvCxnSpPr>
          <p:spPr>
            <a:xfrm>
              <a:off x="9258298" y="3587281"/>
              <a:ext cx="190499" cy="0"/>
            </a:xfrm>
            <a:prstGeom prst="line">
              <a:avLst/>
            </a:prstGeom>
          </p:spPr>
          <p:style>
            <a:lnRef idx="3">
              <a:schemeClr val="accent1"/>
            </a:lnRef>
            <a:fillRef idx="0">
              <a:schemeClr val="accent1"/>
            </a:fillRef>
            <a:effectRef idx="2">
              <a:schemeClr val="accent1"/>
            </a:effectRef>
            <a:fontRef idx="minor">
              <a:schemeClr val="tx1"/>
            </a:fontRef>
          </p:style>
        </p:cxnSp>
        <p:cxnSp>
          <p:nvCxnSpPr>
            <p:cNvPr id="5252" name="Straight Connector 5251">
              <a:extLst>
                <a:ext uri="{FF2B5EF4-FFF2-40B4-BE49-F238E27FC236}">
                  <a16:creationId xmlns:a16="http://schemas.microsoft.com/office/drawing/2014/main" id="{DFC26AD4-7B64-1BC8-2F8F-56E22DBB1721}"/>
                </a:ext>
              </a:extLst>
            </p:cNvPr>
            <p:cNvCxnSpPr>
              <a:cxnSpLocks/>
            </p:cNvCxnSpPr>
            <p:nvPr/>
          </p:nvCxnSpPr>
          <p:spPr>
            <a:xfrm>
              <a:off x="9448797" y="3590080"/>
              <a:ext cx="0" cy="162770"/>
            </a:xfrm>
            <a:prstGeom prst="line">
              <a:avLst/>
            </a:prstGeom>
          </p:spPr>
          <p:style>
            <a:lnRef idx="3">
              <a:schemeClr val="accent1"/>
            </a:lnRef>
            <a:fillRef idx="0">
              <a:schemeClr val="accent1"/>
            </a:fillRef>
            <a:effectRef idx="2">
              <a:schemeClr val="accent1"/>
            </a:effectRef>
            <a:fontRef idx="minor">
              <a:schemeClr val="tx1"/>
            </a:fontRef>
          </p:style>
        </p:cxnSp>
        <p:sp>
          <p:nvSpPr>
            <p:cNvPr id="5258" name="Oval 5257">
              <a:extLst>
                <a:ext uri="{FF2B5EF4-FFF2-40B4-BE49-F238E27FC236}">
                  <a16:creationId xmlns:a16="http://schemas.microsoft.com/office/drawing/2014/main" id="{2F9CA0AF-C27B-A426-DA98-46BC8DFA6314}"/>
                </a:ext>
              </a:extLst>
            </p:cNvPr>
            <p:cNvSpPr/>
            <p:nvPr/>
          </p:nvSpPr>
          <p:spPr>
            <a:xfrm>
              <a:off x="9085261" y="3280783"/>
              <a:ext cx="169042" cy="168999"/>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latin typeface="Noto IKEA Latin" panose="020B0502040504020204" pitchFamily="34" charset="0"/>
                </a:rPr>
                <a:t>1</a:t>
              </a:r>
              <a:endParaRPr lang="sv-SE" sz="1600">
                <a:latin typeface="Noto IKEA Latin" panose="020B0502040504020204" pitchFamily="34" charset="0"/>
              </a:endParaRPr>
            </a:p>
          </p:txBody>
        </p:sp>
        <p:sp>
          <p:nvSpPr>
            <p:cNvPr id="5259" name="Oval 5258">
              <a:extLst>
                <a:ext uri="{FF2B5EF4-FFF2-40B4-BE49-F238E27FC236}">
                  <a16:creationId xmlns:a16="http://schemas.microsoft.com/office/drawing/2014/main" id="{2982F992-97F8-45C6-9FA8-8382237387CC}"/>
                </a:ext>
              </a:extLst>
            </p:cNvPr>
            <p:cNvSpPr/>
            <p:nvPr/>
          </p:nvSpPr>
          <p:spPr>
            <a:xfrm>
              <a:off x="9286494" y="3401166"/>
              <a:ext cx="169042" cy="168999"/>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latin typeface="Noto IKEA Latin" panose="020B0502040504020204" pitchFamily="34" charset="0"/>
                </a:rPr>
                <a:t>3</a:t>
              </a:r>
              <a:endParaRPr lang="sv-SE" sz="1600">
                <a:latin typeface="Noto IKEA Latin" panose="020B0502040504020204" pitchFamily="34" charset="0"/>
              </a:endParaRPr>
            </a:p>
          </p:txBody>
        </p:sp>
        <p:sp>
          <p:nvSpPr>
            <p:cNvPr id="5260" name="Oval 5259">
              <a:extLst>
                <a:ext uri="{FF2B5EF4-FFF2-40B4-BE49-F238E27FC236}">
                  <a16:creationId xmlns:a16="http://schemas.microsoft.com/office/drawing/2014/main" id="{E3EBEB6B-F88C-C249-D65C-DA266EE1E186}"/>
                </a:ext>
              </a:extLst>
            </p:cNvPr>
            <p:cNvSpPr/>
            <p:nvPr/>
          </p:nvSpPr>
          <p:spPr>
            <a:xfrm>
              <a:off x="8882558" y="3400645"/>
              <a:ext cx="169042" cy="168999"/>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latin typeface="Noto IKEA Latin" panose="020B0502040504020204" pitchFamily="34" charset="0"/>
                </a:rPr>
                <a:t>2</a:t>
              </a:r>
              <a:endParaRPr lang="sv-SE" sz="1600"/>
            </a:p>
          </p:txBody>
        </p:sp>
        <p:pic>
          <p:nvPicPr>
            <p:cNvPr id="5271" name="Picture 46" descr="Hotel Supplies UK | Free Next Day Delivery | Out of Eden">
              <a:extLst>
                <a:ext uri="{FF2B5EF4-FFF2-40B4-BE49-F238E27FC236}">
                  <a16:creationId xmlns:a16="http://schemas.microsoft.com/office/drawing/2014/main" id="{48650B16-E4CD-5E7B-9C19-9F006CC484E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1262" t="17035" b="10872"/>
            <a:stretch/>
          </p:blipFill>
          <p:spPr bwMode="auto">
            <a:xfrm>
              <a:off x="8794478" y="3791751"/>
              <a:ext cx="228599" cy="239758"/>
            </a:xfrm>
            <a:prstGeom prst="rect">
              <a:avLst/>
            </a:prstGeom>
            <a:noFill/>
            <a:extLst>
              <a:ext uri="{909E8E84-426E-40DD-AFC4-6F175D3DCCD1}">
                <a14:hiddenFill xmlns:a14="http://schemas.microsoft.com/office/drawing/2010/main">
                  <a:solidFill>
                    <a:srgbClr val="FFFFFF"/>
                  </a:solidFill>
                </a14:hiddenFill>
              </a:ext>
            </a:extLst>
          </p:spPr>
        </p:pic>
        <p:pic>
          <p:nvPicPr>
            <p:cNvPr id="5272" name="Picture 46" descr="Hotel Supplies UK | Free Next Day Delivery | Out of Eden">
              <a:extLst>
                <a:ext uri="{FF2B5EF4-FFF2-40B4-BE49-F238E27FC236}">
                  <a16:creationId xmlns:a16="http://schemas.microsoft.com/office/drawing/2014/main" id="{34A9638D-4A6B-FCAE-B709-6A86C9F79C5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1262" t="17035" b="10872"/>
            <a:stretch/>
          </p:blipFill>
          <p:spPr bwMode="auto">
            <a:xfrm>
              <a:off x="9074664" y="3791751"/>
              <a:ext cx="228599" cy="239758"/>
            </a:xfrm>
            <a:prstGeom prst="rect">
              <a:avLst/>
            </a:prstGeom>
            <a:noFill/>
            <a:extLst>
              <a:ext uri="{909E8E84-426E-40DD-AFC4-6F175D3DCCD1}">
                <a14:hiddenFill xmlns:a14="http://schemas.microsoft.com/office/drawing/2010/main">
                  <a:solidFill>
                    <a:srgbClr val="FFFFFF"/>
                  </a:solidFill>
                </a14:hiddenFill>
              </a:ext>
            </a:extLst>
          </p:spPr>
        </p:pic>
        <p:pic>
          <p:nvPicPr>
            <p:cNvPr id="5273" name="Picture 46" descr="Hotel Supplies UK | Free Next Day Delivery | Out of Eden">
              <a:extLst>
                <a:ext uri="{FF2B5EF4-FFF2-40B4-BE49-F238E27FC236}">
                  <a16:creationId xmlns:a16="http://schemas.microsoft.com/office/drawing/2014/main" id="{8D5B61B0-C7CC-CF71-56D6-75F2A1D3189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1262" t="17035" b="10872"/>
            <a:stretch/>
          </p:blipFill>
          <p:spPr bwMode="auto">
            <a:xfrm>
              <a:off x="9339038" y="3791751"/>
              <a:ext cx="228599" cy="239758"/>
            </a:xfrm>
            <a:prstGeom prst="rect">
              <a:avLst/>
            </a:prstGeom>
            <a:noFill/>
            <a:extLst>
              <a:ext uri="{909E8E84-426E-40DD-AFC4-6F175D3DCCD1}">
                <a14:hiddenFill xmlns:a14="http://schemas.microsoft.com/office/drawing/2010/main">
                  <a:solidFill>
                    <a:srgbClr val="FFFFFF"/>
                  </a:solidFill>
                </a14:hiddenFill>
              </a:ext>
            </a:extLst>
          </p:spPr>
        </p:pic>
        <p:sp>
          <p:nvSpPr>
            <p:cNvPr id="5276" name="TextBox 5275">
              <a:extLst>
                <a:ext uri="{FF2B5EF4-FFF2-40B4-BE49-F238E27FC236}">
                  <a16:creationId xmlns:a16="http://schemas.microsoft.com/office/drawing/2014/main" id="{927A5699-1D3E-D5EC-A542-291548585F69}"/>
                </a:ext>
              </a:extLst>
            </p:cNvPr>
            <p:cNvSpPr txBox="1"/>
            <p:nvPr/>
          </p:nvSpPr>
          <p:spPr>
            <a:xfrm>
              <a:off x="8610986" y="3559446"/>
              <a:ext cx="1134547" cy="169288"/>
            </a:xfrm>
            <a:prstGeom prst="rect">
              <a:avLst/>
            </a:prstGeom>
            <a:noFill/>
            <a:effectLst>
              <a:outerShdw blurRad="50800" dist="38100" dir="5400000" algn="t" rotWithShape="0">
                <a:prstClr val="black">
                  <a:alpha val="40000"/>
                </a:prstClr>
              </a:outerShdw>
            </a:effectLst>
          </p:spPr>
          <p:txBody>
            <a:bodyPr wrap="square" rtlCol="0">
              <a:spAutoFit/>
            </a:bodyPr>
            <a:lstStyle/>
            <a:p>
              <a:pPr algn="ctr"/>
              <a:r>
                <a:rPr lang="en-US" sz="1600">
                  <a:latin typeface="Noto IKEA Latin" panose="020B0502040504020204" pitchFamily="34" charset="0"/>
                </a:rPr>
                <a:t>Projects</a:t>
              </a:r>
              <a:endParaRPr lang="sv-SE" sz="1600">
                <a:latin typeface="Noto IKEA Latin" panose="020B0502040504020204" pitchFamily="34" charset="0"/>
              </a:endParaRPr>
            </a:p>
          </p:txBody>
        </p:sp>
      </p:grpSp>
      <p:grpSp>
        <p:nvGrpSpPr>
          <p:cNvPr id="1065" name="Group 1064">
            <a:extLst>
              <a:ext uri="{FF2B5EF4-FFF2-40B4-BE49-F238E27FC236}">
                <a16:creationId xmlns:a16="http://schemas.microsoft.com/office/drawing/2014/main" id="{64771026-D9C2-7157-8C38-95329F636328}"/>
              </a:ext>
            </a:extLst>
          </p:cNvPr>
          <p:cNvGrpSpPr/>
          <p:nvPr/>
        </p:nvGrpSpPr>
        <p:grpSpPr>
          <a:xfrm>
            <a:off x="12379490" y="5754371"/>
            <a:ext cx="3242221" cy="3383451"/>
            <a:chOff x="6613626" y="2463810"/>
            <a:chExt cx="2437241" cy="2440293"/>
          </a:xfrm>
        </p:grpSpPr>
        <p:pic>
          <p:nvPicPr>
            <p:cNvPr id="5243" name="Picture 38" descr="Image result for Funnel Graphic for PowerPoint">
              <a:extLst>
                <a:ext uri="{FF2B5EF4-FFF2-40B4-BE49-F238E27FC236}">
                  <a16:creationId xmlns:a16="http://schemas.microsoft.com/office/drawing/2014/main" id="{CD29F47F-7984-3967-F3BB-924BF6DDF97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6200000">
              <a:off x="6613626" y="2466862"/>
              <a:ext cx="2437241" cy="2437241"/>
            </a:xfrm>
            <a:prstGeom prst="rect">
              <a:avLst/>
            </a:prstGeom>
            <a:noFill/>
            <a:extLst>
              <a:ext uri="{909E8E84-426E-40DD-AFC4-6F175D3DCCD1}">
                <a14:hiddenFill xmlns:a14="http://schemas.microsoft.com/office/drawing/2010/main">
                  <a:solidFill>
                    <a:srgbClr val="FFFFFF"/>
                  </a:solidFill>
                </a14:hiddenFill>
              </a:ext>
            </a:extLst>
          </p:spPr>
        </p:pic>
        <p:sp>
          <p:nvSpPr>
            <p:cNvPr id="2057" name="TextBox 2056">
              <a:extLst>
                <a:ext uri="{FF2B5EF4-FFF2-40B4-BE49-F238E27FC236}">
                  <a16:creationId xmlns:a16="http://schemas.microsoft.com/office/drawing/2014/main" id="{25621CCE-2FCD-36F8-7710-A401B27C11C8}"/>
                </a:ext>
              </a:extLst>
            </p:cNvPr>
            <p:cNvSpPr txBox="1"/>
            <p:nvPr/>
          </p:nvSpPr>
          <p:spPr>
            <a:xfrm>
              <a:off x="7438686" y="2463810"/>
              <a:ext cx="1134547" cy="281923"/>
            </a:xfrm>
            <a:prstGeom prst="rect">
              <a:avLst/>
            </a:prstGeom>
            <a:noFill/>
            <a:ln>
              <a:noFill/>
            </a:ln>
            <a:effectLst>
              <a:outerShdw blurRad="50800" dist="38100" dir="5400000" algn="t" rotWithShape="0">
                <a:prstClr val="black">
                  <a:alpha val="40000"/>
                </a:prstClr>
              </a:outerShdw>
            </a:effectLst>
          </p:spPr>
          <p:txBody>
            <a:bodyPr wrap="square" rtlCol="0">
              <a:spAutoFit/>
            </a:bodyPr>
            <a:lstStyle/>
            <a:p>
              <a:pPr algn="ctr"/>
              <a:r>
                <a:rPr lang="en-US" sz="2000">
                  <a:latin typeface="Noto IKEA Latin" panose="020B0502040504020204" pitchFamily="34" charset="0"/>
                </a:rPr>
                <a:t>Priorities</a:t>
              </a:r>
              <a:endParaRPr lang="sv-SE" sz="2000">
                <a:latin typeface="Noto IKEA Latin" panose="020B0502040504020204" pitchFamily="34" charset="0"/>
              </a:endParaRPr>
            </a:p>
          </p:txBody>
        </p:sp>
        <p:sp>
          <p:nvSpPr>
            <p:cNvPr id="1051" name="Oval 1050">
              <a:extLst>
                <a:ext uri="{FF2B5EF4-FFF2-40B4-BE49-F238E27FC236}">
                  <a16:creationId xmlns:a16="http://schemas.microsoft.com/office/drawing/2014/main" id="{3761C3BA-3D6E-D9B6-0514-F4F65DB16914}"/>
                </a:ext>
              </a:extLst>
            </p:cNvPr>
            <p:cNvSpPr/>
            <p:nvPr/>
          </p:nvSpPr>
          <p:spPr>
            <a:xfrm>
              <a:off x="7021255" y="3150915"/>
              <a:ext cx="63211" cy="63195"/>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1053" name="Oval 1052">
              <a:extLst>
                <a:ext uri="{FF2B5EF4-FFF2-40B4-BE49-F238E27FC236}">
                  <a16:creationId xmlns:a16="http://schemas.microsoft.com/office/drawing/2014/main" id="{D6FEC75D-52CC-74B3-E562-1814A9C94A3D}"/>
                </a:ext>
              </a:extLst>
            </p:cNvPr>
            <p:cNvSpPr/>
            <p:nvPr/>
          </p:nvSpPr>
          <p:spPr>
            <a:xfrm>
              <a:off x="7296184" y="3075107"/>
              <a:ext cx="63211" cy="63195"/>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1054" name="Oval 1053">
              <a:extLst>
                <a:ext uri="{FF2B5EF4-FFF2-40B4-BE49-F238E27FC236}">
                  <a16:creationId xmlns:a16="http://schemas.microsoft.com/office/drawing/2014/main" id="{7EEA23DC-5176-14D4-F934-AC93801AC7A5}"/>
                </a:ext>
              </a:extLst>
            </p:cNvPr>
            <p:cNvSpPr/>
            <p:nvPr/>
          </p:nvSpPr>
          <p:spPr>
            <a:xfrm>
              <a:off x="7320686" y="3384073"/>
              <a:ext cx="63211" cy="63195"/>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1055" name="Oval 1054">
              <a:extLst>
                <a:ext uri="{FF2B5EF4-FFF2-40B4-BE49-F238E27FC236}">
                  <a16:creationId xmlns:a16="http://schemas.microsoft.com/office/drawing/2014/main" id="{5BAAD200-CEA6-C501-19E4-C595DBBBF245}"/>
                </a:ext>
              </a:extLst>
            </p:cNvPr>
            <p:cNvSpPr/>
            <p:nvPr/>
          </p:nvSpPr>
          <p:spPr>
            <a:xfrm>
              <a:off x="7283682" y="3944404"/>
              <a:ext cx="63211" cy="63195"/>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1057" name="Oval 1056">
              <a:extLst>
                <a:ext uri="{FF2B5EF4-FFF2-40B4-BE49-F238E27FC236}">
                  <a16:creationId xmlns:a16="http://schemas.microsoft.com/office/drawing/2014/main" id="{CDE58BD7-BB77-87DD-1487-3BA9801E5548}"/>
                </a:ext>
              </a:extLst>
            </p:cNvPr>
            <p:cNvSpPr/>
            <p:nvPr/>
          </p:nvSpPr>
          <p:spPr>
            <a:xfrm>
              <a:off x="7394487" y="4047555"/>
              <a:ext cx="63211" cy="63195"/>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1059" name="Oval 1058">
              <a:extLst>
                <a:ext uri="{FF2B5EF4-FFF2-40B4-BE49-F238E27FC236}">
                  <a16:creationId xmlns:a16="http://schemas.microsoft.com/office/drawing/2014/main" id="{B57D70C4-3258-2BF5-BDB8-BAF86920DB14}"/>
                </a:ext>
              </a:extLst>
            </p:cNvPr>
            <p:cNvSpPr/>
            <p:nvPr/>
          </p:nvSpPr>
          <p:spPr>
            <a:xfrm>
              <a:off x="6912668" y="3959797"/>
              <a:ext cx="63211" cy="63195"/>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1060" name="Oval 1059">
              <a:extLst>
                <a:ext uri="{FF2B5EF4-FFF2-40B4-BE49-F238E27FC236}">
                  <a16:creationId xmlns:a16="http://schemas.microsoft.com/office/drawing/2014/main" id="{DC5EE920-09F4-4572-B513-C7DFDCFF4E8D}"/>
                </a:ext>
              </a:extLst>
            </p:cNvPr>
            <p:cNvSpPr/>
            <p:nvPr/>
          </p:nvSpPr>
          <p:spPr>
            <a:xfrm>
              <a:off x="6925014" y="2897575"/>
              <a:ext cx="63211" cy="63195"/>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1061" name="Oval 1060">
              <a:extLst>
                <a:ext uri="{FF2B5EF4-FFF2-40B4-BE49-F238E27FC236}">
                  <a16:creationId xmlns:a16="http://schemas.microsoft.com/office/drawing/2014/main" id="{67BEE4F4-E905-43E6-20AF-6292C05A06DF}"/>
                </a:ext>
              </a:extLst>
            </p:cNvPr>
            <p:cNvSpPr/>
            <p:nvPr/>
          </p:nvSpPr>
          <p:spPr>
            <a:xfrm>
              <a:off x="6872081" y="3393159"/>
              <a:ext cx="63211" cy="63195"/>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1062" name="Oval 1061">
              <a:extLst>
                <a:ext uri="{FF2B5EF4-FFF2-40B4-BE49-F238E27FC236}">
                  <a16:creationId xmlns:a16="http://schemas.microsoft.com/office/drawing/2014/main" id="{06003696-7A9D-3F6F-B2BD-E2BBA3E9135A}"/>
                </a:ext>
              </a:extLst>
            </p:cNvPr>
            <p:cNvSpPr/>
            <p:nvPr/>
          </p:nvSpPr>
          <p:spPr>
            <a:xfrm>
              <a:off x="7366986" y="3662742"/>
              <a:ext cx="63211" cy="63195"/>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1063" name="Oval 1062">
              <a:extLst>
                <a:ext uri="{FF2B5EF4-FFF2-40B4-BE49-F238E27FC236}">
                  <a16:creationId xmlns:a16="http://schemas.microsoft.com/office/drawing/2014/main" id="{3480DA6E-ABBB-EAF2-A7C7-DD81C4DC6252}"/>
                </a:ext>
              </a:extLst>
            </p:cNvPr>
            <p:cNvSpPr/>
            <p:nvPr/>
          </p:nvSpPr>
          <p:spPr>
            <a:xfrm>
              <a:off x="7815851" y="3572732"/>
              <a:ext cx="63211" cy="63195"/>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1070" name="Oval 1069">
              <a:extLst>
                <a:ext uri="{FF2B5EF4-FFF2-40B4-BE49-F238E27FC236}">
                  <a16:creationId xmlns:a16="http://schemas.microsoft.com/office/drawing/2014/main" id="{9714340C-8B01-BD69-EBB1-E95B3A003F6B}"/>
                </a:ext>
              </a:extLst>
            </p:cNvPr>
            <p:cNvSpPr/>
            <p:nvPr/>
          </p:nvSpPr>
          <p:spPr>
            <a:xfrm>
              <a:off x="7074104" y="3705514"/>
              <a:ext cx="63211" cy="63195"/>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1084" name="Oval 1083">
              <a:extLst>
                <a:ext uri="{FF2B5EF4-FFF2-40B4-BE49-F238E27FC236}">
                  <a16:creationId xmlns:a16="http://schemas.microsoft.com/office/drawing/2014/main" id="{BB70DB5C-D823-744C-38FC-B07D03C4CA70}"/>
                </a:ext>
              </a:extLst>
            </p:cNvPr>
            <p:cNvSpPr/>
            <p:nvPr/>
          </p:nvSpPr>
          <p:spPr>
            <a:xfrm>
              <a:off x="7678256" y="3328989"/>
              <a:ext cx="206871" cy="206817"/>
            </a:xfrm>
            <a:prstGeom prst="ellipse">
              <a:avLst/>
            </a:prstGeom>
            <a:solidFill>
              <a:srgbClr val="D5CAE8"/>
            </a:solidFill>
            <a:ln>
              <a:solidFill>
                <a:srgbClr val="D5CAE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1085" name="Oval 1084">
              <a:extLst>
                <a:ext uri="{FF2B5EF4-FFF2-40B4-BE49-F238E27FC236}">
                  <a16:creationId xmlns:a16="http://schemas.microsoft.com/office/drawing/2014/main" id="{DA20CD47-FB63-C8B1-E752-405292F96FAC}"/>
                </a:ext>
              </a:extLst>
            </p:cNvPr>
            <p:cNvSpPr/>
            <p:nvPr/>
          </p:nvSpPr>
          <p:spPr>
            <a:xfrm>
              <a:off x="7769400" y="3371068"/>
              <a:ext cx="54028" cy="54014"/>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1086" name="Oval 1085">
              <a:extLst>
                <a:ext uri="{FF2B5EF4-FFF2-40B4-BE49-F238E27FC236}">
                  <a16:creationId xmlns:a16="http://schemas.microsoft.com/office/drawing/2014/main" id="{87289D9D-C9F6-1E93-C3AB-D26EE3CC3C52}"/>
                </a:ext>
              </a:extLst>
            </p:cNvPr>
            <p:cNvSpPr/>
            <p:nvPr/>
          </p:nvSpPr>
          <p:spPr>
            <a:xfrm>
              <a:off x="7814762" y="3440154"/>
              <a:ext cx="54028" cy="54014"/>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1087" name="Oval 1086">
              <a:extLst>
                <a:ext uri="{FF2B5EF4-FFF2-40B4-BE49-F238E27FC236}">
                  <a16:creationId xmlns:a16="http://schemas.microsoft.com/office/drawing/2014/main" id="{344F6E25-4E25-2C6F-2B9A-D3D6B3635AD6}"/>
                </a:ext>
              </a:extLst>
            </p:cNvPr>
            <p:cNvSpPr/>
            <p:nvPr/>
          </p:nvSpPr>
          <p:spPr>
            <a:xfrm>
              <a:off x="7727448" y="3432614"/>
              <a:ext cx="54028" cy="54014"/>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190" name="Oval 5189">
              <a:extLst>
                <a:ext uri="{FF2B5EF4-FFF2-40B4-BE49-F238E27FC236}">
                  <a16:creationId xmlns:a16="http://schemas.microsoft.com/office/drawing/2014/main" id="{4B11DB43-8DE0-62FD-F00C-1BB786DD7430}"/>
                </a:ext>
              </a:extLst>
            </p:cNvPr>
            <p:cNvSpPr/>
            <p:nvPr/>
          </p:nvSpPr>
          <p:spPr>
            <a:xfrm>
              <a:off x="7678256" y="3869426"/>
              <a:ext cx="206871" cy="206817"/>
            </a:xfrm>
            <a:prstGeom prst="ellipse">
              <a:avLst/>
            </a:prstGeom>
            <a:solidFill>
              <a:srgbClr val="D5CAE8"/>
            </a:solidFill>
            <a:ln>
              <a:solidFill>
                <a:srgbClr val="D5CAE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191" name="Oval 5190">
              <a:extLst>
                <a:ext uri="{FF2B5EF4-FFF2-40B4-BE49-F238E27FC236}">
                  <a16:creationId xmlns:a16="http://schemas.microsoft.com/office/drawing/2014/main" id="{15186022-BC36-0860-08DF-4A930FAAF212}"/>
                </a:ext>
              </a:extLst>
            </p:cNvPr>
            <p:cNvSpPr/>
            <p:nvPr/>
          </p:nvSpPr>
          <p:spPr>
            <a:xfrm>
              <a:off x="7769400" y="3911505"/>
              <a:ext cx="54028" cy="54014"/>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192" name="Oval 5191">
              <a:extLst>
                <a:ext uri="{FF2B5EF4-FFF2-40B4-BE49-F238E27FC236}">
                  <a16:creationId xmlns:a16="http://schemas.microsoft.com/office/drawing/2014/main" id="{FDF912F8-C925-3096-B2CA-CA1A1310D593}"/>
                </a:ext>
              </a:extLst>
            </p:cNvPr>
            <p:cNvSpPr/>
            <p:nvPr/>
          </p:nvSpPr>
          <p:spPr>
            <a:xfrm>
              <a:off x="7814762" y="3980591"/>
              <a:ext cx="54028" cy="54014"/>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193" name="Oval 5192">
              <a:extLst>
                <a:ext uri="{FF2B5EF4-FFF2-40B4-BE49-F238E27FC236}">
                  <a16:creationId xmlns:a16="http://schemas.microsoft.com/office/drawing/2014/main" id="{2EF724BE-1791-27B3-9F70-29F132ADE38F}"/>
                </a:ext>
              </a:extLst>
            </p:cNvPr>
            <p:cNvSpPr/>
            <p:nvPr/>
          </p:nvSpPr>
          <p:spPr>
            <a:xfrm>
              <a:off x="7727448" y="3973051"/>
              <a:ext cx="54028" cy="54014"/>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195" name="Oval 5194">
              <a:extLst>
                <a:ext uri="{FF2B5EF4-FFF2-40B4-BE49-F238E27FC236}">
                  <a16:creationId xmlns:a16="http://schemas.microsoft.com/office/drawing/2014/main" id="{A47BB64A-4C96-1AD5-222F-EC90FC6C3F6E}"/>
                </a:ext>
              </a:extLst>
            </p:cNvPr>
            <p:cNvSpPr/>
            <p:nvPr/>
          </p:nvSpPr>
          <p:spPr>
            <a:xfrm>
              <a:off x="7791387" y="3753846"/>
              <a:ext cx="63211" cy="63195"/>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196" name="Oval 5195">
              <a:extLst>
                <a:ext uri="{FF2B5EF4-FFF2-40B4-BE49-F238E27FC236}">
                  <a16:creationId xmlns:a16="http://schemas.microsoft.com/office/drawing/2014/main" id="{F6ED9FD0-8B0D-E79D-582F-6B6E37A36805}"/>
                </a:ext>
              </a:extLst>
            </p:cNvPr>
            <p:cNvSpPr/>
            <p:nvPr/>
          </p:nvSpPr>
          <p:spPr>
            <a:xfrm>
              <a:off x="7722857" y="3642319"/>
              <a:ext cx="63211" cy="63195"/>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219" name="Oval 5218">
              <a:extLst>
                <a:ext uri="{FF2B5EF4-FFF2-40B4-BE49-F238E27FC236}">
                  <a16:creationId xmlns:a16="http://schemas.microsoft.com/office/drawing/2014/main" id="{FA64D2F5-142E-FDFE-7E9E-6CD43A024726}"/>
                </a:ext>
              </a:extLst>
            </p:cNvPr>
            <p:cNvSpPr/>
            <p:nvPr/>
          </p:nvSpPr>
          <p:spPr>
            <a:xfrm>
              <a:off x="8119059" y="3355097"/>
              <a:ext cx="111058" cy="111028"/>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225" name="Oval 5224">
              <a:extLst>
                <a:ext uri="{FF2B5EF4-FFF2-40B4-BE49-F238E27FC236}">
                  <a16:creationId xmlns:a16="http://schemas.microsoft.com/office/drawing/2014/main" id="{1F3688D9-3884-D78A-8F85-6572AFF54DFE}"/>
                </a:ext>
              </a:extLst>
            </p:cNvPr>
            <p:cNvSpPr/>
            <p:nvPr/>
          </p:nvSpPr>
          <p:spPr>
            <a:xfrm>
              <a:off x="8222374" y="3436639"/>
              <a:ext cx="111058" cy="111028"/>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226" name="Oval 5225">
              <a:extLst>
                <a:ext uri="{FF2B5EF4-FFF2-40B4-BE49-F238E27FC236}">
                  <a16:creationId xmlns:a16="http://schemas.microsoft.com/office/drawing/2014/main" id="{D08BC008-D226-2134-C650-C6EE9E4D394B}"/>
                </a:ext>
              </a:extLst>
            </p:cNvPr>
            <p:cNvSpPr/>
            <p:nvPr/>
          </p:nvSpPr>
          <p:spPr>
            <a:xfrm>
              <a:off x="8288826" y="3609091"/>
              <a:ext cx="111058" cy="111028"/>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227" name="Oval 5226">
              <a:extLst>
                <a:ext uri="{FF2B5EF4-FFF2-40B4-BE49-F238E27FC236}">
                  <a16:creationId xmlns:a16="http://schemas.microsoft.com/office/drawing/2014/main" id="{0AD0557A-AEE7-A521-FC85-DF8785318316}"/>
                </a:ext>
              </a:extLst>
            </p:cNvPr>
            <p:cNvSpPr/>
            <p:nvPr/>
          </p:nvSpPr>
          <p:spPr>
            <a:xfrm>
              <a:off x="8251979" y="3786556"/>
              <a:ext cx="111058" cy="111028"/>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230" name="Oval 5229">
              <a:extLst>
                <a:ext uri="{FF2B5EF4-FFF2-40B4-BE49-F238E27FC236}">
                  <a16:creationId xmlns:a16="http://schemas.microsoft.com/office/drawing/2014/main" id="{C98C349A-2F0D-5151-011D-684B5F2AC88F}"/>
                </a:ext>
              </a:extLst>
            </p:cNvPr>
            <p:cNvSpPr/>
            <p:nvPr/>
          </p:nvSpPr>
          <p:spPr>
            <a:xfrm>
              <a:off x="8051355" y="3743218"/>
              <a:ext cx="111058" cy="111028"/>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231" name="Oval 5230">
              <a:extLst>
                <a:ext uri="{FF2B5EF4-FFF2-40B4-BE49-F238E27FC236}">
                  <a16:creationId xmlns:a16="http://schemas.microsoft.com/office/drawing/2014/main" id="{D53C7346-EF7F-B8F7-0BC4-FD9216EB6EB6}"/>
                </a:ext>
              </a:extLst>
            </p:cNvPr>
            <p:cNvSpPr/>
            <p:nvPr/>
          </p:nvSpPr>
          <p:spPr>
            <a:xfrm>
              <a:off x="8088915" y="3552286"/>
              <a:ext cx="111058" cy="111028"/>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234" name="Oval 5233">
              <a:extLst>
                <a:ext uri="{FF2B5EF4-FFF2-40B4-BE49-F238E27FC236}">
                  <a16:creationId xmlns:a16="http://schemas.microsoft.com/office/drawing/2014/main" id="{9172350A-E090-86F6-B8BA-6ECC24EFC01D}"/>
                </a:ext>
              </a:extLst>
            </p:cNvPr>
            <p:cNvSpPr/>
            <p:nvPr/>
          </p:nvSpPr>
          <p:spPr>
            <a:xfrm>
              <a:off x="8697252" y="3556614"/>
              <a:ext cx="169042" cy="168999"/>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235" name="Oval 5234">
              <a:extLst>
                <a:ext uri="{FF2B5EF4-FFF2-40B4-BE49-F238E27FC236}">
                  <a16:creationId xmlns:a16="http://schemas.microsoft.com/office/drawing/2014/main" id="{58464BB5-7916-1606-8FC2-AB04DDDF827F}"/>
                </a:ext>
              </a:extLst>
            </p:cNvPr>
            <p:cNvSpPr/>
            <p:nvPr/>
          </p:nvSpPr>
          <p:spPr>
            <a:xfrm>
              <a:off x="8530680" y="3707703"/>
              <a:ext cx="169042" cy="168999"/>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236" name="Oval 5235">
              <a:extLst>
                <a:ext uri="{FF2B5EF4-FFF2-40B4-BE49-F238E27FC236}">
                  <a16:creationId xmlns:a16="http://schemas.microsoft.com/office/drawing/2014/main" id="{C25102F3-157A-211A-2DC3-CD254E3E66E7}"/>
                </a:ext>
              </a:extLst>
            </p:cNvPr>
            <p:cNvSpPr/>
            <p:nvPr/>
          </p:nvSpPr>
          <p:spPr>
            <a:xfrm>
              <a:off x="8519398" y="3464102"/>
              <a:ext cx="169042" cy="168999"/>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grpSp>
      <p:pic>
        <p:nvPicPr>
          <p:cNvPr id="5194" name="Picture 74" descr="Image result for green white binocular icon">
            <a:extLst>
              <a:ext uri="{FF2B5EF4-FFF2-40B4-BE49-F238E27FC236}">
                <a16:creationId xmlns:a16="http://schemas.microsoft.com/office/drawing/2014/main" id="{C975DFCA-7A2A-B08E-88D0-3B09CF97BE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03131" y="6200758"/>
            <a:ext cx="1490907" cy="1551233"/>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Image result for Advanced Search Icon">
            <a:extLst>
              <a:ext uri="{FF2B5EF4-FFF2-40B4-BE49-F238E27FC236}">
                <a16:creationId xmlns:a16="http://schemas.microsoft.com/office/drawing/2014/main" id="{0EDE7950-B34D-887F-93FD-ECE92DDDC008}"/>
              </a:ext>
            </a:extLst>
          </p:cNvPr>
          <p:cNvPicPr>
            <a:picLocks noChangeAspect="1" noChangeArrowheads="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6841586">
            <a:off x="1850543" y="4884449"/>
            <a:ext cx="4667006" cy="4516458"/>
          </a:xfrm>
          <a:prstGeom prst="rect">
            <a:avLst/>
          </a:prstGeom>
          <a:pattFill prst="pct5">
            <a:fgClr>
              <a:schemeClr val="accent1"/>
            </a:fgClr>
            <a:bgClr>
              <a:schemeClr val="bg1"/>
            </a:bgClr>
          </a:pattFill>
        </p:spPr>
      </p:pic>
      <p:sp>
        <p:nvSpPr>
          <p:cNvPr id="2" name="TextBox 1">
            <a:extLst>
              <a:ext uri="{FF2B5EF4-FFF2-40B4-BE49-F238E27FC236}">
                <a16:creationId xmlns:a16="http://schemas.microsoft.com/office/drawing/2014/main" id="{4D15EF57-065D-457D-A2F5-9A4A1ED21573}"/>
              </a:ext>
            </a:extLst>
          </p:cNvPr>
          <p:cNvSpPr txBox="1"/>
          <p:nvPr/>
        </p:nvSpPr>
        <p:spPr>
          <a:xfrm rot="20201321">
            <a:off x="569004" y="7618390"/>
            <a:ext cx="2268946" cy="1015663"/>
          </a:xfrm>
          <a:prstGeom prst="rect">
            <a:avLst/>
          </a:prstGeom>
          <a:gradFill flip="none" rotWithShape="1">
            <a:gsLst>
              <a:gs pos="0">
                <a:srgbClr val="FFFF00">
                  <a:shade val="30000"/>
                  <a:satMod val="115000"/>
                </a:srgbClr>
              </a:gs>
              <a:gs pos="50000">
                <a:srgbClr val="FFFF00">
                  <a:shade val="67500"/>
                  <a:satMod val="115000"/>
                </a:srgbClr>
              </a:gs>
              <a:gs pos="100000">
                <a:srgbClr val="FFFF00">
                  <a:shade val="100000"/>
                  <a:satMod val="115000"/>
                </a:srgbClr>
              </a:gs>
            </a:gsLst>
            <a:lin ang="5400000" scaled="1"/>
            <a:tileRect/>
          </a:gradFill>
          <a:effectLst>
            <a:outerShdw blurRad="50800" dist="38100" dir="5400000" algn="t" rotWithShape="0">
              <a:prstClr val="black">
                <a:alpha val="40000"/>
              </a:prstClr>
            </a:outerShdw>
          </a:effectLst>
        </p:spPr>
        <p:txBody>
          <a:bodyPr wrap="square" rtlCol="0">
            <a:spAutoFit/>
          </a:bodyPr>
          <a:lstStyle/>
          <a:p>
            <a:pPr algn="ctr"/>
            <a:r>
              <a:rPr lang="en-US" sz="2000" b="1">
                <a:latin typeface="Noto IKEA Latin" panose="020B0502040504020204" pitchFamily="34" charset="0"/>
              </a:rPr>
              <a:t>Industry and Technology scanning</a:t>
            </a:r>
            <a:endParaRPr lang="sv-SE" sz="2000" b="1">
              <a:latin typeface="Noto IKEA Latin" panose="020B0502040504020204" pitchFamily="34" charset="0"/>
            </a:endParaRPr>
          </a:p>
        </p:txBody>
      </p:sp>
      <p:sp>
        <p:nvSpPr>
          <p:cNvPr id="3" name="TextBox 2">
            <a:extLst>
              <a:ext uri="{FF2B5EF4-FFF2-40B4-BE49-F238E27FC236}">
                <a16:creationId xmlns:a16="http://schemas.microsoft.com/office/drawing/2014/main" id="{09C0D3A7-CCEC-BC7B-C2A4-23AA075A5B06}"/>
              </a:ext>
            </a:extLst>
          </p:cNvPr>
          <p:cNvSpPr txBox="1"/>
          <p:nvPr/>
        </p:nvSpPr>
        <p:spPr>
          <a:xfrm>
            <a:off x="4994625" y="6144950"/>
            <a:ext cx="1257782" cy="307777"/>
          </a:xfrm>
          <a:prstGeom prst="rect">
            <a:avLst/>
          </a:prstGeom>
          <a:noFill/>
        </p:spPr>
        <p:txBody>
          <a:bodyPr wrap="square" rtlCol="0">
            <a:spAutoFit/>
          </a:bodyPr>
          <a:lstStyle/>
          <a:p>
            <a:pPr algn="ctr"/>
            <a:r>
              <a:rPr lang="en-US" sz="1400">
                <a:solidFill>
                  <a:schemeClr val="accent2">
                    <a:lumMod val="75000"/>
                  </a:schemeClr>
                </a:solidFill>
                <a:latin typeface="Noto IKEA Latin" panose="020B0502040504020204" pitchFamily="34" charset="0"/>
              </a:rPr>
              <a:t>Patents</a:t>
            </a:r>
            <a:endParaRPr lang="sv-SE" sz="1400">
              <a:solidFill>
                <a:schemeClr val="accent2">
                  <a:lumMod val="75000"/>
                </a:schemeClr>
              </a:solidFill>
              <a:latin typeface="Noto IKEA Latin" panose="020B0502040504020204" pitchFamily="34" charset="0"/>
            </a:endParaRPr>
          </a:p>
        </p:txBody>
      </p:sp>
      <p:sp>
        <p:nvSpPr>
          <p:cNvPr id="4" name="TextBox 3">
            <a:extLst>
              <a:ext uri="{FF2B5EF4-FFF2-40B4-BE49-F238E27FC236}">
                <a16:creationId xmlns:a16="http://schemas.microsoft.com/office/drawing/2014/main" id="{1FDA4099-83F0-1560-16CB-E61FBEAE0178}"/>
              </a:ext>
            </a:extLst>
          </p:cNvPr>
          <p:cNvSpPr txBox="1"/>
          <p:nvPr/>
        </p:nvSpPr>
        <p:spPr>
          <a:xfrm>
            <a:off x="3566582" y="5921135"/>
            <a:ext cx="1257782" cy="307777"/>
          </a:xfrm>
          <a:prstGeom prst="rect">
            <a:avLst/>
          </a:prstGeom>
          <a:noFill/>
        </p:spPr>
        <p:txBody>
          <a:bodyPr wrap="square" rtlCol="0">
            <a:spAutoFit/>
          </a:bodyPr>
          <a:lstStyle/>
          <a:p>
            <a:pPr algn="ctr"/>
            <a:r>
              <a:rPr lang="en-US" sz="1400">
                <a:solidFill>
                  <a:schemeClr val="tx1">
                    <a:lumMod val="65000"/>
                    <a:lumOff val="35000"/>
                  </a:schemeClr>
                </a:solidFill>
                <a:latin typeface="Noto IKEA Latin" panose="020B0502040504020204" pitchFamily="34" charset="0"/>
              </a:rPr>
              <a:t>Markets</a:t>
            </a:r>
            <a:endParaRPr lang="sv-SE" sz="1400">
              <a:solidFill>
                <a:schemeClr val="tx1">
                  <a:lumMod val="65000"/>
                  <a:lumOff val="35000"/>
                </a:schemeClr>
              </a:solidFill>
              <a:latin typeface="Noto IKEA Latin" panose="020B0502040504020204" pitchFamily="34" charset="0"/>
            </a:endParaRPr>
          </a:p>
        </p:txBody>
      </p:sp>
      <p:sp>
        <p:nvSpPr>
          <p:cNvPr id="5" name="TextBox 4">
            <a:extLst>
              <a:ext uri="{FF2B5EF4-FFF2-40B4-BE49-F238E27FC236}">
                <a16:creationId xmlns:a16="http://schemas.microsoft.com/office/drawing/2014/main" id="{E3C1FA9D-64BA-64DD-1A3A-4F5DA705F12A}"/>
              </a:ext>
            </a:extLst>
          </p:cNvPr>
          <p:cNvSpPr txBox="1"/>
          <p:nvPr/>
        </p:nvSpPr>
        <p:spPr>
          <a:xfrm>
            <a:off x="4407770" y="7912683"/>
            <a:ext cx="1257782" cy="307777"/>
          </a:xfrm>
          <a:prstGeom prst="rect">
            <a:avLst/>
          </a:prstGeom>
          <a:noFill/>
        </p:spPr>
        <p:txBody>
          <a:bodyPr wrap="square" rtlCol="0">
            <a:spAutoFit/>
          </a:bodyPr>
          <a:lstStyle/>
          <a:p>
            <a:pPr algn="ctr"/>
            <a:r>
              <a:rPr lang="en-US" sz="1400">
                <a:latin typeface="Noto IKEA Latin" panose="020B0502040504020204" pitchFamily="34" charset="0"/>
              </a:rPr>
              <a:t>Risks</a:t>
            </a:r>
            <a:endParaRPr lang="sv-SE" sz="1400">
              <a:latin typeface="Noto IKEA Latin" panose="020B0502040504020204" pitchFamily="34" charset="0"/>
            </a:endParaRPr>
          </a:p>
        </p:txBody>
      </p:sp>
      <p:sp>
        <p:nvSpPr>
          <p:cNvPr id="7" name="TextBox 6">
            <a:extLst>
              <a:ext uri="{FF2B5EF4-FFF2-40B4-BE49-F238E27FC236}">
                <a16:creationId xmlns:a16="http://schemas.microsoft.com/office/drawing/2014/main" id="{E3C1CB2A-C7A7-FDCC-69B9-666A34A1DDF5}"/>
              </a:ext>
            </a:extLst>
          </p:cNvPr>
          <p:cNvSpPr txBox="1"/>
          <p:nvPr/>
        </p:nvSpPr>
        <p:spPr>
          <a:xfrm>
            <a:off x="3118790" y="6486430"/>
            <a:ext cx="3090077" cy="307777"/>
          </a:xfrm>
          <a:prstGeom prst="rect">
            <a:avLst/>
          </a:prstGeom>
          <a:noFill/>
        </p:spPr>
        <p:txBody>
          <a:bodyPr wrap="square" rtlCol="0">
            <a:spAutoFit/>
          </a:bodyPr>
          <a:lstStyle/>
          <a:p>
            <a:pPr algn="ctr"/>
            <a:r>
              <a:rPr lang="en-US" sz="1400">
                <a:solidFill>
                  <a:schemeClr val="accent4">
                    <a:lumMod val="50000"/>
                  </a:schemeClr>
                </a:solidFill>
                <a:latin typeface="Noto IKEA Latin" panose="020B0502040504020204" pitchFamily="34" charset="0"/>
              </a:rPr>
              <a:t>Researches and publications</a:t>
            </a:r>
            <a:endParaRPr lang="sv-SE" sz="1400">
              <a:solidFill>
                <a:schemeClr val="accent4">
                  <a:lumMod val="50000"/>
                </a:schemeClr>
              </a:solidFill>
              <a:latin typeface="Noto IKEA Latin" panose="020B0502040504020204" pitchFamily="34" charset="0"/>
            </a:endParaRPr>
          </a:p>
        </p:txBody>
      </p:sp>
      <p:sp>
        <p:nvSpPr>
          <p:cNvPr id="9" name="TextBox 8">
            <a:extLst>
              <a:ext uri="{FF2B5EF4-FFF2-40B4-BE49-F238E27FC236}">
                <a16:creationId xmlns:a16="http://schemas.microsoft.com/office/drawing/2014/main" id="{394E2321-21B9-C9EE-1440-15127FB732F1}"/>
              </a:ext>
            </a:extLst>
          </p:cNvPr>
          <p:cNvSpPr txBox="1"/>
          <p:nvPr/>
        </p:nvSpPr>
        <p:spPr>
          <a:xfrm>
            <a:off x="4524310" y="6932900"/>
            <a:ext cx="1525823" cy="307777"/>
          </a:xfrm>
          <a:prstGeom prst="rect">
            <a:avLst/>
          </a:prstGeom>
          <a:noFill/>
        </p:spPr>
        <p:txBody>
          <a:bodyPr wrap="square" rtlCol="0">
            <a:spAutoFit/>
          </a:bodyPr>
          <a:lstStyle/>
          <a:p>
            <a:pPr algn="ctr"/>
            <a:r>
              <a:rPr lang="en-US" sz="1400">
                <a:solidFill>
                  <a:schemeClr val="accent2"/>
                </a:solidFill>
                <a:latin typeface="Noto IKEA Latin" panose="020B0502040504020204" pitchFamily="34" charset="0"/>
              </a:rPr>
              <a:t>Competitors</a:t>
            </a:r>
            <a:endParaRPr lang="sv-SE" sz="1400">
              <a:solidFill>
                <a:schemeClr val="accent2"/>
              </a:solidFill>
              <a:latin typeface="Noto IKEA Latin" panose="020B0502040504020204" pitchFamily="34" charset="0"/>
            </a:endParaRPr>
          </a:p>
        </p:txBody>
      </p:sp>
      <p:sp>
        <p:nvSpPr>
          <p:cNvPr id="11" name="TextBox 10">
            <a:extLst>
              <a:ext uri="{FF2B5EF4-FFF2-40B4-BE49-F238E27FC236}">
                <a16:creationId xmlns:a16="http://schemas.microsoft.com/office/drawing/2014/main" id="{AFC8CDE6-DB51-9DC4-23F4-06D57FB7F45F}"/>
              </a:ext>
            </a:extLst>
          </p:cNvPr>
          <p:cNvSpPr txBox="1"/>
          <p:nvPr/>
        </p:nvSpPr>
        <p:spPr>
          <a:xfrm>
            <a:off x="3414475" y="7386583"/>
            <a:ext cx="1673197" cy="307777"/>
          </a:xfrm>
          <a:prstGeom prst="rect">
            <a:avLst/>
          </a:prstGeom>
          <a:noFill/>
        </p:spPr>
        <p:txBody>
          <a:bodyPr wrap="square" rtlCol="0">
            <a:spAutoFit/>
          </a:bodyPr>
          <a:lstStyle/>
          <a:p>
            <a:pPr algn="ctr"/>
            <a:r>
              <a:rPr lang="en-US" sz="1400">
                <a:solidFill>
                  <a:schemeClr val="accent4">
                    <a:lumMod val="75000"/>
                  </a:schemeClr>
                </a:solidFill>
                <a:latin typeface="Noto IKEA Latin" panose="020B0502040504020204" pitchFamily="34" charset="0"/>
              </a:rPr>
              <a:t>Technologies</a:t>
            </a:r>
            <a:endParaRPr lang="sv-SE" sz="1400">
              <a:solidFill>
                <a:schemeClr val="accent4">
                  <a:lumMod val="75000"/>
                </a:schemeClr>
              </a:solidFill>
              <a:latin typeface="Noto IKEA Latin" panose="020B0502040504020204" pitchFamily="34" charset="0"/>
            </a:endParaRPr>
          </a:p>
        </p:txBody>
      </p:sp>
      <p:sp>
        <p:nvSpPr>
          <p:cNvPr id="12" name="TextBox 11">
            <a:extLst>
              <a:ext uri="{FF2B5EF4-FFF2-40B4-BE49-F238E27FC236}">
                <a16:creationId xmlns:a16="http://schemas.microsoft.com/office/drawing/2014/main" id="{6885EAA4-FDFF-27D5-A8D9-C904934DCC36}"/>
              </a:ext>
            </a:extLst>
          </p:cNvPr>
          <p:cNvSpPr txBox="1"/>
          <p:nvPr/>
        </p:nvSpPr>
        <p:spPr>
          <a:xfrm>
            <a:off x="4812160" y="7398615"/>
            <a:ext cx="1673197" cy="307777"/>
          </a:xfrm>
          <a:prstGeom prst="rect">
            <a:avLst/>
          </a:prstGeom>
          <a:noFill/>
        </p:spPr>
        <p:txBody>
          <a:bodyPr wrap="square" rtlCol="0">
            <a:spAutoFit/>
          </a:bodyPr>
          <a:lstStyle/>
          <a:p>
            <a:pPr algn="ctr"/>
            <a:r>
              <a:rPr lang="en-US" sz="1400">
                <a:solidFill>
                  <a:schemeClr val="accent2">
                    <a:lumMod val="50000"/>
                  </a:schemeClr>
                </a:solidFill>
                <a:latin typeface="Noto IKEA Latin" panose="020B0502040504020204" pitchFamily="34" charset="0"/>
              </a:rPr>
              <a:t>Trends</a:t>
            </a:r>
            <a:endParaRPr lang="sv-SE" sz="1400">
              <a:solidFill>
                <a:schemeClr val="accent2">
                  <a:lumMod val="50000"/>
                </a:schemeClr>
              </a:solidFill>
              <a:latin typeface="Noto IKEA Latin" panose="020B0502040504020204" pitchFamily="34" charset="0"/>
            </a:endParaRPr>
          </a:p>
        </p:txBody>
      </p:sp>
      <p:sp>
        <p:nvSpPr>
          <p:cNvPr id="14" name="TextBox 13">
            <a:extLst>
              <a:ext uri="{FF2B5EF4-FFF2-40B4-BE49-F238E27FC236}">
                <a16:creationId xmlns:a16="http://schemas.microsoft.com/office/drawing/2014/main" id="{BF5DCCB9-02C9-D075-0789-826E24C159BF}"/>
              </a:ext>
            </a:extLst>
          </p:cNvPr>
          <p:cNvSpPr txBox="1"/>
          <p:nvPr/>
        </p:nvSpPr>
        <p:spPr>
          <a:xfrm>
            <a:off x="4145955" y="5513904"/>
            <a:ext cx="1673197" cy="307777"/>
          </a:xfrm>
          <a:prstGeom prst="rect">
            <a:avLst/>
          </a:prstGeom>
          <a:noFill/>
        </p:spPr>
        <p:txBody>
          <a:bodyPr wrap="square" rtlCol="0">
            <a:spAutoFit/>
          </a:bodyPr>
          <a:lstStyle/>
          <a:p>
            <a:pPr algn="ctr"/>
            <a:r>
              <a:rPr lang="en-US" sz="1400">
                <a:solidFill>
                  <a:schemeClr val="accent1">
                    <a:lumMod val="75000"/>
                  </a:schemeClr>
                </a:solidFill>
                <a:latin typeface="Noto IKEA Latin" panose="020B0502040504020204" pitchFamily="34" charset="0"/>
              </a:rPr>
              <a:t>Customers</a:t>
            </a:r>
            <a:endParaRPr lang="sv-SE" sz="1400">
              <a:solidFill>
                <a:schemeClr val="accent1">
                  <a:lumMod val="75000"/>
                </a:schemeClr>
              </a:solidFill>
              <a:latin typeface="Noto IKEA Latin" panose="020B0502040504020204" pitchFamily="34" charset="0"/>
            </a:endParaRPr>
          </a:p>
        </p:txBody>
      </p:sp>
      <p:sp>
        <p:nvSpPr>
          <p:cNvPr id="15" name="Oval 14">
            <a:extLst>
              <a:ext uri="{FF2B5EF4-FFF2-40B4-BE49-F238E27FC236}">
                <a16:creationId xmlns:a16="http://schemas.microsoft.com/office/drawing/2014/main" id="{115CE1EF-4FC9-AF69-6819-92186DC70791}"/>
              </a:ext>
            </a:extLst>
          </p:cNvPr>
          <p:cNvSpPr/>
          <p:nvPr/>
        </p:nvSpPr>
        <p:spPr>
          <a:xfrm>
            <a:off x="5108842" y="6249798"/>
            <a:ext cx="128000" cy="138555"/>
          </a:xfrm>
          <a:prstGeom prst="ellipse">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16" name="Oval 15">
            <a:extLst>
              <a:ext uri="{FF2B5EF4-FFF2-40B4-BE49-F238E27FC236}">
                <a16:creationId xmlns:a16="http://schemas.microsoft.com/office/drawing/2014/main" id="{4C564BA8-34C7-7BD9-A009-C58AC08C96C3}"/>
              </a:ext>
            </a:extLst>
          </p:cNvPr>
          <p:cNvSpPr/>
          <p:nvPr/>
        </p:nvSpPr>
        <p:spPr>
          <a:xfrm>
            <a:off x="3658056" y="6010954"/>
            <a:ext cx="128000" cy="138555"/>
          </a:xfrm>
          <a:prstGeom prst="ellipse">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17" name="Oval 16">
            <a:extLst>
              <a:ext uri="{FF2B5EF4-FFF2-40B4-BE49-F238E27FC236}">
                <a16:creationId xmlns:a16="http://schemas.microsoft.com/office/drawing/2014/main" id="{12413382-5278-5E5F-D24C-EB45A042A021}"/>
              </a:ext>
            </a:extLst>
          </p:cNvPr>
          <p:cNvSpPr/>
          <p:nvPr/>
        </p:nvSpPr>
        <p:spPr>
          <a:xfrm>
            <a:off x="4655197" y="7999090"/>
            <a:ext cx="128000" cy="138555"/>
          </a:xfrm>
          <a:prstGeom prst="ellipse">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18" name="Oval 17">
            <a:extLst>
              <a:ext uri="{FF2B5EF4-FFF2-40B4-BE49-F238E27FC236}">
                <a16:creationId xmlns:a16="http://schemas.microsoft.com/office/drawing/2014/main" id="{472956B7-4552-FD09-777E-CADE18AED0B9}"/>
              </a:ext>
            </a:extLst>
          </p:cNvPr>
          <p:cNvSpPr/>
          <p:nvPr/>
        </p:nvSpPr>
        <p:spPr>
          <a:xfrm>
            <a:off x="3259639" y="6574006"/>
            <a:ext cx="128000" cy="138555"/>
          </a:xfrm>
          <a:prstGeom prst="ellipse">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24" name="Oval 23">
            <a:extLst>
              <a:ext uri="{FF2B5EF4-FFF2-40B4-BE49-F238E27FC236}">
                <a16:creationId xmlns:a16="http://schemas.microsoft.com/office/drawing/2014/main" id="{64350C6C-7362-17EE-87D7-CCE4777092F8}"/>
              </a:ext>
            </a:extLst>
          </p:cNvPr>
          <p:cNvSpPr/>
          <p:nvPr/>
        </p:nvSpPr>
        <p:spPr>
          <a:xfrm>
            <a:off x="3417430" y="7510549"/>
            <a:ext cx="128000" cy="138555"/>
          </a:xfrm>
          <a:prstGeom prst="ellipse">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25" name="Oval 24">
            <a:extLst>
              <a:ext uri="{FF2B5EF4-FFF2-40B4-BE49-F238E27FC236}">
                <a16:creationId xmlns:a16="http://schemas.microsoft.com/office/drawing/2014/main" id="{8FBBF420-4A6E-DD17-F8EE-3934B0E8EAAC}"/>
              </a:ext>
            </a:extLst>
          </p:cNvPr>
          <p:cNvSpPr/>
          <p:nvPr/>
        </p:nvSpPr>
        <p:spPr>
          <a:xfrm>
            <a:off x="5096554" y="7570707"/>
            <a:ext cx="128000" cy="138555"/>
          </a:xfrm>
          <a:prstGeom prst="ellipse">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26" name="Oval 25">
            <a:extLst>
              <a:ext uri="{FF2B5EF4-FFF2-40B4-BE49-F238E27FC236}">
                <a16:creationId xmlns:a16="http://schemas.microsoft.com/office/drawing/2014/main" id="{9C048332-080A-0F47-468F-C126B2ECF388}"/>
              </a:ext>
            </a:extLst>
          </p:cNvPr>
          <p:cNvSpPr/>
          <p:nvPr/>
        </p:nvSpPr>
        <p:spPr>
          <a:xfrm>
            <a:off x="4591197" y="7021050"/>
            <a:ext cx="128000" cy="138555"/>
          </a:xfrm>
          <a:prstGeom prst="ellipse">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27" name="Oval 26">
            <a:extLst>
              <a:ext uri="{FF2B5EF4-FFF2-40B4-BE49-F238E27FC236}">
                <a16:creationId xmlns:a16="http://schemas.microsoft.com/office/drawing/2014/main" id="{9B27FECF-22E7-5C6C-8990-B012E50514DD}"/>
              </a:ext>
            </a:extLst>
          </p:cNvPr>
          <p:cNvSpPr/>
          <p:nvPr/>
        </p:nvSpPr>
        <p:spPr>
          <a:xfrm>
            <a:off x="4368727" y="5612536"/>
            <a:ext cx="128000" cy="138555"/>
          </a:xfrm>
          <a:prstGeom prst="ellipse">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28" name="Arrow: Pentagon 27">
            <a:extLst>
              <a:ext uri="{FF2B5EF4-FFF2-40B4-BE49-F238E27FC236}">
                <a16:creationId xmlns:a16="http://schemas.microsoft.com/office/drawing/2014/main" id="{E57F39F4-5E7D-B3BD-AB60-114937ABAFF2}"/>
              </a:ext>
            </a:extLst>
          </p:cNvPr>
          <p:cNvSpPr>
            <a:spLocks/>
          </p:cNvSpPr>
          <p:nvPr/>
        </p:nvSpPr>
        <p:spPr>
          <a:xfrm rot="5400000" flipV="1">
            <a:off x="3878087" y="3802647"/>
            <a:ext cx="1626720" cy="523220"/>
          </a:xfrm>
          <a:prstGeom prst="homePlate">
            <a:avLst/>
          </a:prstGeom>
          <a:gradFill flip="none" rotWithShape="1">
            <a:gsLst>
              <a:gs pos="0">
                <a:srgbClr val="FFFF00">
                  <a:shade val="30000"/>
                  <a:satMod val="115000"/>
                </a:srgbClr>
              </a:gs>
              <a:gs pos="50000">
                <a:srgbClr val="FFFF00">
                  <a:shade val="67500"/>
                  <a:satMod val="115000"/>
                </a:srgbClr>
              </a:gs>
              <a:gs pos="100000">
                <a:srgbClr val="FFFF00">
                  <a:shade val="100000"/>
                  <a:satMod val="115000"/>
                </a:srgbClr>
              </a:gs>
            </a:gsLst>
            <a:lin ang="5400000" scaled="1"/>
            <a:tileRect/>
          </a:gradFill>
          <a:effectLst>
            <a:outerShdw blurRad="50800" dist="38100" dir="5400000" algn="t" rotWithShape="0">
              <a:prstClr val="black">
                <a:alpha val="40000"/>
              </a:prstClr>
            </a:outerShdw>
          </a:effectLst>
        </p:spPr>
        <p:txBody>
          <a:bodyPr wrap="square" rtlCol="0">
            <a:spAutoFit/>
          </a:bodyPr>
          <a:lstStyle/>
          <a:p>
            <a:pPr algn="ctr"/>
            <a:r>
              <a:rPr lang="en-US" sz="1400" b="1">
                <a:latin typeface="Noto IKEA Latin" panose="020B0502040504020204" pitchFamily="34" charset="0"/>
              </a:rPr>
              <a:t>Market </a:t>
            </a:r>
          </a:p>
          <a:p>
            <a:pPr algn="ctr"/>
            <a:r>
              <a:rPr lang="en-US" sz="1400" b="1">
                <a:latin typeface="Noto IKEA Latin" panose="020B0502040504020204" pitchFamily="34" charset="0"/>
              </a:rPr>
              <a:t>Pull</a:t>
            </a:r>
            <a:endParaRPr lang="sv-SE" sz="1400" b="1">
              <a:latin typeface="Noto IKEA Latin" panose="020B0502040504020204" pitchFamily="34" charset="0"/>
            </a:endParaRPr>
          </a:p>
        </p:txBody>
      </p:sp>
      <p:sp>
        <p:nvSpPr>
          <p:cNvPr id="31" name="Arrow: Pentagon 30">
            <a:extLst>
              <a:ext uri="{FF2B5EF4-FFF2-40B4-BE49-F238E27FC236}">
                <a16:creationId xmlns:a16="http://schemas.microsoft.com/office/drawing/2014/main" id="{EEE91648-CF83-5E02-F1AC-471B8D9EA692}"/>
              </a:ext>
            </a:extLst>
          </p:cNvPr>
          <p:cNvSpPr>
            <a:spLocks/>
          </p:cNvSpPr>
          <p:nvPr/>
        </p:nvSpPr>
        <p:spPr>
          <a:xfrm rot="16200000">
            <a:off x="3854537" y="9514181"/>
            <a:ext cx="1629686" cy="523220"/>
          </a:xfrm>
          <a:prstGeom prst="homePlate">
            <a:avLst/>
          </a:prstGeom>
          <a:gradFill flip="none" rotWithShape="1">
            <a:gsLst>
              <a:gs pos="0">
                <a:srgbClr val="FFFF00">
                  <a:shade val="30000"/>
                  <a:satMod val="115000"/>
                </a:srgbClr>
              </a:gs>
              <a:gs pos="50000">
                <a:srgbClr val="FFFF00">
                  <a:shade val="67500"/>
                  <a:satMod val="115000"/>
                </a:srgbClr>
              </a:gs>
              <a:gs pos="100000">
                <a:srgbClr val="FFFF00">
                  <a:shade val="100000"/>
                  <a:satMod val="115000"/>
                </a:srgbClr>
              </a:gs>
            </a:gsLst>
            <a:lin ang="5400000" scaled="1"/>
            <a:tileRect/>
          </a:gradFill>
          <a:effectLst>
            <a:outerShdw blurRad="50800" dist="38100" dir="5400000" algn="t" rotWithShape="0">
              <a:prstClr val="black">
                <a:alpha val="40000"/>
              </a:prstClr>
            </a:outerShdw>
          </a:effectLst>
        </p:spPr>
        <p:txBody>
          <a:bodyPr wrap="square" rtlCol="0">
            <a:spAutoFit/>
          </a:bodyPr>
          <a:lstStyle/>
          <a:p>
            <a:pPr algn="ctr"/>
            <a:r>
              <a:rPr lang="en-US" sz="1400" b="1">
                <a:latin typeface="Noto IKEA Latin" panose="020B0502040504020204" pitchFamily="34" charset="0"/>
              </a:rPr>
              <a:t>Technology Push</a:t>
            </a:r>
            <a:endParaRPr lang="sv-SE" sz="1400" b="1">
              <a:latin typeface="Noto IKEA Latin" panose="020B0502040504020204" pitchFamily="34" charset="0"/>
            </a:endParaRPr>
          </a:p>
        </p:txBody>
      </p:sp>
      <p:pic>
        <p:nvPicPr>
          <p:cNvPr id="5144" name="Picture 5143">
            <a:extLst>
              <a:ext uri="{FF2B5EF4-FFF2-40B4-BE49-F238E27FC236}">
                <a16:creationId xmlns:a16="http://schemas.microsoft.com/office/drawing/2014/main" id="{1375CD0B-7CBA-C87B-2654-61975F581920}"/>
              </a:ext>
            </a:extLst>
          </p:cNvPr>
          <p:cNvPicPr>
            <a:picLocks noChangeAspect="1"/>
          </p:cNvPicPr>
          <p:nvPr/>
        </p:nvPicPr>
        <p:blipFill rotWithShape="1">
          <a:blip r:embed="rId7"/>
          <a:srcRect t="41111" r="88279" b="48555"/>
          <a:stretch/>
        </p:blipFill>
        <p:spPr>
          <a:xfrm>
            <a:off x="695974" y="9123631"/>
            <a:ext cx="1522555" cy="947666"/>
          </a:xfrm>
          <a:prstGeom prst="rect">
            <a:avLst/>
          </a:prstGeom>
        </p:spPr>
      </p:pic>
      <p:pic>
        <p:nvPicPr>
          <p:cNvPr id="5149" name="Picture 22" descr="Image result for find icon clipart">
            <a:extLst>
              <a:ext uri="{FF2B5EF4-FFF2-40B4-BE49-F238E27FC236}">
                <a16:creationId xmlns:a16="http://schemas.microsoft.com/office/drawing/2014/main" id="{DAB23BF4-B6E1-C6A5-D4E7-3644207066A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b="11709"/>
          <a:stretch/>
        </p:blipFill>
        <p:spPr bwMode="auto">
          <a:xfrm>
            <a:off x="935395" y="4470181"/>
            <a:ext cx="929883" cy="893554"/>
          </a:xfrm>
          <a:prstGeom prst="rect">
            <a:avLst/>
          </a:prstGeom>
          <a:noFill/>
          <a:extLst>
            <a:ext uri="{909E8E84-426E-40DD-AFC4-6F175D3DCCD1}">
              <a14:hiddenFill xmlns:a14="http://schemas.microsoft.com/office/drawing/2010/main">
                <a:solidFill>
                  <a:srgbClr val="FFFFFF"/>
                </a:solidFill>
              </a14:hiddenFill>
            </a:ext>
          </a:extLst>
        </p:spPr>
      </p:pic>
      <p:sp>
        <p:nvSpPr>
          <p:cNvPr id="5150" name="TextBox 5149">
            <a:extLst>
              <a:ext uri="{FF2B5EF4-FFF2-40B4-BE49-F238E27FC236}">
                <a16:creationId xmlns:a16="http://schemas.microsoft.com/office/drawing/2014/main" id="{DF2E09B7-0BEE-CE31-7664-786045881406}"/>
              </a:ext>
            </a:extLst>
          </p:cNvPr>
          <p:cNvSpPr txBox="1"/>
          <p:nvPr/>
        </p:nvSpPr>
        <p:spPr>
          <a:xfrm>
            <a:off x="1723342" y="4680807"/>
            <a:ext cx="1614027" cy="461665"/>
          </a:xfrm>
          <a:prstGeom prst="rect">
            <a:avLst/>
          </a:prstGeom>
          <a:noFill/>
          <a:effectLst>
            <a:outerShdw blurRad="50800" dist="38100" dir="5400000" algn="t" rotWithShape="0">
              <a:prstClr val="black">
                <a:alpha val="40000"/>
              </a:prstClr>
            </a:outerShdw>
          </a:effectLst>
        </p:spPr>
        <p:txBody>
          <a:bodyPr wrap="square" rtlCol="0">
            <a:spAutoFit/>
          </a:bodyPr>
          <a:lstStyle/>
          <a:p>
            <a:r>
              <a:rPr lang="en-US" sz="2000" b="1">
                <a:latin typeface="Noto IKEA Latin" panose="020B0502040504020204" pitchFamily="34" charset="0"/>
              </a:rPr>
              <a:t> </a:t>
            </a:r>
            <a:r>
              <a:rPr lang="en-US" sz="2400" b="1">
                <a:latin typeface="Noto IKEA Latin" panose="020B0502040504020204" pitchFamily="34" charset="0"/>
              </a:rPr>
              <a:t>Scouting</a:t>
            </a:r>
            <a:endParaRPr lang="sv-SE" sz="2400" b="1">
              <a:latin typeface="Noto IKEA Latin" panose="020B0502040504020204" pitchFamily="34" charset="0"/>
            </a:endParaRPr>
          </a:p>
        </p:txBody>
      </p:sp>
      <p:pic>
        <p:nvPicPr>
          <p:cNvPr id="5152" name="Picture 26" descr="Image result for trend icons">
            <a:extLst>
              <a:ext uri="{FF2B5EF4-FFF2-40B4-BE49-F238E27FC236}">
                <a16:creationId xmlns:a16="http://schemas.microsoft.com/office/drawing/2014/main" id="{83214461-0172-9E68-FC0A-6579110BC1F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776442" y="4269407"/>
            <a:ext cx="867060" cy="957176"/>
          </a:xfrm>
          <a:prstGeom prst="rect">
            <a:avLst/>
          </a:prstGeom>
          <a:noFill/>
          <a:extLst>
            <a:ext uri="{909E8E84-426E-40DD-AFC4-6F175D3DCCD1}">
              <a14:hiddenFill xmlns:a14="http://schemas.microsoft.com/office/drawing/2010/main">
                <a:solidFill>
                  <a:srgbClr val="FFFFFF"/>
                </a:solidFill>
              </a14:hiddenFill>
            </a:ext>
          </a:extLst>
        </p:spPr>
      </p:pic>
      <p:sp>
        <p:nvSpPr>
          <p:cNvPr id="5153" name="TextBox 5152">
            <a:extLst>
              <a:ext uri="{FF2B5EF4-FFF2-40B4-BE49-F238E27FC236}">
                <a16:creationId xmlns:a16="http://schemas.microsoft.com/office/drawing/2014/main" id="{4FB6C876-F3BD-40B6-1640-AA39CD5E735A}"/>
              </a:ext>
            </a:extLst>
          </p:cNvPr>
          <p:cNvSpPr txBox="1"/>
          <p:nvPr/>
        </p:nvSpPr>
        <p:spPr>
          <a:xfrm>
            <a:off x="6644430" y="4329851"/>
            <a:ext cx="2430339" cy="830997"/>
          </a:xfrm>
          <a:prstGeom prst="rect">
            <a:avLst/>
          </a:prstGeom>
          <a:noFill/>
          <a:effectLst>
            <a:outerShdw blurRad="50800" dist="38100" dir="5400000" algn="t" rotWithShape="0">
              <a:prstClr val="black">
                <a:alpha val="40000"/>
              </a:prstClr>
            </a:outerShdw>
          </a:effectLst>
        </p:spPr>
        <p:txBody>
          <a:bodyPr wrap="square" lIns="91440" tIns="45720" rIns="91440" bIns="45720" rtlCol="0" anchor="t">
            <a:spAutoFit/>
          </a:bodyPr>
          <a:lstStyle/>
          <a:p>
            <a:r>
              <a:rPr lang="en-US" sz="2400" b="1">
                <a:latin typeface="Noto IKEA Latin" panose="020B0502040504020204" pitchFamily="34" charset="0"/>
              </a:rPr>
              <a:t>Trend </a:t>
            </a:r>
            <a:br>
              <a:rPr lang="en-US" sz="2400" b="1">
                <a:latin typeface="Noto IKEA Latin" panose="020B0502040504020204" pitchFamily="34" charset="0"/>
              </a:rPr>
            </a:br>
            <a:r>
              <a:rPr lang="en-US" sz="2400" b="1">
                <a:latin typeface="Noto IKEA Latin" panose="020B0502040504020204" pitchFamily="34" charset="0"/>
              </a:rPr>
              <a:t>Management</a:t>
            </a:r>
            <a:endParaRPr lang="sv-SE" sz="2400" b="1">
              <a:latin typeface="Noto IKEA Latin" panose="020B0502040504020204" pitchFamily="34" charset="0"/>
            </a:endParaRPr>
          </a:p>
        </p:txBody>
      </p:sp>
      <p:cxnSp>
        <p:nvCxnSpPr>
          <p:cNvPr id="5176" name="Straight Arrow Connector 5175">
            <a:extLst>
              <a:ext uri="{FF2B5EF4-FFF2-40B4-BE49-F238E27FC236}">
                <a16:creationId xmlns:a16="http://schemas.microsoft.com/office/drawing/2014/main" id="{2567C5CB-C427-6800-62C5-8133B1AA0FC5}"/>
              </a:ext>
            </a:extLst>
          </p:cNvPr>
          <p:cNvCxnSpPr>
            <a:cxnSpLocks/>
          </p:cNvCxnSpPr>
          <p:nvPr/>
        </p:nvCxnSpPr>
        <p:spPr>
          <a:xfrm flipV="1">
            <a:off x="6700162" y="6962246"/>
            <a:ext cx="516192" cy="692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5177" name="TextBox 5176">
            <a:extLst>
              <a:ext uri="{FF2B5EF4-FFF2-40B4-BE49-F238E27FC236}">
                <a16:creationId xmlns:a16="http://schemas.microsoft.com/office/drawing/2014/main" id="{B843E637-8F9C-43AC-81FD-CCE0EC414852}"/>
              </a:ext>
            </a:extLst>
          </p:cNvPr>
          <p:cNvSpPr txBox="1"/>
          <p:nvPr/>
        </p:nvSpPr>
        <p:spPr>
          <a:xfrm rot="18149672">
            <a:off x="2897858" y="5535474"/>
            <a:ext cx="2233490" cy="1793417"/>
          </a:xfrm>
          <a:prstGeom prst="rect">
            <a:avLst/>
          </a:prstGeom>
          <a:noFill/>
          <a:effectLst>
            <a:outerShdw blurRad="50800" dist="38100" dir="5400000" algn="t" rotWithShape="0">
              <a:prstClr val="black">
                <a:alpha val="40000"/>
              </a:prstClr>
            </a:outerShdw>
          </a:effectLst>
        </p:spPr>
        <p:txBody>
          <a:bodyPr wrap="square" rtlCol="0">
            <a:prstTxWarp prst="textArchUp">
              <a:avLst/>
            </a:prstTxWarp>
            <a:spAutoFit/>
          </a:bodyPr>
          <a:lstStyle/>
          <a:p>
            <a:pPr algn="ctr"/>
            <a:r>
              <a:rPr lang="en-US" sz="1600" b="1">
                <a:latin typeface="Noto IKEA Latin" panose="020B0502040504020204" pitchFamily="34" charset="0"/>
              </a:rPr>
              <a:t>Capabilities</a:t>
            </a:r>
            <a:endParaRPr lang="sv-SE" sz="1600" b="1">
              <a:latin typeface="Noto IKEA Latin" panose="020B0502040504020204" pitchFamily="34" charset="0"/>
            </a:endParaRPr>
          </a:p>
        </p:txBody>
      </p:sp>
      <p:sp>
        <p:nvSpPr>
          <p:cNvPr id="37" name="TextBox 36">
            <a:extLst>
              <a:ext uri="{FF2B5EF4-FFF2-40B4-BE49-F238E27FC236}">
                <a16:creationId xmlns:a16="http://schemas.microsoft.com/office/drawing/2014/main" id="{F5534C46-A55B-F767-1233-B5D67091DA95}"/>
              </a:ext>
            </a:extLst>
          </p:cNvPr>
          <p:cNvSpPr txBox="1"/>
          <p:nvPr/>
        </p:nvSpPr>
        <p:spPr>
          <a:xfrm rot="441007">
            <a:off x="3656452" y="5179145"/>
            <a:ext cx="2177307" cy="1444936"/>
          </a:xfrm>
          <a:prstGeom prst="rect">
            <a:avLst/>
          </a:prstGeom>
          <a:noFill/>
          <a:effectLst>
            <a:outerShdw blurRad="50800" dist="38100" dir="5400000" algn="t" rotWithShape="0">
              <a:prstClr val="black">
                <a:alpha val="40000"/>
              </a:prstClr>
            </a:outerShdw>
          </a:effectLst>
        </p:spPr>
        <p:txBody>
          <a:bodyPr wrap="square" rtlCol="0">
            <a:prstTxWarp prst="textArchUp">
              <a:avLst/>
            </a:prstTxWarp>
            <a:spAutoFit/>
          </a:bodyPr>
          <a:lstStyle/>
          <a:p>
            <a:pPr algn="ctr"/>
            <a:endParaRPr lang="en-US" sz="1600" b="1">
              <a:latin typeface="Noto IKEA Latin" panose="020B0502040504020204" pitchFamily="34" charset="0"/>
            </a:endParaRPr>
          </a:p>
          <a:p>
            <a:pPr algn="ctr"/>
            <a:endParaRPr lang="en-US" sz="1600" b="1">
              <a:latin typeface="Noto IKEA Latin" panose="020B0502040504020204" pitchFamily="34" charset="0"/>
            </a:endParaRPr>
          </a:p>
          <a:p>
            <a:pPr algn="ctr"/>
            <a:r>
              <a:rPr lang="en-US" sz="1600" b="1">
                <a:latin typeface="Noto IKEA Latin" panose="020B0502040504020204" pitchFamily="34" charset="0"/>
              </a:rPr>
              <a:t>Customer Needs</a:t>
            </a:r>
            <a:endParaRPr lang="sv-SE" sz="1600" b="1">
              <a:latin typeface="Noto IKEA Latin" panose="020B0502040504020204" pitchFamily="34" charset="0"/>
            </a:endParaRPr>
          </a:p>
        </p:txBody>
      </p:sp>
      <p:sp>
        <p:nvSpPr>
          <p:cNvPr id="38" name="TextBox 37">
            <a:extLst>
              <a:ext uri="{FF2B5EF4-FFF2-40B4-BE49-F238E27FC236}">
                <a16:creationId xmlns:a16="http://schemas.microsoft.com/office/drawing/2014/main" id="{F6CE4CD4-23B8-DE63-6BF2-0B18B69A2CA4}"/>
              </a:ext>
            </a:extLst>
          </p:cNvPr>
          <p:cNvSpPr txBox="1"/>
          <p:nvPr/>
        </p:nvSpPr>
        <p:spPr>
          <a:xfrm rot="14400000">
            <a:off x="2710683" y="6443323"/>
            <a:ext cx="2221672" cy="1576500"/>
          </a:xfrm>
          <a:prstGeom prst="rect">
            <a:avLst/>
          </a:prstGeom>
          <a:noFill/>
          <a:effectLst>
            <a:outerShdw blurRad="50800" dist="38100" dir="5400000" algn="t" rotWithShape="0">
              <a:prstClr val="black">
                <a:alpha val="40000"/>
              </a:prstClr>
            </a:outerShdw>
          </a:effectLst>
        </p:spPr>
        <p:txBody>
          <a:bodyPr spcFirstLastPara="1" wrap="square" lIns="91440" tIns="45720" rIns="91440" bIns="45720" numCol="1" rtlCol="0" anchor="t">
            <a:prstTxWarp prst="textArchUp">
              <a:avLst/>
            </a:prstTxWarp>
            <a:spAutoFit/>
          </a:bodyPr>
          <a:lstStyle/>
          <a:p>
            <a:pPr algn="ctr"/>
            <a:r>
              <a:rPr lang="en-US" sz="1600" b="1">
                <a:latin typeface="Noto IKEA Latin"/>
              </a:rPr>
              <a:t>Business Needs</a:t>
            </a:r>
            <a:endParaRPr lang="sv-SE" sz="1600" b="1">
              <a:latin typeface="Noto IKEA Latin" panose="020B0502040504020204" pitchFamily="34" charset="0"/>
            </a:endParaRPr>
          </a:p>
        </p:txBody>
      </p:sp>
      <p:sp>
        <p:nvSpPr>
          <p:cNvPr id="39" name="TextBox 38">
            <a:extLst>
              <a:ext uri="{FF2B5EF4-FFF2-40B4-BE49-F238E27FC236}">
                <a16:creationId xmlns:a16="http://schemas.microsoft.com/office/drawing/2014/main" id="{B90110FE-ABCC-CB5E-F85B-BAB5DC3845F8}"/>
              </a:ext>
            </a:extLst>
          </p:cNvPr>
          <p:cNvSpPr txBox="1"/>
          <p:nvPr/>
        </p:nvSpPr>
        <p:spPr>
          <a:xfrm>
            <a:off x="3645170" y="7422561"/>
            <a:ext cx="2089665" cy="1260153"/>
          </a:xfrm>
          <a:prstGeom prst="rect">
            <a:avLst/>
          </a:prstGeom>
          <a:noFill/>
          <a:effectLst>
            <a:outerShdw blurRad="50800" dist="38100" dir="5400000" algn="t" rotWithShape="0">
              <a:prstClr val="black">
                <a:alpha val="40000"/>
              </a:prstClr>
            </a:outerShdw>
          </a:effectLst>
        </p:spPr>
        <p:txBody>
          <a:bodyPr wrap="square" rtlCol="0">
            <a:prstTxWarp prst="textArchDown">
              <a:avLst/>
            </a:prstTxWarp>
            <a:spAutoFit/>
          </a:bodyPr>
          <a:lstStyle/>
          <a:p>
            <a:pPr algn="ctr"/>
            <a:r>
              <a:rPr lang="en-US" sz="1600" b="1">
                <a:latin typeface="Noto IKEA Latin" panose="020B0502040504020204" pitchFamily="34" charset="0"/>
              </a:rPr>
              <a:t>Applied Science</a:t>
            </a:r>
            <a:endParaRPr lang="sv-SE" sz="1600" b="1">
              <a:latin typeface="Noto IKEA Latin" panose="020B0502040504020204" pitchFamily="34" charset="0"/>
            </a:endParaRPr>
          </a:p>
        </p:txBody>
      </p:sp>
      <p:sp>
        <p:nvSpPr>
          <p:cNvPr id="40" name="TextBox 39">
            <a:extLst>
              <a:ext uri="{FF2B5EF4-FFF2-40B4-BE49-F238E27FC236}">
                <a16:creationId xmlns:a16="http://schemas.microsoft.com/office/drawing/2014/main" id="{B5DEC3BB-9F49-FD07-8432-AE8D66B7C11F}"/>
              </a:ext>
            </a:extLst>
          </p:cNvPr>
          <p:cNvSpPr txBox="1"/>
          <p:nvPr/>
        </p:nvSpPr>
        <p:spPr>
          <a:xfrm rot="7078613">
            <a:off x="4471474" y="6564228"/>
            <a:ext cx="2245309" cy="1503362"/>
          </a:xfrm>
          <a:prstGeom prst="rect">
            <a:avLst/>
          </a:prstGeom>
          <a:noFill/>
          <a:effectLst>
            <a:outerShdw blurRad="50800" dist="38100" dir="5400000" algn="t" rotWithShape="0">
              <a:prstClr val="black">
                <a:alpha val="40000"/>
              </a:prstClr>
            </a:outerShdw>
          </a:effectLst>
        </p:spPr>
        <p:txBody>
          <a:bodyPr wrap="square" rtlCol="0">
            <a:prstTxWarp prst="textArchUp">
              <a:avLst/>
            </a:prstTxWarp>
            <a:spAutoFit/>
          </a:bodyPr>
          <a:lstStyle/>
          <a:p>
            <a:pPr algn="ctr"/>
            <a:r>
              <a:rPr lang="en-US" sz="1600" b="1">
                <a:latin typeface="Noto IKEA Latin" panose="020B0502040504020204" pitchFamily="34" charset="0"/>
              </a:rPr>
              <a:t>Environment</a:t>
            </a:r>
            <a:endParaRPr lang="sv-SE" sz="1600" b="1">
              <a:latin typeface="Noto IKEA Latin" panose="020B0502040504020204" pitchFamily="34" charset="0"/>
            </a:endParaRPr>
          </a:p>
        </p:txBody>
      </p:sp>
      <p:sp>
        <p:nvSpPr>
          <p:cNvPr id="41" name="TextBox 40">
            <a:extLst>
              <a:ext uri="{FF2B5EF4-FFF2-40B4-BE49-F238E27FC236}">
                <a16:creationId xmlns:a16="http://schemas.microsoft.com/office/drawing/2014/main" id="{C3104190-77BB-88FE-BFB0-BAF7786E9669}"/>
              </a:ext>
            </a:extLst>
          </p:cNvPr>
          <p:cNvSpPr txBox="1"/>
          <p:nvPr/>
        </p:nvSpPr>
        <p:spPr>
          <a:xfrm rot="3600000">
            <a:off x="4587305" y="5721235"/>
            <a:ext cx="2082687" cy="1391057"/>
          </a:xfrm>
          <a:prstGeom prst="rect">
            <a:avLst/>
          </a:prstGeom>
          <a:noFill/>
          <a:effectLst>
            <a:outerShdw blurRad="50800" dist="38100" dir="5400000" algn="t" rotWithShape="0">
              <a:prstClr val="black">
                <a:alpha val="40000"/>
              </a:prstClr>
            </a:outerShdw>
          </a:effectLst>
        </p:spPr>
        <p:txBody>
          <a:bodyPr spcFirstLastPara="1" wrap="square" numCol="1" rtlCol="0">
            <a:prstTxWarp prst="textArchUp">
              <a:avLst/>
            </a:prstTxWarp>
            <a:spAutoFit/>
          </a:bodyPr>
          <a:lstStyle>
            <a:defPPr>
              <a:defRPr lang="sv-SE"/>
            </a:defPPr>
            <a:lvl1pPr algn="ctr">
              <a:defRPr sz="800">
                <a:latin typeface="Noto IKEA Latin" panose="020B0502040504020204" pitchFamily="34" charset="0"/>
              </a:defRPr>
            </a:lvl1pPr>
          </a:lstStyle>
          <a:p>
            <a:r>
              <a:rPr lang="en-US" sz="1600" b="1"/>
              <a:t>Legislation</a:t>
            </a:r>
            <a:endParaRPr lang="sv-SE" sz="1600" b="1"/>
          </a:p>
        </p:txBody>
      </p:sp>
      <p:sp>
        <p:nvSpPr>
          <p:cNvPr id="42" name="TextBox 41">
            <a:extLst>
              <a:ext uri="{FF2B5EF4-FFF2-40B4-BE49-F238E27FC236}">
                <a16:creationId xmlns:a16="http://schemas.microsoft.com/office/drawing/2014/main" id="{58A46DF4-EEB7-2F6B-D621-A95AB1C627BC}"/>
              </a:ext>
            </a:extLst>
          </p:cNvPr>
          <p:cNvSpPr txBox="1"/>
          <p:nvPr/>
        </p:nvSpPr>
        <p:spPr>
          <a:xfrm>
            <a:off x="8417936" y="5931941"/>
            <a:ext cx="2268946" cy="400110"/>
          </a:xfrm>
          <a:prstGeom prst="rect">
            <a:avLst/>
          </a:prstGeom>
          <a:noFill/>
          <a:effectLst>
            <a:outerShdw blurRad="50800" dist="38100" dir="5400000" algn="t" rotWithShape="0">
              <a:prstClr val="black">
                <a:alpha val="40000"/>
              </a:prstClr>
            </a:outerShdw>
          </a:effectLst>
        </p:spPr>
        <p:txBody>
          <a:bodyPr wrap="square" rtlCol="0">
            <a:spAutoFit/>
          </a:bodyPr>
          <a:lstStyle/>
          <a:p>
            <a:pPr algn="ctr"/>
            <a:r>
              <a:rPr lang="en-US" sz="2000">
                <a:solidFill>
                  <a:schemeClr val="accent6">
                    <a:lumMod val="75000"/>
                  </a:schemeClr>
                </a:solidFill>
                <a:latin typeface="Noto IKEA Latin" panose="020B0502040504020204" pitchFamily="34" charset="0"/>
              </a:rPr>
              <a:t>Scenarios</a:t>
            </a:r>
            <a:endParaRPr lang="sv-SE" sz="2000">
              <a:solidFill>
                <a:schemeClr val="accent6">
                  <a:lumMod val="75000"/>
                </a:schemeClr>
              </a:solidFill>
              <a:latin typeface="Noto IKEA Latin" panose="020B0502040504020204" pitchFamily="34" charset="0"/>
            </a:endParaRPr>
          </a:p>
        </p:txBody>
      </p:sp>
      <p:sp>
        <p:nvSpPr>
          <p:cNvPr id="44" name="TextBox 43">
            <a:extLst>
              <a:ext uri="{FF2B5EF4-FFF2-40B4-BE49-F238E27FC236}">
                <a16:creationId xmlns:a16="http://schemas.microsoft.com/office/drawing/2014/main" id="{BC66BD3A-E374-BDF9-AFAA-EB2A4593919E}"/>
              </a:ext>
            </a:extLst>
          </p:cNvPr>
          <p:cNvSpPr txBox="1"/>
          <p:nvPr/>
        </p:nvSpPr>
        <p:spPr>
          <a:xfrm>
            <a:off x="8494728" y="7997975"/>
            <a:ext cx="2268946" cy="400110"/>
          </a:xfrm>
          <a:prstGeom prst="rect">
            <a:avLst/>
          </a:prstGeom>
          <a:noFill/>
          <a:effectLst>
            <a:outerShdw blurRad="50800" dist="38100" dir="5400000" algn="t" rotWithShape="0">
              <a:prstClr val="black">
                <a:alpha val="40000"/>
              </a:prstClr>
            </a:outerShdw>
          </a:effectLst>
        </p:spPr>
        <p:txBody>
          <a:bodyPr wrap="square" rtlCol="0">
            <a:spAutoFit/>
          </a:bodyPr>
          <a:lstStyle/>
          <a:p>
            <a:pPr algn="ctr"/>
            <a:r>
              <a:rPr lang="en-US" sz="2000">
                <a:solidFill>
                  <a:schemeClr val="bg1">
                    <a:lumMod val="50000"/>
                  </a:schemeClr>
                </a:solidFill>
                <a:latin typeface="Noto IKEA Latin" panose="020B0502040504020204" pitchFamily="34" charset="0"/>
              </a:rPr>
              <a:t>Challenges</a:t>
            </a:r>
            <a:endParaRPr lang="sv-SE" sz="2000">
              <a:solidFill>
                <a:schemeClr val="bg1">
                  <a:lumMod val="50000"/>
                </a:schemeClr>
              </a:solidFill>
              <a:latin typeface="Noto IKEA Latin" panose="020B0502040504020204" pitchFamily="34" charset="0"/>
            </a:endParaRPr>
          </a:p>
        </p:txBody>
      </p:sp>
      <p:sp>
        <p:nvSpPr>
          <p:cNvPr id="43" name="TextBox 42">
            <a:extLst>
              <a:ext uri="{FF2B5EF4-FFF2-40B4-BE49-F238E27FC236}">
                <a16:creationId xmlns:a16="http://schemas.microsoft.com/office/drawing/2014/main" id="{0100E8A9-BA19-585C-EC18-90D78612C4FE}"/>
              </a:ext>
            </a:extLst>
          </p:cNvPr>
          <p:cNvSpPr txBox="1"/>
          <p:nvPr/>
        </p:nvSpPr>
        <p:spPr>
          <a:xfrm>
            <a:off x="9868714" y="5638243"/>
            <a:ext cx="2268946" cy="707886"/>
          </a:xfrm>
          <a:prstGeom prst="rect">
            <a:avLst/>
          </a:prstGeom>
          <a:noFill/>
          <a:effectLst>
            <a:outerShdw blurRad="50800" dist="38100" dir="5400000" algn="t" rotWithShape="0">
              <a:prstClr val="black">
                <a:alpha val="40000"/>
              </a:prstClr>
            </a:outerShdw>
          </a:effectLst>
        </p:spPr>
        <p:txBody>
          <a:bodyPr wrap="square" rtlCol="0">
            <a:spAutoFit/>
          </a:bodyPr>
          <a:lstStyle/>
          <a:p>
            <a:pPr algn="ctr"/>
            <a:r>
              <a:rPr lang="en-US" sz="2000">
                <a:solidFill>
                  <a:schemeClr val="accent1">
                    <a:lumMod val="75000"/>
                  </a:schemeClr>
                </a:solidFill>
                <a:latin typeface="Noto IKEA Latin" panose="020B0502040504020204" pitchFamily="34" charset="0"/>
              </a:rPr>
              <a:t>Opportunity Spaces </a:t>
            </a:r>
            <a:endParaRPr lang="sv-SE" sz="2000">
              <a:solidFill>
                <a:schemeClr val="accent1">
                  <a:lumMod val="75000"/>
                </a:schemeClr>
              </a:solidFill>
              <a:latin typeface="Noto IKEA Latin" panose="020B0502040504020204" pitchFamily="34" charset="0"/>
            </a:endParaRPr>
          </a:p>
        </p:txBody>
      </p:sp>
      <p:sp>
        <p:nvSpPr>
          <p:cNvPr id="52" name="TextBox 51">
            <a:extLst>
              <a:ext uri="{FF2B5EF4-FFF2-40B4-BE49-F238E27FC236}">
                <a16:creationId xmlns:a16="http://schemas.microsoft.com/office/drawing/2014/main" id="{2D01CB9B-154D-59A3-B5DB-1F89F5428524}"/>
              </a:ext>
            </a:extLst>
          </p:cNvPr>
          <p:cNvSpPr txBox="1"/>
          <p:nvPr/>
        </p:nvSpPr>
        <p:spPr>
          <a:xfrm>
            <a:off x="6904470" y="7704159"/>
            <a:ext cx="2268946" cy="707886"/>
          </a:xfrm>
          <a:prstGeom prst="rect">
            <a:avLst/>
          </a:prstGeom>
          <a:noFill/>
          <a:effectLst>
            <a:outerShdw blurRad="50800" dist="38100" dir="5400000" algn="t" rotWithShape="0">
              <a:prstClr val="black">
                <a:alpha val="40000"/>
              </a:prstClr>
            </a:outerShdw>
          </a:effectLst>
        </p:spPr>
        <p:txBody>
          <a:bodyPr wrap="square" rtlCol="0">
            <a:spAutoFit/>
          </a:bodyPr>
          <a:lstStyle/>
          <a:p>
            <a:pPr algn="ctr"/>
            <a:r>
              <a:rPr lang="en-US" sz="2000">
                <a:latin typeface="Noto IKEA Latin" panose="020B0502040504020204" pitchFamily="34" charset="0"/>
              </a:rPr>
              <a:t>Strategic Foresight </a:t>
            </a:r>
            <a:endParaRPr lang="sv-SE" sz="2000">
              <a:latin typeface="Noto IKEA Latin" panose="020B0502040504020204" pitchFamily="34" charset="0"/>
            </a:endParaRPr>
          </a:p>
        </p:txBody>
      </p:sp>
      <p:sp>
        <p:nvSpPr>
          <p:cNvPr id="1056" name="Oval 1055">
            <a:extLst>
              <a:ext uri="{FF2B5EF4-FFF2-40B4-BE49-F238E27FC236}">
                <a16:creationId xmlns:a16="http://schemas.microsoft.com/office/drawing/2014/main" id="{8D9C9088-289D-681D-C8DC-AFFEABF38DAD}"/>
              </a:ext>
            </a:extLst>
          </p:cNvPr>
          <p:cNvSpPr/>
          <p:nvPr/>
        </p:nvSpPr>
        <p:spPr>
          <a:xfrm>
            <a:off x="12858937" y="8285732"/>
            <a:ext cx="126414" cy="126382"/>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cxnSp>
        <p:nvCxnSpPr>
          <p:cNvPr id="5183" name="Straight Connector 5182">
            <a:extLst>
              <a:ext uri="{FF2B5EF4-FFF2-40B4-BE49-F238E27FC236}">
                <a16:creationId xmlns:a16="http://schemas.microsoft.com/office/drawing/2014/main" id="{D881633B-ECAF-834F-B8F5-E120D55C39D2}"/>
              </a:ext>
            </a:extLst>
          </p:cNvPr>
          <p:cNvCxnSpPr>
            <a:cxnSpLocks/>
          </p:cNvCxnSpPr>
          <p:nvPr/>
        </p:nvCxnSpPr>
        <p:spPr>
          <a:xfrm>
            <a:off x="13727994" y="6263647"/>
            <a:ext cx="0" cy="2386709"/>
          </a:xfrm>
          <a:prstGeom prst="line">
            <a:avLst/>
          </a:prstGeom>
          <a:ln>
            <a:solidFill>
              <a:srgbClr val="002060"/>
            </a:solidFill>
            <a:prstDash val="sysDash"/>
            <a:headEnd type="none" w="med" len="med"/>
            <a:tailEnd type="none" w="med" len="med"/>
          </a:ln>
        </p:spPr>
        <p:style>
          <a:lnRef idx="3">
            <a:schemeClr val="accent1"/>
          </a:lnRef>
          <a:fillRef idx="0">
            <a:schemeClr val="accent1"/>
          </a:fillRef>
          <a:effectRef idx="2">
            <a:schemeClr val="accent1"/>
          </a:effectRef>
          <a:fontRef idx="minor">
            <a:schemeClr val="tx1"/>
          </a:fontRef>
        </p:style>
      </p:cxnSp>
      <p:cxnSp>
        <p:nvCxnSpPr>
          <p:cNvPr id="5198" name="Straight Connector 5197">
            <a:extLst>
              <a:ext uri="{FF2B5EF4-FFF2-40B4-BE49-F238E27FC236}">
                <a16:creationId xmlns:a16="http://schemas.microsoft.com/office/drawing/2014/main" id="{F8B81533-D6CE-AA6B-AEEF-AAAA4E8C6826}"/>
              </a:ext>
            </a:extLst>
          </p:cNvPr>
          <p:cNvCxnSpPr>
            <a:cxnSpLocks/>
          </p:cNvCxnSpPr>
          <p:nvPr/>
        </p:nvCxnSpPr>
        <p:spPr>
          <a:xfrm>
            <a:off x="14843717" y="6228912"/>
            <a:ext cx="0" cy="2153426"/>
          </a:xfrm>
          <a:prstGeom prst="line">
            <a:avLst/>
          </a:prstGeom>
          <a:ln>
            <a:solidFill>
              <a:srgbClr val="002060"/>
            </a:solidFill>
            <a:prstDash val="sysDash"/>
            <a:headEnd type="none" w="med" len="med"/>
            <a:tailEnd type="none" w="med" len="med"/>
          </a:ln>
        </p:spPr>
        <p:style>
          <a:lnRef idx="3">
            <a:schemeClr val="accent1"/>
          </a:lnRef>
          <a:fillRef idx="0">
            <a:schemeClr val="accent1"/>
          </a:fillRef>
          <a:effectRef idx="2">
            <a:schemeClr val="accent1"/>
          </a:effectRef>
          <a:fontRef idx="minor">
            <a:schemeClr val="tx1"/>
          </a:fontRef>
        </p:style>
      </p:cxnSp>
      <p:cxnSp>
        <p:nvCxnSpPr>
          <p:cNvPr id="5216" name="Straight Connector 5215">
            <a:extLst>
              <a:ext uri="{FF2B5EF4-FFF2-40B4-BE49-F238E27FC236}">
                <a16:creationId xmlns:a16="http://schemas.microsoft.com/office/drawing/2014/main" id="{CFB911E1-2FFE-4BDF-3479-C5A56EC5F56E}"/>
              </a:ext>
            </a:extLst>
          </p:cNvPr>
          <p:cNvCxnSpPr>
            <a:cxnSpLocks/>
          </p:cNvCxnSpPr>
          <p:nvPr/>
        </p:nvCxnSpPr>
        <p:spPr>
          <a:xfrm>
            <a:off x="14292077" y="6283846"/>
            <a:ext cx="0" cy="2153426"/>
          </a:xfrm>
          <a:prstGeom prst="line">
            <a:avLst/>
          </a:prstGeom>
          <a:ln>
            <a:solidFill>
              <a:srgbClr val="002060"/>
            </a:solidFill>
            <a:prstDash val="sysDash"/>
            <a:headEnd type="none" w="med" len="med"/>
            <a:tailEnd type="none" w="med" len="med"/>
          </a:ln>
        </p:spPr>
        <p:style>
          <a:lnRef idx="3">
            <a:schemeClr val="accent1"/>
          </a:lnRef>
          <a:fillRef idx="0">
            <a:schemeClr val="accent1"/>
          </a:fillRef>
          <a:effectRef idx="2">
            <a:schemeClr val="accent1"/>
          </a:effectRef>
          <a:fontRef idx="minor">
            <a:schemeClr val="tx1"/>
          </a:fontRef>
        </p:style>
      </p:cxnSp>
      <p:pic>
        <p:nvPicPr>
          <p:cNvPr id="2050" name="Picture 40" descr="Orange And Blue Color Idea Management Icon. 24191540 Vector Art at Vecteezy">
            <a:extLst>
              <a:ext uri="{FF2B5EF4-FFF2-40B4-BE49-F238E27FC236}">
                <a16:creationId xmlns:a16="http://schemas.microsoft.com/office/drawing/2014/main" id="{3F978AE0-A7B5-FBE2-1EBA-37AFD96A7D8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10867" y="4336796"/>
            <a:ext cx="521038" cy="820853"/>
          </a:xfrm>
          <a:prstGeom prst="rect">
            <a:avLst/>
          </a:prstGeom>
          <a:noFill/>
          <a:extLst>
            <a:ext uri="{909E8E84-426E-40DD-AFC4-6F175D3DCCD1}">
              <a14:hiddenFill xmlns:a14="http://schemas.microsoft.com/office/drawing/2010/main">
                <a:solidFill>
                  <a:srgbClr val="FFFFFF"/>
                </a:solidFill>
              </a14:hiddenFill>
            </a:ext>
          </a:extLst>
        </p:spPr>
      </p:pic>
      <p:sp>
        <p:nvSpPr>
          <p:cNvPr id="2054" name="TextBox 2053">
            <a:extLst>
              <a:ext uri="{FF2B5EF4-FFF2-40B4-BE49-F238E27FC236}">
                <a16:creationId xmlns:a16="http://schemas.microsoft.com/office/drawing/2014/main" id="{4D8BD775-32BC-F590-4032-6ED6480845D9}"/>
              </a:ext>
            </a:extLst>
          </p:cNvPr>
          <p:cNvSpPr txBox="1"/>
          <p:nvPr/>
        </p:nvSpPr>
        <p:spPr>
          <a:xfrm>
            <a:off x="13455906" y="4260766"/>
            <a:ext cx="2041351" cy="1015663"/>
          </a:xfrm>
          <a:prstGeom prst="rect">
            <a:avLst/>
          </a:prstGeom>
          <a:noFill/>
          <a:effectLst>
            <a:outerShdw blurRad="50800" dist="38100" dir="5400000" algn="t" rotWithShape="0">
              <a:prstClr val="black">
                <a:alpha val="40000"/>
              </a:prstClr>
            </a:outerShdw>
          </a:effectLst>
        </p:spPr>
        <p:txBody>
          <a:bodyPr wrap="square" rtlCol="0">
            <a:spAutoFit/>
          </a:bodyPr>
          <a:lstStyle/>
          <a:p>
            <a:r>
              <a:rPr lang="en-US" sz="2000">
                <a:latin typeface="Noto IKEA Latin" panose="020B0502040504020204" pitchFamily="34" charset="0"/>
              </a:rPr>
              <a:t>Challenges and opportunities  Management</a:t>
            </a:r>
            <a:endParaRPr lang="sv-SE" sz="2000">
              <a:latin typeface="Noto IKEA Latin" panose="020B0502040504020204" pitchFamily="34" charset="0"/>
            </a:endParaRPr>
          </a:p>
        </p:txBody>
      </p:sp>
      <p:sp>
        <p:nvSpPr>
          <p:cNvPr id="5275" name="TextBox 5274">
            <a:extLst>
              <a:ext uri="{FF2B5EF4-FFF2-40B4-BE49-F238E27FC236}">
                <a16:creationId xmlns:a16="http://schemas.microsoft.com/office/drawing/2014/main" id="{3BF1714F-8455-4FF2-B3E4-830F95399E8A}"/>
              </a:ext>
            </a:extLst>
          </p:cNvPr>
          <p:cNvSpPr txBox="1"/>
          <p:nvPr/>
        </p:nvSpPr>
        <p:spPr>
          <a:xfrm>
            <a:off x="16120287" y="6312070"/>
            <a:ext cx="2268946" cy="1477328"/>
          </a:xfrm>
          <a:prstGeom prst="rect">
            <a:avLst/>
          </a:prstGeom>
          <a:noFill/>
          <a:effectLst>
            <a:outerShdw blurRad="50800" dist="38100" dir="5400000" algn="t" rotWithShape="0">
              <a:prstClr val="black">
                <a:alpha val="40000"/>
              </a:prstClr>
            </a:outerShdw>
          </a:effectLst>
        </p:spPr>
        <p:txBody>
          <a:bodyPr wrap="square" rtlCol="0">
            <a:spAutoFit/>
          </a:bodyPr>
          <a:lstStyle/>
          <a:p>
            <a:pPr marL="285750" indent="-285750" algn="ctr">
              <a:buFont typeface="Arial" panose="020B0604020202020204" pitchFamily="34" charset="0"/>
              <a:buChar char="•"/>
            </a:pPr>
            <a:r>
              <a:rPr lang="en-US" sz="1800">
                <a:latin typeface="Noto IKEA Latin" panose="020B0502040504020204" pitchFamily="34" charset="0"/>
              </a:rPr>
              <a:t>Exploration and</a:t>
            </a:r>
            <a:br>
              <a:rPr lang="en-US" sz="1800">
                <a:latin typeface="Noto IKEA Latin" panose="020B0502040504020204" pitchFamily="34" charset="0"/>
              </a:rPr>
            </a:br>
            <a:r>
              <a:rPr lang="en-US" sz="1800">
                <a:latin typeface="Noto IKEA Latin" panose="020B0502040504020204" pitchFamily="34" charset="0"/>
              </a:rPr>
              <a:t>ideation phase</a:t>
            </a:r>
          </a:p>
          <a:p>
            <a:pPr marL="285750" indent="-285750" algn="ctr">
              <a:buFont typeface="Arial" panose="020B0604020202020204" pitchFamily="34" charset="0"/>
              <a:buChar char="•"/>
            </a:pPr>
            <a:endParaRPr lang="en-US" sz="1800">
              <a:latin typeface="Noto IKEA Latin" panose="020B0502040504020204" pitchFamily="34" charset="0"/>
            </a:endParaRPr>
          </a:p>
          <a:p>
            <a:pPr marL="285750" indent="-285750" algn="ctr">
              <a:buFont typeface="Arial" panose="020B0604020202020204" pitchFamily="34" charset="0"/>
              <a:buChar char="•"/>
            </a:pPr>
            <a:r>
              <a:rPr lang="en-US" sz="1800">
                <a:latin typeface="Noto IKEA Latin" panose="020B0502040504020204" pitchFamily="34" charset="0"/>
              </a:rPr>
              <a:t>Innovate and create phase</a:t>
            </a:r>
            <a:endParaRPr lang="sv-SE" sz="1800">
              <a:latin typeface="Noto IKEA Latin" panose="020B0502040504020204" pitchFamily="34" charset="0"/>
            </a:endParaRPr>
          </a:p>
        </p:txBody>
      </p:sp>
      <p:sp>
        <p:nvSpPr>
          <p:cNvPr id="5277" name="TextBox 5276">
            <a:extLst>
              <a:ext uri="{FF2B5EF4-FFF2-40B4-BE49-F238E27FC236}">
                <a16:creationId xmlns:a16="http://schemas.microsoft.com/office/drawing/2014/main" id="{59047ACF-7E13-1585-5393-398CB9F9A532}"/>
              </a:ext>
            </a:extLst>
          </p:cNvPr>
          <p:cNvSpPr txBox="1"/>
          <p:nvPr/>
        </p:nvSpPr>
        <p:spPr>
          <a:xfrm>
            <a:off x="15798015" y="4449486"/>
            <a:ext cx="2765523" cy="1631216"/>
          </a:xfrm>
          <a:prstGeom prst="rect">
            <a:avLst/>
          </a:prstGeom>
          <a:noFill/>
          <a:effectLst>
            <a:outerShdw blurRad="50800" dist="38100" dir="5400000" algn="t" rotWithShape="0">
              <a:prstClr val="black">
                <a:alpha val="40000"/>
              </a:prstClr>
            </a:outerShdw>
          </a:effectLst>
        </p:spPr>
        <p:txBody>
          <a:bodyPr wrap="square" rtlCol="0">
            <a:spAutoFit/>
          </a:bodyPr>
          <a:lstStyle/>
          <a:p>
            <a:pPr algn="ctr"/>
            <a:r>
              <a:rPr lang="en-US" sz="2000" b="1">
                <a:latin typeface="Noto IKEA Latin" panose="020B0502040504020204" pitchFamily="34" charset="0"/>
              </a:rPr>
              <a:t>Project Standard Approach </a:t>
            </a:r>
          </a:p>
          <a:p>
            <a:pPr algn="ctr"/>
            <a:endParaRPr lang="en-US" sz="2000" b="1">
              <a:latin typeface="Noto IKEA Latin" panose="020B0502040504020204" pitchFamily="34" charset="0"/>
            </a:endParaRPr>
          </a:p>
          <a:p>
            <a:pPr algn="ctr"/>
            <a:r>
              <a:rPr lang="en-US" sz="2000">
                <a:latin typeface="Noto IKEA Latin" panose="020B0502040504020204" pitchFamily="34" charset="0"/>
              </a:rPr>
              <a:t>Innovation Methodologies </a:t>
            </a:r>
            <a:endParaRPr lang="sv-SE" sz="2000">
              <a:latin typeface="Noto IKEA Latin" panose="020B0502040504020204" pitchFamily="34" charset="0"/>
            </a:endParaRPr>
          </a:p>
        </p:txBody>
      </p:sp>
      <p:sp>
        <p:nvSpPr>
          <p:cNvPr id="5336" name="TextBox 5335">
            <a:extLst>
              <a:ext uri="{FF2B5EF4-FFF2-40B4-BE49-F238E27FC236}">
                <a16:creationId xmlns:a16="http://schemas.microsoft.com/office/drawing/2014/main" id="{C2D1402C-EB66-326E-6EEF-5DAF2AB365C1}"/>
              </a:ext>
            </a:extLst>
          </p:cNvPr>
          <p:cNvSpPr txBox="1"/>
          <p:nvPr/>
        </p:nvSpPr>
        <p:spPr>
          <a:xfrm>
            <a:off x="17912708" y="5501503"/>
            <a:ext cx="2268946" cy="400110"/>
          </a:xfrm>
          <a:prstGeom prst="rect">
            <a:avLst/>
          </a:prstGeom>
          <a:noFill/>
          <a:effectLst>
            <a:outerShdw blurRad="50800" dist="38100" dir="5400000" algn="t" rotWithShape="0">
              <a:prstClr val="black">
                <a:alpha val="40000"/>
              </a:prstClr>
            </a:outerShdw>
          </a:effectLst>
        </p:spPr>
        <p:txBody>
          <a:bodyPr wrap="square" rtlCol="0">
            <a:spAutoFit/>
          </a:bodyPr>
          <a:lstStyle/>
          <a:p>
            <a:pPr algn="ctr"/>
            <a:r>
              <a:rPr lang="en-US" sz="2000">
                <a:latin typeface="Noto IKEA Latin" panose="020B0502040504020204" pitchFamily="34" charset="0"/>
              </a:rPr>
              <a:t>KPIs</a:t>
            </a:r>
            <a:endParaRPr lang="sv-SE" sz="2000">
              <a:latin typeface="Noto IKEA Latin" panose="020B0502040504020204" pitchFamily="34" charset="0"/>
            </a:endParaRPr>
          </a:p>
        </p:txBody>
      </p:sp>
      <p:sp>
        <p:nvSpPr>
          <p:cNvPr id="5352" name="TextBox 5351">
            <a:extLst>
              <a:ext uri="{FF2B5EF4-FFF2-40B4-BE49-F238E27FC236}">
                <a16:creationId xmlns:a16="http://schemas.microsoft.com/office/drawing/2014/main" id="{6E386646-83E8-AA1F-AA30-7CDFB6D16C8A}"/>
              </a:ext>
            </a:extLst>
          </p:cNvPr>
          <p:cNvSpPr txBox="1"/>
          <p:nvPr/>
        </p:nvSpPr>
        <p:spPr>
          <a:xfrm>
            <a:off x="21130767" y="4976523"/>
            <a:ext cx="2132475" cy="1015663"/>
          </a:xfrm>
          <a:prstGeom prst="rect">
            <a:avLst/>
          </a:prstGeom>
          <a:noFill/>
          <a:effectLst>
            <a:outerShdw blurRad="50800" dist="38100" dir="5400000" algn="t" rotWithShape="0">
              <a:prstClr val="black">
                <a:alpha val="40000"/>
              </a:prstClr>
            </a:outerShdw>
          </a:effectLst>
        </p:spPr>
        <p:txBody>
          <a:bodyPr wrap="square" rtlCol="0">
            <a:spAutoFit/>
          </a:bodyPr>
          <a:lstStyle/>
          <a:p>
            <a:pPr algn="ctr"/>
            <a:r>
              <a:rPr lang="en-US" sz="2000" b="1">
                <a:latin typeface="Noto IKEA Latin" panose="020B0502040504020204" pitchFamily="34" charset="0"/>
              </a:rPr>
              <a:t>IKEA Innovation Roadmapping</a:t>
            </a:r>
          </a:p>
        </p:txBody>
      </p:sp>
      <p:grpSp>
        <p:nvGrpSpPr>
          <p:cNvPr id="59" name="Group 58">
            <a:extLst>
              <a:ext uri="{FF2B5EF4-FFF2-40B4-BE49-F238E27FC236}">
                <a16:creationId xmlns:a16="http://schemas.microsoft.com/office/drawing/2014/main" id="{3C602D4B-3AB7-7988-E875-9ECB86F10DD3}"/>
              </a:ext>
            </a:extLst>
          </p:cNvPr>
          <p:cNvGrpSpPr/>
          <p:nvPr/>
        </p:nvGrpSpPr>
        <p:grpSpPr>
          <a:xfrm>
            <a:off x="18626169" y="6114950"/>
            <a:ext cx="831262" cy="2791198"/>
            <a:chOff x="9941195" y="3109879"/>
            <a:chExt cx="415658" cy="1395690"/>
          </a:xfrm>
        </p:grpSpPr>
        <p:grpSp>
          <p:nvGrpSpPr>
            <p:cNvPr id="55" name="Group 54">
              <a:extLst>
                <a:ext uri="{FF2B5EF4-FFF2-40B4-BE49-F238E27FC236}">
                  <a16:creationId xmlns:a16="http://schemas.microsoft.com/office/drawing/2014/main" id="{DB3BC1AB-345B-8A96-66BD-09676770FC53}"/>
                </a:ext>
              </a:extLst>
            </p:cNvPr>
            <p:cNvGrpSpPr/>
            <p:nvPr/>
          </p:nvGrpSpPr>
          <p:grpSpPr>
            <a:xfrm>
              <a:off x="9941195" y="4344280"/>
              <a:ext cx="415658" cy="161289"/>
              <a:chOff x="9941195" y="4344280"/>
              <a:chExt cx="415658" cy="161289"/>
            </a:xfrm>
          </p:grpSpPr>
          <p:sp>
            <p:nvSpPr>
              <p:cNvPr id="5297" name="Rectangle 5296">
                <a:extLst>
                  <a:ext uri="{FF2B5EF4-FFF2-40B4-BE49-F238E27FC236}">
                    <a16:creationId xmlns:a16="http://schemas.microsoft.com/office/drawing/2014/main" id="{89938000-9EDC-1595-54B4-FA37C9537D37}"/>
                  </a:ext>
                </a:extLst>
              </p:cNvPr>
              <p:cNvSpPr/>
              <p:nvPr/>
            </p:nvSpPr>
            <p:spPr>
              <a:xfrm>
                <a:off x="9941195" y="4344280"/>
                <a:ext cx="415658" cy="161289"/>
              </a:xfrm>
              <a:prstGeom prst="rect">
                <a:avLst/>
              </a:prstGeom>
              <a:solidFill>
                <a:schemeClr val="bg2"/>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298" name="Oval 5297">
                <a:extLst>
                  <a:ext uri="{FF2B5EF4-FFF2-40B4-BE49-F238E27FC236}">
                    <a16:creationId xmlns:a16="http://schemas.microsoft.com/office/drawing/2014/main" id="{3AA6EEAE-901F-294E-6D4C-D5AF87A6C3CF}"/>
                  </a:ext>
                </a:extLst>
              </p:cNvPr>
              <p:cNvSpPr/>
              <p:nvPr/>
            </p:nvSpPr>
            <p:spPr>
              <a:xfrm>
                <a:off x="9972691" y="4374058"/>
                <a:ext cx="111058" cy="111028"/>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299" name="Oval 5298">
                <a:extLst>
                  <a:ext uri="{FF2B5EF4-FFF2-40B4-BE49-F238E27FC236}">
                    <a16:creationId xmlns:a16="http://schemas.microsoft.com/office/drawing/2014/main" id="{25AD95B2-8B08-8BB0-9402-7C6D485E80C5}"/>
                  </a:ext>
                </a:extLst>
              </p:cNvPr>
              <p:cNvSpPr/>
              <p:nvPr/>
            </p:nvSpPr>
            <p:spPr>
              <a:xfrm>
                <a:off x="10095926" y="4374058"/>
                <a:ext cx="111058" cy="111028"/>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300" name="Oval 5299">
                <a:extLst>
                  <a:ext uri="{FF2B5EF4-FFF2-40B4-BE49-F238E27FC236}">
                    <a16:creationId xmlns:a16="http://schemas.microsoft.com/office/drawing/2014/main" id="{CCE46C8E-5911-24C0-4DB8-0513546A5B82}"/>
                  </a:ext>
                </a:extLst>
              </p:cNvPr>
              <p:cNvSpPr/>
              <p:nvPr/>
            </p:nvSpPr>
            <p:spPr>
              <a:xfrm>
                <a:off x="10219160" y="4374058"/>
                <a:ext cx="111058" cy="111028"/>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grpSp>
        <p:grpSp>
          <p:nvGrpSpPr>
            <p:cNvPr id="56" name="Group 55">
              <a:extLst>
                <a:ext uri="{FF2B5EF4-FFF2-40B4-BE49-F238E27FC236}">
                  <a16:creationId xmlns:a16="http://schemas.microsoft.com/office/drawing/2014/main" id="{42460B59-743B-620F-4824-4BCD1F1C0207}"/>
                </a:ext>
              </a:extLst>
            </p:cNvPr>
            <p:cNvGrpSpPr/>
            <p:nvPr/>
          </p:nvGrpSpPr>
          <p:grpSpPr>
            <a:xfrm>
              <a:off x="9941195" y="3937980"/>
              <a:ext cx="415658" cy="161289"/>
              <a:chOff x="9941195" y="3937980"/>
              <a:chExt cx="415658" cy="161289"/>
            </a:xfrm>
          </p:grpSpPr>
          <p:sp>
            <p:nvSpPr>
              <p:cNvPr id="13" name="Rectangle 12">
                <a:extLst>
                  <a:ext uri="{FF2B5EF4-FFF2-40B4-BE49-F238E27FC236}">
                    <a16:creationId xmlns:a16="http://schemas.microsoft.com/office/drawing/2014/main" id="{5DE3102D-5F3C-2DA4-F67B-B3D68D160BAF}"/>
                  </a:ext>
                </a:extLst>
              </p:cNvPr>
              <p:cNvSpPr/>
              <p:nvPr/>
            </p:nvSpPr>
            <p:spPr>
              <a:xfrm>
                <a:off x="9941195" y="3937980"/>
                <a:ext cx="415658" cy="161289"/>
              </a:xfrm>
              <a:prstGeom prst="rect">
                <a:avLst/>
              </a:prstGeom>
              <a:solidFill>
                <a:schemeClr val="bg2"/>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19" name="Oval 18">
                <a:extLst>
                  <a:ext uri="{FF2B5EF4-FFF2-40B4-BE49-F238E27FC236}">
                    <a16:creationId xmlns:a16="http://schemas.microsoft.com/office/drawing/2014/main" id="{42F94A54-B478-350D-887A-0E5503A4576D}"/>
                  </a:ext>
                </a:extLst>
              </p:cNvPr>
              <p:cNvSpPr/>
              <p:nvPr/>
            </p:nvSpPr>
            <p:spPr>
              <a:xfrm>
                <a:off x="9972691" y="3967758"/>
                <a:ext cx="111058" cy="111028"/>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20" name="Oval 19">
                <a:extLst>
                  <a:ext uri="{FF2B5EF4-FFF2-40B4-BE49-F238E27FC236}">
                    <a16:creationId xmlns:a16="http://schemas.microsoft.com/office/drawing/2014/main" id="{76478C8E-5C29-0519-D18A-441D327B55B8}"/>
                  </a:ext>
                </a:extLst>
              </p:cNvPr>
              <p:cNvSpPr/>
              <p:nvPr/>
            </p:nvSpPr>
            <p:spPr>
              <a:xfrm>
                <a:off x="10095926" y="3967758"/>
                <a:ext cx="111058" cy="111028"/>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21" name="Oval 20">
                <a:extLst>
                  <a:ext uri="{FF2B5EF4-FFF2-40B4-BE49-F238E27FC236}">
                    <a16:creationId xmlns:a16="http://schemas.microsoft.com/office/drawing/2014/main" id="{2AA028D7-F852-287D-8EB7-C42EEA248663}"/>
                  </a:ext>
                </a:extLst>
              </p:cNvPr>
              <p:cNvSpPr/>
              <p:nvPr/>
            </p:nvSpPr>
            <p:spPr>
              <a:xfrm>
                <a:off x="10219160" y="3967758"/>
                <a:ext cx="111058" cy="111028"/>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grpSp>
        <p:grpSp>
          <p:nvGrpSpPr>
            <p:cNvPr id="58" name="Group 57">
              <a:extLst>
                <a:ext uri="{FF2B5EF4-FFF2-40B4-BE49-F238E27FC236}">
                  <a16:creationId xmlns:a16="http://schemas.microsoft.com/office/drawing/2014/main" id="{CB4A1E14-EC55-4ED0-3BDC-AA5B070BDB27}"/>
                </a:ext>
              </a:extLst>
            </p:cNvPr>
            <p:cNvGrpSpPr/>
            <p:nvPr/>
          </p:nvGrpSpPr>
          <p:grpSpPr>
            <a:xfrm>
              <a:off x="9941195" y="3510311"/>
              <a:ext cx="415658" cy="161289"/>
              <a:chOff x="9941195" y="3510311"/>
              <a:chExt cx="415658" cy="161289"/>
            </a:xfrm>
          </p:grpSpPr>
          <p:sp>
            <p:nvSpPr>
              <p:cNvPr id="32" name="Rectangle 31">
                <a:extLst>
                  <a:ext uri="{FF2B5EF4-FFF2-40B4-BE49-F238E27FC236}">
                    <a16:creationId xmlns:a16="http://schemas.microsoft.com/office/drawing/2014/main" id="{F34C81FD-8363-5D68-D0D9-23C789D555CC}"/>
                  </a:ext>
                </a:extLst>
              </p:cNvPr>
              <p:cNvSpPr/>
              <p:nvPr/>
            </p:nvSpPr>
            <p:spPr>
              <a:xfrm>
                <a:off x="9941195" y="3510311"/>
                <a:ext cx="415658" cy="161289"/>
              </a:xfrm>
              <a:prstGeom prst="rect">
                <a:avLst/>
              </a:prstGeom>
              <a:solidFill>
                <a:schemeClr val="bg2"/>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33" name="Oval 32">
                <a:extLst>
                  <a:ext uri="{FF2B5EF4-FFF2-40B4-BE49-F238E27FC236}">
                    <a16:creationId xmlns:a16="http://schemas.microsoft.com/office/drawing/2014/main" id="{88C81974-8381-2537-D3B6-D411E27A9E05}"/>
                  </a:ext>
                </a:extLst>
              </p:cNvPr>
              <p:cNvSpPr/>
              <p:nvPr/>
            </p:nvSpPr>
            <p:spPr>
              <a:xfrm>
                <a:off x="9972691" y="3540089"/>
                <a:ext cx="111058" cy="111028"/>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34" name="Oval 33">
                <a:extLst>
                  <a:ext uri="{FF2B5EF4-FFF2-40B4-BE49-F238E27FC236}">
                    <a16:creationId xmlns:a16="http://schemas.microsoft.com/office/drawing/2014/main" id="{5424EBB5-D371-B127-5B0F-45CE376675F6}"/>
                  </a:ext>
                </a:extLst>
              </p:cNvPr>
              <p:cNvSpPr/>
              <p:nvPr/>
            </p:nvSpPr>
            <p:spPr>
              <a:xfrm>
                <a:off x="10095926" y="3540089"/>
                <a:ext cx="111058" cy="111028"/>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35" name="Oval 34">
                <a:extLst>
                  <a:ext uri="{FF2B5EF4-FFF2-40B4-BE49-F238E27FC236}">
                    <a16:creationId xmlns:a16="http://schemas.microsoft.com/office/drawing/2014/main" id="{F8EF6C26-8194-28A8-251A-1CC145D9B1B3}"/>
                  </a:ext>
                </a:extLst>
              </p:cNvPr>
              <p:cNvSpPr/>
              <p:nvPr/>
            </p:nvSpPr>
            <p:spPr>
              <a:xfrm>
                <a:off x="10219160" y="3540089"/>
                <a:ext cx="111058" cy="111028"/>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grpSp>
        <p:grpSp>
          <p:nvGrpSpPr>
            <p:cNvPr id="57" name="Group 56">
              <a:extLst>
                <a:ext uri="{FF2B5EF4-FFF2-40B4-BE49-F238E27FC236}">
                  <a16:creationId xmlns:a16="http://schemas.microsoft.com/office/drawing/2014/main" id="{2BD3010C-94ED-4888-DFE8-62F9F93FF3A2}"/>
                </a:ext>
              </a:extLst>
            </p:cNvPr>
            <p:cNvGrpSpPr/>
            <p:nvPr/>
          </p:nvGrpSpPr>
          <p:grpSpPr>
            <a:xfrm>
              <a:off x="9941195" y="3109879"/>
              <a:ext cx="415658" cy="161289"/>
              <a:chOff x="9941195" y="3109879"/>
              <a:chExt cx="415658" cy="161289"/>
            </a:xfrm>
          </p:grpSpPr>
          <p:sp>
            <p:nvSpPr>
              <p:cNvPr id="47" name="Rectangle 46">
                <a:extLst>
                  <a:ext uri="{FF2B5EF4-FFF2-40B4-BE49-F238E27FC236}">
                    <a16:creationId xmlns:a16="http://schemas.microsoft.com/office/drawing/2014/main" id="{A00989F6-CB88-F930-6ED0-34DEADA8EEC2}"/>
                  </a:ext>
                </a:extLst>
              </p:cNvPr>
              <p:cNvSpPr/>
              <p:nvPr/>
            </p:nvSpPr>
            <p:spPr>
              <a:xfrm>
                <a:off x="9941195" y="3109879"/>
                <a:ext cx="415658" cy="161289"/>
              </a:xfrm>
              <a:prstGeom prst="rect">
                <a:avLst/>
              </a:prstGeom>
              <a:solidFill>
                <a:schemeClr val="bg2"/>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0" name="Oval 49">
                <a:extLst>
                  <a:ext uri="{FF2B5EF4-FFF2-40B4-BE49-F238E27FC236}">
                    <a16:creationId xmlns:a16="http://schemas.microsoft.com/office/drawing/2014/main" id="{122B9A95-BE9B-29AA-4A26-99904E5EF4A0}"/>
                  </a:ext>
                </a:extLst>
              </p:cNvPr>
              <p:cNvSpPr/>
              <p:nvPr/>
            </p:nvSpPr>
            <p:spPr>
              <a:xfrm>
                <a:off x="9972691" y="3139657"/>
                <a:ext cx="111058" cy="111028"/>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3" name="Oval 52">
                <a:extLst>
                  <a:ext uri="{FF2B5EF4-FFF2-40B4-BE49-F238E27FC236}">
                    <a16:creationId xmlns:a16="http://schemas.microsoft.com/office/drawing/2014/main" id="{4C8BBC97-EE85-F461-57CB-EB7C4F945647}"/>
                  </a:ext>
                </a:extLst>
              </p:cNvPr>
              <p:cNvSpPr/>
              <p:nvPr/>
            </p:nvSpPr>
            <p:spPr>
              <a:xfrm>
                <a:off x="10095926" y="3139657"/>
                <a:ext cx="111058" cy="111028"/>
              </a:xfrm>
              <a:prstGeom prst="ellips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4" name="Oval 53">
                <a:extLst>
                  <a:ext uri="{FF2B5EF4-FFF2-40B4-BE49-F238E27FC236}">
                    <a16:creationId xmlns:a16="http://schemas.microsoft.com/office/drawing/2014/main" id="{522C7BA1-9696-F492-8471-999907B74D73}"/>
                  </a:ext>
                </a:extLst>
              </p:cNvPr>
              <p:cNvSpPr/>
              <p:nvPr/>
            </p:nvSpPr>
            <p:spPr>
              <a:xfrm>
                <a:off x="10219160" y="3139657"/>
                <a:ext cx="111058" cy="111028"/>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grpSp>
      </p:grpSp>
      <p:pic>
        <p:nvPicPr>
          <p:cNvPr id="1027" name="Picture 46" descr="Hotel Supplies UK | Free Next Day Delivery | Out of Eden">
            <a:extLst>
              <a:ext uri="{FF2B5EF4-FFF2-40B4-BE49-F238E27FC236}">
                <a16:creationId xmlns:a16="http://schemas.microsoft.com/office/drawing/2014/main" id="{4D72AF8D-EF54-5638-6A00-769AC9BF8AC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1262" t="17035" b="10872"/>
          <a:stretch/>
        </p:blipFill>
        <p:spPr bwMode="auto">
          <a:xfrm>
            <a:off x="21301200" y="6292146"/>
            <a:ext cx="420215" cy="440727"/>
          </a:xfrm>
          <a:prstGeom prst="rect">
            <a:avLst/>
          </a:prstGeom>
          <a:noFill/>
          <a:extLst>
            <a:ext uri="{909E8E84-426E-40DD-AFC4-6F175D3DCCD1}">
              <a14:hiddenFill xmlns:a14="http://schemas.microsoft.com/office/drawing/2010/main">
                <a:solidFill>
                  <a:srgbClr val="FFFFFF"/>
                </a:solidFill>
              </a14:hiddenFill>
            </a:ext>
          </a:extLst>
        </p:spPr>
      </p:pic>
      <p:sp>
        <p:nvSpPr>
          <p:cNvPr id="1028" name="TextBox 1027">
            <a:extLst>
              <a:ext uri="{FF2B5EF4-FFF2-40B4-BE49-F238E27FC236}">
                <a16:creationId xmlns:a16="http://schemas.microsoft.com/office/drawing/2014/main" id="{F3D0DE2D-D5CB-871A-2146-C3E3725097FF}"/>
              </a:ext>
            </a:extLst>
          </p:cNvPr>
          <p:cNvSpPr txBox="1"/>
          <p:nvPr/>
        </p:nvSpPr>
        <p:spPr>
          <a:xfrm>
            <a:off x="21684178" y="6259529"/>
            <a:ext cx="1403571" cy="400110"/>
          </a:xfrm>
          <a:prstGeom prst="rect">
            <a:avLst/>
          </a:prstGeom>
          <a:noFill/>
          <a:effectLst>
            <a:outerShdw blurRad="50800" dist="38100" dir="5400000" algn="t" rotWithShape="0">
              <a:prstClr val="black">
                <a:alpha val="40000"/>
              </a:prstClr>
            </a:outerShdw>
          </a:effectLst>
        </p:spPr>
        <p:txBody>
          <a:bodyPr wrap="square" rtlCol="0">
            <a:spAutoFit/>
          </a:bodyPr>
          <a:lstStyle/>
          <a:p>
            <a:r>
              <a:rPr lang="en-US" sz="2000">
                <a:latin typeface="Noto IKEA Latin" panose="020B0502040504020204" pitchFamily="34" charset="0"/>
              </a:rPr>
              <a:t> Solutions</a:t>
            </a:r>
            <a:endParaRPr lang="sv-SE" sz="2000">
              <a:latin typeface="Noto IKEA Latin" panose="020B0502040504020204" pitchFamily="34" charset="0"/>
            </a:endParaRPr>
          </a:p>
        </p:txBody>
      </p:sp>
      <p:sp>
        <p:nvSpPr>
          <p:cNvPr id="45" name="TextBox 44">
            <a:extLst>
              <a:ext uri="{FF2B5EF4-FFF2-40B4-BE49-F238E27FC236}">
                <a16:creationId xmlns:a16="http://schemas.microsoft.com/office/drawing/2014/main" id="{20FBAC37-A417-409F-DC76-622207A15345}"/>
              </a:ext>
            </a:extLst>
          </p:cNvPr>
          <p:cNvSpPr txBox="1"/>
          <p:nvPr/>
        </p:nvSpPr>
        <p:spPr>
          <a:xfrm>
            <a:off x="9694723" y="8143346"/>
            <a:ext cx="2268946" cy="400110"/>
          </a:xfrm>
          <a:prstGeom prst="rect">
            <a:avLst/>
          </a:prstGeom>
          <a:noFill/>
          <a:effectLst>
            <a:outerShdw blurRad="50800" dist="38100" dir="5400000" algn="t" rotWithShape="0">
              <a:prstClr val="black">
                <a:alpha val="40000"/>
              </a:prstClr>
            </a:outerShdw>
          </a:effectLst>
        </p:spPr>
        <p:txBody>
          <a:bodyPr wrap="square" rtlCol="0">
            <a:spAutoFit/>
          </a:bodyPr>
          <a:lstStyle/>
          <a:p>
            <a:pPr algn="ctr"/>
            <a:r>
              <a:rPr lang="en-US" sz="2000">
                <a:solidFill>
                  <a:schemeClr val="bg2">
                    <a:lumMod val="25000"/>
                  </a:schemeClr>
                </a:solidFill>
                <a:latin typeface="Noto IKEA Latin" panose="020B0502040504020204" pitchFamily="34" charset="0"/>
              </a:rPr>
              <a:t>Ideas</a:t>
            </a:r>
            <a:endParaRPr lang="sv-SE" sz="2000">
              <a:solidFill>
                <a:schemeClr val="bg2">
                  <a:lumMod val="25000"/>
                </a:schemeClr>
              </a:solidFill>
              <a:latin typeface="Noto IKEA Latin" panose="020B0502040504020204" pitchFamily="34" charset="0"/>
            </a:endParaRPr>
          </a:p>
        </p:txBody>
      </p:sp>
      <p:grpSp>
        <p:nvGrpSpPr>
          <p:cNvPr id="1045" name="Group 1044">
            <a:extLst>
              <a:ext uri="{FF2B5EF4-FFF2-40B4-BE49-F238E27FC236}">
                <a16:creationId xmlns:a16="http://schemas.microsoft.com/office/drawing/2014/main" id="{E88298E9-C6D5-7151-02BC-A57A9CC9C8DB}"/>
              </a:ext>
            </a:extLst>
          </p:cNvPr>
          <p:cNvGrpSpPr/>
          <p:nvPr/>
        </p:nvGrpSpPr>
        <p:grpSpPr>
          <a:xfrm>
            <a:off x="20383639" y="5223136"/>
            <a:ext cx="937675" cy="645880"/>
            <a:chOff x="10834791" y="3644909"/>
            <a:chExt cx="282547" cy="209337"/>
          </a:xfrm>
        </p:grpSpPr>
        <p:sp>
          <p:nvSpPr>
            <p:cNvPr id="1040" name="Oval 1039">
              <a:extLst>
                <a:ext uri="{FF2B5EF4-FFF2-40B4-BE49-F238E27FC236}">
                  <a16:creationId xmlns:a16="http://schemas.microsoft.com/office/drawing/2014/main" id="{4DA6A8D8-1867-997A-4FE1-8726D000AB4B}"/>
                </a:ext>
              </a:extLst>
            </p:cNvPr>
            <p:cNvSpPr/>
            <p:nvPr/>
          </p:nvSpPr>
          <p:spPr>
            <a:xfrm>
              <a:off x="10834791" y="3644909"/>
              <a:ext cx="282547" cy="209337"/>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600">
                <a:latin typeface="Noto IKEA Latin" panose="020B0502040504020204" pitchFamily="34" charset="0"/>
              </a:endParaRPr>
            </a:p>
          </p:txBody>
        </p:sp>
        <p:sp>
          <p:nvSpPr>
            <p:cNvPr id="1041" name="Rectangle: Rounded Corners 1040">
              <a:extLst>
                <a:ext uri="{FF2B5EF4-FFF2-40B4-BE49-F238E27FC236}">
                  <a16:creationId xmlns:a16="http://schemas.microsoft.com/office/drawing/2014/main" id="{73640600-C8CF-7ECC-75DA-0B9AB2801F3C}"/>
                </a:ext>
              </a:extLst>
            </p:cNvPr>
            <p:cNvSpPr/>
            <p:nvPr/>
          </p:nvSpPr>
          <p:spPr>
            <a:xfrm flipV="1">
              <a:off x="10879503" y="3697683"/>
              <a:ext cx="105040" cy="45719"/>
            </a:xfrm>
            <a:prstGeom prst="roundRect">
              <a:avLst/>
            </a:prstGeom>
            <a:solidFill>
              <a:srgbClr val="D5CAE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1042" name="Rectangle: Rounded Corners 1041">
              <a:extLst>
                <a:ext uri="{FF2B5EF4-FFF2-40B4-BE49-F238E27FC236}">
                  <a16:creationId xmlns:a16="http://schemas.microsoft.com/office/drawing/2014/main" id="{7ADEBB38-7260-57D7-58CB-6AFB4D382CF9}"/>
                </a:ext>
              </a:extLst>
            </p:cNvPr>
            <p:cNvSpPr/>
            <p:nvPr/>
          </p:nvSpPr>
          <p:spPr>
            <a:xfrm flipH="1">
              <a:off x="10878046" y="3770672"/>
              <a:ext cx="105040" cy="45719"/>
            </a:xfrm>
            <a:prstGeom prst="roundRect">
              <a:avLst/>
            </a:prstGeom>
            <a:solidFill>
              <a:srgbClr val="D5CAE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1043" name="Rectangle: Rounded Corners 1042">
              <a:extLst>
                <a:ext uri="{FF2B5EF4-FFF2-40B4-BE49-F238E27FC236}">
                  <a16:creationId xmlns:a16="http://schemas.microsoft.com/office/drawing/2014/main" id="{FF4570C5-2E2B-1E7F-90F1-472F0E6AB379}"/>
                </a:ext>
              </a:extLst>
            </p:cNvPr>
            <p:cNvSpPr/>
            <p:nvPr/>
          </p:nvSpPr>
          <p:spPr>
            <a:xfrm flipH="1">
              <a:off x="10993246" y="3732568"/>
              <a:ext cx="105040" cy="45719"/>
            </a:xfrm>
            <a:prstGeom prst="roundRect">
              <a:avLst/>
            </a:prstGeom>
            <a:solidFill>
              <a:srgbClr val="D5CAE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grpSp>
      <p:sp>
        <p:nvSpPr>
          <p:cNvPr id="1052" name="TextBox 1051">
            <a:extLst>
              <a:ext uri="{FF2B5EF4-FFF2-40B4-BE49-F238E27FC236}">
                <a16:creationId xmlns:a16="http://schemas.microsoft.com/office/drawing/2014/main" id="{40F28E2C-140E-503D-8220-6D51EB7E7A51}"/>
              </a:ext>
            </a:extLst>
          </p:cNvPr>
          <p:cNvSpPr txBox="1"/>
          <p:nvPr/>
        </p:nvSpPr>
        <p:spPr>
          <a:xfrm>
            <a:off x="21578429" y="7028315"/>
            <a:ext cx="2316194" cy="400110"/>
          </a:xfrm>
          <a:prstGeom prst="rect">
            <a:avLst/>
          </a:prstGeom>
          <a:noFill/>
          <a:effectLst>
            <a:outerShdw blurRad="50800" dist="38100" dir="5400000" algn="t" rotWithShape="0">
              <a:prstClr val="black">
                <a:alpha val="40000"/>
              </a:prstClr>
            </a:outerShdw>
          </a:effectLst>
        </p:spPr>
        <p:txBody>
          <a:bodyPr wrap="square" rtlCol="0">
            <a:spAutoFit/>
          </a:bodyPr>
          <a:lstStyle/>
          <a:p>
            <a:pPr algn="ctr"/>
            <a:r>
              <a:rPr lang="en-US" sz="2000">
                <a:latin typeface="Noto IKEA Latin" panose="020B0502040504020204" pitchFamily="34" charset="0"/>
              </a:rPr>
              <a:t>Technologies</a:t>
            </a:r>
            <a:endParaRPr lang="sv-SE" sz="2000">
              <a:latin typeface="Noto IKEA Latin" panose="020B0502040504020204" pitchFamily="34" charset="0"/>
            </a:endParaRPr>
          </a:p>
        </p:txBody>
      </p:sp>
      <p:sp>
        <p:nvSpPr>
          <p:cNvPr id="1064" name="TextBox 1063">
            <a:extLst>
              <a:ext uri="{FF2B5EF4-FFF2-40B4-BE49-F238E27FC236}">
                <a16:creationId xmlns:a16="http://schemas.microsoft.com/office/drawing/2014/main" id="{B1F8A96C-2382-DED7-66D6-1A3C14C250D9}"/>
              </a:ext>
            </a:extLst>
          </p:cNvPr>
          <p:cNvSpPr txBox="1"/>
          <p:nvPr/>
        </p:nvSpPr>
        <p:spPr>
          <a:xfrm>
            <a:off x="21507633" y="7813293"/>
            <a:ext cx="2138545" cy="400110"/>
          </a:xfrm>
          <a:prstGeom prst="rect">
            <a:avLst/>
          </a:prstGeom>
          <a:noFill/>
          <a:effectLst>
            <a:outerShdw blurRad="50800" dist="38100" dir="5400000" algn="t" rotWithShape="0">
              <a:prstClr val="black">
                <a:alpha val="40000"/>
              </a:prstClr>
            </a:outerShdw>
          </a:effectLst>
        </p:spPr>
        <p:txBody>
          <a:bodyPr wrap="square" rtlCol="0">
            <a:spAutoFit/>
          </a:bodyPr>
          <a:lstStyle/>
          <a:p>
            <a:pPr algn="ctr"/>
            <a:r>
              <a:rPr lang="en-US" sz="2000">
                <a:latin typeface="Noto IKEA Latin" panose="020B0502040504020204" pitchFamily="34" charset="0"/>
              </a:rPr>
              <a:t>Equipment</a:t>
            </a:r>
            <a:endParaRPr lang="sv-SE" sz="2000">
              <a:latin typeface="Noto IKEA Latin" panose="020B0502040504020204" pitchFamily="34" charset="0"/>
            </a:endParaRPr>
          </a:p>
        </p:txBody>
      </p:sp>
      <p:cxnSp>
        <p:nvCxnSpPr>
          <p:cNvPr id="5121" name="Straight Connector 5120">
            <a:extLst>
              <a:ext uri="{FF2B5EF4-FFF2-40B4-BE49-F238E27FC236}">
                <a16:creationId xmlns:a16="http://schemas.microsoft.com/office/drawing/2014/main" id="{058A1BAE-5A1B-F79D-E2EC-8AE035040297}"/>
              </a:ext>
            </a:extLst>
          </p:cNvPr>
          <p:cNvCxnSpPr>
            <a:cxnSpLocks/>
          </p:cNvCxnSpPr>
          <p:nvPr/>
        </p:nvCxnSpPr>
        <p:spPr>
          <a:xfrm flipH="1">
            <a:off x="20763698" y="6114950"/>
            <a:ext cx="11969" cy="2774729"/>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102" name="TextBox 2101">
            <a:extLst>
              <a:ext uri="{FF2B5EF4-FFF2-40B4-BE49-F238E27FC236}">
                <a16:creationId xmlns:a16="http://schemas.microsoft.com/office/drawing/2014/main" id="{65C16827-74C7-81AB-E32D-1B85FF65D8F9}"/>
              </a:ext>
            </a:extLst>
          </p:cNvPr>
          <p:cNvSpPr txBox="1"/>
          <p:nvPr/>
        </p:nvSpPr>
        <p:spPr>
          <a:xfrm>
            <a:off x="1417988" y="1750692"/>
            <a:ext cx="6058385" cy="1015663"/>
          </a:xfrm>
          <a:prstGeom prst="rect">
            <a:avLst/>
          </a:prstGeom>
          <a:noFill/>
          <a:effectLst>
            <a:outerShdw blurRad="50800" dist="38100" dir="5400000" algn="t" rotWithShape="0">
              <a:prstClr val="black">
                <a:alpha val="40000"/>
              </a:prstClr>
            </a:outerShdw>
          </a:effectLst>
        </p:spPr>
        <p:txBody>
          <a:bodyPr wrap="square" rtlCol="0">
            <a:spAutoFit/>
          </a:bodyPr>
          <a:lstStyle/>
          <a:p>
            <a:pPr algn="ctr"/>
            <a:r>
              <a:rPr lang="en-US" sz="3000">
                <a:latin typeface="Noto IKEA Latin" panose="020B0502040504020204" pitchFamily="34" charset="0"/>
              </a:rPr>
              <a:t>Business and Technology Strategic Foresight</a:t>
            </a:r>
            <a:endParaRPr lang="sv-SE" sz="3000">
              <a:latin typeface="Noto IKEA Latin" panose="020B0502040504020204" pitchFamily="34" charset="0"/>
            </a:endParaRPr>
          </a:p>
        </p:txBody>
      </p:sp>
      <p:sp>
        <p:nvSpPr>
          <p:cNvPr id="2103" name="TextBox 2102">
            <a:extLst>
              <a:ext uri="{FF2B5EF4-FFF2-40B4-BE49-F238E27FC236}">
                <a16:creationId xmlns:a16="http://schemas.microsoft.com/office/drawing/2014/main" id="{B45512E7-4479-91D1-564B-1CBC62CF1375}"/>
              </a:ext>
            </a:extLst>
          </p:cNvPr>
          <p:cNvSpPr txBox="1"/>
          <p:nvPr/>
        </p:nvSpPr>
        <p:spPr>
          <a:xfrm>
            <a:off x="10034958" y="1947187"/>
            <a:ext cx="5266903" cy="1015663"/>
          </a:xfrm>
          <a:prstGeom prst="rect">
            <a:avLst/>
          </a:prstGeom>
          <a:noFill/>
          <a:effectLst>
            <a:outerShdw blurRad="50800" dist="38100" dir="5400000" algn="t" rotWithShape="0">
              <a:prstClr val="black">
                <a:alpha val="40000"/>
              </a:prstClr>
            </a:outerShdw>
          </a:effectLst>
        </p:spPr>
        <p:txBody>
          <a:bodyPr wrap="square" rtlCol="0">
            <a:spAutoFit/>
          </a:bodyPr>
          <a:lstStyle/>
          <a:p>
            <a:pPr algn="ctr"/>
            <a:r>
              <a:rPr lang="en-US" sz="3000">
                <a:latin typeface="Noto IKEA Latin" panose="020B0502040504020204" pitchFamily="34" charset="0"/>
              </a:rPr>
              <a:t>Innovation Project Portfolio Management</a:t>
            </a:r>
            <a:endParaRPr lang="sv-SE" sz="3000">
              <a:latin typeface="Noto IKEA Latin" panose="020B0502040504020204" pitchFamily="34" charset="0"/>
            </a:endParaRPr>
          </a:p>
        </p:txBody>
      </p:sp>
      <p:cxnSp>
        <p:nvCxnSpPr>
          <p:cNvPr id="2106" name="Straight Connector 2105">
            <a:extLst>
              <a:ext uri="{FF2B5EF4-FFF2-40B4-BE49-F238E27FC236}">
                <a16:creationId xmlns:a16="http://schemas.microsoft.com/office/drawing/2014/main" id="{F9182345-71E0-633C-D6E7-E6EC27EECE82}"/>
              </a:ext>
            </a:extLst>
          </p:cNvPr>
          <p:cNvCxnSpPr>
            <a:cxnSpLocks/>
          </p:cNvCxnSpPr>
          <p:nvPr/>
        </p:nvCxnSpPr>
        <p:spPr>
          <a:xfrm flipH="1">
            <a:off x="8771279" y="1396363"/>
            <a:ext cx="149206" cy="9904806"/>
          </a:xfrm>
          <a:prstGeom prst="line">
            <a:avLst/>
          </a:prstGeom>
          <a:ln w="9525"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184" name="TextBox 5183">
            <a:extLst>
              <a:ext uri="{FF2B5EF4-FFF2-40B4-BE49-F238E27FC236}">
                <a16:creationId xmlns:a16="http://schemas.microsoft.com/office/drawing/2014/main" id="{EAF98FE7-48F1-594B-D0FB-76E07CA59BCA}"/>
              </a:ext>
            </a:extLst>
          </p:cNvPr>
          <p:cNvSpPr txBox="1"/>
          <p:nvPr/>
        </p:nvSpPr>
        <p:spPr>
          <a:xfrm>
            <a:off x="10394541" y="1270268"/>
            <a:ext cx="4313391" cy="400110"/>
          </a:xfrm>
          <a:prstGeom prst="rect">
            <a:avLst/>
          </a:prstGeom>
          <a:noFill/>
          <a:effectLst>
            <a:outerShdw blurRad="50800" dist="38100" dir="5400000" algn="t" rotWithShape="0">
              <a:prstClr val="black">
                <a:alpha val="40000"/>
              </a:prstClr>
            </a:outerShdw>
          </a:effectLst>
        </p:spPr>
        <p:txBody>
          <a:bodyPr wrap="square" rtlCol="0">
            <a:spAutoFit/>
          </a:bodyPr>
          <a:lstStyle/>
          <a:p>
            <a:pPr algn="ctr"/>
            <a:r>
              <a:rPr lang="en-US" sz="2000">
                <a:latin typeface="Noto IKEA Latin" panose="020B0502040504020204" pitchFamily="34" charset="0"/>
              </a:rPr>
              <a:t>How to gain advantages?</a:t>
            </a:r>
            <a:endParaRPr lang="sv-SE" sz="2000">
              <a:latin typeface="Noto IKEA Latin" panose="020B0502040504020204" pitchFamily="34" charset="0"/>
            </a:endParaRPr>
          </a:p>
        </p:txBody>
      </p:sp>
      <p:sp>
        <p:nvSpPr>
          <p:cNvPr id="5185" name="TextBox 5184">
            <a:extLst>
              <a:ext uri="{FF2B5EF4-FFF2-40B4-BE49-F238E27FC236}">
                <a16:creationId xmlns:a16="http://schemas.microsoft.com/office/drawing/2014/main" id="{A773D990-A86A-2563-8F0B-60B5BC10F53A}"/>
              </a:ext>
            </a:extLst>
          </p:cNvPr>
          <p:cNvSpPr txBox="1"/>
          <p:nvPr/>
        </p:nvSpPr>
        <p:spPr>
          <a:xfrm>
            <a:off x="16548861" y="1411218"/>
            <a:ext cx="3028439" cy="408848"/>
          </a:xfrm>
          <a:prstGeom prst="rect">
            <a:avLst/>
          </a:prstGeom>
          <a:noFill/>
          <a:effectLst>
            <a:outerShdw blurRad="50800" dist="38100" dir="5400000" algn="t" rotWithShape="0">
              <a:prstClr val="black">
                <a:alpha val="40000"/>
              </a:prstClr>
            </a:outerShdw>
          </a:effectLst>
        </p:spPr>
        <p:txBody>
          <a:bodyPr wrap="square" rtlCol="0">
            <a:spAutoFit/>
          </a:bodyPr>
          <a:lstStyle/>
          <a:p>
            <a:pPr algn="ctr"/>
            <a:r>
              <a:rPr lang="en-US" sz="2000">
                <a:latin typeface="Noto IKEA Latin" panose="020B0502040504020204" pitchFamily="34" charset="0"/>
              </a:rPr>
              <a:t>How to execute?</a:t>
            </a:r>
            <a:endParaRPr lang="sv-SE" sz="2000">
              <a:latin typeface="Noto IKEA Latin" panose="020B0502040504020204" pitchFamily="34" charset="0"/>
            </a:endParaRPr>
          </a:p>
        </p:txBody>
      </p:sp>
      <p:sp>
        <p:nvSpPr>
          <p:cNvPr id="5209" name="Rectangle: Rounded Corners 5208">
            <a:extLst>
              <a:ext uri="{FF2B5EF4-FFF2-40B4-BE49-F238E27FC236}">
                <a16:creationId xmlns:a16="http://schemas.microsoft.com/office/drawing/2014/main" id="{A2DD1A64-275B-4D9C-76CF-104AC9E988BB}"/>
              </a:ext>
            </a:extLst>
          </p:cNvPr>
          <p:cNvSpPr/>
          <p:nvPr/>
        </p:nvSpPr>
        <p:spPr>
          <a:xfrm>
            <a:off x="237878" y="11580922"/>
            <a:ext cx="8487422" cy="1178495"/>
          </a:xfrm>
          <a:prstGeom prst="roundRect">
            <a:avLst/>
          </a:prstGeom>
          <a:solidFill>
            <a:srgbClr val="FFDA00"/>
          </a:solidFill>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tx1"/>
                </a:solidFill>
                <a:latin typeface="Noto IKEA Latin" panose="020B0502040504020204" pitchFamily="34" charset="0"/>
              </a:rPr>
              <a:t>Strategy &amp; Foresight</a:t>
            </a:r>
            <a:endParaRPr lang="sv-SE" sz="2400" b="1">
              <a:solidFill>
                <a:schemeClr val="tx1"/>
              </a:solidFill>
              <a:latin typeface="Noto IKEA Latin" panose="020B0502040504020204" pitchFamily="34" charset="0"/>
            </a:endParaRPr>
          </a:p>
        </p:txBody>
      </p:sp>
      <p:sp>
        <p:nvSpPr>
          <p:cNvPr id="5211" name="Rectangle: Rounded Corners 5210">
            <a:extLst>
              <a:ext uri="{FF2B5EF4-FFF2-40B4-BE49-F238E27FC236}">
                <a16:creationId xmlns:a16="http://schemas.microsoft.com/office/drawing/2014/main" id="{4A9CE648-7C60-4112-039B-BC8410C79C0B}"/>
              </a:ext>
            </a:extLst>
          </p:cNvPr>
          <p:cNvSpPr/>
          <p:nvPr/>
        </p:nvSpPr>
        <p:spPr>
          <a:xfrm>
            <a:off x="9114862" y="11494844"/>
            <a:ext cx="11104915" cy="1240578"/>
          </a:xfrm>
          <a:prstGeom prst="roundRect">
            <a:avLst/>
          </a:prstGeom>
          <a:solidFill>
            <a:srgbClr val="FFDA00"/>
          </a:solidFill>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tx1"/>
                </a:solidFill>
                <a:latin typeface="Noto IKEA Latin" panose="020B0502040504020204" pitchFamily="34" charset="0"/>
              </a:rPr>
              <a:t>Engagement &amp; Transformation</a:t>
            </a:r>
          </a:p>
          <a:p>
            <a:pPr algn="ctr"/>
            <a:r>
              <a:rPr lang="en-US" sz="2400" b="1">
                <a:solidFill>
                  <a:schemeClr val="tx1"/>
                </a:solidFill>
                <a:latin typeface="Noto IKEA Latin" panose="020B0502040504020204" pitchFamily="34" charset="0"/>
              </a:rPr>
              <a:t>Culture of Innovation within the entire IKEA ecosystem</a:t>
            </a:r>
            <a:endParaRPr lang="sv-SE" sz="2400" b="1">
              <a:solidFill>
                <a:schemeClr val="tx1"/>
              </a:solidFill>
              <a:latin typeface="Noto IKEA Latin" panose="020B0502040504020204" pitchFamily="34" charset="0"/>
            </a:endParaRPr>
          </a:p>
        </p:txBody>
      </p:sp>
      <p:sp>
        <p:nvSpPr>
          <p:cNvPr id="5212" name="Rectangle: Rounded Corners 5211">
            <a:extLst>
              <a:ext uri="{FF2B5EF4-FFF2-40B4-BE49-F238E27FC236}">
                <a16:creationId xmlns:a16="http://schemas.microsoft.com/office/drawing/2014/main" id="{03F241FC-4785-06CD-B5D0-671EFCD42B96}"/>
              </a:ext>
            </a:extLst>
          </p:cNvPr>
          <p:cNvSpPr/>
          <p:nvPr/>
        </p:nvSpPr>
        <p:spPr>
          <a:xfrm>
            <a:off x="20693338" y="11499164"/>
            <a:ext cx="2509035" cy="1201526"/>
          </a:xfrm>
          <a:prstGeom prst="roundRect">
            <a:avLst/>
          </a:prstGeom>
          <a:solidFill>
            <a:srgbClr val="FFDA00"/>
          </a:solidFill>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tx1"/>
                </a:solidFill>
                <a:latin typeface="Noto IKEA Latin" panose="020B0502040504020204" pitchFamily="34" charset="0"/>
              </a:rPr>
              <a:t>Growth</a:t>
            </a:r>
          </a:p>
          <a:p>
            <a:pPr algn="ctr"/>
            <a:r>
              <a:rPr lang="en-US" sz="2400" b="1">
                <a:solidFill>
                  <a:schemeClr val="tx1"/>
                </a:solidFill>
                <a:latin typeface="Noto IKEA Latin" panose="020B0502040504020204" pitchFamily="34" charset="0"/>
              </a:rPr>
              <a:t>Scaling and adoption</a:t>
            </a:r>
            <a:endParaRPr lang="sv-SE" sz="2400" b="1">
              <a:solidFill>
                <a:schemeClr val="tx1"/>
              </a:solidFill>
              <a:latin typeface="Noto IKEA Latin" panose="020B0502040504020204" pitchFamily="34" charset="0"/>
            </a:endParaRPr>
          </a:p>
        </p:txBody>
      </p:sp>
      <p:pic>
        <p:nvPicPr>
          <p:cNvPr id="5213" name="Picture 28" descr="See related image detail. Hammer Vector Icon 19766307 Vector Art at Vecteezy">
            <a:extLst>
              <a:ext uri="{FF2B5EF4-FFF2-40B4-BE49-F238E27FC236}">
                <a16:creationId xmlns:a16="http://schemas.microsoft.com/office/drawing/2014/main" id="{40CBD2AA-316E-E59B-41BC-1600527B56F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781652" y="9086725"/>
            <a:ext cx="867954" cy="881144"/>
          </a:xfrm>
          <a:prstGeom prst="rect">
            <a:avLst/>
          </a:prstGeom>
          <a:noFill/>
          <a:extLst>
            <a:ext uri="{909E8E84-426E-40DD-AFC4-6F175D3DCCD1}">
              <a14:hiddenFill xmlns:a14="http://schemas.microsoft.com/office/drawing/2010/main">
                <a:solidFill>
                  <a:srgbClr val="FFFFFF"/>
                </a:solidFill>
              </a14:hiddenFill>
            </a:ext>
          </a:extLst>
        </p:spPr>
      </p:pic>
      <p:sp>
        <p:nvSpPr>
          <p:cNvPr id="5215" name="TextBox 5214">
            <a:extLst>
              <a:ext uri="{FF2B5EF4-FFF2-40B4-BE49-F238E27FC236}">
                <a16:creationId xmlns:a16="http://schemas.microsoft.com/office/drawing/2014/main" id="{464CAFB6-933B-2E92-23E0-C880899CC2B1}"/>
              </a:ext>
            </a:extLst>
          </p:cNvPr>
          <p:cNvSpPr txBox="1"/>
          <p:nvPr/>
        </p:nvSpPr>
        <p:spPr>
          <a:xfrm>
            <a:off x="6654092" y="9140570"/>
            <a:ext cx="2562850" cy="830997"/>
          </a:xfrm>
          <a:prstGeom prst="rect">
            <a:avLst/>
          </a:prstGeom>
          <a:noFill/>
          <a:effectLst>
            <a:outerShdw blurRad="50800" dist="38100" dir="5400000" algn="t" rotWithShape="0">
              <a:prstClr val="black">
                <a:alpha val="40000"/>
              </a:prstClr>
            </a:outerShdw>
          </a:effectLst>
        </p:spPr>
        <p:txBody>
          <a:bodyPr wrap="square" lIns="91440" tIns="45720" rIns="91440" bIns="45720" rtlCol="0" anchor="t">
            <a:spAutoFit/>
          </a:bodyPr>
          <a:lstStyle/>
          <a:p>
            <a:r>
              <a:rPr lang="en-US" sz="2400" b="1">
                <a:latin typeface="Noto IKEA Latin" panose="020B0502040504020204" pitchFamily="34" charset="0"/>
              </a:rPr>
              <a:t>Technology Management</a:t>
            </a:r>
            <a:endParaRPr lang="sv-SE" sz="2400" b="1">
              <a:latin typeface="Noto IKEA Latin" panose="020B0502040504020204" pitchFamily="34" charset="0"/>
            </a:endParaRPr>
          </a:p>
        </p:txBody>
      </p:sp>
      <p:grpSp>
        <p:nvGrpSpPr>
          <p:cNvPr id="5233" name="Group 5232">
            <a:extLst>
              <a:ext uri="{FF2B5EF4-FFF2-40B4-BE49-F238E27FC236}">
                <a16:creationId xmlns:a16="http://schemas.microsoft.com/office/drawing/2014/main" id="{67D045E3-E4DE-D123-E950-AA035E23F21A}"/>
              </a:ext>
            </a:extLst>
          </p:cNvPr>
          <p:cNvGrpSpPr/>
          <p:nvPr/>
        </p:nvGrpSpPr>
        <p:grpSpPr>
          <a:xfrm>
            <a:off x="11568155" y="7082841"/>
            <a:ext cx="758895" cy="753947"/>
            <a:chOff x="6369226" y="3387087"/>
            <a:chExt cx="438121" cy="376998"/>
          </a:xfrm>
        </p:grpSpPr>
        <p:cxnSp>
          <p:nvCxnSpPr>
            <p:cNvPr id="5222" name="Straight Arrow Connector 5221">
              <a:extLst>
                <a:ext uri="{FF2B5EF4-FFF2-40B4-BE49-F238E27FC236}">
                  <a16:creationId xmlns:a16="http://schemas.microsoft.com/office/drawing/2014/main" id="{62C14068-3101-3462-8D28-5D58F02382D2}"/>
                </a:ext>
              </a:extLst>
            </p:cNvPr>
            <p:cNvCxnSpPr>
              <a:cxnSpLocks/>
            </p:cNvCxnSpPr>
            <p:nvPr/>
          </p:nvCxnSpPr>
          <p:spPr>
            <a:xfrm flipV="1">
              <a:off x="6369226" y="3753284"/>
              <a:ext cx="438121" cy="1080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5229" name="Straight Arrow Connector 5228">
              <a:extLst>
                <a:ext uri="{FF2B5EF4-FFF2-40B4-BE49-F238E27FC236}">
                  <a16:creationId xmlns:a16="http://schemas.microsoft.com/office/drawing/2014/main" id="{A7229719-245E-5CF0-232C-0BBFCC868D3E}"/>
                </a:ext>
              </a:extLst>
            </p:cNvPr>
            <p:cNvCxnSpPr>
              <a:cxnSpLocks/>
            </p:cNvCxnSpPr>
            <p:nvPr/>
          </p:nvCxnSpPr>
          <p:spPr>
            <a:xfrm flipV="1">
              <a:off x="6369226" y="3387087"/>
              <a:ext cx="438121" cy="1080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5232" name="Straight Arrow Connector 5231">
              <a:extLst>
                <a:ext uri="{FF2B5EF4-FFF2-40B4-BE49-F238E27FC236}">
                  <a16:creationId xmlns:a16="http://schemas.microsoft.com/office/drawing/2014/main" id="{27F54504-D3D6-A4D9-7757-D5446A0FA86D}"/>
                </a:ext>
              </a:extLst>
            </p:cNvPr>
            <p:cNvCxnSpPr>
              <a:cxnSpLocks/>
            </p:cNvCxnSpPr>
            <p:nvPr/>
          </p:nvCxnSpPr>
          <p:spPr>
            <a:xfrm flipV="1">
              <a:off x="6369226" y="3564448"/>
              <a:ext cx="438121" cy="1080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grpSp>
      <p:sp>
        <p:nvSpPr>
          <p:cNvPr id="6" name="TextBox 5">
            <a:extLst>
              <a:ext uri="{FF2B5EF4-FFF2-40B4-BE49-F238E27FC236}">
                <a16:creationId xmlns:a16="http://schemas.microsoft.com/office/drawing/2014/main" id="{752E56A8-3B1E-75D3-02E3-8E7633763229}"/>
              </a:ext>
            </a:extLst>
          </p:cNvPr>
          <p:cNvSpPr txBox="1"/>
          <p:nvPr/>
        </p:nvSpPr>
        <p:spPr>
          <a:xfrm>
            <a:off x="10913858" y="6234168"/>
            <a:ext cx="914400" cy="914400"/>
          </a:xfrm>
          <a:prstGeom prst="rect">
            <a:avLst/>
          </a:prstGeom>
          <a:noFill/>
        </p:spPr>
        <p:txBody>
          <a:bodyPr wrap="square" rtlCol="0">
            <a:noAutofit/>
          </a:bodyPr>
          <a:lstStyle/>
          <a:p>
            <a:pPr algn="l"/>
            <a:endParaRPr lang="de-DE" sz="3200"/>
          </a:p>
        </p:txBody>
      </p:sp>
      <p:sp>
        <p:nvSpPr>
          <p:cNvPr id="1024" name="TextBox 1023">
            <a:extLst>
              <a:ext uri="{FF2B5EF4-FFF2-40B4-BE49-F238E27FC236}">
                <a16:creationId xmlns:a16="http://schemas.microsoft.com/office/drawing/2014/main" id="{5D6C1BEE-CC0C-4308-C68A-71D182B0B96D}"/>
              </a:ext>
            </a:extLst>
          </p:cNvPr>
          <p:cNvSpPr txBox="1"/>
          <p:nvPr/>
        </p:nvSpPr>
        <p:spPr>
          <a:xfrm>
            <a:off x="1880919" y="9216039"/>
            <a:ext cx="1901996" cy="830997"/>
          </a:xfrm>
          <a:prstGeom prst="rect">
            <a:avLst/>
          </a:prstGeom>
          <a:noFill/>
          <a:effectLst>
            <a:outerShdw blurRad="50800" dist="38100" dir="5400000" algn="t" rotWithShape="0">
              <a:prstClr val="black">
                <a:alpha val="40000"/>
              </a:prstClr>
            </a:outerShdw>
          </a:effectLst>
        </p:spPr>
        <p:txBody>
          <a:bodyPr wrap="square" lIns="91440" tIns="45720" rIns="91440" bIns="45720" rtlCol="0" anchor="t">
            <a:spAutoFit/>
          </a:bodyPr>
          <a:lstStyle/>
          <a:p>
            <a:r>
              <a:rPr lang="en-US" sz="2400" b="1">
                <a:latin typeface="Noto IKEA Latin"/>
              </a:rPr>
              <a:t>Market Research</a:t>
            </a:r>
            <a:endParaRPr lang="sv-SE" sz="2400" b="1">
              <a:latin typeface="Noto IKEA Latin" panose="020B0502040504020204" pitchFamily="34" charset="0"/>
            </a:endParaRPr>
          </a:p>
        </p:txBody>
      </p:sp>
      <p:cxnSp>
        <p:nvCxnSpPr>
          <p:cNvPr id="1025" name="Straight Connector 1024">
            <a:extLst>
              <a:ext uri="{FF2B5EF4-FFF2-40B4-BE49-F238E27FC236}">
                <a16:creationId xmlns:a16="http://schemas.microsoft.com/office/drawing/2014/main" id="{92D682FE-A4A0-8929-84BA-513416F5D523}"/>
              </a:ext>
            </a:extLst>
          </p:cNvPr>
          <p:cNvCxnSpPr>
            <a:cxnSpLocks/>
          </p:cNvCxnSpPr>
          <p:nvPr/>
        </p:nvCxnSpPr>
        <p:spPr>
          <a:xfrm flipH="1">
            <a:off x="15707282" y="1481149"/>
            <a:ext cx="82827" cy="10355286"/>
          </a:xfrm>
          <a:prstGeom prst="line">
            <a:avLst/>
          </a:prstGeom>
          <a:ln w="9525"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35" name="Straight Connector 1034">
            <a:extLst>
              <a:ext uri="{FF2B5EF4-FFF2-40B4-BE49-F238E27FC236}">
                <a16:creationId xmlns:a16="http://schemas.microsoft.com/office/drawing/2014/main" id="{47F7C49E-B438-68A7-E069-F011D1B75A35}"/>
              </a:ext>
            </a:extLst>
          </p:cNvPr>
          <p:cNvCxnSpPr>
            <a:cxnSpLocks/>
          </p:cNvCxnSpPr>
          <p:nvPr/>
        </p:nvCxnSpPr>
        <p:spPr>
          <a:xfrm flipH="1">
            <a:off x="20156472" y="1334866"/>
            <a:ext cx="82827" cy="10355286"/>
          </a:xfrm>
          <a:prstGeom prst="line">
            <a:avLst/>
          </a:prstGeom>
          <a:ln w="9525"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36" name="TextBox 1035">
            <a:extLst>
              <a:ext uri="{FF2B5EF4-FFF2-40B4-BE49-F238E27FC236}">
                <a16:creationId xmlns:a16="http://schemas.microsoft.com/office/drawing/2014/main" id="{A0D117B6-1FDE-0270-3648-1A07FEA12E9F}"/>
              </a:ext>
            </a:extLst>
          </p:cNvPr>
          <p:cNvSpPr txBox="1"/>
          <p:nvPr/>
        </p:nvSpPr>
        <p:spPr>
          <a:xfrm>
            <a:off x="20632467" y="1340411"/>
            <a:ext cx="2630775" cy="707886"/>
          </a:xfrm>
          <a:prstGeom prst="rect">
            <a:avLst/>
          </a:prstGeom>
          <a:noFill/>
          <a:effectLst>
            <a:outerShdw blurRad="50800" dist="38100" dir="5400000" algn="t" rotWithShape="0">
              <a:prstClr val="black">
                <a:alpha val="40000"/>
              </a:prstClr>
            </a:outerShdw>
          </a:effectLst>
        </p:spPr>
        <p:txBody>
          <a:bodyPr wrap="square" rtlCol="0">
            <a:spAutoFit/>
          </a:bodyPr>
          <a:lstStyle/>
          <a:p>
            <a:pPr algn="ctr"/>
            <a:r>
              <a:rPr lang="en-US" sz="2000">
                <a:latin typeface="Noto IKEA Latin" panose="020B0502040504020204" pitchFamily="34" charset="0"/>
              </a:rPr>
              <a:t>How to create value?</a:t>
            </a:r>
            <a:endParaRPr lang="sv-SE" sz="2000">
              <a:latin typeface="Noto IKEA Latin" panose="020B0502040504020204" pitchFamily="34" charset="0"/>
            </a:endParaRPr>
          </a:p>
        </p:txBody>
      </p:sp>
      <p:grpSp>
        <p:nvGrpSpPr>
          <p:cNvPr id="1038" name="Group 1037">
            <a:extLst>
              <a:ext uri="{FF2B5EF4-FFF2-40B4-BE49-F238E27FC236}">
                <a16:creationId xmlns:a16="http://schemas.microsoft.com/office/drawing/2014/main" id="{70EA66A2-B92E-B331-CC74-D9540DBA57DD}"/>
              </a:ext>
            </a:extLst>
          </p:cNvPr>
          <p:cNvGrpSpPr/>
          <p:nvPr/>
        </p:nvGrpSpPr>
        <p:grpSpPr>
          <a:xfrm>
            <a:off x="8949312" y="6404816"/>
            <a:ext cx="2492254" cy="1664868"/>
            <a:chOff x="5160215" y="3312704"/>
            <a:chExt cx="1246208" cy="832488"/>
          </a:xfrm>
        </p:grpSpPr>
        <p:grpSp>
          <p:nvGrpSpPr>
            <p:cNvPr id="1039" name="Group 1038">
              <a:extLst>
                <a:ext uri="{FF2B5EF4-FFF2-40B4-BE49-F238E27FC236}">
                  <a16:creationId xmlns:a16="http://schemas.microsoft.com/office/drawing/2014/main" id="{8DD906F0-C718-2CE8-2384-5D633DE8665C}"/>
                </a:ext>
              </a:extLst>
            </p:cNvPr>
            <p:cNvGrpSpPr/>
            <p:nvPr/>
          </p:nvGrpSpPr>
          <p:grpSpPr>
            <a:xfrm>
              <a:off x="5160215" y="3312704"/>
              <a:ext cx="1246208" cy="832488"/>
              <a:chOff x="3582954" y="2730759"/>
              <a:chExt cx="2693361" cy="1635966"/>
            </a:xfrm>
          </p:grpSpPr>
          <p:sp>
            <p:nvSpPr>
              <p:cNvPr id="1047" name="Freeform: Shape 1046">
                <a:extLst>
                  <a:ext uri="{FF2B5EF4-FFF2-40B4-BE49-F238E27FC236}">
                    <a16:creationId xmlns:a16="http://schemas.microsoft.com/office/drawing/2014/main" id="{1AD01CDE-547C-9E60-52D3-D6CA468DA1B8}"/>
                  </a:ext>
                </a:extLst>
              </p:cNvPr>
              <p:cNvSpPr/>
              <p:nvPr/>
            </p:nvSpPr>
            <p:spPr>
              <a:xfrm>
                <a:off x="3582954" y="2730759"/>
                <a:ext cx="2693361" cy="1635966"/>
              </a:xfrm>
              <a:custGeom>
                <a:avLst/>
                <a:gdLst>
                  <a:gd name="connsiteX0" fmla="*/ 503853 w 1679510"/>
                  <a:gd name="connsiteY0" fmla="*/ 0 h 1020146"/>
                  <a:gd name="connsiteX1" fmla="*/ 1007706 w 1679510"/>
                  <a:gd name="connsiteY1" fmla="*/ 332792 h 1020146"/>
                  <a:gd name="connsiteX2" fmla="*/ 1001066 w 1679510"/>
                  <a:gd name="connsiteY2" fmla="*/ 376300 h 1020146"/>
                  <a:gd name="connsiteX3" fmla="*/ 1074113 w 1679510"/>
                  <a:gd name="connsiteY3" fmla="*/ 361323 h 1020146"/>
                  <a:gd name="connsiteX4" fmla="*/ 1175657 w 1679510"/>
                  <a:gd name="connsiteY4" fmla="*/ 354562 h 1020146"/>
                  <a:gd name="connsiteX5" fmla="*/ 1679510 w 1679510"/>
                  <a:gd name="connsiteY5" fmla="*/ 687354 h 1020146"/>
                  <a:gd name="connsiteX6" fmla="*/ 1175657 w 1679510"/>
                  <a:gd name="connsiteY6" fmla="*/ 1020146 h 1020146"/>
                  <a:gd name="connsiteX7" fmla="*/ 671804 w 1679510"/>
                  <a:gd name="connsiteY7" fmla="*/ 687354 h 1020146"/>
                  <a:gd name="connsiteX8" fmla="*/ 678445 w 1679510"/>
                  <a:gd name="connsiteY8" fmla="*/ 643846 h 1020146"/>
                  <a:gd name="connsiteX9" fmla="*/ 605397 w 1679510"/>
                  <a:gd name="connsiteY9" fmla="*/ 658823 h 1020146"/>
                  <a:gd name="connsiteX10" fmla="*/ 503853 w 1679510"/>
                  <a:gd name="connsiteY10" fmla="*/ 665584 h 1020146"/>
                  <a:gd name="connsiteX11" fmla="*/ 0 w 1679510"/>
                  <a:gd name="connsiteY11" fmla="*/ 332792 h 1020146"/>
                  <a:gd name="connsiteX12" fmla="*/ 503853 w 1679510"/>
                  <a:gd name="connsiteY12" fmla="*/ 0 h 102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79510" h="1020146">
                    <a:moveTo>
                      <a:pt x="503853" y="0"/>
                    </a:moveTo>
                    <a:cubicBezTo>
                      <a:pt x="782123" y="0"/>
                      <a:pt x="1007706" y="148996"/>
                      <a:pt x="1007706" y="332792"/>
                    </a:cubicBezTo>
                    <a:lnTo>
                      <a:pt x="1001066" y="376300"/>
                    </a:lnTo>
                    <a:lnTo>
                      <a:pt x="1074113" y="361323"/>
                    </a:lnTo>
                    <a:cubicBezTo>
                      <a:pt x="1106913" y="356890"/>
                      <a:pt x="1140874" y="354562"/>
                      <a:pt x="1175657" y="354562"/>
                    </a:cubicBezTo>
                    <a:cubicBezTo>
                      <a:pt x="1453927" y="354562"/>
                      <a:pt x="1679510" y="503558"/>
                      <a:pt x="1679510" y="687354"/>
                    </a:cubicBezTo>
                    <a:cubicBezTo>
                      <a:pt x="1679510" y="871150"/>
                      <a:pt x="1453927" y="1020146"/>
                      <a:pt x="1175657" y="1020146"/>
                    </a:cubicBezTo>
                    <a:cubicBezTo>
                      <a:pt x="897387" y="1020146"/>
                      <a:pt x="671804" y="871150"/>
                      <a:pt x="671804" y="687354"/>
                    </a:cubicBezTo>
                    <a:lnTo>
                      <a:pt x="678445" y="643846"/>
                    </a:lnTo>
                    <a:lnTo>
                      <a:pt x="605397" y="658823"/>
                    </a:lnTo>
                    <a:cubicBezTo>
                      <a:pt x="572597" y="663256"/>
                      <a:pt x="538637" y="665584"/>
                      <a:pt x="503853" y="665584"/>
                    </a:cubicBezTo>
                    <a:cubicBezTo>
                      <a:pt x="225583" y="665584"/>
                      <a:pt x="0" y="516588"/>
                      <a:pt x="0" y="332792"/>
                    </a:cubicBezTo>
                    <a:cubicBezTo>
                      <a:pt x="0" y="148996"/>
                      <a:pt x="225583" y="0"/>
                      <a:pt x="503853" y="0"/>
                    </a:cubicBezTo>
                    <a:close/>
                  </a:path>
                </a:pathLst>
              </a:custGeom>
              <a:noFill/>
              <a:ln>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sv-SE" sz="7200"/>
              </a:p>
            </p:txBody>
          </p:sp>
          <p:grpSp>
            <p:nvGrpSpPr>
              <p:cNvPr id="1048" name="Group 1047">
                <a:extLst>
                  <a:ext uri="{FF2B5EF4-FFF2-40B4-BE49-F238E27FC236}">
                    <a16:creationId xmlns:a16="http://schemas.microsoft.com/office/drawing/2014/main" id="{623B25B7-DB66-B97C-FE67-1F77069FA158}"/>
                  </a:ext>
                </a:extLst>
              </p:cNvPr>
              <p:cNvGrpSpPr/>
              <p:nvPr/>
            </p:nvGrpSpPr>
            <p:grpSpPr>
              <a:xfrm>
                <a:off x="3975617" y="2827609"/>
                <a:ext cx="860386" cy="860387"/>
                <a:chOff x="3975617" y="2827609"/>
                <a:chExt cx="860386" cy="860387"/>
              </a:xfrm>
            </p:grpSpPr>
            <p:pic>
              <p:nvPicPr>
                <p:cNvPr id="5135" name="Picture 6" descr="Image result for cloud icon">
                  <a:extLst>
                    <a:ext uri="{FF2B5EF4-FFF2-40B4-BE49-F238E27FC236}">
                      <a16:creationId xmlns:a16="http://schemas.microsoft.com/office/drawing/2014/main" id="{C496AE5E-4233-19E3-03D9-5EA344799FB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975617" y="2827609"/>
                  <a:ext cx="860386" cy="860387"/>
                </a:xfrm>
                <a:prstGeom prst="rect">
                  <a:avLst/>
                </a:prstGeom>
                <a:noFill/>
                <a:extLst>
                  <a:ext uri="{909E8E84-426E-40DD-AFC4-6F175D3DCCD1}">
                    <a14:hiddenFill xmlns:a14="http://schemas.microsoft.com/office/drawing/2010/main">
                      <a:solidFill>
                        <a:srgbClr val="FFFFFF"/>
                      </a:solidFill>
                    </a14:hiddenFill>
                  </a:ext>
                </a:extLst>
              </p:spPr>
            </p:pic>
            <p:grpSp>
              <p:nvGrpSpPr>
                <p:cNvPr id="5136" name="Group 5135">
                  <a:extLst>
                    <a:ext uri="{FF2B5EF4-FFF2-40B4-BE49-F238E27FC236}">
                      <a16:creationId xmlns:a16="http://schemas.microsoft.com/office/drawing/2014/main" id="{5C24C7E6-D1B7-0B35-F57B-635BE2D1D35C}"/>
                    </a:ext>
                  </a:extLst>
                </p:cNvPr>
                <p:cNvGrpSpPr/>
                <p:nvPr/>
              </p:nvGrpSpPr>
              <p:grpSpPr>
                <a:xfrm>
                  <a:off x="4334142" y="3331453"/>
                  <a:ext cx="146807" cy="146769"/>
                  <a:chOff x="7530236" y="3363203"/>
                  <a:chExt cx="146807" cy="146769"/>
                </a:xfrm>
              </p:grpSpPr>
              <p:sp>
                <p:nvSpPr>
                  <p:cNvPr id="5167" name="Oval 5166">
                    <a:extLst>
                      <a:ext uri="{FF2B5EF4-FFF2-40B4-BE49-F238E27FC236}">
                        <a16:creationId xmlns:a16="http://schemas.microsoft.com/office/drawing/2014/main" id="{37EE7994-0D03-5648-1F97-4BEC9DE3E459}"/>
                      </a:ext>
                    </a:extLst>
                  </p:cNvPr>
                  <p:cNvSpPr/>
                  <p:nvPr/>
                </p:nvSpPr>
                <p:spPr>
                  <a:xfrm>
                    <a:off x="7530236" y="3363203"/>
                    <a:ext cx="146807" cy="146769"/>
                  </a:xfrm>
                  <a:prstGeom prst="ellipse">
                    <a:avLst/>
                  </a:prstGeom>
                  <a:solidFill>
                    <a:srgbClr val="D5CAE8"/>
                  </a:solidFill>
                  <a:ln>
                    <a:solidFill>
                      <a:srgbClr val="D5CAE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168" name="Oval 5167">
                    <a:extLst>
                      <a:ext uri="{FF2B5EF4-FFF2-40B4-BE49-F238E27FC236}">
                        <a16:creationId xmlns:a16="http://schemas.microsoft.com/office/drawing/2014/main" id="{0BF63248-CBF0-0698-0459-567E8200908A}"/>
                      </a:ext>
                    </a:extLst>
                  </p:cNvPr>
                  <p:cNvSpPr/>
                  <p:nvPr/>
                </p:nvSpPr>
                <p:spPr>
                  <a:xfrm>
                    <a:off x="7558155" y="3434088"/>
                    <a:ext cx="38341" cy="38331"/>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169" name="Oval 5168">
                    <a:extLst>
                      <a:ext uri="{FF2B5EF4-FFF2-40B4-BE49-F238E27FC236}">
                        <a16:creationId xmlns:a16="http://schemas.microsoft.com/office/drawing/2014/main" id="{CFA7DBAC-1DFD-8948-784E-9105157A4240}"/>
                      </a:ext>
                    </a:extLst>
                  </p:cNvPr>
                  <p:cNvSpPr/>
                  <p:nvPr/>
                </p:nvSpPr>
                <p:spPr>
                  <a:xfrm>
                    <a:off x="7622038" y="3422183"/>
                    <a:ext cx="38341" cy="38331"/>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170" name="Oval 5169">
                    <a:extLst>
                      <a:ext uri="{FF2B5EF4-FFF2-40B4-BE49-F238E27FC236}">
                        <a16:creationId xmlns:a16="http://schemas.microsoft.com/office/drawing/2014/main" id="{F0A36EE8-B955-8A1A-C0EF-DFE40820A39B}"/>
                      </a:ext>
                    </a:extLst>
                  </p:cNvPr>
                  <p:cNvSpPr/>
                  <p:nvPr/>
                </p:nvSpPr>
                <p:spPr>
                  <a:xfrm>
                    <a:off x="7583793" y="3376615"/>
                    <a:ext cx="38341" cy="38331"/>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grpSp>
            <p:grpSp>
              <p:nvGrpSpPr>
                <p:cNvPr id="5137" name="Group 5136">
                  <a:extLst>
                    <a:ext uri="{FF2B5EF4-FFF2-40B4-BE49-F238E27FC236}">
                      <a16:creationId xmlns:a16="http://schemas.microsoft.com/office/drawing/2014/main" id="{74CD88E7-309A-32F2-BBF7-6E718E6C3062}"/>
                    </a:ext>
                  </a:extLst>
                </p:cNvPr>
                <p:cNvGrpSpPr/>
                <p:nvPr/>
              </p:nvGrpSpPr>
              <p:grpSpPr>
                <a:xfrm>
                  <a:off x="4546336" y="3299703"/>
                  <a:ext cx="146807" cy="146769"/>
                  <a:chOff x="7530236" y="3363203"/>
                  <a:chExt cx="146807" cy="146769"/>
                </a:xfrm>
              </p:grpSpPr>
              <p:sp>
                <p:nvSpPr>
                  <p:cNvPr id="5155" name="Oval 5154">
                    <a:extLst>
                      <a:ext uri="{FF2B5EF4-FFF2-40B4-BE49-F238E27FC236}">
                        <a16:creationId xmlns:a16="http://schemas.microsoft.com/office/drawing/2014/main" id="{5BF27AFA-9730-5823-6800-076555978DBB}"/>
                      </a:ext>
                    </a:extLst>
                  </p:cNvPr>
                  <p:cNvSpPr/>
                  <p:nvPr/>
                </p:nvSpPr>
                <p:spPr>
                  <a:xfrm>
                    <a:off x="7530236" y="3363203"/>
                    <a:ext cx="146807" cy="146769"/>
                  </a:xfrm>
                  <a:prstGeom prst="ellipse">
                    <a:avLst/>
                  </a:prstGeom>
                  <a:solidFill>
                    <a:srgbClr val="D5CAE8"/>
                  </a:solidFill>
                  <a:ln>
                    <a:solidFill>
                      <a:srgbClr val="D5CAE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163" name="Oval 5162">
                    <a:extLst>
                      <a:ext uri="{FF2B5EF4-FFF2-40B4-BE49-F238E27FC236}">
                        <a16:creationId xmlns:a16="http://schemas.microsoft.com/office/drawing/2014/main" id="{F4AFB4A6-A518-6046-A8CE-0996D9AFC5A4}"/>
                      </a:ext>
                    </a:extLst>
                  </p:cNvPr>
                  <p:cNvSpPr/>
                  <p:nvPr/>
                </p:nvSpPr>
                <p:spPr>
                  <a:xfrm>
                    <a:off x="7558155" y="3434088"/>
                    <a:ext cx="38341" cy="38331"/>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164" name="Oval 5163">
                    <a:extLst>
                      <a:ext uri="{FF2B5EF4-FFF2-40B4-BE49-F238E27FC236}">
                        <a16:creationId xmlns:a16="http://schemas.microsoft.com/office/drawing/2014/main" id="{0448FDFB-1D96-F707-81ED-A6F2ABF031CA}"/>
                      </a:ext>
                    </a:extLst>
                  </p:cNvPr>
                  <p:cNvSpPr/>
                  <p:nvPr/>
                </p:nvSpPr>
                <p:spPr>
                  <a:xfrm>
                    <a:off x="7622038" y="3422183"/>
                    <a:ext cx="38341" cy="38331"/>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166" name="Oval 5165">
                    <a:extLst>
                      <a:ext uri="{FF2B5EF4-FFF2-40B4-BE49-F238E27FC236}">
                        <a16:creationId xmlns:a16="http://schemas.microsoft.com/office/drawing/2014/main" id="{63A78115-09DB-9EF9-2181-AE13B48D39E9}"/>
                      </a:ext>
                    </a:extLst>
                  </p:cNvPr>
                  <p:cNvSpPr/>
                  <p:nvPr/>
                </p:nvSpPr>
                <p:spPr>
                  <a:xfrm>
                    <a:off x="7583793" y="3376615"/>
                    <a:ext cx="38341" cy="38331"/>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grpSp>
            <p:grpSp>
              <p:nvGrpSpPr>
                <p:cNvPr id="5138" name="Group 5137">
                  <a:extLst>
                    <a:ext uri="{FF2B5EF4-FFF2-40B4-BE49-F238E27FC236}">
                      <a16:creationId xmlns:a16="http://schemas.microsoft.com/office/drawing/2014/main" id="{3AE4F058-E6C7-6028-5EA8-9E4EF451EBC3}"/>
                    </a:ext>
                  </a:extLst>
                </p:cNvPr>
                <p:cNvGrpSpPr/>
                <p:nvPr/>
              </p:nvGrpSpPr>
              <p:grpSpPr>
                <a:xfrm>
                  <a:off x="4334142" y="3092011"/>
                  <a:ext cx="146807" cy="146769"/>
                  <a:chOff x="7530236" y="3363203"/>
                  <a:chExt cx="146807" cy="146769"/>
                </a:xfrm>
              </p:grpSpPr>
              <p:sp>
                <p:nvSpPr>
                  <p:cNvPr id="5147" name="Oval 5146">
                    <a:extLst>
                      <a:ext uri="{FF2B5EF4-FFF2-40B4-BE49-F238E27FC236}">
                        <a16:creationId xmlns:a16="http://schemas.microsoft.com/office/drawing/2014/main" id="{3BFB7C71-1D94-DFEA-465C-AEE793F1ABFC}"/>
                      </a:ext>
                    </a:extLst>
                  </p:cNvPr>
                  <p:cNvSpPr/>
                  <p:nvPr/>
                </p:nvSpPr>
                <p:spPr>
                  <a:xfrm>
                    <a:off x="7530236" y="3363203"/>
                    <a:ext cx="146807" cy="146769"/>
                  </a:xfrm>
                  <a:prstGeom prst="ellipse">
                    <a:avLst/>
                  </a:prstGeom>
                  <a:solidFill>
                    <a:srgbClr val="D5CAE8"/>
                  </a:solidFill>
                  <a:ln>
                    <a:solidFill>
                      <a:srgbClr val="D5CAE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148" name="Oval 5147">
                    <a:extLst>
                      <a:ext uri="{FF2B5EF4-FFF2-40B4-BE49-F238E27FC236}">
                        <a16:creationId xmlns:a16="http://schemas.microsoft.com/office/drawing/2014/main" id="{683A621E-DE38-B290-27C7-3225288DEEF9}"/>
                      </a:ext>
                    </a:extLst>
                  </p:cNvPr>
                  <p:cNvSpPr/>
                  <p:nvPr/>
                </p:nvSpPr>
                <p:spPr>
                  <a:xfrm>
                    <a:off x="7558155" y="3434088"/>
                    <a:ext cx="38341" cy="38331"/>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151" name="Oval 5150">
                    <a:extLst>
                      <a:ext uri="{FF2B5EF4-FFF2-40B4-BE49-F238E27FC236}">
                        <a16:creationId xmlns:a16="http://schemas.microsoft.com/office/drawing/2014/main" id="{CC1782D9-302C-C572-962C-7A81831F92D7}"/>
                      </a:ext>
                    </a:extLst>
                  </p:cNvPr>
                  <p:cNvSpPr/>
                  <p:nvPr/>
                </p:nvSpPr>
                <p:spPr>
                  <a:xfrm>
                    <a:off x="7622038" y="3422183"/>
                    <a:ext cx="38341" cy="38331"/>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154" name="Oval 5153">
                    <a:extLst>
                      <a:ext uri="{FF2B5EF4-FFF2-40B4-BE49-F238E27FC236}">
                        <a16:creationId xmlns:a16="http://schemas.microsoft.com/office/drawing/2014/main" id="{245BC0F4-6249-0A18-CB6D-3B1DC56DDDCD}"/>
                      </a:ext>
                    </a:extLst>
                  </p:cNvPr>
                  <p:cNvSpPr/>
                  <p:nvPr/>
                </p:nvSpPr>
                <p:spPr>
                  <a:xfrm>
                    <a:off x="7583793" y="3376615"/>
                    <a:ext cx="38341" cy="38331"/>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grpSp>
            <p:grpSp>
              <p:nvGrpSpPr>
                <p:cNvPr id="5139" name="Group 5138">
                  <a:extLst>
                    <a:ext uri="{FF2B5EF4-FFF2-40B4-BE49-F238E27FC236}">
                      <a16:creationId xmlns:a16="http://schemas.microsoft.com/office/drawing/2014/main" id="{AD9C813F-9F9D-CD91-1EC1-67C94B00326E}"/>
                    </a:ext>
                  </a:extLst>
                </p:cNvPr>
                <p:cNvGrpSpPr/>
                <p:nvPr/>
              </p:nvGrpSpPr>
              <p:grpSpPr>
                <a:xfrm>
                  <a:off x="4086492" y="3306484"/>
                  <a:ext cx="146807" cy="146769"/>
                  <a:chOff x="7530236" y="3363203"/>
                  <a:chExt cx="146807" cy="146769"/>
                </a:xfrm>
              </p:grpSpPr>
              <p:sp>
                <p:nvSpPr>
                  <p:cNvPr id="5141" name="Oval 5140">
                    <a:extLst>
                      <a:ext uri="{FF2B5EF4-FFF2-40B4-BE49-F238E27FC236}">
                        <a16:creationId xmlns:a16="http://schemas.microsoft.com/office/drawing/2014/main" id="{892F2671-64CC-43A6-EFC3-3CA7A8C9BC29}"/>
                      </a:ext>
                    </a:extLst>
                  </p:cNvPr>
                  <p:cNvSpPr/>
                  <p:nvPr/>
                </p:nvSpPr>
                <p:spPr>
                  <a:xfrm>
                    <a:off x="7530236" y="3363203"/>
                    <a:ext cx="146807" cy="146769"/>
                  </a:xfrm>
                  <a:prstGeom prst="ellipse">
                    <a:avLst/>
                  </a:prstGeom>
                  <a:solidFill>
                    <a:srgbClr val="D5CAE8"/>
                  </a:solidFill>
                  <a:ln>
                    <a:solidFill>
                      <a:srgbClr val="D5CAE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143" name="Oval 5142">
                    <a:extLst>
                      <a:ext uri="{FF2B5EF4-FFF2-40B4-BE49-F238E27FC236}">
                        <a16:creationId xmlns:a16="http://schemas.microsoft.com/office/drawing/2014/main" id="{E440769B-903D-92CD-5B7A-D0218CE67338}"/>
                      </a:ext>
                    </a:extLst>
                  </p:cNvPr>
                  <p:cNvSpPr/>
                  <p:nvPr/>
                </p:nvSpPr>
                <p:spPr>
                  <a:xfrm>
                    <a:off x="7558155" y="3434088"/>
                    <a:ext cx="38341" cy="38331"/>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145" name="Oval 5144">
                    <a:extLst>
                      <a:ext uri="{FF2B5EF4-FFF2-40B4-BE49-F238E27FC236}">
                        <a16:creationId xmlns:a16="http://schemas.microsoft.com/office/drawing/2014/main" id="{2ADE3BCD-9307-FF34-4BF7-B217A4D2C31B}"/>
                      </a:ext>
                    </a:extLst>
                  </p:cNvPr>
                  <p:cNvSpPr/>
                  <p:nvPr/>
                </p:nvSpPr>
                <p:spPr>
                  <a:xfrm>
                    <a:off x="7622038" y="3422183"/>
                    <a:ext cx="38341" cy="38331"/>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146" name="Oval 5145">
                    <a:extLst>
                      <a:ext uri="{FF2B5EF4-FFF2-40B4-BE49-F238E27FC236}">
                        <a16:creationId xmlns:a16="http://schemas.microsoft.com/office/drawing/2014/main" id="{4F00B50D-3C2A-2DD0-A6A7-421305B197B7}"/>
                      </a:ext>
                    </a:extLst>
                  </p:cNvPr>
                  <p:cNvSpPr/>
                  <p:nvPr/>
                </p:nvSpPr>
                <p:spPr>
                  <a:xfrm>
                    <a:off x="7583793" y="3376615"/>
                    <a:ext cx="38341" cy="38331"/>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grpSp>
          </p:grpSp>
          <p:grpSp>
            <p:nvGrpSpPr>
              <p:cNvPr id="1049" name="Group 1048">
                <a:extLst>
                  <a:ext uri="{FF2B5EF4-FFF2-40B4-BE49-F238E27FC236}">
                    <a16:creationId xmlns:a16="http://schemas.microsoft.com/office/drawing/2014/main" id="{E273EF76-1DE4-F159-42A4-ACA853BB0455}"/>
                  </a:ext>
                </a:extLst>
              </p:cNvPr>
              <p:cNvGrpSpPr/>
              <p:nvPr/>
            </p:nvGrpSpPr>
            <p:grpSpPr>
              <a:xfrm>
                <a:off x="4979396" y="3368494"/>
                <a:ext cx="863859" cy="863859"/>
                <a:chOff x="4979396" y="3355794"/>
                <a:chExt cx="863859" cy="863859"/>
              </a:xfrm>
            </p:grpSpPr>
            <p:pic>
              <p:nvPicPr>
                <p:cNvPr id="1066" name="Picture 6" descr="Image result for cloud icon">
                  <a:extLst>
                    <a:ext uri="{FF2B5EF4-FFF2-40B4-BE49-F238E27FC236}">
                      <a16:creationId xmlns:a16="http://schemas.microsoft.com/office/drawing/2014/main" id="{546781DC-BF53-D5F8-CD6A-1AC6CA2BDF5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401219">
                  <a:off x="4979396" y="3355794"/>
                  <a:ext cx="863859" cy="863859"/>
                </a:xfrm>
                <a:prstGeom prst="rect">
                  <a:avLst/>
                </a:prstGeom>
                <a:noFill/>
                <a:extLst>
                  <a:ext uri="{909E8E84-426E-40DD-AFC4-6F175D3DCCD1}">
                    <a14:hiddenFill xmlns:a14="http://schemas.microsoft.com/office/drawing/2010/main">
                      <a:solidFill>
                        <a:srgbClr val="FFFFFF"/>
                      </a:solidFill>
                    </a14:hiddenFill>
                  </a:ext>
                </a:extLst>
              </p:spPr>
            </p:pic>
            <p:grpSp>
              <p:nvGrpSpPr>
                <p:cNvPr id="1067" name="Group 1066">
                  <a:extLst>
                    <a:ext uri="{FF2B5EF4-FFF2-40B4-BE49-F238E27FC236}">
                      <a16:creationId xmlns:a16="http://schemas.microsoft.com/office/drawing/2014/main" id="{9AF2273A-04F7-D244-F3F4-6D3FCE59EBE4}"/>
                    </a:ext>
                  </a:extLst>
                </p:cNvPr>
                <p:cNvGrpSpPr/>
                <p:nvPr/>
              </p:nvGrpSpPr>
              <p:grpSpPr>
                <a:xfrm>
                  <a:off x="5520519" y="3894110"/>
                  <a:ext cx="146807" cy="146769"/>
                  <a:chOff x="7530236" y="3363203"/>
                  <a:chExt cx="146807" cy="146769"/>
                </a:xfrm>
              </p:grpSpPr>
              <p:sp>
                <p:nvSpPr>
                  <p:cNvPr id="5131" name="Oval 5130">
                    <a:extLst>
                      <a:ext uri="{FF2B5EF4-FFF2-40B4-BE49-F238E27FC236}">
                        <a16:creationId xmlns:a16="http://schemas.microsoft.com/office/drawing/2014/main" id="{31CD8D44-E329-0713-7C19-9503013D3A86}"/>
                      </a:ext>
                    </a:extLst>
                  </p:cNvPr>
                  <p:cNvSpPr/>
                  <p:nvPr/>
                </p:nvSpPr>
                <p:spPr>
                  <a:xfrm>
                    <a:off x="7530236" y="3363203"/>
                    <a:ext cx="146807" cy="146769"/>
                  </a:xfrm>
                  <a:prstGeom prst="ellipse">
                    <a:avLst/>
                  </a:prstGeom>
                  <a:solidFill>
                    <a:srgbClr val="D5CAE8"/>
                  </a:solidFill>
                  <a:ln>
                    <a:solidFill>
                      <a:srgbClr val="D5CAE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132" name="Oval 5131">
                    <a:extLst>
                      <a:ext uri="{FF2B5EF4-FFF2-40B4-BE49-F238E27FC236}">
                        <a16:creationId xmlns:a16="http://schemas.microsoft.com/office/drawing/2014/main" id="{93A85BB7-B38E-18C9-34D3-7E0320244BE6}"/>
                      </a:ext>
                    </a:extLst>
                  </p:cNvPr>
                  <p:cNvSpPr/>
                  <p:nvPr/>
                </p:nvSpPr>
                <p:spPr>
                  <a:xfrm>
                    <a:off x="7558155" y="3434088"/>
                    <a:ext cx="38341" cy="38331"/>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133" name="Oval 5132">
                    <a:extLst>
                      <a:ext uri="{FF2B5EF4-FFF2-40B4-BE49-F238E27FC236}">
                        <a16:creationId xmlns:a16="http://schemas.microsoft.com/office/drawing/2014/main" id="{8D5C79FC-4D4E-453E-EEE6-94C8DE566CE2}"/>
                      </a:ext>
                    </a:extLst>
                  </p:cNvPr>
                  <p:cNvSpPr/>
                  <p:nvPr/>
                </p:nvSpPr>
                <p:spPr>
                  <a:xfrm>
                    <a:off x="7622038" y="3422183"/>
                    <a:ext cx="38341" cy="38331"/>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134" name="Oval 5133">
                    <a:extLst>
                      <a:ext uri="{FF2B5EF4-FFF2-40B4-BE49-F238E27FC236}">
                        <a16:creationId xmlns:a16="http://schemas.microsoft.com/office/drawing/2014/main" id="{54304F89-1D07-EAA0-EF7C-9202FF95FB58}"/>
                      </a:ext>
                    </a:extLst>
                  </p:cNvPr>
                  <p:cNvSpPr/>
                  <p:nvPr/>
                </p:nvSpPr>
                <p:spPr>
                  <a:xfrm>
                    <a:off x="7583793" y="3376615"/>
                    <a:ext cx="38341" cy="38331"/>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grpSp>
            <p:grpSp>
              <p:nvGrpSpPr>
                <p:cNvPr id="1068" name="Group 1067">
                  <a:extLst>
                    <a:ext uri="{FF2B5EF4-FFF2-40B4-BE49-F238E27FC236}">
                      <a16:creationId xmlns:a16="http://schemas.microsoft.com/office/drawing/2014/main" id="{0DFED55C-4FE8-5599-031F-17D685A2A52C}"/>
                    </a:ext>
                  </a:extLst>
                </p:cNvPr>
                <p:cNvGrpSpPr/>
                <p:nvPr/>
              </p:nvGrpSpPr>
              <p:grpSpPr>
                <a:xfrm>
                  <a:off x="5486136" y="3640263"/>
                  <a:ext cx="146807" cy="146769"/>
                  <a:chOff x="7530236" y="3363203"/>
                  <a:chExt cx="146807" cy="146769"/>
                </a:xfrm>
              </p:grpSpPr>
              <p:sp>
                <p:nvSpPr>
                  <p:cNvPr id="5125" name="Oval 5124">
                    <a:extLst>
                      <a:ext uri="{FF2B5EF4-FFF2-40B4-BE49-F238E27FC236}">
                        <a16:creationId xmlns:a16="http://schemas.microsoft.com/office/drawing/2014/main" id="{18C14B92-84E7-B34A-11C6-0DBBC46385B0}"/>
                      </a:ext>
                    </a:extLst>
                  </p:cNvPr>
                  <p:cNvSpPr/>
                  <p:nvPr/>
                </p:nvSpPr>
                <p:spPr>
                  <a:xfrm>
                    <a:off x="7530236" y="3363203"/>
                    <a:ext cx="146807" cy="146769"/>
                  </a:xfrm>
                  <a:prstGeom prst="ellipse">
                    <a:avLst/>
                  </a:prstGeom>
                  <a:solidFill>
                    <a:srgbClr val="D5CAE8"/>
                  </a:solidFill>
                  <a:ln>
                    <a:solidFill>
                      <a:srgbClr val="D5CAE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127" name="Oval 5126">
                    <a:extLst>
                      <a:ext uri="{FF2B5EF4-FFF2-40B4-BE49-F238E27FC236}">
                        <a16:creationId xmlns:a16="http://schemas.microsoft.com/office/drawing/2014/main" id="{17CCD780-3ED6-B2D0-0F67-E05206E71E53}"/>
                      </a:ext>
                    </a:extLst>
                  </p:cNvPr>
                  <p:cNvSpPr/>
                  <p:nvPr/>
                </p:nvSpPr>
                <p:spPr>
                  <a:xfrm>
                    <a:off x="7558155" y="3434088"/>
                    <a:ext cx="38341" cy="38331"/>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128" name="Oval 5127">
                    <a:extLst>
                      <a:ext uri="{FF2B5EF4-FFF2-40B4-BE49-F238E27FC236}">
                        <a16:creationId xmlns:a16="http://schemas.microsoft.com/office/drawing/2014/main" id="{BF7F45C4-414C-51FB-BDD2-86024012F1B8}"/>
                      </a:ext>
                    </a:extLst>
                  </p:cNvPr>
                  <p:cNvSpPr/>
                  <p:nvPr/>
                </p:nvSpPr>
                <p:spPr>
                  <a:xfrm>
                    <a:off x="7622038" y="3422183"/>
                    <a:ext cx="38341" cy="38331"/>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130" name="Oval 5129">
                    <a:extLst>
                      <a:ext uri="{FF2B5EF4-FFF2-40B4-BE49-F238E27FC236}">
                        <a16:creationId xmlns:a16="http://schemas.microsoft.com/office/drawing/2014/main" id="{6BA5F372-B4DE-EA50-9223-AB787709D334}"/>
                      </a:ext>
                    </a:extLst>
                  </p:cNvPr>
                  <p:cNvSpPr/>
                  <p:nvPr/>
                </p:nvSpPr>
                <p:spPr>
                  <a:xfrm>
                    <a:off x="7583793" y="3376615"/>
                    <a:ext cx="38341" cy="38331"/>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grpSp>
            <p:grpSp>
              <p:nvGrpSpPr>
                <p:cNvPr id="1069" name="Group 1068">
                  <a:extLst>
                    <a:ext uri="{FF2B5EF4-FFF2-40B4-BE49-F238E27FC236}">
                      <a16:creationId xmlns:a16="http://schemas.microsoft.com/office/drawing/2014/main" id="{4F73D153-F81C-594A-522F-585B3D448CA0}"/>
                    </a:ext>
                  </a:extLst>
                </p:cNvPr>
                <p:cNvGrpSpPr/>
                <p:nvPr/>
              </p:nvGrpSpPr>
              <p:grpSpPr>
                <a:xfrm>
                  <a:off x="5273942" y="3654668"/>
                  <a:ext cx="146807" cy="146769"/>
                  <a:chOff x="7530236" y="3363203"/>
                  <a:chExt cx="146807" cy="146769"/>
                </a:xfrm>
              </p:grpSpPr>
              <p:sp>
                <p:nvSpPr>
                  <p:cNvPr id="1083" name="Oval 1082">
                    <a:extLst>
                      <a:ext uri="{FF2B5EF4-FFF2-40B4-BE49-F238E27FC236}">
                        <a16:creationId xmlns:a16="http://schemas.microsoft.com/office/drawing/2014/main" id="{9D36076E-138B-30F4-E884-A815814E029C}"/>
                      </a:ext>
                    </a:extLst>
                  </p:cNvPr>
                  <p:cNvSpPr/>
                  <p:nvPr/>
                </p:nvSpPr>
                <p:spPr>
                  <a:xfrm>
                    <a:off x="7530236" y="3363203"/>
                    <a:ext cx="146807" cy="146769"/>
                  </a:xfrm>
                  <a:prstGeom prst="ellipse">
                    <a:avLst/>
                  </a:prstGeom>
                  <a:solidFill>
                    <a:srgbClr val="D5CAE8"/>
                  </a:solidFill>
                  <a:ln>
                    <a:solidFill>
                      <a:srgbClr val="D5CAE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120" name="Oval 5119">
                    <a:extLst>
                      <a:ext uri="{FF2B5EF4-FFF2-40B4-BE49-F238E27FC236}">
                        <a16:creationId xmlns:a16="http://schemas.microsoft.com/office/drawing/2014/main" id="{AB277C95-68ED-B366-E743-5B6581974FF5}"/>
                      </a:ext>
                    </a:extLst>
                  </p:cNvPr>
                  <p:cNvSpPr/>
                  <p:nvPr/>
                </p:nvSpPr>
                <p:spPr>
                  <a:xfrm>
                    <a:off x="7558155" y="3434088"/>
                    <a:ext cx="38341" cy="38331"/>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122" name="Oval 5121">
                    <a:extLst>
                      <a:ext uri="{FF2B5EF4-FFF2-40B4-BE49-F238E27FC236}">
                        <a16:creationId xmlns:a16="http://schemas.microsoft.com/office/drawing/2014/main" id="{D0D0FEDA-E5B9-E6C2-3122-BC72F476FF6A}"/>
                      </a:ext>
                    </a:extLst>
                  </p:cNvPr>
                  <p:cNvSpPr/>
                  <p:nvPr/>
                </p:nvSpPr>
                <p:spPr>
                  <a:xfrm>
                    <a:off x="7622038" y="3422183"/>
                    <a:ext cx="38341" cy="38331"/>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5124" name="Oval 5123">
                    <a:extLst>
                      <a:ext uri="{FF2B5EF4-FFF2-40B4-BE49-F238E27FC236}">
                        <a16:creationId xmlns:a16="http://schemas.microsoft.com/office/drawing/2014/main" id="{21484348-2FEC-9864-7AB7-AD71EAFAA38E}"/>
                      </a:ext>
                    </a:extLst>
                  </p:cNvPr>
                  <p:cNvSpPr/>
                  <p:nvPr/>
                </p:nvSpPr>
                <p:spPr>
                  <a:xfrm>
                    <a:off x="7583793" y="3376615"/>
                    <a:ext cx="38341" cy="38331"/>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grpSp>
            <p:grpSp>
              <p:nvGrpSpPr>
                <p:cNvPr id="1071" name="Group 1070">
                  <a:extLst>
                    <a:ext uri="{FF2B5EF4-FFF2-40B4-BE49-F238E27FC236}">
                      <a16:creationId xmlns:a16="http://schemas.microsoft.com/office/drawing/2014/main" id="{B7E29EF4-C328-ABEB-FE44-87A6551C7140}"/>
                    </a:ext>
                  </a:extLst>
                </p:cNvPr>
                <p:cNvGrpSpPr/>
                <p:nvPr/>
              </p:nvGrpSpPr>
              <p:grpSpPr>
                <a:xfrm>
                  <a:off x="5275591" y="3869141"/>
                  <a:ext cx="146807" cy="146769"/>
                  <a:chOff x="7530236" y="3363203"/>
                  <a:chExt cx="146807" cy="146769"/>
                </a:xfrm>
              </p:grpSpPr>
              <p:sp>
                <p:nvSpPr>
                  <p:cNvPr id="1077" name="Oval 1076">
                    <a:extLst>
                      <a:ext uri="{FF2B5EF4-FFF2-40B4-BE49-F238E27FC236}">
                        <a16:creationId xmlns:a16="http://schemas.microsoft.com/office/drawing/2014/main" id="{30E85F54-8ED9-E7A5-C48C-8BDC672C372D}"/>
                      </a:ext>
                    </a:extLst>
                  </p:cNvPr>
                  <p:cNvSpPr/>
                  <p:nvPr/>
                </p:nvSpPr>
                <p:spPr>
                  <a:xfrm>
                    <a:off x="7530236" y="3363203"/>
                    <a:ext cx="146807" cy="146769"/>
                  </a:xfrm>
                  <a:prstGeom prst="ellipse">
                    <a:avLst/>
                  </a:prstGeom>
                  <a:solidFill>
                    <a:srgbClr val="D5CAE8"/>
                  </a:solidFill>
                  <a:ln>
                    <a:solidFill>
                      <a:srgbClr val="D5CAE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1078" name="Oval 1077">
                    <a:extLst>
                      <a:ext uri="{FF2B5EF4-FFF2-40B4-BE49-F238E27FC236}">
                        <a16:creationId xmlns:a16="http://schemas.microsoft.com/office/drawing/2014/main" id="{7843A432-9E72-F5C9-20E3-D7C9DE983C24}"/>
                      </a:ext>
                    </a:extLst>
                  </p:cNvPr>
                  <p:cNvSpPr/>
                  <p:nvPr/>
                </p:nvSpPr>
                <p:spPr>
                  <a:xfrm>
                    <a:off x="7558155" y="3434088"/>
                    <a:ext cx="38341" cy="38331"/>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1079" name="Oval 1078">
                    <a:extLst>
                      <a:ext uri="{FF2B5EF4-FFF2-40B4-BE49-F238E27FC236}">
                        <a16:creationId xmlns:a16="http://schemas.microsoft.com/office/drawing/2014/main" id="{D4F46DFD-E4DE-660C-2205-CAD9A1C741DB}"/>
                      </a:ext>
                    </a:extLst>
                  </p:cNvPr>
                  <p:cNvSpPr/>
                  <p:nvPr/>
                </p:nvSpPr>
                <p:spPr>
                  <a:xfrm>
                    <a:off x="7622038" y="3422183"/>
                    <a:ext cx="38341" cy="38331"/>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1081" name="Oval 1080">
                    <a:extLst>
                      <a:ext uri="{FF2B5EF4-FFF2-40B4-BE49-F238E27FC236}">
                        <a16:creationId xmlns:a16="http://schemas.microsoft.com/office/drawing/2014/main" id="{D557616F-53BB-F1AD-584C-5C6E9F5F85D2}"/>
                      </a:ext>
                    </a:extLst>
                  </p:cNvPr>
                  <p:cNvSpPr/>
                  <p:nvPr/>
                </p:nvSpPr>
                <p:spPr>
                  <a:xfrm>
                    <a:off x="7583793" y="3376615"/>
                    <a:ext cx="38341" cy="38331"/>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grpSp>
            <p:grpSp>
              <p:nvGrpSpPr>
                <p:cNvPr id="1072" name="Group 1071">
                  <a:extLst>
                    <a:ext uri="{FF2B5EF4-FFF2-40B4-BE49-F238E27FC236}">
                      <a16:creationId xmlns:a16="http://schemas.microsoft.com/office/drawing/2014/main" id="{E833D4A6-1DB2-A5AA-F063-A00DCCE7DA36}"/>
                    </a:ext>
                  </a:extLst>
                </p:cNvPr>
                <p:cNvGrpSpPr/>
                <p:nvPr/>
              </p:nvGrpSpPr>
              <p:grpSpPr>
                <a:xfrm>
                  <a:off x="5037548" y="3784809"/>
                  <a:ext cx="146807" cy="146769"/>
                  <a:chOff x="7530236" y="3363203"/>
                  <a:chExt cx="146807" cy="146769"/>
                </a:xfrm>
              </p:grpSpPr>
              <p:sp>
                <p:nvSpPr>
                  <p:cNvPr id="1073" name="Oval 1072">
                    <a:extLst>
                      <a:ext uri="{FF2B5EF4-FFF2-40B4-BE49-F238E27FC236}">
                        <a16:creationId xmlns:a16="http://schemas.microsoft.com/office/drawing/2014/main" id="{0B774D28-3A2E-E900-F500-CE982AFB614D}"/>
                      </a:ext>
                    </a:extLst>
                  </p:cNvPr>
                  <p:cNvSpPr/>
                  <p:nvPr/>
                </p:nvSpPr>
                <p:spPr>
                  <a:xfrm>
                    <a:off x="7530236" y="3363203"/>
                    <a:ext cx="146807" cy="146769"/>
                  </a:xfrm>
                  <a:prstGeom prst="ellipse">
                    <a:avLst/>
                  </a:prstGeom>
                  <a:solidFill>
                    <a:srgbClr val="D5CAE8"/>
                  </a:solidFill>
                  <a:ln>
                    <a:solidFill>
                      <a:srgbClr val="D5CAE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1074" name="Oval 1073">
                    <a:extLst>
                      <a:ext uri="{FF2B5EF4-FFF2-40B4-BE49-F238E27FC236}">
                        <a16:creationId xmlns:a16="http://schemas.microsoft.com/office/drawing/2014/main" id="{F2F26F11-91B7-BF56-CADB-A53B1CD1BEC9}"/>
                      </a:ext>
                    </a:extLst>
                  </p:cNvPr>
                  <p:cNvSpPr/>
                  <p:nvPr/>
                </p:nvSpPr>
                <p:spPr>
                  <a:xfrm>
                    <a:off x="7558155" y="3434088"/>
                    <a:ext cx="38341" cy="38331"/>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1075" name="Oval 1074">
                    <a:extLst>
                      <a:ext uri="{FF2B5EF4-FFF2-40B4-BE49-F238E27FC236}">
                        <a16:creationId xmlns:a16="http://schemas.microsoft.com/office/drawing/2014/main" id="{AC86654F-7A0A-E1BB-52D3-FE3DA7FDD28A}"/>
                      </a:ext>
                    </a:extLst>
                  </p:cNvPr>
                  <p:cNvSpPr/>
                  <p:nvPr/>
                </p:nvSpPr>
                <p:spPr>
                  <a:xfrm>
                    <a:off x="7622038" y="3422183"/>
                    <a:ext cx="38341" cy="38331"/>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sp>
                <p:nvSpPr>
                  <p:cNvPr id="1076" name="Oval 1075">
                    <a:extLst>
                      <a:ext uri="{FF2B5EF4-FFF2-40B4-BE49-F238E27FC236}">
                        <a16:creationId xmlns:a16="http://schemas.microsoft.com/office/drawing/2014/main" id="{CAE6B7FA-5DD3-6EB7-161F-E3BA4657BFED}"/>
                      </a:ext>
                    </a:extLst>
                  </p:cNvPr>
                  <p:cNvSpPr/>
                  <p:nvPr/>
                </p:nvSpPr>
                <p:spPr>
                  <a:xfrm>
                    <a:off x="7583793" y="3376615"/>
                    <a:ext cx="38341" cy="38331"/>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7200"/>
                  </a:p>
                </p:txBody>
              </p:sp>
            </p:grpSp>
          </p:grpSp>
        </p:grpSp>
        <p:cxnSp>
          <p:nvCxnSpPr>
            <p:cNvPr id="1044" name="Straight Connector 1043">
              <a:extLst>
                <a:ext uri="{FF2B5EF4-FFF2-40B4-BE49-F238E27FC236}">
                  <a16:creationId xmlns:a16="http://schemas.microsoft.com/office/drawing/2014/main" id="{EDB1BCC4-7390-D73A-BA91-45D04A6089BE}"/>
                </a:ext>
              </a:extLst>
            </p:cNvPr>
            <p:cNvCxnSpPr>
              <a:cxnSpLocks/>
            </p:cNvCxnSpPr>
            <p:nvPr/>
          </p:nvCxnSpPr>
          <p:spPr>
            <a:xfrm>
              <a:off x="5417981" y="3898451"/>
              <a:ext cx="0" cy="210884"/>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46" name="Straight Connector 1045">
              <a:extLst>
                <a:ext uri="{FF2B5EF4-FFF2-40B4-BE49-F238E27FC236}">
                  <a16:creationId xmlns:a16="http://schemas.microsoft.com/office/drawing/2014/main" id="{36D41456-5E78-E1A8-CD9E-2830CC982850}"/>
                </a:ext>
              </a:extLst>
            </p:cNvPr>
            <p:cNvCxnSpPr>
              <a:cxnSpLocks/>
            </p:cNvCxnSpPr>
            <p:nvPr/>
          </p:nvCxnSpPr>
          <p:spPr>
            <a:xfrm>
              <a:off x="6061708" y="3362432"/>
              <a:ext cx="0" cy="210884"/>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sp>
        <p:nvSpPr>
          <p:cNvPr id="2076" name="TextBox 2075">
            <a:extLst>
              <a:ext uri="{FF2B5EF4-FFF2-40B4-BE49-F238E27FC236}">
                <a16:creationId xmlns:a16="http://schemas.microsoft.com/office/drawing/2014/main" id="{AA160E01-5751-4A9D-E39E-CD82F9AE25F2}"/>
              </a:ext>
            </a:extLst>
          </p:cNvPr>
          <p:cNvSpPr txBox="1"/>
          <p:nvPr/>
        </p:nvSpPr>
        <p:spPr>
          <a:xfrm>
            <a:off x="15906386" y="2007398"/>
            <a:ext cx="4313391" cy="1477328"/>
          </a:xfrm>
          <a:prstGeom prst="rect">
            <a:avLst/>
          </a:prstGeom>
          <a:noFill/>
          <a:effectLst>
            <a:outerShdw blurRad="50800" dist="38100" dir="5400000" algn="t" rotWithShape="0">
              <a:prstClr val="black">
                <a:alpha val="40000"/>
              </a:prstClr>
            </a:outerShdw>
          </a:effectLst>
        </p:spPr>
        <p:txBody>
          <a:bodyPr wrap="square" rtlCol="0">
            <a:spAutoFit/>
          </a:bodyPr>
          <a:lstStyle/>
          <a:p>
            <a:pPr algn="ctr"/>
            <a:r>
              <a:rPr lang="en-US" sz="3000">
                <a:latin typeface="Noto IKEA Latin" panose="020B0502040504020204" pitchFamily="34" charset="0"/>
              </a:rPr>
              <a:t>Innovation Project Execution following the DNS process</a:t>
            </a:r>
          </a:p>
        </p:txBody>
      </p:sp>
      <p:sp>
        <p:nvSpPr>
          <p:cNvPr id="2077" name="TextBox 2076">
            <a:extLst>
              <a:ext uri="{FF2B5EF4-FFF2-40B4-BE49-F238E27FC236}">
                <a16:creationId xmlns:a16="http://schemas.microsoft.com/office/drawing/2014/main" id="{99224527-60BE-206B-048B-196B173EEFCD}"/>
              </a:ext>
            </a:extLst>
          </p:cNvPr>
          <p:cNvSpPr txBox="1"/>
          <p:nvPr/>
        </p:nvSpPr>
        <p:spPr>
          <a:xfrm>
            <a:off x="20391469" y="2347620"/>
            <a:ext cx="3060442" cy="1015663"/>
          </a:xfrm>
          <a:prstGeom prst="rect">
            <a:avLst/>
          </a:prstGeom>
          <a:noFill/>
          <a:effectLst>
            <a:outerShdw blurRad="50800" dist="38100" dir="5400000" algn="t" rotWithShape="0">
              <a:prstClr val="black">
                <a:alpha val="40000"/>
              </a:prstClr>
            </a:outerShdw>
          </a:effectLst>
        </p:spPr>
        <p:txBody>
          <a:bodyPr wrap="square" rtlCol="0">
            <a:spAutoFit/>
          </a:bodyPr>
          <a:lstStyle/>
          <a:p>
            <a:pPr algn="ctr"/>
            <a:r>
              <a:rPr lang="en-US" sz="3000">
                <a:latin typeface="Noto IKEA Latin" panose="020B0502040504020204" pitchFamily="34" charset="0"/>
              </a:rPr>
              <a:t>Innovation Portfolio</a:t>
            </a:r>
          </a:p>
        </p:txBody>
      </p:sp>
      <p:sp>
        <p:nvSpPr>
          <p:cNvPr id="2083" name="TextBox 2082">
            <a:extLst>
              <a:ext uri="{FF2B5EF4-FFF2-40B4-BE49-F238E27FC236}">
                <a16:creationId xmlns:a16="http://schemas.microsoft.com/office/drawing/2014/main" id="{02FA636C-1283-4577-DC09-B72C5ABADE25}"/>
              </a:ext>
            </a:extLst>
          </p:cNvPr>
          <p:cNvSpPr txBox="1"/>
          <p:nvPr/>
        </p:nvSpPr>
        <p:spPr>
          <a:xfrm>
            <a:off x="21534587" y="8666976"/>
            <a:ext cx="2138545" cy="400110"/>
          </a:xfrm>
          <a:prstGeom prst="rect">
            <a:avLst/>
          </a:prstGeom>
          <a:noFill/>
          <a:effectLst>
            <a:outerShdw blurRad="50800" dist="38100" dir="5400000" algn="t" rotWithShape="0">
              <a:prstClr val="black">
                <a:alpha val="40000"/>
              </a:prstClr>
            </a:outerShdw>
          </a:effectLst>
        </p:spPr>
        <p:txBody>
          <a:bodyPr wrap="square" rtlCol="0">
            <a:spAutoFit/>
          </a:bodyPr>
          <a:lstStyle/>
          <a:p>
            <a:pPr algn="ctr"/>
            <a:r>
              <a:rPr lang="en-US" sz="2000">
                <a:latin typeface="Noto IKEA Latin" panose="020B0502040504020204" pitchFamily="34" charset="0"/>
              </a:rPr>
              <a:t>Processes</a:t>
            </a:r>
            <a:endParaRPr lang="sv-SE" sz="2000">
              <a:latin typeface="Noto IKEA Latin" panose="020B0502040504020204" pitchFamily="34" charset="0"/>
            </a:endParaRPr>
          </a:p>
        </p:txBody>
      </p:sp>
      <p:pic>
        <p:nvPicPr>
          <p:cNvPr id="2096" name="Graphic 2095" descr="Flowchart outline">
            <a:extLst>
              <a:ext uri="{FF2B5EF4-FFF2-40B4-BE49-F238E27FC236}">
                <a16:creationId xmlns:a16="http://schemas.microsoft.com/office/drawing/2014/main" id="{5EB4DCE6-0A4C-F2F2-81CB-0813CEFB3EC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1224670" y="8541924"/>
            <a:ext cx="602763" cy="602763"/>
          </a:xfrm>
          <a:prstGeom prst="rect">
            <a:avLst/>
          </a:prstGeom>
        </p:spPr>
      </p:pic>
      <p:pic>
        <p:nvPicPr>
          <p:cNvPr id="2100" name="Graphic 2099" descr="Robot Hand with solid fill">
            <a:extLst>
              <a:ext uri="{FF2B5EF4-FFF2-40B4-BE49-F238E27FC236}">
                <a16:creationId xmlns:a16="http://schemas.microsoft.com/office/drawing/2014/main" id="{33871B55-CCC0-3E52-1FC3-41E378ACC67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1132646" y="6852119"/>
            <a:ext cx="737323" cy="737323"/>
          </a:xfrm>
          <a:prstGeom prst="rect">
            <a:avLst/>
          </a:prstGeom>
        </p:spPr>
      </p:pic>
      <p:pic>
        <p:nvPicPr>
          <p:cNvPr id="5186" name="Graphic 5185" descr="Gears with solid fill">
            <a:extLst>
              <a:ext uri="{FF2B5EF4-FFF2-40B4-BE49-F238E27FC236}">
                <a16:creationId xmlns:a16="http://schemas.microsoft.com/office/drawing/2014/main" id="{2AD99F5F-98E3-922F-03CC-F91BA17F75F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1031985" y="7673781"/>
            <a:ext cx="914400" cy="914400"/>
          </a:xfrm>
          <a:prstGeom prst="rect">
            <a:avLst/>
          </a:prstGeom>
        </p:spPr>
      </p:pic>
      <p:cxnSp>
        <p:nvCxnSpPr>
          <p:cNvPr id="8" name="Straight Arrow Connector 7">
            <a:extLst>
              <a:ext uri="{FF2B5EF4-FFF2-40B4-BE49-F238E27FC236}">
                <a16:creationId xmlns:a16="http://schemas.microsoft.com/office/drawing/2014/main" id="{47B7B44B-45FC-EAFB-ACE9-A638C5A7B6F6}"/>
              </a:ext>
            </a:extLst>
          </p:cNvPr>
          <p:cNvCxnSpPr>
            <a:cxnSpLocks/>
          </p:cNvCxnSpPr>
          <p:nvPr/>
        </p:nvCxnSpPr>
        <p:spPr>
          <a:xfrm>
            <a:off x="19719758" y="6926150"/>
            <a:ext cx="921977"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945285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1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8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person, outdoor, ground, way&#10;&#10;Description automatically generated">
            <a:extLst>
              <a:ext uri="{FF2B5EF4-FFF2-40B4-BE49-F238E27FC236}">
                <a16:creationId xmlns:a16="http://schemas.microsoft.com/office/drawing/2014/main" id="{E7E667AA-C13D-641B-863D-650547CFA78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5730"/>
          <a:stretch/>
        </p:blipFill>
        <p:spPr>
          <a:xfrm>
            <a:off x="39" y="466"/>
            <a:ext cx="24382373" cy="13715087"/>
          </a:xfrm>
          <a:prstGeom prst="rect">
            <a:avLst/>
          </a:prstGeom>
          <a:noFill/>
        </p:spPr>
      </p:pic>
      <p:sp>
        <p:nvSpPr>
          <p:cNvPr id="7" name="Title 5">
            <a:extLst>
              <a:ext uri="{FF2B5EF4-FFF2-40B4-BE49-F238E27FC236}">
                <a16:creationId xmlns:a16="http://schemas.microsoft.com/office/drawing/2014/main" id="{A9B2EA48-6352-FBE7-5B07-6334E9D96B19}"/>
              </a:ext>
            </a:extLst>
          </p:cNvPr>
          <p:cNvSpPr txBox="1">
            <a:spLocks/>
          </p:cNvSpPr>
          <p:nvPr/>
        </p:nvSpPr>
        <p:spPr>
          <a:xfrm>
            <a:off x="701750" y="9820081"/>
            <a:ext cx="7726317" cy="2837067"/>
          </a:xfrm>
          <a:prstGeom prst="rect">
            <a:avLst/>
          </a:prstGeom>
          <a:noFill/>
        </p:spPr>
        <p:txBody>
          <a:bodyPr lIns="182868" tIns="91434" rIns="182868" bIns="91434" anchor="ctr"/>
          <a:lstStyle>
            <a:lvl1pPr algn="l" defTabSz="914377" rtl="0" eaLnBrk="1" latinLnBrk="0" hangingPunct="1">
              <a:lnSpc>
                <a:spcPct val="100000"/>
              </a:lnSpc>
              <a:spcBef>
                <a:spcPct val="0"/>
              </a:spcBef>
              <a:buNone/>
              <a:defRPr sz="6000" b="1" kern="1200" spc="-100" baseline="0">
                <a:solidFill>
                  <a:schemeClr val="tx1"/>
                </a:solidFill>
                <a:latin typeface="Noto IKEA Latin" panose="020B0502040504020204" pitchFamily="34" charset="0"/>
                <a:ea typeface="+mj-ea"/>
                <a:cs typeface="+mj-cs"/>
              </a:defRPr>
            </a:lvl1pPr>
          </a:lstStyle>
          <a:p>
            <a:pPr algn="ctr" defTabSz="1828663"/>
            <a:r>
              <a:rPr lang="en-US" sz="9600" spc="-200">
                <a:solidFill>
                  <a:schemeClr val="bg1"/>
                </a:solidFill>
                <a:latin typeface="Noto IKEA Latin"/>
                <a:cs typeface="Times New Roman"/>
              </a:rPr>
              <a:t>Thank you!</a:t>
            </a:r>
            <a:endParaRPr lang="en-US" sz="9600" spc="-200">
              <a:solidFill>
                <a:schemeClr val="bg1"/>
              </a:solidFill>
            </a:endParaRPr>
          </a:p>
        </p:txBody>
      </p:sp>
      <p:pic>
        <p:nvPicPr>
          <p:cNvPr id="2" name="object 7">
            <a:extLst>
              <a:ext uri="{FF2B5EF4-FFF2-40B4-BE49-F238E27FC236}">
                <a16:creationId xmlns:a16="http://schemas.microsoft.com/office/drawing/2014/main" id="{2D3523E4-9543-E0C3-74B3-87BCB37AB6B9}"/>
              </a:ext>
            </a:extLst>
          </p:cNvPr>
          <p:cNvPicPr/>
          <p:nvPr/>
        </p:nvPicPr>
        <p:blipFill>
          <a:blip r:embed="rId4" cstate="print"/>
          <a:stretch>
            <a:fillRect/>
          </a:stretch>
        </p:blipFill>
        <p:spPr>
          <a:xfrm>
            <a:off x="20322739" y="11344365"/>
            <a:ext cx="2560149" cy="1036227"/>
          </a:xfrm>
          <a:prstGeom prst="rect">
            <a:avLst/>
          </a:prstGeom>
        </p:spPr>
      </p:pic>
    </p:spTree>
    <p:extLst>
      <p:ext uri="{BB962C8B-B14F-4D97-AF65-F5344CB8AC3E}">
        <p14:creationId xmlns:p14="http://schemas.microsoft.com/office/powerpoint/2010/main" val="41069104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Puzzle pieces">
            <a:extLst>
              <a:ext uri="{FF2B5EF4-FFF2-40B4-BE49-F238E27FC236}">
                <a16:creationId xmlns:a16="http://schemas.microsoft.com/office/drawing/2014/main" id="{8BBCEF26-25DB-2A43-D2F7-50829E7BFA85}"/>
              </a:ext>
            </a:extLst>
          </p:cNvPr>
          <p:cNvPicPr>
            <a:picLocks noChangeAspect="1"/>
          </p:cNvPicPr>
          <p:nvPr/>
        </p:nvPicPr>
        <p:blipFill rotWithShape="1">
          <a:blip r:embed="rId3">
            <a:alphaModFix amt="8000"/>
            <a:duotone>
              <a:schemeClr val="accent3">
                <a:shade val="45000"/>
                <a:satMod val="135000"/>
              </a:schemeClr>
              <a:prstClr val="white"/>
            </a:duotone>
          </a:blip>
          <a:srcRect b="15289"/>
          <a:stretch/>
        </p:blipFill>
        <p:spPr>
          <a:xfrm>
            <a:off x="-1" y="0"/>
            <a:ext cx="24382413" cy="13716000"/>
          </a:xfrm>
          <a:prstGeom prst="rect">
            <a:avLst/>
          </a:prstGeom>
        </p:spPr>
      </p:pic>
      <p:sp>
        <p:nvSpPr>
          <p:cNvPr id="23" name="Titel 22">
            <a:extLst>
              <a:ext uri="{FF2B5EF4-FFF2-40B4-BE49-F238E27FC236}">
                <a16:creationId xmlns:a16="http://schemas.microsoft.com/office/drawing/2014/main" id="{B929D04F-E9DA-770E-E677-156B8BC6B2BA}"/>
              </a:ext>
            </a:extLst>
          </p:cNvPr>
          <p:cNvSpPr>
            <a:spLocks noGrp="1"/>
          </p:cNvSpPr>
          <p:nvPr>
            <p:ph type="title"/>
          </p:nvPr>
        </p:nvSpPr>
        <p:spPr>
          <a:xfrm>
            <a:off x="1676293" y="1571275"/>
            <a:ext cx="21033007" cy="1979999"/>
          </a:xfrm>
        </p:spPr>
        <p:txBody>
          <a:bodyPr/>
          <a:lstStyle/>
          <a:p>
            <a:r>
              <a:rPr lang="de-DE" err="1"/>
              <a:t>Roles</a:t>
            </a:r>
            <a:r>
              <a:rPr lang="de-DE"/>
              <a:t> in </a:t>
            </a:r>
            <a:r>
              <a:rPr lang="de-DE" err="1"/>
              <a:t>the</a:t>
            </a:r>
            <a:r>
              <a:rPr lang="de-DE"/>
              <a:t> Innovation Team</a:t>
            </a:r>
          </a:p>
        </p:txBody>
      </p:sp>
      <p:grpSp>
        <p:nvGrpSpPr>
          <p:cNvPr id="33" name="Gruppieren 32">
            <a:extLst>
              <a:ext uri="{FF2B5EF4-FFF2-40B4-BE49-F238E27FC236}">
                <a16:creationId xmlns:a16="http://schemas.microsoft.com/office/drawing/2014/main" id="{2FED6AF1-7BEA-EA12-28CC-01321604E737}"/>
              </a:ext>
            </a:extLst>
          </p:cNvPr>
          <p:cNvGrpSpPr/>
          <p:nvPr/>
        </p:nvGrpSpPr>
        <p:grpSpPr>
          <a:xfrm>
            <a:off x="440871" y="1124591"/>
            <a:ext cx="21638134" cy="11799473"/>
            <a:chOff x="2537892" y="965510"/>
            <a:chExt cx="19595986" cy="11799473"/>
          </a:xfrm>
        </p:grpSpPr>
        <p:graphicFrame>
          <p:nvGraphicFramePr>
            <p:cNvPr id="28" name="Diagramm 27">
              <a:extLst>
                <a:ext uri="{FF2B5EF4-FFF2-40B4-BE49-F238E27FC236}">
                  <a16:creationId xmlns:a16="http://schemas.microsoft.com/office/drawing/2014/main" id="{46E6BEFF-3E1F-FA46-2A96-11A42F042CC1}"/>
                </a:ext>
              </a:extLst>
            </p:cNvPr>
            <p:cNvGraphicFramePr/>
            <p:nvPr/>
          </p:nvGraphicFramePr>
          <p:xfrm>
            <a:off x="2537892" y="965510"/>
            <a:ext cx="19306628" cy="1083662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9" name="Textfeld 28">
              <a:extLst>
                <a:ext uri="{FF2B5EF4-FFF2-40B4-BE49-F238E27FC236}">
                  <a16:creationId xmlns:a16="http://schemas.microsoft.com/office/drawing/2014/main" id="{CBED7AEC-3283-3002-ECFB-B4F46E159CE9}"/>
                </a:ext>
              </a:extLst>
            </p:cNvPr>
            <p:cNvSpPr txBox="1"/>
            <p:nvPr/>
          </p:nvSpPr>
          <p:spPr>
            <a:xfrm>
              <a:off x="2871071" y="9114966"/>
              <a:ext cx="3620678" cy="3317360"/>
            </a:xfrm>
            <a:prstGeom prst="rect">
              <a:avLst/>
            </a:prstGeom>
            <a:noFill/>
          </p:spPr>
          <p:txBody>
            <a:bodyPr wrap="square" rtlCol="0">
              <a:noAutofit/>
            </a:bodyPr>
            <a:lstStyle/>
            <a:p>
              <a:pPr algn="l"/>
              <a:r>
                <a:rPr lang="de-DE" sz="3200"/>
                <a:t>Manage Innovation Projects end </a:t>
              </a:r>
              <a:r>
                <a:rPr lang="de-DE" sz="3200" err="1"/>
                <a:t>to</a:t>
              </a:r>
              <a:r>
                <a:rPr lang="de-DE" sz="3200"/>
                <a:t> end.</a:t>
              </a:r>
              <a:br>
                <a:rPr lang="de-DE" sz="3200"/>
              </a:br>
              <a:r>
                <a:rPr lang="de-DE" sz="3200"/>
                <a:t>(</a:t>
              </a:r>
              <a:r>
                <a:rPr lang="de-DE" sz="3200" err="1"/>
                <a:t>Explore</a:t>
              </a:r>
              <a:r>
                <a:rPr lang="de-DE" sz="3200"/>
                <a:t>, Create, </a:t>
              </a:r>
              <a:r>
                <a:rPr lang="de-DE" sz="3200" err="1"/>
                <a:t>Prepare</a:t>
              </a:r>
              <a:r>
                <a:rPr lang="de-DE" sz="3200"/>
                <a:t> </a:t>
              </a:r>
              <a:r>
                <a:rPr lang="de-DE" sz="3200" err="1"/>
                <a:t>for</a:t>
              </a:r>
              <a:r>
                <a:rPr lang="de-DE" sz="3200"/>
                <a:t> </a:t>
              </a:r>
              <a:r>
                <a:rPr lang="de-DE" sz="3200" err="1"/>
                <a:t>Deployment</a:t>
              </a:r>
              <a:r>
                <a:rPr lang="de-DE" sz="3200"/>
                <a:t>)</a:t>
              </a:r>
            </a:p>
          </p:txBody>
        </p:sp>
        <p:sp>
          <p:nvSpPr>
            <p:cNvPr id="30" name="Textfeld 29">
              <a:extLst>
                <a:ext uri="{FF2B5EF4-FFF2-40B4-BE49-F238E27FC236}">
                  <a16:creationId xmlns:a16="http://schemas.microsoft.com/office/drawing/2014/main" id="{D7F96ED2-F276-B223-4C5B-5A666666A4F6}"/>
                </a:ext>
              </a:extLst>
            </p:cNvPr>
            <p:cNvSpPr txBox="1"/>
            <p:nvPr/>
          </p:nvSpPr>
          <p:spPr>
            <a:xfrm>
              <a:off x="10462905" y="9198408"/>
              <a:ext cx="3466285" cy="3566575"/>
            </a:xfrm>
            <a:prstGeom prst="rect">
              <a:avLst/>
            </a:prstGeom>
            <a:noFill/>
          </p:spPr>
          <p:txBody>
            <a:bodyPr wrap="square" rtlCol="0">
              <a:noAutofit/>
            </a:bodyPr>
            <a:lstStyle/>
            <a:p>
              <a:pPr algn="l"/>
              <a:r>
                <a:rPr lang="de-DE" sz="3200"/>
                <a:t>Design, </a:t>
              </a:r>
              <a:r>
                <a:rPr lang="de-DE" sz="3200" err="1"/>
                <a:t>build</a:t>
              </a:r>
              <a:r>
                <a:rPr lang="de-DE" sz="3200"/>
                <a:t> and </a:t>
              </a:r>
              <a:r>
                <a:rPr lang="de-DE" sz="3200" err="1"/>
                <a:t>test</a:t>
              </a:r>
              <a:r>
                <a:rPr lang="de-DE" sz="3200"/>
                <a:t> </a:t>
              </a:r>
              <a:r>
                <a:rPr lang="de-DE" sz="3200" err="1"/>
                <a:t>solutions</a:t>
              </a:r>
              <a:r>
                <a:rPr lang="de-DE" sz="3200"/>
                <a:t> in </a:t>
              </a:r>
              <a:r>
                <a:rPr lang="de-DE" sz="3200" err="1"/>
                <a:t>the</a:t>
              </a:r>
              <a:r>
                <a:rPr lang="de-DE" sz="3200"/>
                <a:t> </a:t>
              </a:r>
              <a:r>
                <a:rPr lang="de-DE" sz="3200" err="1"/>
                <a:t>Intralogisitcs</a:t>
              </a:r>
              <a:r>
                <a:rPr lang="de-DE" sz="3200"/>
                <a:t> Innovation Lab. </a:t>
              </a:r>
            </a:p>
          </p:txBody>
        </p:sp>
        <p:sp>
          <p:nvSpPr>
            <p:cNvPr id="31" name="Textfeld 30">
              <a:extLst>
                <a:ext uri="{FF2B5EF4-FFF2-40B4-BE49-F238E27FC236}">
                  <a16:creationId xmlns:a16="http://schemas.microsoft.com/office/drawing/2014/main" id="{08E0238B-3D64-D303-EA31-08638C51154F}"/>
                </a:ext>
              </a:extLst>
            </p:cNvPr>
            <p:cNvSpPr txBox="1"/>
            <p:nvPr/>
          </p:nvSpPr>
          <p:spPr>
            <a:xfrm>
              <a:off x="14688224" y="9143177"/>
              <a:ext cx="3466285" cy="3317359"/>
            </a:xfrm>
            <a:prstGeom prst="rect">
              <a:avLst/>
            </a:prstGeom>
            <a:noFill/>
          </p:spPr>
          <p:txBody>
            <a:bodyPr wrap="square" rtlCol="0">
              <a:noAutofit/>
            </a:bodyPr>
            <a:lstStyle/>
            <a:p>
              <a:r>
                <a:rPr lang="de-DE" sz="3200" err="1"/>
                <a:t>Build</a:t>
              </a:r>
              <a:r>
                <a:rPr lang="de-DE" sz="3200"/>
                <a:t> </a:t>
              </a:r>
              <a:r>
                <a:rPr lang="de-DE" sz="3200" err="1"/>
                <a:t>prototypes</a:t>
              </a:r>
              <a:r>
                <a:rPr lang="de-DE" sz="3200"/>
                <a:t>, support in rapid </a:t>
              </a:r>
              <a:r>
                <a:rPr lang="de-DE" sz="3200" err="1"/>
                <a:t>experiments</a:t>
              </a:r>
              <a:r>
                <a:rPr lang="de-DE" sz="3200"/>
                <a:t>, </a:t>
              </a:r>
              <a:r>
                <a:rPr lang="de-DE" sz="3200" err="1"/>
                <a:t>build</a:t>
              </a:r>
              <a:r>
                <a:rPr lang="de-DE" sz="3200"/>
                <a:t> </a:t>
              </a:r>
              <a:r>
                <a:rPr lang="de-DE" sz="3200" err="1"/>
                <a:t>solutions</a:t>
              </a:r>
              <a:r>
                <a:rPr lang="de-DE" sz="3200"/>
                <a:t> in </a:t>
              </a:r>
              <a:r>
                <a:rPr lang="de-DE" sz="3200" err="1"/>
                <a:t>the</a:t>
              </a:r>
              <a:r>
                <a:rPr lang="de-DE" sz="3200"/>
                <a:t> </a:t>
              </a:r>
              <a:r>
                <a:rPr lang="de-DE" sz="3200" err="1"/>
                <a:t>Intralogistics</a:t>
              </a:r>
              <a:r>
                <a:rPr lang="de-DE" sz="3200"/>
                <a:t> Innovation Lab.</a:t>
              </a:r>
            </a:p>
          </p:txBody>
        </p:sp>
        <p:sp>
          <p:nvSpPr>
            <p:cNvPr id="32" name="Textfeld 31">
              <a:extLst>
                <a:ext uri="{FF2B5EF4-FFF2-40B4-BE49-F238E27FC236}">
                  <a16:creationId xmlns:a16="http://schemas.microsoft.com/office/drawing/2014/main" id="{92C8F53C-591F-B158-12DD-B3769C44E6DC}"/>
                </a:ext>
              </a:extLst>
            </p:cNvPr>
            <p:cNvSpPr txBox="1"/>
            <p:nvPr/>
          </p:nvSpPr>
          <p:spPr>
            <a:xfrm>
              <a:off x="18072240" y="9114967"/>
              <a:ext cx="4061638" cy="3317359"/>
            </a:xfrm>
            <a:prstGeom prst="rect">
              <a:avLst/>
            </a:prstGeom>
            <a:noFill/>
          </p:spPr>
          <p:txBody>
            <a:bodyPr wrap="square" rtlCol="0">
              <a:noAutofit/>
            </a:bodyPr>
            <a:lstStyle/>
            <a:p>
              <a:pPr algn="l"/>
              <a:r>
                <a:rPr lang="de-DE" sz="3200"/>
                <a:t>Responsible for administrative tasks in the Intralogistics Innovation Lab. (</a:t>
              </a:r>
              <a:r>
                <a:rPr lang="de-DE" sz="3200" err="1"/>
                <a:t>inbound</a:t>
              </a:r>
              <a:r>
                <a:rPr lang="de-DE" sz="3200"/>
                <a:t>, stock…)</a:t>
              </a:r>
            </a:p>
          </p:txBody>
        </p:sp>
      </p:grpSp>
      <p:sp>
        <p:nvSpPr>
          <p:cNvPr id="2" name="Textfeld 29">
            <a:extLst>
              <a:ext uri="{FF2B5EF4-FFF2-40B4-BE49-F238E27FC236}">
                <a16:creationId xmlns:a16="http://schemas.microsoft.com/office/drawing/2014/main" id="{1D4CC40C-953A-CA79-C4A1-48F71C36B12D}"/>
              </a:ext>
            </a:extLst>
          </p:cNvPr>
          <p:cNvSpPr txBox="1"/>
          <p:nvPr/>
        </p:nvSpPr>
        <p:spPr>
          <a:xfrm>
            <a:off x="5756577" y="9274047"/>
            <a:ext cx="3017708" cy="3970898"/>
          </a:xfrm>
          <a:prstGeom prst="rect">
            <a:avLst/>
          </a:prstGeom>
          <a:noFill/>
        </p:spPr>
        <p:txBody>
          <a:bodyPr wrap="square" rtlCol="0">
            <a:noAutofit/>
          </a:bodyPr>
          <a:lstStyle/>
          <a:p>
            <a:pPr algn="l"/>
            <a:r>
              <a:rPr lang="de-DE" sz="3200"/>
              <a:t>Lead </a:t>
            </a:r>
            <a:r>
              <a:rPr lang="de-DE" sz="3200" err="1"/>
              <a:t>the</a:t>
            </a:r>
            <a:r>
              <a:rPr lang="de-DE" sz="3200"/>
              <a:t> Design, </a:t>
            </a:r>
            <a:r>
              <a:rPr lang="de-DE" sz="3200" err="1"/>
              <a:t>build</a:t>
            </a:r>
            <a:r>
              <a:rPr lang="de-DE" sz="3200"/>
              <a:t> and </a:t>
            </a:r>
            <a:r>
              <a:rPr lang="de-DE" sz="3200" err="1"/>
              <a:t>test</a:t>
            </a:r>
            <a:r>
              <a:rPr lang="de-DE" sz="3200"/>
              <a:t> of </a:t>
            </a:r>
            <a:r>
              <a:rPr lang="de-DE" sz="3200" err="1"/>
              <a:t>solutions</a:t>
            </a:r>
            <a:r>
              <a:rPr lang="de-DE" sz="3200"/>
              <a:t>.</a:t>
            </a:r>
          </a:p>
        </p:txBody>
      </p:sp>
    </p:spTree>
    <p:extLst>
      <p:ext uri="{BB962C8B-B14F-4D97-AF65-F5344CB8AC3E}">
        <p14:creationId xmlns:p14="http://schemas.microsoft.com/office/powerpoint/2010/main" val="33126606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4">
            <p14:nvContentPartPr>
              <p14:cNvPr id="13" name="Ink 12">
                <a:extLst>
                  <a:ext uri="{FF2B5EF4-FFF2-40B4-BE49-F238E27FC236}">
                    <a16:creationId xmlns:a16="http://schemas.microsoft.com/office/drawing/2014/main" id="{0784FAD7-2963-D659-4BD0-A7F9D79F919B}"/>
                  </a:ext>
                </a:extLst>
              </p14:cNvPr>
              <p14:cNvContentPartPr/>
              <p14:nvPr/>
            </p14:nvContentPartPr>
            <p14:xfrm>
              <a:off x="19657280" y="-6553933"/>
              <a:ext cx="720" cy="720"/>
            </p14:xfrm>
          </p:contentPart>
        </mc:Choice>
        <mc:Fallback xmlns="">
          <p:pic>
            <p:nvPicPr>
              <p:cNvPr id="13" name="Ink 12">
                <a:extLst>
                  <a:ext uri="{FF2B5EF4-FFF2-40B4-BE49-F238E27FC236}">
                    <a16:creationId xmlns:a16="http://schemas.microsoft.com/office/drawing/2014/main" id="{0784FAD7-2963-D659-4BD0-A7F9D79F919B}"/>
                  </a:ext>
                </a:extLst>
              </p:cNvPr>
              <p:cNvPicPr/>
              <p:nvPr/>
            </p:nvPicPr>
            <p:blipFill>
              <a:blip r:embed="rId5"/>
              <a:stretch>
                <a:fillRect/>
              </a:stretch>
            </p:blipFill>
            <p:spPr>
              <a:xfrm>
                <a:off x="19639280" y="-6571933"/>
                <a:ext cx="360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14" name="Ink 13">
                <a:extLst>
                  <a:ext uri="{FF2B5EF4-FFF2-40B4-BE49-F238E27FC236}">
                    <a16:creationId xmlns:a16="http://schemas.microsoft.com/office/drawing/2014/main" id="{208B00B0-3253-0EAC-C76A-BC98D7CF4A74}"/>
                  </a:ext>
                </a:extLst>
              </p14:cNvPr>
              <p14:cNvContentPartPr/>
              <p14:nvPr/>
            </p14:nvContentPartPr>
            <p14:xfrm>
              <a:off x="17244717" y="101040"/>
              <a:ext cx="720" cy="720"/>
            </p14:xfrm>
          </p:contentPart>
        </mc:Choice>
        <mc:Fallback xmlns="">
          <p:pic>
            <p:nvPicPr>
              <p:cNvPr id="14" name="Ink 13">
                <a:extLst>
                  <a:ext uri="{FF2B5EF4-FFF2-40B4-BE49-F238E27FC236}">
                    <a16:creationId xmlns:a16="http://schemas.microsoft.com/office/drawing/2014/main" id="{208B00B0-3253-0EAC-C76A-BC98D7CF4A74}"/>
                  </a:ext>
                </a:extLst>
              </p:cNvPr>
              <p:cNvPicPr/>
              <p:nvPr/>
            </p:nvPicPr>
            <p:blipFill>
              <a:blip r:embed="rId5"/>
              <a:stretch>
                <a:fillRect/>
              </a:stretch>
            </p:blipFill>
            <p:spPr>
              <a:xfrm>
                <a:off x="17226717" y="83040"/>
                <a:ext cx="36000" cy="36000"/>
              </a:xfrm>
              <a:prstGeom prst="rect">
                <a:avLst/>
              </a:prstGeom>
            </p:spPr>
          </p:pic>
        </mc:Fallback>
      </mc:AlternateContent>
      <p:pic>
        <p:nvPicPr>
          <p:cNvPr id="4" name="Picture Placeholder 30">
            <a:extLst>
              <a:ext uri="{FF2B5EF4-FFF2-40B4-BE49-F238E27FC236}">
                <a16:creationId xmlns:a16="http://schemas.microsoft.com/office/drawing/2014/main" id="{B4794F59-58E3-2D57-D555-480651B3DFBB}"/>
              </a:ext>
            </a:extLst>
          </p:cNvPr>
          <p:cNvPicPr>
            <a:picLocks noChangeAspect="1"/>
          </p:cNvPicPr>
          <p:nvPr/>
        </p:nvPicPr>
        <p:blipFill>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13985" b="13985"/>
          <a:stretch>
            <a:fillRect/>
          </a:stretch>
        </p:blipFill>
        <p:spPr>
          <a:xfrm>
            <a:off x="1044205" y="8965818"/>
            <a:ext cx="2257907" cy="2163310"/>
          </a:xfrm>
          <a:prstGeom prst="ellipse">
            <a:avLst/>
          </a:prstGeom>
          <a:ln>
            <a:solidFill>
              <a:srgbClr val="FF9933"/>
            </a:solidFill>
          </a:ln>
        </p:spPr>
      </p:pic>
      <p:pic>
        <p:nvPicPr>
          <p:cNvPr id="6" name="Picture Placeholder 28">
            <a:extLst>
              <a:ext uri="{FF2B5EF4-FFF2-40B4-BE49-F238E27FC236}">
                <a16:creationId xmlns:a16="http://schemas.microsoft.com/office/drawing/2014/main" id="{CC9BD41B-E5EB-F0BF-DA83-4A6F02631E83}"/>
              </a:ext>
            </a:extLst>
          </p:cNvPr>
          <p:cNvPicPr>
            <a:picLocks noChangeAspect="1"/>
          </p:cNvPicPr>
          <p:nvPr/>
        </p:nvPicPr>
        <p:blipFill>
          <a:blip r:embed="rId9" cstate="print">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rcRect t="14096" b="14096"/>
          <a:stretch>
            <a:fillRect/>
          </a:stretch>
        </p:blipFill>
        <p:spPr>
          <a:xfrm>
            <a:off x="6010640" y="8835563"/>
            <a:ext cx="2257907" cy="2163169"/>
          </a:xfrm>
          <a:prstGeom prst="ellipse">
            <a:avLst/>
          </a:prstGeom>
          <a:ln>
            <a:solidFill>
              <a:srgbClr val="FF9933"/>
            </a:solidFill>
          </a:ln>
        </p:spPr>
      </p:pic>
      <p:pic>
        <p:nvPicPr>
          <p:cNvPr id="7" name="Picture Placeholder 29">
            <a:extLst>
              <a:ext uri="{FF2B5EF4-FFF2-40B4-BE49-F238E27FC236}">
                <a16:creationId xmlns:a16="http://schemas.microsoft.com/office/drawing/2014/main" id="{088C6011-CDE5-BE5A-6482-7C2EBF31E393}"/>
              </a:ext>
            </a:extLst>
          </p:cNvPr>
          <p:cNvPicPr>
            <a:picLocks noChangeAspect="1"/>
          </p:cNvPicPr>
          <p:nvPr/>
        </p:nvPicPr>
        <p:blipFill>
          <a:blip r:embed="rId11" cstate="print">
            <a:extLst>
              <a:ext uri="{BEBA8EAE-BF5A-486C-A8C5-ECC9F3942E4B}">
                <a14:imgProps xmlns:a14="http://schemas.microsoft.com/office/drawing/2010/main">
                  <a14:imgLayer r:embed="rId12">
                    <a14:imgEffect>
                      <a14:saturation sat="0"/>
                    </a14:imgEffect>
                  </a14:imgLayer>
                </a14:imgProps>
              </a:ext>
              <a:ext uri="{28A0092B-C50C-407E-A947-70E740481C1C}">
                <a14:useLocalDpi xmlns:a14="http://schemas.microsoft.com/office/drawing/2010/main" val="0"/>
              </a:ext>
            </a:extLst>
          </a:blip>
          <a:srcRect t="13940" b="13940"/>
          <a:stretch>
            <a:fillRect/>
          </a:stretch>
        </p:blipFill>
        <p:spPr>
          <a:xfrm>
            <a:off x="10957051" y="8898040"/>
            <a:ext cx="2257277" cy="2165209"/>
          </a:xfrm>
          <a:prstGeom prst="ellipse">
            <a:avLst/>
          </a:prstGeom>
          <a:ln>
            <a:solidFill>
              <a:srgbClr val="FF9933"/>
            </a:solidFill>
          </a:ln>
        </p:spPr>
      </p:pic>
      <p:pic>
        <p:nvPicPr>
          <p:cNvPr id="8" name="Picture Placeholder 25">
            <a:extLst>
              <a:ext uri="{FF2B5EF4-FFF2-40B4-BE49-F238E27FC236}">
                <a16:creationId xmlns:a16="http://schemas.microsoft.com/office/drawing/2014/main" id="{4254DEDA-19B2-01C7-0D75-AA40C7EA4179}"/>
              </a:ext>
            </a:extLst>
          </p:cNvPr>
          <p:cNvPicPr>
            <a:picLocks noChangeAspect="1"/>
          </p:cNvPicPr>
          <p:nvPr/>
        </p:nvPicPr>
        <p:blipFill>
          <a:blip r:embed="rId13" cstate="print">
            <a:extLst>
              <a:ext uri="{BEBA8EAE-BF5A-486C-A8C5-ECC9F3942E4B}">
                <a14:imgProps xmlns:a14="http://schemas.microsoft.com/office/drawing/2010/main">
                  <a14:imgLayer r:embed="rId14">
                    <a14:imgEffect>
                      <a14:saturation sat="0"/>
                    </a14:imgEffect>
                  </a14:imgLayer>
                </a14:imgProps>
              </a:ext>
              <a:ext uri="{28A0092B-C50C-407E-A947-70E740481C1C}">
                <a14:useLocalDpi xmlns:a14="http://schemas.microsoft.com/office/drawing/2010/main" val="0"/>
              </a:ext>
            </a:extLst>
          </a:blip>
          <a:srcRect t="3543" b="3543"/>
          <a:stretch>
            <a:fillRect/>
          </a:stretch>
        </p:blipFill>
        <p:spPr>
          <a:xfrm>
            <a:off x="15326503" y="2988747"/>
            <a:ext cx="2257279" cy="2165209"/>
          </a:xfrm>
          <a:prstGeom prst="rect">
            <a:avLst/>
          </a:prstGeom>
          <a:ln>
            <a:noFill/>
          </a:ln>
        </p:spPr>
      </p:pic>
      <p:sp>
        <p:nvSpPr>
          <p:cNvPr id="10" name="Text Placeholder 12">
            <a:extLst>
              <a:ext uri="{FF2B5EF4-FFF2-40B4-BE49-F238E27FC236}">
                <a16:creationId xmlns:a16="http://schemas.microsoft.com/office/drawing/2014/main" id="{53F29772-0000-8D2B-699C-25B18D0FBF93}"/>
              </a:ext>
            </a:extLst>
          </p:cNvPr>
          <p:cNvSpPr txBox="1">
            <a:spLocks/>
          </p:cNvSpPr>
          <p:nvPr/>
        </p:nvSpPr>
        <p:spPr>
          <a:xfrm>
            <a:off x="3915074" y="3259187"/>
            <a:ext cx="2090090" cy="1749424"/>
          </a:xfrm>
          <a:prstGeom prst="rect">
            <a:avLst/>
          </a:prstGeom>
          <a:ln>
            <a:noFill/>
          </a:ln>
        </p:spPr>
        <p:txBody>
          <a:bodyPr/>
          <a:lstStyle>
            <a:lvl1pPr marL="0" indent="0" algn="l" defTabSz="1828573" rtl="0" eaLnBrk="1" latinLnBrk="0" hangingPunct="1">
              <a:lnSpc>
                <a:spcPct val="100000"/>
              </a:lnSpc>
              <a:spcBef>
                <a:spcPts val="2000"/>
              </a:spcBef>
              <a:buFont typeface="Arial" panose="020B0604020202020204" pitchFamily="34" charset="0"/>
              <a:buNone/>
              <a:defRPr sz="3200" kern="1200">
                <a:solidFill>
                  <a:schemeClr val="tx1"/>
                </a:solidFill>
                <a:latin typeface="Noto IKEA Latin" panose="020B0502040504020204" pitchFamily="34" charset="0"/>
                <a:ea typeface="+mn-ea"/>
                <a:cs typeface="+mn-cs"/>
              </a:defRPr>
            </a:lvl1pPr>
            <a:lvl2pPr marL="0" indent="-685732" algn="l" defTabSz="1828573" rtl="0" eaLnBrk="1" latinLnBrk="0" hangingPunct="1">
              <a:lnSpc>
                <a:spcPct val="100000"/>
              </a:lnSpc>
              <a:spcBef>
                <a:spcPts val="2000"/>
              </a:spcBef>
              <a:buFont typeface="Arial" panose="020B0604020202020204" pitchFamily="34" charset="0"/>
              <a:buChar char="•"/>
              <a:defRPr sz="3200" kern="1200" spc="0">
                <a:solidFill>
                  <a:schemeClr val="tx1"/>
                </a:solidFill>
                <a:latin typeface="Noto IKEA Latin" panose="020B0502040504020204" pitchFamily="34" charset="0"/>
                <a:ea typeface="+mn-ea"/>
                <a:cs typeface="+mn-cs"/>
              </a:defRPr>
            </a:lvl2pPr>
            <a:lvl3pPr marL="2285714" indent="-457143" algn="l" defTabSz="1828573" rtl="0" eaLnBrk="1" latinLnBrk="0" hangingPunct="1">
              <a:lnSpc>
                <a:spcPct val="100000"/>
              </a:lnSpc>
              <a:spcBef>
                <a:spcPts val="1000"/>
              </a:spcBef>
              <a:buFont typeface="Arial" panose="020B0604020202020204" pitchFamily="34" charset="0"/>
              <a:buChar char="•"/>
              <a:defRPr sz="3600" i="0" kern="1200">
                <a:solidFill>
                  <a:schemeClr val="tx1"/>
                </a:solidFill>
                <a:latin typeface="Noto IKEA Latin" panose="020B0502040504020204" pitchFamily="34" charset="0"/>
                <a:ea typeface="+mn-ea"/>
                <a:cs typeface="+mn-cs"/>
              </a:defRPr>
            </a:lvl3pPr>
            <a:lvl4pPr marL="3200000" indent="-457143" algn="l" defTabSz="1828573" rtl="0" eaLnBrk="1" latinLnBrk="0" hangingPunct="1">
              <a:lnSpc>
                <a:spcPct val="100000"/>
              </a:lnSpc>
              <a:spcBef>
                <a:spcPts val="1000"/>
              </a:spcBef>
              <a:buFont typeface="Arial" panose="020B0604020202020204" pitchFamily="34" charset="0"/>
              <a:buChar char="•"/>
              <a:defRPr sz="2800" kern="1200">
                <a:solidFill>
                  <a:schemeClr val="tx1"/>
                </a:solidFill>
                <a:latin typeface="Noto IKEA Latin" panose="020B0502040504020204" pitchFamily="34" charset="0"/>
                <a:ea typeface="+mn-ea"/>
                <a:cs typeface="+mn-cs"/>
              </a:defRPr>
            </a:lvl4pPr>
            <a:lvl5pPr marL="4114286" indent="-457143" algn="l" defTabSz="1828573" rtl="0" eaLnBrk="1" latinLnBrk="0" hangingPunct="1">
              <a:lnSpc>
                <a:spcPct val="100000"/>
              </a:lnSpc>
              <a:spcBef>
                <a:spcPts val="1000"/>
              </a:spcBef>
              <a:buFont typeface="Arial" panose="020B0604020202020204" pitchFamily="34" charset="0"/>
              <a:buChar char="•"/>
              <a:defRPr sz="2000" kern="1200">
                <a:solidFill>
                  <a:schemeClr val="tx1"/>
                </a:solidFill>
                <a:latin typeface="Noto IKEA Latin" panose="020B0502040504020204" pitchFamily="34" charset="0"/>
                <a:ea typeface="+mn-ea"/>
                <a:cs typeface="+mn-cs"/>
              </a:defRPr>
            </a:lvl5pPr>
            <a:lvl6pPr marL="5028573"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2859"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143"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1429"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r>
              <a:rPr lang="en-US" sz="2000" b="1">
                <a:latin typeface="+mn-lt"/>
              </a:rPr>
              <a:t>Matthew Ritchie</a:t>
            </a:r>
          </a:p>
          <a:p>
            <a:r>
              <a:rPr lang="en-US" sz="2000">
                <a:latin typeface="+mn-lt"/>
              </a:rPr>
              <a:t>Innovation Manager</a:t>
            </a:r>
            <a:endParaRPr lang="en-GB" sz="2000">
              <a:latin typeface="+mn-lt"/>
            </a:endParaRPr>
          </a:p>
        </p:txBody>
      </p:sp>
      <p:sp>
        <p:nvSpPr>
          <p:cNvPr id="11" name="Text Placeholder 14">
            <a:extLst>
              <a:ext uri="{FF2B5EF4-FFF2-40B4-BE49-F238E27FC236}">
                <a16:creationId xmlns:a16="http://schemas.microsoft.com/office/drawing/2014/main" id="{3D8C76BA-13DA-050A-AD02-CDE74483CDA0}"/>
              </a:ext>
            </a:extLst>
          </p:cNvPr>
          <p:cNvSpPr txBox="1">
            <a:spLocks/>
          </p:cNvSpPr>
          <p:nvPr/>
        </p:nvSpPr>
        <p:spPr>
          <a:xfrm>
            <a:off x="3507654" y="9172505"/>
            <a:ext cx="2378173" cy="1749310"/>
          </a:xfrm>
          <a:prstGeom prst="rect">
            <a:avLst/>
          </a:prstGeom>
          <a:ln>
            <a:noFill/>
          </a:ln>
        </p:spPr>
        <p:txBody>
          <a:bodyPr/>
          <a:lstStyle>
            <a:lvl1pPr marL="0" indent="0" algn="l" defTabSz="1828573" rtl="0" eaLnBrk="1" latinLnBrk="0" hangingPunct="1">
              <a:lnSpc>
                <a:spcPct val="100000"/>
              </a:lnSpc>
              <a:spcBef>
                <a:spcPts val="2000"/>
              </a:spcBef>
              <a:buFont typeface="Arial" panose="020B0604020202020204" pitchFamily="34" charset="0"/>
              <a:buNone/>
              <a:defRPr sz="3200" kern="1200">
                <a:solidFill>
                  <a:schemeClr val="tx1"/>
                </a:solidFill>
                <a:latin typeface="Noto IKEA Latin" panose="020B0502040504020204" pitchFamily="34" charset="0"/>
                <a:ea typeface="+mn-ea"/>
                <a:cs typeface="+mn-cs"/>
              </a:defRPr>
            </a:lvl1pPr>
            <a:lvl2pPr marL="0" indent="-685732" algn="l" defTabSz="1828573" rtl="0" eaLnBrk="1" latinLnBrk="0" hangingPunct="1">
              <a:lnSpc>
                <a:spcPct val="100000"/>
              </a:lnSpc>
              <a:spcBef>
                <a:spcPts val="2000"/>
              </a:spcBef>
              <a:buFont typeface="Arial" panose="020B0604020202020204" pitchFamily="34" charset="0"/>
              <a:buChar char="•"/>
              <a:defRPr sz="3200" kern="1200" spc="0">
                <a:solidFill>
                  <a:schemeClr val="tx1"/>
                </a:solidFill>
                <a:latin typeface="Noto IKEA Latin" panose="020B0502040504020204" pitchFamily="34" charset="0"/>
                <a:ea typeface="+mn-ea"/>
                <a:cs typeface="+mn-cs"/>
              </a:defRPr>
            </a:lvl2pPr>
            <a:lvl3pPr marL="2285714" indent="-457143" algn="l" defTabSz="1828573" rtl="0" eaLnBrk="1" latinLnBrk="0" hangingPunct="1">
              <a:lnSpc>
                <a:spcPct val="100000"/>
              </a:lnSpc>
              <a:spcBef>
                <a:spcPts val="1000"/>
              </a:spcBef>
              <a:buFont typeface="Arial" panose="020B0604020202020204" pitchFamily="34" charset="0"/>
              <a:buChar char="•"/>
              <a:defRPr sz="3600" i="0" kern="1200">
                <a:solidFill>
                  <a:schemeClr val="tx1"/>
                </a:solidFill>
                <a:latin typeface="Noto IKEA Latin" panose="020B0502040504020204" pitchFamily="34" charset="0"/>
                <a:ea typeface="+mn-ea"/>
                <a:cs typeface="+mn-cs"/>
              </a:defRPr>
            </a:lvl3pPr>
            <a:lvl4pPr marL="3200000" indent="-457143" algn="l" defTabSz="1828573" rtl="0" eaLnBrk="1" latinLnBrk="0" hangingPunct="1">
              <a:lnSpc>
                <a:spcPct val="100000"/>
              </a:lnSpc>
              <a:spcBef>
                <a:spcPts val="1000"/>
              </a:spcBef>
              <a:buFont typeface="Arial" panose="020B0604020202020204" pitchFamily="34" charset="0"/>
              <a:buChar char="•"/>
              <a:defRPr sz="2800" kern="1200">
                <a:solidFill>
                  <a:schemeClr val="tx1"/>
                </a:solidFill>
                <a:latin typeface="Noto IKEA Latin" panose="020B0502040504020204" pitchFamily="34" charset="0"/>
                <a:ea typeface="+mn-ea"/>
                <a:cs typeface="+mn-cs"/>
              </a:defRPr>
            </a:lvl4pPr>
            <a:lvl5pPr marL="4114286" indent="-457143" algn="l" defTabSz="1828573" rtl="0" eaLnBrk="1" latinLnBrk="0" hangingPunct="1">
              <a:lnSpc>
                <a:spcPct val="100000"/>
              </a:lnSpc>
              <a:spcBef>
                <a:spcPts val="1000"/>
              </a:spcBef>
              <a:buFont typeface="Arial" panose="020B0604020202020204" pitchFamily="34" charset="0"/>
              <a:buChar char="•"/>
              <a:defRPr sz="2000" kern="1200">
                <a:solidFill>
                  <a:schemeClr val="tx1"/>
                </a:solidFill>
                <a:latin typeface="Noto IKEA Latin" panose="020B0502040504020204" pitchFamily="34" charset="0"/>
                <a:ea typeface="+mn-ea"/>
                <a:cs typeface="+mn-cs"/>
              </a:defRPr>
            </a:lvl5pPr>
            <a:lvl6pPr marL="5028573"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2859"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143"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1429"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r>
              <a:rPr lang="en-US" sz="2000" b="1">
                <a:latin typeface="+mn-lt"/>
              </a:rPr>
              <a:t>Jessica Nilsson</a:t>
            </a:r>
          </a:p>
          <a:p>
            <a:r>
              <a:rPr lang="en-US" sz="2000">
                <a:latin typeface="+mn-lt"/>
              </a:rPr>
              <a:t>Prototype Lab Administrator</a:t>
            </a:r>
            <a:endParaRPr lang="en-GB" sz="2000">
              <a:latin typeface="+mn-lt"/>
            </a:endParaRPr>
          </a:p>
        </p:txBody>
      </p:sp>
      <p:sp>
        <p:nvSpPr>
          <p:cNvPr id="16" name="Text Placeholder 17">
            <a:extLst>
              <a:ext uri="{FF2B5EF4-FFF2-40B4-BE49-F238E27FC236}">
                <a16:creationId xmlns:a16="http://schemas.microsoft.com/office/drawing/2014/main" id="{9DC9E266-21F3-C199-902C-8FC385C22DD9}"/>
              </a:ext>
            </a:extLst>
          </p:cNvPr>
          <p:cNvSpPr txBox="1">
            <a:spLocks/>
          </p:cNvSpPr>
          <p:nvPr/>
        </p:nvSpPr>
        <p:spPr>
          <a:xfrm>
            <a:off x="8536118" y="3322055"/>
            <a:ext cx="2090090" cy="1749310"/>
          </a:xfrm>
          <a:prstGeom prst="rect">
            <a:avLst/>
          </a:prstGeom>
          <a:ln>
            <a:noFill/>
          </a:ln>
        </p:spPr>
        <p:txBody>
          <a:bodyPr/>
          <a:lstStyle>
            <a:lvl1pPr marL="0" indent="0" algn="l" defTabSz="1828573" rtl="0" eaLnBrk="1" latinLnBrk="0" hangingPunct="1">
              <a:lnSpc>
                <a:spcPct val="100000"/>
              </a:lnSpc>
              <a:spcBef>
                <a:spcPts val="2000"/>
              </a:spcBef>
              <a:buFont typeface="Arial" panose="020B0604020202020204" pitchFamily="34" charset="0"/>
              <a:buNone/>
              <a:defRPr sz="3200" kern="1200">
                <a:solidFill>
                  <a:schemeClr val="tx1"/>
                </a:solidFill>
                <a:latin typeface="Noto IKEA Latin" panose="020B0502040504020204" pitchFamily="34" charset="0"/>
                <a:ea typeface="+mn-ea"/>
                <a:cs typeface="+mn-cs"/>
              </a:defRPr>
            </a:lvl1pPr>
            <a:lvl2pPr marL="0" indent="-685732" algn="l" defTabSz="1828573" rtl="0" eaLnBrk="1" latinLnBrk="0" hangingPunct="1">
              <a:lnSpc>
                <a:spcPct val="100000"/>
              </a:lnSpc>
              <a:spcBef>
                <a:spcPts val="2000"/>
              </a:spcBef>
              <a:buFont typeface="Arial" panose="020B0604020202020204" pitchFamily="34" charset="0"/>
              <a:buChar char="•"/>
              <a:defRPr sz="3200" kern="1200" spc="0">
                <a:solidFill>
                  <a:schemeClr val="tx1"/>
                </a:solidFill>
                <a:latin typeface="Noto IKEA Latin" panose="020B0502040504020204" pitchFamily="34" charset="0"/>
                <a:ea typeface="+mn-ea"/>
                <a:cs typeface="+mn-cs"/>
              </a:defRPr>
            </a:lvl2pPr>
            <a:lvl3pPr marL="2285714" indent="-457143" algn="l" defTabSz="1828573" rtl="0" eaLnBrk="1" latinLnBrk="0" hangingPunct="1">
              <a:lnSpc>
                <a:spcPct val="100000"/>
              </a:lnSpc>
              <a:spcBef>
                <a:spcPts val="1000"/>
              </a:spcBef>
              <a:buFont typeface="Arial" panose="020B0604020202020204" pitchFamily="34" charset="0"/>
              <a:buChar char="•"/>
              <a:defRPr sz="3600" i="0" kern="1200">
                <a:solidFill>
                  <a:schemeClr val="tx1"/>
                </a:solidFill>
                <a:latin typeface="Noto IKEA Latin" panose="020B0502040504020204" pitchFamily="34" charset="0"/>
                <a:ea typeface="+mn-ea"/>
                <a:cs typeface="+mn-cs"/>
              </a:defRPr>
            </a:lvl3pPr>
            <a:lvl4pPr marL="3200000" indent="-457143" algn="l" defTabSz="1828573" rtl="0" eaLnBrk="1" latinLnBrk="0" hangingPunct="1">
              <a:lnSpc>
                <a:spcPct val="100000"/>
              </a:lnSpc>
              <a:spcBef>
                <a:spcPts val="1000"/>
              </a:spcBef>
              <a:buFont typeface="Arial" panose="020B0604020202020204" pitchFamily="34" charset="0"/>
              <a:buChar char="•"/>
              <a:defRPr sz="2800" kern="1200">
                <a:solidFill>
                  <a:schemeClr val="tx1"/>
                </a:solidFill>
                <a:latin typeface="Noto IKEA Latin" panose="020B0502040504020204" pitchFamily="34" charset="0"/>
                <a:ea typeface="+mn-ea"/>
                <a:cs typeface="+mn-cs"/>
              </a:defRPr>
            </a:lvl4pPr>
            <a:lvl5pPr marL="4114286" indent="-457143" algn="l" defTabSz="1828573" rtl="0" eaLnBrk="1" latinLnBrk="0" hangingPunct="1">
              <a:lnSpc>
                <a:spcPct val="100000"/>
              </a:lnSpc>
              <a:spcBef>
                <a:spcPts val="1000"/>
              </a:spcBef>
              <a:buFont typeface="Arial" panose="020B0604020202020204" pitchFamily="34" charset="0"/>
              <a:buChar char="•"/>
              <a:defRPr sz="2000" kern="1200">
                <a:solidFill>
                  <a:schemeClr val="tx1"/>
                </a:solidFill>
                <a:latin typeface="Noto IKEA Latin" panose="020B0502040504020204" pitchFamily="34" charset="0"/>
                <a:ea typeface="+mn-ea"/>
                <a:cs typeface="+mn-cs"/>
              </a:defRPr>
            </a:lvl5pPr>
            <a:lvl6pPr marL="5028573"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2859"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143"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1429"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r>
              <a:rPr lang="sv-SE" sz="2000" b="1">
                <a:solidFill>
                  <a:srgbClr val="262626"/>
                </a:solidFill>
                <a:latin typeface="+mn-lt"/>
              </a:rPr>
              <a:t>Melis Yalcin Bayir</a:t>
            </a:r>
            <a:endParaRPr lang="sv-SE" sz="2000" b="1">
              <a:latin typeface="+mn-lt"/>
            </a:endParaRPr>
          </a:p>
          <a:p>
            <a:r>
              <a:rPr lang="en-US" sz="2000">
                <a:latin typeface="+mn-lt"/>
              </a:rPr>
              <a:t>Innovation Leader</a:t>
            </a:r>
            <a:endParaRPr lang="en-GB" sz="2000">
              <a:latin typeface="+mn-lt"/>
            </a:endParaRPr>
          </a:p>
        </p:txBody>
      </p:sp>
      <p:sp>
        <p:nvSpPr>
          <p:cNvPr id="17" name="Text Placeholder 18">
            <a:extLst>
              <a:ext uri="{FF2B5EF4-FFF2-40B4-BE49-F238E27FC236}">
                <a16:creationId xmlns:a16="http://schemas.microsoft.com/office/drawing/2014/main" id="{DF6DC6AA-CDAC-BACB-2452-023DB647038F}"/>
              </a:ext>
            </a:extLst>
          </p:cNvPr>
          <p:cNvSpPr txBox="1">
            <a:spLocks/>
          </p:cNvSpPr>
          <p:nvPr/>
        </p:nvSpPr>
        <p:spPr>
          <a:xfrm>
            <a:off x="13547052" y="9106546"/>
            <a:ext cx="2090090" cy="1749310"/>
          </a:xfrm>
          <a:prstGeom prst="rect">
            <a:avLst/>
          </a:prstGeom>
          <a:ln>
            <a:noFill/>
          </a:ln>
        </p:spPr>
        <p:txBody>
          <a:bodyPr/>
          <a:lstStyle>
            <a:lvl1pPr marL="0" indent="0" algn="l" defTabSz="1828573" rtl="0" eaLnBrk="1" latinLnBrk="0" hangingPunct="1">
              <a:lnSpc>
                <a:spcPct val="100000"/>
              </a:lnSpc>
              <a:spcBef>
                <a:spcPts val="2000"/>
              </a:spcBef>
              <a:buFont typeface="Arial" panose="020B0604020202020204" pitchFamily="34" charset="0"/>
              <a:buNone/>
              <a:defRPr sz="3200" kern="1200">
                <a:solidFill>
                  <a:schemeClr val="tx1"/>
                </a:solidFill>
                <a:latin typeface="Noto IKEA Latin" panose="020B0502040504020204" pitchFamily="34" charset="0"/>
                <a:ea typeface="+mn-ea"/>
                <a:cs typeface="+mn-cs"/>
              </a:defRPr>
            </a:lvl1pPr>
            <a:lvl2pPr marL="0" indent="-685732" algn="l" defTabSz="1828573" rtl="0" eaLnBrk="1" latinLnBrk="0" hangingPunct="1">
              <a:lnSpc>
                <a:spcPct val="100000"/>
              </a:lnSpc>
              <a:spcBef>
                <a:spcPts val="2000"/>
              </a:spcBef>
              <a:buFont typeface="Arial" panose="020B0604020202020204" pitchFamily="34" charset="0"/>
              <a:buChar char="•"/>
              <a:defRPr sz="3200" kern="1200" spc="0">
                <a:solidFill>
                  <a:schemeClr val="tx1"/>
                </a:solidFill>
                <a:latin typeface="Noto IKEA Latin" panose="020B0502040504020204" pitchFamily="34" charset="0"/>
                <a:ea typeface="+mn-ea"/>
                <a:cs typeface="+mn-cs"/>
              </a:defRPr>
            </a:lvl2pPr>
            <a:lvl3pPr marL="2285714" indent="-457143" algn="l" defTabSz="1828573" rtl="0" eaLnBrk="1" latinLnBrk="0" hangingPunct="1">
              <a:lnSpc>
                <a:spcPct val="100000"/>
              </a:lnSpc>
              <a:spcBef>
                <a:spcPts val="1000"/>
              </a:spcBef>
              <a:buFont typeface="Arial" panose="020B0604020202020204" pitchFamily="34" charset="0"/>
              <a:buChar char="•"/>
              <a:defRPr sz="3600" i="0" kern="1200">
                <a:solidFill>
                  <a:schemeClr val="tx1"/>
                </a:solidFill>
                <a:latin typeface="Noto IKEA Latin" panose="020B0502040504020204" pitchFamily="34" charset="0"/>
                <a:ea typeface="+mn-ea"/>
                <a:cs typeface="+mn-cs"/>
              </a:defRPr>
            </a:lvl3pPr>
            <a:lvl4pPr marL="3200000" indent="-457143" algn="l" defTabSz="1828573" rtl="0" eaLnBrk="1" latinLnBrk="0" hangingPunct="1">
              <a:lnSpc>
                <a:spcPct val="100000"/>
              </a:lnSpc>
              <a:spcBef>
                <a:spcPts val="1000"/>
              </a:spcBef>
              <a:buFont typeface="Arial" panose="020B0604020202020204" pitchFamily="34" charset="0"/>
              <a:buChar char="•"/>
              <a:defRPr sz="2800" kern="1200">
                <a:solidFill>
                  <a:schemeClr val="tx1"/>
                </a:solidFill>
                <a:latin typeface="Noto IKEA Latin" panose="020B0502040504020204" pitchFamily="34" charset="0"/>
                <a:ea typeface="+mn-ea"/>
                <a:cs typeface="+mn-cs"/>
              </a:defRPr>
            </a:lvl4pPr>
            <a:lvl5pPr marL="4114286" indent="-457143" algn="l" defTabSz="1828573" rtl="0" eaLnBrk="1" latinLnBrk="0" hangingPunct="1">
              <a:lnSpc>
                <a:spcPct val="100000"/>
              </a:lnSpc>
              <a:spcBef>
                <a:spcPts val="1000"/>
              </a:spcBef>
              <a:buFont typeface="Arial" panose="020B0604020202020204" pitchFamily="34" charset="0"/>
              <a:buChar char="•"/>
              <a:defRPr sz="2000" kern="1200">
                <a:solidFill>
                  <a:schemeClr val="tx1"/>
                </a:solidFill>
                <a:latin typeface="Noto IKEA Latin" panose="020B0502040504020204" pitchFamily="34" charset="0"/>
                <a:ea typeface="+mn-ea"/>
                <a:cs typeface="+mn-cs"/>
              </a:defRPr>
            </a:lvl5pPr>
            <a:lvl6pPr marL="5028573"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2859"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143"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1429"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r>
              <a:rPr lang="en-US" sz="2000" b="1">
                <a:latin typeface="+mn-lt"/>
              </a:rPr>
              <a:t>Peter Stenberg</a:t>
            </a:r>
          </a:p>
          <a:p>
            <a:r>
              <a:rPr lang="en-US" sz="2000">
                <a:latin typeface="+mn-lt"/>
              </a:rPr>
              <a:t>Prototype Engineer</a:t>
            </a:r>
            <a:endParaRPr lang="en-GB" sz="2000">
              <a:latin typeface="+mn-lt"/>
            </a:endParaRPr>
          </a:p>
        </p:txBody>
      </p:sp>
      <p:sp>
        <p:nvSpPr>
          <p:cNvPr id="19" name="Text Placeholder 19">
            <a:extLst>
              <a:ext uri="{FF2B5EF4-FFF2-40B4-BE49-F238E27FC236}">
                <a16:creationId xmlns:a16="http://schemas.microsoft.com/office/drawing/2014/main" id="{BD8692D6-E738-6812-29BB-EBF82369AE17}"/>
              </a:ext>
            </a:extLst>
          </p:cNvPr>
          <p:cNvSpPr txBox="1">
            <a:spLocks/>
          </p:cNvSpPr>
          <p:nvPr/>
        </p:nvSpPr>
        <p:spPr>
          <a:xfrm>
            <a:off x="8536118" y="9095756"/>
            <a:ext cx="2090090" cy="1749310"/>
          </a:xfrm>
          <a:prstGeom prst="rect">
            <a:avLst/>
          </a:prstGeom>
          <a:ln>
            <a:noFill/>
          </a:ln>
        </p:spPr>
        <p:txBody>
          <a:bodyPr/>
          <a:lstStyle>
            <a:lvl1pPr marL="0" indent="0" algn="l" defTabSz="1828573" rtl="0" eaLnBrk="1" latinLnBrk="0" hangingPunct="1">
              <a:lnSpc>
                <a:spcPct val="100000"/>
              </a:lnSpc>
              <a:spcBef>
                <a:spcPts val="2000"/>
              </a:spcBef>
              <a:buFont typeface="Arial" panose="020B0604020202020204" pitchFamily="34" charset="0"/>
              <a:buNone/>
              <a:defRPr sz="3200" kern="1200">
                <a:solidFill>
                  <a:schemeClr val="tx1"/>
                </a:solidFill>
                <a:latin typeface="Noto IKEA Latin" panose="020B0502040504020204" pitchFamily="34" charset="0"/>
                <a:ea typeface="+mn-ea"/>
                <a:cs typeface="+mn-cs"/>
              </a:defRPr>
            </a:lvl1pPr>
            <a:lvl2pPr marL="0" indent="-685732" algn="l" defTabSz="1828573" rtl="0" eaLnBrk="1" latinLnBrk="0" hangingPunct="1">
              <a:lnSpc>
                <a:spcPct val="100000"/>
              </a:lnSpc>
              <a:spcBef>
                <a:spcPts val="2000"/>
              </a:spcBef>
              <a:buFont typeface="Arial" panose="020B0604020202020204" pitchFamily="34" charset="0"/>
              <a:buChar char="•"/>
              <a:defRPr sz="3200" kern="1200" spc="0">
                <a:solidFill>
                  <a:schemeClr val="tx1"/>
                </a:solidFill>
                <a:latin typeface="Noto IKEA Latin" panose="020B0502040504020204" pitchFamily="34" charset="0"/>
                <a:ea typeface="+mn-ea"/>
                <a:cs typeface="+mn-cs"/>
              </a:defRPr>
            </a:lvl2pPr>
            <a:lvl3pPr marL="2285714" indent="-457143" algn="l" defTabSz="1828573" rtl="0" eaLnBrk="1" latinLnBrk="0" hangingPunct="1">
              <a:lnSpc>
                <a:spcPct val="100000"/>
              </a:lnSpc>
              <a:spcBef>
                <a:spcPts val="1000"/>
              </a:spcBef>
              <a:buFont typeface="Arial" panose="020B0604020202020204" pitchFamily="34" charset="0"/>
              <a:buChar char="•"/>
              <a:defRPr sz="3600" i="0" kern="1200">
                <a:solidFill>
                  <a:schemeClr val="tx1"/>
                </a:solidFill>
                <a:latin typeface="Noto IKEA Latin" panose="020B0502040504020204" pitchFamily="34" charset="0"/>
                <a:ea typeface="+mn-ea"/>
                <a:cs typeface="+mn-cs"/>
              </a:defRPr>
            </a:lvl3pPr>
            <a:lvl4pPr marL="3200000" indent="-457143" algn="l" defTabSz="1828573" rtl="0" eaLnBrk="1" latinLnBrk="0" hangingPunct="1">
              <a:lnSpc>
                <a:spcPct val="100000"/>
              </a:lnSpc>
              <a:spcBef>
                <a:spcPts val="1000"/>
              </a:spcBef>
              <a:buFont typeface="Arial" panose="020B0604020202020204" pitchFamily="34" charset="0"/>
              <a:buChar char="•"/>
              <a:defRPr sz="2800" kern="1200">
                <a:solidFill>
                  <a:schemeClr val="tx1"/>
                </a:solidFill>
                <a:latin typeface="Noto IKEA Latin" panose="020B0502040504020204" pitchFamily="34" charset="0"/>
                <a:ea typeface="+mn-ea"/>
                <a:cs typeface="+mn-cs"/>
              </a:defRPr>
            </a:lvl4pPr>
            <a:lvl5pPr marL="4114286" indent="-457143" algn="l" defTabSz="1828573" rtl="0" eaLnBrk="1" latinLnBrk="0" hangingPunct="1">
              <a:lnSpc>
                <a:spcPct val="100000"/>
              </a:lnSpc>
              <a:spcBef>
                <a:spcPts val="1000"/>
              </a:spcBef>
              <a:buFont typeface="Arial" panose="020B0604020202020204" pitchFamily="34" charset="0"/>
              <a:buChar char="•"/>
              <a:defRPr sz="2000" kern="1200">
                <a:solidFill>
                  <a:schemeClr val="tx1"/>
                </a:solidFill>
                <a:latin typeface="Noto IKEA Latin" panose="020B0502040504020204" pitchFamily="34" charset="0"/>
                <a:ea typeface="+mn-ea"/>
                <a:cs typeface="+mn-cs"/>
              </a:defRPr>
            </a:lvl5pPr>
            <a:lvl6pPr marL="5028573"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2859"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143"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1429"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r>
              <a:rPr lang="en-US" sz="2000" b="1">
                <a:latin typeface="+mn-lt"/>
              </a:rPr>
              <a:t>Ola Axelsson</a:t>
            </a:r>
          </a:p>
          <a:p>
            <a:r>
              <a:rPr lang="en-US" sz="2000">
                <a:latin typeface="+mn-lt"/>
              </a:rPr>
              <a:t>Prototype Engineer</a:t>
            </a:r>
            <a:endParaRPr lang="en-GB" sz="2000">
              <a:latin typeface="+mn-lt"/>
            </a:endParaRPr>
          </a:p>
        </p:txBody>
      </p:sp>
      <p:sp>
        <p:nvSpPr>
          <p:cNvPr id="20" name="Text Placeholder 20">
            <a:extLst>
              <a:ext uri="{FF2B5EF4-FFF2-40B4-BE49-F238E27FC236}">
                <a16:creationId xmlns:a16="http://schemas.microsoft.com/office/drawing/2014/main" id="{5226D863-36EE-12D5-F4C7-B423AD15E9C6}"/>
              </a:ext>
            </a:extLst>
          </p:cNvPr>
          <p:cNvSpPr txBox="1">
            <a:spLocks/>
          </p:cNvSpPr>
          <p:nvPr/>
        </p:nvSpPr>
        <p:spPr>
          <a:xfrm>
            <a:off x="13173538" y="3352311"/>
            <a:ext cx="2090090" cy="1749424"/>
          </a:xfrm>
          <a:prstGeom prst="rect">
            <a:avLst/>
          </a:prstGeom>
          <a:ln>
            <a:noFill/>
          </a:ln>
        </p:spPr>
        <p:txBody>
          <a:bodyPr/>
          <a:lstStyle>
            <a:lvl1pPr marL="0" indent="0" algn="l" defTabSz="1828573" rtl="0" eaLnBrk="1" latinLnBrk="0" hangingPunct="1">
              <a:lnSpc>
                <a:spcPct val="100000"/>
              </a:lnSpc>
              <a:spcBef>
                <a:spcPts val="2000"/>
              </a:spcBef>
              <a:buFont typeface="Arial" panose="020B0604020202020204" pitchFamily="34" charset="0"/>
              <a:buNone/>
              <a:defRPr sz="3200" kern="1200">
                <a:solidFill>
                  <a:schemeClr val="tx1"/>
                </a:solidFill>
                <a:latin typeface="Noto IKEA Latin" panose="020B0502040504020204" pitchFamily="34" charset="0"/>
                <a:ea typeface="+mn-ea"/>
                <a:cs typeface="+mn-cs"/>
              </a:defRPr>
            </a:lvl1pPr>
            <a:lvl2pPr marL="0" indent="-685732" algn="l" defTabSz="1828573" rtl="0" eaLnBrk="1" latinLnBrk="0" hangingPunct="1">
              <a:lnSpc>
                <a:spcPct val="100000"/>
              </a:lnSpc>
              <a:spcBef>
                <a:spcPts val="2000"/>
              </a:spcBef>
              <a:buFont typeface="Arial" panose="020B0604020202020204" pitchFamily="34" charset="0"/>
              <a:buChar char="•"/>
              <a:defRPr sz="3200" kern="1200" spc="0">
                <a:solidFill>
                  <a:schemeClr val="tx1"/>
                </a:solidFill>
                <a:latin typeface="Noto IKEA Latin" panose="020B0502040504020204" pitchFamily="34" charset="0"/>
                <a:ea typeface="+mn-ea"/>
                <a:cs typeface="+mn-cs"/>
              </a:defRPr>
            </a:lvl2pPr>
            <a:lvl3pPr marL="2285714" indent="-457143" algn="l" defTabSz="1828573" rtl="0" eaLnBrk="1" latinLnBrk="0" hangingPunct="1">
              <a:lnSpc>
                <a:spcPct val="100000"/>
              </a:lnSpc>
              <a:spcBef>
                <a:spcPts val="1000"/>
              </a:spcBef>
              <a:buFont typeface="Arial" panose="020B0604020202020204" pitchFamily="34" charset="0"/>
              <a:buChar char="•"/>
              <a:defRPr sz="3600" i="0" kern="1200">
                <a:solidFill>
                  <a:schemeClr val="tx1"/>
                </a:solidFill>
                <a:latin typeface="Noto IKEA Latin" panose="020B0502040504020204" pitchFamily="34" charset="0"/>
                <a:ea typeface="+mn-ea"/>
                <a:cs typeface="+mn-cs"/>
              </a:defRPr>
            </a:lvl3pPr>
            <a:lvl4pPr marL="3200000" indent="-457143" algn="l" defTabSz="1828573" rtl="0" eaLnBrk="1" latinLnBrk="0" hangingPunct="1">
              <a:lnSpc>
                <a:spcPct val="100000"/>
              </a:lnSpc>
              <a:spcBef>
                <a:spcPts val="1000"/>
              </a:spcBef>
              <a:buFont typeface="Arial" panose="020B0604020202020204" pitchFamily="34" charset="0"/>
              <a:buChar char="•"/>
              <a:defRPr sz="2800" kern="1200">
                <a:solidFill>
                  <a:schemeClr val="tx1"/>
                </a:solidFill>
                <a:latin typeface="Noto IKEA Latin" panose="020B0502040504020204" pitchFamily="34" charset="0"/>
                <a:ea typeface="+mn-ea"/>
                <a:cs typeface="+mn-cs"/>
              </a:defRPr>
            </a:lvl4pPr>
            <a:lvl5pPr marL="4114286" indent="-457143" algn="l" defTabSz="1828573" rtl="0" eaLnBrk="1" latinLnBrk="0" hangingPunct="1">
              <a:lnSpc>
                <a:spcPct val="100000"/>
              </a:lnSpc>
              <a:spcBef>
                <a:spcPts val="1000"/>
              </a:spcBef>
              <a:buFont typeface="Arial" panose="020B0604020202020204" pitchFamily="34" charset="0"/>
              <a:buChar char="•"/>
              <a:defRPr sz="2000" kern="1200">
                <a:solidFill>
                  <a:schemeClr val="tx1"/>
                </a:solidFill>
                <a:latin typeface="Noto IKEA Latin" panose="020B0502040504020204" pitchFamily="34" charset="0"/>
                <a:ea typeface="+mn-ea"/>
                <a:cs typeface="+mn-cs"/>
              </a:defRPr>
            </a:lvl5pPr>
            <a:lvl6pPr marL="5028573"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2859"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143"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1429"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r>
              <a:rPr lang="en-US" sz="2000" b="1">
                <a:latin typeface="+mn-lt"/>
              </a:rPr>
              <a:t>Leticia Biescas Altelarrea </a:t>
            </a:r>
            <a:r>
              <a:rPr lang="en-US" sz="2000">
                <a:latin typeface="+mn-lt"/>
              </a:rPr>
              <a:t>Innovation Leader</a:t>
            </a:r>
            <a:endParaRPr lang="en-GB" sz="2000">
              <a:latin typeface="+mn-lt"/>
            </a:endParaRPr>
          </a:p>
        </p:txBody>
      </p:sp>
      <p:sp>
        <p:nvSpPr>
          <p:cNvPr id="21" name="Text Placeholder 21">
            <a:extLst>
              <a:ext uri="{FF2B5EF4-FFF2-40B4-BE49-F238E27FC236}">
                <a16:creationId xmlns:a16="http://schemas.microsoft.com/office/drawing/2014/main" id="{CEB6F05B-C112-0519-C36D-4F7D9FC0F088}"/>
              </a:ext>
            </a:extLst>
          </p:cNvPr>
          <p:cNvSpPr txBox="1">
            <a:spLocks/>
          </p:cNvSpPr>
          <p:nvPr/>
        </p:nvSpPr>
        <p:spPr>
          <a:xfrm>
            <a:off x="17595930" y="3221936"/>
            <a:ext cx="2090090" cy="1749310"/>
          </a:xfrm>
          <a:prstGeom prst="rect">
            <a:avLst/>
          </a:prstGeom>
          <a:ln>
            <a:noFill/>
          </a:ln>
        </p:spPr>
        <p:txBody>
          <a:bodyPr/>
          <a:lstStyle>
            <a:lvl1pPr marL="0" indent="0" algn="l" defTabSz="1828573" rtl="0" eaLnBrk="1" latinLnBrk="0" hangingPunct="1">
              <a:lnSpc>
                <a:spcPct val="100000"/>
              </a:lnSpc>
              <a:spcBef>
                <a:spcPts val="2000"/>
              </a:spcBef>
              <a:buFont typeface="Arial" panose="020B0604020202020204" pitchFamily="34" charset="0"/>
              <a:buNone/>
              <a:defRPr sz="3200" kern="1200">
                <a:solidFill>
                  <a:schemeClr val="tx1"/>
                </a:solidFill>
                <a:latin typeface="Noto IKEA Latin" panose="020B0502040504020204" pitchFamily="34" charset="0"/>
                <a:ea typeface="+mn-ea"/>
                <a:cs typeface="+mn-cs"/>
              </a:defRPr>
            </a:lvl1pPr>
            <a:lvl2pPr marL="0" indent="-685732" algn="l" defTabSz="1828573" rtl="0" eaLnBrk="1" latinLnBrk="0" hangingPunct="1">
              <a:lnSpc>
                <a:spcPct val="100000"/>
              </a:lnSpc>
              <a:spcBef>
                <a:spcPts val="2000"/>
              </a:spcBef>
              <a:buFont typeface="Arial" panose="020B0604020202020204" pitchFamily="34" charset="0"/>
              <a:buChar char="•"/>
              <a:defRPr sz="3200" kern="1200" spc="0">
                <a:solidFill>
                  <a:schemeClr val="tx1"/>
                </a:solidFill>
                <a:latin typeface="Noto IKEA Latin" panose="020B0502040504020204" pitchFamily="34" charset="0"/>
                <a:ea typeface="+mn-ea"/>
                <a:cs typeface="+mn-cs"/>
              </a:defRPr>
            </a:lvl2pPr>
            <a:lvl3pPr marL="2285714" indent="-457143" algn="l" defTabSz="1828573" rtl="0" eaLnBrk="1" latinLnBrk="0" hangingPunct="1">
              <a:lnSpc>
                <a:spcPct val="100000"/>
              </a:lnSpc>
              <a:spcBef>
                <a:spcPts val="1000"/>
              </a:spcBef>
              <a:buFont typeface="Arial" panose="020B0604020202020204" pitchFamily="34" charset="0"/>
              <a:buChar char="•"/>
              <a:defRPr sz="3600" i="0" kern="1200">
                <a:solidFill>
                  <a:schemeClr val="tx1"/>
                </a:solidFill>
                <a:latin typeface="Noto IKEA Latin" panose="020B0502040504020204" pitchFamily="34" charset="0"/>
                <a:ea typeface="+mn-ea"/>
                <a:cs typeface="+mn-cs"/>
              </a:defRPr>
            </a:lvl3pPr>
            <a:lvl4pPr marL="3200000" indent="-457143" algn="l" defTabSz="1828573" rtl="0" eaLnBrk="1" latinLnBrk="0" hangingPunct="1">
              <a:lnSpc>
                <a:spcPct val="100000"/>
              </a:lnSpc>
              <a:spcBef>
                <a:spcPts val="1000"/>
              </a:spcBef>
              <a:buFont typeface="Arial" panose="020B0604020202020204" pitchFamily="34" charset="0"/>
              <a:buChar char="•"/>
              <a:defRPr sz="2800" kern="1200">
                <a:solidFill>
                  <a:schemeClr val="tx1"/>
                </a:solidFill>
                <a:latin typeface="Noto IKEA Latin" panose="020B0502040504020204" pitchFamily="34" charset="0"/>
                <a:ea typeface="+mn-ea"/>
                <a:cs typeface="+mn-cs"/>
              </a:defRPr>
            </a:lvl4pPr>
            <a:lvl5pPr marL="4114286" indent="-457143" algn="l" defTabSz="1828573" rtl="0" eaLnBrk="1" latinLnBrk="0" hangingPunct="1">
              <a:lnSpc>
                <a:spcPct val="100000"/>
              </a:lnSpc>
              <a:spcBef>
                <a:spcPts val="1000"/>
              </a:spcBef>
              <a:buFont typeface="Arial" panose="020B0604020202020204" pitchFamily="34" charset="0"/>
              <a:buChar char="•"/>
              <a:defRPr sz="2000" kern="1200">
                <a:solidFill>
                  <a:schemeClr val="tx1"/>
                </a:solidFill>
                <a:latin typeface="Noto IKEA Latin" panose="020B0502040504020204" pitchFamily="34" charset="0"/>
                <a:ea typeface="+mn-ea"/>
                <a:cs typeface="+mn-cs"/>
              </a:defRPr>
            </a:lvl5pPr>
            <a:lvl6pPr marL="5028573"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2859"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143"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1429"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spcBef>
                <a:spcPts val="0"/>
              </a:spcBef>
            </a:pPr>
            <a:r>
              <a:rPr lang="en-US" sz="2000" b="1">
                <a:latin typeface="+mn-lt"/>
              </a:rPr>
              <a:t>Patrick</a:t>
            </a:r>
          </a:p>
          <a:p>
            <a:pPr>
              <a:spcBef>
                <a:spcPts val="0"/>
              </a:spcBef>
            </a:pPr>
            <a:r>
              <a:rPr lang="en-US" sz="2000" b="1">
                <a:latin typeface="+mn-lt"/>
              </a:rPr>
              <a:t>Dedner</a:t>
            </a:r>
          </a:p>
          <a:p>
            <a:r>
              <a:rPr lang="en-US" sz="2000">
                <a:latin typeface="+mn-lt"/>
              </a:rPr>
              <a:t>Innovation Leader</a:t>
            </a:r>
            <a:endParaRPr lang="en-GB" sz="2000">
              <a:latin typeface="+mn-lt"/>
            </a:endParaRPr>
          </a:p>
        </p:txBody>
      </p:sp>
      <p:sp>
        <p:nvSpPr>
          <p:cNvPr id="23" name="Freeform 75">
            <a:extLst>
              <a:ext uri="{FF2B5EF4-FFF2-40B4-BE49-F238E27FC236}">
                <a16:creationId xmlns:a16="http://schemas.microsoft.com/office/drawing/2014/main" id="{75D99221-307A-22FF-666F-27AE50D94883}"/>
              </a:ext>
            </a:extLst>
          </p:cNvPr>
          <p:cNvSpPr>
            <a:spLocks/>
          </p:cNvSpPr>
          <p:nvPr/>
        </p:nvSpPr>
        <p:spPr bwMode="auto">
          <a:xfrm>
            <a:off x="1283005" y="3003020"/>
            <a:ext cx="2378173" cy="2222469"/>
          </a:xfrm>
          <a:custGeom>
            <a:avLst/>
            <a:gdLst>
              <a:gd name="T0" fmla="*/ 1215 w 1811"/>
              <a:gd name="T1" fmla="*/ 38 h 1419"/>
              <a:gd name="T2" fmla="*/ 646 w 1811"/>
              <a:gd name="T3" fmla="*/ 71 h 1419"/>
              <a:gd name="T4" fmla="*/ 440 w 1811"/>
              <a:gd name="T5" fmla="*/ 153 h 1419"/>
              <a:gd name="T6" fmla="*/ 196 w 1811"/>
              <a:gd name="T7" fmla="*/ 331 h 1419"/>
              <a:gd name="T8" fmla="*/ 10 w 1811"/>
              <a:gd name="T9" fmla="*/ 789 h 1419"/>
              <a:gd name="T10" fmla="*/ 11 w 1811"/>
              <a:gd name="T11" fmla="*/ 793 h 1419"/>
              <a:gd name="T12" fmla="*/ 13 w 1811"/>
              <a:gd name="T13" fmla="*/ 815 h 1419"/>
              <a:gd name="T14" fmla="*/ 92 w 1811"/>
              <a:gd name="T15" fmla="*/ 1018 h 1419"/>
              <a:gd name="T16" fmla="*/ 269 w 1811"/>
              <a:gd name="T17" fmla="*/ 1199 h 1419"/>
              <a:gd name="T18" fmla="*/ 566 w 1811"/>
              <a:gd name="T19" fmla="*/ 1347 h 1419"/>
              <a:gd name="T20" fmla="*/ 744 w 1811"/>
              <a:gd name="T21" fmla="*/ 1394 h 1419"/>
              <a:gd name="T22" fmla="*/ 964 w 1811"/>
              <a:gd name="T23" fmla="*/ 1418 h 1419"/>
              <a:gd name="T24" fmla="*/ 1396 w 1811"/>
              <a:gd name="T25" fmla="*/ 1337 h 1419"/>
              <a:gd name="T26" fmla="*/ 1600 w 1811"/>
              <a:gd name="T27" fmla="*/ 1188 h 1419"/>
              <a:gd name="T28" fmla="*/ 1793 w 1811"/>
              <a:gd name="T29" fmla="*/ 796 h 1419"/>
              <a:gd name="T30" fmla="*/ 1806 w 1811"/>
              <a:gd name="T31" fmla="*/ 736 h 1419"/>
              <a:gd name="T32" fmla="*/ 1805 w 1811"/>
              <a:gd name="T33" fmla="*/ 720 h 1419"/>
              <a:gd name="T34" fmla="*/ 1795 w 1811"/>
              <a:gd name="T35" fmla="*/ 718 h 1419"/>
              <a:gd name="T36" fmla="*/ 1778 w 1811"/>
              <a:gd name="T37" fmla="*/ 738 h 1419"/>
              <a:gd name="T38" fmla="*/ 1763 w 1811"/>
              <a:gd name="T39" fmla="*/ 818 h 1419"/>
              <a:gd name="T40" fmla="*/ 1719 w 1811"/>
              <a:gd name="T41" fmla="*/ 958 h 1419"/>
              <a:gd name="T42" fmla="*/ 1524 w 1811"/>
              <a:gd name="T43" fmla="*/ 1223 h 1419"/>
              <a:gd name="T44" fmla="*/ 1388 w 1811"/>
              <a:gd name="T45" fmla="*/ 1309 h 1419"/>
              <a:gd name="T46" fmla="*/ 992 w 1811"/>
              <a:gd name="T47" fmla="*/ 1395 h 1419"/>
              <a:gd name="T48" fmla="*/ 759 w 1811"/>
              <a:gd name="T49" fmla="*/ 1370 h 1419"/>
              <a:gd name="T50" fmla="*/ 561 w 1811"/>
              <a:gd name="T51" fmla="*/ 1315 h 1419"/>
              <a:gd name="T52" fmla="*/ 152 w 1811"/>
              <a:gd name="T53" fmla="*/ 1052 h 1419"/>
              <a:gd name="T54" fmla="*/ 36 w 1811"/>
              <a:gd name="T55" fmla="*/ 759 h 1419"/>
              <a:gd name="T56" fmla="*/ 206 w 1811"/>
              <a:gd name="T57" fmla="*/ 343 h 1419"/>
              <a:gd name="T58" fmla="*/ 288 w 1811"/>
              <a:gd name="T59" fmla="*/ 274 h 1419"/>
              <a:gd name="T60" fmla="*/ 537 w 1811"/>
              <a:gd name="T61" fmla="*/ 133 h 1419"/>
              <a:gd name="T62" fmla="*/ 1187 w 1811"/>
              <a:gd name="T63" fmla="*/ 59 h 1419"/>
              <a:gd name="T64" fmla="*/ 1218 w 1811"/>
              <a:gd name="T65" fmla="*/ 65 h 1419"/>
              <a:gd name="T66" fmla="*/ 1616 w 1811"/>
              <a:gd name="T67" fmla="*/ 273 h 1419"/>
              <a:gd name="T68" fmla="*/ 1772 w 1811"/>
              <a:gd name="T69" fmla="*/ 524 h 1419"/>
              <a:gd name="T70" fmla="*/ 1787 w 1811"/>
              <a:gd name="T71" fmla="*/ 627 h 1419"/>
              <a:gd name="T72" fmla="*/ 1768 w 1811"/>
              <a:gd name="T73" fmla="*/ 733 h 1419"/>
              <a:gd name="T74" fmla="*/ 1768 w 1811"/>
              <a:gd name="T75" fmla="*/ 739 h 1419"/>
              <a:gd name="T76" fmla="*/ 1789 w 1811"/>
              <a:gd name="T77" fmla="*/ 715 h 1419"/>
              <a:gd name="T78" fmla="*/ 1809 w 1811"/>
              <a:gd name="T79" fmla="*/ 626 h 1419"/>
              <a:gd name="T80" fmla="*/ 1811 w 1811"/>
              <a:gd name="T81" fmla="*/ 601 h 1419"/>
              <a:gd name="T82" fmla="*/ 1809 w 1811"/>
              <a:gd name="T83" fmla="*/ 569 h 1419"/>
              <a:gd name="T84" fmla="*/ 1793 w 1811"/>
              <a:gd name="T85" fmla="*/ 494 h 1419"/>
              <a:gd name="T86" fmla="*/ 1695 w 1811"/>
              <a:gd name="T87" fmla="*/ 314 h 1419"/>
              <a:gd name="T88" fmla="*/ 1440 w 1811"/>
              <a:gd name="T89" fmla="*/ 116 h 1419"/>
              <a:gd name="T90" fmla="*/ 1435 w 1811"/>
              <a:gd name="T91" fmla="*/ 113 h 1419"/>
              <a:gd name="T92" fmla="*/ 1215 w 1811"/>
              <a:gd name="T93" fmla="*/ 38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11" h="1419">
                <a:moveTo>
                  <a:pt x="1215" y="38"/>
                </a:moveTo>
                <a:cubicBezTo>
                  <a:pt x="1039" y="0"/>
                  <a:pt x="853" y="11"/>
                  <a:pt x="646" y="71"/>
                </a:cubicBezTo>
                <a:cubicBezTo>
                  <a:pt x="587" y="87"/>
                  <a:pt x="522" y="114"/>
                  <a:pt x="440" y="153"/>
                </a:cubicBezTo>
                <a:cubicBezTo>
                  <a:pt x="351" y="197"/>
                  <a:pt x="271" y="255"/>
                  <a:pt x="196" y="331"/>
                </a:cubicBezTo>
                <a:cubicBezTo>
                  <a:pt x="69" y="460"/>
                  <a:pt x="0" y="631"/>
                  <a:pt x="10" y="789"/>
                </a:cubicBezTo>
                <a:cubicBezTo>
                  <a:pt x="11" y="793"/>
                  <a:pt x="11" y="793"/>
                  <a:pt x="11" y="793"/>
                </a:cubicBezTo>
                <a:cubicBezTo>
                  <a:pt x="11" y="801"/>
                  <a:pt x="12" y="808"/>
                  <a:pt x="13" y="815"/>
                </a:cubicBezTo>
                <a:cubicBezTo>
                  <a:pt x="28" y="912"/>
                  <a:pt x="57" y="964"/>
                  <a:pt x="92" y="1018"/>
                </a:cubicBezTo>
                <a:cubicBezTo>
                  <a:pt x="143" y="1101"/>
                  <a:pt x="210" y="1156"/>
                  <a:pt x="269" y="1199"/>
                </a:cubicBezTo>
                <a:cubicBezTo>
                  <a:pt x="366" y="1269"/>
                  <a:pt x="463" y="1318"/>
                  <a:pt x="566" y="1347"/>
                </a:cubicBezTo>
                <a:cubicBezTo>
                  <a:pt x="619" y="1363"/>
                  <a:pt x="681" y="1380"/>
                  <a:pt x="744" y="1394"/>
                </a:cubicBezTo>
                <a:cubicBezTo>
                  <a:pt x="823" y="1411"/>
                  <a:pt x="895" y="1419"/>
                  <a:pt x="964" y="1418"/>
                </a:cubicBezTo>
                <a:cubicBezTo>
                  <a:pt x="1124" y="1418"/>
                  <a:pt x="1258" y="1407"/>
                  <a:pt x="1396" y="1337"/>
                </a:cubicBezTo>
                <a:cubicBezTo>
                  <a:pt x="1467" y="1300"/>
                  <a:pt x="1534" y="1252"/>
                  <a:pt x="1600" y="1188"/>
                </a:cubicBezTo>
                <a:cubicBezTo>
                  <a:pt x="1716" y="1077"/>
                  <a:pt x="1759" y="934"/>
                  <a:pt x="1793" y="796"/>
                </a:cubicBezTo>
                <a:cubicBezTo>
                  <a:pt x="1793" y="793"/>
                  <a:pt x="1805" y="738"/>
                  <a:pt x="1806" y="736"/>
                </a:cubicBezTo>
                <a:cubicBezTo>
                  <a:pt x="1807" y="730"/>
                  <a:pt x="1807" y="724"/>
                  <a:pt x="1805" y="720"/>
                </a:cubicBezTo>
                <a:cubicBezTo>
                  <a:pt x="1802" y="717"/>
                  <a:pt x="1799" y="716"/>
                  <a:pt x="1795" y="718"/>
                </a:cubicBezTo>
                <a:cubicBezTo>
                  <a:pt x="1787" y="722"/>
                  <a:pt x="1782" y="728"/>
                  <a:pt x="1778" y="738"/>
                </a:cubicBezTo>
                <a:cubicBezTo>
                  <a:pt x="1776" y="744"/>
                  <a:pt x="1766" y="810"/>
                  <a:pt x="1763" y="818"/>
                </a:cubicBezTo>
                <a:cubicBezTo>
                  <a:pt x="1745" y="882"/>
                  <a:pt x="1736" y="907"/>
                  <a:pt x="1719" y="958"/>
                </a:cubicBezTo>
                <a:cubicBezTo>
                  <a:pt x="1680" y="1077"/>
                  <a:pt x="1587" y="1176"/>
                  <a:pt x="1524" y="1223"/>
                </a:cubicBezTo>
                <a:cubicBezTo>
                  <a:pt x="1476" y="1259"/>
                  <a:pt x="1451" y="1276"/>
                  <a:pt x="1388" y="1309"/>
                </a:cubicBezTo>
                <a:cubicBezTo>
                  <a:pt x="1265" y="1372"/>
                  <a:pt x="1140" y="1395"/>
                  <a:pt x="992" y="1395"/>
                </a:cubicBezTo>
                <a:cubicBezTo>
                  <a:pt x="918" y="1395"/>
                  <a:pt x="841" y="1387"/>
                  <a:pt x="759" y="1370"/>
                </a:cubicBezTo>
                <a:cubicBezTo>
                  <a:pt x="700" y="1357"/>
                  <a:pt x="639" y="1340"/>
                  <a:pt x="561" y="1315"/>
                </a:cubicBezTo>
                <a:cubicBezTo>
                  <a:pt x="406" y="1266"/>
                  <a:pt x="270" y="1182"/>
                  <a:pt x="152" y="1052"/>
                </a:cubicBezTo>
                <a:cubicBezTo>
                  <a:pt x="89" y="984"/>
                  <a:pt x="49" y="881"/>
                  <a:pt x="36" y="759"/>
                </a:cubicBezTo>
                <a:cubicBezTo>
                  <a:pt x="22" y="618"/>
                  <a:pt x="87" y="459"/>
                  <a:pt x="206" y="343"/>
                </a:cubicBezTo>
                <a:cubicBezTo>
                  <a:pt x="234" y="316"/>
                  <a:pt x="263" y="293"/>
                  <a:pt x="288" y="274"/>
                </a:cubicBezTo>
                <a:cubicBezTo>
                  <a:pt x="368" y="212"/>
                  <a:pt x="449" y="166"/>
                  <a:pt x="537" y="133"/>
                </a:cubicBezTo>
                <a:cubicBezTo>
                  <a:pt x="761" y="51"/>
                  <a:pt x="974" y="23"/>
                  <a:pt x="1187" y="59"/>
                </a:cubicBezTo>
                <a:cubicBezTo>
                  <a:pt x="1197" y="61"/>
                  <a:pt x="1208" y="63"/>
                  <a:pt x="1218" y="65"/>
                </a:cubicBezTo>
                <a:cubicBezTo>
                  <a:pt x="1353" y="93"/>
                  <a:pt x="1484" y="162"/>
                  <a:pt x="1616" y="273"/>
                </a:cubicBezTo>
                <a:cubicBezTo>
                  <a:pt x="1692" y="338"/>
                  <a:pt x="1742" y="423"/>
                  <a:pt x="1772" y="524"/>
                </a:cubicBezTo>
                <a:cubicBezTo>
                  <a:pt x="1782" y="557"/>
                  <a:pt x="1786" y="568"/>
                  <a:pt x="1787" y="627"/>
                </a:cubicBezTo>
                <a:cubicBezTo>
                  <a:pt x="1787" y="665"/>
                  <a:pt x="1770" y="721"/>
                  <a:pt x="1768" y="733"/>
                </a:cubicBezTo>
                <a:cubicBezTo>
                  <a:pt x="1768" y="735"/>
                  <a:pt x="1768" y="737"/>
                  <a:pt x="1768" y="739"/>
                </a:cubicBezTo>
                <a:cubicBezTo>
                  <a:pt x="1776" y="731"/>
                  <a:pt x="1784" y="724"/>
                  <a:pt x="1789" y="715"/>
                </a:cubicBezTo>
                <a:cubicBezTo>
                  <a:pt x="1791" y="711"/>
                  <a:pt x="1807" y="662"/>
                  <a:pt x="1809" y="626"/>
                </a:cubicBezTo>
                <a:cubicBezTo>
                  <a:pt x="1809" y="617"/>
                  <a:pt x="1811" y="608"/>
                  <a:pt x="1811" y="601"/>
                </a:cubicBezTo>
                <a:cubicBezTo>
                  <a:pt x="1809" y="569"/>
                  <a:pt x="1809" y="569"/>
                  <a:pt x="1809" y="569"/>
                </a:cubicBezTo>
                <a:cubicBezTo>
                  <a:pt x="1806" y="535"/>
                  <a:pt x="1802" y="522"/>
                  <a:pt x="1793" y="494"/>
                </a:cubicBezTo>
                <a:cubicBezTo>
                  <a:pt x="1771" y="425"/>
                  <a:pt x="1738" y="364"/>
                  <a:pt x="1695" y="314"/>
                </a:cubicBezTo>
                <a:cubicBezTo>
                  <a:pt x="1619" y="224"/>
                  <a:pt x="1524" y="166"/>
                  <a:pt x="1440" y="116"/>
                </a:cubicBezTo>
                <a:cubicBezTo>
                  <a:pt x="1435" y="113"/>
                  <a:pt x="1435" y="113"/>
                  <a:pt x="1435" y="113"/>
                </a:cubicBezTo>
                <a:cubicBezTo>
                  <a:pt x="1364" y="79"/>
                  <a:pt x="1290" y="54"/>
                  <a:pt x="1215" y="38"/>
                </a:cubicBezTo>
                <a:close/>
              </a:path>
            </a:pathLst>
          </a:custGeom>
          <a:solidFill>
            <a:srgbClr val="F06A11"/>
          </a:solidFill>
          <a:ln>
            <a:solidFill>
              <a:srgbClr val="F06A11"/>
            </a:solidFill>
          </a:ln>
        </p:spPr>
        <p:txBody>
          <a:bodyPr vert="horz" wrap="square" lIns="182868" tIns="91434" rIns="182868" bIns="91434" numCol="1" anchor="t" anchorCtr="0" compatLnSpc="1">
            <a:prstTxWarp prst="textNoShape">
              <a:avLst/>
            </a:prstTxWarp>
          </a:bodyPr>
          <a:lstStyle/>
          <a:p>
            <a:pPr defTabSz="1828709"/>
            <a:endParaRPr lang="en-GB" sz="2000">
              <a:solidFill>
                <a:srgbClr val="000000"/>
              </a:solidFill>
            </a:endParaRPr>
          </a:p>
        </p:txBody>
      </p:sp>
      <p:sp>
        <p:nvSpPr>
          <p:cNvPr id="24" name="Freeform 75">
            <a:extLst>
              <a:ext uri="{FF2B5EF4-FFF2-40B4-BE49-F238E27FC236}">
                <a16:creationId xmlns:a16="http://schemas.microsoft.com/office/drawing/2014/main" id="{A47E5555-96DC-E750-F51B-08A816BFD29B}"/>
              </a:ext>
            </a:extLst>
          </p:cNvPr>
          <p:cNvSpPr>
            <a:spLocks/>
          </p:cNvSpPr>
          <p:nvPr/>
        </p:nvSpPr>
        <p:spPr bwMode="auto">
          <a:xfrm rot="8860857">
            <a:off x="6027264" y="3010721"/>
            <a:ext cx="2409380" cy="2280532"/>
          </a:xfrm>
          <a:custGeom>
            <a:avLst/>
            <a:gdLst>
              <a:gd name="T0" fmla="*/ 1215 w 1811"/>
              <a:gd name="T1" fmla="*/ 38 h 1419"/>
              <a:gd name="T2" fmla="*/ 646 w 1811"/>
              <a:gd name="T3" fmla="*/ 71 h 1419"/>
              <a:gd name="T4" fmla="*/ 440 w 1811"/>
              <a:gd name="T5" fmla="*/ 153 h 1419"/>
              <a:gd name="T6" fmla="*/ 196 w 1811"/>
              <a:gd name="T7" fmla="*/ 331 h 1419"/>
              <a:gd name="T8" fmla="*/ 10 w 1811"/>
              <a:gd name="T9" fmla="*/ 789 h 1419"/>
              <a:gd name="T10" fmla="*/ 11 w 1811"/>
              <a:gd name="T11" fmla="*/ 793 h 1419"/>
              <a:gd name="T12" fmla="*/ 13 w 1811"/>
              <a:gd name="T13" fmla="*/ 815 h 1419"/>
              <a:gd name="T14" fmla="*/ 92 w 1811"/>
              <a:gd name="T15" fmla="*/ 1018 h 1419"/>
              <a:gd name="T16" fmla="*/ 269 w 1811"/>
              <a:gd name="T17" fmla="*/ 1199 h 1419"/>
              <a:gd name="T18" fmla="*/ 566 w 1811"/>
              <a:gd name="T19" fmla="*/ 1347 h 1419"/>
              <a:gd name="T20" fmla="*/ 744 w 1811"/>
              <a:gd name="T21" fmla="*/ 1394 h 1419"/>
              <a:gd name="T22" fmla="*/ 964 w 1811"/>
              <a:gd name="T23" fmla="*/ 1418 h 1419"/>
              <a:gd name="T24" fmla="*/ 1396 w 1811"/>
              <a:gd name="T25" fmla="*/ 1337 h 1419"/>
              <a:gd name="T26" fmla="*/ 1600 w 1811"/>
              <a:gd name="T27" fmla="*/ 1188 h 1419"/>
              <a:gd name="T28" fmla="*/ 1793 w 1811"/>
              <a:gd name="T29" fmla="*/ 796 h 1419"/>
              <a:gd name="T30" fmla="*/ 1806 w 1811"/>
              <a:gd name="T31" fmla="*/ 736 h 1419"/>
              <a:gd name="T32" fmla="*/ 1805 w 1811"/>
              <a:gd name="T33" fmla="*/ 720 h 1419"/>
              <a:gd name="T34" fmla="*/ 1795 w 1811"/>
              <a:gd name="T35" fmla="*/ 718 h 1419"/>
              <a:gd name="T36" fmla="*/ 1778 w 1811"/>
              <a:gd name="T37" fmla="*/ 738 h 1419"/>
              <a:gd name="T38" fmla="*/ 1763 w 1811"/>
              <a:gd name="T39" fmla="*/ 818 h 1419"/>
              <a:gd name="T40" fmla="*/ 1719 w 1811"/>
              <a:gd name="T41" fmla="*/ 958 h 1419"/>
              <a:gd name="T42" fmla="*/ 1524 w 1811"/>
              <a:gd name="T43" fmla="*/ 1223 h 1419"/>
              <a:gd name="T44" fmla="*/ 1388 w 1811"/>
              <a:gd name="T45" fmla="*/ 1309 h 1419"/>
              <a:gd name="T46" fmla="*/ 992 w 1811"/>
              <a:gd name="T47" fmla="*/ 1395 h 1419"/>
              <a:gd name="T48" fmla="*/ 759 w 1811"/>
              <a:gd name="T49" fmla="*/ 1370 h 1419"/>
              <a:gd name="T50" fmla="*/ 561 w 1811"/>
              <a:gd name="T51" fmla="*/ 1315 h 1419"/>
              <a:gd name="T52" fmla="*/ 152 w 1811"/>
              <a:gd name="T53" fmla="*/ 1052 h 1419"/>
              <a:gd name="T54" fmla="*/ 36 w 1811"/>
              <a:gd name="T55" fmla="*/ 759 h 1419"/>
              <a:gd name="T56" fmla="*/ 206 w 1811"/>
              <a:gd name="T57" fmla="*/ 343 h 1419"/>
              <a:gd name="T58" fmla="*/ 288 w 1811"/>
              <a:gd name="T59" fmla="*/ 274 h 1419"/>
              <a:gd name="T60" fmla="*/ 537 w 1811"/>
              <a:gd name="T61" fmla="*/ 133 h 1419"/>
              <a:gd name="T62" fmla="*/ 1187 w 1811"/>
              <a:gd name="T63" fmla="*/ 59 h 1419"/>
              <a:gd name="T64" fmla="*/ 1218 w 1811"/>
              <a:gd name="T65" fmla="*/ 65 h 1419"/>
              <a:gd name="T66" fmla="*/ 1616 w 1811"/>
              <a:gd name="T67" fmla="*/ 273 h 1419"/>
              <a:gd name="T68" fmla="*/ 1772 w 1811"/>
              <a:gd name="T69" fmla="*/ 524 h 1419"/>
              <a:gd name="T70" fmla="*/ 1787 w 1811"/>
              <a:gd name="T71" fmla="*/ 627 h 1419"/>
              <a:gd name="T72" fmla="*/ 1768 w 1811"/>
              <a:gd name="T73" fmla="*/ 733 h 1419"/>
              <a:gd name="T74" fmla="*/ 1768 w 1811"/>
              <a:gd name="T75" fmla="*/ 739 h 1419"/>
              <a:gd name="T76" fmla="*/ 1789 w 1811"/>
              <a:gd name="T77" fmla="*/ 715 h 1419"/>
              <a:gd name="T78" fmla="*/ 1809 w 1811"/>
              <a:gd name="T79" fmla="*/ 626 h 1419"/>
              <a:gd name="T80" fmla="*/ 1811 w 1811"/>
              <a:gd name="T81" fmla="*/ 601 h 1419"/>
              <a:gd name="T82" fmla="*/ 1809 w 1811"/>
              <a:gd name="T83" fmla="*/ 569 h 1419"/>
              <a:gd name="T84" fmla="*/ 1793 w 1811"/>
              <a:gd name="T85" fmla="*/ 494 h 1419"/>
              <a:gd name="T86" fmla="*/ 1695 w 1811"/>
              <a:gd name="T87" fmla="*/ 314 h 1419"/>
              <a:gd name="T88" fmla="*/ 1440 w 1811"/>
              <a:gd name="T89" fmla="*/ 116 h 1419"/>
              <a:gd name="T90" fmla="*/ 1435 w 1811"/>
              <a:gd name="T91" fmla="*/ 113 h 1419"/>
              <a:gd name="T92" fmla="*/ 1215 w 1811"/>
              <a:gd name="T93" fmla="*/ 38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11" h="1419">
                <a:moveTo>
                  <a:pt x="1215" y="38"/>
                </a:moveTo>
                <a:cubicBezTo>
                  <a:pt x="1039" y="0"/>
                  <a:pt x="853" y="11"/>
                  <a:pt x="646" y="71"/>
                </a:cubicBezTo>
                <a:cubicBezTo>
                  <a:pt x="587" y="87"/>
                  <a:pt x="522" y="114"/>
                  <a:pt x="440" y="153"/>
                </a:cubicBezTo>
                <a:cubicBezTo>
                  <a:pt x="351" y="197"/>
                  <a:pt x="271" y="255"/>
                  <a:pt x="196" y="331"/>
                </a:cubicBezTo>
                <a:cubicBezTo>
                  <a:pt x="69" y="460"/>
                  <a:pt x="0" y="631"/>
                  <a:pt x="10" y="789"/>
                </a:cubicBezTo>
                <a:cubicBezTo>
                  <a:pt x="11" y="793"/>
                  <a:pt x="11" y="793"/>
                  <a:pt x="11" y="793"/>
                </a:cubicBezTo>
                <a:cubicBezTo>
                  <a:pt x="11" y="801"/>
                  <a:pt x="12" y="808"/>
                  <a:pt x="13" y="815"/>
                </a:cubicBezTo>
                <a:cubicBezTo>
                  <a:pt x="28" y="912"/>
                  <a:pt x="57" y="964"/>
                  <a:pt x="92" y="1018"/>
                </a:cubicBezTo>
                <a:cubicBezTo>
                  <a:pt x="143" y="1101"/>
                  <a:pt x="210" y="1156"/>
                  <a:pt x="269" y="1199"/>
                </a:cubicBezTo>
                <a:cubicBezTo>
                  <a:pt x="366" y="1269"/>
                  <a:pt x="463" y="1318"/>
                  <a:pt x="566" y="1347"/>
                </a:cubicBezTo>
                <a:cubicBezTo>
                  <a:pt x="619" y="1363"/>
                  <a:pt x="681" y="1380"/>
                  <a:pt x="744" y="1394"/>
                </a:cubicBezTo>
                <a:cubicBezTo>
                  <a:pt x="823" y="1411"/>
                  <a:pt x="895" y="1419"/>
                  <a:pt x="964" y="1418"/>
                </a:cubicBezTo>
                <a:cubicBezTo>
                  <a:pt x="1124" y="1418"/>
                  <a:pt x="1258" y="1407"/>
                  <a:pt x="1396" y="1337"/>
                </a:cubicBezTo>
                <a:cubicBezTo>
                  <a:pt x="1467" y="1300"/>
                  <a:pt x="1534" y="1252"/>
                  <a:pt x="1600" y="1188"/>
                </a:cubicBezTo>
                <a:cubicBezTo>
                  <a:pt x="1716" y="1077"/>
                  <a:pt x="1759" y="934"/>
                  <a:pt x="1793" y="796"/>
                </a:cubicBezTo>
                <a:cubicBezTo>
                  <a:pt x="1793" y="793"/>
                  <a:pt x="1805" y="738"/>
                  <a:pt x="1806" y="736"/>
                </a:cubicBezTo>
                <a:cubicBezTo>
                  <a:pt x="1807" y="730"/>
                  <a:pt x="1807" y="724"/>
                  <a:pt x="1805" y="720"/>
                </a:cubicBezTo>
                <a:cubicBezTo>
                  <a:pt x="1802" y="717"/>
                  <a:pt x="1799" y="716"/>
                  <a:pt x="1795" y="718"/>
                </a:cubicBezTo>
                <a:cubicBezTo>
                  <a:pt x="1787" y="722"/>
                  <a:pt x="1782" y="728"/>
                  <a:pt x="1778" y="738"/>
                </a:cubicBezTo>
                <a:cubicBezTo>
                  <a:pt x="1776" y="744"/>
                  <a:pt x="1766" y="810"/>
                  <a:pt x="1763" y="818"/>
                </a:cubicBezTo>
                <a:cubicBezTo>
                  <a:pt x="1745" y="882"/>
                  <a:pt x="1736" y="907"/>
                  <a:pt x="1719" y="958"/>
                </a:cubicBezTo>
                <a:cubicBezTo>
                  <a:pt x="1680" y="1077"/>
                  <a:pt x="1587" y="1176"/>
                  <a:pt x="1524" y="1223"/>
                </a:cubicBezTo>
                <a:cubicBezTo>
                  <a:pt x="1476" y="1259"/>
                  <a:pt x="1451" y="1276"/>
                  <a:pt x="1388" y="1309"/>
                </a:cubicBezTo>
                <a:cubicBezTo>
                  <a:pt x="1265" y="1372"/>
                  <a:pt x="1140" y="1395"/>
                  <a:pt x="992" y="1395"/>
                </a:cubicBezTo>
                <a:cubicBezTo>
                  <a:pt x="918" y="1395"/>
                  <a:pt x="841" y="1387"/>
                  <a:pt x="759" y="1370"/>
                </a:cubicBezTo>
                <a:cubicBezTo>
                  <a:pt x="700" y="1357"/>
                  <a:pt x="639" y="1340"/>
                  <a:pt x="561" y="1315"/>
                </a:cubicBezTo>
                <a:cubicBezTo>
                  <a:pt x="406" y="1266"/>
                  <a:pt x="270" y="1182"/>
                  <a:pt x="152" y="1052"/>
                </a:cubicBezTo>
                <a:cubicBezTo>
                  <a:pt x="89" y="984"/>
                  <a:pt x="49" y="881"/>
                  <a:pt x="36" y="759"/>
                </a:cubicBezTo>
                <a:cubicBezTo>
                  <a:pt x="22" y="618"/>
                  <a:pt x="87" y="459"/>
                  <a:pt x="206" y="343"/>
                </a:cubicBezTo>
                <a:cubicBezTo>
                  <a:pt x="234" y="316"/>
                  <a:pt x="263" y="293"/>
                  <a:pt x="288" y="274"/>
                </a:cubicBezTo>
                <a:cubicBezTo>
                  <a:pt x="368" y="212"/>
                  <a:pt x="449" y="166"/>
                  <a:pt x="537" y="133"/>
                </a:cubicBezTo>
                <a:cubicBezTo>
                  <a:pt x="761" y="51"/>
                  <a:pt x="974" y="23"/>
                  <a:pt x="1187" y="59"/>
                </a:cubicBezTo>
                <a:cubicBezTo>
                  <a:pt x="1197" y="61"/>
                  <a:pt x="1208" y="63"/>
                  <a:pt x="1218" y="65"/>
                </a:cubicBezTo>
                <a:cubicBezTo>
                  <a:pt x="1353" y="93"/>
                  <a:pt x="1484" y="162"/>
                  <a:pt x="1616" y="273"/>
                </a:cubicBezTo>
                <a:cubicBezTo>
                  <a:pt x="1692" y="338"/>
                  <a:pt x="1742" y="423"/>
                  <a:pt x="1772" y="524"/>
                </a:cubicBezTo>
                <a:cubicBezTo>
                  <a:pt x="1782" y="557"/>
                  <a:pt x="1786" y="568"/>
                  <a:pt x="1787" y="627"/>
                </a:cubicBezTo>
                <a:cubicBezTo>
                  <a:pt x="1787" y="665"/>
                  <a:pt x="1770" y="721"/>
                  <a:pt x="1768" y="733"/>
                </a:cubicBezTo>
                <a:cubicBezTo>
                  <a:pt x="1768" y="735"/>
                  <a:pt x="1768" y="737"/>
                  <a:pt x="1768" y="739"/>
                </a:cubicBezTo>
                <a:cubicBezTo>
                  <a:pt x="1776" y="731"/>
                  <a:pt x="1784" y="724"/>
                  <a:pt x="1789" y="715"/>
                </a:cubicBezTo>
                <a:cubicBezTo>
                  <a:pt x="1791" y="711"/>
                  <a:pt x="1807" y="662"/>
                  <a:pt x="1809" y="626"/>
                </a:cubicBezTo>
                <a:cubicBezTo>
                  <a:pt x="1809" y="617"/>
                  <a:pt x="1811" y="608"/>
                  <a:pt x="1811" y="601"/>
                </a:cubicBezTo>
                <a:cubicBezTo>
                  <a:pt x="1809" y="569"/>
                  <a:pt x="1809" y="569"/>
                  <a:pt x="1809" y="569"/>
                </a:cubicBezTo>
                <a:cubicBezTo>
                  <a:pt x="1806" y="535"/>
                  <a:pt x="1802" y="522"/>
                  <a:pt x="1793" y="494"/>
                </a:cubicBezTo>
                <a:cubicBezTo>
                  <a:pt x="1771" y="425"/>
                  <a:pt x="1738" y="364"/>
                  <a:pt x="1695" y="314"/>
                </a:cubicBezTo>
                <a:cubicBezTo>
                  <a:pt x="1619" y="224"/>
                  <a:pt x="1524" y="166"/>
                  <a:pt x="1440" y="116"/>
                </a:cubicBezTo>
                <a:cubicBezTo>
                  <a:pt x="1435" y="113"/>
                  <a:pt x="1435" y="113"/>
                  <a:pt x="1435" y="113"/>
                </a:cubicBezTo>
                <a:cubicBezTo>
                  <a:pt x="1364" y="79"/>
                  <a:pt x="1290" y="54"/>
                  <a:pt x="1215" y="38"/>
                </a:cubicBezTo>
                <a:close/>
              </a:path>
            </a:pathLst>
          </a:custGeom>
          <a:solidFill>
            <a:srgbClr val="F06A11"/>
          </a:solidFill>
          <a:ln>
            <a:solidFill>
              <a:srgbClr val="FF9933"/>
            </a:solidFill>
          </a:ln>
        </p:spPr>
        <p:txBody>
          <a:bodyPr vert="horz" wrap="square" lIns="182868" tIns="91434" rIns="182868" bIns="91434" numCol="1" anchor="t" anchorCtr="0" compatLnSpc="1">
            <a:prstTxWarp prst="textNoShape">
              <a:avLst/>
            </a:prstTxWarp>
          </a:bodyPr>
          <a:lstStyle/>
          <a:p>
            <a:pPr defTabSz="1828709"/>
            <a:endParaRPr lang="en-GB" sz="2000">
              <a:solidFill>
                <a:srgbClr val="000000"/>
              </a:solidFill>
            </a:endParaRPr>
          </a:p>
        </p:txBody>
      </p:sp>
      <p:sp>
        <p:nvSpPr>
          <p:cNvPr id="25" name="Freeform 75">
            <a:extLst>
              <a:ext uri="{FF2B5EF4-FFF2-40B4-BE49-F238E27FC236}">
                <a16:creationId xmlns:a16="http://schemas.microsoft.com/office/drawing/2014/main" id="{89F07642-D377-FD23-D1BA-5554768A299A}"/>
              </a:ext>
            </a:extLst>
          </p:cNvPr>
          <p:cNvSpPr>
            <a:spLocks/>
          </p:cNvSpPr>
          <p:nvPr/>
        </p:nvSpPr>
        <p:spPr bwMode="auto">
          <a:xfrm>
            <a:off x="10554712" y="2870933"/>
            <a:ext cx="2454242" cy="2376805"/>
          </a:xfrm>
          <a:custGeom>
            <a:avLst/>
            <a:gdLst>
              <a:gd name="T0" fmla="*/ 1215 w 1811"/>
              <a:gd name="T1" fmla="*/ 38 h 1419"/>
              <a:gd name="T2" fmla="*/ 646 w 1811"/>
              <a:gd name="T3" fmla="*/ 71 h 1419"/>
              <a:gd name="T4" fmla="*/ 440 w 1811"/>
              <a:gd name="T5" fmla="*/ 153 h 1419"/>
              <a:gd name="T6" fmla="*/ 196 w 1811"/>
              <a:gd name="T7" fmla="*/ 331 h 1419"/>
              <a:gd name="T8" fmla="*/ 10 w 1811"/>
              <a:gd name="T9" fmla="*/ 789 h 1419"/>
              <a:gd name="T10" fmla="*/ 11 w 1811"/>
              <a:gd name="T11" fmla="*/ 793 h 1419"/>
              <a:gd name="T12" fmla="*/ 13 w 1811"/>
              <a:gd name="T13" fmla="*/ 815 h 1419"/>
              <a:gd name="T14" fmla="*/ 92 w 1811"/>
              <a:gd name="T15" fmla="*/ 1018 h 1419"/>
              <a:gd name="T16" fmla="*/ 269 w 1811"/>
              <a:gd name="T17" fmla="*/ 1199 h 1419"/>
              <a:gd name="T18" fmla="*/ 566 w 1811"/>
              <a:gd name="T19" fmla="*/ 1347 h 1419"/>
              <a:gd name="T20" fmla="*/ 744 w 1811"/>
              <a:gd name="T21" fmla="*/ 1394 h 1419"/>
              <a:gd name="T22" fmla="*/ 964 w 1811"/>
              <a:gd name="T23" fmla="*/ 1418 h 1419"/>
              <a:gd name="T24" fmla="*/ 1396 w 1811"/>
              <a:gd name="T25" fmla="*/ 1337 h 1419"/>
              <a:gd name="T26" fmla="*/ 1600 w 1811"/>
              <a:gd name="T27" fmla="*/ 1188 h 1419"/>
              <a:gd name="T28" fmla="*/ 1793 w 1811"/>
              <a:gd name="T29" fmla="*/ 796 h 1419"/>
              <a:gd name="T30" fmla="*/ 1806 w 1811"/>
              <a:gd name="T31" fmla="*/ 736 h 1419"/>
              <a:gd name="T32" fmla="*/ 1805 w 1811"/>
              <a:gd name="T33" fmla="*/ 720 h 1419"/>
              <a:gd name="T34" fmla="*/ 1795 w 1811"/>
              <a:gd name="T35" fmla="*/ 718 h 1419"/>
              <a:gd name="T36" fmla="*/ 1778 w 1811"/>
              <a:gd name="T37" fmla="*/ 738 h 1419"/>
              <a:gd name="T38" fmla="*/ 1763 w 1811"/>
              <a:gd name="T39" fmla="*/ 818 h 1419"/>
              <a:gd name="T40" fmla="*/ 1719 w 1811"/>
              <a:gd name="T41" fmla="*/ 958 h 1419"/>
              <a:gd name="T42" fmla="*/ 1524 w 1811"/>
              <a:gd name="T43" fmla="*/ 1223 h 1419"/>
              <a:gd name="T44" fmla="*/ 1388 w 1811"/>
              <a:gd name="T45" fmla="*/ 1309 h 1419"/>
              <a:gd name="T46" fmla="*/ 992 w 1811"/>
              <a:gd name="T47" fmla="*/ 1395 h 1419"/>
              <a:gd name="T48" fmla="*/ 759 w 1811"/>
              <a:gd name="T49" fmla="*/ 1370 h 1419"/>
              <a:gd name="T50" fmla="*/ 561 w 1811"/>
              <a:gd name="T51" fmla="*/ 1315 h 1419"/>
              <a:gd name="T52" fmla="*/ 152 w 1811"/>
              <a:gd name="T53" fmla="*/ 1052 h 1419"/>
              <a:gd name="T54" fmla="*/ 36 w 1811"/>
              <a:gd name="T55" fmla="*/ 759 h 1419"/>
              <a:gd name="T56" fmla="*/ 206 w 1811"/>
              <a:gd name="T57" fmla="*/ 343 h 1419"/>
              <a:gd name="T58" fmla="*/ 288 w 1811"/>
              <a:gd name="T59" fmla="*/ 274 h 1419"/>
              <a:gd name="T60" fmla="*/ 537 w 1811"/>
              <a:gd name="T61" fmla="*/ 133 h 1419"/>
              <a:gd name="T62" fmla="*/ 1187 w 1811"/>
              <a:gd name="T63" fmla="*/ 59 h 1419"/>
              <a:gd name="T64" fmla="*/ 1218 w 1811"/>
              <a:gd name="T65" fmla="*/ 65 h 1419"/>
              <a:gd name="T66" fmla="*/ 1616 w 1811"/>
              <a:gd name="T67" fmla="*/ 273 h 1419"/>
              <a:gd name="T68" fmla="*/ 1772 w 1811"/>
              <a:gd name="T69" fmla="*/ 524 h 1419"/>
              <a:gd name="T70" fmla="*/ 1787 w 1811"/>
              <a:gd name="T71" fmla="*/ 627 h 1419"/>
              <a:gd name="T72" fmla="*/ 1768 w 1811"/>
              <a:gd name="T73" fmla="*/ 733 h 1419"/>
              <a:gd name="T74" fmla="*/ 1768 w 1811"/>
              <a:gd name="T75" fmla="*/ 739 h 1419"/>
              <a:gd name="T76" fmla="*/ 1789 w 1811"/>
              <a:gd name="T77" fmla="*/ 715 h 1419"/>
              <a:gd name="T78" fmla="*/ 1809 w 1811"/>
              <a:gd name="T79" fmla="*/ 626 h 1419"/>
              <a:gd name="T80" fmla="*/ 1811 w 1811"/>
              <a:gd name="T81" fmla="*/ 601 h 1419"/>
              <a:gd name="T82" fmla="*/ 1809 w 1811"/>
              <a:gd name="T83" fmla="*/ 569 h 1419"/>
              <a:gd name="T84" fmla="*/ 1793 w 1811"/>
              <a:gd name="T85" fmla="*/ 494 h 1419"/>
              <a:gd name="T86" fmla="*/ 1695 w 1811"/>
              <a:gd name="T87" fmla="*/ 314 h 1419"/>
              <a:gd name="T88" fmla="*/ 1440 w 1811"/>
              <a:gd name="T89" fmla="*/ 116 h 1419"/>
              <a:gd name="T90" fmla="*/ 1435 w 1811"/>
              <a:gd name="T91" fmla="*/ 113 h 1419"/>
              <a:gd name="T92" fmla="*/ 1215 w 1811"/>
              <a:gd name="T93" fmla="*/ 38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11" h="1419">
                <a:moveTo>
                  <a:pt x="1215" y="38"/>
                </a:moveTo>
                <a:cubicBezTo>
                  <a:pt x="1039" y="0"/>
                  <a:pt x="853" y="11"/>
                  <a:pt x="646" y="71"/>
                </a:cubicBezTo>
                <a:cubicBezTo>
                  <a:pt x="587" y="87"/>
                  <a:pt x="522" y="114"/>
                  <a:pt x="440" y="153"/>
                </a:cubicBezTo>
                <a:cubicBezTo>
                  <a:pt x="351" y="197"/>
                  <a:pt x="271" y="255"/>
                  <a:pt x="196" y="331"/>
                </a:cubicBezTo>
                <a:cubicBezTo>
                  <a:pt x="69" y="460"/>
                  <a:pt x="0" y="631"/>
                  <a:pt x="10" y="789"/>
                </a:cubicBezTo>
                <a:cubicBezTo>
                  <a:pt x="11" y="793"/>
                  <a:pt x="11" y="793"/>
                  <a:pt x="11" y="793"/>
                </a:cubicBezTo>
                <a:cubicBezTo>
                  <a:pt x="11" y="801"/>
                  <a:pt x="12" y="808"/>
                  <a:pt x="13" y="815"/>
                </a:cubicBezTo>
                <a:cubicBezTo>
                  <a:pt x="28" y="912"/>
                  <a:pt x="57" y="964"/>
                  <a:pt x="92" y="1018"/>
                </a:cubicBezTo>
                <a:cubicBezTo>
                  <a:pt x="143" y="1101"/>
                  <a:pt x="210" y="1156"/>
                  <a:pt x="269" y="1199"/>
                </a:cubicBezTo>
                <a:cubicBezTo>
                  <a:pt x="366" y="1269"/>
                  <a:pt x="463" y="1318"/>
                  <a:pt x="566" y="1347"/>
                </a:cubicBezTo>
                <a:cubicBezTo>
                  <a:pt x="619" y="1363"/>
                  <a:pt x="681" y="1380"/>
                  <a:pt x="744" y="1394"/>
                </a:cubicBezTo>
                <a:cubicBezTo>
                  <a:pt x="823" y="1411"/>
                  <a:pt x="895" y="1419"/>
                  <a:pt x="964" y="1418"/>
                </a:cubicBezTo>
                <a:cubicBezTo>
                  <a:pt x="1124" y="1418"/>
                  <a:pt x="1258" y="1407"/>
                  <a:pt x="1396" y="1337"/>
                </a:cubicBezTo>
                <a:cubicBezTo>
                  <a:pt x="1467" y="1300"/>
                  <a:pt x="1534" y="1252"/>
                  <a:pt x="1600" y="1188"/>
                </a:cubicBezTo>
                <a:cubicBezTo>
                  <a:pt x="1716" y="1077"/>
                  <a:pt x="1759" y="934"/>
                  <a:pt x="1793" y="796"/>
                </a:cubicBezTo>
                <a:cubicBezTo>
                  <a:pt x="1793" y="793"/>
                  <a:pt x="1805" y="738"/>
                  <a:pt x="1806" y="736"/>
                </a:cubicBezTo>
                <a:cubicBezTo>
                  <a:pt x="1807" y="730"/>
                  <a:pt x="1807" y="724"/>
                  <a:pt x="1805" y="720"/>
                </a:cubicBezTo>
                <a:cubicBezTo>
                  <a:pt x="1802" y="717"/>
                  <a:pt x="1799" y="716"/>
                  <a:pt x="1795" y="718"/>
                </a:cubicBezTo>
                <a:cubicBezTo>
                  <a:pt x="1787" y="722"/>
                  <a:pt x="1782" y="728"/>
                  <a:pt x="1778" y="738"/>
                </a:cubicBezTo>
                <a:cubicBezTo>
                  <a:pt x="1776" y="744"/>
                  <a:pt x="1766" y="810"/>
                  <a:pt x="1763" y="818"/>
                </a:cubicBezTo>
                <a:cubicBezTo>
                  <a:pt x="1745" y="882"/>
                  <a:pt x="1736" y="907"/>
                  <a:pt x="1719" y="958"/>
                </a:cubicBezTo>
                <a:cubicBezTo>
                  <a:pt x="1680" y="1077"/>
                  <a:pt x="1587" y="1176"/>
                  <a:pt x="1524" y="1223"/>
                </a:cubicBezTo>
                <a:cubicBezTo>
                  <a:pt x="1476" y="1259"/>
                  <a:pt x="1451" y="1276"/>
                  <a:pt x="1388" y="1309"/>
                </a:cubicBezTo>
                <a:cubicBezTo>
                  <a:pt x="1265" y="1372"/>
                  <a:pt x="1140" y="1395"/>
                  <a:pt x="992" y="1395"/>
                </a:cubicBezTo>
                <a:cubicBezTo>
                  <a:pt x="918" y="1395"/>
                  <a:pt x="841" y="1387"/>
                  <a:pt x="759" y="1370"/>
                </a:cubicBezTo>
                <a:cubicBezTo>
                  <a:pt x="700" y="1357"/>
                  <a:pt x="639" y="1340"/>
                  <a:pt x="561" y="1315"/>
                </a:cubicBezTo>
                <a:cubicBezTo>
                  <a:pt x="406" y="1266"/>
                  <a:pt x="270" y="1182"/>
                  <a:pt x="152" y="1052"/>
                </a:cubicBezTo>
                <a:cubicBezTo>
                  <a:pt x="89" y="984"/>
                  <a:pt x="49" y="881"/>
                  <a:pt x="36" y="759"/>
                </a:cubicBezTo>
                <a:cubicBezTo>
                  <a:pt x="22" y="618"/>
                  <a:pt x="87" y="459"/>
                  <a:pt x="206" y="343"/>
                </a:cubicBezTo>
                <a:cubicBezTo>
                  <a:pt x="234" y="316"/>
                  <a:pt x="263" y="293"/>
                  <a:pt x="288" y="274"/>
                </a:cubicBezTo>
                <a:cubicBezTo>
                  <a:pt x="368" y="212"/>
                  <a:pt x="449" y="166"/>
                  <a:pt x="537" y="133"/>
                </a:cubicBezTo>
                <a:cubicBezTo>
                  <a:pt x="761" y="51"/>
                  <a:pt x="974" y="23"/>
                  <a:pt x="1187" y="59"/>
                </a:cubicBezTo>
                <a:cubicBezTo>
                  <a:pt x="1197" y="61"/>
                  <a:pt x="1208" y="63"/>
                  <a:pt x="1218" y="65"/>
                </a:cubicBezTo>
                <a:cubicBezTo>
                  <a:pt x="1353" y="93"/>
                  <a:pt x="1484" y="162"/>
                  <a:pt x="1616" y="273"/>
                </a:cubicBezTo>
                <a:cubicBezTo>
                  <a:pt x="1692" y="338"/>
                  <a:pt x="1742" y="423"/>
                  <a:pt x="1772" y="524"/>
                </a:cubicBezTo>
                <a:cubicBezTo>
                  <a:pt x="1782" y="557"/>
                  <a:pt x="1786" y="568"/>
                  <a:pt x="1787" y="627"/>
                </a:cubicBezTo>
                <a:cubicBezTo>
                  <a:pt x="1787" y="665"/>
                  <a:pt x="1770" y="721"/>
                  <a:pt x="1768" y="733"/>
                </a:cubicBezTo>
                <a:cubicBezTo>
                  <a:pt x="1768" y="735"/>
                  <a:pt x="1768" y="737"/>
                  <a:pt x="1768" y="739"/>
                </a:cubicBezTo>
                <a:cubicBezTo>
                  <a:pt x="1776" y="731"/>
                  <a:pt x="1784" y="724"/>
                  <a:pt x="1789" y="715"/>
                </a:cubicBezTo>
                <a:cubicBezTo>
                  <a:pt x="1791" y="711"/>
                  <a:pt x="1807" y="662"/>
                  <a:pt x="1809" y="626"/>
                </a:cubicBezTo>
                <a:cubicBezTo>
                  <a:pt x="1809" y="617"/>
                  <a:pt x="1811" y="608"/>
                  <a:pt x="1811" y="601"/>
                </a:cubicBezTo>
                <a:cubicBezTo>
                  <a:pt x="1809" y="569"/>
                  <a:pt x="1809" y="569"/>
                  <a:pt x="1809" y="569"/>
                </a:cubicBezTo>
                <a:cubicBezTo>
                  <a:pt x="1806" y="535"/>
                  <a:pt x="1802" y="522"/>
                  <a:pt x="1793" y="494"/>
                </a:cubicBezTo>
                <a:cubicBezTo>
                  <a:pt x="1771" y="425"/>
                  <a:pt x="1738" y="364"/>
                  <a:pt x="1695" y="314"/>
                </a:cubicBezTo>
                <a:cubicBezTo>
                  <a:pt x="1619" y="224"/>
                  <a:pt x="1524" y="166"/>
                  <a:pt x="1440" y="116"/>
                </a:cubicBezTo>
                <a:cubicBezTo>
                  <a:pt x="1435" y="113"/>
                  <a:pt x="1435" y="113"/>
                  <a:pt x="1435" y="113"/>
                </a:cubicBezTo>
                <a:cubicBezTo>
                  <a:pt x="1364" y="79"/>
                  <a:pt x="1290" y="54"/>
                  <a:pt x="1215" y="38"/>
                </a:cubicBezTo>
                <a:close/>
              </a:path>
            </a:pathLst>
          </a:custGeom>
          <a:solidFill>
            <a:srgbClr val="F06A11"/>
          </a:solidFill>
          <a:ln>
            <a:solidFill>
              <a:srgbClr val="FF9933"/>
            </a:solidFill>
          </a:ln>
        </p:spPr>
        <p:txBody>
          <a:bodyPr vert="horz" wrap="square" lIns="182868" tIns="91434" rIns="182868" bIns="91434" numCol="1" anchor="t" anchorCtr="0" compatLnSpc="1">
            <a:prstTxWarp prst="textNoShape">
              <a:avLst/>
            </a:prstTxWarp>
          </a:bodyPr>
          <a:lstStyle/>
          <a:p>
            <a:pPr defTabSz="1828709"/>
            <a:endParaRPr lang="en-GB" sz="2000">
              <a:solidFill>
                <a:srgbClr val="000000"/>
              </a:solidFill>
            </a:endParaRPr>
          </a:p>
        </p:txBody>
      </p:sp>
      <p:sp>
        <p:nvSpPr>
          <p:cNvPr id="26" name="Freeform 75">
            <a:extLst>
              <a:ext uri="{FF2B5EF4-FFF2-40B4-BE49-F238E27FC236}">
                <a16:creationId xmlns:a16="http://schemas.microsoft.com/office/drawing/2014/main" id="{5F360555-278B-D97A-CCC1-6D507A1EBE9D}"/>
              </a:ext>
            </a:extLst>
          </p:cNvPr>
          <p:cNvSpPr>
            <a:spLocks/>
          </p:cNvSpPr>
          <p:nvPr/>
        </p:nvSpPr>
        <p:spPr bwMode="auto">
          <a:xfrm>
            <a:off x="15252216" y="2864519"/>
            <a:ext cx="2280839" cy="2310680"/>
          </a:xfrm>
          <a:custGeom>
            <a:avLst/>
            <a:gdLst>
              <a:gd name="T0" fmla="*/ 1215 w 1811"/>
              <a:gd name="T1" fmla="*/ 38 h 1419"/>
              <a:gd name="T2" fmla="*/ 646 w 1811"/>
              <a:gd name="T3" fmla="*/ 71 h 1419"/>
              <a:gd name="T4" fmla="*/ 440 w 1811"/>
              <a:gd name="T5" fmla="*/ 153 h 1419"/>
              <a:gd name="T6" fmla="*/ 196 w 1811"/>
              <a:gd name="T7" fmla="*/ 331 h 1419"/>
              <a:gd name="T8" fmla="*/ 10 w 1811"/>
              <a:gd name="T9" fmla="*/ 789 h 1419"/>
              <a:gd name="T10" fmla="*/ 11 w 1811"/>
              <a:gd name="T11" fmla="*/ 793 h 1419"/>
              <a:gd name="T12" fmla="*/ 13 w 1811"/>
              <a:gd name="T13" fmla="*/ 815 h 1419"/>
              <a:gd name="T14" fmla="*/ 92 w 1811"/>
              <a:gd name="T15" fmla="*/ 1018 h 1419"/>
              <a:gd name="T16" fmla="*/ 269 w 1811"/>
              <a:gd name="T17" fmla="*/ 1199 h 1419"/>
              <a:gd name="T18" fmla="*/ 566 w 1811"/>
              <a:gd name="T19" fmla="*/ 1347 h 1419"/>
              <a:gd name="T20" fmla="*/ 744 w 1811"/>
              <a:gd name="T21" fmla="*/ 1394 h 1419"/>
              <a:gd name="T22" fmla="*/ 964 w 1811"/>
              <a:gd name="T23" fmla="*/ 1418 h 1419"/>
              <a:gd name="T24" fmla="*/ 1396 w 1811"/>
              <a:gd name="T25" fmla="*/ 1337 h 1419"/>
              <a:gd name="T26" fmla="*/ 1600 w 1811"/>
              <a:gd name="T27" fmla="*/ 1188 h 1419"/>
              <a:gd name="T28" fmla="*/ 1793 w 1811"/>
              <a:gd name="T29" fmla="*/ 796 h 1419"/>
              <a:gd name="T30" fmla="*/ 1806 w 1811"/>
              <a:gd name="T31" fmla="*/ 736 h 1419"/>
              <a:gd name="T32" fmla="*/ 1805 w 1811"/>
              <a:gd name="T33" fmla="*/ 720 h 1419"/>
              <a:gd name="T34" fmla="*/ 1795 w 1811"/>
              <a:gd name="T35" fmla="*/ 718 h 1419"/>
              <a:gd name="T36" fmla="*/ 1778 w 1811"/>
              <a:gd name="T37" fmla="*/ 738 h 1419"/>
              <a:gd name="T38" fmla="*/ 1763 w 1811"/>
              <a:gd name="T39" fmla="*/ 818 h 1419"/>
              <a:gd name="T40" fmla="*/ 1719 w 1811"/>
              <a:gd name="T41" fmla="*/ 958 h 1419"/>
              <a:gd name="T42" fmla="*/ 1524 w 1811"/>
              <a:gd name="T43" fmla="*/ 1223 h 1419"/>
              <a:gd name="T44" fmla="*/ 1388 w 1811"/>
              <a:gd name="T45" fmla="*/ 1309 h 1419"/>
              <a:gd name="T46" fmla="*/ 992 w 1811"/>
              <a:gd name="T47" fmla="*/ 1395 h 1419"/>
              <a:gd name="T48" fmla="*/ 759 w 1811"/>
              <a:gd name="T49" fmla="*/ 1370 h 1419"/>
              <a:gd name="T50" fmla="*/ 561 w 1811"/>
              <a:gd name="T51" fmla="*/ 1315 h 1419"/>
              <a:gd name="T52" fmla="*/ 152 w 1811"/>
              <a:gd name="T53" fmla="*/ 1052 h 1419"/>
              <a:gd name="T54" fmla="*/ 36 w 1811"/>
              <a:gd name="T55" fmla="*/ 759 h 1419"/>
              <a:gd name="T56" fmla="*/ 206 w 1811"/>
              <a:gd name="T57" fmla="*/ 343 h 1419"/>
              <a:gd name="T58" fmla="*/ 288 w 1811"/>
              <a:gd name="T59" fmla="*/ 274 h 1419"/>
              <a:gd name="T60" fmla="*/ 537 w 1811"/>
              <a:gd name="T61" fmla="*/ 133 h 1419"/>
              <a:gd name="T62" fmla="*/ 1187 w 1811"/>
              <a:gd name="T63" fmla="*/ 59 h 1419"/>
              <a:gd name="T64" fmla="*/ 1218 w 1811"/>
              <a:gd name="T65" fmla="*/ 65 h 1419"/>
              <a:gd name="T66" fmla="*/ 1616 w 1811"/>
              <a:gd name="T67" fmla="*/ 273 h 1419"/>
              <a:gd name="T68" fmla="*/ 1772 w 1811"/>
              <a:gd name="T69" fmla="*/ 524 h 1419"/>
              <a:gd name="T70" fmla="*/ 1787 w 1811"/>
              <a:gd name="T71" fmla="*/ 627 h 1419"/>
              <a:gd name="T72" fmla="*/ 1768 w 1811"/>
              <a:gd name="T73" fmla="*/ 733 h 1419"/>
              <a:gd name="T74" fmla="*/ 1768 w 1811"/>
              <a:gd name="T75" fmla="*/ 739 h 1419"/>
              <a:gd name="T76" fmla="*/ 1789 w 1811"/>
              <a:gd name="T77" fmla="*/ 715 h 1419"/>
              <a:gd name="T78" fmla="*/ 1809 w 1811"/>
              <a:gd name="T79" fmla="*/ 626 h 1419"/>
              <a:gd name="T80" fmla="*/ 1811 w 1811"/>
              <a:gd name="T81" fmla="*/ 601 h 1419"/>
              <a:gd name="T82" fmla="*/ 1809 w 1811"/>
              <a:gd name="T83" fmla="*/ 569 h 1419"/>
              <a:gd name="T84" fmla="*/ 1793 w 1811"/>
              <a:gd name="T85" fmla="*/ 494 h 1419"/>
              <a:gd name="T86" fmla="*/ 1695 w 1811"/>
              <a:gd name="T87" fmla="*/ 314 h 1419"/>
              <a:gd name="T88" fmla="*/ 1440 w 1811"/>
              <a:gd name="T89" fmla="*/ 116 h 1419"/>
              <a:gd name="T90" fmla="*/ 1435 w 1811"/>
              <a:gd name="T91" fmla="*/ 113 h 1419"/>
              <a:gd name="T92" fmla="*/ 1215 w 1811"/>
              <a:gd name="T93" fmla="*/ 38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11" h="1419">
                <a:moveTo>
                  <a:pt x="1215" y="38"/>
                </a:moveTo>
                <a:cubicBezTo>
                  <a:pt x="1039" y="0"/>
                  <a:pt x="853" y="11"/>
                  <a:pt x="646" y="71"/>
                </a:cubicBezTo>
                <a:cubicBezTo>
                  <a:pt x="587" y="87"/>
                  <a:pt x="522" y="114"/>
                  <a:pt x="440" y="153"/>
                </a:cubicBezTo>
                <a:cubicBezTo>
                  <a:pt x="351" y="197"/>
                  <a:pt x="271" y="255"/>
                  <a:pt x="196" y="331"/>
                </a:cubicBezTo>
                <a:cubicBezTo>
                  <a:pt x="69" y="460"/>
                  <a:pt x="0" y="631"/>
                  <a:pt x="10" y="789"/>
                </a:cubicBezTo>
                <a:cubicBezTo>
                  <a:pt x="11" y="793"/>
                  <a:pt x="11" y="793"/>
                  <a:pt x="11" y="793"/>
                </a:cubicBezTo>
                <a:cubicBezTo>
                  <a:pt x="11" y="801"/>
                  <a:pt x="12" y="808"/>
                  <a:pt x="13" y="815"/>
                </a:cubicBezTo>
                <a:cubicBezTo>
                  <a:pt x="28" y="912"/>
                  <a:pt x="57" y="964"/>
                  <a:pt x="92" y="1018"/>
                </a:cubicBezTo>
                <a:cubicBezTo>
                  <a:pt x="143" y="1101"/>
                  <a:pt x="210" y="1156"/>
                  <a:pt x="269" y="1199"/>
                </a:cubicBezTo>
                <a:cubicBezTo>
                  <a:pt x="366" y="1269"/>
                  <a:pt x="463" y="1318"/>
                  <a:pt x="566" y="1347"/>
                </a:cubicBezTo>
                <a:cubicBezTo>
                  <a:pt x="619" y="1363"/>
                  <a:pt x="681" y="1380"/>
                  <a:pt x="744" y="1394"/>
                </a:cubicBezTo>
                <a:cubicBezTo>
                  <a:pt x="823" y="1411"/>
                  <a:pt x="895" y="1419"/>
                  <a:pt x="964" y="1418"/>
                </a:cubicBezTo>
                <a:cubicBezTo>
                  <a:pt x="1124" y="1418"/>
                  <a:pt x="1258" y="1407"/>
                  <a:pt x="1396" y="1337"/>
                </a:cubicBezTo>
                <a:cubicBezTo>
                  <a:pt x="1467" y="1300"/>
                  <a:pt x="1534" y="1252"/>
                  <a:pt x="1600" y="1188"/>
                </a:cubicBezTo>
                <a:cubicBezTo>
                  <a:pt x="1716" y="1077"/>
                  <a:pt x="1759" y="934"/>
                  <a:pt x="1793" y="796"/>
                </a:cubicBezTo>
                <a:cubicBezTo>
                  <a:pt x="1793" y="793"/>
                  <a:pt x="1805" y="738"/>
                  <a:pt x="1806" y="736"/>
                </a:cubicBezTo>
                <a:cubicBezTo>
                  <a:pt x="1807" y="730"/>
                  <a:pt x="1807" y="724"/>
                  <a:pt x="1805" y="720"/>
                </a:cubicBezTo>
                <a:cubicBezTo>
                  <a:pt x="1802" y="717"/>
                  <a:pt x="1799" y="716"/>
                  <a:pt x="1795" y="718"/>
                </a:cubicBezTo>
                <a:cubicBezTo>
                  <a:pt x="1787" y="722"/>
                  <a:pt x="1782" y="728"/>
                  <a:pt x="1778" y="738"/>
                </a:cubicBezTo>
                <a:cubicBezTo>
                  <a:pt x="1776" y="744"/>
                  <a:pt x="1766" y="810"/>
                  <a:pt x="1763" y="818"/>
                </a:cubicBezTo>
                <a:cubicBezTo>
                  <a:pt x="1745" y="882"/>
                  <a:pt x="1736" y="907"/>
                  <a:pt x="1719" y="958"/>
                </a:cubicBezTo>
                <a:cubicBezTo>
                  <a:pt x="1680" y="1077"/>
                  <a:pt x="1587" y="1176"/>
                  <a:pt x="1524" y="1223"/>
                </a:cubicBezTo>
                <a:cubicBezTo>
                  <a:pt x="1476" y="1259"/>
                  <a:pt x="1451" y="1276"/>
                  <a:pt x="1388" y="1309"/>
                </a:cubicBezTo>
                <a:cubicBezTo>
                  <a:pt x="1265" y="1372"/>
                  <a:pt x="1140" y="1395"/>
                  <a:pt x="992" y="1395"/>
                </a:cubicBezTo>
                <a:cubicBezTo>
                  <a:pt x="918" y="1395"/>
                  <a:pt x="841" y="1387"/>
                  <a:pt x="759" y="1370"/>
                </a:cubicBezTo>
                <a:cubicBezTo>
                  <a:pt x="700" y="1357"/>
                  <a:pt x="639" y="1340"/>
                  <a:pt x="561" y="1315"/>
                </a:cubicBezTo>
                <a:cubicBezTo>
                  <a:pt x="406" y="1266"/>
                  <a:pt x="270" y="1182"/>
                  <a:pt x="152" y="1052"/>
                </a:cubicBezTo>
                <a:cubicBezTo>
                  <a:pt x="89" y="984"/>
                  <a:pt x="49" y="881"/>
                  <a:pt x="36" y="759"/>
                </a:cubicBezTo>
                <a:cubicBezTo>
                  <a:pt x="22" y="618"/>
                  <a:pt x="87" y="459"/>
                  <a:pt x="206" y="343"/>
                </a:cubicBezTo>
                <a:cubicBezTo>
                  <a:pt x="234" y="316"/>
                  <a:pt x="263" y="293"/>
                  <a:pt x="288" y="274"/>
                </a:cubicBezTo>
                <a:cubicBezTo>
                  <a:pt x="368" y="212"/>
                  <a:pt x="449" y="166"/>
                  <a:pt x="537" y="133"/>
                </a:cubicBezTo>
                <a:cubicBezTo>
                  <a:pt x="761" y="51"/>
                  <a:pt x="974" y="23"/>
                  <a:pt x="1187" y="59"/>
                </a:cubicBezTo>
                <a:cubicBezTo>
                  <a:pt x="1197" y="61"/>
                  <a:pt x="1208" y="63"/>
                  <a:pt x="1218" y="65"/>
                </a:cubicBezTo>
                <a:cubicBezTo>
                  <a:pt x="1353" y="93"/>
                  <a:pt x="1484" y="162"/>
                  <a:pt x="1616" y="273"/>
                </a:cubicBezTo>
                <a:cubicBezTo>
                  <a:pt x="1692" y="338"/>
                  <a:pt x="1742" y="423"/>
                  <a:pt x="1772" y="524"/>
                </a:cubicBezTo>
                <a:cubicBezTo>
                  <a:pt x="1782" y="557"/>
                  <a:pt x="1786" y="568"/>
                  <a:pt x="1787" y="627"/>
                </a:cubicBezTo>
                <a:cubicBezTo>
                  <a:pt x="1787" y="665"/>
                  <a:pt x="1770" y="721"/>
                  <a:pt x="1768" y="733"/>
                </a:cubicBezTo>
                <a:cubicBezTo>
                  <a:pt x="1768" y="735"/>
                  <a:pt x="1768" y="737"/>
                  <a:pt x="1768" y="739"/>
                </a:cubicBezTo>
                <a:cubicBezTo>
                  <a:pt x="1776" y="731"/>
                  <a:pt x="1784" y="724"/>
                  <a:pt x="1789" y="715"/>
                </a:cubicBezTo>
                <a:cubicBezTo>
                  <a:pt x="1791" y="711"/>
                  <a:pt x="1807" y="662"/>
                  <a:pt x="1809" y="626"/>
                </a:cubicBezTo>
                <a:cubicBezTo>
                  <a:pt x="1809" y="617"/>
                  <a:pt x="1811" y="608"/>
                  <a:pt x="1811" y="601"/>
                </a:cubicBezTo>
                <a:cubicBezTo>
                  <a:pt x="1809" y="569"/>
                  <a:pt x="1809" y="569"/>
                  <a:pt x="1809" y="569"/>
                </a:cubicBezTo>
                <a:cubicBezTo>
                  <a:pt x="1806" y="535"/>
                  <a:pt x="1802" y="522"/>
                  <a:pt x="1793" y="494"/>
                </a:cubicBezTo>
                <a:cubicBezTo>
                  <a:pt x="1771" y="425"/>
                  <a:pt x="1738" y="364"/>
                  <a:pt x="1695" y="314"/>
                </a:cubicBezTo>
                <a:cubicBezTo>
                  <a:pt x="1619" y="224"/>
                  <a:pt x="1524" y="166"/>
                  <a:pt x="1440" y="116"/>
                </a:cubicBezTo>
                <a:cubicBezTo>
                  <a:pt x="1435" y="113"/>
                  <a:pt x="1435" y="113"/>
                  <a:pt x="1435" y="113"/>
                </a:cubicBezTo>
                <a:cubicBezTo>
                  <a:pt x="1364" y="79"/>
                  <a:pt x="1290" y="54"/>
                  <a:pt x="1215" y="38"/>
                </a:cubicBezTo>
                <a:close/>
              </a:path>
            </a:pathLst>
          </a:custGeom>
          <a:solidFill>
            <a:srgbClr val="F06A11"/>
          </a:solidFill>
          <a:ln>
            <a:solidFill>
              <a:srgbClr val="FF9933"/>
            </a:solidFill>
          </a:ln>
        </p:spPr>
        <p:txBody>
          <a:bodyPr vert="horz" wrap="square" lIns="182868" tIns="91434" rIns="182868" bIns="91434" numCol="1" anchor="t" anchorCtr="0" compatLnSpc="1">
            <a:prstTxWarp prst="textNoShape">
              <a:avLst/>
            </a:prstTxWarp>
          </a:bodyPr>
          <a:lstStyle/>
          <a:p>
            <a:pPr defTabSz="1828709"/>
            <a:endParaRPr lang="en-GB" sz="2000">
              <a:solidFill>
                <a:srgbClr val="000000"/>
              </a:solidFill>
            </a:endParaRPr>
          </a:p>
        </p:txBody>
      </p:sp>
      <p:sp>
        <p:nvSpPr>
          <p:cNvPr id="29" name="Freeform 75">
            <a:extLst>
              <a:ext uri="{FF2B5EF4-FFF2-40B4-BE49-F238E27FC236}">
                <a16:creationId xmlns:a16="http://schemas.microsoft.com/office/drawing/2014/main" id="{DB7B1E20-D76C-5B85-FD7E-BA35532A81B3}"/>
              </a:ext>
            </a:extLst>
          </p:cNvPr>
          <p:cNvSpPr>
            <a:spLocks/>
          </p:cNvSpPr>
          <p:nvPr/>
        </p:nvSpPr>
        <p:spPr bwMode="auto">
          <a:xfrm>
            <a:off x="5855406" y="8571762"/>
            <a:ext cx="2378173" cy="2507246"/>
          </a:xfrm>
          <a:custGeom>
            <a:avLst/>
            <a:gdLst>
              <a:gd name="T0" fmla="*/ 1215 w 1811"/>
              <a:gd name="T1" fmla="*/ 38 h 1419"/>
              <a:gd name="T2" fmla="*/ 646 w 1811"/>
              <a:gd name="T3" fmla="*/ 71 h 1419"/>
              <a:gd name="T4" fmla="*/ 440 w 1811"/>
              <a:gd name="T5" fmla="*/ 153 h 1419"/>
              <a:gd name="T6" fmla="*/ 196 w 1811"/>
              <a:gd name="T7" fmla="*/ 331 h 1419"/>
              <a:gd name="T8" fmla="*/ 10 w 1811"/>
              <a:gd name="T9" fmla="*/ 789 h 1419"/>
              <a:gd name="T10" fmla="*/ 11 w 1811"/>
              <a:gd name="T11" fmla="*/ 793 h 1419"/>
              <a:gd name="T12" fmla="*/ 13 w 1811"/>
              <a:gd name="T13" fmla="*/ 815 h 1419"/>
              <a:gd name="T14" fmla="*/ 92 w 1811"/>
              <a:gd name="T15" fmla="*/ 1018 h 1419"/>
              <a:gd name="T16" fmla="*/ 269 w 1811"/>
              <a:gd name="T17" fmla="*/ 1199 h 1419"/>
              <a:gd name="T18" fmla="*/ 566 w 1811"/>
              <a:gd name="T19" fmla="*/ 1347 h 1419"/>
              <a:gd name="T20" fmla="*/ 744 w 1811"/>
              <a:gd name="T21" fmla="*/ 1394 h 1419"/>
              <a:gd name="T22" fmla="*/ 964 w 1811"/>
              <a:gd name="T23" fmla="*/ 1418 h 1419"/>
              <a:gd name="T24" fmla="*/ 1396 w 1811"/>
              <a:gd name="T25" fmla="*/ 1337 h 1419"/>
              <a:gd name="T26" fmla="*/ 1600 w 1811"/>
              <a:gd name="T27" fmla="*/ 1188 h 1419"/>
              <a:gd name="T28" fmla="*/ 1793 w 1811"/>
              <a:gd name="T29" fmla="*/ 796 h 1419"/>
              <a:gd name="T30" fmla="*/ 1806 w 1811"/>
              <a:gd name="T31" fmla="*/ 736 h 1419"/>
              <a:gd name="T32" fmla="*/ 1805 w 1811"/>
              <a:gd name="T33" fmla="*/ 720 h 1419"/>
              <a:gd name="T34" fmla="*/ 1795 w 1811"/>
              <a:gd name="T35" fmla="*/ 718 h 1419"/>
              <a:gd name="T36" fmla="*/ 1778 w 1811"/>
              <a:gd name="T37" fmla="*/ 738 h 1419"/>
              <a:gd name="T38" fmla="*/ 1763 w 1811"/>
              <a:gd name="T39" fmla="*/ 818 h 1419"/>
              <a:gd name="T40" fmla="*/ 1719 w 1811"/>
              <a:gd name="T41" fmla="*/ 958 h 1419"/>
              <a:gd name="T42" fmla="*/ 1524 w 1811"/>
              <a:gd name="T43" fmla="*/ 1223 h 1419"/>
              <a:gd name="T44" fmla="*/ 1388 w 1811"/>
              <a:gd name="T45" fmla="*/ 1309 h 1419"/>
              <a:gd name="T46" fmla="*/ 992 w 1811"/>
              <a:gd name="T47" fmla="*/ 1395 h 1419"/>
              <a:gd name="T48" fmla="*/ 759 w 1811"/>
              <a:gd name="T49" fmla="*/ 1370 h 1419"/>
              <a:gd name="T50" fmla="*/ 561 w 1811"/>
              <a:gd name="T51" fmla="*/ 1315 h 1419"/>
              <a:gd name="T52" fmla="*/ 152 w 1811"/>
              <a:gd name="T53" fmla="*/ 1052 h 1419"/>
              <a:gd name="T54" fmla="*/ 36 w 1811"/>
              <a:gd name="T55" fmla="*/ 759 h 1419"/>
              <a:gd name="T56" fmla="*/ 206 w 1811"/>
              <a:gd name="T57" fmla="*/ 343 h 1419"/>
              <a:gd name="T58" fmla="*/ 288 w 1811"/>
              <a:gd name="T59" fmla="*/ 274 h 1419"/>
              <a:gd name="T60" fmla="*/ 537 w 1811"/>
              <a:gd name="T61" fmla="*/ 133 h 1419"/>
              <a:gd name="T62" fmla="*/ 1187 w 1811"/>
              <a:gd name="T63" fmla="*/ 59 h 1419"/>
              <a:gd name="T64" fmla="*/ 1218 w 1811"/>
              <a:gd name="T65" fmla="*/ 65 h 1419"/>
              <a:gd name="T66" fmla="*/ 1616 w 1811"/>
              <a:gd name="T67" fmla="*/ 273 h 1419"/>
              <a:gd name="T68" fmla="*/ 1772 w 1811"/>
              <a:gd name="T69" fmla="*/ 524 h 1419"/>
              <a:gd name="T70" fmla="*/ 1787 w 1811"/>
              <a:gd name="T71" fmla="*/ 627 h 1419"/>
              <a:gd name="T72" fmla="*/ 1768 w 1811"/>
              <a:gd name="T73" fmla="*/ 733 h 1419"/>
              <a:gd name="T74" fmla="*/ 1768 w 1811"/>
              <a:gd name="T75" fmla="*/ 739 h 1419"/>
              <a:gd name="T76" fmla="*/ 1789 w 1811"/>
              <a:gd name="T77" fmla="*/ 715 h 1419"/>
              <a:gd name="T78" fmla="*/ 1809 w 1811"/>
              <a:gd name="T79" fmla="*/ 626 h 1419"/>
              <a:gd name="T80" fmla="*/ 1811 w 1811"/>
              <a:gd name="T81" fmla="*/ 601 h 1419"/>
              <a:gd name="T82" fmla="*/ 1809 w 1811"/>
              <a:gd name="T83" fmla="*/ 569 h 1419"/>
              <a:gd name="T84" fmla="*/ 1793 w 1811"/>
              <a:gd name="T85" fmla="*/ 494 h 1419"/>
              <a:gd name="T86" fmla="*/ 1695 w 1811"/>
              <a:gd name="T87" fmla="*/ 314 h 1419"/>
              <a:gd name="T88" fmla="*/ 1440 w 1811"/>
              <a:gd name="T89" fmla="*/ 116 h 1419"/>
              <a:gd name="T90" fmla="*/ 1435 w 1811"/>
              <a:gd name="T91" fmla="*/ 113 h 1419"/>
              <a:gd name="T92" fmla="*/ 1215 w 1811"/>
              <a:gd name="T93" fmla="*/ 38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11" h="1419">
                <a:moveTo>
                  <a:pt x="1215" y="38"/>
                </a:moveTo>
                <a:cubicBezTo>
                  <a:pt x="1039" y="0"/>
                  <a:pt x="853" y="11"/>
                  <a:pt x="646" y="71"/>
                </a:cubicBezTo>
                <a:cubicBezTo>
                  <a:pt x="587" y="87"/>
                  <a:pt x="522" y="114"/>
                  <a:pt x="440" y="153"/>
                </a:cubicBezTo>
                <a:cubicBezTo>
                  <a:pt x="351" y="197"/>
                  <a:pt x="271" y="255"/>
                  <a:pt x="196" y="331"/>
                </a:cubicBezTo>
                <a:cubicBezTo>
                  <a:pt x="69" y="460"/>
                  <a:pt x="0" y="631"/>
                  <a:pt x="10" y="789"/>
                </a:cubicBezTo>
                <a:cubicBezTo>
                  <a:pt x="11" y="793"/>
                  <a:pt x="11" y="793"/>
                  <a:pt x="11" y="793"/>
                </a:cubicBezTo>
                <a:cubicBezTo>
                  <a:pt x="11" y="801"/>
                  <a:pt x="12" y="808"/>
                  <a:pt x="13" y="815"/>
                </a:cubicBezTo>
                <a:cubicBezTo>
                  <a:pt x="28" y="912"/>
                  <a:pt x="57" y="964"/>
                  <a:pt x="92" y="1018"/>
                </a:cubicBezTo>
                <a:cubicBezTo>
                  <a:pt x="143" y="1101"/>
                  <a:pt x="210" y="1156"/>
                  <a:pt x="269" y="1199"/>
                </a:cubicBezTo>
                <a:cubicBezTo>
                  <a:pt x="366" y="1269"/>
                  <a:pt x="463" y="1318"/>
                  <a:pt x="566" y="1347"/>
                </a:cubicBezTo>
                <a:cubicBezTo>
                  <a:pt x="619" y="1363"/>
                  <a:pt x="681" y="1380"/>
                  <a:pt x="744" y="1394"/>
                </a:cubicBezTo>
                <a:cubicBezTo>
                  <a:pt x="823" y="1411"/>
                  <a:pt x="895" y="1419"/>
                  <a:pt x="964" y="1418"/>
                </a:cubicBezTo>
                <a:cubicBezTo>
                  <a:pt x="1124" y="1418"/>
                  <a:pt x="1258" y="1407"/>
                  <a:pt x="1396" y="1337"/>
                </a:cubicBezTo>
                <a:cubicBezTo>
                  <a:pt x="1467" y="1300"/>
                  <a:pt x="1534" y="1252"/>
                  <a:pt x="1600" y="1188"/>
                </a:cubicBezTo>
                <a:cubicBezTo>
                  <a:pt x="1716" y="1077"/>
                  <a:pt x="1759" y="934"/>
                  <a:pt x="1793" y="796"/>
                </a:cubicBezTo>
                <a:cubicBezTo>
                  <a:pt x="1793" y="793"/>
                  <a:pt x="1805" y="738"/>
                  <a:pt x="1806" y="736"/>
                </a:cubicBezTo>
                <a:cubicBezTo>
                  <a:pt x="1807" y="730"/>
                  <a:pt x="1807" y="724"/>
                  <a:pt x="1805" y="720"/>
                </a:cubicBezTo>
                <a:cubicBezTo>
                  <a:pt x="1802" y="717"/>
                  <a:pt x="1799" y="716"/>
                  <a:pt x="1795" y="718"/>
                </a:cubicBezTo>
                <a:cubicBezTo>
                  <a:pt x="1787" y="722"/>
                  <a:pt x="1782" y="728"/>
                  <a:pt x="1778" y="738"/>
                </a:cubicBezTo>
                <a:cubicBezTo>
                  <a:pt x="1776" y="744"/>
                  <a:pt x="1766" y="810"/>
                  <a:pt x="1763" y="818"/>
                </a:cubicBezTo>
                <a:cubicBezTo>
                  <a:pt x="1745" y="882"/>
                  <a:pt x="1736" y="907"/>
                  <a:pt x="1719" y="958"/>
                </a:cubicBezTo>
                <a:cubicBezTo>
                  <a:pt x="1680" y="1077"/>
                  <a:pt x="1587" y="1176"/>
                  <a:pt x="1524" y="1223"/>
                </a:cubicBezTo>
                <a:cubicBezTo>
                  <a:pt x="1476" y="1259"/>
                  <a:pt x="1451" y="1276"/>
                  <a:pt x="1388" y="1309"/>
                </a:cubicBezTo>
                <a:cubicBezTo>
                  <a:pt x="1265" y="1372"/>
                  <a:pt x="1140" y="1395"/>
                  <a:pt x="992" y="1395"/>
                </a:cubicBezTo>
                <a:cubicBezTo>
                  <a:pt x="918" y="1395"/>
                  <a:pt x="841" y="1387"/>
                  <a:pt x="759" y="1370"/>
                </a:cubicBezTo>
                <a:cubicBezTo>
                  <a:pt x="700" y="1357"/>
                  <a:pt x="639" y="1340"/>
                  <a:pt x="561" y="1315"/>
                </a:cubicBezTo>
                <a:cubicBezTo>
                  <a:pt x="406" y="1266"/>
                  <a:pt x="270" y="1182"/>
                  <a:pt x="152" y="1052"/>
                </a:cubicBezTo>
                <a:cubicBezTo>
                  <a:pt x="89" y="984"/>
                  <a:pt x="49" y="881"/>
                  <a:pt x="36" y="759"/>
                </a:cubicBezTo>
                <a:cubicBezTo>
                  <a:pt x="22" y="618"/>
                  <a:pt x="87" y="459"/>
                  <a:pt x="206" y="343"/>
                </a:cubicBezTo>
                <a:cubicBezTo>
                  <a:pt x="234" y="316"/>
                  <a:pt x="263" y="293"/>
                  <a:pt x="288" y="274"/>
                </a:cubicBezTo>
                <a:cubicBezTo>
                  <a:pt x="368" y="212"/>
                  <a:pt x="449" y="166"/>
                  <a:pt x="537" y="133"/>
                </a:cubicBezTo>
                <a:cubicBezTo>
                  <a:pt x="761" y="51"/>
                  <a:pt x="974" y="23"/>
                  <a:pt x="1187" y="59"/>
                </a:cubicBezTo>
                <a:cubicBezTo>
                  <a:pt x="1197" y="61"/>
                  <a:pt x="1208" y="63"/>
                  <a:pt x="1218" y="65"/>
                </a:cubicBezTo>
                <a:cubicBezTo>
                  <a:pt x="1353" y="93"/>
                  <a:pt x="1484" y="162"/>
                  <a:pt x="1616" y="273"/>
                </a:cubicBezTo>
                <a:cubicBezTo>
                  <a:pt x="1692" y="338"/>
                  <a:pt x="1742" y="423"/>
                  <a:pt x="1772" y="524"/>
                </a:cubicBezTo>
                <a:cubicBezTo>
                  <a:pt x="1782" y="557"/>
                  <a:pt x="1786" y="568"/>
                  <a:pt x="1787" y="627"/>
                </a:cubicBezTo>
                <a:cubicBezTo>
                  <a:pt x="1787" y="665"/>
                  <a:pt x="1770" y="721"/>
                  <a:pt x="1768" y="733"/>
                </a:cubicBezTo>
                <a:cubicBezTo>
                  <a:pt x="1768" y="735"/>
                  <a:pt x="1768" y="737"/>
                  <a:pt x="1768" y="739"/>
                </a:cubicBezTo>
                <a:cubicBezTo>
                  <a:pt x="1776" y="731"/>
                  <a:pt x="1784" y="724"/>
                  <a:pt x="1789" y="715"/>
                </a:cubicBezTo>
                <a:cubicBezTo>
                  <a:pt x="1791" y="711"/>
                  <a:pt x="1807" y="662"/>
                  <a:pt x="1809" y="626"/>
                </a:cubicBezTo>
                <a:cubicBezTo>
                  <a:pt x="1809" y="617"/>
                  <a:pt x="1811" y="608"/>
                  <a:pt x="1811" y="601"/>
                </a:cubicBezTo>
                <a:cubicBezTo>
                  <a:pt x="1809" y="569"/>
                  <a:pt x="1809" y="569"/>
                  <a:pt x="1809" y="569"/>
                </a:cubicBezTo>
                <a:cubicBezTo>
                  <a:pt x="1806" y="535"/>
                  <a:pt x="1802" y="522"/>
                  <a:pt x="1793" y="494"/>
                </a:cubicBezTo>
                <a:cubicBezTo>
                  <a:pt x="1771" y="425"/>
                  <a:pt x="1738" y="364"/>
                  <a:pt x="1695" y="314"/>
                </a:cubicBezTo>
                <a:cubicBezTo>
                  <a:pt x="1619" y="224"/>
                  <a:pt x="1524" y="166"/>
                  <a:pt x="1440" y="116"/>
                </a:cubicBezTo>
                <a:cubicBezTo>
                  <a:pt x="1435" y="113"/>
                  <a:pt x="1435" y="113"/>
                  <a:pt x="1435" y="113"/>
                </a:cubicBezTo>
                <a:cubicBezTo>
                  <a:pt x="1364" y="79"/>
                  <a:pt x="1290" y="54"/>
                  <a:pt x="1215" y="38"/>
                </a:cubicBezTo>
                <a:close/>
              </a:path>
            </a:pathLst>
          </a:custGeom>
          <a:solidFill>
            <a:srgbClr val="F06A11"/>
          </a:solidFill>
          <a:ln>
            <a:solidFill>
              <a:srgbClr val="FF9933"/>
            </a:solidFill>
          </a:ln>
        </p:spPr>
        <p:txBody>
          <a:bodyPr vert="horz" wrap="square" lIns="182868" tIns="91434" rIns="182868" bIns="91434" numCol="1" anchor="t" anchorCtr="0" compatLnSpc="1">
            <a:prstTxWarp prst="textNoShape">
              <a:avLst/>
            </a:prstTxWarp>
          </a:bodyPr>
          <a:lstStyle/>
          <a:p>
            <a:pPr defTabSz="1828709"/>
            <a:endParaRPr lang="en-GB" sz="2000">
              <a:solidFill>
                <a:srgbClr val="000000"/>
              </a:solidFill>
            </a:endParaRPr>
          </a:p>
        </p:txBody>
      </p:sp>
      <p:sp>
        <p:nvSpPr>
          <p:cNvPr id="30" name="Freeform 75">
            <a:extLst>
              <a:ext uri="{FF2B5EF4-FFF2-40B4-BE49-F238E27FC236}">
                <a16:creationId xmlns:a16="http://schemas.microsoft.com/office/drawing/2014/main" id="{FE166C93-F2EC-7806-09AB-EEFCF48F8CD2}"/>
              </a:ext>
            </a:extLst>
          </p:cNvPr>
          <p:cNvSpPr>
            <a:spLocks/>
          </p:cNvSpPr>
          <p:nvPr/>
        </p:nvSpPr>
        <p:spPr bwMode="auto">
          <a:xfrm>
            <a:off x="10820282" y="8829526"/>
            <a:ext cx="2378173" cy="2249482"/>
          </a:xfrm>
          <a:custGeom>
            <a:avLst/>
            <a:gdLst>
              <a:gd name="T0" fmla="*/ 1215 w 1811"/>
              <a:gd name="T1" fmla="*/ 38 h 1419"/>
              <a:gd name="T2" fmla="*/ 646 w 1811"/>
              <a:gd name="T3" fmla="*/ 71 h 1419"/>
              <a:gd name="T4" fmla="*/ 440 w 1811"/>
              <a:gd name="T5" fmla="*/ 153 h 1419"/>
              <a:gd name="T6" fmla="*/ 196 w 1811"/>
              <a:gd name="T7" fmla="*/ 331 h 1419"/>
              <a:gd name="T8" fmla="*/ 10 w 1811"/>
              <a:gd name="T9" fmla="*/ 789 h 1419"/>
              <a:gd name="T10" fmla="*/ 11 w 1811"/>
              <a:gd name="T11" fmla="*/ 793 h 1419"/>
              <a:gd name="T12" fmla="*/ 13 w 1811"/>
              <a:gd name="T13" fmla="*/ 815 h 1419"/>
              <a:gd name="T14" fmla="*/ 92 w 1811"/>
              <a:gd name="T15" fmla="*/ 1018 h 1419"/>
              <a:gd name="T16" fmla="*/ 269 w 1811"/>
              <a:gd name="T17" fmla="*/ 1199 h 1419"/>
              <a:gd name="T18" fmla="*/ 566 w 1811"/>
              <a:gd name="T19" fmla="*/ 1347 h 1419"/>
              <a:gd name="T20" fmla="*/ 744 w 1811"/>
              <a:gd name="T21" fmla="*/ 1394 h 1419"/>
              <a:gd name="T22" fmla="*/ 964 w 1811"/>
              <a:gd name="T23" fmla="*/ 1418 h 1419"/>
              <a:gd name="T24" fmla="*/ 1396 w 1811"/>
              <a:gd name="T25" fmla="*/ 1337 h 1419"/>
              <a:gd name="T26" fmla="*/ 1600 w 1811"/>
              <a:gd name="T27" fmla="*/ 1188 h 1419"/>
              <a:gd name="T28" fmla="*/ 1793 w 1811"/>
              <a:gd name="T29" fmla="*/ 796 h 1419"/>
              <a:gd name="T30" fmla="*/ 1806 w 1811"/>
              <a:gd name="T31" fmla="*/ 736 h 1419"/>
              <a:gd name="T32" fmla="*/ 1805 w 1811"/>
              <a:gd name="T33" fmla="*/ 720 h 1419"/>
              <a:gd name="T34" fmla="*/ 1795 w 1811"/>
              <a:gd name="T35" fmla="*/ 718 h 1419"/>
              <a:gd name="T36" fmla="*/ 1778 w 1811"/>
              <a:gd name="T37" fmla="*/ 738 h 1419"/>
              <a:gd name="T38" fmla="*/ 1763 w 1811"/>
              <a:gd name="T39" fmla="*/ 818 h 1419"/>
              <a:gd name="T40" fmla="*/ 1719 w 1811"/>
              <a:gd name="T41" fmla="*/ 958 h 1419"/>
              <a:gd name="T42" fmla="*/ 1524 w 1811"/>
              <a:gd name="T43" fmla="*/ 1223 h 1419"/>
              <a:gd name="T44" fmla="*/ 1388 w 1811"/>
              <a:gd name="T45" fmla="*/ 1309 h 1419"/>
              <a:gd name="T46" fmla="*/ 992 w 1811"/>
              <a:gd name="T47" fmla="*/ 1395 h 1419"/>
              <a:gd name="T48" fmla="*/ 759 w 1811"/>
              <a:gd name="T49" fmla="*/ 1370 h 1419"/>
              <a:gd name="T50" fmla="*/ 561 w 1811"/>
              <a:gd name="T51" fmla="*/ 1315 h 1419"/>
              <a:gd name="T52" fmla="*/ 152 w 1811"/>
              <a:gd name="T53" fmla="*/ 1052 h 1419"/>
              <a:gd name="T54" fmla="*/ 36 w 1811"/>
              <a:gd name="T55" fmla="*/ 759 h 1419"/>
              <a:gd name="T56" fmla="*/ 206 w 1811"/>
              <a:gd name="T57" fmla="*/ 343 h 1419"/>
              <a:gd name="T58" fmla="*/ 288 w 1811"/>
              <a:gd name="T59" fmla="*/ 274 h 1419"/>
              <a:gd name="T60" fmla="*/ 537 w 1811"/>
              <a:gd name="T61" fmla="*/ 133 h 1419"/>
              <a:gd name="T62" fmla="*/ 1187 w 1811"/>
              <a:gd name="T63" fmla="*/ 59 h 1419"/>
              <a:gd name="T64" fmla="*/ 1218 w 1811"/>
              <a:gd name="T65" fmla="*/ 65 h 1419"/>
              <a:gd name="T66" fmla="*/ 1616 w 1811"/>
              <a:gd name="T67" fmla="*/ 273 h 1419"/>
              <a:gd name="T68" fmla="*/ 1772 w 1811"/>
              <a:gd name="T69" fmla="*/ 524 h 1419"/>
              <a:gd name="T70" fmla="*/ 1787 w 1811"/>
              <a:gd name="T71" fmla="*/ 627 h 1419"/>
              <a:gd name="T72" fmla="*/ 1768 w 1811"/>
              <a:gd name="T73" fmla="*/ 733 h 1419"/>
              <a:gd name="T74" fmla="*/ 1768 w 1811"/>
              <a:gd name="T75" fmla="*/ 739 h 1419"/>
              <a:gd name="T76" fmla="*/ 1789 w 1811"/>
              <a:gd name="T77" fmla="*/ 715 h 1419"/>
              <a:gd name="T78" fmla="*/ 1809 w 1811"/>
              <a:gd name="T79" fmla="*/ 626 h 1419"/>
              <a:gd name="T80" fmla="*/ 1811 w 1811"/>
              <a:gd name="T81" fmla="*/ 601 h 1419"/>
              <a:gd name="T82" fmla="*/ 1809 w 1811"/>
              <a:gd name="T83" fmla="*/ 569 h 1419"/>
              <a:gd name="T84" fmla="*/ 1793 w 1811"/>
              <a:gd name="T85" fmla="*/ 494 h 1419"/>
              <a:gd name="T86" fmla="*/ 1695 w 1811"/>
              <a:gd name="T87" fmla="*/ 314 h 1419"/>
              <a:gd name="T88" fmla="*/ 1440 w 1811"/>
              <a:gd name="T89" fmla="*/ 116 h 1419"/>
              <a:gd name="T90" fmla="*/ 1435 w 1811"/>
              <a:gd name="T91" fmla="*/ 113 h 1419"/>
              <a:gd name="T92" fmla="*/ 1215 w 1811"/>
              <a:gd name="T93" fmla="*/ 38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11" h="1419">
                <a:moveTo>
                  <a:pt x="1215" y="38"/>
                </a:moveTo>
                <a:cubicBezTo>
                  <a:pt x="1039" y="0"/>
                  <a:pt x="853" y="11"/>
                  <a:pt x="646" y="71"/>
                </a:cubicBezTo>
                <a:cubicBezTo>
                  <a:pt x="587" y="87"/>
                  <a:pt x="522" y="114"/>
                  <a:pt x="440" y="153"/>
                </a:cubicBezTo>
                <a:cubicBezTo>
                  <a:pt x="351" y="197"/>
                  <a:pt x="271" y="255"/>
                  <a:pt x="196" y="331"/>
                </a:cubicBezTo>
                <a:cubicBezTo>
                  <a:pt x="69" y="460"/>
                  <a:pt x="0" y="631"/>
                  <a:pt x="10" y="789"/>
                </a:cubicBezTo>
                <a:cubicBezTo>
                  <a:pt x="11" y="793"/>
                  <a:pt x="11" y="793"/>
                  <a:pt x="11" y="793"/>
                </a:cubicBezTo>
                <a:cubicBezTo>
                  <a:pt x="11" y="801"/>
                  <a:pt x="12" y="808"/>
                  <a:pt x="13" y="815"/>
                </a:cubicBezTo>
                <a:cubicBezTo>
                  <a:pt x="28" y="912"/>
                  <a:pt x="57" y="964"/>
                  <a:pt x="92" y="1018"/>
                </a:cubicBezTo>
                <a:cubicBezTo>
                  <a:pt x="143" y="1101"/>
                  <a:pt x="210" y="1156"/>
                  <a:pt x="269" y="1199"/>
                </a:cubicBezTo>
                <a:cubicBezTo>
                  <a:pt x="366" y="1269"/>
                  <a:pt x="463" y="1318"/>
                  <a:pt x="566" y="1347"/>
                </a:cubicBezTo>
                <a:cubicBezTo>
                  <a:pt x="619" y="1363"/>
                  <a:pt x="681" y="1380"/>
                  <a:pt x="744" y="1394"/>
                </a:cubicBezTo>
                <a:cubicBezTo>
                  <a:pt x="823" y="1411"/>
                  <a:pt x="895" y="1419"/>
                  <a:pt x="964" y="1418"/>
                </a:cubicBezTo>
                <a:cubicBezTo>
                  <a:pt x="1124" y="1418"/>
                  <a:pt x="1258" y="1407"/>
                  <a:pt x="1396" y="1337"/>
                </a:cubicBezTo>
                <a:cubicBezTo>
                  <a:pt x="1467" y="1300"/>
                  <a:pt x="1534" y="1252"/>
                  <a:pt x="1600" y="1188"/>
                </a:cubicBezTo>
                <a:cubicBezTo>
                  <a:pt x="1716" y="1077"/>
                  <a:pt x="1759" y="934"/>
                  <a:pt x="1793" y="796"/>
                </a:cubicBezTo>
                <a:cubicBezTo>
                  <a:pt x="1793" y="793"/>
                  <a:pt x="1805" y="738"/>
                  <a:pt x="1806" y="736"/>
                </a:cubicBezTo>
                <a:cubicBezTo>
                  <a:pt x="1807" y="730"/>
                  <a:pt x="1807" y="724"/>
                  <a:pt x="1805" y="720"/>
                </a:cubicBezTo>
                <a:cubicBezTo>
                  <a:pt x="1802" y="717"/>
                  <a:pt x="1799" y="716"/>
                  <a:pt x="1795" y="718"/>
                </a:cubicBezTo>
                <a:cubicBezTo>
                  <a:pt x="1787" y="722"/>
                  <a:pt x="1782" y="728"/>
                  <a:pt x="1778" y="738"/>
                </a:cubicBezTo>
                <a:cubicBezTo>
                  <a:pt x="1776" y="744"/>
                  <a:pt x="1766" y="810"/>
                  <a:pt x="1763" y="818"/>
                </a:cubicBezTo>
                <a:cubicBezTo>
                  <a:pt x="1745" y="882"/>
                  <a:pt x="1736" y="907"/>
                  <a:pt x="1719" y="958"/>
                </a:cubicBezTo>
                <a:cubicBezTo>
                  <a:pt x="1680" y="1077"/>
                  <a:pt x="1587" y="1176"/>
                  <a:pt x="1524" y="1223"/>
                </a:cubicBezTo>
                <a:cubicBezTo>
                  <a:pt x="1476" y="1259"/>
                  <a:pt x="1451" y="1276"/>
                  <a:pt x="1388" y="1309"/>
                </a:cubicBezTo>
                <a:cubicBezTo>
                  <a:pt x="1265" y="1372"/>
                  <a:pt x="1140" y="1395"/>
                  <a:pt x="992" y="1395"/>
                </a:cubicBezTo>
                <a:cubicBezTo>
                  <a:pt x="918" y="1395"/>
                  <a:pt x="841" y="1387"/>
                  <a:pt x="759" y="1370"/>
                </a:cubicBezTo>
                <a:cubicBezTo>
                  <a:pt x="700" y="1357"/>
                  <a:pt x="639" y="1340"/>
                  <a:pt x="561" y="1315"/>
                </a:cubicBezTo>
                <a:cubicBezTo>
                  <a:pt x="406" y="1266"/>
                  <a:pt x="270" y="1182"/>
                  <a:pt x="152" y="1052"/>
                </a:cubicBezTo>
                <a:cubicBezTo>
                  <a:pt x="89" y="984"/>
                  <a:pt x="49" y="881"/>
                  <a:pt x="36" y="759"/>
                </a:cubicBezTo>
                <a:cubicBezTo>
                  <a:pt x="22" y="618"/>
                  <a:pt x="87" y="459"/>
                  <a:pt x="206" y="343"/>
                </a:cubicBezTo>
                <a:cubicBezTo>
                  <a:pt x="234" y="316"/>
                  <a:pt x="263" y="293"/>
                  <a:pt x="288" y="274"/>
                </a:cubicBezTo>
                <a:cubicBezTo>
                  <a:pt x="368" y="212"/>
                  <a:pt x="449" y="166"/>
                  <a:pt x="537" y="133"/>
                </a:cubicBezTo>
                <a:cubicBezTo>
                  <a:pt x="761" y="51"/>
                  <a:pt x="974" y="23"/>
                  <a:pt x="1187" y="59"/>
                </a:cubicBezTo>
                <a:cubicBezTo>
                  <a:pt x="1197" y="61"/>
                  <a:pt x="1208" y="63"/>
                  <a:pt x="1218" y="65"/>
                </a:cubicBezTo>
                <a:cubicBezTo>
                  <a:pt x="1353" y="93"/>
                  <a:pt x="1484" y="162"/>
                  <a:pt x="1616" y="273"/>
                </a:cubicBezTo>
                <a:cubicBezTo>
                  <a:pt x="1692" y="338"/>
                  <a:pt x="1742" y="423"/>
                  <a:pt x="1772" y="524"/>
                </a:cubicBezTo>
                <a:cubicBezTo>
                  <a:pt x="1782" y="557"/>
                  <a:pt x="1786" y="568"/>
                  <a:pt x="1787" y="627"/>
                </a:cubicBezTo>
                <a:cubicBezTo>
                  <a:pt x="1787" y="665"/>
                  <a:pt x="1770" y="721"/>
                  <a:pt x="1768" y="733"/>
                </a:cubicBezTo>
                <a:cubicBezTo>
                  <a:pt x="1768" y="735"/>
                  <a:pt x="1768" y="737"/>
                  <a:pt x="1768" y="739"/>
                </a:cubicBezTo>
                <a:cubicBezTo>
                  <a:pt x="1776" y="731"/>
                  <a:pt x="1784" y="724"/>
                  <a:pt x="1789" y="715"/>
                </a:cubicBezTo>
                <a:cubicBezTo>
                  <a:pt x="1791" y="711"/>
                  <a:pt x="1807" y="662"/>
                  <a:pt x="1809" y="626"/>
                </a:cubicBezTo>
                <a:cubicBezTo>
                  <a:pt x="1809" y="617"/>
                  <a:pt x="1811" y="608"/>
                  <a:pt x="1811" y="601"/>
                </a:cubicBezTo>
                <a:cubicBezTo>
                  <a:pt x="1809" y="569"/>
                  <a:pt x="1809" y="569"/>
                  <a:pt x="1809" y="569"/>
                </a:cubicBezTo>
                <a:cubicBezTo>
                  <a:pt x="1806" y="535"/>
                  <a:pt x="1802" y="522"/>
                  <a:pt x="1793" y="494"/>
                </a:cubicBezTo>
                <a:cubicBezTo>
                  <a:pt x="1771" y="425"/>
                  <a:pt x="1738" y="364"/>
                  <a:pt x="1695" y="314"/>
                </a:cubicBezTo>
                <a:cubicBezTo>
                  <a:pt x="1619" y="224"/>
                  <a:pt x="1524" y="166"/>
                  <a:pt x="1440" y="116"/>
                </a:cubicBezTo>
                <a:cubicBezTo>
                  <a:pt x="1435" y="113"/>
                  <a:pt x="1435" y="113"/>
                  <a:pt x="1435" y="113"/>
                </a:cubicBezTo>
                <a:cubicBezTo>
                  <a:pt x="1364" y="79"/>
                  <a:pt x="1290" y="54"/>
                  <a:pt x="1215" y="38"/>
                </a:cubicBezTo>
                <a:close/>
              </a:path>
            </a:pathLst>
          </a:custGeom>
          <a:solidFill>
            <a:srgbClr val="F06A11"/>
          </a:solidFill>
          <a:ln>
            <a:solidFill>
              <a:srgbClr val="FF9933"/>
            </a:solidFill>
          </a:ln>
        </p:spPr>
        <p:txBody>
          <a:bodyPr vert="horz" wrap="square" lIns="182868" tIns="91434" rIns="182868" bIns="91434" numCol="1" anchor="t" anchorCtr="0" compatLnSpc="1">
            <a:prstTxWarp prst="textNoShape">
              <a:avLst/>
            </a:prstTxWarp>
          </a:bodyPr>
          <a:lstStyle/>
          <a:p>
            <a:pPr defTabSz="1828709"/>
            <a:endParaRPr lang="en-GB" sz="2000">
              <a:solidFill>
                <a:srgbClr val="000000"/>
              </a:solidFill>
            </a:endParaRPr>
          </a:p>
        </p:txBody>
      </p:sp>
      <p:sp>
        <p:nvSpPr>
          <p:cNvPr id="31" name="Freeform 75">
            <a:extLst>
              <a:ext uri="{FF2B5EF4-FFF2-40B4-BE49-F238E27FC236}">
                <a16:creationId xmlns:a16="http://schemas.microsoft.com/office/drawing/2014/main" id="{151CBF16-C02C-F614-719D-553BF70B5ACF}"/>
              </a:ext>
            </a:extLst>
          </p:cNvPr>
          <p:cNvSpPr>
            <a:spLocks/>
          </p:cNvSpPr>
          <p:nvPr/>
        </p:nvSpPr>
        <p:spPr bwMode="auto">
          <a:xfrm>
            <a:off x="915512" y="8906278"/>
            <a:ext cx="2378173" cy="2222469"/>
          </a:xfrm>
          <a:custGeom>
            <a:avLst/>
            <a:gdLst>
              <a:gd name="T0" fmla="*/ 1215 w 1811"/>
              <a:gd name="T1" fmla="*/ 38 h 1419"/>
              <a:gd name="T2" fmla="*/ 646 w 1811"/>
              <a:gd name="T3" fmla="*/ 71 h 1419"/>
              <a:gd name="T4" fmla="*/ 440 w 1811"/>
              <a:gd name="T5" fmla="*/ 153 h 1419"/>
              <a:gd name="T6" fmla="*/ 196 w 1811"/>
              <a:gd name="T7" fmla="*/ 331 h 1419"/>
              <a:gd name="T8" fmla="*/ 10 w 1811"/>
              <a:gd name="T9" fmla="*/ 789 h 1419"/>
              <a:gd name="T10" fmla="*/ 11 w 1811"/>
              <a:gd name="T11" fmla="*/ 793 h 1419"/>
              <a:gd name="T12" fmla="*/ 13 w 1811"/>
              <a:gd name="T13" fmla="*/ 815 h 1419"/>
              <a:gd name="T14" fmla="*/ 92 w 1811"/>
              <a:gd name="T15" fmla="*/ 1018 h 1419"/>
              <a:gd name="T16" fmla="*/ 269 w 1811"/>
              <a:gd name="T17" fmla="*/ 1199 h 1419"/>
              <a:gd name="T18" fmla="*/ 566 w 1811"/>
              <a:gd name="T19" fmla="*/ 1347 h 1419"/>
              <a:gd name="T20" fmla="*/ 744 w 1811"/>
              <a:gd name="T21" fmla="*/ 1394 h 1419"/>
              <a:gd name="T22" fmla="*/ 964 w 1811"/>
              <a:gd name="T23" fmla="*/ 1418 h 1419"/>
              <a:gd name="T24" fmla="*/ 1396 w 1811"/>
              <a:gd name="T25" fmla="*/ 1337 h 1419"/>
              <a:gd name="T26" fmla="*/ 1600 w 1811"/>
              <a:gd name="T27" fmla="*/ 1188 h 1419"/>
              <a:gd name="T28" fmla="*/ 1793 w 1811"/>
              <a:gd name="T29" fmla="*/ 796 h 1419"/>
              <a:gd name="T30" fmla="*/ 1806 w 1811"/>
              <a:gd name="T31" fmla="*/ 736 h 1419"/>
              <a:gd name="T32" fmla="*/ 1805 w 1811"/>
              <a:gd name="T33" fmla="*/ 720 h 1419"/>
              <a:gd name="T34" fmla="*/ 1795 w 1811"/>
              <a:gd name="T35" fmla="*/ 718 h 1419"/>
              <a:gd name="T36" fmla="*/ 1778 w 1811"/>
              <a:gd name="T37" fmla="*/ 738 h 1419"/>
              <a:gd name="T38" fmla="*/ 1763 w 1811"/>
              <a:gd name="T39" fmla="*/ 818 h 1419"/>
              <a:gd name="T40" fmla="*/ 1719 w 1811"/>
              <a:gd name="T41" fmla="*/ 958 h 1419"/>
              <a:gd name="T42" fmla="*/ 1524 w 1811"/>
              <a:gd name="T43" fmla="*/ 1223 h 1419"/>
              <a:gd name="T44" fmla="*/ 1388 w 1811"/>
              <a:gd name="T45" fmla="*/ 1309 h 1419"/>
              <a:gd name="T46" fmla="*/ 992 w 1811"/>
              <a:gd name="T47" fmla="*/ 1395 h 1419"/>
              <a:gd name="T48" fmla="*/ 759 w 1811"/>
              <a:gd name="T49" fmla="*/ 1370 h 1419"/>
              <a:gd name="T50" fmla="*/ 561 w 1811"/>
              <a:gd name="T51" fmla="*/ 1315 h 1419"/>
              <a:gd name="T52" fmla="*/ 152 w 1811"/>
              <a:gd name="T53" fmla="*/ 1052 h 1419"/>
              <a:gd name="T54" fmla="*/ 36 w 1811"/>
              <a:gd name="T55" fmla="*/ 759 h 1419"/>
              <a:gd name="T56" fmla="*/ 206 w 1811"/>
              <a:gd name="T57" fmla="*/ 343 h 1419"/>
              <a:gd name="T58" fmla="*/ 288 w 1811"/>
              <a:gd name="T59" fmla="*/ 274 h 1419"/>
              <a:gd name="T60" fmla="*/ 537 w 1811"/>
              <a:gd name="T61" fmla="*/ 133 h 1419"/>
              <a:gd name="T62" fmla="*/ 1187 w 1811"/>
              <a:gd name="T63" fmla="*/ 59 h 1419"/>
              <a:gd name="T64" fmla="*/ 1218 w 1811"/>
              <a:gd name="T65" fmla="*/ 65 h 1419"/>
              <a:gd name="T66" fmla="*/ 1616 w 1811"/>
              <a:gd name="T67" fmla="*/ 273 h 1419"/>
              <a:gd name="T68" fmla="*/ 1772 w 1811"/>
              <a:gd name="T69" fmla="*/ 524 h 1419"/>
              <a:gd name="T70" fmla="*/ 1787 w 1811"/>
              <a:gd name="T71" fmla="*/ 627 h 1419"/>
              <a:gd name="T72" fmla="*/ 1768 w 1811"/>
              <a:gd name="T73" fmla="*/ 733 h 1419"/>
              <a:gd name="T74" fmla="*/ 1768 w 1811"/>
              <a:gd name="T75" fmla="*/ 739 h 1419"/>
              <a:gd name="T76" fmla="*/ 1789 w 1811"/>
              <a:gd name="T77" fmla="*/ 715 h 1419"/>
              <a:gd name="T78" fmla="*/ 1809 w 1811"/>
              <a:gd name="T79" fmla="*/ 626 h 1419"/>
              <a:gd name="T80" fmla="*/ 1811 w 1811"/>
              <a:gd name="T81" fmla="*/ 601 h 1419"/>
              <a:gd name="T82" fmla="*/ 1809 w 1811"/>
              <a:gd name="T83" fmla="*/ 569 h 1419"/>
              <a:gd name="T84" fmla="*/ 1793 w 1811"/>
              <a:gd name="T85" fmla="*/ 494 h 1419"/>
              <a:gd name="T86" fmla="*/ 1695 w 1811"/>
              <a:gd name="T87" fmla="*/ 314 h 1419"/>
              <a:gd name="T88" fmla="*/ 1440 w 1811"/>
              <a:gd name="T89" fmla="*/ 116 h 1419"/>
              <a:gd name="T90" fmla="*/ 1435 w 1811"/>
              <a:gd name="T91" fmla="*/ 113 h 1419"/>
              <a:gd name="T92" fmla="*/ 1215 w 1811"/>
              <a:gd name="T93" fmla="*/ 38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11" h="1419">
                <a:moveTo>
                  <a:pt x="1215" y="38"/>
                </a:moveTo>
                <a:cubicBezTo>
                  <a:pt x="1039" y="0"/>
                  <a:pt x="853" y="11"/>
                  <a:pt x="646" y="71"/>
                </a:cubicBezTo>
                <a:cubicBezTo>
                  <a:pt x="587" y="87"/>
                  <a:pt x="522" y="114"/>
                  <a:pt x="440" y="153"/>
                </a:cubicBezTo>
                <a:cubicBezTo>
                  <a:pt x="351" y="197"/>
                  <a:pt x="271" y="255"/>
                  <a:pt x="196" y="331"/>
                </a:cubicBezTo>
                <a:cubicBezTo>
                  <a:pt x="69" y="460"/>
                  <a:pt x="0" y="631"/>
                  <a:pt x="10" y="789"/>
                </a:cubicBezTo>
                <a:cubicBezTo>
                  <a:pt x="11" y="793"/>
                  <a:pt x="11" y="793"/>
                  <a:pt x="11" y="793"/>
                </a:cubicBezTo>
                <a:cubicBezTo>
                  <a:pt x="11" y="801"/>
                  <a:pt x="12" y="808"/>
                  <a:pt x="13" y="815"/>
                </a:cubicBezTo>
                <a:cubicBezTo>
                  <a:pt x="28" y="912"/>
                  <a:pt x="57" y="964"/>
                  <a:pt x="92" y="1018"/>
                </a:cubicBezTo>
                <a:cubicBezTo>
                  <a:pt x="143" y="1101"/>
                  <a:pt x="210" y="1156"/>
                  <a:pt x="269" y="1199"/>
                </a:cubicBezTo>
                <a:cubicBezTo>
                  <a:pt x="366" y="1269"/>
                  <a:pt x="463" y="1318"/>
                  <a:pt x="566" y="1347"/>
                </a:cubicBezTo>
                <a:cubicBezTo>
                  <a:pt x="619" y="1363"/>
                  <a:pt x="681" y="1380"/>
                  <a:pt x="744" y="1394"/>
                </a:cubicBezTo>
                <a:cubicBezTo>
                  <a:pt x="823" y="1411"/>
                  <a:pt x="895" y="1419"/>
                  <a:pt x="964" y="1418"/>
                </a:cubicBezTo>
                <a:cubicBezTo>
                  <a:pt x="1124" y="1418"/>
                  <a:pt x="1258" y="1407"/>
                  <a:pt x="1396" y="1337"/>
                </a:cubicBezTo>
                <a:cubicBezTo>
                  <a:pt x="1467" y="1300"/>
                  <a:pt x="1534" y="1252"/>
                  <a:pt x="1600" y="1188"/>
                </a:cubicBezTo>
                <a:cubicBezTo>
                  <a:pt x="1716" y="1077"/>
                  <a:pt x="1759" y="934"/>
                  <a:pt x="1793" y="796"/>
                </a:cubicBezTo>
                <a:cubicBezTo>
                  <a:pt x="1793" y="793"/>
                  <a:pt x="1805" y="738"/>
                  <a:pt x="1806" y="736"/>
                </a:cubicBezTo>
                <a:cubicBezTo>
                  <a:pt x="1807" y="730"/>
                  <a:pt x="1807" y="724"/>
                  <a:pt x="1805" y="720"/>
                </a:cubicBezTo>
                <a:cubicBezTo>
                  <a:pt x="1802" y="717"/>
                  <a:pt x="1799" y="716"/>
                  <a:pt x="1795" y="718"/>
                </a:cubicBezTo>
                <a:cubicBezTo>
                  <a:pt x="1787" y="722"/>
                  <a:pt x="1782" y="728"/>
                  <a:pt x="1778" y="738"/>
                </a:cubicBezTo>
                <a:cubicBezTo>
                  <a:pt x="1776" y="744"/>
                  <a:pt x="1766" y="810"/>
                  <a:pt x="1763" y="818"/>
                </a:cubicBezTo>
                <a:cubicBezTo>
                  <a:pt x="1745" y="882"/>
                  <a:pt x="1736" y="907"/>
                  <a:pt x="1719" y="958"/>
                </a:cubicBezTo>
                <a:cubicBezTo>
                  <a:pt x="1680" y="1077"/>
                  <a:pt x="1587" y="1176"/>
                  <a:pt x="1524" y="1223"/>
                </a:cubicBezTo>
                <a:cubicBezTo>
                  <a:pt x="1476" y="1259"/>
                  <a:pt x="1451" y="1276"/>
                  <a:pt x="1388" y="1309"/>
                </a:cubicBezTo>
                <a:cubicBezTo>
                  <a:pt x="1265" y="1372"/>
                  <a:pt x="1140" y="1395"/>
                  <a:pt x="992" y="1395"/>
                </a:cubicBezTo>
                <a:cubicBezTo>
                  <a:pt x="918" y="1395"/>
                  <a:pt x="841" y="1387"/>
                  <a:pt x="759" y="1370"/>
                </a:cubicBezTo>
                <a:cubicBezTo>
                  <a:pt x="700" y="1357"/>
                  <a:pt x="639" y="1340"/>
                  <a:pt x="561" y="1315"/>
                </a:cubicBezTo>
                <a:cubicBezTo>
                  <a:pt x="406" y="1266"/>
                  <a:pt x="270" y="1182"/>
                  <a:pt x="152" y="1052"/>
                </a:cubicBezTo>
                <a:cubicBezTo>
                  <a:pt x="89" y="984"/>
                  <a:pt x="49" y="881"/>
                  <a:pt x="36" y="759"/>
                </a:cubicBezTo>
                <a:cubicBezTo>
                  <a:pt x="22" y="618"/>
                  <a:pt x="87" y="459"/>
                  <a:pt x="206" y="343"/>
                </a:cubicBezTo>
                <a:cubicBezTo>
                  <a:pt x="234" y="316"/>
                  <a:pt x="263" y="293"/>
                  <a:pt x="288" y="274"/>
                </a:cubicBezTo>
                <a:cubicBezTo>
                  <a:pt x="368" y="212"/>
                  <a:pt x="449" y="166"/>
                  <a:pt x="537" y="133"/>
                </a:cubicBezTo>
                <a:cubicBezTo>
                  <a:pt x="761" y="51"/>
                  <a:pt x="974" y="23"/>
                  <a:pt x="1187" y="59"/>
                </a:cubicBezTo>
                <a:cubicBezTo>
                  <a:pt x="1197" y="61"/>
                  <a:pt x="1208" y="63"/>
                  <a:pt x="1218" y="65"/>
                </a:cubicBezTo>
                <a:cubicBezTo>
                  <a:pt x="1353" y="93"/>
                  <a:pt x="1484" y="162"/>
                  <a:pt x="1616" y="273"/>
                </a:cubicBezTo>
                <a:cubicBezTo>
                  <a:pt x="1692" y="338"/>
                  <a:pt x="1742" y="423"/>
                  <a:pt x="1772" y="524"/>
                </a:cubicBezTo>
                <a:cubicBezTo>
                  <a:pt x="1782" y="557"/>
                  <a:pt x="1786" y="568"/>
                  <a:pt x="1787" y="627"/>
                </a:cubicBezTo>
                <a:cubicBezTo>
                  <a:pt x="1787" y="665"/>
                  <a:pt x="1770" y="721"/>
                  <a:pt x="1768" y="733"/>
                </a:cubicBezTo>
                <a:cubicBezTo>
                  <a:pt x="1768" y="735"/>
                  <a:pt x="1768" y="737"/>
                  <a:pt x="1768" y="739"/>
                </a:cubicBezTo>
                <a:cubicBezTo>
                  <a:pt x="1776" y="731"/>
                  <a:pt x="1784" y="724"/>
                  <a:pt x="1789" y="715"/>
                </a:cubicBezTo>
                <a:cubicBezTo>
                  <a:pt x="1791" y="711"/>
                  <a:pt x="1807" y="662"/>
                  <a:pt x="1809" y="626"/>
                </a:cubicBezTo>
                <a:cubicBezTo>
                  <a:pt x="1809" y="617"/>
                  <a:pt x="1811" y="608"/>
                  <a:pt x="1811" y="601"/>
                </a:cubicBezTo>
                <a:cubicBezTo>
                  <a:pt x="1809" y="569"/>
                  <a:pt x="1809" y="569"/>
                  <a:pt x="1809" y="569"/>
                </a:cubicBezTo>
                <a:cubicBezTo>
                  <a:pt x="1806" y="535"/>
                  <a:pt x="1802" y="522"/>
                  <a:pt x="1793" y="494"/>
                </a:cubicBezTo>
                <a:cubicBezTo>
                  <a:pt x="1771" y="425"/>
                  <a:pt x="1738" y="364"/>
                  <a:pt x="1695" y="314"/>
                </a:cubicBezTo>
                <a:cubicBezTo>
                  <a:pt x="1619" y="224"/>
                  <a:pt x="1524" y="166"/>
                  <a:pt x="1440" y="116"/>
                </a:cubicBezTo>
                <a:cubicBezTo>
                  <a:pt x="1435" y="113"/>
                  <a:pt x="1435" y="113"/>
                  <a:pt x="1435" y="113"/>
                </a:cubicBezTo>
                <a:cubicBezTo>
                  <a:pt x="1364" y="79"/>
                  <a:pt x="1290" y="54"/>
                  <a:pt x="1215" y="38"/>
                </a:cubicBezTo>
                <a:close/>
              </a:path>
            </a:pathLst>
          </a:custGeom>
          <a:solidFill>
            <a:srgbClr val="F06A11"/>
          </a:solidFill>
          <a:ln>
            <a:solidFill>
              <a:srgbClr val="FF9933"/>
            </a:solidFill>
          </a:ln>
        </p:spPr>
        <p:txBody>
          <a:bodyPr vert="horz" wrap="square" lIns="182868" tIns="91434" rIns="182868" bIns="91434" numCol="1" anchor="t" anchorCtr="0" compatLnSpc="1">
            <a:prstTxWarp prst="textNoShape">
              <a:avLst/>
            </a:prstTxWarp>
          </a:bodyPr>
          <a:lstStyle/>
          <a:p>
            <a:pPr defTabSz="1828709"/>
            <a:endParaRPr lang="en-GB" sz="2000">
              <a:solidFill>
                <a:srgbClr val="000000"/>
              </a:solidFill>
            </a:endParaRPr>
          </a:p>
        </p:txBody>
      </p:sp>
      <p:pic>
        <p:nvPicPr>
          <p:cNvPr id="33" name="Picture Placeholder 5" descr="A person wearing glasses&#10;&#10;Description automatically generated with medium confidence">
            <a:extLst>
              <a:ext uri="{FF2B5EF4-FFF2-40B4-BE49-F238E27FC236}">
                <a16:creationId xmlns:a16="http://schemas.microsoft.com/office/drawing/2014/main" id="{3BEBCEC9-83F9-BFFA-E69E-24561A9CA76D}"/>
              </a:ext>
            </a:extLst>
          </p:cNvPr>
          <p:cNvPicPr>
            <a:picLocks noChangeAspect="1"/>
          </p:cNvPicPr>
          <p:nvPr/>
        </p:nvPicPr>
        <p:blipFill>
          <a:blip r:embed="rId15">
            <a:extLst>
              <a:ext uri="{28A0092B-C50C-407E-A947-70E740481C1C}">
                <a14:useLocalDpi xmlns:a14="http://schemas.microsoft.com/office/drawing/2010/main" val="0"/>
              </a:ext>
            </a:extLst>
          </a:blip>
          <a:srcRect t="13967" b="13967"/>
          <a:stretch>
            <a:fillRect/>
          </a:stretch>
        </p:blipFill>
        <p:spPr>
          <a:xfrm>
            <a:off x="1390079" y="3062215"/>
            <a:ext cx="2257907" cy="2163310"/>
          </a:xfrm>
          <a:prstGeom prst="ellipse">
            <a:avLst/>
          </a:prstGeom>
          <a:ln>
            <a:solidFill>
              <a:srgbClr val="FF9933"/>
            </a:solidFill>
          </a:ln>
        </p:spPr>
      </p:pic>
      <p:pic>
        <p:nvPicPr>
          <p:cNvPr id="34" name="Picture Placeholder 4" descr="A person with long hair smiling&#10;&#10;Description automatically generated with medium confidence">
            <a:extLst>
              <a:ext uri="{FF2B5EF4-FFF2-40B4-BE49-F238E27FC236}">
                <a16:creationId xmlns:a16="http://schemas.microsoft.com/office/drawing/2014/main" id="{10BE8A27-4788-0136-F4D7-CAC2C87DFD4C}"/>
              </a:ext>
            </a:extLst>
          </p:cNvPr>
          <p:cNvPicPr>
            <a:picLocks noChangeAspect="1"/>
          </p:cNvPicPr>
          <p:nvPr/>
        </p:nvPicPr>
        <p:blipFill>
          <a:blip r:embed="rId16">
            <a:extLst>
              <a:ext uri="{28A0092B-C50C-407E-A947-70E740481C1C}">
                <a14:useLocalDpi xmlns:a14="http://schemas.microsoft.com/office/drawing/2010/main" val="0"/>
              </a:ext>
            </a:extLst>
          </a:blip>
          <a:srcRect t="8484" b="8484"/>
          <a:stretch>
            <a:fillRect/>
          </a:stretch>
        </p:blipFill>
        <p:spPr>
          <a:xfrm>
            <a:off x="6088803" y="3083713"/>
            <a:ext cx="2257277" cy="2165209"/>
          </a:xfrm>
          <a:prstGeom prst="ellipse">
            <a:avLst/>
          </a:prstGeom>
          <a:solidFill>
            <a:srgbClr val="F06A11"/>
          </a:solidFill>
          <a:ln>
            <a:solidFill>
              <a:srgbClr val="F06A11"/>
            </a:solidFill>
          </a:ln>
        </p:spPr>
      </p:pic>
      <p:pic>
        <p:nvPicPr>
          <p:cNvPr id="35" name="Picture Placeholder 26">
            <a:extLst>
              <a:ext uri="{FF2B5EF4-FFF2-40B4-BE49-F238E27FC236}">
                <a16:creationId xmlns:a16="http://schemas.microsoft.com/office/drawing/2014/main" id="{A6B37F55-D9CD-F169-507F-772306EAEDF2}"/>
              </a:ext>
            </a:extLst>
          </p:cNvPr>
          <p:cNvPicPr>
            <a:picLocks noChangeAspect="1"/>
          </p:cNvPicPr>
          <p:nvPr/>
        </p:nvPicPr>
        <p:blipFill>
          <a:blip r:embed="rId17" cstate="print">
            <a:extLst>
              <a:ext uri="{28A0092B-C50C-407E-A947-70E740481C1C}">
                <a14:useLocalDpi xmlns:a14="http://schemas.microsoft.com/office/drawing/2010/main" val="0"/>
              </a:ext>
            </a:extLst>
          </a:blip>
          <a:srcRect t="2992" b="2992"/>
          <a:stretch>
            <a:fillRect/>
          </a:stretch>
        </p:blipFill>
        <p:spPr>
          <a:xfrm>
            <a:off x="10692488" y="3011762"/>
            <a:ext cx="2309175" cy="2249481"/>
          </a:xfrm>
          <a:prstGeom prst="ellipse">
            <a:avLst/>
          </a:prstGeom>
          <a:solidFill>
            <a:srgbClr val="F06A11"/>
          </a:solidFill>
          <a:ln>
            <a:solidFill>
              <a:srgbClr val="F06A11"/>
            </a:solidFill>
          </a:ln>
        </p:spPr>
      </p:pic>
      <p:sp>
        <p:nvSpPr>
          <p:cNvPr id="36" name="Text Placeholder 16">
            <a:extLst>
              <a:ext uri="{FF2B5EF4-FFF2-40B4-BE49-F238E27FC236}">
                <a16:creationId xmlns:a16="http://schemas.microsoft.com/office/drawing/2014/main" id="{DBBC470D-FF48-7514-4324-F3DB1CA49621}"/>
              </a:ext>
            </a:extLst>
          </p:cNvPr>
          <p:cNvSpPr txBox="1">
            <a:spLocks/>
          </p:cNvSpPr>
          <p:nvPr/>
        </p:nvSpPr>
        <p:spPr>
          <a:xfrm>
            <a:off x="3625439" y="6310434"/>
            <a:ext cx="2217484" cy="1749310"/>
          </a:xfrm>
          <a:prstGeom prst="rect">
            <a:avLst/>
          </a:prstGeom>
          <a:ln>
            <a:noFill/>
          </a:ln>
        </p:spPr>
        <p:txBody>
          <a:bodyPr/>
          <a:lstStyle>
            <a:lvl1pPr marL="0" indent="0" algn="l" defTabSz="914400" rtl="0" eaLnBrk="1" latinLnBrk="0" hangingPunct="1">
              <a:lnSpc>
                <a:spcPct val="90000"/>
              </a:lnSpc>
              <a:spcBef>
                <a:spcPts val="1000"/>
              </a:spcBef>
              <a:buFont typeface="Arial" panose="020B0604020202020204" pitchFamily="34" charset="0"/>
              <a:buNone/>
              <a:defRPr sz="1200" b="0" kern="1200" baseline="0">
                <a:solidFill>
                  <a:schemeClr val="tx1"/>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828709">
              <a:spcBef>
                <a:spcPts val="2000"/>
              </a:spcBef>
            </a:pPr>
            <a:r>
              <a:rPr lang="en-US" sz="2000" b="1">
                <a:solidFill>
                  <a:srgbClr val="000000"/>
                </a:solidFill>
                <a:latin typeface="+mn-lt"/>
              </a:rPr>
              <a:t>Hans </a:t>
            </a:r>
            <a:r>
              <a:rPr lang="sv-SE" sz="2000" b="1">
                <a:solidFill>
                  <a:srgbClr val="333333"/>
                </a:solidFill>
                <a:latin typeface="+mn-lt"/>
              </a:rPr>
              <a:t>Fernegård</a:t>
            </a:r>
          </a:p>
          <a:p>
            <a:pPr defTabSz="1828709">
              <a:spcBef>
                <a:spcPts val="2000"/>
              </a:spcBef>
            </a:pPr>
            <a:r>
              <a:rPr lang="en-US" sz="2000">
                <a:solidFill>
                  <a:srgbClr val="000000"/>
                </a:solidFill>
                <a:latin typeface="+mn-lt"/>
              </a:rPr>
              <a:t>Engineering Leader</a:t>
            </a:r>
            <a:endParaRPr lang="en-GB" sz="2000">
              <a:solidFill>
                <a:srgbClr val="000000"/>
              </a:solidFill>
              <a:latin typeface="+mn-lt"/>
            </a:endParaRPr>
          </a:p>
        </p:txBody>
      </p:sp>
      <p:sp>
        <p:nvSpPr>
          <p:cNvPr id="37" name="Freeform 75">
            <a:extLst>
              <a:ext uri="{FF2B5EF4-FFF2-40B4-BE49-F238E27FC236}">
                <a16:creationId xmlns:a16="http://schemas.microsoft.com/office/drawing/2014/main" id="{1B98EF90-F3B4-4EFC-204D-16FE5437626E}"/>
              </a:ext>
            </a:extLst>
          </p:cNvPr>
          <p:cNvSpPr>
            <a:spLocks/>
          </p:cNvSpPr>
          <p:nvPr/>
        </p:nvSpPr>
        <p:spPr bwMode="auto">
          <a:xfrm>
            <a:off x="974991" y="5916856"/>
            <a:ext cx="2378173" cy="2651279"/>
          </a:xfrm>
          <a:custGeom>
            <a:avLst/>
            <a:gdLst>
              <a:gd name="T0" fmla="*/ 1215 w 1811"/>
              <a:gd name="T1" fmla="*/ 38 h 1419"/>
              <a:gd name="T2" fmla="*/ 646 w 1811"/>
              <a:gd name="T3" fmla="*/ 71 h 1419"/>
              <a:gd name="T4" fmla="*/ 440 w 1811"/>
              <a:gd name="T5" fmla="*/ 153 h 1419"/>
              <a:gd name="T6" fmla="*/ 196 w 1811"/>
              <a:gd name="T7" fmla="*/ 331 h 1419"/>
              <a:gd name="T8" fmla="*/ 10 w 1811"/>
              <a:gd name="T9" fmla="*/ 789 h 1419"/>
              <a:gd name="T10" fmla="*/ 11 w 1811"/>
              <a:gd name="T11" fmla="*/ 793 h 1419"/>
              <a:gd name="T12" fmla="*/ 13 w 1811"/>
              <a:gd name="T13" fmla="*/ 815 h 1419"/>
              <a:gd name="T14" fmla="*/ 92 w 1811"/>
              <a:gd name="T15" fmla="*/ 1018 h 1419"/>
              <a:gd name="T16" fmla="*/ 269 w 1811"/>
              <a:gd name="T17" fmla="*/ 1199 h 1419"/>
              <a:gd name="T18" fmla="*/ 566 w 1811"/>
              <a:gd name="T19" fmla="*/ 1347 h 1419"/>
              <a:gd name="T20" fmla="*/ 744 w 1811"/>
              <a:gd name="T21" fmla="*/ 1394 h 1419"/>
              <a:gd name="T22" fmla="*/ 964 w 1811"/>
              <a:gd name="T23" fmla="*/ 1418 h 1419"/>
              <a:gd name="T24" fmla="*/ 1396 w 1811"/>
              <a:gd name="T25" fmla="*/ 1337 h 1419"/>
              <a:gd name="T26" fmla="*/ 1600 w 1811"/>
              <a:gd name="T27" fmla="*/ 1188 h 1419"/>
              <a:gd name="T28" fmla="*/ 1793 w 1811"/>
              <a:gd name="T29" fmla="*/ 796 h 1419"/>
              <a:gd name="T30" fmla="*/ 1806 w 1811"/>
              <a:gd name="T31" fmla="*/ 736 h 1419"/>
              <a:gd name="T32" fmla="*/ 1805 w 1811"/>
              <a:gd name="T33" fmla="*/ 720 h 1419"/>
              <a:gd name="T34" fmla="*/ 1795 w 1811"/>
              <a:gd name="T35" fmla="*/ 718 h 1419"/>
              <a:gd name="T36" fmla="*/ 1778 w 1811"/>
              <a:gd name="T37" fmla="*/ 738 h 1419"/>
              <a:gd name="T38" fmla="*/ 1763 w 1811"/>
              <a:gd name="T39" fmla="*/ 818 h 1419"/>
              <a:gd name="T40" fmla="*/ 1719 w 1811"/>
              <a:gd name="T41" fmla="*/ 958 h 1419"/>
              <a:gd name="T42" fmla="*/ 1524 w 1811"/>
              <a:gd name="T43" fmla="*/ 1223 h 1419"/>
              <a:gd name="T44" fmla="*/ 1388 w 1811"/>
              <a:gd name="T45" fmla="*/ 1309 h 1419"/>
              <a:gd name="T46" fmla="*/ 992 w 1811"/>
              <a:gd name="T47" fmla="*/ 1395 h 1419"/>
              <a:gd name="T48" fmla="*/ 759 w 1811"/>
              <a:gd name="T49" fmla="*/ 1370 h 1419"/>
              <a:gd name="T50" fmla="*/ 561 w 1811"/>
              <a:gd name="T51" fmla="*/ 1315 h 1419"/>
              <a:gd name="T52" fmla="*/ 152 w 1811"/>
              <a:gd name="T53" fmla="*/ 1052 h 1419"/>
              <a:gd name="T54" fmla="*/ 36 w 1811"/>
              <a:gd name="T55" fmla="*/ 759 h 1419"/>
              <a:gd name="T56" fmla="*/ 206 w 1811"/>
              <a:gd name="T57" fmla="*/ 343 h 1419"/>
              <a:gd name="T58" fmla="*/ 288 w 1811"/>
              <a:gd name="T59" fmla="*/ 274 h 1419"/>
              <a:gd name="T60" fmla="*/ 537 w 1811"/>
              <a:gd name="T61" fmla="*/ 133 h 1419"/>
              <a:gd name="T62" fmla="*/ 1187 w 1811"/>
              <a:gd name="T63" fmla="*/ 59 h 1419"/>
              <a:gd name="T64" fmla="*/ 1218 w 1811"/>
              <a:gd name="T65" fmla="*/ 65 h 1419"/>
              <a:gd name="T66" fmla="*/ 1616 w 1811"/>
              <a:gd name="T67" fmla="*/ 273 h 1419"/>
              <a:gd name="T68" fmla="*/ 1772 w 1811"/>
              <a:gd name="T69" fmla="*/ 524 h 1419"/>
              <a:gd name="T70" fmla="*/ 1787 w 1811"/>
              <a:gd name="T71" fmla="*/ 627 h 1419"/>
              <a:gd name="T72" fmla="*/ 1768 w 1811"/>
              <a:gd name="T73" fmla="*/ 733 h 1419"/>
              <a:gd name="T74" fmla="*/ 1768 w 1811"/>
              <a:gd name="T75" fmla="*/ 739 h 1419"/>
              <a:gd name="T76" fmla="*/ 1789 w 1811"/>
              <a:gd name="T77" fmla="*/ 715 h 1419"/>
              <a:gd name="T78" fmla="*/ 1809 w 1811"/>
              <a:gd name="T79" fmla="*/ 626 h 1419"/>
              <a:gd name="T80" fmla="*/ 1811 w 1811"/>
              <a:gd name="T81" fmla="*/ 601 h 1419"/>
              <a:gd name="T82" fmla="*/ 1809 w 1811"/>
              <a:gd name="T83" fmla="*/ 569 h 1419"/>
              <a:gd name="T84" fmla="*/ 1793 w 1811"/>
              <a:gd name="T85" fmla="*/ 494 h 1419"/>
              <a:gd name="T86" fmla="*/ 1695 w 1811"/>
              <a:gd name="T87" fmla="*/ 314 h 1419"/>
              <a:gd name="T88" fmla="*/ 1440 w 1811"/>
              <a:gd name="T89" fmla="*/ 116 h 1419"/>
              <a:gd name="T90" fmla="*/ 1435 w 1811"/>
              <a:gd name="T91" fmla="*/ 113 h 1419"/>
              <a:gd name="T92" fmla="*/ 1215 w 1811"/>
              <a:gd name="T93" fmla="*/ 38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11" h="1419">
                <a:moveTo>
                  <a:pt x="1215" y="38"/>
                </a:moveTo>
                <a:cubicBezTo>
                  <a:pt x="1039" y="0"/>
                  <a:pt x="853" y="11"/>
                  <a:pt x="646" y="71"/>
                </a:cubicBezTo>
                <a:cubicBezTo>
                  <a:pt x="587" y="87"/>
                  <a:pt x="522" y="114"/>
                  <a:pt x="440" y="153"/>
                </a:cubicBezTo>
                <a:cubicBezTo>
                  <a:pt x="351" y="197"/>
                  <a:pt x="271" y="255"/>
                  <a:pt x="196" y="331"/>
                </a:cubicBezTo>
                <a:cubicBezTo>
                  <a:pt x="69" y="460"/>
                  <a:pt x="0" y="631"/>
                  <a:pt x="10" y="789"/>
                </a:cubicBezTo>
                <a:cubicBezTo>
                  <a:pt x="11" y="793"/>
                  <a:pt x="11" y="793"/>
                  <a:pt x="11" y="793"/>
                </a:cubicBezTo>
                <a:cubicBezTo>
                  <a:pt x="11" y="801"/>
                  <a:pt x="12" y="808"/>
                  <a:pt x="13" y="815"/>
                </a:cubicBezTo>
                <a:cubicBezTo>
                  <a:pt x="28" y="912"/>
                  <a:pt x="57" y="964"/>
                  <a:pt x="92" y="1018"/>
                </a:cubicBezTo>
                <a:cubicBezTo>
                  <a:pt x="143" y="1101"/>
                  <a:pt x="210" y="1156"/>
                  <a:pt x="269" y="1199"/>
                </a:cubicBezTo>
                <a:cubicBezTo>
                  <a:pt x="366" y="1269"/>
                  <a:pt x="463" y="1318"/>
                  <a:pt x="566" y="1347"/>
                </a:cubicBezTo>
                <a:cubicBezTo>
                  <a:pt x="619" y="1363"/>
                  <a:pt x="681" y="1380"/>
                  <a:pt x="744" y="1394"/>
                </a:cubicBezTo>
                <a:cubicBezTo>
                  <a:pt x="823" y="1411"/>
                  <a:pt x="895" y="1419"/>
                  <a:pt x="964" y="1418"/>
                </a:cubicBezTo>
                <a:cubicBezTo>
                  <a:pt x="1124" y="1418"/>
                  <a:pt x="1258" y="1407"/>
                  <a:pt x="1396" y="1337"/>
                </a:cubicBezTo>
                <a:cubicBezTo>
                  <a:pt x="1467" y="1300"/>
                  <a:pt x="1534" y="1252"/>
                  <a:pt x="1600" y="1188"/>
                </a:cubicBezTo>
                <a:cubicBezTo>
                  <a:pt x="1716" y="1077"/>
                  <a:pt x="1759" y="934"/>
                  <a:pt x="1793" y="796"/>
                </a:cubicBezTo>
                <a:cubicBezTo>
                  <a:pt x="1793" y="793"/>
                  <a:pt x="1805" y="738"/>
                  <a:pt x="1806" y="736"/>
                </a:cubicBezTo>
                <a:cubicBezTo>
                  <a:pt x="1807" y="730"/>
                  <a:pt x="1807" y="724"/>
                  <a:pt x="1805" y="720"/>
                </a:cubicBezTo>
                <a:cubicBezTo>
                  <a:pt x="1802" y="717"/>
                  <a:pt x="1799" y="716"/>
                  <a:pt x="1795" y="718"/>
                </a:cubicBezTo>
                <a:cubicBezTo>
                  <a:pt x="1787" y="722"/>
                  <a:pt x="1782" y="728"/>
                  <a:pt x="1778" y="738"/>
                </a:cubicBezTo>
                <a:cubicBezTo>
                  <a:pt x="1776" y="744"/>
                  <a:pt x="1766" y="810"/>
                  <a:pt x="1763" y="818"/>
                </a:cubicBezTo>
                <a:cubicBezTo>
                  <a:pt x="1745" y="882"/>
                  <a:pt x="1736" y="907"/>
                  <a:pt x="1719" y="958"/>
                </a:cubicBezTo>
                <a:cubicBezTo>
                  <a:pt x="1680" y="1077"/>
                  <a:pt x="1587" y="1176"/>
                  <a:pt x="1524" y="1223"/>
                </a:cubicBezTo>
                <a:cubicBezTo>
                  <a:pt x="1476" y="1259"/>
                  <a:pt x="1451" y="1276"/>
                  <a:pt x="1388" y="1309"/>
                </a:cubicBezTo>
                <a:cubicBezTo>
                  <a:pt x="1265" y="1372"/>
                  <a:pt x="1140" y="1395"/>
                  <a:pt x="992" y="1395"/>
                </a:cubicBezTo>
                <a:cubicBezTo>
                  <a:pt x="918" y="1395"/>
                  <a:pt x="841" y="1387"/>
                  <a:pt x="759" y="1370"/>
                </a:cubicBezTo>
                <a:cubicBezTo>
                  <a:pt x="700" y="1357"/>
                  <a:pt x="639" y="1340"/>
                  <a:pt x="561" y="1315"/>
                </a:cubicBezTo>
                <a:cubicBezTo>
                  <a:pt x="406" y="1266"/>
                  <a:pt x="270" y="1182"/>
                  <a:pt x="152" y="1052"/>
                </a:cubicBezTo>
                <a:cubicBezTo>
                  <a:pt x="89" y="984"/>
                  <a:pt x="49" y="881"/>
                  <a:pt x="36" y="759"/>
                </a:cubicBezTo>
                <a:cubicBezTo>
                  <a:pt x="22" y="618"/>
                  <a:pt x="87" y="459"/>
                  <a:pt x="206" y="343"/>
                </a:cubicBezTo>
                <a:cubicBezTo>
                  <a:pt x="234" y="316"/>
                  <a:pt x="263" y="293"/>
                  <a:pt x="288" y="274"/>
                </a:cubicBezTo>
                <a:cubicBezTo>
                  <a:pt x="368" y="212"/>
                  <a:pt x="449" y="166"/>
                  <a:pt x="537" y="133"/>
                </a:cubicBezTo>
                <a:cubicBezTo>
                  <a:pt x="761" y="51"/>
                  <a:pt x="974" y="23"/>
                  <a:pt x="1187" y="59"/>
                </a:cubicBezTo>
                <a:cubicBezTo>
                  <a:pt x="1197" y="61"/>
                  <a:pt x="1208" y="63"/>
                  <a:pt x="1218" y="65"/>
                </a:cubicBezTo>
                <a:cubicBezTo>
                  <a:pt x="1353" y="93"/>
                  <a:pt x="1484" y="162"/>
                  <a:pt x="1616" y="273"/>
                </a:cubicBezTo>
                <a:cubicBezTo>
                  <a:pt x="1692" y="338"/>
                  <a:pt x="1742" y="423"/>
                  <a:pt x="1772" y="524"/>
                </a:cubicBezTo>
                <a:cubicBezTo>
                  <a:pt x="1782" y="557"/>
                  <a:pt x="1786" y="568"/>
                  <a:pt x="1787" y="627"/>
                </a:cubicBezTo>
                <a:cubicBezTo>
                  <a:pt x="1787" y="665"/>
                  <a:pt x="1770" y="721"/>
                  <a:pt x="1768" y="733"/>
                </a:cubicBezTo>
                <a:cubicBezTo>
                  <a:pt x="1768" y="735"/>
                  <a:pt x="1768" y="737"/>
                  <a:pt x="1768" y="739"/>
                </a:cubicBezTo>
                <a:cubicBezTo>
                  <a:pt x="1776" y="731"/>
                  <a:pt x="1784" y="724"/>
                  <a:pt x="1789" y="715"/>
                </a:cubicBezTo>
                <a:cubicBezTo>
                  <a:pt x="1791" y="711"/>
                  <a:pt x="1807" y="662"/>
                  <a:pt x="1809" y="626"/>
                </a:cubicBezTo>
                <a:cubicBezTo>
                  <a:pt x="1809" y="617"/>
                  <a:pt x="1811" y="608"/>
                  <a:pt x="1811" y="601"/>
                </a:cubicBezTo>
                <a:cubicBezTo>
                  <a:pt x="1809" y="569"/>
                  <a:pt x="1809" y="569"/>
                  <a:pt x="1809" y="569"/>
                </a:cubicBezTo>
                <a:cubicBezTo>
                  <a:pt x="1806" y="535"/>
                  <a:pt x="1802" y="522"/>
                  <a:pt x="1793" y="494"/>
                </a:cubicBezTo>
                <a:cubicBezTo>
                  <a:pt x="1771" y="425"/>
                  <a:pt x="1738" y="364"/>
                  <a:pt x="1695" y="314"/>
                </a:cubicBezTo>
                <a:cubicBezTo>
                  <a:pt x="1619" y="224"/>
                  <a:pt x="1524" y="166"/>
                  <a:pt x="1440" y="116"/>
                </a:cubicBezTo>
                <a:cubicBezTo>
                  <a:pt x="1435" y="113"/>
                  <a:pt x="1435" y="113"/>
                  <a:pt x="1435" y="113"/>
                </a:cubicBezTo>
                <a:cubicBezTo>
                  <a:pt x="1364" y="79"/>
                  <a:pt x="1290" y="54"/>
                  <a:pt x="1215" y="38"/>
                </a:cubicBezTo>
                <a:close/>
              </a:path>
            </a:pathLst>
          </a:custGeom>
          <a:solidFill>
            <a:srgbClr val="F06A11"/>
          </a:solidFill>
          <a:ln>
            <a:solidFill>
              <a:srgbClr val="FF9933"/>
            </a:solidFill>
          </a:ln>
        </p:spPr>
        <p:txBody>
          <a:bodyPr vert="horz" wrap="square" lIns="182868" tIns="91434" rIns="182868" bIns="91434" numCol="1" anchor="t" anchorCtr="0" compatLnSpc="1">
            <a:prstTxWarp prst="textNoShape">
              <a:avLst/>
            </a:prstTxWarp>
          </a:bodyPr>
          <a:lstStyle/>
          <a:p>
            <a:pPr defTabSz="1828709"/>
            <a:endParaRPr lang="en-GB" sz="2000">
              <a:solidFill>
                <a:srgbClr val="000000"/>
              </a:solidFill>
            </a:endParaRPr>
          </a:p>
        </p:txBody>
      </p:sp>
      <p:sp>
        <p:nvSpPr>
          <p:cNvPr id="40" name="Oval 39">
            <a:extLst>
              <a:ext uri="{FF2B5EF4-FFF2-40B4-BE49-F238E27FC236}">
                <a16:creationId xmlns:a16="http://schemas.microsoft.com/office/drawing/2014/main" id="{D2A7F5F8-213D-F30B-E880-128CE043E3A4}"/>
              </a:ext>
            </a:extLst>
          </p:cNvPr>
          <p:cNvSpPr/>
          <p:nvPr/>
        </p:nvSpPr>
        <p:spPr>
          <a:xfrm>
            <a:off x="19841967" y="9798182"/>
            <a:ext cx="7630991" cy="682950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41" name="TextBox 40">
            <a:extLst>
              <a:ext uri="{FF2B5EF4-FFF2-40B4-BE49-F238E27FC236}">
                <a16:creationId xmlns:a16="http://schemas.microsoft.com/office/drawing/2014/main" id="{024A8F63-6097-3D89-5FD1-E35C0CF8CE7F}"/>
              </a:ext>
            </a:extLst>
          </p:cNvPr>
          <p:cNvSpPr txBox="1"/>
          <p:nvPr/>
        </p:nvSpPr>
        <p:spPr>
          <a:xfrm>
            <a:off x="21067008" y="11928875"/>
            <a:ext cx="3184575" cy="914400"/>
          </a:xfrm>
          <a:prstGeom prst="rect">
            <a:avLst/>
          </a:prstGeom>
          <a:noFill/>
        </p:spPr>
        <p:txBody>
          <a:bodyPr wrap="none" rtlCol="0">
            <a:noAutofit/>
          </a:bodyPr>
          <a:lstStyle/>
          <a:p>
            <a:pPr algn="ctr"/>
            <a:r>
              <a:rPr lang="de-DE" sz="3200" b="1"/>
              <a:t>Ask us about</a:t>
            </a:r>
          </a:p>
          <a:p>
            <a:pPr algn="ctr"/>
            <a:r>
              <a:rPr lang="de-DE" sz="3200" b="1"/>
              <a:t> innovation </a:t>
            </a:r>
          </a:p>
        </p:txBody>
      </p:sp>
      <p:sp>
        <p:nvSpPr>
          <p:cNvPr id="42" name="Titel 5">
            <a:extLst>
              <a:ext uri="{FF2B5EF4-FFF2-40B4-BE49-F238E27FC236}">
                <a16:creationId xmlns:a16="http://schemas.microsoft.com/office/drawing/2014/main" id="{F805B106-F357-0F94-C377-EA9A53C8392B}"/>
              </a:ext>
            </a:extLst>
          </p:cNvPr>
          <p:cNvSpPr txBox="1">
            <a:spLocks/>
          </p:cNvSpPr>
          <p:nvPr/>
        </p:nvSpPr>
        <p:spPr>
          <a:xfrm>
            <a:off x="707922" y="11709460"/>
            <a:ext cx="18730451" cy="1695649"/>
          </a:xfrm>
          <a:custGeom>
            <a:avLst/>
            <a:gdLst>
              <a:gd name="connsiteX0" fmla="*/ 0 w 18730451"/>
              <a:gd name="connsiteY0" fmla="*/ 0 h 1695649"/>
              <a:gd name="connsiteX1" fmla="*/ 18730451 w 18730451"/>
              <a:gd name="connsiteY1" fmla="*/ 0 h 1695649"/>
              <a:gd name="connsiteX2" fmla="*/ 18730451 w 18730451"/>
              <a:gd name="connsiteY2" fmla="*/ 1695649 h 1695649"/>
              <a:gd name="connsiteX3" fmla="*/ 0 w 18730451"/>
              <a:gd name="connsiteY3" fmla="*/ 1695649 h 1695649"/>
              <a:gd name="connsiteX4" fmla="*/ 0 w 18730451"/>
              <a:gd name="connsiteY4" fmla="*/ 0 h 1695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0451" h="1695649" fill="none" extrusionOk="0">
                <a:moveTo>
                  <a:pt x="0" y="0"/>
                </a:moveTo>
                <a:cubicBezTo>
                  <a:pt x="2517125" y="58726"/>
                  <a:pt x="11999929" y="-161495"/>
                  <a:pt x="18730451" y="0"/>
                </a:cubicBezTo>
                <a:cubicBezTo>
                  <a:pt x="18772104" y="836495"/>
                  <a:pt x="18661359" y="1438346"/>
                  <a:pt x="18730451" y="1695649"/>
                </a:cubicBezTo>
                <a:cubicBezTo>
                  <a:pt x="12475418" y="1842044"/>
                  <a:pt x="6765930" y="1747067"/>
                  <a:pt x="0" y="1695649"/>
                </a:cubicBezTo>
                <a:cubicBezTo>
                  <a:pt x="-78787" y="1397832"/>
                  <a:pt x="-58711" y="314603"/>
                  <a:pt x="0" y="0"/>
                </a:cubicBezTo>
                <a:close/>
              </a:path>
              <a:path w="18730451" h="1695649" stroke="0" extrusionOk="0">
                <a:moveTo>
                  <a:pt x="0" y="0"/>
                </a:moveTo>
                <a:cubicBezTo>
                  <a:pt x="3906039" y="-150172"/>
                  <a:pt x="13080145" y="-9187"/>
                  <a:pt x="18730451" y="0"/>
                </a:cubicBezTo>
                <a:cubicBezTo>
                  <a:pt x="18839491" y="263268"/>
                  <a:pt x="18847217" y="863822"/>
                  <a:pt x="18730451" y="1695649"/>
                </a:cubicBezTo>
                <a:cubicBezTo>
                  <a:pt x="14966604" y="1784701"/>
                  <a:pt x="2405676" y="1835874"/>
                  <a:pt x="0" y="1695649"/>
                </a:cubicBezTo>
                <a:cubicBezTo>
                  <a:pt x="-86563" y="1503146"/>
                  <a:pt x="129948" y="210687"/>
                  <a:pt x="0" y="0"/>
                </a:cubicBezTo>
                <a:close/>
              </a:path>
            </a:pathLst>
          </a:custGeom>
          <a:solidFill>
            <a:srgbClr val="FFFFFF"/>
          </a:solidFill>
          <a:ln w="76200">
            <a:solidFill>
              <a:srgbClr val="F06A11"/>
            </a:solidFill>
            <a:extLst>
              <a:ext uri="{C807C97D-BFC1-408E-A445-0C87EB9F89A2}">
                <ask:lineSketchStyleProps xmlns:ask="http://schemas.microsoft.com/office/drawing/2018/sketchyshapes" sd="1581585360">
                  <a:prstGeom prst="rect">
                    <a:avLst/>
                  </a:prstGeom>
                  <ask:type>
                    <ask:lineSketchCurved/>
                  </ask:type>
                </ask:lineSketchStyleProps>
              </a:ext>
            </a:extLst>
          </a:ln>
        </p:spPr>
        <p:txBody>
          <a:bodyPr vert="horz" lIns="719953" tIns="539965" rIns="359977" bIns="359977" rtlCol="0" anchor="t">
            <a:noAutofit/>
          </a:bodyPr>
          <a:lstStyle>
            <a:lvl1pPr algn="l" defTabSz="1828573" rtl="0" eaLnBrk="1" latinLnBrk="0" hangingPunct="1">
              <a:lnSpc>
                <a:spcPct val="100000"/>
              </a:lnSpc>
              <a:spcBef>
                <a:spcPct val="0"/>
              </a:spcBef>
              <a:buNone/>
              <a:defRPr sz="8000" b="1" kern="1200" spc="-200" baseline="0">
                <a:solidFill>
                  <a:schemeClr val="tx1"/>
                </a:solidFill>
                <a:latin typeface="Noto IKEA Latin" panose="020B0502040504020204" pitchFamily="34" charset="0"/>
                <a:ea typeface="+mj-ea"/>
                <a:cs typeface="+mj-cs"/>
              </a:defRPr>
            </a:lvl1pPr>
          </a:lstStyle>
          <a:p>
            <a:pPr>
              <a:spcBef>
                <a:spcPts val="0"/>
              </a:spcBef>
            </a:pPr>
            <a:r>
              <a:rPr lang="de-DE" sz="4600"/>
              <a:t>We are a team of innovators, explorers, creators and connectors.</a:t>
            </a:r>
          </a:p>
        </p:txBody>
      </p:sp>
      <p:sp>
        <p:nvSpPr>
          <p:cNvPr id="45" name="Title 2">
            <a:extLst>
              <a:ext uri="{FF2B5EF4-FFF2-40B4-BE49-F238E27FC236}">
                <a16:creationId xmlns:a16="http://schemas.microsoft.com/office/drawing/2014/main" id="{90F205B1-BDEE-CB5C-6A5B-79EB41EA6183}"/>
              </a:ext>
            </a:extLst>
          </p:cNvPr>
          <p:cNvSpPr>
            <a:spLocks noGrp="1"/>
          </p:cNvSpPr>
          <p:nvPr>
            <p:ph type="title"/>
          </p:nvPr>
        </p:nvSpPr>
        <p:spPr>
          <a:xfrm>
            <a:off x="1674702" y="820637"/>
            <a:ext cx="21033007" cy="1262651"/>
          </a:xfrm>
        </p:spPr>
        <p:txBody>
          <a:bodyPr/>
          <a:lstStyle/>
          <a:p>
            <a:r>
              <a:rPr lang="sv-SE"/>
              <a:t>Who we are </a:t>
            </a:r>
          </a:p>
        </p:txBody>
      </p:sp>
      <p:pic>
        <p:nvPicPr>
          <p:cNvPr id="3" name="Picture 2" descr="A person with a white shirt&#10;&#10;Description automatically generated">
            <a:extLst>
              <a:ext uri="{FF2B5EF4-FFF2-40B4-BE49-F238E27FC236}">
                <a16:creationId xmlns:a16="http://schemas.microsoft.com/office/drawing/2014/main" id="{2C63F3DC-53D0-3B9C-73A3-94223AEF11F0}"/>
              </a:ext>
            </a:extLst>
          </p:cNvPr>
          <p:cNvPicPr>
            <a:picLocks noChangeAspect="1"/>
          </p:cNvPicPr>
          <p:nvPr/>
        </p:nvPicPr>
        <p:blipFill rotWithShape="1">
          <a:blip r:embed="rId18">
            <a:grayscl/>
          </a:blip>
          <a:srcRect t="12888" b="26075"/>
          <a:stretch/>
        </p:blipFill>
        <p:spPr>
          <a:xfrm>
            <a:off x="5947947" y="5815318"/>
            <a:ext cx="2443343" cy="2651279"/>
          </a:xfrm>
          <a:prstGeom prst="ellipse">
            <a:avLst/>
          </a:prstGeom>
        </p:spPr>
      </p:pic>
      <p:pic>
        <p:nvPicPr>
          <p:cNvPr id="9" name="Picture 8" descr="A person with a beard&#10;&#10;Description automatically generated">
            <a:extLst>
              <a:ext uri="{FF2B5EF4-FFF2-40B4-BE49-F238E27FC236}">
                <a16:creationId xmlns:a16="http://schemas.microsoft.com/office/drawing/2014/main" id="{4408DC14-6BDA-BB96-D6EF-5CB81F0DFA9C}"/>
              </a:ext>
            </a:extLst>
          </p:cNvPr>
          <p:cNvPicPr>
            <a:picLocks noChangeAspect="1"/>
          </p:cNvPicPr>
          <p:nvPr/>
        </p:nvPicPr>
        <p:blipFill rotWithShape="1">
          <a:blip r:embed="rId19">
            <a:grayscl/>
          </a:blip>
          <a:srcRect b="23827"/>
          <a:stretch/>
        </p:blipFill>
        <p:spPr>
          <a:xfrm>
            <a:off x="1141763" y="6032625"/>
            <a:ext cx="2199951" cy="2507246"/>
          </a:xfrm>
          <a:prstGeom prst="ellipse">
            <a:avLst/>
          </a:prstGeom>
        </p:spPr>
      </p:pic>
      <p:pic>
        <p:nvPicPr>
          <p:cNvPr id="15" name="Picture 14" descr="A person with a beard&#10;&#10;Description automatically generated">
            <a:extLst>
              <a:ext uri="{FF2B5EF4-FFF2-40B4-BE49-F238E27FC236}">
                <a16:creationId xmlns:a16="http://schemas.microsoft.com/office/drawing/2014/main" id="{440E00CC-16E9-9361-570A-AE670043E199}"/>
              </a:ext>
            </a:extLst>
          </p:cNvPr>
          <p:cNvPicPr>
            <a:picLocks noChangeAspect="1"/>
          </p:cNvPicPr>
          <p:nvPr/>
        </p:nvPicPr>
        <p:blipFill>
          <a:blip r:embed="rId20"/>
          <a:stretch>
            <a:fillRect/>
          </a:stretch>
        </p:blipFill>
        <p:spPr>
          <a:xfrm>
            <a:off x="10820282" y="5507611"/>
            <a:ext cx="2797370" cy="2852979"/>
          </a:xfrm>
          <a:prstGeom prst="ellipse">
            <a:avLst/>
          </a:prstGeom>
        </p:spPr>
      </p:pic>
      <p:pic>
        <p:nvPicPr>
          <p:cNvPr id="22" name="Picture 21" descr="A person smiling at the camera&#10;&#10;Description automatically generated">
            <a:extLst>
              <a:ext uri="{FF2B5EF4-FFF2-40B4-BE49-F238E27FC236}">
                <a16:creationId xmlns:a16="http://schemas.microsoft.com/office/drawing/2014/main" id="{5204D5FC-17C0-3F15-9FA9-87C834B77A2B}"/>
              </a:ext>
            </a:extLst>
          </p:cNvPr>
          <p:cNvPicPr>
            <a:picLocks noChangeAspect="1"/>
          </p:cNvPicPr>
          <p:nvPr/>
        </p:nvPicPr>
        <p:blipFill>
          <a:blip r:embed="rId21">
            <a:grayscl/>
          </a:blip>
          <a:stretch>
            <a:fillRect/>
          </a:stretch>
        </p:blipFill>
        <p:spPr>
          <a:xfrm>
            <a:off x="19685844" y="2817578"/>
            <a:ext cx="2281888" cy="2540704"/>
          </a:xfrm>
          <a:prstGeom prst="ellipse">
            <a:avLst/>
          </a:prstGeom>
        </p:spPr>
      </p:pic>
      <p:pic>
        <p:nvPicPr>
          <p:cNvPr id="28" name="Picture 27" descr="A person with a mohawk haircut&#10;&#10;Description automatically generated">
            <a:extLst>
              <a:ext uri="{FF2B5EF4-FFF2-40B4-BE49-F238E27FC236}">
                <a16:creationId xmlns:a16="http://schemas.microsoft.com/office/drawing/2014/main" id="{0C73BD71-3BAA-0D7B-7C06-4A1CB255CE1C}"/>
              </a:ext>
            </a:extLst>
          </p:cNvPr>
          <p:cNvPicPr>
            <a:picLocks noChangeAspect="1"/>
          </p:cNvPicPr>
          <p:nvPr/>
        </p:nvPicPr>
        <p:blipFill rotWithShape="1">
          <a:blip r:embed="rId22"/>
          <a:srcRect l="5429" t="8168" r="4877" b="17637"/>
          <a:stretch/>
        </p:blipFill>
        <p:spPr>
          <a:xfrm>
            <a:off x="15590952" y="5837351"/>
            <a:ext cx="2280839" cy="2545395"/>
          </a:xfrm>
          <a:prstGeom prst="ellipse">
            <a:avLst/>
          </a:prstGeom>
        </p:spPr>
      </p:pic>
      <p:sp>
        <p:nvSpPr>
          <p:cNvPr id="32" name="Freeform 75">
            <a:extLst>
              <a:ext uri="{FF2B5EF4-FFF2-40B4-BE49-F238E27FC236}">
                <a16:creationId xmlns:a16="http://schemas.microsoft.com/office/drawing/2014/main" id="{4A09D38B-45A4-21BB-2473-38FDE1BDCA33}"/>
              </a:ext>
            </a:extLst>
          </p:cNvPr>
          <p:cNvSpPr>
            <a:spLocks/>
          </p:cNvSpPr>
          <p:nvPr/>
        </p:nvSpPr>
        <p:spPr bwMode="auto">
          <a:xfrm rot="3332146">
            <a:off x="19479736" y="2825420"/>
            <a:ext cx="2572953" cy="2425824"/>
          </a:xfrm>
          <a:custGeom>
            <a:avLst/>
            <a:gdLst>
              <a:gd name="T0" fmla="*/ 1215 w 1811"/>
              <a:gd name="T1" fmla="*/ 38 h 1419"/>
              <a:gd name="T2" fmla="*/ 646 w 1811"/>
              <a:gd name="T3" fmla="*/ 71 h 1419"/>
              <a:gd name="T4" fmla="*/ 440 w 1811"/>
              <a:gd name="T5" fmla="*/ 153 h 1419"/>
              <a:gd name="T6" fmla="*/ 196 w 1811"/>
              <a:gd name="T7" fmla="*/ 331 h 1419"/>
              <a:gd name="T8" fmla="*/ 10 w 1811"/>
              <a:gd name="T9" fmla="*/ 789 h 1419"/>
              <a:gd name="T10" fmla="*/ 11 w 1811"/>
              <a:gd name="T11" fmla="*/ 793 h 1419"/>
              <a:gd name="T12" fmla="*/ 13 w 1811"/>
              <a:gd name="T13" fmla="*/ 815 h 1419"/>
              <a:gd name="T14" fmla="*/ 92 w 1811"/>
              <a:gd name="T15" fmla="*/ 1018 h 1419"/>
              <a:gd name="T16" fmla="*/ 269 w 1811"/>
              <a:gd name="T17" fmla="*/ 1199 h 1419"/>
              <a:gd name="T18" fmla="*/ 566 w 1811"/>
              <a:gd name="T19" fmla="*/ 1347 h 1419"/>
              <a:gd name="T20" fmla="*/ 744 w 1811"/>
              <a:gd name="T21" fmla="*/ 1394 h 1419"/>
              <a:gd name="T22" fmla="*/ 964 w 1811"/>
              <a:gd name="T23" fmla="*/ 1418 h 1419"/>
              <a:gd name="T24" fmla="*/ 1396 w 1811"/>
              <a:gd name="T25" fmla="*/ 1337 h 1419"/>
              <a:gd name="T26" fmla="*/ 1600 w 1811"/>
              <a:gd name="T27" fmla="*/ 1188 h 1419"/>
              <a:gd name="T28" fmla="*/ 1793 w 1811"/>
              <a:gd name="T29" fmla="*/ 796 h 1419"/>
              <a:gd name="T30" fmla="*/ 1806 w 1811"/>
              <a:gd name="T31" fmla="*/ 736 h 1419"/>
              <a:gd name="T32" fmla="*/ 1805 w 1811"/>
              <a:gd name="T33" fmla="*/ 720 h 1419"/>
              <a:gd name="T34" fmla="*/ 1795 w 1811"/>
              <a:gd name="T35" fmla="*/ 718 h 1419"/>
              <a:gd name="T36" fmla="*/ 1778 w 1811"/>
              <a:gd name="T37" fmla="*/ 738 h 1419"/>
              <a:gd name="T38" fmla="*/ 1763 w 1811"/>
              <a:gd name="T39" fmla="*/ 818 h 1419"/>
              <a:gd name="T40" fmla="*/ 1719 w 1811"/>
              <a:gd name="T41" fmla="*/ 958 h 1419"/>
              <a:gd name="T42" fmla="*/ 1524 w 1811"/>
              <a:gd name="T43" fmla="*/ 1223 h 1419"/>
              <a:gd name="T44" fmla="*/ 1388 w 1811"/>
              <a:gd name="T45" fmla="*/ 1309 h 1419"/>
              <a:gd name="T46" fmla="*/ 992 w 1811"/>
              <a:gd name="T47" fmla="*/ 1395 h 1419"/>
              <a:gd name="T48" fmla="*/ 759 w 1811"/>
              <a:gd name="T49" fmla="*/ 1370 h 1419"/>
              <a:gd name="T50" fmla="*/ 561 w 1811"/>
              <a:gd name="T51" fmla="*/ 1315 h 1419"/>
              <a:gd name="T52" fmla="*/ 152 w 1811"/>
              <a:gd name="T53" fmla="*/ 1052 h 1419"/>
              <a:gd name="T54" fmla="*/ 36 w 1811"/>
              <a:gd name="T55" fmla="*/ 759 h 1419"/>
              <a:gd name="T56" fmla="*/ 206 w 1811"/>
              <a:gd name="T57" fmla="*/ 343 h 1419"/>
              <a:gd name="T58" fmla="*/ 288 w 1811"/>
              <a:gd name="T59" fmla="*/ 274 h 1419"/>
              <a:gd name="T60" fmla="*/ 537 w 1811"/>
              <a:gd name="T61" fmla="*/ 133 h 1419"/>
              <a:gd name="T62" fmla="*/ 1187 w 1811"/>
              <a:gd name="T63" fmla="*/ 59 h 1419"/>
              <a:gd name="T64" fmla="*/ 1218 w 1811"/>
              <a:gd name="T65" fmla="*/ 65 h 1419"/>
              <a:gd name="T66" fmla="*/ 1616 w 1811"/>
              <a:gd name="T67" fmla="*/ 273 h 1419"/>
              <a:gd name="T68" fmla="*/ 1772 w 1811"/>
              <a:gd name="T69" fmla="*/ 524 h 1419"/>
              <a:gd name="T70" fmla="*/ 1787 w 1811"/>
              <a:gd name="T71" fmla="*/ 627 h 1419"/>
              <a:gd name="T72" fmla="*/ 1768 w 1811"/>
              <a:gd name="T73" fmla="*/ 733 h 1419"/>
              <a:gd name="T74" fmla="*/ 1768 w 1811"/>
              <a:gd name="T75" fmla="*/ 739 h 1419"/>
              <a:gd name="T76" fmla="*/ 1789 w 1811"/>
              <a:gd name="T77" fmla="*/ 715 h 1419"/>
              <a:gd name="T78" fmla="*/ 1809 w 1811"/>
              <a:gd name="T79" fmla="*/ 626 h 1419"/>
              <a:gd name="T80" fmla="*/ 1811 w 1811"/>
              <a:gd name="T81" fmla="*/ 601 h 1419"/>
              <a:gd name="T82" fmla="*/ 1809 w 1811"/>
              <a:gd name="T83" fmla="*/ 569 h 1419"/>
              <a:gd name="T84" fmla="*/ 1793 w 1811"/>
              <a:gd name="T85" fmla="*/ 494 h 1419"/>
              <a:gd name="T86" fmla="*/ 1695 w 1811"/>
              <a:gd name="T87" fmla="*/ 314 h 1419"/>
              <a:gd name="T88" fmla="*/ 1440 w 1811"/>
              <a:gd name="T89" fmla="*/ 116 h 1419"/>
              <a:gd name="T90" fmla="*/ 1435 w 1811"/>
              <a:gd name="T91" fmla="*/ 113 h 1419"/>
              <a:gd name="T92" fmla="*/ 1215 w 1811"/>
              <a:gd name="T93" fmla="*/ 38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11" h="1419">
                <a:moveTo>
                  <a:pt x="1215" y="38"/>
                </a:moveTo>
                <a:cubicBezTo>
                  <a:pt x="1039" y="0"/>
                  <a:pt x="853" y="11"/>
                  <a:pt x="646" y="71"/>
                </a:cubicBezTo>
                <a:cubicBezTo>
                  <a:pt x="587" y="87"/>
                  <a:pt x="522" y="114"/>
                  <a:pt x="440" y="153"/>
                </a:cubicBezTo>
                <a:cubicBezTo>
                  <a:pt x="351" y="197"/>
                  <a:pt x="271" y="255"/>
                  <a:pt x="196" y="331"/>
                </a:cubicBezTo>
                <a:cubicBezTo>
                  <a:pt x="69" y="460"/>
                  <a:pt x="0" y="631"/>
                  <a:pt x="10" y="789"/>
                </a:cubicBezTo>
                <a:cubicBezTo>
                  <a:pt x="11" y="793"/>
                  <a:pt x="11" y="793"/>
                  <a:pt x="11" y="793"/>
                </a:cubicBezTo>
                <a:cubicBezTo>
                  <a:pt x="11" y="801"/>
                  <a:pt x="12" y="808"/>
                  <a:pt x="13" y="815"/>
                </a:cubicBezTo>
                <a:cubicBezTo>
                  <a:pt x="28" y="912"/>
                  <a:pt x="57" y="964"/>
                  <a:pt x="92" y="1018"/>
                </a:cubicBezTo>
                <a:cubicBezTo>
                  <a:pt x="143" y="1101"/>
                  <a:pt x="210" y="1156"/>
                  <a:pt x="269" y="1199"/>
                </a:cubicBezTo>
                <a:cubicBezTo>
                  <a:pt x="366" y="1269"/>
                  <a:pt x="463" y="1318"/>
                  <a:pt x="566" y="1347"/>
                </a:cubicBezTo>
                <a:cubicBezTo>
                  <a:pt x="619" y="1363"/>
                  <a:pt x="681" y="1380"/>
                  <a:pt x="744" y="1394"/>
                </a:cubicBezTo>
                <a:cubicBezTo>
                  <a:pt x="823" y="1411"/>
                  <a:pt x="895" y="1419"/>
                  <a:pt x="964" y="1418"/>
                </a:cubicBezTo>
                <a:cubicBezTo>
                  <a:pt x="1124" y="1418"/>
                  <a:pt x="1258" y="1407"/>
                  <a:pt x="1396" y="1337"/>
                </a:cubicBezTo>
                <a:cubicBezTo>
                  <a:pt x="1467" y="1300"/>
                  <a:pt x="1534" y="1252"/>
                  <a:pt x="1600" y="1188"/>
                </a:cubicBezTo>
                <a:cubicBezTo>
                  <a:pt x="1716" y="1077"/>
                  <a:pt x="1759" y="934"/>
                  <a:pt x="1793" y="796"/>
                </a:cubicBezTo>
                <a:cubicBezTo>
                  <a:pt x="1793" y="793"/>
                  <a:pt x="1805" y="738"/>
                  <a:pt x="1806" y="736"/>
                </a:cubicBezTo>
                <a:cubicBezTo>
                  <a:pt x="1807" y="730"/>
                  <a:pt x="1807" y="724"/>
                  <a:pt x="1805" y="720"/>
                </a:cubicBezTo>
                <a:cubicBezTo>
                  <a:pt x="1802" y="717"/>
                  <a:pt x="1799" y="716"/>
                  <a:pt x="1795" y="718"/>
                </a:cubicBezTo>
                <a:cubicBezTo>
                  <a:pt x="1787" y="722"/>
                  <a:pt x="1782" y="728"/>
                  <a:pt x="1778" y="738"/>
                </a:cubicBezTo>
                <a:cubicBezTo>
                  <a:pt x="1776" y="744"/>
                  <a:pt x="1766" y="810"/>
                  <a:pt x="1763" y="818"/>
                </a:cubicBezTo>
                <a:cubicBezTo>
                  <a:pt x="1745" y="882"/>
                  <a:pt x="1736" y="907"/>
                  <a:pt x="1719" y="958"/>
                </a:cubicBezTo>
                <a:cubicBezTo>
                  <a:pt x="1680" y="1077"/>
                  <a:pt x="1587" y="1176"/>
                  <a:pt x="1524" y="1223"/>
                </a:cubicBezTo>
                <a:cubicBezTo>
                  <a:pt x="1476" y="1259"/>
                  <a:pt x="1451" y="1276"/>
                  <a:pt x="1388" y="1309"/>
                </a:cubicBezTo>
                <a:cubicBezTo>
                  <a:pt x="1265" y="1372"/>
                  <a:pt x="1140" y="1395"/>
                  <a:pt x="992" y="1395"/>
                </a:cubicBezTo>
                <a:cubicBezTo>
                  <a:pt x="918" y="1395"/>
                  <a:pt x="841" y="1387"/>
                  <a:pt x="759" y="1370"/>
                </a:cubicBezTo>
                <a:cubicBezTo>
                  <a:pt x="700" y="1357"/>
                  <a:pt x="639" y="1340"/>
                  <a:pt x="561" y="1315"/>
                </a:cubicBezTo>
                <a:cubicBezTo>
                  <a:pt x="406" y="1266"/>
                  <a:pt x="270" y="1182"/>
                  <a:pt x="152" y="1052"/>
                </a:cubicBezTo>
                <a:cubicBezTo>
                  <a:pt x="89" y="984"/>
                  <a:pt x="49" y="881"/>
                  <a:pt x="36" y="759"/>
                </a:cubicBezTo>
                <a:cubicBezTo>
                  <a:pt x="22" y="618"/>
                  <a:pt x="87" y="459"/>
                  <a:pt x="206" y="343"/>
                </a:cubicBezTo>
                <a:cubicBezTo>
                  <a:pt x="234" y="316"/>
                  <a:pt x="263" y="293"/>
                  <a:pt x="288" y="274"/>
                </a:cubicBezTo>
                <a:cubicBezTo>
                  <a:pt x="368" y="212"/>
                  <a:pt x="449" y="166"/>
                  <a:pt x="537" y="133"/>
                </a:cubicBezTo>
                <a:cubicBezTo>
                  <a:pt x="761" y="51"/>
                  <a:pt x="974" y="23"/>
                  <a:pt x="1187" y="59"/>
                </a:cubicBezTo>
                <a:cubicBezTo>
                  <a:pt x="1197" y="61"/>
                  <a:pt x="1208" y="63"/>
                  <a:pt x="1218" y="65"/>
                </a:cubicBezTo>
                <a:cubicBezTo>
                  <a:pt x="1353" y="93"/>
                  <a:pt x="1484" y="162"/>
                  <a:pt x="1616" y="273"/>
                </a:cubicBezTo>
                <a:cubicBezTo>
                  <a:pt x="1692" y="338"/>
                  <a:pt x="1742" y="423"/>
                  <a:pt x="1772" y="524"/>
                </a:cubicBezTo>
                <a:cubicBezTo>
                  <a:pt x="1782" y="557"/>
                  <a:pt x="1786" y="568"/>
                  <a:pt x="1787" y="627"/>
                </a:cubicBezTo>
                <a:cubicBezTo>
                  <a:pt x="1787" y="665"/>
                  <a:pt x="1770" y="721"/>
                  <a:pt x="1768" y="733"/>
                </a:cubicBezTo>
                <a:cubicBezTo>
                  <a:pt x="1768" y="735"/>
                  <a:pt x="1768" y="737"/>
                  <a:pt x="1768" y="739"/>
                </a:cubicBezTo>
                <a:cubicBezTo>
                  <a:pt x="1776" y="731"/>
                  <a:pt x="1784" y="724"/>
                  <a:pt x="1789" y="715"/>
                </a:cubicBezTo>
                <a:cubicBezTo>
                  <a:pt x="1791" y="711"/>
                  <a:pt x="1807" y="662"/>
                  <a:pt x="1809" y="626"/>
                </a:cubicBezTo>
                <a:cubicBezTo>
                  <a:pt x="1809" y="617"/>
                  <a:pt x="1811" y="608"/>
                  <a:pt x="1811" y="601"/>
                </a:cubicBezTo>
                <a:cubicBezTo>
                  <a:pt x="1809" y="569"/>
                  <a:pt x="1809" y="569"/>
                  <a:pt x="1809" y="569"/>
                </a:cubicBezTo>
                <a:cubicBezTo>
                  <a:pt x="1806" y="535"/>
                  <a:pt x="1802" y="522"/>
                  <a:pt x="1793" y="494"/>
                </a:cubicBezTo>
                <a:cubicBezTo>
                  <a:pt x="1771" y="425"/>
                  <a:pt x="1738" y="364"/>
                  <a:pt x="1695" y="314"/>
                </a:cubicBezTo>
                <a:cubicBezTo>
                  <a:pt x="1619" y="224"/>
                  <a:pt x="1524" y="166"/>
                  <a:pt x="1440" y="116"/>
                </a:cubicBezTo>
                <a:cubicBezTo>
                  <a:pt x="1435" y="113"/>
                  <a:pt x="1435" y="113"/>
                  <a:pt x="1435" y="113"/>
                </a:cubicBezTo>
                <a:cubicBezTo>
                  <a:pt x="1364" y="79"/>
                  <a:pt x="1290" y="54"/>
                  <a:pt x="1215" y="38"/>
                </a:cubicBezTo>
                <a:close/>
              </a:path>
            </a:pathLst>
          </a:custGeom>
          <a:solidFill>
            <a:srgbClr val="F06A11"/>
          </a:solidFill>
          <a:ln>
            <a:solidFill>
              <a:srgbClr val="FF9933"/>
            </a:solidFill>
          </a:ln>
        </p:spPr>
        <p:txBody>
          <a:bodyPr vert="horz" wrap="square" lIns="182868" tIns="91434" rIns="182868" bIns="91434" numCol="1" anchor="t" anchorCtr="0" compatLnSpc="1">
            <a:prstTxWarp prst="textNoShape">
              <a:avLst/>
            </a:prstTxWarp>
          </a:bodyPr>
          <a:lstStyle/>
          <a:p>
            <a:pPr defTabSz="1828709"/>
            <a:endParaRPr lang="en-GB" sz="2000">
              <a:solidFill>
                <a:srgbClr val="000000"/>
              </a:solidFill>
            </a:endParaRPr>
          </a:p>
        </p:txBody>
      </p:sp>
      <p:sp>
        <p:nvSpPr>
          <p:cNvPr id="39" name="Freeform 75">
            <a:extLst>
              <a:ext uri="{FF2B5EF4-FFF2-40B4-BE49-F238E27FC236}">
                <a16:creationId xmlns:a16="http://schemas.microsoft.com/office/drawing/2014/main" id="{404AE467-F746-D41F-A8E6-B1ACF3BF8671}"/>
              </a:ext>
            </a:extLst>
          </p:cNvPr>
          <p:cNvSpPr>
            <a:spLocks/>
          </p:cNvSpPr>
          <p:nvPr/>
        </p:nvSpPr>
        <p:spPr bwMode="auto">
          <a:xfrm>
            <a:off x="10820280" y="5667118"/>
            <a:ext cx="2599123" cy="2756533"/>
          </a:xfrm>
          <a:custGeom>
            <a:avLst/>
            <a:gdLst>
              <a:gd name="T0" fmla="*/ 1215 w 1811"/>
              <a:gd name="T1" fmla="*/ 38 h 1419"/>
              <a:gd name="T2" fmla="*/ 646 w 1811"/>
              <a:gd name="T3" fmla="*/ 71 h 1419"/>
              <a:gd name="T4" fmla="*/ 440 w 1811"/>
              <a:gd name="T5" fmla="*/ 153 h 1419"/>
              <a:gd name="T6" fmla="*/ 196 w 1811"/>
              <a:gd name="T7" fmla="*/ 331 h 1419"/>
              <a:gd name="T8" fmla="*/ 10 w 1811"/>
              <a:gd name="T9" fmla="*/ 789 h 1419"/>
              <a:gd name="T10" fmla="*/ 11 w 1811"/>
              <a:gd name="T11" fmla="*/ 793 h 1419"/>
              <a:gd name="T12" fmla="*/ 13 w 1811"/>
              <a:gd name="T13" fmla="*/ 815 h 1419"/>
              <a:gd name="T14" fmla="*/ 92 w 1811"/>
              <a:gd name="T15" fmla="*/ 1018 h 1419"/>
              <a:gd name="T16" fmla="*/ 269 w 1811"/>
              <a:gd name="T17" fmla="*/ 1199 h 1419"/>
              <a:gd name="T18" fmla="*/ 566 w 1811"/>
              <a:gd name="T19" fmla="*/ 1347 h 1419"/>
              <a:gd name="T20" fmla="*/ 744 w 1811"/>
              <a:gd name="T21" fmla="*/ 1394 h 1419"/>
              <a:gd name="T22" fmla="*/ 964 w 1811"/>
              <a:gd name="T23" fmla="*/ 1418 h 1419"/>
              <a:gd name="T24" fmla="*/ 1396 w 1811"/>
              <a:gd name="T25" fmla="*/ 1337 h 1419"/>
              <a:gd name="T26" fmla="*/ 1600 w 1811"/>
              <a:gd name="T27" fmla="*/ 1188 h 1419"/>
              <a:gd name="T28" fmla="*/ 1793 w 1811"/>
              <a:gd name="T29" fmla="*/ 796 h 1419"/>
              <a:gd name="T30" fmla="*/ 1806 w 1811"/>
              <a:gd name="T31" fmla="*/ 736 h 1419"/>
              <a:gd name="T32" fmla="*/ 1805 w 1811"/>
              <a:gd name="T33" fmla="*/ 720 h 1419"/>
              <a:gd name="T34" fmla="*/ 1795 w 1811"/>
              <a:gd name="T35" fmla="*/ 718 h 1419"/>
              <a:gd name="T36" fmla="*/ 1778 w 1811"/>
              <a:gd name="T37" fmla="*/ 738 h 1419"/>
              <a:gd name="T38" fmla="*/ 1763 w 1811"/>
              <a:gd name="T39" fmla="*/ 818 h 1419"/>
              <a:gd name="T40" fmla="*/ 1719 w 1811"/>
              <a:gd name="T41" fmla="*/ 958 h 1419"/>
              <a:gd name="T42" fmla="*/ 1524 w 1811"/>
              <a:gd name="T43" fmla="*/ 1223 h 1419"/>
              <a:gd name="T44" fmla="*/ 1388 w 1811"/>
              <a:gd name="T45" fmla="*/ 1309 h 1419"/>
              <a:gd name="T46" fmla="*/ 992 w 1811"/>
              <a:gd name="T47" fmla="*/ 1395 h 1419"/>
              <a:gd name="T48" fmla="*/ 759 w 1811"/>
              <a:gd name="T49" fmla="*/ 1370 h 1419"/>
              <a:gd name="T50" fmla="*/ 561 w 1811"/>
              <a:gd name="T51" fmla="*/ 1315 h 1419"/>
              <a:gd name="T52" fmla="*/ 152 w 1811"/>
              <a:gd name="T53" fmla="*/ 1052 h 1419"/>
              <a:gd name="T54" fmla="*/ 36 w 1811"/>
              <a:gd name="T55" fmla="*/ 759 h 1419"/>
              <a:gd name="T56" fmla="*/ 206 w 1811"/>
              <a:gd name="T57" fmla="*/ 343 h 1419"/>
              <a:gd name="T58" fmla="*/ 288 w 1811"/>
              <a:gd name="T59" fmla="*/ 274 h 1419"/>
              <a:gd name="T60" fmla="*/ 537 w 1811"/>
              <a:gd name="T61" fmla="*/ 133 h 1419"/>
              <a:gd name="T62" fmla="*/ 1187 w 1811"/>
              <a:gd name="T63" fmla="*/ 59 h 1419"/>
              <a:gd name="T64" fmla="*/ 1218 w 1811"/>
              <a:gd name="T65" fmla="*/ 65 h 1419"/>
              <a:gd name="T66" fmla="*/ 1616 w 1811"/>
              <a:gd name="T67" fmla="*/ 273 h 1419"/>
              <a:gd name="T68" fmla="*/ 1772 w 1811"/>
              <a:gd name="T69" fmla="*/ 524 h 1419"/>
              <a:gd name="T70" fmla="*/ 1787 w 1811"/>
              <a:gd name="T71" fmla="*/ 627 h 1419"/>
              <a:gd name="T72" fmla="*/ 1768 w 1811"/>
              <a:gd name="T73" fmla="*/ 733 h 1419"/>
              <a:gd name="T74" fmla="*/ 1768 w 1811"/>
              <a:gd name="T75" fmla="*/ 739 h 1419"/>
              <a:gd name="T76" fmla="*/ 1789 w 1811"/>
              <a:gd name="T77" fmla="*/ 715 h 1419"/>
              <a:gd name="T78" fmla="*/ 1809 w 1811"/>
              <a:gd name="T79" fmla="*/ 626 h 1419"/>
              <a:gd name="T80" fmla="*/ 1811 w 1811"/>
              <a:gd name="T81" fmla="*/ 601 h 1419"/>
              <a:gd name="T82" fmla="*/ 1809 w 1811"/>
              <a:gd name="T83" fmla="*/ 569 h 1419"/>
              <a:gd name="T84" fmla="*/ 1793 w 1811"/>
              <a:gd name="T85" fmla="*/ 494 h 1419"/>
              <a:gd name="T86" fmla="*/ 1695 w 1811"/>
              <a:gd name="T87" fmla="*/ 314 h 1419"/>
              <a:gd name="T88" fmla="*/ 1440 w 1811"/>
              <a:gd name="T89" fmla="*/ 116 h 1419"/>
              <a:gd name="T90" fmla="*/ 1435 w 1811"/>
              <a:gd name="T91" fmla="*/ 113 h 1419"/>
              <a:gd name="T92" fmla="*/ 1215 w 1811"/>
              <a:gd name="T93" fmla="*/ 38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11" h="1419">
                <a:moveTo>
                  <a:pt x="1215" y="38"/>
                </a:moveTo>
                <a:cubicBezTo>
                  <a:pt x="1039" y="0"/>
                  <a:pt x="853" y="11"/>
                  <a:pt x="646" y="71"/>
                </a:cubicBezTo>
                <a:cubicBezTo>
                  <a:pt x="587" y="87"/>
                  <a:pt x="522" y="114"/>
                  <a:pt x="440" y="153"/>
                </a:cubicBezTo>
                <a:cubicBezTo>
                  <a:pt x="351" y="197"/>
                  <a:pt x="271" y="255"/>
                  <a:pt x="196" y="331"/>
                </a:cubicBezTo>
                <a:cubicBezTo>
                  <a:pt x="69" y="460"/>
                  <a:pt x="0" y="631"/>
                  <a:pt x="10" y="789"/>
                </a:cubicBezTo>
                <a:cubicBezTo>
                  <a:pt x="11" y="793"/>
                  <a:pt x="11" y="793"/>
                  <a:pt x="11" y="793"/>
                </a:cubicBezTo>
                <a:cubicBezTo>
                  <a:pt x="11" y="801"/>
                  <a:pt x="12" y="808"/>
                  <a:pt x="13" y="815"/>
                </a:cubicBezTo>
                <a:cubicBezTo>
                  <a:pt x="28" y="912"/>
                  <a:pt x="57" y="964"/>
                  <a:pt x="92" y="1018"/>
                </a:cubicBezTo>
                <a:cubicBezTo>
                  <a:pt x="143" y="1101"/>
                  <a:pt x="210" y="1156"/>
                  <a:pt x="269" y="1199"/>
                </a:cubicBezTo>
                <a:cubicBezTo>
                  <a:pt x="366" y="1269"/>
                  <a:pt x="463" y="1318"/>
                  <a:pt x="566" y="1347"/>
                </a:cubicBezTo>
                <a:cubicBezTo>
                  <a:pt x="619" y="1363"/>
                  <a:pt x="681" y="1380"/>
                  <a:pt x="744" y="1394"/>
                </a:cubicBezTo>
                <a:cubicBezTo>
                  <a:pt x="823" y="1411"/>
                  <a:pt x="895" y="1419"/>
                  <a:pt x="964" y="1418"/>
                </a:cubicBezTo>
                <a:cubicBezTo>
                  <a:pt x="1124" y="1418"/>
                  <a:pt x="1258" y="1407"/>
                  <a:pt x="1396" y="1337"/>
                </a:cubicBezTo>
                <a:cubicBezTo>
                  <a:pt x="1467" y="1300"/>
                  <a:pt x="1534" y="1252"/>
                  <a:pt x="1600" y="1188"/>
                </a:cubicBezTo>
                <a:cubicBezTo>
                  <a:pt x="1716" y="1077"/>
                  <a:pt x="1759" y="934"/>
                  <a:pt x="1793" y="796"/>
                </a:cubicBezTo>
                <a:cubicBezTo>
                  <a:pt x="1793" y="793"/>
                  <a:pt x="1805" y="738"/>
                  <a:pt x="1806" y="736"/>
                </a:cubicBezTo>
                <a:cubicBezTo>
                  <a:pt x="1807" y="730"/>
                  <a:pt x="1807" y="724"/>
                  <a:pt x="1805" y="720"/>
                </a:cubicBezTo>
                <a:cubicBezTo>
                  <a:pt x="1802" y="717"/>
                  <a:pt x="1799" y="716"/>
                  <a:pt x="1795" y="718"/>
                </a:cubicBezTo>
                <a:cubicBezTo>
                  <a:pt x="1787" y="722"/>
                  <a:pt x="1782" y="728"/>
                  <a:pt x="1778" y="738"/>
                </a:cubicBezTo>
                <a:cubicBezTo>
                  <a:pt x="1776" y="744"/>
                  <a:pt x="1766" y="810"/>
                  <a:pt x="1763" y="818"/>
                </a:cubicBezTo>
                <a:cubicBezTo>
                  <a:pt x="1745" y="882"/>
                  <a:pt x="1736" y="907"/>
                  <a:pt x="1719" y="958"/>
                </a:cubicBezTo>
                <a:cubicBezTo>
                  <a:pt x="1680" y="1077"/>
                  <a:pt x="1587" y="1176"/>
                  <a:pt x="1524" y="1223"/>
                </a:cubicBezTo>
                <a:cubicBezTo>
                  <a:pt x="1476" y="1259"/>
                  <a:pt x="1451" y="1276"/>
                  <a:pt x="1388" y="1309"/>
                </a:cubicBezTo>
                <a:cubicBezTo>
                  <a:pt x="1265" y="1372"/>
                  <a:pt x="1140" y="1395"/>
                  <a:pt x="992" y="1395"/>
                </a:cubicBezTo>
                <a:cubicBezTo>
                  <a:pt x="918" y="1395"/>
                  <a:pt x="841" y="1387"/>
                  <a:pt x="759" y="1370"/>
                </a:cubicBezTo>
                <a:cubicBezTo>
                  <a:pt x="700" y="1357"/>
                  <a:pt x="639" y="1340"/>
                  <a:pt x="561" y="1315"/>
                </a:cubicBezTo>
                <a:cubicBezTo>
                  <a:pt x="406" y="1266"/>
                  <a:pt x="270" y="1182"/>
                  <a:pt x="152" y="1052"/>
                </a:cubicBezTo>
                <a:cubicBezTo>
                  <a:pt x="89" y="984"/>
                  <a:pt x="49" y="881"/>
                  <a:pt x="36" y="759"/>
                </a:cubicBezTo>
                <a:cubicBezTo>
                  <a:pt x="22" y="618"/>
                  <a:pt x="87" y="459"/>
                  <a:pt x="206" y="343"/>
                </a:cubicBezTo>
                <a:cubicBezTo>
                  <a:pt x="234" y="316"/>
                  <a:pt x="263" y="293"/>
                  <a:pt x="288" y="274"/>
                </a:cubicBezTo>
                <a:cubicBezTo>
                  <a:pt x="368" y="212"/>
                  <a:pt x="449" y="166"/>
                  <a:pt x="537" y="133"/>
                </a:cubicBezTo>
                <a:cubicBezTo>
                  <a:pt x="761" y="51"/>
                  <a:pt x="974" y="23"/>
                  <a:pt x="1187" y="59"/>
                </a:cubicBezTo>
                <a:cubicBezTo>
                  <a:pt x="1197" y="61"/>
                  <a:pt x="1208" y="63"/>
                  <a:pt x="1218" y="65"/>
                </a:cubicBezTo>
                <a:cubicBezTo>
                  <a:pt x="1353" y="93"/>
                  <a:pt x="1484" y="162"/>
                  <a:pt x="1616" y="273"/>
                </a:cubicBezTo>
                <a:cubicBezTo>
                  <a:pt x="1692" y="338"/>
                  <a:pt x="1742" y="423"/>
                  <a:pt x="1772" y="524"/>
                </a:cubicBezTo>
                <a:cubicBezTo>
                  <a:pt x="1782" y="557"/>
                  <a:pt x="1786" y="568"/>
                  <a:pt x="1787" y="627"/>
                </a:cubicBezTo>
                <a:cubicBezTo>
                  <a:pt x="1787" y="665"/>
                  <a:pt x="1770" y="721"/>
                  <a:pt x="1768" y="733"/>
                </a:cubicBezTo>
                <a:cubicBezTo>
                  <a:pt x="1768" y="735"/>
                  <a:pt x="1768" y="737"/>
                  <a:pt x="1768" y="739"/>
                </a:cubicBezTo>
                <a:cubicBezTo>
                  <a:pt x="1776" y="731"/>
                  <a:pt x="1784" y="724"/>
                  <a:pt x="1789" y="715"/>
                </a:cubicBezTo>
                <a:cubicBezTo>
                  <a:pt x="1791" y="711"/>
                  <a:pt x="1807" y="662"/>
                  <a:pt x="1809" y="626"/>
                </a:cubicBezTo>
                <a:cubicBezTo>
                  <a:pt x="1809" y="617"/>
                  <a:pt x="1811" y="608"/>
                  <a:pt x="1811" y="601"/>
                </a:cubicBezTo>
                <a:cubicBezTo>
                  <a:pt x="1809" y="569"/>
                  <a:pt x="1809" y="569"/>
                  <a:pt x="1809" y="569"/>
                </a:cubicBezTo>
                <a:cubicBezTo>
                  <a:pt x="1806" y="535"/>
                  <a:pt x="1802" y="522"/>
                  <a:pt x="1793" y="494"/>
                </a:cubicBezTo>
                <a:cubicBezTo>
                  <a:pt x="1771" y="425"/>
                  <a:pt x="1738" y="364"/>
                  <a:pt x="1695" y="314"/>
                </a:cubicBezTo>
                <a:cubicBezTo>
                  <a:pt x="1619" y="224"/>
                  <a:pt x="1524" y="166"/>
                  <a:pt x="1440" y="116"/>
                </a:cubicBezTo>
                <a:cubicBezTo>
                  <a:pt x="1435" y="113"/>
                  <a:pt x="1435" y="113"/>
                  <a:pt x="1435" y="113"/>
                </a:cubicBezTo>
                <a:cubicBezTo>
                  <a:pt x="1364" y="79"/>
                  <a:pt x="1290" y="54"/>
                  <a:pt x="1215" y="38"/>
                </a:cubicBezTo>
                <a:close/>
              </a:path>
            </a:pathLst>
          </a:custGeom>
          <a:solidFill>
            <a:srgbClr val="F06A11"/>
          </a:solidFill>
          <a:ln>
            <a:solidFill>
              <a:srgbClr val="FF9933"/>
            </a:solidFill>
          </a:ln>
        </p:spPr>
        <p:txBody>
          <a:bodyPr vert="horz" wrap="square" lIns="182868" tIns="91434" rIns="182868" bIns="91434" numCol="1" anchor="t" anchorCtr="0" compatLnSpc="1">
            <a:prstTxWarp prst="textNoShape">
              <a:avLst/>
            </a:prstTxWarp>
          </a:bodyPr>
          <a:lstStyle/>
          <a:p>
            <a:pPr defTabSz="1828709"/>
            <a:endParaRPr lang="en-GB" sz="2000">
              <a:solidFill>
                <a:srgbClr val="000000"/>
              </a:solidFill>
            </a:endParaRPr>
          </a:p>
        </p:txBody>
      </p:sp>
      <p:sp>
        <p:nvSpPr>
          <p:cNvPr id="43" name="Freeform 75">
            <a:extLst>
              <a:ext uri="{FF2B5EF4-FFF2-40B4-BE49-F238E27FC236}">
                <a16:creationId xmlns:a16="http://schemas.microsoft.com/office/drawing/2014/main" id="{03876494-F2DC-E1BA-2D5E-ABC8D9C82490}"/>
              </a:ext>
            </a:extLst>
          </p:cNvPr>
          <p:cNvSpPr>
            <a:spLocks/>
          </p:cNvSpPr>
          <p:nvPr/>
        </p:nvSpPr>
        <p:spPr bwMode="auto">
          <a:xfrm>
            <a:off x="15489960" y="5745856"/>
            <a:ext cx="2381832" cy="2705001"/>
          </a:xfrm>
          <a:custGeom>
            <a:avLst/>
            <a:gdLst>
              <a:gd name="T0" fmla="*/ 1215 w 1811"/>
              <a:gd name="T1" fmla="*/ 38 h 1419"/>
              <a:gd name="T2" fmla="*/ 646 w 1811"/>
              <a:gd name="T3" fmla="*/ 71 h 1419"/>
              <a:gd name="T4" fmla="*/ 440 w 1811"/>
              <a:gd name="T5" fmla="*/ 153 h 1419"/>
              <a:gd name="T6" fmla="*/ 196 w 1811"/>
              <a:gd name="T7" fmla="*/ 331 h 1419"/>
              <a:gd name="T8" fmla="*/ 10 w 1811"/>
              <a:gd name="T9" fmla="*/ 789 h 1419"/>
              <a:gd name="T10" fmla="*/ 11 w 1811"/>
              <a:gd name="T11" fmla="*/ 793 h 1419"/>
              <a:gd name="T12" fmla="*/ 13 w 1811"/>
              <a:gd name="T13" fmla="*/ 815 h 1419"/>
              <a:gd name="T14" fmla="*/ 92 w 1811"/>
              <a:gd name="T15" fmla="*/ 1018 h 1419"/>
              <a:gd name="T16" fmla="*/ 269 w 1811"/>
              <a:gd name="T17" fmla="*/ 1199 h 1419"/>
              <a:gd name="T18" fmla="*/ 566 w 1811"/>
              <a:gd name="T19" fmla="*/ 1347 h 1419"/>
              <a:gd name="T20" fmla="*/ 744 w 1811"/>
              <a:gd name="T21" fmla="*/ 1394 h 1419"/>
              <a:gd name="T22" fmla="*/ 964 w 1811"/>
              <a:gd name="T23" fmla="*/ 1418 h 1419"/>
              <a:gd name="T24" fmla="*/ 1396 w 1811"/>
              <a:gd name="T25" fmla="*/ 1337 h 1419"/>
              <a:gd name="T26" fmla="*/ 1600 w 1811"/>
              <a:gd name="T27" fmla="*/ 1188 h 1419"/>
              <a:gd name="T28" fmla="*/ 1793 w 1811"/>
              <a:gd name="T29" fmla="*/ 796 h 1419"/>
              <a:gd name="T30" fmla="*/ 1806 w 1811"/>
              <a:gd name="T31" fmla="*/ 736 h 1419"/>
              <a:gd name="T32" fmla="*/ 1805 w 1811"/>
              <a:gd name="T33" fmla="*/ 720 h 1419"/>
              <a:gd name="T34" fmla="*/ 1795 w 1811"/>
              <a:gd name="T35" fmla="*/ 718 h 1419"/>
              <a:gd name="T36" fmla="*/ 1778 w 1811"/>
              <a:gd name="T37" fmla="*/ 738 h 1419"/>
              <a:gd name="T38" fmla="*/ 1763 w 1811"/>
              <a:gd name="T39" fmla="*/ 818 h 1419"/>
              <a:gd name="T40" fmla="*/ 1719 w 1811"/>
              <a:gd name="T41" fmla="*/ 958 h 1419"/>
              <a:gd name="T42" fmla="*/ 1524 w 1811"/>
              <a:gd name="T43" fmla="*/ 1223 h 1419"/>
              <a:gd name="T44" fmla="*/ 1388 w 1811"/>
              <a:gd name="T45" fmla="*/ 1309 h 1419"/>
              <a:gd name="T46" fmla="*/ 992 w 1811"/>
              <a:gd name="T47" fmla="*/ 1395 h 1419"/>
              <a:gd name="T48" fmla="*/ 759 w 1811"/>
              <a:gd name="T49" fmla="*/ 1370 h 1419"/>
              <a:gd name="T50" fmla="*/ 561 w 1811"/>
              <a:gd name="T51" fmla="*/ 1315 h 1419"/>
              <a:gd name="T52" fmla="*/ 152 w 1811"/>
              <a:gd name="T53" fmla="*/ 1052 h 1419"/>
              <a:gd name="T54" fmla="*/ 36 w 1811"/>
              <a:gd name="T55" fmla="*/ 759 h 1419"/>
              <a:gd name="T56" fmla="*/ 206 w 1811"/>
              <a:gd name="T57" fmla="*/ 343 h 1419"/>
              <a:gd name="T58" fmla="*/ 288 w 1811"/>
              <a:gd name="T59" fmla="*/ 274 h 1419"/>
              <a:gd name="T60" fmla="*/ 537 w 1811"/>
              <a:gd name="T61" fmla="*/ 133 h 1419"/>
              <a:gd name="T62" fmla="*/ 1187 w 1811"/>
              <a:gd name="T63" fmla="*/ 59 h 1419"/>
              <a:gd name="T64" fmla="*/ 1218 w 1811"/>
              <a:gd name="T65" fmla="*/ 65 h 1419"/>
              <a:gd name="T66" fmla="*/ 1616 w 1811"/>
              <a:gd name="T67" fmla="*/ 273 h 1419"/>
              <a:gd name="T68" fmla="*/ 1772 w 1811"/>
              <a:gd name="T69" fmla="*/ 524 h 1419"/>
              <a:gd name="T70" fmla="*/ 1787 w 1811"/>
              <a:gd name="T71" fmla="*/ 627 h 1419"/>
              <a:gd name="T72" fmla="*/ 1768 w 1811"/>
              <a:gd name="T73" fmla="*/ 733 h 1419"/>
              <a:gd name="T74" fmla="*/ 1768 w 1811"/>
              <a:gd name="T75" fmla="*/ 739 h 1419"/>
              <a:gd name="T76" fmla="*/ 1789 w 1811"/>
              <a:gd name="T77" fmla="*/ 715 h 1419"/>
              <a:gd name="T78" fmla="*/ 1809 w 1811"/>
              <a:gd name="T79" fmla="*/ 626 h 1419"/>
              <a:gd name="T80" fmla="*/ 1811 w 1811"/>
              <a:gd name="T81" fmla="*/ 601 h 1419"/>
              <a:gd name="T82" fmla="*/ 1809 w 1811"/>
              <a:gd name="T83" fmla="*/ 569 h 1419"/>
              <a:gd name="T84" fmla="*/ 1793 w 1811"/>
              <a:gd name="T85" fmla="*/ 494 h 1419"/>
              <a:gd name="T86" fmla="*/ 1695 w 1811"/>
              <a:gd name="T87" fmla="*/ 314 h 1419"/>
              <a:gd name="T88" fmla="*/ 1440 w 1811"/>
              <a:gd name="T89" fmla="*/ 116 h 1419"/>
              <a:gd name="T90" fmla="*/ 1435 w 1811"/>
              <a:gd name="T91" fmla="*/ 113 h 1419"/>
              <a:gd name="T92" fmla="*/ 1215 w 1811"/>
              <a:gd name="T93" fmla="*/ 38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11" h="1419">
                <a:moveTo>
                  <a:pt x="1215" y="38"/>
                </a:moveTo>
                <a:cubicBezTo>
                  <a:pt x="1039" y="0"/>
                  <a:pt x="853" y="11"/>
                  <a:pt x="646" y="71"/>
                </a:cubicBezTo>
                <a:cubicBezTo>
                  <a:pt x="587" y="87"/>
                  <a:pt x="522" y="114"/>
                  <a:pt x="440" y="153"/>
                </a:cubicBezTo>
                <a:cubicBezTo>
                  <a:pt x="351" y="197"/>
                  <a:pt x="271" y="255"/>
                  <a:pt x="196" y="331"/>
                </a:cubicBezTo>
                <a:cubicBezTo>
                  <a:pt x="69" y="460"/>
                  <a:pt x="0" y="631"/>
                  <a:pt x="10" y="789"/>
                </a:cubicBezTo>
                <a:cubicBezTo>
                  <a:pt x="11" y="793"/>
                  <a:pt x="11" y="793"/>
                  <a:pt x="11" y="793"/>
                </a:cubicBezTo>
                <a:cubicBezTo>
                  <a:pt x="11" y="801"/>
                  <a:pt x="12" y="808"/>
                  <a:pt x="13" y="815"/>
                </a:cubicBezTo>
                <a:cubicBezTo>
                  <a:pt x="28" y="912"/>
                  <a:pt x="57" y="964"/>
                  <a:pt x="92" y="1018"/>
                </a:cubicBezTo>
                <a:cubicBezTo>
                  <a:pt x="143" y="1101"/>
                  <a:pt x="210" y="1156"/>
                  <a:pt x="269" y="1199"/>
                </a:cubicBezTo>
                <a:cubicBezTo>
                  <a:pt x="366" y="1269"/>
                  <a:pt x="463" y="1318"/>
                  <a:pt x="566" y="1347"/>
                </a:cubicBezTo>
                <a:cubicBezTo>
                  <a:pt x="619" y="1363"/>
                  <a:pt x="681" y="1380"/>
                  <a:pt x="744" y="1394"/>
                </a:cubicBezTo>
                <a:cubicBezTo>
                  <a:pt x="823" y="1411"/>
                  <a:pt x="895" y="1419"/>
                  <a:pt x="964" y="1418"/>
                </a:cubicBezTo>
                <a:cubicBezTo>
                  <a:pt x="1124" y="1418"/>
                  <a:pt x="1258" y="1407"/>
                  <a:pt x="1396" y="1337"/>
                </a:cubicBezTo>
                <a:cubicBezTo>
                  <a:pt x="1467" y="1300"/>
                  <a:pt x="1534" y="1252"/>
                  <a:pt x="1600" y="1188"/>
                </a:cubicBezTo>
                <a:cubicBezTo>
                  <a:pt x="1716" y="1077"/>
                  <a:pt x="1759" y="934"/>
                  <a:pt x="1793" y="796"/>
                </a:cubicBezTo>
                <a:cubicBezTo>
                  <a:pt x="1793" y="793"/>
                  <a:pt x="1805" y="738"/>
                  <a:pt x="1806" y="736"/>
                </a:cubicBezTo>
                <a:cubicBezTo>
                  <a:pt x="1807" y="730"/>
                  <a:pt x="1807" y="724"/>
                  <a:pt x="1805" y="720"/>
                </a:cubicBezTo>
                <a:cubicBezTo>
                  <a:pt x="1802" y="717"/>
                  <a:pt x="1799" y="716"/>
                  <a:pt x="1795" y="718"/>
                </a:cubicBezTo>
                <a:cubicBezTo>
                  <a:pt x="1787" y="722"/>
                  <a:pt x="1782" y="728"/>
                  <a:pt x="1778" y="738"/>
                </a:cubicBezTo>
                <a:cubicBezTo>
                  <a:pt x="1776" y="744"/>
                  <a:pt x="1766" y="810"/>
                  <a:pt x="1763" y="818"/>
                </a:cubicBezTo>
                <a:cubicBezTo>
                  <a:pt x="1745" y="882"/>
                  <a:pt x="1736" y="907"/>
                  <a:pt x="1719" y="958"/>
                </a:cubicBezTo>
                <a:cubicBezTo>
                  <a:pt x="1680" y="1077"/>
                  <a:pt x="1587" y="1176"/>
                  <a:pt x="1524" y="1223"/>
                </a:cubicBezTo>
                <a:cubicBezTo>
                  <a:pt x="1476" y="1259"/>
                  <a:pt x="1451" y="1276"/>
                  <a:pt x="1388" y="1309"/>
                </a:cubicBezTo>
                <a:cubicBezTo>
                  <a:pt x="1265" y="1372"/>
                  <a:pt x="1140" y="1395"/>
                  <a:pt x="992" y="1395"/>
                </a:cubicBezTo>
                <a:cubicBezTo>
                  <a:pt x="918" y="1395"/>
                  <a:pt x="841" y="1387"/>
                  <a:pt x="759" y="1370"/>
                </a:cubicBezTo>
                <a:cubicBezTo>
                  <a:pt x="700" y="1357"/>
                  <a:pt x="639" y="1340"/>
                  <a:pt x="561" y="1315"/>
                </a:cubicBezTo>
                <a:cubicBezTo>
                  <a:pt x="406" y="1266"/>
                  <a:pt x="270" y="1182"/>
                  <a:pt x="152" y="1052"/>
                </a:cubicBezTo>
                <a:cubicBezTo>
                  <a:pt x="89" y="984"/>
                  <a:pt x="49" y="881"/>
                  <a:pt x="36" y="759"/>
                </a:cubicBezTo>
                <a:cubicBezTo>
                  <a:pt x="22" y="618"/>
                  <a:pt x="87" y="459"/>
                  <a:pt x="206" y="343"/>
                </a:cubicBezTo>
                <a:cubicBezTo>
                  <a:pt x="234" y="316"/>
                  <a:pt x="263" y="293"/>
                  <a:pt x="288" y="274"/>
                </a:cubicBezTo>
                <a:cubicBezTo>
                  <a:pt x="368" y="212"/>
                  <a:pt x="449" y="166"/>
                  <a:pt x="537" y="133"/>
                </a:cubicBezTo>
                <a:cubicBezTo>
                  <a:pt x="761" y="51"/>
                  <a:pt x="974" y="23"/>
                  <a:pt x="1187" y="59"/>
                </a:cubicBezTo>
                <a:cubicBezTo>
                  <a:pt x="1197" y="61"/>
                  <a:pt x="1208" y="63"/>
                  <a:pt x="1218" y="65"/>
                </a:cubicBezTo>
                <a:cubicBezTo>
                  <a:pt x="1353" y="93"/>
                  <a:pt x="1484" y="162"/>
                  <a:pt x="1616" y="273"/>
                </a:cubicBezTo>
                <a:cubicBezTo>
                  <a:pt x="1692" y="338"/>
                  <a:pt x="1742" y="423"/>
                  <a:pt x="1772" y="524"/>
                </a:cubicBezTo>
                <a:cubicBezTo>
                  <a:pt x="1782" y="557"/>
                  <a:pt x="1786" y="568"/>
                  <a:pt x="1787" y="627"/>
                </a:cubicBezTo>
                <a:cubicBezTo>
                  <a:pt x="1787" y="665"/>
                  <a:pt x="1770" y="721"/>
                  <a:pt x="1768" y="733"/>
                </a:cubicBezTo>
                <a:cubicBezTo>
                  <a:pt x="1768" y="735"/>
                  <a:pt x="1768" y="737"/>
                  <a:pt x="1768" y="739"/>
                </a:cubicBezTo>
                <a:cubicBezTo>
                  <a:pt x="1776" y="731"/>
                  <a:pt x="1784" y="724"/>
                  <a:pt x="1789" y="715"/>
                </a:cubicBezTo>
                <a:cubicBezTo>
                  <a:pt x="1791" y="711"/>
                  <a:pt x="1807" y="662"/>
                  <a:pt x="1809" y="626"/>
                </a:cubicBezTo>
                <a:cubicBezTo>
                  <a:pt x="1809" y="617"/>
                  <a:pt x="1811" y="608"/>
                  <a:pt x="1811" y="601"/>
                </a:cubicBezTo>
                <a:cubicBezTo>
                  <a:pt x="1809" y="569"/>
                  <a:pt x="1809" y="569"/>
                  <a:pt x="1809" y="569"/>
                </a:cubicBezTo>
                <a:cubicBezTo>
                  <a:pt x="1806" y="535"/>
                  <a:pt x="1802" y="522"/>
                  <a:pt x="1793" y="494"/>
                </a:cubicBezTo>
                <a:cubicBezTo>
                  <a:pt x="1771" y="425"/>
                  <a:pt x="1738" y="364"/>
                  <a:pt x="1695" y="314"/>
                </a:cubicBezTo>
                <a:cubicBezTo>
                  <a:pt x="1619" y="224"/>
                  <a:pt x="1524" y="166"/>
                  <a:pt x="1440" y="116"/>
                </a:cubicBezTo>
                <a:cubicBezTo>
                  <a:pt x="1435" y="113"/>
                  <a:pt x="1435" y="113"/>
                  <a:pt x="1435" y="113"/>
                </a:cubicBezTo>
                <a:cubicBezTo>
                  <a:pt x="1364" y="79"/>
                  <a:pt x="1290" y="54"/>
                  <a:pt x="1215" y="38"/>
                </a:cubicBezTo>
                <a:close/>
              </a:path>
            </a:pathLst>
          </a:custGeom>
          <a:solidFill>
            <a:srgbClr val="F06A11"/>
          </a:solidFill>
          <a:ln>
            <a:solidFill>
              <a:srgbClr val="FF9933"/>
            </a:solidFill>
          </a:ln>
        </p:spPr>
        <p:txBody>
          <a:bodyPr vert="horz" wrap="square" lIns="182868" tIns="91434" rIns="182868" bIns="91434" numCol="1" anchor="t" anchorCtr="0" compatLnSpc="1">
            <a:prstTxWarp prst="textNoShape">
              <a:avLst/>
            </a:prstTxWarp>
          </a:bodyPr>
          <a:lstStyle/>
          <a:p>
            <a:pPr defTabSz="1828709"/>
            <a:endParaRPr lang="en-GB" sz="2000">
              <a:solidFill>
                <a:srgbClr val="000000"/>
              </a:solidFill>
            </a:endParaRPr>
          </a:p>
        </p:txBody>
      </p:sp>
      <p:sp>
        <p:nvSpPr>
          <p:cNvPr id="44" name="Freeform 75">
            <a:extLst>
              <a:ext uri="{FF2B5EF4-FFF2-40B4-BE49-F238E27FC236}">
                <a16:creationId xmlns:a16="http://schemas.microsoft.com/office/drawing/2014/main" id="{C056FF24-022E-49A2-E9C3-7CD843560939}"/>
              </a:ext>
            </a:extLst>
          </p:cNvPr>
          <p:cNvSpPr>
            <a:spLocks/>
          </p:cNvSpPr>
          <p:nvPr/>
        </p:nvSpPr>
        <p:spPr bwMode="auto">
          <a:xfrm>
            <a:off x="5792168" y="5815317"/>
            <a:ext cx="2599122" cy="2651279"/>
          </a:xfrm>
          <a:custGeom>
            <a:avLst/>
            <a:gdLst>
              <a:gd name="T0" fmla="*/ 1215 w 1811"/>
              <a:gd name="T1" fmla="*/ 38 h 1419"/>
              <a:gd name="T2" fmla="*/ 646 w 1811"/>
              <a:gd name="T3" fmla="*/ 71 h 1419"/>
              <a:gd name="T4" fmla="*/ 440 w 1811"/>
              <a:gd name="T5" fmla="*/ 153 h 1419"/>
              <a:gd name="T6" fmla="*/ 196 w 1811"/>
              <a:gd name="T7" fmla="*/ 331 h 1419"/>
              <a:gd name="T8" fmla="*/ 10 w 1811"/>
              <a:gd name="T9" fmla="*/ 789 h 1419"/>
              <a:gd name="T10" fmla="*/ 11 w 1811"/>
              <a:gd name="T11" fmla="*/ 793 h 1419"/>
              <a:gd name="T12" fmla="*/ 13 w 1811"/>
              <a:gd name="T13" fmla="*/ 815 h 1419"/>
              <a:gd name="T14" fmla="*/ 92 w 1811"/>
              <a:gd name="T15" fmla="*/ 1018 h 1419"/>
              <a:gd name="T16" fmla="*/ 269 w 1811"/>
              <a:gd name="T17" fmla="*/ 1199 h 1419"/>
              <a:gd name="T18" fmla="*/ 566 w 1811"/>
              <a:gd name="T19" fmla="*/ 1347 h 1419"/>
              <a:gd name="T20" fmla="*/ 744 w 1811"/>
              <a:gd name="T21" fmla="*/ 1394 h 1419"/>
              <a:gd name="T22" fmla="*/ 964 w 1811"/>
              <a:gd name="T23" fmla="*/ 1418 h 1419"/>
              <a:gd name="T24" fmla="*/ 1396 w 1811"/>
              <a:gd name="T25" fmla="*/ 1337 h 1419"/>
              <a:gd name="T26" fmla="*/ 1600 w 1811"/>
              <a:gd name="T27" fmla="*/ 1188 h 1419"/>
              <a:gd name="T28" fmla="*/ 1793 w 1811"/>
              <a:gd name="T29" fmla="*/ 796 h 1419"/>
              <a:gd name="T30" fmla="*/ 1806 w 1811"/>
              <a:gd name="T31" fmla="*/ 736 h 1419"/>
              <a:gd name="T32" fmla="*/ 1805 w 1811"/>
              <a:gd name="T33" fmla="*/ 720 h 1419"/>
              <a:gd name="T34" fmla="*/ 1795 w 1811"/>
              <a:gd name="T35" fmla="*/ 718 h 1419"/>
              <a:gd name="T36" fmla="*/ 1778 w 1811"/>
              <a:gd name="T37" fmla="*/ 738 h 1419"/>
              <a:gd name="T38" fmla="*/ 1763 w 1811"/>
              <a:gd name="T39" fmla="*/ 818 h 1419"/>
              <a:gd name="T40" fmla="*/ 1719 w 1811"/>
              <a:gd name="T41" fmla="*/ 958 h 1419"/>
              <a:gd name="T42" fmla="*/ 1524 w 1811"/>
              <a:gd name="T43" fmla="*/ 1223 h 1419"/>
              <a:gd name="T44" fmla="*/ 1388 w 1811"/>
              <a:gd name="T45" fmla="*/ 1309 h 1419"/>
              <a:gd name="T46" fmla="*/ 992 w 1811"/>
              <a:gd name="T47" fmla="*/ 1395 h 1419"/>
              <a:gd name="T48" fmla="*/ 759 w 1811"/>
              <a:gd name="T49" fmla="*/ 1370 h 1419"/>
              <a:gd name="T50" fmla="*/ 561 w 1811"/>
              <a:gd name="T51" fmla="*/ 1315 h 1419"/>
              <a:gd name="T52" fmla="*/ 152 w 1811"/>
              <a:gd name="T53" fmla="*/ 1052 h 1419"/>
              <a:gd name="T54" fmla="*/ 36 w 1811"/>
              <a:gd name="T55" fmla="*/ 759 h 1419"/>
              <a:gd name="T56" fmla="*/ 206 w 1811"/>
              <a:gd name="T57" fmla="*/ 343 h 1419"/>
              <a:gd name="T58" fmla="*/ 288 w 1811"/>
              <a:gd name="T59" fmla="*/ 274 h 1419"/>
              <a:gd name="T60" fmla="*/ 537 w 1811"/>
              <a:gd name="T61" fmla="*/ 133 h 1419"/>
              <a:gd name="T62" fmla="*/ 1187 w 1811"/>
              <a:gd name="T63" fmla="*/ 59 h 1419"/>
              <a:gd name="T64" fmla="*/ 1218 w 1811"/>
              <a:gd name="T65" fmla="*/ 65 h 1419"/>
              <a:gd name="T66" fmla="*/ 1616 w 1811"/>
              <a:gd name="T67" fmla="*/ 273 h 1419"/>
              <a:gd name="T68" fmla="*/ 1772 w 1811"/>
              <a:gd name="T69" fmla="*/ 524 h 1419"/>
              <a:gd name="T70" fmla="*/ 1787 w 1811"/>
              <a:gd name="T71" fmla="*/ 627 h 1419"/>
              <a:gd name="T72" fmla="*/ 1768 w 1811"/>
              <a:gd name="T73" fmla="*/ 733 h 1419"/>
              <a:gd name="T74" fmla="*/ 1768 w 1811"/>
              <a:gd name="T75" fmla="*/ 739 h 1419"/>
              <a:gd name="T76" fmla="*/ 1789 w 1811"/>
              <a:gd name="T77" fmla="*/ 715 h 1419"/>
              <a:gd name="T78" fmla="*/ 1809 w 1811"/>
              <a:gd name="T79" fmla="*/ 626 h 1419"/>
              <a:gd name="T80" fmla="*/ 1811 w 1811"/>
              <a:gd name="T81" fmla="*/ 601 h 1419"/>
              <a:gd name="T82" fmla="*/ 1809 w 1811"/>
              <a:gd name="T83" fmla="*/ 569 h 1419"/>
              <a:gd name="T84" fmla="*/ 1793 w 1811"/>
              <a:gd name="T85" fmla="*/ 494 h 1419"/>
              <a:gd name="T86" fmla="*/ 1695 w 1811"/>
              <a:gd name="T87" fmla="*/ 314 h 1419"/>
              <a:gd name="T88" fmla="*/ 1440 w 1811"/>
              <a:gd name="T89" fmla="*/ 116 h 1419"/>
              <a:gd name="T90" fmla="*/ 1435 w 1811"/>
              <a:gd name="T91" fmla="*/ 113 h 1419"/>
              <a:gd name="T92" fmla="*/ 1215 w 1811"/>
              <a:gd name="T93" fmla="*/ 38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11" h="1419">
                <a:moveTo>
                  <a:pt x="1215" y="38"/>
                </a:moveTo>
                <a:cubicBezTo>
                  <a:pt x="1039" y="0"/>
                  <a:pt x="853" y="11"/>
                  <a:pt x="646" y="71"/>
                </a:cubicBezTo>
                <a:cubicBezTo>
                  <a:pt x="587" y="87"/>
                  <a:pt x="522" y="114"/>
                  <a:pt x="440" y="153"/>
                </a:cubicBezTo>
                <a:cubicBezTo>
                  <a:pt x="351" y="197"/>
                  <a:pt x="271" y="255"/>
                  <a:pt x="196" y="331"/>
                </a:cubicBezTo>
                <a:cubicBezTo>
                  <a:pt x="69" y="460"/>
                  <a:pt x="0" y="631"/>
                  <a:pt x="10" y="789"/>
                </a:cubicBezTo>
                <a:cubicBezTo>
                  <a:pt x="11" y="793"/>
                  <a:pt x="11" y="793"/>
                  <a:pt x="11" y="793"/>
                </a:cubicBezTo>
                <a:cubicBezTo>
                  <a:pt x="11" y="801"/>
                  <a:pt x="12" y="808"/>
                  <a:pt x="13" y="815"/>
                </a:cubicBezTo>
                <a:cubicBezTo>
                  <a:pt x="28" y="912"/>
                  <a:pt x="57" y="964"/>
                  <a:pt x="92" y="1018"/>
                </a:cubicBezTo>
                <a:cubicBezTo>
                  <a:pt x="143" y="1101"/>
                  <a:pt x="210" y="1156"/>
                  <a:pt x="269" y="1199"/>
                </a:cubicBezTo>
                <a:cubicBezTo>
                  <a:pt x="366" y="1269"/>
                  <a:pt x="463" y="1318"/>
                  <a:pt x="566" y="1347"/>
                </a:cubicBezTo>
                <a:cubicBezTo>
                  <a:pt x="619" y="1363"/>
                  <a:pt x="681" y="1380"/>
                  <a:pt x="744" y="1394"/>
                </a:cubicBezTo>
                <a:cubicBezTo>
                  <a:pt x="823" y="1411"/>
                  <a:pt x="895" y="1419"/>
                  <a:pt x="964" y="1418"/>
                </a:cubicBezTo>
                <a:cubicBezTo>
                  <a:pt x="1124" y="1418"/>
                  <a:pt x="1258" y="1407"/>
                  <a:pt x="1396" y="1337"/>
                </a:cubicBezTo>
                <a:cubicBezTo>
                  <a:pt x="1467" y="1300"/>
                  <a:pt x="1534" y="1252"/>
                  <a:pt x="1600" y="1188"/>
                </a:cubicBezTo>
                <a:cubicBezTo>
                  <a:pt x="1716" y="1077"/>
                  <a:pt x="1759" y="934"/>
                  <a:pt x="1793" y="796"/>
                </a:cubicBezTo>
                <a:cubicBezTo>
                  <a:pt x="1793" y="793"/>
                  <a:pt x="1805" y="738"/>
                  <a:pt x="1806" y="736"/>
                </a:cubicBezTo>
                <a:cubicBezTo>
                  <a:pt x="1807" y="730"/>
                  <a:pt x="1807" y="724"/>
                  <a:pt x="1805" y="720"/>
                </a:cubicBezTo>
                <a:cubicBezTo>
                  <a:pt x="1802" y="717"/>
                  <a:pt x="1799" y="716"/>
                  <a:pt x="1795" y="718"/>
                </a:cubicBezTo>
                <a:cubicBezTo>
                  <a:pt x="1787" y="722"/>
                  <a:pt x="1782" y="728"/>
                  <a:pt x="1778" y="738"/>
                </a:cubicBezTo>
                <a:cubicBezTo>
                  <a:pt x="1776" y="744"/>
                  <a:pt x="1766" y="810"/>
                  <a:pt x="1763" y="818"/>
                </a:cubicBezTo>
                <a:cubicBezTo>
                  <a:pt x="1745" y="882"/>
                  <a:pt x="1736" y="907"/>
                  <a:pt x="1719" y="958"/>
                </a:cubicBezTo>
                <a:cubicBezTo>
                  <a:pt x="1680" y="1077"/>
                  <a:pt x="1587" y="1176"/>
                  <a:pt x="1524" y="1223"/>
                </a:cubicBezTo>
                <a:cubicBezTo>
                  <a:pt x="1476" y="1259"/>
                  <a:pt x="1451" y="1276"/>
                  <a:pt x="1388" y="1309"/>
                </a:cubicBezTo>
                <a:cubicBezTo>
                  <a:pt x="1265" y="1372"/>
                  <a:pt x="1140" y="1395"/>
                  <a:pt x="992" y="1395"/>
                </a:cubicBezTo>
                <a:cubicBezTo>
                  <a:pt x="918" y="1395"/>
                  <a:pt x="841" y="1387"/>
                  <a:pt x="759" y="1370"/>
                </a:cubicBezTo>
                <a:cubicBezTo>
                  <a:pt x="700" y="1357"/>
                  <a:pt x="639" y="1340"/>
                  <a:pt x="561" y="1315"/>
                </a:cubicBezTo>
                <a:cubicBezTo>
                  <a:pt x="406" y="1266"/>
                  <a:pt x="270" y="1182"/>
                  <a:pt x="152" y="1052"/>
                </a:cubicBezTo>
                <a:cubicBezTo>
                  <a:pt x="89" y="984"/>
                  <a:pt x="49" y="881"/>
                  <a:pt x="36" y="759"/>
                </a:cubicBezTo>
                <a:cubicBezTo>
                  <a:pt x="22" y="618"/>
                  <a:pt x="87" y="459"/>
                  <a:pt x="206" y="343"/>
                </a:cubicBezTo>
                <a:cubicBezTo>
                  <a:pt x="234" y="316"/>
                  <a:pt x="263" y="293"/>
                  <a:pt x="288" y="274"/>
                </a:cubicBezTo>
                <a:cubicBezTo>
                  <a:pt x="368" y="212"/>
                  <a:pt x="449" y="166"/>
                  <a:pt x="537" y="133"/>
                </a:cubicBezTo>
                <a:cubicBezTo>
                  <a:pt x="761" y="51"/>
                  <a:pt x="974" y="23"/>
                  <a:pt x="1187" y="59"/>
                </a:cubicBezTo>
                <a:cubicBezTo>
                  <a:pt x="1197" y="61"/>
                  <a:pt x="1208" y="63"/>
                  <a:pt x="1218" y="65"/>
                </a:cubicBezTo>
                <a:cubicBezTo>
                  <a:pt x="1353" y="93"/>
                  <a:pt x="1484" y="162"/>
                  <a:pt x="1616" y="273"/>
                </a:cubicBezTo>
                <a:cubicBezTo>
                  <a:pt x="1692" y="338"/>
                  <a:pt x="1742" y="423"/>
                  <a:pt x="1772" y="524"/>
                </a:cubicBezTo>
                <a:cubicBezTo>
                  <a:pt x="1782" y="557"/>
                  <a:pt x="1786" y="568"/>
                  <a:pt x="1787" y="627"/>
                </a:cubicBezTo>
                <a:cubicBezTo>
                  <a:pt x="1787" y="665"/>
                  <a:pt x="1770" y="721"/>
                  <a:pt x="1768" y="733"/>
                </a:cubicBezTo>
                <a:cubicBezTo>
                  <a:pt x="1768" y="735"/>
                  <a:pt x="1768" y="737"/>
                  <a:pt x="1768" y="739"/>
                </a:cubicBezTo>
                <a:cubicBezTo>
                  <a:pt x="1776" y="731"/>
                  <a:pt x="1784" y="724"/>
                  <a:pt x="1789" y="715"/>
                </a:cubicBezTo>
                <a:cubicBezTo>
                  <a:pt x="1791" y="711"/>
                  <a:pt x="1807" y="662"/>
                  <a:pt x="1809" y="626"/>
                </a:cubicBezTo>
                <a:cubicBezTo>
                  <a:pt x="1809" y="617"/>
                  <a:pt x="1811" y="608"/>
                  <a:pt x="1811" y="601"/>
                </a:cubicBezTo>
                <a:cubicBezTo>
                  <a:pt x="1809" y="569"/>
                  <a:pt x="1809" y="569"/>
                  <a:pt x="1809" y="569"/>
                </a:cubicBezTo>
                <a:cubicBezTo>
                  <a:pt x="1806" y="535"/>
                  <a:pt x="1802" y="522"/>
                  <a:pt x="1793" y="494"/>
                </a:cubicBezTo>
                <a:cubicBezTo>
                  <a:pt x="1771" y="425"/>
                  <a:pt x="1738" y="364"/>
                  <a:pt x="1695" y="314"/>
                </a:cubicBezTo>
                <a:cubicBezTo>
                  <a:pt x="1619" y="224"/>
                  <a:pt x="1524" y="166"/>
                  <a:pt x="1440" y="116"/>
                </a:cubicBezTo>
                <a:cubicBezTo>
                  <a:pt x="1435" y="113"/>
                  <a:pt x="1435" y="113"/>
                  <a:pt x="1435" y="113"/>
                </a:cubicBezTo>
                <a:cubicBezTo>
                  <a:pt x="1364" y="79"/>
                  <a:pt x="1290" y="54"/>
                  <a:pt x="1215" y="38"/>
                </a:cubicBezTo>
                <a:close/>
              </a:path>
            </a:pathLst>
          </a:custGeom>
          <a:solidFill>
            <a:srgbClr val="F06A11"/>
          </a:solidFill>
          <a:ln>
            <a:solidFill>
              <a:srgbClr val="FF9933"/>
            </a:solidFill>
          </a:ln>
        </p:spPr>
        <p:txBody>
          <a:bodyPr vert="horz" wrap="square" lIns="182868" tIns="91434" rIns="182868" bIns="91434" numCol="1" anchor="t" anchorCtr="0" compatLnSpc="1">
            <a:prstTxWarp prst="textNoShape">
              <a:avLst/>
            </a:prstTxWarp>
          </a:bodyPr>
          <a:lstStyle/>
          <a:p>
            <a:pPr defTabSz="1828709"/>
            <a:endParaRPr lang="en-GB" sz="2000">
              <a:solidFill>
                <a:srgbClr val="000000"/>
              </a:solidFill>
            </a:endParaRPr>
          </a:p>
        </p:txBody>
      </p:sp>
      <p:sp>
        <p:nvSpPr>
          <p:cNvPr id="48" name="Text Placeholder 16">
            <a:extLst>
              <a:ext uri="{FF2B5EF4-FFF2-40B4-BE49-F238E27FC236}">
                <a16:creationId xmlns:a16="http://schemas.microsoft.com/office/drawing/2014/main" id="{71691D10-0FBF-A644-BB7D-DB468ABC3C34}"/>
              </a:ext>
            </a:extLst>
          </p:cNvPr>
          <p:cNvSpPr txBox="1">
            <a:spLocks/>
          </p:cNvSpPr>
          <p:nvPr/>
        </p:nvSpPr>
        <p:spPr>
          <a:xfrm>
            <a:off x="8612810" y="6322044"/>
            <a:ext cx="2217484" cy="1749310"/>
          </a:xfrm>
          <a:prstGeom prst="rect">
            <a:avLst/>
          </a:prstGeom>
          <a:ln>
            <a:noFill/>
          </a:ln>
        </p:spPr>
        <p:txBody>
          <a:bodyPr/>
          <a:lstStyle>
            <a:lvl1pPr marL="0" indent="0" algn="l" defTabSz="914400" rtl="0" eaLnBrk="1" latinLnBrk="0" hangingPunct="1">
              <a:lnSpc>
                <a:spcPct val="90000"/>
              </a:lnSpc>
              <a:spcBef>
                <a:spcPts val="1000"/>
              </a:spcBef>
              <a:buFont typeface="Arial" panose="020B0604020202020204" pitchFamily="34" charset="0"/>
              <a:buNone/>
              <a:defRPr sz="1200" b="0" kern="1200" baseline="0">
                <a:solidFill>
                  <a:schemeClr val="tx1"/>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2000" b="1">
                <a:solidFill>
                  <a:srgbClr val="333333"/>
                </a:solidFill>
                <a:latin typeface="+mn-lt"/>
              </a:rPr>
              <a:t>Viktor Johnsson</a:t>
            </a:r>
          </a:p>
          <a:p>
            <a:pPr defTabSz="1828709">
              <a:spcBef>
                <a:spcPts val="2000"/>
              </a:spcBef>
            </a:pPr>
            <a:r>
              <a:rPr lang="en-US" sz="2000">
                <a:solidFill>
                  <a:srgbClr val="000000"/>
                </a:solidFill>
                <a:latin typeface="+mn-lt"/>
              </a:rPr>
              <a:t>Engineering Leader</a:t>
            </a:r>
            <a:endParaRPr lang="en-GB" sz="2000">
              <a:solidFill>
                <a:srgbClr val="000000"/>
              </a:solidFill>
              <a:latin typeface="+mn-lt"/>
            </a:endParaRPr>
          </a:p>
        </p:txBody>
      </p:sp>
      <p:sp>
        <p:nvSpPr>
          <p:cNvPr id="49" name="Text Placeholder 21">
            <a:extLst>
              <a:ext uri="{FF2B5EF4-FFF2-40B4-BE49-F238E27FC236}">
                <a16:creationId xmlns:a16="http://schemas.microsoft.com/office/drawing/2014/main" id="{EBB96769-0474-1060-A12A-B844DF4CFAA6}"/>
              </a:ext>
            </a:extLst>
          </p:cNvPr>
          <p:cNvSpPr txBox="1">
            <a:spLocks/>
          </p:cNvSpPr>
          <p:nvPr/>
        </p:nvSpPr>
        <p:spPr>
          <a:xfrm>
            <a:off x="22270274" y="3196696"/>
            <a:ext cx="2090090" cy="1749310"/>
          </a:xfrm>
          <a:prstGeom prst="rect">
            <a:avLst/>
          </a:prstGeom>
          <a:ln>
            <a:noFill/>
          </a:ln>
        </p:spPr>
        <p:txBody>
          <a:bodyPr/>
          <a:lstStyle>
            <a:lvl1pPr marL="0" indent="0" algn="l" defTabSz="1828573" rtl="0" eaLnBrk="1" latinLnBrk="0" hangingPunct="1">
              <a:lnSpc>
                <a:spcPct val="100000"/>
              </a:lnSpc>
              <a:spcBef>
                <a:spcPts val="2000"/>
              </a:spcBef>
              <a:buFont typeface="Arial" panose="020B0604020202020204" pitchFamily="34" charset="0"/>
              <a:buNone/>
              <a:defRPr sz="3200" kern="1200">
                <a:solidFill>
                  <a:schemeClr val="tx1"/>
                </a:solidFill>
                <a:latin typeface="Noto IKEA Latin" panose="020B0502040504020204" pitchFamily="34" charset="0"/>
                <a:ea typeface="+mn-ea"/>
                <a:cs typeface="+mn-cs"/>
              </a:defRPr>
            </a:lvl1pPr>
            <a:lvl2pPr marL="0" indent="-685732" algn="l" defTabSz="1828573" rtl="0" eaLnBrk="1" latinLnBrk="0" hangingPunct="1">
              <a:lnSpc>
                <a:spcPct val="100000"/>
              </a:lnSpc>
              <a:spcBef>
                <a:spcPts val="2000"/>
              </a:spcBef>
              <a:buFont typeface="Arial" panose="020B0604020202020204" pitchFamily="34" charset="0"/>
              <a:buChar char="•"/>
              <a:defRPr sz="3200" kern="1200" spc="0">
                <a:solidFill>
                  <a:schemeClr val="tx1"/>
                </a:solidFill>
                <a:latin typeface="Noto IKEA Latin" panose="020B0502040504020204" pitchFamily="34" charset="0"/>
                <a:ea typeface="+mn-ea"/>
                <a:cs typeface="+mn-cs"/>
              </a:defRPr>
            </a:lvl2pPr>
            <a:lvl3pPr marL="2285714" indent="-457143" algn="l" defTabSz="1828573" rtl="0" eaLnBrk="1" latinLnBrk="0" hangingPunct="1">
              <a:lnSpc>
                <a:spcPct val="100000"/>
              </a:lnSpc>
              <a:spcBef>
                <a:spcPts val="1000"/>
              </a:spcBef>
              <a:buFont typeface="Arial" panose="020B0604020202020204" pitchFamily="34" charset="0"/>
              <a:buChar char="•"/>
              <a:defRPr sz="3600" i="0" kern="1200">
                <a:solidFill>
                  <a:schemeClr val="tx1"/>
                </a:solidFill>
                <a:latin typeface="Noto IKEA Latin" panose="020B0502040504020204" pitchFamily="34" charset="0"/>
                <a:ea typeface="+mn-ea"/>
                <a:cs typeface="+mn-cs"/>
              </a:defRPr>
            </a:lvl3pPr>
            <a:lvl4pPr marL="3200000" indent="-457143" algn="l" defTabSz="1828573" rtl="0" eaLnBrk="1" latinLnBrk="0" hangingPunct="1">
              <a:lnSpc>
                <a:spcPct val="100000"/>
              </a:lnSpc>
              <a:spcBef>
                <a:spcPts val="1000"/>
              </a:spcBef>
              <a:buFont typeface="Arial" panose="020B0604020202020204" pitchFamily="34" charset="0"/>
              <a:buChar char="•"/>
              <a:defRPr sz="2800" kern="1200">
                <a:solidFill>
                  <a:schemeClr val="tx1"/>
                </a:solidFill>
                <a:latin typeface="Noto IKEA Latin" panose="020B0502040504020204" pitchFamily="34" charset="0"/>
                <a:ea typeface="+mn-ea"/>
                <a:cs typeface="+mn-cs"/>
              </a:defRPr>
            </a:lvl4pPr>
            <a:lvl5pPr marL="4114286" indent="-457143" algn="l" defTabSz="1828573" rtl="0" eaLnBrk="1" latinLnBrk="0" hangingPunct="1">
              <a:lnSpc>
                <a:spcPct val="100000"/>
              </a:lnSpc>
              <a:spcBef>
                <a:spcPts val="1000"/>
              </a:spcBef>
              <a:buFont typeface="Arial" panose="020B0604020202020204" pitchFamily="34" charset="0"/>
              <a:buChar char="•"/>
              <a:defRPr sz="2000" kern="1200">
                <a:solidFill>
                  <a:schemeClr val="tx1"/>
                </a:solidFill>
                <a:latin typeface="Noto IKEA Latin" panose="020B0502040504020204" pitchFamily="34" charset="0"/>
                <a:ea typeface="+mn-ea"/>
                <a:cs typeface="+mn-cs"/>
              </a:defRPr>
            </a:lvl5pPr>
            <a:lvl6pPr marL="5028573"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2859"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143"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1429"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spcBef>
                <a:spcPts val="0"/>
              </a:spcBef>
            </a:pPr>
            <a:r>
              <a:rPr lang="en-US" sz="2000" b="1">
                <a:latin typeface="+mn-lt"/>
              </a:rPr>
              <a:t>Samina </a:t>
            </a:r>
          </a:p>
          <a:p>
            <a:pPr>
              <a:spcBef>
                <a:spcPts val="0"/>
              </a:spcBef>
            </a:pPr>
            <a:r>
              <a:rPr lang="en-US" sz="2000" b="1">
                <a:latin typeface="+mn-lt"/>
              </a:rPr>
              <a:t>Jamil</a:t>
            </a:r>
          </a:p>
          <a:p>
            <a:r>
              <a:rPr lang="en-US" sz="2000">
                <a:latin typeface="+mn-lt"/>
              </a:rPr>
              <a:t>Innovation Leader</a:t>
            </a:r>
            <a:endParaRPr lang="en-GB" sz="2000">
              <a:latin typeface="+mn-lt"/>
            </a:endParaRPr>
          </a:p>
        </p:txBody>
      </p:sp>
      <p:sp>
        <p:nvSpPr>
          <p:cNvPr id="50" name="Text Placeholder 16">
            <a:extLst>
              <a:ext uri="{FF2B5EF4-FFF2-40B4-BE49-F238E27FC236}">
                <a16:creationId xmlns:a16="http://schemas.microsoft.com/office/drawing/2014/main" id="{F4BE9DD2-3812-AAE6-C2D7-E97F820DCC49}"/>
              </a:ext>
            </a:extLst>
          </p:cNvPr>
          <p:cNvSpPr txBox="1">
            <a:spLocks/>
          </p:cNvSpPr>
          <p:nvPr/>
        </p:nvSpPr>
        <p:spPr>
          <a:xfrm>
            <a:off x="13546056" y="6163427"/>
            <a:ext cx="2217484" cy="1749310"/>
          </a:xfrm>
          <a:prstGeom prst="rect">
            <a:avLst/>
          </a:prstGeom>
          <a:ln>
            <a:noFill/>
          </a:ln>
        </p:spPr>
        <p:txBody>
          <a:bodyPr/>
          <a:lstStyle>
            <a:lvl1pPr marL="0" indent="0" algn="l" defTabSz="914400" rtl="0" eaLnBrk="1" latinLnBrk="0" hangingPunct="1">
              <a:lnSpc>
                <a:spcPct val="90000"/>
              </a:lnSpc>
              <a:spcBef>
                <a:spcPts val="1000"/>
              </a:spcBef>
              <a:buFont typeface="Arial" panose="020B0604020202020204" pitchFamily="34" charset="0"/>
              <a:buNone/>
              <a:defRPr sz="1200" b="0" kern="1200" baseline="0">
                <a:solidFill>
                  <a:schemeClr val="tx1"/>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2000" b="1">
                <a:solidFill>
                  <a:srgbClr val="333333"/>
                </a:solidFill>
                <a:latin typeface="+mn-lt"/>
              </a:rPr>
              <a:t>Joakim Nyquist</a:t>
            </a:r>
          </a:p>
          <a:p>
            <a:pPr defTabSz="1828709">
              <a:spcBef>
                <a:spcPts val="2000"/>
              </a:spcBef>
            </a:pPr>
            <a:r>
              <a:rPr lang="en-US" sz="2000">
                <a:solidFill>
                  <a:srgbClr val="000000"/>
                </a:solidFill>
                <a:latin typeface="+mn-lt"/>
              </a:rPr>
              <a:t>Engineering Developer</a:t>
            </a:r>
            <a:endParaRPr lang="en-GB" sz="2000">
              <a:solidFill>
                <a:srgbClr val="000000"/>
              </a:solidFill>
              <a:latin typeface="+mn-lt"/>
            </a:endParaRPr>
          </a:p>
        </p:txBody>
      </p:sp>
      <p:sp>
        <p:nvSpPr>
          <p:cNvPr id="51" name="Text Placeholder 16">
            <a:extLst>
              <a:ext uri="{FF2B5EF4-FFF2-40B4-BE49-F238E27FC236}">
                <a16:creationId xmlns:a16="http://schemas.microsoft.com/office/drawing/2014/main" id="{462ABB58-F2F6-D2E7-58D1-DC1AD2EFA780}"/>
              </a:ext>
            </a:extLst>
          </p:cNvPr>
          <p:cNvSpPr txBox="1">
            <a:spLocks/>
          </p:cNvSpPr>
          <p:nvPr/>
        </p:nvSpPr>
        <p:spPr>
          <a:xfrm>
            <a:off x="17972783" y="6049376"/>
            <a:ext cx="2217484" cy="1749310"/>
          </a:xfrm>
          <a:prstGeom prst="rect">
            <a:avLst/>
          </a:prstGeom>
          <a:ln>
            <a:noFill/>
          </a:ln>
        </p:spPr>
        <p:txBody>
          <a:bodyPr/>
          <a:lstStyle>
            <a:lvl1pPr marL="0" indent="0" algn="l" defTabSz="914400" rtl="0" eaLnBrk="1" latinLnBrk="0" hangingPunct="1">
              <a:lnSpc>
                <a:spcPct val="90000"/>
              </a:lnSpc>
              <a:spcBef>
                <a:spcPts val="1000"/>
              </a:spcBef>
              <a:buFont typeface="Arial" panose="020B0604020202020204" pitchFamily="34" charset="0"/>
              <a:buNone/>
              <a:defRPr sz="1200" b="0" kern="1200" baseline="0">
                <a:solidFill>
                  <a:schemeClr val="tx1"/>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2000" b="1">
                <a:solidFill>
                  <a:srgbClr val="333333"/>
                </a:solidFill>
                <a:latin typeface="+mn-lt"/>
              </a:rPr>
              <a:t>Ola Broberg</a:t>
            </a:r>
          </a:p>
          <a:p>
            <a:pPr defTabSz="1828709">
              <a:spcBef>
                <a:spcPts val="2000"/>
              </a:spcBef>
            </a:pPr>
            <a:r>
              <a:rPr lang="en-US" sz="2000">
                <a:solidFill>
                  <a:srgbClr val="000000"/>
                </a:solidFill>
                <a:latin typeface="+mn-lt"/>
              </a:rPr>
              <a:t>Engineering Developer</a:t>
            </a:r>
          </a:p>
        </p:txBody>
      </p:sp>
      <p:sp>
        <p:nvSpPr>
          <p:cNvPr id="2" name="Freeform 75">
            <a:extLst>
              <a:ext uri="{FF2B5EF4-FFF2-40B4-BE49-F238E27FC236}">
                <a16:creationId xmlns:a16="http://schemas.microsoft.com/office/drawing/2014/main" id="{FEF82B79-C084-5526-1E9D-77EA0EF05CC7}"/>
              </a:ext>
            </a:extLst>
          </p:cNvPr>
          <p:cNvSpPr>
            <a:spLocks/>
          </p:cNvSpPr>
          <p:nvPr/>
        </p:nvSpPr>
        <p:spPr bwMode="auto">
          <a:xfrm rot="3332146">
            <a:off x="19722358" y="5947223"/>
            <a:ext cx="2572953" cy="2425824"/>
          </a:xfrm>
          <a:custGeom>
            <a:avLst/>
            <a:gdLst>
              <a:gd name="T0" fmla="*/ 1215 w 1811"/>
              <a:gd name="T1" fmla="*/ 38 h 1419"/>
              <a:gd name="T2" fmla="*/ 646 w 1811"/>
              <a:gd name="T3" fmla="*/ 71 h 1419"/>
              <a:gd name="T4" fmla="*/ 440 w 1811"/>
              <a:gd name="T5" fmla="*/ 153 h 1419"/>
              <a:gd name="T6" fmla="*/ 196 w 1811"/>
              <a:gd name="T7" fmla="*/ 331 h 1419"/>
              <a:gd name="T8" fmla="*/ 10 w 1811"/>
              <a:gd name="T9" fmla="*/ 789 h 1419"/>
              <a:gd name="T10" fmla="*/ 11 w 1811"/>
              <a:gd name="T11" fmla="*/ 793 h 1419"/>
              <a:gd name="T12" fmla="*/ 13 w 1811"/>
              <a:gd name="T13" fmla="*/ 815 h 1419"/>
              <a:gd name="T14" fmla="*/ 92 w 1811"/>
              <a:gd name="T15" fmla="*/ 1018 h 1419"/>
              <a:gd name="T16" fmla="*/ 269 w 1811"/>
              <a:gd name="T17" fmla="*/ 1199 h 1419"/>
              <a:gd name="T18" fmla="*/ 566 w 1811"/>
              <a:gd name="T19" fmla="*/ 1347 h 1419"/>
              <a:gd name="T20" fmla="*/ 744 w 1811"/>
              <a:gd name="T21" fmla="*/ 1394 h 1419"/>
              <a:gd name="T22" fmla="*/ 964 w 1811"/>
              <a:gd name="T23" fmla="*/ 1418 h 1419"/>
              <a:gd name="T24" fmla="*/ 1396 w 1811"/>
              <a:gd name="T25" fmla="*/ 1337 h 1419"/>
              <a:gd name="T26" fmla="*/ 1600 w 1811"/>
              <a:gd name="T27" fmla="*/ 1188 h 1419"/>
              <a:gd name="T28" fmla="*/ 1793 w 1811"/>
              <a:gd name="T29" fmla="*/ 796 h 1419"/>
              <a:gd name="T30" fmla="*/ 1806 w 1811"/>
              <a:gd name="T31" fmla="*/ 736 h 1419"/>
              <a:gd name="T32" fmla="*/ 1805 w 1811"/>
              <a:gd name="T33" fmla="*/ 720 h 1419"/>
              <a:gd name="T34" fmla="*/ 1795 w 1811"/>
              <a:gd name="T35" fmla="*/ 718 h 1419"/>
              <a:gd name="T36" fmla="*/ 1778 w 1811"/>
              <a:gd name="T37" fmla="*/ 738 h 1419"/>
              <a:gd name="T38" fmla="*/ 1763 w 1811"/>
              <a:gd name="T39" fmla="*/ 818 h 1419"/>
              <a:gd name="T40" fmla="*/ 1719 w 1811"/>
              <a:gd name="T41" fmla="*/ 958 h 1419"/>
              <a:gd name="T42" fmla="*/ 1524 w 1811"/>
              <a:gd name="T43" fmla="*/ 1223 h 1419"/>
              <a:gd name="T44" fmla="*/ 1388 w 1811"/>
              <a:gd name="T45" fmla="*/ 1309 h 1419"/>
              <a:gd name="T46" fmla="*/ 992 w 1811"/>
              <a:gd name="T47" fmla="*/ 1395 h 1419"/>
              <a:gd name="T48" fmla="*/ 759 w 1811"/>
              <a:gd name="T49" fmla="*/ 1370 h 1419"/>
              <a:gd name="T50" fmla="*/ 561 w 1811"/>
              <a:gd name="T51" fmla="*/ 1315 h 1419"/>
              <a:gd name="T52" fmla="*/ 152 w 1811"/>
              <a:gd name="T53" fmla="*/ 1052 h 1419"/>
              <a:gd name="T54" fmla="*/ 36 w 1811"/>
              <a:gd name="T55" fmla="*/ 759 h 1419"/>
              <a:gd name="T56" fmla="*/ 206 w 1811"/>
              <a:gd name="T57" fmla="*/ 343 h 1419"/>
              <a:gd name="T58" fmla="*/ 288 w 1811"/>
              <a:gd name="T59" fmla="*/ 274 h 1419"/>
              <a:gd name="T60" fmla="*/ 537 w 1811"/>
              <a:gd name="T61" fmla="*/ 133 h 1419"/>
              <a:gd name="T62" fmla="*/ 1187 w 1811"/>
              <a:gd name="T63" fmla="*/ 59 h 1419"/>
              <a:gd name="T64" fmla="*/ 1218 w 1811"/>
              <a:gd name="T65" fmla="*/ 65 h 1419"/>
              <a:gd name="T66" fmla="*/ 1616 w 1811"/>
              <a:gd name="T67" fmla="*/ 273 h 1419"/>
              <a:gd name="T68" fmla="*/ 1772 w 1811"/>
              <a:gd name="T69" fmla="*/ 524 h 1419"/>
              <a:gd name="T70" fmla="*/ 1787 w 1811"/>
              <a:gd name="T71" fmla="*/ 627 h 1419"/>
              <a:gd name="T72" fmla="*/ 1768 w 1811"/>
              <a:gd name="T73" fmla="*/ 733 h 1419"/>
              <a:gd name="T74" fmla="*/ 1768 w 1811"/>
              <a:gd name="T75" fmla="*/ 739 h 1419"/>
              <a:gd name="T76" fmla="*/ 1789 w 1811"/>
              <a:gd name="T77" fmla="*/ 715 h 1419"/>
              <a:gd name="T78" fmla="*/ 1809 w 1811"/>
              <a:gd name="T79" fmla="*/ 626 h 1419"/>
              <a:gd name="T80" fmla="*/ 1811 w 1811"/>
              <a:gd name="T81" fmla="*/ 601 h 1419"/>
              <a:gd name="T82" fmla="*/ 1809 w 1811"/>
              <a:gd name="T83" fmla="*/ 569 h 1419"/>
              <a:gd name="T84" fmla="*/ 1793 w 1811"/>
              <a:gd name="T85" fmla="*/ 494 h 1419"/>
              <a:gd name="T86" fmla="*/ 1695 w 1811"/>
              <a:gd name="T87" fmla="*/ 314 h 1419"/>
              <a:gd name="T88" fmla="*/ 1440 w 1811"/>
              <a:gd name="T89" fmla="*/ 116 h 1419"/>
              <a:gd name="T90" fmla="*/ 1435 w 1811"/>
              <a:gd name="T91" fmla="*/ 113 h 1419"/>
              <a:gd name="T92" fmla="*/ 1215 w 1811"/>
              <a:gd name="T93" fmla="*/ 38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11" h="1419">
                <a:moveTo>
                  <a:pt x="1215" y="38"/>
                </a:moveTo>
                <a:cubicBezTo>
                  <a:pt x="1039" y="0"/>
                  <a:pt x="853" y="11"/>
                  <a:pt x="646" y="71"/>
                </a:cubicBezTo>
                <a:cubicBezTo>
                  <a:pt x="587" y="87"/>
                  <a:pt x="522" y="114"/>
                  <a:pt x="440" y="153"/>
                </a:cubicBezTo>
                <a:cubicBezTo>
                  <a:pt x="351" y="197"/>
                  <a:pt x="271" y="255"/>
                  <a:pt x="196" y="331"/>
                </a:cubicBezTo>
                <a:cubicBezTo>
                  <a:pt x="69" y="460"/>
                  <a:pt x="0" y="631"/>
                  <a:pt x="10" y="789"/>
                </a:cubicBezTo>
                <a:cubicBezTo>
                  <a:pt x="11" y="793"/>
                  <a:pt x="11" y="793"/>
                  <a:pt x="11" y="793"/>
                </a:cubicBezTo>
                <a:cubicBezTo>
                  <a:pt x="11" y="801"/>
                  <a:pt x="12" y="808"/>
                  <a:pt x="13" y="815"/>
                </a:cubicBezTo>
                <a:cubicBezTo>
                  <a:pt x="28" y="912"/>
                  <a:pt x="57" y="964"/>
                  <a:pt x="92" y="1018"/>
                </a:cubicBezTo>
                <a:cubicBezTo>
                  <a:pt x="143" y="1101"/>
                  <a:pt x="210" y="1156"/>
                  <a:pt x="269" y="1199"/>
                </a:cubicBezTo>
                <a:cubicBezTo>
                  <a:pt x="366" y="1269"/>
                  <a:pt x="463" y="1318"/>
                  <a:pt x="566" y="1347"/>
                </a:cubicBezTo>
                <a:cubicBezTo>
                  <a:pt x="619" y="1363"/>
                  <a:pt x="681" y="1380"/>
                  <a:pt x="744" y="1394"/>
                </a:cubicBezTo>
                <a:cubicBezTo>
                  <a:pt x="823" y="1411"/>
                  <a:pt x="895" y="1419"/>
                  <a:pt x="964" y="1418"/>
                </a:cubicBezTo>
                <a:cubicBezTo>
                  <a:pt x="1124" y="1418"/>
                  <a:pt x="1258" y="1407"/>
                  <a:pt x="1396" y="1337"/>
                </a:cubicBezTo>
                <a:cubicBezTo>
                  <a:pt x="1467" y="1300"/>
                  <a:pt x="1534" y="1252"/>
                  <a:pt x="1600" y="1188"/>
                </a:cubicBezTo>
                <a:cubicBezTo>
                  <a:pt x="1716" y="1077"/>
                  <a:pt x="1759" y="934"/>
                  <a:pt x="1793" y="796"/>
                </a:cubicBezTo>
                <a:cubicBezTo>
                  <a:pt x="1793" y="793"/>
                  <a:pt x="1805" y="738"/>
                  <a:pt x="1806" y="736"/>
                </a:cubicBezTo>
                <a:cubicBezTo>
                  <a:pt x="1807" y="730"/>
                  <a:pt x="1807" y="724"/>
                  <a:pt x="1805" y="720"/>
                </a:cubicBezTo>
                <a:cubicBezTo>
                  <a:pt x="1802" y="717"/>
                  <a:pt x="1799" y="716"/>
                  <a:pt x="1795" y="718"/>
                </a:cubicBezTo>
                <a:cubicBezTo>
                  <a:pt x="1787" y="722"/>
                  <a:pt x="1782" y="728"/>
                  <a:pt x="1778" y="738"/>
                </a:cubicBezTo>
                <a:cubicBezTo>
                  <a:pt x="1776" y="744"/>
                  <a:pt x="1766" y="810"/>
                  <a:pt x="1763" y="818"/>
                </a:cubicBezTo>
                <a:cubicBezTo>
                  <a:pt x="1745" y="882"/>
                  <a:pt x="1736" y="907"/>
                  <a:pt x="1719" y="958"/>
                </a:cubicBezTo>
                <a:cubicBezTo>
                  <a:pt x="1680" y="1077"/>
                  <a:pt x="1587" y="1176"/>
                  <a:pt x="1524" y="1223"/>
                </a:cubicBezTo>
                <a:cubicBezTo>
                  <a:pt x="1476" y="1259"/>
                  <a:pt x="1451" y="1276"/>
                  <a:pt x="1388" y="1309"/>
                </a:cubicBezTo>
                <a:cubicBezTo>
                  <a:pt x="1265" y="1372"/>
                  <a:pt x="1140" y="1395"/>
                  <a:pt x="992" y="1395"/>
                </a:cubicBezTo>
                <a:cubicBezTo>
                  <a:pt x="918" y="1395"/>
                  <a:pt x="841" y="1387"/>
                  <a:pt x="759" y="1370"/>
                </a:cubicBezTo>
                <a:cubicBezTo>
                  <a:pt x="700" y="1357"/>
                  <a:pt x="639" y="1340"/>
                  <a:pt x="561" y="1315"/>
                </a:cubicBezTo>
                <a:cubicBezTo>
                  <a:pt x="406" y="1266"/>
                  <a:pt x="270" y="1182"/>
                  <a:pt x="152" y="1052"/>
                </a:cubicBezTo>
                <a:cubicBezTo>
                  <a:pt x="89" y="984"/>
                  <a:pt x="49" y="881"/>
                  <a:pt x="36" y="759"/>
                </a:cubicBezTo>
                <a:cubicBezTo>
                  <a:pt x="22" y="618"/>
                  <a:pt x="87" y="459"/>
                  <a:pt x="206" y="343"/>
                </a:cubicBezTo>
                <a:cubicBezTo>
                  <a:pt x="234" y="316"/>
                  <a:pt x="263" y="293"/>
                  <a:pt x="288" y="274"/>
                </a:cubicBezTo>
                <a:cubicBezTo>
                  <a:pt x="368" y="212"/>
                  <a:pt x="449" y="166"/>
                  <a:pt x="537" y="133"/>
                </a:cubicBezTo>
                <a:cubicBezTo>
                  <a:pt x="761" y="51"/>
                  <a:pt x="974" y="23"/>
                  <a:pt x="1187" y="59"/>
                </a:cubicBezTo>
                <a:cubicBezTo>
                  <a:pt x="1197" y="61"/>
                  <a:pt x="1208" y="63"/>
                  <a:pt x="1218" y="65"/>
                </a:cubicBezTo>
                <a:cubicBezTo>
                  <a:pt x="1353" y="93"/>
                  <a:pt x="1484" y="162"/>
                  <a:pt x="1616" y="273"/>
                </a:cubicBezTo>
                <a:cubicBezTo>
                  <a:pt x="1692" y="338"/>
                  <a:pt x="1742" y="423"/>
                  <a:pt x="1772" y="524"/>
                </a:cubicBezTo>
                <a:cubicBezTo>
                  <a:pt x="1782" y="557"/>
                  <a:pt x="1786" y="568"/>
                  <a:pt x="1787" y="627"/>
                </a:cubicBezTo>
                <a:cubicBezTo>
                  <a:pt x="1787" y="665"/>
                  <a:pt x="1770" y="721"/>
                  <a:pt x="1768" y="733"/>
                </a:cubicBezTo>
                <a:cubicBezTo>
                  <a:pt x="1768" y="735"/>
                  <a:pt x="1768" y="737"/>
                  <a:pt x="1768" y="739"/>
                </a:cubicBezTo>
                <a:cubicBezTo>
                  <a:pt x="1776" y="731"/>
                  <a:pt x="1784" y="724"/>
                  <a:pt x="1789" y="715"/>
                </a:cubicBezTo>
                <a:cubicBezTo>
                  <a:pt x="1791" y="711"/>
                  <a:pt x="1807" y="662"/>
                  <a:pt x="1809" y="626"/>
                </a:cubicBezTo>
                <a:cubicBezTo>
                  <a:pt x="1809" y="617"/>
                  <a:pt x="1811" y="608"/>
                  <a:pt x="1811" y="601"/>
                </a:cubicBezTo>
                <a:cubicBezTo>
                  <a:pt x="1809" y="569"/>
                  <a:pt x="1809" y="569"/>
                  <a:pt x="1809" y="569"/>
                </a:cubicBezTo>
                <a:cubicBezTo>
                  <a:pt x="1806" y="535"/>
                  <a:pt x="1802" y="522"/>
                  <a:pt x="1793" y="494"/>
                </a:cubicBezTo>
                <a:cubicBezTo>
                  <a:pt x="1771" y="425"/>
                  <a:pt x="1738" y="364"/>
                  <a:pt x="1695" y="314"/>
                </a:cubicBezTo>
                <a:cubicBezTo>
                  <a:pt x="1619" y="224"/>
                  <a:pt x="1524" y="166"/>
                  <a:pt x="1440" y="116"/>
                </a:cubicBezTo>
                <a:cubicBezTo>
                  <a:pt x="1435" y="113"/>
                  <a:pt x="1435" y="113"/>
                  <a:pt x="1435" y="113"/>
                </a:cubicBezTo>
                <a:cubicBezTo>
                  <a:pt x="1364" y="79"/>
                  <a:pt x="1290" y="54"/>
                  <a:pt x="1215" y="38"/>
                </a:cubicBezTo>
                <a:close/>
              </a:path>
            </a:pathLst>
          </a:custGeom>
          <a:solidFill>
            <a:srgbClr val="F06A11"/>
          </a:solidFill>
          <a:ln>
            <a:solidFill>
              <a:srgbClr val="FF9933"/>
            </a:solidFill>
          </a:ln>
        </p:spPr>
        <p:txBody>
          <a:bodyPr vert="horz" wrap="square" lIns="182868" tIns="91434" rIns="182868" bIns="91434" numCol="1" anchor="t" anchorCtr="0" compatLnSpc="1">
            <a:prstTxWarp prst="textNoShape">
              <a:avLst/>
            </a:prstTxWarp>
          </a:bodyPr>
          <a:lstStyle/>
          <a:p>
            <a:pPr defTabSz="1828709"/>
            <a:endParaRPr lang="en-GB" sz="2000">
              <a:solidFill>
                <a:srgbClr val="000000"/>
              </a:solidFill>
            </a:endParaRPr>
          </a:p>
        </p:txBody>
      </p:sp>
      <p:sp>
        <p:nvSpPr>
          <p:cNvPr id="18" name="Text Placeholder 16">
            <a:extLst>
              <a:ext uri="{FF2B5EF4-FFF2-40B4-BE49-F238E27FC236}">
                <a16:creationId xmlns:a16="http://schemas.microsoft.com/office/drawing/2014/main" id="{AA06DD49-3B77-D78B-8CE9-37BFAE099670}"/>
              </a:ext>
            </a:extLst>
          </p:cNvPr>
          <p:cNvSpPr txBox="1">
            <a:spLocks/>
          </p:cNvSpPr>
          <p:nvPr/>
        </p:nvSpPr>
        <p:spPr>
          <a:xfrm>
            <a:off x="22447395" y="6395151"/>
            <a:ext cx="2217484" cy="1749310"/>
          </a:xfrm>
          <a:prstGeom prst="rect">
            <a:avLst/>
          </a:prstGeom>
          <a:ln>
            <a:noFill/>
          </a:ln>
        </p:spPr>
        <p:txBody>
          <a:bodyPr/>
          <a:lstStyle>
            <a:lvl1pPr marL="0" indent="0" algn="l" defTabSz="914400" rtl="0" eaLnBrk="1" latinLnBrk="0" hangingPunct="1">
              <a:lnSpc>
                <a:spcPct val="90000"/>
              </a:lnSpc>
              <a:spcBef>
                <a:spcPts val="1000"/>
              </a:spcBef>
              <a:buFont typeface="Arial" panose="020B0604020202020204" pitchFamily="34" charset="0"/>
              <a:buNone/>
              <a:defRPr sz="1200" b="0" kern="1200" baseline="0">
                <a:solidFill>
                  <a:schemeClr val="tx1"/>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2000" b="1">
                <a:solidFill>
                  <a:srgbClr val="333333"/>
                </a:solidFill>
                <a:latin typeface="+mn-lt"/>
              </a:rPr>
              <a:t>Yigit Kiciman</a:t>
            </a:r>
          </a:p>
          <a:p>
            <a:pPr defTabSz="1828709">
              <a:spcBef>
                <a:spcPts val="2000"/>
              </a:spcBef>
            </a:pPr>
            <a:r>
              <a:rPr lang="en-US" sz="2000">
                <a:solidFill>
                  <a:srgbClr val="000000"/>
                </a:solidFill>
                <a:latin typeface="+mn-lt"/>
              </a:rPr>
              <a:t>Engineering Developer</a:t>
            </a:r>
          </a:p>
        </p:txBody>
      </p:sp>
      <p:pic>
        <p:nvPicPr>
          <p:cNvPr id="12" name="Picture 11" descr="A person standing in front of a wall with a heart and text&#10;&#10;Description automatically generated">
            <a:extLst>
              <a:ext uri="{FF2B5EF4-FFF2-40B4-BE49-F238E27FC236}">
                <a16:creationId xmlns:a16="http://schemas.microsoft.com/office/drawing/2014/main" id="{DF97218E-97A1-CE27-A214-EB144B8F6AA3}"/>
              </a:ext>
            </a:extLst>
          </p:cNvPr>
          <p:cNvPicPr>
            <a:picLocks noChangeAspect="1"/>
          </p:cNvPicPr>
          <p:nvPr/>
        </p:nvPicPr>
        <p:blipFill>
          <a:blip r:embed="rId23">
            <a:extLst>
              <a:ext uri="{BEBA8EAE-BF5A-486C-A8C5-ECC9F3942E4B}">
                <a14:imgProps xmlns:a14="http://schemas.microsoft.com/office/drawing/2010/main">
                  <a14:imgLayer r:embed="rId24">
                    <a14:imgEffect>
                      <a14:saturation sat="0"/>
                    </a14:imgEffect>
                  </a14:imgLayer>
                </a14:imgProps>
              </a:ext>
            </a:extLst>
          </a:blip>
          <a:stretch>
            <a:fillRect/>
          </a:stretch>
        </p:blipFill>
        <p:spPr>
          <a:xfrm flipH="1">
            <a:off x="19840866" y="6074891"/>
            <a:ext cx="2335936" cy="2083288"/>
          </a:xfrm>
          <a:prstGeom prst="ellipse">
            <a:avLst/>
          </a:prstGeom>
          <a:ln>
            <a:solidFill>
              <a:srgbClr val="FF9933"/>
            </a:solidFill>
          </a:ln>
        </p:spPr>
      </p:pic>
    </p:spTree>
    <p:extLst>
      <p:ext uri="{BB962C8B-B14F-4D97-AF65-F5344CB8AC3E}">
        <p14:creationId xmlns:p14="http://schemas.microsoft.com/office/powerpoint/2010/main" val="2845881685"/>
      </p:ext>
    </p:extLst>
  </p:cSld>
  <p:clrMapOvr>
    <a:masterClrMapping/>
  </p:clrMapOvr>
  <p:extLst>
    <p:ext uri="{6950BFC3-D8DA-4A85-94F7-54DA5524770B}">
      <p188:commentRel xmlns:p188="http://schemas.microsoft.com/office/powerpoint/2018/8/main" r:id="rId3"/>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A1879FC-B21D-9F25-AA15-73D7DDA18A22}"/>
              </a:ext>
            </a:extLst>
          </p:cNvPr>
          <p:cNvSpPr>
            <a:spLocks noGrp="1"/>
          </p:cNvSpPr>
          <p:nvPr>
            <p:ph type="body" sz="quarter" idx="18"/>
          </p:nvPr>
        </p:nvSpPr>
        <p:spPr>
          <a:xfrm>
            <a:off x="1674329" y="7106115"/>
            <a:ext cx="10183374" cy="4073162"/>
          </a:xfrm>
        </p:spPr>
        <p:txBody>
          <a:bodyPr/>
          <a:lstStyle/>
          <a:p>
            <a:r>
              <a:rPr lang="sv-SE" b="1"/>
              <a:t>Purpose of innovation team </a:t>
            </a:r>
          </a:p>
          <a:p>
            <a:r>
              <a:rPr lang="sv-SE"/>
              <a:t>On behalf of Supply Chain Development and Intralogistics, our Innovation Team proactively solves today’s and tomorrow’s logistic and fulfulment challenges through exploring, innovating and prototyping new concepts following the democratic design principles. </a:t>
            </a:r>
          </a:p>
        </p:txBody>
      </p:sp>
      <p:sp>
        <p:nvSpPr>
          <p:cNvPr id="3" name="Title 2">
            <a:extLst>
              <a:ext uri="{FF2B5EF4-FFF2-40B4-BE49-F238E27FC236}">
                <a16:creationId xmlns:a16="http://schemas.microsoft.com/office/drawing/2014/main" id="{C3874DBB-7986-62F7-6C6B-FD334309D552}"/>
              </a:ext>
            </a:extLst>
          </p:cNvPr>
          <p:cNvSpPr>
            <a:spLocks noGrp="1"/>
          </p:cNvSpPr>
          <p:nvPr>
            <p:ph type="title"/>
          </p:nvPr>
        </p:nvSpPr>
        <p:spPr>
          <a:xfrm>
            <a:off x="1673158" y="1037972"/>
            <a:ext cx="21033007" cy="1498751"/>
          </a:xfrm>
        </p:spPr>
        <p:txBody>
          <a:bodyPr/>
          <a:lstStyle/>
          <a:p>
            <a:r>
              <a:rPr lang="sv-SE"/>
              <a:t>Purpose and objectives</a:t>
            </a:r>
          </a:p>
        </p:txBody>
      </p:sp>
      <p:sp>
        <p:nvSpPr>
          <p:cNvPr id="4" name="Footer Placeholder 3">
            <a:extLst>
              <a:ext uri="{FF2B5EF4-FFF2-40B4-BE49-F238E27FC236}">
                <a16:creationId xmlns:a16="http://schemas.microsoft.com/office/drawing/2014/main" id="{C25054D5-D129-3A1A-6D5B-6FED7A3EE128}"/>
              </a:ext>
            </a:extLst>
          </p:cNvPr>
          <p:cNvSpPr>
            <a:spLocks noGrp="1"/>
          </p:cNvSpPr>
          <p:nvPr>
            <p:ph type="ftr" sz="quarter" idx="19"/>
          </p:nvPr>
        </p:nvSpPr>
        <p:spPr/>
        <p:txBody>
          <a:bodyPr/>
          <a:lstStyle/>
          <a:p>
            <a:endParaRPr lang="en-NL"/>
          </a:p>
        </p:txBody>
      </p:sp>
      <p:sp>
        <p:nvSpPr>
          <p:cNvPr id="5" name="Text Placeholder 1">
            <a:extLst>
              <a:ext uri="{FF2B5EF4-FFF2-40B4-BE49-F238E27FC236}">
                <a16:creationId xmlns:a16="http://schemas.microsoft.com/office/drawing/2014/main" id="{D5D7B3FB-9645-EFF4-D2E5-316D310882C5}"/>
              </a:ext>
            </a:extLst>
          </p:cNvPr>
          <p:cNvSpPr txBox="1">
            <a:spLocks/>
          </p:cNvSpPr>
          <p:nvPr/>
        </p:nvSpPr>
        <p:spPr>
          <a:xfrm>
            <a:off x="12668381" y="6899020"/>
            <a:ext cx="11076522" cy="5630936"/>
          </a:xfrm>
          <a:prstGeom prst="rect">
            <a:avLst/>
          </a:prstGeom>
        </p:spPr>
        <p:txBody>
          <a:bodyPr vert="horz" lIns="91440" tIns="45720" rIns="91440" bIns="45720" rtlCol="0" anchor="t">
            <a:noAutofit/>
          </a:bodyPr>
          <a:lstStyle>
            <a:lvl1pPr marL="0" indent="0" algn="l" defTabSz="1828573" rtl="0" eaLnBrk="1" latinLnBrk="0" hangingPunct="1">
              <a:lnSpc>
                <a:spcPct val="100000"/>
              </a:lnSpc>
              <a:spcBef>
                <a:spcPts val="2000"/>
              </a:spcBef>
              <a:buFont typeface="Arial" panose="020B0604020202020204" pitchFamily="34" charset="0"/>
              <a:buNone/>
              <a:defRPr sz="3200" kern="1200">
                <a:solidFill>
                  <a:schemeClr val="tx1"/>
                </a:solidFill>
                <a:latin typeface="Noto IKEA Latin" panose="020B0502040504020204" pitchFamily="34" charset="0"/>
                <a:ea typeface="+mn-ea"/>
                <a:cs typeface="+mn-cs"/>
              </a:defRPr>
            </a:lvl1pPr>
            <a:lvl2pPr marL="0" indent="-685732" algn="l" defTabSz="1828573" rtl="0" eaLnBrk="1" latinLnBrk="0" hangingPunct="1">
              <a:lnSpc>
                <a:spcPct val="100000"/>
              </a:lnSpc>
              <a:spcBef>
                <a:spcPts val="2000"/>
              </a:spcBef>
              <a:buFont typeface="Arial" panose="020B0604020202020204" pitchFamily="34" charset="0"/>
              <a:buChar char="•"/>
              <a:defRPr sz="3200" kern="1200" spc="0">
                <a:solidFill>
                  <a:schemeClr val="tx1"/>
                </a:solidFill>
                <a:latin typeface="Noto IKEA Latin" panose="020B0502040504020204" pitchFamily="34" charset="0"/>
                <a:ea typeface="+mn-ea"/>
                <a:cs typeface="+mn-cs"/>
              </a:defRPr>
            </a:lvl2pPr>
            <a:lvl3pPr marL="2285714" indent="-457143" algn="l" defTabSz="1828573" rtl="0" eaLnBrk="1" latinLnBrk="0" hangingPunct="1">
              <a:lnSpc>
                <a:spcPct val="100000"/>
              </a:lnSpc>
              <a:spcBef>
                <a:spcPts val="1000"/>
              </a:spcBef>
              <a:buFont typeface="Arial" panose="020B0604020202020204" pitchFamily="34" charset="0"/>
              <a:buChar char="•"/>
              <a:defRPr sz="3600" i="0" kern="1200">
                <a:solidFill>
                  <a:schemeClr val="tx1"/>
                </a:solidFill>
                <a:latin typeface="Noto IKEA Latin" panose="020B0502040504020204" pitchFamily="34" charset="0"/>
                <a:ea typeface="+mn-ea"/>
                <a:cs typeface="+mn-cs"/>
              </a:defRPr>
            </a:lvl3pPr>
            <a:lvl4pPr marL="3200000" indent="-457143" algn="l" defTabSz="1828573" rtl="0" eaLnBrk="1" latinLnBrk="0" hangingPunct="1">
              <a:lnSpc>
                <a:spcPct val="100000"/>
              </a:lnSpc>
              <a:spcBef>
                <a:spcPts val="1000"/>
              </a:spcBef>
              <a:buFont typeface="Arial" panose="020B0604020202020204" pitchFamily="34" charset="0"/>
              <a:buChar char="•"/>
              <a:defRPr sz="2800" kern="1200">
                <a:solidFill>
                  <a:schemeClr val="tx1"/>
                </a:solidFill>
                <a:latin typeface="Noto IKEA Latin" panose="020B0502040504020204" pitchFamily="34" charset="0"/>
                <a:ea typeface="+mn-ea"/>
                <a:cs typeface="+mn-cs"/>
              </a:defRPr>
            </a:lvl4pPr>
            <a:lvl5pPr marL="4114286" indent="-457143" algn="l" defTabSz="1828573" rtl="0" eaLnBrk="1" latinLnBrk="0" hangingPunct="1">
              <a:lnSpc>
                <a:spcPct val="100000"/>
              </a:lnSpc>
              <a:spcBef>
                <a:spcPts val="1000"/>
              </a:spcBef>
              <a:buFont typeface="Arial" panose="020B0604020202020204" pitchFamily="34" charset="0"/>
              <a:buChar char="•"/>
              <a:defRPr sz="2000" kern="1200">
                <a:solidFill>
                  <a:schemeClr val="tx1"/>
                </a:solidFill>
                <a:latin typeface="Noto IKEA Latin" panose="020B0502040504020204" pitchFamily="34" charset="0"/>
                <a:ea typeface="+mn-ea"/>
                <a:cs typeface="+mn-cs"/>
              </a:defRPr>
            </a:lvl5pPr>
            <a:lvl6pPr marL="5028573"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2859"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143"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1429"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r>
              <a:rPr lang="sv-SE" b="1"/>
              <a:t>Main objectives</a:t>
            </a:r>
          </a:p>
          <a:p>
            <a:r>
              <a:rPr lang="sv-SE"/>
              <a:t>Intralogistics Innovations design, develops and tests innovations to meet the demands of our customers across the IKEA Supply Chain.</a:t>
            </a:r>
          </a:p>
          <a:p>
            <a:r>
              <a:rPr lang="sv-SE"/>
              <a:t>We create innovative solutions by being the bridge between ideas and practical solutions. </a:t>
            </a:r>
          </a:p>
          <a:p>
            <a:r>
              <a:rPr lang="sv-SE"/>
              <a:t>In our Logistics Innovation Lab we build prototypes from scratch to secure functional and fitting intralogistics solutions for IKEA’s needs. </a:t>
            </a:r>
          </a:p>
        </p:txBody>
      </p:sp>
      <p:sp>
        <p:nvSpPr>
          <p:cNvPr id="6" name="Text Placeholder 1">
            <a:extLst>
              <a:ext uri="{FF2B5EF4-FFF2-40B4-BE49-F238E27FC236}">
                <a16:creationId xmlns:a16="http://schemas.microsoft.com/office/drawing/2014/main" id="{FFD79473-2769-CBBE-7662-70680DFD387F}"/>
              </a:ext>
            </a:extLst>
          </p:cNvPr>
          <p:cNvSpPr txBox="1">
            <a:spLocks/>
          </p:cNvSpPr>
          <p:nvPr/>
        </p:nvSpPr>
        <p:spPr>
          <a:xfrm>
            <a:off x="1673158" y="3134921"/>
            <a:ext cx="21510136" cy="2531685"/>
          </a:xfrm>
          <a:prstGeom prst="rect">
            <a:avLst/>
          </a:prstGeom>
        </p:spPr>
        <p:txBody>
          <a:bodyPr vert="horz" lIns="91440" tIns="45720" rIns="91440" bIns="45720" rtlCol="0" anchor="t">
            <a:noAutofit/>
          </a:bodyPr>
          <a:lstStyle>
            <a:lvl1pPr marL="0" indent="0" algn="l" defTabSz="1828573" rtl="0" eaLnBrk="1" latinLnBrk="0" hangingPunct="1">
              <a:lnSpc>
                <a:spcPct val="100000"/>
              </a:lnSpc>
              <a:spcBef>
                <a:spcPts val="2000"/>
              </a:spcBef>
              <a:buFont typeface="Arial" panose="020B0604020202020204" pitchFamily="34" charset="0"/>
              <a:buNone/>
              <a:defRPr sz="3200" kern="1200">
                <a:solidFill>
                  <a:schemeClr val="tx1"/>
                </a:solidFill>
                <a:latin typeface="Noto IKEA Latin" panose="020B0502040504020204" pitchFamily="34" charset="0"/>
                <a:ea typeface="+mn-ea"/>
                <a:cs typeface="+mn-cs"/>
              </a:defRPr>
            </a:lvl1pPr>
            <a:lvl2pPr marL="0" indent="-685732" algn="l" defTabSz="1828573" rtl="0" eaLnBrk="1" latinLnBrk="0" hangingPunct="1">
              <a:lnSpc>
                <a:spcPct val="100000"/>
              </a:lnSpc>
              <a:spcBef>
                <a:spcPts val="2000"/>
              </a:spcBef>
              <a:buFont typeface="Arial" panose="020B0604020202020204" pitchFamily="34" charset="0"/>
              <a:buChar char="•"/>
              <a:defRPr sz="3200" kern="1200" spc="0">
                <a:solidFill>
                  <a:schemeClr val="tx1"/>
                </a:solidFill>
                <a:latin typeface="Noto IKEA Latin" panose="020B0502040504020204" pitchFamily="34" charset="0"/>
                <a:ea typeface="+mn-ea"/>
                <a:cs typeface="+mn-cs"/>
              </a:defRPr>
            </a:lvl2pPr>
            <a:lvl3pPr marL="2285714" indent="-457143" algn="l" defTabSz="1828573" rtl="0" eaLnBrk="1" latinLnBrk="0" hangingPunct="1">
              <a:lnSpc>
                <a:spcPct val="100000"/>
              </a:lnSpc>
              <a:spcBef>
                <a:spcPts val="1000"/>
              </a:spcBef>
              <a:buFont typeface="Arial" panose="020B0604020202020204" pitchFamily="34" charset="0"/>
              <a:buChar char="•"/>
              <a:defRPr sz="3600" i="0" kern="1200">
                <a:solidFill>
                  <a:schemeClr val="tx1"/>
                </a:solidFill>
                <a:latin typeface="Noto IKEA Latin" panose="020B0502040504020204" pitchFamily="34" charset="0"/>
                <a:ea typeface="+mn-ea"/>
                <a:cs typeface="+mn-cs"/>
              </a:defRPr>
            </a:lvl3pPr>
            <a:lvl4pPr marL="3200000" indent="-457143" algn="l" defTabSz="1828573" rtl="0" eaLnBrk="1" latinLnBrk="0" hangingPunct="1">
              <a:lnSpc>
                <a:spcPct val="100000"/>
              </a:lnSpc>
              <a:spcBef>
                <a:spcPts val="1000"/>
              </a:spcBef>
              <a:buFont typeface="Arial" panose="020B0604020202020204" pitchFamily="34" charset="0"/>
              <a:buChar char="•"/>
              <a:defRPr sz="2800" kern="1200">
                <a:solidFill>
                  <a:schemeClr val="tx1"/>
                </a:solidFill>
                <a:latin typeface="Noto IKEA Latin" panose="020B0502040504020204" pitchFamily="34" charset="0"/>
                <a:ea typeface="+mn-ea"/>
                <a:cs typeface="+mn-cs"/>
              </a:defRPr>
            </a:lvl4pPr>
            <a:lvl5pPr marL="4114286" indent="-457143" algn="l" defTabSz="1828573" rtl="0" eaLnBrk="1" latinLnBrk="0" hangingPunct="1">
              <a:lnSpc>
                <a:spcPct val="100000"/>
              </a:lnSpc>
              <a:spcBef>
                <a:spcPts val="1000"/>
              </a:spcBef>
              <a:buFont typeface="Arial" panose="020B0604020202020204" pitchFamily="34" charset="0"/>
              <a:buChar char="•"/>
              <a:defRPr sz="2000" kern="1200">
                <a:solidFill>
                  <a:schemeClr val="tx1"/>
                </a:solidFill>
                <a:latin typeface="Noto IKEA Latin" panose="020B0502040504020204" pitchFamily="34" charset="0"/>
                <a:ea typeface="+mn-ea"/>
                <a:cs typeface="+mn-cs"/>
              </a:defRPr>
            </a:lvl5pPr>
            <a:lvl6pPr marL="5028573"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2859"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143"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1429" indent="-457143" algn="l" defTabSz="182857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r>
              <a:rPr lang="sv-SE"/>
              <a:t>IKEA is built on a culture of entrepreneurship and has througout 80 years been known for being a challenger and thinking differently. </a:t>
            </a:r>
          </a:p>
          <a:p>
            <a:r>
              <a:rPr lang="sv-SE"/>
              <a:t>Innovation and entrepreneurship need to be our key drdiving forces also in developing IKEA for the future -  to be relevant and able to crate a better everyday life for the many in the decades to come. </a:t>
            </a:r>
          </a:p>
        </p:txBody>
      </p:sp>
      <p:cxnSp>
        <p:nvCxnSpPr>
          <p:cNvPr id="8" name="Straight Connector 7">
            <a:extLst>
              <a:ext uri="{FF2B5EF4-FFF2-40B4-BE49-F238E27FC236}">
                <a16:creationId xmlns:a16="http://schemas.microsoft.com/office/drawing/2014/main" id="{4E004C60-DCAC-1A00-5B0C-AF5F593F2580}"/>
              </a:ext>
            </a:extLst>
          </p:cNvPr>
          <p:cNvCxnSpPr/>
          <p:nvPr/>
        </p:nvCxnSpPr>
        <p:spPr>
          <a:xfrm>
            <a:off x="1197948" y="6282813"/>
            <a:ext cx="21986517" cy="0"/>
          </a:xfrm>
          <a:prstGeom prst="line">
            <a:avLst/>
          </a:prstGeom>
          <a:ln w="38100">
            <a:solidFill>
              <a:srgbClr val="F2CF0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B66614E-9DF5-0EB7-0D46-8E2F8CC36C98}"/>
              </a:ext>
            </a:extLst>
          </p:cNvPr>
          <p:cNvCxnSpPr>
            <a:cxnSpLocks/>
          </p:cNvCxnSpPr>
          <p:nvPr/>
        </p:nvCxnSpPr>
        <p:spPr>
          <a:xfrm>
            <a:off x="12189662" y="6665519"/>
            <a:ext cx="1544" cy="5373552"/>
          </a:xfrm>
          <a:prstGeom prst="line">
            <a:avLst/>
          </a:prstGeom>
          <a:ln w="38100">
            <a:solidFill>
              <a:srgbClr val="F2CF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71629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073D02E4-B470-DC50-E364-4BD577A5A327}"/>
              </a:ext>
            </a:extLst>
          </p:cNvPr>
          <p:cNvSpPr>
            <a:spLocks noGrp="1"/>
          </p:cNvSpPr>
          <p:nvPr>
            <p:ph type="body" sz="quarter" idx="21"/>
          </p:nvPr>
        </p:nvSpPr>
        <p:spPr/>
        <p:txBody>
          <a:bodyPr/>
          <a:lstStyle/>
          <a:p>
            <a:r>
              <a:rPr lang="sv-SE" b="1"/>
              <a:t>1. Explore</a:t>
            </a:r>
            <a:r>
              <a:rPr lang="sv-SE"/>
              <a:t> and create ideas</a:t>
            </a:r>
          </a:p>
        </p:txBody>
      </p:sp>
      <p:sp>
        <p:nvSpPr>
          <p:cNvPr id="10" name="Text Placeholder 9">
            <a:extLst>
              <a:ext uri="{FF2B5EF4-FFF2-40B4-BE49-F238E27FC236}">
                <a16:creationId xmlns:a16="http://schemas.microsoft.com/office/drawing/2014/main" id="{27B6E16C-F321-8355-18AF-CEF7C893DB02}"/>
              </a:ext>
            </a:extLst>
          </p:cNvPr>
          <p:cNvSpPr>
            <a:spLocks noGrp="1"/>
          </p:cNvSpPr>
          <p:nvPr>
            <p:ph type="body" sz="quarter" idx="23"/>
          </p:nvPr>
        </p:nvSpPr>
        <p:spPr/>
        <p:txBody>
          <a:bodyPr/>
          <a:lstStyle/>
          <a:p>
            <a:r>
              <a:rPr lang="sv-SE"/>
              <a:t>2. Innovate and </a:t>
            </a:r>
            <a:r>
              <a:rPr lang="sv-SE" b="1"/>
              <a:t>Create</a:t>
            </a:r>
            <a:r>
              <a:rPr lang="sv-SE"/>
              <a:t> solutions</a:t>
            </a:r>
          </a:p>
        </p:txBody>
      </p:sp>
      <p:sp>
        <p:nvSpPr>
          <p:cNvPr id="12" name="Text Placeholder 11">
            <a:extLst>
              <a:ext uri="{FF2B5EF4-FFF2-40B4-BE49-F238E27FC236}">
                <a16:creationId xmlns:a16="http://schemas.microsoft.com/office/drawing/2014/main" id="{B1340696-D085-5A2A-A9DB-437A7943FC81}"/>
              </a:ext>
            </a:extLst>
          </p:cNvPr>
          <p:cNvSpPr>
            <a:spLocks noGrp="1"/>
          </p:cNvSpPr>
          <p:nvPr>
            <p:ph type="body" sz="quarter" idx="25"/>
          </p:nvPr>
        </p:nvSpPr>
        <p:spPr/>
        <p:txBody>
          <a:bodyPr/>
          <a:lstStyle/>
          <a:p>
            <a:r>
              <a:rPr lang="sv-SE" b="1"/>
              <a:t>3. Scouting</a:t>
            </a:r>
            <a:r>
              <a:rPr lang="sv-SE"/>
              <a:t> active and passive</a:t>
            </a:r>
          </a:p>
        </p:txBody>
      </p:sp>
      <p:sp>
        <p:nvSpPr>
          <p:cNvPr id="14" name="Text Placeholder 13">
            <a:extLst>
              <a:ext uri="{FF2B5EF4-FFF2-40B4-BE49-F238E27FC236}">
                <a16:creationId xmlns:a16="http://schemas.microsoft.com/office/drawing/2014/main" id="{3F9628EE-5322-28B9-D9FB-B2474A5F2691}"/>
              </a:ext>
            </a:extLst>
          </p:cNvPr>
          <p:cNvSpPr>
            <a:spLocks noGrp="1"/>
          </p:cNvSpPr>
          <p:nvPr>
            <p:ph type="body" sz="quarter" idx="27"/>
          </p:nvPr>
        </p:nvSpPr>
        <p:spPr/>
        <p:txBody>
          <a:bodyPr/>
          <a:lstStyle/>
          <a:p>
            <a:r>
              <a:rPr lang="sv-SE"/>
              <a:t>4. Develop Logistics &amp; Fulfilment </a:t>
            </a:r>
            <a:r>
              <a:rPr lang="sv-SE" b="1"/>
              <a:t>Equipment</a:t>
            </a:r>
          </a:p>
        </p:txBody>
      </p:sp>
      <p:sp>
        <p:nvSpPr>
          <p:cNvPr id="6" name="Title 5">
            <a:extLst>
              <a:ext uri="{FF2B5EF4-FFF2-40B4-BE49-F238E27FC236}">
                <a16:creationId xmlns:a16="http://schemas.microsoft.com/office/drawing/2014/main" id="{5A23B50D-8203-7D1D-884A-08DACA2F772E}"/>
              </a:ext>
            </a:extLst>
          </p:cNvPr>
          <p:cNvSpPr>
            <a:spLocks noGrp="1"/>
          </p:cNvSpPr>
          <p:nvPr>
            <p:ph type="title"/>
          </p:nvPr>
        </p:nvSpPr>
        <p:spPr/>
        <p:txBody>
          <a:bodyPr/>
          <a:lstStyle/>
          <a:p>
            <a:r>
              <a:rPr lang="sv-SE"/>
              <a:t>Intralogistics Development Innovation assignment</a:t>
            </a:r>
            <a:br>
              <a:rPr lang="sv-SE" b="1">
                <a:latin typeface="Noto IKEA Latin" panose="020B0502040504020204" pitchFamily="34" charset="0"/>
              </a:rPr>
            </a:br>
            <a:endParaRPr lang="sv-SE"/>
          </a:p>
        </p:txBody>
      </p:sp>
      <p:sp>
        <p:nvSpPr>
          <p:cNvPr id="5" name="Footer Placeholder 4">
            <a:extLst>
              <a:ext uri="{FF2B5EF4-FFF2-40B4-BE49-F238E27FC236}">
                <a16:creationId xmlns:a16="http://schemas.microsoft.com/office/drawing/2014/main" id="{854DE977-3D06-91D4-6CC3-E5B9E303297D}"/>
              </a:ext>
            </a:extLst>
          </p:cNvPr>
          <p:cNvSpPr>
            <a:spLocks noGrp="1"/>
          </p:cNvSpPr>
          <p:nvPr>
            <p:ph type="ftr" sz="quarter" idx="28"/>
          </p:nvPr>
        </p:nvSpPr>
        <p:spPr/>
        <p:txBody>
          <a:bodyPr/>
          <a:lstStyle/>
          <a:p>
            <a:endParaRPr lang="sv-SE"/>
          </a:p>
        </p:txBody>
      </p:sp>
      <p:pic>
        <p:nvPicPr>
          <p:cNvPr id="3" name="Graphic 2" descr="Lightbulb and gear outline">
            <a:extLst>
              <a:ext uri="{FF2B5EF4-FFF2-40B4-BE49-F238E27FC236}">
                <a16:creationId xmlns:a16="http://schemas.microsoft.com/office/drawing/2014/main" id="{3EAE07DA-3BBF-1518-6172-AFFB35FAF9B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10921" y="5527727"/>
            <a:ext cx="3011660" cy="3011660"/>
          </a:xfrm>
          <a:prstGeom prst="rect">
            <a:avLst/>
          </a:prstGeom>
        </p:spPr>
      </p:pic>
      <p:pic>
        <p:nvPicPr>
          <p:cNvPr id="7" name="Graphic 6" descr="Tools with solid fill">
            <a:extLst>
              <a:ext uri="{FF2B5EF4-FFF2-40B4-BE49-F238E27FC236}">
                <a16:creationId xmlns:a16="http://schemas.microsoft.com/office/drawing/2014/main" id="{F33AD24F-3CCD-EDC2-A7E8-3677844CCE7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16205" y="5865843"/>
            <a:ext cx="2335427" cy="2335427"/>
          </a:xfrm>
          <a:prstGeom prst="rect">
            <a:avLst/>
          </a:prstGeom>
        </p:spPr>
      </p:pic>
      <p:pic>
        <p:nvPicPr>
          <p:cNvPr id="16" name="Graphic 15" descr="Binoculars outline">
            <a:extLst>
              <a:ext uri="{FF2B5EF4-FFF2-40B4-BE49-F238E27FC236}">
                <a16:creationId xmlns:a16="http://schemas.microsoft.com/office/drawing/2014/main" id="{797DB79A-5F28-8BEC-BA9B-C50D44BFC83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3096910" y="5706033"/>
            <a:ext cx="2495237" cy="2495237"/>
          </a:xfrm>
          <a:prstGeom prst="rect">
            <a:avLst/>
          </a:prstGeom>
        </p:spPr>
      </p:pic>
      <p:pic>
        <p:nvPicPr>
          <p:cNvPr id="19" name="Graphic 18" descr="Box trolley with solid fill">
            <a:extLst>
              <a:ext uri="{FF2B5EF4-FFF2-40B4-BE49-F238E27FC236}">
                <a16:creationId xmlns:a16="http://schemas.microsoft.com/office/drawing/2014/main" id="{6F944C04-A83F-28DA-E3CC-2E2F17C331F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259833" y="5865843"/>
            <a:ext cx="2495237" cy="2495237"/>
          </a:xfrm>
          <a:prstGeom prst="rect">
            <a:avLst/>
          </a:prstGeom>
        </p:spPr>
      </p:pic>
    </p:spTree>
    <p:extLst>
      <p:ext uri="{BB962C8B-B14F-4D97-AF65-F5344CB8AC3E}">
        <p14:creationId xmlns:p14="http://schemas.microsoft.com/office/powerpoint/2010/main" val="9267480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DE21B7-7986-45CC-93B2-119CC21F1792}"/>
              </a:ext>
            </a:extLst>
          </p:cNvPr>
          <p:cNvGraphicFramePr>
            <a:graphicFrameLocks noChangeAspect="1"/>
          </p:cNvGraphicFramePr>
          <p:nvPr>
            <p:custDataLst>
              <p:tags r:id="rId1"/>
            </p:custDataLst>
          </p:nvPr>
        </p:nvGraphicFramePr>
        <p:xfrm>
          <a:off x="3969" y="4068"/>
          <a:ext cx="3176" cy="3176"/>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9" name="Object 8" hidden="1">
                        <a:extLst>
                          <a:ext uri="{FF2B5EF4-FFF2-40B4-BE49-F238E27FC236}">
                            <a16:creationId xmlns:a16="http://schemas.microsoft.com/office/drawing/2014/main" id="{99DE21B7-7986-45CC-93B2-119CC21F1792}"/>
                          </a:ext>
                        </a:extLst>
                      </p:cNvPr>
                      <p:cNvPicPr/>
                      <p:nvPr/>
                    </p:nvPicPr>
                    <p:blipFill>
                      <a:blip r:embed="rId4"/>
                      <a:stretch>
                        <a:fillRect/>
                      </a:stretch>
                    </p:blipFill>
                    <p:spPr>
                      <a:xfrm>
                        <a:off x="3969" y="4068"/>
                        <a:ext cx="3176" cy="3176"/>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E378B70E-EF3A-8D5B-8841-C4A351D85527}"/>
              </a:ext>
            </a:extLst>
          </p:cNvPr>
          <p:cNvGrpSpPr/>
          <p:nvPr/>
        </p:nvGrpSpPr>
        <p:grpSpPr>
          <a:xfrm>
            <a:off x="-3643602" y="-319015"/>
            <a:ext cx="26440445" cy="14354027"/>
            <a:chOff x="74309" y="33551"/>
            <a:chExt cx="13221944" cy="7177948"/>
          </a:xfrm>
        </p:grpSpPr>
        <p:cxnSp>
          <p:nvCxnSpPr>
            <p:cNvPr id="102" name="Straight Connector 101">
              <a:extLst>
                <a:ext uri="{FF2B5EF4-FFF2-40B4-BE49-F238E27FC236}">
                  <a16:creationId xmlns:a16="http://schemas.microsoft.com/office/drawing/2014/main" id="{0659FD08-383A-4969-90A5-659F0B04432C}"/>
                </a:ext>
              </a:extLst>
            </p:cNvPr>
            <p:cNvCxnSpPr>
              <a:cxnSpLocks/>
            </p:cNvCxnSpPr>
            <p:nvPr/>
          </p:nvCxnSpPr>
          <p:spPr>
            <a:xfrm>
              <a:off x="3956637" y="33551"/>
              <a:ext cx="3630274" cy="2402476"/>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FA5AD64C-95D2-476A-A0CA-8542D0ED5824}"/>
                </a:ext>
              </a:extLst>
            </p:cNvPr>
            <p:cNvCxnSpPr>
              <a:cxnSpLocks/>
            </p:cNvCxnSpPr>
            <p:nvPr/>
          </p:nvCxnSpPr>
          <p:spPr>
            <a:xfrm>
              <a:off x="74309" y="990361"/>
              <a:ext cx="7454935" cy="146502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graphicFrame>
          <p:nvGraphicFramePr>
            <p:cNvPr id="18" name="Diagram 17">
              <a:extLst>
                <a:ext uri="{FF2B5EF4-FFF2-40B4-BE49-F238E27FC236}">
                  <a16:creationId xmlns:a16="http://schemas.microsoft.com/office/drawing/2014/main" id="{FADC2521-2552-4F8F-B5C8-CFB7E0281E90}"/>
                </a:ext>
              </a:extLst>
            </p:cNvPr>
            <p:cNvGraphicFramePr/>
            <p:nvPr/>
          </p:nvGraphicFramePr>
          <p:xfrm>
            <a:off x="5132315" y="1967937"/>
            <a:ext cx="4774172" cy="334596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9" name="Rectangle 18">
              <a:extLst>
                <a:ext uri="{FF2B5EF4-FFF2-40B4-BE49-F238E27FC236}">
                  <a16:creationId xmlns:a16="http://schemas.microsoft.com/office/drawing/2014/main" id="{90B89A17-ED82-4038-9605-9DF3819D789F}"/>
                </a:ext>
              </a:extLst>
            </p:cNvPr>
            <p:cNvSpPr/>
            <p:nvPr/>
          </p:nvSpPr>
          <p:spPr>
            <a:xfrm>
              <a:off x="7342579" y="4695552"/>
              <a:ext cx="521622" cy="4764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619">
                <a:defRPr/>
              </a:pPr>
              <a:endParaRPr lang="en-GB">
                <a:solidFill>
                  <a:prstClr val="white"/>
                </a:solidFill>
                <a:latin typeface="Verdana"/>
              </a:endParaRPr>
            </a:p>
          </p:txBody>
        </p:sp>
        <p:sp>
          <p:nvSpPr>
            <p:cNvPr id="20" name="Rectangle 19">
              <a:extLst>
                <a:ext uri="{FF2B5EF4-FFF2-40B4-BE49-F238E27FC236}">
                  <a16:creationId xmlns:a16="http://schemas.microsoft.com/office/drawing/2014/main" id="{44FC0991-93CB-4928-916D-358C808C3BFD}"/>
                </a:ext>
              </a:extLst>
            </p:cNvPr>
            <p:cNvSpPr/>
            <p:nvPr/>
          </p:nvSpPr>
          <p:spPr>
            <a:xfrm>
              <a:off x="6431950" y="4293778"/>
              <a:ext cx="521622" cy="4764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619">
                <a:defRPr/>
              </a:pPr>
              <a:endParaRPr lang="en-GB">
                <a:solidFill>
                  <a:prstClr val="white"/>
                </a:solidFill>
                <a:latin typeface="Verdana"/>
              </a:endParaRPr>
            </a:p>
          </p:txBody>
        </p:sp>
        <p:sp>
          <p:nvSpPr>
            <p:cNvPr id="21" name="Rectangle 20">
              <a:extLst>
                <a:ext uri="{FF2B5EF4-FFF2-40B4-BE49-F238E27FC236}">
                  <a16:creationId xmlns:a16="http://schemas.microsoft.com/office/drawing/2014/main" id="{EDEC4D46-B4F0-45E3-8F3E-E77F7CE53D1E}"/>
                </a:ext>
              </a:extLst>
            </p:cNvPr>
            <p:cNvSpPr/>
            <p:nvPr/>
          </p:nvSpPr>
          <p:spPr>
            <a:xfrm>
              <a:off x="6299334" y="3273652"/>
              <a:ext cx="521622" cy="4764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619">
                <a:defRPr/>
              </a:pPr>
              <a:endParaRPr lang="en-GB">
                <a:solidFill>
                  <a:prstClr val="white"/>
                </a:solidFill>
                <a:latin typeface="Verdana"/>
              </a:endParaRPr>
            </a:p>
          </p:txBody>
        </p:sp>
        <p:sp>
          <p:nvSpPr>
            <p:cNvPr id="22" name="Rectangle 21">
              <a:extLst>
                <a:ext uri="{FF2B5EF4-FFF2-40B4-BE49-F238E27FC236}">
                  <a16:creationId xmlns:a16="http://schemas.microsoft.com/office/drawing/2014/main" id="{FD970508-9C17-43AD-8185-67A91F4F3A13}"/>
                </a:ext>
              </a:extLst>
            </p:cNvPr>
            <p:cNvSpPr/>
            <p:nvPr/>
          </p:nvSpPr>
          <p:spPr>
            <a:xfrm>
              <a:off x="6820957" y="2464256"/>
              <a:ext cx="521622" cy="4764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619">
                <a:defRPr/>
              </a:pPr>
              <a:endParaRPr lang="en-GB">
                <a:solidFill>
                  <a:prstClr val="white"/>
                </a:solidFill>
                <a:latin typeface="Verdana"/>
              </a:endParaRPr>
            </a:p>
          </p:txBody>
        </p:sp>
        <p:sp>
          <p:nvSpPr>
            <p:cNvPr id="23" name="Rectangle 22">
              <a:extLst>
                <a:ext uri="{FF2B5EF4-FFF2-40B4-BE49-F238E27FC236}">
                  <a16:creationId xmlns:a16="http://schemas.microsoft.com/office/drawing/2014/main" id="{EC265D6E-9868-4CA6-9596-B845F7D53E92}"/>
                </a:ext>
              </a:extLst>
            </p:cNvPr>
            <p:cNvSpPr/>
            <p:nvPr/>
          </p:nvSpPr>
          <p:spPr>
            <a:xfrm>
              <a:off x="7842099" y="2464256"/>
              <a:ext cx="521622" cy="4764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619">
                <a:defRPr/>
              </a:pPr>
              <a:endParaRPr lang="en-GB">
                <a:solidFill>
                  <a:prstClr val="white"/>
                </a:solidFill>
                <a:latin typeface="Verdana"/>
              </a:endParaRPr>
            </a:p>
          </p:txBody>
        </p:sp>
        <p:sp>
          <p:nvSpPr>
            <p:cNvPr id="24" name="Rectangle 23">
              <a:extLst>
                <a:ext uri="{FF2B5EF4-FFF2-40B4-BE49-F238E27FC236}">
                  <a16:creationId xmlns:a16="http://schemas.microsoft.com/office/drawing/2014/main" id="{A28C3DDB-B37E-47A2-9F74-A8F56723C48B}"/>
                </a:ext>
              </a:extLst>
            </p:cNvPr>
            <p:cNvSpPr/>
            <p:nvPr/>
          </p:nvSpPr>
          <p:spPr>
            <a:xfrm>
              <a:off x="8253208" y="4293778"/>
              <a:ext cx="521622" cy="4764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619">
                <a:defRPr/>
              </a:pPr>
              <a:endParaRPr lang="en-GB">
                <a:solidFill>
                  <a:prstClr val="white"/>
                </a:solidFill>
                <a:latin typeface="Verdana"/>
              </a:endParaRPr>
            </a:p>
          </p:txBody>
        </p:sp>
        <p:sp>
          <p:nvSpPr>
            <p:cNvPr id="25" name="Rectangle 24">
              <a:extLst>
                <a:ext uri="{FF2B5EF4-FFF2-40B4-BE49-F238E27FC236}">
                  <a16:creationId xmlns:a16="http://schemas.microsoft.com/office/drawing/2014/main" id="{A6335CF5-866F-4963-AB07-46A7EFEBBF46}"/>
                </a:ext>
              </a:extLst>
            </p:cNvPr>
            <p:cNvSpPr/>
            <p:nvPr/>
          </p:nvSpPr>
          <p:spPr>
            <a:xfrm>
              <a:off x="8514020" y="3273652"/>
              <a:ext cx="521622" cy="4764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619">
                <a:defRPr/>
              </a:pPr>
              <a:endParaRPr lang="en-GB">
                <a:solidFill>
                  <a:prstClr val="white"/>
                </a:solidFill>
                <a:latin typeface="Verdana"/>
              </a:endParaRPr>
            </a:p>
          </p:txBody>
        </p:sp>
        <p:grpSp>
          <p:nvGrpSpPr>
            <p:cNvPr id="36" name="Group 35">
              <a:extLst>
                <a:ext uri="{FF2B5EF4-FFF2-40B4-BE49-F238E27FC236}">
                  <a16:creationId xmlns:a16="http://schemas.microsoft.com/office/drawing/2014/main" id="{5771BC4E-58DB-49D1-A8F6-DDA836C87B6D}"/>
                </a:ext>
              </a:extLst>
            </p:cNvPr>
            <p:cNvGrpSpPr/>
            <p:nvPr/>
          </p:nvGrpSpPr>
          <p:grpSpPr>
            <a:xfrm>
              <a:off x="7006619" y="2464256"/>
              <a:ext cx="1131655" cy="2556068"/>
              <a:chOff x="6065520" y="2052743"/>
              <a:chExt cx="1300480" cy="2775374"/>
            </a:xfrm>
          </p:grpSpPr>
          <p:cxnSp>
            <p:nvCxnSpPr>
              <p:cNvPr id="29" name="Straight Connector 28">
                <a:extLst>
                  <a:ext uri="{FF2B5EF4-FFF2-40B4-BE49-F238E27FC236}">
                    <a16:creationId xmlns:a16="http://schemas.microsoft.com/office/drawing/2014/main" id="{1042DFA8-F223-4024-BBFB-C3115D04E721}"/>
                  </a:ext>
                </a:extLst>
              </p:cNvPr>
              <p:cNvCxnSpPr/>
              <p:nvPr/>
            </p:nvCxnSpPr>
            <p:spPr>
              <a:xfrm flipH="1">
                <a:off x="6096000" y="2052743"/>
                <a:ext cx="655320" cy="2763097"/>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464FFBE-C6D2-418F-A7A4-D96EC6AD8255}"/>
                  </a:ext>
                </a:extLst>
              </p:cNvPr>
              <p:cNvCxnSpPr>
                <a:cxnSpLocks/>
              </p:cNvCxnSpPr>
              <p:nvPr/>
            </p:nvCxnSpPr>
            <p:spPr>
              <a:xfrm>
                <a:off x="6725920" y="2052743"/>
                <a:ext cx="640080" cy="2763097"/>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80FEB53C-C4FB-4A98-BAD7-A9EB6B69FB91}"/>
                  </a:ext>
                </a:extLst>
              </p:cNvPr>
              <p:cNvCxnSpPr>
                <a:cxnSpLocks/>
              </p:cNvCxnSpPr>
              <p:nvPr/>
            </p:nvCxnSpPr>
            <p:spPr>
              <a:xfrm>
                <a:off x="6065520" y="4815840"/>
                <a:ext cx="1259840" cy="12277"/>
              </a:xfrm>
              <a:prstGeom prst="line">
                <a:avLst/>
              </a:prstGeom>
              <a:ln w="25400"/>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8D527625-BC55-4C42-9C92-1AC7A741DEC9}"/>
                </a:ext>
              </a:extLst>
            </p:cNvPr>
            <p:cNvGrpSpPr/>
            <p:nvPr/>
          </p:nvGrpSpPr>
          <p:grpSpPr>
            <a:xfrm rot="18453978">
              <a:off x="7002605" y="2656168"/>
              <a:ext cx="1197718" cy="2415083"/>
              <a:chOff x="6065520" y="2052743"/>
              <a:chExt cx="1300480" cy="2775374"/>
            </a:xfrm>
          </p:grpSpPr>
          <p:cxnSp>
            <p:nvCxnSpPr>
              <p:cNvPr id="38" name="Straight Connector 37">
                <a:extLst>
                  <a:ext uri="{FF2B5EF4-FFF2-40B4-BE49-F238E27FC236}">
                    <a16:creationId xmlns:a16="http://schemas.microsoft.com/office/drawing/2014/main" id="{05D13E01-CC6B-46D2-9B20-81F10B01F94F}"/>
                  </a:ext>
                </a:extLst>
              </p:cNvPr>
              <p:cNvCxnSpPr/>
              <p:nvPr/>
            </p:nvCxnSpPr>
            <p:spPr>
              <a:xfrm flipH="1">
                <a:off x="6096000" y="2052743"/>
                <a:ext cx="655320" cy="2763097"/>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B6230C1-4365-4FE2-A2AA-1D6461FA5153}"/>
                  </a:ext>
                </a:extLst>
              </p:cNvPr>
              <p:cNvCxnSpPr>
                <a:cxnSpLocks/>
              </p:cNvCxnSpPr>
              <p:nvPr/>
            </p:nvCxnSpPr>
            <p:spPr>
              <a:xfrm>
                <a:off x="6725920" y="2052743"/>
                <a:ext cx="640080" cy="2763097"/>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4B94FFB-E245-42DA-A702-05A85D9463AF}"/>
                  </a:ext>
                </a:extLst>
              </p:cNvPr>
              <p:cNvCxnSpPr>
                <a:cxnSpLocks/>
              </p:cNvCxnSpPr>
              <p:nvPr/>
            </p:nvCxnSpPr>
            <p:spPr>
              <a:xfrm>
                <a:off x="6065520" y="4815840"/>
                <a:ext cx="1259840" cy="12277"/>
              </a:xfrm>
              <a:prstGeom prst="line">
                <a:avLst/>
              </a:prstGeom>
              <a:ln w="25400"/>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B6D09B5B-22C4-48B4-95FF-60E459C6541F}"/>
                </a:ext>
              </a:extLst>
            </p:cNvPr>
            <p:cNvGrpSpPr/>
            <p:nvPr/>
          </p:nvGrpSpPr>
          <p:grpSpPr>
            <a:xfrm rot="15438494">
              <a:off x="6982429" y="2620825"/>
              <a:ext cx="1197718" cy="2415083"/>
              <a:chOff x="6065520" y="2052743"/>
              <a:chExt cx="1300480" cy="2775374"/>
            </a:xfrm>
          </p:grpSpPr>
          <p:cxnSp>
            <p:nvCxnSpPr>
              <p:cNvPr id="42" name="Straight Connector 41">
                <a:extLst>
                  <a:ext uri="{FF2B5EF4-FFF2-40B4-BE49-F238E27FC236}">
                    <a16:creationId xmlns:a16="http://schemas.microsoft.com/office/drawing/2014/main" id="{49BB1469-D988-4532-BAE8-4922EC0A0385}"/>
                  </a:ext>
                </a:extLst>
              </p:cNvPr>
              <p:cNvCxnSpPr/>
              <p:nvPr/>
            </p:nvCxnSpPr>
            <p:spPr>
              <a:xfrm flipH="1">
                <a:off x="6096000" y="2052743"/>
                <a:ext cx="655320" cy="2763097"/>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915BFFA-E839-4CE7-AF4F-994B0CC414FF}"/>
                  </a:ext>
                </a:extLst>
              </p:cNvPr>
              <p:cNvCxnSpPr>
                <a:cxnSpLocks/>
              </p:cNvCxnSpPr>
              <p:nvPr/>
            </p:nvCxnSpPr>
            <p:spPr>
              <a:xfrm>
                <a:off x="6725920" y="2052743"/>
                <a:ext cx="640080" cy="2763097"/>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DC31EFC-3024-4B40-87FE-0AEE8E05B4ED}"/>
                  </a:ext>
                </a:extLst>
              </p:cNvPr>
              <p:cNvCxnSpPr>
                <a:cxnSpLocks/>
              </p:cNvCxnSpPr>
              <p:nvPr/>
            </p:nvCxnSpPr>
            <p:spPr>
              <a:xfrm>
                <a:off x="6065520" y="4815840"/>
                <a:ext cx="1259840" cy="12277"/>
              </a:xfrm>
              <a:prstGeom prst="line">
                <a:avLst/>
              </a:prstGeom>
              <a:ln w="25400"/>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A33D6742-08B3-4455-BEF8-5BE5E4DF9FB7}"/>
                </a:ext>
              </a:extLst>
            </p:cNvPr>
            <p:cNvGrpSpPr/>
            <p:nvPr/>
          </p:nvGrpSpPr>
          <p:grpSpPr>
            <a:xfrm rot="12354742">
              <a:off x="7005881" y="2597467"/>
              <a:ext cx="1131655" cy="2556068"/>
              <a:chOff x="6065520" y="2052743"/>
              <a:chExt cx="1300480" cy="2775374"/>
            </a:xfrm>
          </p:grpSpPr>
          <p:cxnSp>
            <p:nvCxnSpPr>
              <p:cNvPr id="46" name="Straight Connector 45">
                <a:extLst>
                  <a:ext uri="{FF2B5EF4-FFF2-40B4-BE49-F238E27FC236}">
                    <a16:creationId xmlns:a16="http://schemas.microsoft.com/office/drawing/2014/main" id="{90FACDC8-14A2-4877-BE4B-A7A223720781}"/>
                  </a:ext>
                </a:extLst>
              </p:cNvPr>
              <p:cNvCxnSpPr/>
              <p:nvPr/>
            </p:nvCxnSpPr>
            <p:spPr>
              <a:xfrm flipH="1">
                <a:off x="6096000" y="2052743"/>
                <a:ext cx="655320" cy="2763097"/>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778885F-25F1-4DC2-9950-097A30BBBA5B}"/>
                  </a:ext>
                </a:extLst>
              </p:cNvPr>
              <p:cNvCxnSpPr>
                <a:cxnSpLocks/>
              </p:cNvCxnSpPr>
              <p:nvPr/>
            </p:nvCxnSpPr>
            <p:spPr>
              <a:xfrm>
                <a:off x="6725920" y="2052743"/>
                <a:ext cx="640080" cy="2763097"/>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EC54046-9314-4A1E-B60C-9F097D1DAA07}"/>
                  </a:ext>
                </a:extLst>
              </p:cNvPr>
              <p:cNvCxnSpPr>
                <a:cxnSpLocks/>
              </p:cNvCxnSpPr>
              <p:nvPr/>
            </p:nvCxnSpPr>
            <p:spPr>
              <a:xfrm>
                <a:off x="6065520" y="4815840"/>
                <a:ext cx="1259840" cy="12277"/>
              </a:xfrm>
              <a:prstGeom prst="line">
                <a:avLst/>
              </a:prstGeom>
              <a:ln w="25400"/>
            </p:spPr>
            <p:style>
              <a:lnRef idx="1">
                <a:schemeClr val="accent1"/>
              </a:lnRef>
              <a:fillRef idx="0">
                <a:schemeClr val="accent1"/>
              </a:fillRef>
              <a:effectRef idx="0">
                <a:schemeClr val="accent1"/>
              </a:effectRef>
              <a:fontRef idx="minor">
                <a:schemeClr val="tx1"/>
              </a:fontRef>
            </p:style>
          </p:cxnSp>
        </p:grpSp>
        <p:cxnSp>
          <p:nvCxnSpPr>
            <p:cNvPr id="56" name="Straight Connector 55">
              <a:extLst>
                <a:ext uri="{FF2B5EF4-FFF2-40B4-BE49-F238E27FC236}">
                  <a16:creationId xmlns:a16="http://schemas.microsoft.com/office/drawing/2014/main" id="{68572F29-1D2F-4453-A4C4-35B983F68336}"/>
                </a:ext>
              </a:extLst>
            </p:cNvPr>
            <p:cNvCxnSpPr>
              <a:cxnSpLocks/>
            </p:cNvCxnSpPr>
            <p:nvPr/>
          </p:nvCxnSpPr>
          <p:spPr>
            <a:xfrm flipH="1">
              <a:off x="6606237" y="2441961"/>
              <a:ext cx="997155" cy="530494"/>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2648E530-D661-4A56-8B35-D37777FF4012}"/>
                </a:ext>
              </a:extLst>
            </p:cNvPr>
            <p:cNvCxnSpPr>
              <a:cxnSpLocks/>
            </p:cNvCxnSpPr>
            <p:nvPr/>
          </p:nvCxnSpPr>
          <p:spPr>
            <a:xfrm flipH="1">
              <a:off x="6355832" y="2975012"/>
              <a:ext cx="214718" cy="1116766"/>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67155DC-73CF-4141-A466-8F292BA7686D}"/>
                </a:ext>
              </a:extLst>
            </p:cNvPr>
            <p:cNvCxnSpPr>
              <a:cxnSpLocks/>
            </p:cNvCxnSpPr>
            <p:nvPr/>
          </p:nvCxnSpPr>
          <p:spPr>
            <a:xfrm flipH="1" flipV="1">
              <a:off x="6337211" y="4071230"/>
              <a:ext cx="678974" cy="962927"/>
            </a:xfrm>
            <a:prstGeom prst="line">
              <a:avLst/>
            </a:prstGeom>
            <a:ln w="25400"/>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05BDB977-B332-4E81-9190-CAB2B942ADEA}"/>
                </a:ext>
              </a:extLst>
            </p:cNvPr>
            <p:cNvGrpSpPr/>
            <p:nvPr/>
          </p:nvGrpSpPr>
          <p:grpSpPr>
            <a:xfrm>
              <a:off x="6597159" y="2930634"/>
              <a:ext cx="2256821" cy="2090324"/>
              <a:chOff x="5594975" y="2559135"/>
              <a:chExt cx="2593502" cy="2269670"/>
            </a:xfrm>
          </p:grpSpPr>
          <p:cxnSp>
            <p:nvCxnSpPr>
              <p:cNvPr id="65" name="Straight Connector 64">
                <a:extLst>
                  <a:ext uri="{FF2B5EF4-FFF2-40B4-BE49-F238E27FC236}">
                    <a16:creationId xmlns:a16="http://schemas.microsoft.com/office/drawing/2014/main" id="{5B709F0C-C462-4B3E-BD2F-F8CF76EF5817}"/>
                  </a:ext>
                </a:extLst>
              </p:cNvPr>
              <p:cNvCxnSpPr>
                <a:cxnSpLocks/>
              </p:cNvCxnSpPr>
              <p:nvPr/>
            </p:nvCxnSpPr>
            <p:spPr>
              <a:xfrm flipH="1">
                <a:off x="6095516" y="3819904"/>
                <a:ext cx="2092961" cy="98960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85A5607-4236-439D-9833-2B491B182BFE}"/>
                  </a:ext>
                </a:extLst>
              </p:cNvPr>
              <p:cNvCxnSpPr>
                <a:cxnSpLocks/>
              </p:cNvCxnSpPr>
              <p:nvPr/>
            </p:nvCxnSpPr>
            <p:spPr>
              <a:xfrm>
                <a:off x="5594975" y="2559135"/>
                <a:ext cx="488615" cy="2269670"/>
              </a:xfrm>
              <a:prstGeom prst="line">
                <a:avLst/>
              </a:prstGeom>
              <a:ln w="25400"/>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F933DEF5-4D37-4401-B8A9-5F7BCAFCA803}"/>
                </a:ext>
              </a:extLst>
            </p:cNvPr>
            <p:cNvGrpSpPr/>
            <p:nvPr/>
          </p:nvGrpSpPr>
          <p:grpSpPr>
            <a:xfrm rot="18553756">
              <a:off x="6640134" y="2838568"/>
              <a:ext cx="2388567" cy="1975028"/>
              <a:chOff x="5594975" y="2559135"/>
              <a:chExt cx="2593502" cy="2269670"/>
            </a:xfrm>
          </p:grpSpPr>
          <p:cxnSp>
            <p:nvCxnSpPr>
              <p:cNvPr id="73" name="Straight Connector 72">
                <a:extLst>
                  <a:ext uri="{FF2B5EF4-FFF2-40B4-BE49-F238E27FC236}">
                    <a16:creationId xmlns:a16="http://schemas.microsoft.com/office/drawing/2014/main" id="{4BC5F50F-D14F-49C9-9DC0-594E4E18A990}"/>
                  </a:ext>
                </a:extLst>
              </p:cNvPr>
              <p:cNvCxnSpPr>
                <a:cxnSpLocks/>
              </p:cNvCxnSpPr>
              <p:nvPr/>
            </p:nvCxnSpPr>
            <p:spPr>
              <a:xfrm flipH="1">
                <a:off x="6095516" y="3819904"/>
                <a:ext cx="2092961" cy="98960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8F9F621-645C-4782-96AE-DC52051FF327}"/>
                  </a:ext>
                </a:extLst>
              </p:cNvPr>
              <p:cNvCxnSpPr>
                <a:cxnSpLocks/>
              </p:cNvCxnSpPr>
              <p:nvPr/>
            </p:nvCxnSpPr>
            <p:spPr>
              <a:xfrm>
                <a:off x="5594975" y="2559135"/>
                <a:ext cx="488615" cy="2269670"/>
              </a:xfrm>
              <a:prstGeom prst="line">
                <a:avLst/>
              </a:prstGeom>
              <a:ln w="25400"/>
            </p:spPr>
            <p:style>
              <a:lnRef idx="1">
                <a:schemeClr val="accent1"/>
              </a:lnRef>
              <a:fillRef idx="0">
                <a:schemeClr val="accent1"/>
              </a:fillRef>
              <a:effectRef idx="0">
                <a:schemeClr val="accent1"/>
              </a:effectRef>
              <a:fontRef idx="minor">
                <a:schemeClr val="tx1"/>
              </a:fontRef>
            </p:style>
          </p:cxnSp>
        </p:grpSp>
        <p:grpSp>
          <p:nvGrpSpPr>
            <p:cNvPr id="75" name="Group 74">
              <a:extLst>
                <a:ext uri="{FF2B5EF4-FFF2-40B4-BE49-F238E27FC236}">
                  <a16:creationId xmlns:a16="http://schemas.microsoft.com/office/drawing/2014/main" id="{C36FC17B-16EA-4F7A-888B-E1B9283C4CCB}"/>
                </a:ext>
              </a:extLst>
            </p:cNvPr>
            <p:cNvGrpSpPr/>
            <p:nvPr/>
          </p:nvGrpSpPr>
          <p:grpSpPr>
            <a:xfrm rot="9251153">
              <a:off x="6250407" y="2686602"/>
              <a:ext cx="2256821" cy="2090324"/>
              <a:chOff x="5594975" y="2559135"/>
              <a:chExt cx="2593502" cy="2269670"/>
            </a:xfrm>
          </p:grpSpPr>
          <p:cxnSp>
            <p:nvCxnSpPr>
              <p:cNvPr id="76" name="Straight Connector 75">
                <a:extLst>
                  <a:ext uri="{FF2B5EF4-FFF2-40B4-BE49-F238E27FC236}">
                    <a16:creationId xmlns:a16="http://schemas.microsoft.com/office/drawing/2014/main" id="{071A9E6A-9AD4-4AAD-A5BE-C2C03B396834}"/>
                  </a:ext>
                </a:extLst>
              </p:cNvPr>
              <p:cNvCxnSpPr>
                <a:cxnSpLocks/>
              </p:cNvCxnSpPr>
              <p:nvPr/>
            </p:nvCxnSpPr>
            <p:spPr>
              <a:xfrm flipH="1">
                <a:off x="6095516" y="3819904"/>
                <a:ext cx="2092961" cy="98960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039C7183-0488-4FA5-BFC6-BAC0A9B564B1}"/>
                  </a:ext>
                </a:extLst>
              </p:cNvPr>
              <p:cNvCxnSpPr>
                <a:cxnSpLocks/>
              </p:cNvCxnSpPr>
              <p:nvPr/>
            </p:nvCxnSpPr>
            <p:spPr>
              <a:xfrm>
                <a:off x="5594975" y="2559135"/>
                <a:ext cx="488615" cy="2269670"/>
              </a:xfrm>
              <a:prstGeom prst="line">
                <a:avLst/>
              </a:prstGeom>
              <a:ln w="25400"/>
            </p:spPr>
            <p:style>
              <a:lnRef idx="1">
                <a:schemeClr val="accent1"/>
              </a:lnRef>
              <a:fillRef idx="0">
                <a:schemeClr val="accent1"/>
              </a:fillRef>
              <a:effectRef idx="0">
                <a:schemeClr val="accent1"/>
              </a:effectRef>
              <a:fontRef idx="minor">
                <a:schemeClr val="tx1"/>
              </a:fontRef>
            </p:style>
          </p:cxnSp>
        </p:grpSp>
        <p:cxnSp>
          <p:nvCxnSpPr>
            <p:cNvPr id="80" name="Straight Connector 79">
              <a:extLst>
                <a:ext uri="{FF2B5EF4-FFF2-40B4-BE49-F238E27FC236}">
                  <a16:creationId xmlns:a16="http://schemas.microsoft.com/office/drawing/2014/main" id="{441635C5-7BD7-494C-88A7-FA9349F53A07}"/>
                </a:ext>
              </a:extLst>
            </p:cNvPr>
            <p:cNvCxnSpPr>
              <a:cxnSpLocks/>
            </p:cNvCxnSpPr>
            <p:nvPr/>
          </p:nvCxnSpPr>
          <p:spPr>
            <a:xfrm>
              <a:off x="6579215" y="2940693"/>
              <a:ext cx="20101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83" name="TextBox 57">
              <a:extLst>
                <a:ext uri="{FF2B5EF4-FFF2-40B4-BE49-F238E27FC236}">
                  <a16:creationId xmlns:a16="http://schemas.microsoft.com/office/drawing/2014/main" id="{1362F157-C642-4FF7-BEC8-EE07A60A400A}"/>
                </a:ext>
              </a:extLst>
            </p:cNvPr>
            <p:cNvSpPr txBox="1"/>
            <p:nvPr/>
          </p:nvSpPr>
          <p:spPr>
            <a:xfrm>
              <a:off x="4678151" y="2782374"/>
              <a:ext cx="1565753" cy="230863"/>
            </a:xfrm>
            <a:prstGeom prst="rect">
              <a:avLst/>
            </a:prstGeom>
            <a:noFill/>
          </p:spPr>
          <p:txBody>
            <a:bodyPr wrap="square" rtlCol="0">
              <a:spAutoFit/>
            </a:bodyPr>
            <a:lstStyle/>
            <a:p>
              <a:pPr defTabSz="1828573">
                <a:defRPr/>
              </a:pPr>
              <a:r>
                <a:rPr lang="en-GB" sz="2400" b="1">
                  <a:solidFill>
                    <a:srgbClr val="000000"/>
                  </a:solidFill>
                  <a:latin typeface="Noto IKEA Latin"/>
                </a:rPr>
                <a:t>Open for future</a:t>
              </a:r>
            </a:p>
          </p:txBody>
        </p:sp>
        <p:sp>
          <p:nvSpPr>
            <p:cNvPr id="84" name="TextBox 58">
              <a:extLst>
                <a:ext uri="{FF2B5EF4-FFF2-40B4-BE49-F238E27FC236}">
                  <a16:creationId xmlns:a16="http://schemas.microsoft.com/office/drawing/2014/main" id="{A973328F-284E-4D0F-AF17-CB5098802B03}"/>
                </a:ext>
              </a:extLst>
            </p:cNvPr>
            <p:cNvSpPr txBox="1"/>
            <p:nvPr/>
          </p:nvSpPr>
          <p:spPr>
            <a:xfrm>
              <a:off x="8888427" y="2810988"/>
              <a:ext cx="1374106" cy="230863"/>
            </a:xfrm>
            <a:prstGeom prst="rect">
              <a:avLst/>
            </a:prstGeom>
            <a:noFill/>
          </p:spPr>
          <p:txBody>
            <a:bodyPr wrap="square" rtlCol="0">
              <a:spAutoFit/>
            </a:bodyPr>
            <a:lstStyle/>
            <a:p>
              <a:pPr defTabSz="1828573">
                <a:defRPr/>
              </a:pPr>
              <a:r>
                <a:rPr lang="en-GB" sz="2400" b="1">
                  <a:solidFill>
                    <a:srgbClr val="000000"/>
                  </a:solidFill>
                  <a:latin typeface="Noto IKEA Latin"/>
                </a:rPr>
                <a:t>Intralogistics</a:t>
              </a:r>
            </a:p>
          </p:txBody>
        </p:sp>
        <p:sp>
          <p:nvSpPr>
            <p:cNvPr id="85" name="TextBox 59">
              <a:extLst>
                <a:ext uri="{FF2B5EF4-FFF2-40B4-BE49-F238E27FC236}">
                  <a16:creationId xmlns:a16="http://schemas.microsoft.com/office/drawing/2014/main" id="{343DE267-9B68-4B97-9BC1-85FFAC272C22}"/>
                </a:ext>
              </a:extLst>
            </p:cNvPr>
            <p:cNvSpPr txBox="1"/>
            <p:nvPr/>
          </p:nvSpPr>
          <p:spPr>
            <a:xfrm>
              <a:off x="9116161" y="3954175"/>
              <a:ext cx="1493089" cy="230863"/>
            </a:xfrm>
            <a:prstGeom prst="rect">
              <a:avLst/>
            </a:prstGeom>
            <a:noFill/>
          </p:spPr>
          <p:txBody>
            <a:bodyPr wrap="square" rtlCol="0">
              <a:spAutoFit/>
            </a:bodyPr>
            <a:lstStyle/>
            <a:p>
              <a:pPr defTabSz="1828573">
                <a:defRPr/>
              </a:pPr>
              <a:r>
                <a:rPr lang="en-GB" sz="2400" b="1">
                  <a:solidFill>
                    <a:srgbClr val="000000"/>
                  </a:solidFill>
                  <a:latin typeface="Noto IKEA Latin"/>
                </a:rPr>
                <a:t>CAIP</a:t>
              </a:r>
            </a:p>
          </p:txBody>
        </p:sp>
        <p:sp>
          <p:nvSpPr>
            <p:cNvPr id="86" name="TextBox 60">
              <a:extLst>
                <a:ext uri="{FF2B5EF4-FFF2-40B4-BE49-F238E27FC236}">
                  <a16:creationId xmlns:a16="http://schemas.microsoft.com/office/drawing/2014/main" id="{A44EA2A4-72EC-4D49-8C3F-BFB0FABB6DB5}"/>
                </a:ext>
              </a:extLst>
            </p:cNvPr>
            <p:cNvSpPr txBox="1"/>
            <p:nvPr/>
          </p:nvSpPr>
          <p:spPr>
            <a:xfrm>
              <a:off x="8441956" y="4966282"/>
              <a:ext cx="1041018" cy="600243"/>
            </a:xfrm>
            <a:prstGeom prst="rect">
              <a:avLst/>
            </a:prstGeom>
            <a:noFill/>
          </p:spPr>
          <p:txBody>
            <a:bodyPr wrap="square" rtlCol="0">
              <a:spAutoFit/>
            </a:bodyPr>
            <a:lstStyle/>
            <a:p>
              <a:pPr defTabSz="1828573">
                <a:defRPr/>
              </a:pPr>
              <a:r>
                <a:rPr lang="en-GB" sz="2400" b="1">
                  <a:solidFill>
                    <a:srgbClr val="000000"/>
                  </a:solidFill>
                  <a:latin typeface="Noto IKEA Latin"/>
                </a:rPr>
                <a:t>New Business &amp; Innovation</a:t>
              </a:r>
            </a:p>
          </p:txBody>
        </p:sp>
        <p:sp>
          <p:nvSpPr>
            <p:cNvPr id="87" name="TextBox 36">
              <a:extLst>
                <a:ext uri="{FF2B5EF4-FFF2-40B4-BE49-F238E27FC236}">
                  <a16:creationId xmlns:a16="http://schemas.microsoft.com/office/drawing/2014/main" id="{E1E6366F-ECB8-447B-BBA0-4D0A26AC3CFE}"/>
                </a:ext>
              </a:extLst>
            </p:cNvPr>
            <p:cNvSpPr txBox="1"/>
            <p:nvPr/>
          </p:nvSpPr>
          <p:spPr>
            <a:xfrm>
              <a:off x="7377041" y="1525711"/>
              <a:ext cx="1543643" cy="600243"/>
            </a:xfrm>
            <a:prstGeom prst="rect">
              <a:avLst/>
            </a:prstGeom>
            <a:noFill/>
          </p:spPr>
          <p:txBody>
            <a:bodyPr wrap="square" rtlCol="0">
              <a:spAutoFit/>
            </a:bodyPr>
            <a:lstStyle/>
            <a:p>
              <a:pPr defTabSz="1828573">
                <a:defRPr/>
              </a:pPr>
              <a:r>
                <a:rPr lang="en-GB" sz="2400" b="1">
                  <a:solidFill>
                    <a:srgbClr val="000000">
                      <a:lumMod val="100000"/>
                    </a:srgbClr>
                  </a:solidFill>
                  <a:latin typeface="Noto IKEA Latin" panose="020B0502040504020204" pitchFamily="34" charset="0"/>
                </a:rPr>
                <a:t>Development &amp; Innovation Network</a:t>
              </a:r>
              <a:endParaRPr lang="en-GB" sz="2400" b="1">
                <a:solidFill>
                  <a:srgbClr val="000000"/>
                </a:solidFill>
                <a:latin typeface="Noto IKEA Latin" panose="020B0502040504020204" pitchFamily="34" charset="0"/>
              </a:endParaRPr>
            </a:p>
          </p:txBody>
        </p:sp>
        <p:sp>
          <p:nvSpPr>
            <p:cNvPr id="88" name="TextBox 38">
              <a:extLst>
                <a:ext uri="{FF2B5EF4-FFF2-40B4-BE49-F238E27FC236}">
                  <a16:creationId xmlns:a16="http://schemas.microsoft.com/office/drawing/2014/main" id="{529DD324-DAB9-40F1-AF58-0AE589082717}"/>
                </a:ext>
              </a:extLst>
            </p:cNvPr>
            <p:cNvSpPr txBox="1"/>
            <p:nvPr/>
          </p:nvSpPr>
          <p:spPr>
            <a:xfrm>
              <a:off x="5630906" y="5106002"/>
              <a:ext cx="1311378" cy="230863"/>
            </a:xfrm>
            <a:prstGeom prst="rect">
              <a:avLst/>
            </a:prstGeom>
            <a:noFill/>
          </p:spPr>
          <p:txBody>
            <a:bodyPr wrap="square" rtlCol="0">
              <a:spAutoFit/>
            </a:bodyPr>
            <a:lstStyle/>
            <a:p>
              <a:pPr defTabSz="1828573">
                <a:defRPr/>
              </a:pPr>
              <a:r>
                <a:rPr lang="en-GB" sz="2400" b="1">
                  <a:solidFill>
                    <a:srgbClr val="000000"/>
                  </a:solidFill>
                  <a:latin typeface="Noto IKEA Latin"/>
                </a:rPr>
                <a:t>Open for future</a:t>
              </a:r>
            </a:p>
          </p:txBody>
        </p:sp>
        <p:cxnSp>
          <p:nvCxnSpPr>
            <p:cNvPr id="99" name="Straight Connector 98">
              <a:extLst>
                <a:ext uri="{FF2B5EF4-FFF2-40B4-BE49-F238E27FC236}">
                  <a16:creationId xmlns:a16="http://schemas.microsoft.com/office/drawing/2014/main" id="{DA37DF60-E8C9-490B-9C7A-321024955CB4}"/>
                </a:ext>
              </a:extLst>
            </p:cNvPr>
            <p:cNvCxnSpPr>
              <a:cxnSpLocks/>
            </p:cNvCxnSpPr>
            <p:nvPr/>
          </p:nvCxnSpPr>
          <p:spPr>
            <a:xfrm flipH="1">
              <a:off x="8671359" y="601007"/>
              <a:ext cx="4535509" cy="2272324"/>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99A4BB71-BD0A-4DBD-A488-FE2C699E2FAB}"/>
                </a:ext>
              </a:extLst>
            </p:cNvPr>
            <p:cNvCxnSpPr>
              <a:cxnSpLocks/>
            </p:cNvCxnSpPr>
            <p:nvPr/>
          </p:nvCxnSpPr>
          <p:spPr>
            <a:xfrm flipH="1">
              <a:off x="8599716" y="104720"/>
              <a:ext cx="1888833" cy="290250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DF818E4-354B-4BF6-AAA9-1A91C9CF0E14}"/>
                </a:ext>
              </a:extLst>
            </p:cNvPr>
            <p:cNvCxnSpPr>
              <a:cxnSpLocks/>
            </p:cNvCxnSpPr>
            <p:nvPr/>
          </p:nvCxnSpPr>
          <p:spPr>
            <a:xfrm flipH="1">
              <a:off x="8863747" y="2374632"/>
              <a:ext cx="4128480" cy="1717421"/>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D62753F4-1A71-4C65-9963-B7346FFAF504}"/>
                </a:ext>
              </a:extLst>
            </p:cNvPr>
            <p:cNvCxnSpPr>
              <a:cxnSpLocks/>
            </p:cNvCxnSpPr>
            <p:nvPr/>
          </p:nvCxnSpPr>
          <p:spPr>
            <a:xfrm flipH="1" flipV="1">
              <a:off x="8833285" y="4091779"/>
              <a:ext cx="4462968" cy="2498768"/>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6F2F200E-EA40-4883-AFEE-FD9D7DCD114D}"/>
                </a:ext>
              </a:extLst>
            </p:cNvPr>
            <p:cNvCxnSpPr>
              <a:cxnSpLocks/>
            </p:cNvCxnSpPr>
            <p:nvPr/>
          </p:nvCxnSpPr>
          <p:spPr>
            <a:xfrm flipH="1" flipV="1">
              <a:off x="8163678" y="5020959"/>
              <a:ext cx="1269647" cy="219054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E56371AD-36EC-433A-8E10-DC2306992D1D}"/>
                </a:ext>
              </a:extLst>
            </p:cNvPr>
            <p:cNvCxnSpPr>
              <a:cxnSpLocks/>
            </p:cNvCxnSpPr>
            <p:nvPr/>
          </p:nvCxnSpPr>
          <p:spPr>
            <a:xfrm flipH="1">
              <a:off x="8144412" y="3810136"/>
              <a:ext cx="5062456" cy="1210823"/>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3A60562-FCC3-46E6-ADDF-DE6058481B59}"/>
                </a:ext>
              </a:extLst>
            </p:cNvPr>
            <p:cNvCxnSpPr>
              <a:cxnSpLocks/>
            </p:cNvCxnSpPr>
            <p:nvPr/>
          </p:nvCxnSpPr>
          <p:spPr>
            <a:xfrm flipV="1">
              <a:off x="5915517" y="5020325"/>
              <a:ext cx="1134871" cy="2003704"/>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C8E5FC7-627D-4734-A1A4-20BC64C2AED2}"/>
                </a:ext>
              </a:extLst>
            </p:cNvPr>
            <p:cNvCxnSpPr>
              <a:cxnSpLocks/>
            </p:cNvCxnSpPr>
            <p:nvPr/>
          </p:nvCxnSpPr>
          <p:spPr>
            <a:xfrm flipV="1">
              <a:off x="4424330" y="5018959"/>
              <a:ext cx="3724532" cy="2060844"/>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90" name="Oval 42">
              <a:extLst>
                <a:ext uri="{FF2B5EF4-FFF2-40B4-BE49-F238E27FC236}">
                  <a16:creationId xmlns:a16="http://schemas.microsoft.com/office/drawing/2014/main" id="{D2A30DC0-7A28-4789-A93E-619B285783DE}"/>
                </a:ext>
              </a:extLst>
            </p:cNvPr>
            <p:cNvSpPr/>
            <p:nvPr/>
          </p:nvSpPr>
          <p:spPr>
            <a:xfrm>
              <a:off x="9276078" y="961332"/>
              <a:ext cx="674463" cy="713083"/>
            </a:xfrm>
            <a:prstGeom prst="ellipse">
              <a:avLst/>
            </a:prstGeom>
            <a:solidFill>
              <a:schemeClr val="bg1"/>
            </a:solidFill>
            <a:ln w="2222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6" tIns="91428" rIns="182856" bIns="91428" numCol="1" spcCol="0" rtlCol="0" fromWordArt="0" anchor="ctr" anchorCtr="0" forceAA="0" compatLnSpc="1">
              <a:prstTxWarp prst="textNoShape">
                <a:avLst/>
              </a:prstTxWarp>
              <a:noAutofit/>
            </a:bodyPr>
            <a:lstStyle/>
            <a:p>
              <a:pPr algn="ctr" defTabSz="1828573">
                <a:defRPr/>
              </a:pPr>
              <a:endParaRPr lang="en-GB">
                <a:solidFill>
                  <a:srgbClr val="FFFFFF"/>
                </a:solidFill>
                <a:latin typeface="Noto IKEA Latin"/>
              </a:endParaRPr>
            </a:p>
          </p:txBody>
        </p:sp>
        <p:sp>
          <p:nvSpPr>
            <p:cNvPr id="91" name="Oval 42">
              <a:extLst>
                <a:ext uri="{FF2B5EF4-FFF2-40B4-BE49-F238E27FC236}">
                  <a16:creationId xmlns:a16="http://schemas.microsoft.com/office/drawing/2014/main" id="{D45F09E4-5CEE-4EFC-8B57-B3FF2615D157}"/>
                </a:ext>
              </a:extLst>
            </p:cNvPr>
            <p:cNvSpPr/>
            <p:nvPr/>
          </p:nvSpPr>
          <p:spPr>
            <a:xfrm>
              <a:off x="6094719" y="5758086"/>
              <a:ext cx="674463" cy="713083"/>
            </a:xfrm>
            <a:prstGeom prst="ellipse">
              <a:avLst/>
            </a:prstGeom>
            <a:solidFill>
              <a:schemeClr val="bg1"/>
            </a:solidFill>
            <a:ln w="2222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6" tIns="91428" rIns="182856" bIns="91428" numCol="1" spcCol="0" rtlCol="0" fromWordArt="0" anchor="ctr" anchorCtr="0" forceAA="0" compatLnSpc="1">
              <a:prstTxWarp prst="textNoShape">
                <a:avLst/>
              </a:prstTxWarp>
              <a:noAutofit/>
            </a:bodyPr>
            <a:lstStyle/>
            <a:p>
              <a:pPr algn="ctr" defTabSz="1828573">
                <a:defRPr/>
              </a:pPr>
              <a:endParaRPr lang="en-GB">
                <a:solidFill>
                  <a:srgbClr val="FFFFFF"/>
                </a:solidFill>
                <a:latin typeface="Noto IKEA Latin"/>
              </a:endParaRPr>
            </a:p>
          </p:txBody>
        </p:sp>
        <p:sp>
          <p:nvSpPr>
            <p:cNvPr id="92" name="Oval 42">
              <a:extLst>
                <a:ext uri="{FF2B5EF4-FFF2-40B4-BE49-F238E27FC236}">
                  <a16:creationId xmlns:a16="http://schemas.microsoft.com/office/drawing/2014/main" id="{348448A9-F45F-44E8-9AB1-E604668C996F}"/>
                </a:ext>
              </a:extLst>
            </p:cNvPr>
            <p:cNvSpPr/>
            <p:nvPr/>
          </p:nvSpPr>
          <p:spPr>
            <a:xfrm>
              <a:off x="10488549" y="4873520"/>
              <a:ext cx="674463" cy="713083"/>
            </a:xfrm>
            <a:prstGeom prst="ellipse">
              <a:avLst/>
            </a:prstGeom>
            <a:solidFill>
              <a:schemeClr val="bg1"/>
            </a:solidFill>
            <a:ln w="2222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6" tIns="91428" rIns="182856" bIns="91428" numCol="1" spcCol="0" rtlCol="0" fromWordArt="0" anchor="ctr" anchorCtr="0" forceAA="0" compatLnSpc="1">
              <a:prstTxWarp prst="textNoShape">
                <a:avLst/>
              </a:prstTxWarp>
              <a:noAutofit/>
            </a:bodyPr>
            <a:lstStyle/>
            <a:p>
              <a:pPr algn="ctr" defTabSz="1828573">
                <a:defRPr/>
              </a:pPr>
              <a:endParaRPr lang="en-GB">
                <a:solidFill>
                  <a:srgbClr val="FFFFFF"/>
                </a:solidFill>
                <a:latin typeface="Noto IKEA Latin"/>
              </a:endParaRPr>
            </a:p>
          </p:txBody>
        </p:sp>
        <p:sp>
          <p:nvSpPr>
            <p:cNvPr id="93" name="Oval 42">
              <a:extLst>
                <a:ext uri="{FF2B5EF4-FFF2-40B4-BE49-F238E27FC236}">
                  <a16:creationId xmlns:a16="http://schemas.microsoft.com/office/drawing/2014/main" id="{07D284F6-A14A-465C-9DAB-77F7CB7F6148}"/>
                </a:ext>
              </a:extLst>
            </p:cNvPr>
            <p:cNvSpPr/>
            <p:nvPr/>
          </p:nvSpPr>
          <p:spPr>
            <a:xfrm>
              <a:off x="4908595" y="1638119"/>
              <a:ext cx="674463" cy="713083"/>
            </a:xfrm>
            <a:prstGeom prst="ellipse">
              <a:avLst/>
            </a:prstGeom>
            <a:solidFill>
              <a:schemeClr val="bg1"/>
            </a:solidFill>
            <a:ln w="2222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6" tIns="91428" rIns="182856" bIns="91428" numCol="1" spcCol="0" rtlCol="0" fromWordArt="0" anchor="ctr" anchorCtr="0" forceAA="0" compatLnSpc="1">
              <a:prstTxWarp prst="textNoShape">
                <a:avLst/>
              </a:prstTxWarp>
              <a:noAutofit/>
            </a:bodyPr>
            <a:lstStyle/>
            <a:p>
              <a:pPr algn="ctr" defTabSz="1828573">
                <a:defRPr/>
              </a:pPr>
              <a:endParaRPr lang="en-GB">
                <a:solidFill>
                  <a:srgbClr val="FFFFFF"/>
                </a:solidFill>
                <a:latin typeface="Noto IKEA Latin"/>
              </a:endParaRPr>
            </a:p>
          </p:txBody>
        </p:sp>
        <p:sp>
          <p:nvSpPr>
            <p:cNvPr id="95" name="Oval 42">
              <a:extLst>
                <a:ext uri="{FF2B5EF4-FFF2-40B4-BE49-F238E27FC236}">
                  <a16:creationId xmlns:a16="http://schemas.microsoft.com/office/drawing/2014/main" id="{D88A4F9B-A598-4750-BAEF-A059A72FD3C3}"/>
                </a:ext>
              </a:extLst>
            </p:cNvPr>
            <p:cNvSpPr/>
            <p:nvPr/>
          </p:nvSpPr>
          <p:spPr>
            <a:xfrm>
              <a:off x="6581978" y="1680576"/>
              <a:ext cx="407178" cy="411936"/>
            </a:xfrm>
            <a:prstGeom prst="ellipse">
              <a:avLst/>
            </a:prstGeom>
            <a:solidFill>
              <a:schemeClr val="bg1"/>
            </a:solidFill>
            <a:ln w="2222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6" tIns="91428" rIns="182856" bIns="91428" numCol="1" spcCol="0" rtlCol="0" fromWordArt="0" anchor="ctr" anchorCtr="0" forceAA="0" compatLnSpc="1">
              <a:prstTxWarp prst="textNoShape">
                <a:avLst/>
              </a:prstTxWarp>
              <a:noAutofit/>
            </a:bodyPr>
            <a:lstStyle/>
            <a:p>
              <a:pPr algn="ctr" defTabSz="1828573">
                <a:defRPr/>
              </a:pPr>
              <a:endParaRPr lang="en-GB">
                <a:solidFill>
                  <a:srgbClr val="FFFFFF"/>
                </a:solidFill>
                <a:latin typeface="Noto IKEA Latin"/>
              </a:endParaRPr>
            </a:p>
          </p:txBody>
        </p:sp>
        <p:sp>
          <p:nvSpPr>
            <p:cNvPr id="96" name="Oval 42">
              <a:extLst>
                <a:ext uri="{FF2B5EF4-FFF2-40B4-BE49-F238E27FC236}">
                  <a16:creationId xmlns:a16="http://schemas.microsoft.com/office/drawing/2014/main" id="{0AB6094D-913E-4D04-8A24-0DE510F6AEE3}"/>
                </a:ext>
              </a:extLst>
            </p:cNvPr>
            <p:cNvSpPr/>
            <p:nvPr/>
          </p:nvSpPr>
          <p:spPr>
            <a:xfrm>
              <a:off x="11063073" y="1478263"/>
              <a:ext cx="407178" cy="411936"/>
            </a:xfrm>
            <a:prstGeom prst="ellipse">
              <a:avLst/>
            </a:prstGeom>
            <a:solidFill>
              <a:schemeClr val="bg1"/>
            </a:solidFill>
            <a:ln w="2222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6" tIns="91428" rIns="182856" bIns="91428" numCol="1" spcCol="0" rtlCol="0" fromWordArt="0" anchor="ctr" anchorCtr="0" forceAA="0" compatLnSpc="1">
              <a:prstTxWarp prst="textNoShape">
                <a:avLst/>
              </a:prstTxWarp>
              <a:noAutofit/>
            </a:bodyPr>
            <a:lstStyle/>
            <a:p>
              <a:pPr algn="ctr" defTabSz="1828573">
                <a:defRPr/>
              </a:pPr>
              <a:endParaRPr lang="en-GB">
                <a:solidFill>
                  <a:srgbClr val="FFFFFF"/>
                </a:solidFill>
                <a:latin typeface="Noto IKEA Latin"/>
              </a:endParaRPr>
            </a:p>
          </p:txBody>
        </p:sp>
        <p:sp>
          <p:nvSpPr>
            <p:cNvPr id="97" name="Oval 42">
              <a:extLst>
                <a:ext uri="{FF2B5EF4-FFF2-40B4-BE49-F238E27FC236}">
                  <a16:creationId xmlns:a16="http://schemas.microsoft.com/office/drawing/2014/main" id="{76A026C9-F9B6-4CBA-AEA3-C213529C119E}"/>
                </a:ext>
              </a:extLst>
            </p:cNvPr>
            <p:cNvSpPr/>
            <p:nvPr/>
          </p:nvSpPr>
          <p:spPr>
            <a:xfrm>
              <a:off x="10387595" y="3241850"/>
              <a:ext cx="407178" cy="411936"/>
            </a:xfrm>
            <a:prstGeom prst="ellipse">
              <a:avLst/>
            </a:prstGeom>
            <a:solidFill>
              <a:schemeClr val="bg1"/>
            </a:solidFill>
            <a:ln w="2222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6" tIns="91428" rIns="182856" bIns="91428" numCol="1" spcCol="0" rtlCol="0" fromWordArt="0" anchor="ctr" anchorCtr="0" forceAA="0" compatLnSpc="1">
              <a:prstTxWarp prst="textNoShape">
                <a:avLst/>
              </a:prstTxWarp>
              <a:noAutofit/>
            </a:bodyPr>
            <a:lstStyle/>
            <a:p>
              <a:pPr algn="ctr" defTabSz="1828573">
                <a:defRPr/>
              </a:pPr>
              <a:endParaRPr lang="en-GB">
                <a:solidFill>
                  <a:srgbClr val="FFFFFF"/>
                </a:solidFill>
                <a:latin typeface="Noto IKEA Latin"/>
              </a:endParaRPr>
            </a:p>
          </p:txBody>
        </p:sp>
        <p:sp>
          <p:nvSpPr>
            <p:cNvPr id="133" name="Oval 32">
              <a:extLst>
                <a:ext uri="{FF2B5EF4-FFF2-40B4-BE49-F238E27FC236}">
                  <a16:creationId xmlns:a16="http://schemas.microsoft.com/office/drawing/2014/main" id="{D273293B-BA19-4CB8-BC92-246909C672C8}"/>
                </a:ext>
              </a:extLst>
            </p:cNvPr>
            <p:cNvSpPr/>
            <p:nvPr/>
          </p:nvSpPr>
          <p:spPr>
            <a:xfrm>
              <a:off x="6829554" y="3239760"/>
              <a:ext cx="1584902" cy="1137738"/>
            </a:xfrm>
            <a:prstGeom prst="ellipse">
              <a:avLst/>
            </a:prstGeom>
            <a:solidFill>
              <a:srgbClr val="005A9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6" tIns="91428" rIns="182856" bIns="91428" numCol="1" spcCol="0" rtlCol="0" fromWordArt="0" anchor="ctr" anchorCtr="0" forceAA="0" compatLnSpc="1">
              <a:prstTxWarp prst="textNoShape">
                <a:avLst/>
              </a:prstTxWarp>
              <a:noAutofit/>
            </a:bodyPr>
            <a:lstStyle/>
            <a:p>
              <a:pPr algn="ctr" defTabSz="1828573">
                <a:defRPr/>
              </a:pPr>
              <a:r>
                <a:rPr lang="en-GB" sz="2400" b="1">
                  <a:solidFill>
                    <a:srgbClr val="FFFFFF"/>
                  </a:solidFill>
                  <a:latin typeface="Noto IKEA Latin"/>
                </a:rPr>
                <a:t>Scouting</a:t>
              </a:r>
            </a:p>
            <a:p>
              <a:pPr algn="ctr" defTabSz="1828573">
                <a:defRPr/>
              </a:pPr>
              <a:r>
                <a:rPr lang="en-GB" sz="2400" b="1">
                  <a:solidFill>
                    <a:srgbClr val="FFFFFF"/>
                  </a:solidFill>
                  <a:latin typeface="Noto IKEA Latin"/>
                </a:rPr>
                <a:t>IIG</a:t>
              </a:r>
            </a:p>
          </p:txBody>
        </p:sp>
        <p:cxnSp>
          <p:nvCxnSpPr>
            <p:cNvPr id="78" name="Straight Connector 77">
              <a:extLst>
                <a:ext uri="{FF2B5EF4-FFF2-40B4-BE49-F238E27FC236}">
                  <a16:creationId xmlns:a16="http://schemas.microsoft.com/office/drawing/2014/main" id="{4AC71B45-0A18-417A-A328-B22B3D7C592D}"/>
                </a:ext>
              </a:extLst>
            </p:cNvPr>
            <p:cNvCxnSpPr>
              <a:cxnSpLocks/>
            </p:cNvCxnSpPr>
            <p:nvPr/>
          </p:nvCxnSpPr>
          <p:spPr>
            <a:xfrm flipV="1">
              <a:off x="1570671" y="4098837"/>
              <a:ext cx="4739268" cy="2925192"/>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176488C7-7123-49C7-8259-F65FC231B4BA}"/>
                </a:ext>
              </a:extLst>
            </p:cNvPr>
            <p:cNvCxnSpPr>
              <a:cxnSpLocks/>
            </p:cNvCxnSpPr>
            <p:nvPr/>
          </p:nvCxnSpPr>
          <p:spPr>
            <a:xfrm flipV="1">
              <a:off x="3095675" y="2841665"/>
              <a:ext cx="3585909" cy="4182364"/>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100" name="Oval 42">
              <a:extLst>
                <a:ext uri="{FF2B5EF4-FFF2-40B4-BE49-F238E27FC236}">
                  <a16:creationId xmlns:a16="http://schemas.microsoft.com/office/drawing/2014/main" id="{213D492F-FF87-4345-9ADC-8FBFD8810743}"/>
                </a:ext>
              </a:extLst>
            </p:cNvPr>
            <p:cNvSpPr/>
            <p:nvPr/>
          </p:nvSpPr>
          <p:spPr>
            <a:xfrm>
              <a:off x="4591835" y="4873520"/>
              <a:ext cx="407178" cy="411936"/>
            </a:xfrm>
            <a:prstGeom prst="ellipse">
              <a:avLst/>
            </a:prstGeom>
            <a:solidFill>
              <a:schemeClr val="bg1"/>
            </a:solidFill>
            <a:ln w="2222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6" tIns="91428" rIns="182856" bIns="91428" numCol="1" spcCol="0" rtlCol="0" fromWordArt="0" anchor="ctr" anchorCtr="0" forceAA="0" compatLnSpc="1">
              <a:prstTxWarp prst="textNoShape">
                <a:avLst/>
              </a:prstTxWarp>
              <a:noAutofit/>
            </a:bodyPr>
            <a:lstStyle/>
            <a:p>
              <a:pPr algn="ctr" defTabSz="1828573">
                <a:defRPr/>
              </a:pPr>
              <a:endParaRPr lang="en-GB">
                <a:solidFill>
                  <a:srgbClr val="FFFFFF"/>
                </a:solidFill>
                <a:latin typeface="Noto IKEA Latin"/>
              </a:endParaRPr>
            </a:p>
          </p:txBody>
        </p:sp>
        <p:sp>
          <p:nvSpPr>
            <p:cNvPr id="89" name="TextBox 57">
              <a:extLst>
                <a:ext uri="{FF2B5EF4-FFF2-40B4-BE49-F238E27FC236}">
                  <a16:creationId xmlns:a16="http://schemas.microsoft.com/office/drawing/2014/main" id="{73FE54CC-6A3F-43A1-A626-52C326202A31}"/>
                </a:ext>
              </a:extLst>
            </p:cNvPr>
            <p:cNvSpPr txBox="1"/>
            <p:nvPr/>
          </p:nvSpPr>
          <p:spPr>
            <a:xfrm>
              <a:off x="4543945" y="3983159"/>
              <a:ext cx="1468092" cy="415553"/>
            </a:xfrm>
            <a:prstGeom prst="rect">
              <a:avLst/>
            </a:prstGeom>
            <a:solidFill>
              <a:schemeClr val="bg1"/>
            </a:solidFill>
          </p:spPr>
          <p:txBody>
            <a:bodyPr wrap="square" rIns="0" rtlCol="0">
              <a:spAutoFit/>
            </a:bodyPr>
            <a:lstStyle/>
            <a:p>
              <a:pPr defTabSz="1828573">
                <a:defRPr/>
              </a:pPr>
              <a:r>
                <a:rPr lang="en-GB" sz="2400" b="1">
                  <a:solidFill>
                    <a:srgbClr val="000000"/>
                  </a:solidFill>
                  <a:latin typeface="Noto IKEA Latin"/>
                </a:rPr>
                <a:t>Open for future</a:t>
              </a:r>
            </a:p>
            <a:p>
              <a:pPr defTabSz="1828573">
                <a:defRPr/>
              </a:pPr>
              <a:endParaRPr lang="en-GB" sz="2400" b="1">
                <a:solidFill>
                  <a:srgbClr val="000000"/>
                </a:solidFill>
                <a:latin typeface="Noto IKEA Latin"/>
              </a:endParaRPr>
            </a:p>
          </p:txBody>
        </p:sp>
      </p:grpSp>
      <p:sp>
        <p:nvSpPr>
          <p:cNvPr id="7" name="Title 1">
            <a:extLst>
              <a:ext uri="{FF2B5EF4-FFF2-40B4-BE49-F238E27FC236}">
                <a16:creationId xmlns:a16="http://schemas.microsoft.com/office/drawing/2014/main" id="{779B280E-D302-D15B-7A26-6AEA0E7C62FD}"/>
              </a:ext>
            </a:extLst>
          </p:cNvPr>
          <p:cNvSpPr>
            <a:spLocks noGrp="1"/>
          </p:cNvSpPr>
          <p:nvPr>
            <p:ph type="title"/>
          </p:nvPr>
        </p:nvSpPr>
        <p:spPr>
          <a:xfrm>
            <a:off x="135916" y="311470"/>
            <a:ext cx="24007615" cy="2428514"/>
          </a:xfrm>
        </p:spPr>
        <p:txBody>
          <a:bodyPr/>
          <a:lstStyle/>
          <a:p>
            <a:pPr algn="ctr"/>
            <a:r>
              <a:rPr lang="sv-SE" sz="5600"/>
              <a:t>A network to secure a common capability across organisation </a:t>
            </a:r>
            <a:endParaRPr lang="en-GB" sz="5600"/>
          </a:p>
        </p:txBody>
      </p:sp>
    </p:spTree>
    <p:extLst>
      <p:ext uri="{BB962C8B-B14F-4D97-AF65-F5344CB8AC3E}">
        <p14:creationId xmlns:p14="http://schemas.microsoft.com/office/powerpoint/2010/main" val="18045285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3D box skeletons">
            <a:extLst>
              <a:ext uri="{FF2B5EF4-FFF2-40B4-BE49-F238E27FC236}">
                <a16:creationId xmlns:a16="http://schemas.microsoft.com/office/drawing/2014/main" id="{6765AD79-7873-380A-65D6-A8889B358AC0}"/>
              </a:ext>
            </a:extLst>
          </p:cNvPr>
          <p:cNvPicPr>
            <a:picLocks noChangeAspect="1"/>
          </p:cNvPicPr>
          <p:nvPr/>
        </p:nvPicPr>
        <p:blipFill rotWithShape="1">
          <a:blip r:embed="rId3">
            <a:alphaModFix amt="5000"/>
            <a:duotone>
              <a:schemeClr val="accent3">
                <a:shade val="45000"/>
                <a:satMod val="135000"/>
              </a:schemeClr>
              <a:prstClr val="white"/>
            </a:duotone>
          </a:blip>
          <a:srcRect b="14004"/>
          <a:stretch/>
        </p:blipFill>
        <p:spPr>
          <a:xfrm>
            <a:off x="0" y="3358"/>
            <a:ext cx="24424420" cy="13999246"/>
          </a:xfrm>
          <a:prstGeom prst="rect">
            <a:avLst/>
          </a:prstGeom>
        </p:spPr>
      </p:pic>
      <p:sp>
        <p:nvSpPr>
          <p:cNvPr id="4" name="Rectangle 3">
            <a:extLst>
              <a:ext uri="{FF2B5EF4-FFF2-40B4-BE49-F238E27FC236}">
                <a16:creationId xmlns:a16="http://schemas.microsoft.com/office/drawing/2014/main" id="{59252DE1-B53A-5C49-0299-7658EBD9F98E}"/>
              </a:ext>
            </a:extLst>
          </p:cNvPr>
          <p:cNvSpPr/>
          <p:nvPr/>
        </p:nvSpPr>
        <p:spPr>
          <a:xfrm>
            <a:off x="873457" y="2456597"/>
            <a:ext cx="21536167" cy="1154600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828663" rtl="0" eaLnBrk="1" fontAlgn="auto" latinLnBrk="0" hangingPunct="1">
              <a:lnSpc>
                <a:spcPct val="100000"/>
              </a:lnSpc>
              <a:spcBef>
                <a:spcPts val="0"/>
              </a:spcBef>
              <a:spcAft>
                <a:spcPts val="0"/>
              </a:spcAft>
              <a:buClrTx/>
              <a:buSzTx/>
              <a:buFontTx/>
              <a:buNone/>
              <a:tabLst/>
              <a:defRPr/>
            </a:pPr>
            <a:endParaRPr kumimoji="0" lang="sv-SE" sz="3600" b="0" i="0" u="none" strike="noStrike" kern="1200" cap="none" spc="0" normalizeH="0" baseline="0" noProof="0">
              <a:ln>
                <a:noFill/>
              </a:ln>
              <a:solidFill>
                <a:srgbClr val="FFFFFF"/>
              </a:solidFill>
              <a:effectLst/>
              <a:uLnTx/>
              <a:uFillTx/>
              <a:latin typeface="Noto IKEA Latin"/>
              <a:ea typeface="+mn-ea"/>
              <a:cs typeface="+mn-cs"/>
            </a:endParaRPr>
          </a:p>
        </p:txBody>
      </p:sp>
      <p:grpSp>
        <p:nvGrpSpPr>
          <p:cNvPr id="303" name="Group 2">
            <a:extLst>
              <a:ext uri="{FF2B5EF4-FFF2-40B4-BE49-F238E27FC236}">
                <a16:creationId xmlns:a16="http://schemas.microsoft.com/office/drawing/2014/main" id="{1721179D-2A1B-A350-2F54-5EA87E89A0F8}"/>
              </a:ext>
            </a:extLst>
          </p:cNvPr>
          <p:cNvGrpSpPr/>
          <p:nvPr/>
        </p:nvGrpSpPr>
        <p:grpSpPr>
          <a:xfrm>
            <a:off x="1295587" y="2808514"/>
            <a:ext cx="20713878" cy="10907486"/>
            <a:chOff x="3612579" y="1935347"/>
            <a:chExt cx="7104413" cy="3883271"/>
          </a:xfrm>
        </p:grpSpPr>
        <p:sp>
          <p:nvSpPr>
            <p:cNvPr id="304" name="Rectangle 22">
              <a:extLst>
                <a:ext uri="{FF2B5EF4-FFF2-40B4-BE49-F238E27FC236}">
                  <a16:creationId xmlns:a16="http://schemas.microsoft.com/office/drawing/2014/main" id="{B136E256-663D-F26B-E43B-115C3FD0FA42}"/>
                </a:ext>
              </a:extLst>
            </p:cNvPr>
            <p:cNvSpPr/>
            <p:nvPr/>
          </p:nvSpPr>
          <p:spPr>
            <a:xfrm>
              <a:off x="3612579" y="1950470"/>
              <a:ext cx="7095821" cy="509726"/>
            </a:xfrm>
            <a:prstGeom prst="rect">
              <a:avLst/>
            </a:prstGeom>
            <a:solidFill>
              <a:srgbClr val="FFFFFF">
                <a:lumMod val="85000"/>
                <a:alpha val="36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cxnSp>
          <p:nvCxnSpPr>
            <p:cNvPr id="305" name="Straight Connector 23">
              <a:extLst>
                <a:ext uri="{FF2B5EF4-FFF2-40B4-BE49-F238E27FC236}">
                  <a16:creationId xmlns:a16="http://schemas.microsoft.com/office/drawing/2014/main" id="{4492F19E-ACDA-A4D7-85EC-F0EEC9B37850}"/>
                </a:ext>
              </a:extLst>
            </p:cNvPr>
            <p:cNvCxnSpPr/>
            <p:nvPr/>
          </p:nvCxnSpPr>
          <p:spPr>
            <a:xfrm>
              <a:off x="7164785" y="1942011"/>
              <a:ext cx="0" cy="3866757"/>
            </a:xfrm>
            <a:prstGeom prst="line">
              <a:avLst/>
            </a:prstGeom>
            <a:noFill/>
            <a:ln w="25400" cap="rnd" cmpd="sng" algn="ctr">
              <a:solidFill>
                <a:srgbClr val="FFFFFF">
                  <a:lumMod val="50000"/>
                </a:srgbClr>
              </a:solidFill>
              <a:prstDash val="sysDot"/>
              <a:miter lim="800000"/>
              <a:headEnd type="none" w="lg" len="lg"/>
              <a:tailEnd type="oval" w="sm" len="sm"/>
            </a:ln>
            <a:effectLst/>
          </p:spPr>
        </p:cxnSp>
        <p:cxnSp>
          <p:nvCxnSpPr>
            <p:cNvPr id="306" name="Straight Connector 24">
              <a:extLst>
                <a:ext uri="{FF2B5EF4-FFF2-40B4-BE49-F238E27FC236}">
                  <a16:creationId xmlns:a16="http://schemas.microsoft.com/office/drawing/2014/main" id="{79C2D7FF-9371-91D7-BB6D-25CBDAD54D77}"/>
                </a:ext>
              </a:extLst>
            </p:cNvPr>
            <p:cNvCxnSpPr/>
            <p:nvPr/>
          </p:nvCxnSpPr>
          <p:spPr>
            <a:xfrm>
              <a:off x="5983580" y="1942011"/>
              <a:ext cx="0" cy="3866757"/>
            </a:xfrm>
            <a:prstGeom prst="line">
              <a:avLst/>
            </a:prstGeom>
            <a:noFill/>
            <a:ln w="25400" cap="rnd" cmpd="sng" algn="ctr">
              <a:solidFill>
                <a:srgbClr val="FFFFFF">
                  <a:lumMod val="50000"/>
                </a:srgbClr>
              </a:solidFill>
              <a:prstDash val="sysDot"/>
              <a:miter lim="800000"/>
              <a:headEnd type="none" w="lg" len="lg"/>
              <a:tailEnd type="oval" w="sm" len="sm"/>
            </a:ln>
            <a:effectLst/>
          </p:spPr>
        </p:cxnSp>
        <p:cxnSp>
          <p:nvCxnSpPr>
            <p:cNvPr id="307" name="Straight Connector 25">
              <a:extLst>
                <a:ext uri="{FF2B5EF4-FFF2-40B4-BE49-F238E27FC236}">
                  <a16:creationId xmlns:a16="http://schemas.microsoft.com/office/drawing/2014/main" id="{ACDFFAF1-21B0-91D9-71ED-C3FF16F23BFF}"/>
                </a:ext>
              </a:extLst>
            </p:cNvPr>
            <p:cNvCxnSpPr/>
            <p:nvPr/>
          </p:nvCxnSpPr>
          <p:spPr>
            <a:xfrm>
              <a:off x="8345990" y="1942393"/>
              <a:ext cx="0" cy="3866757"/>
            </a:xfrm>
            <a:prstGeom prst="line">
              <a:avLst/>
            </a:prstGeom>
            <a:noFill/>
            <a:ln w="25400" cap="rnd" cmpd="sng" algn="ctr">
              <a:solidFill>
                <a:srgbClr val="FFFFFF">
                  <a:lumMod val="50000"/>
                </a:srgbClr>
              </a:solidFill>
              <a:prstDash val="sysDot"/>
              <a:miter lim="800000"/>
              <a:headEnd type="none" w="lg" len="lg"/>
              <a:tailEnd type="oval" w="sm" len="sm"/>
            </a:ln>
            <a:effectLst/>
          </p:spPr>
        </p:cxnSp>
        <p:cxnSp>
          <p:nvCxnSpPr>
            <p:cNvPr id="309" name="Straight Connector 121">
              <a:extLst>
                <a:ext uri="{FF2B5EF4-FFF2-40B4-BE49-F238E27FC236}">
                  <a16:creationId xmlns:a16="http://schemas.microsoft.com/office/drawing/2014/main" id="{F93AF986-CF99-633C-704F-CDFCBA739626}"/>
                </a:ext>
              </a:extLst>
            </p:cNvPr>
            <p:cNvCxnSpPr/>
            <p:nvPr/>
          </p:nvCxnSpPr>
          <p:spPr>
            <a:xfrm>
              <a:off x="4802375" y="1942011"/>
              <a:ext cx="0" cy="3866757"/>
            </a:xfrm>
            <a:prstGeom prst="line">
              <a:avLst/>
            </a:prstGeom>
            <a:noFill/>
            <a:ln w="25400" cap="rnd" cmpd="sng" algn="ctr">
              <a:solidFill>
                <a:srgbClr val="FFFFFF">
                  <a:lumMod val="50000"/>
                </a:srgbClr>
              </a:solidFill>
              <a:prstDash val="sysDot"/>
              <a:miter lim="800000"/>
              <a:headEnd type="none" w="lg" len="lg"/>
              <a:tailEnd type="oval" w="sm" len="sm"/>
            </a:ln>
            <a:effectLst/>
          </p:spPr>
        </p:cxnSp>
        <p:cxnSp>
          <p:nvCxnSpPr>
            <p:cNvPr id="312" name="Straight Connector 124">
              <a:extLst>
                <a:ext uri="{FF2B5EF4-FFF2-40B4-BE49-F238E27FC236}">
                  <a16:creationId xmlns:a16="http://schemas.microsoft.com/office/drawing/2014/main" id="{809B5B8A-1A49-D3EC-A534-752722A1FD87}"/>
                </a:ext>
              </a:extLst>
            </p:cNvPr>
            <p:cNvCxnSpPr/>
            <p:nvPr/>
          </p:nvCxnSpPr>
          <p:spPr>
            <a:xfrm>
              <a:off x="3621170" y="1951861"/>
              <a:ext cx="0" cy="3866757"/>
            </a:xfrm>
            <a:prstGeom prst="line">
              <a:avLst/>
            </a:prstGeom>
            <a:noFill/>
            <a:ln w="25400" cap="rnd" cmpd="sng" algn="ctr">
              <a:solidFill>
                <a:srgbClr val="FFFFFF">
                  <a:lumMod val="50000"/>
                </a:srgbClr>
              </a:solidFill>
              <a:prstDash val="sysDot"/>
              <a:miter lim="800000"/>
              <a:headEnd type="none" w="lg" len="lg"/>
              <a:tailEnd type="oval" w="sm" len="sm"/>
            </a:ln>
            <a:effectLst/>
          </p:spPr>
        </p:cxnSp>
        <p:cxnSp>
          <p:nvCxnSpPr>
            <p:cNvPr id="313" name="Straight Connector 125">
              <a:extLst>
                <a:ext uri="{FF2B5EF4-FFF2-40B4-BE49-F238E27FC236}">
                  <a16:creationId xmlns:a16="http://schemas.microsoft.com/office/drawing/2014/main" id="{C0AF2BDB-1552-7A57-8A13-D3D8979A1609}"/>
                </a:ext>
              </a:extLst>
            </p:cNvPr>
            <p:cNvCxnSpPr/>
            <p:nvPr/>
          </p:nvCxnSpPr>
          <p:spPr>
            <a:xfrm>
              <a:off x="9527195" y="1942011"/>
              <a:ext cx="0" cy="3866757"/>
            </a:xfrm>
            <a:prstGeom prst="line">
              <a:avLst/>
            </a:prstGeom>
            <a:noFill/>
            <a:ln w="25400" cap="rnd" cmpd="sng" algn="ctr">
              <a:solidFill>
                <a:srgbClr val="FFFFFF">
                  <a:lumMod val="50000"/>
                </a:srgbClr>
              </a:solidFill>
              <a:prstDash val="sysDot"/>
              <a:miter lim="800000"/>
              <a:headEnd type="none" w="lg" len="lg"/>
              <a:tailEnd type="oval" w="sm" len="sm"/>
            </a:ln>
            <a:effectLst/>
          </p:spPr>
        </p:cxnSp>
        <p:cxnSp>
          <p:nvCxnSpPr>
            <p:cNvPr id="314" name="Straight Connector 126">
              <a:extLst>
                <a:ext uri="{FF2B5EF4-FFF2-40B4-BE49-F238E27FC236}">
                  <a16:creationId xmlns:a16="http://schemas.microsoft.com/office/drawing/2014/main" id="{7938C2A4-08E0-5F1A-8C82-E5943427FD1A}"/>
                </a:ext>
              </a:extLst>
            </p:cNvPr>
            <p:cNvCxnSpPr/>
            <p:nvPr/>
          </p:nvCxnSpPr>
          <p:spPr>
            <a:xfrm>
              <a:off x="10708401" y="1935347"/>
              <a:ext cx="0" cy="3866757"/>
            </a:xfrm>
            <a:prstGeom prst="line">
              <a:avLst/>
            </a:prstGeom>
            <a:noFill/>
            <a:ln w="25400" cap="rnd" cmpd="sng" algn="ctr">
              <a:solidFill>
                <a:srgbClr val="FFFFFF">
                  <a:lumMod val="50000"/>
                </a:srgbClr>
              </a:solidFill>
              <a:prstDash val="sysDot"/>
              <a:miter lim="800000"/>
              <a:headEnd type="none" w="lg" len="lg"/>
              <a:tailEnd type="oval" w="sm" len="sm"/>
            </a:ln>
            <a:effectLst/>
          </p:spPr>
        </p:cxnSp>
        <p:sp>
          <p:nvSpPr>
            <p:cNvPr id="316" name="TextBox 128">
              <a:extLst>
                <a:ext uri="{FF2B5EF4-FFF2-40B4-BE49-F238E27FC236}">
                  <a16:creationId xmlns:a16="http://schemas.microsoft.com/office/drawing/2014/main" id="{01B6E9FF-366D-186B-6D8D-3C71779C743F}"/>
                </a:ext>
              </a:extLst>
            </p:cNvPr>
            <p:cNvSpPr txBox="1"/>
            <p:nvPr/>
          </p:nvSpPr>
          <p:spPr>
            <a:xfrm>
              <a:off x="3621168" y="1953973"/>
              <a:ext cx="1181205" cy="502720"/>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0" cap="none" spc="0" normalizeH="0" baseline="0" noProof="0">
                  <a:ln>
                    <a:noFill/>
                  </a:ln>
                  <a:solidFill>
                    <a:srgbClr val="000000"/>
                  </a:solidFill>
                  <a:effectLst/>
                  <a:uLnTx/>
                  <a:uFillTx/>
                  <a:latin typeface="Noto IKEA Latin"/>
                  <a:ea typeface="+mn-ea"/>
                  <a:cs typeface="Arial" panose="020B0604020202020204" pitchFamily="34" charset="0"/>
                </a:rPr>
                <a:t>Explore Opportunities </a:t>
              </a:r>
            </a:p>
          </p:txBody>
        </p:sp>
        <p:sp>
          <p:nvSpPr>
            <p:cNvPr id="317" name="TextBox 129">
              <a:extLst>
                <a:ext uri="{FF2B5EF4-FFF2-40B4-BE49-F238E27FC236}">
                  <a16:creationId xmlns:a16="http://schemas.microsoft.com/office/drawing/2014/main" id="{EFAF4480-E4A5-11EE-7DE0-FFCBAFC937E1}"/>
                </a:ext>
              </a:extLst>
            </p:cNvPr>
            <p:cNvSpPr txBox="1"/>
            <p:nvPr/>
          </p:nvSpPr>
          <p:spPr>
            <a:xfrm>
              <a:off x="4795347" y="1953973"/>
              <a:ext cx="1181205" cy="502720"/>
            </a:xfrm>
            <a:prstGeom prst="rect">
              <a:avLst/>
            </a:prstGeom>
            <a:noFill/>
          </p:spPr>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3200" b="1" i="0" u="none" strike="noStrike" kern="0" cap="none" spc="0" normalizeH="0" baseline="0">
                  <a:ln>
                    <a:noFill/>
                  </a:ln>
                  <a:solidFill>
                    <a:srgbClr val="3F3F3F"/>
                  </a:solidFill>
                  <a:effectLst/>
                  <a:uLnTx/>
                  <a:uFillTx/>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0" cap="none" spc="0" normalizeH="0" baseline="0" noProof="0">
                  <a:ln>
                    <a:noFill/>
                  </a:ln>
                  <a:solidFill>
                    <a:srgbClr val="000000"/>
                  </a:solidFill>
                  <a:effectLst/>
                  <a:uLnTx/>
                  <a:uFillTx/>
                  <a:latin typeface="Noto IKEA Latin"/>
                  <a:ea typeface="+mn-ea"/>
                  <a:cs typeface="Arial" panose="020B0604020202020204" pitchFamily="34" charset="0"/>
                </a:rPr>
                <a:t>Ideate Concepts</a:t>
              </a:r>
            </a:p>
          </p:txBody>
        </p:sp>
        <p:sp>
          <p:nvSpPr>
            <p:cNvPr id="318" name="TextBox 130">
              <a:extLst>
                <a:ext uri="{FF2B5EF4-FFF2-40B4-BE49-F238E27FC236}">
                  <a16:creationId xmlns:a16="http://schemas.microsoft.com/office/drawing/2014/main" id="{3029AACE-3AAD-F7F2-ABFC-E12C5BEA3F9B}"/>
                </a:ext>
              </a:extLst>
            </p:cNvPr>
            <p:cNvSpPr txBox="1"/>
            <p:nvPr/>
          </p:nvSpPr>
          <p:spPr>
            <a:xfrm>
              <a:off x="6021478" y="1953973"/>
              <a:ext cx="1181205" cy="502720"/>
            </a:xfrm>
            <a:prstGeom prst="rect">
              <a:avLst/>
            </a:prstGeom>
            <a:noFill/>
          </p:spPr>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3200" b="1" i="0" u="none" strike="noStrike" kern="0" cap="none" spc="0" normalizeH="0" baseline="0">
                  <a:ln>
                    <a:noFill/>
                  </a:ln>
                  <a:solidFill>
                    <a:srgbClr val="3F3F3F"/>
                  </a:solidFill>
                  <a:effectLst/>
                  <a:uLnTx/>
                  <a:uFillTx/>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0" cap="none" spc="0" normalizeH="0" baseline="0" noProof="0">
                  <a:ln>
                    <a:noFill/>
                  </a:ln>
                  <a:solidFill>
                    <a:srgbClr val="000000"/>
                  </a:solidFill>
                  <a:effectLst/>
                  <a:uLnTx/>
                  <a:uFillTx/>
                  <a:latin typeface="Noto IKEA Latin"/>
                  <a:ea typeface="+mn-ea"/>
                  <a:cs typeface="Arial" panose="020B0604020202020204" pitchFamily="34" charset="0"/>
                </a:rPr>
                <a:t>Evaluate and Define Concepts</a:t>
              </a:r>
            </a:p>
          </p:txBody>
        </p:sp>
        <p:sp>
          <p:nvSpPr>
            <p:cNvPr id="319" name="TextBox 131">
              <a:extLst>
                <a:ext uri="{FF2B5EF4-FFF2-40B4-BE49-F238E27FC236}">
                  <a16:creationId xmlns:a16="http://schemas.microsoft.com/office/drawing/2014/main" id="{585439C9-FF22-0306-8385-4D7B2777ED27}"/>
                </a:ext>
              </a:extLst>
            </p:cNvPr>
            <p:cNvSpPr txBox="1"/>
            <p:nvPr/>
          </p:nvSpPr>
          <p:spPr>
            <a:xfrm>
              <a:off x="7158178" y="1953973"/>
              <a:ext cx="1181205" cy="502720"/>
            </a:xfrm>
            <a:prstGeom prst="rect">
              <a:avLst/>
            </a:prstGeom>
            <a:noFill/>
          </p:spPr>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b="1" i="0" u="none" strike="noStrike" kern="0" cap="none" spc="0" normalizeH="0" baseline="0">
                  <a:ln>
                    <a:noFill/>
                  </a:ln>
                  <a:solidFill>
                    <a:srgbClr val="3F3F3F"/>
                  </a:solidFill>
                  <a:effectLst/>
                  <a:uLnTx/>
                  <a:uFillTx/>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0" cap="none" spc="0" normalizeH="0" baseline="0" noProof="0">
                  <a:ln>
                    <a:noFill/>
                  </a:ln>
                  <a:solidFill>
                    <a:srgbClr val="000000"/>
                  </a:solidFill>
                  <a:effectLst/>
                  <a:uLnTx/>
                  <a:uFillTx/>
                  <a:latin typeface="Noto IKEA Latin"/>
                  <a:ea typeface="+mn-ea"/>
                  <a:cs typeface="Arial" panose="020B0604020202020204" pitchFamily="34" charset="0"/>
                </a:rPr>
                <a:t>Proof of Concepts</a:t>
              </a:r>
            </a:p>
          </p:txBody>
        </p:sp>
        <p:sp>
          <p:nvSpPr>
            <p:cNvPr id="320" name="TextBox 132">
              <a:extLst>
                <a:ext uri="{FF2B5EF4-FFF2-40B4-BE49-F238E27FC236}">
                  <a16:creationId xmlns:a16="http://schemas.microsoft.com/office/drawing/2014/main" id="{3D154E47-297B-5392-0F56-9198EBF38F61}"/>
                </a:ext>
              </a:extLst>
            </p:cNvPr>
            <p:cNvSpPr txBox="1"/>
            <p:nvPr/>
          </p:nvSpPr>
          <p:spPr>
            <a:xfrm>
              <a:off x="8339109" y="1953973"/>
              <a:ext cx="1181205" cy="502720"/>
            </a:xfrm>
            <a:prstGeom prst="rect">
              <a:avLst/>
            </a:prstGeom>
            <a:noFill/>
          </p:spPr>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b="1" i="0" u="none" strike="noStrike" kern="0" cap="none" spc="0" normalizeH="0" baseline="0">
                  <a:ln>
                    <a:noFill/>
                  </a:ln>
                  <a:solidFill>
                    <a:srgbClr val="3F3F3F"/>
                  </a:solidFill>
                  <a:effectLst/>
                  <a:uLnTx/>
                  <a:uFillTx/>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0" cap="none" spc="0" normalizeH="0" baseline="0" noProof="0">
                  <a:ln>
                    <a:noFill/>
                  </a:ln>
                  <a:solidFill>
                    <a:srgbClr val="000000"/>
                  </a:solidFill>
                  <a:effectLst/>
                  <a:uLnTx/>
                  <a:uFillTx/>
                  <a:latin typeface="Noto IKEA Latin"/>
                  <a:ea typeface="+mn-ea"/>
                  <a:cs typeface="Arial" panose="020B0604020202020204" pitchFamily="34" charset="0"/>
                </a:rPr>
                <a:t>Pilot</a:t>
              </a:r>
            </a:p>
          </p:txBody>
        </p:sp>
        <p:sp>
          <p:nvSpPr>
            <p:cNvPr id="321" name="TextBox 133">
              <a:extLst>
                <a:ext uri="{FF2B5EF4-FFF2-40B4-BE49-F238E27FC236}">
                  <a16:creationId xmlns:a16="http://schemas.microsoft.com/office/drawing/2014/main" id="{008727E2-222D-C6BD-E394-ADA5AC04EA7F}"/>
                </a:ext>
              </a:extLst>
            </p:cNvPr>
            <p:cNvSpPr txBox="1"/>
            <p:nvPr/>
          </p:nvSpPr>
          <p:spPr>
            <a:xfrm>
              <a:off x="9535787" y="1953973"/>
              <a:ext cx="1181205" cy="502720"/>
            </a:xfrm>
            <a:prstGeom prst="rect">
              <a:avLst/>
            </a:prstGeom>
            <a:noFill/>
          </p:spPr>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b="1" i="0" u="none" strike="noStrike" kern="0" cap="none" spc="0" normalizeH="0" baseline="0">
                  <a:ln>
                    <a:noFill/>
                  </a:ln>
                  <a:solidFill>
                    <a:srgbClr val="3F3F3F"/>
                  </a:solidFill>
                  <a:effectLst/>
                  <a:uLnTx/>
                  <a:uFillTx/>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0" cap="none" spc="0" normalizeH="0" baseline="0" noProof="0">
                  <a:ln>
                    <a:noFill/>
                  </a:ln>
                  <a:solidFill>
                    <a:srgbClr val="000000"/>
                  </a:solidFill>
                  <a:effectLst/>
                  <a:uLnTx/>
                  <a:uFillTx/>
                  <a:latin typeface="Noto IKEA Latin"/>
                  <a:ea typeface="+mn-ea"/>
                  <a:cs typeface="Arial" panose="020B0604020202020204" pitchFamily="34" charset="0"/>
                </a:rPr>
                <a:t>Prepare for Deployment</a:t>
              </a:r>
            </a:p>
          </p:txBody>
        </p:sp>
        <p:grpSp>
          <p:nvGrpSpPr>
            <p:cNvPr id="322" name="Group 4">
              <a:extLst>
                <a:ext uri="{FF2B5EF4-FFF2-40B4-BE49-F238E27FC236}">
                  <a16:creationId xmlns:a16="http://schemas.microsoft.com/office/drawing/2014/main" id="{E231E7FA-A0CC-14E1-E9B3-3DA39EAFF2E1}"/>
                </a:ext>
              </a:extLst>
            </p:cNvPr>
            <p:cNvGrpSpPr/>
            <p:nvPr/>
          </p:nvGrpSpPr>
          <p:grpSpPr>
            <a:xfrm>
              <a:off x="3803415" y="2707094"/>
              <a:ext cx="6322974" cy="2844608"/>
              <a:chOff x="2777745" y="2335293"/>
              <a:chExt cx="6322974" cy="2844608"/>
            </a:xfrm>
          </p:grpSpPr>
          <p:sp>
            <p:nvSpPr>
              <p:cNvPr id="329" name="Rectangle 6">
                <a:extLst>
                  <a:ext uri="{FF2B5EF4-FFF2-40B4-BE49-F238E27FC236}">
                    <a16:creationId xmlns:a16="http://schemas.microsoft.com/office/drawing/2014/main" id="{29838549-7991-208B-459B-9B1A705A1A24}"/>
                  </a:ext>
                </a:extLst>
              </p:cNvPr>
              <p:cNvSpPr/>
              <p:nvPr/>
            </p:nvSpPr>
            <p:spPr>
              <a:xfrm flipH="1" flipV="1">
                <a:off x="2844168" y="2335293"/>
                <a:ext cx="6256551" cy="1265011"/>
              </a:xfrm>
              <a:custGeom>
                <a:avLst/>
                <a:gdLst>
                  <a:gd name="connsiteX0" fmla="*/ 0 w 6324600"/>
                  <a:gd name="connsiteY0" fmla="*/ 0 h 3505200"/>
                  <a:gd name="connsiteX1" fmla="*/ 6324600 w 6324600"/>
                  <a:gd name="connsiteY1" fmla="*/ 0 h 3505200"/>
                  <a:gd name="connsiteX2" fmla="*/ 6324600 w 6324600"/>
                  <a:gd name="connsiteY2" fmla="*/ 3505200 h 3505200"/>
                  <a:gd name="connsiteX3" fmla="*/ 0 w 6324600"/>
                  <a:gd name="connsiteY3" fmla="*/ 3505200 h 3505200"/>
                  <a:gd name="connsiteX4" fmla="*/ 0 w 6324600"/>
                  <a:gd name="connsiteY4" fmla="*/ 0 h 3505200"/>
                  <a:gd name="connsiteX0" fmla="*/ 0 w 6324600"/>
                  <a:gd name="connsiteY0" fmla="*/ 0 h 3505200"/>
                  <a:gd name="connsiteX1" fmla="*/ 6324600 w 6324600"/>
                  <a:gd name="connsiteY1" fmla="*/ 0 h 3505200"/>
                  <a:gd name="connsiteX2" fmla="*/ 6324600 w 6324600"/>
                  <a:gd name="connsiteY2" fmla="*/ 3505200 h 3505200"/>
                  <a:gd name="connsiteX3" fmla="*/ 0 w 6324600"/>
                  <a:gd name="connsiteY3" fmla="*/ 0 h 3505200"/>
                  <a:gd name="connsiteX0" fmla="*/ 6324600 w 6416040"/>
                  <a:gd name="connsiteY0" fmla="*/ 3505200 h 3596640"/>
                  <a:gd name="connsiteX1" fmla="*/ 0 w 6416040"/>
                  <a:gd name="connsiteY1" fmla="*/ 0 h 3596640"/>
                  <a:gd name="connsiteX2" fmla="*/ 6324600 w 6416040"/>
                  <a:gd name="connsiteY2" fmla="*/ 0 h 3596640"/>
                  <a:gd name="connsiteX3" fmla="*/ 6416040 w 6416040"/>
                  <a:gd name="connsiteY3" fmla="*/ 3596640 h 3596640"/>
                  <a:gd name="connsiteX0" fmla="*/ 2327787 w 6416040"/>
                  <a:gd name="connsiteY0" fmla="*/ 1941871 h 3596640"/>
                  <a:gd name="connsiteX1" fmla="*/ 0 w 6416040"/>
                  <a:gd name="connsiteY1" fmla="*/ 0 h 3596640"/>
                  <a:gd name="connsiteX2" fmla="*/ 6324600 w 6416040"/>
                  <a:gd name="connsiteY2" fmla="*/ 0 h 3596640"/>
                  <a:gd name="connsiteX3" fmla="*/ 6416040 w 6416040"/>
                  <a:gd name="connsiteY3" fmla="*/ 3596640 h 3596640"/>
                  <a:gd name="connsiteX0" fmla="*/ 0 w 6416040"/>
                  <a:gd name="connsiteY0" fmla="*/ 0 h 3596640"/>
                  <a:gd name="connsiteX1" fmla="*/ 6324600 w 6416040"/>
                  <a:gd name="connsiteY1" fmla="*/ 0 h 3596640"/>
                  <a:gd name="connsiteX2" fmla="*/ 6416040 w 6416040"/>
                  <a:gd name="connsiteY2" fmla="*/ 3596640 h 3596640"/>
                  <a:gd name="connsiteX0" fmla="*/ 0 w 6416040"/>
                  <a:gd name="connsiteY0" fmla="*/ 0 h 3596640"/>
                  <a:gd name="connsiteX1" fmla="*/ 6324600 w 6416040"/>
                  <a:gd name="connsiteY1" fmla="*/ 0 h 3596640"/>
                  <a:gd name="connsiteX2" fmla="*/ 6416040 w 6416040"/>
                  <a:gd name="connsiteY2" fmla="*/ 3596640 h 3596640"/>
                  <a:gd name="connsiteX3" fmla="*/ 0 w 6416040"/>
                  <a:gd name="connsiteY3" fmla="*/ 0 h 3596640"/>
                  <a:gd name="connsiteX0" fmla="*/ 6416040 w 6507480"/>
                  <a:gd name="connsiteY0" fmla="*/ 3596640 h 3688080"/>
                  <a:gd name="connsiteX1" fmla="*/ 0 w 6507480"/>
                  <a:gd name="connsiteY1" fmla="*/ 0 h 3688080"/>
                  <a:gd name="connsiteX2" fmla="*/ 6324600 w 6507480"/>
                  <a:gd name="connsiteY2" fmla="*/ 0 h 3688080"/>
                  <a:gd name="connsiteX3" fmla="*/ 6507480 w 6507480"/>
                  <a:gd name="connsiteY3" fmla="*/ 3688080 h 3688080"/>
                  <a:gd name="connsiteX0" fmla="*/ 1563821 w 6507480"/>
                  <a:gd name="connsiteY0" fmla="*/ 3050950 h 3688080"/>
                  <a:gd name="connsiteX1" fmla="*/ 0 w 6507480"/>
                  <a:gd name="connsiteY1" fmla="*/ 0 h 3688080"/>
                  <a:gd name="connsiteX2" fmla="*/ 6324600 w 6507480"/>
                  <a:gd name="connsiteY2" fmla="*/ 0 h 3688080"/>
                  <a:gd name="connsiteX3" fmla="*/ 6507480 w 6507480"/>
                  <a:gd name="connsiteY3" fmla="*/ 3688080 h 3688080"/>
                  <a:gd name="connsiteX0" fmla="*/ 0 w 6507480"/>
                  <a:gd name="connsiteY0" fmla="*/ 0 h 3688080"/>
                  <a:gd name="connsiteX1" fmla="*/ 6324600 w 6507480"/>
                  <a:gd name="connsiteY1" fmla="*/ 0 h 3688080"/>
                  <a:gd name="connsiteX2" fmla="*/ 6507480 w 6507480"/>
                  <a:gd name="connsiteY2" fmla="*/ 3688080 h 3688080"/>
                  <a:gd name="connsiteX0" fmla="*/ 0 w 6324600"/>
                  <a:gd name="connsiteY0" fmla="*/ 0 h 2168996"/>
                  <a:gd name="connsiteX1" fmla="*/ 6324600 w 6324600"/>
                  <a:gd name="connsiteY1" fmla="*/ 0 h 2168996"/>
                  <a:gd name="connsiteX2" fmla="*/ 6242009 w 6324600"/>
                  <a:gd name="connsiteY2" fmla="*/ 2168996 h 2168996"/>
                  <a:gd name="connsiteX0" fmla="*/ 0 w 6522228"/>
                  <a:gd name="connsiteY0" fmla="*/ 0 h 2404970"/>
                  <a:gd name="connsiteX1" fmla="*/ 6324600 w 6522228"/>
                  <a:gd name="connsiteY1" fmla="*/ 0 h 2404970"/>
                  <a:gd name="connsiteX2" fmla="*/ 6522228 w 6522228"/>
                  <a:gd name="connsiteY2" fmla="*/ 2404970 h 2404970"/>
                  <a:gd name="connsiteX0" fmla="*/ 0 w 7057136"/>
                  <a:gd name="connsiteY0" fmla="*/ 0 h 2589105"/>
                  <a:gd name="connsiteX1" fmla="*/ 6324600 w 7057136"/>
                  <a:gd name="connsiteY1" fmla="*/ 0 h 2589105"/>
                  <a:gd name="connsiteX2" fmla="*/ 6522228 w 7057136"/>
                  <a:gd name="connsiteY2" fmla="*/ 2404970 h 2589105"/>
                  <a:gd name="connsiteX0" fmla="*/ 0 w 6522228"/>
                  <a:gd name="connsiteY0" fmla="*/ 0 h 2884378"/>
                  <a:gd name="connsiteX1" fmla="*/ 6324600 w 6522228"/>
                  <a:gd name="connsiteY1" fmla="*/ 0 h 2884378"/>
                  <a:gd name="connsiteX2" fmla="*/ 6522228 w 6522228"/>
                  <a:gd name="connsiteY2" fmla="*/ 2404970 h 2884378"/>
                  <a:gd name="connsiteX0" fmla="*/ 0 w 6959565"/>
                  <a:gd name="connsiteY0" fmla="*/ 0 h 2629590"/>
                  <a:gd name="connsiteX1" fmla="*/ 6324600 w 6959565"/>
                  <a:gd name="connsiteY1" fmla="*/ 0 h 2629590"/>
                  <a:gd name="connsiteX2" fmla="*/ 6522228 w 6959565"/>
                  <a:gd name="connsiteY2" fmla="*/ 2404970 h 2629590"/>
                  <a:gd name="connsiteX0" fmla="*/ 0 w 6959565"/>
                  <a:gd name="connsiteY0" fmla="*/ 0 h 2629590"/>
                  <a:gd name="connsiteX1" fmla="*/ 6324600 w 6959565"/>
                  <a:gd name="connsiteY1" fmla="*/ 0 h 2629590"/>
                  <a:gd name="connsiteX2" fmla="*/ 6522228 w 6959565"/>
                  <a:gd name="connsiteY2" fmla="*/ 2404970 h 2629590"/>
                  <a:gd name="connsiteX0" fmla="*/ 0 w 6522228"/>
                  <a:gd name="connsiteY0" fmla="*/ 0 h 2404970"/>
                  <a:gd name="connsiteX1" fmla="*/ 6324600 w 6522228"/>
                  <a:gd name="connsiteY1" fmla="*/ 0 h 2404970"/>
                  <a:gd name="connsiteX2" fmla="*/ 6522228 w 6522228"/>
                  <a:gd name="connsiteY2" fmla="*/ 2404970 h 2404970"/>
                  <a:gd name="connsiteX0" fmla="*/ 0 w 6839285"/>
                  <a:gd name="connsiteY0" fmla="*/ 178145 h 2583115"/>
                  <a:gd name="connsiteX1" fmla="*/ 6324600 w 6839285"/>
                  <a:gd name="connsiteY1" fmla="*/ 178145 h 2583115"/>
                  <a:gd name="connsiteX2" fmla="*/ 6522228 w 6839285"/>
                  <a:gd name="connsiteY2" fmla="*/ 2583115 h 2583115"/>
                  <a:gd name="connsiteX0" fmla="*/ 0 w 6522228"/>
                  <a:gd name="connsiteY0" fmla="*/ 0 h 2404970"/>
                  <a:gd name="connsiteX1" fmla="*/ 3699387 w 6522228"/>
                  <a:gd name="connsiteY1" fmla="*/ 575187 h 2404970"/>
                  <a:gd name="connsiteX2" fmla="*/ 6522228 w 6522228"/>
                  <a:gd name="connsiteY2" fmla="*/ 2404970 h 2404970"/>
                  <a:gd name="connsiteX0" fmla="*/ 0 w 6522228"/>
                  <a:gd name="connsiteY0" fmla="*/ 5635 h 2410605"/>
                  <a:gd name="connsiteX1" fmla="*/ 3699387 w 6522228"/>
                  <a:gd name="connsiteY1" fmla="*/ 580822 h 2410605"/>
                  <a:gd name="connsiteX2" fmla="*/ 6522228 w 6522228"/>
                  <a:gd name="connsiteY2" fmla="*/ 2410605 h 2410605"/>
                  <a:gd name="connsiteX0" fmla="*/ 0 w 6522228"/>
                  <a:gd name="connsiteY0" fmla="*/ 5635 h 2410605"/>
                  <a:gd name="connsiteX1" fmla="*/ 3699387 w 6522228"/>
                  <a:gd name="connsiteY1" fmla="*/ 580822 h 2410605"/>
                  <a:gd name="connsiteX2" fmla="*/ 6522228 w 6522228"/>
                  <a:gd name="connsiteY2" fmla="*/ 2410605 h 2410605"/>
                  <a:gd name="connsiteX0" fmla="*/ 0 w 6522228"/>
                  <a:gd name="connsiteY0" fmla="*/ 6310 h 2411280"/>
                  <a:gd name="connsiteX1" fmla="*/ 4628535 w 6522228"/>
                  <a:gd name="connsiteY1" fmla="*/ 552000 h 2411280"/>
                  <a:gd name="connsiteX2" fmla="*/ 6522228 w 6522228"/>
                  <a:gd name="connsiteY2" fmla="*/ 2411280 h 2411280"/>
                  <a:gd name="connsiteX0" fmla="*/ 0 w 6522228"/>
                  <a:gd name="connsiteY0" fmla="*/ 5347 h 2410317"/>
                  <a:gd name="connsiteX1" fmla="*/ 4023851 w 6522228"/>
                  <a:gd name="connsiteY1" fmla="*/ 595282 h 2410317"/>
                  <a:gd name="connsiteX2" fmla="*/ 6522228 w 6522228"/>
                  <a:gd name="connsiteY2" fmla="*/ 2410317 h 2410317"/>
                  <a:gd name="connsiteX0" fmla="*/ 0 w 6509203"/>
                  <a:gd name="connsiteY0" fmla="*/ 163951 h 1949489"/>
                  <a:gd name="connsiteX1" fmla="*/ 4010826 w 6509203"/>
                  <a:gd name="connsiteY1" fmla="*/ 134454 h 1949489"/>
                  <a:gd name="connsiteX2" fmla="*/ 6509203 w 6509203"/>
                  <a:gd name="connsiteY2" fmla="*/ 1949489 h 1949489"/>
                  <a:gd name="connsiteX0" fmla="*/ 0 w 6535251"/>
                  <a:gd name="connsiteY0" fmla="*/ 155212 h 1822763"/>
                  <a:gd name="connsiteX1" fmla="*/ 4010826 w 6535251"/>
                  <a:gd name="connsiteY1" fmla="*/ 125715 h 1822763"/>
                  <a:gd name="connsiteX2" fmla="*/ 6535251 w 6535251"/>
                  <a:gd name="connsiteY2" fmla="*/ 1822763 h 1822763"/>
                  <a:gd name="connsiteX0" fmla="*/ 0 w 6535251"/>
                  <a:gd name="connsiteY0" fmla="*/ 155212 h 1822763"/>
                  <a:gd name="connsiteX1" fmla="*/ 4010826 w 6535251"/>
                  <a:gd name="connsiteY1" fmla="*/ 125715 h 1822763"/>
                  <a:gd name="connsiteX2" fmla="*/ 6535251 w 6535251"/>
                  <a:gd name="connsiteY2" fmla="*/ 1822763 h 1822763"/>
                  <a:gd name="connsiteX0" fmla="*/ 0 w 6535251"/>
                  <a:gd name="connsiteY0" fmla="*/ 10655 h 1678206"/>
                  <a:gd name="connsiteX1" fmla="*/ 4062921 w 6535251"/>
                  <a:gd name="connsiteY1" fmla="*/ 335120 h 1678206"/>
                  <a:gd name="connsiteX2" fmla="*/ 6535251 w 6535251"/>
                  <a:gd name="connsiteY2" fmla="*/ 1678206 h 1678206"/>
                  <a:gd name="connsiteX0" fmla="*/ 0 w 6535251"/>
                  <a:gd name="connsiteY0" fmla="*/ 3375 h 1670926"/>
                  <a:gd name="connsiteX1" fmla="*/ 4128041 w 6535251"/>
                  <a:gd name="connsiteY1" fmla="*/ 637556 h 1670926"/>
                  <a:gd name="connsiteX2" fmla="*/ 6535251 w 6535251"/>
                  <a:gd name="connsiteY2" fmla="*/ 1670926 h 1670926"/>
                  <a:gd name="connsiteX0" fmla="*/ 0 w 6535251"/>
                  <a:gd name="connsiteY0" fmla="*/ 7668 h 1675219"/>
                  <a:gd name="connsiteX1" fmla="*/ 4023848 w 6535251"/>
                  <a:gd name="connsiteY1" fmla="*/ 391126 h 1675219"/>
                  <a:gd name="connsiteX2" fmla="*/ 6535251 w 6535251"/>
                  <a:gd name="connsiteY2" fmla="*/ 1675219 h 1675219"/>
                  <a:gd name="connsiteX0" fmla="*/ 0 w 6535251"/>
                  <a:gd name="connsiteY0" fmla="*/ 7668 h 1675219"/>
                  <a:gd name="connsiteX1" fmla="*/ 4023848 w 6535251"/>
                  <a:gd name="connsiteY1" fmla="*/ 391126 h 1675219"/>
                  <a:gd name="connsiteX2" fmla="*/ 6535251 w 6535251"/>
                  <a:gd name="connsiteY2" fmla="*/ 1675219 h 1675219"/>
                </a:gdLst>
                <a:ahLst/>
                <a:cxnLst>
                  <a:cxn ang="0">
                    <a:pos x="connsiteX0" y="connsiteY0"/>
                  </a:cxn>
                  <a:cxn ang="0">
                    <a:pos x="connsiteX1" y="connsiteY1"/>
                  </a:cxn>
                  <a:cxn ang="0">
                    <a:pos x="connsiteX2" y="connsiteY2"/>
                  </a:cxn>
                </a:cxnLst>
                <a:rect l="l" t="t" r="r" b="b"/>
                <a:pathLst>
                  <a:path w="6535251" h="1675219">
                    <a:moveTo>
                      <a:pt x="0" y="7668"/>
                    </a:moveTo>
                    <a:cubicBezTo>
                      <a:pt x="618613" y="-36578"/>
                      <a:pt x="2934640" y="113201"/>
                      <a:pt x="4023848" y="391126"/>
                    </a:cubicBezTo>
                    <a:cubicBezTo>
                      <a:pt x="5113057" y="669051"/>
                      <a:pt x="6017867" y="1075450"/>
                      <a:pt x="6535251" y="1675219"/>
                    </a:cubicBezTo>
                  </a:path>
                </a:pathLst>
              </a:custGeom>
              <a:noFill/>
              <a:ln w="19050" cap="flat" cmpd="sng" algn="ctr">
                <a:solidFill>
                  <a:srgbClr val="000000">
                    <a:lumMod val="50000"/>
                    <a:lumOff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30" name="Rectangle 6">
                <a:extLst>
                  <a:ext uri="{FF2B5EF4-FFF2-40B4-BE49-F238E27FC236}">
                    <a16:creationId xmlns:a16="http://schemas.microsoft.com/office/drawing/2014/main" id="{AEA1BBF0-C3B1-4215-86AF-44D7B1EFBCFA}"/>
                  </a:ext>
                </a:extLst>
              </p:cNvPr>
              <p:cNvSpPr/>
              <p:nvPr/>
            </p:nvSpPr>
            <p:spPr>
              <a:xfrm flipH="1">
                <a:off x="2844168" y="3914890"/>
                <a:ext cx="6256551" cy="1265011"/>
              </a:xfrm>
              <a:custGeom>
                <a:avLst/>
                <a:gdLst>
                  <a:gd name="connsiteX0" fmla="*/ 0 w 6324600"/>
                  <a:gd name="connsiteY0" fmla="*/ 0 h 3505200"/>
                  <a:gd name="connsiteX1" fmla="*/ 6324600 w 6324600"/>
                  <a:gd name="connsiteY1" fmla="*/ 0 h 3505200"/>
                  <a:gd name="connsiteX2" fmla="*/ 6324600 w 6324600"/>
                  <a:gd name="connsiteY2" fmla="*/ 3505200 h 3505200"/>
                  <a:gd name="connsiteX3" fmla="*/ 0 w 6324600"/>
                  <a:gd name="connsiteY3" fmla="*/ 3505200 h 3505200"/>
                  <a:gd name="connsiteX4" fmla="*/ 0 w 6324600"/>
                  <a:gd name="connsiteY4" fmla="*/ 0 h 3505200"/>
                  <a:gd name="connsiteX0" fmla="*/ 0 w 6324600"/>
                  <a:gd name="connsiteY0" fmla="*/ 0 h 3505200"/>
                  <a:gd name="connsiteX1" fmla="*/ 6324600 w 6324600"/>
                  <a:gd name="connsiteY1" fmla="*/ 0 h 3505200"/>
                  <a:gd name="connsiteX2" fmla="*/ 6324600 w 6324600"/>
                  <a:gd name="connsiteY2" fmla="*/ 3505200 h 3505200"/>
                  <a:gd name="connsiteX3" fmla="*/ 0 w 6324600"/>
                  <a:gd name="connsiteY3" fmla="*/ 0 h 3505200"/>
                  <a:gd name="connsiteX0" fmla="*/ 6324600 w 6416040"/>
                  <a:gd name="connsiteY0" fmla="*/ 3505200 h 3596640"/>
                  <a:gd name="connsiteX1" fmla="*/ 0 w 6416040"/>
                  <a:gd name="connsiteY1" fmla="*/ 0 h 3596640"/>
                  <a:gd name="connsiteX2" fmla="*/ 6324600 w 6416040"/>
                  <a:gd name="connsiteY2" fmla="*/ 0 h 3596640"/>
                  <a:gd name="connsiteX3" fmla="*/ 6416040 w 6416040"/>
                  <a:gd name="connsiteY3" fmla="*/ 3596640 h 3596640"/>
                  <a:gd name="connsiteX0" fmla="*/ 2327787 w 6416040"/>
                  <a:gd name="connsiteY0" fmla="*/ 1941871 h 3596640"/>
                  <a:gd name="connsiteX1" fmla="*/ 0 w 6416040"/>
                  <a:gd name="connsiteY1" fmla="*/ 0 h 3596640"/>
                  <a:gd name="connsiteX2" fmla="*/ 6324600 w 6416040"/>
                  <a:gd name="connsiteY2" fmla="*/ 0 h 3596640"/>
                  <a:gd name="connsiteX3" fmla="*/ 6416040 w 6416040"/>
                  <a:gd name="connsiteY3" fmla="*/ 3596640 h 3596640"/>
                  <a:gd name="connsiteX0" fmla="*/ 0 w 6416040"/>
                  <a:gd name="connsiteY0" fmla="*/ 0 h 3596640"/>
                  <a:gd name="connsiteX1" fmla="*/ 6324600 w 6416040"/>
                  <a:gd name="connsiteY1" fmla="*/ 0 h 3596640"/>
                  <a:gd name="connsiteX2" fmla="*/ 6416040 w 6416040"/>
                  <a:gd name="connsiteY2" fmla="*/ 3596640 h 3596640"/>
                  <a:gd name="connsiteX0" fmla="*/ 0 w 6416040"/>
                  <a:gd name="connsiteY0" fmla="*/ 0 h 3596640"/>
                  <a:gd name="connsiteX1" fmla="*/ 6324600 w 6416040"/>
                  <a:gd name="connsiteY1" fmla="*/ 0 h 3596640"/>
                  <a:gd name="connsiteX2" fmla="*/ 6416040 w 6416040"/>
                  <a:gd name="connsiteY2" fmla="*/ 3596640 h 3596640"/>
                  <a:gd name="connsiteX3" fmla="*/ 0 w 6416040"/>
                  <a:gd name="connsiteY3" fmla="*/ 0 h 3596640"/>
                  <a:gd name="connsiteX0" fmla="*/ 6416040 w 6507480"/>
                  <a:gd name="connsiteY0" fmla="*/ 3596640 h 3688080"/>
                  <a:gd name="connsiteX1" fmla="*/ 0 w 6507480"/>
                  <a:gd name="connsiteY1" fmla="*/ 0 h 3688080"/>
                  <a:gd name="connsiteX2" fmla="*/ 6324600 w 6507480"/>
                  <a:gd name="connsiteY2" fmla="*/ 0 h 3688080"/>
                  <a:gd name="connsiteX3" fmla="*/ 6507480 w 6507480"/>
                  <a:gd name="connsiteY3" fmla="*/ 3688080 h 3688080"/>
                  <a:gd name="connsiteX0" fmla="*/ 1563821 w 6507480"/>
                  <a:gd name="connsiteY0" fmla="*/ 3050950 h 3688080"/>
                  <a:gd name="connsiteX1" fmla="*/ 0 w 6507480"/>
                  <a:gd name="connsiteY1" fmla="*/ 0 h 3688080"/>
                  <a:gd name="connsiteX2" fmla="*/ 6324600 w 6507480"/>
                  <a:gd name="connsiteY2" fmla="*/ 0 h 3688080"/>
                  <a:gd name="connsiteX3" fmla="*/ 6507480 w 6507480"/>
                  <a:gd name="connsiteY3" fmla="*/ 3688080 h 3688080"/>
                  <a:gd name="connsiteX0" fmla="*/ 0 w 6507480"/>
                  <a:gd name="connsiteY0" fmla="*/ 0 h 3688080"/>
                  <a:gd name="connsiteX1" fmla="*/ 6324600 w 6507480"/>
                  <a:gd name="connsiteY1" fmla="*/ 0 h 3688080"/>
                  <a:gd name="connsiteX2" fmla="*/ 6507480 w 6507480"/>
                  <a:gd name="connsiteY2" fmla="*/ 3688080 h 3688080"/>
                  <a:gd name="connsiteX0" fmla="*/ 0 w 6324600"/>
                  <a:gd name="connsiteY0" fmla="*/ 0 h 2168996"/>
                  <a:gd name="connsiteX1" fmla="*/ 6324600 w 6324600"/>
                  <a:gd name="connsiteY1" fmla="*/ 0 h 2168996"/>
                  <a:gd name="connsiteX2" fmla="*/ 6242009 w 6324600"/>
                  <a:gd name="connsiteY2" fmla="*/ 2168996 h 2168996"/>
                  <a:gd name="connsiteX0" fmla="*/ 0 w 6522228"/>
                  <a:gd name="connsiteY0" fmla="*/ 0 h 2404970"/>
                  <a:gd name="connsiteX1" fmla="*/ 6324600 w 6522228"/>
                  <a:gd name="connsiteY1" fmla="*/ 0 h 2404970"/>
                  <a:gd name="connsiteX2" fmla="*/ 6522228 w 6522228"/>
                  <a:gd name="connsiteY2" fmla="*/ 2404970 h 2404970"/>
                  <a:gd name="connsiteX0" fmla="*/ 0 w 7057136"/>
                  <a:gd name="connsiteY0" fmla="*/ 0 h 2589105"/>
                  <a:gd name="connsiteX1" fmla="*/ 6324600 w 7057136"/>
                  <a:gd name="connsiteY1" fmla="*/ 0 h 2589105"/>
                  <a:gd name="connsiteX2" fmla="*/ 6522228 w 7057136"/>
                  <a:gd name="connsiteY2" fmla="*/ 2404970 h 2589105"/>
                  <a:gd name="connsiteX0" fmla="*/ 0 w 6522228"/>
                  <a:gd name="connsiteY0" fmla="*/ 0 h 2884378"/>
                  <a:gd name="connsiteX1" fmla="*/ 6324600 w 6522228"/>
                  <a:gd name="connsiteY1" fmla="*/ 0 h 2884378"/>
                  <a:gd name="connsiteX2" fmla="*/ 6522228 w 6522228"/>
                  <a:gd name="connsiteY2" fmla="*/ 2404970 h 2884378"/>
                  <a:gd name="connsiteX0" fmla="*/ 0 w 6959565"/>
                  <a:gd name="connsiteY0" fmla="*/ 0 h 2629590"/>
                  <a:gd name="connsiteX1" fmla="*/ 6324600 w 6959565"/>
                  <a:gd name="connsiteY1" fmla="*/ 0 h 2629590"/>
                  <a:gd name="connsiteX2" fmla="*/ 6522228 w 6959565"/>
                  <a:gd name="connsiteY2" fmla="*/ 2404970 h 2629590"/>
                  <a:gd name="connsiteX0" fmla="*/ 0 w 6959565"/>
                  <a:gd name="connsiteY0" fmla="*/ 0 h 2629590"/>
                  <a:gd name="connsiteX1" fmla="*/ 6324600 w 6959565"/>
                  <a:gd name="connsiteY1" fmla="*/ 0 h 2629590"/>
                  <a:gd name="connsiteX2" fmla="*/ 6522228 w 6959565"/>
                  <a:gd name="connsiteY2" fmla="*/ 2404970 h 2629590"/>
                  <a:gd name="connsiteX0" fmla="*/ 0 w 6522228"/>
                  <a:gd name="connsiteY0" fmla="*/ 0 h 2404970"/>
                  <a:gd name="connsiteX1" fmla="*/ 6324600 w 6522228"/>
                  <a:gd name="connsiteY1" fmla="*/ 0 h 2404970"/>
                  <a:gd name="connsiteX2" fmla="*/ 6522228 w 6522228"/>
                  <a:gd name="connsiteY2" fmla="*/ 2404970 h 2404970"/>
                  <a:gd name="connsiteX0" fmla="*/ 0 w 6839285"/>
                  <a:gd name="connsiteY0" fmla="*/ 178145 h 2583115"/>
                  <a:gd name="connsiteX1" fmla="*/ 6324600 w 6839285"/>
                  <a:gd name="connsiteY1" fmla="*/ 178145 h 2583115"/>
                  <a:gd name="connsiteX2" fmla="*/ 6522228 w 6839285"/>
                  <a:gd name="connsiteY2" fmla="*/ 2583115 h 2583115"/>
                  <a:gd name="connsiteX0" fmla="*/ 0 w 6522228"/>
                  <a:gd name="connsiteY0" fmla="*/ 0 h 2404970"/>
                  <a:gd name="connsiteX1" fmla="*/ 3699387 w 6522228"/>
                  <a:gd name="connsiteY1" fmla="*/ 575187 h 2404970"/>
                  <a:gd name="connsiteX2" fmla="*/ 6522228 w 6522228"/>
                  <a:gd name="connsiteY2" fmla="*/ 2404970 h 2404970"/>
                  <a:gd name="connsiteX0" fmla="*/ 0 w 6522228"/>
                  <a:gd name="connsiteY0" fmla="*/ 5635 h 2410605"/>
                  <a:gd name="connsiteX1" fmla="*/ 3699387 w 6522228"/>
                  <a:gd name="connsiteY1" fmla="*/ 580822 h 2410605"/>
                  <a:gd name="connsiteX2" fmla="*/ 6522228 w 6522228"/>
                  <a:gd name="connsiteY2" fmla="*/ 2410605 h 2410605"/>
                  <a:gd name="connsiteX0" fmla="*/ 0 w 6522228"/>
                  <a:gd name="connsiteY0" fmla="*/ 5635 h 2410605"/>
                  <a:gd name="connsiteX1" fmla="*/ 3699387 w 6522228"/>
                  <a:gd name="connsiteY1" fmla="*/ 580822 h 2410605"/>
                  <a:gd name="connsiteX2" fmla="*/ 6522228 w 6522228"/>
                  <a:gd name="connsiteY2" fmla="*/ 2410605 h 2410605"/>
                  <a:gd name="connsiteX0" fmla="*/ 0 w 6522228"/>
                  <a:gd name="connsiteY0" fmla="*/ 6310 h 2411280"/>
                  <a:gd name="connsiteX1" fmla="*/ 4628535 w 6522228"/>
                  <a:gd name="connsiteY1" fmla="*/ 552000 h 2411280"/>
                  <a:gd name="connsiteX2" fmla="*/ 6522228 w 6522228"/>
                  <a:gd name="connsiteY2" fmla="*/ 2411280 h 2411280"/>
                  <a:gd name="connsiteX0" fmla="*/ 0 w 6522228"/>
                  <a:gd name="connsiteY0" fmla="*/ 5347 h 2410317"/>
                  <a:gd name="connsiteX1" fmla="*/ 4023851 w 6522228"/>
                  <a:gd name="connsiteY1" fmla="*/ 595282 h 2410317"/>
                  <a:gd name="connsiteX2" fmla="*/ 6522228 w 6522228"/>
                  <a:gd name="connsiteY2" fmla="*/ 2410317 h 2410317"/>
                  <a:gd name="connsiteX0" fmla="*/ 0 w 6509203"/>
                  <a:gd name="connsiteY0" fmla="*/ 163951 h 1949489"/>
                  <a:gd name="connsiteX1" fmla="*/ 4010826 w 6509203"/>
                  <a:gd name="connsiteY1" fmla="*/ 134454 h 1949489"/>
                  <a:gd name="connsiteX2" fmla="*/ 6509203 w 6509203"/>
                  <a:gd name="connsiteY2" fmla="*/ 1949489 h 1949489"/>
                  <a:gd name="connsiteX0" fmla="*/ 0 w 6535251"/>
                  <a:gd name="connsiteY0" fmla="*/ 155212 h 1822763"/>
                  <a:gd name="connsiteX1" fmla="*/ 4010826 w 6535251"/>
                  <a:gd name="connsiteY1" fmla="*/ 125715 h 1822763"/>
                  <a:gd name="connsiteX2" fmla="*/ 6535251 w 6535251"/>
                  <a:gd name="connsiteY2" fmla="*/ 1822763 h 1822763"/>
                  <a:gd name="connsiteX0" fmla="*/ 0 w 6535251"/>
                  <a:gd name="connsiteY0" fmla="*/ 155212 h 1822763"/>
                  <a:gd name="connsiteX1" fmla="*/ 4010826 w 6535251"/>
                  <a:gd name="connsiteY1" fmla="*/ 125715 h 1822763"/>
                  <a:gd name="connsiteX2" fmla="*/ 6535251 w 6535251"/>
                  <a:gd name="connsiteY2" fmla="*/ 1822763 h 1822763"/>
                  <a:gd name="connsiteX0" fmla="*/ 0 w 6535251"/>
                  <a:gd name="connsiteY0" fmla="*/ 10655 h 1678206"/>
                  <a:gd name="connsiteX1" fmla="*/ 4062921 w 6535251"/>
                  <a:gd name="connsiteY1" fmla="*/ 335120 h 1678206"/>
                  <a:gd name="connsiteX2" fmla="*/ 6535251 w 6535251"/>
                  <a:gd name="connsiteY2" fmla="*/ 1678206 h 1678206"/>
                  <a:gd name="connsiteX0" fmla="*/ 0 w 6535251"/>
                  <a:gd name="connsiteY0" fmla="*/ 3375 h 1670926"/>
                  <a:gd name="connsiteX1" fmla="*/ 4128041 w 6535251"/>
                  <a:gd name="connsiteY1" fmla="*/ 637556 h 1670926"/>
                  <a:gd name="connsiteX2" fmla="*/ 6535251 w 6535251"/>
                  <a:gd name="connsiteY2" fmla="*/ 1670926 h 1670926"/>
                  <a:gd name="connsiteX0" fmla="*/ 0 w 6535251"/>
                  <a:gd name="connsiteY0" fmla="*/ 7668 h 1675219"/>
                  <a:gd name="connsiteX1" fmla="*/ 4023848 w 6535251"/>
                  <a:gd name="connsiteY1" fmla="*/ 391126 h 1675219"/>
                  <a:gd name="connsiteX2" fmla="*/ 6535251 w 6535251"/>
                  <a:gd name="connsiteY2" fmla="*/ 1675219 h 1675219"/>
                  <a:gd name="connsiteX0" fmla="*/ 0 w 6535251"/>
                  <a:gd name="connsiteY0" fmla="*/ 7668 h 1675219"/>
                  <a:gd name="connsiteX1" fmla="*/ 4023848 w 6535251"/>
                  <a:gd name="connsiteY1" fmla="*/ 391126 h 1675219"/>
                  <a:gd name="connsiteX2" fmla="*/ 6535251 w 6535251"/>
                  <a:gd name="connsiteY2" fmla="*/ 1675219 h 1675219"/>
                </a:gdLst>
                <a:ahLst/>
                <a:cxnLst>
                  <a:cxn ang="0">
                    <a:pos x="connsiteX0" y="connsiteY0"/>
                  </a:cxn>
                  <a:cxn ang="0">
                    <a:pos x="connsiteX1" y="connsiteY1"/>
                  </a:cxn>
                  <a:cxn ang="0">
                    <a:pos x="connsiteX2" y="connsiteY2"/>
                  </a:cxn>
                </a:cxnLst>
                <a:rect l="l" t="t" r="r" b="b"/>
                <a:pathLst>
                  <a:path w="6535251" h="1675219">
                    <a:moveTo>
                      <a:pt x="0" y="7668"/>
                    </a:moveTo>
                    <a:cubicBezTo>
                      <a:pt x="618613" y="-36578"/>
                      <a:pt x="2934640" y="113201"/>
                      <a:pt x="4023848" y="391126"/>
                    </a:cubicBezTo>
                    <a:cubicBezTo>
                      <a:pt x="5113057" y="669051"/>
                      <a:pt x="6017867" y="1075450"/>
                      <a:pt x="6535251" y="1675219"/>
                    </a:cubicBezTo>
                  </a:path>
                </a:pathLst>
              </a:custGeom>
              <a:noFill/>
              <a:ln w="19050" cap="flat" cmpd="sng" algn="ctr">
                <a:solidFill>
                  <a:srgbClr val="000000">
                    <a:lumMod val="50000"/>
                    <a:lumOff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31" name="Oval 30">
                <a:extLst>
                  <a:ext uri="{FF2B5EF4-FFF2-40B4-BE49-F238E27FC236}">
                    <a16:creationId xmlns:a16="http://schemas.microsoft.com/office/drawing/2014/main" id="{519B59DC-54FA-2F27-F2A3-DED3F7D2DF96}"/>
                  </a:ext>
                </a:extLst>
              </p:cNvPr>
              <p:cNvSpPr>
                <a:spLocks noChangeAspect="1"/>
              </p:cNvSpPr>
              <p:nvPr/>
            </p:nvSpPr>
            <p:spPr>
              <a:xfrm>
                <a:off x="2884020" y="2584343"/>
                <a:ext cx="304521" cy="304521"/>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32" name="Oval 31">
                <a:extLst>
                  <a:ext uri="{FF2B5EF4-FFF2-40B4-BE49-F238E27FC236}">
                    <a16:creationId xmlns:a16="http://schemas.microsoft.com/office/drawing/2014/main" id="{7B779102-91C9-8FD4-E951-699F845143BD}"/>
                  </a:ext>
                </a:extLst>
              </p:cNvPr>
              <p:cNvSpPr>
                <a:spLocks noChangeAspect="1"/>
              </p:cNvSpPr>
              <p:nvPr/>
            </p:nvSpPr>
            <p:spPr>
              <a:xfrm>
                <a:off x="3548495" y="2964785"/>
                <a:ext cx="304521" cy="304521"/>
              </a:xfrm>
              <a:prstGeom prst="ellipse">
                <a:avLst/>
              </a:prstGeom>
              <a:solidFill>
                <a:srgbClr val="F06A11"/>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33" name="Oval 32">
                <a:extLst>
                  <a:ext uri="{FF2B5EF4-FFF2-40B4-BE49-F238E27FC236}">
                    <a16:creationId xmlns:a16="http://schemas.microsoft.com/office/drawing/2014/main" id="{A417324A-EBC2-E607-CE38-90C04423CFE6}"/>
                  </a:ext>
                </a:extLst>
              </p:cNvPr>
              <p:cNvSpPr>
                <a:spLocks noChangeAspect="1"/>
              </p:cNvSpPr>
              <p:nvPr/>
            </p:nvSpPr>
            <p:spPr>
              <a:xfrm>
                <a:off x="3297107" y="3494704"/>
                <a:ext cx="276837" cy="276837"/>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34" name="Oval 33">
                <a:extLst>
                  <a:ext uri="{FF2B5EF4-FFF2-40B4-BE49-F238E27FC236}">
                    <a16:creationId xmlns:a16="http://schemas.microsoft.com/office/drawing/2014/main" id="{F5D89A2B-3E65-E9CA-03EA-24680B858E0F}"/>
                  </a:ext>
                </a:extLst>
              </p:cNvPr>
              <p:cNvSpPr>
                <a:spLocks noChangeAspect="1"/>
              </p:cNvSpPr>
              <p:nvPr/>
            </p:nvSpPr>
            <p:spPr>
              <a:xfrm>
                <a:off x="3700627" y="3975716"/>
                <a:ext cx="304521" cy="304521"/>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35" name="Oval 41">
                <a:extLst>
                  <a:ext uri="{FF2B5EF4-FFF2-40B4-BE49-F238E27FC236}">
                    <a16:creationId xmlns:a16="http://schemas.microsoft.com/office/drawing/2014/main" id="{0CE91CC9-4DCA-40AE-DC15-EB0F799ED3A5}"/>
                  </a:ext>
                </a:extLst>
              </p:cNvPr>
              <p:cNvSpPr>
                <a:spLocks noChangeAspect="1"/>
              </p:cNvSpPr>
              <p:nvPr/>
            </p:nvSpPr>
            <p:spPr>
              <a:xfrm>
                <a:off x="3724276" y="3788160"/>
                <a:ext cx="141575" cy="141575"/>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36" name="Oval 42">
                <a:extLst>
                  <a:ext uri="{FF2B5EF4-FFF2-40B4-BE49-F238E27FC236}">
                    <a16:creationId xmlns:a16="http://schemas.microsoft.com/office/drawing/2014/main" id="{03B6E373-F9C6-7240-6496-D283906053AA}"/>
                  </a:ext>
                </a:extLst>
              </p:cNvPr>
              <p:cNvSpPr>
                <a:spLocks noChangeAspect="1"/>
              </p:cNvSpPr>
              <p:nvPr/>
            </p:nvSpPr>
            <p:spPr>
              <a:xfrm>
                <a:off x="3829051" y="3321093"/>
                <a:ext cx="141575" cy="141575"/>
              </a:xfrm>
              <a:prstGeom prst="ellipse">
                <a:avLst/>
              </a:prstGeom>
              <a:solidFill>
                <a:schemeClr val="accent3">
                  <a:lumMod val="60000"/>
                  <a:lumOff val="40000"/>
                </a:scheme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37" name="Oval 43">
                <a:extLst>
                  <a:ext uri="{FF2B5EF4-FFF2-40B4-BE49-F238E27FC236}">
                    <a16:creationId xmlns:a16="http://schemas.microsoft.com/office/drawing/2014/main" id="{43FB1A91-6732-E98A-4C39-452789C33EFF}"/>
                  </a:ext>
                </a:extLst>
              </p:cNvPr>
              <p:cNvSpPr>
                <a:spLocks noChangeAspect="1"/>
              </p:cNvSpPr>
              <p:nvPr/>
            </p:nvSpPr>
            <p:spPr>
              <a:xfrm>
                <a:off x="3862911" y="4327470"/>
                <a:ext cx="141575" cy="141575"/>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38" name="Oval 44">
                <a:extLst>
                  <a:ext uri="{FF2B5EF4-FFF2-40B4-BE49-F238E27FC236}">
                    <a16:creationId xmlns:a16="http://schemas.microsoft.com/office/drawing/2014/main" id="{8EFC6A19-8472-A4C7-2B12-E28A385CB3EE}"/>
                  </a:ext>
                </a:extLst>
              </p:cNvPr>
              <p:cNvSpPr>
                <a:spLocks noChangeAspect="1"/>
              </p:cNvSpPr>
              <p:nvPr/>
            </p:nvSpPr>
            <p:spPr>
              <a:xfrm>
                <a:off x="4248135" y="3978964"/>
                <a:ext cx="304521" cy="304521"/>
              </a:xfrm>
              <a:prstGeom prst="ellipse">
                <a:avLst/>
              </a:prstGeom>
              <a:solidFill>
                <a:srgbClr val="F06A11"/>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39" name="Oval 45">
                <a:extLst>
                  <a:ext uri="{FF2B5EF4-FFF2-40B4-BE49-F238E27FC236}">
                    <a16:creationId xmlns:a16="http://schemas.microsoft.com/office/drawing/2014/main" id="{20092C3D-68A0-9798-214B-97CC7F2146AE}"/>
                  </a:ext>
                </a:extLst>
              </p:cNvPr>
              <p:cNvSpPr>
                <a:spLocks noChangeAspect="1"/>
              </p:cNvSpPr>
              <p:nvPr/>
            </p:nvSpPr>
            <p:spPr>
              <a:xfrm>
                <a:off x="4636770" y="3458851"/>
                <a:ext cx="276837" cy="276837"/>
              </a:xfrm>
              <a:prstGeom prst="ellipse">
                <a:avLst/>
              </a:prstGeom>
              <a:solidFill>
                <a:schemeClr val="accent3">
                  <a:lumMod val="60000"/>
                  <a:lumOff val="40000"/>
                </a:scheme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40" name="Oval 46">
                <a:extLst>
                  <a:ext uri="{FF2B5EF4-FFF2-40B4-BE49-F238E27FC236}">
                    <a16:creationId xmlns:a16="http://schemas.microsoft.com/office/drawing/2014/main" id="{4857D9ED-210B-A01E-F0C1-942BA380494E}"/>
                  </a:ext>
                </a:extLst>
              </p:cNvPr>
              <p:cNvSpPr>
                <a:spLocks noChangeAspect="1"/>
              </p:cNvSpPr>
              <p:nvPr/>
            </p:nvSpPr>
            <p:spPr>
              <a:xfrm>
                <a:off x="4749496" y="3908559"/>
                <a:ext cx="251670" cy="251670"/>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41" name="Oval 47">
                <a:extLst>
                  <a:ext uri="{FF2B5EF4-FFF2-40B4-BE49-F238E27FC236}">
                    <a16:creationId xmlns:a16="http://schemas.microsoft.com/office/drawing/2014/main" id="{4B11DFBD-9B63-DABE-1C39-AE5AA309D149}"/>
                  </a:ext>
                </a:extLst>
              </p:cNvPr>
              <p:cNvSpPr>
                <a:spLocks noChangeAspect="1"/>
              </p:cNvSpPr>
              <p:nvPr/>
            </p:nvSpPr>
            <p:spPr>
              <a:xfrm>
                <a:off x="4132733" y="3229182"/>
                <a:ext cx="276837" cy="276837"/>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42" name="Oval 48">
                <a:extLst>
                  <a:ext uri="{FF2B5EF4-FFF2-40B4-BE49-F238E27FC236}">
                    <a16:creationId xmlns:a16="http://schemas.microsoft.com/office/drawing/2014/main" id="{4E206984-0A24-489B-5E92-3B2E125F02D7}"/>
                  </a:ext>
                </a:extLst>
              </p:cNvPr>
              <p:cNvSpPr>
                <a:spLocks noChangeAspect="1"/>
              </p:cNvSpPr>
              <p:nvPr/>
            </p:nvSpPr>
            <p:spPr>
              <a:xfrm>
                <a:off x="4211222" y="3562807"/>
                <a:ext cx="171197" cy="171197"/>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43" name="Oval 49">
                <a:extLst>
                  <a:ext uri="{FF2B5EF4-FFF2-40B4-BE49-F238E27FC236}">
                    <a16:creationId xmlns:a16="http://schemas.microsoft.com/office/drawing/2014/main" id="{F58C3582-0597-DAD5-8608-C2C098FC0596}"/>
                  </a:ext>
                </a:extLst>
              </p:cNvPr>
              <p:cNvSpPr>
                <a:spLocks noChangeAspect="1"/>
              </p:cNvSpPr>
              <p:nvPr/>
            </p:nvSpPr>
            <p:spPr>
              <a:xfrm>
                <a:off x="5105003" y="3437163"/>
                <a:ext cx="207148" cy="207148"/>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44" name="Oval 50">
                <a:extLst>
                  <a:ext uri="{FF2B5EF4-FFF2-40B4-BE49-F238E27FC236}">
                    <a16:creationId xmlns:a16="http://schemas.microsoft.com/office/drawing/2014/main" id="{559191AB-F612-5016-B085-5EEA550F325A}"/>
                  </a:ext>
                </a:extLst>
              </p:cNvPr>
              <p:cNvSpPr>
                <a:spLocks noChangeAspect="1"/>
              </p:cNvSpPr>
              <p:nvPr/>
            </p:nvSpPr>
            <p:spPr>
              <a:xfrm>
                <a:off x="4167578" y="4327470"/>
                <a:ext cx="103574" cy="103574"/>
              </a:xfrm>
              <a:prstGeom prst="ellipse">
                <a:avLst/>
              </a:prstGeom>
              <a:solidFill>
                <a:srgbClr val="FFFFFF"/>
              </a:solidFill>
              <a:ln w="3175"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45" name="Oval 51">
                <a:extLst>
                  <a:ext uri="{FF2B5EF4-FFF2-40B4-BE49-F238E27FC236}">
                    <a16:creationId xmlns:a16="http://schemas.microsoft.com/office/drawing/2014/main" id="{E590B129-FA16-62EE-F64A-F1F856E4A2B5}"/>
                  </a:ext>
                </a:extLst>
              </p:cNvPr>
              <p:cNvSpPr>
                <a:spLocks noChangeAspect="1"/>
              </p:cNvSpPr>
              <p:nvPr/>
            </p:nvSpPr>
            <p:spPr>
              <a:xfrm>
                <a:off x="5189155" y="3719194"/>
                <a:ext cx="103574" cy="103574"/>
              </a:xfrm>
              <a:prstGeom prst="ellipse">
                <a:avLst/>
              </a:prstGeom>
              <a:solidFill>
                <a:srgbClr val="F5CA13"/>
              </a:solidFill>
              <a:ln w="3175"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46" name="Oval 52">
                <a:extLst>
                  <a:ext uri="{FF2B5EF4-FFF2-40B4-BE49-F238E27FC236}">
                    <a16:creationId xmlns:a16="http://schemas.microsoft.com/office/drawing/2014/main" id="{C314EEEA-337A-A34E-AC37-2D10FA7B3A04}"/>
                  </a:ext>
                </a:extLst>
              </p:cNvPr>
              <p:cNvSpPr>
                <a:spLocks noChangeAspect="1"/>
              </p:cNvSpPr>
              <p:nvPr/>
            </p:nvSpPr>
            <p:spPr>
              <a:xfrm>
                <a:off x="4510217" y="3833453"/>
                <a:ext cx="103574" cy="103574"/>
              </a:xfrm>
              <a:prstGeom prst="ellipse">
                <a:avLst/>
              </a:prstGeom>
              <a:solidFill>
                <a:schemeClr val="accent3">
                  <a:lumMod val="20000"/>
                  <a:lumOff val="80000"/>
                </a:scheme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47" name="Oval 53">
                <a:extLst>
                  <a:ext uri="{FF2B5EF4-FFF2-40B4-BE49-F238E27FC236}">
                    <a16:creationId xmlns:a16="http://schemas.microsoft.com/office/drawing/2014/main" id="{5A0CE1B1-1FF6-5DE1-E4F9-0A1386C0EA68}"/>
                  </a:ext>
                </a:extLst>
              </p:cNvPr>
              <p:cNvSpPr>
                <a:spLocks noChangeAspect="1"/>
              </p:cNvSpPr>
              <p:nvPr/>
            </p:nvSpPr>
            <p:spPr>
              <a:xfrm>
                <a:off x="5137368" y="4027650"/>
                <a:ext cx="103574" cy="103574"/>
              </a:xfrm>
              <a:prstGeom prst="ellipse">
                <a:avLst/>
              </a:prstGeom>
              <a:solidFill>
                <a:srgbClr val="F5CA13">
                  <a:lumMod val="20000"/>
                  <a:lumOff val="80000"/>
                </a:srgbClr>
              </a:solidFill>
              <a:ln w="3175"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48" name="Oval 54">
                <a:extLst>
                  <a:ext uri="{FF2B5EF4-FFF2-40B4-BE49-F238E27FC236}">
                    <a16:creationId xmlns:a16="http://schemas.microsoft.com/office/drawing/2014/main" id="{CE9EE814-9983-0AE9-2397-83751B793995}"/>
                  </a:ext>
                </a:extLst>
              </p:cNvPr>
              <p:cNvSpPr>
                <a:spLocks noChangeAspect="1"/>
              </p:cNvSpPr>
              <p:nvPr/>
            </p:nvSpPr>
            <p:spPr>
              <a:xfrm>
                <a:off x="4486144" y="3214960"/>
                <a:ext cx="103574" cy="103574"/>
              </a:xfrm>
              <a:prstGeom prst="ellipse">
                <a:avLst/>
              </a:prstGeom>
              <a:solidFill>
                <a:srgbClr val="F5CA13"/>
              </a:solidFill>
              <a:ln w="3175"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49" name="Oval 55">
                <a:extLst>
                  <a:ext uri="{FF2B5EF4-FFF2-40B4-BE49-F238E27FC236}">
                    <a16:creationId xmlns:a16="http://schemas.microsoft.com/office/drawing/2014/main" id="{6C428DF6-D8DB-476E-7EC6-65E7D650A2E6}"/>
                  </a:ext>
                </a:extLst>
              </p:cNvPr>
              <p:cNvSpPr>
                <a:spLocks noChangeAspect="1"/>
              </p:cNvSpPr>
              <p:nvPr/>
            </p:nvSpPr>
            <p:spPr>
              <a:xfrm>
                <a:off x="4141460" y="3875390"/>
                <a:ext cx="103574" cy="103574"/>
              </a:xfrm>
              <a:prstGeom prst="ellipse">
                <a:avLst/>
              </a:prstGeom>
              <a:solidFill>
                <a:schemeClr val="accent3">
                  <a:lumMod val="20000"/>
                  <a:lumOff val="80000"/>
                </a:scheme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50" name="Oval 56">
                <a:extLst>
                  <a:ext uri="{FF2B5EF4-FFF2-40B4-BE49-F238E27FC236}">
                    <a16:creationId xmlns:a16="http://schemas.microsoft.com/office/drawing/2014/main" id="{61D1AB96-12C7-AC11-F87A-06C0815C1CBC}"/>
                  </a:ext>
                </a:extLst>
              </p:cNvPr>
              <p:cNvSpPr>
                <a:spLocks noChangeAspect="1"/>
              </p:cNvSpPr>
              <p:nvPr/>
            </p:nvSpPr>
            <p:spPr>
              <a:xfrm>
                <a:off x="4920847" y="3740936"/>
                <a:ext cx="103574" cy="103574"/>
              </a:xfrm>
              <a:prstGeom prst="ellipse">
                <a:avLst/>
              </a:prstGeom>
              <a:solidFill>
                <a:srgbClr val="F5CA13"/>
              </a:solidFill>
              <a:ln w="3175"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51" name="Oval 57">
                <a:extLst>
                  <a:ext uri="{FF2B5EF4-FFF2-40B4-BE49-F238E27FC236}">
                    <a16:creationId xmlns:a16="http://schemas.microsoft.com/office/drawing/2014/main" id="{9D220E63-C3D3-6FE2-4962-979C709D623C}"/>
                  </a:ext>
                </a:extLst>
              </p:cNvPr>
              <p:cNvSpPr>
                <a:spLocks noChangeAspect="1"/>
              </p:cNvSpPr>
              <p:nvPr/>
            </p:nvSpPr>
            <p:spPr>
              <a:xfrm>
                <a:off x="4458430" y="3528932"/>
                <a:ext cx="103574" cy="103574"/>
              </a:xfrm>
              <a:prstGeom prst="ellipse">
                <a:avLst/>
              </a:prstGeom>
              <a:solidFill>
                <a:srgbClr val="F06A11"/>
              </a:solidFill>
              <a:ln w="3175"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52" name="Oval 58">
                <a:extLst>
                  <a:ext uri="{FF2B5EF4-FFF2-40B4-BE49-F238E27FC236}">
                    <a16:creationId xmlns:a16="http://schemas.microsoft.com/office/drawing/2014/main" id="{4A620AD4-C9A4-DC62-2936-3AF229DCD398}"/>
                  </a:ext>
                </a:extLst>
              </p:cNvPr>
              <p:cNvSpPr>
                <a:spLocks noChangeAspect="1"/>
              </p:cNvSpPr>
              <p:nvPr/>
            </p:nvSpPr>
            <p:spPr>
              <a:xfrm>
                <a:off x="4623937" y="4161984"/>
                <a:ext cx="103574" cy="103574"/>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53" name="Oval 59">
                <a:extLst>
                  <a:ext uri="{FF2B5EF4-FFF2-40B4-BE49-F238E27FC236}">
                    <a16:creationId xmlns:a16="http://schemas.microsoft.com/office/drawing/2014/main" id="{58DD3CCD-E9F0-4E71-432B-E9A7BE785976}"/>
                  </a:ext>
                </a:extLst>
              </p:cNvPr>
              <p:cNvSpPr>
                <a:spLocks noChangeAspect="1"/>
              </p:cNvSpPr>
              <p:nvPr/>
            </p:nvSpPr>
            <p:spPr>
              <a:xfrm>
                <a:off x="4927338" y="3306795"/>
                <a:ext cx="171197" cy="171197"/>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54" name="Oval 60">
                <a:extLst>
                  <a:ext uri="{FF2B5EF4-FFF2-40B4-BE49-F238E27FC236}">
                    <a16:creationId xmlns:a16="http://schemas.microsoft.com/office/drawing/2014/main" id="{8CC72BDB-3688-5989-577F-E7AF0EF72DED}"/>
                  </a:ext>
                </a:extLst>
              </p:cNvPr>
              <p:cNvSpPr>
                <a:spLocks noChangeAspect="1"/>
              </p:cNvSpPr>
              <p:nvPr/>
            </p:nvSpPr>
            <p:spPr>
              <a:xfrm>
                <a:off x="4719312" y="3269306"/>
                <a:ext cx="103574" cy="103574"/>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55" name="Oval 61">
                <a:extLst>
                  <a:ext uri="{FF2B5EF4-FFF2-40B4-BE49-F238E27FC236}">
                    <a16:creationId xmlns:a16="http://schemas.microsoft.com/office/drawing/2014/main" id="{E65DB1F7-7B74-54E9-2ED2-6C551F0BA9B5}"/>
                  </a:ext>
                </a:extLst>
              </p:cNvPr>
              <p:cNvSpPr>
                <a:spLocks noChangeAspect="1"/>
              </p:cNvSpPr>
              <p:nvPr/>
            </p:nvSpPr>
            <p:spPr>
              <a:xfrm>
                <a:off x="2985919" y="3724868"/>
                <a:ext cx="304521" cy="304521"/>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56" name="Oval 62">
                <a:extLst>
                  <a:ext uri="{FF2B5EF4-FFF2-40B4-BE49-F238E27FC236}">
                    <a16:creationId xmlns:a16="http://schemas.microsoft.com/office/drawing/2014/main" id="{DF80E73E-1FC4-86DA-4DAD-EB1393FA1D79}"/>
                  </a:ext>
                </a:extLst>
              </p:cNvPr>
              <p:cNvSpPr>
                <a:spLocks noChangeAspect="1"/>
              </p:cNvSpPr>
              <p:nvPr/>
            </p:nvSpPr>
            <p:spPr>
              <a:xfrm>
                <a:off x="3888866" y="3575260"/>
                <a:ext cx="207148" cy="207148"/>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57" name="Oval 63">
                <a:extLst>
                  <a:ext uri="{FF2B5EF4-FFF2-40B4-BE49-F238E27FC236}">
                    <a16:creationId xmlns:a16="http://schemas.microsoft.com/office/drawing/2014/main" id="{B0AD17E6-FE6B-C626-ECF1-9ECE6DDB066D}"/>
                  </a:ext>
                </a:extLst>
              </p:cNvPr>
              <p:cNvSpPr>
                <a:spLocks noChangeAspect="1"/>
              </p:cNvSpPr>
              <p:nvPr/>
            </p:nvSpPr>
            <p:spPr>
              <a:xfrm>
                <a:off x="3587260" y="3360849"/>
                <a:ext cx="207148" cy="207148"/>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58" name="Oval 64">
                <a:extLst>
                  <a:ext uri="{FF2B5EF4-FFF2-40B4-BE49-F238E27FC236}">
                    <a16:creationId xmlns:a16="http://schemas.microsoft.com/office/drawing/2014/main" id="{4BC8293F-F674-97CE-61FD-014978F3193B}"/>
                  </a:ext>
                </a:extLst>
              </p:cNvPr>
              <p:cNvSpPr>
                <a:spLocks noChangeAspect="1"/>
              </p:cNvSpPr>
              <p:nvPr/>
            </p:nvSpPr>
            <p:spPr>
              <a:xfrm>
                <a:off x="3301949" y="2736604"/>
                <a:ext cx="103574" cy="103574"/>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59" name="Oval 65">
                <a:extLst>
                  <a:ext uri="{FF2B5EF4-FFF2-40B4-BE49-F238E27FC236}">
                    <a16:creationId xmlns:a16="http://schemas.microsoft.com/office/drawing/2014/main" id="{C2361325-446D-C5F6-622C-A8074CADC90C}"/>
                  </a:ext>
                </a:extLst>
              </p:cNvPr>
              <p:cNvSpPr>
                <a:spLocks noChangeAspect="1"/>
              </p:cNvSpPr>
              <p:nvPr/>
            </p:nvSpPr>
            <p:spPr>
              <a:xfrm>
                <a:off x="3340395" y="3915175"/>
                <a:ext cx="207148" cy="207148"/>
              </a:xfrm>
              <a:prstGeom prst="ellipse">
                <a:avLst/>
              </a:prstGeom>
              <a:solidFill>
                <a:srgbClr val="F5CA13"/>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60" name="Oval 66">
                <a:extLst>
                  <a:ext uri="{FF2B5EF4-FFF2-40B4-BE49-F238E27FC236}">
                    <a16:creationId xmlns:a16="http://schemas.microsoft.com/office/drawing/2014/main" id="{FB47598D-86FB-DFB7-E3B8-BF20266D5E3D}"/>
                  </a:ext>
                </a:extLst>
              </p:cNvPr>
              <p:cNvSpPr>
                <a:spLocks noChangeAspect="1"/>
              </p:cNvSpPr>
              <p:nvPr/>
            </p:nvSpPr>
            <p:spPr>
              <a:xfrm>
                <a:off x="3188134" y="3083383"/>
                <a:ext cx="304521" cy="304521"/>
              </a:xfrm>
              <a:prstGeom prst="ellipse">
                <a:avLst/>
              </a:prstGeom>
              <a:solidFill>
                <a:schemeClr val="accent3">
                  <a:lumMod val="60000"/>
                  <a:lumOff val="40000"/>
                </a:scheme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61" name="Oval 67">
                <a:extLst>
                  <a:ext uri="{FF2B5EF4-FFF2-40B4-BE49-F238E27FC236}">
                    <a16:creationId xmlns:a16="http://schemas.microsoft.com/office/drawing/2014/main" id="{B36F5005-A74E-044B-361A-1BA40DA2CE28}"/>
                  </a:ext>
                </a:extLst>
              </p:cNvPr>
              <p:cNvSpPr>
                <a:spLocks noChangeAspect="1"/>
              </p:cNvSpPr>
              <p:nvPr/>
            </p:nvSpPr>
            <p:spPr>
              <a:xfrm>
                <a:off x="2954830" y="2947721"/>
                <a:ext cx="141575" cy="141575"/>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62" name="Oval 68">
                <a:extLst>
                  <a:ext uri="{FF2B5EF4-FFF2-40B4-BE49-F238E27FC236}">
                    <a16:creationId xmlns:a16="http://schemas.microsoft.com/office/drawing/2014/main" id="{29634479-1F99-F7F9-22A4-F6B2DA336411}"/>
                  </a:ext>
                </a:extLst>
              </p:cNvPr>
              <p:cNvSpPr>
                <a:spLocks noChangeAspect="1"/>
              </p:cNvSpPr>
              <p:nvPr/>
            </p:nvSpPr>
            <p:spPr>
              <a:xfrm>
                <a:off x="2830112" y="3185245"/>
                <a:ext cx="207148" cy="207148"/>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63" name="Oval 69">
                <a:extLst>
                  <a:ext uri="{FF2B5EF4-FFF2-40B4-BE49-F238E27FC236}">
                    <a16:creationId xmlns:a16="http://schemas.microsoft.com/office/drawing/2014/main" id="{701A4D89-959B-4F53-A6B5-EB74DA5C3081}"/>
                  </a:ext>
                </a:extLst>
              </p:cNvPr>
              <p:cNvSpPr>
                <a:spLocks noChangeAspect="1"/>
              </p:cNvSpPr>
              <p:nvPr/>
            </p:nvSpPr>
            <p:spPr>
              <a:xfrm>
                <a:off x="3886473" y="3018509"/>
                <a:ext cx="103574" cy="103574"/>
              </a:xfrm>
              <a:prstGeom prst="ellipse">
                <a:avLst/>
              </a:prstGeom>
              <a:solidFill>
                <a:srgbClr val="FFFFFF"/>
              </a:solidFill>
              <a:ln w="3175"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64" name="Oval 70">
                <a:extLst>
                  <a:ext uri="{FF2B5EF4-FFF2-40B4-BE49-F238E27FC236}">
                    <a16:creationId xmlns:a16="http://schemas.microsoft.com/office/drawing/2014/main" id="{21530084-AFB9-841B-DD36-CD54D689286F}"/>
                  </a:ext>
                </a:extLst>
              </p:cNvPr>
              <p:cNvSpPr>
                <a:spLocks noChangeAspect="1"/>
              </p:cNvSpPr>
              <p:nvPr/>
            </p:nvSpPr>
            <p:spPr>
              <a:xfrm>
                <a:off x="3347981" y="2930802"/>
                <a:ext cx="103574" cy="103574"/>
              </a:xfrm>
              <a:prstGeom prst="ellipse">
                <a:avLst/>
              </a:prstGeom>
              <a:solidFill>
                <a:srgbClr val="FFFFFF"/>
              </a:solidFill>
              <a:ln w="3175"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65" name="Oval 71">
                <a:extLst>
                  <a:ext uri="{FF2B5EF4-FFF2-40B4-BE49-F238E27FC236}">
                    <a16:creationId xmlns:a16="http://schemas.microsoft.com/office/drawing/2014/main" id="{A1F4F390-AA07-31A1-1176-D6281F239E69}"/>
                  </a:ext>
                </a:extLst>
              </p:cNvPr>
              <p:cNvSpPr>
                <a:spLocks noChangeAspect="1"/>
              </p:cNvSpPr>
              <p:nvPr/>
            </p:nvSpPr>
            <p:spPr>
              <a:xfrm>
                <a:off x="2885975" y="3472084"/>
                <a:ext cx="207148" cy="207148"/>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66" name="Oval 72">
                <a:extLst>
                  <a:ext uri="{FF2B5EF4-FFF2-40B4-BE49-F238E27FC236}">
                    <a16:creationId xmlns:a16="http://schemas.microsoft.com/office/drawing/2014/main" id="{A20AA0BF-1115-EA55-93FB-5F97CAC6E6D8}"/>
                  </a:ext>
                </a:extLst>
              </p:cNvPr>
              <p:cNvSpPr>
                <a:spLocks noChangeAspect="1"/>
              </p:cNvSpPr>
              <p:nvPr/>
            </p:nvSpPr>
            <p:spPr>
              <a:xfrm>
                <a:off x="3074118" y="4201521"/>
                <a:ext cx="276837" cy="276837"/>
              </a:xfrm>
              <a:prstGeom prst="ellipse">
                <a:avLst/>
              </a:prstGeom>
              <a:solidFill>
                <a:schemeClr val="accent3">
                  <a:lumMod val="60000"/>
                  <a:lumOff val="40000"/>
                </a:scheme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67" name="Oval 73">
                <a:extLst>
                  <a:ext uri="{FF2B5EF4-FFF2-40B4-BE49-F238E27FC236}">
                    <a16:creationId xmlns:a16="http://schemas.microsoft.com/office/drawing/2014/main" id="{9696B8ED-BA83-C1F1-393E-F3B0BB8B3270}"/>
                  </a:ext>
                </a:extLst>
              </p:cNvPr>
              <p:cNvSpPr>
                <a:spLocks noChangeAspect="1"/>
              </p:cNvSpPr>
              <p:nvPr/>
            </p:nvSpPr>
            <p:spPr>
              <a:xfrm>
                <a:off x="3346182" y="4587983"/>
                <a:ext cx="141575" cy="141575"/>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68" name="Oval 74">
                <a:extLst>
                  <a:ext uri="{FF2B5EF4-FFF2-40B4-BE49-F238E27FC236}">
                    <a16:creationId xmlns:a16="http://schemas.microsoft.com/office/drawing/2014/main" id="{C2A60A92-51FA-EAD0-7E8E-3CD95A0B76D8}"/>
                  </a:ext>
                </a:extLst>
              </p:cNvPr>
              <p:cNvSpPr>
                <a:spLocks noChangeAspect="1"/>
              </p:cNvSpPr>
              <p:nvPr/>
            </p:nvSpPr>
            <p:spPr>
              <a:xfrm>
                <a:off x="2847241" y="4236367"/>
                <a:ext cx="103574" cy="103574"/>
              </a:xfrm>
              <a:prstGeom prst="ellipse">
                <a:avLst/>
              </a:prstGeom>
              <a:solidFill>
                <a:srgbClr val="F5CA13"/>
              </a:solidFill>
              <a:ln w="3175"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69" name="Oval 75">
                <a:extLst>
                  <a:ext uri="{FF2B5EF4-FFF2-40B4-BE49-F238E27FC236}">
                    <a16:creationId xmlns:a16="http://schemas.microsoft.com/office/drawing/2014/main" id="{97F91572-9194-73A2-37A4-0F502B480647}"/>
                  </a:ext>
                </a:extLst>
              </p:cNvPr>
              <p:cNvSpPr>
                <a:spLocks noChangeAspect="1"/>
              </p:cNvSpPr>
              <p:nvPr/>
            </p:nvSpPr>
            <p:spPr>
              <a:xfrm>
                <a:off x="3475056" y="4171755"/>
                <a:ext cx="207148" cy="207148"/>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70" name="Oval 76">
                <a:extLst>
                  <a:ext uri="{FF2B5EF4-FFF2-40B4-BE49-F238E27FC236}">
                    <a16:creationId xmlns:a16="http://schemas.microsoft.com/office/drawing/2014/main" id="{3A7D6F84-C42F-F20D-6F68-CE57291CF556}"/>
                  </a:ext>
                </a:extLst>
              </p:cNvPr>
              <p:cNvSpPr>
                <a:spLocks noChangeAspect="1"/>
              </p:cNvSpPr>
              <p:nvPr/>
            </p:nvSpPr>
            <p:spPr>
              <a:xfrm>
                <a:off x="3605349" y="4417051"/>
                <a:ext cx="207148" cy="207148"/>
              </a:xfrm>
              <a:prstGeom prst="ellipse">
                <a:avLst/>
              </a:prstGeom>
              <a:solidFill>
                <a:srgbClr val="F06A11"/>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71" name="Oval 77">
                <a:extLst>
                  <a:ext uri="{FF2B5EF4-FFF2-40B4-BE49-F238E27FC236}">
                    <a16:creationId xmlns:a16="http://schemas.microsoft.com/office/drawing/2014/main" id="{7547575F-2F4E-23CC-8F97-1A36DE7569B9}"/>
                  </a:ext>
                </a:extLst>
              </p:cNvPr>
              <p:cNvSpPr>
                <a:spLocks noChangeAspect="1"/>
              </p:cNvSpPr>
              <p:nvPr/>
            </p:nvSpPr>
            <p:spPr>
              <a:xfrm>
                <a:off x="2861027" y="4045080"/>
                <a:ext cx="141575" cy="141575"/>
              </a:xfrm>
              <a:prstGeom prst="ellipse">
                <a:avLst/>
              </a:prstGeom>
              <a:solidFill>
                <a:srgbClr val="F06A11"/>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72" name="Oval 78">
                <a:extLst>
                  <a:ext uri="{FF2B5EF4-FFF2-40B4-BE49-F238E27FC236}">
                    <a16:creationId xmlns:a16="http://schemas.microsoft.com/office/drawing/2014/main" id="{F64E8618-4719-DE86-0917-9C9A17B3F176}"/>
                  </a:ext>
                </a:extLst>
              </p:cNvPr>
              <p:cNvSpPr>
                <a:spLocks noChangeAspect="1"/>
              </p:cNvSpPr>
              <p:nvPr/>
            </p:nvSpPr>
            <p:spPr>
              <a:xfrm>
                <a:off x="3019862" y="4587983"/>
                <a:ext cx="207148" cy="207148"/>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73" name="Oval 79">
                <a:extLst>
                  <a:ext uri="{FF2B5EF4-FFF2-40B4-BE49-F238E27FC236}">
                    <a16:creationId xmlns:a16="http://schemas.microsoft.com/office/drawing/2014/main" id="{A70B8D4B-793A-5669-5C08-0D4D8E935CB8}"/>
                  </a:ext>
                </a:extLst>
              </p:cNvPr>
              <p:cNvSpPr>
                <a:spLocks noChangeAspect="1"/>
              </p:cNvSpPr>
              <p:nvPr/>
            </p:nvSpPr>
            <p:spPr>
              <a:xfrm>
                <a:off x="2899028" y="4856909"/>
                <a:ext cx="103574" cy="103574"/>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74" name="Oval 80">
                <a:extLst>
                  <a:ext uri="{FF2B5EF4-FFF2-40B4-BE49-F238E27FC236}">
                    <a16:creationId xmlns:a16="http://schemas.microsoft.com/office/drawing/2014/main" id="{29AE4B8E-1AFA-6B3B-C747-38E3A1FEE3AE}"/>
                  </a:ext>
                </a:extLst>
              </p:cNvPr>
              <p:cNvSpPr>
                <a:spLocks noChangeAspect="1"/>
              </p:cNvSpPr>
              <p:nvPr/>
            </p:nvSpPr>
            <p:spPr>
              <a:xfrm>
                <a:off x="2777745" y="4500154"/>
                <a:ext cx="207148" cy="207148"/>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75" name="Oval 81">
                <a:extLst>
                  <a:ext uri="{FF2B5EF4-FFF2-40B4-BE49-F238E27FC236}">
                    <a16:creationId xmlns:a16="http://schemas.microsoft.com/office/drawing/2014/main" id="{8C997B51-063F-B443-E4D2-63912FFF1F64}"/>
                  </a:ext>
                </a:extLst>
              </p:cNvPr>
              <p:cNvSpPr>
                <a:spLocks noChangeAspect="1"/>
              </p:cNvSpPr>
              <p:nvPr/>
            </p:nvSpPr>
            <p:spPr>
              <a:xfrm>
                <a:off x="6106253" y="3512658"/>
                <a:ext cx="251670" cy="251670"/>
              </a:xfrm>
              <a:prstGeom prst="ellipse">
                <a:avLst/>
              </a:prstGeom>
              <a:solidFill>
                <a:srgbClr val="F06A11"/>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76" name="Oval 82">
                <a:extLst>
                  <a:ext uri="{FF2B5EF4-FFF2-40B4-BE49-F238E27FC236}">
                    <a16:creationId xmlns:a16="http://schemas.microsoft.com/office/drawing/2014/main" id="{A9115618-54F5-1D19-BDC5-9E7A97614234}"/>
                  </a:ext>
                </a:extLst>
              </p:cNvPr>
              <p:cNvSpPr>
                <a:spLocks noChangeAspect="1"/>
              </p:cNvSpPr>
              <p:nvPr/>
            </p:nvSpPr>
            <p:spPr>
              <a:xfrm>
                <a:off x="6543786" y="3529253"/>
                <a:ext cx="141575" cy="141575"/>
              </a:xfrm>
              <a:prstGeom prst="ellipse">
                <a:avLst/>
              </a:prstGeom>
              <a:solidFill>
                <a:srgbClr val="FF9933"/>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77" name="Oval 83">
                <a:extLst>
                  <a:ext uri="{FF2B5EF4-FFF2-40B4-BE49-F238E27FC236}">
                    <a16:creationId xmlns:a16="http://schemas.microsoft.com/office/drawing/2014/main" id="{603D329E-7AA6-EC80-9BC5-AF06202CB11F}"/>
                  </a:ext>
                </a:extLst>
              </p:cNvPr>
              <p:cNvSpPr>
                <a:spLocks noChangeAspect="1"/>
              </p:cNvSpPr>
              <p:nvPr/>
            </p:nvSpPr>
            <p:spPr>
              <a:xfrm>
                <a:off x="6448779" y="3817200"/>
                <a:ext cx="171197" cy="171197"/>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78" name="Oval 84">
                <a:extLst>
                  <a:ext uri="{FF2B5EF4-FFF2-40B4-BE49-F238E27FC236}">
                    <a16:creationId xmlns:a16="http://schemas.microsoft.com/office/drawing/2014/main" id="{D00C0224-38E9-3CAD-5A2E-CF25FDC5C21A}"/>
                  </a:ext>
                </a:extLst>
              </p:cNvPr>
              <p:cNvSpPr>
                <a:spLocks noChangeAspect="1"/>
              </p:cNvSpPr>
              <p:nvPr/>
            </p:nvSpPr>
            <p:spPr>
              <a:xfrm>
                <a:off x="6177201" y="3828441"/>
                <a:ext cx="207148" cy="207148"/>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79" name="Oval 85">
                <a:extLst>
                  <a:ext uri="{FF2B5EF4-FFF2-40B4-BE49-F238E27FC236}">
                    <a16:creationId xmlns:a16="http://schemas.microsoft.com/office/drawing/2014/main" id="{15A32DAA-41C7-6545-A67B-FD881916FC15}"/>
                  </a:ext>
                </a:extLst>
              </p:cNvPr>
              <p:cNvSpPr>
                <a:spLocks noChangeAspect="1"/>
              </p:cNvSpPr>
              <p:nvPr/>
            </p:nvSpPr>
            <p:spPr>
              <a:xfrm>
                <a:off x="5819018" y="3762048"/>
                <a:ext cx="304521" cy="304521"/>
              </a:xfrm>
              <a:prstGeom prst="ellipse">
                <a:avLst/>
              </a:prstGeom>
              <a:solidFill>
                <a:schemeClr val="accent3">
                  <a:lumMod val="60000"/>
                  <a:lumOff val="40000"/>
                </a:scheme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80" name="Oval 86">
                <a:extLst>
                  <a:ext uri="{FF2B5EF4-FFF2-40B4-BE49-F238E27FC236}">
                    <a16:creationId xmlns:a16="http://schemas.microsoft.com/office/drawing/2014/main" id="{B4935EB6-4961-91FC-77FC-70672B05BAFF}"/>
                  </a:ext>
                </a:extLst>
              </p:cNvPr>
              <p:cNvSpPr>
                <a:spLocks noChangeAspect="1"/>
              </p:cNvSpPr>
              <p:nvPr/>
            </p:nvSpPr>
            <p:spPr>
              <a:xfrm>
                <a:off x="5677443" y="3685988"/>
                <a:ext cx="141575" cy="141575"/>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81" name="Oval 87">
                <a:extLst>
                  <a:ext uri="{FF2B5EF4-FFF2-40B4-BE49-F238E27FC236}">
                    <a16:creationId xmlns:a16="http://schemas.microsoft.com/office/drawing/2014/main" id="{FC3D7998-BF0E-7D99-DF43-6BC3CC1E085B}"/>
                  </a:ext>
                </a:extLst>
              </p:cNvPr>
              <p:cNvSpPr>
                <a:spLocks noChangeAspect="1"/>
              </p:cNvSpPr>
              <p:nvPr/>
            </p:nvSpPr>
            <p:spPr>
              <a:xfrm>
                <a:off x="5836993" y="3499976"/>
                <a:ext cx="171197" cy="171197"/>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82" name="Oval 88">
                <a:extLst>
                  <a:ext uri="{FF2B5EF4-FFF2-40B4-BE49-F238E27FC236}">
                    <a16:creationId xmlns:a16="http://schemas.microsoft.com/office/drawing/2014/main" id="{F6D6FF2C-5201-41FE-4CB1-BAA8449E151F}"/>
                  </a:ext>
                </a:extLst>
              </p:cNvPr>
              <p:cNvSpPr>
                <a:spLocks noChangeAspect="1"/>
              </p:cNvSpPr>
              <p:nvPr/>
            </p:nvSpPr>
            <p:spPr>
              <a:xfrm>
                <a:off x="6410209" y="3667131"/>
                <a:ext cx="103574" cy="103574"/>
              </a:xfrm>
              <a:prstGeom prst="ellipse">
                <a:avLst/>
              </a:prstGeom>
              <a:solidFill>
                <a:srgbClr val="FFFFFF"/>
              </a:solidFill>
              <a:ln w="3175"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83" name="Oval 89">
                <a:extLst>
                  <a:ext uri="{FF2B5EF4-FFF2-40B4-BE49-F238E27FC236}">
                    <a16:creationId xmlns:a16="http://schemas.microsoft.com/office/drawing/2014/main" id="{4FAA74FF-A2F7-A297-93BA-4D86197926F1}"/>
                  </a:ext>
                </a:extLst>
              </p:cNvPr>
              <p:cNvSpPr>
                <a:spLocks noChangeAspect="1"/>
              </p:cNvSpPr>
              <p:nvPr/>
            </p:nvSpPr>
            <p:spPr>
              <a:xfrm>
                <a:off x="5544748" y="3902799"/>
                <a:ext cx="207148" cy="207148"/>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84" name="Oval 90">
                <a:extLst>
                  <a:ext uri="{FF2B5EF4-FFF2-40B4-BE49-F238E27FC236}">
                    <a16:creationId xmlns:a16="http://schemas.microsoft.com/office/drawing/2014/main" id="{15478357-29A4-6634-5E63-C88763E8757E}"/>
                  </a:ext>
                </a:extLst>
              </p:cNvPr>
              <p:cNvSpPr>
                <a:spLocks noChangeAspect="1"/>
              </p:cNvSpPr>
              <p:nvPr/>
            </p:nvSpPr>
            <p:spPr>
              <a:xfrm>
                <a:off x="5428591" y="3691875"/>
                <a:ext cx="171197" cy="171197"/>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85" name="Oval 91">
                <a:extLst>
                  <a:ext uri="{FF2B5EF4-FFF2-40B4-BE49-F238E27FC236}">
                    <a16:creationId xmlns:a16="http://schemas.microsoft.com/office/drawing/2014/main" id="{822AD0EC-9362-5929-E02B-48D38237FA7E}"/>
                  </a:ext>
                </a:extLst>
              </p:cNvPr>
              <p:cNvSpPr>
                <a:spLocks noChangeAspect="1"/>
              </p:cNvSpPr>
              <p:nvPr/>
            </p:nvSpPr>
            <p:spPr>
              <a:xfrm>
                <a:off x="5601864" y="3502736"/>
                <a:ext cx="141575" cy="141575"/>
              </a:xfrm>
              <a:prstGeom prst="ellipse">
                <a:avLst/>
              </a:prstGeom>
              <a:solidFill>
                <a:schemeClr val="accent3">
                  <a:lumMod val="60000"/>
                  <a:lumOff val="40000"/>
                </a:scheme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86" name="Oval 92">
                <a:extLst>
                  <a:ext uri="{FF2B5EF4-FFF2-40B4-BE49-F238E27FC236}">
                    <a16:creationId xmlns:a16="http://schemas.microsoft.com/office/drawing/2014/main" id="{BEBD0067-13BA-9D1F-E34E-4A5725267E55}"/>
                  </a:ext>
                </a:extLst>
              </p:cNvPr>
              <p:cNvSpPr>
                <a:spLocks noChangeAspect="1"/>
              </p:cNvSpPr>
              <p:nvPr/>
            </p:nvSpPr>
            <p:spPr>
              <a:xfrm>
                <a:off x="5431027" y="3391373"/>
                <a:ext cx="103574" cy="103574"/>
              </a:xfrm>
              <a:prstGeom prst="ellipse">
                <a:avLst/>
              </a:prstGeom>
              <a:solidFill>
                <a:schemeClr val="accent3">
                  <a:lumMod val="20000"/>
                  <a:lumOff val="80000"/>
                </a:scheme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87" name="Oval 93">
                <a:extLst>
                  <a:ext uri="{FF2B5EF4-FFF2-40B4-BE49-F238E27FC236}">
                    <a16:creationId xmlns:a16="http://schemas.microsoft.com/office/drawing/2014/main" id="{BA0AB9B0-5A78-346E-F5F1-3189B22EE9BD}"/>
                  </a:ext>
                </a:extLst>
              </p:cNvPr>
              <p:cNvSpPr>
                <a:spLocks noChangeAspect="1"/>
              </p:cNvSpPr>
              <p:nvPr/>
            </p:nvSpPr>
            <p:spPr>
              <a:xfrm>
                <a:off x="5462403" y="3523871"/>
                <a:ext cx="103574" cy="103574"/>
              </a:xfrm>
              <a:prstGeom prst="ellipse">
                <a:avLst/>
              </a:prstGeom>
              <a:solidFill>
                <a:srgbClr val="F5CA13">
                  <a:lumMod val="20000"/>
                  <a:lumOff val="80000"/>
                </a:srgbClr>
              </a:solidFill>
              <a:ln w="3175"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88" name="Oval 94">
                <a:extLst>
                  <a:ext uri="{FF2B5EF4-FFF2-40B4-BE49-F238E27FC236}">
                    <a16:creationId xmlns:a16="http://schemas.microsoft.com/office/drawing/2014/main" id="{27B991B0-6843-A504-112A-23BA97965381}"/>
                  </a:ext>
                </a:extLst>
              </p:cNvPr>
              <p:cNvSpPr>
                <a:spLocks noChangeAspect="1"/>
              </p:cNvSpPr>
              <p:nvPr/>
            </p:nvSpPr>
            <p:spPr>
              <a:xfrm>
                <a:off x="7181724" y="3600105"/>
                <a:ext cx="251670" cy="251670"/>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89" name="Oval 95">
                <a:extLst>
                  <a:ext uri="{FF2B5EF4-FFF2-40B4-BE49-F238E27FC236}">
                    <a16:creationId xmlns:a16="http://schemas.microsoft.com/office/drawing/2014/main" id="{D62F2DE6-FA70-18BE-DD19-79ACDEF172A7}"/>
                  </a:ext>
                </a:extLst>
              </p:cNvPr>
              <p:cNvSpPr>
                <a:spLocks noChangeAspect="1"/>
              </p:cNvSpPr>
              <p:nvPr/>
            </p:nvSpPr>
            <p:spPr>
              <a:xfrm>
                <a:off x="7677662" y="3596344"/>
                <a:ext cx="141575" cy="141575"/>
              </a:xfrm>
              <a:prstGeom prst="ellipse">
                <a:avLst/>
              </a:prstGeom>
              <a:solidFill>
                <a:srgbClr val="F06A11"/>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90" name="Oval 96">
                <a:extLst>
                  <a:ext uri="{FF2B5EF4-FFF2-40B4-BE49-F238E27FC236}">
                    <a16:creationId xmlns:a16="http://schemas.microsoft.com/office/drawing/2014/main" id="{E8DC1FC7-CBA5-6CAD-42CC-02587B68A236}"/>
                  </a:ext>
                </a:extLst>
              </p:cNvPr>
              <p:cNvSpPr>
                <a:spLocks noChangeAspect="1"/>
              </p:cNvSpPr>
              <p:nvPr/>
            </p:nvSpPr>
            <p:spPr>
              <a:xfrm>
                <a:off x="7859197" y="3725732"/>
                <a:ext cx="207148" cy="207148"/>
              </a:xfrm>
              <a:prstGeom prst="ellipse">
                <a:avLst/>
              </a:prstGeom>
              <a:solidFill>
                <a:schemeClr val="accent3">
                  <a:lumMod val="60000"/>
                  <a:lumOff val="40000"/>
                </a:scheme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91" name="Oval 97">
                <a:extLst>
                  <a:ext uri="{FF2B5EF4-FFF2-40B4-BE49-F238E27FC236}">
                    <a16:creationId xmlns:a16="http://schemas.microsoft.com/office/drawing/2014/main" id="{11735AB0-7080-F905-A7D8-68E88EAC9084}"/>
                  </a:ext>
                </a:extLst>
              </p:cNvPr>
              <p:cNvSpPr>
                <a:spLocks noChangeAspect="1"/>
              </p:cNvSpPr>
              <p:nvPr/>
            </p:nvSpPr>
            <p:spPr>
              <a:xfrm>
                <a:off x="7513951" y="3747883"/>
                <a:ext cx="207148" cy="207148"/>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92" name="Oval 98">
                <a:extLst>
                  <a:ext uri="{FF2B5EF4-FFF2-40B4-BE49-F238E27FC236}">
                    <a16:creationId xmlns:a16="http://schemas.microsoft.com/office/drawing/2014/main" id="{235A149A-8C22-9E4F-6654-4C4851F0C429}"/>
                  </a:ext>
                </a:extLst>
              </p:cNvPr>
              <p:cNvSpPr>
                <a:spLocks noChangeAspect="1"/>
              </p:cNvSpPr>
              <p:nvPr/>
            </p:nvSpPr>
            <p:spPr>
              <a:xfrm>
                <a:off x="6957684" y="3773348"/>
                <a:ext cx="171197" cy="171197"/>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93" name="Oval 99">
                <a:extLst>
                  <a:ext uri="{FF2B5EF4-FFF2-40B4-BE49-F238E27FC236}">
                    <a16:creationId xmlns:a16="http://schemas.microsoft.com/office/drawing/2014/main" id="{9E4ED65B-65DE-20EB-6D6D-5DE2BA4C9615}"/>
                  </a:ext>
                </a:extLst>
              </p:cNvPr>
              <p:cNvSpPr>
                <a:spLocks noChangeAspect="1"/>
              </p:cNvSpPr>
              <p:nvPr/>
            </p:nvSpPr>
            <p:spPr>
              <a:xfrm>
                <a:off x="7852024" y="3601377"/>
                <a:ext cx="103574" cy="103574"/>
              </a:xfrm>
              <a:prstGeom prst="ellipse">
                <a:avLst/>
              </a:prstGeom>
              <a:solidFill>
                <a:srgbClr val="FFFFFF"/>
              </a:solidFill>
              <a:ln w="3175"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94" name="Oval 100">
                <a:extLst>
                  <a:ext uri="{FF2B5EF4-FFF2-40B4-BE49-F238E27FC236}">
                    <a16:creationId xmlns:a16="http://schemas.microsoft.com/office/drawing/2014/main" id="{FC107BD3-CE76-7D76-AB76-ADC19241A723}"/>
                  </a:ext>
                </a:extLst>
              </p:cNvPr>
              <p:cNvSpPr>
                <a:spLocks noChangeAspect="1"/>
              </p:cNvSpPr>
              <p:nvPr/>
            </p:nvSpPr>
            <p:spPr>
              <a:xfrm>
                <a:off x="7491796" y="3592524"/>
                <a:ext cx="103574" cy="103574"/>
              </a:xfrm>
              <a:prstGeom prst="ellipse">
                <a:avLst/>
              </a:prstGeom>
              <a:solidFill>
                <a:schemeClr val="accent3">
                  <a:lumMod val="20000"/>
                  <a:lumOff val="80000"/>
                </a:schemeClr>
              </a:solidFill>
              <a:ln w="3175"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95" name="Oval 101">
                <a:extLst>
                  <a:ext uri="{FF2B5EF4-FFF2-40B4-BE49-F238E27FC236}">
                    <a16:creationId xmlns:a16="http://schemas.microsoft.com/office/drawing/2014/main" id="{C5C9852C-56F3-508B-270B-6875288758E9}"/>
                  </a:ext>
                </a:extLst>
              </p:cNvPr>
              <p:cNvSpPr>
                <a:spLocks noChangeAspect="1"/>
              </p:cNvSpPr>
              <p:nvPr/>
            </p:nvSpPr>
            <p:spPr>
              <a:xfrm>
                <a:off x="7009408" y="3558900"/>
                <a:ext cx="141575" cy="141575"/>
              </a:xfrm>
              <a:prstGeom prst="ellipse">
                <a:avLst/>
              </a:prstGeom>
              <a:solidFill>
                <a:srgbClr val="FF9933"/>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96" name="Oval 102">
                <a:extLst>
                  <a:ext uri="{FF2B5EF4-FFF2-40B4-BE49-F238E27FC236}">
                    <a16:creationId xmlns:a16="http://schemas.microsoft.com/office/drawing/2014/main" id="{F81868DD-35B2-2F8E-60C8-21B80D89D727}"/>
                  </a:ext>
                </a:extLst>
              </p:cNvPr>
              <p:cNvSpPr>
                <a:spLocks noChangeAspect="1"/>
              </p:cNvSpPr>
              <p:nvPr/>
            </p:nvSpPr>
            <p:spPr>
              <a:xfrm>
                <a:off x="6732561" y="3530770"/>
                <a:ext cx="207148" cy="207148"/>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97" name="Oval 103">
                <a:extLst>
                  <a:ext uri="{FF2B5EF4-FFF2-40B4-BE49-F238E27FC236}">
                    <a16:creationId xmlns:a16="http://schemas.microsoft.com/office/drawing/2014/main" id="{FB2A292D-9DAF-80F8-B456-41F31D3C29FB}"/>
                  </a:ext>
                </a:extLst>
              </p:cNvPr>
              <p:cNvSpPr>
                <a:spLocks noChangeAspect="1"/>
              </p:cNvSpPr>
              <p:nvPr/>
            </p:nvSpPr>
            <p:spPr>
              <a:xfrm>
                <a:off x="6685361" y="3820718"/>
                <a:ext cx="141575" cy="141575"/>
              </a:xfrm>
              <a:prstGeom prst="ellipse">
                <a:avLst/>
              </a:prstGeom>
              <a:solidFill>
                <a:schemeClr val="accent3">
                  <a:lumMod val="20000"/>
                  <a:lumOff val="80000"/>
                </a:scheme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98" name="Oval 104">
                <a:extLst>
                  <a:ext uri="{FF2B5EF4-FFF2-40B4-BE49-F238E27FC236}">
                    <a16:creationId xmlns:a16="http://schemas.microsoft.com/office/drawing/2014/main" id="{99C62887-5C1A-C487-C9DB-ED4721E77D40}"/>
                  </a:ext>
                </a:extLst>
              </p:cNvPr>
              <p:cNvSpPr>
                <a:spLocks noChangeAspect="1"/>
              </p:cNvSpPr>
              <p:nvPr/>
            </p:nvSpPr>
            <p:spPr>
              <a:xfrm>
                <a:off x="8780808" y="3662531"/>
                <a:ext cx="206195" cy="206195"/>
              </a:xfrm>
              <a:prstGeom prst="ellipse">
                <a:avLst/>
              </a:prstGeom>
              <a:solidFill>
                <a:schemeClr val="accent3">
                  <a:lumMod val="40000"/>
                  <a:lumOff val="60000"/>
                </a:scheme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399" name="Oval 105">
                <a:extLst>
                  <a:ext uri="{FF2B5EF4-FFF2-40B4-BE49-F238E27FC236}">
                    <a16:creationId xmlns:a16="http://schemas.microsoft.com/office/drawing/2014/main" id="{9166235B-4FF6-7864-4DB5-D633B10741EF}"/>
                  </a:ext>
                </a:extLst>
              </p:cNvPr>
              <p:cNvSpPr>
                <a:spLocks noChangeAspect="1"/>
              </p:cNvSpPr>
              <p:nvPr/>
            </p:nvSpPr>
            <p:spPr>
              <a:xfrm>
                <a:off x="8105755" y="3640881"/>
                <a:ext cx="249495" cy="249496"/>
              </a:xfrm>
              <a:prstGeom prst="ellipse">
                <a:avLst/>
              </a:prstGeom>
              <a:solidFill>
                <a:srgbClr val="F5CA13">
                  <a:lumMod val="20000"/>
                  <a:lumOff val="80000"/>
                </a:srgbClr>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400" name="Oval 106">
                <a:extLst>
                  <a:ext uri="{FF2B5EF4-FFF2-40B4-BE49-F238E27FC236}">
                    <a16:creationId xmlns:a16="http://schemas.microsoft.com/office/drawing/2014/main" id="{DD32E212-4A27-8D6E-433B-634C9AFDF5C7}"/>
                  </a:ext>
                </a:extLst>
              </p:cNvPr>
              <p:cNvSpPr>
                <a:spLocks noChangeAspect="1"/>
              </p:cNvSpPr>
              <p:nvPr/>
            </p:nvSpPr>
            <p:spPr>
              <a:xfrm>
                <a:off x="8462341" y="3652221"/>
                <a:ext cx="226814" cy="226814"/>
              </a:xfrm>
              <a:prstGeom prst="ellipse">
                <a:avLst/>
              </a:prstGeom>
              <a:solidFill>
                <a:srgbClr val="FFFFFF"/>
              </a:solidFill>
              <a:ln w="12700" cap="flat" cmpd="sng" algn="ctr">
                <a:solidFill>
                  <a:srgbClr val="3F3F3F"/>
                </a:solid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sp>
            <p:nvSpPr>
              <p:cNvPr id="401" name="Oval 107">
                <a:extLst>
                  <a:ext uri="{FF2B5EF4-FFF2-40B4-BE49-F238E27FC236}">
                    <a16:creationId xmlns:a16="http://schemas.microsoft.com/office/drawing/2014/main" id="{B74FE1AC-5977-643B-4ACF-91938798A572}"/>
                  </a:ext>
                </a:extLst>
              </p:cNvPr>
              <p:cNvSpPr>
                <a:spLocks noChangeAspect="1"/>
              </p:cNvSpPr>
              <p:nvPr/>
            </p:nvSpPr>
            <p:spPr>
              <a:xfrm>
                <a:off x="5311617" y="3903298"/>
                <a:ext cx="171197" cy="171197"/>
              </a:xfrm>
              <a:prstGeom prst="ellipse">
                <a:avLst/>
              </a:prstGeom>
              <a:solidFill>
                <a:srgbClr val="F5CA13"/>
              </a:solidFill>
              <a:ln w="12700" cap="flat" cmpd="sng" algn="ctr">
                <a:noFill/>
                <a:prstDash val="solid"/>
                <a:miter lim="800000"/>
              </a:ln>
              <a:effectLst>
                <a:outerShdw blurRad="381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000000"/>
                  </a:solidFill>
                  <a:effectLst/>
                  <a:uLnTx/>
                  <a:uFillTx/>
                  <a:latin typeface="Lato"/>
                  <a:ea typeface="+mn-ea"/>
                  <a:cs typeface="+mn-cs"/>
                </a:endParaRPr>
              </a:p>
            </p:txBody>
          </p:sp>
        </p:grpSp>
      </p:grpSp>
      <p:sp>
        <p:nvSpPr>
          <p:cNvPr id="408" name="Titel 3">
            <a:extLst>
              <a:ext uri="{FF2B5EF4-FFF2-40B4-BE49-F238E27FC236}">
                <a16:creationId xmlns:a16="http://schemas.microsoft.com/office/drawing/2014/main" id="{4AD248FC-2AEF-09FA-164B-62AAEEB7F573}"/>
              </a:ext>
            </a:extLst>
          </p:cNvPr>
          <p:cNvSpPr>
            <a:spLocks noGrp="1"/>
          </p:cNvSpPr>
          <p:nvPr>
            <p:ph type="title"/>
          </p:nvPr>
        </p:nvSpPr>
        <p:spPr>
          <a:xfrm>
            <a:off x="1166408" y="340225"/>
            <a:ext cx="15399595" cy="2403087"/>
          </a:xfrm>
        </p:spPr>
        <p:txBody>
          <a:bodyPr/>
          <a:lstStyle/>
          <a:p>
            <a:r>
              <a:rPr lang="de-DE" b="1">
                <a:solidFill>
                  <a:schemeClr val="tx1"/>
                </a:solidFill>
              </a:rPr>
              <a:t>The Innovation Funnel</a:t>
            </a:r>
            <a:endParaRPr lang="de-DE"/>
          </a:p>
        </p:txBody>
      </p:sp>
    </p:spTree>
    <p:extLst>
      <p:ext uri="{BB962C8B-B14F-4D97-AF65-F5344CB8AC3E}">
        <p14:creationId xmlns:p14="http://schemas.microsoft.com/office/powerpoint/2010/main" val="4491073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FEDFB92F-690D-321D-FAC0-5C36106011AA}"/>
              </a:ext>
            </a:extLst>
          </p:cNvPr>
          <p:cNvSpPr>
            <a:spLocks noGrp="1"/>
          </p:cNvSpPr>
          <p:nvPr>
            <p:ph type="title"/>
          </p:nvPr>
        </p:nvSpPr>
        <p:spPr/>
        <p:txBody>
          <a:bodyPr/>
          <a:lstStyle/>
          <a:p>
            <a:r>
              <a:rPr lang="sv-SE" b="1"/>
              <a:t>1. Explore</a:t>
            </a:r>
            <a:r>
              <a:rPr lang="sv-SE"/>
              <a:t> and create ideas</a:t>
            </a:r>
          </a:p>
        </p:txBody>
      </p:sp>
      <p:sp>
        <p:nvSpPr>
          <p:cNvPr id="11" name="Footer Placeholder 10">
            <a:extLst>
              <a:ext uri="{FF2B5EF4-FFF2-40B4-BE49-F238E27FC236}">
                <a16:creationId xmlns:a16="http://schemas.microsoft.com/office/drawing/2014/main" id="{B36F240F-73F2-1CE1-DD14-2EB27FEE41FA}"/>
              </a:ext>
            </a:extLst>
          </p:cNvPr>
          <p:cNvSpPr>
            <a:spLocks noGrp="1"/>
          </p:cNvSpPr>
          <p:nvPr>
            <p:ph type="ftr" sz="quarter" idx="19"/>
          </p:nvPr>
        </p:nvSpPr>
        <p:spPr/>
        <p:txBody>
          <a:bodyPr/>
          <a:lstStyle/>
          <a:p>
            <a:endParaRPr lang="en-NL"/>
          </a:p>
        </p:txBody>
      </p:sp>
      <p:pic>
        <p:nvPicPr>
          <p:cNvPr id="4" name="Graphic 3" descr="Lightbulb and gear outline">
            <a:extLst>
              <a:ext uri="{FF2B5EF4-FFF2-40B4-BE49-F238E27FC236}">
                <a16:creationId xmlns:a16="http://schemas.microsoft.com/office/drawing/2014/main" id="{BF253C64-584F-BB47-36A1-3D8D617E5C2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991385" y="162672"/>
            <a:ext cx="10763999" cy="12744000"/>
          </a:xfrm>
          <a:prstGeom prst="rect">
            <a:avLst/>
          </a:prstGeom>
        </p:spPr>
      </p:pic>
    </p:spTree>
    <p:extLst>
      <p:ext uri="{BB962C8B-B14F-4D97-AF65-F5344CB8AC3E}">
        <p14:creationId xmlns:p14="http://schemas.microsoft.com/office/powerpoint/2010/main" val="9425734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E14DC174-635F-5383-8A57-CECE5BFE071A}"/>
              </a:ext>
            </a:extLst>
          </p:cNvPr>
          <p:cNvCxnSpPr>
            <a:cxnSpLocks/>
          </p:cNvCxnSpPr>
          <p:nvPr/>
        </p:nvCxnSpPr>
        <p:spPr>
          <a:xfrm>
            <a:off x="5054681" y="4718447"/>
            <a:ext cx="0" cy="2262993"/>
          </a:xfrm>
          <a:prstGeom prst="line">
            <a:avLst/>
          </a:prstGeom>
          <a:ln w="5715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629F273D-1B09-1BFE-F412-D172533C6C1A}"/>
              </a:ext>
            </a:extLst>
          </p:cNvPr>
          <p:cNvCxnSpPr>
            <a:cxnSpLocks/>
          </p:cNvCxnSpPr>
          <p:nvPr/>
        </p:nvCxnSpPr>
        <p:spPr>
          <a:xfrm>
            <a:off x="5054681" y="2832621"/>
            <a:ext cx="0" cy="1885827"/>
          </a:xfrm>
          <a:prstGeom prst="line">
            <a:avLst/>
          </a:prstGeom>
          <a:ln w="76200">
            <a:solidFill>
              <a:srgbClr val="FFC000"/>
            </a:solidFill>
          </a:ln>
        </p:spPr>
        <p:style>
          <a:lnRef idx="3">
            <a:schemeClr val="dk1"/>
          </a:lnRef>
          <a:fillRef idx="0">
            <a:schemeClr val="dk1"/>
          </a:fillRef>
          <a:effectRef idx="2">
            <a:schemeClr val="dk1"/>
          </a:effectRef>
          <a:fontRef idx="minor">
            <a:schemeClr val="tx1"/>
          </a:fontRef>
        </p:style>
      </p:cxnSp>
      <p:sp>
        <p:nvSpPr>
          <p:cNvPr id="8" name="TextBox 7">
            <a:extLst>
              <a:ext uri="{FF2B5EF4-FFF2-40B4-BE49-F238E27FC236}">
                <a16:creationId xmlns:a16="http://schemas.microsoft.com/office/drawing/2014/main" id="{63FC2048-C8C9-233D-A67C-D695AD8AB6C4}"/>
              </a:ext>
            </a:extLst>
          </p:cNvPr>
          <p:cNvSpPr txBox="1"/>
          <p:nvPr/>
        </p:nvSpPr>
        <p:spPr>
          <a:xfrm>
            <a:off x="5198922" y="3132348"/>
            <a:ext cx="4524188" cy="954107"/>
          </a:xfrm>
          <a:prstGeom prst="rect">
            <a:avLst/>
          </a:prstGeom>
          <a:noFill/>
        </p:spPr>
        <p:txBody>
          <a:bodyPr wrap="square">
            <a:spAutoFit/>
          </a:bodyPr>
          <a:lstStyle/>
          <a:p>
            <a:pPr defTabSz="1828573">
              <a:defRPr/>
            </a:pPr>
            <a:r>
              <a:rPr lang="en-US" sz="2800" b="1">
                <a:solidFill>
                  <a:srgbClr val="000000"/>
                </a:solidFill>
                <a:latin typeface="Noto IKEA Latin"/>
              </a:rPr>
              <a:t>Service request to Intralogistics</a:t>
            </a:r>
          </a:p>
        </p:txBody>
      </p:sp>
      <p:cxnSp>
        <p:nvCxnSpPr>
          <p:cNvPr id="9" name="Straight Connector 8">
            <a:extLst>
              <a:ext uri="{FF2B5EF4-FFF2-40B4-BE49-F238E27FC236}">
                <a16:creationId xmlns:a16="http://schemas.microsoft.com/office/drawing/2014/main" id="{C7B347B4-9D6B-1C0A-DDE3-B5E043EA8CFD}"/>
              </a:ext>
            </a:extLst>
          </p:cNvPr>
          <p:cNvCxnSpPr>
            <a:cxnSpLocks/>
          </p:cNvCxnSpPr>
          <p:nvPr/>
        </p:nvCxnSpPr>
        <p:spPr>
          <a:xfrm>
            <a:off x="7722810" y="7756057"/>
            <a:ext cx="0" cy="2262993"/>
          </a:xfrm>
          <a:prstGeom prst="line">
            <a:avLst/>
          </a:prstGeom>
          <a:ln w="5715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CCCF300-D8A7-C6C1-6FE8-C0027F493612}"/>
              </a:ext>
            </a:extLst>
          </p:cNvPr>
          <p:cNvCxnSpPr/>
          <p:nvPr/>
        </p:nvCxnSpPr>
        <p:spPr>
          <a:xfrm>
            <a:off x="7744077" y="9733320"/>
            <a:ext cx="0" cy="1885827"/>
          </a:xfrm>
          <a:prstGeom prst="line">
            <a:avLst/>
          </a:prstGeom>
          <a:ln w="76200">
            <a:solidFill>
              <a:srgbClr val="0157A3"/>
            </a:solidFill>
          </a:ln>
        </p:spPr>
        <p:style>
          <a:lnRef idx="3">
            <a:schemeClr val="dk1"/>
          </a:lnRef>
          <a:fillRef idx="0">
            <a:schemeClr val="dk1"/>
          </a:fillRef>
          <a:effectRef idx="2">
            <a:schemeClr val="dk1"/>
          </a:effectRef>
          <a:fontRef idx="minor">
            <a:schemeClr val="tx1"/>
          </a:fontRef>
        </p:style>
      </p:cxnSp>
      <p:sp>
        <p:nvSpPr>
          <p:cNvPr id="12" name="TextBox 11">
            <a:extLst>
              <a:ext uri="{FF2B5EF4-FFF2-40B4-BE49-F238E27FC236}">
                <a16:creationId xmlns:a16="http://schemas.microsoft.com/office/drawing/2014/main" id="{C4649D85-EB8E-89FC-7813-9C8A10EB1B62}"/>
              </a:ext>
            </a:extLst>
          </p:cNvPr>
          <p:cNvSpPr txBox="1"/>
          <p:nvPr/>
        </p:nvSpPr>
        <p:spPr>
          <a:xfrm>
            <a:off x="7883708" y="9439028"/>
            <a:ext cx="5427750" cy="1815882"/>
          </a:xfrm>
          <a:prstGeom prst="rect">
            <a:avLst/>
          </a:prstGeom>
          <a:noFill/>
        </p:spPr>
        <p:txBody>
          <a:bodyPr wrap="square">
            <a:spAutoFit/>
          </a:bodyPr>
          <a:lstStyle/>
          <a:p>
            <a:pPr defTabSz="1828573">
              <a:defRPr/>
            </a:pPr>
            <a:r>
              <a:rPr lang="sv-SE" sz="2800" b="1">
                <a:solidFill>
                  <a:srgbClr val="000000"/>
                </a:solidFill>
                <a:latin typeface="Noto IKEA Latin"/>
              </a:rPr>
              <a:t>Discovery meeting</a:t>
            </a:r>
          </a:p>
          <a:p>
            <a:pPr defTabSz="1828573">
              <a:defRPr/>
            </a:pPr>
            <a:r>
              <a:rPr lang="sv-SE" sz="2800" b="1">
                <a:solidFill>
                  <a:srgbClr val="000000"/>
                </a:solidFill>
                <a:latin typeface="Noto IKEA Latin"/>
              </a:rPr>
              <a:t>with the Innovation Leaders and Dev Mgr Innovation </a:t>
            </a:r>
            <a:br>
              <a:rPr lang="en-US" sz="2800" b="1">
                <a:solidFill>
                  <a:srgbClr val="000000"/>
                </a:solidFill>
                <a:latin typeface="Noto IKEA Latin"/>
              </a:rPr>
            </a:br>
            <a:endParaRPr lang="en-US" sz="2800" b="1">
              <a:solidFill>
                <a:srgbClr val="000000"/>
              </a:solidFill>
              <a:latin typeface="Noto IKEA Latin"/>
            </a:endParaRPr>
          </a:p>
        </p:txBody>
      </p:sp>
      <p:cxnSp>
        <p:nvCxnSpPr>
          <p:cNvPr id="14" name="Straight Connector 13">
            <a:extLst>
              <a:ext uri="{FF2B5EF4-FFF2-40B4-BE49-F238E27FC236}">
                <a16:creationId xmlns:a16="http://schemas.microsoft.com/office/drawing/2014/main" id="{B6375C5B-BA97-2749-AC52-7AEAA0966741}"/>
              </a:ext>
            </a:extLst>
          </p:cNvPr>
          <p:cNvCxnSpPr>
            <a:cxnSpLocks/>
          </p:cNvCxnSpPr>
          <p:nvPr/>
        </p:nvCxnSpPr>
        <p:spPr>
          <a:xfrm>
            <a:off x="10036747" y="4652237"/>
            <a:ext cx="0" cy="2262993"/>
          </a:xfrm>
          <a:prstGeom prst="line">
            <a:avLst/>
          </a:prstGeom>
          <a:ln w="5715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0436E02-D3D3-D381-69F8-F1DA5799FA1E}"/>
              </a:ext>
            </a:extLst>
          </p:cNvPr>
          <p:cNvCxnSpPr/>
          <p:nvPr/>
        </p:nvCxnSpPr>
        <p:spPr>
          <a:xfrm>
            <a:off x="10054686" y="2772943"/>
            <a:ext cx="0" cy="1885827"/>
          </a:xfrm>
          <a:prstGeom prst="line">
            <a:avLst/>
          </a:prstGeom>
          <a:ln w="76200">
            <a:solidFill>
              <a:srgbClr val="C00000"/>
            </a:solidFill>
          </a:ln>
        </p:spPr>
        <p:style>
          <a:lnRef idx="3">
            <a:schemeClr val="dk1"/>
          </a:lnRef>
          <a:fillRef idx="0">
            <a:schemeClr val="dk1"/>
          </a:fillRef>
          <a:effectRef idx="2">
            <a:schemeClr val="dk1"/>
          </a:effectRef>
          <a:fontRef idx="minor">
            <a:schemeClr val="tx1"/>
          </a:fontRef>
        </p:style>
      </p:cxnSp>
      <p:sp>
        <p:nvSpPr>
          <p:cNvPr id="16" name="TextBox 15">
            <a:extLst>
              <a:ext uri="{FF2B5EF4-FFF2-40B4-BE49-F238E27FC236}">
                <a16:creationId xmlns:a16="http://schemas.microsoft.com/office/drawing/2014/main" id="{E8CA9D10-6306-43CB-954F-76888634BD7F}"/>
              </a:ext>
            </a:extLst>
          </p:cNvPr>
          <p:cNvSpPr txBox="1"/>
          <p:nvPr/>
        </p:nvSpPr>
        <p:spPr>
          <a:xfrm>
            <a:off x="10290381" y="2768634"/>
            <a:ext cx="4138866" cy="954101"/>
          </a:xfrm>
          <a:prstGeom prst="rect">
            <a:avLst/>
          </a:prstGeom>
          <a:noFill/>
        </p:spPr>
        <p:txBody>
          <a:bodyPr wrap="square" lIns="91434" tIns="45717" rIns="91434" bIns="45717" anchor="t">
            <a:spAutoFit/>
          </a:bodyPr>
          <a:lstStyle/>
          <a:p>
            <a:r>
              <a:rPr lang="en-US" altLang="en-US" sz="2800" b="1">
                <a:solidFill>
                  <a:srgbClr val="000000"/>
                </a:solidFill>
                <a:latin typeface="+mj-lt"/>
              </a:rPr>
              <a:t>Creating Base</a:t>
            </a:r>
          </a:p>
          <a:p>
            <a:r>
              <a:rPr lang="en-US" altLang="en-US" sz="2800" b="1">
                <a:solidFill>
                  <a:srgbClr val="000000"/>
                </a:solidFill>
                <a:latin typeface="+mj-lt"/>
              </a:rPr>
              <a:t>for Service Order</a:t>
            </a:r>
          </a:p>
        </p:txBody>
      </p:sp>
      <p:sp>
        <p:nvSpPr>
          <p:cNvPr id="17" name="TextBox 16">
            <a:extLst>
              <a:ext uri="{FF2B5EF4-FFF2-40B4-BE49-F238E27FC236}">
                <a16:creationId xmlns:a16="http://schemas.microsoft.com/office/drawing/2014/main" id="{8919867C-E6B7-D958-A5EE-F3968A35903C}"/>
              </a:ext>
            </a:extLst>
          </p:cNvPr>
          <p:cNvSpPr txBox="1"/>
          <p:nvPr/>
        </p:nvSpPr>
        <p:spPr>
          <a:xfrm>
            <a:off x="10155751" y="3907855"/>
            <a:ext cx="7017370" cy="923330"/>
          </a:xfrm>
          <a:prstGeom prst="rect">
            <a:avLst/>
          </a:prstGeom>
          <a:noFill/>
        </p:spPr>
        <p:txBody>
          <a:bodyPr wrap="square">
            <a:spAutoFit/>
          </a:bodyPr>
          <a:lstStyle/>
          <a:p>
            <a:pPr marL="285750" indent="-285750" defTabSz="1828573" fontAlgn="base">
              <a:buFont typeface="Arial" panose="020B0604020202020204" pitchFamily="34" charset="0"/>
              <a:buChar char="•"/>
              <a:defRPr/>
            </a:pPr>
            <a:r>
              <a:rPr lang="en-US" sz="1800">
                <a:solidFill>
                  <a:srgbClr val="000000"/>
                </a:solidFill>
                <a:latin typeface="Noto IKEA Latin"/>
              </a:rPr>
              <a:t>Statement of Work (SOW) </a:t>
            </a:r>
          </a:p>
          <a:p>
            <a:pPr marL="285750" indent="-285750" defTabSz="1828573" fontAlgn="base">
              <a:buFont typeface="Arial" panose="020B0604020202020204" pitchFamily="34" charset="0"/>
              <a:buChar char="•"/>
              <a:defRPr/>
            </a:pPr>
            <a:r>
              <a:rPr lang="en-US" sz="1800">
                <a:solidFill>
                  <a:srgbClr val="000000"/>
                </a:solidFill>
                <a:latin typeface="Noto IKEA Latin"/>
              </a:rPr>
              <a:t>Describing the project timelines and scope in more detail</a:t>
            </a:r>
          </a:p>
          <a:p>
            <a:pPr marL="285750" indent="-285750" defTabSz="1828573">
              <a:buFont typeface="Arial" panose="020B0604020202020204" pitchFamily="34" charset="0"/>
              <a:buChar char="•"/>
              <a:defRPr/>
            </a:pPr>
            <a:r>
              <a:rPr lang="en-US" sz="1800">
                <a:solidFill>
                  <a:srgbClr val="000000"/>
                </a:solidFill>
                <a:latin typeface="Noto IKEA Latin"/>
              </a:rPr>
              <a:t>Includes price</a:t>
            </a:r>
          </a:p>
        </p:txBody>
      </p:sp>
      <p:cxnSp>
        <p:nvCxnSpPr>
          <p:cNvPr id="18" name="Straight Connector 17">
            <a:extLst>
              <a:ext uri="{FF2B5EF4-FFF2-40B4-BE49-F238E27FC236}">
                <a16:creationId xmlns:a16="http://schemas.microsoft.com/office/drawing/2014/main" id="{FE6D38C9-71C6-8210-848B-5F9D37F321CE}"/>
              </a:ext>
            </a:extLst>
          </p:cNvPr>
          <p:cNvCxnSpPr>
            <a:cxnSpLocks/>
          </p:cNvCxnSpPr>
          <p:nvPr/>
        </p:nvCxnSpPr>
        <p:spPr>
          <a:xfrm>
            <a:off x="14225504" y="7584735"/>
            <a:ext cx="0" cy="2262993"/>
          </a:xfrm>
          <a:prstGeom prst="line">
            <a:avLst/>
          </a:prstGeom>
          <a:ln w="5715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3805B5F-D770-838B-11CD-245E82B5E5E7}"/>
              </a:ext>
            </a:extLst>
          </p:cNvPr>
          <p:cNvCxnSpPr/>
          <p:nvPr/>
        </p:nvCxnSpPr>
        <p:spPr>
          <a:xfrm>
            <a:off x="14225504" y="9561997"/>
            <a:ext cx="0" cy="1885827"/>
          </a:xfrm>
          <a:prstGeom prst="line">
            <a:avLst/>
          </a:prstGeom>
          <a:ln w="76200">
            <a:solidFill>
              <a:srgbClr val="800080"/>
            </a:solidFill>
          </a:ln>
        </p:spPr>
        <p:style>
          <a:lnRef idx="3">
            <a:schemeClr val="dk1"/>
          </a:lnRef>
          <a:fillRef idx="0">
            <a:schemeClr val="dk1"/>
          </a:fillRef>
          <a:effectRef idx="2">
            <a:schemeClr val="dk1"/>
          </a:effectRef>
          <a:fontRef idx="minor">
            <a:schemeClr val="tx1"/>
          </a:fontRef>
        </p:style>
      </p:cxnSp>
      <p:cxnSp>
        <p:nvCxnSpPr>
          <p:cNvPr id="22" name="Straight Connector 21">
            <a:extLst>
              <a:ext uri="{FF2B5EF4-FFF2-40B4-BE49-F238E27FC236}">
                <a16:creationId xmlns:a16="http://schemas.microsoft.com/office/drawing/2014/main" id="{6AC7CF56-C20D-EF10-85D9-73D59B8DC7CC}"/>
              </a:ext>
            </a:extLst>
          </p:cNvPr>
          <p:cNvCxnSpPr>
            <a:cxnSpLocks/>
          </p:cNvCxnSpPr>
          <p:nvPr/>
        </p:nvCxnSpPr>
        <p:spPr>
          <a:xfrm>
            <a:off x="17971531" y="4623137"/>
            <a:ext cx="0" cy="2262993"/>
          </a:xfrm>
          <a:prstGeom prst="line">
            <a:avLst/>
          </a:prstGeom>
          <a:ln w="5715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1BBAF5B-7C3B-15D9-03D7-24689626F188}"/>
              </a:ext>
            </a:extLst>
          </p:cNvPr>
          <p:cNvCxnSpPr/>
          <p:nvPr/>
        </p:nvCxnSpPr>
        <p:spPr>
          <a:xfrm>
            <a:off x="17971531" y="2708737"/>
            <a:ext cx="0" cy="1885827"/>
          </a:xfrm>
          <a:prstGeom prst="line">
            <a:avLst/>
          </a:prstGeom>
          <a:ln w="76200">
            <a:solidFill>
              <a:schemeClr val="accent5">
                <a:lumMod val="60000"/>
                <a:lumOff val="40000"/>
              </a:schemeClr>
            </a:solidFill>
          </a:ln>
        </p:spPr>
        <p:style>
          <a:lnRef idx="3">
            <a:schemeClr val="dk1"/>
          </a:lnRef>
          <a:fillRef idx="0">
            <a:schemeClr val="dk1"/>
          </a:fillRef>
          <a:effectRef idx="2">
            <a:schemeClr val="dk1"/>
          </a:effectRef>
          <a:fontRef idx="minor">
            <a:schemeClr val="tx1"/>
          </a:fontRef>
        </p:style>
      </p:cxnSp>
      <p:sp>
        <p:nvSpPr>
          <p:cNvPr id="24" name="TextBox 23">
            <a:extLst>
              <a:ext uri="{FF2B5EF4-FFF2-40B4-BE49-F238E27FC236}">
                <a16:creationId xmlns:a16="http://schemas.microsoft.com/office/drawing/2014/main" id="{219F7A6E-3F8F-3BEA-6776-489567F57E0E}"/>
              </a:ext>
            </a:extLst>
          </p:cNvPr>
          <p:cNvSpPr txBox="1"/>
          <p:nvPr/>
        </p:nvSpPr>
        <p:spPr>
          <a:xfrm>
            <a:off x="18168752" y="3980583"/>
            <a:ext cx="5397585" cy="646325"/>
          </a:xfrm>
          <a:prstGeom prst="rect">
            <a:avLst/>
          </a:prstGeom>
          <a:noFill/>
        </p:spPr>
        <p:txBody>
          <a:bodyPr wrap="square" lIns="91434" tIns="45717" rIns="91434" bIns="45717" anchor="t">
            <a:spAutoFit/>
          </a:bodyPr>
          <a:lstStyle/>
          <a:p>
            <a:pPr marL="285750" indent="-285750" defTabSz="914354">
              <a:spcBef>
                <a:spcPct val="0"/>
              </a:spcBef>
              <a:spcAft>
                <a:spcPct val="0"/>
              </a:spcAft>
              <a:buFont typeface="Arial" panose="020B0604020202020204" pitchFamily="34" charset="0"/>
              <a:buChar char="•"/>
              <a:defRPr/>
            </a:pPr>
            <a:r>
              <a:rPr lang="en-US" sz="1800">
                <a:solidFill>
                  <a:srgbClr val="000000"/>
                </a:solidFill>
                <a:latin typeface="Noto IKEA Latin"/>
              </a:rPr>
              <a:t>When the Statement of work is signed it is called service order</a:t>
            </a:r>
            <a:endParaRPr lang="en-US" sz="3200">
              <a:solidFill>
                <a:srgbClr val="000000"/>
              </a:solidFill>
              <a:latin typeface="Noto IKEA Latin"/>
            </a:endParaRPr>
          </a:p>
        </p:txBody>
      </p:sp>
      <p:cxnSp>
        <p:nvCxnSpPr>
          <p:cNvPr id="25" name="Straight Connector 24">
            <a:extLst>
              <a:ext uri="{FF2B5EF4-FFF2-40B4-BE49-F238E27FC236}">
                <a16:creationId xmlns:a16="http://schemas.microsoft.com/office/drawing/2014/main" id="{77ACB472-46A8-E30B-5C3C-F3B1A7D12775}"/>
              </a:ext>
            </a:extLst>
          </p:cNvPr>
          <p:cNvCxnSpPr>
            <a:cxnSpLocks/>
          </p:cNvCxnSpPr>
          <p:nvPr/>
        </p:nvCxnSpPr>
        <p:spPr>
          <a:xfrm>
            <a:off x="21058641" y="7470327"/>
            <a:ext cx="0" cy="2262993"/>
          </a:xfrm>
          <a:prstGeom prst="line">
            <a:avLst/>
          </a:prstGeom>
          <a:ln w="5715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877C262-3A91-BE0F-A100-8608440B0D57}"/>
              </a:ext>
            </a:extLst>
          </p:cNvPr>
          <p:cNvCxnSpPr/>
          <p:nvPr/>
        </p:nvCxnSpPr>
        <p:spPr>
          <a:xfrm>
            <a:off x="20258949" y="9903528"/>
            <a:ext cx="0" cy="1885827"/>
          </a:xfrm>
          <a:prstGeom prst="line">
            <a:avLst/>
          </a:prstGeom>
          <a:ln w="76200">
            <a:solidFill>
              <a:schemeClr val="accent6">
                <a:lumMod val="75000"/>
              </a:schemeClr>
            </a:solidFill>
          </a:ln>
        </p:spPr>
        <p:style>
          <a:lnRef idx="3">
            <a:schemeClr val="dk1"/>
          </a:lnRef>
          <a:fillRef idx="0">
            <a:schemeClr val="dk1"/>
          </a:fillRef>
          <a:effectRef idx="2">
            <a:schemeClr val="dk1"/>
          </a:effectRef>
          <a:fontRef idx="minor">
            <a:schemeClr val="tx1"/>
          </a:fontRef>
        </p:style>
      </p:cxnSp>
      <p:sp>
        <p:nvSpPr>
          <p:cNvPr id="28" name="Text Placeholder 8">
            <a:extLst>
              <a:ext uri="{FF2B5EF4-FFF2-40B4-BE49-F238E27FC236}">
                <a16:creationId xmlns:a16="http://schemas.microsoft.com/office/drawing/2014/main" id="{593F1D32-F2C7-EC92-5A7E-49FB1B8553F4}"/>
              </a:ext>
            </a:extLst>
          </p:cNvPr>
          <p:cNvSpPr txBox="1">
            <a:spLocks/>
          </p:cNvSpPr>
          <p:nvPr/>
        </p:nvSpPr>
        <p:spPr>
          <a:xfrm>
            <a:off x="20310172" y="9957295"/>
            <a:ext cx="4755640" cy="2717332"/>
          </a:xfrm>
          <a:prstGeom prst="rect">
            <a:avLst/>
          </a:prstGeom>
          <a:noFill/>
        </p:spPr>
        <p:txBody>
          <a:bodyPr vert="horz" lIns="91434" tIns="45717" rIns="91434" bIns="45717" rtlCol="0" anchor="t">
            <a:noAutofit/>
          </a:bodyPr>
          <a:lstStyle>
            <a:lvl1pPr marL="0" indent="0" algn="l" defTabSz="1828663" rtl="0" eaLnBrk="1" latinLnBrk="0" hangingPunct="1">
              <a:lnSpc>
                <a:spcPct val="100000"/>
              </a:lnSpc>
              <a:spcBef>
                <a:spcPts val="2000"/>
              </a:spcBef>
              <a:buFont typeface="Arial" panose="020B0604020202020204" pitchFamily="34" charset="0"/>
              <a:buNone/>
              <a:defRPr sz="3200" b="1" kern="1200">
                <a:solidFill>
                  <a:schemeClr val="tx1"/>
                </a:solidFill>
                <a:latin typeface="Noto IKEA Latin" panose="020B0502040504020204" pitchFamily="34" charset="0"/>
                <a:ea typeface="+mn-ea"/>
                <a:cs typeface="+mn-cs"/>
              </a:defRPr>
            </a:lvl1pPr>
            <a:lvl2pPr marL="0" indent="-685766" algn="l" defTabSz="1828663" rtl="0" eaLnBrk="1" latinLnBrk="0" hangingPunct="1">
              <a:lnSpc>
                <a:spcPct val="100000"/>
              </a:lnSpc>
              <a:spcBef>
                <a:spcPts val="2000"/>
              </a:spcBef>
              <a:buFont typeface="Arial" panose="020B0604020202020204" pitchFamily="34" charset="0"/>
              <a:buChar char="•"/>
              <a:defRPr sz="3200" kern="1200" spc="0">
                <a:solidFill>
                  <a:schemeClr val="tx1"/>
                </a:solidFill>
                <a:latin typeface="Noto IKEA Latin" panose="020B0502040504020204" pitchFamily="34" charset="0"/>
                <a:ea typeface="+mn-ea"/>
                <a:cs typeface="+mn-cs"/>
              </a:defRPr>
            </a:lvl2pPr>
            <a:lvl3pPr marL="2285828" indent="-457165" algn="l" defTabSz="1828663" rtl="0" eaLnBrk="1" latinLnBrk="0" hangingPunct="1">
              <a:lnSpc>
                <a:spcPct val="100000"/>
              </a:lnSpc>
              <a:spcBef>
                <a:spcPts val="1000"/>
              </a:spcBef>
              <a:buFont typeface="Arial" panose="020B0604020202020204" pitchFamily="34" charset="0"/>
              <a:buChar char="•"/>
              <a:defRPr sz="3600" i="0" kern="1200">
                <a:solidFill>
                  <a:schemeClr val="tx1"/>
                </a:solidFill>
                <a:latin typeface="Noto IKEA Latin" panose="020B0502040504020204" pitchFamily="34" charset="0"/>
                <a:ea typeface="+mn-ea"/>
                <a:cs typeface="+mn-cs"/>
              </a:defRPr>
            </a:lvl3pPr>
            <a:lvl4pPr marL="3200160" indent="-457165" algn="l" defTabSz="1828663" rtl="0" eaLnBrk="1" latinLnBrk="0" hangingPunct="1">
              <a:lnSpc>
                <a:spcPct val="100000"/>
              </a:lnSpc>
              <a:spcBef>
                <a:spcPts val="1000"/>
              </a:spcBef>
              <a:buFont typeface="Arial" panose="020B0604020202020204" pitchFamily="34" charset="0"/>
              <a:buChar char="•"/>
              <a:defRPr sz="2800" kern="1200">
                <a:solidFill>
                  <a:schemeClr val="tx1"/>
                </a:solidFill>
                <a:latin typeface="Noto IKEA Latin" panose="020B0502040504020204" pitchFamily="34" charset="0"/>
                <a:ea typeface="+mn-ea"/>
                <a:cs typeface="+mn-cs"/>
              </a:defRPr>
            </a:lvl4pPr>
            <a:lvl5pPr marL="4114492" indent="-457165" algn="l" defTabSz="1828663" rtl="0" eaLnBrk="1" latinLnBrk="0" hangingPunct="1">
              <a:lnSpc>
                <a:spcPct val="100000"/>
              </a:lnSpc>
              <a:spcBef>
                <a:spcPts val="1000"/>
              </a:spcBef>
              <a:buFont typeface="Arial" panose="020B0604020202020204" pitchFamily="34" charset="0"/>
              <a:buChar char="•"/>
              <a:defRPr sz="2000" kern="1200">
                <a:solidFill>
                  <a:schemeClr val="tx1"/>
                </a:solidFill>
                <a:latin typeface="Noto IKEA Latin" panose="020B0502040504020204" pitchFamily="34" charset="0"/>
                <a:ea typeface="+mn-ea"/>
                <a:cs typeface="+mn-cs"/>
              </a:defRPr>
            </a:lvl5pPr>
            <a:lvl6pPr marL="5028823"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155"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485"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1817" indent="-457165" algn="l" defTabSz="182866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defTabSz="1828573">
              <a:spcBef>
                <a:spcPts val="600"/>
              </a:spcBef>
              <a:defRPr/>
            </a:pPr>
            <a:r>
              <a:rPr lang="sv-SE" sz="2800">
                <a:solidFill>
                  <a:srgbClr val="000000"/>
                </a:solidFill>
                <a:latin typeface="Noto IKEA Latin"/>
              </a:rPr>
              <a:t>Project Handover to </a:t>
            </a:r>
            <a:r>
              <a:rPr lang="en-US" sz="2800">
                <a:solidFill>
                  <a:srgbClr val="000000"/>
                </a:solidFill>
                <a:latin typeface="Noto IKEA Latin"/>
              </a:rPr>
              <a:t>Service Offer to the Innovation Leader or Engineering Leader</a:t>
            </a:r>
          </a:p>
          <a:p>
            <a:pPr defTabSz="1828573">
              <a:spcBef>
                <a:spcPts val="600"/>
              </a:spcBef>
              <a:defRPr/>
            </a:pPr>
            <a:endParaRPr lang="en-US" sz="2400">
              <a:solidFill>
                <a:srgbClr val="000000"/>
              </a:solidFill>
              <a:latin typeface="Noto IKEA Latin"/>
            </a:endParaRPr>
          </a:p>
        </p:txBody>
      </p:sp>
      <p:sp>
        <p:nvSpPr>
          <p:cNvPr id="30" name="Arrow: Right 29">
            <a:extLst>
              <a:ext uri="{FF2B5EF4-FFF2-40B4-BE49-F238E27FC236}">
                <a16:creationId xmlns:a16="http://schemas.microsoft.com/office/drawing/2014/main" id="{0CA7D686-F117-30E0-D23F-8825B1B85930}"/>
              </a:ext>
            </a:extLst>
          </p:cNvPr>
          <p:cNvSpPr/>
          <p:nvPr/>
        </p:nvSpPr>
        <p:spPr>
          <a:xfrm>
            <a:off x="149750" y="7206060"/>
            <a:ext cx="23066180" cy="908627"/>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algn="ctr" defTabSz="1828573">
              <a:defRPr/>
            </a:pPr>
            <a:endParaRPr lang="en-US" sz="3200">
              <a:solidFill>
                <a:srgbClr val="FFFFFF"/>
              </a:solidFill>
              <a:latin typeface="Noto IKEA Latin"/>
            </a:endParaRPr>
          </a:p>
        </p:txBody>
      </p:sp>
      <p:sp>
        <p:nvSpPr>
          <p:cNvPr id="31" name="Oval 30">
            <a:extLst>
              <a:ext uri="{FF2B5EF4-FFF2-40B4-BE49-F238E27FC236}">
                <a16:creationId xmlns:a16="http://schemas.microsoft.com/office/drawing/2014/main" id="{6F394AFD-4DEB-C8FD-3D12-68849E2EF1C7}"/>
              </a:ext>
            </a:extLst>
          </p:cNvPr>
          <p:cNvSpPr/>
          <p:nvPr/>
        </p:nvSpPr>
        <p:spPr>
          <a:xfrm>
            <a:off x="4368720" y="6946225"/>
            <a:ext cx="1360080" cy="136008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algn="ctr" defTabSz="1828573">
              <a:defRPr/>
            </a:pPr>
            <a:endParaRPr lang="en-US" sz="3200">
              <a:solidFill>
                <a:srgbClr val="FFFFFF"/>
              </a:solidFill>
              <a:latin typeface="Noto IKEA Latin"/>
            </a:endParaRPr>
          </a:p>
        </p:txBody>
      </p:sp>
      <p:sp>
        <p:nvSpPr>
          <p:cNvPr id="32" name="Oval 31">
            <a:extLst>
              <a:ext uri="{FF2B5EF4-FFF2-40B4-BE49-F238E27FC236}">
                <a16:creationId xmlns:a16="http://schemas.microsoft.com/office/drawing/2014/main" id="{83DF3785-6431-7F76-1925-AD12ADA1B582}"/>
              </a:ext>
            </a:extLst>
          </p:cNvPr>
          <p:cNvSpPr/>
          <p:nvPr/>
        </p:nvSpPr>
        <p:spPr>
          <a:xfrm>
            <a:off x="7042340" y="6945780"/>
            <a:ext cx="1360081" cy="1360081"/>
          </a:xfrm>
          <a:prstGeom prst="ellips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algn="ctr" defTabSz="1828573">
              <a:defRPr/>
            </a:pPr>
            <a:endParaRPr lang="en-US" sz="3200">
              <a:solidFill>
                <a:srgbClr val="FFFFFF"/>
              </a:solidFill>
              <a:latin typeface="Noto IKEA Latin"/>
            </a:endParaRPr>
          </a:p>
        </p:txBody>
      </p:sp>
      <p:sp>
        <p:nvSpPr>
          <p:cNvPr id="33" name="Oval 32">
            <a:extLst>
              <a:ext uri="{FF2B5EF4-FFF2-40B4-BE49-F238E27FC236}">
                <a16:creationId xmlns:a16="http://schemas.microsoft.com/office/drawing/2014/main" id="{05E46749-5688-DD43-18E9-2EA554D8961C}"/>
              </a:ext>
            </a:extLst>
          </p:cNvPr>
          <p:cNvSpPr/>
          <p:nvPr/>
        </p:nvSpPr>
        <p:spPr>
          <a:xfrm>
            <a:off x="9340756" y="6881032"/>
            <a:ext cx="1360081" cy="1360081"/>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algn="ctr" defTabSz="1828573">
              <a:defRPr/>
            </a:pPr>
            <a:endParaRPr lang="en-US" sz="3200">
              <a:solidFill>
                <a:srgbClr val="FFFFFF"/>
              </a:solidFill>
              <a:latin typeface="Noto IKEA Latin"/>
            </a:endParaRPr>
          </a:p>
        </p:txBody>
      </p:sp>
      <p:sp>
        <p:nvSpPr>
          <p:cNvPr id="34" name="Oval 33">
            <a:extLst>
              <a:ext uri="{FF2B5EF4-FFF2-40B4-BE49-F238E27FC236}">
                <a16:creationId xmlns:a16="http://schemas.microsoft.com/office/drawing/2014/main" id="{F484C840-AC57-F409-5D2D-9763C50D3466}"/>
              </a:ext>
            </a:extLst>
          </p:cNvPr>
          <p:cNvSpPr/>
          <p:nvPr/>
        </p:nvSpPr>
        <p:spPr>
          <a:xfrm>
            <a:off x="13397633" y="6902294"/>
            <a:ext cx="1360081" cy="1360081"/>
          </a:xfrm>
          <a:prstGeom prst="ellipse">
            <a:avLst/>
          </a:prstGeom>
          <a:solidFill>
            <a:srgbClr val="8000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algn="ctr" defTabSz="1828573">
              <a:defRPr/>
            </a:pPr>
            <a:endParaRPr lang="en-US" sz="3200">
              <a:solidFill>
                <a:srgbClr val="FFFFFF"/>
              </a:solidFill>
              <a:latin typeface="Noto IKEA Latin"/>
            </a:endParaRPr>
          </a:p>
        </p:txBody>
      </p:sp>
      <p:sp>
        <p:nvSpPr>
          <p:cNvPr id="35" name="Oval 34">
            <a:extLst>
              <a:ext uri="{FF2B5EF4-FFF2-40B4-BE49-F238E27FC236}">
                <a16:creationId xmlns:a16="http://schemas.microsoft.com/office/drawing/2014/main" id="{8232C70A-BCC9-C500-4D94-1ECC5B0F648F}"/>
              </a:ext>
            </a:extLst>
          </p:cNvPr>
          <p:cNvSpPr/>
          <p:nvPr/>
        </p:nvSpPr>
        <p:spPr>
          <a:xfrm>
            <a:off x="17231127" y="6902294"/>
            <a:ext cx="1360081" cy="1360081"/>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algn="ctr" defTabSz="1828573">
              <a:defRPr/>
            </a:pPr>
            <a:endParaRPr lang="en-US" sz="3200">
              <a:solidFill>
                <a:srgbClr val="FFFFFF"/>
              </a:solidFill>
              <a:latin typeface="Noto IKEA Latin"/>
            </a:endParaRPr>
          </a:p>
        </p:txBody>
      </p:sp>
      <p:sp>
        <p:nvSpPr>
          <p:cNvPr id="36" name="Oval 35">
            <a:extLst>
              <a:ext uri="{FF2B5EF4-FFF2-40B4-BE49-F238E27FC236}">
                <a16:creationId xmlns:a16="http://schemas.microsoft.com/office/drawing/2014/main" id="{F7291E90-2AD3-4823-847B-0767321A4E08}"/>
              </a:ext>
            </a:extLst>
          </p:cNvPr>
          <p:cNvSpPr/>
          <p:nvPr/>
        </p:nvSpPr>
        <p:spPr>
          <a:xfrm>
            <a:off x="20378601" y="6837721"/>
            <a:ext cx="1360081" cy="1360081"/>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algn="ctr" defTabSz="1828573">
              <a:defRPr/>
            </a:pPr>
            <a:endParaRPr lang="en-US" sz="3200">
              <a:solidFill>
                <a:srgbClr val="FFFFFF"/>
              </a:solidFill>
              <a:latin typeface="Noto IKEA Latin"/>
            </a:endParaRPr>
          </a:p>
        </p:txBody>
      </p:sp>
      <p:sp>
        <p:nvSpPr>
          <p:cNvPr id="43" name="TextBox 42">
            <a:extLst>
              <a:ext uri="{FF2B5EF4-FFF2-40B4-BE49-F238E27FC236}">
                <a16:creationId xmlns:a16="http://schemas.microsoft.com/office/drawing/2014/main" id="{1F67F3F3-DDB3-2648-732F-2B1258EDEA75}"/>
              </a:ext>
            </a:extLst>
          </p:cNvPr>
          <p:cNvSpPr txBox="1"/>
          <p:nvPr/>
        </p:nvSpPr>
        <p:spPr>
          <a:xfrm>
            <a:off x="18123908" y="2894601"/>
            <a:ext cx="5487271" cy="954107"/>
          </a:xfrm>
          <a:prstGeom prst="rect">
            <a:avLst/>
          </a:prstGeom>
          <a:noFill/>
        </p:spPr>
        <p:txBody>
          <a:bodyPr wrap="square">
            <a:spAutoFit/>
          </a:bodyPr>
          <a:lstStyle/>
          <a:p>
            <a:pPr defTabSz="1828573">
              <a:defRPr/>
            </a:pPr>
            <a:r>
              <a:rPr lang="en-US" sz="2800" b="1">
                <a:solidFill>
                  <a:srgbClr val="000000"/>
                </a:solidFill>
                <a:latin typeface="Noto IKEA Latin"/>
              </a:rPr>
              <a:t>Service Order signed</a:t>
            </a:r>
            <a:br>
              <a:rPr lang="en-US" sz="2800" b="1">
                <a:solidFill>
                  <a:srgbClr val="000000"/>
                </a:solidFill>
                <a:latin typeface="Noto IKEA Latin"/>
              </a:rPr>
            </a:br>
            <a:endParaRPr lang="en-US" sz="2800" b="1">
              <a:solidFill>
                <a:srgbClr val="000000"/>
              </a:solidFill>
              <a:latin typeface="Noto IKEA Latin"/>
            </a:endParaRPr>
          </a:p>
        </p:txBody>
      </p:sp>
      <p:sp>
        <p:nvSpPr>
          <p:cNvPr id="3" name="TextBox 2">
            <a:extLst>
              <a:ext uri="{FF2B5EF4-FFF2-40B4-BE49-F238E27FC236}">
                <a16:creationId xmlns:a16="http://schemas.microsoft.com/office/drawing/2014/main" id="{95E1340E-3E3D-6ED5-40B5-2C014B94A62E}"/>
              </a:ext>
            </a:extLst>
          </p:cNvPr>
          <p:cNvSpPr txBox="1"/>
          <p:nvPr/>
        </p:nvSpPr>
        <p:spPr>
          <a:xfrm>
            <a:off x="7929770" y="10963060"/>
            <a:ext cx="5335625" cy="1661993"/>
          </a:xfrm>
          <a:prstGeom prst="rect">
            <a:avLst/>
          </a:prstGeom>
          <a:noFill/>
        </p:spPr>
        <p:txBody>
          <a:bodyPr wrap="square">
            <a:spAutoFit/>
          </a:bodyPr>
          <a:lstStyle/>
          <a:p>
            <a:pPr marL="285750" indent="-285750" defTabSz="914354" eaLnBrk="0" fontAlgn="base" hangingPunct="0">
              <a:spcBef>
                <a:spcPct val="0"/>
              </a:spcBef>
              <a:spcAft>
                <a:spcPct val="0"/>
              </a:spcAft>
              <a:buFont typeface="Arial" panose="020B0604020202020204" pitchFamily="34" charset="0"/>
              <a:buChar char="•"/>
            </a:pPr>
            <a:r>
              <a:rPr lang="en-US" sz="1800">
                <a:solidFill>
                  <a:srgbClr val="000000"/>
                </a:solidFill>
                <a:latin typeface="+mj-lt"/>
              </a:rPr>
              <a:t>Evaluate and assess the request in terms of</a:t>
            </a:r>
          </a:p>
          <a:p>
            <a:pPr marL="612000" lvl="1" indent="-285750" defTabSz="914354" eaLnBrk="0" fontAlgn="base" hangingPunct="0">
              <a:spcBef>
                <a:spcPct val="0"/>
              </a:spcBef>
              <a:spcAft>
                <a:spcPct val="0"/>
              </a:spcAft>
              <a:buFont typeface="Arial" panose="020B0604020202020204" pitchFamily="34" charset="0"/>
              <a:buChar char="•"/>
            </a:pPr>
            <a:r>
              <a:rPr lang="en-US" sz="1400">
                <a:solidFill>
                  <a:srgbClr val="000000"/>
                </a:solidFill>
                <a:latin typeface="+mj-lt"/>
              </a:rPr>
              <a:t>Approved Scope</a:t>
            </a:r>
          </a:p>
          <a:p>
            <a:pPr marL="612000" lvl="1" indent="-285750" defTabSz="914354" eaLnBrk="0" fontAlgn="base" hangingPunct="0">
              <a:spcBef>
                <a:spcPct val="0"/>
              </a:spcBef>
              <a:spcAft>
                <a:spcPct val="0"/>
              </a:spcAft>
              <a:buFont typeface="Arial" panose="020B0604020202020204" pitchFamily="34" charset="0"/>
              <a:buChar char="•"/>
            </a:pPr>
            <a:r>
              <a:rPr lang="en-US" sz="1400">
                <a:solidFill>
                  <a:srgbClr val="000000"/>
                </a:solidFill>
                <a:latin typeface="+mj-lt"/>
              </a:rPr>
              <a:t>Defined Timelines</a:t>
            </a:r>
          </a:p>
          <a:p>
            <a:pPr marL="612000" lvl="1" indent="-285750" defTabSz="914354" eaLnBrk="0" fontAlgn="base" hangingPunct="0">
              <a:spcBef>
                <a:spcPct val="0"/>
              </a:spcBef>
              <a:spcAft>
                <a:spcPct val="0"/>
              </a:spcAft>
              <a:buFont typeface="Arial" panose="020B0604020202020204" pitchFamily="34" charset="0"/>
              <a:buChar char="•"/>
            </a:pPr>
            <a:r>
              <a:rPr lang="en-US" sz="1400">
                <a:solidFill>
                  <a:srgbClr val="000000"/>
                </a:solidFill>
                <a:latin typeface="+mj-lt"/>
              </a:rPr>
              <a:t>Named Resource</a:t>
            </a:r>
          </a:p>
          <a:p>
            <a:pPr marL="612000" lvl="1" indent="-285750" defTabSz="914354" eaLnBrk="0" fontAlgn="base" hangingPunct="0">
              <a:spcBef>
                <a:spcPct val="0"/>
              </a:spcBef>
              <a:spcAft>
                <a:spcPct val="0"/>
              </a:spcAft>
              <a:buFont typeface="Arial" panose="020B0604020202020204" pitchFamily="34" charset="0"/>
              <a:buChar char="•"/>
            </a:pPr>
            <a:r>
              <a:rPr lang="en-US" sz="1400">
                <a:solidFill>
                  <a:srgbClr val="000000"/>
                </a:solidFill>
                <a:latin typeface="+mj-lt"/>
              </a:rPr>
              <a:t>Costs confirmation</a:t>
            </a:r>
          </a:p>
          <a:p>
            <a:pPr marL="612000" lvl="1" indent="-285750" defTabSz="914354" eaLnBrk="0" fontAlgn="base" hangingPunct="0">
              <a:spcBef>
                <a:spcPct val="0"/>
              </a:spcBef>
              <a:spcAft>
                <a:spcPct val="0"/>
              </a:spcAft>
              <a:buFont typeface="Arial" panose="020B0604020202020204" pitchFamily="34" charset="0"/>
              <a:buChar char="•"/>
            </a:pPr>
            <a:r>
              <a:rPr lang="en-US" sz="1400">
                <a:solidFill>
                  <a:srgbClr val="000000"/>
                </a:solidFill>
                <a:latin typeface="+mj-lt"/>
              </a:rPr>
              <a:t>Business Owner agreement</a:t>
            </a:r>
          </a:p>
          <a:p>
            <a:pPr marL="612000" lvl="1" indent="-285750" defTabSz="914354" eaLnBrk="0" fontAlgn="base" hangingPunct="0">
              <a:spcBef>
                <a:spcPct val="0"/>
              </a:spcBef>
              <a:spcAft>
                <a:spcPct val="0"/>
              </a:spcAft>
              <a:buFont typeface="Arial" panose="020B0604020202020204" pitchFamily="34" charset="0"/>
              <a:buChar char="•"/>
            </a:pPr>
            <a:r>
              <a:rPr lang="en-US" sz="1400">
                <a:solidFill>
                  <a:srgbClr val="000000"/>
                </a:solidFill>
                <a:latin typeface="+mj-lt"/>
              </a:rPr>
              <a:t>Steering</a:t>
            </a:r>
          </a:p>
        </p:txBody>
      </p:sp>
      <p:sp>
        <p:nvSpPr>
          <p:cNvPr id="21" name="TextBox 20">
            <a:extLst>
              <a:ext uri="{FF2B5EF4-FFF2-40B4-BE49-F238E27FC236}">
                <a16:creationId xmlns:a16="http://schemas.microsoft.com/office/drawing/2014/main" id="{118DEDAE-62DD-D81B-0B2C-87E8C4FA2285}"/>
              </a:ext>
            </a:extLst>
          </p:cNvPr>
          <p:cNvSpPr txBox="1"/>
          <p:nvPr/>
        </p:nvSpPr>
        <p:spPr>
          <a:xfrm>
            <a:off x="987825" y="8969972"/>
            <a:ext cx="45719" cy="45719"/>
          </a:xfrm>
          <a:prstGeom prst="rect">
            <a:avLst/>
          </a:prstGeom>
          <a:noFill/>
        </p:spPr>
        <p:txBody>
          <a:bodyPr wrap="square" rtlCol="0">
            <a:noAutofit/>
          </a:bodyPr>
          <a:lstStyle/>
          <a:p>
            <a:pPr algn="l"/>
            <a:endParaRPr lang="sv-SE" sz="3200"/>
          </a:p>
        </p:txBody>
      </p:sp>
      <p:sp>
        <p:nvSpPr>
          <p:cNvPr id="4" name="TextBox 1">
            <a:extLst>
              <a:ext uri="{FF2B5EF4-FFF2-40B4-BE49-F238E27FC236}">
                <a16:creationId xmlns:a16="http://schemas.microsoft.com/office/drawing/2014/main" id="{54123A2E-0494-D2A8-9119-340BE33F87B2}"/>
              </a:ext>
            </a:extLst>
          </p:cNvPr>
          <p:cNvSpPr txBox="1"/>
          <p:nvPr/>
        </p:nvSpPr>
        <p:spPr>
          <a:xfrm>
            <a:off x="5193001" y="4159376"/>
            <a:ext cx="2526131" cy="2031325"/>
          </a:xfrm>
          <a:prstGeom prst="rect">
            <a:avLst/>
          </a:prstGeom>
          <a:noFill/>
        </p:spPr>
        <p:txBody>
          <a:bodyPr wrap="square">
            <a:spAutoFit/>
          </a:bodyPr>
          <a:lstStyle>
            <a:defPPr>
              <a:defRPr lang="en-US"/>
            </a:defPPr>
            <a:lvl1pPr marL="0" algn="l" defTabSz="1828663" rtl="0" eaLnBrk="1" latinLnBrk="0" hangingPunct="1">
              <a:defRPr sz="3600" kern="1200">
                <a:solidFill>
                  <a:schemeClr val="tx1"/>
                </a:solidFill>
                <a:latin typeface="+mn-lt"/>
                <a:ea typeface="+mn-ea"/>
                <a:cs typeface="+mn-cs"/>
              </a:defRPr>
            </a:lvl1pPr>
            <a:lvl2pPr marL="914332" algn="l" defTabSz="1828663" rtl="0" eaLnBrk="1" latinLnBrk="0" hangingPunct="1">
              <a:defRPr sz="3600" kern="1200">
                <a:solidFill>
                  <a:schemeClr val="tx1"/>
                </a:solidFill>
                <a:latin typeface="+mn-lt"/>
                <a:ea typeface="+mn-ea"/>
                <a:cs typeface="+mn-cs"/>
              </a:defRPr>
            </a:lvl2pPr>
            <a:lvl3pPr marL="1828663" algn="l" defTabSz="1828663" rtl="0" eaLnBrk="1" latinLnBrk="0" hangingPunct="1">
              <a:defRPr sz="3600" kern="1200">
                <a:solidFill>
                  <a:schemeClr val="tx1"/>
                </a:solidFill>
                <a:latin typeface="+mn-lt"/>
                <a:ea typeface="+mn-ea"/>
                <a:cs typeface="+mn-cs"/>
              </a:defRPr>
            </a:lvl3pPr>
            <a:lvl4pPr marL="2742995" algn="l" defTabSz="1828663" rtl="0" eaLnBrk="1" latinLnBrk="0" hangingPunct="1">
              <a:defRPr sz="3600" kern="1200">
                <a:solidFill>
                  <a:schemeClr val="tx1"/>
                </a:solidFill>
                <a:latin typeface="+mn-lt"/>
                <a:ea typeface="+mn-ea"/>
                <a:cs typeface="+mn-cs"/>
              </a:defRPr>
            </a:lvl4pPr>
            <a:lvl5pPr marL="3657325" algn="l" defTabSz="1828663" rtl="0" eaLnBrk="1" latinLnBrk="0" hangingPunct="1">
              <a:defRPr sz="3600" kern="1200">
                <a:solidFill>
                  <a:schemeClr val="tx1"/>
                </a:solidFill>
                <a:latin typeface="+mn-lt"/>
                <a:ea typeface="+mn-ea"/>
                <a:cs typeface="+mn-cs"/>
              </a:defRPr>
            </a:lvl5pPr>
            <a:lvl6pPr marL="4571657" algn="l" defTabSz="1828663" rtl="0" eaLnBrk="1" latinLnBrk="0" hangingPunct="1">
              <a:defRPr sz="3600" kern="1200">
                <a:solidFill>
                  <a:schemeClr val="tx1"/>
                </a:solidFill>
                <a:latin typeface="+mn-lt"/>
                <a:ea typeface="+mn-ea"/>
                <a:cs typeface="+mn-cs"/>
              </a:defRPr>
            </a:lvl6pPr>
            <a:lvl7pPr marL="5485988" algn="l" defTabSz="1828663" rtl="0" eaLnBrk="1" latinLnBrk="0" hangingPunct="1">
              <a:defRPr sz="3600" kern="1200">
                <a:solidFill>
                  <a:schemeClr val="tx1"/>
                </a:solidFill>
                <a:latin typeface="+mn-lt"/>
                <a:ea typeface="+mn-ea"/>
                <a:cs typeface="+mn-cs"/>
              </a:defRPr>
            </a:lvl7pPr>
            <a:lvl8pPr marL="6400320" algn="l" defTabSz="1828663" rtl="0" eaLnBrk="1" latinLnBrk="0" hangingPunct="1">
              <a:defRPr sz="3600" kern="1200">
                <a:solidFill>
                  <a:schemeClr val="tx1"/>
                </a:solidFill>
                <a:latin typeface="+mn-lt"/>
                <a:ea typeface="+mn-ea"/>
                <a:cs typeface="+mn-cs"/>
              </a:defRPr>
            </a:lvl8pPr>
            <a:lvl9pPr marL="7314652" algn="l" defTabSz="1828663" rtl="0" eaLnBrk="1" latinLnBrk="0" hangingPunct="1">
              <a:defRPr sz="3600" kern="1200">
                <a:solidFill>
                  <a:schemeClr val="tx1"/>
                </a:solidFill>
                <a:latin typeface="+mn-lt"/>
                <a:ea typeface="+mn-ea"/>
                <a:cs typeface="+mn-cs"/>
              </a:defRPr>
            </a:lvl9pPr>
          </a:lstStyle>
          <a:p>
            <a:pPr marL="285750" indent="-285750" fontAlgn="base">
              <a:buFont typeface="Arial" panose="020B0604020202020204" pitchFamily="34" charset="0"/>
              <a:buChar char="•"/>
            </a:pPr>
            <a:r>
              <a:rPr lang="en-US" sz="1800">
                <a:solidFill>
                  <a:srgbClr val="000000"/>
                </a:solidFill>
                <a:latin typeface="+mj-lt"/>
              </a:rPr>
              <a:t>Purpose of the request </a:t>
            </a:r>
          </a:p>
          <a:p>
            <a:pPr marL="285750" indent="-285750" fontAlgn="base">
              <a:buFont typeface="Arial" panose="020B0604020202020204" pitchFamily="34" charset="0"/>
              <a:buChar char="•"/>
            </a:pPr>
            <a:r>
              <a:rPr lang="en-US" sz="1800">
                <a:solidFill>
                  <a:srgbClr val="000000"/>
                </a:solidFill>
                <a:latin typeface="+mj-lt"/>
              </a:rPr>
              <a:t>Planned scope  </a:t>
            </a:r>
          </a:p>
          <a:p>
            <a:pPr marL="285750" indent="-285750" fontAlgn="base">
              <a:buFont typeface="Arial" panose="020B0604020202020204" pitchFamily="34" charset="0"/>
              <a:buChar char="•"/>
            </a:pPr>
            <a:r>
              <a:rPr lang="en-US" sz="1800">
                <a:solidFill>
                  <a:srgbClr val="000000"/>
                </a:solidFill>
                <a:latin typeface="+mj-lt"/>
              </a:rPr>
              <a:t>What support is requested from the  Innovation Team</a:t>
            </a:r>
            <a:endParaRPr lang="en-US" sz="1800">
              <a:latin typeface="+mj-lt"/>
            </a:endParaRPr>
          </a:p>
        </p:txBody>
      </p:sp>
      <p:grpSp>
        <p:nvGrpSpPr>
          <p:cNvPr id="2" name="Group 1">
            <a:extLst>
              <a:ext uri="{FF2B5EF4-FFF2-40B4-BE49-F238E27FC236}">
                <a16:creationId xmlns:a16="http://schemas.microsoft.com/office/drawing/2014/main" id="{FADEE9C7-8425-1366-3AA5-11D355BA6AE4}"/>
              </a:ext>
            </a:extLst>
          </p:cNvPr>
          <p:cNvGrpSpPr/>
          <p:nvPr/>
        </p:nvGrpSpPr>
        <p:grpSpPr>
          <a:xfrm>
            <a:off x="14340607" y="9616004"/>
            <a:ext cx="5400055" cy="1699957"/>
            <a:chOff x="12933837" y="9616004"/>
            <a:chExt cx="5400055" cy="1699957"/>
          </a:xfrm>
        </p:grpSpPr>
        <p:sp>
          <p:nvSpPr>
            <p:cNvPr id="20" name="TextBox 19">
              <a:extLst>
                <a:ext uri="{FF2B5EF4-FFF2-40B4-BE49-F238E27FC236}">
                  <a16:creationId xmlns:a16="http://schemas.microsoft.com/office/drawing/2014/main" id="{0A1AD39C-FC5E-33F1-DFEC-19B08F8516DA}"/>
                </a:ext>
              </a:extLst>
            </p:cNvPr>
            <p:cNvSpPr txBox="1"/>
            <p:nvPr/>
          </p:nvSpPr>
          <p:spPr>
            <a:xfrm>
              <a:off x="12933837" y="9616004"/>
              <a:ext cx="4755252" cy="954101"/>
            </a:xfrm>
            <a:prstGeom prst="rect">
              <a:avLst/>
            </a:prstGeom>
            <a:noFill/>
          </p:spPr>
          <p:txBody>
            <a:bodyPr wrap="square" lIns="91434" tIns="45717" rIns="91434" bIns="45717" anchor="t">
              <a:spAutoFit/>
            </a:bodyPr>
            <a:lstStyle/>
            <a:p>
              <a:pPr defTabSz="1828573">
                <a:defRPr/>
              </a:pPr>
              <a:r>
                <a:rPr lang="en-US" altLang="en-US" sz="2800" b="1">
                  <a:solidFill>
                    <a:srgbClr val="000000"/>
                  </a:solidFill>
                  <a:latin typeface="Noto IKEA Latin"/>
                </a:rPr>
                <a:t>Resource Allocation for Project </a:t>
              </a:r>
            </a:p>
          </p:txBody>
        </p:sp>
        <p:sp>
          <p:nvSpPr>
            <p:cNvPr id="13" name="TextBox 12">
              <a:extLst>
                <a:ext uri="{FF2B5EF4-FFF2-40B4-BE49-F238E27FC236}">
                  <a16:creationId xmlns:a16="http://schemas.microsoft.com/office/drawing/2014/main" id="{67FBE034-5E5B-EFD7-498C-7E3B207199B1}"/>
                </a:ext>
              </a:extLst>
            </p:cNvPr>
            <p:cNvSpPr txBox="1"/>
            <p:nvPr/>
          </p:nvSpPr>
          <p:spPr>
            <a:xfrm>
              <a:off x="12998267" y="10669630"/>
              <a:ext cx="5335625" cy="646331"/>
            </a:xfrm>
            <a:prstGeom prst="rect">
              <a:avLst/>
            </a:prstGeom>
            <a:noFill/>
          </p:spPr>
          <p:txBody>
            <a:bodyPr wrap="square">
              <a:spAutoFit/>
            </a:bodyPr>
            <a:lstStyle/>
            <a:p>
              <a:pPr marL="285750" indent="-285750" defTabSz="914354" eaLnBrk="0" fontAlgn="base" hangingPunct="0">
                <a:spcBef>
                  <a:spcPct val="0"/>
                </a:spcBef>
                <a:spcAft>
                  <a:spcPct val="0"/>
                </a:spcAft>
                <a:buFont typeface="Arial" panose="020B0604020202020204" pitchFamily="34" charset="0"/>
                <a:buChar char="•"/>
              </a:pPr>
              <a:r>
                <a:rPr lang="en-US" sz="1800">
                  <a:solidFill>
                    <a:srgbClr val="000000"/>
                  </a:solidFill>
                  <a:latin typeface="+mj-lt"/>
                </a:rPr>
                <a:t>Project leader and members</a:t>
              </a:r>
            </a:p>
            <a:p>
              <a:pPr marL="285750" indent="-285750" defTabSz="914354" eaLnBrk="0" fontAlgn="base" hangingPunct="0">
                <a:spcBef>
                  <a:spcPct val="0"/>
                </a:spcBef>
                <a:spcAft>
                  <a:spcPct val="0"/>
                </a:spcAft>
                <a:buFont typeface="Arial" panose="020B0604020202020204" pitchFamily="34" charset="0"/>
                <a:buChar char="•"/>
              </a:pPr>
              <a:r>
                <a:rPr lang="en-US" sz="1800">
                  <a:solidFill>
                    <a:srgbClr val="000000"/>
                  </a:solidFill>
                  <a:latin typeface="+mj-lt"/>
                </a:rPr>
                <a:t>Lab resources (incl. space)</a:t>
              </a:r>
              <a:endParaRPr lang="en-US" sz="1400">
                <a:solidFill>
                  <a:srgbClr val="000000"/>
                </a:solidFill>
                <a:latin typeface="+mj-lt"/>
              </a:endParaRPr>
            </a:p>
          </p:txBody>
        </p:sp>
      </p:grpSp>
      <p:pic>
        <p:nvPicPr>
          <p:cNvPr id="42" name="Graphic 41" descr="Lightbulb and gear outline">
            <a:extLst>
              <a:ext uri="{FF2B5EF4-FFF2-40B4-BE49-F238E27FC236}">
                <a16:creationId xmlns:a16="http://schemas.microsoft.com/office/drawing/2014/main" id="{C1E35FCC-1C5E-7425-461B-08537B06CD9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flipV="1">
            <a:off x="99111" y="7218565"/>
            <a:ext cx="746330" cy="883615"/>
          </a:xfrm>
          <a:prstGeom prst="rect">
            <a:avLst/>
          </a:prstGeom>
        </p:spPr>
      </p:pic>
      <p:sp>
        <p:nvSpPr>
          <p:cNvPr id="44" name="Oval 43">
            <a:extLst>
              <a:ext uri="{FF2B5EF4-FFF2-40B4-BE49-F238E27FC236}">
                <a16:creationId xmlns:a16="http://schemas.microsoft.com/office/drawing/2014/main" id="{F1A20A63-57D8-5C0D-7D72-1D8756D3BBA8}"/>
              </a:ext>
            </a:extLst>
          </p:cNvPr>
          <p:cNvSpPr/>
          <p:nvPr/>
        </p:nvSpPr>
        <p:spPr>
          <a:xfrm>
            <a:off x="2533580" y="6981440"/>
            <a:ext cx="1360080" cy="1360081"/>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algn="ctr" defTabSz="1828573">
              <a:defRPr/>
            </a:pPr>
            <a:endParaRPr lang="en-US" sz="3200">
              <a:solidFill>
                <a:srgbClr val="FFFFFF"/>
              </a:solidFill>
              <a:latin typeface="Noto IKEA Latin"/>
            </a:endParaRPr>
          </a:p>
        </p:txBody>
      </p:sp>
      <p:cxnSp>
        <p:nvCxnSpPr>
          <p:cNvPr id="45" name="Straight Connector 44">
            <a:extLst>
              <a:ext uri="{FF2B5EF4-FFF2-40B4-BE49-F238E27FC236}">
                <a16:creationId xmlns:a16="http://schemas.microsoft.com/office/drawing/2014/main" id="{7AED2AE2-78EF-DCE4-0CEF-06EC2120B532}"/>
              </a:ext>
            </a:extLst>
          </p:cNvPr>
          <p:cNvCxnSpPr>
            <a:cxnSpLocks/>
          </p:cNvCxnSpPr>
          <p:nvPr/>
        </p:nvCxnSpPr>
        <p:spPr>
          <a:xfrm>
            <a:off x="3209239" y="4718447"/>
            <a:ext cx="0" cy="2262993"/>
          </a:xfrm>
          <a:prstGeom prst="line">
            <a:avLst/>
          </a:prstGeom>
          <a:ln w="5715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0E26887-209F-55AD-7012-DE9B64EA17CA}"/>
              </a:ext>
            </a:extLst>
          </p:cNvPr>
          <p:cNvCxnSpPr>
            <a:cxnSpLocks/>
          </p:cNvCxnSpPr>
          <p:nvPr/>
        </p:nvCxnSpPr>
        <p:spPr>
          <a:xfrm>
            <a:off x="3209239" y="2832620"/>
            <a:ext cx="0" cy="1885827"/>
          </a:xfrm>
          <a:prstGeom prst="line">
            <a:avLst/>
          </a:prstGeom>
          <a:ln w="76200">
            <a:solidFill>
              <a:srgbClr val="FF0000"/>
            </a:solidFill>
          </a:ln>
        </p:spPr>
        <p:style>
          <a:lnRef idx="3">
            <a:schemeClr val="dk1"/>
          </a:lnRef>
          <a:fillRef idx="0">
            <a:schemeClr val="dk1"/>
          </a:fillRef>
          <a:effectRef idx="2">
            <a:schemeClr val="dk1"/>
          </a:effectRef>
          <a:fontRef idx="minor">
            <a:schemeClr val="tx1"/>
          </a:fontRef>
        </p:style>
      </p:cxnSp>
      <p:sp>
        <p:nvSpPr>
          <p:cNvPr id="48" name="TextBox 47">
            <a:extLst>
              <a:ext uri="{FF2B5EF4-FFF2-40B4-BE49-F238E27FC236}">
                <a16:creationId xmlns:a16="http://schemas.microsoft.com/office/drawing/2014/main" id="{08974C61-1379-FA38-9E56-A9494435BD2D}"/>
              </a:ext>
            </a:extLst>
          </p:cNvPr>
          <p:cNvSpPr txBox="1"/>
          <p:nvPr/>
        </p:nvSpPr>
        <p:spPr>
          <a:xfrm>
            <a:off x="2455849" y="1795398"/>
            <a:ext cx="2526132" cy="954107"/>
          </a:xfrm>
          <a:prstGeom prst="rect">
            <a:avLst/>
          </a:prstGeom>
          <a:noFill/>
        </p:spPr>
        <p:txBody>
          <a:bodyPr wrap="square">
            <a:spAutoFit/>
          </a:bodyPr>
          <a:lstStyle/>
          <a:p>
            <a:pPr defTabSz="1828573">
              <a:defRPr/>
            </a:pPr>
            <a:r>
              <a:rPr lang="en-US" sz="2800" b="1">
                <a:solidFill>
                  <a:srgbClr val="000000"/>
                </a:solidFill>
                <a:latin typeface="Noto IKEA Latin"/>
              </a:rPr>
              <a:t>DIN Approval</a:t>
            </a:r>
          </a:p>
        </p:txBody>
      </p:sp>
      <p:cxnSp>
        <p:nvCxnSpPr>
          <p:cNvPr id="49" name="Straight Connector 48">
            <a:extLst>
              <a:ext uri="{FF2B5EF4-FFF2-40B4-BE49-F238E27FC236}">
                <a16:creationId xmlns:a16="http://schemas.microsoft.com/office/drawing/2014/main" id="{C38CA2CC-27A5-EA42-D12F-3F11431C6128}"/>
              </a:ext>
            </a:extLst>
          </p:cNvPr>
          <p:cNvCxnSpPr>
            <a:cxnSpLocks/>
          </p:cNvCxnSpPr>
          <p:nvPr/>
        </p:nvCxnSpPr>
        <p:spPr>
          <a:xfrm>
            <a:off x="1487355" y="7837255"/>
            <a:ext cx="0" cy="2262993"/>
          </a:xfrm>
          <a:prstGeom prst="line">
            <a:avLst/>
          </a:prstGeom>
          <a:ln w="5715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CBFFECE3-2B7E-1DB6-DAF4-F5BCA5CB058E}"/>
              </a:ext>
            </a:extLst>
          </p:cNvPr>
          <p:cNvSpPr txBox="1"/>
          <p:nvPr/>
        </p:nvSpPr>
        <p:spPr>
          <a:xfrm>
            <a:off x="1648253" y="9520226"/>
            <a:ext cx="5427750" cy="1815882"/>
          </a:xfrm>
          <a:prstGeom prst="rect">
            <a:avLst/>
          </a:prstGeom>
          <a:noFill/>
        </p:spPr>
        <p:txBody>
          <a:bodyPr wrap="square">
            <a:spAutoFit/>
          </a:bodyPr>
          <a:lstStyle/>
          <a:p>
            <a:pPr defTabSz="1828573">
              <a:defRPr/>
            </a:pPr>
            <a:r>
              <a:rPr lang="sv-SE" sz="2800" b="1">
                <a:solidFill>
                  <a:srgbClr val="000000"/>
                </a:solidFill>
                <a:latin typeface="Noto IKEA Latin"/>
              </a:rPr>
              <a:t>Pre-Discovery Meeting, Innovation Leaders and customer</a:t>
            </a:r>
            <a:br>
              <a:rPr lang="en-US" sz="2800" b="1">
                <a:solidFill>
                  <a:srgbClr val="000000"/>
                </a:solidFill>
                <a:latin typeface="Noto IKEA Latin"/>
              </a:rPr>
            </a:br>
            <a:endParaRPr lang="en-US" sz="2800" b="1">
              <a:solidFill>
                <a:srgbClr val="000000"/>
              </a:solidFill>
              <a:latin typeface="Noto IKEA Latin"/>
            </a:endParaRPr>
          </a:p>
        </p:txBody>
      </p:sp>
      <p:sp>
        <p:nvSpPr>
          <p:cNvPr id="52" name="Oval 51">
            <a:extLst>
              <a:ext uri="{FF2B5EF4-FFF2-40B4-BE49-F238E27FC236}">
                <a16:creationId xmlns:a16="http://schemas.microsoft.com/office/drawing/2014/main" id="{4C7840EB-6DA0-2ED2-6EFE-C2DBB357CF56}"/>
              </a:ext>
            </a:extLst>
          </p:cNvPr>
          <p:cNvSpPr/>
          <p:nvPr/>
        </p:nvSpPr>
        <p:spPr>
          <a:xfrm>
            <a:off x="806885" y="7026978"/>
            <a:ext cx="1360081" cy="1360081"/>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algn="ctr" defTabSz="1828573">
              <a:defRPr/>
            </a:pPr>
            <a:endParaRPr lang="en-US" sz="3200">
              <a:solidFill>
                <a:srgbClr val="FFFFFF"/>
              </a:solidFill>
              <a:latin typeface="Noto IKEA Latin"/>
            </a:endParaRPr>
          </a:p>
        </p:txBody>
      </p:sp>
      <p:sp>
        <p:nvSpPr>
          <p:cNvPr id="53" name="TextBox 52">
            <a:extLst>
              <a:ext uri="{FF2B5EF4-FFF2-40B4-BE49-F238E27FC236}">
                <a16:creationId xmlns:a16="http://schemas.microsoft.com/office/drawing/2014/main" id="{15927D0F-96ED-E51B-3D17-32CFB93E35E9}"/>
              </a:ext>
            </a:extLst>
          </p:cNvPr>
          <p:cNvSpPr txBox="1"/>
          <p:nvPr/>
        </p:nvSpPr>
        <p:spPr>
          <a:xfrm>
            <a:off x="1614979" y="10918998"/>
            <a:ext cx="5335625" cy="1661993"/>
          </a:xfrm>
          <a:prstGeom prst="rect">
            <a:avLst/>
          </a:prstGeom>
          <a:noFill/>
        </p:spPr>
        <p:txBody>
          <a:bodyPr wrap="square">
            <a:spAutoFit/>
          </a:bodyPr>
          <a:lstStyle/>
          <a:p>
            <a:pPr marL="285750" indent="-285750" defTabSz="914354" eaLnBrk="0" fontAlgn="base" hangingPunct="0">
              <a:spcBef>
                <a:spcPct val="0"/>
              </a:spcBef>
              <a:spcAft>
                <a:spcPct val="0"/>
              </a:spcAft>
              <a:buFont typeface="Arial" panose="020B0604020202020204" pitchFamily="34" charset="0"/>
              <a:buChar char="•"/>
            </a:pPr>
            <a:r>
              <a:rPr lang="en-US" sz="1800">
                <a:solidFill>
                  <a:srgbClr val="000000"/>
                </a:solidFill>
                <a:latin typeface="+mj-lt"/>
              </a:rPr>
              <a:t>Evaluate and assess the request in terms of</a:t>
            </a:r>
          </a:p>
          <a:p>
            <a:pPr marL="612000" lvl="1" indent="-285750" defTabSz="914354" eaLnBrk="0" fontAlgn="base" hangingPunct="0">
              <a:spcBef>
                <a:spcPct val="0"/>
              </a:spcBef>
              <a:spcAft>
                <a:spcPct val="0"/>
              </a:spcAft>
              <a:buFont typeface="Arial" panose="020B0604020202020204" pitchFamily="34" charset="0"/>
              <a:buChar char="•"/>
            </a:pPr>
            <a:r>
              <a:rPr lang="en-US" sz="1400">
                <a:solidFill>
                  <a:srgbClr val="000000"/>
                </a:solidFill>
                <a:latin typeface="+mj-lt"/>
              </a:rPr>
              <a:t>Scope</a:t>
            </a:r>
          </a:p>
          <a:p>
            <a:pPr marL="612000" lvl="1" indent="-285750" defTabSz="914354" eaLnBrk="0" fontAlgn="base" hangingPunct="0">
              <a:spcBef>
                <a:spcPct val="0"/>
              </a:spcBef>
              <a:spcAft>
                <a:spcPct val="0"/>
              </a:spcAft>
              <a:buFont typeface="Arial" panose="020B0604020202020204" pitchFamily="34" charset="0"/>
              <a:buChar char="•"/>
            </a:pPr>
            <a:r>
              <a:rPr lang="en-US" sz="1400">
                <a:solidFill>
                  <a:srgbClr val="000000"/>
                </a:solidFill>
                <a:latin typeface="+mj-lt"/>
              </a:rPr>
              <a:t>Method</a:t>
            </a:r>
          </a:p>
          <a:p>
            <a:pPr marL="612000" lvl="1" indent="-285750" defTabSz="914354" eaLnBrk="0" fontAlgn="base" hangingPunct="0">
              <a:spcBef>
                <a:spcPct val="0"/>
              </a:spcBef>
              <a:spcAft>
                <a:spcPct val="0"/>
              </a:spcAft>
              <a:buFont typeface="Arial" panose="020B0604020202020204" pitchFamily="34" charset="0"/>
              <a:buChar char="•"/>
            </a:pPr>
            <a:r>
              <a:rPr lang="en-US" sz="1400">
                <a:solidFill>
                  <a:srgbClr val="000000"/>
                </a:solidFill>
                <a:latin typeface="+mj-lt"/>
              </a:rPr>
              <a:t>Approximate Timelines</a:t>
            </a:r>
          </a:p>
          <a:p>
            <a:pPr marL="612000" lvl="1" indent="-285750" defTabSz="914354" eaLnBrk="0" fontAlgn="base" hangingPunct="0">
              <a:spcBef>
                <a:spcPct val="0"/>
              </a:spcBef>
              <a:spcAft>
                <a:spcPct val="0"/>
              </a:spcAft>
              <a:buFont typeface="Arial" panose="020B0604020202020204" pitchFamily="34" charset="0"/>
              <a:buChar char="•"/>
            </a:pPr>
            <a:r>
              <a:rPr lang="en-US" sz="1400">
                <a:solidFill>
                  <a:srgbClr val="000000"/>
                </a:solidFill>
                <a:latin typeface="+mj-lt"/>
              </a:rPr>
              <a:t>Needed resources</a:t>
            </a:r>
          </a:p>
          <a:p>
            <a:pPr marL="612000" lvl="1" indent="-285750" defTabSz="914354" eaLnBrk="0" fontAlgn="base" hangingPunct="0">
              <a:spcBef>
                <a:spcPct val="0"/>
              </a:spcBef>
              <a:spcAft>
                <a:spcPct val="0"/>
              </a:spcAft>
              <a:buFont typeface="Arial" panose="020B0604020202020204" pitchFamily="34" charset="0"/>
              <a:buChar char="•"/>
            </a:pPr>
            <a:r>
              <a:rPr lang="en-US" sz="1400">
                <a:solidFill>
                  <a:srgbClr val="000000"/>
                </a:solidFill>
                <a:latin typeface="+mj-lt"/>
              </a:rPr>
              <a:t>Estimated costs</a:t>
            </a:r>
          </a:p>
          <a:p>
            <a:pPr marL="612000" lvl="1" indent="-285750" defTabSz="914354" eaLnBrk="0" fontAlgn="base" hangingPunct="0">
              <a:spcBef>
                <a:spcPct val="0"/>
              </a:spcBef>
              <a:spcAft>
                <a:spcPct val="0"/>
              </a:spcAft>
              <a:buFont typeface="Arial" panose="020B0604020202020204" pitchFamily="34" charset="0"/>
              <a:buChar char="•"/>
            </a:pPr>
            <a:r>
              <a:rPr lang="en-US" sz="1400">
                <a:solidFill>
                  <a:srgbClr val="000000"/>
                </a:solidFill>
                <a:latin typeface="+mj-lt"/>
              </a:rPr>
              <a:t>Potential risks</a:t>
            </a:r>
          </a:p>
        </p:txBody>
      </p:sp>
      <p:cxnSp>
        <p:nvCxnSpPr>
          <p:cNvPr id="54" name="Straight Connector 53">
            <a:extLst>
              <a:ext uri="{FF2B5EF4-FFF2-40B4-BE49-F238E27FC236}">
                <a16:creationId xmlns:a16="http://schemas.microsoft.com/office/drawing/2014/main" id="{F0B03D37-82C9-7C0C-F16C-4D9638B62459}"/>
              </a:ext>
            </a:extLst>
          </p:cNvPr>
          <p:cNvCxnSpPr>
            <a:cxnSpLocks/>
          </p:cNvCxnSpPr>
          <p:nvPr/>
        </p:nvCxnSpPr>
        <p:spPr>
          <a:xfrm>
            <a:off x="1493492" y="9689716"/>
            <a:ext cx="0" cy="1885827"/>
          </a:xfrm>
          <a:prstGeom prst="line">
            <a:avLst/>
          </a:prstGeom>
          <a:ln w="76200">
            <a:solidFill>
              <a:schemeClr val="accent6"/>
            </a:solidFill>
          </a:ln>
        </p:spPr>
        <p:style>
          <a:lnRef idx="3">
            <a:schemeClr val="dk1"/>
          </a:lnRef>
          <a:fillRef idx="0">
            <a:schemeClr val="dk1"/>
          </a:fillRef>
          <a:effectRef idx="2">
            <a:schemeClr val="dk1"/>
          </a:effectRef>
          <a:fontRef idx="minor">
            <a:schemeClr val="tx1"/>
          </a:fontRef>
        </p:style>
      </p:cxnSp>
      <p:sp>
        <p:nvSpPr>
          <p:cNvPr id="55" name="TextBox 54">
            <a:extLst>
              <a:ext uri="{FF2B5EF4-FFF2-40B4-BE49-F238E27FC236}">
                <a16:creationId xmlns:a16="http://schemas.microsoft.com/office/drawing/2014/main" id="{39D07CE7-3C1C-E440-C597-31F3411FE464}"/>
              </a:ext>
            </a:extLst>
          </p:cNvPr>
          <p:cNvSpPr txBox="1"/>
          <p:nvPr/>
        </p:nvSpPr>
        <p:spPr>
          <a:xfrm>
            <a:off x="149750" y="5460195"/>
            <a:ext cx="2219764" cy="1066967"/>
          </a:xfrm>
          <a:prstGeom prst="rect">
            <a:avLst/>
          </a:prstGeom>
          <a:solidFill>
            <a:schemeClr val="bg1">
              <a:lumMod val="95000"/>
            </a:schemeClr>
          </a:solidFill>
        </p:spPr>
        <p:txBody>
          <a:bodyPr wrap="square" rtlCol="0">
            <a:noAutofit/>
          </a:bodyPr>
          <a:lstStyle/>
          <a:p>
            <a:r>
              <a:rPr lang="sv-SE" sz="3200" b="1"/>
              <a:t>BUSINESS NEED</a:t>
            </a:r>
          </a:p>
        </p:txBody>
      </p:sp>
    </p:spTree>
    <p:extLst>
      <p:ext uri="{BB962C8B-B14F-4D97-AF65-F5344CB8AC3E}">
        <p14:creationId xmlns:p14="http://schemas.microsoft.com/office/powerpoint/2010/main" val="1197113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tmM4Ujq0e6FByjEG_2g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KEA Theme">
  <a:themeElements>
    <a:clrScheme name="Custom 2">
      <a:dk1>
        <a:srgbClr val="000000"/>
      </a:dk1>
      <a:lt1>
        <a:srgbClr val="FFFFFF"/>
      </a:lt1>
      <a:dk2>
        <a:srgbClr val="0156A3"/>
      </a:dk2>
      <a:lt2>
        <a:srgbClr val="FFDA00"/>
      </a:lt2>
      <a:accent1>
        <a:srgbClr val="CB0007"/>
      </a:accent1>
      <a:accent2>
        <a:srgbClr val="00863F"/>
      </a:accent2>
      <a:accent3>
        <a:srgbClr val="F16B0C"/>
      </a:accent3>
      <a:accent4>
        <a:srgbClr val="00A0E4"/>
      </a:accent4>
      <a:accent5>
        <a:srgbClr val="E5436C"/>
      </a:accent5>
      <a:accent6>
        <a:srgbClr val="77BE2E"/>
      </a:accent6>
      <a:hlink>
        <a:srgbClr val="6A3C99"/>
      </a:hlink>
      <a:folHlink>
        <a:srgbClr val="D8D9D8"/>
      </a:folHlink>
    </a:clrScheme>
    <a:fontScheme name="IKEA">
      <a:majorFont>
        <a:latin typeface="Noto IKEA Latin"/>
        <a:ea typeface=""/>
        <a:cs typeface=""/>
      </a:majorFont>
      <a:minorFont>
        <a:latin typeface="Noto IKEA Lati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lgn="l">
          <a:defRPr sz="3200" dirty="0" smtClean="0"/>
        </a:defPPr>
      </a:lstStyle>
    </a:txDef>
  </a:objectDefaults>
  <a:extraClrSchemeLst/>
  <a:extLst>
    <a:ext uri="{05A4C25C-085E-4340-85A3-A5531E510DB2}">
      <thm15:themeFamily xmlns:thm15="http://schemas.microsoft.com/office/thememl/2012/main" name="Draft_This is Intralogistics_2023.potx" id="{FC7F2653-424A-431B-85D2-3D4EB5D2CED4}" vid="{FF6DB015-69B6-476A-B9F9-A967977F458F}"/>
    </a:ext>
  </a:extLst>
</a:theme>
</file>

<file path=ppt/theme/theme10.xml><?xml version="1.0" encoding="utf-8"?>
<a:theme xmlns:a="http://schemas.openxmlformats.org/drawingml/2006/main" name="8_IKEA Theme">
  <a:themeElements>
    <a:clrScheme name="Custom 2">
      <a:dk1>
        <a:srgbClr val="000000"/>
      </a:dk1>
      <a:lt1>
        <a:srgbClr val="FFFFFF"/>
      </a:lt1>
      <a:dk2>
        <a:srgbClr val="585958"/>
      </a:dk2>
      <a:lt2>
        <a:srgbClr val="E3E4E2"/>
      </a:lt2>
      <a:accent1>
        <a:srgbClr val="005A9B"/>
      </a:accent1>
      <a:accent2>
        <a:srgbClr val="FFE512"/>
      </a:accent2>
      <a:accent3>
        <a:srgbClr val="DA3D2A"/>
      </a:accent3>
      <a:accent4>
        <a:srgbClr val="84BE41"/>
      </a:accent4>
      <a:accent5>
        <a:srgbClr val="BFC0BE"/>
      </a:accent5>
      <a:accent6>
        <a:srgbClr val="898A89"/>
      </a:accent6>
      <a:hlink>
        <a:srgbClr val="005B9C"/>
      </a:hlink>
      <a:folHlink>
        <a:srgbClr val="002F54"/>
      </a:folHlink>
    </a:clrScheme>
    <a:fontScheme name="IKEA">
      <a:majorFont>
        <a:latin typeface="Noto IKEA Latin"/>
        <a:ea typeface=""/>
        <a:cs typeface=""/>
      </a:majorFont>
      <a:minorFont>
        <a:latin typeface="Noto IKEA Lati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oduct images with price March 2021.potx" id="{20647C72-93AA-4805-B170-385CA82D3EA6}" vid="{E7F13FBF-C5EE-4D3F-9C89-C720C50E5C1E}"/>
    </a:ext>
  </a:extLst>
</a:theme>
</file>

<file path=ppt/theme/theme11.xml><?xml version="1.0" encoding="utf-8"?>
<a:theme xmlns:a="http://schemas.openxmlformats.org/drawingml/2006/main" name="9_IKEA Theme">
  <a:themeElements>
    <a:clrScheme name="Custom 2">
      <a:dk1>
        <a:srgbClr val="000000"/>
      </a:dk1>
      <a:lt1>
        <a:srgbClr val="FFFFFF"/>
      </a:lt1>
      <a:dk2>
        <a:srgbClr val="0156A3"/>
      </a:dk2>
      <a:lt2>
        <a:srgbClr val="FFDA00"/>
      </a:lt2>
      <a:accent1>
        <a:srgbClr val="CB0007"/>
      </a:accent1>
      <a:accent2>
        <a:srgbClr val="00863F"/>
      </a:accent2>
      <a:accent3>
        <a:srgbClr val="F16B0C"/>
      </a:accent3>
      <a:accent4>
        <a:srgbClr val="00A0E4"/>
      </a:accent4>
      <a:accent5>
        <a:srgbClr val="E5436C"/>
      </a:accent5>
      <a:accent6>
        <a:srgbClr val="77BE2E"/>
      </a:accent6>
      <a:hlink>
        <a:srgbClr val="6A3C99"/>
      </a:hlink>
      <a:folHlink>
        <a:srgbClr val="D8D9D8"/>
      </a:folHlink>
    </a:clrScheme>
    <a:fontScheme name="IKEA">
      <a:majorFont>
        <a:latin typeface="Noto IKEA Latin"/>
        <a:ea typeface=""/>
        <a:cs typeface=""/>
      </a:majorFont>
      <a:minorFont>
        <a:latin typeface="Noto IKEA Lati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lgn="l">
          <a:defRPr sz="3200" dirty="0" smtClean="0"/>
        </a:defPPr>
      </a:lstStyle>
    </a:txDef>
  </a:objectDefaults>
  <a:extraClrSchemeLst/>
  <a:extLst>
    <a:ext uri="{05A4C25C-085E-4340-85A3-A5531E510DB2}">
      <thm15:themeFamily xmlns:thm15="http://schemas.microsoft.com/office/thememl/2012/main" name="Supply_PPT_template_2022.potx" id="{1F1E04CD-99AD-4043-BB48-AB5F42AD5C86}" vid="{EB3C666C-0FA9-4EB3-BDDF-B4200E7BB44A}"/>
    </a:ext>
  </a:extLst>
</a:theme>
</file>

<file path=ppt/theme/theme12.xml><?xml version="1.0" encoding="utf-8"?>
<a:theme xmlns:a="http://schemas.openxmlformats.org/drawingml/2006/main" name="2_IKEA Theme">
  <a:themeElements>
    <a:clrScheme name="Custom 2">
      <a:dk1>
        <a:srgbClr val="000000"/>
      </a:dk1>
      <a:lt1>
        <a:srgbClr val="FFFFFF"/>
      </a:lt1>
      <a:dk2>
        <a:srgbClr val="585958"/>
      </a:dk2>
      <a:lt2>
        <a:srgbClr val="E3E4E2"/>
      </a:lt2>
      <a:accent1>
        <a:srgbClr val="005A9B"/>
      </a:accent1>
      <a:accent2>
        <a:srgbClr val="FFE512"/>
      </a:accent2>
      <a:accent3>
        <a:srgbClr val="DA3D2A"/>
      </a:accent3>
      <a:accent4>
        <a:srgbClr val="84BE41"/>
      </a:accent4>
      <a:accent5>
        <a:srgbClr val="BFC0BE"/>
      </a:accent5>
      <a:accent6>
        <a:srgbClr val="898A89"/>
      </a:accent6>
      <a:hlink>
        <a:srgbClr val="005B9C"/>
      </a:hlink>
      <a:folHlink>
        <a:srgbClr val="002F54"/>
      </a:folHlink>
    </a:clrScheme>
    <a:fontScheme name="IKEA">
      <a:majorFont>
        <a:latin typeface="Noto IKEA Latin"/>
        <a:ea typeface=""/>
        <a:cs typeface=""/>
      </a:majorFont>
      <a:minorFont>
        <a:latin typeface="Noto IKEA Lati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IL Template with pictures.pptx" id="{B8D84B9D-951E-4C5E-86B3-0EACC2C0018A}" vid="{CC3F8BE9-33FF-421E-B94F-10BCF76ACB28}"/>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IKEA Theme">
  <a:themeElements>
    <a:clrScheme name="Custom 2">
      <a:dk1>
        <a:srgbClr val="000000"/>
      </a:dk1>
      <a:lt1>
        <a:srgbClr val="FFFFFF"/>
      </a:lt1>
      <a:dk2>
        <a:srgbClr val="0156A3"/>
      </a:dk2>
      <a:lt2>
        <a:srgbClr val="FFDA00"/>
      </a:lt2>
      <a:accent1>
        <a:srgbClr val="CB0007"/>
      </a:accent1>
      <a:accent2>
        <a:srgbClr val="00863F"/>
      </a:accent2>
      <a:accent3>
        <a:srgbClr val="F16B0C"/>
      </a:accent3>
      <a:accent4>
        <a:srgbClr val="00A0E4"/>
      </a:accent4>
      <a:accent5>
        <a:srgbClr val="E5436C"/>
      </a:accent5>
      <a:accent6>
        <a:srgbClr val="77BE2E"/>
      </a:accent6>
      <a:hlink>
        <a:srgbClr val="6A3C99"/>
      </a:hlink>
      <a:folHlink>
        <a:srgbClr val="D8D9D8"/>
      </a:folHlink>
    </a:clrScheme>
    <a:fontScheme name="IKEA">
      <a:majorFont>
        <a:latin typeface="Noto IKEA Latin"/>
        <a:ea typeface=""/>
        <a:cs typeface=""/>
      </a:majorFont>
      <a:minorFont>
        <a:latin typeface="Noto IKEA Lati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lgn="l">
          <a:defRPr sz="3200" dirty="0" smtClean="0"/>
        </a:defPPr>
      </a:lstStyle>
    </a:txDef>
  </a:objectDefaults>
  <a:extraClrSchemeLst/>
  <a:extLst>
    <a:ext uri="{05A4C25C-085E-4340-85A3-A5531E510DB2}">
      <thm15:themeFamily xmlns:thm15="http://schemas.microsoft.com/office/thememl/2012/main" name="Draft_This is Intralogistics_2023.potx" id="{FC7F2653-424A-431B-85D2-3D4EB5D2CED4}" vid="{6F70D15C-8AD1-46A9-8785-ECCB6443B95E}"/>
    </a:ext>
  </a:extLst>
</a:theme>
</file>

<file path=ppt/theme/theme4.xml><?xml version="1.0" encoding="utf-8"?>
<a:theme xmlns:a="http://schemas.openxmlformats.org/drawingml/2006/main" name="6_IKEA Theme">
  <a:themeElements>
    <a:clrScheme name="Custom 2">
      <a:dk1>
        <a:srgbClr val="000000"/>
      </a:dk1>
      <a:lt1>
        <a:srgbClr val="FFFFFF"/>
      </a:lt1>
      <a:dk2>
        <a:srgbClr val="0156A3"/>
      </a:dk2>
      <a:lt2>
        <a:srgbClr val="FFDA00"/>
      </a:lt2>
      <a:accent1>
        <a:srgbClr val="CB0007"/>
      </a:accent1>
      <a:accent2>
        <a:srgbClr val="00863F"/>
      </a:accent2>
      <a:accent3>
        <a:srgbClr val="F16B0C"/>
      </a:accent3>
      <a:accent4>
        <a:srgbClr val="00A0E4"/>
      </a:accent4>
      <a:accent5>
        <a:srgbClr val="E5436C"/>
      </a:accent5>
      <a:accent6>
        <a:srgbClr val="77BE2E"/>
      </a:accent6>
      <a:hlink>
        <a:srgbClr val="6A3C99"/>
      </a:hlink>
      <a:folHlink>
        <a:srgbClr val="D8D9D8"/>
      </a:folHlink>
    </a:clrScheme>
    <a:fontScheme name="IKEA">
      <a:majorFont>
        <a:latin typeface="Noto IKEA Latin"/>
        <a:ea typeface=""/>
        <a:cs typeface=""/>
      </a:majorFont>
      <a:minorFont>
        <a:latin typeface="Noto IKEA Lati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lgn="l">
          <a:defRPr sz="3200" dirty="0" smtClean="0"/>
        </a:defPPr>
      </a:lstStyle>
    </a:txDef>
  </a:objectDefaults>
  <a:extraClrSchemeLst/>
  <a:extLst>
    <a:ext uri="{05A4C25C-085E-4340-85A3-A5531E510DB2}">
      <thm15:themeFamily xmlns:thm15="http://schemas.microsoft.com/office/thememl/2012/main" name="NEW! IL_PPT_template_with pictures_2022.potx" id="{8BC89090-BFDB-4AB2-A9A4-3FB6A232898C}" vid="{2DB75A8A-8630-4E0F-8B95-87CF48617B99}"/>
    </a:ext>
  </a:extLst>
</a:theme>
</file>

<file path=ppt/theme/theme5.xml><?xml version="1.0" encoding="utf-8"?>
<a:theme xmlns:a="http://schemas.openxmlformats.org/drawingml/2006/main" name="7_IKEA Theme">
  <a:themeElements>
    <a:clrScheme name="Custom 2">
      <a:dk1>
        <a:srgbClr val="000000"/>
      </a:dk1>
      <a:lt1>
        <a:srgbClr val="FFFFFF"/>
      </a:lt1>
      <a:dk2>
        <a:srgbClr val="0156A3"/>
      </a:dk2>
      <a:lt2>
        <a:srgbClr val="FFDA00"/>
      </a:lt2>
      <a:accent1>
        <a:srgbClr val="CB0007"/>
      </a:accent1>
      <a:accent2>
        <a:srgbClr val="00863F"/>
      </a:accent2>
      <a:accent3>
        <a:srgbClr val="F16B0C"/>
      </a:accent3>
      <a:accent4>
        <a:srgbClr val="00A0E4"/>
      </a:accent4>
      <a:accent5>
        <a:srgbClr val="E5436C"/>
      </a:accent5>
      <a:accent6>
        <a:srgbClr val="77BE2E"/>
      </a:accent6>
      <a:hlink>
        <a:srgbClr val="6A3C99"/>
      </a:hlink>
      <a:folHlink>
        <a:srgbClr val="D8D9D8"/>
      </a:folHlink>
    </a:clrScheme>
    <a:fontScheme name="IKEA">
      <a:majorFont>
        <a:latin typeface="Noto IKEA Latin"/>
        <a:ea typeface=""/>
        <a:cs typeface=""/>
      </a:majorFont>
      <a:minorFont>
        <a:latin typeface="Noto IKEA Lati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lgn="l">
          <a:defRPr sz="3200" dirty="0" smtClean="0"/>
        </a:defPPr>
      </a:lstStyle>
    </a:txDef>
  </a:objectDefaults>
  <a:extraClrSchemeLst/>
  <a:extLst>
    <a:ext uri="{05A4C25C-085E-4340-85A3-A5531E510DB2}">
      <thm15:themeFamily xmlns:thm15="http://schemas.microsoft.com/office/thememl/2012/main" name="Final_PPT_template_2021.potx" id="{A5826CA1-04D0-490C-B668-5DB79D569418}" vid="{074915DB-A891-4B17-B77F-44CEC6A3AC73}"/>
    </a:ext>
  </a:extLst>
</a:theme>
</file>

<file path=ppt/theme/theme6.xml><?xml version="1.0" encoding="utf-8"?>
<a:theme xmlns:a="http://schemas.openxmlformats.org/drawingml/2006/main" name="IKEA Theme">
  <a:themeElements>
    <a:clrScheme name="Custom 2">
      <a:dk1>
        <a:srgbClr val="000000"/>
      </a:dk1>
      <a:lt1>
        <a:srgbClr val="FFFFFF"/>
      </a:lt1>
      <a:dk2>
        <a:srgbClr val="0156A3"/>
      </a:dk2>
      <a:lt2>
        <a:srgbClr val="FFDA00"/>
      </a:lt2>
      <a:accent1>
        <a:srgbClr val="CB0007"/>
      </a:accent1>
      <a:accent2>
        <a:srgbClr val="00863F"/>
      </a:accent2>
      <a:accent3>
        <a:srgbClr val="F16B0C"/>
      </a:accent3>
      <a:accent4>
        <a:srgbClr val="00A0E4"/>
      </a:accent4>
      <a:accent5>
        <a:srgbClr val="E5436C"/>
      </a:accent5>
      <a:accent6>
        <a:srgbClr val="77BE2E"/>
      </a:accent6>
      <a:hlink>
        <a:srgbClr val="6A3C99"/>
      </a:hlink>
      <a:folHlink>
        <a:srgbClr val="D8D9D8"/>
      </a:folHlink>
    </a:clrScheme>
    <a:fontScheme name="IKEA">
      <a:majorFont>
        <a:latin typeface="Noto IKEA Latin"/>
        <a:ea typeface=""/>
        <a:cs typeface=""/>
      </a:majorFont>
      <a:minorFont>
        <a:latin typeface="Noto IKEA Lati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lgn="l">
          <a:defRPr sz="3200" dirty="0" smtClean="0"/>
        </a:defPPr>
      </a:lstStyle>
    </a:txDef>
  </a:objectDefaults>
  <a:extraClrSchemeLst/>
  <a:extLst>
    <a:ext uri="{05A4C25C-085E-4340-85A3-A5531E510DB2}">
      <thm15:themeFamily xmlns:thm15="http://schemas.microsoft.com/office/thememl/2012/main" name="NEW! IL_PPT_template_with pictures_2022.potx" id="{56798CF1-81D7-48EA-9BB2-FCF567E48B0A}" vid="{AAF15538-D41D-496D-AC98-55A1D4F25A9F}"/>
    </a:ext>
  </a:extLst>
</a:theme>
</file>

<file path=ppt/theme/theme7.xml><?xml version="1.0" encoding="utf-8"?>
<a:theme xmlns:a="http://schemas.openxmlformats.org/drawingml/2006/main" name="Yealy summary">
  <a:themeElements>
    <a:clrScheme name="IKEA Colours by SA">
      <a:dk1>
        <a:srgbClr val="272525"/>
      </a:dk1>
      <a:lt1>
        <a:srgbClr val="FFFFFF"/>
      </a:lt1>
      <a:dk2>
        <a:srgbClr val="036BAD"/>
      </a:dk2>
      <a:lt2>
        <a:srgbClr val="FFFFFF"/>
      </a:lt2>
      <a:accent1>
        <a:srgbClr val="036BAD"/>
      </a:accent1>
      <a:accent2>
        <a:srgbClr val="34B0E6"/>
      </a:accent2>
      <a:accent3>
        <a:srgbClr val="57B846"/>
      </a:accent3>
      <a:accent4>
        <a:srgbClr val="F8E000"/>
      </a:accent4>
      <a:accent5>
        <a:srgbClr val="EF4D34"/>
      </a:accent5>
      <a:accent6>
        <a:srgbClr val="F79550"/>
      </a:accent6>
      <a:hlink>
        <a:srgbClr val="036BAD"/>
      </a:hlink>
      <a:folHlink>
        <a:srgbClr val="922E8E"/>
      </a:folHlink>
    </a:clrScheme>
    <a:fontScheme name="IKEA Noto">
      <a:majorFont>
        <a:latin typeface="Noto IKEA Latin"/>
        <a:ea typeface=""/>
        <a:cs typeface=""/>
      </a:majorFont>
      <a:minorFont>
        <a:latin typeface="Noto IKEA Lati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lIns="108000" tIns="108000" rIns="108000" bIns="108000" rtlCol="0" anchor="ctr" anchorCtr="0"/>
      <a:lstStyle>
        <a:defPPr algn="ctr">
          <a:defRPr dirty="0" err="1" smtClean="0">
            <a:solidFill>
              <a:schemeClr val="tx1">
                <a:lumMod val="90000"/>
                <a:lumOff val="10000"/>
              </a:schemeClr>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solidFill>
          <a:schemeClr val="bg1"/>
        </a:solidFill>
        <a:ln>
          <a:noFill/>
        </a:ln>
      </a:spPr>
      <a:bodyPr wrap="square" lIns="108000" tIns="108000" rIns="108000" bIns="108000" rtlCol="0">
        <a:spAutoFit/>
      </a:bodyPr>
      <a:lstStyle>
        <a:defPPr>
          <a:defRPr dirty="0" err="1" smtClean="0">
            <a:solidFill>
              <a:schemeClr val="tx1">
                <a:lumMod val="75000"/>
                <a:lumOff val="25000"/>
              </a:schemeClr>
            </a:solidFill>
          </a:defRPr>
        </a:defPPr>
      </a:lstStyle>
    </a:txDef>
  </a:objectDefaults>
  <a:extraClrSchemeLst/>
  <a:extLst>
    <a:ext uri="{05A4C25C-085E-4340-85A3-A5531E510DB2}">
      <thm15:themeFamily xmlns:thm15="http://schemas.microsoft.com/office/thememl/2012/main" name="Presentation1" id="{7924369B-6468-496B-8F00-C1130E5F4556}" vid="{E83E8DCB-BF09-4DF8-B2C1-500A3E856740}"/>
    </a:ext>
  </a:extLst>
</a:theme>
</file>

<file path=ppt/theme/theme8.xml><?xml version="1.0" encoding="utf-8"?>
<a:theme xmlns:a="http://schemas.openxmlformats.org/drawingml/2006/main" name="BST performance ppt theme incl. colours">
  <a:themeElements>
    <a:clrScheme name="BST colours">
      <a:dk1>
        <a:srgbClr val="000000"/>
      </a:dk1>
      <a:lt1>
        <a:srgbClr val="FFFFFF"/>
      </a:lt1>
      <a:dk2>
        <a:srgbClr val="585958"/>
      </a:dk2>
      <a:lt2>
        <a:srgbClr val="E3E4E2"/>
      </a:lt2>
      <a:accent1>
        <a:srgbClr val="FFB74A"/>
      </a:accent1>
      <a:accent2>
        <a:srgbClr val="54CAF2"/>
      </a:accent2>
      <a:accent3>
        <a:srgbClr val="9962A5"/>
      </a:accent3>
      <a:accent4>
        <a:srgbClr val="767171"/>
      </a:accent4>
      <a:accent5>
        <a:srgbClr val="F985BA"/>
      </a:accent5>
      <a:accent6>
        <a:srgbClr val="0B647F"/>
      </a:accent6>
      <a:hlink>
        <a:srgbClr val="005B9C"/>
      </a:hlink>
      <a:folHlink>
        <a:srgbClr val="960C8C"/>
      </a:folHlink>
    </a:clrScheme>
    <a:fontScheme name="IKEA">
      <a:majorFont>
        <a:latin typeface="Noto IKEA Latin"/>
        <a:ea typeface=""/>
        <a:cs typeface=""/>
      </a:majorFont>
      <a:minorFont>
        <a:latin typeface="Noto IKEA Lati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3" id="{1059AA07-F7E9-413F-AB0B-9C5FB3D0B2D7}" vid="{2585061B-8B66-4DC4-840B-C2AC3D132FAB}"/>
    </a:ext>
  </a:extLst>
</a:theme>
</file>

<file path=ppt/theme/theme9.xml><?xml version="1.0" encoding="utf-8"?>
<a:theme xmlns:a="http://schemas.openxmlformats.org/drawingml/2006/main" name="3_IKEA Theme">
  <a:themeElements>
    <a:clrScheme name="Custom 2">
      <a:dk1>
        <a:srgbClr val="000000"/>
      </a:dk1>
      <a:lt1>
        <a:srgbClr val="FFFFFF"/>
      </a:lt1>
      <a:dk2>
        <a:srgbClr val="0156A3"/>
      </a:dk2>
      <a:lt2>
        <a:srgbClr val="FFDA00"/>
      </a:lt2>
      <a:accent1>
        <a:srgbClr val="CB0007"/>
      </a:accent1>
      <a:accent2>
        <a:srgbClr val="00863F"/>
      </a:accent2>
      <a:accent3>
        <a:srgbClr val="F16B0C"/>
      </a:accent3>
      <a:accent4>
        <a:srgbClr val="00A0E4"/>
      </a:accent4>
      <a:accent5>
        <a:srgbClr val="E5436C"/>
      </a:accent5>
      <a:accent6>
        <a:srgbClr val="77BE2E"/>
      </a:accent6>
      <a:hlink>
        <a:srgbClr val="6A3C99"/>
      </a:hlink>
      <a:folHlink>
        <a:srgbClr val="D8D9D8"/>
      </a:folHlink>
    </a:clrScheme>
    <a:fontScheme name="IKEA">
      <a:majorFont>
        <a:latin typeface="Noto IKEA Latin"/>
        <a:ea typeface=""/>
        <a:cs typeface=""/>
      </a:majorFont>
      <a:minorFont>
        <a:latin typeface="Noto IKEA Lati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lgn="l">
          <a:defRPr sz="3200" dirty="0" smtClean="0"/>
        </a:defPPr>
      </a:lstStyle>
    </a:txDef>
  </a:objectDefaults>
  <a:extraClrSchemeLst/>
  <a:extLst>
    <a:ext uri="{05A4C25C-085E-4340-85A3-A5531E510DB2}">
      <thm15:themeFamily xmlns:thm15="http://schemas.microsoft.com/office/thememl/2012/main" name="Final" id="{04492DA0-BABA-8C4C-B1EA-D9D993539343}" vid="{12512CC3-4C9F-1C42-9D0F-BD152A93137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974FD6D8E6452498BF6A1461EA95F65" ma:contentTypeVersion="14" ma:contentTypeDescription="Create a new document." ma:contentTypeScope="" ma:versionID="decb06f0c4ab4e044e21974485a4c4d4">
  <xsd:schema xmlns:xsd="http://www.w3.org/2001/XMLSchema" xmlns:xs="http://www.w3.org/2001/XMLSchema" xmlns:p="http://schemas.microsoft.com/office/2006/metadata/properties" xmlns:ns2="80c9179d-ae6e-4617-b27c-c410c22e231b" xmlns:ns3="1f4c4ff5-24cb-43ea-8aa5-bfdeb991c7c9" targetNamespace="http://schemas.microsoft.com/office/2006/metadata/properties" ma:root="true" ma:fieldsID="434dee0dbfb16bc2f7f32de23023b7ac" ns2:_="" ns3:_="">
    <xsd:import namespace="80c9179d-ae6e-4617-b27c-c410c22e231b"/>
    <xsd:import namespace="1f4c4ff5-24cb-43ea-8aa5-bfdeb991c7c9"/>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DateTaken"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0c9179d-ae6e-4617-b27c-c410c22e23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949d2fe-e341-4380-bd84-5ba410447ca0"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dexed="true" ma:internalName="MediaServiceLocation"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f4c4ff5-24cb-43ea-8aa5-bfdeb991c7c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049e662-0ab2-4e7c-93ee-6eb1bbf4e885}" ma:internalName="TaxCatchAll" ma:showField="CatchAllData" ma:web="1f4c4ff5-24cb-43ea-8aa5-bfdeb991c7c9">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1f4c4ff5-24cb-43ea-8aa5-bfdeb991c7c9">
      <UserInfo>
        <DisplayName>Filip Banica</DisplayName>
        <AccountId>264</AccountId>
        <AccountType/>
      </UserInfo>
      <UserInfo>
        <DisplayName>Inga Roling</DisplayName>
        <AccountId>16</AccountId>
        <AccountType/>
      </UserInfo>
      <UserInfo>
        <DisplayName>Malin Berg</DisplayName>
        <AccountId>207</AccountId>
        <AccountType/>
      </UserInfo>
    </SharedWithUsers>
    <lcf76f155ced4ddcb4097134ff3c332f xmlns="80c9179d-ae6e-4617-b27c-c410c22e231b">
      <Terms xmlns="http://schemas.microsoft.com/office/infopath/2007/PartnerControls"/>
    </lcf76f155ced4ddcb4097134ff3c332f>
    <TaxCatchAll xmlns="1f4c4ff5-24cb-43ea-8aa5-bfdeb991c7c9" xsi:nil="true"/>
  </documentManagement>
</p:properties>
</file>

<file path=customXml/item4.xml>��< ? x m l   v e r s i o n = " 1 . 0 "   e n c o d i n g = " u t f - 1 6 " ? > < I d W r a p p e r   x m l n s : x s d = " h t t p : / / w w w . w 3 . o r g / 2 0 0 1 / X M L S c h e m a "   x m l n s : x s i = " h t t p : / / w w w . w 3 . o r g / 2 0 0 1 / X M L S c h e m a - i n s t a n c e "   x m l n s = " p b - w r a p p e r " >  
     < I d > c 9 a 6 5 e f 5 - 1 6 9 3 - 4 4 7 8 - b 4 9 0 - e 6 0 6 a 9 7 1 3 1 8 2 < / I d >  
 < / I d W r a p p e r > 
</file>

<file path=customXml/itemProps1.xml><?xml version="1.0" encoding="utf-8"?>
<ds:datastoreItem xmlns:ds="http://schemas.openxmlformats.org/officeDocument/2006/customXml" ds:itemID="{DC118DD5-982F-4D82-8B03-A8999699B9AA}">
  <ds:schemaRefs>
    <ds:schemaRef ds:uri="http://schemas.microsoft.com/sharepoint/v3/contenttype/forms"/>
  </ds:schemaRefs>
</ds:datastoreItem>
</file>

<file path=customXml/itemProps2.xml><?xml version="1.0" encoding="utf-8"?>
<ds:datastoreItem xmlns:ds="http://schemas.openxmlformats.org/officeDocument/2006/customXml" ds:itemID="{3B5D383C-7484-4AC2-9B05-A1E0D2F53CD2}">
  <ds:schemaRefs>
    <ds:schemaRef ds:uri="1f4c4ff5-24cb-43ea-8aa5-bfdeb991c7c9"/>
    <ds:schemaRef ds:uri="80c9179d-ae6e-4617-b27c-c410c22e231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0E5A99B-555D-4EA7-84FE-930A9F1137C8}">
  <ds:schemaRefs>
    <ds:schemaRef ds:uri="1f4c4ff5-24cb-43ea-8aa5-bfdeb991c7c9"/>
    <ds:schemaRef ds:uri="80c9179d-ae6e-4617-b27c-c410c22e231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B4C2E1F9-4199-47B9-929A-1FB75D9F78FD}">
  <ds:schemaRefs>
    <ds:schemaRef ds:uri="http://www.w3.org/2001/XMLSchema"/>
    <ds:schemaRef ds:uri="pb-wrapper"/>
  </ds:schemaRefs>
</ds:datastoreItem>
</file>

<file path=docMetadata/LabelInfo.xml><?xml version="1.0" encoding="utf-8"?>
<clbl:labelList xmlns:clbl="http://schemas.microsoft.com/office/2020/mipLabelMetadata">
  <clbl:label id="{0f945650-ec40-41a9-9362-7e2addda4452}" enabled="1" method="Standard" siteId="{a33c6ac4-a52e-45c5-af07-b972df9bd004}" removed="0"/>
</clbl:labelList>
</file>

<file path=docProps/app.xml><?xml version="1.0" encoding="utf-8"?>
<Properties xmlns="http://schemas.openxmlformats.org/officeDocument/2006/extended-properties" xmlns:vt="http://schemas.openxmlformats.org/officeDocument/2006/docPropsVTypes">
  <Template>Draft_This is Intralogistics_2023</Template>
  <TotalTime>3</TotalTime>
  <Words>779</Words>
  <Application>Microsoft Office PowerPoint</Application>
  <PresentationFormat>Custom</PresentationFormat>
  <Paragraphs>201</Paragraphs>
  <Slides>14</Slides>
  <Notes>10</Notes>
  <HiddenSlides>2</HiddenSlides>
  <MMClips>0</MMClips>
  <ScaleCrop>false</ScaleCrop>
  <HeadingPairs>
    <vt:vector size="8" baseType="variant">
      <vt:variant>
        <vt:lpstr>Fonts Used</vt:lpstr>
      </vt:variant>
      <vt:variant>
        <vt:i4>9</vt:i4>
      </vt:variant>
      <vt:variant>
        <vt:lpstr>Theme</vt:lpstr>
      </vt:variant>
      <vt:variant>
        <vt:i4>12</vt:i4>
      </vt:variant>
      <vt:variant>
        <vt:lpstr>Embedded OLE Servers</vt:lpstr>
      </vt:variant>
      <vt:variant>
        <vt:i4>1</vt:i4>
      </vt:variant>
      <vt:variant>
        <vt:lpstr>Slide Titles</vt:lpstr>
      </vt:variant>
      <vt:variant>
        <vt:i4>14</vt:i4>
      </vt:variant>
    </vt:vector>
  </HeadingPairs>
  <TitlesOfParts>
    <vt:vector size="36" baseType="lpstr">
      <vt:lpstr>Arial</vt:lpstr>
      <vt:lpstr>Calibri</vt:lpstr>
      <vt:lpstr>Calibri Light</vt:lpstr>
      <vt:lpstr>Franklin Gothic Medium</vt:lpstr>
      <vt:lpstr>Lato</vt:lpstr>
      <vt:lpstr>Noto IKEA Latin</vt:lpstr>
      <vt:lpstr>Noto IKEA Latin Regular</vt:lpstr>
      <vt:lpstr>Noto Sans</vt:lpstr>
      <vt:lpstr>Verdana</vt:lpstr>
      <vt:lpstr>IKEA Theme</vt:lpstr>
      <vt:lpstr>Custom Design</vt:lpstr>
      <vt:lpstr>1_IKEA Theme</vt:lpstr>
      <vt:lpstr>6_IKEA Theme</vt:lpstr>
      <vt:lpstr>7_IKEA Theme</vt:lpstr>
      <vt:lpstr>IKEA Theme</vt:lpstr>
      <vt:lpstr>Yealy summary</vt:lpstr>
      <vt:lpstr>BST performance ppt theme incl. colours</vt:lpstr>
      <vt:lpstr>3_IKEA Theme</vt:lpstr>
      <vt:lpstr>8_IKEA Theme</vt:lpstr>
      <vt:lpstr>9_IKEA Theme</vt:lpstr>
      <vt:lpstr>2_IKEA Theme</vt:lpstr>
      <vt:lpstr>think-cell Slide</vt:lpstr>
      <vt:lpstr>This is Innovation  at Intralogistics Development     </vt:lpstr>
      <vt:lpstr>Roles in the Innovation Team</vt:lpstr>
      <vt:lpstr>Who we are </vt:lpstr>
      <vt:lpstr>Purpose and objectives</vt:lpstr>
      <vt:lpstr>Intralogistics Development Innovation assignment </vt:lpstr>
      <vt:lpstr>A network to secure a common capability across organisation </vt:lpstr>
      <vt:lpstr>The Innovation Funnel</vt:lpstr>
      <vt:lpstr>1. Explore and create ideas</vt:lpstr>
      <vt:lpstr>PowerPoint Presentation</vt:lpstr>
      <vt:lpstr>Ideation Techniques</vt:lpstr>
      <vt:lpstr>The Innovation Funnel</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do we want to be perceived?</dc:title>
  <dc:creator>Malin Berg</dc:creator>
  <cp:keywords/>
  <dc:description/>
  <cp:lastModifiedBy>Sindhuja Parthasarathy (External - Praktikanter)</cp:lastModifiedBy>
  <cp:revision>6</cp:revision>
  <cp:lastPrinted>2023-04-28T11:58:55Z</cp:lastPrinted>
  <dcterms:created xsi:type="dcterms:W3CDTF">2023-02-14T16:46:11Z</dcterms:created>
  <dcterms:modified xsi:type="dcterms:W3CDTF">2025-03-12T12:46: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f945650-ec40-41a9-9362-7e2addda4452_Enabled">
    <vt:lpwstr>true</vt:lpwstr>
  </property>
  <property fmtid="{D5CDD505-2E9C-101B-9397-08002B2CF9AE}" pid="3" name="MSIP_Label_0f945650-ec40-41a9-9362-7e2addda4452_SetDate">
    <vt:lpwstr>2021-05-07T07:09:25Z</vt:lpwstr>
  </property>
  <property fmtid="{D5CDD505-2E9C-101B-9397-08002B2CF9AE}" pid="4" name="MSIP_Label_0f945650-ec40-41a9-9362-7e2addda4452_Method">
    <vt:lpwstr>Standard</vt:lpwstr>
  </property>
  <property fmtid="{D5CDD505-2E9C-101B-9397-08002B2CF9AE}" pid="5" name="MSIP_Label_0f945650-ec40-41a9-9362-7e2addda4452_Name">
    <vt:lpwstr>Internal</vt:lpwstr>
  </property>
  <property fmtid="{D5CDD505-2E9C-101B-9397-08002B2CF9AE}" pid="6" name="MSIP_Label_0f945650-ec40-41a9-9362-7e2addda4452_SiteId">
    <vt:lpwstr>a33c6ac4-a52e-45c5-af07-b972df9bd004</vt:lpwstr>
  </property>
  <property fmtid="{D5CDD505-2E9C-101B-9397-08002B2CF9AE}" pid="7" name="MSIP_Label_0f945650-ec40-41a9-9362-7e2addda4452_ActionId">
    <vt:lpwstr>f3e09d39-0ffc-445d-af26-f85d15b5c5f5</vt:lpwstr>
  </property>
  <property fmtid="{D5CDD505-2E9C-101B-9397-08002B2CF9AE}" pid="8" name="MSIP_Label_0f945650-ec40-41a9-9362-7e2addda4452_ContentBits">
    <vt:lpwstr>2</vt:lpwstr>
  </property>
  <property fmtid="{D5CDD505-2E9C-101B-9397-08002B2CF9AE}" pid="9" name="ClassificationContentMarkingFooterLocations">
    <vt:lpwstr>IKEA Theme:5</vt:lpwstr>
  </property>
  <property fmtid="{D5CDD505-2E9C-101B-9397-08002B2CF9AE}" pid="10" name="ClassificationContentMarkingFooterText">
    <vt:lpwstr>Internal</vt:lpwstr>
  </property>
  <property fmtid="{D5CDD505-2E9C-101B-9397-08002B2CF9AE}" pid="11" name="MediaServiceImageTags">
    <vt:lpwstr/>
  </property>
  <property fmtid="{D5CDD505-2E9C-101B-9397-08002B2CF9AE}" pid="12" name="_dlc_DocIdItemGuid">
    <vt:lpwstr>67b479d3-78f0-42c8-a4a3-e91f94e63cf5</vt:lpwstr>
  </property>
  <property fmtid="{D5CDD505-2E9C-101B-9397-08002B2CF9AE}" pid="13" name="ContentTypeId">
    <vt:lpwstr>0x0101005AEEE4F17EE71945BD09638C3C0D1CAD</vt:lpwstr>
  </property>
</Properties>
</file>